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slideLayouts/slideLayout7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42" r:id="rId6"/>
    <p:sldMasterId id="2147483798" r:id="rId7"/>
    <p:sldMasterId id="2147483820" r:id="rId8"/>
    <p:sldMasterId id="2147483822" r:id="rId9"/>
    <p:sldMasterId id="2147483827" r:id="rId10"/>
    <p:sldMasterId id="2147483830" r:id="rId11"/>
  </p:sldMasterIdLst>
  <p:notesMasterIdLst>
    <p:notesMasterId r:id="rId31"/>
  </p:notesMasterIdLst>
  <p:handoutMasterIdLst>
    <p:handoutMasterId r:id="rId32"/>
  </p:handoutMasterIdLst>
  <p:sldIdLst>
    <p:sldId id="296" r:id="rId12"/>
    <p:sldId id="499" r:id="rId13"/>
    <p:sldId id="302" r:id="rId14"/>
    <p:sldId id="306" r:id="rId15"/>
    <p:sldId id="500" r:id="rId16"/>
    <p:sldId id="355" r:id="rId17"/>
    <p:sldId id="353" r:id="rId18"/>
    <p:sldId id="369" r:id="rId19"/>
    <p:sldId id="378" r:id="rId20"/>
    <p:sldId id="379" r:id="rId21"/>
    <p:sldId id="501" r:id="rId22"/>
    <p:sldId id="260" r:id="rId23"/>
    <p:sldId id="271" r:id="rId24"/>
    <p:sldId id="321" r:id="rId25"/>
    <p:sldId id="270" r:id="rId26"/>
    <p:sldId id="328" r:id="rId27"/>
    <p:sldId id="717" r:id="rId28"/>
    <p:sldId id="718" r:id="rId29"/>
    <p:sldId id="325" r:id="rId30"/>
  </p:sldIdLst>
  <p:sldSz cx="12192000" cy="6858000"/>
  <p:notesSz cx="6858000" cy="9144000"/>
  <p:custDataLst>
    <p:tags r:id="rId33"/>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DD267385-EA15-4AA0-A1AD-C922D3E02873}">
          <p14:sldIdLst>
            <p14:sldId id="296"/>
          </p14:sldIdLst>
        </p14:section>
        <p14:section name="UNIT ICT" id="{2E0DD4D4-466C-4576-9D2A-5C15E63C4495}">
          <p14:sldIdLst>
            <p14:sldId id="499"/>
          </p14:sldIdLst>
        </p14:section>
        <p14:section name="UNIT ICT PORTFOLIO" id="{4EEAC695-22D3-449A-A070-8DBECFAF6FE4}">
          <p14:sldIdLst>
            <p14:sldId id="302"/>
            <p14:sldId id="306"/>
          </p14:sldIdLst>
        </p14:section>
        <p14:section name="IDS" id="{D9E6BAB4-F904-4B13-9FDF-8452CF8393B1}">
          <p14:sldIdLst>
            <p14:sldId id="500"/>
            <p14:sldId id="355"/>
            <p14:sldId id="353"/>
            <p14:sldId id="369"/>
            <p14:sldId id="378"/>
            <p14:sldId id="379"/>
            <p14:sldId id="501"/>
          </p14:sldIdLst>
        </p14:section>
        <p14:section name="SCSN" id="{1D92640A-640B-40D3-9488-1D465375108E}">
          <p14:sldIdLst>
            <p14:sldId id="260"/>
            <p14:sldId id="271"/>
            <p14:sldId id="321"/>
            <p14:sldId id="270"/>
            <p14:sldId id="328"/>
            <p14:sldId id="717"/>
            <p14:sldId id="718"/>
          </p14:sldIdLst>
        </p14:section>
        <p14:section name="END" id="{35914E81-DFF3-47E3-A08B-4FB22DE7CFF8}">
          <p14:sldIdLst>
            <p14:sldId id="325"/>
          </p14:sldIdLst>
        </p14:section>
      </p14:sectionLst>
    </p:ext>
    <p:ext uri="{EFAFB233-063F-42B5-8137-9DF3F51BA10A}">
      <p15:sldGuideLst xmlns:p15="http://schemas.microsoft.com/office/powerpoint/2012/main">
        <p15:guide id="1" orient="horz" pos="2273" userDrawn="1">
          <p15:clr>
            <a:srgbClr val="A4A3A4"/>
          </p15:clr>
        </p15:guide>
        <p15:guide id="2" pos="3795" userDrawn="1">
          <p15:clr>
            <a:srgbClr val="A4A3A4"/>
          </p15:clr>
        </p15:guide>
        <p15:guide id="3" orient="horz" pos="3816" userDrawn="1">
          <p15:clr>
            <a:srgbClr val="A4A3A4"/>
          </p15:clr>
        </p15:guide>
        <p15:guide id="4" orient="horz" pos="127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iana van den Berg" initials="DvdB" lastIdx="44" clrIdx="6">
    <p:extLst>
      <p:ext uri="{19B8F6BF-5375-455C-9EA6-DF929625EA0E}">
        <p15:presenceInfo xmlns:p15="http://schemas.microsoft.com/office/powerpoint/2012/main" userId="S::diana@pptsolutions.nl::23f41a6e-e258-490e-836a-3bfeb97dfcde" providerId="AD"/>
      </p:ext>
    </p:extLst>
  </p:cmAuthor>
  <p:cmAuthor id="1" name="Jelle de Korte" initials="JdK" lastIdx="1" clrIdx="0"/>
  <p:cmAuthor id="8" name="Eline Schoe" initials="ES" lastIdx="10" clrIdx="7">
    <p:extLst>
      <p:ext uri="{19B8F6BF-5375-455C-9EA6-DF929625EA0E}">
        <p15:presenceInfo xmlns:p15="http://schemas.microsoft.com/office/powerpoint/2012/main" userId="S::eline@pptstudios.nl::7e4c73be-f3d4-44a9-856c-7951ddeb280c" providerId="AD"/>
      </p:ext>
    </p:extLst>
  </p:cmAuthor>
  <p:cmAuthor id="2" name="Kelsey Luhrman" initials="KL" lastIdx="36" clrIdx="1"/>
  <p:cmAuthor id="9" name="Vetjens, A.J.A. (Berry)" initials="VA(" lastIdx="1" clrIdx="8">
    <p:extLst>
      <p:ext uri="{19B8F6BF-5375-455C-9EA6-DF929625EA0E}">
        <p15:presenceInfo xmlns:p15="http://schemas.microsoft.com/office/powerpoint/2012/main" userId="S::berry.vetjens@tno.nl::13ba48c1-2248-406f-a420-ec0a02795b8e" providerId="AD"/>
      </p:ext>
    </p:extLst>
  </p:cmAuthor>
  <p:cmAuthor id="3" name="Hoof, R. (Regina) van" initials="HR(v" lastIdx="40" clrIdx="2"/>
  <p:cmAuthor id="10" name="Alice Chu" initials="AC" lastIdx="20" clrIdx="9">
    <p:extLst>
      <p:ext uri="{19B8F6BF-5375-455C-9EA6-DF929625EA0E}">
        <p15:presenceInfo xmlns:p15="http://schemas.microsoft.com/office/powerpoint/2012/main" userId="S::Alice@pptsolutions.nl::9eb46698-1097-456e-9a2c-6d59a0fef918" providerId="AD"/>
      </p:ext>
    </p:extLst>
  </p:cmAuthor>
  <p:cmAuthor id="4" name="Rodney Assenberg" initials="RA" lastIdx="10" clrIdx="3"/>
  <p:cmAuthor id="5" name="Laar, T. (Tim) van" initials="LT(v" lastIdx="23" clrIdx="4"/>
  <p:cmAuthor id="6" name="Daisy van Tilborgh" initials="DvT" lastIdx="8" clrIdx="5">
    <p:extLst>
      <p:ext uri="{19B8F6BF-5375-455C-9EA6-DF929625EA0E}">
        <p15:presenceInfo xmlns:p15="http://schemas.microsoft.com/office/powerpoint/2012/main" userId="S::daisy@pptstudios.nl::713f7d44-5d8d-42cb-b79e-822f49f912c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3976"/>
    <a:srgbClr val="4F8FBB"/>
    <a:srgbClr val="AFE0F1"/>
    <a:srgbClr val="C5C5C5"/>
    <a:srgbClr val="A7DDFF"/>
    <a:srgbClr val="CFF0F7"/>
    <a:srgbClr val="D6ECFF"/>
    <a:srgbClr val="A5C3D9"/>
    <a:srgbClr val="FFFFFF"/>
    <a:srgbClr val="C5ED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66" autoAdjust="0"/>
    <p:restoredTop sz="92515" autoAdjust="0"/>
  </p:normalViewPr>
  <p:slideViewPr>
    <p:cSldViewPr snapToGrid="0" showGuides="1">
      <p:cViewPr varScale="1">
        <p:scale>
          <a:sx n="80" d="100"/>
          <a:sy n="80" d="100"/>
        </p:scale>
        <p:origin x="922" y="53"/>
      </p:cViewPr>
      <p:guideLst>
        <p:guide orient="horz" pos="2273"/>
        <p:guide pos="3795"/>
        <p:guide orient="horz" pos="3816"/>
        <p:guide orient="horz" pos="1275"/>
      </p:guideLst>
    </p:cSldViewPr>
  </p:slideViewPr>
  <p:outlineViewPr>
    <p:cViewPr>
      <p:scale>
        <a:sx n="33" d="100"/>
        <a:sy n="33" d="100"/>
      </p:scale>
      <p:origin x="0" y="-7699"/>
    </p:cViewPr>
  </p:outlineViewPr>
  <p:notesTextViewPr>
    <p:cViewPr>
      <p:scale>
        <a:sx n="1" d="1"/>
        <a:sy n="1" d="1"/>
      </p:scale>
      <p:origin x="0" y="0"/>
    </p:cViewPr>
  </p:notesTextViewPr>
  <p:notesViewPr>
    <p:cSldViewPr snapToGrid="0" showGuides="1">
      <p:cViewPr varScale="1">
        <p:scale>
          <a:sx n="80" d="100"/>
          <a:sy n="80" d="100"/>
        </p:scale>
        <p:origin x="3918"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commentAuthors" Target="commentAuthors.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viewProps" Target="viewProps.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E47DA1C-ED26-4090-A36D-4FE3705D9221}"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de-DE"/>
        </a:p>
      </dgm:t>
    </dgm:pt>
    <dgm:pt modelId="{E2F8F634-3AC4-49B8-883D-3BB6AB494568}">
      <dgm:prSet phldrT="[Text]" custT="1"/>
      <dgm:spPr/>
      <dgm:t>
        <a:bodyPr/>
        <a:lstStyle/>
        <a:p>
          <a:r>
            <a:rPr lang="de-DE"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Interoperability</a:t>
          </a:r>
          <a:endParaRPr lang="de-DE"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r>
            <a:rPr lang="de-DE" sz="1000" dirty="0">
              <a:solidFill>
                <a:schemeClr val="bg1"/>
              </a:solidFill>
              <a:latin typeface="Verdana" panose="020B0604030504040204" pitchFamily="34" charset="0"/>
              <a:ea typeface="Verdana" panose="020B0604030504040204" pitchFamily="34" charset="0"/>
              <a:cs typeface="Verdana" panose="020B0604030504040204" pitchFamily="34" charset="0"/>
            </a:rPr>
            <a:t>Data Exchange</a:t>
          </a:r>
        </a:p>
        <a:p>
          <a:r>
            <a:rPr lang="de-DE" sz="1000" dirty="0">
              <a:solidFill>
                <a:schemeClr val="bg1"/>
              </a:solidFill>
              <a:latin typeface="Verdana" panose="020B0604030504040204" pitchFamily="34" charset="0"/>
              <a:ea typeface="Verdana" panose="020B0604030504040204" pitchFamily="34" charset="0"/>
              <a:cs typeface="Verdana" panose="020B0604030504040204" pitchFamily="34" charset="0"/>
            </a:rPr>
            <a:t>»Sharing Economy«</a:t>
          </a:r>
        </a:p>
        <a:p>
          <a:r>
            <a:rPr lang="de-DE" sz="1000" dirty="0">
              <a:solidFill>
                <a:schemeClr val="bg1"/>
              </a:solidFill>
              <a:latin typeface="Verdana" panose="020B0604030504040204" pitchFamily="34" charset="0"/>
              <a:ea typeface="Verdana" panose="020B0604030504040204" pitchFamily="34" charset="0"/>
              <a:cs typeface="Verdana" panose="020B0604030504040204" pitchFamily="34" charset="0"/>
            </a:rPr>
            <a:t>Data </a:t>
          </a:r>
          <a:r>
            <a:rPr lang="de-DE"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Centric</a:t>
          </a:r>
          <a:r>
            <a:rPr lang="de-DE" sz="1000" dirty="0">
              <a:solidFill>
                <a:schemeClr val="bg1"/>
              </a:solidFill>
              <a:latin typeface="Verdana" panose="020B0604030504040204" pitchFamily="34" charset="0"/>
              <a:ea typeface="Verdana" panose="020B0604030504040204" pitchFamily="34" charset="0"/>
              <a:cs typeface="Verdana" panose="020B0604030504040204" pitchFamily="34" charset="0"/>
            </a:rPr>
            <a:t> Services</a:t>
          </a:r>
        </a:p>
      </dgm:t>
    </dgm:pt>
    <dgm:pt modelId="{D521D89C-E989-49A3-A673-C7962B8B9B09}" type="parTrans" cxnId="{E2147941-A067-4D1A-B017-50B2662AD1D6}">
      <dgm:prSet/>
      <dgm:spPr/>
      <dgm:t>
        <a:bodyPr/>
        <a:lstStyle/>
        <a:p>
          <a:endParaRPr lang="de-DE"/>
        </a:p>
      </dgm:t>
    </dgm:pt>
    <dgm:pt modelId="{7679346E-4A43-4894-913D-0E59840EA5E3}" type="sibTrans" cxnId="{E2147941-A067-4D1A-B017-50B2662AD1D6}">
      <dgm:prSet/>
      <dgm:spPr/>
      <dgm:t>
        <a:bodyPr/>
        <a:lstStyle/>
        <a:p>
          <a:endParaRPr lang="de-DE"/>
        </a:p>
      </dgm:t>
    </dgm:pt>
    <dgm:pt modelId="{2559025B-5EB3-4A16-8500-A1C466CE3113}">
      <dgm:prSet phldrT="[Text]" custT="1"/>
      <dgm:spPr/>
      <dgm:t>
        <a:bodyPr/>
        <a:lstStyle/>
        <a:p>
          <a:r>
            <a:rPr lang="de-DE" sz="1000" dirty="0">
              <a:solidFill>
                <a:schemeClr val="bg1"/>
              </a:solidFill>
              <a:latin typeface="Verdana" panose="020B0604030504040204" pitchFamily="34" charset="0"/>
              <a:ea typeface="Verdana" panose="020B0604030504040204" pitchFamily="34" charset="0"/>
              <a:cs typeface="Verdana" panose="020B0604030504040204" pitchFamily="34" charset="0"/>
            </a:rPr>
            <a:t>Data Ownership</a:t>
          </a:r>
        </a:p>
        <a:p>
          <a:r>
            <a:rPr lang="de-DE" sz="1000" dirty="0">
              <a:solidFill>
                <a:schemeClr val="bg1"/>
              </a:solidFill>
              <a:latin typeface="Verdana" panose="020B0604030504040204" pitchFamily="34" charset="0"/>
              <a:ea typeface="Verdana" panose="020B0604030504040204" pitchFamily="34" charset="0"/>
              <a:cs typeface="Verdana" panose="020B0604030504040204" pitchFamily="34" charset="0"/>
            </a:rPr>
            <a:t>Data Security</a:t>
          </a:r>
        </a:p>
        <a:p>
          <a:r>
            <a:rPr lang="de-DE" sz="1000" dirty="0">
              <a:solidFill>
                <a:schemeClr val="bg1"/>
              </a:solidFill>
              <a:latin typeface="Verdana" panose="020B0604030504040204" pitchFamily="34" charset="0"/>
              <a:ea typeface="Verdana" panose="020B0604030504040204" pitchFamily="34" charset="0"/>
              <a:cs typeface="Verdana" panose="020B0604030504040204" pitchFamily="34" charset="0"/>
            </a:rPr>
            <a:t>Data Value</a:t>
          </a:r>
        </a:p>
      </dgm:t>
    </dgm:pt>
    <dgm:pt modelId="{BA048109-00AD-4159-9DE2-7CA84F6E568C}" type="parTrans" cxnId="{4567FE4E-292F-4A64-B60B-8A6C043FF4EB}">
      <dgm:prSet/>
      <dgm:spPr/>
      <dgm:t>
        <a:bodyPr/>
        <a:lstStyle/>
        <a:p>
          <a:endParaRPr lang="de-DE"/>
        </a:p>
      </dgm:t>
    </dgm:pt>
    <dgm:pt modelId="{60F30659-59EE-48C4-BFFC-1EF102952009}" type="sibTrans" cxnId="{4567FE4E-292F-4A64-B60B-8A6C043FF4EB}">
      <dgm:prSet/>
      <dgm:spPr/>
      <dgm:t>
        <a:bodyPr/>
        <a:lstStyle/>
        <a:p>
          <a:endParaRPr lang="de-DE"/>
        </a:p>
      </dgm:t>
    </dgm:pt>
    <dgm:pt modelId="{72620646-BB35-440E-A06A-8747F64B3433}" type="pres">
      <dgm:prSet presAssocID="{0E47DA1C-ED26-4090-A36D-4FE3705D9221}" presName="compositeShape" presStyleCnt="0">
        <dgm:presLayoutVars>
          <dgm:chMax val="2"/>
          <dgm:dir/>
          <dgm:resizeHandles val="exact"/>
        </dgm:presLayoutVars>
      </dgm:prSet>
      <dgm:spPr/>
    </dgm:pt>
    <dgm:pt modelId="{A8C09B5F-2CFF-4F60-99A3-2230CE8EC62C}" type="pres">
      <dgm:prSet presAssocID="{0E47DA1C-ED26-4090-A36D-4FE3705D9221}" presName="divider" presStyleLbl="fgShp" presStyleIdx="0" presStyleCnt="1"/>
      <dgm:spPr>
        <a:solidFill>
          <a:schemeClr val="bg1"/>
        </a:solidFill>
        <a:ln>
          <a:noFill/>
        </a:ln>
      </dgm:spPr>
    </dgm:pt>
    <dgm:pt modelId="{A65BD36B-63ED-47A1-88C0-44C694368E66}" type="pres">
      <dgm:prSet presAssocID="{E2F8F634-3AC4-49B8-883D-3BB6AB494568}" presName="downArrow" presStyleLbl="node1" presStyleIdx="0" presStyleCnt="2"/>
      <dgm:spPr>
        <a:solidFill>
          <a:schemeClr val="accent1"/>
        </a:solidFill>
        <a:ln>
          <a:noFill/>
        </a:ln>
      </dgm:spPr>
    </dgm:pt>
    <dgm:pt modelId="{FB6D0A82-E20A-4772-89CB-9C6BF87A488E}" type="pres">
      <dgm:prSet presAssocID="{E2F8F634-3AC4-49B8-883D-3BB6AB494568}" presName="downArrowText" presStyleLbl="revTx" presStyleIdx="0" presStyleCnt="2">
        <dgm:presLayoutVars>
          <dgm:bulletEnabled val="1"/>
        </dgm:presLayoutVars>
      </dgm:prSet>
      <dgm:spPr/>
    </dgm:pt>
    <dgm:pt modelId="{66D4BB58-7F4D-4023-85C6-188A656947D2}" type="pres">
      <dgm:prSet presAssocID="{2559025B-5EB3-4A16-8500-A1C466CE3113}" presName="upArrow" presStyleLbl="node1" presStyleIdx="1" presStyleCnt="2"/>
      <dgm:spPr>
        <a:solidFill>
          <a:schemeClr val="accent1"/>
        </a:solidFill>
        <a:ln>
          <a:noFill/>
        </a:ln>
      </dgm:spPr>
    </dgm:pt>
    <dgm:pt modelId="{7130CE42-5816-4EBF-AF36-B4793F2B5152}" type="pres">
      <dgm:prSet presAssocID="{2559025B-5EB3-4A16-8500-A1C466CE3113}" presName="upArrowText" presStyleLbl="revTx" presStyleIdx="1" presStyleCnt="2">
        <dgm:presLayoutVars>
          <dgm:bulletEnabled val="1"/>
        </dgm:presLayoutVars>
      </dgm:prSet>
      <dgm:spPr/>
    </dgm:pt>
  </dgm:ptLst>
  <dgm:cxnLst>
    <dgm:cxn modelId="{9AF2531D-FA77-43DE-806E-A2188C391089}" type="presOf" srcId="{0E47DA1C-ED26-4090-A36D-4FE3705D9221}" destId="{72620646-BB35-440E-A06A-8747F64B3433}" srcOrd="0" destOrd="0" presId="urn:microsoft.com/office/officeart/2005/8/layout/arrow3"/>
    <dgm:cxn modelId="{E2147941-A067-4D1A-B017-50B2662AD1D6}" srcId="{0E47DA1C-ED26-4090-A36D-4FE3705D9221}" destId="{E2F8F634-3AC4-49B8-883D-3BB6AB494568}" srcOrd="0" destOrd="0" parTransId="{D521D89C-E989-49A3-A673-C7962B8B9B09}" sibTransId="{7679346E-4A43-4894-913D-0E59840EA5E3}"/>
    <dgm:cxn modelId="{4567FE4E-292F-4A64-B60B-8A6C043FF4EB}" srcId="{0E47DA1C-ED26-4090-A36D-4FE3705D9221}" destId="{2559025B-5EB3-4A16-8500-A1C466CE3113}" srcOrd="1" destOrd="0" parTransId="{BA048109-00AD-4159-9DE2-7CA84F6E568C}" sibTransId="{60F30659-59EE-48C4-BFFC-1EF102952009}"/>
    <dgm:cxn modelId="{99D95C75-0BD9-4F53-8EAA-0DE1C21ABBDF}" type="presOf" srcId="{E2F8F634-3AC4-49B8-883D-3BB6AB494568}" destId="{FB6D0A82-E20A-4772-89CB-9C6BF87A488E}" srcOrd="0" destOrd="0" presId="urn:microsoft.com/office/officeart/2005/8/layout/arrow3"/>
    <dgm:cxn modelId="{133278F7-391F-46CF-AB61-543B6C4C5694}" type="presOf" srcId="{2559025B-5EB3-4A16-8500-A1C466CE3113}" destId="{7130CE42-5816-4EBF-AF36-B4793F2B5152}" srcOrd="0" destOrd="0" presId="urn:microsoft.com/office/officeart/2005/8/layout/arrow3"/>
    <dgm:cxn modelId="{A57F95B5-C7BE-4481-B024-C1BDE1A0547A}" type="presParOf" srcId="{72620646-BB35-440E-A06A-8747F64B3433}" destId="{A8C09B5F-2CFF-4F60-99A3-2230CE8EC62C}" srcOrd="0" destOrd="0" presId="urn:microsoft.com/office/officeart/2005/8/layout/arrow3"/>
    <dgm:cxn modelId="{495C4AA9-A86C-43F5-ABD0-B7BED8C7E31A}" type="presParOf" srcId="{72620646-BB35-440E-A06A-8747F64B3433}" destId="{A65BD36B-63ED-47A1-88C0-44C694368E66}" srcOrd="1" destOrd="0" presId="urn:microsoft.com/office/officeart/2005/8/layout/arrow3"/>
    <dgm:cxn modelId="{CC8C334B-6CD6-45E9-9365-FEA51AC658FC}" type="presParOf" srcId="{72620646-BB35-440E-A06A-8747F64B3433}" destId="{FB6D0A82-E20A-4772-89CB-9C6BF87A488E}" srcOrd="2" destOrd="0" presId="urn:microsoft.com/office/officeart/2005/8/layout/arrow3"/>
    <dgm:cxn modelId="{E46AC82F-14A6-4E39-9199-403BEA3F07F2}" type="presParOf" srcId="{72620646-BB35-440E-A06A-8747F64B3433}" destId="{66D4BB58-7F4D-4023-85C6-188A656947D2}" srcOrd="3" destOrd="0" presId="urn:microsoft.com/office/officeart/2005/8/layout/arrow3"/>
    <dgm:cxn modelId="{0911383A-C544-4489-955E-3D39FED4770A}" type="presParOf" srcId="{72620646-BB35-440E-A06A-8747F64B3433}" destId="{7130CE42-5816-4EBF-AF36-B4793F2B5152}" srcOrd="4" destOrd="0" presId="urn:microsoft.com/office/officeart/2005/8/layout/arrow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C09B5F-2CFF-4F60-99A3-2230CE8EC62C}">
      <dsp:nvSpPr>
        <dsp:cNvPr id="0" name=""/>
        <dsp:cNvSpPr/>
      </dsp:nvSpPr>
      <dsp:spPr>
        <a:xfrm rot="21300000">
          <a:off x="18706" y="1217048"/>
          <a:ext cx="6058586" cy="693799"/>
        </a:xfrm>
        <a:prstGeom prst="mathMinus">
          <a:avLst/>
        </a:prstGeom>
        <a:solidFill>
          <a:schemeClr val="bg1"/>
        </a:solidFill>
        <a:ln w="25400" cap="flat" cmpd="sng" algn="ctr">
          <a:noFill/>
          <a:prstDash val="solid"/>
        </a:ln>
        <a:effectLst/>
      </dsp:spPr>
      <dsp:style>
        <a:lnRef idx="2">
          <a:scrgbClr r="0" g="0" b="0"/>
        </a:lnRef>
        <a:fillRef idx="1">
          <a:scrgbClr r="0" g="0" b="0"/>
        </a:fillRef>
        <a:effectRef idx="0">
          <a:scrgbClr r="0" g="0" b="0"/>
        </a:effectRef>
        <a:fontRef idx="minor"/>
      </dsp:style>
    </dsp:sp>
    <dsp:sp modelId="{A65BD36B-63ED-47A1-88C0-44C694368E66}">
      <dsp:nvSpPr>
        <dsp:cNvPr id="0" name=""/>
        <dsp:cNvSpPr/>
      </dsp:nvSpPr>
      <dsp:spPr>
        <a:xfrm>
          <a:off x="731520" y="156394"/>
          <a:ext cx="1828800" cy="1251158"/>
        </a:xfrm>
        <a:prstGeom prst="downArrow">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B6D0A82-E20A-4772-89CB-9C6BF87A488E}">
      <dsp:nvSpPr>
        <dsp:cNvPr id="0" name=""/>
        <dsp:cNvSpPr/>
      </dsp:nvSpPr>
      <dsp:spPr>
        <a:xfrm>
          <a:off x="3230880" y="0"/>
          <a:ext cx="1950720" cy="13137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solidFill>
                <a:schemeClr val="bg1"/>
              </a:solidFill>
              <a:latin typeface="Verdana" panose="020B0604030504040204" pitchFamily="34" charset="0"/>
              <a:ea typeface="Verdana" panose="020B0604030504040204" pitchFamily="34" charset="0"/>
              <a:cs typeface="Verdana" panose="020B0604030504040204" pitchFamily="34" charset="0"/>
            </a:rPr>
            <a:t>Interoperability</a:t>
          </a:r>
          <a:endParaRPr lang="de-DE" sz="100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0" lvl="0" indent="0" algn="ctr" defTabSz="444500">
            <a:lnSpc>
              <a:spcPct val="90000"/>
            </a:lnSpc>
            <a:spcBef>
              <a:spcPct val="0"/>
            </a:spcBef>
            <a:spcAft>
              <a:spcPct val="35000"/>
            </a:spcAft>
            <a:buNone/>
          </a:pPr>
          <a:r>
            <a:rPr lang="de-DE"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Data Exchange</a:t>
          </a:r>
        </a:p>
        <a:p>
          <a:pPr marL="0" lvl="0" indent="0" algn="ctr" defTabSz="444500">
            <a:lnSpc>
              <a:spcPct val="90000"/>
            </a:lnSpc>
            <a:spcBef>
              <a:spcPct val="0"/>
            </a:spcBef>
            <a:spcAft>
              <a:spcPct val="35000"/>
            </a:spcAft>
            <a:buNone/>
          </a:pPr>
          <a:r>
            <a:rPr lang="de-DE"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Sharing Economy«</a:t>
          </a:r>
        </a:p>
        <a:p>
          <a:pPr marL="0" lvl="0" indent="0" algn="ctr" defTabSz="444500">
            <a:lnSpc>
              <a:spcPct val="90000"/>
            </a:lnSpc>
            <a:spcBef>
              <a:spcPct val="0"/>
            </a:spcBef>
            <a:spcAft>
              <a:spcPct val="35000"/>
            </a:spcAft>
            <a:buNone/>
          </a:pPr>
          <a:r>
            <a:rPr lang="de-DE"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Data </a:t>
          </a:r>
          <a:r>
            <a:rPr lang="de-DE" sz="1000" kern="1200" dirty="0" err="1">
              <a:solidFill>
                <a:schemeClr val="bg1"/>
              </a:solidFill>
              <a:latin typeface="Verdana" panose="020B0604030504040204" pitchFamily="34" charset="0"/>
              <a:ea typeface="Verdana" panose="020B0604030504040204" pitchFamily="34" charset="0"/>
              <a:cs typeface="Verdana" panose="020B0604030504040204" pitchFamily="34" charset="0"/>
            </a:rPr>
            <a:t>Centric</a:t>
          </a:r>
          <a:r>
            <a:rPr lang="de-DE"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 Services</a:t>
          </a:r>
        </a:p>
      </dsp:txBody>
      <dsp:txXfrm>
        <a:off x="3230880" y="0"/>
        <a:ext cx="1950720" cy="1313716"/>
      </dsp:txXfrm>
    </dsp:sp>
    <dsp:sp modelId="{66D4BB58-7F4D-4023-85C6-188A656947D2}">
      <dsp:nvSpPr>
        <dsp:cNvPr id="0" name=""/>
        <dsp:cNvSpPr/>
      </dsp:nvSpPr>
      <dsp:spPr>
        <a:xfrm>
          <a:off x="3535680" y="1720342"/>
          <a:ext cx="1828800" cy="1251158"/>
        </a:xfrm>
        <a:prstGeom prst="upArrow">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130CE42-5816-4EBF-AF36-B4793F2B5152}">
      <dsp:nvSpPr>
        <dsp:cNvPr id="0" name=""/>
        <dsp:cNvSpPr/>
      </dsp:nvSpPr>
      <dsp:spPr>
        <a:xfrm>
          <a:off x="914400" y="1814179"/>
          <a:ext cx="1950720" cy="13137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Data Ownership</a:t>
          </a:r>
        </a:p>
        <a:p>
          <a:pPr marL="0" lvl="0" indent="0" algn="ctr" defTabSz="444500">
            <a:lnSpc>
              <a:spcPct val="90000"/>
            </a:lnSpc>
            <a:spcBef>
              <a:spcPct val="0"/>
            </a:spcBef>
            <a:spcAft>
              <a:spcPct val="35000"/>
            </a:spcAft>
            <a:buNone/>
          </a:pPr>
          <a:r>
            <a:rPr lang="de-DE"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Data Security</a:t>
          </a:r>
        </a:p>
        <a:p>
          <a:pPr marL="0" lvl="0" indent="0" algn="ctr" defTabSz="444500">
            <a:lnSpc>
              <a:spcPct val="90000"/>
            </a:lnSpc>
            <a:spcBef>
              <a:spcPct val="0"/>
            </a:spcBef>
            <a:spcAft>
              <a:spcPct val="35000"/>
            </a:spcAft>
            <a:buNone/>
          </a:pPr>
          <a:r>
            <a:rPr lang="de-DE"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Data Value</a:t>
          </a:r>
        </a:p>
      </dsp:txBody>
      <dsp:txXfrm>
        <a:off x="914400" y="1814179"/>
        <a:ext cx="1950720" cy="1313716"/>
      </dsp:txXfrm>
    </dsp:sp>
  </dsp:spTree>
</dsp:drawing>
</file>

<file path=ppt/diagrams/layout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790FD16C-8895-420F-A8EA-49A46C0B976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Tijdelijke aanduiding voor datum 2">
            <a:extLst>
              <a:ext uri="{FF2B5EF4-FFF2-40B4-BE49-F238E27FC236}">
                <a16:creationId xmlns:a16="http://schemas.microsoft.com/office/drawing/2014/main" id="{3700728C-ECC4-4B3A-8BFF-86F26773B07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AFEACA9-F0E6-4B7E-B44F-E42487D7D50E}" type="datetimeFigureOut">
              <a:rPr lang="en-US" smtClean="0"/>
              <a:t>6/4/2020</a:t>
            </a:fld>
            <a:endParaRPr lang="en-GB"/>
          </a:p>
        </p:txBody>
      </p:sp>
      <p:sp>
        <p:nvSpPr>
          <p:cNvPr id="4" name="Tijdelijke aanduiding voor voettekst 3">
            <a:extLst>
              <a:ext uri="{FF2B5EF4-FFF2-40B4-BE49-F238E27FC236}">
                <a16:creationId xmlns:a16="http://schemas.microsoft.com/office/drawing/2014/main" id="{72BF263F-937E-45F8-8B87-C3897AF9CC6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Tijdelijke aanduiding voor dianummer 4">
            <a:extLst>
              <a:ext uri="{FF2B5EF4-FFF2-40B4-BE49-F238E27FC236}">
                <a16:creationId xmlns:a16="http://schemas.microsoft.com/office/drawing/2014/main" id="{FAC4AB41-049A-45F6-8400-96B8E558F0A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93719E2-4BAC-4A20-AFDE-2A2DE3B6FB6C}" type="slidenum">
              <a:rPr lang="en-US" smtClean="0"/>
              <a:t>‹#›</a:t>
            </a:fld>
            <a:endParaRPr lang="en-GB"/>
          </a:p>
        </p:txBody>
      </p:sp>
    </p:spTree>
    <p:extLst>
      <p:ext uri="{BB962C8B-B14F-4D97-AF65-F5344CB8AC3E}">
        <p14:creationId xmlns:p14="http://schemas.microsoft.com/office/powerpoint/2010/main" val="17123970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7E9904-312C-4E6F-8F31-48A38C65A6EC}" type="datetimeFigureOut">
              <a:rPr lang="nl-NL" smtClean="0"/>
              <a:t>4-6-2020</a:t>
            </a:fld>
            <a:endParaRPr lang="en-GB"/>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88A791-D8E8-4C23-A528-EAEB42DC40E7}" type="slidenum">
              <a:rPr lang="nl-NL" smtClean="0"/>
              <a:t>‹#›</a:t>
            </a:fld>
            <a:endParaRPr lang="en-GB"/>
          </a:p>
        </p:txBody>
      </p:sp>
    </p:spTree>
    <p:extLst>
      <p:ext uri="{BB962C8B-B14F-4D97-AF65-F5344CB8AC3E}">
        <p14:creationId xmlns:p14="http://schemas.microsoft.com/office/powerpoint/2010/main" val="9390372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A88A791-D8E8-4C23-A528-EAEB42DC40E7}" type="slidenum">
              <a:rPr lang="nl-NL" smtClean="0"/>
              <a:t>1</a:t>
            </a:fld>
            <a:endParaRPr lang="en-GB"/>
          </a:p>
        </p:txBody>
      </p:sp>
    </p:spTree>
    <p:extLst>
      <p:ext uri="{BB962C8B-B14F-4D97-AF65-F5344CB8AC3E}">
        <p14:creationId xmlns:p14="http://schemas.microsoft.com/office/powerpoint/2010/main" val="111595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A88A791-D8E8-4C23-A528-EAEB42DC40E7}" type="slidenum">
              <a:rPr lang="nl-NL" smtClean="0"/>
              <a:t>3</a:t>
            </a:fld>
            <a:endParaRPr lang="en-GB"/>
          </a:p>
        </p:txBody>
      </p:sp>
    </p:spTree>
    <p:extLst>
      <p:ext uri="{BB962C8B-B14F-4D97-AF65-F5344CB8AC3E}">
        <p14:creationId xmlns:p14="http://schemas.microsoft.com/office/powerpoint/2010/main" val="2656028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A88A791-D8E8-4C23-A528-EAEB42DC40E7}" type="slidenum">
              <a:rPr lang="nl-NL" smtClean="0"/>
              <a:t>4</a:t>
            </a:fld>
            <a:endParaRPr lang="en-GB"/>
          </a:p>
        </p:txBody>
      </p:sp>
    </p:spTree>
    <p:extLst>
      <p:ext uri="{BB962C8B-B14F-4D97-AF65-F5344CB8AC3E}">
        <p14:creationId xmlns:p14="http://schemas.microsoft.com/office/powerpoint/2010/main" val="892144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Companies </a:t>
            </a:r>
            <a:r>
              <a:rPr lang="en-GB" baseline="0" dirty="0"/>
              <a:t>want to share data, but they want to keep control over their data.</a:t>
            </a:r>
          </a:p>
          <a:p>
            <a:r>
              <a:rPr lang="en-US" baseline="0" dirty="0"/>
              <a:t>There is a conflict of objectives between the emerging business models, which have excessive data exchange as a prerequisite, and the problem that ownership of data is not currently resolved.</a:t>
            </a:r>
            <a:endParaRPr lang="en-GB"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D99300-C3F4-D945-803E-8391A8FBF9D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9593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solidFill>
                <a:srgbClr val="6EAB37"/>
              </a:solidFill>
            </a:endParaRPr>
          </a:p>
        </p:txBody>
      </p:sp>
      <p:sp>
        <p:nvSpPr>
          <p:cNvPr id="4" name="Tijdelijke aanduiding voor dianumm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FB601D2-E6BE-DA4A-AEAE-E710A67D5A25}"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4041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b="1" dirty="0"/>
          </a:p>
        </p:txBody>
      </p:sp>
      <p:sp>
        <p:nvSpPr>
          <p:cNvPr id="4" name="Tijdelijke aanduiding voor dianumm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FB601D2-E6BE-DA4A-AEAE-E710A67D5A25}"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1854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FB601D2-E6BE-DA4A-AEAE-E710A67D5A25}"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5118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A88A791-D8E8-4C23-A528-EAEB42DC40E7}" type="slidenum">
              <a:rPr lang="nl-NL" smtClean="0"/>
              <a:t>19</a:t>
            </a:fld>
            <a:endParaRPr lang="en-GB"/>
          </a:p>
        </p:txBody>
      </p:sp>
    </p:spTree>
    <p:extLst>
      <p:ext uri="{BB962C8B-B14F-4D97-AF65-F5344CB8AC3E}">
        <p14:creationId xmlns:p14="http://schemas.microsoft.com/office/powerpoint/2010/main" val="25154972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png"/><Relationship Id="rId7"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1.png"/><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image" Target="../media/image5.jp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8FACD895-919C-41CE-8DFE-D5A75AE802F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hasCustomPrompt="1"/>
          </p:nvPr>
        </p:nvSpPr>
        <p:spPr>
          <a:xfrm>
            <a:off x="757238" y="4996382"/>
            <a:ext cx="8016246" cy="338957"/>
          </a:xfrm>
        </p:spPr>
        <p:txBody>
          <a:bodyPr anchor="ctr"/>
          <a:lstStyle>
            <a:lvl1pPr>
              <a:lnSpc>
                <a:spcPct val="100000"/>
              </a:lnSpc>
              <a:defRPr>
                <a:solidFill>
                  <a:schemeClr val="bg1"/>
                </a:solidFill>
              </a:defRPr>
            </a:lvl1pPr>
          </a:lstStyle>
          <a:p>
            <a:r>
              <a:rPr lang="nl-NL" dirty="0"/>
              <a:t>Plaats hier je titel</a:t>
            </a:r>
          </a:p>
        </p:txBody>
      </p:sp>
      <p:sp>
        <p:nvSpPr>
          <p:cNvPr id="7" name="Tekstvak 6">
            <a:extLst>
              <a:ext uri="{FF2B5EF4-FFF2-40B4-BE49-F238E27FC236}">
                <a16:creationId xmlns:a16="http://schemas.microsoft.com/office/drawing/2014/main" id="{11A6B26D-09F2-42A9-BEC2-9674112031AD}"/>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Title slide</a:t>
            </a:r>
          </a:p>
        </p:txBody>
      </p:sp>
      <p:sp>
        <p:nvSpPr>
          <p:cNvPr id="12" name="Tijdelijke aanduiding voor tekst 25">
            <a:extLst>
              <a:ext uri="{FF2B5EF4-FFF2-40B4-BE49-F238E27FC236}">
                <a16:creationId xmlns:a16="http://schemas.microsoft.com/office/drawing/2014/main" id="{A310F388-220F-4A00-82B6-726428FC92DC}"/>
              </a:ext>
            </a:extLst>
          </p:cNvPr>
          <p:cNvSpPr>
            <a:spLocks noGrp="1"/>
          </p:cNvSpPr>
          <p:nvPr>
            <p:ph type="body" sz="quarter" idx="15" hasCustomPrompt="1"/>
          </p:nvPr>
        </p:nvSpPr>
        <p:spPr>
          <a:xfrm>
            <a:off x="587030" y="5059711"/>
            <a:ext cx="68400" cy="201600"/>
          </a:xfrm>
          <a:blipFill>
            <a:blip r:embed="rId2" cstate="hqprint">
              <a:extLst>
                <a:ext uri="{28A0092B-C50C-407E-A947-70E740481C1C}">
                  <a14:useLocalDpi xmlns:a14="http://schemas.microsoft.com/office/drawing/2010/main"/>
                </a:ext>
              </a:extLst>
            </a:blip>
            <a:stretch>
              <a:fillRect/>
            </a:stretch>
          </a:blipFill>
          <a:ln w="12700">
            <a:noFill/>
          </a:ln>
        </p:spPr>
        <p:txBody>
          <a:bodyPr/>
          <a:lstStyle>
            <a:lvl1pPr marL="0" indent="0">
              <a:buFont typeface="Arial" panose="020B0604020202020204" pitchFamily="34" charset="0"/>
              <a:buNone/>
              <a:defRPr/>
            </a:lvl1pPr>
          </a:lstStyle>
          <a:p>
            <a:pPr lvl="0"/>
            <a:r>
              <a:rPr lang="nl-NL" dirty="0"/>
              <a:t> </a:t>
            </a:r>
          </a:p>
        </p:txBody>
      </p:sp>
      <p:sp>
        <p:nvSpPr>
          <p:cNvPr id="13" name="Tijdelijke aanduiding voor tekst 25">
            <a:extLst>
              <a:ext uri="{FF2B5EF4-FFF2-40B4-BE49-F238E27FC236}">
                <a16:creationId xmlns:a16="http://schemas.microsoft.com/office/drawing/2014/main" id="{B9647AE9-3369-4569-BD4D-E2544B90C46B}"/>
              </a:ext>
            </a:extLst>
          </p:cNvPr>
          <p:cNvSpPr>
            <a:spLocks noGrp="1"/>
          </p:cNvSpPr>
          <p:nvPr>
            <p:ph type="body" sz="quarter" idx="16" hasCustomPrompt="1"/>
          </p:nvPr>
        </p:nvSpPr>
        <p:spPr>
          <a:xfrm flipH="1">
            <a:off x="600488" y="5303385"/>
            <a:ext cx="7200" cy="1558800"/>
          </a:xfrm>
          <a:prstGeom prst="roundRect">
            <a:avLst>
              <a:gd name="adj" fmla="val 50000"/>
            </a:avLst>
          </a:prstGeom>
          <a:solidFill>
            <a:schemeClr val="bg1"/>
          </a:solidFill>
          <a:ln w="12700">
            <a:noFill/>
          </a:ln>
        </p:spPr>
        <p:txBody>
          <a:bodyPr/>
          <a:lstStyle>
            <a:lvl1pPr marL="0" indent="0">
              <a:buFont typeface="Arial" panose="020B0604020202020204" pitchFamily="34" charset="0"/>
              <a:buNone/>
              <a:defRPr/>
            </a:lvl1pPr>
          </a:lstStyle>
          <a:p>
            <a:pPr lvl="0"/>
            <a:r>
              <a:rPr lang="nl-NL" dirty="0"/>
              <a:t> </a:t>
            </a:r>
          </a:p>
        </p:txBody>
      </p:sp>
      <p:sp>
        <p:nvSpPr>
          <p:cNvPr id="3" name="Tijdelijke aanduiding voor tekst 2">
            <a:extLst>
              <a:ext uri="{FF2B5EF4-FFF2-40B4-BE49-F238E27FC236}">
                <a16:creationId xmlns:a16="http://schemas.microsoft.com/office/drawing/2014/main" id="{1E033E0D-02BF-429E-9E24-8720C1A7A2F8}"/>
              </a:ext>
            </a:extLst>
          </p:cNvPr>
          <p:cNvSpPr>
            <a:spLocks noGrp="1"/>
          </p:cNvSpPr>
          <p:nvPr>
            <p:ph type="body" sz="quarter" idx="18" hasCustomPrompt="1"/>
          </p:nvPr>
        </p:nvSpPr>
        <p:spPr>
          <a:xfrm>
            <a:off x="757238" y="5402181"/>
            <a:ext cx="8016246" cy="252663"/>
          </a:xfrm>
        </p:spPr>
        <p:txBody>
          <a:bodyPr anchor="ctr"/>
          <a:lstStyle>
            <a:lvl1pPr marL="0" indent="0">
              <a:buNone/>
              <a:defRPr sz="2400" cap="all" baseline="0">
                <a:solidFill>
                  <a:schemeClr val="bg1"/>
                </a:solidFill>
                <a:latin typeface="+mj-lt"/>
              </a:defRPr>
            </a:lvl1pPr>
          </a:lstStyle>
          <a:p>
            <a:pPr lvl="0"/>
            <a:r>
              <a:rPr lang="nl-NL" dirty="0"/>
              <a:t>Subtitel of naam spreker</a:t>
            </a:r>
          </a:p>
        </p:txBody>
      </p:sp>
    </p:spTree>
    <p:extLst>
      <p:ext uri="{BB962C8B-B14F-4D97-AF65-F5344CB8AC3E}">
        <p14:creationId xmlns:p14="http://schemas.microsoft.com/office/powerpoint/2010/main" val="3445763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ppt_x"/>
                                          </p:val>
                                        </p:tav>
                                        <p:tav tm="100000">
                                          <p:val>
                                            <p:strVal val="#ppt_x"/>
                                          </p:val>
                                        </p:tav>
                                      </p:tavLst>
                                    </p:anim>
                                    <p:anim calcmode="lin" valueType="num">
                                      <p:cBhvr additive="base">
                                        <p:cTn id="8" dur="10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900" fill="hold"/>
                                        <p:tgtEl>
                                          <p:spTgt spid="13"/>
                                        </p:tgtEl>
                                        <p:attrNameLst>
                                          <p:attrName>ppt_x</p:attrName>
                                        </p:attrNameLst>
                                      </p:cBhvr>
                                      <p:tavLst>
                                        <p:tav tm="0">
                                          <p:val>
                                            <p:strVal val="#ppt_x"/>
                                          </p:val>
                                        </p:tav>
                                        <p:tav tm="100000">
                                          <p:val>
                                            <p:strVal val="#ppt_x"/>
                                          </p:val>
                                        </p:tav>
                                      </p:tavLst>
                                    </p:anim>
                                    <p:anim calcmode="lin" valueType="num">
                                      <p:cBhvr additive="base">
                                        <p:cTn id="12" dur="900" fill="hold"/>
                                        <p:tgtEl>
                                          <p:spTgt spid="13"/>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1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animBg="1">
        <p:tmplLst>
          <p:tmpl>
            <p:tnLst>
              <p:par>
                <p:cTn presetID="2" presetClass="entr" presetSubtype="4"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1000" fill="hold"/>
                        <p:tgtEl>
                          <p:spTgt spid="12"/>
                        </p:tgtEl>
                        <p:attrNameLst>
                          <p:attrName>ppt_x</p:attrName>
                        </p:attrNameLst>
                      </p:cBhvr>
                      <p:tavLst>
                        <p:tav tm="0">
                          <p:val>
                            <p:strVal val="#ppt_x"/>
                          </p:val>
                        </p:tav>
                        <p:tav tm="100000">
                          <p:val>
                            <p:strVal val="#ppt_x"/>
                          </p:val>
                        </p:tav>
                      </p:tavLst>
                    </p:anim>
                    <p:anim calcmode="lin" valueType="num">
                      <p:cBhvr additive="base">
                        <p:cTn dur="1000" fill="hold"/>
                        <p:tgtEl>
                          <p:spTgt spid="12"/>
                        </p:tgtEl>
                        <p:attrNameLst>
                          <p:attrName>ppt_y</p:attrName>
                        </p:attrNameLst>
                      </p:cBhvr>
                      <p:tavLst>
                        <p:tav tm="0">
                          <p:val>
                            <p:strVal val="1+#ppt_h/2"/>
                          </p:val>
                        </p:tav>
                        <p:tav tm="100000">
                          <p:val>
                            <p:strVal val="#ppt_y"/>
                          </p:val>
                        </p:tav>
                      </p:tavLst>
                    </p:anim>
                  </p:childTnLst>
                </p:cTn>
              </p:par>
            </p:tnLst>
          </p:tmpl>
        </p:tmplLst>
      </p:bldP>
      <p:bldP spid="13" grpId="0" animBg="1">
        <p:tmplLst>
          <p:tmpl>
            <p:tnLst>
              <p:par>
                <p:cTn presetID="2" presetClass="entr" presetSubtype="4" decel="100000" fill="hold" nodeType="withEffect">
                  <p:stCondLst>
                    <p:cond delay="100"/>
                  </p:stCondLst>
                  <p:childTnLst>
                    <p:set>
                      <p:cBhvr>
                        <p:cTn dur="1" fill="hold">
                          <p:stCondLst>
                            <p:cond delay="0"/>
                          </p:stCondLst>
                        </p:cTn>
                        <p:tgtEl>
                          <p:spTgt spid="13"/>
                        </p:tgtEl>
                        <p:attrNameLst>
                          <p:attrName>style.visibility</p:attrName>
                        </p:attrNameLst>
                      </p:cBhvr>
                      <p:to>
                        <p:strVal val="visible"/>
                      </p:to>
                    </p:set>
                    <p:anim calcmode="lin" valueType="num">
                      <p:cBhvr additive="base">
                        <p:cTn dur="900" fill="hold"/>
                        <p:tgtEl>
                          <p:spTgt spid="13"/>
                        </p:tgtEl>
                        <p:attrNameLst>
                          <p:attrName>ppt_x</p:attrName>
                        </p:attrNameLst>
                      </p:cBhvr>
                      <p:tavLst>
                        <p:tav tm="0">
                          <p:val>
                            <p:strVal val="#ppt_x"/>
                          </p:val>
                        </p:tav>
                        <p:tav tm="100000">
                          <p:val>
                            <p:strVal val="#ppt_x"/>
                          </p:val>
                        </p:tav>
                      </p:tavLst>
                    </p:anim>
                    <p:anim calcmode="lin" valueType="num">
                      <p:cBhvr additive="base">
                        <p:cTn dur="900" fill="hold"/>
                        <p:tgtEl>
                          <p:spTgt spid="13"/>
                        </p:tgtEl>
                        <p:attrNameLst>
                          <p:attrName>ppt_y</p:attrName>
                        </p:attrNameLst>
                      </p:cBhvr>
                      <p:tavLst>
                        <p:tav tm="0">
                          <p:val>
                            <p:strVal val="1+#ppt_h/2"/>
                          </p:val>
                        </p:tav>
                        <p:tav tm="100000">
                          <p:val>
                            <p:strVal val="#ppt_y"/>
                          </p:val>
                        </p:tav>
                      </p:tavLst>
                    </p:anim>
                  </p:childTnLst>
                </p:cTn>
              </p:par>
            </p:tnLst>
          </p:tmpl>
        </p:tmplLst>
      </p:bldP>
      <p:bldP spid="3" grpId="0">
        <p:tmplLst>
          <p:tmpl>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ereld - Glow + teksten">
    <p:spTree>
      <p:nvGrpSpPr>
        <p:cNvPr id="1" name=""/>
        <p:cNvGrpSpPr/>
        <p:nvPr/>
      </p:nvGrpSpPr>
      <p:grpSpPr>
        <a:xfrm>
          <a:off x="0" y="0"/>
          <a:ext cx="0" cy="0"/>
          <a:chOff x="0" y="0"/>
          <a:chExt cx="0" cy="0"/>
        </a:xfrm>
      </p:grpSpPr>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Only title #1</a:t>
            </a:r>
          </a:p>
        </p:txBody>
      </p:sp>
      <p:pic>
        <p:nvPicPr>
          <p:cNvPr id="5" name="Afbeelding 4">
            <a:extLst>
              <a:ext uri="{FF2B5EF4-FFF2-40B4-BE49-F238E27FC236}">
                <a16:creationId xmlns:a16="http://schemas.microsoft.com/office/drawing/2014/main" id="{CC0DAD02-D558-49D3-BA05-6CC56AA6CD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7968"/>
            <a:ext cx="12192000" cy="6865968"/>
          </a:xfrm>
          <a:prstGeom prst="rect">
            <a:avLst/>
          </a:prstGeom>
        </p:spPr>
      </p:pic>
      <p:sp>
        <p:nvSpPr>
          <p:cNvPr id="4" name="TEKST5">
            <a:extLst>
              <a:ext uri="{FF2B5EF4-FFF2-40B4-BE49-F238E27FC236}">
                <a16:creationId xmlns:a16="http://schemas.microsoft.com/office/drawing/2014/main" id="{C089DCE3-F29F-4A2C-8381-15A6F29A1B6C}"/>
              </a:ext>
            </a:extLst>
          </p:cNvPr>
          <p:cNvSpPr/>
          <p:nvPr userDrawn="1"/>
        </p:nvSpPr>
        <p:spPr>
          <a:xfrm rot="19440326">
            <a:off x="3491049" y="1017334"/>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3175"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800" b="1" cap="all" dirty="0">
                <a:solidFill>
                  <a:schemeClr val="bg1"/>
                </a:solidFill>
                <a:latin typeface="+mj-lt"/>
              </a:rPr>
              <a:t>Smart health</a:t>
            </a:r>
          </a:p>
        </p:txBody>
      </p:sp>
      <p:sp>
        <p:nvSpPr>
          <p:cNvPr id="6" name="TEKST1">
            <a:extLst>
              <a:ext uri="{FF2B5EF4-FFF2-40B4-BE49-F238E27FC236}">
                <a16:creationId xmlns:a16="http://schemas.microsoft.com/office/drawing/2014/main" id="{47D554C3-6135-4657-8C41-AE64C2A66940}"/>
              </a:ext>
            </a:extLst>
          </p:cNvPr>
          <p:cNvSpPr/>
          <p:nvPr userDrawn="1"/>
        </p:nvSpPr>
        <p:spPr>
          <a:xfrm rot="18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317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ArchUp">
              <a:avLst/>
            </a:prstTxWarp>
            <a:noAutofit/>
          </a:bodyPr>
          <a:lstStyle/>
          <a:p>
            <a:pPr algn="ctr"/>
            <a:r>
              <a:rPr lang="en-GB" sz="800" b="1" cap="all" dirty="0">
                <a:solidFill>
                  <a:schemeClr val="bg1"/>
                </a:solidFill>
                <a:latin typeface="+mj-lt"/>
              </a:rPr>
              <a:t>Smart climate solutions</a:t>
            </a:r>
          </a:p>
        </p:txBody>
      </p:sp>
      <p:sp>
        <p:nvSpPr>
          <p:cNvPr id="7" name="TEKST3">
            <a:extLst>
              <a:ext uri="{FF2B5EF4-FFF2-40B4-BE49-F238E27FC236}">
                <a16:creationId xmlns:a16="http://schemas.microsoft.com/office/drawing/2014/main" id="{1C3FC225-845B-4BB4-93D7-D7E6694DC19C}"/>
              </a:ext>
            </a:extLst>
          </p:cNvPr>
          <p:cNvSpPr/>
          <p:nvPr userDrawn="1"/>
        </p:nvSpPr>
        <p:spPr>
          <a:xfrm rot="54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ArchUp">
              <a:avLst/>
            </a:prstTxWarp>
            <a:noAutofit/>
          </a:bodyPr>
          <a:lstStyle/>
          <a:p>
            <a:pPr algn="ctr"/>
            <a:r>
              <a:rPr lang="en-GB" sz="800" b="1" cap="all" dirty="0">
                <a:solidFill>
                  <a:schemeClr val="bg1"/>
                </a:solidFill>
                <a:latin typeface="+mj-lt"/>
              </a:rPr>
              <a:t>Smart mobility</a:t>
            </a:r>
          </a:p>
        </p:txBody>
      </p:sp>
      <p:sp>
        <p:nvSpPr>
          <p:cNvPr id="8" name="TEKST6">
            <a:extLst>
              <a:ext uri="{FF2B5EF4-FFF2-40B4-BE49-F238E27FC236}">
                <a16:creationId xmlns:a16="http://schemas.microsoft.com/office/drawing/2014/main" id="{798DAD21-4D07-447E-8DFE-745841C0D82F}"/>
              </a:ext>
            </a:extLst>
          </p:cNvPr>
          <p:cNvSpPr/>
          <p:nvPr userDrawn="1"/>
        </p:nvSpPr>
        <p:spPr>
          <a:xfrm rot="18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800" b="1" cap="all" dirty="0">
                <a:solidFill>
                  <a:schemeClr val="bg1"/>
                </a:solidFill>
                <a:latin typeface="+mj-lt"/>
              </a:rPr>
              <a:t>Smart resources</a:t>
            </a:r>
          </a:p>
        </p:txBody>
      </p:sp>
      <p:sp>
        <p:nvSpPr>
          <p:cNvPr id="9" name="TEKST8">
            <a:extLst>
              <a:ext uri="{FF2B5EF4-FFF2-40B4-BE49-F238E27FC236}">
                <a16:creationId xmlns:a16="http://schemas.microsoft.com/office/drawing/2014/main" id="{FCB0056F-947A-42AE-874D-EADF1B82DEAA}"/>
              </a:ext>
            </a:extLst>
          </p:cNvPr>
          <p:cNvSpPr/>
          <p:nvPr userDrawn="1"/>
        </p:nvSpPr>
        <p:spPr>
          <a:xfrm rot="54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800" b="1" cap="all" dirty="0">
                <a:solidFill>
                  <a:schemeClr val="bg1"/>
                </a:solidFill>
                <a:latin typeface="+mj-lt"/>
              </a:rPr>
              <a:t>Smart energy</a:t>
            </a:r>
          </a:p>
        </p:txBody>
      </p:sp>
      <p:sp>
        <p:nvSpPr>
          <p:cNvPr id="10" name="TEKST9">
            <a:extLst>
              <a:ext uri="{FF2B5EF4-FFF2-40B4-BE49-F238E27FC236}">
                <a16:creationId xmlns:a16="http://schemas.microsoft.com/office/drawing/2014/main" id="{4AA91982-AB50-48D2-87EA-E070A711A133}"/>
              </a:ext>
            </a:extLst>
          </p:cNvPr>
          <p:cNvSpPr/>
          <p:nvPr userDrawn="1"/>
        </p:nvSpPr>
        <p:spPr>
          <a:xfrm rot="189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Up">
              <a:avLst/>
            </a:prstTxWarp>
            <a:noAutofit/>
          </a:bodyPr>
          <a:lstStyle/>
          <a:p>
            <a:pPr algn="ctr"/>
            <a:r>
              <a:rPr lang="en-GB" sz="800" b="1" cap="all" dirty="0">
                <a:solidFill>
                  <a:schemeClr val="bg1"/>
                </a:solidFill>
                <a:latin typeface="+mj-lt"/>
              </a:rPr>
              <a:t>Smart cities</a:t>
            </a:r>
          </a:p>
        </p:txBody>
      </p:sp>
      <p:grpSp>
        <p:nvGrpSpPr>
          <p:cNvPr id="11" name="DRONE_1">
            <a:extLst>
              <a:ext uri="{FF2B5EF4-FFF2-40B4-BE49-F238E27FC236}">
                <a16:creationId xmlns:a16="http://schemas.microsoft.com/office/drawing/2014/main" id="{192CAEA9-9F58-4559-813E-613E3CF566C0}"/>
              </a:ext>
            </a:extLst>
          </p:cNvPr>
          <p:cNvGrpSpPr/>
          <p:nvPr userDrawn="1"/>
        </p:nvGrpSpPr>
        <p:grpSpPr>
          <a:xfrm>
            <a:off x="7811155" y="2484485"/>
            <a:ext cx="95078" cy="107930"/>
            <a:chOff x="7779061" y="2300965"/>
            <a:chExt cx="95078" cy="107930"/>
          </a:xfrm>
          <a:solidFill>
            <a:schemeClr val="accent1"/>
          </a:solidFill>
        </p:grpSpPr>
        <p:grpSp>
          <p:nvGrpSpPr>
            <p:cNvPr id="12" name="Graphic 3">
              <a:extLst>
                <a:ext uri="{FF2B5EF4-FFF2-40B4-BE49-F238E27FC236}">
                  <a16:creationId xmlns:a16="http://schemas.microsoft.com/office/drawing/2014/main" id="{EC015218-86C3-4F4C-9B25-F8FBB3E5C586}"/>
                </a:ext>
              </a:extLst>
            </p:cNvPr>
            <p:cNvGrpSpPr/>
            <p:nvPr/>
          </p:nvGrpSpPr>
          <p:grpSpPr>
            <a:xfrm>
              <a:off x="7779061" y="2366053"/>
              <a:ext cx="70835" cy="42842"/>
              <a:chOff x="7779061" y="2366053"/>
              <a:chExt cx="70835" cy="42842"/>
            </a:xfrm>
            <a:solidFill>
              <a:srgbClr val="FFFFFF"/>
            </a:solidFill>
          </p:grpSpPr>
          <p:sp>
            <p:nvSpPr>
              <p:cNvPr id="30" name="Vrije vorm: vorm 29">
                <a:extLst>
                  <a:ext uri="{FF2B5EF4-FFF2-40B4-BE49-F238E27FC236}">
                    <a16:creationId xmlns:a16="http://schemas.microsoft.com/office/drawing/2014/main" id="{A87352BC-3B90-4002-8BB8-84093F7D7990}"/>
                  </a:ext>
                </a:extLst>
              </p:cNvPr>
              <p:cNvSpPr/>
              <p:nvPr/>
            </p:nvSpPr>
            <p:spPr>
              <a:xfrm>
                <a:off x="7813418" y="2366053"/>
                <a:ext cx="18308" cy="10774"/>
              </a:xfrm>
              <a:custGeom>
                <a:avLst/>
                <a:gdLst>
                  <a:gd name="connsiteX0" fmla="*/ 16682 w 18308"/>
                  <a:gd name="connsiteY0" fmla="*/ 5583 h 10774"/>
                  <a:gd name="connsiteX1" fmla="*/ 16443 w 18308"/>
                  <a:gd name="connsiteY1" fmla="*/ 5523 h 10774"/>
                  <a:gd name="connsiteX2" fmla="*/ 3764 w 18308"/>
                  <a:gd name="connsiteY2" fmla="*/ 320 h 10774"/>
                  <a:gd name="connsiteX3" fmla="*/ 295 w 18308"/>
                  <a:gd name="connsiteY3" fmla="*/ 1456 h 10774"/>
                  <a:gd name="connsiteX4" fmla="*/ 1371 w 18308"/>
                  <a:gd name="connsiteY4" fmla="*/ 5045 h 10774"/>
                  <a:gd name="connsiteX5" fmla="*/ 15067 w 18308"/>
                  <a:gd name="connsiteY5" fmla="*/ 10666 h 10774"/>
                  <a:gd name="connsiteX6" fmla="*/ 18237 w 18308"/>
                  <a:gd name="connsiteY6" fmla="*/ 8812 h 10774"/>
                  <a:gd name="connsiteX7" fmla="*/ 16682 w 18308"/>
                  <a:gd name="connsiteY7" fmla="*/ 5583 h 1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08" h="10774">
                    <a:moveTo>
                      <a:pt x="16682" y="5583"/>
                    </a:moveTo>
                    <a:cubicBezTo>
                      <a:pt x="16622" y="5523"/>
                      <a:pt x="16503" y="5523"/>
                      <a:pt x="16443" y="5523"/>
                    </a:cubicBezTo>
                    <a:cubicBezTo>
                      <a:pt x="11120" y="3968"/>
                      <a:pt x="8608" y="2951"/>
                      <a:pt x="3764" y="320"/>
                    </a:cubicBezTo>
                    <a:cubicBezTo>
                      <a:pt x="2568" y="-398"/>
                      <a:pt x="953" y="140"/>
                      <a:pt x="295" y="1456"/>
                    </a:cubicBezTo>
                    <a:cubicBezTo>
                      <a:pt x="-363" y="2772"/>
                      <a:pt x="115" y="4387"/>
                      <a:pt x="1371" y="5045"/>
                    </a:cubicBezTo>
                    <a:cubicBezTo>
                      <a:pt x="6574" y="7856"/>
                      <a:pt x="9386" y="8992"/>
                      <a:pt x="15067" y="10666"/>
                    </a:cubicBezTo>
                    <a:cubicBezTo>
                      <a:pt x="16443" y="11085"/>
                      <a:pt x="17818" y="10248"/>
                      <a:pt x="18237" y="8812"/>
                    </a:cubicBezTo>
                    <a:cubicBezTo>
                      <a:pt x="18536" y="7437"/>
                      <a:pt x="17878" y="6121"/>
                      <a:pt x="16682" y="5583"/>
                    </a:cubicBezTo>
                    <a:close/>
                  </a:path>
                </a:pathLst>
              </a:custGeom>
              <a:solidFill>
                <a:srgbClr val="FFFFFF"/>
              </a:solidFill>
              <a:ln w="5978" cap="flat">
                <a:noFill/>
                <a:prstDash val="solid"/>
                <a:miter/>
              </a:ln>
            </p:spPr>
            <p:txBody>
              <a:bodyPr rtlCol="0" anchor="ctr"/>
              <a:lstStyle/>
              <a:p>
                <a:endParaRPr lang="en-GB"/>
              </a:p>
            </p:txBody>
          </p:sp>
          <p:sp>
            <p:nvSpPr>
              <p:cNvPr id="31" name="Vrije vorm: vorm 30">
                <a:extLst>
                  <a:ext uri="{FF2B5EF4-FFF2-40B4-BE49-F238E27FC236}">
                    <a16:creationId xmlns:a16="http://schemas.microsoft.com/office/drawing/2014/main" id="{8F9C0F82-F443-4340-932B-10D3AB3C4C4F}"/>
                  </a:ext>
                </a:extLst>
              </p:cNvPr>
              <p:cNvSpPr/>
              <p:nvPr/>
            </p:nvSpPr>
            <p:spPr>
              <a:xfrm>
                <a:off x="7802835" y="2370842"/>
                <a:ext cx="33344" cy="16917"/>
              </a:xfrm>
              <a:custGeom>
                <a:avLst/>
                <a:gdLst>
                  <a:gd name="connsiteX0" fmla="*/ 3522 w 33344"/>
                  <a:gd name="connsiteY0" fmla="*/ 195 h 16917"/>
                  <a:gd name="connsiteX1" fmla="*/ 412 w 33344"/>
                  <a:gd name="connsiteY1" fmla="*/ 1272 h 16917"/>
                  <a:gd name="connsiteX2" fmla="*/ 1189 w 33344"/>
                  <a:gd name="connsiteY2" fmla="*/ 4920 h 16917"/>
                  <a:gd name="connsiteX3" fmla="*/ 15184 w 33344"/>
                  <a:gd name="connsiteY3" fmla="*/ 12396 h 16917"/>
                  <a:gd name="connsiteX4" fmla="*/ 30316 w 33344"/>
                  <a:gd name="connsiteY4" fmla="*/ 16881 h 16917"/>
                  <a:gd name="connsiteX5" fmla="*/ 33306 w 33344"/>
                  <a:gd name="connsiteY5" fmla="*/ 14728 h 16917"/>
                  <a:gd name="connsiteX6" fmla="*/ 31272 w 33344"/>
                  <a:gd name="connsiteY6" fmla="*/ 11618 h 16917"/>
                  <a:gd name="connsiteX7" fmla="*/ 17098 w 33344"/>
                  <a:gd name="connsiteY7" fmla="*/ 7372 h 16917"/>
                  <a:gd name="connsiteX8" fmla="*/ 3940 w 33344"/>
                  <a:gd name="connsiteY8" fmla="*/ 374 h 16917"/>
                  <a:gd name="connsiteX9" fmla="*/ 3522 w 33344"/>
                  <a:gd name="connsiteY9" fmla="*/ 195 h 1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44" h="16917">
                    <a:moveTo>
                      <a:pt x="3522" y="195"/>
                    </a:moveTo>
                    <a:cubicBezTo>
                      <a:pt x="2385" y="-284"/>
                      <a:pt x="1130" y="135"/>
                      <a:pt x="412" y="1272"/>
                    </a:cubicBezTo>
                    <a:cubicBezTo>
                      <a:pt x="-366" y="2527"/>
                      <a:pt x="-7" y="4142"/>
                      <a:pt x="1189" y="4920"/>
                    </a:cubicBezTo>
                    <a:cubicBezTo>
                      <a:pt x="5854" y="8030"/>
                      <a:pt x="10041" y="10243"/>
                      <a:pt x="15184" y="12396"/>
                    </a:cubicBezTo>
                    <a:cubicBezTo>
                      <a:pt x="20327" y="14489"/>
                      <a:pt x="24873" y="15865"/>
                      <a:pt x="30316" y="16881"/>
                    </a:cubicBezTo>
                    <a:cubicBezTo>
                      <a:pt x="31691" y="17120"/>
                      <a:pt x="33007" y="16163"/>
                      <a:pt x="33306" y="14728"/>
                    </a:cubicBezTo>
                    <a:cubicBezTo>
                      <a:pt x="33545" y="13293"/>
                      <a:pt x="32648" y="11917"/>
                      <a:pt x="31272" y="11618"/>
                    </a:cubicBezTo>
                    <a:cubicBezTo>
                      <a:pt x="24873" y="10422"/>
                      <a:pt x="20507" y="8807"/>
                      <a:pt x="17098" y="7372"/>
                    </a:cubicBezTo>
                    <a:cubicBezTo>
                      <a:pt x="13689" y="5996"/>
                      <a:pt x="9443" y="4023"/>
                      <a:pt x="3940" y="374"/>
                    </a:cubicBezTo>
                    <a:cubicBezTo>
                      <a:pt x="3821" y="315"/>
                      <a:pt x="3641" y="255"/>
                      <a:pt x="3522" y="195"/>
                    </a:cubicBezTo>
                    <a:close/>
                  </a:path>
                </a:pathLst>
              </a:custGeom>
              <a:solidFill>
                <a:srgbClr val="FFFFFF"/>
              </a:solidFill>
              <a:ln w="5978" cap="flat">
                <a:noFill/>
                <a:prstDash val="solid"/>
                <a:miter/>
              </a:ln>
            </p:spPr>
            <p:txBody>
              <a:bodyPr rtlCol="0" anchor="ctr"/>
              <a:lstStyle/>
              <a:p>
                <a:endParaRPr lang="en-GB"/>
              </a:p>
            </p:txBody>
          </p:sp>
          <p:sp>
            <p:nvSpPr>
              <p:cNvPr id="32" name="Vrije vorm: vorm 31">
                <a:extLst>
                  <a:ext uri="{FF2B5EF4-FFF2-40B4-BE49-F238E27FC236}">
                    <a16:creationId xmlns:a16="http://schemas.microsoft.com/office/drawing/2014/main" id="{1F8D569F-5ED9-448E-968F-58A632EFA824}"/>
                  </a:ext>
                </a:extLst>
              </p:cNvPr>
              <p:cNvSpPr/>
              <p:nvPr/>
            </p:nvSpPr>
            <p:spPr>
              <a:xfrm>
                <a:off x="7790536" y="2373877"/>
                <a:ext cx="52725" cy="24860"/>
              </a:xfrm>
              <a:custGeom>
                <a:avLst/>
                <a:gdLst>
                  <a:gd name="connsiteX0" fmla="*/ 51107 w 52725"/>
                  <a:gd name="connsiteY0" fmla="*/ 19708 h 24860"/>
                  <a:gd name="connsiteX1" fmla="*/ 50389 w 52725"/>
                  <a:gd name="connsiteY1" fmla="*/ 19529 h 24860"/>
                  <a:gd name="connsiteX2" fmla="*/ 33105 w 52725"/>
                  <a:gd name="connsiteY2" fmla="*/ 16179 h 24860"/>
                  <a:gd name="connsiteX3" fmla="*/ 18930 w 52725"/>
                  <a:gd name="connsiteY3" fmla="*/ 10378 h 24860"/>
                  <a:gd name="connsiteX4" fmla="*/ 4158 w 52725"/>
                  <a:gd name="connsiteY4" fmla="*/ 570 h 24860"/>
                  <a:gd name="connsiteX5" fmla="*/ 570 w 52725"/>
                  <a:gd name="connsiteY5" fmla="*/ 988 h 24860"/>
                  <a:gd name="connsiteX6" fmla="*/ 988 w 52725"/>
                  <a:gd name="connsiteY6" fmla="*/ 4756 h 24860"/>
                  <a:gd name="connsiteX7" fmla="*/ 16658 w 52725"/>
                  <a:gd name="connsiteY7" fmla="*/ 15163 h 24860"/>
                  <a:gd name="connsiteX8" fmla="*/ 31669 w 52725"/>
                  <a:gd name="connsiteY8" fmla="*/ 21323 h 24860"/>
                  <a:gd name="connsiteX9" fmla="*/ 49971 w 52725"/>
                  <a:gd name="connsiteY9" fmla="*/ 24851 h 24860"/>
                  <a:gd name="connsiteX10" fmla="*/ 52721 w 52725"/>
                  <a:gd name="connsiteY10" fmla="*/ 22399 h 24860"/>
                  <a:gd name="connsiteX11" fmla="*/ 51107 w 52725"/>
                  <a:gd name="connsiteY11" fmla="*/ 19708 h 24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725" h="24860">
                    <a:moveTo>
                      <a:pt x="51107" y="19708"/>
                    </a:moveTo>
                    <a:cubicBezTo>
                      <a:pt x="50868" y="19588"/>
                      <a:pt x="50628" y="19529"/>
                      <a:pt x="50389" y="19529"/>
                    </a:cubicBezTo>
                    <a:cubicBezTo>
                      <a:pt x="44408" y="19050"/>
                      <a:pt x="38906" y="17974"/>
                      <a:pt x="33105" y="16179"/>
                    </a:cubicBezTo>
                    <a:cubicBezTo>
                      <a:pt x="28081" y="14624"/>
                      <a:pt x="23595" y="12830"/>
                      <a:pt x="18930" y="10378"/>
                    </a:cubicBezTo>
                    <a:cubicBezTo>
                      <a:pt x="13548" y="7567"/>
                      <a:pt x="8823" y="4457"/>
                      <a:pt x="4158" y="570"/>
                    </a:cubicBezTo>
                    <a:cubicBezTo>
                      <a:pt x="3082" y="-327"/>
                      <a:pt x="1467" y="-148"/>
                      <a:pt x="570" y="988"/>
                    </a:cubicBezTo>
                    <a:cubicBezTo>
                      <a:pt x="-328" y="2125"/>
                      <a:pt x="-148" y="3799"/>
                      <a:pt x="988" y="4756"/>
                    </a:cubicBezTo>
                    <a:cubicBezTo>
                      <a:pt x="5953" y="8883"/>
                      <a:pt x="10916" y="12172"/>
                      <a:pt x="16658" y="15163"/>
                    </a:cubicBezTo>
                    <a:cubicBezTo>
                      <a:pt x="21622" y="17734"/>
                      <a:pt x="26347" y="19708"/>
                      <a:pt x="31669" y="21323"/>
                    </a:cubicBezTo>
                    <a:cubicBezTo>
                      <a:pt x="37770" y="23177"/>
                      <a:pt x="43571" y="24313"/>
                      <a:pt x="49971" y="24851"/>
                    </a:cubicBezTo>
                    <a:cubicBezTo>
                      <a:pt x="51346" y="24971"/>
                      <a:pt x="52602" y="23894"/>
                      <a:pt x="52721" y="22399"/>
                    </a:cubicBezTo>
                    <a:cubicBezTo>
                      <a:pt x="52781" y="21203"/>
                      <a:pt x="52124" y="20067"/>
                      <a:pt x="51107" y="19708"/>
                    </a:cubicBezTo>
                    <a:close/>
                  </a:path>
                </a:pathLst>
              </a:custGeom>
              <a:solidFill>
                <a:srgbClr val="FFFFFF"/>
              </a:solidFill>
              <a:ln w="5978" cap="flat">
                <a:noFill/>
                <a:prstDash val="solid"/>
                <a:miter/>
              </a:ln>
            </p:spPr>
            <p:txBody>
              <a:bodyPr rtlCol="0" anchor="ctr"/>
              <a:lstStyle/>
              <a:p>
                <a:endParaRPr lang="en-GB"/>
              </a:p>
            </p:txBody>
          </p:sp>
          <p:sp>
            <p:nvSpPr>
              <p:cNvPr id="33" name="Vrije vorm: vorm 32">
                <a:extLst>
                  <a:ext uri="{FF2B5EF4-FFF2-40B4-BE49-F238E27FC236}">
                    <a16:creationId xmlns:a16="http://schemas.microsoft.com/office/drawing/2014/main" id="{8C1AC9BA-3835-406C-ACCA-95F83962C2D0}"/>
                  </a:ext>
                </a:extLst>
              </p:cNvPr>
              <p:cNvSpPr/>
              <p:nvPr/>
            </p:nvSpPr>
            <p:spPr>
              <a:xfrm>
                <a:off x="7779061" y="2376582"/>
                <a:ext cx="70835" cy="32313"/>
              </a:xfrm>
              <a:custGeom>
                <a:avLst/>
                <a:gdLst>
                  <a:gd name="connsiteX0" fmla="*/ 69222 w 70835"/>
                  <a:gd name="connsiteY0" fmla="*/ 27170 h 32313"/>
                  <a:gd name="connsiteX1" fmla="*/ 68324 w 70835"/>
                  <a:gd name="connsiteY1" fmla="*/ 26991 h 32313"/>
                  <a:gd name="connsiteX2" fmla="*/ 43982 w 70835"/>
                  <a:gd name="connsiteY2" fmla="*/ 23582 h 32313"/>
                  <a:gd name="connsiteX3" fmla="*/ 24246 w 70835"/>
                  <a:gd name="connsiteY3" fmla="*/ 15448 h 32313"/>
                  <a:gd name="connsiteX4" fmla="*/ 4270 w 70835"/>
                  <a:gd name="connsiteY4" fmla="*/ 675 h 32313"/>
                  <a:gd name="connsiteX5" fmla="*/ 682 w 70835"/>
                  <a:gd name="connsiteY5" fmla="*/ 855 h 32313"/>
                  <a:gd name="connsiteX6" fmla="*/ 802 w 70835"/>
                  <a:gd name="connsiteY6" fmla="*/ 4623 h 32313"/>
                  <a:gd name="connsiteX7" fmla="*/ 21854 w 70835"/>
                  <a:gd name="connsiteY7" fmla="*/ 20173 h 32313"/>
                  <a:gd name="connsiteX8" fmla="*/ 42667 w 70835"/>
                  <a:gd name="connsiteY8" fmla="*/ 28725 h 32313"/>
                  <a:gd name="connsiteX9" fmla="*/ 68264 w 70835"/>
                  <a:gd name="connsiteY9" fmla="*/ 32314 h 32313"/>
                  <a:gd name="connsiteX10" fmla="*/ 70836 w 70835"/>
                  <a:gd name="connsiteY10" fmla="*/ 29682 h 32313"/>
                  <a:gd name="connsiteX11" fmla="*/ 69222 w 70835"/>
                  <a:gd name="connsiteY11" fmla="*/ 27170 h 32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835" h="32313">
                    <a:moveTo>
                      <a:pt x="69222" y="27170"/>
                    </a:moveTo>
                    <a:cubicBezTo>
                      <a:pt x="68922" y="27050"/>
                      <a:pt x="68623" y="26991"/>
                      <a:pt x="68324" y="26991"/>
                    </a:cubicBezTo>
                    <a:cubicBezTo>
                      <a:pt x="59891" y="26931"/>
                      <a:pt x="52176" y="25854"/>
                      <a:pt x="43982" y="23582"/>
                    </a:cubicBezTo>
                    <a:cubicBezTo>
                      <a:pt x="36925" y="21608"/>
                      <a:pt x="30645" y="19036"/>
                      <a:pt x="24246" y="15448"/>
                    </a:cubicBezTo>
                    <a:cubicBezTo>
                      <a:pt x="16830" y="11321"/>
                      <a:pt x="10431" y="6656"/>
                      <a:pt x="4270" y="675"/>
                    </a:cubicBezTo>
                    <a:cubicBezTo>
                      <a:pt x="3254" y="-281"/>
                      <a:pt x="1639" y="-222"/>
                      <a:pt x="682" y="855"/>
                    </a:cubicBezTo>
                    <a:cubicBezTo>
                      <a:pt x="-275" y="1931"/>
                      <a:pt x="-215" y="3606"/>
                      <a:pt x="802" y="4623"/>
                    </a:cubicBezTo>
                    <a:cubicBezTo>
                      <a:pt x="7320" y="10902"/>
                      <a:pt x="14019" y="15867"/>
                      <a:pt x="21854" y="20173"/>
                    </a:cubicBezTo>
                    <a:cubicBezTo>
                      <a:pt x="28612" y="23941"/>
                      <a:pt x="35251" y="26632"/>
                      <a:pt x="42667" y="28725"/>
                    </a:cubicBezTo>
                    <a:cubicBezTo>
                      <a:pt x="51219" y="31117"/>
                      <a:pt x="59353" y="32254"/>
                      <a:pt x="68264" y="32314"/>
                    </a:cubicBezTo>
                    <a:cubicBezTo>
                      <a:pt x="69700" y="32314"/>
                      <a:pt x="70836" y="31117"/>
                      <a:pt x="70836" y="29682"/>
                    </a:cubicBezTo>
                    <a:cubicBezTo>
                      <a:pt x="70836" y="28486"/>
                      <a:pt x="70118" y="27529"/>
                      <a:pt x="69222" y="27170"/>
                    </a:cubicBezTo>
                    <a:close/>
                  </a:path>
                </a:pathLst>
              </a:custGeom>
              <a:solidFill>
                <a:srgbClr val="FFFFFF"/>
              </a:solidFill>
              <a:ln w="5978" cap="flat">
                <a:noFill/>
                <a:prstDash val="solid"/>
                <a:miter/>
              </a:ln>
            </p:spPr>
            <p:txBody>
              <a:bodyPr rtlCol="0" anchor="ctr"/>
              <a:lstStyle/>
              <a:p>
                <a:endParaRPr lang="en-GB"/>
              </a:p>
            </p:txBody>
          </p:sp>
        </p:grpSp>
        <p:sp>
          <p:nvSpPr>
            <p:cNvPr id="13" name="Vrije vorm: vorm 12">
              <a:extLst>
                <a:ext uri="{FF2B5EF4-FFF2-40B4-BE49-F238E27FC236}">
                  <a16:creationId xmlns:a16="http://schemas.microsoft.com/office/drawing/2014/main" id="{4740C64F-1067-4003-867F-442D9C13A4B1}"/>
                </a:ext>
              </a:extLst>
            </p:cNvPr>
            <p:cNvSpPr/>
            <p:nvPr/>
          </p:nvSpPr>
          <p:spPr>
            <a:xfrm>
              <a:off x="7801572" y="2315297"/>
              <a:ext cx="54304" cy="66744"/>
            </a:xfrm>
            <a:custGeom>
              <a:avLst/>
              <a:gdLst>
                <a:gd name="connsiteX0" fmla="*/ 53647 w 54304"/>
                <a:gd name="connsiteY0" fmla="*/ 34329 h 66744"/>
                <a:gd name="connsiteX1" fmla="*/ 43181 w 54304"/>
                <a:gd name="connsiteY1" fmla="*/ 37200 h 66744"/>
                <a:gd name="connsiteX2" fmla="*/ 54305 w 54304"/>
                <a:gd name="connsiteY2" fmla="*/ 63156 h 66744"/>
                <a:gd name="connsiteX3" fmla="*/ 48384 w 54304"/>
                <a:gd name="connsiteY3" fmla="*/ 66745 h 66744"/>
                <a:gd name="connsiteX4" fmla="*/ 27631 w 54304"/>
                <a:gd name="connsiteY4" fmla="*/ 41626 h 66744"/>
                <a:gd name="connsiteX5" fmla="*/ 2452 w 54304"/>
                <a:gd name="connsiteY5" fmla="*/ 34987 h 66744"/>
                <a:gd name="connsiteX6" fmla="*/ 0 w 54304"/>
                <a:gd name="connsiteY6" fmla="*/ 26435 h 66744"/>
                <a:gd name="connsiteX7" fmla="*/ 18480 w 54304"/>
                <a:gd name="connsiteY7" fmla="*/ 23863 h 66744"/>
                <a:gd name="connsiteX8" fmla="*/ 7058 w 54304"/>
                <a:gd name="connsiteY8" fmla="*/ 3588 h 66744"/>
                <a:gd name="connsiteX9" fmla="*/ 13097 w 54304"/>
                <a:gd name="connsiteY9" fmla="*/ 0 h 66744"/>
                <a:gd name="connsiteX10" fmla="*/ 34569 w 54304"/>
                <a:gd name="connsiteY10" fmla="*/ 22009 h 66744"/>
                <a:gd name="connsiteX11" fmla="*/ 53886 w 54304"/>
                <a:gd name="connsiteY11" fmla="*/ 28887 h 66744"/>
                <a:gd name="connsiteX12" fmla="*/ 53647 w 54304"/>
                <a:gd name="connsiteY12" fmla="*/ 34329 h 6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304" h="66744">
                  <a:moveTo>
                    <a:pt x="53647" y="34329"/>
                  </a:moveTo>
                  <a:cubicBezTo>
                    <a:pt x="53647" y="34329"/>
                    <a:pt x="44556" y="35585"/>
                    <a:pt x="43181" y="37200"/>
                  </a:cubicBezTo>
                  <a:cubicBezTo>
                    <a:pt x="41805" y="38815"/>
                    <a:pt x="52929" y="62020"/>
                    <a:pt x="54305" y="63156"/>
                  </a:cubicBezTo>
                  <a:lnTo>
                    <a:pt x="48384" y="66745"/>
                  </a:lnTo>
                  <a:cubicBezTo>
                    <a:pt x="48384" y="66745"/>
                    <a:pt x="33671" y="44437"/>
                    <a:pt x="27631" y="41626"/>
                  </a:cubicBezTo>
                  <a:cubicBezTo>
                    <a:pt x="21650" y="38815"/>
                    <a:pt x="2452" y="34987"/>
                    <a:pt x="2452" y="34987"/>
                  </a:cubicBezTo>
                  <a:lnTo>
                    <a:pt x="0" y="26435"/>
                  </a:lnTo>
                  <a:lnTo>
                    <a:pt x="18480" y="23863"/>
                  </a:lnTo>
                  <a:lnTo>
                    <a:pt x="7058" y="3588"/>
                  </a:lnTo>
                  <a:lnTo>
                    <a:pt x="13097" y="0"/>
                  </a:lnTo>
                  <a:cubicBezTo>
                    <a:pt x="13097" y="0"/>
                    <a:pt x="26794" y="16806"/>
                    <a:pt x="34569" y="22009"/>
                  </a:cubicBezTo>
                  <a:cubicBezTo>
                    <a:pt x="42343" y="27152"/>
                    <a:pt x="53886" y="28887"/>
                    <a:pt x="53886" y="28887"/>
                  </a:cubicBezTo>
                  <a:lnTo>
                    <a:pt x="53647" y="34329"/>
                  </a:lnTo>
                  <a:close/>
                </a:path>
              </a:pathLst>
            </a:custGeom>
            <a:noFill/>
            <a:ln w="2989" cap="flat">
              <a:solidFill>
                <a:srgbClr val="FFFFFF"/>
              </a:solid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CA11C907-8C78-49CB-9D1D-14F8F03D70C2}"/>
                </a:ext>
              </a:extLst>
            </p:cNvPr>
            <p:cNvSpPr/>
            <p:nvPr/>
          </p:nvSpPr>
          <p:spPr>
            <a:xfrm>
              <a:off x="7853381" y="2341738"/>
              <a:ext cx="9537" cy="9497"/>
            </a:xfrm>
            <a:custGeom>
              <a:avLst/>
              <a:gdLst>
                <a:gd name="connsiteX0" fmla="*/ 1061 w 9537"/>
                <a:gd name="connsiteY0" fmla="*/ 1609 h 9497"/>
                <a:gd name="connsiteX1" fmla="*/ 1778 w 9537"/>
                <a:gd name="connsiteY1" fmla="*/ 8307 h 9497"/>
                <a:gd name="connsiteX2" fmla="*/ 8477 w 9537"/>
                <a:gd name="connsiteY2" fmla="*/ 7889 h 9497"/>
                <a:gd name="connsiteX3" fmla="*/ 7759 w 9537"/>
                <a:gd name="connsiteY3" fmla="*/ 1190 h 9497"/>
                <a:gd name="connsiteX4" fmla="*/ 1061 w 9537"/>
                <a:gd name="connsiteY4" fmla="*/ 1609 h 9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7" h="9497">
                  <a:moveTo>
                    <a:pt x="1061" y="1609"/>
                  </a:moveTo>
                  <a:cubicBezTo>
                    <a:pt x="-613" y="3583"/>
                    <a:pt x="-255" y="6573"/>
                    <a:pt x="1778" y="8307"/>
                  </a:cubicBezTo>
                  <a:cubicBezTo>
                    <a:pt x="3812" y="10042"/>
                    <a:pt x="6862" y="9862"/>
                    <a:pt x="8477" y="7889"/>
                  </a:cubicBezTo>
                  <a:cubicBezTo>
                    <a:pt x="10151" y="5915"/>
                    <a:pt x="9793" y="2925"/>
                    <a:pt x="7759" y="1190"/>
                  </a:cubicBezTo>
                  <a:cubicBezTo>
                    <a:pt x="5726" y="-544"/>
                    <a:pt x="2675" y="-365"/>
                    <a:pt x="1061" y="1609"/>
                  </a:cubicBezTo>
                  <a:close/>
                </a:path>
              </a:pathLst>
            </a:custGeom>
            <a:solidFill>
              <a:srgbClr val="FFFFFF"/>
            </a:solidFill>
            <a:ln w="5978" cap="flat">
              <a:noFill/>
              <a:prstDash val="solid"/>
              <a:miter/>
            </a:ln>
          </p:spPr>
          <p:txBody>
            <a:bodyPr rtlCol="0" anchor="ctr"/>
            <a:lstStyle/>
            <a:p>
              <a:endParaRPr lang="en-GB"/>
            </a:p>
          </p:txBody>
        </p:sp>
        <p:sp>
          <p:nvSpPr>
            <p:cNvPr id="15" name="Vrije vorm: vorm 14">
              <a:extLst>
                <a:ext uri="{FF2B5EF4-FFF2-40B4-BE49-F238E27FC236}">
                  <a16:creationId xmlns:a16="http://schemas.microsoft.com/office/drawing/2014/main" id="{46D5B41D-2E9D-4674-8669-BBEBEDEA7A60}"/>
                </a:ext>
              </a:extLst>
            </p:cNvPr>
            <p:cNvSpPr/>
            <p:nvPr/>
          </p:nvSpPr>
          <p:spPr>
            <a:xfrm>
              <a:off x="7848146" y="2377990"/>
              <a:ext cx="14803" cy="14662"/>
            </a:xfrm>
            <a:custGeom>
              <a:avLst/>
              <a:gdLst>
                <a:gd name="connsiteX0" fmla="*/ 1631 w 14803"/>
                <a:gd name="connsiteY0" fmla="*/ 2497 h 14662"/>
                <a:gd name="connsiteX1" fmla="*/ 2767 w 14803"/>
                <a:gd name="connsiteY1" fmla="*/ 12843 h 14662"/>
                <a:gd name="connsiteX2" fmla="*/ 13173 w 14803"/>
                <a:gd name="connsiteY2" fmla="*/ 12186 h 14662"/>
                <a:gd name="connsiteX3" fmla="*/ 12037 w 14803"/>
                <a:gd name="connsiteY3" fmla="*/ 1839 h 14662"/>
                <a:gd name="connsiteX4" fmla="*/ 1631 w 14803"/>
                <a:gd name="connsiteY4" fmla="*/ 2497 h 14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3" h="14662">
                  <a:moveTo>
                    <a:pt x="1631" y="2497"/>
                  </a:moveTo>
                  <a:cubicBezTo>
                    <a:pt x="-941" y="5547"/>
                    <a:pt x="-403" y="10152"/>
                    <a:pt x="2767" y="12843"/>
                  </a:cubicBezTo>
                  <a:cubicBezTo>
                    <a:pt x="5937" y="15535"/>
                    <a:pt x="10602" y="15176"/>
                    <a:pt x="13173" y="12186"/>
                  </a:cubicBezTo>
                  <a:cubicBezTo>
                    <a:pt x="15745" y="9135"/>
                    <a:pt x="15206" y="4530"/>
                    <a:pt x="12037" y="1839"/>
                  </a:cubicBezTo>
                  <a:cubicBezTo>
                    <a:pt x="8867" y="-852"/>
                    <a:pt x="4202" y="-553"/>
                    <a:pt x="1631" y="2497"/>
                  </a:cubicBezTo>
                  <a:close/>
                </a:path>
              </a:pathLst>
            </a:custGeom>
            <a:solidFill>
              <a:srgbClr val="E3E3E3"/>
            </a:solidFill>
            <a:ln w="5978"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D11D56F2-5A8C-490F-90EB-CFBB7F4F64F0}"/>
                </a:ext>
              </a:extLst>
            </p:cNvPr>
            <p:cNvSpPr/>
            <p:nvPr/>
          </p:nvSpPr>
          <p:spPr>
            <a:xfrm>
              <a:off x="7849280" y="2377758"/>
              <a:ext cx="13911" cy="13457"/>
            </a:xfrm>
            <a:custGeom>
              <a:avLst/>
              <a:gdLst>
                <a:gd name="connsiteX0" fmla="*/ 1215 w 13911"/>
                <a:gd name="connsiteY0" fmla="*/ 1892 h 13457"/>
                <a:gd name="connsiteX1" fmla="*/ 3009 w 13911"/>
                <a:gd name="connsiteY1" fmla="*/ 11401 h 13457"/>
                <a:gd name="connsiteX2" fmla="*/ 12698 w 13911"/>
                <a:gd name="connsiteY2" fmla="*/ 11521 h 13457"/>
                <a:gd name="connsiteX3" fmla="*/ 10904 w 13911"/>
                <a:gd name="connsiteY3" fmla="*/ 2012 h 13457"/>
                <a:gd name="connsiteX4" fmla="*/ 1215 w 13911"/>
                <a:gd name="connsiteY4" fmla="*/ 1892 h 1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11" h="13457">
                  <a:moveTo>
                    <a:pt x="1215" y="1892"/>
                  </a:moveTo>
                  <a:cubicBezTo>
                    <a:pt x="-939" y="4464"/>
                    <a:pt x="-161" y="8770"/>
                    <a:pt x="3009" y="11401"/>
                  </a:cubicBezTo>
                  <a:cubicBezTo>
                    <a:pt x="6179" y="14093"/>
                    <a:pt x="10545" y="14153"/>
                    <a:pt x="12698" y="11521"/>
                  </a:cubicBezTo>
                  <a:cubicBezTo>
                    <a:pt x="14850" y="8949"/>
                    <a:pt x="14073" y="4643"/>
                    <a:pt x="10904" y="2012"/>
                  </a:cubicBezTo>
                  <a:cubicBezTo>
                    <a:pt x="7734" y="-620"/>
                    <a:pt x="3368" y="-680"/>
                    <a:pt x="1215" y="1892"/>
                  </a:cubicBezTo>
                  <a:close/>
                </a:path>
              </a:pathLst>
            </a:custGeom>
            <a:solidFill>
              <a:srgbClr val="FFFFFF"/>
            </a:solidFill>
            <a:ln w="5978"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A1C24289-BB1F-4B6C-88C3-F08F3CFCE7B5}"/>
                </a:ext>
              </a:extLst>
            </p:cNvPr>
            <p:cNvSpPr/>
            <p:nvPr/>
          </p:nvSpPr>
          <p:spPr>
            <a:xfrm>
              <a:off x="7787147" y="2336813"/>
              <a:ext cx="20849" cy="20776"/>
            </a:xfrm>
            <a:custGeom>
              <a:avLst/>
              <a:gdLst>
                <a:gd name="connsiteX0" fmla="*/ 15078 w 20849"/>
                <a:gd name="connsiteY0" fmla="*/ 4845 h 20776"/>
                <a:gd name="connsiteX1" fmla="*/ 16197 w 20849"/>
                <a:gd name="connsiteY1" fmla="*/ 15233 h 20776"/>
                <a:gd name="connsiteX2" fmla="*/ 5772 w 20849"/>
                <a:gd name="connsiteY2" fmla="*/ 15930 h 20776"/>
                <a:gd name="connsiteX3" fmla="*/ 4653 w 20849"/>
                <a:gd name="connsiteY3" fmla="*/ 5542 h 20776"/>
                <a:gd name="connsiteX4" fmla="*/ 15078 w 20849"/>
                <a:gd name="connsiteY4" fmla="*/ 4845 h 20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49" h="20776">
                  <a:moveTo>
                    <a:pt x="15078" y="4845"/>
                  </a:moveTo>
                  <a:cubicBezTo>
                    <a:pt x="18266" y="7521"/>
                    <a:pt x="18766" y="12172"/>
                    <a:pt x="16197" y="15233"/>
                  </a:cubicBezTo>
                  <a:cubicBezTo>
                    <a:pt x="13627" y="18294"/>
                    <a:pt x="8960" y="18606"/>
                    <a:pt x="5772" y="15930"/>
                  </a:cubicBezTo>
                  <a:cubicBezTo>
                    <a:pt x="2584" y="13254"/>
                    <a:pt x="2084" y="8603"/>
                    <a:pt x="4653" y="5542"/>
                  </a:cubicBezTo>
                  <a:cubicBezTo>
                    <a:pt x="7223" y="2481"/>
                    <a:pt x="11890" y="2169"/>
                    <a:pt x="15078" y="4845"/>
                  </a:cubicBezTo>
                  <a:close/>
                </a:path>
              </a:pathLst>
            </a:custGeom>
            <a:solidFill>
              <a:srgbClr val="E3E3E3"/>
            </a:solidFill>
            <a:ln w="5978" cap="flat">
              <a:noFill/>
              <a:prstDash val="solid"/>
              <a:miter/>
            </a:ln>
          </p:spPr>
          <p:txBody>
            <a:bodyPr rtlCol="0" anchor="ctr"/>
            <a:lstStyle/>
            <a:p>
              <a:endParaRPr lang="en-GB"/>
            </a:p>
          </p:txBody>
        </p:sp>
        <p:sp>
          <p:nvSpPr>
            <p:cNvPr id="18" name="Vrije vorm: vorm 17">
              <a:extLst>
                <a:ext uri="{FF2B5EF4-FFF2-40B4-BE49-F238E27FC236}">
                  <a16:creationId xmlns:a16="http://schemas.microsoft.com/office/drawing/2014/main" id="{4E7E4B36-4D00-46CB-8804-29DCC6E2719B}"/>
                </a:ext>
              </a:extLst>
            </p:cNvPr>
            <p:cNvSpPr/>
            <p:nvPr/>
          </p:nvSpPr>
          <p:spPr>
            <a:xfrm>
              <a:off x="7788254" y="2337747"/>
              <a:ext cx="19750" cy="19853"/>
            </a:xfrm>
            <a:custGeom>
              <a:avLst/>
              <a:gdLst>
                <a:gd name="connsiteX0" fmla="*/ 14528 w 19750"/>
                <a:gd name="connsiteY0" fmla="*/ 4384 h 19853"/>
                <a:gd name="connsiteX1" fmla="*/ 15097 w 19750"/>
                <a:gd name="connsiteY1" fmla="*/ 14311 h 19853"/>
                <a:gd name="connsiteX2" fmla="*/ 5222 w 19750"/>
                <a:gd name="connsiteY2" fmla="*/ 15469 h 19853"/>
                <a:gd name="connsiteX3" fmla="*/ 4653 w 19750"/>
                <a:gd name="connsiteY3" fmla="*/ 5542 h 19853"/>
                <a:gd name="connsiteX4" fmla="*/ 14528 w 19750"/>
                <a:gd name="connsiteY4" fmla="*/ 4384 h 1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50" h="19853">
                  <a:moveTo>
                    <a:pt x="14528" y="4384"/>
                  </a:moveTo>
                  <a:cubicBezTo>
                    <a:pt x="17412" y="6805"/>
                    <a:pt x="17667" y="11250"/>
                    <a:pt x="15097" y="14311"/>
                  </a:cubicBezTo>
                  <a:cubicBezTo>
                    <a:pt x="12528" y="17371"/>
                    <a:pt x="8106" y="17890"/>
                    <a:pt x="5222" y="15469"/>
                  </a:cubicBezTo>
                  <a:cubicBezTo>
                    <a:pt x="2338" y="13048"/>
                    <a:pt x="2084" y="8603"/>
                    <a:pt x="4653" y="5542"/>
                  </a:cubicBezTo>
                  <a:cubicBezTo>
                    <a:pt x="7223" y="2482"/>
                    <a:pt x="11644" y="1963"/>
                    <a:pt x="14528" y="4384"/>
                  </a:cubicBezTo>
                  <a:close/>
                </a:path>
              </a:pathLst>
            </a:custGeom>
            <a:solidFill>
              <a:srgbClr val="FFFFFF"/>
            </a:solidFill>
            <a:ln w="5978"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0AB6163F-2DE9-4ED4-8457-E39B6183EA9E}"/>
                </a:ext>
              </a:extLst>
            </p:cNvPr>
            <p:cNvSpPr/>
            <p:nvPr/>
          </p:nvSpPr>
          <p:spPr>
            <a:xfrm>
              <a:off x="7799927" y="2306006"/>
              <a:ext cx="17387" cy="17328"/>
            </a:xfrm>
            <a:custGeom>
              <a:avLst/>
              <a:gdLst>
                <a:gd name="connsiteX0" fmla="*/ 12578 w 17387"/>
                <a:gd name="connsiteY0" fmla="*/ 4038 h 17328"/>
                <a:gd name="connsiteX1" fmla="*/ 13503 w 17387"/>
                <a:gd name="connsiteY1" fmla="*/ 12702 h 17328"/>
                <a:gd name="connsiteX2" fmla="*/ 4810 w 17387"/>
                <a:gd name="connsiteY2" fmla="*/ 13291 h 17328"/>
                <a:gd name="connsiteX3" fmla="*/ 3884 w 17387"/>
                <a:gd name="connsiteY3" fmla="*/ 4626 h 17328"/>
                <a:gd name="connsiteX4" fmla="*/ 12578 w 17387"/>
                <a:gd name="connsiteY4" fmla="*/ 4038 h 17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7" h="17328">
                  <a:moveTo>
                    <a:pt x="12578" y="4038"/>
                  </a:moveTo>
                  <a:cubicBezTo>
                    <a:pt x="15234" y="6268"/>
                    <a:pt x="15649" y="10147"/>
                    <a:pt x="13503" y="12702"/>
                  </a:cubicBezTo>
                  <a:cubicBezTo>
                    <a:pt x="11358" y="15257"/>
                    <a:pt x="7466" y="15521"/>
                    <a:pt x="4810" y="13291"/>
                  </a:cubicBezTo>
                  <a:cubicBezTo>
                    <a:pt x="2153" y="11061"/>
                    <a:pt x="1739" y="7182"/>
                    <a:pt x="3884" y="4626"/>
                  </a:cubicBezTo>
                  <a:cubicBezTo>
                    <a:pt x="6030" y="2071"/>
                    <a:pt x="9922" y="1808"/>
                    <a:pt x="12578" y="4038"/>
                  </a:cubicBezTo>
                  <a:close/>
                </a:path>
              </a:pathLst>
            </a:custGeom>
            <a:solidFill>
              <a:srgbClr val="E3E3E3"/>
            </a:solidFill>
            <a:ln w="5978" cap="flat">
              <a:noFill/>
              <a:prstDash val="solid"/>
              <a:miter/>
            </a:ln>
          </p:spPr>
          <p:txBody>
            <a:bodyPr rtlCol="0" anchor="ctr"/>
            <a:lstStyle/>
            <a:p>
              <a:endParaRPr lang="en-GB"/>
            </a:p>
          </p:txBody>
        </p:sp>
        <p:sp>
          <p:nvSpPr>
            <p:cNvPr id="20" name="Vrije vorm: vorm 19">
              <a:extLst>
                <a:ext uri="{FF2B5EF4-FFF2-40B4-BE49-F238E27FC236}">
                  <a16:creationId xmlns:a16="http://schemas.microsoft.com/office/drawing/2014/main" id="{70C1C4F5-7E16-4DCD-B4C1-7BC6F9CAD01A}"/>
                </a:ext>
              </a:extLst>
            </p:cNvPr>
            <p:cNvSpPr/>
            <p:nvPr/>
          </p:nvSpPr>
          <p:spPr>
            <a:xfrm>
              <a:off x="7803609" y="2309191"/>
              <a:ext cx="11296" cy="11194"/>
            </a:xfrm>
            <a:custGeom>
              <a:avLst/>
              <a:gdLst>
                <a:gd name="connsiteX0" fmla="*/ 1253 w 11296"/>
                <a:gd name="connsiteY0" fmla="*/ 1919 h 11194"/>
                <a:gd name="connsiteX1" fmla="*/ 2089 w 11296"/>
                <a:gd name="connsiteY1" fmla="*/ 9814 h 11194"/>
                <a:gd name="connsiteX2" fmla="*/ 10044 w 11296"/>
                <a:gd name="connsiteY2" fmla="*/ 9276 h 11194"/>
                <a:gd name="connsiteX3" fmla="*/ 9207 w 11296"/>
                <a:gd name="connsiteY3" fmla="*/ 1381 h 11194"/>
                <a:gd name="connsiteX4" fmla="*/ 1253 w 11296"/>
                <a:gd name="connsiteY4" fmla="*/ 1919 h 1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6" h="11194">
                  <a:moveTo>
                    <a:pt x="1253" y="1919"/>
                  </a:moveTo>
                  <a:cubicBezTo>
                    <a:pt x="-722" y="4252"/>
                    <a:pt x="-302" y="7780"/>
                    <a:pt x="2089" y="9814"/>
                  </a:cubicBezTo>
                  <a:cubicBezTo>
                    <a:pt x="4542" y="11847"/>
                    <a:pt x="8070" y="11608"/>
                    <a:pt x="10044" y="9276"/>
                  </a:cubicBezTo>
                  <a:cubicBezTo>
                    <a:pt x="12017" y="6943"/>
                    <a:pt x="11599" y="3414"/>
                    <a:pt x="9207" y="1381"/>
                  </a:cubicBezTo>
                  <a:cubicBezTo>
                    <a:pt x="6754" y="-652"/>
                    <a:pt x="3166" y="-413"/>
                    <a:pt x="1253" y="1919"/>
                  </a:cubicBezTo>
                  <a:close/>
                </a:path>
              </a:pathLst>
            </a:custGeom>
            <a:solidFill>
              <a:srgbClr val="FFFFFF"/>
            </a:solidFill>
            <a:ln w="5978" cap="flat">
              <a:noFill/>
              <a:prstDash val="solid"/>
              <a:miter/>
            </a:ln>
          </p:spPr>
          <p:txBody>
            <a:bodyPr rtlCol="0" anchor="ctr"/>
            <a:lstStyle/>
            <a:p>
              <a:endParaRPr lang="en-GB"/>
            </a:p>
          </p:txBody>
        </p:sp>
        <p:sp>
          <p:nvSpPr>
            <p:cNvPr id="21" name="Vrije vorm: vorm 20">
              <a:extLst>
                <a:ext uri="{FF2B5EF4-FFF2-40B4-BE49-F238E27FC236}">
                  <a16:creationId xmlns:a16="http://schemas.microsoft.com/office/drawing/2014/main" id="{320988BF-EFB0-4C43-989B-5B1BF32DC52E}"/>
                </a:ext>
              </a:extLst>
            </p:cNvPr>
            <p:cNvSpPr/>
            <p:nvPr/>
          </p:nvSpPr>
          <p:spPr>
            <a:xfrm>
              <a:off x="7848641" y="2370291"/>
              <a:ext cx="25498" cy="22635"/>
            </a:xfrm>
            <a:custGeom>
              <a:avLst/>
              <a:gdLst>
                <a:gd name="connsiteX0" fmla="*/ 359 w 25498"/>
                <a:gd name="connsiteY0" fmla="*/ 2301 h 22635"/>
                <a:gd name="connsiteX1" fmla="*/ 0 w 25498"/>
                <a:gd name="connsiteY1" fmla="*/ 2780 h 22635"/>
                <a:gd name="connsiteX2" fmla="*/ 16746 w 25498"/>
                <a:gd name="connsiteY2" fmla="*/ 6846 h 22635"/>
                <a:gd name="connsiteX3" fmla="*/ 23624 w 25498"/>
                <a:gd name="connsiteY3" fmla="*/ 22635 h 22635"/>
                <a:gd name="connsiteX4" fmla="*/ 24043 w 25498"/>
                <a:gd name="connsiteY4" fmla="*/ 22217 h 22635"/>
                <a:gd name="connsiteX5" fmla="*/ 18241 w 25498"/>
                <a:gd name="connsiteY5" fmla="*/ 5112 h 22635"/>
                <a:gd name="connsiteX6" fmla="*/ 359 w 25498"/>
                <a:gd name="connsiteY6" fmla="*/ 2301 h 2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98" h="22635">
                  <a:moveTo>
                    <a:pt x="359" y="2301"/>
                  </a:moveTo>
                  <a:cubicBezTo>
                    <a:pt x="239" y="2421"/>
                    <a:pt x="120" y="2600"/>
                    <a:pt x="0" y="2780"/>
                  </a:cubicBezTo>
                  <a:cubicBezTo>
                    <a:pt x="3170" y="-151"/>
                    <a:pt x="10466" y="1524"/>
                    <a:pt x="16746" y="6846"/>
                  </a:cubicBezTo>
                  <a:cubicBezTo>
                    <a:pt x="23026" y="12110"/>
                    <a:pt x="25956" y="19047"/>
                    <a:pt x="23624" y="22635"/>
                  </a:cubicBezTo>
                  <a:cubicBezTo>
                    <a:pt x="23803" y="22516"/>
                    <a:pt x="23923" y="22337"/>
                    <a:pt x="24043" y="22217"/>
                  </a:cubicBezTo>
                  <a:cubicBezTo>
                    <a:pt x="27391" y="18270"/>
                    <a:pt x="24760" y="10614"/>
                    <a:pt x="18241" y="5112"/>
                  </a:cubicBezTo>
                  <a:cubicBezTo>
                    <a:pt x="11662" y="-390"/>
                    <a:pt x="3708" y="-1646"/>
                    <a:pt x="359" y="2301"/>
                  </a:cubicBezTo>
                  <a:close/>
                </a:path>
              </a:pathLst>
            </a:custGeom>
            <a:solidFill>
              <a:srgbClr val="FFFFFF"/>
            </a:solidFill>
            <a:ln w="5978" cap="flat">
              <a:noFill/>
              <a:prstDash val="solid"/>
              <a:miter/>
            </a:ln>
          </p:spPr>
          <p:txBody>
            <a:bodyPr rtlCol="0" anchor="ctr"/>
            <a:lstStyle/>
            <a:p>
              <a:endParaRPr lang="en-GB"/>
            </a:p>
          </p:txBody>
        </p:sp>
        <p:sp>
          <p:nvSpPr>
            <p:cNvPr id="22" name="Vrije vorm: vorm 21">
              <a:extLst>
                <a:ext uri="{FF2B5EF4-FFF2-40B4-BE49-F238E27FC236}">
                  <a16:creationId xmlns:a16="http://schemas.microsoft.com/office/drawing/2014/main" id="{4D0FA333-8EFB-472C-83B1-44F99FC5CAB5}"/>
                </a:ext>
              </a:extLst>
            </p:cNvPr>
            <p:cNvSpPr/>
            <p:nvPr/>
          </p:nvSpPr>
          <p:spPr>
            <a:xfrm>
              <a:off x="7847620" y="2371637"/>
              <a:ext cx="25586" cy="23120"/>
            </a:xfrm>
            <a:custGeom>
              <a:avLst/>
              <a:gdLst>
                <a:gd name="connsiteX0" fmla="*/ 1081 w 25586"/>
                <a:gd name="connsiteY0" fmla="*/ 1433 h 23120"/>
                <a:gd name="connsiteX1" fmla="*/ 6104 w 25586"/>
                <a:gd name="connsiteY1" fmla="*/ 16983 h 23120"/>
                <a:gd name="connsiteX2" fmla="*/ 7301 w 25586"/>
                <a:gd name="connsiteY2" fmla="*/ 18060 h 23120"/>
                <a:gd name="connsiteX3" fmla="*/ 8557 w 25586"/>
                <a:gd name="connsiteY3" fmla="*/ 19017 h 23120"/>
                <a:gd name="connsiteX4" fmla="*/ 24764 w 25586"/>
                <a:gd name="connsiteY4" fmla="*/ 21230 h 23120"/>
                <a:gd name="connsiteX5" fmla="*/ 17886 w 25586"/>
                <a:gd name="connsiteY5" fmla="*/ 5440 h 23120"/>
                <a:gd name="connsiteX6" fmla="*/ 1081 w 25586"/>
                <a:gd name="connsiteY6" fmla="*/ 1433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86" h="23120">
                  <a:moveTo>
                    <a:pt x="1081" y="1433"/>
                  </a:moveTo>
                  <a:cubicBezTo>
                    <a:pt x="-1491" y="5261"/>
                    <a:pt x="662" y="11840"/>
                    <a:pt x="6104" y="16983"/>
                  </a:cubicBezTo>
                  <a:cubicBezTo>
                    <a:pt x="6523" y="17342"/>
                    <a:pt x="6882" y="17701"/>
                    <a:pt x="7301" y="18060"/>
                  </a:cubicBezTo>
                  <a:cubicBezTo>
                    <a:pt x="7719" y="18419"/>
                    <a:pt x="8138" y="18718"/>
                    <a:pt x="8557" y="19017"/>
                  </a:cubicBezTo>
                  <a:cubicBezTo>
                    <a:pt x="14597" y="23442"/>
                    <a:pt x="21475" y="24459"/>
                    <a:pt x="24764" y="21230"/>
                  </a:cubicBezTo>
                  <a:cubicBezTo>
                    <a:pt x="27157" y="17641"/>
                    <a:pt x="24166" y="10703"/>
                    <a:pt x="17886" y="5440"/>
                  </a:cubicBezTo>
                  <a:cubicBezTo>
                    <a:pt x="11487" y="177"/>
                    <a:pt x="4191" y="-1497"/>
                    <a:pt x="1081" y="1433"/>
                  </a:cubicBezTo>
                  <a:close/>
                </a:path>
              </a:pathLst>
            </a:custGeom>
            <a:noFill/>
            <a:ln w="5978" cap="flat">
              <a:solidFill>
                <a:srgbClr val="FFFFFF">
                  <a:alpha val="40000"/>
                </a:srgbClr>
              </a:solidFill>
              <a:prstDash val="solid"/>
              <a:miter/>
            </a:ln>
          </p:spPr>
          <p:txBody>
            <a:bodyPr rtlCol="0" anchor="ctr"/>
            <a:lstStyle/>
            <a:p>
              <a:endParaRPr lang="en-GB"/>
            </a:p>
          </p:txBody>
        </p:sp>
        <p:sp>
          <p:nvSpPr>
            <p:cNvPr id="23" name="Vrije vorm: vorm 22">
              <a:extLst>
                <a:ext uri="{FF2B5EF4-FFF2-40B4-BE49-F238E27FC236}">
                  <a16:creationId xmlns:a16="http://schemas.microsoft.com/office/drawing/2014/main" id="{F668C572-FF99-455A-8254-4E81AC0F4C70}"/>
                </a:ext>
              </a:extLst>
            </p:cNvPr>
            <p:cNvSpPr/>
            <p:nvPr/>
          </p:nvSpPr>
          <p:spPr>
            <a:xfrm>
              <a:off x="7847983" y="2334432"/>
              <a:ext cx="22000" cy="19321"/>
            </a:xfrm>
            <a:custGeom>
              <a:avLst/>
              <a:gdLst>
                <a:gd name="connsiteX0" fmla="*/ 180 w 22000"/>
                <a:gd name="connsiteY0" fmla="*/ 1618 h 19321"/>
                <a:gd name="connsiteX1" fmla="*/ 0 w 22000"/>
                <a:gd name="connsiteY1" fmla="*/ 1917 h 19321"/>
                <a:gd name="connsiteX2" fmla="*/ 14474 w 22000"/>
                <a:gd name="connsiteY2" fmla="*/ 5745 h 19321"/>
                <a:gd name="connsiteX3" fmla="*/ 20753 w 22000"/>
                <a:gd name="connsiteY3" fmla="*/ 19321 h 19321"/>
                <a:gd name="connsiteX4" fmla="*/ 20992 w 22000"/>
                <a:gd name="connsiteY4" fmla="*/ 19082 h 19321"/>
                <a:gd name="connsiteX5" fmla="*/ 15310 w 22000"/>
                <a:gd name="connsiteY5" fmla="*/ 4788 h 19321"/>
                <a:gd name="connsiteX6" fmla="*/ 180 w 22000"/>
                <a:gd name="connsiteY6" fmla="*/ 1618 h 1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00" h="19321">
                  <a:moveTo>
                    <a:pt x="180" y="1618"/>
                  </a:moveTo>
                  <a:cubicBezTo>
                    <a:pt x="120" y="1678"/>
                    <a:pt x="0" y="1798"/>
                    <a:pt x="0" y="1917"/>
                  </a:cubicBezTo>
                  <a:cubicBezTo>
                    <a:pt x="2512" y="-595"/>
                    <a:pt x="8851" y="1020"/>
                    <a:pt x="14474" y="5745"/>
                  </a:cubicBezTo>
                  <a:cubicBezTo>
                    <a:pt x="20035" y="10410"/>
                    <a:pt x="22786" y="16391"/>
                    <a:pt x="20753" y="19321"/>
                  </a:cubicBezTo>
                  <a:cubicBezTo>
                    <a:pt x="20813" y="19261"/>
                    <a:pt x="20933" y="19142"/>
                    <a:pt x="20992" y="19082"/>
                  </a:cubicBezTo>
                  <a:cubicBezTo>
                    <a:pt x="23564" y="16032"/>
                    <a:pt x="21052" y="9632"/>
                    <a:pt x="15310" y="4788"/>
                  </a:cubicBezTo>
                  <a:cubicBezTo>
                    <a:pt x="9509" y="-56"/>
                    <a:pt x="2751" y="-1432"/>
                    <a:pt x="180" y="1618"/>
                  </a:cubicBezTo>
                  <a:close/>
                </a:path>
              </a:pathLst>
            </a:custGeom>
            <a:solidFill>
              <a:srgbClr val="FFFFFF"/>
            </a:solidFill>
            <a:ln w="5978" cap="flat">
              <a:noFill/>
              <a:prstDash val="solid"/>
              <a:miter/>
            </a:ln>
          </p:spPr>
          <p:txBody>
            <a:bodyPr rtlCol="0" anchor="ctr"/>
            <a:lstStyle/>
            <a:p>
              <a:endParaRPr lang="en-GB"/>
            </a:p>
          </p:txBody>
        </p:sp>
        <p:sp>
          <p:nvSpPr>
            <p:cNvPr id="24" name="Vrije vorm: vorm 23">
              <a:extLst>
                <a:ext uri="{FF2B5EF4-FFF2-40B4-BE49-F238E27FC236}">
                  <a16:creationId xmlns:a16="http://schemas.microsoft.com/office/drawing/2014/main" id="{30179DFB-7727-4AB0-BA93-00C275BED29B}"/>
                </a:ext>
              </a:extLst>
            </p:cNvPr>
            <p:cNvSpPr/>
            <p:nvPr/>
          </p:nvSpPr>
          <p:spPr>
            <a:xfrm>
              <a:off x="7847174" y="2335145"/>
              <a:ext cx="22177" cy="20000"/>
            </a:xfrm>
            <a:custGeom>
              <a:avLst/>
              <a:gdLst>
                <a:gd name="connsiteX0" fmla="*/ 809 w 22177"/>
                <a:gd name="connsiteY0" fmla="*/ 1204 h 20000"/>
                <a:gd name="connsiteX1" fmla="*/ 5653 w 22177"/>
                <a:gd name="connsiteY1" fmla="*/ 14301 h 20000"/>
                <a:gd name="connsiteX2" fmla="*/ 6670 w 22177"/>
                <a:gd name="connsiteY2" fmla="*/ 15258 h 20000"/>
                <a:gd name="connsiteX3" fmla="*/ 7747 w 22177"/>
                <a:gd name="connsiteY3" fmla="*/ 16096 h 20000"/>
                <a:gd name="connsiteX4" fmla="*/ 21502 w 22177"/>
                <a:gd name="connsiteY4" fmla="*/ 18608 h 20000"/>
                <a:gd name="connsiteX5" fmla="*/ 15223 w 22177"/>
                <a:gd name="connsiteY5" fmla="*/ 5031 h 20000"/>
                <a:gd name="connsiteX6" fmla="*/ 809 w 22177"/>
                <a:gd name="connsiteY6" fmla="*/ 1204 h 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77" h="20000">
                  <a:moveTo>
                    <a:pt x="809" y="1204"/>
                  </a:moveTo>
                  <a:cubicBezTo>
                    <a:pt x="-1284" y="4194"/>
                    <a:pt x="809" y="9756"/>
                    <a:pt x="5653" y="14301"/>
                  </a:cubicBezTo>
                  <a:cubicBezTo>
                    <a:pt x="6012" y="14600"/>
                    <a:pt x="6311" y="14959"/>
                    <a:pt x="6670" y="15258"/>
                  </a:cubicBezTo>
                  <a:cubicBezTo>
                    <a:pt x="7029" y="15557"/>
                    <a:pt x="7388" y="15856"/>
                    <a:pt x="7747" y="16096"/>
                  </a:cubicBezTo>
                  <a:cubicBezTo>
                    <a:pt x="13070" y="20103"/>
                    <a:pt x="18931" y="21179"/>
                    <a:pt x="21502" y="18608"/>
                  </a:cubicBezTo>
                  <a:cubicBezTo>
                    <a:pt x="23536" y="15677"/>
                    <a:pt x="20844" y="9696"/>
                    <a:pt x="15223" y="5031"/>
                  </a:cubicBezTo>
                  <a:cubicBezTo>
                    <a:pt x="9660" y="307"/>
                    <a:pt x="3321" y="-1368"/>
                    <a:pt x="809" y="1204"/>
                  </a:cubicBezTo>
                  <a:close/>
                </a:path>
              </a:pathLst>
            </a:custGeom>
            <a:noFill/>
            <a:ln w="5978" cap="flat">
              <a:solidFill>
                <a:srgbClr val="FFFFFF">
                  <a:alpha val="40000"/>
                </a:srgbClr>
              </a:solidFill>
              <a:prstDash val="solid"/>
              <a:miter/>
            </a:ln>
          </p:spPr>
          <p:txBody>
            <a:bodyPr rtlCol="0" anchor="ctr"/>
            <a:lstStyle/>
            <a:p>
              <a:endParaRPr lang="en-GB"/>
            </a:p>
          </p:txBody>
        </p:sp>
        <p:sp>
          <p:nvSpPr>
            <p:cNvPr id="25" name="Vrije vorm: vorm 24">
              <a:extLst>
                <a:ext uri="{FF2B5EF4-FFF2-40B4-BE49-F238E27FC236}">
                  <a16:creationId xmlns:a16="http://schemas.microsoft.com/office/drawing/2014/main" id="{82AC2B21-2DD1-4882-8890-432F5CA7369E}"/>
                </a:ext>
              </a:extLst>
            </p:cNvPr>
            <p:cNvSpPr/>
            <p:nvPr/>
          </p:nvSpPr>
          <p:spPr>
            <a:xfrm>
              <a:off x="7799120" y="2300965"/>
              <a:ext cx="23192" cy="20133"/>
            </a:xfrm>
            <a:custGeom>
              <a:avLst/>
              <a:gdLst>
                <a:gd name="connsiteX0" fmla="*/ 239 w 23192"/>
                <a:gd name="connsiteY0" fmla="*/ 1353 h 20133"/>
                <a:gd name="connsiteX1" fmla="*/ 0 w 23192"/>
                <a:gd name="connsiteY1" fmla="*/ 1652 h 20133"/>
                <a:gd name="connsiteX2" fmla="*/ 14713 w 23192"/>
                <a:gd name="connsiteY2" fmla="*/ 6497 h 20133"/>
                <a:gd name="connsiteX3" fmla="*/ 22069 w 23192"/>
                <a:gd name="connsiteY3" fmla="*/ 20133 h 20133"/>
                <a:gd name="connsiteX4" fmla="*/ 22368 w 23192"/>
                <a:gd name="connsiteY4" fmla="*/ 19894 h 20133"/>
                <a:gd name="connsiteX5" fmla="*/ 15669 w 23192"/>
                <a:gd name="connsiteY5" fmla="*/ 5420 h 20133"/>
                <a:gd name="connsiteX6" fmla="*/ 239 w 23192"/>
                <a:gd name="connsiteY6" fmla="*/ 1353 h 2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92" h="20133">
                  <a:moveTo>
                    <a:pt x="239" y="1353"/>
                  </a:moveTo>
                  <a:cubicBezTo>
                    <a:pt x="180" y="1473"/>
                    <a:pt x="60" y="1533"/>
                    <a:pt x="0" y="1652"/>
                  </a:cubicBezTo>
                  <a:cubicBezTo>
                    <a:pt x="2333" y="-560"/>
                    <a:pt x="8792" y="1593"/>
                    <a:pt x="14713" y="6497"/>
                  </a:cubicBezTo>
                  <a:cubicBezTo>
                    <a:pt x="20634" y="11461"/>
                    <a:pt x="23803" y="17442"/>
                    <a:pt x="22069" y="20133"/>
                  </a:cubicBezTo>
                  <a:cubicBezTo>
                    <a:pt x="22189" y="20073"/>
                    <a:pt x="22249" y="19954"/>
                    <a:pt x="22368" y="19894"/>
                  </a:cubicBezTo>
                  <a:cubicBezTo>
                    <a:pt x="24760" y="17023"/>
                    <a:pt x="21770" y="10564"/>
                    <a:pt x="15669" y="5420"/>
                  </a:cubicBezTo>
                  <a:cubicBezTo>
                    <a:pt x="9569" y="337"/>
                    <a:pt x="2692" y="-1517"/>
                    <a:pt x="239" y="1353"/>
                  </a:cubicBezTo>
                  <a:close/>
                </a:path>
              </a:pathLst>
            </a:custGeom>
            <a:solidFill>
              <a:srgbClr val="FFFFFF"/>
            </a:solidFill>
            <a:ln w="5978" cap="flat">
              <a:noFill/>
              <a:prstDash val="solid"/>
              <a:miter/>
            </a:ln>
          </p:spPr>
          <p:txBody>
            <a:bodyPr rtlCol="0" anchor="ctr"/>
            <a:lstStyle/>
            <a:p>
              <a:endParaRPr lang="en-GB"/>
            </a:p>
          </p:txBody>
        </p:sp>
        <p:sp>
          <p:nvSpPr>
            <p:cNvPr id="26" name="Vrije vorm: vorm 25">
              <a:extLst>
                <a:ext uri="{FF2B5EF4-FFF2-40B4-BE49-F238E27FC236}">
                  <a16:creationId xmlns:a16="http://schemas.microsoft.com/office/drawing/2014/main" id="{1E46B9B1-D00E-4361-84D5-3C558F33BD21}"/>
                </a:ext>
              </a:extLst>
            </p:cNvPr>
            <p:cNvSpPr/>
            <p:nvPr/>
          </p:nvSpPr>
          <p:spPr>
            <a:xfrm>
              <a:off x="7798574" y="2301774"/>
              <a:ext cx="23147" cy="20400"/>
            </a:xfrm>
            <a:custGeom>
              <a:avLst/>
              <a:gdLst>
                <a:gd name="connsiteX0" fmla="*/ 605 w 23147"/>
                <a:gd name="connsiteY0" fmla="*/ 844 h 20400"/>
                <a:gd name="connsiteX1" fmla="*/ 7543 w 23147"/>
                <a:gd name="connsiteY1" fmla="*/ 14958 h 20400"/>
                <a:gd name="connsiteX2" fmla="*/ 22675 w 23147"/>
                <a:gd name="connsiteY2" fmla="*/ 19324 h 20400"/>
                <a:gd name="connsiteX3" fmla="*/ 15319 w 23147"/>
                <a:gd name="connsiteY3" fmla="*/ 5688 h 20400"/>
                <a:gd name="connsiteX4" fmla="*/ 605 w 23147"/>
                <a:gd name="connsiteY4" fmla="*/ 844 h 2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47" h="20400">
                  <a:moveTo>
                    <a:pt x="605" y="844"/>
                  </a:moveTo>
                  <a:cubicBezTo>
                    <a:pt x="-1368" y="3834"/>
                    <a:pt x="1622" y="9994"/>
                    <a:pt x="7543" y="14958"/>
                  </a:cubicBezTo>
                  <a:cubicBezTo>
                    <a:pt x="13464" y="19922"/>
                    <a:pt x="20103" y="21776"/>
                    <a:pt x="22675" y="19324"/>
                  </a:cubicBezTo>
                  <a:cubicBezTo>
                    <a:pt x="24409" y="16633"/>
                    <a:pt x="21239" y="10652"/>
                    <a:pt x="15319" y="5688"/>
                  </a:cubicBezTo>
                  <a:cubicBezTo>
                    <a:pt x="9397" y="784"/>
                    <a:pt x="2938" y="-1309"/>
                    <a:pt x="605" y="844"/>
                  </a:cubicBezTo>
                  <a:close/>
                </a:path>
              </a:pathLst>
            </a:custGeom>
            <a:noFill/>
            <a:ln w="5978" cap="flat">
              <a:solidFill>
                <a:srgbClr val="FFFFFF">
                  <a:alpha val="40000"/>
                </a:srgbClr>
              </a:solid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E069C349-EECF-4DEB-9B11-06A09D8C3E72}"/>
                </a:ext>
              </a:extLst>
            </p:cNvPr>
            <p:cNvSpPr/>
            <p:nvPr/>
          </p:nvSpPr>
          <p:spPr>
            <a:xfrm>
              <a:off x="7788295" y="2329850"/>
              <a:ext cx="25610" cy="22766"/>
            </a:xfrm>
            <a:custGeom>
              <a:avLst/>
              <a:gdLst>
                <a:gd name="connsiteX0" fmla="*/ 418 w 25610"/>
                <a:gd name="connsiteY0" fmla="*/ 2372 h 22766"/>
                <a:gd name="connsiteX1" fmla="*/ 0 w 25610"/>
                <a:gd name="connsiteY1" fmla="*/ 2970 h 22766"/>
                <a:gd name="connsiteX2" fmla="*/ 16627 w 25610"/>
                <a:gd name="connsiteY2" fmla="*/ 7097 h 22766"/>
                <a:gd name="connsiteX3" fmla="*/ 23564 w 25610"/>
                <a:gd name="connsiteY3" fmla="*/ 22766 h 22766"/>
                <a:gd name="connsiteX4" fmla="*/ 24102 w 25610"/>
                <a:gd name="connsiteY4" fmla="*/ 22228 h 22766"/>
                <a:gd name="connsiteX5" fmla="*/ 18420 w 25610"/>
                <a:gd name="connsiteY5" fmla="*/ 5004 h 22766"/>
                <a:gd name="connsiteX6" fmla="*/ 418 w 25610"/>
                <a:gd name="connsiteY6" fmla="*/ 2372 h 2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10" h="22766">
                  <a:moveTo>
                    <a:pt x="418" y="2372"/>
                  </a:moveTo>
                  <a:cubicBezTo>
                    <a:pt x="239" y="2552"/>
                    <a:pt x="120" y="2791"/>
                    <a:pt x="0" y="2970"/>
                  </a:cubicBezTo>
                  <a:cubicBezTo>
                    <a:pt x="3170" y="159"/>
                    <a:pt x="10406" y="1894"/>
                    <a:pt x="16627" y="7097"/>
                  </a:cubicBezTo>
                  <a:cubicBezTo>
                    <a:pt x="22846" y="12300"/>
                    <a:pt x="25836" y="19178"/>
                    <a:pt x="23564" y="22766"/>
                  </a:cubicBezTo>
                  <a:cubicBezTo>
                    <a:pt x="23743" y="22587"/>
                    <a:pt x="23923" y="22408"/>
                    <a:pt x="24102" y="22228"/>
                  </a:cubicBezTo>
                  <a:cubicBezTo>
                    <a:pt x="27511" y="18161"/>
                    <a:pt x="24939" y="10506"/>
                    <a:pt x="18420" y="5004"/>
                  </a:cubicBezTo>
                  <a:cubicBezTo>
                    <a:pt x="11842" y="-439"/>
                    <a:pt x="3768" y="-1635"/>
                    <a:pt x="418" y="2372"/>
                  </a:cubicBezTo>
                  <a:close/>
                </a:path>
              </a:pathLst>
            </a:custGeom>
            <a:solidFill>
              <a:srgbClr val="FFFFFF"/>
            </a:solidFill>
            <a:ln w="5978"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1C3F3102-087E-4099-BFD9-10142A897A42}"/>
                </a:ext>
              </a:extLst>
            </p:cNvPr>
            <p:cNvSpPr/>
            <p:nvPr/>
          </p:nvSpPr>
          <p:spPr>
            <a:xfrm>
              <a:off x="7787179" y="2331543"/>
              <a:ext cx="25413" cy="23019"/>
            </a:xfrm>
            <a:custGeom>
              <a:avLst/>
              <a:gdLst>
                <a:gd name="connsiteX0" fmla="*/ 1056 w 25413"/>
                <a:gd name="connsiteY0" fmla="*/ 1338 h 23019"/>
                <a:gd name="connsiteX1" fmla="*/ 6020 w 25413"/>
                <a:gd name="connsiteY1" fmla="*/ 16947 h 23019"/>
                <a:gd name="connsiteX2" fmla="*/ 7216 w 25413"/>
                <a:gd name="connsiteY2" fmla="*/ 18024 h 23019"/>
                <a:gd name="connsiteX3" fmla="*/ 8472 w 25413"/>
                <a:gd name="connsiteY3" fmla="*/ 18981 h 23019"/>
                <a:gd name="connsiteX4" fmla="*/ 24680 w 25413"/>
                <a:gd name="connsiteY4" fmla="*/ 21134 h 23019"/>
                <a:gd name="connsiteX5" fmla="*/ 17743 w 25413"/>
                <a:gd name="connsiteY5" fmla="*/ 5464 h 23019"/>
                <a:gd name="connsiteX6" fmla="*/ 1056 w 25413"/>
                <a:gd name="connsiteY6" fmla="*/ 1338 h 2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13" h="23019">
                  <a:moveTo>
                    <a:pt x="1056" y="1338"/>
                  </a:moveTo>
                  <a:cubicBezTo>
                    <a:pt x="-1456" y="5225"/>
                    <a:pt x="637" y="11804"/>
                    <a:pt x="6020" y="16947"/>
                  </a:cubicBezTo>
                  <a:cubicBezTo>
                    <a:pt x="6439" y="17306"/>
                    <a:pt x="6797" y="17665"/>
                    <a:pt x="7216" y="18024"/>
                  </a:cubicBezTo>
                  <a:cubicBezTo>
                    <a:pt x="7635" y="18382"/>
                    <a:pt x="8053" y="18682"/>
                    <a:pt x="8472" y="18981"/>
                  </a:cubicBezTo>
                  <a:cubicBezTo>
                    <a:pt x="14453" y="23406"/>
                    <a:pt x="21271" y="24303"/>
                    <a:pt x="24680" y="21134"/>
                  </a:cubicBezTo>
                  <a:cubicBezTo>
                    <a:pt x="26893" y="17545"/>
                    <a:pt x="23962" y="10667"/>
                    <a:pt x="17743" y="5464"/>
                  </a:cubicBezTo>
                  <a:cubicBezTo>
                    <a:pt x="11463" y="261"/>
                    <a:pt x="4226" y="-1473"/>
                    <a:pt x="1056" y="1338"/>
                  </a:cubicBezTo>
                  <a:close/>
                </a:path>
              </a:pathLst>
            </a:custGeom>
            <a:noFill/>
            <a:ln w="5978" cap="flat">
              <a:solidFill>
                <a:srgbClr val="FFFFFF">
                  <a:alpha val="40000"/>
                </a:srgbClr>
              </a:solid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6B7ADD98-1CDE-42D7-8C7D-B6E64A726FAF}"/>
                </a:ext>
              </a:extLst>
            </p:cNvPr>
            <p:cNvSpPr/>
            <p:nvPr/>
          </p:nvSpPr>
          <p:spPr>
            <a:xfrm>
              <a:off x="7823612" y="2342282"/>
              <a:ext cx="13395" cy="11196"/>
            </a:xfrm>
            <a:custGeom>
              <a:avLst/>
              <a:gdLst>
                <a:gd name="connsiteX0" fmla="*/ 448 w 13395"/>
                <a:gd name="connsiteY0" fmla="*/ 1782 h 11196"/>
                <a:gd name="connsiteX1" fmla="*/ 4276 w 13395"/>
                <a:gd name="connsiteY1" fmla="*/ 9676 h 11196"/>
                <a:gd name="connsiteX2" fmla="*/ 12947 w 13395"/>
                <a:gd name="connsiteY2" fmla="*/ 9437 h 11196"/>
                <a:gd name="connsiteX3" fmla="*/ 9120 w 13395"/>
                <a:gd name="connsiteY3" fmla="*/ 1543 h 11196"/>
                <a:gd name="connsiteX4" fmla="*/ 448 w 13395"/>
                <a:gd name="connsiteY4" fmla="*/ 1782 h 11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5" h="11196">
                  <a:moveTo>
                    <a:pt x="448" y="1782"/>
                  </a:moveTo>
                  <a:cubicBezTo>
                    <a:pt x="-868" y="4055"/>
                    <a:pt x="806" y="7583"/>
                    <a:pt x="4276" y="9676"/>
                  </a:cubicBezTo>
                  <a:cubicBezTo>
                    <a:pt x="7744" y="11770"/>
                    <a:pt x="11632" y="11710"/>
                    <a:pt x="12947" y="9437"/>
                  </a:cubicBezTo>
                  <a:cubicBezTo>
                    <a:pt x="14263" y="7165"/>
                    <a:pt x="12589" y="3636"/>
                    <a:pt x="9120" y="1543"/>
                  </a:cubicBezTo>
                  <a:cubicBezTo>
                    <a:pt x="5651" y="-610"/>
                    <a:pt x="1763" y="-491"/>
                    <a:pt x="448" y="1782"/>
                  </a:cubicBezTo>
                  <a:close/>
                </a:path>
              </a:pathLst>
            </a:custGeom>
            <a:solidFill>
              <a:srgbClr val="FFFFFF"/>
            </a:solidFill>
            <a:ln w="5978" cap="flat">
              <a:noFill/>
              <a:prstDash val="solid"/>
              <a:miter/>
            </a:ln>
          </p:spPr>
          <p:txBody>
            <a:bodyPr rtlCol="0" anchor="ctr"/>
            <a:lstStyle/>
            <a:p>
              <a:endParaRPr lang="en-GB"/>
            </a:p>
          </p:txBody>
        </p:sp>
      </p:grpSp>
      <p:grpSp>
        <p:nvGrpSpPr>
          <p:cNvPr id="34" name="DRONE_2">
            <a:extLst>
              <a:ext uri="{FF2B5EF4-FFF2-40B4-BE49-F238E27FC236}">
                <a16:creationId xmlns:a16="http://schemas.microsoft.com/office/drawing/2014/main" id="{23768D91-7E72-4E41-B7B1-483865BB4AD8}"/>
              </a:ext>
            </a:extLst>
          </p:cNvPr>
          <p:cNvGrpSpPr/>
          <p:nvPr userDrawn="1"/>
        </p:nvGrpSpPr>
        <p:grpSpPr>
          <a:xfrm>
            <a:off x="7574306" y="5160454"/>
            <a:ext cx="240811" cy="210837"/>
            <a:chOff x="7599362" y="5053134"/>
            <a:chExt cx="240811" cy="210837"/>
          </a:xfrm>
          <a:noFill/>
        </p:grpSpPr>
        <p:grpSp>
          <p:nvGrpSpPr>
            <p:cNvPr id="35" name="Graphic 3">
              <a:extLst>
                <a:ext uri="{FF2B5EF4-FFF2-40B4-BE49-F238E27FC236}">
                  <a16:creationId xmlns:a16="http://schemas.microsoft.com/office/drawing/2014/main" id="{D0B54019-97A1-466B-9F6A-A66CE3CA2C1B}"/>
                </a:ext>
              </a:extLst>
            </p:cNvPr>
            <p:cNvGrpSpPr/>
            <p:nvPr/>
          </p:nvGrpSpPr>
          <p:grpSpPr>
            <a:xfrm>
              <a:off x="7599362" y="5053134"/>
              <a:ext cx="137854" cy="161207"/>
              <a:chOff x="7599362" y="5053134"/>
              <a:chExt cx="137854" cy="161207"/>
            </a:xfrm>
            <a:noFill/>
          </p:grpSpPr>
          <p:sp>
            <p:nvSpPr>
              <p:cNvPr id="40" name="Vrije vorm: vorm 39">
                <a:extLst>
                  <a:ext uri="{FF2B5EF4-FFF2-40B4-BE49-F238E27FC236}">
                    <a16:creationId xmlns:a16="http://schemas.microsoft.com/office/drawing/2014/main" id="{E7B4BCF5-8451-4227-9807-87BDBC96C92A}"/>
                  </a:ext>
                </a:extLst>
              </p:cNvPr>
              <p:cNvSpPr/>
              <p:nvPr/>
            </p:nvSpPr>
            <p:spPr>
              <a:xfrm>
                <a:off x="7637347" y="5104705"/>
                <a:ext cx="20508" cy="26615"/>
              </a:xfrm>
              <a:custGeom>
                <a:avLst/>
                <a:gdLst>
                  <a:gd name="connsiteX0" fmla="*/ 11658 w 20508"/>
                  <a:gd name="connsiteY0" fmla="*/ 18661 h 26615"/>
                  <a:gd name="connsiteX1" fmla="*/ 7172 w 20508"/>
                  <a:gd name="connsiteY1" fmla="*/ 17763 h 26615"/>
                  <a:gd name="connsiteX2" fmla="*/ 5377 w 20508"/>
                  <a:gd name="connsiteY2" fmla="*/ 9151 h 26615"/>
                  <a:gd name="connsiteX3" fmla="*/ 13990 w 20508"/>
                  <a:gd name="connsiteY3" fmla="*/ 7357 h 26615"/>
                  <a:gd name="connsiteX4" fmla="*/ 16621 w 20508"/>
                  <a:gd name="connsiteY4" fmla="*/ 11065 h 26615"/>
                  <a:gd name="connsiteX5" fmla="*/ 18834 w 20508"/>
                  <a:gd name="connsiteY5" fmla="*/ 8254 h 26615"/>
                  <a:gd name="connsiteX6" fmla="*/ 20509 w 20508"/>
                  <a:gd name="connsiteY6" fmla="*/ 599 h 26615"/>
                  <a:gd name="connsiteX7" fmla="*/ 2627 w 20508"/>
                  <a:gd name="connsiteY7" fmla="*/ 7297 h 26615"/>
                  <a:gd name="connsiteX8" fmla="*/ 3823 w 20508"/>
                  <a:gd name="connsiteY8" fmla="*/ 26615 h 26615"/>
                  <a:gd name="connsiteX9" fmla="*/ 9684 w 20508"/>
                  <a:gd name="connsiteY9" fmla="*/ 22369 h 26615"/>
                  <a:gd name="connsiteX10" fmla="*/ 11658 w 20508"/>
                  <a:gd name="connsiteY10" fmla="*/ 18661 h 2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08" h="26615">
                    <a:moveTo>
                      <a:pt x="11658" y="18661"/>
                    </a:moveTo>
                    <a:cubicBezTo>
                      <a:pt x="10162" y="18900"/>
                      <a:pt x="8547" y="18661"/>
                      <a:pt x="7172" y="17763"/>
                    </a:cubicBezTo>
                    <a:cubicBezTo>
                      <a:pt x="4301" y="15909"/>
                      <a:pt x="3524" y="12022"/>
                      <a:pt x="5377" y="9151"/>
                    </a:cubicBezTo>
                    <a:cubicBezTo>
                      <a:pt x="7232" y="6280"/>
                      <a:pt x="11119" y="5503"/>
                      <a:pt x="13990" y="7357"/>
                    </a:cubicBezTo>
                    <a:cubicBezTo>
                      <a:pt x="15366" y="8254"/>
                      <a:pt x="16263" y="9630"/>
                      <a:pt x="16621" y="11065"/>
                    </a:cubicBezTo>
                    <a:cubicBezTo>
                      <a:pt x="17339" y="10108"/>
                      <a:pt x="18116" y="9151"/>
                      <a:pt x="18834" y="8254"/>
                    </a:cubicBezTo>
                    <a:lnTo>
                      <a:pt x="20509" y="599"/>
                    </a:lnTo>
                    <a:cubicBezTo>
                      <a:pt x="13870" y="-1255"/>
                      <a:pt x="6574" y="1257"/>
                      <a:pt x="2627" y="7297"/>
                    </a:cubicBezTo>
                    <a:cubicBezTo>
                      <a:pt x="-1380" y="13457"/>
                      <a:pt x="-662" y="21292"/>
                      <a:pt x="3823" y="26615"/>
                    </a:cubicBezTo>
                    <a:lnTo>
                      <a:pt x="9684" y="22369"/>
                    </a:lnTo>
                    <a:cubicBezTo>
                      <a:pt x="10282" y="21172"/>
                      <a:pt x="10940" y="19917"/>
                      <a:pt x="11658" y="18661"/>
                    </a:cubicBezTo>
                    <a:close/>
                  </a:path>
                </a:pathLst>
              </a:custGeom>
              <a:noFill/>
              <a:ln w="1515" cap="flat">
                <a:solidFill>
                  <a:srgbClr val="FFFFFF"/>
                </a:solidFill>
                <a:prstDash val="solid"/>
                <a:miter/>
              </a:ln>
            </p:spPr>
            <p:txBody>
              <a:bodyPr rtlCol="0" anchor="ctr"/>
              <a:lstStyle/>
              <a:p>
                <a:endParaRPr lang="en-GB"/>
              </a:p>
            </p:txBody>
          </p:sp>
          <p:sp>
            <p:nvSpPr>
              <p:cNvPr id="41" name="Vrije vorm: vorm 40">
                <a:extLst>
                  <a:ext uri="{FF2B5EF4-FFF2-40B4-BE49-F238E27FC236}">
                    <a16:creationId xmlns:a16="http://schemas.microsoft.com/office/drawing/2014/main" id="{CEA1FE8D-A9ED-48F7-8C1E-A8002469A613}"/>
                  </a:ext>
                </a:extLst>
              </p:cNvPr>
              <p:cNvSpPr/>
              <p:nvPr/>
            </p:nvSpPr>
            <p:spPr>
              <a:xfrm>
                <a:off x="7644476" y="5113959"/>
                <a:ext cx="6800" cy="6745"/>
              </a:xfrm>
              <a:custGeom>
                <a:avLst/>
                <a:gdLst>
                  <a:gd name="connsiteX0" fmla="*/ 6262 w 6800"/>
                  <a:gd name="connsiteY0" fmla="*/ 5219 h 6745"/>
                  <a:gd name="connsiteX1" fmla="*/ 6801 w 6800"/>
                  <a:gd name="connsiteY1" fmla="*/ 3724 h 6745"/>
                  <a:gd name="connsiteX2" fmla="*/ 5903 w 6800"/>
                  <a:gd name="connsiteY2" fmla="*/ 3485 h 6745"/>
                  <a:gd name="connsiteX3" fmla="*/ 5485 w 6800"/>
                  <a:gd name="connsiteY3" fmla="*/ 1451 h 6745"/>
                  <a:gd name="connsiteX4" fmla="*/ 5903 w 6800"/>
                  <a:gd name="connsiteY4" fmla="*/ 1033 h 6745"/>
                  <a:gd name="connsiteX5" fmla="*/ 5305 w 6800"/>
                  <a:gd name="connsiteY5" fmla="*/ 554 h 6745"/>
                  <a:gd name="connsiteX6" fmla="*/ 580 w 6800"/>
                  <a:gd name="connsiteY6" fmla="*/ 1511 h 6745"/>
                  <a:gd name="connsiteX7" fmla="*/ 1537 w 6800"/>
                  <a:gd name="connsiteY7" fmla="*/ 6236 h 6745"/>
                  <a:gd name="connsiteX8" fmla="*/ 6262 w 6800"/>
                  <a:gd name="connsiteY8" fmla="*/ 5219 h 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00" h="6745">
                    <a:moveTo>
                      <a:pt x="6262" y="5219"/>
                    </a:moveTo>
                    <a:cubicBezTo>
                      <a:pt x="6561" y="4741"/>
                      <a:pt x="6741" y="4203"/>
                      <a:pt x="6801" y="3724"/>
                    </a:cubicBezTo>
                    <a:cubicBezTo>
                      <a:pt x="6501" y="3724"/>
                      <a:pt x="6143" y="3724"/>
                      <a:pt x="5903" y="3485"/>
                    </a:cubicBezTo>
                    <a:cubicBezTo>
                      <a:pt x="5246" y="3066"/>
                      <a:pt x="5006" y="2109"/>
                      <a:pt x="5485" y="1451"/>
                    </a:cubicBezTo>
                    <a:cubicBezTo>
                      <a:pt x="5605" y="1272"/>
                      <a:pt x="5724" y="1152"/>
                      <a:pt x="5903" y="1033"/>
                    </a:cubicBezTo>
                    <a:cubicBezTo>
                      <a:pt x="5724" y="853"/>
                      <a:pt x="5545" y="674"/>
                      <a:pt x="5305" y="554"/>
                    </a:cubicBezTo>
                    <a:cubicBezTo>
                      <a:pt x="3750" y="-463"/>
                      <a:pt x="1657" y="-44"/>
                      <a:pt x="580" y="1511"/>
                    </a:cubicBezTo>
                    <a:cubicBezTo>
                      <a:pt x="-496" y="3066"/>
                      <a:pt x="-18" y="5159"/>
                      <a:pt x="1537" y="6236"/>
                    </a:cubicBezTo>
                    <a:cubicBezTo>
                      <a:pt x="3152" y="7193"/>
                      <a:pt x="5246" y="6774"/>
                      <a:pt x="6262" y="5219"/>
                    </a:cubicBezTo>
                    <a:close/>
                  </a:path>
                </a:pathLst>
              </a:custGeom>
              <a:noFill/>
              <a:ln w="1515" cap="flat">
                <a:solidFill>
                  <a:srgbClr val="FFFFFF"/>
                </a:solidFill>
                <a:prstDash val="solid"/>
                <a:miter/>
              </a:ln>
            </p:spPr>
            <p:txBody>
              <a:bodyPr rtlCol="0" anchor="ctr"/>
              <a:lstStyle/>
              <a:p>
                <a:endParaRPr lang="en-GB"/>
              </a:p>
            </p:txBody>
          </p:sp>
          <p:sp>
            <p:nvSpPr>
              <p:cNvPr id="42" name="Vrije vorm: vorm 41">
                <a:extLst>
                  <a:ext uri="{FF2B5EF4-FFF2-40B4-BE49-F238E27FC236}">
                    <a16:creationId xmlns:a16="http://schemas.microsoft.com/office/drawing/2014/main" id="{A5BD99E7-F0EB-4958-9C73-0BCBA410095E}"/>
                  </a:ext>
                </a:extLst>
              </p:cNvPr>
              <p:cNvSpPr/>
              <p:nvPr/>
            </p:nvSpPr>
            <p:spPr>
              <a:xfrm>
                <a:off x="7647185" y="5081883"/>
                <a:ext cx="13422" cy="18815"/>
              </a:xfrm>
              <a:custGeom>
                <a:avLst/>
                <a:gdLst>
                  <a:gd name="connsiteX0" fmla="*/ 4929 w 13422"/>
                  <a:gd name="connsiteY0" fmla="*/ 2129 h 18815"/>
                  <a:gd name="connsiteX1" fmla="*/ 4510 w 13422"/>
                  <a:gd name="connsiteY1" fmla="*/ 156 h 18815"/>
                  <a:gd name="connsiteX2" fmla="*/ 982 w 13422"/>
                  <a:gd name="connsiteY2" fmla="*/ 2189 h 18815"/>
                  <a:gd name="connsiteX3" fmla="*/ 504 w 13422"/>
                  <a:gd name="connsiteY3" fmla="*/ 6256 h 18815"/>
                  <a:gd name="connsiteX4" fmla="*/ 2357 w 13422"/>
                  <a:gd name="connsiteY4" fmla="*/ 5957 h 18815"/>
                  <a:gd name="connsiteX5" fmla="*/ 11807 w 13422"/>
                  <a:gd name="connsiteY5" fmla="*/ 18816 h 18815"/>
                  <a:gd name="connsiteX6" fmla="*/ 13422 w 13422"/>
                  <a:gd name="connsiteY6" fmla="*/ 11400 h 18815"/>
                  <a:gd name="connsiteX7" fmla="*/ 4929 w 13422"/>
                  <a:gd name="connsiteY7" fmla="*/ 2129 h 1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22" h="18815">
                    <a:moveTo>
                      <a:pt x="4929" y="2129"/>
                    </a:moveTo>
                    <a:cubicBezTo>
                      <a:pt x="5109" y="1233"/>
                      <a:pt x="4989" y="515"/>
                      <a:pt x="4510" y="156"/>
                    </a:cubicBezTo>
                    <a:cubicBezTo>
                      <a:pt x="3673" y="-382"/>
                      <a:pt x="2118" y="515"/>
                      <a:pt x="982" y="2189"/>
                    </a:cubicBezTo>
                    <a:cubicBezTo>
                      <a:pt x="-94" y="3864"/>
                      <a:pt x="-334" y="5658"/>
                      <a:pt x="504" y="6256"/>
                    </a:cubicBezTo>
                    <a:cubicBezTo>
                      <a:pt x="982" y="6555"/>
                      <a:pt x="1639" y="6436"/>
                      <a:pt x="2357" y="5957"/>
                    </a:cubicBezTo>
                    <a:cubicBezTo>
                      <a:pt x="6903" y="9306"/>
                      <a:pt x="10132" y="13792"/>
                      <a:pt x="11807" y="18816"/>
                    </a:cubicBezTo>
                    <a:lnTo>
                      <a:pt x="13422" y="11400"/>
                    </a:lnTo>
                    <a:cubicBezTo>
                      <a:pt x="11328" y="7871"/>
                      <a:pt x="8458" y="4701"/>
                      <a:pt x="4929" y="2129"/>
                    </a:cubicBezTo>
                    <a:close/>
                  </a:path>
                </a:pathLst>
              </a:custGeom>
              <a:noFill/>
              <a:ln w="1515" cap="flat">
                <a:solidFill>
                  <a:srgbClr val="FFFFFF"/>
                </a:solidFill>
                <a:prstDash val="solid"/>
                <a:miter/>
              </a:ln>
            </p:spPr>
            <p:txBody>
              <a:bodyPr rtlCol="0" anchor="ctr"/>
              <a:lstStyle/>
              <a:p>
                <a:endParaRPr lang="en-GB"/>
              </a:p>
            </p:txBody>
          </p:sp>
          <p:sp>
            <p:nvSpPr>
              <p:cNvPr id="43" name="Vrije vorm: vorm 42">
                <a:extLst>
                  <a:ext uri="{FF2B5EF4-FFF2-40B4-BE49-F238E27FC236}">
                    <a16:creationId xmlns:a16="http://schemas.microsoft.com/office/drawing/2014/main" id="{D3C56F25-EA3A-4D90-9A22-B373BB2CFF21}"/>
                  </a:ext>
                </a:extLst>
              </p:cNvPr>
              <p:cNvSpPr/>
              <p:nvPr/>
            </p:nvSpPr>
            <p:spPr>
              <a:xfrm>
                <a:off x="7615607" y="5130147"/>
                <a:ext cx="19880" cy="9845"/>
              </a:xfrm>
              <a:custGeom>
                <a:avLst/>
                <a:gdLst>
                  <a:gd name="connsiteX0" fmla="*/ 4989 w 19880"/>
                  <a:gd name="connsiteY0" fmla="*/ 1950 h 9845"/>
                  <a:gd name="connsiteX1" fmla="*/ 4511 w 19880"/>
                  <a:gd name="connsiteY1" fmla="*/ 156 h 9845"/>
                  <a:gd name="connsiteX2" fmla="*/ 982 w 19880"/>
                  <a:gd name="connsiteY2" fmla="*/ 2190 h 9845"/>
                  <a:gd name="connsiteX3" fmla="*/ 504 w 19880"/>
                  <a:gd name="connsiteY3" fmla="*/ 6256 h 9845"/>
                  <a:gd name="connsiteX4" fmla="*/ 2477 w 19880"/>
                  <a:gd name="connsiteY4" fmla="*/ 5838 h 9845"/>
                  <a:gd name="connsiteX5" fmla="*/ 13900 w 19880"/>
                  <a:gd name="connsiteY5" fmla="*/ 9845 h 9845"/>
                  <a:gd name="connsiteX6" fmla="*/ 19881 w 19880"/>
                  <a:gd name="connsiteY6" fmla="*/ 5479 h 9845"/>
                  <a:gd name="connsiteX7" fmla="*/ 4989 w 19880"/>
                  <a:gd name="connsiteY7" fmla="*/ 1950 h 9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80" h="9845">
                    <a:moveTo>
                      <a:pt x="4989" y="1950"/>
                    </a:moveTo>
                    <a:cubicBezTo>
                      <a:pt x="5109" y="1113"/>
                      <a:pt x="4989" y="455"/>
                      <a:pt x="4511" y="156"/>
                    </a:cubicBezTo>
                    <a:cubicBezTo>
                      <a:pt x="3673" y="-382"/>
                      <a:pt x="2118" y="515"/>
                      <a:pt x="982" y="2190"/>
                    </a:cubicBezTo>
                    <a:cubicBezTo>
                      <a:pt x="-94" y="3864"/>
                      <a:pt x="-334" y="5658"/>
                      <a:pt x="504" y="6256"/>
                    </a:cubicBezTo>
                    <a:cubicBezTo>
                      <a:pt x="982" y="6555"/>
                      <a:pt x="1699" y="6376"/>
                      <a:pt x="2477" y="5838"/>
                    </a:cubicBezTo>
                    <a:cubicBezTo>
                      <a:pt x="6066" y="7991"/>
                      <a:pt x="9953" y="9307"/>
                      <a:pt x="13900" y="9845"/>
                    </a:cubicBezTo>
                    <a:lnTo>
                      <a:pt x="19881" y="5479"/>
                    </a:lnTo>
                    <a:cubicBezTo>
                      <a:pt x="14857" y="5838"/>
                      <a:pt x="9654" y="4701"/>
                      <a:pt x="4989" y="1950"/>
                    </a:cubicBezTo>
                    <a:close/>
                  </a:path>
                </a:pathLst>
              </a:custGeom>
              <a:noFill/>
              <a:ln w="1515" cap="flat">
                <a:solidFill>
                  <a:srgbClr val="FFFFFF"/>
                </a:solidFill>
                <a:prstDash val="solid"/>
                <a:miter/>
              </a:ln>
            </p:spPr>
            <p:txBody>
              <a:bodyPr rtlCol="0" anchor="ctr"/>
              <a:lstStyle/>
              <a:p>
                <a:endParaRPr lang="en-GB"/>
              </a:p>
            </p:txBody>
          </p:sp>
          <p:sp>
            <p:nvSpPr>
              <p:cNvPr id="44" name="Vrije vorm: vorm 43">
                <a:extLst>
                  <a:ext uri="{FF2B5EF4-FFF2-40B4-BE49-F238E27FC236}">
                    <a16:creationId xmlns:a16="http://schemas.microsoft.com/office/drawing/2014/main" id="{FAD025A3-749D-4685-82FE-B8284B6A6747}"/>
                  </a:ext>
                </a:extLst>
              </p:cNvPr>
              <p:cNvSpPr/>
              <p:nvPr/>
            </p:nvSpPr>
            <p:spPr>
              <a:xfrm>
                <a:off x="7700257" y="5081200"/>
                <a:ext cx="9869" cy="8672"/>
              </a:xfrm>
              <a:custGeom>
                <a:avLst/>
                <a:gdLst>
                  <a:gd name="connsiteX0" fmla="*/ 5803 w 9869"/>
                  <a:gd name="connsiteY0" fmla="*/ 180 h 8672"/>
                  <a:gd name="connsiteX1" fmla="*/ 1318 w 9869"/>
                  <a:gd name="connsiteY1" fmla="*/ 2931 h 8672"/>
                  <a:gd name="connsiteX2" fmla="*/ 600 w 9869"/>
                  <a:gd name="connsiteY2" fmla="*/ 8134 h 8672"/>
                  <a:gd name="connsiteX3" fmla="*/ 1378 w 9869"/>
                  <a:gd name="connsiteY3" fmla="*/ 8673 h 8672"/>
                  <a:gd name="connsiteX4" fmla="*/ 9870 w 9869"/>
                  <a:gd name="connsiteY4" fmla="*/ 2931 h 8672"/>
                  <a:gd name="connsiteX5" fmla="*/ 5803 w 9869"/>
                  <a:gd name="connsiteY5" fmla="*/ 180 h 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9" h="8672">
                    <a:moveTo>
                      <a:pt x="5803" y="180"/>
                    </a:moveTo>
                    <a:cubicBezTo>
                      <a:pt x="4786" y="-478"/>
                      <a:pt x="2753" y="718"/>
                      <a:pt x="1318" y="2931"/>
                    </a:cubicBezTo>
                    <a:cubicBezTo>
                      <a:pt x="-118" y="5144"/>
                      <a:pt x="-417" y="7417"/>
                      <a:pt x="600" y="8134"/>
                    </a:cubicBezTo>
                    <a:lnTo>
                      <a:pt x="1378" y="8673"/>
                    </a:lnTo>
                    <a:lnTo>
                      <a:pt x="9870" y="2931"/>
                    </a:lnTo>
                    <a:lnTo>
                      <a:pt x="5803" y="180"/>
                    </a:lnTo>
                    <a:close/>
                  </a:path>
                </a:pathLst>
              </a:custGeom>
              <a:noFill/>
              <a:ln w="1515" cap="flat">
                <a:solidFill>
                  <a:srgbClr val="FFFFFF"/>
                </a:solid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566BA3EB-D113-443F-8C5A-79FCB8BF06AE}"/>
                  </a:ext>
                </a:extLst>
              </p:cNvPr>
              <p:cNvSpPr/>
              <p:nvPr/>
            </p:nvSpPr>
            <p:spPr>
              <a:xfrm>
                <a:off x="7638177" y="5176055"/>
                <a:ext cx="5923" cy="10406"/>
              </a:xfrm>
              <a:custGeom>
                <a:avLst/>
                <a:gdLst>
                  <a:gd name="connsiteX0" fmla="*/ 5803 w 5923"/>
                  <a:gd name="connsiteY0" fmla="*/ 180 h 10406"/>
                  <a:gd name="connsiteX1" fmla="*/ 1318 w 5923"/>
                  <a:gd name="connsiteY1" fmla="*/ 2931 h 10406"/>
                  <a:gd name="connsiteX2" fmla="*/ 600 w 5923"/>
                  <a:gd name="connsiteY2" fmla="*/ 8134 h 10406"/>
                  <a:gd name="connsiteX3" fmla="*/ 4069 w 5923"/>
                  <a:gd name="connsiteY3" fmla="*/ 10407 h 10406"/>
                  <a:gd name="connsiteX4" fmla="*/ 5923 w 5923"/>
                  <a:gd name="connsiteY4" fmla="*/ 300 h 10406"/>
                  <a:gd name="connsiteX5" fmla="*/ 5803 w 5923"/>
                  <a:gd name="connsiteY5" fmla="*/ 180 h 1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3" h="10406">
                    <a:moveTo>
                      <a:pt x="5803" y="180"/>
                    </a:moveTo>
                    <a:cubicBezTo>
                      <a:pt x="4786" y="-478"/>
                      <a:pt x="2753" y="718"/>
                      <a:pt x="1318" y="2931"/>
                    </a:cubicBezTo>
                    <a:cubicBezTo>
                      <a:pt x="-118" y="5144"/>
                      <a:pt x="-417" y="7417"/>
                      <a:pt x="600" y="8134"/>
                    </a:cubicBezTo>
                    <a:lnTo>
                      <a:pt x="4069" y="10407"/>
                    </a:lnTo>
                    <a:lnTo>
                      <a:pt x="5923" y="300"/>
                    </a:lnTo>
                    <a:lnTo>
                      <a:pt x="5803" y="180"/>
                    </a:lnTo>
                    <a:close/>
                  </a:path>
                </a:pathLst>
              </a:custGeom>
              <a:noFill/>
              <a:ln w="1515" cap="flat">
                <a:solidFill>
                  <a:srgbClr val="FFFFFF"/>
                </a:solidFill>
                <a:prstDash val="solid"/>
                <a:miter/>
              </a:ln>
            </p:spPr>
            <p:txBody>
              <a:bodyPr rtlCol="0" anchor="ctr"/>
              <a:lstStyle/>
              <a:p>
                <a:endParaRPr lang="en-GB"/>
              </a:p>
            </p:txBody>
          </p:sp>
          <p:sp>
            <p:nvSpPr>
              <p:cNvPr id="46" name="Vrije vorm: vorm 45">
                <a:extLst>
                  <a:ext uri="{FF2B5EF4-FFF2-40B4-BE49-F238E27FC236}">
                    <a16:creationId xmlns:a16="http://schemas.microsoft.com/office/drawing/2014/main" id="{8D4B0C2B-C82C-467D-8E84-589BEAC33F44}"/>
                  </a:ext>
                </a:extLst>
              </p:cNvPr>
              <p:cNvSpPr/>
              <p:nvPr/>
            </p:nvSpPr>
            <p:spPr>
              <a:xfrm>
                <a:off x="7645828" y="5147228"/>
                <a:ext cx="29249" cy="67112"/>
              </a:xfrm>
              <a:custGeom>
                <a:avLst/>
                <a:gdLst>
                  <a:gd name="connsiteX0" fmla="*/ 18666 w 29249"/>
                  <a:gd name="connsiteY0" fmla="*/ 43540 h 67112"/>
                  <a:gd name="connsiteX1" fmla="*/ 22853 w 29249"/>
                  <a:gd name="connsiteY1" fmla="*/ 38037 h 67112"/>
                  <a:gd name="connsiteX2" fmla="*/ 28834 w 29249"/>
                  <a:gd name="connsiteY2" fmla="*/ 24043 h 67112"/>
                  <a:gd name="connsiteX3" fmla="*/ 17770 w 29249"/>
                  <a:gd name="connsiteY3" fmla="*/ 34688 h 67112"/>
                  <a:gd name="connsiteX4" fmla="*/ 14720 w 29249"/>
                  <a:gd name="connsiteY4" fmla="*/ 39832 h 67112"/>
                  <a:gd name="connsiteX5" fmla="*/ 12148 w 29249"/>
                  <a:gd name="connsiteY5" fmla="*/ 38157 h 67112"/>
                  <a:gd name="connsiteX6" fmla="*/ 13942 w 29249"/>
                  <a:gd name="connsiteY6" fmla="*/ 34987 h 67112"/>
                  <a:gd name="connsiteX7" fmla="*/ 22136 w 29249"/>
                  <a:gd name="connsiteY7" fmla="*/ 0 h 67112"/>
                  <a:gd name="connsiteX8" fmla="*/ 7304 w 29249"/>
                  <a:gd name="connsiteY8" fmla="*/ 3768 h 67112"/>
                  <a:gd name="connsiteX9" fmla="*/ 126 w 29249"/>
                  <a:gd name="connsiteY9" fmla="*/ 42224 h 67112"/>
                  <a:gd name="connsiteX10" fmla="*/ 4612 w 29249"/>
                  <a:gd name="connsiteY10" fmla="*/ 49162 h 67112"/>
                  <a:gd name="connsiteX11" fmla="*/ 6885 w 29249"/>
                  <a:gd name="connsiteY11" fmla="*/ 46052 h 67112"/>
                  <a:gd name="connsiteX12" fmla="*/ 9457 w 29249"/>
                  <a:gd name="connsiteY12" fmla="*/ 47726 h 67112"/>
                  <a:gd name="connsiteX13" fmla="*/ 5987 w 29249"/>
                  <a:gd name="connsiteY13" fmla="*/ 52571 h 67112"/>
                  <a:gd name="connsiteX14" fmla="*/ 664 w 29249"/>
                  <a:gd name="connsiteY14" fmla="*/ 66984 h 67112"/>
                  <a:gd name="connsiteX15" fmla="*/ 11131 w 29249"/>
                  <a:gd name="connsiteY15" fmla="*/ 55920 h 67112"/>
                  <a:gd name="connsiteX16" fmla="*/ 14540 w 29249"/>
                  <a:gd name="connsiteY16" fmla="*/ 49879 h 67112"/>
                  <a:gd name="connsiteX17" fmla="*/ 18547 w 29249"/>
                  <a:gd name="connsiteY17" fmla="*/ 48324 h 67112"/>
                  <a:gd name="connsiteX18" fmla="*/ 18786 w 29249"/>
                  <a:gd name="connsiteY18" fmla="*/ 48145 h 67112"/>
                  <a:gd name="connsiteX19" fmla="*/ 18906 w 29249"/>
                  <a:gd name="connsiteY19" fmla="*/ 47786 h 67112"/>
                  <a:gd name="connsiteX20" fmla="*/ 18666 w 29249"/>
                  <a:gd name="connsiteY20" fmla="*/ 43540 h 67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249" h="67112">
                    <a:moveTo>
                      <a:pt x="18666" y="43540"/>
                    </a:moveTo>
                    <a:cubicBezTo>
                      <a:pt x="19983" y="42045"/>
                      <a:pt x="21358" y="40250"/>
                      <a:pt x="22853" y="38037"/>
                    </a:cubicBezTo>
                    <a:cubicBezTo>
                      <a:pt x="27399" y="31100"/>
                      <a:pt x="30389" y="25059"/>
                      <a:pt x="28834" y="24043"/>
                    </a:cubicBezTo>
                    <a:cubicBezTo>
                      <a:pt x="27219" y="23026"/>
                      <a:pt x="22255" y="27751"/>
                      <a:pt x="17770" y="34688"/>
                    </a:cubicBezTo>
                    <a:cubicBezTo>
                      <a:pt x="16633" y="36483"/>
                      <a:pt x="15616" y="38217"/>
                      <a:pt x="14720" y="39832"/>
                    </a:cubicBezTo>
                    <a:lnTo>
                      <a:pt x="12148" y="38157"/>
                    </a:lnTo>
                    <a:cubicBezTo>
                      <a:pt x="12686" y="37140"/>
                      <a:pt x="13284" y="36064"/>
                      <a:pt x="13942" y="34987"/>
                    </a:cubicBezTo>
                    <a:lnTo>
                      <a:pt x="22136" y="0"/>
                    </a:lnTo>
                    <a:cubicBezTo>
                      <a:pt x="16992" y="3050"/>
                      <a:pt x="11669" y="4067"/>
                      <a:pt x="7304" y="3768"/>
                    </a:cubicBezTo>
                    <a:lnTo>
                      <a:pt x="126" y="42224"/>
                    </a:lnTo>
                    <a:cubicBezTo>
                      <a:pt x="-532" y="45394"/>
                      <a:pt x="1442" y="48504"/>
                      <a:pt x="4612" y="49162"/>
                    </a:cubicBezTo>
                    <a:cubicBezTo>
                      <a:pt x="5389" y="48085"/>
                      <a:pt x="6107" y="47068"/>
                      <a:pt x="6885" y="46052"/>
                    </a:cubicBezTo>
                    <a:lnTo>
                      <a:pt x="9457" y="47726"/>
                    </a:lnTo>
                    <a:cubicBezTo>
                      <a:pt x="8320" y="49162"/>
                      <a:pt x="7124" y="50776"/>
                      <a:pt x="5987" y="52571"/>
                    </a:cubicBezTo>
                    <a:cubicBezTo>
                      <a:pt x="1442" y="59508"/>
                      <a:pt x="-950" y="65908"/>
                      <a:pt x="664" y="66984"/>
                    </a:cubicBezTo>
                    <a:cubicBezTo>
                      <a:pt x="2279" y="68001"/>
                      <a:pt x="6586" y="62857"/>
                      <a:pt x="11131" y="55920"/>
                    </a:cubicBezTo>
                    <a:cubicBezTo>
                      <a:pt x="12567" y="53707"/>
                      <a:pt x="13703" y="51674"/>
                      <a:pt x="14540" y="49879"/>
                    </a:cubicBezTo>
                    <a:cubicBezTo>
                      <a:pt x="16215" y="49939"/>
                      <a:pt x="17889" y="48803"/>
                      <a:pt x="18547" y="48324"/>
                    </a:cubicBezTo>
                    <a:cubicBezTo>
                      <a:pt x="18726" y="48205"/>
                      <a:pt x="18786" y="48145"/>
                      <a:pt x="18786" y="48145"/>
                    </a:cubicBezTo>
                    <a:cubicBezTo>
                      <a:pt x="18786" y="48145"/>
                      <a:pt x="18846" y="48025"/>
                      <a:pt x="18906" y="47786"/>
                    </a:cubicBezTo>
                    <a:cubicBezTo>
                      <a:pt x="19085" y="47068"/>
                      <a:pt x="19444" y="45095"/>
                      <a:pt x="18666" y="43540"/>
                    </a:cubicBezTo>
                    <a:close/>
                  </a:path>
                </a:pathLst>
              </a:custGeom>
              <a:noFill/>
              <a:ln w="1515" cap="flat">
                <a:solidFill>
                  <a:srgbClr val="FFFFFF"/>
                </a:solidFill>
                <a:prstDash val="solid"/>
                <a:miter/>
              </a:ln>
            </p:spPr>
            <p:txBody>
              <a:bodyPr rtlCol="0" anchor="ctr"/>
              <a:lstStyle/>
              <a:p>
                <a:endParaRPr lang="en-GB"/>
              </a:p>
            </p:txBody>
          </p:sp>
          <p:sp>
            <p:nvSpPr>
              <p:cNvPr id="47" name="Vrije vorm: vorm 46">
                <a:extLst>
                  <a:ext uri="{FF2B5EF4-FFF2-40B4-BE49-F238E27FC236}">
                    <a16:creationId xmlns:a16="http://schemas.microsoft.com/office/drawing/2014/main" id="{792266A9-DD97-4421-A275-071FD967B141}"/>
                  </a:ext>
                </a:extLst>
              </p:cNvPr>
              <p:cNvSpPr/>
              <p:nvPr/>
            </p:nvSpPr>
            <p:spPr>
              <a:xfrm>
                <a:off x="7681180" y="5076339"/>
                <a:ext cx="56036" cy="47863"/>
              </a:xfrm>
              <a:custGeom>
                <a:avLst/>
                <a:gdLst>
                  <a:gd name="connsiteX0" fmla="*/ 45453 w 56036"/>
                  <a:gd name="connsiteY0" fmla="*/ 19635 h 47863"/>
                  <a:gd name="connsiteX1" fmla="*/ 49640 w 56036"/>
                  <a:gd name="connsiteY1" fmla="*/ 14133 h 47863"/>
                  <a:gd name="connsiteX2" fmla="*/ 55621 w 56036"/>
                  <a:gd name="connsiteY2" fmla="*/ 138 h 47863"/>
                  <a:gd name="connsiteX3" fmla="*/ 44556 w 56036"/>
                  <a:gd name="connsiteY3" fmla="*/ 10783 h 47863"/>
                  <a:gd name="connsiteX4" fmla="*/ 41507 w 56036"/>
                  <a:gd name="connsiteY4" fmla="*/ 15927 h 47863"/>
                  <a:gd name="connsiteX5" fmla="*/ 38935 w 56036"/>
                  <a:gd name="connsiteY5" fmla="*/ 14252 h 47863"/>
                  <a:gd name="connsiteX6" fmla="*/ 39892 w 56036"/>
                  <a:gd name="connsiteY6" fmla="*/ 12578 h 47863"/>
                  <a:gd name="connsiteX7" fmla="*/ 39892 w 56036"/>
                  <a:gd name="connsiteY7" fmla="*/ 12518 h 47863"/>
                  <a:gd name="connsiteX8" fmla="*/ 31698 w 56036"/>
                  <a:gd name="connsiteY8" fmla="*/ 11142 h 47863"/>
                  <a:gd name="connsiteX9" fmla="*/ 0 w 56036"/>
                  <a:gd name="connsiteY9" fmla="*/ 32673 h 47863"/>
                  <a:gd name="connsiteX10" fmla="*/ 2273 w 56036"/>
                  <a:gd name="connsiteY10" fmla="*/ 47864 h 47863"/>
                  <a:gd name="connsiteX11" fmla="*/ 30502 w 56036"/>
                  <a:gd name="connsiteY11" fmla="*/ 26752 h 47863"/>
                  <a:gd name="connsiteX12" fmla="*/ 33791 w 56036"/>
                  <a:gd name="connsiteY12" fmla="*/ 22206 h 47863"/>
                  <a:gd name="connsiteX13" fmla="*/ 36363 w 56036"/>
                  <a:gd name="connsiteY13" fmla="*/ 23881 h 47863"/>
                  <a:gd name="connsiteX14" fmla="*/ 32894 w 56036"/>
                  <a:gd name="connsiteY14" fmla="*/ 28726 h 47863"/>
                  <a:gd name="connsiteX15" fmla="*/ 27571 w 56036"/>
                  <a:gd name="connsiteY15" fmla="*/ 43139 h 47863"/>
                  <a:gd name="connsiteX16" fmla="*/ 38037 w 56036"/>
                  <a:gd name="connsiteY16" fmla="*/ 32075 h 47863"/>
                  <a:gd name="connsiteX17" fmla="*/ 41447 w 56036"/>
                  <a:gd name="connsiteY17" fmla="*/ 26034 h 47863"/>
                  <a:gd name="connsiteX18" fmla="*/ 45453 w 56036"/>
                  <a:gd name="connsiteY18" fmla="*/ 24479 h 47863"/>
                  <a:gd name="connsiteX19" fmla="*/ 45693 w 56036"/>
                  <a:gd name="connsiteY19" fmla="*/ 24300 h 47863"/>
                  <a:gd name="connsiteX20" fmla="*/ 45813 w 56036"/>
                  <a:gd name="connsiteY20" fmla="*/ 23941 h 47863"/>
                  <a:gd name="connsiteX21" fmla="*/ 45453 w 56036"/>
                  <a:gd name="connsiteY21" fmla="*/ 19635 h 4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036" h="47863">
                    <a:moveTo>
                      <a:pt x="45453" y="19635"/>
                    </a:moveTo>
                    <a:cubicBezTo>
                      <a:pt x="46769" y="18140"/>
                      <a:pt x="48145" y="16345"/>
                      <a:pt x="49640" y="14133"/>
                    </a:cubicBezTo>
                    <a:cubicBezTo>
                      <a:pt x="54186" y="7195"/>
                      <a:pt x="57176" y="1155"/>
                      <a:pt x="55621" y="138"/>
                    </a:cubicBezTo>
                    <a:cubicBezTo>
                      <a:pt x="54006" y="-879"/>
                      <a:pt x="49042" y="3846"/>
                      <a:pt x="44556" y="10783"/>
                    </a:cubicBezTo>
                    <a:cubicBezTo>
                      <a:pt x="43420" y="12578"/>
                      <a:pt x="42403" y="14312"/>
                      <a:pt x="41507" y="15927"/>
                    </a:cubicBezTo>
                    <a:lnTo>
                      <a:pt x="38935" y="14252"/>
                    </a:lnTo>
                    <a:cubicBezTo>
                      <a:pt x="39234" y="13714"/>
                      <a:pt x="39532" y="13116"/>
                      <a:pt x="39892" y="12578"/>
                    </a:cubicBezTo>
                    <a:cubicBezTo>
                      <a:pt x="39892" y="12578"/>
                      <a:pt x="39892" y="12578"/>
                      <a:pt x="39892" y="12518"/>
                    </a:cubicBezTo>
                    <a:cubicBezTo>
                      <a:pt x="38037" y="9886"/>
                      <a:pt x="34329" y="9228"/>
                      <a:pt x="31698" y="11142"/>
                    </a:cubicBezTo>
                    <a:lnTo>
                      <a:pt x="0" y="32673"/>
                    </a:lnTo>
                    <a:cubicBezTo>
                      <a:pt x="1973" y="36620"/>
                      <a:pt x="3110" y="41943"/>
                      <a:pt x="2273" y="47864"/>
                    </a:cubicBezTo>
                    <a:lnTo>
                      <a:pt x="30502" y="26752"/>
                    </a:lnTo>
                    <a:cubicBezTo>
                      <a:pt x="31578" y="25137"/>
                      <a:pt x="32714" y="23582"/>
                      <a:pt x="33791" y="22206"/>
                    </a:cubicBezTo>
                    <a:lnTo>
                      <a:pt x="36363" y="23881"/>
                    </a:lnTo>
                    <a:cubicBezTo>
                      <a:pt x="35227" y="25317"/>
                      <a:pt x="34031" y="26931"/>
                      <a:pt x="32894" y="28726"/>
                    </a:cubicBezTo>
                    <a:cubicBezTo>
                      <a:pt x="28349" y="35663"/>
                      <a:pt x="25956" y="42062"/>
                      <a:pt x="27571" y="43139"/>
                    </a:cubicBezTo>
                    <a:cubicBezTo>
                      <a:pt x="29186" y="44156"/>
                      <a:pt x="33492" y="39012"/>
                      <a:pt x="38037" y="32075"/>
                    </a:cubicBezTo>
                    <a:cubicBezTo>
                      <a:pt x="39532" y="29862"/>
                      <a:pt x="40609" y="27828"/>
                      <a:pt x="41447" y="26034"/>
                    </a:cubicBezTo>
                    <a:cubicBezTo>
                      <a:pt x="43121" y="26094"/>
                      <a:pt x="44796" y="24958"/>
                      <a:pt x="45453" y="24479"/>
                    </a:cubicBezTo>
                    <a:cubicBezTo>
                      <a:pt x="45633" y="24360"/>
                      <a:pt x="45693" y="24300"/>
                      <a:pt x="45693" y="24300"/>
                    </a:cubicBezTo>
                    <a:cubicBezTo>
                      <a:pt x="45693" y="24300"/>
                      <a:pt x="45753" y="24180"/>
                      <a:pt x="45813" y="23941"/>
                    </a:cubicBezTo>
                    <a:cubicBezTo>
                      <a:pt x="45813" y="23104"/>
                      <a:pt x="46171" y="21130"/>
                      <a:pt x="45453" y="19635"/>
                    </a:cubicBezTo>
                    <a:close/>
                  </a:path>
                </a:pathLst>
              </a:custGeom>
              <a:noFill/>
              <a:ln w="1515" cap="flat">
                <a:solidFill>
                  <a:srgbClr val="FFFFFF"/>
                </a:solidFill>
                <a:prstDash val="solid"/>
                <a:miter/>
              </a:ln>
            </p:spPr>
            <p:txBody>
              <a:bodyPr rtlCol="0" anchor="ctr"/>
              <a:lstStyle/>
              <a:p>
                <a:endParaRPr lang="en-GB"/>
              </a:p>
            </p:txBody>
          </p:sp>
          <p:sp>
            <p:nvSpPr>
              <p:cNvPr id="48" name="Vrije vorm: vorm 47">
                <a:extLst>
                  <a:ext uri="{FF2B5EF4-FFF2-40B4-BE49-F238E27FC236}">
                    <a16:creationId xmlns:a16="http://schemas.microsoft.com/office/drawing/2014/main" id="{C92ADB1D-79D2-4C55-95FC-91BA1C8D094F}"/>
                  </a:ext>
                </a:extLst>
              </p:cNvPr>
              <p:cNvSpPr/>
              <p:nvPr/>
            </p:nvSpPr>
            <p:spPr>
              <a:xfrm>
                <a:off x="7599362" y="5153388"/>
                <a:ext cx="8793" cy="9210"/>
              </a:xfrm>
              <a:custGeom>
                <a:avLst/>
                <a:gdLst>
                  <a:gd name="connsiteX0" fmla="*/ 5982 w 8793"/>
                  <a:gd name="connsiteY0" fmla="*/ 4187 h 9210"/>
                  <a:gd name="connsiteX1" fmla="*/ 8794 w 8793"/>
                  <a:gd name="connsiteY1" fmla="*/ 2154 h 9210"/>
                  <a:gd name="connsiteX2" fmla="*/ 5803 w 8793"/>
                  <a:gd name="connsiteY2" fmla="*/ 180 h 9210"/>
                  <a:gd name="connsiteX3" fmla="*/ 1318 w 8793"/>
                  <a:gd name="connsiteY3" fmla="*/ 2931 h 9210"/>
                  <a:gd name="connsiteX4" fmla="*/ 600 w 8793"/>
                  <a:gd name="connsiteY4" fmla="*/ 8134 h 9210"/>
                  <a:gd name="connsiteX5" fmla="*/ 2215 w 8793"/>
                  <a:gd name="connsiteY5" fmla="*/ 9211 h 9210"/>
                  <a:gd name="connsiteX6" fmla="*/ 3291 w 8793"/>
                  <a:gd name="connsiteY6" fmla="*/ 6938 h 9210"/>
                  <a:gd name="connsiteX7" fmla="*/ 5982 w 8793"/>
                  <a:gd name="connsiteY7" fmla="*/ 4187 h 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3" h="9210">
                    <a:moveTo>
                      <a:pt x="5982" y="4187"/>
                    </a:moveTo>
                    <a:lnTo>
                      <a:pt x="8794" y="2154"/>
                    </a:lnTo>
                    <a:lnTo>
                      <a:pt x="5803" y="180"/>
                    </a:lnTo>
                    <a:cubicBezTo>
                      <a:pt x="4786" y="-478"/>
                      <a:pt x="2753" y="718"/>
                      <a:pt x="1318" y="2931"/>
                    </a:cubicBezTo>
                    <a:cubicBezTo>
                      <a:pt x="-118" y="5144"/>
                      <a:pt x="-417" y="7417"/>
                      <a:pt x="600" y="8134"/>
                    </a:cubicBezTo>
                    <a:lnTo>
                      <a:pt x="2215" y="9211"/>
                    </a:lnTo>
                    <a:cubicBezTo>
                      <a:pt x="2454" y="8433"/>
                      <a:pt x="2813" y="7656"/>
                      <a:pt x="3291" y="6938"/>
                    </a:cubicBezTo>
                    <a:cubicBezTo>
                      <a:pt x="4009" y="5862"/>
                      <a:pt x="4906" y="4905"/>
                      <a:pt x="5982" y="4187"/>
                    </a:cubicBezTo>
                    <a:close/>
                  </a:path>
                </a:pathLst>
              </a:custGeom>
              <a:noFill/>
              <a:ln w="1515" cap="flat">
                <a:solidFill>
                  <a:srgbClr val="FFFFFF"/>
                </a:solidFill>
                <a:prstDash val="solid"/>
                <a:miter/>
              </a:ln>
            </p:spPr>
            <p:txBody>
              <a:bodyPr rtlCol="0" anchor="ctr"/>
              <a:lstStyle/>
              <a:p>
                <a:endParaRPr lang="en-GB"/>
              </a:p>
            </p:txBody>
          </p:sp>
          <p:sp>
            <p:nvSpPr>
              <p:cNvPr id="49" name="Vrije vorm: vorm 48">
                <a:extLst>
                  <a:ext uri="{FF2B5EF4-FFF2-40B4-BE49-F238E27FC236}">
                    <a16:creationId xmlns:a16="http://schemas.microsoft.com/office/drawing/2014/main" id="{FDD49776-AF20-4A2E-91B0-F1D0025DDCDC}"/>
                  </a:ext>
                </a:extLst>
              </p:cNvPr>
              <p:cNvSpPr/>
              <p:nvPr/>
            </p:nvSpPr>
            <p:spPr>
              <a:xfrm>
                <a:off x="7662519" y="5056979"/>
                <a:ext cx="7178" cy="10287"/>
              </a:xfrm>
              <a:custGeom>
                <a:avLst/>
                <a:gdLst>
                  <a:gd name="connsiteX0" fmla="*/ 6222 w 7178"/>
                  <a:gd name="connsiteY0" fmla="*/ 2393 h 10287"/>
                  <a:gd name="connsiteX1" fmla="*/ 7178 w 7178"/>
                  <a:gd name="connsiteY1" fmla="*/ 1137 h 10287"/>
                  <a:gd name="connsiteX2" fmla="*/ 5743 w 7178"/>
                  <a:gd name="connsiteY2" fmla="*/ 180 h 10287"/>
                  <a:gd name="connsiteX3" fmla="*/ 1317 w 7178"/>
                  <a:gd name="connsiteY3" fmla="*/ 2931 h 10287"/>
                  <a:gd name="connsiteX4" fmla="*/ 600 w 7178"/>
                  <a:gd name="connsiteY4" fmla="*/ 8134 h 10287"/>
                  <a:gd name="connsiteX5" fmla="*/ 3889 w 7178"/>
                  <a:gd name="connsiteY5" fmla="*/ 10287 h 10287"/>
                  <a:gd name="connsiteX6" fmla="*/ 4847 w 7178"/>
                  <a:gd name="connsiteY6" fmla="*/ 5982 h 10287"/>
                  <a:gd name="connsiteX7" fmla="*/ 6222 w 7178"/>
                  <a:gd name="connsiteY7" fmla="*/ 2393 h 1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8" h="10287">
                    <a:moveTo>
                      <a:pt x="6222" y="2393"/>
                    </a:moveTo>
                    <a:cubicBezTo>
                      <a:pt x="6521" y="1974"/>
                      <a:pt x="6820" y="1555"/>
                      <a:pt x="7178" y="1137"/>
                    </a:cubicBezTo>
                    <a:lnTo>
                      <a:pt x="5743" y="180"/>
                    </a:lnTo>
                    <a:cubicBezTo>
                      <a:pt x="4727" y="-478"/>
                      <a:pt x="2693" y="718"/>
                      <a:pt x="1317" y="2931"/>
                    </a:cubicBezTo>
                    <a:cubicBezTo>
                      <a:pt x="-118" y="5144"/>
                      <a:pt x="-416" y="7417"/>
                      <a:pt x="600" y="8134"/>
                    </a:cubicBezTo>
                    <a:lnTo>
                      <a:pt x="3889" y="10287"/>
                    </a:lnTo>
                    <a:lnTo>
                      <a:pt x="4847" y="5982"/>
                    </a:lnTo>
                    <a:cubicBezTo>
                      <a:pt x="5025" y="4666"/>
                      <a:pt x="5564" y="3469"/>
                      <a:pt x="6222" y="2393"/>
                    </a:cubicBezTo>
                    <a:close/>
                  </a:path>
                </a:pathLst>
              </a:custGeom>
              <a:noFill/>
              <a:ln w="1515" cap="flat">
                <a:solidFill>
                  <a:srgbClr val="FFFFFF"/>
                </a:solidFill>
                <a:prstDash val="solid"/>
                <a:miter/>
              </a:ln>
            </p:spPr>
            <p:txBody>
              <a:bodyPr rtlCol="0" anchor="ctr"/>
              <a:lstStyle/>
              <a:p>
                <a:endParaRPr lang="en-GB"/>
              </a:p>
            </p:txBody>
          </p:sp>
          <p:sp>
            <p:nvSpPr>
              <p:cNvPr id="50" name="Vrije vorm: vorm 49">
                <a:extLst>
                  <a:ext uri="{FF2B5EF4-FFF2-40B4-BE49-F238E27FC236}">
                    <a16:creationId xmlns:a16="http://schemas.microsoft.com/office/drawing/2014/main" id="{6B99E5ED-32E7-4E19-BE17-6EEBD5DB7D0E}"/>
                  </a:ext>
                </a:extLst>
              </p:cNvPr>
              <p:cNvSpPr/>
              <p:nvPr/>
            </p:nvSpPr>
            <p:spPr>
              <a:xfrm>
                <a:off x="7605225" y="5053134"/>
                <a:ext cx="95595" cy="139556"/>
              </a:xfrm>
              <a:custGeom>
                <a:avLst/>
                <a:gdLst>
                  <a:gd name="connsiteX0" fmla="*/ 85046 w 95595"/>
                  <a:gd name="connsiteY0" fmla="*/ 19634 h 139556"/>
                  <a:gd name="connsiteX1" fmla="*/ 89232 w 95595"/>
                  <a:gd name="connsiteY1" fmla="*/ 14132 h 139556"/>
                  <a:gd name="connsiteX2" fmla="*/ 95153 w 95595"/>
                  <a:gd name="connsiteY2" fmla="*/ 138 h 139556"/>
                  <a:gd name="connsiteX3" fmla="*/ 84089 w 95595"/>
                  <a:gd name="connsiteY3" fmla="*/ 10783 h 139556"/>
                  <a:gd name="connsiteX4" fmla="*/ 81099 w 95595"/>
                  <a:gd name="connsiteY4" fmla="*/ 15926 h 139556"/>
                  <a:gd name="connsiteX5" fmla="*/ 77630 w 95595"/>
                  <a:gd name="connsiteY5" fmla="*/ 13654 h 139556"/>
                  <a:gd name="connsiteX6" fmla="*/ 77750 w 95595"/>
                  <a:gd name="connsiteY6" fmla="*/ 12936 h 139556"/>
                  <a:gd name="connsiteX7" fmla="*/ 73085 w 95595"/>
                  <a:gd name="connsiteY7" fmla="*/ 6059 h 139556"/>
                  <a:gd name="connsiteX8" fmla="*/ 67044 w 95595"/>
                  <a:gd name="connsiteY8" fmla="*/ 8630 h 139556"/>
                  <a:gd name="connsiteX9" fmla="*/ 66207 w 95595"/>
                  <a:gd name="connsiteY9" fmla="*/ 10723 h 139556"/>
                  <a:gd name="connsiteX10" fmla="*/ 55083 w 95595"/>
                  <a:gd name="connsiteY10" fmla="*/ 61260 h 139556"/>
                  <a:gd name="connsiteX11" fmla="*/ 49520 w 95595"/>
                  <a:gd name="connsiteY11" fmla="*/ 68676 h 139556"/>
                  <a:gd name="connsiteX12" fmla="*/ 44616 w 95595"/>
                  <a:gd name="connsiteY12" fmla="*/ 77349 h 139556"/>
                  <a:gd name="connsiteX13" fmla="*/ 2512 w 95595"/>
                  <a:gd name="connsiteY13" fmla="*/ 107910 h 139556"/>
                  <a:gd name="connsiteX14" fmla="*/ 957 w 95595"/>
                  <a:gd name="connsiteY14" fmla="*/ 109525 h 139556"/>
                  <a:gd name="connsiteX15" fmla="*/ 1017 w 95595"/>
                  <a:gd name="connsiteY15" fmla="*/ 116104 h 139556"/>
                  <a:gd name="connsiteX16" fmla="*/ 8912 w 95595"/>
                  <a:gd name="connsiteY16" fmla="*/ 117718 h 139556"/>
                  <a:gd name="connsiteX17" fmla="*/ 12679 w 95595"/>
                  <a:gd name="connsiteY17" fmla="*/ 120170 h 139556"/>
                  <a:gd name="connsiteX18" fmla="*/ 9210 w 95595"/>
                  <a:gd name="connsiteY18" fmla="*/ 125015 h 139556"/>
                  <a:gd name="connsiteX19" fmla="*/ 3887 w 95595"/>
                  <a:gd name="connsiteY19" fmla="*/ 139429 h 139556"/>
                  <a:gd name="connsiteX20" fmla="*/ 14354 w 95595"/>
                  <a:gd name="connsiteY20" fmla="*/ 128364 h 139556"/>
                  <a:gd name="connsiteX21" fmla="*/ 17763 w 95595"/>
                  <a:gd name="connsiteY21" fmla="*/ 122324 h 139556"/>
                  <a:gd name="connsiteX22" fmla="*/ 21770 w 95595"/>
                  <a:gd name="connsiteY22" fmla="*/ 120769 h 139556"/>
                  <a:gd name="connsiteX23" fmla="*/ 22009 w 95595"/>
                  <a:gd name="connsiteY23" fmla="*/ 120589 h 139556"/>
                  <a:gd name="connsiteX24" fmla="*/ 22129 w 95595"/>
                  <a:gd name="connsiteY24" fmla="*/ 120290 h 139556"/>
                  <a:gd name="connsiteX25" fmla="*/ 21949 w 95595"/>
                  <a:gd name="connsiteY25" fmla="*/ 116044 h 139556"/>
                  <a:gd name="connsiteX26" fmla="*/ 26136 w 95595"/>
                  <a:gd name="connsiteY26" fmla="*/ 110542 h 139556"/>
                  <a:gd name="connsiteX27" fmla="*/ 32057 w 95595"/>
                  <a:gd name="connsiteY27" fmla="*/ 96547 h 139556"/>
                  <a:gd name="connsiteX28" fmla="*/ 20993 w 95595"/>
                  <a:gd name="connsiteY28" fmla="*/ 107192 h 139556"/>
                  <a:gd name="connsiteX29" fmla="*/ 18002 w 95595"/>
                  <a:gd name="connsiteY29" fmla="*/ 112336 h 139556"/>
                  <a:gd name="connsiteX30" fmla="*/ 15430 w 95595"/>
                  <a:gd name="connsiteY30" fmla="*/ 110661 h 139556"/>
                  <a:gd name="connsiteX31" fmla="*/ 18481 w 95595"/>
                  <a:gd name="connsiteY31" fmla="*/ 105518 h 139556"/>
                  <a:gd name="connsiteX32" fmla="*/ 33791 w 95595"/>
                  <a:gd name="connsiteY32" fmla="*/ 93975 h 139556"/>
                  <a:gd name="connsiteX33" fmla="*/ 35047 w 95595"/>
                  <a:gd name="connsiteY33" fmla="*/ 100614 h 139556"/>
                  <a:gd name="connsiteX34" fmla="*/ 45992 w 95595"/>
                  <a:gd name="connsiteY34" fmla="*/ 93377 h 139556"/>
                  <a:gd name="connsiteX35" fmla="*/ 69556 w 95595"/>
                  <a:gd name="connsiteY35" fmla="*/ 81774 h 139556"/>
                  <a:gd name="connsiteX36" fmla="*/ 70453 w 95595"/>
                  <a:gd name="connsiteY36" fmla="*/ 55160 h 139556"/>
                  <a:gd name="connsiteX37" fmla="*/ 72427 w 95595"/>
                  <a:gd name="connsiteY37" fmla="*/ 43677 h 139556"/>
                  <a:gd name="connsiteX38" fmla="*/ 65429 w 95595"/>
                  <a:gd name="connsiteY38" fmla="*/ 45591 h 139556"/>
                  <a:gd name="connsiteX39" fmla="*/ 69855 w 95595"/>
                  <a:gd name="connsiteY39" fmla="*/ 26931 h 139556"/>
                  <a:gd name="connsiteX40" fmla="*/ 73324 w 95595"/>
                  <a:gd name="connsiteY40" fmla="*/ 22087 h 139556"/>
                  <a:gd name="connsiteX41" fmla="*/ 75895 w 95595"/>
                  <a:gd name="connsiteY41" fmla="*/ 23761 h 139556"/>
                  <a:gd name="connsiteX42" fmla="*/ 72427 w 95595"/>
                  <a:gd name="connsiteY42" fmla="*/ 28606 h 139556"/>
                  <a:gd name="connsiteX43" fmla="*/ 67104 w 95595"/>
                  <a:gd name="connsiteY43" fmla="*/ 43019 h 139556"/>
                  <a:gd name="connsiteX44" fmla="*/ 77570 w 95595"/>
                  <a:gd name="connsiteY44" fmla="*/ 31955 h 139556"/>
                  <a:gd name="connsiteX45" fmla="*/ 80979 w 95595"/>
                  <a:gd name="connsiteY45" fmla="*/ 25915 h 139556"/>
                  <a:gd name="connsiteX46" fmla="*/ 84986 w 95595"/>
                  <a:gd name="connsiteY46" fmla="*/ 24359 h 139556"/>
                  <a:gd name="connsiteX47" fmla="*/ 85226 w 95595"/>
                  <a:gd name="connsiteY47" fmla="*/ 24120 h 139556"/>
                  <a:gd name="connsiteX48" fmla="*/ 85286 w 95595"/>
                  <a:gd name="connsiteY48" fmla="*/ 23821 h 139556"/>
                  <a:gd name="connsiteX49" fmla="*/ 85046 w 95595"/>
                  <a:gd name="connsiteY49" fmla="*/ 19634 h 13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5595" h="139556">
                    <a:moveTo>
                      <a:pt x="85046" y="19634"/>
                    </a:moveTo>
                    <a:cubicBezTo>
                      <a:pt x="86362" y="18139"/>
                      <a:pt x="87737" y="16345"/>
                      <a:pt x="89232" y="14132"/>
                    </a:cubicBezTo>
                    <a:cubicBezTo>
                      <a:pt x="93778" y="7195"/>
                      <a:pt x="96768" y="1154"/>
                      <a:pt x="95153" y="138"/>
                    </a:cubicBezTo>
                    <a:cubicBezTo>
                      <a:pt x="93539" y="-879"/>
                      <a:pt x="88574" y="3846"/>
                      <a:pt x="84089" y="10783"/>
                    </a:cubicBezTo>
                    <a:cubicBezTo>
                      <a:pt x="82953" y="12577"/>
                      <a:pt x="81936" y="14312"/>
                      <a:pt x="81099" y="15926"/>
                    </a:cubicBezTo>
                    <a:lnTo>
                      <a:pt x="77630" y="13654"/>
                    </a:lnTo>
                    <a:lnTo>
                      <a:pt x="77750" y="12936"/>
                    </a:lnTo>
                    <a:cubicBezTo>
                      <a:pt x="78348" y="9767"/>
                      <a:pt x="76314" y="6656"/>
                      <a:pt x="73085" y="6059"/>
                    </a:cubicBezTo>
                    <a:cubicBezTo>
                      <a:pt x="70692" y="5580"/>
                      <a:pt x="68300" y="6656"/>
                      <a:pt x="67044" y="8630"/>
                    </a:cubicBezTo>
                    <a:cubicBezTo>
                      <a:pt x="66626" y="9228"/>
                      <a:pt x="66326" y="9946"/>
                      <a:pt x="66207" y="10723"/>
                    </a:cubicBezTo>
                    <a:lnTo>
                      <a:pt x="55083" y="61260"/>
                    </a:lnTo>
                    <a:cubicBezTo>
                      <a:pt x="53228" y="63413"/>
                      <a:pt x="51315" y="65926"/>
                      <a:pt x="49520" y="68676"/>
                    </a:cubicBezTo>
                    <a:cubicBezTo>
                      <a:pt x="47547" y="71667"/>
                      <a:pt x="45932" y="74597"/>
                      <a:pt x="44616" y="77349"/>
                    </a:cubicBezTo>
                    <a:lnTo>
                      <a:pt x="2512" y="107910"/>
                    </a:lnTo>
                    <a:cubicBezTo>
                      <a:pt x="1854" y="108329"/>
                      <a:pt x="1316" y="108927"/>
                      <a:pt x="957" y="109525"/>
                    </a:cubicBezTo>
                    <a:cubicBezTo>
                      <a:pt x="-299" y="111499"/>
                      <a:pt x="-359" y="114070"/>
                      <a:pt x="1017" y="116104"/>
                    </a:cubicBezTo>
                    <a:cubicBezTo>
                      <a:pt x="2811" y="118675"/>
                      <a:pt x="6280" y="119393"/>
                      <a:pt x="8912" y="117718"/>
                    </a:cubicBezTo>
                    <a:lnTo>
                      <a:pt x="12679" y="120170"/>
                    </a:lnTo>
                    <a:cubicBezTo>
                      <a:pt x="11543" y="121606"/>
                      <a:pt x="10347" y="123221"/>
                      <a:pt x="9210" y="125015"/>
                    </a:cubicBezTo>
                    <a:cubicBezTo>
                      <a:pt x="4665" y="131953"/>
                      <a:pt x="2333" y="138352"/>
                      <a:pt x="3887" y="139429"/>
                    </a:cubicBezTo>
                    <a:cubicBezTo>
                      <a:pt x="5502" y="140445"/>
                      <a:pt x="9809" y="135302"/>
                      <a:pt x="14354" y="128364"/>
                    </a:cubicBezTo>
                    <a:cubicBezTo>
                      <a:pt x="15790" y="126151"/>
                      <a:pt x="16926" y="124118"/>
                      <a:pt x="17763" y="122324"/>
                    </a:cubicBezTo>
                    <a:cubicBezTo>
                      <a:pt x="19438" y="122383"/>
                      <a:pt x="21112" y="121247"/>
                      <a:pt x="21770" y="120769"/>
                    </a:cubicBezTo>
                    <a:cubicBezTo>
                      <a:pt x="21949" y="120649"/>
                      <a:pt x="22009" y="120589"/>
                      <a:pt x="22009" y="120589"/>
                    </a:cubicBezTo>
                    <a:cubicBezTo>
                      <a:pt x="22009" y="120589"/>
                      <a:pt x="22069" y="120470"/>
                      <a:pt x="22129" y="120290"/>
                    </a:cubicBezTo>
                    <a:cubicBezTo>
                      <a:pt x="22308" y="119513"/>
                      <a:pt x="22727" y="117539"/>
                      <a:pt x="21949" y="116044"/>
                    </a:cubicBezTo>
                    <a:cubicBezTo>
                      <a:pt x="23265" y="114549"/>
                      <a:pt x="24641" y="112754"/>
                      <a:pt x="26136" y="110542"/>
                    </a:cubicBezTo>
                    <a:cubicBezTo>
                      <a:pt x="30682" y="103604"/>
                      <a:pt x="33672" y="97563"/>
                      <a:pt x="32057" y="96547"/>
                    </a:cubicBezTo>
                    <a:cubicBezTo>
                      <a:pt x="30442" y="95530"/>
                      <a:pt x="25478" y="100255"/>
                      <a:pt x="20993" y="107192"/>
                    </a:cubicBezTo>
                    <a:cubicBezTo>
                      <a:pt x="19856" y="108986"/>
                      <a:pt x="18839" y="110721"/>
                      <a:pt x="18002" y="112336"/>
                    </a:cubicBezTo>
                    <a:lnTo>
                      <a:pt x="15430" y="110661"/>
                    </a:lnTo>
                    <a:cubicBezTo>
                      <a:pt x="16328" y="108986"/>
                      <a:pt x="17344" y="107252"/>
                      <a:pt x="18481" y="105518"/>
                    </a:cubicBezTo>
                    <a:cubicBezTo>
                      <a:pt x="22189" y="99896"/>
                      <a:pt x="29067" y="90865"/>
                      <a:pt x="33791" y="93975"/>
                    </a:cubicBezTo>
                    <a:cubicBezTo>
                      <a:pt x="35705" y="95231"/>
                      <a:pt x="36123" y="97265"/>
                      <a:pt x="35047" y="100614"/>
                    </a:cubicBezTo>
                    <a:lnTo>
                      <a:pt x="45992" y="93377"/>
                    </a:lnTo>
                    <a:cubicBezTo>
                      <a:pt x="51674" y="94693"/>
                      <a:pt x="62140" y="93078"/>
                      <a:pt x="69556" y="81774"/>
                    </a:cubicBezTo>
                    <a:cubicBezTo>
                      <a:pt x="77092" y="70232"/>
                      <a:pt x="73982" y="59646"/>
                      <a:pt x="70453" y="55160"/>
                    </a:cubicBezTo>
                    <a:lnTo>
                      <a:pt x="72427" y="43677"/>
                    </a:lnTo>
                    <a:cubicBezTo>
                      <a:pt x="69616" y="46428"/>
                      <a:pt x="67402" y="46907"/>
                      <a:pt x="65429" y="45591"/>
                    </a:cubicBezTo>
                    <a:cubicBezTo>
                      <a:pt x="60704" y="42481"/>
                      <a:pt x="66147" y="32553"/>
                      <a:pt x="69855" y="26931"/>
                    </a:cubicBezTo>
                    <a:cubicBezTo>
                      <a:pt x="70992" y="25197"/>
                      <a:pt x="72187" y="23582"/>
                      <a:pt x="73324" y="22087"/>
                    </a:cubicBezTo>
                    <a:lnTo>
                      <a:pt x="75895" y="23761"/>
                    </a:lnTo>
                    <a:cubicBezTo>
                      <a:pt x="74759" y="25197"/>
                      <a:pt x="73563" y="26811"/>
                      <a:pt x="72427" y="28606"/>
                    </a:cubicBezTo>
                    <a:cubicBezTo>
                      <a:pt x="67881" y="35543"/>
                      <a:pt x="65489" y="42003"/>
                      <a:pt x="67104" y="43019"/>
                    </a:cubicBezTo>
                    <a:cubicBezTo>
                      <a:pt x="68719" y="44036"/>
                      <a:pt x="73025" y="38893"/>
                      <a:pt x="77570" y="31955"/>
                    </a:cubicBezTo>
                    <a:cubicBezTo>
                      <a:pt x="79005" y="29742"/>
                      <a:pt x="80141" y="27709"/>
                      <a:pt x="80979" y="25915"/>
                    </a:cubicBezTo>
                    <a:cubicBezTo>
                      <a:pt x="82713" y="25974"/>
                      <a:pt x="84328" y="24838"/>
                      <a:pt x="84986" y="24359"/>
                    </a:cubicBezTo>
                    <a:cubicBezTo>
                      <a:pt x="85166" y="24240"/>
                      <a:pt x="85226" y="24120"/>
                      <a:pt x="85226" y="24120"/>
                    </a:cubicBezTo>
                    <a:cubicBezTo>
                      <a:pt x="85226" y="24120"/>
                      <a:pt x="85286" y="24001"/>
                      <a:pt x="85286" y="23821"/>
                    </a:cubicBezTo>
                    <a:cubicBezTo>
                      <a:pt x="85405" y="23103"/>
                      <a:pt x="85764" y="21130"/>
                      <a:pt x="85046" y="19634"/>
                    </a:cubicBezTo>
                    <a:close/>
                  </a:path>
                </a:pathLst>
              </a:custGeom>
              <a:noFill/>
              <a:ln w="1515" cap="flat">
                <a:solidFill>
                  <a:srgbClr val="FFFFFF"/>
                </a:solidFill>
                <a:prstDash val="solid"/>
                <a:miter/>
              </a:ln>
            </p:spPr>
            <p:txBody>
              <a:bodyPr rtlCol="0" anchor="ctr"/>
              <a:lstStyle/>
              <a:p>
                <a:endParaRPr lang="en-GB"/>
              </a:p>
            </p:txBody>
          </p:sp>
        </p:grpSp>
        <p:grpSp>
          <p:nvGrpSpPr>
            <p:cNvPr id="36" name="Graphic 3">
              <a:extLst>
                <a:ext uri="{FF2B5EF4-FFF2-40B4-BE49-F238E27FC236}">
                  <a16:creationId xmlns:a16="http://schemas.microsoft.com/office/drawing/2014/main" id="{FBDEAE8D-C3A1-4652-B631-B35FFB1B8642}"/>
                </a:ext>
              </a:extLst>
            </p:cNvPr>
            <p:cNvGrpSpPr/>
            <p:nvPr/>
          </p:nvGrpSpPr>
          <p:grpSpPr>
            <a:xfrm>
              <a:off x="7743978" y="5112839"/>
              <a:ext cx="96195" cy="151132"/>
              <a:chOff x="7743978" y="5112839"/>
              <a:chExt cx="96195" cy="151132"/>
            </a:xfrm>
            <a:noFill/>
          </p:grpSpPr>
          <p:sp>
            <p:nvSpPr>
              <p:cNvPr id="37" name="Vrije vorm: vorm 36">
                <a:extLst>
                  <a:ext uri="{FF2B5EF4-FFF2-40B4-BE49-F238E27FC236}">
                    <a16:creationId xmlns:a16="http://schemas.microsoft.com/office/drawing/2014/main" id="{52BC88C4-E355-4C4C-ADA6-2DD7E6145536}"/>
                  </a:ext>
                </a:extLst>
              </p:cNvPr>
              <p:cNvSpPr/>
              <p:nvPr/>
            </p:nvSpPr>
            <p:spPr>
              <a:xfrm>
                <a:off x="7743978" y="5142504"/>
                <a:ext cx="22115" cy="46410"/>
              </a:xfrm>
              <a:custGeom>
                <a:avLst/>
                <a:gdLst>
                  <a:gd name="connsiteX0" fmla="*/ 18660 w 22115"/>
                  <a:gd name="connsiteY0" fmla="*/ 0 h 46410"/>
                  <a:gd name="connsiteX1" fmla="*/ 18660 w 22115"/>
                  <a:gd name="connsiteY1" fmla="*/ 29664 h 46410"/>
                  <a:gd name="connsiteX2" fmla="*/ 0 w 22115"/>
                  <a:gd name="connsiteY2" fmla="*/ 46410 h 46410"/>
                </a:gdLst>
                <a:ahLst/>
                <a:cxnLst>
                  <a:cxn ang="0">
                    <a:pos x="connsiteX0" y="connsiteY0"/>
                  </a:cxn>
                  <a:cxn ang="0">
                    <a:pos x="connsiteX1" y="connsiteY1"/>
                  </a:cxn>
                  <a:cxn ang="0">
                    <a:pos x="connsiteX2" y="connsiteY2"/>
                  </a:cxn>
                </a:cxnLst>
                <a:rect l="l" t="t" r="r" b="b"/>
                <a:pathLst>
                  <a:path w="22115" h="46410">
                    <a:moveTo>
                      <a:pt x="18660" y="0"/>
                    </a:moveTo>
                    <a:cubicBezTo>
                      <a:pt x="23086" y="9031"/>
                      <a:pt x="23445" y="19916"/>
                      <a:pt x="18660" y="29664"/>
                    </a:cubicBezTo>
                    <a:cubicBezTo>
                      <a:pt x="14652" y="37738"/>
                      <a:pt x="7835" y="43539"/>
                      <a:pt x="0" y="46410"/>
                    </a:cubicBezTo>
                  </a:path>
                </a:pathLst>
              </a:custGeom>
              <a:noFill/>
              <a:ln w="1954" cap="flat">
                <a:solidFill>
                  <a:srgbClr val="FFFFFF"/>
                </a:solidFill>
                <a:prstDash val="solid"/>
                <a:miter/>
              </a:ln>
            </p:spPr>
            <p:txBody>
              <a:bodyPr rtlCol="0" anchor="ctr"/>
              <a:lstStyle/>
              <a:p>
                <a:endParaRPr lang="en-GB"/>
              </a:p>
            </p:txBody>
          </p:sp>
          <p:sp>
            <p:nvSpPr>
              <p:cNvPr id="38" name="Vrije vorm: vorm 37">
                <a:extLst>
                  <a:ext uri="{FF2B5EF4-FFF2-40B4-BE49-F238E27FC236}">
                    <a16:creationId xmlns:a16="http://schemas.microsoft.com/office/drawing/2014/main" id="{35C3C66D-375C-4E0E-8D48-42869C0D5BC3}"/>
                  </a:ext>
                </a:extLst>
              </p:cNvPr>
              <p:cNvSpPr/>
              <p:nvPr/>
            </p:nvSpPr>
            <p:spPr>
              <a:xfrm>
                <a:off x="7754564" y="5129346"/>
                <a:ext cx="44318" cy="92761"/>
              </a:xfrm>
              <a:custGeom>
                <a:avLst/>
                <a:gdLst>
                  <a:gd name="connsiteX0" fmla="*/ 37439 w 44318"/>
                  <a:gd name="connsiteY0" fmla="*/ 0 h 92761"/>
                  <a:gd name="connsiteX1" fmla="*/ 37380 w 44318"/>
                  <a:gd name="connsiteY1" fmla="*/ 59269 h 92761"/>
                  <a:gd name="connsiteX2" fmla="*/ 0 w 44318"/>
                  <a:gd name="connsiteY2" fmla="*/ 92761 h 92761"/>
                </a:gdLst>
                <a:ahLst/>
                <a:cxnLst>
                  <a:cxn ang="0">
                    <a:pos x="connsiteX0" y="connsiteY0"/>
                  </a:cxn>
                  <a:cxn ang="0">
                    <a:pos x="connsiteX1" y="connsiteY1"/>
                  </a:cxn>
                  <a:cxn ang="0">
                    <a:pos x="connsiteX2" y="connsiteY2"/>
                  </a:cxn>
                </a:cxnLst>
                <a:rect l="l" t="t" r="r" b="b"/>
                <a:pathLst>
                  <a:path w="44318" h="92761">
                    <a:moveTo>
                      <a:pt x="37439" y="0"/>
                    </a:moveTo>
                    <a:cubicBezTo>
                      <a:pt x="46291" y="18062"/>
                      <a:pt x="46949" y="39831"/>
                      <a:pt x="37380" y="59269"/>
                    </a:cubicBezTo>
                    <a:cubicBezTo>
                      <a:pt x="29425" y="75477"/>
                      <a:pt x="15729" y="87019"/>
                      <a:pt x="0" y="92761"/>
                    </a:cubicBezTo>
                  </a:path>
                </a:pathLst>
              </a:custGeom>
              <a:noFill/>
              <a:ln w="3908" cap="flat">
                <a:solidFill>
                  <a:srgbClr val="FFFFFF"/>
                </a:solidFill>
                <a:prstDash val="solid"/>
                <a:miter/>
              </a:ln>
            </p:spPr>
            <p:txBody>
              <a:bodyPr rtlCol="0" anchor="ctr"/>
              <a:lstStyle/>
              <a:p>
                <a:endParaRPr lang="en-GB"/>
              </a:p>
            </p:txBody>
          </p:sp>
          <p:sp>
            <p:nvSpPr>
              <p:cNvPr id="39" name="Vrije vorm: vorm 38">
                <a:extLst>
                  <a:ext uri="{FF2B5EF4-FFF2-40B4-BE49-F238E27FC236}">
                    <a16:creationId xmlns:a16="http://schemas.microsoft.com/office/drawing/2014/main" id="{110C429B-DBD3-4E5A-A19A-CE13E93D5A13}"/>
                  </a:ext>
                </a:extLst>
              </p:cNvPr>
              <p:cNvSpPr/>
              <p:nvPr/>
            </p:nvSpPr>
            <p:spPr>
              <a:xfrm>
                <a:off x="7768021" y="5112839"/>
                <a:ext cx="72153" cy="151132"/>
              </a:xfrm>
              <a:custGeom>
                <a:avLst/>
                <a:gdLst>
                  <a:gd name="connsiteX0" fmla="*/ 60943 w 72153"/>
                  <a:gd name="connsiteY0" fmla="*/ 0 h 151132"/>
                  <a:gd name="connsiteX1" fmla="*/ 60883 w 72153"/>
                  <a:gd name="connsiteY1" fmla="*/ 96589 h 151132"/>
                  <a:gd name="connsiteX2" fmla="*/ 0 w 72153"/>
                  <a:gd name="connsiteY2" fmla="*/ 151133 h 151132"/>
                </a:gdLst>
                <a:ahLst/>
                <a:cxnLst>
                  <a:cxn ang="0">
                    <a:pos x="connsiteX0" y="connsiteY0"/>
                  </a:cxn>
                  <a:cxn ang="0">
                    <a:pos x="connsiteX1" y="connsiteY1"/>
                  </a:cxn>
                  <a:cxn ang="0">
                    <a:pos x="connsiteX2" y="connsiteY2"/>
                  </a:cxn>
                </a:cxnLst>
                <a:rect l="l" t="t" r="r" b="b"/>
                <a:pathLst>
                  <a:path w="72153" h="151132">
                    <a:moveTo>
                      <a:pt x="60943" y="0"/>
                    </a:moveTo>
                    <a:cubicBezTo>
                      <a:pt x="75357" y="29425"/>
                      <a:pt x="76434" y="64951"/>
                      <a:pt x="60883" y="96589"/>
                    </a:cubicBezTo>
                    <a:cubicBezTo>
                      <a:pt x="47846" y="123023"/>
                      <a:pt x="25658" y="141863"/>
                      <a:pt x="0" y="151133"/>
                    </a:cubicBezTo>
                  </a:path>
                </a:pathLst>
              </a:custGeom>
              <a:noFill/>
              <a:ln w="7816" cap="flat">
                <a:solidFill>
                  <a:srgbClr val="FFFFFF"/>
                </a:solidFill>
                <a:prstDash val="solid"/>
                <a:miter/>
              </a:ln>
            </p:spPr>
            <p:txBody>
              <a:bodyPr rtlCol="0" anchor="ctr"/>
              <a:lstStyle/>
              <a:p>
                <a:endParaRPr lang="en-GB"/>
              </a:p>
            </p:txBody>
          </p:sp>
        </p:grpSp>
      </p:grpSp>
      <p:grpSp>
        <p:nvGrpSpPr>
          <p:cNvPr id="51" name="DRONE_3">
            <a:extLst>
              <a:ext uri="{FF2B5EF4-FFF2-40B4-BE49-F238E27FC236}">
                <a16:creationId xmlns:a16="http://schemas.microsoft.com/office/drawing/2014/main" id="{646ADE7C-36F7-4F87-84D2-4820BB9C7A4B}"/>
              </a:ext>
            </a:extLst>
          </p:cNvPr>
          <p:cNvGrpSpPr/>
          <p:nvPr userDrawn="1"/>
        </p:nvGrpSpPr>
        <p:grpSpPr>
          <a:xfrm>
            <a:off x="3578431" y="4717949"/>
            <a:ext cx="182055" cy="174220"/>
            <a:chOff x="3670162" y="4505854"/>
            <a:chExt cx="182055" cy="174220"/>
          </a:xfrm>
        </p:grpSpPr>
        <p:grpSp>
          <p:nvGrpSpPr>
            <p:cNvPr id="52" name="Graphic 3">
              <a:extLst>
                <a:ext uri="{FF2B5EF4-FFF2-40B4-BE49-F238E27FC236}">
                  <a16:creationId xmlns:a16="http://schemas.microsoft.com/office/drawing/2014/main" id="{AD253C64-C0AD-44A0-A153-9FB255191087}"/>
                </a:ext>
              </a:extLst>
            </p:cNvPr>
            <p:cNvGrpSpPr/>
            <p:nvPr/>
          </p:nvGrpSpPr>
          <p:grpSpPr>
            <a:xfrm>
              <a:off x="3670162" y="4574694"/>
              <a:ext cx="61349" cy="105380"/>
              <a:chOff x="3670162" y="4574694"/>
              <a:chExt cx="61349" cy="105380"/>
            </a:xfrm>
            <a:noFill/>
          </p:grpSpPr>
          <p:sp>
            <p:nvSpPr>
              <p:cNvPr id="61" name="Vrije vorm: vorm 60">
                <a:extLst>
                  <a:ext uri="{FF2B5EF4-FFF2-40B4-BE49-F238E27FC236}">
                    <a16:creationId xmlns:a16="http://schemas.microsoft.com/office/drawing/2014/main" id="{DA2DEADB-B33B-4EDA-861C-BF177CD731CE}"/>
                  </a:ext>
                </a:extLst>
              </p:cNvPr>
              <p:cNvSpPr/>
              <p:nvPr/>
            </p:nvSpPr>
            <p:spPr>
              <a:xfrm>
                <a:off x="3720558" y="4607289"/>
                <a:ext cx="10953" cy="32355"/>
              </a:xfrm>
              <a:custGeom>
                <a:avLst/>
                <a:gdLst>
                  <a:gd name="connsiteX0" fmla="*/ 10954 w 10953"/>
                  <a:gd name="connsiteY0" fmla="*/ 32356 h 32355"/>
                  <a:gd name="connsiteX1" fmla="*/ 188 w 10953"/>
                  <a:gd name="connsiteY1" fmla="*/ 16028 h 32355"/>
                  <a:gd name="connsiteX2" fmla="*/ 4375 w 10953"/>
                  <a:gd name="connsiteY2" fmla="*/ 0 h 32355"/>
                </a:gdLst>
                <a:ahLst/>
                <a:cxnLst>
                  <a:cxn ang="0">
                    <a:pos x="connsiteX0" y="connsiteY0"/>
                  </a:cxn>
                  <a:cxn ang="0">
                    <a:pos x="connsiteX1" y="connsiteY1"/>
                  </a:cxn>
                  <a:cxn ang="0">
                    <a:pos x="connsiteX2" y="connsiteY2"/>
                  </a:cxn>
                </a:cxnLst>
                <a:rect l="l" t="t" r="r" b="b"/>
                <a:pathLst>
                  <a:path w="10953" h="32355">
                    <a:moveTo>
                      <a:pt x="10954" y="32356"/>
                    </a:moveTo>
                    <a:cubicBezTo>
                      <a:pt x="5212" y="29006"/>
                      <a:pt x="1085" y="23145"/>
                      <a:pt x="188" y="16028"/>
                    </a:cubicBezTo>
                    <a:cubicBezTo>
                      <a:pt x="-589" y="10107"/>
                      <a:pt x="1085" y="4486"/>
                      <a:pt x="4375" y="0"/>
                    </a:cubicBezTo>
                  </a:path>
                </a:pathLst>
              </a:custGeom>
              <a:noFill/>
              <a:ln w="6350" cap="flat">
                <a:solidFill>
                  <a:schemeClr val="bg1"/>
                </a:solidFill>
                <a:prstDash val="solid"/>
                <a:miter/>
              </a:ln>
            </p:spPr>
            <p:txBody>
              <a:bodyPr rtlCol="0" anchor="ctr"/>
              <a:lstStyle/>
              <a:p>
                <a:endParaRPr lang="en-GB"/>
              </a:p>
            </p:txBody>
          </p:sp>
          <p:sp>
            <p:nvSpPr>
              <p:cNvPr id="62" name="Vrije vorm: vorm 61">
                <a:extLst>
                  <a:ext uri="{FF2B5EF4-FFF2-40B4-BE49-F238E27FC236}">
                    <a16:creationId xmlns:a16="http://schemas.microsoft.com/office/drawing/2014/main" id="{A205C32E-67BD-4273-B401-311318B5C927}"/>
                  </a:ext>
                </a:extLst>
              </p:cNvPr>
              <p:cNvSpPr/>
              <p:nvPr/>
            </p:nvSpPr>
            <p:spPr>
              <a:xfrm>
                <a:off x="3698261" y="4592875"/>
                <a:ext cx="21886" cy="64651"/>
              </a:xfrm>
              <a:custGeom>
                <a:avLst/>
                <a:gdLst>
                  <a:gd name="connsiteX0" fmla="*/ 21887 w 21886"/>
                  <a:gd name="connsiteY0" fmla="*/ 64652 h 64651"/>
                  <a:gd name="connsiteX1" fmla="*/ 356 w 21886"/>
                  <a:gd name="connsiteY1" fmla="*/ 31997 h 64651"/>
                  <a:gd name="connsiteX2" fmla="*/ 8729 w 21886"/>
                  <a:gd name="connsiteY2" fmla="*/ 0 h 64651"/>
                </a:gdLst>
                <a:ahLst/>
                <a:cxnLst>
                  <a:cxn ang="0">
                    <a:pos x="connsiteX0" y="connsiteY0"/>
                  </a:cxn>
                  <a:cxn ang="0">
                    <a:pos x="connsiteX1" y="connsiteY1"/>
                  </a:cxn>
                  <a:cxn ang="0">
                    <a:pos x="connsiteX2" y="connsiteY2"/>
                  </a:cxn>
                </a:cxnLst>
                <a:rect l="l" t="t" r="r" b="b"/>
                <a:pathLst>
                  <a:path w="21886" h="64651">
                    <a:moveTo>
                      <a:pt x="21887" y="64652"/>
                    </a:moveTo>
                    <a:cubicBezTo>
                      <a:pt x="10464" y="57953"/>
                      <a:pt x="2151" y="46171"/>
                      <a:pt x="356" y="31997"/>
                    </a:cubicBezTo>
                    <a:cubicBezTo>
                      <a:pt x="-1139" y="20155"/>
                      <a:pt x="2151" y="8852"/>
                      <a:pt x="8729" y="0"/>
                    </a:cubicBezTo>
                  </a:path>
                </a:pathLst>
              </a:custGeom>
              <a:noFill/>
              <a:ln w="6350" cap="flat">
                <a:solidFill>
                  <a:schemeClr val="bg1"/>
                </a:solidFill>
                <a:prstDash val="solid"/>
                <a:miter/>
              </a:ln>
            </p:spPr>
            <p:txBody>
              <a:bodyPr rtlCol="0" anchor="ctr"/>
              <a:lstStyle/>
              <a:p>
                <a:endParaRPr lang="en-GB"/>
              </a:p>
            </p:txBody>
          </p:sp>
          <p:sp>
            <p:nvSpPr>
              <p:cNvPr id="63" name="Vrije vorm: vorm 62">
                <a:extLst>
                  <a:ext uri="{FF2B5EF4-FFF2-40B4-BE49-F238E27FC236}">
                    <a16:creationId xmlns:a16="http://schemas.microsoft.com/office/drawing/2014/main" id="{AECAB460-6C98-4BA1-B746-5E95A467B6F4}"/>
                  </a:ext>
                </a:extLst>
              </p:cNvPr>
              <p:cNvSpPr/>
              <p:nvPr/>
            </p:nvSpPr>
            <p:spPr>
              <a:xfrm>
                <a:off x="3670162" y="4574694"/>
                <a:ext cx="35692" cy="105380"/>
              </a:xfrm>
              <a:custGeom>
                <a:avLst/>
                <a:gdLst>
                  <a:gd name="connsiteX0" fmla="*/ 35692 w 35692"/>
                  <a:gd name="connsiteY0" fmla="*/ 105380 h 105380"/>
                  <a:gd name="connsiteX1" fmla="*/ 585 w 35692"/>
                  <a:gd name="connsiteY1" fmla="*/ 52152 h 105380"/>
                  <a:gd name="connsiteX2" fmla="*/ 14281 w 35692"/>
                  <a:gd name="connsiteY2" fmla="*/ 0 h 105380"/>
                </a:gdLst>
                <a:ahLst/>
                <a:cxnLst>
                  <a:cxn ang="0">
                    <a:pos x="connsiteX0" y="connsiteY0"/>
                  </a:cxn>
                  <a:cxn ang="0">
                    <a:pos x="connsiteX1" y="connsiteY1"/>
                  </a:cxn>
                  <a:cxn ang="0">
                    <a:pos x="connsiteX2" y="connsiteY2"/>
                  </a:cxn>
                </a:cxnLst>
                <a:rect l="l" t="t" r="r" b="b"/>
                <a:pathLst>
                  <a:path w="35692" h="105380">
                    <a:moveTo>
                      <a:pt x="35692" y="105380"/>
                    </a:moveTo>
                    <a:cubicBezTo>
                      <a:pt x="17092" y="94435"/>
                      <a:pt x="3516" y="75238"/>
                      <a:pt x="585" y="52152"/>
                    </a:cubicBezTo>
                    <a:cubicBezTo>
                      <a:pt x="-1867" y="32894"/>
                      <a:pt x="3516" y="14413"/>
                      <a:pt x="14281" y="0"/>
                    </a:cubicBezTo>
                  </a:path>
                </a:pathLst>
              </a:custGeom>
              <a:noFill/>
              <a:ln w="6350" cap="flat">
                <a:solidFill>
                  <a:schemeClr val="bg1"/>
                </a:solidFill>
                <a:prstDash val="solid"/>
                <a:miter/>
              </a:ln>
            </p:spPr>
            <p:txBody>
              <a:bodyPr rtlCol="0" anchor="ctr"/>
              <a:lstStyle/>
              <a:p>
                <a:endParaRPr lang="en-GB"/>
              </a:p>
            </p:txBody>
          </p:sp>
        </p:grpSp>
        <p:grpSp>
          <p:nvGrpSpPr>
            <p:cNvPr id="53" name="DRONE_3">
              <a:extLst>
                <a:ext uri="{FF2B5EF4-FFF2-40B4-BE49-F238E27FC236}">
                  <a16:creationId xmlns:a16="http://schemas.microsoft.com/office/drawing/2014/main" id="{D9BBF7A0-C9C2-495D-B317-33842D4AC4C2}"/>
                </a:ext>
              </a:extLst>
            </p:cNvPr>
            <p:cNvGrpSpPr/>
            <p:nvPr/>
          </p:nvGrpSpPr>
          <p:grpSpPr>
            <a:xfrm>
              <a:off x="3732798" y="4505854"/>
              <a:ext cx="119419" cy="170750"/>
              <a:chOff x="3732798" y="4505854"/>
              <a:chExt cx="119419" cy="170750"/>
            </a:xfrm>
          </p:grpSpPr>
          <p:sp>
            <p:nvSpPr>
              <p:cNvPr id="54" name="Vrije vorm: vorm 53">
                <a:extLst>
                  <a:ext uri="{FF2B5EF4-FFF2-40B4-BE49-F238E27FC236}">
                    <a16:creationId xmlns:a16="http://schemas.microsoft.com/office/drawing/2014/main" id="{3EEC2BC0-FBD8-4486-BEF1-60C5C4DB8E4E}"/>
                  </a:ext>
                </a:extLst>
              </p:cNvPr>
              <p:cNvSpPr/>
              <p:nvPr/>
            </p:nvSpPr>
            <p:spPr>
              <a:xfrm>
                <a:off x="3831808" y="4608335"/>
                <a:ext cx="20409" cy="8582"/>
              </a:xfrm>
              <a:custGeom>
                <a:avLst/>
                <a:gdLst>
                  <a:gd name="connsiteX0" fmla="*/ 17822 w 20409"/>
                  <a:gd name="connsiteY0" fmla="*/ 6011 h 8582"/>
                  <a:gd name="connsiteX1" fmla="*/ 19736 w 20409"/>
                  <a:gd name="connsiteY1" fmla="*/ 6609 h 8582"/>
                  <a:gd name="connsiteX2" fmla="*/ 19736 w 20409"/>
                  <a:gd name="connsiteY2" fmla="*/ 2542 h 8582"/>
                  <a:gd name="connsiteX3" fmla="*/ 16507 w 20409"/>
                  <a:gd name="connsiteY3" fmla="*/ 90 h 8582"/>
                  <a:gd name="connsiteX4" fmla="*/ 15849 w 20409"/>
                  <a:gd name="connsiteY4" fmla="*/ 1824 h 8582"/>
                  <a:gd name="connsiteX5" fmla="*/ 0 w 20409"/>
                  <a:gd name="connsiteY5" fmla="*/ 3439 h 8582"/>
                  <a:gd name="connsiteX6" fmla="*/ 5562 w 20409"/>
                  <a:gd name="connsiteY6" fmla="*/ 8583 h 8582"/>
                  <a:gd name="connsiteX7" fmla="*/ 17822 w 20409"/>
                  <a:gd name="connsiteY7" fmla="*/ 6011 h 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09" h="8582">
                    <a:moveTo>
                      <a:pt x="17822" y="6011"/>
                    </a:moveTo>
                    <a:cubicBezTo>
                      <a:pt x="18481" y="6609"/>
                      <a:pt x="19198" y="6908"/>
                      <a:pt x="19736" y="6609"/>
                    </a:cubicBezTo>
                    <a:cubicBezTo>
                      <a:pt x="20634" y="6190"/>
                      <a:pt x="20634" y="4336"/>
                      <a:pt x="19736" y="2542"/>
                    </a:cubicBezTo>
                    <a:cubicBezTo>
                      <a:pt x="18839" y="748"/>
                      <a:pt x="17404" y="-328"/>
                      <a:pt x="16507" y="90"/>
                    </a:cubicBezTo>
                    <a:cubicBezTo>
                      <a:pt x="16028" y="329"/>
                      <a:pt x="15789" y="987"/>
                      <a:pt x="15849" y="1824"/>
                    </a:cubicBezTo>
                    <a:cubicBezTo>
                      <a:pt x="10706" y="4037"/>
                      <a:pt x="5143" y="4516"/>
                      <a:pt x="0" y="3439"/>
                    </a:cubicBezTo>
                    <a:lnTo>
                      <a:pt x="5562" y="8583"/>
                    </a:lnTo>
                    <a:cubicBezTo>
                      <a:pt x="9629" y="8583"/>
                      <a:pt x="13815" y="7745"/>
                      <a:pt x="17822" y="6011"/>
                    </a:cubicBezTo>
                    <a:close/>
                  </a:path>
                </a:pathLst>
              </a:custGeom>
              <a:noFill/>
              <a:ln w="2989" cap="flat">
                <a:solidFill>
                  <a:srgbClr val="FFFFFF"/>
                </a:solidFill>
                <a:prstDash val="solid"/>
                <a:miter/>
              </a:ln>
            </p:spPr>
            <p:txBody>
              <a:bodyPr rtlCol="0" anchor="ctr"/>
              <a:lstStyle/>
              <a:p>
                <a:endParaRPr lang="en-GB"/>
              </a:p>
            </p:txBody>
          </p:sp>
          <p:sp>
            <p:nvSpPr>
              <p:cNvPr id="55" name="Vrije vorm: vorm 54">
                <a:extLst>
                  <a:ext uri="{FF2B5EF4-FFF2-40B4-BE49-F238E27FC236}">
                    <a16:creationId xmlns:a16="http://schemas.microsoft.com/office/drawing/2014/main" id="{3059694F-D0B9-43D0-909F-5310703093B4}"/>
                  </a:ext>
                </a:extLst>
              </p:cNvPr>
              <p:cNvSpPr/>
              <p:nvPr/>
            </p:nvSpPr>
            <p:spPr>
              <a:xfrm>
                <a:off x="3803699" y="4526623"/>
                <a:ext cx="14326" cy="16073"/>
              </a:xfrm>
              <a:custGeom>
                <a:avLst/>
                <a:gdLst>
                  <a:gd name="connsiteX0" fmla="*/ 11722 w 14326"/>
                  <a:gd name="connsiteY0" fmla="*/ 6146 h 16073"/>
                  <a:gd name="connsiteX1" fmla="*/ 13457 w 14326"/>
                  <a:gd name="connsiteY1" fmla="*/ 6864 h 16073"/>
                  <a:gd name="connsiteX2" fmla="*/ 13935 w 14326"/>
                  <a:gd name="connsiteY2" fmla="*/ 2857 h 16073"/>
                  <a:gd name="connsiteX3" fmla="*/ 10945 w 14326"/>
                  <a:gd name="connsiteY3" fmla="*/ 46 h 16073"/>
                  <a:gd name="connsiteX4" fmla="*/ 10107 w 14326"/>
                  <a:gd name="connsiteY4" fmla="*/ 1840 h 16073"/>
                  <a:gd name="connsiteX5" fmla="*/ 60 w 14326"/>
                  <a:gd name="connsiteY5" fmla="*/ 8658 h 16073"/>
                  <a:gd name="connsiteX6" fmla="*/ 0 w 14326"/>
                  <a:gd name="connsiteY6" fmla="*/ 16074 h 16073"/>
                  <a:gd name="connsiteX7" fmla="*/ 11722 w 14326"/>
                  <a:gd name="connsiteY7" fmla="*/ 6146 h 1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6" h="16073">
                    <a:moveTo>
                      <a:pt x="11722" y="6146"/>
                    </a:moveTo>
                    <a:cubicBezTo>
                      <a:pt x="12320" y="6744"/>
                      <a:pt x="12919" y="7043"/>
                      <a:pt x="13457" y="6864"/>
                    </a:cubicBezTo>
                    <a:cubicBezTo>
                      <a:pt x="14414" y="6505"/>
                      <a:pt x="14593" y="4711"/>
                      <a:pt x="13935" y="2857"/>
                    </a:cubicBezTo>
                    <a:cubicBezTo>
                      <a:pt x="13218" y="943"/>
                      <a:pt x="11902" y="-253"/>
                      <a:pt x="10945" y="46"/>
                    </a:cubicBezTo>
                    <a:cubicBezTo>
                      <a:pt x="10407" y="225"/>
                      <a:pt x="10107" y="943"/>
                      <a:pt x="10107" y="1840"/>
                    </a:cubicBezTo>
                    <a:cubicBezTo>
                      <a:pt x="6220" y="3455"/>
                      <a:pt x="2871" y="5787"/>
                      <a:pt x="60" y="8658"/>
                    </a:cubicBezTo>
                    <a:lnTo>
                      <a:pt x="0" y="16074"/>
                    </a:lnTo>
                    <a:cubicBezTo>
                      <a:pt x="2751" y="11768"/>
                      <a:pt x="6758" y="8299"/>
                      <a:pt x="11722" y="6146"/>
                    </a:cubicBezTo>
                    <a:close/>
                  </a:path>
                </a:pathLst>
              </a:custGeom>
              <a:noFill/>
              <a:ln w="2989" cap="flat">
                <a:solidFill>
                  <a:srgbClr val="FFFFFF"/>
                </a:solidFill>
                <a:prstDash val="solid"/>
                <a:miter/>
              </a:ln>
            </p:spPr>
            <p:txBody>
              <a:bodyPr rtlCol="0" anchor="ctr"/>
              <a:lstStyle/>
              <a:p>
                <a:endParaRPr lang="en-GB"/>
              </a:p>
            </p:txBody>
          </p:sp>
          <p:sp>
            <p:nvSpPr>
              <p:cNvPr id="56" name="Vrije vorm: vorm 55">
                <a:extLst>
                  <a:ext uri="{FF2B5EF4-FFF2-40B4-BE49-F238E27FC236}">
                    <a16:creationId xmlns:a16="http://schemas.microsoft.com/office/drawing/2014/main" id="{86730036-4626-4DD2-869D-29EE58F6A6BC}"/>
                  </a:ext>
                </a:extLst>
              </p:cNvPr>
              <p:cNvSpPr/>
              <p:nvPr/>
            </p:nvSpPr>
            <p:spPr>
              <a:xfrm>
                <a:off x="3804057" y="4639800"/>
                <a:ext cx="5487" cy="10670"/>
              </a:xfrm>
              <a:custGeom>
                <a:avLst/>
                <a:gdLst>
                  <a:gd name="connsiteX0" fmla="*/ 4545 w 5487"/>
                  <a:gd name="connsiteY0" fmla="*/ 8816 h 10670"/>
                  <a:gd name="connsiteX1" fmla="*/ 4844 w 5487"/>
                  <a:gd name="connsiteY1" fmla="*/ 3613 h 10670"/>
                  <a:gd name="connsiteX2" fmla="*/ 1017 w 5487"/>
                  <a:gd name="connsiteY2" fmla="*/ 84 h 10670"/>
                  <a:gd name="connsiteX3" fmla="*/ 120 w 5487"/>
                  <a:gd name="connsiteY3" fmla="*/ 443 h 10670"/>
                  <a:gd name="connsiteX4" fmla="*/ 0 w 5487"/>
                  <a:gd name="connsiteY4" fmla="*/ 10670 h 10670"/>
                  <a:gd name="connsiteX5" fmla="*/ 4545 w 5487"/>
                  <a:gd name="connsiteY5" fmla="*/ 8816 h 1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7" h="10670">
                    <a:moveTo>
                      <a:pt x="4545" y="8816"/>
                    </a:moveTo>
                    <a:cubicBezTo>
                      <a:pt x="5682" y="8337"/>
                      <a:pt x="5801" y="6005"/>
                      <a:pt x="4844" y="3613"/>
                    </a:cubicBezTo>
                    <a:cubicBezTo>
                      <a:pt x="3888" y="1220"/>
                      <a:pt x="2153" y="-394"/>
                      <a:pt x="1017" y="84"/>
                    </a:cubicBezTo>
                    <a:lnTo>
                      <a:pt x="120" y="443"/>
                    </a:lnTo>
                    <a:lnTo>
                      <a:pt x="0" y="10670"/>
                    </a:lnTo>
                    <a:lnTo>
                      <a:pt x="4545" y="8816"/>
                    </a:lnTo>
                    <a:close/>
                  </a:path>
                </a:pathLst>
              </a:custGeom>
              <a:noFill/>
              <a:ln w="2989" cap="flat">
                <a:solidFill>
                  <a:srgbClr val="FFFFFF"/>
                </a:solidFill>
                <a:prstDash val="solid"/>
                <a:miter/>
              </a:ln>
            </p:spPr>
            <p:txBody>
              <a:bodyPr rtlCol="0" anchor="ctr"/>
              <a:lstStyle/>
              <a:p>
                <a:endParaRPr lang="en-GB"/>
              </a:p>
            </p:txBody>
          </p:sp>
          <p:sp>
            <p:nvSpPr>
              <p:cNvPr id="57" name="Vrije vorm: vorm 56">
                <a:extLst>
                  <a:ext uri="{FF2B5EF4-FFF2-40B4-BE49-F238E27FC236}">
                    <a16:creationId xmlns:a16="http://schemas.microsoft.com/office/drawing/2014/main" id="{427D7FCF-C697-4B05-852A-ABE34DA47A8B}"/>
                  </a:ext>
                </a:extLst>
              </p:cNvPr>
              <p:cNvSpPr/>
              <p:nvPr/>
            </p:nvSpPr>
            <p:spPr>
              <a:xfrm>
                <a:off x="3758843" y="4534838"/>
                <a:ext cx="8298" cy="8935"/>
              </a:xfrm>
              <a:custGeom>
                <a:avLst/>
                <a:gdLst>
                  <a:gd name="connsiteX0" fmla="*/ 7356 w 8298"/>
                  <a:gd name="connsiteY0" fmla="*/ 8816 h 8935"/>
                  <a:gd name="connsiteX1" fmla="*/ 7655 w 8298"/>
                  <a:gd name="connsiteY1" fmla="*/ 3613 h 8935"/>
                  <a:gd name="connsiteX2" fmla="*/ 3828 w 8298"/>
                  <a:gd name="connsiteY2" fmla="*/ 84 h 8935"/>
                  <a:gd name="connsiteX3" fmla="*/ 0 w 8298"/>
                  <a:gd name="connsiteY3" fmla="*/ 1639 h 8935"/>
                  <a:gd name="connsiteX4" fmla="*/ 7177 w 8298"/>
                  <a:gd name="connsiteY4" fmla="*/ 8936 h 8935"/>
                  <a:gd name="connsiteX5" fmla="*/ 7356 w 8298"/>
                  <a:gd name="connsiteY5" fmla="*/ 8816 h 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98" h="8935">
                    <a:moveTo>
                      <a:pt x="7356" y="8816"/>
                    </a:moveTo>
                    <a:cubicBezTo>
                      <a:pt x="8493" y="8337"/>
                      <a:pt x="8612" y="6005"/>
                      <a:pt x="7655" y="3613"/>
                    </a:cubicBezTo>
                    <a:cubicBezTo>
                      <a:pt x="6698" y="1220"/>
                      <a:pt x="4964" y="-394"/>
                      <a:pt x="3828" y="84"/>
                    </a:cubicBezTo>
                    <a:lnTo>
                      <a:pt x="0" y="1639"/>
                    </a:lnTo>
                    <a:lnTo>
                      <a:pt x="7177" y="8936"/>
                    </a:lnTo>
                    <a:lnTo>
                      <a:pt x="7356" y="8816"/>
                    </a:lnTo>
                    <a:close/>
                  </a:path>
                </a:pathLst>
              </a:custGeom>
              <a:noFill/>
              <a:ln w="2989" cap="flat">
                <a:solidFill>
                  <a:srgbClr val="FFFFFF"/>
                </a:solidFill>
                <a:prstDash val="solid"/>
                <a:miter/>
              </a:ln>
            </p:spPr>
            <p:txBody>
              <a:bodyPr rtlCol="0" anchor="ctr"/>
              <a:lstStyle/>
              <a:p>
                <a:endParaRPr lang="en-GB"/>
              </a:p>
            </p:txBody>
          </p:sp>
          <p:sp>
            <p:nvSpPr>
              <p:cNvPr id="58" name="Vrije vorm: vorm 57">
                <a:extLst>
                  <a:ext uri="{FF2B5EF4-FFF2-40B4-BE49-F238E27FC236}">
                    <a16:creationId xmlns:a16="http://schemas.microsoft.com/office/drawing/2014/main" id="{6532B730-7579-4121-B2ED-CE114CA98B48}"/>
                  </a:ext>
                </a:extLst>
              </p:cNvPr>
              <p:cNvSpPr/>
              <p:nvPr/>
            </p:nvSpPr>
            <p:spPr>
              <a:xfrm>
                <a:off x="3732798" y="4524035"/>
                <a:ext cx="48832" cy="55861"/>
              </a:xfrm>
              <a:custGeom>
                <a:avLst/>
                <a:gdLst>
                  <a:gd name="connsiteX0" fmla="*/ 9718 w 48832"/>
                  <a:gd name="connsiteY0" fmla="*/ 28171 h 55861"/>
                  <a:gd name="connsiteX1" fmla="*/ 11872 w 48832"/>
                  <a:gd name="connsiteY1" fmla="*/ 34690 h 55861"/>
                  <a:gd name="connsiteX2" fmla="*/ 19945 w 48832"/>
                  <a:gd name="connsiteY2" fmla="*/ 47549 h 55861"/>
                  <a:gd name="connsiteX3" fmla="*/ 17553 w 48832"/>
                  <a:gd name="connsiteY3" fmla="*/ 32418 h 55861"/>
                  <a:gd name="connsiteX4" fmla="*/ 15041 w 48832"/>
                  <a:gd name="connsiteY4" fmla="*/ 27035 h 55861"/>
                  <a:gd name="connsiteX5" fmla="*/ 17912 w 48832"/>
                  <a:gd name="connsiteY5" fmla="*/ 25898 h 55861"/>
                  <a:gd name="connsiteX6" fmla="*/ 19467 w 48832"/>
                  <a:gd name="connsiteY6" fmla="*/ 29188 h 55861"/>
                  <a:gd name="connsiteX7" fmla="*/ 43450 w 48832"/>
                  <a:gd name="connsiteY7" fmla="*/ 55862 h 55861"/>
                  <a:gd name="connsiteX8" fmla="*/ 48832 w 48832"/>
                  <a:gd name="connsiteY8" fmla="*/ 41568 h 55861"/>
                  <a:gd name="connsiteX9" fmla="*/ 21381 w 48832"/>
                  <a:gd name="connsiteY9" fmla="*/ 13758 h 55861"/>
                  <a:gd name="connsiteX10" fmla="*/ 13127 w 48832"/>
                  <a:gd name="connsiteY10" fmla="*/ 13458 h 55861"/>
                  <a:gd name="connsiteX11" fmla="*/ 14323 w 48832"/>
                  <a:gd name="connsiteY11" fmla="*/ 17107 h 55861"/>
                  <a:gd name="connsiteX12" fmla="*/ 11453 w 48832"/>
                  <a:gd name="connsiteY12" fmla="*/ 18243 h 55861"/>
                  <a:gd name="connsiteX13" fmla="*/ 9479 w 48832"/>
                  <a:gd name="connsiteY13" fmla="*/ 12621 h 55861"/>
                  <a:gd name="connsiteX14" fmla="*/ 687 w 48832"/>
                  <a:gd name="connsiteY14" fmla="*/ 62 h 55861"/>
                  <a:gd name="connsiteX15" fmla="*/ 3798 w 48832"/>
                  <a:gd name="connsiteY15" fmla="*/ 14894 h 55861"/>
                  <a:gd name="connsiteX16" fmla="*/ 6788 w 48832"/>
                  <a:gd name="connsiteY16" fmla="*/ 21114 h 55861"/>
                  <a:gd name="connsiteX17" fmla="*/ 5771 w 48832"/>
                  <a:gd name="connsiteY17" fmla="*/ 25241 h 55861"/>
                  <a:gd name="connsiteX18" fmla="*/ 5771 w 48832"/>
                  <a:gd name="connsiteY18" fmla="*/ 25540 h 55861"/>
                  <a:gd name="connsiteX19" fmla="*/ 6010 w 48832"/>
                  <a:gd name="connsiteY19" fmla="*/ 25779 h 55861"/>
                  <a:gd name="connsiteX20" fmla="*/ 9718 w 48832"/>
                  <a:gd name="connsiteY20" fmla="*/ 28171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832" h="55861">
                    <a:moveTo>
                      <a:pt x="9718" y="28171"/>
                    </a:moveTo>
                    <a:cubicBezTo>
                      <a:pt x="10197" y="30085"/>
                      <a:pt x="10855" y="32238"/>
                      <a:pt x="11872" y="34690"/>
                    </a:cubicBezTo>
                    <a:cubicBezTo>
                      <a:pt x="14981" y="42345"/>
                      <a:pt x="18211" y="48266"/>
                      <a:pt x="19945" y="47549"/>
                    </a:cubicBezTo>
                    <a:cubicBezTo>
                      <a:pt x="21680" y="46831"/>
                      <a:pt x="20603" y="40073"/>
                      <a:pt x="17553" y="32418"/>
                    </a:cubicBezTo>
                    <a:cubicBezTo>
                      <a:pt x="16776" y="30444"/>
                      <a:pt x="15938" y="28650"/>
                      <a:pt x="15041" y="27035"/>
                    </a:cubicBezTo>
                    <a:lnTo>
                      <a:pt x="17912" y="25898"/>
                    </a:lnTo>
                    <a:cubicBezTo>
                      <a:pt x="18450" y="26915"/>
                      <a:pt x="18988" y="28051"/>
                      <a:pt x="19467" y="29188"/>
                    </a:cubicBezTo>
                    <a:lnTo>
                      <a:pt x="43450" y="55862"/>
                    </a:lnTo>
                    <a:cubicBezTo>
                      <a:pt x="43868" y="49941"/>
                      <a:pt x="46081" y="44977"/>
                      <a:pt x="48832" y="41568"/>
                    </a:cubicBezTo>
                    <a:lnTo>
                      <a:pt x="21381" y="13758"/>
                    </a:lnTo>
                    <a:cubicBezTo>
                      <a:pt x="19168" y="11425"/>
                      <a:pt x="15460" y="11306"/>
                      <a:pt x="13127" y="13458"/>
                    </a:cubicBezTo>
                    <a:cubicBezTo>
                      <a:pt x="13606" y="14715"/>
                      <a:pt x="14025" y="15911"/>
                      <a:pt x="14323" y="17107"/>
                    </a:cubicBezTo>
                    <a:lnTo>
                      <a:pt x="11453" y="18243"/>
                    </a:lnTo>
                    <a:cubicBezTo>
                      <a:pt x="10915" y="16509"/>
                      <a:pt x="10257" y="14595"/>
                      <a:pt x="9479" y="12621"/>
                    </a:cubicBezTo>
                    <a:cubicBezTo>
                      <a:pt x="6369" y="4966"/>
                      <a:pt x="2482" y="-656"/>
                      <a:pt x="687" y="62"/>
                    </a:cubicBezTo>
                    <a:cubicBezTo>
                      <a:pt x="-1047" y="779"/>
                      <a:pt x="687" y="7299"/>
                      <a:pt x="3798" y="14894"/>
                    </a:cubicBezTo>
                    <a:cubicBezTo>
                      <a:pt x="4814" y="17346"/>
                      <a:pt x="5831" y="19439"/>
                      <a:pt x="6788" y="21114"/>
                    </a:cubicBezTo>
                    <a:cubicBezTo>
                      <a:pt x="5771" y="22489"/>
                      <a:pt x="5771" y="24463"/>
                      <a:pt x="5771" y="25241"/>
                    </a:cubicBezTo>
                    <a:cubicBezTo>
                      <a:pt x="5771" y="25420"/>
                      <a:pt x="5771" y="25540"/>
                      <a:pt x="5771" y="25540"/>
                    </a:cubicBezTo>
                    <a:cubicBezTo>
                      <a:pt x="5771" y="25540"/>
                      <a:pt x="5831" y="25659"/>
                      <a:pt x="6010" y="25779"/>
                    </a:cubicBezTo>
                    <a:cubicBezTo>
                      <a:pt x="6668" y="26496"/>
                      <a:pt x="8044" y="27932"/>
                      <a:pt x="9718" y="28171"/>
                    </a:cubicBezTo>
                    <a:close/>
                  </a:path>
                </a:pathLst>
              </a:custGeom>
              <a:noFill/>
              <a:ln w="2989" cap="flat">
                <a:solidFill>
                  <a:srgbClr val="FFFFFF"/>
                </a:solidFill>
                <a:prstDash val="solid"/>
                <a:miter/>
              </a:ln>
            </p:spPr>
            <p:txBody>
              <a:bodyPr rtlCol="0" anchor="ctr"/>
              <a:lstStyle/>
              <a:p>
                <a:endParaRPr lang="en-GB"/>
              </a:p>
            </p:txBody>
          </p:sp>
          <p:sp>
            <p:nvSpPr>
              <p:cNvPr id="59" name="Vrije vorm: vorm 58">
                <a:extLst>
                  <a:ext uri="{FF2B5EF4-FFF2-40B4-BE49-F238E27FC236}">
                    <a16:creationId xmlns:a16="http://schemas.microsoft.com/office/drawing/2014/main" id="{CC63AE47-6FD5-47B3-9875-BFD5870CD82C}"/>
                  </a:ext>
                </a:extLst>
              </p:cNvPr>
              <p:cNvSpPr/>
              <p:nvPr/>
            </p:nvSpPr>
            <p:spPr>
              <a:xfrm>
                <a:off x="3775320" y="4605614"/>
                <a:ext cx="24969" cy="70990"/>
              </a:xfrm>
              <a:custGeom>
                <a:avLst/>
                <a:gdLst>
                  <a:gd name="connsiteX0" fmla="*/ 9659 w 24969"/>
                  <a:gd name="connsiteY0" fmla="*/ 51554 h 70990"/>
                  <a:gd name="connsiteX1" fmla="*/ 11812 w 24969"/>
                  <a:gd name="connsiteY1" fmla="*/ 58073 h 70990"/>
                  <a:gd name="connsiteX2" fmla="*/ 19886 w 24969"/>
                  <a:gd name="connsiteY2" fmla="*/ 70931 h 70990"/>
                  <a:gd name="connsiteX3" fmla="*/ 17493 w 24969"/>
                  <a:gd name="connsiteY3" fmla="*/ 55800 h 70990"/>
                  <a:gd name="connsiteX4" fmla="*/ 14981 w 24969"/>
                  <a:gd name="connsiteY4" fmla="*/ 50417 h 70990"/>
                  <a:gd name="connsiteX5" fmla="*/ 17852 w 24969"/>
                  <a:gd name="connsiteY5" fmla="*/ 49281 h 70990"/>
                  <a:gd name="connsiteX6" fmla="*/ 18689 w 24969"/>
                  <a:gd name="connsiteY6" fmla="*/ 51016 h 70990"/>
                  <a:gd name="connsiteX7" fmla="*/ 18749 w 24969"/>
                  <a:gd name="connsiteY7" fmla="*/ 51016 h 70990"/>
                  <a:gd name="connsiteX8" fmla="*/ 24551 w 24969"/>
                  <a:gd name="connsiteY8" fmla="*/ 45095 h 70990"/>
                  <a:gd name="connsiteX9" fmla="*/ 24969 w 24969"/>
                  <a:gd name="connsiteY9" fmla="*/ 6818 h 70990"/>
                  <a:gd name="connsiteX10" fmla="*/ 11214 w 24969"/>
                  <a:gd name="connsiteY10" fmla="*/ 0 h 70990"/>
                  <a:gd name="connsiteX11" fmla="*/ 12470 w 24969"/>
                  <a:gd name="connsiteY11" fmla="*/ 35167 h 70990"/>
                  <a:gd name="connsiteX12" fmla="*/ 14324 w 24969"/>
                  <a:gd name="connsiteY12" fmla="*/ 40490 h 70990"/>
                  <a:gd name="connsiteX13" fmla="*/ 11453 w 24969"/>
                  <a:gd name="connsiteY13" fmla="*/ 41626 h 70990"/>
                  <a:gd name="connsiteX14" fmla="*/ 9479 w 24969"/>
                  <a:gd name="connsiteY14" fmla="*/ 36004 h 70990"/>
                  <a:gd name="connsiteX15" fmla="*/ 687 w 24969"/>
                  <a:gd name="connsiteY15" fmla="*/ 23444 h 70990"/>
                  <a:gd name="connsiteX16" fmla="*/ 3798 w 24969"/>
                  <a:gd name="connsiteY16" fmla="*/ 38277 h 70990"/>
                  <a:gd name="connsiteX17" fmla="*/ 6788 w 24969"/>
                  <a:gd name="connsiteY17" fmla="*/ 44497 h 70990"/>
                  <a:gd name="connsiteX18" fmla="*/ 5771 w 24969"/>
                  <a:gd name="connsiteY18" fmla="*/ 48623 h 70990"/>
                  <a:gd name="connsiteX19" fmla="*/ 5771 w 24969"/>
                  <a:gd name="connsiteY19" fmla="*/ 48922 h 70990"/>
                  <a:gd name="connsiteX20" fmla="*/ 6010 w 24969"/>
                  <a:gd name="connsiteY20" fmla="*/ 49162 h 70990"/>
                  <a:gd name="connsiteX21" fmla="*/ 9659 w 24969"/>
                  <a:gd name="connsiteY21" fmla="*/ 51554 h 70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969" h="70990">
                    <a:moveTo>
                      <a:pt x="9659" y="51554"/>
                    </a:moveTo>
                    <a:cubicBezTo>
                      <a:pt x="10137" y="53468"/>
                      <a:pt x="10795" y="55621"/>
                      <a:pt x="11812" y="58073"/>
                    </a:cubicBezTo>
                    <a:cubicBezTo>
                      <a:pt x="14922" y="65728"/>
                      <a:pt x="18151" y="71649"/>
                      <a:pt x="19886" y="70931"/>
                    </a:cubicBezTo>
                    <a:cubicBezTo>
                      <a:pt x="21620" y="70214"/>
                      <a:pt x="20543" y="63455"/>
                      <a:pt x="17493" y="55800"/>
                    </a:cubicBezTo>
                    <a:cubicBezTo>
                      <a:pt x="16716" y="53826"/>
                      <a:pt x="15879" y="52032"/>
                      <a:pt x="14981" y="50417"/>
                    </a:cubicBezTo>
                    <a:lnTo>
                      <a:pt x="17852" y="49281"/>
                    </a:lnTo>
                    <a:cubicBezTo>
                      <a:pt x="18151" y="49820"/>
                      <a:pt x="18450" y="50417"/>
                      <a:pt x="18689" y="51016"/>
                    </a:cubicBezTo>
                    <a:cubicBezTo>
                      <a:pt x="18689" y="51016"/>
                      <a:pt x="18689" y="51016"/>
                      <a:pt x="18749" y="51016"/>
                    </a:cubicBezTo>
                    <a:cubicBezTo>
                      <a:pt x="21979" y="50956"/>
                      <a:pt x="24610" y="48324"/>
                      <a:pt x="24551" y="45095"/>
                    </a:cubicBezTo>
                    <a:lnTo>
                      <a:pt x="24969" y="6818"/>
                    </a:lnTo>
                    <a:cubicBezTo>
                      <a:pt x="20603" y="6160"/>
                      <a:pt x="15580" y="4067"/>
                      <a:pt x="11214" y="0"/>
                    </a:cubicBezTo>
                    <a:lnTo>
                      <a:pt x="12470" y="35167"/>
                    </a:lnTo>
                    <a:cubicBezTo>
                      <a:pt x="13187" y="36961"/>
                      <a:pt x="13845" y="38755"/>
                      <a:pt x="14324" y="40490"/>
                    </a:cubicBezTo>
                    <a:lnTo>
                      <a:pt x="11453" y="41626"/>
                    </a:lnTo>
                    <a:cubicBezTo>
                      <a:pt x="10915" y="39891"/>
                      <a:pt x="10257" y="37978"/>
                      <a:pt x="9479" y="36004"/>
                    </a:cubicBezTo>
                    <a:cubicBezTo>
                      <a:pt x="6369" y="28349"/>
                      <a:pt x="2482" y="22727"/>
                      <a:pt x="687" y="23444"/>
                    </a:cubicBezTo>
                    <a:cubicBezTo>
                      <a:pt x="-1047" y="24162"/>
                      <a:pt x="687" y="30681"/>
                      <a:pt x="3798" y="38277"/>
                    </a:cubicBezTo>
                    <a:cubicBezTo>
                      <a:pt x="4814" y="40729"/>
                      <a:pt x="5831" y="42822"/>
                      <a:pt x="6788" y="44497"/>
                    </a:cubicBezTo>
                    <a:cubicBezTo>
                      <a:pt x="5771" y="45872"/>
                      <a:pt x="5771" y="47846"/>
                      <a:pt x="5771" y="48623"/>
                    </a:cubicBezTo>
                    <a:cubicBezTo>
                      <a:pt x="5771" y="48803"/>
                      <a:pt x="5771" y="48922"/>
                      <a:pt x="5771" y="48922"/>
                    </a:cubicBezTo>
                    <a:cubicBezTo>
                      <a:pt x="5771" y="48922"/>
                      <a:pt x="5831" y="49042"/>
                      <a:pt x="6010" y="49162"/>
                    </a:cubicBezTo>
                    <a:cubicBezTo>
                      <a:pt x="6549" y="49879"/>
                      <a:pt x="7924" y="51315"/>
                      <a:pt x="9659" y="51554"/>
                    </a:cubicBezTo>
                    <a:close/>
                  </a:path>
                </a:pathLst>
              </a:custGeom>
              <a:noFill/>
              <a:ln w="2989" cap="flat">
                <a:solidFill>
                  <a:srgbClr val="FFFFFF"/>
                </a:solidFill>
                <a:prstDash val="solid"/>
                <a:miter/>
              </a:ln>
            </p:spPr>
            <p:txBody>
              <a:bodyPr rtlCol="0" anchor="ctr"/>
              <a:lstStyle/>
              <a:p>
                <a:endParaRPr lang="en-GB"/>
              </a:p>
            </p:txBody>
          </p:sp>
          <p:sp>
            <p:nvSpPr>
              <p:cNvPr id="60" name="Vrije vorm: vorm 59">
                <a:extLst>
                  <a:ext uri="{FF2B5EF4-FFF2-40B4-BE49-F238E27FC236}">
                    <a16:creationId xmlns:a16="http://schemas.microsoft.com/office/drawing/2014/main" id="{E4CDB669-6C80-4A6C-81C6-E9A6A33CB1B2}"/>
                  </a:ext>
                </a:extLst>
              </p:cNvPr>
              <p:cNvSpPr/>
              <p:nvPr/>
            </p:nvSpPr>
            <p:spPr>
              <a:xfrm>
                <a:off x="3771971" y="4505854"/>
                <a:ext cx="72451" cy="154244"/>
              </a:xfrm>
              <a:custGeom>
                <a:avLst/>
                <a:gdLst>
                  <a:gd name="connsiteX0" fmla="*/ 52720 w 72451"/>
                  <a:gd name="connsiteY0" fmla="*/ 134748 h 154244"/>
                  <a:gd name="connsiteX1" fmla="*/ 54873 w 72451"/>
                  <a:gd name="connsiteY1" fmla="*/ 141326 h 154244"/>
                  <a:gd name="connsiteX2" fmla="*/ 62947 w 72451"/>
                  <a:gd name="connsiteY2" fmla="*/ 154185 h 154244"/>
                  <a:gd name="connsiteX3" fmla="*/ 60555 w 72451"/>
                  <a:gd name="connsiteY3" fmla="*/ 139054 h 154244"/>
                  <a:gd name="connsiteX4" fmla="*/ 58043 w 72451"/>
                  <a:gd name="connsiteY4" fmla="*/ 133671 h 154244"/>
                  <a:gd name="connsiteX5" fmla="*/ 61870 w 72451"/>
                  <a:gd name="connsiteY5" fmla="*/ 132116 h 154244"/>
                  <a:gd name="connsiteX6" fmla="*/ 62349 w 72451"/>
                  <a:gd name="connsiteY6" fmla="*/ 132594 h 154244"/>
                  <a:gd name="connsiteX7" fmla="*/ 70662 w 72451"/>
                  <a:gd name="connsiteY7" fmla="*/ 132714 h 154244"/>
                  <a:gd name="connsiteX8" fmla="*/ 72038 w 72451"/>
                  <a:gd name="connsiteY8" fmla="*/ 126315 h 154244"/>
                  <a:gd name="connsiteX9" fmla="*/ 70782 w 72451"/>
                  <a:gd name="connsiteY9" fmla="*/ 124461 h 154244"/>
                  <a:gd name="connsiteX10" fmla="*/ 35675 w 72451"/>
                  <a:gd name="connsiteY10" fmla="*/ 86543 h 154244"/>
                  <a:gd name="connsiteX11" fmla="*/ 32744 w 72451"/>
                  <a:gd name="connsiteY11" fmla="*/ 77751 h 154244"/>
                  <a:gd name="connsiteX12" fmla="*/ 28438 w 72451"/>
                  <a:gd name="connsiteY12" fmla="*/ 68840 h 154244"/>
                  <a:gd name="connsiteX13" fmla="*/ 27362 w 72451"/>
                  <a:gd name="connsiteY13" fmla="*/ 16868 h 154244"/>
                  <a:gd name="connsiteX14" fmla="*/ 26943 w 72451"/>
                  <a:gd name="connsiteY14" fmla="*/ 14655 h 154244"/>
                  <a:gd name="connsiteX15" fmla="*/ 21501 w 72451"/>
                  <a:gd name="connsiteY15" fmla="*/ 11007 h 154244"/>
                  <a:gd name="connsiteX16" fmla="*/ 15639 w 72451"/>
                  <a:gd name="connsiteY16" fmla="*/ 16569 h 154244"/>
                  <a:gd name="connsiteX17" fmla="*/ 11453 w 72451"/>
                  <a:gd name="connsiteY17" fmla="*/ 18243 h 154244"/>
                  <a:gd name="connsiteX18" fmla="*/ 9479 w 72451"/>
                  <a:gd name="connsiteY18" fmla="*/ 12621 h 154244"/>
                  <a:gd name="connsiteX19" fmla="*/ 687 w 72451"/>
                  <a:gd name="connsiteY19" fmla="*/ 62 h 154244"/>
                  <a:gd name="connsiteX20" fmla="*/ 3798 w 72451"/>
                  <a:gd name="connsiteY20" fmla="*/ 14894 h 154244"/>
                  <a:gd name="connsiteX21" fmla="*/ 6788 w 72451"/>
                  <a:gd name="connsiteY21" fmla="*/ 21114 h 154244"/>
                  <a:gd name="connsiteX22" fmla="*/ 5771 w 72451"/>
                  <a:gd name="connsiteY22" fmla="*/ 25240 h 154244"/>
                  <a:gd name="connsiteX23" fmla="*/ 5771 w 72451"/>
                  <a:gd name="connsiteY23" fmla="*/ 25540 h 154244"/>
                  <a:gd name="connsiteX24" fmla="*/ 6010 w 72451"/>
                  <a:gd name="connsiteY24" fmla="*/ 25779 h 154244"/>
                  <a:gd name="connsiteX25" fmla="*/ 9599 w 72451"/>
                  <a:gd name="connsiteY25" fmla="*/ 28051 h 154244"/>
                  <a:gd name="connsiteX26" fmla="*/ 11752 w 72451"/>
                  <a:gd name="connsiteY26" fmla="*/ 34571 h 154244"/>
                  <a:gd name="connsiteX27" fmla="*/ 19826 w 72451"/>
                  <a:gd name="connsiteY27" fmla="*/ 47429 h 154244"/>
                  <a:gd name="connsiteX28" fmla="*/ 17434 w 72451"/>
                  <a:gd name="connsiteY28" fmla="*/ 32298 h 154244"/>
                  <a:gd name="connsiteX29" fmla="*/ 14922 w 72451"/>
                  <a:gd name="connsiteY29" fmla="*/ 26915 h 154244"/>
                  <a:gd name="connsiteX30" fmla="*/ 17793 w 72451"/>
                  <a:gd name="connsiteY30" fmla="*/ 25779 h 154244"/>
                  <a:gd name="connsiteX31" fmla="*/ 20245 w 72451"/>
                  <a:gd name="connsiteY31" fmla="*/ 31162 h 154244"/>
                  <a:gd name="connsiteX32" fmla="*/ 20962 w 72451"/>
                  <a:gd name="connsiteY32" fmla="*/ 50300 h 154244"/>
                  <a:gd name="connsiteX33" fmla="*/ 14802 w 72451"/>
                  <a:gd name="connsiteY33" fmla="*/ 47549 h 154244"/>
                  <a:gd name="connsiteX34" fmla="*/ 14503 w 72451"/>
                  <a:gd name="connsiteY34" fmla="*/ 60646 h 154244"/>
                  <a:gd name="connsiteX35" fmla="*/ 10616 w 72451"/>
                  <a:gd name="connsiteY35" fmla="*/ 86603 h 154244"/>
                  <a:gd name="connsiteX36" fmla="*/ 31907 w 72451"/>
                  <a:gd name="connsiteY36" fmla="*/ 102512 h 154244"/>
                  <a:gd name="connsiteX37" fmla="*/ 40160 w 72451"/>
                  <a:gd name="connsiteY37" fmla="*/ 110705 h 154244"/>
                  <a:gd name="connsiteX38" fmla="*/ 42552 w 72451"/>
                  <a:gd name="connsiteY38" fmla="*/ 103827 h 154244"/>
                  <a:gd name="connsiteX39" fmla="*/ 55351 w 72451"/>
                  <a:gd name="connsiteY39" fmla="*/ 118061 h 154244"/>
                  <a:gd name="connsiteX40" fmla="*/ 57325 w 72451"/>
                  <a:gd name="connsiteY40" fmla="*/ 123683 h 154244"/>
                  <a:gd name="connsiteX41" fmla="*/ 54454 w 72451"/>
                  <a:gd name="connsiteY41" fmla="*/ 124819 h 154244"/>
                  <a:gd name="connsiteX42" fmla="*/ 52481 w 72451"/>
                  <a:gd name="connsiteY42" fmla="*/ 119198 h 154244"/>
                  <a:gd name="connsiteX43" fmla="*/ 43689 w 72451"/>
                  <a:gd name="connsiteY43" fmla="*/ 106638 h 154244"/>
                  <a:gd name="connsiteX44" fmla="*/ 46799 w 72451"/>
                  <a:gd name="connsiteY44" fmla="*/ 121530 h 154244"/>
                  <a:gd name="connsiteX45" fmla="*/ 49789 w 72451"/>
                  <a:gd name="connsiteY45" fmla="*/ 127750 h 154244"/>
                  <a:gd name="connsiteX46" fmla="*/ 48773 w 72451"/>
                  <a:gd name="connsiteY46" fmla="*/ 131877 h 154244"/>
                  <a:gd name="connsiteX47" fmla="*/ 48773 w 72451"/>
                  <a:gd name="connsiteY47" fmla="*/ 132236 h 154244"/>
                  <a:gd name="connsiteX48" fmla="*/ 49012 w 72451"/>
                  <a:gd name="connsiteY48" fmla="*/ 132475 h 154244"/>
                  <a:gd name="connsiteX49" fmla="*/ 52720 w 72451"/>
                  <a:gd name="connsiteY49" fmla="*/ 134748 h 15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2451" h="154244">
                    <a:moveTo>
                      <a:pt x="52720" y="134748"/>
                    </a:moveTo>
                    <a:cubicBezTo>
                      <a:pt x="53198" y="136661"/>
                      <a:pt x="53856" y="138815"/>
                      <a:pt x="54873" y="141326"/>
                    </a:cubicBezTo>
                    <a:cubicBezTo>
                      <a:pt x="57983" y="148981"/>
                      <a:pt x="61212" y="154903"/>
                      <a:pt x="62947" y="154185"/>
                    </a:cubicBezTo>
                    <a:cubicBezTo>
                      <a:pt x="64681" y="153467"/>
                      <a:pt x="63605" y="146709"/>
                      <a:pt x="60555" y="139054"/>
                    </a:cubicBezTo>
                    <a:cubicBezTo>
                      <a:pt x="59777" y="137080"/>
                      <a:pt x="58940" y="135286"/>
                      <a:pt x="58043" y="133671"/>
                    </a:cubicBezTo>
                    <a:lnTo>
                      <a:pt x="61870" y="132116"/>
                    </a:lnTo>
                    <a:lnTo>
                      <a:pt x="62349" y="132594"/>
                    </a:lnTo>
                    <a:cubicBezTo>
                      <a:pt x="64621" y="134927"/>
                      <a:pt x="68329" y="134987"/>
                      <a:pt x="70662" y="132714"/>
                    </a:cubicBezTo>
                    <a:cubicBezTo>
                      <a:pt x="72456" y="130980"/>
                      <a:pt x="72875" y="128468"/>
                      <a:pt x="72038" y="126315"/>
                    </a:cubicBezTo>
                    <a:cubicBezTo>
                      <a:pt x="71738" y="125657"/>
                      <a:pt x="71380" y="124999"/>
                      <a:pt x="70782" y="124461"/>
                    </a:cubicBezTo>
                    <a:lnTo>
                      <a:pt x="35675" y="86543"/>
                    </a:lnTo>
                    <a:cubicBezTo>
                      <a:pt x="34957" y="83792"/>
                      <a:pt x="33940" y="80801"/>
                      <a:pt x="32744" y="77751"/>
                    </a:cubicBezTo>
                    <a:cubicBezTo>
                      <a:pt x="31428" y="74462"/>
                      <a:pt x="29933" y="71412"/>
                      <a:pt x="28438" y="68840"/>
                    </a:cubicBezTo>
                    <a:lnTo>
                      <a:pt x="27362" y="16868"/>
                    </a:lnTo>
                    <a:cubicBezTo>
                      <a:pt x="27362" y="16090"/>
                      <a:pt x="27242" y="15313"/>
                      <a:pt x="26943" y="14655"/>
                    </a:cubicBezTo>
                    <a:cubicBezTo>
                      <a:pt x="26046" y="12502"/>
                      <a:pt x="23953" y="11007"/>
                      <a:pt x="21501" y="11007"/>
                    </a:cubicBezTo>
                    <a:cubicBezTo>
                      <a:pt x="18331" y="11007"/>
                      <a:pt x="15819" y="13458"/>
                      <a:pt x="15639" y="16569"/>
                    </a:cubicBezTo>
                    <a:lnTo>
                      <a:pt x="11453" y="18243"/>
                    </a:lnTo>
                    <a:cubicBezTo>
                      <a:pt x="10915" y="16509"/>
                      <a:pt x="10257" y="14595"/>
                      <a:pt x="9479" y="12621"/>
                    </a:cubicBezTo>
                    <a:cubicBezTo>
                      <a:pt x="6369" y="4966"/>
                      <a:pt x="2422" y="-656"/>
                      <a:pt x="687" y="62"/>
                    </a:cubicBezTo>
                    <a:cubicBezTo>
                      <a:pt x="-1047" y="779"/>
                      <a:pt x="687" y="7298"/>
                      <a:pt x="3798" y="14894"/>
                    </a:cubicBezTo>
                    <a:cubicBezTo>
                      <a:pt x="4814" y="17346"/>
                      <a:pt x="5831" y="19439"/>
                      <a:pt x="6788" y="21114"/>
                    </a:cubicBezTo>
                    <a:cubicBezTo>
                      <a:pt x="5771" y="22489"/>
                      <a:pt x="5771" y="24463"/>
                      <a:pt x="5771" y="25240"/>
                    </a:cubicBezTo>
                    <a:cubicBezTo>
                      <a:pt x="5771" y="25420"/>
                      <a:pt x="5771" y="25540"/>
                      <a:pt x="5771" y="25540"/>
                    </a:cubicBezTo>
                    <a:cubicBezTo>
                      <a:pt x="5771" y="25540"/>
                      <a:pt x="5831" y="25659"/>
                      <a:pt x="6010" y="25779"/>
                    </a:cubicBezTo>
                    <a:cubicBezTo>
                      <a:pt x="6549" y="26377"/>
                      <a:pt x="7924" y="27812"/>
                      <a:pt x="9599" y="28051"/>
                    </a:cubicBezTo>
                    <a:cubicBezTo>
                      <a:pt x="10077" y="29965"/>
                      <a:pt x="10735" y="32118"/>
                      <a:pt x="11752" y="34571"/>
                    </a:cubicBezTo>
                    <a:cubicBezTo>
                      <a:pt x="14862" y="42226"/>
                      <a:pt x="18092" y="48147"/>
                      <a:pt x="19826" y="47429"/>
                    </a:cubicBezTo>
                    <a:cubicBezTo>
                      <a:pt x="21560" y="46711"/>
                      <a:pt x="20484" y="39953"/>
                      <a:pt x="17434" y="32298"/>
                    </a:cubicBezTo>
                    <a:cubicBezTo>
                      <a:pt x="16656" y="30324"/>
                      <a:pt x="15819" y="28530"/>
                      <a:pt x="14922" y="26915"/>
                    </a:cubicBezTo>
                    <a:lnTo>
                      <a:pt x="17793" y="25779"/>
                    </a:lnTo>
                    <a:cubicBezTo>
                      <a:pt x="18630" y="27454"/>
                      <a:pt x="19527" y="29248"/>
                      <a:pt x="20245" y="31162"/>
                    </a:cubicBezTo>
                    <a:cubicBezTo>
                      <a:pt x="22756" y="37381"/>
                      <a:pt x="26225" y="48206"/>
                      <a:pt x="20962" y="50300"/>
                    </a:cubicBezTo>
                    <a:cubicBezTo>
                      <a:pt x="18869" y="51137"/>
                      <a:pt x="16895" y="50359"/>
                      <a:pt x="14802" y="47549"/>
                    </a:cubicBezTo>
                    <a:lnTo>
                      <a:pt x="14503" y="60646"/>
                    </a:lnTo>
                    <a:cubicBezTo>
                      <a:pt x="10197" y="64594"/>
                      <a:pt x="5532" y="74103"/>
                      <a:pt x="10616" y="86603"/>
                    </a:cubicBezTo>
                    <a:cubicBezTo>
                      <a:pt x="15759" y="99342"/>
                      <a:pt x="26225" y="102810"/>
                      <a:pt x="31907" y="102512"/>
                    </a:cubicBezTo>
                    <a:lnTo>
                      <a:pt x="40160" y="110705"/>
                    </a:lnTo>
                    <a:cubicBezTo>
                      <a:pt x="39562" y="106817"/>
                      <a:pt x="40340" y="104724"/>
                      <a:pt x="42552" y="103827"/>
                    </a:cubicBezTo>
                    <a:cubicBezTo>
                      <a:pt x="47816" y="101734"/>
                      <a:pt x="52840" y="111841"/>
                      <a:pt x="55351" y="118061"/>
                    </a:cubicBezTo>
                    <a:cubicBezTo>
                      <a:pt x="56129" y="119975"/>
                      <a:pt x="56787" y="121889"/>
                      <a:pt x="57325" y="123683"/>
                    </a:cubicBezTo>
                    <a:lnTo>
                      <a:pt x="54454" y="124819"/>
                    </a:lnTo>
                    <a:cubicBezTo>
                      <a:pt x="53916" y="123085"/>
                      <a:pt x="53258" y="121171"/>
                      <a:pt x="52481" y="119198"/>
                    </a:cubicBezTo>
                    <a:cubicBezTo>
                      <a:pt x="49371" y="111542"/>
                      <a:pt x="45423" y="105921"/>
                      <a:pt x="43689" y="106638"/>
                    </a:cubicBezTo>
                    <a:cubicBezTo>
                      <a:pt x="41955" y="107356"/>
                      <a:pt x="43689" y="113875"/>
                      <a:pt x="46799" y="121530"/>
                    </a:cubicBezTo>
                    <a:cubicBezTo>
                      <a:pt x="47816" y="123982"/>
                      <a:pt x="48833" y="126016"/>
                      <a:pt x="49789" y="127750"/>
                    </a:cubicBezTo>
                    <a:cubicBezTo>
                      <a:pt x="48773" y="129126"/>
                      <a:pt x="48713" y="131099"/>
                      <a:pt x="48773" y="131877"/>
                    </a:cubicBezTo>
                    <a:cubicBezTo>
                      <a:pt x="48773" y="132056"/>
                      <a:pt x="48773" y="132236"/>
                      <a:pt x="48773" y="132236"/>
                    </a:cubicBezTo>
                    <a:cubicBezTo>
                      <a:pt x="48773" y="132236"/>
                      <a:pt x="48833" y="132355"/>
                      <a:pt x="49012" y="132475"/>
                    </a:cubicBezTo>
                    <a:cubicBezTo>
                      <a:pt x="49610" y="133013"/>
                      <a:pt x="51045" y="134448"/>
                      <a:pt x="52720" y="134748"/>
                    </a:cubicBezTo>
                    <a:close/>
                  </a:path>
                </a:pathLst>
              </a:custGeom>
              <a:noFill/>
              <a:ln w="2989" cap="flat">
                <a:solidFill>
                  <a:srgbClr val="FFFFFF"/>
                </a:solidFill>
                <a:prstDash val="solid"/>
                <a:miter/>
              </a:ln>
            </p:spPr>
            <p:txBody>
              <a:bodyPr rtlCol="0" anchor="ctr"/>
              <a:lstStyle/>
              <a:p>
                <a:endParaRPr lang="en-GB"/>
              </a:p>
            </p:txBody>
          </p:sp>
        </p:grpSp>
      </p:grpSp>
      <p:grpSp>
        <p:nvGrpSpPr>
          <p:cNvPr id="64" name="DRONE_4">
            <a:extLst>
              <a:ext uri="{FF2B5EF4-FFF2-40B4-BE49-F238E27FC236}">
                <a16:creationId xmlns:a16="http://schemas.microsoft.com/office/drawing/2014/main" id="{D5563FC3-F27F-4AD7-9786-773A5F2FB515}"/>
              </a:ext>
            </a:extLst>
          </p:cNvPr>
          <p:cNvGrpSpPr/>
          <p:nvPr userDrawn="1"/>
        </p:nvGrpSpPr>
        <p:grpSpPr>
          <a:xfrm>
            <a:off x="3849328" y="2611651"/>
            <a:ext cx="121846" cy="115449"/>
            <a:chOff x="3817234" y="2428131"/>
            <a:chExt cx="121846" cy="115449"/>
          </a:xfrm>
          <a:solidFill>
            <a:schemeClr val="accent1"/>
          </a:solidFill>
        </p:grpSpPr>
        <p:sp>
          <p:nvSpPr>
            <p:cNvPr id="65" name="Vrije vorm: vorm 64">
              <a:extLst>
                <a:ext uri="{FF2B5EF4-FFF2-40B4-BE49-F238E27FC236}">
                  <a16:creationId xmlns:a16="http://schemas.microsoft.com/office/drawing/2014/main" id="{5CFD9DAD-ED56-42E1-A975-9D46857B1F06}"/>
                </a:ext>
              </a:extLst>
            </p:cNvPr>
            <p:cNvSpPr/>
            <p:nvPr/>
          </p:nvSpPr>
          <p:spPr>
            <a:xfrm>
              <a:off x="3831090" y="2451059"/>
              <a:ext cx="68060" cy="69196"/>
            </a:xfrm>
            <a:custGeom>
              <a:avLst/>
              <a:gdLst>
                <a:gd name="connsiteX0" fmla="*/ 29366 w 68060"/>
                <a:gd name="connsiteY0" fmla="*/ 6639 h 69196"/>
                <a:gd name="connsiteX1" fmla="*/ 35286 w 68060"/>
                <a:gd name="connsiteY1" fmla="*/ 17942 h 69196"/>
                <a:gd name="connsiteX2" fmla="*/ 62439 w 68060"/>
                <a:gd name="connsiteY2" fmla="*/ 0 h 69196"/>
                <a:gd name="connsiteX3" fmla="*/ 68061 w 68060"/>
                <a:gd name="connsiteY3" fmla="*/ 5981 h 69196"/>
                <a:gd name="connsiteX4" fmla="*/ 44257 w 68060"/>
                <a:gd name="connsiteY4" fmla="*/ 34688 h 69196"/>
                <a:gd name="connsiteX5" fmla="*/ 42942 w 68060"/>
                <a:gd name="connsiteY5" fmla="*/ 64652 h 69196"/>
                <a:gd name="connsiteX6" fmla="*/ 33731 w 68060"/>
                <a:gd name="connsiteY6" fmla="*/ 69197 h 69196"/>
                <a:gd name="connsiteX7" fmla="*/ 26136 w 68060"/>
                <a:gd name="connsiteY7" fmla="*/ 48743 h 69196"/>
                <a:gd name="connsiteX8" fmla="*/ 5622 w 68060"/>
                <a:gd name="connsiteY8" fmla="*/ 65908 h 69196"/>
                <a:gd name="connsiteX9" fmla="*/ 0 w 68060"/>
                <a:gd name="connsiteY9" fmla="*/ 59748 h 69196"/>
                <a:gd name="connsiteX10" fmla="*/ 19976 w 68060"/>
                <a:gd name="connsiteY10" fmla="*/ 30801 h 69196"/>
                <a:gd name="connsiteX11" fmla="*/ 23026 w 68060"/>
                <a:gd name="connsiteY11" fmla="*/ 7416 h 69196"/>
                <a:gd name="connsiteX12" fmla="*/ 29366 w 68060"/>
                <a:gd name="connsiteY12" fmla="*/ 6639 h 6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60" h="69196">
                  <a:moveTo>
                    <a:pt x="29366" y="6639"/>
                  </a:moveTo>
                  <a:cubicBezTo>
                    <a:pt x="29366" y="6639"/>
                    <a:pt x="33074" y="16746"/>
                    <a:pt x="35286" y="17942"/>
                  </a:cubicBezTo>
                  <a:cubicBezTo>
                    <a:pt x="37499" y="19138"/>
                    <a:pt x="61422" y="1734"/>
                    <a:pt x="62439" y="0"/>
                  </a:cubicBezTo>
                  <a:lnTo>
                    <a:pt x="68061" y="5981"/>
                  </a:lnTo>
                  <a:cubicBezTo>
                    <a:pt x="68061" y="5981"/>
                    <a:pt x="45992" y="27332"/>
                    <a:pt x="44257" y="34688"/>
                  </a:cubicBezTo>
                  <a:cubicBezTo>
                    <a:pt x="42523" y="42104"/>
                    <a:pt x="42942" y="64652"/>
                    <a:pt x="42942" y="64652"/>
                  </a:cubicBezTo>
                  <a:lnTo>
                    <a:pt x="33731" y="69197"/>
                  </a:lnTo>
                  <a:lnTo>
                    <a:pt x="26136" y="48743"/>
                  </a:lnTo>
                  <a:lnTo>
                    <a:pt x="5622" y="65908"/>
                  </a:lnTo>
                  <a:lnTo>
                    <a:pt x="0" y="59748"/>
                  </a:lnTo>
                  <a:cubicBezTo>
                    <a:pt x="0" y="59748"/>
                    <a:pt x="15968" y="40729"/>
                    <a:pt x="19976" y="30801"/>
                  </a:cubicBezTo>
                  <a:cubicBezTo>
                    <a:pt x="23983" y="20873"/>
                    <a:pt x="23026" y="7416"/>
                    <a:pt x="23026" y="7416"/>
                  </a:cubicBezTo>
                  <a:lnTo>
                    <a:pt x="29366" y="6639"/>
                  </a:lnTo>
                  <a:close/>
                </a:path>
              </a:pathLst>
            </a:custGeom>
            <a:noFill/>
            <a:ln w="4190" cap="flat">
              <a:solidFill>
                <a:srgbClr val="FFFFFF"/>
              </a:solidFill>
              <a:prstDash val="solid"/>
              <a:miter/>
            </a:ln>
          </p:spPr>
          <p:txBody>
            <a:bodyPr rtlCol="0" anchor="ctr"/>
            <a:lstStyle/>
            <a:p>
              <a:endParaRPr lang="en-GB"/>
            </a:p>
          </p:txBody>
        </p:sp>
        <p:sp>
          <p:nvSpPr>
            <p:cNvPr id="66" name="Vrije vorm: vorm 65">
              <a:extLst>
                <a:ext uri="{FF2B5EF4-FFF2-40B4-BE49-F238E27FC236}">
                  <a16:creationId xmlns:a16="http://schemas.microsoft.com/office/drawing/2014/main" id="{2298F497-405C-4FF6-B3F5-08DBEAC0215E}"/>
                </a:ext>
              </a:extLst>
            </p:cNvPr>
            <p:cNvSpPr/>
            <p:nvPr/>
          </p:nvSpPr>
          <p:spPr>
            <a:xfrm>
              <a:off x="3850521" y="2449471"/>
              <a:ext cx="11104" cy="11131"/>
            </a:xfrm>
            <a:custGeom>
              <a:avLst/>
              <a:gdLst>
                <a:gd name="connsiteX0" fmla="*/ 2878 w 11104"/>
                <a:gd name="connsiteY0" fmla="*/ 10440 h 11131"/>
                <a:gd name="connsiteX1" fmla="*/ 10413 w 11104"/>
                <a:gd name="connsiteY1" fmla="*/ 8227 h 11131"/>
                <a:gd name="connsiteX2" fmla="*/ 8201 w 11104"/>
                <a:gd name="connsiteY2" fmla="*/ 691 h 11131"/>
                <a:gd name="connsiteX3" fmla="*/ 665 w 11104"/>
                <a:gd name="connsiteY3" fmla="*/ 2904 h 11131"/>
                <a:gd name="connsiteX4" fmla="*/ 2878 w 11104"/>
                <a:gd name="connsiteY4" fmla="*/ 10440 h 11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4" h="11131">
                  <a:moveTo>
                    <a:pt x="2878" y="10440"/>
                  </a:moveTo>
                  <a:cubicBezTo>
                    <a:pt x="5569" y="11935"/>
                    <a:pt x="8918" y="10918"/>
                    <a:pt x="10413" y="8227"/>
                  </a:cubicBezTo>
                  <a:cubicBezTo>
                    <a:pt x="11909" y="5536"/>
                    <a:pt x="10892" y="2187"/>
                    <a:pt x="8201" y="691"/>
                  </a:cubicBezTo>
                  <a:cubicBezTo>
                    <a:pt x="5509" y="-804"/>
                    <a:pt x="2160" y="213"/>
                    <a:pt x="665" y="2904"/>
                  </a:cubicBezTo>
                  <a:cubicBezTo>
                    <a:pt x="-771" y="5596"/>
                    <a:pt x="187" y="8945"/>
                    <a:pt x="2878" y="10440"/>
                  </a:cubicBezTo>
                  <a:close/>
                </a:path>
              </a:pathLst>
            </a:custGeom>
            <a:solidFill>
              <a:srgbClr val="FFFFFF"/>
            </a:solidFill>
            <a:ln w="5978" cap="flat">
              <a:noFill/>
              <a:prstDash val="solid"/>
              <a:miter/>
            </a:ln>
          </p:spPr>
          <p:txBody>
            <a:bodyPr rtlCol="0" anchor="ctr"/>
            <a:lstStyle/>
            <a:p>
              <a:endParaRPr lang="en-GB"/>
            </a:p>
          </p:txBody>
        </p:sp>
        <p:sp>
          <p:nvSpPr>
            <p:cNvPr id="67" name="Vrije vorm: vorm 66">
              <a:extLst>
                <a:ext uri="{FF2B5EF4-FFF2-40B4-BE49-F238E27FC236}">
                  <a16:creationId xmlns:a16="http://schemas.microsoft.com/office/drawing/2014/main" id="{A6285CCD-BF79-4C0A-BBB6-872880CD148C}"/>
                </a:ext>
              </a:extLst>
            </p:cNvPr>
            <p:cNvSpPr/>
            <p:nvPr/>
          </p:nvSpPr>
          <p:spPr>
            <a:xfrm>
              <a:off x="3892960" y="2441387"/>
              <a:ext cx="17178" cy="17191"/>
            </a:xfrm>
            <a:custGeom>
              <a:avLst/>
              <a:gdLst>
                <a:gd name="connsiteX0" fmla="*/ 4457 w 17178"/>
                <a:gd name="connsiteY0" fmla="*/ 16131 h 17191"/>
                <a:gd name="connsiteX1" fmla="*/ 16119 w 17178"/>
                <a:gd name="connsiteY1" fmla="*/ 12722 h 17191"/>
                <a:gd name="connsiteX2" fmla="*/ 12710 w 17178"/>
                <a:gd name="connsiteY2" fmla="*/ 1060 h 17191"/>
                <a:gd name="connsiteX3" fmla="*/ 1048 w 17178"/>
                <a:gd name="connsiteY3" fmla="*/ 4469 h 17191"/>
                <a:gd name="connsiteX4" fmla="*/ 4457 w 17178"/>
                <a:gd name="connsiteY4" fmla="*/ 16131 h 17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78" h="17191">
                  <a:moveTo>
                    <a:pt x="4457" y="16131"/>
                  </a:moveTo>
                  <a:cubicBezTo>
                    <a:pt x="8643" y="18404"/>
                    <a:pt x="13846" y="16909"/>
                    <a:pt x="16119" y="12722"/>
                  </a:cubicBezTo>
                  <a:cubicBezTo>
                    <a:pt x="18391" y="8536"/>
                    <a:pt x="16896" y="3332"/>
                    <a:pt x="12710" y="1060"/>
                  </a:cubicBezTo>
                  <a:cubicBezTo>
                    <a:pt x="8523" y="-1213"/>
                    <a:pt x="3320" y="282"/>
                    <a:pt x="1048" y="4469"/>
                  </a:cubicBezTo>
                  <a:cubicBezTo>
                    <a:pt x="-1225" y="8655"/>
                    <a:pt x="330" y="13859"/>
                    <a:pt x="4457" y="16131"/>
                  </a:cubicBezTo>
                  <a:close/>
                </a:path>
              </a:pathLst>
            </a:custGeom>
            <a:solidFill>
              <a:srgbClr val="E3E3E3"/>
            </a:solidFill>
            <a:ln w="5978" cap="flat">
              <a:noFill/>
              <a:prstDash val="solid"/>
              <a:miter/>
            </a:ln>
          </p:spPr>
          <p:txBody>
            <a:bodyPr rtlCol="0" anchor="ctr"/>
            <a:lstStyle/>
            <a:p>
              <a:endParaRPr lang="en-GB"/>
            </a:p>
          </p:txBody>
        </p:sp>
        <p:sp>
          <p:nvSpPr>
            <p:cNvPr id="68" name="Vrije vorm: vorm 67">
              <a:extLst>
                <a:ext uri="{FF2B5EF4-FFF2-40B4-BE49-F238E27FC236}">
                  <a16:creationId xmlns:a16="http://schemas.microsoft.com/office/drawing/2014/main" id="{76E55052-1F02-469F-BFD5-2EE144845AA0}"/>
                </a:ext>
              </a:extLst>
            </p:cNvPr>
            <p:cNvSpPr/>
            <p:nvPr/>
          </p:nvSpPr>
          <p:spPr>
            <a:xfrm>
              <a:off x="3892796" y="2441083"/>
              <a:ext cx="15222" cy="16604"/>
            </a:xfrm>
            <a:custGeom>
              <a:avLst/>
              <a:gdLst>
                <a:gd name="connsiteX0" fmla="*/ 3485 w 15222"/>
                <a:gd name="connsiteY0" fmla="*/ 15838 h 16604"/>
                <a:gd name="connsiteX1" fmla="*/ 14011 w 15222"/>
                <a:gd name="connsiteY1" fmla="*/ 11831 h 16604"/>
                <a:gd name="connsiteX2" fmla="*/ 11738 w 15222"/>
                <a:gd name="connsiteY2" fmla="*/ 766 h 16604"/>
                <a:gd name="connsiteX3" fmla="*/ 1212 w 15222"/>
                <a:gd name="connsiteY3" fmla="*/ 4773 h 16604"/>
                <a:gd name="connsiteX4" fmla="*/ 3485 w 15222"/>
                <a:gd name="connsiteY4" fmla="*/ 15838 h 1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 h="16604">
                  <a:moveTo>
                    <a:pt x="3485" y="15838"/>
                  </a:moveTo>
                  <a:cubicBezTo>
                    <a:pt x="7013" y="17752"/>
                    <a:pt x="11738" y="15957"/>
                    <a:pt x="14011" y="11831"/>
                  </a:cubicBezTo>
                  <a:cubicBezTo>
                    <a:pt x="16283" y="7644"/>
                    <a:pt x="15266" y="2740"/>
                    <a:pt x="11738" y="766"/>
                  </a:cubicBezTo>
                  <a:cubicBezTo>
                    <a:pt x="8209" y="-1147"/>
                    <a:pt x="3485" y="647"/>
                    <a:pt x="1212" y="4773"/>
                  </a:cubicBezTo>
                  <a:cubicBezTo>
                    <a:pt x="-1061" y="8960"/>
                    <a:pt x="-44" y="13864"/>
                    <a:pt x="3485" y="15838"/>
                  </a:cubicBezTo>
                  <a:close/>
                </a:path>
              </a:pathLst>
            </a:custGeom>
            <a:solidFill>
              <a:srgbClr val="FFFFFF"/>
            </a:solidFill>
            <a:ln w="5978" cap="flat">
              <a:noFill/>
              <a:prstDash val="solid"/>
              <a:miter/>
            </a:ln>
          </p:spPr>
          <p:txBody>
            <a:bodyPr rtlCol="0" anchor="ctr"/>
            <a:lstStyle/>
            <a:p>
              <a:endParaRPr lang="en-GB"/>
            </a:p>
          </p:txBody>
        </p:sp>
        <p:sp>
          <p:nvSpPr>
            <p:cNvPr id="69" name="Vrije vorm: vorm 68">
              <a:extLst>
                <a:ext uri="{FF2B5EF4-FFF2-40B4-BE49-F238E27FC236}">
                  <a16:creationId xmlns:a16="http://schemas.microsoft.com/office/drawing/2014/main" id="{5CE94A88-C65A-4A7B-A4DE-EBE12890E0FD}"/>
                </a:ext>
              </a:extLst>
            </p:cNvPr>
            <p:cNvSpPr/>
            <p:nvPr/>
          </p:nvSpPr>
          <p:spPr>
            <a:xfrm>
              <a:off x="3860860" y="2512043"/>
              <a:ext cx="23382" cy="23382"/>
            </a:xfrm>
            <a:custGeom>
              <a:avLst/>
              <a:gdLst>
                <a:gd name="connsiteX0" fmla="*/ 15828 w 23382"/>
                <a:gd name="connsiteY0" fmla="*/ 4137 h 23382"/>
                <a:gd name="connsiteX1" fmla="*/ 19245 w 23382"/>
                <a:gd name="connsiteY1" fmla="*/ 15829 h 23382"/>
                <a:gd name="connsiteX2" fmla="*/ 7554 w 23382"/>
                <a:gd name="connsiteY2" fmla="*/ 19245 h 23382"/>
                <a:gd name="connsiteX3" fmla="*/ 4137 w 23382"/>
                <a:gd name="connsiteY3" fmla="*/ 7554 h 23382"/>
                <a:gd name="connsiteX4" fmla="*/ 15828 w 23382"/>
                <a:gd name="connsiteY4" fmla="*/ 4137 h 23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82" h="23382">
                  <a:moveTo>
                    <a:pt x="15828" y="4137"/>
                  </a:moveTo>
                  <a:cubicBezTo>
                    <a:pt x="20000" y="6422"/>
                    <a:pt x="21530" y="11657"/>
                    <a:pt x="19245" y="15829"/>
                  </a:cubicBezTo>
                  <a:cubicBezTo>
                    <a:pt x="16960" y="20000"/>
                    <a:pt x="11726" y="21530"/>
                    <a:pt x="7554" y="19245"/>
                  </a:cubicBezTo>
                  <a:cubicBezTo>
                    <a:pt x="3382" y="16960"/>
                    <a:pt x="1852" y="11726"/>
                    <a:pt x="4137" y="7554"/>
                  </a:cubicBezTo>
                  <a:cubicBezTo>
                    <a:pt x="6422" y="3382"/>
                    <a:pt x="11657" y="1853"/>
                    <a:pt x="15828" y="4137"/>
                  </a:cubicBezTo>
                  <a:close/>
                </a:path>
              </a:pathLst>
            </a:custGeom>
            <a:solidFill>
              <a:srgbClr val="E3E3E3"/>
            </a:solidFill>
            <a:ln w="5978" cap="flat">
              <a:noFill/>
              <a:prstDash val="solid"/>
              <a:miter/>
            </a:ln>
          </p:spPr>
          <p:txBody>
            <a:bodyPr rtlCol="0" anchor="ctr"/>
            <a:lstStyle/>
            <a:p>
              <a:endParaRPr lang="en-GB"/>
            </a:p>
          </p:txBody>
        </p:sp>
        <p:sp>
          <p:nvSpPr>
            <p:cNvPr id="70" name="Vrije vorm: vorm 69">
              <a:extLst>
                <a:ext uri="{FF2B5EF4-FFF2-40B4-BE49-F238E27FC236}">
                  <a16:creationId xmlns:a16="http://schemas.microsoft.com/office/drawing/2014/main" id="{50F3647C-B0E6-48EE-8B0C-9ECF25F51A2D}"/>
                </a:ext>
              </a:extLst>
            </p:cNvPr>
            <p:cNvSpPr/>
            <p:nvPr/>
          </p:nvSpPr>
          <p:spPr>
            <a:xfrm>
              <a:off x="3861598" y="2512036"/>
              <a:ext cx="22635" cy="22018"/>
            </a:xfrm>
            <a:custGeom>
              <a:avLst/>
              <a:gdLst>
                <a:gd name="connsiteX0" fmla="*/ 15082 w 22635"/>
                <a:gd name="connsiteY0" fmla="*/ 4137 h 22018"/>
                <a:gd name="connsiteX1" fmla="*/ 18872 w 22635"/>
                <a:gd name="connsiteY1" fmla="*/ 15146 h 22018"/>
                <a:gd name="connsiteX2" fmla="*/ 7554 w 22635"/>
                <a:gd name="connsiteY2" fmla="*/ 17881 h 22018"/>
                <a:gd name="connsiteX3" fmla="*/ 3764 w 22635"/>
                <a:gd name="connsiteY3" fmla="*/ 6872 h 22018"/>
                <a:gd name="connsiteX4" fmla="*/ 15082 w 22635"/>
                <a:gd name="connsiteY4" fmla="*/ 4137 h 22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5" h="22018">
                  <a:moveTo>
                    <a:pt x="15082" y="4137"/>
                  </a:moveTo>
                  <a:cubicBezTo>
                    <a:pt x="19253" y="6422"/>
                    <a:pt x="20950" y="11351"/>
                    <a:pt x="18872" y="15146"/>
                  </a:cubicBezTo>
                  <a:cubicBezTo>
                    <a:pt x="16793" y="18942"/>
                    <a:pt x="11726" y="20166"/>
                    <a:pt x="7554" y="17881"/>
                  </a:cubicBezTo>
                  <a:cubicBezTo>
                    <a:pt x="3382" y="15596"/>
                    <a:pt x="1685" y="10667"/>
                    <a:pt x="3764" y="6872"/>
                  </a:cubicBezTo>
                  <a:cubicBezTo>
                    <a:pt x="5843" y="3076"/>
                    <a:pt x="10910" y="1852"/>
                    <a:pt x="15082" y="4137"/>
                  </a:cubicBezTo>
                  <a:close/>
                </a:path>
              </a:pathLst>
            </a:custGeom>
            <a:solidFill>
              <a:srgbClr val="FFFFFF"/>
            </a:solidFill>
            <a:ln w="5978" cap="flat">
              <a:noFill/>
              <a:prstDash val="solid"/>
              <a:miter/>
            </a:ln>
          </p:spPr>
          <p:txBody>
            <a:bodyPr rtlCol="0" anchor="ctr"/>
            <a:lstStyle/>
            <a:p>
              <a:endParaRPr lang="en-GB"/>
            </a:p>
          </p:txBody>
        </p:sp>
        <p:sp>
          <p:nvSpPr>
            <p:cNvPr id="71" name="Vrije vorm: vorm 70">
              <a:extLst>
                <a:ext uri="{FF2B5EF4-FFF2-40B4-BE49-F238E27FC236}">
                  <a16:creationId xmlns:a16="http://schemas.microsoft.com/office/drawing/2014/main" id="{6B0A7BDB-1B1F-4D88-A8DC-2749E709BCD3}"/>
                </a:ext>
              </a:extLst>
            </p:cNvPr>
            <p:cNvSpPr/>
            <p:nvPr/>
          </p:nvSpPr>
          <p:spPr>
            <a:xfrm>
              <a:off x="3822505" y="2508113"/>
              <a:ext cx="19485" cy="19485"/>
            </a:xfrm>
            <a:custGeom>
              <a:avLst/>
              <a:gdLst>
                <a:gd name="connsiteX0" fmla="*/ 13190 w 19485"/>
                <a:gd name="connsiteY0" fmla="*/ 3448 h 19485"/>
                <a:gd name="connsiteX1" fmla="*/ 16037 w 19485"/>
                <a:gd name="connsiteY1" fmla="*/ 13190 h 19485"/>
                <a:gd name="connsiteX2" fmla="*/ 6295 w 19485"/>
                <a:gd name="connsiteY2" fmla="*/ 16038 h 19485"/>
                <a:gd name="connsiteX3" fmla="*/ 3448 w 19485"/>
                <a:gd name="connsiteY3" fmla="*/ 6295 h 19485"/>
                <a:gd name="connsiteX4" fmla="*/ 13190 w 19485"/>
                <a:gd name="connsiteY4" fmla="*/ 3448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3190" y="3448"/>
                  </a:moveTo>
                  <a:cubicBezTo>
                    <a:pt x="16667" y="5352"/>
                    <a:pt x="17942" y="9714"/>
                    <a:pt x="16037" y="13190"/>
                  </a:cubicBezTo>
                  <a:cubicBezTo>
                    <a:pt x="14133" y="16667"/>
                    <a:pt x="9771" y="17942"/>
                    <a:pt x="6295" y="16038"/>
                  </a:cubicBezTo>
                  <a:cubicBezTo>
                    <a:pt x="2818" y="14133"/>
                    <a:pt x="1543" y="9772"/>
                    <a:pt x="3448" y="6295"/>
                  </a:cubicBezTo>
                  <a:cubicBezTo>
                    <a:pt x="5352" y="2818"/>
                    <a:pt x="9714" y="1544"/>
                    <a:pt x="13190" y="3448"/>
                  </a:cubicBezTo>
                  <a:close/>
                </a:path>
              </a:pathLst>
            </a:custGeom>
            <a:solidFill>
              <a:srgbClr val="E3E3E3"/>
            </a:solidFill>
            <a:ln w="5978" cap="flat">
              <a:noFill/>
              <a:prstDash val="solid"/>
              <a:miter/>
            </a:ln>
          </p:spPr>
          <p:txBody>
            <a:bodyPr rtlCol="0" anchor="ctr"/>
            <a:lstStyle/>
            <a:p>
              <a:endParaRPr lang="en-GB"/>
            </a:p>
          </p:txBody>
        </p:sp>
        <p:sp>
          <p:nvSpPr>
            <p:cNvPr id="72" name="Vrije vorm: vorm 71">
              <a:extLst>
                <a:ext uri="{FF2B5EF4-FFF2-40B4-BE49-F238E27FC236}">
                  <a16:creationId xmlns:a16="http://schemas.microsoft.com/office/drawing/2014/main" id="{CEC392AF-1A37-4610-BA4A-4878B6EA5D78}"/>
                </a:ext>
              </a:extLst>
            </p:cNvPr>
            <p:cNvSpPr/>
            <p:nvPr/>
          </p:nvSpPr>
          <p:spPr>
            <a:xfrm>
              <a:off x="3825258" y="2510536"/>
              <a:ext cx="13160" cy="13160"/>
            </a:xfrm>
            <a:custGeom>
              <a:avLst/>
              <a:gdLst>
                <a:gd name="connsiteX0" fmla="*/ 3440 w 13160"/>
                <a:gd name="connsiteY0" fmla="*/ 12352 h 13160"/>
                <a:gd name="connsiteX1" fmla="*/ 12352 w 13160"/>
                <a:gd name="connsiteY1" fmla="*/ 9720 h 13160"/>
                <a:gd name="connsiteX2" fmla="*/ 9720 w 13160"/>
                <a:gd name="connsiteY2" fmla="*/ 809 h 13160"/>
                <a:gd name="connsiteX3" fmla="*/ 809 w 13160"/>
                <a:gd name="connsiteY3" fmla="*/ 3440 h 13160"/>
                <a:gd name="connsiteX4" fmla="*/ 3440 w 13160"/>
                <a:gd name="connsiteY4" fmla="*/ 12352 h 13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0" h="13160">
                  <a:moveTo>
                    <a:pt x="3440" y="12352"/>
                  </a:moveTo>
                  <a:cubicBezTo>
                    <a:pt x="6610" y="14086"/>
                    <a:pt x="10617" y="12950"/>
                    <a:pt x="12352" y="9720"/>
                  </a:cubicBezTo>
                  <a:cubicBezTo>
                    <a:pt x="14086" y="6550"/>
                    <a:pt x="12950" y="2543"/>
                    <a:pt x="9720" y="809"/>
                  </a:cubicBezTo>
                  <a:cubicBezTo>
                    <a:pt x="6550" y="-926"/>
                    <a:pt x="2543" y="211"/>
                    <a:pt x="809" y="3440"/>
                  </a:cubicBezTo>
                  <a:cubicBezTo>
                    <a:pt x="-926" y="6610"/>
                    <a:pt x="211" y="10617"/>
                    <a:pt x="3440" y="12352"/>
                  </a:cubicBezTo>
                  <a:close/>
                </a:path>
              </a:pathLst>
            </a:custGeom>
            <a:solidFill>
              <a:srgbClr val="FFFFFF"/>
            </a:solidFill>
            <a:ln w="5978" cap="flat">
              <a:noFill/>
              <a:prstDash val="solid"/>
              <a:miter/>
            </a:ln>
          </p:spPr>
          <p:txBody>
            <a:bodyPr rtlCol="0" anchor="ctr"/>
            <a:lstStyle/>
            <a:p>
              <a:endParaRPr lang="en-GB"/>
            </a:p>
          </p:txBody>
        </p:sp>
        <p:sp>
          <p:nvSpPr>
            <p:cNvPr id="73" name="Vrije vorm: vorm 72">
              <a:extLst>
                <a:ext uri="{FF2B5EF4-FFF2-40B4-BE49-F238E27FC236}">
                  <a16:creationId xmlns:a16="http://schemas.microsoft.com/office/drawing/2014/main" id="{FE79943F-AC91-40B8-8BA1-10E52B580D8A}"/>
                </a:ext>
              </a:extLst>
            </p:cNvPr>
            <p:cNvSpPr/>
            <p:nvPr/>
          </p:nvSpPr>
          <p:spPr>
            <a:xfrm>
              <a:off x="3884104" y="2428131"/>
              <a:ext cx="22103" cy="32198"/>
            </a:xfrm>
            <a:custGeom>
              <a:avLst/>
              <a:gdLst>
                <a:gd name="connsiteX0" fmla="*/ 4461 w 22103"/>
                <a:gd name="connsiteY0" fmla="*/ 31899 h 32198"/>
                <a:gd name="connsiteX1" fmla="*/ 5119 w 22103"/>
                <a:gd name="connsiteY1" fmla="*/ 32198 h 32198"/>
                <a:gd name="connsiteX2" fmla="*/ 5597 w 22103"/>
                <a:gd name="connsiteY2" fmla="*/ 12342 h 32198"/>
                <a:gd name="connsiteX3" fmla="*/ 22104 w 22103"/>
                <a:gd name="connsiteY3" fmla="*/ 1278 h 32198"/>
                <a:gd name="connsiteX4" fmla="*/ 21506 w 22103"/>
                <a:gd name="connsiteY4" fmla="*/ 919 h 32198"/>
                <a:gd name="connsiteX5" fmla="*/ 3265 w 22103"/>
                <a:gd name="connsiteY5" fmla="*/ 11086 h 32198"/>
                <a:gd name="connsiteX6" fmla="*/ 4461 w 22103"/>
                <a:gd name="connsiteY6" fmla="*/ 31899 h 3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03" h="32198">
                  <a:moveTo>
                    <a:pt x="4461" y="31899"/>
                  </a:moveTo>
                  <a:cubicBezTo>
                    <a:pt x="4640" y="32019"/>
                    <a:pt x="4879" y="32138"/>
                    <a:pt x="5119" y="32198"/>
                  </a:cubicBezTo>
                  <a:cubicBezTo>
                    <a:pt x="932" y="29208"/>
                    <a:pt x="1052" y="20596"/>
                    <a:pt x="5597" y="12342"/>
                  </a:cubicBezTo>
                  <a:cubicBezTo>
                    <a:pt x="10083" y="4149"/>
                    <a:pt x="17319" y="-636"/>
                    <a:pt x="22104" y="1278"/>
                  </a:cubicBezTo>
                  <a:cubicBezTo>
                    <a:pt x="21925" y="1099"/>
                    <a:pt x="21685" y="979"/>
                    <a:pt x="21506" y="919"/>
                  </a:cubicBezTo>
                  <a:cubicBezTo>
                    <a:pt x="16123" y="-2071"/>
                    <a:pt x="7930" y="2474"/>
                    <a:pt x="3265" y="11086"/>
                  </a:cubicBezTo>
                  <a:cubicBezTo>
                    <a:pt x="-1520" y="19579"/>
                    <a:pt x="-982" y="28909"/>
                    <a:pt x="4461" y="31899"/>
                  </a:cubicBezTo>
                  <a:close/>
                </a:path>
              </a:pathLst>
            </a:custGeom>
            <a:solidFill>
              <a:srgbClr val="FFFFFF"/>
            </a:solidFill>
            <a:ln w="5978" cap="flat">
              <a:noFill/>
              <a:prstDash val="solid"/>
              <a:miter/>
            </a:ln>
          </p:spPr>
          <p:txBody>
            <a:bodyPr rtlCol="0" anchor="ctr"/>
            <a:lstStyle/>
            <a:p>
              <a:endParaRPr lang="en-GB"/>
            </a:p>
          </p:txBody>
        </p:sp>
        <p:sp>
          <p:nvSpPr>
            <p:cNvPr id="74" name="Vrije vorm: vorm 73">
              <a:extLst>
                <a:ext uri="{FF2B5EF4-FFF2-40B4-BE49-F238E27FC236}">
                  <a16:creationId xmlns:a16="http://schemas.microsoft.com/office/drawing/2014/main" id="{BD4E6AEA-A4D8-45CA-AD05-7CCDE5B03DF9}"/>
                </a:ext>
              </a:extLst>
            </p:cNvPr>
            <p:cNvSpPr/>
            <p:nvPr/>
          </p:nvSpPr>
          <p:spPr>
            <a:xfrm>
              <a:off x="3886117" y="2428986"/>
              <a:ext cx="23816" cy="31941"/>
            </a:xfrm>
            <a:custGeom>
              <a:avLst/>
              <a:gdLst>
                <a:gd name="connsiteX0" fmla="*/ 3046 w 23816"/>
                <a:gd name="connsiteY0" fmla="*/ 31344 h 31941"/>
                <a:gd name="connsiteX1" fmla="*/ 19732 w 23816"/>
                <a:gd name="connsiteY1" fmla="*/ 22433 h 31941"/>
                <a:gd name="connsiteX2" fmla="*/ 20629 w 23816"/>
                <a:gd name="connsiteY2" fmla="*/ 20878 h 31941"/>
                <a:gd name="connsiteX3" fmla="*/ 21466 w 23816"/>
                <a:gd name="connsiteY3" fmla="*/ 19263 h 31941"/>
                <a:gd name="connsiteX4" fmla="*/ 19971 w 23816"/>
                <a:gd name="connsiteY4" fmla="*/ 424 h 31941"/>
                <a:gd name="connsiteX5" fmla="*/ 3465 w 23816"/>
                <a:gd name="connsiteY5" fmla="*/ 11488 h 31941"/>
                <a:gd name="connsiteX6" fmla="*/ 3046 w 23816"/>
                <a:gd name="connsiteY6" fmla="*/ 31344 h 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16" h="31941">
                  <a:moveTo>
                    <a:pt x="3046" y="31344"/>
                  </a:moveTo>
                  <a:cubicBezTo>
                    <a:pt x="8069" y="33497"/>
                    <a:pt x="15187" y="29669"/>
                    <a:pt x="19732" y="22433"/>
                  </a:cubicBezTo>
                  <a:cubicBezTo>
                    <a:pt x="20031" y="21894"/>
                    <a:pt x="20330" y="21416"/>
                    <a:pt x="20629" y="20878"/>
                  </a:cubicBezTo>
                  <a:cubicBezTo>
                    <a:pt x="20928" y="20340"/>
                    <a:pt x="21167" y="19801"/>
                    <a:pt x="21466" y="19263"/>
                  </a:cubicBezTo>
                  <a:cubicBezTo>
                    <a:pt x="25055" y="11488"/>
                    <a:pt x="24516" y="3474"/>
                    <a:pt x="19971" y="424"/>
                  </a:cubicBezTo>
                  <a:cubicBezTo>
                    <a:pt x="15187" y="-1490"/>
                    <a:pt x="8010" y="3235"/>
                    <a:pt x="3465" y="11488"/>
                  </a:cubicBezTo>
                  <a:cubicBezTo>
                    <a:pt x="-1021" y="19682"/>
                    <a:pt x="-1141" y="28354"/>
                    <a:pt x="3046" y="31344"/>
                  </a:cubicBezTo>
                  <a:close/>
                </a:path>
              </a:pathLst>
            </a:custGeom>
            <a:noFill/>
            <a:ln w="8380" cap="flat">
              <a:solidFill>
                <a:srgbClr val="FFFFFF">
                  <a:alpha val="40000"/>
                </a:srgbClr>
              </a:solidFill>
              <a:prstDash val="solid"/>
              <a:miter/>
            </a:ln>
          </p:spPr>
          <p:txBody>
            <a:bodyPr rtlCol="0" anchor="ctr"/>
            <a:lstStyle/>
            <a:p>
              <a:endParaRPr lang="en-GB"/>
            </a:p>
          </p:txBody>
        </p:sp>
        <p:sp>
          <p:nvSpPr>
            <p:cNvPr id="75" name="Vrije vorm: vorm 74">
              <a:extLst>
                <a:ext uri="{FF2B5EF4-FFF2-40B4-BE49-F238E27FC236}">
                  <a16:creationId xmlns:a16="http://schemas.microsoft.com/office/drawing/2014/main" id="{CC98B029-E708-4EC6-AF07-5690C02AA70E}"/>
                </a:ext>
              </a:extLst>
            </p:cNvPr>
            <p:cNvSpPr/>
            <p:nvPr/>
          </p:nvSpPr>
          <p:spPr>
            <a:xfrm>
              <a:off x="3843364" y="2440693"/>
              <a:ext cx="18407" cy="28009"/>
            </a:xfrm>
            <a:custGeom>
              <a:avLst/>
              <a:gdLst>
                <a:gd name="connsiteX0" fmla="*/ 3216 w 18407"/>
                <a:gd name="connsiteY0" fmla="*/ 27830 h 28009"/>
                <a:gd name="connsiteX1" fmla="*/ 3575 w 18407"/>
                <a:gd name="connsiteY1" fmla="*/ 28010 h 28009"/>
                <a:gd name="connsiteX2" fmla="*/ 4293 w 18407"/>
                <a:gd name="connsiteY2" fmla="*/ 10785 h 28009"/>
                <a:gd name="connsiteX3" fmla="*/ 18407 w 18407"/>
                <a:gd name="connsiteY3" fmla="*/ 857 h 28009"/>
                <a:gd name="connsiteX4" fmla="*/ 18048 w 18407"/>
                <a:gd name="connsiteY4" fmla="*/ 618 h 28009"/>
                <a:gd name="connsiteX5" fmla="*/ 2977 w 18407"/>
                <a:gd name="connsiteY5" fmla="*/ 10067 h 28009"/>
                <a:gd name="connsiteX6" fmla="*/ 3216 w 18407"/>
                <a:gd name="connsiteY6" fmla="*/ 27830 h 2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07" h="28009">
                  <a:moveTo>
                    <a:pt x="3216" y="27830"/>
                  </a:moveTo>
                  <a:cubicBezTo>
                    <a:pt x="3336" y="27890"/>
                    <a:pt x="3455" y="27950"/>
                    <a:pt x="3575" y="28010"/>
                  </a:cubicBezTo>
                  <a:cubicBezTo>
                    <a:pt x="46" y="25677"/>
                    <a:pt x="345" y="18082"/>
                    <a:pt x="4293" y="10785"/>
                  </a:cubicBezTo>
                  <a:cubicBezTo>
                    <a:pt x="8300" y="3489"/>
                    <a:pt x="14520" y="-877"/>
                    <a:pt x="18407" y="857"/>
                  </a:cubicBezTo>
                  <a:cubicBezTo>
                    <a:pt x="18287" y="797"/>
                    <a:pt x="18168" y="678"/>
                    <a:pt x="18048" y="618"/>
                  </a:cubicBezTo>
                  <a:cubicBezTo>
                    <a:pt x="13862" y="-1655"/>
                    <a:pt x="7103" y="2532"/>
                    <a:pt x="2977" y="10067"/>
                  </a:cubicBezTo>
                  <a:cubicBezTo>
                    <a:pt x="-1090" y="17603"/>
                    <a:pt x="-970" y="25557"/>
                    <a:pt x="3216" y="27830"/>
                  </a:cubicBezTo>
                  <a:close/>
                </a:path>
              </a:pathLst>
            </a:custGeom>
            <a:solidFill>
              <a:srgbClr val="FFFFFF"/>
            </a:solidFill>
            <a:ln w="5978" cap="flat">
              <a:noFill/>
              <a:prstDash val="solid"/>
              <a:miter/>
            </a:ln>
          </p:spPr>
          <p:txBody>
            <a:bodyPr rtlCol="0" anchor="ctr"/>
            <a:lstStyle/>
            <a:p>
              <a:endParaRPr lang="en-GB"/>
            </a:p>
          </p:txBody>
        </p:sp>
        <p:sp>
          <p:nvSpPr>
            <p:cNvPr id="76" name="Vrije vorm: vorm 75">
              <a:extLst>
                <a:ext uri="{FF2B5EF4-FFF2-40B4-BE49-F238E27FC236}">
                  <a16:creationId xmlns:a16="http://schemas.microsoft.com/office/drawing/2014/main" id="{A76BFC32-E5C3-4320-B844-6F58B0B84075}"/>
                </a:ext>
              </a:extLst>
            </p:cNvPr>
            <p:cNvSpPr/>
            <p:nvPr/>
          </p:nvSpPr>
          <p:spPr>
            <a:xfrm>
              <a:off x="3844464" y="2441167"/>
              <a:ext cx="20224" cy="27996"/>
            </a:xfrm>
            <a:custGeom>
              <a:avLst/>
              <a:gdLst>
                <a:gd name="connsiteX0" fmla="*/ 2476 w 20224"/>
                <a:gd name="connsiteY0" fmla="*/ 27535 h 27996"/>
                <a:gd name="connsiteX1" fmla="*/ 16351 w 20224"/>
                <a:gd name="connsiteY1" fmla="*/ 19342 h 27996"/>
                <a:gd name="connsiteX2" fmla="*/ 17188 w 20224"/>
                <a:gd name="connsiteY2" fmla="*/ 17966 h 27996"/>
                <a:gd name="connsiteX3" fmla="*/ 17906 w 20224"/>
                <a:gd name="connsiteY3" fmla="*/ 16531 h 27996"/>
                <a:gd name="connsiteX4" fmla="*/ 17368 w 20224"/>
                <a:gd name="connsiteY4" fmla="*/ 383 h 27996"/>
                <a:gd name="connsiteX5" fmla="*/ 3253 w 20224"/>
                <a:gd name="connsiteY5" fmla="*/ 10311 h 27996"/>
                <a:gd name="connsiteX6" fmla="*/ 2476 w 20224"/>
                <a:gd name="connsiteY6" fmla="*/ 27535 h 2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24" h="27996">
                  <a:moveTo>
                    <a:pt x="2476" y="27535"/>
                  </a:moveTo>
                  <a:cubicBezTo>
                    <a:pt x="6423" y="29330"/>
                    <a:pt x="12344" y="25741"/>
                    <a:pt x="16351" y="19342"/>
                  </a:cubicBezTo>
                  <a:cubicBezTo>
                    <a:pt x="16650" y="18863"/>
                    <a:pt x="16889" y="18445"/>
                    <a:pt x="17188" y="17966"/>
                  </a:cubicBezTo>
                  <a:cubicBezTo>
                    <a:pt x="17427" y="17488"/>
                    <a:pt x="17667" y="17009"/>
                    <a:pt x="17906" y="16531"/>
                  </a:cubicBezTo>
                  <a:cubicBezTo>
                    <a:pt x="21195" y="9653"/>
                    <a:pt x="20956" y="2775"/>
                    <a:pt x="17368" y="383"/>
                  </a:cubicBezTo>
                  <a:cubicBezTo>
                    <a:pt x="13480" y="-1352"/>
                    <a:pt x="7260" y="2955"/>
                    <a:pt x="3253" y="10311"/>
                  </a:cubicBezTo>
                  <a:cubicBezTo>
                    <a:pt x="-754" y="17607"/>
                    <a:pt x="-1113" y="25203"/>
                    <a:pt x="2476" y="27535"/>
                  </a:cubicBezTo>
                  <a:close/>
                </a:path>
              </a:pathLst>
            </a:custGeom>
            <a:noFill/>
            <a:ln w="8380" cap="flat">
              <a:solidFill>
                <a:srgbClr val="FFFFFF">
                  <a:alpha val="40000"/>
                </a:srgbClr>
              </a:solidFill>
              <a:prstDash val="solid"/>
              <a:miter/>
            </a:ln>
          </p:spPr>
          <p:txBody>
            <a:bodyPr rtlCol="0" anchor="ctr"/>
            <a:lstStyle/>
            <a:p>
              <a:endParaRPr lang="en-GB"/>
            </a:p>
          </p:txBody>
        </p:sp>
        <p:sp>
          <p:nvSpPr>
            <p:cNvPr id="77" name="Vrije vorm: vorm 76">
              <a:extLst>
                <a:ext uri="{FF2B5EF4-FFF2-40B4-BE49-F238E27FC236}">
                  <a16:creationId xmlns:a16="http://schemas.microsoft.com/office/drawing/2014/main" id="{28D16C6C-35F6-4EC9-A3E7-DD65B21F45BE}"/>
                </a:ext>
              </a:extLst>
            </p:cNvPr>
            <p:cNvSpPr/>
            <p:nvPr/>
          </p:nvSpPr>
          <p:spPr>
            <a:xfrm>
              <a:off x="3817234" y="2501435"/>
              <a:ext cx="18879" cy="29586"/>
            </a:xfrm>
            <a:custGeom>
              <a:avLst/>
              <a:gdLst>
                <a:gd name="connsiteX0" fmla="*/ 2672 w 18879"/>
                <a:gd name="connsiteY0" fmla="*/ 29407 h 29586"/>
                <a:gd name="connsiteX1" fmla="*/ 3091 w 18879"/>
                <a:gd name="connsiteY1" fmla="*/ 29586 h 29586"/>
                <a:gd name="connsiteX2" fmla="*/ 5005 w 18879"/>
                <a:gd name="connsiteY2" fmla="*/ 11884 h 29586"/>
                <a:gd name="connsiteX3" fmla="*/ 18880 w 18879"/>
                <a:gd name="connsiteY3" fmla="*/ 759 h 29586"/>
                <a:gd name="connsiteX4" fmla="*/ 18521 w 18879"/>
                <a:gd name="connsiteY4" fmla="*/ 520 h 29586"/>
                <a:gd name="connsiteX5" fmla="*/ 3509 w 18879"/>
                <a:gd name="connsiteY5" fmla="*/ 11106 h 29586"/>
                <a:gd name="connsiteX6" fmla="*/ 2672 w 18879"/>
                <a:gd name="connsiteY6" fmla="*/ 29407 h 2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79" h="29586">
                  <a:moveTo>
                    <a:pt x="2672" y="29407"/>
                  </a:moveTo>
                  <a:cubicBezTo>
                    <a:pt x="2792" y="29467"/>
                    <a:pt x="2911" y="29527"/>
                    <a:pt x="3091" y="29586"/>
                  </a:cubicBezTo>
                  <a:cubicBezTo>
                    <a:pt x="-19" y="27374"/>
                    <a:pt x="758" y="19599"/>
                    <a:pt x="5005" y="11884"/>
                  </a:cubicBezTo>
                  <a:cubicBezTo>
                    <a:pt x="9251" y="4168"/>
                    <a:pt x="15351" y="-736"/>
                    <a:pt x="18880" y="759"/>
                  </a:cubicBezTo>
                  <a:cubicBezTo>
                    <a:pt x="18760" y="640"/>
                    <a:pt x="18640" y="580"/>
                    <a:pt x="18521" y="520"/>
                  </a:cubicBezTo>
                  <a:cubicBezTo>
                    <a:pt x="14634" y="-1633"/>
                    <a:pt x="7935" y="3092"/>
                    <a:pt x="3509" y="11106"/>
                  </a:cubicBezTo>
                  <a:cubicBezTo>
                    <a:pt x="-797" y="19120"/>
                    <a:pt x="-1216" y="27314"/>
                    <a:pt x="2672" y="29407"/>
                  </a:cubicBezTo>
                  <a:close/>
                </a:path>
              </a:pathLst>
            </a:custGeom>
            <a:solidFill>
              <a:srgbClr val="FFFFFF"/>
            </a:solidFill>
            <a:ln w="5978" cap="flat">
              <a:noFill/>
              <a:prstDash val="solid"/>
              <a:miter/>
            </a:ln>
          </p:spPr>
          <p:txBody>
            <a:bodyPr rtlCol="0" anchor="ctr"/>
            <a:lstStyle/>
            <a:p>
              <a:endParaRPr lang="en-GB"/>
            </a:p>
          </p:txBody>
        </p:sp>
        <p:sp>
          <p:nvSpPr>
            <p:cNvPr id="78" name="Vrije vorm: vorm 77">
              <a:extLst>
                <a:ext uri="{FF2B5EF4-FFF2-40B4-BE49-F238E27FC236}">
                  <a16:creationId xmlns:a16="http://schemas.microsoft.com/office/drawing/2014/main" id="{F4F0A580-54FA-4395-A54A-4DCD93B261D2}"/>
                </a:ext>
              </a:extLst>
            </p:cNvPr>
            <p:cNvSpPr/>
            <p:nvPr/>
          </p:nvSpPr>
          <p:spPr>
            <a:xfrm>
              <a:off x="3818466" y="2501943"/>
              <a:ext cx="20010" cy="29397"/>
            </a:xfrm>
            <a:custGeom>
              <a:avLst/>
              <a:gdLst>
                <a:gd name="connsiteX0" fmla="*/ 1919 w 20010"/>
                <a:gd name="connsiteY0" fmla="*/ 29078 h 29397"/>
                <a:gd name="connsiteX1" fmla="*/ 16453 w 20010"/>
                <a:gd name="connsiteY1" fmla="*/ 18313 h 29397"/>
                <a:gd name="connsiteX2" fmla="*/ 17708 w 20010"/>
                <a:gd name="connsiteY2" fmla="*/ 251 h 29397"/>
                <a:gd name="connsiteX3" fmla="*/ 3833 w 20010"/>
                <a:gd name="connsiteY3" fmla="*/ 11375 h 29397"/>
                <a:gd name="connsiteX4" fmla="*/ 1919 w 20010"/>
                <a:gd name="connsiteY4" fmla="*/ 29078 h 29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 h="29397">
                  <a:moveTo>
                    <a:pt x="1919" y="29078"/>
                  </a:moveTo>
                  <a:cubicBezTo>
                    <a:pt x="5867" y="30693"/>
                    <a:pt x="12206" y="26028"/>
                    <a:pt x="16453" y="18313"/>
                  </a:cubicBezTo>
                  <a:cubicBezTo>
                    <a:pt x="20699" y="10598"/>
                    <a:pt x="21177" y="2644"/>
                    <a:pt x="17708" y="251"/>
                  </a:cubicBezTo>
                  <a:cubicBezTo>
                    <a:pt x="14180" y="-1184"/>
                    <a:pt x="8079" y="3660"/>
                    <a:pt x="3833" y="11375"/>
                  </a:cubicBezTo>
                  <a:cubicBezTo>
                    <a:pt x="-413" y="19151"/>
                    <a:pt x="-1251" y="26925"/>
                    <a:pt x="1919" y="29078"/>
                  </a:cubicBezTo>
                  <a:close/>
                </a:path>
              </a:pathLst>
            </a:custGeom>
            <a:noFill/>
            <a:ln w="8380" cap="flat">
              <a:solidFill>
                <a:srgbClr val="FFFFFF">
                  <a:alpha val="40000"/>
                </a:srgbClr>
              </a:solidFill>
              <a:prstDash val="solid"/>
              <a:miter/>
            </a:ln>
          </p:spPr>
          <p:txBody>
            <a:bodyPr rtlCol="0" anchor="ctr"/>
            <a:lstStyle/>
            <a:p>
              <a:endParaRPr lang="en-GB"/>
            </a:p>
          </p:txBody>
        </p:sp>
        <p:sp>
          <p:nvSpPr>
            <p:cNvPr id="79" name="Vrije vorm: vorm 78">
              <a:extLst>
                <a:ext uri="{FF2B5EF4-FFF2-40B4-BE49-F238E27FC236}">
                  <a16:creationId xmlns:a16="http://schemas.microsoft.com/office/drawing/2014/main" id="{ABC33882-28BA-4CEF-8D59-77D15542CD85}"/>
                </a:ext>
              </a:extLst>
            </p:cNvPr>
            <p:cNvSpPr/>
            <p:nvPr/>
          </p:nvSpPr>
          <p:spPr>
            <a:xfrm>
              <a:off x="3852563" y="2504953"/>
              <a:ext cx="22365" cy="32288"/>
            </a:xfrm>
            <a:custGeom>
              <a:avLst/>
              <a:gdLst>
                <a:gd name="connsiteX0" fmla="*/ 4603 w 22365"/>
                <a:gd name="connsiteY0" fmla="*/ 31930 h 32288"/>
                <a:gd name="connsiteX1" fmla="*/ 5440 w 22365"/>
                <a:gd name="connsiteY1" fmla="*/ 32289 h 32288"/>
                <a:gd name="connsiteX2" fmla="*/ 6038 w 22365"/>
                <a:gd name="connsiteY2" fmla="*/ 12553 h 32288"/>
                <a:gd name="connsiteX3" fmla="*/ 22366 w 22365"/>
                <a:gd name="connsiteY3" fmla="*/ 1428 h 32288"/>
                <a:gd name="connsiteX4" fmla="*/ 21588 w 22365"/>
                <a:gd name="connsiteY4" fmla="*/ 950 h 32288"/>
                <a:gd name="connsiteX5" fmla="*/ 3108 w 22365"/>
                <a:gd name="connsiteY5" fmla="*/ 10998 h 32288"/>
                <a:gd name="connsiteX6" fmla="*/ 4603 w 22365"/>
                <a:gd name="connsiteY6" fmla="*/ 31930 h 3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65" h="32288">
                  <a:moveTo>
                    <a:pt x="4603" y="31930"/>
                  </a:moveTo>
                  <a:cubicBezTo>
                    <a:pt x="4842" y="32050"/>
                    <a:pt x="5141" y="32229"/>
                    <a:pt x="5440" y="32289"/>
                  </a:cubicBezTo>
                  <a:cubicBezTo>
                    <a:pt x="1373" y="29299"/>
                    <a:pt x="1553" y="20686"/>
                    <a:pt x="6038" y="12553"/>
                  </a:cubicBezTo>
                  <a:cubicBezTo>
                    <a:pt x="10464" y="4419"/>
                    <a:pt x="17641" y="-366"/>
                    <a:pt x="22366" y="1428"/>
                  </a:cubicBezTo>
                  <a:cubicBezTo>
                    <a:pt x="22126" y="1249"/>
                    <a:pt x="21887" y="1070"/>
                    <a:pt x="21588" y="950"/>
                  </a:cubicBezTo>
                  <a:cubicBezTo>
                    <a:pt x="16086" y="-2100"/>
                    <a:pt x="7833" y="2445"/>
                    <a:pt x="3108" y="10998"/>
                  </a:cubicBezTo>
                  <a:cubicBezTo>
                    <a:pt x="-1557" y="19490"/>
                    <a:pt x="-899" y="28880"/>
                    <a:pt x="4603" y="31930"/>
                  </a:cubicBezTo>
                  <a:close/>
                </a:path>
              </a:pathLst>
            </a:custGeom>
            <a:solidFill>
              <a:srgbClr val="FFFFFF"/>
            </a:solidFill>
            <a:ln w="5978" cap="flat">
              <a:noFill/>
              <a:prstDash val="solid"/>
              <a:miter/>
            </a:ln>
          </p:spPr>
          <p:txBody>
            <a:bodyPr rtlCol="0" anchor="ctr"/>
            <a:lstStyle/>
            <a:p>
              <a:endParaRPr lang="en-GB"/>
            </a:p>
          </p:txBody>
        </p:sp>
        <p:sp>
          <p:nvSpPr>
            <p:cNvPr id="80" name="Vrije vorm: vorm 79">
              <a:extLst>
                <a:ext uri="{FF2B5EF4-FFF2-40B4-BE49-F238E27FC236}">
                  <a16:creationId xmlns:a16="http://schemas.microsoft.com/office/drawing/2014/main" id="{15FCF1A6-AB1E-40F8-B8B5-E9DBB219E80C}"/>
                </a:ext>
              </a:extLst>
            </p:cNvPr>
            <p:cNvSpPr/>
            <p:nvPr/>
          </p:nvSpPr>
          <p:spPr>
            <a:xfrm>
              <a:off x="3855089" y="2506005"/>
              <a:ext cx="23702" cy="31789"/>
            </a:xfrm>
            <a:custGeom>
              <a:avLst/>
              <a:gdLst>
                <a:gd name="connsiteX0" fmla="*/ 2915 w 23702"/>
                <a:gd name="connsiteY0" fmla="*/ 31236 h 31789"/>
                <a:gd name="connsiteX1" fmla="*/ 19661 w 23702"/>
                <a:gd name="connsiteY1" fmla="*/ 22385 h 31789"/>
                <a:gd name="connsiteX2" fmla="*/ 20558 w 23702"/>
                <a:gd name="connsiteY2" fmla="*/ 20830 h 31789"/>
                <a:gd name="connsiteX3" fmla="*/ 21395 w 23702"/>
                <a:gd name="connsiteY3" fmla="*/ 19215 h 31789"/>
                <a:gd name="connsiteX4" fmla="*/ 19840 w 23702"/>
                <a:gd name="connsiteY4" fmla="*/ 376 h 31789"/>
                <a:gd name="connsiteX5" fmla="*/ 3513 w 23702"/>
                <a:gd name="connsiteY5" fmla="*/ 11500 h 31789"/>
                <a:gd name="connsiteX6" fmla="*/ 2915 w 23702"/>
                <a:gd name="connsiteY6" fmla="*/ 31236 h 3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02" h="31789">
                  <a:moveTo>
                    <a:pt x="2915" y="31236"/>
                  </a:moveTo>
                  <a:cubicBezTo>
                    <a:pt x="8058" y="33270"/>
                    <a:pt x="15115" y="29562"/>
                    <a:pt x="19661" y="22385"/>
                  </a:cubicBezTo>
                  <a:cubicBezTo>
                    <a:pt x="19960" y="21846"/>
                    <a:pt x="20259" y="21368"/>
                    <a:pt x="20558" y="20830"/>
                  </a:cubicBezTo>
                  <a:cubicBezTo>
                    <a:pt x="20857" y="20292"/>
                    <a:pt x="21096" y="19753"/>
                    <a:pt x="21395" y="19215"/>
                  </a:cubicBezTo>
                  <a:cubicBezTo>
                    <a:pt x="24984" y="11500"/>
                    <a:pt x="24326" y="3545"/>
                    <a:pt x="19840" y="376"/>
                  </a:cubicBezTo>
                  <a:cubicBezTo>
                    <a:pt x="15115" y="-1419"/>
                    <a:pt x="7998" y="3366"/>
                    <a:pt x="3513" y="11500"/>
                  </a:cubicBezTo>
                  <a:cubicBezTo>
                    <a:pt x="-973" y="19634"/>
                    <a:pt x="-1152" y="28246"/>
                    <a:pt x="2915" y="31236"/>
                  </a:cubicBezTo>
                  <a:close/>
                </a:path>
              </a:pathLst>
            </a:custGeom>
            <a:noFill/>
            <a:ln w="8380" cap="flat">
              <a:solidFill>
                <a:srgbClr val="FFFFFF">
                  <a:alpha val="40000"/>
                </a:srgbClr>
              </a:solidFill>
              <a:prstDash val="solid"/>
              <a:miter/>
            </a:ln>
          </p:spPr>
          <p:txBody>
            <a:bodyPr rtlCol="0" anchor="ctr"/>
            <a:lstStyle/>
            <a:p>
              <a:endParaRPr lang="en-GB"/>
            </a:p>
          </p:txBody>
        </p:sp>
        <p:sp>
          <p:nvSpPr>
            <p:cNvPr id="81" name="Vrije vorm: vorm 80">
              <a:extLst>
                <a:ext uri="{FF2B5EF4-FFF2-40B4-BE49-F238E27FC236}">
                  <a16:creationId xmlns:a16="http://schemas.microsoft.com/office/drawing/2014/main" id="{77BB29C4-47F5-4F48-87DB-1E7B63185D74}"/>
                </a:ext>
              </a:extLst>
            </p:cNvPr>
            <p:cNvSpPr/>
            <p:nvPr/>
          </p:nvSpPr>
          <p:spPr>
            <a:xfrm>
              <a:off x="3858669" y="2478214"/>
              <a:ext cx="12066" cy="16263"/>
            </a:xfrm>
            <a:custGeom>
              <a:avLst/>
              <a:gdLst>
                <a:gd name="connsiteX0" fmla="*/ 3163 w 12066"/>
                <a:gd name="connsiteY0" fmla="*/ 16026 h 16263"/>
                <a:gd name="connsiteX1" fmla="*/ 11356 w 12066"/>
                <a:gd name="connsiteY1" fmla="*/ 10046 h 16263"/>
                <a:gd name="connsiteX2" fmla="*/ 8904 w 12066"/>
                <a:gd name="connsiteY2" fmla="*/ 237 h 16263"/>
                <a:gd name="connsiteX3" fmla="*/ 710 w 12066"/>
                <a:gd name="connsiteY3" fmla="*/ 6218 h 16263"/>
                <a:gd name="connsiteX4" fmla="*/ 3163 w 12066"/>
                <a:gd name="connsiteY4" fmla="*/ 16026 h 1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66" h="16263">
                  <a:moveTo>
                    <a:pt x="3163" y="16026"/>
                  </a:moveTo>
                  <a:cubicBezTo>
                    <a:pt x="6093" y="17103"/>
                    <a:pt x="9741" y="14412"/>
                    <a:pt x="11356" y="10046"/>
                  </a:cubicBezTo>
                  <a:cubicBezTo>
                    <a:pt x="12911" y="5680"/>
                    <a:pt x="11835" y="1314"/>
                    <a:pt x="8904" y="237"/>
                  </a:cubicBezTo>
                  <a:cubicBezTo>
                    <a:pt x="5974" y="-839"/>
                    <a:pt x="2325" y="1852"/>
                    <a:pt x="710" y="6218"/>
                  </a:cubicBezTo>
                  <a:cubicBezTo>
                    <a:pt x="-844" y="10584"/>
                    <a:pt x="232" y="14950"/>
                    <a:pt x="3163" y="16026"/>
                  </a:cubicBezTo>
                  <a:close/>
                </a:path>
              </a:pathLst>
            </a:custGeom>
            <a:solidFill>
              <a:srgbClr val="FFFFFF"/>
            </a:solidFill>
            <a:ln w="5978" cap="flat">
              <a:noFill/>
              <a:prstDash val="solid"/>
              <a:miter/>
            </a:ln>
          </p:spPr>
          <p:txBody>
            <a:bodyPr rtlCol="0" anchor="ctr"/>
            <a:lstStyle/>
            <a:p>
              <a:endParaRPr lang="en-GB"/>
            </a:p>
          </p:txBody>
        </p:sp>
        <p:sp>
          <p:nvSpPr>
            <p:cNvPr id="82" name="Vrije vorm: vorm 81">
              <a:extLst>
                <a:ext uri="{FF2B5EF4-FFF2-40B4-BE49-F238E27FC236}">
                  <a16:creationId xmlns:a16="http://schemas.microsoft.com/office/drawing/2014/main" id="{4D66E8CB-EA75-41F0-8362-32E4050FE354}"/>
                </a:ext>
              </a:extLst>
            </p:cNvPr>
            <p:cNvSpPr/>
            <p:nvPr/>
          </p:nvSpPr>
          <p:spPr>
            <a:xfrm>
              <a:off x="3888146" y="2482219"/>
              <a:ext cx="9109" cy="21599"/>
            </a:xfrm>
            <a:custGeom>
              <a:avLst/>
              <a:gdLst>
                <a:gd name="connsiteX0" fmla="*/ 0 w 9109"/>
                <a:gd name="connsiteY0" fmla="*/ 21590 h 21599"/>
                <a:gd name="connsiteX1" fmla="*/ 8194 w 9109"/>
                <a:gd name="connsiteY1" fmla="*/ 0 h 21599"/>
              </a:gdLst>
              <a:ahLst/>
              <a:cxnLst>
                <a:cxn ang="0">
                  <a:pos x="connsiteX0" y="connsiteY0"/>
                </a:cxn>
                <a:cxn ang="0">
                  <a:pos x="connsiteX1" y="connsiteY1"/>
                </a:cxn>
              </a:cxnLst>
              <a:rect l="l" t="t" r="r" b="b"/>
              <a:pathLst>
                <a:path w="9109" h="21599">
                  <a:moveTo>
                    <a:pt x="0" y="21590"/>
                  </a:moveTo>
                  <a:cubicBezTo>
                    <a:pt x="1555" y="21889"/>
                    <a:pt x="12261" y="14533"/>
                    <a:pt x="8194" y="0"/>
                  </a:cubicBezTo>
                </a:path>
              </a:pathLst>
            </a:custGeom>
            <a:noFill/>
            <a:ln w="4190" cap="rnd">
              <a:solidFill>
                <a:srgbClr val="FFFFFF"/>
              </a:solidFill>
              <a:prstDash val="solid"/>
              <a:round/>
            </a:ln>
          </p:spPr>
          <p:txBody>
            <a:bodyPr rtlCol="0" anchor="ctr"/>
            <a:lstStyle/>
            <a:p>
              <a:endParaRPr lang="en-GB"/>
            </a:p>
          </p:txBody>
        </p:sp>
        <p:sp>
          <p:nvSpPr>
            <p:cNvPr id="83" name="Vrije vorm: vorm 82">
              <a:extLst>
                <a:ext uri="{FF2B5EF4-FFF2-40B4-BE49-F238E27FC236}">
                  <a16:creationId xmlns:a16="http://schemas.microsoft.com/office/drawing/2014/main" id="{6F90CE4E-442B-4589-B5D8-4CBEF484AA2B}"/>
                </a:ext>
              </a:extLst>
            </p:cNvPr>
            <p:cNvSpPr/>
            <p:nvPr/>
          </p:nvSpPr>
          <p:spPr>
            <a:xfrm>
              <a:off x="3894725" y="2478571"/>
              <a:ext cx="15619" cy="37399"/>
            </a:xfrm>
            <a:custGeom>
              <a:avLst/>
              <a:gdLst>
                <a:gd name="connsiteX0" fmla="*/ 0 w 15619"/>
                <a:gd name="connsiteY0" fmla="*/ 37380 h 37399"/>
                <a:gd name="connsiteX1" fmla="*/ 14234 w 15619"/>
                <a:gd name="connsiteY1" fmla="*/ 0 h 37399"/>
              </a:gdLst>
              <a:ahLst/>
              <a:cxnLst>
                <a:cxn ang="0">
                  <a:pos x="connsiteX0" y="connsiteY0"/>
                </a:cxn>
                <a:cxn ang="0">
                  <a:pos x="connsiteX1" y="connsiteY1"/>
                </a:cxn>
              </a:cxnLst>
              <a:rect l="l" t="t" r="r" b="b"/>
              <a:pathLst>
                <a:path w="15619" h="37399">
                  <a:moveTo>
                    <a:pt x="0" y="37380"/>
                  </a:moveTo>
                  <a:cubicBezTo>
                    <a:pt x="2273" y="37978"/>
                    <a:pt x="20753" y="25299"/>
                    <a:pt x="14234" y="0"/>
                  </a:cubicBezTo>
                </a:path>
              </a:pathLst>
            </a:custGeom>
            <a:noFill/>
            <a:ln w="4190" cap="rnd">
              <a:solidFill>
                <a:srgbClr val="FFFFFF"/>
              </a:solidFill>
              <a:prstDash val="solid"/>
              <a:round/>
            </a:ln>
          </p:spPr>
          <p:txBody>
            <a:bodyPr rtlCol="0" anchor="ctr"/>
            <a:lstStyle/>
            <a:p>
              <a:endParaRPr lang="en-GB"/>
            </a:p>
          </p:txBody>
        </p:sp>
        <p:sp>
          <p:nvSpPr>
            <p:cNvPr id="84" name="Vrije vorm: vorm 83">
              <a:extLst>
                <a:ext uri="{FF2B5EF4-FFF2-40B4-BE49-F238E27FC236}">
                  <a16:creationId xmlns:a16="http://schemas.microsoft.com/office/drawing/2014/main" id="{E1FBFAAE-11CF-4FB8-A20B-C6B89229E900}"/>
                </a:ext>
              </a:extLst>
            </p:cNvPr>
            <p:cNvSpPr/>
            <p:nvPr/>
          </p:nvSpPr>
          <p:spPr>
            <a:xfrm>
              <a:off x="3900826" y="2472470"/>
              <a:ext cx="22998" cy="57245"/>
            </a:xfrm>
            <a:custGeom>
              <a:avLst/>
              <a:gdLst>
                <a:gd name="connsiteX0" fmla="*/ 0 w 22998"/>
                <a:gd name="connsiteY0" fmla="*/ 57235 h 57245"/>
                <a:gd name="connsiteX1" fmla="*/ 21770 w 22998"/>
                <a:gd name="connsiteY1" fmla="*/ 0 h 57245"/>
              </a:gdLst>
              <a:ahLst/>
              <a:cxnLst>
                <a:cxn ang="0">
                  <a:pos x="connsiteX0" y="connsiteY0"/>
                </a:cxn>
                <a:cxn ang="0">
                  <a:pos x="connsiteX1" y="connsiteY1"/>
                </a:cxn>
              </a:cxnLst>
              <a:rect l="l" t="t" r="r" b="b"/>
              <a:pathLst>
                <a:path w="22998" h="57245">
                  <a:moveTo>
                    <a:pt x="0" y="57235"/>
                  </a:moveTo>
                  <a:cubicBezTo>
                    <a:pt x="2452" y="57774"/>
                    <a:pt x="28946" y="37798"/>
                    <a:pt x="21770" y="0"/>
                  </a:cubicBezTo>
                </a:path>
              </a:pathLst>
            </a:custGeom>
            <a:noFill/>
            <a:ln w="4190" cap="rnd">
              <a:solidFill>
                <a:srgbClr val="FFFFFF"/>
              </a:solidFill>
              <a:prstDash val="solid"/>
              <a:round/>
            </a:ln>
          </p:spPr>
          <p:txBody>
            <a:bodyPr rtlCol="0" anchor="ctr"/>
            <a:lstStyle/>
            <a:p>
              <a:endParaRPr lang="en-GB"/>
            </a:p>
          </p:txBody>
        </p:sp>
        <p:sp>
          <p:nvSpPr>
            <p:cNvPr id="85" name="Vrije vorm: vorm 84">
              <a:extLst>
                <a:ext uri="{FF2B5EF4-FFF2-40B4-BE49-F238E27FC236}">
                  <a16:creationId xmlns:a16="http://schemas.microsoft.com/office/drawing/2014/main" id="{F10F6E04-936A-416F-967A-12B25F9C7005}"/>
                </a:ext>
              </a:extLst>
            </p:cNvPr>
            <p:cNvSpPr/>
            <p:nvPr/>
          </p:nvSpPr>
          <p:spPr>
            <a:xfrm>
              <a:off x="3907285" y="2466011"/>
              <a:ext cx="31795" cy="77569"/>
            </a:xfrm>
            <a:custGeom>
              <a:avLst/>
              <a:gdLst>
                <a:gd name="connsiteX0" fmla="*/ 0 w 31795"/>
                <a:gd name="connsiteY0" fmla="*/ 77570 h 77569"/>
                <a:gd name="connsiteX1" fmla="*/ 29485 w 31795"/>
                <a:gd name="connsiteY1" fmla="*/ 0 h 77569"/>
              </a:gdLst>
              <a:ahLst/>
              <a:cxnLst>
                <a:cxn ang="0">
                  <a:pos x="connsiteX0" y="connsiteY0"/>
                </a:cxn>
                <a:cxn ang="0">
                  <a:pos x="connsiteX1" y="connsiteY1"/>
                </a:cxn>
              </a:cxnLst>
              <a:rect l="l" t="t" r="r" b="b"/>
              <a:pathLst>
                <a:path w="31795" h="77569">
                  <a:moveTo>
                    <a:pt x="0" y="77570"/>
                  </a:moveTo>
                  <a:cubicBezTo>
                    <a:pt x="4366" y="75776"/>
                    <a:pt x="41267" y="46231"/>
                    <a:pt x="29485" y="0"/>
                  </a:cubicBezTo>
                </a:path>
              </a:pathLst>
            </a:custGeom>
            <a:noFill/>
            <a:ln w="4190" cap="rnd">
              <a:solidFill>
                <a:srgbClr val="FFFFFF"/>
              </a:solidFill>
              <a:prstDash val="solid"/>
              <a:round/>
            </a:ln>
          </p:spPr>
          <p:txBody>
            <a:bodyPr rtlCol="0" anchor="ctr"/>
            <a:lstStyle/>
            <a:p>
              <a:endParaRPr lang="en-GB"/>
            </a:p>
          </p:txBody>
        </p:sp>
      </p:grpSp>
      <p:grpSp>
        <p:nvGrpSpPr>
          <p:cNvPr id="86" name="DRONE_5">
            <a:extLst>
              <a:ext uri="{FF2B5EF4-FFF2-40B4-BE49-F238E27FC236}">
                <a16:creationId xmlns:a16="http://schemas.microsoft.com/office/drawing/2014/main" id="{5F908DD3-DA29-421C-B339-2588B8D37B32}"/>
              </a:ext>
            </a:extLst>
          </p:cNvPr>
          <p:cNvGrpSpPr/>
          <p:nvPr userDrawn="1"/>
        </p:nvGrpSpPr>
        <p:grpSpPr>
          <a:xfrm>
            <a:off x="4420336" y="1214754"/>
            <a:ext cx="197741" cy="154634"/>
            <a:chOff x="4388242" y="1374134"/>
            <a:chExt cx="197741" cy="154634"/>
          </a:xfrm>
          <a:solidFill>
            <a:schemeClr val="bg1"/>
          </a:solidFill>
        </p:grpSpPr>
        <p:grpSp>
          <p:nvGrpSpPr>
            <p:cNvPr id="87" name="Graphic 3">
              <a:extLst>
                <a:ext uri="{FF2B5EF4-FFF2-40B4-BE49-F238E27FC236}">
                  <a16:creationId xmlns:a16="http://schemas.microsoft.com/office/drawing/2014/main" id="{C367AA07-BD96-4067-B0A7-84BF26681B19}"/>
                </a:ext>
              </a:extLst>
            </p:cNvPr>
            <p:cNvGrpSpPr/>
            <p:nvPr/>
          </p:nvGrpSpPr>
          <p:grpSpPr>
            <a:xfrm>
              <a:off x="4480492" y="1447888"/>
              <a:ext cx="105491" cy="80880"/>
              <a:chOff x="4480492" y="1447888"/>
              <a:chExt cx="105491" cy="80880"/>
            </a:xfrm>
            <a:grpFill/>
          </p:grpSpPr>
          <p:sp>
            <p:nvSpPr>
              <p:cNvPr id="106" name="Vrije vorm: vorm 105">
                <a:extLst>
                  <a:ext uri="{FF2B5EF4-FFF2-40B4-BE49-F238E27FC236}">
                    <a16:creationId xmlns:a16="http://schemas.microsoft.com/office/drawing/2014/main" id="{794576F4-0014-418E-92EC-0D72143F8C3B}"/>
                  </a:ext>
                </a:extLst>
              </p:cNvPr>
              <p:cNvSpPr/>
              <p:nvPr/>
            </p:nvSpPr>
            <p:spPr>
              <a:xfrm>
                <a:off x="4495133" y="1448569"/>
                <a:ext cx="28240" cy="22941"/>
              </a:xfrm>
              <a:custGeom>
                <a:avLst/>
                <a:gdLst>
                  <a:gd name="connsiteX0" fmla="*/ 21049 w 28240"/>
                  <a:gd name="connsiteY0" fmla="*/ 899 h 22941"/>
                  <a:gd name="connsiteX1" fmla="*/ 20690 w 28240"/>
                  <a:gd name="connsiteY1" fmla="*/ 1198 h 22941"/>
                  <a:gd name="connsiteX2" fmla="*/ 2030 w 28240"/>
                  <a:gd name="connsiteY2" fmla="*/ 15193 h 22941"/>
                  <a:gd name="connsiteX3" fmla="*/ 714 w 28240"/>
                  <a:gd name="connsiteY3" fmla="*/ 20994 h 22941"/>
                  <a:gd name="connsiteX4" fmla="*/ 6874 w 28240"/>
                  <a:gd name="connsiteY4" fmla="*/ 22310 h 22941"/>
                  <a:gd name="connsiteX5" fmla="*/ 26910 w 28240"/>
                  <a:gd name="connsiteY5" fmla="*/ 7238 h 22941"/>
                  <a:gd name="connsiteX6" fmla="*/ 26969 w 28240"/>
                  <a:gd name="connsiteY6" fmla="*/ 1318 h 22941"/>
                  <a:gd name="connsiteX7" fmla="*/ 21049 w 28240"/>
                  <a:gd name="connsiteY7" fmla="*/ 899 h 2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40" h="22941">
                    <a:moveTo>
                      <a:pt x="21049" y="899"/>
                    </a:moveTo>
                    <a:cubicBezTo>
                      <a:pt x="20929" y="959"/>
                      <a:pt x="20810" y="1078"/>
                      <a:pt x="20690" y="1198"/>
                    </a:cubicBezTo>
                    <a:cubicBezTo>
                      <a:pt x="13812" y="7538"/>
                      <a:pt x="10164" y="10289"/>
                      <a:pt x="2030" y="15193"/>
                    </a:cubicBezTo>
                    <a:cubicBezTo>
                      <a:pt x="-63" y="16389"/>
                      <a:pt x="-602" y="19020"/>
                      <a:pt x="714" y="20994"/>
                    </a:cubicBezTo>
                    <a:cubicBezTo>
                      <a:pt x="2030" y="22968"/>
                      <a:pt x="4841" y="23506"/>
                      <a:pt x="6874" y="22310"/>
                    </a:cubicBezTo>
                    <a:cubicBezTo>
                      <a:pt x="15487" y="17107"/>
                      <a:pt x="19613" y="13997"/>
                      <a:pt x="26910" y="7238"/>
                    </a:cubicBezTo>
                    <a:cubicBezTo>
                      <a:pt x="28644" y="5624"/>
                      <a:pt x="28704" y="2932"/>
                      <a:pt x="26969" y="1318"/>
                    </a:cubicBezTo>
                    <a:cubicBezTo>
                      <a:pt x="25355" y="-297"/>
                      <a:pt x="22783" y="-417"/>
                      <a:pt x="21049" y="899"/>
                    </a:cubicBezTo>
                    <a:close/>
                  </a:path>
                </a:pathLst>
              </a:custGeom>
              <a:grpFill/>
              <a:ln w="5978" cap="flat">
                <a:noFill/>
                <a:prstDash val="solid"/>
                <a:miter/>
              </a:ln>
            </p:spPr>
            <p:txBody>
              <a:bodyPr rtlCol="0" anchor="ctr"/>
              <a:lstStyle/>
              <a:p>
                <a:endParaRPr lang="en-GB"/>
              </a:p>
            </p:txBody>
          </p:sp>
          <p:sp>
            <p:nvSpPr>
              <p:cNvPr id="107" name="Vrije vorm: vorm 106">
                <a:extLst>
                  <a:ext uri="{FF2B5EF4-FFF2-40B4-BE49-F238E27FC236}">
                    <a16:creationId xmlns:a16="http://schemas.microsoft.com/office/drawing/2014/main" id="{97495E3F-B16E-46C2-A05C-8B20254079F7}"/>
                  </a:ext>
                </a:extLst>
              </p:cNvPr>
              <p:cNvSpPr/>
              <p:nvPr/>
            </p:nvSpPr>
            <p:spPr>
              <a:xfrm>
                <a:off x="4492999" y="1450674"/>
                <a:ext cx="50389" cy="39586"/>
              </a:xfrm>
              <a:custGeom>
                <a:avLst/>
                <a:gdLst>
                  <a:gd name="connsiteX0" fmla="*/ 1653 w 50389"/>
                  <a:gd name="connsiteY0" fmla="*/ 32106 h 39586"/>
                  <a:gd name="connsiteX1" fmla="*/ 517 w 50389"/>
                  <a:gd name="connsiteY1" fmla="*/ 37310 h 39586"/>
                  <a:gd name="connsiteX2" fmla="*/ 6497 w 50389"/>
                  <a:gd name="connsiteY2" fmla="*/ 39104 h 39586"/>
                  <a:gd name="connsiteX3" fmla="*/ 29583 w 50389"/>
                  <a:gd name="connsiteY3" fmla="*/ 24989 h 39586"/>
                  <a:gd name="connsiteX4" fmla="*/ 49319 w 50389"/>
                  <a:gd name="connsiteY4" fmla="*/ 6928 h 39586"/>
                  <a:gd name="connsiteX5" fmla="*/ 48781 w 50389"/>
                  <a:gd name="connsiteY5" fmla="*/ 1007 h 39586"/>
                  <a:gd name="connsiteX6" fmla="*/ 42501 w 50389"/>
                  <a:gd name="connsiteY6" fmla="*/ 1485 h 39586"/>
                  <a:gd name="connsiteX7" fmla="*/ 24021 w 50389"/>
                  <a:gd name="connsiteY7" fmla="*/ 18411 h 39586"/>
                  <a:gd name="connsiteX8" fmla="*/ 2431 w 50389"/>
                  <a:gd name="connsiteY8" fmla="*/ 31628 h 39586"/>
                  <a:gd name="connsiteX9" fmla="*/ 1653 w 50389"/>
                  <a:gd name="connsiteY9" fmla="*/ 32106 h 3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89" h="39586">
                    <a:moveTo>
                      <a:pt x="1653" y="32106"/>
                    </a:moveTo>
                    <a:cubicBezTo>
                      <a:pt x="38" y="33303"/>
                      <a:pt x="-500" y="35515"/>
                      <a:pt x="517" y="37310"/>
                    </a:cubicBezTo>
                    <a:cubicBezTo>
                      <a:pt x="1653" y="39403"/>
                      <a:pt x="4344" y="40180"/>
                      <a:pt x="6497" y="39104"/>
                    </a:cubicBezTo>
                    <a:cubicBezTo>
                      <a:pt x="15110" y="34917"/>
                      <a:pt x="21987" y="30731"/>
                      <a:pt x="29583" y="24989"/>
                    </a:cubicBezTo>
                    <a:cubicBezTo>
                      <a:pt x="37179" y="19308"/>
                      <a:pt x="43040" y="13925"/>
                      <a:pt x="49319" y="6928"/>
                    </a:cubicBezTo>
                    <a:cubicBezTo>
                      <a:pt x="50934" y="5193"/>
                      <a:pt x="50695" y="2502"/>
                      <a:pt x="48781" y="1007"/>
                    </a:cubicBezTo>
                    <a:cubicBezTo>
                      <a:pt x="46867" y="-489"/>
                      <a:pt x="44116" y="-309"/>
                      <a:pt x="42501" y="1485"/>
                    </a:cubicBezTo>
                    <a:cubicBezTo>
                      <a:pt x="35145" y="9679"/>
                      <a:pt x="28985" y="14643"/>
                      <a:pt x="24021" y="18411"/>
                    </a:cubicBezTo>
                    <a:cubicBezTo>
                      <a:pt x="18997" y="22178"/>
                      <a:pt x="12538" y="26664"/>
                      <a:pt x="2431" y="31628"/>
                    </a:cubicBezTo>
                    <a:cubicBezTo>
                      <a:pt x="2072" y="31807"/>
                      <a:pt x="1832" y="31927"/>
                      <a:pt x="1653" y="32106"/>
                    </a:cubicBezTo>
                    <a:close/>
                  </a:path>
                </a:pathLst>
              </a:custGeom>
              <a:grpFill/>
              <a:ln w="5978" cap="flat">
                <a:noFill/>
                <a:prstDash val="solid"/>
                <a:miter/>
              </a:ln>
            </p:spPr>
            <p:txBody>
              <a:bodyPr rtlCol="0" anchor="ctr"/>
              <a:lstStyle/>
              <a:p>
                <a:endParaRPr lang="en-GB"/>
              </a:p>
            </p:txBody>
          </p:sp>
          <p:sp>
            <p:nvSpPr>
              <p:cNvPr id="108" name="Vrije vorm: vorm 107">
                <a:extLst>
                  <a:ext uri="{FF2B5EF4-FFF2-40B4-BE49-F238E27FC236}">
                    <a16:creationId xmlns:a16="http://schemas.microsoft.com/office/drawing/2014/main" id="{4789377D-526D-4322-890F-B3236F5DD256}"/>
                  </a:ext>
                </a:extLst>
              </p:cNvPr>
              <p:cNvSpPr/>
              <p:nvPr/>
            </p:nvSpPr>
            <p:spPr>
              <a:xfrm>
                <a:off x="4486536" y="1449346"/>
                <a:ext cx="78751" cy="60811"/>
              </a:xfrm>
              <a:custGeom>
                <a:avLst/>
                <a:gdLst>
                  <a:gd name="connsiteX0" fmla="*/ 71511 w 78751"/>
                  <a:gd name="connsiteY0" fmla="*/ 900 h 60811"/>
                  <a:gd name="connsiteX1" fmla="*/ 70614 w 78751"/>
                  <a:gd name="connsiteY1" fmla="*/ 1797 h 60811"/>
                  <a:gd name="connsiteX2" fmla="*/ 50758 w 78751"/>
                  <a:gd name="connsiteY2" fmla="*/ 23746 h 60811"/>
                  <a:gd name="connsiteX3" fmla="*/ 29945 w 78751"/>
                  <a:gd name="connsiteY3" fmla="*/ 39356 h 60811"/>
                  <a:gd name="connsiteX4" fmla="*/ 2793 w 78751"/>
                  <a:gd name="connsiteY4" fmla="*/ 52693 h 60811"/>
                  <a:gd name="connsiteX5" fmla="*/ 341 w 78751"/>
                  <a:gd name="connsiteY5" fmla="*/ 58135 h 60811"/>
                  <a:gd name="connsiteX6" fmla="*/ 6142 w 78751"/>
                  <a:gd name="connsiteY6" fmla="*/ 60527 h 60811"/>
                  <a:gd name="connsiteX7" fmla="*/ 34909 w 78751"/>
                  <a:gd name="connsiteY7" fmla="*/ 46413 h 60811"/>
                  <a:gd name="connsiteX8" fmla="*/ 56918 w 78751"/>
                  <a:gd name="connsiteY8" fmla="*/ 29846 h 60811"/>
                  <a:gd name="connsiteX9" fmla="*/ 77970 w 78751"/>
                  <a:gd name="connsiteY9" fmla="*/ 6581 h 60811"/>
                  <a:gd name="connsiteX10" fmla="*/ 76834 w 78751"/>
                  <a:gd name="connsiteY10" fmla="*/ 720 h 60811"/>
                  <a:gd name="connsiteX11" fmla="*/ 71511 w 78751"/>
                  <a:gd name="connsiteY11" fmla="*/ 900 h 6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751" h="60811">
                    <a:moveTo>
                      <a:pt x="71511" y="900"/>
                    </a:moveTo>
                    <a:cubicBezTo>
                      <a:pt x="71152" y="1139"/>
                      <a:pt x="70853" y="1438"/>
                      <a:pt x="70614" y="1797"/>
                    </a:cubicBezTo>
                    <a:cubicBezTo>
                      <a:pt x="64693" y="9930"/>
                      <a:pt x="58353" y="16928"/>
                      <a:pt x="50758" y="23746"/>
                    </a:cubicBezTo>
                    <a:cubicBezTo>
                      <a:pt x="44179" y="29667"/>
                      <a:pt x="37541" y="34631"/>
                      <a:pt x="29945" y="39356"/>
                    </a:cubicBezTo>
                    <a:cubicBezTo>
                      <a:pt x="21153" y="44798"/>
                      <a:pt x="12541" y="49044"/>
                      <a:pt x="2793" y="52693"/>
                    </a:cubicBezTo>
                    <a:cubicBezTo>
                      <a:pt x="520" y="53530"/>
                      <a:pt x="-616" y="55982"/>
                      <a:pt x="341" y="58135"/>
                    </a:cubicBezTo>
                    <a:cubicBezTo>
                      <a:pt x="1238" y="60288"/>
                      <a:pt x="3869" y="61365"/>
                      <a:pt x="6142" y="60527"/>
                    </a:cubicBezTo>
                    <a:cubicBezTo>
                      <a:pt x="16488" y="56700"/>
                      <a:pt x="25579" y="52214"/>
                      <a:pt x="34909" y="46413"/>
                    </a:cubicBezTo>
                    <a:cubicBezTo>
                      <a:pt x="42983" y="41389"/>
                      <a:pt x="49981" y="36126"/>
                      <a:pt x="56918" y="29846"/>
                    </a:cubicBezTo>
                    <a:cubicBezTo>
                      <a:pt x="64992" y="22610"/>
                      <a:pt x="71631" y="15194"/>
                      <a:pt x="77970" y="6581"/>
                    </a:cubicBezTo>
                    <a:cubicBezTo>
                      <a:pt x="79346" y="4667"/>
                      <a:pt x="78868" y="2036"/>
                      <a:pt x="76834" y="720"/>
                    </a:cubicBezTo>
                    <a:cubicBezTo>
                      <a:pt x="75160" y="-297"/>
                      <a:pt x="73006" y="-237"/>
                      <a:pt x="71511" y="900"/>
                    </a:cubicBezTo>
                    <a:close/>
                  </a:path>
                </a:pathLst>
              </a:custGeom>
              <a:grpFill/>
              <a:ln w="5978" cap="flat">
                <a:noFill/>
                <a:prstDash val="solid"/>
                <a:miter/>
              </a:ln>
            </p:spPr>
            <p:txBody>
              <a:bodyPr rtlCol="0" anchor="ctr"/>
              <a:lstStyle/>
              <a:p>
                <a:endParaRPr lang="en-GB"/>
              </a:p>
            </p:txBody>
          </p:sp>
          <p:sp>
            <p:nvSpPr>
              <p:cNvPr id="109" name="Vrije vorm: vorm 108">
                <a:extLst>
                  <a:ext uri="{FF2B5EF4-FFF2-40B4-BE49-F238E27FC236}">
                    <a16:creationId xmlns:a16="http://schemas.microsoft.com/office/drawing/2014/main" id="{5C596F41-B70B-4211-B1CF-6798EAF283E8}"/>
                  </a:ext>
                </a:extLst>
              </p:cNvPr>
              <p:cNvSpPr/>
              <p:nvPr/>
            </p:nvSpPr>
            <p:spPr>
              <a:xfrm>
                <a:off x="4480492" y="1447888"/>
                <a:ext cx="105491" cy="80880"/>
              </a:xfrm>
              <a:custGeom>
                <a:avLst/>
                <a:gdLst>
                  <a:gd name="connsiteX0" fmla="*/ 98128 w 105491"/>
                  <a:gd name="connsiteY0" fmla="*/ 923 h 80880"/>
                  <a:gd name="connsiteX1" fmla="*/ 97052 w 105491"/>
                  <a:gd name="connsiteY1" fmla="*/ 2059 h 80880"/>
                  <a:gd name="connsiteX2" fmla="*/ 70976 w 105491"/>
                  <a:gd name="connsiteY2" fmla="*/ 34056 h 80880"/>
                  <a:gd name="connsiteX3" fmla="*/ 41969 w 105491"/>
                  <a:gd name="connsiteY3" fmla="*/ 55826 h 80880"/>
                  <a:gd name="connsiteX4" fmla="*/ 3095 w 105491"/>
                  <a:gd name="connsiteY4" fmla="*/ 72631 h 80880"/>
                  <a:gd name="connsiteX5" fmla="*/ 224 w 105491"/>
                  <a:gd name="connsiteY5" fmla="*/ 77894 h 80880"/>
                  <a:gd name="connsiteX6" fmla="*/ 5846 w 105491"/>
                  <a:gd name="connsiteY6" fmla="*/ 80705 h 80880"/>
                  <a:gd name="connsiteX7" fmla="*/ 46814 w 105491"/>
                  <a:gd name="connsiteY7" fmla="*/ 63002 h 80880"/>
                  <a:gd name="connsiteX8" fmla="*/ 77375 w 105491"/>
                  <a:gd name="connsiteY8" fmla="*/ 40036 h 80880"/>
                  <a:gd name="connsiteX9" fmla="*/ 104887 w 105491"/>
                  <a:gd name="connsiteY9" fmla="*/ 6365 h 80880"/>
                  <a:gd name="connsiteX10" fmla="*/ 103272 w 105491"/>
                  <a:gd name="connsiteY10" fmla="*/ 624 h 80880"/>
                  <a:gd name="connsiteX11" fmla="*/ 98128 w 105491"/>
                  <a:gd name="connsiteY11" fmla="*/ 923 h 8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491" h="80880">
                    <a:moveTo>
                      <a:pt x="98128" y="923"/>
                    </a:moveTo>
                    <a:cubicBezTo>
                      <a:pt x="97710" y="1222"/>
                      <a:pt x="97351" y="1640"/>
                      <a:pt x="97052" y="2059"/>
                    </a:cubicBezTo>
                    <a:cubicBezTo>
                      <a:pt x="89636" y="14080"/>
                      <a:pt x="81382" y="24247"/>
                      <a:pt x="70976" y="34056"/>
                    </a:cubicBezTo>
                    <a:cubicBezTo>
                      <a:pt x="62005" y="42548"/>
                      <a:pt x="52795" y="49486"/>
                      <a:pt x="41969" y="55826"/>
                    </a:cubicBezTo>
                    <a:cubicBezTo>
                      <a:pt x="29530" y="63182"/>
                      <a:pt x="17150" y="68565"/>
                      <a:pt x="3095" y="72631"/>
                    </a:cubicBezTo>
                    <a:cubicBezTo>
                      <a:pt x="762" y="73349"/>
                      <a:pt x="-553" y="75682"/>
                      <a:pt x="224" y="77894"/>
                    </a:cubicBezTo>
                    <a:cubicBezTo>
                      <a:pt x="942" y="80107"/>
                      <a:pt x="3454" y="81363"/>
                      <a:pt x="5846" y="80705"/>
                    </a:cubicBezTo>
                    <a:cubicBezTo>
                      <a:pt x="20678" y="76399"/>
                      <a:pt x="33656" y="70718"/>
                      <a:pt x="46814" y="63002"/>
                    </a:cubicBezTo>
                    <a:cubicBezTo>
                      <a:pt x="58177" y="56304"/>
                      <a:pt x="67866" y="49008"/>
                      <a:pt x="77375" y="40036"/>
                    </a:cubicBezTo>
                    <a:cubicBezTo>
                      <a:pt x="88320" y="29690"/>
                      <a:pt x="97052" y="18984"/>
                      <a:pt x="104887" y="6365"/>
                    </a:cubicBezTo>
                    <a:cubicBezTo>
                      <a:pt x="106143" y="4391"/>
                      <a:pt x="105365" y="1760"/>
                      <a:pt x="103272" y="624"/>
                    </a:cubicBezTo>
                    <a:cubicBezTo>
                      <a:pt x="101537" y="-333"/>
                      <a:pt x="99564" y="-154"/>
                      <a:pt x="98128" y="923"/>
                    </a:cubicBezTo>
                    <a:close/>
                  </a:path>
                </a:pathLst>
              </a:custGeom>
              <a:grpFill/>
              <a:ln w="5978" cap="flat">
                <a:noFill/>
                <a:prstDash val="solid"/>
                <a:miter/>
              </a:ln>
            </p:spPr>
            <p:txBody>
              <a:bodyPr rtlCol="0" anchor="ctr"/>
              <a:lstStyle/>
              <a:p>
                <a:endParaRPr lang="en-GB"/>
              </a:p>
            </p:txBody>
          </p:sp>
        </p:grpSp>
        <p:sp>
          <p:nvSpPr>
            <p:cNvPr id="88" name="Vrije vorm: vorm 87">
              <a:extLst>
                <a:ext uri="{FF2B5EF4-FFF2-40B4-BE49-F238E27FC236}">
                  <a16:creationId xmlns:a16="http://schemas.microsoft.com/office/drawing/2014/main" id="{D29A919F-CF05-4C86-93D1-4F74081CBA7C}"/>
                </a:ext>
              </a:extLst>
            </p:cNvPr>
            <p:cNvSpPr/>
            <p:nvPr/>
          </p:nvSpPr>
          <p:spPr>
            <a:xfrm>
              <a:off x="4420670" y="1391455"/>
              <a:ext cx="127867" cy="78168"/>
            </a:xfrm>
            <a:custGeom>
              <a:avLst/>
              <a:gdLst>
                <a:gd name="connsiteX0" fmla="*/ 85285 w 127867"/>
                <a:gd name="connsiteY0" fmla="*/ 4785 h 78168"/>
                <a:gd name="connsiteX1" fmla="*/ 80321 w 127867"/>
                <a:gd name="connsiteY1" fmla="*/ 21949 h 78168"/>
                <a:gd name="connsiteX2" fmla="*/ 127748 w 127867"/>
                <a:gd name="connsiteY2" fmla="*/ 26554 h 78168"/>
                <a:gd name="connsiteX3" fmla="*/ 127868 w 127867"/>
                <a:gd name="connsiteY3" fmla="*/ 37798 h 78168"/>
                <a:gd name="connsiteX4" fmla="*/ 73264 w 127867"/>
                <a:gd name="connsiteY4" fmla="*/ 47547 h 78168"/>
                <a:gd name="connsiteX5" fmla="*/ 41685 w 127867"/>
                <a:gd name="connsiteY5" fmla="*/ 78168 h 78168"/>
                <a:gd name="connsiteX6" fmla="*/ 27152 w 127867"/>
                <a:gd name="connsiteY6" fmla="*/ 74938 h 78168"/>
                <a:gd name="connsiteX7" fmla="*/ 39473 w 127867"/>
                <a:gd name="connsiteY7" fmla="*/ 46590 h 78168"/>
                <a:gd name="connsiteX8" fmla="*/ 0 w 127867"/>
                <a:gd name="connsiteY8" fmla="*/ 46889 h 78168"/>
                <a:gd name="connsiteX9" fmla="*/ 60 w 127867"/>
                <a:gd name="connsiteY9" fmla="*/ 35466 h 78168"/>
                <a:gd name="connsiteX10" fmla="*/ 50716 w 127867"/>
                <a:gd name="connsiteY10" fmla="*/ 22188 h 78168"/>
                <a:gd name="connsiteX11" fmla="*/ 77510 w 127867"/>
                <a:gd name="connsiteY11" fmla="*/ 0 h 78168"/>
                <a:gd name="connsiteX12" fmla="*/ 85285 w 127867"/>
                <a:gd name="connsiteY12" fmla="*/ 4785 h 7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867" h="78168">
                  <a:moveTo>
                    <a:pt x="85285" y="4785"/>
                  </a:moveTo>
                  <a:cubicBezTo>
                    <a:pt x="85285" y="4785"/>
                    <a:pt x="79125" y="18720"/>
                    <a:pt x="80321" y="21949"/>
                  </a:cubicBezTo>
                  <a:cubicBezTo>
                    <a:pt x="81517" y="25179"/>
                    <a:pt x="124878" y="27571"/>
                    <a:pt x="127748" y="26554"/>
                  </a:cubicBezTo>
                  <a:lnTo>
                    <a:pt x="127868" y="37798"/>
                  </a:lnTo>
                  <a:cubicBezTo>
                    <a:pt x="127868" y="37798"/>
                    <a:pt x="82594" y="41207"/>
                    <a:pt x="73264" y="47547"/>
                  </a:cubicBezTo>
                  <a:cubicBezTo>
                    <a:pt x="63934" y="53886"/>
                    <a:pt x="41685" y="78168"/>
                    <a:pt x="41685" y="78168"/>
                  </a:cubicBezTo>
                  <a:lnTo>
                    <a:pt x="27152" y="74938"/>
                  </a:lnTo>
                  <a:lnTo>
                    <a:pt x="39473" y="46590"/>
                  </a:lnTo>
                  <a:lnTo>
                    <a:pt x="0" y="46889"/>
                  </a:lnTo>
                  <a:lnTo>
                    <a:pt x="60" y="35466"/>
                  </a:lnTo>
                  <a:cubicBezTo>
                    <a:pt x="60" y="35466"/>
                    <a:pt x="36482" y="29186"/>
                    <a:pt x="50716" y="22188"/>
                  </a:cubicBezTo>
                  <a:cubicBezTo>
                    <a:pt x="65010" y="15131"/>
                    <a:pt x="77510" y="0"/>
                    <a:pt x="77510" y="0"/>
                  </a:cubicBezTo>
                  <a:lnTo>
                    <a:pt x="85285" y="4785"/>
                  </a:lnTo>
                  <a:close/>
                </a:path>
              </a:pathLst>
            </a:custGeom>
            <a:noFill/>
            <a:ln w="2259" cap="flat">
              <a:solidFill>
                <a:schemeClr val="bg1"/>
              </a:solidFill>
              <a:prstDash val="solid"/>
              <a:miter/>
            </a:ln>
          </p:spPr>
          <p:txBody>
            <a:bodyPr rtlCol="0" anchor="ctr"/>
            <a:lstStyle/>
            <a:p>
              <a:endParaRPr lang="en-GB"/>
            </a:p>
          </p:txBody>
        </p:sp>
        <p:sp>
          <p:nvSpPr>
            <p:cNvPr id="89" name="Vrije vorm: vorm 88">
              <a:extLst>
                <a:ext uri="{FF2B5EF4-FFF2-40B4-BE49-F238E27FC236}">
                  <a16:creationId xmlns:a16="http://schemas.microsoft.com/office/drawing/2014/main" id="{8A6DDED9-5B0B-44A4-B31F-65C11DB37FD4}"/>
                </a:ext>
              </a:extLst>
            </p:cNvPr>
            <p:cNvSpPr/>
            <p:nvPr/>
          </p:nvSpPr>
          <p:spPr>
            <a:xfrm>
              <a:off x="4495723" y="1382003"/>
              <a:ext cx="16396" cy="15256"/>
            </a:xfrm>
            <a:custGeom>
              <a:avLst/>
              <a:gdLst>
                <a:gd name="connsiteX0" fmla="*/ 423 w 16396"/>
                <a:gd name="connsiteY0" fmla="*/ 10469 h 15256"/>
                <a:gd name="connsiteX1" fmla="*/ 10770 w 16396"/>
                <a:gd name="connsiteY1" fmla="*/ 14715 h 15256"/>
                <a:gd name="connsiteX2" fmla="*/ 15973 w 16396"/>
                <a:gd name="connsiteY2" fmla="*/ 4787 h 15256"/>
                <a:gd name="connsiteX3" fmla="*/ 5627 w 16396"/>
                <a:gd name="connsiteY3" fmla="*/ 541 h 15256"/>
                <a:gd name="connsiteX4" fmla="*/ 423 w 16396"/>
                <a:gd name="connsiteY4" fmla="*/ 10469 h 15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6" h="15256">
                  <a:moveTo>
                    <a:pt x="423" y="10469"/>
                  </a:moveTo>
                  <a:cubicBezTo>
                    <a:pt x="1859" y="14356"/>
                    <a:pt x="6524" y="16270"/>
                    <a:pt x="10770" y="14715"/>
                  </a:cubicBezTo>
                  <a:cubicBezTo>
                    <a:pt x="15076" y="13160"/>
                    <a:pt x="17408" y="8675"/>
                    <a:pt x="15973" y="4787"/>
                  </a:cubicBezTo>
                  <a:cubicBezTo>
                    <a:pt x="14538" y="900"/>
                    <a:pt x="9873" y="-1014"/>
                    <a:pt x="5627" y="541"/>
                  </a:cubicBezTo>
                  <a:cubicBezTo>
                    <a:pt x="1320" y="2096"/>
                    <a:pt x="-1012" y="6582"/>
                    <a:pt x="423" y="10469"/>
                  </a:cubicBezTo>
                  <a:close/>
                </a:path>
              </a:pathLst>
            </a:custGeom>
            <a:grpFill/>
            <a:ln w="5978" cap="flat">
              <a:noFill/>
              <a:prstDash val="solid"/>
              <a:miter/>
            </a:ln>
          </p:spPr>
          <p:txBody>
            <a:bodyPr rtlCol="0" anchor="ctr"/>
            <a:lstStyle/>
            <a:p>
              <a:endParaRPr lang="en-GB"/>
            </a:p>
          </p:txBody>
        </p:sp>
        <p:sp>
          <p:nvSpPr>
            <p:cNvPr id="90" name="Vrije vorm: vorm 89">
              <a:extLst>
                <a:ext uri="{FF2B5EF4-FFF2-40B4-BE49-F238E27FC236}">
                  <a16:creationId xmlns:a16="http://schemas.microsoft.com/office/drawing/2014/main" id="{781F6D57-B694-4BED-8852-D95F89ADEC06}"/>
                </a:ext>
              </a:extLst>
            </p:cNvPr>
            <p:cNvSpPr/>
            <p:nvPr/>
          </p:nvSpPr>
          <p:spPr>
            <a:xfrm>
              <a:off x="4545492" y="1412119"/>
              <a:ext cx="25349" cy="23563"/>
            </a:xfrm>
            <a:custGeom>
              <a:avLst/>
              <a:gdLst>
                <a:gd name="connsiteX0" fmla="*/ 654 w 25349"/>
                <a:gd name="connsiteY0" fmla="*/ 16177 h 23563"/>
                <a:gd name="connsiteX1" fmla="*/ 16682 w 25349"/>
                <a:gd name="connsiteY1" fmla="*/ 22696 h 23563"/>
                <a:gd name="connsiteX2" fmla="*/ 24696 w 25349"/>
                <a:gd name="connsiteY2" fmla="*/ 7386 h 23563"/>
                <a:gd name="connsiteX3" fmla="*/ 8668 w 25349"/>
                <a:gd name="connsiteY3" fmla="*/ 867 h 23563"/>
                <a:gd name="connsiteX4" fmla="*/ 654 w 25349"/>
                <a:gd name="connsiteY4" fmla="*/ 16177 h 23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49" h="23563">
                  <a:moveTo>
                    <a:pt x="654" y="16177"/>
                  </a:moveTo>
                  <a:cubicBezTo>
                    <a:pt x="2866" y="22218"/>
                    <a:pt x="10043" y="25149"/>
                    <a:pt x="16682" y="22696"/>
                  </a:cubicBezTo>
                  <a:cubicBezTo>
                    <a:pt x="23320" y="20244"/>
                    <a:pt x="26909" y="13426"/>
                    <a:pt x="24696" y="7386"/>
                  </a:cubicBezTo>
                  <a:cubicBezTo>
                    <a:pt x="22483" y="1345"/>
                    <a:pt x="15306" y="-1585"/>
                    <a:pt x="8668" y="867"/>
                  </a:cubicBezTo>
                  <a:cubicBezTo>
                    <a:pt x="2029" y="3319"/>
                    <a:pt x="-1559" y="10137"/>
                    <a:pt x="654" y="16177"/>
                  </a:cubicBezTo>
                  <a:close/>
                </a:path>
              </a:pathLst>
            </a:custGeom>
            <a:grpFill/>
            <a:ln w="5978" cap="flat">
              <a:noFill/>
              <a:prstDash val="solid"/>
              <a:miter/>
            </a:ln>
          </p:spPr>
          <p:txBody>
            <a:bodyPr rtlCol="0" anchor="ctr"/>
            <a:lstStyle/>
            <a:p>
              <a:endParaRPr lang="en-GB"/>
            </a:p>
          </p:txBody>
        </p:sp>
        <p:sp>
          <p:nvSpPr>
            <p:cNvPr id="91" name="Vrije vorm: vorm 90">
              <a:extLst>
                <a:ext uri="{FF2B5EF4-FFF2-40B4-BE49-F238E27FC236}">
                  <a16:creationId xmlns:a16="http://schemas.microsoft.com/office/drawing/2014/main" id="{EA930972-C5DA-4316-846D-025EFC3F41F7}"/>
                </a:ext>
              </a:extLst>
            </p:cNvPr>
            <p:cNvSpPr/>
            <p:nvPr/>
          </p:nvSpPr>
          <p:spPr>
            <a:xfrm>
              <a:off x="4545081" y="1411985"/>
              <a:ext cx="24997" cy="20601"/>
            </a:xfrm>
            <a:custGeom>
              <a:avLst/>
              <a:gdLst>
                <a:gd name="connsiteX0" fmla="*/ 467 w 24997"/>
                <a:gd name="connsiteY0" fmla="*/ 14697 h 20601"/>
                <a:gd name="connsiteX1" fmla="*/ 15897 w 24997"/>
                <a:gd name="connsiteY1" fmla="*/ 19601 h 20601"/>
                <a:gd name="connsiteX2" fmla="*/ 24509 w 24997"/>
                <a:gd name="connsiteY2" fmla="*/ 5905 h 20601"/>
                <a:gd name="connsiteX3" fmla="*/ 9079 w 24997"/>
                <a:gd name="connsiteY3" fmla="*/ 1001 h 20601"/>
                <a:gd name="connsiteX4" fmla="*/ 467 w 24997"/>
                <a:gd name="connsiteY4" fmla="*/ 14697 h 20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97" h="20601">
                  <a:moveTo>
                    <a:pt x="467" y="14697"/>
                  </a:moveTo>
                  <a:cubicBezTo>
                    <a:pt x="2321" y="19840"/>
                    <a:pt x="9259" y="22053"/>
                    <a:pt x="15897" y="19601"/>
                  </a:cubicBezTo>
                  <a:cubicBezTo>
                    <a:pt x="22536" y="17149"/>
                    <a:pt x="26423" y="11048"/>
                    <a:pt x="24509" y="5905"/>
                  </a:cubicBezTo>
                  <a:cubicBezTo>
                    <a:pt x="22655" y="762"/>
                    <a:pt x="15718" y="-1451"/>
                    <a:pt x="9079" y="1001"/>
                  </a:cubicBezTo>
                  <a:cubicBezTo>
                    <a:pt x="2440" y="3453"/>
                    <a:pt x="-1387" y="9553"/>
                    <a:pt x="467" y="14697"/>
                  </a:cubicBezTo>
                  <a:close/>
                </a:path>
              </a:pathLst>
            </a:custGeom>
            <a:grpFill/>
            <a:ln w="5978" cap="flat">
              <a:noFill/>
              <a:prstDash val="solid"/>
              <a:miter/>
            </a:ln>
          </p:spPr>
          <p:txBody>
            <a:bodyPr rtlCol="0" anchor="ctr"/>
            <a:lstStyle/>
            <a:p>
              <a:endParaRPr lang="en-GB"/>
            </a:p>
          </p:txBody>
        </p:sp>
        <p:sp>
          <p:nvSpPr>
            <p:cNvPr id="92" name="Vrije vorm: vorm 91">
              <a:extLst>
                <a:ext uri="{FF2B5EF4-FFF2-40B4-BE49-F238E27FC236}">
                  <a16:creationId xmlns:a16="http://schemas.microsoft.com/office/drawing/2014/main" id="{F5A109D7-BF5C-40B6-81DD-724C9DA939BF}"/>
                </a:ext>
              </a:extLst>
            </p:cNvPr>
            <p:cNvSpPr/>
            <p:nvPr/>
          </p:nvSpPr>
          <p:spPr>
            <a:xfrm>
              <a:off x="4436262" y="1461360"/>
              <a:ext cx="32199" cy="30844"/>
            </a:xfrm>
            <a:custGeom>
              <a:avLst/>
              <a:gdLst>
                <a:gd name="connsiteX0" fmla="*/ 28178 w 32199"/>
                <a:gd name="connsiteY0" fmla="*/ 11011 h 30844"/>
                <a:gd name="connsiteX1" fmla="*/ 20122 w 32199"/>
                <a:gd name="connsiteY1" fmla="*/ 26433 h 30844"/>
                <a:gd name="connsiteX2" fmla="*/ 4022 w 32199"/>
                <a:gd name="connsiteY2" fmla="*/ 19834 h 30844"/>
                <a:gd name="connsiteX3" fmla="*/ 12078 w 32199"/>
                <a:gd name="connsiteY3" fmla="*/ 4412 h 30844"/>
                <a:gd name="connsiteX4" fmla="*/ 28178 w 32199"/>
                <a:gd name="connsiteY4" fmla="*/ 11011 h 30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9" h="30844">
                  <a:moveTo>
                    <a:pt x="28178" y="11011"/>
                  </a:moveTo>
                  <a:cubicBezTo>
                    <a:pt x="30399" y="17092"/>
                    <a:pt x="26792" y="23997"/>
                    <a:pt x="20122" y="26433"/>
                  </a:cubicBezTo>
                  <a:cubicBezTo>
                    <a:pt x="13451" y="28870"/>
                    <a:pt x="6243" y="25915"/>
                    <a:pt x="4022" y="19834"/>
                  </a:cubicBezTo>
                  <a:cubicBezTo>
                    <a:pt x="1801" y="13753"/>
                    <a:pt x="5407" y="6848"/>
                    <a:pt x="12078" y="4412"/>
                  </a:cubicBezTo>
                  <a:cubicBezTo>
                    <a:pt x="18749" y="1975"/>
                    <a:pt x="25957" y="4930"/>
                    <a:pt x="28178" y="11011"/>
                  </a:cubicBezTo>
                  <a:close/>
                </a:path>
              </a:pathLst>
            </a:custGeom>
            <a:grpFill/>
            <a:ln w="5978" cap="flat">
              <a:noFill/>
              <a:prstDash val="solid"/>
              <a:miter/>
            </a:ln>
          </p:spPr>
          <p:txBody>
            <a:bodyPr rtlCol="0" anchor="ctr"/>
            <a:lstStyle/>
            <a:p>
              <a:endParaRPr lang="en-GB"/>
            </a:p>
          </p:txBody>
        </p:sp>
        <p:sp>
          <p:nvSpPr>
            <p:cNvPr id="93" name="Vrije vorm: vorm 92">
              <a:extLst>
                <a:ext uri="{FF2B5EF4-FFF2-40B4-BE49-F238E27FC236}">
                  <a16:creationId xmlns:a16="http://schemas.microsoft.com/office/drawing/2014/main" id="{9CDA1F89-165E-494F-97B2-8DD51E1D8517}"/>
                </a:ext>
              </a:extLst>
            </p:cNvPr>
            <p:cNvSpPr/>
            <p:nvPr/>
          </p:nvSpPr>
          <p:spPr>
            <a:xfrm>
              <a:off x="4438520" y="1461351"/>
              <a:ext cx="29952" cy="30024"/>
            </a:xfrm>
            <a:custGeom>
              <a:avLst/>
              <a:gdLst>
                <a:gd name="connsiteX0" fmla="*/ 25931 w 29952"/>
                <a:gd name="connsiteY0" fmla="*/ 11011 h 30024"/>
                <a:gd name="connsiteX1" fmla="*/ 18998 w 29952"/>
                <a:gd name="connsiteY1" fmla="*/ 26023 h 30024"/>
                <a:gd name="connsiteX2" fmla="*/ 4022 w 29952"/>
                <a:gd name="connsiteY2" fmla="*/ 19013 h 30024"/>
                <a:gd name="connsiteX3" fmla="*/ 10955 w 29952"/>
                <a:gd name="connsiteY3" fmla="*/ 4001 h 30024"/>
                <a:gd name="connsiteX4" fmla="*/ 25931 w 29952"/>
                <a:gd name="connsiteY4" fmla="*/ 11011 h 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52" h="30024">
                  <a:moveTo>
                    <a:pt x="25931" y="11011"/>
                  </a:moveTo>
                  <a:cubicBezTo>
                    <a:pt x="28152" y="17092"/>
                    <a:pt x="25048" y="23813"/>
                    <a:pt x="18998" y="26023"/>
                  </a:cubicBezTo>
                  <a:cubicBezTo>
                    <a:pt x="12948" y="28233"/>
                    <a:pt x="6243" y="25094"/>
                    <a:pt x="4022" y="19013"/>
                  </a:cubicBezTo>
                  <a:cubicBezTo>
                    <a:pt x="1801" y="12932"/>
                    <a:pt x="4904" y="6211"/>
                    <a:pt x="10955" y="4001"/>
                  </a:cubicBezTo>
                  <a:cubicBezTo>
                    <a:pt x="17005" y="1791"/>
                    <a:pt x="23710" y="4930"/>
                    <a:pt x="25931" y="11011"/>
                  </a:cubicBezTo>
                  <a:close/>
                </a:path>
              </a:pathLst>
            </a:custGeom>
            <a:grpFill/>
            <a:ln w="5978" cap="flat">
              <a:noFill/>
              <a:prstDash val="solid"/>
              <a:miter/>
            </a:ln>
          </p:spPr>
          <p:txBody>
            <a:bodyPr rtlCol="0" anchor="ctr"/>
            <a:lstStyle/>
            <a:p>
              <a:endParaRPr lang="en-GB"/>
            </a:p>
          </p:txBody>
        </p:sp>
        <p:sp>
          <p:nvSpPr>
            <p:cNvPr id="94" name="Vrije vorm: vorm 93">
              <a:extLst>
                <a:ext uri="{FF2B5EF4-FFF2-40B4-BE49-F238E27FC236}">
                  <a16:creationId xmlns:a16="http://schemas.microsoft.com/office/drawing/2014/main" id="{23538C4C-D51D-4AEF-8956-5502F718E299}"/>
                </a:ext>
              </a:extLst>
            </p:cNvPr>
            <p:cNvSpPr/>
            <p:nvPr/>
          </p:nvSpPr>
          <p:spPr>
            <a:xfrm>
              <a:off x="4401223" y="1422541"/>
              <a:ext cx="26913" cy="25700"/>
            </a:xfrm>
            <a:custGeom>
              <a:avLst/>
              <a:gdLst>
                <a:gd name="connsiteX0" fmla="*/ 23568 w 26913"/>
                <a:gd name="connsiteY0" fmla="*/ 9157 h 25700"/>
                <a:gd name="connsiteX1" fmla="*/ 16801 w 26913"/>
                <a:gd name="connsiteY1" fmla="*/ 22007 h 25700"/>
                <a:gd name="connsiteX2" fmla="*/ 3345 w 26913"/>
                <a:gd name="connsiteY2" fmla="*/ 16544 h 25700"/>
                <a:gd name="connsiteX3" fmla="*/ 10112 w 26913"/>
                <a:gd name="connsiteY3" fmla="*/ 3694 h 25700"/>
                <a:gd name="connsiteX4" fmla="*/ 23568 w 26913"/>
                <a:gd name="connsiteY4" fmla="*/ 9157 h 2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3" h="25700">
                  <a:moveTo>
                    <a:pt x="23568" y="9157"/>
                  </a:moveTo>
                  <a:cubicBezTo>
                    <a:pt x="25416" y="14214"/>
                    <a:pt x="22386" y="19967"/>
                    <a:pt x="16801" y="22007"/>
                  </a:cubicBezTo>
                  <a:cubicBezTo>
                    <a:pt x="11217" y="24047"/>
                    <a:pt x="5192" y="21601"/>
                    <a:pt x="3345" y="16544"/>
                  </a:cubicBezTo>
                  <a:cubicBezTo>
                    <a:pt x="1498" y="11487"/>
                    <a:pt x="4527" y="5733"/>
                    <a:pt x="10112" y="3694"/>
                  </a:cubicBezTo>
                  <a:cubicBezTo>
                    <a:pt x="15697" y="1654"/>
                    <a:pt x="21721" y="4100"/>
                    <a:pt x="23568" y="9157"/>
                  </a:cubicBezTo>
                  <a:close/>
                </a:path>
              </a:pathLst>
            </a:custGeom>
            <a:grpFill/>
            <a:ln w="5978" cap="flat">
              <a:noFill/>
              <a:prstDash val="solid"/>
              <a:miter/>
            </a:ln>
          </p:spPr>
          <p:txBody>
            <a:bodyPr rtlCol="0" anchor="ctr"/>
            <a:lstStyle/>
            <a:p>
              <a:endParaRPr lang="en-GB"/>
            </a:p>
          </p:txBody>
        </p:sp>
        <p:sp>
          <p:nvSpPr>
            <p:cNvPr id="95" name="Vrije vorm: vorm 94">
              <a:extLst>
                <a:ext uri="{FF2B5EF4-FFF2-40B4-BE49-F238E27FC236}">
                  <a16:creationId xmlns:a16="http://schemas.microsoft.com/office/drawing/2014/main" id="{BDB74E5C-B61E-4CC6-9BCC-859EA37E0919}"/>
                </a:ext>
              </a:extLst>
            </p:cNvPr>
            <p:cNvSpPr/>
            <p:nvPr/>
          </p:nvSpPr>
          <p:spPr>
            <a:xfrm>
              <a:off x="4405564" y="1425377"/>
              <a:ext cx="19424" cy="18039"/>
            </a:xfrm>
            <a:custGeom>
              <a:avLst/>
              <a:gdLst>
                <a:gd name="connsiteX0" fmla="*/ 513 w 19424"/>
                <a:gd name="connsiteY0" fmla="*/ 12369 h 18039"/>
                <a:gd name="connsiteX1" fmla="*/ 12774 w 19424"/>
                <a:gd name="connsiteY1" fmla="*/ 17393 h 18039"/>
                <a:gd name="connsiteX2" fmla="*/ 18934 w 19424"/>
                <a:gd name="connsiteY2" fmla="*/ 5670 h 18039"/>
                <a:gd name="connsiteX3" fmla="*/ 6673 w 19424"/>
                <a:gd name="connsiteY3" fmla="*/ 647 h 18039"/>
                <a:gd name="connsiteX4" fmla="*/ 513 w 19424"/>
                <a:gd name="connsiteY4" fmla="*/ 12369 h 18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4" h="18039">
                  <a:moveTo>
                    <a:pt x="513" y="12369"/>
                  </a:moveTo>
                  <a:cubicBezTo>
                    <a:pt x="2188" y="16974"/>
                    <a:pt x="7690" y="19247"/>
                    <a:pt x="12774" y="17393"/>
                  </a:cubicBezTo>
                  <a:cubicBezTo>
                    <a:pt x="17857" y="15539"/>
                    <a:pt x="20609" y="10276"/>
                    <a:pt x="18934" y="5670"/>
                  </a:cubicBezTo>
                  <a:cubicBezTo>
                    <a:pt x="17259" y="1065"/>
                    <a:pt x="11757" y="-1207"/>
                    <a:pt x="6673" y="647"/>
                  </a:cubicBezTo>
                  <a:cubicBezTo>
                    <a:pt x="1590" y="2441"/>
                    <a:pt x="-1221" y="7704"/>
                    <a:pt x="513" y="12369"/>
                  </a:cubicBezTo>
                  <a:close/>
                </a:path>
              </a:pathLst>
            </a:custGeom>
            <a:grpFill/>
            <a:ln w="5978" cap="flat">
              <a:noFill/>
              <a:prstDash val="solid"/>
              <a:miter/>
            </a:ln>
          </p:spPr>
          <p:txBody>
            <a:bodyPr rtlCol="0" anchor="ctr"/>
            <a:lstStyle/>
            <a:p>
              <a:endParaRPr lang="en-GB"/>
            </a:p>
          </p:txBody>
        </p:sp>
        <p:sp>
          <p:nvSpPr>
            <p:cNvPr id="96" name="Vrije vorm: vorm 95">
              <a:extLst>
                <a:ext uri="{FF2B5EF4-FFF2-40B4-BE49-F238E27FC236}">
                  <a16:creationId xmlns:a16="http://schemas.microsoft.com/office/drawing/2014/main" id="{967343ED-833E-4CF9-9CE7-63BF39C87A13}"/>
                </a:ext>
              </a:extLst>
            </p:cNvPr>
            <p:cNvSpPr/>
            <p:nvPr/>
          </p:nvSpPr>
          <p:spPr>
            <a:xfrm>
              <a:off x="4533461" y="1397295"/>
              <a:ext cx="50362" cy="26814"/>
            </a:xfrm>
            <a:custGeom>
              <a:avLst/>
              <a:gdLst>
                <a:gd name="connsiteX0" fmla="*/ 543 w 50362"/>
                <a:gd name="connsiteY0" fmla="*/ 25917 h 26814"/>
                <a:gd name="connsiteX1" fmla="*/ 962 w 50362"/>
                <a:gd name="connsiteY1" fmla="*/ 26814 h 26814"/>
                <a:gd name="connsiteX2" fmla="*/ 21416 w 50362"/>
                <a:gd name="connsiteY2" fmla="*/ 6121 h 26814"/>
                <a:gd name="connsiteX3" fmla="*/ 50363 w 50362"/>
                <a:gd name="connsiteY3" fmla="*/ 8753 h 26814"/>
                <a:gd name="connsiteX4" fmla="*/ 50123 w 50362"/>
                <a:gd name="connsiteY4" fmla="*/ 7796 h 26814"/>
                <a:gd name="connsiteX5" fmla="*/ 20160 w 50362"/>
                <a:gd name="connsiteY5" fmla="*/ 2652 h 26814"/>
                <a:gd name="connsiteX6" fmla="*/ 543 w 50362"/>
                <a:gd name="connsiteY6" fmla="*/ 25917 h 2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62" h="26814">
                  <a:moveTo>
                    <a:pt x="543" y="25917"/>
                  </a:moveTo>
                  <a:cubicBezTo>
                    <a:pt x="663" y="26216"/>
                    <a:pt x="782" y="26515"/>
                    <a:pt x="962" y="26814"/>
                  </a:cubicBezTo>
                  <a:cubicBezTo>
                    <a:pt x="-593" y="19996"/>
                    <a:pt x="8258" y="10965"/>
                    <a:pt x="21416" y="6121"/>
                  </a:cubicBezTo>
                  <a:cubicBezTo>
                    <a:pt x="34574" y="1336"/>
                    <a:pt x="47193" y="2533"/>
                    <a:pt x="50363" y="8753"/>
                  </a:cubicBezTo>
                  <a:cubicBezTo>
                    <a:pt x="50303" y="8454"/>
                    <a:pt x="50183" y="8095"/>
                    <a:pt x="50123" y="7796"/>
                  </a:cubicBezTo>
                  <a:cubicBezTo>
                    <a:pt x="47253" y="-39"/>
                    <a:pt x="33856" y="-2372"/>
                    <a:pt x="20160" y="2652"/>
                  </a:cubicBezTo>
                  <a:cubicBezTo>
                    <a:pt x="6464" y="7676"/>
                    <a:pt x="-2328" y="18023"/>
                    <a:pt x="543" y="25917"/>
                  </a:cubicBezTo>
                  <a:close/>
                </a:path>
              </a:pathLst>
            </a:custGeom>
            <a:grpFill/>
            <a:ln w="5978" cap="flat">
              <a:noFill/>
              <a:prstDash val="solid"/>
              <a:miter/>
            </a:ln>
          </p:spPr>
          <p:txBody>
            <a:bodyPr rtlCol="0" anchor="ctr"/>
            <a:lstStyle/>
            <a:p>
              <a:endParaRPr lang="en-GB"/>
            </a:p>
          </p:txBody>
        </p:sp>
        <p:sp>
          <p:nvSpPr>
            <p:cNvPr id="98" name="Vrije vorm: vorm 97">
              <a:extLst>
                <a:ext uri="{FF2B5EF4-FFF2-40B4-BE49-F238E27FC236}">
                  <a16:creationId xmlns:a16="http://schemas.microsoft.com/office/drawing/2014/main" id="{B53A7BBC-D984-4B84-96B9-E90912E59D7E}"/>
                </a:ext>
              </a:extLst>
            </p:cNvPr>
            <p:cNvSpPr/>
            <p:nvPr/>
          </p:nvSpPr>
          <p:spPr>
            <a:xfrm>
              <a:off x="4534246" y="1400481"/>
              <a:ext cx="49904" cy="30488"/>
            </a:xfrm>
            <a:custGeom>
              <a:avLst/>
              <a:gdLst>
                <a:gd name="connsiteX0" fmla="*/ 177 w 49904"/>
                <a:gd name="connsiteY0" fmla="*/ 23569 h 30488"/>
                <a:gd name="connsiteX1" fmla="*/ 27210 w 49904"/>
                <a:gd name="connsiteY1" fmla="*/ 28712 h 30488"/>
                <a:gd name="connsiteX2" fmla="*/ 29781 w 49904"/>
                <a:gd name="connsiteY2" fmla="*/ 27875 h 30488"/>
                <a:gd name="connsiteX3" fmla="*/ 32294 w 49904"/>
                <a:gd name="connsiteY3" fmla="*/ 26918 h 30488"/>
                <a:gd name="connsiteX4" fmla="*/ 49637 w 49904"/>
                <a:gd name="connsiteY4" fmla="*/ 5567 h 30488"/>
                <a:gd name="connsiteX5" fmla="*/ 20691 w 49904"/>
                <a:gd name="connsiteY5" fmla="*/ 2935 h 30488"/>
                <a:gd name="connsiteX6" fmla="*/ 177 w 49904"/>
                <a:gd name="connsiteY6" fmla="*/ 23569 h 3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04" h="30488">
                  <a:moveTo>
                    <a:pt x="177" y="23569"/>
                  </a:moveTo>
                  <a:cubicBezTo>
                    <a:pt x="3466" y="30267"/>
                    <a:pt x="14949" y="32360"/>
                    <a:pt x="27210" y="28712"/>
                  </a:cubicBezTo>
                  <a:cubicBezTo>
                    <a:pt x="28047" y="28413"/>
                    <a:pt x="28944" y="28174"/>
                    <a:pt x="29781" y="27875"/>
                  </a:cubicBezTo>
                  <a:cubicBezTo>
                    <a:pt x="30619" y="27576"/>
                    <a:pt x="31456" y="27217"/>
                    <a:pt x="32294" y="26918"/>
                  </a:cubicBezTo>
                  <a:cubicBezTo>
                    <a:pt x="44016" y="21834"/>
                    <a:pt x="51432" y="12803"/>
                    <a:pt x="49637" y="5567"/>
                  </a:cubicBezTo>
                  <a:cubicBezTo>
                    <a:pt x="46468" y="-653"/>
                    <a:pt x="33848" y="-1849"/>
                    <a:pt x="20691" y="2935"/>
                  </a:cubicBezTo>
                  <a:cubicBezTo>
                    <a:pt x="7473" y="7720"/>
                    <a:pt x="-1378" y="16810"/>
                    <a:pt x="177" y="23569"/>
                  </a:cubicBezTo>
                  <a:close/>
                </a:path>
              </a:pathLst>
            </a:custGeom>
            <a:noFill/>
            <a:ln w="4518" cap="flat">
              <a:solidFill>
                <a:schemeClr val="bg1"/>
              </a:solidFill>
              <a:prstDash val="solid"/>
              <a:miter/>
            </a:ln>
          </p:spPr>
          <p:txBody>
            <a:bodyPr rtlCol="0" anchor="ctr"/>
            <a:lstStyle/>
            <a:p>
              <a:endParaRPr lang="en-GB"/>
            </a:p>
          </p:txBody>
        </p:sp>
        <p:sp>
          <p:nvSpPr>
            <p:cNvPr id="99" name="Vrije vorm: vorm 98">
              <a:extLst>
                <a:ext uri="{FF2B5EF4-FFF2-40B4-BE49-F238E27FC236}">
                  <a16:creationId xmlns:a16="http://schemas.microsoft.com/office/drawing/2014/main" id="{599DE943-7244-4928-8D7E-2A85014A960C}"/>
                </a:ext>
              </a:extLst>
            </p:cNvPr>
            <p:cNvSpPr/>
            <p:nvPr/>
          </p:nvSpPr>
          <p:spPr>
            <a:xfrm>
              <a:off x="4479687" y="1374134"/>
              <a:ext cx="43971" cy="21986"/>
            </a:xfrm>
            <a:custGeom>
              <a:avLst/>
              <a:gdLst>
                <a:gd name="connsiteX0" fmla="*/ 372 w 43971"/>
                <a:gd name="connsiteY0" fmla="*/ 21508 h 21986"/>
                <a:gd name="connsiteX1" fmla="*/ 611 w 43971"/>
                <a:gd name="connsiteY1" fmla="*/ 21986 h 21986"/>
                <a:gd name="connsiteX2" fmla="*/ 18733 w 43971"/>
                <a:gd name="connsiteY2" fmla="*/ 4403 h 21986"/>
                <a:gd name="connsiteX3" fmla="*/ 43971 w 43971"/>
                <a:gd name="connsiteY3" fmla="*/ 6197 h 21986"/>
                <a:gd name="connsiteX4" fmla="*/ 43792 w 43971"/>
                <a:gd name="connsiteY4" fmla="*/ 5659 h 21986"/>
                <a:gd name="connsiteX5" fmla="*/ 18015 w 43971"/>
                <a:gd name="connsiteY5" fmla="*/ 2549 h 21986"/>
                <a:gd name="connsiteX6" fmla="*/ 372 w 43971"/>
                <a:gd name="connsiteY6" fmla="*/ 21508 h 2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71" h="21986">
                  <a:moveTo>
                    <a:pt x="372" y="21508"/>
                  </a:moveTo>
                  <a:cubicBezTo>
                    <a:pt x="432" y="21687"/>
                    <a:pt x="491" y="21867"/>
                    <a:pt x="611" y="21986"/>
                  </a:cubicBezTo>
                  <a:cubicBezTo>
                    <a:pt x="-884" y="16424"/>
                    <a:pt x="7070" y="8649"/>
                    <a:pt x="18733" y="4403"/>
                  </a:cubicBezTo>
                  <a:cubicBezTo>
                    <a:pt x="30395" y="157"/>
                    <a:pt x="41459" y="934"/>
                    <a:pt x="43971" y="6197"/>
                  </a:cubicBezTo>
                  <a:cubicBezTo>
                    <a:pt x="43971" y="6018"/>
                    <a:pt x="43852" y="5838"/>
                    <a:pt x="43792" y="5659"/>
                  </a:cubicBezTo>
                  <a:cubicBezTo>
                    <a:pt x="41579" y="-441"/>
                    <a:pt x="30036" y="-1817"/>
                    <a:pt x="18015" y="2549"/>
                  </a:cubicBezTo>
                  <a:cubicBezTo>
                    <a:pt x="6053" y="6915"/>
                    <a:pt x="-1841" y="15407"/>
                    <a:pt x="372" y="21508"/>
                  </a:cubicBezTo>
                  <a:close/>
                </a:path>
              </a:pathLst>
            </a:custGeom>
            <a:grpFill/>
            <a:ln w="5978" cap="flat">
              <a:noFill/>
              <a:prstDash val="solid"/>
              <a:miter/>
            </a:ln>
          </p:spPr>
          <p:txBody>
            <a:bodyPr rtlCol="0" anchor="ctr"/>
            <a:lstStyle/>
            <a:p>
              <a:endParaRPr lang="en-GB"/>
            </a:p>
          </p:txBody>
        </p:sp>
        <p:sp>
          <p:nvSpPr>
            <p:cNvPr id="100" name="Vrije vorm: vorm 99">
              <a:extLst>
                <a:ext uri="{FF2B5EF4-FFF2-40B4-BE49-F238E27FC236}">
                  <a16:creationId xmlns:a16="http://schemas.microsoft.com/office/drawing/2014/main" id="{1956E7D5-56BF-4F2B-9C67-4BFEF9C591CD}"/>
                </a:ext>
              </a:extLst>
            </p:cNvPr>
            <p:cNvSpPr/>
            <p:nvPr/>
          </p:nvSpPr>
          <p:spPr>
            <a:xfrm>
              <a:off x="4480117" y="1375762"/>
              <a:ext cx="43748" cy="25565"/>
            </a:xfrm>
            <a:custGeom>
              <a:avLst/>
              <a:gdLst>
                <a:gd name="connsiteX0" fmla="*/ 180 w 43748"/>
                <a:gd name="connsiteY0" fmla="*/ 20358 h 25565"/>
                <a:gd name="connsiteX1" fmla="*/ 23445 w 43748"/>
                <a:gd name="connsiteY1" fmla="*/ 23767 h 25565"/>
                <a:gd name="connsiteX2" fmla="*/ 25718 w 43748"/>
                <a:gd name="connsiteY2" fmla="*/ 22990 h 25565"/>
                <a:gd name="connsiteX3" fmla="*/ 27931 w 43748"/>
                <a:gd name="connsiteY3" fmla="*/ 22092 h 25565"/>
                <a:gd name="connsiteX4" fmla="*/ 43541 w 43748"/>
                <a:gd name="connsiteY4" fmla="*/ 4509 h 25565"/>
                <a:gd name="connsiteX5" fmla="*/ 18302 w 43748"/>
                <a:gd name="connsiteY5" fmla="*/ 2715 h 25565"/>
                <a:gd name="connsiteX6" fmla="*/ 180 w 43748"/>
                <a:gd name="connsiteY6" fmla="*/ 20358 h 2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48" h="25565">
                  <a:moveTo>
                    <a:pt x="180" y="20358"/>
                  </a:moveTo>
                  <a:cubicBezTo>
                    <a:pt x="2693" y="25681"/>
                    <a:pt x="12620" y="27116"/>
                    <a:pt x="23445" y="23767"/>
                  </a:cubicBezTo>
                  <a:cubicBezTo>
                    <a:pt x="24223" y="23528"/>
                    <a:pt x="24941" y="23289"/>
                    <a:pt x="25718" y="22990"/>
                  </a:cubicBezTo>
                  <a:cubicBezTo>
                    <a:pt x="26436" y="22691"/>
                    <a:pt x="27213" y="22392"/>
                    <a:pt x="27931" y="22092"/>
                  </a:cubicBezTo>
                  <a:cubicBezTo>
                    <a:pt x="38337" y="17667"/>
                    <a:pt x="45036" y="10191"/>
                    <a:pt x="43541" y="4509"/>
                  </a:cubicBezTo>
                  <a:cubicBezTo>
                    <a:pt x="41089" y="-694"/>
                    <a:pt x="30024" y="-1531"/>
                    <a:pt x="18302" y="2715"/>
                  </a:cubicBezTo>
                  <a:cubicBezTo>
                    <a:pt x="6640" y="7021"/>
                    <a:pt x="-1315" y="14796"/>
                    <a:pt x="180" y="20358"/>
                  </a:cubicBezTo>
                  <a:close/>
                </a:path>
              </a:pathLst>
            </a:custGeom>
            <a:noFill/>
            <a:ln w="4518" cap="flat">
              <a:solidFill>
                <a:schemeClr val="bg1"/>
              </a:solidFill>
              <a:prstDash val="solid"/>
              <a:miter/>
            </a:ln>
          </p:spPr>
          <p:txBody>
            <a:bodyPr rtlCol="0" anchor="ctr"/>
            <a:lstStyle/>
            <a:p>
              <a:endParaRPr lang="en-GB"/>
            </a:p>
          </p:txBody>
        </p:sp>
        <p:sp>
          <p:nvSpPr>
            <p:cNvPr id="101" name="Vrije vorm: vorm 100">
              <a:extLst>
                <a:ext uri="{FF2B5EF4-FFF2-40B4-BE49-F238E27FC236}">
                  <a16:creationId xmlns:a16="http://schemas.microsoft.com/office/drawing/2014/main" id="{F7C1A02D-CDFC-4A6B-9AB8-44CADD7F4435}"/>
                </a:ext>
              </a:extLst>
            </p:cNvPr>
            <p:cNvSpPr/>
            <p:nvPr/>
          </p:nvSpPr>
          <p:spPr>
            <a:xfrm>
              <a:off x="4388242" y="1416856"/>
              <a:ext cx="46722" cy="22265"/>
            </a:xfrm>
            <a:custGeom>
              <a:avLst/>
              <a:gdLst>
                <a:gd name="connsiteX0" fmla="*/ 312 w 46722"/>
                <a:gd name="connsiteY0" fmla="*/ 21727 h 22265"/>
                <a:gd name="connsiteX1" fmla="*/ 611 w 46722"/>
                <a:gd name="connsiteY1" fmla="*/ 22266 h 22265"/>
                <a:gd name="connsiteX2" fmla="*/ 20467 w 46722"/>
                <a:gd name="connsiteY2" fmla="*/ 5161 h 22265"/>
                <a:gd name="connsiteX3" fmla="*/ 46722 w 46722"/>
                <a:gd name="connsiteY3" fmla="*/ 5460 h 22265"/>
                <a:gd name="connsiteX4" fmla="*/ 46602 w 46722"/>
                <a:gd name="connsiteY4" fmla="*/ 4862 h 22265"/>
                <a:gd name="connsiteX5" fmla="*/ 19749 w 46722"/>
                <a:gd name="connsiteY5" fmla="*/ 3067 h 22265"/>
                <a:gd name="connsiteX6" fmla="*/ 312 w 46722"/>
                <a:gd name="connsiteY6" fmla="*/ 21727 h 2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722" h="22265">
                  <a:moveTo>
                    <a:pt x="312" y="21727"/>
                  </a:moveTo>
                  <a:cubicBezTo>
                    <a:pt x="372" y="21907"/>
                    <a:pt x="431" y="22086"/>
                    <a:pt x="611" y="22266"/>
                  </a:cubicBezTo>
                  <a:cubicBezTo>
                    <a:pt x="-526" y="17242"/>
                    <a:pt x="8146" y="9646"/>
                    <a:pt x="20467" y="5161"/>
                  </a:cubicBezTo>
                  <a:cubicBezTo>
                    <a:pt x="32847" y="615"/>
                    <a:pt x="44330" y="795"/>
                    <a:pt x="46722" y="5460"/>
                  </a:cubicBezTo>
                  <a:cubicBezTo>
                    <a:pt x="46722" y="5221"/>
                    <a:pt x="46662" y="5041"/>
                    <a:pt x="46602" y="4862"/>
                  </a:cubicBezTo>
                  <a:cubicBezTo>
                    <a:pt x="44509" y="-820"/>
                    <a:pt x="32488" y="-1657"/>
                    <a:pt x="19749" y="3067"/>
                  </a:cubicBezTo>
                  <a:cubicBezTo>
                    <a:pt x="6890" y="7673"/>
                    <a:pt x="-1782" y="16046"/>
                    <a:pt x="312" y="21727"/>
                  </a:cubicBezTo>
                  <a:close/>
                </a:path>
              </a:pathLst>
            </a:custGeom>
            <a:grpFill/>
            <a:ln w="5978" cap="flat">
              <a:noFill/>
              <a:prstDash val="solid"/>
              <a:miter/>
            </a:ln>
          </p:spPr>
          <p:txBody>
            <a:bodyPr rtlCol="0" anchor="ctr"/>
            <a:lstStyle/>
            <a:p>
              <a:endParaRPr lang="en-GB"/>
            </a:p>
          </p:txBody>
        </p:sp>
        <p:sp>
          <p:nvSpPr>
            <p:cNvPr id="102" name="Vrije vorm: vorm 101">
              <a:extLst>
                <a:ext uri="{FF2B5EF4-FFF2-40B4-BE49-F238E27FC236}">
                  <a16:creationId xmlns:a16="http://schemas.microsoft.com/office/drawing/2014/main" id="{B4067D18-710E-4A2A-BE2F-15EFC97A7A08}"/>
                </a:ext>
              </a:extLst>
            </p:cNvPr>
            <p:cNvSpPr/>
            <p:nvPr/>
          </p:nvSpPr>
          <p:spPr>
            <a:xfrm>
              <a:off x="4388743" y="1418755"/>
              <a:ext cx="46414" cy="24638"/>
            </a:xfrm>
            <a:custGeom>
              <a:avLst/>
              <a:gdLst>
                <a:gd name="connsiteX0" fmla="*/ 110 w 46414"/>
                <a:gd name="connsiteY0" fmla="*/ 20367 h 24638"/>
                <a:gd name="connsiteX1" fmla="*/ 26724 w 46414"/>
                <a:gd name="connsiteY1" fmla="*/ 21623 h 24638"/>
                <a:gd name="connsiteX2" fmla="*/ 46281 w 46414"/>
                <a:gd name="connsiteY2" fmla="*/ 3561 h 24638"/>
                <a:gd name="connsiteX3" fmla="*/ 20025 w 46414"/>
                <a:gd name="connsiteY3" fmla="*/ 3262 h 24638"/>
                <a:gd name="connsiteX4" fmla="*/ 110 w 46414"/>
                <a:gd name="connsiteY4" fmla="*/ 20367 h 24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14" h="24638">
                  <a:moveTo>
                    <a:pt x="110" y="20367"/>
                  </a:moveTo>
                  <a:cubicBezTo>
                    <a:pt x="2681" y="25510"/>
                    <a:pt x="14344" y="26108"/>
                    <a:pt x="26724" y="21623"/>
                  </a:cubicBezTo>
                  <a:cubicBezTo>
                    <a:pt x="39104" y="17077"/>
                    <a:pt x="47596" y="9123"/>
                    <a:pt x="46281" y="3561"/>
                  </a:cubicBezTo>
                  <a:cubicBezTo>
                    <a:pt x="43888" y="-1044"/>
                    <a:pt x="32406" y="-1224"/>
                    <a:pt x="20025" y="3262"/>
                  </a:cubicBezTo>
                  <a:cubicBezTo>
                    <a:pt x="7645" y="7807"/>
                    <a:pt x="-1087" y="15343"/>
                    <a:pt x="110" y="20367"/>
                  </a:cubicBezTo>
                  <a:close/>
                </a:path>
              </a:pathLst>
            </a:custGeom>
            <a:noFill/>
            <a:ln w="4518" cap="flat">
              <a:solidFill>
                <a:schemeClr val="bg1"/>
              </a:solidFill>
              <a:prstDash val="solid"/>
              <a:miter/>
            </a:ln>
          </p:spPr>
          <p:txBody>
            <a:bodyPr rtlCol="0" anchor="ctr"/>
            <a:lstStyle/>
            <a:p>
              <a:endParaRPr lang="en-GB"/>
            </a:p>
          </p:txBody>
        </p:sp>
        <p:sp>
          <p:nvSpPr>
            <p:cNvPr id="103" name="Vrije vorm: vorm 102">
              <a:extLst>
                <a:ext uri="{FF2B5EF4-FFF2-40B4-BE49-F238E27FC236}">
                  <a16:creationId xmlns:a16="http://schemas.microsoft.com/office/drawing/2014/main" id="{5AB2925C-86A4-45D0-8388-A870D59978F6}"/>
                </a:ext>
              </a:extLst>
            </p:cNvPr>
            <p:cNvSpPr/>
            <p:nvPr/>
          </p:nvSpPr>
          <p:spPr>
            <a:xfrm>
              <a:off x="4422257" y="1451284"/>
              <a:ext cx="50445" cy="27250"/>
            </a:xfrm>
            <a:custGeom>
              <a:avLst/>
              <a:gdLst>
                <a:gd name="connsiteX0" fmla="*/ 566 w 50445"/>
                <a:gd name="connsiteY0" fmla="*/ 26114 h 27250"/>
                <a:gd name="connsiteX1" fmla="*/ 1105 w 50445"/>
                <a:gd name="connsiteY1" fmla="*/ 27250 h 27250"/>
                <a:gd name="connsiteX2" fmla="*/ 21619 w 50445"/>
                <a:gd name="connsiteY2" fmla="*/ 6796 h 27250"/>
                <a:gd name="connsiteX3" fmla="*/ 50446 w 50445"/>
                <a:gd name="connsiteY3" fmla="*/ 9248 h 27250"/>
                <a:gd name="connsiteX4" fmla="*/ 50146 w 50445"/>
                <a:gd name="connsiteY4" fmla="*/ 8052 h 27250"/>
                <a:gd name="connsiteX5" fmla="*/ 20064 w 50445"/>
                <a:gd name="connsiteY5" fmla="*/ 2610 h 27250"/>
                <a:gd name="connsiteX6" fmla="*/ 566 w 50445"/>
                <a:gd name="connsiteY6" fmla="*/ 26114 h 2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45" h="27250">
                  <a:moveTo>
                    <a:pt x="566" y="26114"/>
                  </a:moveTo>
                  <a:cubicBezTo>
                    <a:pt x="686" y="26473"/>
                    <a:pt x="865" y="26891"/>
                    <a:pt x="1105" y="27250"/>
                  </a:cubicBezTo>
                  <a:cubicBezTo>
                    <a:pt x="-271" y="20552"/>
                    <a:pt x="8581" y="11581"/>
                    <a:pt x="21619" y="6796"/>
                  </a:cubicBezTo>
                  <a:cubicBezTo>
                    <a:pt x="34597" y="2071"/>
                    <a:pt x="47156" y="3208"/>
                    <a:pt x="50446" y="9248"/>
                  </a:cubicBezTo>
                  <a:cubicBezTo>
                    <a:pt x="50386" y="8830"/>
                    <a:pt x="50266" y="8411"/>
                    <a:pt x="50146" y="8052"/>
                  </a:cubicBezTo>
                  <a:cubicBezTo>
                    <a:pt x="47216" y="38"/>
                    <a:pt x="33759" y="-2414"/>
                    <a:pt x="20064" y="2610"/>
                  </a:cubicBezTo>
                  <a:cubicBezTo>
                    <a:pt x="6368" y="7574"/>
                    <a:pt x="-2364" y="18100"/>
                    <a:pt x="566" y="26114"/>
                  </a:cubicBezTo>
                  <a:close/>
                </a:path>
              </a:pathLst>
            </a:custGeom>
            <a:grpFill/>
            <a:ln w="5978" cap="flat">
              <a:noFill/>
              <a:prstDash val="solid"/>
              <a:miter/>
            </a:ln>
          </p:spPr>
          <p:txBody>
            <a:bodyPr rtlCol="0" anchor="ctr"/>
            <a:lstStyle/>
            <a:p>
              <a:endParaRPr lang="en-GB"/>
            </a:p>
          </p:txBody>
        </p:sp>
        <p:sp>
          <p:nvSpPr>
            <p:cNvPr id="104" name="Vrije vorm: vorm 103">
              <a:extLst>
                <a:ext uri="{FF2B5EF4-FFF2-40B4-BE49-F238E27FC236}">
                  <a16:creationId xmlns:a16="http://schemas.microsoft.com/office/drawing/2014/main" id="{D312E42F-2282-4D67-A613-BB884E66398D}"/>
                </a:ext>
              </a:extLst>
            </p:cNvPr>
            <p:cNvSpPr/>
            <p:nvPr/>
          </p:nvSpPr>
          <p:spPr>
            <a:xfrm>
              <a:off x="4423221" y="1455158"/>
              <a:ext cx="49704" cy="30328"/>
            </a:xfrm>
            <a:custGeom>
              <a:avLst/>
              <a:gdLst>
                <a:gd name="connsiteX0" fmla="*/ 141 w 49704"/>
                <a:gd name="connsiteY0" fmla="*/ 23377 h 30328"/>
                <a:gd name="connsiteX1" fmla="*/ 27113 w 49704"/>
                <a:gd name="connsiteY1" fmla="*/ 28580 h 30328"/>
                <a:gd name="connsiteX2" fmla="*/ 29685 w 49704"/>
                <a:gd name="connsiteY2" fmla="*/ 27743 h 30328"/>
                <a:gd name="connsiteX3" fmla="*/ 32197 w 49704"/>
                <a:gd name="connsiteY3" fmla="*/ 26786 h 30328"/>
                <a:gd name="connsiteX4" fmla="*/ 49482 w 49704"/>
                <a:gd name="connsiteY4" fmla="*/ 5375 h 30328"/>
                <a:gd name="connsiteX5" fmla="*/ 20655 w 49704"/>
                <a:gd name="connsiteY5" fmla="*/ 2923 h 30328"/>
                <a:gd name="connsiteX6" fmla="*/ 141 w 49704"/>
                <a:gd name="connsiteY6" fmla="*/ 23377 h 3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04" h="30328">
                  <a:moveTo>
                    <a:pt x="141" y="23377"/>
                  </a:moveTo>
                  <a:cubicBezTo>
                    <a:pt x="3609" y="30015"/>
                    <a:pt x="15033" y="32228"/>
                    <a:pt x="27113" y="28580"/>
                  </a:cubicBezTo>
                  <a:cubicBezTo>
                    <a:pt x="27951" y="28281"/>
                    <a:pt x="28848" y="28042"/>
                    <a:pt x="29685" y="27743"/>
                  </a:cubicBezTo>
                  <a:cubicBezTo>
                    <a:pt x="30523" y="27443"/>
                    <a:pt x="31360" y="27085"/>
                    <a:pt x="32197" y="26786"/>
                  </a:cubicBezTo>
                  <a:cubicBezTo>
                    <a:pt x="43800" y="21762"/>
                    <a:pt x="51096" y="12731"/>
                    <a:pt x="49482" y="5375"/>
                  </a:cubicBezTo>
                  <a:cubicBezTo>
                    <a:pt x="46192" y="-666"/>
                    <a:pt x="33633" y="-1802"/>
                    <a:pt x="20655" y="2923"/>
                  </a:cubicBezTo>
                  <a:cubicBezTo>
                    <a:pt x="7617" y="7647"/>
                    <a:pt x="-1235" y="16618"/>
                    <a:pt x="141" y="23377"/>
                  </a:cubicBezTo>
                  <a:close/>
                </a:path>
              </a:pathLst>
            </a:custGeom>
            <a:noFill/>
            <a:ln w="4518" cap="flat">
              <a:solidFill>
                <a:schemeClr val="bg1"/>
              </a:solidFill>
              <a:prstDash val="solid"/>
              <a:miter/>
            </a:ln>
          </p:spPr>
          <p:txBody>
            <a:bodyPr rtlCol="0" anchor="ctr"/>
            <a:lstStyle/>
            <a:p>
              <a:endParaRPr lang="en-GB"/>
            </a:p>
          </p:txBody>
        </p:sp>
        <p:sp>
          <p:nvSpPr>
            <p:cNvPr id="105" name="Vrije vorm: vorm 104">
              <a:extLst>
                <a:ext uri="{FF2B5EF4-FFF2-40B4-BE49-F238E27FC236}">
                  <a16:creationId xmlns:a16="http://schemas.microsoft.com/office/drawing/2014/main" id="{1552A9EF-F5B1-4C3E-87CE-CFAC85EA4D8F}"/>
                </a:ext>
              </a:extLst>
            </p:cNvPr>
            <p:cNvSpPr/>
            <p:nvPr/>
          </p:nvSpPr>
          <p:spPr>
            <a:xfrm>
              <a:off x="4470091" y="1421439"/>
              <a:ext cx="23343" cy="17842"/>
            </a:xfrm>
            <a:custGeom>
              <a:avLst/>
              <a:gdLst>
                <a:gd name="connsiteX0" fmla="*/ 638 w 23343"/>
                <a:gd name="connsiteY0" fmla="*/ 14812 h 17842"/>
                <a:gd name="connsiteX1" fmla="*/ 15470 w 23343"/>
                <a:gd name="connsiteY1" fmla="*/ 15590 h 17842"/>
                <a:gd name="connsiteX2" fmla="*/ 22706 w 23343"/>
                <a:gd name="connsiteY2" fmla="*/ 3030 h 17842"/>
                <a:gd name="connsiteX3" fmla="*/ 7874 w 23343"/>
                <a:gd name="connsiteY3" fmla="*/ 2253 h 17842"/>
                <a:gd name="connsiteX4" fmla="*/ 638 w 23343"/>
                <a:gd name="connsiteY4" fmla="*/ 14812 h 17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43" h="17842">
                  <a:moveTo>
                    <a:pt x="638" y="14812"/>
                  </a:moveTo>
                  <a:cubicBezTo>
                    <a:pt x="2731" y="18520"/>
                    <a:pt x="9369" y="18879"/>
                    <a:pt x="15470" y="15590"/>
                  </a:cubicBezTo>
                  <a:cubicBezTo>
                    <a:pt x="21570" y="12300"/>
                    <a:pt x="24799" y="6738"/>
                    <a:pt x="22706" y="3030"/>
                  </a:cubicBezTo>
                  <a:cubicBezTo>
                    <a:pt x="20613" y="-678"/>
                    <a:pt x="13974" y="-1037"/>
                    <a:pt x="7874" y="2253"/>
                  </a:cubicBezTo>
                  <a:cubicBezTo>
                    <a:pt x="1774" y="5542"/>
                    <a:pt x="-1456" y="11164"/>
                    <a:pt x="638" y="14812"/>
                  </a:cubicBezTo>
                  <a:close/>
                </a:path>
              </a:pathLst>
            </a:custGeom>
            <a:grpFill/>
            <a:ln w="5978" cap="flat">
              <a:noFill/>
              <a:prstDash val="solid"/>
              <a:miter/>
            </a:ln>
          </p:spPr>
          <p:txBody>
            <a:bodyPr rtlCol="0" anchor="ctr"/>
            <a:lstStyle/>
            <a:p>
              <a:endParaRPr lang="en-GB"/>
            </a:p>
          </p:txBody>
        </p:sp>
      </p:grpSp>
    </p:spTree>
    <p:extLst>
      <p:ext uri="{BB962C8B-B14F-4D97-AF65-F5344CB8AC3E}">
        <p14:creationId xmlns:p14="http://schemas.microsoft.com/office/powerpoint/2010/main" val="249097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ereld - Glow + teksten - SUB">
    <p:spTree>
      <p:nvGrpSpPr>
        <p:cNvPr id="1" name=""/>
        <p:cNvGrpSpPr/>
        <p:nvPr/>
      </p:nvGrpSpPr>
      <p:grpSpPr>
        <a:xfrm>
          <a:off x="0" y="0"/>
          <a:ext cx="0" cy="0"/>
          <a:chOff x="0" y="0"/>
          <a:chExt cx="0" cy="0"/>
        </a:xfrm>
      </p:grpSpPr>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Only title #1</a:t>
            </a:r>
          </a:p>
        </p:txBody>
      </p:sp>
      <p:pic>
        <p:nvPicPr>
          <p:cNvPr id="5" name="Afbeelding 4">
            <a:extLst>
              <a:ext uri="{FF2B5EF4-FFF2-40B4-BE49-F238E27FC236}">
                <a16:creationId xmlns:a16="http://schemas.microsoft.com/office/drawing/2014/main" id="{CC0DAD02-D558-49D3-BA05-6CC56AA6CD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7968"/>
            <a:ext cx="12192000" cy="6865968"/>
          </a:xfrm>
          <a:prstGeom prst="rect">
            <a:avLst/>
          </a:prstGeom>
        </p:spPr>
      </p:pic>
      <p:sp>
        <p:nvSpPr>
          <p:cNvPr id="4" name="TEKST5">
            <a:extLst>
              <a:ext uri="{FF2B5EF4-FFF2-40B4-BE49-F238E27FC236}">
                <a16:creationId xmlns:a16="http://schemas.microsoft.com/office/drawing/2014/main" id="{C089DCE3-F29F-4A2C-8381-15A6F29A1B6C}"/>
              </a:ext>
            </a:extLst>
          </p:cNvPr>
          <p:cNvSpPr/>
          <p:nvPr userDrawn="1"/>
        </p:nvSpPr>
        <p:spPr>
          <a:xfrm rot="19440326">
            <a:off x="3491049" y="1017334"/>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3175"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800" b="1" cap="all" dirty="0">
                <a:solidFill>
                  <a:schemeClr val="bg1">
                    <a:alpha val="30000"/>
                  </a:schemeClr>
                </a:solidFill>
                <a:latin typeface="+mj-lt"/>
              </a:rPr>
              <a:t>Smart health</a:t>
            </a:r>
          </a:p>
        </p:txBody>
      </p:sp>
      <p:sp>
        <p:nvSpPr>
          <p:cNvPr id="6" name="TEKST1">
            <a:extLst>
              <a:ext uri="{FF2B5EF4-FFF2-40B4-BE49-F238E27FC236}">
                <a16:creationId xmlns:a16="http://schemas.microsoft.com/office/drawing/2014/main" id="{47D554C3-6135-4657-8C41-AE64C2A66940}"/>
              </a:ext>
            </a:extLst>
          </p:cNvPr>
          <p:cNvSpPr/>
          <p:nvPr userDrawn="1"/>
        </p:nvSpPr>
        <p:spPr>
          <a:xfrm rot="18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317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ArchUp">
              <a:avLst/>
            </a:prstTxWarp>
            <a:noAutofit/>
          </a:bodyPr>
          <a:lstStyle/>
          <a:p>
            <a:pPr algn="ctr"/>
            <a:r>
              <a:rPr lang="en-GB" sz="800" b="1" cap="all" dirty="0">
                <a:solidFill>
                  <a:schemeClr val="bg1">
                    <a:alpha val="30000"/>
                  </a:schemeClr>
                </a:solidFill>
                <a:latin typeface="+mj-lt"/>
              </a:rPr>
              <a:t>Smart climate solutions</a:t>
            </a:r>
          </a:p>
        </p:txBody>
      </p:sp>
      <p:sp>
        <p:nvSpPr>
          <p:cNvPr id="7" name="TEKST3">
            <a:extLst>
              <a:ext uri="{FF2B5EF4-FFF2-40B4-BE49-F238E27FC236}">
                <a16:creationId xmlns:a16="http://schemas.microsoft.com/office/drawing/2014/main" id="{1C3FC225-845B-4BB4-93D7-D7E6694DC19C}"/>
              </a:ext>
            </a:extLst>
          </p:cNvPr>
          <p:cNvSpPr/>
          <p:nvPr userDrawn="1"/>
        </p:nvSpPr>
        <p:spPr>
          <a:xfrm rot="54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ArchUp">
              <a:avLst/>
            </a:prstTxWarp>
            <a:noAutofit/>
          </a:bodyPr>
          <a:lstStyle/>
          <a:p>
            <a:pPr algn="ctr"/>
            <a:r>
              <a:rPr lang="en-GB" sz="800" b="1" cap="all" dirty="0">
                <a:solidFill>
                  <a:schemeClr val="bg1">
                    <a:alpha val="30000"/>
                  </a:schemeClr>
                </a:solidFill>
                <a:latin typeface="+mj-lt"/>
              </a:rPr>
              <a:t>Smart mobility</a:t>
            </a:r>
          </a:p>
        </p:txBody>
      </p:sp>
      <p:sp>
        <p:nvSpPr>
          <p:cNvPr id="8" name="TEKST6">
            <a:extLst>
              <a:ext uri="{FF2B5EF4-FFF2-40B4-BE49-F238E27FC236}">
                <a16:creationId xmlns:a16="http://schemas.microsoft.com/office/drawing/2014/main" id="{798DAD21-4D07-447E-8DFE-745841C0D82F}"/>
              </a:ext>
            </a:extLst>
          </p:cNvPr>
          <p:cNvSpPr/>
          <p:nvPr userDrawn="1"/>
        </p:nvSpPr>
        <p:spPr>
          <a:xfrm rot="18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800" b="1" cap="all" dirty="0">
                <a:solidFill>
                  <a:schemeClr val="bg1">
                    <a:alpha val="30000"/>
                  </a:schemeClr>
                </a:solidFill>
                <a:latin typeface="+mj-lt"/>
              </a:rPr>
              <a:t>Smart resources</a:t>
            </a:r>
          </a:p>
        </p:txBody>
      </p:sp>
      <p:sp>
        <p:nvSpPr>
          <p:cNvPr id="9" name="TEKST8">
            <a:extLst>
              <a:ext uri="{FF2B5EF4-FFF2-40B4-BE49-F238E27FC236}">
                <a16:creationId xmlns:a16="http://schemas.microsoft.com/office/drawing/2014/main" id="{FCB0056F-947A-42AE-874D-EADF1B82DEAA}"/>
              </a:ext>
            </a:extLst>
          </p:cNvPr>
          <p:cNvSpPr/>
          <p:nvPr userDrawn="1"/>
        </p:nvSpPr>
        <p:spPr>
          <a:xfrm rot="54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800" b="1" cap="all" dirty="0">
                <a:solidFill>
                  <a:schemeClr val="bg1">
                    <a:alpha val="30000"/>
                  </a:schemeClr>
                </a:solidFill>
                <a:latin typeface="+mj-lt"/>
              </a:rPr>
              <a:t>Smart energy</a:t>
            </a:r>
          </a:p>
        </p:txBody>
      </p:sp>
      <p:sp>
        <p:nvSpPr>
          <p:cNvPr id="10" name="TEKST9">
            <a:extLst>
              <a:ext uri="{FF2B5EF4-FFF2-40B4-BE49-F238E27FC236}">
                <a16:creationId xmlns:a16="http://schemas.microsoft.com/office/drawing/2014/main" id="{4AA91982-AB50-48D2-87EA-E070A711A133}"/>
              </a:ext>
            </a:extLst>
          </p:cNvPr>
          <p:cNvSpPr/>
          <p:nvPr userDrawn="1"/>
        </p:nvSpPr>
        <p:spPr>
          <a:xfrm rot="189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Up">
              <a:avLst/>
            </a:prstTxWarp>
            <a:noAutofit/>
          </a:bodyPr>
          <a:lstStyle/>
          <a:p>
            <a:pPr algn="ctr"/>
            <a:r>
              <a:rPr lang="en-GB" sz="800" b="1" cap="all" dirty="0">
                <a:solidFill>
                  <a:schemeClr val="bg1">
                    <a:alpha val="30000"/>
                  </a:schemeClr>
                </a:solidFill>
                <a:latin typeface="+mj-lt"/>
              </a:rPr>
              <a:t>Smart cities</a:t>
            </a:r>
          </a:p>
        </p:txBody>
      </p:sp>
      <p:grpSp>
        <p:nvGrpSpPr>
          <p:cNvPr id="11" name="DRONE_1">
            <a:extLst>
              <a:ext uri="{FF2B5EF4-FFF2-40B4-BE49-F238E27FC236}">
                <a16:creationId xmlns:a16="http://schemas.microsoft.com/office/drawing/2014/main" id="{192CAEA9-9F58-4559-813E-613E3CF566C0}"/>
              </a:ext>
            </a:extLst>
          </p:cNvPr>
          <p:cNvGrpSpPr/>
          <p:nvPr userDrawn="1"/>
        </p:nvGrpSpPr>
        <p:grpSpPr>
          <a:xfrm>
            <a:off x="7811155" y="2484485"/>
            <a:ext cx="95078" cy="107930"/>
            <a:chOff x="7779061" y="2300965"/>
            <a:chExt cx="95078" cy="107930"/>
          </a:xfrm>
          <a:solidFill>
            <a:schemeClr val="accent1"/>
          </a:solidFill>
        </p:grpSpPr>
        <p:grpSp>
          <p:nvGrpSpPr>
            <p:cNvPr id="12" name="Graphic 3">
              <a:extLst>
                <a:ext uri="{FF2B5EF4-FFF2-40B4-BE49-F238E27FC236}">
                  <a16:creationId xmlns:a16="http://schemas.microsoft.com/office/drawing/2014/main" id="{EC015218-86C3-4F4C-9B25-F8FBB3E5C586}"/>
                </a:ext>
              </a:extLst>
            </p:cNvPr>
            <p:cNvGrpSpPr/>
            <p:nvPr/>
          </p:nvGrpSpPr>
          <p:grpSpPr>
            <a:xfrm>
              <a:off x="7779061" y="2366053"/>
              <a:ext cx="70835" cy="42842"/>
              <a:chOff x="7779061" y="2366053"/>
              <a:chExt cx="70835" cy="42842"/>
            </a:xfrm>
            <a:solidFill>
              <a:srgbClr val="FFFFFF"/>
            </a:solidFill>
          </p:grpSpPr>
          <p:sp>
            <p:nvSpPr>
              <p:cNvPr id="30" name="Vrije vorm: vorm 29">
                <a:extLst>
                  <a:ext uri="{FF2B5EF4-FFF2-40B4-BE49-F238E27FC236}">
                    <a16:creationId xmlns:a16="http://schemas.microsoft.com/office/drawing/2014/main" id="{A87352BC-3B90-4002-8BB8-84093F7D7990}"/>
                  </a:ext>
                </a:extLst>
              </p:cNvPr>
              <p:cNvSpPr/>
              <p:nvPr/>
            </p:nvSpPr>
            <p:spPr>
              <a:xfrm>
                <a:off x="7813418" y="2366053"/>
                <a:ext cx="18308" cy="10774"/>
              </a:xfrm>
              <a:custGeom>
                <a:avLst/>
                <a:gdLst>
                  <a:gd name="connsiteX0" fmla="*/ 16682 w 18308"/>
                  <a:gd name="connsiteY0" fmla="*/ 5583 h 10774"/>
                  <a:gd name="connsiteX1" fmla="*/ 16443 w 18308"/>
                  <a:gd name="connsiteY1" fmla="*/ 5523 h 10774"/>
                  <a:gd name="connsiteX2" fmla="*/ 3764 w 18308"/>
                  <a:gd name="connsiteY2" fmla="*/ 320 h 10774"/>
                  <a:gd name="connsiteX3" fmla="*/ 295 w 18308"/>
                  <a:gd name="connsiteY3" fmla="*/ 1456 h 10774"/>
                  <a:gd name="connsiteX4" fmla="*/ 1371 w 18308"/>
                  <a:gd name="connsiteY4" fmla="*/ 5045 h 10774"/>
                  <a:gd name="connsiteX5" fmla="*/ 15067 w 18308"/>
                  <a:gd name="connsiteY5" fmla="*/ 10666 h 10774"/>
                  <a:gd name="connsiteX6" fmla="*/ 18237 w 18308"/>
                  <a:gd name="connsiteY6" fmla="*/ 8812 h 10774"/>
                  <a:gd name="connsiteX7" fmla="*/ 16682 w 18308"/>
                  <a:gd name="connsiteY7" fmla="*/ 5583 h 1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08" h="10774">
                    <a:moveTo>
                      <a:pt x="16682" y="5583"/>
                    </a:moveTo>
                    <a:cubicBezTo>
                      <a:pt x="16622" y="5523"/>
                      <a:pt x="16503" y="5523"/>
                      <a:pt x="16443" y="5523"/>
                    </a:cubicBezTo>
                    <a:cubicBezTo>
                      <a:pt x="11120" y="3968"/>
                      <a:pt x="8608" y="2951"/>
                      <a:pt x="3764" y="320"/>
                    </a:cubicBezTo>
                    <a:cubicBezTo>
                      <a:pt x="2568" y="-398"/>
                      <a:pt x="953" y="140"/>
                      <a:pt x="295" y="1456"/>
                    </a:cubicBezTo>
                    <a:cubicBezTo>
                      <a:pt x="-363" y="2772"/>
                      <a:pt x="115" y="4387"/>
                      <a:pt x="1371" y="5045"/>
                    </a:cubicBezTo>
                    <a:cubicBezTo>
                      <a:pt x="6574" y="7856"/>
                      <a:pt x="9386" y="8992"/>
                      <a:pt x="15067" y="10666"/>
                    </a:cubicBezTo>
                    <a:cubicBezTo>
                      <a:pt x="16443" y="11085"/>
                      <a:pt x="17818" y="10248"/>
                      <a:pt x="18237" y="8812"/>
                    </a:cubicBezTo>
                    <a:cubicBezTo>
                      <a:pt x="18536" y="7437"/>
                      <a:pt x="17878" y="6121"/>
                      <a:pt x="16682" y="5583"/>
                    </a:cubicBezTo>
                    <a:close/>
                  </a:path>
                </a:pathLst>
              </a:custGeom>
              <a:solidFill>
                <a:srgbClr val="FFFFFF"/>
              </a:solidFill>
              <a:ln w="5978" cap="flat">
                <a:noFill/>
                <a:prstDash val="solid"/>
                <a:miter/>
              </a:ln>
            </p:spPr>
            <p:txBody>
              <a:bodyPr rtlCol="0" anchor="ctr"/>
              <a:lstStyle/>
              <a:p>
                <a:endParaRPr lang="en-GB"/>
              </a:p>
            </p:txBody>
          </p:sp>
          <p:sp>
            <p:nvSpPr>
              <p:cNvPr id="31" name="Vrije vorm: vorm 30">
                <a:extLst>
                  <a:ext uri="{FF2B5EF4-FFF2-40B4-BE49-F238E27FC236}">
                    <a16:creationId xmlns:a16="http://schemas.microsoft.com/office/drawing/2014/main" id="{8F9C0F82-F443-4340-932B-10D3AB3C4C4F}"/>
                  </a:ext>
                </a:extLst>
              </p:cNvPr>
              <p:cNvSpPr/>
              <p:nvPr/>
            </p:nvSpPr>
            <p:spPr>
              <a:xfrm>
                <a:off x="7802835" y="2370842"/>
                <a:ext cx="33344" cy="16917"/>
              </a:xfrm>
              <a:custGeom>
                <a:avLst/>
                <a:gdLst>
                  <a:gd name="connsiteX0" fmla="*/ 3522 w 33344"/>
                  <a:gd name="connsiteY0" fmla="*/ 195 h 16917"/>
                  <a:gd name="connsiteX1" fmla="*/ 412 w 33344"/>
                  <a:gd name="connsiteY1" fmla="*/ 1272 h 16917"/>
                  <a:gd name="connsiteX2" fmla="*/ 1189 w 33344"/>
                  <a:gd name="connsiteY2" fmla="*/ 4920 h 16917"/>
                  <a:gd name="connsiteX3" fmla="*/ 15184 w 33344"/>
                  <a:gd name="connsiteY3" fmla="*/ 12396 h 16917"/>
                  <a:gd name="connsiteX4" fmla="*/ 30316 w 33344"/>
                  <a:gd name="connsiteY4" fmla="*/ 16881 h 16917"/>
                  <a:gd name="connsiteX5" fmla="*/ 33306 w 33344"/>
                  <a:gd name="connsiteY5" fmla="*/ 14728 h 16917"/>
                  <a:gd name="connsiteX6" fmla="*/ 31272 w 33344"/>
                  <a:gd name="connsiteY6" fmla="*/ 11618 h 16917"/>
                  <a:gd name="connsiteX7" fmla="*/ 17098 w 33344"/>
                  <a:gd name="connsiteY7" fmla="*/ 7372 h 16917"/>
                  <a:gd name="connsiteX8" fmla="*/ 3940 w 33344"/>
                  <a:gd name="connsiteY8" fmla="*/ 374 h 16917"/>
                  <a:gd name="connsiteX9" fmla="*/ 3522 w 33344"/>
                  <a:gd name="connsiteY9" fmla="*/ 195 h 1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44" h="16917">
                    <a:moveTo>
                      <a:pt x="3522" y="195"/>
                    </a:moveTo>
                    <a:cubicBezTo>
                      <a:pt x="2385" y="-284"/>
                      <a:pt x="1130" y="135"/>
                      <a:pt x="412" y="1272"/>
                    </a:cubicBezTo>
                    <a:cubicBezTo>
                      <a:pt x="-366" y="2527"/>
                      <a:pt x="-7" y="4142"/>
                      <a:pt x="1189" y="4920"/>
                    </a:cubicBezTo>
                    <a:cubicBezTo>
                      <a:pt x="5854" y="8030"/>
                      <a:pt x="10041" y="10243"/>
                      <a:pt x="15184" y="12396"/>
                    </a:cubicBezTo>
                    <a:cubicBezTo>
                      <a:pt x="20327" y="14489"/>
                      <a:pt x="24873" y="15865"/>
                      <a:pt x="30316" y="16881"/>
                    </a:cubicBezTo>
                    <a:cubicBezTo>
                      <a:pt x="31691" y="17120"/>
                      <a:pt x="33007" y="16163"/>
                      <a:pt x="33306" y="14728"/>
                    </a:cubicBezTo>
                    <a:cubicBezTo>
                      <a:pt x="33545" y="13293"/>
                      <a:pt x="32648" y="11917"/>
                      <a:pt x="31272" y="11618"/>
                    </a:cubicBezTo>
                    <a:cubicBezTo>
                      <a:pt x="24873" y="10422"/>
                      <a:pt x="20507" y="8807"/>
                      <a:pt x="17098" y="7372"/>
                    </a:cubicBezTo>
                    <a:cubicBezTo>
                      <a:pt x="13689" y="5996"/>
                      <a:pt x="9443" y="4023"/>
                      <a:pt x="3940" y="374"/>
                    </a:cubicBezTo>
                    <a:cubicBezTo>
                      <a:pt x="3821" y="315"/>
                      <a:pt x="3641" y="255"/>
                      <a:pt x="3522" y="195"/>
                    </a:cubicBezTo>
                    <a:close/>
                  </a:path>
                </a:pathLst>
              </a:custGeom>
              <a:solidFill>
                <a:srgbClr val="FFFFFF"/>
              </a:solidFill>
              <a:ln w="5978" cap="flat">
                <a:noFill/>
                <a:prstDash val="solid"/>
                <a:miter/>
              </a:ln>
            </p:spPr>
            <p:txBody>
              <a:bodyPr rtlCol="0" anchor="ctr"/>
              <a:lstStyle/>
              <a:p>
                <a:endParaRPr lang="en-GB"/>
              </a:p>
            </p:txBody>
          </p:sp>
          <p:sp>
            <p:nvSpPr>
              <p:cNvPr id="32" name="Vrije vorm: vorm 31">
                <a:extLst>
                  <a:ext uri="{FF2B5EF4-FFF2-40B4-BE49-F238E27FC236}">
                    <a16:creationId xmlns:a16="http://schemas.microsoft.com/office/drawing/2014/main" id="{1F8D569F-5ED9-448E-968F-58A632EFA824}"/>
                  </a:ext>
                </a:extLst>
              </p:cNvPr>
              <p:cNvSpPr/>
              <p:nvPr/>
            </p:nvSpPr>
            <p:spPr>
              <a:xfrm>
                <a:off x="7790536" y="2373877"/>
                <a:ext cx="52725" cy="24860"/>
              </a:xfrm>
              <a:custGeom>
                <a:avLst/>
                <a:gdLst>
                  <a:gd name="connsiteX0" fmla="*/ 51107 w 52725"/>
                  <a:gd name="connsiteY0" fmla="*/ 19708 h 24860"/>
                  <a:gd name="connsiteX1" fmla="*/ 50389 w 52725"/>
                  <a:gd name="connsiteY1" fmla="*/ 19529 h 24860"/>
                  <a:gd name="connsiteX2" fmla="*/ 33105 w 52725"/>
                  <a:gd name="connsiteY2" fmla="*/ 16179 h 24860"/>
                  <a:gd name="connsiteX3" fmla="*/ 18930 w 52725"/>
                  <a:gd name="connsiteY3" fmla="*/ 10378 h 24860"/>
                  <a:gd name="connsiteX4" fmla="*/ 4158 w 52725"/>
                  <a:gd name="connsiteY4" fmla="*/ 570 h 24860"/>
                  <a:gd name="connsiteX5" fmla="*/ 570 w 52725"/>
                  <a:gd name="connsiteY5" fmla="*/ 988 h 24860"/>
                  <a:gd name="connsiteX6" fmla="*/ 988 w 52725"/>
                  <a:gd name="connsiteY6" fmla="*/ 4756 h 24860"/>
                  <a:gd name="connsiteX7" fmla="*/ 16658 w 52725"/>
                  <a:gd name="connsiteY7" fmla="*/ 15163 h 24860"/>
                  <a:gd name="connsiteX8" fmla="*/ 31669 w 52725"/>
                  <a:gd name="connsiteY8" fmla="*/ 21323 h 24860"/>
                  <a:gd name="connsiteX9" fmla="*/ 49971 w 52725"/>
                  <a:gd name="connsiteY9" fmla="*/ 24851 h 24860"/>
                  <a:gd name="connsiteX10" fmla="*/ 52721 w 52725"/>
                  <a:gd name="connsiteY10" fmla="*/ 22399 h 24860"/>
                  <a:gd name="connsiteX11" fmla="*/ 51107 w 52725"/>
                  <a:gd name="connsiteY11" fmla="*/ 19708 h 24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725" h="24860">
                    <a:moveTo>
                      <a:pt x="51107" y="19708"/>
                    </a:moveTo>
                    <a:cubicBezTo>
                      <a:pt x="50868" y="19588"/>
                      <a:pt x="50628" y="19529"/>
                      <a:pt x="50389" y="19529"/>
                    </a:cubicBezTo>
                    <a:cubicBezTo>
                      <a:pt x="44408" y="19050"/>
                      <a:pt x="38906" y="17974"/>
                      <a:pt x="33105" y="16179"/>
                    </a:cubicBezTo>
                    <a:cubicBezTo>
                      <a:pt x="28081" y="14624"/>
                      <a:pt x="23595" y="12830"/>
                      <a:pt x="18930" y="10378"/>
                    </a:cubicBezTo>
                    <a:cubicBezTo>
                      <a:pt x="13548" y="7567"/>
                      <a:pt x="8823" y="4457"/>
                      <a:pt x="4158" y="570"/>
                    </a:cubicBezTo>
                    <a:cubicBezTo>
                      <a:pt x="3082" y="-327"/>
                      <a:pt x="1467" y="-148"/>
                      <a:pt x="570" y="988"/>
                    </a:cubicBezTo>
                    <a:cubicBezTo>
                      <a:pt x="-328" y="2125"/>
                      <a:pt x="-148" y="3799"/>
                      <a:pt x="988" y="4756"/>
                    </a:cubicBezTo>
                    <a:cubicBezTo>
                      <a:pt x="5953" y="8883"/>
                      <a:pt x="10916" y="12172"/>
                      <a:pt x="16658" y="15163"/>
                    </a:cubicBezTo>
                    <a:cubicBezTo>
                      <a:pt x="21622" y="17734"/>
                      <a:pt x="26347" y="19708"/>
                      <a:pt x="31669" y="21323"/>
                    </a:cubicBezTo>
                    <a:cubicBezTo>
                      <a:pt x="37770" y="23177"/>
                      <a:pt x="43571" y="24313"/>
                      <a:pt x="49971" y="24851"/>
                    </a:cubicBezTo>
                    <a:cubicBezTo>
                      <a:pt x="51346" y="24971"/>
                      <a:pt x="52602" y="23894"/>
                      <a:pt x="52721" y="22399"/>
                    </a:cubicBezTo>
                    <a:cubicBezTo>
                      <a:pt x="52781" y="21203"/>
                      <a:pt x="52124" y="20067"/>
                      <a:pt x="51107" y="19708"/>
                    </a:cubicBezTo>
                    <a:close/>
                  </a:path>
                </a:pathLst>
              </a:custGeom>
              <a:solidFill>
                <a:srgbClr val="FFFFFF"/>
              </a:solidFill>
              <a:ln w="5978" cap="flat">
                <a:noFill/>
                <a:prstDash val="solid"/>
                <a:miter/>
              </a:ln>
            </p:spPr>
            <p:txBody>
              <a:bodyPr rtlCol="0" anchor="ctr"/>
              <a:lstStyle/>
              <a:p>
                <a:endParaRPr lang="en-GB"/>
              </a:p>
            </p:txBody>
          </p:sp>
          <p:sp>
            <p:nvSpPr>
              <p:cNvPr id="33" name="Vrije vorm: vorm 32">
                <a:extLst>
                  <a:ext uri="{FF2B5EF4-FFF2-40B4-BE49-F238E27FC236}">
                    <a16:creationId xmlns:a16="http://schemas.microsoft.com/office/drawing/2014/main" id="{8C1AC9BA-3835-406C-ACCA-95F83962C2D0}"/>
                  </a:ext>
                </a:extLst>
              </p:cNvPr>
              <p:cNvSpPr/>
              <p:nvPr/>
            </p:nvSpPr>
            <p:spPr>
              <a:xfrm>
                <a:off x="7779061" y="2376582"/>
                <a:ext cx="70835" cy="32313"/>
              </a:xfrm>
              <a:custGeom>
                <a:avLst/>
                <a:gdLst>
                  <a:gd name="connsiteX0" fmla="*/ 69222 w 70835"/>
                  <a:gd name="connsiteY0" fmla="*/ 27170 h 32313"/>
                  <a:gd name="connsiteX1" fmla="*/ 68324 w 70835"/>
                  <a:gd name="connsiteY1" fmla="*/ 26991 h 32313"/>
                  <a:gd name="connsiteX2" fmla="*/ 43982 w 70835"/>
                  <a:gd name="connsiteY2" fmla="*/ 23582 h 32313"/>
                  <a:gd name="connsiteX3" fmla="*/ 24246 w 70835"/>
                  <a:gd name="connsiteY3" fmla="*/ 15448 h 32313"/>
                  <a:gd name="connsiteX4" fmla="*/ 4270 w 70835"/>
                  <a:gd name="connsiteY4" fmla="*/ 675 h 32313"/>
                  <a:gd name="connsiteX5" fmla="*/ 682 w 70835"/>
                  <a:gd name="connsiteY5" fmla="*/ 855 h 32313"/>
                  <a:gd name="connsiteX6" fmla="*/ 802 w 70835"/>
                  <a:gd name="connsiteY6" fmla="*/ 4623 h 32313"/>
                  <a:gd name="connsiteX7" fmla="*/ 21854 w 70835"/>
                  <a:gd name="connsiteY7" fmla="*/ 20173 h 32313"/>
                  <a:gd name="connsiteX8" fmla="*/ 42667 w 70835"/>
                  <a:gd name="connsiteY8" fmla="*/ 28725 h 32313"/>
                  <a:gd name="connsiteX9" fmla="*/ 68264 w 70835"/>
                  <a:gd name="connsiteY9" fmla="*/ 32314 h 32313"/>
                  <a:gd name="connsiteX10" fmla="*/ 70836 w 70835"/>
                  <a:gd name="connsiteY10" fmla="*/ 29682 h 32313"/>
                  <a:gd name="connsiteX11" fmla="*/ 69222 w 70835"/>
                  <a:gd name="connsiteY11" fmla="*/ 27170 h 32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835" h="32313">
                    <a:moveTo>
                      <a:pt x="69222" y="27170"/>
                    </a:moveTo>
                    <a:cubicBezTo>
                      <a:pt x="68922" y="27050"/>
                      <a:pt x="68623" y="26991"/>
                      <a:pt x="68324" y="26991"/>
                    </a:cubicBezTo>
                    <a:cubicBezTo>
                      <a:pt x="59891" y="26931"/>
                      <a:pt x="52176" y="25854"/>
                      <a:pt x="43982" y="23582"/>
                    </a:cubicBezTo>
                    <a:cubicBezTo>
                      <a:pt x="36925" y="21608"/>
                      <a:pt x="30645" y="19036"/>
                      <a:pt x="24246" y="15448"/>
                    </a:cubicBezTo>
                    <a:cubicBezTo>
                      <a:pt x="16830" y="11321"/>
                      <a:pt x="10431" y="6656"/>
                      <a:pt x="4270" y="675"/>
                    </a:cubicBezTo>
                    <a:cubicBezTo>
                      <a:pt x="3254" y="-281"/>
                      <a:pt x="1639" y="-222"/>
                      <a:pt x="682" y="855"/>
                    </a:cubicBezTo>
                    <a:cubicBezTo>
                      <a:pt x="-275" y="1931"/>
                      <a:pt x="-215" y="3606"/>
                      <a:pt x="802" y="4623"/>
                    </a:cubicBezTo>
                    <a:cubicBezTo>
                      <a:pt x="7320" y="10902"/>
                      <a:pt x="14019" y="15867"/>
                      <a:pt x="21854" y="20173"/>
                    </a:cubicBezTo>
                    <a:cubicBezTo>
                      <a:pt x="28612" y="23941"/>
                      <a:pt x="35251" y="26632"/>
                      <a:pt x="42667" y="28725"/>
                    </a:cubicBezTo>
                    <a:cubicBezTo>
                      <a:pt x="51219" y="31117"/>
                      <a:pt x="59353" y="32254"/>
                      <a:pt x="68264" y="32314"/>
                    </a:cubicBezTo>
                    <a:cubicBezTo>
                      <a:pt x="69700" y="32314"/>
                      <a:pt x="70836" y="31117"/>
                      <a:pt x="70836" y="29682"/>
                    </a:cubicBezTo>
                    <a:cubicBezTo>
                      <a:pt x="70836" y="28486"/>
                      <a:pt x="70118" y="27529"/>
                      <a:pt x="69222" y="27170"/>
                    </a:cubicBezTo>
                    <a:close/>
                  </a:path>
                </a:pathLst>
              </a:custGeom>
              <a:solidFill>
                <a:srgbClr val="FFFFFF"/>
              </a:solidFill>
              <a:ln w="5978" cap="flat">
                <a:noFill/>
                <a:prstDash val="solid"/>
                <a:miter/>
              </a:ln>
            </p:spPr>
            <p:txBody>
              <a:bodyPr rtlCol="0" anchor="ctr"/>
              <a:lstStyle/>
              <a:p>
                <a:endParaRPr lang="en-GB"/>
              </a:p>
            </p:txBody>
          </p:sp>
        </p:grpSp>
        <p:sp>
          <p:nvSpPr>
            <p:cNvPr id="13" name="Vrije vorm: vorm 12">
              <a:extLst>
                <a:ext uri="{FF2B5EF4-FFF2-40B4-BE49-F238E27FC236}">
                  <a16:creationId xmlns:a16="http://schemas.microsoft.com/office/drawing/2014/main" id="{4740C64F-1067-4003-867F-442D9C13A4B1}"/>
                </a:ext>
              </a:extLst>
            </p:cNvPr>
            <p:cNvSpPr/>
            <p:nvPr/>
          </p:nvSpPr>
          <p:spPr>
            <a:xfrm>
              <a:off x="7801572" y="2315297"/>
              <a:ext cx="54304" cy="66744"/>
            </a:xfrm>
            <a:custGeom>
              <a:avLst/>
              <a:gdLst>
                <a:gd name="connsiteX0" fmla="*/ 53647 w 54304"/>
                <a:gd name="connsiteY0" fmla="*/ 34329 h 66744"/>
                <a:gd name="connsiteX1" fmla="*/ 43181 w 54304"/>
                <a:gd name="connsiteY1" fmla="*/ 37200 h 66744"/>
                <a:gd name="connsiteX2" fmla="*/ 54305 w 54304"/>
                <a:gd name="connsiteY2" fmla="*/ 63156 h 66744"/>
                <a:gd name="connsiteX3" fmla="*/ 48384 w 54304"/>
                <a:gd name="connsiteY3" fmla="*/ 66745 h 66744"/>
                <a:gd name="connsiteX4" fmla="*/ 27631 w 54304"/>
                <a:gd name="connsiteY4" fmla="*/ 41626 h 66744"/>
                <a:gd name="connsiteX5" fmla="*/ 2452 w 54304"/>
                <a:gd name="connsiteY5" fmla="*/ 34987 h 66744"/>
                <a:gd name="connsiteX6" fmla="*/ 0 w 54304"/>
                <a:gd name="connsiteY6" fmla="*/ 26435 h 66744"/>
                <a:gd name="connsiteX7" fmla="*/ 18480 w 54304"/>
                <a:gd name="connsiteY7" fmla="*/ 23863 h 66744"/>
                <a:gd name="connsiteX8" fmla="*/ 7058 w 54304"/>
                <a:gd name="connsiteY8" fmla="*/ 3588 h 66744"/>
                <a:gd name="connsiteX9" fmla="*/ 13097 w 54304"/>
                <a:gd name="connsiteY9" fmla="*/ 0 h 66744"/>
                <a:gd name="connsiteX10" fmla="*/ 34569 w 54304"/>
                <a:gd name="connsiteY10" fmla="*/ 22009 h 66744"/>
                <a:gd name="connsiteX11" fmla="*/ 53886 w 54304"/>
                <a:gd name="connsiteY11" fmla="*/ 28887 h 66744"/>
                <a:gd name="connsiteX12" fmla="*/ 53647 w 54304"/>
                <a:gd name="connsiteY12" fmla="*/ 34329 h 6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304" h="66744">
                  <a:moveTo>
                    <a:pt x="53647" y="34329"/>
                  </a:moveTo>
                  <a:cubicBezTo>
                    <a:pt x="53647" y="34329"/>
                    <a:pt x="44556" y="35585"/>
                    <a:pt x="43181" y="37200"/>
                  </a:cubicBezTo>
                  <a:cubicBezTo>
                    <a:pt x="41805" y="38815"/>
                    <a:pt x="52929" y="62020"/>
                    <a:pt x="54305" y="63156"/>
                  </a:cubicBezTo>
                  <a:lnTo>
                    <a:pt x="48384" y="66745"/>
                  </a:lnTo>
                  <a:cubicBezTo>
                    <a:pt x="48384" y="66745"/>
                    <a:pt x="33671" y="44437"/>
                    <a:pt x="27631" y="41626"/>
                  </a:cubicBezTo>
                  <a:cubicBezTo>
                    <a:pt x="21650" y="38815"/>
                    <a:pt x="2452" y="34987"/>
                    <a:pt x="2452" y="34987"/>
                  </a:cubicBezTo>
                  <a:lnTo>
                    <a:pt x="0" y="26435"/>
                  </a:lnTo>
                  <a:lnTo>
                    <a:pt x="18480" y="23863"/>
                  </a:lnTo>
                  <a:lnTo>
                    <a:pt x="7058" y="3588"/>
                  </a:lnTo>
                  <a:lnTo>
                    <a:pt x="13097" y="0"/>
                  </a:lnTo>
                  <a:cubicBezTo>
                    <a:pt x="13097" y="0"/>
                    <a:pt x="26794" y="16806"/>
                    <a:pt x="34569" y="22009"/>
                  </a:cubicBezTo>
                  <a:cubicBezTo>
                    <a:pt x="42343" y="27152"/>
                    <a:pt x="53886" y="28887"/>
                    <a:pt x="53886" y="28887"/>
                  </a:cubicBezTo>
                  <a:lnTo>
                    <a:pt x="53647" y="34329"/>
                  </a:lnTo>
                  <a:close/>
                </a:path>
              </a:pathLst>
            </a:custGeom>
            <a:noFill/>
            <a:ln w="2989" cap="flat">
              <a:solidFill>
                <a:srgbClr val="FFFFFF"/>
              </a:solid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CA11C907-8C78-49CB-9D1D-14F8F03D70C2}"/>
                </a:ext>
              </a:extLst>
            </p:cNvPr>
            <p:cNvSpPr/>
            <p:nvPr/>
          </p:nvSpPr>
          <p:spPr>
            <a:xfrm>
              <a:off x="7853381" y="2341738"/>
              <a:ext cx="9537" cy="9497"/>
            </a:xfrm>
            <a:custGeom>
              <a:avLst/>
              <a:gdLst>
                <a:gd name="connsiteX0" fmla="*/ 1061 w 9537"/>
                <a:gd name="connsiteY0" fmla="*/ 1609 h 9497"/>
                <a:gd name="connsiteX1" fmla="*/ 1778 w 9537"/>
                <a:gd name="connsiteY1" fmla="*/ 8307 h 9497"/>
                <a:gd name="connsiteX2" fmla="*/ 8477 w 9537"/>
                <a:gd name="connsiteY2" fmla="*/ 7889 h 9497"/>
                <a:gd name="connsiteX3" fmla="*/ 7759 w 9537"/>
                <a:gd name="connsiteY3" fmla="*/ 1190 h 9497"/>
                <a:gd name="connsiteX4" fmla="*/ 1061 w 9537"/>
                <a:gd name="connsiteY4" fmla="*/ 1609 h 9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7" h="9497">
                  <a:moveTo>
                    <a:pt x="1061" y="1609"/>
                  </a:moveTo>
                  <a:cubicBezTo>
                    <a:pt x="-613" y="3583"/>
                    <a:pt x="-255" y="6573"/>
                    <a:pt x="1778" y="8307"/>
                  </a:cubicBezTo>
                  <a:cubicBezTo>
                    <a:pt x="3812" y="10042"/>
                    <a:pt x="6862" y="9862"/>
                    <a:pt x="8477" y="7889"/>
                  </a:cubicBezTo>
                  <a:cubicBezTo>
                    <a:pt x="10151" y="5915"/>
                    <a:pt x="9793" y="2925"/>
                    <a:pt x="7759" y="1190"/>
                  </a:cubicBezTo>
                  <a:cubicBezTo>
                    <a:pt x="5726" y="-544"/>
                    <a:pt x="2675" y="-365"/>
                    <a:pt x="1061" y="1609"/>
                  </a:cubicBezTo>
                  <a:close/>
                </a:path>
              </a:pathLst>
            </a:custGeom>
            <a:solidFill>
              <a:srgbClr val="FFFFFF"/>
            </a:solidFill>
            <a:ln w="5978" cap="flat">
              <a:noFill/>
              <a:prstDash val="solid"/>
              <a:miter/>
            </a:ln>
          </p:spPr>
          <p:txBody>
            <a:bodyPr rtlCol="0" anchor="ctr"/>
            <a:lstStyle/>
            <a:p>
              <a:endParaRPr lang="en-GB"/>
            </a:p>
          </p:txBody>
        </p:sp>
        <p:sp>
          <p:nvSpPr>
            <p:cNvPr id="15" name="Vrije vorm: vorm 14">
              <a:extLst>
                <a:ext uri="{FF2B5EF4-FFF2-40B4-BE49-F238E27FC236}">
                  <a16:creationId xmlns:a16="http://schemas.microsoft.com/office/drawing/2014/main" id="{46D5B41D-2E9D-4674-8669-BBEBEDEA7A60}"/>
                </a:ext>
              </a:extLst>
            </p:cNvPr>
            <p:cNvSpPr/>
            <p:nvPr/>
          </p:nvSpPr>
          <p:spPr>
            <a:xfrm>
              <a:off x="7848146" y="2377990"/>
              <a:ext cx="14803" cy="14662"/>
            </a:xfrm>
            <a:custGeom>
              <a:avLst/>
              <a:gdLst>
                <a:gd name="connsiteX0" fmla="*/ 1631 w 14803"/>
                <a:gd name="connsiteY0" fmla="*/ 2497 h 14662"/>
                <a:gd name="connsiteX1" fmla="*/ 2767 w 14803"/>
                <a:gd name="connsiteY1" fmla="*/ 12843 h 14662"/>
                <a:gd name="connsiteX2" fmla="*/ 13173 w 14803"/>
                <a:gd name="connsiteY2" fmla="*/ 12186 h 14662"/>
                <a:gd name="connsiteX3" fmla="*/ 12037 w 14803"/>
                <a:gd name="connsiteY3" fmla="*/ 1839 h 14662"/>
                <a:gd name="connsiteX4" fmla="*/ 1631 w 14803"/>
                <a:gd name="connsiteY4" fmla="*/ 2497 h 14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3" h="14662">
                  <a:moveTo>
                    <a:pt x="1631" y="2497"/>
                  </a:moveTo>
                  <a:cubicBezTo>
                    <a:pt x="-941" y="5547"/>
                    <a:pt x="-403" y="10152"/>
                    <a:pt x="2767" y="12843"/>
                  </a:cubicBezTo>
                  <a:cubicBezTo>
                    <a:pt x="5937" y="15535"/>
                    <a:pt x="10602" y="15176"/>
                    <a:pt x="13173" y="12186"/>
                  </a:cubicBezTo>
                  <a:cubicBezTo>
                    <a:pt x="15745" y="9135"/>
                    <a:pt x="15206" y="4530"/>
                    <a:pt x="12037" y="1839"/>
                  </a:cubicBezTo>
                  <a:cubicBezTo>
                    <a:pt x="8867" y="-852"/>
                    <a:pt x="4202" y="-553"/>
                    <a:pt x="1631" y="2497"/>
                  </a:cubicBezTo>
                  <a:close/>
                </a:path>
              </a:pathLst>
            </a:custGeom>
            <a:solidFill>
              <a:srgbClr val="E3E3E3"/>
            </a:solidFill>
            <a:ln w="5978"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D11D56F2-5A8C-490F-90EB-CFBB7F4F64F0}"/>
                </a:ext>
              </a:extLst>
            </p:cNvPr>
            <p:cNvSpPr/>
            <p:nvPr/>
          </p:nvSpPr>
          <p:spPr>
            <a:xfrm>
              <a:off x="7849280" y="2377758"/>
              <a:ext cx="13911" cy="13457"/>
            </a:xfrm>
            <a:custGeom>
              <a:avLst/>
              <a:gdLst>
                <a:gd name="connsiteX0" fmla="*/ 1215 w 13911"/>
                <a:gd name="connsiteY0" fmla="*/ 1892 h 13457"/>
                <a:gd name="connsiteX1" fmla="*/ 3009 w 13911"/>
                <a:gd name="connsiteY1" fmla="*/ 11401 h 13457"/>
                <a:gd name="connsiteX2" fmla="*/ 12698 w 13911"/>
                <a:gd name="connsiteY2" fmla="*/ 11521 h 13457"/>
                <a:gd name="connsiteX3" fmla="*/ 10904 w 13911"/>
                <a:gd name="connsiteY3" fmla="*/ 2012 h 13457"/>
                <a:gd name="connsiteX4" fmla="*/ 1215 w 13911"/>
                <a:gd name="connsiteY4" fmla="*/ 1892 h 1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11" h="13457">
                  <a:moveTo>
                    <a:pt x="1215" y="1892"/>
                  </a:moveTo>
                  <a:cubicBezTo>
                    <a:pt x="-939" y="4464"/>
                    <a:pt x="-161" y="8770"/>
                    <a:pt x="3009" y="11401"/>
                  </a:cubicBezTo>
                  <a:cubicBezTo>
                    <a:pt x="6179" y="14093"/>
                    <a:pt x="10545" y="14153"/>
                    <a:pt x="12698" y="11521"/>
                  </a:cubicBezTo>
                  <a:cubicBezTo>
                    <a:pt x="14850" y="8949"/>
                    <a:pt x="14073" y="4643"/>
                    <a:pt x="10904" y="2012"/>
                  </a:cubicBezTo>
                  <a:cubicBezTo>
                    <a:pt x="7734" y="-620"/>
                    <a:pt x="3368" y="-680"/>
                    <a:pt x="1215" y="1892"/>
                  </a:cubicBezTo>
                  <a:close/>
                </a:path>
              </a:pathLst>
            </a:custGeom>
            <a:solidFill>
              <a:srgbClr val="FFFFFF"/>
            </a:solidFill>
            <a:ln w="5978"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A1C24289-BB1F-4B6C-88C3-F08F3CFCE7B5}"/>
                </a:ext>
              </a:extLst>
            </p:cNvPr>
            <p:cNvSpPr/>
            <p:nvPr/>
          </p:nvSpPr>
          <p:spPr>
            <a:xfrm>
              <a:off x="7787147" y="2336813"/>
              <a:ext cx="20849" cy="20776"/>
            </a:xfrm>
            <a:custGeom>
              <a:avLst/>
              <a:gdLst>
                <a:gd name="connsiteX0" fmla="*/ 15078 w 20849"/>
                <a:gd name="connsiteY0" fmla="*/ 4845 h 20776"/>
                <a:gd name="connsiteX1" fmla="*/ 16197 w 20849"/>
                <a:gd name="connsiteY1" fmla="*/ 15233 h 20776"/>
                <a:gd name="connsiteX2" fmla="*/ 5772 w 20849"/>
                <a:gd name="connsiteY2" fmla="*/ 15930 h 20776"/>
                <a:gd name="connsiteX3" fmla="*/ 4653 w 20849"/>
                <a:gd name="connsiteY3" fmla="*/ 5542 h 20776"/>
                <a:gd name="connsiteX4" fmla="*/ 15078 w 20849"/>
                <a:gd name="connsiteY4" fmla="*/ 4845 h 20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49" h="20776">
                  <a:moveTo>
                    <a:pt x="15078" y="4845"/>
                  </a:moveTo>
                  <a:cubicBezTo>
                    <a:pt x="18266" y="7521"/>
                    <a:pt x="18766" y="12172"/>
                    <a:pt x="16197" y="15233"/>
                  </a:cubicBezTo>
                  <a:cubicBezTo>
                    <a:pt x="13627" y="18294"/>
                    <a:pt x="8960" y="18606"/>
                    <a:pt x="5772" y="15930"/>
                  </a:cubicBezTo>
                  <a:cubicBezTo>
                    <a:pt x="2584" y="13254"/>
                    <a:pt x="2084" y="8603"/>
                    <a:pt x="4653" y="5542"/>
                  </a:cubicBezTo>
                  <a:cubicBezTo>
                    <a:pt x="7223" y="2481"/>
                    <a:pt x="11890" y="2169"/>
                    <a:pt x="15078" y="4845"/>
                  </a:cubicBezTo>
                  <a:close/>
                </a:path>
              </a:pathLst>
            </a:custGeom>
            <a:solidFill>
              <a:srgbClr val="E3E3E3"/>
            </a:solidFill>
            <a:ln w="5978" cap="flat">
              <a:noFill/>
              <a:prstDash val="solid"/>
              <a:miter/>
            </a:ln>
          </p:spPr>
          <p:txBody>
            <a:bodyPr rtlCol="0" anchor="ctr"/>
            <a:lstStyle/>
            <a:p>
              <a:endParaRPr lang="en-GB"/>
            </a:p>
          </p:txBody>
        </p:sp>
        <p:sp>
          <p:nvSpPr>
            <p:cNvPr id="18" name="Vrije vorm: vorm 17">
              <a:extLst>
                <a:ext uri="{FF2B5EF4-FFF2-40B4-BE49-F238E27FC236}">
                  <a16:creationId xmlns:a16="http://schemas.microsoft.com/office/drawing/2014/main" id="{4E7E4B36-4D00-46CB-8804-29DCC6E2719B}"/>
                </a:ext>
              </a:extLst>
            </p:cNvPr>
            <p:cNvSpPr/>
            <p:nvPr/>
          </p:nvSpPr>
          <p:spPr>
            <a:xfrm>
              <a:off x="7788254" y="2337747"/>
              <a:ext cx="19750" cy="19853"/>
            </a:xfrm>
            <a:custGeom>
              <a:avLst/>
              <a:gdLst>
                <a:gd name="connsiteX0" fmla="*/ 14528 w 19750"/>
                <a:gd name="connsiteY0" fmla="*/ 4384 h 19853"/>
                <a:gd name="connsiteX1" fmla="*/ 15097 w 19750"/>
                <a:gd name="connsiteY1" fmla="*/ 14311 h 19853"/>
                <a:gd name="connsiteX2" fmla="*/ 5222 w 19750"/>
                <a:gd name="connsiteY2" fmla="*/ 15469 h 19853"/>
                <a:gd name="connsiteX3" fmla="*/ 4653 w 19750"/>
                <a:gd name="connsiteY3" fmla="*/ 5542 h 19853"/>
                <a:gd name="connsiteX4" fmla="*/ 14528 w 19750"/>
                <a:gd name="connsiteY4" fmla="*/ 4384 h 1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50" h="19853">
                  <a:moveTo>
                    <a:pt x="14528" y="4384"/>
                  </a:moveTo>
                  <a:cubicBezTo>
                    <a:pt x="17412" y="6805"/>
                    <a:pt x="17667" y="11250"/>
                    <a:pt x="15097" y="14311"/>
                  </a:cubicBezTo>
                  <a:cubicBezTo>
                    <a:pt x="12528" y="17371"/>
                    <a:pt x="8106" y="17890"/>
                    <a:pt x="5222" y="15469"/>
                  </a:cubicBezTo>
                  <a:cubicBezTo>
                    <a:pt x="2338" y="13048"/>
                    <a:pt x="2084" y="8603"/>
                    <a:pt x="4653" y="5542"/>
                  </a:cubicBezTo>
                  <a:cubicBezTo>
                    <a:pt x="7223" y="2482"/>
                    <a:pt x="11644" y="1963"/>
                    <a:pt x="14528" y="4384"/>
                  </a:cubicBezTo>
                  <a:close/>
                </a:path>
              </a:pathLst>
            </a:custGeom>
            <a:solidFill>
              <a:srgbClr val="FFFFFF"/>
            </a:solidFill>
            <a:ln w="5978"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0AB6163F-2DE9-4ED4-8457-E39B6183EA9E}"/>
                </a:ext>
              </a:extLst>
            </p:cNvPr>
            <p:cNvSpPr/>
            <p:nvPr/>
          </p:nvSpPr>
          <p:spPr>
            <a:xfrm>
              <a:off x="7799927" y="2306006"/>
              <a:ext cx="17387" cy="17328"/>
            </a:xfrm>
            <a:custGeom>
              <a:avLst/>
              <a:gdLst>
                <a:gd name="connsiteX0" fmla="*/ 12578 w 17387"/>
                <a:gd name="connsiteY0" fmla="*/ 4038 h 17328"/>
                <a:gd name="connsiteX1" fmla="*/ 13503 w 17387"/>
                <a:gd name="connsiteY1" fmla="*/ 12702 h 17328"/>
                <a:gd name="connsiteX2" fmla="*/ 4810 w 17387"/>
                <a:gd name="connsiteY2" fmla="*/ 13291 h 17328"/>
                <a:gd name="connsiteX3" fmla="*/ 3884 w 17387"/>
                <a:gd name="connsiteY3" fmla="*/ 4626 h 17328"/>
                <a:gd name="connsiteX4" fmla="*/ 12578 w 17387"/>
                <a:gd name="connsiteY4" fmla="*/ 4038 h 17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7" h="17328">
                  <a:moveTo>
                    <a:pt x="12578" y="4038"/>
                  </a:moveTo>
                  <a:cubicBezTo>
                    <a:pt x="15234" y="6268"/>
                    <a:pt x="15649" y="10147"/>
                    <a:pt x="13503" y="12702"/>
                  </a:cubicBezTo>
                  <a:cubicBezTo>
                    <a:pt x="11358" y="15257"/>
                    <a:pt x="7466" y="15521"/>
                    <a:pt x="4810" y="13291"/>
                  </a:cubicBezTo>
                  <a:cubicBezTo>
                    <a:pt x="2153" y="11061"/>
                    <a:pt x="1739" y="7182"/>
                    <a:pt x="3884" y="4626"/>
                  </a:cubicBezTo>
                  <a:cubicBezTo>
                    <a:pt x="6030" y="2071"/>
                    <a:pt x="9922" y="1808"/>
                    <a:pt x="12578" y="4038"/>
                  </a:cubicBezTo>
                  <a:close/>
                </a:path>
              </a:pathLst>
            </a:custGeom>
            <a:solidFill>
              <a:srgbClr val="E3E3E3"/>
            </a:solidFill>
            <a:ln w="5978" cap="flat">
              <a:noFill/>
              <a:prstDash val="solid"/>
              <a:miter/>
            </a:ln>
          </p:spPr>
          <p:txBody>
            <a:bodyPr rtlCol="0" anchor="ctr"/>
            <a:lstStyle/>
            <a:p>
              <a:endParaRPr lang="en-GB"/>
            </a:p>
          </p:txBody>
        </p:sp>
        <p:sp>
          <p:nvSpPr>
            <p:cNvPr id="20" name="Vrije vorm: vorm 19">
              <a:extLst>
                <a:ext uri="{FF2B5EF4-FFF2-40B4-BE49-F238E27FC236}">
                  <a16:creationId xmlns:a16="http://schemas.microsoft.com/office/drawing/2014/main" id="{70C1C4F5-7E16-4DCD-B4C1-7BC6F9CAD01A}"/>
                </a:ext>
              </a:extLst>
            </p:cNvPr>
            <p:cNvSpPr/>
            <p:nvPr/>
          </p:nvSpPr>
          <p:spPr>
            <a:xfrm>
              <a:off x="7803609" y="2309191"/>
              <a:ext cx="11296" cy="11194"/>
            </a:xfrm>
            <a:custGeom>
              <a:avLst/>
              <a:gdLst>
                <a:gd name="connsiteX0" fmla="*/ 1253 w 11296"/>
                <a:gd name="connsiteY0" fmla="*/ 1919 h 11194"/>
                <a:gd name="connsiteX1" fmla="*/ 2089 w 11296"/>
                <a:gd name="connsiteY1" fmla="*/ 9814 h 11194"/>
                <a:gd name="connsiteX2" fmla="*/ 10044 w 11296"/>
                <a:gd name="connsiteY2" fmla="*/ 9276 h 11194"/>
                <a:gd name="connsiteX3" fmla="*/ 9207 w 11296"/>
                <a:gd name="connsiteY3" fmla="*/ 1381 h 11194"/>
                <a:gd name="connsiteX4" fmla="*/ 1253 w 11296"/>
                <a:gd name="connsiteY4" fmla="*/ 1919 h 1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6" h="11194">
                  <a:moveTo>
                    <a:pt x="1253" y="1919"/>
                  </a:moveTo>
                  <a:cubicBezTo>
                    <a:pt x="-722" y="4252"/>
                    <a:pt x="-302" y="7780"/>
                    <a:pt x="2089" y="9814"/>
                  </a:cubicBezTo>
                  <a:cubicBezTo>
                    <a:pt x="4542" y="11847"/>
                    <a:pt x="8070" y="11608"/>
                    <a:pt x="10044" y="9276"/>
                  </a:cubicBezTo>
                  <a:cubicBezTo>
                    <a:pt x="12017" y="6943"/>
                    <a:pt x="11599" y="3414"/>
                    <a:pt x="9207" y="1381"/>
                  </a:cubicBezTo>
                  <a:cubicBezTo>
                    <a:pt x="6754" y="-652"/>
                    <a:pt x="3166" y="-413"/>
                    <a:pt x="1253" y="1919"/>
                  </a:cubicBezTo>
                  <a:close/>
                </a:path>
              </a:pathLst>
            </a:custGeom>
            <a:solidFill>
              <a:srgbClr val="FFFFFF"/>
            </a:solidFill>
            <a:ln w="5978" cap="flat">
              <a:noFill/>
              <a:prstDash val="solid"/>
              <a:miter/>
            </a:ln>
          </p:spPr>
          <p:txBody>
            <a:bodyPr rtlCol="0" anchor="ctr"/>
            <a:lstStyle/>
            <a:p>
              <a:endParaRPr lang="en-GB"/>
            </a:p>
          </p:txBody>
        </p:sp>
        <p:sp>
          <p:nvSpPr>
            <p:cNvPr id="21" name="Vrije vorm: vorm 20">
              <a:extLst>
                <a:ext uri="{FF2B5EF4-FFF2-40B4-BE49-F238E27FC236}">
                  <a16:creationId xmlns:a16="http://schemas.microsoft.com/office/drawing/2014/main" id="{320988BF-EFB0-4C43-989B-5B1BF32DC52E}"/>
                </a:ext>
              </a:extLst>
            </p:cNvPr>
            <p:cNvSpPr/>
            <p:nvPr/>
          </p:nvSpPr>
          <p:spPr>
            <a:xfrm>
              <a:off x="7848641" y="2370291"/>
              <a:ext cx="25498" cy="22635"/>
            </a:xfrm>
            <a:custGeom>
              <a:avLst/>
              <a:gdLst>
                <a:gd name="connsiteX0" fmla="*/ 359 w 25498"/>
                <a:gd name="connsiteY0" fmla="*/ 2301 h 22635"/>
                <a:gd name="connsiteX1" fmla="*/ 0 w 25498"/>
                <a:gd name="connsiteY1" fmla="*/ 2780 h 22635"/>
                <a:gd name="connsiteX2" fmla="*/ 16746 w 25498"/>
                <a:gd name="connsiteY2" fmla="*/ 6846 h 22635"/>
                <a:gd name="connsiteX3" fmla="*/ 23624 w 25498"/>
                <a:gd name="connsiteY3" fmla="*/ 22635 h 22635"/>
                <a:gd name="connsiteX4" fmla="*/ 24043 w 25498"/>
                <a:gd name="connsiteY4" fmla="*/ 22217 h 22635"/>
                <a:gd name="connsiteX5" fmla="*/ 18241 w 25498"/>
                <a:gd name="connsiteY5" fmla="*/ 5112 h 22635"/>
                <a:gd name="connsiteX6" fmla="*/ 359 w 25498"/>
                <a:gd name="connsiteY6" fmla="*/ 2301 h 2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98" h="22635">
                  <a:moveTo>
                    <a:pt x="359" y="2301"/>
                  </a:moveTo>
                  <a:cubicBezTo>
                    <a:pt x="239" y="2421"/>
                    <a:pt x="120" y="2600"/>
                    <a:pt x="0" y="2780"/>
                  </a:cubicBezTo>
                  <a:cubicBezTo>
                    <a:pt x="3170" y="-151"/>
                    <a:pt x="10466" y="1524"/>
                    <a:pt x="16746" y="6846"/>
                  </a:cubicBezTo>
                  <a:cubicBezTo>
                    <a:pt x="23026" y="12110"/>
                    <a:pt x="25956" y="19047"/>
                    <a:pt x="23624" y="22635"/>
                  </a:cubicBezTo>
                  <a:cubicBezTo>
                    <a:pt x="23803" y="22516"/>
                    <a:pt x="23923" y="22337"/>
                    <a:pt x="24043" y="22217"/>
                  </a:cubicBezTo>
                  <a:cubicBezTo>
                    <a:pt x="27391" y="18270"/>
                    <a:pt x="24760" y="10614"/>
                    <a:pt x="18241" y="5112"/>
                  </a:cubicBezTo>
                  <a:cubicBezTo>
                    <a:pt x="11662" y="-390"/>
                    <a:pt x="3708" y="-1646"/>
                    <a:pt x="359" y="2301"/>
                  </a:cubicBezTo>
                  <a:close/>
                </a:path>
              </a:pathLst>
            </a:custGeom>
            <a:solidFill>
              <a:srgbClr val="FFFFFF"/>
            </a:solidFill>
            <a:ln w="5978" cap="flat">
              <a:noFill/>
              <a:prstDash val="solid"/>
              <a:miter/>
            </a:ln>
          </p:spPr>
          <p:txBody>
            <a:bodyPr rtlCol="0" anchor="ctr"/>
            <a:lstStyle/>
            <a:p>
              <a:endParaRPr lang="en-GB"/>
            </a:p>
          </p:txBody>
        </p:sp>
        <p:sp>
          <p:nvSpPr>
            <p:cNvPr id="22" name="Vrije vorm: vorm 21">
              <a:extLst>
                <a:ext uri="{FF2B5EF4-FFF2-40B4-BE49-F238E27FC236}">
                  <a16:creationId xmlns:a16="http://schemas.microsoft.com/office/drawing/2014/main" id="{4D0FA333-8EFB-472C-83B1-44F99FC5CAB5}"/>
                </a:ext>
              </a:extLst>
            </p:cNvPr>
            <p:cNvSpPr/>
            <p:nvPr/>
          </p:nvSpPr>
          <p:spPr>
            <a:xfrm>
              <a:off x="7847620" y="2371637"/>
              <a:ext cx="25586" cy="23120"/>
            </a:xfrm>
            <a:custGeom>
              <a:avLst/>
              <a:gdLst>
                <a:gd name="connsiteX0" fmla="*/ 1081 w 25586"/>
                <a:gd name="connsiteY0" fmla="*/ 1433 h 23120"/>
                <a:gd name="connsiteX1" fmla="*/ 6104 w 25586"/>
                <a:gd name="connsiteY1" fmla="*/ 16983 h 23120"/>
                <a:gd name="connsiteX2" fmla="*/ 7301 w 25586"/>
                <a:gd name="connsiteY2" fmla="*/ 18060 h 23120"/>
                <a:gd name="connsiteX3" fmla="*/ 8557 w 25586"/>
                <a:gd name="connsiteY3" fmla="*/ 19017 h 23120"/>
                <a:gd name="connsiteX4" fmla="*/ 24764 w 25586"/>
                <a:gd name="connsiteY4" fmla="*/ 21230 h 23120"/>
                <a:gd name="connsiteX5" fmla="*/ 17886 w 25586"/>
                <a:gd name="connsiteY5" fmla="*/ 5440 h 23120"/>
                <a:gd name="connsiteX6" fmla="*/ 1081 w 25586"/>
                <a:gd name="connsiteY6" fmla="*/ 1433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86" h="23120">
                  <a:moveTo>
                    <a:pt x="1081" y="1433"/>
                  </a:moveTo>
                  <a:cubicBezTo>
                    <a:pt x="-1491" y="5261"/>
                    <a:pt x="662" y="11840"/>
                    <a:pt x="6104" y="16983"/>
                  </a:cubicBezTo>
                  <a:cubicBezTo>
                    <a:pt x="6523" y="17342"/>
                    <a:pt x="6882" y="17701"/>
                    <a:pt x="7301" y="18060"/>
                  </a:cubicBezTo>
                  <a:cubicBezTo>
                    <a:pt x="7719" y="18419"/>
                    <a:pt x="8138" y="18718"/>
                    <a:pt x="8557" y="19017"/>
                  </a:cubicBezTo>
                  <a:cubicBezTo>
                    <a:pt x="14597" y="23442"/>
                    <a:pt x="21475" y="24459"/>
                    <a:pt x="24764" y="21230"/>
                  </a:cubicBezTo>
                  <a:cubicBezTo>
                    <a:pt x="27157" y="17641"/>
                    <a:pt x="24166" y="10703"/>
                    <a:pt x="17886" y="5440"/>
                  </a:cubicBezTo>
                  <a:cubicBezTo>
                    <a:pt x="11487" y="177"/>
                    <a:pt x="4191" y="-1497"/>
                    <a:pt x="1081" y="1433"/>
                  </a:cubicBezTo>
                  <a:close/>
                </a:path>
              </a:pathLst>
            </a:custGeom>
            <a:noFill/>
            <a:ln w="5978" cap="flat">
              <a:solidFill>
                <a:srgbClr val="FFFFFF">
                  <a:alpha val="40000"/>
                </a:srgbClr>
              </a:solidFill>
              <a:prstDash val="solid"/>
              <a:miter/>
            </a:ln>
          </p:spPr>
          <p:txBody>
            <a:bodyPr rtlCol="0" anchor="ctr"/>
            <a:lstStyle/>
            <a:p>
              <a:endParaRPr lang="en-GB"/>
            </a:p>
          </p:txBody>
        </p:sp>
        <p:sp>
          <p:nvSpPr>
            <p:cNvPr id="23" name="Vrije vorm: vorm 22">
              <a:extLst>
                <a:ext uri="{FF2B5EF4-FFF2-40B4-BE49-F238E27FC236}">
                  <a16:creationId xmlns:a16="http://schemas.microsoft.com/office/drawing/2014/main" id="{F668C572-FF99-455A-8254-4E81AC0F4C70}"/>
                </a:ext>
              </a:extLst>
            </p:cNvPr>
            <p:cNvSpPr/>
            <p:nvPr/>
          </p:nvSpPr>
          <p:spPr>
            <a:xfrm>
              <a:off x="7847983" y="2334432"/>
              <a:ext cx="22000" cy="19321"/>
            </a:xfrm>
            <a:custGeom>
              <a:avLst/>
              <a:gdLst>
                <a:gd name="connsiteX0" fmla="*/ 180 w 22000"/>
                <a:gd name="connsiteY0" fmla="*/ 1618 h 19321"/>
                <a:gd name="connsiteX1" fmla="*/ 0 w 22000"/>
                <a:gd name="connsiteY1" fmla="*/ 1917 h 19321"/>
                <a:gd name="connsiteX2" fmla="*/ 14474 w 22000"/>
                <a:gd name="connsiteY2" fmla="*/ 5745 h 19321"/>
                <a:gd name="connsiteX3" fmla="*/ 20753 w 22000"/>
                <a:gd name="connsiteY3" fmla="*/ 19321 h 19321"/>
                <a:gd name="connsiteX4" fmla="*/ 20992 w 22000"/>
                <a:gd name="connsiteY4" fmla="*/ 19082 h 19321"/>
                <a:gd name="connsiteX5" fmla="*/ 15310 w 22000"/>
                <a:gd name="connsiteY5" fmla="*/ 4788 h 19321"/>
                <a:gd name="connsiteX6" fmla="*/ 180 w 22000"/>
                <a:gd name="connsiteY6" fmla="*/ 1618 h 1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00" h="19321">
                  <a:moveTo>
                    <a:pt x="180" y="1618"/>
                  </a:moveTo>
                  <a:cubicBezTo>
                    <a:pt x="120" y="1678"/>
                    <a:pt x="0" y="1798"/>
                    <a:pt x="0" y="1917"/>
                  </a:cubicBezTo>
                  <a:cubicBezTo>
                    <a:pt x="2512" y="-595"/>
                    <a:pt x="8851" y="1020"/>
                    <a:pt x="14474" y="5745"/>
                  </a:cubicBezTo>
                  <a:cubicBezTo>
                    <a:pt x="20035" y="10410"/>
                    <a:pt x="22786" y="16391"/>
                    <a:pt x="20753" y="19321"/>
                  </a:cubicBezTo>
                  <a:cubicBezTo>
                    <a:pt x="20813" y="19261"/>
                    <a:pt x="20933" y="19142"/>
                    <a:pt x="20992" y="19082"/>
                  </a:cubicBezTo>
                  <a:cubicBezTo>
                    <a:pt x="23564" y="16032"/>
                    <a:pt x="21052" y="9632"/>
                    <a:pt x="15310" y="4788"/>
                  </a:cubicBezTo>
                  <a:cubicBezTo>
                    <a:pt x="9509" y="-56"/>
                    <a:pt x="2751" y="-1432"/>
                    <a:pt x="180" y="1618"/>
                  </a:cubicBezTo>
                  <a:close/>
                </a:path>
              </a:pathLst>
            </a:custGeom>
            <a:solidFill>
              <a:srgbClr val="FFFFFF"/>
            </a:solidFill>
            <a:ln w="5978" cap="flat">
              <a:noFill/>
              <a:prstDash val="solid"/>
              <a:miter/>
            </a:ln>
          </p:spPr>
          <p:txBody>
            <a:bodyPr rtlCol="0" anchor="ctr"/>
            <a:lstStyle/>
            <a:p>
              <a:endParaRPr lang="en-GB"/>
            </a:p>
          </p:txBody>
        </p:sp>
        <p:sp>
          <p:nvSpPr>
            <p:cNvPr id="24" name="Vrije vorm: vorm 23">
              <a:extLst>
                <a:ext uri="{FF2B5EF4-FFF2-40B4-BE49-F238E27FC236}">
                  <a16:creationId xmlns:a16="http://schemas.microsoft.com/office/drawing/2014/main" id="{30179DFB-7727-4AB0-BA93-00C275BED29B}"/>
                </a:ext>
              </a:extLst>
            </p:cNvPr>
            <p:cNvSpPr/>
            <p:nvPr/>
          </p:nvSpPr>
          <p:spPr>
            <a:xfrm>
              <a:off x="7847174" y="2335145"/>
              <a:ext cx="22177" cy="20000"/>
            </a:xfrm>
            <a:custGeom>
              <a:avLst/>
              <a:gdLst>
                <a:gd name="connsiteX0" fmla="*/ 809 w 22177"/>
                <a:gd name="connsiteY0" fmla="*/ 1204 h 20000"/>
                <a:gd name="connsiteX1" fmla="*/ 5653 w 22177"/>
                <a:gd name="connsiteY1" fmla="*/ 14301 h 20000"/>
                <a:gd name="connsiteX2" fmla="*/ 6670 w 22177"/>
                <a:gd name="connsiteY2" fmla="*/ 15258 h 20000"/>
                <a:gd name="connsiteX3" fmla="*/ 7747 w 22177"/>
                <a:gd name="connsiteY3" fmla="*/ 16096 h 20000"/>
                <a:gd name="connsiteX4" fmla="*/ 21502 w 22177"/>
                <a:gd name="connsiteY4" fmla="*/ 18608 h 20000"/>
                <a:gd name="connsiteX5" fmla="*/ 15223 w 22177"/>
                <a:gd name="connsiteY5" fmla="*/ 5031 h 20000"/>
                <a:gd name="connsiteX6" fmla="*/ 809 w 22177"/>
                <a:gd name="connsiteY6" fmla="*/ 1204 h 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77" h="20000">
                  <a:moveTo>
                    <a:pt x="809" y="1204"/>
                  </a:moveTo>
                  <a:cubicBezTo>
                    <a:pt x="-1284" y="4194"/>
                    <a:pt x="809" y="9756"/>
                    <a:pt x="5653" y="14301"/>
                  </a:cubicBezTo>
                  <a:cubicBezTo>
                    <a:pt x="6012" y="14600"/>
                    <a:pt x="6311" y="14959"/>
                    <a:pt x="6670" y="15258"/>
                  </a:cubicBezTo>
                  <a:cubicBezTo>
                    <a:pt x="7029" y="15557"/>
                    <a:pt x="7388" y="15856"/>
                    <a:pt x="7747" y="16096"/>
                  </a:cubicBezTo>
                  <a:cubicBezTo>
                    <a:pt x="13070" y="20103"/>
                    <a:pt x="18931" y="21179"/>
                    <a:pt x="21502" y="18608"/>
                  </a:cubicBezTo>
                  <a:cubicBezTo>
                    <a:pt x="23536" y="15677"/>
                    <a:pt x="20844" y="9696"/>
                    <a:pt x="15223" y="5031"/>
                  </a:cubicBezTo>
                  <a:cubicBezTo>
                    <a:pt x="9660" y="307"/>
                    <a:pt x="3321" y="-1368"/>
                    <a:pt x="809" y="1204"/>
                  </a:cubicBezTo>
                  <a:close/>
                </a:path>
              </a:pathLst>
            </a:custGeom>
            <a:noFill/>
            <a:ln w="5978" cap="flat">
              <a:solidFill>
                <a:srgbClr val="FFFFFF">
                  <a:alpha val="40000"/>
                </a:srgbClr>
              </a:solidFill>
              <a:prstDash val="solid"/>
              <a:miter/>
            </a:ln>
          </p:spPr>
          <p:txBody>
            <a:bodyPr rtlCol="0" anchor="ctr"/>
            <a:lstStyle/>
            <a:p>
              <a:endParaRPr lang="en-GB"/>
            </a:p>
          </p:txBody>
        </p:sp>
        <p:sp>
          <p:nvSpPr>
            <p:cNvPr id="25" name="Vrije vorm: vorm 24">
              <a:extLst>
                <a:ext uri="{FF2B5EF4-FFF2-40B4-BE49-F238E27FC236}">
                  <a16:creationId xmlns:a16="http://schemas.microsoft.com/office/drawing/2014/main" id="{82AC2B21-2DD1-4882-8890-432F5CA7369E}"/>
                </a:ext>
              </a:extLst>
            </p:cNvPr>
            <p:cNvSpPr/>
            <p:nvPr/>
          </p:nvSpPr>
          <p:spPr>
            <a:xfrm>
              <a:off x="7799120" y="2300965"/>
              <a:ext cx="23192" cy="20133"/>
            </a:xfrm>
            <a:custGeom>
              <a:avLst/>
              <a:gdLst>
                <a:gd name="connsiteX0" fmla="*/ 239 w 23192"/>
                <a:gd name="connsiteY0" fmla="*/ 1353 h 20133"/>
                <a:gd name="connsiteX1" fmla="*/ 0 w 23192"/>
                <a:gd name="connsiteY1" fmla="*/ 1652 h 20133"/>
                <a:gd name="connsiteX2" fmla="*/ 14713 w 23192"/>
                <a:gd name="connsiteY2" fmla="*/ 6497 h 20133"/>
                <a:gd name="connsiteX3" fmla="*/ 22069 w 23192"/>
                <a:gd name="connsiteY3" fmla="*/ 20133 h 20133"/>
                <a:gd name="connsiteX4" fmla="*/ 22368 w 23192"/>
                <a:gd name="connsiteY4" fmla="*/ 19894 h 20133"/>
                <a:gd name="connsiteX5" fmla="*/ 15669 w 23192"/>
                <a:gd name="connsiteY5" fmla="*/ 5420 h 20133"/>
                <a:gd name="connsiteX6" fmla="*/ 239 w 23192"/>
                <a:gd name="connsiteY6" fmla="*/ 1353 h 2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92" h="20133">
                  <a:moveTo>
                    <a:pt x="239" y="1353"/>
                  </a:moveTo>
                  <a:cubicBezTo>
                    <a:pt x="180" y="1473"/>
                    <a:pt x="60" y="1533"/>
                    <a:pt x="0" y="1652"/>
                  </a:cubicBezTo>
                  <a:cubicBezTo>
                    <a:pt x="2333" y="-560"/>
                    <a:pt x="8792" y="1593"/>
                    <a:pt x="14713" y="6497"/>
                  </a:cubicBezTo>
                  <a:cubicBezTo>
                    <a:pt x="20634" y="11461"/>
                    <a:pt x="23803" y="17442"/>
                    <a:pt x="22069" y="20133"/>
                  </a:cubicBezTo>
                  <a:cubicBezTo>
                    <a:pt x="22189" y="20073"/>
                    <a:pt x="22249" y="19954"/>
                    <a:pt x="22368" y="19894"/>
                  </a:cubicBezTo>
                  <a:cubicBezTo>
                    <a:pt x="24760" y="17023"/>
                    <a:pt x="21770" y="10564"/>
                    <a:pt x="15669" y="5420"/>
                  </a:cubicBezTo>
                  <a:cubicBezTo>
                    <a:pt x="9569" y="337"/>
                    <a:pt x="2692" y="-1517"/>
                    <a:pt x="239" y="1353"/>
                  </a:cubicBezTo>
                  <a:close/>
                </a:path>
              </a:pathLst>
            </a:custGeom>
            <a:solidFill>
              <a:srgbClr val="FFFFFF"/>
            </a:solidFill>
            <a:ln w="5978" cap="flat">
              <a:noFill/>
              <a:prstDash val="solid"/>
              <a:miter/>
            </a:ln>
          </p:spPr>
          <p:txBody>
            <a:bodyPr rtlCol="0" anchor="ctr"/>
            <a:lstStyle/>
            <a:p>
              <a:endParaRPr lang="en-GB"/>
            </a:p>
          </p:txBody>
        </p:sp>
        <p:sp>
          <p:nvSpPr>
            <p:cNvPr id="26" name="Vrije vorm: vorm 25">
              <a:extLst>
                <a:ext uri="{FF2B5EF4-FFF2-40B4-BE49-F238E27FC236}">
                  <a16:creationId xmlns:a16="http://schemas.microsoft.com/office/drawing/2014/main" id="{1E46B9B1-D00E-4361-84D5-3C558F33BD21}"/>
                </a:ext>
              </a:extLst>
            </p:cNvPr>
            <p:cNvSpPr/>
            <p:nvPr/>
          </p:nvSpPr>
          <p:spPr>
            <a:xfrm>
              <a:off x="7798574" y="2301774"/>
              <a:ext cx="23147" cy="20400"/>
            </a:xfrm>
            <a:custGeom>
              <a:avLst/>
              <a:gdLst>
                <a:gd name="connsiteX0" fmla="*/ 605 w 23147"/>
                <a:gd name="connsiteY0" fmla="*/ 844 h 20400"/>
                <a:gd name="connsiteX1" fmla="*/ 7543 w 23147"/>
                <a:gd name="connsiteY1" fmla="*/ 14958 h 20400"/>
                <a:gd name="connsiteX2" fmla="*/ 22675 w 23147"/>
                <a:gd name="connsiteY2" fmla="*/ 19324 h 20400"/>
                <a:gd name="connsiteX3" fmla="*/ 15319 w 23147"/>
                <a:gd name="connsiteY3" fmla="*/ 5688 h 20400"/>
                <a:gd name="connsiteX4" fmla="*/ 605 w 23147"/>
                <a:gd name="connsiteY4" fmla="*/ 844 h 2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47" h="20400">
                  <a:moveTo>
                    <a:pt x="605" y="844"/>
                  </a:moveTo>
                  <a:cubicBezTo>
                    <a:pt x="-1368" y="3834"/>
                    <a:pt x="1622" y="9994"/>
                    <a:pt x="7543" y="14958"/>
                  </a:cubicBezTo>
                  <a:cubicBezTo>
                    <a:pt x="13464" y="19922"/>
                    <a:pt x="20103" y="21776"/>
                    <a:pt x="22675" y="19324"/>
                  </a:cubicBezTo>
                  <a:cubicBezTo>
                    <a:pt x="24409" y="16633"/>
                    <a:pt x="21239" y="10652"/>
                    <a:pt x="15319" y="5688"/>
                  </a:cubicBezTo>
                  <a:cubicBezTo>
                    <a:pt x="9397" y="784"/>
                    <a:pt x="2938" y="-1309"/>
                    <a:pt x="605" y="844"/>
                  </a:cubicBezTo>
                  <a:close/>
                </a:path>
              </a:pathLst>
            </a:custGeom>
            <a:noFill/>
            <a:ln w="5978" cap="flat">
              <a:solidFill>
                <a:srgbClr val="FFFFFF">
                  <a:alpha val="40000"/>
                </a:srgbClr>
              </a:solid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E069C349-EECF-4DEB-9B11-06A09D8C3E72}"/>
                </a:ext>
              </a:extLst>
            </p:cNvPr>
            <p:cNvSpPr/>
            <p:nvPr/>
          </p:nvSpPr>
          <p:spPr>
            <a:xfrm>
              <a:off x="7788295" y="2329850"/>
              <a:ext cx="25610" cy="22766"/>
            </a:xfrm>
            <a:custGeom>
              <a:avLst/>
              <a:gdLst>
                <a:gd name="connsiteX0" fmla="*/ 418 w 25610"/>
                <a:gd name="connsiteY0" fmla="*/ 2372 h 22766"/>
                <a:gd name="connsiteX1" fmla="*/ 0 w 25610"/>
                <a:gd name="connsiteY1" fmla="*/ 2970 h 22766"/>
                <a:gd name="connsiteX2" fmla="*/ 16627 w 25610"/>
                <a:gd name="connsiteY2" fmla="*/ 7097 h 22766"/>
                <a:gd name="connsiteX3" fmla="*/ 23564 w 25610"/>
                <a:gd name="connsiteY3" fmla="*/ 22766 h 22766"/>
                <a:gd name="connsiteX4" fmla="*/ 24102 w 25610"/>
                <a:gd name="connsiteY4" fmla="*/ 22228 h 22766"/>
                <a:gd name="connsiteX5" fmla="*/ 18420 w 25610"/>
                <a:gd name="connsiteY5" fmla="*/ 5004 h 22766"/>
                <a:gd name="connsiteX6" fmla="*/ 418 w 25610"/>
                <a:gd name="connsiteY6" fmla="*/ 2372 h 2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10" h="22766">
                  <a:moveTo>
                    <a:pt x="418" y="2372"/>
                  </a:moveTo>
                  <a:cubicBezTo>
                    <a:pt x="239" y="2552"/>
                    <a:pt x="120" y="2791"/>
                    <a:pt x="0" y="2970"/>
                  </a:cubicBezTo>
                  <a:cubicBezTo>
                    <a:pt x="3170" y="159"/>
                    <a:pt x="10406" y="1894"/>
                    <a:pt x="16627" y="7097"/>
                  </a:cubicBezTo>
                  <a:cubicBezTo>
                    <a:pt x="22846" y="12300"/>
                    <a:pt x="25836" y="19178"/>
                    <a:pt x="23564" y="22766"/>
                  </a:cubicBezTo>
                  <a:cubicBezTo>
                    <a:pt x="23743" y="22587"/>
                    <a:pt x="23923" y="22408"/>
                    <a:pt x="24102" y="22228"/>
                  </a:cubicBezTo>
                  <a:cubicBezTo>
                    <a:pt x="27511" y="18161"/>
                    <a:pt x="24939" y="10506"/>
                    <a:pt x="18420" y="5004"/>
                  </a:cubicBezTo>
                  <a:cubicBezTo>
                    <a:pt x="11842" y="-439"/>
                    <a:pt x="3768" y="-1635"/>
                    <a:pt x="418" y="2372"/>
                  </a:cubicBezTo>
                  <a:close/>
                </a:path>
              </a:pathLst>
            </a:custGeom>
            <a:solidFill>
              <a:srgbClr val="FFFFFF"/>
            </a:solidFill>
            <a:ln w="5978"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1C3F3102-087E-4099-BFD9-10142A897A42}"/>
                </a:ext>
              </a:extLst>
            </p:cNvPr>
            <p:cNvSpPr/>
            <p:nvPr/>
          </p:nvSpPr>
          <p:spPr>
            <a:xfrm>
              <a:off x="7787179" y="2331543"/>
              <a:ext cx="25413" cy="23019"/>
            </a:xfrm>
            <a:custGeom>
              <a:avLst/>
              <a:gdLst>
                <a:gd name="connsiteX0" fmla="*/ 1056 w 25413"/>
                <a:gd name="connsiteY0" fmla="*/ 1338 h 23019"/>
                <a:gd name="connsiteX1" fmla="*/ 6020 w 25413"/>
                <a:gd name="connsiteY1" fmla="*/ 16947 h 23019"/>
                <a:gd name="connsiteX2" fmla="*/ 7216 w 25413"/>
                <a:gd name="connsiteY2" fmla="*/ 18024 h 23019"/>
                <a:gd name="connsiteX3" fmla="*/ 8472 w 25413"/>
                <a:gd name="connsiteY3" fmla="*/ 18981 h 23019"/>
                <a:gd name="connsiteX4" fmla="*/ 24680 w 25413"/>
                <a:gd name="connsiteY4" fmla="*/ 21134 h 23019"/>
                <a:gd name="connsiteX5" fmla="*/ 17743 w 25413"/>
                <a:gd name="connsiteY5" fmla="*/ 5464 h 23019"/>
                <a:gd name="connsiteX6" fmla="*/ 1056 w 25413"/>
                <a:gd name="connsiteY6" fmla="*/ 1338 h 2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13" h="23019">
                  <a:moveTo>
                    <a:pt x="1056" y="1338"/>
                  </a:moveTo>
                  <a:cubicBezTo>
                    <a:pt x="-1456" y="5225"/>
                    <a:pt x="637" y="11804"/>
                    <a:pt x="6020" y="16947"/>
                  </a:cubicBezTo>
                  <a:cubicBezTo>
                    <a:pt x="6439" y="17306"/>
                    <a:pt x="6797" y="17665"/>
                    <a:pt x="7216" y="18024"/>
                  </a:cubicBezTo>
                  <a:cubicBezTo>
                    <a:pt x="7635" y="18382"/>
                    <a:pt x="8053" y="18682"/>
                    <a:pt x="8472" y="18981"/>
                  </a:cubicBezTo>
                  <a:cubicBezTo>
                    <a:pt x="14453" y="23406"/>
                    <a:pt x="21271" y="24303"/>
                    <a:pt x="24680" y="21134"/>
                  </a:cubicBezTo>
                  <a:cubicBezTo>
                    <a:pt x="26893" y="17545"/>
                    <a:pt x="23962" y="10667"/>
                    <a:pt x="17743" y="5464"/>
                  </a:cubicBezTo>
                  <a:cubicBezTo>
                    <a:pt x="11463" y="261"/>
                    <a:pt x="4226" y="-1473"/>
                    <a:pt x="1056" y="1338"/>
                  </a:cubicBezTo>
                  <a:close/>
                </a:path>
              </a:pathLst>
            </a:custGeom>
            <a:noFill/>
            <a:ln w="5978" cap="flat">
              <a:solidFill>
                <a:srgbClr val="FFFFFF">
                  <a:alpha val="40000"/>
                </a:srgbClr>
              </a:solid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6B7ADD98-1CDE-42D7-8C7D-B6E64A726FAF}"/>
                </a:ext>
              </a:extLst>
            </p:cNvPr>
            <p:cNvSpPr/>
            <p:nvPr/>
          </p:nvSpPr>
          <p:spPr>
            <a:xfrm>
              <a:off x="7823612" y="2342282"/>
              <a:ext cx="13395" cy="11196"/>
            </a:xfrm>
            <a:custGeom>
              <a:avLst/>
              <a:gdLst>
                <a:gd name="connsiteX0" fmla="*/ 448 w 13395"/>
                <a:gd name="connsiteY0" fmla="*/ 1782 h 11196"/>
                <a:gd name="connsiteX1" fmla="*/ 4276 w 13395"/>
                <a:gd name="connsiteY1" fmla="*/ 9676 h 11196"/>
                <a:gd name="connsiteX2" fmla="*/ 12947 w 13395"/>
                <a:gd name="connsiteY2" fmla="*/ 9437 h 11196"/>
                <a:gd name="connsiteX3" fmla="*/ 9120 w 13395"/>
                <a:gd name="connsiteY3" fmla="*/ 1543 h 11196"/>
                <a:gd name="connsiteX4" fmla="*/ 448 w 13395"/>
                <a:gd name="connsiteY4" fmla="*/ 1782 h 11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5" h="11196">
                  <a:moveTo>
                    <a:pt x="448" y="1782"/>
                  </a:moveTo>
                  <a:cubicBezTo>
                    <a:pt x="-868" y="4055"/>
                    <a:pt x="806" y="7583"/>
                    <a:pt x="4276" y="9676"/>
                  </a:cubicBezTo>
                  <a:cubicBezTo>
                    <a:pt x="7744" y="11770"/>
                    <a:pt x="11632" y="11710"/>
                    <a:pt x="12947" y="9437"/>
                  </a:cubicBezTo>
                  <a:cubicBezTo>
                    <a:pt x="14263" y="7165"/>
                    <a:pt x="12589" y="3636"/>
                    <a:pt x="9120" y="1543"/>
                  </a:cubicBezTo>
                  <a:cubicBezTo>
                    <a:pt x="5651" y="-610"/>
                    <a:pt x="1763" y="-491"/>
                    <a:pt x="448" y="1782"/>
                  </a:cubicBezTo>
                  <a:close/>
                </a:path>
              </a:pathLst>
            </a:custGeom>
            <a:solidFill>
              <a:srgbClr val="FFFFFF"/>
            </a:solidFill>
            <a:ln w="5978" cap="flat">
              <a:noFill/>
              <a:prstDash val="solid"/>
              <a:miter/>
            </a:ln>
          </p:spPr>
          <p:txBody>
            <a:bodyPr rtlCol="0" anchor="ctr"/>
            <a:lstStyle/>
            <a:p>
              <a:endParaRPr lang="en-GB"/>
            </a:p>
          </p:txBody>
        </p:sp>
      </p:grpSp>
      <p:grpSp>
        <p:nvGrpSpPr>
          <p:cNvPr id="34" name="DRONE_2">
            <a:extLst>
              <a:ext uri="{FF2B5EF4-FFF2-40B4-BE49-F238E27FC236}">
                <a16:creationId xmlns:a16="http://schemas.microsoft.com/office/drawing/2014/main" id="{23768D91-7E72-4E41-B7B1-483865BB4AD8}"/>
              </a:ext>
            </a:extLst>
          </p:cNvPr>
          <p:cNvGrpSpPr/>
          <p:nvPr userDrawn="1"/>
        </p:nvGrpSpPr>
        <p:grpSpPr>
          <a:xfrm>
            <a:off x="7574306" y="5160454"/>
            <a:ext cx="240811" cy="210837"/>
            <a:chOff x="7599362" y="5053134"/>
            <a:chExt cx="240811" cy="210837"/>
          </a:xfrm>
          <a:noFill/>
        </p:grpSpPr>
        <p:grpSp>
          <p:nvGrpSpPr>
            <p:cNvPr id="35" name="Graphic 3">
              <a:extLst>
                <a:ext uri="{FF2B5EF4-FFF2-40B4-BE49-F238E27FC236}">
                  <a16:creationId xmlns:a16="http://schemas.microsoft.com/office/drawing/2014/main" id="{D0B54019-97A1-466B-9F6A-A66CE3CA2C1B}"/>
                </a:ext>
              </a:extLst>
            </p:cNvPr>
            <p:cNvGrpSpPr/>
            <p:nvPr/>
          </p:nvGrpSpPr>
          <p:grpSpPr>
            <a:xfrm>
              <a:off x="7599362" y="5053134"/>
              <a:ext cx="137854" cy="161207"/>
              <a:chOff x="7599362" y="5053134"/>
              <a:chExt cx="137854" cy="161207"/>
            </a:xfrm>
            <a:noFill/>
          </p:grpSpPr>
          <p:sp>
            <p:nvSpPr>
              <p:cNvPr id="40" name="Vrije vorm: vorm 39">
                <a:extLst>
                  <a:ext uri="{FF2B5EF4-FFF2-40B4-BE49-F238E27FC236}">
                    <a16:creationId xmlns:a16="http://schemas.microsoft.com/office/drawing/2014/main" id="{E7B4BCF5-8451-4227-9807-87BDBC96C92A}"/>
                  </a:ext>
                </a:extLst>
              </p:cNvPr>
              <p:cNvSpPr/>
              <p:nvPr/>
            </p:nvSpPr>
            <p:spPr>
              <a:xfrm>
                <a:off x="7637347" y="5104705"/>
                <a:ext cx="20508" cy="26615"/>
              </a:xfrm>
              <a:custGeom>
                <a:avLst/>
                <a:gdLst>
                  <a:gd name="connsiteX0" fmla="*/ 11658 w 20508"/>
                  <a:gd name="connsiteY0" fmla="*/ 18661 h 26615"/>
                  <a:gd name="connsiteX1" fmla="*/ 7172 w 20508"/>
                  <a:gd name="connsiteY1" fmla="*/ 17763 h 26615"/>
                  <a:gd name="connsiteX2" fmla="*/ 5377 w 20508"/>
                  <a:gd name="connsiteY2" fmla="*/ 9151 h 26615"/>
                  <a:gd name="connsiteX3" fmla="*/ 13990 w 20508"/>
                  <a:gd name="connsiteY3" fmla="*/ 7357 h 26615"/>
                  <a:gd name="connsiteX4" fmla="*/ 16621 w 20508"/>
                  <a:gd name="connsiteY4" fmla="*/ 11065 h 26615"/>
                  <a:gd name="connsiteX5" fmla="*/ 18834 w 20508"/>
                  <a:gd name="connsiteY5" fmla="*/ 8254 h 26615"/>
                  <a:gd name="connsiteX6" fmla="*/ 20509 w 20508"/>
                  <a:gd name="connsiteY6" fmla="*/ 599 h 26615"/>
                  <a:gd name="connsiteX7" fmla="*/ 2627 w 20508"/>
                  <a:gd name="connsiteY7" fmla="*/ 7297 h 26615"/>
                  <a:gd name="connsiteX8" fmla="*/ 3823 w 20508"/>
                  <a:gd name="connsiteY8" fmla="*/ 26615 h 26615"/>
                  <a:gd name="connsiteX9" fmla="*/ 9684 w 20508"/>
                  <a:gd name="connsiteY9" fmla="*/ 22369 h 26615"/>
                  <a:gd name="connsiteX10" fmla="*/ 11658 w 20508"/>
                  <a:gd name="connsiteY10" fmla="*/ 18661 h 2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08" h="26615">
                    <a:moveTo>
                      <a:pt x="11658" y="18661"/>
                    </a:moveTo>
                    <a:cubicBezTo>
                      <a:pt x="10162" y="18900"/>
                      <a:pt x="8547" y="18661"/>
                      <a:pt x="7172" y="17763"/>
                    </a:cubicBezTo>
                    <a:cubicBezTo>
                      <a:pt x="4301" y="15909"/>
                      <a:pt x="3524" y="12022"/>
                      <a:pt x="5377" y="9151"/>
                    </a:cubicBezTo>
                    <a:cubicBezTo>
                      <a:pt x="7232" y="6280"/>
                      <a:pt x="11119" y="5503"/>
                      <a:pt x="13990" y="7357"/>
                    </a:cubicBezTo>
                    <a:cubicBezTo>
                      <a:pt x="15366" y="8254"/>
                      <a:pt x="16263" y="9630"/>
                      <a:pt x="16621" y="11065"/>
                    </a:cubicBezTo>
                    <a:cubicBezTo>
                      <a:pt x="17339" y="10108"/>
                      <a:pt x="18116" y="9151"/>
                      <a:pt x="18834" y="8254"/>
                    </a:cubicBezTo>
                    <a:lnTo>
                      <a:pt x="20509" y="599"/>
                    </a:lnTo>
                    <a:cubicBezTo>
                      <a:pt x="13870" y="-1255"/>
                      <a:pt x="6574" y="1257"/>
                      <a:pt x="2627" y="7297"/>
                    </a:cubicBezTo>
                    <a:cubicBezTo>
                      <a:pt x="-1380" y="13457"/>
                      <a:pt x="-662" y="21292"/>
                      <a:pt x="3823" y="26615"/>
                    </a:cubicBezTo>
                    <a:lnTo>
                      <a:pt x="9684" y="22369"/>
                    </a:lnTo>
                    <a:cubicBezTo>
                      <a:pt x="10282" y="21172"/>
                      <a:pt x="10940" y="19917"/>
                      <a:pt x="11658" y="18661"/>
                    </a:cubicBezTo>
                    <a:close/>
                  </a:path>
                </a:pathLst>
              </a:custGeom>
              <a:noFill/>
              <a:ln w="1515" cap="flat">
                <a:solidFill>
                  <a:srgbClr val="FFFFFF"/>
                </a:solidFill>
                <a:prstDash val="solid"/>
                <a:miter/>
              </a:ln>
            </p:spPr>
            <p:txBody>
              <a:bodyPr rtlCol="0" anchor="ctr"/>
              <a:lstStyle/>
              <a:p>
                <a:endParaRPr lang="en-GB"/>
              </a:p>
            </p:txBody>
          </p:sp>
          <p:sp>
            <p:nvSpPr>
              <p:cNvPr id="41" name="Vrije vorm: vorm 40">
                <a:extLst>
                  <a:ext uri="{FF2B5EF4-FFF2-40B4-BE49-F238E27FC236}">
                    <a16:creationId xmlns:a16="http://schemas.microsoft.com/office/drawing/2014/main" id="{CEA1FE8D-A9ED-48F7-8C1E-A8002469A613}"/>
                  </a:ext>
                </a:extLst>
              </p:cNvPr>
              <p:cNvSpPr/>
              <p:nvPr/>
            </p:nvSpPr>
            <p:spPr>
              <a:xfrm>
                <a:off x="7644476" y="5113959"/>
                <a:ext cx="6800" cy="6745"/>
              </a:xfrm>
              <a:custGeom>
                <a:avLst/>
                <a:gdLst>
                  <a:gd name="connsiteX0" fmla="*/ 6262 w 6800"/>
                  <a:gd name="connsiteY0" fmla="*/ 5219 h 6745"/>
                  <a:gd name="connsiteX1" fmla="*/ 6801 w 6800"/>
                  <a:gd name="connsiteY1" fmla="*/ 3724 h 6745"/>
                  <a:gd name="connsiteX2" fmla="*/ 5903 w 6800"/>
                  <a:gd name="connsiteY2" fmla="*/ 3485 h 6745"/>
                  <a:gd name="connsiteX3" fmla="*/ 5485 w 6800"/>
                  <a:gd name="connsiteY3" fmla="*/ 1451 h 6745"/>
                  <a:gd name="connsiteX4" fmla="*/ 5903 w 6800"/>
                  <a:gd name="connsiteY4" fmla="*/ 1033 h 6745"/>
                  <a:gd name="connsiteX5" fmla="*/ 5305 w 6800"/>
                  <a:gd name="connsiteY5" fmla="*/ 554 h 6745"/>
                  <a:gd name="connsiteX6" fmla="*/ 580 w 6800"/>
                  <a:gd name="connsiteY6" fmla="*/ 1511 h 6745"/>
                  <a:gd name="connsiteX7" fmla="*/ 1537 w 6800"/>
                  <a:gd name="connsiteY7" fmla="*/ 6236 h 6745"/>
                  <a:gd name="connsiteX8" fmla="*/ 6262 w 6800"/>
                  <a:gd name="connsiteY8" fmla="*/ 5219 h 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00" h="6745">
                    <a:moveTo>
                      <a:pt x="6262" y="5219"/>
                    </a:moveTo>
                    <a:cubicBezTo>
                      <a:pt x="6561" y="4741"/>
                      <a:pt x="6741" y="4203"/>
                      <a:pt x="6801" y="3724"/>
                    </a:cubicBezTo>
                    <a:cubicBezTo>
                      <a:pt x="6501" y="3724"/>
                      <a:pt x="6143" y="3724"/>
                      <a:pt x="5903" y="3485"/>
                    </a:cubicBezTo>
                    <a:cubicBezTo>
                      <a:pt x="5246" y="3066"/>
                      <a:pt x="5006" y="2109"/>
                      <a:pt x="5485" y="1451"/>
                    </a:cubicBezTo>
                    <a:cubicBezTo>
                      <a:pt x="5605" y="1272"/>
                      <a:pt x="5724" y="1152"/>
                      <a:pt x="5903" y="1033"/>
                    </a:cubicBezTo>
                    <a:cubicBezTo>
                      <a:pt x="5724" y="853"/>
                      <a:pt x="5545" y="674"/>
                      <a:pt x="5305" y="554"/>
                    </a:cubicBezTo>
                    <a:cubicBezTo>
                      <a:pt x="3750" y="-463"/>
                      <a:pt x="1657" y="-44"/>
                      <a:pt x="580" y="1511"/>
                    </a:cubicBezTo>
                    <a:cubicBezTo>
                      <a:pt x="-496" y="3066"/>
                      <a:pt x="-18" y="5159"/>
                      <a:pt x="1537" y="6236"/>
                    </a:cubicBezTo>
                    <a:cubicBezTo>
                      <a:pt x="3152" y="7193"/>
                      <a:pt x="5246" y="6774"/>
                      <a:pt x="6262" y="5219"/>
                    </a:cubicBezTo>
                    <a:close/>
                  </a:path>
                </a:pathLst>
              </a:custGeom>
              <a:noFill/>
              <a:ln w="1515" cap="flat">
                <a:solidFill>
                  <a:srgbClr val="FFFFFF"/>
                </a:solidFill>
                <a:prstDash val="solid"/>
                <a:miter/>
              </a:ln>
            </p:spPr>
            <p:txBody>
              <a:bodyPr rtlCol="0" anchor="ctr"/>
              <a:lstStyle/>
              <a:p>
                <a:endParaRPr lang="en-GB"/>
              </a:p>
            </p:txBody>
          </p:sp>
          <p:sp>
            <p:nvSpPr>
              <p:cNvPr id="42" name="Vrije vorm: vorm 41">
                <a:extLst>
                  <a:ext uri="{FF2B5EF4-FFF2-40B4-BE49-F238E27FC236}">
                    <a16:creationId xmlns:a16="http://schemas.microsoft.com/office/drawing/2014/main" id="{A5BD99E7-F0EB-4958-9C73-0BCBA410095E}"/>
                  </a:ext>
                </a:extLst>
              </p:cNvPr>
              <p:cNvSpPr/>
              <p:nvPr/>
            </p:nvSpPr>
            <p:spPr>
              <a:xfrm>
                <a:off x="7647185" y="5081883"/>
                <a:ext cx="13422" cy="18815"/>
              </a:xfrm>
              <a:custGeom>
                <a:avLst/>
                <a:gdLst>
                  <a:gd name="connsiteX0" fmla="*/ 4929 w 13422"/>
                  <a:gd name="connsiteY0" fmla="*/ 2129 h 18815"/>
                  <a:gd name="connsiteX1" fmla="*/ 4510 w 13422"/>
                  <a:gd name="connsiteY1" fmla="*/ 156 h 18815"/>
                  <a:gd name="connsiteX2" fmla="*/ 982 w 13422"/>
                  <a:gd name="connsiteY2" fmla="*/ 2189 h 18815"/>
                  <a:gd name="connsiteX3" fmla="*/ 504 w 13422"/>
                  <a:gd name="connsiteY3" fmla="*/ 6256 h 18815"/>
                  <a:gd name="connsiteX4" fmla="*/ 2357 w 13422"/>
                  <a:gd name="connsiteY4" fmla="*/ 5957 h 18815"/>
                  <a:gd name="connsiteX5" fmla="*/ 11807 w 13422"/>
                  <a:gd name="connsiteY5" fmla="*/ 18816 h 18815"/>
                  <a:gd name="connsiteX6" fmla="*/ 13422 w 13422"/>
                  <a:gd name="connsiteY6" fmla="*/ 11400 h 18815"/>
                  <a:gd name="connsiteX7" fmla="*/ 4929 w 13422"/>
                  <a:gd name="connsiteY7" fmla="*/ 2129 h 1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22" h="18815">
                    <a:moveTo>
                      <a:pt x="4929" y="2129"/>
                    </a:moveTo>
                    <a:cubicBezTo>
                      <a:pt x="5109" y="1233"/>
                      <a:pt x="4989" y="515"/>
                      <a:pt x="4510" y="156"/>
                    </a:cubicBezTo>
                    <a:cubicBezTo>
                      <a:pt x="3673" y="-382"/>
                      <a:pt x="2118" y="515"/>
                      <a:pt x="982" y="2189"/>
                    </a:cubicBezTo>
                    <a:cubicBezTo>
                      <a:pt x="-94" y="3864"/>
                      <a:pt x="-334" y="5658"/>
                      <a:pt x="504" y="6256"/>
                    </a:cubicBezTo>
                    <a:cubicBezTo>
                      <a:pt x="982" y="6555"/>
                      <a:pt x="1639" y="6436"/>
                      <a:pt x="2357" y="5957"/>
                    </a:cubicBezTo>
                    <a:cubicBezTo>
                      <a:pt x="6903" y="9306"/>
                      <a:pt x="10132" y="13792"/>
                      <a:pt x="11807" y="18816"/>
                    </a:cubicBezTo>
                    <a:lnTo>
                      <a:pt x="13422" y="11400"/>
                    </a:lnTo>
                    <a:cubicBezTo>
                      <a:pt x="11328" y="7871"/>
                      <a:pt x="8458" y="4701"/>
                      <a:pt x="4929" y="2129"/>
                    </a:cubicBezTo>
                    <a:close/>
                  </a:path>
                </a:pathLst>
              </a:custGeom>
              <a:noFill/>
              <a:ln w="1515" cap="flat">
                <a:solidFill>
                  <a:srgbClr val="FFFFFF"/>
                </a:solidFill>
                <a:prstDash val="solid"/>
                <a:miter/>
              </a:ln>
            </p:spPr>
            <p:txBody>
              <a:bodyPr rtlCol="0" anchor="ctr"/>
              <a:lstStyle/>
              <a:p>
                <a:endParaRPr lang="en-GB"/>
              </a:p>
            </p:txBody>
          </p:sp>
          <p:sp>
            <p:nvSpPr>
              <p:cNvPr id="43" name="Vrije vorm: vorm 42">
                <a:extLst>
                  <a:ext uri="{FF2B5EF4-FFF2-40B4-BE49-F238E27FC236}">
                    <a16:creationId xmlns:a16="http://schemas.microsoft.com/office/drawing/2014/main" id="{D3C56F25-EA3A-4D90-9A22-B373BB2CFF21}"/>
                  </a:ext>
                </a:extLst>
              </p:cNvPr>
              <p:cNvSpPr/>
              <p:nvPr/>
            </p:nvSpPr>
            <p:spPr>
              <a:xfrm>
                <a:off x="7615607" y="5130147"/>
                <a:ext cx="19880" cy="9845"/>
              </a:xfrm>
              <a:custGeom>
                <a:avLst/>
                <a:gdLst>
                  <a:gd name="connsiteX0" fmla="*/ 4989 w 19880"/>
                  <a:gd name="connsiteY0" fmla="*/ 1950 h 9845"/>
                  <a:gd name="connsiteX1" fmla="*/ 4511 w 19880"/>
                  <a:gd name="connsiteY1" fmla="*/ 156 h 9845"/>
                  <a:gd name="connsiteX2" fmla="*/ 982 w 19880"/>
                  <a:gd name="connsiteY2" fmla="*/ 2190 h 9845"/>
                  <a:gd name="connsiteX3" fmla="*/ 504 w 19880"/>
                  <a:gd name="connsiteY3" fmla="*/ 6256 h 9845"/>
                  <a:gd name="connsiteX4" fmla="*/ 2477 w 19880"/>
                  <a:gd name="connsiteY4" fmla="*/ 5838 h 9845"/>
                  <a:gd name="connsiteX5" fmla="*/ 13900 w 19880"/>
                  <a:gd name="connsiteY5" fmla="*/ 9845 h 9845"/>
                  <a:gd name="connsiteX6" fmla="*/ 19881 w 19880"/>
                  <a:gd name="connsiteY6" fmla="*/ 5479 h 9845"/>
                  <a:gd name="connsiteX7" fmla="*/ 4989 w 19880"/>
                  <a:gd name="connsiteY7" fmla="*/ 1950 h 9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80" h="9845">
                    <a:moveTo>
                      <a:pt x="4989" y="1950"/>
                    </a:moveTo>
                    <a:cubicBezTo>
                      <a:pt x="5109" y="1113"/>
                      <a:pt x="4989" y="455"/>
                      <a:pt x="4511" y="156"/>
                    </a:cubicBezTo>
                    <a:cubicBezTo>
                      <a:pt x="3673" y="-382"/>
                      <a:pt x="2118" y="515"/>
                      <a:pt x="982" y="2190"/>
                    </a:cubicBezTo>
                    <a:cubicBezTo>
                      <a:pt x="-94" y="3864"/>
                      <a:pt x="-334" y="5658"/>
                      <a:pt x="504" y="6256"/>
                    </a:cubicBezTo>
                    <a:cubicBezTo>
                      <a:pt x="982" y="6555"/>
                      <a:pt x="1699" y="6376"/>
                      <a:pt x="2477" y="5838"/>
                    </a:cubicBezTo>
                    <a:cubicBezTo>
                      <a:pt x="6066" y="7991"/>
                      <a:pt x="9953" y="9307"/>
                      <a:pt x="13900" y="9845"/>
                    </a:cubicBezTo>
                    <a:lnTo>
                      <a:pt x="19881" y="5479"/>
                    </a:lnTo>
                    <a:cubicBezTo>
                      <a:pt x="14857" y="5838"/>
                      <a:pt x="9654" y="4701"/>
                      <a:pt x="4989" y="1950"/>
                    </a:cubicBezTo>
                    <a:close/>
                  </a:path>
                </a:pathLst>
              </a:custGeom>
              <a:noFill/>
              <a:ln w="1515" cap="flat">
                <a:solidFill>
                  <a:srgbClr val="FFFFFF"/>
                </a:solidFill>
                <a:prstDash val="solid"/>
                <a:miter/>
              </a:ln>
            </p:spPr>
            <p:txBody>
              <a:bodyPr rtlCol="0" anchor="ctr"/>
              <a:lstStyle/>
              <a:p>
                <a:endParaRPr lang="en-GB"/>
              </a:p>
            </p:txBody>
          </p:sp>
          <p:sp>
            <p:nvSpPr>
              <p:cNvPr id="44" name="Vrije vorm: vorm 43">
                <a:extLst>
                  <a:ext uri="{FF2B5EF4-FFF2-40B4-BE49-F238E27FC236}">
                    <a16:creationId xmlns:a16="http://schemas.microsoft.com/office/drawing/2014/main" id="{FAD025A3-749D-4685-82FE-B8284B6A6747}"/>
                  </a:ext>
                </a:extLst>
              </p:cNvPr>
              <p:cNvSpPr/>
              <p:nvPr/>
            </p:nvSpPr>
            <p:spPr>
              <a:xfrm>
                <a:off x="7700257" y="5081200"/>
                <a:ext cx="9869" cy="8672"/>
              </a:xfrm>
              <a:custGeom>
                <a:avLst/>
                <a:gdLst>
                  <a:gd name="connsiteX0" fmla="*/ 5803 w 9869"/>
                  <a:gd name="connsiteY0" fmla="*/ 180 h 8672"/>
                  <a:gd name="connsiteX1" fmla="*/ 1318 w 9869"/>
                  <a:gd name="connsiteY1" fmla="*/ 2931 h 8672"/>
                  <a:gd name="connsiteX2" fmla="*/ 600 w 9869"/>
                  <a:gd name="connsiteY2" fmla="*/ 8134 h 8672"/>
                  <a:gd name="connsiteX3" fmla="*/ 1378 w 9869"/>
                  <a:gd name="connsiteY3" fmla="*/ 8673 h 8672"/>
                  <a:gd name="connsiteX4" fmla="*/ 9870 w 9869"/>
                  <a:gd name="connsiteY4" fmla="*/ 2931 h 8672"/>
                  <a:gd name="connsiteX5" fmla="*/ 5803 w 9869"/>
                  <a:gd name="connsiteY5" fmla="*/ 180 h 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9" h="8672">
                    <a:moveTo>
                      <a:pt x="5803" y="180"/>
                    </a:moveTo>
                    <a:cubicBezTo>
                      <a:pt x="4786" y="-478"/>
                      <a:pt x="2753" y="718"/>
                      <a:pt x="1318" y="2931"/>
                    </a:cubicBezTo>
                    <a:cubicBezTo>
                      <a:pt x="-118" y="5144"/>
                      <a:pt x="-417" y="7417"/>
                      <a:pt x="600" y="8134"/>
                    </a:cubicBezTo>
                    <a:lnTo>
                      <a:pt x="1378" y="8673"/>
                    </a:lnTo>
                    <a:lnTo>
                      <a:pt x="9870" y="2931"/>
                    </a:lnTo>
                    <a:lnTo>
                      <a:pt x="5803" y="180"/>
                    </a:lnTo>
                    <a:close/>
                  </a:path>
                </a:pathLst>
              </a:custGeom>
              <a:noFill/>
              <a:ln w="1515" cap="flat">
                <a:solidFill>
                  <a:srgbClr val="FFFFFF"/>
                </a:solid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566BA3EB-D113-443F-8C5A-79FCB8BF06AE}"/>
                  </a:ext>
                </a:extLst>
              </p:cNvPr>
              <p:cNvSpPr/>
              <p:nvPr/>
            </p:nvSpPr>
            <p:spPr>
              <a:xfrm>
                <a:off x="7638177" y="5176055"/>
                <a:ext cx="5923" cy="10406"/>
              </a:xfrm>
              <a:custGeom>
                <a:avLst/>
                <a:gdLst>
                  <a:gd name="connsiteX0" fmla="*/ 5803 w 5923"/>
                  <a:gd name="connsiteY0" fmla="*/ 180 h 10406"/>
                  <a:gd name="connsiteX1" fmla="*/ 1318 w 5923"/>
                  <a:gd name="connsiteY1" fmla="*/ 2931 h 10406"/>
                  <a:gd name="connsiteX2" fmla="*/ 600 w 5923"/>
                  <a:gd name="connsiteY2" fmla="*/ 8134 h 10406"/>
                  <a:gd name="connsiteX3" fmla="*/ 4069 w 5923"/>
                  <a:gd name="connsiteY3" fmla="*/ 10407 h 10406"/>
                  <a:gd name="connsiteX4" fmla="*/ 5923 w 5923"/>
                  <a:gd name="connsiteY4" fmla="*/ 300 h 10406"/>
                  <a:gd name="connsiteX5" fmla="*/ 5803 w 5923"/>
                  <a:gd name="connsiteY5" fmla="*/ 180 h 1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3" h="10406">
                    <a:moveTo>
                      <a:pt x="5803" y="180"/>
                    </a:moveTo>
                    <a:cubicBezTo>
                      <a:pt x="4786" y="-478"/>
                      <a:pt x="2753" y="718"/>
                      <a:pt x="1318" y="2931"/>
                    </a:cubicBezTo>
                    <a:cubicBezTo>
                      <a:pt x="-118" y="5144"/>
                      <a:pt x="-417" y="7417"/>
                      <a:pt x="600" y="8134"/>
                    </a:cubicBezTo>
                    <a:lnTo>
                      <a:pt x="4069" y="10407"/>
                    </a:lnTo>
                    <a:lnTo>
                      <a:pt x="5923" y="300"/>
                    </a:lnTo>
                    <a:lnTo>
                      <a:pt x="5803" y="180"/>
                    </a:lnTo>
                    <a:close/>
                  </a:path>
                </a:pathLst>
              </a:custGeom>
              <a:noFill/>
              <a:ln w="1515" cap="flat">
                <a:solidFill>
                  <a:srgbClr val="FFFFFF"/>
                </a:solidFill>
                <a:prstDash val="solid"/>
                <a:miter/>
              </a:ln>
            </p:spPr>
            <p:txBody>
              <a:bodyPr rtlCol="0" anchor="ctr"/>
              <a:lstStyle/>
              <a:p>
                <a:endParaRPr lang="en-GB"/>
              </a:p>
            </p:txBody>
          </p:sp>
          <p:sp>
            <p:nvSpPr>
              <p:cNvPr id="46" name="Vrije vorm: vorm 45">
                <a:extLst>
                  <a:ext uri="{FF2B5EF4-FFF2-40B4-BE49-F238E27FC236}">
                    <a16:creationId xmlns:a16="http://schemas.microsoft.com/office/drawing/2014/main" id="{8D4B0C2B-C82C-467D-8E84-589BEAC33F44}"/>
                  </a:ext>
                </a:extLst>
              </p:cNvPr>
              <p:cNvSpPr/>
              <p:nvPr/>
            </p:nvSpPr>
            <p:spPr>
              <a:xfrm>
                <a:off x="7645828" y="5147228"/>
                <a:ext cx="29249" cy="67112"/>
              </a:xfrm>
              <a:custGeom>
                <a:avLst/>
                <a:gdLst>
                  <a:gd name="connsiteX0" fmla="*/ 18666 w 29249"/>
                  <a:gd name="connsiteY0" fmla="*/ 43540 h 67112"/>
                  <a:gd name="connsiteX1" fmla="*/ 22853 w 29249"/>
                  <a:gd name="connsiteY1" fmla="*/ 38037 h 67112"/>
                  <a:gd name="connsiteX2" fmla="*/ 28834 w 29249"/>
                  <a:gd name="connsiteY2" fmla="*/ 24043 h 67112"/>
                  <a:gd name="connsiteX3" fmla="*/ 17770 w 29249"/>
                  <a:gd name="connsiteY3" fmla="*/ 34688 h 67112"/>
                  <a:gd name="connsiteX4" fmla="*/ 14720 w 29249"/>
                  <a:gd name="connsiteY4" fmla="*/ 39832 h 67112"/>
                  <a:gd name="connsiteX5" fmla="*/ 12148 w 29249"/>
                  <a:gd name="connsiteY5" fmla="*/ 38157 h 67112"/>
                  <a:gd name="connsiteX6" fmla="*/ 13942 w 29249"/>
                  <a:gd name="connsiteY6" fmla="*/ 34987 h 67112"/>
                  <a:gd name="connsiteX7" fmla="*/ 22136 w 29249"/>
                  <a:gd name="connsiteY7" fmla="*/ 0 h 67112"/>
                  <a:gd name="connsiteX8" fmla="*/ 7304 w 29249"/>
                  <a:gd name="connsiteY8" fmla="*/ 3768 h 67112"/>
                  <a:gd name="connsiteX9" fmla="*/ 126 w 29249"/>
                  <a:gd name="connsiteY9" fmla="*/ 42224 h 67112"/>
                  <a:gd name="connsiteX10" fmla="*/ 4612 w 29249"/>
                  <a:gd name="connsiteY10" fmla="*/ 49162 h 67112"/>
                  <a:gd name="connsiteX11" fmla="*/ 6885 w 29249"/>
                  <a:gd name="connsiteY11" fmla="*/ 46052 h 67112"/>
                  <a:gd name="connsiteX12" fmla="*/ 9457 w 29249"/>
                  <a:gd name="connsiteY12" fmla="*/ 47726 h 67112"/>
                  <a:gd name="connsiteX13" fmla="*/ 5987 w 29249"/>
                  <a:gd name="connsiteY13" fmla="*/ 52571 h 67112"/>
                  <a:gd name="connsiteX14" fmla="*/ 664 w 29249"/>
                  <a:gd name="connsiteY14" fmla="*/ 66984 h 67112"/>
                  <a:gd name="connsiteX15" fmla="*/ 11131 w 29249"/>
                  <a:gd name="connsiteY15" fmla="*/ 55920 h 67112"/>
                  <a:gd name="connsiteX16" fmla="*/ 14540 w 29249"/>
                  <a:gd name="connsiteY16" fmla="*/ 49879 h 67112"/>
                  <a:gd name="connsiteX17" fmla="*/ 18547 w 29249"/>
                  <a:gd name="connsiteY17" fmla="*/ 48324 h 67112"/>
                  <a:gd name="connsiteX18" fmla="*/ 18786 w 29249"/>
                  <a:gd name="connsiteY18" fmla="*/ 48145 h 67112"/>
                  <a:gd name="connsiteX19" fmla="*/ 18906 w 29249"/>
                  <a:gd name="connsiteY19" fmla="*/ 47786 h 67112"/>
                  <a:gd name="connsiteX20" fmla="*/ 18666 w 29249"/>
                  <a:gd name="connsiteY20" fmla="*/ 43540 h 67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249" h="67112">
                    <a:moveTo>
                      <a:pt x="18666" y="43540"/>
                    </a:moveTo>
                    <a:cubicBezTo>
                      <a:pt x="19983" y="42045"/>
                      <a:pt x="21358" y="40250"/>
                      <a:pt x="22853" y="38037"/>
                    </a:cubicBezTo>
                    <a:cubicBezTo>
                      <a:pt x="27399" y="31100"/>
                      <a:pt x="30389" y="25059"/>
                      <a:pt x="28834" y="24043"/>
                    </a:cubicBezTo>
                    <a:cubicBezTo>
                      <a:pt x="27219" y="23026"/>
                      <a:pt x="22255" y="27751"/>
                      <a:pt x="17770" y="34688"/>
                    </a:cubicBezTo>
                    <a:cubicBezTo>
                      <a:pt x="16633" y="36483"/>
                      <a:pt x="15616" y="38217"/>
                      <a:pt x="14720" y="39832"/>
                    </a:cubicBezTo>
                    <a:lnTo>
                      <a:pt x="12148" y="38157"/>
                    </a:lnTo>
                    <a:cubicBezTo>
                      <a:pt x="12686" y="37140"/>
                      <a:pt x="13284" y="36064"/>
                      <a:pt x="13942" y="34987"/>
                    </a:cubicBezTo>
                    <a:lnTo>
                      <a:pt x="22136" y="0"/>
                    </a:lnTo>
                    <a:cubicBezTo>
                      <a:pt x="16992" y="3050"/>
                      <a:pt x="11669" y="4067"/>
                      <a:pt x="7304" y="3768"/>
                    </a:cubicBezTo>
                    <a:lnTo>
                      <a:pt x="126" y="42224"/>
                    </a:lnTo>
                    <a:cubicBezTo>
                      <a:pt x="-532" y="45394"/>
                      <a:pt x="1442" y="48504"/>
                      <a:pt x="4612" y="49162"/>
                    </a:cubicBezTo>
                    <a:cubicBezTo>
                      <a:pt x="5389" y="48085"/>
                      <a:pt x="6107" y="47068"/>
                      <a:pt x="6885" y="46052"/>
                    </a:cubicBezTo>
                    <a:lnTo>
                      <a:pt x="9457" y="47726"/>
                    </a:lnTo>
                    <a:cubicBezTo>
                      <a:pt x="8320" y="49162"/>
                      <a:pt x="7124" y="50776"/>
                      <a:pt x="5987" y="52571"/>
                    </a:cubicBezTo>
                    <a:cubicBezTo>
                      <a:pt x="1442" y="59508"/>
                      <a:pt x="-950" y="65908"/>
                      <a:pt x="664" y="66984"/>
                    </a:cubicBezTo>
                    <a:cubicBezTo>
                      <a:pt x="2279" y="68001"/>
                      <a:pt x="6586" y="62857"/>
                      <a:pt x="11131" y="55920"/>
                    </a:cubicBezTo>
                    <a:cubicBezTo>
                      <a:pt x="12567" y="53707"/>
                      <a:pt x="13703" y="51674"/>
                      <a:pt x="14540" y="49879"/>
                    </a:cubicBezTo>
                    <a:cubicBezTo>
                      <a:pt x="16215" y="49939"/>
                      <a:pt x="17889" y="48803"/>
                      <a:pt x="18547" y="48324"/>
                    </a:cubicBezTo>
                    <a:cubicBezTo>
                      <a:pt x="18726" y="48205"/>
                      <a:pt x="18786" y="48145"/>
                      <a:pt x="18786" y="48145"/>
                    </a:cubicBezTo>
                    <a:cubicBezTo>
                      <a:pt x="18786" y="48145"/>
                      <a:pt x="18846" y="48025"/>
                      <a:pt x="18906" y="47786"/>
                    </a:cubicBezTo>
                    <a:cubicBezTo>
                      <a:pt x="19085" y="47068"/>
                      <a:pt x="19444" y="45095"/>
                      <a:pt x="18666" y="43540"/>
                    </a:cubicBezTo>
                    <a:close/>
                  </a:path>
                </a:pathLst>
              </a:custGeom>
              <a:noFill/>
              <a:ln w="1515" cap="flat">
                <a:solidFill>
                  <a:srgbClr val="FFFFFF"/>
                </a:solidFill>
                <a:prstDash val="solid"/>
                <a:miter/>
              </a:ln>
            </p:spPr>
            <p:txBody>
              <a:bodyPr rtlCol="0" anchor="ctr"/>
              <a:lstStyle/>
              <a:p>
                <a:endParaRPr lang="en-GB"/>
              </a:p>
            </p:txBody>
          </p:sp>
          <p:sp>
            <p:nvSpPr>
              <p:cNvPr id="47" name="Vrije vorm: vorm 46">
                <a:extLst>
                  <a:ext uri="{FF2B5EF4-FFF2-40B4-BE49-F238E27FC236}">
                    <a16:creationId xmlns:a16="http://schemas.microsoft.com/office/drawing/2014/main" id="{792266A9-DD97-4421-A275-071FD967B141}"/>
                  </a:ext>
                </a:extLst>
              </p:cNvPr>
              <p:cNvSpPr/>
              <p:nvPr/>
            </p:nvSpPr>
            <p:spPr>
              <a:xfrm>
                <a:off x="7681180" y="5076339"/>
                <a:ext cx="56036" cy="47863"/>
              </a:xfrm>
              <a:custGeom>
                <a:avLst/>
                <a:gdLst>
                  <a:gd name="connsiteX0" fmla="*/ 45453 w 56036"/>
                  <a:gd name="connsiteY0" fmla="*/ 19635 h 47863"/>
                  <a:gd name="connsiteX1" fmla="*/ 49640 w 56036"/>
                  <a:gd name="connsiteY1" fmla="*/ 14133 h 47863"/>
                  <a:gd name="connsiteX2" fmla="*/ 55621 w 56036"/>
                  <a:gd name="connsiteY2" fmla="*/ 138 h 47863"/>
                  <a:gd name="connsiteX3" fmla="*/ 44556 w 56036"/>
                  <a:gd name="connsiteY3" fmla="*/ 10783 h 47863"/>
                  <a:gd name="connsiteX4" fmla="*/ 41507 w 56036"/>
                  <a:gd name="connsiteY4" fmla="*/ 15927 h 47863"/>
                  <a:gd name="connsiteX5" fmla="*/ 38935 w 56036"/>
                  <a:gd name="connsiteY5" fmla="*/ 14252 h 47863"/>
                  <a:gd name="connsiteX6" fmla="*/ 39892 w 56036"/>
                  <a:gd name="connsiteY6" fmla="*/ 12578 h 47863"/>
                  <a:gd name="connsiteX7" fmla="*/ 39892 w 56036"/>
                  <a:gd name="connsiteY7" fmla="*/ 12518 h 47863"/>
                  <a:gd name="connsiteX8" fmla="*/ 31698 w 56036"/>
                  <a:gd name="connsiteY8" fmla="*/ 11142 h 47863"/>
                  <a:gd name="connsiteX9" fmla="*/ 0 w 56036"/>
                  <a:gd name="connsiteY9" fmla="*/ 32673 h 47863"/>
                  <a:gd name="connsiteX10" fmla="*/ 2273 w 56036"/>
                  <a:gd name="connsiteY10" fmla="*/ 47864 h 47863"/>
                  <a:gd name="connsiteX11" fmla="*/ 30502 w 56036"/>
                  <a:gd name="connsiteY11" fmla="*/ 26752 h 47863"/>
                  <a:gd name="connsiteX12" fmla="*/ 33791 w 56036"/>
                  <a:gd name="connsiteY12" fmla="*/ 22206 h 47863"/>
                  <a:gd name="connsiteX13" fmla="*/ 36363 w 56036"/>
                  <a:gd name="connsiteY13" fmla="*/ 23881 h 47863"/>
                  <a:gd name="connsiteX14" fmla="*/ 32894 w 56036"/>
                  <a:gd name="connsiteY14" fmla="*/ 28726 h 47863"/>
                  <a:gd name="connsiteX15" fmla="*/ 27571 w 56036"/>
                  <a:gd name="connsiteY15" fmla="*/ 43139 h 47863"/>
                  <a:gd name="connsiteX16" fmla="*/ 38037 w 56036"/>
                  <a:gd name="connsiteY16" fmla="*/ 32075 h 47863"/>
                  <a:gd name="connsiteX17" fmla="*/ 41447 w 56036"/>
                  <a:gd name="connsiteY17" fmla="*/ 26034 h 47863"/>
                  <a:gd name="connsiteX18" fmla="*/ 45453 w 56036"/>
                  <a:gd name="connsiteY18" fmla="*/ 24479 h 47863"/>
                  <a:gd name="connsiteX19" fmla="*/ 45693 w 56036"/>
                  <a:gd name="connsiteY19" fmla="*/ 24300 h 47863"/>
                  <a:gd name="connsiteX20" fmla="*/ 45813 w 56036"/>
                  <a:gd name="connsiteY20" fmla="*/ 23941 h 47863"/>
                  <a:gd name="connsiteX21" fmla="*/ 45453 w 56036"/>
                  <a:gd name="connsiteY21" fmla="*/ 19635 h 4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036" h="47863">
                    <a:moveTo>
                      <a:pt x="45453" y="19635"/>
                    </a:moveTo>
                    <a:cubicBezTo>
                      <a:pt x="46769" y="18140"/>
                      <a:pt x="48145" y="16345"/>
                      <a:pt x="49640" y="14133"/>
                    </a:cubicBezTo>
                    <a:cubicBezTo>
                      <a:pt x="54186" y="7195"/>
                      <a:pt x="57176" y="1155"/>
                      <a:pt x="55621" y="138"/>
                    </a:cubicBezTo>
                    <a:cubicBezTo>
                      <a:pt x="54006" y="-879"/>
                      <a:pt x="49042" y="3846"/>
                      <a:pt x="44556" y="10783"/>
                    </a:cubicBezTo>
                    <a:cubicBezTo>
                      <a:pt x="43420" y="12578"/>
                      <a:pt x="42403" y="14312"/>
                      <a:pt x="41507" y="15927"/>
                    </a:cubicBezTo>
                    <a:lnTo>
                      <a:pt x="38935" y="14252"/>
                    </a:lnTo>
                    <a:cubicBezTo>
                      <a:pt x="39234" y="13714"/>
                      <a:pt x="39532" y="13116"/>
                      <a:pt x="39892" y="12578"/>
                    </a:cubicBezTo>
                    <a:cubicBezTo>
                      <a:pt x="39892" y="12578"/>
                      <a:pt x="39892" y="12578"/>
                      <a:pt x="39892" y="12518"/>
                    </a:cubicBezTo>
                    <a:cubicBezTo>
                      <a:pt x="38037" y="9886"/>
                      <a:pt x="34329" y="9228"/>
                      <a:pt x="31698" y="11142"/>
                    </a:cubicBezTo>
                    <a:lnTo>
                      <a:pt x="0" y="32673"/>
                    </a:lnTo>
                    <a:cubicBezTo>
                      <a:pt x="1973" y="36620"/>
                      <a:pt x="3110" y="41943"/>
                      <a:pt x="2273" y="47864"/>
                    </a:cubicBezTo>
                    <a:lnTo>
                      <a:pt x="30502" y="26752"/>
                    </a:lnTo>
                    <a:cubicBezTo>
                      <a:pt x="31578" y="25137"/>
                      <a:pt x="32714" y="23582"/>
                      <a:pt x="33791" y="22206"/>
                    </a:cubicBezTo>
                    <a:lnTo>
                      <a:pt x="36363" y="23881"/>
                    </a:lnTo>
                    <a:cubicBezTo>
                      <a:pt x="35227" y="25317"/>
                      <a:pt x="34031" y="26931"/>
                      <a:pt x="32894" y="28726"/>
                    </a:cubicBezTo>
                    <a:cubicBezTo>
                      <a:pt x="28349" y="35663"/>
                      <a:pt x="25956" y="42062"/>
                      <a:pt x="27571" y="43139"/>
                    </a:cubicBezTo>
                    <a:cubicBezTo>
                      <a:pt x="29186" y="44156"/>
                      <a:pt x="33492" y="39012"/>
                      <a:pt x="38037" y="32075"/>
                    </a:cubicBezTo>
                    <a:cubicBezTo>
                      <a:pt x="39532" y="29862"/>
                      <a:pt x="40609" y="27828"/>
                      <a:pt x="41447" y="26034"/>
                    </a:cubicBezTo>
                    <a:cubicBezTo>
                      <a:pt x="43121" y="26094"/>
                      <a:pt x="44796" y="24958"/>
                      <a:pt x="45453" y="24479"/>
                    </a:cubicBezTo>
                    <a:cubicBezTo>
                      <a:pt x="45633" y="24360"/>
                      <a:pt x="45693" y="24300"/>
                      <a:pt x="45693" y="24300"/>
                    </a:cubicBezTo>
                    <a:cubicBezTo>
                      <a:pt x="45693" y="24300"/>
                      <a:pt x="45753" y="24180"/>
                      <a:pt x="45813" y="23941"/>
                    </a:cubicBezTo>
                    <a:cubicBezTo>
                      <a:pt x="45813" y="23104"/>
                      <a:pt x="46171" y="21130"/>
                      <a:pt x="45453" y="19635"/>
                    </a:cubicBezTo>
                    <a:close/>
                  </a:path>
                </a:pathLst>
              </a:custGeom>
              <a:noFill/>
              <a:ln w="1515" cap="flat">
                <a:solidFill>
                  <a:srgbClr val="FFFFFF"/>
                </a:solidFill>
                <a:prstDash val="solid"/>
                <a:miter/>
              </a:ln>
            </p:spPr>
            <p:txBody>
              <a:bodyPr rtlCol="0" anchor="ctr"/>
              <a:lstStyle/>
              <a:p>
                <a:endParaRPr lang="en-GB"/>
              </a:p>
            </p:txBody>
          </p:sp>
          <p:sp>
            <p:nvSpPr>
              <p:cNvPr id="48" name="Vrije vorm: vorm 47">
                <a:extLst>
                  <a:ext uri="{FF2B5EF4-FFF2-40B4-BE49-F238E27FC236}">
                    <a16:creationId xmlns:a16="http://schemas.microsoft.com/office/drawing/2014/main" id="{C92ADB1D-79D2-4C55-95FC-91BA1C8D094F}"/>
                  </a:ext>
                </a:extLst>
              </p:cNvPr>
              <p:cNvSpPr/>
              <p:nvPr/>
            </p:nvSpPr>
            <p:spPr>
              <a:xfrm>
                <a:off x="7599362" y="5153388"/>
                <a:ext cx="8793" cy="9210"/>
              </a:xfrm>
              <a:custGeom>
                <a:avLst/>
                <a:gdLst>
                  <a:gd name="connsiteX0" fmla="*/ 5982 w 8793"/>
                  <a:gd name="connsiteY0" fmla="*/ 4187 h 9210"/>
                  <a:gd name="connsiteX1" fmla="*/ 8794 w 8793"/>
                  <a:gd name="connsiteY1" fmla="*/ 2154 h 9210"/>
                  <a:gd name="connsiteX2" fmla="*/ 5803 w 8793"/>
                  <a:gd name="connsiteY2" fmla="*/ 180 h 9210"/>
                  <a:gd name="connsiteX3" fmla="*/ 1318 w 8793"/>
                  <a:gd name="connsiteY3" fmla="*/ 2931 h 9210"/>
                  <a:gd name="connsiteX4" fmla="*/ 600 w 8793"/>
                  <a:gd name="connsiteY4" fmla="*/ 8134 h 9210"/>
                  <a:gd name="connsiteX5" fmla="*/ 2215 w 8793"/>
                  <a:gd name="connsiteY5" fmla="*/ 9211 h 9210"/>
                  <a:gd name="connsiteX6" fmla="*/ 3291 w 8793"/>
                  <a:gd name="connsiteY6" fmla="*/ 6938 h 9210"/>
                  <a:gd name="connsiteX7" fmla="*/ 5982 w 8793"/>
                  <a:gd name="connsiteY7" fmla="*/ 4187 h 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3" h="9210">
                    <a:moveTo>
                      <a:pt x="5982" y="4187"/>
                    </a:moveTo>
                    <a:lnTo>
                      <a:pt x="8794" y="2154"/>
                    </a:lnTo>
                    <a:lnTo>
                      <a:pt x="5803" y="180"/>
                    </a:lnTo>
                    <a:cubicBezTo>
                      <a:pt x="4786" y="-478"/>
                      <a:pt x="2753" y="718"/>
                      <a:pt x="1318" y="2931"/>
                    </a:cubicBezTo>
                    <a:cubicBezTo>
                      <a:pt x="-118" y="5144"/>
                      <a:pt x="-417" y="7417"/>
                      <a:pt x="600" y="8134"/>
                    </a:cubicBezTo>
                    <a:lnTo>
                      <a:pt x="2215" y="9211"/>
                    </a:lnTo>
                    <a:cubicBezTo>
                      <a:pt x="2454" y="8433"/>
                      <a:pt x="2813" y="7656"/>
                      <a:pt x="3291" y="6938"/>
                    </a:cubicBezTo>
                    <a:cubicBezTo>
                      <a:pt x="4009" y="5862"/>
                      <a:pt x="4906" y="4905"/>
                      <a:pt x="5982" y="4187"/>
                    </a:cubicBezTo>
                    <a:close/>
                  </a:path>
                </a:pathLst>
              </a:custGeom>
              <a:noFill/>
              <a:ln w="1515" cap="flat">
                <a:solidFill>
                  <a:srgbClr val="FFFFFF"/>
                </a:solidFill>
                <a:prstDash val="solid"/>
                <a:miter/>
              </a:ln>
            </p:spPr>
            <p:txBody>
              <a:bodyPr rtlCol="0" anchor="ctr"/>
              <a:lstStyle/>
              <a:p>
                <a:endParaRPr lang="en-GB"/>
              </a:p>
            </p:txBody>
          </p:sp>
          <p:sp>
            <p:nvSpPr>
              <p:cNvPr id="49" name="Vrije vorm: vorm 48">
                <a:extLst>
                  <a:ext uri="{FF2B5EF4-FFF2-40B4-BE49-F238E27FC236}">
                    <a16:creationId xmlns:a16="http://schemas.microsoft.com/office/drawing/2014/main" id="{FDD49776-AF20-4A2E-91B0-F1D0025DDCDC}"/>
                  </a:ext>
                </a:extLst>
              </p:cNvPr>
              <p:cNvSpPr/>
              <p:nvPr/>
            </p:nvSpPr>
            <p:spPr>
              <a:xfrm>
                <a:off x="7662519" y="5056979"/>
                <a:ext cx="7178" cy="10287"/>
              </a:xfrm>
              <a:custGeom>
                <a:avLst/>
                <a:gdLst>
                  <a:gd name="connsiteX0" fmla="*/ 6222 w 7178"/>
                  <a:gd name="connsiteY0" fmla="*/ 2393 h 10287"/>
                  <a:gd name="connsiteX1" fmla="*/ 7178 w 7178"/>
                  <a:gd name="connsiteY1" fmla="*/ 1137 h 10287"/>
                  <a:gd name="connsiteX2" fmla="*/ 5743 w 7178"/>
                  <a:gd name="connsiteY2" fmla="*/ 180 h 10287"/>
                  <a:gd name="connsiteX3" fmla="*/ 1317 w 7178"/>
                  <a:gd name="connsiteY3" fmla="*/ 2931 h 10287"/>
                  <a:gd name="connsiteX4" fmla="*/ 600 w 7178"/>
                  <a:gd name="connsiteY4" fmla="*/ 8134 h 10287"/>
                  <a:gd name="connsiteX5" fmla="*/ 3889 w 7178"/>
                  <a:gd name="connsiteY5" fmla="*/ 10287 h 10287"/>
                  <a:gd name="connsiteX6" fmla="*/ 4847 w 7178"/>
                  <a:gd name="connsiteY6" fmla="*/ 5982 h 10287"/>
                  <a:gd name="connsiteX7" fmla="*/ 6222 w 7178"/>
                  <a:gd name="connsiteY7" fmla="*/ 2393 h 1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8" h="10287">
                    <a:moveTo>
                      <a:pt x="6222" y="2393"/>
                    </a:moveTo>
                    <a:cubicBezTo>
                      <a:pt x="6521" y="1974"/>
                      <a:pt x="6820" y="1555"/>
                      <a:pt x="7178" y="1137"/>
                    </a:cubicBezTo>
                    <a:lnTo>
                      <a:pt x="5743" y="180"/>
                    </a:lnTo>
                    <a:cubicBezTo>
                      <a:pt x="4727" y="-478"/>
                      <a:pt x="2693" y="718"/>
                      <a:pt x="1317" y="2931"/>
                    </a:cubicBezTo>
                    <a:cubicBezTo>
                      <a:pt x="-118" y="5144"/>
                      <a:pt x="-416" y="7417"/>
                      <a:pt x="600" y="8134"/>
                    </a:cubicBezTo>
                    <a:lnTo>
                      <a:pt x="3889" y="10287"/>
                    </a:lnTo>
                    <a:lnTo>
                      <a:pt x="4847" y="5982"/>
                    </a:lnTo>
                    <a:cubicBezTo>
                      <a:pt x="5025" y="4666"/>
                      <a:pt x="5564" y="3469"/>
                      <a:pt x="6222" y="2393"/>
                    </a:cubicBezTo>
                    <a:close/>
                  </a:path>
                </a:pathLst>
              </a:custGeom>
              <a:noFill/>
              <a:ln w="1515" cap="flat">
                <a:solidFill>
                  <a:srgbClr val="FFFFFF"/>
                </a:solidFill>
                <a:prstDash val="solid"/>
                <a:miter/>
              </a:ln>
            </p:spPr>
            <p:txBody>
              <a:bodyPr rtlCol="0" anchor="ctr"/>
              <a:lstStyle/>
              <a:p>
                <a:endParaRPr lang="en-GB"/>
              </a:p>
            </p:txBody>
          </p:sp>
          <p:sp>
            <p:nvSpPr>
              <p:cNvPr id="50" name="Vrije vorm: vorm 49">
                <a:extLst>
                  <a:ext uri="{FF2B5EF4-FFF2-40B4-BE49-F238E27FC236}">
                    <a16:creationId xmlns:a16="http://schemas.microsoft.com/office/drawing/2014/main" id="{6B99E5ED-32E7-4E19-BE17-6EEBD5DB7D0E}"/>
                  </a:ext>
                </a:extLst>
              </p:cNvPr>
              <p:cNvSpPr/>
              <p:nvPr/>
            </p:nvSpPr>
            <p:spPr>
              <a:xfrm>
                <a:off x="7605225" y="5053134"/>
                <a:ext cx="95595" cy="139556"/>
              </a:xfrm>
              <a:custGeom>
                <a:avLst/>
                <a:gdLst>
                  <a:gd name="connsiteX0" fmla="*/ 85046 w 95595"/>
                  <a:gd name="connsiteY0" fmla="*/ 19634 h 139556"/>
                  <a:gd name="connsiteX1" fmla="*/ 89232 w 95595"/>
                  <a:gd name="connsiteY1" fmla="*/ 14132 h 139556"/>
                  <a:gd name="connsiteX2" fmla="*/ 95153 w 95595"/>
                  <a:gd name="connsiteY2" fmla="*/ 138 h 139556"/>
                  <a:gd name="connsiteX3" fmla="*/ 84089 w 95595"/>
                  <a:gd name="connsiteY3" fmla="*/ 10783 h 139556"/>
                  <a:gd name="connsiteX4" fmla="*/ 81099 w 95595"/>
                  <a:gd name="connsiteY4" fmla="*/ 15926 h 139556"/>
                  <a:gd name="connsiteX5" fmla="*/ 77630 w 95595"/>
                  <a:gd name="connsiteY5" fmla="*/ 13654 h 139556"/>
                  <a:gd name="connsiteX6" fmla="*/ 77750 w 95595"/>
                  <a:gd name="connsiteY6" fmla="*/ 12936 h 139556"/>
                  <a:gd name="connsiteX7" fmla="*/ 73085 w 95595"/>
                  <a:gd name="connsiteY7" fmla="*/ 6059 h 139556"/>
                  <a:gd name="connsiteX8" fmla="*/ 67044 w 95595"/>
                  <a:gd name="connsiteY8" fmla="*/ 8630 h 139556"/>
                  <a:gd name="connsiteX9" fmla="*/ 66207 w 95595"/>
                  <a:gd name="connsiteY9" fmla="*/ 10723 h 139556"/>
                  <a:gd name="connsiteX10" fmla="*/ 55083 w 95595"/>
                  <a:gd name="connsiteY10" fmla="*/ 61260 h 139556"/>
                  <a:gd name="connsiteX11" fmla="*/ 49520 w 95595"/>
                  <a:gd name="connsiteY11" fmla="*/ 68676 h 139556"/>
                  <a:gd name="connsiteX12" fmla="*/ 44616 w 95595"/>
                  <a:gd name="connsiteY12" fmla="*/ 77349 h 139556"/>
                  <a:gd name="connsiteX13" fmla="*/ 2512 w 95595"/>
                  <a:gd name="connsiteY13" fmla="*/ 107910 h 139556"/>
                  <a:gd name="connsiteX14" fmla="*/ 957 w 95595"/>
                  <a:gd name="connsiteY14" fmla="*/ 109525 h 139556"/>
                  <a:gd name="connsiteX15" fmla="*/ 1017 w 95595"/>
                  <a:gd name="connsiteY15" fmla="*/ 116104 h 139556"/>
                  <a:gd name="connsiteX16" fmla="*/ 8912 w 95595"/>
                  <a:gd name="connsiteY16" fmla="*/ 117718 h 139556"/>
                  <a:gd name="connsiteX17" fmla="*/ 12679 w 95595"/>
                  <a:gd name="connsiteY17" fmla="*/ 120170 h 139556"/>
                  <a:gd name="connsiteX18" fmla="*/ 9210 w 95595"/>
                  <a:gd name="connsiteY18" fmla="*/ 125015 h 139556"/>
                  <a:gd name="connsiteX19" fmla="*/ 3887 w 95595"/>
                  <a:gd name="connsiteY19" fmla="*/ 139429 h 139556"/>
                  <a:gd name="connsiteX20" fmla="*/ 14354 w 95595"/>
                  <a:gd name="connsiteY20" fmla="*/ 128364 h 139556"/>
                  <a:gd name="connsiteX21" fmla="*/ 17763 w 95595"/>
                  <a:gd name="connsiteY21" fmla="*/ 122324 h 139556"/>
                  <a:gd name="connsiteX22" fmla="*/ 21770 w 95595"/>
                  <a:gd name="connsiteY22" fmla="*/ 120769 h 139556"/>
                  <a:gd name="connsiteX23" fmla="*/ 22009 w 95595"/>
                  <a:gd name="connsiteY23" fmla="*/ 120589 h 139556"/>
                  <a:gd name="connsiteX24" fmla="*/ 22129 w 95595"/>
                  <a:gd name="connsiteY24" fmla="*/ 120290 h 139556"/>
                  <a:gd name="connsiteX25" fmla="*/ 21949 w 95595"/>
                  <a:gd name="connsiteY25" fmla="*/ 116044 h 139556"/>
                  <a:gd name="connsiteX26" fmla="*/ 26136 w 95595"/>
                  <a:gd name="connsiteY26" fmla="*/ 110542 h 139556"/>
                  <a:gd name="connsiteX27" fmla="*/ 32057 w 95595"/>
                  <a:gd name="connsiteY27" fmla="*/ 96547 h 139556"/>
                  <a:gd name="connsiteX28" fmla="*/ 20993 w 95595"/>
                  <a:gd name="connsiteY28" fmla="*/ 107192 h 139556"/>
                  <a:gd name="connsiteX29" fmla="*/ 18002 w 95595"/>
                  <a:gd name="connsiteY29" fmla="*/ 112336 h 139556"/>
                  <a:gd name="connsiteX30" fmla="*/ 15430 w 95595"/>
                  <a:gd name="connsiteY30" fmla="*/ 110661 h 139556"/>
                  <a:gd name="connsiteX31" fmla="*/ 18481 w 95595"/>
                  <a:gd name="connsiteY31" fmla="*/ 105518 h 139556"/>
                  <a:gd name="connsiteX32" fmla="*/ 33791 w 95595"/>
                  <a:gd name="connsiteY32" fmla="*/ 93975 h 139556"/>
                  <a:gd name="connsiteX33" fmla="*/ 35047 w 95595"/>
                  <a:gd name="connsiteY33" fmla="*/ 100614 h 139556"/>
                  <a:gd name="connsiteX34" fmla="*/ 45992 w 95595"/>
                  <a:gd name="connsiteY34" fmla="*/ 93377 h 139556"/>
                  <a:gd name="connsiteX35" fmla="*/ 69556 w 95595"/>
                  <a:gd name="connsiteY35" fmla="*/ 81774 h 139556"/>
                  <a:gd name="connsiteX36" fmla="*/ 70453 w 95595"/>
                  <a:gd name="connsiteY36" fmla="*/ 55160 h 139556"/>
                  <a:gd name="connsiteX37" fmla="*/ 72427 w 95595"/>
                  <a:gd name="connsiteY37" fmla="*/ 43677 h 139556"/>
                  <a:gd name="connsiteX38" fmla="*/ 65429 w 95595"/>
                  <a:gd name="connsiteY38" fmla="*/ 45591 h 139556"/>
                  <a:gd name="connsiteX39" fmla="*/ 69855 w 95595"/>
                  <a:gd name="connsiteY39" fmla="*/ 26931 h 139556"/>
                  <a:gd name="connsiteX40" fmla="*/ 73324 w 95595"/>
                  <a:gd name="connsiteY40" fmla="*/ 22087 h 139556"/>
                  <a:gd name="connsiteX41" fmla="*/ 75895 w 95595"/>
                  <a:gd name="connsiteY41" fmla="*/ 23761 h 139556"/>
                  <a:gd name="connsiteX42" fmla="*/ 72427 w 95595"/>
                  <a:gd name="connsiteY42" fmla="*/ 28606 h 139556"/>
                  <a:gd name="connsiteX43" fmla="*/ 67104 w 95595"/>
                  <a:gd name="connsiteY43" fmla="*/ 43019 h 139556"/>
                  <a:gd name="connsiteX44" fmla="*/ 77570 w 95595"/>
                  <a:gd name="connsiteY44" fmla="*/ 31955 h 139556"/>
                  <a:gd name="connsiteX45" fmla="*/ 80979 w 95595"/>
                  <a:gd name="connsiteY45" fmla="*/ 25915 h 139556"/>
                  <a:gd name="connsiteX46" fmla="*/ 84986 w 95595"/>
                  <a:gd name="connsiteY46" fmla="*/ 24359 h 139556"/>
                  <a:gd name="connsiteX47" fmla="*/ 85226 w 95595"/>
                  <a:gd name="connsiteY47" fmla="*/ 24120 h 139556"/>
                  <a:gd name="connsiteX48" fmla="*/ 85286 w 95595"/>
                  <a:gd name="connsiteY48" fmla="*/ 23821 h 139556"/>
                  <a:gd name="connsiteX49" fmla="*/ 85046 w 95595"/>
                  <a:gd name="connsiteY49" fmla="*/ 19634 h 13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5595" h="139556">
                    <a:moveTo>
                      <a:pt x="85046" y="19634"/>
                    </a:moveTo>
                    <a:cubicBezTo>
                      <a:pt x="86362" y="18139"/>
                      <a:pt x="87737" y="16345"/>
                      <a:pt x="89232" y="14132"/>
                    </a:cubicBezTo>
                    <a:cubicBezTo>
                      <a:pt x="93778" y="7195"/>
                      <a:pt x="96768" y="1154"/>
                      <a:pt x="95153" y="138"/>
                    </a:cubicBezTo>
                    <a:cubicBezTo>
                      <a:pt x="93539" y="-879"/>
                      <a:pt x="88574" y="3846"/>
                      <a:pt x="84089" y="10783"/>
                    </a:cubicBezTo>
                    <a:cubicBezTo>
                      <a:pt x="82953" y="12577"/>
                      <a:pt x="81936" y="14312"/>
                      <a:pt x="81099" y="15926"/>
                    </a:cubicBezTo>
                    <a:lnTo>
                      <a:pt x="77630" y="13654"/>
                    </a:lnTo>
                    <a:lnTo>
                      <a:pt x="77750" y="12936"/>
                    </a:lnTo>
                    <a:cubicBezTo>
                      <a:pt x="78348" y="9767"/>
                      <a:pt x="76314" y="6656"/>
                      <a:pt x="73085" y="6059"/>
                    </a:cubicBezTo>
                    <a:cubicBezTo>
                      <a:pt x="70692" y="5580"/>
                      <a:pt x="68300" y="6656"/>
                      <a:pt x="67044" y="8630"/>
                    </a:cubicBezTo>
                    <a:cubicBezTo>
                      <a:pt x="66626" y="9228"/>
                      <a:pt x="66326" y="9946"/>
                      <a:pt x="66207" y="10723"/>
                    </a:cubicBezTo>
                    <a:lnTo>
                      <a:pt x="55083" y="61260"/>
                    </a:lnTo>
                    <a:cubicBezTo>
                      <a:pt x="53228" y="63413"/>
                      <a:pt x="51315" y="65926"/>
                      <a:pt x="49520" y="68676"/>
                    </a:cubicBezTo>
                    <a:cubicBezTo>
                      <a:pt x="47547" y="71667"/>
                      <a:pt x="45932" y="74597"/>
                      <a:pt x="44616" y="77349"/>
                    </a:cubicBezTo>
                    <a:lnTo>
                      <a:pt x="2512" y="107910"/>
                    </a:lnTo>
                    <a:cubicBezTo>
                      <a:pt x="1854" y="108329"/>
                      <a:pt x="1316" y="108927"/>
                      <a:pt x="957" y="109525"/>
                    </a:cubicBezTo>
                    <a:cubicBezTo>
                      <a:pt x="-299" y="111499"/>
                      <a:pt x="-359" y="114070"/>
                      <a:pt x="1017" y="116104"/>
                    </a:cubicBezTo>
                    <a:cubicBezTo>
                      <a:pt x="2811" y="118675"/>
                      <a:pt x="6280" y="119393"/>
                      <a:pt x="8912" y="117718"/>
                    </a:cubicBezTo>
                    <a:lnTo>
                      <a:pt x="12679" y="120170"/>
                    </a:lnTo>
                    <a:cubicBezTo>
                      <a:pt x="11543" y="121606"/>
                      <a:pt x="10347" y="123221"/>
                      <a:pt x="9210" y="125015"/>
                    </a:cubicBezTo>
                    <a:cubicBezTo>
                      <a:pt x="4665" y="131953"/>
                      <a:pt x="2333" y="138352"/>
                      <a:pt x="3887" y="139429"/>
                    </a:cubicBezTo>
                    <a:cubicBezTo>
                      <a:pt x="5502" y="140445"/>
                      <a:pt x="9809" y="135302"/>
                      <a:pt x="14354" y="128364"/>
                    </a:cubicBezTo>
                    <a:cubicBezTo>
                      <a:pt x="15790" y="126151"/>
                      <a:pt x="16926" y="124118"/>
                      <a:pt x="17763" y="122324"/>
                    </a:cubicBezTo>
                    <a:cubicBezTo>
                      <a:pt x="19438" y="122383"/>
                      <a:pt x="21112" y="121247"/>
                      <a:pt x="21770" y="120769"/>
                    </a:cubicBezTo>
                    <a:cubicBezTo>
                      <a:pt x="21949" y="120649"/>
                      <a:pt x="22009" y="120589"/>
                      <a:pt x="22009" y="120589"/>
                    </a:cubicBezTo>
                    <a:cubicBezTo>
                      <a:pt x="22009" y="120589"/>
                      <a:pt x="22069" y="120470"/>
                      <a:pt x="22129" y="120290"/>
                    </a:cubicBezTo>
                    <a:cubicBezTo>
                      <a:pt x="22308" y="119513"/>
                      <a:pt x="22727" y="117539"/>
                      <a:pt x="21949" y="116044"/>
                    </a:cubicBezTo>
                    <a:cubicBezTo>
                      <a:pt x="23265" y="114549"/>
                      <a:pt x="24641" y="112754"/>
                      <a:pt x="26136" y="110542"/>
                    </a:cubicBezTo>
                    <a:cubicBezTo>
                      <a:pt x="30682" y="103604"/>
                      <a:pt x="33672" y="97563"/>
                      <a:pt x="32057" y="96547"/>
                    </a:cubicBezTo>
                    <a:cubicBezTo>
                      <a:pt x="30442" y="95530"/>
                      <a:pt x="25478" y="100255"/>
                      <a:pt x="20993" y="107192"/>
                    </a:cubicBezTo>
                    <a:cubicBezTo>
                      <a:pt x="19856" y="108986"/>
                      <a:pt x="18839" y="110721"/>
                      <a:pt x="18002" y="112336"/>
                    </a:cubicBezTo>
                    <a:lnTo>
                      <a:pt x="15430" y="110661"/>
                    </a:lnTo>
                    <a:cubicBezTo>
                      <a:pt x="16328" y="108986"/>
                      <a:pt x="17344" y="107252"/>
                      <a:pt x="18481" y="105518"/>
                    </a:cubicBezTo>
                    <a:cubicBezTo>
                      <a:pt x="22189" y="99896"/>
                      <a:pt x="29067" y="90865"/>
                      <a:pt x="33791" y="93975"/>
                    </a:cubicBezTo>
                    <a:cubicBezTo>
                      <a:pt x="35705" y="95231"/>
                      <a:pt x="36123" y="97265"/>
                      <a:pt x="35047" y="100614"/>
                    </a:cubicBezTo>
                    <a:lnTo>
                      <a:pt x="45992" y="93377"/>
                    </a:lnTo>
                    <a:cubicBezTo>
                      <a:pt x="51674" y="94693"/>
                      <a:pt x="62140" y="93078"/>
                      <a:pt x="69556" y="81774"/>
                    </a:cubicBezTo>
                    <a:cubicBezTo>
                      <a:pt x="77092" y="70232"/>
                      <a:pt x="73982" y="59646"/>
                      <a:pt x="70453" y="55160"/>
                    </a:cubicBezTo>
                    <a:lnTo>
                      <a:pt x="72427" y="43677"/>
                    </a:lnTo>
                    <a:cubicBezTo>
                      <a:pt x="69616" y="46428"/>
                      <a:pt x="67402" y="46907"/>
                      <a:pt x="65429" y="45591"/>
                    </a:cubicBezTo>
                    <a:cubicBezTo>
                      <a:pt x="60704" y="42481"/>
                      <a:pt x="66147" y="32553"/>
                      <a:pt x="69855" y="26931"/>
                    </a:cubicBezTo>
                    <a:cubicBezTo>
                      <a:pt x="70992" y="25197"/>
                      <a:pt x="72187" y="23582"/>
                      <a:pt x="73324" y="22087"/>
                    </a:cubicBezTo>
                    <a:lnTo>
                      <a:pt x="75895" y="23761"/>
                    </a:lnTo>
                    <a:cubicBezTo>
                      <a:pt x="74759" y="25197"/>
                      <a:pt x="73563" y="26811"/>
                      <a:pt x="72427" y="28606"/>
                    </a:cubicBezTo>
                    <a:cubicBezTo>
                      <a:pt x="67881" y="35543"/>
                      <a:pt x="65489" y="42003"/>
                      <a:pt x="67104" y="43019"/>
                    </a:cubicBezTo>
                    <a:cubicBezTo>
                      <a:pt x="68719" y="44036"/>
                      <a:pt x="73025" y="38893"/>
                      <a:pt x="77570" y="31955"/>
                    </a:cubicBezTo>
                    <a:cubicBezTo>
                      <a:pt x="79005" y="29742"/>
                      <a:pt x="80141" y="27709"/>
                      <a:pt x="80979" y="25915"/>
                    </a:cubicBezTo>
                    <a:cubicBezTo>
                      <a:pt x="82713" y="25974"/>
                      <a:pt x="84328" y="24838"/>
                      <a:pt x="84986" y="24359"/>
                    </a:cubicBezTo>
                    <a:cubicBezTo>
                      <a:pt x="85166" y="24240"/>
                      <a:pt x="85226" y="24120"/>
                      <a:pt x="85226" y="24120"/>
                    </a:cubicBezTo>
                    <a:cubicBezTo>
                      <a:pt x="85226" y="24120"/>
                      <a:pt x="85286" y="24001"/>
                      <a:pt x="85286" y="23821"/>
                    </a:cubicBezTo>
                    <a:cubicBezTo>
                      <a:pt x="85405" y="23103"/>
                      <a:pt x="85764" y="21130"/>
                      <a:pt x="85046" y="19634"/>
                    </a:cubicBezTo>
                    <a:close/>
                  </a:path>
                </a:pathLst>
              </a:custGeom>
              <a:noFill/>
              <a:ln w="1515" cap="flat">
                <a:solidFill>
                  <a:srgbClr val="FFFFFF"/>
                </a:solidFill>
                <a:prstDash val="solid"/>
                <a:miter/>
              </a:ln>
            </p:spPr>
            <p:txBody>
              <a:bodyPr rtlCol="0" anchor="ctr"/>
              <a:lstStyle/>
              <a:p>
                <a:endParaRPr lang="en-GB"/>
              </a:p>
            </p:txBody>
          </p:sp>
        </p:grpSp>
        <p:grpSp>
          <p:nvGrpSpPr>
            <p:cNvPr id="36" name="Graphic 3">
              <a:extLst>
                <a:ext uri="{FF2B5EF4-FFF2-40B4-BE49-F238E27FC236}">
                  <a16:creationId xmlns:a16="http://schemas.microsoft.com/office/drawing/2014/main" id="{FBDEAE8D-C3A1-4652-B631-B35FFB1B8642}"/>
                </a:ext>
              </a:extLst>
            </p:cNvPr>
            <p:cNvGrpSpPr/>
            <p:nvPr/>
          </p:nvGrpSpPr>
          <p:grpSpPr>
            <a:xfrm>
              <a:off x="7743978" y="5112839"/>
              <a:ext cx="96195" cy="151132"/>
              <a:chOff x="7743978" y="5112839"/>
              <a:chExt cx="96195" cy="151132"/>
            </a:xfrm>
            <a:noFill/>
          </p:grpSpPr>
          <p:sp>
            <p:nvSpPr>
              <p:cNvPr id="37" name="Vrije vorm: vorm 36">
                <a:extLst>
                  <a:ext uri="{FF2B5EF4-FFF2-40B4-BE49-F238E27FC236}">
                    <a16:creationId xmlns:a16="http://schemas.microsoft.com/office/drawing/2014/main" id="{52BC88C4-E355-4C4C-ADA6-2DD7E6145536}"/>
                  </a:ext>
                </a:extLst>
              </p:cNvPr>
              <p:cNvSpPr/>
              <p:nvPr/>
            </p:nvSpPr>
            <p:spPr>
              <a:xfrm>
                <a:off x="7743978" y="5142504"/>
                <a:ext cx="22115" cy="46410"/>
              </a:xfrm>
              <a:custGeom>
                <a:avLst/>
                <a:gdLst>
                  <a:gd name="connsiteX0" fmla="*/ 18660 w 22115"/>
                  <a:gd name="connsiteY0" fmla="*/ 0 h 46410"/>
                  <a:gd name="connsiteX1" fmla="*/ 18660 w 22115"/>
                  <a:gd name="connsiteY1" fmla="*/ 29664 h 46410"/>
                  <a:gd name="connsiteX2" fmla="*/ 0 w 22115"/>
                  <a:gd name="connsiteY2" fmla="*/ 46410 h 46410"/>
                </a:gdLst>
                <a:ahLst/>
                <a:cxnLst>
                  <a:cxn ang="0">
                    <a:pos x="connsiteX0" y="connsiteY0"/>
                  </a:cxn>
                  <a:cxn ang="0">
                    <a:pos x="connsiteX1" y="connsiteY1"/>
                  </a:cxn>
                  <a:cxn ang="0">
                    <a:pos x="connsiteX2" y="connsiteY2"/>
                  </a:cxn>
                </a:cxnLst>
                <a:rect l="l" t="t" r="r" b="b"/>
                <a:pathLst>
                  <a:path w="22115" h="46410">
                    <a:moveTo>
                      <a:pt x="18660" y="0"/>
                    </a:moveTo>
                    <a:cubicBezTo>
                      <a:pt x="23086" y="9031"/>
                      <a:pt x="23445" y="19916"/>
                      <a:pt x="18660" y="29664"/>
                    </a:cubicBezTo>
                    <a:cubicBezTo>
                      <a:pt x="14652" y="37738"/>
                      <a:pt x="7835" y="43539"/>
                      <a:pt x="0" y="46410"/>
                    </a:cubicBezTo>
                  </a:path>
                </a:pathLst>
              </a:custGeom>
              <a:noFill/>
              <a:ln w="1954" cap="flat">
                <a:solidFill>
                  <a:srgbClr val="FFFFFF"/>
                </a:solidFill>
                <a:prstDash val="solid"/>
                <a:miter/>
              </a:ln>
            </p:spPr>
            <p:txBody>
              <a:bodyPr rtlCol="0" anchor="ctr"/>
              <a:lstStyle/>
              <a:p>
                <a:endParaRPr lang="en-GB"/>
              </a:p>
            </p:txBody>
          </p:sp>
          <p:sp>
            <p:nvSpPr>
              <p:cNvPr id="38" name="Vrije vorm: vorm 37">
                <a:extLst>
                  <a:ext uri="{FF2B5EF4-FFF2-40B4-BE49-F238E27FC236}">
                    <a16:creationId xmlns:a16="http://schemas.microsoft.com/office/drawing/2014/main" id="{35C3C66D-375C-4E0E-8D48-42869C0D5BC3}"/>
                  </a:ext>
                </a:extLst>
              </p:cNvPr>
              <p:cNvSpPr/>
              <p:nvPr/>
            </p:nvSpPr>
            <p:spPr>
              <a:xfrm>
                <a:off x="7754564" y="5129346"/>
                <a:ext cx="44318" cy="92761"/>
              </a:xfrm>
              <a:custGeom>
                <a:avLst/>
                <a:gdLst>
                  <a:gd name="connsiteX0" fmla="*/ 37439 w 44318"/>
                  <a:gd name="connsiteY0" fmla="*/ 0 h 92761"/>
                  <a:gd name="connsiteX1" fmla="*/ 37380 w 44318"/>
                  <a:gd name="connsiteY1" fmla="*/ 59269 h 92761"/>
                  <a:gd name="connsiteX2" fmla="*/ 0 w 44318"/>
                  <a:gd name="connsiteY2" fmla="*/ 92761 h 92761"/>
                </a:gdLst>
                <a:ahLst/>
                <a:cxnLst>
                  <a:cxn ang="0">
                    <a:pos x="connsiteX0" y="connsiteY0"/>
                  </a:cxn>
                  <a:cxn ang="0">
                    <a:pos x="connsiteX1" y="connsiteY1"/>
                  </a:cxn>
                  <a:cxn ang="0">
                    <a:pos x="connsiteX2" y="connsiteY2"/>
                  </a:cxn>
                </a:cxnLst>
                <a:rect l="l" t="t" r="r" b="b"/>
                <a:pathLst>
                  <a:path w="44318" h="92761">
                    <a:moveTo>
                      <a:pt x="37439" y="0"/>
                    </a:moveTo>
                    <a:cubicBezTo>
                      <a:pt x="46291" y="18062"/>
                      <a:pt x="46949" y="39831"/>
                      <a:pt x="37380" y="59269"/>
                    </a:cubicBezTo>
                    <a:cubicBezTo>
                      <a:pt x="29425" y="75477"/>
                      <a:pt x="15729" y="87019"/>
                      <a:pt x="0" y="92761"/>
                    </a:cubicBezTo>
                  </a:path>
                </a:pathLst>
              </a:custGeom>
              <a:noFill/>
              <a:ln w="3908" cap="flat">
                <a:solidFill>
                  <a:srgbClr val="FFFFFF"/>
                </a:solidFill>
                <a:prstDash val="solid"/>
                <a:miter/>
              </a:ln>
            </p:spPr>
            <p:txBody>
              <a:bodyPr rtlCol="0" anchor="ctr"/>
              <a:lstStyle/>
              <a:p>
                <a:endParaRPr lang="en-GB"/>
              </a:p>
            </p:txBody>
          </p:sp>
          <p:sp>
            <p:nvSpPr>
              <p:cNvPr id="39" name="Vrije vorm: vorm 38">
                <a:extLst>
                  <a:ext uri="{FF2B5EF4-FFF2-40B4-BE49-F238E27FC236}">
                    <a16:creationId xmlns:a16="http://schemas.microsoft.com/office/drawing/2014/main" id="{110C429B-DBD3-4E5A-A19A-CE13E93D5A13}"/>
                  </a:ext>
                </a:extLst>
              </p:cNvPr>
              <p:cNvSpPr/>
              <p:nvPr/>
            </p:nvSpPr>
            <p:spPr>
              <a:xfrm>
                <a:off x="7768021" y="5112839"/>
                <a:ext cx="72153" cy="151132"/>
              </a:xfrm>
              <a:custGeom>
                <a:avLst/>
                <a:gdLst>
                  <a:gd name="connsiteX0" fmla="*/ 60943 w 72153"/>
                  <a:gd name="connsiteY0" fmla="*/ 0 h 151132"/>
                  <a:gd name="connsiteX1" fmla="*/ 60883 w 72153"/>
                  <a:gd name="connsiteY1" fmla="*/ 96589 h 151132"/>
                  <a:gd name="connsiteX2" fmla="*/ 0 w 72153"/>
                  <a:gd name="connsiteY2" fmla="*/ 151133 h 151132"/>
                </a:gdLst>
                <a:ahLst/>
                <a:cxnLst>
                  <a:cxn ang="0">
                    <a:pos x="connsiteX0" y="connsiteY0"/>
                  </a:cxn>
                  <a:cxn ang="0">
                    <a:pos x="connsiteX1" y="connsiteY1"/>
                  </a:cxn>
                  <a:cxn ang="0">
                    <a:pos x="connsiteX2" y="connsiteY2"/>
                  </a:cxn>
                </a:cxnLst>
                <a:rect l="l" t="t" r="r" b="b"/>
                <a:pathLst>
                  <a:path w="72153" h="151132">
                    <a:moveTo>
                      <a:pt x="60943" y="0"/>
                    </a:moveTo>
                    <a:cubicBezTo>
                      <a:pt x="75357" y="29425"/>
                      <a:pt x="76434" y="64951"/>
                      <a:pt x="60883" y="96589"/>
                    </a:cubicBezTo>
                    <a:cubicBezTo>
                      <a:pt x="47846" y="123023"/>
                      <a:pt x="25658" y="141863"/>
                      <a:pt x="0" y="151133"/>
                    </a:cubicBezTo>
                  </a:path>
                </a:pathLst>
              </a:custGeom>
              <a:noFill/>
              <a:ln w="7816" cap="flat">
                <a:solidFill>
                  <a:srgbClr val="FFFFFF"/>
                </a:solidFill>
                <a:prstDash val="solid"/>
                <a:miter/>
              </a:ln>
            </p:spPr>
            <p:txBody>
              <a:bodyPr rtlCol="0" anchor="ctr"/>
              <a:lstStyle/>
              <a:p>
                <a:endParaRPr lang="en-GB"/>
              </a:p>
            </p:txBody>
          </p:sp>
        </p:grpSp>
      </p:grpSp>
      <p:grpSp>
        <p:nvGrpSpPr>
          <p:cNvPr id="51" name="DRONE_3">
            <a:extLst>
              <a:ext uri="{FF2B5EF4-FFF2-40B4-BE49-F238E27FC236}">
                <a16:creationId xmlns:a16="http://schemas.microsoft.com/office/drawing/2014/main" id="{646ADE7C-36F7-4F87-84D2-4820BB9C7A4B}"/>
              </a:ext>
            </a:extLst>
          </p:cNvPr>
          <p:cNvGrpSpPr/>
          <p:nvPr userDrawn="1"/>
        </p:nvGrpSpPr>
        <p:grpSpPr>
          <a:xfrm>
            <a:off x="3578431" y="4717949"/>
            <a:ext cx="182055" cy="174220"/>
            <a:chOff x="3670162" y="4505854"/>
            <a:chExt cx="182055" cy="174220"/>
          </a:xfrm>
        </p:grpSpPr>
        <p:grpSp>
          <p:nvGrpSpPr>
            <p:cNvPr id="52" name="Graphic 3">
              <a:extLst>
                <a:ext uri="{FF2B5EF4-FFF2-40B4-BE49-F238E27FC236}">
                  <a16:creationId xmlns:a16="http://schemas.microsoft.com/office/drawing/2014/main" id="{AD253C64-C0AD-44A0-A153-9FB255191087}"/>
                </a:ext>
              </a:extLst>
            </p:cNvPr>
            <p:cNvGrpSpPr/>
            <p:nvPr/>
          </p:nvGrpSpPr>
          <p:grpSpPr>
            <a:xfrm>
              <a:off x="3670162" y="4574694"/>
              <a:ext cx="61349" cy="105380"/>
              <a:chOff x="3670162" y="4574694"/>
              <a:chExt cx="61349" cy="105380"/>
            </a:xfrm>
            <a:noFill/>
          </p:grpSpPr>
          <p:sp>
            <p:nvSpPr>
              <p:cNvPr id="61" name="Vrije vorm: vorm 60">
                <a:extLst>
                  <a:ext uri="{FF2B5EF4-FFF2-40B4-BE49-F238E27FC236}">
                    <a16:creationId xmlns:a16="http://schemas.microsoft.com/office/drawing/2014/main" id="{DA2DEADB-B33B-4EDA-861C-BF177CD731CE}"/>
                  </a:ext>
                </a:extLst>
              </p:cNvPr>
              <p:cNvSpPr/>
              <p:nvPr/>
            </p:nvSpPr>
            <p:spPr>
              <a:xfrm>
                <a:off x="3720558" y="4607289"/>
                <a:ext cx="10953" cy="32355"/>
              </a:xfrm>
              <a:custGeom>
                <a:avLst/>
                <a:gdLst>
                  <a:gd name="connsiteX0" fmla="*/ 10954 w 10953"/>
                  <a:gd name="connsiteY0" fmla="*/ 32356 h 32355"/>
                  <a:gd name="connsiteX1" fmla="*/ 188 w 10953"/>
                  <a:gd name="connsiteY1" fmla="*/ 16028 h 32355"/>
                  <a:gd name="connsiteX2" fmla="*/ 4375 w 10953"/>
                  <a:gd name="connsiteY2" fmla="*/ 0 h 32355"/>
                </a:gdLst>
                <a:ahLst/>
                <a:cxnLst>
                  <a:cxn ang="0">
                    <a:pos x="connsiteX0" y="connsiteY0"/>
                  </a:cxn>
                  <a:cxn ang="0">
                    <a:pos x="connsiteX1" y="connsiteY1"/>
                  </a:cxn>
                  <a:cxn ang="0">
                    <a:pos x="connsiteX2" y="connsiteY2"/>
                  </a:cxn>
                </a:cxnLst>
                <a:rect l="l" t="t" r="r" b="b"/>
                <a:pathLst>
                  <a:path w="10953" h="32355">
                    <a:moveTo>
                      <a:pt x="10954" y="32356"/>
                    </a:moveTo>
                    <a:cubicBezTo>
                      <a:pt x="5212" y="29006"/>
                      <a:pt x="1085" y="23145"/>
                      <a:pt x="188" y="16028"/>
                    </a:cubicBezTo>
                    <a:cubicBezTo>
                      <a:pt x="-589" y="10107"/>
                      <a:pt x="1085" y="4486"/>
                      <a:pt x="4375" y="0"/>
                    </a:cubicBezTo>
                  </a:path>
                </a:pathLst>
              </a:custGeom>
              <a:noFill/>
              <a:ln w="6350" cap="flat">
                <a:solidFill>
                  <a:schemeClr val="bg1"/>
                </a:solidFill>
                <a:prstDash val="solid"/>
                <a:miter/>
              </a:ln>
            </p:spPr>
            <p:txBody>
              <a:bodyPr rtlCol="0" anchor="ctr"/>
              <a:lstStyle/>
              <a:p>
                <a:endParaRPr lang="en-GB"/>
              </a:p>
            </p:txBody>
          </p:sp>
          <p:sp>
            <p:nvSpPr>
              <p:cNvPr id="62" name="Vrije vorm: vorm 61">
                <a:extLst>
                  <a:ext uri="{FF2B5EF4-FFF2-40B4-BE49-F238E27FC236}">
                    <a16:creationId xmlns:a16="http://schemas.microsoft.com/office/drawing/2014/main" id="{A205C32E-67BD-4273-B401-311318B5C927}"/>
                  </a:ext>
                </a:extLst>
              </p:cNvPr>
              <p:cNvSpPr/>
              <p:nvPr/>
            </p:nvSpPr>
            <p:spPr>
              <a:xfrm>
                <a:off x="3698261" y="4592875"/>
                <a:ext cx="21886" cy="64651"/>
              </a:xfrm>
              <a:custGeom>
                <a:avLst/>
                <a:gdLst>
                  <a:gd name="connsiteX0" fmla="*/ 21887 w 21886"/>
                  <a:gd name="connsiteY0" fmla="*/ 64652 h 64651"/>
                  <a:gd name="connsiteX1" fmla="*/ 356 w 21886"/>
                  <a:gd name="connsiteY1" fmla="*/ 31997 h 64651"/>
                  <a:gd name="connsiteX2" fmla="*/ 8729 w 21886"/>
                  <a:gd name="connsiteY2" fmla="*/ 0 h 64651"/>
                </a:gdLst>
                <a:ahLst/>
                <a:cxnLst>
                  <a:cxn ang="0">
                    <a:pos x="connsiteX0" y="connsiteY0"/>
                  </a:cxn>
                  <a:cxn ang="0">
                    <a:pos x="connsiteX1" y="connsiteY1"/>
                  </a:cxn>
                  <a:cxn ang="0">
                    <a:pos x="connsiteX2" y="connsiteY2"/>
                  </a:cxn>
                </a:cxnLst>
                <a:rect l="l" t="t" r="r" b="b"/>
                <a:pathLst>
                  <a:path w="21886" h="64651">
                    <a:moveTo>
                      <a:pt x="21887" y="64652"/>
                    </a:moveTo>
                    <a:cubicBezTo>
                      <a:pt x="10464" y="57953"/>
                      <a:pt x="2151" y="46171"/>
                      <a:pt x="356" y="31997"/>
                    </a:cubicBezTo>
                    <a:cubicBezTo>
                      <a:pt x="-1139" y="20155"/>
                      <a:pt x="2151" y="8852"/>
                      <a:pt x="8729" y="0"/>
                    </a:cubicBezTo>
                  </a:path>
                </a:pathLst>
              </a:custGeom>
              <a:noFill/>
              <a:ln w="6350" cap="flat">
                <a:solidFill>
                  <a:schemeClr val="bg1"/>
                </a:solidFill>
                <a:prstDash val="solid"/>
                <a:miter/>
              </a:ln>
            </p:spPr>
            <p:txBody>
              <a:bodyPr rtlCol="0" anchor="ctr"/>
              <a:lstStyle/>
              <a:p>
                <a:endParaRPr lang="en-GB"/>
              </a:p>
            </p:txBody>
          </p:sp>
          <p:sp>
            <p:nvSpPr>
              <p:cNvPr id="63" name="Vrije vorm: vorm 62">
                <a:extLst>
                  <a:ext uri="{FF2B5EF4-FFF2-40B4-BE49-F238E27FC236}">
                    <a16:creationId xmlns:a16="http://schemas.microsoft.com/office/drawing/2014/main" id="{AECAB460-6C98-4BA1-B746-5E95A467B6F4}"/>
                  </a:ext>
                </a:extLst>
              </p:cNvPr>
              <p:cNvSpPr/>
              <p:nvPr/>
            </p:nvSpPr>
            <p:spPr>
              <a:xfrm>
                <a:off x="3670162" y="4574694"/>
                <a:ext cx="35692" cy="105380"/>
              </a:xfrm>
              <a:custGeom>
                <a:avLst/>
                <a:gdLst>
                  <a:gd name="connsiteX0" fmla="*/ 35692 w 35692"/>
                  <a:gd name="connsiteY0" fmla="*/ 105380 h 105380"/>
                  <a:gd name="connsiteX1" fmla="*/ 585 w 35692"/>
                  <a:gd name="connsiteY1" fmla="*/ 52152 h 105380"/>
                  <a:gd name="connsiteX2" fmla="*/ 14281 w 35692"/>
                  <a:gd name="connsiteY2" fmla="*/ 0 h 105380"/>
                </a:gdLst>
                <a:ahLst/>
                <a:cxnLst>
                  <a:cxn ang="0">
                    <a:pos x="connsiteX0" y="connsiteY0"/>
                  </a:cxn>
                  <a:cxn ang="0">
                    <a:pos x="connsiteX1" y="connsiteY1"/>
                  </a:cxn>
                  <a:cxn ang="0">
                    <a:pos x="connsiteX2" y="connsiteY2"/>
                  </a:cxn>
                </a:cxnLst>
                <a:rect l="l" t="t" r="r" b="b"/>
                <a:pathLst>
                  <a:path w="35692" h="105380">
                    <a:moveTo>
                      <a:pt x="35692" y="105380"/>
                    </a:moveTo>
                    <a:cubicBezTo>
                      <a:pt x="17092" y="94435"/>
                      <a:pt x="3516" y="75238"/>
                      <a:pt x="585" y="52152"/>
                    </a:cubicBezTo>
                    <a:cubicBezTo>
                      <a:pt x="-1867" y="32894"/>
                      <a:pt x="3516" y="14413"/>
                      <a:pt x="14281" y="0"/>
                    </a:cubicBezTo>
                  </a:path>
                </a:pathLst>
              </a:custGeom>
              <a:noFill/>
              <a:ln w="6350" cap="flat">
                <a:solidFill>
                  <a:schemeClr val="bg1"/>
                </a:solidFill>
                <a:prstDash val="solid"/>
                <a:miter/>
              </a:ln>
            </p:spPr>
            <p:txBody>
              <a:bodyPr rtlCol="0" anchor="ctr"/>
              <a:lstStyle/>
              <a:p>
                <a:endParaRPr lang="en-GB"/>
              </a:p>
            </p:txBody>
          </p:sp>
        </p:grpSp>
        <p:grpSp>
          <p:nvGrpSpPr>
            <p:cNvPr id="53" name="DRONE_3">
              <a:extLst>
                <a:ext uri="{FF2B5EF4-FFF2-40B4-BE49-F238E27FC236}">
                  <a16:creationId xmlns:a16="http://schemas.microsoft.com/office/drawing/2014/main" id="{D9BBF7A0-C9C2-495D-B317-33842D4AC4C2}"/>
                </a:ext>
              </a:extLst>
            </p:cNvPr>
            <p:cNvGrpSpPr/>
            <p:nvPr/>
          </p:nvGrpSpPr>
          <p:grpSpPr>
            <a:xfrm>
              <a:off x="3732798" y="4505854"/>
              <a:ext cx="119419" cy="170750"/>
              <a:chOff x="3732798" y="4505854"/>
              <a:chExt cx="119419" cy="170750"/>
            </a:xfrm>
          </p:grpSpPr>
          <p:sp>
            <p:nvSpPr>
              <p:cNvPr id="54" name="Vrije vorm: vorm 53">
                <a:extLst>
                  <a:ext uri="{FF2B5EF4-FFF2-40B4-BE49-F238E27FC236}">
                    <a16:creationId xmlns:a16="http://schemas.microsoft.com/office/drawing/2014/main" id="{3EEC2BC0-FBD8-4486-BEF1-60C5C4DB8E4E}"/>
                  </a:ext>
                </a:extLst>
              </p:cNvPr>
              <p:cNvSpPr/>
              <p:nvPr/>
            </p:nvSpPr>
            <p:spPr>
              <a:xfrm>
                <a:off x="3831808" y="4608335"/>
                <a:ext cx="20409" cy="8582"/>
              </a:xfrm>
              <a:custGeom>
                <a:avLst/>
                <a:gdLst>
                  <a:gd name="connsiteX0" fmla="*/ 17822 w 20409"/>
                  <a:gd name="connsiteY0" fmla="*/ 6011 h 8582"/>
                  <a:gd name="connsiteX1" fmla="*/ 19736 w 20409"/>
                  <a:gd name="connsiteY1" fmla="*/ 6609 h 8582"/>
                  <a:gd name="connsiteX2" fmla="*/ 19736 w 20409"/>
                  <a:gd name="connsiteY2" fmla="*/ 2542 h 8582"/>
                  <a:gd name="connsiteX3" fmla="*/ 16507 w 20409"/>
                  <a:gd name="connsiteY3" fmla="*/ 90 h 8582"/>
                  <a:gd name="connsiteX4" fmla="*/ 15849 w 20409"/>
                  <a:gd name="connsiteY4" fmla="*/ 1824 h 8582"/>
                  <a:gd name="connsiteX5" fmla="*/ 0 w 20409"/>
                  <a:gd name="connsiteY5" fmla="*/ 3439 h 8582"/>
                  <a:gd name="connsiteX6" fmla="*/ 5562 w 20409"/>
                  <a:gd name="connsiteY6" fmla="*/ 8583 h 8582"/>
                  <a:gd name="connsiteX7" fmla="*/ 17822 w 20409"/>
                  <a:gd name="connsiteY7" fmla="*/ 6011 h 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09" h="8582">
                    <a:moveTo>
                      <a:pt x="17822" y="6011"/>
                    </a:moveTo>
                    <a:cubicBezTo>
                      <a:pt x="18481" y="6609"/>
                      <a:pt x="19198" y="6908"/>
                      <a:pt x="19736" y="6609"/>
                    </a:cubicBezTo>
                    <a:cubicBezTo>
                      <a:pt x="20634" y="6190"/>
                      <a:pt x="20634" y="4336"/>
                      <a:pt x="19736" y="2542"/>
                    </a:cubicBezTo>
                    <a:cubicBezTo>
                      <a:pt x="18839" y="748"/>
                      <a:pt x="17404" y="-328"/>
                      <a:pt x="16507" y="90"/>
                    </a:cubicBezTo>
                    <a:cubicBezTo>
                      <a:pt x="16028" y="329"/>
                      <a:pt x="15789" y="987"/>
                      <a:pt x="15849" y="1824"/>
                    </a:cubicBezTo>
                    <a:cubicBezTo>
                      <a:pt x="10706" y="4037"/>
                      <a:pt x="5143" y="4516"/>
                      <a:pt x="0" y="3439"/>
                    </a:cubicBezTo>
                    <a:lnTo>
                      <a:pt x="5562" y="8583"/>
                    </a:lnTo>
                    <a:cubicBezTo>
                      <a:pt x="9629" y="8583"/>
                      <a:pt x="13815" y="7745"/>
                      <a:pt x="17822" y="6011"/>
                    </a:cubicBezTo>
                    <a:close/>
                  </a:path>
                </a:pathLst>
              </a:custGeom>
              <a:noFill/>
              <a:ln w="2989" cap="flat">
                <a:solidFill>
                  <a:srgbClr val="FFFFFF"/>
                </a:solidFill>
                <a:prstDash val="solid"/>
                <a:miter/>
              </a:ln>
            </p:spPr>
            <p:txBody>
              <a:bodyPr rtlCol="0" anchor="ctr"/>
              <a:lstStyle/>
              <a:p>
                <a:endParaRPr lang="en-GB"/>
              </a:p>
            </p:txBody>
          </p:sp>
          <p:sp>
            <p:nvSpPr>
              <p:cNvPr id="55" name="Vrije vorm: vorm 54">
                <a:extLst>
                  <a:ext uri="{FF2B5EF4-FFF2-40B4-BE49-F238E27FC236}">
                    <a16:creationId xmlns:a16="http://schemas.microsoft.com/office/drawing/2014/main" id="{3059694F-D0B9-43D0-909F-5310703093B4}"/>
                  </a:ext>
                </a:extLst>
              </p:cNvPr>
              <p:cNvSpPr/>
              <p:nvPr/>
            </p:nvSpPr>
            <p:spPr>
              <a:xfrm>
                <a:off x="3803699" y="4526623"/>
                <a:ext cx="14326" cy="16073"/>
              </a:xfrm>
              <a:custGeom>
                <a:avLst/>
                <a:gdLst>
                  <a:gd name="connsiteX0" fmla="*/ 11722 w 14326"/>
                  <a:gd name="connsiteY0" fmla="*/ 6146 h 16073"/>
                  <a:gd name="connsiteX1" fmla="*/ 13457 w 14326"/>
                  <a:gd name="connsiteY1" fmla="*/ 6864 h 16073"/>
                  <a:gd name="connsiteX2" fmla="*/ 13935 w 14326"/>
                  <a:gd name="connsiteY2" fmla="*/ 2857 h 16073"/>
                  <a:gd name="connsiteX3" fmla="*/ 10945 w 14326"/>
                  <a:gd name="connsiteY3" fmla="*/ 46 h 16073"/>
                  <a:gd name="connsiteX4" fmla="*/ 10107 w 14326"/>
                  <a:gd name="connsiteY4" fmla="*/ 1840 h 16073"/>
                  <a:gd name="connsiteX5" fmla="*/ 60 w 14326"/>
                  <a:gd name="connsiteY5" fmla="*/ 8658 h 16073"/>
                  <a:gd name="connsiteX6" fmla="*/ 0 w 14326"/>
                  <a:gd name="connsiteY6" fmla="*/ 16074 h 16073"/>
                  <a:gd name="connsiteX7" fmla="*/ 11722 w 14326"/>
                  <a:gd name="connsiteY7" fmla="*/ 6146 h 1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6" h="16073">
                    <a:moveTo>
                      <a:pt x="11722" y="6146"/>
                    </a:moveTo>
                    <a:cubicBezTo>
                      <a:pt x="12320" y="6744"/>
                      <a:pt x="12919" y="7043"/>
                      <a:pt x="13457" y="6864"/>
                    </a:cubicBezTo>
                    <a:cubicBezTo>
                      <a:pt x="14414" y="6505"/>
                      <a:pt x="14593" y="4711"/>
                      <a:pt x="13935" y="2857"/>
                    </a:cubicBezTo>
                    <a:cubicBezTo>
                      <a:pt x="13218" y="943"/>
                      <a:pt x="11902" y="-253"/>
                      <a:pt x="10945" y="46"/>
                    </a:cubicBezTo>
                    <a:cubicBezTo>
                      <a:pt x="10407" y="225"/>
                      <a:pt x="10107" y="943"/>
                      <a:pt x="10107" y="1840"/>
                    </a:cubicBezTo>
                    <a:cubicBezTo>
                      <a:pt x="6220" y="3455"/>
                      <a:pt x="2871" y="5787"/>
                      <a:pt x="60" y="8658"/>
                    </a:cubicBezTo>
                    <a:lnTo>
                      <a:pt x="0" y="16074"/>
                    </a:lnTo>
                    <a:cubicBezTo>
                      <a:pt x="2751" y="11768"/>
                      <a:pt x="6758" y="8299"/>
                      <a:pt x="11722" y="6146"/>
                    </a:cubicBezTo>
                    <a:close/>
                  </a:path>
                </a:pathLst>
              </a:custGeom>
              <a:noFill/>
              <a:ln w="2989" cap="flat">
                <a:solidFill>
                  <a:srgbClr val="FFFFFF"/>
                </a:solidFill>
                <a:prstDash val="solid"/>
                <a:miter/>
              </a:ln>
            </p:spPr>
            <p:txBody>
              <a:bodyPr rtlCol="0" anchor="ctr"/>
              <a:lstStyle/>
              <a:p>
                <a:endParaRPr lang="en-GB"/>
              </a:p>
            </p:txBody>
          </p:sp>
          <p:sp>
            <p:nvSpPr>
              <p:cNvPr id="56" name="Vrije vorm: vorm 55">
                <a:extLst>
                  <a:ext uri="{FF2B5EF4-FFF2-40B4-BE49-F238E27FC236}">
                    <a16:creationId xmlns:a16="http://schemas.microsoft.com/office/drawing/2014/main" id="{86730036-4626-4DD2-869D-29EE58F6A6BC}"/>
                  </a:ext>
                </a:extLst>
              </p:cNvPr>
              <p:cNvSpPr/>
              <p:nvPr/>
            </p:nvSpPr>
            <p:spPr>
              <a:xfrm>
                <a:off x="3804057" y="4639800"/>
                <a:ext cx="5487" cy="10670"/>
              </a:xfrm>
              <a:custGeom>
                <a:avLst/>
                <a:gdLst>
                  <a:gd name="connsiteX0" fmla="*/ 4545 w 5487"/>
                  <a:gd name="connsiteY0" fmla="*/ 8816 h 10670"/>
                  <a:gd name="connsiteX1" fmla="*/ 4844 w 5487"/>
                  <a:gd name="connsiteY1" fmla="*/ 3613 h 10670"/>
                  <a:gd name="connsiteX2" fmla="*/ 1017 w 5487"/>
                  <a:gd name="connsiteY2" fmla="*/ 84 h 10670"/>
                  <a:gd name="connsiteX3" fmla="*/ 120 w 5487"/>
                  <a:gd name="connsiteY3" fmla="*/ 443 h 10670"/>
                  <a:gd name="connsiteX4" fmla="*/ 0 w 5487"/>
                  <a:gd name="connsiteY4" fmla="*/ 10670 h 10670"/>
                  <a:gd name="connsiteX5" fmla="*/ 4545 w 5487"/>
                  <a:gd name="connsiteY5" fmla="*/ 8816 h 1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7" h="10670">
                    <a:moveTo>
                      <a:pt x="4545" y="8816"/>
                    </a:moveTo>
                    <a:cubicBezTo>
                      <a:pt x="5682" y="8337"/>
                      <a:pt x="5801" y="6005"/>
                      <a:pt x="4844" y="3613"/>
                    </a:cubicBezTo>
                    <a:cubicBezTo>
                      <a:pt x="3888" y="1220"/>
                      <a:pt x="2153" y="-394"/>
                      <a:pt x="1017" y="84"/>
                    </a:cubicBezTo>
                    <a:lnTo>
                      <a:pt x="120" y="443"/>
                    </a:lnTo>
                    <a:lnTo>
                      <a:pt x="0" y="10670"/>
                    </a:lnTo>
                    <a:lnTo>
                      <a:pt x="4545" y="8816"/>
                    </a:lnTo>
                    <a:close/>
                  </a:path>
                </a:pathLst>
              </a:custGeom>
              <a:noFill/>
              <a:ln w="2989" cap="flat">
                <a:solidFill>
                  <a:srgbClr val="FFFFFF"/>
                </a:solidFill>
                <a:prstDash val="solid"/>
                <a:miter/>
              </a:ln>
            </p:spPr>
            <p:txBody>
              <a:bodyPr rtlCol="0" anchor="ctr"/>
              <a:lstStyle/>
              <a:p>
                <a:endParaRPr lang="en-GB"/>
              </a:p>
            </p:txBody>
          </p:sp>
          <p:sp>
            <p:nvSpPr>
              <p:cNvPr id="57" name="Vrije vorm: vorm 56">
                <a:extLst>
                  <a:ext uri="{FF2B5EF4-FFF2-40B4-BE49-F238E27FC236}">
                    <a16:creationId xmlns:a16="http://schemas.microsoft.com/office/drawing/2014/main" id="{427D7FCF-C697-4B05-852A-ABE34DA47A8B}"/>
                  </a:ext>
                </a:extLst>
              </p:cNvPr>
              <p:cNvSpPr/>
              <p:nvPr/>
            </p:nvSpPr>
            <p:spPr>
              <a:xfrm>
                <a:off x="3758843" y="4534838"/>
                <a:ext cx="8298" cy="8935"/>
              </a:xfrm>
              <a:custGeom>
                <a:avLst/>
                <a:gdLst>
                  <a:gd name="connsiteX0" fmla="*/ 7356 w 8298"/>
                  <a:gd name="connsiteY0" fmla="*/ 8816 h 8935"/>
                  <a:gd name="connsiteX1" fmla="*/ 7655 w 8298"/>
                  <a:gd name="connsiteY1" fmla="*/ 3613 h 8935"/>
                  <a:gd name="connsiteX2" fmla="*/ 3828 w 8298"/>
                  <a:gd name="connsiteY2" fmla="*/ 84 h 8935"/>
                  <a:gd name="connsiteX3" fmla="*/ 0 w 8298"/>
                  <a:gd name="connsiteY3" fmla="*/ 1639 h 8935"/>
                  <a:gd name="connsiteX4" fmla="*/ 7177 w 8298"/>
                  <a:gd name="connsiteY4" fmla="*/ 8936 h 8935"/>
                  <a:gd name="connsiteX5" fmla="*/ 7356 w 8298"/>
                  <a:gd name="connsiteY5" fmla="*/ 8816 h 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98" h="8935">
                    <a:moveTo>
                      <a:pt x="7356" y="8816"/>
                    </a:moveTo>
                    <a:cubicBezTo>
                      <a:pt x="8493" y="8337"/>
                      <a:pt x="8612" y="6005"/>
                      <a:pt x="7655" y="3613"/>
                    </a:cubicBezTo>
                    <a:cubicBezTo>
                      <a:pt x="6698" y="1220"/>
                      <a:pt x="4964" y="-394"/>
                      <a:pt x="3828" y="84"/>
                    </a:cubicBezTo>
                    <a:lnTo>
                      <a:pt x="0" y="1639"/>
                    </a:lnTo>
                    <a:lnTo>
                      <a:pt x="7177" y="8936"/>
                    </a:lnTo>
                    <a:lnTo>
                      <a:pt x="7356" y="8816"/>
                    </a:lnTo>
                    <a:close/>
                  </a:path>
                </a:pathLst>
              </a:custGeom>
              <a:noFill/>
              <a:ln w="2989" cap="flat">
                <a:solidFill>
                  <a:srgbClr val="FFFFFF"/>
                </a:solidFill>
                <a:prstDash val="solid"/>
                <a:miter/>
              </a:ln>
            </p:spPr>
            <p:txBody>
              <a:bodyPr rtlCol="0" anchor="ctr"/>
              <a:lstStyle/>
              <a:p>
                <a:endParaRPr lang="en-GB"/>
              </a:p>
            </p:txBody>
          </p:sp>
          <p:sp>
            <p:nvSpPr>
              <p:cNvPr id="58" name="Vrije vorm: vorm 57">
                <a:extLst>
                  <a:ext uri="{FF2B5EF4-FFF2-40B4-BE49-F238E27FC236}">
                    <a16:creationId xmlns:a16="http://schemas.microsoft.com/office/drawing/2014/main" id="{6532B730-7579-4121-B2ED-CE114CA98B48}"/>
                  </a:ext>
                </a:extLst>
              </p:cNvPr>
              <p:cNvSpPr/>
              <p:nvPr/>
            </p:nvSpPr>
            <p:spPr>
              <a:xfrm>
                <a:off x="3732798" y="4524035"/>
                <a:ext cx="48832" cy="55861"/>
              </a:xfrm>
              <a:custGeom>
                <a:avLst/>
                <a:gdLst>
                  <a:gd name="connsiteX0" fmla="*/ 9718 w 48832"/>
                  <a:gd name="connsiteY0" fmla="*/ 28171 h 55861"/>
                  <a:gd name="connsiteX1" fmla="*/ 11872 w 48832"/>
                  <a:gd name="connsiteY1" fmla="*/ 34690 h 55861"/>
                  <a:gd name="connsiteX2" fmla="*/ 19945 w 48832"/>
                  <a:gd name="connsiteY2" fmla="*/ 47549 h 55861"/>
                  <a:gd name="connsiteX3" fmla="*/ 17553 w 48832"/>
                  <a:gd name="connsiteY3" fmla="*/ 32418 h 55861"/>
                  <a:gd name="connsiteX4" fmla="*/ 15041 w 48832"/>
                  <a:gd name="connsiteY4" fmla="*/ 27035 h 55861"/>
                  <a:gd name="connsiteX5" fmla="*/ 17912 w 48832"/>
                  <a:gd name="connsiteY5" fmla="*/ 25898 h 55861"/>
                  <a:gd name="connsiteX6" fmla="*/ 19467 w 48832"/>
                  <a:gd name="connsiteY6" fmla="*/ 29188 h 55861"/>
                  <a:gd name="connsiteX7" fmla="*/ 43450 w 48832"/>
                  <a:gd name="connsiteY7" fmla="*/ 55862 h 55861"/>
                  <a:gd name="connsiteX8" fmla="*/ 48832 w 48832"/>
                  <a:gd name="connsiteY8" fmla="*/ 41568 h 55861"/>
                  <a:gd name="connsiteX9" fmla="*/ 21381 w 48832"/>
                  <a:gd name="connsiteY9" fmla="*/ 13758 h 55861"/>
                  <a:gd name="connsiteX10" fmla="*/ 13127 w 48832"/>
                  <a:gd name="connsiteY10" fmla="*/ 13458 h 55861"/>
                  <a:gd name="connsiteX11" fmla="*/ 14323 w 48832"/>
                  <a:gd name="connsiteY11" fmla="*/ 17107 h 55861"/>
                  <a:gd name="connsiteX12" fmla="*/ 11453 w 48832"/>
                  <a:gd name="connsiteY12" fmla="*/ 18243 h 55861"/>
                  <a:gd name="connsiteX13" fmla="*/ 9479 w 48832"/>
                  <a:gd name="connsiteY13" fmla="*/ 12621 h 55861"/>
                  <a:gd name="connsiteX14" fmla="*/ 687 w 48832"/>
                  <a:gd name="connsiteY14" fmla="*/ 62 h 55861"/>
                  <a:gd name="connsiteX15" fmla="*/ 3798 w 48832"/>
                  <a:gd name="connsiteY15" fmla="*/ 14894 h 55861"/>
                  <a:gd name="connsiteX16" fmla="*/ 6788 w 48832"/>
                  <a:gd name="connsiteY16" fmla="*/ 21114 h 55861"/>
                  <a:gd name="connsiteX17" fmla="*/ 5771 w 48832"/>
                  <a:gd name="connsiteY17" fmla="*/ 25241 h 55861"/>
                  <a:gd name="connsiteX18" fmla="*/ 5771 w 48832"/>
                  <a:gd name="connsiteY18" fmla="*/ 25540 h 55861"/>
                  <a:gd name="connsiteX19" fmla="*/ 6010 w 48832"/>
                  <a:gd name="connsiteY19" fmla="*/ 25779 h 55861"/>
                  <a:gd name="connsiteX20" fmla="*/ 9718 w 48832"/>
                  <a:gd name="connsiteY20" fmla="*/ 28171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832" h="55861">
                    <a:moveTo>
                      <a:pt x="9718" y="28171"/>
                    </a:moveTo>
                    <a:cubicBezTo>
                      <a:pt x="10197" y="30085"/>
                      <a:pt x="10855" y="32238"/>
                      <a:pt x="11872" y="34690"/>
                    </a:cubicBezTo>
                    <a:cubicBezTo>
                      <a:pt x="14981" y="42345"/>
                      <a:pt x="18211" y="48266"/>
                      <a:pt x="19945" y="47549"/>
                    </a:cubicBezTo>
                    <a:cubicBezTo>
                      <a:pt x="21680" y="46831"/>
                      <a:pt x="20603" y="40073"/>
                      <a:pt x="17553" y="32418"/>
                    </a:cubicBezTo>
                    <a:cubicBezTo>
                      <a:pt x="16776" y="30444"/>
                      <a:pt x="15938" y="28650"/>
                      <a:pt x="15041" y="27035"/>
                    </a:cubicBezTo>
                    <a:lnTo>
                      <a:pt x="17912" y="25898"/>
                    </a:lnTo>
                    <a:cubicBezTo>
                      <a:pt x="18450" y="26915"/>
                      <a:pt x="18988" y="28051"/>
                      <a:pt x="19467" y="29188"/>
                    </a:cubicBezTo>
                    <a:lnTo>
                      <a:pt x="43450" y="55862"/>
                    </a:lnTo>
                    <a:cubicBezTo>
                      <a:pt x="43868" y="49941"/>
                      <a:pt x="46081" y="44977"/>
                      <a:pt x="48832" y="41568"/>
                    </a:cubicBezTo>
                    <a:lnTo>
                      <a:pt x="21381" y="13758"/>
                    </a:lnTo>
                    <a:cubicBezTo>
                      <a:pt x="19168" y="11425"/>
                      <a:pt x="15460" y="11306"/>
                      <a:pt x="13127" y="13458"/>
                    </a:cubicBezTo>
                    <a:cubicBezTo>
                      <a:pt x="13606" y="14715"/>
                      <a:pt x="14025" y="15911"/>
                      <a:pt x="14323" y="17107"/>
                    </a:cubicBezTo>
                    <a:lnTo>
                      <a:pt x="11453" y="18243"/>
                    </a:lnTo>
                    <a:cubicBezTo>
                      <a:pt x="10915" y="16509"/>
                      <a:pt x="10257" y="14595"/>
                      <a:pt x="9479" y="12621"/>
                    </a:cubicBezTo>
                    <a:cubicBezTo>
                      <a:pt x="6369" y="4966"/>
                      <a:pt x="2482" y="-656"/>
                      <a:pt x="687" y="62"/>
                    </a:cubicBezTo>
                    <a:cubicBezTo>
                      <a:pt x="-1047" y="779"/>
                      <a:pt x="687" y="7299"/>
                      <a:pt x="3798" y="14894"/>
                    </a:cubicBezTo>
                    <a:cubicBezTo>
                      <a:pt x="4814" y="17346"/>
                      <a:pt x="5831" y="19439"/>
                      <a:pt x="6788" y="21114"/>
                    </a:cubicBezTo>
                    <a:cubicBezTo>
                      <a:pt x="5771" y="22489"/>
                      <a:pt x="5771" y="24463"/>
                      <a:pt x="5771" y="25241"/>
                    </a:cubicBezTo>
                    <a:cubicBezTo>
                      <a:pt x="5771" y="25420"/>
                      <a:pt x="5771" y="25540"/>
                      <a:pt x="5771" y="25540"/>
                    </a:cubicBezTo>
                    <a:cubicBezTo>
                      <a:pt x="5771" y="25540"/>
                      <a:pt x="5831" y="25659"/>
                      <a:pt x="6010" y="25779"/>
                    </a:cubicBezTo>
                    <a:cubicBezTo>
                      <a:pt x="6668" y="26496"/>
                      <a:pt x="8044" y="27932"/>
                      <a:pt x="9718" y="28171"/>
                    </a:cubicBezTo>
                    <a:close/>
                  </a:path>
                </a:pathLst>
              </a:custGeom>
              <a:noFill/>
              <a:ln w="2989" cap="flat">
                <a:solidFill>
                  <a:srgbClr val="FFFFFF"/>
                </a:solidFill>
                <a:prstDash val="solid"/>
                <a:miter/>
              </a:ln>
            </p:spPr>
            <p:txBody>
              <a:bodyPr rtlCol="0" anchor="ctr"/>
              <a:lstStyle/>
              <a:p>
                <a:endParaRPr lang="en-GB"/>
              </a:p>
            </p:txBody>
          </p:sp>
          <p:sp>
            <p:nvSpPr>
              <p:cNvPr id="59" name="Vrije vorm: vorm 58">
                <a:extLst>
                  <a:ext uri="{FF2B5EF4-FFF2-40B4-BE49-F238E27FC236}">
                    <a16:creationId xmlns:a16="http://schemas.microsoft.com/office/drawing/2014/main" id="{CC63AE47-6FD5-47B3-9875-BFD5870CD82C}"/>
                  </a:ext>
                </a:extLst>
              </p:cNvPr>
              <p:cNvSpPr/>
              <p:nvPr/>
            </p:nvSpPr>
            <p:spPr>
              <a:xfrm>
                <a:off x="3775320" y="4605614"/>
                <a:ext cx="24969" cy="70990"/>
              </a:xfrm>
              <a:custGeom>
                <a:avLst/>
                <a:gdLst>
                  <a:gd name="connsiteX0" fmla="*/ 9659 w 24969"/>
                  <a:gd name="connsiteY0" fmla="*/ 51554 h 70990"/>
                  <a:gd name="connsiteX1" fmla="*/ 11812 w 24969"/>
                  <a:gd name="connsiteY1" fmla="*/ 58073 h 70990"/>
                  <a:gd name="connsiteX2" fmla="*/ 19886 w 24969"/>
                  <a:gd name="connsiteY2" fmla="*/ 70931 h 70990"/>
                  <a:gd name="connsiteX3" fmla="*/ 17493 w 24969"/>
                  <a:gd name="connsiteY3" fmla="*/ 55800 h 70990"/>
                  <a:gd name="connsiteX4" fmla="*/ 14981 w 24969"/>
                  <a:gd name="connsiteY4" fmla="*/ 50417 h 70990"/>
                  <a:gd name="connsiteX5" fmla="*/ 17852 w 24969"/>
                  <a:gd name="connsiteY5" fmla="*/ 49281 h 70990"/>
                  <a:gd name="connsiteX6" fmla="*/ 18689 w 24969"/>
                  <a:gd name="connsiteY6" fmla="*/ 51016 h 70990"/>
                  <a:gd name="connsiteX7" fmla="*/ 18749 w 24969"/>
                  <a:gd name="connsiteY7" fmla="*/ 51016 h 70990"/>
                  <a:gd name="connsiteX8" fmla="*/ 24551 w 24969"/>
                  <a:gd name="connsiteY8" fmla="*/ 45095 h 70990"/>
                  <a:gd name="connsiteX9" fmla="*/ 24969 w 24969"/>
                  <a:gd name="connsiteY9" fmla="*/ 6818 h 70990"/>
                  <a:gd name="connsiteX10" fmla="*/ 11214 w 24969"/>
                  <a:gd name="connsiteY10" fmla="*/ 0 h 70990"/>
                  <a:gd name="connsiteX11" fmla="*/ 12470 w 24969"/>
                  <a:gd name="connsiteY11" fmla="*/ 35167 h 70990"/>
                  <a:gd name="connsiteX12" fmla="*/ 14324 w 24969"/>
                  <a:gd name="connsiteY12" fmla="*/ 40490 h 70990"/>
                  <a:gd name="connsiteX13" fmla="*/ 11453 w 24969"/>
                  <a:gd name="connsiteY13" fmla="*/ 41626 h 70990"/>
                  <a:gd name="connsiteX14" fmla="*/ 9479 w 24969"/>
                  <a:gd name="connsiteY14" fmla="*/ 36004 h 70990"/>
                  <a:gd name="connsiteX15" fmla="*/ 687 w 24969"/>
                  <a:gd name="connsiteY15" fmla="*/ 23444 h 70990"/>
                  <a:gd name="connsiteX16" fmla="*/ 3798 w 24969"/>
                  <a:gd name="connsiteY16" fmla="*/ 38277 h 70990"/>
                  <a:gd name="connsiteX17" fmla="*/ 6788 w 24969"/>
                  <a:gd name="connsiteY17" fmla="*/ 44497 h 70990"/>
                  <a:gd name="connsiteX18" fmla="*/ 5771 w 24969"/>
                  <a:gd name="connsiteY18" fmla="*/ 48623 h 70990"/>
                  <a:gd name="connsiteX19" fmla="*/ 5771 w 24969"/>
                  <a:gd name="connsiteY19" fmla="*/ 48922 h 70990"/>
                  <a:gd name="connsiteX20" fmla="*/ 6010 w 24969"/>
                  <a:gd name="connsiteY20" fmla="*/ 49162 h 70990"/>
                  <a:gd name="connsiteX21" fmla="*/ 9659 w 24969"/>
                  <a:gd name="connsiteY21" fmla="*/ 51554 h 70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969" h="70990">
                    <a:moveTo>
                      <a:pt x="9659" y="51554"/>
                    </a:moveTo>
                    <a:cubicBezTo>
                      <a:pt x="10137" y="53468"/>
                      <a:pt x="10795" y="55621"/>
                      <a:pt x="11812" y="58073"/>
                    </a:cubicBezTo>
                    <a:cubicBezTo>
                      <a:pt x="14922" y="65728"/>
                      <a:pt x="18151" y="71649"/>
                      <a:pt x="19886" y="70931"/>
                    </a:cubicBezTo>
                    <a:cubicBezTo>
                      <a:pt x="21620" y="70214"/>
                      <a:pt x="20543" y="63455"/>
                      <a:pt x="17493" y="55800"/>
                    </a:cubicBezTo>
                    <a:cubicBezTo>
                      <a:pt x="16716" y="53826"/>
                      <a:pt x="15879" y="52032"/>
                      <a:pt x="14981" y="50417"/>
                    </a:cubicBezTo>
                    <a:lnTo>
                      <a:pt x="17852" y="49281"/>
                    </a:lnTo>
                    <a:cubicBezTo>
                      <a:pt x="18151" y="49820"/>
                      <a:pt x="18450" y="50417"/>
                      <a:pt x="18689" y="51016"/>
                    </a:cubicBezTo>
                    <a:cubicBezTo>
                      <a:pt x="18689" y="51016"/>
                      <a:pt x="18689" y="51016"/>
                      <a:pt x="18749" y="51016"/>
                    </a:cubicBezTo>
                    <a:cubicBezTo>
                      <a:pt x="21979" y="50956"/>
                      <a:pt x="24610" y="48324"/>
                      <a:pt x="24551" y="45095"/>
                    </a:cubicBezTo>
                    <a:lnTo>
                      <a:pt x="24969" y="6818"/>
                    </a:lnTo>
                    <a:cubicBezTo>
                      <a:pt x="20603" y="6160"/>
                      <a:pt x="15580" y="4067"/>
                      <a:pt x="11214" y="0"/>
                    </a:cubicBezTo>
                    <a:lnTo>
                      <a:pt x="12470" y="35167"/>
                    </a:lnTo>
                    <a:cubicBezTo>
                      <a:pt x="13187" y="36961"/>
                      <a:pt x="13845" y="38755"/>
                      <a:pt x="14324" y="40490"/>
                    </a:cubicBezTo>
                    <a:lnTo>
                      <a:pt x="11453" y="41626"/>
                    </a:lnTo>
                    <a:cubicBezTo>
                      <a:pt x="10915" y="39891"/>
                      <a:pt x="10257" y="37978"/>
                      <a:pt x="9479" y="36004"/>
                    </a:cubicBezTo>
                    <a:cubicBezTo>
                      <a:pt x="6369" y="28349"/>
                      <a:pt x="2482" y="22727"/>
                      <a:pt x="687" y="23444"/>
                    </a:cubicBezTo>
                    <a:cubicBezTo>
                      <a:pt x="-1047" y="24162"/>
                      <a:pt x="687" y="30681"/>
                      <a:pt x="3798" y="38277"/>
                    </a:cubicBezTo>
                    <a:cubicBezTo>
                      <a:pt x="4814" y="40729"/>
                      <a:pt x="5831" y="42822"/>
                      <a:pt x="6788" y="44497"/>
                    </a:cubicBezTo>
                    <a:cubicBezTo>
                      <a:pt x="5771" y="45872"/>
                      <a:pt x="5771" y="47846"/>
                      <a:pt x="5771" y="48623"/>
                    </a:cubicBezTo>
                    <a:cubicBezTo>
                      <a:pt x="5771" y="48803"/>
                      <a:pt x="5771" y="48922"/>
                      <a:pt x="5771" y="48922"/>
                    </a:cubicBezTo>
                    <a:cubicBezTo>
                      <a:pt x="5771" y="48922"/>
                      <a:pt x="5831" y="49042"/>
                      <a:pt x="6010" y="49162"/>
                    </a:cubicBezTo>
                    <a:cubicBezTo>
                      <a:pt x="6549" y="49879"/>
                      <a:pt x="7924" y="51315"/>
                      <a:pt x="9659" y="51554"/>
                    </a:cubicBezTo>
                    <a:close/>
                  </a:path>
                </a:pathLst>
              </a:custGeom>
              <a:noFill/>
              <a:ln w="2989" cap="flat">
                <a:solidFill>
                  <a:srgbClr val="FFFFFF"/>
                </a:solidFill>
                <a:prstDash val="solid"/>
                <a:miter/>
              </a:ln>
            </p:spPr>
            <p:txBody>
              <a:bodyPr rtlCol="0" anchor="ctr"/>
              <a:lstStyle/>
              <a:p>
                <a:endParaRPr lang="en-GB"/>
              </a:p>
            </p:txBody>
          </p:sp>
          <p:sp>
            <p:nvSpPr>
              <p:cNvPr id="60" name="Vrije vorm: vorm 59">
                <a:extLst>
                  <a:ext uri="{FF2B5EF4-FFF2-40B4-BE49-F238E27FC236}">
                    <a16:creationId xmlns:a16="http://schemas.microsoft.com/office/drawing/2014/main" id="{E4CDB669-6C80-4A6C-81C6-E9A6A33CB1B2}"/>
                  </a:ext>
                </a:extLst>
              </p:cNvPr>
              <p:cNvSpPr/>
              <p:nvPr/>
            </p:nvSpPr>
            <p:spPr>
              <a:xfrm>
                <a:off x="3771971" y="4505854"/>
                <a:ext cx="72451" cy="154244"/>
              </a:xfrm>
              <a:custGeom>
                <a:avLst/>
                <a:gdLst>
                  <a:gd name="connsiteX0" fmla="*/ 52720 w 72451"/>
                  <a:gd name="connsiteY0" fmla="*/ 134748 h 154244"/>
                  <a:gd name="connsiteX1" fmla="*/ 54873 w 72451"/>
                  <a:gd name="connsiteY1" fmla="*/ 141326 h 154244"/>
                  <a:gd name="connsiteX2" fmla="*/ 62947 w 72451"/>
                  <a:gd name="connsiteY2" fmla="*/ 154185 h 154244"/>
                  <a:gd name="connsiteX3" fmla="*/ 60555 w 72451"/>
                  <a:gd name="connsiteY3" fmla="*/ 139054 h 154244"/>
                  <a:gd name="connsiteX4" fmla="*/ 58043 w 72451"/>
                  <a:gd name="connsiteY4" fmla="*/ 133671 h 154244"/>
                  <a:gd name="connsiteX5" fmla="*/ 61870 w 72451"/>
                  <a:gd name="connsiteY5" fmla="*/ 132116 h 154244"/>
                  <a:gd name="connsiteX6" fmla="*/ 62349 w 72451"/>
                  <a:gd name="connsiteY6" fmla="*/ 132594 h 154244"/>
                  <a:gd name="connsiteX7" fmla="*/ 70662 w 72451"/>
                  <a:gd name="connsiteY7" fmla="*/ 132714 h 154244"/>
                  <a:gd name="connsiteX8" fmla="*/ 72038 w 72451"/>
                  <a:gd name="connsiteY8" fmla="*/ 126315 h 154244"/>
                  <a:gd name="connsiteX9" fmla="*/ 70782 w 72451"/>
                  <a:gd name="connsiteY9" fmla="*/ 124461 h 154244"/>
                  <a:gd name="connsiteX10" fmla="*/ 35675 w 72451"/>
                  <a:gd name="connsiteY10" fmla="*/ 86543 h 154244"/>
                  <a:gd name="connsiteX11" fmla="*/ 32744 w 72451"/>
                  <a:gd name="connsiteY11" fmla="*/ 77751 h 154244"/>
                  <a:gd name="connsiteX12" fmla="*/ 28438 w 72451"/>
                  <a:gd name="connsiteY12" fmla="*/ 68840 h 154244"/>
                  <a:gd name="connsiteX13" fmla="*/ 27362 w 72451"/>
                  <a:gd name="connsiteY13" fmla="*/ 16868 h 154244"/>
                  <a:gd name="connsiteX14" fmla="*/ 26943 w 72451"/>
                  <a:gd name="connsiteY14" fmla="*/ 14655 h 154244"/>
                  <a:gd name="connsiteX15" fmla="*/ 21501 w 72451"/>
                  <a:gd name="connsiteY15" fmla="*/ 11007 h 154244"/>
                  <a:gd name="connsiteX16" fmla="*/ 15639 w 72451"/>
                  <a:gd name="connsiteY16" fmla="*/ 16569 h 154244"/>
                  <a:gd name="connsiteX17" fmla="*/ 11453 w 72451"/>
                  <a:gd name="connsiteY17" fmla="*/ 18243 h 154244"/>
                  <a:gd name="connsiteX18" fmla="*/ 9479 w 72451"/>
                  <a:gd name="connsiteY18" fmla="*/ 12621 h 154244"/>
                  <a:gd name="connsiteX19" fmla="*/ 687 w 72451"/>
                  <a:gd name="connsiteY19" fmla="*/ 62 h 154244"/>
                  <a:gd name="connsiteX20" fmla="*/ 3798 w 72451"/>
                  <a:gd name="connsiteY20" fmla="*/ 14894 h 154244"/>
                  <a:gd name="connsiteX21" fmla="*/ 6788 w 72451"/>
                  <a:gd name="connsiteY21" fmla="*/ 21114 h 154244"/>
                  <a:gd name="connsiteX22" fmla="*/ 5771 w 72451"/>
                  <a:gd name="connsiteY22" fmla="*/ 25240 h 154244"/>
                  <a:gd name="connsiteX23" fmla="*/ 5771 w 72451"/>
                  <a:gd name="connsiteY23" fmla="*/ 25540 h 154244"/>
                  <a:gd name="connsiteX24" fmla="*/ 6010 w 72451"/>
                  <a:gd name="connsiteY24" fmla="*/ 25779 h 154244"/>
                  <a:gd name="connsiteX25" fmla="*/ 9599 w 72451"/>
                  <a:gd name="connsiteY25" fmla="*/ 28051 h 154244"/>
                  <a:gd name="connsiteX26" fmla="*/ 11752 w 72451"/>
                  <a:gd name="connsiteY26" fmla="*/ 34571 h 154244"/>
                  <a:gd name="connsiteX27" fmla="*/ 19826 w 72451"/>
                  <a:gd name="connsiteY27" fmla="*/ 47429 h 154244"/>
                  <a:gd name="connsiteX28" fmla="*/ 17434 w 72451"/>
                  <a:gd name="connsiteY28" fmla="*/ 32298 h 154244"/>
                  <a:gd name="connsiteX29" fmla="*/ 14922 w 72451"/>
                  <a:gd name="connsiteY29" fmla="*/ 26915 h 154244"/>
                  <a:gd name="connsiteX30" fmla="*/ 17793 w 72451"/>
                  <a:gd name="connsiteY30" fmla="*/ 25779 h 154244"/>
                  <a:gd name="connsiteX31" fmla="*/ 20245 w 72451"/>
                  <a:gd name="connsiteY31" fmla="*/ 31162 h 154244"/>
                  <a:gd name="connsiteX32" fmla="*/ 20962 w 72451"/>
                  <a:gd name="connsiteY32" fmla="*/ 50300 h 154244"/>
                  <a:gd name="connsiteX33" fmla="*/ 14802 w 72451"/>
                  <a:gd name="connsiteY33" fmla="*/ 47549 h 154244"/>
                  <a:gd name="connsiteX34" fmla="*/ 14503 w 72451"/>
                  <a:gd name="connsiteY34" fmla="*/ 60646 h 154244"/>
                  <a:gd name="connsiteX35" fmla="*/ 10616 w 72451"/>
                  <a:gd name="connsiteY35" fmla="*/ 86603 h 154244"/>
                  <a:gd name="connsiteX36" fmla="*/ 31907 w 72451"/>
                  <a:gd name="connsiteY36" fmla="*/ 102512 h 154244"/>
                  <a:gd name="connsiteX37" fmla="*/ 40160 w 72451"/>
                  <a:gd name="connsiteY37" fmla="*/ 110705 h 154244"/>
                  <a:gd name="connsiteX38" fmla="*/ 42552 w 72451"/>
                  <a:gd name="connsiteY38" fmla="*/ 103827 h 154244"/>
                  <a:gd name="connsiteX39" fmla="*/ 55351 w 72451"/>
                  <a:gd name="connsiteY39" fmla="*/ 118061 h 154244"/>
                  <a:gd name="connsiteX40" fmla="*/ 57325 w 72451"/>
                  <a:gd name="connsiteY40" fmla="*/ 123683 h 154244"/>
                  <a:gd name="connsiteX41" fmla="*/ 54454 w 72451"/>
                  <a:gd name="connsiteY41" fmla="*/ 124819 h 154244"/>
                  <a:gd name="connsiteX42" fmla="*/ 52481 w 72451"/>
                  <a:gd name="connsiteY42" fmla="*/ 119198 h 154244"/>
                  <a:gd name="connsiteX43" fmla="*/ 43689 w 72451"/>
                  <a:gd name="connsiteY43" fmla="*/ 106638 h 154244"/>
                  <a:gd name="connsiteX44" fmla="*/ 46799 w 72451"/>
                  <a:gd name="connsiteY44" fmla="*/ 121530 h 154244"/>
                  <a:gd name="connsiteX45" fmla="*/ 49789 w 72451"/>
                  <a:gd name="connsiteY45" fmla="*/ 127750 h 154244"/>
                  <a:gd name="connsiteX46" fmla="*/ 48773 w 72451"/>
                  <a:gd name="connsiteY46" fmla="*/ 131877 h 154244"/>
                  <a:gd name="connsiteX47" fmla="*/ 48773 w 72451"/>
                  <a:gd name="connsiteY47" fmla="*/ 132236 h 154244"/>
                  <a:gd name="connsiteX48" fmla="*/ 49012 w 72451"/>
                  <a:gd name="connsiteY48" fmla="*/ 132475 h 154244"/>
                  <a:gd name="connsiteX49" fmla="*/ 52720 w 72451"/>
                  <a:gd name="connsiteY49" fmla="*/ 134748 h 15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2451" h="154244">
                    <a:moveTo>
                      <a:pt x="52720" y="134748"/>
                    </a:moveTo>
                    <a:cubicBezTo>
                      <a:pt x="53198" y="136661"/>
                      <a:pt x="53856" y="138815"/>
                      <a:pt x="54873" y="141326"/>
                    </a:cubicBezTo>
                    <a:cubicBezTo>
                      <a:pt x="57983" y="148981"/>
                      <a:pt x="61212" y="154903"/>
                      <a:pt x="62947" y="154185"/>
                    </a:cubicBezTo>
                    <a:cubicBezTo>
                      <a:pt x="64681" y="153467"/>
                      <a:pt x="63605" y="146709"/>
                      <a:pt x="60555" y="139054"/>
                    </a:cubicBezTo>
                    <a:cubicBezTo>
                      <a:pt x="59777" y="137080"/>
                      <a:pt x="58940" y="135286"/>
                      <a:pt x="58043" y="133671"/>
                    </a:cubicBezTo>
                    <a:lnTo>
                      <a:pt x="61870" y="132116"/>
                    </a:lnTo>
                    <a:lnTo>
                      <a:pt x="62349" y="132594"/>
                    </a:lnTo>
                    <a:cubicBezTo>
                      <a:pt x="64621" y="134927"/>
                      <a:pt x="68329" y="134987"/>
                      <a:pt x="70662" y="132714"/>
                    </a:cubicBezTo>
                    <a:cubicBezTo>
                      <a:pt x="72456" y="130980"/>
                      <a:pt x="72875" y="128468"/>
                      <a:pt x="72038" y="126315"/>
                    </a:cubicBezTo>
                    <a:cubicBezTo>
                      <a:pt x="71738" y="125657"/>
                      <a:pt x="71380" y="124999"/>
                      <a:pt x="70782" y="124461"/>
                    </a:cubicBezTo>
                    <a:lnTo>
                      <a:pt x="35675" y="86543"/>
                    </a:lnTo>
                    <a:cubicBezTo>
                      <a:pt x="34957" y="83792"/>
                      <a:pt x="33940" y="80801"/>
                      <a:pt x="32744" y="77751"/>
                    </a:cubicBezTo>
                    <a:cubicBezTo>
                      <a:pt x="31428" y="74462"/>
                      <a:pt x="29933" y="71412"/>
                      <a:pt x="28438" y="68840"/>
                    </a:cubicBezTo>
                    <a:lnTo>
                      <a:pt x="27362" y="16868"/>
                    </a:lnTo>
                    <a:cubicBezTo>
                      <a:pt x="27362" y="16090"/>
                      <a:pt x="27242" y="15313"/>
                      <a:pt x="26943" y="14655"/>
                    </a:cubicBezTo>
                    <a:cubicBezTo>
                      <a:pt x="26046" y="12502"/>
                      <a:pt x="23953" y="11007"/>
                      <a:pt x="21501" y="11007"/>
                    </a:cubicBezTo>
                    <a:cubicBezTo>
                      <a:pt x="18331" y="11007"/>
                      <a:pt x="15819" y="13458"/>
                      <a:pt x="15639" y="16569"/>
                    </a:cubicBezTo>
                    <a:lnTo>
                      <a:pt x="11453" y="18243"/>
                    </a:lnTo>
                    <a:cubicBezTo>
                      <a:pt x="10915" y="16509"/>
                      <a:pt x="10257" y="14595"/>
                      <a:pt x="9479" y="12621"/>
                    </a:cubicBezTo>
                    <a:cubicBezTo>
                      <a:pt x="6369" y="4966"/>
                      <a:pt x="2422" y="-656"/>
                      <a:pt x="687" y="62"/>
                    </a:cubicBezTo>
                    <a:cubicBezTo>
                      <a:pt x="-1047" y="779"/>
                      <a:pt x="687" y="7298"/>
                      <a:pt x="3798" y="14894"/>
                    </a:cubicBezTo>
                    <a:cubicBezTo>
                      <a:pt x="4814" y="17346"/>
                      <a:pt x="5831" y="19439"/>
                      <a:pt x="6788" y="21114"/>
                    </a:cubicBezTo>
                    <a:cubicBezTo>
                      <a:pt x="5771" y="22489"/>
                      <a:pt x="5771" y="24463"/>
                      <a:pt x="5771" y="25240"/>
                    </a:cubicBezTo>
                    <a:cubicBezTo>
                      <a:pt x="5771" y="25420"/>
                      <a:pt x="5771" y="25540"/>
                      <a:pt x="5771" y="25540"/>
                    </a:cubicBezTo>
                    <a:cubicBezTo>
                      <a:pt x="5771" y="25540"/>
                      <a:pt x="5831" y="25659"/>
                      <a:pt x="6010" y="25779"/>
                    </a:cubicBezTo>
                    <a:cubicBezTo>
                      <a:pt x="6549" y="26377"/>
                      <a:pt x="7924" y="27812"/>
                      <a:pt x="9599" y="28051"/>
                    </a:cubicBezTo>
                    <a:cubicBezTo>
                      <a:pt x="10077" y="29965"/>
                      <a:pt x="10735" y="32118"/>
                      <a:pt x="11752" y="34571"/>
                    </a:cubicBezTo>
                    <a:cubicBezTo>
                      <a:pt x="14862" y="42226"/>
                      <a:pt x="18092" y="48147"/>
                      <a:pt x="19826" y="47429"/>
                    </a:cubicBezTo>
                    <a:cubicBezTo>
                      <a:pt x="21560" y="46711"/>
                      <a:pt x="20484" y="39953"/>
                      <a:pt x="17434" y="32298"/>
                    </a:cubicBezTo>
                    <a:cubicBezTo>
                      <a:pt x="16656" y="30324"/>
                      <a:pt x="15819" y="28530"/>
                      <a:pt x="14922" y="26915"/>
                    </a:cubicBezTo>
                    <a:lnTo>
                      <a:pt x="17793" y="25779"/>
                    </a:lnTo>
                    <a:cubicBezTo>
                      <a:pt x="18630" y="27454"/>
                      <a:pt x="19527" y="29248"/>
                      <a:pt x="20245" y="31162"/>
                    </a:cubicBezTo>
                    <a:cubicBezTo>
                      <a:pt x="22756" y="37381"/>
                      <a:pt x="26225" y="48206"/>
                      <a:pt x="20962" y="50300"/>
                    </a:cubicBezTo>
                    <a:cubicBezTo>
                      <a:pt x="18869" y="51137"/>
                      <a:pt x="16895" y="50359"/>
                      <a:pt x="14802" y="47549"/>
                    </a:cubicBezTo>
                    <a:lnTo>
                      <a:pt x="14503" y="60646"/>
                    </a:lnTo>
                    <a:cubicBezTo>
                      <a:pt x="10197" y="64594"/>
                      <a:pt x="5532" y="74103"/>
                      <a:pt x="10616" y="86603"/>
                    </a:cubicBezTo>
                    <a:cubicBezTo>
                      <a:pt x="15759" y="99342"/>
                      <a:pt x="26225" y="102810"/>
                      <a:pt x="31907" y="102512"/>
                    </a:cubicBezTo>
                    <a:lnTo>
                      <a:pt x="40160" y="110705"/>
                    </a:lnTo>
                    <a:cubicBezTo>
                      <a:pt x="39562" y="106817"/>
                      <a:pt x="40340" y="104724"/>
                      <a:pt x="42552" y="103827"/>
                    </a:cubicBezTo>
                    <a:cubicBezTo>
                      <a:pt x="47816" y="101734"/>
                      <a:pt x="52840" y="111841"/>
                      <a:pt x="55351" y="118061"/>
                    </a:cubicBezTo>
                    <a:cubicBezTo>
                      <a:pt x="56129" y="119975"/>
                      <a:pt x="56787" y="121889"/>
                      <a:pt x="57325" y="123683"/>
                    </a:cubicBezTo>
                    <a:lnTo>
                      <a:pt x="54454" y="124819"/>
                    </a:lnTo>
                    <a:cubicBezTo>
                      <a:pt x="53916" y="123085"/>
                      <a:pt x="53258" y="121171"/>
                      <a:pt x="52481" y="119198"/>
                    </a:cubicBezTo>
                    <a:cubicBezTo>
                      <a:pt x="49371" y="111542"/>
                      <a:pt x="45423" y="105921"/>
                      <a:pt x="43689" y="106638"/>
                    </a:cubicBezTo>
                    <a:cubicBezTo>
                      <a:pt x="41955" y="107356"/>
                      <a:pt x="43689" y="113875"/>
                      <a:pt x="46799" y="121530"/>
                    </a:cubicBezTo>
                    <a:cubicBezTo>
                      <a:pt x="47816" y="123982"/>
                      <a:pt x="48833" y="126016"/>
                      <a:pt x="49789" y="127750"/>
                    </a:cubicBezTo>
                    <a:cubicBezTo>
                      <a:pt x="48773" y="129126"/>
                      <a:pt x="48713" y="131099"/>
                      <a:pt x="48773" y="131877"/>
                    </a:cubicBezTo>
                    <a:cubicBezTo>
                      <a:pt x="48773" y="132056"/>
                      <a:pt x="48773" y="132236"/>
                      <a:pt x="48773" y="132236"/>
                    </a:cubicBezTo>
                    <a:cubicBezTo>
                      <a:pt x="48773" y="132236"/>
                      <a:pt x="48833" y="132355"/>
                      <a:pt x="49012" y="132475"/>
                    </a:cubicBezTo>
                    <a:cubicBezTo>
                      <a:pt x="49610" y="133013"/>
                      <a:pt x="51045" y="134448"/>
                      <a:pt x="52720" y="134748"/>
                    </a:cubicBezTo>
                    <a:close/>
                  </a:path>
                </a:pathLst>
              </a:custGeom>
              <a:noFill/>
              <a:ln w="2989" cap="flat">
                <a:solidFill>
                  <a:srgbClr val="FFFFFF"/>
                </a:solidFill>
                <a:prstDash val="solid"/>
                <a:miter/>
              </a:ln>
            </p:spPr>
            <p:txBody>
              <a:bodyPr rtlCol="0" anchor="ctr"/>
              <a:lstStyle/>
              <a:p>
                <a:endParaRPr lang="en-GB"/>
              </a:p>
            </p:txBody>
          </p:sp>
        </p:grpSp>
      </p:grpSp>
      <p:grpSp>
        <p:nvGrpSpPr>
          <p:cNvPr id="64" name="DRONE_4">
            <a:extLst>
              <a:ext uri="{FF2B5EF4-FFF2-40B4-BE49-F238E27FC236}">
                <a16:creationId xmlns:a16="http://schemas.microsoft.com/office/drawing/2014/main" id="{D5563FC3-F27F-4AD7-9786-773A5F2FB515}"/>
              </a:ext>
            </a:extLst>
          </p:cNvPr>
          <p:cNvGrpSpPr/>
          <p:nvPr userDrawn="1"/>
        </p:nvGrpSpPr>
        <p:grpSpPr>
          <a:xfrm>
            <a:off x="3849328" y="2611651"/>
            <a:ext cx="121846" cy="115449"/>
            <a:chOff x="3817234" y="2428131"/>
            <a:chExt cx="121846" cy="115449"/>
          </a:xfrm>
          <a:solidFill>
            <a:schemeClr val="accent1"/>
          </a:solidFill>
        </p:grpSpPr>
        <p:sp>
          <p:nvSpPr>
            <p:cNvPr id="65" name="Vrije vorm: vorm 64">
              <a:extLst>
                <a:ext uri="{FF2B5EF4-FFF2-40B4-BE49-F238E27FC236}">
                  <a16:creationId xmlns:a16="http://schemas.microsoft.com/office/drawing/2014/main" id="{5CFD9DAD-ED56-42E1-A975-9D46857B1F06}"/>
                </a:ext>
              </a:extLst>
            </p:cNvPr>
            <p:cNvSpPr/>
            <p:nvPr/>
          </p:nvSpPr>
          <p:spPr>
            <a:xfrm>
              <a:off x="3831090" y="2451059"/>
              <a:ext cx="68060" cy="69196"/>
            </a:xfrm>
            <a:custGeom>
              <a:avLst/>
              <a:gdLst>
                <a:gd name="connsiteX0" fmla="*/ 29366 w 68060"/>
                <a:gd name="connsiteY0" fmla="*/ 6639 h 69196"/>
                <a:gd name="connsiteX1" fmla="*/ 35286 w 68060"/>
                <a:gd name="connsiteY1" fmla="*/ 17942 h 69196"/>
                <a:gd name="connsiteX2" fmla="*/ 62439 w 68060"/>
                <a:gd name="connsiteY2" fmla="*/ 0 h 69196"/>
                <a:gd name="connsiteX3" fmla="*/ 68061 w 68060"/>
                <a:gd name="connsiteY3" fmla="*/ 5981 h 69196"/>
                <a:gd name="connsiteX4" fmla="*/ 44257 w 68060"/>
                <a:gd name="connsiteY4" fmla="*/ 34688 h 69196"/>
                <a:gd name="connsiteX5" fmla="*/ 42942 w 68060"/>
                <a:gd name="connsiteY5" fmla="*/ 64652 h 69196"/>
                <a:gd name="connsiteX6" fmla="*/ 33731 w 68060"/>
                <a:gd name="connsiteY6" fmla="*/ 69197 h 69196"/>
                <a:gd name="connsiteX7" fmla="*/ 26136 w 68060"/>
                <a:gd name="connsiteY7" fmla="*/ 48743 h 69196"/>
                <a:gd name="connsiteX8" fmla="*/ 5622 w 68060"/>
                <a:gd name="connsiteY8" fmla="*/ 65908 h 69196"/>
                <a:gd name="connsiteX9" fmla="*/ 0 w 68060"/>
                <a:gd name="connsiteY9" fmla="*/ 59748 h 69196"/>
                <a:gd name="connsiteX10" fmla="*/ 19976 w 68060"/>
                <a:gd name="connsiteY10" fmla="*/ 30801 h 69196"/>
                <a:gd name="connsiteX11" fmla="*/ 23026 w 68060"/>
                <a:gd name="connsiteY11" fmla="*/ 7416 h 69196"/>
                <a:gd name="connsiteX12" fmla="*/ 29366 w 68060"/>
                <a:gd name="connsiteY12" fmla="*/ 6639 h 6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60" h="69196">
                  <a:moveTo>
                    <a:pt x="29366" y="6639"/>
                  </a:moveTo>
                  <a:cubicBezTo>
                    <a:pt x="29366" y="6639"/>
                    <a:pt x="33074" y="16746"/>
                    <a:pt x="35286" y="17942"/>
                  </a:cubicBezTo>
                  <a:cubicBezTo>
                    <a:pt x="37499" y="19138"/>
                    <a:pt x="61422" y="1734"/>
                    <a:pt x="62439" y="0"/>
                  </a:cubicBezTo>
                  <a:lnTo>
                    <a:pt x="68061" y="5981"/>
                  </a:lnTo>
                  <a:cubicBezTo>
                    <a:pt x="68061" y="5981"/>
                    <a:pt x="45992" y="27332"/>
                    <a:pt x="44257" y="34688"/>
                  </a:cubicBezTo>
                  <a:cubicBezTo>
                    <a:pt x="42523" y="42104"/>
                    <a:pt x="42942" y="64652"/>
                    <a:pt x="42942" y="64652"/>
                  </a:cubicBezTo>
                  <a:lnTo>
                    <a:pt x="33731" y="69197"/>
                  </a:lnTo>
                  <a:lnTo>
                    <a:pt x="26136" y="48743"/>
                  </a:lnTo>
                  <a:lnTo>
                    <a:pt x="5622" y="65908"/>
                  </a:lnTo>
                  <a:lnTo>
                    <a:pt x="0" y="59748"/>
                  </a:lnTo>
                  <a:cubicBezTo>
                    <a:pt x="0" y="59748"/>
                    <a:pt x="15968" y="40729"/>
                    <a:pt x="19976" y="30801"/>
                  </a:cubicBezTo>
                  <a:cubicBezTo>
                    <a:pt x="23983" y="20873"/>
                    <a:pt x="23026" y="7416"/>
                    <a:pt x="23026" y="7416"/>
                  </a:cubicBezTo>
                  <a:lnTo>
                    <a:pt x="29366" y="6639"/>
                  </a:lnTo>
                  <a:close/>
                </a:path>
              </a:pathLst>
            </a:custGeom>
            <a:noFill/>
            <a:ln w="4190" cap="flat">
              <a:solidFill>
                <a:srgbClr val="FFFFFF"/>
              </a:solidFill>
              <a:prstDash val="solid"/>
              <a:miter/>
            </a:ln>
          </p:spPr>
          <p:txBody>
            <a:bodyPr rtlCol="0" anchor="ctr"/>
            <a:lstStyle/>
            <a:p>
              <a:endParaRPr lang="en-GB"/>
            </a:p>
          </p:txBody>
        </p:sp>
        <p:sp>
          <p:nvSpPr>
            <p:cNvPr id="66" name="Vrije vorm: vorm 65">
              <a:extLst>
                <a:ext uri="{FF2B5EF4-FFF2-40B4-BE49-F238E27FC236}">
                  <a16:creationId xmlns:a16="http://schemas.microsoft.com/office/drawing/2014/main" id="{2298F497-405C-4FF6-B3F5-08DBEAC0215E}"/>
                </a:ext>
              </a:extLst>
            </p:cNvPr>
            <p:cNvSpPr/>
            <p:nvPr/>
          </p:nvSpPr>
          <p:spPr>
            <a:xfrm>
              <a:off x="3850521" y="2449471"/>
              <a:ext cx="11104" cy="11131"/>
            </a:xfrm>
            <a:custGeom>
              <a:avLst/>
              <a:gdLst>
                <a:gd name="connsiteX0" fmla="*/ 2878 w 11104"/>
                <a:gd name="connsiteY0" fmla="*/ 10440 h 11131"/>
                <a:gd name="connsiteX1" fmla="*/ 10413 w 11104"/>
                <a:gd name="connsiteY1" fmla="*/ 8227 h 11131"/>
                <a:gd name="connsiteX2" fmla="*/ 8201 w 11104"/>
                <a:gd name="connsiteY2" fmla="*/ 691 h 11131"/>
                <a:gd name="connsiteX3" fmla="*/ 665 w 11104"/>
                <a:gd name="connsiteY3" fmla="*/ 2904 h 11131"/>
                <a:gd name="connsiteX4" fmla="*/ 2878 w 11104"/>
                <a:gd name="connsiteY4" fmla="*/ 10440 h 11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4" h="11131">
                  <a:moveTo>
                    <a:pt x="2878" y="10440"/>
                  </a:moveTo>
                  <a:cubicBezTo>
                    <a:pt x="5569" y="11935"/>
                    <a:pt x="8918" y="10918"/>
                    <a:pt x="10413" y="8227"/>
                  </a:cubicBezTo>
                  <a:cubicBezTo>
                    <a:pt x="11909" y="5536"/>
                    <a:pt x="10892" y="2187"/>
                    <a:pt x="8201" y="691"/>
                  </a:cubicBezTo>
                  <a:cubicBezTo>
                    <a:pt x="5509" y="-804"/>
                    <a:pt x="2160" y="213"/>
                    <a:pt x="665" y="2904"/>
                  </a:cubicBezTo>
                  <a:cubicBezTo>
                    <a:pt x="-771" y="5596"/>
                    <a:pt x="187" y="8945"/>
                    <a:pt x="2878" y="10440"/>
                  </a:cubicBezTo>
                  <a:close/>
                </a:path>
              </a:pathLst>
            </a:custGeom>
            <a:solidFill>
              <a:srgbClr val="FFFFFF"/>
            </a:solidFill>
            <a:ln w="5978" cap="flat">
              <a:noFill/>
              <a:prstDash val="solid"/>
              <a:miter/>
            </a:ln>
          </p:spPr>
          <p:txBody>
            <a:bodyPr rtlCol="0" anchor="ctr"/>
            <a:lstStyle/>
            <a:p>
              <a:endParaRPr lang="en-GB"/>
            </a:p>
          </p:txBody>
        </p:sp>
        <p:sp>
          <p:nvSpPr>
            <p:cNvPr id="67" name="Vrije vorm: vorm 66">
              <a:extLst>
                <a:ext uri="{FF2B5EF4-FFF2-40B4-BE49-F238E27FC236}">
                  <a16:creationId xmlns:a16="http://schemas.microsoft.com/office/drawing/2014/main" id="{A6285CCD-BF79-4C0A-BBB6-872880CD148C}"/>
                </a:ext>
              </a:extLst>
            </p:cNvPr>
            <p:cNvSpPr/>
            <p:nvPr/>
          </p:nvSpPr>
          <p:spPr>
            <a:xfrm>
              <a:off x="3892960" y="2441387"/>
              <a:ext cx="17178" cy="17191"/>
            </a:xfrm>
            <a:custGeom>
              <a:avLst/>
              <a:gdLst>
                <a:gd name="connsiteX0" fmla="*/ 4457 w 17178"/>
                <a:gd name="connsiteY0" fmla="*/ 16131 h 17191"/>
                <a:gd name="connsiteX1" fmla="*/ 16119 w 17178"/>
                <a:gd name="connsiteY1" fmla="*/ 12722 h 17191"/>
                <a:gd name="connsiteX2" fmla="*/ 12710 w 17178"/>
                <a:gd name="connsiteY2" fmla="*/ 1060 h 17191"/>
                <a:gd name="connsiteX3" fmla="*/ 1048 w 17178"/>
                <a:gd name="connsiteY3" fmla="*/ 4469 h 17191"/>
                <a:gd name="connsiteX4" fmla="*/ 4457 w 17178"/>
                <a:gd name="connsiteY4" fmla="*/ 16131 h 17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78" h="17191">
                  <a:moveTo>
                    <a:pt x="4457" y="16131"/>
                  </a:moveTo>
                  <a:cubicBezTo>
                    <a:pt x="8643" y="18404"/>
                    <a:pt x="13846" y="16909"/>
                    <a:pt x="16119" y="12722"/>
                  </a:cubicBezTo>
                  <a:cubicBezTo>
                    <a:pt x="18391" y="8536"/>
                    <a:pt x="16896" y="3332"/>
                    <a:pt x="12710" y="1060"/>
                  </a:cubicBezTo>
                  <a:cubicBezTo>
                    <a:pt x="8523" y="-1213"/>
                    <a:pt x="3320" y="282"/>
                    <a:pt x="1048" y="4469"/>
                  </a:cubicBezTo>
                  <a:cubicBezTo>
                    <a:pt x="-1225" y="8655"/>
                    <a:pt x="330" y="13859"/>
                    <a:pt x="4457" y="16131"/>
                  </a:cubicBezTo>
                  <a:close/>
                </a:path>
              </a:pathLst>
            </a:custGeom>
            <a:solidFill>
              <a:srgbClr val="E3E3E3"/>
            </a:solidFill>
            <a:ln w="5978" cap="flat">
              <a:noFill/>
              <a:prstDash val="solid"/>
              <a:miter/>
            </a:ln>
          </p:spPr>
          <p:txBody>
            <a:bodyPr rtlCol="0" anchor="ctr"/>
            <a:lstStyle/>
            <a:p>
              <a:endParaRPr lang="en-GB"/>
            </a:p>
          </p:txBody>
        </p:sp>
        <p:sp>
          <p:nvSpPr>
            <p:cNvPr id="68" name="Vrije vorm: vorm 67">
              <a:extLst>
                <a:ext uri="{FF2B5EF4-FFF2-40B4-BE49-F238E27FC236}">
                  <a16:creationId xmlns:a16="http://schemas.microsoft.com/office/drawing/2014/main" id="{76E55052-1F02-469F-BFD5-2EE144845AA0}"/>
                </a:ext>
              </a:extLst>
            </p:cNvPr>
            <p:cNvSpPr/>
            <p:nvPr/>
          </p:nvSpPr>
          <p:spPr>
            <a:xfrm>
              <a:off x="3892796" y="2441083"/>
              <a:ext cx="15222" cy="16604"/>
            </a:xfrm>
            <a:custGeom>
              <a:avLst/>
              <a:gdLst>
                <a:gd name="connsiteX0" fmla="*/ 3485 w 15222"/>
                <a:gd name="connsiteY0" fmla="*/ 15838 h 16604"/>
                <a:gd name="connsiteX1" fmla="*/ 14011 w 15222"/>
                <a:gd name="connsiteY1" fmla="*/ 11831 h 16604"/>
                <a:gd name="connsiteX2" fmla="*/ 11738 w 15222"/>
                <a:gd name="connsiteY2" fmla="*/ 766 h 16604"/>
                <a:gd name="connsiteX3" fmla="*/ 1212 w 15222"/>
                <a:gd name="connsiteY3" fmla="*/ 4773 h 16604"/>
                <a:gd name="connsiteX4" fmla="*/ 3485 w 15222"/>
                <a:gd name="connsiteY4" fmla="*/ 15838 h 1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 h="16604">
                  <a:moveTo>
                    <a:pt x="3485" y="15838"/>
                  </a:moveTo>
                  <a:cubicBezTo>
                    <a:pt x="7013" y="17752"/>
                    <a:pt x="11738" y="15957"/>
                    <a:pt x="14011" y="11831"/>
                  </a:cubicBezTo>
                  <a:cubicBezTo>
                    <a:pt x="16283" y="7644"/>
                    <a:pt x="15266" y="2740"/>
                    <a:pt x="11738" y="766"/>
                  </a:cubicBezTo>
                  <a:cubicBezTo>
                    <a:pt x="8209" y="-1147"/>
                    <a:pt x="3485" y="647"/>
                    <a:pt x="1212" y="4773"/>
                  </a:cubicBezTo>
                  <a:cubicBezTo>
                    <a:pt x="-1061" y="8960"/>
                    <a:pt x="-44" y="13864"/>
                    <a:pt x="3485" y="15838"/>
                  </a:cubicBezTo>
                  <a:close/>
                </a:path>
              </a:pathLst>
            </a:custGeom>
            <a:solidFill>
              <a:srgbClr val="FFFFFF"/>
            </a:solidFill>
            <a:ln w="5978" cap="flat">
              <a:noFill/>
              <a:prstDash val="solid"/>
              <a:miter/>
            </a:ln>
          </p:spPr>
          <p:txBody>
            <a:bodyPr rtlCol="0" anchor="ctr"/>
            <a:lstStyle/>
            <a:p>
              <a:endParaRPr lang="en-GB"/>
            </a:p>
          </p:txBody>
        </p:sp>
        <p:sp>
          <p:nvSpPr>
            <p:cNvPr id="69" name="Vrije vorm: vorm 68">
              <a:extLst>
                <a:ext uri="{FF2B5EF4-FFF2-40B4-BE49-F238E27FC236}">
                  <a16:creationId xmlns:a16="http://schemas.microsoft.com/office/drawing/2014/main" id="{5CE94A88-C65A-4A7B-A4DE-EBE12890E0FD}"/>
                </a:ext>
              </a:extLst>
            </p:cNvPr>
            <p:cNvSpPr/>
            <p:nvPr/>
          </p:nvSpPr>
          <p:spPr>
            <a:xfrm>
              <a:off x="3860860" y="2512043"/>
              <a:ext cx="23382" cy="23382"/>
            </a:xfrm>
            <a:custGeom>
              <a:avLst/>
              <a:gdLst>
                <a:gd name="connsiteX0" fmla="*/ 15828 w 23382"/>
                <a:gd name="connsiteY0" fmla="*/ 4137 h 23382"/>
                <a:gd name="connsiteX1" fmla="*/ 19245 w 23382"/>
                <a:gd name="connsiteY1" fmla="*/ 15829 h 23382"/>
                <a:gd name="connsiteX2" fmla="*/ 7554 w 23382"/>
                <a:gd name="connsiteY2" fmla="*/ 19245 h 23382"/>
                <a:gd name="connsiteX3" fmla="*/ 4137 w 23382"/>
                <a:gd name="connsiteY3" fmla="*/ 7554 h 23382"/>
                <a:gd name="connsiteX4" fmla="*/ 15828 w 23382"/>
                <a:gd name="connsiteY4" fmla="*/ 4137 h 23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82" h="23382">
                  <a:moveTo>
                    <a:pt x="15828" y="4137"/>
                  </a:moveTo>
                  <a:cubicBezTo>
                    <a:pt x="20000" y="6422"/>
                    <a:pt x="21530" y="11657"/>
                    <a:pt x="19245" y="15829"/>
                  </a:cubicBezTo>
                  <a:cubicBezTo>
                    <a:pt x="16960" y="20000"/>
                    <a:pt x="11726" y="21530"/>
                    <a:pt x="7554" y="19245"/>
                  </a:cubicBezTo>
                  <a:cubicBezTo>
                    <a:pt x="3382" y="16960"/>
                    <a:pt x="1852" y="11726"/>
                    <a:pt x="4137" y="7554"/>
                  </a:cubicBezTo>
                  <a:cubicBezTo>
                    <a:pt x="6422" y="3382"/>
                    <a:pt x="11657" y="1853"/>
                    <a:pt x="15828" y="4137"/>
                  </a:cubicBezTo>
                  <a:close/>
                </a:path>
              </a:pathLst>
            </a:custGeom>
            <a:solidFill>
              <a:srgbClr val="E3E3E3"/>
            </a:solidFill>
            <a:ln w="5978" cap="flat">
              <a:noFill/>
              <a:prstDash val="solid"/>
              <a:miter/>
            </a:ln>
          </p:spPr>
          <p:txBody>
            <a:bodyPr rtlCol="0" anchor="ctr"/>
            <a:lstStyle/>
            <a:p>
              <a:endParaRPr lang="en-GB"/>
            </a:p>
          </p:txBody>
        </p:sp>
        <p:sp>
          <p:nvSpPr>
            <p:cNvPr id="70" name="Vrije vorm: vorm 69">
              <a:extLst>
                <a:ext uri="{FF2B5EF4-FFF2-40B4-BE49-F238E27FC236}">
                  <a16:creationId xmlns:a16="http://schemas.microsoft.com/office/drawing/2014/main" id="{50F3647C-B0E6-48EE-8B0C-9ECF25F51A2D}"/>
                </a:ext>
              </a:extLst>
            </p:cNvPr>
            <p:cNvSpPr/>
            <p:nvPr/>
          </p:nvSpPr>
          <p:spPr>
            <a:xfrm>
              <a:off x="3861598" y="2512036"/>
              <a:ext cx="22635" cy="22018"/>
            </a:xfrm>
            <a:custGeom>
              <a:avLst/>
              <a:gdLst>
                <a:gd name="connsiteX0" fmla="*/ 15082 w 22635"/>
                <a:gd name="connsiteY0" fmla="*/ 4137 h 22018"/>
                <a:gd name="connsiteX1" fmla="*/ 18872 w 22635"/>
                <a:gd name="connsiteY1" fmla="*/ 15146 h 22018"/>
                <a:gd name="connsiteX2" fmla="*/ 7554 w 22635"/>
                <a:gd name="connsiteY2" fmla="*/ 17881 h 22018"/>
                <a:gd name="connsiteX3" fmla="*/ 3764 w 22635"/>
                <a:gd name="connsiteY3" fmla="*/ 6872 h 22018"/>
                <a:gd name="connsiteX4" fmla="*/ 15082 w 22635"/>
                <a:gd name="connsiteY4" fmla="*/ 4137 h 22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5" h="22018">
                  <a:moveTo>
                    <a:pt x="15082" y="4137"/>
                  </a:moveTo>
                  <a:cubicBezTo>
                    <a:pt x="19253" y="6422"/>
                    <a:pt x="20950" y="11351"/>
                    <a:pt x="18872" y="15146"/>
                  </a:cubicBezTo>
                  <a:cubicBezTo>
                    <a:pt x="16793" y="18942"/>
                    <a:pt x="11726" y="20166"/>
                    <a:pt x="7554" y="17881"/>
                  </a:cubicBezTo>
                  <a:cubicBezTo>
                    <a:pt x="3382" y="15596"/>
                    <a:pt x="1685" y="10667"/>
                    <a:pt x="3764" y="6872"/>
                  </a:cubicBezTo>
                  <a:cubicBezTo>
                    <a:pt x="5843" y="3076"/>
                    <a:pt x="10910" y="1852"/>
                    <a:pt x="15082" y="4137"/>
                  </a:cubicBezTo>
                  <a:close/>
                </a:path>
              </a:pathLst>
            </a:custGeom>
            <a:solidFill>
              <a:srgbClr val="FFFFFF"/>
            </a:solidFill>
            <a:ln w="5978" cap="flat">
              <a:noFill/>
              <a:prstDash val="solid"/>
              <a:miter/>
            </a:ln>
          </p:spPr>
          <p:txBody>
            <a:bodyPr rtlCol="0" anchor="ctr"/>
            <a:lstStyle/>
            <a:p>
              <a:endParaRPr lang="en-GB"/>
            </a:p>
          </p:txBody>
        </p:sp>
        <p:sp>
          <p:nvSpPr>
            <p:cNvPr id="71" name="Vrije vorm: vorm 70">
              <a:extLst>
                <a:ext uri="{FF2B5EF4-FFF2-40B4-BE49-F238E27FC236}">
                  <a16:creationId xmlns:a16="http://schemas.microsoft.com/office/drawing/2014/main" id="{6B0A7BDB-1B1F-4D88-A8DC-2749E709BCD3}"/>
                </a:ext>
              </a:extLst>
            </p:cNvPr>
            <p:cNvSpPr/>
            <p:nvPr/>
          </p:nvSpPr>
          <p:spPr>
            <a:xfrm>
              <a:off x="3822505" y="2508113"/>
              <a:ext cx="19485" cy="19485"/>
            </a:xfrm>
            <a:custGeom>
              <a:avLst/>
              <a:gdLst>
                <a:gd name="connsiteX0" fmla="*/ 13190 w 19485"/>
                <a:gd name="connsiteY0" fmla="*/ 3448 h 19485"/>
                <a:gd name="connsiteX1" fmla="*/ 16037 w 19485"/>
                <a:gd name="connsiteY1" fmla="*/ 13190 h 19485"/>
                <a:gd name="connsiteX2" fmla="*/ 6295 w 19485"/>
                <a:gd name="connsiteY2" fmla="*/ 16038 h 19485"/>
                <a:gd name="connsiteX3" fmla="*/ 3448 w 19485"/>
                <a:gd name="connsiteY3" fmla="*/ 6295 h 19485"/>
                <a:gd name="connsiteX4" fmla="*/ 13190 w 19485"/>
                <a:gd name="connsiteY4" fmla="*/ 3448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3190" y="3448"/>
                  </a:moveTo>
                  <a:cubicBezTo>
                    <a:pt x="16667" y="5352"/>
                    <a:pt x="17942" y="9714"/>
                    <a:pt x="16037" y="13190"/>
                  </a:cubicBezTo>
                  <a:cubicBezTo>
                    <a:pt x="14133" y="16667"/>
                    <a:pt x="9771" y="17942"/>
                    <a:pt x="6295" y="16038"/>
                  </a:cubicBezTo>
                  <a:cubicBezTo>
                    <a:pt x="2818" y="14133"/>
                    <a:pt x="1543" y="9772"/>
                    <a:pt x="3448" y="6295"/>
                  </a:cubicBezTo>
                  <a:cubicBezTo>
                    <a:pt x="5352" y="2818"/>
                    <a:pt x="9714" y="1544"/>
                    <a:pt x="13190" y="3448"/>
                  </a:cubicBezTo>
                  <a:close/>
                </a:path>
              </a:pathLst>
            </a:custGeom>
            <a:solidFill>
              <a:srgbClr val="E3E3E3"/>
            </a:solidFill>
            <a:ln w="5978" cap="flat">
              <a:noFill/>
              <a:prstDash val="solid"/>
              <a:miter/>
            </a:ln>
          </p:spPr>
          <p:txBody>
            <a:bodyPr rtlCol="0" anchor="ctr"/>
            <a:lstStyle/>
            <a:p>
              <a:endParaRPr lang="en-GB"/>
            </a:p>
          </p:txBody>
        </p:sp>
        <p:sp>
          <p:nvSpPr>
            <p:cNvPr id="72" name="Vrije vorm: vorm 71">
              <a:extLst>
                <a:ext uri="{FF2B5EF4-FFF2-40B4-BE49-F238E27FC236}">
                  <a16:creationId xmlns:a16="http://schemas.microsoft.com/office/drawing/2014/main" id="{CEC392AF-1A37-4610-BA4A-4878B6EA5D78}"/>
                </a:ext>
              </a:extLst>
            </p:cNvPr>
            <p:cNvSpPr/>
            <p:nvPr/>
          </p:nvSpPr>
          <p:spPr>
            <a:xfrm>
              <a:off x="3825258" y="2510536"/>
              <a:ext cx="13160" cy="13160"/>
            </a:xfrm>
            <a:custGeom>
              <a:avLst/>
              <a:gdLst>
                <a:gd name="connsiteX0" fmla="*/ 3440 w 13160"/>
                <a:gd name="connsiteY0" fmla="*/ 12352 h 13160"/>
                <a:gd name="connsiteX1" fmla="*/ 12352 w 13160"/>
                <a:gd name="connsiteY1" fmla="*/ 9720 h 13160"/>
                <a:gd name="connsiteX2" fmla="*/ 9720 w 13160"/>
                <a:gd name="connsiteY2" fmla="*/ 809 h 13160"/>
                <a:gd name="connsiteX3" fmla="*/ 809 w 13160"/>
                <a:gd name="connsiteY3" fmla="*/ 3440 h 13160"/>
                <a:gd name="connsiteX4" fmla="*/ 3440 w 13160"/>
                <a:gd name="connsiteY4" fmla="*/ 12352 h 13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0" h="13160">
                  <a:moveTo>
                    <a:pt x="3440" y="12352"/>
                  </a:moveTo>
                  <a:cubicBezTo>
                    <a:pt x="6610" y="14086"/>
                    <a:pt x="10617" y="12950"/>
                    <a:pt x="12352" y="9720"/>
                  </a:cubicBezTo>
                  <a:cubicBezTo>
                    <a:pt x="14086" y="6550"/>
                    <a:pt x="12950" y="2543"/>
                    <a:pt x="9720" y="809"/>
                  </a:cubicBezTo>
                  <a:cubicBezTo>
                    <a:pt x="6550" y="-926"/>
                    <a:pt x="2543" y="211"/>
                    <a:pt x="809" y="3440"/>
                  </a:cubicBezTo>
                  <a:cubicBezTo>
                    <a:pt x="-926" y="6610"/>
                    <a:pt x="211" y="10617"/>
                    <a:pt x="3440" y="12352"/>
                  </a:cubicBezTo>
                  <a:close/>
                </a:path>
              </a:pathLst>
            </a:custGeom>
            <a:solidFill>
              <a:srgbClr val="FFFFFF"/>
            </a:solidFill>
            <a:ln w="5978" cap="flat">
              <a:noFill/>
              <a:prstDash val="solid"/>
              <a:miter/>
            </a:ln>
          </p:spPr>
          <p:txBody>
            <a:bodyPr rtlCol="0" anchor="ctr"/>
            <a:lstStyle/>
            <a:p>
              <a:endParaRPr lang="en-GB"/>
            </a:p>
          </p:txBody>
        </p:sp>
        <p:sp>
          <p:nvSpPr>
            <p:cNvPr id="73" name="Vrije vorm: vorm 72">
              <a:extLst>
                <a:ext uri="{FF2B5EF4-FFF2-40B4-BE49-F238E27FC236}">
                  <a16:creationId xmlns:a16="http://schemas.microsoft.com/office/drawing/2014/main" id="{FE79943F-AC91-40B8-8BA1-10E52B580D8A}"/>
                </a:ext>
              </a:extLst>
            </p:cNvPr>
            <p:cNvSpPr/>
            <p:nvPr/>
          </p:nvSpPr>
          <p:spPr>
            <a:xfrm>
              <a:off x="3884104" y="2428131"/>
              <a:ext cx="22103" cy="32198"/>
            </a:xfrm>
            <a:custGeom>
              <a:avLst/>
              <a:gdLst>
                <a:gd name="connsiteX0" fmla="*/ 4461 w 22103"/>
                <a:gd name="connsiteY0" fmla="*/ 31899 h 32198"/>
                <a:gd name="connsiteX1" fmla="*/ 5119 w 22103"/>
                <a:gd name="connsiteY1" fmla="*/ 32198 h 32198"/>
                <a:gd name="connsiteX2" fmla="*/ 5597 w 22103"/>
                <a:gd name="connsiteY2" fmla="*/ 12342 h 32198"/>
                <a:gd name="connsiteX3" fmla="*/ 22104 w 22103"/>
                <a:gd name="connsiteY3" fmla="*/ 1278 h 32198"/>
                <a:gd name="connsiteX4" fmla="*/ 21506 w 22103"/>
                <a:gd name="connsiteY4" fmla="*/ 919 h 32198"/>
                <a:gd name="connsiteX5" fmla="*/ 3265 w 22103"/>
                <a:gd name="connsiteY5" fmla="*/ 11086 h 32198"/>
                <a:gd name="connsiteX6" fmla="*/ 4461 w 22103"/>
                <a:gd name="connsiteY6" fmla="*/ 31899 h 3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03" h="32198">
                  <a:moveTo>
                    <a:pt x="4461" y="31899"/>
                  </a:moveTo>
                  <a:cubicBezTo>
                    <a:pt x="4640" y="32019"/>
                    <a:pt x="4879" y="32138"/>
                    <a:pt x="5119" y="32198"/>
                  </a:cubicBezTo>
                  <a:cubicBezTo>
                    <a:pt x="932" y="29208"/>
                    <a:pt x="1052" y="20596"/>
                    <a:pt x="5597" y="12342"/>
                  </a:cubicBezTo>
                  <a:cubicBezTo>
                    <a:pt x="10083" y="4149"/>
                    <a:pt x="17319" y="-636"/>
                    <a:pt x="22104" y="1278"/>
                  </a:cubicBezTo>
                  <a:cubicBezTo>
                    <a:pt x="21925" y="1099"/>
                    <a:pt x="21685" y="979"/>
                    <a:pt x="21506" y="919"/>
                  </a:cubicBezTo>
                  <a:cubicBezTo>
                    <a:pt x="16123" y="-2071"/>
                    <a:pt x="7930" y="2474"/>
                    <a:pt x="3265" y="11086"/>
                  </a:cubicBezTo>
                  <a:cubicBezTo>
                    <a:pt x="-1520" y="19579"/>
                    <a:pt x="-982" y="28909"/>
                    <a:pt x="4461" y="31899"/>
                  </a:cubicBezTo>
                  <a:close/>
                </a:path>
              </a:pathLst>
            </a:custGeom>
            <a:solidFill>
              <a:srgbClr val="FFFFFF"/>
            </a:solidFill>
            <a:ln w="5978" cap="flat">
              <a:noFill/>
              <a:prstDash val="solid"/>
              <a:miter/>
            </a:ln>
          </p:spPr>
          <p:txBody>
            <a:bodyPr rtlCol="0" anchor="ctr"/>
            <a:lstStyle/>
            <a:p>
              <a:endParaRPr lang="en-GB"/>
            </a:p>
          </p:txBody>
        </p:sp>
        <p:sp>
          <p:nvSpPr>
            <p:cNvPr id="74" name="Vrije vorm: vorm 73">
              <a:extLst>
                <a:ext uri="{FF2B5EF4-FFF2-40B4-BE49-F238E27FC236}">
                  <a16:creationId xmlns:a16="http://schemas.microsoft.com/office/drawing/2014/main" id="{BD4E6AEA-A4D8-45CA-AD05-7CCDE5B03DF9}"/>
                </a:ext>
              </a:extLst>
            </p:cNvPr>
            <p:cNvSpPr/>
            <p:nvPr/>
          </p:nvSpPr>
          <p:spPr>
            <a:xfrm>
              <a:off x="3886117" y="2428986"/>
              <a:ext cx="23816" cy="31941"/>
            </a:xfrm>
            <a:custGeom>
              <a:avLst/>
              <a:gdLst>
                <a:gd name="connsiteX0" fmla="*/ 3046 w 23816"/>
                <a:gd name="connsiteY0" fmla="*/ 31344 h 31941"/>
                <a:gd name="connsiteX1" fmla="*/ 19732 w 23816"/>
                <a:gd name="connsiteY1" fmla="*/ 22433 h 31941"/>
                <a:gd name="connsiteX2" fmla="*/ 20629 w 23816"/>
                <a:gd name="connsiteY2" fmla="*/ 20878 h 31941"/>
                <a:gd name="connsiteX3" fmla="*/ 21466 w 23816"/>
                <a:gd name="connsiteY3" fmla="*/ 19263 h 31941"/>
                <a:gd name="connsiteX4" fmla="*/ 19971 w 23816"/>
                <a:gd name="connsiteY4" fmla="*/ 424 h 31941"/>
                <a:gd name="connsiteX5" fmla="*/ 3465 w 23816"/>
                <a:gd name="connsiteY5" fmla="*/ 11488 h 31941"/>
                <a:gd name="connsiteX6" fmla="*/ 3046 w 23816"/>
                <a:gd name="connsiteY6" fmla="*/ 31344 h 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16" h="31941">
                  <a:moveTo>
                    <a:pt x="3046" y="31344"/>
                  </a:moveTo>
                  <a:cubicBezTo>
                    <a:pt x="8069" y="33497"/>
                    <a:pt x="15187" y="29669"/>
                    <a:pt x="19732" y="22433"/>
                  </a:cubicBezTo>
                  <a:cubicBezTo>
                    <a:pt x="20031" y="21894"/>
                    <a:pt x="20330" y="21416"/>
                    <a:pt x="20629" y="20878"/>
                  </a:cubicBezTo>
                  <a:cubicBezTo>
                    <a:pt x="20928" y="20340"/>
                    <a:pt x="21167" y="19801"/>
                    <a:pt x="21466" y="19263"/>
                  </a:cubicBezTo>
                  <a:cubicBezTo>
                    <a:pt x="25055" y="11488"/>
                    <a:pt x="24516" y="3474"/>
                    <a:pt x="19971" y="424"/>
                  </a:cubicBezTo>
                  <a:cubicBezTo>
                    <a:pt x="15187" y="-1490"/>
                    <a:pt x="8010" y="3235"/>
                    <a:pt x="3465" y="11488"/>
                  </a:cubicBezTo>
                  <a:cubicBezTo>
                    <a:pt x="-1021" y="19682"/>
                    <a:pt x="-1141" y="28354"/>
                    <a:pt x="3046" y="31344"/>
                  </a:cubicBezTo>
                  <a:close/>
                </a:path>
              </a:pathLst>
            </a:custGeom>
            <a:noFill/>
            <a:ln w="8380" cap="flat">
              <a:solidFill>
                <a:srgbClr val="FFFFFF">
                  <a:alpha val="40000"/>
                </a:srgbClr>
              </a:solidFill>
              <a:prstDash val="solid"/>
              <a:miter/>
            </a:ln>
          </p:spPr>
          <p:txBody>
            <a:bodyPr rtlCol="0" anchor="ctr"/>
            <a:lstStyle/>
            <a:p>
              <a:endParaRPr lang="en-GB"/>
            </a:p>
          </p:txBody>
        </p:sp>
        <p:sp>
          <p:nvSpPr>
            <p:cNvPr id="75" name="Vrije vorm: vorm 74">
              <a:extLst>
                <a:ext uri="{FF2B5EF4-FFF2-40B4-BE49-F238E27FC236}">
                  <a16:creationId xmlns:a16="http://schemas.microsoft.com/office/drawing/2014/main" id="{CC98B029-E708-4EC6-AF07-5690C02AA70E}"/>
                </a:ext>
              </a:extLst>
            </p:cNvPr>
            <p:cNvSpPr/>
            <p:nvPr/>
          </p:nvSpPr>
          <p:spPr>
            <a:xfrm>
              <a:off x="3843364" y="2440693"/>
              <a:ext cx="18407" cy="28009"/>
            </a:xfrm>
            <a:custGeom>
              <a:avLst/>
              <a:gdLst>
                <a:gd name="connsiteX0" fmla="*/ 3216 w 18407"/>
                <a:gd name="connsiteY0" fmla="*/ 27830 h 28009"/>
                <a:gd name="connsiteX1" fmla="*/ 3575 w 18407"/>
                <a:gd name="connsiteY1" fmla="*/ 28010 h 28009"/>
                <a:gd name="connsiteX2" fmla="*/ 4293 w 18407"/>
                <a:gd name="connsiteY2" fmla="*/ 10785 h 28009"/>
                <a:gd name="connsiteX3" fmla="*/ 18407 w 18407"/>
                <a:gd name="connsiteY3" fmla="*/ 857 h 28009"/>
                <a:gd name="connsiteX4" fmla="*/ 18048 w 18407"/>
                <a:gd name="connsiteY4" fmla="*/ 618 h 28009"/>
                <a:gd name="connsiteX5" fmla="*/ 2977 w 18407"/>
                <a:gd name="connsiteY5" fmla="*/ 10067 h 28009"/>
                <a:gd name="connsiteX6" fmla="*/ 3216 w 18407"/>
                <a:gd name="connsiteY6" fmla="*/ 27830 h 2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07" h="28009">
                  <a:moveTo>
                    <a:pt x="3216" y="27830"/>
                  </a:moveTo>
                  <a:cubicBezTo>
                    <a:pt x="3336" y="27890"/>
                    <a:pt x="3455" y="27950"/>
                    <a:pt x="3575" y="28010"/>
                  </a:cubicBezTo>
                  <a:cubicBezTo>
                    <a:pt x="46" y="25677"/>
                    <a:pt x="345" y="18082"/>
                    <a:pt x="4293" y="10785"/>
                  </a:cubicBezTo>
                  <a:cubicBezTo>
                    <a:pt x="8300" y="3489"/>
                    <a:pt x="14520" y="-877"/>
                    <a:pt x="18407" y="857"/>
                  </a:cubicBezTo>
                  <a:cubicBezTo>
                    <a:pt x="18287" y="797"/>
                    <a:pt x="18168" y="678"/>
                    <a:pt x="18048" y="618"/>
                  </a:cubicBezTo>
                  <a:cubicBezTo>
                    <a:pt x="13862" y="-1655"/>
                    <a:pt x="7103" y="2532"/>
                    <a:pt x="2977" y="10067"/>
                  </a:cubicBezTo>
                  <a:cubicBezTo>
                    <a:pt x="-1090" y="17603"/>
                    <a:pt x="-970" y="25557"/>
                    <a:pt x="3216" y="27830"/>
                  </a:cubicBezTo>
                  <a:close/>
                </a:path>
              </a:pathLst>
            </a:custGeom>
            <a:solidFill>
              <a:srgbClr val="FFFFFF"/>
            </a:solidFill>
            <a:ln w="5978" cap="flat">
              <a:noFill/>
              <a:prstDash val="solid"/>
              <a:miter/>
            </a:ln>
          </p:spPr>
          <p:txBody>
            <a:bodyPr rtlCol="0" anchor="ctr"/>
            <a:lstStyle/>
            <a:p>
              <a:endParaRPr lang="en-GB"/>
            </a:p>
          </p:txBody>
        </p:sp>
        <p:sp>
          <p:nvSpPr>
            <p:cNvPr id="76" name="Vrije vorm: vorm 75">
              <a:extLst>
                <a:ext uri="{FF2B5EF4-FFF2-40B4-BE49-F238E27FC236}">
                  <a16:creationId xmlns:a16="http://schemas.microsoft.com/office/drawing/2014/main" id="{A76BFC32-E5C3-4320-B844-6F58B0B84075}"/>
                </a:ext>
              </a:extLst>
            </p:cNvPr>
            <p:cNvSpPr/>
            <p:nvPr/>
          </p:nvSpPr>
          <p:spPr>
            <a:xfrm>
              <a:off x="3844464" y="2441167"/>
              <a:ext cx="20224" cy="27996"/>
            </a:xfrm>
            <a:custGeom>
              <a:avLst/>
              <a:gdLst>
                <a:gd name="connsiteX0" fmla="*/ 2476 w 20224"/>
                <a:gd name="connsiteY0" fmla="*/ 27535 h 27996"/>
                <a:gd name="connsiteX1" fmla="*/ 16351 w 20224"/>
                <a:gd name="connsiteY1" fmla="*/ 19342 h 27996"/>
                <a:gd name="connsiteX2" fmla="*/ 17188 w 20224"/>
                <a:gd name="connsiteY2" fmla="*/ 17966 h 27996"/>
                <a:gd name="connsiteX3" fmla="*/ 17906 w 20224"/>
                <a:gd name="connsiteY3" fmla="*/ 16531 h 27996"/>
                <a:gd name="connsiteX4" fmla="*/ 17368 w 20224"/>
                <a:gd name="connsiteY4" fmla="*/ 383 h 27996"/>
                <a:gd name="connsiteX5" fmla="*/ 3253 w 20224"/>
                <a:gd name="connsiteY5" fmla="*/ 10311 h 27996"/>
                <a:gd name="connsiteX6" fmla="*/ 2476 w 20224"/>
                <a:gd name="connsiteY6" fmla="*/ 27535 h 2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24" h="27996">
                  <a:moveTo>
                    <a:pt x="2476" y="27535"/>
                  </a:moveTo>
                  <a:cubicBezTo>
                    <a:pt x="6423" y="29330"/>
                    <a:pt x="12344" y="25741"/>
                    <a:pt x="16351" y="19342"/>
                  </a:cubicBezTo>
                  <a:cubicBezTo>
                    <a:pt x="16650" y="18863"/>
                    <a:pt x="16889" y="18445"/>
                    <a:pt x="17188" y="17966"/>
                  </a:cubicBezTo>
                  <a:cubicBezTo>
                    <a:pt x="17427" y="17488"/>
                    <a:pt x="17667" y="17009"/>
                    <a:pt x="17906" y="16531"/>
                  </a:cubicBezTo>
                  <a:cubicBezTo>
                    <a:pt x="21195" y="9653"/>
                    <a:pt x="20956" y="2775"/>
                    <a:pt x="17368" y="383"/>
                  </a:cubicBezTo>
                  <a:cubicBezTo>
                    <a:pt x="13480" y="-1352"/>
                    <a:pt x="7260" y="2955"/>
                    <a:pt x="3253" y="10311"/>
                  </a:cubicBezTo>
                  <a:cubicBezTo>
                    <a:pt x="-754" y="17607"/>
                    <a:pt x="-1113" y="25203"/>
                    <a:pt x="2476" y="27535"/>
                  </a:cubicBezTo>
                  <a:close/>
                </a:path>
              </a:pathLst>
            </a:custGeom>
            <a:noFill/>
            <a:ln w="8380" cap="flat">
              <a:solidFill>
                <a:srgbClr val="FFFFFF">
                  <a:alpha val="40000"/>
                </a:srgbClr>
              </a:solidFill>
              <a:prstDash val="solid"/>
              <a:miter/>
            </a:ln>
          </p:spPr>
          <p:txBody>
            <a:bodyPr rtlCol="0" anchor="ctr"/>
            <a:lstStyle/>
            <a:p>
              <a:endParaRPr lang="en-GB"/>
            </a:p>
          </p:txBody>
        </p:sp>
        <p:sp>
          <p:nvSpPr>
            <p:cNvPr id="77" name="Vrije vorm: vorm 76">
              <a:extLst>
                <a:ext uri="{FF2B5EF4-FFF2-40B4-BE49-F238E27FC236}">
                  <a16:creationId xmlns:a16="http://schemas.microsoft.com/office/drawing/2014/main" id="{28D16C6C-35F6-4EC9-A3E7-DD65B21F45BE}"/>
                </a:ext>
              </a:extLst>
            </p:cNvPr>
            <p:cNvSpPr/>
            <p:nvPr/>
          </p:nvSpPr>
          <p:spPr>
            <a:xfrm>
              <a:off x="3817234" y="2501435"/>
              <a:ext cx="18879" cy="29586"/>
            </a:xfrm>
            <a:custGeom>
              <a:avLst/>
              <a:gdLst>
                <a:gd name="connsiteX0" fmla="*/ 2672 w 18879"/>
                <a:gd name="connsiteY0" fmla="*/ 29407 h 29586"/>
                <a:gd name="connsiteX1" fmla="*/ 3091 w 18879"/>
                <a:gd name="connsiteY1" fmla="*/ 29586 h 29586"/>
                <a:gd name="connsiteX2" fmla="*/ 5005 w 18879"/>
                <a:gd name="connsiteY2" fmla="*/ 11884 h 29586"/>
                <a:gd name="connsiteX3" fmla="*/ 18880 w 18879"/>
                <a:gd name="connsiteY3" fmla="*/ 759 h 29586"/>
                <a:gd name="connsiteX4" fmla="*/ 18521 w 18879"/>
                <a:gd name="connsiteY4" fmla="*/ 520 h 29586"/>
                <a:gd name="connsiteX5" fmla="*/ 3509 w 18879"/>
                <a:gd name="connsiteY5" fmla="*/ 11106 h 29586"/>
                <a:gd name="connsiteX6" fmla="*/ 2672 w 18879"/>
                <a:gd name="connsiteY6" fmla="*/ 29407 h 2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79" h="29586">
                  <a:moveTo>
                    <a:pt x="2672" y="29407"/>
                  </a:moveTo>
                  <a:cubicBezTo>
                    <a:pt x="2792" y="29467"/>
                    <a:pt x="2911" y="29527"/>
                    <a:pt x="3091" y="29586"/>
                  </a:cubicBezTo>
                  <a:cubicBezTo>
                    <a:pt x="-19" y="27374"/>
                    <a:pt x="758" y="19599"/>
                    <a:pt x="5005" y="11884"/>
                  </a:cubicBezTo>
                  <a:cubicBezTo>
                    <a:pt x="9251" y="4168"/>
                    <a:pt x="15351" y="-736"/>
                    <a:pt x="18880" y="759"/>
                  </a:cubicBezTo>
                  <a:cubicBezTo>
                    <a:pt x="18760" y="640"/>
                    <a:pt x="18640" y="580"/>
                    <a:pt x="18521" y="520"/>
                  </a:cubicBezTo>
                  <a:cubicBezTo>
                    <a:pt x="14634" y="-1633"/>
                    <a:pt x="7935" y="3092"/>
                    <a:pt x="3509" y="11106"/>
                  </a:cubicBezTo>
                  <a:cubicBezTo>
                    <a:pt x="-797" y="19120"/>
                    <a:pt x="-1216" y="27314"/>
                    <a:pt x="2672" y="29407"/>
                  </a:cubicBezTo>
                  <a:close/>
                </a:path>
              </a:pathLst>
            </a:custGeom>
            <a:solidFill>
              <a:srgbClr val="FFFFFF"/>
            </a:solidFill>
            <a:ln w="5978" cap="flat">
              <a:noFill/>
              <a:prstDash val="solid"/>
              <a:miter/>
            </a:ln>
          </p:spPr>
          <p:txBody>
            <a:bodyPr rtlCol="0" anchor="ctr"/>
            <a:lstStyle/>
            <a:p>
              <a:endParaRPr lang="en-GB"/>
            </a:p>
          </p:txBody>
        </p:sp>
        <p:sp>
          <p:nvSpPr>
            <p:cNvPr id="78" name="Vrije vorm: vorm 77">
              <a:extLst>
                <a:ext uri="{FF2B5EF4-FFF2-40B4-BE49-F238E27FC236}">
                  <a16:creationId xmlns:a16="http://schemas.microsoft.com/office/drawing/2014/main" id="{F4F0A580-54FA-4395-A54A-4DCD93B261D2}"/>
                </a:ext>
              </a:extLst>
            </p:cNvPr>
            <p:cNvSpPr/>
            <p:nvPr/>
          </p:nvSpPr>
          <p:spPr>
            <a:xfrm>
              <a:off x="3818466" y="2501943"/>
              <a:ext cx="20010" cy="29397"/>
            </a:xfrm>
            <a:custGeom>
              <a:avLst/>
              <a:gdLst>
                <a:gd name="connsiteX0" fmla="*/ 1919 w 20010"/>
                <a:gd name="connsiteY0" fmla="*/ 29078 h 29397"/>
                <a:gd name="connsiteX1" fmla="*/ 16453 w 20010"/>
                <a:gd name="connsiteY1" fmla="*/ 18313 h 29397"/>
                <a:gd name="connsiteX2" fmla="*/ 17708 w 20010"/>
                <a:gd name="connsiteY2" fmla="*/ 251 h 29397"/>
                <a:gd name="connsiteX3" fmla="*/ 3833 w 20010"/>
                <a:gd name="connsiteY3" fmla="*/ 11375 h 29397"/>
                <a:gd name="connsiteX4" fmla="*/ 1919 w 20010"/>
                <a:gd name="connsiteY4" fmla="*/ 29078 h 29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 h="29397">
                  <a:moveTo>
                    <a:pt x="1919" y="29078"/>
                  </a:moveTo>
                  <a:cubicBezTo>
                    <a:pt x="5867" y="30693"/>
                    <a:pt x="12206" y="26028"/>
                    <a:pt x="16453" y="18313"/>
                  </a:cubicBezTo>
                  <a:cubicBezTo>
                    <a:pt x="20699" y="10598"/>
                    <a:pt x="21177" y="2644"/>
                    <a:pt x="17708" y="251"/>
                  </a:cubicBezTo>
                  <a:cubicBezTo>
                    <a:pt x="14180" y="-1184"/>
                    <a:pt x="8079" y="3660"/>
                    <a:pt x="3833" y="11375"/>
                  </a:cubicBezTo>
                  <a:cubicBezTo>
                    <a:pt x="-413" y="19151"/>
                    <a:pt x="-1251" y="26925"/>
                    <a:pt x="1919" y="29078"/>
                  </a:cubicBezTo>
                  <a:close/>
                </a:path>
              </a:pathLst>
            </a:custGeom>
            <a:noFill/>
            <a:ln w="8380" cap="flat">
              <a:solidFill>
                <a:srgbClr val="FFFFFF">
                  <a:alpha val="40000"/>
                </a:srgbClr>
              </a:solidFill>
              <a:prstDash val="solid"/>
              <a:miter/>
            </a:ln>
          </p:spPr>
          <p:txBody>
            <a:bodyPr rtlCol="0" anchor="ctr"/>
            <a:lstStyle/>
            <a:p>
              <a:endParaRPr lang="en-GB"/>
            </a:p>
          </p:txBody>
        </p:sp>
        <p:sp>
          <p:nvSpPr>
            <p:cNvPr id="79" name="Vrije vorm: vorm 78">
              <a:extLst>
                <a:ext uri="{FF2B5EF4-FFF2-40B4-BE49-F238E27FC236}">
                  <a16:creationId xmlns:a16="http://schemas.microsoft.com/office/drawing/2014/main" id="{ABC33882-28BA-4CEF-8D59-77D15542CD85}"/>
                </a:ext>
              </a:extLst>
            </p:cNvPr>
            <p:cNvSpPr/>
            <p:nvPr/>
          </p:nvSpPr>
          <p:spPr>
            <a:xfrm>
              <a:off x="3852563" y="2504953"/>
              <a:ext cx="22365" cy="32288"/>
            </a:xfrm>
            <a:custGeom>
              <a:avLst/>
              <a:gdLst>
                <a:gd name="connsiteX0" fmla="*/ 4603 w 22365"/>
                <a:gd name="connsiteY0" fmla="*/ 31930 h 32288"/>
                <a:gd name="connsiteX1" fmla="*/ 5440 w 22365"/>
                <a:gd name="connsiteY1" fmla="*/ 32289 h 32288"/>
                <a:gd name="connsiteX2" fmla="*/ 6038 w 22365"/>
                <a:gd name="connsiteY2" fmla="*/ 12553 h 32288"/>
                <a:gd name="connsiteX3" fmla="*/ 22366 w 22365"/>
                <a:gd name="connsiteY3" fmla="*/ 1428 h 32288"/>
                <a:gd name="connsiteX4" fmla="*/ 21588 w 22365"/>
                <a:gd name="connsiteY4" fmla="*/ 950 h 32288"/>
                <a:gd name="connsiteX5" fmla="*/ 3108 w 22365"/>
                <a:gd name="connsiteY5" fmla="*/ 10998 h 32288"/>
                <a:gd name="connsiteX6" fmla="*/ 4603 w 22365"/>
                <a:gd name="connsiteY6" fmla="*/ 31930 h 3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65" h="32288">
                  <a:moveTo>
                    <a:pt x="4603" y="31930"/>
                  </a:moveTo>
                  <a:cubicBezTo>
                    <a:pt x="4842" y="32050"/>
                    <a:pt x="5141" y="32229"/>
                    <a:pt x="5440" y="32289"/>
                  </a:cubicBezTo>
                  <a:cubicBezTo>
                    <a:pt x="1373" y="29299"/>
                    <a:pt x="1553" y="20686"/>
                    <a:pt x="6038" y="12553"/>
                  </a:cubicBezTo>
                  <a:cubicBezTo>
                    <a:pt x="10464" y="4419"/>
                    <a:pt x="17641" y="-366"/>
                    <a:pt x="22366" y="1428"/>
                  </a:cubicBezTo>
                  <a:cubicBezTo>
                    <a:pt x="22126" y="1249"/>
                    <a:pt x="21887" y="1070"/>
                    <a:pt x="21588" y="950"/>
                  </a:cubicBezTo>
                  <a:cubicBezTo>
                    <a:pt x="16086" y="-2100"/>
                    <a:pt x="7833" y="2445"/>
                    <a:pt x="3108" y="10998"/>
                  </a:cubicBezTo>
                  <a:cubicBezTo>
                    <a:pt x="-1557" y="19490"/>
                    <a:pt x="-899" y="28880"/>
                    <a:pt x="4603" y="31930"/>
                  </a:cubicBezTo>
                  <a:close/>
                </a:path>
              </a:pathLst>
            </a:custGeom>
            <a:solidFill>
              <a:srgbClr val="FFFFFF"/>
            </a:solidFill>
            <a:ln w="5978" cap="flat">
              <a:noFill/>
              <a:prstDash val="solid"/>
              <a:miter/>
            </a:ln>
          </p:spPr>
          <p:txBody>
            <a:bodyPr rtlCol="0" anchor="ctr"/>
            <a:lstStyle/>
            <a:p>
              <a:endParaRPr lang="en-GB"/>
            </a:p>
          </p:txBody>
        </p:sp>
        <p:sp>
          <p:nvSpPr>
            <p:cNvPr id="80" name="Vrije vorm: vorm 79">
              <a:extLst>
                <a:ext uri="{FF2B5EF4-FFF2-40B4-BE49-F238E27FC236}">
                  <a16:creationId xmlns:a16="http://schemas.microsoft.com/office/drawing/2014/main" id="{15FCF1A6-AB1E-40F8-B8B5-E9DBB219E80C}"/>
                </a:ext>
              </a:extLst>
            </p:cNvPr>
            <p:cNvSpPr/>
            <p:nvPr/>
          </p:nvSpPr>
          <p:spPr>
            <a:xfrm>
              <a:off x="3855089" y="2506005"/>
              <a:ext cx="23702" cy="31789"/>
            </a:xfrm>
            <a:custGeom>
              <a:avLst/>
              <a:gdLst>
                <a:gd name="connsiteX0" fmla="*/ 2915 w 23702"/>
                <a:gd name="connsiteY0" fmla="*/ 31236 h 31789"/>
                <a:gd name="connsiteX1" fmla="*/ 19661 w 23702"/>
                <a:gd name="connsiteY1" fmla="*/ 22385 h 31789"/>
                <a:gd name="connsiteX2" fmla="*/ 20558 w 23702"/>
                <a:gd name="connsiteY2" fmla="*/ 20830 h 31789"/>
                <a:gd name="connsiteX3" fmla="*/ 21395 w 23702"/>
                <a:gd name="connsiteY3" fmla="*/ 19215 h 31789"/>
                <a:gd name="connsiteX4" fmla="*/ 19840 w 23702"/>
                <a:gd name="connsiteY4" fmla="*/ 376 h 31789"/>
                <a:gd name="connsiteX5" fmla="*/ 3513 w 23702"/>
                <a:gd name="connsiteY5" fmla="*/ 11500 h 31789"/>
                <a:gd name="connsiteX6" fmla="*/ 2915 w 23702"/>
                <a:gd name="connsiteY6" fmla="*/ 31236 h 3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02" h="31789">
                  <a:moveTo>
                    <a:pt x="2915" y="31236"/>
                  </a:moveTo>
                  <a:cubicBezTo>
                    <a:pt x="8058" y="33270"/>
                    <a:pt x="15115" y="29562"/>
                    <a:pt x="19661" y="22385"/>
                  </a:cubicBezTo>
                  <a:cubicBezTo>
                    <a:pt x="19960" y="21846"/>
                    <a:pt x="20259" y="21368"/>
                    <a:pt x="20558" y="20830"/>
                  </a:cubicBezTo>
                  <a:cubicBezTo>
                    <a:pt x="20857" y="20292"/>
                    <a:pt x="21096" y="19753"/>
                    <a:pt x="21395" y="19215"/>
                  </a:cubicBezTo>
                  <a:cubicBezTo>
                    <a:pt x="24984" y="11500"/>
                    <a:pt x="24326" y="3545"/>
                    <a:pt x="19840" y="376"/>
                  </a:cubicBezTo>
                  <a:cubicBezTo>
                    <a:pt x="15115" y="-1419"/>
                    <a:pt x="7998" y="3366"/>
                    <a:pt x="3513" y="11500"/>
                  </a:cubicBezTo>
                  <a:cubicBezTo>
                    <a:pt x="-973" y="19634"/>
                    <a:pt x="-1152" y="28246"/>
                    <a:pt x="2915" y="31236"/>
                  </a:cubicBezTo>
                  <a:close/>
                </a:path>
              </a:pathLst>
            </a:custGeom>
            <a:noFill/>
            <a:ln w="8380" cap="flat">
              <a:solidFill>
                <a:srgbClr val="FFFFFF">
                  <a:alpha val="40000"/>
                </a:srgbClr>
              </a:solidFill>
              <a:prstDash val="solid"/>
              <a:miter/>
            </a:ln>
          </p:spPr>
          <p:txBody>
            <a:bodyPr rtlCol="0" anchor="ctr"/>
            <a:lstStyle/>
            <a:p>
              <a:endParaRPr lang="en-GB"/>
            </a:p>
          </p:txBody>
        </p:sp>
        <p:sp>
          <p:nvSpPr>
            <p:cNvPr id="81" name="Vrije vorm: vorm 80">
              <a:extLst>
                <a:ext uri="{FF2B5EF4-FFF2-40B4-BE49-F238E27FC236}">
                  <a16:creationId xmlns:a16="http://schemas.microsoft.com/office/drawing/2014/main" id="{77BB29C4-47F5-4F48-87DB-1E7B63185D74}"/>
                </a:ext>
              </a:extLst>
            </p:cNvPr>
            <p:cNvSpPr/>
            <p:nvPr/>
          </p:nvSpPr>
          <p:spPr>
            <a:xfrm>
              <a:off x="3858669" y="2478214"/>
              <a:ext cx="12066" cy="16263"/>
            </a:xfrm>
            <a:custGeom>
              <a:avLst/>
              <a:gdLst>
                <a:gd name="connsiteX0" fmla="*/ 3163 w 12066"/>
                <a:gd name="connsiteY0" fmla="*/ 16026 h 16263"/>
                <a:gd name="connsiteX1" fmla="*/ 11356 w 12066"/>
                <a:gd name="connsiteY1" fmla="*/ 10046 h 16263"/>
                <a:gd name="connsiteX2" fmla="*/ 8904 w 12066"/>
                <a:gd name="connsiteY2" fmla="*/ 237 h 16263"/>
                <a:gd name="connsiteX3" fmla="*/ 710 w 12066"/>
                <a:gd name="connsiteY3" fmla="*/ 6218 h 16263"/>
                <a:gd name="connsiteX4" fmla="*/ 3163 w 12066"/>
                <a:gd name="connsiteY4" fmla="*/ 16026 h 1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66" h="16263">
                  <a:moveTo>
                    <a:pt x="3163" y="16026"/>
                  </a:moveTo>
                  <a:cubicBezTo>
                    <a:pt x="6093" y="17103"/>
                    <a:pt x="9741" y="14412"/>
                    <a:pt x="11356" y="10046"/>
                  </a:cubicBezTo>
                  <a:cubicBezTo>
                    <a:pt x="12911" y="5680"/>
                    <a:pt x="11835" y="1314"/>
                    <a:pt x="8904" y="237"/>
                  </a:cubicBezTo>
                  <a:cubicBezTo>
                    <a:pt x="5974" y="-839"/>
                    <a:pt x="2325" y="1852"/>
                    <a:pt x="710" y="6218"/>
                  </a:cubicBezTo>
                  <a:cubicBezTo>
                    <a:pt x="-844" y="10584"/>
                    <a:pt x="232" y="14950"/>
                    <a:pt x="3163" y="16026"/>
                  </a:cubicBezTo>
                  <a:close/>
                </a:path>
              </a:pathLst>
            </a:custGeom>
            <a:solidFill>
              <a:srgbClr val="FFFFFF"/>
            </a:solidFill>
            <a:ln w="5978" cap="flat">
              <a:noFill/>
              <a:prstDash val="solid"/>
              <a:miter/>
            </a:ln>
          </p:spPr>
          <p:txBody>
            <a:bodyPr rtlCol="0" anchor="ctr"/>
            <a:lstStyle/>
            <a:p>
              <a:endParaRPr lang="en-GB"/>
            </a:p>
          </p:txBody>
        </p:sp>
        <p:sp>
          <p:nvSpPr>
            <p:cNvPr id="82" name="Vrije vorm: vorm 81">
              <a:extLst>
                <a:ext uri="{FF2B5EF4-FFF2-40B4-BE49-F238E27FC236}">
                  <a16:creationId xmlns:a16="http://schemas.microsoft.com/office/drawing/2014/main" id="{4D66E8CB-EA75-41F0-8362-32E4050FE354}"/>
                </a:ext>
              </a:extLst>
            </p:cNvPr>
            <p:cNvSpPr/>
            <p:nvPr/>
          </p:nvSpPr>
          <p:spPr>
            <a:xfrm>
              <a:off x="3888146" y="2482219"/>
              <a:ext cx="9109" cy="21599"/>
            </a:xfrm>
            <a:custGeom>
              <a:avLst/>
              <a:gdLst>
                <a:gd name="connsiteX0" fmla="*/ 0 w 9109"/>
                <a:gd name="connsiteY0" fmla="*/ 21590 h 21599"/>
                <a:gd name="connsiteX1" fmla="*/ 8194 w 9109"/>
                <a:gd name="connsiteY1" fmla="*/ 0 h 21599"/>
              </a:gdLst>
              <a:ahLst/>
              <a:cxnLst>
                <a:cxn ang="0">
                  <a:pos x="connsiteX0" y="connsiteY0"/>
                </a:cxn>
                <a:cxn ang="0">
                  <a:pos x="connsiteX1" y="connsiteY1"/>
                </a:cxn>
              </a:cxnLst>
              <a:rect l="l" t="t" r="r" b="b"/>
              <a:pathLst>
                <a:path w="9109" h="21599">
                  <a:moveTo>
                    <a:pt x="0" y="21590"/>
                  </a:moveTo>
                  <a:cubicBezTo>
                    <a:pt x="1555" y="21889"/>
                    <a:pt x="12261" y="14533"/>
                    <a:pt x="8194" y="0"/>
                  </a:cubicBezTo>
                </a:path>
              </a:pathLst>
            </a:custGeom>
            <a:noFill/>
            <a:ln w="4190" cap="rnd">
              <a:solidFill>
                <a:srgbClr val="FFFFFF"/>
              </a:solidFill>
              <a:prstDash val="solid"/>
              <a:round/>
            </a:ln>
          </p:spPr>
          <p:txBody>
            <a:bodyPr rtlCol="0" anchor="ctr"/>
            <a:lstStyle/>
            <a:p>
              <a:endParaRPr lang="en-GB"/>
            </a:p>
          </p:txBody>
        </p:sp>
        <p:sp>
          <p:nvSpPr>
            <p:cNvPr id="83" name="Vrije vorm: vorm 82">
              <a:extLst>
                <a:ext uri="{FF2B5EF4-FFF2-40B4-BE49-F238E27FC236}">
                  <a16:creationId xmlns:a16="http://schemas.microsoft.com/office/drawing/2014/main" id="{6F90CE4E-442B-4589-B5D8-4CBEF484AA2B}"/>
                </a:ext>
              </a:extLst>
            </p:cNvPr>
            <p:cNvSpPr/>
            <p:nvPr/>
          </p:nvSpPr>
          <p:spPr>
            <a:xfrm>
              <a:off x="3894725" y="2478571"/>
              <a:ext cx="15619" cy="37399"/>
            </a:xfrm>
            <a:custGeom>
              <a:avLst/>
              <a:gdLst>
                <a:gd name="connsiteX0" fmla="*/ 0 w 15619"/>
                <a:gd name="connsiteY0" fmla="*/ 37380 h 37399"/>
                <a:gd name="connsiteX1" fmla="*/ 14234 w 15619"/>
                <a:gd name="connsiteY1" fmla="*/ 0 h 37399"/>
              </a:gdLst>
              <a:ahLst/>
              <a:cxnLst>
                <a:cxn ang="0">
                  <a:pos x="connsiteX0" y="connsiteY0"/>
                </a:cxn>
                <a:cxn ang="0">
                  <a:pos x="connsiteX1" y="connsiteY1"/>
                </a:cxn>
              </a:cxnLst>
              <a:rect l="l" t="t" r="r" b="b"/>
              <a:pathLst>
                <a:path w="15619" h="37399">
                  <a:moveTo>
                    <a:pt x="0" y="37380"/>
                  </a:moveTo>
                  <a:cubicBezTo>
                    <a:pt x="2273" y="37978"/>
                    <a:pt x="20753" y="25299"/>
                    <a:pt x="14234" y="0"/>
                  </a:cubicBezTo>
                </a:path>
              </a:pathLst>
            </a:custGeom>
            <a:noFill/>
            <a:ln w="4190" cap="rnd">
              <a:solidFill>
                <a:srgbClr val="FFFFFF"/>
              </a:solidFill>
              <a:prstDash val="solid"/>
              <a:round/>
            </a:ln>
          </p:spPr>
          <p:txBody>
            <a:bodyPr rtlCol="0" anchor="ctr"/>
            <a:lstStyle/>
            <a:p>
              <a:endParaRPr lang="en-GB"/>
            </a:p>
          </p:txBody>
        </p:sp>
        <p:sp>
          <p:nvSpPr>
            <p:cNvPr id="84" name="Vrije vorm: vorm 83">
              <a:extLst>
                <a:ext uri="{FF2B5EF4-FFF2-40B4-BE49-F238E27FC236}">
                  <a16:creationId xmlns:a16="http://schemas.microsoft.com/office/drawing/2014/main" id="{E1FBFAAE-11CF-4FB8-A20B-C6B89229E900}"/>
                </a:ext>
              </a:extLst>
            </p:cNvPr>
            <p:cNvSpPr/>
            <p:nvPr/>
          </p:nvSpPr>
          <p:spPr>
            <a:xfrm>
              <a:off x="3900826" y="2472470"/>
              <a:ext cx="22998" cy="57245"/>
            </a:xfrm>
            <a:custGeom>
              <a:avLst/>
              <a:gdLst>
                <a:gd name="connsiteX0" fmla="*/ 0 w 22998"/>
                <a:gd name="connsiteY0" fmla="*/ 57235 h 57245"/>
                <a:gd name="connsiteX1" fmla="*/ 21770 w 22998"/>
                <a:gd name="connsiteY1" fmla="*/ 0 h 57245"/>
              </a:gdLst>
              <a:ahLst/>
              <a:cxnLst>
                <a:cxn ang="0">
                  <a:pos x="connsiteX0" y="connsiteY0"/>
                </a:cxn>
                <a:cxn ang="0">
                  <a:pos x="connsiteX1" y="connsiteY1"/>
                </a:cxn>
              </a:cxnLst>
              <a:rect l="l" t="t" r="r" b="b"/>
              <a:pathLst>
                <a:path w="22998" h="57245">
                  <a:moveTo>
                    <a:pt x="0" y="57235"/>
                  </a:moveTo>
                  <a:cubicBezTo>
                    <a:pt x="2452" y="57774"/>
                    <a:pt x="28946" y="37798"/>
                    <a:pt x="21770" y="0"/>
                  </a:cubicBezTo>
                </a:path>
              </a:pathLst>
            </a:custGeom>
            <a:noFill/>
            <a:ln w="4190" cap="rnd">
              <a:solidFill>
                <a:srgbClr val="FFFFFF"/>
              </a:solidFill>
              <a:prstDash val="solid"/>
              <a:round/>
            </a:ln>
          </p:spPr>
          <p:txBody>
            <a:bodyPr rtlCol="0" anchor="ctr"/>
            <a:lstStyle/>
            <a:p>
              <a:endParaRPr lang="en-GB"/>
            </a:p>
          </p:txBody>
        </p:sp>
        <p:sp>
          <p:nvSpPr>
            <p:cNvPr id="85" name="Vrije vorm: vorm 84">
              <a:extLst>
                <a:ext uri="{FF2B5EF4-FFF2-40B4-BE49-F238E27FC236}">
                  <a16:creationId xmlns:a16="http://schemas.microsoft.com/office/drawing/2014/main" id="{F10F6E04-936A-416F-967A-12B25F9C7005}"/>
                </a:ext>
              </a:extLst>
            </p:cNvPr>
            <p:cNvSpPr/>
            <p:nvPr/>
          </p:nvSpPr>
          <p:spPr>
            <a:xfrm>
              <a:off x="3907285" y="2466011"/>
              <a:ext cx="31795" cy="77569"/>
            </a:xfrm>
            <a:custGeom>
              <a:avLst/>
              <a:gdLst>
                <a:gd name="connsiteX0" fmla="*/ 0 w 31795"/>
                <a:gd name="connsiteY0" fmla="*/ 77570 h 77569"/>
                <a:gd name="connsiteX1" fmla="*/ 29485 w 31795"/>
                <a:gd name="connsiteY1" fmla="*/ 0 h 77569"/>
              </a:gdLst>
              <a:ahLst/>
              <a:cxnLst>
                <a:cxn ang="0">
                  <a:pos x="connsiteX0" y="connsiteY0"/>
                </a:cxn>
                <a:cxn ang="0">
                  <a:pos x="connsiteX1" y="connsiteY1"/>
                </a:cxn>
              </a:cxnLst>
              <a:rect l="l" t="t" r="r" b="b"/>
              <a:pathLst>
                <a:path w="31795" h="77569">
                  <a:moveTo>
                    <a:pt x="0" y="77570"/>
                  </a:moveTo>
                  <a:cubicBezTo>
                    <a:pt x="4366" y="75776"/>
                    <a:pt x="41267" y="46231"/>
                    <a:pt x="29485" y="0"/>
                  </a:cubicBezTo>
                </a:path>
              </a:pathLst>
            </a:custGeom>
            <a:noFill/>
            <a:ln w="4190" cap="rnd">
              <a:solidFill>
                <a:srgbClr val="FFFFFF"/>
              </a:solidFill>
              <a:prstDash val="solid"/>
              <a:round/>
            </a:ln>
          </p:spPr>
          <p:txBody>
            <a:bodyPr rtlCol="0" anchor="ctr"/>
            <a:lstStyle/>
            <a:p>
              <a:endParaRPr lang="en-GB"/>
            </a:p>
          </p:txBody>
        </p:sp>
      </p:grpSp>
      <p:grpSp>
        <p:nvGrpSpPr>
          <p:cNvPr id="86" name="DRONE_5">
            <a:extLst>
              <a:ext uri="{FF2B5EF4-FFF2-40B4-BE49-F238E27FC236}">
                <a16:creationId xmlns:a16="http://schemas.microsoft.com/office/drawing/2014/main" id="{5F908DD3-DA29-421C-B339-2588B8D37B32}"/>
              </a:ext>
            </a:extLst>
          </p:cNvPr>
          <p:cNvGrpSpPr/>
          <p:nvPr userDrawn="1"/>
        </p:nvGrpSpPr>
        <p:grpSpPr>
          <a:xfrm>
            <a:off x="4420336" y="1214754"/>
            <a:ext cx="197741" cy="154634"/>
            <a:chOff x="4388242" y="1374134"/>
            <a:chExt cx="197741" cy="154634"/>
          </a:xfrm>
          <a:solidFill>
            <a:schemeClr val="bg1"/>
          </a:solidFill>
        </p:grpSpPr>
        <p:grpSp>
          <p:nvGrpSpPr>
            <p:cNvPr id="87" name="Graphic 3">
              <a:extLst>
                <a:ext uri="{FF2B5EF4-FFF2-40B4-BE49-F238E27FC236}">
                  <a16:creationId xmlns:a16="http://schemas.microsoft.com/office/drawing/2014/main" id="{C367AA07-BD96-4067-B0A7-84BF26681B19}"/>
                </a:ext>
              </a:extLst>
            </p:cNvPr>
            <p:cNvGrpSpPr/>
            <p:nvPr/>
          </p:nvGrpSpPr>
          <p:grpSpPr>
            <a:xfrm>
              <a:off x="4480492" y="1447888"/>
              <a:ext cx="105491" cy="80880"/>
              <a:chOff x="4480492" y="1447888"/>
              <a:chExt cx="105491" cy="80880"/>
            </a:xfrm>
            <a:grpFill/>
          </p:grpSpPr>
          <p:sp>
            <p:nvSpPr>
              <p:cNvPr id="106" name="Vrije vorm: vorm 105">
                <a:extLst>
                  <a:ext uri="{FF2B5EF4-FFF2-40B4-BE49-F238E27FC236}">
                    <a16:creationId xmlns:a16="http://schemas.microsoft.com/office/drawing/2014/main" id="{794576F4-0014-418E-92EC-0D72143F8C3B}"/>
                  </a:ext>
                </a:extLst>
              </p:cNvPr>
              <p:cNvSpPr/>
              <p:nvPr/>
            </p:nvSpPr>
            <p:spPr>
              <a:xfrm>
                <a:off x="4495133" y="1448569"/>
                <a:ext cx="28240" cy="22941"/>
              </a:xfrm>
              <a:custGeom>
                <a:avLst/>
                <a:gdLst>
                  <a:gd name="connsiteX0" fmla="*/ 21049 w 28240"/>
                  <a:gd name="connsiteY0" fmla="*/ 899 h 22941"/>
                  <a:gd name="connsiteX1" fmla="*/ 20690 w 28240"/>
                  <a:gd name="connsiteY1" fmla="*/ 1198 h 22941"/>
                  <a:gd name="connsiteX2" fmla="*/ 2030 w 28240"/>
                  <a:gd name="connsiteY2" fmla="*/ 15193 h 22941"/>
                  <a:gd name="connsiteX3" fmla="*/ 714 w 28240"/>
                  <a:gd name="connsiteY3" fmla="*/ 20994 h 22941"/>
                  <a:gd name="connsiteX4" fmla="*/ 6874 w 28240"/>
                  <a:gd name="connsiteY4" fmla="*/ 22310 h 22941"/>
                  <a:gd name="connsiteX5" fmla="*/ 26910 w 28240"/>
                  <a:gd name="connsiteY5" fmla="*/ 7238 h 22941"/>
                  <a:gd name="connsiteX6" fmla="*/ 26969 w 28240"/>
                  <a:gd name="connsiteY6" fmla="*/ 1318 h 22941"/>
                  <a:gd name="connsiteX7" fmla="*/ 21049 w 28240"/>
                  <a:gd name="connsiteY7" fmla="*/ 899 h 2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40" h="22941">
                    <a:moveTo>
                      <a:pt x="21049" y="899"/>
                    </a:moveTo>
                    <a:cubicBezTo>
                      <a:pt x="20929" y="959"/>
                      <a:pt x="20810" y="1078"/>
                      <a:pt x="20690" y="1198"/>
                    </a:cubicBezTo>
                    <a:cubicBezTo>
                      <a:pt x="13812" y="7538"/>
                      <a:pt x="10164" y="10289"/>
                      <a:pt x="2030" y="15193"/>
                    </a:cubicBezTo>
                    <a:cubicBezTo>
                      <a:pt x="-63" y="16389"/>
                      <a:pt x="-602" y="19020"/>
                      <a:pt x="714" y="20994"/>
                    </a:cubicBezTo>
                    <a:cubicBezTo>
                      <a:pt x="2030" y="22968"/>
                      <a:pt x="4841" y="23506"/>
                      <a:pt x="6874" y="22310"/>
                    </a:cubicBezTo>
                    <a:cubicBezTo>
                      <a:pt x="15487" y="17107"/>
                      <a:pt x="19613" y="13997"/>
                      <a:pt x="26910" y="7238"/>
                    </a:cubicBezTo>
                    <a:cubicBezTo>
                      <a:pt x="28644" y="5624"/>
                      <a:pt x="28704" y="2932"/>
                      <a:pt x="26969" y="1318"/>
                    </a:cubicBezTo>
                    <a:cubicBezTo>
                      <a:pt x="25355" y="-297"/>
                      <a:pt x="22783" y="-417"/>
                      <a:pt x="21049" y="899"/>
                    </a:cubicBezTo>
                    <a:close/>
                  </a:path>
                </a:pathLst>
              </a:custGeom>
              <a:grpFill/>
              <a:ln w="5978" cap="flat">
                <a:noFill/>
                <a:prstDash val="solid"/>
                <a:miter/>
              </a:ln>
            </p:spPr>
            <p:txBody>
              <a:bodyPr rtlCol="0" anchor="ctr"/>
              <a:lstStyle/>
              <a:p>
                <a:endParaRPr lang="en-GB"/>
              </a:p>
            </p:txBody>
          </p:sp>
          <p:sp>
            <p:nvSpPr>
              <p:cNvPr id="107" name="Vrije vorm: vorm 106">
                <a:extLst>
                  <a:ext uri="{FF2B5EF4-FFF2-40B4-BE49-F238E27FC236}">
                    <a16:creationId xmlns:a16="http://schemas.microsoft.com/office/drawing/2014/main" id="{97495E3F-B16E-46C2-A05C-8B20254079F7}"/>
                  </a:ext>
                </a:extLst>
              </p:cNvPr>
              <p:cNvSpPr/>
              <p:nvPr/>
            </p:nvSpPr>
            <p:spPr>
              <a:xfrm>
                <a:off x="4492999" y="1450674"/>
                <a:ext cx="50389" cy="39586"/>
              </a:xfrm>
              <a:custGeom>
                <a:avLst/>
                <a:gdLst>
                  <a:gd name="connsiteX0" fmla="*/ 1653 w 50389"/>
                  <a:gd name="connsiteY0" fmla="*/ 32106 h 39586"/>
                  <a:gd name="connsiteX1" fmla="*/ 517 w 50389"/>
                  <a:gd name="connsiteY1" fmla="*/ 37310 h 39586"/>
                  <a:gd name="connsiteX2" fmla="*/ 6497 w 50389"/>
                  <a:gd name="connsiteY2" fmla="*/ 39104 h 39586"/>
                  <a:gd name="connsiteX3" fmla="*/ 29583 w 50389"/>
                  <a:gd name="connsiteY3" fmla="*/ 24989 h 39586"/>
                  <a:gd name="connsiteX4" fmla="*/ 49319 w 50389"/>
                  <a:gd name="connsiteY4" fmla="*/ 6928 h 39586"/>
                  <a:gd name="connsiteX5" fmla="*/ 48781 w 50389"/>
                  <a:gd name="connsiteY5" fmla="*/ 1007 h 39586"/>
                  <a:gd name="connsiteX6" fmla="*/ 42501 w 50389"/>
                  <a:gd name="connsiteY6" fmla="*/ 1485 h 39586"/>
                  <a:gd name="connsiteX7" fmla="*/ 24021 w 50389"/>
                  <a:gd name="connsiteY7" fmla="*/ 18411 h 39586"/>
                  <a:gd name="connsiteX8" fmla="*/ 2431 w 50389"/>
                  <a:gd name="connsiteY8" fmla="*/ 31628 h 39586"/>
                  <a:gd name="connsiteX9" fmla="*/ 1653 w 50389"/>
                  <a:gd name="connsiteY9" fmla="*/ 32106 h 3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89" h="39586">
                    <a:moveTo>
                      <a:pt x="1653" y="32106"/>
                    </a:moveTo>
                    <a:cubicBezTo>
                      <a:pt x="38" y="33303"/>
                      <a:pt x="-500" y="35515"/>
                      <a:pt x="517" y="37310"/>
                    </a:cubicBezTo>
                    <a:cubicBezTo>
                      <a:pt x="1653" y="39403"/>
                      <a:pt x="4344" y="40180"/>
                      <a:pt x="6497" y="39104"/>
                    </a:cubicBezTo>
                    <a:cubicBezTo>
                      <a:pt x="15110" y="34917"/>
                      <a:pt x="21987" y="30731"/>
                      <a:pt x="29583" y="24989"/>
                    </a:cubicBezTo>
                    <a:cubicBezTo>
                      <a:pt x="37179" y="19308"/>
                      <a:pt x="43040" y="13925"/>
                      <a:pt x="49319" y="6928"/>
                    </a:cubicBezTo>
                    <a:cubicBezTo>
                      <a:pt x="50934" y="5193"/>
                      <a:pt x="50695" y="2502"/>
                      <a:pt x="48781" y="1007"/>
                    </a:cubicBezTo>
                    <a:cubicBezTo>
                      <a:pt x="46867" y="-489"/>
                      <a:pt x="44116" y="-309"/>
                      <a:pt x="42501" y="1485"/>
                    </a:cubicBezTo>
                    <a:cubicBezTo>
                      <a:pt x="35145" y="9679"/>
                      <a:pt x="28985" y="14643"/>
                      <a:pt x="24021" y="18411"/>
                    </a:cubicBezTo>
                    <a:cubicBezTo>
                      <a:pt x="18997" y="22178"/>
                      <a:pt x="12538" y="26664"/>
                      <a:pt x="2431" y="31628"/>
                    </a:cubicBezTo>
                    <a:cubicBezTo>
                      <a:pt x="2072" y="31807"/>
                      <a:pt x="1832" y="31927"/>
                      <a:pt x="1653" y="32106"/>
                    </a:cubicBezTo>
                    <a:close/>
                  </a:path>
                </a:pathLst>
              </a:custGeom>
              <a:grpFill/>
              <a:ln w="5978" cap="flat">
                <a:noFill/>
                <a:prstDash val="solid"/>
                <a:miter/>
              </a:ln>
            </p:spPr>
            <p:txBody>
              <a:bodyPr rtlCol="0" anchor="ctr"/>
              <a:lstStyle/>
              <a:p>
                <a:endParaRPr lang="en-GB"/>
              </a:p>
            </p:txBody>
          </p:sp>
          <p:sp>
            <p:nvSpPr>
              <p:cNvPr id="108" name="Vrije vorm: vorm 107">
                <a:extLst>
                  <a:ext uri="{FF2B5EF4-FFF2-40B4-BE49-F238E27FC236}">
                    <a16:creationId xmlns:a16="http://schemas.microsoft.com/office/drawing/2014/main" id="{4789377D-526D-4322-890F-B3236F5DD256}"/>
                  </a:ext>
                </a:extLst>
              </p:cNvPr>
              <p:cNvSpPr/>
              <p:nvPr/>
            </p:nvSpPr>
            <p:spPr>
              <a:xfrm>
                <a:off x="4486536" y="1449346"/>
                <a:ext cx="78751" cy="60811"/>
              </a:xfrm>
              <a:custGeom>
                <a:avLst/>
                <a:gdLst>
                  <a:gd name="connsiteX0" fmla="*/ 71511 w 78751"/>
                  <a:gd name="connsiteY0" fmla="*/ 900 h 60811"/>
                  <a:gd name="connsiteX1" fmla="*/ 70614 w 78751"/>
                  <a:gd name="connsiteY1" fmla="*/ 1797 h 60811"/>
                  <a:gd name="connsiteX2" fmla="*/ 50758 w 78751"/>
                  <a:gd name="connsiteY2" fmla="*/ 23746 h 60811"/>
                  <a:gd name="connsiteX3" fmla="*/ 29945 w 78751"/>
                  <a:gd name="connsiteY3" fmla="*/ 39356 h 60811"/>
                  <a:gd name="connsiteX4" fmla="*/ 2793 w 78751"/>
                  <a:gd name="connsiteY4" fmla="*/ 52693 h 60811"/>
                  <a:gd name="connsiteX5" fmla="*/ 341 w 78751"/>
                  <a:gd name="connsiteY5" fmla="*/ 58135 h 60811"/>
                  <a:gd name="connsiteX6" fmla="*/ 6142 w 78751"/>
                  <a:gd name="connsiteY6" fmla="*/ 60527 h 60811"/>
                  <a:gd name="connsiteX7" fmla="*/ 34909 w 78751"/>
                  <a:gd name="connsiteY7" fmla="*/ 46413 h 60811"/>
                  <a:gd name="connsiteX8" fmla="*/ 56918 w 78751"/>
                  <a:gd name="connsiteY8" fmla="*/ 29846 h 60811"/>
                  <a:gd name="connsiteX9" fmla="*/ 77970 w 78751"/>
                  <a:gd name="connsiteY9" fmla="*/ 6581 h 60811"/>
                  <a:gd name="connsiteX10" fmla="*/ 76834 w 78751"/>
                  <a:gd name="connsiteY10" fmla="*/ 720 h 60811"/>
                  <a:gd name="connsiteX11" fmla="*/ 71511 w 78751"/>
                  <a:gd name="connsiteY11" fmla="*/ 900 h 6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751" h="60811">
                    <a:moveTo>
                      <a:pt x="71511" y="900"/>
                    </a:moveTo>
                    <a:cubicBezTo>
                      <a:pt x="71152" y="1139"/>
                      <a:pt x="70853" y="1438"/>
                      <a:pt x="70614" y="1797"/>
                    </a:cubicBezTo>
                    <a:cubicBezTo>
                      <a:pt x="64693" y="9930"/>
                      <a:pt x="58353" y="16928"/>
                      <a:pt x="50758" y="23746"/>
                    </a:cubicBezTo>
                    <a:cubicBezTo>
                      <a:pt x="44179" y="29667"/>
                      <a:pt x="37541" y="34631"/>
                      <a:pt x="29945" y="39356"/>
                    </a:cubicBezTo>
                    <a:cubicBezTo>
                      <a:pt x="21153" y="44798"/>
                      <a:pt x="12541" y="49044"/>
                      <a:pt x="2793" y="52693"/>
                    </a:cubicBezTo>
                    <a:cubicBezTo>
                      <a:pt x="520" y="53530"/>
                      <a:pt x="-616" y="55982"/>
                      <a:pt x="341" y="58135"/>
                    </a:cubicBezTo>
                    <a:cubicBezTo>
                      <a:pt x="1238" y="60288"/>
                      <a:pt x="3869" y="61365"/>
                      <a:pt x="6142" y="60527"/>
                    </a:cubicBezTo>
                    <a:cubicBezTo>
                      <a:pt x="16488" y="56700"/>
                      <a:pt x="25579" y="52214"/>
                      <a:pt x="34909" y="46413"/>
                    </a:cubicBezTo>
                    <a:cubicBezTo>
                      <a:pt x="42983" y="41389"/>
                      <a:pt x="49981" y="36126"/>
                      <a:pt x="56918" y="29846"/>
                    </a:cubicBezTo>
                    <a:cubicBezTo>
                      <a:pt x="64992" y="22610"/>
                      <a:pt x="71631" y="15194"/>
                      <a:pt x="77970" y="6581"/>
                    </a:cubicBezTo>
                    <a:cubicBezTo>
                      <a:pt x="79346" y="4667"/>
                      <a:pt x="78868" y="2036"/>
                      <a:pt x="76834" y="720"/>
                    </a:cubicBezTo>
                    <a:cubicBezTo>
                      <a:pt x="75160" y="-297"/>
                      <a:pt x="73006" y="-237"/>
                      <a:pt x="71511" y="900"/>
                    </a:cubicBezTo>
                    <a:close/>
                  </a:path>
                </a:pathLst>
              </a:custGeom>
              <a:grpFill/>
              <a:ln w="5978" cap="flat">
                <a:noFill/>
                <a:prstDash val="solid"/>
                <a:miter/>
              </a:ln>
            </p:spPr>
            <p:txBody>
              <a:bodyPr rtlCol="0" anchor="ctr"/>
              <a:lstStyle/>
              <a:p>
                <a:endParaRPr lang="en-GB"/>
              </a:p>
            </p:txBody>
          </p:sp>
          <p:sp>
            <p:nvSpPr>
              <p:cNvPr id="109" name="Vrije vorm: vorm 108">
                <a:extLst>
                  <a:ext uri="{FF2B5EF4-FFF2-40B4-BE49-F238E27FC236}">
                    <a16:creationId xmlns:a16="http://schemas.microsoft.com/office/drawing/2014/main" id="{5C596F41-B70B-4211-B1CF-6798EAF283E8}"/>
                  </a:ext>
                </a:extLst>
              </p:cNvPr>
              <p:cNvSpPr/>
              <p:nvPr/>
            </p:nvSpPr>
            <p:spPr>
              <a:xfrm>
                <a:off x="4480492" y="1447888"/>
                <a:ext cx="105491" cy="80880"/>
              </a:xfrm>
              <a:custGeom>
                <a:avLst/>
                <a:gdLst>
                  <a:gd name="connsiteX0" fmla="*/ 98128 w 105491"/>
                  <a:gd name="connsiteY0" fmla="*/ 923 h 80880"/>
                  <a:gd name="connsiteX1" fmla="*/ 97052 w 105491"/>
                  <a:gd name="connsiteY1" fmla="*/ 2059 h 80880"/>
                  <a:gd name="connsiteX2" fmla="*/ 70976 w 105491"/>
                  <a:gd name="connsiteY2" fmla="*/ 34056 h 80880"/>
                  <a:gd name="connsiteX3" fmla="*/ 41969 w 105491"/>
                  <a:gd name="connsiteY3" fmla="*/ 55826 h 80880"/>
                  <a:gd name="connsiteX4" fmla="*/ 3095 w 105491"/>
                  <a:gd name="connsiteY4" fmla="*/ 72631 h 80880"/>
                  <a:gd name="connsiteX5" fmla="*/ 224 w 105491"/>
                  <a:gd name="connsiteY5" fmla="*/ 77894 h 80880"/>
                  <a:gd name="connsiteX6" fmla="*/ 5846 w 105491"/>
                  <a:gd name="connsiteY6" fmla="*/ 80705 h 80880"/>
                  <a:gd name="connsiteX7" fmla="*/ 46814 w 105491"/>
                  <a:gd name="connsiteY7" fmla="*/ 63002 h 80880"/>
                  <a:gd name="connsiteX8" fmla="*/ 77375 w 105491"/>
                  <a:gd name="connsiteY8" fmla="*/ 40036 h 80880"/>
                  <a:gd name="connsiteX9" fmla="*/ 104887 w 105491"/>
                  <a:gd name="connsiteY9" fmla="*/ 6365 h 80880"/>
                  <a:gd name="connsiteX10" fmla="*/ 103272 w 105491"/>
                  <a:gd name="connsiteY10" fmla="*/ 624 h 80880"/>
                  <a:gd name="connsiteX11" fmla="*/ 98128 w 105491"/>
                  <a:gd name="connsiteY11" fmla="*/ 923 h 8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491" h="80880">
                    <a:moveTo>
                      <a:pt x="98128" y="923"/>
                    </a:moveTo>
                    <a:cubicBezTo>
                      <a:pt x="97710" y="1222"/>
                      <a:pt x="97351" y="1640"/>
                      <a:pt x="97052" y="2059"/>
                    </a:cubicBezTo>
                    <a:cubicBezTo>
                      <a:pt x="89636" y="14080"/>
                      <a:pt x="81382" y="24247"/>
                      <a:pt x="70976" y="34056"/>
                    </a:cubicBezTo>
                    <a:cubicBezTo>
                      <a:pt x="62005" y="42548"/>
                      <a:pt x="52795" y="49486"/>
                      <a:pt x="41969" y="55826"/>
                    </a:cubicBezTo>
                    <a:cubicBezTo>
                      <a:pt x="29530" y="63182"/>
                      <a:pt x="17150" y="68565"/>
                      <a:pt x="3095" y="72631"/>
                    </a:cubicBezTo>
                    <a:cubicBezTo>
                      <a:pt x="762" y="73349"/>
                      <a:pt x="-553" y="75682"/>
                      <a:pt x="224" y="77894"/>
                    </a:cubicBezTo>
                    <a:cubicBezTo>
                      <a:pt x="942" y="80107"/>
                      <a:pt x="3454" y="81363"/>
                      <a:pt x="5846" y="80705"/>
                    </a:cubicBezTo>
                    <a:cubicBezTo>
                      <a:pt x="20678" y="76399"/>
                      <a:pt x="33656" y="70718"/>
                      <a:pt x="46814" y="63002"/>
                    </a:cubicBezTo>
                    <a:cubicBezTo>
                      <a:pt x="58177" y="56304"/>
                      <a:pt x="67866" y="49008"/>
                      <a:pt x="77375" y="40036"/>
                    </a:cubicBezTo>
                    <a:cubicBezTo>
                      <a:pt x="88320" y="29690"/>
                      <a:pt x="97052" y="18984"/>
                      <a:pt x="104887" y="6365"/>
                    </a:cubicBezTo>
                    <a:cubicBezTo>
                      <a:pt x="106143" y="4391"/>
                      <a:pt x="105365" y="1760"/>
                      <a:pt x="103272" y="624"/>
                    </a:cubicBezTo>
                    <a:cubicBezTo>
                      <a:pt x="101537" y="-333"/>
                      <a:pt x="99564" y="-154"/>
                      <a:pt x="98128" y="923"/>
                    </a:cubicBezTo>
                    <a:close/>
                  </a:path>
                </a:pathLst>
              </a:custGeom>
              <a:grpFill/>
              <a:ln w="5978" cap="flat">
                <a:noFill/>
                <a:prstDash val="solid"/>
                <a:miter/>
              </a:ln>
            </p:spPr>
            <p:txBody>
              <a:bodyPr rtlCol="0" anchor="ctr"/>
              <a:lstStyle/>
              <a:p>
                <a:endParaRPr lang="en-GB"/>
              </a:p>
            </p:txBody>
          </p:sp>
        </p:grpSp>
        <p:sp>
          <p:nvSpPr>
            <p:cNvPr id="88" name="Vrije vorm: vorm 87">
              <a:extLst>
                <a:ext uri="{FF2B5EF4-FFF2-40B4-BE49-F238E27FC236}">
                  <a16:creationId xmlns:a16="http://schemas.microsoft.com/office/drawing/2014/main" id="{D29A919F-CF05-4C86-93D1-4F74081CBA7C}"/>
                </a:ext>
              </a:extLst>
            </p:cNvPr>
            <p:cNvSpPr/>
            <p:nvPr/>
          </p:nvSpPr>
          <p:spPr>
            <a:xfrm>
              <a:off x="4420670" y="1391455"/>
              <a:ext cx="127867" cy="78168"/>
            </a:xfrm>
            <a:custGeom>
              <a:avLst/>
              <a:gdLst>
                <a:gd name="connsiteX0" fmla="*/ 85285 w 127867"/>
                <a:gd name="connsiteY0" fmla="*/ 4785 h 78168"/>
                <a:gd name="connsiteX1" fmla="*/ 80321 w 127867"/>
                <a:gd name="connsiteY1" fmla="*/ 21949 h 78168"/>
                <a:gd name="connsiteX2" fmla="*/ 127748 w 127867"/>
                <a:gd name="connsiteY2" fmla="*/ 26554 h 78168"/>
                <a:gd name="connsiteX3" fmla="*/ 127868 w 127867"/>
                <a:gd name="connsiteY3" fmla="*/ 37798 h 78168"/>
                <a:gd name="connsiteX4" fmla="*/ 73264 w 127867"/>
                <a:gd name="connsiteY4" fmla="*/ 47547 h 78168"/>
                <a:gd name="connsiteX5" fmla="*/ 41685 w 127867"/>
                <a:gd name="connsiteY5" fmla="*/ 78168 h 78168"/>
                <a:gd name="connsiteX6" fmla="*/ 27152 w 127867"/>
                <a:gd name="connsiteY6" fmla="*/ 74938 h 78168"/>
                <a:gd name="connsiteX7" fmla="*/ 39473 w 127867"/>
                <a:gd name="connsiteY7" fmla="*/ 46590 h 78168"/>
                <a:gd name="connsiteX8" fmla="*/ 0 w 127867"/>
                <a:gd name="connsiteY8" fmla="*/ 46889 h 78168"/>
                <a:gd name="connsiteX9" fmla="*/ 60 w 127867"/>
                <a:gd name="connsiteY9" fmla="*/ 35466 h 78168"/>
                <a:gd name="connsiteX10" fmla="*/ 50716 w 127867"/>
                <a:gd name="connsiteY10" fmla="*/ 22188 h 78168"/>
                <a:gd name="connsiteX11" fmla="*/ 77510 w 127867"/>
                <a:gd name="connsiteY11" fmla="*/ 0 h 78168"/>
                <a:gd name="connsiteX12" fmla="*/ 85285 w 127867"/>
                <a:gd name="connsiteY12" fmla="*/ 4785 h 7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867" h="78168">
                  <a:moveTo>
                    <a:pt x="85285" y="4785"/>
                  </a:moveTo>
                  <a:cubicBezTo>
                    <a:pt x="85285" y="4785"/>
                    <a:pt x="79125" y="18720"/>
                    <a:pt x="80321" y="21949"/>
                  </a:cubicBezTo>
                  <a:cubicBezTo>
                    <a:pt x="81517" y="25179"/>
                    <a:pt x="124878" y="27571"/>
                    <a:pt x="127748" y="26554"/>
                  </a:cubicBezTo>
                  <a:lnTo>
                    <a:pt x="127868" y="37798"/>
                  </a:lnTo>
                  <a:cubicBezTo>
                    <a:pt x="127868" y="37798"/>
                    <a:pt x="82594" y="41207"/>
                    <a:pt x="73264" y="47547"/>
                  </a:cubicBezTo>
                  <a:cubicBezTo>
                    <a:pt x="63934" y="53886"/>
                    <a:pt x="41685" y="78168"/>
                    <a:pt x="41685" y="78168"/>
                  </a:cubicBezTo>
                  <a:lnTo>
                    <a:pt x="27152" y="74938"/>
                  </a:lnTo>
                  <a:lnTo>
                    <a:pt x="39473" y="46590"/>
                  </a:lnTo>
                  <a:lnTo>
                    <a:pt x="0" y="46889"/>
                  </a:lnTo>
                  <a:lnTo>
                    <a:pt x="60" y="35466"/>
                  </a:lnTo>
                  <a:cubicBezTo>
                    <a:pt x="60" y="35466"/>
                    <a:pt x="36482" y="29186"/>
                    <a:pt x="50716" y="22188"/>
                  </a:cubicBezTo>
                  <a:cubicBezTo>
                    <a:pt x="65010" y="15131"/>
                    <a:pt x="77510" y="0"/>
                    <a:pt x="77510" y="0"/>
                  </a:cubicBezTo>
                  <a:lnTo>
                    <a:pt x="85285" y="4785"/>
                  </a:lnTo>
                  <a:close/>
                </a:path>
              </a:pathLst>
            </a:custGeom>
            <a:noFill/>
            <a:ln w="2259" cap="flat">
              <a:solidFill>
                <a:schemeClr val="bg1"/>
              </a:solidFill>
              <a:prstDash val="solid"/>
              <a:miter/>
            </a:ln>
          </p:spPr>
          <p:txBody>
            <a:bodyPr rtlCol="0" anchor="ctr"/>
            <a:lstStyle/>
            <a:p>
              <a:endParaRPr lang="en-GB"/>
            </a:p>
          </p:txBody>
        </p:sp>
        <p:sp>
          <p:nvSpPr>
            <p:cNvPr id="89" name="Vrije vorm: vorm 88">
              <a:extLst>
                <a:ext uri="{FF2B5EF4-FFF2-40B4-BE49-F238E27FC236}">
                  <a16:creationId xmlns:a16="http://schemas.microsoft.com/office/drawing/2014/main" id="{8A6DDED9-5B0B-44A4-B31F-65C11DB37FD4}"/>
                </a:ext>
              </a:extLst>
            </p:cNvPr>
            <p:cNvSpPr/>
            <p:nvPr/>
          </p:nvSpPr>
          <p:spPr>
            <a:xfrm>
              <a:off x="4495723" y="1382003"/>
              <a:ext cx="16396" cy="15256"/>
            </a:xfrm>
            <a:custGeom>
              <a:avLst/>
              <a:gdLst>
                <a:gd name="connsiteX0" fmla="*/ 423 w 16396"/>
                <a:gd name="connsiteY0" fmla="*/ 10469 h 15256"/>
                <a:gd name="connsiteX1" fmla="*/ 10770 w 16396"/>
                <a:gd name="connsiteY1" fmla="*/ 14715 h 15256"/>
                <a:gd name="connsiteX2" fmla="*/ 15973 w 16396"/>
                <a:gd name="connsiteY2" fmla="*/ 4787 h 15256"/>
                <a:gd name="connsiteX3" fmla="*/ 5627 w 16396"/>
                <a:gd name="connsiteY3" fmla="*/ 541 h 15256"/>
                <a:gd name="connsiteX4" fmla="*/ 423 w 16396"/>
                <a:gd name="connsiteY4" fmla="*/ 10469 h 15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6" h="15256">
                  <a:moveTo>
                    <a:pt x="423" y="10469"/>
                  </a:moveTo>
                  <a:cubicBezTo>
                    <a:pt x="1859" y="14356"/>
                    <a:pt x="6524" y="16270"/>
                    <a:pt x="10770" y="14715"/>
                  </a:cubicBezTo>
                  <a:cubicBezTo>
                    <a:pt x="15076" y="13160"/>
                    <a:pt x="17408" y="8675"/>
                    <a:pt x="15973" y="4787"/>
                  </a:cubicBezTo>
                  <a:cubicBezTo>
                    <a:pt x="14538" y="900"/>
                    <a:pt x="9873" y="-1014"/>
                    <a:pt x="5627" y="541"/>
                  </a:cubicBezTo>
                  <a:cubicBezTo>
                    <a:pt x="1320" y="2096"/>
                    <a:pt x="-1012" y="6582"/>
                    <a:pt x="423" y="10469"/>
                  </a:cubicBezTo>
                  <a:close/>
                </a:path>
              </a:pathLst>
            </a:custGeom>
            <a:grpFill/>
            <a:ln w="5978" cap="flat">
              <a:noFill/>
              <a:prstDash val="solid"/>
              <a:miter/>
            </a:ln>
          </p:spPr>
          <p:txBody>
            <a:bodyPr rtlCol="0" anchor="ctr"/>
            <a:lstStyle/>
            <a:p>
              <a:endParaRPr lang="en-GB"/>
            </a:p>
          </p:txBody>
        </p:sp>
        <p:sp>
          <p:nvSpPr>
            <p:cNvPr id="90" name="Vrije vorm: vorm 89">
              <a:extLst>
                <a:ext uri="{FF2B5EF4-FFF2-40B4-BE49-F238E27FC236}">
                  <a16:creationId xmlns:a16="http://schemas.microsoft.com/office/drawing/2014/main" id="{781F6D57-B694-4BED-8852-D95F89ADEC06}"/>
                </a:ext>
              </a:extLst>
            </p:cNvPr>
            <p:cNvSpPr/>
            <p:nvPr/>
          </p:nvSpPr>
          <p:spPr>
            <a:xfrm>
              <a:off x="4545492" y="1412119"/>
              <a:ext cx="25349" cy="23563"/>
            </a:xfrm>
            <a:custGeom>
              <a:avLst/>
              <a:gdLst>
                <a:gd name="connsiteX0" fmla="*/ 654 w 25349"/>
                <a:gd name="connsiteY0" fmla="*/ 16177 h 23563"/>
                <a:gd name="connsiteX1" fmla="*/ 16682 w 25349"/>
                <a:gd name="connsiteY1" fmla="*/ 22696 h 23563"/>
                <a:gd name="connsiteX2" fmla="*/ 24696 w 25349"/>
                <a:gd name="connsiteY2" fmla="*/ 7386 h 23563"/>
                <a:gd name="connsiteX3" fmla="*/ 8668 w 25349"/>
                <a:gd name="connsiteY3" fmla="*/ 867 h 23563"/>
                <a:gd name="connsiteX4" fmla="*/ 654 w 25349"/>
                <a:gd name="connsiteY4" fmla="*/ 16177 h 23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49" h="23563">
                  <a:moveTo>
                    <a:pt x="654" y="16177"/>
                  </a:moveTo>
                  <a:cubicBezTo>
                    <a:pt x="2866" y="22218"/>
                    <a:pt x="10043" y="25149"/>
                    <a:pt x="16682" y="22696"/>
                  </a:cubicBezTo>
                  <a:cubicBezTo>
                    <a:pt x="23320" y="20244"/>
                    <a:pt x="26909" y="13426"/>
                    <a:pt x="24696" y="7386"/>
                  </a:cubicBezTo>
                  <a:cubicBezTo>
                    <a:pt x="22483" y="1345"/>
                    <a:pt x="15306" y="-1585"/>
                    <a:pt x="8668" y="867"/>
                  </a:cubicBezTo>
                  <a:cubicBezTo>
                    <a:pt x="2029" y="3319"/>
                    <a:pt x="-1559" y="10137"/>
                    <a:pt x="654" y="16177"/>
                  </a:cubicBezTo>
                  <a:close/>
                </a:path>
              </a:pathLst>
            </a:custGeom>
            <a:grpFill/>
            <a:ln w="5978" cap="flat">
              <a:noFill/>
              <a:prstDash val="solid"/>
              <a:miter/>
            </a:ln>
          </p:spPr>
          <p:txBody>
            <a:bodyPr rtlCol="0" anchor="ctr"/>
            <a:lstStyle/>
            <a:p>
              <a:endParaRPr lang="en-GB"/>
            </a:p>
          </p:txBody>
        </p:sp>
        <p:sp>
          <p:nvSpPr>
            <p:cNvPr id="91" name="Vrije vorm: vorm 90">
              <a:extLst>
                <a:ext uri="{FF2B5EF4-FFF2-40B4-BE49-F238E27FC236}">
                  <a16:creationId xmlns:a16="http://schemas.microsoft.com/office/drawing/2014/main" id="{EA930972-C5DA-4316-846D-025EFC3F41F7}"/>
                </a:ext>
              </a:extLst>
            </p:cNvPr>
            <p:cNvSpPr/>
            <p:nvPr/>
          </p:nvSpPr>
          <p:spPr>
            <a:xfrm>
              <a:off x="4545081" y="1411985"/>
              <a:ext cx="24997" cy="20601"/>
            </a:xfrm>
            <a:custGeom>
              <a:avLst/>
              <a:gdLst>
                <a:gd name="connsiteX0" fmla="*/ 467 w 24997"/>
                <a:gd name="connsiteY0" fmla="*/ 14697 h 20601"/>
                <a:gd name="connsiteX1" fmla="*/ 15897 w 24997"/>
                <a:gd name="connsiteY1" fmla="*/ 19601 h 20601"/>
                <a:gd name="connsiteX2" fmla="*/ 24509 w 24997"/>
                <a:gd name="connsiteY2" fmla="*/ 5905 h 20601"/>
                <a:gd name="connsiteX3" fmla="*/ 9079 w 24997"/>
                <a:gd name="connsiteY3" fmla="*/ 1001 h 20601"/>
                <a:gd name="connsiteX4" fmla="*/ 467 w 24997"/>
                <a:gd name="connsiteY4" fmla="*/ 14697 h 20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97" h="20601">
                  <a:moveTo>
                    <a:pt x="467" y="14697"/>
                  </a:moveTo>
                  <a:cubicBezTo>
                    <a:pt x="2321" y="19840"/>
                    <a:pt x="9259" y="22053"/>
                    <a:pt x="15897" y="19601"/>
                  </a:cubicBezTo>
                  <a:cubicBezTo>
                    <a:pt x="22536" y="17149"/>
                    <a:pt x="26423" y="11048"/>
                    <a:pt x="24509" y="5905"/>
                  </a:cubicBezTo>
                  <a:cubicBezTo>
                    <a:pt x="22655" y="762"/>
                    <a:pt x="15718" y="-1451"/>
                    <a:pt x="9079" y="1001"/>
                  </a:cubicBezTo>
                  <a:cubicBezTo>
                    <a:pt x="2440" y="3453"/>
                    <a:pt x="-1387" y="9553"/>
                    <a:pt x="467" y="14697"/>
                  </a:cubicBezTo>
                  <a:close/>
                </a:path>
              </a:pathLst>
            </a:custGeom>
            <a:grpFill/>
            <a:ln w="5978" cap="flat">
              <a:noFill/>
              <a:prstDash val="solid"/>
              <a:miter/>
            </a:ln>
          </p:spPr>
          <p:txBody>
            <a:bodyPr rtlCol="0" anchor="ctr"/>
            <a:lstStyle/>
            <a:p>
              <a:endParaRPr lang="en-GB"/>
            </a:p>
          </p:txBody>
        </p:sp>
        <p:sp>
          <p:nvSpPr>
            <p:cNvPr id="92" name="Vrije vorm: vorm 91">
              <a:extLst>
                <a:ext uri="{FF2B5EF4-FFF2-40B4-BE49-F238E27FC236}">
                  <a16:creationId xmlns:a16="http://schemas.microsoft.com/office/drawing/2014/main" id="{F5A109D7-BF5C-40B6-81DD-724C9DA939BF}"/>
                </a:ext>
              </a:extLst>
            </p:cNvPr>
            <p:cNvSpPr/>
            <p:nvPr/>
          </p:nvSpPr>
          <p:spPr>
            <a:xfrm>
              <a:off x="4436262" y="1461360"/>
              <a:ext cx="32199" cy="30844"/>
            </a:xfrm>
            <a:custGeom>
              <a:avLst/>
              <a:gdLst>
                <a:gd name="connsiteX0" fmla="*/ 28178 w 32199"/>
                <a:gd name="connsiteY0" fmla="*/ 11011 h 30844"/>
                <a:gd name="connsiteX1" fmla="*/ 20122 w 32199"/>
                <a:gd name="connsiteY1" fmla="*/ 26433 h 30844"/>
                <a:gd name="connsiteX2" fmla="*/ 4022 w 32199"/>
                <a:gd name="connsiteY2" fmla="*/ 19834 h 30844"/>
                <a:gd name="connsiteX3" fmla="*/ 12078 w 32199"/>
                <a:gd name="connsiteY3" fmla="*/ 4412 h 30844"/>
                <a:gd name="connsiteX4" fmla="*/ 28178 w 32199"/>
                <a:gd name="connsiteY4" fmla="*/ 11011 h 30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9" h="30844">
                  <a:moveTo>
                    <a:pt x="28178" y="11011"/>
                  </a:moveTo>
                  <a:cubicBezTo>
                    <a:pt x="30399" y="17092"/>
                    <a:pt x="26792" y="23997"/>
                    <a:pt x="20122" y="26433"/>
                  </a:cubicBezTo>
                  <a:cubicBezTo>
                    <a:pt x="13451" y="28870"/>
                    <a:pt x="6243" y="25915"/>
                    <a:pt x="4022" y="19834"/>
                  </a:cubicBezTo>
                  <a:cubicBezTo>
                    <a:pt x="1801" y="13753"/>
                    <a:pt x="5407" y="6848"/>
                    <a:pt x="12078" y="4412"/>
                  </a:cubicBezTo>
                  <a:cubicBezTo>
                    <a:pt x="18749" y="1975"/>
                    <a:pt x="25957" y="4930"/>
                    <a:pt x="28178" y="11011"/>
                  </a:cubicBezTo>
                  <a:close/>
                </a:path>
              </a:pathLst>
            </a:custGeom>
            <a:grpFill/>
            <a:ln w="5978" cap="flat">
              <a:noFill/>
              <a:prstDash val="solid"/>
              <a:miter/>
            </a:ln>
          </p:spPr>
          <p:txBody>
            <a:bodyPr rtlCol="0" anchor="ctr"/>
            <a:lstStyle/>
            <a:p>
              <a:endParaRPr lang="en-GB"/>
            </a:p>
          </p:txBody>
        </p:sp>
        <p:sp>
          <p:nvSpPr>
            <p:cNvPr id="93" name="Vrije vorm: vorm 92">
              <a:extLst>
                <a:ext uri="{FF2B5EF4-FFF2-40B4-BE49-F238E27FC236}">
                  <a16:creationId xmlns:a16="http://schemas.microsoft.com/office/drawing/2014/main" id="{9CDA1F89-165E-494F-97B2-8DD51E1D8517}"/>
                </a:ext>
              </a:extLst>
            </p:cNvPr>
            <p:cNvSpPr/>
            <p:nvPr/>
          </p:nvSpPr>
          <p:spPr>
            <a:xfrm>
              <a:off x="4438520" y="1461351"/>
              <a:ext cx="29952" cy="30024"/>
            </a:xfrm>
            <a:custGeom>
              <a:avLst/>
              <a:gdLst>
                <a:gd name="connsiteX0" fmla="*/ 25931 w 29952"/>
                <a:gd name="connsiteY0" fmla="*/ 11011 h 30024"/>
                <a:gd name="connsiteX1" fmla="*/ 18998 w 29952"/>
                <a:gd name="connsiteY1" fmla="*/ 26023 h 30024"/>
                <a:gd name="connsiteX2" fmla="*/ 4022 w 29952"/>
                <a:gd name="connsiteY2" fmla="*/ 19013 h 30024"/>
                <a:gd name="connsiteX3" fmla="*/ 10955 w 29952"/>
                <a:gd name="connsiteY3" fmla="*/ 4001 h 30024"/>
                <a:gd name="connsiteX4" fmla="*/ 25931 w 29952"/>
                <a:gd name="connsiteY4" fmla="*/ 11011 h 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52" h="30024">
                  <a:moveTo>
                    <a:pt x="25931" y="11011"/>
                  </a:moveTo>
                  <a:cubicBezTo>
                    <a:pt x="28152" y="17092"/>
                    <a:pt x="25048" y="23813"/>
                    <a:pt x="18998" y="26023"/>
                  </a:cubicBezTo>
                  <a:cubicBezTo>
                    <a:pt x="12948" y="28233"/>
                    <a:pt x="6243" y="25094"/>
                    <a:pt x="4022" y="19013"/>
                  </a:cubicBezTo>
                  <a:cubicBezTo>
                    <a:pt x="1801" y="12932"/>
                    <a:pt x="4904" y="6211"/>
                    <a:pt x="10955" y="4001"/>
                  </a:cubicBezTo>
                  <a:cubicBezTo>
                    <a:pt x="17005" y="1791"/>
                    <a:pt x="23710" y="4930"/>
                    <a:pt x="25931" y="11011"/>
                  </a:cubicBezTo>
                  <a:close/>
                </a:path>
              </a:pathLst>
            </a:custGeom>
            <a:grpFill/>
            <a:ln w="5978" cap="flat">
              <a:noFill/>
              <a:prstDash val="solid"/>
              <a:miter/>
            </a:ln>
          </p:spPr>
          <p:txBody>
            <a:bodyPr rtlCol="0" anchor="ctr"/>
            <a:lstStyle/>
            <a:p>
              <a:endParaRPr lang="en-GB"/>
            </a:p>
          </p:txBody>
        </p:sp>
        <p:sp>
          <p:nvSpPr>
            <p:cNvPr id="94" name="Vrije vorm: vorm 93">
              <a:extLst>
                <a:ext uri="{FF2B5EF4-FFF2-40B4-BE49-F238E27FC236}">
                  <a16:creationId xmlns:a16="http://schemas.microsoft.com/office/drawing/2014/main" id="{23538C4C-D51D-4AEF-8956-5502F718E299}"/>
                </a:ext>
              </a:extLst>
            </p:cNvPr>
            <p:cNvSpPr/>
            <p:nvPr/>
          </p:nvSpPr>
          <p:spPr>
            <a:xfrm>
              <a:off x="4401223" y="1422541"/>
              <a:ext cx="26913" cy="25700"/>
            </a:xfrm>
            <a:custGeom>
              <a:avLst/>
              <a:gdLst>
                <a:gd name="connsiteX0" fmla="*/ 23568 w 26913"/>
                <a:gd name="connsiteY0" fmla="*/ 9157 h 25700"/>
                <a:gd name="connsiteX1" fmla="*/ 16801 w 26913"/>
                <a:gd name="connsiteY1" fmla="*/ 22007 h 25700"/>
                <a:gd name="connsiteX2" fmla="*/ 3345 w 26913"/>
                <a:gd name="connsiteY2" fmla="*/ 16544 h 25700"/>
                <a:gd name="connsiteX3" fmla="*/ 10112 w 26913"/>
                <a:gd name="connsiteY3" fmla="*/ 3694 h 25700"/>
                <a:gd name="connsiteX4" fmla="*/ 23568 w 26913"/>
                <a:gd name="connsiteY4" fmla="*/ 9157 h 2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3" h="25700">
                  <a:moveTo>
                    <a:pt x="23568" y="9157"/>
                  </a:moveTo>
                  <a:cubicBezTo>
                    <a:pt x="25416" y="14214"/>
                    <a:pt x="22386" y="19967"/>
                    <a:pt x="16801" y="22007"/>
                  </a:cubicBezTo>
                  <a:cubicBezTo>
                    <a:pt x="11217" y="24047"/>
                    <a:pt x="5192" y="21601"/>
                    <a:pt x="3345" y="16544"/>
                  </a:cubicBezTo>
                  <a:cubicBezTo>
                    <a:pt x="1498" y="11487"/>
                    <a:pt x="4527" y="5733"/>
                    <a:pt x="10112" y="3694"/>
                  </a:cubicBezTo>
                  <a:cubicBezTo>
                    <a:pt x="15697" y="1654"/>
                    <a:pt x="21721" y="4100"/>
                    <a:pt x="23568" y="9157"/>
                  </a:cubicBezTo>
                  <a:close/>
                </a:path>
              </a:pathLst>
            </a:custGeom>
            <a:grpFill/>
            <a:ln w="5978" cap="flat">
              <a:noFill/>
              <a:prstDash val="solid"/>
              <a:miter/>
            </a:ln>
          </p:spPr>
          <p:txBody>
            <a:bodyPr rtlCol="0" anchor="ctr"/>
            <a:lstStyle/>
            <a:p>
              <a:endParaRPr lang="en-GB"/>
            </a:p>
          </p:txBody>
        </p:sp>
        <p:sp>
          <p:nvSpPr>
            <p:cNvPr id="95" name="Vrije vorm: vorm 94">
              <a:extLst>
                <a:ext uri="{FF2B5EF4-FFF2-40B4-BE49-F238E27FC236}">
                  <a16:creationId xmlns:a16="http://schemas.microsoft.com/office/drawing/2014/main" id="{BDB74E5C-B61E-4CC6-9BCC-859EA37E0919}"/>
                </a:ext>
              </a:extLst>
            </p:cNvPr>
            <p:cNvSpPr/>
            <p:nvPr/>
          </p:nvSpPr>
          <p:spPr>
            <a:xfrm>
              <a:off x="4405564" y="1425377"/>
              <a:ext cx="19424" cy="18039"/>
            </a:xfrm>
            <a:custGeom>
              <a:avLst/>
              <a:gdLst>
                <a:gd name="connsiteX0" fmla="*/ 513 w 19424"/>
                <a:gd name="connsiteY0" fmla="*/ 12369 h 18039"/>
                <a:gd name="connsiteX1" fmla="*/ 12774 w 19424"/>
                <a:gd name="connsiteY1" fmla="*/ 17393 h 18039"/>
                <a:gd name="connsiteX2" fmla="*/ 18934 w 19424"/>
                <a:gd name="connsiteY2" fmla="*/ 5670 h 18039"/>
                <a:gd name="connsiteX3" fmla="*/ 6673 w 19424"/>
                <a:gd name="connsiteY3" fmla="*/ 647 h 18039"/>
                <a:gd name="connsiteX4" fmla="*/ 513 w 19424"/>
                <a:gd name="connsiteY4" fmla="*/ 12369 h 18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4" h="18039">
                  <a:moveTo>
                    <a:pt x="513" y="12369"/>
                  </a:moveTo>
                  <a:cubicBezTo>
                    <a:pt x="2188" y="16974"/>
                    <a:pt x="7690" y="19247"/>
                    <a:pt x="12774" y="17393"/>
                  </a:cubicBezTo>
                  <a:cubicBezTo>
                    <a:pt x="17857" y="15539"/>
                    <a:pt x="20609" y="10276"/>
                    <a:pt x="18934" y="5670"/>
                  </a:cubicBezTo>
                  <a:cubicBezTo>
                    <a:pt x="17259" y="1065"/>
                    <a:pt x="11757" y="-1207"/>
                    <a:pt x="6673" y="647"/>
                  </a:cubicBezTo>
                  <a:cubicBezTo>
                    <a:pt x="1590" y="2441"/>
                    <a:pt x="-1221" y="7704"/>
                    <a:pt x="513" y="12369"/>
                  </a:cubicBezTo>
                  <a:close/>
                </a:path>
              </a:pathLst>
            </a:custGeom>
            <a:grpFill/>
            <a:ln w="5978" cap="flat">
              <a:noFill/>
              <a:prstDash val="solid"/>
              <a:miter/>
            </a:ln>
          </p:spPr>
          <p:txBody>
            <a:bodyPr rtlCol="0" anchor="ctr"/>
            <a:lstStyle/>
            <a:p>
              <a:endParaRPr lang="en-GB"/>
            </a:p>
          </p:txBody>
        </p:sp>
        <p:sp>
          <p:nvSpPr>
            <p:cNvPr id="96" name="Vrije vorm: vorm 95">
              <a:extLst>
                <a:ext uri="{FF2B5EF4-FFF2-40B4-BE49-F238E27FC236}">
                  <a16:creationId xmlns:a16="http://schemas.microsoft.com/office/drawing/2014/main" id="{967343ED-833E-4CF9-9CE7-63BF39C87A13}"/>
                </a:ext>
              </a:extLst>
            </p:cNvPr>
            <p:cNvSpPr/>
            <p:nvPr/>
          </p:nvSpPr>
          <p:spPr>
            <a:xfrm>
              <a:off x="4533461" y="1397295"/>
              <a:ext cx="50362" cy="26814"/>
            </a:xfrm>
            <a:custGeom>
              <a:avLst/>
              <a:gdLst>
                <a:gd name="connsiteX0" fmla="*/ 543 w 50362"/>
                <a:gd name="connsiteY0" fmla="*/ 25917 h 26814"/>
                <a:gd name="connsiteX1" fmla="*/ 962 w 50362"/>
                <a:gd name="connsiteY1" fmla="*/ 26814 h 26814"/>
                <a:gd name="connsiteX2" fmla="*/ 21416 w 50362"/>
                <a:gd name="connsiteY2" fmla="*/ 6121 h 26814"/>
                <a:gd name="connsiteX3" fmla="*/ 50363 w 50362"/>
                <a:gd name="connsiteY3" fmla="*/ 8753 h 26814"/>
                <a:gd name="connsiteX4" fmla="*/ 50123 w 50362"/>
                <a:gd name="connsiteY4" fmla="*/ 7796 h 26814"/>
                <a:gd name="connsiteX5" fmla="*/ 20160 w 50362"/>
                <a:gd name="connsiteY5" fmla="*/ 2652 h 26814"/>
                <a:gd name="connsiteX6" fmla="*/ 543 w 50362"/>
                <a:gd name="connsiteY6" fmla="*/ 25917 h 2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62" h="26814">
                  <a:moveTo>
                    <a:pt x="543" y="25917"/>
                  </a:moveTo>
                  <a:cubicBezTo>
                    <a:pt x="663" y="26216"/>
                    <a:pt x="782" y="26515"/>
                    <a:pt x="962" y="26814"/>
                  </a:cubicBezTo>
                  <a:cubicBezTo>
                    <a:pt x="-593" y="19996"/>
                    <a:pt x="8258" y="10965"/>
                    <a:pt x="21416" y="6121"/>
                  </a:cubicBezTo>
                  <a:cubicBezTo>
                    <a:pt x="34574" y="1336"/>
                    <a:pt x="47193" y="2533"/>
                    <a:pt x="50363" y="8753"/>
                  </a:cubicBezTo>
                  <a:cubicBezTo>
                    <a:pt x="50303" y="8454"/>
                    <a:pt x="50183" y="8095"/>
                    <a:pt x="50123" y="7796"/>
                  </a:cubicBezTo>
                  <a:cubicBezTo>
                    <a:pt x="47253" y="-39"/>
                    <a:pt x="33856" y="-2372"/>
                    <a:pt x="20160" y="2652"/>
                  </a:cubicBezTo>
                  <a:cubicBezTo>
                    <a:pt x="6464" y="7676"/>
                    <a:pt x="-2328" y="18023"/>
                    <a:pt x="543" y="25917"/>
                  </a:cubicBezTo>
                  <a:close/>
                </a:path>
              </a:pathLst>
            </a:custGeom>
            <a:grpFill/>
            <a:ln w="5978" cap="flat">
              <a:noFill/>
              <a:prstDash val="solid"/>
              <a:miter/>
            </a:ln>
          </p:spPr>
          <p:txBody>
            <a:bodyPr rtlCol="0" anchor="ctr"/>
            <a:lstStyle/>
            <a:p>
              <a:endParaRPr lang="en-GB"/>
            </a:p>
          </p:txBody>
        </p:sp>
        <p:sp>
          <p:nvSpPr>
            <p:cNvPr id="98" name="Vrije vorm: vorm 97">
              <a:extLst>
                <a:ext uri="{FF2B5EF4-FFF2-40B4-BE49-F238E27FC236}">
                  <a16:creationId xmlns:a16="http://schemas.microsoft.com/office/drawing/2014/main" id="{B53A7BBC-D984-4B84-96B9-E90912E59D7E}"/>
                </a:ext>
              </a:extLst>
            </p:cNvPr>
            <p:cNvSpPr/>
            <p:nvPr/>
          </p:nvSpPr>
          <p:spPr>
            <a:xfrm>
              <a:off x="4534246" y="1400481"/>
              <a:ext cx="49904" cy="30488"/>
            </a:xfrm>
            <a:custGeom>
              <a:avLst/>
              <a:gdLst>
                <a:gd name="connsiteX0" fmla="*/ 177 w 49904"/>
                <a:gd name="connsiteY0" fmla="*/ 23569 h 30488"/>
                <a:gd name="connsiteX1" fmla="*/ 27210 w 49904"/>
                <a:gd name="connsiteY1" fmla="*/ 28712 h 30488"/>
                <a:gd name="connsiteX2" fmla="*/ 29781 w 49904"/>
                <a:gd name="connsiteY2" fmla="*/ 27875 h 30488"/>
                <a:gd name="connsiteX3" fmla="*/ 32294 w 49904"/>
                <a:gd name="connsiteY3" fmla="*/ 26918 h 30488"/>
                <a:gd name="connsiteX4" fmla="*/ 49637 w 49904"/>
                <a:gd name="connsiteY4" fmla="*/ 5567 h 30488"/>
                <a:gd name="connsiteX5" fmla="*/ 20691 w 49904"/>
                <a:gd name="connsiteY5" fmla="*/ 2935 h 30488"/>
                <a:gd name="connsiteX6" fmla="*/ 177 w 49904"/>
                <a:gd name="connsiteY6" fmla="*/ 23569 h 3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04" h="30488">
                  <a:moveTo>
                    <a:pt x="177" y="23569"/>
                  </a:moveTo>
                  <a:cubicBezTo>
                    <a:pt x="3466" y="30267"/>
                    <a:pt x="14949" y="32360"/>
                    <a:pt x="27210" y="28712"/>
                  </a:cubicBezTo>
                  <a:cubicBezTo>
                    <a:pt x="28047" y="28413"/>
                    <a:pt x="28944" y="28174"/>
                    <a:pt x="29781" y="27875"/>
                  </a:cubicBezTo>
                  <a:cubicBezTo>
                    <a:pt x="30619" y="27576"/>
                    <a:pt x="31456" y="27217"/>
                    <a:pt x="32294" y="26918"/>
                  </a:cubicBezTo>
                  <a:cubicBezTo>
                    <a:pt x="44016" y="21834"/>
                    <a:pt x="51432" y="12803"/>
                    <a:pt x="49637" y="5567"/>
                  </a:cubicBezTo>
                  <a:cubicBezTo>
                    <a:pt x="46468" y="-653"/>
                    <a:pt x="33848" y="-1849"/>
                    <a:pt x="20691" y="2935"/>
                  </a:cubicBezTo>
                  <a:cubicBezTo>
                    <a:pt x="7473" y="7720"/>
                    <a:pt x="-1378" y="16810"/>
                    <a:pt x="177" y="23569"/>
                  </a:cubicBezTo>
                  <a:close/>
                </a:path>
              </a:pathLst>
            </a:custGeom>
            <a:noFill/>
            <a:ln w="4518" cap="flat">
              <a:solidFill>
                <a:schemeClr val="bg1"/>
              </a:solidFill>
              <a:prstDash val="solid"/>
              <a:miter/>
            </a:ln>
          </p:spPr>
          <p:txBody>
            <a:bodyPr rtlCol="0" anchor="ctr"/>
            <a:lstStyle/>
            <a:p>
              <a:endParaRPr lang="en-GB"/>
            </a:p>
          </p:txBody>
        </p:sp>
        <p:sp>
          <p:nvSpPr>
            <p:cNvPr id="99" name="Vrije vorm: vorm 98">
              <a:extLst>
                <a:ext uri="{FF2B5EF4-FFF2-40B4-BE49-F238E27FC236}">
                  <a16:creationId xmlns:a16="http://schemas.microsoft.com/office/drawing/2014/main" id="{599DE943-7244-4928-8D7E-2A85014A960C}"/>
                </a:ext>
              </a:extLst>
            </p:cNvPr>
            <p:cNvSpPr/>
            <p:nvPr/>
          </p:nvSpPr>
          <p:spPr>
            <a:xfrm>
              <a:off x="4479687" y="1374134"/>
              <a:ext cx="43971" cy="21986"/>
            </a:xfrm>
            <a:custGeom>
              <a:avLst/>
              <a:gdLst>
                <a:gd name="connsiteX0" fmla="*/ 372 w 43971"/>
                <a:gd name="connsiteY0" fmla="*/ 21508 h 21986"/>
                <a:gd name="connsiteX1" fmla="*/ 611 w 43971"/>
                <a:gd name="connsiteY1" fmla="*/ 21986 h 21986"/>
                <a:gd name="connsiteX2" fmla="*/ 18733 w 43971"/>
                <a:gd name="connsiteY2" fmla="*/ 4403 h 21986"/>
                <a:gd name="connsiteX3" fmla="*/ 43971 w 43971"/>
                <a:gd name="connsiteY3" fmla="*/ 6197 h 21986"/>
                <a:gd name="connsiteX4" fmla="*/ 43792 w 43971"/>
                <a:gd name="connsiteY4" fmla="*/ 5659 h 21986"/>
                <a:gd name="connsiteX5" fmla="*/ 18015 w 43971"/>
                <a:gd name="connsiteY5" fmla="*/ 2549 h 21986"/>
                <a:gd name="connsiteX6" fmla="*/ 372 w 43971"/>
                <a:gd name="connsiteY6" fmla="*/ 21508 h 2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71" h="21986">
                  <a:moveTo>
                    <a:pt x="372" y="21508"/>
                  </a:moveTo>
                  <a:cubicBezTo>
                    <a:pt x="432" y="21687"/>
                    <a:pt x="491" y="21867"/>
                    <a:pt x="611" y="21986"/>
                  </a:cubicBezTo>
                  <a:cubicBezTo>
                    <a:pt x="-884" y="16424"/>
                    <a:pt x="7070" y="8649"/>
                    <a:pt x="18733" y="4403"/>
                  </a:cubicBezTo>
                  <a:cubicBezTo>
                    <a:pt x="30395" y="157"/>
                    <a:pt x="41459" y="934"/>
                    <a:pt x="43971" y="6197"/>
                  </a:cubicBezTo>
                  <a:cubicBezTo>
                    <a:pt x="43971" y="6018"/>
                    <a:pt x="43852" y="5838"/>
                    <a:pt x="43792" y="5659"/>
                  </a:cubicBezTo>
                  <a:cubicBezTo>
                    <a:pt x="41579" y="-441"/>
                    <a:pt x="30036" y="-1817"/>
                    <a:pt x="18015" y="2549"/>
                  </a:cubicBezTo>
                  <a:cubicBezTo>
                    <a:pt x="6053" y="6915"/>
                    <a:pt x="-1841" y="15407"/>
                    <a:pt x="372" y="21508"/>
                  </a:cubicBezTo>
                  <a:close/>
                </a:path>
              </a:pathLst>
            </a:custGeom>
            <a:grpFill/>
            <a:ln w="5978" cap="flat">
              <a:noFill/>
              <a:prstDash val="solid"/>
              <a:miter/>
            </a:ln>
          </p:spPr>
          <p:txBody>
            <a:bodyPr rtlCol="0" anchor="ctr"/>
            <a:lstStyle/>
            <a:p>
              <a:endParaRPr lang="en-GB"/>
            </a:p>
          </p:txBody>
        </p:sp>
        <p:sp>
          <p:nvSpPr>
            <p:cNvPr id="100" name="Vrije vorm: vorm 99">
              <a:extLst>
                <a:ext uri="{FF2B5EF4-FFF2-40B4-BE49-F238E27FC236}">
                  <a16:creationId xmlns:a16="http://schemas.microsoft.com/office/drawing/2014/main" id="{1956E7D5-56BF-4F2B-9C67-4BFEF9C591CD}"/>
                </a:ext>
              </a:extLst>
            </p:cNvPr>
            <p:cNvSpPr/>
            <p:nvPr/>
          </p:nvSpPr>
          <p:spPr>
            <a:xfrm>
              <a:off x="4480117" y="1375762"/>
              <a:ext cx="43748" cy="25565"/>
            </a:xfrm>
            <a:custGeom>
              <a:avLst/>
              <a:gdLst>
                <a:gd name="connsiteX0" fmla="*/ 180 w 43748"/>
                <a:gd name="connsiteY0" fmla="*/ 20358 h 25565"/>
                <a:gd name="connsiteX1" fmla="*/ 23445 w 43748"/>
                <a:gd name="connsiteY1" fmla="*/ 23767 h 25565"/>
                <a:gd name="connsiteX2" fmla="*/ 25718 w 43748"/>
                <a:gd name="connsiteY2" fmla="*/ 22990 h 25565"/>
                <a:gd name="connsiteX3" fmla="*/ 27931 w 43748"/>
                <a:gd name="connsiteY3" fmla="*/ 22092 h 25565"/>
                <a:gd name="connsiteX4" fmla="*/ 43541 w 43748"/>
                <a:gd name="connsiteY4" fmla="*/ 4509 h 25565"/>
                <a:gd name="connsiteX5" fmla="*/ 18302 w 43748"/>
                <a:gd name="connsiteY5" fmla="*/ 2715 h 25565"/>
                <a:gd name="connsiteX6" fmla="*/ 180 w 43748"/>
                <a:gd name="connsiteY6" fmla="*/ 20358 h 2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48" h="25565">
                  <a:moveTo>
                    <a:pt x="180" y="20358"/>
                  </a:moveTo>
                  <a:cubicBezTo>
                    <a:pt x="2693" y="25681"/>
                    <a:pt x="12620" y="27116"/>
                    <a:pt x="23445" y="23767"/>
                  </a:cubicBezTo>
                  <a:cubicBezTo>
                    <a:pt x="24223" y="23528"/>
                    <a:pt x="24941" y="23289"/>
                    <a:pt x="25718" y="22990"/>
                  </a:cubicBezTo>
                  <a:cubicBezTo>
                    <a:pt x="26436" y="22691"/>
                    <a:pt x="27213" y="22392"/>
                    <a:pt x="27931" y="22092"/>
                  </a:cubicBezTo>
                  <a:cubicBezTo>
                    <a:pt x="38337" y="17667"/>
                    <a:pt x="45036" y="10191"/>
                    <a:pt x="43541" y="4509"/>
                  </a:cubicBezTo>
                  <a:cubicBezTo>
                    <a:pt x="41089" y="-694"/>
                    <a:pt x="30024" y="-1531"/>
                    <a:pt x="18302" y="2715"/>
                  </a:cubicBezTo>
                  <a:cubicBezTo>
                    <a:pt x="6640" y="7021"/>
                    <a:pt x="-1315" y="14796"/>
                    <a:pt x="180" y="20358"/>
                  </a:cubicBezTo>
                  <a:close/>
                </a:path>
              </a:pathLst>
            </a:custGeom>
            <a:noFill/>
            <a:ln w="4518" cap="flat">
              <a:solidFill>
                <a:schemeClr val="bg1"/>
              </a:solidFill>
              <a:prstDash val="solid"/>
              <a:miter/>
            </a:ln>
          </p:spPr>
          <p:txBody>
            <a:bodyPr rtlCol="0" anchor="ctr"/>
            <a:lstStyle/>
            <a:p>
              <a:endParaRPr lang="en-GB"/>
            </a:p>
          </p:txBody>
        </p:sp>
        <p:sp>
          <p:nvSpPr>
            <p:cNvPr id="101" name="Vrije vorm: vorm 100">
              <a:extLst>
                <a:ext uri="{FF2B5EF4-FFF2-40B4-BE49-F238E27FC236}">
                  <a16:creationId xmlns:a16="http://schemas.microsoft.com/office/drawing/2014/main" id="{F7C1A02D-CDFC-4A6B-9AB8-44CADD7F4435}"/>
                </a:ext>
              </a:extLst>
            </p:cNvPr>
            <p:cNvSpPr/>
            <p:nvPr/>
          </p:nvSpPr>
          <p:spPr>
            <a:xfrm>
              <a:off x="4388242" y="1416856"/>
              <a:ext cx="46722" cy="22265"/>
            </a:xfrm>
            <a:custGeom>
              <a:avLst/>
              <a:gdLst>
                <a:gd name="connsiteX0" fmla="*/ 312 w 46722"/>
                <a:gd name="connsiteY0" fmla="*/ 21727 h 22265"/>
                <a:gd name="connsiteX1" fmla="*/ 611 w 46722"/>
                <a:gd name="connsiteY1" fmla="*/ 22266 h 22265"/>
                <a:gd name="connsiteX2" fmla="*/ 20467 w 46722"/>
                <a:gd name="connsiteY2" fmla="*/ 5161 h 22265"/>
                <a:gd name="connsiteX3" fmla="*/ 46722 w 46722"/>
                <a:gd name="connsiteY3" fmla="*/ 5460 h 22265"/>
                <a:gd name="connsiteX4" fmla="*/ 46602 w 46722"/>
                <a:gd name="connsiteY4" fmla="*/ 4862 h 22265"/>
                <a:gd name="connsiteX5" fmla="*/ 19749 w 46722"/>
                <a:gd name="connsiteY5" fmla="*/ 3067 h 22265"/>
                <a:gd name="connsiteX6" fmla="*/ 312 w 46722"/>
                <a:gd name="connsiteY6" fmla="*/ 21727 h 2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722" h="22265">
                  <a:moveTo>
                    <a:pt x="312" y="21727"/>
                  </a:moveTo>
                  <a:cubicBezTo>
                    <a:pt x="372" y="21907"/>
                    <a:pt x="431" y="22086"/>
                    <a:pt x="611" y="22266"/>
                  </a:cubicBezTo>
                  <a:cubicBezTo>
                    <a:pt x="-526" y="17242"/>
                    <a:pt x="8146" y="9646"/>
                    <a:pt x="20467" y="5161"/>
                  </a:cubicBezTo>
                  <a:cubicBezTo>
                    <a:pt x="32847" y="615"/>
                    <a:pt x="44330" y="795"/>
                    <a:pt x="46722" y="5460"/>
                  </a:cubicBezTo>
                  <a:cubicBezTo>
                    <a:pt x="46722" y="5221"/>
                    <a:pt x="46662" y="5041"/>
                    <a:pt x="46602" y="4862"/>
                  </a:cubicBezTo>
                  <a:cubicBezTo>
                    <a:pt x="44509" y="-820"/>
                    <a:pt x="32488" y="-1657"/>
                    <a:pt x="19749" y="3067"/>
                  </a:cubicBezTo>
                  <a:cubicBezTo>
                    <a:pt x="6890" y="7673"/>
                    <a:pt x="-1782" y="16046"/>
                    <a:pt x="312" y="21727"/>
                  </a:cubicBezTo>
                  <a:close/>
                </a:path>
              </a:pathLst>
            </a:custGeom>
            <a:grpFill/>
            <a:ln w="5978" cap="flat">
              <a:noFill/>
              <a:prstDash val="solid"/>
              <a:miter/>
            </a:ln>
          </p:spPr>
          <p:txBody>
            <a:bodyPr rtlCol="0" anchor="ctr"/>
            <a:lstStyle/>
            <a:p>
              <a:endParaRPr lang="en-GB"/>
            </a:p>
          </p:txBody>
        </p:sp>
        <p:sp>
          <p:nvSpPr>
            <p:cNvPr id="102" name="Vrije vorm: vorm 101">
              <a:extLst>
                <a:ext uri="{FF2B5EF4-FFF2-40B4-BE49-F238E27FC236}">
                  <a16:creationId xmlns:a16="http://schemas.microsoft.com/office/drawing/2014/main" id="{B4067D18-710E-4A2A-BE2F-15EFC97A7A08}"/>
                </a:ext>
              </a:extLst>
            </p:cNvPr>
            <p:cNvSpPr/>
            <p:nvPr/>
          </p:nvSpPr>
          <p:spPr>
            <a:xfrm>
              <a:off x="4388743" y="1418755"/>
              <a:ext cx="46414" cy="24638"/>
            </a:xfrm>
            <a:custGeom>
              <a:avLst/>
              <a:gdLst>
                <a:gd name="connsiteX0" fmla="*/ 110 w 46414"/>
                <a:gd name="connsiteY0" fmla="*/ 20367 h 24638"/>
                <a:gd name="connsiteX1" fmla="*/ 26724 w 46414"/>
                <a:gd name="connsiteY1" fmla="*/ 21623 h 24638"/>
                <a:gd name="connsiteX2" fmla="*/ 46281 w 46414"/>
                <a:gd name="connsiteY2" fmla="*/ 3561 h 24638"/>
                <a:gd name="connsiteX3" fmla="*/ 20025 w 46414"/>
                <a:gd name="connsiteY3" fmla="*/ 3262 h 24638"/>
                <a:gd name="connsiteX4" fmla="*/ 110 w 46414"/>
                <a:gd name="connsiteY4" fmla="*/ 20367 h 24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14" h="24638">
                  <a:moveTo>
                    <a:pt x="110" y="20367"/>
                  </a:moveTo>
                  <a:cubicBezTo>
                    <a:pt x="2681" y="25510"/>
                    <a:pt x="14344" y="26108"/>
                    <a:pt x="26724" y="21623"/>
                  </a:cubicBezTo>
                  <a:cubicBezTo>
                    <a:pt x="39104" y="17077"/>
                    <a:pt x="47596" y="9123"/>
                    <a:pt x="46281" y="3561"/>
                  </a:cubicBezTo>
                  <a:cubicBezTo>
                    <a:pt x="43888" y="-1044"/>
                    <a:pt x="32406" y="-1224"/>
                    <a:pt x="20025" y="3262"/>
                  </a:cubicBezTo>
                  <a:cubicBezTo>
                    <a:pt x="7645" y="7807"/>
                    <a:pt x="-1087" y="15343"/>
                    <a:pt x="110" y="20367"/>
                  </a:cubicBezTo>
                  <a:close/>
                </a:path>
              </a:pathLst>
            </a:custGeom>
            <a:noFill/>
            <a:ln w="4518" cap="flat">
              <a:solidFill>
                <a:schemeClr val="bg1"/>
              </a:solidFill>
              <a:prstDash val="solid"/>
              <a:miter/>
            </a:ln>
          </p:spPr>
          <p:txBody>
            <a:bodyPr rtlCol="0" anchor="ctr"/>
            <a:lstStyle/>
            <a:p>
              <a:endParaRPr lang="en-GB"/>
            </a:p>
          </p:txBody>
        </p:sp>
        <p:sp>
          <p:nvSpPr>
            <p:cNvPr id="103" name="Vrije vorm: vorm 102">
              <a:extLst>
                <a:ext uri="{FF2B5EF4-FFF2-40B4-BE49-F238E27FC236}">
                  <a16:creationId xmlns:a16="http://schemas.microsoft.com/office/drawing/2014/main" id="{5AB2925C-86A4-45D0-8388-A870D59978F6}"/>
                </a:ext>
              </a:extLst>
            </p:cNvPr>
            <p:cNvSpPr/>
            <p:nvPr/>
          </p:nvSpPr>
          <p:spPr>
            <a:xfrm>
              <a:off x="4422257" y="1451284"/>
              <a:ext cx="50445" cy="27250"/>
            </a:xfrm>
            <a:custGeom>
              <a:avLst/>
              <a:gdLst>
                <a:gd name="connsiteX0" fmla="*/ 566 w 50445"/>
                <a:gd name="connsiteY0" fmla="*/ 26114 h 27250"/>
                <a:gd name="connsiteX1" fmla="*/ 1105 w 50445"/>
                <a:gd name="connsiteY1" fmla="*/ 27250 h 27250"/>
                <a:gd name="connsiteX2" fmla="*/ 21619 w 50445"/>
                <a:gd name="connsiteY2" fmla="*/ 6796 h 27250"/>
                <a:gd name="connsiteX3" fmla="*/ 50446 w 50445"/>
                <a:gd name="connsiteY3" fmla="*/ 9248 h 27250"/>
                <a:gd name="connsiteX4" fmla="*/ 50146 w 50445"/>
                <a:gd name="connsiteY4" fmla="*/ 8052 h 27250"/>
                <a:gd name="connsiteX5" fmla="*/ 20064 w 50445"/>
                <a:gd name="connsiteY5" fmla="*/ 2610 h 27250"/>
                <a:gd name="connsiteX6" fmla="*/ 566 w 50445"/>
                <a:gd name="connsiteY6" fmla="*/ 26114 h 2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45" h="27250">
                  <a:moveTo>
                    <a:pt x="566" y="26114"/>
                  </a:moveTo>
                  <a:cubicBezTo>
                    <a:pt x="686" y="26473"/>
                    <a:pt x="865" y="26891"/>
                    <a:pt x="1105" y="27250"/>
                  </a:cubicBezTo>
                  <a:cubicBezTo>
                    <a:pt x="-271" y="20552"/>
                    <a:pt x="8581" y="11581"/>
                    <a:pt x="21619" y="6796"/>
                  </a:cubicBezTo>
                  <a:cubicBezTo>
                    <a:pt x="34597" y="2071"/>
                    <a:pt x="47156" y="3208"/>
                    <a:pt x="50446" y="9248"/>
                  </a:cubicBezTo>
                  <a:cubicBezTo>
                    <a:pt x="50386" y="8830"/>
                    <a:pt x="50266" y="8411"/>
                    <a:pt x="50146" y="8052"/>
                  </a:cubicBezTo>
                  <a:cubicBezTo>
                    <a:pt x="47216" y="38"/>
                    <a:pt x="33759" y="-2414"/>
                    <a:pt x="20064" y="2610"/>
                  </a:cubicBezTo>
                  <a:cubicBezTo>
                    <a:pt x="6368" y="7574"/>
                    <a:pt x="-2364" y="18100"/>
                    <a:pt x="566" y="26114"/>
                  </a:cubicBezTo>
                  <a:close/>
                </a:path>
              </a:pathLst>
            </a:custGeom>
            <a:grpFill/>
            <a:ln w="5978" cap="flat">
              <a:noFill/>
              <a:prstDash val="solid"/>
              <a:miter/>
            </a:ln>
          </p:spPr>
          <p:txBody>
            <a:bodyPr rtlCol="0" anchor="ctr"/>
            <a:lstStyle/>
            <a:p>
              <a:endParaRPr lang="en-GB"/>
            </a:p>
          </p:txBody>
        </p:sp>
        <p:sp>
          <p:nvSpPr>
            <p:cNvPr id="104" name="Vrije vorm: vorm 103">
              <a:extLst>
                <a:ext uri="{FF2B5EF4-FFF2-40B4-BE49-F238E27FC236}">
                  <a16:creationId xmlns:a16="http://schemas.microsoft.com/office/drawing/2014/main" id="{D312E42F-2282-4D67-A613-BB884E66398D}"/>
                </a:ext>
              </a:extLst>
            </p:cNvPr>
            <p:cNvSpPr/>
            <p:nvPr/>
          </p:nvSpPr>
          <p:spPr>
            <a:xfrm>
              <a:off x="4423221" y="1455158"/>
              <a:ext cx="49704" cy="30328"/>
            </a:xfrm>
            <a:custGeom>
              <a:avLst/>
              <a:gdLst>
                <a:gd name="connsiteX0" fmla="*/ 141 w 49704"/>
                <a:gd name="connsiteY0" fmla="*/ 23377 h 30328"/>
                <a:gd name="connsiteX1" fmla="*/ 27113 w 49704"/>
                <a:gd name="connsiteY1" fmla="*/ 28580 h 30328"/>
                <a:gd name="connsiteX2" fmla="*/ 29685 w 49704"/>
                <a:gd name="connsiteY2" fmla="*/ 27743 h 30328"/>
                <a:gd name="connsiteX3" fmla="*/ 32197 w 49704"/>
                <a:gd name="connsiteY3" fmla="*/ 26786 h 30328"/>
                <a:gd name="connsiteX4" fmla="*/ 49482 w 49704"/>
                <a:gd name="connsiteY4" fmla="*/ 5375 h 30328"/>
                <a:gd name="connsiteX5" fmla="*/ 20655 w 49704"/>
                <a:gd name="connsiteY5" fmla="*/ 2923 h 30328"/>
                <a:gd name="connsiteX6" fmla="*/ 141 w 49704"/>
                <a:gd name="connsiteY6" fmla="*/ 23377 h 3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04" h="30328">
                  <a:moveTo>
                    <a:pt x="141" y="23377"/>
                  </a:moveTo>
                  <a:cubicBezTo>
                    <a:pt x="3609" y="30015"/>
                    <a:pt x="15033" y="32228"/>
                    <a:pt x="27113" y="28580"/>
                  </a:cubicBezTo>
                  <a:cubicBezTo>
                    <a:pt x="27951" y="28281"/>
                    <a:pt x="28848" y="28042"/>
                    <a:pt x="29685" y="27743"/>
                  </a:cubicBezTo>
                  <a:cubicBezTo>
                    <a:pt x="30523" y="27443"/>
                    <a:pt x="31360" y="27085"/>
                    <a:pt x="32197" y="26786"/>
                  </a:cubicBezTo>
                  <a:cubicBezTo>
                    <a:pt x="43800" y="21762"/>
                    <a:pt x="51096" y="12731"/>
                    <a:pt x="49482" y="5375"/>
                  </a:cubicBezTo>
                  <a:cubicBezTo>
                    <a:pt x="46192" y="-666"/>
                    <a:pt x="33633" y="-1802"/>
                    <a:pt x="20655" y="2923"/>
                  </a:cubicBezTo>
                  <a:cubicBezTo>
                    <a:pt x="7617" y="7647"/>
                    <a:pt x="-1235" y="16618"/>
                    <a:pt x="141" y="23377"/>
                  </a:cubicBezTo>
                  <a:close/>
                </a:path>
              </a:pathLst>
            </a:custGeom>
            <a:noFill/>
            <a:ln w="4518" cap="flat">
              <a:solidFill>
                <a:schemeClr val="bg1"/>
              </a:solidFill>
              <a:prstDash val="solid"/>
              <a:miter/>
            </a:ln>
          </p:spPr>
          <p:txBody>
            <a:bodyPr rtlCol="0" anchor="ctr"/>
            <a:lstStyle/>
            <a:p>
              <a:endParaRPr lang="en-GB"/>
            </a:p>
          </p:txBody>
        </p:sp>
        <p:sp>
          <p:nvSpPr>
            <p:cNvPr id="105" name="Vrije vorm: vorm 104">
              <a:extLst>
                <a:ext uri="{FF2B5EF4-FFF2-40B4-BE49-F238E27FC236}">
                  <a16:creationId xmlns:a16="http://schemas.microsoft.com/office/drawing/2014/main" id="{1552A9EF-F5B1-4C3E-87CE-CFAC85EA4D8F}"/>
                </a:ext>
              </a:extLst>
            </p:cNvPr>
            <p:cNvSpPr/>
            <p:nvPr/>
          </p:nvSpPr>
          <p:spPr>
            <a:xfrm>
              <a:off x="4470091" y="1421439"/>
              <a:ext cx="23343" cy="17842"/>
            </a:xfrm>
            <a:custGeom>
              <a:avLst/>
              <a:gdLst>
                <a:gd name="connsiteX0" fmla="*/ 638 w 23343"/>
                <a:gd name="connsiteY0" fmla="*/ 14812 h 17842"/>
                <a:gd name="connsiteX1" fmla="*/ 15470 w 23343"/>
                <a:gd name="connsiteY1" fmla="*/ 15590 h 17842"/>
                <a:gd name="connsiteX2" fmla="*/ 22706 w 23343"/>
                <a:gd name="connsiteY2" fmla="*/ 3030 h 17842"/>
                <a:gd name="connsiteX3" fmla="*/ 7874 w 23343"/>
                <a:gd name="connsiteY3" fmla="*/ 2253 h 17842"/>
                <a:gd name="connsiteX4" fmla="*/ 638 w 23343"/>
                <a:gd name="connsiteY4" fmla="*/ 14812 h 17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43" h="17842">
                  <a:moveTo>
                    <a:pt x="638" y="14812"/>
                  </a:moveTo>
                  <a:cubicBezTo>
                    <a:pt x="2731" y="18520"/>
                    <a:pt x="9369" y="18879"/>
                    <a:pt x="15470" y="15590"/>
                  </a:cubicBezTo>
                  <a:cubicBezTo>
                    <a:pt x="21570" y="12300"/>
                    <a:pt x="24799" y="6738"/>
                    <a:pt x="22706" y="3030"/>
                  </a:cubicBezTo>
                  <a:cubicBezTo>
                    <a:pt x="20613" y="-678"/>
                    <a:pt x="13974" y="-1037"/>
                    <a:pt x="7874" y="2253"/>
                  </a:cubicBezTo>
                  <a:cubicBezTo>
                    <a:pt x="1774" y="5542"/>
                    <a:pt x="-1456" y="11164"/>
                    <a:pt x="638" y="14812"/>
                  </a:cubicBezTo>
                  <a:close/>
                </a:path>
              </a:pathLst>
            </a:custGeom>
            <a:grpFill/>
            <a:ln w="5978" cap="flat">
              <a:noFill/>
              <a:prstDash val="solid"/>
              <a:miter/>
            </a:ln>
          </p:spPr>
          <p:txBody>
            <a:bodyPr rtlCol="0" anchor="ctr"/>
            <a:lstStyle/>
            <a:p>
              <a:endParaRPr lang="en-GB"/>
            </a:p>
          </p:txBody>
        </p:sp>
      </p:grpSp>
    </p:spTree>
    <p:extLst>
      <p:ext uri="{BB962C8B-B14F-4D97-AF65-F5344CB8AC3E}">
        <p14:creationId xmlns:p14="http://schemas.microsoft.com/office/powerpoint/2010/main" val="3747390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lleen titel - MET ANIMATIE">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300BB1BE-241D-4EDA-8413-48C3EE0BF8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30" y="0"/>
            <a:ext cx="12189270" cy="6858000"/>
          </a:xfrm>
          <a:prstGeom prst="rect">
            <a:avLst/>
          </a:prstGeom>
        </p:spPr>
      </p:pic>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Only title #2</a:t>
            </a:r>
          </a:p>
        </p:txBody>
      </p:sp>
      <p:cxnSp>
        <p:nvCxnSpPr>
          <p:cNvPr id="5" name="LIJN">
            <a:extLst>
              <a:ext uri="{FF2B5EF4-FFF2-40B4-BE49-F238E27FC236}">
                <a16:creationId xmlns:a16="http://schemas.microsoft.com/office/drawing/2014/main" id="{8FA98A7E-8E3F-477B-B258-5695C27EC13D}"/>
              </a:ext>
            </a:extLst>
          </p:cNvPr>
          <p:cNvCxnSpPr>
            <a:cxnSpLocks/>
          </p:cNvCxnSpPr>
          <p:nvPr userDrawn="1"/>
        </p:nvCxnSpPr>
        <p:spPr>
          <a:xfrm>
            <a:off x="602232" y="1304529"/>
            <a:ext cx="0" cy="4981971"/>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 name="HAAK">
            <a:extLst>
              <a:ext uri="{FF2B5EF4-FFF2-40B4-BE49-F238E27FC236}">
                <a16:creationId xmlns:a16="http://schemas.microsoft.com/office/drawing/2014/main" id="{703FCC52-BC82-43F7-99F4-D3F6AF31FC57}"/>
              </a:ext>
            </a:extLst>
          </p:cNvPr>
          <p:cNvSpPr>
            <a:spLocks/>
          </p:cNvSpPr>
          <p:nvPr userDrawn="1"/>
        </p:nvSpPr>
        <p:spPr bwMode="auto">
          <a:xfrm>
            <a:off x="587030" y="1056880"/>
            <a:ext cx="69016" cy="202404"/>
          </a:xfrm>
          <a:custGeom>
            <a:avLst/>
            <a:gdLst>
              <a:gd name="T0" fmla="*/ 3 w 17"/>
              <a:gd name="T1" fmla="*/ 10 h 50"/>
              <a:gd name="T2" fmla="*/ 6 w 17"/>
              <a:gd name="T3" fmla="*/ 0 h 50"/>
              <a:gd name="T4" fmla="*/ 16 w 17"/>
              <a:gd name="T5" fmla="*/ 25 h 50"/>
              <a:gd name="T6" fmla="*/ 7 w 17"/>
              <a:gd name="T7" fmla="*/ 50 h 50"/>
              <a:gd name="T8" fmla="*/ 4 w 17"/>
              <a:gd name="T9" fmla="*/ 40 h 50"/>
              <a:gd name="T10" fmla="*/ 8 w 17"/>
              <a:gd name="T11" fmla="*/ 25 h 50"/>
              <a:gd name="T12" fmla="*/ 3 w 17"/>
              <a:gd name="T13" fmla="*/ 10 h 50"/>
            </a:gdLst>
            <a:ahLst/>
            <a:cxnLst>
              <a:cxn ang="0">
                <a:pos x="T0" y="T1"/>
              </a:cxn>
              <a:cxn ang="0">
                <a:pos x="T2" y="T3"/>
              </a:cxn>
              <a:cxn ang="0">
                <a:pos x="T4" y="T5"/>
              </a:cxn>
              <a:cxn ang="0">
                <a:pos x="T6" y="T7"/>
              </a:cxn>
              <a:cxn ang="0">
                <a:pos x="T8" y="T9"/>
              </a:cxn>
              <a:cxn ang="0">
                <a:pos x="T10" y="T11"/>
              </a:cxn>
              <a:cxn ang="0">
                <a:pos x="T12" y="T13"/>
              </a:cxn>
            </a:cxnLst>
            <a:rect l="0" t="0" r="r" b="b"/>
            <a:pathLst>
              <a:path w="17" h="50">
                <a:moveTo>
                  <a:pt x="3" y="10"/>
                </a:moveTo>
                <a:cubicBezTo>
                  <a:pt x="0" y="1"/>
                  <a:pt x="6" y="0"/>
                  <a:pt x="6" y="0"/>
                </a:cubicBezTo>
                <a:cubicBezTo>
                  <a:pt x="6" y="0"/>
                  <a:pt x="16" y="19"/>
                  <a:pt x="16" y="25"/>
                </a:cubicBezTo>
                <a:cubicBezTo>
                  <a:pt x="17" y="31"/>
                  <a:pt x="7" y="50"/>
                  <a:pt x="7" y="50"/>
                </a:cubicBezTo>
                <a:cubicBezTo>
                  <a:pt x="7" y="50"/>
                  <a:pt x="1" y="48"/>
                  <a:pt x="4" y="40"/>
                </a:cubicBezTo>
                <a:cubicBezTo>
                  <a:pt x="6" y="32"/>
                  <a:pt x="8" y="25"/>
                  <a:pt x="8" y="25"/>
                </a:cubicBezTo>
                <a:lnTo>
                  <a:pt x="3" y="1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PIJL">
            <a:extLst>
              <a:ext uri="{FF2B5EF4-FFF2-40B4-BE49-F238E27FC236}">
                <a16:creationId xmlns:a16="http://schemas.microsoft.com/office/drawing/2014/main" id="{B5CC1DD7-D649-4214-B209-94E81DCEF4FE}"/>
              </a:ext>
            </a:extLst>
          </p:cNvPr>
          <p:cNvSpPr/>
          <p:nvPr userDrawn="1"/>
        </p:nvSpPr>
        <p:spPr>
          <a:xfrm>
            <a:off x="0" y="6278876"/>
            <a:ext cx="633831" cy="147829"/>
          </a:xfrm>
          <a:custGeom>
            <a:avLst/>
            <a:gdLst>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415874 w 633831"/>
              <a:gd name="connsiteY11" fmla="*/ 147829 h 147829"/>
              <a:gd name="connsiteX12" fmla="*/ 345094 w 633831"/>
              <a:gd name="connsiteY12" fmla="*/ 147829 h 147829"/>
              <a:gd name="connsiteX13" fmla="*/ 319801 w 633831"/>
              <a:gd name="connsiteY13" fmla="*/ 147829 h 147829"/>
              <a:gd name="connsiteX14" fmla="*/ 261041 w 633831"/>
              <a:gd name="connsiteY14" fmla="*/ 147829 h 147829"/>
              <a:gd name="connsiteX15" fmla="*/ 21430 w 633831"/>
              <a:gd name="connsiteY15" fmla="*/ 147829 h 147829"/>
              <a:gd name="connsiteX16" fmla="*/ 0 w 633831"/>
              <a:gd name="connsiteY16" fmla="*/ 147829 h 14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831" h="147829">
                <a:moveTo>
                  <a:pt x="0" y="0"/>
                </a:moveTo>
                <a:lnTo>
                  <a:pt x="21430" y="0"/>
                </a:lnTo>
                <a:lnTo>
                  <a:pt x="261041" y="0"/>
                </a:lnTo>
                <a:lnTo>
                  <a:pt x="319801" y="0"/>
                </a:lnTo>
                <a:lnTo>
                  <a:pt x="345094" y="0"/>
                </a:lnTo>
                <a:lnTo>
                  <a:pt x="415874" y="0"/>
                </a:lnTo>
                <a:lnTo>
                  <a:pt x="510403" y="0"/>
                </a:lnTo>
                <a:lnTo>
                  <a:pt x="604824" y="0"/>
                </a:lnTo>
                <a:cubicBezTo>
                  <a:pt x="614746" y="20344"/>
                  <a:pt x="634057" y="57734"/>
                  <a:pt x="633829" y="73889"/>
                </a:cubicBezTo>
                <a:cubicBezTo>
                  <a:pt x="633601" y="90044"/>
                  <a:pt x="621235" y="116025"/>
                  <a:pt x="603457" y="147199"/>
                </a:cubicBezTo>
                <a:lnTo>
                  <a:pt x="415874" y="147616"/>
                </a:lnTo>
                <a:lnTo>
                  <a:pt x="415874" y="147829"/>
                </a:lnTo>
                <a:lnTo>
                  <a:pt x="345094" y="147829"/>
                </a:lnTo>
                <a:lnTo>
                  <a:pt x="319801" y="147829"/>
                </a:lnTo>
                <a:lnTo>
                  <a:pt x="261041" y="147829"/>
                </a:lnTo>
                <a:lnTo>
                  <a:pt x="21430" y="147829"/>
                </a:lnTo>
                <a:lnTo>
                  <a:pt x="0" y="14782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8" name="Titel 7">
            <a:extLst>
              <a:ext uri="{FF2B5EF4-FFF2-40B4-BE49-F238E27FC236}">
                <a16:creationId xmlns:a16="http://schemas.microsoft.com/office/drawing/2014/main" id="{8B80EA85-00BD-4AD9-AC01-6E03872FE0CA}"/>
              </a:ext>
            </a:extLst>
          </p:cNvPr>
          <p:cNvSpPr>
            <a:spLocks noGrp="1"/>
          </p:cNvSpPr>
          <p:nvPr>
            <p:ph type="title" hasCustomPrompt="1"/>
          </p:nvPr>
        </p:nvSpPr>
        <p:spPr/>
        <p:txBody>
          <a:bodyPr/>
          <a:lstStyle/>
          <a:p>
            <a:r>
              <a:rPr lang="nl-NL" dirty="0"/>
              <a:t>Plaats hier je titel</a:t>
            </a:r>
          </a:p>
        </p:txBody>
      </p:sp>
    </p:spTree>
    <p:extLst>
      <p:ext uri="{BB962C8B-B14F-4D97-AF65-F5344CB8AC3E}">
        <p14:creationId xmlns:p14="http://schemas.microsoft.com/office/powerpoint/2010/main" val="13918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50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750"/>
                                        <p:tgtEl>
                                          <p:spTgt spid="5"/>
                                        </p:tgtEl>
                                      </p:cBhvr>
                                    </p:animEffect>
                                  </p:childTnLst>
                                </p:cTn>
                              </p:par>
                            </p:childTnLst>
                          </p:cTn>
                        </p:par>
                        <p:par>
                          <p:cTn id="12" fill="hold">
                            <p:stCondLst>
                              <p:cond delay="1250"/>
                            </p:stCondLst>
                            <p:childTnLst>
                              <p:par>
                                <p:cTn id="13" presetID="17" presetClass="entr" presetSubtype="8"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250" fill="hold"/>
                                        <p:tgtEl>
                                          <p:spTgt spid="6"/>
                                        </p:tgtEl>
                                        <p:attrNameLst>
                                          <p:attrName>ppt_x</p:attrName>
                                        </p:attrNameLst>
                                      </p:cBhvr>
                                      <p:tavLst>
                                        <p:tav tm="0">
                                          <p:val>
                                            <p:strVal val="#ppt_x-#ppt_w/2"/>
                                          </p:val>
                                        </p:tav>
                                        <p:tav tm="100000">
                                          <p:val>
                                            <p:strVal val="#ppt_x"/>
                                          </p:val>
                                        </p:tav>
                                      </p:tavLst>
                                    </p:anim>
                                    <p:anim calcmode="lin" valueType="num">
                                      <p:cBhvr>
                                        <p:cTn id="16" dur="250" fill="hold"/>
                                        <p:tgtEl>
                                          <p:spTgt spid="6"/>
                                        </p:tgtEl>
                                        <p:attrNameLst>
                                          <p:attrName>ppt_y</p:attrName>
                                        </p:attrNameLst>
                                      </p:cBhvr>
                                      <p:tavLst>
                                        <p:tav tm="0">
                                          <p:val>
                                            <p:strVal val="#ppt_y"/>
                                          </p:val>
                                        </p:tav>
                                        <p:tav tm="100000">
                                          <p:val>
                                            <p:strVal val="#ppt_y"/>
                                          </p:val>
                                        </p:tav>
                                      </p:tavLst>
                                    </p:anim>
                                    <p:anim calcmode="lin" valueType="num">
                                      <p:cBhvr>
                                        <p:cTn id="17" dur="250" fill="hold"/>
                                        <p:tgtEl>
                                          <p:spTgt spid="6"/>
                                        </p:tgtEl>
                                        <p:attrNameLst>
                                          <p:attrName>ppt_w</p:attrName>
                                        </p:attrNameLst>
                                      </p:cBhvr>
                                      <p:tavLst>
                                        <p:tav tm="0">
                                          <p:val>
                                            <p:fltVal val="0"/>
                                          </p:val>
                                        </p:tav>
                                        <p:tav tm="100000">
                                          <p:val>
                                            <p:strVal val="#ppt_w"/>
                                          </p:val>
                                        </p:tav>
                                      </p:tavLst>
                                    </p:anim>
                                    <p:anim calcmode="lin" valueType="num">
                                      <p:cBhvr>
                                        <p:cTn id="18" dur="250" fill="hold"/>
                                        <p:tgtEl>
                                          <p:spTgt spid="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lleen titel - ZONDER ANIMATIE">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300BB1BE-241D-4EDA-8413-48C3EE0BF8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30" y="0"/>
            <a:ext cx="12189270" cy="6858000"/>
          </a:xfrm>
          <a:prstGeom prst="rect">
            <a:avLst/>
          </a:prstGeom>
        </p:spPr>
      </p:pic>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Only title #2</a:t>
            </a:r>
          </a:p>
        </p:txBody>
      </p:sp>
      <p:sp>
        <p:nvSpPr>
          <p:cNvPr id="7" name="PIJL">
            <a:extLst>
              <a:ext uri="{FF2B5EF4-FFF2-40B4-BE49-F238E27FC236}">
                <a16:creationId xmlns:a16="http://schemas.microsoft.com/office/drawing/2014/main" id="{B5CC1DD7-D649-4214-B209-94E81DCEF4FE}"/>
              </a:ext>
            </a:extLst>
          </p:cNvPr>
          <p:cNvSpPr/>
          <p:nvPr userDrawn="1"/>
        </p:nvSpPr>
        <p:spPr>
          <a:xfrm>
            <a:off x="0" y="6278876"/>
            <a:ext cx="633831" cy="147829"/>
          </a:xfrm>
          <a:custGeom>
            <a:avLst/>
            <a:gdLst>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415874 w 633831"/>
              <a:gd name="connsiteY11" fmla="*/ 147829 h 147829"/>
              <a:gd name="connsiteX12" fmla="*/ 345094 w 633831"/>
              <a:gd name="connsiteY12" fmla="*/ 147829 h 147829"/>
              <a:gd name="connsiteX13" fmla="*/ 319801 w 633831"/>
              <a:gd name="connsiteY13" fmla="*/ 147829 h 147829"/>
              <a:gd name="connsiteX14" fmla="*/ 261041 w 633831"/>
              <a:gd name="connsiteY14" fmla="*/ 147829 h 147829"/>
              <a:gd name="connsiteX15" fmla="*/ 21430 w 633831"/>
              <a:gd name="connsiteY15" fmla="*/ 147829 h 147829"/>
              <a:gd name="connsiteX16" fmla="*/ 0 w 633831"/>
              <a:gd name="connsiteY16" fmla="*/ 147829 h 14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831" h="147829">
                <a:moveTo>
                  <a:pt x="0" y="0"/>
                </a:moveTo>
                <a:lnTo>
                  <a:pt x="21430" y="0"/>
                </a:lnTo>
                <a:lnTo>
                  <a:pt x="261041" y="0"/>
                </a:lnTo>
                <a:lnTo>
                  <a:pt x="319801" y="0"/>
                </a:lnTo>
                <a:lnTo>
                  <a:pt x="345094" y="0"/>
                </a:lnTo>
                <a:lnTo>
                  <a:pt x="415874" y="0"/>
                </a:lnTo>
                <a:lnTo>
                  <a:pt x="510403" y="0"/>
                </a:lnTo>
                <a:lnTo>
                  <a:pt x="604824" y="0"/>
                </a:lnTo>
                <a:cubicBezTo>
                  <a:pt x="614746" y="20344"/>
                  <a:pt x="634057" y="57734"/>
                  <a:pt x="633829" y="73889"/>
                </a:cubicBezTo>
                <a:cubicBezTo>
                  <a:pt x="633601" y="90044"/>
                  <a:pt x="621235" y="116025"/>
                  <a:pt x="603457" y="147199"/>
                </a:cubicBezTo>
                <a:lnTo>
                  <a:pt x="415874" y="147616"/>
                </a:lnTo>
                <a:lnTo>
                  <a:pt x="415874" y="147829"/>
                </a:lnTo>
                <a:lnTo>
                  <a:pt x="345094" y="147829"/>
                </a:lnTo>
                <a:lnTo>
                  <a:pt x="319801" y="147829"/>
                </a:lnTo>
                <a:lnTo>
                  <a:pt x="261041" y="147829"/>
                </a:lnTo>
                <a:lnTo>
                  <a:pt x="21430" y="147829"/>
                </a:lnTo>
                <a:lnTo>
                  <a:pt x="0" y="14782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cxnSp>
        <p:nvCxnSpPr>
          <p:cNvPr id="9" name="LIJN">
            <a:extLst>
              <a:ext uri="{FF2B5EF4-FFF2-40B4-BE49-F238E27FC236}">
                <a16:creationId xmlns:a16="http://schemas.microsoft.com/office/drawing/2014/main" id="{3323C885-6848-45DD-8FDF-7693C74E62E9}"/>
              </a:ext>
            </a:extLst>
          </p:cNvPr>
          <p:cNvCxnSpPr>
            <a:cxnSpLocks/>
          </p:cNvCxnSpPr>
          <p:nvPr userDrawn="1"/>
        </p:nvCxnSpPr>
        <p:spPr>
          <a:xfrm>
            <a:off x="602232" y="1304529"/>
            <a:ext cx="0" cy="4981971"/>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0" name="HAAK">
            <a:extLst>
              <a:ext uri="{FF2B5EF4-FFF2-40B4-BE49-F238E27FC236}">
                <a16:creationId xmlns:a16="http://schemas.microsoft.com/office/drawing/2014/main" id="{6CBA9AF4-DD1A-4289-8876-704D69C539A2}"/>
              </a:ext>
            </a:extLst>
          </p:cNvPr>
          <p:cNvSpPr>
            <a:spLocks/>
          </p:cNvSpPr>
          <p:nvPr userDrawn="1"/>
        </p:nvSpPr>
        <p:spPr bwMode="auto">
          <a:xfrm>
            <a:off x="587030" y="1056880"/>
            <a:ext cx="69016" cy="202404"/>
          </a:xfrm>
          <a:custGeom>
            <a:avLst/>
            <a:gdLst>
              <a:gd name="T0" fmla="*/ 3 w 17"/>
              <a:gd name="T1" fmla="*/ 10 h 50"/>
              <a:gd name="T2" fmla="*/ 6 w 17"/>
              <a:gd name="T3" fmla="*/ 0 h 50"/>
              <a:gd name="T4" fmla="*/ 16 w 17"/>
              <a:gd name="T5" fmla="*/ 25 h 50"/>
              <a:gd name="T6" fmla="*/ 7 w 17"/>
              <a:gd name="T7" fmla="*/ 50 h 50"/>
              <a:gd name="T8" fmla="*/ 4 w 17"/>
              <a:gd name="T9" fmla="*/ 40 h 50"/>
              <a:gd name="T10" fmla="*/ 8 w 17"/>
              <a:gd name="T11" fmla="*/ 25 h 50"/>
              <a:gd name="T12" fmla="*/ 3 w 17"/>
              <a:gd name="T13" fmla="*/ 10 h 50"/>
            </a:gdLst>
            <a:ahLst/>
            <a:cxnLst>
              <a:cxn ang="0">
                <a:pos x="T0" y="T1"/>
              </a:cxn>
              <a:cxn ang="0">
                <a:pos x="T2" y="T3"/>
              </a:cxn>
              <a:cxn ang="0">
                <a:pos x="T4" y="T5"/>
              </a:cxn>
              <a:cxn ang="0">
                <a:pos x="T6" y="T7"/>
              </a:cxn>
              <a:cxn ang="0">
                <a:pos x="T8" y="T9"/>
              </a:cxn>
              <a:cxn ang="0">
                <a:pos x="T10" y="T11"/>
              </a:cxn>
              <a:cxn ang="0">
                <a:pos x="T12" y="T13"/>
              </a:cxn>
            </a:cxnLst>
            <a:rect l="0" t="0" r="r" b="b"/>
            <a:pathLst>
              <a:path w="17" h="50">
                <a:moveTo>
                  <a:pt x="3" y="10"/>
                </a:moveTo>
                <a:cubicBezTo>
                  <a:pt x="0" y="1"/>
                  <a:pt x="6" y="0"/>
                  <a:pt x="6" y="0"/>
                </a:cubicBezTo>
                <a:cubicBezTo>
                  <a:pt x="6" y="0"/>
                  <a:pt x="16" y="19"/>
                  <a:pt x="16" y="25"/>
                </a:cubicBezTo>
                <a:cubicBezTo>
                  <a:pt x="17" y="31"/>
                  <a:pt x="7" y="50"/>
                  <a:pt x="7" y="50"/>
                </a:cubicBezTo>
                <a:cubicBezTo>
                  <a:pt x="7" y="50"/>
                  <a:pt x="1" y="48"/>
                  <a:pt x="4" y="40"/>
                </a:cubicBezTo>
                <a:cubicBezTo>
                  <a:pt x="6" y="32"/>
                  <a:pt x="8" y="25"/>
                  <a:pt x="8" y="25"/>
                </a:cubicBezTo>
                <a:lnTo>
                  <a:pt x="3" y="1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nl-NL"/>
          </a:p>
        </p:txBody>
      </p:sp>
      <p:sp>
        <p:nvSpPr>
          <p:cNvPr id="3" name="Titel 2">
            <a:extLst>
              <a:ext uri="{FF2B5EF4-FFF2-40B4-BE49-F238E27FC236}">
                <a16:creationId xmlns:a16="http://schemas.microsoft.com/office/drawing/2014/main" id="{838709B7-0388-4A0D-BC53-627E99C2BB0B}"/>
              </a:ext>
            </a:extLst>
          </p:cNvPr>
          <p:cNvSpPr>
            <a:spLocks noGrp="1"/>
          </p:cNvSpPr>
          <p:nvPr>
            <p:ph type="title" hasCustomPrompt="1"/>
          </p:nvPr>
        </p:nvSpPr>
        <p:spPr/>
        <p:txBody>
          <a:bodyPr/>
          <a:lstStyle/>
          <a:p>
            <a:r>
              <a:rPr lang="nl-NL" dirty="0"/>
              <a:t>Plaats hier je titel</a:t>
            </a:r>
          </a:p>
        </p:txBody>
      </p:sp>
    </p:spTree>
    <p:extLst>
      <p:ext uri="{BB962C8B-B14F-4D97-AF65-F5344CB8AC3E}">
        <p14:creationId xmlns:p14="http://schemas.microsoft.com/office/powerpoint/2010/main" val="21363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lleen titel - ZONDER ANIMATIE">
    <p:spTree>
      <p:nvGrpSpPr>
        <p:cNvPr id="1" name=""/>
        <p:cNvGrpSpPr/>
        <p:nvPr/>
      </p:nvGrpSpPr>
      <p:grpSpPr>
        <a:xfrm>
          <a:off x="0" y="0"/>
          <a:ext cx="0" cy="0"/>
          <a:chOff x="0" y="0"/>
          <a:chExt cx="0" cy="0"/>
        </a:xfrm>
      </p:grpSpPr>
      <p:pic>
        <p:nvPicPr>
          <p:cNvPr id="11" name="Afbeelding 10">
            <a:extLst>
              <a:ext uri="{FF2B5EF4-FFF2-40B4-BE49-F238E27FC236}">
                <a16:creationId xmlns:a16="http://schemas.microsoft.com/office/drawing/2014/main" id="{C175BE7F-8ACC-4DBC-82A7-530F5A74F54E}"/>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406" y="-4186"/>
            <a:ext cx="12198626" cy="6862185"/>
          </a:xfrm>
          <a:prstGeom prst="rect">
            <a:avLst/>
          </a:prstGeom>
        </p:spPr>
      </p:pic>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Only title #2</a:t>
            </a:r>
          </a:p>
        </p:txBody>
      </p:sp>
      <p:sp>
        <p:nvSpPr>
          <p:cNvPr id="7" name="PIJL">
            <a:extLst>
              <a:ext uri="{FF2B5EF4-FFF2-40B4-BE49-F238E27FC236}">
                <a16:creationId xmlns:a16="http://schemas.microsoft.com/office/drawing/2014/main" id="{B5CC1DD7-D649-4214-B209-94E81DCEF4FE}"/>
              </a:ext>
            </a:extLst>
          </p:cNvPr>
          <p:cNvSpPr/>
          <p:nvPr userDrawn="1"/>
        </p:nvSpPr>
        <p:spPr>
          <a:xfrm>
            <a:off x="0" y="6278876"/>
            <a:ext cx="633831" cy="147829"/>
          </a:xfrm>
          <a:custGeom>
            <a:avLst/>
            <a:gdLst>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415874 w 633831"/>
              <a:gd name="connsiteY11" fmla="*/ 147829 h 147829"/>
              <a:gd name="connsiteX12" fmla="*/ 345094 w 633831"/>
              <a:gd name="connsiteY12" fmla="*/ 147829 h 147829"/>
              <a:gd name="connsiteX13" fmla="*/ 319801 w 633831"/>
              <a:gd name="connsiteY13" fmla="*/ 147829 h 147829"/>
              <a:gd name="connsiteX14" fmla="*/ 261041 w 633831"/>
              <a:gd name="connsiteY14" fmla="*/ 147829 h 147829"/>
              <a:gd name="connsiteX15" fmla="*/ 21430 w 633831"/>
              <a:gd name="connsiteY15" fmla="*/ 147829 h 147829"/>
              <a:gd name="connsiteX16" fmla="*/ 0 w 633831"/>
              <a:gd name="connsiteY16" fmla="*/ 147829 h 14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831" h="147829">
                <a:moveTo>
                  <a:pt x="0" y="0"/>
                </a:moveTo>
                <a:lnTo>
                  <a:pt x="21430" y="0"/>
                </a:lnTo>
                <a:lnTo>
                  <a:pt x="261041" y="0"/>
                </a:lnTo>
                <a:lnTo>
                  <a:pt x="319801" y="0"/>
                </a:lnTo>
                <a:lnTo>
                  <a:pt x="345094" y="0"/>
                </a:lnTo>
                <a:lnTo>
                  <a:pt x="415874" y="0"/>
                </a:lnTo>
                <a:lnTo>
                  <a:pt x="510403" y="0"/>
                </a:lnTo>
                <a:lnTo>
                  <a:pt x="604824" y="0"/>
                </a:lnTo>
                <a:cubicBezTo>
                  <a:pt x="614746" y="20344"/>
                  <a:pt x="634057" y="57734"/>
                  <a:pt x="633829" y="73889"/>
                </a:cubicBezTo>
                <a:cubicBezTo>
                  <a:pt x="633601" y="90044"/>
                  <a:pt x="621235" y="116025"/>
                  <a:pt x="603457" y="147199"/>
                </a:cubicBezTo>
                <a:lnTo>
                  <a:pt x="415874" y="147616"/>
                </a:lnTo>
                <a:lnTo>
                  <a:pt x="415874" y="147829"/>
                </a:lnTo>
                <a:lnTo>
                  <a:pt x="345094" y="147829"/>
                </a:lnTo>
                <a:lnTo>
                  <a:pt x="319801" y="147829"/>
                </a:lnTo>
                <a:lnTo>
                  <a:pt x="261041" y="147829"/>
                </a:lnTo>
                <a:lnTo>
                  <a:pt x="21430" y="147829"/>
                </a:lnTo>
                <a:lnTo>
                  <a:pt x="0" y="14782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cxnSp>
        <p:nvCxnSpPr>
          <p:cNvPr id="9" name="LIJN">
            <a:extLst>
              <a:ext uri="{FF2B5EF4-FFF2-40B4-BE49-F238E27FC236}">
                <a16:creationId xmlns:a16="http://schemas.microsoft.com/office/drawing/2014/main" id="{3323C885-6848-45DD-8FDF-7693C74E62E9}"/>
              </a:ext>
            </a:extLst>
          </p:cNvPr>
          <p:cNvCxnSpPr>
            <a:cxnSpLocks/>
          </p:cNvCxnSpPr>
          <p:nvPr userDrawn="1"/>
        </p:nvCxnSpPr>
        <p:spPr>
          <a:xfrm>
            <a:off x="602232" y="1304529"/>
            <a:ext cx="0" cy="4981971"/>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0" name="HAAK">
            <a:extLst>
              <a:ext uri="{FF2B5EF4-FFF2-40B4-BE49-F238E27FC236}">
                <a16:creationId xmlns:a16="http://schemas.microsoft.com/office/drawing/2014/main" id="{6CBA9AF4-DD1A-4289-8876-704D69C539A2}"/>
              </a:ext>
            </a:extLst>
          </p:cNvPr>
          <p:cNvSpPr>
            <a:spLocks/>
          </p:cNvSpPr>
          <p:nvPr userDrawn="1"/>
        </p:nvSpPr>
        <p:spPr bwMode="auto">
          <a:xfrm>
            <a:off x="587030" y="1056880"/>
            <a:ext cx="69016" cy="202404"/>
          </a:xfrm>
          <a:custGeom>
            <a:avLst/>
            <a:gdLst>
              <a:gd name="T0" fmla="*/ 3 w 17"/>
              <a:gd name="T1" fmla="*/ 10 h 50"/>
              <a:gd name="T2" fmla="*/ 6 w 17"/>
              <a:gd name="T3" fmla="*/ 0 h 50"/>
              <a:gd name="T4" fmla="*/ 16 w 17"/>
              <a:gd name="T5" fmla="*/ 25 h 50"/>
              <a:gd name="T6" fmla="*/ 7 w 17"/>
              <a:gd name="T7" fmla="*/ 50 h 50"/>
              <a:gd name="T8" fmla="*/ 4 w 17"/>
              <a:gd name="T9" fmla="*/ 40 h 50"/>
              <a:gd name="T10" fmla="*/ 8 w 17"/>
              <a:gd name="T11" fmla="*/ 25 h 50"/>
              <a:gd name="T12" fmla="*/ 3 w 17"/>
              <a:gd name="T13" fmla="*/ 10 h 50"/>
            </a:gdLst>
            <a:ahLst/>
            <a:cxnLst>
              <a:cxn ang="0">
                <a:pos x="T0" y="T1"/>
              </a:cxn>
              <a:cxn ang="0">
                <a:pos x="T2" y="T3"/>
              </a:cxn>
              <a:cxn ang="0">
                <a:pos x="T4" y="T5"/>
              </a:cxn>
              <a:cxn ang="0">
                <a:pos x="T6" y="T7"/>
              </a:cxn>
              <a:cxn ang="0">
                <a:pos x="T8" y="T9"/>
              </a:cxn>
              <a:cxn ang="0">
                <a:pos x="T10" y="T11"/>
              </a:cxn>
              <a:cxn ang="0">
                <a:pos x="T12" y="T13"/>
              </a:cxn>
            </a:cxnLst>
            <a:rect l="0" t="0" r="r" b="b"/>
            <a:pathLst>
              <a:path w="17" h="50">
                <a:moveTo>
                  <a:pt x="3" y="10"/>
                </a:moveTo>
                <a:cubicBezTo>
                  <a:pt x="0" y="1"/>
                  <a:pt x="6" y="0"/>
                  <a:pt x="6" y="0"/>
                </a:cubicBezTo>
                <a:cubicBezTo>
                  <a:pt x="6" y="0"/>
                  <a:pt x="16" y="19"/>
                  <a:pt x="16" y="25"/>
                </a:cubicBezTo>
                <a:cubicBezTo>
                  <a:pt x="17" y="31"/>
                  <a:pt x="7" y="50"/>
                  <a:pt x="7" y="50"/>
                </a:cubicBezTo>
                <a:cubicBezTo>
                  <a:pt x="7" y="50"/>
                  <a:pt x="1" y="48"/>
                  <a:pt x="4" y="40"/>
                </a:cubicBezTo>
                <a:cubicBezTo>
                  <a:pt x="6" y="32"/>
                  <a:pt x="8" y="25"/>
                  <a:pt x="8" y="25"/>
                </a:cubicBezTo>
                <a:lnTo>
                  <a:pt x="3" y="1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nl-NL"/>
          </a:p>
        </p:txBody>
      </p:sp>
      <p:sp>
        <p:nvSpPr>
          <p:cNvPr id="12" name="Tijdelijke aanduiding voor tekst 25">
            <a:extLst>
              <a:ext uri="{FF2B5EF4-FFF2-40B4-BE49-F238E27FC236}">
                <a16:creationId xmlns:a16="http://schemas.microsoft.com/office/drawing/2014/main" id="{3BB6D000-AD0B-4D7D-953F-67244B9F1D94}"/>
              </a:ext>
            </a:extLst>
          </p:cNvPr>
          <p:cNvSpPr txBox="1">
            <a:spLocks/>
          </p:cNvSpPr>
          <p:nvPr userDrawn="1"/>
        </p:nvSpPr>
        <p:spPr>
          <a:xfrm>
            <a:off x="5616312" y="389469"/>
            <a:ext cx="959375" cy="171317"/>
          </a:xfrm>
          <a:prstGeom prst="rect">
            <a:avLst/>
          </a:prstGeom>
          <a:blipFill>
            <a:blip r:embed="rId3" cstate="hqprint">
              <a:extLst>
                <a:ext uri="{28A0092B-C50C-407E-A947-70E740481C1C}">
                  <a14:useLocalDpi xmlns:a14="http://schemas.microsoft.com/office/drawing/2010/main"/>
                </a:ext>
              </a:extLst>
            </a:blip>
            <a:stretch>
              <a:fillRect/>
            </a:stretch>
          </a:blipFill>
          <a:ln w="12700">
            <a:noFill/>
          </a:ln>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100" kern="1200">
                <a:solidFill>
                  <a:schemeClr val="bg1"/>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4"/>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5"/>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4"/>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en-GB"/>
              <a:t> </a:t>
            </a:r>
          </a:p>
        </p:txBody>
      </p:sp>
      <p:sp>
        <p:nvSpPr>
          <p:cNvPr id="3" name="Titel 2">
            <a:extLst>
              <a:ext uri="{FF2B5EF4-FFF2-40B4-BE49-F238E27FC236}">
                <a16:creationId xmlns:a16="http://schemas.microsoft.com/office/drawing/2014/main" id="{33DB9F8D-56AC-41D7-B89A-9725851DD1BB}"/>
              </a:ext>
            </a:extLst>
          </p:cNvPr>
          <p:cNvSpPr>
            <a:spLocks noGrp="1"/>
          </p:cNvSpPr>
          <p:nvPr>
            <p:ph type="title" hasCustomPrompt="1"/>
          </p:nvPr>
        </p:nvSpPr>
        <p:spPr/>
        <p:txBody>
          <a:bodyPr/>
          <a:lstStyle/>
          <a:p>
            <a:r>
              <a:rPr lang="nl-NL" dirty="0"/>
              <a:t>Plaats hier je titel</a:t>
            </a:r>
          </a:p>
        </p:txBody>
      </p:sp>
    </p:spTree>
    <p:extLst>
      <p:ext uri="{BB962C8B-B14F-4D97-AF65-F5344CB8AC3E}">
        <p14:creationId xmlns:p14="http://schemas.microsoft.com/office/powerpoint/2010/main" val="4069641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Alleen titel - ZONDER ANIMATIE">
    <p:spTree>
      <p:nvGrpSpPr>
        <p:cNvPr id="1" name=""/>
        <p:cNvGrpSpPr/>
        <p:nvPr/>
      </p:nvGrpSpPr>
      <p:grpSpPr>
        <a:xfrm>
          <a:off x="0" y="0"/>
          <a:ext cx="0" cy="0"/>
          <a:chOff x="0" y="0"/>
          <a:chExt cx="0" cy="0"/>
        </a:xfrm>
      </p:grpSpPr>
      <p:pic>
        <p:nvPicPr>
          <p:cNvPr id="13" name="Afbeelding 12">
            <a:extLst>
              <a:ext uri="{FF2B5EF4-FFF2-40B4-BE49-F238E27FC236}">
                <a16:creationId xmlns:a16="http://schemas.microsoft.com/office/drawing/2014/main" id="{4A7E208D-8DAB-477F-B70B-B1A138E86104}"/>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406" y="-4186"/>
            <a:ext cx="12198626" cy="6862185"/>
          </a:xfrm>
          <a:prstGeom prst="rect">
            <a:avLst/>
          </a:prstGeom>
        </p:spPr>
      </p:pic>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Only title #2</a:t>
            </a:r>
          </a:p>
        </p:txBody>
      </p:sp>
      <p:sp>
        <p:nvSpPr>
          <p:cNvPr id="7" name="PIJL">
            <a:extLst>
              <a:ext uri="{FF2B5EF4-FFF2-40B4-BE49-F238E27FC236}">
                <a16:creationId xmlns:a16="http://schemas.microsoft.com/office/drawing/2014/main" id="{B5CC1DD7-D649-4214-B209-94E81DCEF4FE}"/>
              </a:ext>
            </a:extLst>
          </p:cNvPr>
          <p:cNvSpPr/>
          <p:nvPr userDrawn="1"/>
        </p:nvSpPr>
        <p:spPr>
          <a:xfrm>
            <a:off x="0" y="6278876"/>
            <a:ext cx="633831" cy="147829"/>
          </a:xfrm>
          <a:custGeom>
            <a:avLst/>
            <a:gdLst>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415874 w 633831"/>
              <a:gd name="connsiteY11" fmla="*/ 147829 h 147829"/>
              <a:gd name="connsiteX12" fmla="*/ 345094 w 633831"/>
              <a:gd name="connsiteY12" fmla="*/ 147829 h 147829"/>
              <a:gd name="connsiteX13" fmla="*/ 319801 w 633831"/>
              <a:gd name="connsiteY13" fmla="*/ 147829 h 147829"/>
              <a:gd name="connsiteX14" fmla="*/ 261041 w 633831"/>
              <a:gd name="connsiteY14" fmla="*/ 147829 h 147829"/>
              <a:gd name="connsiteX15" fmla="*/ 21430 w 633831"/>
              <a:gd name="connsiteY15" fmla="*/ 147829 h 147829"/>
              <a:gd name="connsiteX16" fmla="*/ 0 w 633831"/>
              <a:gd name="connsiteY16" fmla="*/ 147829 h 14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831" h="147829">
                <a:moveTo>
                  <a:pt x="0" y="0"/>
                </a:moveTo>
                <a:lnTo>
                  <a:pt x="21430" y="0"/>
                </a:lnTo>
                <a:lnTo>
                  <a:pt x="261041" y="0"/>
                </a:lnTo>
                <a:lnTo>
                  <a:pt x="319801" y="0"/>
                </a:lnTo>
                <a:lnTo>
                  <a:pt x="345094" y="0"/>
                </a:lnTo>
                <a:lnTo>
                  <a:pt x="415874" y="0"/>
                </a:lnTo>
                <a:lnTo>
                  <a:pt x="510403" y="0"/>
                </a:lnTo>
                <a:lnTo>
                  <a:pt x="604824" y="0"/>
                </a:lnTo>
                <a:cubicBezTo>
                  <a:pt x="614746" y="20344"/>
                  <a:pt x="634057" y="57734"/>
                  <a:pt x="633829" y="73889"/>
                </a:cubicBezTo>
                <a:cubicBezTo>
                  <a:pt x="633601" y="90044"/>
                  <a:pt x="621235" y="116025"/>
                  <a:pt x="603457" y="147199"/>
                </a:cubicBezTo>
                <a:lnTo>
                  <a:pt x="415874" y="147616"/>
                </a:lnTo>
                <a:lnTo>
                  <a:pt x="415874" y="147829"/>
                </a:lnTo>
                <a:lnTo>
                  <a:pt x="345094" y="147829"/>
                </a:lnTo>
                <a:lnTo>
                  <a:pt x="319801" y="147829"/>
                </a:lnTo>
                <a:lnTo>
                  <a:pt x="261041" y="147829"/>
                </a:lnTo>
                <a:lnTo>
                  <a:pt x="21430" y="147829"/>
                </a:lnTo>
                <a:lnTo>
                  <a:pt x="0" y="14782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cxnSp>
        <p:nvCxnSpPr>
          <p:cNvPr id="9" name="LIJN">
            <a:extLst>
              <a:ext uri="{FF2B5EF4-FFF2-40B4-BE49-F238E27FC236}">
                <a16:creationId xmlns:a16="http://schemas.microsoft.com/office/drawing/2014/main" id="{3323C885-6848-45DD-8FDF-7693C74E62E9}"/>
              </a:ext>
            </a:extLst>
          </p:cNvPr>
          <p:cNvCxnSpPr>
            <a:cxnSpLocks/>
          </p:cNvCxnSpPr>
          <p:nvPr userDrawn="1"/>
        </p:nvCxnSpPr>
        <p:spPr>
          <a:xfrm>
            <a:off x="602232" y="1304529"/>
            <a:ext cx="0" cy="4981971"/>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0" name="HAAK">
            <a:extLst>
              <a:ext uri="{FF2B5EF4-FFF2-40B4-BE49-F238E27FC236}">
                <a16:creationId xmlns:a16="http://schemas.microsoft.com/office/drawing/2014/main" id="{6CBA9AF4-DD1A-4289-8876-704D69C539A2}"/>
              </a:ext>
            </a:extLst>
          </p:cNvPr>
          <p:cNvSpPr>
            <a:spLocks/>
          </p:cNvSpPr>
          <p:nvPr userDrawn="1"/>
        </p:nvSpPr>
        <p:spPr bwMode="auto">
          <a:xfrm>
            <a:off x="587030" y="1056880"/>
            <a:ext cx="69016" cy="202404"/>
          </a:xfrm>
          <a:custGeom>
            <a:avLst/>
            <a:gdLst>
              <a:gd name="T0" fmla="*/ 3 w 17"/>
              <a:gd name="T1" fmla="*/ 10 h 50"/>
              <a:gd name="T2" fmla="*/ 6 w 17"/>
              <a:gd name="T3" fmla="*/ 0 h 50"/>
              <a:gd name="T4" fmla="*/ 16 w 17"/>
              <a:gd name="T5" fmla="*/ 25 h 50"/>
              <a:gd name="T6" fmla="*/ 7 w 17"/>
              <a:gd name="T7" fmla="*/ 50 h 50"/>
              <a:gd name="T8" fmla="*/ 4 w 17"/>
              <a:gd name="T9" fmla="*/ 40 h 50"/>
              <a:gd name="T10" fmla="*/ 8 w 17"/>
              <a:gd name="T11" fmla="*/ 25 h 50"/>
              <a:gd name="T12" fmla="*/ 3 w 17"/>
              <a:gd name="T13" fmla="*/ 10 h 50"/>
            </a:gdLst>
            <a:ahLst/>
            <a:cxnLst>
              <a:cxn ang="0">
                <a:pos x="T0" y="T1"/>
              </a:cxn>
              <a:cxn ang="0">
                <a:pos x="T2" y="T3"/>
              </a:cxn>
              <a:cxn ang="0">
                <a:pos x="T4" y="T5"/>
              </a:cxn>
              <a:cxn ang="0">
                <a:pos x="T6" y="T7"/>
              </a:cxn>
              <a:cxn ang="0">
                <a:pos x="T8" y="T9"/>
              </a:cxn>
              <a:cxn ang="0">
                <a:pos x="T10" y="T11"/>
              </a:cxn>
              <a:cxn ang="0">
                <a:pos x="T12" y="T13"/>
              </a:cxn>
            </a:cxnLst>
            <a:rect l="0" t="0" r="r" b="b"/>
            <a:pathLst>
              <a:path w="17" h="50">
                <a:moveTo>
                  <a:pt x="3" y="10"/>
                </a:moveTo>
                <a:cubicBezTo>
                  <a:pt x="0" y="1"/>
                  <a:pt x="6" y="0"/>
                  <a:pt x="6" y="0"/>
                </a:cubicBezTo>
                <a:cubicBezTo>
                  <a:pt x="6" y="0"/>
                  <a:pt x="16" y="19"/>
                  <a:pt x="16" y="25"/>
                </a:cubicBezTo>
                <a:cubicBezTo>
                  <a:pt x="17" y="31"/>
                  <a:pt x="7" y="50"/>
                  <a:pt x="7" y="50"/>
                </a:cubicBezTo>
                <a:cubicBezTo>
                  <a:pt x="7" y="50"/>
                  <a:pt x="1" y="48"/>
                  <a:pt x="4" y="40"/>
                </a:cubicBezTo>
                <a:cubicBezTo>
                  <a:pt x="6" y="32"/>
                  <a:pt x="8" y="25"/>
                  <a:pt x="8" y="25"/>
                </a:cubicBezTo>
                <a:lnTo>
                  <a:pt x="3" y="1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nl-NL"/>
          </a:p>
        </p:txBody>
      </p:sp>
      <p:sp>
        <p:nvSpPr>
          <p:cNvPr id="11" name="Tijdelijke aanduiding voor verticale tekst 2">
            <a:extLst>
              <a:ext uri="{FF2B5EF4-FFF2-40B4-BE49-F238E27FC236}">
                <a16:creationId xmlns:a16="http://schemas.microsoft.com/office/drawing/2014/main" id="{0A918269-25BB-4CEA-AEB3-CA2A3F96781D}"/>
              </a:ext>
            </a:extLst>
          </p:cNvPr>
          <p:cNvSpPr>
            <a:spLocks noGrp="1"/>
          </p:cNvSpPr>
          <p:nvPr>
            <p:ph type="body" orient="vert" idx="1" hasCustomPrompt="1"/>
          </p:nvPr>
        </p:nvSpPr>
        <p:spPr>
          <a:xfrm>
            <a:off x="777233" y="1478101"/>
            <a:ext cx="10827107" cy="4229277"/>
          </a:xfrm>
        </p:spPr>
        <p:txBody>
          <a:bodyPr vert="horz" lIns="0" tIns="0" rIns="0" bIns="0"/>
          <a:lstStyle>
            <a:lvl1pPr marL="217488" indent="-217488">
              <a:buClr>
                <a:schemeClr val="bg1"/>
              </a:buClr>
              <a:buSzPct val="100000"/>
              <a:buFont typeface="Segoe UI Light" panose="020B0502040204020203" pitchFamily="34" charset="0"/>
              <a:buChar char="›"/>
              <a:defRPr>
                <a:solidFill>
                  <a:schemeClr val="bg1"/>
                </a:solidFill>
              </a:defRPr>
            </a:lvl1pPr>
            <a:lvl2pPr marL="471488" indent="-254000">
              <a:buClr>
                <a:schemeClr val="bg1"/>
              </a:buClr>
              <a:buFont typeface="Segoe UI Light" panose="020B0502040204020203" pitchFamily="34" charset="0"/>
              <a:buChar char="›"/>
              <a:defRPr>
                <a:solidFill>
                  <a:schemeClr val="bg1"/>
                </a:solidFill>
              </a:defRPr>
            </a:lvl2pPr>
            <a:lvl3pPr>
              <a:defRPr>
                <a:solidFill>
                  <a:schemeClr val="bg1"/>
                </a:solidFill>
              </a:defRPr>
            </a:lvl3pPr>
            <a:lvl4pPr>
              <a:defRPr/>
            </a:lvl4pPr>
            <a:lvl5pPr>
              <a:buClr>
                <a:schemeClr val="bg1"/>
              </a:buClr>
              <a:defRPr>
                <a:solidFill>
                  <a:schemeClr val="bg1"/>
                </a:solidFill>
              </a:defRPr>
            </a:lvl5pPr>
            <a:lvl6pPr marL="217488" indent="-217488">
              <a:buClr>
                <a:schemeClr val="bg1"/>
              </a:buClr>
              <a:buFont typeface="Segoe UI Light" panose="020B0502040204020203" pitchFamily="34" charset="0"/>
              <a:buChar char="›"/>
              <a:defRPr>
                <a:solidFill>
                  <a:schemeClr val="bg1"/>
                </a:solidFill>
              </a:defRPr>
            </a:lvl6pPr>
            <a:lvl7pPr marL="471488" indent="-254000">
              <a:buClr>
                <a:schemeClr val="bg1"/>
              </a:buClr>
              <a:buFont typeface="Segoe UI Light" panose="020B0502040204020203" pitchFamily="34" charset="0"/>
              <a:buChar char="›"/>
              <a:defRPr>
                <a:solidFill>
                  <a:schemeClr val="bg1"/>
                </a:solidFill>
              </a:defRPr>
            </a:lvl7pPr>
            <a:lvl8pPr>
              <a:defRPr>
                <a:solidFill>
                  <a:schemeClr val="bg1"/>
                </a:solidFill>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a:t>
            </a:r>
            <a:endParaRPr lang="nl-NL" dirty="0"/>
          </a:p>
          <a:p>
            <a:pPr lvl="5"/>
            <a:r>
              <a:rPr lang="nl-NL" dirty="0"/>
              <a:t>Bullet</a:t>
            </a:r>
          </a:p>
          <a:p>
            <a:pPr lvl="6"/>
            <a:r>
              <a:rPr lang="nl-NL" dirty="0"/>
              <a:t>Sub-</a:t>
            </a:r>
            <a:r>
              <a:rPr lang="nl-NL" dirty="0" err="1"/>
              <a:t>bullet</a:t>
            </a:r>
            <a:endParaRPr lang="nl-NL" dirty="0"/>
          </a:p>
          <a:p>
            <a:pPr lvl="7"/>
            <a:r>
              <a:rPr lang="nl-NL" dirty="0"/>
              <a:t>Leestekst</a:t>
            </a:r>
          </a:p>
          <a:p>
            <a:pPr lvl="8"/>
            <a:r>
              <a:rPr lang="nl-NL" dirty="0"/>
              <a:t>Subtitel</a:t>
            </a:r>
          </a:p>
        </p:txBody>
      </p:sp>
      <p:sp>
        <p:nvSpPr>
          <p:cNvPr id="12" name="Tijdelijke aanduiding voor tekst 25">
            <a:extLst>
              <a:ext uri="{FF2B5EF4-FFF2-40B4-BE49-F238E27FC236}">
                <a16:creationId xmlns:a16="http://schemas.microsoft.com/office/drawing/2014/main" id="{3BB6D000-AD0B-4D7D-953F-67244B9F1D94}"/>
              </a:ext>
            </a:extLst>
          </p:cNvPr>
          <p:cNvSpPr txBox="1">
            <a:spLocks/>
          </p:cNvSpPr>
          <p:nvPr userDrawn="1"/>
        </p:nvSpPr>
        <p:spPr>
          <a:xfrm>
            <a:off x="5616312" y="389469"/>
            <a:ext cx="959375" cy="171317"/>
          </a:xfrm>
          <a:prstGeom prst="rect">
            <a:avLst/>
          </a:prstGeom>
          <a:blipFill>
            <a:blip r:embed="rId3" cstate="hqprint">
              <a:extLst>
                <a:ext uri="{28A0092B-C50C-407E-A947-70E740481C1C}">
                  <a14:useLocalDpi xmlns:a14="http://schemas.microsoft.com/office/drawing/2010/main"/>
                </a:ext>
              </a:extLst>
            </a:blip>
            <a:stretch>
              <a:fillRect/>
            </a:stretch>
          </a:blipFill>
          <a:ln w="12700">
            <a:noFill/>
          </a:ln>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100" kern="1200">
                <a:solidFill>
                  <a:schemeClr val="bg1"/>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4"/>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5"/>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4"/>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en-GB"/>
              <a:t> </a:t>
            </a:r>
          </a:p>
        </p:txBody>
      </p:sp>
      <p:sp>
        <p:nvSpPr>
          <p:cNvPr id="2" name="Titel 1">
            <a:extLst>
              <a:ext uri="{FF2B5EF4-FFF2-40B4-BE49-F238E27FC236}">
                <a16:creationId xmlns:a16="http://schemas.microsoft.com/office/drawing/2014/main" id="{6D8CC489-463F-40E2-A160-0C68F72CAFFB}"/>
              </a:ext>
            </a:extLst>
          </p:cNvPr>
          <p:cNvSpPr>
            <a:spLocks noGrp="1"/>
          </p:cNvSpPr>
          <p:nvPr>
            <p:ph type="title" hasCustomPrompt="1"/>
          </p:nvPr>
        </p:nvSpPr>
        <p:spPr/>
        <p:txBody>
          <a:bodyPr/>
          <a:lstStyle/>
          <a:p>
            <a:r>
              <a:rPr lang="nl-NL" dirty="0"/>
              <a:t>Plaats hier je titel</a:t>
            </a:r>
          </a:p>
        </p:txBody>
      </p:sp>
    </p:spTree>
    <p:extLst>
      <p:ext uri="{BB962C8B-B14F-4D97-AF65-F5344CB8AC3E}">
        <p14:creationId xmlns:p14="http://schemas.microsoft.com/office/powerpoint/2010/main" val="371995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KOLOMEN">
    <p:spTree>
      <p:nvGrpSpPr>
        <p:cNvPr id="1" name=""/>
        <p:cNvGrpSpPr/>
        <p:nvPr/>
      </p:nvGrpSpPr>
      <p:grpSpPr>
        <a:xfrm>
          <a:off x="0" y="0"/>
          <a:ext cx="0" cy="0"/>
          <a:chOff x="0" y="0"/>
          <a:chExt cx="0" cy="0"/>
        </a:xfrm>
      </p:grpSpPr>
      <p:pic>
        <p:nvPicPr>
          <p:cNvPr id="21" name="Afbeelding 20">
            <a:extLst>
              <a:ext uri="{FF2B5EF4-FFF2-40B4-BE49-F238E27FC236}">
                <a16:creationId xmlns:a16="http://schemas.microsoft.com/office/drawing/2014/main" id="{8042EACB-657D-459B-84CD-693DBFD44332}"/>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406" y="-4186"/>
            <a:ext cx="12198626" cy="6862185"/>
          </a:xfrm>
          <a:prstGeom prst="rect">
            <a:avLst/>
          </a:prstGeom>
        </p:spPr>
      </p:pic>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Only title #2</a:t>
            </a:r>
          </a:p>
        </p:txBody>
      </p:sp>
      <p:sp>
        <p:nvSpPr>
          <p:cNvPr id="7" name="PIJL">
            <a:extLst>
              <a:ext uri="{FF2B5EF4-FFF2-40B4-BE49-F238E27FC236}">
                <a16:creationId xmlns:a16="http://schemas.microsoft.com/office/drawing/2014/main" id="{B5CC1DD7-D649-4214-B209-94E81DCEF4FE}"/>
              </a:ext>
            </a:extLst>
          </p:cNvPr>
          <p:cNvSpPr/>
          <p:nvPr userDrawn="1"/>
        </p:nvSpPr>
        <p:spPr>
          <a:xfrm>
            <a:off x="0" y="6278876"/>
            <a:ext cx="633831" cy="147829"/>
          </a:xfrm>
          <a:custGeom>
            <a:avLst/>
            <a:gdLst>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415874 w 633831"/>
              <a:gd name="connsiteY11" fmla="*/ 147829 h 147829"/>
              <a:gd name="connsiteX12" fmla="*/ 345094 w 633831"/>
              <a:gd name="connsiteY12" fmla="*/ 147829 h 147829"/>
              <a:gd name="connsiteX13" fmla="*/ 319801 w 633831"/>
              <a:gd name="connsiteY13" fmla="*/ 147829 h 147829"/>
              <a:gd name="connsiteX14" fmla="*/ 261041 w 633831"/>
              <a:gd name="connsiteY14" fmla="*/ 147829 h 147829"/>
              <a:gd name="connsiteX15" fmla="*/ 21430 w 633831"/>
              <a:gd name="connsiteY15" fmla="*/ 147829 h 147829"/>
              <a:gd name="connsiteX16" fmla="*/ 0 w 633831"/>
              <a:gd name="connsiteY16" fmla="*/ 147829 h 14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831" h="147829">
                <a:moveTo>
                  <a:pt x="0" y="0"/>
                </a:moveTo>
                <a:lnTo>
                  <a:pt x="21430" y="0"/>
                </a:lnTo>
                <a:lnTo>
                  <a:pt x="261041" y="0"/>
                </a:lnTo>
                <a:lnTo>
                  <a:pt x="319801" y="0"/>
                </a:lnTo>
                <a:lnTo>
                  <a:pt x="345094" y="0"/>
                </a:lnTo>
                <a:lnTo>
                  <a:pt x="415874" y="0"/>
                </a:lnTo>
                <a:lnTo>
                  <a:pt x="510403" y="0"/>
                </a:lnTo>
                <a:lnTo>
                  <a:pt x="604824" y="0"/>
                </a:lnTo>
                <a:cubicBezTo>
                  <a:pt x="614746" y="20344"/>
                  <a:pt x="634057" y="57734"/>
                  <a:pt x="633829" y="73889"/>
                </a:cubicBezTo>
                <a:cubicBezTo>
                  <a:pt x="633601" y="90044"/>
                  <a:pt x="621235" y="116025"/>
                  <a:pt x="603457" y="147199"/>
                </a:cubicBezTo>
                <a:lnTo>
                  <a:pt x="415874" y="147616"/>
                </a:lnTo>
                <a:lnTo>
                  <a:pt x="415874" y="147829"/>
                </a:lnTo>
                <a:lnTo>
                  <a:pt x="345094" y="147829"/>
                </a:lnTo>
                <a:lnTo>
                  <a:pt x="319801" y="147829"/>
                </a:lnTo>
                <a:lnTo>
                  <a:pt x="261041" y="147829"/>
                </a:lnTo>
                <a:lnTo>
                  <a:pt x="21430" y="147829"/>
                </a:lnTo>
                <a:lnTo>
                  <a:pt x="0" y="14782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8" name="Titel 1">
            <a:extLst>
              <a:ext uri="{FF2B5EF4-FFF2-40B4-BE49-F238E27FC236}">
                <a16:creationId xmlns:a16="http://schemas.microsoft.com/office/drawing/2014/main" id="{5CB021CE-6D65-4C81-B4E7-851501A88C77}"/>
              </a:ext>
            </a:extLst>
          </p:cNvPr>
          <p:cNvSpPr>
            <a:spLocks noGrp="1"/>
          </p:cNvSpPr>
          <p:nvPr>
            <p:ph type="title" hasCustomPrompt="1"/>
          </p:nvPr>
        </p:nvSpPr>
        <p:spPr>
          <a:xfrm>
            <a:off x="777244" y="968116"/>
            <a:ext cx="10828685" cy="350700"/>
          </a:xfrm>
        </p:spPr>
        <p:txBody>
          <a:bodyPr lIns="0" tIns="0" rIns="0" bIns="0"/>
          <a:lstStyle>
            <a:lvl1pPr>
              <a:defRPr>
                <a:solidFill>
                  <a:schemeClr val="bg1"/>
                </a:solidFill>
              </a:defRPr>
            </a:lvl1pPr>
          </a:lstStyle>
          <a:p>
            <a:r>
              <a:rPr lang="nl-NL" dirty="0"/>
              <a:t>Plaats hier je titel</a:t>
            </a:r>
          </a:p>
        </p:txBody>
      </p:sp>
      <p:cxnSp>
        <p:nvCxnSpPr>
          <p:cNvPr id="9" name="LIJN">
            <a:extLst>
              <a:ext uri="{FF2B5EF4-FFF2-40B4-BE49-F238E27FC236}">
                <a16:creationId xmlns:a16="http://schemas.microsoft.com/office/drawing/2014/main" id="{3323C885-6848-45DD-8FDF-7693C74E62E9}"/>
              </a:ext>
            </a:extLst>
          </p:cNvPr>
          <p:cNvCxnSpPr>
            <a:cxnSpLocks/>
          </p:cNvCxnSpPr>
          <p:nvPr userDrawn="1"/>
        </p:nvCxnSpPr>
        <p:spPr>
          <a:xfrm>
            <a:off x="602232" y="1304529"/>
            <a:ext cx="0" cy="4981971"/>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0" name="HAAK">
            <a:extLst>
              <a:ext uri="{FF2B5EF4-FFF2-40B4-BE49-F238E27FC236}">
                <a16:creationId xmlns:a16="http://schemas.microsoft.com/office/drawing/2014/main" id="{6CBA9AF4-DD1A-4289-8876-704D69C539A2}"/>
              </a:ext>
            </a:extLst>
          </p:cNvPr>
          <p:cNvSpPr>
            <a:spLocks/>
          </p:cNvSpPr>
          <p:nvPr userDrawn="1"/>
        </p:nvSpPr>
        <p:spPr bwMode="auto">
          <a:xfrm>
            <a:off x="587030" y="1056880"/>
            <a:ext cx="69016" cy="202404"/>
          </a:xfrm>
          <a:custGeom>
            <a:avLst/>
            <a:gdLst>
              <a:gd name="T0" fmla="*/ 3 w 17"/>
              <a:gd name="T1" fmla="*/ 10 h 50"/>
              <a:gd name="T2" fmla="*/ 6 w 17"/>
              <a:gd name="T3" fmla="*/ 0 h 50"/>
              <a:gd name="T4" fmla="*/ 16 w 17"/>
              <a:gd name="T5" fmla="*/ 25 h 50"/>
              <a:gd name="T6" fmla="*/ 7 w 17"/>
              <a:gd name="T7" fmla="*/ 50 h 50"/>
              <a:gd name="T8" fmla="*/ 4 w 17"/>
              <a:gd name="T9" fmla="*/ 40 h 50"/>
              <a:gd name="T10" fmla="*/ 8 w 17"/>
              <a:gd name="T11" fmla="*/ 25 h 50"/>
              <a:gd name="T12" fmla="*/ 3 w 17"/>
              <a:gd name="T13" fmla="*/ 10 h 50"/>
            </a:gdLst>
            <a:ahLst/>
            <a:cxnLst>
              <a:cxn ang="0">
                <a:pos x="T0" y="T1"/>
              </a:cxn>
              <a:cxn ang="0">
                <a:pos x="T2" y="T3"/>
              </a:cxn>
              <a:cxn ang="0">
                <a:pos x="T4" y="T5"/>
              </a:cxn>
              <a:cxn ang="0">
                <a:pos x="T6" y="T7"/>
              </a:cxn>
              <a:cxn ang="0">
                <a:pos x="T8" y="T9"/>
              </a:cxn>
              <a:cxn ang="0">
                <a:pos x="T10" y="T11"/>
              </a:cxn>
              <a:cxn ang="0">
                <a:pos x="T12" y="T13"/>
              </a:cxn>
            </a:cxnLst>
            <a:rect l="0" t="0" r="r" b="b"/>
            <a:pathLst>
              <a:path w="17" h="50">
                <a:moveTo>
                  <a:pt x="3" y="10"/>
                </a:moveTo>
                <a:cubicBezTo>
                  <a:pt x="0" y="1"/>
                  <a:pt x="6" y="0"/>
                  <a:pt x="6" y="0"/>
                </a:cubicBezTo>
                <a:cubicBezTo>
                  <a:pt x="6" y="0"/>
                  <a:pt x="16" y="19"/>
                  <a:pt x="16" y="25"/>
                </a:cubicBezTo>
                <a:cubicBezTo>
                  <a:pt x="17" y="31"/>
                  <a:pt x="7" y="50"/>
                  <a:pt x="7" y="50"/>
                </a:cubicBezTo>
                <a:cubicBezTo>
                  <a:pt x="7" y="50"/>
                  <a:pt x="1" y="48"/>
                  <a:pt x="4" y="40"/>
                </a:cubicBezTo>
                <a:cubicBezTo>
                  <a:pt x="6" y="32"/>
                  <a:pt x="8" y="25"/>
                  <a:pt x="8" y="25"/>
                </a:cubicBezTo>
                <a:lnTo>
                  <a:pt x="3" y="1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nl-NL"/>
          </a:p>
        </p:txBody>
      </p:sp>
      <p:sp>
        <p:nvSpPr>
          <p:cNvPr id="11" name="Tijdelijke aanduiding voor verticale tekst 2">
            <a:extLst>
              <a:ext uri="{FF2B5EF4-FFF2-40B4-BE49-F238E27FC236}">
                <a16:creationId xmlns:a16="http://schemas.microsoft.com/office/drawing/2014/main" id="{0A918269-25BB-4CEA-AEB3-CA2A3F96781D}"/>
              </a:ext>
            </a:extLst>
          </p:cNvPr>
          <p:cNvSpPr>
            <a:spLocks noGrp="1"/>
          </p:cNvSpPr>
          <p:nvPr>
            <p:ph type="body" orient="vert" idx="1" hasCustomPrompt="1"/>
          </p:nvPr>
        </p:nvSpPr>
        <p:spPr>
          <a:xfrm>
            <a:off x="777234" y="1978207"/>
            <a:ext cx="3279510" cy="4448498"/>
          </a:xfrm>
        </p:spPr>
        <p:txBody>
          <a:bodyPr vert="horz" lIns="0" tIns="0" rIns="0" bIns="0"/>
          <a:lstStyle>
            <a:lvl1pPr marL="217488" indent="-217488">
              <a:buClr>
                <a:schemeClr val="bg1"/>
              </a:buClr>
              <a:buSzPct val="100000"/>
              <a:buFont typeface="Segoe UI Light" panose="020B0502040204020203" pitchFamily="34" charset="0"/>
              <a:buChar char="›"/>
              <a:defRPr>
                <a:solidFill>
                  <a:schemeClr val="bg1"/>
                </a:solidFill>
              </a:defRPr>
            </a:lvl1pPr>
            <a:lvl2pPr marL="471488" indent="-254000">
              <a:buClr>
                <a:schemeClr val="bg1"/>
              </a:buClr>
              <a:buFont typeface="Segoe UI Light" panose="020B0502040204020203" pitchFamily="34" charset="0"/>
              <a:buChar char="›"/>
              <a:defRPr>
                <a:solidFill>
                  <a:schemeClr val="bg1"/>
                </a:solidFill>
              </a:defRPr>
            </a:lvl2pPr>
            <a:lvl3pPr>
              <a:defRPr>
                <a:solidFill>
                  <a:schemeClr val="bg1"/>
                </a:solidFill>
              </a:defRPr>
            </a:lvl3pPr>
            <a:lvl4pPr>
              <a:defRPr/>
            </a:lvl4pPr>
            <a:lvl5pPr>
              <a:buClr>
                <a:schemeClr val="bg1"/>
              </a:buClr>
              <a:defRPr>
                <a:solidFill>
                  <a:schemeClr val="bg1"/>
                </a:solidFill>
              </a:defRPr>
            </a:lvl5pPr>
            <a:lvl6pPr marL="217488" indent="-217488">
              <a:buClr>
                <a:schemeClr val="bg1"/>
              </a:buClr>
              <a:buFont typeface="Segoe UI Light" panose="020B0502040204020203" pitchFamily="34" charset="0"/>
              <a:buChar char="›"/>
              <a:defRPr>
                <a:solidFill>
                  <a:schemeClr val="bg1"/>
                </a:solidFill>
              </a:defRPr>
            </a:lvl6pPr>
            <a:lvl7pPr marL="471488" indent="-254000">
              <a:buClr>
                <a:schemeClr val="bg1"/>
              </a:buClr>
              <a:buFont typeface="Segoe UI Light" panose="020B0502040204020203" pitchFamily="34" charset="0"/>
              <a:buChar char="›"/>
              <a:defRPr>
                <a:solidFill>
                  <a:schemeClr val="bg1"/>
                </a:solidFill>
              </a:defRPr>
            </a:lvl7pPr>
            <a:lvl8pPr>
              <a:defRPr>
                <a:solidFill>
                  <a:schemeClr val="bg1"/>
                </a:solidFill>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a:t>
            </a:r>
            <a:endParaRPr lang="nl-NL" dirty="0"/>
          </a:p>
          <a:p>
            <a:pPr lvl="5"/>
            <a:r>
              <a:rPr lang="nl-NL" dirty="0"/>
              <a:t>Bullet</a:t>
            </a:r>
          </a:p>
          <a:p>
            <a:pPr lvl="6"/>
            <a:r>
              <a:rPr lang="nl-NL" dirty="0"/>
              <a:t>Sub-</a:t>
            </a:r>
            <a:r>
              <a:rPr lang="nl-NL" dirty="0" err="1"/>
              <a:t>bullet</a:t>
            </a:r>
            <a:endParaRPr lang="nl-NL" dirty="0"/>
          </a:p>
          <a:p>
            <a:pPr lvl="7"/>
            <a:r>
              <a:rPr lang="nl-NL" dirty="0"/>
              <a:t>Leestekst</a:t>
            </a:r>
          </a:p>
          <a:p>
            <a:pPr lvl="8"/>
            <a:r>
              <a:rPr lang="nl-NL" dirty="0"/>
              <a:t>Subtitel</a:t>
            </a:r>
          </a:p>
        </p:txBody>
      </p:sp>
      <p:sp>
        <p:nvSpPr>
          <p:cNvPr id="12" name="Tijdelijke aanduiding voor tekst 25">
            <a:extLst>
              <a:ext uri="{FF2B5EF4-FFF2-40B4-BE49-F238E27FC236}">
                <a16:creationId xmlns:a16="http://schemas.microsoft.com/office/drawing/2014/main" id="{3BB6D000-AD0B-4D7D-953F-67244B9F1D94}"/>
              </a:ext>
            </a:extLst>
          </p:cNvPr>
          <p:cNvSpPr txBox="1">
            <a:spLocks/>
          </p:cNvSpPr>
          <p:nvPr userDrawn="1"/>
        </p:nvSpPr>
        <p:spPr>
          <a:xfrm>
            <a:off x="5616312" y="389469"/>
            <a:ext cx="959375" cy="171317"/>
          </a:xfrm>
          <a:prstGeom prst="rect">
            <a:avLst/>
          </a:prstGeom>
          <a:blipFill>
            <a:blip r:embed="rId3" cstate="hqprint">
              <a:extLst>
                <a:ext uri="{28A0092B-C50C-407E-A947-70E740481C1C}">
                  <a14:useLocalDpi xmlns:a14="http://schemas.microsoft.com/office/drawing/2010/main"/>
                </a:ext>
              </a:extLst>
            </a:blip>
            <a:stretch>
              <a:fillRect/>
            </a:stretch>
          </a:blipFill>
          <a:ln w="12700">
            <a:noFill/>
          </a:ln>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100" kern="1200">
                <a:solidFill>
                  <a:schemeClr val="bg1"/>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4"/>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5"/>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4"/>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en-GB"/>
              <a:t> </a:t>
            </a:r>
          </a:p>
        </p:txBody>
      </p:sp>
      <p:pic>
        <p:nvPicPr>
          <p:cNvPr id="13" name="Picture 12">
            <a:extLst>
              <a:ext uri="{FF2B5EF4-FFF2-40B4-BE49-F238E27FC236}">
                <a16:creationId xmlns:a16="http://schemas.microsoft.com/office/drawing/2014/main" id="{6AC14FB8-410D-497A-8E68-34A0636C1844}"/>
              </a:ext>
            </a:extLst>
          </p:cNvPr>
          <p:cNvPicPr>
            <a:picLocks noChangeAspect="1"/>
          </p:cNvPicPr>
          <p:nvPr userDrawn="1"/>
        </p:nvPicPr>
        <p:blipFill>
          <a:blip r:embed="rId6">
            <a:lum bright="70000" contrast="-70000"/>
          </a:blip>
          <a:stretch>
            <a:fillRect/>
          </a:stretch>
        </p:blipFill>
        <p:spPr>
          <a:xfrm>
            <a:off x="4555484" y="1620531"/>
            <a:ext cx="237765" cy="231668"/>
          </a:xfrm>
          <a:prstGeom prst="rect">
            <a:avLst/>
          </a:prstGeom>
        </p:spPr>
      </p:pic>
      <p:pic>
        <p:nvPicPr>
          <p:cNvPr id="14" name="Picture 13">
            <a:extLst>
              <a:ext uri="{FF2B5EF4-FFF2-40B4-BE49-F238E27FC236}">
                <a16:creationId xmlns:a16="http://schemas.microsoft.com/office/drawing/2014/main" id="{AD80486A-B447-411F-903A-6BE3F3D517FF}"/>
              </a:ext>
            </a:extLst>
          </p:cNvPr>
          <p:cNvPicPr>
            <a:picLocks noChangeAspect="1"/>
          </p:cNvPicPr>
          <p:nvPr userDrawn="1"/>
        </p:nvPicPr>
        <p:blipFill>
          <a:blip r:embed="rId7">
            <a:lum bright="70000" contrast="-70000"/>
          </a:blip>
          <a:stretch>
            <a:fillRect/>
          </a:stretch>
        </p:blipFill>
        <p:spPr>
          <a:xfrm>
            <a:off x="779576" y="1620531"/>
            <a:ext cx="231668" cy="231668"/>
          </a:xfrm>
          <a:prstGeom prst="rect">
            <a:avLst/>
          </a:prstGeom>
        </p:spPr>
      </p:pic>
      <p:pic>
        <p:nvPicPr>
          <p:cNvPr id="15" name="Picture 14">
            <a:extLst>
              <a:ext uri="{FF2B5EF4-FFF2-40B4-BE49-F238E27FC236}">
                <a16:creationId xmlns:a16="http://schemas.microsoft.com/office/drawing/2014/main" id="{F212694A-C433-4713-93C5-8CB1FAE556FD}"/>
              </a:ext>
            </a:extLst>
          </p:cNvPr>
          <p:cNvPicPr>
            <a:picLocks noChangeAspect="1"/>
          </p:cNvPicPr>
          <p:nvPr userDrawn="1"/>
        </p:nvPicPr>
        <p:blipFill>
          <a:blip r:embed="rId8">
            <a:lum bright="70000" contrast="-70000"/>
          </a:blip>
          <a:stretch>
            <a:fillRect/>
          </a:stretch>
        </p:blipFill>
        <p:spPr>
          <a:xfrm>
            <a:off x="8384795" y="1620531"/>
            <a:ext cx="237765" cy="231668"/>
          </a:xfrm>
          <a:prstGeom prst="rect">
            <a:avLst/>
          </a:prstGeom>
        </p:spPr>
      </p:pic>
      <p:sp>
        <p:nvSpPr>
          <p:cNvPr id="16" name="Tijdelijke aanduiding voor verticale tekst 24">
            <a:extLst>
              <a:ext uri="{FF2B5EF4-FFF2-40B4-BE49-F238E27FC236}">
                <a16:creationId xmlns:a16="http://schemas.microsoft.com/office/drawing/2014/main" id="{CEA5F6E2-DD3A-4FCE-9AEE-65DF23A64C1B}"/>
              </a:ext>
            </a:extLst>
          </p:cNvPr>
          <p:cNvSpPr>
            <a:spLocks noGrp="1"/>
          </p:cNvSpPr>
          <p:nvPr userDrawn="1"/>
        </p:nvSpPr>
        <p:spPr>
          <a:xfrm>
            <a:off x="1115174" y="1589780"/>
            <a:ext cx="2881616" cy="323021"/>
          </a:xfrm>
          <a:prstGeom prst="rect">
            <a:avLst/>
          </a:prstGeom>
          <a:noFill/>
        </p:spPr>
        <p:txBody>
          <a:bodyPr vert="horz" lIns="0" tIns="0" rIns="0" bIns="0" rtlCol="0" anchor="ctr">
            <a:noAutofit/>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2000" b="1" kern="1200" cap="all" baseline="0">
                <a:solidFill>
                  <a:schemeClr val="tx2"/>
                </a:solidFill>
                <a:latin typeface="+mj-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4"/>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5"/>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4"/>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en-GB" dirty="0">
                <a:solidFill>
                  <a:schemeClr val="bg1"/>
                </a:solidFill>
              </a:rPr>
              <a:t>Challenge</a:t>
            </a:r>
          </a:p>
        </p:txBody>
      </p:sp>
      <p:sp>
        <p:nvSpPr>
          <p:cNvPr id="17" name="Tijdelijke aanduiding voor verticale tekst 25">
            <a:extLst>
              <a:ext uri="{FF2B5EF4-FFF2-40B4-BE49-F238E27FC236}">
                <a16:creationId xmlns:a16="http://schemas.microsoft.com/office/drawing/2014/main" id="{975871DF-0B19-4C3B-B9CB-0C84B83F013E}"/>
              </a:ext>
            </a:extLst>
          </p:cNvPr>
          <p:cNvSpPr>
            <a:spLocks noGrp="1"/>
          </p:cNvSpPr>
          <p:nvPr userDrawn="1"/>
        </p:nvSpPr>
        <p:spPr>
          <a:xfrm>
            <a:off x="4918950" y="1591575"/>
            <a:ext cx="2881616" cy="323021"/>
          </a:xfrm>
          <a:prstGeom prst="rect">
            <a:avLst/>
          </a:prstGeom>
          <a:noFill/>
        </p:spPr>
        <p:txBody>
          <a:bodyPr vert="horz" lIns="0" tIns="0" rIns="0" bIns="0" rtlCol="0" anchor="ctr">
            <a:noAutofit/>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2000" b="1" kern="1200" cap="all" baseline="0">
                <a:solidFill>
                  <a:schemeClr val="tx2"/>
                </a:solidFill>
                <a:latin typeface="+mj-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4"/>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5"/>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4"/>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en-GB" dirty="0">
                <a:solidFill>
                  <a:schemeClr val="bg1"/>
                </a:solidFill>
              </a:rPr>
              <a:t>Approach</a:t>
            </a:r>
          </a:p>
        </p:txBody>
      </p:sp>
      <p:sp>
        <p:nvSpPr>
          <p:cNvPr id="18" name="Tijdelijke aanduiding voor verticale tekst 26">
            <a:extLst>
              <a:ext uri="{FF2B5EF4-FFF2-40B4-BE49-F238E27FC236}">
                <a16:creationId xmlns:a16="http://schemas.microsoft.com/office/drawing/2014/main" id="{ABEE157C-424B-42E7-9C7C-8D81C060CD9A}"/>
              </a:ext>
            </a:extLst>
          </p:cNvPr>
          <p:cNvSpPr>
            <a:spLocks noGrp="1"/>
          </p:cNvSpPr>
          <p:nvPr userDrawn="1"/>
        </p:nvSpPr>
        <p:spPr>
          <a:xfrm>
            <a:off x="8722725" y="1587675"/>
            <a:ext cx="2881616" cy="323021"/>
          </a:xfrm>
          <a:prstGeom prst="rect">
            <a:avLst/>
          </a:prstGeom>
          <a:noFill/>
        </p:spPr>
        <p:txBody>
          <a:bodyPr vert="horz" lIns="0" tIns="0" rIns="0" bIns="0" rtlCol="0" anchor="ctr">
            <a:noAutofit/>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2000" b="1" kern="1200" cap="all" baseline="0">
                <a:solidFill>
                  <a:schemeClr val="tx2"/>
                </a:solidFill>
                <a:latin typeface="+mj-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4"/>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5"/>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4"/>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en-GB">
                <a:solidFill>
                  <a:schemeClr val="bg1"/>
                </a:solidFill>
              </a:rPr>
              <a:t>Result</a:t>
            </a:r>
            <a:endParaRPr lang="en-GB" dirty="0">
              <a:solidFill>
                <a:schemeClr val="bg1"/>
              </a:solidFill>
            </a:endParaRPr>
          </a:p>
        </p:txBody>
      </p:sp>
      <p:sp>
        <p:nvSpPr>
          <p:cNvPr id="19" name="Tijdelijke aanduiding voor verticale tekst 2">
            <a:extLst>
              <a:ext uri="{FF2B5EF4-FFF2-40B4-BE49-F238E27FC236}">
                <a16:creationId xmlns:a16="http://schemas.microsoft.com/office/drawing/2014/main" id="{EA922C0A-9B56-4C90-A1E8-1F0DC09AED6B}"/>
              </a:ext>
            </a:extLst>
          </p:cNvPr>
          <p:cNvSpPr>
            <a:spLocks noGrp="1"/>
          </p:cNvSpPr>
          <p:nvPr>
            <p:ph type="body" orient="vert" idx="10" hasCustomPrompt="1"/>
          </p:nvPr>
        </p:nvSpPr>
        <p:spPr>
          <a:xfrm>
            <a:off x="4551831" y="1978207"/>
            <a:ext cx="3279510" cy="4448498"/>
          </a:xfrm>
        </p:spPr>
        <p:txBody>
          <a:bodyPr vert="horz" lIns="0" tIns="0" rIns="0" bIns="0"/>
          <a:lstStyle>
            <a:lvl1pPr marL="217488" indent="-217488">
              <a:buClr>
                <a:schemeClr val="bg1"/>
              </a:buClr>
              <a:buSzPct val="100000"/>
              <a:buFont typeface="Segoe UI Light" panose="020B0502040204020203" pitchFamily="34" charset="0"/>
              <a:buChar char="›"/>
              <a:defRPr>
                <a:solidFill>
                  <a:schemeClr val="bg1"/>
                </a:solidFill>
              </a:defRPr>
            </a:lvl1pPr>
            <a:lvl2pPr marL="471488" indent="-254000">
              <a:buClr>
                <a:schemeClr val="bg1"/>
              </a:buClr>
              <a:buFont typeface="Segoe UI Light" panose="020B0502040204020203" pitchFamily="34" charset="0"/>
              <a:buChar char="›"/>
              <a:defRPr>
                <a:solidFill>
                  <a:schemeClr val="bg1"/>
                </a:solidFill>
              </a:defRPr>
            </a:lvl2pPr>
            <a:lvl3pPr>
              <a:defRPr>
                <a:solidFill>
                  <a:schemeClr val="bg1"/>
                </a:solidFill>
              </a:defRPr>
            </a:lvl3pPr>
            <a:lvl4pPr>
              <a:defRPr/>
            </a:lvl4pPr>
            <a:lvl5pPr>
              <a:buClr>
                <a:schemeClr val="bg1"/>
              </a:buClr>
              <a:defRPr>
                <a:solidFill>
                  <a:schemeClr val="bg1"/>
                </a:solidFill>
              </a:defRPr>
            </a:lvl5pPr>
            <a:lvl6pPr marL="217488" indent="-217488">
              <a:buClr>
                <a:schemeClr val="bg1"/>
              </a:buClr>
              <a:buFont typeface="Segoe UI Light" panose="020B0502040204020203" pitchFamily="34" charset="0"/>
              <a:buChar char="›"/>
              <a:defRPr>
                <a:solidFill>
                  <a:schemeClr val="bg1"/>
                </a:solidFill>
              </a:defRPr>
            </a:lvl6pPr>
            <a:lvl7pPr marL="471488" indent="-254000">
              <a:buClr>
                <a:schemeClr val="bg1"/>
              </a:buClr>
              <a:buFont typeface="Segoe UI Light" panose="020B0502040204020203" pitchFamily="34" charset="0"/>
              <a:buChar char="›"/>
              <a:defRPr>
                <a:solidFill>
                  <a:schemeClr val="bg1"/>
                </a:solidFill>
              </a:defRPr>
            </a:lvl7pPr>
            <a:lvl8pPr>
              <a:defRPr>
                <a:solidFill>
                  <a:schemeClr val="bg1"/>
                </a:solidFill>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a:t>
            </a:r>
            <a:endParaRPr lang="nl-NL" dirty="0"/>
          </a:p>
          <a:p>
            <a:pPr lvl="5"/>
            <a:r>
              <a:rPr lang="nl-NL" dirty="0"/>
              <a:t>Bullet</a:t>
            </a:r>
          </a:p>
          <a:p>
            <a:pPr lvl="6"/>
            <a:r>
              <a:rPr lang="nl-NL" dirty="0"/>
              <a:t>Sub-</a:t>
            </a:r>
            <a:r>
              <a:rPr lang="nl-NL" dirty="0" err="1"/>
              <a:t>bullet</a:t>
            </a:r>
            <a:endParaRPr lang="nl-NL" dirty="0"/>
          </a:p>
          <a:p>
            <a:pPr lvl="7"/>
            <a:r>
              <a:rPr lang="nl-NL" dirty="0"/>
              <a:t>Leestekst</a:t>
            </a:r>
          </a:p>
          <a:p>
            <a:pPr lvl="8"/>
            <a:r>
              <a:rPr lang="nl-NL" dirty="0"/>
              <a:t>Subtitel</a:t>
            </a:r>
          </a:p>
        </p:txBody>
      </p:sp>
      <p:sp>
        <p:nvSpPr>
          <p:cNvPr id="20" name="Tijdelijke aanduiding voor verticale tekst 2">
            <a:extLst>
              <a:ext uri="{FF2B5EF4-FFF2-40B4-BE49-F238E27FC236}">
                <a16:creationId xmlns:a16="http://schemas.microsoft.com/office/drawing/2014/main" id="{28AD8089-C5BB-40DA-9C43-C9CFD87A86D8}"/>
              </a:ext>
            </a:extLst>
          </p:cNvPr>
          <p:cNvSpPr>
            <a:spLocks noGrp="1"/>
          </p:cNvSpPr>
          <p:nvPr>
            <p:ph type="body" orient="vert" idx="11" hasCustomPrompt="1"/>
          </p:nvPr>
        </p:nvSpPr>
        <p:spPr>
          <a:xfrm>
            <a:off x="8390313" y="1978207"/>
            <a:ext cx="3279510" cy="4448498"/>
          </a:xfrm>
        </p:spPr>
        <p:txBody>
          <a:bodyPr vert="horz" lIns="0" tIns="0" rIns="0" bIns="0"/>
          <a:lstStyle>
            <a:lvl1pPr marL="217488" indent="-217488">
              <a:buClr>
                <a:schemeClr val="bg1"/>
              </a:buClr>
              <a:buSzPct val="100000"/>
              <a:buFont typeface="Segoe UI Light" panose="020B0502040204020203" pitchFamily="34" charset="0"/>
              <a:buChar char="›"/>
              <a:defRPr>
                <a:solidFill>
                  <a:schemeClr val="bg1"/>
                </a:solidFill>
              </a:defRPr>
            </a:lvl1pPr>
            <a:lvl2pPr marL="471488" indent="-254000">
              <a:buClr>
                <a:schemeClr val="bg1"/>
              </a:buClr>
              <a:buFont typeface="Segoe UI Light" panose="020B0502040204020203" pitchFamily="34" charset="0"/>
              <a:buChar char="›"/>
              <a:defRPr>
                <a:solidFill>
                  <a:schemeClr val="bg1"/>
                </a:solidFill>
              </a:defRPr>
            </a:lvl2pPr>
            <a:lvl3pPr>
              <a:defRPr>
                <a:solidFill>
                  <a:schemeClr val="bg1"/>
                </a:solidFill>
              </a:defRPr>
            </a:lvl3pPr>
            <a:lvl4pPr>
              <a:defRPr/>
            </a:lvl4pPr>
            <a:lvl5pPr>
              <a:buClr>
                <a:schemeClr val="bg1"/>
              </a:buClr>
              <a:defRPr>
                <a:solidFill>
                  <a:schemeClr val="bg1"/>
                </a:solidFill>
              </a:defRPr>
            </a:lvl5pPr>
            <a:lvl6pPr marL="217488" indent="-217488">
              <a:buClr>
                <a:schemeClr val="bg1"/>
              </a:buClr>
              <a:buFont typeface="Segoe UI Light" panose="020B0502040204020203" pitchFamily="34" charset="0"/>
              <a:buChar char="›"/>
              <a:defRPr>
                <a:solidFill>
                  <a:schemeClr val="bg1"/>
                </a:solidFill>
              </a:defRPr>
            </a:lvl6pPr>
            <a:lvl7pPr marL="471488" indent="-254000">
              <a:buClr>
                <a:schemeClr val="bg1"/>
              </a:buClr>
              <a:buFont typeface="Segoe UI Light" panose="020B0502040204020203" pitchFamily="34" charset="0"/>
              <a:buChar char="›"/>
              <a:defRPr>
                <a:solidFill>
                  <a:schemeClr val="bg1"/>
                </a:solidFill>
              </a:defRPr>
            </a:lvl7pPr>
            <a:lvl8pPr>
              <a:defRPr>
                <a:solidFill>
                  <a:schemeClr val="bg1"/>
                </a:solidFill>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a:t>
            </a:r>
            <a:endParaRPr lang="nl-NL" dirty="0"/>
          </a:p>
          <a:p>
            <a:pPr lvl="5"/>
            <a:r>
              <a:rPr lang="nl-NL" dirty="0"/>
              <a:t>Bullet</a:t>
            </a:r>
          </a:p>
          <a:p>
            <a:pPr lvl="6"/>
            <a:r>
              <a:rPr lang="nl-NL" dirty="0"/>
              <a:t>Sub-</a:t>
            </a:r>
            <a:r>
              <a:rPr lang="nl-NL" dirty="0" err="1"/>
              <a:t>bullet</a:t>
            </a:r>
            <a:endParaRPr lang="nl-NL" dirty="0"/>
          </a:p>
          <a:p>
            <a:pPr lvl="7"/>
            <a:r>
              <a:rPr lang="nl-NL" dirty="0"/>
              <a:t>Leestekst</a:t>
            </a:r>
          </a:p>
          <a:p>
            <a:pPr lvl="8"/>
            <a:r>
              <a:rPr lang="nl-NL" dirty="0"/>
              <a:t>Subtitel</a:t>
            </a:r>
          </a:p>
        </p:txBody>
      </p:sp>
    </p:spTree>
    <p:extLst>
      <p:ext uri="{BB962C8B-B14F-4D97-AF65-F5344CB8AC3E}">
        <p14:creationId xmlns:p14="http://schemas.microsoft.com/office/powerpoint/2010/main" val="1169962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KOLOMEN EN TITELS">
    <p:spTree>
      <p:nvGrpSpPr>
        <p:cNvPr id="1" name=""/>
        <p:cNvGrpSpPr/>
        <p:nvPr/>
      </p:nvGrpSpPr>
      <p:grpSpPr>
        <a:xfrm>
          <a:off x="0" y="0"/>
          <a:ext cx="0" cy="0"/>
          <a:chOff x="0" y="0"/>
          <a:chExt cx="0" cy="0"/>
        </a:xfrm>
      </p:grpSpPr>
      <p:pic>
        <p:nvPicPr>
          <p:cNvPr id="21" name="Afbeelding 20">
            <a:extLst>
              <a:ext uri="{FF2B5EF4-FFF2-40B4-BE49-F238E27FC236}">
                <a16:creationId xmlns:a16="http://schemas.microsoft.com/office/drawing/2014/main" id="{8042EACB-657D-459B-84CD-693DBFD44332}"/>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406" y="-4186"/>
            <a:ext cx="12198626" cy="6862185"/>
          </a:xfrm>
          <a:prstGeom prst="rect">
            <a:avLst/>
          </a:prstGeom>
        </p:spPr>
      </p:pic>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Only title #2</a:t>
            </a:r>
          </a:p>
        </p:txBody>
      </p:sp>
      <p:sp>
        <p:nvSpPr>
          <p:cNvPr id="7" name="PIJL">
            <a:extLst>
              <a:ext uri="{FF2B5EF4-FFF2-40B4-BE49-F238E27FC236}">
                <a16:creationId xmlns:a16="http://schemas.microsoft.com/office/drawing/2014/main" id="{B5CC1DD7-D649-4214-B209-94E81DCEF4FE}"/>
              </a:ext>
            </a:extLst>
          </p:cNvPr>
          <p:cNvSpPr/>
          <p:nvPr userDrawn="1"/>
        </p:nvSpPr>
        <p:spPr>
          <a:xfrm>
            <a:off x="0" y="6278876"/>
            <a:ext cx="633831" cy="147829"/>
          </a:xfrm>
          <a:custGeom>
            <a:avLst/>
            <a:gdLst>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415874 w 633831"/>
              <a:gd name="connsiteY11" fmla="*/ 147829 h 147829"/>
              <a:gd name="connsiteX12" fmla="*/ 345094 w 633831"/>
              <a:gd name="connsiteY12" fmla="*/ 147829 h 147829"/>
              <a:gd name="connsiteX13" fmla="*/ 319801 w 633831"/>
              <a:gd name="connsiteY13" fmla="*/ 147829 h 147829"/>
              <a:gd name="connsiteX14" fmla="*/ 261041 w 633831"/>
              <a:gd name="connsiteY14" fmla="*/ 147829 h 147829"/>
              <a:gd name="connsiteX15" fmla="*/ 21430 w 633831"/>
              <a:gd name="connsiteY15" fmla="*/ 147829 h 147829"/>
              <a:gd name="connsiteX16" fmla="*/ 0 w 633831"/>
              <a:gd name="connsiteY16" fmla="*/ 147829 h 14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831" h="147829">
                <a:moveTo>
                  <a:pt x="0" y="0"/>
                </a:moveTo>
                <a:lnTo>
                  <a:pt x="21430" y="0"/>
                </a:lnTo>
                <a:lnTo>
                  <a:pt x="261041" y="0"/>
                </a:lnTo>
                <a:lnTo>
                  <a:pt x="319801" y="0"/>
                </a:lnTo>
                <a:lnTo>
                  <a:pt x="345094" y="0"/>
                </a:lnTo>
                <a:lnTo>
                  <a:pt x="415874" y="0"/>
                </a:lnTo>
                <a:lnTo>
                  <a:pt x="510403" y="0"/>
                </a:lnTo>
                <a:lnTo>
                  <a:pt x="604824" y="0"/>
                </a:lnTo>
                <a:cubicBezTo>
                  <a:pt x="614746" y="20344"/>
                  <a:pt x="634057" y="57734"/>
                  <a:pt x="633829" y="73889"/>
                </a:cubicBezTo>
                <a:cubicBezTo>
                  <a:pt x="633601" y="90044"/>
                  <a:pt x="621235" y="116025"/>
                  <a:pt x="603457" y="147199"/>
                </a:cubicBezTo>
                <a:lnTo>
                  <a:pt x="415874" y="147616"/>
                </a:lnTo>
                <a:lnTo>
                  <a:pt x="415874" y="147829"/>
                </a:lnTo>
                <a:lnTo>
                  <a:pt x="345094" y="147829"/>
                </a:lnTo>
                <a:lnTo>
                  <a:pt x="319801" y="147829"/>
                </a:lnTo>
                <a:lnTo>
                  <a:pt x="261041" y="147829"/>
                </a:lnTo>
                <a:lnTo>
                  <a:pt x="21430" y="147829"/>
                </a:lnTo>
                <a:lnTo>
                  <a:pt x="0" y="14782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8" name="Titel 1">
            <a:extLst>
              <a:ext uri="{FF2B5EF4-FFF2-40B4-BE49-F238E27FC236}">
                <a16:creationId xmlns:a16="http://schemas.microsoft.com/office/drawing/2014/main" id="{5CB021CE-6D65-4C81-B4E7-851501A88C77}"/>
              </a:ext>
            </a:extLst>
          </p:cNvPr>
          <p:cNvSpPr>
            <a:spLocks noGrp="1"/>
          </p:cNvSpPr>
          <p:nvPr>
            <p:ph type="title" hasCustomPrompt="1"/>
          </p:nvPr>
        </p:nvSpPr>
        <p:spPr>
          <a:xfrm>
            <a:off x="777244" y="968116"/>
            <a:ext cx="10828685" cy="350700"/>
          </a:xfrm>
        </p:spPr>
        <p:txBody>
          <a:bodyPr lIns="0" tIns="0" rIns="0" bIns="0"/>
          <a:lstStyle>
            <a:lvl1pPr>
              <a:defRPr>
                <a:solidFill>
                  <a:schemeClr val="bg1"/>
                </a:solidFill>
              </a:defRPr>
            </a:lvl1pPr>
          </a:lstStyle>
          <a:p>
            <a:r>
              <a:rPr lang="nl-NL" dirty="0"/>
              <a:t>Plaats hier je titel</a:t>
            </a:r>
          </a:p>
        </p:txBody>
      </p:sp>
      <p:cxnSp>
        <p:nvCxnSpPr>
          <p:cNvPr id="9" name="LIJN">
            <a:extLst>
              <a:ext uri="{FF2B5EF4-FFF2-40B4-BE49-F238E27FC236}">
                <a16:creationId xmlns:a16="http://schemas.microsoft.com/office/drawing/2014/main" id="{3323C885-6848-45DD-8FDF-7693C74E62E9}"/>
              </a:ext>
            </a:extLst>
          </p:cNvPr>
          <p:cNvCxnSpPr>
            <a:cxnSpLocks/>
          </p:cNvCxnSpPr>
          <p:nvPr userDrawn="1"/>
        </p:nvCxnSpPr>
        <p:spPr>
          <a:xfrm>
            <a:off x="602232" y="1304529"/>
            <a:ext cx="0" cy="4981971"/>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0" name="HAAK">
            <a:extLst>
              <a:ext uri="{FF2B5EF4-FFF2-40B4-BE49-F238E27FC236}">
                <a16:creationId xmlns:a16="http://schemas.microsoft.com/office/drawing/2014/main" id="{6CBA9AF4-DD1A-4289-8876-704D69C539A2}"/>
              </a:ext>
            </a:extLst>
          </p:cNvPr>
          <p:cNvSpPr>
            <a:spLocks/>
          </p:cNvSpPr>
          <p:nvPr userDrawn="1"/>
        </p:nvSpPr>
        <p:spPr bwMode="auto">
          <a:xfrm>
            <a:off x="587030" y="1056880"/>
            <a:ext cx="69016" cy="202404"/>
          </a:xfrm>
          <a:custGeom>
            <a:avLst/>
            <a:gdLst>
              <a:gd name="T0" fmla="*/ 3 w 17"/>
              <a:gd name="T1" fmla="*/ 10 h 50"/>
              <a:gd name="T2" fmla="*/ 6 w 17"/>
              <a:gd name="T3" fmla="*/ 0 h 50"/>
              <a:gd name="T4" fmla="*/ 16 w 17"/>
              <a:gd name="T5" fmla="*/ 25 h 50"/>
              <a:gd name="T6" fmla="*/ 7 w 17"/>
              <a:gd name="T7" fmla="*/ 50 h 50"/>
              <a:gd name="T8" fmla="*/ 4 w 17"/>
              <a:gd name="T9" fmla="*/ 40 h 50"/>
              <a:gd name="T10" fmla="*/ 8 w 17"/>
              <a:gd name="T11" fmla="*/ 25 h 50"/>
              <a:gd name="T12" fmla="*/ 3 w 17"/>
              <a:gd name="T13" fmla="*/ 10 h 50"/>
            </a:gdLst>
            <a:ahLst/>
            <a:cxnLst>
              <a:cxn ang="0">
                <a:pos x="T0" y="T1"/>
              </a:cxn>
              <a:cxn ang="0">
                <a:pos x="T2" y="T3"/>
              </a:cxn>
              <a:cxn ang="0">
                <a:pos x="T4" y="T5"/>
              </a:cxn>
              <a:cxn ang="0">
                <a:pos x="T6" y="T7"/>
              </a:cxn>
              <a:cxn ang="0">
                <a:pos x="T8" y="T9"/>
              </a:cxn>
              <a:cxn ang="0">
                <a:pos x="T10" y="T11"/>
              </a:cxn>
              <a:cxn ang="0">
                <a:pos x="T12" y="T13"/>
              </a:cxn>
            </a:cxnLst>
            <a:rect l="0" t="0" r="r" b="b"/>
            <a:pathLst>
              <a:path w="17" h="50">
                <a:moveTo>
                  <a:pt x="3" y="10"/>
                </a:moveTo>
                <a:cubicBezTo>
                  <a:pt x="0" y="1"/>
                  <a:pt x="6" y="0"/>
                  <a:pt x="6" y="0"/>
                </a:cubicBezTo>
                <a:cubicBezTo>
                  <a:pt x="6" y="0"/>
                  <a:pt x="16" y="19"/>
                  <a:pt x="16" y="25"/>
                </a:cubicBezTo>
                <a:cubicBezTo>
                  <a:pt x="17" y="31"/>
                  <a:pt x="7" y="50"/>
                  <a:pt x="7" y="50"/>
                </a:cubicBezTo>
                <a:cubicBezTo>
                  <a:pt x="7" y="50"/>
                  <a:pt x="1" y="48"/>
                  <a:pt x="4" y="40"/>
                </a:cubicBezTo>
                <a:cubicBezTo>
                  <a:pt x="6" y="32"/>
                  <a:pt x="8" y="25"/>
                  <a:pt x="8" y="25"/>
                </a:cubicBezTo>
                <a:lnTo>
                  <a:pt x="3" y="1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nl-NL"/>
          </a:p>
        </p:txBody>
      </p:sp>
      <p:sp>
        <p:nvSpPr>
          <p:cNvPr id="11" name="Tijdelijke aanduiding voor verticale tekst 2">
            <a:extLst>
              <a:ext uri="{FF2B5EF4-FFF2-40B4-BE49-F238E27FC236}">
                <a16:creationId xmlns:a16="http://schemas.microsoft.com/office/drawing/2014/main" id="{0A918269-25BB-4CEA-AEB3-CA2A3F96781D}"/>
              </a:ext>
            </a:extLst>
          </p:cNvPr>
          <p:cNvSpPr>
            <a:spLocks noGrp="1"/>
          </p:cNvSpPr>
          <p:nvPr>
            <p:ph type="body" orient="vert" idx="1" hasCustomPrompt="1"/>
          </p:nvPr>
        </p:nvSpPr>
        <p:spPr>
          <a:xfrm>
            <a:off x="777234" y="1978207"/>
            <a:ext cx="3279510" cy="4448498"/>
          </a:xfrm>
        </p:spPr>
        <p:txBody>
          <a:bodyPr vert="horz" lIns="0" tIns="0" rIns="0" bIns="0"/>
          <a:lstStyle>
            <a:lvl1pPr marL="217488" indent="-217488">
              <a:buClr>
                <a:schemeClr val="bg1"/>
              </a:buClr>
              <a:buSzPct val="100000"/>
              <a:buFont typeface="Segoe UI Light" panose="020B0502040204020203" pitchFamily="34" charset="0"/>
              <a:buChar char="›"/>
              <a:defRPr>
                <a:solidFill>
                  <a:schemeClr val="bg1"/>
                </a:solidFill>
              </a:defRPr>
            </a:lvl1pPr>
            <a:lvl2pPr marL="471488" indent="-254000">
              <a:buClr>
                <a:schemeClr val="bg1"/>
              </a:buClr>
              <a:buFont typeface="Segoe UI Light" panose="020B0502040204020203" pitchFamily="34" charset="0"/>
              <a:buChar char="›"/>
              <a:defRPr>
                <a:solidFill>
                  <a:schemeClr val="bg1"/>
                </a:solidFill>
              </a:defRPr>
            </a:lvl2pPr>
            <a:lvl3pPr>
              <a:defRPr>
                <a:solidFill>
                  <a:schemeClr val="bg1"/>
                </a:solidFill>
              </a:defRPr>
            </a:lvl3pPr>
            <a:lvl4pPr>
              <a:defRPr/>
            </a:lvl4pPr>
            <a:lvl5pPr>
              <a:buClr>
                <a:schemeClr val="bg1"/>
              </a:buClr>
              <a:defRPr>
                <a:solidFill>
                  <a:schemeClr val="bg1"/>
                </a:solidFill>
              </a:defRPr>
            </a:lvl5pPr>
            <a:lvl6pPr marL="217488" indent="-217488">
              <a:buClr>
                <a:schemeClr val="bg1"/>
              </a:buClr>
              <a:buFont typeface="Segoe UI Light" panose="020B0502040204020203" pitchFamily="34" charset="0"/>
              <a:buChar char="›"/>
              <a:defRPr>
                <a:solidFill>
                  <a:schemeClr val="bg1"/>
                </a:solidFill>
              </a:defRPr>
            </a:lvl6pPr>
            <a:lvl7pPr marL="471488" indent="-254000">
              <a:buClr>
                <a:schemeClr val="bg1"/>
              </a:buClr>
              <a:buFont typeface="Segoe UI Light" panose="020B0502040204020203" pitchFamily="34" charset="0"/>
              <a:buChar char="›"/>
              <a:defRPr>
                <a:solidFill>
                  <a:schemeClr val="bg1"/>
                </a:solidFill>
              </a:defRPr>
            </a:lvl7pPr>
            <a:lvl8pPr>
              <a:defRPr>
                <a:solidFill>
                  <a:schemeClr val="bg1"/>
                </a:solidFill>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a:t>
            </a:r>
            <a:endParaRPr lang="nl-NL" dirty="0"/>
          </a:p>
          <a:p>
            <a:pPr lvl="5"/>
            <a:r>
              <a:rPr lang="nl-NL" dirty="0"/>
              <a:t>Bullet</a:t>
            </a:r>
          </a:p>
          <a:p>
            <a:pPr lvl="6"/>
            <a:r>
              <a:rPr lang="nl-NL" dirty="0"/>
              <a:t>Sub-</a:t>
            </a:r>
            <a:r>
              <a:rPr lang="nl-NL" dirty="0" err="1"/>
              <a:t>bullet</a:t>
            </a:r>
            <a:endParaRPr lang="nl-NL" dirty="0"/>
          </a:p>
          <a:p>
            <a:pPr lvl="7"/>
            <a:r>
              <a:rPr lang="nl-NL" dirty="0"/>
              <a:t>Leestekst</a:t>
            </a:r>
          </a:p>
          <a:p>
            <a:pPr lvl="8"/>
            <a:r>
              <a:rPr lang="nl-NL" dirty="0"/>
              <a:t>Subtitel</a:t>
            </a:r>
          </a:p>
        </p:txBody>
      </p:sp>
      <p:sp>
        <p:nvSpPr>
          <p:cNvPr id="12" name="Tijdelijke aanduiding voor tekst 25">
            <a:extLst>
              <a:ext uri="{FF2B5EF4-FFF2-40B4-BE49-F238E27FC236}">
                <a16:creationId xmlns:a16="http://schemas.microsoft.com/office/drawing/2014/main" id="{3BB6D000-AD0B-4D7D-953F-67244B9F1D94}"/>
              </a:ext>
            </a:extLst>
          </p:cNvPr>
          <p:cNvSpPr txBox="1">
            <a:spLocks/>
          </p:cNvSpPr>
          <p:nvPr userDrawn="1"/>
        </p:nvSpPr>
        <p:spPr>
          <a:xfrm>
            <a:off x="5616312" y="389469"/>
            <a:ext cx="959375" cy="171317"/>
          </a:xfrm>
          <a:prstGeom prst="rect">
            <a:avLst/>
          </a:prstGeom>
          <a:blipFill>
            <a:blip r:embed="rId3" cstate="hqprint">
              <a:extLst>
                <a:ext uri="{28A0092B-C50C-407E-A947-70E740481C1C}">
                  <a14:useLocalDpi xmlns:a14="http://schemas.microsoft.com/office/drawing/2010/main"/>
                </a:ext>
              </a:extLst>
            </a:blip>
            <a:stretch>
              <a:fillRect/>
            </a:stretch>
          </a:blipFill>
          <a:ln w="12700">
            <a:noFill/>
          </a:ln>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100" kern="1200">
                <a:solidFill>
                  <a:schemeClr val="bg1"/>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4"/>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5"/>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4"/>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en-GB"/>
              <a:t> </a:t>
            </a:r>
          </a:p>
        </p:txBody>
      </p:sp>
      <p:sp>
        <p:nvSpPr>
          <p:cNvPr id="19" name="Tijdelijke aanduiding voor verticale tekst 2">
            <a:extLst>
              <a:ext uri="{FF2B5EF4-FFF2-40B4-BE49-F238E27FC236}">
                <a16:creationId xmlns:a16="http://schemas.microsoft.com/office/drawing/2014/main" id="{EA922C0A-9B56-4C90-A1E8-1F0DC09AED6B}"/>
              </a:ext>
            </a:extLst>
          </p:cNvPr>
          <p:cNvSpPr>
            <a:spLocks noGrp="1"/>
          </p:cNvSpPr>
          <p:nvPr>
            <p:ph type="body" orient="vert" idx="10" hasCustomPrompt="1"/>
          </p:nvPr>
        </p:nvSpPr>
        <p:spPr>
          <a:xfrm>
            <a:off x="4551831" y="1978207"/>
            <a:ext cx="3279510" cy="4448498"/>
          </a:xfrm>
        </p:spPr>
        <p:txBody>
          <a:bodyPr vert="horz" lIns="0" tIns="0" rIns="0" bIns="0"/>
          <a:lstStyle>
            <a:lvl1pPr marL="217488" indent="-217488">
              <a:buClr>
                <a:schemeClr val="bg1"/>
              </a:buClr>
              <a:buSzPct val="100000"/>
              <a:buFont typeface="Segoe UI Light" panose="020B0502040204020203" pitchFamily="34" charset="0"/>
              <a:buChar char="›"/>
              <a:defRPr>
                <a:solidFill>
                  <a:schemeClr val="bg1"/>
                </a:solidFill>
              </a:defRPr>
            </a:lvl1pPr>
            <a:lvl2pPr marL="471488" indent="-254000">
              <a:buClr>
                <a:schemeClr val="bg1"/>
              </a:buClr>
              <a:buFont typeface="Segoe UI Light" panose="020B0502040204020203" pitchFamily="34" charset="0"/>
              <a:buChar char="›"/>
              <a:defRPr>
                <a:solidFill>
                  <a:schemeClr val="bg1"/>
                </a:solidFill>
              </a:defRPr>
            </a:lvl2pPr>
            <a:lvl3pPr>
              <a:defRPr>
                <a:solidFill>
                  <a:schemeClr val="bg1"/>
                </a:solidFill>
              </a:defRPr>
            </a:lvl3pPr>
            <a:lvl4pPr>
              <a:defRPr/>
            </a:lvl4pPr>
            <a:lvl5pPr>
              <a:buClr>
                <a:schemeClr val="bg1"/>
              </a:buClr>
              <a:defRPr>
                <a:solidFill>
                  <a:schemeClr val="bg1"/>
                </a:solidFill>
              </a:defRPr>
            </a:lvl5pPr>
            <a:lvl6pPr marL="217488" indent="-217488">
              <a:buClr>
                <a:schemeClr val="bg1"/>
              </a:buClr>
              <a:buFont typeface="Segoe UI Light" panose="020B0502040204020203" pitchFamily="34" charset="0"/>
              <a:buChar char="›"/>
              <a:defRPr>
                <a:solidFill>
                  <a:schemeClr val="bg1"/>
                </a:solidFill>
              </a:defRPr>
            </a:lvl6pPr>
            <a:lvl7pPr marL="471488" indent="-254000">
              <a:buClr>
                <a:schemeClr val="bg1"/>
              </a:buClr>
              <a:buFont typeface="Segoe UI Light" panose="020B0502040204020203" pitchFamily="34" charset="0"/>
              <a:buChar char="›"/>
              <a:defRPr>
                <a:solidFill>
                  <a:schemeClr val="bg1"/>
                </a:solidFill>
              </a:defRPr>
            </a:lvl7pPr>
            <a:lvl8pPr>
              <a:defRPr>
                <a:solidFill>
                  <a:schemeClr val="bg1"/>
                </a:solidFill>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a:t>
            </a:r>
            <a:endParaRPr lang="nl-NL" dirty="0"/>
          </a:p>
          <a:p>
            <a:pPr lvl="5"/>
            <a:r>
              <a:rPr lang="nl-NL" dirty="0"/>
              <a:t>Bullet</a:t>
            </a:r>
          </a:p>
          <a:p>
            <a:pPr lvl="6"/>
            <a:r>
              <a:rPr lang="nl-NL" dirty="0"/>
              <a:t>Sub-</a:t>
            </a:r>
            <a:r>
              <a:rPr lang="nl-NL" dirty="0" err="1"/>
              <a:t>bullet</a:t>
            </a:r>
            <a:endParaRPr lang="nl-NL" dirty="0"/>
          </a:p>
          <a:p>
            <a:pPr lvl="7"/>
            <a:r>
              <a:rPr lang="nl-NL" dirty="0"/>
              <a:t>Leestekst</a:t>
            </a:r>
          </a:p>
          <a:p>
            <a:pPr lvl="8"/>
            <a:r>
              <a:rPr lang="nl-NL" dirty="0"/>
              <a:t>Subtitel</a:t>
            </a:r>
          </a:p>
        </p:txBody>
      </p:sp>
      <p:sp>
        <p:nvSpPr>
          <p:cNvPr id="20" name="Tijdelijke aanduiding voor verticale tekst 2">
            <a:extLst>
              <a:ext uri="{FF2B5EF4-FFF2-40B4-BE49-F238E27FC236}">
                <a16:creationId xmlns:a16="http://schemas.microsoft.com/office/drawing/2014/main" id="{28AD8089-C5BB-40DA-9C43-C9CFD87A86D8}"/>
              </a:ext>
            </a:extLst>
          </p:cNvPr>
          <p:cNvSpPr>
            <a:spLocks noGrp="1"/>
          </p:cNvSpPr>
          <p:nvPr>
            <p:ph type="body" orient="vert" idx="11" hasCustomPrompt="1"/>
          </p:nvPr>
        </p:nvSpPr>
        <p:spPr>
          <a:xfrm>
            <a:off x="8390313" y="1978207"/>
            <a:ext cx="3279510" cy="4448498"/>
          </a:xfrm>
        </p:spPr>
        <p:txBody>
          <a:bodyPr vert="horz" lIns="0" tIns="0" rIns="0" bIns="0"/>
          <a:lstStyle>
            <a:lvl1pPr marL="217488" indent="-217488">
              <a:buClr>
                <a:schemeClr val="bg1"/>
              </a:buClr>
              <a:buSzPct val="100000"/>
              <a:buFont typeface="Segoe UI Light" panose="020B0502040204020203" pitchFamily="34" charset="0"/>
              <a:buChar char="›"/>
              <a:defRPr>
                <a:solidFill>
                  <a:schemeClr val="bg1"/>
                </a:solidFill>
              </a:defRPr>
            </a:lvl1pPr>
            <a:lvl2pPr marL="471488" indent="-254000">
              <a:buClr>
                <a:schemeClr val="bg1"/>
              </a:buClr>
              <a:buFont typeface="Segoe UI Light" panose="020B0502040204020203" pitchFamily="34" charset="0"/>
              <a:buChar char="›"/>
              <a:defRPr>
                <a:solidFill>
                  <a:schemeClr val="bg1"/>
                </a:solidFill>
              </a:defRPr>
            </a:lvl2pPr>
            <a:lvl3pPr>
              <a:defRPr>
                <a:solidFill>
                  <a:schemeClr val="bg1"/>
                </a:solidFill>
              </a:defRPr>
            </a:lvl3pPr>
            <a:lvl4pPr>
              <a:defRPr/>
            </a:lvl4pPr>
            <a:lvl5pPr>
              <a:buClr>
                <a:schemeClr val="bg1"/>
              </a:buClr>
              <a:defRPr>
                <a:solidFill>
                  <a:schemeClr val="bg1"/>
                </a:solidFill>
              </a:defRPr>
            </a:lvl5pPr>
            <a:lvl6pPr marL="217488" indent="-217488">
              <a:buClr>
                <a:schemeClr val="bg1"/>
              </a:buClr>
              <a:buFont typeface="Segoe UI Light" panose="020B0502040204020203" pitchFamily="34" charset="0"/>
              <a:buChar char="›"/>
              <a:defRPr>
                <a:solidFill>
                  <a:schemeClr val="bg1"/>
                </a:solidFill>
              </a:defRPr>
            </a:lvl6pPr>
            <a:lvl7pPr marL="471488" indent="-254000">
              <a:buClr>
                <a:schemeClr val="bg1"/>
              </a:buClr>
              <a:buFont typeface="Segoe UI Light" panose="020B0502040204020203" pitchFamily="34" charset="0"/>
              <a:buChar char="›"/>
              <a:defRPr>
                <a:solidFill>
                  <a:schemeClr val="bg1"/>
                </a:solidFill>
              </a:defRPr>
            </a:lvl7pPr>
            <a:lvl8pPr>
              <a:defRPr>
                <a:solidFill>
                  <a:schemeClr val="bg1"/>
                </a:solidFill>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a:t>
            </a:r>
            <a:endParaRPr lang="nl-NL" dirty="0"/>
          </a:p>
          <a:p>
            <a:pPr lvl="5"/>
            <a:r>
              <a:rPr lang="nl-NL" dirty="0"/>
              <a:t>Bullet</a:t>
            </a:r>
          </a:p>
          <a:p>
            <a:pPr lvl="6"/>
            <a:r>
              <a:rPr lang="nl-NL" dirty="0"/>
              <a:t>Sub-</a:t>
            </a:r>
            <a:r>
              <a:rPr lang="nl-NL" dirty="0" err="1"/>
              <a:t>bullet</a:t>
            </a:r>
            <a:endParaRPr lang="nl-NL" dirty="0"/>
          </a:p>
          <a:p>
            <a:pPr lvl="7"/>
            <a:r>
              <a:rPr lang="nl-NL" dirty="0"/>
              <a:t>Leestekst</a:t>
            </a:r>
          </a:p>
          <a:p>
            <a:pPr lvl="8"/>
            <a:r>
              <a:rPr lang="nl-NL" dirty="0"/>
              <a:t>Subtitel</a:t>
            </a:r>
          </a:p>
        </p:txBody>
      </p:sp>
      <p:sp>
        <p:nvSpPr>
          <p:cNvPr id="3" name="Tijdelijke aanduiding voor tekst 2">
            <a:extLst>
              <a:ext uri="{FF2B5EF4-FFF2-40B4-BE49-F238E27FC236}">
                <a16:creationId xmlns:a16="http://schemas.microsoft.com/office/drawing/2014/main" id="{F2D57D88-75A3-42B0-A564-D68C3389DD17}"/>
              </a:ext>
            </a:extLst>
          </p:cNvPr>
          <p:cNvSpPr>
            <a:spLocks noGrp="1"/>
          </p:cNvSpPr>
          <p:nvPr>
            <p:ph type="body" sz="quarter" idx="12" hasCustomPrompt="1"/>
          </p:nvPr>
        </p:nvSpPr>
        <p:spPr>
          <a:xfrm>
            <a:off x="777234" y="1589780"/>
            <a:ext cx="3279503" cy="320916"/>
          </a:xfrm>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lang="nl-NL" sz="2000" b="1" kern="1200" cap="all" baseline="0" dirty="0">
                <a:solidFill>
                  <a:schemeClr val="bg1"/>
                </a:solidFill>
                <a:latin typeface="+mj-lt"/>
                <a:ea typeface="+mn-ea"/>
                <a:cs typeface="+mn-cs"/>
              </a:defRPr>
            </a:lvl1pPr>
          </a:lstStyle>
          <a:p>
            <a:pPr lvl="0"/>
            <a:r>
              <a:rPr lang="en-US" dirty="0"/>
              <a:t>TITEL</a:t>
            </a:r>
            <a:endParaRPr lang="nl-NL" dirty="0"/>
          </a:p>
        </p:txBody>
      </p:sp>
      <p:sp>
        <p:nvSpPr>
          <p:cNvPr id="22" name="Tijdelijke aanduiding voor tekst 2">
            <a:extLst>
              <a:ext uri="{FF2B5EF4-FFF2-40B4-BE49-F238E27FC236}">
                <a16:creationId xmlns:a16="http://schemas.microsoft.com/office/drawing/2014/main" id="{019919EF-7DA5-446D-9405-7606A4C1D42C}"/>
              </a:ext>
            </a:extLst>
          </p:cNvPr>
          <p:cNvSpPr>
            <a:spLocks noGrp="1"/>
          </p:cNvSpPr>
          <p:nvPr>
            <p:ph type="body" sz="quarter" idx="13" hasCustomPrompt="1"/>
          </p:nvPr>
        </p:nvSpPr>
        <p:spPr>
          <a:xfrm>
            <a:off x="4551831" y="1589780"/>
            <a:ext cx="3279503" cy="320916"/>
          </a:xfrm>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lang="nl-NL" sz="2000" b="1" kern="1200" cap="all" baseline="0" dirty="0">
                <a:solidFill>
                  <a:schemeClr val="bg1"/>
                </a:solidFill>
                <a:latin typeface="+mj-lt"/>
                <a:ea typeface="+mn-ea"/>
                <a:cs typeface="+mn-cs"/>
              </a:defRPr>
            </a:lvl1pPr>
          </a:lstStyle>
          <a:p>
            <a:pPr lvl="0"/>
            <a:r>
              <a:rPr lang="en-US" dirty="0"/>
              <a:t>TITEL</a:t>
            </a:r>
            <a:endParaRPr lang="nl-NL" dirty="0"/>
          </a:p>
        </p:txBody>
      </p:sp>
      <p:sp>
        <p:nvSpPr>
          <p:cNvPr id="23" name="Tijdelijke aanduiding voor tekst 2">
            <a:extLst>
              <a:ext uri="{FF2B5EF4-FFF2-40B4-BE49-F238E27FC236}">
                <a16:creationId xmlns:a16="http://schemas.microsoft.com/office/drawing/2014/main" id="{D058F85B-2947-46B0-B41D-6B850D59CC9B}"/>
              </a:ext>
            </a:extLst>
          </p:cNvPr>
          <p:cNvSpPr>
            <a:spLocks noGrp="1"/>
          </p:cNvSpPr>
          <p:nvPr>
            <p:ph type="body" sz="quarter" idx="14" hasCustomPrompt="1"/>
          </p:nvPr>
        </p:nvSpPr>
        <p:spPr>
          <a:xfrm>
            <a:off x="8390313" y="1589780"/>
            <a:ext cx="3279503" cy="320916"/>
          </a:xfrm>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lang="nl-NL" sz="2000" b="1" kern="1200" cap="all" baseline="0" dirty="0">
                <a:solidFill>
                  <a:schemeClr val="bg1"/>
                </a:solidFill>
                <a:latin typeface="+mj-lt"/>
                <a:ea typeface="+mn-ea"/>
                <a:cs typeface="+mn-cs"/>
              </a:defRPr>
            </a:lvl1pPr>
          </a:lstStyle>
          <a:p>
            <a:pPr lvl="0"/>
            <a:r>
              <a:rPr lang="en-US" dirty="0"/>
              <a:t>TITEL</a:t>
            </a:r>
            <a:endParaRPr lang="nl-NL" dirty="0"/>
          </a:p>
        </p:txBody>
      </p:sp>
    </p:spTree>
    <p:extLst>
      <p:ext uri="{BB962C8B-B14F-4D97-AF65-F5344CB8AC3E}">
        <p14:creationId xmlns:p14="http://schemas.microsoft.com/office/powerpoint/2010/main" val="280215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meline Cases Version 1">
    <p:spTree>
      <p:nvGrpSpPr>
        <p:cNvPr id="1" name=""/>
        <p:cNvGrpSpPr/>
        <p:nvPr/>
      </p:nvGrpSpPr>
      <p:grpSpPr>
        <a:xfrm>
          <a:off x="0" y="0"/>
          <a:ext cx="0" cy="0"/>
          <a:chOff x="0" y="0"/>
          <a:chExt cx="0" cy="0"/>
        </a:xfrm>
      </p:grpSpPr>
      <p:pic>
        <p:nvPicPr>
          <p:cNvPr id="47" name="Afbeelding 3">
            <a:extLst>
              <a:ext uri="{FF2B5EF4-FFF2-40B4-BE49-F238E27FC236}">
                <a16:creationId xmlns:a16="http://schemas.microsoft.com/office/drawing/2014/main" id="{FD0B8E76-6D83-4D00-8ACE-35D018DEE12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30" y="0"/>
            <a:ext cx="12189270" cy="6858000"/>
          </a:xfrm>
          <a:prstGeom prst="rect">
            <a:avLst/>
          </a:prstGeom>
        </p:spPr>
      </p:pic>
      <p:sp>
        <p:nvSpPr>
          <p:cNvPr id="48" name="Tijdelijke aanduiding voor tekst 25">
            <a:extLst>
              <a:ext uri="{FF2B5EF4-FFF2-40B4-BE49-F238E27FC236}">
                <a16:creationId xmlns:a16="http://schemas.microsoft.com/office/drawing/2014/main" id="{02577F09-C567-44B2-9462-0B405EF4E284}"/>
              </a:ext>
            </a:extLst>
          </p:cNvPr>
          <p:cNvSpPr txBox="1">
            <a:spLocks/>
          </p:cNvSpPr>
          <p:nvPr userDrawn="1"/>
        </p:nvSpPr>
        <p:spPr>
          <a:xfrm>
            <a:off x="5616312" y="389469"/>
            <a:ext cx="959375" cy="171317"/>
          </a:xfrm>
          <a:prstGeom prst="rect">
            <a:avLst/>
          </a:prstGeom>
          <a:blipFill>
            <a:blip r:embed="rId3" cstate="hqprint">
              <a:extLst>
                <a:ext uri="{28A0092B-C50C-407E-A947-70E740481C1C}">
                  <a14:useLocalDpi xmlns:a14="http://schemas.microsoft.com/office/drawing/2010/main"/>
                </a:ext>
              </a:extLst>
            </a:blip>
            <a:stretch>
              <a:fillRect/>
            </a:stretch>
          </a:blipFill>
          <a:ln w="12700">
            <a:noFill/>
          </a:ln>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100" kern="1200">
                <a:solidFill>
                  <a:schemeClr val="bg1"/>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4"/>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5"/>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4"/>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en-GB"/>
              <a:t> </a:t>
            </a:r>
          </a:p>
        </p:txBody>
      </p:sp>
      <p:pic>
        <p:nvPicPr>
          <p:cNvPr id="108" name="Afbeelding 107"/>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777244" y="4800019"/>
            <a:ext cx="40417" cy="147141"/>
          </a:xfrm>
          <a:prstGeom prst="rect">
            <a:avLst/>
          </a:prstGeom>
        </p:spPr>
      </p:pic>
      <p:pic>
        <p:nvPicPr>
          <p:cNvPr id="31" name="Afbeelding 3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912116" y="4084420"/>
            <a:ext cx="26239" cy="96000"/>
          </a:xfrm>
          <a:prstGeom prst="rect">
            <a:avLst/>
          </a:prstGeom>
        </p:spPr>
      </p:pic>
      <p:sp>
        <p:nvSpPr>
          <p:cNvPr id="32" name="Rechthoek 31"/>
          <p:cNvSpPr/>
          <p:nvPr userDrawn="1"/>
        </p:nvSpPr>
        <p:spPr>
          <a:xfrm>
            <a:off x="6735581" y="4274931"/>
            <a:ext cx="4048827" cy="2152629"/>
          </a:xfrm>
          <a:prstGeom prst="rect">
            <a:avLst/>
          </a:prstGeom>
          <a:noFill/>
          <a:ln w="3810">
            <a:solidFill>
              <a:schemeClr val="bg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285"/>
          </a:p>
        </p:txBody>
      </p:sp>
      <p:pic>
        <p:nvPicPr>
          <p:cNvPr id="33" name="Afbeelding 32"/>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6628902" y="6322557"/>
            <a:ext cx="40417" cy="147141"/>
          </a:xfrm>
          <a:prstGeom prst="rect">
            <a:avLst/>
          </a:prstGeom>
        </p:spPr>
      </p:pic>
      <p:sp>
        <p:nvSpPr>
          <p:cNvPr id="34" name="Tijdelijke aanduiding voor afbeelding 157"/>
          <p:cNvSpPr>
            <a:spLocks noGrp="1"/>
          </p:cNvSpPr>
          <p:nvPr>
            <p:ph type="pic" sz="quarter" idx="18" hasCustomPrompt="1"/>
          </p:nvPr>
        </p:nvSpPr>
        <p:spPr>
          <a:xfrm>
            <a:off x="6826970" y="4368064"/>
            <a:ext cx="1758843" cy="1988051"/>
          </a:xfrm>
          <a:noFill/>
        </p:spPr>
        <p:txBody>
          <a:bodyPr/>
          <a:lstStyle>
            <a:lvl1pPr marL="0" marR="0" indent="0" algn="l" defTabSz="609579" rtl="0" eaLnBrk="1" fontAlgn="auto" latinLnBrk="0" hangingPunct="1">
              <a:lnSpc>
                <a:spcPct val="100000"/>
              </a:lnSpc>
              <a:spcBef>
                <a:spcPct val="20000"/>
              </a:spcBef>
              <a:spcAft>
                <a:spcPts val="0"/>
              </a:spcAft>
              <a:buClrTx/>
              <a:buSzPct val="100000"/>
              <a:buFont typeface="Arial"/>
              <a:buNone/>
              <a:tabLst/>
              <a:defRPr sz="733"/>
            </a:lvl1pPr>
          </a:lstStyle>
          <a:p>
            <a:r>
              <a:rPr lang="nl-NL" dirty="0"/>
              <a:t>Image</a:t>
            </a:r>
          </a:p>
          <a:p>
            <a:endParaRPr lang="nl-NL" dirty="0"/>
          </a:p>
        </p:txBody>
      </p:sp>
      <p:sp>
        <p:nvSpPr>
          <p:cNvPr id="35" name="Tijdelijke aanduiding voor tekst 159"/>
          <p:cNvSpPr>
            <a:spLocks noGrp="1"/>
          </p:cNvSpPr>
          <p:nvPr>
            <p:ph type="body" sz="quarter" idx="19" hasCustomPrompt="1"/>
          </p:nvPr>
        </p:nvSpPr>
        <p:spPr>
          <a:xfrm>
            <a:off x="8669474" y="4351208"/>
            <a:ext cx="2027848" cy="460800"/>
          </a:xfrm>
        </p:spPr>
        <p:txBody>
          <a:bodyPr/>
          <a:lstStyle>
            <a:lvl1pPr marL="0" indent="0">
              <a:buFont typeface="Arial"/>
              <a:buNone/>
              <a:defRPr sz="1200" b="1" cap="all">
                <a:solidFill>
                  <a:schemeClr val="bg1"/>
                </a:solidFill>
                <a:latin typeface="Arial Black"/>
                <a:cs typeface="Arial Black"/>
              </a:defRPr>
            </a:lvl1pPr>
            <a:lvl2pPr marL="482584" indent="0">
              <a:buFont typeface="Arial"/>
              <a:buNone/>
              <a:defRPr sz="1200" b="1">
                <a:solidFill>
                  <a:schemeClr val="tx2"/>
                </a:solidFill>
              </a:defRPr>
            </a:lvl2pPr>
            <a:lvl3pPr marL="1075230" indent="0">
              <a:buFont typeface="Arial"/>
              <a:buNone/>
              <a:defRPr sz="1200" b="1">
                <a:solidFill>
                  <a:schemeClr val="tx2"/>
                </a:solidFill>
              </a:defRPr>
            </a:lvl3pPr>
            <a:lvl4pPr marL="1676343" indent="0">
              <a:buFont typeface="Arial"/>
              <a:buNone/>
              <a:defRPr sz="1200" b="1">
                <a:solidFill>
                  <a:schemeClr val="tx2"/>
                </a:solidFill>
              </a:defRPr>
            </a:lvl4pPr>
            <a:lvl5pPr marL="2268990" indent="0">
              <a:buFont typeface="Arial"/>
              <a:buNone/>
              <a:defRPr sz="1200" b="1">
                <a:solidFill>
                  <a:schemeClr val="tx2"/>
                </a:solidFill>
              </a:defRPr>
            </a:lvl5pPr>
          </a:lstStyle>
          <a:p>
            <a:pPr lvl="0"/>
            <a:r>
              <a:rPr lang="nl-NL" dirty="0"/>
              <a:t>Click </a:t>
            </a:r>
            <a:r>
              <a:rPr lang="nl-NL" dirty="0" err="1"/>
              <a:t>to</a:t>
            </a:r>
            <a:r>
              <a:rPr lang="nl-NL" dirty="0"/>
              <a:t> </a:t>
            </a:r>
            <a:r>
              <a:rPr lang="nl-NL" dirty="0" err="1"/>
              <a:t>edit</a:t>
            </a:r>
            <a:r>
              <a:rPr lang="nl-NL" dirty="0"/>
              <a:t> </a:t>
            </a:r>
            <a:r>
              <a:rPr lang="nl-NL" dirty="0" err="1"/>
              <a:t>title</a:t>
            </a:r>
            <a:endParaRPr lang="nl-NL" dirty="0"/>
          </a:p>
        </p:txBody>
      </p:sp>
      <p:pic>
        <p:nvPicPr>
          <p:cNvPr id="36" name="Afbeelding 3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15960" y="4084420"/>
            <a:ext cx="26239" cy="96000"/>
          </a:xfrm>
          <a:prstGeom prst="rect">
            <a:avLst/>
          </a:prstGeom>
        </p:spPr>
      </p:pic>
      <p:sp>
        <p:nvSpPr>
          <p:cNvPr id="37" name="Rechthoek 36"/>
          <p:cNvSpPr/>
          <p:nvPr userDrawn="1"/>
        </p:nvSpPr>
        <p:spPr>
          <a:xfrm>
            <a:off x="1462743" y="1522645"/>
            <a:ext cx="4048827" cy="2442760"/>
          </a:xfrm>
          <a:prstGeom prst="rect">
            <a:avLst/>
          </a:prstGeom>
          <a:noFill/>
          <a:ln w="3810">
            <a:solidFill>
              <a:schemeClr val="bg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285"/>
          </a:p>
        </p:txBody>
      </p:sp>
      <p:pic>
        <p:nvPicPr>
          <p:cNvPr id="38" name="Afbeelding 37"/>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343022" y="1510867"/>
            <a:ext cx="40417" cy="147141"/>
          </a:xfrm>
          <a:prstGeom prst="rect">
            <a:avLst/>
          </a:prstGeom>
        </p:spPr>
      </p:pic>
      <p:sp>
        <p:nvSpPr>
          <p:cNvPr id="39" name="Tijdelijke aanduiding voor afbeelding 157"/>
          <p:cNvSpPr>
            <a:spLocks noGrp="1"/>
          </p:cNvSpPr>
          <p:nvPr>
            <p:ph type="pic" sz="quarter" idx="20" hasCustomPrompt="1"/>
          </p:nvPr>
        </p:nvSpPr>
        <p:spPr>
          <a:xfrm>
            <a:off x="1554131" y="1615779"/>
            <a:ext cx="1758843" cy="2256000"/>
          </a:xfrm>
          <a:noFill/>
        </p:spPr>
        <p:txBody>
          <a:bodyPr/>
          <a:lstStyle>
            <a:lvl1pPr marL="0" marR="0" indent="0" algn="l" defTabSz="609579" rtl="0" eaLnBrk="1" fontAlgn="auto" latinLnBrk="0" hangingPunct="1">
              <a:lnSpc>
                <a:spcPct val="100000"/>
              </a:lnSpc>
              <a:spcBef>
                <a:spcPct val="20000"/>
              </a:spcBef>
              <a:spcAft>
                <a:spcPts val="0"/>
              </a:spcAft>
              <a:buClrTx/>
              <a:buSzPct val="100000"/>
              <a:buFont typeface="Arial"/>
              <a:buNone/>
              <a:tabLst/>
              <a:defRPr sz="733"/>
            </a:lvl1pPr>
          </a:lstStyle>
          <a:p>
            <a:r>
              <a:rPr lang="nl-NL" dirty="0"/>
              <a:t>Image</a:t>
            </a:r>
          </a:p>
          <a:p>
            <a:endParaRPr lang="nl-NL" dirty="0"/>
          </a:p>
        </p:txBody>
      </p:sp>
      <p:sp>
        <p:nvSpPr>
          <p:cNvPr id="40" name="Tijdelijke aanduiding voor tekst 159"/>
          <p:cNvSpPr>
            <a:spLocks noGrp="1"/>
          </p:cNvSpPr>
          <p:nvPr>
            <p:ph type="body" sz="quarter" idx="21" hasCustomPrompt="1"/>
          </p:nvPr>
        </p:nvSpPr>
        <p:spPr>
          <a:xfrm>
            <a:off x="3396635" y="1598923"/>
            <a:ext cx="2027848" cy="462700"/>
          </a:xfrm>
        </p:spPr>
        <p:txBody>
          <a:bodyPr/>
          <a:lstStyle>
            <a:lvl1pPr marL="0" indent="0">
              <a:buFont typeface="Arial"/>
              <a:buNone/>
              <a:defRPr sz="1200" b="1" cap="all">
                <a:solidFill>
                  <a:schemeClr val="bg1"/>
                </a:solidFill>
                <a:latin typeface="Arial Black"/>
                <a:cs typeface="Arial Black"/>
              </a:defRPr>
            </a:lvl1pPr>
            <a:lvl2pPr marL="482584" indent="0">
              <a:buFont typeface="Arial"/>
              <a:buNone/>
              <a:defRPr sz="1200" b="1">
                <a:solidFill>
                  <a:schemeClr val="tx2"/>
                </a:solidFill>
              </a:defRPr>
            </a:lvl2pPr>
            <a:lvl3pPr marL="1075230" indent="0">
              <a:buFont typeface="Arial"/>
              <a:buNone/>
              <a:defRPr sz="1200" b="1">
                <a:solidFill>
                  <a:schemeClr val="tx2"/>
                </a:solidFill>
              </a:defRPr>
            </a:lvl3pPr>
            <a:lvl4pPr marL="1676343" indent="0">
              <a:buFont typeface="Arial"/>
              <a:buNone/>
              <a:defRPr sz="1200" b="1">
                <a:solidFill>
                  <a:schemeClr val="tx2"/>
                </a:solidFill>
              </a:defRPr>
            </a:lvl4pPr>
            <a:lvl5pPr marL="2268990" indent="0">
              <a:buFont typeface="Arial"/>
              <a:buNone/>
              <a:defRPr sz="1200" b="1">
                <a:solidFill>
                  <a:schemeClr val="tx2"/>
                </a:solidFill>
              </a:defRPr>
            </a:lvl5pPr>
          </a:lstStyle>
          <a:p>
            <a:pPr lvl="0"/>
            <a:r>
              <a:rPr lang="nl-NL" dirty="0"/>
              <a:t>Click </a:t>
            </a:r>
            <a:r>
              <a:rPr lang="nl-NL" dirty="0" err="1"/>
              <a:t>to</a:t>
            </a:r>
            <a:r>
              <a:rPr lang="nl-NL" dirty="0"/>
              <a:t> </a:t>
            </a:r>
            <a:r>
              <a:rPr lang="nl-NL" dirty="0" err="1"/>
              <a:t>edit</a:t>
            </a:r>
            <a:r>
              <a:rPr lang="nl-NL" dirty="0"/>
              <a:t> </a:t>
            </a:r>
            <a:r>
              <a:rPr lang="nl-NL" dirty="0" err="1"/>
              <a:t>title</a:t>
            </a:r>
            <a:endParaRPr lang="nl-NL" dirty="0"/>
          </a:p>
        </p:txBody>
      </p:sp>
      <p:pic>
        <p:nvPicPr>
          <p:cNvPr id="41" name="Afbeelding 4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351239" y="4084420"/>
            <a:ext cx="26239" cy="96000"/>
          </a:xfrm>
          <a:prstGeom prst="rect">
            <a:avLst/>
          </a:prstGeom>
        </p:spPr>
      </p:pic>
      <p:sp>
        <p:nvSpPr>
          <p:cNvPr id="42" name="Rechthoek 41"/>
          <p:cNvSpPr/>
          <p:nvPr userDrawn="1"/>
        </p:nvSpPr>
        <p:spPr>
          <a:xfrm>
            <a:off x="6208920" y="1522645"/>
            <a:ext cx="3450977" cy="2442760"/>
          </a:xfrm>
          <a:prstGeom prst="rect">
            <a:avLst/>
          </a:prstGeom>
          <a:noFill/>
          <a:ln w="3810">
            <a:solidFill>
              <a:schemeClr val="bg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285"/>
          </a:p>
        </p:txBody>
      </p:sp>
      <p:pic>
        <p:nvPicPr>
          <p:cNvPr id="43" name="Afbeelding 42"/>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6089196" y="1510867"/>
            <a:ext cx="40417" cy="147141"/>
          </a:xfrm>
          <a:prstGeom prst="rect">
            <a:avLst/>
          </a:prstGeom>
        </p:spPr>
      </p:pic>
      <p:sp>
        <p:nvSpPr>
          <p:cNvPr id="44" name="Tijdelijke aanduiding voor afbeelding 157"/>
          <p:cNvSpPr>
            <a:spLocks noGrp="1"/>
          </p:cNvSpPr>
          <p:nvPr>
            <p:ph type="pic" sz="quarter" idx="22" hasCustomPrompt="1"/>
          </p:nvPr>
        </p:nvSpPr>
        <p:spPr>
          <a:xfrm>
            <a:off x="6300310" y="1615777"/>
            <a:ext cx="3249521" cy="1200000"/>
          </a:xfrm>
          <a:noFill/>
        </p:spPr>
        <p:txBody>
          <a:bodyPr/>
          <a:lstStyle>
            <a:lvl1pPr marL="0" marR="0" indent="0" algn="l" defTabSz="609579" rtl="0" eaLnBrk="1" fontAlgn="auto" latinLnBrk="0" hangingPunct="1">
              <a:lnSpc>
                <a:spcPct val="100000"/>
              </a:lnSpc>
              <a:spcBef>
                <a:spcPct val="20000"/>
              </a:spcBef>
              <a:spcAft>
                <a:spcPts val="0"/>
              </a:spcAft>
              <a:buClrTx/>
              <a:buSzPct val="100000"/>
              <a:buFont typeface="Arial"/>
              <a:buNone/>
              <a:tabLst/>
              <a:defRPr sz="733"/>
            </a:lvl1pPr>
          </a:lstStyle>
          <a:p>
            <a:r>
              <a:rPr lang="nl-NL" dirty="0"/>
              <a:t>Image</a:t>
            </a:r>
          </a:p>
          <a:p>
            <a:endParaRPr lang="nl-NL" dirty="0"/>
          </a:p>
        </p:txBody>
      </p:sp>
      <p:sp>
        <p:nvSpPr>
          <p:cNvPr id="45" name="Tijdelijke aanduiding voor tekst 159"/>
          <p:cNvSpPr>
            <a:spLocks noGrp="1"/>
          </p:cNvSpPr>
          <p:nvPr>
            <p:ph type="body" sz="quarter" idx="23" hasCustomPrompt="1"/>
          </p:nvPr>
        </p:nvSpPr>
        <p:spPr>
          <a:xfrm>
            <a:off x="6297080" y="2894325"/>
            <a:ext cx="3252751" cy="301108"/>
          </a:xfrm>
        </p:spPr>
        <p:txBody>
          <a:bodyPr/>
          <a:lstStyle>
            <a:lvl1pPr marL="0" indent="0">
              <a:buFont typeface="Arial"/>
              <a:buNone/>
              <a:defRPr sz="1200" b="1" cap="all">
                <a:solidFill>
                  <a:schemeClr val="bg1"/>
                </a:solidFill>
                <a:latin typeface="Arial Black"/>
                <a:cs typeface="Arial Black"/>
              </a:defRPr>
            </a:lvl1pPr>
            <a:lvl2pPr marL="482584" indent="0">
              <a:buFont typeface="Arial"/>
              <a:buNone/>
              <a:defRPr sz="1200" b="1">
                <a:solidFill>
                  <a:schemeClr val="tx2"/>
                </a:solidFill>
              </a:defRPr>
            </a:lvl2pPr>
            <a:lvl3pPr marL="1075230" indent="0">
              <a:buFont typeface="Arial"/>
              <a:buNone/>
              <a:defRPr sz="1200" b="1">
                <a:solidFill>
                  <a:schemeClr val="tx2"/>
                </a:solidFill>
              </a:defRPr>
            </a:lvl3pPr>
            <a:lvl4pPr marL="1676343" indent="0">
              <a:buFont typeface="Arial"/>
              <a:buNone/>
              <a:defRPr sz="1200" b="1">
                <a:solidFill>
                  <a:schemeClr val="tx2"/>
                </a:solidFill>
              </a:defRPr>
            </a:lvl4pPr>
            <a:lvl5pPr marL="2268990" indent="0">
              <a:buFont typeface="Arial"/>
              <a:buNone/>
              <a:defRPr sz="1200" b="1">
                <a:solidFill>
                  <a:schemeClr val="tx2"/>
                </a:solidFill>
              </a:defRPr>
            </a:lvl5pPr>
          </a:lstStyle>
          <a:p>
            <a:pPr lvl="0"/>
            <a:r>
              <a:rPr lang="nl-NL" dirty="0"/>
              <a:t>Click </a:t>
            </a:r>
            <a:r>
              <a:rPr lang="nl-NL" dirty="0" err="1"/>
              <a:t>to</a:t>
            </a:r>
            <a:r>
              <a:rPr lang="nl-NL" dirty="0"/>
              <a:t> </a:t>
            </a:r>
            <a:r>
              <a:rPr lang="nl-NL" dirty="0" err="1"/>
              <a:t>edit</a:t>
            </a:r>
            <a:r>
              <a:rPr lang="nl-NL" dirty="0"/>
              <a:t> </a:t>
            </a:r>
            <a:r>
              <a:rPr lang="nl-NL" dirty="0" err="1"/>
              <a:t>title</a:t>
            </a:r>
            <a:endParaRPr lang="nl-NL" dirty="0"/>
          </a:p>
        </p:txBody>
      </p:sp>
      <p:pic>
        <p:nvPicPr>
          <p:cNvPr id="46" name="Afbeelding 4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097413" y="4084420"/>
            <a:ext cx="26239" cy="96000"/>
          </a:xfrm>
          <a:prstGeom prst="rect">
            <a:avLst/>
          </a:prstGeom>
        </p:spPr>
      </p:pic>
      <p:sp>
        <p:nvSpPr>
          <p:cNvPr id="52" name="Tijdelijke aanduiding voor tekst 159"/>
          <p:cNvSpPr>
            <a:spLocks noGrp="1"/>
          </p:cNvSpPr>
          <p:nvPr>
            <p:ph type="body" sz="quarter" idx="25" hasCustomPrompt="1"/>
          </p:nvPr>
        </p:nvSpPr>
        <p:spPr>
          <a:xfrm>
            <a:off x="8669474" y="4825343"/>
            <a:ext cx="2027848" cy="1585084"/>
          </a:xfrm>
        </p:spPr>
        <p:txBody>
          <a:bodyPr/>
          <a:lstStyle>
            <a:lvl1pPr marL="0" indent="0">
              <a:buFont typeface="Arial"/>
              <a:buNone/>
              <a:defRPr sz="1067" b="0" cap="none">
                <a:solidFill>
                  <a:schemeClr val="bg1"/>
                </a:solidFill>
                <a:latin typeface="Arial"/>
                <a:cs typeface="Arial"/>
              </a:defRPr>
            </a:lvl1pPr>
            <a:lvl2pPr marL="482584" indent="0">
              <a:buFont typeface="Arial"/>
              <a:buNone/>
              <a:defRPr sz="1200" b="1">
                <a:solidFill>
                  <a:schemeClr val="tx2"/>
                </a:solidFill>
              </a:defRPr>
            </a:lvl2pPr>
            <a:lvl3pPr marL="1075230" indent="0">
              <a:buFont typeface="Arial"/>
              <a:buNone/>
              <a:defRPr sz="1200" b="1">
                <a:solidFill>
                  <a:schemeClr val="tx2"/>
                </a:solidFill>
              </a:defRPr>
            </a:lvl3pPr>
            <a:lvl4pPr marL="1676343" indent="0">
              <a:buFont typeface="Arial"/>
              <a:buNone/>
              <a:defRPr sz="1200" b="1">
                <a:solidFill>
                  <a:schemeClr val="tx2"/>
                </a:solidFill>
              </a:defRPr>
            </a:lvl4pPr>
            <a:lvl5pPr marL="2268990" indent="0">
              <a:buFont typeface="Arial"/>
              <a:buNone/>
              <a:defRPr sz="1200" b="1">
                <a:solidFill>
                  <a:schemeClr val="tx2"/>
                </a:solidFill>
              </a:defRPr>
            </a:lvl5pPr>
          </a:lstStyle>
          <a:p>
            <a:pPr lvl="0"/>
            <a:r>
              <a:rPr lang="nl-NL" dirty="0"/>
              <a:t>Click </a:t>
            </a:r>
            <a:r>
              <a:rPr lang="nl-NL" dirty="0" err="1"/>
              <a:t>to</a:t>
            </a:r>
            <a:r>
              <a:rPr lang="nl-NL" dirty="0"/>
              <a:t> </a:t>
            </a:r>
            <a:r>
              <a:rPr lang="nl-NL" dirty="0" err="1"/>
              <a:t>edit</a:t>
            </a:r>
            <a:r>
              <a:rPr lang="nl-NL" dirty="0"/>
              <a:t> content</a:t>
            </a:r>
          </a:p>
        </p:txBody>
      </p:sp>
      <p:sp>
        <p:nvSpPr>
          <p:cNvPr id="53" name="Tijdelijke aanduiding voor tekst 159"/>
          <p:cNvSpPr>
            <a:spLocks noGrp="1"/>
          </p:cNvSpPr>
          <p:nvPr>
            <p:ph type="body" sz="quarter" idx="26" hasCustomPrompt="1"/>
          </p:nvPr>
        </p:nvSpPr>
        <p:spPr>
          <a:xfrm>
            <a:off x="3396635" y="2073060"/>
            <a:ext cx="2027848" cy="1798721"/>
          </a:xfrm>
        </p:spPr>
        <p:txBody>
          <a:bodyPr/>
          <a:lstStyle>
            <a:lvl1pPr marL="0" indent="0">
              <a:buFont typeface="Arial"/>
              <a:buNone/>
              <a:defRPr sz="1067" b="0" cap="none">
                <a:solidFill>
                  <a:schemeClr val="bg1"/>
                </a:solidFill>
                <a:latin typeface="Arial"/>
                <a:cs typeface="Arial"/>
              </a:defRPr>
            </a:lvl1pPr>
            <a:lvl2pPr marL="482584" indent="0">
              <a:buFont typeface="Arial"/>
              <a:buNone/>
              <a:defRPr sz="1200" b="1">
                <a:solidFill>
                  <a:schemeClr val="tx2"/>
                </a:solidFill>
              </a:defRPr>
            </a:lvl2pPr>
            <a:lvl3pPr marL="1075230" indent="0">
              <a:buFont typeface="Arial"/>
              <a:buNone/>
              <a:defRPr sz="1200" b="1">
                <a:solidFill>
                  <a:schemeClr val="tx2"/>
                </a:solidFill>
              </a:defRPr>
            </a:lvl3pPr>
            <a:lvl4pPr marL="1676343" indent="0">
              <a:buFont typeface="Arial"/>
              <a:buNone/>
              <a:defRPr sz="1200" b="1">
                <a:solidFill>
                  <a:schemeClr val="tx2"/>
                </a:solidFill>
              </a:defRPr>
            </a:lvl4pPr>
            <a:lvl5pPr marL="2268990" indent="0">
              <a:buFont typeface="Arial"/>
              <a:buNone/>
              <a:defRPr sz="1200" b="1">
                <a:solidFill>
                  <a:schemeClr val="tx2"/>
                </a:solidFill>
              </a:defRPr>
            </a:lvl5pPr>
          </a:lstStyle>
          <a:p>
            <a:pPr lvl="0"/>
            <a:r>
              <a:rPr lang="nl-NL" dirty="0"/>
              <a:t>Click </a:t>
            </a:r>
            <a:r>
              <a:rPr lang="nl-NL" dirty="0" err="1"/>
              <a:t>to</a:t>
            </a:r>
            <a:r>
              <a:rPr lang="nl-NL" dirty="0"/>
              <a:t> </a:t>
            </a:r>
            <a:r>
              <a:rPr lang="nl-NL" dirty="0" err="1"/>
              <a:t>edit</a:t>
            </a:r>
            <a:r>
              <a:rPr lang="nl-NL" dirty="0"/>
              <a:t> content</a:t>
            </a:r>
          </a:p>
        </p:txBody>
      </p:sp>
      <p:sp>
        <p:nvSpPr>
          <p:cNvPr id="54" name="Tijdelijke aanduiding voor tekst 159"/>
          <p:cNvSpPr>
            <a:spLocks noGrp="1"/>
          </p:cNvSpPr>
          <p:nvPr>
            <p:ph type="body" sz="quarter" idx="27" hasCustomPrompt="1"/>
          </p:nvPr>
        </p:nvSpPr>
        <p:spPr>
          <a:xfrm>
            <a:off x="6297080" y="3195433"/>
            <a:ext cx="3252751" cy="676348"/>
          </a:xfrm>
        </p:spPr>
        <p:txBody>
          <a:bodyPr/>
          <a:lstStyle>
            <a:lvl1pPr marL="0" indent="0">
              <a:buFont typeface="Arial"/>
              <a:buNone/>
              <a:defRPr sz="1067" b="0" cap="none">
                <a:solidFill>
                  <a:schemeClr val="bg1"/>
                </a:solidFill>
                <a:latin typeface="Arial"/>
                <a:cs typeface="Arial"/>
              </a:defRPr>
            </a:lvl1pPr>
            <a:lvl2pPr marL="482584" indent="0">
              <a:buFont typeface="Arial"/>
              <a:buNone/>
              <a:defRPr sz="1200" b="1">
                <a:solidFill>
                  <a:schemeClr val="tx2"/>
                </a:solidFill>
              </a:defRPr>
            </a:lvl2pPr>
            <a:lvl3pPr marL="1075230" indent="0">
              <a:buFont typeface="Arial"/>
              <a:buNone/>
              <a:defRPr sz="1200" b="1">
                <a:solidFill>
                  <a:schemeClr val="tx2"/>
                </a:solidFill>
              </a:defRPr>
            </a:lvl3pPr>
            <a:lvl4pPr marL="1676343" indent="0">
              <a:buFont typeface="Arial"/>
              <a:buNone/>
              <a:defRPr sz="1200" b="1">
                <a:solidFill>
                  <a:schemeClr val="tx2"/>
                </a:solidFill>
              </a:defRPr>
            </a:lvl4pPr>
            <a:lvl5pPr marL="2268990" indent="0">
              <a:buFont typeface="Arial"/>
              <a:buNone/>
              <a:defRPr sz="1200" b="1">
                <a:solidFill>
                  <a:schemeClr val="tx2"/>
                </a:solidFill>
              </a:defRPr>
            </a:lvl5pPr>
          </a:lstStyle>
          <a:p>
            <a:pPr lvl="0"/>
            <a:r>
              <a:rPr lang="nl-NL" dirty="0"/>
              <a:t>Click </a:t>
            </a:r>
            <a:r>
              <a:rPr lang="nl-NL" dirty="0" err="1"/>
              <a:t>to</a:t>
            </a:r>
            <a:r>
              <a:rPr lang="nl-NL" dirty="0"/>
              <a:t> </a:t>
            </a:r>
            <a:r>
              <a:rPr lang="nl-NL" dirty="0" err="1"/>
              <a:t>edit</a:t>
            </a:r>
            <a:r>
              <a:rPr lang="nl-NL" dirty="0"/>
              <a:t> content</a:t>
            </a:r>
          </a:p>
        </p:txBody>
      </p:sp>
      <p:cxnSp>
        <p:nvCxnSpPr>
          <p:cNvPr id="3" name="Rechte verbindingslijn 2"/>
          <p:cNvCxnSpPr/>
          <p:nvPr userDrawn="1"/>
        </p:nvCxnSpPr>
        <p:spPr>
          <a:xfrm>
            <a:off x="1352641" y="1705299"/>
            <a:ext cx="0" cy="2332567"/>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5" name="Rechte verbindingslijn 54"/>
          <p:cNvCxnSpPr/>
          <p:nvPr userDrawn="1"/>
        </p:nvCxnSpPr>
        <p:spPr>
          <a:xfrm>
            <a:off x="6101379" y="1705299"/>
            <a:ext cx="0" cy="2332567"/>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6" name="Rechte verbindingslijn 55"/>
          <p:cNvCxnSpPr/>
          <p:nvPr userDrawn="1"/>
        </p:nvCxnSpPr>
        <p:spPr>
          <a:xfrm>
            <a:off x="788489" y="4220744"/>
            <a:ext cx="0" cy="52800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7" name="Rechte verbindingslijn 56"/>
          <p:cNvCxnSpPr>
            <a:cxnSpLocks/>
          </p:cNvCxnSpPr>
          <p:nvPr userDrawn="1"/>
        </p:nvCxnSpPr>
        <p:spPr>
          <a:xfrm>
            <a:off x="6629666" y="4220746"/>
            <a:ext cx="12532" cy="2061485"/>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9" name="Tijdelijke aanduiding voor tekst 159"/>
          <p:cNvSpPr>
            <a:spLocks noGrp="1"/>
          </p:cNvSpPr>
          <p:nvPr>
            <p:ph type="body" sz="quarter" idx="29" hasCustomPrompt="1"/>
          </p:nvPr>
        </p:nvSpPr>
        <p:spPr>
          <a:xfrm>
            <a:off x="928624" y="4783087"/>
            <a:ext cx="4096559" cy="301108"/>
          </a:xfrm>
        </p:spPr>
        <p:txBody>
          <a:bodyPr/>
          <a:lstStyle>
            <a:lvl1pPr marL="0" indent="0">
              <a:buFont typeface="Arial"/>
              <a:buNone/>
              <a:defRPr sz="1200" b="1" cap="all">
                <a:solidFill>
                  <a:schemeClr val="bg1"/>
                </a:solidFill>
                <a:latin typeface="Arial Black"/>
                <a:cs typeface="Arial Black"/>
              </a:defRPr>
            </a:lvl1pPr>
            <a:lvl2pPr marL="482584" indent="0">
              <a:buFont typeface="Arial"/>
              <a:buNone/>
              <a:defRPr sz="1200" b="1">
                <a:solidFill>
                  <a:schemeClr val="tx2"/>
                </a:solidFill>
              </a:defRPr>
            </a:lvl2pPr>
            <a:lvl3pPr marL="1075230" indent="0">
              <a:buFont typeface="Arial"/>
              <a:buNone/>
              <a:defRPr sz="1200" b="1">
                <a:solidFill>
                  <a:schemeClr val="tx2"/>
                </a:solidFill>
              </a:defRPr>
            </a:lvl3pPr>
            <a:lvl4pPr marL="1676343" indent="0">
              <a:buFont typeface="Arial"/>
              <a:buNone/>
              <a:defRPr sz="1200" b="1">
                <a:solidFill>
                  <a:schemeClr val="tx2"/>
                </a:solidFill>
              </a:defRPr>
            </a:lvl4pPr>
            <a:lvl5pPr marL="2268990" indent="0">
              <a:buFont typeface="Arial"/>
              <a:buNone/>
              <a:defRPr sz="1200" b="1">
                <a:solidFill>
                  <a:schemeClr val="tx2"/>
                </a:solidFill>
              </a:defRPr>
            </a:lvl5pPr>
          </a:lstStyle>
          <a:p>
            <a:pPr lvl="0"/>
            <a:r>
              <a:rPr lang="nl-NL" dirty="0"/>
              <a:t>Click </a:t>
            </a:r>
            <a:r>
              <a:rPr lang="nl-NL" dirty="0" err="1"/>
              <a:t>to</a:t>
            </a:r>
            <a:r>
              <a:rPr lang="nl-NL" dirty="0"/>
              <a:t> </a:t>
            </a:r>
            <a:r>
              <a:rPr lang="nl-NL" dirty="0" err="1"/>
              <a:t>edit</a:t>
            </a:r>
            <a:r>
              <a:rPr lang="nl-NL" dirty="0"/>
              <a:t> </a:t>
            </a:r>
            <a:r>
              <a:rPr lang="nl-NL" dirty="0" err="1"/>
              <a:t>title</a:t>
            </a:r>
            <a:endParaRPr lang="nl-NL" dirty="0"/>
          </a:p>
        </p:txBody>
      </p:sp>
      <p:sp>
        <p:nvSpPr>
          <p:cNvPr id="50" name="Tijdelijke aanduiding voor tekst 159"/>
          <p:cNvSpPr>
            <a:spLocks noGrp="1"/>
          </p:cNvSpPr>
          <p:nvPr>
            <p:ph type="body" sz="quarter" idx="30" hasCustomPrompt="1"/>
          </p:nvPr>
        </p:nvSpPr>
        <p:spPr>
          <a:xfrm>
            <a:off x="928624" y="5084195"/>
            <a:ext cx="4096559" cy="1380083"/>
          </a:xfrm>
        </p:spPr>
        <p:txBody>
          <a:bodyPr/>
          <a:lstStyle>
            <a:lvl1pPr marL="0" indent="0">
              <a:buFont typeface="Arial"/>
              <a:buNone/>
              <a:defRPr sz="1067" b="0" cap="none">
                <a:solidFill>
                  <a:schemeClr val="bg1"/>
                </a:solidFill>
                <a:latin typeface="Arial"/>
                <a:cs typeface="Arial"/>
              </a:defRPr>
            </a:lvl1pPr>
            <a:lvl2pPr marL="482584" indent="0">
              <a:buFont typeface="Arial"/>
              <a:buNone/>
              <a:defRPr sz="1200" b="1">
                <a:solidFill>
                  <a:schemeClr val="tx2"/>
                </a:solidFill>
              </a:defRPr>
            </a:lvl2pPr>
            <a:lvl3pPr marL="1075230" indent="0">
              <a:buFont typeface="Arial"/>
              <a:buNone/>
              <a:defRPr sz="1200" b="1">
                <a:solidFill>
                  <a:schemeClr val="tx2"/>
                </a:solidFill>
              </a:defRPr>
            </a:lvl3pPr>
            <a:lvl4pPr marL="1676343" indent="0">
              <a:buFont typeface="Arial"/>
              <a:buNone/>
              <a:defRPr sz="1200" b="1">
                <a:solidFill>
                  <a:schemeClr val="tx2"/>
                </a:solidFill>
              </a:defRPr>
            </a:lvl4pPr>
            <a:lvl5pPr marL="2268990" indent="0">
              <a:buFont typeface="Arial"/>
              <a:buNone/>
              <a:defRPr sz="1200" b="1">
                <a:solidFill>
                  <a:schemeClr val="tx2"/>
                </a:solidFill>
              </a:defRPr>
            </a:lvl5pPr>
          </a:lstStyle>
          <a:p>
            <a:pPr lvl="0"/>
            <a:r>
              <a:rPr lang="nl-NL" dirty="0"/>
              <a:t>Click </a:t>
            </a:r>
            <a:r>
              <a:rPr lang="nl-NL" dirty="0" err="1"/>
              <a:t>to</a:t>
            </a:r>
            <a:r>
              <a:rPr lang="nl-NL" dirty="0"/>
              <a:t> </a:t>
            </a:r>
            <a:r>
              <a:rPr lang="nl-NL" dirty="0" err="1"/>
              <a:t>edit</a:t>
            </a:r>
            <a:r>
              <a:rPr lang="nl-NL" dirty="0"/>
              <a:t> content</a:t>
            </a:r>
          </a:p>
        </p:txBody>
      </p:sp>
      <p:sp>
        <p:nvSpPr>
          <p:cNvPr id="2" name="Arrow: Pentagon 1">
            <a:extLst>
              <a:ext uri="{FF2B5EF4-FFF2-40B4-BE49-F238E27FC236}">
                <a16:creationId xmlns:a16="http://schemas.microsoft.com/office/drawing/2014/main" id="{5C948F2D-1F89-4339-BDF8-FEB4EF401BE5}"/>
              </a:ext>
            </a:extLst>
          </p:cNvPr>
          <p:cNvSpPr/>
          <p:nvPr userDrawn="1"/>
        </p:nvSpPr>
        <p:spPr>
          <a:xfrm>
            <a:off x="809899" y="4077052"/>
            <a:ext cx="513287" cy="96000"/>
          </a:xfrm>
          <a:prstGeom prst="homePlat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59" name="Arrow: Chevron 58">
            <a:extLst>
              <a:ext uri="{FF2B5EF4-FFF2-40B4-BE49-F238E27FC236}">
                <a16:creationId xmlns:a16="http://schemas.microsoft.com/office/drawing/2014/main" id="{75619F85-789E-437D-A586-7A721CFA2419}"/>
              </a:ext>
            </a:extLst>
          </p:cNvPr>
          <p:cNvSpPr/>
          <p:nvPr userDrawn="1"/>
        </p:nvSpPr>
        <p:spPr>
          <a:xfrm>
            <a:off x="1405531" y="4077052"/>
            <a:ext cx="475881" cy="95835"/>
          </a:xfrm>
          <a:prstGeom prst="chevron">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0" name="Arrow: Chevron 59">
            <a:extLst>
              <a:ext uri="{FF2B5EF4-FFF2-40B4-BE49-F238E27FC236}">
                <a16:creationId xmlns:a16="http://schemas.microsoft.com/office/drawing/2014/main" id="{CB3B5271-20FB-4A9F-82B6-4CBC49FB66F1}"/>
              </a:ext>
            </a:extLst>
          </p:cNvPr>
          <p:cNvSpPr/>
          <p:nvPr userDrawn="1"/>
        </p:nvSpPr>
        <p:spPr>
          <a:xfrm>
            <a:off x="1963757" y="4081276"/>
            <a:ext cx="4076453" cy="95835"/>
          </a:xfrm>
          <a:prstGeom prst="chevron">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1" name="Arrow: Chevron 60">
            <a:extLst>
              <a:ext uri="{FF2B5EF4-FFF2-40B4-BE49-F238E27FC236}">
                <a16:creationId xmlns:a16="http://schemas.microsoft.com/office/drawing/2014/main" id="{929DA7E0-4F9F-4B6D-9E9D-F97B448E1F84}"/>
              </a:ext>
            </a:extLst>
          </p:cNvPr>
          <p:cNvSpPr/>
          <p:nvPr userDrawn="1"/>
        </p:nvSpPr>
        <p:spPr>
          <a:xfrm>
            <a:off x="6135790" y="4078715"/>
            <a:ext cx="445500" cy="89956"/>
          </a:xfrm>
          <a:prstGeom prst="chevron">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2" name="Arrow: Chevron 61">
            <a:extLst>
              <a:ext uri="{FF2B5EF4-FFF2-40B4-BE49-F238E27FC236}">
                <a16:creationId xmlns:a16="http://schemas.microsoft.com/office/drawing/2014/main" id="{9DCEFB40-BD39-4552-8431-409477684427}"/>
              </a:ext>
            </a:extLst>
          </p:cNvPr>
          <p:cNvSpPr/>
          <p:nvPr userDrawn="1"/>
        </p:nvSpPr>
        <p:spPr>
          <a:xfrm>
            <a:off x="6676870" y="4077059"/>
            <a:ext cx="4936911" cy="91611"/>
          </a:xfrm>
          <a:prstGeom prst="chevron">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4" name="Titel 3">
            <a:extLst>
              <a:ext uri="{FF2B5EF4-FFF2-40B4-BE49-F238E27FC236}">
                <a16:creationId xmlns:a16="http://schemas.microsoft.com/office/drawing/2014/main" id="{71535D61-D9C6-491C-84B4-161A895599CB}"/>
              </a:ext>
            </a:extLst>
          </p:cNvPr>
          <p:cNvSpPr>
            <a:spLocks noGrp="1"/>
          </p:cNvSpPr>
          <p:nvPr>
            <p:ph type="title" hasCustomPrompt="1"/>
          </p:nvPr>
        </p:nvSpPr>
        <p:spPr/>
        <p:txBody>
          <a:bodyPr/>
          <a:lstStyle/>
          <a:p>
            <a:r>
              <a:rPr lang="nl-NL" dirty="0"/>
              <a:t>Plaats hier je titel</a:t>
            </a:r>
          </a:p>
        </p:txBody>
      </p:sp>
      <p:cxnSp>
        <p:nvCxnSpPr>
          <p:cNvPr id="51" name="LIJN">
            <a:extLst>
              <a:ext uri="{FF2B5EF4-FFF2-40B4-BE49-F238E27FC236}">
                <a16:creationId xmlns:a16="http://schemas.microsoft.com/office/drawing/2014/main" id="{53F67FC9-B479-4B12-97C6-E475D53C791F}"/>
              </a:ext>
            </a:extLst>
          </p:cNvPr>
          <p:cNvCxnSpPr>
            <a:cxnSpLocks/>
          </p:cNvCxnSpPr>
          <p:nvPr userDrawn="1"/>
        </p:nvCxnSpPr>
        <p:spPr>
          <a:xfrm>
            <a:off x="602232" y="1304529"/>
            <a:ext cx="0" cy="4981971"/>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58" name="HAAK">
            <a:extLst>
              <a:ext uri="{FF2B5EF4-FFF2-40B4-BE49-F238E27FC236}">
                <a16:creationId xmlns:a16="http://schemas.microsoft.com/office/drawing/2014/main" id="{E322FC0B-2B8F-46A7-ADB5-1617C424E907}"/>
              </a:ext>
            </a:extLst>
          </p:cNvPr>
          <p:cNvSpPr>
            <a:spLocks/>
          </p:cNvSpPr>
          <p:nvPr userDrawn="1"/>
        </p:nvSpPr>
        <p:spPr bwMode="auto">
          <a:xfrm>
            <a:off x="587030" y="1056880"/>
            <a:ext cx="69016" cy="202404"/>
          </a:xfrm>
          <a:custGeom>
            <a:avLst/>
            <a:gdLst>
              <a:gd name="T0" fmla="*/ 3 w 17"/>
              <a:gd name="T1" fmla="*/ 10 h 50"/>
              <a:gd name="T2" fmla="*/ 6 w 17"/>
              <a:gd name="T3" fmla="*/ 0 h 50"/>
              <a:gd name="T4" fmla="*/ 16 w 17"/>
              <a:gd name="T5" fmla="*/ 25 h 50"/>
              <a:gd name="T6" fmla="*/ 7 w 17"/>
              <a:gd name="T7" fmla="*/ 50 h 50"/>
              <a:gd name="T8" fmla="*/ 4 w 17"/>
              <a:gd name="T9" fmla="*/ 40 h 50"/>
              <a:gd name="T10" fmla="*/ 8 w 17"/>
              <a:gd name="T11" fmla="*/ 25 h 50"/>
              <a:gd name="T12" fmla="*/ 3 w 17"/>
              <a:gd name="T13" fmla="*/ 10 h 50"/>
            </a:gdLst>
            <a:ahLst/>
            <a:cxnLst>
              <a:cxn ang="0">
                <a:pos x="T0" y="T1"/>
              </a:cxn>
              <a:cxn ang="0">
                <a:pos x="T2" y="T3"/>
              </a:cxn>
              <a:cxn ang="0">
                <a:pos x="T4" y="T5"/>
              </a:cxn>
              <a:cxn ang="0">
                <a:pos x="T6" y="T7"/>
              </a:cxn>
              <a:cxn ang="0">
                <a:pos x="T8" y="T9"/>
              </a:cxn>
              <a:cxn ang="0">
                <a:pos x="T10" y="T11"/>
              </a:cxn>
              <a:cxn ang="0">
                <a:pos x="T12" y="T13"/>
              </a:cxn>
            </a:cxnLst>
            <a:rect l="0" t="0" r="r" b="b"/>
            <a:pathLst>
              <a:path w="17" h="50">
                <a:moveTo>
                  <a:pt x="3" y="10"/>
                </a:moveTo>
                <a:cubicBezTo>
                  <a:pt x="0" y="1"/>
                  <a:pt x="6" y="0"/>
                  <a:pt x="6" y="0"/>
                </a:cubicBezTo>
                <a:cubicBezTo>
                  <a:pt x="6" y="0"/>
                  <a:pt x="16" y="19"/>
                  <a:pt x="16" y="25"/>
                </a:cubicBezTo>
                <a:cubicBezTo>
                  <a:pt x="17" y="31"/>
                  <a:pt x="7" y="50"/>
                  <a:pt x="7" y="50"/>
                </a:cubicBezTo>
                <a:cubicBezTo>
                  <a:pt x="7" y="50"/>
                  <a:pt x="1" y="48"/>
                  <a:pt x="4" y="40"/>
                </a:cubicBezTo>
                <a:cubicBezTo>
                  <a:pt x="6" y="32"/>
                  <a:pt x="8" y="25"/>
                  <a:pt x="8" y="25"/>
                </a:cubicBezTo>
                <a:lnTo>
                  <a:pt x="3" y="1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nl-NL"/>
          </a:p>
        </p:txBody>
      </p:sp>
      <p:sp>
        <p:nvSpPr>
          <p:cNvPr id="63" name="PIJL">
            <a:extLst>
              <a:ext uri="{FF2B5EF4-FFF2-40B4-BE49-F238E27FC236}">
                <a16:creationId xmlns:a16="http://schemas.microsoft.com/office/drawing/2014/main" id="{7398E93B-9579-432E-B694-AC090DC3D90C}"/>
              </a:ext>
            </a:extLst>
          </p:cNvPr>
          <p:cNvSpPr/>
          <p:nvPr userDrawn="1"/>
        </p:nvSpPr>
        <p:spPr>
          <a:xfrm>
            <a:off x="0" y="6278876"/>
            <a:ext cx="633831" cy="147829"/>
          </a:xfrm>
          <a:custGeom>
            <a:avLst/>
            <a:gdLst>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415874 w 633831"/>
              <a:gd name="connsiteY11" fmla="*/ 147829 h 147829"/>
              <a:gd name="connsiteX12" fmla="*/ 345094 w 633831"/>
              <a:gd name="connsiteY12" fmla="*/ 147829 h 147829"/>
              <a:gd name="connsiteX13" fmla="*/ 319801 w 633831"/>
              <a:gd name="connsiteY13" fmla="*/ 147829 h 147829"/>
              <a:gd name="connsiteX14" fmla="*/ 261041 w 633831"/>
              <a:gd name="connsiteY14" fmla="*/ 147829 h 147829"/>
              <a:gd name="connsiteX15" fmla="*/ 21430 w 633831"/>
              <a:gd name="connsiteY15" fmla="*/ 147829 h 147829"/>
              <a:gd name="connsiteX16" fmla="*/ 0 w 633831"/>
              <a:gd name="connsiteY16" fmla="*/ 147829 h 14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831" h="147829">
                <a:moveTo>
                  <a:pt x="0" y="0"/>
                </a:moveTo>
                <a:lnTo>
                  <a:pt x="21430" y="0"/>
                </a:lnTo>
                <a:lnTo>
                  <a:pt x="261041" y="0"/>
                </a:lnTo>
                <a:lnTo>
                  <a:pt x="319801" y="0"/>
                </a:lnTo>
                <a:lnTo>
                  <a:pt x="345094" y="0"/>
                </a:lnTo>
                <a:lnTo>
                  <a:pt x="415874" y="0"/>
                </a:lnTo>
                <a:lnTo>
                  <a:pt x="510403" y="0"/>
                </a:lnTo>
                <a:lnTo>
                  <a:pt x="604824" y="0"/>
                </a:lnTo>
                <a:cubicBezTo>
                  <a:pt x="614746" y="20344"/>
                  <a:pt x="634057" y="57734"/>
                  <a:pt x="633829" y="73889"/>
                </a:cubicBezTo>
                <a:cubicBezTo>
                  <a:pt x="633601" y="90044"/>
                  <a:pt x="621235" y="116025"/>
                  <a:pt x="603457" y="147199"/>
                </a:cubicBezTo>
                <a:lnTo>
                  <a:pt x="415874" y="147616"/>
                </a:lnTo>
                <a:lnTo>
                  <a:pt x="415874" y="147829"/>
                </a:lnTo>
                <a:lnTo>
                  <a:pt x="345094" y="147829"/>
                </a:lnTo>
                <a:lnTo>
                  <a:pt x="319801" y="147829"/>
                </a:lnTo>
                <a:lnTo>
                  <a:pt x="261041" y="147829"/>
                </a:lnTo>
                <a:lnTo>
                  <a:pt x="21430" y="147829"/>
                </a:lnTo>
                <a:lnTo>
                  <a:pt x="0" y="14782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Tree>
    <p:extLst>
      <p:ext uri="{BB962C8B-B14F-4D97-AF65-F5344CB8AC3E}">
        <p14:creationId xmlns:p14="http://schemas.microsoft.com/office/powerpoint/2010/main" val="1141072283"/>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750" fill="hold"/>
                                        <p:tgtEl>
                                          <p:spTgt spid="63"/>
                                        </p:tgtEl>
                                        <p:attrNameLst>
                                          <p:attrName>ppt_x</p:attrName>
                                        </p:attrNameLst>
                                      </p:cBhvr>
                                      <p:tavLst>
                                        <p:tav tm="0">
                                          <p:val>
                                            <p:strVal val="0-#ppt_w/2"/>
                                          </p:val>
                                        </p:tav>
                                        <p:tav tm="100000">
                                          <p:val>
                                            <p:strVal val="#ppt_x"/>
                                          </p:val>
                                        </p:tav>
                                      </p:tavLst>
                                    </p:anim>
                                    <p:anim calcmode="lin" valueType="num">
                                      <p:cBhvr additive="base">
                                        <p:cTn id="8" dur="750" fill="hold"/>
                                        <p:tgtEl>
                                          <p:spTgt spid="63"/>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500"/>
                                  </p:stCondLst>
                                  <p:childTnLst>
                                    <p:set>
                                      <p:cBhvr>
                                        <p:cTn id="10" dur="1" fill="hold">
                                          <p:stCondLst>
                                            <p:cond delay="0"/>
                                          </p:stCondLst>
                                        </p:cTn>
                                        <p:tgtEl>
                                          <p:spTgt spid="51"/>
                                        </p:tgtEl>
                                        <p:attrNameLst>
                                          <p:attrName>style.visibility</p:attrName>
                                        </p:attrNameLst>
                                      </p:cBhvr>
                                      <p:to>
                                        <p:strVal val="visible"/>
                                      </p:to>
                                    </p:set>
                                    <p:animEffect transition="in" filter="wipe(down)">
                                      <p:cBhvr>
                                        <p:cTn id="11" dur="750"/>
                                        <p:tgtEl>
                                          <p:spTgt spid="51"/>
                                        </p:tgtEl>
                                      </p:cBhvr>
                                    </p:animEffect>
                                  </p:childTnLst>
                                </p:cTn>
                              </p:par>
                            </p:childTnLst>
                          </p:cTn>
                        </p:par>
                        <p:par>
                          <p:cTn id="12" fill="hold">
                            <p:stCondLst>
                              <p:cond delay="1250"/>
                            </p:stCondLst>
                            <p:childTnLst>
                              <p:par>
                                <p:cTn id="13" presetID="17" presetClass="entr" presetSubtype="8" fill="hold" grpId="0" nodeType="afterEffect">
                                  <p:stCondLst>
                                    <p:cond delay="0"/>
                                  </p:stCondLst>
                                  <p:childTnLst>
                                    <p:set>
                                      <p:cBhvr>
                                        <p:cTn id="14" dur="1" fill="hold">
                                          <p:stCondLst>
                                            <p:cond delay="0"/>
                                          </p:stCondLst>
                                        </p:cTn>
                                        <p:tgtEl>
                                          <p:spTgt spid="58"/>
                                        </p:tgtEl>
                                        <p:attrNameLst>
                                          <p:attrName>style.visibility</p:attrName>
                                        </p:attrNameLst>
                                      </p:cBhvr>
                                      <p:to>
                                        <p:strVal val="visible"/>
                                      </p:to>
                                    </p:set>
                                    <p:anim calcmode="lin" valueType="num">
                                      <p:cBhvr>
                                        <p:cTn id="15" dur="250" fill="hold"/>
                                        <p:tgtEl>
                                          <p:spTgt spid="58"/>
                                        </p:tgtEl>
                                        <p:attrNameLst>
                                          <p:attrName>ppt_x</p:attrName>
                                        </p:attrNameLst>
                                      </p:cBhvr>
                                      <p:tavLst>
                                        <p:tav tm="0">
                                          <p:val>
                                            <p:strVal val="#ppt_x-#ppt_w/2"/>
                                          </p:val>
                                        </p:tav>
                                        <p:tav tm="100000">
                                          <p:val>
                                            <p:strVal val="#ppt_x"/>
                                          </p:val>
                                        </p:tav>
                                      </p:tavLst>
                                    </p:anim>
                                    <p:anim calcmode="lin" valueType="num">
                                      <p:cBhvr>
                                        <p:cTn id="16" dur="250" fill="hold"/>
                                        <p:tgtEl>
                                          <p:spTgt spid="58"/>
                                        </p:tgtEl>
                                        <p:attrNameLst>
                                          <p:attrName>ppt_y</p:attrName>
                                        </p:attrNameLst>
                                      </p:cBhvr>
                                      <p:tavLst>
                                        <p:tav tm="0">
                                          <p:val>
                                            <p:strVal val="#ppt_y"/>
                                          </p:val>
                                        </p:tav>
                                        <p:tav tm="100000">
                                          <p:val>
                                            <p:strVal val="#ppt_y"/>
                                          </p:val>
                                        </p:tav>
                                      </p:tavLst>
                                    </p:anim>
                                    <p:anim calcmode="lin" valueType="num">
                                      <p:cBhvr>
                                        <p:cTn id="17" dur="250" fill="hold"/>
                                        <p:tgtEl>
                                          <p:spTgt spid="58"/>
                                        </p:tgtEl>
                                        <p:attrNameLst>
                                          <p:attrName>ppt_w</p:attrName>
                                        </p:attrNameLst>
                                      </p:cBhvr>
                                      <p:tavLst>
                                        <p:tav tm="0">
                                          <p:val>
                                            <p:fltVal val="0"/>
                                          </p:val>
                                        </p:tav>
                                        <p:tav tm="100000">
                                          <p:val>
                                            <p:strVal val="#ppt_w"/>
                                          </p:val>
                                        </p:tav>
                                      </p:tavLst>
                                    </p:anim>
                                    <p:anim calcmode="lin" valueType="num">
                                      <p:cBhvr>
                                        <p:cTn id="18" dur="250" fill="hold"/>
                                        <p:tgtEl>
                                          <p:spTgt spid="5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63"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fbeelding 100%">
    <p:spTree>
      <p:nvGrpSpPr>
        <p:cNvPr id="1" name=""/>
        <p:cNvGrpSpPr/>
        <p:nvPr/>
      </p:nvGrpSpPr>
      <p:grpSpPr>
        <a:xfrm>
          <a:off x="0" y="0"/>
          <a:ext cx="0" cy="0"/>
          <a:chOff x="0" y="0"/>
          <a:chExt cx="0" cy="0"/>
        </a:xfrm>
      </p:grpSpPr>
      <p:sp>
        <p:nvSpPr>
          <p:cNvPr id="109" name="COVER">
            <a:extLst>
              <a:ext uri="{FF2B5EF4-FFF2-40B4-BE49-F238E27FC236}">
                <a16:creationId xmlns:a16="http://schemas.microsoft.com/office/drawing/2014/main" id="{D325CC70-00D1-41FA-B7A8-6FD7C4C156D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53" name="Tijdelijke aanduiding voor afbeelding 8">
            <a:extLst>
              <a:ext uri="{FF2B5EF4-FFF2-40B4-BE49-F238E27FC236}">
                <a16:creationId xmlns:a16="http://schemas.microsoft.com/office/drawing/2014/main" id="{27489788-7523-4049-B6A4-83AEF6154017}"/>
              </a:ext>
            </a:extLst>
          </p:cNvPr>
          <p:cNvSpPr>
            <a:spLocks noGrp="1"/>
          </p:cNvSpPr>
          <p:nvPr>
            <p:ph type="pic" sz="quarter" idx="14" hasCustomPrompt="1"/>
          </p:nvPr>
        </p:nvSpPr>
        <p:spPr>
          <a:xfrm>
            <a:off x="0" y="1434"/>
            <a:ext cx="12192000" cy="6856566"/>
          </a:xfrm>
          <a:prstGeom prst="rect">
            <a:avLst/>
          </a:prstGeom>
          <a:solidFill>
            <a:schemeClr val="bg1">
              <a:lumMod val="95000"/>
            </a:schemeClr>
          </a:solid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e icoon </a:t>
            </a:r>
            <a:br>
              <a:rPr lang="nl-NL" dirty="0"/>
            </a:br>
            <a:r>
              <a:rPr lang="nl-NL" dirty="0"/>
              <a:t>om een foto in te voegen.</a:t>
            </a:r>
            <a:br>
              <a:rPr lang="nl-NL" dirty="0"/>
            </a:br>
            <a:br>
              <a:rPr lang="nl-NL" dirty="0"/>
            </a:br>
            <a:r>
              <a:rPr lang="nl-NL" dirty="0"/>
              <a:t>Meer hulp nodig? </a:t>
            </a:r>
            <a:br>
              <a:rPr lang="nl-NL" dirty="0"/>
            </a:br>
            <a:r>
              <a:rPr lang="nl-NL" dirty="0"/>
              <a:t>Aan de zijkanten van de slides zijn instructies </a:t>
            </a:r>
            <a:br>
              <a:rPr lang="nl-NL" dirty="0"/>
            </a:br>
            <a:r>
              <a:rPr lang="nl-NL" dirty="0"/>
              <a:t>geplaatst voor verdere informatie.</a:t>
            </a:r>
          </a:p>
        </p:txBody>
      </p:sp>
      <p:sp>
        <p:nvSpPr>
          <p:cNvPr id="2" name="Titel 1"/>
          <p:cNvSpPr>
            <a:spLocks noGrp="1"/>
          </p:cNvSpPr>
          <p:nvPr>
            <p:ph type="title" hasCustomPrompt="1"/>
          </p:nvPr>
        </p:nvSpPr>
        <p:spPr/>
        <p:txBody>
          <a:bodyPr/>
          <a:lstStyle>
            <a:lvl1pPr>
              <a:defRPr/>
            </a:lvl1pPr>
          </a:lstStyle>
          <a:p>
            <a:r>
              <a:rPr lang="nl-NL" dirty="0"/>
              <a:t>Plaats hier je titel</a:t>
            </a:r>
          </a:p>
        </p:txBody>
      </p:sp>
      <p:sp>
        <p:nvSpPr>
          <p:cNvPr id="54" name="Tekstvak 53">
            <a:extLst>
              <a:ext uri="{FF2B5EF4-FFF2-40B4-BE49-F238E27FC236}">
                <a16:creationId xmlns:a16="http://schemas.microsoft.com/office/drawing/2014/main" id="{5C67FC50-686D-4108-B44C-5D70D8370385}"/>
              </a:ext>
            </a:extLst>
          </p:cNvPr>
          <p:cNvSpPr txBox="1"/>
          <p:nvPr userDrawn="1"/>
        </p:nvSpPr>
        <p:spPr>
          <a:xfrm>
            <a:off x="0" y="-212702"/>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Image 100%</a:t>
            </a:r>
          </a:p>
        </p:txBody>
      </p:sp>
      <p:sp>
        <p:nvSpPr>
          <p:cNvPr id="84" name="Tijdelijke aanduiding voor tekst 25">
            <a:extLst>
              <a:ext uri="{FF2B5EF4-FFF2-40B4-BE49-F238E27FC236}">
                <a16:creationId xmlns:a16="http://schemas.microsoft.com/office/drawing/2014/main" id="{9F7B2D48-9185-44C8-BCE1-6A27590AEEA6}"/>
              </a:ext>
            </a:extLst>
          </p:cNvPr>
          <p:cNvSpPr>
            <a:spLocks noGrp="1"/>
          </p:cNvSpPr>
          <p:nvPr>
            <p:ph type="body" sz="quarter" idx="15" hasCustomPrompt="1"/>
          </p:nvPr>
        </p:nvSpPr>
        <p:spPr>
          <a:xfrm>
            <a:off x="587030" y="1057282"/>
            <a:ext cx="68400" cy="201600"/>
          </a:xfrm>
          <a:blipFill>
            <a:blip r:embed="rId2" cstate="hqprint">
              <a:extLst>
                <a:ext uri="{28A0092B-C50C-407E-A947-70E740481C1C}">
                  <a14:useLocalDpi xmlns:a14="http://schemas.microsoft.com/office/drawing/2010/main"/>
                </a:ext>
              </a:extLst>
            </a:blip>
            <a:stretch>
              <a:fillRect/>
            </a:stretch>
          </a:blipFill>
          <a:ln w="12700">
            <a:noFill/>
          </a:ln>
        </p:spPr>
        <p:txBody>
          <a:bodyPr/>
          <a:lstStyle>
            <a:lvl1pPr marL="0" indent="0">
              <a:buFont typeface="Arial" panose="020B0604020202020204" pitchFamily="34" charset="0"/>
              <a:buNone/>
              <a:defRPr/>
            </a:lvl1pPr>
          </a:lstStyle>
          <a:p>
            <a:pPr lvl="0"/>
            <a:r>
              <a:rPr lang="nl-NL" dirty="0"/>
              <a:t> </a:t>
            </a:r>
          </a:p>
        </p:txBody>
      </p:sp>
      <p:sp>
        <p:nvSpPr>
          <p:cNvPr id="103" name="Tijdelijke aanduiding voor tekst 25">
            <a:extLst>
              <a:ext uri="{FF2B5EF4-FFF2-40B4-BE49-F238E27FC236}">
                <a16:creationId xmlns:a16="http://schemas.microsoft.com/office/drawing/2014/main" id="{33BF5FCB-1413-4141-BB2B-C94A7BF4DF89}"/>
              </a:ext>
            </a:extLst>
          </p:cNvPr>
          <p:cNvSpPr>
            <a:spLocks noGrp="1"/>
          </p:cNvSpPr>
          <p:nvPr>
            <p:ph type="body" sz="quarter" idx="16" hasCustomPrompt="1"/>
          </p:nvPr>
        </p:nvSpPr>
        <p:spPr>
          <a:xfrm flipH="1">
            <a:off x="600488" y="1295403"/>
            <a:ext cx="7200" cy="4968000"/>
          </a:xfrm>
          <a:prstGeom prst="roundRect">
            <a:avLst>
              <a:gd name="adj" fmla="val 50000"/>
            </a:avLst>
          </a:prstGeom>
          <a:solidFill>
            <a:schemeClr val="bg1"/>
          </a:solidFill>
          <a:ln w="12700">
            <a:noFill/>
          </a:ln>
        </p:spPr>
        <p:txBody>
          <a:bodyPr/>
          <a:lstStyle>
            <a:lvl1pPr marL="0" indent="0">
              <a:buFont typeface="Arial" panose="020B0604020202020204" pitchFamily="34" charset="0"/>
              <a:buNone/>
              <a:defRPr/>
            </a:lvl1pPr>
          </a:lstStyle>
          <a:p>
            <a:pPr lvl="0"/>
            <a:r>
              <a:rPr lang="nl-NL" dirty="0"/>
              <a:t> </a:t>
            </a:r>
          </a:p>
        </p:txBody>
      </p:sp>
      <p:sp>
        <p:nvSpPr>
          <p:cNvPr id="108" name="Tijdelijke aanduiding voor tekst 107">
            <a:extLst>
              <a:ext uri="{FF2B5EF4-FFF2-40B4-BE49-F238E27FC236}">
                <a16:creationId xmlns:a16="http://schemas.microsoft.com/office/drawing/2014/main" id="{E72D5BF8-170A-421E-BE3E-EDB40003468D}"/>
              </a:ext>
            </a:extLst>
          </p:cNvPr>
          <p:cNvSpPr>
            <a:spLocks noGrp="1"/>
          </p:cNvSpPr>
          <p:nvPr>
            <p:ph type="body" sz="quarter" idx="17" hasCustomPrompt="1"/>
          </p:nvPr>
        </p:nvSpPr>
        <p:spPr>
          <a:xfrm>
            <a:off x="0" y="6278876"/>
            <a:ext cx="633831" cy="147829"/>
          </a:xfrm>
          <a:custGeom>
            <a:avLst/>
            <a:gdLst>
              <a:gd name="connsiteX0" fmla="*/ 304800 w 2446969"/>
              <a:gd name="connsiteY0" fmla="*/ 9936 h 201600"/>
              <a:gd name="connsiteX1" fmla="*/ 326230 w 2446969"/>
              <a:gd name="connsiteY1" fmla="*/ 9936 h 201600"/>
              <a:gd name="connsiteX2" fmla="*/ 565841 w 2446969"/>
              <a:gd name="connsiteY2" fmla="*/ 9936 h 201600"/>
              <a:gd name="connsiteX3" fmla="*/ 624601 w 2446969"/>
              <a:gd name="connsiteY3" fmla="*/ 9936 h 201600"/>
              <a:gd name="connsiteX4" fmla="*/ 649894 w 2446969"/>
              <a:gd name="connsiteY4" fmla="*/ 9936 h 201600"/>
              <a:gd name="connsiteX5" fmla="*/ 720674 w 2446969"/>
              <a:gd name="connsiteY5" fmla="*/ 9936 h 201600"/>
              <a:gd name="connsiteX6" fmla="*/ 815203 w 2446969"/>
              <a:gd name="connsiteY6" fmla="*/ 9936 h 201600"/>
              <a:gd name="connsiteX7" fmla="*/ 909624 w 2446969"/>
              <a:gd name="connsiteY7" fmla="*/ 9936 h 201600"/>
              <a:gd name="connsiteX8" fmla="*/ 938629 w 2446969"/>
              <a:gd name="connsiteY8" fmla="*/ 83825 h 201600"/>
              <a:gd name="connsiteX9" fmla="*/ 908257 w 2446969"/>
              <a:gd name="connsiteY9" fmla="*/ 157135 h 201600"/>
              <a:gd name="connsiteX10" fmla="*/ 720674 w 2446969"/>
              <a:gd name="connsiteY10" fmla="*/ 157552 h 201600"/>
              <a:gd name="connsiteX11" fmla="*/ 720674 w 2446969"/>
              <a:gd name="connsiteY11" fmla="*/ 157765 h 201600"/>
              <a:gd name="connsiteX12" fmla="*/ 649894 w 2446969"/>
              <a:gd name="connsiteY12" fmla="*/ 157765 h 201600"/>
              <a:gd name="connsiteX13" fmla="*/ 624601 w 2446969"/>
              <a:gd name="connsiteY13" fmla="*/ 157765 h 201600"/>
              <a:gd name="connsiteX14" fmla="*/ 565841 w 2446969"/>
              <a:gd name="connsiteY14" fmla="*/ 157765 h 201600"/>
              <a:gd name="connsiteX15" fmla="*/ 326230 w 2446969"/>
              <a:gd name="connsiteY15" fmla="*/ 157765 h 201600"/>
              <a:gd name="connsiteX16" fmla="*/ 304800 w 2446969"/>
              <a:gd name="connsiteY16" fmla="*/ 157765 h 201600"/>
              <a:gd name="connsiteX17" fmla="*/ 1564320 w 2446969"/>
              <a:gd name="connsiteY17" fmla="*/ 0 h 201600"/>
              <a:gd name="connsiteX18" fmla="*/ 2446969 w 2446969"/>
              <a:gd name="connsiteY18" fmla="*/ 0 h 201600"/>
              <a:gd name="connsiteX19" fmla="*/ 2446969 w 2446969"/>
              <a:gd name="connsiteY19" fmla="*/ 201600 h 201600"/>
              <a:gd name="connsiteX20" fmla="*/ 1537211 w 2446969"/>
              <a:gd name="connsiteY20" fmla="*/ 201600 h 201600"/>
              <a:gd name="connsiteX21" fmla="*/ 1569747 w 2446969"/>
              <a:gd name="connsiteY21" fmla="*/ 138393 h 201600"/>
              <a:gd name="connsiteX22" fmla="*/ 1587361 w 2446969"/>
              <a:gd name="connsiteY22" fmla="*/ 74888 h 201600"/>
              <a:gd name="connsiteX23" fmla="*/ 1565466 w 2446969"/>
              <a:gd name="connsiteY23" fmla="*/ 2477 h 201600"/>
              <a:gd name="connsiteX24" fmla="*/ 0 w 2446969"/>
              <a:gd name="connsiteY24" fmla="*/ 0 h 201600"/>
              <a:gd name="connsiteX25" fmla="*/ 289896 w 2446969"/>
              <a:gd name="connsiteY25" fmla="*/ 0 h 201600"/>
              <a:gd name="connsiteX26" fmla="*/ 289896 w 2446969"/>
              <a:gd name="connsiteY26" fmla="*/ 201600 h 201600"/>
              <a:gd name="connsiteX27" fmla="*/ 0 w 2446969"/>
              <a:gd name="connsiteY27" fmla="*/ 201600 h 201600"/>
              <a:gd name="connsiteX0" fmla="*/ 304800 w 2446969"/>
              <a:gd name="connsiteY0" fmla="*/ 9936 h 201600"/>
              <a:gd name="connsiteX1" fmla="*/ 326230 w 2446969"/>
              <a:gd name="connsiteY1" fmla="*/ 9936 h 201600"/>
              <a:gd name="connsiteX2" fmla="*/ 565841 w 2446969"/>
              <a:gd name="connsiteY2" fmla="*/ 9936 h 201600"/>
              <a:gd name="connsiteX3" fmla="*/ 624601 w 2446969"/>
              <a:gd name="connsiteY3" fmla="*/ 9936 h 201600"/>
              <a:gd name="connsiteX4" fmla="*/ 649894 w 2446969"/>
              <a:gd name="connsiteY4" fmla="*/ 9936 h 201600"/>
              <a:gd name="connsiteX5" fmla="*/ 720674 w 2446969"/>
              <a:gd name="connsiteY5" fmla="*/ 9936 h 201600"/>
              <a:gd name="connsiteX6" fmla="*/ 815203 w 2446969"/>
              <a:gd name="connsiteY6" fmla="*/ 9936 h 201600"/>
              <a:gd name="connsiteX7" fmla="*/ 909624 w 2446969"/>
              <a:gd name="connsiteY7" fmla="*/ 9936 h 201600"/>
              <a:gd name="connsiteX8" fmla="*/ 938629 w 2446969"/>
              <a:gd name="connsiteY8" fmla="*/ 83825 h 201600"/>
              <a:gd name="connsiteX9" fmla="*/ 908257 w 2446969"/>
              <a:gd name="connsiteY9" fmla="*/ 157135 h 201600"/>
              <a:gd name="connsiteX10" fmla="*/ 720674 w 2446969"/>
              <a:gd name="connsiteY10" fmla="*/ 157552 h 201600"/>
              <a:gd name="connsiteX11" fmla="*/ 720674 w 2446969"/>
              <a:gd name="connsiteY11" fmla="*/ 157765 h 201600"/>
              <a:gd name="connsiteX12" fmla="*/ 649894 w 2446969"/>
              <a:gd name="connsiteY12" fmla="*/ 157765 h 201600"/>
              <a:gd name="connsiteX13" fmla="*/ 624601 w 2446969"/>
              <a:gd name="connsiteY13" fmla="*/ 157765 h 201600"/>
              <a:gd name="connsiteX14" fmla="*/ 565841 w 2446969"/>
              <a:gd name="connsiteY14" fmla="*/ 157765 h 201600"/>
              <a:gd name="connsiteX15" fmla="*/ 326230 w 2446969"/>
              <a:gd name="connsiteY15" fmla="*/ 157765 h 201600"/>
              <a:gd name="connsiteX16" fmla="*/ 304800 w 2446969"/>
              <a:gd name="connsiteY16" fmla="*/ 157765 h 201600"/>
              <a:gd name="connsiteX17" fmla="*/ 304800 w 2446969"/>
              <a:gd name="connsiteY17" fmla="*/ 9936 h 201600"/>
              <a:gd name="connsiteX18" fmla="*/ 1564320 w 2446969"/>
              <a:gd name="connsiteY18" fmla="*/ 0 h 201600"/>
              <a:gd name="connsiteX19" fmla="*/ 2446969 w 2446969"/>
              <a:gd name="connsiteY19" fmla="*/ 0 h 201600"/>
              <a:gd name="connsiteX20" fmla="*/ 2446969 w 2446969"/>
              <a:gd name="connsiteY20" fmla="*/ 201600 h 201600"/>
              <a:gd name="connsiteX21" fmla="*/ 1537211 w 2446969"/>
              <a:gd name="connsiteY21" fmla="*/ 201600 h 201600"/>
              <a:gd name="connsiteX22" fmla="*/ 1569747 w 2446969"/>
              <a:gd name="connsiteY22" fmla="*/ 138393 h 201600"/>
              <a:gd name="connsiteX23" fmla="*/ 1587361 w 2446969"/>
              <a:gd name="connsiteY23" fmla="*/ 74888 h 201600"/>
              <a:gd name="connsiteX24" fmla="*/ 1565466 w 2446969"/>
              <a:gd name="connsiteY24" fmla="*/ 2477 h 201600"/>
              <a:gd name="connsiteX25" fmla="*/ 1564320 w 2446969"/>
              <a:gd name="connsiteY25" fmla="*/ 0 h 201600"/>
              <a:gd name="connsiteX26" fmla="*/ 0 w 2446969"/>
              <a:gd name="connsiteY26" fmla="*/ 0 h 201600"/>
              <a:gd name="connsiteX27" fmla="*/ 289896 w 2446969"/>
              <a:gd name="connsiteY27" fmla="*/ 0 h 201600"/>
              <a:gd name="connsiteX28" fmla="*/ 0 w 2446969"/>
              <a:gd name="connsiteY28" fmla="*/ 201600 h 201600"/>
              <a:gd name="connsiteX29" fmla="*/ 0 w 2446969"/>
              <a:gd name="connsiteY29" fmla="*/ 0 h 201600"/>
              <a:gd name="connsiteX0" fmla="*/ 304800 w 2446969"/>
              <a:gd name="connsiteY0" fmla="*/ 9936 h 201600"/>
              <a:gd name="connsiteX1" fmla="*/ 326230 w 2446969"/>
              <a:gd name="connsiteY1" fmla="*/ 9936 h 201600"/>
              <a:gd name="connsiteX2" fmla="*/ 565841 w 2446969"/>
              <a:gd name="connsiteY2" fmla="*/ 9936 h 201600"/>
              <a:gd name="connsiteX3" fmla="*/ 624601 w 2446969"/>
              <a:gd name="connsiteY3" fmla="*/ 9936 h 201600"/>
              <a:gd name="connsiteX4" fmla="*/ 649894 w 2446969"/>
              <a:gd name="connsiteY4" fmla="*/ 9936 h 201600"/>
              <a:gd name="connsiteX5" fmla="*/ 720674 w 2446969"/>
              <a:gd name="connsiteY5" fmla="*/ 9936 h 201600"/>
              <a:gd name="connsiteX6" fmla="*/ 815203 w 2446969"/>
              <a:gd name="connsiteY6" fmla="*/ 9936 h 201600"/>
              <a:gd name="connsiteX7" fmla="*/ 909624 w 2446969"/>
              <a:gd name="connsiteY7" fmla="*/ 9936 h 201600"/>
              <a:gd name="connsiteX8" fmla="*/ 938629 w 2446969"/>
              <a:gd name="connsiteY8" fmla="*/ 83825 h 201600"/>
              <a:gd name="connsiteX9" fmla="*/ 908257 w 2446969"/>
              <a:gd name="connsiteY9" fmla="*/ 157135 h 201600"/>
              <a:gd name="connsiteX10" fmla="*/ 720674 w 2446969"/>
              <a:gd name="connsiteY10" fmla="*/ 157552 h 201600"/>
              <a:gd name="connsiteX11" fmla="*/ 720674 w 2446969"/>
              <a:gd name="connsiteY11" fmla="*/ 157765 h 201600"/>
              <a:gd name="connsiteX12" fmla="*/ 649894 w 2446969"/>
              <a:gd name="connsiteY12" fmla="*/ 157765 h 201600"/>
              <a:gd name="connsiteX13" fmla="*/ 624601 w 2446969"/>
              <a:gd name="connsiteY13" fmla="*/ 157765 h 201600"/>
              <a:gd name="connsiteX14" fmla="*/ 565841 w 2446969"/>
              <a:gd name="connsiteY14" fmla="*/ 157765 h 201600"/>
              <a:gd name="connsiteX15" fmla="*/ 326230 w 2446969"/>
              <a:gd name="connsiteY15" fmla="*/ 157765 h 201600"/>
              <a:gd name="connsiteX16" fmla="*/ 304800 w 2446969"/>
              <a:gd name="connsiteY16" fmla="*/ 157765 h 201600"/>
              <a:gd name="connsiteX17" fmla="*/ 304800 w 2446969"/>
              <a:gd name="connsiteY17" fmla="*/ 9936 h 201600"/>
              <a:gd name="connsiteX18" fmla="*/ 1564320 w 2446969"/>
              <a:gd name="connsiteY18" fmla="*/ 0 h 201600"/>
              <a:gd name="connsiteX19" fmla="*/ 2446969 w 2446969"/>
              <a:gd name="connsiteY19" fmla="*/ 0 h 201600"/>
              <a:gd name="connsiteX20" fmla="*/ 2446969 w 2446969"/>
              <a:gd name="connsiteY20" fmla="*/ 201600 h 201600"/>
              <a:gd name="connsiteX21" fmla="*/ 1537211 w 2446969"/>
              <a:gd name="connsiteY21" fmla="*/ 201600 h 201600"/>
              <a:gd name="connsiteX22" fmla="*/ 1569747 w 2446969"/>
              <a:gd name="connsiteY22" fmla="*/ 138393 h 201600"/>
              <a:gd name="connsiteX23" fmla="*/ 1587361 w 2446969"/>
              <a:gd name="connsiteY23" fmla="*/ 74888 h 201600"/>
              <a:gd name="connsiteX24" fmla="*/ 1565466 w 2446969"/>
              <a:gd name="connsiteY24" fmla="*/ 2477 h 201600"/>
              <a:gd name="connsiteX25" fmla="*/ 1564320 w 2446969"/>
              <a:gd name="connsiteY25" fmla="*/ 0 h 201600"/>
              <a:gd name="connsiteX26" fmla="*/ 0 w 2446969"/>
              <a:gd name="connsiteY26" fmla="*/ 0 h 201600"/>
              <a:gd name="connsiteX27" fmla="*/ 289896 w 2446969"/>
              <a:gd name="connsiteY27" fmla="*/ 0 h 201600"/>
              <a:gd name="connsiteX28" fmla="*/ 0 w 2446969"/>
              <a:gd name="connsiteY28" fmla="*/ 0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59520 w 2142169"/>
              <a:gd name="connsiteY18" fmla="*/ 0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4947 w 2142169"/>
              <a:gd name="connsiteY22" fmla="*/ 138393 h 201600"/>
              <a:gd name="connsiteX23" fmla="*/ 1282561 w 2142169"/>
              <a:gd name="connsiteY23" fmla="*/ 74888 h 201600"/>
              <a:gd name="connsiteX24" fmla="*/ 1260666 w 2142169"/>
              <a:gd name="connsiteY24" fmla="*/ 2477 h 201600"/>
              <a:gd name="connsiteX25" fmla="*/ 1259520 w 2142169"/>
              <a:gd name="connsiteY25" fmla="*/ 0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4947 w 2142169"/>
              <a:gd name="connsiteY22" fmla="*/ 138393 h 201600"/>
              <a:gd name="connsiteX23" fmla="*/ 1282561 w 2142169"/>
              <a:gd name="connsiteY23" fmla="*/ 74888 h 201600"/>
              <a:gd name="connsiteX24" fmla="*/ 1260666 w 2142169"/>
              <a:gd name="connsiteY24" fmla="*/ 2477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4947 w 2142169"/>
              <a:gd name="connsiteY22" fmla="*/ 138393 h 201600"/>
              <a:gd name="connsiteX23" fmla="*/ 1260666 w 2142169"/>
              <a:gd name="connsiteY23" fmla="*/ 2477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0666 w 2142169"/>
              <a:gd name="connsiteY22" fmla="*/ 2477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60666 w 2142169"/>
              <a:gd name="connsiteY21" fmla="*/ 2477 h 201600"/>
              <a:gd name="connsiteX0" fmla="*/ 0 w 2142169"/>
              <a:gd name="connsiteY0" fmla="*/ 9936 h 157765"/>
              <a:gd name="connsiteX1" fmla="*/ 21430 w 2142169"/>
              <a:gd name="connsiteY1" fmla="*/ 9936 h 157765"/>
              <a:gd name="connsiteX2" fmla="*/ 261041 w 2142169"/>
              <a:gd name="connsiteY2" fmla="*/ 9936 h 157765"/>
              <a:gd name="connsiteX3" fmla="*/ 319801 w 2142169"/>
              <a:gd name="connsiteY3" fmla="*/ 9936 h 157765"/>
              <a:gd name="connsiteX4" fmla="*/ 345094 w 2142169"/>
              <a:gd name="connsiteY4" fmla="*/ 9936 h 157765"/>
              <a:gd name="connsiteX5" fmla="*/ 415874 w 2142169"/>
              <a:gd name="connsiteY5" fmla="*/ 9936 h 157765"/>
              <a:gd name="connsiteX6" fmla="*/ 510403 w 2142169"/>
              <a:gd name="connsiteY6" fmla="*/ 9936 h 157765"/>
              <a:gd name="connsiteX7" fmla="*/ 604824 w 2142169"/>
              <a:gd name="connsiteY7" fmla="*/ 9936 h 157765"/>
              <a:gd name="connsiteX8" fmla="*/ 633829 w 2142169"/>
              <a:gd name="connsiteY8" fmla="*/ 83825 h 157765"/>
              <a:gd name="connsiteX9" fmla="*/ 603457 w 2142169"/>
              <a:gd name="connsiteY9" fmla="*/ 157135 h 157765"/>
              <a:gd name="connsiteX10" fmla="*/ 415874 w 2142169"/>
              <a:gd name="connsiteY10" fmla="*/ 157552 h 157765"/>
              <a:gd name="connsiteX11" fmla="*/ 415874 w 2142169"/>
              <a:gd name="connsiteY11" fmla="*/ 157765 h 157765"/>
              <a:gd name="connsiteX12" fmla="*/ 345094 w 2142169"/>
              <a:gd name="connsiteY12" fmla="*/ 157765 h 157765"/>
              <a:gd name="connsiteX13" fmla="*/ 319801 w 2142169"/>
              <a:gd name="connsiteY13" fmla="*/ 157765 h 157765"/>
              <a:gd name="connsiteX14" fmla="*/ 261041 w 2142169"/>
              <a:gd name="connsiteY14" fmla="*/ 157765 h 157765"/>
              <a:gd name="connsiteX15" fmla="*/ 21430 w 2142169"/>
              <a:gd name="connsiteY15" fmla="*/ 157765 h 157765"/>
              <a:gd name="connsiteX16" fmla="*/ 0 w 2142169"/>
              <a:gd name="connsiteY16" fmla="*/ 157765 h 157765"/>
              <a:gd name="connsiteX17" fmla="*/ 0 w 2142169"/>
              <a:gd name="connsiteY17" fmla="*/ 9936 h 157765"/>
              <a:gd name="connsiteX18" fmla="*/ 1260666 w 2142169"/>
              <a:gd name="connsiteY18" fmla="*/ 2477 h 157765"/>
              <a:gd name="connsiteX19" fmla="*/ 2142169 w 2142169"/>
              <a:gd name="connsiteY19" fmla="*/ 0 h 157765"/>
              <a:gd name="connsiteX20" fmla="*/ 1260666 w 2142169"/>
              <a:gd name="connsiteY20" fmla="*/ 2477 h 157765"/>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415874 w 633831"/>
              <a:gd name="connsiteY11" fmla="*/ 147829 h 147829"/>
              <a:gd name="connsiteX12" fmla="*/ 345094 w 633831"/>
              <a:gd name="connsiteY12" fmla="*/ 147829 h 147829"/>
              <a:gd name="connsiteX13" fmla="*/ 319801 w 633831"/>
              <a:gd name="connsiteY13" fmla="*/ 147829 h 147829"/>
              <a:gd name="connsiteX14" fmla="*/ 261041 w 633831"/>
              <a:gd name="connsiteY14" fmla="*/ 147829 h 147829"/>
              <a:gd name="connsiteX15" fmla="*/ 21430 w 633831"/>
              <a:gd name="connsiteY15" fmla="*/ 147829 h 147829"/>
              <a:gd name="connsiteX16" fmla="*/ 0 w 633831"/>
              <a:gd name="connsiteY16" fmla="*/ 147829 h 147829"/>
              <a:gd name="connsiteX17" fmla="*/ 0 w 633831"/>
              <a:gd name="connsiteY17"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345094 w 633831"/>
              <a:gd name="connsiteY11" fmla="*/ 147829 h 147829"/>
              <a:gd name="connsiteX12" fmla="*/ 319801 w 633831"/>
              <a:gd name="connsiteY12" fmla="*/ 147829 h 147829"/>
              <a:gd name="connsiteX13" fmla="*/ 261041 w 633831"/>
              <a:gd name="connsiteY13" fmla="*/ 147829 h 147829"/>
              <a:gd name="connsiteX14" fmla="*/ 21430 w 633831"/>
              <a:gd name="connsiteY14" fmla="*/ 147829 h 147829"/>
              <a:gd name="connsiteX15" fmla="*/ 0 w 633831"/>
              <a:gd name="connsiteY15" fmla="*/ 147829 h 147829"/>
              <a:gd name="connsiteX16" fmla="*/ 0 w 633831"/>
              <a:gd name="connsiteY16"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345094 w 633831"/>
              <a:gd name="connsiteY10" fmla="*/ 147829 h 147829"/>
              <a:gd name="connsiteX11" fmla="*/ 319801 w 633831"/>
              <a:gd name="connsiteY11" fmla="*/ 147829 h 147829"/>
              <a:gd name="connsiteX12" fmla="*/ 261041 w 633831"/>
              <a:gd name="connsiteY12" fmla="*/ 147829 h 147829"/>
              <a:gd name="connsiteX13" fmla="*/ 21430 w 633831"/>
              <a:gd name="connsiteY13" fmla="*/ 147829 h 147829"/>
              <a:gd name="connsiteX14" fmla="*/ 0 w 633831"/>
              <a:gd name="connsiteY14" fmla="*/ 147829 h 147829"/>
              <a:gd name="connsiteX15" fmla="*/ 0 w 633831"/>
              <a:gd name="connsiteY15"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319801 w 633831"/>
              <a:gd name="connsiteY10" fmla="*/ 147829 h 147829"/>
              <a:gd name="connsiteX11" fmla="*/ 261041 w 633831"/>
              <a:gd name="connsiteY11" fmla="*/ 147829 h 147829"/>
              <a:gd name="connsiteX12" fmla="*/ 21430 w 633831"/>
              <a:gd name="connsiteY12" fmla="*/ 147829 h 147829"/>
              <a:gd name="connsiteX13" fmla="*/ 0 w 633831"/>
              <a:gd name="connsiteY13" fmla="*/ 147829 h 147829"/>
              <a:gd name="connsiteX14" fmla="*/ 0 w 633831"/>
              <a:gd name="connsiteY14"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261041 w 633831"/>
              <a:gd name="connsiteY10" fmla="*/ 147829 h 147829"/>
              <a:gd name="connsiteX11" fmla="*/ 21430 w 633831"/>
              <a:gd name="connsiteY11" fmla="*/ 147829 h 147829"/>
              <a:gd name="connsiteX12" fmla="*/ 0 w 633831"/>
              <a:gd name="connsiteY12" fmla="*/ 147829 h 147829"/>
              <a:gd name="connsiteX13" fmla="*/ 0 w 633831"/>
              <a:gd name="connsiteY13"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21430 w 633831"/>
              <a:gd name="connsiteY10" fmla="*/ 147829 h 147829"/>
              <a:gd name="connsiteX11" fmla="*/ 0 w 633831"/>
              <a:gd name="connsiteY11" fmla="*/ 147829 h 147829"/>
              <a:gd name="connsiteX12" fmla="*/ 0 w 633831"/>
              <a:gd name="connsiteY12"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0 w 633831"/>
              <a:gd name="connsiteY10" fmla="*/ 147829 h 147829"/>
              <a:gd name="connsiteX11" fmla="*/ 0 w 633831"/>
              <a:gd name="connsiteY11"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0 w 633831"/>
              <a:gd name="connsiteY10" fmla="*/ 147829 h 147829"/>
              <a:gd name="connsiteX11" fmla="*/ 0 w 633831"/>
              <a:gd name="connsiteY11"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415874 w 633831"/>
              <a:gd name="connsiteY4" fmla="*/ 0 h 147829"/>
              <a:gd name="connsiteX5" fmla="*/ 510403 w 633831"/>
              <a:gd name="connsiteY5" fmla="*/ 0 h 147829"/>
              <a:gd name="connsiteX6" fmla="*/ 604824 w 633831"/>
              <a:gd name="connsiteY6" fmla="*/ 0 h 147829"/>
              <a:gd name="connsiteX7" fmla="*/ 633829 w 633831"/>
              <a:gd name="connsiteY7" fmla="*/ 73889 h 147829"/>
              <a:gd name="connsiteX8" fmla="*/ 603457 w 633831"/>
              <a:gd name="connsiteY8" fmla="*/ 147199 h 147829"/>
              <a:gd name="connsiteX9" fmla="*/ 0 w 633831"/>
              <a:gd name="connsiteY9" fmla="*/ 147829 h 147829"/>
              <a:gd name="connsiteX10" fmla="*/ 0 w 633831"/>
              <a:gd name="connsiteY10" fmla="*/ 0 h 147829"/>
              <a:gd name="connsiteX0" fmla="*/ 0 w 633831"/>
              <a:gd name="connsiteY0" fmla="*/ 0 h 147829"/>
              <a:gd name="connsiteX1" fmla="*/ 21430 w 633831"/>
              <a:gd name="connsiteY1" fmla="*/ 0 h 147829"/>
              <a:gd name="connsiteX2" fmla="*/ 261041 w 633831"/>
              <a:gd name="connsiteY2" fmla="*/ 0 h 147829"/>
              <a:gd name="connsiteX3" fmla="*/ 415874 w 633831"/>
              <a:gd name="connsiteY3" fmla="*/ 0 h 147829"/>
              <a:gd name="connsiteX4" fmla="*/ 510403 w 633831"/>
              <a:gd name="connsiteY4" fmla="*/ 0 h 147829"/>
              <a:gd name="connsiteX5" fmla="*/ 604824 w 633831"/>
              <a:gd name="connsiteY5" fmla="*/ 0 h 147829"/>
              <a:gd name="connsiteX6" fmla="*/ 633829 w 633831"/>
              <a:gd name="connsiteY6" fmla="*/ 73889 h 147829"/>
              <a:gd name="connsiteX7" fmla="*/ 603457 w 633831"/>
              <a:gd name="connsiteY7" fmla="*/ 147199 h 147829"/>
              <a:gd name="connsiteX8" fmla="*/ 0 w 633831"/>
              <a:gd name="connsiteY8" fmla="*/ 147829 h 147829"/>
              <a:gd name="connsiteX9" fmla="*/ 0 w 633831"/>
              <a:gd name="connsiteY9" fmla="*/ 0 h 147829"/>
              <a:gd name="connsiteX0" fmla="*/ 0 w 633831"/>
              <a:gd name="connsiteY0" fmla="*/ 0 h 147829"/>
              <a:gd name="connsiteX1" fmla="*/ 21430 w 633831"/>
              <a:gd name="connsiteY1" fmla="*/ 0 h 147829"/>
              <a:gd name="connsiteX2" fmla="*/ 415874 w 633831"/>
              <a:gd name="connsiteY2" fmla="*/ 0 h 147829"/>
              <a:gd name="connsiteX3" fmla="*/ 510403 w 633831"/>
              <a:gd name="connsiteY3" fmla="*/ 0 h 147829"/>
              <a:gd name="connsiteX4" fmla="*/ 604824 w 633831"/>
              <a:gd name="connsiteY4" fmla="*/ 0 h 147829"/>
              <a:gd name="connsiteX5" fmla="*/ 633829 w 633831"/>
              <a:gd name="connsiteY5" fmla="*/ 73889 h 147829"/>
              <a:gd name="connsiteX6" fmla="*/ 603457 w 633831"/>
              <a:gd name="connsiteY6" fmla="*/ 147199 h 147829"/>
              <a:gd name="connsiteX7" fmla="*/ 0 w 633831"/>
              <a:gd name="connsiteY7" fmla="*/ 147829 h 147829"/>
              <a:gd name="connsiteX8" fmla="*/ 0 w 633831"/>
              <a:gd name="connsiteY8" fmla="*/ 0 h 147829"/>
              <a:gd name="connsiteX0" fmla="*/ 0 w 633831"/>
              <a:gd name="connsiteY0" fmla="*/ 0 h 147829"/>
              <a:gd name="connsiteX1" fmla="*/ 415874 w 633831"/>
              <a:gd name="connsiteY1" fmla="*/ 0 h 147829"/>
              <a:gd name="connsiteX2" fmla="*/ 510403 w 633831"/>
              <a:gd name="connsiteY2" fmla="*/ 0 h 147829"/>
              <a:gd name="connsiteX3" fmla="*/ 604824 w 633831"/>
              <a:gd name="connsiteY3" fmla="*/ 0 h 147829"/>
              <a:gd name="connsiteX4" fmla="*/ 633829 w 633831"/>
              <a:gd name="connsiteY4" fmla="*/ 73889 h 147829"/>
              <a:gd name="connsiteX5" fmla="*/ 603457 w 633831"/>
              <a:gd name="connsiteY5" fmla="*/ 147199 h 147829"/>
              <a:gd name="connsiteX6" fmla="*/ 0 w 633831"/>
              <a:gd name="connsiteY6" fmla="*/ 147829 h 147829"/>
              <a:gd name="connsiteX7" fmla="*/ 0 w 633831"/>
              <a:gd name="connsiteY7" fmla="*/ 0 h 147829"/>
              <a:gd name="connsiteX0" fmla="*/ 0 w 633831"/>
              <a:gd name="connsiteY0" fmla="*/ 0 h 147829"/>
              <a:gd name="connsiteX1" fmla="*/ 510403 w 633831"/>
              <a:gd name="connsiteY1" fmla="*/ 0 h 147829"/>
              <a:gd name="connsiteX2" fmla="*/ 604824 w 633831"/>
              <a:gd name="connsiteY2" fmla="*/ 0 h 147829"/>
              <a:gd name="connsiteX3" fmla="*/ 633829 w 633831"/>
              <a:gd name="connsiteY3" fmla="*/ 73889 h 147829"/>
              <a:gd name="connsiteX4" fmla="*/ 603457 w 633831"/>
              <a:gd name="connsiteY4" fmla="*/ 147199 h 147829"/>
              <a:gd name="connsiteX5" fmla="*/ 0 w 633831"/>
              <a:gd name="connsiteY5" fmla="*/ 147829 h 147829"/>
              <a:gd name="connsiteX6" fmla="*/ 0 w 633831"/>
              <a:gd name="connsiteY6" fmla="*/ 0 h 147829"/>
              <a:gd name="connsiteX0" fmla="*/ 0 w 633831"/>
              <a:gd name="connsiteY0" fmla="*/ 0 h 147829"/>
              <a:gd name="connsiteX1" fmla="*/ 604824 w 633831"/>
              <a:gd name="connsiteY1" fmla="*/ 0 h 147829"/>
              <a:gd name="connsiteX2" fmla="*/ 633829 w 633831"/>
              <a:gd name="connsiteY2" fmla="*/ 73889 h 147829"/>
              <a:gd name="connsiteX3" fmla="*/ 603457 w 633831"/>
              <a:gd name="connsiteY3" fmla="*/ 147199 h 147829"/>
              <a:gd name="connsiteX4" fmla="*/ 0 w 633831"/>
              <a:gd name="connsiteY4" fmla="*/ 147829 h 147829"/>
              <a:gd name="connsiteX5" fmla="*/ 0 w 633831"/>
              <a:gd name="connsiteY5" fmla="*/ 0 h 14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831" h="147829">
                <a:moveTo>
                  <a:pt x="0" y="0"/>
                </a:moveTo>
                <a:lnTo>
                  <a:pt x="604824" y="0"/>
                </a:lnTo>
                <a:cubicBezTo>
                  <a:pt x="614746" y="20344"/>
                  <a:pt x="634057" y="57734"/>
                  <a:pt x="633829" y="73889"/>
                </a:cubicBezTo>
                <a:cubicBezTo>
                  <a:pt x="633601" y="90044"/>
                  <a:pt x="621235" y="116025"/>
                  <a:pt x="603457" y="147199"/>
                </a:cubicBezTo>
                <a:lnTo>
                  <a:pt x="0" y="147829"/>
                </a:lnTo>
                <a:lnTo>
                  <a:pt x="0" y="0"/>
                </a:lnTo>
                <a:close/>
              </a:path>
            </a:pathLst>
          </a:custGeom>
          <a:solidFill>
            <a:schemeClr val="bg1"/>
          </a:solidFill>
          <a:ln w="12700">
            <a:noFill/>
          </a:ln>
        </p:spPr>
        <p:txBody>
          <a:bodyPr wrap="square">
            <a:noAutofit/>
          </a:bodyPr>
          <a:lstStyle>
            <a:lvl1pPr marL="0" indent="0">
              <a:buFont typeface="Arial" panose="020B0604020202020204" pitchFamily="34" charset="0"/>
              <a:buNone/>
              <a:defRPr/>
            </a:lvl1pPr>
          </a:lstStyle>
          <a:p>
            <a:pPr lvl="0"/>
            <a:r>
              <a:rPr lang="nl-NL" dirty="0"/>
              <a:t> </a:t>
            </a:r>
          </a:p>
        </p:txBody>
      </p:sp>
    </p:spTree>
    <p:extLst>
      <p:ext uri="{BB962C8B-B14F-4D97-AF65-F5344CB8AC3E}">
        <p14:creationId xmlns:p14="http://schemas.microsoft.com/office/powerpoint/2010/main" val="253077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without animation">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8FACD895-919C-41CE-8DFE-D5A75AE802F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hasCustomPrompt="1"/>
          </p:nvPr>
        </p:nvSpPr>
        <p:spPr>
          <a:xfrm>
            <a:off x="757238" y="4996382"/>
            <a:ext cx="8016246" cy="338957"/>
          </a:xfrm>
        </p:spPr>
        <p:txBody>
          <a:bodyPr anchor="ctr"/>
          <a:lstStyle>
            <a:lvl1pPr>
              <a:lnSpc>
                <a:spcPct val="100000"/>
              </a:lnSpc>
              <a:defRPr>
                <a:solidFill>
                  <a:schemeClr val="bg1"/>
                </a:solidFill>
              </a:defRPr>
            </a:lvl1pPr>
          </a:lstStyle>
          <a:p>
            <a:r>
              <a:rPr lang="nl-NL" dirty="0"/>
              <a:t>Plaats hier je titel</a:t>
            </a:r>
          </a:p>
        </p:txBody>
      </p:sp>
      <p:sp>
        <p:nvSpPr>
          <p:cNvPr id="7" name="Tekstvak 6">
            <a:extLst>
              <a:ext uri="{FF2B5EF4-FFF2-40B4-BE49-F238E27FC236}">
                <a16:creationId xmlns:a16="http://schemas.microsoft.com/office/drawing/2014/main" id="{11A6B26D-09F2-42A9-BEC2-9674112031AD}"/>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Title slide - without animation</a:t>
            </a:r>
          </a:p>
        </p:txBody>
      </p:sp>
      <p:sp>
        <p:nvSpPr>
          <p:cNvPr id="12" name="Tijdelijke aanduiding voor tekst 25">
            <a:extLst>
              <a:ext uri="{FF2B5EF4-FFF2-40B4-BE49-F238E27FC236}">
                <a16:creationId xmlns:a16="http://schemas.microsoft.com/office/drawing/2014/main" id="{A310F388-220F-4A00-82B6-726428FC92DC}"/>
              </a:ext>
            </a:extLst>
          </p:cNvPr>
          <p:cNvSpPr>
            <a:spLocks noGrp="1"/>
          </p:cNvSpPr>
          <p:nvPr>
            <p:ph type="body" sz="quarter" idx="15" hasCustomPrompt="1"/>
          </p:nvPr>
        </p:nvSpPr>
        <p:spPr>
          <a:xfrm>
            <a:off x="587030" y="5059711"/>
            <a:ext cx="68400" cy="201600"/>
          </a:xfrm>
          <a:blipFill>
            <a:blip r:embed="rId2" cstate="hqprint">
              <a:extLst>
                <a:ext uri="{28A0092B-C50C-407E-A947-70E740481C1C}">
                  <a14:useLocalDpi xmlns:a14="http://schemas.microsoft.com/office/drawing/2010/main"/>
                </a:ext>
              </a:extLst>
            </a:blip>
            <a:stretch>
              <a:fillRect/>
            </a:stretch>
          </a:blipFill>
          <a:ln w="12700">
            <a:noFill/>
          </a:ln>
        </p:spPr>
        <p:txBody>
          <a:bodyPr/>
          <a:lstStyle>
            <a:lvl1pPr marL="0" indent="0">
              <a:buFont typeface="Arial" panose="020B0604020202020204" pitchFamily="34" charset="0"/>
              <a:buNone/>
              <a:defRPr/>
            </a:lvl1pPr>
          </a:lstStyle>
          <a:p>
            <a:pPr lvl="0"/>
            <a:r>
              <a:rPr lang="nl-NL" dirty="0"/>
              <a:t> </a:t>
            </a:r>
          </a:p>
        </p:txBody>
      </p:sp>
      <p:sp>
        <p:nvSpPr>
          <p:cNvPr id="13" name="Tijdelijke aanduiding voor tekst 25">
            <a:extLst>
              <a:ext uri="{FF2B5EF4-FFF2-40B4-BE49-F238E27FC236}">
                <a16:creationId xmlns:a16="http://schemas.microsoft.com/office/drawing/2014/main" id="{B9647AE9-3369-4569-BD4D-E2544B90C46B}"/>
              </a:ext>
            </a:extLst>
          </p:cNvPr>
          <p:cNvSpPr>
            <a:spLocks noGrp="1"/>
          </p:cNvSpPr>
          <p:nvPr>
            <p:ph type="body" sz="quarter" idx="16" hasCustomPrompt="1"/>
          </p:nvPr>
        </p:nvSpPr>
        <p:spPr>
          <a:xfrm flipH="1">
            <a:off x="600488" y="5303385"/>
            <a:ext cx="7200" cy="1558800"/>
          </a:xfrm>
          <a:prstGeom prst="roundRect">
            <a:avLst>
              <a:gd name="adj" fmla="val 50000"/>
            </a:avLst>
          </a:prstGeom>
          <a:solidFill>
            <a:schemeClr val="bg1"/>
          </a:solidFill>
          <a:ln w="12700">
            <a:noFill/>
          </a:ln>
        </p:spPr>
        <p:txBody>
          <a:bodyPr/>
          <a:lstStyle>
            <a:lvl1pPr marL="0" indent="0">
              <a:buFont typeface="Arial" panose="020B0604020202020204" pitchFamily="34" charset="0"/>
              <a:buNone/>
              <a:defRPr/>
            </a:lvl1pPr>
          </a:lstStyle>
          <a:p>
            <a:pPr lvl="0"/>
            <a:r>
              <a:rPr lang="nl-NL" dirty="0"/>
              <a:t> </a:t>
            </a:r>
          </a:p>
        </p:txBody>
      </p:sp>
      <p:sp>
        <p:nvSpPr>
          <p:cNvPr id="3" name="Tijdelijke aanduiding voor tekst 2">
            <a:extLst>
              <a:ext uri="{FF2B5EF4-FFF2-40B4-BE49-F238E27FC236}">
                <a16:creationId xmlns:a16="http://schemas.microsoft.com/office/drawing/2014/main" id="{1E033E0D-02BF-429E-9E24-8720C1A7A2F8}"/>
              </a:ext>
            </a:extLst>
          </p:cNvPr>
          <p:cNvSpPr>
            <a:spLocks noGrp="1"/>
          </p:cNvSpPr>
          <p:nvPr>
            <p:ph type="body" sz="quarter" idx="18" hasCustomPrompt="1"/>
          </p:nvPr>
        </p:nvSpPr>
        <p:spPr>
          <a:xfrm>
            <a:off x="757238" y="5402181"/>
            <a:ext cx="8016246" cy="252663"/>
          </a:xfrm>
        </p:spPr>
        <p:txBody>
          <a:bodyPr anchor="ctr"/>
          <a:lstStyle>
            <a:lvl1pPr marL="0" indent="0">
              <a:buNone/>
              <a:defRPr sz="2400" cap="all" baseline="0">
                <a:solidFill>
                  <a:schemeClr val="bg1"/>
                </a:solidFill>
                <a:latin typeface="+mj-lt"/>
              </a:defRPr>
            </a:lvl1pPr>
          </a:lstStyle>
          <a:p>
            <a:pPr lvl="0"/>
            <a:r>
              <a:rPr lang="nl-NL" dirty="0"/>
              <a:t>Subtitel of naam spreker</a:t>
            </a:r>
          </a:p>
        </p:txBody>
      </p:sp>
    </p:spTree>
    <p:extLst>
      <p:ext uri="{BB962C8B-B14F-4D97-AF65-F5344CB8AC3E}">
        <p14:creationId xmlns:p14="http://schemas.microsoft.com/office/powerpoint/2010/main" val="3829424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84" name="Tijdelijke aanduiding voor media 28">
            <a:extLst>
              <a:ext uri="{FF2B5EF4-FFF2-40B4-BE49-F238E27FC236}">
                <a16:creationId xmlns:a16="http://schemas.microsoft.com/office/drawing/2014/main" id="{509D1DBF-53EC-4D6F-8ECF-1E96F36DB028}"/>
              </a:ext>
            </a:extLst>
          </p:cNvPr>
          <p:cNvSpPr>
            <a:spLocks noGrp="1"/>
          </p:cNvSpPr>
          <p:nvPr>
            <p:ph type="media" sz="quarter" idx="19" hasCustomPrompt="1"/>
          </p:nvPr>
        </p:nvSpPr>
        <p:spPr>
          <a:xfrm>
            <a:off x="0" y="1"/>
            <a:ext cx="12192000" cy="6857999"/>
          </a:xfrm>
          <a:solidFill>
            <a:schemeClr val="bg1">
              <a:lumMod val="95000"/>
            </a:schemeClr>
          </a:solidFill>
        </p:spPr>
        <p:txBody>
          <a:bodyPr tIns="0" bIns="1620000" anchor="ctr" anchorCtr="0"/>
          <a:lstStyle>
            <a:lvl1pPr marL="0" indent="0" algn="ctr">
              <a:lnSpc>
                <a:spcPct val="90000"/>
              </a:lnSpc>
              <a:spcBef>
                <a:spcPts val="0"/>
              </a:spcBef>
              <a:spcAft>
                <a:spcPts val="0"/>
              </a:spcAft>
              <a:buFont typeface="Arial" panose="020B0604020202020204" pitchFamily="34" charset="0"/>
              <a:buNone/>
              <a:defRPr sz="1500" b="0" i="1" baseline="0">
                <a:solidFill>
                  <a:schemeClr val="tx1">
                    <a:lumMod val="50000"/>
                    <a:lumOff val="50000"/>
                  </a:schemeClr>
                </a:solidFill>
                <a:latin typeface="+mn-lt"/>
              </a:defRPr>
            </a:lvl1pPr>
          </a:lstStyle>
          <a:p>
            <a:r>
              <a:rPr lang="nl-NL" noProof="0" dirty="0"/>
              <a:t>Klik op het onderstaande icoon </a:t>
            </a:r>
            <a:br>
              <a:rPr lang="nl-NL" noProof="0" dirty="0"/>
            </a:br>
            <a:r>
              <a:rPr lang="nl-NL" noProof="0" dirty="0"/>
              <a:t>om een video in te voegen.</a:t>
            </a:r>
            <a:br>
              <a:rPr lang="nl-NL" noProof="0" dirty="0"/>
            </a:br>
            <a:br>
              <a:rPr lang="nl-NL" noProof="0" dirty="0"/>
            </a:br>
            <a:r>
              <a:rPr lang="nl-NL" noProof="0" dirty="0"/>
              <a:t>Meer hulp nodig? </a:t>
            </a:r>
            <a:br>
              <a:rPr lang="nl-NL" noProof="0" dirty="0"/>
            </a:br>
            <a:r>
              <a:rPr lang="nl-NL" noProof="0" dirty="0"/>
              <a:t>Aan de zijkanten van de slides zijn instructies </a:t>
            </a:r>
            <a:br>
              <a:rPr lang="nl-NL" noProof="0" dirty="0"/>
            </a:br>
            <a:r>
              <a:rPr lang="nl-NL" noProof="0" dirty="0"/>
              <a:t>geplaatst voor verdere informatie.</a:t>
            </a:r>
          </a:p>
        </p:txBody>
      </p:sp>
      <p:sp>
        <p:nvSpPr>
          <p:cNvPr id="5" name="Tijdelijke aanduiding voor tekst 25">
            <a:extLst>
              <a:ext uri="{FF2B5EF4-FFF2-40B4-BE49-F238E27FC236}">
                <a16:creationId xmlns:a16="http://schemas.microsoft.com/office/drawing/2014/main" id="{C2EA2CF1-5214-4B87-9E03-F6798A284923}"/>
              </a:ext>
            </a:extLst>
          </p:cNvPr>
          <p:cNvSpPr>
            <a:spLocks noGrp="1"/>
          </p:cNvSpPr>
          <p:nvPr>
            <p:ph type="body" sz="quarter" idx="15" hasCustomPrompt="1"/>
          </p:nvPr>
        </p:nvSpPr>
        <p:spPr>
          <a:xfrm>
            <a:off x="587030" y="1056880"/>
            <a:ext cx="68400" cy="201600"/>
          </a:xfrm>
          <a:blipFill>
            <a:blip r:embed="rId2" cstate="hqprint">
              <a:extLst>
                <a:ext uri="{28A0092B-C50C-407E-A947-70E740481C1C}">
                  <a14:useLocalDpi xmlns:a14="http://schemas.microsoft.com/office/drawing/2010/main"/>
                </a:ext>
              </a:extLst>
            </a:blip>
            <a:stretch>
              <a:fillRect/>
            </a:stretch>
          </a:blipFill>
          <a:ln w="12700">
            <a:noFill/>
          </a:ln>
        </p:spPr>
        <p:txBody>
          <a:bodyPr/>
          <a:lstStyle>
            <a:lvl1pPr marL="0" indent="0">
              <a:buFont typeface="Arial" panose="020B0604020202020204" pitchFamily="34" charset="0"/>
              <a:buNone/>
              <a:defRPr/>
            </a:lvl1pPr>
          </a:lstStyle>
          <a:p>
            <a:pPr lvl="0"/>
            <a:r>
              <a:rPr lang="nl-NL" dirty="0"/>
              <a:t> </a:t>
            </a:r>
          </a:p>
        </p:txBody>
      </p:sp>
      <p:sp>
        <p:nvSpPr>
          <p:cNvPr id="6" name="Tijdelijke aanduiding voor tekst 25">
            <a:extLst>
              <a:ext uri="{FF2B5EF4-FFF2-40B4-BE49-F238E27FC236}">
                <a16:creationId xmlns:a16="http://schemas.microsoft.com/office/drawing/2014/main" id="{C1402A1E-D70F-415E-94ED-F0D87E95FF1C}"/>
              </a:ext>
            </a:extLst>
          </p:cNvPr>
          <p:cNvSpPr>
            <a:spLocks noGrp="1"/>
          </p:cNvSpPr>
          <p:nvPr>
            <p:ph type="body" sz="quarter" idx="16" hasCustomPrompt="1"/>
          </p:nvPr>
        </p:nvSpPr>
        <p:spPr>
          <a:xfrm flipH="1">
            <a:off x="600488" y="1311357"/>
            <a:ext cx="7200" cy="4968000"/>
          </a:xfrm>
          <a:prstGeom prst="roundRect">
            <a:avLst>
              <a:gd name="adj" fmla="val 50000"/>
            </a:avLst>
          </a:prstGeom>
          <a:solidFill>
            <a:schemeClr val="bg1"/>
          </a:solidFill>
          <a:ln w="12700">
            <a:noFill/>
          </a:ln>
        </p:spPr>
        <p:txBody>
          <a:bodyPr/>
          <a:lstStyle>
            <a:lvl1pPr marL="0" indent="0">
              <a:buFont typeface="Arial" panose="020B0604020202020204" pitchFamily="34" charset="0"/>
              <a:buNone/>
              <a:defRPr/>
            </a:lvl1pPr>
          </a:lstStyle>
          <a:p>
            <a:pPr lvl="0"/>
            <a:r>
              <a:rPr lang="nl-NL" dirty="0"/>
              <a:t> </a:t>
            </a:r>
          </a:p>
        </p:txBody>
      </p:sp>
      <p:sp>
        <p:nvSpPr>
          <p:cNvPr id="7" name="Tijdelijke aanduiding voor tekst 107">
            <a:extLst>
              <a:ext uri="{FF2B5EF4-FFF2-40B4-BE49-F238E27FC236}">
                <a16:creationId xmlns:a16="http://schemas.microsoft.com/office/drawing/2014/main" id="{39DA8B4A-B820-4CE6-9694-1F505468A2D1}"/>
              </a:ext>
            </a:extLst>
          </p:cNvPr>
          <p:cNvSpPr>
            <a:spLocks noGrp="1"/>
          </p:cNvSpPr>
          <p:nvPr>
            <p:ph type="body" sz="quarter" idx="17" hasCustomPrompt="1"/>
          </p:nvPr>
        </p:nvSpPr>
        <p:spPr>
          <a:xfrm>
            <a:off x="0" y="6278876"/>
            <a:ext cx="633831" cy="147829"/>
          </a:xfrm>
          <a:custGeom>
            <a:avLst/>
            <a:gdLst>
              <a:gd name="connsiteX0" fmla="*/ 304800 w 2446969"/>
              <a:gd name="connsiteY0" fmla="*/ 9936 h 201600"/>
              <a:gd name="connsiteX1" fmla="*/ 326230 w 2446969"/>
              <a:gd name="connsiteY1" fmla="*/ 9936 h 201600"/>
              <a:gd name="connsiteX2" fmla="*/ 565841 w 2446969"/>
              <a:gd name="connsiteY2" fmla="*/ 9936 h 201600"/>
              <a:gd name="connsiteX3" fmla="*/ 624601 w 2446969"/>
              <a:gd name="connsiteY3" fmla="*/ 9936 h 201600"/>
              <a:gd name="connsiteX4" fmla="*/ 649894 w 2446969"/>
              <a:gd name="connsiteY4" fmla="*/ 9936 h 201600"/>
              <a:gd name="connsiteX5" fmla="*/ 720674 w 2446969"/>
              <a:gd name="connsiteY5" fmla="*/ 9936 h 201600"/>
              <a:gd name="connsiteX6" fmla="*/ 815203 w 2446969"/>
              <a:gd name="connsiteY6" fmla="*/ 9936 h 201600"/>
              <a:gd name="connsiteX7" fmla="*/ 909624 w 2446969"/>
              <a:gd name="connsiteY7" fmla="*/ 9936 h 201600"/>
              <a:gd name="connsiteX8" fmla="*/ 938629 w 2446969"/>
              <a:gd name="connsiteY8" fmla="*/ 83825 h 201600"/>
              <a:gd name="connsiteX9" fmla="*/ 908257 w 2446969"/>
              <a:gd name="connsiteY9" fmla="*/ 157135 h 201600"/>
              <a:gd name="connsiteX10" fmla="*/ 720674 w 2446969"/>
              <a:gd name="connsiteY10" fmla="*/ 157552 h 201600"/>
              <a:gd name="connsiteX11" fmla="*/ 720674 w 2446969"/>
              <a:gd name="connsiteY11" fmla="*/ 157765 h 201600"/>
              <a:gd name="connsiteX12" fmla="*/ 649894 w 2446969"/>
              <a:gd name="connsiteY12" fmla="*/ 157765 h 201600"/>
              <a:gd name="connsiteX13" fmla="*/ 624601 w 2446969"/>
              <a:gd name="connsiteY13" fmla="*/ 157765 h 201600"/>
              <a:gd name="connsiteX14" fmla="*/ 565841 w 2446969"/>
              <a:gd name="connsiteY14" fmla="*/ 157765 h 201600"/>
              <a:gd name="connsiteX15" fmla="*/ 326230 w 2446969"/>
              <a:gd name="connsiteY15" fmla="*/ 157765 h 201600"/>
              <a:gd name="connsiteX16" fmla="*/ 304800 w 2446969"/>
              <a:gd name="connsiteY16" fmla="*/ 157765 h 201600"/>
              <a:gd name="connsiteX17" fmla="*/ 1564320 w 2446969"/>
              <a:gd name="connsiteY17" fmla="*/ 0 h 201600"/>
              <a:gd name="connsiteX18" fmla="*/ 2446969 w 2446969"/>
              <a:gd name="connsiteY18" fmla="*/ 0 h 201600"/>
              <a:gd name="connsiteX19" fmla="*/ 2446969 w 2446969"/>
              <a:gd name="connsiteY19" fmla="*/ 201600 h 201600"/>
              <a:gd name="connsiteX20" fmla="*/ 1537211 w 2446969"/>
              <a:gd name="connsiteY20" fmla="*/ 201600 h 201600"/>
              <a:gd name="connsiteX21" fmla="*/ 1569747 w 2446969"/>
              <a:gd name="connsiteY21" fmla="*/ 138393 h 201600"/>
              <a:gd name="connsiteX22" fmla="*/ 1587361 w 2446969"/>
              <a:gd name="connsiteY22" fmla="*/ 74888 h 201600"/>
              <a:gd name="connsiteX23" fmla="*/ 1565466 w 2446969"/>
              <a:gd name="connsiteY23" fmla="*/ 2477 h 201600"/>
              <a:gd name="connsiteX24" fmla="*/ 0 w 2446969"/>
              <a:gd name="connsiteY24" fmla="*/ 0 h 201600"/>
              <a:gd name="connsiteX25" fmla="*/ 289896 w 2446969"/>
              <a:gd name="connsiteY25" fmla="*/ 0 h 201600"/>
              <a:gd name="connsiteX26" fmla="*/ 289896 w 2446969"/>
              <a:gd name="connsiteY26" fmla="*/ 201600 h 201600"/>
              <a:gd name="connsiteX27" fmla="*/ 0 w 2446969"/>
              <a:gd name="connsiteY27" fmla="*/ 201600 h 201600"/>
              <a:gd name="connsiteX0" fmla="*/ 304800 w 2446969"/>
              <a:gd name="connsiteY0" fmla="*/ 9936 h 201600"/>
              <a:gd name="connsiteX1" fmla="*/ 326230 w 2446969"/>
              <a:gd name="connsiteY1" fmla="*/ 9936 h 201600"/>
              <a:gd name="connsiteX2" fmla="*/ 565841 w 2446969"/>
              <a:gd name="connsiteY2" fmla="*/ 9936 h 201600"/>
              <a:gd name="connsiteX3" fmla="*/ 624601 w 2446969"/>
              <a:gd name="connsiteY3" fmla="*/ 9936 h 201600"/>
              <a:gd name="connsiteX4" fmla="*/ 649894 w 2446969"/>
              <a:gd name="connsiteY4" fmla="*/ 9936 h 201600"/>
              <a:gd name="connsiteX5" fmla="*/ 720674 w 2446969"/>
              <a:gd name="connsiteY5" fmla="*/ 9936 h 201600"/>
              <a:gd name="connsiteX6" fmla="*/ 815203 w 2446969"/>
              <a:gd name="connsiteY6" fmla="*/ 9936 h 201600"/>
              <a:gd name="connsiteX7" fmla="*/ 909624 w 2446969"/>
              <a:gd name="connsiteY7" fmla="*/ 9936 h 201600"/>
              <a:gd name="connsiteX8" fmla="*/ 938629 w 2446969"/>
              <a:gd name="connsiteY8" fmla="*/ 83825 h 201600"/>
              <a:gd name="connsiteX9" fmla="*/ 908257 w 2446969"/>
              <a:gd name="connsiteY9" fmla="*/ 157135 h 201600"/>
              <a:gd name="connsiteX10" fmla="*/ 720674 w 2446969"/>
              <a:gd name="connsiteY10" fmla="*/ 157552 h 201600"/>
              <a:gd name="connsiteX11" fmla="*/ 720674 w 2446969"/>
              <a:gd name="connsiteY11" fmla="*/ 157765 h 201600"/>
              <a:gd name="connsiteX12" fmla="*/ 649894 w 2446969"/>
              <a:gd name="connsiteY12" fmla="*/ 157765 h 201600"/>
              <a:gd name="connsiteX13" fmla="*/ 624601 w 2446969"/>
              <a:gd name="connsiteY13" fmla="*/ 157765 h 201600"/>
              <a:gd name="connsiteX14" fmla="*/ 565841 w 2446969"/>
              <a:gd name="connsiteY14" fmla="*/ 157765 h 201600"/>
              <a:gd name="connsiteX15" fmla="*/ 326230 w 2446969"/>
              <a:gd name="connsiteY15" fmla="*/ 157765 h 201600"/>
              <a:gd name="connsiteX16" fmla="*/ 304800 w 2446969"/>
              <a:gd name="connsiteY16" fmla="*/ 157765 h 201600"/>
              <a:gd name="connsiteX17" fmla="*/ 304800 w 2446969"/>
              <a:gd name="connsiteY17" fmla="*/ 9936 h 201600"/>
              <a:gd name="connsiteX18" fmla="*/ 1564320 w 2446969"/>
              <a:gd name="connsiteY18" fmla="*/ 0 h 201600"/>
              <a:gd name="connsiteX19" fmla="*/ 2446969 w 2446969"/>
              <a:gd name="connsiteY19" fmla="*/ 0 h 201600"/>
              <a:gd name="connsiteX20" fmla="*/ 2446969 w 2446969"/>
              <a:gd name="connsiteY20" fmla="*/ 201600 h 201600"/>
              <a:gd name="connsiteX21" fmla="*/ 1537211 w 2446969"/>
              <a:gd name="connsiteY21" fmla="*/ 201600 h 201600"/>
              <a:gd name="connsiteX22" fmla="*/ 1569747 w 2446969"/>
              <a:gd name="connsiteY22" fmla="*/ 138393 h 201600"/>
              <a:gd name="connsiteX23" fmla="*/ 1587361 w 2446969"/>
              <a:gd name="connsiteY23" fmla="*/ 74888 h 201600"/>
              <a:gd name="connsiteX24" fmla="*/ 1565466 w 2446969"/>
              <a:gd name="connsiteY24" fmla="*/ 2477 h 201600"/>
              <a:gd name="connsiteX25" fmla="*/ 1564320 w 2446969"/>
              <a:gd name="connsiteY25" fmla="*/ 0 h 201600"/>
              <a:gd name="connsiteX26" fmla="*/ 0 w 2446969"/>
              <a:gd name="connsiteY26" fmla="*/ 0 h 201600"/>
              <a:gd name="connsiteX27" fmla="*/ 289896 w 2446969"/>
              <a:gd name="connsiteY27" fmla="*/ 0 h 201600"/>
              <a:gd name="connsiteX28" fmla="*/ 0 w 2446969"/>
              <a:gd name="connsiteY28" fmla="*/ 201600 h 201600"/>
              <a:gd name="connsiteX29" fmla="*/ 0 w 2446969"/>
              <a:gd name="connsiteY29" fmla="*/ 0 h 201600"/>
              <a:gd name="connsiteX0" fmla="*/ 304800 w 2446969"/>
              <a:gd name="connsiteY0" fmla="*/ 9936 h 201600"/>
              <a:gd name="connsiteX1" fmla="*/ 326230 w 2446969"/>
              <a:gd name="connsiteY1" fmla="*/ 9936 h 201600"/>
              <a:gd name="connsiteX2" fmla="*/ 565841 w 2446969"/>
              <a:gd name="connsiteY2" fmla="*/ 9936 h 201600"/>
              <a:gd name="connsiteX3" fmla="*/ 624601 w 2446969"/>
              <a:gd name="connsiteY3" fmla="*/ 9936 h 201600"/>
              <a:gd name="connsiteX4" fmla="*/ 649894 w 2446969"/>
              <a:gd name="connsiteY4" fmla="*/ 9936 h 201600"/>
              <a:gd name="connsiteX5" fmla="*/ 720674 w 2446969"/>
              <a:gd name="connsiteY5" fmla="*/ 9936 h 201600"/>
              <a:gd name="connsiteX6" fmla="*/ 815203 w 2446969"/>
              <a:gd name="connsiteY6" fmla="*/ 9936 h 201600"/>
              <a:gd name="connsiteX7" fmla="*/ 909624 w 2446969"/>
              <a:gd name="connsiteY7" fmla="*/ 9936 h 201600"/>
              <a:gd name="connsiteX8" fmla="*/ 938629 w 2446969"/>
              <a:gd name="connsiteY8" fmla="*/ 83825 h 201600"/>
              <a:gd name="connsiteX9" fmla="*/ 908257 w 2446969"/>
              <a:gd name="connsiteY9" fmla="*/ 157135 h 201600"/>
              <a:gd name="connsiteX10" fmla="*/ 720674 w 2446969"/>
              <a:gd name="connsiteY10" fmla="*/ 157552 h 201600"/>
              <a:gd name="connsiteX11" fmla="*/ 720674 w 2446969"/>
              <a:gd name="connsiteY11" fmla="*/ 157765 h 201600"/>
              <a:gd name="connsiteX12" fmla="*/ 649894 w 2446969"/>
              <a:gd name="connsiteY12" fmla="*/ 157765 h 201600"/>
              <a:gd name="connsiteX13" fmla="*/ 624601 w 2446969"/>
              <a:gd name="connsiteY13" fmla="*/ 157765 h 201600"/>
              <a:gd name="connsiteX14" fmla="*/ 565841 w 2446969"/>
              <a:gd name="connsiteY14" fmla="*/ 157765 h 201600"/>
              <a:gd name="connsiteX15" fmla="*/ 326230 w 2446969"/>
              <a:gd name="connsiteY15" fmla="*/ 157765 h 201600"/>
              <a:gd name="connsiteX16" fmla="*/ 304800 w 2446969"/>
              <a:gd name="connsiteY16" fmla="*/ 157765 h 201600"/>
              <a:gd name="connsiteX17" fmla="*/ 304800 w 2446969"/>
              <a:gd name="connsiteY17" fmla="*/ 9936 h 201600"/>
              <a:gd name="connsiteX18" fmla="*/ 1564320 w 2446969"/>
              <a:gd name="connsiteY18" fmla="*/ 0 h 201600"/>
              <a:gd name="connsiteX19" fmla="*/ 2446969 w 2446969"/>
              <a:gd name="connsiteY19" fmla="*/ 0 h 201600"/>
              <a:gd name="connsiteX20" fmla="*/ 2446969 w 2446969"/>
              <a:gd name="connsiteY20" fmla="*/ 201600 h 201600"/>
              <a:gd name="connsiteX21" fmla="*/ 1537211 w 2446969"/>
              <a:gd name="connsiteY21" fmla="*/ 201600 h 201600"/>
              <a:gd name="connsiteX22" fmla="*/ 1569747 w 2446969"/>
              <a:gd name="connsiteY22" fmla="*/ 138393 h 201600"/>
              <a:gd name="connsiteX23" fmla="*/ 1587361 w 2446969"/>
              <a:gd name="connsiteY23" fmla="*/ 74888 h 201600"/>
              <a:gd name="connsiteX24" fmla="*/ 1565466 w 2446969"/>
              <a:gd name="connsiteY24" fmla="*/ 2477 h 201600"/>
              <a:gd name="connsiteX25" fmla="*/ 1564320 w 2446969"/>
              <a:gd name="connsiteY25" fmla="*/ 0 h 201600"/>
              <a:gd name="connsiteX26" fmla="*/ 0 w 2446969"/>
              <a:gd name="connsiteY26" fmla="*/ 0 h 201600"/>
              <a:gd name="connsiteX27" fmla="*/ 289896 w 2446969"/>
              <a:gd name="connsiteY27" fmla="*/ 0 h 201600"/>
              <a:gd name="connsiteX28" fmla="*/ 0 w 2446969"/>
              <a:gd name="connsiteY28" fmla="*/ 0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59520 w 2142169"/>
              <a:gd name="connsiteY18" fmla="*/ 0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4947 w 2142169"/>
              <a:gd name="connsiteY22" fmla="*/ 138393 h 201600"/>
              <a:gd name="connsiteX23" fmla="*/ 1282561 w 2142169"/>
              <a:gd name="connsiteY23" fmla="*/ 74888 h 201600"/>
              <a:gd name="connsiteX24" fmla="*/ 1260666 w 2142169"/>
              <a:gd name="connsiteY24" fmla="*/ 2477 h 201600"/>
              <a:gd name="connsiteX25" fmla="*/ 1259520 w 2142169"/>
              <a:gd name="connsiteY25" fmla="*/ 0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4947 w 2142169"/>
              <a:gd name="connsiteY22" fmla="*/ 138393 h 201600"/>
              <a:gd name="connsiteX23" fmla="*/ 1282561 w 2142169"/>
              <a:gd name="connsiteY23" fmla="*/ 74888 h 201600"/>
              <a:gd name="connsiteX24" fmla="*/ 1260666 w 2142169"/>
              <a:gd name="connsiteY24" fmla="*/ 2477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4947 w 2142169"/>
              <a:gd name="connsiteY22" fmla="*/ 138393 h 201600"/>
              <a:gd name="connsiteX23" fmla="*/ 1260666 w 2142169"/>
              <a:gd name="connsiteY23" fmla="*/ 2477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0666 w 2142169"/>
              <a:gd name="connsiteY22" fmla="*/ 2477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60666 w 2142169"/>
              <a:gd name="connsiteY21" fmla="*/ 2477 h 201600"/>
              <a:gd name="connsiteX0" fmla="*/ 0 w 2142169"/>
              <a:gd name="connsiteY0" fmla="*/ 9936 h 157765"/>
              <a:gd name="connsiteX1" fmla="*/ 21430 w 2142169"/>
              <a:gd name="connsiteY1" fmla="*/ 9936 h 157765"/>
              <a:gd name="connsiteX2" fmla="*/ 261041 w 2142169"/>
              <a:gd name="connsiteY2" fmla="*/ 9936 h 157765"/>
              <a:gd name="connsiteX3" fmla="*/ 319801 w 2142169"/>
              <a:gd name="connsiteY3" fmla="*/ 9936 h 157765"/>
              <a:gd name="connsiteX4" fmla="*/ 345094 w 2142169"/>
              <a:gd name="connsiteY4" fmla="*/ 9936 h 157765"/>
              <a:gd name="connsiteX5" fmla="*/ 415874 w 2142169"/>
              <a:gd name="connsiteY5" fmla="*/ 9936 h 157765"/>
              <a:gd name="connsiteX6" fmla="*/ 510403 w 2142169"/>
              <a:gd name="connsiteY6" fmla="*/ 9936 h 157765"/>
              <a:gd name="connsiteX7" fmla="*/ 604824 w 2142169"/>
              <a:gd name="connsiteY7" fmla="*/ 9936 h 157765"/>
              <a:gd name="connsiteX8" fmla="*/ 633829 w 2142169"/>
              <a:gd name="connsiteY8" fmla="*/ 83825 h 157765"/>
              <a:gd name="connsiteX9" fmla="*/ 603457 w 2142169"/>
              <a:gd name="connsiteY9" fmla="*/ 157135 h 157765"/>
              <a:gd name="connsiteX10" fmla="*/ 415874 w 2142169"/>
              <a:gd name="connsiteY10" fmla="*/ 157552 h 157765"/>
              <a:gd name="connsiteX11" fmla="*/ 415874 w 2142169"/>
              <a:gd name="connsiteY11" fmla="*/ 157765 h 157765"/>
              <a:gd name="connsiteX12" fmla="*/ 345094 w 2142169"/>
              <a:gd name="connsiteY12" fmla="*/ 157765 h 157765"/>
              <a:gd name="connsiteX13" fmla="*/ 319801 w 2142169"/>
              <a:gd name="connsiteY13" fmla="*/ 157765 h 157765"/>
              <a:gd name="connsiteX14" fmla="*/ 261041 w 2142169"/>
              <a:gd name="connsiteY14" fmla="*/ 157765 h 157765"/>
              <a:gd name="connsiteX15" fmla="*/ 21430 w 2142169"/>
              <a:gd name="connsiteY15" fmla="*/ 157765 h 157765"/>
              <a:gd name="connsiteX16" fmla="*/ 0 w 2142169"/>
              <a:gd name="connsiteY16" fmla="*/ 157765 h 157765"/>
              <a:gd name="connsiteX17" fmla="*/ 0 w 2142169"/>
              <a:gd name="connsiteY17" fmla="*/ 9936 h 157765"/>
              <a:gd name="connsiteX18" fmla="*/ 1260666 w 2142169"/>
              <a:gd name="connsiteY18" fmla="*/ 2477 h 157765"/>
              <a:gd name="connsiteX19" fmla="*/ 2142169 w 2142169"/>
              <a:gd name="connsiteY19" fmla="*/ 0 h 157765"/>
              <a:gd name="connsiteX20" fmla="*/ 1260666 w 2142169"/>
              <a:gd name="connsiteY20" fmla="*/ 2477 h 157765"/>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415874 w 633831"/>
              <a:gd name="connsiteY11" fmla="*/ 147829 h 147829"/>
              <a:gd name="connsiteX12" fmla="*/ 345094 w 633831"/>
              <a:gd name="connsiteY12" fmla="*/ 147829 h 147829"/>
              <a:gd name="connsiteX13" fmla="*/ 319801 w 633831"/>
              <a:gd name="connsiteY13" fmla="*/ 147829 h 147829"/>
              <a:gd name="connsiteX14" fmla="*/ 261041 w 633831"/>
              <a:gd name="connsiteY14" fmla="*/ 147829 h 147829"/>
              <a:gd name="connsiteX15" fmla="*/ 21430 w 633831"/>
              <a:gd name="connsiteY15" fmla="*/ 147829 h 147829"/>
              <a:gd name="connsiteX16" fmla="*/ 0 w 633831"/>
              <a:gd name="connsiteY16" fmla="*/ 147829 h 147829"/>
              <a:gd name="connsiteX17" fmla="*/ 0 w 633831"/>
              <a:gd name="connsiteY17"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345094 w 633831"/>
              <a:gd name="connsiteY11" fmla="*/ 147829 h 147829"/>
              <a:gd name="connsiteX12" fmla="*/ 319801 w 633831"/>
              <a:gd name="connsiteY12" fmla="*/ 147829 h 147829"/>
              <a:gd name="connsiteX13" fmla="*/ 261041 w 633831"/>
              <a:gd name="connsiteY13" fmla="*/ 147829 h 147829"/>
              <a:gd name="connsiteX14" fmla="*/ 21430 w 633831"/>
              <a:gd name="connsiteY14" fmla="*/ 147829 h 147829"/>
              <a:gd name="connsiteX15" fmla="*/ 0 w 633831"/>
              <a:gd name="connsiteY15" fmla="*/ 147829 h 147829"/>
              <a:gd name="connsiteX16" fmla="*/ 0 w 633831"/>
              <a:gd name="connsiteY16"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345094 w 633831"/>
              <a:gd name="connsiteY10" fmla="*/ 147829 h 147829"/>
              <a:gd name="connsiteX11" fmla="*/ 319801 w 633831"/>
              <a:gd name="connsiteY11" fmla="*/ 147829 h 147829"/>
              <a:gd name="connsiteX12" fmla="*/ 261041 w 633831"/>
              <a:gd name="connsiteY12" fmla="*/ 147829 h 147829"/>
              <a:gd name="connsiteX13" fmla="*/ 21430 w 633831"/>
              <a:gd name="connsiteY13" fmla="*/ 147829 h 147829"/>
              <a:gd name="connsiteX14" fmla="*/ 0 w 633831"/>
              <a:gd name="connsiteY14" fmla="*/ 147829 h 147829"/>
              <a:gd name="connsiteX15" fmla="*/ 0 w 633831"/>
              <a:gd name="connsiteY15"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319801 w 633831"/>
              <a:gd name="connsiteY10" fmla="*/ 147829 h 147829"/>
              <a:gd name="connsiteX11" fmla="*/ 261041 w 633831"/>
              <a:gd name="connsiteY11" fmla="*/ 147829 h 147829"/>
              <a:gd name="connsiteX12" fmla="*/ 21430 w 633831"/>
              <a:gd name="connsiteY12" fmla="*/ 147829 h 147829"/>
              <a:gd name="connsiteX13" fmla="*/ 0 w 633831"/>
              <a:gd name="connsiteY13" fmla="*/ 147829 h 147829"/>
              <a:gd name="connsiteX14" fmla="*/ 0 w 633831"/>
              <a:gd name="connsiteY14"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261041 w 633831"/>
              <a:gd name="connsiteY10" fmla="*/ 147829 h 147829"/>
              <a:gd name="connsiteX11" fmla="*/ 21430 w 633831"/>
              <a:gd name="connsiteY11" fmla="*/ 147829 h 147829"/>
              <a:gd name="connsiteX12" fmla="*/ 0 w 633831"/>
              <a:gd name="connsiteY12" fmla="*/ 147829 h 147829"/>
              <a:gd name="connsiteX13" fmla="*/ 0 w 633831"/>
              <a:gd name="connsiteY13"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21430 w 633831"/>
              <a:gd name="connsiteY10" fmla="*/ 147829 h 147829"/>
              <a:gd name="connsiteX11" fmla="*/ 0 w 633831"/>
              <a:gd name="connsiteY11" fmla="*/ 147829 h 147829"/>
              <a:gd name="connsiteX12" fmla="*/ 0 w 633831"/>
              <a:gd name="connsiteY12"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0 w 633831"/>
              <a:gd name="connsiteY10" fmla="*/ 147829 h 147829"/>
              <a:gd name="connsiteX11" fmla="*/ 0 w 633831"/>
              <a:gd name="connsiteY11"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0 w 633831"/>
              <a:gd name="connsiteY10" fmla="*/ 147829 h 147829"/>
              <a:gd name="connsiteX11" fmla="*/ 0 w 633831"/>
              <a:gd name="connsiteY11"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415874 w 633831"/>
              <a:gd name="connsiteY4" fmla="*/ 0 h 147829"/>
              <a:gd name="connsiteX5" fmla="*/ 510403 w 633831"/>
              <a:gd name="connsiteY5" fmla="*/ 0 h 147829"/>
              <a:gd name="connsiteX6" fmla="*/ 604824 w 633831"/>
              <a:gd name="connsiteY6" fmla="*/ 0 h 147829"/>
              <a:gd name="connsiteX7" fmla="*/ 633829 w 633831"/>
              <a:gd name="connsiteY7" fmla="*/ 73889 h 147829"/>
              <a:gd name="connsiteX8" fmla="*/ 603457 w 633831"/>
              <a:gd name="connsiteY8" fmla="*/ 147199 h 147829"/>
              <a:gd name="connsiteX9" fmla="*/ 0 w 633831"/>
              <a:gd name="connsiteY9" fmla="*/ 147829 h 147829"/>
              <a:gd name="connsiteX10" fmla="*/ 0 w 633831"/>
              <a:gd name="connsiteY10" fmla="*/ 0 h 147829"/>
              <a:gd name="connsiteX0" fmla="*/ 0 w 633831"/>
              <a:gd name="connsiteY0" fmla="*/ 0 h 147829"/>
              <a:gd name="connsiteX1" fmla="*/ 21430 w 633831"/>
              <a:gd name="connsiteY1" fmla="*/ 0 h 147829"/>
              <a:gd name="connsiteX2" fmla="*/ 261041 w 633831"/>
              <a:gd name="connsiteY2" fmla="*/ 0 h 147829"/>
              <a:gd name="connsiteX3" fmla="*/ 415874 w 633831"/>
              <a:gd name="connsiteY3" fmla="*/ 0 h 147829"/>
              <a:gd name="connsiteX4" fmla="*/ 510403 w 633831"/>
              <a:gd name="connsiteY4" fmla="*/ 0 h 147829"/>
              <a:gd name="connsiteX5" fmla="*/ 604824 w 633831"/>
              <a:gd name="connsiteY5" fmla="*/ 0 h 147829"/>
              <a:gd name="connsiteX6" fmla="*/ 633829 w 633831"/>
              <a:gd name="connsiteY6" fmla="*/ 73889 h 147829"/>
              <a:gd name="connsiteX7" fmla="*/ 603457 w 633831"/>
              <a:gd name="connsiteY7" fmla="*/ 147199 h 147829"/>
              <a:gd name="connsiteX8" fmla="*/ 0 w 633831"/>
              <a:gd name="connsiteY8" fmla="*/ 147829 h 147829"/>
              <a:gd name="connsiteX9" fmla="*/ 0 w 633831"/>
              <a:gd name="connsiteY9" fmla="*/ 0 h 147829"/>
              <a:gd name="connsiteX0" fmla="*/ 0 w 633831"/>
              <a:gd name="connsiteY0" fmla="*/ 0 h 147829"/>
              <a:gd name="connsiteX1" fmla="*/ 21430 w 633831"/>
              <a:gd name="connsiteY1" fmla="*/ 0 h 147829"/>
              <a:gd name="connsiteX2" fmla="*/ 415874 w 633831"/>
              <a:gd name="connsiteY2" fmla="*/ 0 h 147829"/>
              <a:gd name="connsiteX3" fmla="*/ 510403 w 633831"/>
              <a:gd name="connsiteY3" fmla="*/ 0 h 147829"/>
              <a:gd name="connsiteX4" fmla="*/ 604824 w 633831"/>
              <a:gd name="connsiteY4" fmla="*/ 0 h 147829"/>
              <a:gd name="connsiteX5" fmla="*/ 633829 w 633831"/>
              <a:gd name="connsiteY5" fmla="*/ 73889 h 147829"/>
              <a:gd name="connsiteX6" fmla="*/ 603457 w 633831"/>
              <a:gd name="connsiteY6" fmla="*/ 147199 h 147829"/>
              <a:gd name="connsiteX7" fmla="*/ 0 w 633831"/>
              <a:gd name="connsiteY7" fmla="*/ 147829 h 147829"/>
              <a:gd name="connsiteX8" fmla="*/ 0 w 633831"/>
              <a:gd name="connsiteY8" fmla="*/ 0 h 147829"/>
              <a:gd name="connsiteX0" fmla="*/ 0 w 633831"/>
              <a:gd name="connsiteY0" fmla="*/ 0 h 147829"/>
              <a:gd name="connsiteX1" fmla="*/ 415874 w 633831"/>
              <a:gd name="connsiteY1" fmla="*/ 0 h 147829"/>
              <a:gd name="connsiteX2" fmla="*/ 510403 w 633831"/>
              <a:gd name="connsiteY2" fmla="*/ 0 h 147829"/>
              <a:gd name="connsiteX3" fmla="*/ 604824 w 633831"/>
              <a:gd name="connsiteY3" fmla="*/ 0 h 147829"/>
              <a:gd name="connsiteX4" fmla="*/ 633829 w 633831"/>
              <a:gd name="connsiteY4" fmla="*/ 73889 h 147829"/>
              <a:gd name="connsiteX5" fmla="*/ 603457 w 633831"/>
              <a:gd name="connsiteY5" fmla="*/ 147199 h 147829"/>
              <a:gd name="connsiteX6" fmla="*/ 0 w 633831"/>
              <a:gd name="connsiteY6" fmla="*/ 147829 h 147829"/>
              <a:gd name="connsiteX7" fmla="*/ 0 w 633831"/>
              <a:gd name="connsiteY7" fmla="*/ 0 h 147829"/>
              <a:gd name="connsiteX0" fmla="*/ 0 w 633831"/>
              <a:gd name="connsiteY0" fmla="*/ 0 h 147829"/>
              <a:gd name="connsiteX1" fmla="*/ 510403 w 633831"/>
              <a:gd name="connsiteY1" fmla="*/ 0 h 147829"/>
              <a:gd name="connsiteX2" fmla="*/ 604824 w 633831"/>
              <a:gd name="connsiteY2" fmla="*/ 0 h 147829"/>
              <a:gd name="connsiteX3" fmla="*/ 633829 w 633831"/>
              <a:gd name="connsiteY3" fmla="*/ 73889 h 147829"/>
              <a:gd name="connsiteX4" fmla="*/ 603457 w 633831"/>
              <a:gd name="connsiteY4" fmla="*/ 147199 h 147829"/>
              <a:gd name="connsiteX5" fmla="*/ 0 w 633831"/>
              <a:gd name="connsiteY5" fmla="*/ 147829 h 147829"/>
              <a:gd name="connsiteX6" fmla="*/ 0 w 633831"/>
              <a:gd name="connsiteY6" fmla="*/ 0 h 147829"/>
              <a:gd name="connsiteX0" fmla="*/ 0 w 633831"/>
              <a:gd name="connsiteY0" fmla="*/ 0 h 147829"/>
              <a:gd name="connsiteX1" fmla="*/ 604824 w 633831"/>
              <a:gd name="connsiteY1" fmla="*/ 0 h 147829"/>
              <a:gd name="connsiteX2" fmla="*/ 633829 w 633831"/>
              <a:gd name="connsiteY2" fmla="*/ 73889 h 147829"/>
              <a:gd name="connsiteX3" fmla="*/ 603457 w 633831"/>
              <a:gd name="connsiteY3" fmla="*/ 147199 h 147829"/>
              <a:gd name="connsiteX4" fmla="*/ 0 w 633831"/>
              <a:gd name="connsiteY4" fmla="*/ 147829 h 147829"/>
              <a:gd name="connsiteX5" fmla="*/ 0 w 633831"/>
              <a:gd name="connsiteY5" fmla="*/ 0 h 14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831" h="147829">
                <a:moveTo>
                  <a:pt x="0" y="0"/>
                </a:moveTo>
                <a:lnTo>
                  <a:pt x="604824" y="0"/>
                </a:lnTo>
                <a:cubicBezTo>
                  <a:pt x="614746" y="20344"/>
                  <a:pt x="634057" y="57734"/>
                  <a:pt x="633829" y="73889"/>
                </a:cubicBezTo>
                <a:cubicBezTo>
                  <a:pt x="633601" y="90044"/>
                  <a:pt x="621235" y="116025"/>
                  <a:pt x="603457" y="147199"/>
                </a:cubicBezTo>
                <a:lnTo>
                  <a:pt x="0" y="147829"/>
                </a:lnTo>
                <a:lnTo>
                  <a:pt x="0" y="0"/>
                </a:lnTo>
                <a:close/>
              </a:path>
            </a:pathLst>
          </a:custGeom>
          <a:solidFill>
            <a:schemeClr val="bg1"/>
          </a:solidFill>
          <a:ln w="12700">
            <a:noFill/>
          </a:ln>
        </p:spPr>
        <p:txBody>
          <a:bodyPr wrap="square">
            <a:noAutofit/>
          </a:bodyPr>
          <a:lstStyle>
            <a:lvl1pPr marL="0" indent="0">
              <a:buFont typeface="Arial" panose="020B0604020202020204" pitchFamily="34" charset="0"/>
              <a:buNone/>
              <a:defRPr/>
            </a:lvl1pPr>
          </a:lstStyle>
          <a:p>
            <a:pPr lvl="0"/>
            <a:r>
              <a:rPr lang="nl-NL" dirty="0"/>
              <a:t> </a:t>
            </a:r>
          </a:p>
        </p:txBody>
      </p:sp>
      <p:sp>
        <p:nvSpPr>
          <p:cNvPr id="8" name="Tekstvak 7">
            <a:extLst>
              <a:ext uri="{FF2B5EF4-FFF2-40B4-BE49-F238E27FC236}">
                <a16:creationId xmlns:a16="http://schemas.microsoft.com/office/drawing/2014/main" id="{2D1602FD-EB2C-4FFC-B86B-8DCDA20F7AD6}"/>
              </a:ext>
            </a:extLst>
          </p:cNvPr>
          <p:cNvSpPr txBox="1"/>
          <p:nvPr userDrawn="1"/>
        </p:nvSpPr>
        <p:spPr>
          <a:xfrm>
            <a:off x="0" y="-212702"/>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Video 100%</a:t>
            </a:r>
          </a:p>
        </p:txBody>
      </p:sp>
      <p:sp>
        <p:nvSpPr>
          <p:cNvPr id="2" name="Titel 1">
            <a:extLst>
              <a:ext uri="{FF2B5EF4-FFF2-40B4-BE49-F238E27FC236}">
                <a16:creationId xmlns:a16="http://schemas.microsoft.com/office/drawing/2014/main" id="{8D79857F-7775-4ABF-AEDE-8C872D55DF63}"/>
              </a:ext>
            </a:extLst>
          </p:cNvPr>
          <p:cNvSpPr>
            <a:spLocks noGrp="1"/>
          </p:cNvSpPr>
          <p:nvPr>
            <p:ph type="title" hasCustomPrompt="1"/>
          </p:nvPr>
        </p:nvSpPr>
        <p:spPr/>
        <p:txBody>
          <a:bodyPr/>
          <a:lstStyle/>
          <a:p>
            <a:r>
              <a:rPr lang="nl-NL" dirty="0"/>
              <a:t>Plaats hier je titel</a:t>
            </a:r>
          </a:p>
        </p:txBody>
      </p:sp>
    </p:spTree>
    <p:extLst>
      <p:ext uri="{BB962C8B-B14F-4D97-AF65-F5344CB8AC3E}">
        <p14:creationId xmlns:p14="http://schemas.microsoft.com/office/powerpoint/2010/main" val="291272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Alleen titel - ZONDER ANIMATIE">
    <p:spTree>
      <p:nvGrpSpPr>
        <p:cNvPr id="1" name=""/>
        <p:cNvGrpSpPr/>
        <p:nvPr/>
      </p:nvGrpSpPr>
      <p:grpSpPr>
        <a:xfrm>
          <a:off x="0" y="0"/>
          <a:ext cx="0" cy="0"/>
          <a:chOff x="0" y="0"/>
          <a:chExt cx="0" cy="0"/>
        </a:xfrm>
      </p:grpSpPr>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Only title #2</a:t>
            </a:r>
          </a:p>
        </p:txBody>
      </p:sp>
      <p:sp>
        <p:nvSpPr>
          <p:cNvPr id="8" name="Titel 1">
            <a:extLst>
              <a:ext uri="{FF2B5EF4-FFF2-40B4-BE49-F238E27FC236}">
                <a16:creationId xmlns:a16="http://schemas.microsoft.com/office/drawing/2014/main" id="{5CB021CE-6D65-4C81-B4E7-851501A88C77}"/>
              </a:ext>
            </a:extLst>
          </p:cNvPr>
          <p:cNvSpPr>
            <a:spLocks noGrp="1"/>
          </p:cNvSpPr>
          <p:nvPr>
            <p:ph type="title" hasCustomPrompt="1"/>
          </p:nvPr>
        </p:nvSpPr>
        <p:spPr>
          <a:xfrm>
            <a:off x="777244" y="968116"/>
            <a:ext cx="10828685" cy="350700"/>
          </a:xfrm>
        </p:spPr>
        <p:txBody>
          <a:bodyPr lIns="0" tIns="0" rIns="0" bIns="0"/>
          <a:lstStyle>
            <a:lvl1pPr>
              <a:defRPr>
                <a:solidFill>
                  <a:schemeClr val="tx2">
                    <a:lumMod val="60000"/>
                    <a:lumOff val="40000"/>
                  </a:schemeClr>
                </a:solidFill>
              </a:defRPr>
            </a:lvl1pPr>
          </a:lstStyle>
          <a:p>
            <a:r>
              <a:rPr lang="nl-NL" dirty="0"/>
              <a:t>Plaats hier je titel</a:t>
            </a:r>
          </a:p>
        </p:txBody>
      </p:sp>
    </p:spTree>
    <p:extLst>
      <p:ext uri="{BB962C8B-B14F-4D97-AF65-F5344CB8AC3E}">
        <p14:creationId xmlns:p14="http://schemas.microsoft.com/office/powerpoint/2010/main" val="248845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335" y="60559"/>
            <a:ext cx="3875043" cy="1408023"/>
          </a:xfrm>
          <a:prstGeom prst="rect">
            <a:avLst/>
          </a:prstGeom>
        </p:spPr>
      </p:pic>
      <p:sp>
        <p:nvSpPr>
          <p:cNvPr id="11" name="Foliennummernplatzhalter 5"/>
          <p:cNvSpPr txBox="1">
            <a:spLocks/>
          </p:cNvSpPr>
          <p:nvPr userDrawn="1"/>
        </p:nvSpPr>
        <p:spPr>
          <a:xfrm>
            <a:off x="10611703" y="6320504"/>
            <a:ext cx="1148925"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8E821C83-84D4-BF47-9BEB-DE7BBACF0AD8}" type="slidenum">
              <a:rPr lang="de-DE" sz="1067" smtClean="0"/>
              <a:pPr/>
              <a:t>‹#›</a:t>
            </a:fld>
            <a:endParaRPr lang="de-DE" sz="1067" dirty="0"/>
          </a:p>
        </p:txBody>
      </p:sp>
      <p:sp>
        <p:nvSpPr>
          <p:cNvPr id="8" name="Rechteck 7"/>
          <p:cNvSpPr/>
          <p:nvPr userDrawn="1"/>
        </p:nvSpPr>
        <p:spPr>
          <a:xfrm>
            <a:off x="0" y="2279154"/>
            <a:ext cx="12192000" cy="4578847"/>
          </a:xfrm>
          <a:prstGeom prst="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de-DE" sz="2400">
              <a:solidFill>
                <a:srgbClr val="0BA2E3"/>
              </a:solidFill>
            </a:endParaRPr>
          </a:p>
        </p:txBody>
      </p:sp>
      <p:sp>
        <p:nvSpPr>
          <p:cNvPr id="12" name="Titel 11"/>
          <p:cNvSpPr>
            <a:spLocks noGrp="1"/>
          </p:cNvSpPr>
          <p:nvPr>
            <p:ph type="title" hasCustomPrompt="1"/>
          </p:nvPr>
        </p:nvSpPr>
        <p:spPr>
          <a:xfrm>
            <a:off x="328940" y="2734733"/>
            <a:ext cx="7572464" cy="1281603"/>
          </a:xfrm>
          <a:prstGeom prst="rect">
            <a:avLst/>
          </a:prstGeom>
        </p:spPr>
        <p:txBody>
          <a:bodyPr bIns="0" anchor="b">
            <a:noAutofit/>
          </a:bodyPr>
          <a:lstStyle>
            <a:lvl1pPr algn="r">
              <a:lnSpc>
                <a:spcPct val="80000"/>
              </a:lnSpc>
              <a:spcAft>
                <a:spcPts val="0"/>
              </a:spcAft>
              <a:defRPr sz="4800" b="1" cap="all">
                <a:solidFill>
                  <a:schemeClr val="bg1"/>
                </a:solidFill>
              </a:defRPr>
            </a:lvl1pPr>
          </a:lstStyle>
          <a:p>
            <a:r>
              <a:rPr lang="de-DE" dirty="0"/>
              <a:t>TITEL DER PPP</a:t>
            </a:r>
          </a:p>
        </p:txBody>
      </p:sp>
      <p:sp>
        <p:nvSpPr>
          <p:cNvPr id="7" name="Textplatzhalter 6"/>
          <p:cNvSpPr>
            <a:spLocks noGrp="1"/>
          </p:cNvSpPr>
          <p:nvPr>
            <p:ph type="body" sz="quarter" idx="13" hasCustomPrompt="1"/>
          </p:nvPr>
        </p:nvSpPr>
        <p:spPr>
          <a:xfrm>
            <a:off x="4512734" y="5317067"/>
            <a:ext cx="3395133" cy="491067"/>
          </a:xfrm>
          <a:prstGeom prst="rect">
            <a:avLst/>
          </a:prstGeom>
        </p:spPr>
        <p:txBody>
          <a:bodyPr>
            <a:noAutofit/>
          </a:bodyPr>
          <a:lstStyle>
            <a:lvl1pPr marL="0" indent="0" algn="r">
              <a:lnSpc>
                <a:spcPct val="80000"/>
              </a:lnSpc>
              <a:buNone/>
              <a:defRPr sz="1333" cap="all" baseline="0"/>
            </a:lvl1pPr>
            <a:lvl2pPr>
              <a:defRPr sz="1400"/>
            </a:lvl2pPr>
            <a:lvl3pPr>
              <a:defRPr sz="1400"/>
            </a:lvl3pPr>
            <a:lvl4pPr>
              <a:defRPr sz="1400"/>
            </a:lvl4pPr>
            <a:lvl5pPr>
              <a:defRPr sz="1400"/>
            </a:lvl5pPr>
          </a:lstStyle>
          <a:p>
            <a:pPr lvl="0"/>
            <a:r>
              <a:rPr lang="de-DE" dirty="0"/>
              <a:t>KURZBESCHREIBUNG</a:t>
            </a:r>
          </a:p>
          <a:p>
            <a:pPr lvl="0"/>
            <a:r>
              <a:rPr lang="de-DE" dirty="0"/>
              <a:t>ÜBER MEHRERE ZEILEN</a:t>
            </a:r>
          </a:p>
        </p:txBody>
      </p:sp>
      <p:sp>
        <p:nvSpPr>
          <p:cNvPr id="3" name="Untertitel 2"/>
          <p:cNvSpPr>
            <a:spLocks noGrp="1"/>
          </p:cNvSpPr>
          <p:nvPr>
            <p:ph type="subTitle" idx="1" hasCustomPrompt="1"/>
          </p:nvPr>
        </p:nvSpPr>
        <p:spPr>
          <a:xfrm>
            <a:off x="335305" y="4016337"/>
            <a:ext cx="7572464" cy="1368464"/>
          </a:xfrm>
          <a:prstGeom prst="rect">
            <a:avLst/>
          </a:prstGeom>
        </p:spPr>
        <p:txBody>
          <a:bodyPr>
            <a:normAutofit/>
          </a:bodyPr>
          <a:lstStyle>
            <a:lvl1pPr marL="0" indent="0" algn="r">
              <a:lnSpc>
                <a:spcPct val="80000"/>
              </a:lnSpc>
              <a:buNone/>
              <a:defRPr sz="4800" cap="all">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Titelzusatz</a:t>
            </a:r>
          </a:p>
        </p:txBody>
      </p:sp>
    </p:spTree>
    <p:extLst>
      <p:ext uri="{BB962C8B-B14F-4D97-AF65-F5344CB8AC3E}">
        <p14:creationId xmlns:p14="http://schemas.microsoft.com/office/powerpoint/2010/main" val="14236538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itel-Sei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2995" y="1439333"/>
            <a:ext cx="11237872" cy="1473200"/>
          </a:xfrm>
          <a:prstGeom prst="rect">
            <a:avLst/>
          </a:prstGeom>
        </p:spPr>
        <p:txBody>
          <a:bodyPr anchor="b">
            <a:normAutofit/>
          </a:bodyPr>
          <a:lstStyle>
            <a:lvl1pPr>
              <a:lnSpc>
                <a:spcPct val="80000"/>
              </a:lnSpc>
              <a:defRPr sz="4800" b="1" cap="all">
                <a:solidFill>
                  <a:srgbClr val="0BA2E3"/>
                </a:solidFill>
              </a:defRPr>
            </a:lvl1pPr>
          </a:lstStyle>
          <a:p>
            <a:r>
              <a:rPr lang="de-DE" dirty="0"/>
              <a:t>Kapiteltitel</a:t>
            </a:r>
          </a:p>
        </p:txBody>
      </p:sp>
      <p:sp>
        <p:nvSpPr>
          <p:cNvPr id="3" name="Inhaltsplatzhalter 2"/>
          <p:cNvSpPr>
            <a:spLocks noGrp="1"/>
          </p:cNvSpPr>
          <p:nvPr>
            <p:ph idx="1" hasCustomPrompt="1"/>
          </p:nvPr>
        </p:nvSpPr>
        <p:spPr>
          <a:xfrm>
            <a:off x="4178331" y="4456348"/>
            <a:ext cx="7416800" cy="1682549"/>
          </a:xfrm>
          <a:prstGeom prst="rect">
            <a:avLst/>
          </a:prstGeom>
        </p:spPr>
        <p:txBody>
          <a:bodyPr>
            <a:norm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600" baseline="0">
                <a:solidFill>
                  <a:srgbClr val="0092D2"/>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Text hinzufügen</a:t>
            </a:r>
          </a:p>
        </p:txBody>
      </p:sp>
      <p:sp>
        <p:nvSpPr>
          <p:cNvPr id="20" name="Textplatzhalter 19"/>
          <p:cNvSpPr>
            <a:spLocks noGrp="1"/>
          </p:cNvSpPr>
          <p:nvPr>
            <p:ph type="body" sz="quarter" idx="15" hasCustomPrompt="1"/>
          </p:nvPr>
        </p:nvSpPr>
        <p:spPr>
          <a:xfrm>
            <a:off x="4210127" y="6280134"/>
            <a:ext cx="3064933" cy="448733"/>
          </a:xfrm>
          <a:prstGeom prst="rect">
            <a:avLst/>
          </a:prstGeom>
        </p:spPr>
        <p:txBody>
          <a:bodyPr vert="horz"/>
          <a:lstStyle>
            <a:lvl1pPr marL="0" indent="0">
              <a:buNone/>
              <a:defRPr sz="1067"/>
            </a:lvl1pPr>
          </a:lstStyle>
          <a:p>
            <a:pPr lvl="0"/>
            <a:r>
              <a:rPr lang="de-DE" dirty="0"/>
              <a:t>Titel der PPP</a:t>
            </a:r>
          </a:p>
          <a:p>
            <a:pPr lvl="0"/>
            <a:r>
              <a:rPr lang="de-DE" dirty="0"/>
              <a:t>Kapiteltitel</a:t>
            </a:r>
          </a:p>
        </p:txBody>
      </p:sp>
      <p:sp>
        <p:nvSpPr>
          <p:cNvPr id="22" name="Textplatzhalter 21"/>
          <p:cNvSpPr>
            <a:spLocks noGrp="1"/>
          </p:cNvSpPr>
          <p:nvPr>
            <p:ph type="body" sz="quarter" idx="16" hasCustomPrompt="1"/>
          </p:nvPr>
        </p:nvSpPr>
        <p:spPr>
          <a:xfrm>
            <a:off x="7982044" y="6273784"/>
            <a:ext cx="2508249" cy="448733"/>
          </a:xfrm>
          <a:prstGeom prst="rect">
            <a:avLst/>
          </a:prstGeom>
        </p:spPr>
        <p:txBody>
          <a:bodyPr vert="horz"/>
          <a:lstStyle>
            <a:lvl1pPr marL="0" indent="0">
              <a:buNone/>
              <a:defRPr sz="1000"/>
            </a:lvl1pPr>
            <a:lvl2pPr marL="609585" indent="0">
              <a:buNone/>
              <a:defRPr sz="1000"/>
            </a:lvl2pPr>
            <a:lvl3pPr marL="1219170" indent="0">
              <a:buNone/>
              <a:defRPr sz="1000"/>
            </a:lvl3pPr>
            <a:lvl4pPr marL="1828754" indent="0">
              <a:buNone/>
              <a:defRPr sz="1000"/>
            </a:lvl4pPr>
            <a:lvl5pPr marL="2438339" indent="0">
              <a:buNone/>
              <a:defRPr sz="1000"/>
            </a:lvl5pPr>
          </a:lstStyle>
          <a:p>
            <a:pPr lvl="0"/>
            <a:r>
              <a:rPr lang="de-DE" dirty="0"/>
              <a:t>Name der Unterfolie</a:t>
            </a:r>
          </a:p>
        </p:txBody>
      </p:sp>
      <p:sp>
        <p:nvSpPr>
          <p:cNvPr id="25" name="Foliennummernplatzhalter 5"/>
          <p:cNvSpPr txBox="1">
            <a:spLocks/>
          </p:cNvSpPr>
          <p:nvPr userDrawn="1"/>
        </p:nvSpPr>
        <p:spPr>
          <a:xfrm>
            <a:off x="10351212" y="631841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8E821C83-84D4-BF47-9BEB-DE7BBACF0AD8}" type="slidenum">
              <a:rPr lang="de-DE" sz="1067" smtClean="0"/>
              <a:pPr/>
              <a:t>‹#›</a:t>
            </a:fld>
            <a:endParaRPr lang="de-DE" sz="1067" dirty="0"/>
          </a:p>
        </p:txBody>
      </p:sp>
      <p:cxnSp>
        <p:nvCxnSpPr>
          <p:cNvPr id="29" name="Gerade Verbindung 28"/>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0" name="Gerade Verbindung 29"/>
          <p:cNvCxnSpPr/>
          <p:nvPr userDrawn="1"/>
        </p:nvCxnSpPr>
        <p:spPr>
          <a:xfrm>
            <a:off x="4239760"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1" name="Gerade Verbindung 30"/>
          <p:cNvCxnSpPr/>
          <p:nvPr userDrawn="1"/>
        </p:nvCxnSpPr>
        <p:spPr>
          <a:xfrm>
            <a:off x="8020051"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34" name="Textplatzhalter 33"/>
          <p:cNvSpPr>
            <a:spLocks noGrp="1"/>
          </p:cNvSpPr>
          <p:nvPr>
            <p:ph type="body" sz="quarter" idx="17" hasCustomPrompt="1"/>
          </p:nvPr>
        </p:nvSpPr>
        <p:spPr>
          <a:xfrm>
            <a:off x="353483" y="3014133"/>
            <a:ext cx="11237383" cy="1476081"/>
          </a:xfrm>
          <a:prstGeom prst="rect">
            <a:avLst/>
          </a:prstGeom>
        </p:spPr>
        <p:txBody>
          <a:bodyPr vert="horz"/>
          <a:lstStyle>
            <a:lvl1pPr marL="0" indent="0">
              <a:lnSpc>
                <a:spcPct val="60000"/>
              </a:lnSpc>
              <a:buNone/>
              <a:defRPr sz="4800" cap="all">
                <a:solidFill>
                  <a:srgbClr val="0BA2E3"/>
                </a:solidFill>
              </a:defRPr>
            </a:lvl1pPr>
          </a:lstStyle>
          <a:p>
            <a:pPr lvl="0"/>
            <a:r>
              <a:rPr lang="de-DE" dirty="0" err="1"/>
              <a:t>Kap.titelzusatz</a:t>
            </a:r>
            <a:endParaRPr lang="de-DE" dirty="0"/>
          </a:p>
        </p:txBody>
      </p:sp>
      <p:pic>
        <p:nvPicPr>
          <p:cNvPr id="13" name="Grafik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335" y="-22568"/>
            <a:ext cx="3875043" cy="1408023"/>
          </a:xfrm>
          <a:prstGeom prst="rect">
            <a:avLst/>
          </a:prstGeom>
        </p:spPr>
      </p:pic>
      <p:sp>
        <p:nvSpPr>
          <p:cNvPr id="14" name="Textfeld 13"/>
          <p:cNvSpPr txBox="1"/>
          <p:nvPr userDrawn="1"/>
        </p:nvSpPr>
        <p:spPr>
          <a:xfrm>
            <a:off x="406385" y="6280469"/>
            <a:ext cx="2402291" cy="389787"/>
          </a:xfrm>
          <a:prstGeom prst="rect">
            <a:avLst/>
          </a:prstGeom>
          <a:noFill/>
        </p:spPr>
        <p:txBody>
          <a:bodyPr wrap="square" rtlCol="0">
            <a:spAutoFit/>
          </a:bodyPr>
          <a:lstStyle/>
          <a:p>
            <a:pPr defTabSz="609585">
              <a:defRPr/>
            </a:pPr>
            <a:r>
              <a:rPr lang="de-DE" sz="933" dirty="0">
                <a:solidFill>
                  <a:srgbClr val="0092D2"/>
                </a:solidFill>
                <a:latin typeface="Verdana"/>
                <a:cs typeface="Verdana"/>
              </a:rPr>
              <a:t>www.internationaldataspaces.org</a:t>
            </a:r>
          </a:p>
          <a:p>
            <a:pPr defTabSz="609585"/>
            <a:endParaRPr lang="de-DE" sz="1000" dirty="0">
              <a:solidFill>
                <a:srgbClr val="0092D2"/>
              </a:solidFill>
              <a:latin typeface="Verdana"/>
              <a:cs typeface="Verdana"/>
            </a:endParaRPr>
          </a:p>
        </p:txBody>
      </p:sp>
    </p:spTree>
    <p:extLst>
      <p:ext uri="{BB962C8B-B14F-4D97-AF65-F5344CB8AC3E}">
        <p14:creationId xmlns:p14="http://schemas.microsoft.com/office/powerpoint/2010/main" val="19793124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ere Seite">
    <p:spTree>
      <p:nvGrpSpPr>
        <p:cNvPr id="1" name=""/>
        <p:cNvGrpSpPr/>
        <p:nvPr/>
      </p:nvGrpSpPr>
      <p:grpSpPr>
        <a:xfrm>
          <a:off x="0" y="0"/>
          <a:ext cx="0" cy="0"/>
          <a:chOff x="0" y="0"/>
          <a:chExt cx="0" cy="0"/>
        </a:xfrm>
      </p:grpSpPr>
      <p:sp>
        <p:nvSpPr>
          <p:cNvPr id="11" name="Rechteck 10"/>
          <p:cNvSpPr/>
          <p:nvPr userDrawn="1"/>
        </p:nvSpPr>
        <p:spPr>
          <a:xfrm>
            <a:off x="9762067" y="0"/>
            <a:ext cx="2032000" cy="11345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de-DE" sz="2400">
              <a:solidFill>
                <a:prstClr val="white"/>
              </a:solidFill>
            </a:endParaRPr>
          </a:p>
        </p:txBody>
      </p:sp>
      <p:sp>
        <p:nvSpPr>
          <p:cNvPr id="8" name="Foliennummernplatzhalter 5"/>
          <p:cNvSpPr txBox="1">
            <a:spLocks/>
          </p:cNvSpPr>
          <p:nvPr userDrawn="1"/>
        </p:nvSpPr>
        <p:spPr>
          <a:xfrm>
            <a:off x="10351212" y="631841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8E821C83-84D4-BF47-9BEB-DE7BBACF0AD8}" type="slidenum">
              <a:rPr lang="de-DE" sz="1067" smtClean="0"/>
              <a:pPr/>
              <a:t>‹#›</a:t>
            </a:fld>
            <a:endParaRPr lang="de-DE" sz="1067" dirty="0"/>
          </a:p>
        </p:txBody>
      </p:sp>
      <p:sp>
        <p:nvSpPr>
          <p:cNvPr id="6" name="Textfeld 5"/>
          <p:cNvSpPr txBox="1"/>
          <p:nvPr userDrawn="1"/>
        </p:nvSpPr>
        <p:spPr>
          <a:xfrm>
            <a:off x="406385" y="6280469"/>
            <a:ext cx="2402291" cy="389787"/>
          </a:xfrm>
          <a:prstGeom prst="rect">
            <a:avLst/>
          </a:prstGeom>
          <a:noFill/>
        </p:spPr>
        <p:txBody>
          <a:bodyPr wrap="square" rtlCol="0">
            <a:spAutoFit/>
          </a:bodyPr>
          <a:lstStyle/>
          <a:p>
            <a:pPr defTabSz="609585">
              <a:defRPr/>
            </a:pPr>
            <a:r>
              <a:rPr lang="de-DE" sz="933" dirty="0">
                <a:solidFill>
                  <a:srgbClr val="0092D2"/>
                </a:solidFill>
                <a:latin typeface="Verdana"/>
                <a:cs typeface="Verdana"/>
              </a:rPr>
              <a:t>www.internationaldataspaces.org</a:t>
            </a:r>
          </a:p>
          <a:p>
            <a:pPr defTabSz="609585"/>
            <a:endParaRPr lang="de-DE" sz="1000" dirty="0">
              <a:solidFill>
                <a:srgbClr val="0092D2"/>
              </a:solidFill>
              <a:latin typeface="Verdana"/>
              <a:cs typeface="Verdana"/>
            </a:endParaRPr>
          </a:p>
        </p:txBody>
      </p:sp>
      <p:pic>
        <p:nvPicPr>
          <p:cNvPr id="7" name="Grafik 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55773" y="375495"/>
            <a:ext cx="1644587" cy="490832"/>
          </a:xfrm>
          <a:prstGeom prst="rect">
            <a:avLst/>
          </a:prstGeom>
        </p:spPr>
      </p:pic>
    </p:spTree>
    <p:extLst>
      <p:ext uri="{BB962C8B-B14F-4D97-AF65-F5344CB8AC3E}">
        <p14:creationId xmlns:p14="http://schemas.microsoft.com/office/powerpoint/2010/main" val="39485241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heme Headline_with Tex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405909" y="2286001"/>
            <a:ext cx="11244224" cy="3545447"/>
          </a:xfrm>
          <a:prstGeom prst="rect">
            <a:avLst/>
          </a:prstGeom>
        </p:spPr>
        <p:txBody>
          <a:bodyPr anchor="t">
            <a:normAutofit/>
          </a:bodyPr>
          <a:lstStyle>
            <a:lvl1pPr marL="239178" marR="0" indent="-239178" algn="l" defTabSz="609585"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55" indent="-228594">
              <a:buFont typeface="Symbol" panose="05050102010706020507" pitchFamily="18" charset="2"/>
              <a:buChar char="-"/>
              <a:defRPr sz="1600" baseline="0">
                <a:solidFill>
                  <a:schemeClr val="tx1"/>
                </a:solidFill>
              </a:defRPr>
            </a:lvl2pPr>
            <a:lvl3pPr marL="599002" indent="-110064">
              <a:buFont typeface="Arial" panose="020B0604020202020204" pitchFamily="34" charset="0"/>
              <a:buChar char="•"/>
              <a:defRPr sz="1067">
                <a:solidFill>
                  <a:schemeClr val="tx1"/>
                </a:solidFill>
              </a:defRPr>
            </a:lvl3pPr>
            <a:lvl4pPr marL="833946" indent="-256111">
              <a:buFont typeface="Symbol" panose="05050102010706020507" pitchFamily="18" charset="2"/>
              <a:buChar char="-"/>
              <a:tabLst>
                <a:tab pos="833946" algn="l"/>
                <a:tab pos="1077357" algn="l"/>
              </a:tabLst>
              <a:defRPr sz="1867" baseline="0">
                <a:solidFill>
                  <a:schemeClr val="tx1"/>
                </a:solidFill>
              </a:defRPr>
            </a:lvl4pPr>
            <a:lvl5pPr marL="1077357" indent="-262460">
              <a:buFont typeface="Georgia" panose="02040502050405020303" pitchFamily="18" charset="0"/>
              <a:buChar char="»"/>
              <a:defRPr sz="1867">
                <a:solidFill>
                  <a:schemeClr val="tx1"/>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85" rtl="0" eaLnBrk="1" fontAlgn="auto" latinLnBrk="0" hangingPunct="1">
              <a:lnSpc>
                <a:spcPct val="110000"/>
              </a:lnSpc>
              <a:spcBef>
                <a:spcPct val="20000"/>
              </a:spcBef>
              <a:spcAft>
                <a:spcPts val="0"/>
              </a:spcAft>
              <a:buClrTx/>
              <a:buSzTx/>
              <a:tabLst/>
              <a:defRPr/>
            </a:pPr>
            <a:endParaRPr lang="de-DE" dirty="0"/>
          </a:p>
        </p:txBody>
      </p:sp>
      <p:pic>
        <p:nvPicPr>
          <p:cNvPr id="13" name="Grafik 12"/>
          <p:cNvPicPr>
            <a:picLocks noChangeAspect="1"/>
          </p:cNvPicPr>
          <p:nvPr userDrawn="1"/>
        </p:nvPicPr>
        <p:blipFill>
          <a:blip r:embed="rId2" cstate="email">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3" y="206262"/>
            <a:ext cx="2091868" cy="759961"/>
          </a:xfrm>
          <a:prstGeom prst="rect">
            <a:avLst/>
          </a:prstGeom>
        </p:spPr>
      </p:pic>
      <p:sp>
        <p:nvSpPr>
          <p:cNvPr id="22"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3" name="Textplatzhalter 4"/>
          <p:cNvSpPr>
            <a:spLocks noGrp="1"/>
          </p:cNvSpPr>
          <p:nvPr>
            <p:ph type="body" sz="quarter" idx="17"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cxnSp>
        <p:nvCxnSpPr>
          <p:cNvPr id="27"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Textfeld 13"/>
          <p:cNvSpPr txBox="1"/>
          <p:nvPr userDrawn="1"/>
        </p:nvSpPr>
        <p:spPr>
          <a:xfrm>
            <a:off x="406385" y="6310788"/>
            <a:ext cx="2395808" cy="246221"/>
          </a:xfrm>
          <a:prstGeom prst="rect">
            <a:avLst/>
          </a:prstGeom>
          <a:noFill/>
        </p:spPr>
        <p:txBody>
          <a:bodyPr wrap="square" rtlCol="0">
            <a:spAutoFit/>
          </a:bodyPr>
          <a:lstStyle/>
          <a:p>
            <a:pPr defTabSz="609585"/>
            <a:r>
              <a:rPr lang="de-DE" sz="1000" dirty="0">
                <a:solidFill>
                  <a:srgbClr val="0BA2E3"/>
                </a:solidFill>
                <a:latin typeface="Verdana"/>
                <a:cs typeface="Verdana"/>
              </a:rPr>
              <a:t>www.internationaldataspaces.org</a:t>
            </a:r>
          </a:p>
        </p:txBody>
      </p:sp>
      <p:sp>
        <p:nvSpPr>
          <p:cNvPr id="15" name="Foliennummernplatzhalter 5"/>
          <p:cNvSpPr txBox="1">
            <a:spLocks/>
          </p:cNvSpPr>
          <p:nvPr userDrawn="1"/>
        </p:nvSpPr>
        <p:spPr>
          <a:xfrm>
            <a:off x="10351212" y="636058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DA28A8A7-1DE1-8B42-B22F-FAE404325B08}" type="slidenum">
              <a:rPr lang="de-DE" sz="1067" smtClean="0">
                <a:solidFill>
                  <a:srgbClr val="0BA2E3"/>
                </a:solidFill>
              </a:rPr>
              <a:pPr/>
              <a:t>‹#›</a:t>
            </a:fld>
            <a:endParaRPr lang="de-DE" sz="1067" dirty="0">
              <a:solidFill>
                <a:srgbClr val="0BA2E3"/>
              </a:solidFill>
            </a:endParaRPr>
          </a:p>
        </p:txBody>
      </p:sp>
    </p:spTree>
    <p:extLst>
      <p:ext uri="{BB962C8B-B14F-4D97-AF65-F5344CB8AC3E}">
        <p14:creationId xmlns:p14="http://schemas.microsoft.com/office/powerpoint/2010/main" val="40731370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29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Kapiteltitel Bild ganze Seite">
    <p:spTree>
      <p:nvGrpSpPr>
        <p:cNvPr id="1" name=""/>
        <p:cNvGrpSpPr/>
        <p:nvPr/>
      </p:nvGrpSpPr>
      <p:grpSpPr>
        <a:xfrm>
          <a:off x="0" y="0"/>
          <a:ext cx="0" cy="0"/>
          <a:chOff x="0" y="0"/>
          <a:chExt cx="0" cy="0"/>
        </a:xfrm>
      </p:grpSpPr>
      <p:sp>
        <p:nvSpPr>
          <p:cNvPr id="3" name="Rechteck 2"/>
          <p:cNvSpPr/>
          <p:nvPr userDrawn="1"/>
        </p:nvSpPr>
        <p:spPr>
          <a:xfrm>
            <a:off x="9762067" y="0"/>
            <a:ext cx="2032000" cy="11345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9" name="Textfeld 18"/>
          <p:cNvSpPr txBox="1"/>
          <p:nvPr userDrawn="1"/>
        </p:nvSpPr>
        <p:spPr>
          <a:xfrm>
            <a:off x="0" y="-1708441"/>
            <a:ext cx="12192000" cy="1364541"/>
          </a:xfrm>
          <a:prstGeom prst="rect">
            <a:avLst/>
          </a:prstGeom>
          <a:noFill/>
        </p:spPr>
        <p:txBody>
          <a:bodyPr wrap="square" rtlCol="0">
            <a:spAutoFit/>
          </a:bodyPr>
          <a:lstStyle/>
          <a:p>
            <a:pPr lvl="0" algn="ctr"/>
            <a:r>
              <a:rPr lang="de-DE" sz="2400" b="1" dirty="0">
                <a:latin typeface="Georgia"/>
                <a:cs typeface="Georgia"/>
              </a:rPr>
              <a:t>Formatfüllendes</a:t>
            </a:r>
            <a:r>
              <a:rPr lang="de-DE" sz="2400" b="1" baseline="0" dirty="0">
                <a:latin typeface="Georgia"/>
                <a:cs typeface="Georgia"/>
              </a:rPr>
              <a:t> Bild</a:t>
            </a:r>
            <a:r>
              <a:rPr lang="de-DE" sz="2400" b="1" dirty="0">
                <a:latin typeface="Georgia"/>
                <a:cs typeface="Georgia"/>
              </a:rPr>
              <a:t> als Folien-Hintergrund einfügen:</a:t>
            </a:r>
          </a:p>
          <a:p>
            <a:pPr lvl="0" algn="ctr"/>
            <a:endParaRPr lang="de-DE" sz="1067" b="1" i="0" dirty="0">
              <a:latin typeface="Georgia"/>
              <a:cs typeface="Georgia"/>
            </a:endParaRPr>
          </a:p>
          <a:p>
            <a:pPr marL="0" marR="0" lvl="0" indent="0" algn="ctr" defTabSz="609585" rtl="0" eaLnBrk="1" fontAlgn="auto" latinLnBrk="0" hangingPunct="1">
              <a:lnSpc>
                <a:spcPct val="100000"/>
              </a:lnSpc>
              <a:spcBef>
                <a:spcPts val="0"/>
              </a:spcBef>
              <a:spcAft>
                <a:spcPts val="0"/>
              </a:spcAft>
              <a:buClrTx/>
              <a:buSzTx/>
              <a:buFontTx/>
              <a:buNone/>
              <a:tabLst/>
              <a:defRPr/>
            </a:pPr>
            <a:r>
              <a:rPr lang="de-DE" sz="2400" i="0" baseline="0" dirty="0">
                <a:latin typeface="Georgia"/>
                <a:cs typeface="Georgia"/>
              </a:rPr>
              <a:t>Rechtsklick auf Folie &gt; Hintergrund formatieren &gt; Bild o. Struktur &gt; Bild auswählen</a:t>
            </a:r>
            <a:endParaRPr lang="de-DE" sz="2400" i="0" dirty="0">
              <a:latin typeface="Georgia"/>
              <a:cs typeface="Georgia"/>
            </a:endParaRPr>
          </a:p>
          <a:p>
            <a:pPr lvl="0" algn="ctr"/>
            <a:r>
              <a:rPr lang="de-DE" sz="2400" i="1" dirty="0">
                <a:latin typeface="Georgia"/>
                <a:cs typeface="Georgia"/>
              </a:rPr>
              <a:t>Die</a:t>
            </a:r>
            <a:r>
              <a:rPr lang="de-DE" sz="2400" i="1" baseline="0" dirty="0">
                <a:latin typeface="Georgia"/>
                <a:cs typeface="Georgia"/>
              </a:rPr>
              <a:t> Bilder müsse ein </a:t>
            </a:r>
            <a:r>
              <a:rPr lang="de-DE" sz="2400" i="1" dirty="0">
                <a:latin typeface="Georgia"/>
                <a:cs typeface="Georgia"/>
              </a:rPr>
              <a:t>Seitenverhältnis von</a:t>
            </a:r>
            <a:r>
              <a:rPr lang="de-DE" sz="2400" i="1" baseline="0" dirty="0">
                <a:latin typeface="Georgia"/>
                <a:cs typeface="Georgia"/>
              </a:rPr>
              <a:t> 16:9 haben!</a:t>
            </a:r>
          </a:p>
        </p:txBody>
      </p:sp>
      <p:sp>
        <p:nvSpPr>
          <p:cNvPr id="11" name="Textplatzhalter 4"/>
          <p:cNvSpPr>
            <a:spLocks noGrp="1"/>
          </p:cNvSpPr>
          <p:nvPr>
            <p:ph type="body" sz="quarter" idx="17" hasCustomPrompt="1"/>
          </p:nvPr>
        </p:nvSpPr>
        <p:spPr>
          <a:xfrm>
            <a:off x="406400" y="5244197"/>
            <a:ext cx="9355667" cy="795865"/>
          </a:xfrm>
          <a:prstGeom prst="rect">
            <a:avLst/>
          </a:prstGeom>
        </p:spPr>
        <p:txBody>
          <a:bodyPr vert="horz">
            <a:normAutofit/>
          </a:bodyPr>
          <a:lstStyle>
            <a:lvl1pPr marL="0" indent="0">
              <a:lnSpc>
                <a:spcPct val="60000"/>
              </a:lnSpc>
              <a:buNone/>
              <a:defRPr lang="de-DE" sz="2400" kern="1200" cap="all" dirty="0">
                <a:solidFill>
                  <a:srgbClr val="0092D2"/>
                </a:solidFill>
                <a:latin typeface="Verdana"/>
                <a:ea typeface="+mn-ea"/>
                <a:cs typeface="Verdana"/>
              </a:defRPr>
            </a:lvl1pPr>
          </a:lstStyle>
          <a:p>
            <a:pPr lvl="0"/>
            <a:r>
              <a:rPr lang="de-DE" dirty="0" err="1"/>
              <a:t>Subthema</a:t>
            </a:r>
            <a:endParaRPr lang="de-DE" dirty="0"/>
          </a:p>
        </p:txBody>
      </p:sp>
      <p:sp>
        <p:nvSpPr>
          <p:cNvPr id="13" name="Titel 1"/>
          <p:cNvSpPr>
            <a:spLocks noGrp="1"/>
          </p:cNvSpPr>
          <p:nvPr>
            <p:ph type="title" hasCustomPrompt="1"/>
          </p:nvPr>
        </p:nvSpPr>
        <p:spPr>
          <a:xfrm>
            <a:off x="412275" y="4448329"/>
            <a:ext cx="9349792" cy="795868"/>
          </a:xfrm>
          <a:prstGeom prst="rect">
            <a:avLst/>
          </a:prstGeom>
        </p:spPr>
        <p:txBody>
          <a:bodyPr anchor="b">
            <a:normAutofit/>
          </a:bodyPr>
          <a:lstStyle>
            <a:lvl1pPr>
              <a:lnSpc>
                <a:spcPct val="90000"/>
              </a:lnSpc>
              <a:defRPr lang="de-DE" sz="2400" b="1" kern="1200" cap="all" baseline="0" dirty="0">
                <a:solidFill>
                  <a:srgbClr val="0092D2"/>
                </a:solidFill>
                <a:latin typeface="Verdana"/>
                <a:ea typeface="+mj-ea"/>
                <a:cs typeface="Verdana"/>
              </a:defRPr>
            </a:lvl1pPr>
          </a:lstStyle>
          <a:p>
            <a:r>
              <a:rPr lang="de-DE" dirty="0" err="1"/>
              <a:t>ThemenHeadline</a:t>
            </a:r>
            <a:endParaRPr lang="de-DE" dirty="0"/>
          </a:p>
        </p:txBody>
      </p:sp>
      <p:pic>
        <p:nvPicPr>
          <p:cNvPr id="7" name="Grafik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32538" y="123384"/>
            <a:ext cx="2176969" cy="791016"/>
          </a:xfrm>
          <a:prstGeom prst="rect">
            <a:avLst/>
          </a:prstGeom>
        </p:spPr>
      </p:pic>
    </p:spTree>
    <p:extLst>
      <p:ext uri="{BB962C8B-B14F-4D97-AF65-F5344CB8AC3E}">
        <p14:creationId xmlns:p14="http://schemas.microsoft.com/office/powerpoint/2010/main" val="22512837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Ganz leer">
    <p:spTree>
      <p:nvGrpSpPr>
        <p:cNvPr id="1" name=""/>
        <p:cNvGrpSpPr/>
        <p:nvPr/>
      </p:nvGrpSpPr>
      <p:grpSpPr>
        <a:xfrm>
          <a:off x="0" y="0"/>
          <a:ext cx="0" cy="0"/>
          <a:chOff x="0" y="0"/>
          <a:chExt cx="0" cy="0"/>
        </a:xfrm>
      </p:grpSpPr>
      <p:sp>
        <p:nvSpPr>
          <p:cNvPr id="4" name="Rechteck 3"/>
          <p:cNvSpPr/>
          <p:nvPr userDrawn="1"/>
        </p:nvSpPr>
        <p:spPr>
          <a:xfrm>
            <a:off x="9762067" y="0"/>
            <a:ext cx="2032000" cy="11345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9" name="Textfeld 18"/>
          <p:cNvSpPr txBox="1"/>
          <p:nvPr userDrawn="1"/>
        </p:nvSpPr>
        <p:spPr>
          <a:xfrm>
            <a:off x="0" y="-1708441"/>
            <a:ext cx="12192000" cy="1364541"/>
          </a:xfrm>
          <a:prstGeom prst="rect">
            <a:avLst/>
          </a:prstGeom>
          <a:noFill/>
        </p:spPr>
        <p:txBody>
          <a:bodyPr wrap="square" rtlCol="0">
            <a:spAutoFit/>
          </a:bodyPr>
          <a:lstStyle/>
          <a:p>
            <a:pPr lvl="0" algn="ctr"/>
            <a:r>
              <a:rPr lang="de-DE" sz="2400" b="1" dirty="0">
                <a:latin typeface="Georgia"/>
                <a:cs typeface="Georgia"/>
              </a:rPr>
              <a:t>Formatfüllendes</a:t>
            </a:r>
            <a:r>
              <a:rPr lang="de-DE" sz="2400" b="1" baseline="0" dirty="0">
                <a:latin typeface="Georgia"/>
                <a:cs typeface="Georgia"/>
              </a:rPr>
              <a:t> Bild</a:t>
            </a:r>
            <a:r>
              <a:rPr lang="de-DE" sz="2400" b="1" dirty="0">
                <a:latin typeface="Georgia"/>
                <a:cs typeface="Georgia"/>
              </a:rPr>
              <a:t> als Folien-Hintergrund einfügen:</a:t>
            </a:r>
          </a:p>
          <a:p>
            <a:pPr lvl="0" algn="ctr"/>
            <a:endParaRPr lang="de-DE" sz="1067" b="1" i="0" dirty="0">
              <a:latin typeface="Georgia"/>
              <a:cs typeface="Georgia"/>
            </a:endParaRPr>
          </a:p>
          <a:p>
            <a:pPr marL="0" marR="0" lvl="0" indent="0" algn="ctr" defTabSz="609585" rtl="0" eaLnBrk="1" fontAlgn="auto" latinLnBrk="0" hangingPunct="1">
              <a:lnSpc>
                <a:spcPct val="100000"/>
              </a:lnSpc>
              <a:spcBef>
                <a:spcPts val="0"/>
              </a:spcBef>
              <a:spcAft>
                <a:spcPts val="0"/>
              </a:spcAft>
              <a:buClrTx/>
              <a:buSzTx/>
              <a:buFontTx/>
              <a:buNone/>
              <a:tabLst/>
              <a:defRPr/>
            </a:pPr>
            <a:r>
              <a:rPr lang="de-DE" sz="2400" i="0" baseline="0" dirty="0">
                <a:latin typeface="Georgia"/>
                <a:cs typeface="Georgia"/>
              </a:rPr>
              <a:t>Rechtsklick auf Folie &gt; Hintergrund formatieren &gt; Bild o. Struktur &gt; Bild auswählen</a:t>
            </a:r>
            <a:endParaRPr lang="de-DE" sz="2400" i="0" dirty="0">
              <a:latin typeface="Georgia"/>
              <a:cs typeface="Georgia"/>
            </a:endParaRPr>
          </a:p>
          <a:p>
            <a:pPr lvl="0" algn="ctr"/>
            <a:r>
              <a:rPr lang="de-DE" sz="2400" i="1" dirty="0">
                <a:latin typeface="Georgia"/>
                <a:cs typeface="Georgia"/>
              </a:rPr>
              <a:t>Die</a:t>
            </a:r>
            <a:r>
              <a:rPr lang="de-DE" sz="2400" i="1" baseline="0" dirty="0">
                <a:latin typeface="Georgia"/>
                <a:cs typeface="Georgia"/>
              </a:rPr>
              <a:t> Bilder müsse ein </a:t>
            </a:r>
            <a:r>
              <a:rPr lang="de-DE" sz="2400" i="1" dirty="0">
                <a:latin typeface="Georgia"/>
                <a:cs typeface="Georgia"/>
              </a:rPr>
              <a:t>Seitenverhältnis von</a:t>
            </a:r>
            <a:r>
              <a:rPr lang="de-DE" sz="2400" i="1" baseline="0" dirty="0">
                <a:latin typeface="Georgia"/>
                <a:cs typeface="Georgia"/>
              </a:rPr>
              <a:t> 16:9 haben!</a:t>
            </a:r>
          </a:p>
        </p:txBody>
      </p:sp>
    </p:spTree>
    <p:extLst>
      <p:ext uri="{BB962C8B-B14F-4D97-AF65-F5344CB8AC3E}">
        <p14:creationId xmlns:p14="http://schemas.microsoft.com/office/powerpoint/2010/main" val="711030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hemenheadline leere Seite">
    <p:spTree>
      <p:nvGrpSpPr>
        <p:cNvPr id="1" name=""/>
        <p:cNvGrpSpPr/>
        <p:nvPr/>
      </p:nvGrpSpPr>
      <p:grpSpPr>
        <a:xfrm>
          <a:off x="0" y="0"/>
          <a:ext cx="0" cy="0"/>
          <a:chOff x="0" y="0"/>
          <a:chExt cx="0" cy="0"/>
        </a:xfrm>
      </p:grpSpPr>
      <p:sp>
        <p:nvSpPr>
          <p:cNvPr id="7" name="Foliennummernplatzhalter 5"/>
          <p:cNvSpPr txBox="1">
            <a:spLocks/>
          </p:cNvSpPr>
          <p:nvPr userDrawn="1"/>
        </p:nvSpPr>
        <p:spPr>
          <a:xfrm>
            <a:off x="10351213" y="6318420"/>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609570"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DA28A8A7-1DE1-8B42-B22F-FAE404325B08}" type="slidenum">
              <a:rPr kumimoji="0" lang="de-DE" sz="1067" b="0" i="0" u="none" strike="noStrike" kern="1200" cap="none" spc="0" normalizeH="0" baseline="0" noProof="0" smtClean="0">
                <a:ln>
                  <a:noFill/>
                </a:ln>
                <a:solidFill>
                  <a:srgbClr val="0092D2"/>
                </a:solidFill>
                <a:effectLst/>
                <a:uLnTx/>
                <a:uFillTx/>
                <a:latin typeface="Calibri"/>
                <a:ea typeface="+mn-ea"/>
                <a:cs typeface="+mn-cs"/>
              </a:rPr>
              <a:pPr marL="0" marR="0" lvl="0" indent="0" algn="r" defTabSz="609570"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092D2"/>
              </a:solidFill>
              <a:effectLst/>
              <a:uLnTx/>
              <a:uFillTx/>
              <a:latin typeface="Calibri"/>
              <a:ea typeface="+mn-ea"/>
              <a:cs typeface="+mn-cs"/>
            </a:endParaRPr>
          </a:p>
        </p:txBody>
      </p:sp>
      <p:sp>
        <p:nvSpPr>
          <p:cNvPr id="11"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nHeadline</a:t>
            </a:r>
            <a:endParaRPr lang="de-DE" dirty="0"/>
          </a:p>
        </p:txBody>
      </p:sp>
      <p:sp>
        <p:nvSpPr>
          <p:cNvPr id="13" name="Textplatzhalter 4"/>
          <p:cNvSpPr>
            <a:spLocks noGrp="1"/>
          </p:cNvSpPr>
          <p:nvPr>
            <p:ph type="body" sz="quarter" idx="17" hasCustomPrompt="1"/>
          </p:nvPr>
        </p:nvSpPr>
        <p:spPr>
          <a:xfrm>
            <a:off x="406401" y="1490136"/>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hema</a:t>
            </a:r>
            <a:endParaRPr lang="de-DE" dirty="0"/>
          </a:p>
        </p:txBody>
      </p:sp>
      <p:pic>
        <p:nvPicPr>
          <p:cNvPr id="8" name="Grafik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32540" y="123384"/>
            <a:ext cx="2176969" cy="791016"/>
          </a:xfrm>
          <a:prstGeom prst="rect">
            <a:avLst/>
          </a:prstGeom>
        </p:spPr>
      </p:pic>
      <p:sp>
        <p:nvSpPr>
          <p:cNvPr id="9" name="Textfeld 8"/>
          <p:cNvSpPr txBox="1"/>
          <p:nvPr userDrawn="1"/>
        </p:nvSpPr>
        <p:spPr>
          <a:xfrm>
            <a:off x="406385" y="6280470"/>
            <a:ext cx="2402291" cy="389787"/>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933" b="0" i="0" u="none" strike="noStrike" kern="1200" cap="none" spc="0" normalizeH="0" baseline="0" noProof="0" dirty="0">
                <a:ln>
                  <a:noFill/>
                </a:ln>
                <a:solidFill>
                  <a:srgbClr val="0092D2"/>
                </a:solidFill>
                <a:effectLst/>
                <a:uLnTx/>
                <a:uFillTx/>
                <a:latin typeface="Verdana"/>
                <a:ea typeface="+mn-ea"/>
                <a:cs typeface="Verdana"/>
              </a:rPr>
              <a:t>www.internationaldataspaces.org</a:t>
            </a:r>
          </a:p>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92D2"/>
              </a:solidFill>
              <a:effectLst/>
              <a:uLnTx/>
              <a:uFillTx/>
              <a:latin typeface="Verdana"/>
              <a:ea typeface="+mn-ea"/>
              <a:cs typeface="Verdana"/>
            </a:endParaRPr>
          </a:p>
        </p:txBody>
      </p:sp>
    </p:spTree>
    <p:extLst>
      <p:ext uri="{BB962C8B-B14F-4D97-AF65-F5344CB8AC3E}">
        <p14:creationId xmlns:p14="http://schemas.microsoft.com/office/powerpoint/2010/main" val="2855431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Bild ganze Seite">
    <p:spTree>
      <p:nvGrpSpPr>
        <p:cNvPr id="1" name=""/>
        <p:cNvGrpSpPr/>
        <p:nvPr/>
      </p:nvGrpSpPr>
      <p:grpSpPr>
        <a:xfrm>
          <a:off x="0" y="0"/>
          <a:ext cx="0" cy="0"/>
          <a:chOff x="0" y="0"/>
          <a:chExt cx="0" cy="0"/>
        </a:xfrm>
      </p:grpSpPr>
      <p:sp>
        <p:nvSpPr>
          <p:cNvPr id="4" name="Rechteck 3"/>
          <p:cNvSpPr/>
          <p:nvPr userDrawn="1"/>
        </p:nvSpPr>
        <p:spPr>
          <a:xfrm>
            <a:off x="9762067" y="0"/>
            <a:ext cx="2032000" cy="11345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de-DE" sz="2400">
              <a:solidFill>
                <a:prstClr val="white"/>
              </a:solidFill>
            </a:endParaRPr>
          </a:p>
        </p:txBody>
      </p:sp>
      <p:sp>
        <p:nvSpPr>
          <p:cNvPr id="19" name="Textfeld 18"/>
          <p:cNvSpPr txBox="1"/>
          <p:nvPr userDrawn="1"/>
        </p:nvSpPr>
        <p:spPr>
          <a:xfrm>
            <a:off x="0" y="-1708441"/>
            <a:ext cx="12192000" cy="1364541"/>
          </a:xfrm>
          <a:prstGeom prst="rect">
            <a:avLst/>
          </a:prstGeom>
          <a:noFill/>
        </p:spPr>
        <p:txBody>
          <a:bodyPr wrap="square" rtlCol="0">
            <a:spAutoFit/>
          </a:bodyPr>
          <a:lstStyle/>
          <a:p>
            <a:pPr algn="ctr" defTabSz="609585"/>
            <a:r>
              <a:rPr lang="de-DE" sz="2400" b="1" dirty="0">
                <a:solidFill>
                  <a:prstClr val="black"/>
                </a:solidFill>
                <a:latin typeface="Georgia"/>
                <a:cs typeface="Georgia"/>
              </a:rPr>
              <a:t>Formatfüllendes Bild als Folien-Hintergrund einfügen:</a:t>
            </a:r>
          </a:p>
          <a:p>
            <a:pPr algn="ctr" defTabSz="609585"/>
            <a:endParaRPr lang="de-DE" sz="1067" b="1" dirty="0">
              <a:solidFill>
                <a:prstClr val="black"/>
              </a:solidFill>
              <a:latin typeface="Georgia"/>
              <a:cs typeface="Georgia"/>
            </a:endParaRPr>
          </a:p>
          <a:p>
            <a:pPr algn="ctr" defTabSz="609585">
              <a:defRPr/>
            </a:pPr>
            <a:r>
              <a:rPr lang="de-DE" sz="2400" dirty="0">
                <a:solidFill>
                  <a:prstClr val="black"/>
                </a:solidFill>
                <a:latin typeface="Georgia"/>
                <a:cs typeface="Georgia"/>
              </a:rPr>
              <a:t>Rechtsklick auf Folie &gt; Hintergrund formatieren &gt; Bild o. Struktur &gt; Bild auswählen</a:t>
            </a:r>
          </a:p>
          <a:p>
            <a:pPr algn="ctr" defTabSz="609585"/>
            <a:r>
              <a:rPr lang="de-DE" sz="2400" i="1" dirty="0">
                <a:solidFill>
                  <a:prstClr val="black"/>
                </a:solidFill>
                <a:latin typeface="Georgia"/>
                <a:cs typeface="Georgia"/>
              </a:rPr>
              <a:t>Die Bilder müsse ein Seitenverhältnis von 16:9 haben!</a:t>
            </a:r>
          </a:p>
        </p:txBody>
      </p:sp>
      <p:pic>
        <p:nvPicPr>
          <p:cNvPr id="5" name="Grafik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32538" y="123384"/>
            <a:ext cx="2176969" cy="791016"/>
          </a:xfrm>
          <a:prstGeom prst="rect">
            <a:avLst/>
          </a:prstGeom>
        </p:spPr>
      </p:pic>
    </p:spTree>
    <p:extLst>
      <p:ext uri="{BB962C8B-B14F-4D97-AF65-F5344CB8AC3E}">
        <p14:creationId xmlns:p14="http://schemas.microsoft.com/office/powerpoint/2010/main" val="34236154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lleen titel #1">
    <p:spTree>
      <p:nvGrpSpPr>
        <p:cNvPr id="1" name=""/>
        <p:cNvGrpSpPr/>
        <p:nvPr/>
      </p:nvGrpSpPr>
      <p:grpSpPr>
        <a:xfrm>
          <a:off x="0" y="0"/>
          <a:ext cx="0" cy="0"/>
          <a:chOff x="0" y="0"/>
          <a:chExt cx="0" cy="0"/>
        </a:xfrm>
      </p:grpSpPr>
      <p:sp>
        <p:nvSpPr>
          <p:cNvPr id="3" name="COVER">
            <a:extLst>
              <a:ext uri="{FF2B5EF4-FFF2-40B4-BE49-F238E27FC236}">
                <a16:creationId xmlns:a16="http://schemas.microsoft.com/office/drawing/2014/main" id="{886E2D86-48AB-4C86-A7BF-FBE21E7A081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2" name="Titel 1"/>
          <p:cNvSpPr>
            <a:spLocks noGrp="1"/>
          </p:cNvSpPr>
          <p:nvPr>
            <p:ph type="title" hasCustomPrompt="1"/>
          </p:nvPr>
        </p:nvSpPr>
        <p:spPr/>
        <p:txBody>
          <a:bodyPr lIns="0" tIns="0" rIns="0" bIns="0"/>
          <a:lstStyle>
            <a:lvl1pPr>
              <a:defRPr/>
            </a:lvl1pPr>
          </a:lstStyle>
          <a:p>
            <a:r>
              <a:rPr lang="nl-NL" dirty="0"/>
              <a:t>Plaats hier je titel</a:t>
            </a:r>
          </a:p>
        </p:txBody>
      </p:sp>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Only title #1</a:t>
            </a:r>
          </a:p>
        </p:txBody>
      </p:sp>
    </p:spTree>
    <p:extLst>
      <p:ext uri="{BB962C8B-B14F-4D97-AF65-F5344CB8AC3E}">
        <p14:creationId xmlns:p14="http://schemas.microsoft.com/office/powerpoint/2010/main" val="45380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405910" y="2286001"/>
            <a:ext cx="9480097" cy="3545447"/>
          </a:xfrm>
          <a:prstGeom prst="rect">
            <a:avLst/>
          </a:prstGeom>
        </p:spPr>
        <p:txBody>
          <a:bodyPr anchor="t">
            <a:normAutofit/>
          </a:bodyPr>
          <a:lstStyle>
            <a:lvl1pPr marL="380990" marR="0" indent="-380990" algn="l" defTabSz="609585"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838179" indent="-228594">
              <a:buFont typeface="Symbol" panose="05050102010706020507" pitchFamily="18" charset="2"/>
              <a:buChar char="-"/>
              <a:defRPr sz="1600" baseline="0">
                <a:solidFill>
                  <a:schemeClr val="tx1"/>
                </a:solidFill>
              </a:defRPr>
            </a:lvl2pPr>
            <a:lvl3pPr marL="1447764" indent="-228594">
              <a:buFont typeface="Arial" panose="020B0604020202020204" pitchFamily="34" charset="0"/>
              <a:buChar char="•"/>
              <a:defRPr sz="1067">
                <a:solidFill>
                  <a:schemeClr val="tx1"/>
                </a:solidFill>
              </a:defRPr>
            </a:lvl3pPr>
            <a:lvl4pPr marL="2209745" indent="-380990">
              <a:buFont typeface="Symbol" panose="05050102010706020507" pitchFamily="18" charset="2"/>
              <a:buChar char="-"/>
              <a:defRPr sz="1867">
                <a:solidFill>
                  <a:schemeClr val="tx1"/>
                </a:solidFill>
              </a:defRPr>
            </a:lvl4pPr>
            <a:lvl5pPr marL="2819330" indent="-380990">
              <a:buFont typeface="Georgia" panose="02040502050405020303" pitchFamily="18" charset="0"/>
              <a:buChar char="»"/>
              <a:defRPr sz="1867">
                <a:solidFill>
                  <a:schemeClr val="tx1"/>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marL="0" marR="0" lvl="0" indent="0" algn="l" defTabSz="609585" rtl="0" eaLnBrk="1" fontAlgn="auto" latinLnBrk="0" hangingPunct="1">
              <a:lnSpc>
                <a:spcPct val="110000"/>
              </a:lnSpc>
              <a:spcBef>
                <a:spcPct val="20000"/>
              </a:spcBef>
              <a:spcAft>
                <a:spcPts val="0"/>
              </a:spcAft>
              <a:buClrTx/>
              <a:buSzTx/>
              <a:tabLst/>
              <a:defRPr/>
            </a:pPr>
            <a:endParaRPr lang="de-DE" dirty="0"/>
          </a:p>
        </p:txBody>
      </p:sp>
      <p:sp>
        <p:nvSpPr>
          <p:cNvPr id="9" name="Textfeld 8"/>
          <p:cNvSpPr txBox="1"/>
          <p:nvPr userDrawn="1"/>
        </p:nvSpPr>
        <p:spPr>
          <a:xfrm>
            <a:off x="406386" y="6280469"/>
            <a:ext cx="2563039" cy="389787"/>
          </a:xfrm>
          <a:prstGeom prst="rect">
            <a:avLst/>
          </a:prstGeom>
          <a:noFill/>
        </p:spPr>
        <p:txBody>
          <a:bodyPr wrap="square" rtlCol="0">
            <a:spAutoFit/>
          </a:bodyPr>
          <a:lstStyle/>
          <a:p>
            <a:pPr defTabSz="609585">
              <a:defRPr/>
            </a:pPr>
            <a:r>
              <a:rPr lang="de-DE" sz="933" dirty="0">
                <a:solidFill>
                  <a:srgbClr val="0092D2"/>
                </a:solidFill>
                <a:latin typeface="Verdana"/>
                <a:cs typeface="Verdana"/>
              </a:rPr>
              <a:t>www.internationaldataspaces.org</a:t>
            </a:r>
          </a:p>
          <a:p>
            <a:pPr defTabSz="609585"/>
            <a:endParaRPr lang="de-DE" sz="1000" dirty="0">
              <a:solidFill>
                <a:srgbClr val="0092D2"/>
              </a:solidFill>
              <a:latin typeface="Verdana"/>
              <a:cs typeface="Verdana"/>
            </a:endParaRPr>
          </a:p>
        </p:txBody>
      </p:sp>
      <p:sp>
        <p:nvSpPr>
          <p:cNvPr id="10" name="Foliennummernplatzhalter 5"/>
          <p:cNvSpPr txBox="1">
            <a:spLocks/>
          </p:cNvSpPr>
          <p:nvPr userDrawn="1"/>
        </p:nvSpPr>
        <p:spPr>
          <a:xfrm>
            <a:off x="10351212" y="631841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8E821C83-84D4-BF47-9BEB-DE7BBACF0AD8}" type="slidenum">
              <a:rPr lang="de-DE" sz="1067" smtClean="0"/>
              <a:pPr/>
              <a:t>‹#›</a:t>
            </a:fld>
            <a:endParaRPr lang="de-DE" sz="1067" dirty="0"/>
          </a:p>
        </p:txBody>
      </p:sp>
      <p:sp>
        <p:nvSpPr>
          <p:cNvPr id="11" name="Textplatzhalter 19"/>
          <p:cNvSpPr>
            <a:spLocks noGrp="1"/>
          </p:cNvSpPr>
          <p:nvPr>
            <p:ph type="body" sz="quarter" idx="15" hasCustomPrompt="1"/>
          </p:nvPr>
        </p:nvSpPr>
        <p:spPr>
          <a:xfrm>
            <a:off x="4210127" y="6280134"/>
            <a:ext cx="3064933" cy="448733"/>
          </a:xfrm>
          <a:prstGeom prst="rect">
            <a:avLst/>
          </a:prstGeom>
        </p:spPr>
        <p:txBody>
          <a:bodyPr vert="horz"/>
          <a:lstStyle>
            <a:lvl1pPr marL="0" indent="0">
              <a:buNone/>
              <a:defRPr sz="1000"/>
            </a:lvl1pPr>
          </a:lstStyle>
          <a:p>
            <a:pPr lvl="0"/>
            <a:r>
              <a:rPr lang="de-DE" dirty="0"/>
              <a:t>Titel der PPP</a:t>
            </a:r>
          </a:p>
          <a:p>
            <a:pPr lvl="0"/>
            <a:r>
              <a:rPr lang="de-DE" dirty="0"/>
              <a:t>Kapiteltitel</a:t>
            </a:r>
          </a:p>
        </p:txBody>
      </p:sp>
      <p:sp>
        <p:nvSpPr>
          <p:cNvPr id="12" name="Textplatzhalter 21"/>
          <p:cNvSpPr>
            <a:spLocks noGrp="1"/>
          </p:cNvSpPr>
          <p:nvPr>
            <p:ph type="body" sz="quarter" idx="16" hasCustomPrompt="1"/>
          </p:nvPr>
        </p:nvSpPr>
        <p:spPr>
          <a:xfrm>
            <a:off x="7982044" y="6273784"/>
            <a:ext cx="2508249" cy="448733"/>
          </a:xfrm>
          <a:prstGeom prst="rect">
            <a:avLst/>
          </a:prstGeom>
        </p:spPr>
        <p:txBody>
          <a:bodyPr vert="horz"/>
          <a:lstStyle>
            <a:lvl1pPr marL="0" indent="0">
              <a:buNone/>
              <a:defRPr sz="1000"/>
            </a:lvl1pPr>
            <a:lvl2pPr marL="609585" indent="0">
              <a:buNone/>
              <a:defRPr sz="1000"/>
            </a:lvl2pPr>
            <a:lvl3pPr marL="1219170" indent="0">
              <a:buNone/>
              <a:defRPr sz="1000"/>
            </a:lvl3pPr>
            <a:lvl4pPr marL="1828754" indent="0">
              <a:buNone/>
              <a:defRPr sz="1000"/>
            </a:lvl4pPr>
            <a:lvl5pPr marL="2438339" indent="0">
              <a:buNone/>
              <a:defRPr sz="1000"/>
            </a:lvl5pPr>
          </a:lstStyle>
          <a:p>
            <a:pPr lvl="0"/>
            <a:r>
              <a:rPr lang="de-DE" dirty="0"/>
              <a:t>Name der Unterfolie</a:t>
            </a:r>
          </a:p>
        </p:txBody>
      </p:sp>
      <p:sp>
        <p:nvSpPr>
          <p:cNvPr id="15"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nHeadline</a:t>
            </a:r>
            <a:endParaRPr lang="de-DE" dirty="0"/>
          </a:p>
        </p:txBody>
      </p:sp>
      <p:cxnSp>
        <p:nvCxnSpPr>
          <p:cNvPr id="17" name="Gerade Verbindung 16"/>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8" name="Gerade Verbindung 17"/>
          <p:cNvCxnSpPr/>
          <p:nvPr userDrawn="1"/>
        </p:nvCxnSpPr>
        <p:spPr>
          <a:xfrm>
            <a:off x="4239760"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userDrawn="1"/>
        </p:nvCxnSpPr>
        <p:spPr>
          <a:xfrm>
            <a:off x="8020051"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5" name="Textplatzhalter 4"/>
          <p:cNvSpPr>
            <a:spLocks noGrp="1"/>
          </p:cNvSpPr>
          <p:nvPr>
            <p:ph type="body" sz="quarter" idx="17"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hema</a:t>
            </a:r>
            <a:endParaRPr lang="de-DE" dirty="0"/>
          </a:p>
        </p:txBody>
      </p:sp>
      <p:pic>
        <p:nvPicPr>
          <p:cNvPr id="13" name="Grafik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32538" y="123384"/>
            <a:ext cx="2176969" cy="791016"/>
          </a:xfrm>
          <a:prstGeom prst="rect">
            <a:avLst/>
          </a:prstGeom>
        </p:spPr>
      </p:pic>
    </p:spTree>
    <p:extLst>
      <p:ext uri="{BB962C8B-B14F-4D97-AF65-F5344CB8AC3E}">
        <p14:creationId xmlns:p14="http://schemas.microsoft.com/office/powerpoint/2010/main" val="4126208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Themenheadline leere Seite">
    <p:spTree>
      <p:nvGrpSpPr>
        <p:cNvPr id="1" name=""/>
        <p:cNvGrpSpPr/>
        <p:nvPr/>
      </p:nvGrpSpPr>
      <p:grpSpPr>
        <a:xfrm>
          <a:off x="0" y="0"/>
          <a:ext cx="0" cy="0"/>
          <a:chOff x="0" y="0"/>
          <a:chExt cx="0" cy="0"/>
        </a:xfrm>
      </p:grpSpPr>
      <p:sp>
        <p:nvSpPr>
          <p:cNvPr id="6" name="Textfeld 5"/>
          <p:cNvSpPr txBox="1"/>
          <p:nvPr userDrawn="1"/>
        </p:nvSpPr>
        <p:spPr>
          <a:xfrm>
            <a:off x="406385" y="6280469"/>
            <a:ext cx="2402291" cy="389787"/>
          </a:xfrm>
          <a:prstGeom prst="rect">
            <a:avLst/>
          </a:prstGeom>
          <a:noFill/>
        </p:spPr>
        <p:txBody>
          <a:bodyPr wrap="square" rtlCol="0">
            <a:spAutoFit/>
          </a:bodyPr>
          <a:lstStyle/>
          <a:p>
            <a:pPr defTabSz="609585">
              <a:defRPr/>
            </a:pPr>
            <a:r>
              <a:rPr lang="de-DE" sz="933" dirty="0">
                <a:solidFill>
                  <a:srgbClr val="0092D2"/>
                </a:solidFill>
                <a:latin typeface="Verdana"/>
                <a:cs typeface="Verdana"/>
              </a:rPr>
              <a:t>www.internationaldataspaces.org</a:t>
            </a:r>
          </a:p>
          <a:p>
            <a:pPr defTabSz="609585"/>
            <a:endParaRPr lang="de-DE" sz="1000" dirty="0">
              <a:solidFill>
                <a:srgbClr val="0092D2"/>
              </a:solidFill>
              <a:latin typeface="Verdana"/>
              <a:cs typeface="Verdana"/>
            </a:endParaRPr>
          </a:p>
        </p:txBody>
      </p:sp>
      <p:sp>
        <p:nvSpPr>
          <p:cNvPr id="7" name="Foliennummernplatzhalter 5"/>
          <p:cNvSpPr txBox="1">
            <a:spLocks/>
          </p:cNvSpPr>
          <p:nvPr userDrawn="1"/>
        </p:nvSpPr>
        <p:spPr>
          <a:xfrm>
            <a:off x="10351212" y="631841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DA28A8A7-1DE1-8B42-B22F-FAE404325B08}" type="slidenum">
              <a:rPr lang="de-DE" sz="1067" smtClean="0"/>
              <a:pPr/>
              <a:t>‹#›</a:t>
            </a:fld>
            <a:endParaRPr lang="de-DE" sz="1067" dirty="0"/>
          </a:p>
        </p:txBody>
      </p:sp>
      <p:sp>
        <p:nvSpPr>
          <p:cNvPr id="8" name="Textplatzhalter 19"/>
          <p:cNvSpPr>
            <a:spLocks noGrp="1"/>
          </p:cNvSpPr>
          <p:nvPr>
            <p:ph type="body" sz="quarter" idx="15" hasCustomPrompt="1"/>
          </p:nvPr>
        </p:nvSpPr>
        <p:spPr>
          <a:xfrm>
            <a:off x="4210127" y="6280134"/>
            <a:ext cx="3064933" cy="448733"/>
          </a:xfrm>
          <a:prstGeom prst="rect">
            <a:avLst/>
          </a:prstGeom>
        </p:spPr>
        <p:txBody>
          <a:bodyPr vert="horz"/>
          <a:lstStyle>
            <a:lvl1pPr marL="0" indent="0">
              <a:buNone/>
              <a:defRPr sz="1000"/>
            </a:lvl1pPr>
          </a:lstStyle>
          <a:p>
            <a:pPr lvl="0"/>
            <a:r>
              <a:rPr lang="de-DE" dirty="0"/>
              <a:t>Titel der PPP</a:t>
            </a:r>
          </a:p>
          <a:p>
            <a:pPr lvl="0"/>
            <a:r>
              <a:rPr lang="de-DE" dirty="0"/>
              <a:t>Kapiteltitel</a:t>
            </a:r>
          </a:p>
        </p:txBody>
      </p:sp>
      <p:sp>
        <p:nvSpPr>
          <p:cNvPr id="9" name="Textplatzhalter 21"/>
          <p:cNvSpPr>
            <a:spLocks noGrp="1"/>
          </p:cNvSpPr>
          <p:nvPr>
            <p:ph type="body" sz="quarter" idx="16" hasCustomPrompt="1"/>
          </p:nvPr>
        </p:nvSpPr>
        <p:spPr>
          <a:xfrm>
            <a:off x="7982044" y="6273784"/>
            <a:ext cx="2508249" cy="448733"/>
          </a:xfrm>
          <a:prstGeom prst="rect">
            <a:avLst/>
          </a:prstGeom>
        </p:spPr>
        <p:txBody>
          <a:bodyPr vert="horz"/>
          <a:lstStyle>
            <a:lvl1pPr marL="0" indent="0">
              <a:buNone/>
              <a:defRPr sz="1000"/>
            </a:lvl1pPr>
            <a:lvl2pPr marL="609585" indent="0">
              <a:buNone/>
              <a:defRPr sz="1000"/>
            </a:lvl2pPr>
            <a:lvl3pPr marL="1219170" indent="0">
              <a:buNone/>
              <a:defRPr sz="1000"/>
            </a:lvl3pPr>
            <a:lvl4pPr marL="1828754" indent="0">
              <a:buNone/>
              <a:defRPr sz="1000"/>
            </a:lvl4pPr>
            <a:lvl5pPr marL="2438339" indent="0">
              <a:buNone/>
              <a:defRPr sz="1000"/>
            </a:lvl5pPr>
          </a:lstStyle>
          <a:p>
            <a:pPr lvl="0"/>
            <a:r>
              <a:rPr lang="de-DE" dirty="0"/>
              <a:t>Name der Unterfolie</a:t>
            </a:r>
          </a:p>
        </p:txBody>
      </p:sp>
      <p:cxnSp>
        <p:nvCxnSpPr>
          <p:cNvPr id="20"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userDrawn="1"/>
        </p:nvCxnSpPr>
        <p:spPr>
          <a:xfrm>
            <a:off x="4239760"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Gerade Verbindung 37"/>
          <p:cNvCxnSpPr/>
          <p:nvPr userDrawn="1"/>
        </p:nvCxnSpPr>
        <p:spPr>
          <a:xfrm>
            <a:off x="8020051"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11"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nHeadline</a:t>
            </a:r>
            <a:endParaRPr lang="de-DE" dirty="0"/>
          </a:p>
        </p:txBody>
      </p:sp>
      <p:sp>
        <p:nvSpPr>
          <p:cNvPr id="13" name="Textplatzhalter 4"/>
          <p:cNvSpPr>
            <a:spLocks noGrp="1"/>
          </p:cNvSpPr>
          <p:nvPr>
            <p:ph type="body" sz="quarter" idx="17"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hema</a:t>
            </a:r>
            <a:endParaRPr lang="de-DE" dirty="0"/>
          </a:p>
        </p:txBody>
      </p:sp>
      <p:pic>
        <p:nvPicPr>
          <p:cNvPr id="14" name="Grafik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32538" y="123384"/>
            <a:ext cx="2176969" cy="791016"/>
          </a:xfrm>
          <a:prstGeom prst="rect">
            <a:avLst/>
          </a:prstGeom>
        </p:spPr>
      </p:pic>
    </p:spTree>
    <p:extLst>
      <p:ext uri="{BB962C8B-B14F-4D97-AF65-F5344CB8AC3E}">
        <p14:creationId xmlns:p14="http://schemas.microsoft.com/office/powerpoint/2010/main" val="10295582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Themenheadline leere Seite">
    <p:spTree>
      <p:nvGrpSpPr>
        <p:cNvPr id="1" name=""/>
        <p:cNvGrpSpPr/>
        <p:nvPr/>
      </p:nvGrpSpPr>
      <p:grpSpPr>
        <a:xfrm>
          <a:off x="0" y="0"/>
          <a:ext cx="0" cy="0"/>
          <a:chOff x="0" y="0"/>
          <a:chExt cx="0" cy="0"/>
        </a:xfrm>
      </p:grpSpPr>
      <p:sp>
        <p:nvSpPr>
          <p:cNvPr id="6" name="Textfeld 5"/>
          <p:cNvSpPr txBox="1"/>
          <p:nvPr userDrawn="1"/>
        </p:nvSpPr>
        <p:spPr>
          <a:xfrm>
            <a:off x="406385" y="6280469"/>
            <a:ext cx="2402291" cy="389787"/>
          </a:xfrm>
          <a:prstGeom prst="rect">
            <a:avLst/>
          </a:prstGeom>
          <a:noFill/>
        </p:spPr>
        <p:txBody>
          <a:bodyPr wrap="square" rtlCol="0">
            <a:spAutoFit/>
          </a:bodyPr>
          <a:lstStyle/>
          <a:p>
            <a:pPr defTabSz="609585">
              <a:defRPr/>
            </a:pPr>
            <a:r>
              <a:rPr lang="de-DE" sz="933" dirty="0">
                <a:solidFill>
                  <a:srgbClr val="0092D2"/>
                </a:solidFill>
                <a:latin typeface="Verdana"/>
                <a:cs typeface="Verdana"/>
              </a:rPr>
              <a:t>www.internationaldataspaces.org</a:t>
            </a:r>
          </a:p>
          <a:p>
            <a:pPr defTabSz="609585"/>
            <a:endParaRPr lang="de-DE" sz="1000" dirty="0">
              <a:solidFill>
                <a:srgbClr val="0092D2"/>
              </a:solidFill>
              <a:latin typeface="Verdana"/>
              <a:cs typeface="Verdana"/>
            </a:endParaRPr>
          </a:p>
        </p:txBody>
      </p:sp>
      <p:sp>
        <p:nvSpPr>
          <p:cNvPr id="7" name="Foliennummernplatzhalter 5"/>
          <p:cNvSpPr txBox="1">
            <a:spLocks/>
          </p:cNvSpPr>
          <p:nvPr userDrawn="1"/>
        </p:nvSpPr>
        <p:spPr>
          <a:xfrm>
            <a:off x="10351212" y="631841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DA28A8A7-1DE1-8B42-B22F-FAE404325B08}" type="slidenum">
              <a:rPr lang="de-DE" sz="1067" smtClean="0"/>
              <a:pPr/>
              <a:t>‹#›</a:t>
            </a:fld>
            <a:endParaRPr lang="de-DE" sz="1067" dirty="0"/>
          </a:p>
        </p:txBody>
      </p:sp>
      <p:sp>
        <p:nvSpPr>
          <p:cNvPr id="8" name="Textplatzhalter 19"/>
          <p:cNvSpPr>
            <a:spLocks noGrp="1"/>
          </p:cNvSpPr>
          <p:nvPr>
            <p:ph type="body" sz="quarter" idx="15" hasCustomPrompt="1"/>
          </p:nvPr>
        </p:nvSpPr>
        <p:spPr>
          <a:xfrm>
            <a:off x="4210127" y="6280134"/>
            <a:ext cx="3064933" cy="448733"/>
          </a:xfrm>
          <a:prstGeom prst="rect">
            <a:avLst/>
          </a:prstGeom>
        </p:spPr>
        <p:txBody>
          <a:bodyPr vert="horz"/>
          <a:lstStyle>
            <a:lvl1pPr marL="0" indent="0">
              <a:buNone/>
              <a:defRPr sz="1000"/>
            </a:lvl1pPr>
          </a:lstStyle>
          <a:p>
            <a:pPr lvl="0"/>
            <a:r>
              <a:rPr lang="de-DE" dirty="0"/>
              <a:t>Titel der PPP</a:t>
            </a:r>
          </a:p>
          <a:p>
            <a:pPr lvl="0"/>
            <a:r>
              <a:rPr lang="de-DE" dirty="0"/>
              <a:t>Kapiteltitel</a:t>
            </a:r>
          </a:p>
        </p:txBody>
      </p:sp>
      <p:sp>
        <p:nvSpPr>
          <p:cNvPr id="9" name="Textplatzhalter 21"/>
          <p:cNvSpPr>
            <a:spLocks noGrp="1"/>
          </p:cNvSpPr>
          <p:nvPr>
            <p:ph type="body" sz="quarter" idx="16" hasCustomPrompt="1"/>
          </p:nvPr>
        </p:nvSpPr>
        <p:spPr>
          <a:xfrm>
            <a:off x="7982044" y="6273784"/>
            <a:ext cx="2508249" cy="448733"/>
          </a:xfrm>
          <a:prstGeom prst="rect">
            <a:avLst/>
          </a:prstGeom>
        </p:spPr>
        <p:txBody>
          <a:bodyPr vert="horz"/>
          <a:lstStyle>
            <a:lvl1pPr marL="0" indent="0">
              <a:buNone/>
              <a:defRPr sz="1000"/>
            </a:lvl1pPr>
            <a:lvl2pPr marL="609585" indent="0">
              <a:buNone/>
              <a:defRPr sz="1000"/>
            </a:lvl2pPr>
            <a:lvl3pPr marL="1219170" indent="0">
              <a:buNone/>
              <a:defRPr sz="1000"/>
            </a:lvl3pPr>
            <a:lvl4pPr marL="1828754" indent="0">
              <a:buNone/>
              <a:defRPr sz="1000"/>
            </a:lvl4pPr>
            <a:lvl5pPr marL="2438339" indent="0">
              <a:buNone/>
              <a:defRPr sz="1000"/>
            </a:lvl5pPr>
          </a:lstStyle>
          <a:p>
            <a:pPr lvl="0"/>
            <a:r>
              <a:rPr lang="de-DE" dirty="0"/>
              <a:t>Name der Unterfolie</a:t>
            </a:r>
          </a:p>
        </p:txBody>
      </p:sp>
      <p:cxnSp>
        <p:nvCxnSpPr>
          <p:cNvPr id="20"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userDrawn="1"/>
        </p:nvCxnSpPr>
        <p:spPr>
          <a:xfrm>
            <a:off x="4239760"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Gerade Verbindung 37"/>
          <p:cNvCxnSpPr/>
          <p:nvPr userDrawn="1"/>
        </p:nvCxnSpPr>
        <p:spPr>
          <a:xfrm>
            <a:off x="8020051"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11"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nHeadline</a:t>
            </a:r>
            <a:endParaRPr lang="de-DE" dirty="0"/>
          </a:p>
        </p:txBody>
      </p:sp>
      <p:sp>
        <p:nvSpPr>
          <p:cNvPr id="13" name="Textplatzhalter 4"/>
          <p:cNvSpPr>
            <a:spLocks noGrp="1"/>
          </p:cNvSpPr>
          <p:nvPr>
            <p:ph type="body" sz="quarter" idx="17"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hema</a:t>
            </a:r>
            <a:endParaRPr lang="de-DE" dirty="0"/>
          </a:p>
        </p:txBody>
      </p:sp>
      <p:pic>
        <p:nvPicPr>
          <p:cNvPr id="14" name="Grafik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32538" y="123384"/>
            <a:ext cx="2176969" cy="791016"/>
          </a:xfrm>
          <a:prstGeom prst="rect">
            <a:avLst/>
          </a:prstGeom>
        </p:spPr>
      </p:pic>
    </p:spTree>
    <p:extLst>
      <p:ext uri="{BB962C8B-B14F-4D97-AF65-F5344CB8AC3E}">
        <p14:creationId xmlns:p14="http://schemas.microsoft.com/office/powerpoint/2010/main" val="29894300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ild ganze Seite">
    <p:spTree>
      <p:nvGrpSpPr>
        <p:cNvPr id="1" name=""/>
        <p:cNvGrpSpPr/>
        <p:nvPr/>
      </p:nvGrpSpPr>
      <p:grpSpPr>
        <a:xfrm>
          <a:off x="0" y="0"/>
          <a:ext cx="0" cy="0"/>
          <a:chOff x="0" y="0"/>
          <a:chExt cx="0" cy="0"/>
        </a:xfrm>
      </p:grpSpPr>
      <p:sp>
        <p:nvSpPr>
          <p:cNvPr id="4" name="Rechteck 3"/>
          <p:cNvSpPr/>
          <p:nvPr userDrawn="1"/>
        </p:nvSpPr>
        <p:spPr>
          <a:xfrm>
            <a:off x="9762067" y="0"/>
            <a:ext cx="2032000" cy="11345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70"/>
            <a:endParaRPr lang="de-DE" sz="2400">
              <a:solidFill>
                <a:prstClr val="white"/>
              </a:solidFill>
            </a:endParaRPr>
          </a:p>
        </p:txBody>
      </p:sp>
      <p:sp>
        <p:nvSpPr>
          <p:cNvPr id="19" name="Textfeld 18"/>
          <p:cNvSpPr txBox="1"/>
          <p:nvPr userDrawn="1"/>
        </p:nvSpPr>
        <p:spPr>
          <a:xfrm>
            <a:off x="0" y="-1708441"/>
            <a:ext cx="12192000" cy="1364541"/>
          </a:xfrm>
          <a:prstGeom prst="rect">
            <a:avLst/>
          </a:prstGeom>
          <a:noFill/>
        </p:spPr>
        <p:txBody>
          <a:bodyPr wrap="square" rtlCol="0">
            <a:spAutoFit/>
          </a:bodyPr>
          <a:lstStyle/>
          <a:p>
            <a:pPr algn="ctr" defTabSz="609570"/>
            <a:r>
              <a:rPr lang="de-DE" sz="2400" b="1" dirty="0">
                <a:solidFill>
                  <a:prstClr val="black"/>
                </a:solidFill>
                <a:latin typeface="Georgia"/>
                <a:cs typeface="Georgia"/>
              </a:rPr>
              <a:t>Formatfüllendes Bild als Folien-Hintergrund einfügen:</a:t>
            </a:r>
          </a:p>
          <a:p>
            <a:pPr algn="ctr" defTabSz="609570"/>
            <a:endParaRPr lang="de-DE" sz="1067" b="1" dirty="0">
              <a:solidFill>
                <a:prstClr val="black"/>
              </a:solidFill>
              <a:latin typeface="Georgia"/>
              <a:cs typeface="Georgia"/>
            </a:endParaRPr>
          </a:p>
          <a:p>
            <a:pPr algn="ctr" defTabSz="609570">
              <a:defRPr/>
            </a:pPr>
            <a:r>
              <a:rPr lang="de-DE" sz="2400" dirty="0">
                <a:solidFill>
                  <a:prstClr val="black"/>
                </a:solidFill>
                <a:latin typeface="Georgia"/>
                <a:cs typeface="Georgia"/>
              </a:rPr>
              <a:t>Rechtsklick auf Folie &gt; Hintergrund formatieren &gt; Bild o. Struktur &gt; Bild auswählen</a:t>
            </a:r>
          </a:p>
          <a:p>
            <a:pPr algn="ctr" defTabSz="609570"/>
            <a:r>
              <a:rPr lang="de-DE" sz="2400" i="1" dirty="0">
                <a:solidFill>
                  <a:prstClr val="black"/>
                </a:solidFill>
                <a:latin typeface="Georgia"/>
                <a:cs typeface="Georgia"/>
              </a:rPr>
              <a:t>Die Bilder müsse ein Seitenverhältnis von 16:9 haben!</a:t>
            </a:r>
          </a:p>
        </p:txBody>
      </p:sp>
      <p:pic>
        <p:nvPicPr>
          <p:cNvPr id="6" name="Bild 5" descr="industrial_data_space_association_cyan.eps"/>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948333" y="281552"/>
            <a:ext cx="1701800" cy="576416"/>
          </a:xfrm>
          <a:prstGeom prst="rect">
            <a:avLst/>
          </a:prstGeom>
        </p:spPr>
      </p:pic>
    </p:spTree>
    <p:extLst>
      <p:ext uri="{BB962C8B-B14F-4D97-AF65-F5344CB8AC3E}">
        <p14:creationId xmlns:p14="http://schemas.microsoft.com/office/powerpoint/2010/main" val="24385173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Text">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05912" y="2286002"/>
            <a:ext cx="9480097" cy="3545447"/>
          </a:xfrm>
          <a:prstGeom prst="rect">
            <a:avLst/>
          </a:prstGeom>
        </p:spPr>
        <p:txBody>
          <a:bodyPr anchor="t">
            <a:normAutofit/>
          </a:bodyPr>
          <a:lstStyle>
            <a:lvl1pPr marL="380981" marR="0" indent="-380981" algn="l" defTabSz="609570" rtl="0" eaLnBrk="1" fontAlgn="auto" latinLnBrk="0" hangingPunct="1">
              <a:lnSpc>
                <a:spcPct val="110000"/>
              </a:lnSpc>
              <a:spcBef>
                <a:spcPct val="20000"/>
              </a:spcBef>
              <a:spcAft>
                <a:spcPts val="0"/>
              </a:spcAft>
              <a:buClrTx/>
              <a:buSzTx/>
              <a:buFont typeface="Arial" panose="020B0604020202020204" pitchFamily="34" charset="0"/>
              <a:buNone/>
              <a:tabLst/>
              <a:defRPr sz="2133" baseline="0">
                <a:solidFill>
                  <a:schemeClr val="tx1"/>
                </a:solidFill>
              </a:defRPr>
            </a:lvl1pPr>
            <a:lvl2pPr marL="609570" indent="0">
              <a:buNone/>
              <a:defRPr sz="1600" baseline="0">
                <a:solidFill>
                  <a:schemeClr val="tx1">
                    <a:tint val="75000"/>
                  </a:schemeClr>
                </a:solidFill>
              </a:defRPr>
            </a:lvl2pPr>
            <a:lvl3pPr marL="1219140" indent="0">
              <a:buNone/>
              <a:defRPr sz="1067">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marL="0" marR="0" lvl="0" indent="0" algn="l" defTabSz="609570" rtl="0" eaLnBrk="1" fontAlgn="auto" latinLnBrk="0" hangingPunct="1">
              <a:lnSpc>
                <a:spcPct val="110000"/>
              </a:lnSpc>
              <a:spcBef>
                <a:spcPct val="20000"/>
              </a:spcBef>
              <a:spcAft>
                <a:spcPts val="0"/>
              </a:spcAft>
              <a:buClrTx/>
              <a:buSzTx/>
              <a:tabLst/>
              <a:defRPr/>
            </a:pPr>
            <a:endParaRPr lang="de-DE" dirty="0"/>
          </a:p>
        </p:txBody>
      </p:sp>
      <p:sp>
        <p:nvSpPr>
          <p:cNvPr id="10" name="Foliennummernplatzhalter 5"/>
          <p:cNvSpPr txBox="1">
            <a:spLocks/>
          </p:cNvSpPr>
          <p:nvPr userDrawn="1"/>
        </p:nvSpPr>
        <p:spPr>
          <a:xfrm>
            <a:off x="10351213" y="6318420"/>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8E821C83-84D4-BF47-9BEB-DE7BBACF0AD8}" type="slidenum">
              <a:rPr lang="de-DE" sz="1067" smtClean="0"/>
              <a:pPr/>
              <a:t>‹#›</a:t>
            </a:fld>
            <a:endParaRPr lang="de-DE" sz="1067" dirty="0"/>
          </a:p>
        </p:txBody>
      </p:sp>
      <p:sp>
        <p:nvSpPr>
          <p:cNvPr id="11" name="Textplatzhalter 19"/>
          <p:cNvSpPr>
            <a:spLocks noGrp="1"/>
          </p:cNvSpPr>
          <p:nvPr>
            <p:ph type="body" sz="quarter" idx="15" hasCustomPrompt="1"/>
          </p:nvPr>
        </p:nvSpPr>
        <p:spPr>
          <a:xfrm>
            <a:off x="4210128" y="6280135"/>
            <a:ext cx="3064933" cy="448733"/>
          </a:xfrm>
          <a:prstGeom prst="rect">
            <a:avLst/>
          </a:prstGeom>
        </p:spPr>
        <p:txBody>
          <a:bodyPr vert="horz"/>
          <a:lstStyle>
            <a:lvl1pPr marL="0" indent="0">
              <a:buNone/>
              <a:defRPr sz="1000"/>
            </a:lvl1pPr>
          </a:lstStyle>
          <a:p>
            <a:pPr lvl="0"/>
            <a:r>
              <a:rPr lang="de-DE" dirty="0"/>
              <a:t>Titel der PPP</a:t>
            </a:r>
          </a:p>
          <a:p>
            <a:pPr lvl="0"/>
            <a:r>
              <a:rPr lang="de-DE" dirty="0"/>
              <a:t>Kapiteltitel</a:t>
            </a:r>
          </a:p>
        </p:txBody>
      </p:sp>
      <p:sp>
        <p:nvSpPr>
          <p:cNvPr id="12" name="Textplatzhalter 21"/>
          <p:cNvSpPr>
            <a:spLocks noGrp="1"/>
          </p:cNvSpPr>
          <p:nvPr>
            <p:ph type="body" sz="quarter" idx="16" hasCustomPrompt="1"/>
          </p:nvPr>
        </p:nvSpPr>
        <p:spPr>
          <a:xfrm>
            <a:off x="7982045" y="6273784"/>
            <a:ext cx="2508249" cy="448733"/>
          </a:xfrm>
          <a:prstGeom prst="rect">
            <a:avLst/>
          </a:prstGeom>
        </p:spPr>
        <p:txBody>
          <a:bodyPr vert="horz"/>
          <a:lstStyle>
            <a:lvl1pPr marL="0" indent="0">
              <a:buNone/>
              <a:defRPr sz="1000"/>
            </a:lvl1pPr>
            <a:lvl2pPr marL="609570" indent="0">
              <a:buNone/>
              <a:defRPr sz="1000"/>
            </a:lvl2pPr>
            <a:lvl3pPr marL="1219140" indent="0">
              <a:buNone/>
              <a:defRPr sz="1000"/>
            </a:lvl3pPr>
            <a:lvl4pPr marL="1828709" indent="0">
              <a:buNone/>
              <a:defRPr sz="1000"/>
            </a:lvl4pPr>
            <a:lvl5pPr marL="2438278" indent="0">
              <a:buNone/>
              <a:defRPr sz="1000"/>
            </a:lvl5pPr>
          </a:lstStyle>
          <a:p>
            <a:pPr lvl="0"/>
            <a:r>
              <a:rPr lang="de-DE" dirty="0"/>
              <a:t>Name der Unterfolie</a:t>
            </a:r>
          </a:p>
        </p:txBody>
      </p:sp>
      <p:sp>
        <p:nvSpPr>
          <p:cNvPr id="15"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lang="de-DE" sz="2400" b="1" kern="1200" cap="all" baseline="0" dirty="0">
                <a:solidFill>
                  <a:srgbClr val="0092D2"/>
                </a:solidFill>
                <a:latin typeface="Verdana"/>
                <a:ea typeface="+mj-ea"/>
                <a:cs typeface="Verdana"/>
              </a:defRPr>
            </a:lvl1pPr>
          </a:lstStyle>
          <a:p>
            <a:r>
              <a:rPr lang="de-DE" dirty="0" err="1"/>
              <a:t>ThemenHeadline</a:t>
            </a:r>
            <a:endParaRPr lang="de-DE" dirty="0"/>
          </a:p>
        </p:txBody>
      </p:sp>
      <p:cxnSp>
        <p:nvCxnSpPr>
          <p:cNvPr id="17" name="Gerade Verbindung 16"/>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8" name="Gerade Verbindung 17"/>
          <p:cNvCxnSpPr/>
          <p:nvPr userDrawn="1"/>
        </p:nvCxnSpPr>
        <p:spPr>
          <a:xfrm>
            <a:off x="4239760" y="6227219"/>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userDrawn="1"/>
        </p:nvCxnSpPr>
        <p:spPr>
          <a:xfrm>
            <a:off x="8020051" y="6227219"/>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pic>
        <p:nvPicPr>
          <p:cNvPr id="20" name="Bild 19" descr="industrial_data_space_association_cyan.eps"/>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948333" y="281552"/>
            <a:ext cx="1701800" cy="576416"/>
          </a:xfrm>
          <a:prstGeom prst="rect">
            <a:avLst/>
          </a:prstGeom>
        </p:spPr>
      </p:pic>
      <p:sp>
        <p:nvSpPr>
          <p:cNvPr id="5" name="Textplatzhalter 4"/>
          <p:cNvSpPr>
            <a:spLocks noGrp="1"/>
          </p:cNvSpPr>
          <p:nvPr>
            <p:ph type="body" sz="quarter" idx="17" hasCustomPrompt="1"/>
          </p:nvPr>
        </p:nvSpPr>
        <p:spPr>
          <a:xfrm>
            <a:off x="406401" y="1490136"/>
            <a:ext cx="9355667" cy="795865"/>
          </a:xfrm>
          <a:prstGeom prst="rect">
            <a:avLst/>
          </a:prstGeom>
        </p:spPr>
        <p:txBody>
          <a:bodyPr vert="horz"/>
          <a:lstStyle>
            <a:lvl1pPr marL="0" indent="0">
              <a:lnSpc>
                <a:spcPct val="60000"/>
              </a:lnSpc>
              <a:buNone/>
              <a:defRPr lang="de-DE" sz="2400" kern="1200" cap="all" dirty="0">
                <a:solidFill>
                  <a:srgbClr val="0092D2"/>
                </a:solidFill>
                <a:latin typeface="Verdana"/>
                <a:ea typeface="+mn-ea"/>
                <a:cs typeface="Verdana"/>
              </a:defRPr>
            </a:lvl1pPr>
          </a:lstStyle>
          <a:p>
            <a:pPr lvl="0"/>
            <a:r>
              <a:rPr lang="de-DE" dirty="0" err="1"/>
              <a:t>Subthema</a:t>
            </a:r>
            <a:endParaRPr lang="de-DE" dirty="0"/>
          </a:p>
        </p:txBody>
      </p:sp>
      <p:sp>
        <p:nvSpPr>
          <p:cNvPr id="13" name="Textfeld 12"/>
          <p:cNvSpPr txBox="1"/>
          <p:nvPr userDrawn="1"/>
        </p:nvSpPr>
        <p:spPr>
          <a:xfrm>
            <a:off x="406385" y="6280470"/>
            <a:ext cx="2402291" cy="389787"/>
          </a:xfrm>
          <a:prstGeom prst="rect">
            <a:avLst/>
          </a:prstGeom>
          <a:noFill/>
        </p:spPr>
        <p:txBody>
          <a:bodyPr wrap="square" rtlCol="0">
            <a:spAutoFit/>
          </a:bodyPr>
          <a:lstStyle/>
          <a:p>
            <a:pPr defTabSz="609570">
              <a:defRPr/>
            </a:pPr>
            <a:r>
              <a:rPr lang="de-DE" sz="933" dirty="0">
                <a:solidFill>
                  <a:srgbClr val="0092D2"/>
                </a:solidFill>
                <a:latin typeface="Verdana"/>
                <a:cs typeface="Verdana"/>
              </a:rPr>
              <a:t>www.internationaldataspaces.org</a:t>
            </a:r>
          </a:p>
          <a:p>
            <a:pPr defTabSz="609570"/>
            <a:endParaRPr lang="de-DE" sz="1000" dirty="0">
              <a:solidFill>
                <a:srgbClr val="0092D2"/>
              </a:solidFill>
              <a:latin typeface="Verdana"/>
              <a:cs typeface="Verdana"/>
            </a:endParaRPr>
          </a:p>
        </p:txBody>
      </p:sp>
    </p:spTree>
    <p:extLst>
      <p:ext uri="{BB962C8B-B14F-4D97-AF65-F5344CB8AC3E}">
        <p14:creationId xmlns:p14="http://schemas.microsoft.com/office/powerpoint/2010/main" val="40167041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heme Headline_empty slide">
    <p:spTree>
      <p:nvGrpSpPr>
        <p:cNvPr id="1" name=""/>
        <p:cNvGrpSpPr/>
        <p:nvPr/>
      </p:nvGrpSpPr>
      <p:grpSpPr>
        <a:xfrm>
          <a:off x="0" y="0"/>
          <a:ext cx="0" cy="0"/>
          <a:chOff x="0" y="0"/>
          <a:chExt cx="0" cy="0"/>
        </a:xfrm>
      </p:grpSpPr>
      <p:cxnSp>
        <p:nvCxnSpPr>
          <p:cNvPr id="20" name="Gerade Verbindung 19"/>
          <p:cNvCxnSpPr/>
          <p:nvPr userDrawn="1"/>
        </p:nvCxnSpPr>
        <p:spPr>
          <a:xfrm>
            <a:off x="537634" y="6206487"/>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11"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13" name="Textplatzhalter 4"/>
          <p:cNvSpPr>
            <a:spLocks noGrp="1"/>
          </p:cNvSpPr>
          <p:nvPr>
            <p:ph type="body" sz="quarter" idx="17"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pic>
        <p:nvPicPr>
          <p:cNvPr id="14" name="Grafik 13"/>
          <p:cNvPicPr>
            <a:picLocks noChangeAspect="1"/>
          </p:cNvPicPr>
          <p:nvPr userDrawn="1"/>
        </p:nvPicPr>
        <p:blipFill>
          <a:blip r:embed="rId2" cstate="email">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3" y="206262"/>
            <a:ext cx="2091868" cy="759961"/>
          </a:xfrm>
          <a:prstGeom prst="rect">
            <a:avLst/>
          </a:prstGeom>
        </p:spPr>
      </p:pic>
      <p:sp>
        <p:nvSpPr>
          <p:cNvPr id="7" name="Textfeld 6"/>
          <p:cNvSpPr txBox="1"/>
          <p:nvPr userDrawn="1"/>
        </p:nvSpPr>
        <p:spPr>
          <a:xfrm>
            <a:off x="4051201" y="6260029"/>
            <a:ext cx="7738193" cy="246221"/>
          </a:xfrm>
          <a:prstGeom prst="rect">
            <a:avLst/>
          </a:prstGeom>
          <a:noFill/>
        </p:spPr>
        <p:txBody>
          <a:bodyPr wrap="square" rtlCol="0">
            <a:spAutoFit/>
          </a:bodyPr>
          <a:lstStyle/>
          <a:p>
            <a:pPr algn="r" defTabSz="609585"/>
            <a:r>
              <a:rPr lang="de-DE" sz="1000" dirty="0">
                <a:solidFill>
                  <a:srgbClr val="0092D2"/>
                </a:solidFill>
                <a:latin typeface="Verdana"/>
                <a:cs typeface="Verdana"/>
              </a:rPr>
              <a:t>© 2019 IDSA, Business </a:t>
            </a:r>
            <a:r>
              <a:rPr lang="de-DE" sz="1000" dirty="0" err="1">
                <a:solidFill>
                  <a:srgbClr val="0092D2"/>
                </a:solidFill>
                <a:latin typeface="Verdana"/>
                <a:cs typeface="Verdana"/>
              </a:rPr>
              <a:t>Relevance</a:t>
            </a:r>
            <a:r>
              <a:rPr lang="de-DE" sz="1000" dirty="0">
                <a:solidFill>
                  <a:srgbClr val="0092D2"/>
                </a:solidFill>
                <a:latin typeface="Verdana"/>
                <a:cs typeface="Verdana"/>
              </a:rPr>
              <a:t> Group</a:t>
            </a:r>
          </a:p>
        </p:txBody>
      </p:sp>
      <p:sp>
        <p:nvSpPr>
          <p:cNvPr id="2" name="Textfeld 1"/>
          <p:cNvSpPr txBox="1"/>
          <p:nvPr userDrawn="1"/>
        </p:nvSpPr>
        <p:spPr>
          <a:xfrm>
            <a:off x="409268" y="6260733"/>
            <a:ext cx="2342308" cy="246221"/>
          </a:xfrm>
          <a:prstGeom prst="rect">
            <a:avLst/>
          </a:prstGeom>
          <a:noFill/>
        </p:spPr>
        <p:txBody>
          <a:bodyPr wrap="none" rtlCol="0">
            <a:spAutoFit/>
          </a:bodyPr>
          <a:lstStyle/>
          <a:p>
            <a:pPr defTabSz="609585"/>
            <a:r>
              <a:rPr lang="de-DE" sz="1000" dirty="0">
                <a:solidFill>
                  <a:srgbClr val="0092D2"/>
                </a:solidFill>
                <a:latin typeface="Verdana"/>
                <a:cs typeface="Verdana"/>
              </a:rPr>
              <a:t>www.internationaldataspaces.org</a:t>
            </a:r>
          </a:p>
        </p:txBody>
      </p:sp>
    </p:spTree>
    <p:extLst>
      <p:ext uri="{BB962C8B-B14F-4D97-AF65-F5344CB8AC3E}">
        <p14:creationId xmlns:p14="http://schemas.microsoft.com/office/powerpoint/2010/main" val="255533193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304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heme Headline_with Tex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405909" y="2286001"/>
            <a:ext cx="11244224" cy="3545447"/>
          </a:xfrm>
          <a:prstGeom prst="rect">
            <a:avLst/>
          </a:prstGeom>
        </p:spPr>
        <p:txBody>
          <a:bodyPr anchor="t">
            <a:normAutofit/>
          </a:bodyPr>
          <a:lstStyle>
            <a:lvl1pPr marL="239178" marR="0" indent="-239178" algn="l" defTabSz="609585"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55" indent="-228594">
              <a:buFont typeface="Symbol" panose="05050102010706020507" pitchFamily="18" charset="2"/>
              <a:buChar char="-"/>
              <a:defRPr sz="1600" baseline="0">
                <a:solidFill>
                  <a:schemeClr val="tx1"/>
                </a:solidFill>
              </a:defRPr>
            </a:lvl2pPr>
            <a:lvl3pPr marL="599002" indent="-110064">
              <a:buFont typeface="Arial" panose="020B0604020202020204" pitchFamily="34" charset="0"/>
              <a:buChar char="•"/>
              <a:defRPr sz="1067">
                <a:solidFill>
                  <a:schemeClr val="tx1"/>
                </a:solidFill>
              </a:defRPr>
            </a:lvl3pPr>
            <a:lvl4pPr marL="833946" indent="-256111">
              <a:buFont typeface="Symbol" panose="05050102010706020507" pitchFamily="18" charset="2"/>
              <a:buChar char="-"/>
              <a:tabLst>
                <a:tab pos="833946" algn="l"/>
                <a:tab pos="1077357" algn="l"/>
              </a:tabLst>
              <a:defRPr sz="1867" baseline="0">
                <a:solidFill>
                  <a:schemeClr val="tx1"/>
                </a:solidFill>
              </a:defRPr>
            </a:lvl4pPr>
            <a:lvl5pPr marL="1077357" indent="-262460">
              <a:buFont typeface="Georgia" panose="02040502050405020303" pitchFamily="18" charset="0"/>
              <a:buChar char="»"/>
              <a:defRPr sz="1867">
                <a:solidFill>
                  <a:schemeClr val="tx1"/>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85" rtl="0" eaLnBrk="1" fontAlgn="auto" latinLnBrk="0" hangingPunct="1">
              <a:lnSpc>
                <a:spcPct val="110000"/>
              </a:lnSpc>
              <a:spcBef>
                <a:spcPct val="20000"/>
              </a:spcBef>
              <a:spcAft>
                <a:spcPts val="0"/>
              </a:spcAft>
              <a:buClrTx/>
              <a:buSzTx/>
              <a:tabLst/>
              <a:defRPr/>
            </a:pPr>
            <a:endParaRPr lang="de-DE" dirty="0"/>
          </a:p>
        </p:txBody>
      </p:sp>
      <p:pic>
        <p:nvPicPr>
          <p:cNvPr id="13" name="Grafik 12"/>
          <p:cNvPicPr>
            <a:picLocks noChangeAspect="1"/>
          </p:cNvPicPr>
          <p:nvPr userDrawn="1"/>
        </p:nvPicPr>
        <p:blipFill>
          <a:blip r:embed="rId2" cstate="hq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3" y="206262"/>
            <a:ext cx="2091868" cy="759961"/>
          </a:xfrm>
          <a:prstGeom prst="rect">
            <a:avLst/>
          </a:prstGeom>
        </p:spPr>
      </p:pic>
      <p:sp>
        <p:nvSpPr>
          <p:cNvPr id="22"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3" name="Textplatzhalter 4"/>
          <p:cNvSpPr>
            <a:spLocks noGrp="1"/>
          </p:cNvSpPr>
          <p:nvPr>
            <p:ph type="body" sz="quarter" idx="17"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sp>
        <p:nvSpPr>
          <p:cNvPr id="14" name="Textfeld 13"/>
          <p:cNvSpPr txBox="1"/>
          <p:nvPr userDrawn="1"/>
        </p:nvSpPr>
        <p:spPr>
          <a:xfrm>
            <a:off x="406385" y="6310788"/>
            <a:ext cx="2395808" cy="246221"/>
          </a:xfrm>
          <a:prstGeom prst="rect">
            <a:avLst/>
          </a:prstGeom>
          <a:noFill/>
        </p:spPr>
        <p:txBody>
          <a:bodyPr wrap="square" rtlCol="0">
            <a:spAutoFit/>
          </a:bodyPr>
          <a:lstStyle/>
          <a:p>
            <a:r>
              <a:rPr lang="de-DE" sz="1000" dirty="0">
                <a:solidFill>
                  <a:srgbClr val="0BA2E3"/>
                </a:solidFill>
                <a:latin typeface="Verdana"/>
                <a:cs typeface="Verdana"/>
              </a:rPr>
              <a:t>www.internationaldataspaces.org</a:t>
            </a:r>
          </a:p>
        </p:txBody>
      </p:sp>
      <p:sp>
        <p:nvSpPr>
          <p:cNvPr id="15" name="Foliennummernplatzhalter 5"/>
          <p:cNvSpPr txBox="1">
            <a:spLocks/>
          </p:cNvSpPr>
          <p:nvPr userDrawn="1"/>
        </p:nvSpPr>
        <p:spPr>
          <a:xfrm>
            <a:off x="10351212" y="636058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schemeClr val="tx1"/>
                </a:solidFill>
              </a:rPr>
              <a:t>//</a:t>
            </a:r>
            <a:r>
              <a:rPr lang="de-DE" sz="1067" dirty="0"/>
              <a:t> </a:t>
            </a:r>
            <a:fld id="{DA28A8A7-1DE1-8B42-B22F-FAE404325B08}" type="slidenum">
              <a:rPr lang="de-DE" sz="1067" smtClean="0">
                <a:solidFill>
                  <a:srgbClr val="0BA2E3"/>
                </a:solidFill>
              </a:rPr>
              <a:t>‹#›</a:t>
            </a:fld>
            <a:endParaRPr lang="de-DE" sz="1067" dirty="0">
              <a:solidFill>
                <a:srgbClr val="0BA2E3"/>
              </a:solidFill>
            </a:endParaRPr>
          </a:p>
        </p:txBody>
      </p:sp>
    </p:spTree>
    <p:extLst>
      <p:ext uri="{BB962C8B-B14F-4D97-AF65-F5344CB8AC3E}">
        <p14:creationId xmlns:p14="http://schemas.microsoft.com/office/powerpoint/2010/main" val="222220449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29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838200" y="6356351"/>
            <a:ext cx="2743200" cy="365125"/>
          </a:xfrm>
          <a:prstGeom prst="rect">
            <a:avLst/>
          </a:prstGeom>
        </p:spPr>
        <p:txBody>
          <a:bodyPr/>
          <a:lstStyle/>
          <a:p>
            <a:pPr defTabSz="609585"/>
            <a:fld id="{047762C9-4AC1-4FAE-9B45-6EE7A0C85120}" type="datetimeFigureOut">
              <a:rPr lang="de-DE" smtClean="0">
                <a:solidFill>
                  <a:prstClr val="black"/>
                </a:solidFill>
              </a:rPr>
              <a:pPr defTabSz="609585"/>
              <a:t>04.06.2020</a:t>
            </a:fld>
            <a:endParaRPr lang="de-DE">
              <a:solidFill>
                <a:prstClr val="black"/>
              </a:solidFill>
            </a:endParaRPr>
          </a:p>
        </p:txBody>
      </p:sp>
      <p:sp>
        <p:nvSpPr>
          <p:cNvPr id="5" name="Fußzeilenplatzhalter 4"/>
          <p:cNvSpPr>
            <a:spLocks noGrp="1"/>
          </p:cNvSpPr>
          <p:nvPr>
            <p:ph type="ftr" sz="quarter" idx="11"/>
          </p:nvPr>
        </p:nvSpPr>
        <p:spPr>
          <a:xfrm>
            <a:off x="4038600" y="6356351"/>
            <a:ext cx="4114800" cy="365125"/>
          </a:xfrm>
          <a:prstGeom prst="rect">
            <a:avLst/>
          </a:prstGeom>
        </p:spPr>
        <p:txBody>
          <a:bodyPr/>
          <a:lstStyle/>
          <a:p>
            <a:pPr defTabSz="609585"/>
            <a:endParaRPr lang="de-DE">
              <a:solidFill>
                <a:prstClr val="black"/>
              </a:solidFill>
            </a:endParaRPr>
          </a:p>
        </p:txBody>
      </p:sp>
      <p:sp>
        <p:nvSpPr>
          <p:cNvPr id="6" name="Foliennummernplatzhalter 5"/>
          <p:cNvSpPr>
            <a:spLocks noGrp="1"/>
          </p:cNvSpPr>
          <p:nvPr>
            <p:ph type="sldNum" sz="quarter" idx="12"/>
          </p:nvPr>
        </p:nvSpPr>
        <p:spPr>
          <a:xfrm>
            <a:off x="8610600" y="6356351"/>
            <a:ext cx="2743200" cy="365125"/>
          </a:xfrm>
          <a:prstGeom prst="rect">
            <a:avLst/>
          </a:prstGeom>
        </p:spPr>
        <p:txBody>
          <a:bodyPr/>
          <a:lstStyle/>
          <a:p>
            <a:pPr defTabSz="609585"/>
            <a:fld id="{53B0A8BE-B26B-462F-B05F-AD36F3F3D0C1}" type="slidenum">
              <a:rPr lang="de-DE" smtClean="0">
                <a:solidFill>
                  <a:prstClr val="black"/>
                </a:solidFill>
              </a:rPr>
              <a:pPr defTabSz="609585"/>
              <a:t>‹#›</a:t>
            </a:fld>
            <a:endParaRPr lang="de-DE">
              <a:solidFill>
                <a:prstClr val="black"/>
              </a:solidFill>
            </a:endParaRPr>
          </a:p>
        </p:txBody>
      </p:sp>
    </p:spTree>
    <p:extLst>
      <p:ext uri="{BB962C8B-B14F-4D97-AF65-F5344CB8AC3E}">
        <p14:creationId xmlns:p14="http://schemas.microsoft.com/office/powerpoint/2010/main" val="12153328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335" y="60559"/>
            <a:ext cx="3875043" cy="1408023"/>
          </a:xfrm>
          <a:prstGeom prst="rect">
            <a:avLst/>
          </a:prstGeom>
        </p:spPr>
      </p:pic>
      <p:sp>
        <p:nvSpPr>
          <p:cNvPr id="11" name="Foliennummernplatzhalter 5"/>
          <p:cNvSpPr txBox="1">
            <a:spLocks/>
          </p:cNvSpPr>
          <p:nvPr userDrawn="1"/>
        </p:nvSpPr>
        <p:spPr>
          <a:xfrm>
            <a:off x="10611703" y="6320504"/>
            <a:ext cx="1148925"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8E821C83-84D4-BF47-9BEB-DE7BBACF0AD8}" type="slidenum">
              <a:rPr lang="de-DE" sz="1067" smtClean="0"/>
              <a:pPr/>
              <a:t>‹#›</a:t>
            </a:fld>
            <a:endParaRPr lang="de-DE" sz="1067" dirty="0"/>
          </a:p>
        </p:txBody>
      </p:sp>
      <p:sp>
        <p:nvSpPr>
          <p:cNvPr id="8" name="Rechteck 7"/>
          <p:cNvSpPr/>
          <p:nvPr userDrawn="1"/>
        </p:nvSpPr>
        <p:spPr>
          <a:xfrm>
            <a:off x="0" y="2279154"/>
            <a:ext cx="12192000" cy="4578847"/>
          </a:xfrm>
          <a:prstGeom prst="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de-DE" sz="2400">
              <a:solidFill>
                <a:srgbClr val="0BA2E3"/>
              </a:solidFill>
            </a:endParaRPr>
          </a:p>
        </p:txBody>
      </p:sp>
      <p:sp>
        <p:nvSpPr>
          <p:cNvPr id="12" name="Titel 11"/>
          <p:cNvSpPr>
            <a:spLocks noGrp="1"/>
          </p:cNvSpPr>
          <p:nvPr>
            <p:ph type="title" hasCustomPrompt="1"/>
          </p:nvPr>
        </p:nvSpPr>
        <p:spPr>
          <a:xfrm>
            <a:off x="328940" y="2734733"/>
            <a:ext cx="7572464" cy="1281603"/>
          </a:xfrm>
          <a:prstGeom prst="rect">
            <a:avLst/>
          </a:prstGeom>
        </p:spPr>
        <p:txBody>
          <a:bodyPr bIns="0" anchor="b">
            <a:noAutofit/>
          </a:bodyPr>
          <a:lstStyle>
            <a:lvl1pPr algn="r">
              <a:lnSpc>
                <a:spcPct val="80000"/>
              </a:lnSpc>
              <a:spcAft>
                <a:spcPts val="0"/>
              </a:spcAft>
              <a:defRPr sz="4800" b="1" cap="all">
                <a:solidFill>
                  <a:schemeClr val="bg1"/>
                </a:solidFill>
              </a:defRPr>
            </a:lvl1pPr>
          </a:lstStyle>
          <a:p>
            <a:r>
              <a:rPr lang="de-DE" dirty="0"/>
              <a:t>TITEL DER PPP</a:t>
            </a:r>
          </a:p>
        </p:txBody>
      </p:sp>
      <p:sp>
        <p:nvSpPr>
          <p:cNvPr id="7" name="Textplatzhalter 6"/>
          <p:cNvSpPr>
            <a:spLocks noGrp="1"/>
          </p:cNvSpPr>
          <p:nvPr>
            <p:ph type="body" sz="quarter" idx="13" hasCustomPrompt="1"/>
          </p:nvPr>
        </p:nvSpPr>
        <p:spPr>
          <a:xfrm>
            <a:off x="4512734" y="5317067"/>
            <a:ext cx="3395133" cy="491067"/>
          </a:xfrm>
          <a:prstGeom prst="rect">
            <a:avLst/>
          </a:prstGeom>
        </p:spPr>
        <p:txBody>
          <a:bodyPr>
            <a:noAutofit/>
          </a:bodyPr>
          <a:lstStyle>
            <a:lvl1pPr marL="0" indent="0" algn="r">
              <a:lnSpc>
                <a:spcPct val="80000"/>
              </a:lnSpc>
              <a:buNone/>
              <a:defRPr sz="1333" cap="all" baseline="0"/>
            </a:lvl1pPr>
            <a:lvl2pPr>
              <a:defRPr sz="1400"/>
            </a:lvl2pPr>
            <a:lvl3pPr>
              <a:defRPr sz="1400"/>
            </a:lvl3pPr>
            <a:lvl4pPr>
              <a:defRPr sz="1400"/>
            </a:lvl4pPr>
            <a:lvl5pPr>
              <a:defRPr sz="1400"/>
            </a:lvl5pPr>
          </a:lstStyle>
          <a:p>
            <a:pPr lvl="0"/>
            <a:r>
              <a:rPr lang="de-DE" dirty="0"/>
              <a:t>KURZBESCHREIBUNG</a:t>
            </a:r>
          </a:p>
          <a:p>
            <a:pPr lvl="0"/>
            <a:r>
              <a:rPr lang="de-DE" dirty="0"/>
              <a:t>ÜBER MEHRERE ZEILEN</a:t>
            </a:r>
          </a:p>
        </p:txBody>
      </p:sp>
      <p:sp>
        <p:nvSpPr>
          <p:cNvPr id="3" name="Untertitel 2"/>
          <p:cNvSpPr>
            <a:spLocks noGrp="1"/>
          </p:cNvSpPr>
          <p:nvPr>
            <p:ph type="subTitle" idx="1" hasCustomPrompt="1"/>
          </p:nvPr>
        </p:nvSpPr>
        <p:spPr>
          <a:xfrm>
            <a:off x="335305" y="4016337"/>
            <a:ext cx="7572464" cy="1368464"/>
          </a:xfrm>
          <a:prstGeom prst="rect">
            <a:avLst/>
          </a:prstGeom>
        </p:spPr>
        <p:txBody>
          <a:bodyPr>
            <a:normAutofit/>
          </a:bodyPr>
          <a:lstStyle>
            <a:lvl1pPr marL="0" indent="0" algn="r">
              <a:lnSpc>
                <a:spcPct val="80000"/>
              </a:lnSpc>
              <a:buNone/>
              <a:defRPr sz="4800" cap="all">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Titelzusatz</a:t>
            </a:r>
          </a:p>
        </p:txBody>
      </p:sp>
    </p:spTree>
    <p:extLst>
      <p:ext uri="{BB962C8B-B14F-4D97-AF65-F5344CB8AC3E}">
        <p14:creationId xmlns:p14="http://schemas.microsoft.com/office/powerpoint/2010/main" val="3546961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Kapitel-Titel-Sei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2995" y="1439333"/>
            <a:ext cx="11237872" cy="1473200"/>
          </a:xfrm>
          <a:prstGeom prst="rect">
            <a:avLst/>
          </a:prstGeom>
        </p:spPr>
        <p:txBody>
          <a:bodyPr anchor="b">
            <a:normAutofit/>
          </a:bodyPr>
          <a:lstStyle>
            <a:lvl1pPr>
              <a:lnSpc>
                <a:spcPct val="80000"/>
              </a:lnSpc>
              <a:defRPr sz="4800" b="1" cap="all">
                <a:solidFill>
                  <a:srgbClr val="0BA2E3"/>
                </a:solidFill>
              </a:defRPr>
            </a:lvl1pPr>
          </a:lstStyle>
          <a:p>
            <a:r>
              <a:rPr lang="de-DE" dirty="0"/>
              <a:t>Kapiteltitel</a:t>
            </a:r>
          </a:p>
        </p:txBody>
      </p:sp>
      <p:sp>
        <p:nvSpPr>
          <p:cNvPr id="3" name="Inhaltsplatzhalter 2"/>
          <p:cNvSpPr>
            <a:spLocks noGrp="1"/>
          </p:cNvSpPr>
          <p:nvPr>
            <p:ph idx="1" hasCustomPrompt="1"/>
          </p:nvPr>
        </p:nvSpPr>
        <p:spPr>
          <a:xfrm>
            <a:off x="4178331" y="4456348"/>
            <a:ext cx="7416800" cy="1682549"/>
          </a:xfrm>
          <a:prstGeom prst="rect">
            <a:avLst/>
          </a:prstGeom>
        </p:spPr>
        <p:txBody>
          <a:bodyPr>
            <a:norm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600" baseline="0">
                <a:solidFill>
                  <a:srgbClr val="0092D2"/>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Text hinzufügen</a:t>
            </a:r>
          </a:p>
        </p:txBody>
      </p:sp>
      <p:sp>
        <p:nvSpPr>
          <p:cNvPr id="20" name="Textplatzhalter 19"/>
          <p:cNvSpPr>
            <a:spLocks noGrp="1"/>
          </p:cNvSpPr>
          <p:nvPr>
            <p:ph type="body" sz="quarter" idx="15" hasCustomPrompt="1"/>
          </p:nvPr>
        </p:nvSpPr>
        <p:spPr>
          <a:xfrm>
            <a:off x="4210127" y="6280134"/>
            <a:ext cx="3064933" cy="448733"/>
          </a:xfrm>
          <a:prstGeom prst="rect">
            <a:avLst/>
          </a:prstGeom>
        </p:spPr>
        <p:txBody>
          <a:bodyPr vert="horz"/>
          <a:lstStyle>
            <a:lvl1pPr marL="0" indent="0">
              <a:buNone/>
              <a:defRPr sz="1067"/>
            </a:lvl1pPr>
          </a:lstStyle>
          <a:p>
            <a:pPr lvl="0"/>
            <a:r>
              <a:rPr lang="de-DE" dirty="0"/>
              <a:t>Titel der PPP</a:t>
            </a:r>
          </a:p>
          <a:p>
            <a:pPr lvl="0"/>
            <a:r>
              <a:rPr lang="de-DE" dirty="0"/>
              <a:t>Kapiteltitel</a:t>
            </a:r>
          </a:p>
        </p:txBody>
      </p:sp>
      <p:sp>
        <p:nvSpPr>
          <p:cNvPr id="22" name="Textplatzhalter 21"/>
          <p:cNvSpPr>
            <a:spLocks noGrp="1"/>
          </p:cNvSpPr>
          <p:nvPr>
            <p:ph type="body" sz="quarter" idx="16" hasCustomPrompt="1"/>
          </p:nvPr>
        </p:nvSpPr>
        <p:spPr>
          <a:xfrm>
            <a:off x="7982044" y="6273784"/>
            <a:ext cx="2508249" cy="448733"/>
          </a:xfrm>
          <a:prstGeom prst="rect">
            <a:avLst/>
          </a:prstGeom>
        </p:spPr>
        <p:txBody>
          <a:bodyPr vert="horz"/>
          <a:lstStyle>
            <a:lvl1pPr marL="0" indent="0">
              <a:buNone/>
              <a:defRPr sz="1000"/>
            </a:lvl1pPr>
            <a:lvl2pPr marL="609585" indent="0">
              <a:buNone/>
              <a:defRPr sz="1000"/>
            </a:lvl2pPr>
            <a:lvl3pPr marL="1219170" indent="0">
              <a:buNone/>
              <a:defRPr sz="1000"/>
            </a:lvl3pPr>
            <a:lvl4pPr marL="1828754" indent="0">
              <a:buNone/>
              <a:defRPr sz="1000"/>
            </a:lvl4pPr>
            <a:lvl5pPr marL="2438339" indent="0">
              <a:buNone/>
              <a:defRPr sz="1000"/>
            </a:lvl5pPr>
          </a:lstStyle>
          <a:p>
            <a:pPr lvl="0"/>
            <a:r>
              <a:rPr lang="de-DE" dirty="0"/>
              <a:t>Name der Unterfolie</a:t>
            </a:r>
          </a:p>
        </p:txBody>
      </p:sp>
      <p:sp>
        <p:nvSpPr>
          <p:cNvPr id="25" name="Foliennummernplatzhalter 5"/>
          <p:cNvSpPr txBox="1">
            <a:spLocks/>
          </p:cNvSpPr>
          <p:nvPr userDrawn="1"/>
        </p:nvSpPr>
        <p:spPr>
          <a:xfrm>
            <a:off x="10351212" y="631841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8E821C83-84D4-BF47-9BEB-DE7BBACF0AD8}" type="slidenum">
              <a:rPr lang="de-DE" sz="1067" smtClean="0"/>
              <a:pPr/>
              <a:t>‹#›</a:t>
            </a:fld>
            <a:endParaRPr lang="de-DE" sz="1067" dirty="0"/>
          </a:p>
        </p:txBody>
      </p:sp>
      <p:cxnSp>
        <p:nvCxnSpPr>
          <p:cNvPr id="29" name="Gerade Verbindung 28"/>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0" name="Gerade Verbindung 29"/>
          <p:cNvCxnSpPr/>
          <p:nvPr userDrawn="1"/>
        </p:nvCxnSpPr>
        <p:spPr>
          <a:xfrm>
            <a:off x="4239760"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1" name="Gerade Verbindung 30"/>
          <p:cNvCxnSpPr/>
          <p:nvPr userDrawn="1"/>
        </p:nvCxnSpPr>
        <p:spPr>
          <a:xfrm>
            <a:off x="8020051"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34" name="Textplatzhalter 33"/>
          <p:cNvSpPr>
            <a:spLocks noGrp="1"/>
          </p:cNvSpPr>
          <p:nvPr>
            <p:ph type="body" sz="quarter" idx="17" hasCustomPrompt="1"/>
          </p:nvPr>
        </p:nvSpPr>
        <p:spPr>
          <a:xfrm>
            <a:off x="353483" y="3014133"/>
            <a:ext cx="11237383" cy="1476081"/>
          </a:xfrm>
          <a:prstGeom prst="rect">
            <a:avLst/>
          </a:prstGeom>
        </p:spPr>
        <p:txBody>
          <a:bodyPr vert="horz"/>
          <a:lstStyle>
            <a:lvl1pPr marL="0" indent="0">
              <a:lnSpc>
                <a:spcPct val="60000"/>
              </a:lnSpc>
              <a:buNone/>
              <a:defRPr sz="4800" cap="all">
                <a:solidFill>
                  <a:srgbClr val="0BA2E3"/>
                </a:solidFill>
              </a:defRPr>
            </a:lvl1pPr>
          </a:lstStyle>
          <a:p>
            <a:pPr lvl="0"/>
            <a:r>
              <a:rPr lang="de-DE" dirty="0" err="1"/>
              <a:t>Kap.titelzusatz</a:t>
            </a:r>
            <a:endParaRPr lang="de-DE" dirty="0"/>
          </a:p>
        </p:txBody>
      </p:sp>
      <p:pic>
        <p:nvPicPr>
          <p:cNvPr id="13" name="Grafik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335" y="60559"/>
            <a:ext cx="3875043" cy="1408023"/>
          </a:xfrm>
          <a:prstGeom prst="rect">
            <a:avLst/>
          </a:prstGeom>
        </p:spPr>
      </p:pic>
      <p:sp>
        <p:nvSpPr>
          <p:cNvPr id="14" name="Textfeld 13"/>
          <p:cNvSpPr txBox="1"/>
          <p:nvPr userDrawn="1"/>
        </p:nvSpPr>
        <p:spPr>
          <a:xfrm>
            <a:off x="406385" y="6280469"/>
            <a:ext cx="2402291" cy="389787"/>
          </a:xfrm>
          <a:prstGeom prst="rect">
            <a:avLst/>
          </a:prstGeom>
          <a:noFill/>
        </p:spPr>
        <p:txBody>
          <a:bodyPr wrap="square" rtlCol="0">
            <a:spAutoFit/>
          </a:bodyPr>
          <a:lstStyle/>
          <a:p>
            <a:pPr defTabSz="609585">
              <a:defRPr/>
            </a:pPr>
            <a:r>
              <a:rPr lang="de-DE" sz="933" dirty="0">
                <a:solidFill>
                  <a:srgbClr val="0092D2"/>
                </a:solidFill>
                <a:latin typeface="Verdana"/>
                <a:cs typeface="Verdana"/>
              </a:rPr>
              <a:t>www.internationaldataspaces.org</a:t>
            </a:r>
          </a:p>
          <a:p>
            <a:pPr defTabSz="609585"/>
            <a:endParaRPr lang="de-DE" sz="1000" dirty="0">
              <a:solidFill>
                <a:srgbClr val="0092D2"/>
              </a:solidFill>
              <a:latin typeface="Verdana"/>
              <a:cs typeface="Verdana"/>
            </a:endParaRPr>
          </a:p>
        </p:txBody>
      </p:sp>
    </p:spTree>
    <p:extLst>
      <p:ext uri="{BB962C8B-B14F-4D97-AF65-F5344CB8AC3E}">
        <p14:creationId xmlns:p14="http://schemas.microsoft.com/office/powerpoint/2010/main" val="6830157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COVER">
            <a:extLst>
              <a:ext uri="{FF2B5EF4-FFF2-40B4-BE49-F238E27FC236}">
                <a16:creationId xmlns:a16="http://schemas.microsoft.com/office/drawing/2014/main" id="{886E2D86-48AB-4C86-A7BF-FBE21E7A081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Only title #1</a:t>
            </a:r>
          </a:p>
        </p:txBody>
      </p:sp>
      <p:sp>
        <p:nvSpPr>
          <p:cNvPr id="2" name="Titel 1">
            <a:extLst>
              <a:ext uri="{FF2B5EF4-FFF2-40B4-BE49-F238E27FC236}">
                <a16:creationId xmlns:a16="http://schemas.microsoft.com/office/drawing/2014/main" id="{86DEDEB2-6E50-4D00-9760-168F6C6B08BF}"/>
              </a:ext>
            </a:extLst>
          </p:cNvPr>
          <p:cNvSpPr>
            <a:spLocks noGrp="1"/>
          </p:cNvSpPr>
          <p:nvPr>
            <p:ph type="title"/>
          </p:nvPr>
        </p:nvSpPr>
        <p:spPr/>
        <p:txBody>
          <a:bodyPr/>
          <a:lstStyle/>
          <a:p>
            <a:r>
              <a:rPr lang="nl-NL"/>
              <a:t>Klik om stijl te bewerken</a:t>
            </a:r>
          </a:p>
        </p:txBody>
      </p:sp>
      <p:sp>
        <p:nvSpPr>
          <p:cNvPr id="5" name="Tijdelijke aanduiding voor tekst 25">
            <a:extLst>
              <a:ext uri="{FF2B5EF4-FFF2-40B4-BE49-F238E27FC236}">
                <a16:creationId xmlns:a16="http://schemas.microsoft.com/office/drawing/2014/main" id="{5354DA2A-96B6-4161-B55F-07B07ECDCC6E}"/>
              </a:ext>
            </a:extLst>
          </p:cNvPr>
          <p:cNvSpPr>
            <a:spLocks noGrp="1"/>
          </p:cNvSpPr>
          <p:nvPr>
            <p:ph type="body" sz="quarter" idx="15" hasCustomPrompt="1"/>
          </p:nvPr>
        </p:nvSpPr>
        <p:spPr>
          <a:xfrm>
            <a:off x="587030" y="1057282"/>
            <a:ext cx="68400" cy="201600"/>
          </a:xfrm>
          <a:blipFill>
            <a:blip r:embed="rId2" cstate="hqprint">
              <a:extLst>
                <a:ext uri="{28A0092B-C50C-407E-A947-70E740481C1C}">
                  <a14:useLocalDpi xmlns:a14="http://schemas.microsoft.com/office/drawing/2010/main"/>
                </a:ext>
              </a:extLst>
            </a:blip>
            <a:stretch>
              <a:fillRect/>
            </a:stretch>
          </a:blipFill>
          <a:ln w="12700">
            <a:noFill/>
          </a:ln>
        </p:spPr>
        <p:txBody>
          <a:bodyPr/>
          <a:lstStyle>
            <a:lvl1pPr marL="0" indent="0">
              <a:buFont typeface="Arial" panose="020B0604020202020204" pitchFamily="34" charset="0"/>
              <a:buNone/>
              <a:defRPr/>
            </a:lvl1pPr>
          </a:lstStyle>
          <a:p>
            <a:pPr lvl="0"/>
            <a:r>
              <a:rPr lang="nl-NL" dirty="0"/>
              <a:t> </a:t>
            </a:r>
          </a:p>
        </p:txBody>
      </p:sp>
      <p:sp>
        <p:nvSpPr>
          <p:cNvPr id="6" name="Tijdelijke aanduiding voor tekst 25">
            <a:extLst>
              <a:ext uri="{FF2B5EF4-FFF2-40B4-BE49-F238E27FC236}">
                <a16:creationId xmlns:a16="http://schemas.microsoft.com/office/drawing/2014/main" id="{8307AC27-7B2C-4AC4-8858-1F4467F155E3}"/>
              </a:ext>
            </a:extLst>
          </p:cNvPr>
          <p:cNvSpPr>
            <a:spLocks noGrp="1"/>
          </p:cNvSpPr>
          <p:nvPr>
            <p:ph type="body" sz="quarter" idx="16" hasCustomPrompt="1"/>
          </p:nvPr>
        </p:nvSpPr>
        <p:spPr>
          <a:xfrm flipH="1">
            <a:off x="600488" y="1295403"/>
            <a:ext cx="7200" cy="4968000"/>
          </a:xfrm>
          <a:prstGeom prst="roundRect">
            <a:avLst>
              <a:gd name="adj" fmla="val 50000"/>
            </a:avLst>
          </a:prstGeom>
          <a:solidFill>
            <a:schemeClr val="bg1"/>
          </a:solidFill>
          <a:ln w="12700">
            <a:noFill/>
          </a:ln>
        </p:spPr>
        <p:txBody>
          <a:bodyPr/>
          <a:lstStyle>
            <a:lvl1pPr marL="0" indent="0">
              <a:buFont typeface="Arial" panose="020B0604020202020204" pitchFamily="34" charset="0"/>
              <a:buNone/>
              <a:defRPr/>
            </a:lvl1pPr>
          </a:lstStyle>
          <a:p>
            <a:pPr lvl="0"/>
            <a:r>
              <a:rPr lang="nl-NL" dirty="0"/>
              <a:t> </a:t>
            </a:r>
          </a:p>
        </p:txBody>
      </p:sp>
      <p:sp>
        <p:nvSpPr>
          <p:cNvPr id="7" name="Tijdelijke aanduiding voor tekst 107">
            <a:extLst>
              <a:ext uri="{FF2B5EF4-FFF2-40B4-BE49-F238E27FC236}">
                <a16:creationId xmlns:a16="http://schemas.microsoft.com/office/drawing/2014/main" id="{2F06CBB8-0905-4E7C-B95F-2FD344B2B0D7}"/>
              </a:ext>
            </a:extLst>
          </p:cNvPr>
          <p:cNvSpPr>
            <a:spLocks noGrp="1"/>
          </p:cNvSpPr>
          <p:nvPr>
            <p:ph type="body" sz="quarter" idx="17" hasCustomPrompt="1"/>
          </p:nvPr>
        </p:nvSpPr>
        <p:spPr>
          <a:xfrm>
            <a:off x="0" y="6278876"/>
            <a:ext cx="633831" cy="147829"/>
          </a:xfrm>
          <a:custGeom>
            <a:avLst/>
            <a:gdLst>
              <a:gd name="connsiteX0" fmla="*/ 304800 w 2446969"/>
              <a:gd name="connsiteY0" fmla="*/ 9936 h 201600"/>
              <a:gd name="connsiteX1" fmla="*/ 326230 w 2446969"/>
              <a:gd name="connsiteY1" fmla="*/ 9936 h 201600"/>
              <a:gd name="connsiteX2" fmla="*/ 565841 w 2446969"/>
              <a:gd name="connsiteY2" fmla="*/ 9936 h 201600"/>
              <a:gd name="connsiteX3" fmla="*/ 624601 w 2446969"/>
              <a:gd name="connsiteY3" fmla="*/ 9936 h 201600"/>
              <a:gd name="connsiteX4" fmla="*/ 649894 w 2446969"/>
              <a:gd name="connsiteY4" fmla="*/ 9936 h 201600"/>
              <a:gd name="connsiteX5" fmla="*/ 720674 w 2446969"/>
              <a:gd name="connsiteY5" fmla="*/ 9936 h 201600"/>
              <a:gd name="connsiteX6" fmla="*/ 815203 w 2446969"/>
              <a:gd name="connsiteY6" fmla="*/ 9936 h 201600"/>
              <a:gd name="connsiteX7" fmla="*/ 909624 w 2446969"/>
              <a:gd name="connsiteY7" fmla="*/ 9936 h 201600"/>
              <a:gd name="connsiteX8" fmla="*/ 938629 w 2446969"/>
              <a:gd name="connsiteY8" fmla="*/ 83825 h 201600"/>
              <a:gd name="connsiteX9" fmla="*/ 908257 w 2446969"/>
              <a:gd name="connsiteY9" fmla="*/ 157135 h 201600"/>
              <a:gd name="connsiteX10" fmla="*/ 720674 w 2446969"/>
              <a:gd name="connsiteY10" fmla="*/ 157552 h 201600"/>
              <a:gd name="connsiteX11" fmla="*/ 720674 w 2446969"/>
              <a:gd name="connsiteY11" fmla="*/ 157765 h 201600"/>
              <a:gd name="connsiteX12" fmla="*/ 649894 w 2446969"/>
              <a:gd name="connsiteY12" fmla="*/ 157765 h 201600"/>
              <a:gd name="connsiteX13" fmla="*/ 624601 w 2446969"/>
              <a:gd name="connsiteY13" fmla="*/ 157765 h 201600"/>
              <a:gd name="connsiteX14" fmla="*/ 565841 w 2446969"/>
              <a:gd name="connsiteY14" fmla="*/ 157765 h 201600"/>
              <a:gd name="connsiteX15" fmla="*/ 326230 w 2446969"/>
              <a:gd name="connsiteY15" fmla="*/ 157765 h 201600"/>
              <a:gd name="connsiteX16" fmla="*/ 304800 w 2446969"/>
              <a:gd name="connsiteY16" fmla="*/ 157765 h 201600"/>
              <a:gd name="connsiteX17" fmla="*/ 1564320 w 2446969"/>
              <a:gd name="connsiteY17" fmla="*/ 0 h 201600"/>
              <a:gd name="connsiteX18" fmla="*/ 2446969 w 2446969"/>
              <a:gd name="connsiteY18" fmla="*/ 0 h 201600"/>
              <a:gd name="connsiteX19" fmla="*/ 2446969 w 2446969"/>
              <a:gd name="connsiteY19" fmla="*/ 201600 h 201600"/>
              <a:gd name="connsiteX20" fmla="*/ 1537211 w 2446969"/>
              <a:gd name="connsiteY20" fmla="*/ 201600 h 201600"/>
              <a:gd name="connsiteX21" fmla="*/ 1569747 w 2446969"/>
              <a:gd name="connsiteY21" fmla="*/ 138393 h 201600"/>
              <a:gd name="connsiteX22" fmla="*/ 1587361 w 2446969"/>
              <a:gd name="connsiteY22" fmla="*/ 74888 h 201600"/>
              <a:gd name="connsiteX23" fmla="*/ 1565466 w 2446969"/>
              <a:gd name="connsiteY23" fmla="*/ 2477 h 201600"/>
              <a:gd name="connsiteX24" fmla="*/ 0 w 2446969"/>
              <a:gd name="connsiteY24" fmla="*/ 0 h 201600"/>
              <a:gd name="connsiteX25" fmla="*/ 289896 w 2446969"/>
              <a:gd name="connsiteY25" fmla="*/ 0 h 201600"/>
              <a:gd name="connsiteX26" fmla="*/ 289896 w 2446969"/>
              <a:gd name="connsiteY26" fmla="*/ 201600 h 201600"/>
              <a:gd name="connsiteX27" fmla="*/ 0 w 2446969"/>
              <a:gd name="connsiteY27" fmla="*/ 201600 h 201600"/>
              <a:gd name="connsiteX0" fmla="*/ 304800 w 2446969"/>
              <a:gd name="connsiteY0" fmla="*/ 9936 h 201600"/>
              <a:gd name="connsiteX1" fmla="*/ 326230 w 2446969"/>
              <a:gd name="connsiteY1" fmla="*/ 9936 h 201600"/>
              <a:gd name="connsiteX2" fmla="*/ 565841 w 2446969"/>
              <a:gd name="connsiteY2" fmla="*/ 9936 h 201600"/>
              <a:gd name="connsiteX3" fmla="*/ 624601 w 2446969"/>
              <a:gd name="connsiteY3" fmla="*/ 9936 h 201600"/>
              <a:gd name="connsiteX4" fmla="*/ 649894 w 2446969"/>
              <a:gd name="connsiteY4" fmla="*/ 9936 h 201600"/>
              <a:gd name="connsiteX5" fmla="*/ 720674 w 2446969"/>
              <a:gd name="connsiteY5" fmla="*/ 9936 h 201600"/>
              <a:gd name="connsiteX6" fmla="*/ 815203 w 2446969"/>
              <a:gd name="connsiteY6" fmla="*/ 9936 h 201600"/>
              <a:gd name="connsiteX7" fmla="*/ 909624 w 2446969"/>
              <a:gd name="connsiteY7" fmla="*/ 9936 h 201600"/>
              <a:gd name="connsiteX8" fmla="*/ 938629 w 2446969"/>
              <a:gd name="connsiteY8" fmla="*/ 83825 h 201600"/>
              <a:gd name="connsiteX9" fmla="*/ 908257 w 2446969"/>
              <a:gd name="connsiteY9" fmla="*/ 157135 h 201600"/>
              <a:gd name="connsiteX10" fmla="*/ 720674 w 2446969"/>
              <a:gd name="connsiteY10" fmla="*/ 157552 h 201600"/>
              <a:gd name="connsiteX11" fmla="*/ 720674 w 2446969"/>
              <a:gd name="connsiteY11" fmla="*/ 157765 h 201600"/>
              <a:gd name="connsiteX12" fmla="*/ 649894 w 2446969"/>
              <a:gd name="connsiteY12" fmla="*/ 157765 h 201600"/>
              <a:gd name="connsiteX13" fmla="*/ 624601 w 2446969"/>
              <a:gd name="connsiteY13" fmla="*/ 157765 h 201600"/>
              <a:gd name="connsiteX14" fmla="*/ 565841 w 2446969"/>
              <a:gd name="connsiteY14" fmla="*/ 157765 h 201600"/>
              <a:gd name="connsiteX15" fmla="*/ 326230 w 2446969"/>
              <a:gd name="connsiteY15" fmla="*/ 157765 h 201600"/>
              <a:gd name="connsiteX16" fmla="*/ 304800 w 2446969"/>
              <a:gd name="connsiteY16" fmla="*/ 157765 h 201600"/>
              <a:gd name="connsiteX17" fmla="*/ 304800 w 2446969"/>
              <a:gd name="connsiteY17" fmla="*/ 9936 h 201600"/>
              <a:gd name="connsiteX18" fmla="*/ 1564320 w 2446969"/>
              <a:gd name="connsiteY18" fmla="*/ 0 h 201600"/>
              <a:gd name="connsiteX19" fmla="*/ 2446969 w 2446969"/>
              <a:gd name="connsiteY19" fmla="*/ 0 h 201600"/>
              <a:gd name="connsiteX20" fmla="*/ 2446969 w 2446969"/>
              <a:gd name="connsiteY20" fmla="*/ 201600 h 201600"/>
              <a:gd name="connsiteX21" fmla="*/ 1537211 w 2446969"/>
              <a:gd name="connsiteY21" fmla="*/ 201600 h 201600"/>
              <a:gd name="connsiteX22" fmla="*/ 1569747 w 2446969"/>
              <a:gd name="connsiteY22" fmla="*/ 138393 h 201600"/>
              <a:gd name="connsiteX23" fmla="*/ 1587361 w 2446969"/>
              <a:gd name="connsiteY23" fmla="*/ 74888 h 201600"/>
              <a:gd name="connsiteX24" fmla="*/ 1565466 w 2446969"/>
              <a:gd name="connsiteY24" fmla="*/ 2477 h 201600"/>
              <a:gd name="connsiteX25" fmla="*/ 1564320 w 2446969"/>
              <a:gd name="connsiteY25" fmla="*/ 0 h 201600"/>
              <a:gd name="connsiteX26" fmla="*/ 0 w 2446969"/>
              <a:gd name="connsiteY26" fmla="*/ 0 h 201600"/>
              <a:gd name="connsiteX27" fmla="*/ 289896 w 2446969"/>
              <a:gd name="connsiteY27" fmla="*/ 0 h 201600"/>
              <a:gd name="connsiteX28" fmla="*/ 0 w 2446969"/>
              <a:gd name="connsiteY28" fmla="*/ 201600 h 201600"/>
              <a:gd name="connsiteX29" fmla="*/ 0 w 2446969"/>
              <a:gd name="connsiteY29" fmla="*/ 0 h 201600"/>
              <a:gd name="connsiteX0" fmla="*/ 304800 w 2446969"/>
              <a:gd name="connsiteY0" fmla="*/ 9936 h 201600"/>
              <a:gd name="connsiteX1" fmla="*/ 326230 w 2446969"/>
              <a:gd name="connsiteY1" fmla="*/ 9936 h 201600"/>
              <a:gd name="connsiteX2" fmla="*/ 565841 w 2446969"/>
              <a:gd name="connsiteY2" fmla="*/ 9936 h 201600"/>
              <a:gd name="connsiteX3" fmla="*/ 624601 w 2446969"/>
              <a:gd name="connsiteY3" fmla="*/ 9936 h 201600"/>
              <a:gd name="connsiteX4" fmla="*/ 649894 w 2446969"/>
              <a:gd name="connsiteY4" fmla="*/ 9936 h 201600"/>
              <a:gd name="connsiteX5" fmla="*/ 720674 w 2446969"/>
              <a:gd name="connsiteY5" fmla="*/ 9936 h 201600"/>
              <a:gd name="connsiteX6" fmla="*/ 815203 w 2446969"/>
              <a:gd name="connsiteY6" fmla="*/ 9936 h 201600"/>
              <a:gd name="connsiteX7" fmla="*/ 909624 w 2446969"/>
              <a:gd name="connsiteY7" fmla="*/ 9936 h 201600"/>
              <a:gd name="connsiteX8" fmla="*/ 938629 w 2446969"/>
              <a:gd name="connsiteY8" fmla="*/ 83825 h 201600"/>
              <a:gd name="connsiteX9" fmla="*/ 908257 w 2446969"/>
              <a:gd name="connsiteY9" fmla="*/ 157135 h 201600"/>
              <a:gd name="connsiteX10" fmla="*/ 720674 w 2446969"/>
              <a:gd name="connsiteY10" fmla="*/ 157552 h 201600"/>
              <a:gd name="connsiteX11" fmla="*/ 720674 w 2446969"/>
              <a:gd name="connsiteY11" fmla="*/ 157765 h 201600"/>
              <a:gd name="connsiteX12" fmla="*/ 649894 w 2446969"/>
              <a:gd name="connsiteY12" fmla="*/ 157765 h 201600"/>
              <a:gd name="connsiteX13" fmla="*/ 624601 w 2446969"/>
              <a:gd name="connsiteY13" fmla="*/ 157765 h 201600"/>
              <a:gd name="connsiteX14" fmla="*/ 565841 w 2446969"/>
              <a:gd name="connsiteY14" fmla="*/ 157765 h 201600"/>
              <a:gd name="connsiteX15" fmla="*/ 326230 w 2446969"/>
              <a:gd name="connsiteY15" fmla="*/ 157765 h 201600"/>
              <a:gd name="connsiteX16" fmla="*/ 304800 w 2446969"/>
              <a:gd name="connsiteY16" fmla="*/ 157765 h 201600"/>
              <a:gd name="connsiteX17" fmla="*/ 304800 w 2446969"/>
              <a:gd name="connsiteY17" fmla="*/ 9936 h 201600"/>
              <a:gd name="connsiteX18" fmla="*/ 1564320 w 2446969"/>
              <a:gd name="connsiteY18" fmla="*/ 0 h 201600"/>
              <a:gd name="connsiteX19" fmla="*/ 2446969 w 2446969"/>
              <a:gd name="connsiteY19" fmla="*/ 0 h 201600"/>
              <a:gd name="connsiteX20" fmla="*/ 2446969 w 2446969"/>
              <a:gd name="connsiteY20" fmla="*/ 201600 h 201600"/>
              <a:gd name="connsiteX21" fmla="*/ 1537211 w 2446969"/>
              <a:gd name="connsiteY21" fmla="*/ 201600 h 201600"/>
              <a:gd name="connsiteX22" fmla="*/ 1569747 w 2446969"/>
              <a:gd name="connsiteY22" fmla="*/ 138393 h 201600"/>
              <a:gd name="connsiteX23" fmla="*/ 1587361 w 2446969"/>
              <a:gd name="connsiteY23" fmla="*/ 74888 h 201600"/>
              <a:gd name="connsiteX24" fmla="*/ 1565466 w 2446969"/>
              <a:gd name="connsiteY24" fmla="*/ 2477 h 201600"/>
              <a:gd name="connsiteX25" fmla="*/ 1564320 w 2446969"/>
              <a:gd name="connsiteY25" fmla="*/ 0 h 201600"/>
              <a:gd name="connsiteX26" fmla="*/ 0 w 2446969"/>
              <a:gd name="connsiteY26" fmla="*/ 0 h 201600"/>
              <a:gd name="connsiteX27" fmla="*/ 289896 w 2446969"/>
              <a:gd name="connsiteY27" fmla="*/ 0 h 201600"/>
              <a:gd name="connsiteX28" fmla="*/ 0 w 2446969"/>
              <a:gd name="connsiteY28" fmla="*/ 0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59520 w 2142169"/>
              <a:gd name="connsiteY18" fmla="*/ 0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4947 w 2142169"/>
              <a:gd name="connsiteY22" fmla="*/ 138393 h 201600"/>
              <a:gd name="connsiteX23" fmla="*/ 1282561 w 2142169"/>
              <a:gd name="connsiteY23" fmla="*/ 74888 h 201600"/>
              <a:gd name="connsiteX24" fmla="*/ 1260666 w 2142169"/>
              <a:gd name="connsiteY24" fmla="*/ 2477 h 201600"/>
              <a:gd name="connsiteX25" fmla="*/ 1259520 w 2142169"/>
              <a:gd name="connsiteY25" fmla="*/ 0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4947 w 2142169"/>
              <a:gd name="connsiteY22" fmla="*/ 138393 h 201600"/>
              <a:gd name="connsiteX23" fmla="*/ 1282561 w 2142169"/>
              <a:gd name="connsiteY23" fmla="*/ 74888 h 201600"/>
              <a:gd name="connsiteX24" fmla="*/ 1260666 w 2142169"/>
              <a:gd name="connsiteY24" fmla="*/ 2477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4947 w 2142169"/>
              <a:gd name="connsiteY22" fmla="*/ 138393 h 201600"/>
              <a:gd name="connsiteX23" fmla="*/ 1260666 w 2142169"/>
              <a:gd name="connsiteY23" fmla="*/ 2477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32411 w 2142169"/>
              <a:gd name="connsiteY21" fmla="*/ 201600 h 201600"/>
              <a:gd name="connsiteX22" fmla="*/ 1260666 w 2142169"/>
              <a:gd name="connsiteY22" fmla="*/ 2477 h 201600"/>
              <a:gd name="connsiteX0" fmla="*/ 0 w 2142169"/>
              <a:gd name="connsiteY0" fmla="*/ 9936 h 201600"/>
              <a:gd name="connsiteX1" fmla="*/ 21430 w 2142169"/>
              <a:gd name="connsiteY1" fmla="*/ 9936 h 201600"/>
              <a:gd name="connsiteX2" fmla="*/ 261041 w 2142169"/>
              <a:gd name="connsiteY2" fmla="*/ 9936 h 201600"/>
              <a:gd name="connsiteX3" fmla="*/ 319801 w 2142169"/>
              <a:gd name="connsiteY3" fmla="*/ 9936 h 201600"/>
              <a:gd name="connsiteX4" fmla="*/ 345094 w 2142169"/>
              <a:gd name="connsiteY4" fmla="*/ 9936 h 201600"/>
              <a:gd name="connsiteX5" fmla="*/ 415874 w 2142169"/>
              <a:gd name="connsiteY5" fmla="*/ 9936 h 201600"/>
              <a:gd name="connsiteX6" fmla="*/ 510403 w 2142169"/>
              <a:gd name="connsiteY6" fmla="*/ 9936 h 201600"/>
              <a:gd name="connsiteX7" fmla="*/ 604824 w 2142169"/>
              <a:gd name="connsiteY7" fmla="*/ 9936 h 201600"/>
              <a:gd name="connsiteX8" fmla="*/ 633829 w 2142169"/>
              <a:gd name="connsiteY8" fmla="*/ 83825 h 201600"/>
              <a:gd name="connsiteX9" fmla="*/ 603457 w 2142169"/>
              <a:gd name="connsiteY9" fmla="*/ 157135 h 201600"/>
              <a:gd name="connsiteX10" fmla="*/ 415874 w 2142169"/>
              <a:gd name="connsiteY10" fmla="*/ 157552 h 201600"/>
              <a:gd name="connsiteX11" fmla="*/ 415874 w 2142169"/>
              <a:gd name="connsiteY11" fmla="*/ 157765 h 201600"/>
              <a:gd name="connsiteX12" fmla="*/ 345094 w 2142169"/>
              <a:gd name="connsiteY12" fmla="*/ 157765 h 201600"/>
              <a:gd name="connsiteX13" fmla="*/ 319801 w 2142169"/>
              <a:gd name="connsiteY13" fmla="*/ 157765 h 201600"/>
              <a:gd name="connsiteX14" fmla="*/ 261041 w 2142169"/>
              <a:gd name="connsiteY14" fmla="*/ 157765 h 201600"/>
              <a:gd name="connsiteX15" fmla="*/ 21430 w 2142169"/>
              <a:gd name="connsiteY15" fmla="*/ 157765 h 201600"/>
              <a:gd name="connsiteX16" fmla="*/ 0 w 2142169"/>
              <a:gd name="connsiteY16" fmla="*/ 157765 h 201600"/>
              <a:gd name="connsiteX17" fmla="*/ 0 w 2142169"/>
              <a:gd name="connsiteY17" fmla="*/ 9936 h 201600"/>
              <a:gd name="connsiteX18" fmla="*/ 1260666 w 2142169"/>
              <a:gd name="connsiteY18" fmla="*/ 2477 h 201600"/>
              <a:gd name="connsiteX19" fmla="*/ 2142169 w 2142169"/>
              <a:gd name="connsiteY19" fmla="*/ 0 h 201600"/>
              <a:gd name="connsiteX20" fmla="*/ 2142169 w 2142169"/>
              <a:gd name="connsiteY20" fmla="*/ 201600 h 201600"/>
              <a:gd name="connsiteX21" fmla="*/ 1260666 w 2142169"/>
              <a:gd name="connsiteY21" fmla="*/ 2477 h 201600"/>
              <a:gd name="connsiteX0" fmla="*/ 0 w 2142169"/>
              <a:gd name="connsiteY0" fmla="*/ 9936 h 157765"/>
              <a:gd name="connsiteX1" fmla="*/ 21430 w 2142169"/>
              <a:gd name="connsiteY1" fmla="*/ 9936 h 157765"/>
              <a:gd name="connsiteX2" fmla="*/ 261041 w 2142169"/>
              <a:gd name="connsiteY2" fmla="*/ 9936 h 157765"/>
              <a:gd name="connsiteX3" fmla="*/ 319801 w 2142169"/>
              <a:gd name="connsiteY3" fmla="*/ 9936 h 157765"/>
              <a:gd name="connsiteX4" fmla="*/ 345094 w 2142169"/>
              <a:gd name="connsiteY4" fmla="*/ 9936 h 157765"/>
              <a:gd name="connsiteX5" fmla="*/ 415874 w 2142169"/>
              <a:gd name="connsiteY5" fmla="*/ 9936 h 157765"/>
              <a:gd name="connsiteX6" fmla="*/ 510403 w 2142169"/>
              <a:gd name="connsiteY6" fmla="*/ 9936 h 157765"/>
              <a:gd name="connsiteX7" fmla="*/ 604824 w 2142169"/>
              <a:gd name="connsiteY7" fmla="*/ 9936 h 157765"/>
              <a:gd name="connsiteX8" fmla="*/ 633829 w 2142169"/>
              <a:gd name="connsiteY8" fmla="*/ 83825 h 157765"/>
              <a:gd name="connsiteX9" fmla="*/ 603457 w 2142169"/>
              <a:gd name="connsiteY9" fmla="*/ 157135 h 157765"/>
              <a:gd name="connsiteX10" fmla="*/ 415874 w 2142169"/>
              <a:gd name="connsiteY10" fmla="*/ 157552 h 157765"/>
              <a:gd name="connsiteX11" fmla="*/ 415874 w 2142169"/>
              <a:gd name="connsiteY11" fmla="*/ 157765 h 157765"/>
              <a:gd name="connsiteX12" fmla="*/ 345094 w 2142169"/>
              <a:gd name="connsiteY12" fmla="*/ 157765 h 157765"/>
              <a:gd name="connsiteX13" fmla="*/ 319801 w 2142169"/>
              <a:gd name="connsiteY13" fmla="*/ 157765 h 157765"/>
              <a:gd name="connsiteX14" fmla="*/ 261041 w 2142169"/>
              <a:gd name="connsiteY14" fmla="*/ 157765 h 157765"/>
              <a:gd name="connsiteX15" fmla="*/ 21430 w 2142169"/>
              <a:gd name="connsiteY15" fmla="*/ 157765 h 157765"/>
              <a:gd name="connsiteX16" fmla="*/ 0 w 2142169"/>
              <a:gd name="connsiteY16" fmla="*/ 157765 h 157765"/>
              <a:gd name="connsiteX17" fmla="*/ 0 w 2142169"/>
              <a:gd name="connsiteY17" fmla="*/ 9936 h 157765"/>
              <a:gd name="connsiteX18" fmla="*/ 1260666 w 2142169"/>
              <a:gd name="connsiteY18" fmla="*/ 2477 h 157765"/>
              <a:gd name="connsiteX19" fmla="*/ 2142169 w 2142169"/>
              <a:gd name="connsiteY19" fmla="*/ 0 h 157765"/>
              <a:gd name="connsiteX20" fmla="*/ 1260666 w 2142169"/>
              <a:gd name="connsiteY20" fmla="*/ 2477 h 157765"/>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415874 w 633831"/>
              <a:gd name="connsiteY11" fmla="*/ 147829 h 147829"/>
              <a:gd name="connsiteX12" fmla="*/ 345094 w 633831"/>
              <a:gd name="connsiteY12" fmla="*/ 147829 h 147829"/>
              <a:gd name="connsiteX13" fmla="*/ 319801 w 633831"/>
              <a:gd name="connsiteY13" fmla="*/ 147829 h 147829"/>
              <a:gd name="connsiteX14" fmla="*/ 261041 w 633831"/>
              <a:gd name="connsiteY14" fmla="*/ 147829 h 147829"/>
              <a:gd name="connsiteX15" fmla="*/ 21430 w 633831"/>
              <a:gd name="connsiteY15" fmla="*/ 147829 h 147829"/>
              <a:gd name="connsiteX16" fmla="*/ 0 w 633831"/>
              <a:gd name="connsiteY16" fmla="*/ 147829 h 147829"/>
              <a:gd name="connsiteX17" fmla="*/ 0 w 633831"/>
              <a:gd name="connsiteY17"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345094 w 633831"/>
              <a:gd name="connsiteY11" fmla="*/ 147829 h 147829"/>
              <a:gd name="connsiteX12" fmla="*/ 319801 w 633831"/>
              <a:gd name="connsiteY12" fmla="*/ 147829 h 147829"/>
              <a:gd name="connsiteX13" fmla="*/ 261041 w 633831"/>
              <a:gd name="connsiteY13" fmla="*/ 147829 h 147829"/>
              <a:gd name="connsiteX14" fmla="*/ 21430 w 633831"/>
              <a:gd name="connsiteY14" fmla="*/ 147829 h 147829"/>
              <a:gd name="connsiteX15" fmla="*/ 0 w 633831"/>
              <a:gd name="connsiteY15" fmla="*/ 147829 h 147829"/>
              <a:gd name="connsiteX16" fmla="*/ 0 w 633831"/>
              <a:gd name="connsiteY16"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345094 w 633831"/>
              <a:gd name="connsiteY10" fmla="*/ 147829 h 147829"/>
              <a:gd name="connsiteX11" fmla="*/ 319801 w 633831"/>
              <a:gd name="connsiteY11" fmla="*/ 147829 h 147829"/>
              <a:gd name="connsiteX12" fmla="*/ 261041 w 633831"/>
              <a:gd name="connsiteY12" fmla="*/ 147829 h 147829"/>
              <a:gd name="connsiteX13" fmla="*/ 21430 w 633831"/>
              <a:gd name="connsiteY13" fmla="*/ 147829 h 147829"/>
              <a:gd name="connsiteX14" fmla="*/ 0 w 633831"/>
              <a:gd name="connsiteY14" fmla="*/ 147829 h 147829"/>
              <a:gd name="connsiteX15" fmla="*/ 0 w 633831"/>
              <a:gd name="connsiteY15"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319801 w 633831"/>
              <a:gd name="connsiteY10" fmla="*/ 147829 h 147829"/>
              <a:gd name="connsiteX11" fmla="*/ 261041 w 633831"/>
              <a:gd name="connsiteY11" fmla="*/ 147829 h 147829"/>
              <a:gd name="connsiteX12" fmla="*/ 21430 w 633831"/>
              <a:gd name="connsiteY12" fmla="*/ 147829 h 147829"/>
              <a:gd name="connsiteX13" fmla="*/ 0 w 633831"/>
              <a:gd name="connsiteY13" fmla="*/ 147829 h 147829"/>
              <a:gd name="connsiteX14" fmla="*/ 0 w 633831"/>
              <a:gd name="connsiteY14"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261041 w 633831"/>
              <a:gd name="connsiteY10" fmla="*/ 147829 h 147829"/>
              <a:gd name="connsiteX11" fmla="*/ 21430 w 633831"/>
              <a:gd name="connsiteY11" fmla="*/ 147829 h 147829"/>
              <a:gd name="connsiteX12" fmla="*/ 0 w 633831"/>
              <a:gd name="connsiteY12" fmla="*/ 147829 h 147829"/>
              <a:gd name="connsiteX13" fmla="*/ 0 w 633831"/>
              <a:gd name="connsiteY13"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21430 w 633831"/>
              <a:gd name="connsiteY10" fmla="*/ 147829 h 147829"/>
              <a:gd name="connsiteX11" fmla="*/ 0 w 633831"/>
              <a:gd name="connsiteY11" fmla="*/ 147829 h 147829"/>
              <a:gd name="connsiteX12" fmla="*/ 0 w 633831"/>
              <a:gd name="connsiteY12"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0 w 633831"/>
              <a:gd name="connsiteY10" fmla="*/ 147829 h 147829"/>
              <a:gd name="connsiteX11" fmla="*/ 0 w 633831"/>
              <a:gd name="connsiteY11"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0 w 633831"/>
              <a:gd name="connsiteY10" fmla="*/ 147829 h 147829"/>
              <a:gd name="connsiteX11" fmla="*/ 0 w 633831"/>
              <a:gd name="connsiteY11" fmla="*/ 0 h 147829"/>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415874 w 633831"/>
              <a:gd name="connsiteY4" fmla="*/ 0 h 147829"/>
              <a:gd name="connsiteX5" fmla="*/ 510403 w 633831"/>
              <a:gd name="connsiteY5" fmla="*/ 0 h 147829"/>
              <a:gd name="connsiteX6" fmla="*/ 604824 w 633831"/>
              <a:gd name="connsiteY6" fmla="*/ 0 h 147829"/>
              <a:gd name="connsiteX7" fmla="*/ 633829 w 633831"/>
              <a:gd name="connsiteY7" fmla="*/ 73889 h 147829"/>
              <a:gd name="connsiteX8" fmla="*/ 603457 w 633831"/>
              <a:gd name="connsiteY8" fmla="*/ 147199 h 147829"/>
              <a:gd name="connsiteX9" fmla="*/ 0 w 633831"/>
              <a:gd name="connsiteY9" fmla="*/ 147829 h 147829"/>
              <a:gd name="connsiteX10" fmla="*/ 0 w 633831"/>
              <a:gd name="connsiteY10" fmla="*/ 0 h 147829"/>
              <a:gd name="connsiteX0" fmla="*/ 0 w 633831"/>
              <a:gd name="connsiteY0" fmla="*/ 0 h 147829"/>
              <a:gd name="connsiteX1" fmla="*/ 21430 w 633831"/>
              <a:gd name="connsiteY1" fmla="*/ 0 h 147829"/>
              <a:gd name="connsiteX2" fmla="*/ 261041 w 633831"/>
              <a:gd name="connsiteY2" fmla="*/ 0 h 147829"/>
              <a:gd name="connsiteX3" fmla="*/ 415874 w 633831"/>
              <a:gd name="connsiteY3" fmla="*/ 0 h 147829"/>
              <a:gd name="connsiteX4" fmla="*/ 510403 w 633831"/>
              <a:gd name="connsiteY4" fmla="*/ 0 h 147829"/>
              <a:gd name="connsiteX5" fmla="*/ 604824 w 633831"/>
              <a:gd name="connsiteY5" fmla="*/ 0 h 147829"/>
              <a:gd name="connsiteX6" fmla="*/ 633829 w 633831"/>
              <a:gd name="connsiteY6" fmla="*/ 73889 h 147829"/>
              <a:gd name="connsiteX7" fmla="*/ 603457 w 633831"/>
              <a:gd name="connsiteY7" fmla="*/ 147199 h 147829"/>
              <a:gd name="connsiteX8" fmla="*/ 0 w 633831"/>
              <a:gd name="connsiteY8" fmla="*/ 147829 h 147829"/>
              <a:gd name="connsiteX9" fmla="*/ 0 w 633831"/>
              <a:gd name="connsiteY9" fmla="*/ 0 h 147829"/>
              <a:gd name="connsiteX0" fmla="*/ 0 w 633831"/>
              <a:gd name="connsiteY0" fmla="*/ 0 h 147829"/>
              <a:gd name="connsiteX1" fmla="*/ 21430 w 633831"/>
              <a:gd name="connsiteY1" fmla="*/ 0 h 147829"/>
              <a:gd name="connsiteX2" fmla="*/ 415874 w 633831"/>
              <a:gd name="connsiteY2" fmla="*/ 0 h 147829"/>
              <a:gd name="connsiteX3" fmla="*/ 510403 w 633831"/>
              <a:gd name="connsiteY3" fmla="*/ 0 h 147829"/>
              <a:gd name="connsiteX4" fmla="*/ 604824 w 633831"/>
              <a:gd name="connsiteY4" fmla="*/ 0 h 147829"/>
              <a:gd name="connsiteX5" fmla="*/ 633829 w 633831"/>
              <a:gd name="connsiteY5" fmla="*/ 73889 h 147829"/>
              <a:gd name="connsiteX6" fmla="*/ 603457 w 633831"/>
              <a:gd name="connsiteY6" fmla="*/ 147199 h 147829"/>
              <a:gd name="connsiteX7" fmla="*/ 0 w 633831"/>
              <a:gd name="connsiteY7" fmla="*/ 147829 h 147829"/>
              <a:gd name="connsiteX8" fmla="*/ 0 w 633831"/>
              <a:gd name="connsiteY8" fmla="*/ 0 h 147829"/>
              <a:gd name="connsiteX0" fmla="*/ 0 w 633831"/>
              <a:gd name="connsiteY0" fmla="*/ 0 h 147829"/>
              <a:gd name="connsiteX1" fmla="*/ 415874 w 633831"/>
              <a:gd name="connsiteY1" fmla="*/ 0 h 147829"/>
              <a:gd name="connsiteX2" fmla="*/ 510403 w 633831"/>
              <a:gd name="connsiteY2" fmla="*/ 0 h 147829"/>
              <a:gd name="connsiteX3" fmla="*/ 604824 w 633831"/>
              <a:gd name="connsiteY3" fmla="*/ 0 h 147829"/>
              <a:gd name="connsiteX4" fmla="*/ 633829 w 633831"/>
              <a:gd name="connsiteY4" fmla="*/ 73889 h 147829"/>
              <a:gd name="connsiteX5" fmla="*/ 603457 w 633831"/>
              <a:gd name="connsiteY5" fmla="*/ 147199 h 147829"/>
              <a:gd name="connsiteX6" fmla="*/ 0 w 633831"/>
              <a:gd name="connsiteY6" fmla="*/ 147829 h 147829"/>
              <a:gd name="connsiteX7" fmla="*/ 0 w 633831"/>
              <a:gd name="connsiteY7" fmla="*/ 0 h 147829"/>
              <a:gd name="connsiteX0" fmla="*/ 0 w 633831"/>
              <a:gd name="connsiteY0" fmla="*/ 0 h 147829"/>
              <a:gd name="connsiteX1" fmla="*/ 510403 w 633831"/>
              <a:gd name="connsiteY1" fmla="*/ 0 h 147829"/>
              <a:gd name="connsiteX2" fmla="*/ 604824 w 633831"/>
              <a:gd name="connsiteY2" fmla="*/ 0 h 147829"/>
              <a:gd name="connsiteX3" fmla="*/ 633829 w 633831"/>
              <a:gd name="connsiteY3" fmla="*/ 73889 h 147829"/>
              <a:gd name="connsiteX4" fmla="*/ 603457 w 633831"/>
              <a:gd name="connsiteY4" fmla="*/ 147199 h 147829"/>
              <a:gd name="connsiteX5" fmla="*/ 0 w 633831"/>
              <a:gd name="connsiteY5" fmla="*/ 147829 h 147829"/>
              <a:gd name="connsiteX6" fmla="*/ 0 w 633831"/>
              <a:gd name="connsiteY6" fmla="*/ 0 h 147829"/>
              <a:gd name="connsiteX0" fmla="*/ 0 w 633831"/>
              <a:gd name="connsiteY0" fmla="*/ 0 h 147829"/>
              <a:gd name="connsiteX1" fmla="*/ 604824 w 633831"/>
              <a:gd name="connsiteY1" fmla="*/ 0 h 147829"/>
              <a:gd name="connsiteX2" fmla="*/ 633829 w 633831"/>
              <a:gd name="connsiteY2" fmla="*/ 73889 h 147829"/>
              <a:gd name="connsiteX3" fmla="*/ 603457 w 633831"/>
              <a:gd name="connsiteY3" fmla="*/ 147199 h 147829"/>
              <a:gd name="connsiteX4" fmla="*/ 0 w 633831"/>
              <a:gd name="connsiteY4" fmla="*/ 147829 h 147829"/>
              <a:gd name="connsiteX5" fmla="*/ 0 w 633831"/>
              <a:gd name="connsiteY5" fmla="*/ 0 h 14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831" h="147829">
                <a:moveTo>
                  <a:pt x="0" y="0"/>
                </a:moveTo>
                <a:lnTo>
                  <a:pt x="604824" y="0"/>
                </a:lnTo>
                <a:cubicBezTo>
                  <a:pt x="614746" y="20344"/>
                  <a:pt x="634057" y="57734"/>
                  <a:pt x="633829" y="73889"/>
                </a:cubicBezTo>
                <a:cubicBezTo>
                  <a:pt x="633601" y="90044"/>
                  <a:pt x="621235" y="116025"/>
                  <a:pt x="603457" y="147199"/>
                </a:cubicBezTo>
                <a:lnTo>
                  <a:pt x="0" y="147829"/>
                </a:lnTo>
                <a:lnTo>
                  <a:pt x="0" y="0"/>
                </a:lnTo>
                <a:close/>
              </a:path>
            </a:pathLst>
          </a:custGeom>
          <a:solidFill>
            <a:schemeClr val="bg1"/>
          </a:solidFill>
          <a:ln w="12700">
            <a:noFill/>
          </a:ln>
        </p:spPr>
        <p:txBody>
          <a:bodyPr wrap="square">
            <a:noAutofit/>
          </a:bodyPr>
          <a:lstStyle>
            <a:lvl1pPr marL="0" indent="0">
              <a:buFont typeface="Arial" panose="020B0604020202020204" pitchFamily="34" charset="0"/>
              <a:buNone/>
              <a:defRPr/>
            </a:lvl1pPr>
          </a:lstStyle>
          <a:p>
            <a:pPr lvl="0"/>
            <a:r>
              <a:rPr lang="nl-NL" dirty="0"/>
              <a:t> </a:t>
            </a:r>
          </a:p>
        </p:txBody>
      </p:sp>
    </p:spTree>
    <p:extLst>
      <p:ext uri="{BB962C8B-B14F-4D97-AF65-F5344CB8AC3E}">
        <p14:creationId xmlns:p14="http://schemas.microsoft.com/office/powerpoint/2010/main" val="361103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ext eingerückt">
    <p:spTree>
      <p:nvGrpSpPr>
        <p:cNvPr id="1" name=""/>
        <p:cNvGrpSpPr/>
        <p:nvPr/>
      </p:nvGrpSpPr>
      <p:grpSpPr>
        <a:xfrm>
          <a:off x="0" y="0"/>
          <a:ext cx="0" cy="0"/>
          <a:chOff x="0" y="0"/>
          <a:chExt cx="0" cy="0"/>
        </a:xfrm>
      </p:grpSpPr>
      <p:pic>
        <p:nvPicPr>
          <p:cNvPr id="13" name="Grafik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32538" y="123384"/>
            <a:ext cx="2176969" cy="791016"/>
          </a:xfrm>
          <a:prstGeom prst="rect">
            <a:avLst/>
          </a:prstGeom>
        </p:spPr>
      </p:pic>
      <p:sp>
        <p:nvSpPr>
          <p:cNvPr id="9" name="Foliennummernplatzhalter 5"/>
          <p:cNvSpPr txBox="1">
            <a:spLocks/>
          </p:cNvSpPr>
          <p:nvPr userDrawn="1"/>
        </p:nvSpPr>
        <p:spPr>
          <a:xfrm>
            <a:off x="10351212" y="631841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8E821C83-84D4-BF47-9BEB-DE7BBACF0AD8}" type="slidenum">
              <a:rPr lang="de-DE" sz="1067" smtClean="0"/>
              <a:pPr/>
              <a:t>‹#›</a:t>
            </a:fld>
            <a:endParaRPr lang="de-DE" sz="1067" dirty="0"/>
          </a:p>
        </p:txBody>
      </p:sp>
      <p:sp>
        <p:nvSpPr>
          <p:cNvPr id="10" name="Textplatzhalter 19"/>
          <p:cNvSpPr>
            <a:spLocks noGrp="1"/>
          </p:cNvSpPr>
          <p:nvPr>
            <p:ph type="body" sz="quarter" idx="15" hasCustomPrompt="1"/>
          </p:nvPr>
        </p:nvSpPr>
        <p:spPr>
          <a:xfrm>
            <a:off x="4210127" y="6280134"/>
            <a:ext cx="3064933" cy="448733"/>
          </a:xfrm>
          <a:prstGeom prst="rect">
            <a:avLst/>
          </a:prstGeom>
        </p:spPr>
        <p:txBody>
          <a:bodyPr vert="horz"/>
          <a:lstStyle>
            <a:lvl1pPr marL="0" indent="0">
              <a:buNone/>
              <a:defRPr sz="1000"/>
            </a:lvl1pPr>
          </a:lstStyle>
          <a:p>
            <a:pPr lvl="0"/>
            <a:r>
              <a:rPr lang="de-DE" dirty="0"/>
              <a:t>Titel der PPP</a:t>
            </a:r>
          </a:p>
          <a:p>
            <a:pPr lvl="0"/>
            <a:r>
              <a:rPr lang="de-DE" dirty="0"/>
              <a:t>Kapiteltitel</a:t>
            </a:r>
          </a:p>
        </p:txBody>
      </p:sp>
      <p:sp>
        <p:nvSpPr>
          <p:cNvPr id="11" name="Textplatzhalter 21"/>
          <p:cNvSpPr>
            <a:spLocks noGrp="1"/>
          </p:cNvSpPr>
          <p:nvPr>
            <p:ph type="body" sz="quarter" idx="16" hasCustomPrompt="1"/>
          </p:nvPr>
        </p:nvSpPr>
        <p:spPr>
          <a:xfrm>
            <a:off x="7982044" y="6273784"/>
            <a:ext cx="2508249" cy="448733"/>
          </a:xfrm>
          <a:prstGeom prst="rect">
            <a:avLst/>
          </a:prstGeom>
        </p:spPr>
        <p:txBody>
          <a:bodyPr vert="horz"/>
          <a:lstStyle>
            <a:lvl1pPr marL="0" indent="0">
              <a:buNone/>
              <a:defRPr sz="1000"/>
            </a:lvl1pPr>
            <a:lvl2pPr marL="609585" indent="0">
              <a:buNone/>
              <a:defRPr sz="1000"/>
            </a:lvl2pPr>
            <a:lvl3pPr marL="1219170" indent="0">
              <a:buNone/>
              <a:defRPr sz="1000"/>
            </a:lvl3pPr>
            <a:lvl4pPr marL="1828754" indent="0">
              <a:buNone/>
              <a:defRPr sz="1000"/>
            </a:lvl4pPr>
            <a:lvl5pPr marL="2438339" indent="0">
              <a:buNone/>
              <a:defRPr sz="1000"/>
            </a:lvl5pPr>
          </a:lstStyle>
          <a:p>
            <a:pPr lvl="0"/>
            <a:r>
              <a:rPr lang="de-DE" dirty="0"/>
              <a:t>Name der Unterfolie</a:t>
            </a:r>
          </a:p>
        </p:txBody>
      </p:sp>
      <p:sp>
        <p:nvSpPr>
          <p:cNvPr id="16" name="Inhaltsplatzhalter 2"/>
          <p:cNvSpPr>
            <a:spLocks noGrp="1"/>
          </p:cNvSpPr>
          <p:nvPr>
            <p:ph idx="17" hasCustomPrompt="1"/>
          </p:nvPr>
        </p:nvSpPr>
        <p:spPr>
          <a:xfrm>
            <a:off x="4171797" y="2285999"/>
            <a:ext cx="7416800" cy="3354467"/>
          </a:xfrm>
          <a:prstGeom prst="rect">
            <a:avLst/>
          </a:prstGeom>
        </p:spPr>
        <p:txBody>
          <a:bodyPr>
            <a:norm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2133" baseline="0">
                <a:solidFill>
                  <a:schemeClr val="tx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30" name="Gerade Verbindung 2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1" name="Gerade Verbindung 30"/>
          <p:cNvCxnSpPr/>
          <p:nvPr userDrawn="1"/>
        </p:nvCxnSpPr>
        <p:spPr>
          <a:xfrm>
            <a:off x="4239760"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2" name="Gerade Verbindung 31"/>
          <p:cNvCxnSpPr/>
          <p:nvPr userDrawn="1"/>
        </p:nvCxnSpPr>
        <p:spPr>
          <a:xfrm>
            <a:off x="8020051" y="6227218"/>
            <a:ext cx="0" cy="234949"/>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15"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nHeadline</a:t>
            </a:r>
            <a:endParaRPr lang="de-DE" dirty="0"/>
          </a:p>
        </p:txBody>
      </p:sp>
      <p:sp>
        <p:nvSpPr>
          <p:cNvPr id="18" name="Textplatzhalter 4"/>
          <p:cNvSpPr>
            <a:spLocks noGrp="1"/>
          </p:cNvSpPr>
          <p:nvPr>
            <p:ph type="body" sz="quarter" idx="20"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hema</a:t>
            </a:r>
            <a:endParaRPr lang="de-DE" dirty="0"/>
          </a:p>
        </p:txBody>
      </p:sp>
      <p:sp>
        <p:nvSpPr>
          <p:cNvPr id="14" name="Textfeld 13"/>
          <p:cNvSpPr txBox="1"/>
          <p:nvPr userDrawn="1"/>
        </p:nvSpPr>
        <p:spPr>
          <a:xfrm>
            <a:off x="406385" y="6280469"/>
            <a:ext cx="2402291" cy="389787"/>
          </a:xfrm>
          <a:prstGeom prst="rect">
            <a:avLst/>
          </a:prstGeom>
          <a:noFill/>
        </p:spPr>
        <p:txBody>
          <a:bodyPr wrap="square" rtlCol="0">
            <a:spAutoFit/>
          </a:bodyPr>
          <a:lstStyle/>
          <a:p>
            <a:pPr defTabSz="609585">
              <a:defRPr/>
            </a:pPr>
            <a:r>
              <a:rPr lang="de-DE" sz="933" dirty="0">
                <a:solidFill>
                  <a:srgbClr val="0092D2"/>
                </a:solidFill>
                <a:latin typeface="Verdana"/>
                <a:cs typeface="Verdana"/>
              </a:rPr>
              <a:t>www.internationaldataspaces.org</a:t>
            </a:r>
          </a:p>
          <a:p>
            <a:pPr defTabSz="609585"/>
            <a:endParaRPr lang="de-DE" sz="1000" dirty="0">
              <a:solidFill>
                <a:srgbClr val="0092D2"/>
              </a:solidFill>
              <a:latin typeface="Verdana"/>
              <a:cs typeface="Verdana"/>
            </a:endParaRPr>
          </a:p>
        </p:txBody>
      </p:sp>
    </p:spTree>
    <p:extLst>
      <p:ext uri="{BB962C8B-B14F-4D97-AF65-F5344CB8AC3E}">
        <p14:creationId xmlns:p14="http://schemas.microsoft.com/office/powerpoint/2010/main" val="17003645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_Themenheadline leere Seite">
    <p:spTree>
      <p:nvGrpSpPr>
        <p:cNvPr id="1" name=""/>
        <p:cNvGrpSpPr/>
        <p:nvPr/>
      </p:nvGrpSpPr>
      <p:grpSpPr>
        <a:xfrm>
          <a:off x="0" y="0"/>
          <a:ext cx="0" cy="0"/>
          <a:chOff x="0" y="0"/>
          <a:chExt cx="0" cy="0"/>
        </a:xfrm>
      </p:grpSpPr>
      <p:sp>
        <p:nvSpPr>
          <p:cNvPr id="7" name="Foliennummernplatzhalter 5"/>
          <p:cNvSpPr txBox="1">
            <a:spLocks/>
          </p:cNvSpPr>
          <p:nvPr userDrawn="1"/>
        </p:nvSpPr>
        <p:spPr>
          <a:xfrm>
            <a:off x="10351212" y="631841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prstClr val="black"/>
                </a:solidFill>
              </a:rPr>
              <a:t>//</a:t>
            </a:r>
            <a:r>
              <a:rPr lang="de-DE" sz="1067" dirty="0"/>
              <a:t> </a:t>
            </a:r>
            <a:fld id="{DA28A8A7-1DE1-8B42-B22F-FAE404325B08}" type="slidenum">
              <a:rPr lang="de-DE" sz="1067" smtClean="0"/>
              <a:pPr/>
              <a:t>‹#›</a:t>
            </a:fld>
            <a:endParaRPr lang="de-DE" sz="1067" dirty="0"/>
          </a:p>
        </p:txBody>
      </p:sp>
      <p:sp>
        <p:nvSpPr>
          <p:cNvPr id="11"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nHeadline</a:t>
            </a:r>
            <a:endParaRPr lang="de-DE" dirty="0"/>
          </a:p>
        </p:txBody>
      </p:sp>
      <p:sp>
        <p:nvSpPr>
          <p:cNvPr id="13" name="Textplatzhalter 4"/>
          <p:cNvSpPr>
            <a:spLocks noGrp="1"/>
          </p:cNvSpPr>
          <p:nvPr>
            <p:ph type="body" sz="quarter" idx="17"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hema</a:t>
            </a:r>
            <a:endParaRPr lang="de-DE" dirty="0"/>
          </a:p>
        </p:txBody>
      </p:sp>
      <p:pic>
        <p:nvPicPr>
          <p:cNvPr id="8" name="Grafik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32538" y="123384"/>
            <a:ext cx="2176969" cy="791016"/>
          </a:xfrm>
          <a:prstGeom prst="rect">
            <a:avLst/>
          </a:prstGeom>
        </p:spPr>
      </p:pic>
      <p:sp>
        <p:nvSpPr>
          <p:cNvPr id="9" name="Textfeld 8"/>
          <p:cNvSpPr txBox="1"/>
          <p:nvPr userDrawn="1"/>
        </p:nvSpPr>
        <p:spPr>
          <a:xfrm>
            <a:off x="406385" y="6280469"/>
            <a:ext cx="2402291" cy="389787"/>
          </a:xfrm>
          <a:prstGeom prst="rect">
            <a:avLst/>
          </a:prstGeom>
          <a:noFill/>
        </p:spPr>
        <p:txBody>
          <a:bodyPr wrap="square" rtlCol="0">
            <a:spAutoFit/>
          </a:bodyPr>
          <a:lstStyle/>
          <a:p>
            <a:pPr defTabSz="609585">
              <a:defRPr/>
            </a:pPr>
            <a:r>
              <a:rPr lang="de-DE" sz="933" dirty="0">
                <a:solidFill>
                  <a:srgbClr val="0092D2"/>
                </a:solidFill>
                <a:latin typeface="Verdana"/>
                <a:cs typeface="Verdana"/>
              </a:rPr>
              <a:t>www.internationaldataspaces.org</a:t>
            </a:r>
          </a:p>
          <a:p>
            <a:pPr defTabSz="609585"/>
            <a:endParaRPr lang="de-DE" sz="1000" dirty="0">
              <a:solidFill>
                <a:srgbClr val="0092D2"/>
              </a:solidFill>
              <a:latin typeface="Verdana"/>
              <a:cs typeface="Verdana"/>
            </a:endParaRPr>
          </a:p>
        </p:txBody>
      </p:sp>
    </p:spTree>
    <p:extLst>
      <p:ext uri="{BB962C8B-B14F-4D97-AF65-F5344CB8AC3E}">
        <p14:creationId xmlns:p14="http://schemas.microsoft.com/office/powerpoint/2010/main" val="31226394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eme Headline with 2 Pictures &amp; Text">
    <p:spTree>
      <p:nvGrpSpPr>
        <p:cNvPr id="1" name=""/>
        <p:cNvGrpSpPr/>
        <p:nvPr/>
      </p:nvGrpSpPr>
      <p:grpSpPr>
        <a:xfrm>
          <a:off x="0" y="0"/>
          <a:ext cx="0" cy="0"/>
          <a:chOff x="0" y="0"/>
          <a:chExt cx="0" cy="0"/>
        </a:xfrm>
      </p:grpSpPr>
      <p:sp>
        <p:nvSpPr>
          <p:cNvPr id="4" name="Rechteck 3"/>
          <p:cNvSpPr/>
          <p:nvPr userDrawn="1"/>
        </p:nvSpPr>
        <p:spPr>
          <a:xfrm>
            <a:off x="9762067" y="0"/>
            <a:ext cx="2032000" cy="11345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pic>
        <p:nvPicPr>
          <p:cNvPr id="11" name="Grafik 10"/>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sp>
        <p:nvSpPr>
          <p:cNvPr id="27"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8" name="Textplatzhalter 4"/>
          <p:cNvSpPr>
            <a:spLocks noGrp="1"/>
          </p:cNvSpPr>
          <p:nvPr>
            <p:ph type="body" sz="quarter" idx="18" hasCustomPrompt="1"/>
          </p:nvPr>
        </p:nvSpPr>
        <p:spPr>
          <a:xfrm>
            <a:off x="406401" y="1490136"/>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sp>
        <p:nvSpPr>
          <p:cNvPr id="18" name="Textplatzhalter 2"/>
          <p:cNvSpPr>
            <a:spLocks noGrp="1"/>
          </p:cNvSpPr>
          <p:nvPr>
            <p:ph type="body" idx="1" hasCustomPrompt="1"/>
          </p:nvPr>
        </p:nvSpPr>
        <p:spPr>
          <a:xfrm>
            <a:off x="4309533" y="2279653"/>
            <a:ext cx="7340601" cy="3437465"/>
          </a:xfrm>
          <a:prstGeom prst="rect">
            <a:avLst/>
          </a:prstGeom>
        </p:spPr>
        <p:txBody>
          <a:bodyPr anchor="t">
            <a:normAutofit/>
          </a:bodyPr>
          <a:lstStyle>
            <a:lvl1pPr marL="239173" marR="0" indent="-239173" algn="l" defTabSz="609570"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43" indent="-228589">
              <a:buFont typeface="Symbol" panose="05050102010706020507" pitchFamily="18" charset="2"/>
              <a:buChar char="-"/>
              <a:defRPr sz="1600" baseline="0">
                <a:solidFill>
                  <a:schemeClr val="tx1"/>
                </a:solidFill>
              </a:defRPr>
            </a:lvl2pPr>
            <a:lvl3pPr marL="598988" indent="-110061">
              <a:buFont typeface="Arial" panose="020B0604020202020204" pitchFamily="34" charset="0"/>
              <a:buChar char="•"/>
              <a:defRPr sz="1067">
                <a:solidFill>
                  <a:schemeClr val="tx1"/>
                </a:solidFill>
              </a:defRPr>
            </a:lvl3pPr>
            <a:lvl4pPr marL="833926" indent="-256104">
              <a:buFont typeface="Symbol" panose="05050102010706020507" pitchFamily="18" charset="2"/>
              <a:buChar char="-"/>
              <a:tabLst>
                <a:tab pos="833926" algn="l"/>
                <a:tab pos="1077330" algn="l"/>
              </a:tabLst>
              <a:defRPr sz="1867" baseline="0">
                <a:solidFill>
                  <a:schemeClr val="tx1"/>
                </a:solidFill>
              </a:defRPr>
            </a:lvl4pPr>
            <a:lvl5pPr marL="1077330" indent="-262453">
              <a:buFont typeface="Georgia" panose="02040502050405020303" pitchFamily="18" charset="0"/>
              <a:buChar char="»"/>
              <a:defRPr sz="1867">
                <a:solidFill>
                  <a:schemeClr val="tx1"/>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70" rtl="0" eaLnBrk="1" fontAlgn="auto" latinLnBrk="0" hangingPunct="1">
              <a:lnSpc>
                <a:spcPct val="110000"/>
              </a:lnSpc>
              <a:spcBef>
                <a:spcPct val="20000"/>
              </a:spcBef>
              <a:spcAft>
                <a:spcPts val="0"/>
              </a:spcAft>
              <a:buClrTx/>
              <a:buSzTx/>
              <a:tabLst/>
              <a:defRPr/>
            </a:pPr>
            <a:endParaRPr lang="de-DE" dirty="0"/>
          </a:p>
        </p:txBody>
      </p:sp>
      <p:sp>
        <p:nvSpPr>
          <p:cNvPr id="20" name="Textplatzhalter 15"/>
          <p:cNvSpPr>
            <a:spLocks noGrp="1"/>
          </p:cNvSpPr>
          <p:nvPr>
            <p:ph type="body" sz="quarter" idx="24" hasCustomPrompt="1"/>
          </p:nvPr>
        </p:nvSpPr>
        <p:spPr>
          <a:xfrm>
            <a:off x="420987" y="5695592"/>
            <a:ext cx="3732327" cy="424499"/>
          </a:xfrm>
          <a:prstGeom prst="rect">
            <a:avLst/>
          </a:prstGeom>
        </p:spPr>
        <p:txBody>
          <a:bodyPr vert="horz"/>
          <a:lstStyle>
            <a:lvl1pPr marL="0" indent="0" algn="l">
              <a:lnSpc>
                <a:spcPct val="110000"/>
              </a:lnSpc>
              <a:buNone/>
              <a:defRPr sz="1000" b="0" i="1">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a:p>
            <a:pPr lvl="0"/>
            <a:r>
              <a:rPr lang="de-DE" dirty="0"/>
              <a:t>Second </a:t>
            </a:r>
            <a:r>
              <a:rPr lang="de-DE" dirty="0" err="1"/>
              <a:t>row</a:t>
            </a:r>
            <a:r>
              <a:rPr lang="de-DE" dirty="0"/>
              <a:t>.</a:t>
            </a:r>
          </a:p>
        </p:txBody>
      </p:sp>
      <p:sp>
        <p:nvSpPr>
          <p:cNvPr id="30" name="Textplatzhalter 15"/>
          <p:cNvSpPr>
            <a:spLocks noGrp="1"/>
          </p:cNvSpPr>
          <p:nvPr>
            <p:ph type="body" sz="quarter" idx="25" hasCustomPrompt="1"/>
          </p:nvPr>
        </p:nvSpPr>
        <p:spPr>
          <a:xfrm>
            <a:off x="420988" y="3809325"/>
            <a:ext cx="3732325" cy="424499"/>
          </a:xfrm>
          <a:prstGeom prst="rect">
            <a:avLst/>
          </a:prstGeom>
        </p:spPr>
        <p:txBody>
          <a:bodyPr vert="horz"/>
          <a:lstStyle>
            <a:lvl1pPr marL="0" indent="0" algn="l">
              <a:lnSpc>
                <a:spcPct val="110000"/>
              </a:lnSpc>
              <a:buNone/>
              <a:defRPr sz="1000" b="0" i="1" baseline="0">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p:txBody>
      </p:sp>
      <p:sp>
        <p:nvSpPr>
          <p:cNvPr id="3" name="Bildplatzhalter 2"/>
          <p:cNvSpPr>
            <a:spLocks noGrp="1"/>
          </p:cNvSpPr>
          <p:nvPr>
            <p:ph type="pic" sz="quarter" idx="26" hasCustomPrompt="1"/>
          </p:nvPr>
        </p:nvSpPr>
        <p:spPr>
          <a:xfrm>
            <a:off x="530936" y="2279652"/>
            <a:ext cx="3615267" cy="1547283"/>
          </a:xfrm>
        </p:spPr>
        <p:txBody>
          <a:bodyPr/>
          <a:lstStyle>
            <a:lvl1pPr marL="0" indent="0">
              <a:buNone/>
              <a:defRPr/>
            </a:lvl1pPr>
          </a:lstStyle>
          <a:p>
            <a:r>
              <a:rPr lang="de-DE" dirty="0"/>
              <a:t>Picture</a:t>
            </a:r>
          </a:p>
        </p:txBody>
      </p:sp>
      <p:sp>
        <p:nvSpPr>
          <p:cNvPr id="36" name="Bildplatzhalter 2"/>
          <p:cNvSpPr>
            <a:spLocks noGrp="1"/>
          </p:cNvSpPr>
          <p:nvPr>
            <p:ph type="pic" sz="quarter" idx="27" hasCustomPrompt="1"/>
          </p:nvPr>
        </p:nvSpPr>
        <p:spPr>
          <a:xfrm>
            <a:off x="531249" y="4169833"/>
            <a:ext cx="3615267" cy="1547283"/>
          </a:xfrm>
        </p:spPr>
        <p:txBody>
          <a:bodyPr/>
          <a:lstStyle>
            <a:lvl1pPr marL="0" indent="0">
              <a:buNone/>
              <a:defRPr/>
            </a:lvl1pPr>
          </a:lstStyle>
          <a:p>
            <a:r>
              <a:rPr lang="de-DE" dirty="0"/>
              <a:t>Picture</a:t>
            </a:r>
          </a:p>
        </p:txBody>
      </p:sp>
      <p:cxnSp>
        <p:nvCxnSpPr>
          <p:cNvPr id="23"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24" name="Textfeld 23"/>
          <p:cNvSpPr txBox="1"/>
          <p:nvPr userDrawn="1"/>
        </p:nvSpPr>
        <p:spPr>
          <a:xfrm>
            <a:off x="406385" y="6310788"/>
            <a:ext cx="2395808" cy="246221"/>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BA2E3"/>
                </a:solidFill>
                <a:effectLst/>
                <a:uLnTx/>
                <a:uFillTx/>
                <a:latin typeface="Verdana"/>
                <a:ea typeface="+mn-ea"/>
                <a:cs typeface="Verdana"/>
              </a:rPr>
              <a:t>www.internationaldataspaces.org</a:t>
            </a:r>
          </a:p>
        </p:txBody>
      </p:sp>
      <p:sp>
        <p:nvSpPr>
          <p:cNvPr id="26" name="Foliennummernplatzhalter 5"/>
          <p:cNvSpPr txBox="1">
            <a:spLocks/>
          </p:cNvSpPr>
          <p:nvPr userDrawn="1"/>
        </p:nvSpPr>
        <p:spPr>
          <a:xfrm>
            <a:off x="10351213" y="6360589"/>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DA28A8A7-1DE1-8B42-B22F-FAE404325B08}" type="slidenum">
              <a:rPr kumimoji="0" lang="de-DE" sz="1067" b="0" i="0" u="none" strike="noStrike" kern="1200" cap="none" spc="0" normalizeH="0" baseline="0" noProof="0" smtClean="0">
                <a:ln>
                  <a:noFill/>
                </a:ln>
                <a:solidFill>
                  <a:srgbClr val="0BA2E3"/>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BA2E3"/>
              </a:solidFill>
              <a:effectLst/>
              <a:uLnTx/>
              <a:uFillTx/>
              <a:latin typeface="Calibri"/>
              <a:ea typeface="+mn-ea"/>
              <a:cs typeface="+mn-cs"/>
            </a:endParaRPr>
          </a:p>
        </p:txBody>
      </p:sp>
      <p:sp>
        <p:nvSpPr>
          <p:cNvPr id="33" name="Shape"/>
          <p:cNvSpPr/>
          <p:nvPr userDrawn="1"/>
        </p:nvSpPr>
        <p:spPr>
          <a:xfrm>
            <a:off x="4010103" y="6303693"/>
            <a:ext cx="348148" cy="283209"/>
          </a:xfrm>
          <a:custGeom>
            <a:avLst/>
            <a:gdLst/>
            <a:ahLst/>
            <a:cxnLst>
              <a:cxn ang="0">
                <a:pos x="wd2" y="hd2"/>
              </a:cxn>
              <a:cxn ang="5400000">
                <a:pos x="wd2" y="hd2"/>
              </a:cxn>
              <a:cxn ang="10800000">
                <a:pos x="wd2" y="hd2"/>
              </a:cxn>
              <a:cxn ang="16200000">
                <a:pos x="wd2" y="hd2"/>
              </a:cxn>
            </a:cxnLst>
            <a:rect l="0" t="0" r="r" b="b"/>
            <a:pathLst>
              <a:path w="21600" h="21495" extrusionOk="0">
                <a:moveTo>
                  <a:pt x="14735" y="0"/>
                </a:moveTo>
                <a:cubicBezTo>
                  <a:pt x="16497" y="0"/>
                  <a:pt x="17287" y="960"/>
                  <a:pt x="18294" y="1876"/>
                </a:cubicBezTo>
                <a:cubicBezTo>
                  <a:pt x="19048" y="1876"/>
                  <a:pt x="20055" y="1265"/>
                  <a:pt x="20558" y="960"/>
                </a:cubicBezTo>
                <a:cubicBezTo>
                  <a:pt x="20845" y="655"/>
                  <a:pt x="20845" y="655"/>
                  <a:pt x="21097" y="655"/>
                </a:cubicBezTo>
                <a:cubicBezTo>
                  <a:pt x="20845" y="1571"/>
                  <a:pt x="20306" y="2487"/>
                  <a:pt x="19551" y="3098"/>
                </a:cubicBezTo>
                <a:cubicBezTo>
                  <a:pt x="19551" y="3098"/>
                  <a:pt x="19300" y="3404"/>
                  <a:pt x="19048" y="3404"/>
                </a:cubicBezTo>
                <a:cubicBezTo>
                  <a:pt x="20055" y="3404"/>
                  <a:pt x="20845" y="2793"/>
                  <a:pt x="21600" y="2793"/>
                </a:cubicBezTo>
                <a:cubicBezTo>
                  <a:pt x="21348" y="3404"/>
                  <a:pt x="20845" y="4320"/>
                  <a:pt x="20055" y="4625"/>
                </a:cubicBezTo>
                <a:cubicBezTo>
                  <a:pt x="19803" y="4931"/>
                  <a:pt x="19803" y="5280"/>
                  <a:pt x="19551" y="5585"/>
                </a:cubicBezTo>
                <a:cubicBezTo>
                  <a:pt x="19551" y="6807"/>
                  <a:pt x="19551" y="7724"/>
                  <a:pt x="19300" y="8945"/>
                </a:cubicBezTo>
                <a:cubicBezTo>
                  <a:pt x="18042" y="14836"/>
                  <a:pt x="15239" y="19156"/>
                  <a:pt x="10674" y="20989"/>
                </a:cubicBezTo>
                <a:cubicBezTo>
                  <a:pt x="8877" y="21600"/>
                  <a:pt x="6110" y="21600"/>
                  <a:pt x="4313" y="21295"/>
                </a:cubicBezTo>
                <a:cubicBezTo>
                  <a:pt x="3306" y="20989"/>
                  <a:pt x="2552" y="20684"/>
                  <a:pt x="1509" y="20073"/>
                </a:cubicBezTo>
                <a:cubicBezTo>
                  <a:pt x="1258" y="19767"/>
                  <a:pt x="755" y="19767"/>
                  <a:pt x="503" y="19462"/>
                </a:cubicBezTo>
                <a:cubicBezTo>
                  <a:pt x="252" y="19156"/>
                  <a:pt x="252" y="19156"/>
                  <a:pt x="0" y="19156"/>
                </a:cubicBezTo>
                <a:cubicBezTo>
                  <a:pt x="503" y="19156"/>
                  <a:pt x="1006" y="19156"/>
                  <a:pt x="1509" y="19156"/>
                </a:cubicBezTo>
                <a:cubicBezTo>
                  <a:pt x="1797" y="19156"/>
                  <a:pt x="2300" y="19156"/>
                  <a:pt x="2803" y="18851"/>
                </a:cubicBezTo>
                <a:cubicBezTo>
                  <a:pt x="3810" y="18502"/>
                  <a:pt x="4564" y="18196"/>
                  <a:pt x="5319" y="17891"/>
                </a:cubicBezTo>
                <a:cubicBezTo>
                  <a:pt x="5858" y="17585"/>
                  <a:pt x="6361" y="17280"/>
                  <a:pt x="6613" y="16669"/>
                </a:cubicBezTo>
                <a:cubicBezTo>
                  <a:pt x="6110" y="16669"/>
                  <a:pt x="5607" y="16669"/>
                  <a:pt x="5319" y="16669"/>
                </a:cubicBezTo>
                <a:cubicBezTo>
                  <a:pt x="3810" y="16058"/>
                  <a:pt x="3055" y="14836"/>
                  <a:pt x="2552" y="12960"/>
                </a:cubicBezTo>
                <a:cubicBezTo>
                  <a:pt x="2803" y="13265"/>
                  <a:pt x="4061" y="13265"/>
                  <a:pt x="4313" y="12960"/>
                </a:cubicBezTo>
                <a:cubicBezTo>
                  <a:pt x="3810" y="12960"/>
                  <a:pt x="3306" y="12655"/>
                  <a:pt x="3055" y="12349"/>
                </a:cubicBezTo>
                <a:cubicBezTo>
                  <a:pt x="1797" y="11433"/>
                  <a:pt x="755" y="9905"/>
                  <a:pt x="755" y="7724"/>
                </a:cubicBezTo>
                <a:cubicBezTo>
                  <a:pt x="1006" y="7724"/>
                  <a:pt x="1258" y="7724"/>
                  <a:pt x="1258" y="8029"/>
                </a:cubicBezTo>
                <a:cubicBezTo>
                  <a:pt x="1509" y="8029"/>
                  <a:pt x="1797" y="8029"/>
                  <a:pt x="2300" y="8335"/>
                </a:cubicBezTo>
                <a:lnTo>
                  <a:pt x="2803" y="8335"/>
                </a:lnTo>
                <a:cubicBezTo>
                  <a:pt x="2552" y="8029"/>
                  <a:pt x="2300" y="7724"/>
                  <a:pt x="2049" y="7418"/>
                </a:cubicBezTo>
                <a:cubicBezTo>
                  <a:pt x="1258" y="6196"/>
                  <a:pt x="503" y="4625"/>
                  <a:pt x="1006" y="2487"/>
                </a:cubicBezTo>
                <a:cubicBezTo>
                  <a:pt x="1006" y="1876"/>
                  <a:pt x="1258" y="1571"/>
                  <a:pt x="1509" y="1265"/>
                </a:cubicBezTo>
                <a:cubicBezTo>
                  <a:pt x="1509" y="1265"/>
                  <a:pt x="1797" y="1571"/>
                  <a:pt x="2049" y="1571"/>
                </a:cubicBezTo>
                <a:cubicBezTo>
                  <a:pt x="2300" y="2182"/>
                  <a:pt x="2803" y="2793"/>
                  <a:pt x="3306" y="3098"/>
                </a:cubicBezTo>
                <a:cubicBezTo>
                  <a:pt x="4816" y="4625"/>
                  <a:pt x="6361" y="5585"/>
                  <a:pt x="8626" y="6502"/>
                </a:cubicBezTo>
                <a:cubicBezTo>
                  <a:pt x="9380" y="6502"/>
                  <a:pt x="9919" y="6807"/>
                  <a:pt x="10674" y="6807"/>
                </a:cubicBezTo>
                <a:cubicBezTo>
                  <a:pt x="10423" y="5891"/>
                  <a:pt x="10423" y="4931"/>
                  <a:pt x="10674" y="4320"/>
                </a:cubicBezTo>
                <a:cubicBezTo>
                  <a:pt x="11177" y="2487"/>
                  <a:pt x="11932" y="1265"/>
                  <a:pt x="13226" y="655"/>
                </a:cubicBezTo>
                <a:cubicBezTo>
                  <a:pt x="13478" y="349"/>
                  <a:pt x="13981" y="349"/>
                  <a:pt x="14232" y="349"/>
                </a:cubicBezTo>
                <a:cubicBezTo>
                  <a:pt x="14484" y="349"/>
                  <a:pt x="14484" y="0"/>
                  <a:pt x="14735" y="0"/>
                </a:cubicBezTo>
              </a:path>
            </a:pathLst>
          </a:custGeom>
          <a:solidFill>
            <a:srgbClr val="0BA2E3"/>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34" name="Rechteck 33"/>
          <p:cNvSpPr/>
          <p:nvPr userDrawn="1"/>
        </p:nvSpPr>
        <p:spPr>
          <a:xfrm>
            <a:off x="4325749" y="6310339"/>
            <a:ext cx="1293944" cy="246221"/>
          </a:xfrm>
          <a:prstGeom prst="rect">
            <a:avLst/>
          </a:prstGeom>
        </p:spPr>
        <p:txBody>
          <a:bodyPr wrap="non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Verdana"/>
              </a:rPr>
              <a:t>@</a:t>
            </a:r>
            <a:r>
              <a:rPr kumimoji="0" lang="de-DE" sz="1000" b="0" i="0" u="none" strike="noStrike" kern="1200" cap="none" spc="0" normalizeH="0" baseline="0" noProof="0" dirty="0" err="1">
                <a:ln>
                  <a:noFill/>
                </a:ln>
                <a:solidFill>
                  <a:prstClr val="black"/>
                </a:solidFill>
                <a:effectLst/>
                <a:uLnTx/>
                <a:uFillTx/>
                <a:latin typeface="Verdana"/>
                <a:ea typeface="+mn-ea"/>
                <a:cs typeface="Verdana"/>
              </a:rPr>
              <a:t>ids_association</a:t>
            </a:r>
            <a:endParaRPr kumimoji="0" lang="de-DE" sz="10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35" name="Textplatzhalter 21"/>
          <p:cNvSpPr>
            <a:spLocks noGrp="1"/>
          </p:cNvSpPr>
          <p:nvPr>
            <p:ph type="body" sz="quarter" idx="16" hasCustomPrompt="1"/>
          </p:nvPr>
        </p:nvSpPr>
        <p:spPr>
          <a:xfrm>
            <a:off x="7212009" y="6306680"/>
            <a:ext cx="2508249"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pPr lvl="0"/>
            <a:r>
              <a:rPr lang="de-DE" dirty="0"/>
              <a:t>#</a:t>
            </a:r>
            <a:r>
              <a:rPr lang="de-DE" dirty="0" err="1"/>
              <a:t>eventname</a:t>
            </a:r>
            <a:r>
              <a:rPr lang="de-DE" dirty="0"/>
              <a:t> (...)</a:t>
            </a:r>
          </a:p>
        </p:txBody>
      </p:sp>
      <p:sp>
        <p:nvSpPr>
          <p:cNvPr id="37" name="Textplatzhalter 21"/>
          <p:cNvSpPr>
            <a:spLocks noGrp="1"/>
          </p:cNvSpPr>
          <p:nvPr>
            <p:ph type="body" sz="quarter" idx="28" hasCustomPrompt="1"/>
          </p:nvPr>
        </p:nvSpPr>
        <p:spPr>
          <a:xfrm>
            <a:off x="5611775" y="6308463"/>
            <a:ext cx="1577793"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Tree>
    <p:extLst>
      <p:ext uri="{BB962C8B-B14F-4D97-AF65-F5344CB8AC3E}">
        <p14:creationId xmlns:p14="http://schemas.microsoft.com/office/powerpoint/2010/main" val="814424005"/>
      </p:ext>
    </p:extLst>
  </p:cSld>
  <p:clrMapOvr>
    <a:masterClrMapping/>
  </p:clrMapOvr>
  <p:extLst>
    <p:ext uri="{DCECCB84-F9BA-43D5-87BE-67443E8EF086}">
      <p15:sldGuideLst xmlns:p15="http://schemas.microsoft.com/office/powerpoint/2012/main">
        <p15:guide id="1" orient="horz" pos="1620">
          <p15:clr>
            <a:srgbClr val="FBAE40"/>
          </p15:clr>
        </p15:guide>
        <p15:guide id="2" pos="24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eme Headline with 4 Pictures &amp; Text">
    <p:spTree>
      <p:nvGrpSpPr>
        <p:cNvPr id="1" name=""/>
        <p:cNvGrpSpPr/>
        <p:nvPr/>
      </p:nvGrpSpPr>
      <p:grpSpPr>
        <a:xfrm>
          <a:off x="0" y="0"/>
          <a:ext cx="0" cy="0"/>
          <a:chOff x="0" y="0"/>
          <a:chExt cx="0" cy="0"/>
        </a:xfrm>
      </p:grpSpPr>
      <p:pic>
        <p:nvPicPr>
          <p:cNvPr id="16" name="Grafik 15"/>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sp>
        <p:nvSpPr>
          <p:cNvPr id="25"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6" name="Textplatzhalter 4"/>
          <p:cNvSpPr>
            <a:spLocks noGrp="1"/>
          </p:cNvSpPr>
          <p:nvPr>
            <p:ph type="body" sz="quarter" idx="18" hasCustomPrompt="1"/>
          </p:nvPr>
        </p:nvSpPr>
        <p:spPr>
          <a:xfrm>
            <a:off x="406401" y="1490136"/>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sp>
        <p:nvSpPr>
          <p:cNvPr id="21" name="Textplatzhalter 2"/>
          <p:cNvSpPr>
            <a:spLocks noGrp="1"/>
          </p:cNvSpPr>
          <p:nvPr>
            <p:ph type="body" idx="1" hasCustomPrompt="1"/>
          </p:nvPr>
        </p:nvSpPr>
        <p:spPr>
          <a:xfrm>
            <a:off x="8077200" y="2286002"/>
            <a:ext cx="3572933" cy="3431116"/>
          </a:xfrm>
          <a:prstGeom prst="rect">
            <a:avLst/>
          </a:prstGeom>
        </p:spPr>
        <p:txBody>
          <a:bodyPr anchor="t">
            <a:normAutofit/>
          </a:bodyPr>
          <a:lstStyle>
            <a:lvl1pPr marL="239173" marR="0" indent="-239173" algn="l" defTabSz="609570"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43" indent="-228589">
              <a:buFont typeface="Symbol" panose="05050102010706020507" pitchFamily="18" charset="2"/>
              <a:buChar char="-"/>
              <a:defRPr sz="1600" baseline="0">
                <a:solidFill>
                  <a:schemeClr val="tx1"/>
                </a:solidFill>
              </a:defRPr>
            </a:lvl2pPr>
            <a:lvl3pPr marL="598988" indent="-110061">
              <a:buFont typeface="Arial" panose="020B0604020202020204" pitchFamily="34" charset="0"/>
              <a:buChar char="•"/>
              <a:defRPr sz="1067">
                <a:solidFill>
                  <a:schemeClr val="tx1"/>
                </a:solidFill>
              </a:defRPr>
            </a:lvl3pPr>
            <a:lvl4pPr marL="833926" indent="-256104">
              <a:buFont typeface="Symbol" panose="05050102010706020507" pitchFamily="18" charset="2"/>
              <a:buChar char="-"/>
              <a:tabLst>
                <a:tab pos="833926" algn="l"/>
                <a:tab pos="1077330" algn="l"/>
              </a:tabLst>
              <a:defRPr sz="1867" baseline="0">
                <a:solidFill>
                  <a:schemeClr val="tx1"/>
                </a:solidFill>
              </a:defRPr>
            </a:lvl4pPr>
            <a:lvl5pPr marL="1077330" indent="-262453">
              <a:buFont typeface="Georgia" panose="02040502050405020303" pitchFamily="18" charset="0"/>
              <a:buChar char="»"/>
              <a:defRPr sz="1867">
                <a:solidFill>
                  <a:schemeClr val="tx1"/>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70" rtl="0" eaLnBrk="1" fontAlgn="auto" latinLnBrk="0" hangingPunct="1">
              <a:lnSpc>
                <a:spcPct val="110000"/>
              </a:lnSpc>
              <a:spcBef>
                <a:spcPct val="20000"/>
              </a:spcBef>
              <a:spcAft>
                <a:spcPts val="0"/>
              </a:spcAft>
              <a:buClrTx/>
              <a:buSzTx/>
              <a:tabLst/>
              <a:defRPr/>
            </a:pPr>
            <a:endParaRPr lang="de-DE" dirty="0"/>
          </a:p>
        </p:txBody>
      </p:sp>
      <p:sp>
        <p:nvSpPr>
          <p:cNvPr id="22" name="Textplatzhalter 15"/>
          <p:cNvSpPr>
            <a:spLocks noGrp="1"/>
          </p:cNvSpPr>
          <p:nvPr>
            <p:ph type="body" sz="quarter" idx="24" hasCustomPrompt="1"/>
          </p:nvPr>
        </p:nvSpPr>
        <p:spPr>
          <a:xfrm>
            <a:off x="420987" y="5695592"/>
            <a:ext cx="3732327" cy="424499"/>
          </a:xfrm>
          <a:prstGeom prst="rect">
            <a:avLst/>
          </a:prstGeom>
        </p:spPr>
        <p:txBody>
          <a:bodyPr vert="horz"/>
          <a:lstStyle>
            <a:lvl1pPr marL="0" indent="0" algn="l">
              <a:lnSpc>
                <a:spcPct val="110000"/>
              </a:lnSpc>
              <a:buNone/>
              <a:defRPr sz="1000" b="0" i="1">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a:p>
            <a:pPr lvl="0"/>
            <a:r>
              <a:rPr lang="de-DE" dirty="0"/>
              <a:t>Second </a:t>
            </a:r>
            <a:r>
              <a:rPr lang="de-DE" dirty="0" err="1"/>
              <a:t>row</a:t>
            </a:r>
            <a:r>
              <a:rPr lang="de-DE" dirty="0"/>
              <a:t>.</a:t>
            </a:r>
          </a:p>
        </p:txBody>
      </p:sp>
      <p:sp>
        <p:nvSpPr>
          <p:cNvPr id="23" name="Textplatzhalter 15"/>
          <p:cNvSpPr>
            <a:spLocks noGrp="1"/>
          </p:cNvSpPr>
          <p:nvPr>
            <p:ph type="body" sz="quarter" idx="25" hasCustomPrompt="1"/>
          </p:nvPr>
        </p:nvSpPr>
        <p:spPr>
          <a:xfrm>
            <a:off x="420988" y="3809325"/>
            <a:ext cx="3732325" cy="424499"/>
          </a:xfrm>
          <a:prstGeom prst="rect">
            <a:avLst/>
          </a:prstGeom>
        </p:spPr>
        <p:txBody>
          <a:bodyPr vert="horz"/>
          <a:lstStyle>
            <a:lvl1pPr marL="0" indent="0" algn="l">
              <a:lnSpc>
                <a:spcPct val="110000"/>
              </a:lnSpc>
              <a:buNone/>
              <a:defRPr sz="1000" b="0" i="1" baseline="0">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p:txBody>
      </p:sp>
      <p:sp>
        <p:nvSpPr>
          <p:cNvPr id="24" name="Textplatzhalter 15"/>
          <p:cNvSpPr>
            <a:spLocks noGrp="1"/>
          </p:cNvSpPr>
          <p:nvPr>
            <p:ph type="body" sz="quarter" idx="26" hasCustomPrompt="1"/>
          </p:nvPr>
        </p:nvSpPr>
        <p:spPr>
          <a:xfrm>
            <a:off x="4180082" y="5695592"/>
            <a:ext cx="3732327" cy="424499"/>
          </a:xfrm>
          <a:prstGeom prst="rect">
            <a:avLst/>
          </a:prstGeom>
        </p:spPr>
        <p:txBody>
          <a:bodyPr vert="horz"/>
          <a:lstStyle>
            <a:lvl1pPr marL="0" indent="0" algn="l">
              <a:lnSpc>
                <a:spcPct val="110000"/>
              </a:lnSpc>
              <a:buNone/>
              <a:defRPr sz="1000" b="0" i="1">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a:p>
            <a:pPr lvl="0"/>
            <a:r>
              <a:rPr lang="de-DE" dirty="0"/>
              <a:t>Second </a:t>
            </a:r>
            <a:r>
              <a:rPr lang="de-DE" dirty="0" err="1"/>
              <a:t>row</a:t>
            </a:r>
            <a:r>
              <a:rPr lang="de-DE" dirty="0"/>
              <a:t>.</a:t>
            </a:r>
          </a:p>
        </p:txBody>
      </p:sp>
      <p:sp>
        <p:nvSpPr>
          <p:cNvPr id="27" name="Textplatzhalter 15"/>
          <p:cNvSpPr>
            <a:spLocks noGrp="1"/>
          </p:cNvSpPr>
          <p:nvPr>
            <p:ph type="body" sz="quarter" idx="27" hasCustomPrompt="1"/>
          </p:nvPr>
        </p:nvSpPr>
        <p:spPr>
          <a:xfrm>
            <a:off x="4180083" y="3809325"/>
            <a:ext cx="3732325" cy="424499"/>
          </a:xfrm>
          <a:prstGeom prst="rect">
            <a:avLst/>
          </a:prstGeom>
        </p:spPr>
        <p:txBody>
          <a:bodyPr vert="horz"/>
          <a:lstStyle>
            <a:lvl1pPr marL="0" indent="0" algn="l">
              <a:lnSpc>
                <a:spcPct val="110000"/>
              </a:lnSpc>
              <a:buNone/>
              <a:defRPr sz="1000" b="0" i="1" baseline="0">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p:txBody>
      </p:sp>
      <p:sp>
        <p:nvSpPr>
          <p:cNvPr id="32" name="Bildplatzhalter 2"/>
          <p:cNvSpPr>
            <a:spLocks noGrp="1"/>
          </p:cNvSpPr>
          <p:nvPr>
            <p:ph type="pic" sz="quarter" idx="28" hasCustomPrompt="1"/>
          </p:nvPr>
        </p:nvSpPr>
        <p:spPr>
          <a:xfrm>
            <a:off x="530936" y="2279652"/>
            <a:ext cx="3615267" cy="1547283"/>
          </a:xfrm>
        </p:spPr>
        <p:txBody>
          <a:bodyPr/>
          <a:lstStyle>
            <a:lvl1pPr marL="0" indent="0">
              <a:buNone/>
              <a:defRPr/>
            </a:lvl1pPr>
          </a:lstStyle>
          <a:p>
            <a:r>
              <a:rPr lang="de-DE" dirty="0"/>
              <a:t>Picture</a:t>
            </a:r>
          </a:p>
        </p:txBody>
      </p:sp>
      <p:sp>
        <p:nvSpPr>
          <p:cNvPr id="40" name="Bildplatzhalter 2"/>
          <p:cNvSpPr>
            <a:spLocks noGrp="1"/>
          </p:cNvSpPr>
          <p:nvPr>
            <p:ph type="pic" sz="quarter" idx="29" hasCustomPrompt="1"/>
          </p:nvPr>
        </p:nvSpPr>
        <p:spPr>
          <a:xfrm>
            <a:off x="531249" y="4169833"/>
            <a:ext cx="3615267" cy="1547283"/>
          </a:xfrm>
        </p:spPr>
        <p:txBody>
          <a:bodyPr/>
          <a:lstStyle>
            <a:lvl1pPr marL="0" indent="0">
              <a:buNone/>
              <a:defRPr/>
            </a:lvl1pPr>
          </a:lstStyle>
          <a:p>
            <a:r>
              <a:rPr lang="de-DE" dirty="0"/>
              <a:t>Picture</a:t>
            </a:r>
          </a:p>
        </p:txBody>
      </p:sp>
      <p:sp>
        <p:nvSpPr>
          <p:cNvPr id="41" name="Bildplatzhalter 2"/>
          <p:cNvSpPr>
            <a:spLocks noGrp="1"/>
          </p:cNvSpPr>
          <p:nvPr>
            <p:ph type="pic" sz="quarter" idx="30" hasCustomPrompt="1"/>
          </p:nvPr>
        </p:nvSpPr>
        <p:spPr>
          <a:xfrm>
            <a:off x="4309020" y="2279653"/>
            <a:ext cx="3615267" cy="1547283"/>
          </a:xfrm>
        </p:spPr>
        <p:txBody>
          <a:bodyPr/>
          <a:lstStyle>
            <a:lvl1pPr marL="0" indent="0">
              <a:buNone/>
              <a:defRPr/>
            </a:lvl1pPr>
          </a:lstStyle>
          <a:p>
            <a:r>
              <a:rPr lang="de-DE" dirty="0"/>
              <a:t>Picture</a:t>
            </a:r>
          </a:p>
        </p:txBody>
      </p:sp>
      <p:sp>
        <p:nvSpPr>
          <p:cNvPr id="42" name="Bildplatzhalter 2"/>
          <p:cNvSpPr>
            <a:spLocks noGrp="1"/>
          </p:cNvSpPr>
          <p:nvPr>
            <p:ph type="pic" sz="quarter" idx="31" hasCustomPrompt="1"/>
          </p:nvPr>
        </p:nvSpPr>
        <p:spPr>
          <a:xfrm>
            <a:off x="4310929" y="4169833"/>
            <a:ext cx="3615267" cy="1547283"/>
          </a:xfrm>
        </p:spPr>
        <p:txBody>
          <a:bodyPr/>
          <a:lstStyle>
            <a:lvl1pPr marL="0" indent="0">
              <a:buNone/>
              <a:defRPr/>
            </a:lvl1pPr>
          </a:lstStyle>
          <a:p>
            <a:r>
              <a:rPr lang="de-DE" dirty="0"/>
              <a:t>Picture</a:t>
            </a:r>
          </a:p>
        </p:txBody>
      </p:sp>
      <p:cxnSp>
        <p:nvCxnSpPr>
          <p:cNvPr id="30"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31" name="Textfeld 30"/>
          <p:cNvSpPr txBox="1"/>
          <p:nvPr userDrawn="1"/>
        </p:nvSpPr>
        <p:spPr>
          <a:xfrm>
            <a:off x="406385" y="6310788"/>
            <a:ext cx="2395808" cy="246221"/>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BA2E3"/>
                </a:solidFill>
                <a:effectLst/>
                <a:uLnTx/>
                <a:uFillTx/>
                <a:latin typeface="Verdana"/>
                <a:ea typeface="+mn-ea"/>
                <a:cs typeface="Verdana"/>
              </a:rPr>
              <a:t>www.internationaldataspaces.org</a:t>
            </a:r>
          </a:p>
        </p:txBody>
      </p:sp>
      <p:sp>
        <p:nvSpPr>
          <p:cNvPr id="35" name="Foliennummernplatzhalter 5"/>
          <p:cNvSpPr txBox="1">
            <a:spLocks/>
          </p:cNvSpPr>
          <p:nvPr userDrawn="1"/>
        </p:nvSpPr>
        <p:spPr>
          <a:xfrm>
            <a:off x="10351213" y="6360589"/>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DA28A8A7-1DE1-8B42-B22F-FAE404325B08}" type="slidenum">
              <a:rPr kumimoji="0" lang="de-DE" sz="1067" b="0" i="0" u="none" strike="noStrike" kern="1200" cap="none" spc="0" normalizeH="0" baseline="0" noProof="0" smtClean="0">
                <a:ln>
                  <a:noFill/>
                </a:ln>
                <a:solidFill>
                  <a:srgbClr val="0BA2E3"/>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BA2E3"/>
              </a:solidFill>
              <a:effectLst/>
              <a:uLnTx/>
              <a:uFillTx/>
              <a:latin typeface="Calibri"/>
              <a:ea typeface="+mn-ea"/>
              <a:cs typeface="+mn-cs"/>
            </a:endParaRPr>
          </a:p>
        </p:txBody>
      </p:sp>
      <p:sp>
        <p:nvSpPr>
          <p:cNvPr id="39" name="Shape"/>
          <p:cNvSpPr/>
          <p:nvPr userDrawn="1"/>
        </p:nvSpPr>
        <p:spPr>
          <a:xfrm>
            <a:off x="4010103" y="6303693"/>
            <a:ext cx="348148" cy="283209"/>
          </a:xfrm>
          <a:custGeom>
            <a:avLst/>
            <a:gdLst/>
            <a:ahLst/>
            <a:cxnLst>
              <a:cxn ang="0">
                <a:pos x="wd2" y="hd2"/>
              </a:cxn>
              <a:cxn ang="5400000">
                <a:pos x="wd2" y="hd2"/>
              </a:cxn>
              <a:cxn ang="10800000">
                <a:pos x="wd2" y="hd2"/>
              </a:cxn>
              <a:cxn ang="16200000">
                <a:pos x="wd2" y="hd2"/>
              </a:cxn>
            </a:cxnLst>
            <a:rect l="0" t="0" r="r" b="b"/>
            <a:pathLst>
              <a:path w="21600" h="21495" extrusionOk="0">
                <a:moveTo>
                  <a:pt x="14735" y="0"/>
                </a:moveTo>
                <a:cubicBezTo>
                  <a:pt x="16497" y="0"/>
                  <a:pt x="17287" y="960"/>
                  <a:pt x="18294" y="1876"/>
                </a:cubicBezTo>
                <a:cubicBezTo>
                  <a:pt x="19048" y="1876"/>
                  <a:pt x="20055" y="1265"/>
                  <a:pt x="20558" y="960"/>
                </a:cubicBezTo>
                <a:cubicBezTo>
                  <a:pt x="20845" y="655"/>
                  <a:pt x="20845" y="655"/>
                  <a:pt x="21097" y="655"/>
                </a:cubicBezTo>
                <a:cubicBezTo>
                  <a:pt x="20845" y="1571"/>
                  <a:pt x="20306" y="2487"/>
                  <a:pt x="19551" y="3098"/>
                </a:cubicBezTo>
                <a:cubicBezTo>
                  <a:pt x="19551" y="3098"/>
                  <a:pt x="19300" y="3404"/>
                  <a:pt x="19048" y="3404"/>
                </a:cubicBezTo>
                <a:cubicBezTo>
                  <a:pt x="20055" y="3404"/>
                  <a:pt x="20845" y="2793"/>
                  <a:pt x="21600" y="2793"/>
                </a:cubicBezTo>
                <a:cubicBezTo>
                  <a:pt x="21348" y="3404"/>
                  <a:pt x="20845" y="4320"/>
                  <a:pt x="20055" y="4625"/>
                </a:cubicBezTo>
                <a:cubicBezTo>
                  <a:pt x="19803" y="4931"/>
                  <a:pt x="19803" y="5280"/>
                  <a:pt x="19551" y="5585"/>
                </a:cubicBezTo>
                <a:cubicBezTo>
                  <a:pt x="19551" y="6807"/>
                  <a:pt x="19551" y="7724"/>
                  <a:pt x="19300" y="8945"/>
                </a:cubicBezTo>
                <a:cubicBezTo>
                  <a:pt x="18042" y="14836"/>
                  <a:pt x="15239" y="19156"/>
                  <a:pt x="10674" y="20989"/>
                </a:cubicBezTo>
                <a:cubicBezTo>
                  <a:pt x="8877" y="21600"/>
                  <a:pt x="6110" y="21600"/>
                  <a:pt x="4313" y="21295"/>
                </a:cubicBezTo>
                <a:cubicBezTo>
                  <a:pt x="3306" y="20989"/>
                  <a:pt x="2552" y="20684"/>
                  <a:pt x="1509" y="20073"/>
                </a:cubicBezTo>
                <a:cubicBezTo>
                  <a:pt x="1258" y="19767"/>
                  <a:pt x="755" y="19767"/>
                  <a:pt x="503" y="19462"/>
                </a:cubicBezTo>
                <a:cubicBezTo>
                  <a:pt x="252" y="19156"/>
                  <a:pt x="252" y="19156"/>
                  <a:pt x="0" y="19156"/>
                </a:cubicBezTo>
                <a:cubicBezTo>
                  <a:pt x="503" y="19156"/>
                  <a:pt x="1006" y="19156"/>
                  <a:pt x="1509" y="19156"/>
                </a:cubicBezTo>
                <a:cubicBezTo>
                  <a:pt x="1797" y="19156"/>
                  <a:pt x="2300" y="19156"/>
                  <a:pt x="2803" y="18851"/>
                </a:cubicBezTo>
                <a:cubicBezTo>
                  <a:pt x="3810" y="18502"/>
                  <a:pt x="4564" y="18196"/>
                  <a:pt x="5319" y="17891"/>
                </a:cubicBezTo>
                <a:cubicBezTo>
                  <a:pt x="5858" y="17585"/>
                  <a:pt x="6361" y="17280"/>
                  <a:pt x="6613" y="16669"/>
                </a:cubicBezTo>
                <a:cubicBezTo>
                  <a:pt x="6110" y="16669"/>
                  <a:pt x="5607" y="16669"/>
                  <a:pt x="5319" y="16669"/>
                </a:cubicBezTo>
                <a:cubicBezTo>
                  <a:pt x="3810" y="16058"/>
                  <a:pt x="3055" y="14836"/>
                  <a:pt x="2552" y="12960"/>
                </a:cubicBezTo>
                <a:cubicBezTo>
                  <a:pt x="2803" y="13265"/>
                  <a:pt x="4061" y="13265"/>
                  <a:pt x="4313" y="12960"/>
                </a:cubicBezTo>
                <a:cubicBezTo>
                  <a:pt x="3810" y="12960"/>
                  <a:pt x="3306" y="12655"/>
                  <a:pt x="3055" y="12349"/>
                </a:cubicBezTo>
                <a:cubicBezTo>
                  <a:pt x="1797" y="11433"/>
                  <a:pt x="755" y="9905"/>
                  <a:pt x="755" y="7724"/>
                </a:cubicBezTo>
                <a:cubicBezTo>
                  <a:pt x="1006" y="7724"/>
                  <a:pt x="1258" y="7724"/>
                  <a:pt x="1258" y="8029"/>
                </a:cubicBezTo>
                <a:cubicBezTo>
                  <a:pt x="1509" y="8029"/>
                  <a:pt x="1797" y="8029"/>
                  <a:pt x="2300" y="8335"/>
                </a:cubicBezTo>
                <a:lnTo>
                  <a:pt x="2803" y="8335"/>
                </a:lnTo>
                <a:cubicBezTo>
                  <a:pt x="2552" y="8029"/>
                  <a:pt x="2300" y="7724"/>
                  <a:pt x="2049" y="7418"/>
                </a:cubicBezTo>
                <a:cubicBezTo>
                  <a:pt x="1258" y="6196"/>
                  <a:pt x="503" y="4625"/>
                  <a:pt x="1006" y="2487"/>
                </a:cubicBezTo>
                <a:cubicBezTo>
                  <a:pt x="1006" y="1876"/>
                  <a:pt x="1258" y="1571"/>
                  <a:pt x="1509" y="1265"/>
                </a:cubicBezTo>
                <a:cubicBezTo>
                  <a:pt x="1509" y="1265"/>
                  <a:pt x="1797" y="1571"/>
                  <a:pt x="2049" y="1571"/>
                </a:cubicBezTo>
                <a:cubicBezTo>
                  <a:pt x="2300" y="2182"/>
                  <a:pt x="2803" y="2793"/>
                  <a:pt x="3306" y="3098"/>
                </a:cubicBezTo>
                <a:cubicBezTo>
                  <a:pt x="4816" y="4625"/>
                  <a:pt x="6361" y="5585"/>
                  <a:pt x="8626" y="6502"/>
                </a:cubicBezTo>
                <a:cubicBezTo>
                  <a:pt x="9380" y="6502"/>
                  <a:pt x="9919" y="6807"/>
                  <a:pt x="10674" y="6807"/>
                </a:cubicBezTo>
                <a:cubicBezTo>
                  <a:pt x="10423" y="5891"/>
                  <a:pt x="10423" y="4931"/>
                  <a:pt x="10674" y="4320"/>
                </a:cubicBezTo>
                <a:cubicBezTo>
                  <a:pt x="11177" y="2487"/>
                  <a:pt x="11932" y="1265"/>
                  <a:pt x="13226" y="655"/>
                </a:cubicBezTo>
                <a:cubicBezTo>
                  <a:pt x="13478" y="349"/>
                  <a:pt x="13981" y="349"/>
                  <a:pt x="14232" y="349"/>
                </a:cubicBezTo>
                <a:cubicBezTo>
                  <a:pt x="14484" y="349"/>
                  <a:pt x="14484" y="0"/>
                  <a:pt x="14735" y="0"/>
                </a:cubicBezTo>
              </a:path>
            </a:pathLst>
          </a:custGeom>
          <a:solidFill>
            <a:srgbClr val="0BA2E3"/>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43" name="Rechteck 42"/>
          <p:cNvSpPr/>
          <p:nvPr userDrawn="1"/>
        </p:nvSpPr>
        <p:spPr>
          <a:xfrm>
            <a:off x="4325749" y="6310339"/>
            <a:ext cx="1293944" cy="246221"/>
          </a:xfrm>
          <a:prstGeom prst="rect">
            <a:avLst/>
          </a:prstGeom>
        </p:spPr>
        <p:txBody>
          <a:bodyPr wrap="non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Verdana"/>
              </a:rPr>
              <a:t>@</a:t>
            </a:r>
            <a:r>
              <a:rPr kumimoji="0" lang="de-DE" sz="1000" b="0" i="0" u="none" strike="noStrike" kern="1200" cap="none" spc="0" normalizeH="0" baseline="0" noProof="0" dirty="0" err="1">
                <a:ln>
                  <a:noFill/>
                </a:ln>
                <a:solidFill>
                  <a:prstClr val="black"/>
                </a:solidFill>
                <a:effectLst/>
                <a:uLnTx/>
                <a:uFillTx/>
                <a:latin typeface="Verdana"/>
                <a:ea typeface="+mn-ea"/>
                <a:cs typeface="Verdana"/>
              </a:rPr>
              <a:t>ids_association</a:t>
            </a:r>
            <a:endParaRPr kumimoji="0" lang="de-DE" sz="10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44" name="Textplatzhalter 21"/>
          <p:cNvSpPr>
            <a:spLocks noGrp="1"/>
          </p:cNvSpPr>
          <p:nvPr>
            <p:ph type="body" sz="quarter" idx="16" hasCustomPrompt="1"/>
          </p:nvPr>
        </p:nvSpPr>
        <p:spPr>
          <a:xfrm>
            <a:off x="7212009" y="6306680"/>
            <a:ext cx="2508249"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pPr lvl="0"/>
            <a:r>
              <a:rPr lang="de-DE" dirty="0"/>
              <a:t>#</a:t>
            </a:r>
            <a:r>
              <a:rPr lang="de-DE" dirty="0" err="1"/>
              <a:t>eventname</a:t>
            </a:r>
            <a:r>
              <a:rPr lang="de-DE" dirty="0"/>
              <a:t> (...)</a:t>
            </a:r>
          </a:p>
        </p:txBody>
      </p:sp>
      <p:sp>
        <p:nvSpPr>
          <p:cNvPr id="45" name="Textplatzhalter 21"/>
          <p:cNvSpPr>
            <a:spLocks noGrp="1"/>
          </p:cNvSpPr>
          <p:nvPr>
            <p:ph type="body" sz="quarter" idx="32" hasCustomPrompt="1"/>
          </p:nvPr>
        </p:nvSpPr>
        <p:spPr>
          <a:xfrm>
            <a:off x="5611775" y="6308463"/>
            <a:ext cx="1577793"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Tree>
    <p:extLst>
      <p:ext uri="{BB962C8B-B14F-4D97-AF65-F5344CB8AC3E}">
        <p14:creationId xmlns:p14="http://schemas.microsoft.com/office/powerpoint/2010/main" val="378654457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Personal Information">
    <p:spTree>
      <p:nvGrpSpPr>
        <p:cNvPr id="1" name=""/>
        <p:cNvGrpSpPr/>
        <p:nvPr/>
      </p:nvGrpSpPr>
      <p:grpSpPr>
        <a:xfrm>
          <a:off x="0" y="0"/>
          <a:ext cx="0" cy="0"/>
          <a:chOff x="0" y="0"/>
          <a:chExt cx="0" cy="0"/>
        </a:xfrm>
      </p:grpSpPr>
      <p:pic>
        <p:nvPicPr>
          <p:cNvPr id="14" name="Grafik 13"/>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120992" y="-95703"/>
            <a:ext cx="4639637" cy="1685549"/>
          </a:xfrm>
          <a:prstGeom prst="rect">
            <a:avLst/>
          </a:prstGeom>
        </p:spPr>
      </p:pic>
      <p:sp>
        <p:nvSpPr>
          <p:cNvPr id="11" name="Foliennummernplatzhalter 5"/>
          <p:cNvSpPr txBox="1">
            <a:spLocks/>
          </p:cNvSpPr>
          <p:nvPr userDrawn="1"/>
        </p:nvSpPr>
        <p:spPr>
          <a:xfrm>
            <a:off x="9950812" y="6320505"/>
            <a:ext cx="1148925"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8E821C83-84D4-BF47-9BEB-DE7BBACF0AD8}" type="slidenum">
              <a:rPr kumimoji="0" lang="de-DE" sz="1067" b="0" i="0" u="none" strike="noStrike" kern="1200" cap="none" spc="0" normalizeH="0" baseline="0" noProof="0" smtClean="0">
                <a:ln>
                  <a:noFill/>
                </a:ln>
                <a:solidFill>
                  <a:srgbClr val="0092D2"/>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092D2"/>
              </a:solidFill>
              <a:effectLst/>
              <a:uLnTx/>
              <a:uFillTx/>
              <a:latin typeface="Calibri"/>
              <a:ea typeface="+mn-ea"/>
              <a:cs typeface="+mn-cs"/>
            </a:endParaRPr>
          </a:p>
        </p:txBody>
      </p:sp>
      <p:sp>
        <p:nvSpPr>
          <p:cNvPr id="8" name="Rechteck 7"/>
          <p:cNvSpPr/>
          <p:nvPr userDrawn="1"/>
        </p:nvSpPr>
        <p:spPr>
          <a:xfrm>
            <a:off x="0" y="2279155"/>
            <a:ext cx="12192000" cy="4578847"/>
          </a:xfrm>
          <a:prstGeom prst="rect">
            <a:avLst/>
          </a:prstGeom>
          <a:solidFill>
            <a:srgbClr val="0BA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0BA2E3"/>
              </a:solidFill>
              <a:effectLst/>
              <a:uLnTx/>
              <a:uFillTx/>
              <a:latin typeface="Calibri"/>
              <a:ea typeface="+mn-ea"/>
              <a:cs typeface="+mn-cs"/>
            </a:endParaRPr>
          </a:p>
        </p:txBody>
      </p:sp>
      <p:pic>
        <p:nvPicPr>
          <p:cNvPr id="10" name="Grafik 9"/>
          <p:cNvPicPr>
            <a:picLocks noChangeAspect="1"/>
          </p:cNvPicPr>
          <p:nvPr userDrawn="1"/>
        </p:nvPicPr>
        <p:blipFill>
          <a:blip r:embed="rId3" cstate="hqprint">
            <a:biLevel thresh="25000"/>
            <a:extLst>
              <a:ext uri="{28A0092B-C50C-407E-A947-70E740481C1C}">
                <a14:useLocalDpi xmlns:a14="http://schemas.microsoft.com/office/drawing/2010/main" val="0"/>
              </a:ext>
            </a:extLst>
          </a:blip>
          <a:stretch>
            <a:fillRect/>
          </a:stretch>
        </p:blipFill>
        <p:spPr>
          <a:xfrm>
            <a:off x="6821879" y="4170446"/>
            <a:ext cx="445300" cy="362177"/>
          </a:xfrm>
          <a:prstGeom prst="rect">
            <a:avLst/>
          </a:prstGeom>
        </p:spPr>
      </p:pic>
      <p:sp>
        <p:nvSpPr>
          <p:cNvPr id="15" name="Textfeld 14"/>
          <p:cNvSpPr txBox="1"/>
          <p:nvPr userDrawn="1"/>
        </p:nvSpPr>
        <p:spPr>
          <a:xfrm>
            <a:off x="7490795" y="4063842"/>
            <a:ext cx="2686637" cy="584775"/>
          </a:xfrm>
          <a:prstGeom prst="rect">
            <a:avLst/>
          </a:prstGeom>
          <a:noFill/>
        </p:spPr>
        <p:txBody>
          <a:bodyPr wrap="squar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prstClr val="white"/>
                </a:solidFill>
                <a:effectLst/>
                <a:uLnTx/>
                <a:uFillTx/>
                <a:latin typeface="Georgia" panose="02040502050405020303" pitchFamily="18" charset="0"/>
                <a:ea typeface="+mn-ea"/>
                <a:cs typeface="+mn-cs"/>
              </a:rPr>
              <a:t>@</a:t>
            </a:r>
            <a:r>
              <a:rPr kumimoji="0" lang="en-GB" sz="1600" b="0" i="1" u="none" strike="noStrike" kern="1200" cap="none" spc="0" normalizeH="0" baseline="0" noProof="0" dirty="0" err="1">
                <a:ln>
                  <a:noFill/>
                </a:ln>
                <a:solidFill>
                  <a:prstClr val="white"/>
                </a:solidFill>
                <a:effectLst/>
                <a:uLnTx/>
                <a:uFillTx/>
                <a:latin typeface="Georgia" panose="02040502050405020303" pitchFamily="18" charset="0"/>
                <a:ea typeface="+mn-ea"/>
                <a:cs typeface="+mn-cs"/>
              </a:rPr>
              <a:t>ids_association</a:t>
            </a:r>
            <a:endParaRPr kumimoji="0" lang="en-GB" sz="1600" b="0" i="1"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prstClr val="white"/>
                </a:solidFill>
                <a:effectLst/>
                <a:uLnTx/>
                <a:uFillTx/>
                <a:latin typeface="Georgia" panose="02040502050405020303" pitchFamily="18" charset="0"/>
                <a:ea typeface="+mn-ea"/>
                <a:cs typeface="+mn-cs"/>
              </a:rPr>
              <a:t>#</a:t>
            </a:r>
            <a:r>
              <a:rPr kumimoji="0" lang="en-GB" sz="1600" b="0" i="1" u="none" strike="noStrike" kern="1200" cap="none" spc="0" normalizeH="0" baseline="0" noProof="0" dirty="0" err="1">
                <a:ln>
                  <a:noFill/>
                </a:ln>
                <a:solidFill>
                  <a:prstClr val="white"/>
                </a:solidFill>
                <a:effectLst/>
                <a:uLnTx/>
                <a:uFillTx/>
                <a:latin typeface="Georgia" panose="02040502050405020303" pitchFamily="18" charset="0"/>
                <a:ea typeface="+mn-ea"/>
                <a:cs typeface="+mn-cs"/>
              </a:rPr>
              <a:t>internationaldataspaces</a:t>
            </a:r>
            <a:endParaRPr kumimoji="0" lang="en-GB" sz="1600" b="0" i="1"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16" name="Textfeld 15"/>
          <p:cNvSpPr txBox="1"/>
          <p:nvPr userDrawn="1"/>
        </p:nvSpPr>
        <p:spPr>
          <a:xfrm>
            <a:off x="7490793" y="6115115"/>
            <a:ext cx="4123280" cy="338554"/>
          </a:xfrm>
          <a:prstGeom prst="rect">
            <a:avLst/>
          </a:prstGeom>
          <a:noFill/>
        </p:spPr>
        <p:txBody>
          <a:bodyPr wrap="squar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dirty="0">
                <a:ln>
                  <a:noFill/>
                </a:ln>
                <a:solidFill>
                  <a:prstClr val="white"/>
                </a:solidFill>
                <a:effectLst/>
                <a:uLnTx/>
                <a:uFillTx/>
                <a:latin typeface="Georgia" panose="02040502050405020303" pitchFamily="18" charset="0"/>
                <a:ea typeface="+mn-ea"/>
                <a:cs typeface="+mn-cs"/>
              </a:rPr>
              <a:t>www.internationaldataspaces.org</a:t>
            </a:r>
          </a:p>
        </p:txBody>
      </p:sp>
      <p:sp>
        <p:nvSpPr>
          <p:cNvPr id="23" name="Textfeld 22"/>
          <p:cNvSpPr txBox="1"/>
          <p:nvPr userDrawn="1"/>
        </p:nvSpPr>
        <p:spPr>
          <a:xfrm>
            <a:off x="7531623" y="5227591"/>
            <a:ext cx="3719236" cy="338554"/>
          </a:xfrm>
          <a:prstGeom prst="rect">
            <a:avLst/>
          </a:prstGeom>
          <a:noFill/>
        </p:spPr>
        <p:txBody>
          <a:bodyPr wrap="square" rtlCol="0" anchor="ctr">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prstClr val="white"/>
                </a:solidFill>
                <a:effectLst/>
                <a:uLnTx/>
                <a:uFillTx/>
                <a:latin typeface="Georgia" panose="02040502050405020303" pitchFamily="18" charset="0"/>
                <a:ea typeface="+mn-ea"/>
                <a:cs typeface="+mn-cs"/>
              </a:rPr>
              <a:t>International Data Spaces Association</a:t>
            </a:r>
          </a:p>
        </p:txBody>
      </p:sp>
      <p:sp>
        <p:nvSpPr>
          <p:cNvPr id="24" name="Shape"/>
          <p:cNvSpPr/>
          <p:nvPr userDrawn="1"/>
        </p:nvSpPr>
        <p:spPr>
          <a:xfrm>
            <a:off x="6821877" y="5160601"/>
            <a:ext cx="513976" cy="351291"/>
          </a:xfrm>
          <a:custGeom>
            <a:avLst/>
            <a:gdLst/>
            <a:ahLst/>
            <a:cxnLst>
              <a:cxn ang="0">
                <a:pos x="wd2" y="hd2"/>
              </a:cxn>
              <a:cxn ang="5400000">
                <a:pos x="wd2" y="hd2"/>
              </a:cxn>
              <a:cxn ang="10800000">
                <a:pos x="wd2" y="hd2"/>
              </a:cxn>
              <a:cxn ang="16200000">
                <a:pos x="wd2" y="hd2"/>
              </a:cxn>
            </a:cxnLst>
            <a:rect l="0" t="0" r="r" b="b"/>
            <a:pathLst>
              <a:path w="21600" h="21600" extrusionOk="0">
                <a:moveTo>
                  <a:pt x="18324" y="0"/>
                </a:moveTo>
                <a:cubicBezTo>
                  <a:pt x="11196" y="0"/>
                  <a:pt x="11196" y="0"/>
                  <a:pt x="11196" y="0"/>
                </a:cubicBezTo>
                <a:cubicBezTo>
                  <a:pt x="3816" y="0"/>
                  <a:pt x="3816" y="0"/>
                  <a:pt x="3816" y="0"/>
                </a:cubicBezTo>
                <a:cubicBezTo>
                  <a:pt x="2016" y="0"/>
                  <a:pt x="0" y="1844"/>
                  <a:pt x="0" y="4478"/>
                </a:cubicBezTo>
                <a:cubicBezTo>
                  <a:pt x="0" y="17491"/>
                  <a:pt x="0" y="17491"/>
                  <a:pt x="0" y="17491"/>
                </a:cubicBezTo>
                <a:cubicBezTo>
                  <a:pt x="0" y="20072"/>
                  <a:pt x="2016" y="21600"/>
                  <a:pt x="3816" y="21600"/>
                </a:cubicBezTo>
                <a:cubicBezTo>
                  <a:pt x="11448" y="21600"/>
                  <a:pt x="11448" y="21600"/>
                  <a:pt x="11448" y="21600"/>
                </a:cubicBezTo>
                <a:cubicBezTo>
                  <a:pt x="18324" y="21600"/>
                  <a:pt x="18324" y="21600"/>
                  <a:pt x="18324" y="21600"/>
                </a:cubicBezTo>
                <a:cubicBezTo>
                  <a:pt x="20088" y="21600"/>
                  <a:pt x="21600" y="20072"/>
                  <a:pt x="21600" y="17491"/>
                </a:cubicBezTo>
                <a:cubicBezTo>
                  <a:pt x="21600" y="4478"/>
                  <a:pt x="21600" y="4478"/>
                  <a:pt x="21600" y="4478"/>
                </a:cubicBezTo>
                <a:cubicBezTo>
                  <a:pt x="21600" y="1844"/>
                  <a:pt x="20088" y="0"/>
                  <a:pt x="18324" y="0"/>
                </a:cubicBezTo>
                <a:close/>
                <a:moveTo>
                  <a:pt x="9396" y="16016"/>
                </a:moveTo>
                <a:cubicBezTo>
                  <a:pt x="9396" y="5953"/>
                  <a:pt x="9396" y="5953"/>
                  <a:pt x="9396" y="5953"/>
                </a:cubicBezTo>
                <a:cubicBezTo>
                  <a:pt x="14004" y="10800"/>
                  <a:pt x="14004" y="10800"/>
                  <a:pt x="14004" y="10800"/>
                </a:cubicBezTo>
                <a:lnTo>
                  <a:pt x="9396" y="16016"/>
                </a:lnTo>
                <a:close/>
              </a:path>
            </a:pathLst>
          </a:custGeom>
          <a:solidFill>
            <a:schemeClr val="bg1"/>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4" name="Textplatzhalter 3"/>
          <p:cNvSpPr>
            <a:spLocks noGrp="1"/>
          </p:cNvSpPr>
          <p:nvPr>
            <p:ph type="body" sz="quarter" idx="10" hasCustomPrompt="1"/>
          </p:nvPr>
        </p:nvSpPr>
        <p:spPr>
          <a:xfrm>
            <a:off x="619434" y="4325312"/>
            <a:ext cx="4489239" cy="374192"/>
          </a:xfrm>
        </p:spPr>
        <p:txBody>
          <a:bodyPr>
            <a:normAutofit/>
          </a:bodyPr>
          <a:lstStyle>
            <a:lvl1pPr marL="0" indent="0" algn="r">
              <a:buNone/>
              <a:defRPr sz="1467" b="1">
                <a:solidFill>
                  <a:schemeClr val="tx1">
                    <a:lumMod val="75000"/>
                    <a:lumOff val="25000"/>
                  </a:schemeClr>
                </a:solidFill>
              </a:defRPr>
            </a:lvl1pPr>
          </a:lstStyle>
          <a:p>
            <a:pPr lvl="0"/>
            <a:r>
              <a:rPr lang="de-DE" dirty="0" err="1"/>
              <a:t>Your</a:t>
            </a:r>
            <a:r>
              <a:rPr lang="de-DE" dirty="0"/>
              <a:t> </a:t>
            </a:r>
            <a:r>
              <a:rPr lang="de-DE" dirty="0" err="1"/>
              <a:t>name</a:t>
            </a:r>
            <a:endParaRPr lang="de-DE" dirty="0"/>
          </a:p>
        </p:txBody>
      </p:sp>
      <p:sp>
        <p:nvSpPr>
          <p:cNvPr id="7" name="Rechteck 6"/>
          <p:cNvSpPr/>
          <p:nvPr userDrawn="1"/>
        </p:nvSpPr>
        <p:spPr>
          <a:xfrm>
            <a:off x="2305401" y="2462361"/>
            <a:ext cx="2709051" cy="18081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sp>
        <p:nvSpPr>
          <p:cNvPr id="26" name="Textplatzhalter 3"/>
          <p:cNvSpPr>
            <a:spLocks noGrp="1"/>
          </p:cNvSpPr>
          <p:nvPr>
            <p:ph type="body" sz="quarter" idx="11" hasCustomPrompt="1"/>
          </p:nvPr>
        </p:nvSpPr>
        <p:spPr>
          <a:xfrm>
            <a:off x="619432" y="4633527"/>
            <a:ext cx="4489240" cy="480221"/>
          </a:xfrm>
        </p:spPr>
        <p:txBody>
          <a:bodyPr>
            <a:normAutofit/>
          </a:bodyPr>
          <a:lstStyle>
            <a:lvl1pPr marL="0" indent="0" algn="r">
              <a:buNone/>
              <a:defRPr lang="de-DE" sz="1067" b="1" kern="1200" cap="none" baseline="0" dirty="0">
                <a:solidFill>
                  <a:schemeClr val="bg1"/>
                </a:solidFill>
                <a:latin typeface="Verdana"/>
                <a:ea typeface="+mn-ea"/>
                <a:cs typeface="Verdana"/>
              </a:defRPr>
            </a:lvl1pPr>
          </a:lstStyle>
          <a:p>
            <a:pPr lvl="0"/>
            <a:r>
              <a:rPr lang="de-DE" cap="none" baseline="0" dirty="0" err="1"/>
              <a:t>Your</a:t>
            </a:r>
            <a:r>
              <a:rPr lang="de-DE" cap="none" baseline="0" dirty="0"/>
              <a:t> </a:t>
            </a:r>
            <a:r>
              <a:rPr lang="de-DE" cap="none" baseline="0" dirty="0" err="1"/>
              <a:t>position</a:t>
            </a:r>
            <a:endParaRPr lang="de-DE" dirty="0"/>
          </a:p>
        </p:txBody>
      </p:sp>
      <p:sp>
        <p:nvSpPr>
          <p:cNvPr id="30" name="Bildplatzhalter 29"/>
          <p:cNvSpPr>
            <a:spLocks noGrp="1"/>
          </p:cNvSpPr>
          <p:nvPr>
            <p:ph type="pic" sz="quarter" idx="13" hasCustomPrompt="1"/>
          </p:nvPr>
        </p:nvSpPr>
        <p:spPr>
          <a:xfrm>
            <a:off x="2421065" y="2528580"/>
            <a:ext cx="2477729" cy="1675669"/>
          </a:xfrm>
        </p:spPr>
        <p:txBody>
          <a:bodyPr anchor="ctr"/>
          <a:lstStyle>
            <a:lvl1pPr marL="0" indent="0" algn="ctr">
              <a:buFontTx/>
              <a:buNone/>
              <a:defRPr/>
            </a:lvl1pPr>
          </a:lstStyle>
          <a:p>
            <a:r>
              <a:rPr lang="de-DE" dirty="0" err="1"/>
              <a:t>Your</a:t>
            </a:r>
            <a:r>
              <a:rPr lang="de-DE" dirty="0"/>
              <a:t> Picture!</a:t>
            </a:r>
          </a:p>
        </p:txBody>
      </p:sp>
      <p:sp>
        <p:nvSpPr>
          <p:cNvPr id="31" name="Textfeld 30"/>
          <p:cNvSpPr txBox="1"/>
          <p:nvPr userDrawn="1"/>
        </p:nvSpPr>
        <p:spPr>
          <a:xfrm>
            <a:off x="7490795" y="3019350"/>
            <a:ext cx="2686637" cy="666786"/>
          </a:xfrm>
          <a:prstGeom prst="rect">
            <a:avLst/>
          </a:prstGeom>
          <a:noFill/>
        </p:spPr>
        <p:txBody>
          <a:bodyPr wrap="squar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3733" b="1" i="0" u="none" strike="noStrike" kern="1200" cap="none" spc="0" normalizeH="0" baseline="0" noProof="0" dirty="0">
                <a:ln>
                  <a:noFill/>
                </a:ln>
                <a:solidFill>
                  <a:srgbClr val="E5007D"/>
                </a:solidFill>
                <a:effectLst/>
                <a:uLnTx/>
                <a:uFillTx/>
                <a:latin typeface="Verdana" panose="020B0604030504040204" pitchFamily="34" charset="0"/>
                <a:ea typeface="Verdana" panose="020B0604030504040204" pitchFamily="34" charset="0"/>
                <a:cs typeface="Verdana" panose="020B0604030504040204" pitchFamily="34" charset="0"/>
              </a:rPr>
              <a:t>JOIN US!</a:t>
            </a:r>
          </a:p>
        </p:txBody>
      </p:sp>
      <p:sp>
        <p:nvSpPr>
          <p:cNvPr id="19" name="Textplatzhalter 21"/>
          <p:cNvSpPr>
            <a:spLocks noGrp="1"/>
          </p:cNvSpPr>
          <p:nvPr>
            <p:ph type="body" sz="quarter" idx="23" hasCustomPrompt="1"/>
          </p:nvPr>
        </p:nvSpPr>
        <p:spPr>
          <a:xfrm>
            <a:off x="7490796" y="4621888"/>
            <a:ext cx="2508249" cy="448733"/>
          </a:xfrm>
          <a:prstGeom prst="rect">
            <a:avLst/>
          </a:prstGeom>
        </p:spPr>
        <p:txBody>
          <a:bodyPr vert="horz">
            <a:normAutofit/>
          </a:bodyPr>
          <a:lstStyle>
            <a:lvl1pPr marL="0" indent="0" algn="l" defTabSz="609555" rtl="0" eaLnBrk="1" latinLnBrk="0" hangingPunct="1">
              <a:buNone/>
              <a:defRPr lang="de-DE" sz="1600" i="1" kern="1200" dirty="0">
                <a:solidFill>
                  <a:schemeClr val="bg1"/>
                </a:solidFill>
                <a:latin typeface="Georgia" panose="02040502050405020303" pitchFamily="18" charset="0"/>
                <a:ea typeface="+mn-ea"/>
                <a:cs typeface="+mn-cs"/>
              </a:defRPr>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
        <p:nvSpPr>
          <p:cNvPr id="25" name="Textplatzhalter 21"/>
          <p:cNvSpPr>
            <a:spLocks noGrp="1"/>
          </p:cNvSpPr>
          <p:nvPr>
            <p:ph type="body" sz="quarter" idx="25" hasCustomPrompt="1"/>
          </p:nvPr>
        </p:nvSpPr>
        <p:spPr>
          <a:xfrm>
            <a:off x="620186" y="5584431"/>
            <a:ext cx="4492591" cy="281005"/>
          </a:xfrm>
          <a:prstGeom prst="rect">
            <a:avLst/>
          </a:prstGeom>
        </p:spPr>
        <p:txBody>
          <a:bodyPr vert="horz">
            <a:noAutofit/>
          </a:bodyPr>
          <a:lstStyle>
            <a:lvl1pPr marL="0" marR="0" indent="0" algn="r" defTabSz="609555" rtl="0" eaLnBrk="1" fontAlgn="auto" latinLnBrk="0" hangingPunct="1">
              <a:lnSpc>
                <a:spcPct val="100000"/>
              </a:lnSpc>
              <a:spcBef>
                <a:spcPct val="20000"/>
              </a:spcBef>
              <a:spcAft>
                <a:spcPts val="0"/>
              </a:spcAft>
              <a:buClrTx/>
              <a:buSzTx/>
              <a:buFont typeface="Arial"/>
              <a:buNone/>
              <a:tabLst/>
              <a:defRPr lang="de-DE"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609570" indent="0">
              <a:buNone/>
              <a:defRPr sz="1000"/>
            </a:lvl2pPr>
            <a:lvl3pPr marL="1219140" indent="0">
              <a:buNone/>
              <a:defRPr sz="1000"/>
            </a:lvl3pPr>
            <a:lvl4pPr marL="1828709" indent="0">
              <a:buNone/>
              <a:defRPr sz="1000"/>
            </a:lvl4pPr>
            <a:lvl5pPr marL="2438278" indent="0">
              <a:buNone/>
              <a:defRPr sz="1000"/>
            </a:lvl5pPr>
          </a:lstStyle>
          <a:p>
            <a:pPr marL="0" marR="0" lvl="0" indent="0" algn="r" defTabSz="609555" rtl="0" eaLnBrk="1" fontAlgn="auto" latinLnBrk="0" hangingPunct="1">
              <a:lnSpc>
                <a:spcPct val="100000"/>
              </a:lnSpc>
              <a:spcBef>
                <a:spcPct val="20000"/>
              </a:spcBef>
              <a:spcAft>
                <a:spcPts val="0"/>
              </a:spcAft>
              <a:buClrTx/>
              <a:buSzTx/>
              <a:buFont typeface="Arial"/>
              <a:buNone/>
              <a:tabLst/>
              <a:defRPr/>
            </a:pPr>
            <a:r>
              <a:rPr lang="de-DE" dirty="0" err="1"/>
              <a:t>Your</a:t>
            </a:r>
            <a:r>
              <a:rPr lang="de-DE" dirty="0"/>
              <a:t> LinkedIn </a:t>
            </a:r>
            <a:r>
              <a:rPr lang="de-DE" dirty="0" err="1"/>
              <a:t>account</a:t>
            </a:r>
            <a:endParaRPr lang="de-DE" dirty="0"/>
          </a:p>
          <a:p>
            <a:endParaRPr lang="de-DE" dirty="0"/>
          </a:p>
        </p:txBody>
      </p:sp>
      <p:sp>
        <p:nvSpPr>
          <p:cNvPr id="17" name="Textfeld 16"/>
          <p:cNvSpPr txBox="1"/>
          <p:nvPr userDrawn="1"/>
        </p:nvSpPr>
        <p:spPr>
          <a:xfrm>
            <a:off x="615330" y="6158855"/>
            <a:ext cx="4493343" cy="420756"/>
          </a:xfrm>
          <a:prstGeom prst="rect">
            <a:avLst/>
          </a:prstGeom>
          <a:noFill/>
        </p:spPr>
        <p:txBody>
          <a:bodyPr wrap="square" rtlCol="0">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Joseph-von-Fraunhofer-Str. 2-4</a:t>
            </a:r>
          </a:p>
          <a:p>
            <a:pPr marL="0" marR="0" lvl="0" indent="0" algn="r" defTabSz="609570"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44227 Dortmund | </a:t>
            </a:r>
            <a:r>
              <a:rPr kumimoji="0" lang="en-GB" sz="1067"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ERMANY</a:t>
            </a:r>
          </a:p>
        </p:txBody>
      </p:sp>
      <p:sp>
        <p:nvSpPr>
          <p:cNvPr id="29" name="Textplatzhalter 2"/>
          <p:cNvSpPr>
            <a:spLocks noGrp="1"/>
          </p:cNvSpPr>
          <p:nvPr>
            <p:ph type="body" sz="quarter" idx="26" hasCustomPrompt="1"/>
          </p:nvPr>
        </p:nvSpPr>
        <p:spPr>
          <a:xfrm>
            <a:off x="620186" y="5054642"/>
            <a:ext cx="4492591" cy="327388"/>
          </a:xfrm>
        </p:spPr>
        <p:txBody>
          <a:bodyPr>
            <a:noAutofit/>
          </a:bodyPr>
          <a:lstStyle>
            <a:lvl1pPr marL="0" indent="0" algn="r">
              <a:buNone/>
              <a:defRPr lang="en-GB" sz="1067" b="0" kern="1200" cap="none" baseline="0" dirty="0" smtClean="0">
                <a:solidFill>
                  <a:schemeClr val="bg1"/>
                </a:solidFill>
                <a:latin typeface="Verdana"/>
                <a:ea typeface="+mn-ea"/>
                <a:cs typeface="Verdana"/>
              </a:defRPr>
            </a:lvl1pPr>
            <a:lvl5pPr marL="2438278" indent="0" algn="r">
              <a:buNone/>
              <a:defRPr sz="1200" i="0">
                <a:solidFill>
                  <a:schemeClr val="accent4"/>
                </a:solidFill>
                <a:latin typeface="Verdana" panose="020B0604030504040204" pitchFamily="34" charset="0"/>
                <a:ea typeface="Verdana" panose="020B0604030504040204" pitchFamily="34" charset="0"/>
                <a:cs typeface="Verdana" panose="020B0604030504040204" pitchFamily="34" charset="0"/>
              </a:defRPr>
            </a:lvl5pPr>
          </a:lstStyle>
          <a:p>
            <a:pPr lvl="0" algn="r"/>
            <a:r>
              <a:rPr lang="en-GB"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Your </a:t>
            </a:r>
            <a:r>
              <a:rPr lang="en-GB" sz="1067" i="0" kern="1200" baseline="0" dirty="0" err="1">
                <a:solidFill>
                  <a:schemeClr val="bg1"/>
                </a:solidFill>
                <a:latin typeface="Verdana" panose="020B0604030504040204" pitchFamily="34" charset="0"/>
                <a:ea typeface="Verdana" panose="020B0604030504040204" pitchFamily="34" charset="0"/>
                <a:cs typeface="Verdana" panose="020B0604030504040204" pitchFamily="34" charset="0"/>
              </a:rPr>
              <a:t>phonenumber</a:t>
            </a:r>
            <a:endParaRPr lang="en-GB"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r"/>
            <a:endParaRPr lang="de-DE"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3" name="Textfeld 32"/>
          <p:cNvSpPr txBox="1"/>
          <p:nvPr userDrawn="1"/>
        </p:nvSpPr>
        <p:spPr>
          <a:xfrm>
            <a:off x="611226" y="5948867"/>
            <a:ext cx="4493343" cy="256545"/>
          </a:xfrm>
          <a:prstGeom prst="rect">
            <a:avLst/>
          </a:prstGeom>
          <a:noFill/>
        </p:spPr>
        <p:txBody>
          <a:bodyPr wrap="square" rtlCol="0">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de-DE" sz="1067"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nternational Data Spaces </a:t>
            </a:r>
            <a:r>
              <a:rPr kumimoji="0" lang="de-DE" sz="1067"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ssociation</a:t>
            </a:r>
            <a:endParaRPr kumimoji="0" lang="en-GB" sz="1067"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4" name="Textplatzhalter 2"/>
          <p:cNvSpPr>
            <a:spLocks noGrp="1"/>
          </p:cNvSpPr>
          <p:nvPr>
            <p:ph type="body" sz="quarter" idx="27" hasCustomPrompt="1"/>
          </p:nvPr>
        </p:nvSpPr>
        <p:spPr>
          <a:xfrm>
            <a:off x="618836" y="5324263"/>
            <a:ext cx="4492269" cy="327388"/>
          </a:xfrm>
        </p:spPr>
        <p:txBody>
          <a:bodyPr>
            <a:noAutofit/>
          </a:bodyPr>
          <a:lstStyle>
            <a:lvl1pPr marL="0" indent="0" algn="r">
              <a:buNone/>
              <a:defRPr lang="en-GB" sz="1067" b="0" i="0" kern="1200" cap="none"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5pPr marL="2438278" indent="0" algn="r">
              <a:buNone/>
              <a:defRPr sz="1200" i="0">
                <a:solidFill>
                  <a:schemeClr val="accent4"/>
                </a:solidFill>
                <a:latin typeface="Verdana" panose="020B0604030504040204" pitchFamily="34" charset="0"/>
                <a:ea typeface="Verdana" panose="020B0604030504040204" pitchFamily="34" charset="0"/>
                <a:cs typeface="Verdana" panose="020B0604030504040204" pitchFamily="34" charset="0"/>
              </a:defRPr>
            </a:lvl5pPr>
          </a:lstStyle>
          <a:p>
            <a:pPr lvl="0" algn="r"/>
            <a:r>
              <a:rPr lang="en-GB"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Your email address</a:t>
            </a:r>
            <a:r>
              <a:rPr lang="de-DE"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 </a:t>
            </a:r>
          </a:p>
          <a:p>
            <a:pPr algn="r"/>
            <a:endParaRPr lang="de-DE"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Textfeld 21"/>
          <p:cNvSpPr txBox="1"/>
          <p:nvPr userDrawn="1"/>
        </p:nvSpPr>
        <p:spPr>
          <a:xfrm>
            <a:off x="6859625" y="5883437"/>
            <a:ext cx="369803" cy="707886"/>
          </a:xfrm>
          <a:prstGeom prst="rect">
            <a:avLst/>
          </a:prstGeom>
          <a:noFill/>
        </p:spPr>
        <p:txBody>
          <a:bodyPr wrap="square" rtlCol="0" anchor="ctr">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Georgia" panose="02040502050405020303" pitchFamily="18" charset="0"/>
                <a:ea typeface="Verdana" panose="020B0604030504040204" pitchFamily="34" charset="0"/>
                <a:cs typeface="Verdana" panose="020B0604030504040204" pitchFamily="34" charset="0"/>
              </a:rPr>
              <a:t>@</a:t>
            </a:r>
          </a:p>
        </p:txBody>
      </p:sp>
    </p:spTree>
    <p:extLst>
      <p:ext uri="{BB962C8B-B14F-4D97-AF65-F5344CB8AC3E}">
        <p14:creationId xmlns:p14="http://schemas.microsoft.com/office/powerpoint/2010/main" val="840707133"/>
      </p:ext>
    </p:extLst>
  </p:cSld>
  <p:clrMapOvr>
    <a:masterClrMapping/>
  </p:clrMapOvr>
  <p:extLst>
    <p:ext uri="{DCECCB84-F9BA-43D5-87BE-67443E8EF086}">
      <p15:sldGuideLst xmlns:p15="http://schemas.microsoft.com/office/powerpoint/2012/main">
        <p15:guide id="1" orient="horz" pos="3072">
          <p15:clr>
            <a:srgbClr val="FBAE40"/>
          </p15:clr>
        </p15:guide>
        <p15:guide id="2" pos="28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Bildplatzhalter 5"/>
          <p:cNvSpPr>
            <a:spLocks noGrp="1"/>
          </p:cNvSpPr>
          <p:nvPr>
            <p:ph type="pic" sz="quarter" idx="18"/>
          </p:nvPr>
        </p:nvSpPr>
        <p:spPr>
          <a:xfrm>
            <a:off x="0" y="0"/>
            <a:ext cx="12192000" cy="6858000"/>
          </a:xfrm>
        </p:spPr>
        <p:txBody>
          <a:bodyPr/>
          <a:lstStyle/>
          <a:p>
            <a:endParaRPr lang="de-DE" dirty="0"/>
          </a:p>
        </p:txBody>
      </p:sp>
      <p:sp>
        <p:nvSpPr>
          <p:cNvPr id="4" name="Titel 1"/>
          <p:cNvSpPr>
            <a:spLocks noGrp="1"/>
          </p:cNvSpPr>
          <p:nvPr>
            <p:ph type="title" hasCustomPrompt="1"/>
          </p:nvPr>
        </p:nvSpPr>
        <p:spPr>
          <a:xfrm>
            <a:off x="790960" y="3025797"/>
            <a:ext cx="5877697" cy="795867"/>
          </a:xfrm>
          <a:prstGeom prst="rect">
            <a:avLst/>
          </a:prstGeom>
        </p:spPr>
        <p:txBody>
          <a:bodyPr anchor="b"/>
          <a:lstStyle>
            <a:lvl1pPr>
              <a:lnSpc>
                <a:spcPct val="90000"/>
              </a:lnSpc>
              <a:defRPr sz="2400" b="1" cap="all" baseline="0">
                <a:solidFill>
                  <a:srgbClr val="0BA2E3"/>
                </a:solidFill>
              </a:defRPr>
            </a:lvl1pPr>
          </a:lstStyle>
          <a:p>
            <a:r>
              <a:rPr lang="de-DE" dirty="0"/>
              <a:t>Headline</a:t>
            </a:r>
          </a:p>
        </p:txBody>
      </p:sp>
      <p:sp>
        <p:nvSpPr>
          <p:cNvPr id="5" name="Textplatzhalter 4"/>
          <p:cNvSpPr>
            <a:spLocks noGrp="1"/>
          </p:cNvSpPr>
          <p:nvPr>
            <p:ph type="body" sz="quarter" idx="17" hasCustomPrompt="1"/>
          </p:nvPr>
        </p:nvSpPr>
        <p:spPr>
          <a:xfrm>
            <a:off x="785083" y="3821665"/>
            <a:ext cx="5883572" cy="795865"/>
          </a:xfrm>
          <a:prstGeom prst="rect">
            <a:avLst/>
          </a:prstGeom>
        </p:spPr>
        <p:txBody>
          <a:bodyPr vert="horz"/>
          <a:lstStyle>
            <a:lvl1pPr marL="0" indent="0">
              <a:lnSpc>
                <a:spcPct val="60000"/>
              </a:lnSpc>
              <a:buNone/>
              <a:defRPr sz="2400" cap="all">
                <a:solidFill>
                  <a:srgbClr val="0BA2E3"/>
                </a:solidFill>
              </a:defRPr>
            </a:lvl1pPr>
          </a:lstStyle>
          <a:p>
            <a:r>
              <a:rPr lang="de-DE" dirty="0"/>
              <a:t>Design </a:t>
            </a:r>
            <a:r>
              <a:rPr lang="de-DE" dirty="0" err="1"/>
              <a:t>for</a:t>
            </a:r>
            <a:r>
              <a:rPr lang="de-DE" dirty="0"/>
              <a:t> </a:t>
            </a:r>
            <a:r>
              <a:rPr lang="de-DE" dirty="0" err="1"/>
              <a:t>areal</a:t>
            </a:r>
            <a:r>
              <a:rPr lang="de-DE" dirty="0"/>
              <a:t> </a:t>
            </a:r>
            <a:r>
              <a:rPr lang="de-DE" dirty="0" err="1"/>
              <a:t>images</a:t>
            </a:r>
            <a:endParaRPr lang="de-DE" dirty="0"/>
          </a:p>
        </p:txBody>
      </p:sp>
      <p:sp>
        <p:nvSpPr>
          <p:cNvPr id="10" name="Textplatzhalter 2"/>
          <p:cNvSpPr>
            <a:spLocks noGrp="1"/>
          </p:cNvSpPr>
          <p:nvPr>
            <p:ph type="body" idx="1" hasCustomPrompt="1"/>
          </p:nvPr>
        </p:nvSpPr>
        <p:spPr>
          <a:xfrm>
            <a:off x="783267" y="4224215"/>
            <a:ext cx="5885388" cy="1982623"/>
          </a:xfrm>
          <a:prstGeom prst="rect">
            <a:avLst/>
          </a:prstGeom>
        </p:spPr>
        <p:txBody>
          <a:bodyPr anchor="t">
            <a:normAutofit/>
          </a:bodyPr>
          <a:lstStyle>
            <a:lvl1pPr marL="0" marR="0" indent="0" algn="l" defTabSz="609570" rtl="0" eaLnBrk="1" fontAlgn="auto" latinLnBrk="0" hangingPunct="1">
              <a:lnSpc>
                <a:spcPct val="100000"/>
              </a:lnSpc>
              <a:spcBef>
                <a:spcPct val="20000"/>
              </a:spcBef>
              <a:spcAft>
                <a:spcPts val="0"/>
              </a:spcAft>
              <a:buClrTx/>
              <a:buSzTx/>
              <a:buFont typeface="Arial" panose="020B0604020202020204" pitchFamily="34" charset="0"/>
              <a:buNone/>
              <a:tabLst/>
              <a:defRPr sz="1667" baseline="0">
                <a:solidFill>
                  <a:schemeClr val="tx1"/>
                </a:solidFill>
              </a:defRPr>
            </a:lvl1pPr>
            <a:lvl2pPr marL="478343" indent="-228589">
              <a:buFont typeface="Symbol" panose="05050102010706020507" pitchFamily="18" charset="2"/>
              <a:buChar char="-"/>
              <a:defRPr sz="1467" baseline="0">
                <a:solidFill>
                  <a:schemeClr val="tx1"/>
                </a:solidFill>
              </a:defRPr>
            </a:lvl2pPr>
            <a:lvl3pPr marL="598988" indent="-110061">
              <a:buFont typeface="Arial" panose="020B0604020202020204" pitchFamily="34" charset="0"/>
              <a:buChar char="•"/>
              <a:defRPr sz="933">
                <a:solidFill>
                  <a:schemeClr val="tx1"/>
                </a:solidFill>
              </a:defRPr>
            </a:lvl3pPr>
            <a:lvl4pPr marL="833926" indent="-256104">
              <a:buFont typeface="Symbol" panose="05050102010706020507" pitchFamily="18" charset="2"/>
              <a:buChar char="-"/>
              <a:tabLst>
                <a:tab pos="833926" algn="l"/>
                <a:tab pos="1077330" algn="l"/>
              </a:tabLst>
              <a:defRPr sz="1600" baseline="0">
                <a:solidFill>
                  <a:schemeClr val="tx1"/>
                </a:solidFill>
              </a:defRPr>
            </a:lvl4pPr>
            <a:lvl5pPr marL="1077330" indent="-262453">
              <a:buFont typeface="Georgia" panose="02040502050405020303" pitchFamily="18" charset="0"/>
              <a:buChar char="»"/>
              <a:defRPr sz="1600">
                <a:solidFill>
                  <a:schemeClr val="tx1"/>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marL="0" indent="0">
              <a:lnSpc>
                <a:spcPct val="100000"/>
              </a:lnSpc>
              <a:buNone/>
            </a:pPr>
            <a:r>
              <a:rPr lang="en-US" dirty="0">
                <a:solidFill>
                  <a:srgbClr val="000000"/>
                </a:solidFill>
              </a:rPr>
              <a:t>The text fields fit into the image with your background color so that that the images are shown to their best advantage. Always pay attention to the contrast between image and text. Alternative: White as background color of the text field. The positioning of the text is free, supporting the message and effect of the image.</a:t>
            </a:r>
          </a:p>
        </p:txBody>
      </p:sp>
      <p:grpSp>
        <p:nvGrpSpPr>
          <p:cNvPr id="13" name="Gruppieren 12"/>
          <p:cNvGrpSpPr/>
          <p:nvPr userDrawn="1"/>
        </p:nvGrpSpPr>
        <p:grpSpPr>
          <a:xfrm>
            <a:off x="9732134" y="0"/>
            <a:ext cx="2091868" cy="1124197"/>
            <a:chOff x="7299099" y="0"/>
            <a:chExt cx="1568901" cy="843148"/>
          </a:xfrm>
        </p:grpSpPr>
        <p:sp>
          <p:nvSpPr>
            <p:cNvPr id="11" name="Rechteck 10"/>
            <p:cNvSpPr/>
            <p:nvPr userDrawn="1"/>
          </p:nvSpPr>
          <p:spPr>
            <a:xfrm>
              <a:off x="7321550" y="0"/>
              <a:ext cx="1519629" cy="84314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pic>
          <p:nvPicPr>
            <p:cNvPr id="12" name="Grafik 11"/>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299099" y="154696"/>
              <a:ext cx="1568901" cy="569971"/>
            </a:xfrm>
            <a:prstGeom prst="rect">
              <a:avLst/>
            </a:prstGeom>
          </p:spPr>
        </p:pic>
      </p:grpSp>
    </p:spTree>
    <p:extLst>
      <p:ext uri="{BB962C8B-B14F-4D97-AF65-F5344CB8AC3E}">
        <p14:creationId xmlns:p14="http://schemas.microsoft.com/office/powerpoint/2010/main" val="33843245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3B0B3C-F4AC-4A96-B7AD-B9D2B9283A2D}"/>
              </a:ext>
            </a:extLst>
          </p:cNvPr>
          <p:cNvSpPr>
            <a:spLocks noGrp="1"/>
          </p:cNvSpPr>
          <p:nvPr>
            <p:ph type="dt" sz="half" idx="10"/>
          </p:nvPr>
        </p:nvSpPr>
        <p:spPr/>
        <p:txBody>
          <a:bodyPr/>
          <a:lstStyle/>
          <a:p>
            <a:pPr defTabSz="914377"/>
            <a:fld id="{C7640082-2FEC-4F3F-885B-347408E702B4}" type="datetimeFigureOut">
              <a:rPr lang="en-GB" smtClean="0">
                <a:solidFill>
                  <a:prstClr val="black">
                    <a:tint val="75000"/>
                  </a:prstClr>
                </a:solidFill>
              </a:rPr>
              <a:pPr defTabSz="914377"/>
              <a:t>04/06/2020</a:t>
            </a:fld>
            <a:endParaRPr lang="en-GB">
              <a:solidFill>
                <a:prstClr val="black">
                  <a:tint val="75000"/>
                </a:prstClr>
              </a:solidFill>
            </a:endParaRPr>
          </a:p>
        </p:txBody>
      </p:sp>
      <p:sp>
        <p:nvSpPr>
          <p:cNvPr id="3" name="Footer Placeholder 2">
            <a:extLst>
              <a:ext uri="{FF2B5EF4-FFF2-40B4-BE49-F238E27FC236}">
                <a16:creationId xmlns:a16="http://schemas.microsoft.com/office/drawing/2014/main" id="{3D379FA7-847C-4D19-A3F3-6AD6D4340BFB}"/>
              </a:ext>
            </a:extLst>
          </p:cNvPr>
          <p:cNvSpPr>
            <a:spLocks noGrp="1"/>
          </p:cNvSpPr>
          <p:nvPr>
            <p:ph type="ftr" sz="quarter" idx="11"/>
          </p:nvPr>
        </p:nvSpPr>
        <p:spPr/>
        <p:txBody>
          <a:bodyPr/>
          <a:lstStyle/>
          <a:p>
            <a:pPr defTabSz="914377"/>
            <a:endParaRPr lang="en-GB">
              <a:solidFill>
                <a:prstClr val="black">
                  <a:tint val="75000"/>
                </a:prstClr>
              </a:solidFill>
            </a:endParaRPr>
          </a:p>
        </p:txBody>
      </p:sp>
      <p:sp>
        <p:nvSpPr>
          <p:cNvPr id="4" name="Slide Number Placeholder 3">
            <a:extLst>
              <a:ext uri="{FF2B5EF4-FFF2-40B4-BE49-F238E27FC236}">
                <a16:creationId xmlns:a16="http://schemas.microsoft.com/office/drawing/2014/main" id="{9BEBBFFC-A219-494C-9B48-D29F5BD140D4}"/>
              </a:ext>
            </a:extLst>
          </p:cNvPr>
          <p:cNvSpPr>
            <a:spLocks noGrp="1"/>
          </p:cNvSpPr>
          <p:nvPr>
            <p:ph type="sldNum" sz="quarter" idx="12"/>
          </p:nvPr>
        </p:nvSpPr>
        <p:spPr/>
        <p:txBody>
          <a:bodyPr/>
          <a:lstStyle/>
          <a:p>
            <a:pPr defTabSz="914377"/>
            <a:fld id="{B17E7E06-9D3D-43DE-9FA6-EBD585438339}" type="slidenum">
              <a:rPr lang="en-GB" smtClean="0">
                <a:solidFill>
                  <a:prstClr val="black">
                    <a:tint val="75000"/>
                  </a:prstClr>
                </a:solidFill>
              </a:rPr>
              <a:pPr defTabSz="914377"/>
              <a:t>‹#›</a:t>
            </a:fld>
            <a:endParaRPr lang="en-GB">
              <a:solidFill>
                <a:prstClr val="black">
                  <a:tint val="75000"/>
                </a:prstClr>
              </a:solidFill>
            </a:endParaRPr>
          </a:p>
        </p:txBody>
      </p:sp>
    </p:spTree>
    <p:extLst>
      <p:ext uri="{BB962C8B-B14F-4D97-AF65-F5344CB8AC3E}">
        <p14:creationId xmlns:p14="http://schemas.microsoft.com/office/powerpoint/2010/main" val="33414120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Nur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CB3AEC-BDF6-4744-B557-7F0DCAD28942}"/>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1CCB3AEC-BDF6-4744-B557-7F0DCAD2894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51BFCE-DF47-4027-AE67-173A832D5087}"/>
              </a:ext>
            </a:extLst>
          </p:cNvPr>
          <p:cNvSpPr/>
          <p:nvPr userDrawn="1">
            <p:custDataLst>
              <p:tags r:id="rId3"/>
            </p:custDataLst>
          </p:nvPr>
        </p:nvSpPr>
        <p:spPr bwMode="auto">
          <a:xfrm>
            <a:off x="0" y="0"/>
            <a:ext cx="211667" cy="21166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DE" sz="2800" b="0" i="0" u="none" strike="noStrike" kern="1200" cap="none" spc="0" normalizeH="0" baseline="0" noProof="0" dirty="0">
              <a:ln>
                <a:noFill/>
              </a:ln>
              <a:solidFill>
                <a:srgbClr val="000000"/>
              </a:solidFill>
              <a:effectLst/>
              <a:uLnTx/>
              <a:uFillTx/>
              <a:latin typeface="BundesSerif Office"/>
              <a:ea typeface="ＭＳ Ｐゴシック" panose="020B0600070205080204" pitchFamily="34" charset="-128"/>
              <a:cs typeface="Times" panose="02020603050405020304" pitchFamily="18" charset="0"/>
              <a:sym typeface="BundesSerif Office"/>
            </a:endParaRPr>
          </a:p>
        </p:txBody>
      </p:sp>
      <p:sp>
        <p:nvSpPr>
          <p:cNvPr id="4115" name="Rectangle 19"/>
          <p:cNvSpPr>
            <a:spLocks noGrp="1" noChangeArrowheads="1"/>
          </p:cNvSpPr>
          <p:nvPr>
            <p:ph type="subTitle" idx="1" hasCustomPrompt="1"/>
          </p:nvPr>
        </p:nvSpPr>
        <p:spPr>
          <a:xfrm>
            <a:off x="623392" y="1628800"/>
            <a:ext cx="10896000" cy="4104456"/>
          </a:xfrm>
          <a:prstGeom prst="rect">
            <a:avLst/>
          </a:prstGeom>
        </p:spPr>
        <p:txBody>
          <a:bodyPr tIns="36000" rIns="36000" bIns="36000"/>
          <a:lstStyle>
            <a:lvl1pPr marL="0" marR="0" indent="0" algn="l" defTabSz="1219170" rtl="0" eaLnBrk="0" fontAlgn="base" latinLnBrk="0" hangingPunct="0">
              <a:lnSpc>
                <a:spcPct val="100000"/>
              </a:lnSpc>
              <a:spcBef>
                <a:spcPct val="20000"/>
              </a:spcBef>
              <a:spcAft>
                <a:spcPct val="0"/>
              </a:spcAft>
              <a:buClr>
                <a:srgbClr val="004F80"/>
              </a:buClr>
              <a:buSzPct val="80000"/>
              <a:buFont typeface="Arial" pitchFamily="34" charset="0"/>
              <a:buNone/>
              <a:tabLst/>
              <a:defRPr lang="de-DE" sz="2000" b="0" baseline="0" smtClean="0">
                <a:solidFill>
                  <a:srgbClr val="004F80"/>
                </a:solidFill>
                <a:latin typeface="BundesSans Office"/>
              </a:defRPr>
            </a:lvl1pPr>
          </a:lstStyle>
          <a:p>
            <a:r>
              <a:rPr lang="de-DE" dirty="0"/>
              <a:t>Standard-Fließtext: </a:t>
            </a:r>
            <a:r>
              <a:rPr lang="de-DE" dirty="0" err="1"/>
              <a:t>BundesSans</a:t>
            </a:r>
            <a:r>
              <a:rPr lang="de-DE" dirty="0"/>
              <a:t> </a:t>
            </a:r>
            <a:r>
              <a:rPr lang="de-DE" dirty="0" err="1"/>
              <a:t>Officgular</a:t>
            </a:r>
            <a:r>
              <a:rPr lang="de-DE" dirty="0"/>
              <a:t> 20 </a:t>
            </a:r>
            <a:r>
              <a:rPr lang="de-DE" dirty="0" err="1"/>
              <a:t>pt</a:t>
            </a:r>
            <a:r>
              <a:rPr lang="de-DE" dirty="0"/>
              <a:t> (wenn nötig: bis min. 16 </a:t>
            </a:r>
            <a:r>
              <a:rPr lang="de-DE" dirty="0" err="1"/>
              <a:t>pt</a:t>
            </a:r>
            <a:r>
              <a:rPr lang="de-DE" dirty="0"/>
              <a:t> verkleinern); Zwischenheadlines und Hervorhebungen fett</a:t>
            </a:r>
          </a:p>
          <a:p>
            <a:endParaRPr lang="de-DE" dirty="0"/>
          </a:p>
        </p:txBody>
      </p:sp>
      <p:sp>
        <p:nvSpPr>
          <p:cNvPr id="4114" name="Rectangle 18"/>
          <p:cNvSpPr>
            <a:spLocks noGrp="1" noChangeArrowheads="1"/>
          </p:cNvSpPr>
          <p:nvPr>
            <p:ph type="ctrTitle" hasCustomPrompt="1"/>
          </p:nvPr>
        </p:nvSpPr>
        <p:spPr>
          <a:xfrm>
            <a:off x="623392" y="476672"/>
            <a:ext cx="10009112" cy="980728"/>
          </a:xfrm>
          <a:prstGeom prst="rect">
            <a:avLst/>
          </a:prstGeom>
        </p:spPr>
        <p:txBody>
          <a:bodyPr/>
          <a:lstStyle>
            <a:lvl1pPr>
              <a:lnSpc>
                <a:spcPts val="3467"/>
              </a:lnSpc>
              <a:defRPr sz="2800" b="0">
                <a:solidFill>
                  <a:srgbClr val="004F80"/>
                </a:solidFill>
              </a:defRPr>
            </a:lvl1pPr>
          </a:lstStyle>
          <a:p>
            <a:r>
              <a:rPr lang="de-DE"/>
              <a:t>Headline BundesSerif 30 pt;</a:t>
            </a:r>
            <a:br>
              <a:rPr lang="de-DE"/>
            </a:br>
            <a:r>
              <a:rPr lang="de-DE"/>
              <a:t>max. zweizeilig</a:t>
            </a:r>
            <a:br>
              <a:rPr lang="de-DE"/>
            </a:br>
            <a:br>
              <a:rPr lang="de-DE"/>
            </a:br>
            <a:endParaRPr lang="de-DE" dirty="0"/>
          </a:p>
        </p:txBody>
      </p:sp>
      <p:sp>
        <p:nvSpPr>
          <p:cNvPr id="7" name="TextBox 6">
            <a:extLst>
              <a:ext uri="{FF2B5EF4-FFF2-40B4-BE49-F238E27FC236}">
                <a16:creationId xmlns:a16="http://schemas.microsoft.com/office/drawing/2014/main" id="{4C94FD10-7CEA-42E3-93A4-FA3D6EF25107}"/>
              </a:ext>
            </a:extLst>
          </p:cNvPr>
          <p:cNvSpPr txBox="1"/>
          <p:nvPr userDrawn="1"/>
        </p:nvSpPr>
        <p:spPr>
          <a:xfrm>
            <a:off x="11197563" y="6397297"/>
            <a:ext cx="321829" cy="200055"/>
          </a:xfrm>
          <a:prstGeom prst="rect">
            <a:avLst/>
          </a:prstGeom>
        </p:spPr>
        <p:txBody>
          <a:bodyPr wrap="square" rtlCol="0" anchor="ctr">
            <a:spAutoFit/>
          </a:bodyPr>
          <a:lstStyle/>
          <a:p>
            <a:pPr marL="474663" marR="0" lvl="0" indent="-474663" algn="r" defTabSz="914400" rtl="0" eaLnBrk="0" fontAlgn="base" latinLnBrk="0" hangingPunct="0">
              <a:lnSpc>
                <a:spcPct val="100000"/>
              </a:lnSpc>
              <a:spcBef>
                <a:spcPct val="20000"/>
              </a:spcBef>
              <a:spcAft>
                <a:spcPct val="0"/>
              </a:spcAft>
              <a:buClr>
                <a:srgbClr val="004F80"/>
              </a:buClr>
              <a:buSzPct val="80000"/>
              <a:buFont typeface="Wingdings" pitchFamily="2" charset="2"/>
              <a:buNone/>
              <a:tabLst/>
              <a:defRPr/>
            </a:pPr>
            <a:fld id="{1FD47CE7-9584-45F1-BBA6-450BBC4BAB1F}" type="slidenum">
              <a:rPr kumimoji="0" lang="de-DE" sz="700" b="0" i="0" u="none" strike="noStrike" kern="0" cap="none" spc="0" normalizeH="0" baseline="0" noProof="0" smtClean="0">
                <a:ln>
                  <a:noFill/>
                </a:ln>
                <a:solidFill>
                  <a:srgbClr val="898989"/>
                </a:solidFill>
                <a:effectLst/>
                <a:uLnTx/>
                <a:uFillTx/>
                <a:latin typeface="BundesSans Office"/>
                <a:ea typeface="ＭＳ Ｐゴシック"/>
                <a:cs typeface="+mn-cs"/>
              </a:rPr>
              <a:pPr marL="474663" marR="0" lvl="0" indent="-474663" algn="r" defTabSz="914400" rtl="0" eaLnBrk="0" fontAlgn="base" latinLnBrk="0" hangingPunct="0">
                <a:lnSpc>
                  <a:spcPct val="100000"/>
                </a:lnSpc>
                <a:spcBef>
                  <a:spcPct val="20000"/>
                </a:spcBef>
                <a:spcAft>
                  <a:spcPct val="0"/>
                </a:spcAft>
                <a:buClr>
                  <a:srgbClr val="004F80"/>
                </a:buClr>
                <a:buSzPct val="80000"/>
                <a:buFont typeface="Wingdings" pitchFamily="2" charset="2"/>
                <a:buNone/>
                <a:tabLst/>
                <a:defRPr/>
              </a:pPr>
              <a:t>‹#›</a:t>
            </a:fld>
            <a:endParaRPr kumimoji="0" lang="de-DE" sz="700" b="0" i="0" u="none" strike="noStrike" kern="0" cap="none" spc="0" normalizeH="0" baseline="0" noProof="0" dirty="0">
              <a:ln>
                <a:noFill/>
              </a:ln>
              <a:solidFill>
                <a:srgbClr val="898989"/>
              </a:solidFill>
              <a:effectLst/>
              <a:uLnTx/>
              <a:uFillTx/>
              <a:latin typeface="BundesSans Office"/>
              <a:ea typeface="ＭＳ Ｐゴシック"/>
              <a:cs typeface="+mn-cs"/>
            </a:endParaRPr>
          </a:p>
        </p:txBody>
      </p:sp>
    </p:spTree>
    <p:extLst>
      <p:ext uri="{BB962C8B-B14F-4D97-AF65-F5344CB8AC3E}">
        <p14:creationId xmlns:p14="http://schemas.microsoft.com/office/powerpoint/2010/main" val="21394708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f the Presentation">
    <p:spTree>
      <p:nvGrpSpPr>
        <p:cNvPr id="1" name=""/>
        <p:cNvGrpSpPr/>
        <p:nvPr/>
      </p:nvGrpSpPr>
      <p:grpSpPr>
        <a:xfrm>
          <a:off x="0" y="0"/>
          <a:ext cx="0" cy="0"/>
          <a:chOff x="0" y="0"/>
          <a:chExt cx="0" cy="0"/>
        </a:xfrm>
      </p:grpSpPr>
      <p:sp>
        <p:nvSpPr>
          <p:cNvPr id="3" name="Rechteck 2"/>
          <p:cNvSpPr/>
          <p:nvPr userDrawn="1"/>
        </p:nvSpPr>
        <p:spPr>
          <a:xfrm>
            <a:off x="9762067" y="0"/>
            <a:ext cx="2032000" cy="11345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feld 18"/>
          <p:cNvSpPr txBox="1"/>
          <p:nvPr userDrawn="1"/>
        </p:nvSpPr>
        <p:spPr>
          <a:xfrm>
            <a:off x="0" y="-1708441"/>
            <a:ext cx="12192000" cy="1364541"/>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prstClr val="black"/>
                </a:solidFill>
                <a:effectLst/>
                <a:uLnTx/>
                <a:uFillTx/>
                <a:latin typeface="Georgia"/>
                <a:ea typeface="+mn-ea"/>
                <a:cs typeface="Georgia"/>
              </a:rPr>
              <a:t>Formatfüllendes Bild als Folien-Hintergrund einfügen:</a:t>
            </a: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1067" b="1" i="0" u="none" strike="noStrike" kern="1200" cap="none" spc="0" normalizeH="0" baseline="0" noProof="0" dirty="0">
              <a:ln>
                <a:noFill/>
              </a:ln>
              <a:solidFill>
                <a:prstClr val="black"/>
              </a:solidFill>
              <a:effectLst/>
              <a:uLnTx/>
              <a:uFillTx/>
              <a:latin typeface="Georgia"/>
              <a:ea typeface="+mn-ea"/>
              <a:cs typeface="Georgia"/>
            </a:endParaRP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Georgia"/>
                <a:ea typeface="+mn-ea"/>
                <a:cs typeface="Georgia"/>
              </a:rPr>
              <a:t>Rechtsklick auf Folie &gt; Hintergrund formatieren &gt; Bild o. Struktur &gt; Bild auswählen</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de-DE" sz="2400" b="0" i="1" u="none" strike="noStrike" kern="1200" cap="none" spc="0" normalizeH="0" baseline="0" noProof="0" dirty="0">
                <a:ln>
                  <a:noFill/>
                </a:ln>
                <a:solidFill>
                  <a:prstClr val="black"/>
                </a:solidFill>
                <a:effectLst/>
                <a:uLnTx/>
                <a:uFillTx/>
                <a:latin typeface="Georgia"/>
                <a:ea typeface="+mn-ea"/>
                <a:cs typeface="Georgia"/>
              </a:rPr>
              <a:t>Die Bilder müsse ein Seitenverhältnis von 16:9 haben!</a:t>
            </a:r>
          </a:p>
        </p:txBody>
      </p:sp>
      <p:pic>
        <p:nvPicPr>
          <p:cNvPr id="2" name="Grafik 1"/>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sp>
        <p:nvSpPr>
          <p:cNvPr id="11" name="Textplatzhalter 4"/>
          <p:cNvSpPr>
            <a:spLocks noGrp="1"/>
          </p:cNvSpPr>
          <p:nvPr>
            <p:ph type="body" sz="quarter" idx="17" hasCustomPrompt="1"/>
          </p:nvPr>
        </p:nvSpPr>
        <p:spPr>
          <a:xfrm>
            <a:off x="406401" y="5244198"/>
            <a:ext cx="9355667" cy="795865"/>
          </a:xfrm>
          <a:prstGeom prst="rect">
            <a:avLst/>
          </a:prstGeom>
        </p:spPr>
        <p:txBody>
          <a:bodyPr vert="horz"/>
          <a:lstStyle>
            <a:lvl1pPr marL="0" indent="0">
              <a:lnSpc>
                <a:spcPct val="60000"/>
              </a:lnSpc>
              <a:buNone/>
              <a:defRPr sz="2400" cap="all">
                <a:solidFill>
                  <a:schemeClr val="tx2"/>
                </a:solidFill>
              </a:defRPr>
            </a:lvl1pPr>
          </a:lstStyle>
          <a:p>
            <a:pPr lvl="0"/>
            <a:r>
              <a:rPr lang="de-DE" dirty="0" err="1"/>
              <a:t>subtitle</a:t>
            </a:r>
            <a:endParaRPr lang="de-DE" dirty="0"/>
          </a:p>
        </p:txBody>
      </p:sp>
      <p:sp>
        <p:nvSpPr>
          <p:cNvPr id="13" name="Titel 1"/>
          <p:cNvSpPr>
            <a:spLocks noGrp="1"/>
          </p:cNvSpPr>
          <p:nvPr>
            <p:ph type="title" hasCustomPrompt="1"/>
          </p:nvPr>
        </p:nvSpPr>
        <p:spPr>
          <a:xfrm>
            <a:off x="412275" y="4448330"/>
            <a:ext cx="9349792" cy="795868"/>
          </a:xfrm>
          <a:prstGeom prst="rect">
            <a:avLst/>
          </a:prstGeom>
        </p:spPr>
        <p:txBody>
          <a:bodyPr anchor="b"/>
          <a:lstStyle>
            <a:lvl1pPr>
              <a:lnSpc>
                <a:spcPct val="90000"/>
              </a:lnSpc>
              <a:defRPr sz="2400" b="1" cap="all" baseline="0">
                <a:solidFill>
                  <a:schemeClr val="tx2"/>
                </a:solidFill>
              </a:defRPr>
            </a:lvl1pPr>
          </a:lstStyle>
          <a:p>
            <a:r>
              <a:rPr lang="de-DE" dirty="0"/>
              <a:t>Title </a:t>
            </a:r>
            <a:r>
              <a:rPr lang="de-DE" dirty="0" err="1"/>
              <a:t>of</a:t>
            </a:r>
            <a:r>
              <a:rPr lang="de-DE" dirty="0"/>
              <a:t> </a:t>
            </a:r>
            <a:r>
              <a:rPr lang="de-DE" dirty="0" err="1"/>
              <a:t>the</a:t>
            </a:r>
            <a:r>
              <a:rPr lang="de-DE" dirty="0"/>
              <a:t> </a:t>
            </a:r>
            <a:r>
              <a:rPr lang="de-DE" dirty="0" err="1"/>
              <a:t>Presentation</a:t>
            </a:r>
            <a:endParaRPr lang="de-DE" dirty="0"/>
          </a:p>
        </p:txBody>
      </p:sp>
    </p:spTree>
    <p:extLst>
      <p:ext uri="{BB962C8B-B14F-4D97-AF65-F5344CB8AC3E}">
        <p14:creationId xmlns:p14="http://schemas.microsoft.com/office/powerpoint/2010/main" val="20430699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pic>
        <p:nvPicPr>
          <p:cNvPr id="14" name="Grafik 13"/>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120992" y="-95703"/>
            <a:ext cx="4639637" cy="1685549"/>
          </a:xfrm>
          <a:prstGeom prst="rect">
            <a:avLst/>
          </a:prstGeom>
        </p:spPr>
      </p:pic>
      <p:sp>
        <p:nvSpPr>
          <p:cNvPr id="11" name="Foliennummernplatzhalter 5"/>
          <p:cNvSpPr txBox="1">
            <a:spLocks/>
          </p:cNvSpPr>
          <p:nvPr userDrawn="1"/>
        </p:nvSpPr>
        <p:spPr>
          <a:xfrm>
            <a:off x="10611704" y="6320505"/>
            <a:ext cx="1148925"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8E821C83-84D4-BF47-9BEB-DE7BBACF0AD8}" type="slidenum">
              <a:rPr kumimoji="0" lang="de-DE" sz="1067" b="0" i="0" u="none" strike="noStrike" kern="1200" cap="none" spc="0" normalizeH="0" baseline="0" noProof="0" smtClean="0">
                <a:ln>
                  <a:noFill/>
                </a:ln>
                <a:solidFill>
                  <a:srgbClr val="0092D2"/>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092D2"/>
              </a:solidFill>
              <a:effectLst/>
              <a:uLnTx/>
              <a:uFillTx/>
              <a:latin typeface="Calibri"/>
              <a:ea typeface="+mn-ea"/>
              <a:cs typeface="+mn-cs"/>
            </a:endParaRPr>
          </a:p>
        </p:txBody>
      </p:sp>
      <p:sp>
        <p:nvSpPr>
          <p:cNvPr id="8" name="Rechteck 7"/>
          <p:cNvSpPr/>
          <p:nvPr userDrawn="1"/>
        </p:nvSpPr>
        <p:spPr>
          <a:xfrm>
            <a:off x="0" y="2279155"/>
            <a:ext cx="12192000" cy="4578847"/>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0BA2E3"/>
              </a:solidFill>
              <a:effectLst/>
              <a:uLnTx/>
              <a:uFillTx/>
              <a:latin typeface="Calibri"/>
              <a:ea typeface="+mn-ea"/>
              <a:cs typeface="+mn-cs"/>
            </a:endParaRPr>
          </a:p>
        </p:txBody>
      </p:sp>
      <p:sp>
        <p:nvSpPr>
          <p:cNvPr id="12" name="Titel 11"/>
          <p:cNvSpPr>
            <a:spLocks noGrp="1"/>
          </p:cNvSpPr>
          <p:nvPr>
            <p:ph type="title" hasCustomPrompt="1"/>
          </p:nvPr>
        </p:nvSpPr>
        <p:spPr>
          <a:xfrm>
            <a:off x="328940" y="2734733"/>
            <a:ext cx="7572464" cy="1281603"/>
          </a:xfrm>
          <a:prstGeom prst="rect">
            <a:avLst/>
          </a:prstGeom>
        </p:spPr>
        <p:txBody>
          <a:bodyPr bIns="0" anchor="b">
            <a:noAutofit/>
          </a:bodyPr>
          <a:lstStyle>
            <a:lvl1pPr algn="r">
              <a:lnSpc>
                <a:spcPct val="80000"/>
              </a:lnSpc>
              <a:spcAft>
                <a:spcPts val="0"/>
              </a:spcAft>
              <a:defRPr sz="4800" b="1" cap="all" baseline="0">
                <a:solidFill>
                  <a:schemeClr val="bg1"/>
                </a:solidFill>
              </a:defRPr>
            </a:lvl1pPr>
          </a:lstStyle>
          <a:p>
            <a:r>
              <a:rPr lang="de-DE" dirty="0"/>
              <a:t>Chapter title</a:t>
            </a:r>
          </a:p>
        </p:txBody>
      </p:sp>
      <p:sp>
        <p:nvSpPr>
          <p:cNvPr id="7" name="Textplatzhalter 6"/>
          <p:cNvSpPr>
            <a:spLocks noGrp="1"/>
          </p:cNvSpPr>
          <p:nvPr>
            <p:ph type="body" sz="quarter" idx="13" hasCustomPrompt="1"/>
          </p:nvPr>
        </p:nvSpPr>
        <p:spPr>
          <a:xfrm>
            <a:off x="4512735" y="5317068"/>
            <a:ext cx="3395133" cy="491067"/>
          </a:xfrm>
          <a:prstGeom prst="rect">
            <a:avLst/>
          </a:prstGeom>
        </p:spPr>
        <p:txBody>
          <a:bodyPr>
            <a:noAutofit/>
          </a:bodyPr>
          <a:lstStyle>
            <a:lvl1pPr marL="0" indent="0" algn="r">
              <a:lnSpc>
                <a:spcPct val="80000"/>
              </a:lnSpc>
              <a:buNone/>
              <a:defRPr sz="1333" cap="all" baseline="0"/>
            </a:lvl1pPr>
            <a:lvl2pPr>
              <a:defRPr sz="1400"/>
            </a:lvl2pPr>
            <a:lvl3pPr>
              <a:defRPr sz="1400"/>
            </a:lvl3pPr>
            <a:lvl4pPr>
              <a:defRPr sz="1400"/>
            </a:lvl4pPr>
            <a:lvl5pPr>
              <a:defRPr sz="1400"/>
            </a:lvl5pPr>
          </a:lstStyle>
          <a:p>
            <a:pPr lvl="0"/>
            <a:r>
              <a:rPr lang="de-DE" dirty="0"/>
              <a:t>Short </a:t>
            </a:r>
            <a:r>
              <a:rPr lang="de-DE" dirty="0" err="1"/>
              <a:t>description</a:t>
            </a:r>
            <a:endParaRPr lang="de-DE" dirty="0"/>
          </a:p>
        </p:txBody>
      </p:sp>
      <p:sp>
        <p:nvSpPr>
          <p:cNvPr id="3" name="Untertitel 2"/>
          <p:cNvSpPr>
            <a:spLocks noGrp="1"/>
          </p:cNvSpPr>
          <p:nvPr>
            <p:ph type="subTitle" idx="1" hasCustomPrompt="1"/>
          </p:nvPr>
        </p:nvSpPr>
        <p:spPr>
          <a:xfrm>
            <a:off x="335305" y="4016337"/>
            <a:ext cx="7572464" cy="1368464"/>
          </a:xfrm>
          <a:prstGeom prst="rect">
            <a:avLst/>
          </a:prstGeom>
        </p:spPr>
        <p:txBody>
          <a:bodyPr>
            <a:normAutofit/>
          </a:bodyPr>
          <a:lstStyle>
            <a:lvl1pPr marL="0" indent="0" algn="r">
              <a:lnSpc>
                <a:spcPct val="80000"/>
              </a:lnSpc>
              <a:buNone/>
              <a:defRPr sz="4800" i="1" cap="none" baseline="0">
                <a:solidFill>
                  <a:schemeClr val="bg1"/>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dirty="0" err="1"/>
              <a:t>Subtitle</a:t>
            </a:r>
            <a:endParaRPr lang="de-DE" dirty="0"/>
          </a:p>
        </p:txBody>
      </p:sp>
      <p:sp>
        <p:nvSpPr>
          <p:cNvPr id="5" name="Textplatzhalter 4"/>
          <p:cNvSpPr>
            <a:spLocks noGrp="1"/>
          </p:cNvSpPr>
          <p:nvPr>
            <p:ph type="body" sz="quarter" idx="14" hasCustomPrompt="1"/>
          </p:nvPr>
        </p:nvSpPr>
        <p:spPr>
          <a:xfrm>
            <a:off x="8789489" y="2112587"/>
            <a:ext cx="1615016" cy="3170099"/>
          </a:xfrm>
          <a:noFill/>
        </p:spPr>
        <p:txBody>
          <a:bodyPr wrap="square" rtlCol="0" anchor="ctr">
            <a:spAutoFit/>
          </a:bodyPr>
          <a:lstStyle>
            <a:lvl1pPr marL="0" indent="0" algn="ctr">
              <a:buNone/>
              <a:defRPr lang="de-DE" sz="20000" b="0" i="1" cap="all" baseline="0" dirty="0">
                <a:solidFill>
                  <a:schemeClr val="accent4"/>
                </a:solidFill>
                <a:latin typeface="Georgia" panose="02040502050405020303" pitchFamily="18" charset="0"/>
                <a:ea typeface="+mj-ea"/>
              </a:defRPr>
            </a:lvl1pPr>
          </a:lstStyle>
          <a:p>
            <a:pPr marL="0" lvl="0"/>
            <a:r>
              <a:rPr lang="de-DE" dirty="0"/>
              <a:t>1</a:t>
            </a:r>
          </a:p>
        </p:txBody>
      </p:sp>
    </p:spTree>
    <p:extLst>
      <p:ext uri="{BB962C8B-B14F-4D97-AF65-F5344CB8AC3E}">
        <p14:creationId xmlns:p14="http://schemas.microsoft.com/office/powerpoint/2010/main" val="32080611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ckground - Video + Golf">
    <p:spTree>
      <p:nvGrpSpPr>
        <p:cNvPr id="1" name=""/>
        <p:cNvGrpSpPr/>
        <p:nvPr/>
      </p:nvGrpSpPr>
      <p:grpSpPr>
        <a:xfrm>
          <a:off x="0" y="0"/>
          <a:ext cx="0" cy="0"/>
          <a:chOff x="0" y="0"/>
          <a:chExt cx="0" cy="0"/>
        </a:xfrm>
      </p:grpSpPr>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Background</a:t>
            </a:r>
          </a:p>
        </p:txBody>
      </p:sp>
      <p:pic>
        <p:nvPicPr>
          <p:cNvPr id="3" name="Afbeelding 2">
            <a:extLst>
              <a:ext uri="{FF2B5EF4-FFF2-40B4-BE49-F238E27FC236}">
                <a16:creationId xmlns:a16="http://schemas.microsoft.com/office/drawing/2014/main" id="{D9826B1F-B8A2-464E-A842-F5C1984A1C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30" y="0"/>
            <a:ext cx="12189270" cy="6858000"/>
          </a:xfrm>
          <a:prstGeom prst="rect">
            <a:avLst/>
          </a:prstGeom>
        </p:spPr>
      </p:pic>
    </p:spTree>
    <p:extLst>
      <p:ext uri="{BB962C8B-B14F-4D97-AF65-F5344CB8AC3E}">
        <p14:creationId xmlns:p14="http://schemas.microsoft.com/office/powerpoint/2010/main" val="249733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pter Title_02">
    <p:spTree>
      <p:nvGrpSpPr>
        <p:cNvPr id="1" name=""/>
        <p:cNvGrpSpPr/>
        <p:nvPr/>
      </p:nvGrpSpPr>
      <p:grpSpPr>
        <a:xfrm>
          <a:off x="0" y="0"/>
          <a:ext cx="0" cy="0"/>
          <a:chOff x="0" y="0"/>
          <a:chExt cx="0" cy="0"/>
        </a:xfrm>
      </p:grpSpPr>
      <p:pic>
        <p:nvPicPr>
          <p:cNvPr id="14" name="Grafik 13"/>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120992" y="-95703"/>
            <a:ext cx="4639637" cy="1685549"/>
          </a:xfrm>
          <a:prstGeom prst="rect">
            <a:avLst/>
          </a:prstGeom>
        </p:spPr>
      </p:pic>
      <p:sp>
        <p:nvSpPr>
          <p:cNvPr id="11" name="Foliennummernplatzhalter 5"/>
          <p:cNvSpPr txBox="1">
            <a:spLocks/>
          </p:cNvSpPr>
          <p:nvPr userDrawn="1"/>
        </p:nvSpPr>
        <p:spPr>
          <a:xfrm>
            <a:off x="10611704" y="6320505"/>
            <a:ext cx="1148925"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8E821C83-84D4-BF47-9BEB-DE7BBACF0AD8}" type="slidenum">
              <a:rPr kumimoji="0" lang="de-DE" sz="1067" b="0" i="0" u="none" strike="noStrike" kern="1200" cap="none" spc="0" normalizeH="0" baseline="0" noProof="0" smtClean="0">
                <a:ln>
                  <a:noFill/>
                </a:ln>
                <a:solidFill>
                  <a:srgbClr val="0092D2"/>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092D2"/>
              </a:solidFill>
              <a:effectLst/>
              <a:uLnTx/>
              <a:uFillTx/>
              <a:latin typeface="Calibri"/>
              <a:ea typeface="+mn-ea"/>
              <a:cs typeface="+mn-cs"/>
            </a:endParaRPr>
          </a:p>
        </p:txBody>
      </p:sp>
      <p:sp>
        <p:nvSpPr>
          <p:cNvPr id="8" name="Rechteck 7"/>
          <p:cNvSpPr/>
          <p:nvPr userDrawn="1"/>
        </p:nvSpPr>
        <p:spPr>
          <a:xfrm>
            <a:off x="0" y="2279155"/>
            <a:ext cx="12192000" cy="4578847"/>
          </a:xfrm>
          <a:prstGeom prst="rect">
            <a:avLst/>
          </a:prstGeom>
          <a:solidFill>
            <a:srgbClr val="0BA2E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0BA2E3"/>
              </a:solidFill>
              <a:effectLst/>
              <a:uLnTx/>
              <a:uFillTx/>
              <a:latin typeface="Calibri"/>
              <a:ea typeface="+mn-ea"/>
              <a:cs typeface="+mn-cs"/>
            </a:endParaRPr>
          </a:p>
        </p:txBody>
      </p:sp>
      <p:sp>
        <p:nvSpPr>
          <p:cNvPr id="12" name="Titel 11"/>
          <p:cNvSpPr>
            <a:spLocks noGrp="1"/>
          </p:cNvSpPr>
          <p:nvPr>
            <p:ph type="title" hasCustomPrompt="1"/>
          </p:nvPr>
        </p:nvSpPr>
        <p:spPr>
          <a:xfrm>
            <a:off x="328940" y="2734733"/>
            <a:ext cx="7572464" cy="1281603"/>
          </a:xfrm>
          <a:prstGeom prst="rect">
            <a:avLst/>
          </a:prstGeom>
        </p:spPr>
        <p:txBody>
          <a:bodyPr bIns="0" anchor="b">
            <a:noAutofit/>
          </a:bodyPr>
          <a:lstStyle>
            <a:lvl1pPr algn="r">
              <a:lnSpc>
                <a:spcPct val="80000"/>
              </a:lnSpc>
              <a:spcAft>
                <a:spcPts val="0"/>
              </a:spcAft>
              <a:defRPr sz="4800" b="1" cap="all" baseline="0">
                <a:solidFill>
                  <a:schemeClr val="bg1"/>
                </a:solidFill>
              </a:defRPr>
            </a:lvl1pPr>
          </a:lstStyle>
          <a:p>
            <a:r>
              <a:rPr lang="de-DE" dirty="0"/>
              <a:t>Chapter title</a:t>
            </a:r>
          </a:p>
        </p:txBody>
      </p:sp>
      <p:sp>
        <p:nvSpPr>
          <p:cNvPr id="3" name="Untertitel 2"/>
          <p:cNvSpPr>
            <a:spLocks noGrp="1"/>
          </p:cNvSpPr>
          <p:nvPr>
            <p:ph type="subTitle" idx="1" hasCustomPrompt="1"/>
          </p:nvPr>
        </p:nvSpPr>
        <p:spPr>
          <a:xfrm>
            <a:off x="335305" y="4016337"/>
            <a:ext cx="7572464" cy="1368464"/>
          </a:xfrm>
          <a:prstGeom prst="rect">
            <a:avLst/>
          </a:prstGeom>
        </p:spPr>
        <p:txBody>
          <a:bodyPr>
            <a:normAutofit/>
          </a:bodyPr>
          <a:lstStyle>
            <a:lvl1pPr marL="0" indent="0" algn="r">
              <a:lnSpc>
                <a:spcPct val="80000"/>
              </a:lnSpc>
              <a:buNone/>
              <a:defRPr sz="4800" i="1" cap="none" baseline="0">
                <a:solidFill>
                  <a:schemeClr val="bg1"/>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dirty="0" err="1"/>
              <a:t>Subtitle</a:t>
            </a:r>
            <a:endParaRPr lang="de-DE" dirty="0"/>
          </a:p>
        </p:txBody>
      </p:sp>
      <p:sp>
        <p:nvSpPr>
          <p:cNvPr id="5" name="Textplatzhalter 4"/>
          <p:cNvSpPr>
            <a:spLocks noGrp="1"/>
          </p:cNvSpPr>
          <p:nvPr>
            <p:ph type="body" sz="quarter" idx="14" hasCustomPrompt="1"/>
          </p:nvPr>
        </p:nvSpPr>
        <p:spPr>
          <a:xfrm>
            <a:off x="8789489" y="2112587"/>
            <a:ext cx="1615016" cy="3170099"/>
          </a:xfrm>
          <a:noFill/>
        </p:spPr>
        <p:txBody>
          <a:bodyPr wrap="square" rtlCol="0" anchor="ctr">
            <a:spAutoFit/>
          </a:bodyPr>
          <a:lstStyle>
            <a:lvl1pPr marL="0" indent="0" algn="ctr">
              <a:buNone/>
              <a:defRPr lang="de-DE" sz="20000" b="0" i="1" cap="all" baseline="0" dirty="0">
                <a:solidFill>
                  <a:schemeClr val="accent4"/>
                </a:solidFill>
                <a:latin typeface="Georgia" panose="02040502050405020303" pitchFamily="18" charset="0"/>
                <a:ea typeface="+mj-ea"/>
              </a:defRPr>
            </a:lvl1pPr>
          </a:lstStyle>
          <a:p>
            <a:pPr marL="0" lvl="0"/>
            <a:r>
              <a:rPr lang="de-DE" dirty="0"/>
              <a:t>1</a:t>
            </a:r>
          </a:p>
        </p:txBody>
      </p:sp>
    </p:spTree>
    <p:extLst>
      <p:ext uri="{BB962C8B-B14F-4D97-AF65-F5344CB8AC3E}">
        <p14:creationId xmlns:p14="http://schemas.microsoft.com/office/powerpoint/2010/main" val="303541889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pter Title_03">
    <p:spTree>
      <p:nvGrpSpPr>
        <p:cNvPr id="1" name=""/>
        <p:cNvGrpSpPr/>
        <p:nvPr/>
      </p:nvGrpSpPr>
      <p:grpSpPr>
        <a:xfrm>
          <a:off x="0" y="0"/>
          <a:ext cx="0" cy="0"/>
          <a:chOff x="0" y="0"/>
          <a:chExt cx="0" cy="0"/>
        </a:xfrm>
      </p:grpSpPr>
      <p:sp>
        <p:nvSpPr>
          <p:cNvPr id="3" name="Google Shape;317;p33"/>
          <p:cNvSpPr/>
          <p:nvPr userDrawn="1"/>
        </p:nvSpPr>
        <p:spPr>
          <a:xfrm>
            <a:off x="6057932" y="0"/>
            <a:ext cx="6134000" cy="6858000"/>
          </a:xfrm>
          <a:prstGeom prst="rect">
            <a:avLst/>
          </a:prstGeom>
          <a:solidFill>
            <a:srgbClr val="0BA2E3"/>
          </a:solidFill>
          <a:ln>
            <a:noFill/>
          </a:ln>
        </p:spPr>
        <p:txBody>
          <a:bodyPr spcFirstLastPara="1" wrap="square" lIns="121900" tIns="60933" rIns="121900" bIns="60933" anchor="ctr" anchorCtr="0">
            <a:no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5" name="Rechteck 4"/>
          <p:cNvSpPr/>
          <p:nvPr userDrawn="1"/>
        </p:nvSpPr>
        <p:spPr>
          <a:xfrm>
            <a:off x="9762067" y="0"/>
            <a:ext cx="2026172" cy="112419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pic>
        <p:nvPicPr>
          <p:cNvPr id="6" name="Grafik 5"/>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sp>
        <p:nvSpPr>
          <p:cNvPr id="18" name="Textplatzhalter 17"/>
          <p:cNvSpPr>
            <a:spLocks noGrp="1"/>
          </p:cNvSpPr>
          <p:nvPr>
            <p:ph type="body" sz="quarter" idx="24" hasCustomPrompt="1"/>
          </p:nvPr>
        </p:nvSpPr>
        <p:spPr>
          <a:xfrm>
            <a:off x="6654802" y="2188744"/>
            <a:ext cx="5245489" cy="1473841"/>
          </a:xfrm>
        </p:spPr>
        <p:txBody>
          <a:bodyPr>
            <a:normAutofit/>
          </a:bodyPr>
          <a:lstStyle>
            <a:lvl1pPr marL="0" marR="0" indent="0" algn="l" defTabSz="609570" rtl="0" eaLnBrk="1" fontAlgn="auto" latinLnBrk="0" hangingPunct="1">
              <a:lnSpc>
                <a:spcPct val="100000"/>
              </a:lnSpc>
              <a:spcBef>
                <a:spcPct val="20000"/>
              </a:spcBef>
              <a:spcAft>
                <a:spcPts val="0"/>
              </a:spcAft>
              <a:buClrTx/>
              <a:buSzTx/>
              <a:buFont typeface="Arial"/>
              <a:buNone/>
              <a:tabLst/>
              <a:defRPr sz="4800" b="1"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Chapter title</a:t>
            </a:r>
          </a:p>
          <a:p>
            <a:pPr lvl="0"/>
            <a:endParaRPr lang="de-DE" dirty="0"/>
          </a:p>
        </p:txBody>
      </p:sp>
      <p:sp>
        <p:nvSpPr>
          <p:cNvPr id="19" name="Textplatzhalter 17"/>
          <p:cNvSpPr>
            <a:spLocks noGrp="1"/>
          </p:cNvSpPr>
          <p:nvPr>
            <p:ph type="body" sz="quarter" idx="25" hasCustomPrompt="1"/>
          </p:nvPr>
        </p:nvSpPr>
        <p:spPr>
          <a:xfrm>
            <a:off x="6655102" y="4223581"/>
            <a:ext cx="5168900" cy="2102552"/>
          </a:xfrm>
        </p:spPr>
        <p:txBody>
          <a:bodyPr>
            <a:normAutofit/>
          </a:bodyPr>
          <a:lstStyle>
            <a:lvl1pPr marL="0" indent="0" algn="l">
              <a:buNone/>
              <a:defRPr sz="1600" b="0" i="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err="1"/>
              <a:t>Descriptions</a:t>
            </a:r>
            <a:r>
              <a:rPr lang="de-DE" dirty="0"/>
              <a:t> </a:t>
            </a:r>
            <a:r>
              <a:rPr lang="de-DE" dirty="0" err="1"/>
              <a:t>and</a:t>
            </a:r>
            <a:r>
              <a:rPr lang="de-DE" dirty="0"/>
              <a:t> Details </a:t>
            </a:r>
          </a:p>
        </p:txBody>
      </p:sp>
      <p:sp>
        <p:nvSpPr>
          <p:cNvPr id="4" name="Textplatzhalter 3"/>
          <p:cNvSpPr>
            <a:spLocks noGrp="1"/>
          </p:cNvSpPr>
          <p:nvPr>
            <p:ph type="body" sz="quarter" idx="26" hasCustomPrompt="1"/>
          </p:nvPr>
        </p:nvSpPr>
        <p:spPr>
          <a:xfrm>
            <a:off x="3378849" y="1189568"/>
            <a:ext cx="1781231" cy="2834217"/>
          </a:xfrm>
        </p:spPr>
        <p:txBody>
          <a:bodyPr>
            <a:noAutofit/>
          </a:bodyPr>
          <a:lstStyle>
            <a:lvl1pPr marL="0" indent="0">
              <a:buNone/>
              <a:defRPr sz="21333" i="1">
                <a:solidFill>
                  <a:schemeClr val="accent4"/>
                </a:solidFill>
                <a:latin typeface="Georgia" panose="02040502050405020303" pitchFamily="18" charset="0"/>
              </a:defRPr>
            </a:lvl1pPr>
          </a:lstStyle>
          <a:p>
            <a:pPr lvl="0"/>
            <a:r>
              <a:rPr lang="de-DE" dirty="0"/>
              <a:t>1</a:t>
            </a:r>
          </a:p>
        </p:txBody>
      </p:sp>
      <p:sp>
        <p:nvSpPr>
          <p:cNvPr id="12" name="Textplatzhalter 17"/>
          <p:cNvSpPr>
            <a:spLocks noGrp="1"/>
          </p:cNvSpPr>
          <p:nvPr>
            <p:ph type="body" sz="quarter" idx="27" hasCustomPrompt="1"/>
          </p:nvPr>
        </p:nvSpPr>
        <p:spPr>
          <a:xfrm>
            <a:off x="6655102" y="3685025"/>
            <a:ext cx="5168900" cy="538555"/>
          </a:xfrm>
        </p:spPr>
        <p:txBody>
          <a:bodyPr>
            <a:normAutofit/>
          </a:bodyPr>
          <a:lstStyle>
            <a:lvl1pPr marL="0" marR="0" indent="0" algn="l" defTabSz="609570" rtl="0" eaLnBrk="1" fontAlgn="auto" latinLnBrk="0" hangingPunct="1">
              <a:lnSpc>
                <a:spcPct val="100000"/>
              </a:lnSpc>
              <a:spcBef>
                <a:spcPct val="20000"/>
              </a:spcBef>
              <a:spcAft>
                <a:spcPts val="0"/>
              </a:spcAft>
              <a:buClrTx/>
              <a:buSzTx/>
              <a:buFont typeface="Arial"/>
              <a:buNone/>
              <a:tabLst/>
              <a:defRPr sz="2667" b="0" i="1" cap="none" baseline="0">
                <a:solidFill>
                  <a:schemeClr val="bg1"/>
                </a:solidFill>
                <a:latin typeface="Georgia" panose="02040502050405020303" pitchFamily="18" charset="0"/>
                <a:ea typeface="Verdana" panose="020B0604030504040204" pitchFamily="34" charset="0"/>
                <a:cs typeface="Verdana" panose="020B0604030504040204" pitchFamily="34" charset="0"/>
              </a:defRPr>
            </a:lvl1pPr>
          </a:lstStyle>
          <a:p>
            <a:pPr marL="0" marR="0" lvl="0" indent="0" algn="l" defTabSz="609570" rtl="0" eaLnBrk="1" fontAlgn="auto" latinLnBrk="0" hangingPunct="1">
              <a:lnSpc>
                <a:spcPct val="100000"/>
              </a:lnSpc>
              <a:spcBef>
                <a:spcPct val="20000"/>
              </a:spcBef>
              <a:spcAft>
                <a:spcPts val="0"/>
              </a:spcAft>
              <a:buClrTx/>
              <a:buSzTx/>
              <a:buFont typeface="Arial"/>
              <a:buNone/>
              <a:tabLst/>
              <a:defRPr/>
            </a:pPr>
            <a:r>
              <a:rPr lang="de-DE" dirty="0" err="1"/>
              <a:t>Theme</a:t>
            </a:r>
            <a:r>
              <a:rPr lang="de-DE" dirty="0"/>
              <a:t> title</a:t>
            </a:r>
          </a:p>
          <a:p>
            <a:pPr lvl="0"/>
            <a:endParaRPr lang="de-DE" dirty="0"/>
          </a:p>
          <a:p>
            <a:pPr lvl="0"/>
            <a:endParaRPr lang="de-DE" dirty="0"/>
          </a:p>
        </p:txBody>
      </p:sp>
      <p:sp>
        <p:nvSpPr>
          <p:cNvPr id="16" name="Textfeld 15"/>
          <p:cNvSpPr txBox="1"/>
          <p:nvPr userDrawn="1"/>
        </p:nvSpPr>
        <p:spPr>
          <a:xfrm>
            <a:off x="406385" y="6310788"/>
            <a:ext cx="2395808" cy="246221"/>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BA2E3"/>
                </a:solidFill>
                <a:effectLst/>
                <a:uLnTx/>
                <a:uFillTx/>
                <a:latin typeface="Verdana"/>
                <a:ea typeface="+mn-ea"/>
                <a:cs typeface="Verdana"/>
              </a:rPr>
              <a:t>www.internationaldataspaces.org</a:t>
            </a:r>
          </a:p>
        </p:txBody>
      </p:sp>
      <p:sp>
        <p:nvSpPr>
          <p:cNvPr id="20" name="Shape"/>
          <p:cNvSpPr/>
          <p:nvPr userDrawn="1"/>
        </p:nvSpPr>
        <p:spPr>
          <a:xfrm>
            <a:off x="4010103" y="6303693"/>
            <a:ext cx="348148" cy="283209"/>
          </a:xfrm>
          <a:custGeom>
            <a:avLst/>
            <a:gdLst/>
            <a:ahLst/>
            <a:cxnLst>
              <a:cxn ang="0">
                <a:pos x="wd2" y="hd2"/>
              </a:cxn>
              <a:cxn ang="5400000">
                <a:pos x="wd2" y="hd2"/>
              </a:cxn>
              <a:cxn ang="10800000">
                <a:pos x="wd2" y="hd2"/>
              </a:cxn>
              <a:cxn ang="16200000">
                <a:pos x="wd2" y="hd2"/>
              </a:cxn>
            </a:cxnLst>
            <a:rect l="0" t="0" r="r" b="b"/>
            <a:pathLst>
              <a:path w="21600" h="21495" extrusionOk="0">
                <a:moveTo>
                  <a:pt x="14735" y="0"/>
                </a:moveTo>
                <a:cubicBezTo>
                  <a:pt x="16497" y="0"/>
                  <a:pt x="17287" y="960"/>
                  <a:pt x="18294" y="1876"/>
                </a:cubicBezTo>
                <a:cubicBezTo>
                  <a:pt x="19048" y="1876"/>
                  <a:pt x="20055" y="1265"/>
                  <a:pt x="20558" y="960"/>
                </a:cubicBezTo>
                <a:cubicBezTo>
                  <a:pt x="20845" y="655"/>
                  <a:pt x="20845" y="655"/>
                  <a:pt x="21097" y="655"/>
                </a:cubicBezTo>
                <a:cubicBezTo>
                  <a:pt x="20845" y="1571"/>
                  <a:pt x="20306" y="2487"/>
                  <a:pt x="19551" y="3098"/>
                </a:cubicBezTo>
                <a:cubicBezTo>
                  <a:pt x="19551" y="3098"/>
                  <a:pt x="19300" y="3404"/>
                  <a:pt x="19048" y="3404"/>
                </a:cubicBezTo>
                <a:cubicBezTo>
                  <a:pt x="20055" y="3404"/>
                  <a:pt x="20845" y="2793"/>
                  <a:pt x="21600" y="2793"/>
                </a:cubicBezTo>
                <a:cubicBezTo>
                  <a:pt x="21348" y="3404"/>
                  <a:pt x="20845" y="4320"/>
                  <a:pt x="20055" y="4625"/>
                </a:cubicBezTo>
                <a:cubicBezTo>
                  <a:pt x="19803" y="4931"/>
                  <a:pt x="19803" y="5280"/>
                  <a:pt x="19551" y="5585"/>
                </a:cubicBezTo>
                <a:cubicBezTo>
                  <a:pt x="19551" y="6807"/>
                  <a:pt x="19551" y="7724"/>
                  <a:pt x="19300" y="8945"/>
                </a:cubicBezTo>
                <a:cubicBezTo>
                  <a:pt x="18042" y="14836"/>
                  <a:pt x="15239" y="19156"/>
                  <a:pt x="10674" y="20989"/>
                </a:cubicBezTo>
                <a:cubicBezTo>
                  <a:pt x="8877" y="21600"/>
                  <a:pt x="6110" y="21600"/>
                  <a:pt x="4313" y="21295"/>
                </a:cubicBezTo>
                <a:cubicBezTo>
                  <a:pt x="3306" y="20989"/>
                  <a:pt x="2552" y="20684"/>
                  <a:pt x="1509" y="20073"/>
                </a:cubicBezTo>
                <a:cubicBezTo>
                  <a:pt x="1258" y="19767"/>
                  <a:pt x="755" y="19767"/>
                  <a:pt x="503" y="19462"/>
                </a:cubicBezTo>
                <a:cubicBezTo>
                  <a:pt x="252" y="19156"/>
                  <a:pt x="252" y="19156"/>
                  <a:pt x="0" y="19156"/>
                </a:cubicBezTo>
                <a:cubicBezTo>
                  <a:pt x="503" y="19156"/>
                  <a:pt x="1006" y="19156"/>
                  <a:pt x="1509" y="19156"/>
                </a:cubicBezTo>
                <a:cubicBezTo>
                  <a:pt x="1797" y="19156"/>
                  <a:pt x="2300" y="19156"/>
                  <a:pt x="2803" y="18851"/>
                </a:cubicBezTo>
                <a:cubicBezTo>
                  <a:pt x="3810" y="18502"/>
                  <a:pt x="4564" y="18196"/>
                  <a:pt x="5319" y="17891"/>
                </a:cubicBezTo>
                <a:cubicBezTo>
                  <a:pt x="5858" y="17585"/>
                  <a:pt x="6361" y="17280"/>
                  <a:pt x="6613" y="16669"/>
                </a:cubicBezTo>
                <a:cubicBezTo>
                  <a:pt x="6110" y="16669"/>
                  <a:pt x="5607" y="16669"/>
                  <a:pt x="5319" y="16669"/>
                </a:cubicBezTo>
                <a:cubicBezTo>
                  <a:pt x="3810" y="16058"/>
                  <a:pt x="3055" y="14836"/>
                  <a:pt x="2552" y="12960"/>
                </a:cubicBezTo>
                <a:cubicBezTo>
                  <a:pt x="2803" y="13265"/>
                  <a:pt x="4061" y="13265"/>
                  <a:pt x="4313" y="12960"/>
                </a:cubicBezTo>
                <a:cubicBezTo>
                  <a:pt x="3810" y="12960"/>
                  <a:pt x="3306" y="12655"/>
                  <a:pt x="3055" y="12349"/>
                </a:cubicBezTo>
                <a:cubicBezTo>
                  <a:pt x="1797" y="11433"/>
                  <a:pt x="755" y="9905"/>
                  <a:pt x="755" y="7724"/>
                </a:cubicBezTo>
                <a:cubicBezTo>
                  <a:pt x="1006" y="7724"/>
                  <a:pt x="1258" y="7724"/>
                  <a:pt x="1258" y="8029"/>
                </a:cubicBezTo>
                <a:cubicBezTo>
                  <a:pt x="1509" y="8029"/>
                  <a:pt x="1797" y="8029"/>
                  <a:pt x="2300" y="8335"/>
                </a:cubicBezTo>
                <a:lnTo>
                  <a:pt x="2803" y="8335"/>
                </a:lnTo>
                <a:cubicBezTo>
                  <a:pt x="2552" y="8029"/>
                  <a:pt x="2300" y="7724"/>
                  <a:pt x="2049" y="7418"/>
                </a:cubicBezTo>
                <a:cubicBezTo>
                  <a:pt x="1258" y="6196"/>
                  <a:pt x="503" y="4625"/>
                  <a:pt x="1006" y="2487"/>
                </a:cubicBezTo>
                <a:cubicBezTo>
                  <a:pt x="1006" y="1876"/>
                  <a:pt x="1258" y="1571"/>
                  <a:pt x="1509" y="1265"/>
                </a:cubicBezTo>
                <a:cubicBezTo>
                  <a:pt x="1509" y="1265"/>
                  <a:pt x="1797" y="1571"/>
                  <a:pt x="2049" y="1571"/>
                </a:cubicBezTo>
                <a:cubicBezTo>
                  <a:pt x="2300" y="2182"/>
                  <a:pt x="2803" y="2793"/>
                  <a:pt x="3306" y="3098"/>
                </a:cubicBezTo>
                <a:cubicBezTo>
                  <a:pt x="4816" y="4625"/>
                  <a:pt x="6361" y="5585"/>
                  <a:pt x="8626" y="6502"/>
                </a:cubicBezTo>
                <a:cubicBezTo>
                  <a:pt x="9380" y="6502"/>
                  <a:pt x="9919" y="6807"/>
                  <a:pt x="10674" y="6807"/>
                </a:cubicBezTo>
                <a:cubicBezTo>
                  <a:pt x="10423" y="5891"/>
                  <a:pt x="10423" y="4931"/>
                  <a:pt x="10674" y="4320"/>
                </a:cubicBezTo>
                <a:cubicBezTo>
                  <a:pt x="11177" y="2487"/>
                  <a:pt x="11932" y="1265"/>
                  <a:pt x="13226" y="655"/>
                </a:cubicBezTo>
                <a:cubicBezTo>
                  <a:pt x="13478" y="349"/>
                  <a:pt x="13981" y="349"/>
                  <a:pt x="14232" y="349"/>
                </a:cubicBezTo>
                <a:cubicBezTo>
                  <a:pt x="14484" y="349"/>
                  <a:pt x="14484" y="0"/>
                  <a:pt x="14735" y="0"/>
                </a:cubicBezTo>
              </a:path>
            </a:pathLst>
          </a:custGeom>
          <a:solidFill>
            <a:srgbClr val="0BA2E3"/>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21" name="Rechteck 20"/>
          <p:cNvSpPr/>
          <p:nvPr userDrawn="1"/>
        </p:nvSpPr>
        <p:spPr>
          <a:xfrm>
            <a:off x="4325749" y="6310339"/>
            <a:ext cx="1293944" cy="246221"/>
          </a:xfrm>
          <a:prstGeom prst="rect">
            <a:avLst/>
          </a:prstGeom>
        </p:spPr>
        <p:txBody>
          <a:bodyPr wrap="non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Verdana"/>
              </a:rPr>
              <a:t>@</a:t>
            </a:r>
            <a:r>
              <a:rPr kumimoji="0" lang="de-DE" sz="1000" b="0" i="0" u="none" strike="noStrike" kern="1200" cap="none" spc="0" normalizeH="0" baseline="0" noProof="0" dirty="0" err="1">
                <a:ln>
                  <a:noFill/>
                </a:ln>
                <a:solidFill>
                  <a:prstClr val="black"/>
                </a:solidFill>
                <a:effectLst/>
                <a:uLnTx/>
                <a:uFillTx/>
                <a:latin typeface="Verdana"/>
                <a:ea typeface="+mn-ea"/>
                <a:cs typeface="Verdana"/>
              </a:rPr>
              <a:t>ids_association</a:t>
            </a:r>
            <a:endParaRPr kumimoji="0" lang="de-DE" sz="1000" b="0" i="0" u="none" strike="noStrike" kern="1200" cap="none" spc="0" normalizeH="0" baseline="0" noProof="0" dirty="0">
              <a:ln>
                <a:noFill/>
              </a:ln>
              <a:solidFill>
                <a:prstClr val="black"/>
              </a:solidFill>
              <a:effectLst/>
              <a:uLnTx/>
              <a:uFillTx/>
              <a:latin typeface="Verdana"/>
              <a:ea typeface="+mn-ea"/>
              <a:cs typeface="Verdana"/>
            </a:endParaRPr>
          </a:p>
        </p:txBody>
      </p:sp>
    </p:spTree>
    <p:extLst>
      <p:ext uri="{BB962C8B-B14F-4D97-AF65-F5344CB8AC3E}">
        <p14:creationId xmlns:p14="http://schemas.microsoft.com/office/powerpoint/2010/main" val="679678445"/>
      </p:ext>
    </p:extLst>
  </p:cSld>
  <p:clrMapOvr>
    <a:masterClrMapping/>
  </p:clrMapOvr>
  <p:extLst>
    <p:ext uri="{DCECCB84-F9BA-43D5-87BE-67443E8EF086}">
      <p15:sldGuideLst xmlns:p15="http://schemas.microsoft.com/office/powerpoint/2012/main">
        <p15:guide id="1" orient="horz" pos="1121">
          <p15:clr>
            <a:srgbClr val="FBAE40"/>
          </p15:clr>
        </p15:guide>
        <p15:guide id="2" pos="28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eme Headline_with Tex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405909" y="2286002"/>
            <a:ext cx="11244224" cy="3545447"/>
          </a:xfrm>
          <a:prstGeom prst="rect">
            <a:avLst/>
          </a:prstGeom>
        </p:spPr>
        <p:txBody>
          <a:bodyPr anchor="t">
            <a:normAutofit/>
          </a:bodyPr>
          <a:lstStyle>
            <a:lvl1pPr marL="239173" marR="0" indent="-239173" algn="l" defTabSz="609570"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43" indent="-228589">
              <a:buFont typeface="Symbol" panose="05050102010706020507" pitchFamily="18" charset="2"/>
              <a:buChar char="-"/>
              <a:defRPr sz="1600" baseline="0">
                <a:solidFill>
                  <a:schemeClr val="tx1"/>
                </a:solidFill>
              </a:defRPr>
            </a:lvl2pPr>
            <a:lvl3pPr marL="598988" indent="-110061">
              <a:buFont typeface="Arial" panose="020B0604020202020204" pitchFamily="34" charset="0"/>
              <a:buChar char="•"/>
              <a:defRPr sz="1067">
                <a:solidFill>
                  <a:schemeClr val="tx1"/>
                </a:solidFill>
              </a:defRPr>
            </a:lvl3pPr>
            <a:lvl4pPr marL="833926" indent="-256104">
              <a:buFont typeface="Symbol" panose="05050102010706020507" pitchFamily="18" charset="2"/>
              <a:buChar char="-"/>
              <a:tabLst>
                <a:tab pos="833926" algn="l"/>
                <a:tab pos="1077330" algn="l"/>
              </a:tabLst>
              <a:defRPr sz="1867" baseline="0">
                <a:solidFill>
                  <a:schemeClr val="tx1"/>
                </a:solidFill>
              </a:defRPr>
            </a:lvl4pPr>
            <a:lvl5pPr marL="1077330" indent="-262453">
              <a:buFont typeface="Georgia" panose="02040502050405020303" pitchFamily="18" charset="0"/>
              <a:buChar char="»"/>
              <a:defRPr sz="1867">
                <a:solidFill>
                  <a:schemeClr val="tx1"/>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70" rtl="0" eaLnBrk="1" fontAlgn="auto" latinLnBrk="0" hangingPunct="1">
              <a:lnSpc>
                <a:spcPct val="110000"/>
              </a:lnSpc>
              <a:spcBef>
                <a:spcPct val="20000"/>
              </a:spcBef>
              <a:spcAft>
                <a:spcPts val="0"/>
              </a:spcAft>
              <a:buClrTx/>
              <a:buSzTx/>
              <a:tabLst/>
              <a:defRPr/>
            </a:pPr>
            <a:endParaRPr lang="de-DE" dirty="0"/>
          </a:p>
        </p:txBody>
      </p:sp>
      <p:pic>
        <p:nvPicPr>
          <p:cNvPr id="13" name="Grafik 12"/>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sp>
        <p:nvSpPr>
          <p:cNvPr id="22"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3" name="Textplatzhalter 4"/>
          <p:cNvSpPr>
            <a:spLocks noGrp="1"/>
          </p:cNvSpPr>
          <p:nvPr>
            <p:ph type="body" sz="quarter" idx="17" hasCustomPrompt="1"/>
          </p:nvPr>
        </p:nvSpPr>
        <p:spPr>
          <a:xfrm>
            <a:off x="406401" y="1490136"/>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cxnSp>
        <p:nvCxnSpPr>
          <p:cNvPr id="27"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Textfeld 13"/>
          <p:cNvSpPr txBox="1"/>
          <p:nvPr userDrawn="1"/>
        </p:nvSpPr>
        <p:spPr>
          <a:xfrm>
            <a:off x="406385" y="6310788"/>
            <a:ext cx="2395808" cy="246221"/>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BA2E3"/>
                </a:solidFill>
                <a:effectLst/>
                <a:uLnTx/>
                <a:uFillTx/>
                <a:latin typeface="Verdana"/>
                <a:ea typeface="+mn-ea"/>
                <a:cs typeface="Verdana"/>
              </a:rPr>
              <a:t>www.internationaldataspaces.org</a:t>
            </a:r>
          </a:p>
        </p:txBody>
      </p:sp>
      <p:sp>
        <p:nvSpPr>
          <p:cNvPr id="15" name="Foliennummernplatzhalter 5"/>
          <p:cNvSpPr txBox="1">
            <a:spLocks/>
          </p:cNvSpPr>
          <p:nvPr userDrawn="1"/>
        </p:nvSpPr>
        <p:spPr>
          <a:xfrm>
            <a:off x="10351213" y="6360589"/>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DA28A8A7-1DE1-8B42-B22F-FAE404325B08}" type="slidenum">
              <a:rPr kumimoji="0" lang="de-DE" sz="1067" b="0" i="0" u="none" strike="noStrike" kern="1200" cap="none" spc="0" normalizeH="0" baseline="0" noProof="0" smtClean="0">
                <a:ln>
                  <a:noFill/>
                </a:ln>
                <a:solidFill>
                  <a:srgbClr val="0BA2E3"/>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BA2E3"/>
              </a:solidFill>
              <a:effectLst/>
              <a:uLnTx/>
              <a:uFillTx/>
              <a:latin typeface="Calibri"/>
              <a:ea typeface="+mn-ea"/>
              <a:cs typeface="+mn-cs"/>
            </a:endParaRPr>
          </a:p>
        </p:txBody>
      </p:sp>
      <p:sp>
        <p:nvSpPr>
          <p:cNvPr id="16" name="Shape"/>
          <p:cNvSpPr/>
          <p:nvPr userDrawn="1"/>
        </p:nvSpPr>
        <p:spPr>
          <a:xfrm>
            <a:off x="4010103" y="6303693"/>
            <a:ext cx="348148" cy="283209"/>
          </a:xfrm>
          <a:custGeom>
            <a:avLst/>
            <a:gdLst/>
            <a:ahLst/>
            <a:cxnLst>
              <a:cxn ang="0">
                <a:pos x="wd2" y="hd2"/>
              </a:cxn>
              <a:cxn ang="5400000">
                <a:pos x="wd2" y="hd2"/>
              </a:cxn>
              <a:cxn ang="10800000">
                <a:pos x="wd2" y="hd2"/>
              </a:cxn>
              <a:cxn ang="16200000">
                <a:pos x="wd2" y="hd2"/>
              </a:cxn>
            </a:cxnLst>
            <a:rect l="0" t="0" r="r" b="b"/>
            <a:pathLst>
              <a:path w="21600" h="21495" extrusionOk="0">
                <a:moveTo>
                  <a:pt x="14735" y="0"/>
                </a:moveTo>
                <a:cubicBezTo>
                  <a:pt x="16497" y="0"/>
                  <a:pt x="17287" y="960"/>
                  <a:pt x="18294" y="1876"/>
                </a:cubicBezTo>
                <a:cubicBezTo>
                  <a:pt x="19048" y="1876"/>
                  <a:pt x="20055" y="1265"/>
                  <a:pt x="20558" y="960"/>
                </a:cubicBezTo>
                <a:cubicBezTo>
                  <a:pt x="20845" y="655"/>
                  <a:pt x="20845" y="655"/>
                  <a:pt x="21097" y="655"/>
                </a:cubicBezTo>
                <a:cubicBezTo>
                  <a:pt x="20845" y="1571"/>
                  <a:pt x="20306" y="2487"/>
                  <a:pt x="19551" y="3098"/>
                </a:cubicBezTo>
                <a:cubicBezTo>
                  <a:pt x="19551" y="3098"/>
                  <a:pt x="19300" y="3404"/>
                  <a:pt x="19048" y="3404"/>
                </a:cubicBezTo>
                <a:cubicBezTo>
                  <a:pt x="20055" y="3404"/>
                  <a:pt x="20845" y="2793"/>
                  <a:pt x="21600" y="2793"/>
                </a:cubicBezTo>
                <a:cubicBezTo>
                  <a:pt x="21348" y="3404"/>
                  <a:pt x="20845" y="4320"/>
                  <a:pt x="20055" y="4625"/>
                </a:cubicBezTo>
                <a:cubicBezTo>
                  <a:pt x="19803" y="4931"/>
                  <a:pt x="19803" y="5280"/>
                  <a:pt x="19551" y="5585"/>
                </a:cubicBezTo>
                <a:cubicBezTo>
                  <a:pt x="19551" y="6807"/>
                  <a:pt x="19551" y="7724"/>
                  <a:pt x="19300" y="8945"/>
                </a:cubicBezTo>
                <a:cubicBezTo>
                  <a:pt x="18042" y="14836"/>
                  <a:pt x="15239" y="19156"/>
                  <a:pt x="10674" y="20989"/>
                </a:cubicBezTo>
                <a:cubicBezTo>
                  <a:pt x="8877" y="21600"/>
                  <a:pt x="6110" y="21600"/>
                  <a:pt x="4313" y="21295"/>
                </a:cubicBezTo>
                <a:cubicBezTo>
                  <a:pt x="3306" y="20989"/>
                  <a:pt x="2552" y="20684"/>
                  <a:pt x="1509" y="20073"/>
                </a:cubicBezTo>
                <a:cubicBezTo>
                  <a:pt x="1258" y="19767"/>
                  <a:pt x="755" y="19767"/>
                  <a:pt x="503" y="19462"/>
                </a:cubicBezTo>
                <a:cubicBezTo>
                  <a:pt x="252" y="19156"/>
                  <a:pt x="252" y="19156"/>
                  <a:pt x="0" y="19156"/>
                </a:cubicBezTo>
                <a:cubicBezTo>
                  <a:pt x="503" y="19156"/>
                  <a:pt x="1006" y="19156"/>
                  <a:pt x="1509" y="19156"/>
                </a:cubicBezTo>
                <a:cubicBezTo>
                  <a:pt x="1797" y="19156"/>
                  <a:pt x="2300" y="19156"/>
                  <a:pt x="2803" y="18851"/>
                </a:cubicBezTo>
                <a:cubicBezTo>
                  <a:pt x="3810" y="18502"/>
                  <a:pt x="4564" y="18196"/>
                  <a:pt x="5319" y="17891"/>
                </a:cubicBezTo>
                <a:cubicBezTo>
                  <a:pt x="5858" y="17585"/>
                  <a:pt x="6361" y="17280"/>
                  <a:pt x="6613" y="16669"/>
                </a:cubicBezTo>
                <a:cubicBezTo>
                  <a:pt x="6110" y="16669"/>
                  <a:pt x="5607" y="16669"/>
                  <a:pt x="5319" y="16669"/>
                </a:cubicBezTo>
                <a:cubicBezTo>
                  <a:pt x="3810" y="16058"/>
                  <a:pt x="3055" y="14836"/>
                  <a:pt x="2552" y="12960"/>
                </a:cubicBezTo>
                <a:cubicBezTo>
                  <a:pt x="2803" y="13265"/>
                  <a:pt x="4061" y="13265"/>
                  <a:pt x="4313" y="12960"/>
                </a:cubicBezTo>
                <a:cubicBezTo>
                  <a:pt x="3810" y="12960"/>
                  <a:pt x="3306" y="12655"/>
                  <a:pt x="3055" y="12349"/>
                </a:cubicBezTo>
                <a:cubicBezTo>
                  <a:pt x="1797" y="11433"/>
                  <a:pt x="755" y="9905"/>
                  <a:pt x="755" y="7724"/>
                </a:cubicBezTo>
                <a:cubicBezTo>
                  <a:pt x="1006" y="7724"/>
                  <a:pt x="1258" y="7724"/>
                  <a:pt x="1258" y="8029"/>
                </a:cubicBezTo>
                <a:cubicBezTo>
                  <a:pt x="1509" y="8029"/>
                  <a:pt x="1797" y="8029"/>
                  <a:pt x="2300" y="8335"/>
                </a:cubicBezTo>
                <a:lnTo>
                  <a:pt x="2803" y="8335"/>
                </a:lnTo>
                <a:cubicBezTo>
                  <a:pt x="2552" y="8029"/>
                  <a:pt x="2300" y="7724"/>
                  <a:pt x="2049" y="7418"/>
                </a:cubicBezTo>
                <a:cubicBezTo>
                  <a:pt x="1258" y="6196"/>
                  <a:pt x="503" y="4625"/>
                  <a:pt x="1006" y="2487"/>
                </a:cubicBezTo>
                <a:cubicBezTo>
                  <a:pt x="1006" y="1876"/>
                  <a:pt x="1258" y="1571"/>
                  <a:pt x="1509" y="1265"/>
                </a:cubicBezTo>
                <a:cubicBezTo>
                  <a:pt x="1509" y="1265"/>
                  <a:pt x="1797" y="1571"/>
                  <a:pt x="2049" y="1571"/>
                </a:cubicBezTo>
                <a:cubicBezTo>
                  <a:pt x="2300" y="2182"/>
                  <a:pt x="2803" y="2793"/>
                  <a:pt x="3306" y="3098"/>
                </a:cubicBezTo>
                <a:cubicBezTo>
                  <a:pt x="4816" y="4625"/>
                  <a:pt x="6361" y="5585"/>
                  <a:pt x="8626" y="6502"/>
                </a:cubicBezTo>
                <a:cubicBezTo>
                  <a:pt x="9380" y="6502"/>
                  <a:pt x="9919" y="6807"/>
                  <a:pt x="10674" y="6807"/>
                </a:cubicBezTo>
                <a:cubicBezTo>
                  <a:pt x="10423" y="5891"/>
                  <a:pt x="10423" y="4931"/>
                  <a:pt x="10674" y="4320"/>
                </a:cubicBezTo>
                <a:cubicBezTo>
                  <a:pt x="11177" y="2487"/>
                  <a:pt x="11932" y="1265"/>
                  <a:pt x="13226" y="655"/>
                </a:cubicBezTo>
                <a:cubicBezTo>
                  <a:pt x="13478" y="349"/>
                  <a:pt x="13981" y="349"/>
                  <a:pt x="14232" y="349"/>
                </a:cubicBezTo>
                <a:cubicBezTo>
                  <a:pt x="14484" y="349"/>
                  <a:pt x="14484" y="0"/>
                  <a:pt x="14735" y="0"/>
                </a:cubicBezTo>
              </a:path>
            </a:pathLst>
          </a:custGeom>
          <a:solidFill>
            <a:srgbClr val="0BA2E3"/>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17" name="Rechteck 16"/>
          <p:cNvSpPr/>
          <p:nvPr userDrawn="1"/>
        </p:nvSpPr>
        <p:spPr>
          <a:xfrm>
            <a:off x="4325749" y="6310339"/>
            <a:ext cx="1293944" cy="246221"/>
          </a:xfrm>
          <a:prstGeom prst="rect">
            <a:avLst/>
          </a:prstGeom>
        </p:spPr>
        <p:txBody>
          <a:bodyPr wrap="non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Verdana"/>
              </a:rPr>
              <a:t>@</a:t>
            </a:r>
            <a:r>
              <a:rPr kumimoji="0" lang="de-DE" sz="1000" b="0" i="0" u="none" strike="noStrike" kern="1200" cap="none" spc="0" normalizeH="0" baseline="0" noProof="0" dirty="0" err="1">
                <a:ln>
                  <a:noFill/>
                </a:ln>
                <a:solidFill>
                  <a:prstClr val="black"/>
                </a:solidFill>
                <a:effectLst/>
                <a:uLnTx/>
                <a:uFillTx/>
                <a:latin typeface="Verdana"/>
                <a:ea typeface="+mn-ea"/>
                <a:cs typeface="Verdana"/>
              </a:rPr>
              <a:t>ids_association</a:t>
            </a:r>
            <a:endParaRPr kumimoji="0" lang="de-DE" sz="10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18" name="Textplatzhalter 21"/>
          <p:cNvSpPr>
            <a:spLocks noGrp="1"/>
          </p:cNvSpPr>
          <p:nvPr>
            <p:ph type="body" sz="quarter" idx="16" hasCustomPrompt="1"/>
          </p:nvPr>
        </p:nvSpPr>
        <p:spPr>
          <a:xfrm>
            <a:off x="7212009" y="6306680"/>
            <a:ext cx="2508249"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pPr lvl="0"/>
            <a:r>
              <a:rPr lang="de-DE" dirty="0"/>
              <a:t>#</a:t>
            </a:r>
            <a:r>
              <a:rPr lang="de-DE" dirty="0" err="1"/>
              <a:t>eventname</a:t>
            </a:r>
            <a:r>
              <a:rPr lang="de-DE" dirty="0"/>
              <a:t> (...)</a:t>
            </a:r>
          </a:p>
        </p:txBody>
      </p:sp>
      <p:sp>
        <p:nvSpPr>
          <p:cNvPr id="19" name="Textplatzhalter 21"/>
          <p:cNvSpPr>
            <a:spLocks noGrp="1"/>
          </p:cNvSpPr>
          <p:nvPr>
            <p:ph type="body" sz="quarter" idx="18" hasCustomPrompt="1"/>
          </p:nvPr>
        </p:nvSpPr>
        <p:spPr>
          <a:xfrm>
            <a:off x="5611775" y="6308463"/>
            <a:ext cx="1577793"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Tree>
    <p:extLst>
      <p:ext uri="{BB962C8B-B14F-4D97-AF65-F5344CB8AC3E}">
        <p14:creationId xmlns:p14="http://schemas.microsoft.com/office/powerpoint/2010/main" val="336189595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29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eme Headline_empty slid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13" name="Textplatzhalter 4"/>
          <p:cNvSpPr>
            <a:spLocks noGrp="1"/>
          </p:cNvSpPr>
          <p:nvPr>
            <p:ph type="body" sz="quarter" idx="17" hasCustomPrompt="1"/>
          </p:nvPr>
        </p:nvSpPr>
        <p:spPr>
          <a:xfrm>
            <a:off x="406401" y="1490136"/>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pic>
        <p:nvPicPr>
          <p:cNvPr id="14" name="Grafik 13"/>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cxnSp>
        <p:nvCxnSpPr>
          <p:cNvPr id="32"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33" name="Textfeld 32"/>
          <p:cNvSpPr txBox="1"/>
          <p:nvPr userDrawn="1"/>
        </p:nvSpPr>
        <p:spPr>
          <a:xfrm>
            <a:off x="406385" y="6310788"/>
            <a:ext cx="2395808" cy="246221"/>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BA2E3"/>
                </a:solidFill>
                <a:effectLst/>
                <a:uLnTx/>
                <a:uFillTx/>
                <a:latin typeface="Verdana"/>
                <a:ea typeface="+mn-ea"/>
                <a:cs typeface="Verdana"/>
              </a:rPr>
              <a:t>www.internationaldataspaces.org</a:t>
            </a:r>
          </a:p>
        </p:txBody>
      </p:sp>
      <p:sp>
        <p:nvSpPr>
          <p:cNvPr id="34" name="Foliennummernplatzhalter 5"/>
          <p:cNvSpPr txBox="1">
            <a:spLocks/>
          </p:cNvSpPr>
          <p:nvPr userDrawn="1"/>
        </p:nvSpPr>
        <p:spPr>
          <a:xfrm>
            <a:off x="10351213" y="6360589"/>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DA28A8A7-1DE1-8B42-B22F-FAE404325B08}" type="slidenum">
              <a:rPr kumimoji="0" lang="de-DE" sz="1067" b="0" i="0" u="none" strike="noStrike" kern="1200" cap="none" spc="0" normalizeH="0" baseline="0" noProof="0" smtClean="0">
                <a:ln>
                  <a:noFill/>
                </a:ln>
                <a:solidFill>
                  <a:srgbClr val="0BA2E3"/>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BA2E3"/>
              </a:solidFill>
              <a:effectLst/>
              <a:uLnTx/>
              <a:uFillTx/>
              <a:latin typeface="Calibri"/>
              <a:ea typeface="+mn-ea"/>
              <a:cs typeface="+mn-cs"/>
            </a:endParaRPr>
          </a:p>
        </p:txBody>
      </p:sp>
      <p:sp>
        <p:nvSpPr>
          <p:cNvPr id="35" name="Shape"/>
          <p:cNvSpPr/>
          <p:nvPr userDrawn="1"/>
        </p:nvSpPr>
        <p:spPr>
          <a:xfrm>
            <a:off x="4010103" y="6303693"/>
            <a:ext cx="348148" cy="283209"/>
          </a:xfrm>
          <a:custGeom>
            <a:avLst/>
            <a:gdLst/>
            <a:ahLst/>
            <a:cxnLst>
              <a:cxn ang="0">
                <a:pos x="wd2" y="hd2"/>
              </a:cxn>
              <a:cxn ang="5400000">
                <a:pos x="wd2" y="hd2"/>
              </a:cxn>
              <a:cxn ang="10800000">
                <a:pos x="wd2" y="hd2"/>
              </a:cxn>
              <a:cxn ang="16200000">
                <a:pos x="wd2" y="hd2"/>
              </a:cxn>
            </a:cxnLst>
            <a:rect l="0" t="0" r="r" b="b"/>
            <a:pathLst>
              <a:path w="21600" h="21495" extrusionOk="0">
                <a:moveTo>
                  <a:pt x="14735" y="0"/>
                </a:moveTo>
                <a:cubicBezTo>
                  <a:pt x="16497" y="0"/>
                  <a:pt x="17287" y="960"/>
                  <a:pt x="18294" y="1876"/>
                </a:cubicBezTo>
                <a:cubicBezTo>
                  <a:pt x="19048" y="1876"/>
                  <a:pt x="20055" y="1265"/>
                  <a:pt x="20558" y="960"/>
                </a:cubicBezTo>
                <a:cubicBezTo>
                  <a:pt x="20845" y="655"/>
                  <a:pt x="20845" y="655"/>
                  <a:pt x="21097" y="655"/>
                </a:cubicBezTo>
                <a:cubicBezTo>
                  <a:pt x="20845" y="1571"/>
                  <a:pt x="20306" y="2487"/>
                  <a:pt x="19551" y="3098"/>
                </a:cubicBezTo>
                <a:cubicBezTo>
                  <a:pt x="19551" y="3098"/>
                  <a:pt x="19300" y="3404"/>
                  <a:pt x="19048" y="3404"/>
                </a:cubicBezTo>
                <a:cubicBezTo>
                  <a:pt x="20055" y="3404"/>
                  <a:pt x="20845" y="2793"/>
                  <a:pt x="21600" y="2793"/>
                </a:cubicBezTo>
                <a:cubicBezTo>
                  <a:pt x="21348" y="3404"/>
                  <a:pt x="20845" y="4320"/>
                  <a:pt x="20055" y="4625"/>
                </a:cubicBezTo>
                <a:cubicBezTo>
                  <a:pt x="19803" y="4931"/>
                  <a:pt x="19803" y="5280"/>
                  <a:pt x="19551" y="5585"/>
                </a:cubicBezTo>
                <a:cubicBezTo>
                  <a:pt x="19551" y="6807"/>
                  <a:pt x="19551" y="7724"/>
                  <a:pt x="19300" y="8945"/>
                </a:cubicBezTo>
                <a:cubicBezTo>
                  <a:pt x="18042" y="14836"/>
                  <a:pt x="15239" y="19156"/>
                  <a:pt x="10674" y="20989"/>
                </a:cubicBezTo>
                <a:cubicBezTo>
                  <a:pt x="8877" y="21600"/>
                  <a:pt x="6110" y="21600"/>
                  <a:pt x="4313" y="21295"/>
                </a:cubicBezTo>
                <a:cubicBezTo>
                  <a:pt x="3306" y="20989"/>
                  <a:pt x="2552" y="20684"/>
                  <a:pt x="1509" y="20073"/>
                </a:cubicBezTo>
                <a:cubicBezTo>
                  <a:pt x="1258" y="19767"/>
                  <a:pt x="755" y="19767"/>
                  <a:pt x="503" y="19462"/>
                </a:cubicBezTo>
                <a:cubicBezTo>
                  <a:pt x="252" y="19156"/>
                  <a:pt x="252" y="19156"/>
                  <a:pt x="0" y="19156"/>
                </a:cubicBezTo>
                <a:cubicBezTo>
                  <a:pt x="503" y="19156"/>
                  <a:pt x="1006" y="19156"/>
                  <a:pt x="1509" y="19156"/>
                </a:cubicBezTo>
                <a:cubicBezTo>
                  <a:pt x="1797" y="19156"/>
                  <a:pt x="2300" y="19156"/>
                  <a:pt x="2803" y="18851"/>
                </a:cubicBezTo>
                <a:cubicBezTo>
                  <a:pt x="3810" y="18502"/>
                  <a:pt x="4564" y="18196"/>
                  <a:pt x="5319" y="17891"/>
                </a:cubicBezTo>
                <a:cubicBezTo>
                  <a:pt x="5858" y="17585"/>
                  <a:pt x="6361" y="17280"/>
                  <a:pt x="6613" y="16669"/>
                </a:cubicBezTo>
                <a:cubicBezTo>
                  <a:pt x="6110" y="16669"/>
                  <a:pt x="5607" y="16669"/>
                  <a:pt x="5319" y="16669"/>
                </a:cubicBezTo>
                <a:cubicBezTo>
                  <a:pt x="3810" y="16058"/>
                  <a:pt x="3055" y="14836"/>
                  <a:pt x="2552" y="12960"/>
                </a:cubicBezTo>
                <a:cubicBezTo>
                  <a:pt x="2803" y="13265"/>
                  <a:pt x="4061" y="13265"/>
                  <a:pt x="4313" y="12960"/>
                </a:cubicBezTo>
                <a:cubicBezTo>
                  <a:pt x="3810" y="12960"/>
                  <a:pt x="3306" y="12655"/>
                  <a:pt x="3055" y="12349"/>
                </a:cubicBezTo>
                <a:cubicBezTo>
                  <a:pt x="1797" y="11433"/>
                  <a:pt x="755" y="9905"/>
                  <a:pt x="755" y="7724"/>
                </a:cubicBezTo>
                <a:cubicBezTo>
                  <a:pt x="1006" y="7724"/>
                  <a:pt x="1258" y="7724"/>
                  <a:pt x="1258" y="8029"/>
                </a:cubicBezTo>
                <a:cubicBezTo>
                  <a:pt x="1509" y="8029"/>
                  <a:pt x="1797" y="8029"/>
                  <a:pt x="2300" y="8335"/>
                </a:cubicBezTo>
                <a:lnTo>
                  <a:pt x="2803" y="8335"/>
                </a:lnTo>
                <a:cubicBezTo>
                  <a:pt x="2552" y="8029"/>
                  <a:pt x="2300" y="7724"/>
                  <a:pt x="2049" y="7418"/>
                </a:cubicBezTo>
                <a:cubicBezTo>
                  <a:pt x="1258" y="6196"/>
                  <a:pt x="503" y="4625"/>
                  <a:pt x="1006" y="2487"/>
                </a:cubicBezTo>
                <a:cubicBezTo>
                  <a:pt x="1006" y="1876"/>
                  <a:pt x="1258" y="1571"/>
                  <a:pt x="1509" y="1265"/>
                </a:cubicBezTo>
                <a:cubicBezTo>
                  <a:pt x="1509" y="1265"/>
                  <a:pt x="1797" y="1571"/>
                  <a:pt x="2049" y="1571"/>
                </a:cubicBezTo>
                <a:cubicBezTo>
                  <a:pt x="2300" y="2182"/>
                  <a:pt x="2803" y="2793"/>
                  <a:pt x="3306" y="3098"/>
                </a:cubicBezTo>
                <a:cubicBezTo>
                  <a:pt x="4816" y="4625"/>
                  <a:pt x="6361" y="5585"/>
                  <a:pt x="8626" y="6502"/>
                </a:cubicBezTo>
                <a:cubicBezTo>
                  <a:pt x="9380" y="6502"/>
                  <a:pt x="9919" y="6807"/>
                  <a:pt x="10674" y="6807"/>
                </a:cubicBezTo>
                <a:cubicBezTo>
                  <a:pt x="10423" y="5891"/>
                  <a:pt x="10423" y="4931"/>
                  <a:pt x="10674" y="4320"/>
                </a:cubicBezTo>
                <a:cubicBezTo>
                  <a:pt x="11177" y="2487"/>
                  <a:pt x="11932" y="1265"/>
                  <a:pt x="13226" y="655"/>
                </a:cubicBezTo>
                <a:cubicBezTo>
                  <a:pt x="13478" y="349"/>
                  <a:pt x="13981" y="349"/>
                  <a:pt x="14232" y="349"/>
                </a:cubicBezTo>
                <a:cubicBezTo>
                  <a:pt x="14484" y="349"/>
                  <a:pt x="14484" y="0"/>
                  <a:pt x="14735" y="0"/>
                </a:cubicBezTo>
              </a:path>
            </a:pathLst>
          </a:custGeom>
          <a:solidFill>
            <a:srgbClr val="0BA2E3"/>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36" name="Rechteck 35"/>
          <p:cNvSpPr/>
          <p:nvPr userDrawn="1"/>
        </p:nvSpPr>
        <p:spPr>
          <a:xfrm>
            <a:off x="4325749" y="6310339"/>
            <a:ext cx="1293944" cy="246221"/>
          </a:xfrm>
          <a:prstGeom prst="rect">
            <a:avLst/>
          </a:prstGeom>
        </p:spPr>
        <p:txBody>
          <a:bodyPr wrap="non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Verdana"/>
              </a:rPr>
              <a:t>@</a:t>
            </a:r>
            <a:r>
              <a:rPr kumimoji="0" lang="de-DE" sz="1000" b="0" i="0" u="none" strike="noStrike" kern="1200" cap="none" spc="0" normalizeH="0" baseline="0" noProof="0" dirty="0" err="1">
                <a:ln>
                  <a:noFill/>
                </a:ln>
                <a:solidFill>
                  <a:prstClr val="black"/>
                </a:solidFill>
                <a:effectLst/>
                <a:uLnTx/>
                <a:uFillTx/>
                <a:latin typeface="Verdana"/>
                <a:ea typeface="+mn-ea"/>
                <a:cs typeface="Verdana"/>
              </a:rPr>
              <a:t>ids_association</a:t>
            </a:r>
            <a:endParaRPr kumimoji="0" lang="de-DE" sz="10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37" name="Textplatzhalter 21"/>
          <p:cNvSpPr>
            <a:spLocks noGrp="1"/>
          </p:cNvSpPr>
          <p:nvPr>
            <p:ph type="body" sz="quarter" idx="16" hasCustomPrompt="1"/>
          </p:nvPr>
        </p:nvSpPr>
        <p:spPr>
          <a:xfrm>
            <a:off x="7212009" y="6306680"/>
            <a:ext cx="2508249"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pPr lvl="0"/>
            <a:r>
              <a:rPr lang="de-DE" dirty="0"/>
              <a:t>#</a:t>
            </a:r>
            <a:r>
              <a:rPr lang="de-DE" dirty="0" err="1"/>
              <a:t>eventname</a:t>
            </a:r>
            <a:r>
              <a:rPr lang="de-DE" dirty="0"/>
              <a:t> (...)</a:t>
            </a:r>
          </a:p>
        </p:txBody>
      </p:sp>
      <p:sp>
        <p:nvSpPr>
          <p:cNvPr id="38" name="Textplatzhalter 21"/>
          <p:cNvSpPr>
            <a:spLocks noGrp="1"/>
          </p:cNvSpPr>
          <p:nvPr>
            <p:ph type="body" sz="quarter" idx="18" hasCustomPrompt="1"/>
          </p:nvPr>
        </p:nvSpPr>
        <p:spPr>
          <a:xfrm>
            <a:off x="5611775" y="6308463"/>
            <a:ext cx="1577793"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Tree>
    <p:extLst>
      <p:ext uri="{BB962C8B-B14F-4D97-AF65-F5344CB8AC3E}">
        <p14:creationId xmlns:p14="http://schemas.microsoft.com/office/powerpoint/2010/main" val="25738791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304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11" name="Rechteck 10"/>
          <p:cNvSpPr/>
          <p:nvPr userDrawn="1"/>
        </p:nvSpPr>
        <p:spPr>
          <a:xfrm>
            <a:off x="9762067" y="0"/>
            <a:ext cx="2032000" cy="11345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pic>
        <p:nvPicPr>
          <p:cNvPr id="12" name="Grafik 11"/>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cxnSp>
        <p:nvCxnSpPr>
          <p:cNvPr id="15"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17" name="Textfeld 16"/>
          <p:cNvSpPr txBox="1"/>
          <p:nvPr userDrawn="1"/>
        </p:nvSpPr>
        <p:spPr>
          <a:xfrm>
            <a:off x="406385" y="6310788"/>
            <a:ext cx="2395808" cy="246221"/>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BA2E3"/>
                </a:solidFill>
                <a:effectLst/>
                <a:uLnTx/>
                <a:uFillTx/>
                <a:latin typeface="Verdana"/>
                <a:ea typeface="+mn-ea"/>
                <a:cs typeface="Verdana"/>
              </a:rPr>
              <a:t>www.internationaldataspaces.org</a:t>
            </a:r>
          </a:p>
        </p:txBody>
      </p:sp>
      <p:sp>
        <p:nvSpPr>
          <p:cNvPr id="18" name="Foliennummernplatzhalter 5"/>
          <p:cNvSpPr txBox="1">
            <a:spLocks/>
          </p:cNvSpPr>
          <p:nvPr userDrawn="1"/>
        </p:nvSpPr>
        <p:spPr>
          <a:xfrm>
            <a:off x="10351213" y="6360589"/>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DA28A8A7-1DE1-8B42-B22F-FAE404325B08}" type="slidenum">
              <a:rPr kumimoji="0" lang="de-DE" sz="1067" b="0" i="0" u="none" strike="noStrike" kern="1200" cap="none" spc="0" normalizeH="0" baseline="0" noProof="0" smtClean="0">
                <a:ln>
                  <a:noFill/>
                </a:ln>
                <a:solidFill>
                  <a:srgbClr val="0BA2E3"/>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BA2E3"/>
              </a:solidFill>
              <a:effectLst/>
              <a:uLnTx/>
              <a:uFillTx/>
              <a:latin typeface="Calibri"/>
              <a:ea typeface="+mn-ea"/>
              <a:cs typeface="+mn-cs"/>
            </a:endParaRPr>
          </a:p>
        </p:txBody>
      </p:sp>
      <p:sp>
        <p:nvSpPr>
          <p:cNvPr id="19" name="Shape"/>
          <p:cNvSpPr/>
          <p:nvPr userDrawn="1"/>
        </p:nvSpPr>
        <p:spPr>
          <a:xfrm>
            <a:off x="4010103" y="6303693"/>
            <a:ext cx="348148" cy="283209"/>
          </a:xfrm>
          <a:custGeom>
            <a:avLst/>
            <a:gdLst/>
            <a:ahLst/>
            <a:cxnLst>
              <a:cxn ang="0">
                <a:pos x="wd2" y="hd2"/>
              </a:cxn>
              <a:cxn ang="5400000">
                <a:pos x="wd2" y="hd2"/>
              </a:cxn>
              <a:cxn ang="10800000">
                <a:pos x="wd2" y="hd2"/>
              </a:cxn>
              <a:cxn ang="16200000">
                <a:pos x="wd2" y="hd2"/>
              </a:cxn>
            </a:cxnLst>
            <a:rect l="0" t="0" r="r" b="b"/>
            <a:pathLst>
              <a:path w="21600" h="21495" extrusionOk="0">
                <a:moveTo>
                  <a:pt x="14735" y="0"/>
                </a:moveTo>
                <a:cubicBezTo>
                  <a:pt x="16497" y="0"/>
                  <a:pt x="17287" y="960"/>
                  <a:pt x="18294" y="1876"/>
                </a:cubicBezTo>
                <a:cubicBezTo>
                  <a:pt x="19048" y="1876"/>
                  <a:pt x="20055" y="1265"/>
                  <a:pt x="20558" y="960"/>
                </a:cubicBezTo>
                <a:cubicBezTo>
                  <a:pt x="20845" y="655"/>
                  <a:pt x="20845" y="655"/>
                  <a:pt x="21097" y="655"/>
                </a:cubicBezTo>
                <a:cubicBezTo>
                  <a:pt x="20845" y="1571"/>
                  <a:pt x="20306" y="2487"/>
                  <a:pt x="19551" y="3098"/>
                </a:cubicBezTo>
                <a:cubicBezTo>
                  <a:pt x="19551" y="3098"/>
                  <a:pt x="19300" y="3404"/>
                  <a:pt x="19048" y="3404"/>
                </a:cubicBezTo>
                <a:cubicBezTo>
                  <a:pt x="20055" y="3404"/>
                  <a:pt x="20845" y="2793"/>
                  <a:pt x="21600" y="2793"/>
                </a:cubicBezTo>
                <a:cubicBezTo>
                  <a:pt x="21348" y="3404"/>
                  <a:pt x="20845" y="4320"/>
                  <a:pt x="20055" y="4625"/>
                </a:cubicBezTo>
                <a:cubicBezTo>
                  <a:pt x="19803" y="4931"/>
                  <a:pt x="19803" y="5280"/>
                  <a:pt x="19551" y="5585"/>
                </a:cubicBezTo>
                <a:cubicBezTo>
                  <a:pt x="19551" y="6807"/>
                  <a:pt x="19551" y="7724"/>
                  <a:pt x="19300" y="8945"/>
                </a:cubicBezTo>
                <a:cubicBezTo>
                  <a:pt x="18042" y="14836"/>
                  <a:pt x="15239" y="19156"/>
                  <a:pt x="10674" y="20989"/>
                </a:cubicBezTo>
                <a:cubicBezTo>
                  <a:pt x="8877" y="21600"/>
                  <a:pt x="6110" y="21600"/>
                  <a:pt x="4313" y="21295"/>
                </a:cubicBezTo>
                <a:cubicBezTo>
                  <a:pt x="3306" y="20989"/>
                  <a:pt x="2552" y="20684"/>
                  <a:pt x="1509" y="20073"/>
                </a:cubicBezTo>
                <a:cubicBezTo>
                  <a:pt x="1258" y="19767"/>
                  <a:pt x="755" y="19767"/>
                  <a:pt x="503" y="19462"/>
                </a:cubicBezTo>
                <a:cubicBezTo>
                  <a:pt x="252" y="19156"/>
                  <a:pt x="252" y="19156"/>
                  <a:pt x="0" y="19156"/>
                </a:cubicBezTo>
                <a:cubicBezTo>
                  <a:pt x="503" y="19156"/>
                  <a:pt x="1006" y="19156"/>
                  <a:pt x="1509" y="19156"/>
                </a:cubicBezTo>
                <a:cubicBezTo>
                  <a:pt x="1797" y="19156"/>
                  <a:pt x="2300" y="19156"/>
                  <a:pt x="2803" y="18851"/>
                </a:cubicBezTo>
                <a:cubicBezTo>
                  <a:pt x="3810" y="18502"/>
                  <a:pt x="4564" y="18196"/>
                  <a:pt x="5319" y="17891"/>
                </a:cubicBezTo>
                <a:cubicBezTo>
                  <a:pt x="5858" y="17585"/>
                  <a:pt x="6361" y="17280"/>
                  <a:pt x="6613" y="16669"/>
                </a:cubicBezTo>
                <a:cubicBezTo>
                  <a:pt x="6110" y="16669"/>
                  <a:pt x="5607" y="16669"/>
                  <a:pt x="5319" y="16669"/>
                </a:cubicBezTo>
                <a:cubicBezTo>
                  <a:pt x="3810" y="16058"/>
                  <a:pt x="3055" y="14836"/>
                  <a:pt x="2552" y="12960"/>
                </a:cubicBezTo>
                <a:cubicBezTo>
                  <a:pt x="2803" y="13265"/>
                  <a:pt x="4061" y="13265"/>
                  <a:pt x="4313" y="12960"/>
                </a:cubicBezTo>
                <a:cubicBezTo>
                  <a:pt x="3810" y="12960"/>
                  <a:pt x="3306" y="12655"/>
                  <a:pt x="3055" y="12349"/>
                </a:cubicBezTo>
                <a:cubicBezTo>
                  <a:pt x="1797" y="11433"/>
                  <a:pt x="755" y="9905"/>
                  <a:pt x="755" y="7724"/>
                </a:cubicBezTo>
                <a:cubicBezTo>
                  <a:pt x="1006" y="7724"/>
                  <a:pt x="1258" y="7724"/>
                  <a:pt x="1258" y="8029"/>
                </a:cubicBezTo>
                <a:cubicBezTo>
                  <a:pt x="1509" y="8029"/>
                  <a:pt x="1797" y="8029"/>
                  <a:pt x="2300" y="8335"/>
                </a:cubicBezTo>
                <a:lnTo>
                  <a:pt x="2803" y="8335"/>
                </a:lnTo>
                <a:cubicBezTo>
                  <a:pt x="2552" y="8029"/>
                  <a:pt x="2300" y="7724"/>
                  <a:pt x="2049" y="7418"/>
                </a:cubicBezTo>
                <a:cubicBezTo>
                  <a:pt x="1258" y="6196"/>
                  <a:pt x="503" y="4625"/>
                  <a:pt x="1006" y="2487"/>
                </a:cubicBezTo>
                <a:cubicBezTo>
                  <a:pt x="1006" y="1876"/>
                  <a:pt x="1258" y="1571"/>
                  <a:pt x="1509" y="1265"/>
                </a:cubicBezTo>
                <a:cubicBezTo>
                  <a:pt x="1509" y="1265"/>
                  <a:pt x="1797" y="1571"/>
                  <a:pt x="2049" y="1571"/>
                </a:cubicBezTo>
                <a:cubicBezTo>
                  <a:pt x="2300" y="2182"/>
                  <a:pt x="2803" y="2793"/>
                  <a:pt x="3306" y="3098"/>
                </a:cubicBezTo>
                <a:cubicBezTo>
                  <a:pt x="4816" y="4625"/>
                  <a:pt x="6361" y="5585"/>
                  <a:pt x="8626" y="6502"/>
                </a:cubicBezTo>
                <a:cubicBezTo>
                  <a:pt x="9380" y="6502"/>
                  <a:pt x="9919" y="6807"/>
                  <a:pt x="10674" y="6807"/>
                </a:cubicBezTo>
                <a:cubicBezTo>
                  <a:pt x="10423" y="5891"/>
                  <a:pt x="10423" y="4931"/>
                  <a:pt x="10674" y="4320"/>
                </a:cubicBezTo>
                <a:cubicBezTo>
                  <a:pt x="11177" y="2487"/>
                  <a:pt x="11932" y="1265"/>
                  <a:pt x="13226" y="655"/>
                </a:cubicBezTo>
                <a:cubicBezTo>
                  <a:pt x="13478" y="349"/>
                  <a:pt x="13981" y="349"/>
                  <a:pt x="14232" y="349"/>
                </a:cubicBezTo>
                <a:cubicBezTo>
                  <a:pt x="14484" y="349"/>
                  <a:pt x="14484" y="0"/>
                  <a:pt x="14735" y="0"/>
                </a:cubicBezTo>
              </a:path>
            </a:pathLst>
          </a:custGeom>
          <a:solidFill>
            <a:srgbClr val="0BA2E3"/>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20" name="Rechteck 19"/>
          <p:cNvSpPr/>
          <p:nvPr userDrawn="1"/>
        </p:nvSpPr>
        <p:spPr>
          <a:xfrm>
            <a:off x="4325749" y="6310339"/>
            <a:ext cx="1293944" cy="246221"/>
          </a:xfrm>
          <a:prstGeom prst="rect">
            <a:avLst/>
          </a:prstGeom>
        </p:spPr>
        <p:txBody>
          <a:bodyPr wrap="non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Verdana"/>
              </a:rPr>
              <a:t>@</a:t>
            </a:r>
            <a:r>
              <a:rPr kumimoji="0" lang="de-DE" sz="1000" b="0" i="0" u="none" strike="noStrike" kern="1200" cap="none" spc="0" normalizeH="0" baseline="0" noProof="0" dirty="0" err="1">
                <a:ln>
                  <a:noFill/>
                </a:ln>
                <a:solidFill>
                  <a:prstClr val="black"/>
                </a:solidFill>
                <a:effectLst/>
                <a:uLnTx/>
                <a:uFillTx/>
                <a:latin typeface="Verdana"/>
                <a:ea typeface="+mn-ea"/>
                <a:cs typeface="Verdana"/>
              </a:rPr>
              <a:t>ids_association</a:t>
            </a:r>
            <a:endParaRPr kumimoji="0" lang="de-DE" sz="10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21" name="Textplatzhalter 21"/>
          <p:cNvSpPr>
            <a:spLocks noGrp="1"/>
          </p:cNvSpPr>
          <p:nvPr>
            <p:ph type="body" sz="quarter" idx="16" hasCustomPrompt="1"/>
          </p:nvPr>
        </p:nvSpPr>
        <p:spPr>
          <a:xfrm>
            <a:off x="7212009" y="6306680"/>
            <a:ext cx="2508249"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pPr lvl="0"/>
            <a:r>
              <a:rPr lang="de-DE" dirty="0"/>
              <a:t>#</a:t>
            </a:r>
            <a:r>
              <a:rPr lang="de-DE" dirty="0" err="1"/>
              <a:t>eventname</a:t>
            </a:r>
            <a:r>
              <a:rPr lang="de-DE" dirty="0"/>
              <a:t> (...)</a:t>
            </a:r>
          </a:p>
        </p:txBody>
      </p:sp>
      <p:sp>
        <p:nvSpPr>
          <p:cNvPr id="23" name="Textplatzhalter 21"/>
          <p:cNvSpPr>
            <a:spLocks noGrp="1"/>
          </p:cNvSpPr>
          <p:nvPr>
            <p:ph type="body" sz="quarter" idx="18" hasCustomPrompt="1"/>
          </p:nvPr>
        </p:nvSpPr>
        <p:spPr>
          <a:xfrm>
            <a:off x="5611775" y="6308463"/>
            <a:ext cx="1577793"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Tree>
    <p:extLst>
      <p:ext uri="{BB962C8B-B14F-4D97-AF65-F5344CB8AC3E}">
        <p14:creationId xmlns:p14="http://schemas.microsoft.com/office/powerpoint/2010/main" val="25882689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Grafik 2"/>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spTree>
    <p:extLst>
      <p:ext uri="{BB962C8B-B14F-4D97-AF65-F5344CB8AC3E}">
        <p14:creationId xmlns:p14="http://schemas.microsoft.com/office/powerpoint/2010/main" val="1117852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eme Headline_with Text &amp; Picture_01">
    <p:spTree>
      <p:nvGrpSpPr>
        <p:cNvPr id="1" name=""/>
        <p:cNvGrpSpPr/>
        <p:nvPr/>
      </p:nvGrpSpPr>
      <p:grpSpPr>
        <a:xfrm>
          <a:off x="0" y="0"/>
          <a:ext cx="0" cy="0"/>
          <a:chOff x="0" y="0"/>
          <a:chExt cx="0" cy="0"/>
        </a:xfrm>
      </p:grpSpPr>
      <p:sp>
        <p:nvSpPr>
          <p:cNvPr id="15" name="Textplatzhalter 2"/>
          <p:cNvSpPr>
            <a:spLocks noGrp="1"/>
          </p:cNvSpPr>
          <p:nvPr>
            <p:ph type="body" idx="22" hasCustomPrompt="1"/>
          </p:nvPr>
        </p:nvSpPr>
        <p:spPr>
          <a:xfrm>
            <a:off x="4061349" y="2286000"/>
            <a:ext cx="7588785" cy="3409591"/>
          </a:xfrm>
          <a:prstGeom prst="rect">
            <a:avLst/>
          </a:prstGeom>
        </p:spPr>
        <p:txBody>
          <a:bodyPr anchor="t">
            <a:normAutofit/>
          </a:bodyPr>
          <a:lstStyle>
            <a:lvl1pPr marL="239173" marR="0" indent="-239173" algn="l" defTabSz="609570"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43" indent="-228589">
              <a:buFont typeface="Symbol" panose="05050102010706020507" pitchFamily="18" charset="2"/>
              <a:buChar char="-"/>
              <a:defRPr sz="1600" baseline="0">
                <a:solidFill>
                  <a:schemeClr val="tx1"/>
                </a:solidFill>
              </a:defRPr>
            </a:lvl2pPr>
            <a:lvl3pPr marL="598988" indent="-110061">
              <a:buFont typeface="Arial" panose="020B0604020202020204" pitchFamily="34" charset="0"/>
              <a:buChar char="•"/>
              <a:defRPr sz="1067">
                <a:solidFill>
                  <a:schemeClr val="tx1"/>
                </a:solidFill>
              </a:defRPr>
            </a:lvl3pPr>
            <a:lvl4pPr marL="833926" indent="-256104">
              <a:buFont typeface="Symbol" panose="05050102010706020507" pitchFamily="18" charset="2"/>
              <a:buChar char="-"/>
              <a:tabLst>
                <a:tab pos="833926" algn="l"/>
                <a:tab pos="1077330" algn="l"/>
              </a:tabLst>
              <a:defRPr sz="1867" baseline="0">
                <a:solidFill>
                  <a:schemeClr val="tx1"/>
                </a:solidFill>
              </a:defRPr>
            </a:lvl4pPr>
            <a:lvl5pPr marL="1077330" indent="-262453">
              <a:buFont typeface="Georgia" panose="02040502050405020303" pitchFamily="18" charset="0"/>
              <a:buChar char="»"/>
              <a:defRPr sz="1867">
                <a:solidFill>
                  <a:schemeClr val="tx1"/>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70" rtl="0" eaLnBrk="1" fontAlgn="auto" latinLnBrk="0" hangingPunct="1">
              <a:lnSpc>
                <a:spcPct val="110000"/>
              </a:lnSpc>
              <a:spcBef>
                <a:spcPct val="20000"/>
              </a:spcBef>
              <a:spcAft>
                <a:spcPts val="0"/>
              </a:spcAft>
              <a:buClrTx/>
              <a:buSzTx/>
              <a:tabLst/>
              <a:defRPr/>
            </a:pPr>
            <a:endParaRPr lang="de-DE" dirty="0"/>
          </a:p>
        </p:txBody>
      </p:sp>
      <p:sp>
        <p:nvSpPr>
          <p:cNvPr id="25" name="Bildplatzhalter 24"/>
          <p:cNvSpPr>
            <a:spLocks noGrp="1"/>
          </p:cNvSpPr>
          <p:nvPr>
            <p:ph type="pic" sz="quarter" idx="19" hasCustomPrompt="1"/>
          </p:nvPr>
        </p:nvSpPr>
        <p:spPr>
          <a:xfrm>
            <a:off x="533402" y="2279652"/>
            <a:ext cx="3424767" cy="3437467"/>
          </a:xfrm>
          <a:prstGeom prst="rect">
            <a:avLst/>
          </a:prstGeom>
        </p:spPr>
        <p:txBody>
          <a:bodyPr vert="horz" anchor="ctr"/>
          <a:lstStyle>
            <a:lvl1pPr marL="0" indent="0" algn="ctr">
              <a:buNone/>
              <a:defRPr lang="de-DE" sz="2667" kern="1200" baseline="0" dirty="0" smtClean="0">
                <a:solidFill>
                  <a:schemeClr val="tx1"/>
                </a:solidFill>
                <a:latin typeface="Verdana"/>
                <a:ea typeface="+mn-ea"/>
                <a:cs typeface="Verdana"/>
              </a:defRPr>
            </a:lvl1pPr>
          </a:lstStyle>
          <a:p>
            <a:r>
              <a:rPr lang="de-DE" dirty="0"/>
              <a:t>1/3 Picture</a:t>
            </a:r>
          </a:p>
        </p:txBody>
      </p:sp>
      <p:sp>
        <p:nvSpPr>
          <p:cNvPr id="27" name="Textplatzhalter 15"/>
          <p:cNvSpPr>
            <a:spLocks noGrp="1"/>
          </p:cNvSpPr>
          <p:nvPr>
            <p:ph type="body" sz="quarter" idx="18" hasCustomPrompt="1"/>
          </p:nvPr>
        </p:nvSpPr>
        <p:spPr>
          <a:xfrm>
            <a:off x="420989" y="5695592"/>
            <a:ext cx="3640361" cy="424499"/>
          </a:xfrm>
          <a:prstGeom prst="rect">
            <a:avLst/>
          </a:prstGeom>
        </p:spPr>
        <p:txBody>
          <a:bodyPr vert="horz"/>
          <a:lstStyle>
            <a:lvl1pPr marL="0" indent="0" algn="l">
              <a:lnSpc>
                <a:spcPct val="110000"/>
              </a:lnSpc>
              <a:buNone/>
              <a:defRPr sz="1000" b="0" i="1" baseline="0">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a:p>
            <a:pPr lvl="0"/>
            <a:r>
              <a:rPr lang="de-DE" dirty="0"/>
              <a:t>Second </a:t>
            </a:r>
            <a:r>
              <a:rPr lang="de-DE" dirty="0" err="1"/>
              <a:t>row</a:t>
            </a:r>
            <a:r>
              <a:rPr lang="de-DE" dirty="0"/>
              <a:t>.</a:t>
            </a:r>
          </a:p>
        </p:txBody>
      </p:sp>
      <p:pic>
        <p:nvPicPr>
          <p:cNvPr id="19" name="Grafik 18"/>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sp>
        <p:nvSpPr>
          <p:cNvPr id="23"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4" name="Textplatzhalter 4"/>
          <p:cNvSpPr>
            <a:spLocks noGrp="1"/>
          </p:cNvSpPr>
          <p:nvPr>
            <p:ph type="body" sz="quarter" idx="20" hasCustomPrompt="1"/>
          </p:nvPr>
        </p:nvSpPr>
        <p:spPr>
          <a:xfrm>
            <a:off x="406401" y="1490136"/>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cxnSp>
        <p:nvCxnSpPr>
          <p:cNvPr id="21"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22" name="Textfeld 21"/>
          <p:cNvSpPr txBox="1"/>
          <p:nvPr userDrawn="1"/>
        </p:nvSpPr>
        <p:spPr>
          <a:xfrm>
            <a:off x="406385" y="6310788"/>
            <a:ext cx="2395808" cy="246221"/>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BA2E3"/>
                </a:solidFill>
                <a:effectLst/>
                <a:uLnTx/>
                <a:uFillTx/>
                <a:latin typeface="Verdana"/>
                <a:ea typeface="+mn-ea"/>
                <a:cs typeface="Verdana"/>
              </a:rPr>
              <a:t>www.internationaldataspaces.org</a:t>
            </a:r>
          </a:p>
        </p:txBody>
      </p:sp>
      <p:sp>
        <p:nvSpPr>
          <p:cNvPr id="26" name="Foliennummernplatzhalter 5"/>
          <p:cNvSpPr txBox="1">
            <a:spLocks/>
          </p:cNvSpPr>
          <p:nvPr userDrawn="1"/>
        </p:nvSpPr>
        <p:spPr>
          <a:xfrm>
            <a:off x="10351213" y="6360589"/>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DA28A8A7-1DE1-8B42-B22F-FAE404325B08}" type="slidenum">
              <a:rPr kumimoji="0" lang="de-DE" sz="1067" b="0" i="0" u="none" strike="noStrike" kern="1200" cap="none" spc="0" normalizeH="0" baseline="0" noProof="0" smtClean="0">
                <a:ln>
                  <a:noFill/>
                </a:ln>
                <a:solidFill>
                  <a:srgbClr val="0BA2E3"/>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BA2E3"/>
              </a:solidFill>
              <a:effectLst/>
              <a:uLnTx/>
              <a:uFillTx/>
              <a:latin typeface="Calibri"/>
              <a:ea typeface="+mn-ea"/>
              <a:cs typeface="+mn-cs"/>
            </a:endParaRPr>
          </a:p>
        </p:txBody>
      </p:sp>
      <p:sp>
        <p:nvSpPr>
          <p:cNvPr id="28" name="Shape"/>
          <p:cNvSpPr/>
          <p:nvPr userDrawn="1"/>
        </p:nvSpPr>
        <p:spPr>
          <a:xfrm>
            <a:off x="4010103" y="6303693"/>
            <a:ext cx="348148" cy="283209"/>
          </a:xfrm>
          <a:custGeom>
            <a:avLst/>
            <a:gdLst/>
            <a:ahLst/>
            <a:cxnLst>
              <a:cxn ang="0">
                <a:pos x="wd2" y="hd2"/>
              </a:cxn>
              <a:cxn ang="5400000">
                <a:pos x="wd2" y="hd2"/>
              </a:cxn>
              <a:cxn ang="10800000">
                <a:pos x="wd2" y="hd2"/>
              </a:cxn>
              <a:cxn ang="16200000">
                <a:pos x="wd2" y="hd2"/>
              </a:cxn>
            </a:cxnLst>
            <a:rect l="0" t="0" r="r" b="b"/>
            <a:pathLst>
              <a:path w="21600" h="21495" extrusionOk="0">
                <a:moveTo>
                  <a:pt x="14735" y="0"/>
                </a:moveTo>
                <a:cubicBezTo>
                  <a:pt x="16497" y="0"/>
                  <a:pt x="17287" y="960"/>
                  <a:pt x="18294" y="1876"/>
                </a:cubicBezTo>
                <a:cubicBezTo>
                  <a:pt x="19048" y="1876"/>
                  <a:pt x="20055" y="1265"/>
                  <a:pt x="20558" y="960"/>
                </a:cubicBezTo>
                <a:cubicBezTo>
                  <a:pt x="20845" y="655"/>
                  <a:pt x="20845" y="655"/>
                  <a:pt x="21097" y="655"/>
                </a:cubicBezTo>
                <a:cubicBezTo>
                  <a:pt x="20845" y="1571"/>
                  <a:pt x="20306" y="2487"/>
                  <a:pt x="19551" y="3098"/>
                </a:cubicBezTo>
                <a:cubicBezTo>
                  <a:pt x="19551" y="3098"/>
                  <a:pt x="19300" y="3404"/>
                  <a:pt x="19048" y="3404"/>
                </a:cubicBezTo>
                <a:cubicBezTo>
                  <a:pt x="20055" y="3404"/>
                  <a:pt x="20845" y="2793"/>
                  <a:pt x="21600" y="2793"/>
                </a:cubicBezTo>
                <a:cubicBezTo>
                  <a:pt x="21348" y="3404"/>
                  <a:pt x="20845" y="4320"/>
                  <a:pt x="20055" y="4625"/>
                </a:cubicBezTo>
                <a:cubicBezTo>
                  <a:pt x="19803" y="4931"/>
                  <a:pt x="19803" y="5280"/>
                  <a:pt x="19551" y="5585"/>
                </a:cubicBezTo>
                <a:cubicBezTo>
                  <a:pt x="19551" y="6807"/>
                  <a:pt x="19551" y="7724"/>
                  <a:pt x="19300" y="8945"/>
                </a:cubicBezTo>
                <a:cubicBezTo>
                  <a:pt x="18042" y="14836"/>
                  <a:pt x="15239" y="19156"/>
                  <a:pt x="10674" y="20989"/>
                </a:cubicBezTo>
                <a:cubicBezTo>
                  <a:pt x="8877" y="21600"/>
                  <a:pt x="6110" y="21600"/>
                  <a:pt x="4313" y="21295"/>
                </a:cubicBezTo>
                <a:cubicBezTo>
                  <a:pt x="3306" y="20989"/>
                  <a:pt x="2552" y="20684"/>
                  <a:pt x="1509" y="20073"/>
                </a:cubicBezTo>
                <a:cubicBezTo>
                  <a:pt x="1258" y="19767"/>
                  <a:pt x="755" y="19767"/>
                  <a:pt x="503" y="19462"/>
                </a:cubicBezTo>
                <a:cubicBezTo>
                  <a:pt x="252" y="19156"/>
                  <a:pt x="252" y="19156"/>
                  <a:pt x="0" y="19156"/>
                </a:cubicBezTo>
                <a:cubicBezTo>
                  <a:pt x="503" y="19156"/>
                  <a:pt x="1006" y="19156"/>
                  <a:pt x="1509" y="19156"/>
                </a:cubicBezTo>
                <a:cubicBezTo>
                  <a:pt x="1797" y="19156"/>
                  <a:pt x="2300" y="19156"/>
                  <a:pt x="2803" y="18851"/>
                </a:cubicBezTo>
                <a:cubicBezTo>
                  <a:pt x="3810" y="18502"/>
                  <a:pt x="4564" y="18196"/>
                  <a:pt x="5319" y="17891"/>
                </a:cubicBezTo>
                <a:cubicBezTo>
                  <a:pt x="5858" y="17585"/>
                  <a:pt x="6361" y="17280"/>
                  <a:pt x="6613" y="16669"/>
                </a:cubicBezTo>
                <a:cubicBezTo>
                  <a:pt x="6110" y="16669"/>
                  <a:pt x="5607" y="16669"/>
                  <a:pt x="5319" y="16669"/>
                </a:cubicBezTo>
                <a:cubicBezTo>
                  <a:pt x="3810" y="16058"/>
                  <a:pt x="3055" y="14836"/>
                  <a:pt x="2552" y="12960"/>
                </a:cubicBezTo>
                <a:cubicBezTo>
                  <a:pt x="2803" y="13265"/>
                  <a:pt x="4061" y="13265"/>
                  <a:pt x="4313" y="12960"/>
                </a:cubicBezTo>
                <a:cubicBezTo>
                  <a:pt x="3810" y="12960"/>
                  <a:pt x="3306" y="12655"/>
                  <a:pt x="3055" y="12349"/>
                </a:cubicBezTo>
                <a:cubicBezTo>
                  <a:pt x="1797" y="11433"/>
                  <a:pt x="755" y="9905"/>
                  <a:pt x="755" y="7724"/>
                </a:cubicBezTo>
                <a:cubicBezTo>
                  <a:pt x="1006" y="7724"/>
                  <a:pt x="1258" y="7724"/>
                  <a:pt x="1258" y="8029"/>
                </a:cubicBezTo>
                <a:cubicBezTo>
                  <a:pt x="1509" y="8029"/>
                  <a:pt x="1797" y="8029"/>
                  <a:pt x="2300" y="8335"/>
                </a:cubicBezTo>
                <a:lnTo>
                  <a:pt x="2803" y="8335"/>
                </a:lnTo>
                <a:cubicBezTo>
                  <a:pt x="2552" y="8029"/>
                  <a:pt x="2300" y="7724"/>
                  <a:pt x="2049" y="7418"/>
                </a:cubicBezTo>
                <a:cubicBezTo>
                  <a:pt x="1258" y="6196"/>
                  <a:pt x="503" y="4625"/>
                  <a:pt x="1006" y="2487"/>
                </a:cubicBezTo>
                <a:cubicBezTo>
                  <a:pt x="1006" y="1876"/>
                  <a:pt x="1258" y="1571"/>
                  <a:pt x="1509" y="1265"/>
                </a:cubicBezTo>
                <a:cubicBezTo>
                  <a:pt x="1509" y="1265"/>
                  <a:pt x="1797" y="1571"/>
                  <a:pt x="2049" y="1571"/>
                </a:cubicBezTo>
                <a:cubicBezTo>
                  <a:pt x="2300" y="2182"/>
                  <a:pt x="2803" y="2793"/>
                  <a:pt x="3306" y="3098"/>
                </a:cubicBezTo>
                <a:cubicBezTo>
                  <a:pt x="4816" y="4625"/>
                  <a:pt x="6361" y="5585"/>
                  <a:pt x="8626" y="6502"/>
                </a:cubicBezTo>
                <a:cubicBezTo>
                  <a:pt x="9380" y="6502"/>
                  <a:pt x="9919" y="6807"/>
                  <a:pt x="10674" y="6807"/>
                </a:cubicBezTo>
                <a:cubicBezTo>
                  <a:pt x="10423" y="5891"/>
                  <a:pt x="10423" y="4931"/>
                  <a:pt x="10674" y="4320"/>
                </a:cubicBezTo>
                <a:cubicBezTo>
                  <a:pt x="11177" y="2487"/>
                  <a:pt x="11932" y="1265"/>
                  <a:pt x="13226" y="655"/>
                </a:cubicBezTo>
                <a:cubicBezTo>
                  <a:pt x="13478" y="349"/>
                  <a:pt x="13981" y="349"/>
                  <a:pt x="14232" y="349"/>
                </a:cubicBezTo>
                <a:cubicBezTo>
                  <a:pt x="14484" y="349"/>
                  <a:pt x="14484" y="0"/>
                  <a:pt x="14735" y="0"/>
                </a:cubicBezTo>
              </a:path>
            </a:pathLst>
          </a:custGeom>
          <a:solidFill>
            <a:srgbClr val="0BA2E3"/>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29" name="Rechteck 28"/>
          <p:cNvSpPr/>
          <p:nvPr userDrawn="1"/>
        </p:nvSpPr>
        <p:spPr>
          <a:xfrm>
            <a:off x="4325749" y="6310339"/>
            <a:ext cx="1293944" cy="246221"/>
          </a:xfrm>
          <a:prstGeom prst="rect">
            <a:avLst/>
          </a:prstGeom>
        </p:spPr>
        <p:txBody>
          <a:bodyPr wrap="non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Verdana"/>
              </a:rPr>
              <a:t>@</a:t>
            </a:r>
            <a:r>
              <a:rPr kumimoji="0" lang="de-DE" sz="1000" b="0" i="0" u="none" strike="noStrike" kern="1200" cap="none" spc="0" normalizeH="0" baseline="0" noProof="0" dirty="0" err="1">
                <a:ln>
                  <a:noFill/>
                </a:ln>
                <a:solidFill>
                  <a:prstClr val="black"/>
                </a:solidFill>
                <a:effectLst/>
                <a:uLnTx/>
                <a:uFillTx/>
                <a:latin typeface="Verdana"/>
                <a:ea typeface="+mn-ea"/>
                <a:cs typeface="Verdana"/>
              </a:rPr>
              <a:t>ids_association</a:t>
            </a:r>
            <a:endParaRPr kumimoji="0" lang="de-DE" sz="10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30" name="Textplatzhalter 21"/>
          <p:cNvSpPr>
            <a:spLocks noGrp="1"/>
          </p:cNvSpPr>
          <p:nvPr>
            <p:ph type="body" sz="quarter" idx="16" hasCustomPrompt="1"/>
          </p:nvPr>
        </p:nvSpPr>
        <p:spPr>
          <a:xfrm>
            <a:off x="7212009" y="6306680"/>
            <a:ext cx="2508249"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pPr lvl="0"/>
            <a:r>
              <a:rPr lang="de-DE" dirty="0"/>
              <a:t>#</a:t>
            </a:r>
            <a:r>
              <a:rPr lang="de-DE" dirty="0" err="1"/>
              <a:t>eventname</a:t>
            </a:r>
            <a:r>
              <a:rPr lang="de-DE" dirty="0"/>
              <a:t> (...)</a:t>
            </a:r>
          </a:p>
        </p:txBody>
      </p:sp>
      <p:sp>
        <p:nvSpPr>
          <p:cNvPr id="31" name="Textplatzhalter 21"/>
          <p:cNvSpPr>
            <a:spLocks noGrp="1"/>
          </p:cNvSpPr>
          <p:nvPr>
            <p:ph type="body" sz="quarter" idx="23" hasCustomPrompt="1"/>
          </p:nvPr>
        </p:nvSpPr>
        <p:spPr>
          <a:xfrm>
            <a:off x="5611775" y="6308463"/>
            <a:ext cx="1577793"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Tree>
    <p:extLst>
      <p:ext uri="{BB962C8B-B14F-4D97-AF65-F5344CB8AC3E}">
        <p14:creationId xmlns:p14="http://schemas.microsoft.com/office/powerpoint/2010/main" val="31879177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eme Headline_with Text &amp; Picture_02">
    <p:spTree>
      <p:nvGrpSpPr>
        <p:cNvPr id="1" name=""/>
        <p:cNvGrpSpPr/>
        <p:nvPr/>
      </p:nvGrpSpPr>
      <p:grpSpPr>
        <a:xfrm>
          <a:off x="0" y="0"/>
          <a:ext cx="0" cy="0"/>
          <a:chOff x="0" y="0"/>
          <a:chExt cx="0" cy="0"/>
        </a:xfrm>
      </p:grpSpPr>
      <p:sp>
        <p:nvSpPr>
          <p:cNvPr id="17" name="Textplatzhalter 15"/>
          <p:cNvSpPr>
            <a:spLocks noGrp="1"/>
          </p:cNvSpPr>
          <p:nvPr>
            <p:ph type="body" sz="quarter" idx="18" hasCustomPrompt="1"/>
          </p:nvPr>
        </p:nvSpPr>
        <p:spPr>
          <a:xfrm>
            <a:off x="420988" y="5695592"/>
            <a:ext cx="5562817" cy="424499"/>
          </a:xfrm>
          <a:prstGeom prst="rect">
            <a:avLst/>
          </a:prstGeom>
        </p:spPr>
        <p:txBody>
          <a:bodyPr vert="horz"/>
          <a:lstStyle>
            <a:lvl1pPr marL="0" indent="0" algn="l">
              <a:lnSpc>
                <a:spcPct val="110000"/>
              </a:lnSpc>
              <a:buNone/>
              <a:defRPr sz="1000" b="0" i="1">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a:p>
            <a:pPr lvl="0"/>
            <a:r>
              <a:rPr lang="de-DE" dirty="0"/>
              <a:t>Second </a:t>
            </a:r>
            <a:r>
              <a:rPr lang="de-DE" dirty="0" err="1"/>
              <a:t>row</a:t>
            </a:r>
            <a:r>
              <a:rPr lang="de-DE" dirty="0"/>
              <a:t>.</a:t>
            </a:r>
          </a:p>
        </p:txBody>
      </p:sp>
      <p:sp>
        <p:nvSpPr>
          <p:cNvPr id="26"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pic>
        <p:nvPicPr>
          <p:cNvPr id="30" name="Grafik 29"/>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sp>
        <p:nvSpPr>
          <p:cNvPr id="15" name="Textplatzhalter 2"/>
          <p:cNvSpPr>
            <a:spLocks noGrp="1"/>
          </p:cNvSpPr>
          <p:nvPr>
            <p:ph type="body" idx="22" hasCustomPrompt="1"/>
          </p:nvPr>
        </p:nvSpPr>
        <p:spPr>
          <a:xfrm>
            <a:off x="5953823" y="2286001"/>
            <a:ext cx="5696311" cy="3431117"/>
          </a:xfrm>
          <a:prstGeom prst="rect">
            <a:avLst/>
          </a:prstGeom>
        </p:spPr>
        <p:txBody>
          <a:bodyPr anchor="t">
            <a:normAutofit/>
          </a:bodyPr>
          <a:lstStyle>
            <a:lvl1pPr marL="239173" marR="0" indent="-239173" algn="l" defTabSz="609570" rtl="0" eaLnBrk="1" fontAlgn="auto" latinLnBrk="0" hangingPunct="1">
              <a:lnSpc>
                <a:spcPct val="110000"/>
              </a:lnSpc>
              <a:spcBef>
                <a:spcPct val="20000"/>
              </a:spcBef>
              <a:spcAft>
                <a:spcPts val="0"/>
              </a:spcAft>
              <a:buClrTx/>
              <a:buSzTx/>
              <a:buFont typeface="Arial" panose="020B0604020202020204" pitchFamily="34" charset="0"/>
              <a:buChar char="•"/>
              <a:tabLst/>
              <a:defRPr lang="de-DE" dirty="0" smtClean="0"/>
            </a:lvl1pPr>
            <a:lvl2pPr marL="478343" indent="-228589">
              <a:buFont typeface="Symbol" panose="05050102010706020507" pitchFamily="18" charset="2"/>
              <a:buChar char="-"/>
              <a:defRPr lang="de-DE" dirty="0" smtClean="0"/>
            </a:lvl2pPr>
            <a:lvl3pPr marL="598988" indent="-110061">
              <a:buFont typeface="Arial" panose="020B0604020202020204" pitchFamily="34" charset="0"/>
              <a:buChar char="•"/>
              <a:defRPr lang="de-DE" dirty="0" smtClean="0"/>
            </a:lvl3pPr>
            <a:lvl4pPr marL="833926" indent="-256104">
              <a:buFont typeface="Symbol" panose="05050102010706020507" pitchFamily="18" charset="2"/>
              <a:buChar char="-"/>
              <a:tabLst>
                <a:tab pos="833926" algn="l"/>
                <a:tab pos="1077330" algn="l"/>
              </a:tabLst>
              <a:defRPr lang="de-DE" dirty="0" smtClean="0"/>
            </a:lvl4pPr>
            <a:lvl5pPr marL="1077330" indent="-262453">
              <a:buFont typeface="Georgia" panose="02040502050405020303" pitchFamily="18" charset="0"/>
              <a:buChar char="»"/>
              <a:defRPr lang="de-DE" dirty="0" smtClean="0"/>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70" rtl="0" eaLnBrk="1" fontAlgn="auto" latinLnBrk="0" hangingPunct="1">
              <a:lnSpc>
                <a:spcPct val="110000"/>
              </a:lnSpc>
              <a:spcBef>
                <a:spcPct val="20000"/>
              </a:spcBef>
              <a:spcAft>
                <a:spcPts val="0"/>
              </a:spcAft>
              <a:buClrTx/>
              <a:buSzTx/>
              <a:tabLst/>
              <a:defRPr/>
            </a:pPr>
            <a:endParaRPr lang="de-DE" dirty="0"/>
          </a:p>
        </p:txBody>
      </p:sp>
      <p:sp>
        <p:nvSpPr>
          <p:cNvPr id="18" name="Bildplatzhalter 24"/>
          <p:cNvSpPr>
            <a:spLocks noGrp="1"/>
          </p:cNvSpPr>
          <p:nvPr>
            <p:ph type="pic" sz="quarter" idx="23" hasCustomPrompt="1"/>
          </p:nvPr>
        </p:nvSpPr>
        <p:spPr>
          <a:xfrm>
            <a:off x="533400" y="2279652"/>
            <a:ext cx="5310357" cy="3437467"/>
          </a:xfrm>
          <a:prstGeom prst="rect">
            <a:avLst/>
          </a:prstGeom>
        </p:spPr>
        <p:txBody>
          <a:bodyPr vert="horz" anchor="ctr"/>
          <a:lstStyle>
            <a:lvl1pPr marL="0" indent="0" algn="ctr">
              <a:buNone/>
              <a:defRPr lang="de-DE" sz="2667" kern="1200" baseline="0" dirty="0" smtClean="0">
                <a:solidFill>
                  <a:schemeClr val="tx1"/>
                </a:solidFill>
                <a:latin typeface="Verdana"/>
                <a:ea typeface="+mn-ea"/>
                <a:cs typeface="Verdana"/>
              </a:defRPr>
            </a:lvl1pPr>
          </a:lstStyle>
          <a:p>
            <a:r>
              <a:rPr lang="de-DE" dirty="0"/>
              <a:t>1/2 Picture</a:t>
            </a:r>
          </a:p>
        </p:txBody>
      </p:sp>
      <p:sp>
        <p:nvSpPr>
          <p:cNvPr id="27" name="Textplatzhalter 4"/>
          <p:cNvSpPr>
            <a:spLocks noGrp="1"/>
          </p:cNvSpPr>
          <p:nvPr>
            <p:ph type="body" sz="quarter" idx="20" hasCustomPrompt="1"/>
          </p:nvPr>
        </p:nvSpPr>
        <p:spPr>
          <a:xfrm>
            <a:off x="406401" y="1490136"/>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cxnSp>
        <p:nvCxnSpPr>
          <p:cNvPr id="20"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21" name="Textfeld 20"/>
          <p:cNvSpPr txBox="1"/>
          <p:nvPr userDrawn="1"/>
        </p:nvSpPr>
        <p:spPr>
          <a:xfrm>
            <a:off x="406385" y="6310788"/>
            <a:ext cx="2395808" cy="246221"/>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BA2E3"/>
                </a:solidFill>
                <a:effectLst/>
                <a:uLnTx/>
                <a:uFillTx/>
                <a:latin typeface="Verdana"/>
                <a:ea typeface="+mn-ea"/>
                <a:cs typeface="Verdana"/>
              </a:rPr>
              <a:t>www.internationaldataspaces.org</a:t>
            </a:r>
          </a:p>
        </p:txBody>
      </p:sp>
      <p:sp>
        <p:nvSpPr>
          <p:cNvPr id="23" name="Foliennummernplatzhalter 5"/>
          <p:cNvSpPr txBox="1">
            <a:spLocks/>
          </p:cNvSpPr>
          <p:nvPr userDrawn="1"/>
        </p:nvSpPr>
        <p:spPr>
          <a:xfrm>
            <a:off x="10351213" y="6360589"/>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DA28A8A7-1DE1-8B42-B22F-FAE404325B08}" type="slidenum">
              <a:rPr kumimoji="0" lang="de-DE" sz="1067" b="0" i="0" u="none" strike="noStrike" kern="1200" cap="none" spc="0" normalizeH="0" baseline="0" noProof="0" smtClean="0">
                <a:ln>
                  <a:noFill/>
                </a:ln>
                <a:solidFill>
                  <a:srgbClr val="0BA2E3"/>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BA2E3"/>
              </a:solidFill>
              <a:effectLst/>
              <a:uLnTx/>
              <a:uFillTx/>
              <a:latin typeface="Calibri"/>
              <a:ea typeface="+mn-ea"/>
              <a:cs typeface="+mn-cs"/>
            </a:endParaRPr>
          </a:p>
        </p:txBody>
      </p:sp>
      <p:sp>
        <p:nvSpPr>
          <p:cNvPr id="24" name="Shape"/>
          <p:cNvSpPr/>
          <p:nvPr userDrawn="1"/>
        </p:nvSpPr>
        <p:spPr>
          <a:xfrm>
            <a:off x="4010103" y="6303693"/>
            <a:ext cx="348148" cy="283209"/>
          </a:xfrm>
          <a:custGeom>
            <a:avLst/>
            <a:gdLst/>
            <a:ahLst/>
            <a:cxnLst>
              <a:cxn ang="0">
                <a:pos x="wd2" y="hd2"/>
              </a:cxn>
              <a:cxn ang="5400000">
                <a:pos x="wd2" y="hd2"/>
              </a:cxn>
              <a:cxn ang="10800000">
                <a:pos x="wd2" y="hd2"/>
              </a:cxn>
              <a:cxn ang="16200000">
                <a:pos x="wd2" y="hd2"/>
              </a:cxn>
            </a:cxnLst>
            <a:rect l="0" t="0" r="r" b="b"/>
            <a:pathLst>
              <a:path w="21600" h="21495" extrusionOk="0">
                <a:moveTo>
                  <a:pt x="14735" y="0"/>
                </a:moveTo>
                <a:cubicBezTo>
                  <a:pt x="16497" y="0"/>
                  <a:pt x="17287" y="960"/>
                  <a:pt x="18294" y="1876"/>
                </a:cubicBezTo>
                <a:cubicBezTo>
                  <a:pt x="19048" y="1876"/>
                  <a:pt x="20055" y="1265"/>
                  <a:pt x="20558" y="960"/>
                </a:cubicBezTo>
                <a:cubicBezTo>
                  <a:pt x="20845" y="655"/>
                  <a:pt x="20845" y="655"/>
                  <a:pt x="21097" y="655"/>
                </a:cubicBezTo>
                <a:cubicBezTo>
                  <a:pt x="20845" y="1571"/>
                  <a:pt x="20306" y="2487"/>
                  <a:pt x="19551" y="3098"/>
                </a:cubicBezTo>
                <a:cubicBezTo>
                  <a:pt x="19551" y="3098"/>
                  <a:pt x="19300" y="3404"/>
                  <a:pt x="19048" y="3404"/>
                </a:cubicBezTo>
                <a:cubicBezTo>
                  <a:pt x="20055" y="3404"/>
                  <a:pt x="20845" y="2793"/>
                  <a:pt x="21600" y="2793"/>
                </a:cubicBezTo>
                <a:cubicBezTo>
                  <a:pt x="21348" y="3404"/>
                  <a:pt x="20845" y="4320"/>
                  <a:pt x="20055" y="4625"/>
                </a:cubicBezTo>
                <a:cubicBezTo>
                  <a:pt x="19803" y="4931"/>
                  <a:pt x="19803" y="5280"/>
                  <a:pt x="19551" y="5585"/>
                </a:cubicBezTo>
                <a:cubicBezTo>
                  <a:pt x="19551" y="6807"/>
                  <a:pt x="19551" y="7724"/>
                  <a:pt x="19300" y="8945"/>
                </a:cubicBezTo>
                <a:cubicBezTo>
                  <a:pt x="18042" y="14836"/>
                  <a:pt x="15239" y="19156"/>
                  <a:pt x="10674" y="20989"/>
                </a:cubicBezTo>
                <a:cubicBezTo>
                  <a:pt x="8877" y="21600"/>
                  <a:pt x="6110" y="21600"/>
                  <a:pt x="4313" y="21295"/>
                </a:cubicBezTo>
                <a:cubicBezTo>
                  <a:pt x="3306" y="20989"/>
                  <a:pt x="2552" y="20684"/>
                  <a:pt x="1509" y="20073"/>
                </a:cubicBezTo>
                <a:cubicBezTo>
                  <a:pt x="1258" y="19767"/>
                  <a:pt x="755" y="19767"/>
                  <a:pt x="503" y="19462"/>
                </a:cubicBezTo>
                <a:cubicBezTo>
                  <a:pt x="252" y="19156"/>
                  <a:pt x="252" y="19156"/>
                  <a:pt x="0" y="19156"/>
                </a:cubicBezTo>
                <a:cubicBezTo>
                  <a:pt x="503" y="19156"/>
                  <a:pt x="1006" y="19156"/>
                  <a:pt x="1509" y="19156"/>
                </a:cubicBezTo>
                <a:cubicBezTo>
                  <a:pt x="1797" y="19156"/>
                  <a:pt x="2300" y="19156"/>
                  <a:pt x="2803" y="18851"/>
                </a:cubicBezTo>
                <a:cubicBezTo>
                  <a:pt x="3810" y="18502"/>
                  <a:pt x="4564" y="18196"/>
                  <a:pt x="5319" y="17891"/>
                </a:cubicBezTo>
                <a:cubicBezTo>
                  <a:pt x="5858" y="17585"/>
                  <a:pt x="6361" y="17280"/>
                  <a:pt x="6613" y="16669"/>
                </a:cubicBezTo>
                <a:cubicBezTo>
                  <a:pt x="6110" y="16669"/>
                  <a:pt x="5607" y="16669"/>
                  <a:pt x="5319" y="16669"/>
                </a:cubicBezTo>
                <a:cubicBezTo>
                  <a:pt x="3810" y="16058"/>
                  <a:pt x="3055" y="14836"/>
                  <a:pt x="2552" y="12960"/>
                </a:cubicBezTo>
                <a:cubicBezTo>
                  <a:pt x="2803" y="13265"/>
                  <a:pt x="4061" y="13265"/>
                  <a:pt x="4313" y="12960"/>
                </a:cubicBezTo>
                <a:cubicBezTo>
                  <a:pt x="3810" y="12960"/>
                  <a:pt x="3306" y="12655"/>
                  <a:pt x="3055" y="12349"/>
                </a:cubicBezTo>
                <a:cubicBezTo>
                  <a:pt x="1797" y="11433"/>
                  <a:pt x="755" y="9905"/>
                  <a:pt x="755" y="7724"/>
                </a:cubicBezTo>
                <a:cubicBezTo>
                  <a:pt x="1006" y="7724"/>
                  <a:pt x="1258" y="7724"/>
                  <a:pt x="1258" y="8029"/>
                </a:cubicBezTo>
                <a:cubicBezTo>
                  <a:pt x="1509" y="8029"/>
                  <a:pt x="1797" y="8029"/>
                  <a:pt x="2300" y="8335"/>
                </a:cubicBezTo>
                <a:lnTo>
                  <a:pt x="2803" y="8335"/>
                </a:lnTo>
                <a:cubicBezTo>
                  <a:pt x="2552" y="8029"/>
                  <a:pt x="2300" y="7724"/>
                  <a:pt x="2049" y="7418"/>
                </a:cubicBezTo>
                <a:cubicBezTo>
                  <a:pt x="1258" y="6196"/>
                  <a:pt x="503" y="4625"/>
                  <a:pt x="1006" y="2487"/>
                </a:cubicBezTo>
                <a:cubicBezTo>
                  <a:pt x="1006" y="1876"/>
                  <a:pt x="1258" y="1571"/>
                  <a:pt x="1509" y="1265"/>
                </a:cubicBezTo>
                <a:cubicBezTo>
                  <a:pt x="1509" y="1265"/>
                  <a:pt x="1797" y="1571"/>
                  <a:pt x="2049" y="1571"/>
                </a:cubicBezTo>
                <a:cubicBezTo>
                  <a:pt x="2300" y="2182"/>
                  <a:pt x="2803" y="2793"/>
                  <a:pt x="3306" y="3098"/>
                </a:cubicBezTo>
                <a:cubicBezTo>
                  <a:pt x="4816" y="4625"/>
                  <a:pt x="6361" y="5585"/>
                  <a:pt x="8626" y="6502"/>
                </a:cubicBezTo>
                <a:cubicBezTo>
                  <a:pt x="9380" y="6502"/>
                  <a:pt x="9919" y="6807"/>
                  <a:pt x="10674" y="6807"/>
                </a:cubicBezTo>
                <a:cubicBezTo>
                  <a:pt x="10423" y="5891"/>
                  <a:pt x="10423" y="4931"/>
                  <a:pt x="10674" y="4320"/>
                </a:cubicBezTo>
                <a:cubicBezTo>
                  <a:pt x="11177" y="2487"/>
                  <a:pt x="11932" y="1265"/>
                  <a:pt x="13226" y="655"/>
                </a:cubicBezTo>
                <a:cubicBezTo>
                  <a:pt x="13478" y="349"/>
                  <a:pt x="13981" y="349"/>
                  <a:pt x="14232" y="349"/>
                </a:cubicBezTo>
                <a:cubicBezTo>
                  <a:pt x="14484" y="349"/>
                  <a:pt x="14484" y="0"/>
                  <a:pt x="14735" y="0"/>
                </a:cubicBezTo>
              </a:path>
            </a:pathLst>
          </a:custGeom>
          <a:solidFill>
            <a:srgbClr val="0BA2E3"/>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0B99FF"/>
              </a:solidFill>
              <a:effectLst/>
              <a:uLnTx/>
              <a:uFillTx/>
              <a:latin typeface="Montserrat-Bold"/>
              <a:ea typeface="Montserrat-Bold"/>
              <a:cs typeface="Montserrat-Bold"/>
              <a:sym typeface="Montserrat-Bold"/>
            </a:endParaRPr>
          </a:p>
        </p:txBody>
      </p:sp>
      <p:sp>
        <p:nvSpPr>
          <p:cNvPr id="25" name="Rechteck 24"/>
          <p:cNvSpPr/>
          <p:nvPr userDrawn="1"/>
        </p:nvSpPr>
        <p:spPr>
          <a:xfrm>
            <a:off x="4325749" y="6310339"/>
            <a:ext cx="1293944" cy="246221"/>
          </a:xfrm>
          <a:prstGeom prst="rect">
            <a:avLst/>
          </a:prstGeom>
        </p:spPr>
        <p:txBody>
          <a:bodyPr wrap="non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Verdana"/>
              </a:rPr>
              <a:t>@</a:t>
            </a:r>
            <a:r>
              <a:rPr kumimoji="0" lang="de-DE" sz="1000" b="0" i="0" u="none" strike="noStrike" kern="1200" cap="none" spc="0" normalizeH="0" baseline="0" noProof="0" dirty="0" err="1">
                <a:ln>
                  <a:noFill/>
                </a:ln>
                <a:solidFill>
                  <a:prstClr val="black"/>
                </a:solidFill>
                <a:effectLst/>
                <a:uLnTx/>
                <a:uFillTx/>
                <a:latin typeface="Verdana"/>
                <a:ea typeface="+mn-ea"/>
                <a:cs typeface="Verdana"/>
              </a:rPr>
              <a:t>ids_association</a:t>
            </a:r>
            <a:endParaRPr kumimoji="0" lang="de-DE" sz="10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28" name="Textplatzhalter 21"/>
          <p:cNvSpPr>
            <a:spLocks noGrp="1"/>
          </p:cNvSpPr>
          <p:nvPr>
            <p:ph type="body" sz="quarter" idx="16" hasCustomPrompt="1"/>
          </p:nvPr>
        </p:nvSpPr>
        <p:spPr>
          <a:xfrm>
            <a:off x="7212009" y="6306680"/>
            <a:ext cx="2508249"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pPr lvl="0"/>
            <a:r>
              <a:rPr lang="de-DE" dirty="0"/>
              <a:t>#</a:t>
            </a:r>
            <a:r>
              <a:rPr lang="de-DE" dirty="0" err="1"/>
              <a:t>eventname</a:t>
            </a:r>
            <a:r>
              <a:rPr lang="de-DE" dirty="0"/>
              <a:t> (...)</a:t>
            </a:r>
          </a:p>
        </p:txBody>
      </p:sp>
      <p:sp>
        <p:nvSpPr>
          <p:cNvPr id="29" name="Textplatzhalter 21"/>
          <p:cNvSpPr>
            <a:spLocks noGrp="1"/>
          </p:cNvSpPr>
          <p:nvPr>
            <p:ph type="body" sz="quarter" idx="24" hasCustomPrompt="1"/>
          </p:nvPr>
        </p:nvSpPr>
        <p:spPr>
          <a:xfrm>
            <a:off x="5611775" y="6308463"/>
            <a:ext cx="1577793"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Tree>
    <p:extLst>
      <p:ext uri="{BB962C8B-B14F-4D97-AF65-F5344CB8AC3E}">
        <p14:creationId xmlns:p14="http://schemas.microsoft.com/office/powerpoint/2010/main" val="37496916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eme Headline with Picture">
    <p:spTree>
      <p:nvGrpSpPr>
        <p:cNvPr id="1" name=""/>
        <p:cNvGrpSpPr/>
        <p:nvPr/>
      </p:nvGrpSpPr>
      <p:grpSpPr>
        <a:xfrm>
          <a:off x="0" y="0"/>
          <a:ext cx="0" cy="0"/>
          <a:chOff x="0" y="0"/>
          <a:chExt cx="0" cy="0"/>
        </a:xfrm>
      </p:grpSpPr>
      <p:pic>
        <p:nvPicPr>
          <p:cNvPr id="15" name="Grafik 14"/>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sp>
        <p:nvSpPr>
          <p:cNvPr id="21"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2" name="Textplatzhalter 4"/>
          <p:cNvSpPr>
            <a:spLocks noGrp="1"/>
          </p:cNvSpPr>
          <p:nvPr>
            <p:ph type="body" sz="quarter" idx="17" hasCustomPrompt="1"/>
          </p:nvPr>
        </p:nvSpPr>
        <p:spPr>
          <a:xfrm>
            <a:off x="406401" y="1490136"/>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sp>
        <p:nvSpPr>
          <p:cNvPr id="24" name="Textplatzhalter 15"/>
          <p:cNvSpPr>
            <a:spLocks noGrp="1"/>
          </p:cNvSpPr>
          <p:nvPr>
            <p:ph type="body" sz="quarter" idx="18" hasCustomPrompt="1"/>
          </p:nvPr>
        </p:nvSpPr>
        <p:spPr>
          <a:xfrm>
            <a:off x="420987" y="1942772"/>
            <a:ext cx="5183400" cy="424499"/>
          </a:xfrm>
          <a:prstGeom prst="rect">
            <a:avLst/>
          </a:prstGeom>
        </p:spPr>
        <p:txBody>
          <a:bodyPr vert="horz"/>
          <a:lstStyle>
            <a:lvl1pPr marL="0" indent="0" algn="l">
              <a:lnSpc>
                <a:spcPct val="110000"/>
              </a:lnSpc>
              <a:buNone/>
              <a:defRPr sz="1000" b="0" i="1" baseline="0">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p:txBody>
      </p:sp>
      <p:sp>
        <p:nvSpPr>
          <p:cNvPr id="14" name="Bildplatzhalter 24"/>
          <p:cNvSpPr>
            <a:spLocks noGrp="1"/>
          </p:cNvSpPr>
          <p:nvPr>
            <p:ph type="pic" sz="quarter" idx="23" hasCustomPrompt="1"/>
          </p:nvPr>
        </p:nvSpPr>
        <p:spPr>
          <a:xfrm>
            <a:off x="533400" y="2279652"/>
            <a:ext cx="11116733" cy="3437467"/>
          </a:xfrm>
          <a:prstGeom prst="rect">
            <a:avLst/>
          </a:prstGeom>
        </p:spPr>
        <p:txBody>
          <a:bodyPr vert="horz" anchor="ctr"/>
          <a:lstStyle>
            <a:lvl1pPr marL="0" indent="0" algn="ctr">
              <a:buNone/>
              <a:defRPr lang="de-DE" sz="2667" kern="1200" baseline="0" dirty="0" smtClean="0">
                <a:solidFill>
                  <a:schemeClr val="tx1"/>
                </a:solidFill>
                <a:latin typeface="Verdana"/>
                <a:ea typeface="+mn-ea"/>
                <a:cs typeface="Verdana"/>
              </a:defRPr>
            </a:lvl1pPr>
          </a:lstStyle>
          <a:p>
            <a:r>
              <a:rPr lang="de-DE" dirty="0"/>
              <a:t>Picture</a:t>
            </a:r>
          </a:p>
        </p:txBody>
      </p:sp>
      <p:cxnSp>
        <p:nvCxnSpPr>
          <p:cNvPr id="18"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19" name="Textfeld 18"/>
          <p:cNvSpPr txBox="1"/>
          <p:nvPr userDrawn="1"/>
        </p:nvSpPr>
        <p:spPr>
          <a:xfrm>
            <a:off x="406385" y="6310788"/>
            <a:ext cx="2395808" cy="246221"/>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BA2E3"/>
                </a:solidFill>
                <a:effectLst/>
                <a:uLnTx/>
                <a:uFillTx/>
                <a:latin typeface="Verdana"/>
                <a:ea typeface="+mn-ea"/>
                <a:cs typeface="Verdana"/>
              </a:rPr>
              <a:t>www.internationaldataspaces.org</a:t>
            </a:r>
          </a:p>
        </p:txBody>
      </p:sp>
      <p:sp>
        <p:nvSpPr>
          <p:cNvPr id="20" name="Foliennummernplatzhalter 5"/>
          <p:cNvSpPr txBox="1">
            <a:spLocks/>
          </p:cNvSpPr>
          <p:nvPr userDrawn="1"/>
        </p:nvSpPr>
        <p:spPr>
          <a:xfrm>
            <a:off x="10351213" y="6360589"/>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DA28A8A7-1DE1-8B42-B22F-FAE404325B08}" type="slidenum">
              <a:rPr kumimoji="0" lang="de-DE" sz="1067" b="0" i="0" u="none" strike="noStrike" kern="1200" cap="none" spc="0" normalizeH="0" baseline="0" noProof="0" smtClean="0">
                <a:ln>
                  <a:noFill/>
                </a:ln>
                <a:solidFill>
                  <a:srgbClr val="0BA2E3"/>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BA2E3"/>
              </a:solidFill>
              <a:effectLst/>
              <a:uLnTx/>
              <a:uFillTx/>
              <a:latin typeface="Calibri"/>
              <a:ea typeface="+mn-ea"/>
              <a:cs typeface="+mn-cs"/>
            </a:endParaRPr>
          </a:p>
        </p:txBody>
      </p:sp>
      <p:sp>
        <p:nvSpPr>
          <p:cNvPr id="23" name="Shape"/>
          <p:cNvSpPr/>
          <p:nvPr userDrawn="1"/>
        </p:nvSpPr>
        <p:spPr>
          <a:xfrm>
            <a:off x="4010103" y="6303693"/>
            <a:ext cx="348148" cy="283209"/>
          </a:xfrm>
          <a:custGeom>
            <a:avLst/>
            <a:gdLst/>
            <a:ahLst/>
            <a:cxnLst>
              <a:cxn ang="0">
                <a:pos x="wd2" y="hd2"/>
              </a:cxn>
              <a:cxn ang="5400000">
                <a:pos x="wd2" y="hd2"/>
              </a:cxn>
              <a:cxn ang="10800000">
                <a:pos x="wd2" y="hd2"/>
              </a:cxn>
              <a:cxn ang="16200000">
                <a:pos x="wd2" y="hd2"/>
              </a:cxn>
            </a:cxnLst>
            <a:rect l="0" t="0" r="r" b="b"/>
            <a:pathLst>
              <a:path w="21600" h="21495" extrusionOk="0">
                <a:moveTo>
                  <a:pt x="14735" y="0"/>
                </a:moveTo>
                <a:cubicBezTo>
                  <a:pt x="16497" y="0"/>
                  <a:pt x="17287" y="960"/>
                  <a:pt x="18294" y="1876"/>
                </a:cubicBezTo>
                <a:cubicBezTo>
                  <a:pt x="19048" y="1876"/>
                  <a:pt x="20055" y="1265"/>
                  <a:pt x="20558" y="960"/>
                </a:cubicBezTo>
                <a:cubicBezTo>
                  <a:pt x="20845" y="655"/>
                  <a:pt x="20845" y="655"/>
                  <a:pt x="21097" y="655"/>
                </a:cubicBezTo>
                <a:cubicBezTo>
                  <a:pt x="20845" y="1571"/>
                  <a:pt x="20306" y="2487"/>
                  <a:pt x="19551" y="3098"/>
                </a:cubicBezTo>
                <a:cubicBezTo>
                  <a:pt x="19551" y="3098"/>
                  <a:pt x="19300" y="3404"/>
                  <a:pt x="19048" y="3404"/>
                </a:cubicBezTo>
                <a:cubicBezTo>
                  <a:pt x="20055" y="3404"/>
                  <a:pt x="20845" y="2793"/>
                  <a:pt x="21600" y="2793"/>
                </a:cubicBezTo>
                <a:cubicBezTo>
                  <a:pt x="21348" y="3404"/>
                  <a:pt x="20845" y="4320"/>
                  <a:pt x="20055" y="4625"/>
                </a:cubicBezTo>
                <a:cubicBezTo>
                  <a:pt x="19803" y="4931"/>
                  <a:pt x="19803" y="5280"/>
                  <a:pt x="19551" y="5585"/>
                </a:cubicBezTo>
                <a:cubicBezTo>
                  <a:pt x="19551" y="6807"/>
                  <a:pt x="19551" y="7724"/>
                  <a:pt x="19300" y="8945"/>
                </a:cubicBezTo>
                <a:cubicBezTo>
                  <a:pt x="18042" y="14836"/>
                  <a:pt x="15239" y="19156"/>
                  <a:pt x="10674" y="20989"/>
                </a:cubicBezTo>
                <a:cubicBezTo>
                  <a:pt x="8877" y="21600"/>
                  <a:pt x="6110" y="21600"/>
                  <a:pt x="4313" y="21295"/>
                </a:cubicBezTo>
                <a:cubicBezTo>
                  <a:pt x="3306" y="20989"/>
                  <a:pt x="2552" y="20684"/>
                  <a:pt x="1509" y="20073"/>
                </a:cubicBezTo>
                <a:cubicBezTo>
                  <a:pt x="1258" y="19767"/>
                  <a:pt x="755" y="19767"/>
                  <a:pt x="503" y="19462"/>
                </a:cubicBezTo>
                <a:cubicBezTo>
                  <a:pt x="252" y="19156"/>
                  <a:pt x="252" y="19156"/>
                  <a:pt x="0" y="19156"/>
                </a:cubicBezTo>
                <a:cubicBezTo>
                  <a:pt x="503" y="19156"/>
                  <a:pt x="1006" y="19156"/>
                  <a:pt x="1509" y="19156"/>
                </a:cubicBezTo>
                <a:cubicBezTo>
                  <a:pt x="1797" y="19156"/>
                  <a:pt x="2300" y="19156"/>
                  <a:pt x="2803" y="18851"/>
                </a:cubicBezTo>
                <a:cubicBezTo>
                  <a:pt x="3810" y="18502"/>
                  <a:pt x="4564" y="18196"/>
                  <a:pt x="5319" y="17891"/>
                </a:cubicBezTo>
                <a:cubicBezTo>
                  <a:pt x="5858" y="17585"/>
                  <a:pt x="6361" y="17280"/>
                  <a:pt x="6613" y="16669"/>
                </a:cubicBezTo>
                <a:cubicBezTo>
                  <a:pt x="6110" y="16669"/>
                  <a:pt x="5607" y="16669"/>
                  <a:pt x="5319" y="16669"/>
                </a:cubicBezTo>
                <a:cubicBezTo>
                  <a:pt x="3810" y="16058"/>
                  <a:pt x="3055" y="14836"/>
                  <a:pt x="2552" y="12960"/>
                </a:cubicBezTo>
                <a:cubicBezTo>
                  <a:pt x="2803" y="13265"/>
                  <a:pt x="4061" y="13265"/>
                  <a:pt x="4313" y="12960"/>
                </a:cubicBezTo>
                <a:cubicBezTo>
                  <a:pt x="3810" y="12960"/>
                  <a:pt x="3306" y="12655"/>
                  <a:pt x="3055" y="12349"/>
                </a:cubicBezTo>
                <a:cubicBezTo>
                  <a:pt x="1797" y="11433"/>
                  <a:pt x="755" y="9905"/>
                  <a:pt x="755" y="7724"/>
                </a:cubicBezTo>
                <a:cubicBezTo>
                  <a:pt x="1006" y="7724"/>
                  <a:pt x="1258" y="7724"/>
                  <a:pt x="1258" y="8029"/>
                </a:cubicBezTo>
                <a:cubicBezTo>
                  <a:pt x="1509" y="8029"/>
                  <a:pt x="1797" y="8029"/>
                  <a:pt x="2300" y="8335"/>
                </a:cubicBezTo>
                <a:lnTo>
                  <a:pt x="2803" y="8335"/>
                </a:lnTo>
                <a:cubicBezTo>
                  <a:pt x="2552" y="8029"/>
                  <a:pt x="2300" y="7724"/>
                  <a:pt x="2049" y="7418"/>
                </a:cubicBezTo>
                <a:cubicBezTo>
                  <a:pt x="1258" y="6196"/>
                  <a:pt x="503" y="4625"/>
                  <a:pt x="1006" y="2487"/>
                </a:cubicBezTo>
                <a:cubicBezTo>
                  <a:pt x="1006" y="1876"/>
                  <a:pt x="1258" y="1571"/>
                  <a:pt x="1509" y="1265"/>
                </a:cubicBezTo>
                <a:cubicBezTo>
                  <a:pt x="1509" y="1265"/>
                  <a:pt x="1797" y="1571"/>
                  <a:pt x="2049" y="1571"/>
                </a:cubicBezTo>
                <a:cubicBezTo>
                  <a:pt x="2300" y="2182"/>
                  <a:pt x="2803" y="2793"/>
                  <a:pt x="3306" y="3098"/>
                </a:cubicBezTo>
                <a:cubicBezTo>
                  <a:pt x="4816" y="4625"/>
                  <a:pt x="6361" y="5585"/>
                  <a:pt x="8626" y="6502"/>
                </a:cubicBezTo>
                <a:cubicBezTo>
                  <a:pt x="9380" y="6502"/>
                  <a:pt x="9919" y="6807"/>
                  <a:pt x="10674" y="6807"/>
                </a:cubicBezTo>
                <a:cubicBezTo>
                  <a:pt x="10423" y="5891"/>
                  <a:pt x="10423" y="4931"/>
                  <a:pt x="10674" y="4320"/>
                </a:cubicBezTo>
                <a:cubicBezTo>
                  <a:pt x="11177" y="2487"/>
                  <a:pt x="11932" y="1265"/>
                  <a:pt x="13226" y="655"/>
                </a:cubicBezTo>
                <a:cubicBezTo>
                  <a:pt x="13478" y="349"/>
                  <a:pt x="13981" y="349"/>
                  <a:pt x="14232" y="349"/>
                </a:cubicBezTo>
                <a:cubicBezTo>
                  <a:pt x="14484" y="349"/>
                  <a:pt x="14484" y="0"/>
                  <a:pt x="14735" y="0"/>
                </a:cubicBezTo>
              </a:path>
            </a:pathLst>
          </a:custGeom>
          <a:solidFill>
            <a:srgbClr val="0BA2E3"/>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27" name="Rechteck 26"/>
          <p:cNvSpPr/>
          <p:nvPr userDrawn="1"/>
        </p:nvSpPr>
        <p:spPr>
          <a:xfrm>
            <a:off x="4325749" y="6310339"/>
            <a:ext cx="1293944" cy="246221"/>
          </a:xfrm>
          <a:prstGeom prst="rect">
            <a:avLst/>
          </a:prstGeom>
        </p:spPr>
        <p:txBody>
          <a:bodyPr wrap="non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Verdana"/>
              </a:rPr>
              <a:t>@</a:t>
            </a:r>
            <a:r>
              <a:rPr kumimoji="0" lang="de-DE" sz="1000" b="0" i="0" u="none" strike="noStrike" kern="1200" cap="none" spc="0" normalizeH="0" baseline="0" noProof="0" dirty="0" err="1">
                <a:ln>
                  <a:noFill/>
                </a:ln>
                <a:solidFill>
                  <a:prstClr val="black"/>
                </a:solidFill>
                <a:effectLst/>
                <a:uLnTx/>
                <a:uFillTx/>
                <a:latin typeface="Verdana"/>
                <a:ea typeface="+mn-ea"/>
                <a:cs typeface="Verdana"/>
              </a:rPr>
              <a:t>ids_association</a:t>
            </a:r>
            <a:endParaRPr kumimoji="0" lang="de-DE" sz="10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29" name="Textplatzhalter 21"/>
          <p:cNvSpPr>
            <a:spLocks noGrp="1"/>
          </p:cNvSpPr>
          <p:nvPr>
            <p:ph type="body" sz="quarter" idx="16" hasCustomPrompt="1"/>
          </p:nvPr>
        </p:nvSpPr>
        <p:spPr>
          <a:xfrm>
            <a:off x="7212009" y="6306680"/>
            <a:ext cx="2508249"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pPr lvl="0"/>
            <a:r>
              <a:rPr lang="de-DE" dirty="0"/>
              <a:t>#</a:t>
            </a:r>
            <a:r>
              <a:rPr lang="de-DE" dirty="0" err="1"/>
              <a:t>eventname</a:t>
            </a:r>
            <a:r>
              <a:rPr lang="de-DE" dirty="0"/>
              <a:t> (...)</a:t>
            </a:r>
          </a:p>
        </p:txBody>
      </p:sp>
      <p:sp>
        <p:nvSpPr>
          <p:cNvPr id="30" name="Textplatzhalter 21"/>
          <p:cNvSpPr>
            <a:spLocks noGrp="1"/>
          </p:cNvSpPr>
          <p:nvPr>
            <p:ph type="body" sz="quarter" idx="24" hasCustomPrompt="1"/>
          </p:nvPr>
        </p:nvSpPr>
        <p:spPr>
          <a:xfrm>
            <a:off x="5611775" y="6308463"/>
            <a:ext cx="1577793"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Tree>
    <p:extLst>
      <p:ext uri="{BB962C8B-B14F-4D97-AF65-F5344CB8AC3E}">
        <p14:creationId xmlns:p14="http://schemas.microsoft.com/office/powerpoint/2010/main" val="15030925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eme Headline with 2 Pictures &amp; Text">
    <p:spTree>
      <p:nvGrpSpPr>
        <p:cNvPr id="1" name=""/>
        <p:cNvGrpSpPr/>
        <p:nvPr/>
      </p:nvGrpSpPr>
      <p:grpSpPr>
        <a:xfrm>
          <a:off x="0" y="0"/>
          <a:ext cx="0" cy="0"/>
          <a:chOff x="0" y="0"/>
          <a:chExt cx="0" cy="0"/>
        </a:xfrm>
      </p:grpSpPr>
      <p:sp>
        <p:nvSpPr>
          <p:cNvPr id="4" name="Rechteck 3"/>
          <p:cNvSpPr/>
          <p:nvPr userDrawn="1"/>
        </p:nvSpPr>
        <p:spPr>
          <a:xfrm>
            <a:off x="9762067" y="0"/>
            <a:ext cx="2032000" cy="11345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pic>
        <p:nvPicPr>
          <p:cNvPr id="11" name="Grafik 10"/>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sp>
        <p:nvSpPr>
          <p:cNvPr id="27"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8" name="Textplatzhalter 4"/>
          <p:cNvSpPr>
            <a:spLocks noGrp="1"/>
          </p:cNvSpPr>
          <p:nvPr>
            <p:ph type="body" sz="quarter" idx="18" hasCustomPrompt="1"/>
          </p:nvPr>
        </p:nvSpPr>
        <p:spPr>
          <a:xfrm>
            <a:off x="406401" y="1490136"/>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sp>
        <p:nvSpPr>
          <p:cNvPr id="18" name="Textplatzhalter 2"/>
          <p:cNvSpPr>
            <a:spLocks noGrp="1"/>
          </p:cNvSpPr>
          <p:nvPr>
            <p:ph type="body" idx="1" hasCustomPrompt="1"/>
          </p:nvPr>
        </p:nvSpPr>
        <p:spPr>
          <a:xfrm>
            <a:off x="4309533" y="2279653"/>
            <a:ext cx="7340601" cy="3437465"/>
          </a:xfrm>
          <a:prstGeom prst="rect">
            <a:avLst/>
          </a:prstGeom>
        </p:spPr>
        <p:txBody>
          <a:bodyPr anchor="t">
            <a:normAutofit/>
          </a:bodyPr>
          <a:lstStyle>
            <a:lvl1pPr marL="239173" marR="0" indent="-239173" algn="l" defTabSz="609570"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43" indent="-228589">
              <a:buFont typeface="Symbol" panose="05050102010706020507" pitchFamily="18" charset="2"/>
              <a:buChar char="-"/>
              <a:defRPr sz="1600" baseline="0">
                <a:solidFill>
                  <a:schemeClr val="tx1"/>
                </a:solidFill>
              </a:defRPr>
            </a:lvl2pPr>
            <a:lvl3pPr marL="598988" indent="-110061">
              <a:buFont typeface="Arial" panose="020B0604020202020204" pitchFamily="34" charset="0"/>
              <a:buChar char="•"/>
              <a:defRPr sz="1067">
                <a:solidFill>
                  <a:schemeClr val="tx1"/>
                </a:solidFill>
              </a:defRPr>
            </a:lvl3pPr>
            <a:lvl4pPr marL="833926" indent="-256104">
              <a:buFont typeface="Symbol" panose="05050102010706020507" pitchFamily="18" charset="2"/>
              <a:buChar char="-"/>
              <a:tabLst>
                <a:tab pos="833926" algn="l"/>
                <a:tab pos="1077330" algn="l"/>
              </a:tabLst>
              <a:defRPr sz="1867" baseline="0">
                <a:solidFill>
                  <a:schemeClr val="tx1"/>
                </a:solidFill>
              </a:defRPr>
            </a:lvl4pPr>
            <a:lvl5pPr marL="1077330" indent="-262453">
              <a:buFont typeface="Georgia" panose="02040502050405020303" pitchFamily="18" charset="0"/>
              <a:buChar char="»"/>
              <a:defRPr sz="1867">
                <a:solidFill>
                  <a:schemeClr val="tx1"/>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70" rtl="0" eaLnBrk="1" fontAlgn="auto" latinLnBrk="0" hangingPunct="1">
              <a:lnSpc>
                <a:spcPct val="110000"/>
              </a:lnSpc>
              <a:spcBef>
                <a:spcPct val="20000"/>
              </a:spcBef>
              <a:spcAft>
                <a:spcPts val="0"/>
              </a:spcAft>
              <a:buClrTx/>
              <a:buSzTx/>
              <a:tabLst/>
              <a:defRPr/>
            </a:pPr>
            <a:endParaRPr lang="de-DE" dirty="0"/>
          </a:p>
        </p:txBody>
      </p:sp>
      <p:sp>
        <p:nvSpPr>
          <p:cNvPr id="20" name="Textplatzhalter 15"/>
          <p:cNvSpPr>
            <a:spLocks noGrp="1"/>
          </p:cNvSpPr>
          <p:nvPr>
            <p:ph type="body" sz="quarter" idx="24" hasCustomPrompt="1"/>
          </p:nvPr>
        </p:nvSpPr>
        <p:spPr>
          <a:xfrm>
            <a:off x="420987" y="5695592"/>
            <a:ext cx="3732327" cy="424499"/>
          </a:xfrm>
          <a:prstGeom prst="rect">
            <a:avLst/>
          </a:prstGeom>
        </p:spPr>
        <p:txBody>
          <a:bodyPr vert="horz"/>
          <a:lstStyle>
            <a:lvl1pPr marL="0" indent="0" algn="l">
              <a:lnSpc>
                <a:spcPct val="110000"/>
              </a:lnSpc>
              <a:buNone/>
              <a:defRPr sz="1000" b="0" i="1">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a:p>
            <a:pPr lvl="0"/>
            <a:r>
              <a:rPr lang="de-DE" dirty="0"/>
              <a:t>Second </a:t>
            </a:r>
            <a:r>
              <a:rPr lang="de-DE" dirty="0" err="1"/>
              <a:t>row</a:t>
            </a:r>
            <a:r>
              <a:rPr lang="de-DE" dirty="0"/>
              <a:t>.</a:t>
            </a:r>
          </a:p>
        </p:txBody>
      </p:sp>
      <p:sp>
        <p:nvSpPr>
          <p:cNvPr id="30" name="Textplatzhalter 15"/>
          <p:cNvSpPr>
            <a:spLocks noGrp="1"/>
          </p:cNvSpPr>
          <p:nvPr>
            <p:ph type="body" sz="quarter" idx="25" hasCustomPrompt="1"/>
          </p:nvPr>
        </p:nvSpPr>
        <p:spPr>
          <a:xfrm>
            <a:off x="420988" y="3809325"/>
            <a:ext cx="3732325" cy="424499"/>
          </a:xfrm>
          <a:prstGeom prst="rect">
            <a:avLst/>
          </a:prstGeom>
        </p:spPr>
        <p:txBody>
          <a:bodyPr vert="horz"/>
          <a:lstStyle>
            <a:lvl1pPr marL="0" indent="0" algn="l">
              <a:lnSpc>
                <a:spcPct val="110000"/>
              </a:lnSpc>
              <a:buNone/>
              <a:defRPr sz="1000" b="0" i="1" baseline="0">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p:txBody>
      </p:sp>
      <p:sp>
        <p:nvSpPr>
          <p:cNvPr id="3" name="Bildplatzhalter 2"/>
          <p:cNvSpPr>
            <a:spLocks noGrp="1"/>
          </p:cNvSpPr>
          <p:nvPr>
            <p:ph type="pic" sz="quarter" idx="26" hasCustomPrompt="1"/>
          </p:nvPr>
        </p:nvSpPr>
        <p:spPr>
          <a:xfrm>
            <a:off x="530936" y="2279652"/>
            <a:ext cx="3615267" cy="1547283"/>
          </a:xfrm>
        </p:spPr>
        <p:txBody>
          <a:bodyPr/>
          <a:lstStyle>
            <a:lvl1pPr marL="0" indent="0">
              <a:buNone/>
              <a:defRPr/>
            </a:lvl1pPr>
          </a:lstStyle>
          <a:p>
            <a:r>
              <a:rPr lang="de-DE" dirty="0"/>
              <a:t>Picture</a:t>
            </a:r>
          </a:p>
        </p:txBody>
      </p:sp>
      <p:sp>
        <p:nvSpPr>
          <p:cNvPr id="36" name="Bildplatzhalter 2"/>
          <p:cNvSpPr>
            <a:spLocks noGrp="1"/>
          </p:cNvSpPr>
          <p:nvPr>
            <p:ph type="pic" sz="quarter" idx="27" hasCustomPrompt="1"/>
          </p:nvPr>
        </p:nvSpPr>
        <p:spPr>
          <a:xfrm>
            <a:off x="531249" y="4169833"/>
            <a:ext cx="3615267" cy="1547283"/>
          </a:xfrm>
        </p:spPr>
        <p:txBody>
          <a:bodyPr/>
          <a:lstStyle>
            <a:lvl1pPr marL="0" indent="0">
              <a:buNone/>
              <a:defRPr/>
            </a:lvl1pPr>
          </a:lstStyle>
          <a:p>
            <a:r>
              <a:rPr lang="de-DE" dirty="0"/>
              <a:t>Picture</a:t>
            </a:r>
          </a:p>
        </p:txBody>
      </p:sp>
      <p:cxnSp>
        <p:nvCxnSpPr>
          <p:cNvPr id="23"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24" name="Textfeld 23"/>
          <p:cNvSpPr txBox="1"/>
          <p:nvPr userDrawn="1"/>
        </p:nvSpPr>
        <p:spPr>
          <a:xfrm>
            <a:off x="406385" y="6310788"/>
            <a:ext cx="2395808" cy="246221"/>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BA2E3"/>
                </a:solidFill>
                <a:effectLst/>
                <a:uLnTx/>
                <a:uFillTx/>
                <a:latin typeface="Verdana"/>
                <a:ea typeface="+mn-ea"/>
                <a:cs typeface="Verdana"/>
              </a:rPr>
              <a:t>www.internationaldataspaces.org</a:t>
            </a:r>
          </a:p>
        </p:txBody>
      </p:sp>
      <p:sp>
        <p:nvSpPr>
          <p:cNvPr id="26" name="Foliennummernplatzhalter 5"/>
          <p:cNvSpPr txBox="1">
            <a:spLocks/>
          </p:cNvSpPr>
          <p:nvPr userDrawn="1"/>
        </p:nvSpPr>
        <p:spPr>
          <a:xfrm>
            <a:off x="10351213" y="6360589"/>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DA28A8A7-1DE1-8B42-B22F-FAE404325B08}" type="slidenum">
              <a:rPr kumimoji="0" lang="de-DE" sz="1067" b="0" i="0" u="none" strike="noStrike" kern="1200" cap="none" spc="0" normalizeH="0" baseline="0" noProof="0" smtClean="0">
                <a:ln>
                  <a:noFill/>
                </a:ln>
                <a:solidFill>
                  <a:srgbClr val="0BA2E3"/>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BA2E3"/>
              </a:solidFill>
              <a:effectLst/>
              <a:uLnTx/>
              <a:uFillTx/>
              <a:latin typeface="Calibri"/>
              <a:ea typeface="+mn-ea"/>
              <a:cs typeface="+mn-cs"/>
            </a:endParaRPr>
          </a:p>
        </p:txBody>
      </p:sp>
      <p:sp>
        <p:nvSpPr>
          <p:cNvPr id="33" name="Shape"/>
          <p:cNvSpPr/>
          <p:nvPr userDrawn="1"/>
        </p:nvSpPr>
        <p:spPr>
          <a:xfrm>
            <a:off x="4010103" y="6303693"/>
            <a:ext cx="348148" cy="283209"/>
          </a:xfrm>
          <a:custGeom>
            <a:avLst/>
            <a:gdLst/>
            <a:ahLst/>
            <a:cxnLst>
              <a:cxn ang="0">
                <a:pos x="wd2" y="hd2"/>
              </a:cxn>
              <a:cxn ang="5400000">
                <a:pos x="wd2" y="hd2"/>
              </a:cxn>
              <a:cxn ang="10800000">
                <a:pos x="wd2" y="hd2"/>
              </a:cxn>
              <a:cxn ang="16200000">
                <a:pos x="wd2" y="hd2"/>
              </a:cxn>
            </a:cxnLst>
            <a:rect l="0" t="0" r="r" b="b"/>
            <a:pathLst>
              <a:path w="21600" h="21495" extrusionOk="0">
                <a:moveTo>
                  <a:pt x="14735" y="0"/>
                </a:moveTo>
                <a:cubicBezTo>
                  <a:pt x="16497" y="0"/>
                  <a:pt x="17287" y="960"/>
                  <a:pt x="18294" y="1876"/>
                </a:cubicBezTo>
                <a:cubicBezTo>
                  <a:pt x="19048" y="1876"/>
                  <a:pt x="20055" y="1265"/>
                  <a:pt x="20558" y="960"/>
                </a:cubicBezTo>
                <a:cubicBezTo>
                  <a:pt x="20845" y="655"/>
                  <a:pt x="20845" y="655"/>
                  <a:pt x="21097" y="655"/>
                </a:cubicBezTo>
                <a:cubicBezTo>
                  <a:pt x="20845" y="1571"/>
                  <a:pt x="20306" y="2487"/>
                  <a:pt x="19551" y="3098"/>
                </a:cubicBezTo>
                <a:cubicBezTo>
                  <a:pt x="19551" y="3098"/>
                  <a:pt x="19300" y="3404"/>
                  <a:pt x="19048" y="3404"/>
                </a:cubicBezTo>
                <a:cubicBezTo>
                  <a:pt x="20055" y="3404"/>
                  <a:pt x="20845" y="2793"/>
                  <a:pt x="21600" y="2793"/>
                </a:cubicBezTo>
                <a:cubicBezTo>
                  <a:pt x="21348" y="3404"/>
                  <a:pt x="20845" y="4320"/>
                  <a:pt x="20055" y="4625"/>
                </a:cubicBezTo>
                <a:cubicBezTo>
                  <a:pt x="19803" y="4931"/>
                  <a:pt x="19803" y="5280"/>
                  <a:pt x="19551" y="5585"/>
                </a:cubicBezTo>
                <a:cubicBezTo>
                  <a:pt x="19551" y="6807"/>
                  <a:pt x="19551" y="7724"/>
                  <a:pt x="19300" y="8945"/>
                </a:cubicBezTo>
                <a:cubicBezTo>
                  <a:pt x="18042" y="14836"/>
                  <a:pt x="15239" y="19156"/>
                  <a:pt x="10674" y="20989"/>
                </a:cubicBezTo>
                <a:cubicBezTo>
                  <a:pt x="8877" y="21600"/>
                  <a:pt x="6110" y="21600"/>
                  <a:pt x="4313" y="21295"/>
                </a:cubicBezTo>
                <a:cubicBezTo>
                  <a:pt x="3306" y="20989"/>
                  <a:pt x="2552" y="20684"/>
                  <a:pt x="1509" y="20073"/>
                </a:cubicBezTo>
                <a:cubicBezTo>
                  <a:pt x="1258" y="19767"/>
                  <a:pt x="755" y="19767"/>
                  <a:pt x="503" y="19462"/>
                </a:cubicBezTo>
                <a:cubicBezTo>
                  <a:pt x="252" y="19156"/>
                  <a:pt x="252" y="19156"/>
                  <a:pt x="0" y="19156"/>
                </a:cubicBezTo>
                <a:cubicBezTo>
                  <a:pt x="503" y="19156"/>
                  <a:pt x="1006" y="19156"/>
                  <a:pt x="1509" y="19156"/>
                </a:cubicBezTo>
                <a:cubicBezTo>
                  <a:pt x="1797" y="19156"/>
                  <a:pt x="2300" y="19156"/>
                  <a:pt x="2803" y="18851"/>
                </a:cubicBezTo>
                <a:cubicBezTo>
                  <a:pt x="3810" y="18502"/>
                  <a:pt x="4564" y="18196"/>
                  <a:pt x="5319" y="17891"/>
                </a:cubicBezTo>
                <a:cubicBezTo>
                  <a:pt x="5858" y="17585"/>
                  <a:pt x="6361" y="17280"/>
                  <a:pt x="6613" y="16669"/>
                </a:cubicBezTo>
                <a:cubicBezTo>
                  <a:pt x="6110" y="16669"/>
                  <a:pt x="5607" y="16669"/>
                  <a:pt x="5319" y="16669"/>
                </a:cubicBezTo>
                <a:cubicBezTo>
                  <a:pt x="3810" y="16058"/>
                  <a:pt x="3055" y="14836"/>
                  <a:pt x="2552" y="12960"/>
                </a:cubicBezTo>
                <a:cubicBezTo>
                  <a:pt x="2803" y="13265"/>
                  <a:pt x="4061" y="13265"/>
                  <a:pt x="4313" y="12960"/>
                </a:cubicBezTo>
                <a:cubicBezTo>
                  <a:pt x="3810" y="12960"/>
                  <a:pt x="3306" y="12655"/>
                  <a:pt x="3055" y="12349"/>
                </a:cubicBezTo>
                <a:cubicBezTo>
                  <a:pt x="1797" y="11433"/>
                  <a:pt x="755" y="9905"/>
                  <a:pt x="755" y="7724"/>
                </a:cubicBezTo>
                <a:cubicBezTo>
                  <a:pt x="1006" y="7724"/>
                  <a:pt x="1258" y="7724"/>
                  <a:pt x="1258" y="8029"/>
                </a:cubicBezTo>
                <a:cubicBezTo>
                  <a:pt x="1509" y="8029"/>
                  <a:pt x="1797" y="8029"/>
                  <a:pt x="2300" y="8335"/>
                </a:cubicBezTo>
                <a:lnTo>
                  <a:pt x="2803" y="8335"/>
                </a:lnTo>
                <a:cubicBezTo>
                  <a:pt x="2552" y="8029"/>
                  <a:pt x="2300" y="7724"/>
                  <a:pt x="2049" y="7418"/>
                </a:cubicBezTo>
                <a:cubicBezTo>
                  <a:pt x="1258" y="6196"/>
                  <a:pt x="503" y="4625"/>
                  <a:pt x="1006" y="2487"/>
                </a:cubicBezTo>
                <a:cubicBezTo>
                  <a:pt x="1006" y="1876"/>
                  <a:pt x="1258" y="1571"/>
                  <a:pt x="1509" y="1265"/>
                </a:cubicBezTo>
                <a:cubicBezTo>
                  <a:pt x="1509" y="1265"/>
                  <a:pt x="1797" y="1571"/>
                  <a:pt x="2049" y="1571"/>
                </a:cubicBezTo>
                <a:cubicBezTo>
                  <a:pt x="2300" y="2182"/>
                  <a:pt x="2803" y="2793"/>
                  <a:pt x="3306" y="3098"/>
                </a:cubicBezTo>
                <a:cubicBezTo>
                  <a:pt x="4816" y="4625"/>
                  <a:pt x="6361" y="5585"/>
                  <a:pt x="8626" y="6502"/>
                </a:cubicBezTo>
                <a:cubicBezTo>
                  <a:pt x="9380" y="6502"/>
                  <a:pt x="9919" y="6807"/>
                  <a:pt x="10674" y="6807"/>
                </a:cubicBezTo>
                <a:cubicBezTo>
                  <a:pt x="10423" y="5891"/>
                  <a:pt x="10423" y="4931"/>
                  <a:pt x="10674" y="4320"/>
                </a:cubicBezTo>
                <a:cubicBezTo>
                  <a:pt x="11177" y="2487"/>
                  <a:pt x="11932" y="1265"/>
                  <a:pt x="13226" y="655"/>
                </a:cubicBezTo>
                <a:cubicBezTo>
                  <a:pt x="13478" y="349"/>
                  <a:pt x="13981" y="349"/>
                  <a:pt x="14232" y="349"/>
                </a:cubicBezTo>
                <a:cubicBezTo>
                  <a:pt x="14484" y="349"/>
                  <a:pt x="14484" y="0"/>
                  <a:pt x="14735" y="0"/>
                </a:cubicBezTo>
              </a:path>
            </a:pathLst>
          </a:custGeom>
          <a:solidFill>
            <a:srgbClr val="0BA2E3"/>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34" name="Rechteck 33"/>
          <p:cNvSpPr/>
          <p:nvPr userDrawn="1"/>
        </p:nvSpPr>
        <p:spPr>
          <a:xfrm>
            <a:off x="4325749" y="6310339"/>
            <a:ext cx="1293944" cy="246221"/>
          </a:xfrm>
          <a:prstGeom prst="rect">
            <a:avLst/>
          </a:prstGeom>
        </p:spPr>
        <p:txBody>
          <a:bodyPr wrap="non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Verdana"/>
              </a:rPr>
              <a:t>@</a:t>
            </a:r>
            <a:r>
              <a:rPr kumimoji="0" lang="de-DE" sz="1000" b="0" i="0" u="none" strike="noStrike" kern="1200" cap="none" spc="0" normalizeH="0" baseline="0" noProof="0" dirty="0" err="1">
                <a:ln>
                  <a:noFill/>
                </a:ln>
                <a:solidFill>
                  <a:prstClr val="black"/>
                </a:solidFill>
                <a:effectLst/>
                <a:uLnTx/>
                <a:uFillTx/>
                <a:latin typeface="Verdana"/>
                <a:ea typeface="+mn-ea"/>
                <a:cs typeface="Verdana"/>
              </a:rPr>
              <a:t>ids_association</a:t>
            </a:r>
            <a:endParaRPr kumimoji="0" lang="de-DE" sz="10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35" name="Textplatzhalter 21"/>
          <p:cNvSpPr>
            <a:spLocks noGrp="1"/>
          </p:cNvSpPr>
          <p:nvPr>
            <p:ph type="body" sz="quarter" idx="16" hasCustomPrompt="1"/>
          </p:nvPr>
        </p:nvSpPr>
        <p:spPr>
          <a:xfrm>
            <a:off x="7212009" y="6306680"/>
            <a:ext cx="2508249"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pPr lvl="0"/>
            <a:r>
              <a:rPr lang="de-DE" dirty="0"/>
              <a:t>#</a:t>
            </a:r>
            <a:r>
              <a:rPr lang="de-DE" dirty="0" err="1"/>
              <a:t>eventname</a:t>
            </a:r>
            <a:r>
              <a:rPr lang="de-DE" dirty="0"/>
              <a:t> (...)</a:t>
            </a:r>
          </a:p>
        </p:txBody>
      </p:sp>
      <p:sp>
        <p:nvSpPr>
          <p:cNvPr id="37" name="Textplatzhalter 21"/>
          <p:cNvSpPr>
            <a:spLocks noGrp="1"/>
          </p:cNvSpPr>
          <p:nvPr>
            <p:ph type="body" sz="quarter" idx="28" hasCustomPrompt="1"/>
          </p:nvPr>
        </p:nvSpPr>
        <p:spPr>
          <a:xfrm>
            <a:off x="5611775" y="6308463"/>
            <a:ext cx="1577793"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Tree>
    <p:extLst>
      <p:ext uri="{BB962C8B-B14F-4D97-AF65-F5344CB8AC3E}">
        <p14:creationId xmlns:p14="http://schemas.microsoft.com/office/powerpoint/2010/main" val="3778889675"/>
      </p:ext>
    </p:extLst>
  </p:cSld>
  <p:clrMapOvr>
    <a:masterClrMapping/>
  </p:clrMapOvr>
  <p:extLst>
    <p:ext uri="{DCECCB84-F9BA-43D5-87BE-67443E8EF086}">
      <p15:sldGuideLst xmlns:p15="http://schemas.microsoft.com/office/powerpoint/2012/main">
        <p15:guide id="1" orient="horz" pos="1620">
          <p15:clr>
            <a:srgbClr val="FBAE40"/>
          </p15:clr>
        </p15:guide>
        <p15:guide id="2" pos="24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ckground - Golf">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F2FC1E29-32F8-447D-8167-6C2077F05D96}"/>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406" y="-4186"/>
            <a:ext cx="12198626" cy="6862185"/>
          </a:xfrm>
          <a:prstGeom prst="rect">
            <a:avLst/>
          </a:prstGeom>
        </p:spPr>
      </p:pic>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Background</a:t>
            </a:r>
          </a:p>
        </p:txBody>
      </p:sp>
    </p:spTree>
    <p:extLst>
      <p:ext uri="{BB962C8B-B14F-4D97-AF65-F5344CB8AC3E}">
        <p14:creationId xmlns:p14="http://schemas.microsoft.com/office/powerpoint/2010/main" val="29310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eme Headline with 4 Pictures &amp; Text">
    <p:spTree>
      <p:nvGrpSpPr>
        <p:cNvPr id="1" name=""/>
        <p:cNvGrpSpPr/>
        <p:nvPr/>
      </p:nvGrpSpPr>
      <p:grpSpPr>
        <a:xfrm>
          <a:off x="0" y="0"/>
          <a:ext cx="0" cy="0"/>
          <a:chOff x="0" y="0"/>
          <a:chExt cx="0" cy="0"/>
        </a:xfrm>
      </p:grpSpPr>
      <p:pic>
        <p:nvPicPr>
          <p:cNvPr id="16" name="Grafik 15"/>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9732134" y="206264"/>
            <a:ext cx="2091868" cy="759961"/>
          </a:xfrm>
          <a:prstGeom prst="rect">
            <a:avLst/>
          </a:prstGeom>
        </p:spPr>
      </p:pic>
      <p:sp>
        <p:nvSpPr>
          <p:cNvPr id="25"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6" name="Textplatzhalter 4"/>
          <p:cNvSpPr>
            <a:spLocks noGrp="1"/>
          </p:cNvSpPr>
          <p:nvPr>
            <p:ph type="body" sz="quarter" idx="18" hasCustomPrompt="1"/>
          </p:nvPr>
        </p:nvSpPr>
        <p:spPr>
          <a:xfrm>
            <a:off x="406401" y="1490136"/>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sp>
        <p:nvSpPr>
          <p:cNvPr id="21" name="Textplatzhalter 2"/>
          <p:cNvSpPr>
            <a:spLocks noGrp="1"/>
          </p:cNvSpPr>
          <p:nvPr>
            <p:ph type="body" idx="1" hasCustomPrompt="1"/>
          </p:nvPr>
        </p:nvSpPr>
        <p:spPr>
          <a:xfrm>
            <a:off x="8077200" y="2286002"/>
            <a:ext cx="3572933" cy="3431116"/>
          </a:xfrm>
          <a:prstGeom prst="rect">
            <a:avLst/>
          </a:prstGeom>
        </p:spPr>
        <p:txBody>
          <a:bodyPr anchor="t">
            <a:normAutofit/>
          </a:bodyPr>
          <a:lstStyle>
            <a:lvl1pPr marL="239173" marR="0" indent="-239173" algn="l" defTabSz="609570"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43" indent="-228589">
              <a:buFont typeface="Symbol" panose="05050102010706020507" pitchFamily="18" charset="2"/>
              <a:buChar char="-"/>
              <a:defRPr sz="1600" baseline="0">
                <a:solidFill>
                  <a:schemeClr val="tx1"/>
                </a:solidFill>
              </a:defRPr>
            </a:lvl2pPr>
            <a:lvl3pPr marL="598988" indent="-110061">
              <a:buFont typeface="Arial" panose="020B0604020202020204" pitchFamily="34" charset="0"/>
              <a:buChar char="•"/>
              <a:defRPr sz="1067">
                <a:solidFill>
                  <a:schemeClr val="tx1"/>
                </a:solidFill>
              </a:defRPr>
            </a:lvl3pPr>
            <a:lvl4pPr marL="833926" indent="-256104">
              <a:buFont typeface="Symbol" panose="05050102010706020507" pitchFamily="18" charset="2"/>
              <a:buChar char="-"/>
              <a:tabLst>
                <a:tab pos="833926" algn="l"/>
                <a:tab pos="1077330" algn="l"/>
              </a:tabLst>
              <a:defRPr sz="1867" baseline="0">
                <a:solidFill>
                  <a:schemeClr val="tx1"/>
                </a:solidFill>
              </a:defRPr>
            </a:lvl4pPr>
            <a:lvl5pPr marL="1077330" indent="-262453">
              <a:buFont typeface="Georgia" panose="02040502050405020303" pitchFamily="18" charset="0"/>
              <a:buChar char="»"/>
              <a:defRPr sz="1867">
                <a:solidFill>
                  <a:schemeClr val="tx1"/>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70" rtl="0" eaLnBrk="1" fontAlgn="auto" latinLnBrk="0" hangingPunct="1">
              <a:lnSpc>
                <a:spcPct val="110000"/>
              </a:lnSpc>
              <a:spcBef>
                <a:spcPct val="20000"/>
              </a:spcBef>
              <a:spcAft>
                <a:spcPts val="0"/>
              </a:spcAft>
              <a:buClrTx/>
              <a:buSzTx/>
              <a:tabLst/>
              <a:defRPr/>
            </a:pPr>
            <a:endParaRPr lang="de-DE" dirty="0"/>
          </a:p>
        </p:txBody>
      </p:sp>
      <p:sp>
        <p:nvSpPr>
          <p:cNvPr id="22" name="Textplatzhalter 15"/>
          <p:cNvSpPr>
            <a:spLocks noGrp="1"/>
          </p:cNvSpPr>
          <p:nvPr>
            <p:ph type="body" sz="quarter" idx="24" hasCustomPrompt="1"/>
          </p:nvPr>
        </p:nvSpPr>
        <p:spPr>
          <a:xfrm>
            <a:off x="420987" y="5695592"/>
            <a:ext cx="3732327" cy="424499"/>
          </a:xfrm>
          <a:prstGeom prst="rect">
            <a:avLst/>
          </a:prstGeom>
        </p:spPr>
        <p:txBody>
          <a:bodyPr vert="horz"/>
          <a:lstStyle>
            <a:lvl1pPr marL="0" indent="0" algn="l">
              <a:lnSpc>
                <a:spcPct val="110000"/>
              </a:lnSpc>
              <a:buNone/>
              <a:defRPr sz="1000" b="0" i="1">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a:p>
            <a:pPr lvl="0"/>
            <a:r>
              <a:rPr lang="de-DE" dirty="0"/>
              <a:t>Second </a:t>
            </a:r>
            <a:r>
              <a:rPr lang="de-DE" dirty="0" err="1"/>
              <a:t>row</a:t>
            </a:r>
            <a:r>
              <a:rPr lang="de-DE" dirty="0"/>
              <a:t>.</a:t>
            </a:r>
          </a:p>
        </p:txBody>
      </p:sp>
      <p:sp>
        <p:nvSpPr>
          <p:cNvPr id="23" name="Textplatzhalter 15"/>
          <p:cNvSpPr>
            <a:spLocks noGrp="1"/>
          </p:cNvSpPr>
          <p:nvPr>
            <p:ph type="body" sz="quarter" idx="25" hasCustomPrompt="1"/>
          </p:nvPr>
        </p:nvSpPr>
        <p:spPr>
          <a:xfrm>
            <a:off x="420988" y="3809325"/>
            <a:ext cx="3732325" cy="424499"/>
          </a:xfrm>
          <a:prstGeom prst="rect">
            <a:avLst/>
          </a:prstGeom>
        </p:spPr>
        <p:txBody>
          <a:bodyPr vert="horz"/>
          <a:lstStyle>
            <a:lvl1pPr marL="0" indent="0" algn="l">
              <a:lnSpc>
                <a:spcPct val="110000"/>
              </a:lnSpc>
              <a:buNone/>
              <a:defRPr sz="1000" b="0" i="1" baseline="0">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p:txBody>
      </p:sp>
      <p:sp>
        <p:nvSpPr>
          <p:cNvPr id="24" name="Textplatzhalter 15"/>
          <p:cNvSpPr>
            <a:spLocks noGrp="1"/>
          </p:cNvSpPr>
          <p:nvPr>
            <p:ph type="body" sz="quarter" idx="26" hasCustomPrompt="1"/>
          </p:nvPr>
        </p:nvSpPr>
        <p:spPr>
          <a:xfrm>
            <a:off x="4180082" y="5695592"/>
            <a:ext cx="3732327" cy="424499"/>
          </a:xfrm>
          <a:prstGeom prst="rect">
            <a:avLst/>
          </a:prstGeom>
        </p:spPr>
        <p:txBody>
          <a:bodyPr vert="horz"/>
          <a:lstStyle>
            <a:lvl1pPr marL="0" indent="0" algn="l">
              <a:lnSpc>
                <a:spcPct val="110000"/>
              </a:lnSpc>
              <a:buNone/>
              <a:defRPr sz="1000" b="0" i="1">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a:p>
            <a:pPr lvl="0"/>
            <a:r>
              <a:rPr lang="de-DE" dirty="0"/>
              <a:t>Second </a:t>
            </a:r>
            <a:r>
              <a:rPr lang="de-DE" dirty="0" err="1"/>
              <a:t>row</a:t>
            </a:r>
            <a:r>
              <a:rPr lang="de-DE" dirty="0"/>
              <a:t>.</a:t>
            </a:r>
          </a:p>
        </p:txBody>
      </p:sp>
      <p:sp>
        <p:nvSpPr>
          <p:cNvPr id="27" name="Textplatzhalter 15"/>
          <p:cNvSpPr>
            <a:spLocks noGrp="1"/>
          </p:cNvSpPr>
          <p:nvPr>
            <p:ph type="body" sz="quarter" idx="27" hasCustomPrompt="1"/>
          </p:nvPr>
        </p:nvSpPr>
        <p:spPr>
          <a:xfrm>
            <a:off x="4180083" y="3809325"/>
            <a:ext cx="3732325" cy="424499"/>
          </a:xfrm>
          <a:prstGeom prst="rect">
            <a:avLst/>
          </a:prstGeom>
        </p:spPr>
        <p:txBody>
          <a:bodyPr vert="horz"/>
          <a:lstStyle>
            <a:lvl1pPr marL="0" indent="0" algn="l">
              <a:lnSpc>
                <a:spcPct val="110000"/>
              </a:lnSpc>
              <a:buNone/>
              <a:defRPr sz="1000" b="0" i="1" baseline="0">
                <a:latin typeface="Georgia"/>
                <a:cs typeface="Georgia"/>
              </a:defRPr>
            </a:lvl1pPr>
          </a:lstStyle>
          <a:p>
            <a:pPr lvl="0"/>
            <a:r>
              <a:rPr lang="de-DE" dirty="0"/>
              <a:t>Picture </a:t>
            </a:r>
            <a:r>
              <a:rPr lang="de-DE" dirty="0" err="1"/>
              <a:t>source</a:t>
            </a:r>
            <a:r>
              <a:rPr lang="de-DE" dirty="0"/>
              <a:t> </a:t>
            </a:r>
            <a:r>
              <a:rPr lang="de-DE" dirty="0" err="1"/>
              <a:t>or</a:t>
            </a:r>
            <a:r>
              <a:rPr lang="de-DE" dirty="0"/>
              <a:t> </a:t>
            </a:r>
            <a:r>
              <a:rPr lang="de-DE" dirty="0" err="1"/>
              <a:t>description</a:t>
            </a:r>
            <a:endParaRPr lang="de-DE" dirty="0"/>
          </a:p>
        </p:txBody>
      </p:sp>
      <p:sp>
        <p:nvSpPr>
          <p:cNvPr id="32" name="Bildplatzhalter 2"/>
          <p:cNvSpPr>
            <a:spLocks noGrp="1"/>
          </p:cNvSpPr>
          <p:nvPr>
            <p:ph type="pic" sz="quarter" idx="28" hasCustomPrompt="1"/>
          </p:nvPr>
        </p:nvSpPr>
        <p:spPr>
          <a:xfrm>
            <a:off x="530936" y="2279652"/>
            <a:ext cx="3615267" cy="1547283"/>
          </a:xfrm>
        </p:spPr>
        <p:txBody>
          <a:bodyPr/>
          <a:lstStyle>
            <a:lvl1pPr marL="0" indent="0">
              <a:buNone/>
              <a:defRPr/>
            </a:lvl1pPr>
          </a:lstStyle>
          <a:p>
            <a:r>
              <a:rPr lang="de-DE" dirty="0"/>
              <a:t>Picture</a:t>
            </a:r>
          </a:p>
        </p:txBody>
      </p:sp>
      <p:sp>
        <p:nvSpPr>
          <p:cNvPr id="40" name="Bildplatzhalter 2"/>
          <p:cNvSpPr>
            <a:spLocks noGrp="1"/>
          </p:cNvSpPr>
          <p:nvPr>
            <p:ph type="pic" sz="quarter" idx="29" hasCustomPrompt="1"/>
          </p:nvPr>
        </p:nvSpPr>
        <p:spPr>
          <a:xfrm>
            <a:off x="531249" y="4169833"/>
            <a:ext cx="3615267" cy="1547283"/>
          </a:xfrm>
        </p:spPr>
        <p:txBody>
          <a:bodyPr/>
          <a:lstStyle>
            <a:lvl1pPr marL="0" indent="0">
              <a:buNone/>
              <a:defRPr/>
            </a:lvl1pPr>
          </a:lstStyle>
          <a:p>
            <a:r>
              <a:rPr lang="de-DE" dirty="0"/>
              <a:t>Picture</a:t>
            </a:r>
          </a:p>
        </p:txBody>
      </p:sp>
      <p:sp>
        <p:nvSpPr>
          <p:cNvPr id="41" name="Bildplatzhalter 2"/>
          <p:cNvSpPr>
            <a:spLocks noGrp="1"/>
          </p:cNvSpPr>
          <p:nvPr>
            <p:ph type="pic" sz="quarter" idx="30" hasCustomPrompt="1"/>
          </p:nvPr>
        </p:nvSpPr>
        <p:spPr>
          <a:xfrm>
            <a:off x="4309020" y="2279653"/>
            <a:ext cx="3615267" cy="1547283"/>
          </a:xfrm>
        </p:spPr>
        <p:txBody>
          <a:bodyPr/>
          <a:lstStyle>
            <a:lvl1pPr marL="0" indent="0">
              <a:buNone/>
              <a:defRPr/>
            </a:lvl1pPr>
          </a:lstStyle>
          <a:p>
            <a:r>
              <a:rPr lang="de-DE" dirty="0"/>
              <a:t>Picture</a:t>
            </a:r>
          </a:p>
        </p:txBody>
      </p:sp>
      <p:sp>
        <p:nvSpPr>
          <p:cNvPr id="42" name="Bildplatzhalter 2"/>
          <p:cNvSpPr>
            <a:spLocks noGrp="1"/>
          </p:cNvSpPr>
          <p:nvPr>
            <p:ph type="pic" sz="quarter" idx="31" hasCustomPrompt="1"/>
          </p:nvPr>
        </p:nvSpPr>
        <p:spPr>
          <a:xfrm>
            <a:off x="4310929" y="4169833"/>
            <a:ext cx="3615267" cy="1547283"/>
          </a:xfrm>
        </p:spPr>
        <p:txBody>
          <a:bodyPr/>
          <a:lstStyle>
            <a:lvl1pPr marL="0" indent="0">
              <a:buNone/>
              <a:defRPr/>
            </a:lvl1pPr>
          </a:lstStyle>
          <a:p>
            <a:r>
              <a:rPr lang="de-DE" dirty="0"/>
              <a:t>Picture</a:t>
            </a:r>
          </a:p>
        </p:txBody>
      </p:sp>
      <p:cxnSp>
        <p:nvCxnSpPr>
          <p:cNvPr id="30" name="Gerade Verbindung 19"/>
          <p:cNvCxnSpPr/>
          <p:nvPr userDrawn="1"/>
        </p:nvCxnSpPr>
        <p:spPr>
          <a:xfrm>
            <a:off x="533400" y="6206051"/>
            <a:ext cx="11116733" cy="0"/>
          </a:xfrm>
          <a:prstGeom prst="line">
            <a:avLst/>
          </a:prstGeom>
          <a:ln w="9525" cap="rnd"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31" name="Textfeld 30"/>
          <p:cNvSpPr txBox="1"/>
          <p:nvPr userDrawn="1"/>
        </p:nvSpPr>
        <p:spPr>
          <a:xfrm>
            <a:off x="406385" y="6310788"/>
            <a:ext cx="2395808" cy="246221"/>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BA2E3"/>
                </a:solidFill>
                <a:effectLst/>
                <a:uLnTx/>
                <a:uFillTx/>
                <a:latin typeface="Verdana"/>
                <a:ea typeface="+mn-ea"/>
                <a:cs typeface="Verdana"/>
              </a:rPr>
              <a:t>www.internationaldataspaces.org</a:t>
            </a:r>
          </a:p>
        </p:txBody>
      </p:sp>
      <p:sp>
        <p:nvSpPr>
          <p:cNvPr id="35" name="Foliennummernplatzhalter 5"/>
          <p:cNvSpPr txBox="1">
            <a:spLocks/>
          </p:cNvSpPr>
          <p:nvPr userDrawn="1"/>
        </p:nvSpPr>
        <p:spPr>
          <a:xfrm>
            <a:off x="10351213" y="6360589"/>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DA28A8A7-1DE1-8B42-B22F-FAE404325B08}" type="slidenum">
              <a:rPr kumimoji="0" lang="de-DE" sz="1067" b="0" i="0" u="none" strike="noStrike" kern="1200" cap="none" spc="0" normalizeH="0" baseline="0" noProof="0" smtClean="0">
                <a:ln>
                  <a:noFill/>
                </a:ln>
                <a:solidFill>
                  <a:srgbClr val="0BA2E3"/>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BA2E3"/>
              </a:solidFill>
              <a:effectLst/>
              <a:uLnTx/>
              <a:uFillTx/>
              <a:latin typeface="Calibri"/>
              <a:ea typeface="+mn-ea"/>
              <a:cs typeface="+mn-cs"/>
            </a:endParaRPr>
          </a:p>
        </p:txBody>
      </p:sp>
      <p:sp>
        <p:nvSpPr>
          <p:cNvPr id="39" name="Shape"/>
          <p:cNvSpPr/>
          <p:nvPr userDrawn="1"/>
        </p:nvSpPr>
        <p:spPr>
          <a:xfrm>
            <a:off x="4010103" y="6303693"/>
            <a:ext cx="348148" cy="283209"/>
          </a:xfrm>
          <a:custGeom>
            <a:avLst/>
            <a:gdLst/>
            <a:ahLst/>
            <a:cxnLst>
              <a:cxn ang="0">
                <a:pos x="wd2" y="hd2"/>
              </a:cxn>
              <a:cxn ang="5400000">
                <a:pos x="wd2" y="hd2"/>
              </a:cxn>
              <a:cxn ang="10800000">
                <a:pos x="wd2" y="hd2"/>
              </a:cxn>
              <a:cxn ang="16200000">
                <a:pos x="wd2" y="hd2"/>
              </a:cxn>
            </a:cxnLst>
            <a:rect l="0" t="0" r="r" b="b"/>
            <a:pathLst>
              <a:path w="21600" h="21495" extrusionOk="0">
                <a:moveTo>
                  <a:pt x="14735" y="0"/>
                </a:moveTo>
                <a:cubicBezTo>
                  <a:pt x="16497" y="0"/>
                  <a:pt x="17287" y="960"/>
                  <a:pt x="18294" y="1876"/>
                </a:cubicBezTo>
                <a:cubicBezTo>
                  <a:pt x="19048" y="1876"/>
                  <a:pt x="20055" y="1265"/>
                  <a:pt x="20558" y="960"/>
                </a:cubicBezTo>
                <a:cubicBezTo>
                  <a:pt x="20845" y="655"/>
                  <a:pt x="20845" y="655"/>
                  <a:pt x="21097" y="655"/>
                </a:cubicBezTo>
                <a:cubicBezTo>
                  <a:pt x="20845" y="1571"/>
                  <a:pt x="20306" y="2487"/>
                  <a:pt x="19551" y="3098"/>
                </a:cubicBezTo>
                <a:cubicBezTo>
                  <a:pt x="19551" y="3098"/>
                  <a:pt x="19300" y="3404"/>
                  <a:pt x="19048" y="3404"/>
                </a:cubicBezTo>
                <a:cubicBezTo>
                  <a:pt x="20055" y="3404"/>
                  <a:pt x="20845" y="2793"/>
                  <a:pt x="21600" y="2793"/>
                </a:cubicBezTo>
                <a:cubicBezTo>
                  <a:pt x="21348" y="3404"/>
                  <a:pt x="20845" y="4320"/>
                  <a:pt x="20055" y="4625"/>
                </a:cubicBezTo>
                <a:cubicBezTo>
                  <a:pt x="19803" y="4931"/>
                  <a:pt x="19803" y="5280"/>
                  <a:pt x="19551" y="5585"/>
                </a:cubicBezTo>
                <a:cubicBezTo>
                  <a:pt x="19551" y="6807"/>
                  <a:pt x="19551" y="7724"/>
                  <a:pt x="19300" y="8945"/>
                </a:cubicBezTo>
                <a:cubicBezTo>
                  <a:pt x="18042" y="14836"/>
                  <a:pt x="15239" y="19156"/>
                  <a:pt x="10674" y="20989"/>
                </a:cubicBezTo>
                <a:cubicBezTo>
                  <a:pt x="8877" y="21600"/>
                  <a:pt x="6110" y="21600"/>
                  <a:pt x="4313" y="21295"/>
                </a:cubicBezTo>
                <a:cubicBezTo>
                  <a:pt x="3306" y="20989"/>
                  <a:pt x="2552" y="20684"/>
                  <a:pt x="1509" y="20073"/>
                </a:cubicBezTo>
                <a:cubicBezTo>
                  <a:pt x="1258" y="19767"/>
                  <a:pt x="755" y="19767"/>
                  <a:pt x="503" y="19462"/>
                </a:cubicBezTo>
                <a:cubicBezTo>
                  <a:pt x="252" y="19156"/>
                  <a:pt x="252" y="19156"/>
                  <a:pt x="0" y="19156"/>
                </a:cubicBezTo>
                <a:cubicBezTo>
                  <a:pt x="503" y="19156"/>
                  <a:pt x="1006" y="19156"/>
                  <a:pt x="1509" y="19156"/>
                </a:cubicBezTo>
                <a:cubicBezTo>
                  <a:pt x="1797" y="19156"/>
                  <a:pt x="2300" y="19156"/>
                  <a:pt x="2803" y="18851"/>
                </a:cubicBezTo>
                <a:cubicBezTo>
                  <a:pt x="3810" y="18502"/>
                  <a:pt x="4564" y="18196"/>
                  <a:pt x="5319" y="17891"/>
                </a:cubicBezTo>
                <a:cubicBezTo>
                  <a:pt x="5858" y="17585"/>
                  <a:pt x="6361" y="17280"/>
                  <a:pt x="6613" y="16669"/>
                </a:cubicBezTo>
                <a:cubicBezTo>
                  <a:pt x="6110" y="16669"/>
                  <a:pt x="5607" y="16669"/>
                  <a:pt x="5319" y="16669"/>
                </a:cubicBezTo>
                <a:cubicBezTo>
                  <a:pt x="3810" y="16058"/>
                  <a:pt x="3055" y="14836"/>
                  <a:pt x="2552" y="12960"/>
                </a:cubicBezTo>
                <a:cubicBezTo>
                  <a:pt x="2803" y="13265"/>
                  <a:pt x="4061" y="13265"/>
                  <a:pt x="4313" y="12960"/>
                </a:cubicBezTo>
                <a:cubicBezTo>
                  <a:pt x="3810" y="12960"/>
                  <a:pt x="3306" y="12655"/>
                  <a:pt x="3055" y="12349"/>
                </a:cubicBezTo>
                <a:cubicBezTo>
                  <a:pt x="1797" y="11433"/>
                  <a:pt x="755" y="9905"/>
                  <a:pt x="755" y="7724"/>
                </a:cubicBezTo>
                <a:cubicBezTo>
                  <a:pt x="1006" y="7724"/>
                  <a:pt x="1258" y="7724"/>
                  <a:pt x="1258" y="8029"/>
                </a:cubicBezTo>
                <a:cubicBezTo>
                  <a:pt x="1509" y="8029"/>
                  <a:pt x="1797" y="8029"/>
                  <a:pt x="2300" y="8335"/>
                </a:cubicBezTo>
                <a:lnTo>
                  <a:pt x="2803" y="8335"/>
                </a:lnTo>
                <a:cubicBezTo>
                  <a:pt x="2552" y="8029"/>
                  <a:pt x="2300" y="7724"/>
                  <a:pt x="2049" y="7418"/>
                </a:cubicBezTo>
                <a:cubicBezTo>
                  <a:pt x="1258" y="6196"/>
                  <a:pt x="503" y="4625"/>
                  <a:pt x="1006" y="2487"/>
                </a:cubicBezTo>
                <a:cubicBezTo>
                  <a:pt x="1006" y="1876"/>
                  <a:pt x="1258" y="1571"/>
                  <a:pt x="1509" y="1265"/>
                </a:cubicBezTo>
                <a:cubicBezTo>
                  <a:pt x="1509" y="1265"/>
                  <a:pt x="1797" y="1571"/>
                  <a:pt x="2049" y="1571"/>
                </a:cubicBezTo>
                <a:cubicBezTo>
                  <a:pt x="2300" y="2182"/>
                  <a:pt x="2803" y="2793"/>
                  <a:pt x="3306" y="3098"/>
                </a:cubicBezTo>
                <a:cubicBezTo>
                  <a:pt x="4816" y="4625"/>
                  <a:pt x="6361" y="5585"/>
                  <a:pt x="8626" y="6502"/>
                </a:cubicBezTo>
                <a:cubicBezTo>
                  <a:pt x="9380" y="6502"/>
                  <a:pt x="9919" y="6807"/>
                  <a:pt x="10674" y="6807"/>
                </a:cubicBezTo>
                <a:cubicBezTo>
                  <a:pt x="10423" y="5891"/>
                  <a:pt x="10423" y="4931"/>
                  <a:pt x="10674" y="4320"/>
                </a:cubicBezTo>
                <a:cubicBezTo>
                  <a:pt x="11177" y="2487"/>
                  <a:pt x="11932" y="1265"/>
                  <a:pt x="13226" y="655"/>
                </a:cubicBezTo>
                <a:cubicBezTo>
                  <a:pt x="13478" y="349"/>
                  <a:pt x="13981" y="349"/>
                  <a:pt x="14232" y="349"/>
                </a:cubicBezTo>
                <a:cubicBezTo>
                  <a:pt x="14484" y="349"/>
                  <a:pt x="14484" y="0"/>
                  <a:pt x="14735" y="0"/>
                </a:cubicBezTo>
              </a:path>
            </a:pathLst>
          </a:custGeom>
          <a:solidFill>
            <a:srgbClr val="0BA2E3"/>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43" name="Rechteck 42"/>
          <p:cNvSpPr/>
          <p:nvPr userDrawn="1"/>
        </p:nvSpPr>
        <p:spPr>
          <a:xfrm>
            <a:off x="4325749" y="6310339"/>
            <a:ext cx="1293944" cy="246221"/>
          </a:xfrm>
          <a:prstGeom prst="rect">
            <a:avLst/>
          </a:prstGeom>
        </p:spPr>
        <p:txBody>
          <a:bodyPr wrap="non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Verdana"/>
                <a:ea typeface="+mn-ea"/>
                <a:cs typeface="Verdana"/>
              </a:rPr>
              <a:t>@</a:t>
            </a:r>
            <a:r>
              <a:rPr kumimoji="0" lang="de-DE" sz="1000" b="0" i="0" u="none" strike="noStrike" kern="1200" cap="none" spc="0" normalizeH="0" baseline="0" noProof="0" dirty="0" err="1">
                <a:ln>
                  <a:noFill/>
                </a:ln>
                <a:solidFill>
                  <a:prstClr val="black"/>
                </a:solidFill>
                <a:effectLst/>
                <a:uLnTx/>
                <a:uFillTx/>
                <a:latin typeface="Verdana"/>
                <a:ea typeface="+mn-ea"/>
                <a:cs typeface="Verdana"/>
              </a:rPr>
              <a:t>ids_association</a:t>
            </a:r>
            <a:endParaRPr kumimoji="0" lang="de-DE" sz="10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44" name="Textplatzhalter 21"/>
          <p:cNvSpPr>
            <a:spLocks noGrp="1"/>
          </p:cNvSpPr>
          <p:nvPr>
            <p:ph type="body" sz="quarter" idx="16" hasCustomPrompt="1"/>
          </p:nvPr>
        </p:nvSpPr>
        <p:spPr>
          <a:xfrm>
            <a:off x="7212009" y="6306680"/>
            <a:ext cx="2508249"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pPr lvl="0"/>
            <a:r>
              <a:rPr lang="de-DE" dirty="0"/>
              <a:t>#</a:t>
            </a:r>
            <a:r>
              <a:rPr lang="de-DE" dirty="0" err="1"/>
              <a:t>eventname</a:t>
            </a:r>
            <a:r>
              <a:rPr lang="de-DE" dirty="0"/>
              <a:t> (...)</a:t>
            </a:r>
          </a:p>
        </p:txBody>
      </p:sp>
      <p:sp>
        <p:nvSpPr>
          <p:cNvPr id="45" name="Textplatzhalter 21"/>
          <p:cNvSpPr>
            <a:spLocks noGrp="1"/>
          </p:cNvSpPr>
          <p:nvPr>
            <p:ph type="body" sz="quarter" idx="32" hasCustomPrompt="1"/>
          </p:nvPr>
        </p:nvSpPr>
        <p:spPr>
          <a:xfrm>
            <a:off x="5611775" y="6308463"/>
            <a:ext cx="1577793" cy="448733"/>
          </a:xfrm>
          <a:prstGeom prst="rect">
            <a:avLst/>
          </a:prstGeom>
        </p:spPr>
        <p:txBody>
          <a:bodyPr vert="horz"/>
          <a:lstStyle>
            <a:lvl1pPr marL="0" indent="0">
              <a:buNone/>
              <a:defRPr sz="1000" baseline="0"/>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Tree>
    <p:extLst>
      <p:ext uri="{BB962C8B-B14F-4D97-AF65-F5344CB8AC3E}">
        <p14:creationId xmlns:p14="http://schemas.microsoft.com/office/powerpoint/2010/main" val="1191508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Personal Information">
    <p:spTree>
      <p:nvGrpSpPr>
        <p:cNvPr id="1" name=""/>
        <p:cNvGrpSpPr/>
        <p:nvPr/>
      </p:nvGrpSpPr>
      <p:grpSpPr>
        <a:xfrm>
          <a:off x="0" y="0"/>
          <a:ext cx="0" cy="0"/>
          <a:chOff x="0" y="0"/>
          <a:chExt cx="0" cy="0"/>
        </a:xfrm>
      </p:grpSpPr>
      <p:pic>
        <p:nvPicPr>
          <p:cNvPr id="14" name="Grafik 13"/>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120992" y="-95703"/>
            <a:ext cx="4639637" cy="1685549"/>
          </a:xfrm>
          <a:prstGeom prst="rect">
            <a:avLst/>
          </a:prstGeom>
        </p:spPr>
      </p:pic>
      <p:sp>
        <p:nvSpPr>
          <p:cNvPr id="11" name="Foliennummernplatzhalter 5"/>
          <p:cNvSpPr txBox="1">
            <a:spLocks/>
          </p:cNvSpPr>
          <p:nvPr userDrawn="1"/>
        </p:nvSpPr>
        <p:spPr>
          <a:xfrm>
            <a:off x="9950812" y="6320505"/>
            <a:ext cx="1148925"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solidFill>
                <a:effectLst/>
                <a:uLnTx/>
                <a:uFillTx/>
                <a:latin typeface="Calibri"/>
                <a:ea typeface="+mn-ea"/>
                <a:cs typeface="+mn-cs"/>
              </a:rPr>
              <a:t>//</a:t>
            </a:r>
            <a:r>
              <a:rPr kumimoji="0" lang="de-DE" sz="1067" b="0" i="0" u="none" strike="noStrike" kern="1200" cap="none" spc="0" normalizeH="0" baseline="0" noProof="0" dirty="0">
                <a:ln>
                  <a:noFill/>
                </a:ln>
                <a:solidFill>
                  <a:srgbClr val="0092D2"/>
                </a:solidFill>
                <a:effectLst/>
                <a:uLnTx/>
                <a:uFillTx/>
                <a:latin typeface="Calibri"/>
                <a:ea typeface="+mn-ea"/>
                <a:cs typeface="+mn-cs"/>
              </a:rPr>
              <a:t> </a:t>
            </a:r>
            <a:fld id="{8E821C83-84D4-BF47-9BEB-DE7BBACF0AD8}" type="slidenum">
              <a:rPr kumimoji="0" lang="de-DE" sz="1067" b="0" i="0" u="none" strike="noStrike" kern="1200" cap="none" spc="0" normalizeH="0" baseline="0" noProof="0" smtClean="0">
                <a:ln>
                  <a:noFill/>
                </a:ln>
                <a:solidFill>
                  <a:srgbClr val="0092D2"/>
                </a:solidFill>
                <a:effectLst/>
                <a:uLnTx/>
                <a:uFillTx/>
                <a:latin typeface="Calibri"/>
                <a:ea typeface="+mn-ea"/>
                <a:cs typeface="+mn-cs"/>
              </a:rPr>
              <a:pPr marL="0" marR="0" lvl="0" indent="0" algn="r" defTabSz="457189" rtl="0" eaLnBrk="1" fontAlgn="auto" latinLnBrk="0" hangingPunct="1">
                <a:lnSpc>
                  <a:spcPct val="60000"/>
                </a:lnSpc>
                <a:spcBef>
                  <a:spcPts val="0"/>
                </a:spcBef>
                <a:spcAft>
                  <a:spcPts val="0"/>
                </a:spcAft>
                <a:buClrTx/>
                <a:buSzTx/>
                <a:buFontTx/>
                <a:buNone/>
                <a:tabLst/>
                <a:defRPr/>
              </a:pPr>
              <a:t>‹#›</a:t>
            </a:fld>
            <a:endParaRPr kumimoji="0" lang="de-DE" sz="1067" b="0" i="0" u="none" strike="noStrike" kern="1200" cap="none" spc="0" normalizeH="0" baseline="0" noProof="0" dirty="0">
              <a:ln>
                <a:noFill/>
              </a:ln>
              <a:solidFill>
                <a:srgbClr val="0092D2"/>
              </a:solidFill>
              <a:effectLst/>
              <a:uLnTx/>
              <a:uFillTx/>
              <a:latin typeface="Calibri"/>
              <a:ea typeface="+mn-ea"/>
              <a:cs typeface="+mn-cs"/>
            </a:endParaRPr>
          </a:p>
        </p:txBody>
      </p:sp>
      <p:sp>
        <p:nvSpPr>
          <p:cNvPr id="8" name="Rechteck 7"/>
          <p:cNvSpPr/>
          <p:nvPr userDrawn="1"/>
        </p:nvSpPr>
        <p:spPr>
          <a:xfrm>
            <a:off x="0" y="2279155"/>
            <a:ext cx="12192000" cy="4578847"/>
          </a:xfrm>
          <a:prstGeom prst="rect">
            <a:avLst/>
          </a:prstGeom>
          <a:solidFill>
            <a:srgbClr val="0BA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0BA2E3"/>
              </a:solidFill>
              <a:effectLst/>
              <a:uLnTx/>
              <a:uFillTx/>
              <a:latin typeface="Calibri"/>
              <a:ea typeface="+mn-ea"/>
              <a:cs typeface="+mn-cs"/>
            </a:endParaRPr>
          </a:p>
        </p:txBody>
      </p:sp>
      <p:pic>
        <p:nvPicPr>
          <p:cNvPr id="10" name="Grafik 9"/>
          <p:cNvPicPr>
            <a:picLocks noChangeAspect="1"/>
          </p:cNvPicPr>
          <p:nvPr userDrawn="1"/>
        </p:nvPicPr>
        <p:blipFill>
          <a:blip r:embed="rId3" cstate="hqprint">
            <a:biLevel thresh="25000"/>
            <a:extLst>
              <a:ext uri="{28A0092B-C50C-407E-A947-70E740481C1C}">
                <a14:useLocalDpi xmlns:a14="http://schemas.microsoft.com/office/drawing/2010/main" val="0"/>
              </a:ext>
            </a:extLst>
          </a:blip>
          <a:stretch>
            <a:fillRect/>
          </a:stretch>
        </p:blipFill>
        <p:spPr>
          <a:xfrm>
            <a:off x="6821879" y="4170446"/>
            <a:ext cx="445300" cy="362177"/>
          </a:xfrm>
          <a:prstGeom prst="rect">
            <a:avLst/>
          </a:prstGeom>
        </p:spPr>
      </p:pic>
      <p:sp>
        <p:nvSpPr>
          <p:cNvPr id="15" name="Textfeld 14"/>
          <p:cNvSpPr txBox="1"/>
          <p:nvPr userDrawn="1"/>
        </p:nvSpPr>
        <p:spPr>
          <a:xfrm>
            <a:off x="7490795" y="4063842"/>
            <a:ext cx="2686637" cy="584775"/>
          </a:xfrm>
          <a:prstGeom prst="rect">
            <a:avLst/>
          </a:prstGeom>
          <a:noFill/>
        </p:spPr>
        <p:txBody>
          <a:bodyPr wrap="squar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prstClr val="white"/>
                </a:solidFill>
                <a:effectLst/>
                <a:uLnTx/>
                <a:uFillTx/>
                <a:latin typeface="Georgia" panose="02040502050405020303" pitchFamily="18" charset="0"/>
                <a:ea typeface="+mn-ea"/>
                <a:cs typeface="+mn-cs"/>
              </a:rPr>
              <a:t>@</a:t>
            </a:r>
            <a:r>
              <a:rPr kumimoji="0" lang="en-GB" sz="1600" b="0" i="1" u="none" strike="noStrike" kern="1200" cap="none" spc="0" normalizeH="0" baseline="0" noProof="0" dirty="0" err="1">
                <a:ln>
                  <a:noFill/>
                </a:ln>
                <a:solidFill>
                  <a:prstClr val="white"/>
                </a:solidFill>
                <a:effectLst/>
                <a:uLnTx/>
                <a:uFillTx/>
                <a:latin typeface="Georgia" panose="02040502050405020303" pitchFamily="18" charset="0"/>
                <a:ea typeface="+mn-ea"/>
                <a:cs typeface="+mn-cs"/>
              </a:rPr>
              <a:t>ids_association</a:t>
            </a:r>
            <a:endParaRPr kumimoji="0" lang="en-GB" sz="1600" b="0" i="1"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prstClr val="white"/>
                </a:solidFill>
                <a:effectLst/>
                <a:uLnTx/>
                <a:uFillTx/>
                <a:latin typeface="Georgia" panose="02040502050405020303" pitchFamily="18" charset="0"/>
                <a:ea typeface="+mn-ea"/>
                <a:cs typeface="+mn-cs"/>
              </a:rPr>
              <a:t>#</a:t>
            </a:r>
            <a:r>
              <a:rPr kumimoji="0" lang="en-GB" sz="1600" b="0" i="1" u="none" strike="noStrike" kern="1200" cap="none" spc="0" normalizeH="0" baseline="0" noProof="0" dirty="0" err="1">
                <a:ln>
                  <a:noFill/>
                </a:ln>
                <a:solidFill>
                  <a:prstClr val="white"/>
                </a:solidFill>
                <a:effectLst/>
                <a:uLnTx/>
                <a:uFillTx/>
                <a:latin typeface="Georgia" panose="02040502050405020303" pitchFamily="18" charset="0"/>
                <a:ea typeface="+mn-ea"/>
                <a:cs typeface="+mn-cs"/>
              </a:rPr>
              <a:t>internationaldataspaces</a:t>
            </a:r>
            <a:endParaRPr kumimoji="0" lang="en-GB" sz="1600" b="0" i="1"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16" name="Textfeld 15"/>
          <p:cNvSpPr txBox="1"/>
          <p:nvPr userDrawn="1"/>
        </p:nvSpPr>
        <p:spPr>
          <a:xfrm>
            <a:off x="7490793" y="6115115"/>
            <a:ext cx="4123280" cy="338554"/>
          </a:xfrm>
          <a:prstGeom prst="rect">
            <a:avLst/>
          </a:prstGeom>
          <a:noFill/>
        </p:spPr>
        <p:txBody>
          <a:bodyPr wrap="squar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dirty="0">
                <a:ln>
                  <a:noFill/>
                </a:ln>
                <a:solidFill>
                  <a:prstClr val="white"/>
                </a:solidFill>
                <a:effectLst/>
                <a:uLnTx/>
                <a:uFillTx/>
                <a:latin typeface="Georgia" panose="02040502050405020303" pitchFamily="18" charset="0"/>
                <a:ea typeface="+mn-ea"/>
                <a:cs typeface="+mn-cs"/>
              </a:rPr>
              <a:t>www.internationaldataspaces.org</a:t>
            </a:r>
          </a:p>
        </p:txBody>
      </p:sp>
      <p:sp>
        <p:nvSpPr>
          <p:cNvPr id="23" name="Textfeld 22"/>
          <p:cNvSpPr txBox="1"/>
          <p:nvPr userDrawn="1"/>
        </p:nvSpPr>
        <p:spPr>
          <a:xfrm>
            <a:off x="7531623" y="5227591"/>
            <a:ext cx="3719236" cy="338554"/>
          </a:xfrm>
          <a:prstGeom prst="rect">
            <a:avLst/>
          </a:prstGeom>
          <a:noFill/>
        </p:spPr>
        <p:txBody>
          <a:bodyPr wrap="square" rtlCol="0" anchor="ctr">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prstClr val="white"/>
                </a:solidFill>
                <a:effectLst/>
                <a:uLnTx/>
                <a:uFillTx/>
                <a:latin typeface="Georgia" panose="02040502050405020303" pitchFamily="18" charset="0"/>
                <a:ea typeface="+mn-ea"/>
                <a:cs typeface="+mn-cs"/>
              </a:rPr>
              <a:t>International Data Spaces Association</a:t>
            </a:r>
          </a:p>
        </p:txBody>
      </p:sp>
      <p:sp>
        <p:nvSpPr>
          <p:cNvPr id="24" name="Shape"/>
          <p:cNvSpPr/>
          <p:nvPr userDrawn="1"/>
        </p:nvSpPr>
        <p:spPr>
          <a:xfrm>
            <a:off x="6821877" y="5160601"/>
            <a:ext cx="513976" cy="351291"/>
          </a:xfrm>
          <a:custGeom>
            <a:avLst/>
            <a:gdLst/>
            <a:ahLst/>
            <a:cxnLst>
              <a:cxn ang="0">
                <a:pos x="wd2" y="hd2"/>
              </a:cxn>
              <a:cxn ang="5400000">
                <a:pos x="wd2" y="hd2"/>
              </a:cxn>
              <a:cxn ang="10800000">
                <a:pos x="wd2" y="hd2"/>
              </a:cxn>
              <a:cxn ang="16200000">
                <a:pos x="wd2" y="hd2"/>
              </a:cxn>
            </a:cxnLst>
            <a:rect l="0" t="0" r="r" b="b"/>
            <a:pathLst>
              <a:path w="21600" h="21600" extrusionOk="0">
                <a:moveTo>
                  <a:pt x="18324" y="0"/>
                </a:moveTo>
                <a:cubicBezTo>
                  <a:pt x="11196" y="0"/>
                  <a:pt x="11196" y="0"/>
                  <a:pt x="11196" y="0"/>
                </a:cubicBezTo>
                <a:cubicBezTo>
                  <a:pt x="3816" y="0"/>
                  <a:pt x="3816" y="0"/>
                  <a:pt x="3816" y="0"/>
                </a:cubicBezTo>
                <a:cubicBezTo>
                  <a:pt x="2016" y="0"/>
                  <a:pt x="0" y="1844"/>
                  <a:pt x="0" y="4478"/>
                </a:cubicBezTo>
                <a:cubicBezTo>
                  <a:pt x="0" y="17491"/>
                  <a:pt x="0" y="17491"/>
                  <a:pt x="0" y="17491"/>
                </a:cubicBezTo>
                <a:cubicBezTo>
                  <a:pt x="0" y="20072"/>
                  <a:pt x="2016" y="21600"/>
                  <a:pt x="3816" y="21600"/>
                </a:cubicBezTo>
                <a:cubicBezTo>
                  <a:pt x="11448" y="21600"/>
                  <a:pt x="11448" y="21600"/>
                  <a:pt x="11448" y="21600"/>
                </a:cubicBezTo>
                <a:cubicBezTo>
                  <a:pt x="18324" y="21600"/>
                  <a:pt x="18324" y="21600"/>
                  <a:pt x="18324" y="21600"/>
                </a:cubicBezTo>
                <a:cubicBezTo>
                  <a:pt x="20088" y="21600"/>
                  <a:pt x="21600" y="20072"/>
                  <a:pt x="21600" y="17491"/>
                </a:cubicBezTo>
                <a:cubicBezTo>
                  <a:pt x="21600" y="4478"/>
                  <a:pt x="21600" y="4478"/>
                  <a:pt x="21600" y="4478"/>
                </a:cubicBezTo>
                <a:cubicBezTo>
                  <a:pt x="21600" y="1844"/>
                  <a:pt x="20088" y="0"/>
                  <a:pt x="18324" y="0"/>
                </a:cubicBezTo>
                <a:close/>
                <a:moveTo>
                  <a:pt x="9396" y="16016"/>
                </a:moveTo>
                <a:cubicBezTo>
                  <a:pt x="9396" y="5953"/>
                  <a:pt x="9396" y="5953"/>
                  <a:pt x="9396" y="5953"/>
                </a:cubicBezTo>
                <a:cubicBezTo>
                  <a:pt x="14004" y="10800"/>
                  <a:pt x="14004" y="10800"/>
                  <a:pt x="14004" y="10800"/>
                </a:cubicBezTo>
                <a:lnTo>
                  <a:pt x="9396" y="16016"/>
                </a:lnTo>
                <a:close/>
              </a:path>
            </a:pathLst>
          </a:custGeom>
          <a:solidFill>
            <a:schemeClr val="bg1"/>
          </a:solidFill>
          <a:ln w="12700">
            <a:miter lim="400000"/>
          </a:ln>
        </p:spPr>
        <p:txBody>
          <a:bodyPr lIns="60959" rIns="60959" anchor="ctr"/>
          <a:lstStyle/>
          <a:p>
            <a:pPr marL="0" marR="0" lvl="0" indent="0" algn="l" defTabSz="60957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9333" b="0" i="0" u="none" strike="noStrike" kern="1200" cap="all" spc="187" normalizeH="0" baseline="0" noProof="0">
              <a:ln>
                <a:noFill/>
              </a:ln>
              <a:solidFill>
                <a:srgbClr val="FFFFFF"/>
              </a:solidFill>
              <a:effectLst/>
              <a:uLnTx/>
              <a:uFillTx/>
              <a:latin typeface="Montserrat-Bold"/>
              <a:ea typeface="Montserrat-Bold"/>
              <a:cs typeface="Montserrat-Bold"/>
              <a:sym typeface="Montserrat-Bold"/>
            </a:endParaRPr>
          </a:p>
        </p:txBody>
      </p:sp>
      <p:sp>
        <p:nvSpPr>
          <p:cNvPr id="4" name="Textplatzhalter 3"/>
          <p:cNvSpPr>
            <a:spLocks noGrp="1"/>
          </p:cNvSpPr>
          <p:nvPr>
            <p:ph type="body" sz="quarter" idx="10" hasCustomPrompt="1"/>
          </p:nvPr>
        </p:nvSpPr>
        <p:spPr>
          <a:xfrm>
            <a:off x="619434" y="4325312"/>
            <a:ext cx="4489239" cy="374192"/>
          </a:xfrm>
        </p:spPr>
        <p:txBody>
          <a:bodyPr>
            <a:normAutofit/>
          </a:bodyPr>
          <a:lstStyle>
            <a:lvl1pPr marL="0" indent="0" algn="r">
              <a:buNone/>
              <a:defRPr sz="1467" b="1">
                <a:solidFill>
                  <a:schemeClr val="tx1">
                    <a:lumMod val="75000"/>
                    <a:lumOff val="25000"/>
                  </a:schemeClr>
                </a:solidFill>
              </a:defRPr>
            </a:lvl1pPr>
          </a:lstStyle>
          <a:p>
            <a:pPr lvl="0"/>
            <a:r>
              <a:rPr lang="de-DE" dirty="0" err="1"/>
              <a:t>Your</a:t>
            </a:r>
            <a:r>
              <a:rPr lang="de-DE" dirty="0"/>
              <a:t> </a:t>
            </a:r>
            <a:r>
              <a:rPr lang="de-DE" dirty="0" err="1"/>
              <a:t>name</a:t>
            </a:r>
            <a:endParaRPr lang="de-DE" dirty="0"/>
          </a:p>
        </p:txBody>
      </p:sp>
      <p:sp>
        <p:nvSpPr>
          <p:cNvPr id="7" name="Rechteck 6"/>
          <p:cNvSpPr/>
          <p:nvPr userDrawn="1"/>
        </p:nvSpPr>
        <p:spPr>
          <a:xfrm>
            <a:off x="2305401" y="2462361"/>
            <a:ext cx="2709051" cy="18081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sp>
        <p:nvSpPr>
          <p:cNvPr id="26" name="Textplatzhalter 3"/>
          <p:cNvSpPr>
            <a:spLocks noGrp="1"/>
          </p:cNvSpPr>
          <p:nvPr>
            <p:ph type="body" sz="quarter" idx="11" hasCustomPrompt="1"/>
          </p:nvPr>
        </p:nvSpPr>
        <p:spPr>
          <a:xfrm>
            <a:off x="619432" y="4633527"/>
            <a:ext cx="4489240" cy="480221"/>
          </a:xfrm>
        </p:spPr>
        <p:txBody>
          <a:bodyPr>
            <a:normAutofit/>
          </a:bodyPr>
          <a:lstStyle>
            <a:lvl1pPr marL="0" indent="0" algn="r">
              <a:buNone/>
              <a:defRPr lang="de-DE" sz="1067" b="1" kern="1200" cap="none" baseline="0" dirty="0">
                <a:solidFill>
                  <a:schemeClr val="bg1"/>
                </a:solidFill>
                <a:latin typeface="Verdana"/>
                <a:ea typeface="+mn-ea"/>
                <a:cs typeface="Verdana"/>
              </a:defRPr>
            </a:lvl1pPr>
          </a:lstStyle>
          <a:p>
            <a:pPr lvl="0"/>
            <a:r>
              <a:rPr lang="de-DE" cap="none" baseline="0" dirty="0" err="1"/>
              <a:t>Your</a:t>
            </a:r>
            <a:r>
              <a:rPr lang="de-DE" cap="none" baseline="0" dirty="0"/>
              <a:t> </a:t>
            </a:r>
            <a:r>
              <a:rPr lang="de-DE" cap="none" baseline="0" dirty="0" err="1"/>
              <a:t>position</a:t>
            </a:r>
            <a:endParaRPr lang="de-DE" dirty="0"/>
          </a:p>
        </p:txBody>
      </p:sp>
      <p:sp>
        <p:nvSpPr>
          <p:cNvPr id="30" name="Bildplatzhalter 29"/>
          <p:cNvSpPr>
            <a:spLocks noGrp="1"/>
          </p:cNvSpPr>
          <p:nvPr>
            <p:ph type="pic" sz="quarter" idx="13" hasCustomPrompt="1"/>
          </p:nvPr>
        </p:nvSpPr>
        <p:spPr>
          <a:xfrm>
            <a:off x="2421065" y="2528580"/>
            <a:ext cx="2477729" cy="1675669"/>
          </a:xfrm>
        </p:spPr>
        <p:txBody>
          <a:bodyPr anchor="ctr"/>
          <a:lstStyle>
            <a:lvl1pPr marL="0" indent="0" algn="ctr">
              <a:buFontTx/>
              <a:buNone/>
              <a:defRPr/>
            </a:lvl1pPr>
          </a:lstStyle>
          <a:p>
            <a:r>
              <a:rPr lang="de-DE" dirty="0" err="1"/>
              <a:t>Your</a:t>
            </a:r>
            <a:r>
              <a:rPr lang="de-DE" dirty="0"/>
              <a:t> Picture!</a:t>
            </a:r>
          </a:p>
        </p:txBody>
      </p:sp>
      <p:sp>
        <p:nvSpPr>
          <p:cNvPr id="31" name="Textfeld 30"/>
          <p:cNvSpPr txBox="1"/>
          <p:nvPr userDrawn="1"/>
        </p:nvSpPr>
        <p:spPr>
          <a:xfrm>
            <a:off x="7490795" y="3019350"/>
            <a:ext cx="2686637" cy="666786"/>
          </a:xfrm>
          <a:prstGeom prst="rect">
            <a:avLst/>
          </a:prstGeom>
          <a:noFill/>
        </p:spPr>
        <p:txBody>
          <a:bodyPr wrap="square" rtlCol="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3733" b="1" i="0" u="none" strike="noStrike" kern="1200" cap="none" spc="0" normalizeH="0" baseline="0" noProof="0" dirty="0">
                <a:ln>
                  <a:noFill/>
                </a:ln>
                <a:solidFill>
                  <a:srgbClr val="E5007D"/>
                </a:solidFill>
                <a:effectLst/>
                <a:uLnTx/>
                <a:uFillTx/>
                <a:latin typeface="Verdana" panose="020B0604030504040204" pitchFamily="34" charset="0"/>
                <a:ea typeface="Verdana" panose="020B0604030504040204" pitchFamily="34" charset="0"/>
                <a:cs typeface="Verdana" panose="020B0604030504040204" pitchFamily="34" charset="0"/>
              </a:rPr>
              <a:t>JOIN US!</a:t>
            </a:r>
          </a:p>
        </p:txBody>
      </p:sp>
      <p:sp>
        <p:nvSpPr>
          <p:cNvPr id="19" name="Textplatzhalter 21"/>
          <p:cNvSpPr>
            <a:spLocks noGrp="1"/>
          </p:cNvSpPr>
          <p:nvPr>
            <p:ph type="body" sz="quarter" idx="23" hasCustomPrompt="1"/>
          </p:nvPr>
        </p:nvSpPr>
        <p:spPr>
          <a:xfrm>
            <a:off x="7490796" y="4621888"/>
            <a:ext cx="2508249" cy="448733"/>
          </a:xfrm>
          <a:prstGeom prst="rect">
            <a:avLst/>
          </a:prstGeom>
        </p:spPr>
        <p:txBody>
          <a:bodyPr vert="horz">
            <a:normAutofit/>
          </a:bodyPr>
          <a:lstStyle>
            <a:lvl1pPr marL="0" indent="0" algn="l" defTabSz="609555" rtl="0" eaLnBrk="1" latinLnBrk="0" hangingPunct="1">
              <a:buNone/>
              <a:defRPr lang="de-DE" sz="1600" i="1" kern="1200" dirty="0">
                <a:solidFill>
                  <a:schemeClr val="bg1"/>
                </a:solidFill>
                <a:latin typeface="Georgia" panose="02040502050405020303" pitchFamily="18" charset="0"/>
                <a:ea typeface="+mn-ea"/>
                <a:cs typeface="+mn-cs"/>
              </a:defRPr>
            </a:lvl1pPr>
            <a:lvl2pPr marL="609570" indent="0">
              <a:buNone/>
              <a:defRPr sz="1000"/>
            </a:lvl2pPr>
            <a:lvl3pPr marL="1219140" indent="0">
              <a:buNone/>
              <a:defRPr sz="1000"/>
            </a:lvl3pPr>
            <a:lvl4pPr marL="1828709" indent="0">
              <a:buNone/>
              <a:defRPr sz="1000"/>
            </a:lvl4pPr>
            <a:lvl5pPr marL="2438278" indent="0">
              <a:buNone/>
              <a:defRPr sz="1000"/>
            </a:lvl5pPr>
          </a:lstStyle>
          <a:p>
            <a:r>
              <a:rPr lang="de-DE" dirty="0"/>
              <a:t>@</a:t>
            </a:r>
            <a:r>
              <a:rPr lang="de-DE" dirty="0" err="1"/>
              <a:t>yourtwitteraccount</a:t>
            </a:r>
            <a:endParaRPr lang="de-DE" dirty="0"/>
          </a:p>
        </p:txBody>
      </p:sp>
      <p:sp>
        <p:nvSpPr>
          <p:cNvPr id="25" name="Textplatzhalter 21"/>
          <p:cNvSpPr>
            <a:spLocks noGrp="1"/>
          </p:cNvSpPr>
          <p:nvPr>
            <p:ph type="body" sz="quarter" idx="25" hasCustomPrompt="1"/>
          </p:nvPr>
        </p:nvSpPr>
        <p:spPr>
          <a:xfrm>
            <a:off x="620186" y="5584431"/>
            <a:ext cx="4492591" cy="281005"/>
          </a:xfrm>
          <a:prstGeom prst="rect">
            <a:avLst/>
          </a:prstGeom>
        </p:spPr>
        <p:txBody>
          <a:bodyPr vert="horz">
            <a:noAutofit/>
          </a:bodyPr>
          <a:lstStyle>
            <a:lvl1pPr marL="0" marR="0" indent="0" algn="r" defTabSz="609555" rtl="0" eaLnBrk="1" fontAlgn="auto" latinLnBrk="0" hangingPunct="1">
              <a:lnSpc>
                <a:spcPct val="100000"/>
              </a:lnSpc>
              <a:spcBef>
                <a:spcPct val="20000"/>
              </a:spcBef>
              <a:spcAft>
                <a:spcPts val="0"/>
              </a:spcAft>
              <a:buClrTx/>
              <a:buSzTx/>
              <a:buFont typeface="Arial"/>
              <a:buNone/>
              <a:tabLst/>
              <a:defRPr lang="de-DE"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609570" indent="0">
              <a:buNone/>
              <a:defRPr sz="1000"/>
            </a:lvl2pPr>
            <a:lvl3pPr marL="1219140" indent="0">
              <a:buNone/>
              <a:defRPr sz="1000"/>
            </a:lvl3pPr>
            <a:lvl4pPr marL="1828709" indent="0">
              <a:buNone/>
              <a:defRPr sz="1000"/>
            </a:lvl4pPr>
            <a:lvl5pPr marL="2438278" indent="0">
              <a:buNone/>
              <a:defRPr sz="1000"/>
            </a:lvl5pPr>
          </a:lstStyle>
          <a:p>
            <a:pPr marL="0" marR="0" lvl="0" indent="0" algn="r" defTabSz="609555" rtl="0" eaLnBrk="1" fontAlgn="auto" latinLnBrk="0" hangingPunct="1">
              <a:lnSpc>
                <a:spcPct val="100000"/>
              </a:lnSpc>
              <a:spcBef>
                <a:spcPct val="20000"/>
              </a:spcBef>
              <a:spcAft>
                <a:spcPts val="0"/>
              </a:spcAft>
              <a:buClrTx/>
              <a:buSzTx/>
              <a:buFont typeface="Arial"/>
              <a:buNone/>
              <a:tabLst/>
              <a:defRPr/>
            </a:pPr>
            <a:r>
              <a:rPr lang="de-DE" dirty="0" err="1"/>
              <a:t>Your</a:t>
            </a:r>
            <a:r>
              <a:rPr lang="de-DE" dirty="0"/>
              <a:t> LinkedIn </a:t>
            </a:r>
            <a:r>
              <a:rPr lang="de-DE" dirty="0" err="1"/>
              <a:t>account</a:t>
            </a:r>
            <a:endParaRPr lang="de-DE" dirty="0"/>
          </a:p>
          <a:p>
            <a:endParaRPr lang="de-DE" dirty="0"/>
          </a:p>
        </p:txBody>
      </p:sp>
      <p:sp>
        <p:nvSpPr>
          <p:cNvPr id="17" name="Textfeld 16"/>
          <p:cNvSpPr txBox="1"/>
          <p:nvPr userDrawn="1"/>
        </p:nvSpPr>
        <p:spPr>
          <a:xfrm>
            <a:off x="615330" y="6158855"/>
            <a:ext cx="4493343" cy="420756"/>
          </a:xfrm>
          <a:prstGeom prst="rect">
            <a:avLst/>
          </a:prstGeom>
          <a:noFill/>
        </p:spPr>
        <p:txBody>
          <a:bodyPr wrap="square" rtlCol="0">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Joseph-von-Fraunhofer-Str. 2-4</a:t>
            </a:r>
          </a:p>
          <a:p>
            <a:pPr marL="0" marR="0" lvl="0" indent="0" algn="r" defTabSz="609570"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44227 Dortmund | </a:t>
            </a:r>
            <a:r>
              <a:rPr kumimoji="0" lang="en-GB" sz="1067"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ERMANY</a:t>
            </a:r>
          </a:p>
        </p:txBody>
      </p:sp>
      <p:sp>
        <p:nvSpPr>
          <p:cNvPr id="29" name="Textplatzhalter 2"/>
          <p:cNvSpPr>
            <a:spLocks noGrp="1"/>
          </p:cNvSpPr>
          <p:nvPr>
            <p:ph type="body" sz="quarter" idx="26" hasCustomPrompt="1"/>
          </p:nvPr>
        </p:nvSpPr>
        <p:spPr>
          <a:xfrm>
            <a:off x="620186" y="5054642"/>
            <a:ext cx="4492591" cy="327388"/>
          </a:xfrm>
        </p:spPr>
        <p:txBody>
          <a:bodyPr>
            <a:noAutofit/>
          </a:bodyPr>
          <a:lstStyle>
            <a:lvl1pPr marL="0" indent="0" algn="r">
              <a:buNone/>
              <a:defRPr lang="en-GB" sz="1067" b="0" kern="1200" cap="none" baseline="0" dirty="0" smtClean="0">
                <a:solidFill>
                  <a:schemeClr val="bg1"/>
                </a:solidFill>
                <a:latin typeface="Verdana"/>
                <a:ea typeface="+mn-ea"/>
                <a:cs typeface="Verdana"/>
              </a:defRPr>
            </a:lvl1pPr>
            <a:lvl5pPr marL="2438278" indent="0" algn="r">
              <a:buNone/>
              <a:defRPr sz="1200" i="0">
                <a:solidFill>
                  <a:schemeClr val="accent4"/>
                </a:solidFill>
                <a:latin typeface="Verdana" panose="020B0604030504040204" pitchFamily="34" charset="0"/>
                <a:ea typeface="Verdana" panose="020B0604030504040204" pitchFamily="34" charset="0"/>
                <a:cs typeface="Verdana" panose="020B0604030504040204" pitchFamily="34" charset="0"/>
              </a:defRPr>
            </a:lvl5pPr>
          </a:lstStyle>
          <a:p>
            <a:pPr lvl="0" algn="r"/>
            <a:r>
              <a:rPr lang="en-GB"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Your </a:t>
            </a:r>
            <a:r>
              <a:rPr lang="en-GB" sz="1067" i="0" kern="1200" baseline="0" dirty="0" err="1">
                <a:solidFill>
                  <a:schemeClr val="bg1"/>
                </a:solidFill>
                <a:latin typeface="Verdana" panose="020B0604030504040204" pitchFamily="34" charset="0"/>
                <a:ea typeface="Verdana" panose="020B0604030504040204" pitchFamily="34" charset="0"/>
                <a:cs typeface="Verdana" panose="020B0604030504040204" pitchFamily="34" charset="0"/>
              </a:rPr>
              <a:t>phonenumber</a:t>
            </a:r>
            <a:endParaRPr lang="en-GB"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r"/>
            <a:endParaRPr lang="de-DE"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3" name="Textfeld 32"/>
          <p:cNvSpPr txBox="1"/>
          <p:nvPr userDrawn="1"/>
        </p:nvSpPr>
        <p:spPr>
          <a:xfrm>
            <a:off x="611226" y="5948867"/>
            <a:ext cx="4493343" cy="256545"/>
          </a:xfrm>
          <a:prstGeom prst="rect">
            <a:avLst/>
          </a:prstGeom>
          <a:noFill/>
        </p:spPr>
        <p:txBody>
          <a:bodyPr wrap="square" rtlCol="0">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de-DE" sz="1067"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nternational Data Spaces </a:t>
            </a:r>
            <a:r>
              <a:rPr kumimoji="0" lang="de-DE" sz="1067"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ssociation</a:t>
            </a:r>
            <a:endParaRPr kumimoji="0" lang="en-GB" sz="1067"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4" name="Textplatzhalter 2"/>
          <p:cNvSpPr>
            <a:spLocks noGrp="1"/>
          </p:cNvSpPr>
          <p:nvPr>
            <p:ph type="body" sz="quarter" idx="27" hasCustomPrompt="1"/>
          </p:nvPr>
        </p:nvSpPr>
        <p:spPr>
          <a:xfrm>
            <a:off x="618836" y="5324263"/>
            <a:ext cx="4492269" cy="327388"/>
          </a:xfrm>
        </p:spPr>
        <p:txBody>
          <a:bodyPr>
            <a:noAutofit/>
          </a:bodyPr>
          <a:lstStyle>
            <a:lvl1pPr marL="0" indent="0" algn="r">
              <a:buNone/>
              <a:defRPr lang="en-GB" sz="1067" b="0" i="0" kern="1200" cap="none"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5pPr marL="2438278" indent="0" algn="r">
              <a:buNone/>
              <a:defRPr sz="1200" i="0">
                <a:solidFill>
                  <a:schemeClr val="accent4"/>
                </a:solidFill>
                <a:latin typeface="Verdana" panose="020B0604030504040204" pitchFamily="34" charset="0"/>
                <a:ea typeface="Verdana" panose="020B0604030504040204" pitchFamily="34" charset="0"/>
                <a:cs typeface="Verdana" panose="020B0604030504040204" pitchFamily="34" charset="0"/>
              </a:defRPr>
            </a:lvl5pPr>
          </a:lstStyle>
          <a:p>
            <a:pPr lvl="0" algn="r"/>
            <a:r>
              <a:rPr lang="en-GB"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Your email address</a:t>
            </a:r>
            <a:r>
              <a:rPr lang="de-DE"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 </a:t>
            </a:r>
          </a:p>
          <a:p>
            <a:pPr algn="r"/>
            <a:endParaRPr lang="de-DE" sz="1067"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Textfeld 21"/>
          <p:cNvSpPr txBox="1"/>
          <p:nvPr userDrawn="1"/>
        </p:nvSpPr>
        <p:spPr>
          <a:xfrm>
            <a:off x="6859625" y="5883437"/>
            <a:ext cx="369803" cy="707886"/>
          </a:xfrm>
          <a:prstGeom prst="rect">
            <a:avLst/>
          </a:prstGeom>
          <a:noFill/>
        </p:spPr>
        <p:txBody>
          <a:bodyPr wrap="square" rtlCol="0" anchor="ctr">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Georgia" panose="02040502050405020303" pitchFamily="18" charset="0"/>
                <a:ea typeface="Verdana" panose="020B0604030504040204" pitchFamily="34" charset="0"/>
                <a:cs typeface="Verdana" panose="020B0604030504040204" pitchFamily="34" charset="0"/>
              </a:rPr>
              <a:t>@</a:t>
            </a:r>
          </a:p>
        </p:txBody>
      </p:sp>
    </p:spTree>
    <p:extLst>
      <p:ext uri="{BB962C8B-B14F-4D97-AF65-F5344CB8AC3E}">
        <p14:creationId xmlns:p14="http://schemas.microsoft.com/office/powerpoint/2010/main" val="1451302366"/>
      </p:ext>
    </p:extLst>
  </p:cSld>
  <p:clrMapOvr>
    <a:masterClrMapping/>
  </p:clrMapOvr>
  <p:extLst>
    <p:ext uri="{DCECCB84-F9BA-43D5-87BE-67443E8EF086}">
      <p15:sldGuideLst xmlns:p15="http://schemas.microsoft.com/office/powerpoint/2012/main">
        <p15:guide id="1" orient="horz" pos="3072">
          <p15:clr>
            <a:srgbClr val="FBAE40"/>
          </p15:clr>
        </p15:guide>
        <p15:guide id="2" pos="288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Bildplatzhalter 5"/>
          <p:cNvSpPr>
            <a:spLocks noGrp="1"/>
          </p:cNvSpPr>
          <p:nvPr>
            <p:ph type="pic" sz="quarter" idx="18"/>
          </p:nvPr>
        </p:nvSpPr>
        <p:spPr>
          <a:xfrm>
            <a:off x="0" y="0"/>
            <a:ext cx="12192000" cy="6858000"/>
          </a:xfrm>
        </p:spPr>
        <p:txBody>
          <a:bodyPr/>
          <a:lstStyle/>
          <a:p>
            <a:endParaRPr lang="de-DE" dirty="0"/>
          </a:p>
        </p:txBody>
      </p:sp>
      <p:sp>
        <p:nvSpPr>
          <p:cNvPr id="4" name="Titel 1"/>
          <p:cNvSpPr>
            <a:spLocks noGrp="1"/>
          </p:cNvSpPr>
          <p:nvPr>
            <p:ph type="title" hasCustomPrompt="1"/>
          </p:nvPr>
        </p:nvSpPr>
        <p:spPr>
          <a:xfrm>
            <a:off x="790960" y="3025797"/>
            <a:ext cx="5877697" cy="795867"/>
          </a:xfrm>
          <a:prstGeom prst="rect">
            <a:avLst/>
          </a:prstGeom>
        </p:spPr>
        <p:txBody>
          <a:bodyPr anchor="b"/>
          <a:lstStyle>
            <a:lvl1pPr>
              <a:lnSpc>
                <a:spcPct val="90000"/>
              </a:lnSpc>
              <a:defRPr sz="2400" b="1" cap="all" baseline="0">
                <a:solidFill>
                  <a:srgbClr val="0BA2E3"/>
                </a:solidFill>
              </a:defRPr>
            </a:lvl1pPr>
          </a:lstStyle>
          <a:p>
            <a:r>
              <a:rPr lang="de-DE" dirty="0"/>
              <a:t>Headline</a:t>
            </a:r>
          </a:p>
        </p:txBody>
      </p:sp>
      <p:sp>
        <p:nvSpPr>
          <p:cNvPr id="5" name="Textplatzhalter 4"/>
          <p:cNvSpPr>
            <a:spLocks noGrp="1"/>
          </p:cNvSpPr>
          <p:nvPr>
            <p:ph type="body" sz="quarter" idx="17" hasCustomPrompt="1"/>
          </p:nvPr>
        </p:nvSpPr>
        <p:spPr>
          <a:xfrm>
            <a:off x="785083" y="3821665"/>
            <a:ext cx="5883572" cy="795865"/>
          </a:xfrm>
          <a:prstGeom prst="rect">
            <a:avLst/>
          </a:prstGeom>
        </p:spPr>
        <p:txBody>
          <a:bodyPr vert="horz"/>
          <a:lstStyle>
            <a:lvl1pPr marL="0" indent="0">
              <a:lnSpc>
                <a:spcPct val="60000"/>
              </a:lnSpc>
              <a:buNone/>
              <a:defRPr sz="2400" cap="all">
                <a:solidFill>
                  <a:srgbClr val="0BA2E3"/>
                </a:solidFill>
              </a:defRPr>
            </a:lvl1pPr>
          </a:lstStyle>
          <a:p>
            <a:r>
              <a:rPr lang="de-DE" dirty="0"/>
              <a:t>Design </a:t>
            </a:r>
            <a:r>
              <a:rPr lang="de-DE" dirty="0" err="1"/>
              <a:t>for</a:t>
            </a:r>
            <a:r>
              <a:rPr lang="de-DE" dirty="0"/>
              <a:t> </a:t>
            </a:r>
            <a:r>
              <a:rPr lang="de-DE" dirty="0" err="1"/>
              <a:t>areal</a:t>
            </a:r>
            <a:r>
              <a:rPr lang="de-DE" dirty="0"/>
              <a:t> </a:t>
            </a:r>
            <a:r>
              <a:rPr lang="de-DE" dirty="0" err="1"/>
              <a:t>images</a:t>
            </a:r>
            <a:endParaRPr lang="de-DE" dirty="0"/>
          </a:p>
        </p:txBody>
      </p:sp>
      <p:sp>
        <p:nvSpPr>
          <p:cNvPr id="10" name="Textplatzhalter 2"/>
          <p:cNvSpPr>
            <a:spLocks noGrp="1"/>
          </p:cNvSpPr>
          <p:nvPr>
            <p:ph type="body" idx="1" hasCustomPrompt="1"/>
          </p:nvPr>
        </p:nvSpPr>
        <p:spPr>
          <a:xfrm>
            <a:off x="783267" y="4224215"/>
            <a:ext cx="5885388" cy="1982623"/>
          </a:xfrm>
          <a:prstGeom prst="rect">
            <a:avLst/>
          </a:prstGeom>
        </p:spPr>
        <p:txBody>
          <a:bodyPr anchor="t">
            <a:normAutofit/>
          </a:bodyPr>
          <a:lstStyle>
            <a:lvl1pPr marL="0" marR="0" indent="0" algn="l" defTabSz="609570" rtl="0" eaLnBrk="1" fontAlgn="auto" latinLnBrk="0" hangingPunct="1">
              <a:lnSpc>
                <a:spcPct val="100000"/>
              </a:lnSpc>
              <a:spcBef>
                <a:spcPct val="20000"/>
              </a:spcBef>
              <a:spcAft>
                <a:spcPts val="0"/>
              </a:spcAft>
              <a:buClrTx/>
              <a:buSzTx/>
              <a:buFont typeface="Arial" panose="020B0604020202020204" pitchFamily="34" charset="0"/>
              <a:buNone/>
              <a:tabLst/>
              <a:defRPr sz="1667" baseline="0">
                <a:solidFill>
                  <a:schemeClr val="tx1"/>
                </a:solidFill>
              </a:defRPr>
            </a:lvl1pPr>
            <a:lvl2pPr marL="478343" indent="-228589">
              <a:buFont typeface="Symbol" panose="05050102010706020507" pitchFamily="18" charset="2"/>
              <a:buChar char="-"/>
              <a:defRPr sz="1467" baseline="0">
                <a:solidFill>
                  <a:schemeClr val="tx1"/>
                </a:solidFill>
              </a:defRPr>
            </a:lvl2pPr>
            <a:lvl3pPr marL="598988" indent="-110061">
              <a:buFont typeface="Arial" panose="020B0604020202020204" pitchFamily="34" charset="0"/>
              <a:buChar char="•"/>
              <a:defRPr sz="933">
                <a:solidFill>
                  <a:schemeClr val="tx1"/>
                </a:solidFill>
              </a:defRPr>
            </a:lvl3pPr>
            <a:lvl4pPr marL="833926" indent="-256104">
              <a:buFont typeface="Symbol" panose="05050102010706020507" pitchFamily="18" charset="2"/>
              <a:buChar char="-"/>
              <a:tabLst>
                <a:tab pos="833926" algn="l"/>
                <a:tab pos="1077330" algn="l"/>
              </a:tabLst>
              <a:defRPr sz="1600" baseline="0">
                <a:solidFill>
                  <a:schemeClr val="tx1"/>
                </a:solidFill>
              </a:defRPr>
            </a:lvl4pPr>
            <a:lvl5pPr marL="1077330" indent="-262453">
              <a:buFont typeface="Georgia" panose="02040502050405020303" pitchFamily="18" charset="0"/>
              <a:buChar char="»"/>
              <a:defRPr sz="1600">
                <a:solidFill>
                  <a:schemeClr val="tx1"/>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marL="0" indent="0">
              <a:lnSpc>
                <a:spcPct val="100000"/>
              </a:lnSpc>
              <a:buNone/>
            </a:pPr>
            <a:r>
              <a:rPr lang="en-US" dirty="0">
                <a:solidFill>
                  <a:srgbClr val="000000"/>
                </a:solidFill>
              </a:rPr>
              <a:t>The text fields fit into the image with your background color so that that the images are shown to their best advantage. Always pay attention to the contrast between image and text. Alternative: White as background color of the text field. The positioning of the text is free, supporting the message and effect of the image.</a:t>
            </a:r>
          </a:p>
        </p:txBody>
      </p:sp>
      <p:grpSp>
        <p:nvGrpSpPr>
          <p:cNvPr id="13" name="Gruppieren 12"/>
          <p:cNvGrpSpPr/>
          <p:nvPr userDrawn="1"/>
        </p:nvGrpSpPr>
        <p:grpSpPr>
          <a:xfrm>
            <a:off x="9732134" y="0"/>
            <a:ext cx="2091868" cy="1124197"/>
            <a:chOff x="7299099" y="0"/>
            <a:chExt cx="1568901" cy="843148"/>
          </a:xfrm>
        </p:grpSpPr>
        <p:sp>
          <p:nvSpPr>
            <p:cNvPr id="11" name="Rechteck 10"/>
            <p:cNvSpPr/>
            <p:nvPr userDrawn="1"/>
          </p:nvSpPr>
          <p:spPr>
            <a:xfrm>
              <a:off x="7321550" y="0"/>
              <a:ext cx="1519629" cy="84314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pic>
          <p:nvPicPr>
            <p:cNvPr id="12" name="Grafik 11"/>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299099" y="154696"/>
              <a:ext cx="1568901" cy="569971"/>
            </a:xfrm>
            <a:prstGeom prst="rect">
              <a:avLst/>
            </a:prstGeom>
          </p:spPr>
        </p:pic>
      </p:grpSp>
    </p:spTree>
    <p:extLst>
      <p:ext uri="{BB962C8B-B14F-4D97-AF65-F5344CB8AC3E}">
        <p14:creationId xmlns:p14="http://schemas.microsoft.com/office/powerpoint/2010/main" val="3641381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mplet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3349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Ganz leer">
  <p:cSld name="Ganz leer">
    <p:spTree>
      <p:nvGrpSpPr>
        <p:cNvPr id="1" name="Shape 11"/>
        <p:cNvGrpSpPr/>
        <p:nvPr/>
      </p:nvGrpSpPr>
      <p:grpSpPr>
        <a:xfrm>
          <a:off x="0" y="0"/>
          <a:ext cx="0" cy="0"/>
          <a:chOff x="0" y="0"/>
          <a:chExt cx="0" cy="0"/>
        </a:xfrm>
      </p:grpSpPr>
      <p:sp>
        <p:nvSpPr>
          <p:cNvPr id="13" name="Google Shape;13;p2"/>
          <p:cNvSpPr txBox="1"/>
          <p:nvPr/>
        </p:nvSpPr>
        <p:spPr>
          <a:xfrm>
            <a:off x="0" y="-1708441"/>
            <a:ext cx="12192000" cy="1395253"/>
          </a:xfrm>
          <a:prstGeom prst="rect">
            <a:avLst/>
          </a:prstGeom>
          <a:noFill/>
          <a:ln>
            <a:noFill/>
          </a:ln>
        </p:spPr>
        <p:txBody>
          <a:bodyPr spcFirstLastPara="1" wrap="square" lIns="121900" tIns="60933" rIns="121900" bIns="60933" anchor="t" anchorCtr="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prstClr val="black"/>
                </a:solidFill>
                <a:effectLst/>
                <a:uLnTx/>
                <a:uFillTx/>
                <a:latin typeface="Georgia"/>
                <a:ea typeface="Georgia"/>
                <a:cs typeface="Georgia"/>
                <a:sym typeface="Georgia"/>
              </a:rPr>
              <a:t>Formatfüllendes Bild als Folien-Hintergrund einfügen:</a:t>
            </a:r>
            <a:endParaRPr kumimoji="0" sz="2400" b="0"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sz="1067" b="1" i="0" u="none" strike="noStrike" kern="1200" cap="none" spc="0" normalizeH="0" baseline="0" noProof="0">
              <a:ln>
                <a:noFill/>
              </a:ln>
              <a:solidFill>
                <a:prstClr val="black"/>
              </a:solidFill>
              <a:effectLst/>
              <a:uLnTx/>
              <a:uFillTx/>
              <a:latin typeface="Georgia"/>
              <a:ea typeface="Georgia"/>
              <a:cs typeface="Georgia"/>
              <a:sym typeface="Georgia"/>
            </a:endParaRPr>
          </a:p>
          <a:p>
            <a:pPr marL="0" marR="0" lvl="0" indent="0" algn="ctr" defTabSz="609585" rtl="0" eaLnBrk="1" fontAlgn="auto" latinLnBrk="0" hangingPunct="1">
              <a:lnSpc>
                <a:spcPct val="100000"/>
              </a:lnSpc>
              <a:spcBef>
                <a:spcPts val="0"/>
              </a:spcBef>
              <a:spcAft>
                <a:spcPts val="0"/>
              </a:spcAft>
              <a:buClr>
                <a:prstClr val="black"/>
              </a:buClr>
              <a:buSzPts val="1800"/>
              <a:buFont typeface="Georgia"/>
              <a:buNone/>
              <a:tabLst/>
              <a:defRPr/>
            </a:pPr>
            <a:r>
              <a:rPr kumimoji="0" lang="de-DE" sz="2400" b="0" i="0" u="none" strike="noStrike" kern="1200" cap="none" spc="0" normalizeH="0" baseline="0" noProof="0">
                <a:ln>
                  <a:noFill/>
                </a:ln>
                <a:solidFill>
                  <a:prstClr val="black"/>
                </a:solidFill>
                <a:effectLst/>
                <a:uLnTx/>
                <a:uFillTx/>
                <a:latin typeface="Georgia"/>
                <a:ea typeface="Georgia"/>
                <a:cs typeface="Georgia"/>
                <a:sym typeface="Georgia"/>
              </a:rPr>
              <a:t>Rechtsklick auf Folie &gt; Hintergrund formatieren &gt; Bild o. Struktur &gt; Bild auswählen</a:t>
            </a:r>
            <a:endParaRPr kumimoji="0" sz="2400" b="0" i="0" u="none" strike="noStrike" kern="1200" cap="none" spc="0" normalizeH="0" baseline="0" noProof="0">
              <a:ln>
                <a:noFill/>
              </a:ln>
              <a:solidFill>
                <a:prstClr val="black"/>
              </a:solidFill>
              <a:effectLst/>
              <a:uLnTx/>
              <a:uFillTx/>
              <a:latin typeface="Georgia"/>
              <a:ea typeface="Georgia"/>
              <a:cs typeface="Georgia"/>
              <a:sym typeface="Georgia"/>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2400" b="0" i="1" u="none" strike="noStrike" kern="1200" cap="none" spc="0" normalizeH="0" baseline="0" noProof="0">
                <a:ln>
                  <a:noFill/>
                </a:ln>
                <a:solidFill>
                  <a:prstClr val="black"/>
                </a:solidFill>
                <a:effectLst/>
                <a:uLnTx/>
                <a:uFillTx/>
                <a:latin typeface="Georgia"/>
                <a:ea typeface="Georgia"/>
                <a:cs typeface="Georgia"/>
                <a:sym typeface="Georgia"/>
              </a:rPr>
              <a:t>Die Bilder müsse ein Seitenverhältnis von 16:9 haben!</a:t>
            </a: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 name="Rechteck 2"/>
          <p:cNvSpPr/>
          <p:nvPr userDrawn="1"/>
        </p:nvSpPr>
        <p:spPr>
          <a:xfrm>
            <a:off x="0" y="-21168"/>
            <a:ext cx="12192000" cy="68791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7819940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heme Headline_with Tex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405909" y="2286001"/>
            <a:ext cx="11244224" cy="3545447"/>
          </a:xfrm>
          <a:prstGeom prst="rect">
            <a:avLst/>
          </a:prstGeom>
        </p:spPr>
        <p:txBody>
          <a:bodyPr anchor="t">
            <a:normAutofit/>
          </a:bodyPr>
          <a:lstStyle>
            <a:lvl1pPr marL="239178" marR="0" indent="-239178" algn="l" defTabSz="609585"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55" indent="-228594">
              <a:buFont typeface="Symbol" panose="05050102010706020507" pitchFamily="18" charset="2"/>
              <a:buChar char="-"/>
              <a:defRPr sz="1600" baseline="0">
                <a:solidFill>
                  <a:schemeClr val="tx1"/>
                </a:solidFill>
              </a:defRPr>
            </a:lvl2pPr>
            <a:lvl3pPr marL="599002" indent="-110064">
              <a:buFont typeface="Arial" panose="020B0604020202020204" pitchFamily="34" charset="0"/>
              <a:buChar char="•"/>
              <a:defRPr sz="1067">
                <a:solidFill>
                  <a:schemeClr val="tx1"/>
                </a:solidFill>
              </a:defRPr>
            </a:lvl3pPr>
            <a:lvl4pPr marL="833946" indent="-256111">
              <a:buFont typeface="Symbol" panose="05050102010706020507" pitchFamily="18" charset="2"/>
              <a:buChar char="-"/>
              <a:tabLst>
                <a:tab pos="833946" algn="l"/>
                <a:tab pos="1077357" algn="l"/>
              </a:tabLst>
              <a:defRPr sz="1867" baseline="0">
                <a:solidFill>
                  <a:schemeClr val="tx1"/>
                </a:solidFill>
              </a:defRPr>
            </a:lvl4pPr>
            <a:lvl5pPr marL="1077357" indent="-262460">
              <a:buFont typeface="Georgia" panose="02040502050405020303" pitchFamily="18" charset="0"/>
              <a:buChar char="»"/>
              <a:defRPr sz="1867">
                <a:solidFill>
                  <a:schemeClr val="tx1"/>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85" rtl="0" eaLnBrk="1" fontAlgn="auto" latinLnBrk="0" hangingPunct="1">
              <a:lnSpc>
                <a:spcPct val="110000"/>
              </a:lnSpc>
              <a:spcBef>
                <a:spcPct val="20000"/>
              </a:spcBef>
              <a:spcAft>
                <a:spcPts val="0"/>
              </a:spcAft>
              <a:buClrTx/>
              <a:buSzTx/>
              <a:tabLst/>
              <a:defRPr/>
            </a:pPr>
            <a:endParaRPr lang="de-DE" dirty="0"/>
          </a:p>
        </p:txBody>
      </p:sp>
      <p:sp>
        <p:nvSpPr>
          <p:cNvPr id="22"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3" name="Textplatzhalter 4"/>
          <p:cNvSpPr>
            <a:spLocks noGrp="1"/>
          </p:cNvSpPr>
          <p:nvPr>
            <p:ph type="body" sz="quarter" idx="17"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sp>
        <p:nvSpPr>
          <p:cNvPr id="14" name="Textfeld 13"/>
          <p:cNvSpPr txBox="1"/>
          <p:nvPr userDrawn="1"/>
        </p:nvSpPr>
        <p:spPr>
          <a:xfrm>
            <a:off x="406385" y="6310788"/>
            <a:ext cx="2395808" cy="246221"/>
          </a:xfrm>
          <a:prstGeom prst="rect">
            <a:avLst/>
          </a:prstGeom>
          <a:noFill/>
        </p:spPr>
        <p:txBody>
          <a:bodyPr wrap="square" rtlCol="0">
            <a:spAutoFit/>
          </a:bodyPr>
          <a:lstStyle/>
          <a:p>
            <a:r>
              <a:rPr lang="de-DE" sz="1000" dirty="0">
                <a:solidFill>
                  <a:srgbClr val="0BA2E3"/>
                </a:solidFill>
                <a:latin typeface="Verdana"/>
                <a:cs typeface="Verdana"/>
              </a:rPr>
              <a:t>www.internationaldataspaces.org</a:t>
            </a:r>
          </a:p>
        </p:txBody>
      </p:sp>
      <p:sp>
        <p:nvSpPr>
          <p:cNvPr id="15" name="Foliennummernplatzhalter 5"/>
          <p:cNvSpPr txBox="1">
            <a:spLocks/>
          </p:cNvSpPr>
          <p:nvPr userDrawn="1"/>
        </p:nvSpPr>
        <p:spPr>
          <a:xfrm>
            <a:off x="10351212" y="636058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schemeClr val="tx1"/>
                </a:solidFill>
              </a:rPr>
              <a:t>//</a:t>
            </a:r>
            <a:r>
              <a:rPr lang="de-DE" sz="1067" dirty="0"/>
              <a:t> </a:t>
            </a:r>
            <a:fld id="{DA28A8A7-1DE1-8B42-B22F-FAE404325B08}" type="slidenum">
              <a:rPr lang="de-DE" sz="1067" smtClean="0">
                <a:solidFill>
                  <a:srgbClr val="0BA2E3"/>
                </a:solidFill>
              </a:rPr>
              <a:t>‹#›</a:t>
            </a:fld>
            <a:endParaRPr lang="de-DE" sz="1067" dirty="0">
              <a:solidFill>
                <a:srgbClr val="0BA2E3"/>
              </a:solidFill>
            </a:endParaRPr>
          </a:p>
        </p:txBody>
      </p:sp>
      <p:pic>
        <p:nvPicPr>
          <p:cNvPr id="8" name="Picture 8">
            <a:extLst>
              <a:ext uri="{FF2B5EF4-FFF2-40B4-BE49-F238E27FC236}">
                <a16:creationId xmlns:a16="http://schemas.microsoft.com/office/drawing/2014/main" id="{22C215F7-EC73-4A7E-979A-1AD4009FA76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911" r="5495"/>
          <a:stretch/>
        </p:blipFill>
        <p:spPr>
          <a:xfrm>
            <a:off x="9053026" y="-12701"/>
            <a:ext cx="2622420" cy="1086913"/>
          </a:xfrm>
          <a:prstGeom prst="rect">
            <a:avLst/>
          </a:prstGeom>
        </p:spPr>
      </p:pic>
    </p:spTree>
    <p:extLst>
      <p:ext uri="{BB962C8B-B14F-4D97-AF65-F5344CB8AC3E}">
        <p14:creationId xmlns:p14="http://schemas.microsoft.com/office/powerpoint/2010/main" val="210607712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29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heme Headline_with Tex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405909" y="2286001"/>
            <a:ext cx="11244224" cy="3545447"/>
          </a:xfrm>
          <a:prstGeom prst="rect">
            <a:avLst/>
          </a:prstGeom>
        </p:spPr>
        <p:txBody>
          <a:bodyPr anchor="t">
            <a:normAutofit/>
          </a:bodyPr>
          <a:lstStyle>
            <a:lvl1pPr marL="239178" marR="0" indent="-239178" algn="l" defTabSz="609585"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55" indent="-228594">
              <a:buFont typeface="Symbol" panose="05050102010706020507" pitchFamily="18" charset="2"/>
              <a:buChar char="-"/>
              <a:defRPr sz="1600" baseline="0">
                <a:solidFill>
                  <a:schemeClr val="tx1"/>
                </a:solidFill>
              </a:defRPr>
            </a:lvl2pPr>
            <a:lvl3pPr marL="599002" indent="-110064">
              <a:buFont typeface="Arial" panose="020B0604020202020204" pitchFamily="34" charset="0"/>
              <a:buChar char="•"/>
              <a:defRPr sz="1067">
                <a:solidFill>
                  <a:schemeClr val="tx1"/>
                </a:solidFill>
              </a:defRPr>
            </a:lvl3pPr>
            <a:lvl4pPr marL="833946" indent="-256111">
              <a:buFont typeface="Symbol" panose="05050102010706020507" pitchFamily="18" charset="2"/>
              <a:buChar char="-"/>
              <a:tabLst>
                <a:tab pos="833946" algn="l"/>
                <a:tab pos="1077357" algn="l"/>
              </a:tabLst>
              <a:defRPr sz="1867" baseline="0">
                <a:solidFill>
                  <a:schemeClr val="tx1"/>
                </a:solidFill>
              </a:defRPr>
            </a:lvl4pPr>
            <a:lvl5pPr marL="1077357" indent="-262460">
              <a:buFont typeface="Georgia" panose="02040502050405020303" pitchFamily="18" charset="0"/>
              <a:buChar char="»"/>
              <a:defRPr sz="1867">
                <a:solidFill>
                  <a:schemeClr val="tx1"/>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85" rtl="0" eaLnBrk="1" fontAlgn="auto" latinLnBrk="0" hangingPunct="1">
              <a:lnSpc>
                <a:spcPct val="110000"/>
              </a:lnSpc>
              <a:spcBef>
                <a:spcPct val="20000"/>
              </a:spcBef>
              <a:spcAft>
                <a:spcPts val="0"/>
              </a:spcAft>
              <a:buClrTx/>
              <a:buSzTx/>
              <a:tabLst/>
              <a:defRPr/>
            </a:pPr>
            <a:endParaRPr lang="de-DE" dirty="0"/>
          </a:p>
        </p:txBody>
      </p:sp>
      <p:sp>
        <p:nvSpPr>
          <p:cNvPr id="22"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3" name="Textplatzhalter 4"/>
          <p:cNvSpPr>
            <a:spLocks noGrp="1"/>
          </p:cNvSpPr>
          <p:nvPr>
            <p:ph type="body" sz="quarter" idx="17"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sp>
        <p:nvSpPr>
          <p:cNvPr id="14" name="Textfeld 13"/>
          <p:cNvSpPr txBox="1"/>
          <p:nvPr userDrawn="1"/>
        </p:nvSpPr>
        <p:spPr>
          <a:xfrm>
            <a:off x="406385" y="6310788"/>
            <a:ext cx="2395808" cy="246221"/>
          </a:xfrm>
          <a:prstGeom prst="rect">
            <a:avLst/>
          </a:prstGeom>
          <a:noFill/>
        </p:spPr>
        <p:txBody>
          <a:bodyPr wrap="square" rtlCol="0">
            <a:spAutoFit/>
          </a:bodyPr>
          <a:lstStyle/>
          <a:p>
            <a:r>
              <a:rPr lang="de-DE" sz="1000" dirty="0">
                <a:solidFill>
                  <a:srgbClr val="0BA2E3"/>
                </a:solidFill>
                <a:latin typeface="Verdana"/>
                <a:cs typeface="Verdana"/>
              </a:rPr>
              <a:t>www.internationaldataspaces.org</a:t>
            </a:r>
          </a:p>
        </p:txBody>
      </p:sp>
      <p:sp>
        <p:nvSpPr>
          <p:cNvPr id="15" name="Foliennummernplatzhalter 5"/>
          <p:cNvSpPr txBox="1">
            <a:spLocks/>
          </p:cNvSpPr>
          <p:nvPr userDrawn="1"/>
        </p:nvSpPr>
        <p:spPr>
          <a:xfrm>
            <a:off x="10351212" y="636058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schemeClr val="tx1"/>
                </a:solidFill>
              </a:rPr>
              <a:t>//</a:t>
            </a:r>
            <a:r>
              <a:rPr lang="de-DE" sz="1067" dirty="0"/>
              <a:t> </a:t>
            </a:r>
            <a:fld id="{DA28A8A7-1DE1-8B42-B22F-FAE404325B08}" type="slidenum">
              <a:rPr lang="de-DE" sz="1067" smtClean="0">
                <a:solidFill>
                  <a:srgbClr val="0BA2E3"/>
                </a:solidFill>
              </a:rPr>
              <a:t>‹#›</a:t>
            </a:fld>
            <a:endParaRPr lang="de-DE" sz="1067" dirty="0">
              <a:solidFill>
                <a:srgbClr val="0BA2E3"/>
              </a:solidFill>
            </a:endParaRPr>
          </a:p>
        </p:txBody>
      </p:sp>
      <p:pic>
        <p:nvPicPr>
          <p:cNvPr id="8" name="Picture 8">
            <a:extLst>
              <a:ext uri="{FF2B5EF4-FFF2-40B4-BE49-F238E27FC236}">
                <a16:creationId xmlns:a16="http://schemas.microsoft.com/office/drawing/2014/main" id="{22C215F7-EC73-4A7E-979A-1AD4009FA76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911" r="5495"/>
          <a:stretch/>
        </p:blipFill>
        <p:spPr>
          <a:xfrm>
            <a:off x="9053026" y="-12701"/>
            <a:ext cx="2622420" cy="1086913"/>
          </a:xfrm>
          <a:prstGeom prst="rect">
            <a:avLst/>
          </a:prstGeom>
        </p:spPr>
      </p:pic>
    </p:spTree>
    <p:extLst>
      <p:ext uri="{BB962C8B-B14F-4D97-AF65-F5344CB8AC3E}">
        <p14:creationId xmlns:p14="http://schemas.microsoft.com/office/powerpoint/2010/main" val="250785211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29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Theme Headline_with Tex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405909" y="2286001"/>
            <a:ext cx="11244224" cy="3545447"/>
          </a:xfrm>
          <a:prstGeom prst="rect">
            <a:avLst/>
          </a:prstGeom>
        </p:spPr>
        <p:txBody>
          <a:bodyPr anchor="t">
            <a:normAutofit/>
          </a:bodyPr>
          <a:lstStyle>
            <a:lvl1pPr marL="239178" marR="0" indent="-239178" algn="l" defTabSz="609585"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55" indent="-228594">
              <a:buFont typeface="Symbol" panose="05050102010706020507" pitchFamily="18" charset="2"/>
              <a:buChar char="-"/>
              <a:defRPr sz="1600" baseline="0">
                <a:solidFill>
                  <a:schemeClr val="tx1"/>
                </a:solidFill>
              </a:defRPr>
            </a:lvl2pPr>
            <a:lvl3pPr marL="599002" indent="-110064">
              <a:buFont typeface="Arial" panose="020B0604020202020204" pitchFamily="34" charset="0"/>
              <a:buChar char="•"/>
              <a:defRPr sz="1067">
                <a:solidFill>
                  <a:schemeClr val="tx1"/>
                </a:solidFill>
              </a:defRPr>
            </a:lvl3pPr>
            <a:lvl4pPr marL="833946" indent="-256111">
              <a:buFont typeface="Symbol" panose="05050102010706020507" pitchFamily="18" charset="2"/>
              <a:buChar char="-"/>
              <a:tabLst>
                <a:tab pos="833946" algn="l"/>
                <a:tab pos="1077357" algn="l"/>
              </a:tabLst>
              <a:defRPr sz="1867" baseline="0">
                <a:solidFill>
                  <a:schemeClr val="tx1"/>
                </a:solidFill>
              </a:defRPr>
            </a:lvl4pPr>
            <a:lvl5pPr marL="1077357" indent="-262460">
              <a:buFont typeface="Georgia" panose="02040502050405020303" pitchFamily="18" charset="0"/>
              <a:buChar char="»"/>
              <a:defRPr sz="1867">
                <a:solidFill>
                  <a:schemeClr val="tx1"/>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85" rtl="0" eaLnBrk="1" fontAlgn="auto" latinLnBrk="0" hangingPunct="1">
              <a:lnSpc>
                <a:spcPct val="110000"/>
              </a:lnSpc>
              <a:spcBef>
                <a:spcPct val="20000"/>
              </a:spcBef>
              <a:spcAft>
                <a:spcPts val="0"/>
              </a:spcAft>
              <a:buClrTx/>
              <a:buSzTx/>
              <a:tabLst/>
              <a:defRPr/>
            </a:pPr>
            <a:endParaRPr lang="de-DE" dirty="0"/>
          </a:p>
        </p:txBody>
      </p:sp>
      <p:sp>
        <p:nvSpPr>
          <p:cNvPr id="22"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3" name="Textplatzhalter 4"/>
          <p:cNvSpPr>
            <a:spLocks noGrp="1"/>
          </p:cNvSpPr>
          <p:nvPr>
            <p:ph type="body" sz="quarter" idx="17"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sp>
        <p:nvSpPr>
          <p:cNvPr id="14" name="Textfeld 13"/>
          <p:cNvSpPr txBox="1"/>
          <p:nvPr userDrawn="1"/>
        </p:nvSpPr>
        <p:spPr>
          <a:xfrm>
            <a:off x="406385" y="6310788"/>
            <a:ext cx="2395808" cy="246221"/>
          </a:xfrm>
          <a:prstGeom prst="rect">
            <a:avLst/>
          </a:prstGeom>
          <a:noFill/>
        </p:spPr>
        <p:txBody>
          <a:bodyPr wrap="square" rtlCol="0">
            <a:spAutoFit/>
          </a:bodyPr>
          <a:lstStyle/>
          <a:p>
            <a:r>
              <a:rPr lang="de-DE" sz="1000" dirty="0">
                <a:solidFill>
                  <a:srgbClr val="0BA2E3"/>
                </a:solidFill>
                <a:latin typeface="Verdana"/>
                <a:cs typeface="Verdana"/>
              </a:rPr>
              <a:t>www.internationaldataspaces.org</a:t>
            </a:r>
          </a:p>
        </p:txBody>
      </p:sp>
      <p:sp>
        <p:nvSpPr>
          <p:cNvPr id="15" name="Foliennummernplatzhalter 5"/>
          <p:cNvSpPr txBox="1">
            <a:spLocks/>
          </p:cNvSpPr>
          <p:nvPr userDrawn="1"/>
        </p:nvSpPr>
        <p:spPr>
          <a:xfrm>
            <a:off x="10351212" y="636058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schemeClr val="tx1"/>
                </a:solidFill>
              </a:rPr>
              <a:t>//</a:t>
            </a:r>
            <a:r>
              <a:rPr lang="de-DE" sz="1067" dirty="0"/>
              <a:t> </a:t>
            </a:r>
            <a:fld id="{DA28A8A7-1DE1-8B42-B22F-FAE404325B08}" type="slidenum">
              <a:rPr lang="de-DE" sz="1067" smtClean="0">
                <a:solidFill>
                  <a:srgbClr val="0BA2E3"/>
                </a:solidFill>
              </a:rPr>
              <a:t>‹#›</a:t>
            </a:fld>
            <a:endParaRPr lang="de-DE" sz="1067" dirty="0">
              <a:solidFill>
                <a:srgbClr val="0BA2E3"/>
              </a:solidFill>
            </a:endParaRPr>
          </a:p>
        </p:txBody>
      </p:sp>
      <p:pic>
        <p:nvPicPr>
          <p:cNvPr id="8" name="Picture 8">
            <a:extLst>
              <a:ext uri="{FF2B5EF4-FFF2-40B4-BE49-F238E27FC236}">
                <a16:creationId xmlns:a16="http://schemas.microsoft.com/office/drawing/2014/main" id="{22C215F7-EC73-4A7E-979A-1AD4009FA76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911" r="5495"/>
          <a:stretch/>
        </p:blipFill>
        <p:spPr>
          <a:xfrm>
            <a:off x="9053026" y="-12701"/>
            <a:ext cx="2622420" cy="1086913"/>
          </a:xfrm>
          <a:prstGeom prst="rect">
            <a:avLst/>
          </a:prstGeom>
        </p:spPr>
      </p:pic>
    </p:spTree>
    <p:extLst>
      <p:ext uri="{BB962C8B-B14F-4D97-AF65-F5344CB8AC3E}">
        <p14:creationId xmlns:p14="http://schemas.microsoft.com/office/powerpoint/2010/main" val="107312417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29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_Theme Headline_with Tex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405909" y="2286001"/>
            <a:ext cx="11244224" cy="3545447"/>
          </a:xfrm>
          <a:prstGeom prst="rect">
            <a:avLst/>
          </a:prstGeom>
        </p:spPr>
        <p:txBody>
          <a:bodyPr anchor="t">
            <a:normAutofit/>
          </a:bodyPr>
          <a:lstStyle>
            <a:lvl1pPr marL="239178" marR="0" indent="-239178" algn="l" defTabSz="609585"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55" indent="-228594">
              <a:buFont typeface="Symbol" panose="05050102010706020507" pitchFamily="18" charset="2"/>
              <a:buChar char="-"/>
              <a:defRPr sz="1600" baseline="0">
                <a:solidFill>
                  <a:schemeClr val="tx1"/>
                </a:solidFill>
              </a:defRPr>
            </a:lvl2pPr>
            <a:lvl3pPr marL="599002" indent="-110064">
              <a:buFont typeface="Arial" panose="020B0604020202020204" pitchFamily="34" charset="0"/>
              <a:buChar char="•"/>
              <a:defRPr sz="1067">
                <a:solidFill>
                  <a:schemeClr val="tx1"/>
                </a:solidFill>
              </a:defRPr>
            </a:lvl3pPr>
            <a:lvl4pPr marL="833946" indent="-256111">
              <a:buFont typeface="Symbol" panose="05050102010706020507" pitchFamily="18" charset="2"/>
              <a:buChar char="-"/>
              <a:tabLst>
                <a:tab pos="833946" algn="l"/>
                <a:tab pos="1077357" algn="l"/>
              </a:tabLst>
              <a:defRPr sz="1867" baseline="0">
                <a:solidFill>
                  <a:schemeClr val="tx1"/>
                </a:solidFill>
              </a:defRPr>
            </a:lvl4pPr>
            <a:lvl5pPr marL="1077357" indent="-262460">
              <a:buFont typeface="Georgia" panose="02040502050405020303" pitchFamily="18" charset="0"/>
              <a:buChar char="»"/>
              <a:defRPr sz="1867">
                <a:solidFill>
                  <a:schemeClr val="tx1"/>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de-DE" dirty="0"/>
              <a:t>Masterformat</a:t>
            </a:r>
          </a:p>
          <a:p>
            <a:pPr lvl="1"/>
            <a:r>
              <a:rPr lang="de-DE" dirty="0"/>
              <a:t>Second </a:t>
            </a:r>
            <a:r>
              <a:rPr lang="de-DE" dirty="0" err="1"/>
              <a:t>level</a:t>
            </a:r>
            <a:endParaRPr lang="de-DE" dirty="0"/>
          </a:p>
          <a:p>
            <a:pPr lvl="2"/>
            <a:r>
              <a:rPr lang="de-DE" dirty="0"/>
              <a:t>Third </a:t>
            </a:r>
            <a:r>
              <a:rPr lang="de-DE" dirty="0" err="1"/>
              <a:t>leven</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marL="0" marR="0" lvl="0" indent="0" algn="l" defTabSz="609585" rtl="0" eaLnBrk="1" fontAlgn="auto" latinLnBrk="0" hangingPunct="1">
              <a:lnSpc>
                <a:spcPct val="110000"/>
              </a:lnSpc>
              <a:spcBef>
                <a:spcPct val="20000"/>
              </a:spcBef>
              <a:spcAft>
                <a:spcPts val="0"/>
              </a:spcAft>
              <a:buClrTx/>
              <a:buSzTx/>
              <a:tabLst/>
              <a:defRPr/>
            </a:pPr>
            <a:endParaRPr lang="de-DE" dirty="0"/>
          </a:p>
        </p:txBody>
      </p:sp>
      <p:sp>
        <p:nvSpPr>
          <p:cNvPr id="22"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dirty="0" err="1"/>
              <a:t>Theme</a:t>
            </a:r>
            <a:r>
              <a:rPr lang="de-DE" dirty="0"/>
              <a:t> Headline</a:t>
            </a:r>
          </a:p>
        </p:txBody>
      </p:sp>
      <p:sp>
        <p:nvSpPr>
          <p:cNvPr id="23" name="Textplatzhalter 4"/>
          <p:cNvSpPr>
            <a:spLocks noGrp="1"/>
          </p:cNvSpPr>
          <p:nvPr>
            <p:ph type="body" sz="quarter" idx="17" hasCustomPrompt="1"/>
          </p:nvPr>
        </p:nvSpPr>
        <p:spPr>
          <a:xfrm>
            <a:off x="406400" y="1490134"/>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dirty="0" err="1"/>
              <a:t>Subtitle</a:t>
            </a:r>
            <a:endParaRPr lang="de-DE" dirty="0"/>
          </a:p>
        </p:txBody>
      </p:sp>
      <p:sp>
        <p:nvSpPr>
          <p:cNvPr id="14" name="Textfeld 13"/>
          <p:cNvSpPr txBox="1"/>
          <p:nvPr userDrawn="1"/>
        </p:nvSpPr>
        <p:spPr>
          <a:xfrm>
            <a:off x="406385" y="6310788"/>
            <a:ext cx="2395808" cy="246221"/>
          </a:xfrm>
          <a:prstGeom prst="rect">
            <a:avLst/>
          </a:prstGeom>
          <a:noFill/>
        </p:spPr>
        <p:txBody>
          <a:bodyPr wrap="square" rtlCol="0">
            <a:spAutoFit/>
          </a:bodyPr>
          <a:lstStyle/>
          <a:p>
            <a:r>
              <a:rPr lang="de-DE" sz="1000" dirty="0">
                <a:solidFill>
                  <a:srgbClr val="0BA2E3"/>
                </a:solidFill>
                <a:latin typeface="Verdana"/>
                <a:cs typeface="Verdana"/>
              </a:rPr>
              <a:t>www.internationaldataspaces.org</a:t>
            </a:r>
          </a:p>
        </p:txBody>
      </p:sp>
      <p:sp>
        <p:nvSpPr>
          <p:cNvPr id="15" name="Foliennummernplatzhalter 5"/>
          <p:cNvSpPr txBox="1">
            <a:spLocks/>
          </p:cNvSpPr>
          <p:nvPr userDrawn="1"/>
        </p:nvSpPr>
        <p:spPr>
          <a:xfrm>
            <a:off x="10351212" y="6360588"/>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067" dirty="0">
                <a:solidFill>
                  <a:schemeClr val="tx1"/>
                </a:solidFill>
              </a:rPr>
              <a:t>//</a:t>
            </a:r>
            <a:r>
              <a:rPr lang="de-DE" sz="1067" dirty="0"/>
              <a:t> </a:t>
            </a:r>
            <a:fld id="{DA28A8A7-1DE1-8B42-B22F-FAE404325B08}" type="slidenum">
              <a:rPr lang="de-DE" sz="1067" smtClean="0">
                <a:solidFill>
                  <a:srgbClr val="0BA2E3"/>
                </a:solidFill>
              </a:rPr>
              <a:t>‹#›</a:t>
            </a:fld>
            <a:endParaRPr lang="de-DE" sz="1067" dirty="0">
              <a:solidFill>
                <a:srgbClr val="0BA2E3"/>
              </a:solidFill>
            </a:endParaRPr>
          </a:p>
        </p:txBody>
      </p:sp>
      <p:pic>
        <p:nvPicPr>
          <p:cNvPr id="8" name="Picture 8">
            <a:extLst>
              <a:ext uri="{FF2B5EF4-FFF2-40B4-BE49-F238E27FC236}">
                <a16:creationId xmlns:a16="http://schemas.microsoft.com/office/drawing/2014/main" id="{22C215F7-EC73-4A7E-979A-1AD4009FA76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911" r="5495"/>
          <a:stretch/>
        </p:blipFill>
        <p:spPr>
          <a:xfrm>
            <a:off x="9053026" y="-12701"/>
            <a:ext cx="2622420" cy="1086913"/>
          </a:xfrm>
          <a:prstGeom prst="rect">
            <a:avLst/>
          </a:prstGeom>
        </p:spPr>
      </p:pic>
    </p:spTree>
    <p:extLst>
      <p:ext uri="{BB962C8B-B14F-4D97-AF65-F5344CB8AC3E}">
        <p14:creationId xmlns:p14="http://schemas.microsoft.com/office/powerpoint/2010/main" val="67208561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29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 name="Afbeelding 1"/>
          <p:cNvPicPr>
            <a:picLocks noChangeAspect="1"/>
          </p:cNvPicPr>
          <p:nvPr userDrawn="1"/>
        </p:nvPicPr>
        <p:blipFill rotWithShape="1">
          <a:blip r:embed="rId2">
            <a:extLst>
              <a:ext uri="{28A0092B-C50C-407E-A947-70E740481C1C}">
                <a14:useLocalDpi xmlns:a14="http://schemas.microsoft.com/office/drawing/2010/main" val="0"/>
              </a:ext>
            </a:extLst>
          </a:blip>
          <a:srcRect l="22458" t="50344" r="39441" b="7889"/>
          <a:stretch/>
        </p:blipFill>
        <p:spPr>
          <a:xfrm>
            <a:off x="-1" y="3000258"/>
            <a:ext cx="12192001" cy="3857743"/>
          </a:xfrm>
          <a:prstGeom prst="rect">
            <a:avLst/>
          </a:prstGeom>
        </p:spPr>
      </p:pic>
      <p:sp>
        <p:nvSpPr>
          <p:cNvPr id="5" name="Tijdelijke aanduiding voor tekst 4"/>
          <p:cNvSpPr>
            <a:spLocks noGrp="1"/>
          </p:cNvSpPr>
          <p:nvPr>
            <p:ph type="body" sz="quarter" idx="10" hasCustomPrompt="1"/>
          </p:nvPr>
        </p:nvSpPr>
        <p:spPr>
          <a:xfrm>
            <a:off x="768382" y="3940587"/>
            <a:ext cx="10984265" cy="958181"/>
          </a:xfrm>
          <a:prstGeom prst="rect">
            <a:avLst/>
          </a:prstGeom>
        </p:spPr>
        <p:txBody>
          <a:bodyPr/>
          <a:lstStyle>
            <a:lvl1pPr>
              <a:defRPr sz="4267" b="1">
                <a:latin typeface="Calibri" charset="0"/>
                <a:ea typeface="Calibri" charset="0"/>
                <a:cs typeface="Calibri" charset="0"/>
              </a:defRPr>
            </a:lvl1pPr>
            <a:lvl2pPr>
              <a:defRPr>
                <a:latin typeface="Calibri" charset="0"/>
                <a:ea typeface="Calibri" charset="0"/>
                <a:cs typeface="Calibri" charset="0"/>
              </a:defRPr>
            </a:lvl2pPr>
            <a:lvl3pPr>
              <a:defRPr>
                <a:latin typeface="Calibri" charset="0"/>
                <a:ea typeface="Calibri" charset="0"/>
                <a:cs typeface="Calibri" charset="0"/>
              </a:defRPr>
            </a:lvl3pPr>
            <a:lvl4pPr>
              <a:defRPr>
                <a:latin typeface="Calibri" charset="0"/>
                <a:ea typeface="Calibri" charset="0"/>
                <a:cs typeface="Calibri" charset="0"/>
              </a:defRPr>
            </a:lvl4pPr>
            <a:lvl5pPr>
              <a:defRPr>
                <a:latin typeface="Calibri" charset="0"/>
                <a:ea typeface="Calibri" charset="0"/>
                <a:cs typeface="Calibri" charset="0"/>
              </a:defRPr>
            </a:lvl5pPr>
          </a:lstStyle>
          <a:p>
            <a:pPr lvl="0"/>
            <a:r>
              <a:rPr lang="nl-NL" dirty="0"/>
              <a:t>Titel</a:t>
            </a:r>
          </a:p>
        </p:txBody>
      </p:sp>
      <p:sp>
        <p:nvSpPr>
          <p:cNvPr id="4" name="Tijdelijke aanduiding voor tekst 4"/>
          <p:cNvSpPr>
            <a:spLocks noGrp="1"/>
          </p:cNvSpPr>
          <p:nvPr>
            <p:ph type="body" sz="quarter" idx="11" hasCustomPrompt="1"/>
          </p:nvPr>
        </p:nvSpPr>
        <p:spPr>
          <a:xfrm>
            <a:off x="768382" y="5027982"/>
            <a:ext cx="10984265" cy="958181"/>
          </a:xfrm>
          <a:prstGeom prst="rect">
            <a:avLst/>
          </a:prstGeom>
        </p:spPr>
        <p:txBody>
          <a:bodyPr/>
          <a:lstStyle>
            <a:lvl1pPr>
              <a:defRPr sz="2400" b="0">
                <a:latin typeface="Calibri" charset="0"/>
                <a:ea typeface="Calibri" charset="0"/>
                <a:cs typeface="Calibri" charset="0"/>
              </a:defRPr>
            </a:lvl1pPr>
            <a:lvl2pPr>
              <a:defRPr>
                <a:latin typeface="Calibri" charset="0"/>
                <a:ea typeface="Calibri" charset="0"/>
                <a:cs typeface="Calibri" charset="0"/>
              </a:defRPr>
            </a:lvl2pPr>
            <a:lvl3pPr>
              <a:defRPr>
                <a:latin typeface="Calibri" charset="0"/>
                <a:ea typeface="Calibri" charset="0"/>
                <a:cs typeface="Calibri" charset="0"/>
              </a:defRPr>
            </a:lvl3pPr>
            <a:lvl4pPr>
              <a:defRPr>
                <a:latin typeface="Calibri" charset="0"/>
                <a:ea typeface="Calibri" charset="0"/>
                <a:cs typeface="Calibri" charset="0"/>
              </a:defRPr>
            </a:lvl4pPr>
            <a:lvl5pPr>
              <a:defRPr>
                <a:latin typeface="Calibri" charset="0"/>
                <a:ea typeface="Calibri" charset="0"/>
                <a:cs typeface="Calibri" charset="0"/>
              </a:defRPr>
            </a:lvl5pPr>
          </a:lstStyle>
          <a:p>
            <a:pPr lvl="0"/>
            <a:r>
              <a:rPr lang="nl-NL" dirty="0"/>
              <a:t>Datum</a:t>
            </a:r>
          </a:p>
        </p:txBody>
      </p:sp>
    </p:spTree>
    <p:extLst>
      <p:ext uri="{BB962C8B-B14F-4D97-AF65-F5344CB8AC3E}">
        <p14:creationId xmlns:p14="http://schemas.microsoft.com/office/powerpoint/2010/main" val="2697746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nes">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F2FC1E29-32F8-447D-8167-6C2077F05D96}"/>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406" y="-4186"/>
            <a:ext cx="12198626" cy="6862185"/>
          </a:xfrm>
          <a:prstGeom prst="rect">
            <a:avLst/>
          </a:prstGeom>
        </p:spPr>
      </p:pic>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Background</a:t>
            </a:r>
          </a:p>
        </p:txBody>
      </p:sp>
      <p:grpSp>
        <p:nvGrpSpPr>
          <p:cNvPr id="4" name="DATALIJNEN_cirkel">
            <a:extLst>
              <a:ext uri="{FF2B5EF4-FFF2-40B4-BE49-F238E27FC236}">
                <a16:creationId xmlns:a16="http://schemas.microsoft.com/office/drawing/2014/main" id="{E3B341A9-05CB-47FB-BD38-4627062D09FF}"/>
              </a:ext>
            </a:extLst>
          </p:cNvPr>
          <p:cNvGrpSpPr/>
          <p:nvPr userDrawn="1"/>
        </p:nvGrpSpPr>
        <p:grpSpPr>
          <a:xfrm>
            <a:off x="3549233" y="935996"/>
            <a:ext cx="5394814" cy="5532128"/>
            <a:chOff x="3517139" y="752476"/>
            <a:chExt cx="5394814" cy="5532128"/>
          </a:xfrm>
          <a:solidFill>
            <a:srgbClr val="00B0F0">
              <a:alpha val="60000"/>
            </a:srgbClr>
          </a:solidFill>
        </p:grpSpPr>
        <p:grpSp>
          <p:nvGrpSpPr>
            <p:cNvPr id="6" name="Graphic 3">
              <a:extLst>
                <a:ext uri="{FF2B5EF4-FFF2-40B4-BE49-F238E27FC236}">
                  <a16:creationId xmlns:a16="http://schemas.microsoft.com/office/drawing/2014/main" id="{A8F63885-67EF-4DD1-9FC9-E5BE9A27DB91}"/>
                </a:ext>
              </a:extLst>
            </p:cNvPr>
            <p:cNvGrpSpPr/>
            <p:nvPr/>
          </p:nvGrpSpPr>
          <p:grpSpPr>
            <a:xfrm>
              <a:off x="8465492" y="3427232"/>
              <a:ext cx="446461" cy="21830"/>
              <a:chOff x="8465492" y="3427232"/>
              <a:chExt cx="446461" cy="21830"/>
            </a:xfrm>
            <a:grpFill/>
          </p:grpSpPr>
          <p:sp>
            <p:nvSpPr>
              <p:cNvPr id="5351" name="Vrije vorm: vorm 5350">
                <a:extLst>
                  <a:ext uri="{FF2B5EF4-FFF2-40B4-BE49-F238E27FC236}">
                    <a16:creationId xmlns:a16="http://schemas.microsoft.com/office/drawing/2014/main" id="{5D84A7D9-2B04-4C60-900F-7BC8993B62FE}"/>
                  </a:ext>
                </a:extLst>
              </p:cNvPr>
              <p:cNvSpPr/>
              <p:nvPr/>
            </p:nvSpPr>
            <p:spPr>
              <a:xfrm>
                <a:off x="8474224" y="3434888"/>
                <a:ext cx="428997" cy="6518"/>
              </a:xfrm>
              <a:custGeom>
                <a:avLst/>
                <a:gdLst>
                  <a:gd name="connsiteX0" fmla="*/ 428997 w 428997"/>
                  <a:gd name="connsiteY0" fmla="*/ 3409 h 6518"/>
                  <a:gd name="connsiteX1" fmla="*/ 428997 w 428997"/>
                  <a:gd name="connsiteY1" fmla="*/ 6519 h 6518"/>
                  <a:gd name="connsiteX2" fmla="*/ 0 w 428997"/>
                  <a:gd name="connsiteY2" fmla="*/ 3050 h 6518"/>
                  <a:gd name="connsiteX3" fmla="*/ 0 w 428997"/>
                  <a:gd name="connsiteY3" fmla="*/ 0 h 6518"/>
                </a:gdLst>
                <a:ahLst/>
                <a:cxnLst>
                  <a:cxn ang="0">
                    <a:pos x="connsiteX0" y="connsiteY0"/>
                  </a:cxn>
                  <a:cxn ang="0">
                    <a:pos x="connsiteX1" y="connsiteY1"/>
                  </a:cxn>
                  <a:cxn ang="0">
                    <a:pos x="connsiteX2" y="connsiteY2"/>
                  </a:cxn>
                  <a:cxn ang="0">
                    <a:pos x="connsiteX3" y="connsiteY3"/>
                  </a:cxn>
                </a:cxnLst>
                <a:rect l="l" t="t" r="r" b="b"/>
                <a:pathLst>
                  <a:path w="428997" h="6518">
                    <a:moveTo>
                      <a:pt x="428997" y="3409"/>
                    </a:moveTo>
                    <a:lnTo>
                      <a:pt x="428997" y="6519"/>
                    </a:lnTo>
                    <a:lnTo>
                      <a:pt x="0" y="3050"/>
                    </a:lnTo>
                    <a:lnTo>
                      <a:pt x="0" y="0"/>
                    </a:lnTo>
                    <a:close/>
                  </a:path>
                </a:pathLst>
              </a:custGeom>
              <a:grpFill/>
              <a:ln w="5978" cap="flat">
                <a:noFill/>
                <a:prstDash val="solid"/>
                <a:miter/>
              </a:ln>
            </p:spPr>
            <p:txBody>
              <a:bodyPr rtlCol="0" anchor="ctr"/>
              <a:lstStyle/>
              <a:p>
                <a:endParaRPr lang="en-GB"/>
              </a:p>
            </p:txBody>
          </p:sp>
          <p:sp>
            <p:nvSpPr>
              <p:cNvPr id="5352" name="Vrije vorm: vorm 5351">
                <a:extLst>
                  <a:ext uri="{FF2B5EF4-FFF2-40B4-BE49-F238E27FC236}">
                    <a16:creationId xmlns:a16="http://schemas.microsoft.com/office/drawing/2014/main" id="{DABA1B1F-FC79-4981-A905-2F0661CF1502}"/>
                  </a:ext>
                </a:extLst>
              </p:cNvPr>
              <p:cNvSpPr/>
              <p:nvPr/>
            </p:nvSpPr>
            <p:spPr>
              <a:xfrm>
                <a:off x="8893592" y="3430641"/>
                <a:ext cx="18361" cy="18421"/>
              </a:xfrm>
              <a:custGeom>
                <a:avLst/>
                <a:gdLst>
                  <a:gd name="connsiteX0" fmla="*/ 9211 w 18361"/>
                  <a:gd name="connsiteY0" fmla="*/ 1 h 18421"/>
                  <a:gd name="connsiteX1" fmla="*/ 18361 w 18361"/>
                  <a:gd name="connsiteY1" fmla="*/ 9271 h 18421"/>
                  <a:gd name="connsiteX2" fmla="*/ 9151 w 18361"/>
                  <a:gd name="connsiteY2" fmla="*/ 18421 h 18421"/>
                  <a:gd name="connsiteX3" fmla="*/ 0 w 18361"/>
                  <a:gd name="connsiteY3" fmla="*/ 9151 h 18421"/>
                  <a:gd name="connsiteX4" fmla="*/ 9211 w 1836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9211" y="1"/>
                    </a:moveTo>
                    <a:cubicBezTo>
                      <a:pt x="14294" y="61"/>
                      <a:pt x="18361" y="4187"/>
                      <a:pt x="18361" y="9271"/>
                    </a:cubicBezTo>
                    <a:cubicBezTo>
                      <a:pt x="18361" y="14354"/>
                      <a:pt x="14234" y="18421"/>
                      <a:pt x="9151" y="18421"/>
                    </a:cubicBezTo>
                    <a:cubicBezTo>
                      <a:pt x="4067" y="18362"/>
                      <a:pt x="0" y="14235"/>
                      <a:pt x="0" y="9151"/>
                    </a:cubicBezTo>
                    <a:cubicBezTo>
                      <a:pt x="0" y="4067"/>
                      <a:pt x="4127" y="-59"/>
                      <a:pt x="9211" y="1"/>
                    </a:cubicBezTo>
                    <a:close/>
                  </a:path>
                </a:pathLst>
              </a:custGeom>
              <a:grpFill/>
              <a:ln w="5978" cap="flat">
                <a:noFill/>
                <a:prstDash val="solid"/>
                <a:miter/>
              </a:ln>
            </p:spPr>
            <p:txBody>
              <a:bodyPr rtlCol="0" anchor="ctr"/>
              <a:lstStyle/>
              <a:p>
                <a:endParaRPr lang="en-GB"/>
              </a:p>
            </p:txBody>
          </p:sp>
          <p:sp>
            <p:nvSpPr>
              <p:cNvPr id="5353" name="Vrije vorm: vorm 5352">
                <a:extLst>
                  <a:ext uri="{FF2B5EF4-FFF2-40B4-BE49-F238E27FC236}">
                    <a16:creationId xmlns:a16="http://schemas.microsoft.com/office/drawing/2014/main" id="{D59FE0CF-2273-4A6A-8DCC-FFB574C82729}"/>
                  </a:ext>
                </a:extLst>
              </p:cNvPr>
              <p:cNvSpPr/>
              <p:nvPr/>
            </p:nvSpPr>
            <p:spPr>
              <a:xfrm>
                <a:off x="8465492" y="3427232"/>
                <a:ext cx="18360" cy="18422"/>
              </a:xfrm>
              <a:custGeom>
                <a:avLst/>
                <a:gdLst>
                  <a:gd name="connsiteX0" fmla="*/ 9211 w 18360"/>
                  <a:gd name="connsiteY0" fmla="*/ 1 h 18422"/>
                  <a:gd name="connsiteX1" fmla="*/ 0 w 18360"/>
                  <a:gd name="connsiteY1" fmla="*/ 9151 h 18422"/>
                  <a:gd name="connsiteX2" fmla="*/ 9151 w 18360"/>
                  <a:gd name="connsiteY2" fmla="*/ 18421 h 18422"/>
                  <a:gd name="connsiteX3" fmla="*/ 18360 w 18360"/>
                  <a:gd name="connsiteY3" fmla="*/ 9271 h 18422"/>
                  <a:gd name="connsiteX4" fmla="*/ 9211 w 18360"/>
                  <a:gd name="connsiteY4" fmla="*/ 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2">
                    <a:moveTo>
                      <a:pt x="9211" y="1"/>
                    </a:moveTo>
                    <a:cubicBezTo>
                      <a:pt x="4126" y="-59"/>
                      <a:pt x="0" y="4067"/>
                      <a:pt x="0" y="9151"/>
                    </a:cubicBezTo>
                    <a:cubicBezTo>
                      <a:pt x="0" y="14235"/>
                      <a:pt x="4066" y="18421"/>
                      <a:pt x="9151" y="18421"/>
                    </a:cubicBezTo>
                    <a:cubicBezTo>
                      <a:pt x="14234" y="18481"/>
                      <a:pt x="18360" y="14354"/>
                      <a:pt x="18360" y="9271"/>
                    </a:cubicBezTo>
                    <a:cubicBezTo>
                      <a:pt x="18360" y="4187"/>
                      <a:pt x="14294" y="1"/>
                      <a:pt x="9211" y="1"/>
                    </a:cubicBezTo>
                    <a:close/>
                  </a:path>
                </a:pathLst>
              </a:custGeom>
              <a:grpFill/>
              <a:ln w="5978" cap="flat">
                <a:noFill/>
                <a:prstDash val="solid"/>
                <a:miter/>
              </a:ln>
            </p:spPr>
            <p:txBody>
              <a:bodyPr rtlCol="0" anchor="ctr"/>
              <a:lstStyle/>
              <a:p>
                <a:endParaRPr lang="en-GB"/>
              </a:p>
            </p:txBody>
          </p:sp>
        </p:grpSp>
        <p:grpSp>
          <p:nvGrpSpPr>
            <p:cNvPr id="7" name="Graphic 3">
              <a:extLst>
                <a:ext uri="{FF2B5EF4-FFF2-40B4-BE49-F238E27FC236}">
                  <a16:creationId xmlns:a16="http://schemas.microsoft.com/office/drawing/2014/main" id="{A46CFD8C-0A5E-429E-BFF8-AB2A51CFB7FA}"/>
                </a:ext>
              </a:extLst>
            </p:cNvPr>
            <p:cNvGrpSpPr/>
            <p:nvPr/>
          </p:nvGrpSpPr>
          <p:grpSpPr>
            <a:xfrm>
              <a:off x="8248086" y="2963183"/>
              <a:ext cx="558134" cy="106034"/>
              <a:chOff x="8248086" y="2963183"/>
              <a:chExt cx="558134" cy="106034"/>
            </a:xfrm>
            <a:grpFill/>
          </p:grpSpPr>
          <p:sp>
            <p:nvSpPr>
              <p:cNvPr id="5348" name="Vrije vorm: vorm 5347">
                <a:extLst>
                  <a:ext uri="{FF2B5EF4-FFF2-40B4-BE49-F238E27FC236}">
                    <a16:creationId xmlns:a16="http://schemas.microsoft.com/office/drawing/2014/main" id="{17F22430-A18A-4A0A-AF07-4F58D4176130}"/>
                  </a:ext>
                </a:extLst>
              </p:cNvPr>
              <p:cNvSpPr/>
              <p:nvPr/>
            </p:nvSpPr>
            <p:spPr>
              <a:xfrm>
                <a:off x="8256238" y="2970849"/>
                <a:ext cx="541201" cy="90937"/>
              </a:xfrm>
              <a:custGeom>
                <a:avLst/>
                <a:gdLst>
                  <a:gd name="connsiteX0" fmla="*/ 0 w 541201"/>
                  <a:gd name="connsiteY0" fmla="*/ 87927 h 90937"/>
                  <a:gd name="connsiteX1" fmla="*/ 540712 w 541201"/>
                  <a:gd name="connsiteY1" fmla="*/ 0 h 90937"/>
                  <a:gd name="connsiteX2" fmla="*/ 541202 w 541201"/>
                  <a:gd name="connsiteY2" fmla="*/ 3011 h 90937"/>
                  <a:gd name="connsiteX3" fmla="*/ 490 w 541201"/>
                  <a:gd name="connsiteY3" fmla="*/ 90938 h 90937"/>
                </a:gdLst>
                <a:ahLst/>
                <a:cxnLst>
                  <a:cxn ang="0">
                    <a:pos x="connsiteX0" y="connsiteY0"/>
                  </a:cxn>
                  <a:cxn ang="0">
                    <a:pos x="connsiteX1" y="connsiteY1"/>
                  </a:cxn>
                  <a:cxn ang="0">
                    <a:pos x="connsiteX2" y="connsiteY2"/>
                  </a:cxn>
                  <a:cxn ang="0">
                    <a:pos x="connsiteX3" y="connsiteY3"/>
                  </a:cxn>
                </a:cxnLst>
                <a:rect l="l" t="t" r="r" b="b"/>
                <a:pathLst>
                  <a:path w="541201" h="90937">
                    <a:moveTo>
                      <a:pt x="0" y="87927"/>
                    </a:moveTo>
                    <a:lnTo>
                      <a:pt x="540712" y="0"/>
                    </a:lnTo>
                    <a:lnTo>
                      <a:pt x="541202" y="3011"/>
                    </a:lnTo>
                    <a:lnTo>
                      <a:pt x="490" y="90938"/>
                    </a:lnTo>
                    <a:close/>
                  </a:path>
                </a:pathLst>
              </a:custGeom>
              <a:grpFill/>
              <a:ln w="5978" cap="flat">
                <a:noFill/>
                <a:prstDash val="solid"/>
                <a:miter/>
              </a:ln>
            </p:spPr>
            <p:txBody>
              <a:bodyPr rtlCol="0" anchor="ctr"/>
              <a:lstStyle/>
              <a:p>
                <a:endParaRPr lang="en-GB"/>
              </a:p>
            </p:txBody>
          </p:sp>
          <p:sp>
            <p:nvSpPr>
              <p:cNvPr id="5349" name="Vrije vorm: vorm 5348">
                <a:extLst>
                  <a:ext uri="{FF2B5EF4-FFF2-40B4-BE49-F238E27FC236}">
                    <a16:creationId xmlns:a16="http://schemas.microsoft.com/office/drawing/2014/main" id="{E5915EC7-E9FC-48F5-8F83-E11AE822665F}"/>
                  </a:ext>
                </a:extLst>
              </p:cNvPr>
              <p:cNvSpPr/>
              <p:nvPr/>
            </p:nvSpPr>
            <p:spPr>
              <a:xfrm>
                <a:off x="8787906" y="2963183"/>
                <a:ext cx="18314" cy="18490"/>
              </a:xfrm>
              <a:custGeom>
                <a:avLst/>
                <a:gdLst>
                  <a:gd name="connsiteX0" fmla="*/ 7662 w 18314"/>
                  <a:gd name="connsiteY0" fmla="*/ 125 h 18490"/>
                  <a:gd name="connsiteX1" fmla="*/ 18188 w 18314"/>
                  <a:gd name="connsiteY1" fmla="*/ 7780 h 18490"/>
                  <a:gd name="connsiteX2" fmla="*/ 10652 w 18314"/>
                  <a:gd name="connsiteY2" fmla="*/ 18366 h 18490"/>
                  <a:gd name="connsiteX3" fmla="*/ 126 w 18314"/>
                  <a:gd name="connsiteY3" fmla="*/ 10711 h 18490"/>
                  <a:gd name="connsiteX4" fmla="*/ 7662 w 18314"/>
                  <a:gd name="connsiteY4" fmla="*/ 125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90">
                    <a:moveTo>
                      <a:pt x="7662" y="125"/>
                    </a:moveTo>
                    <a:cubicBezTo>
                      <a:pt x="12686" y="-712"/>
                      <a:pt x="17351" y="2756"/>
                      <a:pt x="18188" y="7780"/>
                    </a:cubicBezTo>
                    <a:cubicBezTo>
                      <a:pt x="19026" y="12804"/>
                      <a:pt x="15617" y="17529"/>
                      <a:pt x="10652" y="18366"/>
                    </a:cubicBezTo>
                    <a:cubicBezTo>
                      <a:pt x="5689" y="19203"/>
                      <a:pt x="964" y="15735"/>
                      <a:pt x="126" y="10711"/>
                    </a:cubicBezTo>
                    <a:cubicBezTo>
                      <a:pt x="-710" y="5687"/>
                      <a:pt x="2698" y="902"/>
                      <a:pt x="7662" y="125"/>
                    </a:cubicBezTo>
                    <a:close/>
                  </a:path>
                </a:pathLst>
              </a:custGeom>
              <a:grpFill/>
              <a:ln w="5978" cap="flat">
                <a:noFill/>
                <a:prstDash val="solid"/>
                <a:miter/>
              </a:ln>
            </p:spPr>
            <p:txBody>
              <a:bodyPr rtlCol="0" anchor="ctr"/>
              <a:lstStyle/>
              <a:p>
                <a:endParaRPr lang="en-GB"/>
              </a:p>
            </p:txBody>
          </p:sp>
          <p:sp>
            <p:nvSpPr>
              <p:cNvPr id="5350" name="Vrije vorm: vorm 5349">
                <a:extLst>
                  <a:ext uri="{FF2B5EF4-FFF2-40B4-BE49-F238E27FC236}">
                    <a16:creationId xmlns:a16="http://schemas.microsoft.com/office/drawing/2014/main" id="{2A93F2A1-4683-43AA-9AE6-A1A4F7602E02}"/>
                  </a:ext>
                </a:extLst>
              </p:cNvPr>
              <p:cNvSpPr/>
              <p:nvPr/>
            </p:nvSpPr>
            <p:spPr>
              <a:xfrm>
                <a:off x="8248086" y="3050739"/>
                <a:ext cx="18315" cy="18478"/>
              </a:xfrm>
              <a:custGeom>
                <a:avLst/>
                <a:gdLst>
                  <a:gd name="connsiteX0" fmla="*/ 7662 w 18315"/>
                  <a:gd name="connsiteY0" fmla="*/ 126 h 18478"/>
                  <a:gd name="connsiteX1" fmla="*/ 127 w 18315"/>
                  <a:gd name="connsiteY1" fmla="*/ 10712 h 18478"/>
                  <a:gd name="connsiteX2" fmla="*/ 10652 w 18315"/>
                  <a:gd name="connsiteY2" fmla="*/ 18368 h 18478"/>
                  <a:gd name="connsiteX3" fmla="*/ 18188 w 18315"/>
                  <a:gd name="connsiteY3" fmla="*/ 7782 h 18478"/>
                  <a:gd name="connsiteX4" fmla="*/ 7662 w 18315"/>
                  <a:gd name="connsiteY4" fmla="*/ 126 h 1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78">
                    <a:moveTo>
                      <a:pt x="7662" y="126"/>
                    </a:moveTo>
                    <a:cubicBezTo>
                      <a:pt x="2698" y="964"/>
                      <a:pt x="-711" y="5688"/>
                      <a:pt x="127" y="10712"/>
                    </a:cubicBezTo>
                    <a:cubicBezTo>
                      <a:pt x="963" y="15736"/>
                      <a:pt x="5688" y="19145"/>
                      <a:pt x="10652" y="18368"/>
                    </a:cubicBezTo>
                    <a:cubicBezTo>
                      <a:pt x="15676" y="17530"/>
                      <a:pt x="19025" y="12806"/>
                      <a:pt x="18188" y="7782"/>
                    </a:cubicBezTo>
                    <a:cubicBezTo>
                      <a:pt x="17351" y="2698"/>
                      <a:pt x="12686" y="-711"/>
                      <a:pt x="7662" y="126"/>
                    </a:cubicBezTo>
                    <a:close/>
                  </a:path>
                </a:pathLst>
              </a:custGeom>
              <a:grpFill/>
              <a:ln w="5978" cap="flat">
                <a:noFill/>
                <a:prstDash val="solid"/>
                <a:miter/>
              </a:ln>
            </p:spPr>
            <p:txBody>
              <a:bodyPr rtlCol="0" anchor="ctr"/>
              <a:lstStyle/>
              <a:p>
                <a:endParaRPr lang="en-GB"/>
              </a:p>
            </p:txBody>
          </p:sp>
        </p:grpSp>
        <p:grpSp>
          <p:nvGrpSpPr>
            <p:cNvPr id="8" name="Graphic 3">
              <a:extLst>
                <a:ext uri="{FF2B5EF4-FFF2-40B4-BE49-F238E27FC236}">
                  <a16:creationId xmlns:a16="http://schemas.microsoft.com/office/drawing/2014/main" id="{85708331-9D1D-42C4-AD25-CA4517F30AB1}"/>
                </a:ext>
              </a:extLst>
            </p:cNvPr>
            <p:cNvGrpSpPr/>
            <p:nvPr/>
          </p:nvGrpSpPr>
          <p:grpSpPr>
            <a:xfrm>
              <a:off x="7716805" y="2962871"/>
              <a:ext cx="1089381" cy="160619"/>
              <a:chOff x="7716805" y="2962871"/>
              <a:chExt cx="1089381" cy="160619"/>
            </a:xfrm>
            <a:grpFill/>
          </p:grpSpPr>
          <p:sp>
            <p:nvSpPr>
              <p:cNvPr id="5345" name="Vrije vorm: vorm 5344">
                <a:extLst>
                  <a:ext uri="{FF2B5EF4-FFF2-40B4-BE49-F238E27FC236}">
                    <a16:creationId xmlns:a16="http://schemas.microsoft.com/office/drawing/2014/main" id="{A4665606-F381-46C6-ABDB-9348B15C3D09}"/>
                  </a:ext>
                </a:extLst>
              </p:cNvPr>
              <p:cNvSpPr/>
              <p:nvPr/>
            </p:nvSpPr>
            <p:spPr>
              <a:xfrm>
                <a:off x="7725258" y="2970545"/>
                <a:ext cx="1072463" cy="145331"/>
              </a:xfrm>
              <a:custGeom>
                <a:avLst/>
                <a:gdLst>
                  <a:gd name="connsiteX0" fmla="*/ 1072045 w 1072463"/>
                  <a:gd name="connsiteY0" fmla="*/ 0 h 145331"/>
                  <a:gd name="connsiteX1" fmla="*/ 1072464 w 1072463"/>
                  <a:gd name="connsiteY1" fmla="*/ 3050 h 145331"/>
                  <a:gd name="connsiteX2" fmla="*/ 419 w 1072463"/>
                  <a:gd name="connsiteY2" fmla="*/ 145331 h 145331"/>
                  <a:gd name="connsiteX3" fmla="*/ 0 w 1072463"/>
                  <a:gd name="connsiteY3" fmla="*/ 142281 h 145331"/>
                </a:gdLst>
                <a:ahLst/>
                <a:cxnLst>
                  <a:cxn ang="0">
                    <a:pos x="connsiteX0" y="connsiteY0"/>
                  </a:cxn>
                  <a:cxn ang="0">
                    <a:pos x="connsiteX1" y="connsiteY1"/>
                  </a:cxn>
                  <a:cxn ang="0">
                    <a:pos x="connsiteX2" y="connsiteY2"/>
                  </a:cxn>
                  <a:cxn ang="0">
                    <a:pos x="connsiteX3" y="connsiteY3"/>
                  </a:cxn>
                </a:cxnLst>
                <a:rect l="l" t="t" r="r" b="b"/>
                <a:pathLst>
                  <a:path w="1072463" h="145331">
                    <a:moveTo>
                      <a:pt x="1072045" y="0"/>
                    </a:moveTo>
                    <a:lnTo>
                      <a:pt x="1072464" y="3050"/>
                    </a:lnTo>
                    <a:lnTo>
                      <a:pt x="419" y="145331"/>
                    </a:lnTo>
                    <a:lnTo>
                      <a:pt x="0" y="142281"/>
                    </a:lnTo>
                    <a:close/>
                  </a:path>
                </a:pathLst>
              </a:custGeom>
              <a:grpFill/>
              <a:ln w="5978" cap="flat">
                <a:noFill/>
                <a:prstDash val="solid"/>
                <a:miter/>
              </a:ln>
            </p:spPr>
            <p:txBody>
              <a:bodyPr rtlCol="0" anchor="ctr"/>
              <a:lstStyle/>
              <a:p>
                <a:endParaRPr lang="en-GB"/>
              </a:p>
            </p:txBody>
          </p:sp>
          <p:sp>
            <p:nvSpPr>
              <p:cNvPr id="5346" name="Vrije vorm: vorm 5345">
                <a:extLst>
                  <a:ext uri="{FF2B5EF4-FFF2-40B4-BE49-F238E27FC236}">
                    <a16:creationId xmlns:a16="http://schemas.microsoft.com/office/drawing/2014/main" id="{3C8B5B20-289E-47C9-AC7B-78FDD70F9F17}"/>
                  </a:ext>
                </a:extLst>
              </p:cNvPr>
              <p:cNvSpPr/>
              <p:nvPr/>
            </p:nvSpPr>
            <p:spPr>
              <a:xfrm>
                <a:off x="7716805" y="3105032"/>
                <a:ext cx="18281" cy="18458"/>
              </a:xfrm>
              <a:custGeom>
                <a:avLst/>
                <a:gdLst>
                  <a:gd name="connsiteX0" fmla="*/ 10367 w 18281"/>
                  <a:gd name="connsiteY0" fmla="*/ 18380 h 18458"/>
                  <a:gd name="connsiteX1" fmla="*/ 80 w 18281"/>
                  <a:gd name="connsiteY1" fmla="*/ 10425 h 18458"/>
                  <a:gd name="connsiteX2" fmla="*/ 7915 w 18281"/>
                  <a:gd name="connsiteY2" fmla="*/ 79 h 18458"/>
                  <a:gd name="connsiteX3" fmla="*/ 18202 w 18281"/>
                  <a:gd name="connsiteY3" fmla="*/ 8033 h 18458"/>
                  <a:gd name="connsiteX4" fmla="*/ 10367 w 18281"/>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8">
                    <a:moveTo>
                      <a:pt x="10367" y="18380"/>
                    </a:moveTo>
                    <a:cubicBezTo>
                      <a:pt x="5343" y="19038"/>
                      <a:pt x="738" y="15509"/>
                      <a:pt x="80" y="10425"/>
                    </a:cubicBezTo>
                    <a:cubicBezTo>
                      <a:pt x="-578" y="5402"/>
                      <a:pt x="2891" y="737"/>
                      <a:pt x="7915" y="79"/>
                    </a:cubicBezTo>
                    <a:cubicBezTo>
                      <a:pt x="12939" y="-579"/>
                      <a:pt x="17544" y="2950"/>
                      <a:pt x="18202" y="8033"/>
                    </a:cubicBezTo>
                    <a:cubicBezTo>
                      <a:pt x="18860" y="13117"/>
                      <a:pt x="15391" y="17722"/>
                      <a:pt x="10367" y="18380"/>
                    </a:cubicBezTo>
                    <a:close/>
                  </a:path>
                </a:pathLst>
              </a:custGeom>
              <a:grpFill/>
              <a:ln w="5978" cap="flat">
                <a:noFill/>
                <a:prstDash val="solid"/>
                <a:miter/>
              </a:ln>
            </p:spPr>
            <p:txBody>
              <a:bodyPr rtlCol="0" anchor="ctr"/>
              <a:lstStyle/>
              <a:p>
                <a:endParaRPr lang="en-GB"/>
              </a:p>
            </p:txBody>
          </p:sp>
          <p:sp>
            <p:nvSpPr>
              <p:cNvPr id="5347" name="Vrije vorm: vorm 5346">
                <a:extLst>
                  <a:ext uri="{FF2B5EF4-FFF2-40B4-BE49-F238E27FC236}">
                    <a16:creationId xmlns:a16="http://schemas.microsoft.com/office/drawing/2014/main" id="{E69997DF-6BB3-4390-AF39-F152CA9FEBB5}"/>
                  </a:ext>
                </a:extLst>
              </p:cNvPr>
              <p:cNvSpPr/>
              <p:nvPr/>
            </p:nvSpPr>
            <p:spPr>
              <a:xfrm>
                <a:off x="8787880" y="2962871"/>
                <a:ext cx="18306" cy="18457"/>
              </a:xfrm>
              <a:custGeom>
                <a:avLst/>
                <a:gdLst>
                  <a:gd name="connsiteX0" fmla="*/ 10379 w 18306"/>
                  <a:gd name="connsiteY0" fmla="*/ 18379 h 18457"/>
                  <a:gd name="connsiteX1" fmla="*/ 18214 w 18306"/>
                  <a:gd name="connsiteY1" fmla="*/ 8032 h 18457"/>
                  <a:gd name="connsiteX2" fmla="*/ 7927 w 18306"/>
                  <a:gd name="connsiteY2" fmla="*/ 78 h 18457"/>
                  <a:gd name="connsiteX3" fmla="*/ 93 w 18306"/>
                  <a:gd name="connsiteY3" fmla="*/ 10424 h 18457"/>
                  <a:gd name="connsiteX4" fmla="*/ 10379 w 18306"/>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57">
                    <a:moveTo>
                      <a:pt x="10379" y="18379"/>
                    </a:moveTo>
                    <a:cubicBezTo>
                      <a:pt x="15403" y="17721"/>
                      <a:pt x="18931" y="13056"/>
                      <a:pt x="18214" y="8032"/>
                    </a:cubicBezTo>
                    <a:cubicBezTo>
                      <a:pt x="17556" y="3008"/>
                      <a:pt x="12891" y="-580"/>
                      <a:pt x="7927" y="78"/>
                    </a:cubicBezTo>
                    <a:cubicBezTo>
                      <a:pt x="2903" y="736"/>
                      <a:pt x="-625" y="5401"/>
                      <a:pt x="93" y="10424"/>
                    </a:cubicBezTo>
                    <a:cubicBezTo>
                      <a:pt x="750" y="15508"/>
                      <a:pt x="5415" y="19037"/>
                      <a:pt x="10379" y="18379"/>
                    </a:cubicBezTo>
                    <a:close/>
                  </a:path>
                </a:pathLst>
              </a:custGeom>
              <a:grpFill/>
              <a:ln w="5978" cap="flat">
                <a:noFill/>
                <a:prstDash val="solid"/>
                <a:miter/>
              </a:ln>
            </p:spPr>
            <p:txBody>
              <a:bodyPr rtlCol="0" anchor="ctr"/>
              <a:lstStyle/>
              <a:p>
                <a:endParaRPr lang="en-GB"/>
              </a:p>
            </p:txBody>
          </p:sp>
        </p:grpSp>
        <p:grpSp>
          <p:nvGrpSpPr>
            <p:cNvPr id="9" name="Graphic 3">
              <a:extLst>
                <a:ext uri="{FF2B5EF4-FFF2-40B4-BE49-F238E27FC236}">
                  <a16:creationId xmlns:a16="http://schemas.microsoft.com/office/drawing/2014/main" id="{2D7DB9DE-06AF-4B48-B758-1DFCEC22CE49}"/>
                </a:ext>
              </a:extLst>
            </p:cNvPr>
            <p:cNvGrpSpPr/>
            <p:nvPr/>
          </p:nvGrpSpPr>
          <p:grpSpPr>
            <a:xfrm>
              <a:off x="8273809" y="3382078"/>
              <a:ext cx="189111" cy="20275"/>
              <a:chOff x="8273809" y="3382078"/>
              <a:chExt cx="189111" cy="20275"/>
            </a:xfrm>
            <a:grpFill/>
          </p:grpSpPr>
          <p:sp>
            <p:nvSpPr>
              <p:cNvPr id="5342" name="Vrije vorm: vorm 5341">
                <a:extLst>
                  <a:ext uri="{FF2B5EF4-FFF2-40B4-BE49-F238E27FC236}">
                    <a16:creationId xmlns:a16="http://schemas.microsoft.com/office/drawing/2014/main" id="{47DC2CA1-2F3F-4BC4-A0C9-4B28C2BBF8FE}"/>
                  </a:ext>
                </a:extLst>
              </p:cNvPr>
              <p:cNvSpPr/>
              <p:nvPr/>
            </p:nvSpPr>
            <p:spPr>
              <a:xfrm>
                <a:off x="8282482" y="3389793"/>
                <a:ext cx="171766" cy="4844"/>
              </a:xfrm>
              <a:custGeom>
                <a:avLst/>
                <a:gdLst>
                  <a:gd name="connsiteX0" fmla="*/ 171706 w 171766"/>
                  <a:gd name="connsiteY0" fmla="*/ 0 h 4844"/>
                  <a:gd name="connsiteX1" fmla="*/ 171766 w 171766"/>
                  <a:gd name="connsiteY1" fmla="*/ 3050 h 4844"/>
                  <a:gd name="connsiteX2" fmla="*/ 60 w 171766"/>
                  <a:gd name="connsiteY2" fmla="*/ 4844 h 4844"/>
                  <a:gd name="connsiteX3" fmla="*/ 0 w 171766"/>
                  <a:gd name="connsiteY3" fmla="*/ 1794 h 4844"/>
                </a:gdLst>
                <a:ahLst/>
                <a:cxnLst>
                  <a:cxn ang="0">
                    <a:pos x="connsiteX0" y="connsiteY0"/>
                  </a:cxn>
                  <a:cxn ang="0">
                    <a:pos x="connsiteX1" y="connsiteY1"/>
                  </a:cxn>
                  <a:cxn ang="0">
                    <a:pos x="connsiteX2" y="connsiteY2"/>
                  </a:cxn>
                  <a:cxn ang="0">
                    <a:pos x="connsiteX3" y="connsiteY3"/>
                  </a:cxn>
                </a:cxnLst>
                <a:rect l="l" t="t" r="r" b="b"/>
                <a:pathLst>
                  <a:path w="171766" h="4844">
                    <a:moveTo>
                      <a:pt x="171706" y="0"/>
                    </a:moveTo>
                    <a:lnTo>
                      <a:pt x="171766" y="3050"/>
                    </a:lnTo>
                    <a:lnTo>
                      <a:pt x="60" y="4844"/>
                    </a:lnTo>
                    <a:lnTo>
                      <a:pt x="0" y="1794"/>
                    </a:lnTo>
                    <a:close/>
                  </a:path>
                </a:pathLst>
              </a:custGeom>
              <a:grpFill/>
              <a:ln w="5978" cap="flat">
                <a:noFill/>
                <a:prstDash val="solid"/>
                <a:miter/>
              </a:ln>
            </p:spPr>
            <p:txBody>
              <a:bodyPr rtlCol="0" anchor="ctr"/>
              <a:lstStyle/>
              <a:p>
                <a:endParaRPr lang="en-GB"/>
              </a:p>
            </p:txBody>
          </p:sp>
          <p:sp>
            <p:nvSpPr>
              <p:cNvPr id="5343" name="Vrije vorm: vorm 5342">
                <a:extLst>
                  <a:ext uri="{FF2B5EF4-FFF2-40B4-BE49-F238E27FC236}">
                    <a16:creationId xmlns:a16="http://schemas.microsoft.com/office/drawing/2014/main" id="{AD2644AA-330C-4EB4-A365-D54670C51372}"/>
                  </a:ext>
                </a:extLst>
              </p:cNvPr>
              <p:cNvSpPr/>
              <p:nvPr/>
            </p:nvSpPr>
            <p:spPr>
              <a:xfrm>
                <a:off x="8444619" y="3382078"/>
                <a:ext cx="18301" cy="18421"/>
              </a:xfrm>
              <a:custGeom>
                <a:avLst/>
                <a:gdLst>
                  <a:gd name="connsiteX0" fmla="*/ 9032 w 18301"/>
                  <a:gd name="connsiteY0" fmla="*/ 1 h 18421"/>
                  <a:gd name="connsiteX1" fmla="*/ 18301 w 18301"/>
                  <a:gd name="connsiteY1" fmla="*/ 9091 h 18421"/>
                  <a:gd name="connsiteX2" fmla="*/ 9270 w 18301"/>
                  <a:gd name="connsiteY2" fmla="*/ 18421 h 18421"/>
                  <a:gd name="connsiteX3" fmla="*/ 1 w 18301"/>
                  <a:gd name="connsiteY3" fmla="*/ 9331 h 18421"/>
                  <a:gd name="connsiteX4" fmla="*/ 9032 w 1830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1">
                    <a:moveTo>
                      <a:pt x="9032" y="1"/>
                    </a:moveTo>
                    <a:cubicBezTo>
                      <a:pt x="14115" y="-59"/>
                      <a:pt x="18241" y="4008"/>
                      <a:pt x="18301" y="9091"/>
                    </a:cubicBezTo>
                    <a:cubicBezTo>
                      <a:pt x="18361" y="14175"/>
                      <a:pt x="14355" y="18362"/>
                      <a:pt x="9270" y="18421"/>
                    </a:cubicBezTo>
                    <a:cubicBezTo>
                      <a:pt x="4187" y="18481"/>
                      <a:pt x="61" y="14414"/>
                      <a:pt x="1" y="9331"/>
                    </a:cubicBezTo>
                    <a:cubicBezTo>
                      <a:pt x="-59" y="4247"/>
                      <a:pt x="3948" y="60"/>
                      <a:pt x="9032" y="1"/>
                    </a:cubicBezTo>
                    <a:close/>
                  </a:path>
                </a:pathLst>
              </a:custGeom>
              <a:grpFill/>
              <a:ln w="5978" cap="flat">
                <a:noFill/>
                <a:prstDash val="solid"/>
                <a:miter/>
              </a:ln>
            </p:spPr>
            <p:txBody>
              <a:bodyPr rtlCol="0" anchor="ctr"/>
              <a:lstStyle/>
              <a:p>
                <a:endParaRPr lang="en-GB"/>
              </a:p>
            </p:txBody>
          </p:sp>
          <p:sp>
            <p:nvSpPr>
              <p:cNvPr id="5344" name="Vrije vorm: vorm 5343">
                <a:extLst>
                  <a:ext uri="{FF2B5EF4-FFF2-40B4-BE49-F238E27FC236}">
                    <a16:creationId xmlns:a16="http://schemas.microsoft.com/office/drawing/2014/main" id="{C5FB27DB-FD26-4FC0-BC19-D0E29391A0C9}"/>
                  </a:ext>
                </a:extLst>
              </p:cNvPr>
              <p:cNvSpPr/>
              <p:nvPr/>
            </p:nvSpPr>
            <p:spPr>
              <a:xfrm>
                <a:off x="8273809" y="3383932"/>
                <a:ext cx="18302" cy="18421"/>
              </a:xfrm>
              <a:custGeom>
                <a:avLst/>
                <a:gdLst>
                  <a:gd name="connsiteX0" fmla="*/ 9032 w 18302"/>
                  <a:gd name="connsiteY0" fmla="*/ 1 h 18421"/>
                  <a:gd name="connsiteX1" fmla="*/ 1 w 18302"/>
                  <a:gd name="connsiteY1" fmla="*/ 9331 h 18421"/>
                  <a:gd name="connsiteX2" fmla="*/ 9271 w 18302"/>
                  <a:gd name="connsiteY2" fmla="*/ 18421 h 18421"/>
                  <a:gd name="connsiteX3" fmla="*/ 18302 w 18302"/>
                  <a:gd name="connsiteY3" fmla="*/ 9091 h 18421"/>
                  <a:gd name="connsiteX4" fmla="*/ 9032 w 18302"/>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2" y="1"/>
                    </a:moveTo>
                    <a:cubicBezTo>
                      <a:pt x="3948" y="61"/>
                      <a:pt x="-59" y="4247"/>
                      <a:pt x="1" y="9331"/>
                    </a:cubicBezTo>
                    <a:cubicBezTo>
                      <a:pt x="61" y="14414"/>
                      <a:pt x="4247" y="18481"/>
                      <a:pt x="9271" y="18421"/>
                    </a:cubicBezTo>
                    <a:cubicBezTo>
                      <a:pt x="14355" y="18362"/>
                      <a:pt x="18362" y="14175"/>
                      <a:pt x="18302" y="9091"/>
                    </a:cubicBezTo>
                    <a:cubicBezTo>
                      <a:pt x="18242" y="4008"/>
                      <a:pt x="14115" y="-59"/>
                      <a:pt x="9032" y="1"/>
                    </a:cubicBezTo>
                    <a:close/>
                  </a:path>
                </a:pathLst>
              </a:custGeom>
              <a:grpFill/>
              <a:ln w="5978" cap="flat">
                <a:noFill/>
                <a:prstDash val="solid"/>
                <a:miter/>
              </a:ln>
            </p:spPr>
            <p:txBody>
              <a:bodyPr rtlCol="0" anchor="ctr"/>
              <a:lstStyle/>
              <a:p>
                <a:endParaRPr lang="en-GB"/>
              </a:p>
            </p:txBody>
          </p:sp>
        </p:grpSp>
        <p:grpSp>
          <p:nvGrpSpPr>
            <p:cNvPr id="10" name="Graphic 3">
              <a:extLst>
                <a:ext uri="{FF2B5EF4-FFF2-40B4-BE49-F238E27FC236}">
                  <a16:creationId xmlns:a16="http://schemas.microsoft.com/office/drawing/2014/main" id="{B9394F9A-FFA9-46D5-AF5D-9160B24281B3}"/>
                </a:ext>
              </a:extLst>
            </p:cNvPr>
            <p:cNvGrpSpPr/>
            <p:nvPr/>
          </p:nvGrpSpPr>
          <p:grpSpPr>
            <a:xfrm>
              <a:off x="8293724" y="3467959"/>
              <a:ext cx="194498" cy="23150"/>
              <a:chOff x="8293724" y="3467959"/>
              <a:chExt cx="194498" cy="23150"/>
            </a:xfrm>
            <a:grpFill/>
          </p:grpSpPr>
          <p:sp>
            <p:nvSpPr>
              <p:cNvPr id="5339" name="Vrije vorm: vorm 5338">
                <a:extLst>
                  <a:ext uri="{FF2B5EF4-FFF2-40B4-BE49-F238E27FC236}">
                    <a16:creationId xmlns:a16="http://schemas.microsoft.com/office/drawing/2014/main" id="{1EB63C22-6C93-4979-9BB0-D057A96C0D73}"/>
                  </a:ext>
                </a:extLst>
              </p:cNvPr>
              <p:cNvSpPr/>
              <p:nvPr/>
            </p:nvSpPr>
            <p:spPr>
              <a:xfrm>
                <a:off x="8302398" y="3475617"/>
                <a:ext cx="177148" cy="7834"/>
              </a:xfrm>
              <a:custGeom>
                <a:avLst/>
                <a:gdLst>
                  <a:gd name="connsiteX0" fmla="*/ 177149 w 177148"/>
                  <a:gd name="connsiteY0" fmla="*/ 4785 h 7834"/>
                  <a:gd name="connsiteX1" fmla="*/ 177089 w 177148"/>
                  <a:gd name="connsiteY1" fmla="*/ 7835 h 7834"/>
                  <a:gd name="connsiteX2" fmla="*/ 0 w 177148"/>
                  <a:gd name="connsiteY2" fmla="*/ 3110 h 7834"/>
                  <a:gd name="connsiteX3" fmla="*/ 60 w 177148"/>
                  <a:gd name="connsiteY3" fmla="*/ 0 h 7834"/>
                </a:gdLst>
                <a:ahLst/>
                <a:cxnLst>
                  <a:cxn ang="0">
                    <a:pos x="connsiteX0" y="connsiteY0"/>
                  </a:cxn>
                  <a:cxn ang="0">
                    <a:pos x="connsiteX1" y="connsiteY1"/>
                  </a:cxn>
                  <a:cxn ang="0">
                    <a:pos x="connsiteX2" y="connsiteY2"/>
                  </a:cxn>
                  <a:cxn ang="0">
                    <a:pos x="connsiteX3" y="connsiteY3"/>
                  </a:cxn>
                </a:cxnLst>
                <a:rect l="l" t="t" r="r" b="b"/>
                <a:pathLst>
                  <a:path w="177148" h="7834">
                    <a:moveTo>
                      <a:pt x="177149" y="4785"/>
                    </a:moveTo>
                    <a:lnTo>
                      <a:pt x="177089" y="7835"/>
                    </a:lnTo>
                    <a:lnTo>
                      <a:pt x="0" y="3110"/>
                    </a:lnTo>
                    <a:lnTo>
                      <a:pt x="60" y="0"/>
                    </a:lnTo>
                    <a:close/>
                  </a:path>
                </a:pathLst>
              </a:custGeom>
              <a:grpFill/>
              <a:ln w="5978" cap="flat">
                <a:noFill/>
                <a:prstDash val="solid"/>
                <a:miter/>
              </a:ln>
            </p:spPr>
            <p:txBody>
              <a:bodyPr rtlCol="0" anchor="ctr"/>
              <a:lstStyle/>
              <a:p>
                <a:endParaRPr lang="en-GB"/>
              </a:p>
            </p:txBody>
          </p:sp>
          <p:sp>
            <p:nvSpPr>
              <p:cNvPr id="5340" name="Vrije vorm: vorm 5339">
                <a:extLst>
                  <a:ext uri="{FF2B5EF4-FFF2-40B4-BE49-F238E27FC236}">
                    <a16:creationId xmlns:a16="http://schemas.microsoft.com/office/drawing/2014/main" id="{A595354B-D8EA-4D8F-98E6-50913F775CD1}"/>
                  </a:ext>
                </a:extLst>
              </p:cNvPr>
              <p:cNvSpPr/>
              <p:nvPr/>
            </p:nvSpPr>
            <p:spPr>
              <a:xfrm>
                <a:off x="8469856" y="3472684"/>
                <a:ext cx="18366" cy="18425"/>
              </a:xfrm>
              <a:custGeom>
                <a:avLst/>
                <a:gdLst>
                  <a:gd name="connsiteX0" fmla="*/ 9393 w 18366"/>
                  <a:gd name="connsiteY0" fmla="*/ 3 h 18425"/>
                  <a:gd name="connsiteX1" fmla="*/ 18364 w 18366"/>
                  <a:gd name="connsiteY1" fmla="*/ 9452 h 18425"/>
                  <a:gd name="connsiteX2" fmla="*/ 8974 w 18366"/>
                  <a:gd name="connsiteY2" fmla="*/ 18423 h 18425"/>
                  <a:gd name="connsiteX3" fmla="*/ 3 w 18366"/>
                  <a:gd name="connsiteY3" fmla="*/ 8974 h 18425"/>
                  <a:gd name="connsiteX4" fmla="*/ 9393 w 18366"/>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3" y="3"/>
                    </a:moveTo>
                    <a:cubicBezTo>
                      <a:pt x="14476" y="122"/>
                      <a:pt x="18483" y="4369"/>
                      <a:pt x="18364" y="9452"/>
                    </a:cubicBezTo>
                    <a:cubicBezTo>
                      <a:pt x="18244" y="14536"/>
                      <a:pt x="14057" y="18543"/>
                      <a:pt x="8974" y="18423"/>
                    </a:cubicBezTo>
                    <a:cubicBezTo>
                      <a:pt x="3890" y="18304"/>
                      <a:pt x="-117" y="14057"/>
                      <a:pt x="3" y="8974"/>
                    </a:cubicBezTo>
                    <a:cubicBezTo>
                      <a:pt x="122" y="3890"/>
                      <a:pt x="4368" y="-117"/>
                      <a:pt x="9393" y="3"/>
                    </a:cubicBezTo>
                    <a:close/>
                  </a:path>
                </a:pathLst>
              </a:custGeom>
              <a:grpFill/>
              <a:ln w="5978" cap="flat">
                <a:noFill/>
                <a:prstDash val="solid"/>
                <a:miter/>
              </a:ln>
            </p:spPr>
            <p:txBody>
              <a:bodyPr rtlCol="0" anchor="ctr"/>
              <a:lstStyle/>
              <a:p>
                <a:endParaRPr lang="en-GB"/>
              </a:p>
            </p:txBody>
          </p:sp>
          <p:sp>
            <p:nvSpPr>
              <p:cNvPr id="5341" name="Vrije vorm: vorm 5340">
                <a:extLst>
                  <a:ext uri="{FF2B5EF4-FFF2-40B4-BE49-F238E27FC236}">
                    <a16:creationId xmlns:a16="http://schemas.microsoft.com/office/drawing/2014/main" id="{1196F975-2CFA-4B19-8C54-5D004C7A11E2}"/>
                  </a:ext>
                </a:extLst>
              </p:cNvPr>
              <p:cNvSpPr/>
              <p:nvPr/>
            </p:nvSpPr>
            <p:spPr>
              <a:xfrm>
                <a:off x="8293724" y="3467959"/>
                <a:ext cx="18363" cy="18425"/>
              </a:xfrm>
              <a:custGeom>
                <a:avLst/>
                <a:gdLst>
                  <a:gd name="connsiteX0" fmla="*/ 9392 w 18363"/>
                  <a:gd name="connsiteY0" fmla="*/ 3 h 18425"/>
                  <a:gd name="connsiteX1" fmla="*/ 3 w 18363"/>
                  <a:gd name="connsiteY1" fmla="*/ 8974 h 18425"/>
                  <a:gd name="connsiteX2" fmla="*/ 8974 w 18363"/>
                  <a:gd name="connsiteY2" fmla="*/ 18423 h 18425"/>
                  <a:gd name="connsiteX3" fmla="*/ 18363 w 18363"/>
                  <a:gd name="connsiteY3" fmla="*/ 9452 h 18425"/>
                  <a:gd name="connsiteX4" fmla="*/ 9392 w 18363"/>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5">
                    <a:moveTo>
                      <a:pt x="9392" y="3"/>
                    </a:moveTo>
                    <a:cubicBezTo>
                      <a:pt x="4309" y="-117"/>
                      <a:pt x="122" y="3890"/>
                      <a:pt x="3" y="8974"/>
                    </a:cubicBezTo>
                    <a:cubicBezTo>
                      <a:pt x="-117" y="14057"/>
                      <a:pt x="3890" y="18304"/>
                      <a:pt x="8974" y="18423"/>
                    </a:cubicBezTo>
                    <a:cubicBezTo>
                      <a:pt x="14057" y="18543"/>
                      <a:pt x="18243" y="14536"/>
                      <a:pt x="18363" y="9452"/>
                    </a:cubicBezTo>
                    <a:cubicBezTo>
                      <a:pt x="18423" y="4369"/>
                      <a:pt x="14416" y="182"/>
                      <a:pt x="9392" y="3"/>
                    </a:cubicBezTo>
                    <a:close/>
                  </a:path>
                </a:pathLst>
              </a:custGeom>
              <a:grpFill/>
              <a:ln w="5978" cap="flat">
                <a:noFill/>
                <a:prstDash val="solid"/>
                <a:miter/>
              </a:ln>
            </p:spPr>
            <p:txBody>
              <a:bodyPr rtlCol="0" anchor="ctr"/>
              <a:lstStyle/>
              <a:p>
                <a:endParaRPr lang="en-GB"/>
              </a:p>
            </p:txBody>
          </p:sp>
        </p:grpSp>
        <p:grpSp>
          <p:nvGrpSpPr>
            <p:cNvPr id="11" name="Graphic 3">
              <a:extLst>
                <a:ext uri="{FF2B5EF4-FFF2-40B4-BE49-F238E27FC236}">
                  <a16:creationId xmlns:a16="http://schemas.microsoft.com/office/drawing/2014/main" id="{0B5C74F5-0D05-4EBB-B27B-121D25A410FB}"/>
                </a:ext>
              </a:extLst>
            </p:cNvPr>
            <p:cNvGrpSpPr/>
            <p:nvPr/>
          </p:nvGrpSpPr>
          <p:grpSpPr>
            <a:xfrm>
              <a:off x="8115810" y="3083906"/>
              <a:ext cx="214132" cy="46416"/>
              <a:chOff x="8115810" y="3083906"/>
              <a:chExt cx="214132" cy="46416"/>
            </a:xfrm>
            <a:grpFill/>
          </p:grpSpPr>
          <p:sp>
            <p:nvSpPr>
              <p:cNvPr id="5336" name="Vrije vorm: vorm 5335">
                <a:extLst>
                  <a:ext uri="{FF2B5EF4-FFF2-40B4-BE49-F238E27FC236}">
                    <a16:creationId xmlns:a16="http://schemas.microsoft.com/office/drawing/2014/main" id="{49F4F5AB-AD59-4B8F-B1DF-F479AE390849}"/>
                  </a:ext>
                </a:extLst>
              </p:cNvPr>
              <p:cNvSpPr/>
              <p:nvPr/>
            </p:nvSpPr>
            <p:spPr>
              <a:xfrm>
                <a:off x="8124292" y="3091535"/>
                <a:ext cx="197184" cy="31159"/>
              </a:xfrm>
              <a:custGeom>
                <a:avLst/>
                <a:gdLst>
                  <a:gd name="connsiteX0" fmla="*/ 196706 w 197184"/>
                  <a:gd name="connsiteY0" fmla="*/ 0 h 31159"/>
                  <a:gd name="connsiteX1" fmla="*/ 197185 w 197184"/>
                  <a:gd name="connsiteY1" fmla="*/ 3050 h 31159"/>
                  <a:gd name="connsiteX2" fmla="*/ 419 w 197184"/>
                  <a:gd name="connsiteY2" fmla="*/ 31160 h 31159"/>
                  <a:gd name="connsiteX3" fmla="*/ 0 w 197184"/>
                  <a:gd name="connsiteY3" fmla="*/ 28169 h 31159"/>
                </a:gdLst>
                <a:ahLst/>
                <a:cxnLst>
                  <a:cxn ang="0">
                    <a:pos x="connsiteX0" y="connsiteY0"/>
                  </a:cxn>
                  <a:cxn ang="0">
                    <a:pos x="connsiteX1" y="connsiteY1"/>
                  </a:cxn>
                  <a:cxn ang="0">
                    <a:pos x="connsiteX2" y="connsiteY2"/>
                  </a:cxn>
                  <a:cxn ang="0">
                    <a:pos x="connsiteX3" y="connsiteY3"/>
                  </a:cxn>
                </a:cxnLst>
                <a:rect l="l" t="t" r="r" b="b"/>
                <a:pathLst>
                  <a:path w="197184" h="31159">
                    <a:moveTo>
                      <a:pt x="196706" y="0"/>
                    </a:moveTo>
                    <a:lnTo>
                      <a:pt x="197185" y="3050"/>
                    </a:lnTo>
                    <a:lnTo>
                      <a:pt x="419" y="31160"/>
                    </a:lnTo>
                    <a:lnTo>
                      <a:pt x="0" y="28169"/>
                    </a:lnTo>
                    <a:close/>
                  </a:path>
                </a:pathLst>
              </a:custGeom>
              <a:grpFill/>
              <a:ln w="5978" cap="flat">
                <a:noFill/>
                <a:prstDash val="solid"/>
                <a:miter/>
              </a:ln>
            </p:spPr>
            <p:txBody>
              <a:bodyPr rtlCol="0" anchor="ctr"/>
              <a:lstStyle/>
              <a:p>
                <a:endParaRPr lang="en-GB"/>
              </a:p>
            </p:txBody>
          </p:sp>
          <p:sp>
            <p:nvSpPr>
              <p:cNvPr id="5337" name="Vrije vorm: vorm 5336">
                <a:extLst>
                  <a:ext uri="{FF2B5EF4-FFF2-40B4-BE49-F238E27FC236}">
                    <a16:creationId xmlns:a16="http://schemas.microsoft.com/office/drawing/2014/main" id="{3BC72AD3-0AEF-4F7B-B835-972255441155}"/>
                  </a:ext>
                </a:extLst>
              </p:cNvPr>
              <p:cNvSpPr/>
              <p:nvPr/>
            </p:nvSpPr>
            <p:spPr>
              <a:xfrm>
                <a:off x="8311619" y="3083906"/>
                <a:ext cx="18324" cy="18426"/>
              </a:xfrm>
              <a:custGeom>
                <a:avLst/>
                <a:gdLst>
                  <a:gd name="connsiteX0" fmla="*/ 7824 w 18324"/>
                  <a:gd name="connsiteY0" fmla="*/ 93 h 18426"/>
                  <a:gd name="connsiteX1" fmla="*/ 18230 w 18324"/>
                  <a:gd name="connsiteY1" fmla="*/ 7927 h 18426"/>
                  <a:gd name="connsiteX2" fmla="*/ 10515 w 18324"/>
                  <a:gd name="connsiteY2" fmla="*/ 18334 h 18426"/>
                  <a:gd name="connsiteX3" fmla="*/ 109 w 18324"/>
                  <a:gd name="connsiteY3" fmla="*/ 10499 h 18426"/>
                  <a:gd name="connsiteX4" fmla="*/ 7824 w 18324"/>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6">
                    <a:moveTo>
                      <a:pt x="7824" y="93"/>
                    </a:moveTo>
                    <a:cubicBezTo>
                      <a:pt x="12848" y="-625"/>
                      <a:pt x="17512" y="2904"/>
                      <a:pt x="18230" y="7927"/>
                    </a:cubicBezTo>
                    <a:cubicBezTo>
                      <a:pt x="18948" y="12951"/>
                      <a:pt x="15479" y="17616"/>
                      <a:pt x="10515" y="18334"/>
                    </a:cubicBezTo>
                    <a:cubicBezTo>
                      <a:pt x="5491" y="19051"/>
                      <a:pt x="827" y="15523"/>
                      <a:pt x="109" y="10499"/>
                    </a:cubicBezTo>
                    <a:cubicBezTo>
                      <a:pt x="-669" y="5475"/>
                      <a:pt x="2800" y="810"/>
                      <a:pt x="7824" y="93"/>
                    </a:cubicBezTo>
                    <a:close/>
                  </a:path>
                </a:pathLst>
              </a:custGeom>
              <a:grpFill/>
              <a:ln w="5978" cap="flat">
                <a:noFill/>
                <a:prstDash val="solid"/>
                <a:miter/>
              </a:ln>
            </p:spPr>
            <p:txBody>
              <a:bodyPr rtlCol="0" anchor="ctr"/>
              <a:lstStyle/>
              <a:p>
                <a:endParaRPr lang="en-GB"/>
              </a:p>
            </p:txBody>
          </p:sp>
          <p:sp>
            <p:nvSpPr>
              <p:cNvPr id="5338" name="Vrije vorm: vorm 5337">
                <a:extLst>
                  <a:ext uri="{FF2B5EF4-FFF2-40B4-BE49-F238E27FC236}">
                    <a16:creationId xmlns:a16="http://schemas.microsoft.com/office/drawing/2014/main" id="{4336FDCF-19F1-4B8D-85B1-87B41A5DF062}"/>
                  </a:ext>
                </a:extLst>
              </p:cNvPr>
              <p:cNvSpPr/>
              <p:nvPr/>
            </p:nvSpPr>
            <p:spPr>
              <a:xfrm>
                <a:off x="8115810" y="3111896"/>
                <a:ext cx="18338" cy="18426"/>
              </a:xfrm>
              <a:custGeom>
                <a:avLst/>
                <a:gdLst>
                  <a:gd name="connsiteX0" fmla="*/ 7824 w 18338"/>
                  <a:gd name="connsiteY0" fmla="*/ 93 h 18426"/>
                  <a:gd name="connsiteX1" fmla="*/ 109 w 18338"/>
                  <a:gd name="connsiteY1" fmla="*/ 10499 h 18426"/>
                  <a:gd name="connsiteX2" fmla="*/ 10515 w 18338"/>
                  <a:gd name="connsiteY2" fmla="*/ 18334 h 18426"/>
                  <a:gd name="connsiteX3" fmla="*/ 18230 w 18338"/>
                  <a:gd name="connsiteY3" fmla="*/ 7927 h 18426"/>
                  <a:gd name="connsiteX4" fmla="*/ 7824 w 18338"/>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6">
                    <a:moveTo>
                      <a:pt x="7824" y="93"/>
                    </a:moveTo>
                    <a:cubicBezTo>
                      <a:pt x="2800" y="810"/>
                      <a:pt x="-669" y="5475"/>
                      <a:pt x="109" y="10499"/>
                    </a:cubicBezTo>
                    <a:cubicBezTo>
                      <a:pt x="827" y="15523"/>
                      <a:pt x="5491" y="19051"/>
                      <a:pt x="10515" y="18334"/>
                    </a:cubicBezTo>
                    <a:cubicBezTo>
                      <a:pt x="15539" y="17616"/>
                      <a:pt x="19008" y="12951"/>
                      <a:pt x="18230" y="7927"/>
                    </a:cubicBezTo>
                    <a:cubicBezTo>
                      <a:pt x="17452" y="2904"/>
                      <a:pt x="12847" y="-625"/>
                      <a:pt x="7824" y="93"/>
                    </a:cubicBezTo>
                    <a:close/>
                  </a:path>
                </a:pathLst>
              </a:custGeom>
              <a:grpFill/>
              <a:ln w="5978" cap="flat">
                <a:noFill/>
                <a:prstDash val="solid"/>
                <a:miter/>
              </a:ln>
            </p:spPr>
            <p:txBody>
              <a:bodyPr rtlCol="0" anchor="ctr"/>
              <a:lstStyle/>
              <a:p>
                <a:endParaRPr lang="en-GB"/>
              </a:p>
            </p:txBody>
          </p:sp>
        </p:grpSp>
        <p:grpSp>
          <p:nvGrpSpPr>
            <p:cNvPr id="12" name="Graphic 3">
              <a:extLst>
                <a:ext uri="{FF2B5EF4-FFF2-40B4-BE49-F238E27FC236}">
                  <a16:creationId xmlns:a16="http://schemas.microsoft.com/office/drawing/2014/main" id="{4D137D69-A0AB-4FD9-B3E8-1E48A3093ED4}"/>
                </a:ext>
              </a:extLst>
            </p:cNvPr>
            <p:cNvGrpSpPr/>
            <p:nvPr/>
          </p:nvGrpSpPr>
          <p:grpSpPr>
            <a:xfrm>
              <a:off x="7738709" y="3390087"/>
              <a:ext cx="1173190" cy="58742"/>
              <a:chOff x="7738709" y="3390087"/>
              <a:chExt cx="1173190" cy="58742"/>
            </a:xfrm>
            <a:grpFill/>
          </p:grpSpPr>
          <p:sp>
            <p:nvSpPr>
              <p:cNvPr id="5333" name="Vrije vorm: vorm 5332">
                <a:extLst>
                  <a:ext uri="{FF2B5EF4-FFF2-40B4-BE49-F238E27FC236}">
                    <a16:creationId xmlns:a16="http://schemas.microsoft.com/office/drawing/2014/main" id="{7A6FE1AE-1DC5-400D-912E-B4BA46E073F9}"/>
                  </a:ext>
                </a:extLst>
              </p:cNvPr>
              <p:cNvSpPr/>
              <p:nvPr/>
            </p:nvSpPr>
            <p:spPr>
              <a:xfrm>
                <a:off x="7747327" y="3397748"/>
                <a:ext cx="1155953" cy="43420"/>
              </a:xfrm>
              <a:custGeom>
                <a:avLst/>
                <a:gdLst>
                  <a:gd name="connsiteX0" fmla="*/ 1155954 w 1155953"/>
                  <a:gd name="connsiteY0" fmla="*/ 40370 h 43420"/>
                  <a:gd name="connsiteX1" fmla="*/ 1155834 w 1155953"/>
                  <a:gd name="connsiteY1" fmla="*/ 43420 h 43420"/>
                  <a:gd name="connsiteX2" fmla="*/ 0 w 1155953"/>
                  <a:gd name="connsiteY2" fmla="*/ 3050 h 43420"/>
                  <a:gd name="connsiteX3" fmla="*/ 59 w 1155953"/>
                  <a:gd name="connsiteY3" fmla="*/ 0 h 43420"/>
                </a:gdLst>
                <a:ahLst/>
                <a:cxnLst>
                  <a:cxn ang="0">
                    <a:pos x="connsiteX0" y="connsiteY0"/>
                  </a:cxn>
                  <a:cxn ang="0">
                    <a:pos x="connsiteX1" y="connsiteY1"/>
                  </a:cxn>
                  <a:cxn ang="0">
                    <a:pos x="connsiteX2" y="connsiteY2"/>
                  </a:cxn>
                  <a:cxn ang="0">
                    <a:pos x="connsiteX3" y="connsiteY3"/>
                  </a:cxn>
                </a:cxnLst>
                <a:rect l="l" t="t" r="r" b="b"/>
                <a:pathLst>
                  <a:path w="1155953" h="43420">
                    <a:moveTo>
                      <a:pt x="1155954" y="40370"/>
                    </a:moveTo>
                    <a:lnTo>
                      <a:pt x="1155834" y="43420"/>
                    </a:lnTo>
                    <a:lnTo>
                      <a:pt x="0" y="3050"/>
                    </a:lnTo>
                    <a:lnTo>
                      <a:pt x="59" y="0"/>
                    </a:lnTo>
                    <a:close/>
                  </a:path>
                </a:pathLst>
              </a:custGeom>
              <a:grpFill/>
              <a:ln w="5978" cap="flat">
                <a:noFill/>
                <a:prstDash val="solid"/>
                <a:miter/>
              </a:ln>
            </p:spPr>
            <p:txBody>
              <a:bodyPr rtlCol="0" anchor="ctr"/>
              <a:lstStyle/>
              <a:p>
                <a:endParaRPr lang="en-GB"/>
              </a:p>
            </p:txBody>
          </p:sp>
          <p:sp>
            <p:nvSpPr>
              <p:cNvPr id="5334" name="Vrije vorm: vorm 5333">
                <a:extLst>
                  <a:ext uri="{FF2B5EF4-FFF2-40B4-BE49-F238E27FC236}">
                    <a16:creationId xmlns:a16="http://schemas.microsoft.com/office/drawing/2014/main" id="{B122960B-0D4A-4F7D-AD7A-67A8A75FC007}"/>
                  </a:ext>
                </a:extLst>
              </p:cNvPr>
              <p:cNvSpPr/>
              <p:nvPr/>
            </p:nvSpPr>
            <p:spPr>
              <a:xfrm>
                <a:off x="7738709" y="3390087"/>
                <a:ext cx="18313" cy="18432"/>
              </a:xfrm>
              <a:custGeom>
                <a:avLst/>
                <a:gdLst>
                  <a:gd name="connsiteX0" fmla="*/ 8857 w 18313"/>
                  <a:gd name="connsiteY0" fmla="*/ 18426 h 18432"/>
                  <a:gd name="connsiteX1" fmla="*/ 6 w 18313"/>
                  <a:gd name="connsiteY1" fmla="*/ 8917 h 18432"/>
                  <a:gd name="connsiteX2" fmla="*/ 9455 w 18313"/>
                  <a:gd name="connsiteY2" fmla="*/ 6 h 18432"/>
                  <a:gd name="connsiteX3" fmla="*/ 18307 w 18313"/>
                  <a:gd name="connsiteY3" fmla="*/ 9515 h 18432"/>
                  <a:gd name="connsiteX4" fmla="*/ 8857 w 18313"/>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2">
                    <a:moveTo>
                      <a:pt x="8857" y="18426"/>
                    </a:moveTo>
                    <a:cubicBezTo>
                      <a:pt x="3774" y="18247"/>
                      <a:pt x="-174" y="14001"/>
                      <a:pt x="6" y="8917"/>
                    </a:cubicBezTo>
                    <a:cubicBezTo>
                      <a:pt x="185" y="3833"/>
                      <a:pt x="4372" y="-174"/>
                      <a:pt x="9455" y="6"/>
                    </a:cubicBezTo>
                    <a:cubicBezTo>
                      <a:pt x="14539" y="185"/>
                      <a:pt x="18486" y="4431"/>
                      <a:pt x="18307" y="9515"/>
                    </a:cubicBezTo>
                    <a:cubicBezTo>
                      <a:pt x="18128" y="14599"/>
                      <a:pt x="13882" y="18606"/>
                      <a:pt x="8857" y="18426"/>
                    </a:cubicBezTo>
                    <a:close/>
                  </a:path>
                </a:pathLst>
              </a:custGeom>
              <a:grpFill/>
              <a:ln w="5978" cap="flat">
                <a:noFill/>
                <a:prstDash val="solid"/>
                <a:miter/>
              </a:ln>
            </p:spPr>
            <p:txBody>
              <a:bodyPr rtlCol="0" anchor="ctr"/>
              <a:lstStyle/>
              <a:p>
                <a:endParaRPr lang="en-GB"/>
              </a:p>
            </p:txBody>
          </p:sp>
          <p:sp>
            <p:nvSpPr>
              <p:cNvPr id="5335" name="Vrije vorm: vorm 5334">
                <a:extLst>
                  <a:ext uri="{FF2B5EF4-FFF2-40B4-BE49-F238E27FC236}">
                    <a16:creationId xmlns:a16="http://schemas.microsoft.com/office/drawing/2014/main" id="{0A636427-7638-44BA-94A0-9CB859027C62}"/>
                  </a:ext>
                </a:extLst>
              </p:cNvPr>
              <p:cNvSpPr/>
              <p:nvPr/>
            </p:nvSpPr>
            <p:spPr>
              <a:xfrm>
                <a:off x="8893586" y="3430397"/>
                <a:ext cx="18312" cy="18432"/>
              </a:xfrm>
              <a:custGeom>
                <a:avLst/>
                <a:gdLst>
                  <a:gd name="connsiteX0" fmla="*/ 8857 w 18312"/>
                  <a:gd name="connsiteY0" fmla="*/ 18427 h 18432"/>
                  <a:gd name="connsiteX1" fmla="*/ 18307 w 18312"/>
                  <a:gd name="connsiteY1" fmla="*/ 9515 h 18432"/>
                  <a:gd name="connsiteX2" fmla="*/ 9456 w 18312"/>
                  <a:gd name="connsiteY2" fmla="*/ 6 h 18432"/>
                  <a:gd name="connsiteX3" fmla="*/ 6 w 18312"/>
                  <a:gd name="connsiteY3" fmla="*/ 8917 h 18432"/>
                  <a:gd name="connsiteX4" fmla="*/ 8857 w 1831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8857" y="18427"/>
                    </a:moveTo>
                    <a:cubicBezTo>
                      <a:pt x="13941" y="18606"/>
                      <a:pt x="18128" y="14599"/>
                      <a:pt x="18307" y="9515"/>
                    </a:cubicBezTo>
                    <a:cubicBezTo>
                      <a:pt x="18487" y="4432"/>
                      <a:pt x="14479" y="185"/>
                      <a:pt x="9456" y="6"/>
                    </a:cubicBezTo>
                    <a:cubicBezTo>
                      <a:pt x="4372" y="-174"/>
                      <a:pt x="185" y="3834"/>
                      <a:pt x="6" y="8917"/>
                    </a:cubicBezTo>
                    <a:cubicBezTo>
                      <a:pt x="-173" y="14001"/>
                      <a:pt x="3834" y="18247"/>
                      <a:pt x="8857" y="18427"/>
                    </a:cubicBezTo>
                    <a:close/>
                  </a:path>
                </a:pathLst>
              </a:custGeom>
              <a:grpFill/>
              <a:ln w="5978" cap="flat">
                <a:noFill/>
                <a:prstDash val="solid"/>
                <a:miter/>
              </a:ln>
            </p:spPr>
            <p:txBody>
              <a:bodyPr rtlCol="0" anchor="ctr"/>
              <a:lstStyle/>
              <a:p>
                <a:endParaRPr lang="en-GB"/>
              </a:p>
            </p:txBody>
          </p:sp>
        </p:grpSp>
        <p:grpSp>
          <p:nvGrpSpPr>
            <p:cNvPr id="13" name="Graphic 3">
              <a:extLst>
                <a:ext uri="{FF2B5EF4-FFF2-40B4-BE49-F238E27FC236}">
                  <a16:creationId xmlns:a16="http://schemas.microsoft.com/office/drawing/2014/main" id="{C8FEB63B-87C1-4947-B62C-AABFF98A9522}"/>
                </a:ext>
              </a:extLst>
            </p:cNvPr>
            <p:cNvGrpSpPr/>
            <p:nvPr/>
          </p:nvGrpSpPr>
          <p:grpSpPr>
            <a:xfrm>
              <a:off x="7539283" y="1562800"/>
              <a:ext cx="256641" cy="272331"/>
              <a:chOff x="7539283" y="1562800"/>
              <a:chExt cx="256641" cy="272331"/>
            </a:xfrm>
            <a:grpFill/>
          </p:grpSpPr>
          <p:sp>
            <p:nvSpPr>
              <p:cNvPr id="5330" name="Vrije vorm: vorm 5329">
                <a:extLst>
                  <a:ext uri="{FF2B5EF4-FFF2-40B4-BE49-F238E27FC236}">
                    <a16:creationId xmlns:a16="http://schemas.microsoft.com/office/drawing/2014/main" id="{BE7651F9-797A-4860-8388-7D711F28E73B}"/>
                  </a:ext>
                </a:extLst>
              </p:cNvPr>
              <p:cNvSpPr/>
              <p:nvPr/>
            </p:nvSpPr>
            <p:spPr>
              <a:xfrm>
                <a:off x="7547032" y="1570578"/>
                <a:ext cx="241083" cy="256692"/>
              </a:xfrm>
              <a:custGeom>
                <a:avLst/>
                <a:gdLst>
                  <a:gd name="connsiteX0" fmla="*/ 241083 w 241083"/>
                  <a:gd name="connsiteY0" fmla="*/ 2153 h 256692"/>
                  <a:gd name="connsiteX1" fmla="*/ 2214 w 241083"/>
                  <a:gd name="connsiteY1" fmla="*/ 256693 h 256692"/>
                  <a:gd name="connsiteX2" fmla="*/ 0 w 241083"/>
                  <a:gd name="connsiteY2" fmla="*/ 254599 h 256692"/>
                  <a:gd name="connsiteX3" fmla="*/ 238870 w 241083"/>
                  <a:gd name="connsiteY3" fmla="*/ 0 h 256692"/>
                </a:gdLst>
                <a:ahLst/>
                <a:cxnLst>
                  <a:cxn ang="0">
                    <a:pos x="connsiteX0" y="connsiteY0"/>
                  </a:cxn>
                  <a:cxn ang="0">
                    <a:pos x="connsiteX1" y="connsiteY1"/>
                  </a:cxn>
                  <a:cxn ang="0">
                    <a:pos x="connsiteX2" y="connsiteY2"/>
                  </a:cxn>
                  <a:cxn ang="0">
                    <a:pos x="connsiteX3" y="connsiteY3"/>
                  </a:cxn>
                </a:cxnLst>
                <a:rect l="l" t="t" r="r" b="b"/>
                <a:pathLst>
                  <a:path w="241083" h="256692">
                    <a:moveTo>
                      <a:pt x="241083" y="2153"/>
                    </a:moveTo>
                    <a:lnTo>
                      <a:pt x="2214" y="256693"/>
                    </a:lnTo>
                    <a:lnTo>
                      <a:pt x="0" y="254599"/>
                    </a:lnTo>
                    <a:lnTo>
                      <a:pt x="238870" y="0"/>
                    </a:lnTo>
                    <a:close/>
                  </a:path>
                </a:pathLst>
              </a:custGeom>
              <a:grpFill/>
              <a:ln w="5978" cap="flat">
                <a:noFill/>
                <a:prstDash val="solid"/>
                <a:miter/>
              </a:ln>
            </p:spPr>
            <p:txBody>
              <a:bodyPr rtlCol="0" anchor="ctr"/>
              <a:lstStyle/>
              <a:p>
                <a:endParaRPr lang="en-GB"/>
              </a:p>
            </p:txBody>
          </p:sp>
          <p:sp>
            <p:nvSpPr>
              <p:cNvPr id="5331" name="Vrije vorm: vorm 5330">
                <a:extLst>
                  <a:ext uri="{FF2B5EF4-FFF2-40B4-BE49-F238E27FC236}">
                    <a16:creationId xmlns:a16="http://schemas.microsoft.com/office/drawing/2014/main" id="{B24298B6-6085-4377-BBB0-DCFCAB1A0571}"/>
                  </a:ext>
                </a:extLst>
              </p:cNvPr>
              <p:cNvSpPr/>
              <p:nvPr/>
            </p:nvSpPr>
            <p:spPr>
              <a:xfrm>
                <a:off x="7777555" y="1562800"/>
                <a:ext cx="18370" cy="18426"/>
              </a:xfrm>
              <a:custGeom>
                <a:avLst/>
                <a:gdLst>
                  <a:gd name="connsiteX0" fmla="*/ 2487 w 18370"/>
                  <a:gd name="connsiteY0" fmla="*/ 2874 h 18426"/>
                  <a:gd name="connsiteX1" fmla="*/ 15465 w 18370"/>
                  <a:gd name="connsiteY1" fmla="*/ 2515 h 18426"/>
                  <a:gd name="connsiteX2" fmla="*/ 15884 w 18370"/>
                  <a:gd name="connsiteY2" fmla="*/ 15553 h 18426"/>
                  <a:gd name="connsiteX3" fmla="*/ 2905 w 18370"/>
                  <a:gd name="connsiteY3" fmla="*/ 15912 h 18426"/>
                  <a:gd name="connsiteX4" fmla="*/ 2487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7" y="2874"/>
                    </a:moveTo>
                    <a:cubicBezTo>
                      <a:pt x="5956" y="-834"/>
                      <a:pt x="11757" y="-954"/>
                      <a:pt x="15465" y="2515"/>
                    </a:cubicBezTo>
                    <a:cubicBezTo>
                      <a:pt x="19173" y="6043"/>
                      <a:pt x="19352" y="11845"/>
                      <a:pt x="15884" y="15553"/>
                    </a:cubicBezTo>
                    <a:cubicBezTo>
                      <a:pt x="12415" y="19261"/>
                      <a:pt x="6613" y="19380"/>
                      <a:pt x="2905" y="15912"/>
                    </a:cubicBezTo>
                    <a:cubicBezTo>
                      <a:pt x="-803" y="12383"/>
                      <a:pt x="-982" y="6522"/>
                      <a:pt x="2487" y="2874"/>
                    </a:cubicBezTo>
                    <a:close/>
                  </a:path>
                </a:pathLst>
              </a:custGeom>
              <a:grpFill/>
              <a:ln w="5978" cap="flat">
                <a:noFill/>
                <a:prstDash val="solid"/>
                <a:miter/>
              </a:ln>
            </p:spPr>
            <p:txBody>
              <a:bodyPr rtlCol="0" anchor="ctr"/>
              <a:lstStyle/>
              <a:p>
                <a:endParaRPr lang="en-GB"/>
              </a:p>
            </p:txBody>
          </p:sp>
          <p:sp>
            <p:nvSpPr>
              <p:cNvPr id="5332" name="Vrije vorm: vorm 5331">
                <a:extLst>
                  <a:ext uri="{FF2B5EF4-FFF2-40B4-BE49-F238E27FC236}">
                    <a16:creationId xmlns:a16="http://schemas.microsoft.com/office/drawing/2014/main" id="{E2502148-BCAD-4265-AC16-A87BB6AB0DD3}"/>
                  </a:ext>
                </a:extLst>
              </p:cNvPr>
              <p:cNvSpPr/>
              <p:nvPr/>
            </p:nvSpPr>
            <p:spPr>
              <a:xfrm>
                <a:off x="7539283" y="1816658"/>
                <a:ext cx="18370" cy="18472"/>
              </a:xfrm>
              <a:custGeom>
                <a:avLst/>
                <a:gdLst>
                  <a:gd name="connsiteX0" fmla="*/ 2487 w 18370"/>
                  <a:gd name="connsiteY0" fmla="*/ 2897 h 18472"/>
                  <a:gd name="connsiteX1" fmla="*/ 2905 w 18370"/>
                  <a:gd name="connsiteY1" fmla="*/ 15935 h 18472"/>
                  <a:gd name="connsiteX2" fmla="*/ 15884 w 18370"/>
                  <a:gd name="connsiteY2" fmla="*/ 15576 h 18472"/>
                  <a:gd name="connsiteX3" fmla="*/ 15465 w 18370"/>
                  <a:gd name="connsiteY3" fmla="*/ 2538 h 18472"/>
                  <a:gd name="connsiteX4" fmla="*/ 2487 w 18370"/>
                  <a:gd name="connsiteY4" fmla="*/ 2897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72">
                    <a:moveTo>
                      <a:pt x="2487" y="2897"/>
                    </a:moveTo>
                    <a:cubicBezTo>
                      <a:pt x="-982" y="6605"/>
                      <a:pt x="-803" y="12406"/>
                      <a:pt x="2905" y="15935"/>
                    </a:cubicBezTo>
                    <a:cubicBezTo>
                      <a:pt x="6613" y="19464"/>
                      <a:pt x="12414" y="19284"/>
                      <a:pt x="15884" y="15576"/>
                    </a:cubicBezTo>
                    <a:cubicBezTo>
                      <a:pt x="19352" y="11868"/>
                      <a:pt x="19173" y="6067"/>
                      <a:pt x="15465" y="2538"/>
                    </a:cubicBezTo>
                    <a:cubicBezTo>
                      <a:pt x="11757" y="-991"/>
                      <a:pt x="5956" y="-811"/>
                      <a:pt x="2487" y="2897"/>
                    </a:cubicBezTo>
                    <a:close/>
                  </a:path>
                </a:pathLst>
              </a:custGeom>
              <a:grpFill/>
              <a:ln w="5978" cap="flat">
                <a:noFill/>
                <a:prstDash val="solid"/>
                <a:miter/>
              </a:ln>
            </p:spPr>
            <p:txBody>
              <a:bodyPr rtlCol="0" anchor="ctr"/>
              <a:lstStyle/>
              <a:p>
                <a:endParaRPr lang="en-GB"/>
              </a:p>
            </p:txBody>
          </p:sp>
        </p:grpSp>
        <p:grpSp>
          <p:nvGrpSpPr>
            <p:cNvPr id="14" name="Graphic 3">
              <a:extLst>
                <a:ext uri="{FF2B5EF4-FFF2-40B4-BE49-F238E27FC236}">
                  <a16:creationId xmlns:a16="http://schemas.microsoft.com/office/drawing/2014/main" id="{165908B4-087E-42DD-98D5-812C13F8ECBC}"/>
                </a:ext>
              </a:extLst>
            </p:cNvPr>
            <p:cNvGrpSpPr/>
            <p:nvPr/>
          </p:nvGrpSpPr>
          <p:grpSpPr>
            <a:xfrm>
              <a:off x="7874988" y="2991452"/>
              <a:ext cx="483836" cy="102862"/>
              <a:chOff x="7874988" y="2991452"/>
              <a:chExt cx="483836" cy="102862"/>
            </a:xfrm>
            <a:grpFill/>
          </p:grpSpPr>
          <p:sp>
            <p:nvSpPr>
              <p:cNvPr id="5327" name="Vrije vorm: vorm 5326">
                <a:extLst>
                  <a:ext uri="{FF2B5EF4-FFF2-40B4-BE49-F238E27FC236}">
                    <a16:creationId xmlns:a16="http://schemas.microsoft.com/office/drawing/2014/main" id="{E04FD85D-13DA-469E-8C87-FA8EDA0705E8}"/>
                  </a:ext>
                </a:extLst>
              </p:cNvPr>
              <p:cNvSpPr/>
              <p:nvPr/>
            </p:nvSpPr>
            <p:spPr>
              <a:xfrm>
                <a:off x="7883389" y="2999073"/>
                <a:ext cx="466974" cy="87617"/>
              </a:xfrm>
              <a:custGeom>
                <a:avLst/>
                <a:gdLst>
                  <a:gd name="connsiteX0" fmla="*/ 466377 w 466974"/>
                  <a:gd name="connsiteY0" fmla="*/ 0 h 87617"/>
                  <a:gd name="connsiteX1" fmla="*/ 466975 w 466974"/>
                  <a:gd name="connsiteY1" fmla="*/ 2990 h 87617"/>
                  <a:gd name="connsiteX2" fmla="*/ 538 w 466974"/>
                  <a:gd name="connsiteY2" fmla="*/ 87618 h 87617"/>
                  <a:gd name="connsiteX3" fmla="*/ 0 w 466974"/>
                  <a:gd name="connsiteY3" fmla="*/ 84627 h 87617"/>
                </a:gdLst>
                <a:ahLst/>
                <a:cxnLst>
                  <a:cxn ang="0">
                    <a:pos x="connsiteX0" y="connsiteY0"/>
                  </a:cxn>
                  <a:cxn ang="0">
                    <a:pos x="connsiteX1" y="connsiteY1"/>
                  </a:cxn>
                  <a:cxn ang="0">
                    <a:pos x="connsiteX2" y="connsiteY2"/>
                  </a:cxn>
                  <a:cxn ang="0">
                    <a:pos x="connsiteX3" y="connsiteY3"/>
                  </a:cxn>
                </a:cxnLst>
                <a:rect l="l" t="t" r="r" b="b"/>
                <a:pathLst>
                  <a:path w="466974" h="87617">
                    <a:moveTo>
                      <a:pt x="466377" y="0"/>
                    </a:moveTo>
                    <a:lnTo>
                      <a:pt x="466975" y="2990"/>
                    </a:lnTo>
                    <a:lnTo>
                      <a:pt x="538" y="87618"/>
                    </a:lnTo>
                    <a:lnTo>
                      <a:pt x="0" y="84627"/>
                    </a:lnTo>
                    <a:close/>
                  </a:path>
                </a:pathLst>
              </a:custGeom>
              <a:grpFill/>
              <a:ln w="5978" cap="flat">
                <a:noFill/>
                <a:prstDash val="solid"/>
                <a:miter/>
              </a:ln>
            </p:spPr>
            <p:txBody>
              <a:bodyPr rtlCol="0" anchor="ctr"/>
              <a:lstStyle/>
              <a:p>
                <a:endParaRPr lang="en-GB"/>
              </a:p>
            </p:txBody>
          </p:sp>
          <p:sp>
            <p:nvSpPr>
              <p:cNvPr id="5328" name="Vrije vorm: vorm 5327">
                <a:extLst>
                  <a:ext uri="{FF2B5EF4-FFF2-40B4-BE49-F238E27FC236}">
                    <a16:creationId xmlns:a16="http://schemas.microsoft.com/office/drawing/2014/main" id="{69E2E0E5-0901-4CE5-84B1-CC06DE377872}"/>
                  </a:ext>
                </a:extLst>
              </p:cNvPr>
              <p:cNvSpPr/>
              <p:nvPr/>
            </p:nvSpPr>
            <p:spPr>
              <a:xfrm>
                <a:off x="8340449" y="2991452"/>
                <a:ext cx="18374" cy="18412"/>
              </a:xfrm>
              <a:custGeom>
                <a:avLst/>
                <a:gdLst>
                  <a:gd name="connsiteX0" fmla="*/ 7522 w 18374"/>
                  <a:gd name="connsiteY0" fmla="*/ 145 h 18412"/>
                  <a:gd name="connsiteX1" fmla="*/ 18227 w 18374"/>
                  <a:gd name="connsiteY1" fmla="*/ 7561 h 18412"/>
                  <a:gd name="connsiteX2" fmla="*/ 10871 w 18374"/>
                  <a:gd name="connsiteY2" fmla="*/ 18267 h 18412"/>
                  <a:gd name="connsiteX3" fmla="*/ 166 w 18374"/>
                  <a:gd name="connsiteY3" fmla="*/ 10851 h 18412"/>
                  <a:gd name="connsiteX4" fmla="*/ 7522 w 18374"/>
                  <a:gd name="connsiteY4" fmla="*/ 145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12">
                    <a:moveTo>
                      <a:pt x="7522" y="145"/>
                    </a:moveTo>
                    <a:cubicBezTo>
                      <a:pt x="12485" y="-752"/>
                      <a:pt x="17270" y="2598"/>
                      <a:pt x="18227" y="7561"/>
                    </a:cubicBezTo>
                    <a:cubicBezTo>
                      <a:pt x="19125" y="12585"/>
                      <a:pt x="15835" y="17370"/>
                      <a:pt x="10871" y="18267"/>
                    </a:cubicBezTo>
                    <a:cubicBezTo>
                      <a:pt x="5907" y="19164"/>
                      <a:pt x="1123" y="15815"/>
                      <a:pt x="166" y="10851"/>
                    </a:cubicBezTo>
                    <a:cubicBezTo>
                      <a:pt x="-792" y="5827"/>
                      <a:pt x="2498" y="1042"/>
                      <a:pt x="7522" y="145"/>
                    </a:cubicBezTo>
                    <a:close/>
                  </a:path>
                </a:pathLst>
              </a:custGeom>
              <a:grpFill/>
              <a:ln w="5978" cap="flat">
                <a:noFill/>
                <a:prstDash val="solid"/>
                <a:miter/>
              </a:ln>
            </p:spPr>
            <p:txBody>
              <a:bodyPr rtlCol="0" anchor="ctr"/>
              <a:lstStyle/>
              <a:p>
                <a:endParaRPr lang="en-GB"/>
              </a:p>
            </p:txBody>
          </p:sp>
          <p:sp>
            <p:nvSpPr>
              <p:cNvPr id="5329" name="Vrije vorm: vorm 5328">
                <a:extLst>
                  <a:ext uri="{FF2B5EF4-FFF2-40B4-BE49-F238E27FC236}">
                    <a16:creationId xmlns:a16="http://schemas.microsoft.com/office/drawing/2014/main" id="{26048E5F-8D18-4D27-988E-C234054AE0E5}"/>
                  </a:ext>
                </a:extLst>
              </p:cNvPr>
              <p:cNvSpPr/>
              <p:nvPr/>
            </p:nvSpPr>
            <p:spPr>
              <a:xfrm>
                <a:off x="7874988" y="3075899"/>
                <a:ext cx="18356" cy="18414"/>
              </a:xfrm>
              <a:custGeom>
                <a:avLst/>
                <a:gdLst>
                  <a:gd name="connsiteX0" fmla="*/ 7504 w 18356"/>
                  <a:gd name="connsiteY0" fmla="*/ 145 h 18414"/>
                  <a:gd name="connsiteX1" fmla="*/ 147 w 18356"/>
                  <a:gd name="connsiteY1" fmla="*/ 10851 h 18414"/>
                  <a:gd name="connsiteX2" fmla="*/ 10852 w 18356"/>
                  <a:gd name="connsiteY2" fmla="*/ 18267 h 18414"/>
                  <a:gd name="connsiteX3" fmla="*/ 18209 w 18356"/>
                  <a:gd name="connsiteY3" fmla="*/ 7562 h 18414"/>
                  <a:gd name="connsiteX4" fmla="*/ 7504 w 18356"/>
                  <a:gd name="connsiteY4" fmla="*/ 14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4">
                    <a:moveTo>
                      <a:pt x="7504" y="145"/>
                    </a:moveTo>
                    <a:cubicBezTo>
                      <a:pt x="2539" y="1042"/>
                      <a:pt x="-750" y="5827"/>
                      <a:pt x="147" y="10851"/>
                    </a:cubicBezTo>
                    <a:cubicBezTo>
                      <a:pt x="1044" y="15875"/>
                      <a:pt x="5829" y="19164"/>
                      <a:pt x="10852" y="18267"/>
                    </a:cubicBezTo>
                    <a:cubicBezTo>
                      <a:pt x="15817" y="17370"/>
                      <a:pt x="19106" y="12585"/>
                      <a:pt x="18209" y="7562"/>
                    </a:cubicBezTo>
                    <a:cubicBezTo>
                      <a:pt x="17252" y="2598"/>
                      <a:pt x="12467" y="-752"/>
                      <a:pt x="7504" y="145"/>
                    </a:cubicBezTo>
                    <a:close/>
                  </a:path>
                </a:pathLst>
              </a:custGeom>
              <a:grpFill/>
              <a:ln w="5978" cap="flat">
                <a:noFill/>
                <a:prstDash val="solid"/>
                <a:miter/>
              </a:ln>
            </p:spPr>
            <p:txBody>
              <a:bodyPr rtlCol="0" anchor="ctr"/>
              <a:lstStyle/>
              <a:p>
                <a:endParaRPr lang="en-GB"/>
              </a:p>
            </p:txBody>
          </p:sp>
        </p:grpSp>
        <p:grpSp>
          <p:nvGrpSpPr>
            <p:cNvPr id="15" name="Graphic 3">
              <a:extLst>
                <a:ext uri="{FF2B5EF4-FFF2-40B4-BE49-F238E27FC236}">
                  <a16:creationId xmlns:a16="http://schemas.microsoft.com/office/drawing/2014/main" id="{CD7B65CF-F9D4-4A21-9722-6EB663EE2F88}"/>
                </a:ext>
              </a:extLst>
            </p:cNvPr>
            <p:cNvGrpSpPr/>
            <p:nvPr/>
          </p:nvGrpSpPr>
          <p:grpSpPr>
            <a:xfrm>
              <a:off x="7855213" y="2612713"/>
              <a:ext cx="276346" cy="117644"/>
              <a:chOff x="7855213" y="2612713"/>
              <a:chExt cx="276346" cy="117644"/>
            </a:xfrm>
            <a:grpFill/>
          </p:grpSpPr>
          <p:sp>
            <p:nvSpPr>
              <p:cNvPr id="5324" name="Vrije vorm: vorm 5323">
                <a:extLst>
                  <a:ext uri="{FF2B5EF4-FFF2-40B4-BE49-F238E27FC236}">
                    <a16:creationId xmlns:a16="http://schemas.microsoft.com/office/drawing/2014/main" id="{92324759-FACB-4A03-84AD-B6BB75695E33}"/>
                  </a:ext>
                </a:extLst>
              </p:cNvPr>
              <p:cNvSpPr/>
              <p:nvPr/>
            </p:nvSpPr>
            <p:spPr>
              <a:xfrm>
                <a:off x="7863156" y="2620137"/>
                <a:ext cx="259923" cy="102406"/>
              </a:xfrm>
              <a:custGeom>
                <a:avLst/>
                <a:gdLst>
                  <a:gd name="connsiteX0" fmla="*/ 0 w 259923"/>
                  <a:gd name="connsiteY0" fmla="*/ 99560 h 102406"/>
                  <a:gd name="connsiteX1" fmla="*/ 258829 w 259923"/>
                  <a:gd name="connsiteY1" fmla="*/ 0 h 102406"/>
                  <a:gd name="connsiteX2" fmla="*/ 259924 w 259923"/>
                  <a:gd name="connsiteY2" fmla="*/ 2847 h 102406"/>
                  <a:gd name="connsiteX3" fmla="*/ 1095 w 259923"/>
                  <a:gd name="connsiteY3" fmla="*/ 102407 h 102406"/>
                </a:gdLst>
                <a:ahLst/>
                <a:cxnLst>
                  <a:cxn ang="0">
                    <a:pos x="connsiteX0" y="connsiteY0"/>
                  </a:cxn>
                  <a:cxn ang="0">
                    <a:pos x="connsiteX1" y="connsiteY1"/>
                  </a:cxn>
                  <a:cxn ang="0">
                    <a:pos x="connsiteX2" y="connsiteY2"/>
                  </a:cxn>
                  <a:cxn ang="0">
                    <a:pos x="connsiteX3" y="connsiteY3"/>
                  </a:cxn>
                </a:cxnLst>
                <a:rect l="l" t="t" r="r" b="b"/>
                <a:pathLst>
                  <a:path w="259923" h="102406">
                    <a:moveTo>
                      <a:pt x="0" y="99560"/>
                    </a:moveTo>
                    <a:lnTo>
                      <a:pt x="258829" y="0"/>
                    </a:lnTo>
                    <a:lnTo>
                      <a:pt x="259924" y="2847"/>
                    </a:lnTo>
                    <a:lnTo>
                      <a:pt x="1095" y="102407"/>
                    </a:lnTo>
                    <a:close/>
                  </a:path>
                </a:pathLst>
              </a:custGeom>
              <a:grpFill/>
              <a:ln w="5978" cap="flat">
                <a:noFill/>
                <a:prstDash val="solid"/>
                <a:miter/>
              </a:ln>
            </p:spPr>
            <p:txBody>
              <a:bodyPr rtlCol="0" anchor="ctr"/>
              <a:lstStyle/>
              <a:p>
                <a:endParaRPr lang="en-GB"/>
              </a:p>
            </p:txBody>
          </p:sp>
          <p:sp>
            <p:nvSpPr>
              <p:cNvPr id="5325" name="Vrije vorm: vorm 5324">
                <a:extLst>
                  <a:ext uri="{FF2B5EF4-FFF2-40B4-BE49-F238E27FC236}">
                    <a16:creationId xmlns:a16="http://schemas.microsoft.com/office/drawing/2014/main" id="{24BB863D-2E52-4A6E-9CB8-A3B777C89CBA}"/>
                  </a:ext>
                </a:extLst>
              </p:cNvPr>
              <p:cNvSpPr/>
              <p:nvPr/>
            </p:nvSpPr>
            <p:spPr>
              <a:xfrm>
                <a:off x="8113197" y="2612713"/>
                <a:ext cx="18362" cy="18431"/>
              </a:xfrm>
              <a:custGeom>
                <a:avLst/>
                <a:gdLst>
                  <a:gd name="connsiteX0" fmla="*/ 5892 w 18362"/>
                  <a:gd name="connsiteY0" fmla="*/ 603 h 18431"/>
                  <a:gd name="connsiteX1" fmla="*/ 17733 w 18362"/>
                  <a:gd name="connsiteY1" fmla="*/ 5926 h 18431"/>
                  <a:gd name="connsiteX2" fmla="*/ 12470 w 18362"/>
                  <a:gd name="connsiteY2" fmla="*/ 17828 h 18431"/>
                  <a:gd name="connsiteX3" fmla="*/ 628 w 18362"/>
                  <a:gd name="connsiteY3" fmla="*/ 12505 h 18431"/>
                  <a:gd name="connsiteX4" fmla="*/ 5892 w 18362"/>
                  <a:gd name="connsiteY4" fmla="*/ 603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31">
                    <a:moveTo>
                      <a:pt x="5892" y="603"/>
                    </a:moveTo>
                    <a:cubicBezTo>
                      <a:pt x="10617" y="-1191"/>
                      <a:pt x="15939" y="1142"/>
                      <a:pt x="17733" y="5926"/>
                    </a:cubicBezTo>
                    <a:cubicBezTo>
                      <a:pt x="19588" y="10651"/>
                      <a:pt x="17195" y="16034"/>
                      <a:pt x="12470" y="17828"/>
                    </a:cubicBezTo>
                    <a:cubicBezTo>
                      <a:pt x="7746" y="19622"/>
                      <a:pt x="2423" y="17290"/>
                      <a:pt x="628" y="12505"/>
                    </a:cubicBezTo>
                    <a:cubicBezTo>
                      <a:pt x="-1225" y="7721"/>
                      <a:pt x="1167" y="2398"/>
                      <a:pt x="5892" y="603"/>
                    </a:cubicBezTo>
                    <a:close/>
                  </a:path>
                </a:pathLst>
              </a:custGeom>
              <a:grpFill/>
              <a:ln w="5978" cap="flat">
                <a:noFill/>
                <a:prstDash val="solid"/>
                <a:miter/>
              </a:ln>
            </p:spPr>
            <p:txBody>
              <a:bodyPr rtlCol="0" anchor="ctr"/>
              <a:lstStyle/>
              <a:p>
                <a:endParaRPr lang="en-GB"/>
              </a:p>
            </p:txBody>
          </p:sp>
          <p:sp>
            <p:nvSpPr>
              <p:cNvPr id="5326" name="Vrije vorm: vorm 5325">
                <a:extLst>
                  <a:ext uri="{FF2B5EF4-FFF2-40B4-BE49-F238E27FC236}">
                    <a16:creationId xmlns:a16="http://schemas.microsoft.com/office/drawing/2014/main" id="{66F71B95-882A-4A90-889B-C37B621DECAE}"/>
                  </a:ext>
                </a:extLst>
              </p:cNvPr>
              <p:cNvSpPr/>
              <p:nvPr/>
            </p:nvSpPr>
            <p:spPr>
              <a:xfrm>
                <a:off x="7855213" y="2711933"/>
                <a:ext cx="18313" cy="18424"/>
              </a:xfrm>
              <a:custGeom>
                <a:avLst/>
                <a:gdLst>
                  <a:gd name="connsiteX0" fmla="*/ 5867 w 18313"/>
                  <a:gd name="connsiteY0" fmla="*/ 603 h 18424"/>
                  <a:gd name="connsiteX1" fmla="*/ 604 w 18313"/>
                  <a:gd name="connsiteY1" fmla="*/ 12505 h 18424"/>
                  <a:gd name="connsiteX2" fmla="*/ 12446 w 18313"/>
                  <a:gd name="connsiteY2" fmla="*/ 17828 h 18424"/>
                  <a:gd name="connsiteX3" fmla="*/ 17710 w 18313"/>
                  <a:gd name="connsiteY3" fmla="*/ 5926 h 18424"/>
                  <a:gd name="connsiteX4" fmla="*/ 5867 w 18313"/>
                  <a:gd name="connsiteY4" fmla="*/ 60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4">
                    <a:moveTo>
                      <a:pt x="5867" y="603"/>
                    </a:moveTo>
                    <a:cubicBezTo>
                      <a:pt x="1143" y="2398"/>
                      <a:pt x="-1190" y="7721"/>
                      <a:pt x="604" y="12505"/>
                    </a:cubicBezTo>
                    <a:cubicBezTo>
                      <a:pt x="2399" y="17230"/>
                      <a:pt x="7721" y="19622"/>
                      <a:pt x="12446" y="17828"/>
                    </a:cubicBezTo>
                    <a:cubicBezTo>
                      <a:pt x="17171" y="16034"/>
                      <a:pt x="19503" y="10711"/>
                      <a:pt x="17710" y="5926"/>
                    </a:cubicBezTo>
                    <a:cubicBezTo>
                      <a:pt x="15915" y="1142"/>
                      <a:pt x="10592" y="-1191"/>
                      <a:pt x="5867" y="603"/>
                    </a:cubicBezTo>
                    <a:close/>
                  </a:path>
                </a:pathLst>
              </a:custGeom>
              <a:grpFill/>
              <a:ln w="5978" cap="flat">
                <a:noFill/>
                <a:prstDash val="solid"/>
                <a:miter/>
              </a:ln>
            </p:spPr>
            <p:txBody>
              <a:bodyPr rtlCol="0" anchor="ctr"/>
              <a:lstStyle/>
              <a:p>
                <a:endParaRPr lang="en-GB"/>
              </a:p>
            </p:txBody>
          </p:sp>
        </p:grpSp>
        <p:grpSp>
          <p:nvGrpSpPr>
            <p:cNvPr id="16" name="Graphic 3">
              <a:extLst>
                <a:ext uri="{FF2B5EF4-FFF2-40B4-BE49-F238E27FC236}">
                  <a16:creationId xmlns:a16="http://schemas.microsoft.com/office/drawing/2014/main" id="{E5246265-49A0-427E-8BDD-18524958F805}"/>
                </a:ext>
              </a:extLst>
            </p:cNvPr>
            <p:cNvGrpSpPr/>
            <p:nvPr/>
          </p:nvGrpSpPr>
          <p:grpSpPr>
            <a:xfrm>
              <a:off x="7998348" y="2984771"/>
              <a:ext cx="171345" cy="49174"/>
              <a:chOff x="7998348" y="2984771"/>
              <a:chExt cx="171345" cy="49174"/>
            </a:xfrm>
            <a:grpFill/>
          </p:grpSpPr>
          <p:sp>
            <p:nvSpPr>
              <p:cNvPr id="5321" name="Vrije vorm: vorm 5320">
                <a:extLst>
                  <a:ext uri="{FF2B5EF4-FFF2-40B4-BE49-F238E27FC236}">
                    <a16:creationId xmlns:a16="http://schemas.microsoft.com/office/drawing/2014/main" id="{00E54A8D-2049-4F0B-9DD0-357D5FCAEA5A}"/>
                  </a:ext>
                </a:extLst>
              </p:cNvPr>
              <p:cNvSpPr/>
              <p:nvPr/>
            </p:nvSpPr>
            <p:spPr>
              <a:xfrm>
                <a:off x="8006771" y="2992434"/>
                <a:ext cx="154541" cy="33910"/>
              </a:xfrm>
              <a:custGeom>
                <a:avLst/>
                <a:gdLst>
                  <a:gd name="connsiteX0" fmla="*/ 153884 w 154541"/>
                  <a:gd name="connsiteY0" fmla="*/ 0 h 33910"/>
                  <a:gd name="connsiteX1" fmla="*/ 154542 w 154541"/>
                  <a:gd name="connsiteY1" fmla="*/ 2990 h 33910"/>
                  <a:gd name="connsiteX2" fmla="*/ 598 w 154541"/>
                  <a:gd name="connsiteY2" fmla="*/ 33911 h 33910"/>
                  <a:gd name="connsiteX3" fmla="*/ 0 w 154541"/>
                  <a:gd name="connsiteY3" fmla="*/ 30920 h 33910"/>
                </a:gdLst>
                <a:ahLst/>
                <a:cxnLst>
                  <a:cxn ang="0">
                    <a:pos x="connsiteX0" y="connsiteY0"/>
                  </a:cxn>
                  <a:cxn ang="0">
                    <a:pos x="connsiteX1" y="connsiteY1"/>
                  </a:cxn>
                  <a:cxn ang="0">
                    <a:pos x="connsiteX2" y="connsiteY2"/>
                  </a:cxn>
                  <a:cxn ang="0">
                    <a:pos x="connsiteX3" y="connsiteY3"/>
                  </a:cxn>
                </a:cxnLst>
                <a:rect l="l" t="t" r="r" b="b"/>
                <a:pathLst>
                  <a:path w="154541" h="33910">
                    <a:moveTo>
                      <a:pt x="153884" y="0"/>
                    </a:moveTo>
                    <a:lnTo>
                      <a:pt x="154542" y="2990"/>
                    </a:lnTo>
                    <a:lnTo>
                      <a:pt x="598" y="33911"/>
                    </a:lnTo>
                    <a:lnTo>
                      <a:pt x="0" y="30920"/>
                    </a:lnTo>
                    <a:close/>
                  </a:path>
                </a:pathLst>
              </a:custGeom>
              <a:grpFill/>
              <a:ln w="5978" cap="flat">
                <a:noFill/>
                <a:prstDash val="solid"/>
                <a:miter/>
              </a:ln>
            </p:spPr>
            <p:txBody>
              <a:bodyPr rtlCol="0" anchor="ctr"/>
              <a:lstStyle/>
              <a:p>
                <a:endParaRPr lang="en-GB"/>
              </a:p>
            </p:txBody>
          </p:sp>
          <p:sp>
            <p:nvSpPr>
              <p:cNvPr id="5322" name="Vrije vorm: vorm 5321">
                <a:extLst>
                  <a:ext uri="{FF2B5EF4-FFF2-40B4-BE49-F238E27FC236}">
                    <a16:creationId xmlns:a16="http://schemas.microsoft.com/office/drawing/2014/main" id="{1BE3333C-E3F9-40CB-912E-C027869BEBF0}"/>
                  </a:ext>
                </a:extLst>
              </p:cNvPr>
              <p:cNvSpPr/>
              <p:nvPr/>
            </p:nvSpPr>
            <p:spPr>
              <a:xfrm>
                <a:off x="8151320" y="2984771"/>
                <a:ext cx="18373" cy="18435"/>
              </a:xfrm>
              <a:custGeom>
                <a:avLst/>
                <a:gdLst>
                  <a:gd name="connsiteX0" fmla="*/ 7361 w 18373"/>
                  <a:gd name="connsiteY0" fmla="*/ 187 h 18435"/>
                  <a:gd name="connsiteX1" fmla="*/ 18187 w 18373"/>
                  <a:gd name="connsiteY1" fmla="*/ 7424 h 18435"/>
                  <a:gd name="connsiteX2" fmla="*/ 11010 w 18373"/>
                  <a:gd name="connsiteY2" fmla="*/ 18249 h 18435"/>
                  <a:gd name="connsiteX3" fmla="*/ 185 w 18373"/>
                  <a:gd name="connsiteY3" fmla="*/ 11012 h 18435"/>
                  <a:gd name="connsiteX4" fmla="*/ 7361 w 18373"/>
                  <a:gd name="connsiteY4" fmla="*/ 187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35">
                    <a:moveTo>
                      <a:pt x="7361" y="187"/>
                    </a:moveTo>
                    <a:cubicBezTo>
                      <a:pt x="12326" y="-830"/>
                      <a:pt x="17170" y="2400"/>
                      <a:pt x="18187" y="7424"/>
                    </a:cubicBezTo>
                    <a:cubicBezTo>
                      <a:pt x="19203" y="12447"/>
                      <a:pt x="15974" y="17292"/>
                      <a:pt x="11010" y="18249"/>
                    </a:cubicBezTo>
                    <a:cubicBezTo>
                      <a:pt x="6046" y="19266"/>
                      <a:pt x="1202" y="16036"/>
                      <a:pt x="185" y="11012"/>
                    </a:cubicBezTo>
                    <a:cubicBezTo>
                      <a:pt x="-832" y="5988"/>
                      <a:pt x="2458" y="1204"/>
                      <a:pt x="7361" y="187"/>
                    </a:cubicBezTo>
                    <a:close/>
                  </a:path>
                </a:pathLst>
              </a:custGeom>
              <a:grpFill/>
              <a:ln w="5978" cap="flat">
                <a:noFill/>
                <a:prstDash val="solid"/>
                <a:miter/>
              </a:ln>
            </p:spPr>
            <p:txBody>
              <a:bodyPr rtlCol="0" anchor="ctr"/>
              <a:lstStyle/>
              <a:p>
                <a:endParaRPr lang="en-GB"/>
              </a:p>
            </p:txBody>
          </p:sp>
          <p:sp>
            <p:nvSpPr>
              <p:cNvPr id="5323" name="Vrije vorm: vorm 5322">
                <a:extLst>
                  <a:ext uri="{FF2B5EF4-FFF2-40B4-BE49-F238E27FC236}">
                    <a16:creationId xmlns:a16="http://schemas.microsoft.com/office/drawing/2014/main" id="{8B7A7F04-0F12-49C0-A1D6-1DE44E8DC681}"/>
                  </a:ext>
                </a:extLst>
              </p:cNvPr>
              <p:cNvSpPr/>
              <p:nvPr/>
            </p:nvSpPr>
            <p:spPr>
              <a:xfrm>
                <a:off x="7998348" y="3015531"/>
                <a:ext cx="18341" cy="18414"/>
              </a:xfrm>
              <a:custGeom>
                <a:avLst/>
                <a:gdLst>
                  <a:gd name="connsiteX0" fmla="*/ 7347 w 18341"/>
                  <a:gd name="connsiteY0" fmla="*/ 168 h 18414"/>
                  <a:gd name="connsiteX1" fmla="*/ 170 w 18341"/>
                  <a:gd name="connsiteY1" fmla="*/ 10993 h 18414"/>
                  <a:gd name="connsiteX2" fmla="*/ 10995 w 18341"/>
                  <a:gd name="connsiteY2" fmla="*/ 18230 h 18414"/>
                  <a:gd name="connsiteX3" fmla="*/ 18172 w 18341"/>
                  <a:gd name="connsiteY3" fmla="*/ 7405 h 18414"/>
                  <a:gd name="connsiteX4" fmla="*/ 7347 w 18341"/>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14">
                    <a:moveTo>
                      <a:pt x="7347" y="168"/>
                    </a:moveTo>
                    <a:cubicBezTo>
                      <a:pt x="2383" y="1185"/>
                      <a:pt x="-787" y="6029"/>
                      <a:pt x="170" y="10993"/>
                    </a:cubicBezTo>
                    <a:cubicBezTo>
                      <a:pt x="1127" y="15957"/>
                      <a:pt x="6031" y="19246"/>
                      <a:pt x="10995" y="18230"/>
                    </a:cubicBezTo>
                    <a:cubicBezTo>
                      <a:pt x="15959" y="17213"/>
                      <a:pt x="19129" y="12369"/>
                      <a:pt x="18172" y="7405"/>
                    </a:cubicBezTo>
                    <a:cubicBezTo>
                      <a:pt x="17155" y="2441"/>
                      <a:pt x="12311" y="-789"/>
                      <a:pt x="7347" y="168"/>
                    </a:cubicBezTo>
                    <a:close/>
                  </a:path>
                </a:pathLst>
              </a:custGeom>
              <a:grpFill/>
              <a:ln w="5978" cap="flat">
                <a:noFill/>
                <a:prstDash val="solid"/>
                <a:miter/>
              </a:ln>
            </p:spPr>
            <p:txBody>
              <a:bodyPr rtlCol="0" anchor="ctr"/>
              <a:lstStyle/>
              <a:p>
                <a:endParaRPr lang="en-GB"/>
              </a:p>
            </p:txBody>
          </p:sp>
        </p:grpSp>
        <p:grpSp>
          <p:nvGrpSpPr>
            <p:cNvPr id="17" name="Graphic 3">
              <a:extLst>
                <a:ext uri="{FF2B5EF4-FFF2-40B4-BE49-F238E27FC236}">
                  <a16:creationId xmlns:a16="http://schemas.microsoft.com/office/drawing/2014/main" id="{F123963C-153D-4911-A682-642A78C390FA}"/>
                </a:ext>
              </a:extLst>
            </p:cNvPr>
            <p:cNvGrpSpPr/>
            <p:nvPr/>
          </p:nvGrpSpPr>
          <p:grpSpPr>
            <a:xfrm>
              <a:off x="7612206" y="2073158"/>
              <a:ext cx="357364" cy="255907"/>
              <a:chOff x="7612206" y="2073158"/>
              <a:chExt cx="357364" cy="255907"/>
            </a:xfrm>
            <a:grpFill/>
          </p:grpSpPr>
          <p:sp>
            <p:nvSpPr>
              <p:cNvPr id="5318" name="Vrije vorm: vorm 5317">
                <a:extLst>
                  <a:ext uri="{FF2B5EF4-FFF2-40B4-BE49-F238E27FC236}">
                    <a16:creationId xmlns:a16="http://schemas.microsoft.com/office/drawing/2014/main" id="{74FBC809-8968-407A-8470-7FF329E8ECB7}"/>
                  </a:ext>
                </a:extLst>
              </p:cNvPr>
              <p:cNvSpPr/>
              <p:nvPr/>
            </p:nvSpPr>
            <p:spPr>
              <a:xfrm>
                <a:off x="7620117" y="2080853"/>
                <a:ext cx="341499" cy="240544"/>
              </a:xfrm>
              <a:custGeom>
                <a:avLst/>
                <a:gdLst>
                  <a:gd name="connsiteX0" fmla="*/ 341499 w 341499"/>
                  <a:gd name="connsiteY0" fmla="*/ 2512 h 240544"/>
                  <a:gd name="connsiteX1" fmla="*/ 1734 w 341499"/>
                  <a:gd name="connsiteY1" fmla="*/ 240545 h 240544"/>
                  <a:gd name="connsiteX2" fmla="*/ 0 w 341499"/>
                  <a:gd name="connsiteY2" fmla="*/ 238033 h 240544"/>
                  <a:gd name="connsiteX3" fmla="*/ 339764 w 341499"/>
                  <a:gd name="connsiteY3" fmla="*/ 0 h 240544"/>
                </a:gdLst>
                <a:ahLst/>
                <a:cxnLst>
                  <a:cxn ang="0">
                    <a:pos x="connsiteX0" y="connsiteY0"/>
                  </a:cxn>
                  <a:cxn ang="0">
                    <a:pos x="connsiteX1" y="connsiteY1"/>
                  </a:cxn>
                  <a:cxn ang="0">
                    <a:pos x="connsiteX2" y="connsiteY2"/>
                  </a:cxn>
                  <a:cxn ang="0">
                    <a:pos x="connsiteX3" y="connsiteY3"/>
                  </a:cxn>
                </a:cxnLst>
                <a:rect l="l" t="t" r="r" b="b"/>
                <a:pathLst>
                  <a:path w="341499" h="240544">
                    <a:moveTo>
                      <a:pt x="341499" y="2512"/>
                    </a:moveTo>
                    <a:lnTo>
                      <a:pt x="1734" y="240545"/>
                    </a:lnTo>
                    <a:lnTo>
                      <a:pt x="0" y="238033"/>
                    </a:lnTo>
                    <a:lnTo>
                      <a:pt x="339764" y="0"/>
                    </a:lnTo>
                    <a:close/>
                  </a:path>
                </a:pathLst>
              </a:custGeom>
              <a:grpFill/>
              <a:ln w="5978" cap="flat">
                <a:noFill/>
                <a:prstDash val="solid"/>
                <a:miter/>
              </a:ln>
            </p:spPr>
            <p:txBody>
              <a:bodyPr rtlCol="0" anchor="ctr"/>
              <a:lstStyle/>
              <a:p>
                <a:endParaRPr lang="en-GB"/>
              </a:p>
            </p:txBody>
          </p:sp>
          <p:sp>
            <p:nvSpPr>
              <p:cNvPr id="5319" name="Vrije vorm: vorm 5318">
                <a:extLst>
                  <a:ext uri="{FF2B5EF4-FFF2-40B4-BE49-F238E27FC236}">
                    <a16:creationId xmlns:a16="http://schemas.microsoft.com/office/drawing/2014/main" id="{0F69AC86-07E3-4069-AC7B-941336D73C6D}"/>
                  </a:ext>
                </a:extLst>
              </p:cNvPr>
              <p:cNvSpPr/>
              <p:nvPr/>
            </p:nvSpPr>
            <p:spPr>
              <a:xfrm>
                <a:off x="7951237" y="2073158"/>
                <a:ext cx="18333" cy="18439"/>
              </a:xfrm>
              <a:custGeom>
                <a:avLst/>
                <a:gdLst>
                  <a:gd name="connsiteX0" fmla="*/ 3921 w 18333"/>
                  <a:gd name="connsiteY0" fmla="*/ 1654 h 18439"/>
                  <a:gd name="connsiteX1" fmla="*/ 16660 w 18333"/>
                  <a:gd name="connsiteY1" fmla="*/ 3987 h 18439"/>
                  <a:gd name="connsiteX2" fmla="*/ 14387 w 18333"/>
                  <a:gd name="connsiteY2" fmla="*/ 16785 h 18439"/>
                  <a:gd name="connsiteX3" fmla="*/ 1648 w 18333"/>
                  <a:gd name="connsiteY3" fmla="*/ 14453 h 18439"/>
                  <a:gd name="connsiteX4" fmla="*/ 3921 w 18333"/>
                  <a:gd name="connsiteY4" fmla="*/ 165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9">
                    <a:moveTo>
                      <a:pt x="3921" y="1654"/>
                    </a:moveTo>
                    <a:cubicBezTo>
                      <a:pt x="8047" y="-1276"/>
                      <a:pt x="13788" y="-200"/>
                      <a:pt x="16660" y="3987"/>
                    </a:cubicBezTo>
                    <a:cubicBezTo>
                      <a:pt x="19590" y="8173"/>
                      <a:pt x="18573" y="13915"/>
                      <a:pt x="14387" y="16785"/>
                    </a:cubicBezTo>
                    <a:cubicBezTo>
                      <a:pt x="10260" y="19716"/>
                      <a:pt x="4519" y="18639"/>
                      <a:pt x="1648" y="14453"/>
                    </a:cubicBezTo>
                    <a:cubicBezTo>
                      <a:pt x="-1223" y="10326"/>
                      <a:pt x="-266" y="4585"/>
                      <a:pt x="3921" y="1654"/>
                    </a:cubicBezTo>
                    <a:close/>
                  </a:path>
                </a:pathLst>
              </a:custGeom>
              <a:grpFill/>
              <a:ln w="5978" cap="flat">
                <a:noFill/>
                <a:prstDash val="solid"/>
                <a:miter/>
              </a:ln>
            </p:spPr>
            <p:txBody>
              <a:bodyPr rtlCol="0" anchor="ctr"/>
              <a:lstStyle/>
              <a:p>
                <a:endParaRPr lang="en-GB"/>
              </a:p>
            </p:txBody>
          </p:sp>
          <p:sp>
            <p:nvSpPr>
              <p:cNvPr id="5320" name="Vrije vorm: vorm 5319">
                <a:extLst>
                  <a:ext uri="{FF2B5EF4-FFF2-40B4-BE49-F238E27FC236}">
                    <a16:creationId xmlns:a16="http://schemas.microsoft.com/office/drawing/2014/main" id="{6BD8397A-7974-4CF2-BE03-C5C0AE42EB15}"/>
                  </a:ext>
                </a:extLst>
              </p:cNvPr>
              <p:cNvSpPr/>
              <p:nvPr/>
            </p:nvSpPr>
            <p:spPr>
              <a:xfrm>
                <a:off x="7612206" y="2310679"/>
                <a:ext cx="18274" cy="18387"/>
              </a:xfrm>
              <a:custGeom>
                <a:avLst/>
                <a:gdLst>
                  <a:gd name="connsiteX0" fmla="*/ 3904 w 18274"/>
                  <a:gd name="connsiteY0" fmla="*/ 1628 h 18387"/>
                  <a:gd name="connsiteX1" fmla="*/ 1631 w 18274"/>
                  <a:gd name="connsiteY1" fmla="*/ 14427 h 18387"/>
                  <a:gd name="connsiteX2" fmla="*/ 14370 w 18274"/>
                  <a:gd name="connsiteY2" fmla="*/ 16759 h 18387"/>
                  <a:gd name="connsiteX3" fmla="*/ 16643 w 18274"/>
                  <a:gd name="connsiteY3" fmla="*/ 3960 h 18387"/>
                  <a:gd name="connsiteX4" fmla="*/ 3904 w 18274"/>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3904" y="1628"/>
                    </a:moveTo>
                    <a:cubicBezTo>
                      <a:pt x="-222" y="4559"/>
                      <a:pt x="-1239" y="10300"/>
                      <a:pt x="1631" y="14427"/>
                    </a:cubicBezTo>
                    <a:cubicBezTo>
                      <a:pt x="4562" y="18613"/>
                      <a:pt x="10244" y="19630"/>
                      <a:pt x="14370" y="16759"/>
                    </a:cubicBezTo>
                    <a:cubicBezTo>
                      <a:pt x="18497" y="13829"/>
                      <a:pt x="19514" y="8087"/>
                      <a:pt x="16643" y="3960"/>
                    </a:cubicBezTo>
                    <a:cubicBezTo>
                      <a:pt x="13772" y="-226"/>
                      <a:pt x="8031" y="-1243"/>
                      <a:pt x="3904" y="1628"/>
                    </a:cubicBezTo>
                    <a:close/>
                  </a:path>
                </a:pathLst>
              </a:custGeom>
              <a:grpFill/>
              <a:ln w="5978" cap="flat">
                <a:noFill/>
                <a:prstDash val="solid"/>
                <a:miter/>
              </a:ln>
            </p:spPr>
            <p:txBody>
              <a:bodyPr rtlCol="0" anchor="ctr"/>
              <a:lstStyle/>
              <a:p>
                <a:endParaRPr lang="en-GB"/>
              </a:p>
            </p:txBody>
          </p:sp>
        </p:grpSp>
        <p:grpSp>
          <p:nvGrpSpPr>
            <p:cNvPr id="18" name="Graphic 3">
              <a:extLst>
                <a:ext uri="{FF2B5EF4-FFF2-40B4-BE49-F238E27FC236}">
                  <a16:creationId xmlns:a16="http://schemas.microsoft.com/office/drawing/2014/main" id="{49C932BA-BBD4-4D00-8561-A6FDB08FBDA7}"/>
                </a:ext>
              </a:extLst>
            </p:cNvPr>
            <p:cNvGrpSpPr/>
            <p:nvPr/>
          </p:nvGrpSpPr>
          <p:grpSpPr>
            <a:xfrm>
              <a:off x="7962514" y="3423165"/>
              <a:ext cx="503038" cy="22308"/>
              <a:chOff x="7962514" y="3423165"/>
              <a:chExt cx="503038" cy="22308"/>
            </a:xfrm>
            <a:grpFill/>
          </p:grpSpPr>
          <p:sp>
            <p:nvSpPr>
              <p:cNvPr id="5315" name="Vrije vorm: vorm 5314">
                <a:extLst>
                  <a:ext uri="{FF2B5EF4-FFF2-40B4-BE49-F238E27FC236}">
                    <a16:creationId xmlns:a16="http://schemas.microsoft.com/office/drawing/2014/main" id="{D1C86020-07FC-45CD-9275-439B99100D86}"/>
                  </a:ext>
                </a:extLst>
              </p:cNvPr>
              <p:cNvSpPr/>
              <p:nvPr/>
            </p:nvSpPr>
            <p:spPr>
              <a:xfrm>
                <a:off x="7971245" y="3430881"/>
                <a:ext cx="485575" cy="6937"/>
              </a:xfrm>
              <a:custGeom>
                <a:avLst/>
                <a:gdLst>
                  <a:gd name="connsiteX0" fmla="*/ 485575 w 485575"/>
                  <a:gd name="connsiteY0" fmla="*/ 3887 h 6937"/>
                  <a:gd name="connsiteX1" fmla="*/ 485515 w 485575"/>
                  <a:gd name="connsiteY1" fmla="*/ 6938 h 6937"/>
                  <a:gd name="connsiteX2" fmla="*/ 0 w 485575"/>
                  <a:gd name="connsiteY2" fmla="*/ 3050 h 6937"/>
                  <a:gd name="connsiteX3" fmla="*/ 0 w 485575"/>
                  <a:gd name="connsiteY3" fmla="*/ 0 h 6937"/>
                </a:gdLst>
                <a:ahLst/>
                <a:cxnLst>
                  <a:cxn ang="0">
                    <a:pos x="connsiteX0" y="connsiteY0"/>
                  </a:cxn>
                  <a:cxn ang="0">
                    <a:pos x="connsiteX1" y="connsiteY1"/>
                  </a:cxn>
                  <a:cxn ang="0">
                    <a:pos x="connsiteX2" y="connsiteY2"/>
                  </a:cxn>
                  <a:cxn ang="0">
                    <a:pos x="connsiteX3" y="connsiteY3"/>
                  </a:cxn>
                </a:cxnLst>
                <a:rect l="l" t="t" r="r" b="b"/>
                <a:pathLst>
                  <a:path w="485575" h="6937">
                    <a:moveTo>
                      <a:pt x="485575" y="3887"/>
                    </a:moveTo>
                    <a:lnTo>
                      <a:pt x="485515" y="6938"/>
                    </a:lnTo>
                    <a:lnTo>
                      <a:pt x="0" y="3050"/>
                    </a:lnTo>
                    <a:lnTo>
                      <a:pt x="0" y="0"/>
                    </a:lnTo>
                    <a:close/>
                  </a:path>
                </a:pathLst>
              </a:custGeom>
              <a:grpFill/>
              <a:ln w="5978" cap="flat">
                <a:noFill/>
                <a:prstDash val="solid"/>
                <a:miter/>
              </a:ln>
            </p:spPr>
            <p:txBody>
              <a:bodyPr rtlCol="0" anchor="ctr"/>
              <a:lstStyle/>
              <a:p>
                <a:endParaRPr lang="en-GB"/>
              </a:p>
            </p:txBody>
          </p:sp>
          <p:sp>
            <p:nvSpPr>
              <p:cNvPr id="5316" name="Vrije vorm: vorm 5315">
                <a:extLst>
                  <a:ext uri="{FF2B5EF4-FFF2-40B4-BE49-F238E27FC236}">
                    <a16:creationId xmlns:a16="http://schemas.microsoft.com/office/drawing/2014/main" id="{47170E0D-EF1C-41EB-A3C4-0F7741F4F11F}"/>
                  </a:ext>
                </a:extLst>
              </p:cNvPr>
              <p:cNvSpPr/>
              <p:nvPr/>
            </p:nvSpPr>
            <p:spPr>
              <a:xfrm>
                <a:off x="8447191" y="3427053"/>
                <a:ext cx="18361" cy="18420"/>
              </a:xfrm>
              <a:custGeom>
                <a:avLst/>
                <a:gdLst>
                  <a:gd name="connsiteX0" fmla="*/ 9211 w 18361"/>
                  <a:gd name="connsiteY0" fmla="*/ 0 h 18420"/>
                  <a:gd name="connsiteX1" fmla="*/ 18361 w 18361"/>
                  <a:gd name="connsiteY1" fmla="*/ 9270 h 18420"/>
                  <a:gd name="connsiteX2" fmla="*/ 9151 w 18361"/>
                  <a:gd name="connsiteY2" fmla="*/ 18421 h 18420"/>
                  <a:gd name="connsiteX3" fmla="*/ 0 w 18361"/>
                  <a:gd name="connsiteY3" fmla="*/ 9150 h 18420"/>
                  <a:gd name="connsiteX4" fmla="*/ 9211 w 18361"/>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9211" y="0"/>
                    </a:moveTo>
                    <a:cubicBezTo>
                      <a:pt x="14294" y="60"/>
                      <a:pt x="18361" y="4187"/>
                      <a:pt x="18361" y="9270"/>
                    </a:cubicBezTo>
                    <a:cubicBezTo>
                      <a:pt x="18361" y="14354"/>
                      <a:pt x="14234" y="18421"/>
                      <a:pt x="9151" y="18421"/>
                    </a:cubicBezTo>
                    <a:cubicBezTo>
                      <a:pt x="4067" y="18361"/>
                      <a:pt x="0" y="14234"/>
                      <a:pt x="0" y="9150"/>
                    </a:cubicBezTo>
                    <a:cubicBezTo>
                      <a:pt x="0" y="4067"/>
                      <a:pt x="4127" y="0"/>
                      <a:pt x="9211" y="0"/>
                    </a:cubicBezTo>
                    <a:close/>
                  </a:path>
                </a:pathLst>
              </a:custGeom>
              <a:grpFill/>
              <a:ln w="5978" cap="flat">
                <a:noFill/>
                <a:prstDash val="solid"/>
                <a:miter/>
              </a:ln>
            </p:spPr>
            <p:txBody>
              <a:bodyPr rtlCol="0" anchor="ctr"/>
              <a:lstStyle/>
              <a:p>
                <a:endParaRPr lang="en-GB"/>
              </a:p>
            </p:txBody>
          </p:sp>
          <p:sp>
            <p:nvSpPr>
              <p:cNvPr id="5317" name="Vrije vorm: vorm 5316">
                <a:extLst>
                  <a:ext uri="{FF2B5EF4-FFF2-40B4-BE49-F238E27FC236}">
                    <a16:creationId xmlns:a16="http://schemas.microsoft.com/office/drawing/2014/main" id="{1D01EEF5-24BF-4377-B992-E46E8C742068}"/>
                  </a:ext>
                </a:extLst>
              </p:cNvPr>
              <p:cNvSpPr/>
              <p:nvPr/>
            </p:nvSpPr>
            <p:spPr>
              <a:xfrm>
                <a:off x="7962514" y="3423165"/>
                <a:ext cx="18360" cy="18421"/>
              </a:xfrm>
              <a:custGeom>
                <a:avLst/>
                <a:gdLst>
                  <a:gd name="connsiteX0" fmla="*/ 9210 w 18360"/>
                  <a:gd name="connsiteY0" fmla="*/ 1 h 18421"/>
                  <a:gd name="connsiteX1" fmla="*/ 0 w 18360"/>
                  <a:gd name="connsiteY1" fmla="*/ 9151 h 18421"/>
                  <a:gd name="connsiteX2" fmla="*/ 9150 w 18360"/>
                  <a:gd name="connsiteY2" fmla="*/ 18421 h 18421"/>
                  <a:gd name="connsiteX3" fmla="*/ 18360 w 18360"/>
                  <a:gd name="connsiteY3" fmla="*/ 9271 h 18421"/>
                  <a:gd name="connsiteX4" fmla="*/ 9210 w 18360"/>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9210" y="1"/>
                    </a:moveTo>
                    <a:cubicBezTo>
                      <a:pt x="4126" y="-59"/>
                      <a:pt x="0" y="4067"/>
                      <a:pt x="0" y="9151"/>
                    </a:cubicBezTo>
                    <a:cubicBezTo>
                      <a:pt x="0" y="14235"/>
                      <a:pt x="4066" y="18421"/>
                      <a:pt x="9150" y="18421"/>
                    </a:cubicBezTo>
                    <a:cubicBezTo>
                      <a:pt x="14234" y="18481"/>
                      <a:pt x="18360" y="14354"/>
                      <a:pt x="18360" y="9271"/>
                    </a:cubicBezTo>
                    <a:cubicBezTo>
                      <a:pt x="18360" y="4187"/>
                      <a:pt x="14294" y="61"/>
                      <a:pt x="9210" y="1"/>
                    </a:cubicBezTo>
                    <a:close/>
                  </a:path>
                </a:pathLst>
              </a:custGeom>
              <a:grpFill/>
              <a:ln w="5978" cap="flat">
                <a:noFill/>
                <a:prstDash val="solid"/>
                <a:miter/>
              </a:ln>
            </p:spPr>
            <p:txBody>
              <a:bodyPr rtlCol="0" anchor="ctr"/>
              <a:lstStyle/>
              <a:p>
                <a:endParaRPr lang="en-GB"/>
              </a:p>
            </p:txBody>
          </p:sp>
        </p:grpSp>
        <p:grpSp>
          <p:nvGrpSpPr>
            <p:cNvPr id="19" name="Graphic 3">
              <a:extLst>
                <a:ext uri="{FF2B5EF4-FFF2-40B4-BE49-F238E27FC236}">
                  <a16:creationId xmlns:a16="http://schemas.microsoft.com/office/drawing/2014/main" id="{FF390B8F-F966-4B13-9D27-0F3E76A8A890}"/>
                </a:ext>
              </a:extLst>
            </p:cNvPr>
            <p:cNvGrpSpPr/>
            <p:nvPr/>
          </p:nvGrpSpPr>
          <p:grpSpPr>
            <a:xfrm>
              <a:off x="8071596" y="3146791"/>
              <a:ext cx="100201" cy="28538"/>
              <a:chOff x="8071596" y="3146791"/>
              <a:chExt cx="100201" cy="28538"/>
            </a:xfrm>
            <a:grpFill/>
          </p:grpSpPr>
          <p:sp>
            <p:nvSpPr>
              <p:cNvPr id="5312" name="Vrije vorm: vorm 5311">
                <a:extLst>
                  <a:ext uri="{FF2B5EF4-FFF2-40B4-BE49-F238E27FC236}">
                    <a16:creationId xmlns:a16="http://schemas.microsoft.com/office/drawing/2014/main" id="{8A77EFDA-AA2D-4152-B2BF-4E4E9328A4E2}"/>
                  </a:ext>
                </a:extLst>
              </p:cNvPr>
              <p:cNvSpPr/>
              <p:nvPr/>
            </p:nvSpPr>
            <p:spPr>
              <a:xfrm>
                <a:off x="8080154" y="3154392"/>
                <a:ext cx="83192" cy="13337"/>
              </a:xfrm>
              <a:custGeom>
                <a:avLst/>
                <a:gdLst>
                  <a:gd name="connsiteX0" fmla="*/ 82774 w 83192"/>
                  <a:gd name="connsiteY0" fmla="*/ 0 h 13337"/>
                  <a:gd name="connsiteX1" fmla="*/ 83192 w 83192"/>
                  <a:gd name="connsiteY1" fmla="*/ 3050 h 13337"/>
                  <a:gd name="connsiteX2" fmla="*/ 359 w 83192"/>
                  <a:gd name="connsiteY2" fmla="*/ 13337 h 13337"/>
                  <a:gd name="connsiteX3" fmla="*/ 0 w 83192"/>
                  <a:gd name="connsiteY3" fmla="*/ 10287 h 13337"/>
                </a:gdLst>
                <a:ahLst/>
                <a:cxnLst>
                  <a:cxn ang="0">
                    <a:pos x="connsiteX0" y="connsiteY0"/>
                  </a:cxn>
                  <a:cxn ang="0">
                    <a:pos x="connsiteX1" y="connsiteY1"/>
                  </a:cxn>
                  <a:cxn ang="0">
                    <a:pos x="connsiteX2" y="connsiteY2"/>
                  </a:cxn>
                  <a:cxn ang="0">
                    <a:pos x="connsiteX3" y="connsiteY3"/>
                  </a:cxn>
                </a:cxnLst>
                <a:rect l="l" t="t" r="r" b="b"/>
                <a:pathLst>
                  <a:path w="83192" h="13337">
                    <a:moveTo>
                      <a:pt x="82774" y="0"/>
                    </a:moveTo>
                    <a:lnTo>
                      <a:pt x="83192" y="3050"/>
                    </a:lnTo>
                    <a:lnTo>
                      <a:pt x="359" y="13337"/>
                    </a:lnTo>
                    <a:lnTo>
                      <a:pt x="0" y="10287"/>
                    </a:lnTo>
                    <a:close/>
                  </a:path>
                </a:pathLst>
              </a:custGeom>
              <a:grpFill/>
              <a:ln w="5978" cap="flat">
                <a:noFill/>
                <a:prstDash val="solid"/>
                <a:miter/>
              </a:ln>
            </p:spPr>
            <p:txBody>
              <a:bodyPr rtlCol="0" anchor="ctr"/>
              <a:lstStyle/>
              <a:p>
                <a:endParaRPr lang="en-GB"/>
              </a:p>
            </p:txBody>
          </p:sp>
          <p:sp>
            <p:nvSpPr>
              <p:cNvPr id="5313" name="Vrije vorm: vorm 5312">
                <a:extLst>
                  <a:ext uri="{FF2B5EF4-FFF2-40B4-BE49-F238E27FC236}">
                    <a16:creationId xmlns:a16="http://schemas.microsoft.com/office/drawing/2014/main" id="{45A3136A-FDF3-4790-9B9E-0AADA16384E1}"/>
                  </a:ext>
                </a:extLst>
              </p:cNvPr>
              <p:cNvSpPr/>
              <p:nvPr/>
            </p:nvSpPr>
            <p:spPr>
              <a:xfrm>
                <a:off x="8153472" y="3146791"/>
                <a:ext cx="18325" cy="18431"/>
              </a:xfrm>
              <a:custGeom>
                <a:avLst/>
                <a:gdLst>
                  <a:gd name="connsiteX0" fmla="*/ 8021 w 18325"/>
                  <a:gd name="connsiteY0" fmla="*/ 65 h 18431"/>
                  <a:gd name="connsiteX1" fmla="*/ 18248 w 18325"/>
                  <a:gd name="connsiteY1" fmla="*/ 8079 h 18431"/>
                  <a:gd name="connsiteX2" fmla="*/ 10294 w 18325"/>
                  <a:gd name="connsiteY2" fmla="*/ 18366 h 18431"/>
                  <a:gd name="connsiteX3" fmla="*/ 66 w 18325"/>
                  <a:gd name="connsiteY3" fmla="*/ 10352 h 18431"/>
                  <a:gd name="connsiteX4" fmla="*/ 8021 w 18325"/>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1">
                    <a:moveTo>
                      <a:pt x="8021" y="65"/>
                    </a:moveTo>
                    <a:cubicBezTo>
                      <a:pt x="13044" y="-533"/>
                      <a:pt x="17650" y="3055"/>
                      <a:pt x="18248" y="8079"/>
                    </a:cubicBezTo>
                    <a:cubicBezTo>
                      <a:pt x="18905" y="13103"/>
                      <a:pt x="15317" y="17708"/>
                      <a:pt x="10294" y="18366"/>
                    </a:cubicBezTo>
                    <a:cubicBezTo>
                      <a:pt x="5269" y="18964"/>
                      <a:pt x="664" y="15376"/>
                      <a:pt x="66" y="10352"/>
                    </a:cubicBezTo>
                    <a:cubicBezTo>
                      <a:pt x="-532" y="5268"/>
                      <a:pt x="2997" y="663"/>
                      <a:pt x="8021" y="65"/>
                    </a:cubicBezTo>
                    <a:close/>
                  </a:path>
                </a:pathLst>
              </a:custGeom>
              <a:grpFill/>
              <a:ln w="5978" cap="flat">
                <a:noFill/>
                <a:prstDash val="solid"/>
                <a:miter/>
              </a:ln>
            </p:spPr>
            <p:txBody>
              <a:bodyPr rtlCol="0" anchor="ctr"/>
              <a:lstStyle/>
              <a:p>
                <a:endParaRPr lang="en-GB"/>
              </a:p>
            </p:txBody>
          </p:sp>
          <p:sp>
            <p:nvSpPr>
              <p:cNvPr id="5314" name="Vrije vorm: vorm 5313">
                <a:extLst>
                  <a:ext uri="{FF2B5EF4-FFF2-40B4-BE49-F238E27FC236}">
                    <a16:creationId xmlns:a16="http://schemas.microsoft.com/office/drawing/2014/main" id="{0CB0A058-5E85-44AD-AB91-5FB4EE919D96}"/>
                  </a:ext>
                </a:extLst>
              </p:cNvPr>
              <p:cNvSpPr/>
              <p:nvPr/>
            </p:nvSpPr>
            <p:spPr>
              <a:xfrm>
                <a:off x="8071596" y="3156899"/>
                <a:ext cx="18313" cy="18431"/>
              </a:xfrm>
              <a:custGeom>
                <a:avLst/>
                <a:gdLst>
                  <a:gd name="connsiteX0" fmla="*/ 8020 w 18313"/>
                  <a:gd name="connsiteY0" fmla="*/ 65 h 18431"/>
                  <a:gd name="connsiteX1" fmla="*/ 66 w 18313"/>
                  <a:gd name="connsiteY1" fmla="*/ 10352 h 18431"/>
                  <a:gd name="connsiteX2" fmla="*/ 10293 w 18313"/>
                  <a:gd name="connsiteY2" fmla="*/ 18366 h 18431"/>
                  <a:gd name="connsiteX3" fmla="*/ 18247 w 18313"/>
                  <a:gd name="connsiteY3" fmla="*/ 8079 h 18431"/>
                  <a:gd name="connsiteX4" fmla="*/ 8020 w 18313"/>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8020" y="65"/>
                    </a:moveTo>
                    <a:cubicBezTo>
                      <a:pt x="2997" y="663"/>
                      <a:pt x="-532" y="5268"/>
                      <a:pt x="66" y="10352"/>
                    </a:cubicBezTo>
                    <a:cubicBezTo>
                      <a:pt x="724" y="15376"/>
                      <a:pt x="5269" y="18964"/>
                      <a:pt x="10293" y="18366"/>
                    </a:cubicBezTo>
                    <a:cubicBezTo>
                      <a:pt x="15316" y="17768"/>
                      <a:pt x="18846" y="13163"/>
                      <a:pt x="18247" y="8079"/>
                    </a:cubicBezTo>
                    <a:cubicBezTo>
                      <a:pt x="17649" y="3055"/>
                      <a:pt x="13044" y="-533"/>
                      <a:pt x="8020" y="65"/>
                    </a:cubicBezTo>
                    <a:close/>
                  </a:path>
                </a:pathLst>
              </a:custGeom>
              <a:grpFill/>
              <a:ln w="5978" cap="flat">
                <a:noFill/>
                <a:prstDash val="solid"/>
                <a:miter/>
              </a:ln>
            </p:spPr>
            <p:txBody>
              <a:bodyPr rtlCol="0" anchor="ctr"/>
              <a:lstStyle/>
              <a:p>
                <a:endParaRPr lang="en-GB"/>
              </a:p>
            </p:txBody>
          </p:sp>
        </p:grpSp>
        <p:grpSp>
          <p:nvGrpSpPr>
            <p:cNvPr id="20" name="Graphic 3">
              <a:extLst>
                <a:ext uri="{FF2B5EF4-FFF2-40B4-BE49-F238E27FC236}">
                  <a16:creationId xmlns:a16="http://schemas.microsoft.com/office/drawing/2014/main" id="{475BC94C-0430-4F7E-A94C-365F26411184}"/>
                </a:ext>
              </a:extLst>
            </p:cNvPr>
            <p:cNvGrpSpPr/>
            <p:nvPr/>
          </p:nvGrpSpPr>
          <p:grpSpPr>
            <a:xfrm>
              <a:off x="8150188" y="3384111"/>
              <a:ext cx="123622" cy="19558"/>
              <a:chOff x="8150188" y="3384111"/>
              <a:chExt cx="123622" cy="19558"/>
            </a:xfrm>
            <a:grpFill/>
          </p:grpSpPr>
          <p:sp>
            <p:nvSpPr>
              <p:cNvPr id="5309" name="Vrije vorm: vorm 5308">
                <a:extLst>
                  <a:ext uri="{FF2B5EF4-FFF2-40B4-BE49-F238E27FC236}">
                    <a16:creationId xmlns:a16="http://schemas.microsoft.com/office/drawing/2014/main" id="{6097BB5F-EA7C-4FDE-99C4-27AB28878EE1}"/>
                  </a:ext>
                </a:extLst>
              </p:cNvPr>
              <p:cNvSpPr/>
              <p:nvPr/>
            </p:nvSpPr>
            <p:spPr>
              <a:xfrm>
                <a:off x="8158861" y="3391767"/>
                <a:ext cx="106277" cy="4246"/>
              </a:xfrm>
              <a:custGeom>
                <a:avLst/>
                <a:gdLst>
                  <a:gd name="connsiteX0" fmla="*/ 106218 w 106277"/>
                  <a:gd name="connsiteY0" fmla="*/ 0 h 4246"/>
                  <a:gd name="connsiteX1" fmla="*/ 106278 w 106277"/>
                  <a:gd name="connsiteY1" fmla="*/ 3110 h 4246"/>
                  <a:gd name="connsiteX2" fmla="*/ 0 w 106277"/>
                  <a:gd name="connsiteY2" fmla="*/ 4246 h 4246"/>
                  <a:gd name="connsiteX3" fmla="*/ 0 w 106277"/>
                  <a:gd name="connsiteY3" fmla="*/ 1196 h 4246"/>
                </a:gdLst>
                <a:ahLst/>
                <a:cxnLst>
                  <a:cxn ang="0">
                    <a:pos x="connsiteX0" y="connsiteY0"/>
                  </a:cxn>
                  <a:cxn ang="0">
                    <a:pos x="connsiteX1" y="connsiteY1"/>
                  </a:cxn>
                  <a:cxn ang="0">
                    <a:pos x="connsiteX2" y="connsiteY2"/>
                  </a:cxn>
                  <a:cxn ang="0">
                    <a:pos x="connsiteX3" y="connsiteY3"/>
                  </a:cxn>
                </a:cxnLst>
                <a:rect l="l" t="t" r="r" b="b"/>
                <a:pathLst>
                  <a:path w="106277" h="4246">
                    <a:moveTo>
                      <a:pt x="106218" y="0"/>
                    </a:moveTo>
                    <a:lnTo>
                      <a:pt x="106278" y="3110"/>
                    </a:lnTo>
                    <a:lnTo>
                      <a:pt x="0" y="4246"/>
                    </a:lnTo>
                    <a:lnTo>
                      <a:pt x="0" y="1196"/>
                    </a:lnTo>
                    <a:close/>
                  </a:path>
                </a:pathLst>
              </a:custGeom>
              <a:grpFill/>
              <a:ln w="5978" cap="flat">
                <a:noFill/>
                <a:prstDash val="solid"/>
                <a:miter/>
              </a:ln>
            </p:spPr>
            <p:txBody>
              <a:bodyPr rtlCol="0" anchor="ctr"/>
              <a:lstStyle/>
              <a:p>
                <a:endParaRPr lang="en-GB"/>
              </a:p>
            </p:txBody>
          </p:sp>
          <p:sp>
            <p:nvSpPr>
              <p:cNvPr id="5310" name="Vrije vorm: vorm 5309">
                <a:extLst>
                  <a:ext uri="{FF2B5EF4-FFF2-40B4-BE49-F238E27FC236}">
                    <a16:creationId xmlns:a16="http://schemas.microsoft.com/office/drawing/2014/main" id="{C9954854-B8C9-415F-9630-34ABB3B99299}"/>
                  </a:ext>
                </a:extLst>
              </p:cNvPr>
              <p:cNvSpPr/>
              <p:nvPr/>
            </p:nvSpPr>
            <p:spPr>
              <a:xfrm>
                <a:off x="8255507" y="3384111"/>
                <a:ext cx="18303" cy="18421"/>
              </a:xfrm>
              <a:custGeom>
                <a:avLst/>
                <a:gdLst>
                  <a:gd name="connsiteX0" fmla="*/ 9034 w 18303"/>
                  <a:gd name="connsiteY0" fmla="*/ 1 h 18421"/>
                  <a:gd name="connsiteX1" fmla="*/ 18303 w 18303"/>
                  <a:gd name="connsiteY1" fmla="*/ 9091 h 18421"/>
                  <a:gd name="connsiteX2" fmla="*/ 9272 w 18303"/>
                  <a:gd name="connsiteY2" fmla="*/ 18421 h 18421"/>
                  <a:gd name="connsiteX3" fmla="*/ 3 w 18303"/>
                  <a:gd name="connsiteY3" fmla="*/ 9331 h 18421"/>
                  <a:gd name="connsiteX4" fmla="*/ 9034 w 18303"/>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21">
                    <a:moveTo>
                      <a:pt x="9034" y="1"/>
                    </a:moveTo>
                    <a:cubicBezTo>
                      <a:pt x="14117" y="-59"/>
                      <a:pt x="18243" y="4008"/>
                      <a:pt x="18303" y="9091"/>
                    </a:cubicBezTo>
                    <a:cubicBezTo>
                      <a:pt x="18363" y="14175"/>
                      <a:pt x="14356" y="18362"/>
                      <a:pt x="9272" y="18421"/>
                    </a:cubicBezTo>
                    <a:cubicBezTo>
                      <a:pt x="4189" y="18481"/>
                      <a:pt x="62" y="14414"/>
                      <a:pt x="3" y="9331"/>
                    </a:cubicBezTo>
                    <a:cubicBezTo>
                      <a:pt x="-117" y="4247"/>
                      <a:pt x="3950" y="61"/>
                      <a:pt x="9034" y="1"/>
                    </a:cubicBezTo>
                    <a:close/>
                  </a:path>
                </a:pathLst>
              </a:custGeom>
              <a:grpFill/>
              <a:ln w="5978" cap="flat">
                <a:noFill/>
                <a:prstDash val="solid"/>
                <a:miter/>
              </a:ln>
            </p:spPr>
            <p:txBody>
              <a:bodyPr rtlCol="0" anchor="ctr"/>
              <a:lstStyle/>
              <a:p>
                <a:endParaRPr lang="en-GB"/>
              </a:p>
            </p:txBody>
          </p:sp>
          <p:sp>
            <p:nvSpPr>
              <p:cNvPr id="5311" name="Vrije vorm: vorm 5310">
                <a:extLst>
                  <a:ext uri="{FF2B5EF4-FFF2-40B4-BE49-F238E27FC236}">
                    <a16:creationId xmlns:a16="http://schemas.microsoft.com/office/drawing/2014/main" id="{857180A0-B019-48EA-A2E4-71AA2C521889}"/>
                  </a:ext>
                </a:extLst>
              </p:cNvPr>
              <p:cNvSpPr/>
              <p:nvPr/>
            </p:nvSpPr>
            <p:spPr>
              <a:xfrm>
                <a:off x="8150188" y="3385247"/>
                <a:ext cx="18301" cy="18421"/>
              </a:xfrm>
              <a:custGeom>
                <a:avLst/>
                <a:gdLst>
                  <a:gd name="connsiteX0" fmla="*/ 9032 w 18301"/>
                  <a:gd name="connsiteY0" fmla="*/ 1 h 18421"/>
                  <a:gd name="connsiteX1" fmla="*/ 1 w 18301"/>
                  <a:gd name="connsiteY1" fmla="*/ 9331 h 18421"/>
                  <a:gd name="connsiteX2" fmla="*/ 9270 w 18301"/>
                  <a:gd name="connsiteY2" fmla="*/ 18421 h 18421"/>
                  <a:gd name="connsiteX3" fmla="*/ 18301 w 18301"/>
                  <a:gd name="connsiteY3" fmla="*/ 9091 h 18421"/>
                  <a:gd name="connsiteX4" fmla="*/ 9032 w 1830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1">
                    <a:moveTo>
                      <a:pt x="9032" y="1"/>
                    </a:moveTo>
                    <a:cubicBezTo>
                      <a:pt x="3947" y="61"/>
                      <a:pt x="-59" y="4247"/>
                      <a:pt x="1" y="9331"/>
                    </a:cubicBezTo>
                    <a:cubicBezTo>
                      <a:pt x="61" y="14414"/>
                      <a:pt x="4247" y="18481"/>
                      <a:pt x="9270" y="18421"/>
                    </a:cubicBezTo>
                    <a:cubicBezTo>
                      <a:pt x="14354" y="18362"/>
                      <a:pt x="18361" y="14175"/>
                      <a:pt x="18301" y="9091"/>
                    </a:cubicBezTo>
                    <a:cubicBezTo>
                      <a:pt x="18241" y="4008"/>
                      <a:pt x="14055" y="-59"/>
                      <a:pt x="9032" y="1"/>
                    </a:cubicBezTo>
                    <a:close/>
                  </a:path>
                </a:pathLst>
              </a:custGeom>
              <a:grpFill/>
              <a:ln w="5978" cap="flat">
                <a:noFill/>
                <a:prstDash val="solid"/>
                <a:miter/>
              </a:ln>
            </p:spPr>
            <p:txBody>
              <a:bodyPr rtlCol="0" anchor="ctr"/>
              <a:lstStyle/>
              <a:p>
                <a:endParaRPr lang="en-GB"/>
              </a:p>
            </p:txBody>
          </p:sp>
        </p:grpSp>
        <p:grpSp>
          <p:nvGrpSpPr>
            <p:cNvPr id="21" name="Graphic 3">
              <a:extLst>
                <a:ext uri="{FF2B5EF4-FFF2-40B4-BE49-F238E27FC236}">
                  <a16:creationId xmlns:a16="http://schemas.microsoft.com/office/drawing/2014/main" id="{FF5A6FD4-8378-45BB-9AF0-E971F42F927E}"/>
                </a:ext>
              </a:extLst>
            </p:cNvPr>
            <p:cNvGrpSpPr/>
            <p:nvPr/>
          </p:nvGrpSpPr>
          <p:grpSpPr>
            <a:xfrm>
              <a:off x="7699434" y="2121871"/>
              <a:ext cx="129320" cy="99272"/>
              <a:chOff x="7699434" y="2121871"/>
              <a:chExt cx="129320" cy="99272"/>
            </a:xfrm>
            <a:grpFill/>
          </p:grpSpPr>
          <p:sp>
            <p:nvSpPr>
              <p:cNvPr id="5306" name="Vrije vorm: vorm 5305">
                <a:extLst>
                  <a:ext uri="{FF2B5EF4-FFF2-40B4-BE49-F238E27FC236}">
                    <a16:creationId xmlns:a16="http://schemas.microsoft.com/office/drawing/2014/main" id="{4E2B5639-2C6B-4551-8649-0B2298D6FD04}"/>
                  </a:ext>
                </a:extLst>
              </p:cNvPr>
              <p:cNvSpPr/>
              <p:nvPr/>
            </p:nvSpPr>
            <p:spPr>
              <a:xfrm>
                <a:off x="7707316" y="2129536"/>
                <a:ext cx="113513" cy="83909"/>
              </a:xfrm>
              <a:custGeom>
                <a:avLst/>
                <a:gdLst>
                  <a:gd name="connsiteX0" fmla="*/ 113514 w 113513"/>
                  <a:gd name="connsiteY0" fmla="*/ 2512 h 83909"/>
                  <a:gd name="connsiteX1" fmla="*/ 1795 w 113513"/>
                  <a:gd name="connsiteY1" fmla="*/ 83910 h 83909"/>
                  <a:gd name="connsiteX2" fmla="*/ 0 w 113513"/>
                  <a:gd name="connsiteY2" fmla="*/ 81457 h 83909"/>
                  <a:gd name="connsiteX3" fmla="*/ 111720 w 113513"/>
                  <a:gd name="connsiteY3" fmla="*/ 0 h 83909"/>
                </a:gdLst>
                <a:ahLst/>
                <a:cxnLst>
                  <a:cxn ang="0">
                    <a:pos x="connsiteX0" y="connsiteY0"/>
                  </a:cxn>
                  <a:cxn ang="0">
                    <a:pos x="connsiteX1" y="connsiteY1"/>
                  </a:cxn>
                  <a:cxn ang="0">
                    <a:pos x="connsiteX2" y="connsiteY2"/>
                  </a:cxn>
                  <a:cxn ang="0">
                    <a:pos x="connsiteX3" y="connsiteY3"/>
                  </a:cxn>
                </a:cxnLst>
                <a:rect l="l" t="t" r="r" b="b"/>
                <a:pathLst>
                  <a:path w="113513" h="83909">
                    <a:moveTo>
                      <a:pt x="113514" y="2512"/>
                    </a:moveTo>
                    <a:lnTo>
                      <a:pt x="1795" y="83910"/>
                    </a:lnTo>
                    <a:lnTo>
                      <a:pt x="0" y="81457"/>
                    </a:lnTo>
                    <a:lnTo>
                      <a:pt x="111720" y="0"/>
                    </a:lnTo>
                    <a:close/>
                  </a:path>
                </a:pathLst>
              </a:custGeom>
              <a:grpFill/>
              <a:ln w="5978" cap="flat">
                <a:noFill/>
                <a:prstDash val="solid"/>
                <a:miter/>
              </a:ln>
            </p:spPr>
            <p:txBody>
              <a:bodyPr rtlCol="0" anchor="ctr"/>
              <a:lstStyle/>
              <a:p>
                <a:endParaRPr lang="en-GB"/>
              </a:p>
            </p:txBody>
          </p:sp>
          <p:sp>
            <p:nvSpPr>
              <p:cNvPr id="5307" name="Vrije vorm: vorm 5306">
                <a:extLst>
                  <a:ext uri="{FF2B5EF4-FFF2-40B4-BE49-F238E27FC236}">
                    <a16:creationId xmlns:a16="http://schemas.microsoft.com/office/drawing/2014/main" id="{FC95A832-04D0-41A6-A513-85F6F033DF21}"/>
                  </a:ext>
                </a:extLst>
              </p:cNvPr>
              <p:cNvSpPr/>
              <p:nvPr/>
            </p:nvSpPr>
            <p:spPr>
              <a:xfrm>
                <a:off x="7810437" y="2121871"/>
                <a:ext cx="18318" cy="18439"/>
              </a:xfrm>
              <a:custGeom>
                <a:avLst/>
                <a:gdLst>
                  <a:gd name="connsiteX0" fmla="*/ 3755 w 18318"/>
                  <a:gd name="connsiteY0" fmla="*/ 1744 h 18439"/>
                  <a:gd name="connsiteX1" fmla="*/ 16554 w 18318"/>
                  <a:gd name="connsiteY1" fmla="*/ 3837 h 18439"/>
                  <a:gd name="connsiteX2" fmla="*/ 14520 w 18318"/>
                  <a:gd name="connsiteY2" fmla="*/ 16696 h 18439"/>
                  <a:gd name="connsiteX3" fmla="*/ 1722 w 18318"/>
                  <a:gd name="connsiteY3" fmla="*/ 14602 h 18439"/>
                  <a:gd name="connsiteX4" fmla="*/ 3755 w 18318"/>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9">
                    <a:moveTo>
                      <a:pt x="3755" y="1744"/>
                    </a:moveTo>
                    <a:cubicBezTo>
                      <a:pt x="7822" y="-1246"/>
                      <a:pt x="13563" y="-290"/>
                      <a:pt x="16554" y="3837"/>
                    </a:cubicBezTo>
                    <a:cubicBezTo>
                      <a:pt x="19544" y="7964"/>
                      <a:pt x="18647" y="13705"/>
                      <a:pt x="14520" y="16696"/>
                    </a:cubicBezTo>
                    <a:cubicBezTo>
                      <a:pt x="10453" y="19686"/>
                      <a:pt x="4712" y="18729"/>
                      <a:pt x="1722" y="14602"/>
                    </a:cubicBezTo>
                    <a:cubicBezTo>
                      <a:pt x="-1209" y="10476"/>
                      <a:pt x="-312" y="4674"/>
                      <a:pt x="3755" y="1744"/>
                    </a:cubicBezTo>
                    <a:close/>
                  </a:path>
                </a:pathLst>
              </a:custGeom>
              <a:grpFill/>
              <a:ln w="5978" cap="flat">
                <a:noFill/>
                <a:prstDash val="solid"/>
                <a:miter/>
              </a:ln>
            </p:spPr>
            <p:txBody>
              <a:bodyPr rtlCol="0" anchor="ctr"/>
              <a:lstStyle/>
              <a:p>
                <a:endParaRPr lang="en-GB"/>
              </a:p>
            </p:txBody>
          </p:sp>
          <p:sp>
            <p:nvSpPr>
              <p:cNvPr id="5308" name="Vrije vorm: vorm 5307">
                <a:extLst>
                  <a:ext uri="{FF2B5EF4-FFF2-40B4-BE49-F238E27FC236}">
                    <a16:creationId xmlns:a16="http://schemas.microsoft.com/office/drawing/2014/main" id="{9AA699FF-B5AE-4238-B53F-0AD0A0522E4A}"/>
                  </a:ext>
                </a:extLst>
              </p:cNvPr>
              <p:cNvSpPr/>
              <p:nvPr/>
            </p:nvSpPr>
            <p:spPr>
              <a:xfrm>
                <a:off x="7699434" y="2202730"/>
                <a:ext cx="18275" cy="18413"/>
              </a:xfrm>
              <a:custGeom>
                <a:avLst/>
                <a:gdLst>
                  <a:gd name="connsiteX0" fmla="*/ 3755 w 18275"/>
                  <a:gd name="connsiteY0" fmla="*/ 1744 h 18413"/>
                  <a:gd name="connsiteX1" fmla="*/ 1722 w 18275"/>
                  <a:gd name="connsiteY1" fmla="*/ 14602 h 18413"/>
                  <a:gd name="connsiteX2" fmla="*/ 14520 w 18275"/>
                  <a:gd name="connsiteY2" fmla="*/ 16696 h 18413"/>
                  <a:gd name="connsiteX3" fmla="*/ 16554 w 18275"/>
                  <a:gd name="connsiteY3" fmla="*/ 3837 h 18413"/>
                  <a:gd name="connsiteX4" fmla="*/ 3755 w 18275"/>
                  <a:gd name="connsiteY4" fmla="*/ 174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13">
                    <a:moveTo>
                      <a:pt x="3755" y="1744"/>
                    </a:moveTo>
                    <a:cubicBezTo>
                      <a:pt x="-312" y="4734"/>
                      <a:pt x="-1209" y="10476"/>
                      <a:pt x="1722" y="14602"/>
                    </a:cubicBezTo>
                    <a:cubicBezTo>
                      <a:pt x="4712" y="18729"/>
                      <a:pt x="10454" y="19626"/>
                      <a:pt x="14520" y="16696"/>
                    </a:cubicBezTo>
                    <a:cubicBezTo>
                      <a:pt x="18588" y="13705"/>
                      <a:pt x="19485" y="7964"/>
                      <a:pt x="16554" y="3837"/>
                    </a:cubicBezTo>
                    <a:cubicBezTo>
                      <a:pt x="13623" y="-290"/>
                      <a:pt x="7882" y="-1246"/>
                      <a:pt x="3755" y="1744"/>
                    </a:cubicBezTo>
                    <a:close/>
                  </a:path>
                </a:pathLst>
              </a:custGeom>
              <a:grpFill/>
              <a:ln w="5978" cap="flat">
                <a:noFill/>
                <a:prstDash val="solid"/>
                <a:miter/>
              </a:ln>
            </p:spPr>
            <p:txBody>
              <a:bodyPr rtlCol="0" anchor="ctr"/>
              <a:lstStyle/>
              <a:p>
                <a:endParaRPr lang="en-GB"/>
              </a:p>
            </p:txBody>
          </p:sp>
        </p:grpSp>
        <p:grpSp>
          <p:nvGrpSpPr>
            <p:cNvPr id="22" name="Graphic 3">
              <a:extLst>
                <a:ext uri="{FF2B5EF4-FFF2-40B4-BE49-F238E27FC236}">
                  <a16:creationId xmlns:a16="http://schemas.microsoft.com/office/drawing/2014/main" id="{34ED8F86-7546-4237-A083-5A6981F19193}"/>
                </a:ext>
              </a:extLst>
            </p:cNvPr>
            <p:cNvGrpSpPr/>
            <p:nvPr/>
          </p:nvGrpSpPr>
          <p:grpSpPr>
            <a:xfrm>
              <a:off x="7775656" y="2422524"/>
              <a:ext cx="182272" cy="103731"/>
              <a:chOff x="7775656" y="2422524"/>
              <a:chExt cx="182272" cy="103731"/>
            </a:xfrm>
            <a:grpFill/>
          </p:grpSpPr>
          <p:sp>
            <p:nvSpPr>
              <p:cNvPr id="5303" name="Vrije vorm: vorm 5302">
                <a:extLst>
                  <a:ext uri="{FF2B5EF4-FFF2-40B4-BE49-F238E27FC236}">
                    <a16:creationId xmlns:a16="http://schemas.microsoft.com/office/drawing/2014/main" id="{1E751260-381F-4831-B49F-30CEC34FD097}"/>
                  </a:ext>
                </a:extLst>
              </p:cNvPr>
              <p:cNvSpPr/>
              <p:nvPr/>
            </p:nvSpPr>
            <p:spPr>
              <a:xfrm>
                <a:off x="7783690" y="2430187"/>
                <a:ext cx="166144" cy="88454"/>
              </a:xfrm>
              <a:custGeom>
                <a:avLst/>
                <a:gdLst>
                  <a:gd name="connsiteX0" fmla="*/ 166145 w 166144"/>
                  <a:gd name="connsiteY0" fmla="*/ 2691 h 88454"/>
                  <a:gd name="connsiteX1" fmla="*/ 1375 w 166144"/>
                  <a:gd name="connsiteY1" fmla="*/ 88455 h 88454"/>
                  <a:gd name="connsiteX2" fmla="*/ 0 w 166144"/>
                  <a:gd name="connsiteY2" fmla="*/ 85704 h 88454"/>
                  <a:gd name="connsiteX3" fmla="*/ 164769 w 166144"/>
                  <a:gd name="connsiteY3" fmla="*/ 0 h 88454"/>
                </a:gdLst>
                <a:ahLst/>
                <a:cxnLst>
                  <a:cxn ang="0">
                    <a:pos x="connsiteX0" y="connsiteY0"/>
                  </a:cxn>
                  <a:cxn ang="0">
                    <a:pos x="connsiteX1" y="connsiteY1"/>
                  </a:cxn>
                  <a:cxn ang="0">
                    <a:pos x="connsiteX2" y="connsiteY2"/>
                  </a:cxn>
                  <a:cxn ang="0">
                    <a:pos x="connsiteX3" y="connsiteY3"/>
                  </a:cxn>
                </a:cxnLst>
                <a:rect l="l" t="t" r="r" b="b"/>
                <a:pathLst>
                  <a:path w="166144" h="88454">
                    <a:moveTo>
                      <a:pt x="166145" y="2691"/>
                    </a:moveTo>
                    <a:lnTo>
                      <a:pt x="1375" y="88455"/>
                    </a:lnTo>
                    <a:lnTo>
                      <a:pt x="0" y="85704"/>
                    </a:lnTo>
                    <a:lnTo>
                      <a:pt x="164769" y="0"/>
                    </a:lnTo>
                    <a:close/>
                  </a:path>
                </a:pathLst>
              </a:custGeom>
              <a:grpFill/>
              <a:ln w="5978" cap="flat">
                <a:noFill/>
                <a:prstDash val="solid"/>
                <a:miter/>
              </a:ln>
            </p:spPr>
            <p:txBody>
              <a:bodyPr rtlCol="0" anchor="ctr"/>
              <a:lstStyle/>
              <a:p>
                <a:endParaRPr lang="en-GB"/>
              </a:p>
            </p:txBody>
          </p:sp>
          <p:sp>
            <p:nvSpPr>
              <p:cNvPr id="5304" name="Vrije vorm: vorm 5303">
                <a:extLst>
                  <a:ext uri="{FF2B5EF4-FFF2-40B4-BE49-F238E27FC236}">
                    <a16:creationId xmlns:a16="http://schemas.microsoft.com/office/drawing/2014/main" id="{4C34812A-A321-4999-AA85-6B96325CACCD}"/>
                  </a:ext>
                </a:extLst>
              </p:cNvPr>
              <p:cNvSpPr/>
              <p:nvPr/>
            </p:nvSpPr>
            <p:spPr>
              <a:xfrm>
                <a:off x="7939587" y="2422524"/>
                <a:ext cx="18340" cy="18434"/>
              </a:xfrm>
              <a:custGeom>
                <a:avLst/>
                <a:gdLst>
                  <a:gd name="connsiteX0" fmla="*/ 4924 w 18340"/>
                  <a:gd name="connsiteY0" fmla="*/ 1024 h 18434"/>
                  <a:gd name="connsiteX1" fmla="*/ 17304 w 18340"/>
                  <a:gd name="connsiteY1" fmla="*/ 4971 h 18434"/>
                  <a:gd name="connsiteX2" fmla="*/ 13417 w 18340"/>
                  <a:gd name="connsiteY2" fmla="*/ 17411 h 18434"/>
                  <a:gd name="connsiteX3" fmla="*/ 1037 w 18340"/>
                  <a:gd name="connsiteY3" fmla="*/ 13464 h 18434"/>
                  <a:gd name="connsiteX4" fmla="*/ 4924 w 18340"/>
                  <a:gd name="connsiteY4" fmla="*/ 102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34">
                    <a:moveTo>
                      <a:pt x="4924" y="1024"/>
                    </a:moveTo>
                    <a:cubicBezTo>
                      <a:pt x="9410" y="-1309"/>
                      <a:pt x="14972" y="486"/>
                      <a:pt x="17304" y="4971"/>
                    </a:cubicBezTo>
                    <a:cubicBezTo>
                      <a:pt x="19637" y="9516"/>
                      <a:pt x="17902" y="15079"/>
                      <a:pt x="13417" y="17411"/>
                    </a:cubicBezTo>
                    <a:cubicBezTo>
                      <a:pt x="8931" y="19743"/>
                      <a:pt x="3369" y="17949"/>
                      <a:pt x="1037" y="13464"/>
                    </a:cubicBezTo>
                    <a:cubicBezTo>
                      <a:pt x="-1296" y="8918"/>
                      <a:pt x="439" y="3356"/>
                      <a:pt x="4924" y="1024"/>
                    </a:cubicBezTo>
                    <a:close/>
                  </a:path>
                </a:pathLst>
              </a:custGeom>
              <a:grpFill/>
              <a:ln w="5978" cap="flat">
                <a:noFill/>
                <a:prstDash val="solid"/>
                <a:miter/>
              </a:ln>
            </p:spPr>
            <p:txBody>
              <a:bodyPr rtlCol="0" anchor="ctr"/>
              <a:lstStyle/>
              <a:p>
                <a:endParaRPr lang="en-GB"/>
              </a:p>
            </p:txBody>
          </p:sp>
          <p:sp>
            <p:nvSpPr>
              <p:cNvPr id="5305" name="Vrije vorm: vorm 5304">
                <a:extLst>
                  <a:ext uri="{FF2B5EF4-FFF2-40B4-BE49-F238E27FC236}">
                    <a16:creationId xmlns:a16="http://schemas.microsoft.com/office/drawing/2014/main" id="{438E8826-ED76-407E-A400-15C32F6BEDC9}"/>
                  </a:ext>
                </a:extLst>
              </p:cNvPr>
              <p:cNvSpPr/>
              <p:nvPr/>
            </p:nvSpPr>
            <p:spPr>
              <a:xfrm>
                <a:off x="7775656" y="2507809"/>
                <a:ext cx="18341" cy="18446"/>
              </a:xfrm>
              <a:custGeom>
                <a:avLst/>
                <a:gdLst>
                  <a:gd name="connsiteX0" fmla="*/ 4924 w 18341"/>
                  <a:gd name="connsiteY0" fmla="*/ 1024 h 18446"/>
                  <a:gd name="connsiteX1" fmla="*/ 1037 w 18341"/>
                  <a:gd name="connsiteY1" fmla="*/ 13464 h 18446"/>
                  <a:gd name="connsiteX2" fmla="*/ 13417 w 18341"/>
                  <a:gd name="connsiteY2" fmla="*/ 17411 h 18446"/>
                  <a:gd name="connsiteX3" fmla="*/ 17305 w 18341"/>
                  <a:gd name="connsiteY3" fmla="*/ 4971 h 18446"/>
                  <a:gd name="connsiteX4" fmla="*/ 4924 w 18341"/>
                  <a:gd name="connsiteY4" fmla="*/ 1024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46">
                    <a:moveTo>
                      <a:pt x="4924" y="1024"/>
                    </a:moveTo>
                    <a:cubicBezTo>
                      <a:pt x="439" y="3356"/>
                      <a:pt x="-1296" y="8918"/>
                      <a:pt x="1037" y="13464"/>
                    </a:cubicBezTo>
                    <a:cubicBezTo>
                      <a:pt x="3369" y="18009"/>
                      <a:pt x="8932" y="19743"/>
                      <a:pt x="13417" y="17411"/>
                    </a:cubicBezTo>
                    <a:cubicBezTo>
                      <a:pt x="17903" y="15079"/>
                      <a:pt x="19637" y="9516"/>
                      <a:pt x="17305" y="4971"/>
                    </a:cubicBezTo>
                    <a:cubicBezTo>
                      <a:pt x="14912" y="486"/>
                      <a:pt x="9410" y="-1309"/>
                      <a:pt x="4924" y="1024"/>
                    </a:cubicBezTo>
                    <a:close/>
                  </a:path>
                </a:pathLst>
              </a:custGeom>
              <a:grpFill/>
              <a:ln w="5978" cap="flat">
                <a:noFill/>
                <a:prstDash val="solid"/>
                <a:miter/>
              </a:ln>
            </p:spPr>
            <p:txBody>
              <a:bodyPr rtlCol="0" anchor="ctr"/>
              <a:lstStyle/>
              <a:p>
                <a:endParaRPr lang="en-GB"/>
              </a:p>
            </p:txBody>
          </p:sp>
        </p:grpSp>
        <p:grpSp>
          <p:nvGrpSpPr>
            <p:cNvPr id="23" name="Graphic 3">
              <a:extLst>
                <a:ext uri="{FF2B5EF4-FFF2-40B4-BE49-F238E27FC236}">
                  <a16:creationId xmlns:a16="http://schemas.microsoft.com/office/drawing/2014/main" id="{598E857E-B4C8-4C7C-81DF-D36C78DFA1F0}"/>
                </a:ext>
              </a:extLst>
            </p:cNvPr>
            <p:cNvGrpSpPr/>
            <p:nvPr/>
          </p:nvGrpSpPr>
          <p:grpSpPr>
            <a:xfrm>
              <a:off x="7999120" y="2969913"/>
              <a:ext cx="50924" cy="25562"/>
              <a:chOff x="7999120" y="2969913"/>
              <a:chExt cx="50924" cy="25562"/>
            </a:xfrm>
            <a:grpFill/>
          </p:grpSpPr>
          <p:sp>
            <p:nvSpPr>
              <p:cNvPr id="5300" name="Vrije vorm: vorm 5299">
                <a:extLst>
                  <a:ext uri="{FF2B5EF4-FFF2-40B4-BE49-F238E27FC236}">
                    <a16:creationId xmlns:a16="http://schemas.microsoft.com/office/drawing/2014/main" id="{0BF2B0FA-9055-4141-945A-93EA6B1A2BB8}"/>
                  </a:ext>
                </a:extLst>
              </p:cNvPr>
              <p:cNvSpPr/>
              <p:nvPr/>
            </p:nvSpPr>
            <p:spPr>
              <a:xfrm>
                <a:off x="8007548" y="2977542"/>
                <a:ext cx="34090" cy="10346"/>
              </a:xfrm>
              <a:custGeom>
                <a:avLst/>
                <a:gdLst>
                  <a:gd name="connsiteX0" fmla="*/ 33433 w 34090"/>
                  <a:gd name="connsiteY0" fmla="*/ 0 h 10346"/>
                  <a:gd name="connsiteX1" fmla="*/ 34091 w 34090"/>
                  <a:gd name="connsiteY1" fmla="*/ 2990 h 10346"/>
                  <a:gd name="connsiteX2" fmla="*/ 659 w 34090"/>
                  <a:gd name="connsiteY2" fmla="*/ 10347 h 10346"/>
                  <a:gd name="connsiteX3" fmla="*/ 0 w 34090"/>
                  <a:gd name="connsiteY3" fmla="*/ 7356 h 10346"/>
                </a:gdLst>
                <a:ahLst/>
                <a:cxnLst>
                  <a:cxn ang="0">
                    <a:pos x="connsiteX0" y="connsiteY0"/>
                  </a:cxn>
                  <a:cxn ang="0">
                    <a:pos x="connsiteX1" y="connsiteY1"/>
                  </a:cxn>
                  <a:cxn ang="0">
                    <a:pos x="connsiteX2" y="connsiteY2"/>
                  </a:cxn>
                  <a:cxn ang="0">
                    <a:pos x="connsiteX3" y="connsiteY3"/>
                  </a:cxn>
                </a:cxnLst>
                <a:rect l="l" t="t" r="r" b="b"/>
                <a:pathLst>
                  <a:path w="34090" h="10346">
                    <a:moveTo>
                      <a:pt x="33433" y="0"/>
                    </a:moveTo>
                    <a:lnTo>
                      <a:pt x="34091" y="2990"/>
                    </a:lnTo>
                    <a:lnTo>
                      <a:pt x="659" y="10347"/>
                    </a:lnTo>
                    <a:lnTo>
                      <a:pt x="0" y="7356"/>
                    </a:lnTo>
                    <a:close/>
                  </a:path>
                </a:pathLst>
              </a:custGeom>
              <a:grpFill/>
              <a:ln w="5978" cap="flat">
                <a:noFill/>
                <a:prstDash val="solid"/>
                <a:miter/>
              </a:ln>
            </p:spPr>
            <p:txBody>
              <a:bodyPr rtlCol="0" anchor="ctr"/>
              <a:lstStyle/>
              <a:p>
                <a:endParaRPr lang="en-GB"/>
              </a:p>
            </p:txBody>
          </p:sp>
          <p:sp>
            <p:nvSpPr>
              <p:cNvPr id="5301" name="Vrije vorm: vorm 5300">
                <a:extLst>
                  <a:ext uri="{FF2B5EF4-FFF2-40B4-BE49-F238E27FC236}">
                    <a16:creationId xmlns:a16="http://schemas.microsoft.com/office/drawing/2014/main" id="{EBCE6F68-AF91-47E6-8466-7841DB87890E}"/>
                  </a:ext>
                </a:extLst>
              </p:cNvPr>
              <p:cNvSpPr/>
              <p:nvPr/>
            </p:nvSpPr>
            <p:spPr>
              <a:xfrm>
                <a:off x="8031716" y="2969913"/>
                <a:ext cx="18329" cy="18367"/>
              </a:xfrm>
              <a:custGeom>
                <a:avLst/>
                <a:gdLst>
                  <a:gd name="connsiteX0" fmla="*/ 7172 w 18329"/>
                  <a:gd name="connsiteY0" fmla="*/ 213 h 18367"/>
                  <a:gd name="connsiteX1" fmla="*/ 18117 w 18329"/>
                  <a:gd name="connsiteY1" fmla="*/ 7210 h 18367"/>
                  <a:gd name="connsiteX2" fmla="*/ 11179 w 18329"/>
                  <a:gd name="connsiteY2" fmla="*/ 18155 h 18367"/>
                  <a:gd name="connsiteX3" fmla="*/ 234 w 18329"/>
                  <a:gd name="connsiteY3" fmla="*/ 11157 h 18367"/>
                  <a:gd name="connsiteX4" fmla="*/ 7172 w 18329"/>
                  <a:gd name="connsiteY4" fmla="*/ 21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67">
                    <a:moveTo>
                      <a:pt x="7172" y="213"/>
                    </a:moveTo>
                    <a:cubicBezTo>
                      <a:pt x="12136" y="-864"/>
                      <a:pt x="16980" y="2246"/>
                      <a:pt x="18117" y="7210"/>
                    </a:cubicBezTo>
                    <a:cubicBezTo>
                      <a:pt x="19193" y="12174"/>
                      <a:pt x="16083" y="17079"/>
                      <a:pt x="11179" y="18155"/>
                    </a:cubicBezTo>
                    <a:cubicBezTo>
                      <a:pt x="6215" y="19231"/>
                      <a:pt x="1310" y="16122"/>
                      <a:pt x="234" y="11157"/>
                    </a:cubicBezTo>
                    <a:cubicBezTo>
                      <a:pt x="-902" y="6194"/>
                      <a:pt x="2208" y="1289"/>
                      <a:pt x="7172" y="213"/>
                    </a:cubicBezTo>
                    <a:close/>
                  </a:path>
                </a:pathLst>
              </a:custGeom>
              <a:grpFill/>
              <a:ln w="5978" cap="flat">
                <a:noFill/>
                <a:prstDash val="solid"/>
                <a:miter/>
              </a:ln>
            </p:spPr>
            <p:txBody>
              <a:bodyPr rtlCol="0" anchor="ctr"/>
              <a:lstStyle/>
              <a:p>
                <a:endParaRPr lang="en-GB"/>
              </a:p>
            </p:txBody>
          </p:sp>
          <p:sp>
            <p:nvSpPr>
              <p:cNvPr id="5302" name="Vrije vorm: vorm 5301">
                <a:extLst>
                  <a:ext uri="{FF2B5EF4-FFF2-40B4-BE49-F238E27FC236}">
                    <a16:creationId xmlns:a16="http://schemas.microsoft.com/office/drawing/2014/main" id="{C2B67D63-2B08-46D1-866A-4CB18A5876B4}"/>
                  </a:ext>
                </a:extLst>
              </p:cNvPr>
              <p:cNvSpPr/>
              <p:nvPr/>
            </p:nvSpPr>
            <p:spPr>
              <a:xfrm>
                <a:off x="7999120" y="2977093"/>
                <a:ext cx="18351" cy="18383"/>
              </a:xfrm>
              <a:custGeom>
                <a:avLst/>
                <a:gdLst>
                  <a:gd name="connsiteX0" fmla="*/ 7172 w 18351"/>
                  <a:gd name="connsiteY0" fmla="*/ 210 h 18383"/>
                  <a:gd name="connsiteX1" fmla="*/ 234 w 18351"/>
                  <a:gd name="connsiteY1" fmla="*/ 11155 h 18383"/>
                  <a:gd name="connsiteX2" fmla="*/ 11179 w 18351"/>
                  <a:gd name="connsiteY2" fmla="*/ 18152 h 18383"/>
                  <a:gd name="connsiteX3" fmla="*/ 18117 w 18351"/>
                  <a:gd name="connsiteY3" fmla="*/ 7208 h 18383"/>
                  <a:gd name="connsiteX4" fmla="*/ 7172 w 18351"/>
                  <a:gd name="connsiteY4" fmla="*/ 210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3">
                    <a:moveTo>
                      <a:pt x="7172" y="210"/>
                    </a:moveTo>
                    <a:cubicBezTo>
                      <a:pt x="2208" y="1287"/>
                      <a:pt x="-902" y="6191"/>
                      <a:pt x="234" y="11155"/>
                    </a:cubicBezTo>
                    <a:cubicBezTo>
                      <a:pt x="1311" y="16119"/>
                      <a:pt x="6215" y="19289"/>
                      <a:pt x="11179" y="18152"/>
                    </a:cubicBezTo>
                    <a:cubicBezTo>
                      <a:pt x="16143" y="17076"/>
                      <a:pt x="19253" y="12172"/>
                      <a:pt x="18117" y="7208"/>
                    </a:cubicBezTo>
                    <a:cubicBezTo>
                      <a:pt x="17040" y="2303"/>
                      <a:pt x="12136" y="-867"/>
                      <a:pt x="7172" y="210"/>
                    </a:cubicBezTo>
                    <a:close/>
                  </a:path>
                </a:pathLst>
              </a:custGeom>
              <a:grpFill/>
              <a:ln w="5978" cap="flat">
                <a:noFill/>
                <a:prstDash val="solid"/>
                <a:miter/>
              </a:ln>
            </p:spPr>
            <p:txBody>
              <a:bodyPr rtlCol="0" anchor="ctr"/>
              <a:lstStyle/>
              <a:p>
                <a:endParaRPr lang="en-GB"/>
              </a:p>
            </p:txBody>
          </p:sp>
        </p:grpSp>
        <p:grpSp>
          <p:nvGrpSpPr>
            <p:cNvPr id="24" name="Graphic 3">
              <a:extLst>
                <a:ext uri="{FF2B5EF4-FFF2-40B4-BE49-F238E27FC236}">
                  <a16:creationId xmlns:a16="http://schemas.microsoft.com/office/drawing/2014/main" id="{02C3B97D-D3A2-40B8-B342-CF1C825FDA75}"/>
                </a:ext>
              </a:extLst>
            </p:cNvPr>
            <p:cNvGrpSpPr/>
            <p:nvPr/>
          </p:nvGrpSpPr>
          <p:grpSpPr>
            <a:xfrm>
              <a:off x="7899111" y="3053672"/>
              <a:ext cx="349228" cy="72123"/>
              <a:chOff x="7899111" y="3053672"/>
              <a:chExt cx="349228" cy="72123"/>
            </a:xfrm>
            <a:grpFill/>
          </p:grpSpPr>
          <p:sp>
            <p:nvSpPr>
              <p:cNvPr id="5297" name="Vrije vorm: vorm 5296">
                <a:extLst>
                  <a:ext uri="{FF2B5EF4-FFF2-40B4-BE49-F238E27FC236}">
                    <a16:creationId xmlns:a16="http://schemas.microsoft.com/office/drawing/2014/main" id="{1228D3A9-5C3C-485E-A28C-588D73C6B7F0}"/>
                  </a:ext>
                </a:extLst>
              </p:cNvPr>
              <p:cNvSpPr/>
              <p:nvPr/>
            </p:nvSpPr>
            <p:spPr>
              <a:xfrm>
                <a:off x="7907278" y="3061375"/>
                <a:ext cx="332295" cy="56966"/>
              </a:xfrm>
              <a:custGeom>
                <a:avLst/>
                <a:gdLst>
                  <a:gd name="connsiteX0" fmla="*/ 0 w 332295"/>
                  <a:gd name="connsiteY0" fmla="*/ 53956 h 56966"/>
                  <a:gd name="connsiteX1" fmla="*/ 331806 w 332295"/>
                  <a:gd name="connsiteY1" fmla="*/ 0 h 56966"/>
                  <a:gd name="connsiteX2" fmla="*/ 332296 w 332295"/>
                  <a:gd name="connsiteY2" fmla="*/ 3011 h 56966"/>
                  <a:gd name="connsiteX3" fmla="*/ 490 w 332295"/>
                  <a:gd name="connsiteY3" fmla="*/ 56967 h 56966"/>
                </a:gdLst>
                <a:ahLst/>
                <a:cxnLst>
                  <a:cxn ang="0">
                    <a:pos x="connsiteX0" y="connsiteY0"/>
                  </a:cxn>
                  <a:cxn ang="0">
                    <a:pos x="connsiteX1" y="connsiteY1"/>
                  </a:cxn>
                  <a:cxn ang="0">
                    <a:pos x="connsiteX2" y="connsiteY2"/>
                  </a:cxn>
                  <a:cxn ang="0">
                    <a:pos x="connsiteX3" y="connsiteY3"/>
                  </a:cxn>
                </a:cxnLst>
                <a:rect l="l" t="t" r="r" b="b"/>
                <a:pathLst>
                  <a:path w="332295" h="56966">
                    <a:moveTo>
                      <a:pt x="0" y="53956"/>
                    </a:moveTo>
                    <a:lnTo>
                      <a:pt x="331806" y="0"/>
                    </a:lnTo>
                    <a:lnTo>
                      <a:pt x="332296" y="3011"/>
                    </a:lnTo>
                    <a:lnTo>
                      <a:pt x="490" y="56967"/>
                    </a:lnTo>
                    <a:close/>
                  </a:path>
                </a:pathLst>
              </a:custGeom>
              <a:grpFill/>
              <a:ln w="5978" cap="flat">
                <a:noFill/>
                <a:prstDash val="solid"/>
                <a:miter/>
              </a:ln>
            </p:spPr>
            <p:txBody>
              <a:bodyPr rtlCol="0" anchor="ctr"/>
              <a:lstStyle/>
              <a:p>
                <a:endParaRPr lang="en-GB"/>
              </a:p>
            </p:txBody>
          </p:sp>
          <p:sp>
            <p:nvSpPr>
              <p:cNvPr id="5298" name="Vrije vorm: vorm 5297">
                <a:extLst>
                  <a:ext uri="{FF2B5EF4-FFF2-40B4-BE49-F238E27FC236}">
                    <a16:creationId xmlns:a16="http://schemas.microsoft.com/office/drawing/2014/main" id="{4D9C9A04-9EBD-4C67-9F54-41F6A963645E}"/>
                  </a:ext>
                </a:extLst>
              </p:cNvPr>
              <p:cNvSpPr/>
              <p:nvPr/>
            </p:nvSpPr>
            <p:spPr>
              <a:xfrm>
                <a:off x="8230023" y="3053672"/>
                <a:ext cx="18316" cy="18490"/>
              </a:xfrm>
              <a:custGeom>
                <a:avLst/>
                <a:gdLst>
                  <a:gd name="connsiteX0" fmla="*/ 7664 w 18316"/>
                  <a:gd name="connsiteY0" fmla="*/ 125 h 18490"/>
                  <a:gd name="connsiteX1" fmla="*/ 18190 w 18316"/>
                  <a:gd name="connsiteY1" fmla="*/ 7780 h 18490"/>
                  <a:gd name="connsiteX2" fmla="*/ 10654 w 18316"/>
                  <a:gd name="connsiteY2" fmla="*/ 18366 h 18490"/>
                  <a:gd name="connsiteX3" fmla="*/ 128 w 18316"/>
                  <a:gd name="connsiteY3" fmla="*/ 10711 h 18490"/>
                  <a:gd name="connsiteX4" fmla="*/ 7664 w 18316"/>
                  <a:gd name="connsiteY4" fmla="*/ 125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90">
                    <a:moveTo>
                      <a:pt x="7664" y="125"/>
                    </a:moveTo>
                    <a:cubicBezTo>
                      <a:pt x="12628" y="-712"/>
                      <a:pt x="17353" y="2756"/>
                      <a:pt x="18190" y="7780"/>
                    </a:cubicBezTo>
                    <a:cubicBezTo>
                      <a:pt x="19027" y="12804"/>
                      <a:pt x="15618" y="17529"/>
                      <a:pt x="10654" y="18366"/>
                    </a:cubicBezTo>
                    <a:cubicBezTo>
                      <a:pt x="5690" y="19203"/>
                      <a:pt x="966" y="15735"/>
                      <a:pt x="128" y="10711"/>
                    </a:cubicBezTo>
                    <a:cubicBezTo>
                      <a:pt x="-709" y="5627"/>
                      <a:pt x="2640" y="902"/>
                      <a:pt x="7664" y="125"/>
                    </a:cubicBezTo>
                    <a:close/>
                  </a:path>
                </a:pathLst>
              </a:custGeom>
              <a:grpFill/>
              <a:ln w="5978" cap="flat">
                <a:noFill/>
                <a:prstDash val="solid"/>
                <a:miter/>
              </a:ln>
            </p:spPr>
            <p:txBody>
              <a:bodyPr rtlCol="0" anchor="ctr"/>
              <a:lstStyle/>
              <a:p>
                <a:endParaRPr lang="en-GB"/>
              </a:p>
            </p:txBody>
          </p:sp>
          <p:sp>
            <p:nvSpPr>
              <p:cNvPr id="5299" name="Vrije vorm: vorm 5298">
                <a:extLst>
                  <a:ext uri="{FF2B5EF4-FFF2-40B4-BE49-F238E27FC236}">
                    <a16:creationId xmlns:a16="http://schemas.microsoft.com/office/drawing/2014/main" id="{918E6B3A-5B8B-4E78-AE91-CA4125AAB6F8}"/>
                  </a:ext>
                </a:extLst>
              </p:cNvPr>
              <p:cNvSpPr/>
              <p:nvPr/>
            </p:nvSpPr>
            <p:spPr>
              <a:xfrm>
                <a:off x="7899111" y="3107333"/>
                <a:ext cx="18315" cy="18462"/>
              </a:xfrm>
              <a:custGeom>
                <a:avLst/>
                <a:gdLst>
                  <a:gd name="connsiteX0" fmla="*/ 7662 w 18315"/>
                  <a:gd name="connsiteY0" fmla="*/ 110 h 18462"/>
                  <a:gd name="connsiteX1" fmla="*/ 127 w 18315"/>
                  <a:gd name="connsiteY1" fmla="*/ 10696 h 18462"/>
                  <a:gd name="connsiteX2" fmla="*/ 10653 w 18315"/>
                  <a:gd name="connsiteY2" fmla="*/ 18352 h 18462"/>
                  <a:gd name="connsiteX3" fmla="*/ 18188 w 18315"/>
                  <a:gd name="connsiteY3" fmla="*/ 7766 h 18462"/>
                  <a:gd name="connsiteX4" fmla="*/ 7662 w 18315"/>
                  <a:gd name="connsiteY4" fmla="*/ 11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62">
                    <a:moveTo>
                      <a:pt x="7662" y="110"/>
                    </a:moveTo>
                    <a:cubicBezTo>
                      <a:pt x="2699" y="948"/>
                      <a:pt x="-711" y="5672"/>
                      <a:pt x="127" y="10696"/>
                    </a:cubicBezTo>
                    <a:cubicBezTo>
                      <a:pt x="964" y="15720"/>
                      <a:pt x="5689" y="19129"/>
                      <a:pt x="10653" y="18352"/>
                    </a:cubicBezTo>
                    <a:cubicBezTo>
                      <a:pt x="15617" y="17514"/>
                      <a:pt x="19026" y="12790"/>
                      <a:pt x="18188" y="7766"/>
                    </a:cubicBezTo>
                    <a:cubicBezTo>
                      <a:pt x="17351" y="2742"/>
                      <a:pt x="12627" y="-667"/>
                      <a:pt x="7662" y="110"/>
                    </a:cubicBezTo>
                    <a:close/>
                  </a:path>
                </a:pathLst>
              </a:custGeom>
              <a:grpFill/>
              <a:ln w="5978" cap="flat">
                <a:noFill/>
                <a:prstDash val="solid"/>
                <a:miter/>
              </a:ln>
            </p:spPr>
            <p:txBody>
              <a:bodyPr rtlCol="0" anchor="ctr"/>
              <a:lstStyle/>
              <a:p>
                <a:endParaRPr lang="en-GB"/>
              </a:p>
            </p:txBody>
          </p:sp>
        </p:grpSp>
        <p:grpSp>
          <p:nvGrpSpPr>
            <p:cNvPr id="25" name="Graphic 3">
              <a:extLst>
                <a:ext uri="{FF2B5EF4-FFF2-40B4-BE49-F238E27FC236}">
                  <a16:creationId xmlns:a16="http://schemas.microsoft.com/office/drawing/2014/main" id="{CD8DD8B8-B64F-4014-82FC-0E5C89448AD3}"/>
                </a:ext>
              </a:extLst>
            </p:cNvPr>
            <p:cNvGrpSpPr/>
            <p:nvPr/>
          </p:nvGrpSpPr>
          <p:grpSpPr>
            <a:xfrm>
              <a:off x="7693165" y="1997629"/>
              <a:ext cx="29259" cy="27753"/>
              <a:chOff x="7693165" y="1997629"/>
              <a:chExt cx="29259" cy="27753"/>
            </a:xfrm>
            <a:grpFill/>
          </p:grpSpPr>
          <p:sp>
            <p:nvSpPr>
              <p:cNvPr id="5295" name="Vrije vorm: vorm 5294">
                <a:extLst>
                  <a:ext uri="{FF2B5EF4-FFF2-40B4-BE49-F238E27FC236}">
                    <a16:creationId xmlns:a16="http://schemas.microsoft.com/office/drawing/2014/main" id="{E9CE67F9-7D56-48BD-97B9-7DF41CF9AFE0}"/>
                  </a:ext>
                </a:extLst>
              </p:cNvPr>
              <p:cNvSpPr/>
              <p:nvPr/>
            </p:nvSpPr>
            <p:spPr>
              <a:xfrm>
                <a:off x="7704109" y="1997629"/>
                <a:ext cx="18314" cy="18423"/>
              </a:xfrm>
              <a:custGeom>
                <a:avLst/>
                <a:gdLst>
                  <a:gd name="connsiteX0" fmla="*/ 15108 w 18314"/>
                  <a:gd name="connsiteY0" fmla="*/ 16239 h 18423"/>
                  <a:gd name="connsiteX1" fmla="*/ 2190 w 18314"/>
                  <a:gd name="connsiteY1" fmla="*/ 15163 h 18423"/>
                  <a:gd name="connsiteX2" fmla="*/ 3207 w 18314"/>
                  <a:gd name="connsiteY2" fmla="*/ 2185 h 18423"/>
                  <a:gd name="connsiteX3" fmla="*/ 16125 w 18314"/>
                  <a:gd name="connsiteY3" fmla="*/ 3261 h 18423"/>
                  <a:gd name="connsiteX4" fmla="*/ 15108 w 18314"/>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23">
                    <a:moveTo>
                      <a:pt x="15108" y="16239"/>
                    </a:moveTo>
                    <a:cubicBezTo>
                      <a:pt x="11280" y="19529"/>
                      <a:pt x="5479" y="19050"/>
                      <a:pt x="2190" y="15163"/>
                    </a:cubicBezTo>
                    <a:cubicBezTo>
                      <a:pt x="-1099" y="11275"/>
                      <a:pt x="-621" y="5474"/>
                      <a:pt x="3207" y="2185"/>
                    </a:cubicBezTo>
                    <a:cubicBezTo>
                      <a:pt x="7034" y="-1105"/>
                      <a:pt x="12836" y="-626"/>
                      <a:pt x="16125" y="3261"/>
                    </a:cubicBezTo>
                    <a:cubicBezTo>
                      <a:pt x="19414" y="7149"/>
                      <a:pt x="18936" y="12950"/>
                      <a:pt x="15108" y="16239"/>
                    </a:cubicBezTo>
                    <a:close/>
                  </a:path>
                </a:pathLst>
              </a:custGeom>
              <a:grpFill/>
              <a:ln w="5978" cap="flat">
                <a:noFill/>
                <a:prstDash val="solid"/>
                <a:miter/>
              </a:ln>
            </p:spPr>
            <p:txBody>
              <a:bodyPr rtlCol="0" anchor="ctr"/>
              <a:lstStyle/>
              <a:p>
                <a:endParaRPr lang="en-GB"/>
              </a:p>
            </p:txBody>
          </p:sp>
          <p:sp>
            <p:nvSpPr>
              <p:cNvPr id="5296" name="Vrije vorm: vorm 5295">
                <a:extLst>
                  <a:ext uri="{FF2B5EF4-FFF2-40B4-BE49-F238E27FC236}">
                    <a16:creationId xmlns:a16="http://schemas.microsoft.com/office/drawing/2014/main" id="{AA6E6816-3602-408B-9AE2-9C63B4403DEC}"/>
                  </a:ext>
                </a:extLst>
              </p:cNvPr>
              <p:cNvSpPr/>
              <p:nvPr/>
            </p:nvSpPr>
            <p:spPr>
              <a:xfrm>
                <a:off x="7693165" y="2006959"/>
                <a:ext cx="18315" cy="18423"/>
              </a:xfrm>
              <a:custGeom>
                <a:avLst/>
                <a:gdLst>
                  <a:gd name="connsiteX0" fmla="*/ 15109 w 18315"/>
                  <a:gd name="connsiteY0" fmla="*/ 16239 h 18423"/>
                  <a:gd name="connsiteX1" fmla="*/ 16125 w 18315"/>
                  <a:gd name="connsiteY1" fmla="*/ 3261 h 18423"/>
                  <a:gd name="connsiteX2" fmla="*/ 3207 w 18315"/>
                  <a:gd name="connsiteY2" fmla="*/ 2185 h 18423"/>
                  <a:gd name="connsiteX3" fmla="*/ 2190 w 18315"/>
                  <a:gd name="connsiteY3" fmla="*/ 15163 h 18423"/>
                  <a:gd name="connsiteX4" fmla="*/ 15109 w 18315"/>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3">
                    <a:moveTo>
                      <a:pt x="15109" y="16239"/>
                    </a:moveTo>
                    <a:cubicBezTo>
                      <a:pt x="18936" y="12950"/>
                      <a:pt x="19414" y="7149"/>
                      <a:pt x="16125" y="3261"/>
                    </a:cubicBezTo>
                    <a:cubicBezTo>
                      <a:pt x="12836" y="-626"/>
                      <a:pt x="7035" y="-1105"/>
                      <a:pt x="3207" y="2185"/>
                    </a:cubicBezTo>
                    <a:cubicBezTo>
                      <a:pt x="-621" y="5474"/>
                      <a:pt x="-1100" y="11275"/>
                      <a:pt x="2190" y="15163"/>
                    </a:cubicBezTo>
                    <a:cubicBezTo>
                      <a:pt x="5480" y="19050"/>
                      <a:pt x="11281" y="19529"/>
                      <a:pt x="15109" y="16239"/>
                    </a:cubicBezTo>
                    <a:close/>
                  </a:path>
                </a:pathLst>
              </a:custGeom>
              <a:grpFill/>
              <a:ln w="5978" cap="flat">
                <a:noFill/>
                <a:prstDash val="solid"/>
                <a:miter/>
              </a:ln>
            </p:spPr>
            <p:txBody>
              <a:bodyPr rtlCol="0" anchor="ctr"/>
              <a:lstStyle/>
              <a:p>
                <a:endParaRPr lang="en-GB"/>
              </a:p>
            </p:txBody>
          </p:sp>
        </p:grpSp>
        <p:grpSp>
          <p:nvGrpSpPr>
            <p:cNvPr id="26" name="Graphic 3">
              <a:extLst>
                <a:ext uri="{FF2B5EF4-FFF2-40B4-BE49-F238E27FC236}">
                  <a16:creationId xmlns:a16="http://schemas.microsoft.com/office/drawing/2014/main" id="{47822B4D-F6A3-47C5-BC08-43CA3CB0A8E1}"/>
                </a:ext>
              </a:extLst>
            </p:cNvPr>
            <p:cNvGrpSpPr/>
            <p:nvPr/>
          </p:nvGrpSpPr>
          <p:grpSpPr>
            <a:xfrm>
              <a:off x="7939916" y="2718470"/>
              <a:ext cx="22197" cy="19854"/>
              <a:chOff x="7939916" y="2718470"/>
              <a:chExt cx="22197" cy="19854"/>
            </a:xfrm>
            <a:grpFill/>
          </p:grpSpPr>
          <p:sp>
            <p:nvSpPr>
              <p:cNvPr id="5293" name="Vrije vorm: vorm 5292">
                <a:extLst>
                  <a:ext uri="{FF2B5EF4-FFF2-40B4-BE49-F238E27FC236}">
                    <a16:creationId xmlns:a16="http://schemas.microsoft.com/office/drawing/2014/main" id="{411A3D86-425A-40D5-98D4-CD28FC3E3288}"/>
                  </a:ext>
                </a:extLst>
              </p:cNvPr>
              <p:cNvSpPr/>
              <p:nvPr/>
            </p:nvSpPr>
            <p:spPr>
              <a:xfrm>
                <a:off x="7939916" y="2719882"/>
                <a:ext cx="18309" cy="18442"/>
              </a:xfrm>
              <a:custGeom>
                <a:avLst/>
                <a:gdLst>
                  <a:gd name="connsiteX0" fmla="*/ 6031 w 18309"/>
                  <a:gd name="connsiteY0" fmla="*/ 549 h 18442"/>
                  <a:gd name="connsiteX1" fmla="*/ 17753 w 18309"/>
                  <a:gd name="connsiteY1" fmla="*/ 6111 h 18442"/>
                  <a:gd name="connsiteX2" fmla="*/ 12310 w 18309"/>
                  <a:gd name="connsiteY2" fmla="*/ 17894 h 18442"/>
                  <a:gd name="connsiteX3" fmla="*/ 588 w 18309"/>
                  <a:gd name="connsiteY3" fmla="*/ 12331 h 18442"/>
                  <a:gd name="connsiteX4" fmla="*/ 6031 w 18309"/>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42">
                    <a:moveTo>
                      <a:pt x="6031" y="549"/>
                    </a:moveTo>
                    <a:cubicBezTo>
                      <a:pt x="10756" y="-1185"/>
                      <a:pt x="16019" y="1327"/>
                      <a:pt x="17753" y="6111"/>
                    </a:cubicBezTo>
                    <a:cubicBezTo>
                      <a:pt x="19487" y="10896"/>
                      <a:pt x="17035" y="16159"/>
                      <a:pt x="12310" y="17894"/>
                    </a:cubicBezTo>
                    <a:cubicBezTo>
                      <a:pt x="7586" y="19628"/>
                      <a:pt x="2323" y="17116"/>
                      <a:pt x="588" y="12331"/>
                    </a:cubicBezTo>
                    <a:cubicBezTo>
                      <a:pt x="-1206" y="7547"/>
                      <a:pt x="1246" y="2284"/>
                      <a:pt x="6031" y="549"/>
                    </a:cubicBezTo>
                    <a:close/>
                  </a:path>
                </a:pathLst>
              </a:custGeom>
              <a:grpFill/>
              <a:ln w="5978" cap="flat">
                <a:noFill/>
                <a:prstDash val="solid"/>
                <a:miter/>
              </a:ln>
            </p:spPr>
            <p:txBody>
              <a:bodyPr rtlCol="0" anchor="ctr"/>
              <a:lstStyle/>
              <a:p>
                <a:endParaRPr lang="en-GB"/>
              </a:p>
            </p:txBody>
          </p:sp>
          <p:sp>
            <p:nvSpPr>
              <p:cNvPr id="5294" name="Vrije vorm: vorm 5293">
                <a:extLst>
                  <a:ext uri="{FF2B5EF4-FFF2-40B4-BE49-F238E27FC236}">
                    <a16:creationId xmlns:a16="http://schemas.microsoft.com/office/drawing/2014/main" id="{A99E7F64-BDFF-4D6A-8D68-094986ECF616}"/>
                  </a:ext>
                </a:extLst>
              </p:cNvPr>
              <p:cNvSpPr/>
              <p:nvPr/>
            </p:nvSpPr>
            <p:spPr>
              <a:xfrm>
                <a:off x="7943775" y="2718470"/>
                <a:ext cx="18339" cy="18419"/>
              </a:xfrm>
              <a:custGeom>
                <a:avLst/>
                <a:gdLst>
                  <a:gd name="connsiteX0" fmla="*/ 6000 w 18339"/>
                  <a:gd name="connsiteY0" fmla="*/ 526 h 18419"/>
                  <a:gd name="connsiteX1" fmla="*/ 557 w 18339"/>
                  <a:gd name="connsiteY1" fmla="*/ 12308 h 18419"/>
                  <a:gd name="connsiteX2" fmla="*/ 12339 w 18339"/>
                  <a:gd name="connsiteY2" fmla="*/ 17870 h 18419"/>
                  <a:gd name="connsiteX3" fmla="*/ 17782 w 18339"/>
                  <a:gd name="connsiteY3" fmla="*/ 6088 h 18419"/>
                  <a:gd name="connsiteX4" fmla="*/ 6000 w 18339"/>
                  <a:gd name="connsiteY4" fmla="*/ 52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9">
                    <a:moveTo>
                      <a:pt x="6000" y="526"/>
                    </a:moveTo>
                    <a:cubicBezTo>
                      <a:pt x="1275" y="2260"/>
                      <a:pt x="-1177" y="7523"/>
                      <a:pt x="557" y="12308"/>
                    </a:cubicBezTo>
                    <a:cubicBezTo>
                      <a:pt x="2292" y="17092"/>
                      <a:pt x="7555" y="19604"/>
                      <a:pt x="12339" y="17870"/>
                    </a:cubicBezTo>
                    <a:cubicBezTo>
                      <a:pt x="17064" y="16135"/>
                      <a:pt x="19517" y="10872"/>
                      <a:pt x="17782" y="6088"/>
                    </a:cubicBezTo>
                    <a:cubicBezTo>
                      <a:pt x="16047" y="1303"/>
                      <a:pt x="10784" y="-1149"/>
                      <a:pt x="6000" y="526"/>
                    </a:cubicBezTo>
                    <a:close/>
                  </a:path>
                </a:pathLst>
              </a:custGeom>
              <a:grpFill/>
              <a:ln w="5978" cap="flat">
                <a:noFill/>
                <a:prstDash val="solid"/>
                <a:miter/>
              </a:ln>
            </p:spPr>
            <p:txBody>
              <a:bodyPr rtlCol="0" anchor="ctr"/>
              <a:lstStyle/>
              <a:p>
                <a:endParaRPr lang="en-GB"/>
              </a:p>
            </p:txBody>
          </p:sp>
        </p:grpSp>
        <p:grpSp>
          <p:nvGrpSpPr>
            <p:cNvPr id="27" name="Graphic 3">
              <a:extLst>
                <a:ext uri="{FF2B5EF4-FFF2-40B4-BE49-F238E27FC236}">
                  <a16:creationId xmlns:a16="http://schemas.microsoft.com/office/drawing/2014/main" id="{A461A2BC-0AC8-438A-8FD8-BB3583896EC7}"/>
                </a:ext>
              </a:extLst>
            </p:cNvPr>
            <p:cNvGrpSpPr/>
            <p:nvPr/>
          </p:nvGrpSpPr>
          <p:grpSpPr>
            <a:xfrm>
              <a:off x="8085411" y="3344457"/>
              <a:ext cx="127042" cy="21598"/>
              <a:chOff x="8085411" y="3344457"/>
              <a:chExt cx="127042" cy="21598"/>
            </a:xfrm>
            <a:grpFill/>
          </p:grpSpPr>
          <p:sp>
            <p:nvSpPr>
              <p:cNvPr id="5290" name="Vrije vorm: vorm 5289">
                <a:extLst>
                  <a:ext uri="{FF2B5EF4-FFF2-40B4-BE49-F238E27FC236}">
                    <a16:creationId xmlns:a16="http://schemas.microsoft.com/office/drawing/2014/main" id="{2FB6A83B-87D0-4C3B-9726-E2761B521673}"/>
                  </a:ext>
                </a:extLst>
              </p:cNvPr>
              <p:cNvSpPr/>
              <p:nvPr/>
            </p:nvSpPr>
            <p:spPr>
              <a:xfrm>
                <a:off x="8094090" y="3352175"/>
                <a:ext cx="109746" cy="6279"/>
              </a:xfrm>
              <a:custGeom>
                <a:avLst/>
                <a:gdLst>
                  <a:gd name="connsiteX0" fmla="*/ 109626 w 109746"/>
                  <a:gd name="connsiteY0" fmla="*/ 0 h 6279"/>
                  <a:gd name="connsiteX1" fmla="*/ 109746 w 109746"/>
                  <a:gd name="connsiteY1" fmla="*/ 3050 h 6279"/>
                  <a:gd name="connsiteX2" fmla="*/ 120 w 109746"/>
                  <a:gd name="connsiteY2" fmla="*/ 6280 h 6279"/>
                  <a:gd name="connsiteX3" fmla="*/ 0 w 109746"/>
                  <a:gd name="connsiteY3" fmla="*/ 3230 h 6279"/>
                </a:gdLst>
                <a:ahLst/>
                <a:cxnLst>
                  <a:cxn ang="0">
                    <a:pos x="connsiteX0" y="connsiteY0"/>
                  </a:cxn>
                  <a:cxn ang="0">
                    <a:pos x="connsiteX1" y="connsiteY1"/>
                  </a:cxn>
                  <a:cxn ang="0">
                    <a:pos x="connsiteX2" y="connsiteY2"/>
                  </a:cxn>
                  <a:cxn ang="0">
                    <a:pos x="connsiteX3" y="connsiteY3"/>
                  </a:cxn>
                </a:cxnLst>
                <a:rect l="l" t="t" r="r" b="b"/>
                <a:pathLst>
                  <a:path w="109746" h="6279">
                    <a:moveTo>
                      <a:pt x="109626" y="0"/>
                    </a:moveTo>
                    <a:lnTo>
                      <a:pt x="109746" y="3050"/>
                    </a:lnTo>
                    <a:lnTo>
                      <a:pt x="120" y="6280"/>
                    </a:lnTo>
                    <a:lnTo>
                      <a:pt x="0" y="3230"/>
                    </a:lnTo>
                    <a:close/>
                  </a:path>
                </a:pathLst>
              </a:custGeom>
              <a:grpFill/>
              <a:ln w="5978" cap="flat">
                <a:noFill/>
                <a:prstDash val="solid"/>
                <a:miter/>
              </a:ln>
            </p:spPr>
            <p:txBody>
              <a:bodyPr rtlCol="0" anchor="ctr"/>
              <a:lstStyle/>
              <a:p>
                <a:endParaRPr lang="en-GB"/>
              </a:p>
            </p:txBody>
          </p:sp>
          <p:sp>
            <p:nvSpPr>
              <p:cNvPr id="5291" name="Vrije vorm: vorm 5290">
                <a:extLst>
                  <a:ext uri="{FF2B5EF4-FFF2-40B4-BE49-F238E27FC236}">
                    <a16:creationId xmlns:a16="http://schemas.microsoft.com/office/drawing/2014/main" id="{261A4A03-3B79-4060-A5F2-AFA355211961}"/>
                  </a:ext>
                </a:extLst>
              </p:cNvPr>
              <p:cNvSpPr/>
              <p:nvPr/>
            </p:nvSpPr>
            <p:spPr>
              <a:xfrm>
                <a:off x="8194141" y="3344457"/>
                <a:ext cx="18312" cy="18366"/>
              </a:xfrm>
              <a:custGeom>
                <a:avLst/>
                <a:gdLst>
                  <a:gd name="connsiteX0" fmla="*/ 8857 w 18312"/>
                  <a:gd name="connsiteY0" fmla="*/ 3 h 18366"/>
                  <a:gd name="connsiteX1" fmla="*/ 18307 w 18312"/>
                  <a:gd name="connsiteY1" fmla="*/ 8914 h 18366"/>
                  <a:gd name="connsiteX2" fmla="*/ 9455 w 18312"/>
                  <a:gd name="connsiteY2" fmla="*/ 18364 h 18366"/>
                  <a:gd name="connsiteX3" fmla="*/ 6 w 18312"/>
                  <a:gd name="connsiteY3" fmla="*/ 9452 h 18366"/>
                  <a:gd name="connsiteX4" fmla="*/ 8857 w 18312"/>
                  <a:gd name="connsiteY4" fmla="*/ 3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66">
                    <a:moveTo>
                      <a:pt x="8857" y="3"/>
                    </a:moveTo>
                    <a:cubicBezTo>
                      <a:pt x="13941" y="-117"/>
                      <a:pt x="18128" y="3830"/>
                      <a:pt x="18307" y="8914"/>
                    </a:cubicBezTo>
                    <a:cubicBezTo>
                      <a:pt x="18486" y="13998"/>
                      <a:pt x="14539" y="18244"/>
                      <a:pt x="9455" y="18364"/>
                    </a:cubicBezTo>
                    <a:cubicBezTo>
                      <a:pt x="4372" y="18483"/>
                      <a:pt x="185" y="14536"/>
                      <a:pt x="6" y="9452"/>
                    </a:cubicBezTo>
                    <a:cubicBezTo>
                      <a:pt x="-174" y="4428"/>
                      <a:pt x="3774" y="182"/>
                      <a:pt x="8857" y="3"/>
                    </a:cubicBezTo>
                    <a:close/>
                  </a:path>
                </a:pathLst>
              </a:custGeom>
              <a:grpFill/>
              <a:ln w="5978" cap="flat">
                <a:noFill/>
                <a:prstDash val="solid"/>
                <a:miter/>
              </a:ln>
            </p:spPr>
            <p:txBody>
              <a:bodyPr rtlCol="0" anchor="ctr"/>
              <a:lstStyle/>
              <a:p>
                <a:endParaRPr lang="en-GB"/>
              </a:p>
            </p:txBody>
          </p:sp>
          <p:sp>
            <p:nvSpPr>
              <p:cNvPr id="5292" name="Vrije vorm: vorm 5291">
                <a:extLst>
                  <a:ext uri="{FF2B5EF4-FFF2-40B4-BE49-F238E27FC236}">
                    <a16:creationId xmlns:a16="http://schemas.microsoft.com/office/drawing/2014/main" id="{09AE84F4-7FCB-454E-A70E-DC4EB9F388A7}"/>
                  </a:ext>
                </a:extLst>
              </p:cNvPr>
              <p:cNvSpPr/>
              <p:nvPr/>
            </p:nvSpPr>
            <p:spPr>
              <a:xfrm>
                <a:off x="8085411" y="3347687"/>
                <a:ext cx="18313" cy="18369"/>
              </a:xfrm>
              <a:custGeom>
                <a:avLst/>
                <a:gdLst>
                  <a:gd name="connsiteX0" fmla="*/ 8857 w 18313"/>
                  <a:gd name="connsiteY0" fmla="*/ 3 h 18369"/>
                  <a:gd name="connsiteX1" fmla="*/ 6 w 18313"/>
                  <a:gd name="connsiteY1" fmla="*/ 9452 h 18369"/>
                  <a:gd name="connsiteX2" fmla="*/ 9456 w 18313"/>
                  <a:gd name="connsiteY2" fmla="*/ 18363 h 18369"/>
                  <a:gd name="connsiteX3" fmla="*/ 18307 w 18313"/>
                  <a:gd name="connsiteY3" fmla="*/ 8914 h 18369"/>
                  <a:gd name="connsiteX4" fmla="*/ 8857 w 18313"/>
                  <a:gd name="connsiteY4" fmla="*/ 3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69">
                    <a:moveTo>
                      <a:pt x="8857" y="3"/>
                    </a:moveTo>
                    <a:cubicBezTo>
                      <a:pt x="3774" y="122"/>
                      <a:pt x="-173" y="4368"/>
                      <a:pt x="6" y="9452"/>
                    </a:cubicBezTo>
                    <a:cubicBezTo>
                      <a:pt x="185" y="14536"/>
                      <a:pt x="4432" y="18543"/>
                      <a:pt x="9456" y="18363"/>
                    </a:cubicBezTo>
                    <a:cubicBezTo>
                      <a:pt x="14539" y="18244"/>
                      <a:pt x="18487" y="13997"/>
                      <a:pt x="18307" y="8914"/>
                    </a:cubicBezTo>
                    <a:cubicBezTo>
                      <a:pt x="18187" y="3890"/>
                      <a:pt x="13941" y="-117"/>
                      <a:pt x="8857" y="3"/>
                    </a:cubicBezTo>
                    <a:close/>
                  </a:path>
                </a:pathLst>
              </a:custGeom>
              <a:grpFill/>
              <a:ln w="5978" cap="flat">
                <a:noFill/>
                <a:prstDash val="solid"/>
                <a:miter/>
              </a:ln>
            </p:spPr>
            <p:txBody>
              <a:bodyPr rtlCol="0" anchor="ctr"/>
              <a:lstStyle/>
              <a:p>
                <a:endParaRPr lang="en-GB"/>
              </a:p>
            </p:txBody>
          </p:sp>
        </p:grpSp>
        <p:grpSp>
          <p:nvGrpSpPr>
            <p:cNvPr id="28" name="Graphic 3">
              <a:extLst>
                <a:ext uri="{FF2B5EF4-FFF2-40B4-BE49-F238E27FC236}">
                  <a16:creationId xmlns:a16="http://schemas.microsoft.com/office/drawing/2014/main" id="{80262C6F-D6B9-4F16-A949-E98EF141ADE5}"/>
                </a:ext>
              </a:extLst>
            </p:cNvPr>
            <p:cNvGrpSpPr/>
            <p:nvPr/>
          </p:nvGrpSpPr>
          <p:grpSpPr>
            <a:xfrm>
              <a:off x="7595726" y="2137324"/>
              <a:ext cx="356684" cy="246079"/>
              <a:chOff x="7595726" y="2137324"/>
              <a:chExt cx="356684" cy="246079"/>
            </a:xfrm>
            <a:grpFill/>
          </p:grpSpPr>
          <p:sp>
            <p:nvSpPr>
              <p:cNvPr id="5287" name="Vrije vorm: vorm 5286">
                <a:extLst>
                  <a:ext uri="{FF2B5EF4-FFF2-40B4-BE49-F238E27FC236}">
                    <a16:creationId xmlns:a16="http://schemas.microsoft.com/office/drawing/2014/main" id="{D2262F87-1BFE-4F06-A710-483A2436A123}"/>
                  </a:ext>
                </a:extLst>
              </p:cNvPr>
              <p:cNvSpPr/>
              <p:nvPr/>
            </p:nvSpPr>
            <p:spPr>
              <a:xfrm>
                <a:off x="7603670" y="2145026"/>
                <a:ext cx="340781" cy="230676"/>
              </a:xfrm>
              <a:custGeom>
                <a:avLst/>
                <a:gdLst>
                  <a:gd name="connsiteX0" fmla="*/ 340781 w 340781"/>
                  <a:gd name="connsiteY0" fmla="*/ 2512 h 230676"/>
                  <a:gd name="connsiteX1" fmla="*/ 1734 w 340781"/>
                  <a:gd name="connsiteY1" fmla="*/ 230676 h 230676"/>
                  <a:gd name="connsiteX2" fmla="*/ 0 w 340781"/>
                  <a:gd name="connsiteY2" fmla="*/ 228105 h 230676"/>
                  <a:gd name="connsiteX3" fmla="*/ 339047 w 340781"/>
                  <a:gd name="connsiteY3" fmla="*/ 0 h 230676"/>
                </a:gdLst>
                <a:ahLst/>
                <a:cxnLst>
                  <a:cxn ang="0">
                    <a:pos x="connsiteX0" y="connsiteY0"/>
                  </a:cxn>
                  <a:cxn ang="0">
                    <a:pos x="connsiteX1" y="connsiteY1"/>
                  </a:cxn>
                  <a:cxn ang="0">
                    <a:pos x="connsiteX2" y="connsiteY2"/>
                  </a:cxn>
                  <a:cxn ang="0">
                    <a:pos x="connsiteX3" y="connsiteY3"/>
                  </a:cxn>
                </a:cxnLst>
                <a:rect l="l" t="t" r="r" b="b"/>
                <a:pathLst>
                  <a:path w="340781" h="230676">
                    <a:moveTo>
                      <a:pt x="340781" y="2512"/>
                    </a:moveTo>
                    <a:lnTo>
                      <a:pt x="1734" y="230676"/>
                    </a:lnTo>
                    <a:lnTo>
                      <a:pt x="0" y="228105"/>
                    </a:lnTo>
                    <a:lnTo>
                      <a:pt x="339047" y="0"/>
                    </a:lnTo>
                    <a:close/>
                  </a:path>
                </a:pathLst>
              </a:custGeom>
              <a:grpFill/>
              <a:ln w="5978" cap="flat">
                <a:noFill/>
                <a:prstDash val="solid"/>
                <a:miter/>
              </a:ln>
            </p:spPr>
            <p:txBody>
              <a:bodyPr rtlCol="0" anchor="ctr"/>
              <a:lstStyle/>
              <a:p>
                <a:endParaRPr lang="en-GB"/>
              </a:p>
            </p:txBody>
          </p:sp>
          <p:sp>
            <p:nvSpPr>
              <p:cNvPr id="5288" name="Vrije vorm: vorm 5287">
                <a:extLst>
                  <a:ext uri="{FF2B5EF4-FFF2-40B4-BE49-F238E27FC236}">
                    <a16:creationId xmlns:a16="http://schemas.microsoft.com/office/drawing/2014/main" id="{D49F8078-59AB-46D4-AC80-BE43C9D48259}"/>
                  </a:ext>
                </a:extLst>
              </p:cNvPr>
              <p:cNvSpPr/>
              <p:nvPr/>
            </p:nvSpPr>
            <p:spPr>
              <a:xfrm>
                <a:off x="7934040" y="2137324"/>
                <a:ext cx="18371" cy="18453"/>
              </a:xfrm>
              <a:custGeom>
                <a:avLst/>
                <a:gdLst>
                  <a:gd name="connsiteX0" fmla="*/ 4072 w 18371"/>
                  <a:gd name="connsiteY0" fmla="*/ 1541 h 18453"/>
                  <a:gd name="connsiteX1" fmla="*/ 16811 w 18371"/>
                  <a:gd name="connsiteY1" fmla="*/ 4113 h 18453"/>
                  <a:gd name="connsiteX2" fmla="*/ 14299 w 18371"/>
                  <a:gd name="connsiteY2" fmla="*/ 16912 h 18453"/>
                  <a:gd name="connsiteX3" fmla="*/ 1560 w 18371"/>
                  <a:gd name="connsiteY3" fmla="*/ 14340 h 18453"/>
                  <a:gd name="connsiteX4" fmla="*/ 4072 w 18371"/>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3">
                    <a:moveTo>
                      <a:pt x="4072" y="1541"/>
                    </a:moveTo>
                    <a:cubicBezTo>
                      <a:pt x="8259" y="-1270"/>
                      <a:pt x="13940" y="-133"/>
                      <a:pt x="16811" y="4113"/>
                    </a:cubicBezTo>
                    <a:cubicBezTo>
                      <a:pt x="19622" y="8359"/>
                      <a:pt x="18546" y="14041"/>
                      <a:pt x="14299" y="16912"/>
                    </a:cubicBezTo>
                    <a:cubicBezTo>
                      <a:pt x="10112" y="19723"/>
                      <a:pt x="4431" y="18587"/>
                      <a:pt x="1560" y="14340"/>
                    </a:cubicBezTo>
                    <a:cubicBezTo>
                      <a:pt x="-1251" y="10094"/>
                      <a:pt x="-174" y="4352"/>
                      <a:pt x="4072" y="1541"/>
                    </a:cubicBezTo>
                    <a:close/>
                  </a:path>
                </a:pathLst>
              </a:custGeom>
              <a:grpFill/>
              <a:ln w="5978" cap="flat">
                <a:noFill/>
                <a:prstDash val="solid"/>
                <a:miter/>
              </a:ln>
            </p:spPr>
            <p:txBody>
              <a:bodyPr rtlCol="0" anchor="ctr"/>
              <a:lstStyle/>
              <a:p>
                <a:endParaRPr lang="en-GB"/>
              </a:p>
            </p:txBody>
          </p:sp>
          <p:sp>
            <p:nvSpPr>
              <p:cNvPr id="5289" name="Vrije vorm: vorm 5288">
                <a:extLst>
                  <a:ext uri="{FF2B5EF4-FFF2-40B4-BE49-F238E27FC236}">
                    <a16:creationId xmlns:a16="http://schemas.microsoft.com/office/drawing/2014/main" id="{07FE025C-E9A0-4C3F-B25B-F4DB911B0DE3}"/>
                  </a:ext>
                </a:extLst>
              </p:cNvPr>
              <p:cNvSpPr/>
              <p:nvPr/>
            </p:nvSpPr>
            <p:spPr>
              <a:xfrm>
                <a:off x="7595726" y="2364951"/>
                <a:ext cx="18325" cy="18453"/>
              </a:xfrm>
              <a:custGeom>
                <a:avLst/>
                <a:gdLst>
                  <a:gd name="connsiteX0" fmla="*/ 4056 w 18325"/>
                  <a:gd name="connsiteY0" fmla="*/ 1541 h 18453"/>
                  <a:gd name="connsiteX1" fmla="*/ 1544 w 18325"/>
                  <a:gd name="connsiteY1" fmla="*/ 14340 h 18453"/>
                  <a:gd name="connsiteX2" fmla="*/ 14283 w 18325"/>
                  <a:gd name="connsiteY2" fmla="*/ 16912 h 18453"/>
                  <a:gd name="connsiteX3" fmla="*/ 16736 w 18325"/>
                  <a:gd name="connsiteY3" fmla="*/ 4113 h 18453"/>
                  <a:gd name="connsiteX4" fmla="*/ 4056 w 18325"/>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3">
                    <a:moveTo>
                      <a:pt x="4056" y="1541"/>
                    </a:moveTo>
                    <a:cubicBezTo>
                      <a:pt x="-130" y="4352"/>
                      <a:pt x="-1267" y="10094"/>
                      <a:pt x="1544" y="14340"/>
                    </a:cubicBezTo>
                    <a:cubicBezTo>
                      <a:pt x="4356" y="18587"/>
                      <a:pt x="10097" y="19723"/>
                      <a:pt x="14283" y="16912"/>
                    </a:cubicBezTo>
                    <a:cubicBezTo>
                      <a:pt x="18470" y="14101"/>
                      <a:pt x="19606" y="8359"/>
                      <a:pt x="16736" y="4113"/>
                    </a:cubicBezTo>
                    <a:cubicBezTo>
                      <a:pt x="13985" y="-133"/>
                      <a:pt x="8243" y="-1270"/>
                      <a:pt x="4056" y="1541"/>
                    </a:cubicBezTo>
                    <a:close/>
                  </a:path>
                </a:pathLst>
              </a:custGeom>
              <a:grpFill/>
              <a:ln w="5978" cap="flat">
                <a:noFill/>
                <a:prstDash val="solid"/>
                <a:miter/>
              </a:ln>
            </p:spPr>
            <p:txBody>
              <a:bodyPr rtlCol="0" anchor="ctr"/>
              <a:lstStyle/>
              <a:p>
                <a:endParaRPr lang="en-GB"/>
              </a:p>
            </p:txBody>
          </p:sp>
        </p:grpSp>
        <p:grpSp>
          <p:nvGrpSpPr>
            <p:cNvPr id="29" name="Graphic 3">
              <a:extLst>
                <a:ext uri="{FF2B5EF4-FFF2-40B4-BE49-F238E27FC236}">
                  <a16:creationId xmlns:a16="http://schemas.microsoft.com/office/drawing/2014/main" id="{983FA609-203E-4D5B-A143-1AE100C64980}"/>
                </a:ext>
              </a:extLst>
            </p:cNvPr>
            <p:cNvGrpSpPr/>
            <p:nvPr/>
          </p:nvGrpSpPr>
          <p:grpSpPr>
            <a:xfrm>
              <a:off x="7740010" y="2373544"/>
              <a:ext cx="142129" cy="88824"/>
              <a:chOff x="7740010" y="2373544"/>
              <a:chExt cx="142129" cy="88824"/>
            </a:xfrm>
            <a:grpFill/>
          </p:grpSpPr>
          <p:sp>
            <p:nvSpPr>
              <p:cNvPr id="5284" name="Vrije vorm: vorm 5283">
                <a:extLst>
                  <a:ext uri="{FF2B5EF4-FFF2-40B4-BE49-F238E27FC236}">
                    <a16:creationId xmlns:a16="http://schemas.microsoft.com/office/drawing/2014/main" id="{A9CB5C2A-183C-4E22-9112-F75AB5431D17}"/>
                  </a:ext>
                </a:extLst>
              </p:cNvPr>
              <p:cNvSpPr/>
              <p:nvPr/>
            </p:nvSpPr>
            <p:spPr>
              <a:xfrm>
                <a:off x="7748174" y="2381315"/>
                <a:ext cx="126063" cy="73512"/>
              </a:xfrm>
              <a:custGeom>
                <a:avLst/>
                <a:gdLst>
                  <a:gd name="connsiteX0" fmla="*/ 0 w 126063"/>
                  <a:gd name="connsiteY0" fmla="*/ 70861 h 73512"/>
                  <a:gd name="connsiteX1" fmla="*/ 124554 w 126063"/>
                  <a:gd name="connsiteY1" fmla="*/ 0 h 73512"/>
                  <a:gd name="connsiteX2" fmla="*/ 126063 w 126063"/>
                  <a:gd name="connsiteY2" fmla="*/ 2652 h 73512"/>
                  <a:gd name="connsiteX3" fmla="*/ 1508 w 126063"/>
                  <a:gd name="connsiteY3" fmla="*/ 73512 h 73512"/>
                </a:gdLst>
                <a:ahLst/>
                <a:cxnLst>
                  <a:cxn ang="0">
                    <a:pos x="connsiteX0" y="connsiteY0"/>
                  </a:cxn>
                  <a:cxn ang="0">
                    <a:pos x="connsiteX1" y="connsiteY1"/>
                  </a:cxn>
                  <a:cxn ang="0">
                    <a:pos x="connsiteX2" y="connsiteY2"/>
                  </a:cxn>
                  <a:cxn ang="0">
                    <a:pos x="connsiteX3" y="connsiteY3"/>
                  </a:cxn>
                </a:cxnLst>
                <a:rect l="l" t="t" r="r" b="b"/>
                <a:pathLst>
                  <a:path w="126063" h="73512">
                    <a:moveTo>
                      <a:pt x="0" y="70861"/>
                    </a:moveTo>
                    <a:lnTo>
                      <a:pt x="124554" y="0"/>
                    </a:lnTo>
                    <a:lnTo>
                      <a:pt x="126063" y="2652"/>
                    </a:lnTo>
                    <a:lnTo>
                      <a:pt x="1508" y="73512"/>
                    </a:lnTo>
                    <a:close/>
                  </a:path>
                </a:pathLst>
              </a:custGeom>
              <a:grpFill/>
              <a:ln w="5978" cap="flat">
                <a:noFill/>
                <a:prstDash val="solid"/>
                <a:miter/>
              </a:ln>
            </p:spPr>
            <p:txBody>
              <a:bodyPr rtlCol="0" anchor="ctr"/>
              <a:lstStyle/>
              <a:p>
                <a:endParaRPr lang="en-GB"/>
              </a:p>
            </p:txBody>
          </p:sp>
          <p:sp>
            <p:nvSpPr>
              <p:cNvPr id="5285" name="Vrije vorm: vorm 5284">
                <a:extLst>
                  <a:ext uri="{FF2B5EF4-FFF2-40B4-BE49-F238E27FC236}">
                    <a16:creationId xmlns:a16="http://schemas.microsoft.com/office/drawing/2014/main" id="{D7CA4E63-88D8-4EAC-B77C-ADB984B9DC4D}"/>
                  </a:ext>
                </a:extLst>
              </p:cNvPr>
              <p:cNvSpPr/>
              <p:nvPr/>
            </p:nvSpPr>
            <p:spPr>
              <a:xfrm>
                <a:off x="7863811" y="2373544"/>
                <a:ext cx="18328" cy="18431"/>
              </a:xfrm>
              <a:custGeom>
                <a:avLst/>
                <a:gdLst>
                  <a:gd name="connsiteX0" fmla="*/ 4626 w 18328"/>
                  <a:gd name="connsiteY0" fmla="*/ 1202 h 18431"/>
                  <a:gd name="connsiteX1" fmla="*/ 17125 w 18328"/>
                  <a:gd name="connsiteY1" fmla="*/ 4670 h 18431"/>
                  <a:gd name="connsiteX2" fmla="*/ 13716 w 18328"/>
                  <a:gd name="connsiteY2" fmla="*/ 17230 h 18431"/>
                  <a:gd name="connsiteX3" fmla="*/ 1217 w 18328"/>
                  <a:gd name="connsiteY3" fmla="*/ 13761 h 18431"/>
                  <a:gd name="connsiteX4" fmla="*/ 4626 w 18328"/>
                  <a:gd name="connsiteY4" fmla="*/ 12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26" y="1202"/>
                    </a:moveTo>
                    <a:cubicBezTo>
                      <a:pt x="8992" y="-1310"/>
                      <a:pt x="14613" y="245"/>
                      <a:pt x="17125" y="4670"/>
                    </a:cubicBezTo>
                    <a:cubicBezTo>
                      <a:pt x="19637" y="9096"/>
                      <a:pt x="18083" y="14718"/>
                      <a:pt x="13716" y="17230"/>
                    </a:cubicBezTo>
                    <a:cubicBezTo>
                      <a:pt x="9350" y="19742"/>
                      <a:pt x="3729" y="18187"/>
                      <a:pt x="1217" y="13761"/>
                    </a:cubicBezTo>
                    <a:cubicBezTo>
                      <a:pt x="-1296" y="9275"/>
                      <a:pt x="200" y="3653"/>
                      <a:pt x="4626" y="1202"/>
                    </a:cubicBezTo>
                    <a:close/>
                  </a:path>
                </a:pathLst>
              </a:custGeom>
              <a:grpFill/>
              <a:ln w="5978" cap="flat">
                <a:noFill/>
                <a:prstDash val="solid"/>
                <a:miter/>
              </a:ln>
            </p:spPr>
            <p:txBody>
              <a:bodyPr rtlCol="0" anchor="ctr"/>
              <a:lstStyle/>
              <a:p>
                <a:endParaRPr lang="en-GB"/>
              </a:p>
            </p:txBody>
          </p:sp>
          <p:sp>
            <p:nvSpPr>
              <p:cNvPr id="5286" name="Vrije vorm: vorm 5285">
                <a:extLst>
                  <a:ext uri="{FF2B5EF4-FFF2-40B4-BE49-F238E27FC236}">
                    <a16:creationId xmlns:a16="http://schemas.microsoft.com/office/drawing/2014/main" id="{7236BFBF-C59C-4997-B7A2-367AFEDB3378}"/>
                  </a:ext>
                </a:extLst>
              </p:cNvPr>
              <p:cNvSpPr/>
              <p:nvPr/>
            </p:nvSpPr>
            <p:spPr>
              <a:xfrm>
                <a:off x="7740010" y="2443937"/>
                <a:ext cx="18341" cy="18431"/>
              </a:xfrm>
              <a:custGeom>
                <a:avLst/>
                <a:gdLst>
                  <a:gd name="connsiteX0" fmla="*/ 4625 w 18341"/>
                  <a:gd name="connsiteY0" fmla="*/ 1202 h 18431"/>
                  <a:gd name="connsiteX1" fmla="*/ 1217 w 18341"/>
                  <a:gd name="connsiteY1" fmla="*/ 13761 h 18431"/>
                  <a:gd name="connsiteX2" fmla="*/ 13716 w 18341"/>
                  <a:gd name="connsiteY2" fmla="*/ 17230 h 18431"/>
                  <a:gd name="connsiteX3" fmla="*/ 17125 w 18341"/>
                  <a:gd name="connsiteY3" fmla="*/ 4670 h 18431"/>
                  <a:gd name="connsiteX4" fmla="*/ 4625 w 18341"/>
                  <a:gd name="connsiteY4" fmla="*/ 12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1">
                    <a:moveTo>
                      <a:pt x="4625" y="1202"/>
                    </a:moveTo>
                    <a:cubicBezTo>
                      <a:pt x="200" y="3713"/>
                      <a:pt x="-1296" y="9335"/>
                      <a:pt x="1217" y="13761"/>
                    </a:cubicBezTo>
                    <a:cubicBezTo>
                      <a:pt x="3728" y="18187"/>
                      <a:pt x="9290" y="19742"/>
                      <a:pt x="13716" y="17230"/>
                    </a:cubicBezTo>
                    <a:cubicBezTo>
                      <a:pt x="18142" y="14718"/>
                      <a:pt x="19637" y="9096"/>
                      <a:pt x="17125" y="4670"/>
                    </a:cubicBezTo>
                    <a:cubicBezTo>
                      <a:pt x="14613" y="245"/>
                      <a:pt x="9051" y="-1310"/>
                      <a:pt x="4625" y="1202"/>
                    </a:cubicBezTo>
                    <a:close/>
                  </a:path>
                </a:pathLst>
              </a:custGeom>
              <a:grpFill/>
              <a:ln w="5978" cap="flat">
                <a:noFill/>
                <a:prstDash val="solid"/>
                <a:miter/>
              </a:ln>
            </p:spPr>
            <p:txBody>
              <a:bodyPr rtlCol="0" anchor="ctr"/>
              <a:lstStyle/>
              <a:p>
                <a:endParaRPr lang="en-GB"/>
              </a:p>
            </p:txBody>
          </p:sp>
        </p:grpSp>
        <p:grpSp>
          <p:nvGrpSpPr>
            <p:cNvPr id="30" name="Graphic 3">
              <a:extLst>
                <a:ext uri="{FF2B5EF4-FFF2-40B4-BE49-F238E27FC236}">
                  <a16:creationId xmlns:a16="http://schemas.microsoft.com/office/drawing/2014/main" id="{9EDF87BA-4A7F-47A7-82B7-BA314331A81E}"/>
                </a:ext>
              </a:extLst>
            </p:cNvPr>
            <p:cNvGrpSpPr/>
            <p:nvPr/>
          </p:nvGrpSpPr>
          <p:grpSpPr>
            <a:xfrm>
              <a:off x="7695812" y="2274387"/>
              <a:ext cx="197392" cy="129386"/>
              <a:chOff x="7695812" y="2274387"/>
              <a:chExt cx="197392" cy="129386"/>
            </a:xfrm>
            <a:grpFill/>
          </p:grpSpPr>
          <p:sp>
            <p:nvSpPr>
              <p:cNvPr id="5281" name="Vrije vorm: vorm 5280">
                <a:extLst>
                  <a:ext uri="{FF2B5EF4-FFF2-40B4-BE49-F238E27FC236}">
                    <a16:creationId xmlns:a16="http://schemas.microsoft.com/office/drawing/2014/main" id="{984468AD-674D-4F31-9C8A-23AFBB852184}"/>
                  </a:ext>
                </a:extLst>
              </p:cNvPr>
              <p:cNvSpPr/>
              <p:nvPr/>
            </p:nvSpPr>
            <p:spPr>
              <a:xfrm>
                <a:off x="7703728" y="2282044"/>
                <a:ext cx="181514" cy="114052"/>
              </a:xfrm>
              <a:custGeom>
                <a:avLst/>
                <a:gdLst>
                  <a:gd name="connsiteX0" fmla="*/ 181515 w 181514"/>
                  <a:gd name="connsiteY0" fmla="*/ 2631 h 114052"/>
                  <a:gd name="connsiteX1" fmla="*/ 1615 w 181514"/>
                  <a:gd name="connsiteY1" fmla="*/ 114052 h 114052"/>
                  <a:gd name="connsiteX2" fmla="*/ 0 w 181514"/>
                  <a:gd name="connsiteY2" fmla="*/ 111481 h 114052"/>
                  <a:gd name="connsiteX3" fmla="*/ 179900 w 181514"/>
                  <a:gd name="connsiteY3" fmla="*/ 0 h 114052"/>
                </a:gdLst>
                <a:ahLst/>
                <a:cxnLst>
                  <a:cxn ang="0">
                    <a:pos x="connsiteX0" y="connsiteY0"/>
                  </a:cxn>
                  <a:cxn ang="0">
                    <a:pos x="connsiteX1" y="connsiteY1"/>
                  </a:cxn>
                  <a:cxn ang="0">
                    <a:pos x="connsiteX2" y="connsiteY2"/>
                  </a:cxn>
                  <a:cxn ang="0">
                    <a:pos x="connsiteX3" y="connsiteY3"/>
                  </a:cxn>
                </a:cxnLst>
                <a:rect l="l" t="t" r="r" b="b"/>
                <a:pathLst>
                  <a:path w="181514" h="114052">
                    <a:moveTo>
                      <a:pt x="181515" y="2631"/>
                    </a:moveTo>
                    <a:lnTo>
                      <a:pt x="1615" y="114052"/>
                    </a:lnTo>
                    <a:lnTo>
                      <a:pt x="0" y="111481"/>
                    </a:lnTo>
                    <a:lnTo>
                      <a:pt x="179900" y="0"/>
                    </a:lnTo>
                    <a:close/>
                  </a:path>
                </a:pathLst>
              </a:custGeom>
              <a:grpFill/>
              <a:ln w="5978" cap="flat">
                <a:noFill/>
                <a:prstDash val="solid"/>
                <a:miter/>
              </a:ln>
            </p:spPr>
            <p:txBody>
              <a:bodyPr rtlCol="0" anchor="ctr"/>
              <a:lstStyle/>
              <a:p>
                <a:endParaRPr lang="en-GB"/>
              </a:p>
            </p:txBody>
          </p:sp>
          <p:sp>
            <p:nvSpPr>
              <p:cNvPr id="5282" name="Vrije vorm: vorm 5281">
                <a:extLst>
                  <a:ext uri="{FF2B5EF4-FFF2-40B4-BE49-F238E27FC236}">
                    <a16:creationId xmlns:a16="http://schemas.microsoft.com/office/drawing/2014/main" id="{37300261-4EF7-442A-ADB3-B7B125E20DF4}"/>
                  </a:ext>
                </a:extLst>
              </p:cNvPr>
              <p:cNvSpPr/>
              <p:nvPr/>
            </p:nvSpPr>
            <p:spPr>
              <a:xfrm>
                <a:off x="7874875" y="2274387"/>
                <a:ext cx="18329" cy="18484"/>
              </a:xfrm>
              <a:custGeom>
                <a:avLst/>
                <a:gdLst>
                  <a:gd name="connsiteX0" fmla="*/ 4327 w 18329"/>
                  <a:gd name="connsiteY0" fmla="*/ 1378 h 18484"/>
                  <a:gd name="connsiteX1" fmla="*/ 16946 w 18329"/>
                  <a:gd name="connsiteY1" fmla="*/ 4428 h 18484"/>
                  <a:gd name="connsiteX2" fmla="*/ 14016 w 18329"/>
                  <a:gd name="connsiteY2" fmla="*/ 17107 h 18484"/>
                  <a:gd name="connsiteX3" fmla="*/ 1397 w 18329"/>
                  <a:gd name="connsiteY3" fmla="*/ 14057 h 18484"/>
                  <a:gd name="connsiteX4" fmla="*/ 4327 w 18329"/>
                  <a:gd name="connsiteY4" fmla="*/ 137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84">
                    <a:moveTo>
                      <a:pt x="4327" y="1378"/>
                    </a:moveTo>
                    <a:cubicBezTo>
                      <a:pt x="8633" y="-1314"/>
                      <a:pt x="14255" y="62"/>
                      <a:pt x="16946" y="4428"/>
                    </a:cubicBezTo>
                    <a:cubicBezTo>
                      <a:pt x="19638" y="8734"/>
                      <a:pt x="18263" y="14415"/>
                      <a:pt x="14016" y="17107"/>
                    </a:cubicBezTo>
                    <a:cubicBezTo>
                      <a:pt x="9710" y="19798"/>
                      <a:pt x="4088" y="18423"/>
                      <a:pt x="1397" y="14057"/>
                    </a:cubicBezTo>
                    <a:cubicBezTo>
                      <a:pt x="-1294" y="9691"/>
                      <a:pt x="21" y="4009"/>
                      <a:pt x="4327" y="1378"/>
                    </a:cubicBezTo>
                    <a:close/>
                  </a:path>
                </a:pathLst>
              </a:custGeom>
              <a:grpFill/>
              <a:ln w="5978" cap="flat">
                <a:noFill/>
                <a:prstDash val="solid"/>
                <a:miter/>
              </a:ln>
            </p:spPr>
            <p:txBody>
              <a:bodyPr rtlCol="0" anchor="ctr"/>
              <a:lstStyle/>
              <a:p>
                <a:endParaRPr lang="en-GB"/>
              </a:p>
            </p:txBody>
          </p:sp>
          <p:sp>
            <p:nvSpPr>
              <p:cNvPr id="5283" name="Vrije vorm: vorm 5282">
                <a:extLst>
                  <a:ext uri="{FF2B5EF4-FFF2-40B4-BE49-F238E27FC236}">
                    <a16:creationId xmlns:a16="http://schemas.microsoft.com/office/drawing/2014/main" id="{05AF4B18-64D6-46E4-BDCF-B4BDB6B2B191}"/>
                  </a:ext>
                </a:extLst>
              </p:cNvPr>
              <p:cNvSpPr/>
              <p:nvPr/>
            </p:nvSpPr>
            <p:spPr>
              <a:xfrm>
                <a:off x="7695812" y="2385356"/>
                <a:ext cx="18343" cy="18417"/>
              </a:xfrm>
              <a:custGeom>
                <a:avLst/>
                <a:gdLst>
                  <a:gd name="connsiteX0" fmla="*/ 4328 w 18343"/>
                  <a:gd name="connsiteY0" fmla="*/ 1351 h 18417"/>
                  <a:gd name="connsiteX1" fmla="*/ 1397 w 18343"/>
                  <a:gd name="connsiteY1" fmla="*/ 14030 h 18417"/>
                  <a:gd name="connsiteX2" fmla="*/ 14016 w 18343"/>
                  <a:gd name="connsiteY2" fmla="*/ 17080 h 18417"/>
                  <a:gd name="connsiteX3" fmla="*/ 16947 w 18343"/>
                  <a:gd name="connsiteY3" fmla="*/ 4401 h 18417"/>
                  <a:gd name="connsiteX4" fmla="*/ 4328 w 18343"/>
                  <a:gd name="connsiteY4" fmla="*/ 1351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7">
                    <a:moveTo>
                      <a:pt x="4328" y="1351"/>
                    </a:moveTo>
                    <a:cubicBezTo>
                      <a:pt x="21" y="4042"/>
                      <a:pt x="-1295" y="9664"/>
                      <a:pt x="1397" y="14030"/>
                    </a:cubicBezTo>
                    <a:cubicBezTo>
                      <a:pt x="4088" y="18336"/>
                      <a:pt x="9710" y="19712"/>
                      <a:pt x="14016" y="17080"/>
                    </a:cubicBezTo>
                    <a:cubicBezTo>
                      <a:pt x="18322" y="14389"/>
                      <a:pt x="19638" y="8767"/>
                      <a:pt x="16947" y="4401"/>
                    </a:cubicBezTo>
                    <a:cubicBezTo>
                      <a:pt x="14255" y="35"/>
                      <a:pt x="8634" y="-1280"/>
                      <a:pt x="4328" y="1351"/>
                    </a:cubicBezTo>
                    <a:close/>
                  </a:path>
                </a:pathLst>
              </a:custGeom>
              <a:grpFill/>
              <a:ln w="5978" cap="flat">
                <a:noFill/>
                <a:prstDash val="solid"/>
                <a:miter/>
              </a:ln>
            </p:spPr>
            <p:txBody>
              <a:bodyPr rtlCol="0" anchor="ctr"/>
              <a:lstStyle/>
              <a:p>
                <a:endParaRPr lang="en-GB"/>
              </a:p>
            </p:txBody>
          </p:sp>
        </p:grpSp>
        <p:grpSp>
          <p:nvGrpSpPr>
            <p:cNvPr id="31" name="Graphic 3">
              <a:extLst>
                <a:ext uri="{FF2B5EF4-FFF2-40B4-BE49-F238E27FC236}">
                  <a16:creationId xmlns:a16="http://schemas.microsoft.com/office/drawing/2014/main" id="{2858F916-EBC8-45F5-A7A7-B920C2A561D4}"/>
                </a:ext>
              </a:extLst>
            </p:cNvPr>
            <p:cNvGrpSpPr/>
            <p:nvPr/>
          </p:nvGrpSpPr>
          <p:grpSpPr>
            <a:xfrm>
              <a:off x="7438561" y="1556095"/>
              <a:ext cx="299538" cy="329556"/>
              <a:chOff x="7438561" y="1556095"/>
              <a:chExt cx="299538" cy="329556"/>
            </a:xfrm>
            <a:grpFill/>
          </p:grpSpPr>
          <p:sp>
            <p:nvSpPr>
              <p:cNvPr id="5278" name="Vrije vorm: vorm 5277">
                <a:extLst>
                  <a:ext uri="{FF2B5EF4-FFF2-40B4-BE49-F238E27FC236}">
                    <a16:creationId xmlns:a16="http://schemas.microsoft.com/office/drawing/2014/main" id="{5E7A9D54-D832-4D33-9C27-426BD691FB57}"/>
                  </a:ext>
                </a:extLst>
              </p:cNvPr>
              <p:cNvSpPr/>
              <p:nvPr/>
            </p:nvSpPr>
            <p:spPr>
              <a:xfrm>
                <a:off x="7446257" y="1563939"/>
                <a:ext cx="284144" cy="313868"/>
              </a:xfrm>
              <a:custGeom>
                <a:avLst/>
                <a:gdLst>
                  <a:gd name="connsiteX0" fmla="*/ 284144 w 284144"/>
                  <a:gd name="connsiteY0" fmla="*/ 2033 h 313868"/>
                  <a:gd name="connsiteX1" fmla="*/ 2273 w 284144"/>
                  <a:gd name="connsiteY1" fmla="*/ 313868 h 313868"/>
                  <a:gd name="connsiteX2" fmla="*/ 0 w 284144"/>
                  <a:gd name="connsiteY2" fmla="*/ 311775 h 313868"/>
                  <a:gd name="connsiteX3" fmla="*/ 281871 w 284144"/>
                  <a:gd name="connsiteY3" fmla="*/ 0 h 313868"/>
                </a:gdLst>
                <a:ahLst/>
                <a:cxnLst>
                  <a:cxn ang="0">
                    <a:pos x="connsiteX0" y="connsiteY0"/>
                  </a:cxn>
                  <a:cxn ang="0">
                    <a:pos x="connsiteX1" y="connsiteY1"/>
                  </a:cxn>
                  <a:cxn ang="0">
                    <a:pos x="connsiteX2" y="connsiteY2"/>
                  </a:cxn>
                  <a:cxn ang="0">
                    <a:pos x="connsiteX3" y="connsiteY3"/>
                  </a:cxn>
                </a:cxnLst>
                <a:rect l="l" t="t" r="r" b="b"/>
                <a:pathLst>
                  <a:path w="284144" h="313868">
                    <a:moveTo>
                      <a:pt x="284144" y="2033"/>
                    </a:moveTo>
                    <a:lnTo>
                      <a:pt x="2273" y="313868"/>
                    </a:lnTo>
                    <a:lnTo>
                      <a:pt x="0" y="311775"/>
                    </a:lnTo>
                    <a:lnTo>
                      <a:pt x="281871" y="0"/>
                    </a:lnTo>
                    <a:close/>
                  </a:path>
                </a:pathLst>
              </a:custGeom>
              <a:grpFill/>
              <a:ln w="5978" cap="flat">
                <a:noFill/>
                <a:prstDash val="solid"/>
                <a:miter/>
              </a:ln>
            </p:spPr>
            <p:txBody>
              <a:bodyPr rtlCol="0" anchor="ctr"/>
              <a:lstStyle/>
              <a:p>
                <a:endParaRPr lang="en-GB"/>
              </a:p>
            </p:txBody>
          </p:sp>
          <p:sp>
            <p:nvSpPr>
              <p:cNvPr id="5279" name="Vrije vorm: vorm 5278">
                <a:extLst>
                  <a:ext uri="{FF2B5EF4-FFF2-40B4-BE49-F238E27FC236}">
                    <a16:creationId xmlns:a16="http://schemas.microsoft.com/office/drawing/2014/main" id="{5E505FC5-4D67-4BA7-9959-9425DD5B1865}"/>
                  </a:ext>
                </a:extLst>
              </p:cNvPr>
              <p:cNvSpPr/>
              <p:nvPr/>
            </p:nvSpPr>
            <p:spPr>
              <a:xfrm>
                <a:off x="7719774" y="1556095"/>
                <a:ext cx="18325" cy="18438"/>
              </a:xfrm>
              <a:custGeom>
                <a:avLst/>
                <a:gdLst>
                  <a:gd name="connsiteX0" fmla="*/ 2374 w 18325"/>
                  <a:gd name="connsiteY0" fmla="*/ 2999 h 18438"/>
                  <a:gd name="connsiteX1" fmla="*/ 15293 w 18325"/>
                  <a:gd name="connsiteY1" fmla="*/ 2401 h 18438"/>
                  <a:gd name="connsiteX2" fmla="*/ 15951 w 18325"/>
                  <a:gd name="connsiteY2" fmla="*/ 15439 h 18438"/>
                  <a:gd name="connsiteX3" fmla="*/ 3032 w 18325"/>
                  <a:gd name="connsiteY3" fmla="*/ 16038 h 18438"/>
                  <a:gd name="connsiteX4" fmla="*/ 2374 w 18325"/>
                  <a:gd name="connsiteY4" fmla="*/ 299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8">
                    <a:moveTo>
                      <a:pt x="2374" y="2999"/>
                    </a:moveTo>
                    <a:cubicBezTo>
                      <a:pt x="5784" y="-768"/>
                      <a:pt x="11585" y="-1008"/>
                      <a:pt x="15293" y="2401"/>
                    </a:cubicBezTo>
                    <a:cubicBezTo>
                      <a:pt x="19061" y="5810"/>
                      <a:pt x="19360" y="11672"/>
                      <a:pt x="15951" y="15439"/>
                    </a:cubicBezTo>
                    <a:cubicBezTo>
                      <a:pt x="12542" y="19207"/>
                      <a:pt x="6740" y="19446"/>
                      <a:pt x="3032" y="16038"/>
                    </a:cubicBezTo>
                    <a:cubicBezTo>
                      <a:pt x="-736" y="12569"/>
                      <a:pt x="-1034" y="6767"/>
                      <a:pt x="2374" y="2999"/>
                    </a:cubicBezTo>
                    <a:close/>
                  </a:path>
                </a:pathLst>
              </a:custGeom>
              <a:grpFill/>
              <a:ln w="5978" cap="flat">
                <a:noFill/>
                <a:prstDash val="solid"/>
                <a:miter/>
              </a:ln>
            </p:spPr>
            <p:txBody>
              <a:bodyPr rtlCol="0" anchor="ctr"/>
              <a:lstStyle/>
              <a:p>
                <a:endParaRPr lang="en-GB"/>
              </a:p>
            </p:txBody>
          </p:sp>
          <p:sp>
            <p:nvSpPr>
              <p:cNvPr id="5280" name="Vrije vorm: vorm 5279">
                <a:extLst>
                  <a:ext uri="{FF2B5EF4-FFF2-40B4-BE49-F238E27FC236}">
                    <a16:creationId xmlns:a16="http://schemas.microsoft.com/office/drawing/2014/main" id="{9142C70B-9CE5-46CB-96AC-A47D2D71E49D}"/>
                  </a:ext>
                </a:extLst>
              </p:cNvPr>
              <p:cNvSpPr/>
              <p:nvPr/>
            </p:nvSpPr>
            <p:spPr>
              <a:xfrm>
                <a:off x="7438561" y="1867189"/>
                <a:ext cx="18324" cy="18462"/>
              </a:xfrm>
              <a:custGeom>
                <a:avLst/>
                <a:gdLst>
                  <a:gd name="connsiteX0" fmla="*/ 2374 w 18324"/>
                  <a:gd name="connsiteY0" fmla="*/ 3023 h 18462"/>
                  <a:gd name="connsiteX1" fmla="*/ 3032 w 18324"/>
                  <a:gd name="connsiteY1" fmla="*/ 16061 h 18462"/>
                  <a:gd name="connsiteX2" fmla="*/ 15950 w 18324"/>
                  <a:gd name="connsiteY2" fmla="*/ 15463 h 18462"/>
                  <a:gd name="connsiteX3" fmla="*/ 15292 w 18324"/>
                  <a:gd name="connsiteY3" fmla="*/ 2425 h 18462"/>
                  <a:gd name="connsiteX4" fmla="*/ 2374 w 18324"/>
                  <a:gd name="connsiteY4" fmla="*/ 3023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2">
                    <a:moveTo>
                      <a:pt x="2374" y="3023"/>
                    </a:moveTo>
                    <a:cubicBezTo>
                      <a:pt x="-1035" y="6791"/>
                      <a:pt x="-735" y="12592"/>
                      <a:pt x="3032" y="16061"/>
                    </a:cubicBezTo>
                    <a:cubicBezTo>
                      <a:pt x="6800" y="19470"/>
                      <a:pt x="12601" y="19231"/>
                      <a:pt x="15950" y="15463"/>
                    </a:cubicBezTo>
                    <a:cubicBezTo>
                      <a:pt x="19360" y="11695"/>
                      <a:pt x="19060" y="5894"/>
                      <a:pt x="15292" y="2425"/>
                    </a:cubicBezTo>
                    <a:cubicBezTo>
                      <a:pt x="11525" y="-1044"/>
                      <a:pt x="5783" y="-745"/>
                      <a:pt x="2374" y="3023"/>
                    </a:cubicBezTo>
                    <a:close/>
                  </a:path>
                </a:pathLst>
              </a:custGeom>
              <a:grpFill/>
              <a:ln w="5978" cap="flat">
                <a:noFill/>
                <a:prstDash val="solid"/>
                <a:miter/>
              </a:ln>
            </p:spPr>
            <p:txBody>
              <a:bodyPr rtlCol="0" anchor="ctr"/>
              <a:lstStyle/>
              <a:p>
                <a:endParaRPr lang="en-GB"/>
              </a:p>
            </p:txBody>
          </p:sp>
        </p:grpSp>
        <p:grpSp>
          <p:nvGrpSpPr>
            <p:cNvPr id="32" name="Graphic 3">
              <a:extLst>
                <a:ext uri="{FF2B5EF4-FFF2-40B4-BE49-F238E27FC236}">
                  <a16:creationId xmlns:a16="http://schemas.microsoft.com/office/drawing/2014/main" id="{598B86F6-77C5-49D2-A3E0-39CCD73C7A8A}"/>
                </a:ext>
              </a:extLst>
            </p:cNvPr>
            <p:cNvGrpSpPr/>
            <p:nvPr/>
          </p:nvGrpSpPr>
          <p:grpSpPr>
            <a:xfrm>
              <a:off x="7904006" y="2887780"/>
              <a:ext cx="158819" cy="55001"/>
              <a:chOff x="7904006" y="2887780"/>
              <a:chExt cx="158819" cy="55001"/>
            </a:xfrm>
            <a:grpFill/>
          </p:grpSpPr>
          <p:sp>
            <p:nvSpPr>
              <p:cNvPr id="5275" name="Vrije vorm: vorm 5274">
                <a:extLst>
                  <a:ext uri="{FF2B5EF4-FFF2-40B4-BE49-F238E27FC236}">
                    <a16:creationId xmlns:a16="http://schemas.microsoft.com/office/drawing/2014/main" id="{10246E55-040F-479E-84B8-3FBA5927E6C5}"/>
                  </a:ext>
                </a:extLst>
              </p:cNvPr>
              <p:cNvSpPr/>
              <p:nvPr/>
            </p:nvSpPr>
            <p:spPr>
              <a:xfrm>
                <a:off x="7912321" y="2895629"/>
                <a:ext cx="142158" cy="39785"/>
              </a:xfrm>
              <a:custGeom>
                <a:avLst/>
                <a:gdLst>
                  <a:gd name="connsiteX0" fmla="*/ 0 w 142158"/>
                  <a:gd name="connsiteY0" fmla="*/ 36834 h 39785"/>
                  <a:gd name="connsiteX1" fmla="*/ 141390 w 142158"/>
                  <a:gd name="connsiteY1" fmla="*/ 0 h 39785"/>
                  <a:gd name="connsiteX2" fmla="*/ 142159 w 142158"/>
                  <a:gd name="connsiteY2" fmla="*/ 2952 h 39785"/>
                  <a:gd name="connsiteX3" fmla="*/ 769 w 142158"/>
                  <a:gd name="connsiteY3" fmla="*/ 39786 h 39785"/>
                </a:gdLst>
                <a:ahLst/>
                <a:cxnLst>
                  <a:cxn ang="0">
                    <a:pos x="connsiteX0" y="connsiteY0"/>
                  </a:cxn>
                  <a:cxn ang="0">
                    <a:pos x="connsiteX1" y="connsiteY1"/>
                  </a:cxn>
                  <a:cxn ang="0">
                    <a:pos x="connsiteX2" y="connsiteY2"/>
                  </a:cxn>
                  <a:cxn ang="0">
                    <a:pos x="connsiteX3" y="connsiteY3"/>
                  </a:cxn>
                </a:cxnLst>
                <a:rect l="l" t="t" r="r" b="b"/>
                <a:pathLst>
                  <a:path w="142158" h="39785">
                    <a:moveTo>
                      <a:pt x="0" y="36834"/>
                    </a:moveTo>
                    <a:lnTo>
                      <a:pt x="141390" y="0"/>
                    </a:lnTo>
                    <a:lnTo>
                      <a:pt x="142159" y="2952"/>
                    </a:lnTo>
                    <a:lnTo>
                      <a:pt x="769" y="39786"/>
                    </a:lnTo>
                    <a:close/>
                  </a:path>
                </a:pathLst>
              </a:custGeom>
              <a:grpFill/>
              <a:ln w="5978" cap="flat">
                <a:noFill/>
                <a:prstDash val="solid"/>
                <a:miter/>
              </a:ln>
            </p:spPr>
            <p:txBody>
              <a:bodyPr rtlCol="0" anchor="ctr"/>
              <a:lstStyle/>
              <a:p>
                <a:endParaRPr lang="en-GB"/>
              </a:p>
            </p:txBody>
          </p:sp>
          <p:sp>
            <p:nvSpPr>
              <p:cNvPr id="5276" name="Vrije vorm: vorm 5275">
                <a:extLst>
                  <a:ext uri="{FF2B5EF4-FFF2-40B4-BE49-F238E27FC236}">
                    <a16:creationId xmlns:a16="http://schemas.microsoft.com/office/drawing/2014/main" id="{049D14D3-F7E2-426E-95BA-DE2095F16E48}"/>
                  </a:ext>
                </a:extLst>
              </p:cNvPr>
              <p:cNvSpPr/>
              <p:nvPr/>
            </p:nvSpPr>
            <p:spPr>
              <a:xfrm>
                <a:off x="8044514" y="2887780"/>
                <a:ext cx="18312" cy="18462"/>
              </a:xfrm>
              <a:custGeom>
                <a:avLst/>
                <a:gdLst>
                  <a:gd name="connsiteX0" fmla="*/ 6814 w 18312"/>
                  <a:gd name="connsiteY0" fmla="*/ 290 h 18462"/>
                  <a:gd name="connsiteX1" fmla="*/ 17997 w 18312"/>
                  <a:gd name="connsiteY1" fmla="*/ 6929 h 18462"/>
                  <a:gd name="connsiteX2" fmla="*/ 11479 w 18312"/>
                  <a:gd name="connsiteY2" fmla="*/ 18173 h 18462"/>
                  <a:gd name="connsiteX3" fmla="*/ 295 w 18312"/>
                  <a:gd name="connsiteY3" fmla="*/ 11534 h 18462"/>
                  <a:gd name="connsiteX4" fmla="*/ 6814 w 18312"/>
                  <a:gd name="connsiteY4" fmla="*/ 29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62">
                    <a:moveTo>
                      <a:pt x="6814" y="290"/>
                    </a:moveTo>
                    <a:cubicBezTo>
                      <a:pt x="11717" y="-966"/>
                      <a:pt x="16742" y="1965"/>
                      <a:pt x="17997" y="6929"/>
                    </a:cubicBezTo>
                    <a:cubicBezTo>
                      <a:pt x="19313" y="11833"/>
                      <a:pt x="16383" y="16857"/>
                      <a:pt x="11479" y="18173"/>
                    </a:cubicBezTo>
                    <a:cubicBezTo>
                      <a:pt x="6574" y="19429"/>
                      <a:pt x="1550" y="16498"/>
                      <a:pt x="295" y="11534"/>
                    </a:cubicBezTo>
                    <a:cubicBezTo>
                      <a:pt x="-962" y="6570"/>
                      <a:pt x="1909" y="1546"/>
                      <a:pt x="6814" y="290"/>
                    </a:cubicBezTo>
                    <a:close/>
                  </a:path>
                </a:pathLst>
              </a:custGeom>
              <a:grpFill/>
              <a:ln w="5978" cap="flat">
                <a:noFill/>
                <a:prstDash val="solid"/>
                <a:miter/>
              </a:ln>
            </p:spPr>
            <p:txBody>
              <a:bodyPr rtlCol="0" anchor="ctr"/>
              <a:lstStyle/>
              <a:p>
                <a:endParaRPr lang="en-GB"/>
              </a:p>
            </p:txBody>
          </p:sp>
          <p:sp>
            <p:nvSpPr>
              <p:cNvPr id="5277" name="Vrije vorm: vorm 5276">
                <a:extLst>
                  <a:ext uri="{FF2B5EF4-FFF2-40B4-BE49-F238E27FC236}">
                    <a16:creationId xmlns:a16="http://schemas.microsoft.com/office/drawing/2014/main" id="{14802A4C-9753-4335-AFB1-D6F2406087DF}"/>
                  </a:ext>
                </a:extLst>
              </p:cNvPr>
              <p:cNvSpPr/>
              <p:nvPr/>
            </p:nvSpPr>
            <p:spPr>
              <a:xfrm>
                <a:off x="7904006" y="2924323"/>
                <a:ext cx="18332" cy="18459"/>
              </a:xfrm>
              <a:custGeom>
                <a:avLst/>
                <a:gdLst>
                  <a:gd name="connsiteX0" fmla="*/ 6834 w 18332"/>
                  <a:gd name="connsiteY0" fmla="*/ 290 h 18459"/>
                  <a:gd name="connsiteX1" fmla="*/ 315 w 18332"/>
                  <a:gd name="connsiteY1" fmla="*/ 11534 h 18459"/>
                  <a:gd name="connsiteX2" fmla="*/ 11499 w 18332"/>
                  <a:gd name="connsiteY2" fmla="*/ 18173 h 18459"/>
                  <a:gd name="connsiteX3" fmla="*/ 18018 w 18332"/>
                  <a:gd name="connsiteY3" fmla="*/ 6929 h 18459"/>
                  <a:gd name="connsiteX4" fmla="*/ 6834 w 18332"/>
                  <a:gd name="connsiteY4" fmla="*/ 290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9">
                    <a:moveTo>
                      <a:pt x="6834" y="290"/>
                    </a:moveTo>
                    <a:cubicBezTo>
                      <a:pt x="1929" y="1546"/>
                      <a:pt x="-1001" y="6570"/>
                      <a:pt x="315" y="11534"/>
                    </a:cubicBezTo>
                    <a:cubicBezTo>
                      <a:pt x="1571" y="16438"/>
                      <a:pt x="6594" y="19429"/>
                      <a:pt x="11499" y="18173"/>
                    </a:cubicBezTo>
                    <a:cubicBezTo>
                      <a:pt x="16403" y="16917"/>
                      <a:pt x="19333" y="11893"/>
                      <a:pt x="18018" y="6929"/>
                    </a:cubicBezTo>
                    <a:cubicBezTo>
                      <a:pt x="16762" y="1965"/>
                      <a:pt x="11738" y="-966"/>
                      <a:pt x="6834" y="290"/>
                    </a:cubicBezTo>
                    <a:close/>
                  </a:path>
                </a:pathLst>
              </a:custGeom>
              <a:grpFill/>
              <a:ln w="5978" cap="flat">
                <a:noFill/>
                <a:prstDash val="solid"/>
                <a:miter/>
              </a:ln>
            </p:spPr>
            <p:txBody>
              <a:bodyPr rtlCol="0" anchor="ctr"/>
              <a:lstStyle/>
              <a:p>
                <a:endParaRPr lang="en-GB"/>
              </a:p>
            </p:txBody>
          </p:sp>
        </p:grpSp>
        <p:grpSp>
          <p:nvGrpSpPr>
            <p:cNvPr id="33" name="Graphic 3">
              <a:extLst>
                <a:ext uri="{FF2B5EF4-FFF2-40B4-BE49-F238E27FC236}">
                  <a16:creationId xmlns:a16="http://schemas.microsoft.com/office/drawing/2014/main" id="{42E69855-AC28-4DF6-A652-C171F6FB646A}"/>
                </a:ext>
              </a:extLst>
            </p:cNvPr>
            <p:cNvGrpSpPr/>
            <p:nvPr/>
          </p:nvGrpSpPr>
          <p:grpSpPr>
            <a:xfrm>
              <a:off x="7823747" y="2502850"/>
              <a:ext cx="62467" cy="40314"/>
              <a:chOff x="7823747" y="2502850"/>
              <a:chExt cx="62467" cy="40314"/>
            </a:xfrm>
            <a:grpFill/>
          </p:grpSpPr>
          <p:sp>
            <p:nvSpPr>
              <p:cNvPr id="5272" name="Vrije vorm: vorm 5271">
                <a:extLst>
                  <a:ext uri="{FF2B5EF4-FFF2-40B4-BE49-F238E27FC236}">
                    <a16:creationId xmlns:a16="http://schemas.microsoft.com/office/drawing/2014/main" id="{F56360C0-D026-48B0-A001-5B96AE71A3CC}"/>
                  </a:ext>
                </a:extLst>
              </p:cNvPr>
              <p:cNvSpPr/>
              <p:nvPr/>
            </p:nvSpPr>
            <p:spPr>
              <a:xfrm>
                <a:off x="7831835" y="2510508"/>
                <a:ext cx="46350" cy="25059"/>
              </a:xfrm>
              <a:custGeom>
                <a:avLst/>
                <a:gdLst>
                  <a:gd name="connsiteX0" fmla="*/ 46351 w 46350"/>
                  <a:gd name="connsiteY0" fmla="*/ 2751 h 25059"/>
                  <a:gd name="connsiteX1" fmla="*/ 1375 w 46350"/>
                  <a:gd name="connsiteY1" fmla="*/ 25059 h 25059"/>
                  <a:gd name="connsiteX2" fmla="*/ 0 w 46350"/>
                  <a:gd name="connsiteY2" fmla="*/ 22308 h 25059"/>
                  <a:gd name="connsiteX3" fmla="*/ 44974 w 46350"/>
                  <a:gd name="connsiteY3" fmla="*/ 0 h 25059"/>
                </a:gdLst>
                <a:ahLst/>
                <a:cxnLst>
                  <a:cxn ang="0">
                    <a:pos x="connsiteX0" y="connsiteY0"/>
                  </a:cxn>
                  <a:cxn ang="0">
                    <a:pos x="connsiteX1" y="connsiteY1"/>
                  </a:cxn>
                  <a:cxn ang="0">
                    <a:pos x="connsiteX2" y="connsiteY2"/>
                  </a:cxn>
                  <a:cxn ang="0">
                    <a:pos x="connsiteX3" y="connsiteY3"/>
                  </a:cxn>
                </a:cxnLst>
                <a:rect l="l" t="t" r="r" b="b"/>
                <a:pathLst>
                  <a:path w="46350" h="25059">
                    <a:moveTo>
                      <a:pt x="46351" y="2751"/>
                    </a:moveTo>
                    <a:lnTo>
                      <a:pt x="1375" y="25059"/>
                    </a:lnTo>
                    <a:lnTo>
                      <a:pt x="0" y="22308"/>
                    </a:lnTo>
                    <a:lnTo>
                      <a:pt x="44974" y="0"/>
                    </a:lnTo>
                    <a:close/>
                  </a:path>
                </a:pathLst>
              </a:custGeom>
              <a:grpFill/>
              <a:ln w="5978" cap="flat">
                <a:noFill/>
                <a:prstDash val="solid"/>
                <a:miter/>
              </a:ln>
            </p:spPr>
            <p:txBody>
              <a:bodyPr rtlCol="0" anchor="ctr"/>
              <a:lstStyle/>
              <a:p>
                <a:endParaRPr lang="en-GB"/>
              </a:p>
            </p:txBody>
          </p:sp>
          <p:sp>
            <p:nvSpPr>
              <p:cNvPr id="5273" name="Vrije vorm: vorm 5272">
                <a:extLst>
                  <a:ext uri="{FF2B5EF4-FFF2-40B4-BE49-F238E27FC236}">
                    <a16:creationId xmlns:a16="http://schemas.microsoft.com/office/drawing/2014/main" id="{E38F1FA8-B460-4E38-BC45-3ADB75D2CC75}"/>
                  </a:ext>
                </a:extLst>
              </p:cNvPr>
              <p:cNvSpPr/>
              <p:nvPr/>
            </p:nvSpPr>
            <p:spPr>
              <a:xfrm>
                <a:off x="7867921" y="2502850"/>
                <a:ext cx="18292" cy="18424"/>
              </a:xfrm>
              <a:custGeom>
                <a:avLst/>
                <a:gdLst>
                  <a:gd name="connsiteX0" fmla="*/ 5061 w 18292"/>
                  <a:gd name="connsiteY0" fmla="*/ 959 h 18424"/>
                  <a:gd name="connsiteX1" fmla="*/ 17321 w 18292"/>
                  <a:gd name="connsiteY1" fmla="*/ 5146 h 18424"/>
                  <a:gd name="connsiteX2" fmla="*/ 13195 w 18292"/>
                  <a:gd name="connsiteY2" fmla="*/ 17466 h 18424"/>
                  <a:gd name="connsiteX3" fmla="*/ 934 w 18292"/>
                  <a:gd name="connsiteY3" fmla="*/ 13279 h 18424"/>
                  <a:gd name="connsiteX4" fmla="*/ 5061 w 18292"/>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424">
                    <a:moveTo>
                      <a:pt x="5061" y="959"/>
                    </a:moveTo>
                    <a:cubicBezTo>
                      <a:pt x="9606" y="-1314"/>
                      <a:pt x="15109" y="600"/>
                      <a:pt x="17321" y="5146"/>
                    </a:cubicBezTo>
                    <a:cubicBezTo>
                      <a:pt x="19594" y="9691"/>
                      <a:pt x="17740" y="15253"/>
                      <a:pt x="13195" y="17466"/>
                    </a:cubicBezTo>
                    <a:cubicBezTo>
                      <a:pt x="8650" y="19739"/>
                      <a:pt x="3147" y="17825"/>
                      <a:pt x="934" y="13279"/>
                    </a:cubicBezTo>
                    <a:cubicBezTo>
                      <a:pt x="-1279" y="8734"/>
                      <a:pt x="575" y="3172"/>
                      <a:pt x="5061" y="959"/>
                    </a:cubicBezTo>
                    <a:close/>
                  </a:path>
                </a:pathLst>
              </a:custGeom>
              <a:grpFill/>
              <a:ln w="5978" cap="flat">
                <a:noFill/>
                <a:prstDash val="solid"/>
                <a:miter/>
              </a:ln>
            </p:spPr>
            <p:txBody>
              <a:bodyPr rtlCol="0" anchor="ctr"/>
              <a:lstStyle/>
              <a:p>
                <a:endParaRPr lang="en-GB"/>
              </a:p>
            </p:txBody>
          </p:sp>
          <p:sp>
            <p:nvSpPr>
              <p:cNvPr id="5274" name="Vrije vorm: vorm 5273">
                <a:extLst>
                  <a:ext uri="{FF2B5EF4-FFF2-40B4-BE49-F238E27FC236}">
                    <a16:creationId xmlns:a16="http://schemas.microsoft.com/office/drawing/2014/main" id="{4D76159A-1DEA-45B5-8773-B6EFA1B191D3}"/>
                  </a:ext>
                </a:extLst>
              </p:cNvPr>
              <p:cNvSpPr/>
              <p:nvPr/>
            </p:nvSpPr>
            <p:spPr>
              <a:xfrm>
                <a:off x="7823747" y="2524766"/>
                <a:ext cx="18329" cy="18398"/>
              </a:xfrm>
              <a:custGeom>
                <a:avLst/>
                <a:gdLst>
                  <a:gd name="connsiteX0" fmla="*/ 5098 w 18329"/>
                  <a:gd name="connsiteY0" fmla="*/ 933 h 18398"/>
                  <a:gd name="connsiteX1" fmla="*/ 971 w 18329"/>
                  <a:gd name="connsiteY1" fmla="*/ 13253 h 18398"/>
                  <a:gd name="connsiteX2" fmla="*/ 13232 w 18329"/>
                  <a:gd name="connsiteY2" fmla="*/ 17440 h 18398"/>
                  <a:gd name="connsiteX3" fmla="*/ 17358 w 18329"/>
                  <a:gd name="connsiteY3" fmla="*/ 5119 h 18398"/>
                  <a:gd name="connsiteX4" fmla="*/ 5098 w 18329"/>
                  <a:gd name="connsiteY4" fmla="*/ 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98">
                    <a:moveTo>
                      <a:pt x="5098" y="933"/>
                    </a:moveTo>
                    <a:cubicBezTo>
                      <a:pt x="553" y="3206"/>
                      <a:pt x="-1302" y="8708"/>
                      <a:pt x="971" y="13253"/>
                    </a:cubicBezTo>
                    <a:cubicBezTo>
                      <a:pt x="3244" y="17799"/>
                      <a:pt x="8746" y="19712"/>
                      <a:pt x="13232" y="17440"/>
                    </a:cubicBezTo>
                    <a:cubicBezTo>
                      <a:pt x="17777" y="15167"/>
                      <a:pt x="19631" y="9665"/>
                      <a:pt x="17358" y="5119"/>
                    </a:cubicBezTo>
                    <a:cubicBezTo>
                      <a:pt x="15145" y="574"/>
                      <a:pt x="9643" y="-1280"/>
                      <a:pt x="5098" y="933"/>
                    </a:cubicBezTo>
                    <a:close/>
                  </a:path>
                </a:pathLst>
              </a:custGeom>
              <a:grpFill/>
              <a:ln w="5978" cap="flat">
                <a:noFill/>
                <a:prstDash val="solid"/>
                <a:miter/>
              </a:ln>
            </p:spPr>
            <p:txBody>
              <a:bodyPr rtlCol="0" anchor="ctr"/>
              <a:lstStyle/>
              <a:p>
                <a:endParaRPr lang="en-GB"/>
              </a:p>
            </p:txBody>
          </p:sp>
        </p:grpSp>
        <p:grpSp>
          <p:nvGrpSpPr>
            <p:cNvPr id="34" name="Graphic 3">
              <a:extLst>
                <a:ext uri="{FF2B5EF4-FFF2-40B4-BE49-F238E27FC236}">
                  <a16:creationId xmlns:a16="http://schemas.microsoft.com/office/drawing/2014/main" id="{65F8931E-F773-4FEA-8C23-390AD6CA088B}"/>
                </a:ext>
              </a:extLst>
            </p:cNvPr>
            <p:cNvGrpSpPr/>
            <p:nvPr/>
          </p:nvGrpSpPr>
          <p:grpSpPr>
            <a:xfrm>
              <a:off x="7705861" y="2990981"/>
              <a:ext cx="652848" cy="102367"/>
              <a:chOff x="7705861" y="2990981"/>
              <a:chExt cx="652848" cy="102367"/>
            </a:xfrm>
            <a:grpFill/>
          </p:grpSpPr>
          <p:sp>
            <p:nvSpPr>
              <p:cNvPr id="5269" name="Vrije vorm: vorm 5268">
                <a:extLst>
                  <a:ext uri="{FF2B5EF4-FFF2-40B4-BE49-F238E27FC236}">
                    <a16:creationId xmlns:a16="http://schemas.microsoft.com/office/drawing/2014/main" id="{C0EBF7BE-2827-4874-9962-6FAE192A5F89}"/>
                  </a:ext>
                </a:extLst>
              </p:cNvPr>
              <p:cNvSpPr/>
              <p:nvPr/>
            </p:nvSpPr>
            <p:spPr>
              <a:xfrm>
                <a:off x="7714314" y="2998654"/>
                <a:ext cx="635870" cy="87079"/>
              </a:xfrm>
              <a:custGeom>
                <a:avLst/>
                <a:gdLst>
                  <a:gd name="connsiteX0" fmla="*/ 635452 w 635870"/>
                  <a:gd name="connsiteY0" fmla="*/ 0 h 87079"/>
                  <a:gd name="connsiteX1" fmla="*/ 635870 w 635870"/>
                  <a:gd name="connsiteY1" fmla="*/ 3050 h 87079"/>
                  <a:gd name="connsiteX2" fmla="*/ 418 w 635870"/>
                  <a:gd name="connsiteY2" fmla="*/ 87079 h 87079"/>
                  <a:gd name="connsiteX3" fmla="*/ 0 w 635870"/>
                  <a:gd name="connsiteY3" fmla="*/ 84029 h 87079"/>
                </a:gdLst>
                <a:ahLst/>
                <a:cxnLst>
                  <a:cxn ang="0">
                    <a:pos x="connsiteX0" y="connsiteY0"/>
                  </a:cxn>
                  <a:cxn ang="0">
                    <a:pos x="connsiteX1" y="connsiteY1"/>
                  </a:cxn>
                  <a:cxn ang="0">
                    <a:pos x="connsiteX2" y="connsiteY2"/>
                  </a:cxn>
                  <a:cxn ang="0">
                    <a:pos x="connsiteX3" y="connsiteY3"/>
                  </a:cxn>
                </a:cxnLst>
                <a:rect l="l" t="t" r="r" b="b"/>
                <a:pathLst>
                  <a:path w="635870" h="87079">
                    <a:moveTo>
                      <a:pt x="635452" y="0"/>
                    </a:moveTo>
                    <a:lnTo>
                      <a:pt x="635870" y="3050"/>
                    </a:lnTo>
                    <a:lnTo>
                      <a:pt x="418" y="87079"/>
                    </a:lnTo>
                    <a:lnTo>
                      <a:pt x="0" y="84029"/>
                    </a:lnTo>
                    <a:close/>
                  </a:path>
                </a:pathLst>
              </a:custGeom>
              <a:grpFill/>
              <a:ln w="5978" cap="flat">
                <a:noFill/>
                <a:prstDash val="solid"/>
                <a:miter/>
              </a:ln>
            </p:spPr>
            <p:txBody>
              <a:bodyPr rtlCol="0" anchor="ctr"/>
              <a:lstStyle/>
              <a:p>
                <a:endParaRPr lang="en-GB"/>
              </a:p>
            </p:txBody>
          </p:sp>
          <p:sp>
            <p:nvSpPr>
              <p:cNvPr id="5270" name="Vrije vorm: vorm 5269">
                <a:extLst>
                  <a:ext uri="{FF2B5EF4-FFF2-40B4-BE49-F238E27FC236}">
                    <a16:creationId xmlns:a16="http://schemas.microsoft.com/office/drawing/2014/main" id="{6479E1E9-05AD-4227-893E-BCEDE10DFDB9}"/>
                  </a:ext>
                </a:extLst>
              </p:cNvPr>
              <p:cNvSpPr/>
              <p:nvPr/>
            </p:nvSpPr>
            <p:spPr>
              <a:xfrm>
                <a:off x="7705861" y="3074889"/>
                <a:ext cx="18294" cy="18458"/>
              </a:xfrm>
              <a:custGeom>
                <a:avLst/>
                <a:gdLst>
                  <a:gd name="connsiteX0" fmla="*/ 10367 w 18294"/>
                  <a:gd name="connsiteY0" fmla="*/ 18380 h 18458"/>
                  <a:gd name="connsiteX1" fmla="*/ 80 w 18294"/>
                  <a:gd name="connsiteY1" fmla="*/ 10426 h 18458"/>
                  <a:gd name="connsiteX2" fmla="*/ 7914 w 18294"/>
                  <a:gd name="connsiteY2" fmla="*/ 79 h 18458"/>
                  <a:gd name="connsiteX3" fmla="*/ 18202 w 18294"/>
                  <a:gd name="connsiteY3" fmla="*/ 8033 h 18458"/>
                  <a:gd name="connsiteX4" fmla="*/ 10367 w 18294"/>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58">
                    <a:moveTo>
                      <a:pt x="10367" y="18380"/>
                    </a:moveTo>
                    <a:cubicBezTo>
                      <a:pt x="5343" y="19038"/>
                      <a:pt x="738" y="15509"/>
                      <a:pt x="80" y="10426"/>
                    </a:cubicBezTo>
                    <a:cubicBezTo>
                      <a:pt x="-578" y="5402"/>
                      <a:pt x="2891" y="737"/>
                      <a:pt x="7914" y="79"/>
                    </a:cubicBezTo>
                    <a:cubicBezTo>
                      <a:pt x="12939" y="-579"/>
                      <a:pt x="17544" y="2950"/>
                      <a:pt x="18202" y="8033"/>
                    </a:cubicBezTo>
                    <a:cubicBezTo>
                      <a:pt x="18919" y="13117"/>
                      <a:pt x="15390" y="17722"/>
                      <a:pt x="10367" y="18380"/>
                    </a:cubicBezTo>
                    <a:close/>
                  </a:path>
                </a:pathLst>
              </a:custGeom>
              <a:grpFill/>
              <a:ln w="5978" cap="flat">
                <a:noFill/>
                <a:prstDash val="solid"/>
                <a:miter/>
              </a:ln>
            </p:spPr>
            <p:txBody>
              <a:bodyPr rtlCol="0" anchor="ctr"/>
              <a:lstStyle/>
              <a:p>
                <a:endParaRPr lang="en-GB"/>
              </a:p>
            </p:txBody>
          </p:sp>
          <p:sp>
            <p:nvSpPr>
              <p:cNvPr id="5271" name="Vrije vorm: vorm 5270">
                <a:extLst>
                  <a:ext uri="{FF2B5EF4-FFF2-40B4-BE49-F238E27FC236}">
                    <a16:creationId xmlns:a16="http://schemas.microsoft.com/office/drawing/2014/main" id="{930DC5C8-577E-414C-A7A3-45D9C7D034D3}"/>
                  </a:ext>
                </a:extLst>
              </p:cNvPr>
              <p:cNvSpPr/>
              <p:nvPr/>
            </p:nvSpPr>
            <p:spPr>
              <a:xfrm>
                <a:off x="8340402" y="2990981"/>
                <a:ext cx="18307" cy="18457"/>
              </a:xfrm>
              <a:custGeom>
                <a:avLst/>
                <a:gdLst>
                  <a:gd name="connsiteX0" fmla="*/ 10379 w 18307"/>
                  <a:gd name="connsiteY0" fmla="*/ 18379 h 18457"/>
                  <a:gd name="connsiteX1" fmla="*/ 18214 w 18307"/>
                  <a:gd name="connsiteY1" fmla="*/ 8032 h 18457"/>
                  <a:gd name="connsiteX2" fmla="*/ 7928 w 18307"/>
                  <a:gd name="connsiteY2" fmla="*/ 78 h 18457"/>
                  <a:gd name="connsiteX3" fmla="*/ 93 w 18307"/>
                  <a:gd name="connsiteY3" fmla="*/ 10425 h 18457"/>
                  <a:gd name="connsiteX4" fmla="*/ 10379 w 18307"/>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57">
                    <a:moveTo>
                      <a:pt x="10379" y="18379"/>
                    </a:moveTo>
                    <a:cubicBezTo>
                      <a:pt x="15404" y="17721"/>
                      <a:pt x="18932" y="13056"/>
                      <a:pt x="18214" y="8032"/>
                    </a:cubicBezTo>
                    <a:cubicBezTo>
                      <a:pt x="17557" y="3008"/>
                      <a:pt x="12892" y="-580"/>
                      <a:pt x="7928" y="78"/>
                    </a:cubicBezTo>
                    <a:cubicBezTo>
                      <a:pt x="2903" y="736"/>
                      <a:pt x="-625" y="5341"/>
                      <a:pt x="93" y="10425"/>
                    </a:cubicBezTo>
                    <a:cubicBezTo>
                      <a:pt x="750" y="15508"/>
                      <a:pt x="5356" y="19037"/>
                      <a:pt x="10379" y="18379"/>
                    </a:cubicBezTo>
                    <a:close/>
                  </a:path>
                </a:pathLst>
              </a:custGeom>
              <a:grpFill/>
              <a:ln w="5978" cap="flat">
                <a:noFill/>
                <a:prstDash val="solid"/>
                <a:miter/>
              </a:ln>
            </p:spPr>
            <p:txBody>
              <a:bodyPr rtlCol="0" anchor="ctr"/>
              <a:lstStyle/>
              <a:p>
                <a:endParaRPr lang="en-GB"/>
              </a:p>
            </p:txBody>
          </p:sp>
        </p:grpSp>
        <p:grpSp>
          <p:nvGrpSpPr>
            <p:cNvPr id="35" name="Graphic 3">
              <a:extLst>
                <a:ext uri="{FF2B5EF4-FFF2-40B4-BE49-F238E27FC236}">
                  <a16:creationId xmlns:a16="http://schemas.microsoft.com/office/drawing/2014/main" id="{D020D717-A324-4A09-9146-93F5431E632F}"/>
                </a:ext>
              </a:extLst>
            </p:cNvPr>
            <p:cNvGrpSpPr/>
            <p:nvPr/>
          </p:nvGrpSpPr>
          <p:grpSpPr>
            <a:xfrm>
              <a:off x="7633250" y="1957571"/>
              <a:ext cx="72894" cy="66662"/>
              <a:chOff x="7633250" y="1957571"/>
              <a:chExt cx="72894" cy="66662"/>
            </a:xfrm>
            <a:grpFill/>
          </p:grpSpPr>
          <p:sp>
            <p:nvSpPr>
              <p:cNvPr id="5266" name="Vrije vorm: vorm 5265">
                <a:extLst>
                  <a:ext uri="{FF2B5EF4-FFF2-40B4-BE49-F238E27FC236}">
                    <a16:creationId xmlns:a16="http://schemas.microsoft.com/office/drawing/2014/main" id="{CE4206A5-538E-46F5-9FC3-95CF2AA570AE}"/>
                  </a:ext>
                </a:extLst>
              </p:cNvPr>
              <p:cNvSpPr/>
              <p:nvPr/>
            </p:nvSpPr>
            <p:spPr>
              <a:xfrm>
                <a:off x="7640990" y="1965305"/>
                <a:ext cx="57354" cy="51194"/>
              </a:xfrm>
              <a:custGeom>
                <a:avLst/>
                <a:gdLst>
                  <a:gd name="connsiteX0" fmla="*/ 57355 w 57354"/>
                  <a:gd name="connsiteY0" fmla="*/ 2332 h 51194"/>
                  <a:gd name="connsiteX1" fmla="*/ 2033 w 57354"/>
                  <a:gd name="connsiteY1" fmla="*/ 51195 h 51194"/>
                  <a:gd name="connsiteX2" fmla="*/ 0 w 57354"/>
                  <a:gd name="connsiteY2" fmla="*/ 48922 h 51194"/>
                  <a:gd name="connsiteX3" fmla="*/ 55382 w 57354"/>
                  <a:gd name="connsiteY3" fmla="*/ 0 h 51194"/>
                </a:gdLst>
                <a:ahLst/>
                <a:cxnLst>
                  <a:cxn ang="0">
                    <a:pos x="connsiteX0" y="connsiteY0"/>
                  </a:cxn>
                  <a:cxn ang="0">
                    <a:pos x="connsiteX1" y="connsiteY1"/>
                  </a:cxn>
                  <a:cxn ang="0">
                    <a:pos x="connsiteX2" y="connsiteY2"/>
                  </a:cxn>
                  <a:cxn ang="0">
                    <a:pos x="connsiteX3" y="connsiteY3"/>
                  </a:cxn>
                </a:cxnLst>
                <a:rect l="l" t="t" r="r" b="b"/>
                <a:pathLst>
                  <a:path w="57354" h="51194">
                    <a:moveTo>
                      <a:pt x="57355" y="2332"/>
                    </a:moveTo>
                    <a:lnTo>
                      <a:pt x="2033" y="51195"/>
                    </a:lnTo>
                    <a:lnTo>
                      <a:pt x="0" y="48922"/>
                    </a:lnTo>
                    <a:lnTo>
                      <a:pt x="55382" y="0"/>
                    </a:lnTo>
                    <a:close/>
                  </a:path>
                </a:pathLst>
              </a:custGeom>
              <a:grpFill/>
              <a:ln w="5978" cap="flat">
                <a:noFill/>
                <a:prstDash val="solid"/>
                <a:miter/>
              </a:ln>
            </p:spPr>
            <p:txBody>
              <a:bodyPr rtlCol="0" anchor="ctr"/>
              <a:lstStyle/>
              <a:p>
                <a:endParaRPr lang="en-GB"/>
              </a:p>
            </p:txBody>
          </p:sp>
          <p:sp>
            <p:nvSpPr>
              <p:cNvPr id="5267" name="Vrije vorm: vorm 5266">
                <a:extLst>
                  <a:ext uri="{FF2B5EF4-FFF2-40B4-BE49-F238E27FC236}">
                    <a16:creationId xmlns:a16="http://schemas.microsoft.com/office/drawing/2014/main" id="{576CDFCE-E8A6-4097-9957-5AE2A521C634}"/>
                  </a:ext>
                </a:extLst>
              </p:cNvPr>
              <p:cNvSpPr/>
              <p:nvPr/>
            </p:nvSpPr>
            <p:spPr>
              <a:xfrm>
                <a:off x="7687854" y="1957571"/>
                <a:ext cx="18290" cy="18398"/>
              </a:xfrm>
              <a:custGeom>
                <a:avLst/>
                <a:gdLst>
                  <a:gd name="connsiteX0" fmla="*/ 3075 w 18290"/>
                  <a:gd name="connsiteY0" fmla="*/ 2291 h 18398"/>
                  <a:gd name="connsiteX1" fmla="*/ 15993 w 18290"/>
                  <a:gd name="connsiteY1" fmla="*/ 3129 h 18398"/>
                  <a:gd name="connsiteX2" fmla="*/ 15216 w 18290"/>
                  <a:gd name="connsiteY2" fmla="*/ 16107 h 18398"/>
                  <a:gd name="connsiteX3" fmla="*/ 2297 w 18290"/>
                  <a:gd name="connsiteY3" fmla="*/ 15269 h 18398"/>
                  <a:gd name="connsiteX4" fmla="*/ 3075 w 18290"/>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98">
                    <a:moveTo>
                      <a:pt x="3075" y="2291"/>
                    </a:moveTo>
                    <a:cubicBezTo>
                      <a:pt x="6842" y="-1058"/>
                      <a:pt x="12644" y="-699"/>
                      <a:pt x="15993" y="3129"/>
                    </a:cubicBezTo>
                    <a:cubicBezTo>
                      <a:pt x="19342" y="6956"/>
                      <a:pt x="18983" y="12758"/>
                      <a:pt x="15216" y="16107"/>
                    </a:cubicBezTo>
                    <a:cubicBezTo>
                      <a:pt x="11448" y="19456"/>
                      <a:pt x="5647" y="19097"/>
                      <a:pt x="2297" y="15269"/>
                    </a:cubicBezTo>
                    <a:cubicBezTo>
                      <a:pt x="-1052" y="11442"/>
                      <a:pt x="-693" y="5641"/>
                      <a:pt x="3075" y="2291"/>
                    </a:cubicBezTo>
                    <a:close/>
                  </a:path>
                </a:pathLst>
              </a:custGeom>
              <a:grpFill/>
              <a:ln w="5978" cap="flat">
                <a:noFill/>
                <a:prstDash val="solid"/>
                <a:miter/>
              </a:ln>
            </p:spPr>
            <p:txBody>
              <a:bodyPr rtlCol="0" anchor="ctr"/>
              <a:lstStyle/>
              <a:p>
                <a:endParaRPr lang="en-GB"/>
              </a:p>
            </p:txBody>
          </p:sp>
          <p:sp>
            <p:nvSpPr>
              <p:cNvPr id="5268" name="Vrije vorm: vorm 5267">
                <a:extLst>
                  <a:ext uri="{FF2B5EF4-FFF2-40B4-BE49-F238E27FC236}">
                    <a16:creationId xmlns:a16="http://schemas.microsoft.com/office/drawing/2014/main" id="{BC2AF5C7-E7FD-4C16-9D50-311DF3BB7D47}"/>
                  </a:ext>
                </a:extLst>
              </p:cNvPr>
              <p:cNvSpPr/>
              <p:nvPr/>
            </p:nvSpPr>
            <p:spPr>
              <a:xfrm>
                <a:off x="7633250" y="2005836"/>
                <a:ext cx="18299" cy="18398"/>
              </a:xfrm>
              <a:custGeom>
                <a:avLst/>
                <a:gdLst>
                  <a:gd name="connsiteX0" fmla="*/ 3075 w 18299"/>
                  <a:gd name="connsiteY0" fmla="*/ 2291 h 18398"/>
                  <a:gd name="connsiteX1" fmla="*/ 2297 w 18299"/>
                  <a:gd name="connsiteY1" fmla="*/ 15269 h 18398"/>
                  <a:gd name="connsiteX2" fmla="*/ 15216 w 18299"/>
                  <a:gd name="connsiteY2" fmla="*/ 16107 h 18398"/>
                  <a:gd name="connsiteX3" fmla="*/ 16053 w 18299"/>
                  <a:gd name="connsiteY3" fmla="*/ 3129 h 18398"/>
                  <a:gd name="connsiteX4" fmla="*/ 3075 w 18299"/>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98">
                    <a:moveTo>
                      <a:pt x="3075" y="2291"/>
                    </a:moveTo>
                    <a:cubicBezTo>
                      <a:pt x="-693" y="5641"/>
                      <a:pt x="-1052" y="11442"/>
                      <a:pt x="2297" y="15269"/>
                    </a:cubicBezTo>
                    <a:cubicBezTo>
                      <a:pt x="5647" y="19097"/>
                      <a:pt x="11448" y="19456"/>
                      <a:pt x="15216" y="16107"/>
                    </a:cubicBezTo>
                    <a:cubicBezTo>
                      <a:pt x="18983" y="12758"/>
                      <a:pt x="19342" y="6956"/>
                      <a:pt x="16053" y="3129"/>
                    </a:cubicBezTo>
                    <a:cubicBezTo>
                      <a:pt x="12644" y="-699"/>
                      <a:pt x="6842" y="-1058"/>
                      <a:pt x="3075" y="2291"/>
                    </a:cubicBezTo>
                    <a:close/>
                  </a:path>
                </a:pathLst>
              </a:custGeom>
              <a:grpFill/>
              <a:ln w="5978" cap="flat">
                <a:noFill/>
                <a:prstDash val="solid"/>
                <a:miter/>
              </a:ln>
            </p:spPr>
            <p:txBody>
              <a:bodyPr rtlCol="0" anchor="ctr"/>
              <a:lstStyle/>
              <a:p>
                <a:endParaRPr lang="en-GB"/>
              </a:p>
            </p:txBody>
          </p:sp>
        </p:grpSp>
        <p:grpSp>
          <p:nvGrpSpPr>
            <p:cNvPr id="36" name="Graphic 3">
              <a:extLst>
                <a:ext uri="{FF2B5EF4-FFF2-40B4-BE49-F238E27FC236}">
                  <a16:creationId xmlns:a16="http://schemas.microsoft.com/office/drawing/2014/main" id="{D8C6ED17-73C4-4DFF-B415-93E4673E3820}"/>
                </a:ext>
              </a:extLst>
            </p:cNvPr>
            <p:cNvGrpSpPr/>
            <p:nvPr/>
          </p:nvGrpSpPr>
          <p:grpSpPr>
            <a:xfrm>
              <a:off x="7879336" y="2850945"/>
              <a:ext cx="171203" cy="61273"/>
              <a:chOff x="7879336" y="2850945"/>
              <a:chExt cx="171203" cy="61273"/>
            </a:xfrm>
            <a:grpFill/>
          </p:grpSpPr>
          <p:sp>
            <p:nvSpPr>
              <p:cNvPr id="5263" name="Vrije vorm: vorm 5262">
                <a:extLst>
                  <a:ext uri="{FF2B5EF4-FFF2-40B4-BE49-F238E27FC236}">
                    <a16:creationId xmlns:a16="http://schemas.microsoft.com/office/drawing/2014/main" id="{0995D159-193E-4A11-B93A-A9DEE3C599E0}"/>
                  </a:ext>
                </a:extLst>
              </p:cNvPr>
              <p:cNvSpPr/>
              <p:nvPr/>
            </p:nvSpPr>
            <p:spPr>
              <a:xfrm>
                <a:off x="7887546" y="2858183"/>
                <a:ext cx="154554" cy="46131"/>
              </a:xfrm>
              <a:custGeom>
                <a:avLst/>
                <a:gdLst>
                  <a:gd name="connsiteX0" fmla="*/ 0 w 154554"/>
                  <a:gd name="connsiteY0" fmla="*/ 43195 h 46131"/>
                  <a:gd name="connsiteX1" fmla="*/ 153729 w 154554"/>
                  <a:gd name="connsiteY1" fmla="*/ 0 h 46131"/>
                  <a:gd name="connsiteX2" fmla="*/ 154554 w 154554"/>
                  <a:gd name="connsiteY2" fmla="*/ 2937 h 46131"/>
                  <a:gd name="connsiteX3" fmla="*/ 825 w 154554"/>
                  <a:gd name="connsiteY3" fmla="*/ 46131 h 46131"/>
                </a:gdLst>
                <a:ahLst/>
                <a:cxnLst>
                  <a:cxn ang="0">
                    <a:pos x="connsiteX0" y="connsiteY0"/>
                  </a:cxn>
                  <a:cxn ang="0">
                    <a:pos x="connsiteX1" y="connsiteY1"/>
                  </a:cxn>
                  <a:cxn ang="0">
                    <a:pos x="connsiteX2" y="connsiteY2"/>
                  </a:cxn>
                  <a:cxn ang="0">
                    <a:pos x="connsiteX3" y="connsiteY3"/>
                  </a:cxn>
                </a:cxnLst>
                <a:rect l="l" t="t" r="r" b="b"/>
                <a:pathLst>
                  <a:path w="154554" h="46131">
                    <a:moveTo>
                      <a:pt x="0" y="43195"/>
                    </a:moveTo>
                    <a:lnTo>
                      <a:pt x="153729" y="0"/>
                    </a:lnTo>
                    <a:lnTo>
                      <a:pt x="154554" y="2937"/>
                    </a:lnTo>
                    <a:lnTo>
                      <a:pt x="825" y="46131"/>
                    </a:lnTo>
                    <a:close/>
                  </a:path>
                </a:pathLst>
              </a:custGeom>
              <a:grpFill/>
              <a:ln w="5978" cap="flat">
                <a:noFill/>
                <a:prstDash val="solid"/>
                <a:miter/>
              </a:ln>
            </p:spPr>
            <p:txBody>
              <a:bodyPr rtlCol="0" anchor="ctr"/>
              <a:lstStyle/>
              <a:p>
                <a:endParaRPr lang="en-GB"/>
              </a:p>
            </p:txBody>
          </p:sp>
          <p:sp>
            <p:nvSpPr>
              <p:cNvPr id="5264" name="Vrije vorm: vorm 5263">
                <a:extLst>
                  <a:ext uri="{FF2B5EF4-FFF2-40B4-BE49-F238E27FC236}">
                    <a16:creationId xmlns:a16="http://schemas.microsoft.com/office/drawing/2014/main" id="{02857C84-21C6-431D-9FA6-E0F1F4E5FF3B}"/>
                  </a:ext>
                </a:extLst>
              </p:cNvPr>
              <p:cNvSpPr/>
              <p:nvPr/>
            </p:nvSpPr>
            <p:spPr>
              <a:xfrm>
                <a:off x="8032203" y="2850945"/>
                <a:ext cx="18336" cy="18451"/>
              </a:xfrm>
              <a:custGeom>
                <a:avLst/>
                <a:gdLst>
                  <a:gd name="connsiteX0" fmla="*/ 6684 w 18336"/>
                  <a:gd name="connsiteY0" fmla="*/ 344 h 18451"/>
                  <a:gd name="connsiteX1" fmla="*/ 17987 w 18336"/>
                  <a:gd name="connsiteY1" fmla="*/ 6744 h 18451"/>
                  <a:gd name="connsiteX2" fmla="*/ 11648 w 18336"/>
                  <a:gd name="connsiteY2" fmla="*/ 18107 h 18451"/>
                  <a:gd name="connsiteX3" fmla="*/ 345 w 18336"/>
                  <a:gd name="connsiteY3" fmla="*/ 11708 h 18451"/>
                  <a:gd name="connsiteX4" fmla="*/ 6684 w 18336"/>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1">
                    <a:moveTo>
                      <a:pt x="6684" y="344"/>
                    </a:moveTo>
                    <a:cubicBezTo>
                      <a:pt x="11528" y="-1031"/>
                      <a:pt x="16612" y="1839"/>
                      <a:pt x="17987" y="6744"/>
                    </a:cubicBezTo>
                    <a:cubicBezTo>
                      <a:pt x="19364" y="11648"/>
                      <a:pt x="16552" y="16731"/>
                      <a:pt x="11648" y="18107"/>
                    </a:cubicBezTo>
                    <a:cubicBezTo>
                      <a:pt x="6803" y="19482"/>
                      <a:pt x="1720" y="16612"/>
                      <a:pt x="345" y="11708"/>
                    </a:cubicBezTo>
                    <a:cubicBezTo>
                      <a:pt x="-1031" y="6803"/>
                      <a:pt x="1840" y="1720"/>
                      <a:pt x="6684" y="344"/>
                    </a:cubicBezTo>
                    <a:close/>
                  </a:path>
                </a:pathLst>
              </a:custGeom>
              <a:grpFill/>
              <a:ln w="5978" cap="flat">
                <a:noFill/>
                <a:prstDash val="solid"/>
                <a:miter/>
              </a:ln>
            </p:spPr>
            <p:txBody>
              <a:bodyPr rtlCol="0" anchor="ctr"/>
              <a:lstStyle/>
              <a:p>
                <a:endParaRPr lang="en-GB"/>
              </a:p>
            </p:txBody>
          </p:sp>
          <p:sp>
            <p:nvSpPr>
              <p:cNvPr id="5265" name="Vrije vorm: vorm 5264">
                <a:extLst>
                  <a:ext uri="{FF2B5EF4-FFF2-40B4-BE49-F238E27FC236}">
                    <a16:creationId xmlns:a16="http://schemas.microsoft.com/office/drawing/2014/main" id="{9C622C54-B66A-4E02-A90C-0A7652B9840A}"/>
                  </a:ext>
                </a:extLst>
              </p:cNvPr>
              <p:cNvSpPr/>
              <p:nvPr/>
            </p:nvSpPr>
            <p:spPr>
              <a:xfrm>
                <a:off x="7879336" y="2893792"/>
                <a:ext cx="18332" cy="18426"/>
              </a:xfrm>
              <a:custGeom>
                <a:avLst/>
                <a:gdLst>
                  <a:gd name="connsiteX0" fmla="*/ 6684 w 18332"/>
                  <a:gd name="connsiteY0" fmla="*/ 319 h 18426"/>
                  <a:gd name="connsiteX1" fmla="*/ 345 w 18332"/>
                  <a:gd name="connsiteY1" fmla="*/ 11683 h 18426"/>
                  <a:gd name="connsiteX2" fmla="*/ 11648 w 18332"/>
                  <a:gd name="connsiteY2" fmla="*/ 18082 h 18426"/>
                  <a:gd name="connsiteX3" fmla="*/ 17988 w 18332"/>
                  <a:gd name="connsiteY3" fmla="*/ 6719 h 18426"/>
                  <a:gd name="connsiteX4" fmla="*/ 6684 w 18332"/>
                  <a:gd name="connsiteY4" fmla="*/ 31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6">
                    <a:moveTo>
                      <a:pt x="6684" y="319"/>
                    </a:moveTo>
                    <a:cubicBezTo>
                      <a:pt x="1840" y="1695"/>
                      <a:pt x="-1031" y="6778"/>
                      <a:pt x="345" y="11683"/>
                    </a:cubicBezTo>
                    <a:cubicBezTo>
                      <a:pt x="1720" y="16587"/>
                      <a:pt x="6804" y="19458"/>
                      <a:pt x="11648" y="18082"/>
                    </a:cubicBezTo>
                    <a:cubicBezTo>
                      <a:pt x="16492" y="16706"/>
                      <a:pt x="19363" y="11623"/>
                      <a:pt x="17988" y="6719"/>
                    </a:cubicBezTo>
                    <a:cubicBezTo>
                      <a:pt x="16612" y="1874"/>
                      <a:pt x="11588" y="-996"/>
                      <a:pt x="6684" y="319"/>
                    </a:cubicBezTo>
                    <a:close/>
                  </a:path>
                </a:pathLst>
              </a:custGeom>
              <a:grpFill/>
              <a:ln w="5978" cap="flat">
                <a:noFill/>
                <a:prstDash val="solid"/>
                <a:miter/>
              </a:ln>
            </p:spPr>
            <p:txBody>
              <a:bodyPr rtlCol="0" anchor="ctr"/>
              <a:lstStyle/>
              <a:p>
                <a:endParaRPr lang="en-GB"/>
              </a:p>
            </p:txBody>
          </p:sp>
        </p:grpSp>
        <p:grpSp>
          <p:nvGrpSpPr>
            <p:cNvPr id="37" name="Graphic 3">
              <a:extLst>
                <a:ext uri="{FF2B5EF4-FFF2-40B4-BE49-F238E27FC236}">
                  <a16:creationId xmlns:a16="http://schemas.microsoft.com/office/drawing/2014/main" id="{F48C8B9C-2115-4C5B-95A0-6DE7BB890AB1}"/>
                </a:ext>
              </a:extLst>
            </p:cNvPr>
            <p:cNvGrpSpPr/>
            <p:nvPr/>
          </p:nvGrpSpPr>
          <p:grpSpPr>
            <a:xfrm>
              <a:off x="7715328" y="2329631"/>
              <a:ext cx="163836" cy="104908"/>
              <a:chOff x="7715328" y="2329631"/>
              <a:chExt cx="163836" cy="104908"/>
            </a:xfrm>
            <a:grpFill/>
          </p:grpSpPr>
          <p:sp>
            <p:nvSpPr>
              <p:cNvPr id="5260" name="Vrije vorm: vorm 5259">
                <a:extLst>
                  <a:ext uri="{FF2B5EF4-FFF2-40B4-BE49-F238E27FC236}">
                    <a16:creationId xmlns:a16="http://schemas.microsoft.com/office/drawing/2014/main" id="{16E97A1C-516A-4674-9B18-6031DBDDA6EC}"/>
                  </a:ext>
                </a:extLst>
              </p:cNvPr>
              <p:cNvSpPr/>
              <p:nvPr/>
            </p:nvSpPr>
            <p:spPr>
              <a:xfrm>
                <a:off x="7723285" y="2337306"/>
                <a:ext cx="147903" cy="89591"/>
              </a:xfrm>
              <a:custGeom>
                <a:avLst/>
                <a:gdLst>
                  <a:gd name="connsiteX0" fmla="*/ 147903 w 147903"/>
                  <a:gd name="connsiteY0" fmla="*/ 2632 h 89591"/>
                  <a:gd name="connsiteX1" fmla="*/ 1555 w 147903"/>
                  <a:gd name="connsiteY1" fmla="*/ 89591 h 89591"/>
                  <a:gd name="connsiteX2" fmla="*/ 0 w 147903"/>
                  <a:gd name="connsiteY2" fmla="*/ 86960 h 89591"/>
                  <a:gd name="connsiteX3" fmla="*/ 146348 w 147903"/>
                  <a:gd name="connsiteY3" fmla="*/ 0 h 89591"/>
                </a:gdLst>
                <a:ahLst/>
                <a:cxnLst>
                  <a:cxn ang="0">
                    <a:pos x="connsiteX0" y="connsiteY0"/>
                  </a:cxn>
                  <a:cxn ang="0">
                    <a:pos x="connsiteX1" y="connsiteY1"/>
                  </a:cxn>
                  <a:cxn ang="0">
                    <a:pos x="connsiteX2" y="connsiteY2"/>
                  </a:cxn>
                  <a:cxn ang="0">
                    <a:pos x="connsiteX3" y="connsiteY3"/>
                  </a:cxn>
                </a:cxnLst>
                <a:rect l="l" t="t" r="r" b="b"/>
                <a:pathLst>
                  <a:path w="147903" h="89591">
                    <a:moveTo>
                      <a:pt x="147903" y="2632"/>
                    </a:moveTo>
                    <a:lnTo>
                      <a:pt x="1555" y="89591"/>
                    </a:lnTo>
                    <a:lnTo>
                      <a:pt x="0" y="86960"/>
                    </a:lnTo>
                    <a:lnTo>
                      <a:pt x="146348" y="0"/>
                    </a:lnTo>
                    <a:close/>
                  </a:path>
                </a:pathLst>
              </a:custGeom>
              <a:grpFill/>
              <a:ln w="5978" cap="flat">
                <a:noFill/>
                <a:prstDash val="solid"/>
                <a:miter/>
              </a:ln>
            </p:spPr>
            <p:txBody>
              <a:bodyPr rtlCol="0" anchor="ctr"/>
              <a:lstStyle/>
              <a:p>
                <a:endParaRPr lang="en-GB"/>
              </a:p>
            </p:txBody>
          </p:sp>
          <p:sp>
            <p:nvSpPr>
              <p:cNvPr id="5261" name="Vrije vorm: vorm 5260">
                <a:extLst>
                  <a:ext uri="{FF2B5EF4-FFF2-40B4-BE49-F238E27FC236}">
                    <a16:creationId xmlns:a16="http://schemas.microsoft.com/office/drawing/2014/main" id="{FD4901A9-943F-4DAD-A2AE-C2C97B20C605}"/>
                  </a:ext>
                </a:extLst>
              </p:cNvPr>
              <p:cNvSpPr/>
              <p:nvPr/>
            </p:nvSpPr>
            <p:spPr>
              <a:xfrm>
                <a:off x="7860865" y="2329631"/>
                <a:ext cx="18299" cy="18400"/>
              </a:xfrm>
              <a:custGeom>
                <a:avLst/>
                <a:gdLst>
                  <a:gd name="connsiteX0" fmla="*/ 4462 w 18299"/>
                  <a:gd name="connsiteY0" fmla="*/ 1276 h 18400"/>
                  <a:gd name="connsiteX1" fmla="*/ 17021 w 18299"/>
                  <a:gd name="connsiteY1" fmla="*/ 4506 h 18400"/>
                  <a:gd name="connsiteX2" fmla="*/ 13851 w 18299"/>
                  <a:gd name="connsiteY2" fmla="*/ 17125 h 18400"/>
                  <a:gd name="connsiteX3" fmla="*/ 1292 w 18299"/>
                  <a:gd name="connsiteY3" fmla="*/ 13895 h 18400"/>
                  <a:gd name="connsiteX4" fmla="*/ 4462 w 18299"/>
                  <a:gd name="connsiteY4" fmla="*/ 127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00">
                    <a:moveTo>
                      <a:pt x="4462" y="1276"/>
                    </a:moveTo>
                    <a:cubicBezTo>
                      <a:pt x="8828" y="-1296"/>
                      <a:pt x="14449" y="140"/>
                      <a:pt x="17021" y="4506"/>
                    </a:cubicBezTo>
                    <a:cubicBezTo>
                      <a:pt x="19593" y="8871"/>
                      <a:pt x="18157" y="14553"/>
                      <a:pt x="13851" y="17125"/>
                    </a:cubicBezTo>
                    <a:cubicBezTo>
                      <a:pt x="9485" y="19697"/>
                      <a:pt x="3864" y="18261"/>
                      <a:pt x="1292" y="13895"/>
                    </a:cubicBezTo>
                    <a:cubicBezTo>
                      <a:pt x="-1280" y="9529"/>
                      <a:pt x="96" y="3848"/>
                      <a:pt x="4462" y="1276"/>
                    </a:cubicBezTo>
                    <a:close/>
                  </a:path>
                </a:pathLst>
              </a:custGeom>
              <a:grpFill/>
              <a:ln w="5978" cap="flat">
                <a:noFill/>
                <a:prstDash val="solid"/>
                <a:miter/>
              </a:ln>
            </p:spPr>
            <p:txBody>
              <a:bodyPr rtlCol="0" anchor="ctr"/>
              <a:lstStyle/>
              <a:p>
                <a:endParaRPr lang="en-GB"/>
              </a:p>
            </p:txBody>
          </p:sp>
          <p:sp>
            <p:nvSpPr>
              <p:cNvPr id="5262" name="Vrije vorm: vorm 5261">
                <a:extLst>
                  <a:ext uri="{FF2B5EF4-FFF2-40B4-BE49-F238E27FC236}">
                    <a16:creationId xmlns:a16="http://schemas.microsoft.com/office/drawing/2014/main" id="{4B69D079-77A8-4112-B468-DD697D9C1FB9}"/>
                  </a:ext>
                </a:extLst>
              </p:cNvPr>
              <p:cNvSpPr/>
              <p:nvPr/>
            </p:nvSpPr>
            <p:spPr>
              <a:xfrm>
                <a:off x="7715328" y="2416112"/>
                <a:ext cx="18366" cy="18427"/>
              </a:xfrm>
              <a:custGeom>
                <a:avLst/>
                <a:gdLst>
                  <a:gd name="connsiteX0" fmla="*/ 4488 w 18366"/>
                  <a:gd name="connsiteY0" fmla="*/ 1276 h 18427"/>
                  <a:gd name="connsiteX1" fmla="*/ 1319 w 18366"/>
                  <a:gd name="connsiteY1" fmla="*/ 13895 h 18427"/>
                  <a:gd name="connsiteX2" fmla="*/ 13878 w 18366"/>
                  <a:gd name="connsiteY2" fmla="*/ 17125 h 18427"/>
                  <a:gd name="connsiteX3" fmla="*/ 17048 w 18366"/>
                  <a:gd name="connsiteY3" fmla="*/ 4506 h 18427"/>
                  <a:gd name="connsiteX4" fmla="*/ 4488 w 18366"/>
                  <a:gd name="connsiteY4" fmla="*/ 127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7">
                    <a:moveTo>
                      <a:pt x="4488" y="1276"/>
                    </a:moveTo>
                    <a:cubicBezTo>
                      <a:pt x="122" y="3848"/>
                      <a:pt x="-1313" y="9529"/>
                      <a:pt x="1319" y="13895"/>
                    </a:cubicBezTo>
                    <a:cubicBezTo>
                      <a:pt x="3890" y="18261"/>
                      <a:pt x="9512" y="19757"/>
                      <a:pt x="13878" y="17125"/>
                    </a:cubicBezTo>
                    <a:cubicBezTo>
                      <a:pt x="18244" y="14493"/>
                      <a:pt x="19679" y="8872"/>
                      <a:pt x="17048" y="4506"/>
                    </a:cubicBezTo>
                    <a:cubicBezTo>
                      <a:pt x="14416" y="140"/>
                      <a:pt x="8795" y="-1296"/>
                      <a:pt x="4488" y="1276"/>
                    </a:cubicBezTo>
                    <a:close/>
                  </a:path>
                </a:pathLst>
              </a:custGeom>
              <a:grpFill/>
              <a:ln w="5978" cap="flat">
                <a:noFill/>
                <a:prstDash val="solid"/>
                <a:miter/>
              </a:ln>
            </p:spPr>
            <p:txBody>
              <a:bodyPr rtlCol="0" anchor="ctr"/>
              <a:lstStyle/>
              <a:p>
                <a:endParaRPr lang="en-GB"/>
              </a:p>
            </p:txBody>
          </p:sp>
        </p:grpSp>
        <p:grpSp>
          <p:nvGrpSpPr>
            <p:cNvPr id="38" name="Graphic 3">
              <a:extLst>
                <a:ext uri="{FF2B5EF4-FFF2-40B4-BE49-F238E27FC236}">
                  <a16:creationId xmlns:a16="http://schemas.microsoft.com/office/drawing/2014/main" id="{571A293B-8E89-4E6C-919B-254B19A53D0C}"/>
                </a:ext>
              </a:extLst>
            </p:cNvPr>
            <p:cNvGrpSpPr/>
            <p:nvPr/>
          </p:nvGrpSpPr>
          <p:grpSpPr>
            <a:xfrm>
              <a:off x="7813201" y="2730236"/>
              <a:ext cx="231580" cy="91362"/>
              <a:chOff x="7813201" y="2730236"/>
              <a:chExt cx="231580" cy="91362"/>
            </a:xfrm>
            <a:grpFill/>
          </p:grpSpPr>
          <p:sp>
            <p:nvSpPr>
              <p:cNvPr id="5257" name="Vrije vorm: vorm 5256">
                <a:extLst>
                  <a:ext uri="{FF2B5EF4-FFF2-40B4-BE49-F238E27FC236}">
                    <a16:creationId xmlns:a16="http://schemas.microsoft.com/office/drawing/2014/main" id="{DFAC0620-1B62-42AC-83B9-587B28E099C8}"/>
                  </a:ext>
                </a:extLst>
              </p:cNvPr>
              <p:cNvSpPr/>
              <p:nvPr/>
            </p:nvSpPr>
            <p:spPr>
              <a:xfrm>
                <a:off x="7821201" y="2737459"/>
                <a:ext cx="215100" cy="76165"/>
              </a:xfrm>
              <a:custGeom>
                <a:avLst/>
                <a:gdLst>
                  <a:gd name="connsiteX0" fmla="*/ 0 w 215100"/>
                  <a:gd name="connsiteY0" fmla="*/ 73279 h 76165"/>
                  <a:gd name="connsiteX1" fmla="*/ 214112 w 215100"/>
                  <a:gd name="connsiteY1" fmla="*/ 0 h 76165"/>
                  <a:gd name="connsiteX2" fmla="*/ 215100 w 215100"/>
                  <a:gd name="connsiteY2" fmla="*/ 2886 h 76165"/>
                  <a:gd name="connsiteX3" fmla="*/ 988 w 215100"/>
                  <a:gd name="connsiteY3" fmla="*/ 76165 h 76165"/>
                </a:gdLst>
                <a:ahLst/>
                <a:cxnLst>
                  <a:cxn ang="0">
                    <a:pos x="connsiteX0" y="connsiteY0"/>
                  </a:cxn>
                  <a:cxn ang="0">
                    <a:pos x="connsiteX1" y="connsiteY1"/>
                  </a:cxn>
                  <a:cxn ang="0">
                    <a:pos x="connsiteX2" y="connsiteY2"/>
                  </a:cxn>
                  <a:cxn ang="0">
                    <a:pos x="connsiteX3" y="connsiteY3"/>
                  </a:cxn>
                </a:cxnLst>
                <a:rect l="l" t="t" r="r" b="b"/>
                <a:pathLst>
                  <a:path w="215100" h="76165">
                    <a:moveTo>
                      <a:pt x="0" y="73279"/>
                    </a:moveTo>
                    <a:lnTo>
                      <a:pt x="214112" y="0"/>
                    </a:lnTo>
                    <a:lnTo>
                      <a:pt x="215100" y="2886"/>
                    </a:lnTo>
                    <a:lnTo>
                      <a:pt x="988" y="76165"/>
                    </a:lnTo>
                    <a:close/>
                  </a:path>
                </a:pathLst>
              </a:custGeom>
              <a:grpFill/>
              <a:ln w="5978" cap="flat">
                <a:noFill/>
                <a:prstDash val="solid"/>
                <a:miter/>
              </a:ln>
            </p:spPr>
            <p:txBody>
              <a:bodyPr rtlCol="0" anchor="ctr"/>
              <a:lstStyle/>
              <a:p>
                <a:endParaRPr lang="en-GB"/>
              </a:p>
            </p:txBody>
          </p:sp>
          <p:sp>
            <p:nvSpPr>
              <p:cNvPr id="5258" name="Vrije vorm: vorm 5257">
                <a:extLst>
                  <a:ext uri="{FF2B5EF4-FFF2-40B4-BE49-F238E27FC236}">
                    <a16:creationId xmlns:a16="http://schemas.microsoft.com/office/drawing/2014/main" id="{DC9E8CF9-A0D5-468B-8790-9EA1DC157E1B}"/>
                  </a:ext>
                </a:extLst>
              </p:cNvPr>
              <p:cNvSpPr/>
              <p:nvPr/>
            </p:nvSpPr>
            <p:spPr>
              <a:xfrm>
                <a:off x="8026437" y="2730236"/>
                <a:ext cx="18344" cy="18368"/>
              </a:xfrm>
              <a:custGeom>
                <a:avLst/>
                <a:gdLst>
                  <a:gd name="connsiteX0" fmla="*/ 6170 w 18344"/>
                  <a:gd name="connsiteY0" fmla="*/ 482 h 18368"/>
                  <a:gd name="connsiteX1" fmla="*/ 17832 w 18344"/>
                  <a:gd name="connsiteY1" fmla="*/ 6224 h 18368"/>
                  <a:gd name="connsiteX2" fmla="*/ 12151 w 18344"/>
                  <a:gd name="connsiteY2" fmla="*/ 17886 h 18368"/>
                  <a:gd name="connsiteX3" fmla="*/ 489 w 18344"/>
                  <a:gd name="connsiteY3" fmla="*/ 12145 h 18368"/>
                  <a:gd name="connsiteX4" fmla="*/ 6170 w 18344"/>
                  <a:gd name="connsiteY4" fmla="*/ 482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68">
                    <a:moveTo>
                      <a:pt x="6170" y="482"/>
                    </a:moveTo>
                    <a:cubicBezTo>
                      <a:pt x="10955" y="-1132"/>
                      <a:pt x="16158" y="1439"/>
                      <a:pt x="17832" y="6224"/>
                    </a:cubicBezTo>
                    <a:cubicBezTo>
                      <a:pt x="19507" y="11068"/>
                      <a:pt x="16936" y="16271"/>
                      <a:pt x="12151" y="17886"/>
                    </a:cubicBezTo>
                    <a:cubicBezTo>
                      <a:pt x="7366" y="19501"/>
                      <a:pt x="2163" y="16929"/>
                      <a:pt x="489" y="12145"/>
                    </a:cubicBezTo>
                    <a:cubicBezTo>
                      <a:pt x="-1126" y="7360"/>
                      <a:pt x="1385" y="2157"/>
                      <a:pt x="6170" y="482"/>
                    </a:cubicBezTo>
                    <a:close/>
                  </a:path>
                </a:pathLst>
              </a:custGeom>
              <a:grpFill/>
              <a:ln w="5978" cap="flat">
                <a:noFill/>
                <a:prstDash val="solid"/>
                <a:miter/>
              </a:ln>
            </p:spPr>
            <p:txBody>
              <a:bodyPr rtlCol="0" anchor="ctr"/>
              <a:lstStyle/>
              <a:p>
                <a:endParaRPr lang="en-GB"/>
              </a:p>
            </p:txBody>
          </p:sp>
          <p:sp>
            <p:nvSpPr>
              <p:cNvPr id="5259" name="Vrije vorm: vorm 5258">
                <a:extLst>
                  <a:ext uri="{FF2B5EF4-FFF2-40B4-BE49-F238E27FC236}">
                    <a16:creationId xmlns:a16="http://schemas.microsoft.com/office/drawing/2014/main" id="{D3271F75-5FA9-416E-9675-3A93892BE643}"/>
                  </a:ext>
                </a:extLst>
              </p:cNvPr>
              <p:cNvSpPr/>
              <p:nvPr/>
            </p:nvSpPr>
            <p:spPr>
              <a:xfrm>
                <a:off x="7813201" y="2803200"/>
                <a:ext cx="18368" cy="18397"/>
              </a:xfrm>
              <a:custGeom>
                <a:avLst/>
                <a:gdLst>
                  <a:gd name="connsiteX0" fmla="*/ 6194 w 18368"/>
                  <a:gd name="connsiteY0" fmla="*/ 482 h 18397"/>
                  <a:gd name="connsiteX1" fmla="*/ 512 w 18368"/>
                  <a:gd name="connsiteY1" fmla="*/ 12145 h 18397"/>
                  <a:gd name="connsiteX2" fmla="*/ 12174 w 18368"/>
                  <a:gd name="connsiteY2" fmla="*/ 17886 h 18397"/>
                  <a:gd name="connsiteX3" fmla="*/ 17856 w 18368"/>
                  <a:gd name="connsiteY3" fmla="*/ 6224 h 18397"/>
                  <a:gd name="connsiteX4" fmla="*/ 6194 w 18368"/>
                  <a:gd name="connsiteY4" fmla="*/ 48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397">
                    <a:moveTo>
                      <a:pt x="6194" y="482"/>
                    </a:moveTo>
                    <a:cubicBezTo>
                      <a:pt x="1409" y="2097"/>
                      <a:pt x="-1163" y="7360"/>
                      <a:pt x="512" y="12145"/>
                    </a:cubicBezTo>
                    <a:cubicBezTo>
                      <a:pt x="2187" y="16989"/>
                      <a:pt x="7390" y="19561"/>
                      <a:pt x="12174" y="17886"/>
                    </a:cubicBezTo>
                    <a:cubicBezTo>
                      <a:pt x="16959" y="16271"/>
                      <a:pt x="19530" y="11008"/>
                      <a:pt x="17856" y="6224"/>
                    </a:cubicBezTo>
                    <a:cubicBezTo>
                      <a:pt x="16182" y="1439"/>
                      <a:pt x="10978" y="-1132"/>
                      <a:pt x="6194" y="482"/>
                    </a:cubicBezTo>
                    <a:close/>
                  </a:path>
                </a:pathLst>
              </a:custGeom>
              <a:grpFill/>
              <a:ln w="5978" cap="flat">
                <a:noFill/>
                <a:prstDash val="solid"/>
                <a:miter/>
              </a:ln>
            </p:spPr>
            <p:txBody>
              <a:bodyPr rtlCol="0" anchor="ctr"/>
              <a:lstStyle/>
              <a:p>
                <a:endParaRPr lang="en-GB"/>
              </a:p>
            </p:txBody>
          </p:sp>
        </p:grpSp>
        <p:grpSp>
          <p:nvGrpSpPr>
            <p:cNvPr id="39" name="Graphic 3">
              <a:extLst>
                <a:ext uri="{FF2B5EF4-FFF2-40B4-BE49-F238E27FC236}">
                  <a16:creationId xmlns:a16="http://schemas.microsoft.com/office/drawing/2014/main" id="{B4BE4A19-D4DF-4944-82E3-3F2554D8E1E9}"/>
                </a:ext>
              </a:extLst>
            </p:cNvPr>
            <p:cNvGrpSpPr/>
            <p:nvPr/>
          </p:nvGrpSpPr>
          <p:grpSpPr>
            <a:xfrm>
              <a:off x="7481932" y="1730442"/>
              <a:ext cx="216682" cy="222027"/>
              <a:chOff x="7481932" y="1730442"/>
              <a:chExt cx="216682" cy="222027"/>
            </a:xfrm>
            <a:grpFill/>
          </p:grpSpPr>
          <p:sp>
            <p:nvSpPr>
              <p:cNvPr id="5254" name="Vrije vorm: vorm 5253">
                <a:extLst>
                  <a:ext uri="{FF2B5EF4-FFF2-40B4-BE49-F238E27FC236}">
                    <a16:creationId xmlns:a16="http://schemas.microsoft.com/office/drawing/2014/main" id="{B51FB483-AF74-4C99-AAD1-D77E3733ABAA}"/>
                  </a:ext>
                </a:extLst>
              </p:cNvPr>
              <p:cNvSpPr/>
              <p:nvPr/>
            </p:nvSpPr>
            <p:spPr>
              <a:xfrm>
                <a:off x="7489678" y="1738277"/>
                <a:ext cx="201191" cy="206334"/>
              </a:xfrm>
              <a:custGeom>
                <a:avLst/>
                <a:gdLst>
                  <a:gd name="connsiteX0" fmla="*/ 201192 w 201191"/>
                  <a:gd name="connsiteY0" fmla="*/ 2153 h 206334"/>
                  <a:gd name="connsiteX1" fmla="*/ 2213 w 201191"/>
                  <a:gd name="connsiteY1" fmla="*/ 206335 h 206334"/>
                  <a:gd name="connsiteX2" fmla="*/ 0 w 201191"/>
                  <a:gd name="connsiteY2" fmla="*/ 204182 h 206334"/>
                  <a:gd name="connsiteX3" fmla="*/ 198979 w 201191"/>
                  <a:gd name="connsiteY3" fmla="*/ 0 h 206334"/>
                </a:gdLst>
                <a:ahLst/>
                <a:cxnLst>
                  <a:cxn ang="0">
                    <a:pos x="connsiteX0" y="connsiteY0"/>
                  </a:cxn>
                  <a:cxn ang="0">
                    <a:pos x="connsiteX1" y="connsiteY1"/>
                  </a:cxn>
                  <a:cxn ang="0">
                    <a:pos x="connsiteX2" y="connsiteY2"/>
                  </a:cxn>
                  <a:cxn ang="0">
                    <a:pos x="connsiteX3" y="connsiteY3"/>
                  </a:cxn>
                </a:cxnLst>
                <a:rect l="l" t="t" r="r" b="b"/>
                <a:pathLst>
                  <a:path w="201191" h="206334">
                    <a:moveTo>
                      <a:pt x="201192" y="2153"/>
                    </a:moveTo>
                    <a:lnTo>
                      <a:pt x="2213" y="206335"/>
                    </a:lnTo>
                    <a:lnTo>
                      <a:pt x="0" y="204182"/>
                    </a:lnTo>
                    <a:lnTo>
                      <a:pt x="198979" y="0"/>
                    </a:lnTo>
                    <a:close/>
                  </a:path>
                </a:pathLst>
              </a:custGeom>
              <a:grpFill/>
              <a:ln w="5978" cap="flat">
                <a:noFill/>
                <a:prstDash val="solid"/>
                <a:miter/>
              </a:ln>
            </p:spPr>
            <p:txBody>
              <a:bodyPr rtlCol="0" anchor="ctr"/>
              <a:lstStyle/>
              <a:p>
                <a:endParaRPr lang="en-GB"/>
              </a:p>
            </p:txBody>
          </p:sp>
          <p:sp>
            <p:nvSpPr>
              <p:cNvPr id="5255" name="Vrije vorm: vorm 5254">
                <a:extLst>
                  <a:ext uri="{FF2B5EF4-FFF2-40B4-BE49-F238E27FC236}">
                    <a16:creationId xmlns:a16="http://schemas.microsoft.com/office/drawing/2014/main" id="{C00DA0E9-100D-4A14-9CA0-570B5217E57B}"/>
                  </a:ext>
                </a:extLst>
              </p:cNvPr>
              <p:cNvSpPr/>
              <p:nvPr/>
            </p:nvSpPr>
            <p:spPr>
              <a:xfrm>
                <a:off x="7680275" y="1730442"/>
                <a:ext cx="18340" cy="18421"/>
              </a:xfrm>
              <a:custGeom>
                <a:avLst/>
                <a:gdLst>
                  <a:gd name="connsiteX0" fmla="*/ 2580 w 18340"/>
                  <a:gd name="connsiteY0" fmla="*/ 2751 h 18421"/>
                  <a:gd name="connsiteX1" fmla="*/ 15558 w 18340"/>
                  <a:gd name="connsiteY1" fmla="*/ 2632 h 18421"/>
                  <a:gd name="connsiteX2" fmla="*/ 15738 w 18340"/>
                  <a:gd name="connsiteY2" fmla="*/ 15670 h 18421"/>
                  <a:gd name="connsiteX3" fmla="*/ 2760 w 18340"/>
                  <a:gd name="connsiteY3" fmla="*/ 15789 h 18421"/>
                  <a:gd name="connsiteX4" fmla="*/ 2580 w 18340"/>
                  <a:gd name="connsiteY4" fmla="*/ 27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1">
                    <a:moveTo>
                      <a:pt x="2580" y="2751"/>
                    </a:moveTo>
                    <a:cubicBezTo>
                      <a:pt x="6109" y="-897"/>
                      <a:pt x="11910" y="-897"/>
                      <a:pt x="15558" y="2632"/>
                    </a:cubicBezTo>
                    <a:cubicBezTo>
                      <a:pt x="19207" y="6220"/>
                      <a:pt x="19266" y="12021"/>
                      <a:pt x="15738" y="15670"/>
                    </a:cubicBezTo>
                    <a:cubicBezTo>
                      <a:pt x="12209" y="19318"/>
                      <a:pt x="6408" y="19318"/>
                      <a:pt x="2760" y="15789"/>
                    </a:cubicBezTo>
                    <a:cubicBezTo>
                      <a:pt x="-829" y="12201"/>
                      <a:pt x="-948" y="6400"/>
                      <a:pt x="2580" y="2751"/>
                    </a:cubicBezTo>
                    <a:close/>
                  </a:path>
                </a:pathLst>
              </a:custGeom>
              <a:grpFill/>
              <a:ln w="5978" cap="flat">
                <a:noFill/>
                <a:prstDash val="solid"/>
                <a:miter/>
              </a:ln>
            </p:spPr>
            <p:txBody>
              <a:bodyPr rtlCol="0" anchor="ctr"/>
              <a:lstStyle/>
              <a:p>
                <a:endParaRPr lang="en-GB"/>
              </a:p>
            </p:txBody>
          </p:sp>
          <p:sp>
            <p:nvSpPr>
              <p:cNvPr id="5256" name="Vrije vorm: vorm 5255">
                <a:extLst>
                  <a:ext uri="{FF2B5EF4-FFF2-40B4-BE49-F238E27FC236}">
                    <a16:creationId xmlns:a16="http://schemas.microsoft.com/office/drawing/2014/main" id="{9A4CE151-B53A-4CBA-A577-07D63CE72FBA}"/>
                  </a:ext>
                </a:extLst>
              </p:cNvPr>
              <p:cNvSpPr/>
              <p:nvPr/>
            </p:nvSpPr>
            <p:spPr>
              <a:xfrm>
                <a:off x="7481932" y="1934003"/>
                <a:ext cx="18362" cy="18466"/>
              </a:xfrm>
              <a:custGeom>
                <a:avLst/>
                <a:gdLst>
                  <a:gd name="connsiteX0" fmla="*/ 2602 w 18362"/>
                  <a:gd name="connsiteY0" fmla="*/ 2774 h 18466"/>
                  <a:gd name="connsiteX1" fmla="*/ 2782 w 18362"/>
                  <a:gd name="connsiteY1" fmla="*/ 15812 h 18466"/>
                  <a:gd name="connsiteX2" fmla="*/ 15759 w 18362"/>
                  <a:gd name="connsiteY2" fmla="*/ 15692 h 18466"/>
                  <a:gd name="connsiteX3" fmla="*/ 15581 w 18362"/>
                  <a:gd name="connsiteY3" fmla="*/ 2654 h 18466"/>
                  <a:gd name="connsiteX4" fmla="*/ 2602 w 18362"/>
                  <a:gd name="connsiteY4" fmla="*/ 277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66">
                    <a:moveTo>
                      <a:pt x="2602" y="2774"/>
                    </a:moveTo>
                    <a:cubicBezTo>
                      <a:pt x="-926" y="6422"/>
                      <a:pt x="-866" y="12224"/>
                      <a:pt x="2782" y="15812"/>
                    </a:cubicBezTo>
                    <a:cubicBezTo>
                      <a:pt x="6430" y="19400"/>
                      <a:pt x="12231" y="19341"/>
                      <a:pt x="15759" y="15692"/>
                    </a:cubicBezTo>
                    <a:cubicBezTo>
                      <a:pt x="19289" y="12044"/>
                      <a:pt x="19229" y="6243"/>
                      <a:pt x="15581" y="2654"/>
                    </a:cubicBezTo>
                    <a:cubicBezTo>
                      <a:pt x="11932" y="-934"/>
                      <a:pt x="6131" y="-874"/>
                      <a:pt x="2602" y="2774"/>
                    </a:cubicBezTo>
                    <a:close/>
                  </a:path>
                </a:pathLst>
              </a:custGeom>
              <a:grpFill/>
              <a:ln w="5978" cap="flat">
                <a:noFill/>
                <a:prstDash val="solid"/>
                <a:miter/>
              </a:ln>
            </p:spPr>
            <p:txBody>
              <a:bodyPr rtlCol="0" anchor="ctr"/>
              <a:lstStyle/>
              <a:p>
                <a:endParaRPr lang="en-GB"/>
              </a:p>
            </p:txBody>
          </p:sp>
        </p:grpSp>
        <p:grpSp>
          <p:nvGrpSpPr>
            <p:cNvPr id="40" name="Graphic 3">
              <a:extLst>
                <a:ext uri="{FF2B5EF4-FFF2-40B4-BE49-F238E27FC236}">
                  <a16:creationId xmlns:a16="http://schemas.microsoft.com/office/drawing/2014/main" id="{9802C21E-A783-4BC6-85C7-AF6E21DD59E0}"/>
                </a:ext>
              </a:extLst>
            </p:cNvPr>
            <p:cNvGrpSpPr/>
            <p:nvPr/>
          </p:nvGrpSpPr>
          <p:grpSpPr>
            <a:xfrm>
              <a:off x="8028608" y="3198478"/>
              <a:ext cx="31803" cy="19840"/>
              <a:chOff x="8028608" y="3198478"/>
              <a:chExt cx="31803" cy="19840"/>
            </a:xfrm>
            <a:grpFill/>
          </p:grpSpPr>
          <p:sp>
            <p:nvSpPr>
              <p:cNvPr id="5251" name="Vrije vorm: vorm 5250">
                <a:extLst>
                  <a:ext uri="{FF2B5EF4-FFF2-40B4-BE49-F238E27FC236}">
                    <a16:creationId xmlns:a16="http://schemas.microsoft.com/office/drawing/2014/main" id="{0990BFF9-8E9E-4219-A881-D58A8C9E451E}"/>
                  </a:ext>
                </a:extLst>
              </p:cNvPr>
              <p:cNvSpPr/>
              <p:nvPr/>
            </p:nvSpPr>
            <p:spPr>
              <a:xfrm>
                <a:off x="8037153" y="3206125"/>
                <a:ext cx="14712" cy="4545"/>
              </a:xfrm>
              <a:custGeom>
                <a:avLst/>
                <a:gdLst>
                  <a:gd name="connsiteX0" fmla="*/ 14414 w 14712"/>
                  <a:gd name="connsiteY0" fmla="*/ 0 h 4545"/>
                  <a:gd name="connsiteX1" fmla="*/ 14712 w 14712"/>
                  <a:gd name="connsiteY1" fmla="*/ 3050 h 4545"/>
                  <a:gd name="connsiteX2" fmla="*/ 358 w 14712"/>
                  <a:gd name="connsiteY2" fmla="*/ 4545 h 4545"/>
                  <a:gd name="connsiteX3" fmla="*/ 0 w 14712"/>
                  <a:gd name="connsiteY3" fmla="*/ 1495 h 4545"/>
                </a:gdLst>
                <a:ahLst/>
                <a:cxnLst>
                  <a:cxn ang="0">
                    <a:pos x="connsiteX0" y="connsiteY0"/>
                  </a:cxn>
                  <a:cxn ang="0">
                    <a:pos x="connsiteX1" y="connsiteY1"/>
                  </a:cxn>
                  <a:cxn ang="0">
                    <a:pos x="connsiteX2" y="connsiteY2"/>
                  </a:cxn>
                  <a:cxn ang="0">
                    <a:pos x="connsiteX3" y="connsiteY3"/>
                  </a:cxn>
                </a:cxnLst>
                <a:rect l="l" t="t" r="r" b="b"/>
                <a:pathLst>
                  <a:path w="14712" h="4545">
                    <a:moveTo>
                      <a:pt x="14414" y="0"/>
                    </a:moveTo>
                    <a:lnTo>
                      <a:pt x="14712" y="3050"/>
                    </a:lnTo>
                    <a:lnTo>
                      <a:pt x="358" y="4545"/>
                    </a:lnTo>
                    <a:lnTo>
                      <a:pt x="0" y="1495"/>
                    </a:lnTo>
                    <a:close/>
                  </a:path>
                </a:pathLst>
              </a:custGeom>
              <a:grpFill/>
              <a:ln w="5978" cap="flat">
                <a:noFill/>
                <a:prstDash val="solid"/>
                <a:miter/>
              </a:ln>
            </p:spPr>
            <p:txBody>
              <a:bodyPr rtlCol="0" anchor="ctr"/>
              <a:lstStyle/>
              <a:p>
                <a:endParaRPr lang="en-GB"/>
              </a:p>
            </p:txBody>
          </p:sp>
          <p:sp>
            <p:nvSpPr>
              <p:cNvPr id="5252" name="Vrije vorm: vorm 5251">
                <a:extLst>
                  <a:ext uri="{FF2B5EF4-FFF2-40B4-BE49-F238E27FC236}">
                    <a16:creationId xmlns:a16="http://schemas.microsoft.com/office/drawing/2014/main" id="{A1326DB7-D94A-4BA3-8357-5790899625B4}"/>
                  </a:ext>
                </a:extLst>
              </p:cNvPr>
              <p:cNvSpPr/>
              <p:nvPr/>
            </p:nvSpPr>
            <p:spPr>
              <a:xfrm>
                <a:off x="8042064" y="3198478"/>
                <a:ext cx="18346" cy="18404"/>
              </a:xfrm>
              <a:custGeom>
                <a:avLst/>
                <a:gdLst>
                  <a:gd name="connsiteX0" fmla="*/ 8186 w 18346"/>
                  <a:gd name="connsiteY0" fmla="*/ 52 h 18404"/>
                  <a:gd name="connsiteX1" fmla="*/ 18294 w 18346"/>
                  <a:gd name="connsiteY1" fmla="*/ 8246 h 18404"/>
                  <a:gd name="connsiteX2" fmla="*/ 10160 w 18346"/>
                  <a:gd name="connsiteY2" fmla="*/ 18353 h 18404"/>
                  <a:gd name="connsiteX3" fmla="*/ 53 w 18346"/>
                  <a:gd name="connsiteY3" fmla="*/ 10159 h 18404"/>
                  <a:gd name="connsiteX4" fmla="*/ 8186 w 18346"/>
                  <a:gd name="connsiteY4" fmla="*/ 52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4">
                    <a:moveTo>
                      <a:pt x="8186" y="52"/>
                    </a:moveTo>
                    <a:cubicBezTo>
                      <a:pt x="13211" y="-486"/>
                      <a:pt x="17756" y="3222"/>
                      <a:pt x="18294" y="8246"/>
                    </a:cubicBezTo>
                    <a:cubicBezTo>
                      <a:pt x="18832" y="13329"/>
                      <a:pt x="15184" y="17815"/>
                      <a:pt x="10160" y="18353"/>
                    </a:cubicBezTo>
                    <a:cubicBezTo>
                      <a:pt x="5136" y="18891"/>
                      <a:pt x="591" y="15183"/>
                      <a:pt x="53" y="10159"/>
                    </a:cubicBezTo>
                    <a:cubicBezTo>
                      <a:pt x="-485" y="5136"/>
                      <a:pt x="3163" y="590"/>
                      <a:pt x="8186" y="52"/>
                    </a:cubicBezTo>
                    <a:close/>
                  </a:path>
                </a:pathLst>
              </a:custGeom>
              <a:grpFill/>
              <a:ln w="5978" cap="flat">
                <a:noFill/>
                <a:prstDash val="solid"/>
                <a:miter/>
              </a:ln>
            </p:spPr>
            <p:txBody>
              <a:bodyPr rtlCol="0" anchor="ctr"/>
              <a:lstStyle/>
              <a:p>
                <a:endParaRPr lang="en-GB"/>
              </a:p>
            </p:txBody>
          </p:sp>
          <p:sp>
            <p:nvSpPr>
              <p:cNvPr id="5253" name="Vrije vorm: vorm 5252">
                <a:extLst>
                  <a:ext uri="{FF2B5EF4-FFF2-40B4-BE49-F238E27FC236}">
                    <a16:creationId xmlns:a16="http://schemas.microsoft.com/office/drawing/2014/main" id="{8F709F46-698A-4146-A4A8-4734D4677C05}"/>
                  </a:ext>
                </a:extLst>
              </p:cNvPr>
              <p:cNvSpPr/>
              <p:nvPr/>
            </p:nvSpPr>
            <p:spPr>
              <a:xfrm>
                <a:off x="8028608" y="3199913"/>
                <a:ext cx="18346" cy="18405"/>
              </a:xfrm>
              <a:custGeom>
                <a:avLst/>
                <a:gdLst>
                  <a:gd name="connsiteX0" fmla="*/ 8186 w 18346"/>
                  <a:gd name="connsiteY0" fmla="*/ 52 h 18405"/>
                  <a:gd name="connsiteX1" fmla="*/ 53 w 18346"/>
                  <a:gd name="connsiteY1" fmla="*/ 10159 h 18405"/>
                  <a:gd name="connsiteX2" fmla="*/ 10160 w 18346"/>
                  <a:gd name="connsiteY2" fmla="*/ 18353 h 18405"/>
                  <a:gd name="connsiteX3" fmla="*/ 18294 w 18346"/>
                  <a:gd name="connsiteY3" fmla="*/ 8246 h 18405"/>
                  <a:gd name="connsiteX4" fmla="*/ 8186 w 18346"/>
                  <a:gd name="connsiteY4" fmla="*/ 5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5">
                    <a:moveTo>
                      <a:pt x="8186" y="52"/>
                    </a:moveTo>
                    <a:cubicBezTo>
                      <a:pt x="3163" y="590"/>
                      <a:pt x="-485" y="5136"/>
                      <a:pt x="53" y="10159"/>
                    </a:cubicBezTo>
                    <a:cubicBezTo>
                      <a:pt x="591" y="15243"/>
                      <a:pt x="5136" y="18891"/>
                      <a:pt x="10160" y="18353"/>
                    </a:cubicBezTo>
                    <a:cubicBezTo>
                      <a:pt x="15184" y="17815"/>
                      <a:pt x="18832" y="13269"/>
                      <a:pt x="18294" y="8246"/>
                    </a:cubicBezTo>
                    <a:cubicBezTo>
                      <a:pt x="17756" y="3222"/>
                      <a:pt x="13211" y="-486"/>
                      <a:pt x="8186" y="52"/>
                    </a:cubicBezTo>
                    <a:close/>
                  </a:path>
                </a:pathLst>
              </a:custGeom>
              <a:grpFill/>
              <a:ln w="5978" cap="flat">
                <a:noFill/>
                <a:prstDash val="solid"/>
                <a:miter/>
              </a:ln>
            </p:spPr>
            <p:txBody>
              <a:bodyPr rtlCol="0" anchor="ctr"/>
              <a:lstStyle/>
              <a:p>
                <a:endParaRPr lang="en-GB"/>
              </a:p>
            </p:txBody>
          </p:sp>
        </p:grpSp>
        <p:grpSp>
          <p:nvGrpSpPr>
            <p:cNvPr id="41" name="Graphic 3">
              <a:extLst>
                <a:ext uri="{FF2B5EF4-FFF2-40B4-BE49-F238E27FC236}">
                  <a16:creationId xmlns:a16="http://schemas.microsoft.com/office/drawing/2014/main" id="{DEE12B2E-0301-4CBD-998C-22F24AFA4C82}"/>
                </a:ext>
              </a:extLst>
            </p:cNvPr>
            <p:cNvGrpSpPr/>
            <p:nvPr/>
          </p:nvGrpSpPr>
          <p:grpSpPr>
            <a:xfrm>
              <a:off x="7871048" y="2922619"/>
              <a:ext cx="212599" cy="65111"/>
              <a:chOff x="7871048" y="2922619"/>
              <a:chExt cx="212599" cy="65111"/>
            </a:xfrm>
            <a:grpFill/>
          </p:grpSpPr>
          <p:sp>
            <p:nvSpPr>
              <p:cNvPr id="5248" name="Vrije vorm: vorm 5247">
                <a:extLst>
                  <a:ext uri="{FF2B5EF4-FFF2-40B4-BE49-F238E27FC236}">
                    <a16:creationId xmlns:a16="http://schemas.microsoft.com/office/drawing/2014/main" id="{7DD29244-2082-49AF-BC90-4BF344D0F1D3}"/>
                  </a:ext>
                </a:extLst>
              </p:cNvPr>
              <p:cNvSpPr/>
              <p:nvPr/>
            </p:nvSpPr>
            <p:spPr>
              <a:xfrm>
                <a:off x="7879177" y="2930067"/>
                <a:ext cx="195807" cy="49838"/>
              </a:xfrm>
              <a:custGeom>
                <a:avLst/>
                <a:gdLst>
                  <a:gd name="connsiteX0" fmla="*/ 0 w 195807"/>
                  <a:gd name="connsiteY0" fmla="*/ 46873 h 49838"/>
                  <a:gd name="connsiteX1" fmla="*/ 195095 w 195807"/>
                  <a:gd name="connsiteY1" fmla="*/ 0 h 49838"/>
                  <a:gd name="connsiteX2" fmla="*/ 195808 w 195807"/>
                  <a:gd name="connsiteY2" fmla="*/ 2966 h 49838"/>
                  <a:gd name="connsiteX3" fmla="*/ 712 w 195807"/>
                  <a:gd name="connsiteY3" fmla="*/ 49838 h 49838"/>
                </a:gdLst>
                <a:ahLst/>
                <a:cxnLst>
                  <a:cxn ang="0">
                    <a:pos x="connsiteX0" y="connsiteY0"/>
                  </a:cxn>
                  <a:cxn ang="0">
                    <a:pos x="connsiteX1" y="connsiteY1"/>
                  </a:cxn>
                  <a:cxn ang="0">
                    <a:pos x="connsiteX2" y="connsiteY2"/>
                  </a:cxn>
                  <a:cxn ang="0">
                    <a:pos x="connsiteX3" y="connsiteY3"/>
                  </a:cxn>
                </a:cxnLst>
                <a:rect l="l" t="t" r="r" b="b"/>
                <a:pathLst>
                  <a:path w="195807" h="49838">
                    <a:moveTo>
                      <a:pt x="0" y="46873"/>
                    </a:moveTo>
                    <a:lnTo>
                      <a:pt x="195095" y="0"/>
                    </a:lnTo>
                    <a:lnTo>
                      <a:pt x="195808" y="2966"/>
                    </a:lnTo>
                    <a:lnTo>
                      <a:pt x="712" y="49838"/>
                    </a:lnTo>
                    <a:close/>
                  </a:path>
                </a:pathLst>
              </a:custGeom>
              <a:grpFill/>
              <a:ln w="5978" cap="flat">
                <a:noFill/>
                <a:prstDash val="solid"/>
                <a:miter/>
              </a:ln>
            </p:spPr>
            <p:txBody>
              <a:bodyPr rtlCol="0" anchor="ctr"/>
              <a:lstStyle/>
              <a:p>
                <a:endParaRPr lang="en-GB"/>
              </a:p>
            </p:txBody>
          </p:sp>
          <p:sp>
            <p:nvSpPr>
              <p:cNvPr id="5249" name="Vrije vorm: vorm 5248">
                <a:extLst>
                  <a:ext uri="{FF2B5EF4-FFF2-40B4-BE49-F238E27FC236}">
                    <a16:creationId xmlns:a16="http://schemas.microsoft.com/office/drawing/2014/main" id="{8DA66D11-F3DA-4400-895F-B60D605D3761}"/>
                  </a:ext>
                </a:extLst>
              </p:cNvPr>
              <p:cNvSpPr/>
              <p:nvPr/>
            </p:nvSpPr>
            <p:spPr>
              <a:xfrm>
                <a:off x="8065298" y="2922619"/>
                <a:ext cx="18348" cy="18461"/>
              </a:xfrm>
              <a:custGeom>
                <a:avLst/>
                <a:gdLst>
                  <a:gd name="connsiteX0" fmla="*/ 7022 w 18348"/>
                  <a:gd name="connsiteY0" fmla="*/ 260 h 18461"/>
                  <a:gd name="connsiteX1" fmla="*/ 18086 w 18348"/>
                  <a:gd name="connsiteY1" fmla="*/ 7078 h 18461"/>
                  <a:gd name="connsiteX2" fmla="*/ 11328 w 18348"/>
                  <a:gd name="connsiteY2" fmla="*/ 18202 h 18461"/>
                  <a:gd name="connsiteX3" fmla="*/ 263 w 18348"/>
                  <a:gd name="connsiteY3" fmla="*/ 11384 h 18461"/>
                  <a:gd name="connsiteX4" fmla="*/ 7022 w 18348"/>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61">
                    <a:moveTo>
                      <a:pt x="7022" y="260"/>
                    </a:moveTo>
                    <a:cubicBezTo>
                      <a:pt x="11925" y="-937"/>
                      <a:pt x="16890" y="2114"/>
                      <a:pt x="18086" y="7078"/>
                    </a:cubicBezTo>
                    <a:cubicBezTo>
                      <a:pt x="19282" y="12042"/>
                      <a:pt x="16291" y="17006"/>
                      <a:pt x="11328" y="18202"/>
                    </a:cubicBezTo>
                    <a:cubicBezTo>
                      <a:pt x="6424" y="19398"/>
                      <a:pt x="1459" y="16348"/>
                      <a:pt x="263" y="11384"/>
                    </a:cubicBezTo>
                    <a:cubicBezTo>
                      <a:pt x="-933" y="6420"/>
                      <a:pt x="2057" y="1396"/>
                      <a:pt x="7022" y="260"/>
                    </a:cubicBezTo>
                    <a:close/>
                  </a:path>
                </a:pathLst>
              </a:custGeom>
              <a:grpFill/>
              <a:ln w="5978" cap="flat">
                <a:noFill/>
                <a:prstDash val="solid"/>
                <a:miter/>
              </a:ln>
            </p:spPr>
            <p:txBody>
              <a:bodyPr rtlCol="0" anchor="ctr"/>
              <a:lstStyle/>
              <a:p>
                <a:endParaRPr lang="en-GB"/>
              </a:p>
            </p:txBody>
          </p:sp>
          <p:sp>
            <p:nvSpPr>
              <p:cNvPr id="5250" name="Vrije vorm: vorm 5249">
                <a:extLst>
                  <a:ext uri="{FF2B5EF4-FFF2-40B4-BE49-F238E27FC236}">
                    <a16:creationId xmlns:a16="http://schemas.microsoft.com/office/drawing/2014/main" id="{89E815C4-44B2-4D52-BD8C-56903633B898}"/>
                  </a:ext>
                </a:extLst>
              </p:cNvPr>
              <p:cNvSpPr/>
              <p:nvPr/>
            </p:nvSpPr>
            <p:spPr>
              <a:xfrm>
                <a:off x="7871048" y="2969268"/>
                <a:ext cx="18342" cy="18461"/>
              </a:xfrm>
              <a:custGeom>
                <a:avLst/>
                <a:gdLst>
                  <a:gd name="connsiteX0" fmla="*/ 7018 w 18342"/>
                  <a:gd name="connsiteY0" fmla="*/ 260 h 18461"/>
                  <a:gd name="connsiteX1" fmla="*/ 260 w 18342"/>
                  <a:gd name="connsiteY1" fmla="*/ 11384 h 18461"/>
                  <a:gd name="connsiteX2" fmla="*/ 11324 w 18342"/>
                  <a:gd name="connsiteY2" fmla="*/ 18202 h 18461"/>
                  <a:gd name="connsiteX3" fmla="*/ 18082 w 18342"/>
                  <a:gd name="connsiteY3" fmla="*/ 7078 h 18461"/>
                  <a:gd name="connsiteX4" fmla="*/ 7018 w 18342"/>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1">
                    <a:moveTo>
                      <a:pt x="7018" y="260"/>
                    </a:moveTo>
                    <a:cubicBezTo>
                      <a:pt x="2114" y="1456"/>
                      <a:pt x="-937" y="6420"/>
                      <a:pt x="260" y="11384"/>
                    </a:cubicBezTo>
                    <a:cubicBezTo>
                      <a:pt x="1456" y="16348"/>
                      <a:pt x="6420" y="19398"/>
                      <a:pt x="11324" y="18202"/>
                    </a:cubicBezTo>
                    <a:cubicBezTo>
                      <a:pt x="16228" y="17006"/>
                      <a:pt x="19278" y="12042"/>
                      <a:pt x="18082" y="7078"/>
                    </a:cubicBezTo>
                    <a:cubicBezTo>
                      <a:pt x="16886" y="2114"/>
                      <a:pt x="11922" y="-936"/>
                      <a:pt x="7018" y="260"/>
                    </a:cubicBezTo>
                    <a:close/>
                  </a:path>
                </a:pathLst>
              </a:custGeom>
              <a:grpFill/>
              <a:ln w="5978" cap="flat">
                <a:noFill/>
                <a:prstDash val="solid"/>
                <a:miter/>
              </a:ln>
            </p:spPr>
            <p:txBody>
              <a:bodyPr rtlCol="0" anchor="ctr"/>
              <a:lstStyle/>
              <a:p>
                <a:endParaRPr lang="en-GB"/>
              </a:p>
            </p:txBody>
          </p:sp>
        </p:grpSp>
        <p:grpSp>
          <p:nvGrpSpPr>
            <p:cNvPr id="42" name="Graphic 3">
              <a:extLst>
                <a:ext uri="{FF2B5EF4-FFF2-40B4-BE49-F238E27FC236}">
                  <a16:creationId xmlns:a16="http://schemas.microsoft.com/office/drawing/2014/main" id="{1D574070-BE00-42F8-9FEB-C39B7B787951}"/>
                </a:ext>
              </a:extLst>
            </p:cNvPr>
            <p:cNvGrpSpPr/>
            <p:nvPr/>
          </p:nvGrpSpPr>
          <p:grpSpPr>
            <a:xfrm>
              <a:off x="7643100" y="2244223"/>
              <a:ext cx="222389" cy="150254"/>
              <a:chOff x="7643100" y="2244223"/>
              <a:chExt cx="222389" cy="150254"/>
            </a:xfrm>
            <a:grpFill/>
          </p:grpSpPr>
          <p:sp>
            <p:nvSpPr>
              <p:cNvPr id="5245" name="Vrije vorm: vorm 5244">
                <a:extLst>
                  <a:ext uri="{FF2B5EF4-FFF2-40B4-BE49-F238E27FC236}">
                    <a16:creationId xmlns:a16="http://schemas.microsoft.com/office/drawing/2014/main" id="{86144383-32D3-4870-B99C-B58CA5C2F8BE}"/>
                  </a:ext>
                </a:extLst>
              </p:cNvPr>
              <p:cNvSpPr/>
              <p:nvPr/>
            </p:nvSpPr>
            <p:spPr>
              <a:xfrm>
                <a:off x="7651037" y="2251901"/>
                <a:ext cx="206514" cy="134925"/>
              </a:xfrm>
              <a:custGeom>
                <a:avLst/>
                <a:gdLst>
                  <a:gd name="connsiteX0" fmla="*/ 206515 w 206514"/>
                  <a:gd name="connsiteY0" fmla="*/ 2572 h 134925"/>
                  <a:gd name="connsiteX1" fmla="*/ 1675 w 206514"/>
                  <a:gd name="connsiteY1" fmla="*/ 134925 h 134925"/>
                  <a:gd name="connsiteX2" fmla="*/ 0 w 206514"/>
                  <a:gd name="connsiteY2" fmla="*/ 132353 h 134925"/>
                  <a:gd name="connsiteX3" fmla="*/ 204840 w 206514"/>
                  <a:gd name="connsiteY3" fmla="*/ 0 h 134925"/>
                </a:gdLst>
                <a:ahLst/>
                <a:cxnLst>
                  <a:cxn ang="0">
                    <a:pos x="connsiteX0" y="connsiteY0"/>
                  </a:cxn>
                  <a:cxn ang="0">
                    <a:pos x="connsiteX1" y="connsiteY1"/>
                  </a:cxn>
                  <a:cxn ang="0">
                    <a:pos x="connsiteX2" y="connsiteY2"/>
                  </a:cxn>
                  <a:cxn ang="0">
                    <a:pos x="connsiteX3" y="connsiteY3"/>
                  </a:cxn>
                </a:cxnLst>
                <a:rect l="l" t="t" r="r" b="b"/>
                <a:pathLst>
                  <a:path w="206514" h="134925">
                    <a:moveTo>
                      <a:pt x="206515" y="2572"/>
                    </a:moveTo>
                    <a:lnTo>
                      <a:pt x="1675" y="134925"/>
                    </a:lnTo>
                    <a:lnTo>
                      <a:pt x="0" y="132353"/>
                    </a:lnTo>
                    <a:lnTo>
                      <a:pt x="204840" y="0"/>
                    </a:lnTo>
                    <a:close/>
                  </a:path>
                </a:pathLst>
              </a:custGeom>
              <a:grpFill/>
              <a:ln w="5978" cap="flat">
                <a:noFill/>
                <a:prstDash val="solid"/>
                <a:miter/>
              </a:ln>
            </p:spPr>
            <p:txBody>
              <a:bodyPr rtlCol="0" anchor="ctr"/>
              <a:lstStyle/>
              <a:p>
                <a:endParaRPr lang="en-GB"/>
              </a:p>
            </p:txBody>
          </p:sp>
          <p:sp>
            <p:nvSpPr>
              <p:cNvPr id="5246" name="Vrije vorm: vorm 5245">
                <a:extLst>
                  <a:ext uri="{FF2B5EF4-FFF2-40B4-BE49-F238E27FC236}">
                    <a16:creationId xmlns:a16="http://schemas.microsoft.com/office/drawing/2014/main" id="{1B1AE85B-13E9-4B26-85F8-3D4175F5D88F}"/>
                  </a:ext>
                </a:extLst>
              </p:cNvPr>
              <p:cNvSpPr/>
              <p:nvPr/>
            </p:nvSpPr>
            <p:spPr>
              <a:xfrm>
                <a:off x="7847162" y="2244223"/>
                <a:ext cx="18327" cy="18465"/>
              </a:xfrm>
              <a:custGeom>
                <a:avLst/>
                <a:gdLst>
                  <a:gd name="connsiteX0" fmla="*/ 4169 w 18327"/>
                  <a:gd name="connsiteY0" fmla="*/ 1458 h 18465"/>
                  <a:gd name="connsiteX1" fmla="*/ 16849 w 18327"/>
                  <a:gd name="connsiteY1" fmla="*/ 4269 h 18465"/>
                  <a:gd name="connsiteX2" fmla="*/ 14158 w 18327"/>
                  <a:gd name="connsiteY2" fmla="*/ 17008 h 18465"/>
                  <a:gd name="connsiteX3" fmla="*/ 1478 w 18327"/>
                  <a:gd name="connsiteY3" fmla="*/ 14197 h 18465"/>
                  <a:gd name="connsiteX4" fmla="*/ 4169 w 18327"/>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5">
                    <a:moveTo>
                      <a:pt x="4169" y="1458"/>
                    </a:moveTo>
                    <a:cubicBezTo>
                      <a:pt x="8416" y="-1293"/>
                      <a:pt x="14098" y="-37"/>
                      <a:pt x="16849" y="4269"/>
                    </a:cubicBezTo>
                    <a:cubicBezTo>
                      <a:pt x="19600" y="8575"/>
                      <a:pt x="18404" y="14257"/>
                      <a:pt x="14158" y="17008"/>
                    </a:cubicBezTo>
                    <a:cubicBezTo>
                      <a:pt x="9911" y="19759"/>
                      <a:pt x="4229" y="18503"/>
                      <a:pt x="1478" y="14197"/>
                    </a:cubicBezTo>
                    <a:cubicBezTo>
                      <a:pt x="-1272" y="9891"/>
                      <a:pt x="-77" y="4209"/>
                      <a:pt x="4169" y="1458"/>
                    </a:cubicBezTo>
                    <a:close/>
                  </a:path>
                </a:pathLst>
              </a:custGeom>
              <a:grpFill/>
              <a:ln w="5978" cap="flat">
                <a:noFill/>
                <a:prstDash val="solid"/>
                <a:miter/>
              </a:ln>
            </p:spPr>
            <p:txBody>
              <a:bodyPr rtlCol="0" anchor="ctr"/>
              <a:lstStyle/>
              <a:p>
                <a:endParaRPr lang="en-GB"/>
              </a:p>
            </p:txBody>
          </p:sp>
          <p:sp>
            <p:nvSpPr>
              <p:cNvPr id="5247" name="Vrije vorm: vorm 5246">
                <a:extLst>
                  <a:ext uri="{FF2B5EF4-FFF2-40B4-BE49-F238E27FC236}">
                    <a16:creationId xmlns:a16="http://schemas.microsoft.com/office/drawing/2014/main" id="{62604E73-C2DC-4B0C-A509-CDA22E4659F0}"/>
                  </a:ext>
                </a:extLst>
              </p:cNvPr>
              <p:cNvSpPr/>
              <p:nvPr/>
            </p:nvSpPr>
            <p:spPr>
              <a:xfrm>
                <a:off x="7643100" y="2376039"/>
                <a:ext cx="18327" cy="18439"/>
              </a:xfrm>
              <a:custGeom>
                <a:avLst/>
                <a:gdLst>
                  <a:gd name="connsiteX0" fmla="*/ 4169 w 18327"/>
                  <a:gd name="connsiteY0" fmla="*/ 1458 h 18439"/>
                  <a:gd name="connsiteX1" fmla="*/ 1478 w 18327"/>
                  <a:gd name="connsiteY1" fmla="*/ 14197 h 18439"/>
                  <a:gd name="connsiteX2" fmla="*/ 14158 w 18327"/>
                  <a:gd name="connsiteY2" fmla="*/ 17008 h 18439"/>
                  <a:gd name="connsiteX3" fmla="*/ 16849 w 18327"/>
                  <a:gd name="connsiteY3" fmla="*/ 4269 h 18439"/>
                  <a:gd name="connsiteX4" fmla="*/ 4169 w 18327"/>
                  <a:gd name="connsiteY4" fmla="*/ 1458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9">
                    <a:moveTo>
                      <a:pt x="4169" y="1458"/>
                    </a:moveTo>
                    <a:cubicBezTo>
                      <a:pt x="-77" y="4209"/>
                      <a:pt x="-1272" y="9891"/>
                      <a:pt x="1478" y="14197"/>
                    </a:cubicBezTo>
                    <a:cubicBezTo>
                      <a:pt x="4229" y="18503"/>
                      <a:pt x="9911" y="19699"/>
                      <a:pt x="14158" y="17008"/>
                    </a:cubicBezTo>
                    <a:cubicBezTo>
                      <a:pt x="18404" y="14257"/>
                      <a:pt x="19600" y="8575"/>
                      <a:pt x="16849" y="4269"/>
                    </a:cubicBezTo>
                    <a:cubicBezTo>
                      <a:pt x="14098" y="-37"/>
                      <a:pt x="8476" y="-1293"/>
                      <a:pt x="4169" y="1458"/>
                    </a:cubicBezTo>
                    <a:close/>
                  </a:path>
                </a:pathLst>
              </a:custGeom>
              <a:grpFill/>
              <a:ln w="5978" cap="flat">
                <a:noFill/>
                <a:prstDash val="solid"/>
                <a:miter/>
              </a:ln>
            </p:spPr>
            <p:txBody>
              <a:bodyPr rtlCol="0" anchor="ctr"/>
              <a:lstStyle/>
              <a:p>
                <a:endParaRPr lang="en-GB"/>
              </a:p>
            </p:txBody>
          </p:sp>
        </p:grpSp>
        <p:grpSp>
          <p:nvGrpSpPr>
            <p:cNvPr id="43" name="Graphic 3">
              <a:extLst>
                <a:ext uri="{FF2B5EF4-FFF2-40B4-BE49-F238E27FC236}">
                  <a16:creationId xmlns:a16="http://schemas.microsoft.com/office/drawing/2014/main" id="{801B5D1C-9378-4403-8A25-24DB6720D2E4}"/>
                </a:ext>
              </a:extLst>
            </p:cNvPr>
            <p:cNvGrpSpPr/>
            <p:nvPr/>
          </p:nvGrpSpPr>
          <p:grpSpPr>
            <a:xfrm>
              <a:off x="7681654" y="2148452"/>
              <a:ext cx="44188" cy="38062"/>
              <a:chOff x="7681654" y="2148452"/>
              <a:chExt cx="44188" cy="38062"/>
            </a:xfrm>
            <a:grpFill/>
          </p:grpSpPr>
          <p:sp>
            <p:nvSpPr>
              <p:cNvPr id="5242" name="Vrije vorm: vorm 5241">
                <a:extLst>
                  <a:ext uri="{FF2B5EF4-FFF2-40B4-BE49-F238E27FC236}">
                    <a16:creationId xmlns:a16="http://schemas.microsoft.com/office/drawing/2014/main" id="{F275A093-908D-4085-B2E7-94D2B4A3190D}"/>
                  </a:ext>
                </a:extLst>
              </p:cNvPr>
              <p:cNvSpPr/>
              <p:nvPr/>
            </p:nvSpPr>
            <p:spPr>
              <a:xfrm>
                <a:off x="7689554" y="2156210"/>
                <a:ext cx="28408" cy="22607"/>
              </a:xfrm>
              <a:custGeom>
                <a:avLst/>
                <a:gdLst>
                  <a:gd name="connsiteX0" fmla="*/ 28408 w 28408"/>
                  <a:gd name="connsiteY0" fmla="*/ 2452 h 22607"/>
                  <a:gd name="connsiteX1" fmla="*/ 1794 w 28408"/>
                  <a:gd name="connsiteY1" fmla="*/ 22607 h 22607"/>
                  <a:gd name="connsiteX2" fmla="*/ 0 w 28408"/>
                  <a:gd name="connsiteY2" fmla="*/ 20155 h 22607"/>
                  <a:gd name="connsiteX3" fmla="*/ 26554 w 28408"/>
                  <a:gd name="connsiteY3" fmla="*/ 0 h 22607"/>
                </a:gdLst>
                <a:ahLst/>
                <a:cxnLst>
                  <a:cxn ang="0">
                    <a:pos x="connsiteX0" y="connsiteY0"/>
                  </a:cxn>
                  <a:cxn ang="0">
                    <a:pos x="connsiteX1" y="connsiteY1"/>
                  </a:cxn>
                  <a:cxn ang="0">
                    <a:pos x="connsiteX2" y="connsiteY2"/>
                  </a:cxn>
                  <a:cxn ang="0">
                    <a:pos x="connsiteX3" y="connsiteY3"/>
                  </a:cxn>
                </a:cxnLst>
                <a:rect l="l" t="t" r="r" b="b"/>
                <a:pathLst>
                  <a:path w="28408" h="22607">
                    <a:moveTo>
                      <a:pt x="28408" y="2452"/>
                    </a:moveTo>
                    <a:lnTo>
                      <a:pt x="1794" y="22607"/>
                    </a:lnTo>
                    <a:lnTo>
                      <a:pt x="0" y="20155"/>
                    </a:lnTo>
                    <a:lnTo>
                      <a:pt x="26554" y="0"/>
                    </a:lnTo>
                    <a:close/>
                  </a:path>
                </a:pathLst>
              </a:custGeom>
              <a:grpFill/>
              <a:ln w="5978" cap="flat">
                <a:noFill/>
                <a:prstDash val="solid"/>
                <a:miter/>
              </a:ln>
            </p:spPr>
            <p:txBody>
              <a:bodyPr rtlCol="0" anchor="ctr"/>
              <a:lstStyle/>
              <a:p>
                <a:endParaRPr lang="en-GB"/>
              </a:p>
            </p:txBody>
          </p:sp>
          <p:sp>
            <p:nvSpPr>
              <p:cNvPr id="5243" name="Vrije vorm: vorm 5242">
                <a:extLst>
                  <a:ext uri="{FF2B5EF4-FFF2-40B4-BE49-F238E27FC236}">
                    <a16:creationId xmlns:a16="http://schemas.microsoft.com/office/drawing/2014/main" id="{4AB41C71-7704-469B-A2A6-D1F7A982C99F}"/>
                  </a:ext>
                </a:extLst>
              </p:cNvPr>
              <p:cNvSpPr/>
              <p:nvPr/>
            </p:nvSpPr>
            <p:spPr>
              <a:xfrm>
                <a:off x="7681654" y="2168069"/>
                <a:ext cx="18326" cy="18445"/>
              </a:xfrm>
              <a:custGeom>
                <a:avLst/>
                <a:gdLst>
                  <a:gd name="connsiteX0" fmla="*/ 14717 w 18326"/>
                  <a:gd name="connsiteY0" fmla="*/ 16609 h 18445"/>
                  <a:gd name="connsiteX1" fmla="*/ 1859 w 18326"/>
                  <a:gd name="connsiteY1" fmla="*/ 14755 h 18445"/>
                  <a:gd name="connsiteX2" fmla="*/ 3653 w 18326"/>
                  <a:gd name="connsiteY2" fmla="*/ 1837 h 18445"/>
                  <a:gd name="connsiteX3" fmla="*/ 16511 w 18326"/>
                  <a:gd name="connsiteY3" fmla="*/ 3691 h 18445"/>
                  <a:gd name="connsiteX4" fmla="*/ 14717 w 18326"/>
                  <a:gd name="connsiteY4" fmla="*/ 16609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45">
                    <a:moveTo>
                      <a:pt x="14717" y="16609"/>
                    </a:moveTo>
                    <a:cubicBezTo>
                      <a:pt x="10710" y="19659"/>
                      <a:pt x="4909" y="18822"/>
                      <a:pt x="1859" y="14755"/>
                    </a:cubicBezTo>
                    <a:cubicBezTo>
                      <a:pt x="-1192" y="10688"/>
                      <a:pt x="-414" y="4887"/>
                      <a:pt x="3653" y="1837"/>
                    </a:cubicBezTo>
                    <a:cubicBezTo>
                      <a:pt x="7660" y="-1213"/>
                      <a:pt x="13461" y="-376"/>
                      <a:pt x="16511" y="3691"/>
                    </a:cubicBezTo>
                    <a:cubicBezTo>
                      <a:pt x="19501" y="7758"/>
                      <a:pt x="18724" y="13559"/>
                      <a:pt x="14717" y="16609"/>
                    </a:cubicBezTo>
                    <a:close/>
                  </a:path>
                </a:pathLst>
              </a:custGeom>
              <a:grpFill/>
              <a:ln w="5978" cap="flat">
                <a:noFill/>
                <a:prstDash val="solid"/>
                <a:miter/>
              </a:ln>
            </p:spPr>
            <p:txBody>
              <a:bodyPr rtlCol="0" anchor="ctr"/>
              <a:lstStyle/>
              <a:p>
                <a:endParaRPr lang="en-GB"/>
              </a:p>
            </p:txBody>
          </p:sp>
          <p:sp>
            <p:nvSpPr>
              <p:cNvPr id="5244" name="Vrije vorm: vorm 5243">
                <a:extLst>
                  <a:ext uri="{FF2B5EF4-FFF2-40B4-BE49-F238E27FC236}">
                    <a16:creationId xmlns:a16="http://schemas.microsoft.com/office/drawing/2014/main" id="{56E9AAE6-DA37-472B-837F-4EA1DC16E530}"/>
                  </a:ext>
                </a:extLst>
              </p:cNvPr>
              <p:cNvSpPr/>
              <p:nvPr/>
            </p:nvSpPr>
            <p:spPr>
              <a:xfrm>
                <a:off x="7707509" y="2148452"/>
                <a:ext cx="18334" cy="18463"/>
              </a:xfrm>
              <a:custGeom>
                <a:avLst/>
                <a:gdLst>
                  <a:gd name="connsiteX0" fmla="*/ 14699 w 18334"/>
                  <a:gd name="connsiteY0" fmla="*/ 16609 h 18463"/>
                  <a:gd name="connsiteX1" fmla="*/ 16494 w 18334"/>
                  <a:gd name="connsiteY1" fmla="*/ 3691 h 18463"/>
                  <a:gd name="connsiteX2" fmla="*/ 3635 w 18334"/>
                  <a:gd name="connsiteY2" fmla="*/ 1837 h 18463"/>
                  <a:gd name="connsiteX3" fmla="*/ 1841 w 18334"/>
                  <a:gd name="connsiteY3" fmla="*/ 14755 h 18463"/>
                  <a:gd name="connsiteX4" fmla="*/ 14699 w 18334"/>
                  <a:gd name="connsiteY4" fmla="*/ 16609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3">
                    <a:moveTo>
                      <a:pt x="14699" y="16609"/>
                    </a:moveTo>
                    <a:cubicBezTo>
                      <a:pt x="18707" y="13559"/>
                      <a:pt x="19544" y="7758"/>
                      <a:pt x="16494" y="3691"/>
                    </a:cubicBezTo>
                    <a:cubicBezTo>
                      <a:pt x="13444" y="-376"/>
                      <a:pt x="7702" y="-1213"/>
                      <a:pt x="3635" y="1837"/>
                    </a:cubicBezTo>
                    <a:cubicBezTo>
                      <a:pt x="-372" y="4887"/>
                      <a:pt x="-1209" y="10688"/>
                      <a:pt x="1841" y="14755"/>
                    </a:cubicBezTo>
                    <a:cubicBezTo>
                      <a:pt x="4951" y="18882"/>
                      <a:pt x="10693" y="19659"/>
                      <a:pt x="14699" y="16609"/>
                    </a:cubicBezTo>
                    <a:close/>
                  </a:path>
                </a:pathLst>
              </a:custGeom>
              <a:grpFill/>
              <a:ln w="5978" cap="flat">
                <a:noFill/>
                <a:prstDash val="solid"/>
                <a:miter/>
              </a:ln>
            </p:spPr>
            <p:txBody>
              <a:bodyPr rtlCol="0" anchor="ctr"/>
              <a:lstStyle/>
              <a:p>
                <a:endParaRPr lang="en-GB"/>
              </a:p>
            </p:txBody>
          </p:sp>
        </p:grpSp>
        <p:grpSp>
          <p:nvGrpSpPr>
            <p:cNvPr id="44" name="Graphic 3">
              <a:extLst>
                <a:ext uri="{FF2B5EF4-FFF2-40B4-BE49-F238E27FC236}">
                  <a16:creationId xmlns:a16="http://schemas.microsoft.com/office/drawing/2014/main" id="{00AB13CD-A859-449B-A692-163318406FAC}"/>
                </a:ext>
              </a:extLst>
            </p:cNvPr>
            <p:cNvGrpSpPr/>
            <p:nvPr/>
          </p:nvGrpSpPr>
          <p:grpSpPr>
            <a:xfrm>
              <a:off x="7738473" y="3358508"/>
              <a:ext cx="724510" cy="41577"/>
              <a:chOff x="7738473" y="3358508"/>
              <a:chExt cx="724510" cy="41577"/>
            </a:xfrm>
            <a:grpFill/>
          </p:grpSpPr>
          <p:sp>
            <p:nvSpPr>
              <p:cNvPr id="5239" name="Vrije vorm: vorm 5238">
                <a:extLst>
                  <a:ext uri="{FF2B5EF4-FFF2-40B4-BE49-F238E27FC236}">
                    <a16:creationId xmlns:a16="http://schemas.microsoft.com/office/drawing/2014/main" id="{F3C2D257-7875-4209-8C5A-4CEF51E3B33C}"/>
                  </a:ext>
                </a:extLst>
              </p:cNvPr>
              <p:cNvSpPr/>
              <p:nvPr/>
            </p:nvSpPr>
            <p:spPr>
              <a:xfrm>
                <a:off x="7747148" y="3366170"/>
                <a:ext cx="707100" cy="26255"/>
              </a:xfrm>
              <a:custGeom>
                <a:avLst/>
                <a:gdLst>
                  <a:gd name="connsiteX0" fmla="*/ 707101 w 707100"/>
                  <a:gd name="connsiteY0" fmla="*/ 23205 h 26255"/>
                  <a:gd name="connsiteX1" fmla="*/ 707041 w 707100"/>
                  <a:gd name="connsiteY1" fmla="*/ 26255 h 26255"/>
                  <a:gd name="connsiteX2" fmla="*/ 0 w 707100"/>
                  <a:gd name="connsiteY2" fmla="*/ 3050 h 26255"/>
                  <a:gd name="connsiteX3" fmla="*/ 120 w 707100"/>
                  <a:gd name="connsiteY3" fmla="*/ 0 h 26255"/>
                </a:gdLst>
                <a:ahLst/>
                <a:cxnLst>
                  <a:cxn ang="0">
                    <a:pos x="connsiteX0" y="connsiteY0"/>
                  </a:cxn>
                  <a:cxn ang="0">
                    <a:pos x="connsiteX1" y="connsiteY1"/>
                  </a:cxn>
                  <a:cxn ang="0">
                    <a:pos x="connsiteX2" y="connsiteY2"/>
                  </a:cxn>
                  <a:cxn ang="0">
                    <a:pos x="connsiteX3" y="connsiteY3"/>
                  </a:cxn>
                </a:cxnLst>
                <a:rect l="l" t="t" r="r" b="b"/>
                <a:pathLst>
                  <a:path w="707100" h="26255">
                    <a:moveTo>
                      <a:pt x="707101" y="23205"/>
                    </a:moveTo>
                    <a:lnTo>
                      <a:pt x="707041" y="26255"/>
                    </a:lnTo>
                    <a:lnTo>
                      <a:pt x="0" y="3050"/>
                    </a:lnTo>
                    <a:lnTo>
                      <a:pt x="120" y="0"/>
                    </a:lnTo>
                    <a:close/>
                  </a:path>
                </a:pathLst>
              </a:custGeom>
              <a:grpFill/>
              <a:ln w="5978" cap="flat">
                <a:noFill/>
                <a:prstDash val="solid"/>
                <a:miter/>
              </a:ln>
            </p:spPr>
            <p:txBody>
              <a:bodyPr rtlCol="0" anchor="ctr"/>
              <a:lstStyle/>
              <a:p>
                <a:endParaRPr lang="en-GB"/>
              </a:p>
            </p:txBody>
          </p:sp>
          <p:sp>
            <p:nvSpPr>
              <p:cNvPr id="5240" name="Vrije vorm: vorm 5239">
                <a:extLst>
                  <a:ext uri="{FF2B5EF4-FFF2-40B4-BE49-F238E27FC236}">
                    <a16:creationId xmlns:a16="http://schemas.microsoft.com/office/drawing/2014/main" id="{6B147443-851C-4FEA-B59E-94108432823F}"/>
                  </a:ext>
                </a:extLst>
              </p:cNvPr>
              <p:cNvSpPr/>
              <p:nvPr/>
            </p:nvSpPr>
            <p:spPr>
              <a:xfrm>
                <a:off x="7738473" y="3358508"/>
                <a:ext cx="18366" cy="18428"/>
              </a:xfrm>
              <a:custGeom>
                <a:avLst/>
                <a:gdLst>
                  <a:gd name="connsiteX0" fmla="*/ 8914 w 18366"/>
                  <a:gd name="connsiteY0" fmla="*/ 18426 h 18428"/>
                  <a:gd name="connsiteX1" fmla="*/ 3 w 18366"/>
                  <a:gd name="connsiteY1" fmla="*/ 8917 h 18428"/>
                  <a:gd name="connsiteX2" fmla="*/ 9453 w 18366"/>
                  <a:gd name="connsiteY2" fmla="*/ 6 h 18428"/>
                  <a:gd name="connsiteX3" fmla="*/ 18364 w 18366"/>
                  <a:gd name="connsiteY3" fmla="*/ 9515 h 18428"/>
                  <a:gd name="connsiteX4" fmla="*/ 8914 w 18366"/>
                  <a:gd name="connsiteY4" fmla="*/ 1842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8">
                    <a:moveTo>
                      <a:pt x="8914" y="18426"/>
                    </a:moveTo>
                    <a:cubicBezTo>
                      <a:pt x="3830" y="18247"/>
                      <a:pt x="-116" y="14001"/>
                      <a:pt x="3" y="8917"/>
                    </a:cubicBezTo>
                    <a:cubicBezTo>
                      <a:pt x="122" y="3833"/>
                      <a:pt x="4369" y="-174"/>
                      <a:pt x="9453" y="6"/>
                    </a:cubicBezTo>
                    <a:cubicBezTo>
                      <a:pt x="14536" y="185"/>
                      <a:pt x="18484" y="4431"/>
                      <a:pt x="18364" y="9515"/>
                    </a:cubicBezTo>
                    <a:cubicBezTo>
                      <a:pt x="18184" y="14599"/>
                      <a:pt x="13998" y="18546"/>
                      <a:pt x="8914" y="18426"/>
                    </a:cubicBezTo>
                    <a:close/>
                  </a:path>
                </a:pathLst>
              </a:custGeom>
              <a:grpFill/>
              <a:ln w="5978" cap="flat">
                <a:noFill/>
                <a:prstDash val="solid"/>
                <a:miter/>
              </a:ln>
            </p:spPr>
            <p:txBody>
              <a:bodyPr rtlCol="0" anchor="ctr"/>
              <a:lstStyle/>
              <a:p>
                <a:endParaRPr lang="en-GB"/>
              </a:p>
            </p:txBody>
          </p:sp>
          <p:sp>
            <p:nvSpPr>
              <p:cNvPr id="5241" name="Vrije vorm: vorm 5240">
                <a:extLst>
                  <a:ext uri="{FF2B5EF4-FFF2-40B4-BE49-F238E27FC236}">
                    <a16:creationId xmlns:a16="http://schemas.microsoft.com/office/drawing/2014/main" id="{2798EBF6-C0D8-4E7B-A95E-6C509C3060AC}"/>
                  </a:ext>
                </a:extLst>
              </p:cNvPr>
              <p:cNvSpPr/>
              <p:nvPr/>
            </p:nvSpPr>
            <p:spPr>
              <a:xfrm>
                <a:off x="8444614" y="3381654"/>
                <a:ext cx="18368" cy="18432"/>
              </a:xfrm>
              <a:custGeom>
                <a:avLst/>
                <a:gdLst>
                  <a:gd name="connsiteX0" fmla="*/ 8917 w 18368"/>
                  <a:gd name="connsiteY0" fmla="*/ 18426 h 18432"/>
                  <a:gd name="connsiteX1" fmla="*/ 18366 w 18368"/>
                  <a:gd name="connsiteY1" fmla="*/ 9515 h 18432"/>
                  <a:gd name="connsiteX2" fmla="*/ 9455 w 18368"/>
                  <a:gd name="connsiteY2" fmla="*/ 6 h 18432"/>
                  <a:gd name="connsiteX3" fmla="*/ 6 w 18368"/>
                  <a:gd name="connsiteY3" fmla="*/ 8917 h 18432"/>
                  <a:gd name="connsiteX4" fmla="*/ 8917 w 18368"/>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32">
                    <a:moveTo>
                      <a:pt x="8917" y="18426"/>
                    </a:moveTo>
                    <a:cubicBezTo>
                      <a:pt x="14000" y="18606"/>
                      <a:pt x="18187" y="14599"/>
                      <a:pt x="18366" y="9515"/>
                    </a:cubicBezTo>
                    <a:cubicBezTo>
                      <a:pt x="18486" y="4431"/>
                      <a:pt x="14539" y="185"/>
                      <a:pt x="9455" y="6"/>
                    </a:cubicBezTo>
                    <a:cubicBezTo>
                      <a:pt x="4372" y="-174"/>
                      <a:pt x="185" y="3834"/>
                      <a:pt x="6" y="8917"/>
                    </a:cubicBezTo>
                    <a:cubicBezTo>
                      <a:pt x="-174" y="14001"/>
                      <a:pt x="3834" y="18307"/>
                      <a:pt x="8917" y="18426"/>
                    </a:cubicBezTo>
                    <a:close/>
                  </a:path>
                </a:pathLst>
              </a:custGeom>
              <a:grpFill/>
              <a:ln w="5978" cap="flat">
                <a:noFill/>
                <a:prstDash val="solid"/>
                <a:miter/>
              </a:ln>
            </p:spPr>
            <p:txBody>
              <a:bodyPr rtlCol="0" anchor="ctr"/>
              <a:lstStyle/>
              <a:p>
                <a:endParaRPr lang="en-GB"/>
              </a:p>
            </p:txBody>
          </p:sp>
        </p:grpSp>
        <p:grpSp>
          <p:nvGrpSpPr>
            <p:cNvPr id="45" name="Graphic 3">
              <a:extLst>
                <a:ext uri="{FF2B5EF4-FFF2-40B4-BE49-F238E27FC236}">
                  <a16:creationId xmlns:a16="http://schemas.microsoft.com/office/drawing/2014/main" id="{4CFDC899-1A8B-49FB-9D9F-7A974B70C43E}"/>
                </a:ext>
              </a:extLst>
            </p:cNvPr>
            <p:cNvGrpSpPr/>
            <p:nvPr/>
          </p:nvGrpSpPr>
          <p:grpSpPr>
            <a:xfrm>
              <a:off x="7704045" y="3083539"/>
              <a:ext cx="625846" cy="74482"/>
              <a:chOff x="7704045" y="3083539"/>
              <a:chExt cx="625846" cy="74482"/>
            </a:xfrm>
            <a:grpFill/>
          </p:grpSpPr>
          <p:sp>
            <p:nvSpPr>
              <p:cNvPr id="5236" name="Vrije vorm: vorm 5235">
                <a:extLst>
                  <a:ext uri="{FF2B5EF4-FFF2-40B4-BE49-F238E27FC236}">
                    <a16:creationId xmlns:a16="http://schemas.microsoft.com/office/drawing/2014/main" id="{94ACBFBA-EA70-4C1A-BCF3-AD137A677575}"/>
                  </a:ext>
                </a:extLst>
              </p:cNvPr>
              <p:cNvSpPr/>
              <p:nvPr/>
            </p:nvSpPr>
            <p:spPr>
              <a:xfrm>
                <a:off x="7712639" y="3091116"/>
                <a:ext cx="608658" cy="59268"/>
              </a:xfrm>
              <a:custGeom>
                <a:avLst/>
                <a:gdLst>
                  <a:gd name="connsiteX0" fmla="*/ 608359 w 608658"/>
                  <a:gd name="connsiteY0" fmla="*/ 0 h 59268"/>
                  <a:gd name="connsiteX1" fmla="*/ 608658 w 608658"/>
                  <a:gd name="connsiteY1" fmla="*/ 3050 h 59268"/>
                  <a:gd name="connsiteX2" fmla="*/ 299 w 608658"/>
                  <a:gd name="connsiteY2" fmla="*/ 59269 h 59268"/>
                  <a:gd name="connsiteX3" fmla="*/ 0 w 608658"/>
                  <a:gd name="connsiteY3" fmla="*/ 56219 h 59268"/>
                </a:gdLst>
                <a:ahLst/>
                <a:cxnLst>
                  <a:cxn ang="0">
                    <a:pos x="connsiteX0" y="connsiteY0"/>
                  </a:cxn>
                  <a:cxn ang="0">
                    <a:pos x="connsiteX1" y="connsiteY1"/>
                  </a:cxn>
                  <a:cxn ang="0">
                    <a:pos x="connsiteX2" y="connsiteY2"/>
                  </a:cxn>
                  <a:cxn ang="0">
                    <a:pos x="connsiteX3" y="connsiteY3"/>
                  </a:cxn>
                </a:cxnLst>
                <a:rect l="l" t="t" r="r" b="b"/>
                <a:pathLst>
                  <a:path w="608658" h="59268">
                    <a:moveTo>
                      <a:pt x="608359" y="0"/>
                    </a:moveTo>
                    <a:lnTo>
                      <a:pt x="608658" y="3050"/>
                    </a:lnTo>
                    <a:lnTo>
                      <a:pt x="299" y="59269"/>
                    </a:lnTo>
                    <a:lnTo>
                      <a:pt x="0" y="56219"/>
                    </a:lnTo>
                    <a:close/>
                  </a:path>
                </a:pathLst>
              </a:custGeom>
              <a:grpFill/>
              <a:ln w="5978" cap="flat">
                <a:noFill/>
                <a:prstDash val="solid"/>
                <a:miter/>
              </a:ln>
            </p:spPr>
            <p:txBody>
              <a:bodyPr rtlCol="0" anchor="ctr"/>
              <a:lstStyle/>
              <a:p>
                <a:endParaRPr lang="en-GB"/>
              </a:p>
            </p:txBody>
          </p:sp>
          <p:sp>
            <p:nvSpPr>
              <p:cNvPr id="5237" name="Vrije vorm: vorm 5236">
                <a:extLst>
                  <a:ext uri="{FF2B5EF4-FFF2-40B4-BE49-F238E27FC236}">
                    <a16:creationId xmlns:a16="http://schemas.microsoft.com/office/drawing/2014/main" id="{98636521-D35F-43E6-A3A5-5F9FF00DC13D}"/>
                  </a:ext>
                </a:extLst>
              </p:cNvPr>
              <p:cNvSpPr/>
              <p:nvPr/>
            </p:nvSpPr>
            <p:spPr>
              <a:xfrm>
                <a:off x="7704045" y="3139639"/>
                <a:ext cx="18325" cy="18382"/>
              </a:xfrm>
              <a:custGeom>
                <a:avLst/>
                <a:gdLst>
                  <a:gd name="connsiteX0" fmla="*/ 10030 w 18325"/>
                  <a:gd name="connsiteY0" fmla="*/ 18342 h 18382"/>
                  <a:gd name="connsiteX1" fmla="*/ 42 w 18325"/>
                  <a:gd name="connsiteY1" fmla="*/ 10029 h 18382"/>
                  <a:gd name="connsiteX2" fmla="*/ 8295 w 18325"/>
                  <a:gd name="connsiteY2" fmla="*/ 41 h 18382"/>
                  <a:gd name="connsiteX3" fmla="*/ 18283 w 18325"/>
                  <a:gd name="connsiteY3" fmla="*/ 8354 h 18382"/>
                  <a:gd name="connsiteX4" fmla="*/ 10030 w 18325"/>
                  <a:gd name="connsiteY4" fmla="*/ 18342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2">
                    <a:moveTo>
                      <a:pt x="10030" y="18342"/>
                    </a:moveTo>
                    <a:cubicBezTo>
                      <a:pt x="5006" y="18820"/>
                      <a:pt x="520" y="15052"/>
                      <a:pt x="42" y="10029"/>
                    </a:cubicBezTo>
                    <a:cubicBezTo>
                      <a:pt x="-437" y="4945"/>
                      <a:pt x="3271" y="460"/>
                      <a:pt x="8295" y="41"/>
                    </a:cubicBezTo>
                    <a:cubicBezTo>
                      <a:pt x="13319" y="-438"/>
                      <a:pt x="17805" y="3330"/>
                      <a:pt x="18283" y="8354"/>
                    </a:cubicBezTo>
                    <a:cubicBezTo>
                      <a:pt x="18761" y="13378"/>
                      <a:pt x="15113" y="17863"/>
                      <a:pt x="10030" y="18342"/>
                    </a:cubicBezTo>
                    <a:close/>
                  </a:path>
                </a:pathLst>
              </a:custGeom>
              <a:grpFill/>
              <a:ln w="5978" cap="flat">
                <a:noFill/>
                <a:prstDash val="solid"/>
                <a:miter/>
              </a:ln>
            </p:spPr>
            <p:txBody>
              <a:bodyPr rtlCol="0" anchor="ctr"/>
              <a:lstStyle/>
              <a:p>
                <a:endParaRPr lang="en-GB"/>
              </a:p>
            </p:txBody>
          </p:sp>
          <p:sp>
            <p:nvSpPr>
              <p:cNvPr id="5238" name="Vrije vorm: vorm 5237">
                <a:extLst>
                  <a:ext uri="{FF2B5EF4-FFF2-40B4-BE49-F238E27FC236}">
                    <a16:creationId xmlns:a16="http://schemas.microsoft.com/office/drawing/2014/main" id="{C2DA593D-11E3-48C9-83EA-00ACBB0B32CD}"/>
                  </a:ext>
                </a:extLst>
              </p:cNvPr>
              <p:cNvSpPr/>
              <p:nvPr/>
            </p:nvSpPr>
            <p:spPr>
              <a:xfrm>
                <a:off x="8311567" y="3083539"/>
                <a:ext cx="18324" cy="18374"/>
              </a:xfrm>
              <a:custGeom>
                <a:avLst/>
                <a:gdLst>
                  <a:gd name="connsiteX0" fmla="*/ 10029 w 18324"/>
                  <a:gd name="connsiteY0" fmla="*/ 18343 h 18374"/>
                  <a:gd name="connsiteX1" fmla="*/ 18282 w 18324"/>
                  <a:gd name="connsiteY1" fmla="*/ 8355 h 18374"/>
                  <a:gd name="connsiteX2" fmla="*/ 8295 w 18324"/>
                  <a:gd name="connsiteY2" fmla="*/ 42 h 18374"/>
                  <a:gd name="connsiteX3" fmla="*/ 42 w 18324"/>
                  <a:gd name="connsiteY3" fmla="*/ 10029 h 18374"/>
                  <a:gd name="connsiteX4" fmla="*/ 10029 w 18324"/>
                  <a:gd name="connsiteY4" fmla="*/ 18343 h 1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74">
                    <a:moveTo>
                      <a:pt x="10029" y="18343"/>
                    </a:moveTo>
                    <a:cubicBezTo>
                      <a:pt x="15053" y="17864"/>
                      <a:pt x="18761" y="13379"/>
                      <a:pt x="18282" y="8355"/>
                    </a:cubicBezTo>
                    <a:cubicBezTo>
                      <a:pt x="17804" y="3271"/>
                      <a:pt x="13319" y="-437"/>
                      <a:pt x="8295" y="42"/>
                    </a:cubicBezTo>
                    <a:cubicBezTo>
                      <a:pt x="3271" y="520"/>
                      <a:pt x="-437" y="5005"/>
                      <a:pt x="42" y="10029"/>
                    </a:cubicBezTo>
                    <a:cubicBezTo>
                      <a:pt x="520" y="15053"/>
                      <a:pt x="5005" y="18761"/>
                      <a:pt x="10029" y="18343"/>
                    </a:cubicBezTo>
                    <a:close/>
                  </a:path>
                </a:pathLst>
              </a:custGeom>
              <a:grpFill/>
              <a:ln w="5978" cap="flat">
                <a:noFill/>
                <a:prstDash val="solid"/>
                <a:miter/>
              </a:ln>
            </p:spPr>
            <p:txBody>
              <a:bodyPr rtlCol="0" anchor="ctr"/>
              <a:lstStyle/>
              <a:p>
                <a:endParaRPr lang="en-GB"/>
              </a:p>
            </p:txBody>
          </p:sp>
        </p:grpSp>
        <p:grpSp>
          <p:nvGrpSpPr>
            <p:cNvPr id="46" name="Graphic 3">
              <a:extLst>
                <a:ext uri="{FF2B5EF4-FFF2-40B4-BE49-F238E27FC236}">
                  <a16:creationId xmlns:a16="http://schemas.microsoft.com/office/drawing/2014/main" id="{B777E050-6084-471C-9607-CDDFEB2E3DD7}"/>
                </a:ext>
              </a:extLst>
            </p:cNvPr>
            <p:cNvGrpSpPr/>
            <p:nvPr/>
          </p:nvGrpSpPr>
          <p:grpSpPr>
            <a:xfrm>
              <a:off x="7590604" y="2612218"/>
              <a:ext cx="540714" cy="187121"/>
              <a:chOff x="7590604" y="2612218"/>
              <a:chExt cx="540714" cy="187121"/>
            </a:xfrm>
            <a:grpFill/>
          </p:grpSpPr>
          <p:sp>
            <p:nvSpPr>
              <p:cNvPr id="5233" name="Vrije vorm: vorm 5232">
                <a:extLst>
                  <a:ext uri="{FF2B5EF4-FFF2-40B4-BE49-F238E27FC236}">
                    <a16:creationId xmlns:a16="http://schemas.microsoft.com/office/drawing/2014/main" id="{4250DB70-39D8-4EE9-9116-53989CFE0C06}"/>
                  </a:ext>
                </a:extLst>
              </p:cNvPr>
              <p:cNvSpPr/>
              <p:nvPr/>
            </p:nvSpPr>
            <p:spPr>
              <a:xfrm>
                <a:off x="7598826" y="2619835"/>
                <a:ext cx="524270" cy="171886"/>
              </a:xfrm>
              <a:custGeom>
                <a:avLst/>
                <a:gdLst>
                  <a:gd name="connsiteX0" fmla="*/ 523313 w 524270"/>
                  <a:gd name="connsiteY0" fmla="*/ 0 h 171886"/>
                  <a:gd name="connsiteX1" fmla="*/ 524270 w 524270"/>
                  <a:gd name="connsiteY1" fmla="*/ 2931 h 171886"/>
                  <a:gd name="connsiteX2" fmla="*/ 957 w 524270"/>
                  <a:gd name="connsiteY2" fmla="*/ 171886 h 171886"/>
                  <a:gd name="connsiteX3" fmla="*/ 0 w 524270"/>
                  <a:gd name="connsiteY3" fmla="*/ 169015 h 171886"/>
                </a:gdLst>
                <a:ahLst/>
                <a:cxnLst>
                  <a:cxn ang="0">
                    <a:pos x="connsiteX0" y="connsiteY0"/>
                  </a:cxn>
                  <a:cxn ang="0">
                    <a:pos x="connsiteX1" y="connsiteY1"/>
                  </a:cxn>
                  <a:cxn ang="0">
                    <a:pos x="connsiteX2" y="connsiteY2"/>
                  </a:cxn>
                  <a:cxn ang="0">
                    <a:pos x="connsiteX3" y="connsiteY3"/>
                  </a:cxn>
                </a:cxnLst>
                <a:rect l="l" t="t" r="r" b="b"/>
                <a:pathLst>
                  <a:path w="524270" h="171886">
                    <a:moveTo>
                      <a:pt x="523313" y="0"/>
                    </a:moveTo>
                    <a:lnTo>
                      <a:pt x="524270" y="2931"/>
                    </a:lnTo>
                    <a:lnTo>
                      <a:pt x="957" y="171886"/>
                    </a:lnTo>
                    <a:lnTo>
                      <a:pt x="0" y="169015"/>
                    </a:lnTo>
                    <a:close/>
                  </a:path>
                </a:pathLst>
              </a:custGeom>
              <a:grpFill/>
              <a:ln w="5978" cap="flat">
                <a:noFill/>
                <a:prstDash val="solid"/>
                <a:miter/>
              </a:ln>
            </p:spPr>
            <p:txBody>
              <a:bodyPr rtlCol="0" anchor="ctr"/>
              <a:lstStyle/>
              <a:p>
                <a:endParaRPr lang="en-GB"/>
              </a:p>
            </p:txBody>
          </p:sp>
          <p:sp>
            <p:nvSpPr>
              <p:cNvPr id="5234" name="Vrije vorm: vorm 5233">
                <a:extLst>
                  <a:ext uri="{FF2B5EF4-FFF2-40B4-BE49-F238E27FC236}">
                    <a16:creationId xmlns:a16="http://schemas.microsoft.com/office/drawing/2014/main" id="{0B3D4C1B-7A51-4CC8-9947-828D67748F95}"/>
                  </a:ext>
                </a:extLst>
              </p:cNvPr>
              <p:cNvSpPr/>
              <p:nvPr/>
            </p:nvSpPr>
            <p:spPr>
              <a:xfrm>
                <a:off x="7590604" y="2780874"/>
                <a:ext cx="18297" cy="18465"/>
              </a:xfrm>
              <a:custGeom>
                <a:avLst/>
                <a:gdLst>
                  <a:gd name="connsiteX0" fmla="*/ 11990 w 18297"/>
                  <a:gd name="connsiteY0" fmla="*/ 18024 h 18465"/>
                  <a:gd name="connsiteX1" fmla="*/ 447 w 18297"/>
                  <a:gd name="connsiteY1" fmla="*/ 12043 h 18465"/>
                  <a:gd name="connsiteX2" fmla="*/ 6308 w 18297"/>
                  <a:gd name="connsiteY2" fmla="*/ 441 h 18465"/>
                  <a:gd name="connsiteX3" fmla="*/ 17851 w 18297"/>
                  <a:gd name="connsiteY3" fmla="*/ 6422 h 18465"/>
                  <a:gd name="connsiteX4" fmla="*/ 11990 w 18297"/>
                  <a:gd name="connsiteY4" fmla="*/ 1802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65">
                    <a:moveTo>
                      <a:pt x="11990" y="18024"/>
                    </a:moveTo>
                    <a:cubicBezTo>
                      <a:pt x="7205" y="19579"/>
                      <a:pt x="2002" y="16888"/>
                      <a:pt x="447" y="12043"/>
                    </a:cubicBezTo>
                    <a:cubicBezTo>
                      <a:pt x="-1108" y="7199"/>
                      <a:pt x="1523" y="1996"/>
                      <a:pt x="6308" y="441"/>
                    </a:cubicBezTo>
                    <a:cubicBezTo>
                      <a:pt x="11092" y="-1114"/>
                      <a:pt x="16296" y="1577"/>
                      <a:pt x="17851" y="6422"/>
                    </a:cubicBezTo>
                    <a:cubicBezTo>
                      <a:pt x="19406" y="11326"/>
                      <a:pt x="16774" y="16469"/>
                      <a:pt x="11990" y="18024"/>
                    </a:cubicBezTo>
                    <a:close/>
                  </a:path>
                </a:pathLst>
              </a:custGeom>
              <a:grpFill/>
              <a:ln w="5978" cap="flat">
                <a:noFill/>
                <a:prstDash val="solid"/>
                <a:miter/>
              </a:ln>
            </p:spPr>
            <p:txBody>
              <a:bodyPr rtlCol="0" anchor="ctr"/>
              <a:lstStyle/>
              <a:p>
                <a:endParaRPr lang="en-GB"/>
              </a:p>
            </p:txBody>
          </p:sp>
          <p:sp>
            <p:nvSpPr>
              <p:cNvPr id="5235" name="Vrije vorm: vorm 5234">
                <a:extLst>
                  <a:ext uri="{FF2B5EF4-FFF2-40B4-BE49-F238E27FC236}">
                    <a16:creationId xmlns:a16="http://schemas.microsoft.com/office/drawing/2014/main" id="{DF716C6C-918F-48BA-85B5-CEAA3387C74D}"/>
                  </a:ext>
                </a:extLst>
              </p:cNvPr>
              <p:cNvSpPr/>
              <p:nvPr/>
            </p:nvSpPr>
            <p:spPr>
              <a:xfrm>
                <a:off x="8113020" y="2612218"/>
                <a:ext cx="18298" cy="18465"/>
              </a:xfrm>
              <a:custGeom>
                <a:avLst/>
                <a:gdLst>
                  <a:gd name="connsiteX0" fmla="*/ 11990 w 18298"/>
                  <a:gd name="connsiteY0" fmla="*/ 18024 h 18465"/>
                  <a:gd name="connsiteX1" fmla="*/ 17851 w 18298"/>
                  <a:gd name="connsiteY1" fmla="*/ 6422 h 18465"/>
                  <a:gd name="connsiteX2" fmla="*/ 6308 w 18298"/>
                  <a:gd name="connsiteY2" fmla="*/ 441 h 18465"/>
                  <a:gd name="connsiteX3" fmla="*/ 447 w 18298"/>
                  <a:gd name="connsiteY3" fmla="*/ 12044 h 18465"/>
                  <a:gd name="connsiteX4" fmla="*/ 11990 w 18298"/>
                  <a:gd name="connsiteY4" fmla="*/ 1802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65">
                    <a:moveTo>
                      <a:pt x="11990" y="18024"/>
                    </a:moveTo>
                    <a:cubicBezTo>
                      <a:pt x="16774" y="16469"/>
                      <a:pt x="19406" y="11266"/>
                      <a:pt x="17851" y="6422"/>
                    </a:cubicBezTo>
                    <a:cubicBezTo>
                      <a:pt x="16296" y="1577"/>
                      <a:pt x="11093" y="-1114"/>
                      <a:pt x="6308" y="441"/>
                    </a:cubicBezTo>
                    <a:cubicBezTo>
                      <a:pt x="1523" y="1996"/>
                      <a:pt x="-1108" y="7199"/>
                      <a:pt x="447" y="12044"/>
                    </a:cubicBezTo>
                    <a:cubicBezTo>
                      <a:pt x="2002" y="16888"/>
                      <a:pt x="7205" y="19579"/>
                      <a:pt x="11990" y="18024"/>
                    </a:cubicBezTo>
                    <a:close/>
                  </a:path>
                </a:pathLst>
              </a:custGeom>
              <a:grpFill/>
              <a:ln w="5978" cap="flat">
                <a:noFill/>
                <a:prstDash val="solid"/>
                <a:miter/>
              </a:ln>
            </p:spPr>
            <p:txBody>
              <a:bodyPr rtlCol="0" anchor="ctr"/>
              <a:lstStyle/>
              <a:p>
                <a:endParaRPr lang="en-GB"/>
              </a:p>
            </p:txBody>
          </p:sp>
        </p:grpSp>
        <p:grpSp>
          <p:nvGrpSpPr>
            <p:cNvPr id="47" name="Graphic 3">
              <a:extLst>
                <a:ext uri="{FF2B5EF4-FFF2-40B4-BE49-F238E27FC236}">
                  <a16:creationId xmlns:a16="http://schemas.microsoft.com/office/drawing/2014/main" id="{7F37EA2E-A7C8-49D6-8E25-F7806BC0D538}"/>
                </a:ext>
              </a:extLst>
            </p:cNvPr>
            <p:cNvGrpSpPr/>
            <p:nvPr/>
          </p:nvGrpSpPr>
          <p:grpSpPr>
            <a:xfrm>
              <a:off x="8057482" y="3499410"/>
              <a:ext cx="152759" cy="24541"/>
              <a:chOff x="8057482" y="3499410"/>
              <a:chExt cx="152759" cy="24541"/>
            </a:xfrm>
            <a:grpFill/>
          </p:grpSpPr>
          <p:sp>
            <p:nvSpPr>
              <p:cNvPr id="5230" name="Vrije vorm: vorm 5229">
                <a:extLst>
                  <a:ext uri="{FF2B5EF4-FFF2-40B4-BE49-F238E27FC236}">
                    <a16:creationId xmlns:a16="http://schemas.microsoft.com/office/drawing/2014/main" id="{03717AE8-D3D3-41D0-B91C-DF835FDFB622}"/>
                  </a:ext>
                </a:extLst>
              </p:cNvPr>
              <p:cNvSpPr/>
              <p:nvPr/>
            </p:nvSpPr>
            <p:spPr>
              <a:xfrm>
                <a:off x="8066100" y="3507075"/>
                <a:ext cx="135463" cy="9210"/>
              </a:xfrm>
              <a:custGeom>
                <a:avLst/>
                <a:gdLst>
                  <a:gd name="connsiteX0" fmla="*/ 135464 w 135463"/>
                  <a:gd name="connsiteY0" fmla="*/ 6160 h 9210"/>
                  <a:gd name="connsiteX1" fmla="*/ 135344 w 135463"/>
                  <a:gd name="connsiteY1" fmla="*/ 9210 h 9210"/>
                  <a:gd name="connsiteX2" fmla="*/ 0 w 135463"/>
                  <a:gd name="connsiteY2" fmla="*/ 3050 h 9210"/>
                  <a:gd name="connsiteX3" fmla="*/ 120 w 135463"/>
                  <a:gd name="connsiteY3" fmla="*/ 0 h 9210"/>
                </a:gdLst>
                <a:ahLst/>
                <a:cxnLst>
                  <a:cxn ang="0">
                    <a:pos x="connsiteX0" y="connsiteY0"/>
                  </a:cxn>
                  <a:cxn ang="0">
                    <a:pos x="connsiteX1" y="connsiteY1"/>
                  </a:cxn>
                  <a:cxn ang="0">
                    <a:pos x="connsiteX2" y="connsiteY2"/>
                  </a:cxn>
                  <a:cxn ang="0">
                    <a:pos x="connsiteX3" y="connsiteY3"/>
                  </a:cxn>
                </a:cxnLst>
                <a:rect l="l" t="t" r="r" b="b"/>
                <a:pathLst>
                  <a:path w="135463" h="9210">
                    <a:moveTo>
                      <a:pt x="135464" y="6160"/>
                    </a:moveTo>
                    <a:lnTo>
                      <a:pt x="135344" y="9210"/>
                    </a:lnTo>
                    <a:lnTo>
                      <a:pt x="0" y="3050"/>
                    </a:lnTo>
                    <a:lnTo>
                      <a:pt x="120" y="0"/>
                    </a:lnTo>
                    <a:close/>
                  </a:path>
                </a:pathLst>
              </a:custGeom>
              <a:grpFill/>
              <a:ln w="5978" cap="flat">
                <a:noFill/>
                <a:prstDash val="solid"/>
                <a:miter/>
              </a:ln>
            </p:spPr>
            <p:txBody>
              <a:bodyPr rtlCol="0" anchor="ctr"/>
              <a:lstStyle/>
              <a:p>
                <a:endParaRPr lang="en-GB"/>
              </a:p>
            </p:txBody>
          </p:sp>
          <p:sp>
            <p:nvSpPr>
              <p:cNvPr id="5231" name="Vrije vorm: vorm 5230">
                <a:extLst>
                  <a:ext uri="{FF2B5EF4-FFF2-40B4-BE49-F238E27FC236}">
                    <a16:creationId xmlns:a16="http://schemas.microsoft.com/office/drawing/2014/main" id="{F7C63DBD-6864-4C94-B3DD-79E7C233DFEC}"/>
                  </a:ext>
                </a:extLst>
              </p:cNvPr>
              <p:cNvSpPr/>
              <p:nvPr/>
            </p:nvSpPr>
            <p:spPr>
              <a:xfrm>
                <a:off x="8191928" y="3505510"/>
                <a:ext cx="18312" cy="18441"/>
              </a:xfrm>
              <a:custGeom>
                <a:avLst/>
                <a:gdLst>
                  <a:gd name="connsiteX0" fmla="*/ 9515 w 18312"/>
                  <a:gd name="connsiteY0" fmla="*/ 10 h 18441"/>
                  <a:gd name="connsiteX1" fmla="*/ 18307 w 18312"/>
                  <a:gd name="connsiteY1" fmla="*/ 9639 h 18441"/>
                  <a:gd name="connsiteX2" fmla="*/ 8797 w 18312"/>
                  <a:gd name="connsiteY2" fmla="*/ 18431 h 18441"/>
                  <a:gd name="connsiteX3" fmla="*/ 6 w 18312"/>
                  <a:gd name="connsiteY3" fmla="*/ 8802 h 18441"/>
                  <a:gd name="connsiteX4" fmla="*/ 9515 w 18312"/>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1">
                    <a:moveTo>
                      <a:pt x="9515" y="10"/>
                    </a:moveTo>
                    <a:cubicBezTo>
                      <a:pt x="14599" y="250"/>
                      <a:pt x="18486" y="4556"/>
                      <a:pt x="18307" y="9639"/>
                    </a:cubicBezTo>
                    <a:cubicBezTo>
                      <a:pt x="18068" y="14723"/>
                      <a:pt x="13821" y="18670"/>
                      <a:pt x="8797" y="18431"/>
                    </a:cubicBezTo>
                    <a:cubicBezTo>
                      <a:pt x="3714" y="18192"/>
                      <a:pt x="-174" y="13886"/>
                      <a:pt x="6" y="8802"/>
                    </a:cubicBezTo>
                    <a:cubicBezTo>
                      <a:pt x="186" y="3718"/>
                      <a:pt x="4432" y="-229"/>
                      <a:pt x="9515" y="10"/>
                    </a:cubicBezTo>
                    <a:close/>
                  </a:path>
                </a:pathLst>
              </a:custGeom>
              <a:grpFill/>
              <a:ln w="5978" cap="flat">
                <a:noFill/>
                <a:prstDash val="solid"/>
                <a:miter/>
              </a:ln>
            </p:spPr>
            <p:txBody>
              <a:bodyPr rtlCol="0" anchor="ctr"/>
              <a:lstStyle/>
              <a:p>
                <a:endParaRPr lang="en-GB"/>
              </a:p>
            </p:txBody>
          </p:sp>
          <p:sp>
            <p:nvSpPr>
              <p:cNvPr id="5232" name="Vrije vorm: vorm 5231">
                <a:extLst>
                  <a:ext uri="{FF2B5EF4-FFF2-40B4-BE49-F238E27FC236}">
                    <a16:creationId xmlns:a16="http://schemas.microsoft.com/office/drawing/2014/main" id="{9E0E7151-B8FC-41EA-8610-89078D19A5DF}"/>
                  </a:ext>
                </a:extLst>
              </p:cNvPr>
              <p:cNvSpPr/>
              <p:nvPr/>
            </p:nvSpPr>
            <p:spPr>
              <a:xfrm>
                <a:off x="8057482" y="3499410"/>
                <a:ext cx="18312" cy="18441"/>
              </a:xfrm>
              <a:custGeom>
                <a:avLst/>
                <a:gdLst>
                  <a:gd name="connsiteX0" fmla="*/ 9515 w 18312"/>
                  <a:gd name="connsiteY0" fmla="*/ 10 h 18441"/>
                  <a:gd name="connsiteX1" fmla="*/ 6 w 18312"/>
                  <a:gd name="connsiteY1" fmla="*/ 8802 h 18441"/>
                  <a:gd name="connsiteX2" fmla="*/ 8797 w 18312"/>
                  <a:gd name="connsiteY2" fmla="*/ 18431 h 18441"/>
                  <a:gd name="connsiteX3" fmla="*/ 18307 w 18312"/>
                  <a:gd name="connsiteY3" fmla="*/ 9639 h 18441"/>
                  <a:gd name="connsiteX4" fmla="*/ 9515 w 18312"/>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1">
                    <a:moveTo>
                      <a:pt x="9515" y="10"/>
                    </a:moveTo>
                    <a:cubicBezTo>
                      <a:pt x="4432" y="-229"/>
                      <a:pt x="185" y="3718"/>
                      <a:pt x="6" y="8802"/>
                    </a:cubicBezTo>
                    <a:cubicBezTo>
                      <a:pt x="-174" y="13886"/>
                      <a:pt x="3714" y="18192"/>
                      <a:pt x="8797" y="18431"/>
                    </a:cubicBezTo>
                    <a:cubicBezTo>
                      <a:pt x="13881" y="18670"/>
                      <a:pt x="18127" y="14723"/>
                      <a:pt x="18307" y="9639"/>
                    </a:cubicBezTo>
                    <a:cubicBezTo>
                      <a:pt x="18486" y="4556"/>
                      <a:pt x="14539" y="250"/>
                      <a:pt x="9515" y="10"/>
                    </a:cubicBezTo>
                    <a:close/>
                  </a:path>
                </a:pathLst>
              </a:custGeom>
              <a:grpFill/>
              <a:ln w="5978" cap="flat">
                <a:noFill/>
                <a:prstDash val="solid"/>
                <a:miter/>
              </a:ln>
            </p:spPr>
            <p:txBody>
              <a:bodyPr rtlCol="0" anchor="ctr"/>
              <a:lstStyle/>
              <a:p>
                <a:endParaRPr lang="en-GB"/>
              </a:p>
            </p:txBody>
          </p:sp>
        </p:grpSp>
        <p:grpSp>
          <p:nvGrpSpPr>
            <p:cNvPr id="48" name="Graphic 3">
              <a:extLst>
                <a:ext uri="{FF2B5EF4-FFF2-40B4-BE49-F238E27FC236}">
                  <a16:creationId xmlns:a16="http://schemas.microsoft.com/office/drawing/2014/main" id="{BFE674B9-8847-4AFB-B63F-009776E97278}"/>
                </a:ext>
              </a:extLst>
            </p:cNvPr>
            <p:cNvGrpSpPr/>
            <p:nvPr/>
          </p:nvGrpSpPr>
          <p:grpSpPr>
            <a:xfrm>
              <a:off x="7527864" y="1845451"/>
              <a:ext cx="116781" cy="115750"/>
              <a:chOff x="7527864" y="1845451"/>
              <a:chExt cx="116781" cy="115750"/>
            </a:xfrm>
            <a:grpFill/>
          </p:grpSpPr>
          <p:sp>
            <p:nvSpPr>
              <p:cNvPr id="5227" name="Vrije vorm: vorm 5226">
                <a:extLst>
                  <a:ext uri="{FF2B5EF4-FFF2-40B4-BE49-F238E27FC236}">
                    <a16:creationId xmlns:a16="http://schemas.microsoft.com/office/drawing/2014/main" id="{E96F12F4-6AFF-4ABE-AADC-8A760F7B5AED}"/>
                  </a:ext>
                </a:extLst>
              </p:cNvPr>
              <p:cNvSpPr/>
              <p:nvPr/>
            </p:nvSpPr>
            <p:spPr>
              <a:xfrm>
                <a:off x="7535670" y="1853226"/>
                <a:ext cx="101193" cy="100177"/>
              </a:xfrm>
              <a:custGeom>
                <a:avLst/>
                <a:gdLst>
                  <a:gd name="connsiteX0" fmla="*/ 101193 w 101193"/>
                  <a:gd name="connsiteY0" fmla="*/ 2213 h 100177"/>
                  <a:gd name="connsiteX1" fmla="*/ 2153 w 101193"/>
                  <a:gd name="connsiteY1" fmla="*/ 100177 h 100177"/>
                  <a:gd name="connsiteX2" fmla="*/ 0 w 101193"/>
                  <a:gd name="connsiteY2" fmla="*/ 97964 h 100177"/>
                  <a:gd name="connsiteX3" fmla="*/ 99040 w 101193"/>
                  <a:gd name="connsiteY3" fmla="*/ 0 h 100177"/>
                </a:gdLst>
                <a:ahLst/>
                <a:cxnLst>
                  <a:cxn ang="0">
                    <a:pos x="connsiteX0" y="connsiteY0"/>
                  </a:cxn>
                  <a:cxn ang="0">
                    <a:pos x="connsiteX1" y="connsiteY1"/>
                  </a:cxn>
                  <a:cxn ang="0">
                    <a:pos x="connsiteX2" y="connsiteY2"/>
                  </a:cxn>
                  <a:cxn ang="0">
                    <a:pos x="connsiteX3" y="connsiteY3"/>
                  </a:cxn>
                </a:cxnLst>
                <a:rect l="l" t="t" r="r" b="b"/>
                <a:pathLst>
                  <a:path w="101193" h="100177">
                    <a:moveTo>
                      <a:pt x="101193" y="2213"/>
                    </a:moveTo>
                    <a:lnTo>
                      <a:pt x="2153" y="100177"/>
                    </a:lnTo>
                    <a:lnTo>
                      <a:pt x="0" y="97964"/>
                    </a:lnTo>
                    <a:lnTo>
                      <a:pt x="99040" y="0"/>
                    </a:lnTo>
                    <a:close/>
                  </a:path>
                </a:pathLst>
              </a:custGeom>
              <a:grpFill/>
              <a:ln w="5978" cap="flat">
                <a:noFill/>
                <a:prstDash val="solid"/>
                <a:miter/>
              </a:ln>
            </p:spPr>
            <p:txBody>
              <a:bodyPr rtlCol="0" anchor="ctr"/>
              <a:lstStyle/>
              <a:p>
                <a:endParaRPr lang="en-GB"/>
              </a:p>
            </p:txBody>
          </p:sp>
          <p:sp>
            <p:nvSpPr>
              <p:cNvPr id="5228" name="Vrije vorm: vorm 5227">
                <a:extLst>
                  <a:ext uri="{FF2B5EF4-FFF2-40B4-BE49-F238E27FC236}">
                    <a16:creationId xmlns:a16="http://schemas.microsoft.com/office/drawing/2014/main" id="{75A2447F-6569-4CD8-B577-9CCEE5D1BCA2}"/>
                  </a:ext>
                </a:extLst>
              </p:cNvPr>
              <p:cNvSpPr/>
              <p:nvPr/>
            </p:nvSpPr>
            <p:spPr>
              <a:xfrm>
                <a:off x="7626307" y="1845451"/>
                <a:ext cx="18338" cy="18444"/>
              </a:xfrm>
              <a:custGeom>
                <a:avLst/>
                <a:gdLst>
                  <a:gd name="connsiteX0" fmla="*/ 2721 w 18338"/>
                  <a:gd name="connsiteY0" fmla="*/ 2632 h 18444"/>
                  <a:gd name="connsiteX1" fmla="*/ 15699 w 18338"/>
                  <a:gd name="connsiteY1" fmla="*/ 2752 h 18444"/>
                  <a:gd name="connsiteX2" fmla="*/ 15640 w 18338"/>
                  <a:gd name="connsiteY2" fmla="*/ 15790 h 18444"/>
                  <a:gd name="connsiteX3" fmla="*/ 2661 w 18338"/>
                  <a:gd name="connsiteY3" fmla="*/ 15670 h 18444"/>
                  <a:gd name="connsiteX4" fmla="*/ 2721 w 18338"/>
                  <a:gd name="connsiteY4" fmla="*/ 26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44">
                    <a:moveTo>
                      <a:pt x="2721" y="2632"/>
                    </a:moveTo>
                    <a:cubicBezTo>
                      <a:pt x="6310" y="-956"/>
                      <a:pt x="12111" y="-837"/>
                      <a:pt x="15699" y="2752"/>
                    </a:cubicBezTo>
                    <a:cubicBezTo>
                      <a:pt x="19228" y="6400"/>
                      <a:pt x="19228" y="12201"/>
                      <a:pt x="15640" y="15790"/>
                    </a:cubicBezTo>
                    <a:cubicBezTo>
                      <a:pt x="12051" y="19378"/>
                      <a:pt x="6250" y="19318"/>
                      <a:pt x="2661" y="15670"/>
                    </a:cubicBezTo>
                    <a:cubicBezTo>
                      <a:pt x="-927" y="12022"/>
                      <a:pt x="-867" y="6161"/>
                      <a:pt x="2721" y="2632"/>
                    </a:cubicBezTo>
                    <a:close/>
                  </a:path>
                </a:pathLst>
              </a:custGeom>
              <a:grpFill/>
              <a:ln w="5978" cap="flat">
                <a:noFill/>
                <a:prstDash val="solid"/>
                <a:miter/>
              </a:ln>
            </p:spPr>
            <p:txBody>
              <a:bodyPr rtlCol="0" anchor="ctr"/>
              <a:lstStyle/>
              <a:p>
                <a:endParaRPr lang="en-GB"/>
              </a:p>
            </p:txBody>
          </p:sp>
          <p:sp>
            <p:nvSpPr>
              <p:cNvPr id="5229" name="Vrije vorm: vorm 5228">
                <a:extLst>
                  <a:ext uri="{FF2B5EF4-FFF2-40B4-BE49-F238E27FC236}">
                    <a16:creationId xmlns:a16="http://schemas.microsoft.com/office/drawing/2014/main" id="{69245FC8-6DD9-4A51-AC20-16BF3C4AF622}"/>
                  </a:ext>
                </a:extLst>
              </p:cNvPr>
              <p:cNvSpPr/>
              <p:nvPr/>
            </p:nvSpPr>
            <p:spPr>
              <a:xfrm>
                <a:off x="7527864" y="1942780"/>
                <a:ext cx="18361" cy="18421"/>
              </a:xfrm>
              <a:custGeom>
                <a:avLst/>
                <a:gdLst>
                  <a:gd name="connsiteX0" fmla="*/ 2721 w 18361"/>
                  <a:gd name="connsiteY0" fmla="*/ 2610 h 18421"/>
                  <a:gd name="connsiteX1" fmla="*/ 2662 w 18361"/>
                  <a:gd name="connsiteY1" fmla="*/ 15647 h 18421"/>
                  <a:gd name="connsiteX2" fmla="*/ 15640 w 18361"/>
                  <a:gd name="connsiteY2" fmla="*/ 15767 h 18421"/>
                  <a:gd name="connsiteX3" fmla="*/ 15700 w 18361"/>
                  <a:gd name="connsiteY3" fmla="*/ 2729 h 18421"/>
                  <a:gd name="connsiteX4" fmla="*/ 2721 w 18361"/>
                  <a:gd name="connsiteY4" fmla="*/ 26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2721" y="2610"/>
                    </a:moveTo>
                    <a:cubicBezTo>
                      <a:pt x="-867" y="6198"/>
                      <a:pt x="-927" y="11999"/>
                      <a:pt x="2662" y="15647"/>
                    </a:cubicBezTo>
                    <a:cubicBezTo>
                      <a:pt x="6191" y="19296"/>
                      <a:pt x="11992" y="19355"/>
                      <a:pt x="15640" y="15767"/>
                    </a:cubicBezTo>
                    <a:cubicBezTo>
                      <a:pt x="19228" y="12239"/>
                      <a:pt x="19288" y="6377"/>
                      <a:pt x="15700" y="2729"/>
                    </a:cubicBezTo>
                    <a:cubicBezTo>
                      <a:pt x="12171" y="-859"/>
                      <a:pt x="6370" y="-919"/>
                      <a:pt x="2721" y="2610"/>
                    </a:cubicBezTo>
                    <a:close/>
                  </a:path>
                </a:pathLst>
              </a:custGeom>
              <a:grpFill/>
              <a:ln w="5978" cap="flat">
                <a:noFill/>
                <a:prstDash val="solid"/>
                <a:miter/>
              </a:ln>
            </p:spPr>
            <p:txBody>
              <a:bodyPr rtlCol="0" anchor="ctr"/>
              <a:lstStyle/>
              <a:p>
                <a:endParaRPr lang="en-GB"/>
              </a:p>
            </p:txBody>
          </p:sp>
        </p:grpSp>
        <p:grpSp>
          <p:nvGrpSpPr>
            <p:cNvPr id="49" name="Graphic 3">
              <a:extLst>
                <a:ext uri="{FF2B5EF4-FFF2-40B4-BE49-F238E27FC236}">
                  <a16:creationId xmlns:a16="http://schemas.microsoft.com/office/drawing/2014/main" id="{87FC05CE-2294-4A4B-A4A4-7BC011A11FB0}"/>
                </a:ext>
              </a:extLst>
            </p:cNvPr>
            <p:cNvGrpSpPr/>
            <p:nvPr/>
          </p:nvGrpSpPr>
          <p:grpSpPr>
            <a:xfrm>
              <a:off x="7550110" y="1913509"/>
              <a:ext cx="83414" cy="80410"/>
              <a:chOff x="7550110" y="1913509"/>
              <a:chExt cx="83414" cy="80410"/>
            </a:xfrm>
            <a:grpFill/>
          </p:grpSpPr>
          <p:sp>
            <p:nvSpPr>
              <p:cNvPr id="5224" name="Vrije vorm: vorm 5223">
                <a:extLst>
                  <a:ext uri="{FF2B5EF4-FFF2-40B4-BE49-F238E27FC236}">
                    <a16:creationId xmlns:a16="http://schemas.microsoft.com/office/drawing/2014/main" id="{B5600F57-F8A4-443F-BD4D-1D6C7882B8F1}"/>
                  </a:ext>
                </a:extLst>
              </p:cNvPr>
              <p:cNvSpPr/>
              <p:nvPr/>
            </p:nvSpPr>
            <p:spPr>
              <a:xfrm>
                <a:off x="7557858" y="1921287"/>
                <a:ext cx="67881" cy="64830"/>
              </a:xfrm>
              <a:custGeom>
                <a:avLst/>
                <a:gdLst>
                  <a:gd name="connsiteX0" fmla="*/ 67881 w 67881"/>
                  <a:gd name="connsiteY0" fmla="*/ 2213 h 64830"/>
                  <a:gd name="connsiteX1" fmla="*/ 2093 w 67881"/>
                  <a:gd name="connsiteY1" fmla="*/ 64831 h 64830"/>
                  <a:gd name="connsiteX2" fmla="*/ 0 w 67881"/>
                  <a:gd name="connsiteY2" fmla="*/ 62618 h 64830"/>
                  <a:gd name="connsiteX3" fmla="*/ 65728 w 67881"/>
                  <a:gd name="connsiteY3" fmla="*/ 0 h 64830"/>
                </a:gdLst>
                <a:ahLst/>
                <a:cxnLst>
                  <a:cxn ang="0">
                    <a:pos x="connsiteX0" y="connsiteY0"/>
                  </a:cxn>
                  <a:cxn ang="0">
                    <a:pos x="connsiteX1" y="connsiteY1"/>
                  </a:cxn>
                  <a:cxn ang="0">
                    <a:pos x="connsiteX2" y="connsiteY2"/>
                  </a:cxn>
                  <a:cxn ang="0">
                    <a:pos x="connsiteX3" y="connsiteY3"/>
                  </a:cxn>
                </a:cxnLst>
                <a:rect l="l" t="t" r="r" b="b"/>
                <a:pathLst>
                  <a:path w="67881" h="64830">
                    <a:moveTo>
                      <a:pt x="67881" y="2213"/>
                    </a:moveTo>
                    <a:lnTo>
                      <a:pt x="2093" y="64831"/>
                    </a:lnTo>
                    <a:lnTo>
                      <a:pt x="0" y="62618"/>
                    </a:lnTo>
                    <a:lnTo>
                      <a:pt x="65728" y="0"/>
                    </a:lnTo>
                    <a:close/>
                  </a:path>
                </a:pathLst>
              </a:custGeom>
              <a:grpFill/>
              <a:ln w="5978" cap="flat">
                <a:noFill/>
                <a:prstDash val="solid"/>
                <a:miter/>
              </a:ln>
            </p:spPr>
            <p:txBody>
              <a:bodyPr rtlCol="0" anchor="ctr"/>
              <a:lstStyle/>
              <a:p>
                <a:endParaRPr lang="en-GB"/>
              </a:p>
            </p:txBody>
          </p:sp>
          <p:sp>
            <p:nvSpPr>
              <p:cNvPr id="5225" name="Vrije vorm: vorm 5224">
                <a:extLst>
                  <a:ext uri="{FF2B5EF4-FFF2-40B4-BE49-F238E27FC236}">
                    <a16:creationId xmlns:a16="http://schemas.microsoft.com/office/drawing/2014/main" id="{7E23BD69-DBF3-49B6-BAB2-EE2749C93CBF}"/>
                  </a:ext>
                </a:extLst>
              </p:cNvPr>
              <p:cNvSpPr/>
              <p:nvPr/>
            </p:nvSpPr>
            <p:spPr>
              <a:xfrm>
                <a:off x="7615180" y="1913509"/>
                <a:ext cx="18343" cy="18426"/>
              </a:xfrm>
              <a:custGeom>
                <a:avLst/>
                <a:gdLst>
                  <a:gd name="connsiteX0" fmla="*/ 2844 w 18343"/>
                  <a:gd name="connsiteY0" fmla="*/ 2515 h 18426"/>
                  <a:gd name="connsiteX1" fmla="*/ 15822 w 18343"/>
                  <a:gd name="connsiteY1" fmla="*/ 2874 h 18426"/>
                  <a:gd name="connsiteX2" fmla="*/ 15523 w 18343"/>
                  <a:gd name="connsiteY2" fmla="*/ 15912 h 18426"/>
                  <a:gd name="connsiteX3" fmla="*/ 2545 w 18343"/>
                  <a:gd name="connsiteY3" fmla="*/ 15553 h 18426"/>
                  <a:gd name="connsiteX4" fmla="*/ 2844 w 18343"/>
                  <a:gd name="connsiteY4" fmla="*/ 25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6">
                    <a:moveTo>
                      <a:pt x="2844" y="2515"/>
                    </a:moveTo>
                    <a:cubicBezTo>
                      <a:pt x="6492" y="-954"/>
                      <a:pt x="12293" y="-834"/>
                      <a:pt x="15822" y="2874"/>
                    </a:cubicBezTo>
                    <a:cubicBezTo>
                      <a:pt x="19291" y="6582"/>
                      <a:pt x="19171" y="12383"/>
                      <a:pt x="15523" y="15912"/>
                    </a:cubicBezTo>
                    <a:cubicBezTo>
                      <a:pt x="11874" y="19380"/>
                      <a:pt x="6073" y="19261"/>
                      <a:pt x="2545" y="15553"/>
                    </a:cubicBezTo>
                    <a:cubicBezTo>
                      <a:pt x="-984" y="11845"/>
                      <a:pt x="-805" y="5984"/>
                      <a:pt x="2844" y="2515"/>
                    </a:cubicBezTo>
                    <a:close/>
                  </a:path>
                </a:pathLst>
              </a:custGeom>
              <a:grpFill/>
              <a:ln w="5978" cap="flat">
                <a:noFill/>
                <a:prstDash val="solid"/>
                <a:miter/>
              </a:ln>
            </p:spPr>
            <p:txBody>
              <a:bodyPr rtlCol="0" anchor="ctr"/>
              <a:lstStyle/>
              <a:p>
                <a:endParaRPr lang="en-GB"/>
              </a:p>
            </p:txBody>
          </p:sp>
          <p:sp>
            <p:nvSpPr>
              <p:cNvPr id="5226" name="Vrije vorm: vorm 5225">
                <a:extLst>
                  <a:ext uri="{FF2B5EF4-FFF2-40B4-BE49-F238E27FC236}">
                    <a16:creationId xmlns:a16="http://schemas.microsoft.com/office/drawing/2014/main" id="{4A673EBA-FD37-4B6B-BB39-3163B8FA6111}"/>
                  </a:ext>
                </a:extLst>
              </p:cNvPr>
              <p:cNvSpPr/>
              <p:nvPr/>
            </p:nvSpPr>
            <p:spPr>
              <a:xfrm>
                <a:off x="7550110" y="1975491"/>
                <a:ext cx="18366" cy="18428"/>
              </a:xfrm>
              <a:custGeom>
                <a:avLst/>
                <a:gdLst>
                  <a:gd name="connsiteX0" fmla="*/ 2844 w 18366"/>
                  <a:gd name="connsiteY0" fmla="*/ 2493 h 18428"/>
                  <a:gd name="connsiteX1" fmla="*/ 2545 w 18366"/>
                  <a:gd name="connsiteY1" fmla="*/ 15531 h 18428"/>
                  <a:gd name="connsiteX2" fmla="*/ 15523 w 18366"/>
                  <a:gd name="connsiteY2" fmla="*/ 15890 h 18428"/>
                  <a:gd name="connsiteX3" fmla="*/ 15822 w 18366"/>
                  <a:gd name="connsiteY3" fmla="*/ 2852 h 18428"/>
                  <a:gd name="connsiteX4" fmla="*/ 2844 w 18366"/>
                  <a:gd name="connsiteY4" fmla="*/ 2493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8">
                    <a:moveTo>
                      <a:pt x="2844" y="2493"/>
                    </a:moveTo>
                    <a:cubicBezTo>
                      <a:pt x="-805" y="5962"/>
                      <a:pt x="-984" y="11823"/>
                      <a:pt x="2545" y="15531"/>
                    </a:cubicBezTo>
                    <a:cubicBezTo>
                      <a:pt x="6013" y="19239"/>
                      <a:pt x="11815" y="19419"/>
                      <a:pt x="15523" y="15890"/>
                    </a:cubicBezTo>
                    <a:cubicBezTo>
                      <a:pt x="19171" y="12421"/>
                      <a:pt x="19350" y="6560"/>
                      <a:pt x="15822" y="2852"/>
                    </a:cubicBezTo>
                    <a:cubicBezTo>
                      <a:pt x="12293" y="-796"/>
                      <a:pt x="6492" y="-976"/>
                      <a:pt x="2844" y="2493"/>
                    </a:cubicBezTo>
                    <a:close/>
                  </a:path>
                </a:pathLst>
              </a:custGeom>
              <a:grpFill/>
              <a:ln w="5978" cap="flat">
                <a:noFill/>
                <a:prstDash val="solid"/>
                <a:miter/>
              </a:ln>
            </p:spPr>
            <p:txBody>
              <a:bodyPr rtlCol="0" anchor="ctr"/>
              <a:lstStyle/>
              <a:p>
                <a:endParaRPr lang="en-GB"/>
              </a:p>
            </p:txBody>
          </p:sp>
        </p:grpSp>
        <p:grpSp>
          <p:nvGrpSpPr>
            <p:cNvPr id="50" name="Graphic 3">
              <a:extLst>
                <a:ext uri="{FF2B5EF4-FFF2-40B4-BE49-F238E27FC236}">
                  <a16:creationId xmlns:a16="http://schemas.microsoft.com/office/drawing/2014/main" id="{6C80F267-FCA0-459B-BCCD-88646651B129}"/>
                </a:ext>
              </a:extLst>
            </p:cNvPr>
            <p:cNvGrpSpPr/>
            <p:nvPr/>
          </p:nvGrpSpPr>
          <p:grpSpPr>
            <a:xfrm>
              <a:off x="7559792" y="1938682"/>
              <a:ext cx="106331" cy="99142"/>
              <a:chOff x="7559792" y="1938682"/>
              <a:chExt cx="106331" cy="99142"/>
            </a:xfrm>
            <a:grpFill/>
          </p:grpSpPr>
          <p:sp>
            <p:nvSpPr>
              <p:cNvPr id="5221" name="Vrije vorm: vorm 5220">
                <a:extLst>
                  <a:ext uri="{FF2B5EF4-FFF2-40B4-BE49-F238E27FC236}">
                    <a16:creationId xmlns:a16="http://schemas.microsoft.com/office/drawing/2014/main" id="{B2858173-FF00-42C6-BCB0-406AF9F87CE9}"/>
                  </a:ext>
                </a:extLst>
              </p:cNvPr>
              <p:cNvSpPr/>
              <p:nvPr/>
            </p:nvSpPr>
            <p:spPr>
              <a:xfrm>
                <a:off x="7567547" y="1946466"/>
                <a:ext cx="90727" cy="83550"/>
              </a:xfrm>
              <a:custGeom>
                <a:avLst/>
                <a:gdLst>
                  <a:gd name="connsiteX0" fmla="*/ 90728 w 90727"/>
                  <a:gd name="connsiteY0" fmla="*/ 2273 h 83550"/>
                  <a:gd name="connsiteX1" fmla="*/ 2093 w 90727"/>
                  <a:gd name="connsiteY1" fmla="*/ 83551 h 83550"/>
                  <a:gd name="connsiteX2" fmla="*/ 0 w 90727"/>
                  <a:gd name="connsiteY2" fmla="*/ 81278 h 83550"/>
                  <a:gd name="connsiteX3" fmla="*/ 88694 w 90727"/>
                  <a:gd name="connsiteY3" fmla="*/ 0 h 83550"/>
                </a:gdLst>
                <a:ahLst/>
                <a:cxnLst>
                  <a:cxn ang="0">
                    <a:pos x="connsiteX0" y="connsiteY0"/>
                  </a:cxn>
                  <a:cxn ang="0">
                    <a:pos x="connsiteX1" y="connsiteY1"/>
                  </a:cxn>
                  <a:cxn ang="0">
                    <a:pos x="connsiteX2" y="connsiteY2"/>
                  </a:cxn>
                  <a:cxn ang="0">
                    <a:pos x="connsiteX3" y="connsiteY3"/>
                  </a:cxn>
                </a:cxnLst>
                <a:rect l="l" t="t" r="r" b="b"/>
                <a:pathLst>
                  <a:path w="90727" h="83550">
                    <a:moveTo>
                      <a:pt x="90728" y="2273"/>
                    </a:moveTo>
                    <a:lnTo>
                      <a:pt x="2093" y="83551"/>
                    </a:lnTo>
                    <a:lnTo>
                      <a:pt x="0" y="81278"/>
                    </a:lnTo>
                    <a:lnTo>
                      <a:pt x="88694" y="0"/>
                    </a:lnTo>
                    <a:close/>
                  </a:path>
                </a:pathLst>
              </a:custGeom>
              <a:grpFill/>
              <a:ln w="5978" cap="flat">
                <a:noFill/>
                <a:prstDash val="solid"/>
                <a:miter/>
              </a:ln>
            </p:spPr>
            <p:txBody>
              <a:bodyPr rtlCol="0" anchor="ctr"/>
              <a:lstStyle/>
              <a:p>
                <a:endParaRPr lang="en-GB"/>
              </a:p>
            </p:txBody>
          </p:sp>
          <p:sp>
            <p:nvSpPr>
              <p:cNvPr id="5222" name="Vrije vorm: vorm 5221">
                <a:extLst>
                  <a:ext uri="{FF2B5EF4-FFF2-40B4-BE49-F238E27FC236}">
                    <a16:creationId xmlns:a16="http://schemas.microsoft.com/office/drawing/2014/main" id="{05F9BD5F-C07E-410A-976E-0F5CB126D7B7}"/>
                  </a:ext>
                </a:extLst>
              </p:cNvPr>
              <p:cNvSpPr/>
              <p:nvPr/>
            </p:nvSpPr>
            <p:spPr>
              <a:xfrm>
                <a:off x="7647756" y="1938682"/>
                <a:ext cx="18367" cy="18438"/>
              </a:xfrm>
              <a:custGeom>
                <a:avLst/>
                <a:gdLst>
                  <a:gd name="connsiteX0" fmla="*/ 2982 w 18367"/>
                  <a:gd name="connsiteY0" fmla="*/ 2401 h 18438"/>
                  <a:gd name="connsiteX1" fmla="*/ 15960 w 18367"/>
                  <a:gd name="connsiteY1" fmla="*/ 2999 h 18438"/>
                  <a:gd name="connsiteX2" fmla="*/ 15422 w 18367"/>
                  <a:gd name="connsiteY2" fmla="*/ 16038 h 18438"/>
                  <a:gd name="connsiteX3" fmla="*/ 2503 w 18367"/>
                  <a:gd name="connsiteY3" fmla="*/ 15439 h 18438"/>
                  <a:gd name="connsiteX4" fmla="*/ 2982 w 18367"/>
                  <a:gd name="connsiteY4" fmla="*/ 24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38">
                    <a:moveTo>
                      <a:pt x="2982" y="2401"/>
                    </a:moveTo>
                    <a:cubicBezTo>
                      <a:pt x="6690" y="-1008"/>
                      <a:pt x="12491" y="-768"/>
                      <a:pt x="15960" y="2999"/>
                    </a:cubicBezTo>
                    <a:cubicBezTo>
                      <a:pt x="19369" y="6767"/>
                      <a:pt x="19130" y="12569"/>
                      <a:pt x="15422" y="16038"/>
                    </a:cubicBezTo>
                    <a:cubicBezTo>
                      <a:pt x="11714" y="19446"/>
                      <a:pt x="5913" y="19207"/>
                      <a:pt x="2503" y="15439"/>
                    </a:cubicBezTo>
                    <a:cubicBezTo>
                      <a:pt x="-1025" y="11612"/>
                      <a:pt x="-786" y="5810"/>
                      <a:pt x="2982" y="2401"/>
                    </a:cubicBezTo>
                    <a:close/>
                  </a:path>
                </a:pathLst>
              </a:custGeom>
              <a:grpFill/>
              <a:ln w="5978" cap="flat">
                <a:noFill/>
                <a:prstDash val="solid"/>
                <a:miter/>
              </a:ln>
            </p:spPr>
            <p:txBody>
              <a:bodyPr rtlCol="0" anchor="ctr"/>
              <a:lstStyle/>
              <a:p>
                <a:endParaRPr lang="en-GB"/>
              </a:p>
            </p:txBody>
          </p:sp>
          <p:sp>
            <p:nvSpPr>
              <p:cNvPr id="5223" name="Vrije vorm: vorm 5222">
                <a:extLst>
                  <a:ext uri="{FF2B5EF4-FFF2-40B4-BE49-F238E27FC236}">
                    <a16:creationId xmlns:a16="http://schemas.microsoft.com/office/drawing/2014/main" id="{21A12824-82FA-4605-9426-6686444D0BE1}"/>
                  </a:ext>
                </a:extLst>
              </p:cNvPr>
              <p:cNvSpPr/>
              <p:nvPr/>
            </p:nvSpPr>
            <p:spPr>
              <a:xfrm>
                <a:off x="7559792" y="2019383"/>
                <a:ext cx="18379" cy="18441"/>
              </a:xfrm>
              <a:custGeom>
                <a:avLst/>
                <a:gdLst>
                  <a:gd name="connsiteX0" fmla="*/ 2969 w 18379"/>
                  <a:gd name="connsiteY0" fmla="*/ 2380 h 18441"/>
                  <a:gd name="connsiteX1" fmla="*/ 2431 w 18379"/>
                  <a:gd name="connsiteY1" fmla="*/ 15418 h 18441"/>
                  <a:gd name="connsiteX2" fmla="*/ 15410 w 18379"/>
                  <a:gd name="connsiteY2" fmla="*/ 16016 h 18441"/>
                  <a:gd name="connsiteX3" fmla="*/ 15948 w 18379"/>
                  <a:gd name="connsiteY3" fmla="*/ 2979 h 18441"/>
                  <a:gd name="connsiteX4" fmla="*/ 2969 w 18379"/>
                  <a:gd name="connsiteY4" fmla="*/ 238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41">
                    <a:moveTo>
                      <a:pt x="2969" y="2380"/>
                    </a:moveTo>
                    <a:cubicBezTo>
                      <a:pt x="-739" y="5789"/>
                      <a:pt x="-1037" y="11651"/>
                      <a:pt x="2431" y="15418"/>
                    </a:cubicBezTo>
                    <a:cubicBezTo>
                      <a:pt x="5841" y="19186"/>
                      <a:pt x="11642" y="19485"/>
                      <a:pt x="15410" y="16016"/>
                    </a:cubicBezTo>
                    <a:cubicBezTo>
                      <a:pt x="19118" y="12607"/>
                      <a:pt x="19416" y="6746"/>
                      <a:pt x="15948" y="2979"/>
                    </a:cubicBezTo>
                    <a:cubicBezTo>
                      <a:pt x="12479" y="-730"/>
                      <a:pt x="6677" y="-1029"/>
                      <a:pt x="2969" y="2380"/>
                    </a:cubicBezTo>
                    <a:close/>
                  </a:path>
                </a:pathLst>
              </a:custGeom>
              <a:grpFill/>
              <a:ln w="5978" cap="flat">
                <a:noFill/>
                <a:prstDash val="solid"/>
                <a:miter/>
              </a:ln>
            </p:spPr>
            <p:txBody>
              <a:bodyPr rtlCol="0" anchor="ctr"/>
              <a:lstStyle/>
              <a:p>
                <a:endParaRPr lang="en-GB"/>
              </a:p>
            </p:txBody>
          </p:sp>
        </p:grpSp>
        <p:grpSp>
          <p:nvGrpSpPr>
            <p:cNvPr id="51" name="Graphic 3">
              <a:extLst>
                <a:ext uri="{FF2B5EF4-FFF2-40B4-BE49-F238E27FC236}">
                  <a16:creationId xmlns:a16="http://schemas.microsoft.com/office/drawing/2014/main" id="{58D521CC-573C-411A-BB36-0ACB4D99961F}"/>
                </a:ext>
              </a:extLst>
            </p:cNvPr>
            <p:cNvGrpSpPr/>
            <p:nvPr/>
          </p:nvGrpSpPr>
          <p:grpSpPr>
            <a:xfrm>
              <a:off x="7738274" y="3421946"/>
              <a:ext cx="749962" cy="68765"/>
              <a:chOff x="7738274" y="3421946"/>
              <a:chExt cx="749962" cy="68765"/>
            </a:xfrm>
            <a:grpFill/>
          </p:grpSpPr>
          <p:sp>
            <p:nvSpPr>
              <p:cNvPr id="5218" name="Vrije vorm: vorm 5217">
                <a:extLst>
                  <a:ext uri="{FF2B5EF4-FFF2-40B4-BE49-F238E27FC236}">
                    <a16:creationId xmlns:a16="http://schemas.microsoft.com/office/drawing/2014/main" id="{735D828D-4A4A-41E8-920E-B726903CBB68}"/>
                  </a:ext>
                </a:extLst>
              </p:cNvPr>
              <p:cNvSpPr/>
              <p:nvPr/>
            </p:nvSpPr>
            <p:spPr>
              <a:xfrm>
                <a:off x="7746849" y="3429565"/>
                <a:ext cx="732758" cy="53527"/>
              </a:xfrm>
              <a:custGeom>
                <a:avLst/>
                <a:gdLst>
                  <a:gd name="connsiteX0" fmla="*/ 732758 w 732758"/>
                  <a:gd name="connsiteY0" fmla="*/ 50477 h 53527"/>
                  <a:gd name="connsiteX1" fmla="*/ 732579 w 732758"/>
                  <a:gd name="connsiteY1" fmla="*/ 53527 h 53527"/>
                  <a:gd name="connsiteX2" fmla="*/ 0 w 732758"/>
                  <a:gd name="connsiteY2" fmla="*/ 3050 h 53527"/>
                  <a:gd name="connsiteX3" fmla="*/ 180 w 732758"/>
                  <a:gd name="connsiteY3" fmla="*/ 0 h 53527"/>
                </a:gdLst>
                <a:ahLst/>
                <a:cxnLst>
                  <a:cxn ang="0">
                    <a:pos x="connsiteX0" y="connsiteY0"/>
                  </a:cxn>
                  <a:cxn ang="0">
                    <a:pos x="connsiteX1" y="connsiteY1"/>
                  </a:cxn>
                  <a:cxn ang="0">
                    <a:pos x="connsiteX2" y="connsiteY2"/>
                  </a:cxn>
                  <a:cxn ang="0">
                    <a:pos x="connsiteX3" y="connsiteY3"/>
                  </a:cxn>
                </a:cxnLst>
                <a:rect l="l" t="t" r="r" b="b"/>
                <a:pathLst>
                  <a:path w="732758" h="53527">
                    <a:moveTo>
                      <a:pt x="732758" y="50477"/>
                    </a:moveTo>
                    <a:lnTo>
                      <a:pt x="732579" y="53527"/>
                    </a:lnTo>
                    <a:lnTo>
                      <a:pt x="0" y="3050"/>
                    </a:lnTo>
                    <a:lnTo>
                      <a:pt x="180" y="0"/>
                    </a:lnTo>
                    <a:close/>
                  </a:path>
                </a:pathLst>
              </a:custGeom>
              <a:grpFill/>
              <a:ln w="5978" cap="flat">
                <a:noFill/>
                <a:prstDash val="solid"/>
                <a:miter/>
              </a:ln>
            </p:spPr>
            <p:txBody>
              <a:bodyPr rtlCol="0" anchor="ctr"/>
              <a:lstStyle/>
              <a:p>
                <a:endParaRPr lang="en-GB"/>
              </a:p>
            </p:txBody>
          </p:sp>
          <p:sp>
            <p:nvSpPr>
              <p:cNvPr id="5219" name="Vrije vorm: vorm 5218">
                <a:extLst>
                  <a:ext uri="{FF2B5EF4-FFF2-40B4-BE49-F238E27FC236}">
                    <a16:creationId xmlns:a16="http://schemas.microsoft.com/office/drawing/2014/main" id="{0653147B-7A7F-4F80-A9C2-54B2FC762856}"/>
                  </a:ext>
                </a:extLst>
              </p:cNvPr>
              <p:cNvSpPr/>
              <p:nvPr/>
            </p:nvSpPr>
            <p:spPr>
              <a:xfrm>
                <a:off x="7738274" y="3421946"/>
                <a:ext cx="18340" cy="18407"/>
              </a:xfrm>
              <a:custGeom>
                <a:avLst/>
                <a:gdLst>
                  <a:gd name="connsiteX0" fmla="*/ 8575 w 18340"/>
                  <a:gd name="connsiteY0" fmla="*/ 18384 h 18407"/>
                  <a:gd name="connsiteX1" fmla="*/ 23 w 18340"/>
                  <a:gd name="connsiteY1" fmla="*/ 8576 h 18407"/>
                  <a:gd name="connsiteX2" fmla="*/ 9772 w 18340"/>
                  <a:gd name="connsiteY2" fmla="*/ 23 h 18407"/>
                  <a:gd name="connsiteX3" fmla="*/ 18324 w 18340"/>
                  <a:gd name="connsiteY3" fmla="*/ 9832 h 18407"/>
                  <a:gd name="connsiteX4" fmla="*/ 8575 w 18340"/>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7">
                    <a:moveTo>
                      <a:pt x="8575" y="18384"/>
                    </a:moveTo>
                    <a:cubicBezTo>
                      <a:pt x="3551" y="18025"/>
                      <a:pt x="-336" y="13659"/>
                      <a:pt x="23" y="8576"/>
                    </a:cubicBezTo>
                    <a:cubicBezTo>
                      <a:pt x="322" y="3492"/>
                      <a:pt x="4687" y="-336"/>
                      <a:pt x="9772" y="23"/>
                    </a:cubicBezTo>
                    <a:cubicBezTo>
                      <a:pt x="14795" y="382"/>
                      <a:pt x="18623" y="4748"/>
                      <a:pt x="18324" y="9832"/>
                    </a:cubicBezTo>
                    <a:cubicBezTo>
                      <a:pt x="17965" y="14915"/>
                      <a:pt x="13599" y="18743"/>
                      <a:pt x="8575" y="18384"/>
                    </a:cubicBezTo>
                    <a:close/>
                  </a:path>
                </a:pathLst>
              </a:custGeom>
              <a:grpFill/>
              <a:ln w="5978" cap="flat">
                <a:noFill/>
                <a:prstDash val="solid"/>
                <a:miter/>
              </a:ln>
            </p:spPr>
            <p:txBody>
              <a:bodyPr rtlCol="0" anchor="ctr"/>
              <a:lstStyle/>
              <a:p>
                <a:endParaRPr lang="en-GB"/>
              </a:p>
            </p:txBody>
          </p:sp>
          <p:sp>
            <p:nvSpPr>
              <p:cNvPr id="5220" name="Vrije vorm: vorm 5219">
                <a:extLst>
                  <a:ext uri="{FF2B5EF4-FFF2-40B4-BE49-F238E27FC236}">
                    <a16:creationId xmlns:a16="http://schemas.microsoft.com/office/drawing/2014/main" id="{865BDC63-9366-47FA-B6A9-F37FABA4ACD1}"/>
                  </a:ext>
                </a:extLst>
              </p:cNvPr>
              <p:cNvSpPr/>
              <p:nvPr/>
            </p:nvSpPr>
            <p:spPr>
              <a:xfrm>
                <a:off x="8469902" y="3472304"/>
                <a:ext cx="18334" cy="18407"/>
              </a:xfrm>
              <a:custGeom>
                <a:avLst/>
                <a:gdLst>
                  <a:gd name="connsiteX0" fmla="*/ 8569 w 18334"/>
                  <a:gd name="connsiteY0" fmla="*/ 18384 h 18407"/>
                  <a:gd name="connsiteX1" fmla="*/ 18318 w 18334"/>
                  <a:gd name="connsiteY1" fmla="*/ 9832 h 18407"/>
                  <a:gd name="connsiteX2" fmla="*/ 9765 w 18334"/>
                  <a:gd name="connsiteY2" fmla="*/ 23 h 18407"/>
                  <a:gd name="connsiteX3" fmla="*/ 16 w 18334"/>
                  <a:gd name="connsiteY3" fmla="*/ 8576 h 18407"/>
                  <a:gd name="connsiteX4" fmla="*/ 8569 w 18334"/>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7">
                    <a:moveTo>
                      <a:pt x="8569" y="18384"/>
                    </a:moveTo>
                    <a:cubicBezTo>
                      <a:pt x="13593" y="18743"/>
                      <a:pt x="17959" y="14915"/>
                      <a:pt x="18318" y="9832"/>
                    </a:cubicBezTo>
                    <a:cubicBezTo>
                      <a:pt x="18616" y="4748"/>
                      <a:pt x="14789" y="382"/>
                      <a:pt x="9765" y="23"/>
                    </a:cubicBezTo>
                    <a:cubicBezTo>
                      <a:pt x="4741" y="-336"/>
                      <a:pt x="376" y="3492"/>
                      <a:pt x="16" y="8576"/>
                    </a:cubicBezTo>
                    <a:cubicBezTo>
                      <a:pt x="-283" y="13659"/>
                      <a:pt x="3545" y="18025"/>
                      <a:pt x="8569" y="18384"/>
                    </a:cubicBezTo>
                    <a:close/>
                  </a:path>
                </a:pathLst>
              </a:custGeom>
              <a:grpFill/>
              <a:ln w="5978" cap="flat">
                <a:noFill/>
                <a:prstDash val="solid"/>
                <a:miter/>
              </a:ln>
            </p:spPr>
            <p:txBody>
              <a:bodyPr rtlCol="0" anchor="ctr"/>
              <a:lstStyle/>
              <a:p>
                <a:endParaRPr lang="en-GB"/>
              </a:p>
            </p:txBody>
          </p:sp>
        </p:grpSp>
        <p:grpSp>
          <p:nvGrpSpPr>
            <p:cNvPr id="52" name="Graphic 3">
              <a:extLst>
                <a:ext uri="{FF2B5EF4-FFF2-40B4-BE49-F238E27FC236}">
                  <a16:creationId xmlns:a16="http://schemas.microsoft.com/office/drawing/2014/main" id="{6052AD4B-2367-4EE8-B54D-4A151818CF16}"/>
                </a:ext>
              </a:extLst>
            </p:cNvPr>
            <p:cNvGrpSpPr/>
            <p:nvPr/>
          </p:nvGrpSpPr>
          <p:grpSpPr>
            <a:xfrm>
              <a:off x="7831089" y="2801388"/>
              <a:ext cx="120687" cy="51359"/>
              <a:chOff x="7831089" y="2801388"/>
              <a:chExt cx="120687" cy="51359"/>
            </a:xfrm>
            <a:grpFill/>
          </p:grpSpPr>
          <p:sp>
            <p:nvSpPr>
              <p:cNvPr id="5215" name="Vrije vorm: vorm 5214">
                <a:extLst>
                  <a:ext uri="{FF2B5EF4-FFF2-40B4-BE49-F238E27FC236}">
                    <a16:creationId xmlns:a16="http://schemas.microsoft.com/office/drawing/2014/main" id="{592A7568-C927-4E54-AE8F-440E9F53EFF4}"/>
                  </a:ext>
                </a:extLst>
              </p:cNvPr>
              <p:cNvSpPr/>
              <p:nvPr/>
            </p:nvSpPr>
            <p:spPr>
              <a:xfrm>
                <a:off x="7839370" y="2809006"/>
                <a:ext cx="104124" cy="36063"/>
              </a:xfrm>
              <a:custGeom>
                <a:avLst/>
                <a:gdLst>
                  <a:gd name="connsiteX0" fmla="*/ 103167 w 104124"/>
                  <a:gd name="connsiteY0" fmla="*/ 0 h 36063"/>
                  <a:gd name="connsiteX1" fmla="*/ 104125 w 104124"/>
                  <a:gd name="connsiteY1" fmla="*/ 2930 h 36063"/>
                  <a:gd name="connsiteX2" fmla="*/ 897 w 104124"/>
                  <a:gd name="connsiteY2" fmla="*/ 36064 h 36063"/>
                  <a:gd name="connsiteX3" fmla="*/ 0 w 104124"/>
                  <a:gd name="connsiteY3" fmla="*/ 33133 h 36063"/>
                </a:gdLst>
                <a:ahLst/>
                <a:cxnLst>
                  <a:cxn ang="0">
                    <a:pos x="connsiteX0" y="connsiteY0"/>
                  </a:cxn>
                  <a:cxn ang="0">
                    <a:pos x="connsiteX1" y="connsiteY1"/>
                  </a:cxn>
                  <a:cxn ang="0">
                    <a:pos x="connsiteX2" y="connsiteY2"/>
                  </a:cxn>
                  <a:cxn ang="0">
                    <a:pos x="connsiteX3" y="connsiteY3"/>
                  </a:cxn>
                </a:cxnLst>
                <a:rect l="l" t="t" r="r" b="b"/>
                <a:pathLst>
                  <a:path w="104124" h="36063">
                    <a:moveTo>
                      <a:pt x="103167" y="0"/>
                    </a:moveTo>
                    <a:lnTo>
                      <a:pt x="104125" y="2930"/>
                    </a:lnTo>
                    <a:lnTo>
                      <a:pt x="897" y="36064"/>
                    </a:lnTo>
                    <a:lnTo>
                      <a:pt x="0" y="33133"/>
                    </a:lnTo>
                    <a:close/>
                  </a:path>
                </a:pathLst>
              </a:custGeom>
              <a:grpFill/>
              <a:ln w="5978" cap="flat">
                <a:noFill/>
                <a:prstDash val="solid"/>
                <a:miter/>
              </a:ln>
            </p:spPr>
            <p:txBody>
              <a:bodyPr rtlCol="0" anchor="ctr"/>
              <a:lstStyle/>
              <a:p>
                <a:endParaRPr lang="en-GB"/>
              </a:p>
            </p:txBody>
          </p:sp>
          <p:sp>
            <p:nvSpPr>
              <p:cNvPr id="5216" name="Vrije vorm: vorm 5215">
                <a:extLst>
                  <a:ext uri="{FF2B5EF4-FFF2-40B4-BE49-F238E27FC236}">
                    <a16:creationId xmlns:a16="http://schemas.microsoft.com/office/drawing/2014/main" id="{ABC43A1E-8E0C-4B28-B89F-8DCD3DC33F49}"/>
                  </a:ext>
                </a:extLst>
              </p:cNvPr>
              <p:cNvSpPr/>
              <p:nvPr/>
            </p:nvSpPr>
            <p:spPr>
              <a:xfrm>
                <a:off x="7933419" y="2801388"/>
                <a:ext cx="18357" cy="18465"/>
              </a:xfrm>
              <a:custGeom>
                <a:avLst/>
                <a:gdLst>
                  <a:gd name="connsiteX0" fmla="*/ 6368 w 18357"/>
                  <a:gd name="connsiteY0" fmla="*/ 441 h 18465"/>
                  <a:gd name="connsiteX1" fmla="*/ 17911 w 18357"/>
                  <a:gd name="connsiteY1" fmla="*/ 6422 h 18465"/>
                  <a:gd name="connsiteX2" fmla="*/ 11990 w 18357"/>
                  <a:gd name="connsiteY2" fmla="*/ 18024 h 18465"/>
                  <a:gd name="connsiteX3" fmla="*/ 447 w 18357"/>
                  <a:gd name="connsiteY3" fmla="*/ 12043 h 18465"/>
                  <a:gd name="connsiteX4" fmla="*/ 6368 w 18357"/>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65">
                    <a:moveTo>
                      <a:pt x="6368" y="441"/>
                    </a:moveTo>
                    <a:cubicBezTo>
                      <a:pt x="11212" y="-1114"/>
                      <a:pt x="16356" y="1577"/>
                      <a:pt x="17911" y="6422"/>
                    </a:cubicBezTo>
                    <a:cubicBezTo>
                      <a:pt x="19466" y="11266"/>
                      <a:pt x="16834" y="16469"/>
                      <a:pt x="11990" y="18024"/>
                    </a:cubicBezTo>
                    <a:cubicBezTo>
                      <a:pt x="7145" y="19579"/>
                      <a:pt x="2002" y="16888"/>
                      <a:pt x="447" y="12043"/>
                    </a:cubicBezTo>
                    <a:cubicBezTo>
                      <a:pt x="-1108" y="7139"/>
                      <a:pt x="1524" y="1996"/>
                      <a:pt x="6368" y="441"/>
                    </a:cubicBezTo>
                    <a:close/>
                  </a:path>
                </a:pathLst>
              </a:custGeom>
              <a:grpFill/>
              <a:ln w="5978" cap="flat">
                <a:noFill/>
                <a:prstDash val="solid"/>
                <a:miter/>
              </a:ln>
            </p:spPr>
            <p:txBody>
              <a:bodyPr rtlCol="0" anchor="ctr"/>
              <a:lstStyle/>
              <a:p>
                <a:endParaRPr lang="en-GB"/>
              </a:p>
            </p:txBody>
          </p:sp>
          <p:sp>
            <p:nvSpPr>
              <p:cNvPr id="5217" name="Vrije vorm: vorm 5216">
                <a:extLst>
                  <a:ext uri="{FF2B5EF4-FFF2-40B4-BE49-F238E27FC236}">
                    <a16:creationId xmlns:a16="http://schemas.microsoft.com/office/drawing/2014/main" id="{26C8F8C5-8E17-4AA1-9C11-755353EC264C}"/>
                  </a:ext>
                </a:extLst>
              </p:cNvPr>
              <p:cNvSpPr/>
              <p:nvPr/>
            </p:nvSpPr>
            <p:spPr>
              <a:xfrm>
                <a:off x="7831089" y="2834282"/>
                <a:ext cx="18357" cy="18465"/>
              </a:xfrm>
              <a:custGeom>
                <a:avLst/>
                <a:gdLst>
                  <a:gd name="connsiteX0" fmla="*/ 6368 w 18357"/>
                  <a:gd name="connsiteY0" fmla="*/ 441 h 18465"/>
                  <a:gd name="connsiteX1" fmla="*/ 447 w 18357"/>
                  <a:gd name="connsiteY1" fmla="*/ 12043 h 18465"/>
                  <a:gd name="connsiteX2" fmla="*/ 11989 w 18357"/>
                  <a:gd name="connsiteY2" fmla="*/ 18024 h 18465"/>
                  <a:gd name="connsiteX3" fmla="*/ 17911 w 18357"/>
                  <a:gd name="connsiteY3" fmla="*/ 6422 h 18465"/>
                  <a:gd name="connsiteX4" fmla="*/ 6368 w 18357"/>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65">
                    <a:moveTo>
                      <a:pt x="6368" y="441"/>
                    </a:moveTo>
                    <a:cubicBezTo>
                      <a:pt x="1523" y="1996"/>
                      <a:pt x="-1108" y="7199"/>
                      <a:pt x="447" y="12043"/>
                    </a:cubicBezTo>
                    <a:cubicBezTo>
                      <a:pt x="2002" y="16888"/>
                      <a:pt x="7145" y="19579"/>
                      <a:pt x="11989" y="18024"/>
                    </a:cubicBezTo>
                    <a:cubicBezTo>
                      <a:pt x="16834" y="16469"/>
                      <a:pt x="19465" y="11266"/>
                      <a:pt x="17911" y="6422"/>
                    </a:cubicBezTo>
                    <a:cubicBezTo>
                      <a:pt x="16356" y="1577"/>
                      <a:pt x="11153" y="-1114"/>
                      <a:pt x="6368" y="441"/>
                    </a:cubicBezTo>
                    <a:close/>
                  </a:path>
                </a:pathLst>
              </a:custGeom>
              <a:grpFill/>
              <a:ln w="5978" cap="flat">
                <a:noFill/>
                <a:prstDash val="solid"/>
                <a:miter/>
              </a:ln>
            </p:spPr>
            <p:txBody>
              <a:bodyPr rtlCol="0" anchor="ctr"/>
              <a:lstStyle/>
              <a:p>
                <a:endParaRPr lang="en-GB"/>
              </a:p>
            </p:txBody>
          </p:sp>
        </p:grpSp>
        <p:grpSp>
          <p:nvGrpSpPr>
            <p:cNvPr id="53" name="Graphic 3">
              <a:extLst>
                <a:ext uri="{FF2B5EF4-FFF2-40B4-BE49-F238E27FC236}">
                  <a16:creationId xmlns:a16="http://schemas.microsoft.com/office/drawing/2014/main" id="{255106EC-B4D6-4880-8633-CAD3219F1C48}"/>
                </a:ext>
              </a:extLst>
            </p:cNvPr>
            <p:cNvGrpSpPr/>
            <p:nvPr/>
          </p:nvGrpSpPr>
          <p:grpSpPr>
            <a:xfrm>
              <a:off x="7856067" y="3114528"/>
              <a:ext cx="259946" cy="52935"/>
              <a:chOff x="7856067" y="3114528"/>
              <a:chExt cx="259946" cy="52935"/>
            </a:xfrm>
            <a:grpFill/>
          </p:grpSpPr>
          <p:sp>
            <p:nvSpPr>
              <p:cNvPr id="5212" name="Vrije vorm: vorm 5211">
                <a:extLst>
                  <a:ext uri="{FF2B5EF4-FFF2-40B4-BE49-F238E27FC236}">
                    <a16:creationId xmlns:a16="http://schemas.microsoft.com/office/drawing/2014/main" id="{9DC58017-574A-4F2B-93C5-45E06B97A446}"/>
                  </a:ext>
                </a:extLst>
              </p:cNvPr>
              <p:cNvSpPr/>
              <p:nvPr/>
            </p:nvSpPr>
            <p:spPr>
              <a:xfrm>
                <a:off x="7864490" y="3122156"/>
                <a:ext cx="242996" cy="37678"/>
              </a:xfrm>
              <a:custGeom>
                <a:avLst/>
                <a:gdLst>
                  <a:gd name="connsiteX0" fmla="*/ 242578 w 242996"/>
                  <a:gd name="connsiteY0" fmla="*/ 0 h 37678"/>
                  <a:gd name="connsiteX1" fmla="*/ 242997 w 242996"/>
                  <a:gd name="connsiteY1" fmla="*/ 3050 h 37678"/>
                  <a:gd name="connsiteX2" fmla="*/ 478 w 242996"/>
                  <a:gd name="connsiteY2" fmla="*/ 37678 h 37678"/>
                  <a:gd name="connsiteX3" fmla="*/ 0 w 242996"/>
                  <a:gd name="connsiteY3" fmla="*/ 34688 h 37678"/>
                </a:gdLst>
                <a:ahLst/>
                <a:cxnLst>
                  <a:cxn ang="0">
                    <a:pos x="connsiteX0" y="connsiteY0"/>
                  </a:cxn>
                  <a:cxn ang="0">
                    <a:pos x="connsiteX1" y="connsiteY1"/>
                  </a:cxn>
                  <a:cxn ang="0">
                    <a:pos x="connsiteX2" y="connsiteY2"/>
                  </a:cxn>
                  <a:cxn ang="0">
                    <a:pos x="connsiteX3" y="connsiteY3"/>
                  </a:cxn>
                </a:cxnLst>
                <a:rect l="l" t="t" r="r" b="b"/>
                <a:pathLst>
                  <a:path w="242996" h="37678">
                    <a:moveTo>
                      <a:pt x="242578" y="0"/>
                    </a:moveTo>
                    <a:lnTo>
                      <a:pt x="242997" y="3050"/>
                    </a:lnTo>
                    <a:lnTo>
                      <a:pt x="478" y="37678"/>
                    </a:lnTo>
                    <a:lnTo>
                      <a:pt x="0" y="34688"/>
                    </a:lnTo>
                    <a:close/>
                  </a:path>
                </a:pathLst>
              </a:custGeom>
              <a:grpFill/>
              <a:ln w="5978" cap="flat">
                <a:noFill/>
                <a:prstDash val="solid"/>
                <a:miter/>
              </a:ln>
            </p:spPr>
            <p:txBody>
              <a:bodyPr rtlCol="0" anchor="ctr"/>
              <a:lstStyle/>
              <a:p>
                <a:endParaRPr lang="en-GB"/>
              </a:p>
            </p:txBody>
          </p:sp>
          <p:sp>
            <p:nvSpPr>
              <p:cNvPr id="5213" name="Vrije vorm: vorm 5212">
                <a:extLst>
                  <a:ext uri="{FF2B5EF4-FFF2-40B4-BE49-F238E27FC236}">
                    <a16:creationId xmlns:a16="http://schemas.microsoft.com/office/drawing/2014/main" id="{8B09652F-8DE5-49F6-9A97-85F7B1264D8C}"/>
                  </a:ext>
                </a:extLst>
              </p:cNvPr>
              <p:cNvSpPr/>
              <p:nvPr/>
            </p:nvSpPr>
            <p:spPr>
              <a:xfrm>
                <a:off x="8097689" y="3114528"/>
                <a:ext cx="18324" cy="18426"/>
              </a:xfrm>
              <a:custGeom>
                <a:avLst/>
                <a:gdLst>
                  <a:gd name="connsiteX0" fmla="*/ 7824 w 18324"/>
                  <a:gd name="connsiteY0" fmla="*/ 93 h 18426"/>
                  <a:gd name="connsiteX1" fmla="*/ 18231 w 18324"/>
                  <a:gd name="connsiteY1" fmla="*/ 7927 h 18426"/>
                  <a:gd name="connsiteX2" fmla="*/ 10515 w 18324"/>
                  <a:gd name="connsiteY2" fmla="*/ 18334 h 18426"/>
                  <a:gd name="connsiteX3" fmla="*/ 109 w 18324"/>
                  <a:gd name="connsiteY3" fmla="*/ 10499 h 18426"/>
                  <a:gd name="connsiteX4" fmla="*/ 7824 w 18324"/>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6">
                    <a:moveTo>
                      <a:pt x="7824" y="93"/>
                    </a:moveTo>
                    <a:cubicBezTo>
                      <a:pt x="12848" y="-625"/>
                      <a:pt x="17512" y="2904"/>
                      <a:pt x="18231" y="7927"/>
                    </a:cubicBezTo>
                    <a:cubicBezTo>
                      <a:pt x="18948" y="12951"/>
                      <a:pt x="15479" y="17616"/>
                      <a:pt x="10515" y="18334"/>
                    </a:cubicBezTo>
                    <a:cubicBezTo>
                      <a:pt x="5492" y="19051"/>
                      <a:pt x="827" y="15523"/>
                      <a:pt x="109" y="10499"/>
                    </a:cubicBezTo>
                    <a:cubicBezTo>
                      <a:pt x="-669" y="5475"/>
                      <a:pt x="2800" y="810"/>
                      <a:pt x="7824" y="93"/>
                    </a:cubicBezTo>
                    <a:close/>
                  </a:path>
                </a:pathLst>
              </a:custGeom>
              <a:grpFill/>
              <a:ln w="5978" cap="flat">
                <a:noFill/>
                <a:prstDash val="solid"/>
                <a:miter/>
              </a:ln>
            </p:spPr>
            <p:txBody>
              <a:bodyPr rtlCol="0" anchor="ctr"/>
              <a:lstStyle/>
              <a:p>
                <a:endParaRPr lang="en-GB"/>
              </a:p>
            </p:txBody>
          </p:sp>
          <p:sp>
            <p:nvSpPr>
              <p:cNvPr id="5214" name="Vrije vorm: vorm 5213">
                <a:extLst>
                  <a:ext uri="{FF2B5EF4-FFF2-40B4-BE49-F238E27FC236}">
                    <a16:creationId xmlns:a16="http://schemas.microsoft.com/office/drawing/2014/main" id="{4FC977D0-B825-43D9-8B6A-EFC97C60E41A}"/>
                  </a:ext>
                </a:extLst>
              </p:cNvPr>
              <p:cNvSpPr/>
              <p:nvPr/>
            </p:nvSpPr>
            <p:spPr>
              <a:xfrm>
                <a:off x="7856067" y="3149036"/>
                <a:ext cx="18339" cy="18426"/>
              </a:xfrm>
              <a:custGeom>
                <a:avLst/>
                <a:gdLst>
                  <a:gd name="connsiteX0" fmla="*/ 7824 w 18339"/>
                  <a:gd name="connsiteY0" fmla="*/ 93 h 18426"/>
                  <a:gd name="connsiteX1" fmla="*/ 109 w 18339"/>
                  <a:gd name="connsiteY1" fmla="*/ 10499 h 18426"/>
                  <a:gd name="connsiteX2" fmla="*/ 10515 w 18339"/>
                  <a:gd name="connsiteY2" fmla="*/ 18334 h 18426"/>
                  <a:gd name="connsiteX3" fmla="*/ 18231 w 18339"/>
                  <a:gd name="connsiteY3" fmla="*/ 7927 h 18426"/>
                  <a:gd name="connsiteX4" fmla="*/ 7824 w 18339"/>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6">
                    <a:moveTo>
                      <a:pt x="7824" y="93"/>
                    </a:moveTo>
                    <a:cubicBezTo>
                      <a:pt x="2800" y="810"/>
                      <a:pt x="-669" y="5475"/>
                      <a:pt x="109" y="10499"/>
                    </a:cubicBezTo>
                    <a:cubicBezTo>
                      <a:pt x="827" y="15523"/>
                      <a:pt x="5492" y="19052"/>
                      <a:pt x="10515" y="18334"/>
                    </a:cubicBezTo>
                    <a:cubicBezTo>
                      <a:pt x="15539" y="17616"/>
                      <a:pt x="19008" y="12951"/>
                      <a:pt x="18231" y="7927"/>
                    </a:cubicBezTo>
                    <a:cubicBezTo>
                      <a:pt x="17453" y="2904"/>
                      <a:pt x="12788" y="-625"/>
                      <a:pt x="7824" y="93"/>
                    </a:cubicBezTo>
                    <a:close/>
                  </a:path>
                </a:pathLst>
              </a:custGeom>
              <a:grpFill/>
              <a:ln w="5978" cap="flat">
                <a:noFill/>
                <a:prstDash val="solid"/>
                <a:miter/>
              </a:ln>
            </p:spPr>
            <p:txBody>
              <a:bodyPr rtlCol="0" anchor="ctr"/>
              <a:lstStyle/>
              <a:p>
                <a:endParaRPr lang="en-GB"/>
              </a:p>
            </p:txBody>
          </p:sp>
        </p:grpSp>
        <p:grpSp>
          <p:nvGrpSpPr>
            <p:cNvPr id="54" name="Graphic 3">
              <a:extLst>
                <a:ext uri="{FF2B5EF4-FFF2-40B4-BE49-F238E27FC236}">
                  <a16:creationId xmlns:a16="http://schemas.microsoft.com/office/drawing/2014/main" id="{4FCF5329-E5CA-4CE4-8F5C-EA3C73B376D7}"/>
                </a:ext>
              </a:extLst>
            </p:cNvPr>
            <p:cNvGrpSpPr/>
            <p:nvPr/>
          </p:nvGrpSpPr>
          <p:grpSpPr>
            <a:xfrm>
              <a:off x="7819944" y="2828362"/>
              <a:ext cx="171265" cy="64454"/>
              <a:chOff x="7819944" y="2828362"/>
              <a:chExt cx="171265" cy="64454"/>
            </a:xfrm>
            <a:grpFill/>
          </p:grpSpPr>
          <p:sp>
            <p:nvSpPr>
              <p:cNvPr id="5209" name="Vrije vorm: vorm 5208">
                <a:extLst>
                  <a:ext uri="{FF2B5EF4-FFF2-40B4-BE49-F238E27FC236}">
                    <a16:creationId xmlns:a16="http://schemas.microsoft.com/office/drawing/2014/main" id="{4DA32234-C75E-4A8B-A15E-5C2F7E637123}"/>
                  </a:ext>
                </a:extLst>
              </p:cNvPr>
              <p:cNvSpPr/>
              <p:nvPr/>
            </p:nvSpPr>
            <p:spPr>
              <a:xfrm>
                <a:off x="7828246" y="2835979"/>
                <a:ext cx="154661" cy="49221"/>
              </a:xfrm>
              <a:custGeom>
                <a:avLst/>
                <a:gdLst>
                  <a:gd name="connsiteX0" fmla="*/ 153765 w 154661"/>
                  <a:gd name="connsiteY0" fmla="*/ 0 h 49221"/>
                  <a:gd name="connsiteX1" fmla="*/ 154661 w 154661"/>
                  <a:gd name="connsiteY1" fmla="*/ 2930 h 49221"/>
                  <a:gd name="connsiteX2" fmla="*/ 897 w 154661"/>
                  <a:gd name="connsiteY2" fmla="*/ 49221 h 49221"/>
                  <a:gd name="connsiteX3" fmla="*/ 0 w 154661"/>
                  <a:gd name="connsiteY3" fmla="*/ 46231 h 49221"/>
                </a:gdLst>
                <a:ahLst/>
                <a:cxnLst>
                  <a:cxn ang="0">
                    <a:pos x="connsiteX0" y="connsiteY0"/>
                  </a:cxn>
                  <a:cxn ang="0">
                    <a:pos x="connsiteX1" y="connsiteY1"/>
                  </a:cxn>
                  <a:cxn ang="0">
                    <a:pos x="connsiteX2" y="connsiteY2"/>
                  </a:cxn>
                  <a:cxn ang="0">
                    <a:pos x="connsiteX3" y="connsiteY3"/>
                  </a:cxn>
                </a:cxnLst>
                <a:rect l="l" t="t" r="r" b="b"/>
                <a:pathLst>
                  <a:path w="154661" h="49221">
                    <a:moveTo>
                      <a:pt x="153765" y="0"/>
                    </a:moveTo>
                    <a:lnTo>
                      <a:pt x="154661" y="2930"/>
                    </a:lnTo>
                    <a:lnTo>
                      <a:pt x="897" y="49221"/>
                    </a:lnTo>
                    <a:lnTo>
                      <a:pt x="0" y="46231"/>
                    </a:lnTo>
                    <a:close/>
                  </a:path>
                </a:pathLst>
              </a:custGeom>
              <a:grpFill/>
              <a:ln w="5978" cap="flat">
                <a:noFill/>
                <a:prstDash val="solid"/>
                <a:miter/>
              </a:ln>
            </p:spPr>
            <p:txBody>
              <a:bodyPr rtlCol="0" anchor="ctr"/>
              <a:lstStyle/>
              <a:p>
                <a:endParaRPr lang="en-GB"/>
              </a:p>
            </p:txBody>
          </p:sp>
          <p:sp>
            <p:nvSpPr>
              <p:cNvPr id="5210" name="Vrije vorm: vorm 5209">
                <a:extLst>
                  <a:ext uri="{FF2B5EF4-FFF2-40B4-BE49-F238E27FC236}">
                    <a16:creationId xmlns:a16="http://schemas.microsoft.com/office/drawing/2014/main" id="{67021009-AD1F-443B-835C-620439B3A327}"/>
                  </a:ext>
                </a:extLst>
              </p:cNvPr>
              <p:cNvSpPr/>
              <p:nvPr/>
            </p:nvSpPr>
            <p:spPr>
              <a:xfrm>
                <a:off x="7972871" y="2828362"/>
                <a:ext cx="18338" cy="18463"/>
              </a:xfrm>
              <a:custGeom>
                <a:avLst/>
                <a:gdLst>
                  <a:gd name="connsiteX0" fmla="*/ 6508 w 18338"/>
                  <a:gd name="connsiteY0" fmla="*/ 380 h 18463"/>
                  <a:gd name="connsiteX1" fmla="*/ 17931 w 18338"/>
                  <a:gd name="connsiteY1" fmla="*/ 6600 h 18463"/>
                  <a:gd name="connsiteX2" fmla="*/ 11831 w 18338"/>
                  <a:gd name="connsiteY2" fmla="*/ 18083 h 18463"/>
                  <a:gd name="connsiteX3" fmla="*/ 407 w 18338"/>
                  <a:gd name="connsiteY3" fmla="*/ 11863 h 18463"/>
                  <a:gd name="connsiteX4" fmla="*/ 6508 w 18338"/>
                  <a:gd name="connsiteY4" fmla="*/ 380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3">
                    <a:moveTo>
                      <a:pt x="6508" y="380"/>
                    </a:moveTo>
                    <a:cubicBezTo>
                      <a:pt x="11353" y="-1055"/>
                      <a:pt x="16496" y="1696"/>
                      <a:pt x="17931" y="6600"/>
                    </a:cubicBezTo>
                    <a:cubicBezTo>
                      <a:pt x="19426" y="11444"/>
                      <a:pt x="16676" y="16588"/>
                      <a:pt x="11831" y="18083"/>
                    </a:cubicBezTo>
                    <a:cubicBezTo>
                      <a:pt x="6987" y="19518"/>
                      <a:pt x="1843" y="16767"/>
                      <a:pt x="407" y="11863"/>
                    </a:cubicBezTo>
                    <a:cubicBezTo>
                      <a:pt x="-1088" y="7019"/>
                      <a:pt x="1664" y="1875"/>
                      <a:pt x="6508" y="380"/>
                    </a:cubicBezTo>
                    <a:close/>
                  </a:path>
                </a:pathLst>
              </a:custGeom>
              <a:grpFill/>
              <a:ln w="5978" cap="flat">
                <a:noFill/>
                <a:prstDash val="solid"/>
                <a:miter/>
              </a:ln>
            </p:spPr>
            <p:txBody>
              <a:bodyPr rtlCol="0" anchor="ctr"/>
              <a:lstStyle/>
              <a:p>
                <a:endParaRPr lang="en-GB"/>
              </a:p>
            </p:txBody>
          </p:sp>
          <p:sp>
            <p:nvSpPr>
              <p:cNvPr id="5211" name="Vrije vorm: vorm 5210">
                <a:extLst>
                  <a:ext uri="{FF2B5EF4-FFF2-40B4-BE49-F238E27FC236}">
                    <a16:creationId xmlns:a16="http://schemas.microsoft.com/office/drawing/2014/main" id="{5572F803-1CDC-452B-8EA5-D6DFBFB0D37A}"/>
                  </a:ext>
                </a:extLst>
              </p:cNvPr>
              <p:cNvSpPr/>
              <p:nvPr/>
            </p:nvSpPr>
            <p:spPr>
              <a:xfrm>
                <a:off x="7819944" y="2874354"/>
                <a:ext cx="18338" cy="18463"/>
              </a:xfrm>
              <a:custGeom>
                <a:avLst/>
                <a:gdLst>
                  <a:gd name="connsiteX0" fmla="*/ 6508 w 18338"/>
                  <a:gd name="connsiteY0" fmla="*/ 380 h 18463"/>
                  <a:gd name="connsiteX1" fmla="*/ 407 w 18338"/>
                  <a:gd name="connsiteY1" fmla="*/ 11863 h 18463"/>
                  <a:gd name="connsiteX2" fmla="*/ 11831 w 18338"/>
                  <a:gd name="connsiteY2" fmla="*/ 18083 h 18463"/>
                  <a:gd name="connsiteX3" fmla="*/ 17931 w 18338"/>
                  <a:gd name="connsiteY3" fmla="*/ 6600 h 18463"/>
                  <a:gd name="connsiteX4" fmla="*/ 6508 w 18338"/>
                  <a:gd name="connsiteY4" fmla="*/ 380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3">
                    <a:moveTo>
                      <a:pt x="6508" y="380"/>
                    </a:moveTo>
                    <a:cubicBezTo>
                      <a:pt x="1663" y="1816"/>
                      <a:pt x="-1088" y="6959"/>
                      <a:pt x="407" y="11863"/>
                    </a:cubicBezTo>
                    <a:cubicBezTo>
                      <a:pt x="1903" y="16767"/>
                      <a:pt x="6986" y="19518"/>
                      <a:pt x="11831" y="18083"/>
                    </a:cubicBezTo>
                    <a:cubicBezTo>
                      <a:pt x="16675" y="16648"/>
                      <a:pt x="19426" y="11504"/>
                      <a:pt x="17931" y="6600"/>
                    </a:cubicBezTo>
                    <a:cubicBezTo>
                      <a:pt x="16495" y="1696"/>
                      <a:pt x="11352" y="-1055"/>
                      <a:pt x="6508" y="380"/>
                    </a:cubicBezTo>
                    <a:close/>
                  </a:path>
                </a:pathLst>
              </a:custGeom>
              <a:grpFill/>
              <a:ln w="5978" cap="flat">
                <a:noFill/>
                <a:prstDash val="solid"/>
                <a:miter/>
              </a:ln>
            </p:spPr>
            <p:txBody>
              <a:bodyPr rtlCol="0" anchor="ctr"/>
              <a:lstStyle/>
              <a:p>
                <a:endParaRPr lang="en-GB"/>
              </a:p>
            </p:txBody>
          </p:sp>
        </p:grpSp>
        <p:grpSp>
          <p:nvGrpSpPr>
            <p:cNvPr id="55" name="Graphic 3">
              <a:extLst>
                <a:ext uri="{FF2B5EF4-FFF2-40B4-BE49-F238E27FC236}">
                  <a16:creationId xmlns:a16="http://schemas.microsoft.com/office/drawing/2014/main" id="{DD524E87-1DA8-4B0E-8AEF-4B50A90A8C44}"/>
                </a:ext>
              </a:extLst>
            </p:cNvPr>
            <p:cNvGrpSpPr/>
            <p:nvPr/>
          </p:nvGrpSpPr>
          <p:grpSpPr>
            <a:xfrm>
              <a:off x="7395141" y="2072833"/>
              <a:ext cx="574198" cy="370848"/>
              <a:chOff x="7395141" y="2072833"/>
              <a:chExt cx="574198" cy="370848"/>
            </a:xfrm>
            <a:grpFill/>
          </p:grpSpPr>
          <p:sp>
            <p:nvSpPr>
              <p:cNvPr id="5206" name="Vrije vorm: vorm 5205">
                <a:extLst>
                  <a:ext uri="{FF2B5EF4-FFF2-40B4-BE49-F238E27FC236}">
                    <a16:creationId xmlns:a16="http://schemas.microsoft.com/office/drawing/2014/main" id="{B9170EFF-930E-4424-A6FC-4CFAF7804E3E}"/>
                  </a:ext>
                </a:extLst>
              </p:cNvPr>
              <p:cNvSpPr/>
              <p:nvPr/>
            </p:nvSpPr>
            <p:spPr>
              <a:xfrm>
                <a:off x="7403407" y="2080331"/>
                <a:ext cx="558288" cy="355511"/>
              </a:xfrm>
              <a:custGeom>
                <a:avLst/>
                <a:gdLst>
                  <a:gd name="connsiteX0" fmla="*/ 0 w 558288"/>
                  <a:gd name="connsiteY0" fmla="*/ 352935 h 355511"/>
                  <a:gd name="connsiteX1" fmla="*/ 556655 w 558288"/>
                  <a:gd name="connsiteY1" fmla="*/ 0 h 355511"/>
                  <a:gd name="connsiteX2" fmla="*/ 558288 w 558288"/>
                  <a:gd name="connsiteY2" fmla="*/ 2577 h 355511"/>
                  <a:gd name="connsiteX3" fmla="*/ 1633 w 558288"/>
                  <a:gd name="connsiteY3" fmla="*/ 355511 h 355511"/>
                </a:gdLst>
                <a:ahLst/>
                <a:cxnLst>
                  <a:cxn ang="0">
                    <a:pos x="connsiteX0" y="connsiteY0"/>
                  </a:cxn>
                  <a:cxn ang="0">
                    <a:pos x="connsiteX1" y="connsiteY1"/>
                  </a:cxn>
                  <a:cxn ang="0">
                    <a:pos x="connsiteX2" y="connsiteY2"/>
                  </a:cxn>
                  <a:cxn ang="0">
                    <a:pos x="connsiteX3" y="connsiteY3"/>
                  </a:cxn>
                </a:cxnLst>
                <a:rect l="l" t="t" r="r" b="b"/>
                <a:pathLst>
                  <a:path w="558288" h="355511">
                    <a:moveTo>
                      <a:pt x="0" y="352935"/>
                    </a:moveTo>
                    <a:lnTo>
                      <a:pt x="556655" y="0"/>
                    </a:lnTo>
                    <a:lnTo>
                      <a:pt x="558288" y="2577"/>
                    </a:lnTo>
                    <a:lnTo>
                      <a:pt x="1633" y="355511"/>
                    </a:lnTo>
                    <a:close/>
                  </a:path>
                </a:pathLst>
              </a:custGeom>
              <a:grpFill/>
              <a:ln w="5978" cap="flat">
                <a:noFill/>
                <a:prstDash val="solid"/>
                <a:miter/>
              </a:ln>
            </p:spPr>
            <p:txBody>
              <a:bodyPr rtlCol="0" anchor="ctr"/>
              <a:lstStyle/>
              <a:p>
                <a:endParaRPr lang="en-GB"/>
              </a:p>
            </p:txBody>
          </p:sp>
          <p:sp>
            <p:nvSpPr>
              <p:cNvPr id="5207" name="Vrije vorm: vorm 5206">
                <a:extLst>
                  <a:ext uri="{FF2B5EF4-FFF2-40B4-BE49-F238E27FC236}">
                    <a16:creationId xmlns:a16="http://schemas.microsoft.com/office/drawing/2014/main" id="{8CD8B6C6-B490-49A0-880C-8ED57B5E3AE4}"/>
                  </a:ext>
                </a:extLst>
              </p:cNvPr>
              <p:cNvSpPr/>
              <p:nvPr/>
            </p:nvSpPr>
            <p:spPr>
              <a:xfrm>
                <a:off x="7395141" y="2425304"/>
                <a:ext cx="18320" cy="18377"/>
              </a:xfrm>
              <a:custGeom>
                <a:avLst/>
                <a:gdLst>
                  <a:gd name="connsiteX0" fmla="*/ 14036 w 18320"/>
                  <a:gd name="connsiteY0" fmla="*/ 16964 h 18377"/>
                  <a:gd name="connsiteX1" fmla="*/ 1417 w 18320"/>
                  <a:gd name="connsiteY1" fmla="*/ 14093 h 18377"/>
                  <a:gd name="connsiteX2" fmla="*/ 4228 w 18320"/>
                  <a:gd name="connsiteY2" fmla="*/ 1414 h 18377"/>
                  <a:gd name="connsiteX3" fmla="*/ 16907 w 18320"/>
                  <a:gd name="connsiteY3" fmla="*/ 4285 h 18377"/>
                  <a:gd name="connsiteX4" fmla="*/ 14036 w 18320"/>
                  <a:gd name="connsiteY4" fmla="*/ 16964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7">
                    <a:moveTo>
                      <a:pt x="14036" y="16964"/>
                    </a:moveTo>
                    <a:cubicBezTo>
                      <a:pt x="9790" y="19655"/>
                      <a:pt x="4108" y="18399"/>
                      <a:pt x="1417" y="14093"/>
                    </a:cubicBezTo>
                    <a:cubicBezTo>
                      <a:pt x="-1275" y="9787"/>
                      <a:pt x="-18" y="4105"/>
                      <a:pt x="4228" y="1414"/>
                    </a:cubicBezTo>
                    <a:cubicBezTo>
                      <a:pt x="8474" y="-1277"/>
                      <a:pt x="14156" y="-21"/>
                      <a:pt x="16907" y="4285"/>
                    </a:cubicBezTo>
                    <a:cubicBezTo>
                      <a:pt x="19598" y="8591"/>
                      <a:pt x="18342" y="14273"/>
                      <a:pt x="14036" y="16964"/>
                    </a:cubicBezTo>
                    <a:close/>
                  </a:path>
                </a:pathLst>
              </a:custGeom>
              <a:grpFill/>
              <a:ln w="5978" cap="flat">
                <a:noFill/>
                <a:prstDash val="solid"/>
                <a:miter/>
              </a:ln>
            </p:spPr>
            <p:txBody>
              <a:bodyPr rtlCol="0" anchor="ctr"/>
              <a:lstStyle/>
              <a:p>
                <a:endParaRPr lang="en-GB"/>
              </a:p>
            </p:txBody>
          </p:sp>
          <p:sp>
            <p:nvSpPr>
              <p:cNvPr id="5208" name="Vrije vorm: vorm 5207">
                <a:extLst>
                  <a:ext uri="{FF2B5EF4-FFF2-40B4-BE49-F238E27FC236}">
                    <a16:creationId xmlns:a16="http://schemas.microsoft.com/office/drawing/2014/main" id="{E3C2EB86-26BC-45EA-A5DF-54316AD12290}"/>
                  </a:ext>
                </a:extLst>
              </p:cNvPr>
              <p:cNvSpPr/>
              <p:nvPr/>
            </p:nvSpPr>
            <p:spPr>
              <a:xfrm>
                <a:off x="7951023" y="2072833"/>
                <a:ext cx="18316" cy="18430"/>
              </a:xfrm>
              <a:custGeom>
                <a:avLst/>
                <a:gdLst>
                  <a:gd name="connsiteX0" fmla="*/ 14062 w 18316"/>
                  <a:gd name="connsiteY0" fmla="*/ 16990 h 18430"/>
                  <a:gd name="connsiteX1" fmla="*/ 16874 w 18316"/>
                  <a:gd name="connsiteY1" fmla="*/ 4311 h 18430"/>
                  <a:gd name="connsiteX2" fmla="*/ 4254 w 18316"/>
                  <a:gd name="connsiteY2" fmla="*/ 1440 h 18430"/>
                  <a:gd name="connsiteX3" fmla="*/ 1443 w 18316"/>
                  <a:gd name="connsiteY3" fmla="*/ 14120 h 18430"/>
                  <a:gd name="connsiteX4" fmla="*/ 14062 w 18316"/>
                  <a:gd name="connsiteY4" fmla="*/ 1699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0">
                    <a:moveTo>
                      <a:pt x="14062" y="16990"/>
                    </a:moveTo>
                    <a:cubicBezTo>
                      <a:pt x="18309" y="14299"/>
                      <a:pt x="19625" y="8617"/>
                      <a:pt x="16874" y="4311"/>
                    </a:cubicBezTo>
                    <a:cubicBezTo>
                      <a:pt x="14182" y="5"/>
                      <a:pt x="8501" y="-1311"/>
                      <a:pt x="4254" y="1440"/>
                    </a:cubicBezTo>
                    <a:cubicBezTo>
                      <a:pt x="8" y="4132"/>
                      <a:pt x="-1308" y="9814"/>
                      <a:pt x="1443" y="14120"/>
                    </a:cubicBezTo>
                    <a:cubicBezTo>
                      <a:pt x="4135" y="18426"/>
                      <a:pt x="9756" y="19742"/>
                      <a:pt x="14062" y="16990"/>
                    </a:cubicBezTo>
                    <a:close/>
                  </a:path>
                </a:pathLst>
              </a:custGeom>
              <a:grpFill/>
              <a:ln w="5978" cap="flat">
                <a:noFill/>
                <a:prstDash val="solid"/>
                <a:miter/>
              </a:ln>
            </p:spPr>
            <p:txBody>
              <a:bodyPr rtlCol="0" anchor="ctr"/>
              <a:lstStyle/>
              <a:p>
                <a:endParaRPr lang="en-GB"/>
              </a:p>
            </p:txBody>
          </p:sp>
        </p:grpSp>
        <p:grpSp>
          <p:nvGrpSpPr>
            <p:cNvPr id="56" name="Graphic 3">
              <a:extLst>
                <a:ext uri="{FF2B5EF4-FFF2-40B4-BE49-F238E27FC236}">
                  <a16:creationId xmlns:a16="http://schemas.microsoft.com/office/drawing/2014/main" id="{C48E2455-622B-45E1-B71E-78A9BEFB5C80}"/>
                </a:ext>
              </a:extLst>
            </p:cNvPr>
            <p:cNvGrpSpPr/>
            <p:nvPr/>
          </p:nvGrpSpPr>
          <p:grpSpPr>
            <a:xfrm>
              <a:off x="7386637" y="1594063"/>
              <a:ext cx="256474" cy="292016"/>
              <a:chOff x="7386637" y="1594063"/>
              <a:chExt cx="256474" cy="292016"/>
            </a:xfrm>
            <a:grpFill/>
          </p:grpSpPr>
          <p:sp>
            <p:nvSpPr>
              <p:cNvPr id="5203" name="Vrije vorm: vorm 5202">
                <a:extLst>
                  <a:ext uri="{FF2B5EF4-FFF2-40B4-BE49-F238E27FC236}">
                    <a16:creationId xmlns:a16="http://schemas.microsoft.com/office/drawing/2014/main" id="{813CC4D8-9C6E-432E-9C1D-431B84EB8398}"/>
                  </a:ext>
                </a:extLst>
              </p:cNvPr>
              <p:cNvSpPr/>
              <p:nvPr/>
            </p:nvSpPr>
            <p:spPr>
              <a:xfrm>
                <a:off x="7394345" y="1601917"/>
                <a:ext cx="241082" cy="276309"/>
              </a:xfrm>
              <a:custGeom>
                <a:avLst/>
                <a:gdLst>
                  <a:gd name="connsiteX0" fmla="*/ 241083 w 241082"/>
                  <a:gd name="connsiteY0" fmla="*/ 2033 h 276309"/>
                  <a:gd name="connsiteX1" fmla="*/ 2333 w 241082"/>
                  <a:gd name="connsiteY1" fmla="*/ 276309 h 276309"/>
                  <a:gd name="connsiteX2" fmla="*/ 0 w 241082"/>
                  <a:gd name="connsiteY2" fmla="*/ 274276 h 276309"/>
                  <a:gd name="connsiteX3" fmla="*/ 238810 w 241082"/>
                  <a:gd name="connsiteY3" fmla="*/ 0 h 276309"/>
                </a:gdLst>
                <a:ahLst/>
                <a:cxnLst>
                  <a:cxn ang="0">
                    <a:pos x="connsiteX0" y="connsiteY0"/>
                  </a:cxn>
                  <a:cxn ang="0">
                    <a:pos x="connsiteX1" y="connsiteY1"/>
                  </a:cxn>
                  <a:cxn ang="0">
                    <a:pos x="connsiteX2" y="connsiteY2"/>
                  </a:cxn>
                  <a:cxn ang="0">
                    <a:pos x="connsiteX3" y="connsiteY3"/>
                  </a:cxn>
                </a:cxnLst>
                <a:rect l="l" t="t" r="r" b="b"/>
                <a:pathLst>
                  <a:path w="241082" h="276309">
                    <a:moveTo>
                      <a:pt x="241083" y="2033"/>
                    </a:moveTo>
                    <a:lnTo>
                      <a:pt x="2333" y="276309"/>
                    </a:lnTo>
                    <a:lnTo>
                      <a:pt x="0" y="274276"/>
                    </a:lnTo>
                    <a:lnTo>
                      <a:pt x="238810" y="0"/>
                    </a:lnTo>
                    <a:close/>
                  </a:path>
                </a:pathLst>
              </a:custGeom>
              <a:grpFill/>
              <a:ln w="5978" cap="flat">
                <a:noFill/>
                <a:prstDash val="solid"/>
                <a:miter/>
              </a:ln>
            </p:spPr>
            <p:txBody>
              <a:bodyPr rtlCol="0" anchor="ctr"/>
              <a:lstStyle/>
              <a:p>
                <a:endParaRPr lang="en-GB"/>
              </a:p>
            </p:txBody>
          </p:sp>
          <p:sp>
            <p:nvSpPr>
              <p:cNvPr id="5204" name="Vrije vorm: vorm 5203">
                <a:extLst>
                  <a:ext uri="{FF2B5EF4-FFF2-40B4-BE49-F238E27FC236}">
                    <a16:creationId xmlns:a16="http://schemas.microsoft.com/office/drawing/2014/main" id="{DBEED19E-2CD6-40EE-8E5C-52EB330194DF}"/>
                  </a:ext>
                </a:extLst>
              </p:cNvPr>
              <p:cNvSpPr/>
              <p:nvPr/>
            </p:nvSpPr>
            <p:spPr>
              <a:xfrm>
                <a:off x="7624814" y="1594063"/>
                <a:ext cx="18297" cy="18398"/>
              </a:xfrm>
              <a:custGeom>
                <a:avLst/>
                <a:gdLst>
                  <a:gd name="connsiteX0" fmla="*/ 2241 w 18297"/>
                  <a:gd name="connsiteY0" fmla="*/ 3129 h 18398"/>
                  <a:gd name="connsiteX1" fmla="*/ 15159 w 18297"/>
                  <a:gd name="connsiteY1" fmla="*/ 2291 h 18398"/>
                  <a:gd name="connsiteX2" fmla="*/ 16057 w 18297"/>
                  <a:gd name="connsiteY2" fmla="*/ 15269 h 18398"/>
                  <a:gd name="connsiteX3" fmla="*/ 3138 w 18297"/>
                  <a:gd name="connsiteY3" fmla="*/ 16107 h 18398"/>
                  <a:gd name="connsiteX4" fmla="*/ 2241 w 18297"/>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8">
                    <a:moveTo>
                      <a:pt x="2241" y="3129"/>
                    </a:moveTo>
                    <a:cubicBezTo>
                      <a:pt x="5590" y="-699"/>
                      <a:pt x="11332" y="-1058"/>
                      <a:pt x="15159" y="2291"/>
                    </a:cubicBezTo>
                    <a:cubicBezTo>
                      <a:pt x="18987" y="5641"/>
                      <a:pt x="19346" y="11442"/>
                      <a:pt x="16057" y="15269"/>
                    </a:cubicBezTo>
                    <a:cubicBezTo>
                      <a:pt x="12707" y="19097"/>
                      <a:pt x="6966" y="19456"/>
                      <a:pt x="3138" y="16107"/>
                    </a:cubicBezTo>
                    <a:cubicBezTo>
                      <a:pt x="-690" y="12758"/>
                      <a:pt x="-1048" y="6956"/>
                      <a:pt x="2241" y="3129"/>
                    </a:cubicBezTo>
                    <a:close/>
                  </a:path>
                </a:pathLst>
              </a:custGeom>
              <a:grpFill/>
              <a:ln w="5978" cap="flat">
                <a:noFill/>
                <a:prstDash val="solid"/>
                <a:miter/>
              </a:ln>
            </p:spPr>
            <p:txBody>
              <a:bodyPr rtlCol="0" anchor="ctr"/>
              <a:lstStyle/>
              <a:p>
                <a:endParaRPr lang="en-GB"/>
              </a:p>
            </p:txBody>
          </p:sp>
          <p:sp>
            <p:nvSpPr>
              <p:cNvPr id="5205" name="Vrije vorm: vorm 5204">
                <a:extLst>
                  <a:ext uri="{FF2B5EF4-FFF2-40B4-BE49-F238E27FC236}">
                    <a16:creationId xmlns:a16="http://schemas.microsoft.com/office/drawing/2014/main" id="{5BEFFFCE-B278-40DB-AFFF-58E1C2E821A1}"/>
                  </a:ext>
                </a:extLst>
              </p:cNvPr>
              <p:cNvSpPr/>
              <p:nvPr/>
            </p:nvSpPr>
            <p:spPr>
              <a:xfrm>
                <a:off x="7386637" y="1867657"/>
                <a:ext cx="18346" cy="18422"/>
              </a:xfrm>
              <a:custGeom>
                <a:avLst/>
                <a:gdLst>
                  <a:gd name="connsiteX0" fmla="*/ 2265 w 18346"/>
                  <a:gd name="connsiteY0" fmla="*/ 3153 h 18422"/>
                  <a:gd name="connsiteX1" fmla="*/ 3163 w 18346"/>
                  <a:gd name="connsiteY1" fmla="*/ 16131 h 18422"/>
                  <a:gd name="connsiteX2" fmla="*/ 16081 w 18346"/>
                  <a:gd name="connsiteY2" fmla="*/ 15294 h 18422"/>
                  <a:gd name="connsiteX3" fmla="*/ 15184 w 18346"/>
                  <a:gd name="connsiteY3" fmla="*/ 2316 h 18422"/>
                  <a:gd name="connsiteX4" fmla="*/ 2265 w 18346"/>
                  <a:gd name="connsiteY4" fmla="*/ 3153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2">
                    <a:moveTo>
                      <a:pt x="2265" y="3153"/>
                    </a:moveTo>
                    <a:cubicBezTo>
                      <a:pt x="-1084" y="6980"/>
                      <a:pt x="-665" y="12782"/>
                      <a:pt x="3163" y="16131"/>
                    </a:cubicBezTo>
                    <a:cubicBezTo>
                      <a:pt x="6990" y="19480"/>
                      <a:pt x="12792" y="19121"/>
                      <a:pt x="16081" y="15294"/>
                    </a:cubicBezTo>
                    <a:cubicBezTo>
                      <a:pt x="19430" y="11466"/>
                      <a:pt x="19012" y="5665"/>
                      <a:pt x="15184" y="2316"/>
                    </a:cubicBezTo>
                    <a:cubicBezTo>
                      <a:pt x="11416" y="-1094"/>
                      <a:pt x="5615" y="-675"/>
                      <a:pt x="2265" y="3153"/>
                    </a:cubicBezTo>
                    <a:close/>
                  </a:path>
                </a:pathLst>
              </a:custGeom>
              <a:grpFill/>
              <a:ln w="5978" cap="flat">
                <a:noFill/>
                <a:prstDash val="solid"/>
                <a:miter/>
              </a:ln>
            </p:spPr>
            <p:txBody>
              <a:bodyPr rtlCol="0" anchor="ctr"/>
              <a:lstStyle/>
              <a:p>
                <a:endParaRPr lang="en-GB"/>
              </a:p>
            </p:txBody>
          </p:sp>
        </p:grpSp>
        <p:grpSp>
          <p:nvGrpSpPr>
            <p:cNvPr id="57" name="Graphic 3">
              <a:extLst>
                <a:ext uri="{FF2B5EF4-FFF2-40B4-BE49-F238E27FC236}">
                  <a16:creationId xmlns:a16="http://schemas.microsoft.com/office/drawing/2014/main" id="{F21C3C2F-7CAD-40BE-A5DE-4AE1AD35985A}"/>
                </a:ext>
              </a:extLst>
            </p:cNvPr>
            <p:cNvGrpSpPr/>
            <p:nvPr/>
          </p:nvGrpSpPr>
          <p:grpSpPr>
            <a:xfrm>
              <a:off x="7694677" y="2984209"/>
              <a:ext cx="474922" cy="79235"/>
              <a:chOff x="7694677" y="2984209"/>
              <a:chExt cx="474922" cy="79235"/>
            </a:xfrm>
            <a:grpFill/>
          </p:grpSpPr>
          <p:sp>
            <p:nvSpPr>
              <p:cNvPr id="5200" name="Vrije vorm: vorm 5199">
                <a:extLst>
                  <a:ext uri="{FF2B5EF4-FFF2-40B4-BE49-F238E27FC236}">
                    <a16:creationId xmlns:a16="http://schemas.microsoft.com/office/drawing/2014/main" id="{742E712F-9931-4D3B-A7C5-F404255536F0}"/>
                  </a:ext>
                </a:extLst>
              </p:cNvPr>
              <p:cNvSpPr/>
              <p:nvPr/>
            </p:nvSpPr>
            <p:spPr>
              <a:xfrm>
                <a:off x="7703190" y="2991836"/>
                <a:ext cx="457883" cy="63993"/>
              </a:xfrm>
              <a:custGeom>
                <a:avLst/>
                <a:gdLst>
                  <a:gd name="connsiteX0" fmla="*/ 457525 w 457883"/>
                  <a:gd name="connsiteY0" fmla="*/ 0 h 63993"/>
                  <a:gd name="connsiteX1" fmla="*/ 457884 w 457883"/>
                  <a:gd name="connsiteY1" fmla="*/ 3050 h 63993"/>
                  <a:gd name="connsiteX2" fmla="*/ 418 w 457883"/>
                  <a:gd name="connsiteY2" fmla="*/ 63994 h 63993"/>
                  <a:gd name="connsiteX3" fmla="*/ 0 w 457883"/>
                  <a:gd name="connsiteY3" fmla="*/ 60944 h 63993"/>
                </a:gdLst>
                <a:ahLst/>
                <a:cxnLst>
                  <a:cxn ang="0">
                    <a:pos x="connsiteX0" y="connsiteY0"/>
                  </a:cxn>
                  <a:cxn ang="0">
                    <a:pos x="connsiteX1" y="connsiteY1"/>
                  </a:cxn>
                  <a:cxn ang="0">
                    <a:pos x="connsiteX2" y="connsiteY2"/>
                  </a:cxn>
                  <a:cxn ang="0">
                    <a:pos x="connsiteX3" y="connsiteY3"/>
                  </a:cxn>
                </a:cxnLst>
                <a:rect l="l" t="t" r="r" b="b"/>
                <a:pathLst>
                  <a:path w="457883" h="63993">
                    <a:moveTo>
                      <a:pt x="457525" y="0"/>
                    </a:moveTo>
                    <a:lnTo>
                      <a:pt x="457884" y="3050"/>
                    </a:lnTo>
                    <a:lnTo>
                      <a:pt x="418" y="63994"/>
                    </a:lnTo>
                    <a:lnTo>
                      <a:pt x="0" y="60944"/>
                    </a:lnTo>
                    <a:close/>
                  </a:path>
                </a:pathLst>
              </a:custGeom>
              <a:grpFill/>
              <a:ln w="5978" cap="flat">
                <a:noFill/>
                <a:prstDash val="solid"/>
                <a:miter/>
              </a:ln>
            </p:spPr>
            <p:txBody>
              <a:bodyPr rtlCol="0" anchor="ctr"/>
              <a:lstStyle/>
              <a:p>
                <a:endParaRPr lang="en-GB"/>
              </a:p>
            </p:txBody>
          </p:sp>
          <p:sp>
            <p:nvSpPr>
              <p:cNvPr id="5201" name="Vrije vorm: vorm 5200">
                <a:extLst>
                  <a:ext uri="{FF2B5EF4-FFF2-40B4-BE49-F238E27FC236}">
                    <a16:creationId xmlns:a16="http://schemas.microsoft.com/office/drawing/2014/main" id="{051BCD54-FB63-4669-A017-7E29B7A9E5E1}"/>
                  </a:ext>
                </a:extLst>
              </p:cNvPr>
              <p:cNvSpPr/>
              <p:nvPr/>
            </p:nvSpPr>
            <p:spPr>
              <a:xfrm>
                <a:off x="7694677" y="3045046"/>
                <a:ext cx="18341" cy="18398"/>
              </a:xfrm>
              <a:custGeom>
                <a:avLst/>
                <a:gdLst>
                  <a:gd name="connsiteX0" fmla="*/ 10427 w 18341"/>
                  <a:gd name="connsiteY0" fmla="*/ 18320 h 18398"/>
                  <a:gd name="connsiteX1" fmla="*/ 80 w 18341"/>
                  <a:gd name="connsiteY1" fmla="*/ 10425 h 18398"/>
                  <a:gd name="connsiteX2" fmla="*/ 7914 w 18341"/>
                  <a:gd name="connsiteY2" fmla="*/ 79 h 18398"/>
                  <a:gd name="connsiteX3" fmla="*/ 18262 w 18341"/>
                  <a:gd name="connsiteY3" fmla="*/ 7973 h 18398"/>
                  <a:gd name="connsiteX4" fmla="*/ 10427 w 18341"/>
                  <a:gd name="connsiteY4" fmla="*/ 1832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8">
                    <a:moveTo>
                      <a:pt x="10427" y="18320"/>
                    </a:moveTo>
                    <a:cubicBezTo>
                      <a:pt x="5403" y="18978"/>
                      <a:pt x="798" y="15449"/>
                      <a:pt x="80" y="10425"/>
                    </a:cubicBezTo>
                    <a:cubicBezTo>
                      <a:pt x="-578" y="5402"/>
                      <a:pt x="2891" y="737"/>
                      <a:pt x="7914" y="79"/>
                    </a:cubicBezTo>
                    <a:cubicBezTo>
                      <a:pt x="12939" y="-579"/>
                      <a:pt x="17544" y="2950"/>
                      <a:pt x="18262" y="7973"/>
                    </a:cubicBezTo>
                    <a:cubicBezTo>
                      <a:pt x="18919" y="13057"/>
                      <a:pt x="15450" y="17662"/>
                      <a:pt x="10427" y="18320"/>
                    </a:cubicBezTo>
                    <a:close/>
                  </a:path>
                </a:pathLst>
              </a:custGeom>
              <a:grpFill/>
              <a:ln w="5978" cap="flat">
                <a:noFill/>
                <a:prstDash val="solid"/>
                <a:miter/>
              </a:ln>
            </p:spPr>
            <p:txBody>
              <a:bodyPr rtlCol="0" anchor="ctr"/>
              <a:lstStyle/>
              <a:p>
                <a:endParaRPr lang="en-GB"/>
              </a:p>
            </p:txBody>
          </p:sp>
          <p:sp>
            <p:nvSpPr>
              <p:cNvPr id="5202" name="Vrije vorm: vorm 5201">
                <a:extLst>
                  <a:ext uri="{FF2B5EF4-FFF2-40B4-BE49-F238E27FC236}">
                    <a16:creationId xmlns:a16="http://schemas.microsoft.com/office/drawing/2014/main" id="{09B50CC8-E9C8-4362-BC3A-2C3EA6C22844}"/>
                  </a:ext>
                </a:extLst>
              </p:cNvPr>
              <p:cNvSpPr/>
              <p:nvPr/>
            </p:nvSpPr>
            <p:spPr>
              <a:xfrm>
                <a:off x="8151232" y="2984209"/>
                <a:ext cx="18367" cy="18411"/>
              </a:xfrm>
              <a:custGeom>
                <a:avLst/>
                <a:gdLst>
                  <a:gd name="connsiteX0" fmla="*/ 10439 w 18367"/>
                  <a:gd name="connsiteY0" fmla="*/ 18333 h 18411"/>
                  <a:gd name="connsiteX1" fmla="*/ 18274 w 18367"/>
                  <a:gd name="connsiteY1" fmla="*/ 7986 h 18411"/>
                  <a:gd name="connsiteX2" fmla="*/ 7928 w 18367"/>
                  <a:gd name="connsiteY2" fmla="*/ 91 h 18411"/>
                  <a:gd name="connsiteX3" fmla="*/ 93 w 18367"/>
                  <a:gd name="connsiteY3" fmla="*/ 10438 h 18411"/>
                  <a:gd name="connsiteX4" fmla="*/ 10439 w 18367"/>
                  <a:gd name="connsiteY4" fmla="*/ 1833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11">
                    <a:moveTo>
                      <a:pt x="10439" y="18333"/>
                    </a:moveTo>
                    <a:cubicBezTo>
                      <a:pt x="15464" y="17675"/>
                      <a:pt x="18992" y="13010"/>
                      <a:pt x="18274" y="7986"/>
                    </a:cubicBezTo>
                    <a:cubicBezTo>
                      <a:pt x="17617" y="2962"/>
                      <a:pt x="12951" y="-626"/>
                      <a:pt x="7928" y="91"/>
                    </a:cubicBezTo>
                    <a:cubicBezTo>
                      <a:pt x="2903" y="749"/>
                      <a:pt x="-625" y="5414"/>
                      <a:pt x="93" y="10438"/>
                    </a:cubicBezTo>
                    <a:cubicBezTo>
                      <a:pt x="810" y="15462"/>
                      <a:pt x="5416" y="18991"/>
                      <a:pt x="10439" y="18333"/>
                    </a:cubicBezTo>
                    <a:close/>
                  </a:path>
                </a:pathLst>
              </a:custGeom>
              <a:grpFill/>
              <a:ln w="5978" cap="flat">
                <a:noFill/>
                <a:prstDash val="solid"/>
                <a:miter/>
              </a:ln>
            </p:spPr>
            <p:txBody>
              <a:bodyPr rtlCol="0" anchor="ctr"/>
              <a:lstStyle/>
              <a:p>
                <a:endParaRPr lang="en-GB"/>
              </a:p>
            </p:txBody>
          </p:sp>
        </p:grpSp>
        <p:grpSp>
          <p:nvGrpSpPr>
            <p:cNvPr id="58" name="Graphic 3">
              <a:extLst>
                <a:ext uri="{FF2B5EF4-FFF2-40B4-BE49-F238E27FC236}">
                  <a16:creationId xmlns:a16="http://schemas.microsoft.com/office/drawing/2014/main" id="{47F6DE90-34E1-4241-AF4E-DC2E7D7B097E}"/>
                </a:ext>
              </a:extLst>
            </p:cNvPr>
            <p:cNvGrpSpPr/>
            <p:nvPr/>
          </p:nvGrpSpPr>
          <p:grpSpPr>
            <a:xfrm>
              <a:off x="7754425" y="2724726"/>
              <a:ext cx="190404" cy="80977"/>
              <a:chOff x="7754425" y="2724726"/>
              <a:chExt cx="190404" cy="80977"/>
            </a:xfrm>
            <a:grpFill/>
          </p:grpSpPr>
          <p:sp>
            <p:nvSpPr>
              <p:cNvPr id="5197" name="Vrije vorm: vorm 5196">
                <a:extLst>
                  <a:ext uri="{FF2B5EF4-FFF2-40B4-BE49-F238E27FC236}">
                    <a16:creationId xmlns:a16="http://schemas.microsoft.com/office/drawing/2014/main" id="{8CBEA69E-8D6A-4ED3-A1EE-A18CAC8B2AB4}"/>
                  </a:ext>
                </a:extLst>
              </p:cNvPr>
              <p:cNvSpPr/>
              <p:nvPr/>
            </p:nvSpPr>
            <p:spPr>
              <a:xfrm>
                <a:off x="7762512" y="2732598"/>
                <a:ext cx="174064" cy="65714"/>
              </a:xfrm>
              <a:custGeom>
                <a:avLst/>
                <a:gdLst>
                  <a:gd name="connsiteX0" fmla="*/ 0 w 174064"/>
                  <a:gd name="connsiteY0" fmla="*/ 62847 h 65714"/>
                  <a:gd name="connsiteX1" fmla="*/ 173023 w 174064"/>
                  <a:gd name="connsiteY1" fmla="*/ 0 h 65714"/>
                  <a:gd name="connsiteX2" fmla="*/ 174065 w 174064"/>
                  <a:gd name="connsiteY2" fmla="*/ 2867 h 65714"/>
                  <a:gd name="connsiteX3" fmla="*/ 1042 w 174064"/>
                  <a:gd name="connsiteY3" fmla="*/ 65714 h 65714"/>
                </a:gdLst>
                <a:ahLst/>
                <a:cxnLst>
                  <a:cxn ang="0">
                    <a:pos x="connsiteX0" y="connsiteY0"/>
                  </a:cxn>
                  <a:cxn ang="0">
                    <a:pos x="connsiteX1" y="connsiteY1"/>
                  </a:cxn>
                  <a:cxn ang="0">
                    <a:pos x="connsiteX2" y="connsiteY2"/>
                  </a:cxn>
                  <a:cxn ang="0">
                    <a:pos x="connsiteX3" y="connsiteY3"/>
                  </a:cxn>
                </a:cxnLst>
                <a:rect l="l" t="t" r="r" b="b"/>
                <a:pathLst>
                  <a:path w="174064" h="65714">
                    <a:moveTo>
                      <a:pt x="0" y="62847"/>
                    </a:moveTo>
                    <a:lnTo>
                      <a:pt x="173023" y="0"/>
                    </a:lnTo>
                    <a:lnTo>
                      <a:pt x="174065" y="2867"/>
                    </a:lnTo>
                    <a:lnTo>
                      <a:pt x="1042" y="65714"/>
                    </a:lnTo>
                    <a:close/>
                  </a:path>
                </a:pathLst>
              </a:custGeom>
              <a:grpFill/>
              <a:ln w="5978" cap="flat">
                <a:noFill/>
                <a:prstDash val="solid"/>
                <a:miter/>
              </a:ln>
            </p:spPr>
            <p:txBody>
              <a:bodyPr rtlCol="0" anchor="ctr"/>
              <a:lstStyle/>
              <a:p>
                <a:endParaRPr lang="en-GB"/>
              </a:p>
            </p:txBody>
          </p:sp>
          <p:sp>
            <p:nvSpPr>
              <p:cNvPr id="5198" name="Vrije vorm: vorm 5197">
                <a:extLst>
                  <a:ext uri="{FF2B5EF4-FFF2-40B4-BE49-F238E27FC236}">
                    <a16:creationId xmlns:a16="http://schemas.microsoft.com/office/drawing/2014/main" id="{5754447E-88B8-465C-ADA9-F597EFEE0F15}"/>
                  </a:ext>
                </a:extLst>
              </p:cNvPr>
              <p:cNvSpPr/>
              <p:nvPr/>
            </p:nvSpPr>
            <p:spPr>
              <a:xfrm>
                <a:off x="7926550" y="2724726"/>
                <a:ext cx="18279" cy="18442"/>
              </a:xfrm>
              <a:custGeom>
                <a:avLst/>
                <a:gdLst>
                  <a:gd name="connsiteX0" fmla="*/ 6000 w 18279"/>
                  <a:gd name="connsiteY0" fmla="*/ 549 h 18442"/>
                  <a:gd name="connsiteX1" fmla="*/ 17722 w 18279"/>
                  <a:gd name="connsiteY1" fmla="*/ 6111 h 18442"/>
                  <a:gd name="connsiteX2" fmla="*/ 12279 w 18279"/>
                  <a:gd name="connsiteY2" fmla="*/ 17894 h 18442"/>
                  <a:gd name="connsiteX3" fmla="*/ 557 w 18279"/>
                  <a:gd name="connsiteY3" fmla="*/ 12331 h 18442"/>
                  <a:gd name="connsiteX4" fmla="*/ 6000 w 18279"/>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9" h="18442">
                    <a:moveTo>
                      <a:pt x="6000" y="549"/>
                    </a:moveTo>
                    <a:cubicBezTo>
                      <a:pt x="10724" y="-1185"/>
                      <a:pt x="15987" y="1327"/>
                      <a:pt x="17722" y="6111"/>
                    </a:cubicBezTo>
                    <a:cubicBezTo>
                      <a:pt x="19457" y="10896"/>
                      <a:pt x="17004" y="16159"/>
                      <a:pt x="12279" y="17894"/>
                    </a:cubicBezTo>
                    <a:cubicBezTo>
                      <a:pt x="7555" y="19628"/>
                      <a:pt x="2292" y="17116"/>
                      <a:pt x="557" y="12331"/>
                    </a:cubicBezTo>
                    <a:cubicBezTo>
                      <a:pt x="-1177" y="7547"/>
                      <a:pt x="1275" y="2284"/>
                      <a:pt x="6000" y="549"/>
                    </a:cubicBezTo>
                    <a:close/>
                  </a:path>
                </a:pathLst>
              </a:custGeom>
              <a:grpFill/>
              <a:ln w="5978" cap="flat">
                <a:noFill/>
                <a:prstDash val="solid"/>
                <a:miter/>
              </a:ln>
            </p:spPr>
            <p:txBody>
              <a:bodyPr rtlCol="0" anchor="ctr"/>
              <a:lstStyle/>
              <a:p>
                <a:endParaRPr lang="en-GB"/>
              </a:p>
            </p:txBody>
          </p:sp>
          <p:sp>
            <p:nvSpPr>
              <p:cNvPr id="5199" name="Vrije vorm: vorm 5198">
                <a:extLst>
                  <a:ext uri="{FF2B5EF4-FFF2-40B4-BE49-F238E27FC236}">
                    <a16:creationId xmlns:a16="http://schemas.microsoft.com/office/drawing/2014/main" id="{5D3AD73C-B4FB-44F3-B586-6DD69B696525}"/>
                  </a:ext>
                </a:extLst>
              </p:cNvPr>
              <p:cNvSpPr/>
              <p:nvPr/>
            </p:nvSpPr>
            <p:spPr>
              <a:xfrm>
                <a:off x="7754425" y="2787278"/>
                <a:ext cx="18338" cy="18425"/>
              </a:xfrm>
              <a:custGeom>
                <a:avLst/>
                <a:gdLst>
                  <a:gd name="connsiteX0" fmla="*/ 6000 w 18338"/>
                  <a:gd name="connsiteY0" fmla="*/ 556 h 18425"/>
                  <a:gd name="connsiteX1" fmla="*/ 557 w 18338"/>
                  <a:gd name="connsiteY1" fmla="*/ 12338 h 18425"/>
                  <a:gd name="connsiteX2" fmla="*/ 12340 w 18338"/>
                  <a:gd name="connsiteY2" fmla="*/ 17900 h 18425"/>
                  <a:gd name="connsiteX3" fmla="*/ 17782 w 18338"/>
                  <a:gd name="connsiteY3" fmla="*/ 6118 h 18425"/>
                  <a:gd name="connsiteX4" fmla="*/ 6000 w 18338"/>
                  <a:gd name="connsiteY4" fmla="*/ 556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5">
                    <a:moveTo>
                      <a:pt x="6000" y="556"/>
                    </a:moveTo>
                    <a:cubicBezTo>
                      <a:pt x="1275" y="2290"/>
                      <a:pt x="-1177" y="7553"/>
                      <a:pt x="557" y="12338"/>
                    </a:cubicBezTo>
                    <a:cubicBezTo>
                      <a:pt x="2292" y="17123"/>
                      <a:pt x="7555" y="19575"/>
                      <a:pt x="12340" y="17900"/>
                    </a:cubicBezTo>
                    <a:cubicBezTo>
                      <a:pt x="17064" y="16166"/>
                      <a:pt x="19516" y="10903"/>
                      <a:pt x="17782" y="6118"/>
                    </a:cubicBezTo>
                    <a:cubicBezTo>
                      <a:pt x="15988" y="1274"/>
                      <a:pt x="10725" y="-1178"/>
                      <a:pt x="6000" y="556"/>
                    </a:cubicBezTo>
                    <a:close/>
                  </a:path>
                </a:pathLst>
              </a:custGeom>
              <a:grpFill/>
              <a:ln w="5978" cap="flat">
                <a:noFill/>
                <a:prstDash val="solid"/>
                <a:miter/>
              </a:ln>
            </p:spPr>
            <p:txBody>
              <a:bodyPr rtlCol="0" anchor="ctr"/>
              <a:lstStyle/>
              <a:p>
                <a:endParaRPr lang="en-GB"/>
              </a:p>
            </p:txBody>
          </p:sp>
        </p:grpSp>
        <p:grpSp>
          <p:nvGrpSpPr>
            <p:cNvPr id="59" name="Graphic 3">
              <a:extLst>
                <a:ext uri="{FF2B5EF4-FFF2-40B4-BE49-F238E27FC236}">
                  <a16:creationId xmlns:a16="http://schemas.microsoft.com/office/drawing/2014/main" id="{2CBDD3E8-D06B-423C-A95B-E385CD061602}"/>
                </a:ext>
              </a:extLst>
            </p:cNvPr>
            <p:cNvGrpSpPr/>
            <p:nvPr/>
          </p:nvGrpSpPr>
          <p:grpSpPr>
            <a:xfrm>
              <a:off x="7422868" y="2136949"/>
              <a:ext cx="529244" cy="325595"/>
              <a:chOff x="7422868" y="2136949"/>
              <a:chExt cx="529244" cy="325595"/>
            </a:xfrm>
            <a:grpFill/>
          </p:grpSpPr>
          <p:sp>
            <p:nvSpPr>
              <p:cNvPr id="5194" name="Vrije vorm: vorm 5193">
                <a:extLst>
                  <a:ext uri="{FF2B5EF4-FFF2-40B4-BE49-F238E27FC236}">
                    <a16:creationId xmlns:a16="http://schemas.microsoft.com/office/drawing/2014/main" id="{5F6B0519-5059-4A50-B754-04A50362CB2A}"/>
                  </a:ext>
                </a:extLst>
              </p:cNvPr>
              <p:cNvSpPr/>
              <p:nvPr/>
            </p:nvSpPr>
            <p:spPr>
              <a:xfrm>
                <a:off x="7430827" y="2144607"/>
                <a:ext cx="513325" cy="310219"/>
              </a:xfrm>
              <a:custGeom>
                <a:avLst/>
                <a:gdLst>
                  <a:gd name="connsiteX0" fmla="*/ 513325 w 513325"/>
                  <a:gd name="connsiteY0" fmla="*/ 2632 h 310219"/>
                  <a:gd name="connsiteX1" fmla="*/ 1615 w 513325"/>
                  <a:gd name="connsiteY1" fmla="*/ 310220 h 310219"/>
                  <a:gd name="connsiteX2" fmla="*/ 0 w 513325"/>
                  <a:gd name="connsiteY2" fmla="*/ 307588 h 310219"/>
                  <a:gd name="connsiteX3" fmla="*/ 511710 w 513325"/>
                  <a:gd name="connsiteY3" fmla="*/ 0 h 310219"/>
                </a:gdLst>
                <a:ahLst/>
                <a:cxnLst>
                  <a:cxn ang="0">
                    <a:pos x="connsiteX0" y="connsiteY0"/>
                  </a:cxn>
                  <a:cxn ang="0">
                    <a:pos x="connsiteX1" y="connsiteY1"/>
                  </a:cxn>
                  <a:cxn ang="0">
                    <a:pos x="connsiteX2" y="connsiteY2"/>
                  </a:cxn>
                  <a:cxn ang="0">
                    <a:pos x="connsiteX3" y="connsiteY3"/>
                  </a:cxn>
                </a:cxnLst>
                <a:rect l="l" t="t" r="r" b="b"/>
                <a:pathLst>
                  <a:path w="513325" h="310219">
                    <a:moveTo>
                      <a:pt x="513325" y="2632"/>
                    </a:moveTo>
                    <a:lnTo>
                      <a:pt x="1615" y="310220"/>
                    </a:lnTo>
                    <a:lnTo>
                      <a:pt x="0" y="307588"/>
                    </a:lnTo>
                    <a:lnTo>
                      <a:pt x="511710" y="0"/>
                    </a:lnTo>
                    <a:close/>
                  </a:path>
                </a:pathLst>
              </a:custGeom>
              <a:grpFill/>
              <a:ln w="5978" cap="flat">
                <a:noFill/>
                <a:prstDash val="solid"/>
                <a:miter/>
              </a:ln>
            </p:spPr>
            <p:txBody>
              <a:bodyPr rtlCol="0" anchor="ctr"/>
              <a:lstStyle/>
              <a:p>
                <a:endParaRPr lang="en-GB"/>
              </a:p>
            </p:txBody>
          </p:sp>
          <p:sp>
            <p:nvSpPr>
              <p:cNvPr id="5195" name="Vrije vorm: vorm 5194">
                <a:extLst>
                  <a:ext uri="{FF2B5EF4-FFF2-40B4-BE49-F238E27FC236}">
                    <a16:creationId xmlns:a16="http://schemas.microsoft.com/office/drawing/2014/main" id="{255923AA-F8AF-473B-A12D-8E9CDAD35DD8}"/>
                  </a:ext>
                </a:extLst>
              </p:cNvPr>
              <p:cNvSpPr/>
              <p:nvPr/>
            </p:nvSpPr>
            <p:spPr>
              <a:xfrm>
                <a:off x="7422868" y="2444119"/>
                <a:ext cx="18311" cy="18425"/>
              </a:xfrm>
              <a:custGeom>
                <a:avLst/>
                <a:gdLst>
                  <a:gd name="connsiteX0" fmla="*/ 13880 w 18311"/>
                  <a:gd name="connsiteY0" fmla="*/ 17108 h 18425"/>
                  <a:gd name="connsiteX1" fmla="*/ 1321 w 18311"/>
                  <a:gd name="connsiteY1" fmla="*/ 13938 h 18425"/>
                  <a:gd name="connsiteX2" fmla="*/ 4431 w 18311"/>
                  <a:gd name="connsiteY2" fmla="*/ 1318 h 18425"/>
                  <a:gd name="connsiteX3" fmla="*/ 16990 w 18311"/>
                  <a:gd name="connsiteY3" fmla="*/ 4488 h 18425"/>
                  <a:gd name="connsiteX4" fmla="*/ 13880 w 1831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5">
                    <a:moveTo>
                      <a:pt x="13880" y="17108"/>
                    </a:moveTo>
                    <a:cubicBezTo>
                      <a:pt x="9574" y="19739"/>
                      <a:pt x="3892" y="18304"/>
                      <a:pt x="1321" y="13938"/>
                    </a:cubicBezTo>
                    <a:cubicBezTo>
                      <a:pt x="-1311" y="9572"/>
                      <a:pt x="124" y="3890"/>
                      <a:pt x="4431" y="1318"/>
                    </a:cubicBezTo>
                    <a:cubicBezTo>
                      <a:pt x="8737" y="-1313"/>
                      <a:pt x="14418" y="122"/>
                      <a:pt x="16990" y="4488"/>
                    </a:cubicBezTo>
                    <a:cubicBezTo>
                      <a:pt x="19622" y="8854"/>
                      <a:pt x="18186" y="14476"/>
                      <a:pt x="13880" y="17108"/>
                    </a:cubicBezTo>
                    <a:close/>
                  </a:path>
                </a:pathLst>
              </a:custGeom>
              <a:grpFill/>
              <a:ln w="5978" cap="flat">
                <a:noFill/>
                <a:prstDash val="solid"/>
                <a:miter/>
              </a:ln>
            </p:spPr>
            <p:txBody>
              <a:bodyPr rtlCol="0" anchor="ctr"/>
              <a:lstStyle/>
              <a:p>
                <a:endParaRPr lang="en-GB"/>
              </a:p>
            </p:txBody>
          </p:sp>
          <p:sp>
            <p:nvSpPr>
              <p:cNvPr id="5196" name="Vrije vorm: vorm 5195">
                <a:extLst>
                  <a:ext uri="{FF2B5EF4-FFF2-40B4-BE49-F238E27FC236}">
                    <a16:creationId xmlns:a16="http://schemas.microsoft.com/office/drawing/2014/main" id="{200F5730-ACFA-43B7-9260-A03192A011EB}"/>
                  </a:ext>
                </a:extLst>
              </p:cNvPr>
              <p:cNvSpPr/>
              <p:nvPr/>
            </p:nvSpPr>
            <p:spPr>
              <a:xfrm>
                <a:off x="7933801" y="2136949"/>
                <a:ext cx="18311" cy="18399"/>
              </a:xfrm>
              <a:custGeom>
                <a:avLst/>
                <a:gdLst>
                  <a:gd name="connsiteX0" fmla="*/ 13881 w 18311"/>
                  <a:gd name="connsiteY0" fmla="*/ 17108 h 18399"/>
                  <a:gd name="connsiteX1" fmla="*/ 16990 w 18311"/>
                  <a:gd name="connsiteY1" fmla="*/ 4488 h 18399"/>
                  <a:gd name="connsiteX2" fmla="*/ 4431 w 18311"/>
                  <a:gd name="connsiteY2" fmla="*/ 1318 h 18399"/>
                  <a:gd name="connsiteX3" fmla="*/ 1321 w 18311"/>
                  <a:gd name="connsiteY3" fmla="*/ 13938 h 18399"/>
                  <a:gd name="connsiteX4" fmla="*/ 13881 w 18311"/>
                  <a:gd name="connsiteY4" fmla="*/ 17108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399">
                    <a:moveTo>
                      <a:pt x="13881" y="17108"/>
                    </a:moveTo>
                    <a:cubicBezTo>
                      <a:pt x="18187" y="14476"/>
                      <a:pt x="19622" y="8854"/>
                      <a:pt x="16990" y="4488"/>
                    </a:cubicBezTo>
                    <a:cubicBezTo>
                      <a:pt x="14359" y="122"/>
                      <a:pt x="8737" y="-1313"/>
                      <a:pt x="4431" y="1318"/>
                    </a:cubicBezTo>
                    <a:cubicBezTo>
                      <a:pt x="125" y="3950"/>
                      <a:pt x="-1311" y="9572"/>
                      <a:pt x="1321" y="13938"/>
                    </a:cubicBezTo>
                    <a:cubicBezTo>
                      <a:pt x="3893" y="18304"/>
                      <a:pt x="9514" y="19679"/>
                      <a:pt x="13881" y="17108"/>
                    </a:cubicBezTo>
                    <a:close/>
                  </a:path>
                </a:pathLst>
              </a:custGeom>
              <a:grpFill/>
              <a:ln w="5978" cap="flat">
                <a:noFill/>
                <a:prstDash val="solid"/>
                <a:miter/>
              </a:ln>
            </p:spPr>
            <p:txBody>
              <a:bodyPr rtlCol="0" anchor="ctr"/>
              <a:lstStyle/>
              <a:p>
                <a:endParaRPr lang="en-GB"/>
              </a:p>
            </p:txBody>
          </p:sp>
        </p:grpSp>
        <p:grpSp>
          <p:nvGrpSpPr>
            <p:cNvPr id="60" name="Graphic 3">
              <a:extLst>
                <a:ext uri="{FF2B5EF4-FFF2-40B4-BE49-F238E27FC236}">
                  <a16:creationId xmlns:a16="http://schemas.microsoft.com/office/drawing/2014/main" id="{653FB44B-D020-4E39-97E3-F0FF1A8A99A7}"/>
                </a:ext>
              </a:extLst>
            </p:cNvPr>
            <p:cNvGrpSpPr/>
            <p:nvPr/>
          </p:nvGrpSpPr>
          <p:grpSpPr>
            <a:xfrm>
              <a:off x="7843622" y="2981037"/>
              <a:ext cx="155945" cy="48807"/>
              <a:chOff x="7843622" y="2981037"/>
              <a:chExt cx="155945" cy="48807"/>
            </a:xfrm>
            <a:grpFill/>
          </p:grpSpPr>
          <p:sp>
            <p:nvSpPr>
              <p:cNvPr id="5191" name="Vrije vorm: vorm 5190">
                <a:extLst>
                  <a:ext uri="{FF2B5EF4-FFF2-40B4-BE49-F238E27FC236}">
                    <a16:creationId xmlns:a16="http://schemas.microsoft.com/office/drawing/2014/main" id="{F29B971F-2A23-4E13-A8EF-D1103D7FF587}"/>
                  </a:ext>
                </a:extLst>
              </p:cNvPr>
              <p:cNvSpPr/>
              <p:nvPr/>
            </p:nvSpPr>
            <p:spPr>
              <a:xfrm>
                <a:off x="7851990" y="2988666"/>
                <a:ext cx="139230" cy="33551"/>
              </a:xfrm>
              <a:custGeom>
                <a:avLst/>
                <a:gdLst>
                  <a:gd name="connsiteX0" fmla="*/ 138513 w 139230"/>
                  <a:gd name="connsiteY0" fmla="*/ 0 h 33551"/>
                  <a:gd name="connsiteX1" fmla="*/ 139231 w 139230"/>
                  <a:gd name="connsiteY1" fmla="*/ 2990 h 33551"/>
                  <a:gd name="connsiteX2" fmla="*/ 658 w 139230"/>
                  <a:gd name="connsiteY2" fmla="*/ 33552 h 33551"/>
                  <a:gd name="connsiteX3" fmla="*/ 0 w 139230"/>
                  <a:gd name="connsiteY3" fmla="*/ 30561 h 33551"/>
                </a:gdLst>
                <a:ahLst/>
                <a:cxnLst>
                  <a:cxn ang="0">
                    <a:pos x="connsiteX0" y="connsiteY0"/>
                  </a:cxn>
                  <a:cxn ang="0">
                    <a:pos x="connsiteX1" y="connsiteY1"/>
                  </a:cxn>
                  <a:cxn ang="0">
                    <a:pos x="connsiteX2" y="connsiteY2"/>
                  </a:cxn>
                  <a:cxn ang="0">
                    <a:pos x="connsiteX3" y="connsiteY3"/>
                  </a:cxn>
                </a:cxnLst>
                <a:rect l="l" t="t" r="r" b="b"/>
                <a:pathLst>
                  <a:path w="139230" h="33551">
                    <a:moveTo>
                      <a:pt x="138513" y="0"/>
                    </a:moveTo>
                    <a:lnTo>
                      <a:pt x="139231" y="2990"/>
                    </a:lnTo>
                    <a:lnTo>
                      <a:pt x="658" y="33552"/>
                    </a:lnTo>
                    <a:lnTo>
                      <a:pt x="0" y="30561"/>
                    </a:lnTo>
                    <a:close/>
                  </a:path>
                </a:pathLst>
              </a:custGeom>
              <a:grpFill/>
              <a:ln w="5978" cap="flat">
                <a:noFill/>
                <a:prstDash val="solid"/>
                <a:miter/>
              </a:ln>
            </p:spPr>
            <p:txBody>
              <a:bodyPr rtlCol="0" anchor="ctr"/>
              <a:lstStyle/>
              <a:p>
                <a:endParaRPr lang="en-GB"/>
              </a:p>
            </p:txBody>
          </p:sp>
          <p:sp>
            <p:nvSpPr>
              <p:cNvPr id="5192" name="Vrije vorm: vorm 5191">
                <a:extLst>
                  <a:ext uri="{FF2B5EF4-FFF2-40B4-BE49-F238E27FC236}">
                    <a16:creationId xmlns:a16="http://schemas.microsoft.com/office/drawing/2014/main" id="{A4498C66-9DFD-4715-99CF-C0BD4D2D2E95}"/>
                  </a:ext>
                </a:extLst>
              </p:cNvPr>
              <p:cNvSpPr/>
              <p:nvPr/>
            </p:nvSpPr>
            <p:spPr>
              <a:xfrm>
                <a:off x="7981259" y="2981037"/>
                <a:ext cx="18308" cy="18367"/>
              </a:xfrm>
              <a:custGeom>
                <a:avLst/>
                <a:gdLst>
                  <a:gd name="connsiteX0" fmla="*/ 7151 w 18308"/>
                  <a:gd name="connsiteY0" fmla="*/ 213 h 18367"/>
                  <a:gd name="connsiteX1" fmla="*/ 18095 w 18308"/>
                  <a:gd name="connsiteY1" fmla="*/ 7210 h 18367"/>
                  <a:gd name="connsiteX2" fmla="*/ 11158 w 18308"/>
                  <a:gd name="connsiteY2" fmla="*/ 18155 h 18367"/>
                  <a:gd name="connsiteX3" fmla="*/ 213 w 18308"/>
                  <a:gd name="connsiteY3" fmla="*/ 11158 h 18367"/>
                  <a:gd name="connsiteX4" fmla="*/ 7151 w 18308"/>
                  <a:gd name="connsiteY4" fmla="*/ 21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367">
                    <a:moveTo>
                      <a:pt x="7151" y="213"/>
                    </a:moveTo>
                    <a:cubicBezTo>
                      <a:pt x="12114" y="-864"/>
                      <a:pt x="17019" y="2246"/>
                      <a:pt x="18095" y="7210"/>
                    </a:cubicBezTo>
                    <a:cubicBezTo>
                      <a:pt x="19172" y="12174"/>
                      <a:pt x="16062" y="17079"/>
                      <a:pt x="11158" y="18155"/>
                    </a:cubicBezTo>
                    <a:cubicBezTo>
                      <a:pt x="6194" y="19232"/>
                      <a:pt x="1290" y="16122"/>
                      <a:pt x="213" y="11158"/>
                    </a:cubicBezTo>
                    <a:cubicBezTo>
                      <a:pt x="-863" y="6253"/>
                      <a:pt x="2247" y="1349"/>
                      <a:pt x="7151" y="213"/>
                    </a:cubicBezTo>
                    <a:close/>
                  </a:path>
                </a:pathLst>
              </a:custGeom>
              <a:grpFill/>
              <a:ln w="5978" cap="flat">
                <a:noFill/>
                <a:prstDash val="solid"/>
                <a:miter/>
              </a:ln>
            </p:spPr>
            <p:txBody>
              <a:bodyPr rtlCol="0" anchor="ctr"/>
              <a:lstStyle/>
              <a:p>
                <a:endParaRPr lang="en-GB"/>
              </a:p>
            </p:txBody>
          </p:sp>
          <p:sp>
            <p:nvSpPr>
              <p:cNvPr id="5193" name="Vrije vorm: vorm 5192">
                <a:extLst>
                  <a:ext uri="{FF2B5EF4-FFF2-40B4-BE49-F238E27FC236}">
                    <a16:creationId xmlns:a16="http://schemas.microsoft.com/office/drawing/2014/main" id="{7D22349D-8C42-4388-BBA6-7AB1274196FA}"/>
                  </a:ext>
                </a:extLst>
              </p:cNvPr>
              <p:cNvSpPr/>
              <p:nvPr/>
            </p:nvSpPr>
            <p:spPr>
              <a:xfrm>
                <a:off x="7843622" y="3011422"/>
                <a:ext cx="18351" cy="18421"/>
              </a:xfrm>
              <a:custGeom>
                <a:avLst/>
                <a:gdLst>
                  <a:gd name="connsiteX0" fmla="*/ 7172 w 18351"/>
                  <a:gd name="connsiteY0" fmla="*/ 210 h 18421"/>
                  <a:gd name="connsiteX1" fmla="*/ 234 w 18351"/>
                  <a:gd name="connsiteY1" fmla="*/ 11155 h 18421"/>
                  <a:gd name="connsiteX2" fmla="*/ 11179 w 18351"/>
                  <a:gd name="connsiteY2" fmla="*/ 18212 h 18421"/>
                  <a:gd name="connsiteX3" fmla="*/ 18117 w 18351"/>
                  <a:gd name="connsiteY3" fmla="*/ 7267 h 18421"/>
                  <a:gd name="connsiteX4" fmla="*/ 7172 w 18351"/>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1">
                    <a:moveTo>
                      <a:pt x="7172" y="210"/>
                    </a:moveTo>
                    <a:cubicBezTo>
                      <a:pt x="2208" y="1286"/>
                      <a:pt x="-902" y="6191"/>
                      <a:pt x="234" y="11155"/>
                    </a:cubicBezTo>
                    <a:cubicBezTo>
                      <a:pt x="1311" y="16119"/>
                      <a:pt x="6215" y="19288"/>
                      <a:pt x="11179" y="18212"/>
                    </a:cubicBezTo>
                    <a:cubicBezTo>
                      <a:pt x="16143" y="17135"/>
                      <a:pt x="19253" y="12231"/>
                      <a:pt x="18117" y="7267"/>
                    </a:cubicBezTo>
                    <a:cubicBezTo>
                      <a:pt x="16980" y="2303"/>
                      <a:pt x="12076" y="-867"/>
                      <a:pt x="7172" y="210"/>
                    </a:cubicBezTo>
                    <a:close/>
                  </a:path>
                </a:pathLst>
              </a:custGeom>
              <a:grpFill/>
              <a:ln w="5978" cap="flat">
                <a:noFill/>
                <a:prstDash val="solid"/>
                <a:miter/>
              </a:ln>
            </p:spPr>
            <p:txBody>
              <a:bodyPr rtlCol="0" anchor="ctr"/>
              <a:lstStyle/>
              <a:p>
                <a:endParaRPr lang="en-GB"/>
              </a:p>
            </p:txBody>
          </p:sp>
        </p:grpSp>
        <p:grpSp>
          <p:nvGrpSpPr>
            <p:cNvPr id="61" name="Graphic 3">
              <a:extLst>
                <a:ext uri="{FF2B5EF4-FFF2-40B4-BE49-F238E27FC236}">
                  <a16:creationId xmlns:a16="http://schemas.microsoft.com/office/drawing/2014/main" id="{D0736012-3632-4F32-83C8-4537BAEA3A07}"/>
                </a:ext>
              </a:extLst>
            </p:cNvPr>
            <p:cNvGrpSpPr/>
            <p:nvPr/>
          </p:nvGrpSpPr>
          <p:grpSpPr>
            <a:xfrm>
              <a:off x="8006765" y="3348225"/>
              <a:ext cx="78657" cy="20163"/>
              <a:chOff x="8006765" y="3348225"/>
              <a:chExt cx="78657" cy="20163"/>
            </a:xfrm>
            <a:grpFill/>
          </p:grpSpPr>
          <p:sp>
            <p:nvSpPr>
              <p:cNvPr id="5188" name="Vrije vorm: vorm 5187">
                <a:extLst>
                  <a:ext uri="{FF2B5EF4-FFF2-40B4-BE49-F238E27FC236}">
                    <a16:creationId xmlns:a16="http://schemas.microsoft.com/office/drawing/2014/main" id="{13C034E1-367F-42DD-9335-B7EE2A9C1E4C}"/>
                  </a:ext>
                </a:extLst>
              </p:cNvPr>
              <p:cNvSpPr/>
              <p:nvPr/>
            </p:nvSpPr>
            <p:spPr>
              <a:xfrm>
                <a:off x="8015443" y="3355883"/>
                <a:ext cx="61362" cy="4904"/>
              </a:xfrm>
              <a:custGeom>
                <a:avLst/>
                <a:gdLst>
                  <a:gd name="connsiteX0" fmla="*/ 61243 w 61362"/>
                  <a:gd name="connsiteY0" fmla="*/ 0 h 4904"/>
                  <a:gd name="connsiteX1" fmla="*/ 61362 w 61362"/>
                  <a:gd name="connsiteY1" fmla="*/ 3110 h 4904"/>
                  <a:gd name="connsiteX2" fmla="*/ 120 w 61362"/>
                  <a:gd name="connsiteY2" fmla="*/ 4904 h 4904"/>
                  <a:gd name="connsiteX3" fmla="*/ 0 w 61362"/>
                  <a:gd name="connsiteY3" fmla="*/ 1854 h 4904"/>
                </a:gdLst>
                <a:ahLst/>
                <a:cxnLst>
                  <a:cxn ang="0">
                    <a:pos x="connsiteX0" y="connsiteY0"/>
                  </a:cxn>
                  <a:cxn ang="0">
                    <a:pos x="connsiteX1" y="connsiteY1"/>
                  </a:cxn>
                  <a:cxn ang="0">
                    <a:pos x="connsiteX2" y="connsiteY2"/>
                  </a:cxn>
                  <a:cxn ang="0">
                    <a:pos x="connsiteX3" y="connsiteY3"/>
                  </a:cxn>
                </a:cxnLst>
                <a:rect l="l" t="t" r="r" b="b"/>
                <a:pathLst>
                  <a:path w="61362" h="4904">
                    <a:moveTo>
                      <a:pt x="61243" y="0"/>
                    </a:moveTo>
                    <a:lnTo>
                      <a:pt x="61362" y="3110"/>
                    </a:lnTo>
                    <a:lnTo>
                      <a:pt x="120" y="4904"/>
                    </a:lnTo>
                    <a:lnTo>
                      <a:pt x="0" y="1854"/>
                    </a:lnTo>
                    <a:close/>
                  </a:path>
                </a:pathLst>
              </a:custGeom>
              <a:grpFill/>
              <a:ln w="5978" cap="flat">
                <a:noFill/>
                <a:prstDash val="solid"/>
                <a:miter/>
              </a:ln>
            </p:spPr>
            <p:txBody>
              <a:bodyPr rtlCol="0" anchor="ctr"/>
              <a:lstStyle/>
              <a:p>
                <a:endParaRPr lang="en-GB"/>
              </a:p>
            </p:txBody>
          </p:sp>
          <p:sp>
            <p:nvSpPr>
              <p:cNvPr id="5189" name="Vrije vorm: vorm 5188">
                <a:extLst>
                  <a:ext uri="{FF2B5EF4-FFF2-40B4-BE49-F238E27FC236}">
                    <a16:creationId xmlns:a16="http://schemas.microsoft.com/office/drawing/2014/main" id="{8DC5A092-82FC-4DD9-AFC5-2D0CA15B7D68}"/>
                  </a:ext>
                </a:extLst>
              </p:cNvPr>
              <p:cNvSpPr/>
              <p:nvPr/>
            </p:nvSpPr>
            <p:spPr>
              <a:xfrm>
                <a:off x="8067111" y="3348225"/>
                <a:ext cx="18312" cy="18366"/>
              </a:xfrm>
              <a:custGeom>
                <a:avLst/>
                <a:gdLst>
                  <a:gd name="connsiteX0" fmla="*/ 8857 w 18312"/>
                  <a:gd name="connsiteY0" fmla="*/ 3 h 18366"/>
                  <a:gd name="connsiteX1" fmla="*/ 18306 w 18312"/>
                  <a:gd name="connsiteY1" fmla="*/ 8914 h 18366"/>
                  <a:gd name="connsiteX2" fmla="*/ 9455 w 18312"/>
                  <a:gd name="connsiteY2" fmla="*/ 18364 h 18366"/>
                  <a:gd name="connsiteX3" fmla="*/ 6 w 18312"/>
                  <a:gd name="connsiteY3" fmla="*/ 9452 h 18366"/>
                  <a:gd name="connsiteX4" fmla="*/ 8857 w 18312"/>
                  <a:gd name="connsiteY4" fmla="*/ 3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66">
                    <a:moveTo>
                      <a:pt x="8857" y="3"/>
                    </a:moveTo>
                    <a:cubicBezTo>
                      <a:pt x="13941" y="-117"/>
                      <a:pt x="18128" y="3830"/>
                      <a:pt x="18306" y="8914"/>
                    </a:cubicBezTo>
                    <a:cubicBezTo>
                      <a:pt x="18486" y="13998"/>
                      <a:pt x="14539" y="18244"/>
                      <a:pt x="9455" y="18364"/>
                    </a:cubicBezTo>
                    <a:cubicBezTo>
                      <a:pt x="4372" y="18483"/>
                      <a:pt x="185" y="14536"/>
                      <a:pt x="6" y="9452"/>
                    </a:cubicBezTo>
                    <a:cubicBezTo>
                      <a:pt x="-174" y="4428"/>
                      <a:pt x="3834" y="182"/>
                      <a:pt x="8857" y="3"/>
                    </a:cubicBezTo>
                    <a:close/>
                  </a:path>
                </a:pathLst>
              </a:custGeom>
              <a:grpFill/>
              <a:ln w="5978" cap="flat">
                <a:noFill/>
                <a:prstDash val="solid"/>
                <a:miter/>
              </a:ln>
            </p:spPr>
            <p:txBody>
              <a:bodyPr rtlCol="0" anchor="ctr"/>
              <a:lstStyle/>
              <a:p>
                <a:endParaRPr lang="en-GB"/>
              </a:p>
            </p:txBody>
          </p:sp>
          <p:sp>
            <p:nvSpPr>
              <p:cNvPr id="5190" name="Vrije vorm: vorm 5189">
                <a:extLst>
                  <a:ext uri="{FF2B5EF4-FFF2-40B4-BE49-F238E27FC236}">
                    <a16:creationId xmlns:a16="http://schemas.microsoft.com/office/drawing/2014/main" id="{C8DFBA75-79A4-41CE-9C56-39BA2ACE10B4}"/>
                  </a:ext>
                </a:extLst>
              </p:cNvPr>
              <p:cNvSpPr/>
              <p:nvPr/>
            </p:nvSpPr>
            <p:spPr>
              <a:xfrm>
                <a:off x="8006765" y="3350016"/>
                <a:ext cx="18312" cy="18372"/>
              </a:xfrm>
              <a:custGeom>
                <a:avLst/>
                <a:gdLst>
                  <a:gd name="connsiteX0" fmla="*/ 8857 w 18312"/>
                  <a:gd name="connsiteY0" fmla="*/ 6 h 18372"/>
                  <a:gd name="connsiteX1" fmla="*/ 6 w 18312"/>
                  <a:gd name="connsiteY1" fmla="*/ 9455 h 18372"/>
                  <a:gd name="connsiteX2" fmla="*/ 9455 w 18312"/>
                  <a:gd name="connsiteY2" fmla="*/ 18367 h 18372"/>
                  <a:gd name="connsiteX3" fmla="*/ 18307 w 18312"/>
                  <a:gd name="connsiteY3" fmla="*/ 8917 h 18372"/>
                  <a:gd name="connsiteX4" fmla="*/ 8857 w 18312"/>
                  <a:gd name="connsiteY4" fmla="*/ 6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6"/>
                    </a:moveTo>
                    <a:cubicBezTo>
                      <a:pt x="3773" y="126"/>
                      <a:pt x="-174" y="4372"/>
                      <a:pt x="6" y="9455"/>
                    </a:cubicBezTo>
                    <a:cubicBezTo>
                      <a:pt x="185" y="14539"/>
                      <a:pt x="4432" y="18546"/>
                      <a:pt x="9455" y="18367"/>
                    </a:cubicBezTo>
                    <a:cubicBezTo>
                      <a:pt x="14539" y="18247"/>
                      <a:pt x="18486" y="14001"/>
                      <a:pt x="18307" y="8917"/>
                    </a:cubicBezTo>
                    <a:cubicBezTo>
                      <a:pt x="18187" y="3834"/>
                      <a:pt x="13941" y="-174"/>
                      <a:pt x="8857" y="6"/>
                    </a:cubicBezTo>
                    <a:close/>
                  </a:path>
                </a:pathLst>
              </a:custGeom>
              <a:grpFill/>
              <a:ln w="5978" cap="flat">
                <a:noFill/>
                <a:prstDash val="solid"/>
                <a:miter/>
              </a:ln>
            </p:spPr>
            <p:txBody>
              <a:bodyPr rtlCol="0" anchor="ctr"/>
              <a:lstStyle/>
              <a:p>
                <a:endParaRPr lang="en-GB"/>
              </a:p>
            </p:txBody>
          </p:sp>
        </p:grpSp>
        <p:grpSp>
          <p:nvGrpSpPr>
            <p:cNvPr id="62" name="Graphic 3">
              <a:extLst>
                <a:ext uri="{FF2B5EF4-FFF2-40B4-BE49-F238E27FC236}">
                  <a16:creationId xmlns:a16="http://schemas.microsoft.com/office/drawing/2014/main" id="{B3165EAC-4141-4C11-AEB6-D6B1F9B5769C}"/>
                </a:ext>
              </a:extLst>
            </p:cNvPr>
            <p:cNvGrpSpPr/>
            <p:nvPr/>
          </p:nvGrpSpPr>
          <p:grpSpPr>
            <a:xfrm>
              <a:off x="7860839" y="3456416"/>
              <a:ext cx="432889" cy="29490"/>
              <a:chOff x="7860839" y="3456416"/>
              <a:chExt cx="432889" cy="29490"/>
            </a:xfrm>
            <a:grpFill/>
          </p:grpSpPr>
          <p:sp>
            <p:nvSpPr>
              <p:cNvPr id="5185" name="Vrije vorm: vorm 5184">
                <a:extLst>
                  <a:ext uri="{FF2B5EF4-FFF2-40B4-BE49-F238E27FC236}">
                    <a16:creationId xmlns:a16="http://schemas.microsoft.com/office/drawing/2014/main" id="{AA34957F-2D80-42C8-9970-7F5964766279}"/>
                  </a:ext>
                </a:extLst>
              </p:cNvPr>
              <p:cNvSpPr/>
              <p:nvPr/>
            </p:nvSpPr>
            <p:spPr>
              <a:xfrm>
                <a:off x="7869573" y="3464074"/>
                <a:ext cx="415480" cy="14174"/>
              </a:xfrm>
              <a:custGeom>
                <a:avLst/>
                <a:gdLst>
                  <a:gd name="connsiteX0" fmla="*/ 415481 w 415480"/>
                  <a:gd name="connsiteY0" fmla="*/ 11124 h 14174"/>
                  <a:gd name="connsiteX1" fmla="*/ 415421 w 415480"/>
                  <a:gd name="connsiteY1" fmla="*/ 14174 h 14174"/>
                  <a:gd name="connsiteX2" fmla="*/ 0 w 415480"/>
                  <a:gd name="connsiteY2" fmla="*/ 3050 h 14174"/>
                  <a:gd name="connsiteX3" fmla="*/ 60 w 415480"/>
                  <a:gd name="connsiteY3" fmla="*/ 0 h 14174"/>
                </a:gdLst>
                <a:ahLst/>
                <a:cxnLst>
                  <a:cxn ang="0">
                    <a:pos x="connsiteX0" y="connsiteY0"/>
                  </a:cxn>
                  <a:cxn ang="0">
                    <a:pos x="connsiteX1" y="connsiteY1"/>
                  </a:cxn>
                  <a:cxn ang="0">
                    <a:pos x="connsiteX2" y="connsiteY2"/>
                  </a:cxn>
                  <a:cxn ang="0">
                    <a:pos x="connsiteX3" y="connsiteY3"/>
                  </a:cxn>
                </a:cxnLst>
                <a:rect l="l" t="t" r="r" b="b"/>
                <a:pathLst>
                  <a:path w="415480" h="14174">
                    <a:moveTo>
                      <a:pt x="415481" y="11124"/>
                    </a:moveTo>
                    <a:lnTo>
                      <a:pt x="415421" y="14174"/>
                    </a:lnTo>
                    <a:lnTo>
                      <a:pt x="0" y="3050"/>
                    </a:lnTo>
                    <a:lnTo>
                      <a:pt x="60" y="0"/>
                    </a:lnTo>
                    <a:close/>
                  </a:path>
                </a:pathLst>
              </a:custGeom>
              <a:grpFill/>
              <a:ln w="5978" cap="flat">
                <a:noFill/>
                <a:prstDash val="solid"/>
                <a:miter/>
              </a:ln>
            </p:spPr>
            <p:txBody>
              <a:bodyPr rtlCol="0" anchor="ctr"/>
              <a:lstStyle/>
              <a:p>
                <a:endParaRPr lang="en-GB"/>
              </a:p>
            </p:txBody>
          </p:sp>
          <p:sp>
            <p:nvSpPr>
              <p:cNvPr id="5186" name="Vrije vorm: vorm 5185">
                <a:extLst>
                  <a:ext uri="{FF2B5EF4-FFF2-40B4-BE49-F238E27FC236}">
                    <a16:creationId xmlns:a16="http://schemas.microsoft.com/office/drawing/2014/main" id="{860F1A41-7392-4B48-8DB2-E141ED390A53}"/>
                  </a:ext>
                </a:extLst>
              </p:cNvPr>
              <p:cNvSpPr/>
              <p:nvPr/>
            </p:nvSpPr>
            <p:spPr>
              <a:xfrm>
                <a:off x="8275362" y="3467480"/>
                <a:ext cx="18366" cy="18425"/>
              </a:xfrm>
              <a:custGeom>
                <a:avLst/>
                <a:gdLst>
                  <a:gd name="connsiteX0" fmla="*/ 9393 w 18366"/>
                  <a:gd name="connsiteY0" fmla="*/ 3 h 18425"/>
                  <a:gd name="connsiteX1" fmla="*/ 18364 w 18366"/>
                  <a:gd name="connsiteY1" fmla="*/ 9452 h 18425"/>
                  <a:gd name="connsiteX2" fmla="*/ 8974 w 18366"/>
                  <a:gd name="connsiteY2" fmla="*/ 18423 h 18425"/>
                  <a:gd name="connsiteX3" fmla="*/ 3 w 18366"/>
                  <a:gd name="connsiteY3" fmla="*/ 8974 h 18425"/>
                  <a:gd name="connsiteX4" fmla="*/ 9393 w 18366"/>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3" y="3"/>
                    </a:moveTo>
                    <a:cubicBezTo>
                      <a:pt x="14476" y="122"/>
                      <a:pt x="18484" y="4368"/>
                      <a:pt x="18364" y="9452"/>
                    </a:cubicBezTo>
                    <a:cubicBezTo>
                      <a:pt x="18244" y="14536"/>
                      <a:pt x="14057" y="18543"/>
                      <a:pt x="8974" y="18423"/>
                    </a:cubicBezTo>
                    <a:cubicBezTo>
                      <a:pt x="3890" y="18304"/>
                      <a:pt x="-117" y="14057"/>
                      <a:pt x="3" y="8974"/>
                    </a:cubicBezTo>
                    <a:cubicBezTo>
                      <a:pt x="182" y="3890"/>
                      <a:pt x="4368" y="-117"/>
                      <a:pt x="9393" y="3"/>
                    </a:cubicBezTo>
                    <a:close/>
                  </a:path>
                </a:pathLst>
              </a:custGeom>
              <a:grpFill/>
              <a:ln w="5978" cap="flat">
                <a:noFill/>
                <a:prstDash val="solid"/>
                <a:miter/>
              </a:ln>
            </p:spPr>
            <p:txBody>
              <a:bodyPr rtlCol="0" anchor="ctr"/>
              <a:lstStyle/>
              <a:p>
                <a:endParaRPr lang="en-GB"/>
              </a:p>
            </p:txBody>
          </p:sp>
          <p:sp>
            <p:nvSpPr>
              <p:cNvPr id="5187" name="Vrije vorm: vorm 5186">
                <a:extLst>
                  <a:ext uri="{FF2B5EF4-FFF2-40B4-BE49-F238E27FC236}">
                    <a16:creationId xmlns:a16="http://schemas.microsoft.com/office/drawing/2014/main" id="{7473A778-C209-4792-BD57-02806201D97E}"/>
                  </a:ext>
                </a:extLst>
              </p:cNvPr>
              <p:cNvSpPr/>
              <p:nvPr/>
            </p:nvSpPr>
            <p:spPr>
              <a:xfrm>
                <a:off x="7860839" y="3456416"/>
                <a:ext cx="18365" cy="18425"/>
              </a:xfrm>
              <a:custGeom>
                <a:avLst/>
                <a:gdLst>
                  <a:gd name="connsiteX0" fmla="*/ 9392 w 18365"/>
                  <a:gd name="connsiteY0" fmla="*/ 3 h 18425"/>
                  <a:gd name="connsiteX1" fmla="*/ 3 w 18365"/>
                  <a:gd name="connsiteY1" fmla="*/ 8974 h 18425"/>
                  <a:gd name="connsiteX2" fmla="*/ 8974 w 18365"/>
                  <a:gd name="connsiteY2" fmla="*/ 18423 h 18425"/>
                  <a:gd name="connsiteX3" fmla="*/ 18363 w 18365"/>
                  <a:gd name="connsiteY3" fmla="*/ 9452 h 18425"/>
                  <a:gd name="connsiteX4" fmla="*/ 9392 w 18365"/>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5">
                    <a:moveTo>
                      <a:pt x="9392" y="3"/>
                    </a:moveTo>
                    <a:cubicBezTo>
                      <a:pt x="4309" y="-117"/>
                      <a:pt x="122" y="3890"/>
                      <a:pt x="3" y="8974"/>
                    </a:cubicBezTo>
                    <a:cubicBezTo>
                      <a:pt x="-117" y="14057"/>
                      <a:pt x="3890" y="18304"/>
                      <a:pt x="8974" y="18423"/>
                    </a:cubicBezTo>
                    <a:cubicBezTo>
                      <a:pt x="14057" y="18543"/>
                      <a:pt x="18243" y="14536"/>
                      <a:pt x="18363" y="9452"/>
                    </a:cubicBezTo>
                    <a:cubicBezTo>
                      <a:pt x="18483" y="4369"/>
                      <a:pt x="14475" y="122"/>
                      <a:pt x="9392" y="3"/>
                    </a:cubicBezTo>
                    <a:close/>
                  </a:path>
                </a:pathLst>
              </a:custGeom>
              <a:grpFill/>
              <a:ln w="5978" cap="flat">
                <a:noFill/>
                <a:prstDash val="solid"/>
                <a:miter/>
              </a:ln>
            </p:spPr>
            <p:txBody>
              <a:bodyPr rtlCol="0" anchor="ctr"/>
              <a:lstStyle/>
              <a:p>
                <a:endParaRPr lang="en-GB"/>
              </a:p>
            </p:txBody>
          </p:sp>
        </p:grpSp>
        <p:grpSp>
          <p:nvGrpSpPr>
            <p:cNvPr id="63" name="Graphic 3">
              <a:extLst>
                <a:ext uri="{FF2B5EF4-FFF2-40B4-BE49-F238E27FC236}">
                  <a16:creationId xmlns:a16="http://schemas.microsoft.com/office/drawing/2014/main" id="{5330C3F4-24A8-4D28-A5A1-D5E732639662}"/>
                </a:ext>
              </a:extLst>
            </p:cNvPr>
            <p:cNvGrpSpPr/>
            <p:nvPr/>
          </p:nvGrpSpPr>
          <p:grpSpPr>
            <a:xfrm>
              <a:off x="7981396" y="3532298"/>
              <a:ext cx="222874" cy="31610"/>
              <a:chOff x="7981396" y="3532298"/>
              <a:chExt cx="222874" cy="31610"/>
            </a:xfrm>
            <a:grpFill/>
          </p:grpSpPr>
          <p:sp>
            <p:nvSpPr>
              <p:cNvPr id="5182" name="Vrije vorm: vorm 5181">
                <a:extLst>
                  <a:ext uri="{FF2B5EF4-FFF2-40B4-BE49-F238E27FC236}">
                    <a16:creationId xmlns:a16="http://schemas.microsoft.com/office/drawing/2014/main" id="{59F88E7D-D211-4141-9F59-BD944F8AEB96}"/>
                  </a:ext>
                </a:extLst>
              </p:cNvPr>
              <p:cNvSpPr/>
              <p:nvPr/>
            </p:nvSpPr>
            <p:spPr>
              <a:xfrm>
                <a:off x="7990025" y="3539969"/>
                <a:ext cx="205617" cy="16267"/>
              </a:xfrm>
              <a:custGeom>
                <a:avLst/>
                <a:gdLst>
                  <a:gd name="connsiteX0" fmla="*/ 205617 w 205617"/>
                  <a:gd name="connsiteY0" fmla="*/ 13217 h 16267"/>
                  <a:gd name="connsiteX1" fmla="*/ 205438 w 205617"/>
                  <a:gd name="connsiteY1" fmla="*/ 16268 h 16267"/>
                  <a:gd name="connsiteX2" fmla="*/ 0 w 205617"/>
                  <a:gd name="connsiteY2" fmla="*/ 3050 h 16267"/>
                  <a:gd name="connsiteX3" fmla="*/ 180 w 205617"/>
                  <a:gd name="connsiteY3" fmla="*/ 0 h 16267"/>
                </a:gdLst>
                <a:ahLst/>
                <a:cxnLst>
                  <a:cxn ang="0">
                    <a:pos x="connsiteX0" y="connsiteY0"/>
                  </a:cxn>
                  <a:cxn ang="0">
                    <a:pos x="connsiteX1" y="connsiteY1"/>
                  </a:cxn>
                  <a:cxn ang="0">
                    <a:pos x="connsiteX2" y="connsiteY2"/>
                  </a:cxn>
                  <a:cxn ang="0">
                    <a:pos x="connsiteX3" y="connsiteY3"/>
                  </a:cxn>
                </a:cxnLst>
                <a:rect l="l" t="t" r="r" b="b"/>
                <a:pathLst>
                  <a:path w="205617" h="16267">
                    <a:moveTo>
                      <a:pt x="205617" y="13217"/>
                    </a:moveTo>
                    <a:lnTo>
                      <a:pt x="205438" y="16268"/>
                    </a:lnTo>
                    <a:lnTo>
                      <a:pt x="0" y="3050"/>
                    </a:lnTo>
                    <a:lnTo>
                      <a:pt x="180" y="0"/>
                    </a:lnTo>
                    <a:close/>
                  </a:path>
                </a:pathLst>
              </a:custGeom>
              <a:grpFill/>
              <a:ln w="5978" cap="flat">
                <a:noFill/>
                <a:prstDash val="solid"/>
                <a:miter/>
              </a:ln>
            </p:spPr>
            <p:txBody>
              <a:bodyPr rtlCol="0" anchor="ctr"/>
              <a:lstStyle/>
              <a:p>
                <a:endParaRPr lang="en-GB"/>
              </a:p>
            </p:txBody>
          </p:sp>
          <p:sp>
            <p:nvSpPr>
              <p:cNvPr id="5183" name="Vrije vorm: vorm 5182">
                <a:extLst>
                  <a:ext uri="{FF2B5EF4-FFF2-40B4-BE49-F238E27FC236}">
                    <a16:creationId xmlns:a16="http://schemas.microsoft.com/office/drawing/2014/main" id="{E5C1E5AD-6CB2-4DD3-AF99-6E90168692C9}"/>
                  </a:ext>
                </a:extLst>
              </p:cNvPr>
              <p:cNvSpPr/>
              <p:nvPr/>
            </p:nvSpPr>
            <p:spPr>
              <a:xfrm>
                <a:off x="8185937" y="3545449"/>
                <a:ext cx="18333" cy="18459"/>
              </a:xfrm>
              <a:custGeom>
                <a:avLst/>
                <a:gdLst>
                  <a:gd name="connsiteX0" fmla="*/ 9705 w 18333"/>
                  <a:gd name="connsiteY0" fmla="*/ 23 h 18459"/>
                  <a:gd name="connsiteX1" fmla="*/ 18317 w 18333"/>
                  <a:gd name="connsiteY1" fmla="*/ 9831 h 18459"/>
                  <a:gd name="connsiteX2" fmla="*/ 8628 w 18333"/>
                  <a:gd name="connsiteY2" fmla="*/ 18444 h 18459"/>
                  <a:gd name="connsiteX3" fmla="*/ 16 w 18333"/>
                  <a:gd name="connsiteY3" fmla="*/ 8635 h 18459"/>
                  <a:gd name="connsiteX4" fmla="*/ 9705 w 18333"/>
                  <a:gd name="connsiteY4" fmla="*/ 23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9">
                    <a:moveTo>
                      <a:pt x="9705" y="23"/>
                    </a:moveTo>
                    <a:cubicBezTo>
                      <a:pt x="14729" y="322"/>
                      <a:pt x="18616" y="4748"/>
                      <a:pt x="18317" y="9831"/>
                    </a:cubicBezTo>
                    <a:cubicBezTo>
                      <a:pt x="18018" y="14915"/>
                      <a:pt x="13652" y="18743"/>
                      <a:pt x="8628" y="18444"/>
                    </a:cubicBezTo>
                    <a:cubicBezTo>
                      <a:pt x="3604" y="18145"/>
                      <a:pt x="-283" y="13719"/>
                      <a:pt x="16" y="8635"/>
                    </a:cubicBezTo>
                    <a:cubicBezTo>
                      <a:pt x="315" y="3552"/>
                      <a:pt x="4681" y="-336"/>
                      <a:pt x="9705" y="23"/>
                    </a:cubicBezTo>
                    <a:close/>
                  </a:path>
                </a:pathLst>
              </a:custGeom>
              <a:grpFill/>
              <a:ln w="5978" cap="flat">
                <a:noFill/>
                <a:prstDash val="solid"/>
                <a:miter/>
              </a:ln>
            </p:spPr>
            <p:txBody>
              <a:bodyPr rtlCol="0" anchor="ctr"/>
              <a:lstStyle/>
              <a:p>
                <a:endParaRPr lang="en-GB"/>
              </a:p>
            </p:txBody>
          </p:sp>
          <p:sp>
            <p:nvSpPr>
              <p:cNvPr id="5184" name="Vrije vorm: vorm 5183">
                <a:extLst>
                  <a:ext uri="{FF2B5EF4-FFF2-40B4-BE49-F238E27FC236}">
                    <a16:creationId xmlns:a16="http://schemas.microsoft.com/office/drawing/2014/main" id="{557FB9D3-44A1-4121-B81A-A7E363431754}"/>
                  </a:ext>
                </a:extLst>
              </p:cNvPr>
              <p:cNvSpPr/>
              <p:nvPr/>
            </p:nvSpPr>
            <p:spPr>
              <a:xfrm>
                <a:off x="7981396" y="3532298"/>
                <a:ext cx="18334" cy="18453"/>
              </a:xfrm>
              <a:custGeom>
                <a:avLst/>
                <a:gdLst>
                  <a:gd name="connsiteX0" fmla="*/ 9705 w 18334"/>
                  <a:gd name="connsiteY0" fmla="*/ 16 h 18453"/>
                  <a:gd name="connsiteX1" fmla="*/ 16 w 18334"/>
                  <a:gd name="connsiteY1" fmla="*/ 8629 h 18453"/>
                  <a:gd name="connsiteX2" fmla="*/ 8629 w 18334"/>
                  <a:gd name="connsiteY2" fmla="*/ 18437 h 18453"/>
                  <a:gd name="connsiteX3" fmla="*/ 18318 w 18334"/>
                  <a:gd name="connsiteY3" fmla="*/ 9825 h 18453"/>
                  <a:gd name="connsiteX4" fmla="*/ 9705 w 18334"/>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3">
                    <a:moveTo>
                      <a:pt x="9705" y="16"/>
                    </a:moveTo>
                    <a:cubicBezTo>
                      <a:pt x="4681" y="-283"/>
                      <a:pt x="316" y="3545"/>
                      <a:pt x="16" y="8629"/>
                    </a:cubicBezTo>
                    <a:cubicBezTo>
                      <a:pt x="-282" y="13712"/>
                      <a:pt x="3545" y="18078"/>
                      <a:pt x="8629" y="18437"/>
                    </a:cubicBezTo>
                    <a:cubicBezTo>
                      <a:pt x="13653" y="18736"/>
                      <a:pt x="18018" y="14908"/>
                      <a:pt x="18318" y="9825"/>
                    </a:cubicBezTo>
                    <a:cubicBezTo>
                      <a:pt x="18617" y="4741"/>
                      <a:pt x="14789" y="315"/>
                      <a:pt x="9705" y="16"/>
                    </a:cubicBezTo>
                    <a:close/>
                  </a:path>
                </a:pathLst>
              </a:custGeom>
              <a:grpFill/>
              <a:ln w="5978" cap="flat">
                <a:noFill/>
                <a:prstDash val="solid"/>
                <a:miter/>
              </a:ln>
            </p:spPr>
            <p:txBody>
              <a:bodyPr rtlCol="0" anchor="ctr"/>
              <a:lstStyle/>
              <a:p>
                <a:endParaRPr lang="en-GB"/>
              </a:p>
            </p:txBody>
          </p:sp>
        </p:grpSp>
        <p:grpSp>
          <p:nvGrpSpPr>
            <p:cNvPr id="64" name="Graphic 3">
              <a:extLst>
                <a:ext uri="{FF2B5EF4-FFF2-40B4-BE49-F238E27FC236}">
                  <a16:creationId xmlns:a16="http://schemas.microsoft.com/office/drawing/2014/main" id="{694F7FC3-8F33-4F4A-87C6-564E22DB308B}"/>
                </a:ext>
              </a:extLst>
            </p:cNvPr>
            <p:cNvGrpSpPr/>
            <p:nvPr/>
          </p:nvGrpSpPr>
          <p:grpSpPr>
            <a:xfrm>
              <a:off x="7516351" y="2421994"/>
              <a:ext cx="441258" cy="204658"/>
              <a:chOff x="7516351" y="2421994"/>
              <a:chExt cx="441258" cy="204658"/>
            </a:xfrm>
            <a:grpFill/>
          </p:grpSpPr>
          <p:sp>
            <p:nvSpPr>
              <p:cNvPr id="5179" name="Vrije vorm: vorm 5178">
                <a:extLst>
                  <a:ext uri="{FF2B5EF4-FFF2-40B4-BE49-F238E27FC236}">
                    <a16:creationId xmlns:a16="http://schemas.microsoft.com/office/drawing/2014/main" id="{FA003C9D-02F4-4100-AB05-E0FB9419E4A6}"/>
                  </a:ext>
                </a:extLst>
              </p:cNvPr>
              <p:cNvSpPr/>
              <p:nvPr/>
            </p:nvSpPr>
            <p:spPr>
              <a:xfrm>
                <a:off x="7524411" y="2429234"/>
                <a:ext cx="424992" cy="189391"/>
              </a:xfrm>
              <a:custGeom>
                <a:avLst/>
                <a:gdLst>
                  <a:gd name="connsiteX0" fmla="*/ 0 w 424992"/>
                  <a:gd name="connsiteY0" fmla="*/ 186600 h 189391"/>
                  <a:gd name="connsiteX1" fmla="*/ 423763 w 424992"/>
                  <a:gd name="connsiteY1" fmla="*/ 0 h 189391"/>
                  <a:gd name="connsiteX2" fmla="*/ 424992 w 424992"/>
                  <a:gd name="connsiteY2" fmla="*/ 2792 h 189391"/>
                  <a:gd name="connsiteX3" fmla="*/ 1229 w 424992"/>
                  <a:gd name="connsiteY3" fmla="*/ 189392 h 189391"/>
                </a:gdLst>
                <a:ahLst/>
                <a:cxnLst>
                  <a:cxn ang="0">
                    <a:pos x="connsiteX0" y="connsiteY0"/>
                  </a:cxn>
                  <a:cxn ang="0">
                    <a:pos x="connsiteX1" y="connsiteY1"/>
                  </a:cxn>
                  <a:cxn ang="0">
                    <a:pos x="connsiteX2" y="connsiteY2"/>
                  </a:cxn>
                  <a:cxn ang="0">
                    <a:pos x="connsiteX3" y="connsiteY3"/>
                  </a:cxn>
                </a:cxnLst>
                <a:rect l="l" t="t" r="r" b="b"/>
                <a:pathLst>
                  <a:path w="424992" h="189391">
                    <a:moveTo>
                      <a:pt x="0" y="186600"/>
                    </a:moveTo>
                    <a:lnTo>
                      <a:pt x="423763" y="0"/>
                    </a:lnTo>
                    <a:lnTo>
                      <a:pt x="424992" y="2792"/>
                    </a:lnTo>
                    <a:lnTo>
                      <a:pt x="1229" y="189392"/>
                    </a:lnTo>
                    <a:close/>
                  </a:path>
                </a:pathLst>
              </a:custGeom>
              <a:grpFill/>
              <a:ln w="5978" cap="flat">
                <a:noFill/>
                <a:prstDash val="solid"/>
                <a:miter/>
              </a:ln>
            </p:spPr>
            <p:txBody>
              <a:bodyPr rtlCol="0" anchor="ctr"/>
              <a:lstStyle/>
              <a:p>
                <a:endParaRPr lang="en-GB"/>
              </a:p>
            </p:txBody>
          </p:sp>
          <p:sp>
            <p:nvSpPr>
              <p:cNvPr id="5180" name="Vrije vorm: vorm 5179">
                <a:extLst>
                  <a:ext uri="{FF2B5EF4-FFF2-40B4-BE49-F238E27FC236}">
                    <a16:creationId xmlns:a16="http://schemas.microsoft.com/office/drawing/2014/main" id="{EFDF77EC-7E9B-4B19-8044-320C18065457}"/>
                  </a:ext>
                </a:extLst>
              </p:cNvPr>
              <p:cNvSpPr/>
              <p:nvPr/>
            </p:nvSpPr>
            <p:spPr>
              <a:xfrm>
                <a:off x="7516351" y="2608234"/>
                <a:ext cx="18326" cy="18418"/>
              </a:xfrm>
              <a:custGeom>
                <a:avLst/>
                <a:gdLst>
                  <a:gd name="connsiteX0" fmla="*/ 12859 w 18326"/>
                  <a:gd name="connsiteY0" fmla="*/ 17642 h 18418"/>
                  <a:gd name="connsiteX1" fmla="*/ 777 w 18326"/>
                  <a:gd name="connsiteY1" fmla="*/ 12917 h 18418"/>
                  <a:gd name="connsiteX2" fmla="*/ 5443 w 18326"/>
                  <a:gd name="connsiteY2" fmla="*/ 777 h 18418"/>
                  <a:gd name="connsiteX3" fmla="*/ 17524 w 18326"/>
                  <a:gd name="connsiteY3" fmla="*/ 5501 h 18418"/>
                  <a:gd name="connsiteX4" fmla="*/ 12859 w 18326"/>
                  <a:gd name="connsiteY4" fmla="*/ 1764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8">
                    <a:moveTo>
                      <a:pt x="12859" y="17642"/>
                    </a:moveTo>
                    <a:cubicBezTo>
                      <a:pt x="8253" y="19676"/>
                      <a:pt x="2811" y="17582"/>
                      <a:pt x="777" y="12917"/>
                    </a:cubicBezTo>
                    <a:cubicBezTo>
                      <a:pt x="-1256" y="8252"/>
                      <a:pt x="837" y="2810"/>
                      <a:pt x="5443" y="777"/>
                    </a:cubicBezTo>
                    <a:cubicBezTo>
                      <a:pt x="10048" y="-1257"/>
                      <a:pt x="15491" y="836"/>
                      <a:pt x="17524" y="5501"/>
                    </a:cubicBezTo>
                    <a:cubicBezTo>
                      <a:pt x="19617" y="10166"/>
                      <a:pt x="17464" y="15609"/>
                      <a:pt x="12859" y="17642"/>
                    </a:cubicBezTo>
                    <a:close/>
                  </a:path>
                </a:pathLst>
              </a:custGeom>
              <a:grpFill/>
              <a:ln w="5978" cap="flat">
                <a:noFill/>
                <a:prstDash val="solid"/>
                <a:miter/>
              </a:ln>
            </p:spPr>
            <p:txBody>
              <a:bodyPr rtlCol="0" anchor="ctr"/>
              <a:lstStyle/>
              <a:p>
                <a:endParaRPr lang="en-GB"/>
              </a:p>
            </p:txBody>
          </p:sp>
          <p:sp>
            <p:nvSpPr>
              <p:cNvPr id="5181" name="Vrije vorm: vorm 5180">
                <a:extLst>
                  <a:ext uri="{FF2B5EF4-FFF2-40B4-BE49-F238E27FC236}">
                    <a16:creationId xmlns:a16="http://schemas.microsoft.com/office/drawing/2014/main" id="{BF6DDCC2-65E1-472A-B128-1EE11A3E1D31}"/>
                  </a:ext>
                </a:extLst>
              </p:cNvPr>
              <p:cNvSpPr/>
              <p:nvPr/>
            </p:nvSpPr>
            <p:spPr>
              <a:xfrm>
                <a:off x="7939308" y="2421994"/>
                <a:ext cx="18301" cy="18418"/>
              </a:xfrm>
              <a:custGeom>
                <a:avLst/>
                <a:gdLst>
                  <a:gd name="connsiteX0" fmla="*/ 12859 w 18301"/>
                  <a:gd name="connsiteY0" fmla="*/ 17642 h 18418"/>
                  <a:gd name="connsiteX1" fmla="*/ 17523 w 18301"/>
                  <a:gd name="connsiteY1" fmla="*/ 5501 h 18418"/>
                  <a:gd name="connsiteX2" fmla="*/ 5442 w 18301"/>
                  <a:gd name="connsiteY2" fmla="*/ 777 h 18418"/>
                  <a:gd name="connsiteX3" fmla="*/ 778 w 18301"/>
                  <a:gd name="connsiteY3" fmla="*/ 12917 h 18418"/>
                  <a:gd name="connsiteX4" fmla="*/ 12859 w 18301"/>
                  <a:gd name="connsiteY4" fmla="*/ 1764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18">
                    <a:moveTo>
                      <a:pt x="12859" y="17642"/>
                    </a:moveTo>
                    <a:cubicBezTo>
                      <a:pt x="17464" y="15609"/>
                      <a:pt x="19557" y="10166"/>
                      <a:pt x="17523" y="5501"/>
                    </a:cubicBezTo>
                    <a:cubicBezTo>
                      <a:pt x="15490" y="836"/>
                      <a:pt x="10047" y="-1257"/>
                      <a:pt x="5442" y="777"/>
                    </a:cubicBezTo>
                    <a:cubicBezTo>
                      <a:pt x="838" y="2810"/>
                      <a:pt x="-1256" y="8253"/>
                      <a:pt x="778" y="12917"/>
                    </a:cubicBezTo>
                    <a:cubicBezTo>
                      <a:pt x="2811" y="17582"/>
                      <a:pt x="8254" y="19676"/>
                      <a:pt x="12859" y="17642"/>
                    </a:cubicBezTo>
                    <a:close/>
                  </a:path>
                </a:pathLst>
              </a:custGeom>
              <a:grpFill/>
              <a:ln w="5978" cap="flat">
                <a:noFill/>
                <a:prstDash val="solid"/>
                <a:miter/>
              </a:ln>
            </p:spPr>
            <p:txBody>
              <a:bodyPr rtlCol="0" anchor="ctr"/>
              <a:lstStyle/>
              <a:p>
                <a:endParaRPr lang="en-GB"/>
              </a:p>
            </p:txBody>
          </p:sp>
        </p:grpSp>
        <p:grpSp>
          <p:nvGrpSpPr>
            <p:cNvPr id="65" name="Graphic 3">
              <a:extLst>
                <a:ext uri="{FF2B5EF4-FFF2-40B4-BE49-F238E27FC236}">
                  <a16:creationId xmlns:a16="http://schemas.microsoft.com/office/drawing/2014/main" id="{B28AEA3D-4BA4-44E4-9B50-8D65DB932C5A}"/>
                </a:ext>
              </a:extLst>
            </p:cNvPr>
            <p:cNvGrpSpPr/>
            <p:nvPr/>
          </p:nvGrpSpPr>
          <p:grpSpPr>
            <a:xfrm>
              <a:off x="7975939" y="3568286"/>
              <a:ext cx="219009" cy="35110"/>
              <a:chOff x="7975939" y="3568286"/>
              <a:chExt cx="219009" cy="35110"/>
            </a:xfrm>
            <a:grpFill/>
          </p:grpSpPr>
          <p:sp>
            <p:nvSpPr>
              <p:cNvPr id="5176" name="Vrije vorm: vorm 5175">
                <a:extLst>
                  <a:ext uri="{FF2B5EF4-FFF2-40B4-BE49-F238E27FC236}">
                    <a16:creationId xmlns:a16="http://schemas.microsoft.com/office/drawing/2014/main" id="{591FC9DF-B934-4FF5-BFF6-95F4C5707EBF}"/>
                  </a:ext>
                </a:extLst>
              </p:cNvPr>
              <p:cNvSpPr/>
              <p:nvPr/>
            </p:nvSpPr>
            <p:spPr>
              <a:xfrm>
                <a:off x="7984582" y="3575973"/>
                <a:ext cx="201789" cy="19796"/>
              </a:xfrm>
              <a:custGeom>
                <a:avLst/>
                <a:gdLst>
                  <a:gd name="connsiteX0" fmla="*/ 201790 w 201789"/>
                  <a:gd name="connsiteY0" fmla="*/ 16746 h 19796"/>
                  <a:gd name="connsiteX1" fmla="*/ 201551 w 201789"/>
                  <a:gd name="connsiteY1" fmla="*/ 19796 h 19796"/>
                  <a:gd name="connsiteX2" fmla="*/ 0 w 201789"/>
                  <a:gd name="connsiteY2" fmla="*/ 3050 h 19796"/>
                  <a:gd name="connsiteX3" fmla="*/ 239 w 201789"/>
                  <a:gd name="connsiteY3" fmla="*/ 0 h 19796"/>
                </a:gdLst>
                <a:ahLst/>
                <a:cxnLst>
                  <a:cxn ang="0">
                    <a:pos x="connsiteX0" y="connsiteY0"/>
                  </a:cxn>
                  <a:cxn ang="0">
                    <a:pos x="connsiteX1" y="connsiteY1"/>
                  </a:cxn>
                  <a:cxn ang="0">
                    <a:pos x="connsiteX2" y="connsiteY2"/>
                  </a:cxn>
                  <a:cxn ang="0">
                    <a:pos x="connsiteX3" y="connsiteY3"/>
                  </a:cxn>
                </a:cxnLst>
                <a:rect l="l" t="t" r="r" b="b"/>
                <a:pathLst>
                  <a:path w="201789" h="19796">
                    <a:moveTo>
                      <a:pt x="201790" y="16746"/>
                    </a:moveTo>
                    <a:lnTo>
                      <a:pt x="201551" y="19796"/>
                    </a:lnTo>
                    <a:lnTo>
                      <a:pt x="0" y="3050"/>
                    </a:lnTo>
                    <a:lnTo>
                      <a:pt x="239" y="0"/>
                    </a:lnTo>
                    <a:close/>
                  </a:path>
                </a:pathLst>
              </a:custGeom>
              <a:grpFill/>
              <a:ln w="5978" cap="flat">
                <a:noFill/>
                <a:prstDash val="solid"/>
                <a:miter/>
              </a:ln>
            </p:spPr>
            <p:txBody>
              <a:bodyPr rtlCol="0" anchor="ctr"/>
              <a:lstStyle/>
              <a:p>
                <a:endParaRPr lang="en-GB"/>
              </a:p>
            </p:txBody>
          </p:sp>
          <p:sp>
            <p:nvSpPr>
              <p:cNvPr id="5177" name="Vrije vorm: vorm 5176">
                <a:extLst>
                  <a:ext uri="{FF2B5EF4-FFF2-40B4-BE49-F238E27FC236}">
                    <a16:creationId xmlns:a16="http://schemas.microsoft.com/office/drawing/2014/main" id="{16A88A94-7BA2-48FE-8380-30A59259A33E}"/>
                  </a:ext>
                </a:extLst>
              </p:cNvPr>
              <p:cNvSpPr/>
              <p:nvPr/>
            </p:nvSpPr>
            <p:spPr>
              <a:xfrm>
                <a:off x="8176600" y="3584972"/>
                <a:ext cx="18348" cy="18424"/>
              </a:xfrm>
              <a:custGeom>
                <a:avLst/>
                <a:gdLst>
                  <a:gd name="connsiteX0" fmla="*/ 9892 w 18348"/>
                  <a:gd name="connsiteY0" fmla="*/ 32 h 18424"/>
                  <a:gd name="connsiteX1" fmla="*/ 18325 w 18348"/>
                  <a:gd name="connsiteY1" fmla="*/ 9960 h 18424"/>
                  <a:gd name="connsiteX2" fmla="*/ 8457 w 18348"/>
                  <a:gd name="connsiteY2" fmla="*/ 18393 h 18424"/>
                  <a:gd name="connsiteX3" fmla="*/ 24 w 18348"/>
                  <a:gd name="connsiteY3" fmla="*/ 8465 h 18424"/>
                  <a:gd name="connsiteX4" fmla="*/ 9892 w 18348"/>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4">
                    <a:moveTo>
                      <a:pt x="9892" y="32"/>
                    </a:moveTo>
                    <a:cubicBezTo>
                      <a:pt x="14916" y="450"/>
                      <a:pt x="18683" y="4876"/>
                      <a:pt x="18325" y="9960"/>
                    </a:cubicBezTo>
                    <a:cubicBezTo>
                      <a:pt x="17906" y="15043"/>
                      <a:pt x="13540" y="18811"/>
                      <a:pt x="8457" y="18393"/>
                    </a:cubicBezTo>
                    <a:cubicBezTo>
                      <a:pt x="3433" y="17974"/>
                      <a:pt x="-335" y="13548"/>
                      <a:pt x="24" y="8465"/>
                    </a:cubicBezTo>
                    <a:cubicBezTo>
                      <a:pt x="443" y="3381"/>
                      <a:pt x="4868" y="-387"/>
                      <a:pt x="9892" y="32"/>
                    </a:cubicBezTo>
                    <a:close/>
                  </a:path>
                </a:pathLst>
              </a:custGeom>
              <a:grpFill/>
              <a:ln w="5978" cap="flat">
                <a:noFill/>
                <a:prstDash val="solid"/>
                <a:miter/>
              </a:ln>
            </p:spPr>
            <p:txBody>
              <a:bodyPr rtlCol="0" anchor="ctr"/>
              <a:lstStyle/>
              <a:p>
                <a:endParaRPr lang="en-GB"/>
              </a:p>
            </p:txBody>
          </p:sp>
          <p:sp>
            <p:nvSpPr>
              <p:cNvPr id="5178" name="Vrije vorm: vorm 5177">
                <a:extLst>
                  <a:ext uri="{FF2B5EF4-FFF2-40B4-BE49-F238E27FC236}">
                    <a16:creationId xmlns:a16="http://schemas.microsoft.com/office/drawing/2014/main" id="{F1912CE0-7182-4408-9172-7D6F606FE17E}"/>
                  </a:ext>
                </a:extLst>
              </p:cNvPr>
              <p:cNvSpPr/>
              <p:nvPr/>
            </p:nvSpPr>
            <p:spPr>
              <a:xfrm>
                <a:off x="7975939" y="3568286"/>
                <a:ext cx="18364" cy="18424"/>
              </a:xfrm>
              <a:custGeom>
                <a:avLst/>
                <a:gdLst>
                  <a:gd name="connsiteX0" fmla="*/ 9900 w 18364"/>
                  <a:gd name="connsiteY0" fmla="*/ 32 h 18424"/>
                  <a:gd name="connsiteX1" fmla="*/ 32 w 18364"/>
                  <a:gd name="connsiteY1" fmla="*/ 8465 h 18424"/>
                  <a:gd name="connsiteX2" fmla="*/ 8464 w 18364"/>
                  <a:gd name="connsiteY2" fmla="*/ 18393 h 18424"/>
                  <a:gd name="connsiteX3" fmla="*/ 18332 w 18364"/>
                  <a:gd name="connsiteY3" fmla="*/ 9960 h 18424"/>
                  <a:gd name="connsiteX4" fmla="*/ 9900 w 18364"/>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9900" y="32"/>
                    </a:moveTo>
                    <a:cubicBezTo>
                      <a:pt x="4876" y="-387"/>
                      <a:pt x="450" y="3381"/>
                      <a:pt x="32" y="8465"/>
                    </a:cubicBezTo>
                    <a:cubicBezTo>
                      <a:pt x="-387" y="13548"/>
                      <a:pt x="3381" y="17974"/>
                      <a:pt x="8464" y="18393"/>
                    </a:cubicBezTo>
                    <a:cubicBezTo>
                      <a:pt x="13488" y="18811"/>
                      <a:pt x="17914" y="15043"/>
                      <a:pt x="18332" y="9960"/>
                    </a:cubicBezTo>
                    <a:cubicBezTo>
                      <a:pt x="18752" y="4936"/>
                      <a:pt x="14984" y="450"/>
                      <a:pt x="9900" y="32"/>
                    </a:cubicBezTo>
                    <a:close/>
                  </a:path>
                </a:pathLst>
              </a:custGeom>
              <a:grpFill/>
              <a:ln w="5978" cap="flat">
                <a:noFill/>
                <a:prstDash val="solid"/>
                <a:miter/>
              </a:ln>
            </p:spPr>
            <p:txBody>
              <a:bodyPr rtlCol="0" anchor="ctr"/>
              <a:lstStyle/>
              <a:p>
                <a:endParaRPr lang="en-GB"/>
              </a:p>
            </p:txBody>
          </p:sp>
        </p:grpSp>
        <p:grpSp>
          <p:nvGrpSpPr>
            <p:cNvPr id="66" name="Graphic 3">
              <a:extLst>
                <a:ext uri="{FF2B5EF4-FFF2-40B4-BE49-F238E27FC236}">
                  <a16:creationId xmlns:a16="http://schemas.microsoft.com/office/drawing/2014/main" id="{DB70DE87-4B35-4DCB-AE43-986C6D4C6C8F}"/>
                </a:ext>
              </a:extLst>
            </p:cNvPr>
            <p:cNvGrpSpPr/>
            <p:nvPr/>
          </p:nvGrpSpPr>
          <p:grpSpPr>
            <a:xfrm>
              <a:off x="7612984" y="2729650"/>
              <a:ext cx="431604" cy="128233"/>
              <a:chOff x="7612984" y="2729650"/>
              <a:chExt cx="431604" cy="128233"/>
            </a:xfrm>
            <a:grpFill/>
          </p:grpSpPr>
          <p:sp>
            <p:nvSpPr>
              <p:cNvPr id="5173" name="Vrije vorm: vorm 5172">
                <a:extLst>
                  <a:ext uri="{FF2B5EF4-FFF2-40B4-BE49-F238E27FC236}">
                    <a16:creationId xmlns:a16="http://schemas.microsoft.com/office/drawing/2014/main" id="{D7B78401-0044-40B4-9B09-4C079364A5E9}"/>
                  </a:ext>
                </a:extLst>
              </p:cNvPr>
              <p:cNvSpPr/>
              <p:nvPr/>
            </p:nvSpPr>
            <p:spPr>
              <a:xfrm>
                <a:off x="7621153" y="2737490"/>
                <a:ext cx="414987" cy="112734"/>
              </a:xfrm>
              <a:custGeom>
                <a:avLst/>
                <a:gdLst>
                  <a:gd name="connsiteX0" fmla="*/ 0 w 414987"/>
                  <a:gd name="connsiteY0" fmla="*/ 109787 h 112734"/>
                  <a:gd name="connsiteX1" fmla="*/ 414206 w 414987"/>
                  <a:gd name="connsiteY1" fmla="*/ 0 h 112734"/>
                  <a:gd name="connsiteX2" fmla="*/ 414988 w 414987"/>
                  <a:gd name="connsiteY2" fmla="*/ 2948 h 112734"/>
                  <a:gd name="connsiteX3" fmla="*/ 781 w 414987"/>
                  <a:gd name="connsiteY3" fmla="*/ 112735 h 112734"/>
                </a:gdLst>
                <a:ahLst/>
                <a:cxnLst>
                  <a:cxn ang="0">
                    <a:pos x="connsiteX0" y="connsiteY0"/>
                  </a:cxn>
                  <a:cxn ang="0">
                    <a:pos x="connsiteX1" y="connsiteY1"/>
                  </a:cxn>
                  <a:cxn ang="0">
                    <a:pos x="connsiteX2" y="connsiteY2"/>
                  </a:cxn>
                  <a:cxn ang="0">
                    <a:pos x="connsiteX3" y="connsiteY3"/>
                  </a:cxn>
                </a:cxnLst>
                <a:rect l="l" t="t" r="r" b="b"/>
                <a:pathLst>
                  <a:path w="414987" h="112734">
                    <a:moveTo>
                      <a:pt x="0" y="109787"/>
                    </a:moveTo>
                    <a:lnTo>
                      <a:pt x="414206" y="0"/>
                    </a:lnTo>
                    <a:lnTo>
                      <a:pt x="414988" y="2948"/>
                    </a:lnTo>
                    <a:lnTo>
                      <a:pt x="781" y="112735"/>
                    </a:lnTo>
                    <a:close/>
                  </a:path>
                </a:pathLst>
              </a:custGeom>
              <a:grpFill/>
              <a:ln w="5978" cap="flat">
                <a:noFill/>
                <a:prstDash val="solid"/>
                <a:miter/>
              </a:ln>
            </p:spPr>
            <p:txBody>
              <a:bodyPr rtlCol="0" anchor="ctr"/>
              <a:lstStyle/>
              <a:p>
                <a:endParaRPr lang="en-GB"/>
              </a:p>
            </p:txBody>
          </p:sp>
          <p:sp>
            <p:nvSpPr>
              <p:cNvPr id="5174" name="Vrije vorm: vorm 5173">
                <a:extLst>
                  <a:ext uri="{FF2B5EF4-FFF2-40B4-BE49-F238E27FC236}">
                    <a16:creationId xmlns:a16="http://schemas.microsoft.com/office/drawing/2014/main" id="{BE67296F-660F-4C46-A884-15C05ECC0CA9}"/>
                  </a:ext>
                </a:extLst>
              </p:cNvPr>
              <p:cNvSpPr/>
              <p:nvPr/>
            </p:nvSpPr>
            <p:spPr>
              <a:xfrm>
                <a:off x="7612984" y="2839432"/>
                <a:ext cx="18336" cy="18451"/>
              </a:xfrm>
              <a:custGeom>
                <a:avLst/>
                <a:gdLst>
                  <a:gd name="connsiteX0" fmla="*/ 11559 w 18336"/>
                  <a:gd name="connsiteY0" fmla="*/ 18137 h 18451"/>
                  <a:gd name="connsiteX1" fmla="*/ 315 w 18336"/>
                  <a:gd name="connsiteY1" fmla="*/ 11558 h 18451"/>
                  <a:gd name="connsiteX2" fmla="*/ 6774 w 18336"/>
                  <a:gd name="connsiteY2" fmla="*/ 315 h 18451"/>
                  <a:gd name="connsiteX3" fmla="*/ 18018 w 18336"/>
                  <a:gd name="connsiteY3" fmla="*/ 6893 h 18451"/>
                  <a:gd name="connsiteX4" fmla="*/ 11559 w 18336"/>
                  <a:gd name="connsiteY4" fmla="*/ 1813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1">
                    <a:moveTo>
                      <a:pt x="11559" y="18137"/>
                    </a:moveTo>
                    <a:cubicBezTo>
                      <a:pt x="6654" y="19453"/>
                      <a:pt x="1631" y="16522"/>
                      <a:pt x="315" y="11558"/>
                    </a:cubicBezTo>
                    <a:cubicBezTo>
                      <a:pt x="-1001" y="6654"/>
                      <a:pt x="1930" y="1570"/>
                      <a:pt x="6774" y="315"/>
                    </a:cubicBezTo>
                    <a:cubicBezTo>
                      <a:pt x="11679" y="-1001"/>
                      <a:pt x="16702" y="1929"/>
                      <a:pt x="18018" y="6893"/>
                    </a:cubicBezTo>
                    <a:cubicBezTo>
                      <a:pt x="19333" y="11797"/>
                      <a:pt x="16463" y="16881"/>
                      <a:pt x="11559" y="18137"/>
                    </a:cubicBezTo>
                    <a:close/>
                  </a:path>
                </a:pathLst>
              </a:custGeom>
              <a:grpFill/>
              <a:ln w="5978" cap="flat">
                <a:noFill/>
                <a:prstDash val="solid"/>
                <a:miter/>
              </a:ln>
            </p:spPr>
            <p:txBody>
              <a:bodyPr rtlCol="0" anchor="ctr"/>
              <a:lstStyle/>
              <a:p>
                <a:endParaRPr lang="en-GB"/>
              </a:p>
            </p:txBody>
          </p:sp>
          <p:sp>
            <p:nvSpPr>
              <p:cNvPr id="5175" name="Vrije vorm: vorm 5174">
                <a:extLst>
                  <a:ext uri="{FF2B5EF4-FFF2-40B4-BE49-F238E27FC236}">
                    <a16:creationId xmlns:a16="http://schemas.microsoft.com/office/drawing/2014/main" id="{F2FF2B99-C54D-49BE-8026-28C2721E3CF0}"/>
                  </a:ext>
                </a:extLst>
              </p:cNvPr>
              <p:cNvSpPr/>
              <p:nvPr/>
            </p:nvSpPr>
            <p:spPr>
              <a:xfrm>
                <a:off x="8026248" y="2729650"/>
                <a:ext cx="18340" cy="18403"/>
              </a:xfrm>
              <a:custGeom>
                <a:avLst/>
                <a:gdLst>
                  <a:gd name="connsiteX0" fmla="*/ 11563 w 18340"/>
                  <a:gd name="connsiteY0" fmla="*/ 18113 h 18403"/>
                  <a:gd name="connsiteX1" fmla="*/ 18022 w 18340"/>
                  <a:gd name="connsiteY1" fmla="*/ 6869 h 18403"/>
                  <a:gd name="connsiteX2" fmla="*/ 6778 w 18340"/>
                  <a:gd name="connsiteY2" fmla="*/ 291 h 18403"/>
                  <a:gd name="connsiteX3" fmla="*/ 319 w 18340"/>
                  <a:gd name="connsiteY3" fmla="*/ 11534 h 18403"/>
                  <a:gd name="connsiteX4" fmla="*/ 11563 w 18340"/>
                  <a:gd name="connsiteY4" fmla="*/ 1811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3">
                    <a:moveTo>
                      <a:pt x="11563" y="18113"/>
                    </a:moveTo>
                    <a:cubicBezTo>
                      <a:pt x="16467" y="16797"/>
                      <a:pt x="19338" y="11774"/>
                      <a:pt x="18022" y="6869"/>
                    </a:cubicBezTo>
                    <a:cubicBezTo>
                      <a:pt x="16706" y="1965"/>
                      <a:pt x="11683" y="-965"/>
                      <a:pt x="6778" y="291"/>
                    </a:cubicBezTo>
                    <a:cubicBezTo>
                      <a:pt x="1874" y="1606"/>
                      <a:pt x="-997" y="6630"/>
                      <a:pt x="319" y="11534"/>
                    </a:cubicBezTo>
                    <a:cubicBezTo>
                      <a:pt x="1635" y="16439"/>
                      <a:pt x="6659" y="19369"/>
                      <a:pt x="11563" y="18113"/>
                    </a:cubicBezTo>
                    <a:close/>
                  </a:path>
                </a:pathLst>
              </a:custGeom>
              <a:grpFill/>
              <a:ln w="5978" cap="flat">
                <a:noFill/>
                <a:prstDash val="solid"/>
                <a:miter/>
              </a:ln>
            </p:spPr>
            <p:txBody>
              <a:bodyPr rtlCol="0" anchor="ctr"/>
              <a:lstStyle/>
              <a:p>
                <a:endParaRPr lang="en-GB"/>
              </a:p>
            </p:txBody>
          </p:sp>
        </p:grpSp>
        <p:grpSp>
          <p:nvGrpSpPr>
            <p:cNvPr id="67" name="Graphic 3">
              <a:extLst>
                <a:ext uri="{FF2B5EF4-FFF2-40B4-BE49-F238E27FC236}">
                  <a16:creationId xmlns:a16="http://schemas.microsoft.com/office/drawing/2014/main" id="{CF42634B-33F0-4663-BB34-ABC796A4005B}"/>
                </a:ext>
              </a:extLst>
            </p:cNvPr>
            <p:cNvGrpSpPr/>
            <p:nvPr/>
          </p:nvGrpSpPr>
          <p:grpSpPr>
            <a:xfrm>
              <a:off x="7502592" y="2043306"/>
              <a:ext cx="228395" cy="190461"/>
              <a:chOff x="7502592" y="2043306"/>
              <a:chExt cx="228395" cy="190461"/>
            </a:xfrm>
            <a:grpFill/>
          </p:grpSpPr>
          <p:sp>
            <p:nvSpPr>
              <p:cNvPr id="5170" name="Vrije vorm: vorm 5169">
                <a:extLst>
                  <a:ext uri="{FF2B5EF4-FFF2-40B4-BE49-F238E27FC236}">
                    <a16:creationId xmlns:a16="http://schemas.microsoft.com/office/drawing/2014/main" id="{67ECB4C8-1B67-4CB6-8C17-D4A04D30F8AE}"/>
                  </a:ext>
                </a:extLst>
              </p:cNvPr>
              <p:cNvSpPr/>
              <p:nvPr/>
            </p:nvSpPr>
            <p:spPr>
              <a:xfrm>
                <a:off x="7510430" y="2051069"/>
                <a:ext cx="212674" cy="174936"/>
              </a:xfrm>
              <a:custGeom>
                <a:avLst/>
                <a:gdLst>
                  <a:gd name="connsiteX0" fmla="*/ 212675 w 212674"/>
                  <a:gd name="connsiteY0" fmla="*/ 2392 h 174936"/>
                  <a:gd name="connsiteX1" fmla="*/ 1914 w 212674"/>
                  <a:gd name="connsiteY1" fmla="*/ 174936 h 174936"/>
                  <a:gd name="connsiteX2" fmla="*/ 0 w 212674"/>
                  <a:gd name="connsiteY2" fmla="*/ 172544 h 174936"/>
                  <a:gd name="connsiteX3" fmla="*/ 210701 w 212674"/>
                  <a:gd name="connsiteY3" fmla="*/ 0 h 174936"/>
                </a:gdLst>
                <a:ahLst/>
                <a:cxnLst>
                  <a:cxn ang="0">
                    <a:pos x="connsiteX0" y="connsiteY0"/>
                  </a:cxn>
                  <a:cxn ang="0">
                    <a:pos x="connsiteX1" y="connsiteY1"/>
                  </a:cxn>
                  <a:cxn ang="0">
                    <a:pos x="connsiteX2" y="connsiteY2"/>
                  </a:cxn>
                  <a:cxn ang="0">
                    <a:pos x="connsiteX3" y="connsiteY3"/>
                  </a:cxn>
                </a:cxnLst>
                <a:rect l="l" t="t" r="r" b="b"/>
                <a:pathLst>
                  <a:path w="212674" h="174936">
                    <a:moveTo>
                      <a:pt x="212675" y="2392"/>
                    </a:moveTo>
                    <a:lnTo>
                      <a:pt x="1914" y="174936"/>
                    </a:lnTo>
                    <a:lnTo>
                      <a:pt x="0" y="172544"/>
                    </a:lnTo>
                    <a:lnTo>
                      <a:pt x="210701" y="0"/>
                    </a:lnTo>
                    <a:close/>
                  </a:path>
                </a:pathLst>
              </a:custGeom>
              <a:grpFill/>
              <a:ln w="5978" cap="flat">
                <a:noFill/>
                <a:prstDash val="solid"/>
                <a:miter/>
              </a:ln>
            </p:spPr>
            <p:txBody>
              <a:bodyPr rtlCol="0" anchor="ctr"/>
              <a:lstStyle/>
              <a:p>
                <a:endParaRPr lang="en-GB"/>
              </a:p>
            </p:txBody>
          </p:sp>
          <p:sp>
            <p:nvSpPr>
              <p:cNvPr id="5171" name="Vrije vorm: vorm 5170">
                <a:extLst>
                  <a:ext uri="{FF2B5EF4-FFF2-40B4-BE49-F238E27FC236}">
                    <a16:creationId xmlns:a16="http://schemas.microsoft.com/office/drawing/2014/main" id="{1F898A38-935F-4B64-BD2F-FF835B023F73}"/>
                  </a:ext>
                </a:extLst>
              </p:cNvPr>
              <p:cNvSpPr/>
              <p:nvPr/>
            </p:nvSpPr>
            <p:spPr>
              <a:xfrm>
                <a:off x="7712616" y="2043306"/>
                <a:ext cx="18371" cy="18451"/>
              </a:xfrm>
              <a:custGeom>
                <a:avLst/>
                <a:gdLst>
                  <a:gd name="connsiteX0" fmla="*/ 3372 w 18371"/>
                  <a:gd name="connsiteY0" fmla="*/ 2081 h 18451"/>
                  <a:gd name="connsiteX1" fmla="*/ 16290 w 18371"/>
                  <a:gd name="connsiteY1" fmla="*/ 3397 h 18451"/>
                  <a:gd name="connsiteX2" fmla="*/ 14975 w 18371"/>
                  <a:gd name="connsiteY2" fmla="*/ 16375 h 18451"/>
                  <a:gd name="connsiteX3" fmla="*/ 2056 w 18371"/>
                  <a:gd name="connsiteY3" fmla="*/ 14999 h 18451"/>
                  <a:gd name="connsiteX4" fmla="*/ 3372 w 18371"/>
                  <a:gd name="connsiteY4" fmla="*/ 2081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1">
                    <a:moveTo>
                      <a:pt x="3372" y="2081"/>
                    </a:moveTo>
                    <a:cubicBezTo>
                      <a:pt x="7259" y="-1148"/>
                      <a:pt x="13061" y="-550"/>
                      <a:pt x="16290" y="3397"/>
                    </a:cubicBezTo>
                    <a:cubicBezTo>
                      <a:pt x="19520" y="7344"/>
                      <a:pt x="18922" y="13145"/>
                      <a:pt x="14975" y="16375"/>
                    </a:cubicBezTo>
                    <a:cubicBezTo>
                      <a:pt x="11087" y="19605"/>
                      <a:pt x="5286" y="19007"/>
                      <a:pt x="2056" y="14999"/>
                    </a:cubicBezTo>
                    <a:cubicBezTo>
                      <a:pt x="-1114" y="11112"/>
                      <a:pt x="-575" y="5311"/>
                      <a:pt x="3372" y="2081"/>
                    </a:cubicBezTo>
                    <a:close/>
                  </a:path>
                </a:pathLst>
              </a:custGeom>
              <a:grpFill/>
              <a:ln w="5978" cap="flat">
                <a:noFill/>
                <a:prstDash val="solid"/>
                <a:miter/>
              </a:ln>
            </p:spPr>
            <p:txBody>
              <a:bodyPr rtlCol="0" anchor="ctr"/>
              <a:lstStyle/>
              <a:p>
                <a:endParaRPr lang="en-GB"/>
              </a:p>
            </p:txBody>
          </p:sp>
          <p:sp>
            <p:nvSpPr>
              <p:cNvPr id="5172" name="Vrije vorm: vorm 5171">
                <a:extLst>
                  <a:ext uri="{FF2B5EF4-FFF2-40B4-BE49-F238E27FC236}">
                    <a16:creationId xmlns:a16="http://schemas.microsoft.com/office/drawing/2014/main" id="{2F6F8DE6-8A5D-4CB2-9462-7F104900FB5C}"/>
                  </a:ext>
                </a:extLst>
              </p:cNvPr>
              <p:cNvSpPr/>
              <p:nvPr/>
            </p:nvSpPr>
            <p:spPr>
              <a:xfrm>
                <a:off x="7502592" y="2215311"/>
                <a:ext cx="18327" cy="18456"/>
              </a:xfrm>
              <a:custGeom>
                <a:avLst/>
                <a:gdLst>
                  <a:gd name="connsiteX0" fmla="*/ 3353 w 18327"/>
                  <a:gd name="connsiteY0" fmla="*/ 2081 h 18456"/>
                  <a:gd name="connsiteX1" fmla="*/ 2037 w 18327"/>
                  <a:gd name="connsiteY1" fmla="*/ 15059 h 18456"/>
                  <a:gd name="connsiteX2" fmla="*/ 14956 w 18327"/>
                  <a:gd name="connsiteY2" fmla="*/ 16375 h 18456"/>
                  <a:gd name="connsiteX3" fmla="*/ 16271 w 18327"/>
                  <a:gd name="connsiteY3" fmla="*/ 3397 h 18456"/>
                  <a:gd name="connsiteX4" fmla="*/ 3353 w 18327"/>
                  <a:gd name="connsiteY4" fmla="*/ 2081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56">
                    <a:moveTo>
                      <a:pt x="3353" y="2081"/>
                    </a:moveTo>
                    <a:cubicBezTo>
                      <a:pt x="-534" y="5311"/>
                      <a:pt x="-1133" y="11112"/>
                      <a:pt x="2037" y="15059"/>
                    </a:cubicBezTo>
                    <a:cubicBezTo>
                      <a:pt x="5267" y="19007"/>
                      <a:pt x="11008" y="19605"/>
                      <a:pt x="14956" y="16375"/>
                    </a:cubicBezTo>
                    <a:cubicBezTo>
                      <a:pt x="18903" y="13146"/>
                      <a:pt x="19441" y="7344"/>
                      <a:pt x="16271" y="3397"/>
                    </a:cubicBezTo>
                    <a:cubicBezTo>
                      <a:pt x="13041" y="-550"/>
                      <a:pt x="7240" y="-1148"/>
                      <a:pt x="3353" y="2081"/>
                    </a:cubicBezTo>
                    <a:close/>
                  </a:path>
                </a:pathLst>
              </a:custGeom>
              <a:grpFill/>
              <a:ln w="5978" cap="flat">
                <a:noFill/>
                <a:prstDash val="solid"/>
                <a:miter/>
              </a:ln>
            </p:spPr>
            <p:txBody>
              <a:bodyPr rtlCol="0" anchor="ctr"/>
              <a:lstStyle/>
              <a:p>
                <a:endParaRPr lang="en-GB"/>
              </a:p>
            </p:txBody>
          </p:sp>
        </p:grpSp>
        <p:grpSp>
          <p:nvGrpSpPr>
            <p:cNvPr id="68" name="Graphic 3">
              <a:extLst>
                <a:ext uri="{FF2B5EF4-FFF2-40B4-BE49-F238E27FC236}">
                  <a16:creationId xmlns:a16="http://schemas.microsoft.com/office/drawing/2014/main" id="{810A190B-8B23-4ACD-82E9-6CF37B48AD31}"/>
                </a:ext>
              </a:extLst>
            </p:cNvPr>
            <p:cNvGrpSpPr/>
            <p:nvPr/>
          </p:nvGrpSpPr>
          <p:grpSpPr>
            <a:xfrm>
              <a:off x="7678004" y="2921931"/>
              <a:ext cx="405492" cy="80541"/>
              <a:chOff x="7678004" y="2921931"/>
              <a:chExt cx="405492" cy="80541"/>
            </a:xfrm>
            <a:grpFill/>
          </p:grpSpPr>
          <p:sp>
            <p:nvSpPr>
              <p:cNvPr id="5167" name="Vrije vorm: vorm 5166">
                <a:extLst>
                  <a:ext uri="{FF2B5EF4-FFF2-40B4-BE49-F238E27FC236}">
                    <a16:creationId xmlns:a16="http://schemas.microsoft.com/office/drawing/2014/main" id="{0470572E-9CB4-4D3C-A7A5-44BBEB5D7467}"/>
                  </a:ext>
                </a:extLst>
              </p:cNvPr>
              <p:cNvSpPr/>
              <p:nvPr/>
            </p:nvSpPr>
            <p:spPr>
              <a:xfrm>
                <a:off x="7686443" y="2929577"/>
                <a:ext cx="388567" cy="65249"/>
              </a:xfrm>
              <a:custGeom>
                <a:avLst/>
                <a:gdLst>
                  <a:gd name="connsiteX0" fmla="*/ 388089 w 388567"/>
                  <a:gd name="connsiteY0" fmla="*/ 0 h 65249"/>
                  <a:gd name="connsiteX1" fmla="*/ 388567 w 388567"/>
                  <a:gd name="connsiteY1" fmla="*/ 2990 h 65249"/>
                  <a:gd name="connsiteX2" fmla="*/ 478 w 388567"/>
                  <a:gd name="connsiteY2" fmla="*/ 65250 h 65249"/>
                  <a:gd name="connsiteX3" fmla="*/ 0 w 388567"/>
                  <a:gd name="connsiteY3" fmla="*/ 62259 h 65249"/>
                </a:gdLst>
                <a:ahLst/>
                <a:cxnLst>
                  <a:cxn ang="0">
                    <a:pos x="connsiteX0" y="connsiteY0"/>
                  </a:cxn>
                  <a:cxn ang="0">
                    <a:pos x="connsiteX1" y="connsiteY1"/>
                  </a:cxn>
                  <a:cxn ang="0">
                    <a:pos x="connsiteX2" y="connsiteY2"/>
                  </a:cxn>
                  <a:cxn ang="0">
                    <a:pos x="connsiteX3" y="connsiteY3"/>
                  </a:cxn>
                </a:cxnLst>
                <a:rect l="l" t="t" r="r" b="b"/>
                <a:pathLst>
                  <a:path w="388567" h="65249">
                    <a:moveTo>
                      <a:pt x="388089" y="0"/>
                    </a:moveTo>
                    <a:lnTo>
                      <a:pt x="388567" y="2990"/>
                    </a:lnTo>
                    <a:lnTo>
                      <a:pt x="478" y="65250"/>
                    </a:lnTo>
                    <a:lnTo>
                      <a:pt x="0" y="62259"/>
                    </a:lnTo>
                    <a:close/>
                  </a:path>
                </a:pathLst>
              </a:custGeom>
              <a:grpFill/>
              <a:ln w="5978" cap="flat">
                <a:noFill/>
                <a:prstDash val="solid"/>
                <a:miter/>
              </a:ln>
            </p:spPr>
            <p:txBody>
              <a:bodyPr rtlCol="0" anchor="ctr"/>
              <a:lstStyle/>
              <a:p>
                <a:endParaRPr lang="en-GB"/>
              </a:p>
            </p:txBody>
          </p:sp>
          <p:sp>
            <p:nvSpPr>
              <p:cNvPr id="5168" name="Vrije vorm: vorm 5167">
                <a:extLst>
                  <a:ext uri="{FF2B5EF4-FFF2-40B4-BE49-F238E27FC236}">
                    <a16:creationId xmlns:a16="http://schemas.microsoft.com/office/drawing/2014/main" id="{8715C424-8BD3-41A5-A963-1D61E825EF43}"/>
                  </a:ext>
                </a:extLst>
              </p:cNvPr>
              <p:cNvSpPr/>
              <p:nvPr/>
            </p:nvSpPr>
            <p:spPr>
              <a:xfrm>
                <a:off x="7678004" y="2984070"/>
                <a:ext cx="18314" cy="18402"/>
              </a:xfrm>
              <a:custGeom>
                <a:avLst/>
                <a:gdLst>
                  <a:gd name="connsiteX0" fmla="*/ 10653 w 18314"/>
                  <a:gd name="connsiteY0" fmla="*/ 18292 h 18402"/>
                  <a:gd name="connsiteX1" fmla="*/ 127 w 18314"/>
                  <a:gd name="connsiteY1" fmla="*/ 10636 h 18402"/>
                  <a:gd name="connsiteX2" fmla="*/ 7662 w 18314"/>
                  <a:gd name="connsiteY2" fmla="*/ 110 h 18402"/>
                  <a:gd name="connsiteX3" fmla="*/ 18188 w 18314"/>
                  <a:gd name="connsiteY3" fmla="*/ 7766 h 18402"/>
                  <a:gd name="connsiteX4" fmla="*/ 10653 w 18314"/>
                  <a:gd name="connsiteY4" fmla="*/ 18292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02">
                    <a:moveTo>
                      <a:pt x="10653" y="18292"/>
                    </a:moveTo>
                    <a:cubicBezTo>
                      <a:pt x="5629" y="19069"/>
                      <a:pt x="964" y="15660"/>
                      <a:pt x="127" y="10636"/>
                    </a:cubicBezTo>
                    <a:cubicBezTo>
                      <a:pt x="-711" y="5613"/>
                      <a:pt x="2699" y="888"/>
                      <a:pt x="7662" y="110"/>
                    </a:cubicBezTo>
                    <a:cubicBezTo>
                      <a:pt x="12686" y="-667"/>
                      <a:pt x="17351" y="2742"/>
                      <a:pt x="18188" y="7766"/>
                    </a:cubicBezTo>
                    <a:cubicBezTo>
                      <a:pt x="19026" y="12730"/>
                      <a:pt x="15616" y="17455"/>
                      <a:pt x="10653" y="18292"/>
                    </a:cubicBezTo>
                    <a:close/>
                  </a:path>
                </a:pathLst>
              </a:custGeom>
              <a:grpFill/>
              <a:ln w="5978" cap="flat">
                <a:noFill/>
                <a:prstDash val="solid"/>
                <a:miter/>
              </a:ln>
            </p:spPr>
            <p:txBody>
              <a:bodyPr rtlCol="0" anchor="ctr"/>
              <a:lstStyle/>
              <a:p>
                <a:endParaRPr lang="en-GB"/>
              </a:p>
            </p:txBody>
          </p:sp>
          <p:sp>
            <p:nvSpPr>
              <p:cNvPr id="5169" name="Vrije vorm: vorm 5168">
                <a:extLst>
                  <a:ext uri="{FF2B5EF4-FFF2-40B4-BE49-F238E27FC236}">
                    <a16:creationId xmlns:a16="http://schemas.microsoft.com/office/drawing/2014/main" id="{7894F1AF-1654-4721-9182-336D63D45544}"/>
                  </a:ext>
                </a:extLst>
              </p:cNvPr>
              <p:cNvSpPr/>
              <p:nvPr/>
            </p:nvSpPr>
            <p:spPr>
              <a:xfrm>
                <a:off x="8065194" y="2921931"/>
                <a:ext cx="18302" cy="18416"/>
              </a:xfrm>
              <a:custGeom>
                <a:avLst/>
                <a:gdLst>
                  <a:gd name="connsiteX0" fmla="*/ 10595 w 18302"/>
                  <a:gd name="connsiteY0" fmla="*/ 18292 h 18416"/>
                  <a:gd name="connsiteX1" fmla="*/ 18190 w 18302"/>
                  <a:gd name="connsiteY1" fmla="*/ 7766 h 18416"/>
                  <a:gd name="connsiteX2" fmla="*/ 7664 w 18302"/>
                  <a:gd name="connsiteY2" fmla="*/ 110 h 18416"/>
                  <a:gd name="connsiteX3" fmla="*/ 128 w 18302"/>
                  <a:gd name="connsiteY3" fmla="*/ 10637 h 18416"/>
                  <a:gd name="connsiteX4" fmla="*/ 10595 w 18302"/>
                  <a:gd name="connsiteY4" fmla="*/ 1829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16">
                    <a:moveTo>
                      <a:pt x="10595" y="18292"/>
                    </a:moveTo>
                    <a:cubicBezTo>
                      <a:pt x="15618" y="17514"/>
                      <a:pt x="18968" y="12790"/>
                      <a:pt x="18190" y="7766"/>
                    </a:cubicBezTo>
                    <a:cubicBezTo>
                      <a:pt x="17353" y="2742"/>
                      <a:pt x="12688" y="-667"/>
                      <a:pt x="7664" y="110"/>
                    </a:cubicBezTo>
                    <a:cubicBezTo>
                      <a:pt x="2640" y="888"/>
                      <a:pt x="-709" y="5613"/>
                      <a:pt x="128" y="10637"/>
                    </a:cubicBezTo>
                    <a:cubicBezTo>
                      <a:pt x="906" y="15660"/>
                      <a:pt x="5631" y="19129"/>
                      <a:pt x="10595" y="18292"/>
                    </a:cubicBezTo>
                    <a:close/>
                  </a:path>
                </a:pathLst>
              </a:custGeom>
              <a:grpFill/>
              <a:ln w="5978" cap="flat">
                <a:noFill/>
                <a:prstDash val="solid"/>
                <a:miter/>
              </a:ln>
            </p:spPr>
            <p:txBody>
              <a:bodyPr rtlCol="0" anchor="ctr"/>
              <a:lstStyle/>
              <a:p>
                <a:endParaRPr lang="en-GB"/>
              </a:p>
            </p:txBody>
          </p:sp>
        </p:grpSp>
        <p:grpSp>
          <p:nvGrpSpPr>
            <p:cNvPr id="69" name="Graphic 3">
              <a:extLst>
                <a:ext uri="{FF2B5EF4-FFF2-40B4-BE49-F238E27FC236}">
                  <a16:creationId xmlns:a16="http://schemas.microsoft.com/office/drawing/2014/main" id="{33CD1680-86B4-4168-8F68-4A3727063DD2}"/>
                </a:ext>
              </a:extLst>
            </p:cNvPr>
            <p:cNvGrpSpPr/>
            <p:nvPr/>
          </p:nvGrpSpPr>
          <p:grpSpPr>
            <a:xfrm>
              <a:off x="7670985" y="2887028"/>
              <a:ext cx="391731" cy="84558"/>
              <a:chOff x="7670985" y="2887028"/>
              <a:chExt cx="391731" cy="84558"/>
            </a:xfrm>
            <a:grpFill/>
          </p:grpSpPr>
          <p:sp>
            <p:nvSpPr>
              <p:cNvPr id="5164" name="Vrije vorm: vorm 5163">
                <a:extLst>
                  <a:ext uri="{FF2B5EF4-FFF2-40B4-BE49-F238E27FC236}">
                    <a16:creationId xmlns:a16="http://schemas.microsoft.com/office/drawing/2014/main" id="{E4CDAFE6-882C-40C1-A652-440CE7C62FC7}"/>
                  </a:ext>
                </a:extLst>
              </p:cNvPr>
              <p:cNvSpPr/>
              <p:nvPr/>
            </p:nvSpPr>
            <p:spPr>
              <a:xfrm>
                <a:off x="7679446" y="2894650"/>
                <a:ext cx="374812" cy="69316"/>
              </a:xfrm>
              <a:custGeom>
                <a:avLst/>
                <a:gdLst>
                  <a:gd name="connsiteX0" fmla="*/ 374274 w 374812"/>
                  <a:gd name="connsiteY0" fmla="*/ 0 h 69316"/>
                  <a:gd name="connsiteX1" fmla="*/ 374812 w 374812"/>
                  <a:gd name="connsiteY1" fmla="*/ 3050 h 69316"/>
                  <a:gd name="connsiteX2" fmla="*/ 539 w 374812"/>
                  <a:gd name="connsiteY2" fmla="*/ 69317 h 69316"/>
                  <a:gd name="connsiteX3" fmla="*/ 0 w 374812"/>
                  <a:gd name="connsiteY3" fmla="*/ 66266 h 69316"/>
                </a:gdLst>
                <a:ahLst/>
                <a:cxnLst>
                  <a:cxn ang="0">
                    <a:pos x="connsiteX0" y="connsiteY0"/>
                  </a:cxn>
                  <a:cxn ang="0">
                    <a:pos x="connsiteX1" y="connsiteY1"/>
                  </a:cxn>
                  <a:cxn ang="0">
                    <a:pos x="connsiteX2" y="connsiteY2"/>
                  </a:cxn>
                  <a:cxn ang="0">
                    <a:pos x="connsiteX3" y="connsiteY3"/>
                  </a:cxn>
                </a:cxnLst>
                <a:rect l="l" t="t" r="r" b="b"/>
                <a:pathLst>
                  <a:path w="374812" h="69316">
                    <a:moveTo>
                      <a:pt x="374274" y="0"/>
                    </a:moveTo>
                    <a:lnTo>
                      <a:pt x="374812" y="3050"/>
                    </a:lnTo>
                    <a:lnTo>
                      <a:pt x="539" y="69317"/>
                    </a:lnTo>
                    <a:lnTo>
                      <a:pt x="0" y="66266"/>
                    </a:lnTo>
                    <a:close/>
                  </a:path>
                </a:pathLst>
              </a:custGeom>
              <a:grpFill/>
              <a:ln w="5978" cap="flat">
                <a:noFill/>
                <a:prstDash val="solid"/>
                <a:miter/>
              </a:ln>
            </p:spPr>
            <p:txBody>
              <a:bodyPr rtlCol="0" anchor="ctr"/>
              <a:lstStyle/>
              <a:p>
                <a:endParaRPr lang="en-GB"/>
              </a:p>
            </p:txBody>
          </p:sp>
          <p:sp>
            <p:nvSpPr>
              <p:cNvPr id="5165" name="Vrije vorm: vorm 5164">
                <a:extLst>
                  <a:ext uri="{FF2B5EF4-FFF2-40B4-BE49-F238E27FC236}">
                    <a16:creationId xmlns:a16="http://schemas.microsoft.com/office/drawing/2014/main" id="{394F58DB-7D33-463D-8A78-0FCD986504FA}"/>
                  </a:ext>
                </a:extLst>
              </p:cNvPr>
              <p:cNvSpPr/>
              <p:nvPr/>
            </p:nvSpPr>
            <p:spPr>
              <a:xfrm>
                <a:off x="7670985" y="2953175"/>
                <a:ext cx="18354" cy="18412"/>
              </a:xfrm>
              <a:custGeom>
                <a:avLst/>
                <a:gdLst>
                  <a:gd name="connsiteX0" fmla="*/ 10793 w 18354"/>
                  <a:gd name="connsiteY0" fmla="*/ 18267 h 18412"/>
                  <a:gd name="connsiteX1" fmla="*/ 147 w 18354"/>
                  <a:gd name="connsiteY1" fmla="*/ 10791 h 18412"/>
                  <a:gd name="connsiteX2" fmla="*/ 7564 w 18354"/>
                  <a:gd name="connsiteY2" fmla="*/ 145 h 18412"/>
                  <a:gd name="connsiteX3" fmla="*/ 18209 w 18354"/>
                  <a:gd name="connsiteY3" fmla="*/ 7621 h 18412"/>
                  <a:gd name="connsiteX4" fmla="*/ 10793 w 18354"/>
                  <a:gd name="connsiteY4" fmla="*/ 1826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0793" y="18267"/>
                    </a:moveTo>
                    <a:cubicBezTo>
                      <a:pt x="5829" y="19164"/>
                      <a:pt x="1044" y="15815"/>
                      <a:pt x="147" y="10791"/>
                    </a:cubicBezTo>
                    <a:cubicBezTo>
                      <a:pt x="-749" y="5767"/>
                      <a:pt x="2540" y="983"/>
                      <a:pt x="7564" y="145"/>
                    </a:cubicBezTo>
                    <a:cubicBezTo>
                      <a:pt x="12528" y="-752"/>
                      <a:pt x="17313" y="2597"/>
                      <a:pt x="18209" y="7621"/>
                    </a:cubicBezTo>
                    <a:cubicBezTo>
                      <a:pt x="19106" y="12585"/>
                      <a:pt x="15758" y="17370"/>
                      <a:pt x="10793" y="18267"/>
                    </a:cubicBezTo>
                    <a:close/>
                  </a:path>
                </a:pathLst>
              </a:custGeom>
              <a:grpFill/>
              <a:ln w="5978" cap="flat">
                <a:noFill/>
                <a:prstDash val="solid"/>
                <a:miter/>
              </a:ln>
            </p:spPr>
            <p:txBody>
              <a:bodyPr rtlCol="0" anchor="ctr"/>
              <a:lstStyle/>
              <a:p>
                <a:endParaRPr lang="en-GB"/>
              </a:p>
            </p:txBody>
          </p:sp>
          <p:sp>
            <p:nvSpPr>
              <p:cNvPr id="5166" name="Vrije vorm: vorm 5165">
                <a:extLst>
                  <a:ext uri="{FF2B5EF4-FFF2-40B4-BE49-F238E27FC236}">
                    <a16:creationId xmlns:a16="http://schemas.microsoft.com/office/drawing/2014/main" id="{429DB4ED-1BA5-4151-82E8-62A68163DAD7}"/>
                  </a:ext>
                </a:extLst>
              </p:cNvPr>
              <p:cNvSpPr/>
              <p:nvPr/>
            </p:nvSpPr>
            <p:spPr>
              <a:xfrm>
                <a:off x="8044364" y="2887028"/>
                <a:ext cx="18352" cy="18412"/>
              </a:xfrm>
              <a:custGeom>
                <a:avLst/>
                <a:gdLst>
                  <a:gd name="connsiteX0" fmla="*/ 10791 w 18352"/>
                  <a:gd name="connsiteY0" fmla="*/ 18267 h 18412"/>
                  <a:gd name="connsiteX1" fmla="*/ 18207 w 18352"/>
                  <a:gd name="connsiteY1" fmla="*/ 7621 h 18412"/>
                  <a:gd name="connsiteX2" fmla="*/ 7561 w 18352"/>
                  <a:gd name="connsiteY2" fmla="*/ 145 h 18412"/>
                  <a:gd name="connsiteX3" fmla="*/ 145 w 18352"/>
                  <a:gd name="connsiteY3" fmla="*/ 10791 h 18412"/>
                  <a:gd name="connsiteX4" fmla="*/ 10791 w 18352"/>
                  <a:gd name="connsiteY4" fmla="*/ 1826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2">
                    <a:moveTo>
                      <a:pt x="10791" y="18267"/>
                    </a:moveTo>
                    <a:cubicBezTo>
                      <a:pt x="15755" y="17370"/>
                      <a:pt x="19105" y="12585"/>
                      <a:pt x="18207" y="7621"/>
                    </a:cubicBezTo>
                    <a:cubicBezTo>
                      <a:pt x="17310" y="2597"/>
                      <a:pt x="12525" y="-752"/>
                      <a:pt x="7561" y="145"/>
                    </a:cubicBezTo>
                    <a:cubicBezTo>
                      <a:pt x="2598" y="1042"/>
                      <a:pt x="-752" y="5827"/>
                      <a:pt x="145" y="10791"/>
                    </a:cubicBezTo>
                    <a:cubicBezTo>
                      <a:pt x="1043" y="15815"/>
                      <a:pt x="5827" y="19164"/>
                      <a:pt x="10791" y="18267"/>
                    </a:cubicBezTo>
                    <a:close/>
                  </a:path>
                </a:pathLst>
              </a:custGeom>
              <a:grpFill/>
              <a:ln w="5978" cap="flat">
                <a:noFill/>
                <a:prstDash val="solid"/>
                <a:miter/>
              </a:ln>
            </p:spPr>
            <p:txBody>
              <a:bodyPr rtlCol="0" anchor="ctr"/>
              <a:lstStyle/>
              <a:p>
                <a:endParaRPr lang="en-GB"/>
              </a:p>
            </p:txBody>
          </p:sp>
        </p:grpSp>
        <p:grpSp>
          <p:nvGrpSpPr>
            <p:cNvPr id="70" name="Graphic 3">
              <a:extLst>
                <a:ext uri="{FF2B5EF4-FFF2-40B4-BE49-F238E27FC236}">
                  <a16:creationId xmlns:a16="http://schemas.microsoft.com/office/drawing/2014/main" id="{40B0DB1E-857A-4862-8653-9E9227A783CE}"/>
                </a:ext>
              </a:extLst>
            </p:cNvPr>
            <p:cNvGrpSpPr/>
            <p:nvPr/>
          </p:nvGrpSpPr>
          <p:grpSpPr>
            <a:xfrm>
              <a:off x="7355249" y="1601765"/>
              <a:ext cx="222745" cy="262317"/>
              <a:chOff x="7355249" y="1601765"/>
              <a:chExt cx="222745" cy="262317"/>
            </a:xfrm>
            <a:grpFill/>
          </p:grpSpPr>
          <p:sp>
            <p:nvSpPr>
              <p:cNvPr id="5161" name="Vrije vorm: vorm 5160">
                <a:extLst>
                  <a:ext uri="{FF2B5EF4-FFF2-40B4-BE49-F238E27FC236}">
                    <a16:creationId xmlns:a16="http://schemas.microsoft.com/office/drawing/2014/main" id="{20E06F5F-DFB7-4B72-BDEA-EE6426B0FB1B}"/>
                  </a:ext>
                </a:extLst>
              </p:cNvPr>
              <p:cNvSpPr/>
              <p:nvPr/>
            </p:nvSpPr>
            <p:spPr>
              <a:xfrm>
                <a:off x="7362946" y="1609692"/>
                <a:ext cx="207351" cy="246525"/>
              </a:xfrm>
              <a:custGeom>
                <a:avLst/>
                <a:gdLst>
                  <a:gd name="connsiteX0" fmla="*/ 207351 w 207351"/>
                  <a:gd name="connsiteY0" fmla="*/ 1974 h 246525"/>
                  <a:gd name="connsiteX1" fmla="*/ 2333 w 207351"/>
                  <a:gd name="connsiteY1" fmla="*/ 246525 h 246525"/>
                  <a:gd name="connsiteX2" fmla="*/ 0 w 207351"/>
                  <a:gd name="connsiteY2" fmla="*/ 244552 h 246525"/>
                  <a:gd name="connsiteX3" fmla="*/ 205019 w 207351"/>
                  <a:gd name="connsiteY3" fmla="*/ 0 h 246525"/>
                </a:gdLst>
                <a:ahLst/>
                <a:cxnLst>
                  <a:cxn ang="0">
                    <a:pos x="connsiteX0" y="connsiteY0"/>
                  </a:cxn>
                  <a:cxn ang="0">
                    <a:pos x="connsiteX1" y="connsiteY1"/>
                  </a:cxn>
                  <a:cxn ang="0">
                    <a:pos x="connsiteX2" y="connsiteY2"/>
                  </a:cxn>
                  <a:cxn ang="0">
                    <a:pos x="connsiteX3" y="connsiteY3"/>
                  </a:cxn>
                </a:cxnLst>
                <a:rect l="l" t="t" r="r" b="b"/>
                <a:pathLst>
                  <a:path w="207351" h="246525">
                    <a:moveTo>
                      <a:pt x="207351" y="1974"/>
                    </a:moveTo>
                    <a:lnTo>
                      <a:pt x="2333" y="246525"/>
                    </a:lnTo>
                    <a:lnTo>
                      <a:pt x="0" y="244552"/>
                    </a:lnTo>
                    <a:lnTo>
                      <a:pt x="205019" y="0"/>
                    </a:lnTo>
                    <a:close/>
                  </a:path>
                </a:pathLst>
              </a:custGeom>
              <a:grpFill/>
              <a:ln w="5978" cap="flat">
                <a:noFill/>
                <a:prstDash val="solid"/>
                <a:miter/>
              </a:ln>
            </p:spPr>
            <p:txBody>
              <a:bodyPr rtlCol="0" anchor="ctr"/>
              <a:lstStyle/>
              <a:p>
                <a:endParaRPr lang="en-GB"/>
              </a:p>
            </p:txBody>
          </p:sp>
          <p:sp>
            <p:nvSpPr>
              <p:cNvPr id="5162" name="Vrije vorm: vorm 5161">
                <a:extLst>
                  <a:ext uri="{FF2B5EF4-FFF2-40B4-BE49-F238E27FC236}">
                    <a16:creationId xmlns:a16="http://schemas.microsoft.com/office/drawing/2014/main" id="{B65D08BD-9A9A-44BE-9D98-32234C10069C}"/>
                  </a:ext>
                </a:extLst>
              </p:cNvPr>
              <p:cNvSpPr/>
              <p:nvPr/>
            </p:nvSpPr>
            <p:spPr>
              <a:xfrm>
                <a:off x="7559645" y="1601765"/>
                <a:ext cx="18349" cy="18423"/>
              </a:xfrm>
              <a:custGeom>
                <a:avLst/>
                <a:gdLst>
                  <a:gd name="connsiteX0" fmla="*/ 2160 w 18349"/>
                  <a:gd name="connsiteY0" fmla="*/ 3261 h 18423"/>
                  <a:gd name="connsiteX1" fmla="*/ 15078 w 18349"/>
                  <a:gd name="connsiteY1" fmla="*/ 2185 h 18423"/>
                  <a:gd name="connsiteX2" fmla="*/ 16215 w 18349"/>
                  <a:gd name="connsiteY2" fmla="*/ 15163 h 18423"/>
                  <a:gd name="connsiteX3" fmla="*/ 3296 w 18349"/>
                  <a:gd name="connsiteY3" fmla="*/ 16239 h 18423"/>
                  <a:gd name="connsiteX4" fmla="*/ 2160 w 18349"/>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3">
                    <a:moveTo>
                      <a:pt x="2160" y="3261"/>
                    </a:moveTo>
                    <a:cubicBezTo>
                      <a:pt x="5389" y="-626"/>
                      <a:pt x="11191" y="-1105"/>
                      <a:pt x="15078" y="2185"/>
                    </a:cubicBezTo>
                    <a:cubicBezTo>
                      <a:pt x="18965" y="5474"/>
                      <a:pt x="19444" y="11275"/>
                      <a:pt x="16215" y="15163"/>
                    </a:cubicBezTo>
                    <a:cubicBezTo>
                      <a:pt x="12985" y="19050"/>
                      <a:pt x="7184" y="19529"/>
                      <a:pt x="3296" y="16239"/>
                    </a:cubicBezTo>
                    <a:cubicBezTo>
                      <a:pt x="-592" y="13010"/>
                      <a:pt x="-1130" y="7149"/>
                      <a:pt x="2160" y="3261"/>
                    </a:cubicBezTo>
                    <a:close/>
                  </a:path>
                </a:pathLst>
              </a:custGeom>
              <a:grpFill/>
              <a:ln w="5978" cap="flat">
                <a:noFill/>
                <a:prstDash val="solid"/>
                <a:miter/>
              </a:ln>
            </p:spPr>
            <p:txBody>
              <a:bodyPr rtlCol="0" anchor="ctr"/>
              <a:lstStyle/>
              <a:p>
                <a:endParaRPr lang="en-GB"/>
              </a:p>
            </p:txBody>
          </p:sp>
          <p:sp>
            <p:nvSpPr>
              <p:cNvPr id="5163" name="Vrije vorm: vorm 5162">
                <a:extLst>
                  <a:ext uri="{FF2B5EF4-FFF2-40B4-BE49-F238E27FC236}">
                    <a16:creationId xmlns:a16="http://schemas.microsoft.com/office/drawing/2014/main" id="{AED15CB9-EA3D-4C00-B792-226AEBE667D1}"/>
                  </a:ext>
                </a:extLst>
              </p:cNvPr>
              <p:cNvSpPr/>
              <p:nvPr/>
            </p:nvSpPr>
            <p:spPr>
              <a:xfrm>
                <a:off x="7355249" y="1845659"/>
                <a:ext cx="18324" cy="18423"/>
              </a:xfrm>
              <a:custGeom>
                <a:avLst/>
                <a:gdLst>
                  <a:gd name="connsiteX0" fmla="*/ 2135 w 18324"/>
                  <a:gd name="connsiteY0" fmla="*/ 3261 h 18423"/>
                  <a:gd name="connsiteX1" fmla="*/ 3272 w 18324"/>
                  <a:gd name="connsiteY1" fmla="*/ 16239 h 18423"/>
                  <a:gd name="connsiteX2" fmla="*/ 16190 w 18324"/>
                  <a:gd name="connsiteY2" fmla="*/ 15163 h 18423"/>
                  <a:gd name="connsiteX3" fmla="*/ 15054 w 18324"/>
                  <a:gd name="connsiteY3" fmla="*/ 2185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1095" y="7149"/>
                      <a:pt x="-616" y="12950"/>
                      <a:pt x="3272" y="16239"/>
                    </a:cubicBezTo>
                    <a:cubicBezTo>
                      <a:pt x="7159" y="19529"/>
                      <a:pt x="12901" y="19050"/>
                      <a:pt x="16190" y="15163"/>
                    </a:cubicBezTo>
                    <a:cubicBezTo>
                      <a:pt x="19419" y="11275"/>
                      <a:pt x="18941" y="5474"/>
                      <a:pt x="15054" y="2185"/>
                    </a:cubicBezTo>
                    <a:cubicBezTo>
                      <a:pt x="11166" y="-1105"/>
                      <a:pt x="5425" y="-626"/>
                      <a:pt x="2135" y="3261"/>
                    </a:cubicBezTo>
                    <a:close/>
                  </a:path>
                </a:pathLst>
              </a:custGeom>
              <a:grpFill/>
              <a:ln w="5978" cap="flat">
                <a:noFill/>
                <a:prstDash val="solid"/>
                <a:miter/>
              </a:ln>
            </p:spPr>
            <p:txBody>
              <a:bodyPr rtlCol="0" anchor="ctr"/>
              <a:lstStyle/>
              <a:p>
                <a:endParaRPr lang="en-GB"/>
              </a:p>
            </p:txBody>
          </p:sp>
        </p:grpSp>
        <p:grpSp>
          <p:nvGrpSpPr>
            <p:cNvPr id="71" name="Graphic 3">
              <a:extLst>
                <a:ext uri="{FF2B5EF4-FFF2-40B4-BE49-F238E27FC236}">
                  <a16:creationId xmlns:a16="http://schemas.microsoft.com/office/drawing/2014/main" id="{9FA77A83-CD8F-48C3-8A24-DC75E80FE352}"/>
                </a:ext>
              </a:extLst>
            </p:cNvPr>
            <p:cNvGrpSpPr/>
            <p:nvPr/>
          </p:nvGrpSpPr>
          <p:grpSpPr>
            <a:xfrm>
              <a:off x="7687884" y="2479142"/>
              <a:ext cx="82285" cy="53249"/>
              <a:chOff x="7687884" y="2479142"/>
              <a:chExt cx="82285" cy="53249"/>
            </a:xfrm>
            <a:grpFill/>
          </p:grpSpPr>
          <p:sp>
            <p:nvSpPr>
              <p:cNvPr id="5158" name="Vrije vorm: vorm 5157">
                <a:extLst>
                  <a:ext uri="{FF2B5EF4-FFF2-40B4-BE49-F238E27FC236}">
                    <a16:creationId xmlns:a16="http://schemas.microsoft.com/office/drawing/2014/main" id="{CF3D1863-C570-46D8-B953-1ADC4B8962DC}"/>
                  </a:ext>
                </a:extLst>
              </p:cNvPr>
              <p:cNvSpPr/>
              <p:nvPr/>
            </p:nvSpPr>
            <p:spPr>
              <a:xfrm>
                <a:off x="7695953" y="2486824"/>
                <a:ext cx="66207" cy="37917"/>
              </a:xfrm>
              <a:custGeom>
                <a:avLst/>
                <a:gdLst>
                  <a:gd name="connsiteX0" fmla="*/ 66207 w 66207"/>
                  <a:gd name="connsiteY0" fmla="*/ 2691 h 37917"/>
                  <a:gd name="connsiteX1" fmla="*/ 1435 w 66207"/>
                  <a:gd name="connsiteY1" fmla="*/ 37918 h 37917"/>
                  <a:gd name="connsiteX2" fmla="*/ 0 w 66207"/>
                  <a:gd name="connsiteY2" fmla="*/ 35226 h 37917"/>
                  <a:gd name="connsiteX3" fmla="*/ 64712 w 66207"/>
                  <a:gd name="connsiteY3" fmla="*/ 0 h 37917"/>
                </a:gdLst>
                <a:ahLst/>
                <a:cxnLst>
                  <a:cxn ang="0">
                    <a:pos x="connsiteX0" y="connsiteY0"/>
                  </a:cxn>
                  <a:cxn ang="0">
                    <a:pos x="connsiteX1" y="connsiteY1"/>
                  </a:cxn>
                  <a:cxn ang="0">
                    <a:pos x="connsiteX2" y="connsiteY2"/>
                  </a:cxn>
                  <a:cxn ang="0">
                    <a:pos x="connsiteX3" y="connsiteY3"/>
                  </a:cxn>
                </a:cxnLst>
                <a:rect l="l" t="t" r="r" b="b"/>
                <a:pathLst>
                  <a:path w="66207" h="37917">
                    <a:moveTo>
                      <a:pt x="66207" y="2691"/>
                    </a:moveTo>
                    <a:lnTo>
                      <a:pt x="1435" y="37918"/>
                    </a:lnTo>
                    <a:lnTo>
                      <a:pt x="0" y="35226"/>
                    </a:lnTo>
                    <a:lnTo>
                      <a:pt x="64712" y="0"/>
                    </a:lnTo>
                    <a:close/>
                  </a:path>
                </a:pathLst>
              </a:custGeom>
              <a:grpFill/>
              <a:ln w="5978" cap="flat">
                <a:noFill/>
                <a:prstDash val="solid"/>
                <a:miter/>
              </a:ln>
            </p:spPr>
            <p:txBody>
              <a:bodyPr rtlCol="0" anchor="ctr"/>
              <a:lstStyle/>
              <a:p>
                <a:endParaRPr lang="en-GB"/>
              </a:p>
            </p:txBody>
          </p:sp>
          <p:sp>
            <p:nvSpPr>
              <p:cNvPr id="5159" name="Vrije vorm: vorm 5158">
                <a:extLst>
                  <a:ext uri="{FF2B5EF4-FFF2-40B4-BE49-F238E27FC236}">
                    <a16:creationId xmlns:a16="http://schemas.microsoft.com/office/drawing/2014/main" id="{DB2878F8-6578-441E-A331-438F596D3119}"/>
                  </a:ext>
                </a:extLst>
              </p:cNvPr>
              <p:cNvSpPr/>
              <p:nvPr/>
            </p:nvSpPr>
            <p:spPr>
              <a:xfrm>
                <a:off x="7751844" y="2479142"/>
                <a:ext cx="18325" cy="18414"/>
              </a:xfrm>
              <a:custGeom>
                <a:avLst/>
                <a:gdLst>
                  <a:gd name="connsiteX0" fmla="*/ 4754 w 18325"/>
                  <a:gd name="connsiteY0" fmla="*/ 1103 h 18414"/>
                  <a:gd name="connsiteX1" fmla="*/ 17194 w 18325"/>
                  <a:gd name="connsiteY1" fmla="*/ 4812 h 18414"/>
                  <a:gd name="connsiteX2" fmla="*/ 13545 w 18325"/>
                  <a:gd name="connsiteY2" fmla="*/ 17311 h 18414"/>
                  <a:gd name="connsiteX3" fmla="*/ 1105 w 18325"/>
                  <a:gd name="connsiteY3" fmla="*/ 13603 h 18414"/>
                  <a:gd name="connsiteX4" fmla="*/ 4754 w 18325"/>
                  <a:gd name="connsiteY4" fmla="*/ 11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14">
                    <a:moveTo>
                      <a:pt x="4754" y="1103"/>
                    </a:moveTo>
                    <a:cubicBezTo>
                      <a:pt x="9179" y="-1289"/>
                      <a:pt x="14742" y="326"/>
                      <a:pt x="17194" y="4812"/>
                    </a:cubicBezTo>
                    <a:cubicBezTo>
                      <a:pt x="19645" y="9297"/>
                      <a:pt x="17971" y="14859"/>
                      <a:pt x="13545" y="17311"/>
                    </a:cubicBezTo>
                    <a:cubicBezTo>
                      <a:pt x="9119" y="19704"/>
                      <a:pt x="3558" y="18089"/>
                      <a:pt x="1105" y="13603"/>
                    </a:cubicBezTo>
                    <a:cubicBezTo>
                      <a:pt x="-1287" y="9118"/>
                      <a:pt x="328" y="3556"/>
                      <a:pt x="4754" y="1103"/>
                    </a:cubicBezTo>
                    <a:close/>
                  </a:path>
                </a:pathLst>
              </a:custGeom>
              <a:grpFill/>
              <a:ln w="5978" cap="flat">
                <a:noFill/>
                <a:prstDash val="solid"/>
                <a:miter/>
              </a:ln>
            </p:spPr>
            <p:txBody>
              <a:bodyPr rtlCol="0" anchor="ctr"/>
              <a:lstStyle/>
              <a:p>
                <a:endParaRPr lang="en-GB"/>
              </a:p>
            </p:txBody>
          </p:sp>
          <p:sp>
            <p:nvSpPr>
              <p:cNvPr id="5160" name="Vrije vorm: vorm 5159">
                <a:extLst>
                  <a:ext uri="{FF2B5EF4-FFF2-40B4-BE49-F238E27FC236}">
                    <a16:creationId xmlns:a16="http://schemas.microsoft.com/office/drawing/2014/main" id="{FBEFD56B-19EF-47A2-B7C1-0931014FB3E9}"/>
                  </a:ext>
                </a:extLst>
              </p:cNvPr>
              <p:cNvSpPr/>
              <p:nvPr/>
            </p:nvSpPr>
            <p:spPr>
              <a:xfrm>
                <a:off x="7687884" y="2513962"/>
                <a:ext cx="18351" cy="18429"/>
              </a:xfrm>
              <a:custGeom>
                <a:avLst/>
                <a:gdLst>
                  <a:gd name="connsiteX0" fmla="*/ 4780 w 18351"/>
                  <a:gd name="connsiteY0" fmla="*/ 1092 h 18429"/>
                  <a:gd name="connsiteX1" fmla="*/ 1132 w 18351"/>
                  <a:gd name="connsiteY1" fmla="*/ 13591 h 18429"/>
                  <a:gd name="connsiteX2" fmla="*/ 13572 w 18351"/>
                  <a:gd name="connsiteY2" fmla="*/ 17299 h 18429"/>
                  <a:gd name="connsiteX3" fmla="*/ 17220 w 18351"/>
                  <a:gd name="connsiteY3" fmla="*/ 4800 h 18429"/>
                  <a:gd name="connsiteX4" fmla="*/ 4780 w 18351"/>
                  <a:gd name="connsiteY4" fmla="*/ 109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9">
                    <a:moveTo>
                      <a:pt x="4780" y="1092"/>
                    </a:moveTo>
                    <a:cubicBezTo>
                      <a:pt x="354" y="3484"/>
                      <a:pt x="-1320" y="9106"/>
                      <a:pt x="1132" y="13591"/>
                    </a:cubicBezTo>
                    <a:cubicBezTo>
                      <a:pt x="3584" y="18077"/>
                      <a:pt x="9146" y="19751"/>
                      <a:pt x="13572" y="17299"/>
                    </a:cubicBezTo>
                    <a:cubicBezTo>
                      <a:pt x="17997" y="14907"/>
                      <a:pt x="19672" y="9285"/>
                      <a:pt x="17220" y="4800"/>
                    </a:cubicBezTo>
                    <a:cubicBezTo>
                      <a:pt x="14827" y="374"/>
                      <a:pt x="9206" y="-1301"/>
                      <a:pt x="4780" y="1092"/>
                    </a:cubicBezTo>
                    <a:close/>
                  </a:path>
                </a:pathLst>
              </a:custGeom>
              <a:grpFill/>
              <a:ln w="5978" cap="flat">
                <a:noFill/>
                <a:prstDash val="solid"/>
                <a:miter/>
              </a:ln>
            </p:spPr>
            <p:txBody>
              <a:bodyPr rtlCol="0" anchor="ctr"/>
              <a:lstStyle/>
              <a:p>
                <a:endParaRPr lang="en-GB"/>
              </a:p>
            </p:txBody>
          </p:sp>
        </p:grpSp>
        <p:grpSp>
          <p:nvGrpSpPr>
            <p:cNvPr id="72" name="Graphic 3">
              <a:extLst>
                <a:ext uri="{FF2B5EF4-FFF2-40B4-BE49-F238E27FC236}">
                  <a16:creationId xmlns:a16="http://schemas.microsoft.com/office/drawing/2014/main" id="{CAD8E91C-9FEA-4384-A3D3-EFF958B3728D}"/>
                </a:ext>
              </a:extLst>
            </p:cNvPr>
            <p:cNvGrpSpPr/>
            <p:nvPr/>
          </p:nvGrpSpPr>
          <p:grpSpPr>
            <a:xfrm>
              <a:off x="7662513" y="2850227"/>
              <a:ext cx="387864" cy="90821"/>
              <a:chOff x="7662513" y="2850227"/>
              <a:chExt cx="387864" cy="90821"/>
            </a:xfrm>
            <a:grpFill/>
          </p:grpSpPr>
          <p:sp>
            <p:nvSpPr>
              <p:cNvPr id="5155" name="Vrije vorm: vorm 5154">
                <a:extLst>
                  <a:ext uri="{FF2B5EF4-FFF2-40B4-BE49-F238E27FC236}">
                    <a16:creationId xmlns:a16="http://schemas.microsoft.com/office/drawing/2014/main" id="{2889C2FE-8BE4-4654-ACEE-328D7AB95900}"/>
                  </a:ext>
                </a:extLst>
              </p:cNvPr>
              <p:cNvSpPr/>
              <p:nvPr/>
            </p:nvSpPr>
            <p:spPr>
              <a:xfrm>
                <a:off x="7670894" y="2857868"/>
                <a:ext cx="371103" cy="75596"/>
              </a:xfrm>
              <a:custGeom>
                <a:avLst/>
                <a:gdLst>
                  <a:gd name="connsiteX0" fmla="*/ 370505 w 371103"/>
                  <a:gd name="connsiteY0" fmla="*/ 0 h 75596"/>
                  <a:gd name="connsiteX1" fmla="*/ 371103 w 371103"/>
                  <a:gd name="connsiteY1" fmla="*/ 2990 h 75596"/>
                  <a:gd name="connsiteX2" fmla="*/ 598 w 371103"/>
                  <a:gd name="connsiteY2" fmla="*/ 75596 h 75596"/>
                  <a:gd name="connsiteX3" fmla="*/ 0 w 371103"/>
                  <a:gd name="connsiteY3" fmla="*/ 72606 h 75596"/>
                </a:gdLst>
                <a:ahLst/>
                <a:cxnLst>
                  <a:cxn ang="0">
                    <a:pos x="connsiteX0" y="connsiteY0"/>
                  </a:cxn>
                  <a:cxn ang="0">
                    <a:pos x="connsiteX1" y="connsiteY1"/>
                  </a:cxn>
                  <a:cxn ang="0">
                    <a:pos x="connsiteX2" y="connsiteY2"/>
                  </a:cxn>
                  <a:cxn ang="0">
                    <a:pos x="connsiteX3" y="connsiteY3"/>
                  </a:cxn>
                </a:cxnLst>
                <a:rect l="l" t="t" r="r" b="b"/>
                <a:pathLst>
                  <a:path w="371103" h="75596">
                    <a:moveTo>
                      <a:pt x="370505" y="0"/>
                    </a:moveTo>
                    <a:lnTo>
                      <a:pt x="371103" y="2990"/>
                    </a:lnTo>
                    <a:lnTo>
                      <a:pt x="598" y="75596"/>
                    </a:lnTo>
                    <a:lnTo>
                      <a:pt x="0" y="72606"/>
                    </a:lnTo>
                    <a:close/>
                  </a:path>
                </a:pathLst>
              </a:custGeom>
              <a:grpFill/>
              <a:ln w="5978" cap="flat">
                <a:noFill/>
                <a:prstDash val="solid"/>
                <a:miter/>
              </a:ln>
            </p:spPr>
            <p:txBody>
              <a:bodyPr rtlCol="0" anchor="ctr"/>
              <a:lstStyle/>
              <a:p>
                <a:endParaRPr lang="en-GB"/>
              </a:p>
            </p:txBody>
          </p:sp>
          <p:sp>
            <p:nvSpPr>
              <p:cNvPr id="5156" name="Vrije vorm: vorm 5155">
                <a:extLst>
                  <a:ext uri="{FF2B5EF4-FFF2-40B4-BE49-F238E27FC236}">
                    <a16:creationId xmlns:a16="http://schemas.microsoft.com/office/drawing/2014/main" id="{9F203717-AE66-4641-A42B-ADD6DC05CA2B}"/>
                  </a:ext>
                </a:extLst>
              </p:cNvPr>
              <p:cNvSpPr/>
              <p:nvPr/>
            </p:nvSpPr>
            <p:spPr>
              <a:xfrm>
                <a:off x="7662513" y="2922591"/>
                <a:ext cx="18316" cy="18457"/>
              </a:xfrm>
              <a:custGeom>
                <a:avLst/>
                <a:gdLst>
                  <a:gd name="connsiteX0" fmla="*/ 10952 w 18316"/>
                  <a:gd name="connsiteY0" fmla="*/ 18289 h 18457"/>
                  <a:gd name="connsiteX1" fmla="*/ 187 w 18316"/>
                  <a:gd name="connsiteY1" fmla="*/ 10993 h 18457"/>
                  <a:gd name="connsiteX2" fmla="*/ 7364 w 18316"/>
                  <a:gd name="connsiteY2" fmla="*/ 168 h 18457"/>
                  <a:gd name="connsiteX3" fmla="*/ 18129 w 18316"/>
                  <a:gd name="connsiteY3" fmla="*/ 7464 h 18457"/>
                  <a:gd name="connsiteX4" fmla="*/ 10952 w 18316"/>
                  <a:gd name="connsiteY4" fmla="*/ 1828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7">
                    <a:moveTo>
                      <a:pt x="10952" y="18289"/>
                    </a:moveTo>
                    <a:cubicBezTo>
                      <a:pt x="5988" y="19246"/>
                      <a:pt x="1144" y="16017"/>
                      <a:pt x="187" y="10993"/>
                    </a:cubicBezTo>
                    <a:cubicBezTo>
                      <a:pt x="-830" y="6029"/>
                      <a:pt x="2400" y="1185"/>
                      <a:pt x="7364" y="168"/>
                    </a:cubicBezTo>
                    <a:cubicBezTo>
                      <a:pt x="12328" y="-789"/>
                      <a:pt x="17172" y="2440"/>
                      <a:pt x="18129" y="7464"/>
                    </a:cubicBezTo>
                    <a:cubicBezTo>
                      <a:pt x="19146" y="12488"/>
                      <a:pt x="15917" y="17333"/>
                      <a:pt x="10952" y="18289"/>
                    </a:cubicBezTo>
                    <a:close/>
                  </a:path>
                </a:pathLst>
              </a:custGeom>
              <a:grpFill/>
              <a:ln w="5978" cap="flat">
                <a:noFill/>
                <a:prstDash val="solid"/>
                <a:miter/>
              </a:ln>
            </p:spPr>
            <p:txBody>
              <a:bodyPr rtlCol="0" anchor="ctr"/>
              <a:lstStyle/>
              <a:p>
                <a:endParaRPr lang="en-GB"/>
              </a:p>
            </p:txBody>
          </p:sp>
          <p:sp>
            <p:nvSpPr>
              <p:cNvPr id="5157" name="Vrije vorm: vorm 5156">
                <a:extLst>
                  <a:ext uri="{FF2B5EF4-FFF2-40B4-BE49-F238E27FC236}">
                    <a16:creationId xmlns:a16="http://schemas.microsoft.com/office/drawing/2014/main" id="{691751E3-AC3F-4A18-A5D5-440142538BE0}"/>
                  </a:ext>
                </a:extLst>
              </p:cNvPr>
              <p:cNvSpPr/>
              <p:nvPr/>
            </p:nvSpPr>
            <p:spPr>
              <a:xfrm>
                <a:off x="8032061" y="2850227"/>
                <a:ext cx="18316" cy="18452"/>
              </a:xfrm>
              <a:custGeom>
                <a:avLst/>
                <a:gdLst>
                  <a:gd name="connsiteX0" fmla="*/ 10953 w 18316"/>
                  <a:gd name="connsiteY0" fmla="*/ 18287 h 18452"/>
                  <a:gd name="connsiteX1" fmla="*/ 18129 w 18316"/>
                  <a:gd name="connsiteY1" fmla="*/ 7462 h 18452"/>
                  <a:gd name="connsiteX2" fmla="*/ 7364 w 18316"/>
                  <a:gd name="connsiteY2" fmla="*/ 166 h 18452"/>
                  <a:gd name="connsiteX3" fmla="*/ 187 w 18316"/>
                  <a:gd name="connsiteY3" fmla="*/ 10991 h 18452"/>
                  <a:gd name="connsiteX4" fmla="*/ 10953 w 1831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2">
                    <a:moveTo>
                      <a:pt x="10953" y="18287"/>
                    </a:moveTo>
                    <a:cubicBezTo>
                      <a:pt x="15916" y="17330"/>
                      <a:pt x="19146" y="12486"/>
                      <a:pt x="18129" y="7462"/>
                    </a:cubicBezTo>
                    <a:cubicBezTo>
                      <a:pt x="17113" y="2498"/>
                      <a:pt x="12328" y="-791"/>
                      <a:pt x="7364" y="166"/>
                    </a:cubicBezTo>
                    <a:cubicBezTo>
                      <a:pt x="2400" y="1122"/>
                      <a:pt x="-829" y="5967"/>
                      <a:pt x="187" y="10991"/>
                    </a:cubicBezTo>
                    <a:cubicBezTo>
                      <a:pt x="1144" y="15955"/>
                      <a:pt x="5989" y="19244"/>
                      <a:pt x="10953" y="18287"/>
                    </a:cubicBezTo>
                    <a:close/>
                  </a:path>
                </a:pathLst>
              </a:custGeom>
              <a:grpFill/>
              <a:ln w="5978" cap="flat">
                <a:noFill/>
                <a:prstDash val="solid"/>
                <a:miter/>
              </a:ln>
            </p:spPr>
            <p:txBody>
              <a:bodyPr rtlCol="0" anchor="ctr"/>
              <a:lstStyle/>
              <a:p>
                <a:endParaRPr lang="en-GB"/>
              </a:p>
            </p:txBody>
          </p:sp>
        </p:grpSp>
        <p:grpSp>
          <p:nvGrpSpPr>
            <p:cNvPr id="73" name="Graphic 3">
              <a:extLst>
                <a:ext uri="{FF2B5EF4-FFF2-40B4-BE49-F238E27FC236}">
                  <a16:creationId xmlns:a16="http://schemas.microsoft.com/office/drawing/2014/main" id="{27F8AF86-33E8-432B-8F03-C63FF21246D6}"/>
                </a:ext>
              </a:extLst>
            </p:cNvPr>
            <p:cNvGrpSpPr/>
            <p:nvPr/>
          </p:nvGrpSpPr>
          <p:grpSpPr>
            <a:xfrm>
              <a:off x="7959661" y="3243225"/>
              <a:ext cx="19758" cy="18553"/>
              <a:chOff x="7959661" y="3243225"/>
              <a:chExt cx="19758" cy="18553"/>
            </a:xfrm>
            <a:grpFill/>
          </p:grpSpPr>
          <p:sp>
            <p:nvSpPr>
              <p:cNvPr id="5152" name="Vrije vorm: vorm 5151">
                <a:extLst>
                  <a:ext uri="{FF2B5EF4-FFF2-40B4-BE49-F238E27FC236}">
                    <a16:creationId xmlns:a16="http://schemas.microsoft.com/office/drawing/2014/main" id="{5EE6BA7E-AF6E-4C63-9F3B-BF0E497C4028}"/>
                  </a:ext>
                </a:extLst>
              </p:cNvPr>
              <p:cNvSpPr/>
              <p:nvPr/>
            </p:nvSpPr>
            <p:spPr>
              <a:xfrm>
                <a:off x="7968195" y="3250921"/>
                <a:ext cx="2631" cy="3229"/>
              </a:xfrm>
              <a:custGeom>
                <a:avLst/>
                <a:gdLst>
                  <a:gd name="connsiteX0" fmla="*/ 2392 w 2631"/>
                  <a:gd name="connsiteY0" fmla="*/ 0 h 3229"/>
                  <a:gd name="connsiteX1" fmla="*/ 2632 w 2631"/>
                  <a:gd name="connsiteY1" fmla="*/ 3050 h 3229"/>
                  <a:gd name="connsiteX2" fmla="*/ 299 w 2631"/>
                  <a:gd name="connsiteY2" fmla="*/ 3229 h 3229"/>
                  <a:gd name="connsiteX3" fmla="*/ 0 w 2631"/>
                  <a:gd name="connsiteY3" fmla="*/ 179 h 3229"/>
                </a:gdLst>
                <a:ahLst/>
                <a:cxnLst>
                  <a:cxn ang="0">
                    <a:pos x="connsiteX0" y="connsiteY0"/>
                  </a:cxn>
                  <a:cxn ang="0">
                    <a:pos x="connsiteX1" y="connsiteY1"/>
                  </a:cxn>
                  <a:cxn ang="0">
                    <a:pos x="connsiteX2" y="connsiteY2"/>
                  </a:cxn>
                  <a:cxn ang="0">
                    <a:pos x="connsiteX3" y="connsiteY3"/>
                  </a:cxn>
                </a:cxnLst>
                <a:rect l="l" t="t" r="r" b="b"/>
                <a:pathLst>
                  <a:path w="2631" h="3229">
                    <a:moveTo>
                      <a:pt x="2392" y="0"/>
                    </a:moveTo>
                    <a:lnTo>
                      <a:pt x="2632" y="3050"/>
                    </a:lnTo>
                    <a:lnTo>
                      <a:pt x="299" y="3229"/>
                    </a:lnTo>
                    <a:lnTo>
                      <a:pt x="0" y="179"/>
                    </a:lnTo>
                    <a:close/>
                  </a:path>
                </a:pathLst>
              </a:custGeom>
              <a:grpFill/>
              <a:ln w="5978" cap="flat">
                <a:noFill/>
                <a:prstDash val="solid"/>
                <a:miter/>
              </a:ln>
            </p:spPr>
            <p:txBody>
              <a:bodyPr rtlCol="0" anchor="ctr"/>
              <a:lstStyle/>
              <a:p>
                <a:endParaRPr lang="en-GB"/>
              </a:p>
            </p:txBody>
          </p:sp>
          <p:sp>
            <p:nvSpPr>
              <p:cNvPr id="5153" name="Vrije vorm: vorm 5152">
                <a:extLst>
                  <a:ext uri="{FF2B5EF4-FFF2-40B4-BE49-F238E27FC236}">
                    <a16:creationId xmlns:a16="http://schemas.microsoft.com/office/drawing/2014/main" id="{0369B97D-2429-4338-8959-F986D0B5C60F}"/>
                  </a:ext>
                </a:extLst>
              </p:cNvPr>
              <p:cNvSpPr/>
              <p:nvPr/>
            </p:nvSpPr>
            <p:spPr>
              <a:xfrm>
                <a:off x="7959661" y="3243354"/>
                <a:ext cx="18323" cy="18424"/>
              </a:xfrm>
              <a:custGeom>
                <a:avLst/>
                <a:gdLst>
                  <a:gd name="connsiteX0" fmla="*/ 9969 w 18323"/>
                  <a:gd name="connsiteY0" fmla="*/ 18393 h 18424"/>
                  <a:gd name="connsiteX1" fmla="*/ 41 w 18323"/>
                  <a:gd name="connsiteY1" fmla="*/ 10019 h 18424"/>
                  <a:gd name="connsiteX2" fmla="*/ 8354 w 18323"/>
                  <a:gd name="connsiteY2" fmla="*/ 32 h 18424"/>
                  <a:gd name="connsiteX3" fmla="*/ 18282 w 18323"/>
                  <a:gd name="connsiteY3" fmla="*/ 8405 h 18424"/>
                  <a:gd name="connsiteX4" fmla="*/ 9969 w 18323"/>
                  <a:gd name="connsiteY4" fmla="*/ 1839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4">
                    <a:moveTo>
                      <a:pt x="9969" y="18393"/>
                    </a:moveTo>
                    <a:cubicBezTo>
                      <a:pt x="4946" y="18811"/>
                      <a:pt x="460" y="15043"/>
                      <a:pt x="41" y="10019"/>
                    </a:cubicBezTo>
                    <a:cubicBezTo>
                      <a:pt x="-437" y="4936"/>
                      <a:pt x="3331" y="510"/>
                      <a:pt x="8354" y="32"/>
                    </a:cubicBezTo>
                    <a:cubicBezTo>
                      <a:pt x="13379" y="-387"/>
                      <a:pt x="17864" y="3381"/>
                      <a:pt x="18282" y="8405"/>
                    </a:cubicBezTo>
                    <a:cubicBezTo>
                      <a:pt x="18761" y="13488"/>
                      <a:pt x="14993" y="17974"/>
                      <a:pt x="9969" y="18393"/>
                    </a:cubicBezTo>
                    <a:close/>
                  </a:path>
                </a:pathLst>
              </a:custGeom>
              <a:grpFill/>
              <a:ln w="5978" cap="flat">
                <a:noFill/>
                <a:prstDash val="solid"/>
                <a:miter/>
              </a:ln>
            </p:spPr>
            <p:txBody>
              <a:bodyPr rtlCol="0" anchor="ctr"/>
              <a:lstStyle/>
              <a:p>
                <a:endParaRPr lang="en-GB"/>
              </a:p>
            </p:txBody>
          </p:sp>
          <p:sp>
            <p:nvSpPr>
              <p:cNvPr id="5154" name="Vrije vorm: vorm 5153">
                <a:extLst>
                  <a:ext uri="{FF2B5EF4-FFF2-40B4-BE49-F238E27FC236}">
                    <a16:creationId xmlns:a16="http://schemas.microsoft.com/office/drawing/2014/main" id="{5194FD89-9409-4899-8E19-0BEFC527DF2E}"/>
                  </a:ext>
                </a:extLst>
              </p:cNvPr>
              <p:cNvSpPr/>
              <p:nvPr/>
            </p:nvSpPr>
            <p:spPr>
              <a:xfrm>
                <a:off x="7961097" y="3243225"/>
                <a:ext cx="18322" cy="18433"/>
              </a:xfrm>
              <a:custGeom>
                <a:avLst/>
                <a:gdLst>
                  <a:gd name="connsiteX0" fmla="*/ 9969 w 18322"/>
                  <a:gd name="connsiteY0" fmla="*/ 18402 h 18433"/>
                  <a:gd name="connsiteX1" fmla="*/ 18282 w 18322"/>
                  <a:gd name="connsiteY1" fmla="*/ 8414 h 18433"/>
                  <a:gd name="connsiteX2" fmla="*/ 8354 w 18322"/>
                  <a:gd name="connsiteY2" fmla="*/ 41 h 18433"/>
                  <a:gd name="connsiteX3" fmla="*/ 41 w 18322"/>
                  <a:gd name="connsiteY3" fmla="*/ 10029 h 18433"/>
                  <a:gd name="connsiteX4" fmla="*/ 9969 w 18322"/>
                  <a:gd name="connsiteY4" fmla="*/ 18402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33">
                    <a:moveTo>
                      <a:pt x="9969" y="18402"/>
                    </a:moveTo>
                    <a:cubicBezTo>
                      <a:pt x="14993" y="17983"/>
                      <a:pt x="18761" y="13498"/>
                      <a:pt x="18282" y="8414"/>
                    </a:cubicBezTo>
                    <a:cubicBezTo>
                      <a:pt x="17804" y="3330"/>
                      <a:pt x="13378" y="-438"/>
                      <a:pt x="8354" y="41"/>
                    </a:cubicBezTo>
                    <a:cubicBezTo>
                      <a:pt x="3330" y="460"/>
                      <a:pt x="-438" y="4945"/>
                      <a:pt x="41" y="10029"/>
                    </a:cubicBezTo>
                    <a:cubicBezTo>
                      <a:pt x="459" y="15112"/>
                      <a:pt x="4945" y="18820"/>
                      <a:pt x="9969" y="18402"/>
                    </a:cubicBezTo>
                    <a:close/>
                  </a:path>
                </a:pathLst>
              </a:custGeom>
              <a:grpFill/>
              <a:ln w="5978" cap="flat">
                <a:noFill/>
                <a:prstDash val="solid"/>
                <a:miter/>
              </a:ln>
            </p:spPr>
            <p:txBody>
              <a:bodyPr rtlCol="0" anchor="ctr"/>
              <a:lstStyle/>
              <a:p>
                <a:endParaRPr lang="en-GB"/>
              </a:p>
            </p:txBody>
          </p:sp>
        </p:grpSp>
        <p:grpSp>
          <p:nvGrpSpPr>
            <p:cNvPr id="74" name="Graphic 3">
              <a:extLst>
                <a:ext uri="{FF2B5EF4-FFF2-40B4-BE49-F238E27FC236}">
                  <a16:creationId xmlns:a16="http://schemas.microsoft.com/office/drawing/2014/main" id="{0994A674-F4F7-4A29-9DD6-CB70B09C0E09}"/>
                </a:ext>
              </a:extLst>
            </p:cNvPr>
            <p:cNvGrpSpPr/>
            <p:nvPr/>
          </p:nvGrpSpPr>
          <p:grpSpPr>
            <a:xfrm>
              <a:off x="7876398" y="3201827"/>
              <a:ext cx="152374" cy="32460"/>
              <a:chOff x="7876398" y="3201827"/>
              <a:chExt cx="152374" cy="32460"/>
            </a:xfrm>
            <a:grpFill/>
          </p:grpSpPr>
          <p:sp>
            <p:nvSpPr>
              <p:cNvPr id="5149" name="Vrije vorm: vorm 5148">
                <a:extLst>
                  <a:ext uri="{FF2B5EF4-FFF2-40B4-BE49-F238E27FC236}">
                    <a16:creationId xmlns:a16="http://schemas.microsoft.com/office/drawing/2014/main" id="{B4A38A52-DE3A-4943-AB0E-BA446451B33E}"/>
                  </a:ext>
                </a:extLst>
              </p:cNvPr>
              <p:cNvSpPr/>
              <p:nvPr/>
            </p:nvSpPr>
            <p:spPr>
              <a:xfrm>
                <a:off x="7884943" y="3209475"/>
                <a:ext cx="135224" cy="17164"/>
              </a:xfrm>
              <a:custGeom>
                <a:avLst/>
                <a:gdLst>
                  <a:gd name="connsiteX0" fmla="*/ 134925 w 135224"/>
                  <a:gd name="connsiteY0" fmla="*/ 0 h 17164"/>
                  <a:gd name="connsiteX1" fmla="*/ 135225 w 135224"/>
                  <a:gd name="connsiteY1" fmla="*/ 3050 h 17164"/>
                  <a:gd name="connsiteX2" fmla="*/ 359 w 135224"/>
                  <a:gd name="connsiteY2" fmla="*/ 17165 h 17164"/>
                  <a:gd name="connsiteX3" fmla="*/ 0 w 135224"/>
                  <a:gd name="connsiteY3" fmla="*/ 14115 h 17164"/>
                </a:gdLst>
                <a:ahLst/>
                <a:cxnLst>
                  <a:cxn ang="0">
                    <a:pos x="connsiteX0" y="connsiteY0"/>
                  </a:cxn>
                  <a:cxn ang="0">
                    <a:pos x="connsiteX1" y="connsiteY1"/>
                  </a:cxn>
                  <a:cxn ang="0">
                    <a:pos x="connsiteX2" y="connsiteY2"/>
                  </a:cxn>
                  <a:cxn ang="0">
                    <a:pos x="connsiteX3" y="connsiteY3"/>
                  </a:cxn>
                </a:cxnLst>
                <a:rect l="l" t="t" r="r" b="b"/>
                <a:pathLst>
                  <a:path w="135224" h="17164">
                    <a:moveTo>
                      <a:pt x="134925" y="0"/>
                    </a:moveTo>
                    <a:lnTo>
                      <a:pt x="135225" y="3050"/>
                    </a:lnTo>
                    <a:lnTo>
                      <a:pt x="359" y="17165"/>
                    </a:lnTo>
                    <a:lnTo>
                      <a:pt x="0" y="14115"/>
                    </a:lnTo>
                    <a:close/>
                  </a:path>
                </a:pathLst>
              </a:custGeom>
              <a:grpFill/>
              <a:ln w="5978" cap="flat">
                <a:noFill/>
                <a:prstDash val="solid"/>
                <a:miter/>
              </a:ln>
            </p:spPr>
            <p:txBody>
              <a:bodyPr rtlCol="0" anchor="ctr"/>
              <a:lstStyle/>
              <a:p>
                <a:endParaRPr lang="en-GB"/>
              </a:p>
            </p:txBody>
          </p:sp>
          <p:sp>
            <p:nvSpPr>
              <p:cNvPr id="5150" name="Vrije vorm: vorm 5149">
                <a:extLst>
                  <a:ext uri="{FF2B5EF4-FFF2-40B4-BE49-F238E27FC236}">
                    <a16:creationId xmlns:a16="http://schemas.microsoft.com/office/drawing/2014/main" id="{1A493FA9-BDC2-4425-B64A-C58E15EA3ED3}"/>
                  </a:ext>
                </a:extLst>
              </p:cNvPr>
              <p:cNvSpPr/>
              <p:nvPr/>
            </p:nvSpPr>
            <p:spPr>
              <a:xfrm>
                <a:off x="8010426" y="3201827"/>
                <a:ext cx="18346" cy="18404"/>
              </a:xfrm>
              <a:custGeom>
                <a:avLst/>
                <a:gdLst>
                  <a:gd name="connsiteX0" fmla="*/ 8187 w 18346"/>
                  <a:gd name="connsiteY0" fmla="*/ 52 h 18404"/>
                  <a:gd name="connsiteX1" fmla="*/ 18294 w 18346"/>
                  <a:gd name="connsiteY1" fmla="*/ 8246 h 18404"/>
                  <a:gd name="connsiteX2" fmla="*/ 10161 w 18346"/>
                  <a:gd name="connsiteY2" fmla="*/ 18353 h 18404"/>
                  <a:gd name="connsiteX3" fmla="*/ 54 w 18346"/>
                  <a:gd name="connsiteY3" fmla="*/ 10159 h 18404"/>
                  <a:gd name="connsiteX4" fmla="*/ 8187 w 18346"/>
                  <a:gd name="connsiteY4" fmla="*/ 52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4">
                    <a:moveTo>
                      <a:pt x="8187" y="52"/>
                    </a:moveTo>
                    <a:cubicBezTo>
                      <a:pt x="13211" y="-486"/>
                      <a:pt x="17756" y="3222"/>
                      <a:pt x="18294" y="8246"/>
                    </a:cubicBezTo>
                    <a:cubicBezTo>
                      <a:pt x="18832" y="13329"/>
                      <a:pt x="15184" y="17815"/>
                      <a:pt x="10161" y="18353"/>
                    </a:cubicBezTo>
                    <a:cubicBezTo>
                      <a:pt x="5137" y="18891"/>
                      <a:pt x="592" y="15183"/>
                      <a:pt x="54" y="10159"/>
                    </a:cubicBezTo>
                    <a:cubicBezTo>
                      <a:pt x="-485" y="5136"/>
                      <a:pt x="3103" y="590"/>
                      <a:pt x="8187" y="52"/>
                    </a:cubicBezTo>
                    <a:close/>
                  </a:path>
                </a:pathLst>
              </a:custGeom>
              <a:grpFill/>
              <a:ln w="5978" cap="flat">
                <a:noFill/>
                <a:prstDash val="solid"/>
                <a:miter/>
              </a:ln>
            </p:spPr>
            <p:txBody>
              <a:bodyPr rtlCol="0" anchor="ctr"/>
              <a:lstStyle/>
              <a:p>
                <a:endParaRPr lang="en-GB"/>
              </a:p>
            </p:txBody>
          </p:sp>
          <p:sp>
            <p:nvSpPr>
              <p:cNvPr id="5151" name="Vrije vorm: vorm 5150">
                <a:extLst>
                  <a:ext uri="{FF2B5EF4-FFF2-40B4-BE49-F238E27FC236}">
                    <a16:creationId xmlns:a16="http://schemas.microsoft.com/office/drawing/2014/main" id="{204F0BD3-EAD8-4BC7-8AD4-CB5A8A6557D7}"/>
                  </a:ext>
                </a:extLst>
              </p:cNvPr>
              <p:cNvSpPr/>
              <p:nvPr/>
            </p:nvSpPr>
            <p:spPr>
              <a:xfrm>
                <a:off x="7876398" y="3215882"/>
                <a:ext cx="18346" cy="18405"/>
              </a:xfrm>
              <a:custGeom>
                <a:avLst/>
                <a:gdLst>
                  <a:gd name="connsiteX0" fmla="*/ 8186 w 18346"/>
                  <a:gd name="connsiteY0" fmla="*/ 52 h 18405"/>
                  <a:gd name="connsiteX1" fmla="*/ 53 w 18346"/>
                  <a:gd name="connsiteY1" fmla="*/ 10159 h 18405"/>
                  <a:gd name="connsiteX2" fmla="*/ 10160 w 18346"/>
                  <a:gd name="connsiteY2" fmla="*/ 18353 h 18405"/>
                  <a:gd name="connsiteX3" fmla="*/ 18293 w 18346"/>
                  <a:gd name="connsiteY3" fmla="*/ 8246 h 18405"/>
                  <a:gd name="connsiteX4" fmla="*/ 8186 w 18346"/>
                  <a:gd name="connsiteY4" fmla="*/ 5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5">
                    <a:moveTo>
                      <a:pt x="8186" y="52"/>
                    </a:moveTo>
                    <a:cubicBezTo>
                      <a:pt x="3163" y="590"/>
                      <a:pt x="-485" y="5136"/>
                      <a:pt x="53" y="10159"/>
                    </a:cubicBezTo>
                    <a:cubicBezTo>
                      <a:pt x="591" y="15243"/>
                      <a:pt x="5136" y="18891"/>
                      <a:pt x="10160" y="18353"/>
                    </a:cubicBezTo>
                    <a:cubicBezTo>
                      <a:pt x="15184" y="17815"/>
                      <a:pt x="18832" y="13269"/>
                      <a:pt x="18293" y="8246"/>
                    </a:cubicBezTo>
                    <a:cubicBezTo>
                      <a:pt x="17755" y="3222"/>
                      <a:pt x="13210" y="-486"/>
                      <a:pt x="8186" y="52"/>
                    </a:cubicBezTo>
                    <a:close/>
                  </a:path>
                </a:pathLst>
              </a:custGeom>
              <a:grpFill/>
              <a:ln w="5978" cap="flat">
                <a:noFill/>
                <a:prstDash val="solid"/>
                <a:miter/>
              </a:ln>
            </p:spPr>
            <p:txBody>
              <a:bodyPr rtlCol="0" anchor="ctr"/>
              <a:lstStyle/>
              <a:p>
                <a:endParaRPr lang="en-GB"/>
              </a:p>
            </p:txBody>
          </p:sp>
        </p:grpSp>
        <p:grpSp>
          <p:nvGrpSpPr>
            <p:cNvPr id="75" name="Graphic 3">
              <a:extLst>
                <a:ext uri="{FF2B5EF4-FFF2-40B4-BE49-F238E27FC236}">
                  <a16:creationId xmlns:a16="http://schemas.microsoft.com/office/drawing/2014/main" id="{012DC0D2-1AEA-4028-92B5-5F9B8D0D76C6}"/>
                </a:ext>
              </a:extLst>
            </p:cNvPr>
            <p:cNvGrpSpPr/>
            <p:nvPr/>
          </p:nvGrpSpPr>
          <p:grpSpPr>
            <a:xfrm>
              <a:off x="7681286" y="2532933"/>
              <a:ext cx="144402" cy="80983"/>
              <a:chOff x="7681286" y="2532933"/>
              <a:chExt cx="144402" cy="80983"/>
            </a:xfrm>
            <a:grpFill/>
          </p:grpSpPr>
          <p:sp>
            <p:nvSpPr>
              <p:cNvPr id="5146" name="Vrije vorm: vorm 5145">
                <a:extLst>
                  <a:ext uri="{FF2B5EF4-FFF2-40B4-BE49-F238E27FC236}">
                    <a16:creationId xmlns:a16="http://schemas.microsoft.com/office/drawing/2014/main" id="{27937E51-C337-4DCB-AEF4-368AAA8689E6}"/>
                  </a:ext>
                </a:extLst>
              </p:cNvPr>
              <p:cNvSpPr/>
              <p:nvPr/>
            </p:nvSpPr>
            <p:spPr>
              <a:xfrm>
                <a:off x="7689472" y="2540278"/>
                <a:ext cx="128248" cy="65766"/>
              </a:xfrm>
              <a:custGeom>
                <a:avLst/>
                <a:gdLst>
                  <a:gd name="connsiteX0" fmla="*/ 0 w 128248"/>
                  <a:gd name="connsiteY0" fmla="*/ 63035 h 65766"/>
                  <a:gd name="connsiteX1" fmla="*/ 126891 w 128248"/>
                  <a:gd name="connsiteY1" fmla="*/ 0 h 65766"/>
                  <a:gd name="connsiteX2" fmla="*/ 128248 w 128248"/>
                  <a:gd name="connsiteY2" fmla="*/ 2732 h 65766"/>
                  <a:gd name="connsiteX3" fmla="*/ 1357 w 128248"/>
                  <a:gd name="connsiteY3" fmla="*/ 65767 h 65766"/>
                </a:gdLst>
                <a:ahLst/>
                <a:cxnLst>
                  <a:cxn ang="0">
                    <a:pos x="connsiteX0" y="connsiteY0"/>
                  </a:cxn>
                  <a:cxn ang="0">
                    <a:pos x="connsiteX1" y="connsiteY1"/>
                  </a:cxn>
                  <a:cxn ang="0">
                    <a:pos x="connsiteX2" y="connsiteY2"/>
                  </a:cxn>
                  <a:cxn ang="0">
                    <a:pos x="connsiteX3" y="connsiteY3"/>
                  </a:cxn>
                </a:cxnLst>
                <a:rect l="l" t="t" r="r" b="b"/>
                <a:pathLst>
                  <a:path w="128248" h="65766">
                    <a:moveTo>
                      <a:pt x="0" y="63035"/>
                    </a:moveTo>
                    <a:lnTo>
                      <a:pt x="126891" y="0"/>
                    </a:lnTo>
                    <a:lnTo>
                      <a:pt x="128248" y="2732"/>
                    </a:lnTo>
                    <a:lnTo>
                      <a:pt x="1357" y="65767"/>
                    </a:lnTo>
                    <a:close/>
                  </a:path>
                </a:pathLst>
              </a:custGeom>
              <a:grpFill/>
              <a:ln w="5978" cap="flat">
                <a:noFill/>
                <a:prstDash val="solid"/>
                <a:miter/>
              </a:ln>
            </p:spPr>
            <p:txBody>
              <a:bodyPr rtlCol="0" anchor="ctr"/>
              <a:lstStyle/>
              <a:p>
                <a:endParaRPr lang="en-GB"/>
              </a:p>
            </p:txBody>
          </p:sp>
          <p:sp>
            <p:nvSpPr>
              <p:cNvPr id="5147" name="Vrije vorm: vorm 5146">
                <a:extLst>
                  <a:ext uri="{FF2B5EF4-FFF2-40B4-BE49-F238E27FC236}">
                    <a16:creationId xmlns:a16="http://schemas.microsoft.com/office/drawing/2014/main" id="{3E3BA71C-6A7E-4A7E-BDC8-37B61F9A0083}"/>
                  </a:ext>
                </a:extLst>
              </p:cNvPr>
              <p:cNvSpPr/>
              <p:nvPr/>
            </p:nvSpPr>
            <p:spPr>
              <a:xfrm>
                <a:off x="7807360" y="2532933"/>
                <a:ext cx="18329" cy="18424"/>
              </a:xfrm>
              <a:custGeom>
                <a:avLst/>
                <a:gdLst>
                  <a:gd name="connsiteX0" fmla="*/ 5097 w 18329"/>
                  <a:gd name="connsiteY0" fmla="*/ 959 h 18424"/>
                  <a:gd name="connsiteX1" fmla="*/ 17358 w 18329"/>
                  <a:gd name="connsiteY1" fmla="*/ 5146 h 18424"/>
                  <a:gd name="connsiteX2" fmla="*/ 13232 w 18329"/>
                  <a:gd name="connsiteY2" fmla="*/ 17466 h 18424"/>
                  <a:gd name="connsiteX3" fmla="*/ 971 w 18329"/>
                  <a:gd name="connsiteY3" fmla="*/ 13279 h 18424"/>
                  <a:gd name="connsiteX4" fmla="*/ 5097 w 18329"/>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4">
                    <a:moveTo>
                      <a:pt x="5097" y="959"/>
                    </a:moveTo>
                    <a:cubicBezTo>
                      <a:pt x="9643" y="-1314"/>
                      <a:pt x="15145" y="600"/>
                      <a:pt x="17358" y="5146"/>
                    </a:cubicBezTo>
                    <a:cubicBezTo>
                      <a:pt x="19631" y="9691"/>
                      <a:pt x="17776" y="15253"/>
                      <a:pt x="13232" y="17466"/>
                    </a:cubicBezTo>
                    <a:cubicBezTo>
                      <a:pt x="8686" y="19739"/>
                      <a:pt x="3184" y="17825"/>
                      <a:pt x="971" y="13279"/>
                    </a:cubicBezTo>
                    <a:cubicBezTo>
                      <a:pt x="-1302" y="8734"/>
                      <a:pt x="553" y="3172"/>
                      <a:pt x="5097" y="959"/>
                    </a:cubicBezTo>
                    <a:close/>
                  </a:path>
                </a:pathLst>
              </a:custGeom>
              <a:grpFill/>
              <a:ln w="5978" cap="flat">
                <a:noFill/>
                <a:prstDash val="solid"/>
                <a:miter/>
              </a:ln>
            </p:spPr>
            <p:txBody>
              <a:bodyPr rtlCol="0" anchor="ctr"/>
              <a:lstStyle/>
              <a:p>
                <a:endParaRPr lang="en-GB"/>
              </a:p>
            </p:txBody>
          </p:sp>
          <p:sp>
            <p:nvSpPr>
              <p:cNvPr id="5148" name="Vrije vorm: vorm 5147">
                <a:extLst>
                  <a:ext uri="{FF2B5EF4-FFF2-40B4-BE49-F238E27FC236}">
                    <a16:creationId xmlns:a16="http://schemas.microsoft.com/office/drawing/2014/main" id="{2A4480C7-BCD4-4F28-8BD8-01C31E8F823D}"/>
                  </a:ext>
                </a:extLst>
              </p:cNvPr>
              <p:cNvSpPr/>
              <p:nvPr/>
            </p:nvSpPr>
            <p:spPr>
              <a:xfrm>
                <a:off x="7681286" y="2595518"/>
                <a:ext cx="18329" cy="18398"/>
              </a:xfrm>
              <a:custGeom>
                <a:avLst/>
                <a:gdLst>
                  <a:gd name="connsiteX0" fmla="*/ 5098 w 18329"/>
                  <a:gd name="connsiteY0" fmla="*/ 933 h 18398"/>
                  <a:gd name="connsiteX1" fmla="*/ 971 w 18329"/>
                  <a:gd name="connsiteY1" fmla="*/ 13253 h 18398"/>
                  <a:gd name="connsiteX2" fmla="*/ 13231 w 18329"/>
                  <a:gd name="connsiteY2" fmla="*/ 17440 h 18398"/>
                  <a:gd name="connsiteX3" fmla="*/ 17358 w 18329"/>
                  <a:gd name="connsiteY3" fmla="*/ 5119 h 18398"/>
                  <a:gd name="connsiteX4" fmla="*/ 5098 w 18329"/>
                  <a:gd name="connsiteY4" fmla="*/ 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98">
                    <a:moveTo>
                      <a:pt x="5098" y="933"/>
                    </a:moveTo>
                    <a:cubicBezTo>
                      <a:pt x="552" y="3206"/>
                      <a:pt x="-1302" y="8708"/>
                      <a:pt x="971" y="13253"/>
                    </a:cubicBezTo>
                    <a:cubicBezTo>
                      <a:pt x="3244" y="17799"/>
                      <a:pt x="8746" y="19712"/>
                      <a:pt x="13231" y="17440"/>
                    </a:cubicBezTo>
                    <a:cubicBezTo>
                      <a:pt x="17777" y="15167"/>
                      <a:pt x="19631" y="9665"/>
                      <a:pt x="17358" y="5119"/>
                    </a:cubicBezTo>
                    <a:cubicBezTo>
                      <a:pt x="15086" y="574"/>
                      <a:pt x="9643" y="-1280"/>
                      <a:pt x="5098" y="933"/>
                    </a:cubicBezTo>
                    <a:close/>
                  </a:path>
                </a:pathLst>
              </a:custGeom>
              <a:grpFill/>
              <a:ln w="5978" cap="flat">
                <a:noFill/>
                <a:prstDash val="solid"/>
                <a:miter/>
              </a:ln>
            </p:spPr>
            <p:txBody>
              <a:bodyPr rtlCol="0" anchor="ctr"/>
              <a:lstStyle/>
              <a:p>
                <a:endParaRPr lang="en-GB"/>
              </a:p>
            </p:txBody>
          </p:sp>
        </p:grpSp>
        <p:grpSp>
          <p:nvGrpSpPr>
            <p:cNvPr id="76" name="Graphic 3">
              <a:extLst>
                <a:ext uri="{FF2B5EF4-FFF2-40B4-BE49-F238E27FC236}">
                  <a16:creationId xmlns:a16="http://schemas.microsoft.com/office/drawing/2014/main" id="{4CBB4A69-B4DB-4D3E-8DD1-71B3C8855653}"/>
                </a:ext>
              </a:extLst>
            </p:cNvPr>
            <p:cNvGrpSpPr/>
            <p:nvPr/>
          </p:nvGrpSpPr>
          <p:grpSpPr>
            <a:xfrm>
              <a:off x="7861673" y="3159171"/>
              <a:ext cx="210067" cy="42174"/>
              <a:chOff x="7861673" y="3159171"/>
              <a:chExt cx="210067" cy="42174"/>
            </a:xfrm>
            <a:grpFill/>
          </p:grpSpPr>
          <p:sp>
            <p:nvSpPr>
              <p:cNvPr id="5143" name="Vrije vorm: vorm 5142">
                <a:extLst>
                  <a:ext uri="{FF2B5EF4-FFF2-40B4-BE49-F238E27FC236}">
                    <a16:creationId xmlns:a16="http://schemas.microsoft.com/office/drawing/2014/main" id="{6ADE8E3C-6D33-4215-B46D-D297CF50CBAF}"/>
                  </a:ext>
                </a:extLst>
              </p:cNvPr>
              <p:cNvSpPr/>
              <p:nvPr/>
            </p:nvSpPr>
            <p:spPr>
              <a:xfrm>
                <a:off x="7870231" y="3166832"/>
                <a:ext cx="192998" cy="26853"/>
              </a:xfrm>
              <a:custGeom>
                <a:avLst/>
                <a:gdLst>
                  <a:gd name="connsiteX0" fmla="*/ 192639 w 192998"/>
                  <a:gd name="connsiteY0" fmla="*/ 0 h 26853"/>
                  <a:gd name="connsiteX1" fmla="*/ 192998 w 192998"/>
                  <a:gd name="connsiteY1" fmla="*/ 2990 h 26853"/>
                  <a:gd name="connsiteX2" fmla="*/ 359 w 192998"/>
                  <a:gd name="connsiteY2" fmla="*/ 26854 h 26853"/>
                  <a:gd name="connsiteX3" fmla="*/ 0 w 192998"/>
                  <a:gd name="connsiteY3" fmla="*/ 23803 h 26853"/>
                </a:gdLst>
                <a:ahLst/>
                <a:cxnLst>
                  <a:cxn ang="0">
                    <a:pos x="connsiteX0" y="connsiteY0"/>
                  </a:cxn>
                  <a:cxn ang="0">
                    <a:pos x="connsiteX1" y="connsiteY1"/>
                  </a:cxn>
                  <a:cxn ang="0">
                    <a:pos x="connsiteX2" y="connsiteY2"/>
                  </a:cxn>
                  <a:cxn ang="0">
                    <a:pos x="connsiteX3" y="connsiteY3"/>
                  </a:cxn>
                </a:cxnLst>
                <a:rect l="l" t="t" r="r" b="b"/>
                <a:pathLst>
                  <a:path w="192998" h="26853">
                    <a:moveTo>
                      <a:pt x="192639" y="0"/>
                    </a:moveTo>
                    <a:lnTo>
                      <a:pt x="192998" y="2990"/>
                    </a:lnTo>
                    <a:lnTo>
                      <a:pt x="359" y="26854"/>
                    </a:lnTo>
                    <a:lnTo>
                      <a:pt x="0" y="23803"/>
                    </a:lnTo>
                    <a:close/>
                  </a:path>
                </a:pathLst>
              </a:custGeom>
              <a:grpFill/>
              <a:ln w="5978" cap="flat">
                <a:noFill/>
                <a:prstDash val="solid"/>
                <a:miter/>
              </a:ln>
            </p:spPr>
            <p:txBody>
              <a:bodyPr rtlCol="0" anchor="ctr"/>
              <a:lstStyle/>
              <a:p>
                <a:endParaRPr lang="en-GB"/>
              </a:p>
            </p:txBody>
          </p:sp>
          <p:sp>
            <p:nvSpPr>
              <p:cNvPr id="5144" name="Vrije vorm: vorm 5143">
                <a:extLst>
                  <a:ext uri="{FF2B5EF4-FFF2-40B4-BE49-F238E27FC236}">
                    <a16:creationId xmlns:a16="http://schemas.microsoft.com/office/drawing/2014/main" id="{6C0BE526-46E9-4559-8276-05ACB24534F5}"/>
                  </a:ext>
                </a:extLst>
              </p:cNvPr>
              <p:cNvSpPr/>
              <p:nvPr/>
            </p:nvSpPr>
            <p:spPr>
              <a:xfrm>
                <a:off x="8053414" y="3159171"/>
                <a:ext cx="18325" cy="18431"/>
              </a:xfrm>
              <a:custGeom>
                <a:avLst/>
                <a:gdLst>
                  <a:gd name="connsiteX0" fmla="*/ 8020 w 18325"/>
                  <a:gd name="connsiteY0" fmla="*/ 65 h 18431"/>
                  <a:gd name="connsiteX1" fmla="*/ 18248 w 18325"/>
                  <a:gd name="connsiteY1" fmla="*/ 8079 h 18431"/>
                  <a:gd name="connsiteX2" fmla="*/ 10293 w 18325"/>
                  <a:gd name="connsiteY2" fmla="*/ 18366 h 18431"/>
                  <a:gd name="connsiteX3" fmla="*/ 66 w 18325"/>
                  <a:gd name="connsiteY3" fmla="*/ 10352 h 18431"/>
                  <a:gd name="connsiteX4" fmla="*/ 8020 w 18325"/>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1">
                    <a:moveTo>
                      <a:pt x="8020" y="65"/>
                    </a:moveTo>
                    <a:cubicBezTo>
                      <a:pt x="13044" y="-533"/>
                      <a:pt x="17650" y="3055"/>
                      <a:pt x="18248" y="8079"/>
                    </a:cubicBezTo>
                    <a:cubicBezTo>
                      <a:pt x="18905" y="13103"/>
                      <a:pt x="15317" y="17708"/>
                      <a:pt x="10293" y="18366"/>
                    </a:cubicBezTo>
                    <a:cubicBezTo>
                      <a:pt x="5269" y="18964"/>
                      <a:pt x="664" y="15376"/>
                      <a:pt x="66" y="10352"/>
                    </a:cubicBezTo>
                    <a:cubicBezTo>
                      <a:pt x="-532" y="5268"/>
                      <a:pt x="2997" y="663"/>
                      <a:pt x="8020" y="65"/>
                    </a:cubicBezTo>
                    <a:close/>
                  </a:path>
                </a:pathLst>
              </a:custGeom>
              <a:grpFill/>
              <a:ln w="5978" cap="flat">
                <a:noFill/>
                <a:prstDash val="solid"/>
                <a:miter/>
              </a:ln>
            </p:spPr>
            <p:txBody>
              <a:bodyPr rtlCol="0" anchor="ctr"/>
              <a:lstStyle/>
              <a:p>
                <a:endParaRPr lang="en-GB"/>
              </a:p>
            </p:txBody>
          </p:sp>
          <p:sp>
            <p:nvSpPr>
              <p:cNvPr id="5145" name="Vrije vorm: vorm 5144">
                <a:extLst>
                  <a:ext uri="{FF2B5EF4-FFF2-40B4-BE49-F238E27FC236}">
                    <a16:creationId xmlns:a16="http://schemas.microsoft.com/office/drawing/2014/main" id="{8EA47C22-98CD-4BD9-B327-E867E15BED22}"/>
                  </a:ext>
                </a:extLst>
              </p:cNvPr>
              <p:cNvSpPr/>
              <p:nvPr/>
            </p:nvSpPr>
            <p:spPr>
              <a:xfrm>
                <a:off x="7861673" y="3182915"/>
                <a:ext cx="18313" cy="18431"/>
              </a:xfrm>
              <a:custGeom>
                <a:avLst/>
                <a:gdLst>
                  <a:gd name="connsiteX0" fmla="*/ 8020 w 18313"/>
                  <a:gd name="connsiteY0" fmla="*/ 65 h 18431"/>
                  <a:gd name="connsiteX1" fmla="*/ 66 w 18313"/>
                  <a:gd name="connsiteY1" fmla="*/ 10352 h 18431"/>
                  <a:gd name="connsiteX2" fmla="*/ 10293 w 18313"/>
                  <a:gd name="connsiteY2" fmla="*/ 18366 h 18431"/>
                  <a:gd name="connsiteX3" fmla="*/ 18247 w 18313"/>
                  <a:gd name="connsiteY3" fmla="*/ 8079 h 18431"/>
                  <a:gd name="connsiteX4" fmla="*/ 8020 w 18313"/>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8020" y="65"/>
                    </a:moveTo>
                    <a:cubicBezTo>
                      <a:pt x="2997" y="663"/>
                      <a:pt x="-532" y="5268"/>
                      <a:pt x="66" y="10352"/>
                    </a:cubicBezTo>
                    <a:cubicBezTo>
                      <a:pt x="724" y="15376"/>
                      <a:pt x="5269" y="18964"/>
                      <a:pt x="10293" y="18366"/>
                    </a:cubicBezTo>
                    <a:cubicBezTo>
                      <a:pt x="15317" y="17768"/>
                      <a:pt x="18845" y="13163"/>
                      <a:pt x="18247" y="8079"/>
                    </a:cubicBezTo>
                    <a:cubicBezTo>
                      <a:pt x="17649" y="3055"/>
                      <a:pt x="13044" y="-533"/>
                      <a:pt x="8020" y="65"/>
                    </a:cubicBezTo>
                    <a:close/>
                  </a:path>
                </a:pathLst>
              </a:custGeom>
              <a:grpFill/>
              <a:ln w="5978" cap="flat">
                <a:noFill/>
                <a:prstDash val="solid"/>
                <a:miter/>
              </a:ln>
            </p:spPr>
            <p:txBody>
              <a:bodyPr rtlCol="0" anchor="ctr"/>
              <a:lstStyle/>
              <a:p>
                <a:endParaRPr lang="en-GB"/>
              </a:p>
            </p:txBody>
          </p:sp>
        </p:grpSp>
        <p:grpSp>
          <p:nvGrpSpPr>
            <p:cNvPr id="77" name="Graphic 3">
              <a:extLst>
                <a:ext uri="{FF2B5EF4-FFF2-40B4-BE49-F238E27FC236}">
                  <a16:creationId xmlns:a16="http://schemas.microsoft.com/office/drawing/2014/main" id="{B3E4CD56-B973-41F5-AE0C-3134015F4F80}"/>
                </a:ext>
              </a:extLst>
            </p:cNvPr>
            <p:cNvGrpSpPr/>
            <p:nvPr/>
          </p:nvGrpSpPr>
          <p:grpSpPr>
            <a:xfrm>
              <a:off x="7700781" y="3146123"/>
              <a:ext cx="471014" cy="44349"/>
              <a:chOff x="7700781" y="3146123"/>
              <a:chExt cx="471014" cy="44349"/>
            </a:xfrm>
            <a:grpFill/>
          </p:grpSpPr>
          <p:sp>
            <p:nvSpPr>
              <p:cNvPr id="5140" name="Vrije vorm: vorm 5139">
                <a:extLst>
                  <a:ext uri="{FF2B5EF4-FFF2-40B4-BE49-F238E27FC236}">
                    <a16:creationId xmlns:a16="http://schemas.microsoft.com/office/drawing/2014/main" id="{36E2E07D-7C01-4A38-9A0B-62F1C50D5109}"/>
                  </a:ext>
                </a:extLst>
              </p:cNvPr>
              <p:cNvSpPr/>
              <p:nvPr/>
            </p:nvSpPr>
            <p:spPr>
              <a:xfrm>
                <a:off x="7709349" y="3153854"/>
                <a:ext cx="453817" cy="28946"/>
              </a:xfrm>
              <a:custGeom>
                <a:avLst/>
                <a:gdLst>
                  <a:gd name="connsiteX0" fmla="*/ 453638 w 453817"/>
                  <a:gd name="connsiteY0" fmla="*/ 0 h 28946"/>
                  <a:gd name="connsiteX1" fmla="*/ 453817 w 453817"/>
                  <a:gd name="connsiteY1" fmla="*/ 3050 h 28946"/>
                  <a:gd name="connsiteX2" fmla="*/ 180 w 453817"/>
                  <a:gd name="connsiteY2" fmla="*/ 28947 h 28946"/>
                  <a:gd name="connsiteX3" fmla="*/ 0 w 453817"/>
                  <a:gd name="connsiteY3" fmla="*/ 25896 h 28946"/>
                </a:gdLst>
                <a:ahLst/>
                <a:cxnLst>
                  <a:cxn ang="0">
                    <a:pos x="connsiteX0" y="connsiteY0"/>
                  </a:cxn>
                  <a:cxn ang="0">
                    <a:pos x="connsiteX1" y="connsiteY1"/>
                  </a:cxn>
                  <a:cxn ang="0">
                    <a:pos x="connsiteX2" y="connsiteY2"/>
                  </a:cxn>
                  <a:cxn ang="0">
                    <a:pos x="connsiteX3" y="connsiteY3"/>
                  </a:cxn>
                </a:cxnLst>
                <a:rect l="l" t="t" r="r" b="b"/>
                <a:pathLst>
                  <a:path w="453817" h="28946">
                    <a:moveTo>
                      <a:pt x="453638" y="0"/>
                    </a:moveTo>
                    <a:lnTo>
                      <a:pt x="453817" y="3050"/>
                    </a:lnTo>
                    <a:lnTo>
                      <a:pt x="180" y="28947"/>
                    </a:lnTo>
                    <a:lnTo>
                      <a:pt x="0" y="25896"/>
                    </a:lnTo>
                    <a:close/>
                  </a:path>
                </a:pathLst>
              </a:custGeom>
              <a:grpFill/>
              <a:ln w="5978" cap="flat">
                <a:noFill/>
                <a:prstDash val="solid"/>
                <a:miter/>
              </a:ln>
            </p:spPr>
            <p:txBody>
              <a:bodyPr rtlCol="0" anchor="ctr"/>
              <a:lstStyle/>
              <a:p>
                <a:endParaRPr lang="en-GB"/>
              </a:p>
            </p:txBody>
          </p:sp>
          <p:sp>
            <p:nvSpPr>
              <p:cNvPr id="5141" name="Vrije vorm: vorm 5140">
                <a:extLst>
                  <a:ext uri="{FF2B5EF4-FFF2-40B4-BE49-F238E27FC236}">
                    <a16:creationId xmlns:a16="http://schemas.microsoft.com/office/drawing/2014/main" id="{4A7B9D14-8B65-40F2-A63A-7AB2A204C953}"/>
                  </a:ext>
                </a:extLst>
              </p:cNvPr>
              <p:cNvSpPr/>
              <p:nvPr/>
            </p:nvSpPr>
            <p:spPr>
              <a:xfrm>
                <a:off x="7700781" y="3172019"/>
                <a:ext cx="18333" cy="18452"/>
              </a:xfrm>
              <a:custGeom>
                <a:avLst/>
                <a:gdLst>
                  <a:gd name="connsiteX0" fmla="*/ 9705 w 18333"/>
                  <a:gd name="connsiteY0" fmla="*/ 18437 h 18452"/>
                  <a:gd name="connsiteX1" fmla="*/ 16 w 18333"/>
                  <a:gd name="connsiteY1" fmla="*/ 9765 h 18452"/>
                  <a:gd name="connsiteX2" fmla="*/ 8628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8" y="16"/>
                    </a:cubicBezTo>
                    <a:cubicBezTo>
                      <a:pt x="13653" y="-283"/>
                      <a:pt x="18018" y="3604"/>
                      <a:pt x="18317" y="8688"/>
                    </a:cubicBezTo>
                    <a:cubicBezTo>
                      <a:pt x="18616" y="13772"/>
                      <a:pt x="14729" y="18138"/>
                      <a:pt x="9705" y="18437"/>
                    </a:cubicBezTo>
                    <a:close/>
                  </a:path>
                </a:pathLst>
              </a:custGeom>
              <a:grpFill/>
              <a:ln w="5978" cap="flat">
                <a:noFill/>
                <a:prstDash val="solid"/>
                <a:miter/>
              </a:ln>
            </p:spPr>
            <p:txBody>
              <a:bodyPr rtlCol="0" anchor="ctr"/>
              <a:lstStyle/>
              <a:p>
                <a:endParaRPr lang="en-GB"/>
              </a:p>
            </p:txBody>
          </p:sp>
          <p:sp>
            <p:nvSpPr>
              <p:cNvPr id="5142" name="Vrije vorm: vorm 5141">
                <a:extLst>
                  <a:ext uri="{FF2B5EF4-FFF2-40B4-BE49-F238E27FC236}">
                    <a16:creationId xmlns:a16="http://schemas.microsoft.com/office/drawing/2014/main" id="{21C2DAF1-EA47-41F0-A1F6-FE562E4FA3C8}"/>
                  </a:ext>
                </a:extLst>
              </p:cNvPr>
              <p:cNvSpPr/>
              <p:nvPr/>
            </p:nvSpPr>
            <p:spPr>
              <a:xfrm>
                <a:off x="8153462" y="3146123"/>
                <a:ext cx="18333" cy="18453"/>
              </a:xfrm>
              <a:custGeom>
                <a:avLst/>
                <a:gdLst>
                  <a:gd name="connsiteX0" fmla="*/ 9705 w 18333"/>
                  <a:gd name="connsiteY0" fmla="*/ 18437 h 18453"/>
                  <a:gd name="connsiteX1" fmla="*/ 18317 w 18333"/>
                  <a:gd name="connsiteY1" fmla="*/ 8688 h 18453"/>
                  <a:gd name="connsiteX2" fmla="*/ 8629 w 18333"/>
                  <a:gd name="connsiteY2" fmla="*/ 16 h 18453"/>
                  <a:gd name="connsiteX3" fmla="*/ 16 w 18333"/>
                  <a:gd name="connsiteY3" fmla="*/ 9765 h 18453"/>
                  <a:gd name="connsiteX4" fmla="*/ 9705 w 18333"/>
                  <a:gd name="connsiteY4" fmla="*/ 18437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8437"/>
                    </a:moveTo>
                    <a:cubicBezTo>
                      <a:pt x="14729" y="18138"/>
                      <a:pt x="18616" y="13772"/>
                      <a:pt x="18317" y="8688"/>
                    </a:cubicBezTo>
                    <a:cubicBezTo>
                      <a:pt x="18018" y="3605"/>
                      <a:pt x="13652" y="-283"/>
                      <a:pt x="8629" y="16"/>
                    </a:cubicBezTo>
                    <a:cubicBezTo>
                      <a:pt x="3604" y="315"/>
                      <a:pt x="-282"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78" name="Graphic 3">
              <a:extLst>
                <a:ext uri="{FF2B5EF4-FFF2-40B4-BE49-F238E27FC236}">
                  <a16:creationId xmlns:a16="http://schemas.microsoft.com/office/drawing/2014/main" id="{290C8399-3C21-4628-AB72-C8A621974A9B}"/>
                </a:ext>
              </a:extLst>
            </p:cNvPr>
            <p:cNvGrpSpPr/>
            <p:nvPr/>
          </p:nvGrpSpPr>
          <p:grpSpPr>
            <a:xfrm>
              <a:off x="7967706" y="3314605"/>
              <a:ext cx="27352" cy="18919"/>
              <a:chOff x="7967706" y="3314605"/>
              <a:chExt cx="27352" cy="18919"/>
            </a:xfrm>
            <a:grpFill/>
          </p:grpSpPr>
          <p:sp>
            <p:nvSpPr>
              <p:cNvPr id="5138" name="Vrije vorm: vorm 5137">
                <a:extLst>
                  <a:ext uri="{FF2B5EF4-FFF2-40B4-BE49-F238E27FC236}">
                    <a16:creationId xmlns:a16="http://schemas.microsoft.com/office/drawing/2014/main" id="{FBF3725A-87B0-4A65-86D9-1E2734EDED8F}"/>
                  </a:ext>
                </a:extLst>
              </p:cNvPr>
              <p:cNvSpPr/>
              <p:nvPr/>
            </p:nvSpPr>
            <p:spPr>
              <a:xfrm>
                <a:off x="7976737" y="3314605"/>
                <a:ext cx="18321" cy="18441"/>
              </a:xfrm>
              <a:custGeom>
                <a:avLst/>
                <a:gdLst>
                  <a:gd name="connsiteX0" fmla="*/ 9639 w 18321"/>
                  <a:gd name="connsiteY0" fmla="*/ 18431 h 18441"/>
                  <a:gd name="connsiteX1" fmla="*/ 10 w 18321"/>
                  <a:gd name="connsiteY1" fmla="*/ 9639 h 18441"/>
                  <a:gd name="connsiteX2" fmla="*/ 8682 w 18321"/>
                  <a:gd name="connsiteY2" fmla="*/ 10 h 18441"/>
                  <a:gd name="connsiteX3" fmla="*/ 18311 w 18321"/>
                  <a:gd name="connsiteY3" fmla="*/ 8802 h 18441"/>
                  <a:gd name="connsiteX4" fmla="*/ 9639 w 18321"/>
                  <a:gd name="connsiteY4" fmla="*/ 1843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639" y="18431"/>
                    </a:moveTo>
                    <a:cubicBezTo>
                      <a:pt x="4616" y="18670"/>
                      <a:pt x="249" y="14723"/>
                      <a:pt x="10" y="9639"/>
                    </a:cubicBezTo>
                    <a:cubicBezTo>
                      <a:pt x="-229" y="4556"/>
                      <a:pt x="3659" y="249"/>
                      <a:pt x="8682" y="10"/>
                    </a:cubicBezTo>
                    <a:cubicBezTo>
                      <a:pt x="13706" y="-229"/>
                      <a:pt x="18072" y="3718"/>
                      <a:pt x="18311" y="8802"/>
                    </a:cubicBezTo>
                    <a:cubicBezTo>
                      <a:pt x="18551" y="13886"/>
                      <a:pt x="14663" y="18192"/>
                      <a:pt x="9639" y="18431"/>
                    </a:cubicBezTo>
                    <a:close/>
                  </a:path>
                </a:pathLst>
              </a:custGeom>
              <a:grpFill/>
              <a:ln w="5978" cap="flat">
                <a:noFill/>
                <a:prstDash val="solid"/>
                <a:miter/>
              </a:ln>
            </p:spPr>
            <p:txBody>
              <a:bodyPr rtlCol="0" anchor="ctr"/>
              <a:lstStyle/>
              <a:p>
                <a:endParaRPr lang="en-GB"/>
              </a:p>
            </p:txBody>
          </p:sp>
          <p:sp>
            <p:nvSpPr>
              <p:cNvPr id="5139" name="Vrije vorm: vorm 5138">
                <a:extLst>
                  <a:ext uri="{FF2B5EF4-FFF2-40B4-BE49-F238E27FC236}">
                    <a16:creationId xmlns:a16="http://schemas.microsoft.com/office/drawing/2014/main" id="{A4ECBDBB-0876-4DB4-A8B0-D7443B0D2880}"/>
                  </a:ext>
                </a:extLst>
              </p:cNvPr>
              <p:cNvSpPr/>
              <p:nvPr/>
            </p:nvSpPr>
            <p:spPr>
              <a:xfrm>
                <a:off x="7967706" y="3315084"/>
                <a:ext cx="18321" cy="18441"/>
              </a:xfrm>
              <a:custGeom>
                <a:avLst/>
                <a:gdLst>
                  <a:gd name="connsiteX0" fmla="*/ 9640 w 18321"/>
                  <a:gd name="connsiteY0" fmla="*/ 18431 h 18441"/>
                  <a:gd name="connsiteX1" fmla="*/ 18311 w 18321"/>
                  <a:gd name="connsiteY1" fmla="*/ 8802 h 18441"/>
                  <a:gd name="connsiteX2" fmla="*/ 8682 w 18321"/>
                  <a:gd name="connsiteY2" fmla="*/ 10 h 18441"/>
                  <a:gd name="connsiteX3" fmla="*/ 11 w 18321"/>
                  <a:gd name="connsiteY3" fmla="*/ 9639 h 18441"/>
                  <a:gd name="connsiteX4" fmla="*/ 9640 w 18321"/>
                  <a:gd name="connsiteY4" fmla="*/ 1843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640" y="18431"/>
                    </a:moveTo>
                    <a:cubicBezTo>
                      <a:pt x="14663" y="18192"/>
                      <a:pt x="18551" y="13886"/>
                      <a:pt x="18311" y="8802"/>
                    </a:cubicBezTo>
                    <a:cubicBezTo>
                      <a:pt x="18073" y="3718"/>
                      <a:pt x="13766" y="-229"/>
                      <a:pt x="8682" y="10"/>
                    </a:cubicBezTo>
                    <a:cubicBezTo>
                      <a:pt x="3599" y="250"/>
                      <a:pt x="-229" y="4556"/>
                      <a:pt x="11" y="9639"/>
                    </a:cubicBezTo>
                    <a:cubicBezTo>
                      <a:pt x="309" y="14723"/>
                      <a:pt x="4616" y="18670"/>
                      <a:pt x="9640" y="18431"/>
                    </a:cubicBezTo>
                    <a:close/>
                  </a:path>
                </a:pathLst>
              </a:custGeom>
              <a:grpFill/>
              <a:ln w="5978" cap="flat">
                <a:noFill/>
                <a:prstDash val="solid"/>
                <a:miter/>
              </a:ln>
            </p:spPr>
            <p:txBody>
              <a:bodyPr rtlCol="0" anchor="ctr"/>
              <a:lstStyle/>
              <a:p>
                <a:endParaRPr lang="en-GB"/>
              </a:p>
            </p:txBody>
          </p:sp>
        </p:grpSp>
        <p:grpSp>
          <p:nvGrpSpPr>
            <p:cNvPr id="79" name="Graphic 3">
              <a:extLst>
                <a:ext uri="{FF2B5EF4-FFF2-40B4-BE49-F238E27FC236}">
                  <a16:creationId xmlns:a16="http://schemas.microsoft.com/office/drawing/2014/main" id="{D5C5475B-C1D5-445D-8188-0F1CA7375082}"/>
                </a:ext>
              </a:extLst>
            </p:cNvPr>
            <p:cNvGrpSpPr/>
            <p:nvPr/>
          </p:nvGrpSpPr>
          <p:grpSpPr>
            <a:xfrm>
              <a:off x="7737723" y="2606285"/>
              <a:ext cx="19218" cy="18906"/>
              <a:chOff x="7737723" y="2606285"/>
              <a:chExt cx="19218" cy="18906"/>
            </a:xfrm>
            <a:grpFill/>
          </p:grpSpPr>
          <p:sp>
            <p:nvSpPr>
              <p:cNvPr id="5136" name="Vrije vorm: vorm 5135">
                <a:extLst>
                  <a:ext uri="{FF2B5EF4-FFF2-40B4-BE49-F238E27FC236}">
                    <a16:creationId xmlns:a16="http://schemas.microsoft.com/office/drawing/2014/main" id="{A6968A33-8F0D-43C2-89EB-02181412AED3}"/>
                  </a:ext>
                </a:extLst>
              </p:cNvPr>
              <p:cNvSpPr/>
              <p:nvPr/>
            </p:nvSpPr>
            <p:spPr>
              <a:xfrm>
                <a:off x="7738610" y="2606285"/>
                <a:ext cx="18331" cy="18428"/>
              </a:xfrm>
              <a:custGeom>
                <a:avLst/>
                <a:gdLst>
                  <a:gd name="connsiteX0" fmla="*/ 13083 w 18331"/>
                  <a:gd name="connsiteY0" fmla="*/ 17557 h 18428"/>
                  <a:gd name="connsiteX1" fmla="*/ 882 w 18331"/>
                  <a:gd name="connsiteY1" fmla="*/ 13131 h 18428"/>
                  <a:gd name="connsiteX2" fmla="*/ 5248 w 18331"/>
                  <a:gd name="connsiteY2" fmla="*/ 871 h 18428"/>
                  <a:gd name="connsiteX3" fmla="*/ 17449 w 18331"/>
                  <a:gd name="connsiteY3" fmla="*/ 5297 h 18428"/>
                  <a:gd name="connsiteX4" fmla="*/ 13083 w 18331"/>
                  <a:gd name="connsiteY4" fmla="*/ 1755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28">
                    <a:moveTo>
                      <a:pt x="13083" y="17557"/>
                    </a:moveTo>
                    <a:cubicBezTo>
                      <a:pt x="8538" y="19710"/>
                      <a:pt x="3035" y="17737"/>
                      <a:pt x="882" y="13131"/>
                    </a:cubicBezTo>
                    <a:cubicBezTo>
                      <a:pt x="-1271" y="8526"/>
                      <a:pt x="643" y="3024"/>
                      <a:pt x="5248" y="871"/>
                    </a:cubicBezTo>
                    <a:cubicBezTo>
                      <a:pt x="9794" y="-1282"/>
                      <a:pt x="15296" y="692"/>
                      <a:pt x="17449" y="5297"/>
                    </a:cubicBezTo>
                    <a:cubicBezTo>
                      <a:pt x="19602" y="9902"/>
                      <a:pt x="17688" y="15404"/>
                      <a:pt x="13083" y="17557"/>
                    </a:cubicBezTo>
                    <a:close/>
                  </a:path>
                </a:pathLst>
              </a:custGeom>
              <a:grpFill/>
              <a:ln w="5978" cap="flat">
                <a:noFill/>
                <a:prstDash val="solid"/>
                <a:miter/>
              </a:ln>
            </p:spPr>
            <p:txBody>
              <a:bodyPr rtlCol="0" anchor="ctr"/>
              <a:lstStyle/>
              <a:p>
                <a:endParaRPr lang="en-GB"/>
              </a:p>
            </p:txBody>
          </p:sp>
          <p:sp>
            <p:nvSpPr>
              <p:cNvPr id="5137" name="Vrije vorm: vorm 5136">
                <a:extLst>
                  <a:ext uri="{FF2B5EF4-FFF2-40B4-BE49-F238E27FC236}">
                    <a16:creationId xmlns:a16="http://schemas.microsoft.com/office/drawing/2014/main" id="{B87309AE-E507-4AF9-A62A-6C359F682739}"/>
                  </a:ext>
                </a:extLst>
              </p:cNvPr>
              <p:cNvSpPr/>
              <p:nvPr/>
            </p:nvSpPr>
            <p:spPr>
              <a:xfrm>
                <a:off x="7737723" y="2606763"/>
                <a:ext cx="18311" cy="18428"/>
              </a:xfrm>
              <a:custGeom>
                <a:avLst/>
                <a:gdLst>
                  <a:gd name="connsiteX0" fmla="*/ 13073 w 18311"/>
                  <a:gd name="connsiteY0" fmla="*/ 17557 h 18428"/>
                  <a:gd name="connsiteX1" fmla="*/ 17439 w 18311"/>
                  <a:gd name="connsiteY1" fmla="*/ 5297 h 18428"/>
                  <a:gd name="connsiteX2" fmla="*/ 5238 w 18311"/>
                  <a:gd name="connsiteY2" fmla="*/ 871 h 18428"/>
                  <a:gd name="connsiteX3" fmla="*/ 872 w 18311"/>
                  <a:gd name="connsiteY3" fmla="*/ 13132 h 18428"/>
                  <a:gd name="connsiteX4" fmla="*/ 13073 w 18311"/>
                  <a:gd name="connsiteY4" fmla="*/ 1755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8">
                    <a:moveTo>
                      <a:pt x="13073" y="17557"/>
                    </a:moveTo>
                    <a:cubicBezTo>
                      <a:pt x="17619" y="15404"/>
                      <a:pt x="19592" y="9902"/>
                      <a:pt x="17439" y="5297"/>
                    </a:cubicBezTo>
                    <a:cubicBezTo>
                      <a:pt x="15286" y="692"/>
                      <a:pt x="9784" y="-1282"/>
                      <a:pt x="5238" y="871"/>
                    </a:cubicBezTo>
                    <a:cubicBezTo>
                      <a:pt x="693" y="3024"/>
                      <a:pt x="-1281" y="8527"/>
                      <a:pt x="872" y="13132"/>
                    </a:cubicBezTo>
                    <a:cubicBezTo>
                      <a:pt x="3025" y="17737"/>
                      <a:pt x="8528" y="19711"/>
                      <a:pt x="13073" y="17557"/>
                    </a:cubicBezTo>
                    <a:close/>
                  </a:path>
                </a:pathLst>
              </a:custGeom>
              <a:grpFill/>
              <a:ln w="5978" cap="flat">
                <a:noFill/>
                <a:prstDash val="solid"/>
                <a:miter/>
              </a:ln>
            </p:spPr>
            <p:txBody>
              <a:bodyPr rtlCol="0" anchor="ctr"/>
              <a:lstStyle/>
              <a:p>
                <a:endParaRPr lang="en-GB"/>
              </a:p>
            </p:txBody>
          </p:sp>
        </p:grpSp>
        <p:grpSp>
          <p:nvGrpSpPr>
            <p:cNvPr id="80" name="Graphic 3">
              <a:extLst>
                <a:ext uri="{FF2B5EF4-FFF2-40B4-BE49-F238E27FC236}">
                  <a16:creationId xmlns:a16="http://schemas.microsoft.com/office/drawing/2014/main" id="{2966474F-878C-47F9-A46B-826B07E8ED95}"/>
                </a:ext>
              </a:extLst>
            </p:cNvPr>
            <p:cNvGrpSpPr/>
            <p:nvPr/>
          </p:nvGrpSpPr>
          <p:grpSpPr>
            <a:xfrm>
              <a:off x="7713933" y="2683270"/>
              <a:ext cx="133472" cy="65231"/>
              <a:chOff x="7713933" y="2683270"/>
              <a:chExt cx="133472" cy="65231"/>
            </a:xfrm>
            <a:grpFill/>
          </p:grpSpPr>
          <p:sp>
            <p:nvSpPr>
              <p:cNvPr id="5133" name="Vrije vorm: vorm 5132">
                <a:extLst>
                  <a:ext uri="{FF2B5EF4-FFF2-40B4-BE49-F238E27FC236}">
                    <a16:creationId xmlns:a16="http://schemas.microsoft.com/office/drawing/2014/main" id="{A0EE81B8-98F1-4510-BC21-CFE826DC3226}"/>
                  </a:ext>
                </a:extLst>
              </p:cNvPr>
              <p:cNvSpPr/>
              <p:nvPr/>
            </p:nvSpPr>
            <p:spPr>
              <a:xfrm>
                <a:off x="7721695" y="2691151"/>
                <a:ext cx="117167" cy="49964"/>
              </a:xfrm>
              <a:custGeom>
                <a:avLst/>
                <a:gdLst>
                  <a:gd name="connsiteX0" fmla="*/ 0 w 117167"/>
                  <a:gd name="connsiteY0" fmla="*/ 47139 h 49964"/>
                  <a:gd name="connsiteX1" fmla="*/ 116019 w 117167"/>
                  <a:gd name="connsiteY1" fmla="*/ 0 h 49964"/>
                  <a:gd name="connsiteX2" fmla="*/ 117167 w 117167"/>
                  <a:gd name="connsiteY2" fmla="*/ 2826 h 49964"/>
                  <a:gd name="connsiteX3" fmla="*/ 1148 w 117167"/>
                  <a:gd name="connsiteY3" fmla="*/ 49965 h 49964"/>
                </a:gdLst>
                <a:ahLst/>
                <a:cxnLst>
                  <a:cxn ang="0">
                    <a:pos x="connsiteX0" y="connsiteY0"/>
                  </a:cxn>
                  <a:cxn ang="0">
                    <a:pos x="connsiteX1" y="connsiteY1"/>
                  </a:cxn>
                  <a:cxn ang="0">
                    <a:pos x="connsiteX2" y="connsiteY2"/>
                  </a:cxn>
                  <a:cxn ang="0">
                    <a:pos x="connsiteX3" y="connsiteY3"/>
                  </a:cxn>
                </a:cxnLst>
                <a:rect l="l" t="t" r="r" b="b"/>
                <a:pathLst>
                  <a:path w="117167" h="49964">
                    <a:moveTo>
                      <a:pt x="0" y="47139"/>
                    </a:moveTo>
                    <a:lnTo>
                      <a:pt x="116019" y="0"/>
                    </a:lnTo>
                    <a:lnTo>
                      <a:pt x="117167" y="2826"/>
                    </a:lnTo>
                    <a:lnTo>
                      <a:pt x="1148" y="49965"/>
                    </a:lnTo>
                    <a:close/>
                  </a:path>
                </a:pathLst>
              </a:custGeom>
              <a:grpFill/>
              <a:ln w="5978" cap="flat">
                <a:noFill/>
                <a:prstDash val="solid"/>
                <a:miter/>
              </a:ln>
            </p:spPr>
            <p:txBody>
              <a:bodyPr rtlCol="0" anchor="ctr"/>
              <a:lstStyle/>
              <a:p>
                <a:endParaRPr lang="en-GB"/>
              </a:p>
            </p:txBody>
          </p:sp>
          <p:sp>
            <p:nvSpPr>
              <p:cNvPr id="5134" name="Vrije vorm: vorm 5133">
                <a:extLst>
                  <a:ext uri="{FF2B5EF4-FFF2-40B4-BE49-F238E27FC236}">
                    <a16:creationId xmlns:a16="http://schemas.microsoft.com/office/drawing/2014/main" id="{E8C10D63-6812-4948-B1A4-9E812BCE560F}"/>
                  </a:ext>
                </a:extLst>
              </p:cNvPr>
              <p:cNvSpPr/>
              <p:nvPr/>
            </p:nvSpPr>
            <p:spPr>
              <a:xfrm>
                <a:off x="7829087" y="2683270"/>
                <a:ext cx="18319" cy="18402"/>
              </a:xfrm>
              <a:custGeom>
                <a:avLst/>
                <a:gdLst>
                  <a:gd name="connsiteX0" fmla="*/ 5679 w 18319"/>
                  <a:gd name="connsiteY0" fmla="*/ 679 h 18402"/>
                  <a:gd name="connsiteX1" fmla="*/ 17640 w 18319"/>
                  <a:gd name="connsiteY1" fmla="*/ 5762 h 18402"/>
                  <a:gd name="connsiteX2" fmla="*/ 12616 w 18319"/>
                  <a:gd name="connsiteY2" fmla="*/ 17724 h 18402"/>
                  <a:gd name="connsiteX3" fmla="*/ 654 w 18319"/>
                  <a:gd name="connsiteY3" fmla="*/ 12640 h 18402"/>
                  <a:gd name="connsiteX4" fmla="*/ 5679 w 18319"/>
                  <a:gd name="connsiteY4" fmla="*/ 679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02">
                    <a:moveTo>
                      <a:pt x="5679" y="679"/>
                    </a:moveTo>
                    <a:cubicBezTo>
                      <a:pt x="10343" y="-1235"/>
                      <a:pt x="15726" y="1037"/>
                      <a:pt x="17640" y="5762"/>
                    </a:cubicBezTo>
                    <a:cubicBezTo>
                      <a:pt x="19554" y="10487"/>
                      <a:pt x="17281" y="15870"/>
                      <a:pt x="12616" y="17724"/>
                    </a:cubicBezTo>
                    <a:cubicBezTo>
                      <a:pt x="7951" y="19637"/>
                      <a:pt x="2568" y="17365"/>
                      <a:pt x="654" y="12640"/>
                    </a:cubicBezTo>
                    <a:cubicBezTo>
                      <a:pt x="-1199" y="7975"/>
                      <a:pt x="1013" y="2592"/>
                      <a:pt x="5679" y="679"/>
                    </a:cubicBezTo>
                    <a:close/>
                  </a:path>
                </a:pathLst>
              </a:custGeom>
              <a:grpFill/>
              <a:ln w="5978" cap="flat">
                <a:noFill/>
                <a:prstDash val="solid"/>
                <a:miter/>
              </a:ln>
            </p:spPr>
            <p:txBody>
              <a:bodyPr rtlCol="0" anchor="ctr"/>
              <a:lstStyle/>
              <a:p>
                <a:endParaRPr lang="en-GB"/>
              </a:p>
            </p:txBody>
          </p:sp>
          <p:sp>
            <p:nvSpPr>
              <p:cNvPr id="5135" name="Vrije vorm: vorm 5134">
                <a:extLst>
                  <a:ext uri="{FF2B5EF4-FFF2-40B4-BE49-F238E27FC236}">
                    <a16:creationId xmlns:a16="http://schemas.microsoft.com/office/drawing/2014/main" id="{D525C23A-11EB-4DA0-9785-4E68D5335ED7}"/>
                  </a:ext>
                </a:extLst>
              </p:cNvPr>
              <p:cNvSpPr/>
              <p:nvPr/>
            </p:nvSpPr>
            <p:spPr>
              <a:xfrm>
                <a:off x="7713933" y="2730099"/>
                <a:ext cx="18344" cy="18401"/>
              </a:xfrm>
              <a:custGeom>
                <a:avLst/>
                <a:gdLst>
                  <a:gd name="connsiteX0" fmla="*/ 5703 w 18344"/>
                  <a:gd name="connsiteY0" fmla="*/ 679 h 18401"/>
                  <a:gd name="connsiteX1" fmla="*/ 679 w 18344"/>
                  <a:gd name="connsiteY1" fmla="*/ 12640 h 18401"/>
                  <a:gd name="connsiteX2" fmla="*/ 12641 w 18344"/>
                  <a:gd name="connsiteY2" fmla="*/ 17723 h 18401"/>
                  <a:gd name="connsiteX3" fmla="*/ 17665 w 18344"/>
                  <a:gd name="connsiteY3" fmla="*/ 5762 h 18401"/>
                  <a:gd name="connsiteX4" fmla="*/ 5703 w 18344"/>
                  <a:gd name="connsiteY4" fmla="*/ 679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1">
                    <a:moveTo>
                      <a:pt x="5703" y="679"/>
                    </a:moveTo>
                    <a:cubicBezTo>
                      <a:pt x="1038" y="2592"/>
                      <a:pt x="-1234" y="7975"/>
                      <a:pt x="679" y="12640"/>
                    </a:cubicBezTo>
                    <a:cubicBezTo>
                      <a:pt x="2593" y="17365"/>
                      <a:pt x="7916" y="19637"/>
                      <a:pt x="12641" y="17723"/>
                    </a:cubicBezTo>
                    <a:cubicBezTo>
                      <a:pt x="17306" y="15810"/>
                      <a:pt x="19578" y="10427"/>
                      <a:pt x="17665" y="5762"/>
                    </a:cubicBezTo>
                    <a:cubicBezTo>
                      <a:pt x="15691" y="1037"/>
                      <a:pt x="10368" y="-1235"/>
                      <a:pt x="5703" y="679"/>
                    </a:cubicBezTo>
                    <a:close/>
                  </a:path>
                </a:pathLst>
              </a:custGeom>
              <a:grpFill/>
              <a:ln w="5978" cap="flat">
                <a:noFill/>
                <a:prstDash val="solid"/>
                <a:miter/>
              </a:ln>
            </p:spPr>
            <p:txBody>
              <a:bodyPr rtlCol="0" anchor="ctr"/>
              <a:lstStyle/>
              <a:p>
                <a:endParaRPr lang="en-GB"/>
              </a:p>
            </p:txBody>
          </p:sp>
        </p:grpSp>
        <p:grpSp>
          <p:nvGrpSpPr>
            <p:cNvPr id="81" name="Graphic 3">
              <a:extLst>
                <a:ext uri="{FF2B5EF4-FFF2-40B4-BE49-F238E27FC236}">
                  <a16:creationId xmlns:a16="http://schemas.microsoft.com/office/drawing/2014/main" id="{AD2FC811-8DA9-43E0-A7A8-12DD4FF5C4D2}"/>
                </a:ext>
              </a:extLst>
            </p:cNvPr>
            <p:cNvGrpSpPr/>
            <p:nvPr/>
          </p:nvGrpSpPr>
          <p:grpSpPr>
            <a:xfrm>
              <a:off x="7444619" y="2243758"/>
              <a:ext cx="420552" cy="242298"/>
              <a:chOff x="7444619" y="2243758"/>
              <a:chExt cx="420552" cy="242298"/>
            </a:xfrm>
            <a:grpFill/>
          </p:grpSpPr>
          <p:sp>
            <p:nvSpPr>
              <p:cNvPr id="5130" name="Vrije vorm: vorm 5129">
                <a:extLst>
                  <a:ext uri="{FF2B5EF4-FFF2-40B4-BE49-F238E27FC236}">
                    <a16:creationId xmlns:a16="http://schemas.microsoft.com/office/drawing/2014/main" id="{96B6B9EC-99F5-4E55-AF92-6FC1B699B57D}"/>
                  </a:ext>
                </a:extLst>
              </p:cNvPr>
              <p:cNvSpPr/>
              <p:nvPr/>
            </p:nvSpPr>
            <p:spPr>
              <a:xfrm>
                <a:off x="7452597" y="2251363"/>
                <a:ext cx="404536" cy="227028"/>
              </a:xfrm>
              <a:custGeom>
                <a:avLst/>
                <a:gdLst>
                  <a:gd name="connsiteX0" fmla="*/ 404536 w 404536"/>
                  <a:gd name="connsiteY0" fmla="*/ 2691 h 227028"/>
                  <a:gd name="connsiteX1" fmla="*/ 1495 w 404536"/>
                  <a:gd name="connsiteY1" fmla="*/ 227028 h 227028"/>
                  <a:gd name="connsiteX2" fmla="*/ 0 w 404536"/>
                  <a:gd name="connsiteY2" fmla="*/ 224337 h 227028"/>
                  <a:gd name="connsiteX3" fmla="*/ 403101 w 404536"/>
                  <a:gd name="connsiteY3" fmla="*/ 0 h 227028"/>
                </a:gdLst>
                <a:ahLst/>
                <a:cxnLst>
                  <a:cxn ang="0">
                    <a:pos x="connsiteX0" y="connsiteY0"/>
                  </a:cxn>
                  <a:cxn ang="0">
                    <a:pos x="connsiteX1" y="connsiteY1"/>
                  </a:cxn>
                  <a:cxn ang="0">
                    <a:pos x="connsiteX2" y="connsiteY2"/>
                  </a:cxn>
                  <a:cxn ang="0">
                    <a:pos x="connsiteX3" y="connsiteY3"/>
                  </a:cxn>
                </a:cxnLst>
                <a:rect l="l" t="t" r="r" b="b"/>
                <a:pathLst>
                  <a:path w="404536" h="227028">
                    <a:moveTo>
                      <a:pt x="404536" y="2691"/>
                    </a:moveTo>
                    <a:lnTo>
                      <a:pt x="1495" y="227028"/>
                    </a:lnTo>
                    <a:lnTo>
                      <a:pt x="0" y="224337"/>
                    </a:lnTo>
                    <a:lnTo>
                      <a:pt x="403101" y="0"/>
                    </a:lnTo>
                    <a:close/>
                  </a:path>
                </a:pathLst>
              </a:custGeom>
              <a:grpFill/>
              <a:ln w="5978" cap="flat">
                <a:noFill/>
                <a:prstDash val="solid"/>
                <a:miter/>
              </a:ln>
            </p:spPr>
            <p:txBody>
              <a:bodyPr rtlCol="0" anchor="ctr"/>
              <a:lstStyle/>
              <a:p>
                <a:endParaRPr lang="en-GB"/>
              </a:p>
            </p:txBody>
          </p:sp>
          <p:sp>
            <p:nvSpPr>
              <p:cNvPr id="5131" name="Vrije vorm: vorm 5130">
                <a:extLst>
                  <a:ext uri="{FF2B5EF4-FFF2-40B4-BE49-F238E27FC236}">
                    <a16:creationId xmlns:a16="http://schemas.microsoft.com/office/drawing/2014/main" id="{287CBEDD-B88F-46B0-A757-497C23A95FE9}"/>
                  </a:ext>
                </a:extLst>
              </p:cNvPr>
              <p:cNvSpPr/>
              <p:nvPr/>
            </p:nvSpPr>
            <p:spPr>
              <a:xfrm>
                <a:off x="7444619" y="2467676"/>
                <a:ext cx="18289" cy="18380"/>
              </a:xfrm>
              <a:custGeom>
                <a:avLst/>
                <a:gdLst>
                  <a:gd name="connsiteX0" fmla="*/ 13600 w 18289"/>
                  <a:gd name="connsiteY0" fmla="*/ 17234 h 18380"/>
                  <a:gd name="connsiteX1" fmla="*/ 1160 w 18289"/>
                  <a:gd name="connsiteY1" fmla="*/ 13646 h 18380"/>
                  <a:gd name="connsiteX2" fmla="*/ 4689 w 18289"/>
                  <a:gd name="connsiteY2" fmla="*/ 1146 h 18380"/>
                  <a:gd name="connsiteX3" fmla="*/ 17129 w 18289"/>
                  <a:gd name="connsiteY3" fmla="*/ 4734 h 18380"/>
                  <a:gd name="connsiteX4" fmla="*/ 13600 w 18289"/>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80">
                    <a:moveTo>
                      <a:pt x="13600" y="17234"/>
                    </a:moveTo>
                    <a:cubicBezTo>
                      <a:pt x="9174" y="19686"/>
                      <a:pt x="3613" y="18071"/>
                      <a:pt x="1160" y="13646"/>
                    </a:cubicBezTo>
                    <a:cubicBezTo>
                      <a:pt x="-1292" y="9220"/>
                      <a:pt x="263" y="3598"/>
                      <a:pt x="4689" y="1146"/>
                    </a:cubicBezTo>
                    <a:cubicBezTo>
                      <a:pt x="9115" y="-1306"/>
                      <a:pt x="14677" y="309"/>
                      <a:pt x="17129" y="4734"/>
                    </a:cubicBezTo>
                    <a:cubicBezTo>
                      <a:pt x="19581" y="9160"/>
                      <a:pt x="18026" y="14722"/>
                      <a:pt x="13600" y="17234"/>
                    </a:cubicBezTo>
                    <a:close/>
                  </a:path>
                </a:pathLst>
              </a:custGeom>
              <a:grpFill/>
              <a:ln w="5978" cap="flat">
                <a:noFill/>
                <a:prstDash val="solid"/>
                <a:miter/>
              </a:ln>
            </p:spPr>
            <p:txBody>
              <a:bodyPr rtlCol="0" anchor="ctr"/>
              <a:lstStyle/>
              <a:p>
                <a:endParaRPr lang="en-GB"/>
              </a:p>
            </p:txBody>
          </p:sp>
          <p:sp>
            <p:nvSpPr>
              <p:cNvPr id="5132" name="Vrije vorm: vorm 5131">
                <a:extLst>
                  <a:ext uri="{FF2B5EF4-FFF2-40B4-BE49-F238E27FC236}">
                    <a16:creationId xmlns:a16="http://schemas.microsoft.com/office/drawing/2014/main" id="{F25DACAE-5651-496E-B76E-E7991A8E4E40}"/>
                  </a:ext>
                </a:extLst>
              </p:cNvPr>
              <p:cNvSpPr/>
              <p:nvPr/>
            </p:nvSpPr>
            <p:spPr>
              <a:xfrm>
                <a:off x="7846882" y="2243758"/>
                <a:ext cx="18288" cy="18379"/>
              </a:xfrm>
              <a:custGeom>
                <a:avLst/>
                <a:gdLst>
                  <a:gd name="connsiteX0" fmla="*/ 13600 w 18288"/>
                  <a:gd name="connsiteY0" fmla="*/ 17234 h 18379"/>
                  <a:gd name="connsiteX1" fmla="*/ 17128 w 18288"/>
                  <a:gd name="connsiteY1" fmla="*/ 4734 h 18379"/>
                  <a:gd name="connsiteX2" fmla="*/ 4689 w 18288"/>
                  <a:gd name="connsiteY2" fmla="*/ 1146 h 18379"/>
                  <a:gd name="connsiteX3" fmla="*/ 1160 w 18288"/>
                  <a:gd name="connsiteY3" fmla="*/ 13646 h 18379"/>
                  <a:gd name="connsiteX4" fmla="*/ 13600 w 18288"/>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79">
                    <a:moveTo>
                      <a:pt x="13600" y="17234"/>
                    </a:moveTo>
                    <a:cubicBezTo>
                      <a:pt x="18026" y="14782"/>
                      <a:pt x="19581" y="9160"/>
                      <a:pt x="17128" y="4734"/>
                    </a:cubicBezTo>
                    <a:cubicBezTo>
                      <a:pt x="14677" y="309"/>
                      <a:pt x="9055" y="-1306"/>
                      <a:pt x="4689" y="1146"/>
                    </a:cubicBezTo>
                    <a:cubicBezTo>
                      <a:pt x="263" y="3598"/>
                      <a:pt x="-1292" y="9220"/>
                      <a:pt x="1160" y="13646"/>
                    </a:cubicBezTo>
                    <a:cubicBezTo>
                      <a:pt x="3613" y="18071"/>
                      <a:pt x="9174" y="19686"/>
                      <a:pt x="13600" y="17234"/>
                    </a:cubicBezTo>
                    <a:close/>
                  </a:path>
                </a:pathLst>
              </a:custGeom>
              <a:grpFill/>
              <a:ln w="5978" cap="flat">
                <a:noFill/>
                <a:prstDash val="solid"/>
                <a:miter/>
              </a:ln>
            </p:spPr>
            <p:txBody>
              <a:bodyPr rtlCol="0" anchor="ctr"/>
              <a:lstStyle/>
              <a:p>
                <a:endParaRPr lang="en-GB"/>
              </a:p>
            </p:txBody>
          </p:sp>
        </p:grpSp>
        <p:grpSp>
          <p:nvGrpSpPr>
            <p:cNvPr id="82" name="Graphic 3">
              <a:extLst>
                <a:ext uri="{FF2B5EF4-FFF2-40B4-BE49-F238E27FC236}">
                  <a16:creationId xmlns:a16="http://schemas.microsoft.com/office/drawing/2014/main" id="{C6D6952A-8477-4348-AB6B-FD38F65B9651}"/>
                </a:ext>
              </a:extLst>
            </p:cNvPr>
            <p:cNvGrpSpPr/>
            <p:nvPr/>
          </p:nvGrpSpPr>
          <p:grpSpPr>
            <a:xfrm>
              <a:off x="7459881" y="2273851"/>
              <a:ext cx="433030" cy="239946"/>
              <a:chOff x="7459881" y="2273851"/>
              <a:chExt cx="433030" cy="239946"/>
            </a:xfrm>
            <a:grpFill/>
          </p:grpSpPr>
          <p:sp>
            <p:nvSpPr>
              <p:cNvPr id="5127" name="Vrije vorm: vorm 5126">
                <a:extLst>
                  <a:ext uri="{FF2B5EF4-FFF2-40B4-BE49-F238E27FC236}">
                    <a16:creationId xmlns:a16="http://schemas.microsoft.com/office/drawing/2014/main" id="{85B2E762-4649-4318-971A-2A7B823FF460}"/>
                  </a:ext>
                </a:extLst>
              </p:cNvPr>
              <p:cNvSpPr/>
              <p:nvPr/>
            </p:nvSpPr>
            <p:spPr>
              <a:xfrm>
                <a:off x="7467908" y="2281506"/>
                <a:ext cx="416976" cy="224636"/>
              </a:xfrm>
              <a:custGeom>
                <a:avLst/>
                <a:gdLst>
                  <a:gd name="connsiteX0" fmla="*/ 416977 w 416976"/>
                  <a:gd name="connsiteY0" fmla="*/ 2691 h 224636"/>
                  <a:gd name="connsiteX1" fmla="*/ 1435 w 416976"/>
                  <a:gd name="connsiteY1" fmla="*/ 224636 h 224636"/>
                  <a:gd name="connsiteX2" fmla="*/ 0 w 416976"/>
                  <a:gd name="connsiteY2" fmla="*/ 221945 h 224636"/>
                  <a:gd name="connsiteX3" fmla="*/ 415540 w 416976"/>
                  <a:gd name="connsiteY3" fmla="*/ 0 h 224636"/>
                </a:gdLst>
                <a:ahLst/>
                <a:cxnLst>
                  <a:cxn ang="0">
                    <a:pos x="connsiteX0" y="connsiteY0"/>
                  </a:cxn>
                  <a:cxn ang="0">
                    <a:pos x="connsiteX1" y="connsiteY1"/>
                  </a:cxn>
                  <a:cxn ang="0">
                    <a:pos x="connsiteX2" y="connsiteY2"/>
                  </a:cxn>
                  <a:cxn ang="0">
                    <a:pos x="connsiteX3" y="connsiteY3"/>
                  </a:cxn>
                </a:cxnLst>
                <a:rect l="l" t="t" r="r" b="b"/>
                <a:pathLst>
                  <a:path w="416976" h="224636">
                    <a:moveTo>
                      <a:pt x="416977" y="2691"/>
                    </a:moveTo>
                    <a:lnTo>
                      <a:pt x="1435" y="224636"/>
                    </a:lnTo>
                    <a:lnTo>
                      <a:pt x="0" y="221945"/>
                    </a:lnTo>
                    <a:lnTo>
                      <a:pt x="415540" y="0"/>
                    </a:lnTo>
                    <a:close/>
                  </a:path>
                </a:pathLst>
              </a:custGeom>
              <a:grpFill/>
              <a:ln w="5978" cap="flat">
                <a:noFill/>
                <a:prstDash val="solid"/>
                <a:miter/>
              </a:ln>
            </p:spPr>
            <p:txBody>
              <a:bodyPr rtlCol="0" anchor="ctr"/>
              <a:lstStyle/>
              <a:p>
                <a:endParaRPr lang="en-GB"/>
              </a:p>
            </p:txBody>
          </p:sp>
          <p:sp>
            <p:nvSpPr>
              <p:cNvPr id="5128" name="Vrije vorm: vorm 5127">
                <a:extLst>
                  <a:ext uri="{FF2B5EF4-FFF2-40B4-BE49-F238E27FC236}">
                    <a16:creationId xmlns:a16="http://schemas.microsoft.com/office/drawing/2014/main" id="{88EF096A-F888-4A7F-9274-E96EDE077F02}"/>
                  </a:ext>
                </a:extLst>
              </p:cNvPr>
              <p:cNvSpPr/>
              <p:nvPr/>
            </p:nvSpPr>
            <p:spPr>
              <a:xfrm>
                <a:off x="7459881" y="2495377"/>
                <a:ext cx="18315" cy="18420"/>
              </a:xfrm>
              <a:custGeom>
                <a:avLst/>
                <a:gdLst>
                  <a:gd name="connsiteX0" fmla="*/ 13470 w 18315"/>
                  <a:gd name="connsiteY0" fmla="*/ 17344 h 18420"/>
                  <a:gd name="connsiteX1" fmla="*/ 1090 w 18315"/>
                  <a:gd name="connsiteY1" fmla="*/ 13516 h 18420"/>
                  <a:gd name="connsiteX2" fmla="*/ 4858 w 18315"/>
                  <a:gd name="connsiteY2" fmla="*/ 1076 h 18420"/>
                  <a:gd name="connsiteX3" fmla="*/ 17237 w 18315"/>
                  <a:gd name="connsiteY3" fmla="*/ 4904 h 18420"/>
                  <a:gd name="connsiteX4" fmla="*/ 13470 w 18315"/>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0">
                    <a:moveTo>
                      <a:pt x="13470" y="17344"/>
                    </a:moveTo>
                    <a:cubicBezTo>
                      <a:pt x="8984" y="19736"/>
                      <a:pt x="3482" y="18002"/>
                      <a:pt x="1090" y="13516"/>
                    </a:cubicBezTo>
                    <a:cubicBezTo>
                      <a:pt x="-1303" y="9031"/>
                      <a:pt x="372" y="3469"/>
                      <a:pt x="4858" y="1076"/>
                    </a:cubicBezTo>
                    <a:cubicBezTo>
                      <a:pt x="9343" y="-1316"/>
                      <a:pt x="14905" y="418"/>
                      <a:pt x="17237" y="4904"/>
                    </a:cubicBezTo>
                    <a:cubicBezTo>
                      <a:pt x="19630" y="9390"/>
                      <a:pt x="17895" y="14952"/>
                      <a:pt x="13470" y="17344"/>
                    </a:cubicBezTo>
                    <a:close/>
                  </a:path>
                </a:pathLst>
              </a:custGeom>
              <a:grpFill/>
              <a:ln w="5978" cap="flat">
                <a:noFill/>
                <a:prstDash val="solid"/>
                <a:miter/>
              </a:ln>
            </p:spPr>
            <p:txBody>
              <a:bodyPr rtlCol="0" anchor="ctr"/>
              <a:lstStyle/>
              <a:p>
                <a:endParaRPr lang="en-GB"/>
              </a:p>
            </p:txBody>
          </p:sp>
          <p:sp>
            <p:nvSpPr>
              <p:cNvPr id="5129" name="Vrije vorm: vorm 5128">
                <a:extLst>
                  <a:ext uri="{FF2B5EF4-FFF2-40B4-BE49-F238E27FC236}">
                    <a16:creationId xmlns:a16="http://schemas.microsoft.com/office/drawing/2014/main" id="{D7DF8960-B835-44EC-BBF9-8A3A2B342EDA}"/>
                  </a:ext>
                </a:extLst>
              </p:cNvPr>
              <p:cNvSpPr/>
              <p:nvPr/>
            </p:nvSpPr>
            <p:spPr>
              <a:xfrm>
                <a:off x="7874584" y="2273851"/>
                <a:ext cx="18327" cy="18431"/>
              </a:xfrm>
              <a:custGeom>
                <a:avLst/>
                <a:gdLst>
                  <a:gd name="connsiteX0" fmla="*/ 13470 w 18327"/>
                  <a:gd name="connsiteY0" fmla="*/ 17344 h 18431"/>
                  <a:gd name="connsiteX1" fmla="*/ 17237 w 18327"/>
                  <a:gd name="connsiteY1" fmla="*/ 4904 h 18431"/>
                  <a:gd name="connsiteX2" fmla="*/ 4858 w 18327"/>
                  <a:gd name="connsiteY2" fmla="*/ 1076 h 18431"/>
                  <a:gd name="connsiteX3" fmla="*/ 1090 w 18327"/>
                  <a:gd name="connsiteY3" fmla="*/ 13516 h 18431"/>
                  <a:gd name="connsiteX4" fmla="*/ 13470 w 18327"/>
                  <a:gd name="connsiteY4" fmla="*/ 17344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1">
                    <a:moveTo>
                      <a:pt x="13470" y="17344"/>
                    </a:moveTo>
                    <a:cubicBezTo>
                      <a:pt x="17955" y="14952"/>
                      <a:pt x="19630" y="9390"/>
                      <a:pt x="17237" y="4904"/>
                    </a:cubicBezTo>
                    <a:cubicBezTo>
                      <a:pt x="14845" y="418"/>
                      <a:pt x="9283" y="-1316"/>
                      <a:pt x="4858" y="1076"/>
                    </a:cubicBezTo>
                    <a:cubicBezTo>
                      <a:pt x="372" y="3469"/>
                      <a:pt x="-1303" y="9031"/>
                      <a:pt x="1090" y="13516"/>
                    </a:cubicBezTo>
                    <a:cubicBezTo>
                      <a:pt x="3482" y="18062"/>
                      <a:pt x="9044" y="19736"/>
                      <a:pt x="13470" y="17344"/>
                    </a:cubicBezTo>
                    <a:close/>
                  </a:path>
                </a:pathLst>
              </a:custGeom>
              <a:grpFill/>
              <a:ln w="5978" cap="flat">
                <a:noFill/>
                <a:prstDash val="solid"/>
                <a:miter/>
              </a:ln>
            </p:spPr>
            <p:txBody>
              <a:bodyPr rtlCol="0" anchor="ctr"/>
              <a:lstStyle/>
              <a:p>
                <a:endParaRPr lang="en-GB"/>
              </a:p>
            </p:txBody>
          </p:sp>
        </p:grpSp>
        <p:grpSp>
          <p:nvGrpSpPr>
            <p:cNvPr id="83" name="Graphic 3">
              <a:extLst>
                <a:ext uri="{FF2B5EF4-FFF2-40B4-BE49-F238E27FC236}">
                  <a16:creationId xmlns:a16="http://schemas.microsoft.com/office/drawing/2014/main" id="{944A42C3-BDC1-49B6-9A0C-6DBF255C8E94}"/>
                </a:ext>
              </a:extLst>
            </p:cNvPr>
            <p:cNvGrpSpPr/>
            <p:nvPr/>
          </p:nvGrpSpPr>
          <p:grpSpPr>
            <a:xfrm>
              <a:off x="7771618" y="3019161"/>
              <a:ext cx="227086" cy="60358"/>
              <a:chOff x="7771618" y="3019161"/>
              <a:chExt cx="227086" cy="60358"/>
            </a:xfrm>
            <a:grpFill/>
          </p:grpSpPr>
          <p:sp>
            <p:nvSpPr>
              <p:cNvPr id="5124" name="Vrije vorm: vorm 5123">
                <a:extLst>
                  <a:ext uri="{FF2B5EF4-FFF2-40B4-BE49-F238E27FC236}">
                    <a16:creationId xmlns:a16="http://schemas.microsoft.com/office/drawing/2014/main" id="{CCFFFA91-C697-4237-BB8C-F02A47C8EB0B}"/>
                  </a:ext>
                </a:extLst>
              </p:cNvPr>
              <p:cNvSpPr/>
              <p:nvPr/>
            </p:nvSpPr>
            <p:spPr>
              <a:xfrm>
                <a:off x="7780042" y="3026764"/>
                <a:ext cx="210282" cy="45154"/>
              </a:xfrm>
              <a:custGeom>
                <a:avLst/>
                <a:gdLst>
                  <a:gd name="connsiteX0" fmla="*/ 209624 w 210282"/>
                  <a:gd name="connsiteY0" fmla="*/ 0 h 45154"/>
                  <a:gd name="connsiteX1" fmla="*/ 210282 w 210282"/>
                  <a:gd name="connsiteY1" fmla="*/ 2990 h 45154"/>
                  <a:gd name="connsiteX2" fmla="*/ 598 w 210282"/>
                  <a:gd name="connsiteY2" fmla="*/ 45154 h 45154"/>
                  <a:gd name="connsiteX3" fmla="*/ 0 w 210282"/>
                  <a:gd name="connsiteY3" fmla="*/ 42164 h 45154"/>
                </a:gdLst>
                <a:ahLst/>
                <a:cxnLst>
                  <a:cxn ang="0">
                    <a:pos x="connsiteX0" y="connsiteY0"/>
                  </a:cxn>
                  <a:cxn ang="0">
                    <a:pos x="connsiteX1" y="connsiteY1"/>
                  </a:cxn>
                  <a:cxn ang="0">
                    <a:pos x="connsiteX2" y="connsiteY2"/>
                  </a:cxn>
                  <a:cxn ang="0">
                    <a:pos x="connsiteX3" y="connsiteY3"/>
                  </a:cxn>
                </a:cxnLst>
                <a:rect l="l" t="t" r="r" b="b"/>
                <a:pathLst>
                  <a:path w="210282" h="45154">
                    <a:moveTo>
                      <a:pt x="209624" y="0"/>
                    </a:moveTo>
                    <a:lnTo>
                      <a:pt x="210282" y="2990"/>
                    </a:lnTo>
                    <a:lnTo>
                      <a:pt x="598" y="45154"/>
                    </a:lnTo>
                    <a:lnTo>
                      <a:pt x="0" y="42164"/>
                    </a:lnTo>
                    <a:close/>
                  </a:path>
                </a:pathLst>
              </a:custGeom>
              <a:grpFill/>
              <a:ln w="5978" cap="flat">
                <a:noFill/>
                <a:prstDash val="solid"/>
                <a:miter/>
              </a:ln>
            </p:spPr>
            <p:txBody>
              <a:bodyPr rtlCol="0" anchor="ctr"/>
              <a:lstStyle/>
              <a:p>
                <a:endParaRPr lang="en-GB"/>
              </a:p>
            </p:txBody>
          </p:sp>
          <p:sp>
            <p:nvSpPr>
              <p:cNvPr id="5125" name="Vrije vorm: vorm 5124">
                <a:extLst>
                  <a:ext uri="{FF2B5EF4-FFF2-40B4-BE49-F238E27FC236}">
                    <a16:creationId xmlns:a16="http://schemas.microsoft.com/office/drawing/2014/main" id="{7F24EDA6-BD17-4337-84C3-0C917848A2D5}"/>
                  </a:ext>
                </a:extLst>
              </p:cNvPr>
              <p:cNvSpPr/>
              <p:nvPr/>
            </p:nvSpPr>
            <p:spPr>
              <a:xfrm>
                <a:off x="7980348" y="3019161"/>
                <a:ext cx="18357" cy="18435"/>
              </a:xfrm>
              <a:custGeom>
                <a:avLst/>
                <a:gdLst>
                  <a:gd name="connsiteX0" fmla="*/ 7345 w 18357"/>
                  <a:gd name="connsiteY0" fmla="*/ 187 h 18435"/>
                  <a:gd name="connsiteX1" fmla="*/ 18170 w 18357"/>
                  <a:gd name="connsiteY1" fmla="*/ 7424 h 18435"/>
                  <a:gd name="connsiteX2" fmla="*/ 10993 w 18357"/>
                  <a:gd name="connsiteY2" fmla="*/ 18249 h 18435"/>
                  <a:gd name="connsiteX3" fmla="*/ 168 w 18357"/>
                  <a:gd name="connsiteY3" fmla="*/ 11012 h 18435"/>
                  <a:gd name="connsiteX4" fmla="*/ 7345 w 18357"/>
                  <a:gd name="connsiteY4" fmla="*/ 187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35">
                    <a:moveTo>
                      <a:pt x="7345" y="187"/>
                    </a:moveTo>
                    <a:cubicBezTo>
                      <a:pt x="12308" y="-830"/>
                      <a:pt x="17153" y="2400"/>
                      <a:pt x="18170" y="7424"/>
                    </a:cubicBezTo>
                    <a:cubicBezTo>
                      <a:pt x="19186" y="12447"/>
                      <a:pt x="15957" y="17292"/>
                      <a:pt x="10993" y="18249"/>
                    </a:cubicBezTo>
                    <a:cubicBezTo>
                      <a:pt x="6029" y="19266"/>
                      <a:pt x="1184" y="16036"/>
                      <a:pt x="168" y="11012"/>
                    </a:cubicBezTo>
                    <a:cubicBezTo>
                      <a:pt x="-789" y="6048"/>
                      <a:pt x="2441" y="1144"/>
                      <a:pt x="7345" y="187"/>
                    </a:cubicBezTo>
                    <a:close/>
                  </a:path>
                </a:pathLst>
              </a:custGeom>
              <a:grpFill/>
              <a:ln w="5978" cap="flat">
                <a:noFill/>
                <a:prstDash val="solid"/>
                <a:miter/>
              </a:ln>
            </p:spPr>
            <p:txBody>
              <a:bodyPr rtlCol="0" anchor="ctr"/>
              <a:lstStyle/>
              <a:p>
                <a:endParaRPr lang="en-GB"/>
              </a:p>
            </p:txBody>
          </p:sp>
          <p:sp>
            <p:nvSpPr>
              <p:cNvPr id="5126" name="Vrije vorm: vorm 5125">
                <a:extLst>
                  <a:ext uri="{FF2B5EF4-FFF2-40B4-BE49-F238E27FC236}">
                    <a16:creationId xmlns:a16="http://schemas.microsoft.com/office/drawing/2014/main" id="{21048032-9EC5-4E60-953A-263FA124C505}"/>
                  </a:ext>
                </a:extLst>
              </p:cNvPr>
              <p:cNvSpPr/>
              <p:nvPr/>
            </p:nvSpPr>
            <p:spPr>
              <a:xfrm>
                <a:off x="7771618" y="3061104"/>
                <a:ext cx="18342" cy="18414"/>
              </a:xfrm>
              <a:custGeom>
                <a:avLst/>
                <a:gdLst>
                  <a:gd name="connsiteX0" fmla="*/ 7347 w 18342"/>
                  <a:gd name="connsiteY0" fmla="*/ 168 h 18414"/>
                  <a:gd name="connsiteX1" fmla="*/ 170 w 18342"/>
                  <a:gd name="connsiteY1" fmla="*/ 10993 h 18414"/>
                  <a:gd name="connsiteX2" fmla="*/ 10995 w 18342"/>
                  <a:gd name="connsiteY2" fmla="*/ 18230 h 18414"/>
                  <a:gd name="connsiteX3" fmla="*/ 18172 w 18342"/>
                  <a:gd name="connsiteY3" fmla="*/ 7405 h 18414"/>
                  <a:gd name="connsiteX4" fmla="*/ 7347 w 18342"/>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4">
                    <a:moveTo>
                      <a:pt x="7347" y="168"/>
                    </a:moveTo>
                    <a:cubicBezTo>
                      <a:pt x="2383" y="1185"/>
                      <a:pt x="-787" y="6029"/>
                      <a:pt x="170" y="10993"/>
                    </a:cubicBezTo>
                    <a:cubicBezTo>
                      <a:pt x="1187" y="15957"/>
                      <a:pt x="6031" y="19246"/>
                      <a:pt x="10995" y="18230"/>
                    </a:cubicBezTo>
                    <a:cubicBezTo>
                      <a:pt x="15960" y="17213"/>
                      <a:pt x="19129" y="12369"/>
                      <a:pt x="18172" y="7405"/>
                    </a:cubicBezTo>
                    <a:cubicBezTo>
                      <a:pt x="17155" y="2441"/>
                      <a:pt x="12311" y="-789"/>
                      <a:pt x="7347" y="168"/>
                    </a:cubicBezTo>
                    <a:close/>
                  </a:path>
                </a:pathLst>
              </a:custGeom>
              <a:grpFill/>
              <a:ln w="5978" cap="flat">
                <a:noFill/>
                <a:prstDash val="solid"/>
                <a:miter/>
              </a:ln>
            </p:spPr>
            <p:txBody>
              <a:bodyPr rtlCol="0" anchor="ctr"/>
              <a:lstStyle/>
              <a:p>
                <a:endParaRPr lang="en-GB"/>
              </a:p>
            </p:txBody>
          </p:sp>
        </p:grpSp>
        <p:grpSp>
          <p:nvGrpSpPr>
            <p:cNvPr id="84" name="Graphic 3">
              <a:extLst>
                <a:ext uri="{FF2B5EF4-FFF2-40B4-BE49-F238E27FC236}">
                  <a16:creationId xmlns:a16="http://schemas.microsoft.com/office/drawing/2014/main" id="{0D25E7AA-0442-493E-A512-96137FDB5D72}"/>
                </a:ext>
              </a:extLst>
            </p:cNvPr>
            <p:cNvGrpSpPr/>
            <p:nvPr/>
          </p:nvGrpSpPr>
          <p:grpSpPr>
            <a:xfrm>
              <a:off x="7685586" y="2969091"/>
              <a:ext cx="364338" cy="64150"/>
              <a:chOff x="7685586" y="2969091"/>
              <a:chExt cx="364338" cy="64150"/>
            </a:xfrm>
            <a:grpFill/>
          </p:grpSpPr>
          <p:sp>
            <p:nvSpPr>
              <p:cNvPr id="5121" name="Vrije vorm: vorm 5120">
                <a:extLst>
                  <a:ext uri="{FF2B5EF4-FFF2-40B4-BE49-F238E27FC236}">
                    <a16:creationId xmlns:a16="http://schemas.microsoft.com/office/drawing/2014/main" id="{B9287570-AC48-4EC8-AADC-F131D1EB2B85}"/>
                  </a:ext>
                </a:extLst>
              </p:cNvPr>
              <p:cNvSpPr/>
              <p:nvPr/>
            </p:nvSpPr>
            <p:spPr>
              <a:xfrm>
                <a:off x="7694099" y="2976765"/>
                <a:ext cx="347300" cy="48862"/>
              </a:xfrm>
              <a:custGeom>
                <a:avLst/>
                <a:gdLst>
                  <a:gd name="connsiteX0" fmla="*/ 346882 w 347300"/>
                  <a:gd name="connsiteY0" fmla="*/ 0 h 48862"/>
                  <a:gd name="connsiteX1" fmla="*/ 347300 w 347300"/>
                  <a:gd name="connsiteY1" fmla="*/ 3050 h 48862"/>
                  <a:gd name="connsiteX2" fmla="*/ 358 w 347300"/>
                  <a:gd name="connsiteY2" fmla="*/ 48863 h 48862"/>
                  <a:gd name="connsiteX3" fmla="*/ 0 w 347300"/>
                  <a:gd name="connsiteY3" fmla="*/ 45812 h 48862"/>
                </a:gdLst>
                <a:ahLst/>
                <a:cxnLst>
                  <a:cxn ang="0">
                    <a:pos x="connsiteX0" y="connsiteY0"/>
                  </a:cxn>
                  <a:cxn ang="0">
                    <a:pos x="connsiteX1" y="connsiteY1"/>
                  </a:cxn>
                  <a:cxn ang="0">
                    <a:pos x="connsiteX2" y="connsiteY2"/>
                  </a:cxn>
                  <a:cxn ang="0">
                    <a:pos x="connsiteX3" y="connsiteY3"/>
                  </a:cxn>
                </a:cxnLst>
                <a:rect l="l" t="t" r="r" b="b"/>
                <a:pathLst>
                  <a:path w="347300" h="48862">
                    <a:moveTo>
                      <a:pt x="346882" y="0"/>
                    </a:moveTo>
                    <a:lnTo>
                      <a:pt x="347300" y="3050"/>
                    </a:lnTo>
                    <a:lnTo>
                      <a:pt x="358" y="48863"/>
                    </a:lnTo>
                    <a:lnTo>
                      <a:pt x="0" y="45812"/>
                    </a:lnTo>
                    <a:close/>
                  </a:path>
                </a:pathLst>
              </a:custGeom>
              <a:grpFill/>
              <a:ln w="5978" cap="flat">
                <a:noFill/>
                <a:prstDash val="solid"/>
                <a:miter/>
              </a:ln>
            </p:spPr>
            <p:txBody>
              <a:bodyPr rtlCol="0" anchor="ctr"/>
              <a:lstStyle/>
              <a:p>
                <a:endParaRPr lang="en-GB"/>
              </a:p>
            </p:txBody>
          </p:sp>
          <p:sp>
            <p:nvSpPr>
              <p:cNvPr id="5122" name="Vrije vorm: vorm 5121">
                <a:extLst>
                  <a:ext uri="{FF2B5EF4-FFF2-40B4-BE49-F238E27FC236}">
                    <a16:creationId xmlns:a16="http://schemas.microsoft.com/office/drawing/2014/main" id="{731D7974-39AF-4A3C-9C3A-493190182588}"/>
                  </a:ext>
                </a:extLst>
              </p:cNvPr>
              <p:cNvSpPr/>
              <p:nvPr/>
            </p:nvSpPr>
            <p:spPr>
              <a:xfrm>
                <a:off x="7685586" y="3014783"/>
                <a:ext cx="18281" cy="18458"/>
              </a:xfrm>
              <a:custGeom>
                <a:avLst/>
                <a:gdLst>
                  <a:gd name="connsiteX0" fmla="*/ 10367 w 18281"/>
                  <a:gd name="connsiteY0" fmla="*/ 18380 h 18458"/>
                  <a:gd name="connsiteX1" fmla="*/ 80 w 18281"/>
                  <a:gd name="connsiteY1" fmla="*/ 10425 h 18458"/>
                  <a:gd name="connsiteX2" fmla="*/ 7915 w 18281"/>
                  <a:gd name="connsiteY2" fmla="*/ 79 h 18458"/>
                  <a:gd name="connsiteX3" fmla="*/ 18202 w 18281"/>
                  <a:gd name="connsiteY3" fmla="*/ 8033 h 18458"/>
                  <a:gd name="connsiteX4" fmla="*/ 10367 w 18281"/>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8">
                    <a:moveTo>
                      <a:pt x="10367" y="18380"/>
                    </a:moveTo>
                    <a:cubicBezTo>
                      <a:pt x="5343" y="19038"/>
                      <a:pt x="738" y="15509"/>
                      <a:pt x="80" y="10425"/>
                    </a:cubicBezTo>
                    <a:cubicBezTo>
                      <a:pt x="-578" y="5402"/>
                      <a:pt x="2891" y="737"/>
                      <a:pt x="7915" y="79"/>
                    </a:cubicBezTo>
                    <a:cubicBezTo>
                      <a:pt x="12939" y="-579"/>
                      <a:pt x="17544" y="2950"/>
                      <a:pt x="18202" y="8033"/>
                    </a:cubicBezTo>
                    <a:cubicBezTo>
                      <a:pt x="18860" y="13117"/>
                      <a:pt x="15391" y="17722"/>
                      <a:pt x="10367" y="18380"/>
                    </a:cubicBezTo>
                    <a:close/>
                  </a:path>
                </a:pathLst>
              </a:custGeom>
              <a:grpFill/>
              <a:ln w="5978" cap="flat">
                <a:noFill/>
                <a:prstDash val="solid"/>
                <a:miter/>
              </a:ln>
            </p:spPr>
            <p:txBody>
              <a:bodyPr rtlCol="0" anchor="ctr"/>
              <a:lstStyle/>
              <a:p>
                <a:endParaRPr lang="en-GB"/>
              </a:p>
            </p:txBody>
          </p:sp>
          <p:sp>
            <p:nvSpPr>
              <p:cNvPr id="5123" name="Vrije vorm: vorm 5122">
                <a:extLst>
                  <a:ext uri="{FF2B5EF4-FFF2-40B4-BE49-F238E27FC236}">
                    <a16:creationId xmlns:a16="http://schemas.microsoft.com/office/drawing/2014/main" id="{FC7DBBD4-D90D-4E83-B4F9-13123326B9C4}"/>
                  </a:ext>
                </a:extLst>
              </p:cNvPr>
              <p:cNvSpPr/>
              <p:nvPr/>
            </p:nvSpPr>
            <p:spPr>
              <a:xfrm>
                <a:off x="8031619" y="2969091"/>
                <a:ext cx="18305" cy="18457"/>
              </a:xfrm>
              <a:custGeom>
                <a:avLst/>
                <a:gdLst>
                  <a:gd name="connsiteX0" fmla="*/ 10378 w 18305"/>
                  <a:gd name="connsiteY0" fmla="*/ 18379 h 18457"/>
                  <a:gd name="connsiteX1" fmla="*/ 18213 w 18305"/>
                  <a:gd name="connsiteY1" fmla="*/ 8032 h 18457"/>
                  <a:gd name="connsiteX2" fmla="*/ 7927 w 18305"/>
                  <a:gd name="connsiteY2" fmla="*/ 78 h 18457"/>
                  <a:gd name="connsiteX3" fmla="*/ 91 w 18305"/>
                  <a:gd name="connsiteY3" fmla="*/ 10425 h 18457"/>
                  <a:gd name="connsiteX4" fmla="*/ 10378 w 18305"/>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7">
                    <a:moveTo>
                      <a:pt x="10378" y="18379"/>
                    </a:moveTo>
                    <a:cubicBezTo>
                      <a:pt x="15402" y="17721"/>
                      <a:pt x="18931" y="13116"/>
                      <a:pt x="18213" y="8032"/>
                    </a:cubicBezTo>
                    <a:cubicBezTo>
                      <a:pt x="17555" y="3008"/>
                      <a:pt x="12890" y="-580"/>
                      <a:pt x="7927" y="78"/>
                    </a:cubicBezTo>
                    <a:cubicBezTo>
                      <a:pt x="2962" y="736"/>
                      <a:pt x="-626" y="5341"/>
                      <a:pt x="91" y="10425"/>
                    </a:cubicBezTo>
                    <a:cubicBezTo>
                      <a:pt x="749" y="15508"/>
                      <a:pt x="5355" y="19037"/>
                      <a:pt x="10378" y="18379"/>
                    </a:cubicBezTo>
                    <a:close/>
                  </a:path>
                </a:pathLst>
              </a:custGeom>
              <a:grpFill/>
              <a:ln w="5978" cap="flat">
                <a:noFill/>
                <a:prstDash val="solid"/>
                <a:miter/>
              </a:ln>
            </p:spPr>
            <p:txBody>
              <a:bodyPr rtlCol="0" anchor="ctr"/>
              <a:lstStyle/>
              <a:p>
                <a:endParaRPr lang="en-GB"/>
              </a:p>
            </p:txBody>
          </p:sp>
        </p:grpSp>
        <p:grpSp>
          <p:nvGrpSpPr>
            <p:cNvPr id="85" name="Graphic 3">
              <a:extLst>
                <a:ext uri="{FF2B5EF4-FFF2-40B4-BE49-F238E27FC236}">
                  <a16:creationId xmlns:a16="http://schemas.microsoft.com/office/drawing/2014/main" id="{30AF9886-F998-48A1-BD14-C66323326C99}"/>
                </a:ext>
              </a:extLst>
            </p:cNvPr>
            <p:cNvGrpSpPr/>
            <p:nvPr/>
          </p:nvGrpSpPr>
          <p:grpSpPr>
            <a:xfrm>
              <a:off x="7796561" y="2803164"/>
              <a:ext cx="34926" cy="24242"/>
              <a:chOff x="7796561" y="2803164"/>
              <a:chExt cx="34926" cy="24242"/>
            </a:xfrm>
            <a:grpFill/>
          </p:grpSpPr>
          <p:sp>
            <p:nvSpPr>
              <p:cNvPr id="5119" name="Vrije vorm: vorm 5118">
                <a:extLst>
                  <a:ext uri="{FF2B5EF4-FFF2-40B4-BE49-F238E27FC236}">
                    <a16:creationId xmlns:a16="http://schemas.microsoft.com/office/drawing/2014/main" id="{3FEB3543-F5AA-4B68-BCD7-5DEDF0F28616}"/>
                  </a:ext>
                </a:extLst>
              </p:cNvPr>
              <p:cNvSpPr/>
              <p:nvPr/>
            </p:nvSpPr>
            <p:spPr>
              <a:xfrm>
                <a:off x="7813128" y="2803164"/>
                <a:ext cx="18359" cy="18381"/>
              </a:xfrm>
              <a:custGeom>
                <a:avLst/>
                <a:gdLst>
                  <a:gd name="connsiteX0" fmla="*/ 12248 w 18359"/>
                  <a:gd name="connsiteY0" fmla="*/ 17863 h 18381"/>
                  <a:gd name="connsiteX1" fmla="*/ 526 w 18359"/>
                  <a:gd name="connsiteY1" fmla="*/ 12241 h 18381"/>
                  <a:gd name="connsiteX2" fmla="*/ 6087 w 18359"/>
                  <a:gd name="connsiteY2" fmla="*/ 519 h 18381"/>
                  <a:gd name="connsiteX3" fmla="*/ 17810 w 18359"/>
                  <a:gd name="connsiteY3" fmla="*/ 6141 h 18381"/>
                  <a:gd name="connsiteX4" fmla="*/ 12248 w 18359"/>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81">
                    <a:moveTo>
                      <a:pt x="12248" y="17863"/>
                    </a:moveTo>
                    <a:cubicBezTo>
                      <a:pt x="7464" y="19538"/>
                      <a:pt x="2260" y="17026"/>
                      <a:pt x="526" y="12241"/>
                    </a:cubicBezTo>
                    <a:cubicBezTo>
                      <a:pt x="-1149" y="7456"/>
                      <a:pt x="1303" y="2194"/>
                      <a:pt x="6087" y="519"/>
                    </a:cubicBezTo>
                    <a:cubicBezTo>
                      <a:pt x="10872" y="-1156"/>
                      <a:pt x="16076" y="1356"/>
                      <a:pt x="17810" y="6141"/>
                    </a:cubicBezTo>
                    <a:cubicBezTo>
                      <a:pt x="19544" y="10925"/>
                      <a:pt x="17033" y="16188"/>
                      <a:pt x="12248" y="17863"/>
                    </a:cubicBezTo>
                    <a:close/>
                  </a:path>
                </a:pathLst>
              </a:custGeom>
              <a:grpFill/>
              <a:ln w="5978" cap="flat">
                <a:noFill/>
                <a:prstDash val="solid"/>
                <a:miter/>
              </a:ln>
            </p:spPr>
            <p:txBody>
              <a:bodyPr rtlCol="0" anchor="ctr"/>
              <a:lstStyle/>
              <a:p>
                <a:endParaRPr lang="en-GB"/>
              </a:p>
            </p:txBody>
          </p:sp>
          <p:sp>
            <p:nvSpPr>
              <p:cNvPr id="5120" name="Vrije vorm: vorm 5119">
                <a:extLst>
                  <a:ext uri="{FF2B5EF4-FFF2-40B4-BE49-F238E27FC236}">
                    <a16:creationId xmlns:a16="http://schemas.microsoft.com/office/drawing/2014/main" id="{CF5C6F81-0F9C-4F40-AFA0-91E89315578E}"/>
                  </a:ext>
                </a:extLst>
              </p:cNvPr>
              <p:cNvSpPr/>
              <p:nvPr/>
            </p:nvSpPr>
            <p:spPr>
              <a:xfrm>
                <a:off x="7796561" y="2809025"/>
                <a:ext cx="18335" cy="18381"/>
              </a:xfrm>
              <a:custGeom>
                <a:avLst/>
                <a:gdLst>
                  <a:gd name="connsiteX0" fmla="*/ 12248 w 18335"/>
                  <a:gd name="connsiteY0" fmla="*/ 17863 h 18381"/>
                  <a:gd name="connsiteX1" fmla="*/ 17810 w 18335"/>
                  <a:gd name="connsiteY1" fmla="*/ 6141 h 18381"/>
                  <a:gd name="connsiteX2" fmla="*/ 6088 w 18335"/>
                  <a:gd name="connsiteY2" fmla="*/ 519 h 18381"/>
                  <a:gd name="connsiteX3" fmla="*/ 526 w 18335"/>
                  <a:gd name="connsiteY3" fmla="*/ 12241 h 18381"/>
                  <a:gd name="connsiteX4" fmla="*/ 12248 w 18335"/>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81">
                    <a:moveTo>
                      <a:pt x="12248" y="17863"/>
                    </a:moveTo>
                    <a:cubicBezTo>
                      <a:pt x="17033" y="16188"/>
                      <a:pt x="19485" y="10925"/>
                      <a:pt x="17810" y="6141"/>
                    </a:cubicBezTo>
                    <a:cubicBezTo>
                      <a:pt x="16135" y="1356"/>
                      <a:pt x="10872" y="-1156"/>
                      <a:pt x="6088" y="519"/>
                    </a:cubicBezTo>
                    <a:cubicBezTo>
                      <a:pt x="1303" y="2193"/>
                      <a:pt x="-1149" y="7456"/>
                      <a:pt x="526" y="12241"/>
                    </a:cubicBezTo>
                    <a:cubicBezTo>
                      <a:pt x="2260" y="17026"/>
                      <a:pt x="7464" y="19537"/>
                      <a:pt x="12248" y="17863"/>
                    </a:cubicBezTo>
                    <a:close/>
                  </a:path>
                </a:pathLst>
              </a:custGeom>
              <a:grpFill/>
              <a:ln w="5978" cap="flat">
                <a:noFill/>
                <a:prstDash val="solid"/>
                <a:miter/>
              </a:ln>
            </p:spPr>
            <p:txBody>
              <a:bodyPr rtlCol="0" anchor="ctr"/>
              <a:lstStyle/>
              <a:p>
                <a:endParaRPr lang="en-GB"/>
              </a:p>
            </p:txBody>
          </p:sp>
        </p:grpSp>
        <p:grpSp>
          <p:nvGrpSpPr>
            <p:cNvPr id="86" name="Graphic 3">
              <a:extLst>
                <a:ext uri="{FF2B5EF4-FFF2-40B4-BE49-F238E27FC236}">
                  <a16:creationId xmlns:a16="http://schemas.microsoft.com/office/drawing/2014/main" id="{6892AAB9-3D58-4C56-B4A0-74D4B7820073}"/>
                </a:ext>
              </a:extLst>
            </p:cNvPr>
            <p:cNvGrpSpPr/>
            <p:nvPr/>
          </p:nvGrpSpPr>
          <p:grpSpPr>
            <a:xfrm>
              <a:off x="7168543" y="1562563"/>
              <a:ext cx="627079" cy="622496"/>
              <a:chOff x="7168543" y="1562563"/>
              <a:chExt cx="627079" cy="622496"/>
            </a:xfrm>
            <a:grpFill/>
          </p:grpSpPr>
          <p:sp>
            <p:nvSpPr>
              <p:cNvPr id="5116" name="Vrije vorm: vorm 5115">
                <a:extLst>
                  <a:ext uri="{FF2B5EF4-FFF2-40B4-BE49-F238E27FC236}">
                    <a16:creationId xmlns:a16="http://schemas.microsoft.com/office/drawing/2014/main" id="{011A51DA-CC80-4CD9-939D-417A942738FA}"/>
                  </a:ext>
                </a:extLst>
              </p:cNvPr>
              <p:cNvSpPr/>
              <p:nvPr/>
            </p:nvSpPr>
            <p:spPr>
              <a:xfrm>
                <a:off x="7176347" y="1570338"/>
                <a:ext cx="611528" cy="606923"/>
              </a:xfrm>
              <a:custGeom>
                <a:avLst/>
                <a:gdLst>
                  <a:gd name="connsiteX0" fmla="*/ 611529 w 611528"/>
                  <a:gd name="connsiteY0" fmla="*/ 2213 h 606923"/>
                  <a:gd name="connsiteX1" fmla="*/ 2153 w 611528"/>
                  <a:gd name="connsiteY1" fmla="*/ 606924 h 606923"/>
                  <a:gd name="connsiteX2" fmla="*/ 0 w 611528"/>
                  <a:gd name="connsiteY2" fmla="*/ 604711 h 606923"/>
                  <a:gd name="connsiteX3" fmla="*/ 609376 w 611528"/>
                  <a:gd name="connsiteY3" fmla="*/ 0 h 606923"/>
                </a:gdLst>
                <a:ahLst/>
                <a:cxnLst>
                  <a:cxn ang="0">
                    <a:pos x="connsiteX0" y="connsiteY0"/>
                  </a:cxn>
                  <a:cxn ang="0">
                    <a:pos x="connsiteX1" y="connsiteY1"/>
                  </a:cxn>
                  <a:cxn ang="0">
                    <a:pos x="connsiteX2" y="connsiteY2"/>
                  </a:cxn>
                  <a:cxn ang="0">
                    <a:pos x="connsiteX3" y="connsiteY3"/>
                  </a:cxn>
                </a:cxnLst>
                <a:rect l="l" t="t" r="r" b="b"/>
                <a:pathLst>
                  <a:path w="611528" h="606923">
                    <a:moveTo>
                      <a:pt x="611529" y="2213"/>
                    </a:moveTo>
                    <a:lnTo>
                      <a:pt x="2153" y="606924"/>
                    </a:lnTo>
                    <a:lnTo>
                      <a:pt x="0" y="604711"/>
                    </a:lnTo>
                    <a:lnTo>
                      <a:pt x="609376" y="0"/>
                    </a:lnTo>
                    <a:close/>
                  </a:path>
                </a:pathLst>
              </a:custGeom>
              <a:grpFill/>
              <a:ln w="5978" cap="flat">
                <a:noFill/>
                <a:prstDash val="solid"/>
                <a:miter/>
              </a:ln>
            </p:spPr>
            <p:txBody>
              <a:bodyPr rtlCol="0" anchor="ctr"/>
              <a:lstStyle/>
              <a:p>
                <a:endParaRPr lang="en-GB"/>
              </a:p>
            </p:txBody>
          </p:sp>
          <p:sp>
            <p:nvSpPr>
              <p:cNvPr id="5117" name="Vrije vorm: vorm 5116">
                <a:extLst>
                  <a:ext uri="{FF2B5EF4-FFF2-40B4-BE49-F238E27FC236}">
                    <a16:creationId xmlns:a16="http://schemas.microsoft.com/office/drawing/2014/main" id="{4D783253-EA74-4ABD-AD6E-913C6DD1C106}"/>
                  </a:ext>
                </a:extLst>
              </p:cNvPr>
              <p:cNvSpPr/>
              <p:nvPr/>
            </p:nvSpPr>
            <p:spPr>
              <a:xfrm>
                <a:off x="7168543" y="2166593"/>
                <a:ext cx="18338" cy="18466"/>
              </a:xfrm>
              <a:custGeom>
                <a:avLst/>
                <a:gdLst>
                  <a:gd name="connsiteX0" fmla="*/ 15640 w 18338"/>
                  <a:gd name="connsiteY0" fmla="*/ 15812 h 18466"/>
                  <a:gd name="connsiteX1" fmla="*/ 2661 w 18338"/>
                  <a:gd name="connsiteY1" fmla="*/ 15692 h 18466"/>
                  <a:gd name="connsiteX2" fmla="*/ 2721 w 18338"/>
                  <a:gd name="connsiteY2" fmla="*/ 2654 h 18466"/>
                  <a:gd name="connsiteX3" fmla="*/ 15700 w 18338"/>
                  <a:gd name="connsiteY3" fmla="*/ 2774 h 18466"/>
                  <a:gd name="connsiteX4" fmla="*/ 15640 w 18338"/>
                  <a:gd name="connsiteY4" fmla="*/ 15812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6">
                    <a:moveTo>
                      <a:pt x="15640" y="15812"/>
                    </a:moveTo>
                    <a:cubicBezTo>
                      <a:pt x="12052" y="19400"/>
                      <a:pt x="6250" y="19341"/>
                      <a:pt x="2661" y="15692"/>
                    </a:cubicBezTo>
                    <a:cubicBezTo>
                      <a:pt x="-927" y="12044"/>
                      <a:pt x="-867" y="6243"/>
                      <a:pt x="2721" y="2654"/>
                    </a:cubicBezTo>
                    <a:cubicBezTo>
                      <a:pt x="6310" y="-934"/>
                      <a:pt x="12111" y="-874"/>
                      <a:pt x="15700" y="2774"/>
                    </a:cubicBezTo>
                    <a:cubicBezTo>
                      <a:pt x="19228" y="6422"/>
                      <a:pt x="19228" y="12283"/>
                      <a:pt x="15640" y="15812"/>
                    </a:cubicBezTo>
                    <a:close/>
                  </a:path>
                </a:pathLst>
              </a:custGeom>
              <a:grpFill/>
              <a:ln w="5978" cap="flat">
                <a:noFill/>
                <a:prstDash val="solid"/>
                <a:miter/>
              </a:ln>
            </p:spPr>
            <p:txBody>
              <a:bodyPr rtlCol="0" anchor="ctr"/>
              <a:lstStyle/>
              <a:p>
                <a:endParaRPr lang="en-GB"/>
              </a:p>
            </p:txBody>
          </p:sp>
          <p:sp>
            <p:nvSpPr>
              <p:cNvPr id="5118" name="Vrije vorm: vorm 5117">
                <a:extLst>
                  <a:ext uri="{FF2B5EF4-FFF2-40B4-BE49-F238E27FC236}">
                    <a16:creationId xmlns:a16="http://schemas.microsoft.com/office/drawing/2014/main" id="{489AFAC9-C1E0-4518-B76E-263450A037AF}"/>
                  </a:ext>
                </a:extLst>
              </p:cNvPr>
              <p:cNvSpPr/>
              <p:nvPr/>
            </p:nvSpPr>
            <p:spPr>
              <a:xfrm>
                <a:off x="7777261" y="1562563"/>
                <a:ext cx="18361" cy="18398"/>
              </a:xfrm>
              <a:custGeom>
                <a:avLst/>
                <a:gdLst>
                  <a:gd name="connsiteX0" fmla="*/ 15640 w 18361"/>
                  <a:gd name="connsiteY0" fmla="*/ 15789 h 18398"/>
                  <a:gd name="connsiteX1" fmla="*/ 15700 w 18361"/>
                  <a:gd name="connsiteY1" fmla="*/ 2751 h 18398"/>
                  <a:gd name="connsiteX2" fmla="*/ 2721 w 18361"/>
                  <a:gd name="connsiteY2" fmla="*/ 2632 h 18398"/>
                  <a:gd name="connsiteX3" fmla="*/ 2661 w 18361"/>
                  <a:gd name="connsiteY3" fmla="*/ 15670 h 18398"/>
                  <a:gd name="connsiteX4" fmla="*/ 15640 w 18361"/>
                  <a:gd name="connsiteY4" fmla="*/ 1578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398">
                    <a:moveTo>
                      <a:pt x="15640" y="15789"/>
                    </a:moveTo>
                    <a:cubicBezTo>
                      <a:pt x="19228" y="12201"/>
                      <a:pt x="19288" y="6400"/>
                      <a:pt x="15700" y="2751"/>
                    </a:cubicBezTo>
                    <a:cubicBezTo>
                      <a:pt x="12111" y="-897"/>
                      <a:pt x="6310" y="-897"/>
                      <a:pt x="2721" y="2632"/>
                    </a:cubicBezTo>
                    <a:cubicBezTo>
                      <a:pt x="-867" y="6220"/>
                      <a:pt x="-927" y="12021"/>
                      <a:pt x="2661" y="15670"/>
                    </a:cubicBezTo>
                    <a:cubicBezTo>
                      <a:pt x="6250" y="19258"/>
                      <a:pt x="12051" y="19318"/>
                      <a:pt x="15640" y="15789"/>
                    </a:cubicBezTo>
                    <a:close/>
                  </a:path>
                </a:pathLst>
              </a:custGeom>
              <a:grpFill/>
              <a:ln w="5978" cap="flat">
                <a:noFill/>
                <a:prstDash val="solid"/>
                <a:miter/>
              </a:ln>
            </p:spPr>
            <p:txBody>
              <a:bodyPr rtlCol="0" anchor="ctr"/>
              <a:lstStyle/>
              <a:p>
                <a:endParaRPr lang="en-GB"/>
              </a:p>
            </p:txBody>
          </p:sp>
        </p:grpSp>
        <p:grpSp>
          <p:nvGrpSpPr>
            <p:cNvPr id="87" name="Graphic 3">
              <a:extLst>
                <a:ext uri="{FF2B5EF4-FFF2-40B4-BE49-F238E27FC236}">
                  <a16:creationId xmlns:a16="http://schemas.microsoft.com/office/drawing/2014/main" id="{9C296D9E-CC52-4E76-A2F6-B30FA263E0B2}"/>
                </a:ext>
              </a:extLst>
            </p:cNvPr>
            <p:cNvGrpSpPr/>
            <p:nvPr/>
          </p:nvGrpSpPr>
          <p:grpSpPr>
            <a:xfrm>
              <a:off x="7474939" y="2329039"/>
              <a:ext cx="403990" cy="212583"/>
              <a:chOff x="7474939" y="2329039"/>
              <a:chExt cx="403990" cy="212583"/>
            </a:xfrm>
            <a:grpFill/>
          </p:grpSpPr>
          <p:sp>
            <p:nvSpPr>
              <p:cNvPr id="5113" name="Vrije vorm: vorm 5112">
                <a:extLst>
                  <a:ext uri="{FF2B5EF4-FFF2-40B4-BE49-F238E27FC236}">
                    <a16:creationId xmlns:a16="http://schemas.microsoft.com/office/drawing/2014/main" id="{A6A2CFD2-8027-408C-A5D5-48324E86FF4D}"/>
                  </a:ext>
                </a:extLst>
              </p:cNvPr>
              <p:cNvSpPr/>
              <p:nvPr/>
            </p:nvSpPr>
            <p:spPr>
              <a:xfrm>
                <a:off x="7482843" y="2336828"/>
                <a:ext cx="387756" cy="197214"/>
              </a:xfrm>
              <a:custGeom>
                <a:avLst/>
                <a:gdLst>
                  <a:gd name="connsiteX0" fmla="*/ 0 w 387756"/>
                  <a:gd name="connsiteY0" fmla="*/ 194491 h 197214"/>
                  <a:gd name="connsiteX1" fmla="*/ 386385 w 387756"/>
                  <a:gd name="connsiteY1" fmla="*/ 0 h 197214"/>
                  <a:gd name="connsiteX2" fmla="*/ 387757 w 387756"/>
                  <a:gd name="connsiteY2" fmla="*/ 2725 h 197214"/>
                  <a:gd name="connsiteX3" fmla="*/ 1371 w 387756"/>
                  <a:gd name="connsiteY3" fmla="*/ 197215 h 197214"/>
                </a:gdLst>
                <a:ahLst/>
                <a:cxnLst>
                  <a:cxn ang="0">
                    <a:pos x="connsiteX0" y="connsiteY0"/>
                  </a:cxn>
                  <a:cxn ang="0">
                    <a:pos x="connsiteX1" y="connsiteY1"/>
                  </a:cxn>
                  <a:cxn ang="0">
                    <a:pos x="connsiteX2" y="connsiteY2"/>
                  </a:cxn>
                  <a:cxn ang="0">
                    <a:pos x="connsiteX3" y="connsiteY3"/>
                  </a:cxn>
                </a:cxnLst>
                <a:rect l="l" t="t" r="r" b="b"/>
                <a:pathLst>
                  <a:path w="387756" h="197214">
                    <a:moveTo>
                      <a:pt x="0" y="194491"/>
                    </a:moveTo>
                    <a:lnTo>
                      <a:pt x="386385" y="0"/>
                    </a:lnTo>
                    <a:lnTo>
                      <a:pt x="387757" y="2725"/>
                    </a:lnTo>
                    <a:lnTo>
                      <a:pt x="1371" y="197215"/>
                    </a:lnTo>
                    <a:close/>
                  </a:path>
                </a:pathLst>
              </a:custGeom>
              <a:grpFill/>
              <a:ln w="5978" cap="flat">
                <a:noFill/>
                <a:prstDash val="solid"/>
                <a:miter/>
              </a:ln>
            </p:spPr>
            <p:txBody>
              <a:bodyPr rtlCol="0" anchor="ctr"/>
              <a:lstStyle/>
              <a:p>
                <a:endParaRPr lang="en-GB"/>
              </a:p>
            </p:txBody>
          </p:sp>
          <p:sp>
            <p:nvSpPr>
              <p:cNvPr id="5114" name="Vrije vorm: vorm 5113">
                <a:extLst>
                  <a:ext uri="{FF2B5EF4-FFF2-40B4-BE49-F238E27FC236}">
                    <a16:creationId xmlns:a16="http://schemas.microsoft.com/office/drawing/2014/main" id="{74D1D5B3-6966-4038-A10E-C194BE1DAEE5}"/>
                  </a:ext>
                </a:extLst>
              </p:cNvPr>
              <p:cNvSpPr/>
              <p:nvPr/>
            </p:nvSpPr>
            <p:spPr>
              <a:xfrm>
                <a:off x="7474939" y="2523173"/>
                <a:ext cx="18353" cy="18449"/>
              </a:xfrm>
              <a:custGeom>
                <a:avLst/>
                <a:gdLst>
                  <a:gd name="connsiteX0" fmla="*/ 13303 w 18353"/>
                  <a:gd name="connsiteY0" fmla="*/ 17478 h 18449"/>
                  <a:gd name="connsiteX1" fmla="*/ 983 w 18353"/>
                  <a:gd name="connsiteY1" fmla="*/ 13351 h 18449"/>
                  <a:gd name="connsiteX2" fmla="*/ 5050 w 18353"/>
                  <a:gd name="connsiteY2" fmla="*/ 971 h 18449"/>
                  <a:gd name="connsiteX3" fmla="*/ 17371 w 18353"/>
                  <a:gd name="connsiteY3" fmla="*/ 5098 h 18449"/>
                  <a:gd name="connsiteX4" fmla="*/ 13303 w 18353"/>
                  <a:gd name="connsiteY4" fmla="*/ 1747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9">
                    <a:moveTo>
                      <a:pt x="13303" y="17478"/>
                    </a:moveTo>
                    <a:cubicBezTo>
                      <a:pt x="8758" y="19751"/>
                      <a:pt x="3256" y="17897"/>
                      <a:pt x="983" y="13351"/>
                    </a:cubicBezTo>
                    <a:cubicBezTo>
                      <a:pt x="-1289" y="8806"/>
                      <a:pt x="505" y="3244"/>
                      <a:pt x="5050" y="971"/>
                    </a:cubicBezTo>
                    <a:cubicBezTo>
                      <a:pt x="9595" y="-1302"/>
                      <a:pt x="15098" y="552"/>
                      <a:pt x="17371" y="5098"/>
                    </a:cubicBezTo>
                    <a:cubicBezTo>
                      <a:pt x="19643" y="9643"/>
                      <a:pt x="17849" y="15145"/>
                      <a:pt x="13303" y="17478"/>
                    </a:cubicBezTo>
                    <a:close/>
                  </a:path>
                </a:pathLst>
              </a:custGeom>
              <a:grpFill/>
              <a:ln w="5978" cap="flat">
                <a:noFill/>
                <a:prstDash val="solid"/>
                <a:miter/>
              </a:ln>
            </p:spPr>
            <p:txBody>
              <a:bodyPr rtlCol="0" anchor="ctr"/>
              <a:lstStyle/>
              <a:p>
                <a:endParaRPr lang="en-GB"/>
              </a:p>
            </p:txBody>
          </p:sp>
          <p:sp>
            <p:nvSpPr>
              <p:cNvPr id="5115" name="Vrije vorm: vorm 5114">
                <a:extLst>
                  <a:ext uri="{FF2B5EF4-FFF2-40B4-BE49-F238E27FC236}">
                    <a16:creationId xmlns:a16="http://schemas.microsoft.com/office/drawing/2014/main" id="{6C0F99F5-7C13-4B54-B5DF-0490E19AC2E1}"/>
                  </a:ext>
                </a:extLst>
              </p:cNvPr>
              <p:cNvSpPr/>
              <p:nvPr/>
            </p:nvSpPr>
            <p:spPr>
              <a:xfrm>
                <a:off x="7860576" y="2329039"/>
                <a:ext cx="18353" cy="18448"/>
              </a:xfrm>
              <a:custGeom>
                <a:avLst/>
                <a:gdLst>
                  <a:gd name="connsiteX0" fmla="*/ 13303 w 18353"/>
                  <a:gd name="connsiteY0" fmla="*/ 17478 h 18448"/>
                  <a:gd name="connsiteX1" fmla="*/ 17371 w 18353"/>
                  <a:gd name="connsiteY1" fmla="*/ 5098 h 18448"/>
                  <a:gd name="connsiteX2" fmla="*/ 5050 w 18353"/>
                  <a:gd name="connsiteY2" fmla="*/ 971 h 18448"/>
                  <a:gd name="connsiteX3" fmla="*/ 983 w 18353"/>
                  <a:gd name="connsiteY3" fmla="*/ 13351 h 18448"/>
                  <a:gd name="connsiteX4" fmla="*/ 13303 w 18353"/>
                  <a:gd name="connsiteY4" fmla="*/ 174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8">
                    <a:moveTo>
                      <a:pt x="13303" y="17478"/>
                    </a:moveTo>
                    <a:cubicBezTo>
                      <a:pt x="17849" y="15205"/>
                      <a:pt x="19643" y="9643"/>
                      <a:pt x="17371" y="5098"/>
                    </a:cubicBezTo>
                    <a:cubicBezTo>
                      <a:pt x="15098" y="552"/>
                      <a:pt x="9595" y="-1302"/>
                      <a:pt x="5050" y="971"/>
                    </a:cubicBezTo>
                    <a:cubicBezTo>
                      <a:pt x="505" y="3244"/>
                      <a:pt x="-1289" y="8806"/>
                      <a:pt x="983" y="13351"/>
                    </a:cubicBezTo>
                    <a:cubicBezTo>
                      <a:pt x="3256" y="17896"/>
                      <a:pt x="8758" y="19750"/>
                      <a:pt x="13303" y="17478"/>
                    </a:cubicBezTo>
                    <a:close/>
                  </a:path>
                </a:pathLst>
              </a:custGeom>
              <a:grpFill/>
              <a:ln w="5978" cap="flat">
                <a:noFill/>
                <a:prstDash val="solid"/>
                <a:miter/>
              </a:ln>
            </p:spPr>
            <p:txBody>
              <a:bodyPr rtlCol="0" anchor="ctr"/>
              <a:lstStyle/>
              <a:p>
                <a:endParaRPr lang="en-GB"/>
              </a:p>
            </p:txBody>
          </p:sp>
        </p:grpSp>
        <p:grpSp>
          <p:nvGrpSpPr>
            <p:cNvPr id="88" name="Graphic 3">
              <a:extLst>
                <a:ext uri="{FF2B5EF4-FFF2-40B4-BE49-F238E27FC236}">
                  <a16:creationId xmlns:a16="http://schemas.microsoft.com/office/drawing/2014/main" id="{10EEA944-D3CC-47C9-9A7F-75BD313A073D}"/>
                </a:ext>
              </a:extLst>
            </p:cNvPr>
            <p:cNvGrpSpPr/>
            <p:nvPr/>
          </p:nvGrpSpPr>
          <p:grpSpPr>
            <a:xfrm>
              <a:off x="7487871" y="2372940"/>
              <a:ext cx="393975" cy="197659"/>
              <a:chOff x="7487871" y="2372940"/>
              <a:chExt cx="393975" cy="197659"/>
            </a:xfrm>
            <a:grpFill/>
          </p:grpSpPr>
          <p:sp>
            <p:nvSpPr>
              <p:cNvPr id="5110" name="Vrije vorm: vorm 5109">
                <a:extLst>
                  <a:ext uri="{FF2B5EF4-FFF2-40B4-BE49-F238E27FC236}">
                    <a16:creationId xmlns:a16="http://schemas.microsoft.com/office/drawing/2014/main" id="{9BAA7744-6DD9-486E-91FE-49368BF9A7FF}"/>
                  </a:ext>
                </a:extLst>
              </p:cNvPr>
              <p:cNvSpPr/>
              <p:nvPr/>
            </p:nvSpPr>
            <p:spPr>
              <a:xfrm>
                <a:off x="7495944" y="2380352"/>
                <a:ext cx="377742" cy="182395"/>
              </a:xfrm>
              <a:custGeom>
                <a:avLst/>
                <a:gdLst>
                  <a:gd name="connsiteX0" fmla="*/ 0 w 377742"/>
                  <a:gd name="connsiteY0" fmla="*/ 179643 h 182395"/>
                  <a:gd name="connsiteX1" fmla="*/ 376429 w 377742"/>
                  <a:gd name="connsiteY1" fmla="*/ 0 h 182395"/>
                  <a:gd name="connsiteX2" fmla="*/ 377742 w 377742"/>
                  <a:gd name="connsiteY2" fmla="*/ 2753 h 182395"/>
                  <a:gd name="connsiteX3" fmla="*/ 1314 w 377742"/>
                  <a:gd name="connsiteY3" fmla="*/ 182396 h 182395"/>
                </a:gdLst>
                <a:ahLst/>
                <a:cxnLst>
                  <a:cxn ang="0">
                    <a:pos x="connsiteX0" y="connsiteY0"/>
                  </a:cxn>
                  <a:cxn ang="0">
                    <a:pos x="connsiteX1" y="connsiteY1"/>
                  </a:cxn>
                  <a:cxn ang="0">
                    <a:pos x="connsiteX2" y="connsiteY2"/>
                  </a:cxn>
                  <a:cxn ang="0">
                    <a:pos x="connsiteX3" y="connsiteY3"/>
                  </a:cxn>
                </a:cxnLst>
                <a:rect l="l" t="t" r="r" b="b"/>
                <a:pathLst>
                  <a:path w="377742" h="182395">
                    <a:moveTo>
                      <a:pt x="0" y="179643"/>
                    </a:moveTo>
                    <a:lnTo>
                      <a:pt x="376429" y="0"/>
                    </a:lnTo>
                    <a:lnTo>
                      <a:pt x="377742" y="2753"/>
                    </a:lnTo>
                    <a:lnTo>
                      <a:pt x="1314" y="182396"/>
                    </a:lnTo>
                    <a:close/>
                  </a:path>
                </a:pathLst>
              </a:custGeom>
              <a:grpFill/>
              <a:ln w="5978" cap="flat">
                <a:noFill/>
                <a:prstDash val="solid"/>
                <a:miter/>
              </a:ln>
            </p:spPr>
            <p:txBody>
              <a:bodyPr rtlCol="0" anchor="ctr"/>
              <a:lstStyle/>
              <a:p>
                <a:endParaRPr lang="en-GB"/>
              </a:p>
            </p:txBody>
          </p:sp>
          <p:sp>
            <p:nvSpPr>
              <p:cNvPr id="5111" name="Vrije vorm: vorm 5110">
                <a:extLst>
                  <a:ext uri="{FF2B5EF4-FFF2-40B4-BE49-F238E27FC236}">
                    <a16:creationId xmlns:a16="http://schemas.microsoft.com/office/drawing/2014/main" id="{AAA877E8-E908-4D25-B530-C98138686005}"/>
                  </a:ext>
                </a:extLst>
              </p:cNvPr>
              <p:cNvSpPr/>
              <p:nvPr/>
            </p:nvSpPr>
            <p:spPr>
              <a:xfrm>
                <a:off x="7487871" y="2552208"/>
                <a:ext cx="18336" cy="18390"/>
              </a:xfrm>
              <a:custGeom>
                <a:avLst/>
                <a:gdLst>
                  <a:gd name="connsiteX0" fmla="*/ 13110 w 18336"/>
                  <a:gd name="connsiteY0" fmla="*/ 17509 h 18390"/>
                  <a:gd name="connsiteX1" fmla="*/ 909 w 18336"/>
                  <a:gd name="connsiteY1" fmla="*/ 13143 h 18390"/>
                  <a:gd name="connsiteX2" fmla="*/ 5216 w 18336"/>
                  <a:gd name="connsiteY2" fmla="*/ 882 h 18390"/>
                  <a:gd name="connsiteX3" fmla="*/ 17416 w 18336"/>
                  <a:gd name="connsiteY3" fmla="*/ 5248 h 18390"/>
                  <a:gd name="connsiteX4" fmla="*/ 13110 w 18336"/>
                  <a:gd name="connsiteY4" fmla="*/ 17509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0">
                    <a:moveTo>
                      <a:pt x="13110" y="17509"/>
                    </a:moveTo>
                    <a:cubicBezTo>
                      <a:pt x="8565" y="19662"/>
                      <a:pt x="3063" y="17748"/>
                      <a:pt x="909" y="13143"/>
                    </a:cubicBezTo>
                    <a:cubicBezTo>
                      <a:pt x="-1303" y="8538"/>
                      <a:pt x="671" y="3035"/>
                      <a:pt x="5216" y="882"/>
                    </a:cubicBezTo>
                    <a:cubicBezTo>
                      <a:pt x="9762" y="-1271"/>
                      <a:pt x="15263" y="643"/>
                      <a:pt x="17416" y="5248"/>
                    </a:cubicBezTo>
                    <a:cubicBezTo>
                      <a:pt x="19629" y="9853"/>
                      <a:pt x="17716" y="15356"/>
                      <a:pt x="13110" y="17509"/>
                    </a:cubicBezTo>
                    <a:close/>
                  </a:path>
                </a:pathLst>
              </a:custGeom>
              <a:grpFill/>
              <a:ln w="5978" cap="flat">
                <a:noFill/>
                <a:prstDash val="solid"/>
                <a:miter/>
              </a:ln>
            </p:spPr>
            <p:txBody>
              <a:bodyPr rtlCol="0" anchor="ctr"/>
              <a:lstStyle/>
              <a:p>
                <a:endParaRPr lang="en-GB"/>
              </a:p>
            </p:txBody>
          </p:sp>
          <p:sp>
            <p:nvSpPr>
              <p:cNvPr id="5112" name="Vrije vorm: vorm 5111">
                <a:extLst>
                  <a:ext uri="{FF2B5EF4-FFF2-40B4-BE49-F238E27FC236}">
                    <a16:creationId xmlns:a16="http://schemas.microsoft.com/office/drawing/2014/main" id="{D49F891C-6F44-4DCD-AEAE-A09E9DB6473D}"/>
                  </a:ext>
                </a:extLst>
              </p:cNvPr>
              <p:cNvSpPr/>
              <p:nvPr/>
            </p:nvSpPr>
            <p:spPr>
              <a:xfrm>
                <a:off x="7863520" y="2372940"/>
                <a:ext cx="18326" cy="18443"/>
              </a:xfrm>
              <a:custGeom>
                <a:avLst/>
                <a:gdLst>
                  <a:gd name="connsiteX0" fmla="*/ 13111 w 18326"/>
                  <a:gd name="connsiteY0" fmla="*/ 17535 h 18443"/>
                  <a:gd name="connsiteX1" fmla="*/ 17416 w 18326"/>
                  <a:gd name="connsiteY1" fmla="*/ 5274 h 18443"/>
                  <a:gd name="connsiteX2" fmla="*/ 5216 w 18326"/>
                  <a:gd name="connsiteY2" fmla="*/ 908 h 18443"/>
                  <a:gd name="connsiteX3" fmla="*/ 910 w 18326"/>
                  <a:gd name="connsiteY3" fmla="*/ 13169 h 18443"/>
                  <a:gd name="connsiteX4" fmla="*/ 13111 w 18326"/>
                  <a:gd name="connsiteY4" fmla="*/ 1753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43">
                    <a:moveTo>
                      <a:pt x="13111" y="17535"/>
                    </a:moveTo>
                    <a:cubicBezTo>
                      <a:pt x="17656" y="15382"/>
                      <a:pt x="19629" y="9879"/>
                      <a:pt x="17416" y="5274"/>
                    </a:cubicBezTo>
                    <a:cubicBezTo>
                      <a:pt x="15204" y="669"/>
                      <a:pt x="9761" y="-1305"/>
                      <a:pt x="5216" y="908"/>
                    </a:cubicBezTo>
                    <a:cubicBezTo>
                      <a:pt x="670" y="3061"/>
                      <a:pt x="-1303" y="8564"/>
                      <a:pt x="910" y="13169"/>
                    </a:cubicBezTo>
                    <a:cubicBezTo>
                      <a:pt x="3063" y="17774"/>
                      <a:pt x="8505" y="19748"/>
                      <a:pt x="13111" y="17535"/>
                    </a:cubicBezTo>
                    <a:close/>
                  </a:path>
                </a:pathLst>
              </a:custGeom>
              <a:grpFill/>
              <a:ln w="5978" cap="flat">
                <a:noFill/>
                <a:prstDash val="solid"/>
                <a:miter/>
              </a:ln>
            </p:spPr>
            <p:txBody>
              <a:bodyPr rtlCol="0" anchor="ctr"/>
              <a:lstStyle/>
              <a:p>
                <a:endParaRPr lang="en-GB"/>
              </a:p>
            </p:txBody>
          </p:sp>
        </p:grpSp>
        <p:grpSp>
          <p:nvGrpSpPr>
            <p:cNvPr id="89" name="Graphic 3">
              <a:extLst>
                <a:ext uri="{FF2B5EF4-FFF2-40B4-BE49-F238E27FC236}">
                  <a16:creationId xmlns:a16="http://schemas.microsoft.com/office/drawing/2014/main" id="{F9EE4A3C-99B2-4CEB-89A8-69E9387B5CBE}"/>
                </a:ext>
              </a:extLst>
            </p:cNvPr>
            <p:cNvGrpSpPr/>
            <p:nvPr/>
          </p:nvGrpSpPr>
          <p:grpSpPr>
            <a:xfrm>
              <a:off x="7620529" y="2453028"/>
              <a:ext cx="121901" cy="77341"/>
              <a:chOff x="7620529" y="2453028"/>
              <a:chExt cx="121901" cy="77341"/>
            </a:xfrm>
            <a:grpFill/>
          </p:grpSpPr>
          <p:sp>
            <p:nvSpPr>
              <p:cNvPr id="5107" name="Vrije vorm: vorm 5106">
                <a:extLst>
                  <a:ext uri="{FF2B5EF4-FFF2-40B4-BE49-F238E27FC236}">
                    <a16:creationId xmlns:a16="http://schemas.microsoft.com/office/drawing/2014/main" id="{7001A80B-7E1A-430C-A4BB-B3A97BE38D5E}"/>
                  </a:ext>
                </a:extLst>
              </p:cNvPr>
              <p:cNvSpPr/>
              <p:nvPr/>
            </p:nvSpPr>
            <p:spPr>
              <a:xfrm>
                <a:off x="7628371" y="2460550"/>
                <a:ext cx="105881" cy="62048"/>
              </a:xfrm>
              <a:custGeom>
                <a:avLst/>
                <a:gdLst>
                  <a:gd name="connsiteX0" fmla="*/ 0 w 105881"/>
                  <a:gd name="connsiteY0" fmla="*/ 59398 h 62048"/>
                  <a:gd name="connsiteX1" fmla="*/ 104373 w 105881"/>
                  <a:gd name="connsiteY1" fmla="*/ 0 h 62048"/>
                  <a:gd name="connsiteX2" fmla="*/ 105881 w 105881"/>
                  <a:gd name="connsiteY2" fmla="*/ 2651 h 62048"/>
                  <a:gd name="connsiteX3" fmla="*/ 1509 w 105881"/>
                  <a:gd name="connsiteY3" fmla="*/ 62049 h 62048"/>
                </a:gdLst>
                <a:ahLst/>
                <a:cxnLst>
                  <a:cxn ang="0">
                    <a:pos x="connsiteX0" y="connsiteY0"/>
                  </a:cxn>
                  <a:cxn ang="0">
                    <a:pos x="connsiteX1" y="connsiteY1"/>
                  </a:cxn>
                  <a:cxn ang="0">
                    <a:pos x="connsiteX2" y="connsiteY2"/>
                  </a:cxn>
                  <a:cxn ang="0">
                    <a:pos x="connsiteX3" y="connsiteY3"/>
                  </a:cxn>
                </a:cxnLst>
                <a:rect l="l" t="t" r="r" b="b"/>
                <a:pathLst>
                  <a:path w="105881" h="62048">
                    <a:moveTo>
                      <a:pt x="0" y="59398"/>
                    </a:moveTo>
                    <a:lnTo>
                      <a:pt x="104373" y="0"/>
                    </a:lnTo>
                    <a:lnTo>
                      <a:pt x="105881" y="2651"/>
                    </a:lnTo>
                    <a:lnTo>
                      <a:pt x="1509" y="62049"/>
                    </a:lnTo>
                    <a:close/>
                  </a:path>
                </a:pathLst>
              </a:custGeom>
              <a:grpFill/>
              <a:ln w="5978" cap="flat">
                <a:noFill/>
                <a:prstDash val="solid"/>
                <a:miter/>
              </a:ln>
            </p:spPr>
            <p:txBody>
              <a:bodyPr rtlCol="0" anchor="ctr"/>
              <a:lstStyle/>
              <a:p>
                <a:endParaRPr lang="en-GB"/>
              </a:p>
            </p:txBody>
          </p:sp>
          <p:sp>
            <p:nvSpPr>
              <p:cNvPr id="5108" name="Vrije vorm: vorm 5107">
                <a:extLst>
                  <a:ext uri="{FF2B5EF4-FFF2-40B4-BE49-F238E27FC236}">
                    <a16:creationId xmlns:a16="http://schemas.microsoft.com/office/drawing/2014/main" id="{096D0B9F-E487-4091-A2C2-8CB5213DBB51}"/>
                  </a:ext>
                </a:extLst>
              </p:cNvPr>
              <p:cNvSpPr/>
              <p:nvPr/>
            </p:nvSpPr>
            <p:spPr>
              <a:xfrm>
                <a:off x="7724102" y="2453028"/>
                <a:ext cx="18328" cy="18431"/>
              </a:xfrm>
              <a:custGeom>
                <a:avLst/>
                <a:gdLst>
                  <a:gd name="connsiteX0" fmla="*/ 4625 w 18328"/>
                  <a:gd name="connsiteY0" fmla="*/ 1201 h 18431"/>
                  <a:gd name="connsiteX1" fmla="*/ 17126 w 18328"/>
                  <a:gd name="connsiteY1" fmla="*/ 4670 h 18431"/>
                  <a:gd name="connsiteX2" fmla="*/ 13716 w 18328"/>
                  <a:gd name="connsiteY2" fmla="*/ 17230 h 18431"/>
                  <a:gd name="connsiteX3" fmla="*/ 1217 w 18328"/>
                  <a:gd name="connsiteY3" fmla="*/ 13761 h 18431"/>
                  <a:gd name="connsiteX4" fmla="*/ 4625 w 18328"/>
                  <a:gd name="connsiteY4" fmla="*/ 120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25" y="1201"/>
                    </a:moveTo>
                    <a:cubicBezTo>
                      <a:pt x="9052" y="-1310"/>
                      <a:pt x="14613" y="244"/>
                      <a:pt x="17126" y="4670"/>
                    </a:cubicBezTo>
                    <a:cubicBezTo>
                      <a:pt x="19637" y="9096"/>
                      <a:pt x="18082" y="14718"/>
                      <a:pt x="13716" y="17230"/>
                    </a:cubicBezTo>
                    <a:cubicBezTo>
                      <a:pt x="9350" y="19742"/>
                      <a:pt x="3729" y="18187"/>
                      <a:pt x="1217" y="13761"/>
                    </a:cubicBezTo>
                    <a:cubicBezTo>
                      <a:pt x="-1296" y="9275"/>
                      <a:pt x="200" y="3654"/>
                      <a:pt x="4625" y="1201"/>
                    </a:cubicBezTo>
                    <a:close/>
                  </a:path>
                </a:pathLst>
              </a:custGeom>
              <a:grpFill/>
              <a:ln w="5978" cap="flat">
                <a:noFill/>
                <a:prstDash val="solid"/>
                <a:miter/>
              </a:ln>
            </p:spPr>
            <p:txBody>
              <a:bodyPr rtlCol="0" anchor="ctr"/>
              <a:lstStyle/>
              <a:p>
                <a:endParaRPr lang="en-GB"/>
              </a:p>
            </p:txBody>
          </p:sp>
          <p:sp>
            <p:nvSpPr>
              <p:cNvPr id="5109" name="Vrije vorm: vorm 5108">
                <a:extLst>
                  <a:ext uri="{FF2B5EF4-FFF2-40B4-BE49-F238E27FC236}">
                    <a16:creationId xmlns:a16="http://schemas.microsoft.com/office/drawing/2014/main" id="{DA64B142-F5D7-421F-A981-265A19B5A44C}"/>
                  </a:ext>
                </a:extLst>
              </p:cNvPr>
              <p:cNvSpPr/>
              <p:nvPr/>
            </p:nvSpPr>
            <p:spPr>
              <a:xfrm>
                <a:off x="7620529" y="2511938"/>
                <a:ext cx="18328" cy="18431"/>
              </a:xfrm>
              <a:custGeom>
                <a:avLst/>
                <a:gdLst>
                  <a:gd name="connsiteX0" fmla="*/ 4612 w 18328"/>
                  <a:gd name="connsiteY0" fmla="*/ 1201 h 18431"/>
                  <a:gd name="connsiteX1" fmla="*/ 1204 w 18328"/>
                  <a:gd name="connsiteY1" fmla="*/ 13761 h 18431"/>
                  <a:gd name="connsiteX2" fmla="*/ 13703 w 18328"/>
                  <a:gd name="connsiteY2" fmla="*/ 17230 h 18431"/>
                  <a:gd name="connsiteX3" fmla="*/ 17112 w 18328"/>
                  <a:gd name="connsiteY3" fmla="*/ 4670 h 18431"/>
                  <a:gd name="connsiteX4" fmla="*/ 4612 w 18328"/>
                  <a:gd name="connsiteY4" fmla="*/ 120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12" y="1201"/>
                    </a:moveTo>
                    <a:cubicBezTo>
                      <a:pt x="247" y="3713"/>
                      <a:pt x="-1308" y="9335"/>
                      <a:pt x="1204" y="13761"/>
                    </a:cubicBezTo>
                    <a:cubicBezTo>
                      <a:pt x="3715" y="18187"/>
                      <a:pt x="9278" y="19742"/>
                      <a:pt x="13703" y="17230"/>
                    </a:cubicBezTo>
                    <a:cubicBezTo>
                      <a:pt x="18129" y="14718"/>
                      <a:pt x="19624" y="9096"/>
                      <a:pt x="17112" y="4670"/>
                    </a:cubicBezTo>
                    <a:cubicBezTo>
                      <a:pt x="14600" y="244"/>
                      <a:pt x="8978" y="-1310"/>
                      <a:pt x="4612" y="1201"/>
                    </a:cubicBezTo>
                    <a:close/>
                  </a:path>
                </a:pathLst>
              </a:custGeom>
              <a:grpFill/>
              <a:ln w="5978" cap="flat">
                <a:noFill/>
                <a:prstDash val="solid"/>
                <a:miter/>
              </a:ln>
            </p:spPr>
            <p:txBody>
              <a:bodyPr rtlCol="0" anchor="ctr"/>
              <a:lstStyle/>
              <a:p>
                <a:endParaRPr lang="en-GB"/>
              </a:p>
            </p:txBody>
          </p:sp>
        </p:grpSp>
        <p:grpSp>
          <p:nvGrpSpPr>
            <p:cNvPr id="90" name="Graphic 3">
              <a:extLst>
                <a:ext uri="{FF2B5EF4-FFF2-40B4-BE49-F238E27FC236}">
                  <a16:creationId xmlns:a16="http://schemas.microsoft.com/office/drawing/2014/main" id="{9CB62B85-A7A4-4624-B5EA-AA32EFC0CEC5}"/>
                </a:ext>
              </a:extLst>
            </p:cNvPr>
            <p:cNvGrpSpPr/>
            <p:nvPr/>
          </p:nvGrpSpPr>
          <p:grpSpPr>
            <a:xfrm>
              <a:off x="7643841" y="2516302"/>
              <a:ext cx="133888" cy="78552"/>
              <a:chOff x="7643841" y="2516302"/>
              <a:chExt cx="133888" cy="78552"/>
            </a:xfrm>
            <a:grpFill/>
          </p:grpSpPr>
          <p:sp>
            <p:nvSpPr>
              <p:cNvPr id="5104" name="Vrije vorm: vorm 5103">
                <a:extLst>
                  <a:ext uri="{FF2B5EF4-FFF2-40B4-BE49-F238E27FC236}">
                    <a16:creationId xmlns:a16="http://schemas.microsoft.com/office/drawing/2014/main" id="{6E6EFA1F-DEE2-450A-95BA-BFF042C92358}"/>
                  </a:ext>
                </a:extLst>
              </p:cNvPr>
              <p:cNvSpPr/>
              <p:nvPr/>
            </p:nvSpPr>
            <p:spPr>
              <a:xfrm>
                <a:off x="7651935" y="2523904"/>
                <a:ext cx="117700" cy="63276"/>
              </a:xfrm>
              <a:custGeom>
                <a:avLst/>
                <a:gdLst>
                  <a:gd name="connsiteX0" fmla="*/ 117701 w 117700"/>
                  <a:gd name="connsiteY0" fmla="*/ 2751 h 63276"/>
                  <a:gd name="connsiteX1" fmla="*/ 1375 w 117700"/>
                  <a:gd name="connsiteY1" fmla="*/ 63276 h 63276"/>
                  <a:gd name="connsiteX2" fmla="*/ 0 w 117700"/>
                  <a:gd name="connsiteY2" fmla="*/ 60585 h 63276"/>
                  <a:gd name="connsiteX3" fmla="*/ 116325 w 117700"/>
                  <a:gd name="connsiteY3" fmla="*/ 0 h 63276"/>
                </a:gdLst>
                <a:ahLst/>
                <a:cxnLst>
                  <a:cxn ang="0">
                    <a:pos x="connsiteX0" y="connsiteY0"/>
                  </a:cxn>
                  <a:cxn ang="0">
                    <a:pos x="connsiteX1" y="connsiteY1"/>
                  </a:cxn>
                  <a:cxn ang="0">
                    <a:pos x="connsiteX2" y="connsiteY2"/>
                  </a:cxn>
                  <a:cxn ang="0">
                    <a:pos x="connsiteX3" y="connsiteY3"/>
                  </a:cxn>
                </a:cxnLst>
                <a:rect l="l" t="t" r="r" b="b"/>
                <a:pathLst>
                  <a:path w="117700" h="63276">
                    <a:moveTo>
                      <a:pt x="117701" y="2751"/>
                    </a:moveTo>
                    <a:lnTo>
                      <a:pt x="1375" y="63276"/>
                    </a:lnTo>
                    <a:lnTo>
                      <a:pt x="0" y="60585"/>
                    </a:lnTo>
                    <a:lnTo>
                      <a:pt x="116325" y="0"/>
                    </a:lnTo>
                    <a:close/>
                  </a:path>
                </a:pathLst>
              </a:custGeom>
              <a:grpFill/>
              <a:ln w="5978" cap="flat">
                <a:noFill/>
                <a:prstDash val="solid"/>
                <a:miter/>
              </a:ln>
            </p:spPr>
            <p:txBody>
              <a:bodyPr rtlCol="0" anchor="ctr"/>
              <a:lstStyle/>
              <a:p>
                <a:endParaRPr lang="en-GB"/>
              </a:p>
            </p:txBody>
          </p:sp>
          <p:sp>
            <p:nvSpPr>
              <p:cNvPr id="5105" name="Vrije vorm: vorm 5104">
                <a:extLst>
                  <a:ext uri="{FF2B5EF4-FFF2-40B4-BE49-F238E27FC236}">
                    <a16:creationId xmlns:a16="http://schemas.microsoft.com/office/drawing/2014/main" id="{4E36AA0F-DD1C-4CB8-855B-49AE0E0B5C99}"/>
                  </a:ext>
                </a:extLst>
              </p:cNvPr>
              <p:cNvSpPr/>
              <p:nvPr/>
            </p:nvSpPr>
            <p:spPr>
              <a:xfrm>
                <a:off x="7759388" y="2516302"/>
                <a:ext cx="18340" cy="18434"/>
              </a:xfrm>
              <a:custGeom>
                <a:avLst/>
                <a:gdLst>
                  <a:gd name="connsiteX0" fmla="*/ 4924 w 18340"/>
                  <a:gd name="connsiteY0" fmla="*/ 1024 h 18434"/>
                  <a:gd name="connsiteX1" fmla="*/ 17304 w 18340"/>
                  <a:gd name="connsiteY1" fmla="*/ 4971 h 18434"/>
                  <a:gd name="connsiteX2" fmla="*/ 13417 w 18340"/>
                  <a:gd name="connsiteY2" fmla="*/ 17411 h 18434"/>
                  <a:gd name="connsiteX3" fmla="*/ 1037 w 18340"/>
                  <a:gd name="connsiteY3" fmla="*/ 13464 h 18434"/>
                  <a:gd name="connsiteX4" fmla="*/ 4924 w 18340"/>
                  <a:gd name="connsiteY4" fmla="*/ 102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34">
                    <a:moveTo>
                      <a:pt x="4924" y="1024"/>
                    </a:moveTo>
                    <a:cubicBezTo>
                      <a:pt x="9410" y="-1309"/>
                      <a:pt x="14972" y="486"/>
                      <a:pt x="17304" y="4971"/>
                    </a:cubicBezTo>
                    <a:cubicBezTo>
                      <a:pt x="19637" y="9516"/>
                      <a:pt x="17902" y="15078"/>
                      <a:pt x="13417" y="17411"/>
                    </a:cubicBezTo>
                    <a:cubicBezTo>
                      <a:pt x="8931" y="19744"/>
                      <a:pt x="3369" y="17949"/>
                      <a:pt x="1037" y="13464"/>
                    </a:cubicBezTo>
                    <a:cubicBezTo>
                      <a:pt x="-1296" y="8918"/>
                      <a:pt x="439" y="3356"/>
                      <a:pt x="4924" y="1024"/>
                    </a:cubicBezTo>
                    <a:close/>
                  </a:path>
                </a:pathLst>
              </a:custGeom>
              <a:grpFill/>
              <a:ln w="5978" cap="flat">
                <a:noFill/>
                <a:prstDash val="solid"/>
                <a:miter/>
              </a:ln>
            </p:spPr>
            <p:txBody>
              <a:bodyPr rtlCol="0" anchor="ctr"/>
              <a:lstStyle/>
              <a:p>
                <a:endParaRPr lang="en-GB"/>
              </a:p>
            </p:txBody>
          </p:sp>
          <p:sp>
            <p:nvSpPr>
              <p:cNvPr id="5106" name="Vrije vorm: vorm 5105">
                <a:extLst>
                  <a:ext uri="{FF2B5EF4-FFF2-40B4-BE49-F238E27FC236}">
                    <a16:creationId xmlns:a16="http://schemas.microsoft.com/office/drawing/2014/main" id="{4A6B6681-1E41-4748-B2B0-B0F432DE97DB}"/>
                  </a:ext>
                </a:extLst>
              </p:cNvPr>
              <p:cNvSpPr/>
              <p:nvPr/>
            </p:nvSpPr>
            <p:spPr>
              <a:xfrm>
                <a:off x="7643841" y="2576408"/>
                <a:ext cx="18341" cy="18446"/>
              </a:xfrm>
              <a:custGeom>
                <a:avLst/>
                <a:gdLst>
                  <a:gd name="connsiteX0" fmla="*/ 4924 w 18341"/>
                  <a:gd name="connsiteY0" fmla="*/ 1024 h 18446"/>
                  <a:gd name="connsiteX1" fmla="*/ 1037 w 18341"/>
                  <a:gd name="connsiteY1" fmla="*/ 13464 h 18446"/>
                  <a:gd name="connsiteX2" fmla="*/ 13417 w 18341"/>
                  <a:gd name="connsiteY2" fmla="*/ 17411 h 18446"/>
                  <a:gd name="connsiteX3" fmla="*/ 17304 w 18341"/>
                  <a:gd name="connsiteY3" fmla="*/ 4971 h 18446"/>
                  <a:gd name="connsiteX4" fmla="*/ 4924 w 18341"/>
                  <a:gd name="connsiteY4" fmla="*/ 1024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46">
                    <a:moveTo>
                      <a:pt x="4924" y="1024"/>
                    </a:moveTo>
                    <a:cubicBezTo>
                      <a:pt x="438" y="3356"/>
                      <a:pt x="-1296" y="8918"/>
                      <a:pt x="1037" y="13464"/>
                    </a:cubicBezTo>
                    <a:cubicBezTo>
                      <a:pt x="3369" y="18009"/>
                      <a:pt x="8931" y="19743"/>
                      <a:pt x="13417" y="17411"/>
                    </a:cubicBezTo>
                    <a:cubicBezTo>
                      <a:pt x="17902" y="15079"/>
                      <a:pt x="19637" y="9516"/>
                      <a:pt x="17304" y="4971"/>
                    </a:cubicBezTo>
                    <a:cubicBezTo>
                      <a:pt x="14972" y="486"/>
                      <a:pt x="9409" y="-1309"/>
                      <a:pt x="4924" y="1024"/>
                    </a:cubicBezTo>
                    <a:close/>
                  </a:path>
                </a:pathLst>
              </a:custGeom>
              <a:grpFill/>
              <a:ln w="5978" cap="flat">
                <a:noFill/>
                <a:prstDash val="solid"/>
                <a:miter/>
              </a:ln>
            </p:spPr>
            <p:txBody>
              <a:bodyPr rtlCol="0" anchor="ctr"/>
              <a:lstStyle/>
              <a:p>
                <a:endParaRPr lang="en-GB"/>
              </a:p>
            </p:txBody>
          </p:sp>
        </p:grpSp>
        <p:grpSp>
          <p:nvGrpSpPr>
            <p:cNvPr id="91" name="Graphic 3">
              <a:extLst>
                <a:ext uri="{FF2B5EF4-FFF2-40B4-BE49-F238E27FC236}">
                  <a16:creationId xmlns:a16="http://schemas.microsoft.com/office/drawing/2014/main" id="{C84745EC-4C51-410A-BE0C-FD6AED91EAAC}"/>
                </a:ext>
              </a:extLst>
            </p:cNvPr>
            <p:cNvGrpSpPr/>
            <p:nvPr/>
          </p:nvGrpSpPr>
          <p:grpSpPr>
            <a:xfrm>
              <a:off x="7534785" y="2502156"/>
              <a:ext cx="351162" cy="150492"/>
              <a:chOff x="7534785" y="2502156"/>
              <a:chExt cx="351162" cy="150492"/>
            </a:xfrm>
            <a:grpFill/>
          </p:grpSpPr>
          <p:sp>
            <p:nvSpPr>
              <p:cNvPr id="5101" name="Vrije vorm: vorm 5100">
                <a:extLst>
                  <a:ext uri="{FF2B5EF4-FFF2-40B4-BE49-F238E27FC236}">
                    <a16:creationId xmlns:a16="http://schemas.microsoft.com/office/drawing/2014/main" id="{FC30FCD2-75D8-438A-8CF6-BA5D0BD4C4F5}"/>
                  </a:ext>
                </a:extLst>
              </p:cNvPr>
              <p:cNvSpPr/>
              <p:nvPr/>
            </p:nvSpPr>
            <p:spPr>
              <a:xfrm>
                <a:off x="7542966" y="2509790"/>
                <a:ext cx="334800" cy="135224"/>
              </a:xfrm>
              <a:custGeom>
                <a:avLst/>
                <a:gdLst>
                  <a:gd name="connsiteX0" fmla="*/ 334801 w 334800"/>
                  <a:gd name="connsiteY0" fmla="*/ 2811 h 135224"/>
                  <a:gd name="connsiteX1" fmla="*/ 1136 w 334800"/>
                  <a:gd name="connsiteY1" fmla="*/ 135224 h 135224"/>
                  <a:gd name="connsiteX2" fmla="*/ 0 w 334800"/>
                  <a:gd name="connsiteY2" fmla="*/ 132353 h 135224"/>
                  <a:gd name="connsiteX3" fmla="*/ 333665 w 334800"/>
                  <a:gd name="connsiteY3" fmla="*/ 0 h 135224"/>
                </a:gdLst>
                <a:ahLst/>
                <a:cxnLst>
                  <a:cxn ang="0">
                    <a:pos x="connsiteX0" y="connsiteY0"/>
                  </a:cxn>
                  <a:cxn ang="0">
                    <a:pos x="connsiteX1" y="connsiteY1"/>
                  </a:cxn>
                  <a:cxn ang="0">
                    <a:pos x="connsiteX2" y="connsiteY2"/>
                  </a:cxn>
                  <a:cxn ang="0">
                    <a:pos x="connsiteX3" y="connsiteY3"/>
                  </a:cxn>
                </a:cxnLst>
                <a:rect l="l" t="t" r="r" b="b"/>
                <a:pathLst>
                  <a:path w="334800" h="135224">
                    <a:moveTo>
                      <a:pt x="334801" y="2811"/>
                    </a:moveTo>
                    <a:lnTo>
                      <a:pt x="1136" y="135224"/>
                    </a:lnTo>
                    <a:lnTo>
                      <a:pt x="0" y="132353"/>
                    </a:lnTo>
                    <a:lnTo>
                      <a:pt x="333665" y="0"/>
                    </a:lnTo>
                    <a:close/>
                  </a:path>
                </a:pathLst>
              </a:custGeom>
              <a:grpFill/>
              <a:ln w="5978" cap="flat">
                <a:noFill/>
                <a:prstDash val="solid"/>
                <a:miter/>
              </a:ln>
            </p:spPr>
            <p:txBody>
              <a:bodyPr rtlCol="0" anchor="ctr"/>
              <a:lstStyle/>
              <a:p>
                <a:endParaRPr lang="en-GB"/>
              </a:p>
            </p:txBody>
          </p:sp>
          <p:sp>
            <p:nvSpPr>
              <p:cNvPr id="5102" name="Vrije vorm: vorm 5101">
                <a:extLst>
                  <a:ext uri="{FF2B5EF4-FFF2-40B4-BE49-F238E27FC236}">
                    <a16:creationId xmlns:a16="http://schemas.microsoft.com/office/drawing/2014/main" id="{B08F5864-3B65-4D40-9BA9-21EB3E842E22}"/>
                  </a:ext>
                </a:extLst>
              </p:cNvPr>
              <p:cNvSpPr/>
              <p:nvPr/>
            </p:nvSpPr>
            <p:spPr>
              <a:xfrm>
                <a:off x="7534785" y="2634210"/>
                <a:ext cx="18335" cy="18438"/>
              </a:xfrm>
              <a:custGeom>
                <a:avLst/>
                <a:gdLst>
                  <a:gd name="connsiteX0" fmla="*/ 12547 w 18335"/>
                  <a:gd name="connsiteY0" fmla="*/ 17801 h 18438"/>
                  <a:gd name="connsiteX1" fmla="*/ 645 w 18335"/>
                  <a:gd name="connsiteY1" fmla="*/ 12598 h 18438"/>
                  <a:gd name="connsiteX2" fmla="*/ 5789 w 18335"/>
                  <a:gd name="connsiteY2" fmla="*/ 637 h 18438"/>
                  <a:gd name="connsiteX3" fmla="*/ 17690 w 18335"/>
                  <a:gd name="connsiteY3" fmla="*/ 5840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7822" y="19655"/>
                      <a:pt x="2500" y="17323"/>
                      <a:pt x="645" y="12598"/>
                    </a:cubicBezTo>
                    <a:cubicBezTo>
                      <a:pt x="-1209" y="7873"/>
                      <a:pt x="1064" y="2491"/>
                      <a:pt x="5789" y="637"/>
                    </a:cubicBezTo>
                    <a:cubicBezTo>
                      <a:pt x="10514" y="-1217"/>
                      <a:pt x="15837" y="1115"/>
                      <a:pt x="17690" y="5840"/>
                    </a:cubicBezTo>
                    <a:cubicBezTo>
                      <a:pt x="19545" y="10565"/>
                      <a:pt x="17272" y="15947"/>
                      <a:pt x="12547" y="17801"/>
                    </a:cubicBezTo>
                    <a:close/>
                  </a:path>
                </a:pathLst>
              </a:custGeom>
              <a:grpFill/>
              <a:ln w="5978" cap="flat">
                <a:noFill/>
                <a:prstDash val="solid"/>
                <a:miter/>
              </a:ln>
            </p:spPr>
            <p:txBody>
              <a:bodyPr rtlCol="0" anchor="ctr"/>
              <a:lstStyle/>
              <a:p>
                <a:endParaRPr lang="en-GB"/>
              </a:p>
            </p:txBody>
          </p:sp>
          <p:sp>
            <p:nvSpPr>
              <p:cNvPr id="5103" name="Vrije vorm: vorm 5102">
                <a:extLst>
                  <a:ext uri="{FF2B5EF4-FFF2-40B4-BE49-F238E27FC236}">
                    <a16:creationId xmlns:a16="http://schemas.microsoft.com/office/drawing/2014/main" id="{83780B11-2767-41A9-8565-DD3B529EC4C2}"/>
                  </a:ext>
                </a:extLst>
              </p:cNvPr>
              <p:cNvSpPr/>
              <p:nvPr/>
            </p:nvSpPr>
            <p:spPr>
              <a:xfrm>
                <a:off x="7867612" y="2502156"/>
                <a:ext cx="18335" cy="18438"/>
              </a:xfrm>
              <a:custGeom>
                <a:avLst/>
                <a:gdLst>
                  <a:gd name="connsiteX0" fmla="*/ 12547 w 18335"/>
                  <a:gd name="connsiteY0" fmla="*/ 17802 h 18438"/>
                  <a:gd name="connsiteX1" fmla="*/ 17690 w 18335"/>
                  <a:gd name="connsiteY1" fmla="*/ 5840 h 18438"/>
                  <a:gd name="connsiteX2" fmla="*/ 5789 w 18335"/>
                  <a:gd name="connsiteY2" fmla="*/ 637 h 18438"/>
                  <a:gd name="connsiteX3" fmla="*/ 645 w 18335"/>
                  <a:gd name="connsiteY3" fmla="*/ 12598 h 18438"/>
                  <a:gd name="connsiteX4" fmla="*/ 12547 w 18335"/>
                  <a:gd name="connsiteY4" fmla="*/ 1780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2"/>
                    </a:moveTo>
                    <a:cubicBezTo>
                      <a:pt x="17272" y="15948"/>
                      <a:pt x="19545" y="10565"/>
                      <a:pt x="17690" y="5840"/>
                    </a:cubicBezTo>
                    <a:cubicBezTo>
                      <a:pt x="15836" y="1115"/>
                      <a:pt x="10454" y="-1217"/>
                      <a:pt x="5789" y="637"/>
                    </a:cubicBezTo>
                    <a:cubicBezTo>
                      <a:pt x="1064" y="2491"/>
                      <a:pt x="-1209" y="7874"/>
                      <a:pt x="645" y="12598"/>
                    </a:cubicBezTo>
                    <a:cubicBezTo>
                      <a:pt x="2499" y="17323"/>
                      <a:pt x="7882" y="19656"/>
                      <a:pt x="12547" y="17802"/>
                    </a:cubicBezTo>
                    <a:close/>
                  </a:path>
                </a:pathLst>
              </a:custGeom>
              <a:grpFill/>
              <a:ln w="5978" cap="flat">
                <a:noFill/>
                <a:prstDash val="solid"/>
                <a:miter/>
              </a:ln>
            </p:spPr>
            <p:txBody>
              <a:bodyPr rtlCol="0" anchor="ctr"/>
              <a:lstStyle/>
              <a:p>
                <a:endParaRPr lang="en-GB"/>
              </a:p>
            </p:txBody>
          </p:sp>
        </p:grpSp>
        <p:grpSp>
          <p:nvGrpSpPr>
            <p:cNvPr id="92" name="Graphic 3">
              <a:extLst>
                <a:ext uri="{FF2B5EF4-FFF2-40B4-BE49-F238E27FC236}">
                  <a16:creationId xmlns:a16="http://schemas.microsoft.com/office/drawing/2014/main" id="{19729435-063B-4D55-B64E-F8D37F8CFCD9}"/>
                </a:ext>
              </a:extLst>
            </p:cNvPr>
            <p:cNvGrpSpPr/>
            <p:nvPr/>
          </p:nvGrpSpPr>
          <p:grpSpPr>
            <a:xfrm>
              <a:off x="7643851" y="2827598"/>
              <a:ext cx="347141" cy="86317"/>
              <a:chOff x="7643851" y="2827598"/>
              <a:chExt cx="347141" cy="86317"/>
            </a:xfrm>
            <a:grpFill/>
          </p:grpSpPr>
          <p:sp>
            <p:nvSpPr>
              <p:cNvPr id="5098" name="Vrije vorm: vorm 5097">
                <a:extLst>
                  <a:ext uri="{FF2B5EF4-FFF2-40B4-BE49-F238E27FC236}">
                    <a16:creationId xmlns:a16="http://schemas.microsoft.com/office/drawing/2014/main" id="{D3CA15D5-6F74-4370-B4E1-27E2F89DFB7D}"/>
                  </a:ext>
                </a:extLst>
              </p:cNvPr>
              <p:cNvSpPr/>
              <p:nvPr/>
            </p:nvSpPr>
            <p:spPr>
              <a:xfrm>
                <a:off x="7652294" y="2834765"/>
                <a:ext cx="330271" cy="71293"/>
              </a:xfrm>
              <a:custGeom>
                <a:avLst/>
                <a:gdLst>
                  <a:gd name="connsiteX0" fmla="*/ 0 w 330271"/>
                  <a:gd name="connsiteY0" fmla="*/ 68307 h 71293"/>
                  <a:gd name="connsiteX1" fmla="*/ 329653 w 330271"/>
                  <a:gd name="connsiteY1" fmla="*/ 0 h 71293"/>
                  <a:gd name="connsiteX2" fmla="*/ 330272 w 330271"/>
                  <a:gd name="connsiteY2" fmla="*/ 2987 h 71293"/>
                  <a:gd name="connsiteX3" fmla="*/ 619 w 330271"/>
                  <a:gd name="connsiteY3" fmla="*/ 71294 h 71293"/>
                </a:gdLst>
                <a:ahLst/>
                <a:cxnLst>
                  <a:cxn ang="0">
                    <a:pos x="connsiteX0" y="connsiteY0"/>
                  </a:cxn>
                  <a:cxn ang="0">
                    <a:pos x="connsiteX1" y="connsiteY1"/>
                  </a:cxn>
                  <a:cxn ang="0">
                    <a:pos x="connsiteX2" y="connsiteY2"/>
                  </a:cxn>
                  <a:cxn ang="0">
                    <a:pos x="connsiteX3" y="connsiteY3"/>
                  </a:cxn>
                </a:cxnLst>
                <a:rect l="l" t="t" r="r" b="b"/>
                <a:pathLst>
                  <a:path w="330271" h="71293">
                    <a:moveTo>
                      <a:pt x="0" y="68307"/>
                    </a:moveTo>
                    <a:lnTo>
                      <a:pt x="329653" y="0"/>
                    </a:lnTo>
                    <a:lnTo>
                      <a:pt x="330272" y="2987"/>
                    </a:lnTo>
                    <a:lnTo>
                      <a:pt x="619" y="71294"/>
                    </a:lnTo>
                    <a:close/>
                  </a:path>
                </a:pathLst>
              </a:custGeom>
              <a:grpFill/>
              <a:ln w="5978" cap="flat">
                <a:noFill/>
                <a:prstDash val="solid"/>
                <a:miter/>
              </a:ln>
            </p:spPr>
            <p:txBody>
              <a:bodyPr rtlCol="0" anchor="ctr"/>
              <a:lstStyle/>
              <a:p>
                <a:endParaRPr lang="en-GB"/>
              </a:p>
            </p:txBody>
          </p:sp>
          <p:sp>
            <p:nvSpPr>
              <p:cNvPr id="5099" name="Vrije vorm: vorm 5098">
                <a:extLst>
                  <a:ext uri="{FF2B5EF4-FFF2-40B4-BE49-F238E27FC236}">
                    <a16:creationId xmlns:a16="http://schemas.microsoft.com/office/drawing/2014/main" id="{82D86236-39AD-478D-A3A9-E2990ACCF6C2}"/>
                  </a:ext>
                </a:extLst>
              </p:cNvPr>
              <p:cNvSpPr/>
              <p:nvPr/>
            </p:nvSpPr>
            <p:spPr>
              <a:xfrm>
                <a:off x="7643851" y="2895479"/>
                <a:ext cx="18321" cy="18436"/>
              </a:xfrm>
              <a:custGeom>
                <a:avLst/>
                <a:gdLst>
                  <a:gd name="connsiteX0" fmla="*/ 11015 w 18321"/>
                  <a:gd name="connsiteY0" fmla="*/ 18249 h 18436"/>
                  <a:gd name="connsiteX1" fmla="*/ 190 w 18321"/>
                  <a:gd name="connsiteY1" fmla="*/ 11072 h 18436"/>
                  <a:gd name="connsiteX2" fmla="*/ 7307 w 18321"/>
                  <a:gd name="connsiteY2" fmla="*/ 187 h 18436"/>
                  <a:gd name="connsiteX3" fmla="*/ 18132 w 18321"/>
                  <a:gd name="connsiteY3" fmla="*/ 7364 h 18436"/>
                  <a:gd name="connsiteX4" fmla="*/ 11015 w 18321"/>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1015" y="18249"/>
                    </a:moveTo>
                    <a:cubicBezTo>
                      <a:pt x="6051" y="19266"/>
                      <a:pt x="1206" y="16036"/>
                      <a:pt x="190" y="11072"/>
                    </a:cubicBezTo>
                    <a:cubicBezTo>
                      <a:pt x="-827" y="6108"/>
                      <a:pt x="2343" y="1204"/>
                      <a:pt x="7307" y="187"/>
                    </a:cubicBezTo>
                    <a:cubicBezTo>
                      <a:pt x="12271" y="-830"/>
                      <a:pt x="17115" y="2400"/>
                      <a:pt x="18132" y="7364"/>
                    </a:cubicBezTo>
                    <a:cubicBezTo>
                      <a:pt x="19148" y="12328"/>
                      <a:pt x="15979" y="17172"/>
                      <a:pt x="11015" y="18249"/>
                    </a:cubicBezTo>
                    <a:close/>
                  </a:path>
                </a:pathLst>
              </a:custGeom>
              <a:grpFill/>
              <a:ln w="5978" cap="flat">
                <a:noFill/>
                <a:prstDash val="solid"/>
                <a:miter/>
              </a:ln>
            </p:spPr>
            <p:txBody>
              <a:bodyPr rtlCol="0" anchor="ctr"/>
              <a:lstStyle/>
              <a:p>
                <a:endParaRPr lang="en-GB"/>
              </a:p>
            </p:txBody>
          </p:sp>
          <p:sp>
            <p:nvSpPr>
              <p:cNvPr id="5100" name="Vrije vorm: vorm 5099">
                <a:extLst>
                  <a:ext uri="{FF2B5EF4-FFF2-40B4-BE49-F238E27FC236}">
                    <a16:creationId xmlns:a16="http://schemas.microsoft.com/office/drawing/2014/main" id="{028F214E-17F5-4CA4-B53F-6BDF4DED6D04}"/>
                  </a:ext>
                </a:extLst>
              </p:cNvPr>
              <p:cNvSpPr/>
              <p:nvPr/>
            </p:nvSpPr>
            <p:spPr>
              <a:xfrm>
                <a:off x="7972671" y="2827598"/>
                <a:ext cx="18321" cy="18435"/>
              </a:xfrm>
              <a:custGeom>
                <a:avLst/>
                <a:gdLst>
                  <a:gd name="connsiteX0" fmla="*/ 11015 w 18321"/>
                  <a:gd name="connsiteY0" fmla="*/ 18249 h 18435"/>
                  <a:gd name="connsiteX1" fmla="*/ 18132 w 18321"/>
                  <a:gd name="connsiteY1" fmla="*/ 7364 h 18435"/>
                  <a:gd name="connsiteX2" fmla="*/ 7307 w 18321"/>
                  <a:gd name="connsiteY2" fmla="*/ 187 h 18435"/>
                  <a:gd name="connsiteX3" fmla="*/ 190 w 18321"/>
                  <a:gd name="connsiteY3" fmla="*/ 11072 h 18435"/>
                  <a:gd name="connsiteX4" fmla="*/ 11015 w 18321"/>
                  <a:gd name="connsiteY4" fmla="*/ 18249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5">
                    <a:moveTo>
                      <a:pt x="11015" y="18249"/>
                    </a:moveTo>
                    <a:cubicBezTo>
                      <a:pt x="15979" y="17232"/>
                      <a:pt x="19149" y="12328"/>
                      <a:pt x="18132" y="7364"/>
                    </a:cubicBezTo>
                    <a:cubicBezTo>
                      <a:pt x="17115" y="2400"/>
                      <a:pt x="12211" y="-830"/>
                      <a:pt x="7307" y="187"/>
                    </a:cubicBezTo>
                    <a:cubicBezTo>
                      <a:pt x="2343" y="1204"/>
                      <a:pt x="-827" y="6108"/>
                      <a:pt x="190" y="11072"/>
                    </a:cubicBezTo>
                    <a:cubicBezTo>
                      <a:pt x="1207" y="16036"/>
                      <a:pt x="6111" y="19265"/>
                      <a:pt x="11015" y="18249"/>
                    </a:cubicBezTo>
                    <a:close/>
                  </a:path>
                </a:pathLst>
              </a:custGeom>
              <a:grpFill/>
              <a:ln w="5978" cap="flat">
                <a:noFill/>
                <a:prstDash val="solid"/>
                <a:miter/>
              </a:ln>
            </p:spPr>
            <p:txBody>
              <a:bodyPr rtlCol="0" anchor="ctr"/>
              <a:lstStyle/>
              <a:p>
                <a:endParaRPr lang="en-GB"/>
              </a:p>
            </p:txBody>
          </p:sp>
        </p:grpSp>
        <p:grpSp>
          <p:nvGrpSpPr>
            <p:cNvPr id="93" name="Graphic 3">
              <a:extLst>
                <a:ext uri="{FF2B5EF4-FFF2-40B4-BE49-F238E27FC236}">
                  <a16:creationId xmlns:a16="http://schemas.microsoft.com/office/drawing/2014/main" id="{439F343D-F608-4A59-B9FA-90A07A49A597}"/>
                </a:ext>
              </a:extLst>
            </p:cNvPr>
            <p:cNvGrpSpPr/>
            <p:nvPr/>
          </p:nvGrpSpPr>
          <p:grpSpPr>
            <a:xfrm>
              <a:off x="7802143" y="2839844"/>
              <a:ext cx="29840" cy="22173"/>
              <a:chOff x="7802143" y="2839844"/>
              <a:chExt cx="29840" cy="22173"/>
            </a:xfrm>
            <a:grpFill/>
          </p:grpSpPr>
          <p:sp>
            <p:nvSpPr>
              <p:cNvPr id="5095" name="Vrije vorm: vorm 5094">
                <a:extLst>
                  <a:ext uri="{FF2B5EF4-FFF2-40B4-BE49-F238E27FC236}">
                    <a16:creationId xmlns:a16="http://schemas.microsoft.com/office/drawing/2014/main" id="{2A71570C-7D98-4DCB-8043-C1F5FCC42985}"/>
                  </a:ext>
                </a:extLst>
              </p:cNvPr>
              <p:cNvSpPr/>
              <p:nvPr/>
            </p:nvSpPr>
            <p:spPr>
              <a:xfrm>
                <a:off x="7810424" y="2847462"/>
                <a:ext cx="13277" cy="6937"/>
              </a:xfrm>
              <a:custGeom>
                <a:avLst/>
                <a:gdLst>
                  <a:gd name="connsiteX0" fmla="*/ 12381 w 13277"/>
                  <a:gd name="connsiteY0" fmla="*/ 0 h 6937"/>
                  <a:gd name="connsiteX1" fmla="*/ 13277 w 13277"/>
                  <a:gd name="connsiteY1" fmla="*/ 2931 h 6937"/>
                  <a:gd name="connsiteX2" fmla="*/ 957 w 13277"/>
                  <a:gd name="connsiteY2" fmla="*/ 6938 h 6937"/>
                  <a:gd name="connsiteX3" fmla="*/ 0 w 13277"/>
                  <a:gd name="connsiteY3" fmla="*/ 4007 h 6937"/>
                </a:gdLst>
                <a:ahLst/>
                <a:cxnLst>
                  <a:cxn ang="0">
                    <a:pos x="connsiteX0" y="connsiteY0"/>
                  </a:cxn>
                  <a:cxn ang="0">
                    <a:pos x="connsiteX1" y="connsiteY1"/>
                  </a:cxn>
                  <a:cxn ang="0">
                    <a:pos x="connsiteX2" y="connsiteY2"/>
                  </a:cxn>
                  <a:cxn ang="0">
                    <a:pos x="connsiteX3" y="connsiteY3"/>
                  </a:cxn>
                </a:cxnLst>
                <a:rect l="l" t="t" r="r" b="b"/>
                <a:pathLst>
                  <a:path w="13277" h="6937">
                    <a:moveTo>
                      <a:pt x="12381" y="0"/>
                    </a:moveTo>
                    <a:lnTo>
                      <a:pt x="13277" y="2931"/>
                    </a:lnTo>
                    <a:lnTo>
                      <a:pt x="957" y="6938"/>
                    </a:lnTo>
                    <a:lnTo>
                      <a:pt x="0" y="4007"/>
                    </a:lnTo>
                    <a:close/>
                  </a:path>
                </a:pathLst>
              </a:custGeom>
              <a:grpFill/>
              <a:ln w="5978" cap="flat">
                <a:noFill/>
                <a:prstDash val="solid"/>
                <a:miter/>
              </a:ln>
            </p:spPr>
            <p:txBody>
              <a:bodyPr rtlCol="0" anchor="ctr"/>
              <a:lstStyle/>
              <a:p>
                <a:endParaRPr lang="en-GB"/>
              </a:p>
            </p:txBody>
          </p:sp>
          <p:sp>
            <p:nvSpPr>
              <p:cNvPr id="5096" name="Vrije vorm: vorm 5095">
                <a:extLst>
                  <a:ext uri="{FF2B5EF4-FFF2-40B4-BE49-F238E27FC236}">
                    <a16:creationId xmlns:a16="http://schemas.microsoft.com/office/drawing/2014/main" id="{6CF7C574-D789-40E7-AA8B-5D766AE0D689}"/>
                  </a:ext>
                </a:extLst>
              </p:cNvPr>
              <p:cNvSpPr/>
              <p:nvPr/>
            </p:nvSpPr>
            <p:spPr>
              <a:xfrm>
                <a:off x="7813631" y="2839844"/>
                <a:ext cx="18351" cy="18465"/>
              </a:xfrm>
              <a:custGeom>
                <a:avLst/>
                <a:gdLst>
                  <a:gd name="connsiteX0" fmla="*/ 6362 w 18351"/>
                  <a:gd name="connsiteY0" fmla="*/ 441 h 18465"/>
                  <a:gd name="connsiteX1" fmla="*/ 17905 w 18351"/>
                  <a:gd name="connsiteY1" fmla="*/ 6422 h 18465"/>
                  <a:gd name="connsiteX2" fmla="*/ 11984 w 18351"/>
                  <a:gd name="connsiteY2" fmla="*/ 18024 h 18465"/>
                  <a:gd name="connsiteX3" fmla="*/ 441 w 18351"/>
                  <a:gd name="connsiteY3" fmla="*/ 12044 h 18465"/>
                  <a:gd name="connsiteX4" fmla="*/ 6362 w 18351"/>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6362" y="441"/>
                    </a:moveTo>
                    <a:cubicBezTo>
                      <a:pt x="11207" y="-1114"/>
                      <a:pt x="16350" y="1577"/>
                      <a:pt x="17905" y="6422"/>
                    </a:cubicBezTo>
                    <a:cubicBezTo>
                      <a:pt x="19460" y="11266"/>
                      <a:pt x="16828" y="16469"/>
                      <a:pt x="11984" y="18024"/>
                    </a:cubicBezTo>
                    <a:cubicBezTo>
                      <a:pt x="7140" y="19579"/>
                      <a:pt x="1996" y="16888"/>
                      <a:pt x="441" y="12044"/>
                    </a:cubicBezTo>
                    <a:cubicBezTo>
                      <a:pt x="-1114" y="7199"/>
                      <a:pt x="1578" y="1996"/>
                      <a:pt x="6362" y="441"/>
                    </a:cubicBezTo>
                    <a:close/>
                  </a:path>
                </a:pathLst>
              </a:custGeom>
              <a:grpFill/>
              <a:ln w="5978" cap="flat">
                <a:noFill/>
                <a:prstDash val="solid"/>
                <a:miter/>
              </a:ln>
            </p:spPr>
            <p:txBody>
              <a:bodyPr rtlCol="0" anchor="ctr"/>
              <a:lstStyle/>
              <a:p>
                <a:endParaRPr lang="en-GB"/>
              </a:p>
            </p:txBody>
          </p:sp>
          <p:sp>
            <p:nvSpPr>
              <p:cNvPr id="5097" name="Vrije vorm: vorm 5096">
                <a:extLst>
                  <a:ext uri="{FF2B5EF4-FFF2-40B4-BE49-F238E27FC236}">
                    <a16:creationId xmlns:a16="http://schemas.microsoft.com/office/drawing/2014/main" id="{B4770D35-6CCC-445A-A7E5-780FCAD80D52}"/>
                  </a:ext>
                </a:extLst>
              </p:cNvPr>
              <p:cNvSpPr/>
              <p:nvPr/>
            </p:nvSpPr>
            <p:spPr>
              <a:xfrm>
                <a:off x="7802143" y="2843552"/>
                <a:ext cx="18356" cy="18465"/>
              </a:xfrm>
              <a:custGeom>
                <a:avLst/>
                <a:gdLst>
                  <a:gd name="connsiteX0" fmla="*/ 6368 w 18356"/>
                  <a:gd name="connsiteY0" fmla="*/ 441 h 18465"/>
                  <a:gd name="connsiteX1" fmla="*/ 447 w 18356"/>
                  <a:gd name="connsiteY1" fmla="*/ 12044 h 18465"/>
                  <a:gd name="connsiteX2" fmla="*/ 11989 w 18356"/>
                  <a:gd name="connsiteY2" fmla="*/ 18024 h 18465"/>
                  <a:gd name="connsiteX3" fmla="*/ 17910 w 18356"/>
                  <a:gd name="connsiteY3" fmla="*/ 6422 h 18465"/>
                  <a:gd name="connsiteX4" fmla="*/ 6368 w 18356"/>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65">
                    <a:moveTo>
                      <a:pt x="6368" y="441"/>
                    </a:moveTo>
                    <a:cubicBezTo>
                      <a:pt x="1523" y="1996"/>
                      <a:pt x="-1108" y="7199"/>
                      <a:pt x="447" y="12044"/>
                    </a:cubicBezTo>
                    <a:cubicBezTo>
                      <a:pt x="2002" y="16888"/>
                      <a:pt x="7145" y="19579"/>
                      <a:pt x="11989" y="18024"/>
                    </a:cubicBezTo>
                    <a:cubicBezTo>
                      <a:pt x="16834" y="16469"/>
                      <a:pt x="19465" y="11266"/>
                      <a:pt x="17910" y="6422"/>
                    </a:cubicBezTo>
                    <a:cubicBezTo>
                      <a:pt x="16355" y="1577"/>
                      <a:pt x="11212" y="-1114"/>
                      <a:pt x="6368" y="441"/>
                    </a:cubicBezTo>
                    <a:close/>
                  </a:path>
                </a:pathLst>
              </a:custGeom>
              <a:grpFill/>
              <a:ln w="5978" cap="flat">
                <a:noFill/>
                <a:prstDash val="solid"/>
                <a:miter/>
              </a:ln>
            </p:spPr>
            <p:txBody>
              <a:bodyPr rtlCol="0" anchor="ctr"/>
              <a:lstStyle/>
              <a:p>
                <a:endParaRPr lang="en-GB"/>
              </a:p>
            </p:txBody>
          </p:sp>
        </p:grpSp>
        <p:grpSp>
          <p:nvGrpSpPr>
            <p:cNvPr id="94" name="Graphic 3">
              <a:extLst>
                <a:ext uri="{FF2B5EF4-FFF2-40B4-BE49-F238E27FC236}">
                  <a16:creationId xmlns:a16="http://schemas.microsoft.com/office/drawing/2014/main" id="{203C6484-033E-461F-ADBD-4DAC466937EC}"/>
                </a:ext>
              </a:extLst>
            </p:cNvPr>
            <p:cNvGrpSpPr/>
            <p:nvPr/>
          </p:nvGrpSpPr>
          <p:grpSpPr>
            <a:xfrm>
              <a:off x="7928101" y="3280742"/>
              <a:ext cx="30847" cy="19244"/>
              <a:chOff x="7928101" y="3280742"/>
              <a:chExt cx="30847" cy="19244"/>
            </a:xfrm>
            <a:grpFill/>
          </p:grpSpPr>
          <p:sp>
            <p:nvSpPr>
              <p:cNvPr id="5092" name="Vrije vorm: vorm 5091">
                <a:extLst>
                  <a:ext uri="{FF2B5EF4-FFF2-40B4-BE49-F238E27FC236}">
                    <a16:creationId xmlns:a16="http://schemas.microsoft.com/office/drawing/2014/main" id="{43C14F1F-95F5-4B43-A40A-44B73B88EE67}"/>
                  </a:ext>
                </a:extLst>
              </p:cNvPr>
              <p:cNvSpPr/>
              <p:nvPr/>
            </p:nvSpPr>
            <p:spPr>
              <a:xfrm>
                <a:off x="7936737" y="3288420"/>
                <a:ext cx="13636" cy="3947"/>
              </a:xfrm>
              <a:custGeom>
                <a:avLst/>
                <a:gdLst>
                  <a:gd name="connsiteX0" fmla="*/ 13457 w 13636"/>
                  <a:gd name="connsiteY0" fmla="*/ 0 h 3947"/>
                  <a:gd name="connsiteX1" fmla="*/ 13636 w 13636"/>
                  <a:gd name="connsiteY1" fmla="*/ 3050 h 3947"/>
                  <a:gd name="connsiteX2" fmla="*/ 239 w 13636"/>
                  <a:gd name="connsiteY2" fmla="*/ 3947 h 3947"/>
                  <a:gd name="connsiteX3" fmla="*/ 0 w 13636"/>
                  <a:gd name="connsiteY3" fmla="*/ 897 h 3947"/>
                </a:gdLst>
                <a:ahLst/>
                <a:cxnLst>
                  <a:cxn ang="0">
                    <a:pos x="connsiteX0" y="connsiteY0"/>
                  </a:cxn>
                  <a:cxn ang="0">
                    <a:pos x="connsiteX1" y="connsiteY1"/>
                  </a:cxn>
                  <a:cxn ang="0">
                    <a:pos x="connsiteX2" y="connsiteY2"/>
                  </a:cxn>
                  <a:cxn ang="0">
                    <a:pos x="connsiteX3" y="connsiteY3"/>
                  </a:cxn>
                </a:cxnLst>
                <a:rect l="l" t="t" r="r" b="b"/>
                <a:pathLst>
                  <a:path w="13636" h="3947">
                    <a:moveTo>
                      <a:pt x="13457" y="0"/>
                    </a:moveTo>
                    <a:lnTo>
                      <a:pt x="13636" y="3050"/>
                    </a:lnTo>
                    <a:lnTo>
                      <a:pt x="239" y="3947"/>
                    </a:lnTo>
                    <a:lnTo>
                      <a:pt x="0" y="897"/>
                    </a:lnTo>
                    <a:close/>
                  </a:path>
                </a:pathLst>
              </a:custGeom>
              <a:grpFill/>
              <a:ln w="5978" cap="flat">
                <a:noFill/>
                <a:prstDash val="solid"/>
                <a:miter/>
              </a:ln>
            </p:spPr>
            <p:txBody>
              <a:bodyPr rtlCol="0" anchor="ctr"/>
              <a:lstStyle/>
              <a:p>
                <a:endParaRPr lang="en-GB"/>
              </a:p>
            </p:txBody>
          </p:sp>
          <p:sp>
            <p:nvSpPr>
              <p:cNvPr id="5093" name="Vrije vorm: vorm 5092">
                <a:extLst>
                  <a:ext uri="{FF2B5EF4-FFF2-40B4-BE49-F238E27FC236}">
                    <a16:creationId xmlns:a16="http://schemas.microsoft.com/office/drawing/2014/main" id="{C8A3204F-2A77-46C0-AB1F-98AEBC450312}"/>
                  </a:ext>
                </a:extLst>
              </p:cNvPr>
              <p:cNvSpPr/>
              <p:nvPr/>
            </p:nvSpPr>
            <p:spPr>
              <a:xfrm>
                <a:off x="7928101" y="3281579"/>
                <a:ext cx="18347" cy="18406"/>
              </a:xfrm>
              <a:custGeom>
                <a:avLst/>
                <a:gdLst>
                  <a:gd name="connsiteX0" fmla="*/ 9832 w 18347"/>
                  <a:gd name="connsiteY0" fmla="*/ 18384 h 18406"/>
                  <a:gd name="connsiteX1" fmla="*/ 23 w 18347"/>
                  <a:gd name="connsiteY1" fmla="*/ 9831 h 18406"/>
                  <a:gd name="connsiteX2" fmla="*/ 8516 w 18347"/>
                  <a:gd name="connsiteY2" fmla="*/ 23 h 18406"/>
                  <a:gd name="connsiteX3" fmla="*/ 18324 w 18347"/>
                  <a:gd name="connsiteY3" fmla="*/ 8576 h 18406"/>
                  <a:gd name="connsiteX4" fmla="*/ 9832 w 18347"/>
                  <a:gd name="connsiteY4" fmla="*/ 18384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6">
                    <a:moveTo>
                      <a:pt x="9832" y="18384"/>
                    </a:moveTo>
                    <a:cubicBezTo>
                      <a:pt x="4807" y="18743"/>
                      <a:pt x="382" y="14855"/>
                      <a:pt x="23" y="9831"/>
                    </a:cubicBezTo>
                    <a:cubicBezTo>
                      <a:pt x="-336" y="4808"/>
                      <a:pt x="3492" y="382"/>
                      <a:pt x="8516" y="23"/>
                    </a:cubicBezTo>
                    <a:cubicBezTo>
                      <a:pt x="13540" y="-336"/>
                      <a:pt x="17966" y="3552"/>
                      <a:pt x="18324" y="8576"/>
                    </a:cubicBezTo>
                    <a:cubicBezTo>
                      <a:pt x="18683" y="13659"/>
                      <a:pt x="14915" y="18085"/>
                      <a:pt x="9832" y="18384"/>
                    </a:cubicBezTo>
                    <a:close/>
                  </a:path>
                </a:pathLst>
              </a:custGeom>
              <a:grpFill/>
              <a:ln w="5978" cap="flat">
                <a:noFill/>
                <a:prstDash val="solid"/>
                <a:miter/>
              </a:ln>
            </p:spPr>
            <p:txBody>
              <a:bodyPr rtlCol="0" anchor="ctr"/>
              <a:lstStyle/>
              <a:p>
                <a:endParaRPr lang="en-GB"/>
              </a:p>
            </p:txBody>
          </p:sp>
          <p:sp>
            <p:nvSpPr>
              <p:cNvPr id="5094" name="Vrije vorm: vorm 5093">
                <a:extLst>
                  <a:ext uri="{FF2B5EF4-FFF2-40B4-BE49-F238E27FC236}">
                    <a16:creationId xmlns:a16="http://schemas.microsoft.com/office/drawing/2014/main" id="{4C3C3967-CD1C-464C-9E95-A72F04E7E4CB}"/>
                  </a:ext>
                </a:extLst>
              </p:cNvPr>
              <p:cNvSpPr/>
              <p:nvPr/>
            </p:nvSpPr>
            <p:spPr>
              <a:xfrm>
                <a:off x="7940601" y="3280742"/>
                <a:ext cx="18347" cy="18407"/>
              </a:xfrm>
              <a:custGeom>
                <a:avLst/>
                <a:gdLst>
                  <a:gd name="connsiteX0" fmla="*/ 9832 w 18347"/>
                  <a:gd name="connsiteY0" fmla="*/ 18384 h 18407"/>
                  <a:gd name="connsiteX1" fmla="*/ 18325 w 18347"/>
                  <a:gd name="connsiteY1" fmla="*/ 8576 h 18407"/>
                  <a:gd name="connsiteX2" fmla="*/ 8516 w 18347"/>
                  <a:gd name="connsiteY2" fmla="*/ 23 h 18407"/>
                  <a:gd name="connsiteX3" fmla="*/ 23 w 18347"/>
                  <a:gd name="connsiteY3" fmla="*/ 9832 h 18407"/>
                  <a:gd name="connsiteX4" fmla="*/ 9832 w 18347"/>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9832" y="18384"/>
                    </a:moveTo>
                    <a:cubicBezTo>
                      <a:pt x="14855" y="18025"/>
                      <a:pt x="18683" y="13659"/>
                      <a:pt x="18325" y="8576"/>
                    </a:cubicBezTo>
                    <a:cubicBezTo>
                      <a:pt x="17966" y="3492"/>
                      <a:pt x="13600" y="-336"/>
                      <a:pt x="8516" y="23"/>
                    </a:cubicBezTo>
                    <a:cubicBezTo>
                      <a:pt x="3492" y="382"/>
                      <a:pt x="-336" y="4748"/>
                      <a:pt x="23" y="9832"/>
                    </a:cubicBezTo>
                    <a:cubicBezTo>
                      <a:pt x="442" y="14915"/>
                      <a:pt x="4808" y="18743"/>
                      <a:pt x="9832" y="18384"/>
                    </a:cubicBezTo>
                    <a:close/>
                  </a:path>
                </a:pathLst>
              </a:custGeom>
              <a:grpFill/>
              <a:ln w="5978" cap="flat">
                <a:noFill/>
                <a:prstDash val="solid"/>
                <a:miter/>
              </a:ln>
            </p:spPr>
            <p:txBody>
              <a:bodyPr rtlCol="0" anchor="ctr"/>
              <a:lstStyle/>
              <a:p>
                <a:endParaRPr lang="en-GB"/>
              </a:p>
            </p:txBody>
          </p:sp>
        </p:grpSp>
        <p:grpSp>
          <p:nvGrpSpPr>
            <p:cNvPr id="95" name="Graphic 3">
              <a:extLst>
                <a:ext uri="{FF2B5EF4-FFF2-40B4-BE49-F238E27FC236}">
                  <a16:creationId xmlns:a16="http://schemas.microsoft.com/office/drawing/2014/main" id="{ABD83C8E-CB18-4C05-A78D-341CAD101516}"/>
                </a:ext>
              </a:extLst>
            </p:cNvPr>
            <p:cNvGrpSpPr/>
            <p:nvPr/>
          </p:nvGrpSpPr>
          <p:grpSpPr>
            <a:xfrm>
              <a:off x="7952276" y="3315084"/>
              <a:ext cx="33752" cy="19104"/>
              <a:chOff x="7952276" y="3315084"/>
              <a:chExt cx="33752" cy="19104"/>
            </a:xfrm>
            <a:grpFill/>
          </p:grpSpPr>
          <p:sp>
            <p:nvSpPr>
              <p:cNvPr id="5089" name="Vrije vorm: vorm 5088">
                <a:extLst>
                  <a:ext uri="{FF2B5EF4-FFF2-40B4-BE49-F238E27FC236}">
                    <a16:creationId xmlns:a16="http://schemas.microsoft.com/office/drawing/2014/main" id="{D8A3806B-D187-4C5F-A835-9FB5035D78C5}"/>
                  </a:ext>
                </a:extLst>
              </p:cNvPr>
              <p:cNvSpPr/>
              <p:nvPr/>
            </p:nvSpPr>
            <p:spPr>
              <a:xfrm>
                <a:off x="7960899" y="3322749"/>
                <a:ext cx="16506" cy="3827"/>
              </a:xfrm>
              <a:custGeom>
                <a:avLst/>
                <a:gdLst>
                  <a:gd name="connsiteX0" fmla="*/ 16387 w 16506"/>
                  <a:gd name="connsiteY0" fmla="*/ 0 h 3827"/>
                  <a:gd name="connsiteX1" fmla="*/ 16507 w 16506"/>
                  <a:gd name="connsiteY1" fmla="*/ 3050 h 3827"/>
                  <a:gd name="connsiteX2" fmla="*/ 180 w 16506"/>
                  <a:gd name="connsiteY2" fmla="*/ 3828 h 3827"/>
                  <a:gd name="connsiteX3" fmla="*/ 0 w 16506"/>
                  <a:gd name="connsiteY3" fmla="*/ 778 h 3827"/>
                </a:gdLst>
                <a:ahLst/>
                <a:cxnLst>
                  <a:cxn ang="0">
                    <a:pos x="connsiteX0" y="connsiteY0"/>
                  </a:cxn>
                  <a:cxn ang="0">
                    <a:pos x="connsiteX1" y="connsiteY1"/>
                  </a:cxn>
                  <a:cxn ang="0">
                    <a:pos x="connsiteX2" y="connsiteY2"/>
                  </a:cxn>
                  <a:cxn ang="0">
                    <a:pos x="connsiteX3" y="connsiteY3"/>
                  </a:cxn>
                </a:cxnLst>
                <a:rect l="l" t="t" r="r" b="b"/>
                <a:pathLst>
                  <a:path w="16506" h="3827">
                    <a:moveTo>
                      <a:pt x="16387" y="0"/>
                    </a:moveTo>
                    <a:lnTo>
                      <a:pt x="16507" y="3050"/>
                    </a:lnTo>
                    <a:lnTo>
                      <a:pt x="180" y="3828"/>
                    </a:lnTo>
                    <a:lnTo>
                      <a:pt x="0" y="778"/>
                    </a:lnTo>
                    <a:close/>
                  </a:path>
                </a:pathLst>
              </a:custGeom>
              <a:grpFill/>
              <a:ln w="5978" cap="flat">
                <a:noFill/>
                <a:prstDash val="solid"/>
                <a:miter/>
              </a:ln>
            </p:spPr>
            <p:txBody>
              <a:bodyPr rtlCol="0" anchor="ctr"/>
              <a:lstStyle/>
              <a:p>
                <a:endParaRPr lang="en-GB"/>
              </a:p>
            </p:txBody>
          </p:sp>
          <p:sp>
            <p:nvSpPr>
              <p:cNvPr id="5090" name="Vrije vorm: vorm 5089">
                <a:extLst>
                  <a:ext uri="{FF2B5EF4-FFF2-40B4-BE49-F238E27FC236}">
                    <a16:creationId xmlns:a16="http://schemas.microsoft.com/office/drawing/2014/main" id="{5CBC5A68-7267-45B1-94ED-DE5612161FFA}"/>
                  </a:ext>
                </a:extLst>
              </p:cNvPr>
              <p:cNvSpPr/>
              <p:nvPr/>
            </p:nvSpPr>
            <p:spPr>
              <a:xfrm>
                <a:off x="7967706" y="3315084"/>
                <a:ext cx="18321" cy="18381"/>
              </a:xfrm>
              <a:custGeom>
                <a:avLst/>
                <a:gdLst>
                  <a:gd name="connsiteX0" fmla="*/ 8682 w 18321"/>
                  <a:gd name="connsiteY0" fmla="*/ 10 h 18381"/>
                  <a:gd name="connsiteX1" fmla="*/ 18311 w 18321"/>
                  <a:gd name="connsiteY1" fmla="*/ 8742 h 18381"/>
                  <a:gd name="connsiteX2" fmla="*/ 9639 w 18321"/>
                  <a:gd name="connsiteY2" fmla="*/ 18371 h 18381"/>
                  <a:gd name="connsiteX3" fmla="*/ 10 w 18321"/>
                  <a:gd name="connsiteY3" fmla="*/ 9640 h 18381"/>
                  <a:gd name="connsiteX4" fmla="*/ 8682 w 18321"/>
                  <a:gd name="connsiteY4" fmla="*/ 10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8682" y="10"/>
                    </a:moveTo>
                    <a:cubicBezTo>
                      <a:pt x="13706" y="-229"/>
                      <a:pt x="18072" y="3659"/>
                      <a:pt x="18311" y="8742"/>
                    </a:cubicBezTo>
                    <a:cubicBezTo>
                      <a:pt x="18551" y="13826"/>
                      <a:pt x="14663" y="18132"/>
                      <a:pt x="9639" y="18371"/>
                    </a:cubicBezTo>
                    <a:cubicBezTo>
                      <a:pt x="4556" y="18611"/>
                      <a:pt x="249" y="14663"/>
                      <a:pt x="10" y="9640"/>
                    </a:cubicBezTo>
                    <a:cubicBezTo>
                      <a:pt x="-229" y="4556"/>
                      <a:pt x="3659" y="250"/>
                      <a:pt x="8682" y="10"/>
                    </a:cubicBezTo>
                    <a:close/>
                  </a:path>
                </a:pathLst>
              </a:custGeom>
              <a:grpFill/>
              <a:ln w="5978" cap="flat">
                <a:noFill/>
                <a:prstDash val="solid"/>
                <a:miter/>
              </a:ln>
            </p:spPr>
            <p:txBody>
              <a:bodyPr rtlCol="0" anchor="ctr"/>
              <a:lstStyle/>
              <a:p>
                <a:endParaRPr lang="en-GB"/>
              </a:p>
            </p:txBody>
          </p:sp>
          <p:sp>
            <p:nvSpPr>
              <p:cNvPr id="5091" name="Vrije vorm: vorm 5090">
                <a:extLst>
                  <a:ext uri="{FF2B5EF4-FFF2-40B4-BE49-F238E27FC236}">
                    <a16:creationId xmlns:a16="http://schemas.microsoft.com/office/drawing/2014/main" id="{9600C9F8-7AA6-4626-B2D6-B72233E714F1}"/>
                  </a:ext>
                </a:extLst>
              </p:cNvPr>
              <p:cNvSpPr/>
              <p:nvPr/>
            </p:nvSpPr>
            <p:spPr>
              <a:xfrm>
                <a:off x="7952276" y="3315801"/>
                <a:ext cx="18322" cy="18387"/>
              </a:xfrm>
              <a:custGeom>
                <a:avLst/>
                <a:gdLst>
                  <a:gd name="connsiteX0" fmla="*/ 8683 w 18322"/>
                  <a:gd name="connsiteY0" fmla="*/ 10 h 18387"/>
                  <a:gd name="connsiteX1" fmla="*/ 11 w 18322"/>
                  <a:gd name="connsiteY1" fmla="*/ 9639 h 18387"/>
                  <a:gd name="connsiteX2" fmla="*/ 9640 w 18322"/>
                  <a:gd name="connsiteY2" fmla="*/ 18371 h 18387"/>
                  <a:gd name="connsiteX3" fmla="*/ 18312 w 18322"/>
                  <a:gd name="connsiteY3" fmla="*/ 8742 h 18387"/>
                  <a:gd name="connsiteX4" fmla="*/ 8683 w 18322"/>
                  <a:gd name="connsiteY4" fmla="*/ 1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87">
                    <a:moveTo>
                      <a:pt x="8683" y="10"/>
                    </a:moveTo>
                    <a:cubicBezTo>
                      <a:pt x="3600" y="250"/>
                      <a:pt x="-228" y="4556"/>
                      <a:pt x="11" y="9639"/>
                    </a:cubicBezTo>
                    <a:cubicBezTo>
                      <a:pt x="250" y="14723"/>
                      <a:pt x="4556" y="18670"/>
                      <a:pt x="9640" y="18371"/>
                    </a:cubicBezTo>
                    <a:cubicBezTo>
                      <a:pt x="14664" y="18132"/>
                      <a:pt x="18551" y="13826"/>
                      <a:pt x="18312" y="8742"/>
                    </a:cubicBezTo>
                    <a:cubicBezTo>
                      <a:pt x="18072" y="3719"/>
                      <a:pt x="13767" y="-229"/>
                      <a:pt x="8683" y="10"/>
                    </a:cubicBezTo>
                    <a:close/>
                  </a:path>
                </a:pathLst>
              </a:custGeom>
              <a:grpFill/>
              <a:ln w="5978" cap="flat">
                <a:noFill/>
                <a:prstDash val="solid"/>
                <a:miter/>
              </a:ln>
            </p:spPr>
            <p:txBody>
              <a:bodyPr rtlCol="0" anchor="ctr"/>
              <a:lstStyle/>
              <a:p>
                <a:endParaRPr lang="en-GB"/>
              </a:p>
            </p:txBody>
          </p:sp>
        </p:grpSp>
        <p:grpSp>
          <p:nvGrpSpPr>
            <p:cNvPr id="96" name="Graphic 3">
              <a:extLst>
                <a:ext uri="{FF2B5EF4-FFF2-40B4-BE49-F238E27FC236}">
                  <a16:creationId xmlns:a16="http://schemas.microsoft.com/office/drawing/2014/main" id="{91DF6AFD-D466-408F-9841-4281DCAC84F2}"/>
                </a:ext>
              </a:extLst>
            </p:cNvPr>
            <p:cNvGrpSpPr/>
            <p:nvPr/>
          </p:nvGrpSpPr>
          <p:grpSpPr>
            <a:xfrm>
              <a:off x="7738051" y="3326930"/>
              <a:ext cx="474402" cy="35357"/>
              <a:chOff x="7738051" y="3326930"/>
              <a:chExt cx="474402" cy="35357"/>
            </a:xfrm>
            <a:grpFill/>
          </p:grpSpPr>
          <p:sp>
            <p:nvSpPr>
              <p:cNvPr id="5086" name="Vrije vorm: vorm 5085">
                <a:extLst>
                  <a:ext uri="{FF2B5EF4-FFF2-40B4-BE49-F238E27FC236}">
                    <a16:creationId xmlns:a16="http://schemas.microsoft.com/office/drawing/2014/main" id="{1F110171-D57F-4783-A870-E8A44363D4A3}"/>
                  </a:ext>
                </a:extLst>
              </p:cNvPr>
              <p:cNvSpPr/>
              <p:nvPr/>
            </p:nvSpPr>
            <p:spPr>
              <a:xfrm>
                <a:off x="7746729" y="3334591"/>
                <a:ext cx="457106" cy="20035"/>
              </a:xfrm>
              <a:custGeom>
                <a:avLst/>
                <a:gdLst>
                  <a:gd name="connsiteX0" fmla="*/ 457107 w 457106"/>
                  <a:gd name="connsiteY0" fmla="*/ 16985 h 20035"/>
                  <a:gd name="connsiteX1" fmla="*/ 456987 w 457106"/>
                  <a:gd name="connsiteY1" fmla="*/ 20035 h 20035"/>
                  <a:gd name="connsiteX2" fmla="*/ 0 w 457106"/>
                  <a:gd name="connsiteY2" fmla="*/ 3050 h 20035"/>
                  <a:gd name="connsiteX3" fmla="*/ 60 w 457106"/>
                  <a:gd name="connsiteY3" fmla="*/ 0 h 20035"/>
                </a:gdLst>
                <a:ahLst/>
                <a:cxnLst>
                  <a:cxn ang="0">
                    <a:pos x="connsiteX0" y="connsiteY0"/>
                  </a:cxn>
                  <a:cxn ang="0">
                    <a:pos x="connsiteX1" y="connsiteY1"/>
                  </a:cxn>
                  <a:cxn ang="0">
                    <a:pos x="connsiteX2" y="connsiteY2"/>
                  </a:cxn>
                  <a:cxn ang="0">
                    <a:pos x="connsiteX3" y="connsiteY3"/>
                  </a:cxn>
                </a:cxnLst>
                <a:rect l="l" t="t" r="r" b="b"/>
                <a:pathLst>
                  <a:path w="457106" h="20035">
                    <a:moveTo>
                      <a:pt x="457107" y="16985"/>
                    </a:moveTo>
                    <a:lnTo>
                      <a:pt x="456987" y="20035"/>
                    </a:lnTo>
                    <a:lnTo>
                      <a:pt x="0" y="3050"/>
                    </a:lnTo>
                    <a:lnTo>
                      <a:pt x="60" y="0"/>
                    </a:lnTo>
                    <a:close/>
                  </a:path>
                </a:pathLst>
              </a:custGeom>
              <a:grpFill/>
              <a:ln w="5978" cap="flat">
                <a:noFill/>
                <a:prstDash val="solid"/>
                <a:miter/>
              </a:ln>
            </p:spPr>
            <p:txBody>
              <a:bodyPr rtlCol="0" anchor="ctr"/>
              <a:lstStyle/>
              <a:p>
                <a:endParaRPr lang="en-GB"/>
              </a:p>
            </p:txBody>
          </p:sp>
          <p:sp>
            <p:nvSpPr>
              <p:cNvPr id="5087" name="Vrije vorm: vorm 5086">
                <a:extLst>
                  <a:ext uri="{FF2B5EF4-FFF2-40B4-BE49-F238E27FC236}">
                    <a16:creationId xmlns:a16="http://schemas.microsoft.com/office/drawing/2014/main" id="{FD84AE0A-4F69-4936-9470-CC8E66F45638}"/>
                  </a:ext>
                </a:extLst>
              </p:cNvPr>
              <p:cNvSpPr/>
              <p:nvPr/>
            </p:nvSpPr>
            <p:spPr>
              <a:xfrm>
                <a:off x="7738051" y="3326930"/>
                <a:ext cx="18312" cy="18432"/>
              </a:xfrm>
              <a:custGeom>
                <a:avLst/>
                <a:gdLst>
                  <a:gd name="connsiteX0" fmla="*/ 8857 w 18312"/>
                  <a:gd name="connsiteY0" fmla="*/ 18426 h 18432"/>
                  <a:gd name="connsiteX1" fmla="*/ 6 w 18312"/>
                  <a:gd name="connsiteY1" fmla="*/ 8857 h 18432"/>
                  <a:gd name="connsiteX2" fmla="*/ 9455 w 18312"/>
                  <a:gd name="connsiteY2" fmla="*/ 6 h 18432"/>
                  <a:gd name="connsiteX3" fmla="*/ 18307 w 18312"/>
                  <a:gd name="connsiteY3" fmla="*/ 9575 h 18432"/>
                  <a:gd name="connsiteX4" fmla="*/ 8857 w 18312"/>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8857" y="18426"/>
                    </a:moveTo>
                    <a:cubicBezTo>
                      <a:pt x="3774" y="18247"/>
                      <a:pt x="-174" y="13941"/>
                      <a:pt x="6" y="8857"/>
                    </a:cubicBezTo>
                    <a:cubicBezTo>
                      <a:pt x="185" y="3774"/>
                      <a:pt x="4432" y="-174"/>
                      <a:pt x="9455" y="6"/>
                    </a:cubicBezTo>
                    <a:cubicBezTo>
                      <a:pt x="14539" y="185"/>
                      <a:pt x="18486" y="4491"/>
                      <a:pt x="18307" y="9575"/>
                    </a:cubicBezTo>
                    <a:cubicBezTo>
                      <a:pt x="18188" y="14659"/>
                      <a:pt x="13941" y="18606"/>
                      <a:pt x="8857" y="18426"/>
                    </a:cubicBezTo>
                    <a:close/>
                  </a:path>
                </a:pathLst>
              </a:custGeom>
              <a:grpFill/>
              <a:ln w="5978" cap="flat">
                <a:noFill/>
                <a:prstDash val="solid"/>
                <a:miter/>
              </a:ln>
            </p:spPr>
            <p:txBody>
              <a:bodyPr rtlCol="0" anchor="ctr"/>
              <a:lstStyle/>
              <a:p>
                <a:endParaRPr lang="en-GB"/>
              </a:p>
            </p:txBody>
          </p:sp>
          <p:sp>
            <p:nvSpPr>
              <p:cNvPr id="5088" name="Vrije vorm: vorm 5087">
                <a:extLst>
                  <a:ext uri="{FF2B5EF4-FFF2-40B4-BE49-F238E27FC236}">
                    <a16:creationId xmlns:a16="http://schemas.microsoft.com/office/drawing/2014/main" id="{E714B5E6-77CA-452A-847B-977974EC4518}"/>
                  </a:ext>
                </a:extLst>
              </p:cNvPr>
              <p:cNvSpPr/>
              <p:nvPr/>
            </p:nvSpPr>
            <p:spPr>
              <a:xfrm>
                <a:off x="8194141" y="3343856"/>
                <a:ext cx="18312" cy="18432"/>
              </a:xfrm>
              <a:custGeom>
                <a:avLst/>
                <a:gdLst>
                  <a:gd name="connsiteX0" fmla="*/ 8857 w 18312"/>
                  <a:gd name="connsiteY0" fmla="*/ 18427 h 18432"/>
                  <a:gd name="connsiteX1" fmla="*/ 18307 w 18312"/>
                  <a:gd name="connsiteY1" fmla="*/ 9575 h 18432"/>
                  <a:gd name="connsiteX2" fmla="*/ 9455 w 18312"/>
                  <a:gd name="connsiteY2" fmla="*/ 6 h 18432"/>
                  <a:gd name="connsiteX3" fmla="*/ 6 w 18312"/>
                  <a:gd name="connsiteY3" fmla="*/ 8857 h 18432"/>
                  <a:gd name="connsiteX4" fmla="*/ 8857 w 1831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8857" y="18427"/>
                    </a:moveTo>
                    <a:cubicBezTo>
                      <a:pt x="13941" y="18606"/>
                      <a:pt x="18128" y="14659"/>
                      <a:pt x="18307" y="9575"/>
                    </a:cubicBezTo>
                    <a:cubicBezTo>
                      <a:pt x="18486" y="4491"/>
                      <a:pt x="14480" y="245"/>
                      <a:pt x="9455" y="6"/>
                    </a:cubicBezTo>
                    <a:cubicBezTo>
                      <a:pt x="4372" y="-174"/>
                      <a:pt x="185" y="3774"/>
                      <a:pt x="6" y="8857"/>
                    </a:cubicBezTo>
                    <a:cubicBezTo>
                      <a:pt x="-174" y="13941"/>
                      <a:pt x="3774" y="18247"/>
                      <a:pt x="8857" y="18427"/>
                    </a:cubicBezTo>
                    <a:close/>
                  </a:path>
                </a:pathLst>
              </a:custGeom>
              <a:grpFill/>
              <a:ln w="5978" cap="flat">
                <a:noFill/>
                <a:prstDash val="solid"/>
                <a:miter/>
              </a:ln>
            </p:spPr>
            <p:txBody>
              <a:bodyPr rtlCol="0" anchor="ctr"/>
              <a:lstStyle/>
              <a:p>
                <a:endParaRPr lang="en-GB"/>
              </a:p>
            </p:txBody>
          </p:sp>
        </p:grpSp>
        <p:grpSp>
          <p:nvGrpSpPr>
            <p:cNvPr id="98" name="Graphic 3">
              <a:extLst>
                <a:ext uri="{FF2B5EF4-FFF2-40B4-BE49-F238E27FC236}">
                  <a16:creationId xmlns:a16="http://schemas.microsoft.com/office/drawing/2014/main" id="{02B5C88B-3873-43BA-9692-EE59F31F68A9}"/>
                </a:ext>
              </a:extLst>
            </p:cNvPr>
            <p:cNvGrpSpPr/>
            <p:nvPr/>
          </p:nvGrpSpPr>
          <p:grpSpPr>
            <a:xfrm>
              <a:off x="7602155" y="2719099"/>
              <a:ext cx="355893" cy="109598"/>
              <a:chOff x="7602155" y="2719099"/>
              <a:chExt cx="355893" cy="109598"/>
            </a:xfrm>
            <a:grpFill/>
          </p:grpSpPr>
          <p:sp>
            <p:nvSpPr>
              <p:cNvPr id="5083" name="Vrije vorm: vorm 5082">
                <a:extLst>
                  <a:ext uri="{FF2B5EF4-FFF2-40B4-BE49-F238E27FC236}">
                    <a16:creationId xmlns:a16="http://schemas.microsoft.com/office/drawing/2014/main" id="{6F714CD7-0C4D-435C-B764-F1B66334F869}"/>
                  </a:ext>
                </a:extLst>
              </p:cNvPr>
              <p:cNvSpPr/>
              <p:nvPr/>
            </p:nvSpPr>
            <p:spPr>
              <a:xfrm>
                <a:off x="7610194" y="2726445"/>
                <a:ext cx="339322" cy="94063"/>
              </a:xfrm>
              <a:custGeom>
                <a:avLst/>
                <a:gdLst>
                  <a:gd name="connsiteX0" fmla="*/ 0 w 339322"/>
                  <a:gd name="connsiteY0" fmla="*/ 91118 h 94063"/>
                  <a:gd name="connsiteX1" fmla="*/ 338529 w 339322"/>
                  <a:gd name="connsiteY1" fmla="*/ 0 h 94063"/>
                  <a:gd name="connsiteX2" fmla="*/ 339322 w 339322"/>
                  <a:gd name="connsiteY2" fmla="*/ 2945 h 94063"/>
                  <a:gd name="connsiteX3" fmla="*/ 793 w 339322"/>
                  <a:gd name="connsiteY3" fmla="*/ 94064 h 94063"/>
                </a:gdLst>
                <a:ahLst/>
                <a:cxnLst>
                  <a:cxn ang="0">
                    <a:pos x="connsiteX0" y="connsiteY0"/>
                  </a:cxn>
                  <a:cxn ang="0">
                    <a:pos x="connsiteX1" y="connsiteY1"/>
                  </a:cxn>
                  <a:cxn ang="0">
                    <a:pos x="connsiteX2" y="connsiteY2"/>
                  </a:cxn>
                  <a:cxn ang="0">
                    <a:pos x="connsiteX3" y="connsiteY3"/>
                  </a:cxn>
                </a:cxnLst>
                <a:rect l="l" t="t" r="r" b="b"/>
                <a:pathLst>
                  <a:path w="339322" h="94063">
                    <a:moveTo>
                      <a:pt x="0" y="91118"/>
                    </a:moveTo>
                    <a:lnTo>
                      <a:pt x="338529" y="0"/>
                    </a:lnTo>
                    <a:lnTo>
                      <a:pt x="339322" y="2945"/>
                    </a:lnTo>
                    <a:lnTo>
                      <a:pt x="793" y="94064"/>
                    </a:lnTo>
                    <a:close/>
                  </a:path>
                </a:pathLst>
              </a:custGeom>
              <a:grpFill/>
              <a:ln w="5978" cap="flat">
                <a:noFill/>
                <a:prstDash val="solid"/>
                <a:miter/>
              </a:ln>
            </p:spPr>
            <p:txBody>
              <a:bodyPr rtlCol="0" anchor="ctr"/>
              <a:lstStyle/>
              <a:p>
                <a:endParaRPr lang="en-GB"/>
              </a:p>
            </p:txBody>
          </p:sp>
          <p:sp>
            <p:nvSpPr>
              <p:cNvPr id="5084" name="Vrije vorm: vorm 5083">
                <a:extLst>
                  <a:ext uri="{FF2B5EF4-FFF2-40B4-BE49-F238E27FC236}">
                    <a16:creationId xmlns:a16="http://schemas.microsoft.com/office/drawing/2014/main" id="{E63B50A6-318E-4F86-B47F-EECB7842F0ED}"/>
                  </a:ext>
                </a:extLst>
              </p:cNvPr>
              <p:cNvSpPr/>
              <p:nvPr/>
            </p:nvSpPr>
            <p:spPr>
              <a:xfrm>
                <a:off x="7602155" y="2810246"/>
                <a:ext cx="18317" cy="18452"/>
              </a:xfrm>
              <a:custGeom>
                <a:avLst/>
                <a:gdLst>
                  <a:gd name="connsiteX0" fmla="*/ 11563 w 18317"/>
                  <a:gd name="connsiteY0" fmla="*/ 18137 h 18452"/>
                  <a:gd name="connsiteX1" fmla="*/ 319 w 18317"/>
                  <a:gd name="connsiteY1" fmla="*/ 11618 h 18452"/>
                  <a:gd name="connsiteX2" fmla="*/ 6779 w 18317"/>
                  <a:gd name="connsiteY2" fmla="*/ 315 h 18452"/>
                  <a:gd name="connsiteX3" fmla="*/ 18022 w 18317"/>
                  <a:gd name="connsiteY3" fmla="*/ 6834 h 18452"/>
                  <a:gd name="connsiteX4" fmla="*/ 11563 w 18317"/>
                  <a:gd name="connsiteY4" fmla="*/ 181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2">
                    <a:moveTo>
                      <a:pt x="11563" y="18137"/>
                    </a:moveTo>
                    <a:cubicBezTo>
                      <a:pt x="6659" y="19453"/>
                      <a:pt x="1635" y="16523"/>
                      <a:pt x="319" y="11618"/>
                    </a:cubicBezTo>
                    <a:cubicBezTo>
                      <a:pt x="-997" y="6714"/>
                      <a:pt x="1874" y="1631"/>
                      <a:pt x="6779" y="315"/>
                    </a:cubicBezTo>
                    <a:cubicBezTo>
                      <a:pt x="11683" y="-1001"/>
                      <a:pt x="16706" y="1930"/>
                      <a:pt x="18022" y="6834"/>
                    </a:cubicBezTo>
                    <a:cubicBezTo>
                      <a:pt x="19278" y="11798"/>
                      <a:pt x="16408" y="16821"/>
                      <a:pt x="11563" y="18137"/>
                    </a:cubicBezTo>
                    <a:close/>
                  </a:path>
                </a:pathLst>
              </a:custGeom>
              <a:grpFill/>
              <a:ln w="5978" cap="flat">
                <a:noFill/>
                <a:prstDash val="solid"/>
                <a:miter/>
              </a:ln>
            </p:spPr>
            <p:txBody>
              <a:bodyPr rtlCol="0" anchor="ctr"/>
              <a:lstStyle/>
              <a:p>
                <a:endParaRPr lang="en-GB"/>
              </a:p>
            </p:txBody>
          </p:sp>
          <p:sp>
            <p:nvSpPr>
              <p:cNvPr id="5085" name="Vrije vorm: vorm 5084">
                <a:extLst>
                  <a:ext uri="{FF2B5EF4-FFF2-40B4-BE49-F238E27FC236}">
                    <a16:creationId xmlns:a16="http://schemas.microsoft.com/office/drawing/2014/main" id="{0B1AF42C-8FE3-4D5F-8BCA-B4A6D3871F30}"/>
                  </a:ext>
                </a:extLst>
              </p:cNvPr>
              <p:cNvSpPr/>
              <p:nvPr/>
            </p:nvSpPr>
            <p:spPr>
              <a:xfrm>
                <a:off x="7939707" y="2719099"/>
                <a:ext cx="18340" cy="18456"/>
              </a:xfrm>
              <a:custGeom>
                <a:avLst/>
                <a:gdLst>
                  <a:gd name="connsiteX0" fmla="*/ 11563 w 18340"/>
                  <a:gd name="connsiteY0" fmla="*/ 18137 h 18456"/>
                  <a:gd name="connsiteX1" fmla="*/ 18022 w 18340"/>
                  <a:gd name="connsiteY1" fmla="*/ 6834 h 18456"/>
                  <a:gd name="connsiteX2" fmla="*/ 6778 w 18340"/>
                  <a:gd name="connsiteY2" fmla="*/ 315 h 18456"/>
                  <a:gd name="connsiteX3" fmla="*/ 319 w 18340"/>
                  <a:gd name="connsiteY3" fmla="*/ 11618 h 18456"/>
                  <a:gd name="connsiteX4" fmla="*/ 11563 w 18340"/>
                  <a:gd name="connsiteY4" fmla="*/ 1813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56">
                    <a:moveTo>
                      <a:pt x="11563" y="18137"/>
                    </a:moveTo>
                    <a:cubicBezTo>
                      <a:pt x="16467" y="16822"/>
                      <a:pt x="19337" y="11738"/>
                      <a:pt x="18022" y="6834"/>
                    </a:cubicBezTo>
                    <a:cubicBezTo>
                      <a:pt x="16706" y="1930"/>
                      <a:pt x="11623" y="-1001"/>
                      <a:pt x="6778" y="315"/>
                    </a:cubicBezTo>
                    <a:cubicBezTo>
                      <a:pt x="1874" y="1631"/>
                      <a:pt x="-997" y="6714"/>
                      <a:pt x="319" y="11618"/>
                    </a:cubicBezTo>
                    <a:cubicBezTo>
                      <a:pt x="1635" y="16582"/>
                      <a:pt x="6658" y="19453"/>
                      <a:pt x="11563" y="18137"/>
                    </a:cubicBezTo>
                    <a:close/>
                  </a:path>
                </a:pathLst>
              </a:custGeom>
              <a:grpFill/>
              <a:ln w="5978" cap="flat">
                <a:noFill/>
                <a:prstDash val="solid"/>
                <a:miter/>
              </a:ln>
            </p:spPr>
            <p:txBody>
              <a:bodyPr rtlCol="0" anchor="ctr"/>
              <a:lstStyle/>
              <a:p>
                <a:endParaRPr lang="en-GB"/>
              </a:p>
            </p:txBody>
          </p:sp>
        </p:grpSp>
        <p:grpSp>
          <p:nvGrpSpPr>
            <p:cNvPr id="99" name="Graphic 3">
              <a:extLst>
                <a:ext uri="{FF2B5EF4-FFF2-40B4-BE49-F238E27FC236}">
                  <a16:creationId xmlns:a16="http://schemas.microsoft.com/office/drawing/2014/main" id="{C974A6D4-F965-4012-910C-48232D4D797A}"/>
                </a:ext>
              </a:extLst>
            </p:cNvPr>
            <p:cNvGrpSpPr/>
            <p:nvPr/>
          </p:nvGrpSpPr>
          <p:grpSpPr>
            <a:xfrm>
              <a:off x="7375720" y="2121379"/>
              <a:ext cx="452731" cy="297884"/>
              <a:chOff x="7375720" y="2121379"/>
              <a:chExt cx="452731" cy="297884"/>
            </a:xfrm>
            <a:grpFill/>
          </p:grpSpPr>
          <p:sp>
            <p:nvSpPr>
              <p:cNvPr id="5080" name="Vrije vorm: vorm 5079">
                <a:extLst>
                  <a:ext uri="{FF2B5EF4-FFF2-40B4-BE49-F238E27FC236}">
                    <a16:creationId xmlns:a16="http://schemas.microsoft.com/office/drawing/2014/main" id="{5E2EB155-BD00-4467-AA2B-47F97F40CAA8}"/>
                  </a:ext>
                </a:extLst>
              </p:cNvPr>
              <p:cNvSpPr/>
              <p:nvPr/>
            </p:nvSpPr>
            <p:spPr>
              <a:xfrm>
                <a:off x="7383699" y="2129057"/>
                <a:ext cx="436772" cy="282529"/>
              </a:xfrm>
              <a:custGeom>
                <a:avLst/>
                <a:gdLst>
                  <a:gd name="connsiteX0" fmla="*/ 436772 w 436772"/>
                  <a:gd name="connsiteY0" fmla="*/ 2572 h 282529"/>
                  <a:gd name="connsiteX1" fmla="*/ 1675 w 436772"/>
                  <a:gd name="connsiteY1" fmla="*/ 282529 h 282529"/>
                  <a:gd name="connsiteX2" fmla="*/ 0 w 436772"/>
                  <a:gd name="connsiteY2" fmla="*/ 279958 h 282529"/>
                  <a:gd name="connsiteX3" fmla="*/ 435157 w 436772"/>
                  <a:gd name="connsiteY3" fmla="*/ 0 h 282529"/>
                </a:gdLst>
                <a:ahLst/>
                <a:cxnLst>
                  <a:cxn ang="0">
                    <a:pos x="connsiteX0" y="connsiteY0"/>
                  </a:cxn>
                  <a:cxn ang="0">
                    <a:pos x="connsiteX1" y="connsiteY1"/>
                  </a:cxn>
                  <a:cxn ang="0">
                    <a:pos x="connsiteX2" y="connsiteY2"/>
                  </a:cxn>
                  <a:cxn ang="0">
                    <a:pos x="connsiteX3" y="connsiteY3"/>
                  </a:cxn>
                </a:cxnLst>
                <a:rect l="l" t="t" r="r" b="b"/>
                <a:pathLst>
                  <a:path w="436772" h="282529">
                    <a:moveTo>
                      <a:pt x="436772" y="2572"/>
                    </a:moveTo>
                    <a:lnTo>
                      <a:pt x="1675" y="282529"/>
                    </a:lnTo>
                    <a:lnTo>
                      <a:pt x="0" y="279958"/>
                    </a:lnTo>
                    <a:lnTo>
                      <a:pt x="435157" y="0"/>
                    </a:lnTo>
                    <a:close/>
                  </a:path>
                </a:pathLst>
              </a:custGeom>
              <a:grpFill/>
              <a:ln w="5978" cap="flat">
                <a:noFill/>
                <a:prstDash val="solid"/>
                <a:miter/>
              </a:ln>
            </p:spPr>
            <p:txBody>
              <a:bodyPr rtlCol="0" anchor="ctr"/>
              <a:lstStyle/>
              <a:p>
                <a:endParaRPr lang="en-GB"/>
              </a:p>
            </p:txBody>
          </p:sp>
          <p:sp>
            <p:nvSpPr>
              <p:cNvPr id="5081" name="Vrije vorm: vorm 5080">
                <a:extLst>
                  <a:ext uri="{FF2B5EF4-FFF2-40B4-BE49-F238E27FC236}">
                    <a16:creationId xmlns:a16="http://schemas.microsoft.com/office/drawing/2014/main" id="{3C555208-D2BD-4147-A47B-9E0AAB846E72}"/>
                  </a:ext>
                </a:extLst>
              </p:cNvPr>
              <p:cNvSpPr/>
              <p:nvPr/>
            </p:nvSpPr>
            <p:spPr>
              <a:xfrm>
                <a:off x="7375720" y="2400799"/>
                <a:ext cx="18351" cy="18465"/>
              </a:xfrm>
              <a:custGeom>
                <a:avLst/>
                <a:gdLst>
                  <a:gd name="connsiteX0" fmla="*/ 14140 w 18351"/>
                  <a:gd name="connsiteY0" fmla="*/ 17008 h 18465"/>
                  <a:gd name="connsiteX1" fmla="*/ 1461 w 18351"/>
                  <a:gd name="connsiteY1" fmla="*/ 14197 h 18465"/>
                  <a:gd name="connsiteX2" fmla="*/ 4212 w 18351"/>
                  <a:gd name="connsiteY2" fmla="*/ 1458 h 18465"/>
                  <a:gd name="connsiteX3" fmla="*/ 16891 w 18351"/>
                  <a:gd name="connsiteY3" fmla="*/ 4269 h 18465"/>
                  <a:gd name="connsiteX4" fmla="*/ 14140 w 18351"/>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14140" y="17008"/>
                    </a:moveTo>
                    <a:cubicBezTo>
                      <a:pt x="9893" y="19759"/>
                      <a:pt x="4212" y="18503"/>
                      <a:pt x="1461" y="14197"/>
                    </a:cubicBezTo>
                    <a:cubicBezTo>
                      <a:pt x="-1291" y="9891"/>
                      <a:pt x="-34" y="4209"/>
                      <a:pt x="4212" y="1458"/>
                    </a:cubicBezTo>
                    <a:cubicBezTo>
                      <a:pt x="8458" y="-1293"/>
                      <a:pt x="14140" y="-37"/>
                      <a:pt x="16891" y="4269"/>
                    </a:cubicBezTo>
                    <a:cubicBezTo>
                      <a:pt x="19642" y="8575"/>
                      <a:pt x="18386" y="14257"/>
                      <a:pt x="14140" y="17008"/>
                    </a:cubicBezTo>
                    <a:close/>
                  </a:path>
                </a:pathLst>
              </a:custGeom>
              <a:grpFill/>
              <a:ln w="5978" cap="flat">
                <a:noFill/>
                <a:prstDash val="solid"/>
                <a:miter/>
              </a:ln>
            </p:spPr>
            <p:txBody>
              <a:bodyPr rtlCol="0" anchor="ctr"/>
              <a:lstStyle/>
              <a:p>
                <a:endParaRPr lang="en-GB"/>
              </a:p>
            </p:txBody>
          </p:sp>
          <p:sp>
            <p:nvSpPr>
              <p:cNvPr id="5082" name="Vrije vorm: vorm 5081">
                <a:extLst>
                  <a:ext uri="{FF2B5EF4-FFF2-40B4-BE49-F238E27FC236}">
                    <a16:creationId xmlns:a16="http://schemas.microsoft.com/office/drawing/2014/main" id="{A291648F-BA5C-426E-96A0-2F142B0CE55F}"/>
                  </a:ext>
                </a:extLst>
              </p:cNvPr>
              <p:cNvSpPr/>
              <p:nvPr/>
            </p:nvSpPr>
            <p:spPr>
              <a:xfrm>
                <a:off x="7810099" y="2121379"/>
                <a:ext cx="18351" cy="18465"/>
              </a:xfrm>
              <a:custGeom>
                <a:avLst/>
                <a:gdLst>
                  <a:gd name="connsiteX0" fmla="*/ 14140 w 18351"/>
                  <a:gd name="connsiteY0" fmla="*/ 17008 h 18465"/>
                  <a:gd name="connsiteX1" fmla="*/ 16891 w 18351"/>
                  <a:gd name="connsiteY1" fmla="*/ 4269 h 18465"/>
                  <a:gd name="connsiteX2" fmla="*/ 4212 w 18351"/>
                  <a:gd name="connsiteY2" fmla="*/ 1458 h 18465"/>
                  <a:gd name="connsiteX3" fmla="*/ 1461 w 18351"/>
                  <a:gd name="connsiteY3" fmla="*/ 14197 h 18465"/>
                  <a:gd name="connsiteX4" fmla="*/ 14140 w 18351"/>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14140" y="17008"/>
                    </a:moveTo>
                    <a:cubicBezTo>
                      <a:pt x="18386" y="14257"/>
                      <a:pt x="19642" y="8575"/>
                      <a:pt x="16891" y="4269"/>
                    </a:cubicBezTo>
                    <a:cubicBezTo>
                      <a:pt x="14140" y="-37"/>
                      <a:pt x="8458" y="-1293"/>
                      <a:pt x="4212" y="1458"/>
                    </a:cubicBezTo>
                    <a:cubicBezTo>
                      <a:pt x="-34" y="4209"/>
                      <a:pt x="-1291" y="9891"/>
                      <a:pt x="1461" y="14197"/>
                    </a:cubicBezTo>
                    <a:cubicBezTo>
                      <a:pt x="4212" y="18503"/>
                      <a:pt x="9893" y="19759"/>
                      <a:pt x="14140" y="17008"/>
                    </a:cubicBezTo>
                    <a:close/>
                  </a:path>
                </a:pathLst>
              </a:custGeom>
              <a:grpFill/>
              <a:ln w="5978" cap="flat">
                <a:noFill/>
                <a:prstDash val="solid"/>
                <a:miter/>
              </a:ln>
            </p:spPr>
            <p:txBody>
              <a:bodyPr rtlCol="0" anchor="ctr"/>
              <a:lstStyle/>
              <a:p>
                <a:endParaRPr lang="en-GB"/>
              </a:p>
            </p:txBody>
          </p:sp>
        </p:grpSp>
        <p:grpSp>
          <p:nvGrpSpPr>
            <p:cNvPr id="100" name="Graphic 3">
              <a:extLst>
                <a:ext uri="{FF2B5EF4-FFF2-40B4-BE49-F238E27FC236}">
                  <a16:creationId xmlns:a16="http://schemas.microsoft.com/office/drawing/2014/main" id="{A1A29C6B-C2B1-413E-A53A-C0683BBCBC45}"/>
                </a:ext>
              </a:extLst>
            </p:cNvPr>
            <p:cNvGrpSpPr/>
            <p:nvPr/>
          </p:nvGrpSpPr>
          <p:grpSpPr>
            <a:xfrm>
              <a:off x="7695140" y="2606763"/>
              <a:ext cx="60844" cy="38583"/>
              <a:chOff x="7695140" y="2606763"/>
              <a:chExt cx="60844" cy="38583"/>
            </a:xfrm>
            <a:grpFill/>
          </p:grpSpPr>
          <p:sp>
            <p:nvSpPr>
              <p:cNvPr id="5077" name="Vrije vorm: vorm 5076">
                <a:extLst>
                  <a:ext uri="{FF2B5EF4-FFF2-40B4-BE49-F238E27FC236}">
                    <a16:creationId xmlns:a16="http://schemas.microsoft.com/office/drawing/2014/main" id="{BD02A4F7-666B-4AF0-BCDF-AC73CC979FE5}"/>
                  </a:ext>
                </a:extLst>
              </p:cNvPr>
              <p:cNvSpPr/>
              <p:nvPr/>
            </p:nvSpPr>
            <p:spPr>
              <a:xfrm>
                <a:off x="7703054" y="2614361"/>
                <a:ext cx="44710" cy="23306"/>
              </a:xfrm>
              <a:custGeom>
                <a:avLst/>
                <a:gdLst>
                  <a:gd name="connsiteX0" fmla="*/ 0 w 44710"/>
                  <a:gd name="connsiteY0" fmla="*/ 20550 h 23306"/>
                  <a:gd name="connsiteX1" fmla="*/ 43405 w 44710"/>
                  <a:gd name="connsiteY1" fmla="*/ 0 h 23306"/>
                  <a:gd name="connsiteX2" fmla="*/ 44711 w 44710"/>
                  <a:gd name="connsiteY2" fmla="*/ 2757 h 23306"/>
                  <a:gd name="connsiteX3" fmla="*/ 1305 w 44710"/>
                  <a:gd name="connsiteY3" fmla="*/ 23307 h 23306"/>
                </a:gdLst>
                <a:ahLst/>
                <a:cxnLst>
                  <a:cxn ang="0">
                    <a:pos x="connsiteX0" y="connsiteY0"/>
                  </a:cxn>
                  <a:cxn ang="0">
                    <a:pos x="connsiteX1" y="connsiteY1"/>
                  </a:cxn>
                  <a:cxn ang="0">
                    <a:pos x="connsiteX2" y="connsiteY2"/>
                  </a:cxn>
                  <a:cxn ang="0">
                    <a:pos x="connsiteX3" y="connsiteY3"/>
                  </a:cxn>
                </a:cxnLst>
                <a:rect l="l" t="t" r="r" b="b"/>
                <a:pathLst>
                  <a:path w="44710" h="23306">
                    <a:moveTo>
                      <a:pt x="0" y="20550"/>
                    </a:moveTo>
                    <a:lnTo>
                      <a:pt x="43405" y="0"/>
                    </a:lnTo>
                    <a:lnTo>
                      <a:pt x="44711" y="2757"/>
                    </a:lnTo>
                    <a:lnTo>
                      <a:pt x="1305" y="23307"/>
                    </a:lnTo>
                    <a:close/>
                  </a:path>
                </a:pathLst>
              </a:custGeom>
              <a:grpFill/>
              <a:ln w="5978" cap="flat">
                <a:noFill/>
                <a:prstDash val="solid"/>
                <a:miter/>
              </a:ln>
            </p:spPr>
            <p:txBody>
              <a:bodyPr rtlCol="0" anchor="ctr"/>
              <a:lstStyle/>
              <a:p>
                <a:endParaRPr lang="en-GB"/>
              </a:p>
            </p:txBody>
          </p:sp>
          <p:sp>
            <p:nvSpPr>
              <p:cNvPr id="5078" name="Vrije vorm: vorm 5077">
                <a:extLst>
                  <a:ext uri="{FF2B5EF4-FFF2-40B4-BE49-F238E27FC236}">
                    <a16:creationId xmlns:a16="http://schemas.microsoft.com/office/drawing/2014/main" id="{0C65B4EA-9CD8-49FD-B916-671340D4E2D6}"/>
                  </a:ext>
                </a:extLst>
              </p:cNvPr>
              <p:cNvSpPr/>
              <p:nvPr/>
            </p:nvSpPr>
            <p:spPr>
              <a:xfrm>
                <a:off x="7737663" y="2606763"/>
                <a:ext cx="18321" cy="18428"/>
              </a:xfrm>
              <a:custGeom>
                <a:avLst/>
                <a:gdLst>
                  <a:gd name="connsiteX0" fmla="*/ 5238 w 18321"/>
                  <a:gd name="connsiteY0" fmla="*/ 871 h 18428"/>
                  <a:gd name="connsiteX1" fmla="*/ 17439 w 18321"/>
                  <a:gd name="connsiteY1" fmla="*/ 5297 h 18428"/>
                  <a:gd name="connsiteX2" fmla="*/ 13073 w 18321"/>
                  <a:gd name="connsiteY2" fmla="*/ 17557 h 18428"/>
                  <a:gd name="connsiteX3" fmla="*/ 872 w 18321"/>
                  <a:gd name="connsiteY3" fmla="*/ 13132 h 18428"/>
                  <a:gd name="connsiteX4" fmla="*/ 5238 w 1832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5238" y="871"/>
                    </a:moveTo>
                    <a:cubicBezTo>
                      <a:pt x="9783" y="-1282"/>
                      <a:pt x="15286" y="692"/>
                      <a:pt x="17439" y="5297"/>
                    </a:cubicBezTo>
                    <a:cubicBezTo>
                      <a:pt x="19592" y="9902"/>
                      <a:pt x="17678" y="15404"/>
                      <a:pt x="13073" y="17557"/>
                    </a:cubicBezTo>
                    <a:cubicBezTo>
                      <a:pt x="8528" y="19711"/>
                      <a:pt x="3025" y="17737"/>
                      <a:pt x="872" y="13132"/>
                    </a:cubicBezTo>
                    <a:cubicBezTo>
                      <a:pt x="-1281" y="8527"/>
                      <a:pt x="693" y="3024"/>
                      <a:pt x="5238" y="871"/>
                    </a:cubicBezTo>
                    <a:close/>
                  </a:path>
                </a:pathLst>
              </a:custGeom>
              <a:grpFill/>
              <a:ln w="5978" cap="flat">
                <a:noFill/>
                <a:prstDash val="solid"/>
                <a:miter/>
              </a:ln>
            </p:spPr>
            <p:txBody>
              <a:bodyPr rtlCol="0" anchor="ctr"/>
              <a:lstStyle/>
              <a:p>
                <a:endParaRPr lang="en-GB"/>
              </a:p>
            </p:txBody>
          </p:sp>
          <p:sp>
            <p:nvSpPr>
              <p:cNvPr id="5079" name="Vrije vorm: vorm 5078">
                <a:extLst>
                  <a:ext uri="{FF2B5EF4-FFF2-40B4-BE49-F238E27FC236}">
                    <a16:creationId xmlns:a16="http://schemas.microsoft.com/office/drawing/2014/main" id="{01D715B4-24B8-486B-BD18-027087608F76}"/>
                  </a:ext>
                </a:extLst>
              </p:cNvPr>
              <p:cNvSpPr/>
              <p:nvPr/>
            </p:nvSpPr>
            <p:spPr>
              <a:xfrm>
                <a:off x="7695140" y="2626893"/>
                <a:ext cx="18311" cy="18454"/>
              </a:xfrm>
              <a:custGeom>
                <a:avLst/>
                <a:gdLst>
                  <a:gd name="connsiteX0" fmla="*/ 5238 w 18311"/>
                  <a:gd name="connsiteY0" fmla="*/ 897 h 18454"/>
                  <a:gd name="connsiteX1" fmla="*/ 872 w 18311"/>
                  <a:gd name="connsiteY1" fmla="*/ 13158 h 18454"/>
                  <a:gd name="connsiteX2" fmla="*/ 13073 w 18311"/>
                  <a:gd name="connsiteY2" fmla="*/ 17583 h 18454"/>
                  <a:gd name="connsiteX3" fmla="*/ 17439 w 18311"/>
                  <a:gd name="connsiteY3" fmla="*/ 5323 h 18454"/>
                  <a:gd name="connsiteX4" fmla="*/ 5238 w 18311"/>
                  <a:gd name="connsiteY4" fmla="*/ 89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4">
                    <a:moveTo>
                      <a:pt x="5238" y="897"/>
                    </a:moveTo>
                    <a:cubicBezTo>
                      <a:pt x="693" y="3050"/>
                      <a:pt x="-1281" y="8552"/>
                      <a:pt x="872" y="13158"/>
                    </a:cubicBezTo>
                    <a:cubicBezTo>
                      <a:pt x="3025" y="17763"/>
                      <a:pt x="8528" y="19736"/>
                      <a:pt x="13073" y="17583"/>
                    </a:cubicBezTo>
                    <a:cubicBezTo>
                      <a:pt x="17619" y="15430"/>
                      <a:pt x="19592" y="9928"/>
                      <a:pt x="17439" y="5323"/>
                    </a:cubicBezTo>
                    <a:cubicBezTo>
                      <a:pt x="15286" y="718"/>
                      <a:pt x="9784" y="-1316"/>
                      <a:pt x="5238" y="897"/>
                    </a:cubicBezTo>
                    <a:close/>
                  </a:path>
                </a:pathLst>
              </a:custGeom>
              <a:grpFill/>
              <a:ln w="5978" cap="flat">
                <a:noFill/>
                <a:prstDash val="solid"/>
                <a:miter/>
              </a:ln>
            </p:spPr>
            <p:txBody>
              <a:bodyPr rtlCol="0" anchor="ctr"/>
              <a:lstStyle/>
              <a:p>
                <a:endParaRPr lang="en-GB"/>
              </a:p>
            </p:txBody>
          </p:sp>
        </p:grpSp>
        <p:grpSp>
          <p:nvGrpSpPr>
            <p:cNvPr id="101" name="Graphic 3">
              <a:extLst>
                <a:ext uri="{FF2B5EF4-FFF2-40B4-BE49-F238E27FC236}">
                  <a16:creationId xmlns:a16="http://schemas.microsoft.com/office/drawing/2014/main" id="{53810108-B5ED-46DD-B40A-EE22B3029CF6}"/>
                </a:ext>
              </a:extLst>
            </p:cNvPr>
            <p:cNvGrpSpPr/>
            <p:nvPr/>
          </p:nvGrpSpPr>
          <p:grpSpPr>
            <a:xfrm>
              <a:off x="7864402" y="3075899"/>
              <a:ext cx="28882" cy="20386"/>
              <a:chOff x="7864402" y="3075899"/>
              <a:chExt cx="28882" cy="20386"/>
            </a:xfrm>
            <a:grpFill/>
          </p:grpSpPr>
          <p:sp>
            <p:nvSpPr>
              <p:cNvPr id="5075" name="Vrije vorm: vorm 5074">
                <a:extLst>
                  <a:ext uri="{FF2B5EF4-FFF2-40B4-BE49-F238E27FC236}">
                    <a16:creationId xmlns:a16="http://schemas.microsoft.com/office/drawing/2014/main" id="{C83AAFA2-14E3-4BC3-9E3F-FB022B7E9BA2}"/>
                  </a:ext>
                </a:extLst>
              </p:cNvPr>
              <p:cNvSpPr/>
              <p:nvPr/>
            </p:nvSpPr>
            <p:spPr>
              <a:xfrm>
                <a:off x="7874988" y="3075899"/>
                <a:ext cx="18296" cy="18412"/>
              </a:xfrm>
              <a:custGeom>
                <a:avLst/>
                <a:gdLst>
                  <a:gd name="connsiteX0" fmla="*/ 10793 w 18296"/>
                  <a:gd name="connsiteY0" fmla="*/ 18267 h 18412"/>
                  <a:gd name="connsiteX1" fmla="*/ 147 w 18296"/>
                  <a:gd name="connsiteY1" fmla="*/ 10851 h 18412"/>
                  <a:gd name="connsiteX2" fmla="*/ 7504 w 18296"/>
                  <a:gd name="connsiteY2" fmla="*/ 145 h 18412"/>
                  <a:gd name="connsiteX3" fmla="*/ 18150 w 18296"/>
                  <a:gd name="connsiteY3" fmla="*/ 7562 h 18412"/>
                  <a:gd name="connsiteX4" fmla="*/ 10793 w 18296"/>
                  <a:gd name="connsiteY4" fmla="*/ 1826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2">
                    <a:moveTo>
                      <a:pt x="10793" y="18267"/>
                    </a:moveTo>
                    <a:cubicBezTo>
                      <a:pt x="5829" y="19164"/>
                      <a:pt x="1044" y="15815"/>
                      <a:pt x="147" y="10851"/>
                    </a:cubicBezTo>
                    <a:cubicBezTo>
                      <a:pt x="-750" y="5827"/>
                      <a:pt x="2539" y="1042"/>
                      <a:pt x="7504" y="145"/>
                    </a:cubicBezTo>
                    <a:cubicBezTo>
                      <a:pt x="12467" y="-752"/>
                      <a:pt x="17252" y="2598"/>
                      <a:pt x="18150" y="7562"/>
                    </a:cubicBezTo>
                    <a:cubicBezTo>
                      <a:pt x="19046" y="12585"/>
                      <a:pt x="15757" y="17370"/>
                      <a:pt x="10793" y="18267"/>
                    </a:cubicBezTo>
                    <a:close/>
                  </a:path>
                </a:pathLst>
              </a:custGeom>
              <a:grpFill/>
              <a:ln w="5978" cap="flat">
                <a:noFill/>
                <a:prstDash val="solid"/>
                <a:miter/>
              </a:ln>
            </p:spPr>
            <p:txBody>
              <a:bodyPr rtlCol="0" anchor="ctr"/>
              <a:lstStyle/>
              <a:p>
                <a:endParaRPr lang="en-GB"/>
              </a:p>
            </p:txBody>
          </p:sp>
          <p:sp>
            <p:nvSpPr>
              <p:cNvPr id="5076" name="Vrije vorm: vorm 5075">
                <a:extLst>
                  <a:ext uri="{FF2B5EF4-FFF2-40B4-BE49-F238E27FC236}">
                    <a16:creationId xmlns:a16="http://schemas.microsoft.com/office/drawing/2014/main" id="{0F183801-7D0D-4F28-9035-15458B679A2A}"/>
                  </a:ext>
                </a:extLst>
              </p:cNvPr>
              <p:cNvSpPr/>
              <p:nvPr/>
            </p:nvSpPr>
            <p:spPr>
              <a:xfrm>
                <a:off x="7864402" y="3077871"/>
                <a:ext cx="18296" cy="18414"/>
              </a:xfrm>
              <a:custGeom>
                <a:avLst/>
                <a:gdLst>
                  <a:gd name="connsiteX0" fmla="*/ 10793 w 18296"/>
                  <a:gd name="connsiteY0" fmla="*/ 18269 h 18414"/>
                  <a:gd name="connsiteX1" fmla="*/ 18149 w 18296"/>
                  <a:gd name="connsiteY1" fmla="*/ 7563 h 18414"/>
                  <a:gd name="connsiteX2" fmla="*/ 7504 w 18296"/>
                  <a:gd name="connsiteY2" fmla="*/ 147 h 18414"/>
                  <a:gd name="connsiteX3" fmla="*/ 147 w 18296"/>
                  <a:gd name="connsiteY3" fmla="*/ 10853 h 18414"/>
                  <a:gd name="connsiteX4" fmla="*/ 10793 w 18296"/>
                  <a:gd name="connsiteY4" fmla="*/ 18269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4">
                    <a:moveTo>
                      <a:pt x="10793" y="18269"/>
                    </a:moveTo>
                    <a:cubicBezTo>
                      <a:pt x="15757" y="17372"/>
                      <a:pt x="19046" y="12587"/>
                      <a:pt x="18149" y="7563"/>
                    </a:cubicBezTo>
                    <a:cubicBezTo>
                      <a:pt x="17252" y="2540"/>
                      <a:pt x="12467" y="-750"/>
                      <a:pt x="7504" y="147"/>
                    </a:cubicBezTo>
                    <a:cubicBezTo>
                      <a:pt x="2540" y="1044"/>
                      <a:pt x="-750" y="5829"/>
                      <a:pt x="147" y="10853"/>
                    </a:cubicBezTo>
                    <a:cubicBezTo>
                      <a:pt x="1045" y="15817"/>
                      <a:pt x="5829" y="19166"/>
                      <a:pt x="10793" y="18269"/>
                    </a:cubicBezTo>
                    <a:close/>
                  </a:path>
                </a:pathLst>
              </a:custGeom>
              <a:grpFill/>
              <a:ln w="5978" cap="flat">
                <a:noFill/>
                <a:prstDash val="solid"/>
                <a:miter/>
              </a:ln>
            </p:spPr>
            <p:txBody>
              <a:bodyPr rtlCol="0" anchor="ctr"/>
              <a:lstStyle/>
              <a:p>
                <a:endParaRPr lang="en-GB"/>
              </a:p>
            </p:txBody>
          </p:sp>
        </p:grpSp>
        <p:grpSp>
          <p:nvGrpSpPr>
            <p:cNvPr id="102" name="Graphic 3">
              <a:extLst>
                <a:ext uri="{FF2B5EF4-FFF2-40B4-BE49-F238E27FC236}">
                  <a16:creationId xmlns:a16="http://schemas.microsoft.com/office/drawing/2014/main" id="{DFDC470A-D1D7-4967-9EB2-C2D60B00DBC9}"/>
                </a:ext>
              </a:extLst>
            </p:cNvPr>
            <p:cNvGrpSpPr/>
            <p:nvPr/>
          </p:nvGrpSpPr>
          <p:grpSpPr>
            <a:xfrm>
              <a:off x="7452012" y="2148512"/>
              <a:ext cx="273848" cy="212101"/>
              <a:chOff x="7452012" y="2148512"/>
              <a:chExt cx="273848" cy="212101"/>
            </a:xfrm>
            <a:grpFill/>
          </p:grpSpPr>
          <p:sp>
            <p:nvSpPr>
              <p:cNvPr id="5072" name="Vrije vorm: vorm 5071">
                <a:extLst>
                  <a:ext uri="{FF2B5EF4-FFF2-40B4-BE49-F238E27FC236}">
                    <a16:creationId xmlns:a16="http://schemas.microsoft.com/office/drawing/2014/main" id="{5221D5DD-73BF-42DD-89D3-88207B5BAB13}"/>
                  </a:ext>
                </a:extLst>
              </p:cNvPr>
              <p:cNvSpPr/>
              <p:nvPr/>
            </p:nvSpPr>
            <p:spPr>
              <a:xfrm>
                <a:off x="7459894" y="2156210"/>
                <a:ext cx="258068" cy="196646"/>
              </a:xfrm>
              <a:custGeom>
                <a:avLst/>
                <a:gdLst>
                  <a:gd name="connsiteX0" fmla="*/ 258068 w 258068"/>
                  <a:gd name="connsiteY0" fmla="*/ 2452 h 196646"/>
                  <a:gd name="connsiteX1" fmla="*/ 1795 w 258068"/>
                  <a:gd name="connsiteY1" fmla="*/ 196646 h 196646"/>
                  <a:gd name="connsiteX2" fmla="*/ 0 w 258068"/>
                  <a:gd name="connsiteY2" fmla="*/ 194194 h 196646"/>
                  <a:gd name="connsiteX3" fmla="*/ 256214 w 258068"/>
                  <a:gd name="connsiteY3" fmla="*/ 0 h 196646"/>
                </a:gdLst>
                <a:ahLst/>
                <a:cxnLst>
                  <a:cxn ang="0">
                    <a:pos x="connsiteX0" y="connsiteY0"/>
                  </a:cxn>
                  <a:cxn ang="0">
                    <a:pos x="connsiteX1" y="connsiteY1"/>
                  </a:cxn>
                  <a:cxn ang="0">
                    <a:pos x="connsiteX2" y="connsiteY2"/>
                  </a:cxn>
                  <a:cxn ang="0">
                    <a:pos x="connsiteX3" y="connsiteY3"/>
                  </a:cxn>
                </a:cxnLst>
                <a:rect l="l" t="t" r="r" b="b"/>
                <a:pathLst>
                  <a:path w="258068" h="196646">
                    <a:moveTo>
                      <a:pt x="258068" y="2452"/>
                    </a:moveTo>
                    <a:lnTo>
                      <a:pt x="1795" y="196646"/>
                    </a:lnTo>
                    <a:lnTo>
                      <a:pt x="0" y="194194"/>
                    </a:lnTo>
                    <a:lnTo>
                      <a:pt x="256214" y="0"/>
                    </a:lnTo>
                    <a:close/>
                  </a:path>
                </a:pathLst>
              </a:custGeom>
              <a:grpFill/>
              <a:ln w="5978" cap="flat">
                <a:noFill/>
                <a:prstDash val="solid"/>
                <a:miter/>
              </a:ln>
            </p:spPr>
            <p:txBody>
              <a:bodyPr rtlCol="0" anchor="ctr"/>
              <a:lstStyle/>
              <a:p>
                <a:endParaRPr lang="en-GB"/>
              </a:p>
            </p:txBody>
          </p:sp>
          <p:sp>
            <p:nvSpPr>
              <p:cNvPr id="5073" name="Vrije vorm: vorm 5072">
                <a:extLst>
                  <a:ext uri="{FF2B5EF4-FFF2-40B4-BE49-F238E27FC236}">
                    <a16:creationId xmlns:a16="http://schemas.microsoft.com/office/drawing/2014/main" id="{394A2FF2-417B-4C50-8843-DABA8D4CFAA9}"/>
                  </a:ext>
                </a:extLst>
              </p:cNvPr>
              <p:cNvSpPr/>
              <p:nvPr/>
            </p:nvSpPr>
            <p:spPr>
              <a:xfrm>
                <a:off x="7707509" y="2148512"/>
                <a:ext cx="18352" cy="18445"/>
              </a:xfrm>
              <a:custGeom>
                <a:avLst/>
                <a:gdLst>
                  <a:gd name="connsiteX0" fmla="*/ 3635 w 18352"/>
                  <a:gd name="connsiteY0" fmla="*/ 1837 h 18445"/>
                  <a:gd name="connsiteX1" fmla="*/ 16494 w 18352"/>
                  <a:gd name="connsiteY1" fmla="*/ 3691 h 18445"/>
                  <a:gd name="connsiteX2" fmla="*/ 14699 w 18352"/>
                  <a:gd name="connsiteY2" fmla="*/ 16609 h 18445"/>
                  <a:gd name="connsiteX3" fmla="*/ 1841 w 18352"/>
                  <a:gd name="connsiteY3" fmla="*/ 14755 h 18445"/>
                  <a:gd name="connsiteX4" fmla="*/ 3635 w 18352"/>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45">
                    <a:moveTo>
                      <a:pt x="3635" y="1837"/>
                    </a:moveTo>
                    <a:cubicBezTo>
                      <a:pt x="7643" y="-1213"/>
                      <a:pt x="13444" y="-376"/>
                      <a:pt x="16494" y="3691"/>
                    </a:cubicBezTo>
                    <a:cubicBezTo>
                      <a:pt x="19544" y="7758"/>
                      <a:pt x="18767" y="13559"/>
                      <a:pt x="14699" y="16609"/>
                    </a:cubicBezTo>
                    <a:cubicBezTo>
                      <a:pt x="10693" y="19659"/>
                      <a:pt x="4891" y="18822"/>
                      <a:pt x="1841" y="14755"/>
                    </a:cubicBezTo>
                    <a:cubicBezTo>
                      <a:pt x="-1209" y="10688"/>
                      <a:pt x="-372" y="4887"/>
                      <a:pt x="3635" y="1837"/>
                    </a:cubicBezTo>
                    <a:close/>
                  </a:path>
                </a:pathLst>
              </a:custGeom>
              <a:grpFill/>
              <a:ln w="5978" cap="flat">
                <a:noFill/>
                <a:prstDash val="solid"/>
                <a:miter/>
              </a:ln>
            </p:spPr>
            <p:txBody>
              <a:bodyPr rtlCol="0" anchor="ctr"/>
              <a:lstStyle/>
              <a:p>
                <a:endParaRPr lang="en-GB"/>
              </a:p>
            </p:txBody>
          </p:sp>
          <p:sp>
            <p:nvSpPr>
              <p:cNvPr id="5074" name="Vrije vorm: vorm 5073">
                <a:extLst>
                  <a:ext uri="{FF2B5EF4-FFF2-40B4-BE49-F238E27FC236}">
                    <a16:creationId xmlns:a16="http://schemas.microsoft.com/office/drawing/2014/main" id="{316E427E-3B25-4A9A-81A9-9078F520ED89}"/>
                  </a:ext>
                </a:extLst>
              </p:cNvPr>
              <p:cNvSpPr/>
              <p:nvPr/>
            </p:nvSpPr>
            <p:spPr>
              <a:xfrm>
                <a:off x="7452012" y="2342168"/>
                <a:ext cx="18334" cy="18445"/>
              </a:xfrm>
              <a:custGeom>
                <a:avLst/>
                <a:gdLst>
                  <a:gd name="connsiteX0" fmla="*/ 3635 w 18334"/>
                  <a:gd name="connsiteY0" fmla="*/ 1837 h 18445"/>
                  <a:gd name="connsiteX1" fmla="*/ 1841 w 18334"/>
                  <a:gd name="connsiteY1" fmla="*/ 14755 h 18445"/>
                  <a:gd name="connsiteX2" fmla="*/ 14699 w 18334"/>
                  <a:gd name="connsiteY2" fmla="*/ 16609 h 18445"/>
                  <a:gd name="connsiteX3" fmla="*/ 16494 w 18334"/>
                  <a:gd name="connsiteY3" fmla="*/ 3691 h 18445"/>
                  <a:gd name="connsiteX4" fmla="*/ 3635 w 18334"/>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5">
                    <a:moveTo>
                      <a:pt x="3635" y="1837"/>
                    </a:moveTo>
                    <a:cubicBezTo>
                      <a:pt x="-372" y="4887"/>
                      <a:pt x="-1209" y="10688"/>
                      <a:pt x="1841" y="14755"/>
                    </a:cubicBezTo>
                    <a:cubicBezTo>
                      <a:pt x="4891" y="18822"/>
                      <a:pt x="10632" y="19659"/>
                      <a:pt x="14699" y="16609"/>
                    </a:cubicBezTo>
                    <a:cubicBezTo>
                      <a:pt x="18707" y="13559"/>
                      <a:pt x="19543" y="7758"/>
                      <a:pt x="16494" y="3691"/>
                    </a:cubicBezTo>
                    <a:cubicBezTo>
                      <a:pt x="13384" y="-376"/>
                      <a:pt x="7642" y="-1213"/>
                      <a:pt x="3635" y="1837"/>
                    </a:cubicBezTo>
                    <a:close/>
                  </a:path>
                </a:pathLst>
              </a:custGeom>
              <a:grpFill/>
              <a:ln w="5978" cap="flat">
                <a:noFill/>
                <a:prstDash val="solid"/>
                <a:miter/>
              </a:ln>
            </p:spPr>
            <p:txBody>
              <a:bodyPr rtlCol="0" anchor="ctr"/>
              <a:lstStyle/>
              <a:p>
                <a:endParaRPr lang="en-GB"/>
              </a:p>
            </p:txBody>
          </p:sp>
        </p:grpSp>
        <p:grpSp>
          <p:nvGrpSpPr>
            <p:cNvPr id="103" name="Graphic 3">
              <a:extLst>
                <a:ext uri="{FF2B5EF4-FFF2-40B4-BE49-F238E27FC236}">
                  <a16:creationId xmlns:a16="http://schemas.microsoft.com/office/drawing/2014/main" id="{940CAD2D-B21C-4256-9D85-8EBDA6F2B3AA}"/>
                </a:ext>
              </a:extLst>
            </p:cNvPr>
            <p:cNvGrpSpPr/>
            <p:nvPr/>
          </p:nvGrpSpPr>
          <p:grpSpPr>
            <a:xfrm>
              <a:off x="8031272" y="3685806"/>
              <a:ext cx="95505" cy="29251"/>
              <a:chOff x="8031272" y="3685806"/>
              <a:chExt cx="95505" cy="29251"/>
            </a:xfrm>
            <a:grpFill/>
          </p:grpSpPr>
          <p:sp>
            <p:nvSpPr>
              <p:cNvPr id="5069" name="Vrije vorm: vorm 5068">
                <a:extLst>
                  <a:ext uri="{FF2B5EF4-FFF2-40B4-BE49-F238E27FC236}">
                    <a16:creationId xmlns:a16="http://schemas.microsoft.com/office/drawing/2014/main" id="{F266F7A4-4EFF-4213-AB80-848087D21BD7}"/>
                  </a:ext>
                </a:extLst>
              </p:cNvPr>
              <p:cNvSpPr/>
              <p:nvPr/>
            </p:nvSpPr>
            <p:spPr>
              <a:xfrm>
                <a:off x="8039784" y="3693435"/>
                <a:ext cx="78467" cy="13994"/>
              </a:xfrm>
              <a:custGeom>
                <a:avLst/>
                <a:gdLst>
                  <a:gd name="connsiteX0" fmla="*/ 78467 w 78467"/>
                  <a:gd name="connsiteY0" fmla="*/ 10945 h 13994"/>
                  <a:gd name="connsiteX1" fmla="*/ 78049 w 78467"/>
                  <a:gd name="connsiteY1" fmla="*/ 13995 h 13994"/>
                  <a:gd name="connsiteX2" fmla="*/ 0 w 78467"/>
                  <a:gd name="connsiteY2" fmla="*/ 3050 h 13994"/>
                  <a:gd name="connsiteX3" fmla="*/ 419 w 78467"/>
                  <a:gd name="connsiteY3" fmla="*/ 0 h 13994"/>
                </a:gdLst>
                <a:ahLst/>
                <a:cxnLst>
                  <a:cxn ang="0">
                    <a:pos x="connsiteX0" y="connsiteY0"/>
                  </a:cxn>
                  <a:cxn ang="0">
                    <a:pos x="connsiteX1" y="connsiteY1"/>
                  </a:cxn>
                  <a:cxn ang="0">
                    <a:pos x="connsiteX2" y="connsiteY2"/>
                  </a:cxn>
                  <a:cxn ang="0">
                    <a:pos x="connsiteX3" y="connsiteY3"/>
                  </a:cxn>
                </a:cxnLst>
                <a:rect l="l" t="t" r="r" b="b"/>
                <a:pathLst>
                  <a:path w="78467" h="13994">
                    <a:moveTo>
                      <a:pt x="78467" y="10945"/>
                    </a:moveTo>
                    <a:lnTo>
                      <a:pt x="78049" y="13995"/>
                    </a:lnTo>
                    <a:lnTo>
                      <a:pt x="0" y="3050"/>
                    </a:lnTo>
                    <a:lnTo>
                      <a:pt x="419" y="0"/>
                    </a:lnTo>
                    <a:close/>
                  </a:path>
                </a:pathLst>
              </a:custGeom>
              <a:grpFill/>
              <a:ln w="5978" cap="flat">
                <a:noFill/>
                <a:prstDash val="solid"/>
                <a:miter/>
              </a:ln>
            </p:spPr>
            <p:txBody>
              <a:bodyPr rtlCol="0" anchor="ctr"/>
              <a:lstStyle/>
              <a:p>
                <a:endParaRPr lang="en-GB"/>
              </a:p>
            </p:txBody>
          </p:sp>
          <p:sp>
            <p:nvSpPr>
              <p:cNvPr id="5070" name="Vrije vorm: vorm 5069">
                <a:extLst>
                  <a:ext uri="{FF2B5EF4-FFF2-40B4-BE49-F238E27FC236}">
                    <a16:creationId xmlns:a16="http://schemas.microsoft.com/office/drawing/2014/main" id="{A13944D7-F824-45D9-B255-A22B938F5942}"/>
                  </a:ext>
                </a:extLst>
              </p:cNvPr>
              <p:cNvSpPr/>
              <p:nvPr/>
            </p:nvSpPr>
            <p:spPr>
              <a:xfrm>
                <a:off x="8108470" y="3696631"/>
                <a:ext cx="18307" cy="18426"/>
              </a:xfrm>
              <a:custGeom>
                <a:avLst/>
                <a:gdLst>
                  <a:gd name="connsiteX0" fmla="*/ 10380 w 18307"/>
                  <a:gd name="connsiteY0" fmla="*/ 93 h 18426"/>
                  <a:gd name="connsiteX1" fmla="*/ 18214 w 18307"/>
                  <a:gd name="connsiteY1" fmla="*/ 10499 h 18426"/>
                  <a:gd name="connsiteX2" fmla="*/ 7928 w 18307"/>
                  <a:gd name="connsiteY2" fmla="*/ 18334 h 18426"/>
                  <a:gd name="connsiteX3" fmla="*/ 93 w 18307"/>
                  <a:gd name="connsiteY3" fmla="*/ 7927 h 18426"/>
                  <a:gd name="connsiteX4" fmla="*/ 10380 w 18307"/>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10380" y="93"/>
                    </a:moveTo>
                    <a:cubicBezTo>
                      <a:pt x="15404" y="810"/>
                      <a:pt x="18932" y="5475"/>
                      <a:pt x="18214" y="10499"/>
                    </a:cubicBezTo>
                    <a:cubicBezTo>
                      <a:pt x="17557" y="15523"/>
                      <a:pt x="12892" y="19052"/>
                      <a:pt x="7928" y="18334"/>
                    </a:cubicBezTo>
                    <a:cubicBezTo>
                      <a:pt x="2904" y="17616"/>
                      <a:pt x="-625" y="12951"/>
                      <a:pt x="93" y="7927"/>
                    </a:cubicBezTo>
                    <a:cubicBezTo>
                      <a:pt x="691" y="2904"/>
                      <a:pt x="5356" y="-625"/>
                      <a:pt x="10380" y="93"/>
                    </a:cubicBezTo>
                    <a:close/>
                  </a:path>
                </a:pathLst>
              </a:custGeom>
              <a:grpFill/>
              <a:ln w="5978" cap="flat">
                <a:noFill/>
                <a:prstDash val="solid"/>
                <a:miter/>
              </a:ln>
            </p:spPr>
            <p:txBody>
              <a:bodyPr rtlCol="0" anchor="ctr"/>
              <a:lstStyle/>
              <a:p>
                <a:endParaRPr lang="en-GB"/>
              </a:p>
            </p:txBody>
          </p:sp>
          <p:sp>
            <p:nvSpPr>
              <p:cNvPr id="5071" name="Vrije vorm: vorm 5070">
                <a:extLst>
                  <a:ext uri="{FF2B5EF4-FFF2-40B4-BE49-F238E27FC236}">
                    <a16:creationId xmlns:a16="http://schemas.microsoft.com/office/drawing/2014/main" id="{3EBD3C4D-C3CE-4BA6-9E4B-44E5D03F5AD2}"/>
                  </a:ext>
                </a:extLst>
              </p:cNvPr>
              <p:cNvSpPr/>
              <p:nvPr/>
            </p:nvSpPr>
            <p:spPr>
              <a:xfrm>
                <a:off x="8031272" y="3685806"/>
                <a:ext cx="18293" cy="18426"/>
              </a:xfrm>
              <a:custGeom>
                <a:avLst/>
                <a:gdLst>
                  <a:gd name="connsiteX0" fmla="*/ 10367 w 18293"/>
                  <a:gd name="connsiteY0" fmla="*/ 93 h 18426"/>
                  <a:gd name="connsiteX1" fmla="*/ 80 w 18293"/>
                  <a:gd name="connsiteY1" fmla="*/ 7927 h 18426"/>
                  <a:gd name="connsiteX2" fmla="*/ 7914 w 18293"/>
                  <a:gd name="connsiteY2" fmla="*/ 18334 h 18426"/>
                  <a:gd name="connsiteX3" fmla="*/ 18201 w 18293"/>
                  <a:gd name="connsiteY3" fmla="*/ 10499 h 18426"/>
                  <a:gd name="connsiteX4" fmla="*/ 10367 w 18293"/>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26">
                    <a:moveTo>
                      <a:pt x="10367" y="93"/>
                    </a:moveTo>
                    <a:cubicBezTo>
                      <a:pt x="5343" y="-625"/>
                      <a:pt x="738" y="2904"/>
                      <a:pt x="80" y="7927"/>
                    </a:cubicBezTo>
                    <a:cubicBezTo>
                      <a:pt x="-578" y="12951"/>
                      <a:pt x="2891" y="17616"/>
                      <a:pt x="7914" y="18334"/>
                    </a:cubicBezTo>
                    <a:cubicBezTo>
                      <a:pt x="12938" y="19052"/>
                      <a:pt x="17543" y="15523"/>
                      <a:pt x="18201" y="10499"/>
                    </a:cubicBezTo>
                    <a:cubicBezTo>
                      <a:pt x="18919" y="5475"/>
                      <a:pt x="15390" y="810"/>
                      <a:pt x="10367" y="93"/>
                    </a:cubicBezTo>
                    <a:close/>
                  </a:path>
                </a:pathLst>
              </a:custGeom>
              <a:grpFill/>
              <a:ln w="5978" cap="flat">
                <a:noFill/>
                <a:prstDash val="solid"/>
                <a:miter/>
              </a:ln>
            </p:spPr>
            <p:txBody>
              <a:bodyPr rtlCol="0" anchor="ctr"/>
              <a:lstStyle/>
              <a:p>
                <a:endParaRPr lang="en-GB"/>
              </a:p>
            </p:txBody>
          </p:sp>
        </p:grpSp>
        <p:grpSp>
          <p:nvGrpSpPr>
            <p:cNvPr id="104" name="Graphic 3">
              <a:extLst>
                <a:ext uri="{FF2B5EF4-FFF2-40B4-BE49-F238E27FC236}">
                  <a16:creationId xmlns:a16="http://schemas.microsoft.com/office/drawing/2014/main" id="{105B12C5-219B-43CB-93A4-EF2534198E62}"/>
                </a:ext>
              </a:extLst>
            </p:cNvPr>
            <p:cNvGrpSpPr/>
            <p:nvPr/>
          </p:nvGrpSpPr>
          <p:grpSpPr>
            <a:xfrm>
              <a:off x="7700928" y="2679868"/>
              <a:ext cx="62810" cy="37432"/>
              <a:chOff x="7700928" y="2679868"/>
              <a:chExt cx="62810" cy="37432"/>
            </a:xfrm>
            <a:grpFill/>
          </p:grpSpPr>
          <p:sp>
            <p:nvSpPr>
              <p:cNvPr id="5066" name="Vrije vorm: vorm 5065">
                <a:extLst>
                  <a:ext uri="{FF2B5EF4-FFF2-40B4-BE49-F238E27FC236}">
                    <a16:creationId xmlns:a16="http://schemas.microsoft.com/office/drawing/2014/main" id="{AC6CCE11-DC95-49EF-98FE-BF61B9504386}"/>
                  </a:ext>
                </a:extLst>
              </p:cNvPr>
              <p:cNvSpPr/>
              <p:nvPr/>
            </p:nvSpPr>
            <p:spPr>
              <a:xfrm>
                <a:off x="7709051" y="2687477"/>
                <a:ext cx="46530" cy="22248"/>
              </a:xfrm>
              <a:custGeom>
                <a:avLst/>
                <a:gdLst>
                  <a:gd name="connsiteX0" fmla="*/ 46530 w 46530"/>
                  <a:gd name="connsiteY0" fmla="*/ 2811 h 22248"/>
                  <a:gd name="connsiteX1" fmla="*/ 1196 w 46530"/>
                  <a:gd name="connsiteY1" fmla="*/ 22248 h 22248"/>
                  <a:gd name="connsiteX2" fmla="*/ 0 w 46530"/>
                  <a:gd name="connsiteY2" fmla="*/ 19378 h 22248"/>
                  <a:gd name="connsiteX3" fmla="*/ 45334 w 46530"/>
                  <a:gd name="connsiteY3" fmla="*/ 0 h 22248"/>
                </a:gdLst>
                <a:ahLst/>
                <a:cxnLst>
                  <a:cxn ang="0">
                    <a:pos x="connsiteX0" y="connsiteY0"/>
                  </a:cxn>
                  <a:cxn ang="0">
                    <a:pos x="connsiteX1" y="connsiteY1"/>
                  </a:cxn>
                  <a:cxn ang="0">
                    <a:pos x="connsiteX2" y="connsiteY2"/>
                  </a:cxn>
                  <a:cxn ang="0">
                    <a:pos x="connsiteX3" y="connsiteY3"/>
                  </a:cxn>
                </a:cxnLst>
                <a:rect l="l" t="t" r="r" b="b"/>
                <a:pathLst>
                  <a:path w="46530" h="22248">
                    <a:moveTo>
                      <a:pt x="46530" y="2811"/>
                    </a:moveTo>
                    <a:lnTo>
                      <a:pt x="1196" y="22248"/>
                    </a:lnTo>
                    <a:lnTo>
                      <a:pt x="0" y="19378"/>
                    </a:lnTo>
                    <a:lnTo>
                      <a:pt x="45334" y="0"/>
                    </a:lnTo>
                    <a:close/>
                  </a:path>
                </a:pathLst>
              </a:custGeom>
              <a:grpFill/>
              <a:ln w="5978" cap="flat">
                <a:noFill/>
                <a:prstDash val="solid"/>
                <a:miter/>
              </a:ln>
            </p:spPr>
            <p:txBody>
              <a:bodyPr rtlCol="0" anchor="ctr"/>
              <a:lstStyle/>
              <a:p>
                <a:endParaRPr lang="en-GB"/>
              </a:p>
            </p:txBody>
          </p:sp>
          <p:sp>
            <p:nvSpPr>
              <p:cNvPr id="5067" name="Vrije vorm: vorm 5066">
                <a:extLst>
                  <a:ext uri="{FF2B5EF4-FFF2-40B4-BE49-F238E27FC236}">
                    <a16:creationId xmlns:a16="http://schemas.microsoft.com/office/drawing/2014/main" id="{C40102BB-7F39-461B-85D2-006DCF4FF500}"/>
                  </a:ext>
                </a:extLst>
              </p:cNvPr>
              <p:cNvSpPr/>
              <p:nvPr/>
            </p:nvSpPr>
            <p:spPr>
              <a:xfrm>
                <a:off x="7745424" y="2679868"/>
                <a:ext cx="18313" cy="18388"/>
              </a:xfrm>
              <a:custGeom>
                <a:avLst/>
                <a:gdLst>
                  <a:gd name="connsiteX0" fmla="*/ 5551 w 18313"/>
                  <a:gd name="connsiteY0" fmla="*/ 732 h 18388"/>
                  <a:gd name="connsiteX1" fmla="*/ 17573 w 18313"/>
                  <a:gd name="connsiteY1" fmla="*/ 5576 h 18388"/>
                  <a:gd name="connsiteX2" fmla="*/ 12788 w 18313"/>
                  <a:gd name="connsiteY2" fmla="*/ 17657 h 18388"/>
                  <a:gd name="connsiteX3" fmla="*/ 767 w 18313"/>
                  <a:gd name="connsiteY3" fmla="*/ 12813 h 18388"/>
                  <a:gd name="connsiteX4" fmla="*/ 5551 w 18313"/>
                  <a:gd name="connsiteY4" fmla="*/ 732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88">
                    <a:moveTo>
                      <a:pt x="5551" y="732"/>
                    </a:moveTo>
                    <a:cubicBezTo>
                      <a:pt x="10216" y="-1242"/>
                      <a:pt x="15599" y="911"/>
                      <a:pt x="17573" y="5576"/>
                    </a:cubicBezTo>
                    <a:cubicBezTo>
                      <a:pt x="19546" y="10241"/>
                      <a:pt x="17453" y="15684"/>
                      <a:pt x="12788" y="17657"/>
                    </a:cubicBezTo>
                    <a:cubicBezTo>
                      <a:pt x="8123" y="19631"/>
                      <a:pt x="2740" y="17478"/>
                      <a:pt x="767" y="12813"/>
                    </a:cubicBezTo>
                    <a:cubicBezTo>
                      <a:pt x="-1267" y="8088"/>
                      <a:pt x="886" y="2705"/>
                      <a:pt x="5551" y="732"/>
                    </a:cubicBezTo>
                    <a:close/>
                  </a:path>
                </a:pathLst>
              </a:custGeom>
              <a:grpFill/>
              <a:ln w="5978" cap="flat">
                <a:noFill/>
                <a:prstDash val="solid"/>
                <a:miter/>
              </a:ln>
            </p:spPr>
            <p:txBody>
              <a:bodyPr rtlCol="0" anchor="ctr"/>
              <a:lstStyle/>
              <a:p>
                <a:endParaRPr lang="en-GB"/>
              </a:p>
            </p:txBody>
          </p:sp>
          <p:sp>
            <p:nvSpPr>
              <p:cNvPr id="5068" name="Vrije vorm: vorm 5067">
                <a:extLst>
                  <a:ext uri="{FF2B5EF4-FFF2-40B4-BE49-F238E27FC236}">
                    <a16:creationId xmlns:a16="http://schemas.microsoft.com/office/drawing/2014/main" id="{64BEA4BA-E8C0-4575-8E21-E374C2D90789}"/>
                  </a:ext>
                </a:extLst>
              </p:cNvPr>
              <p:cNvSpPr/>
              <p:nvPr/>
            </p:nvSpPr>
            <p:spPr>
              <a:xfrm>
                <a:off x="7700928" y="2698886"/>
                <a:ext cx="18339" cy="18414"/>
              </a:xfrm>
              <a:custGeom>
                <a:avLst/>
                <a:gdLst>
                  <a:gd name="connsiteX0" fmla="*/ 5551 w 18339"/>
                  <a:gd name="connsiteY0" fmla="*/ 732 h 18414"/>
                  <a:gd name="connsiteX1" fmla="*/ 767 w 18339"/>
                  <a:gd name="connsiteY1" fmla="*/ 12813 h 18414"/>
                  <a:gd name="connsiteX2" fmla="*/ 12788 w 18339"/>
                  <a:gd name="connsiteY2" fmla="*/ 17657 h 18414"/>
                  <a:gd name="connsiteX3" fmla="*/ 17572 w 18339"/>
                  <a:gd name="connsiteY3" fmla="*/ 5576 h 18414"/>
                  <a:gd name="connsiteX4" fmla="*/ 5551 w 18339"/>
                  <a:gd name="connsiteY4" fmla="*/ 73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4">
                    <a:moveTo>
                      <a:pt x="5551" y="732"/>
                    </a:moveTo>
                    <a:cubicBezTo>
                      <a:pt x="886" y="2705"/>
                      <a:pt x="-1267" y="8148"/>
                      <a:pt x="767" y="12813"/>
                    </a:cubicBezTo>
                    <a:cubicBezTo>
                      <a:pt x="2740" y="17478"/>
                      <a:pt x="8183" y="19691"/>
                      <a:pt x="12788" y="17657"/>
                    </a:cubicBezTo>
                    <a:cubicBezTo>
                      <a:pt x="17453" y="15684"/>
                      <a:pt x="19606" y="10241"/>
                      <a:pt x="17572" y="5576"/>
                    </a:cubicBezTo>
                    <a:cubicBezTo>
                      <a:pt x="15599" y="911"/>
                      <a:pt x="10216" y="-1242"/>
                      <a:pt x="5551" y="732"/>
                    </a:cubicBezTo>
                    <a:close/>
                  </a:path>
                </a:pathLst>
              </a:custGeom>
              <a:grpFill/>
              <a:ln w="5978" cap="flat">
                <a:noFill/>
                <a:prstDash val="solid"/>
                <a:miter/>
              </a:ln>
            </p:spPr>
            <p:txBody>
              <a:bodyPr rtlCol="0" anchor="ctr"/>
              <a:lstStyle/>
              <a:p>
                <a:endParaRPr lang="en-GB"/>
              </a:p>
            </p:txBody>
          </p:sp>
        </p:grpSp>
        <p:grpSp>
          <p:nvGrpSpPr>
            <p:cNvPr id="105" name="Graphic 3">
              <a:extLst>
                <a:ext uri="{FF2B5EF4-FFF2-40B4-BE49-F238E27FC236}">
                  <a16:creationId xmlns:a16="http://schemas.microsoft.com/office/drawing/2014/main" id="{132975E9-23BB-46C9-9E49-556D26ECA894}"/>
                </a:ext>
              </a:extLst>
            </p:cNvPr>
            <p:cNvGrpSpPr/>
            <p:nvPr/>
          </p:nvGrpSpPr>
          <p:grpSpPr>
            <a:xfrm>
              <a:off x="7767078" y="2898731"/>
              <a:ext cx="112951" cy="45005"/>
              <a:chOff x="7767078" y="2898731"/>
              <a:chExt cx="112951" cy="45005"/>
            </a:xfrm>
            <a:grpFill/>
          </p:grpSpPr>
          <p:sp>
            <p:nvSpPr>
              <p:cNvPr id="5063" name="Vrije vorm: vorm 5062">
                <a:extLst>
                  <a:ext uri="{FF2B5EF4-FFF2-40B4-BE49-F238E27FC236}">
                    <a16:creationId xmlns:a16="http://schemas.microsoft.com/office/drawing/2014/main" id="{03024DAD-4F52-436B-807D-49D86248029C}"/>
                  </a:ext>
                </a:extLst>
              </p:cNvPr>
              <p:cNvSpPr/>
              <p:nvPr/>
            </p:nvSpPr>
            <p:spPr>
              <a:xfrm>
                <a:off x="7775437" y="2906372"/>
                <a:ext cx="96289" cy="29724"/>
              </a:xfrm>
              <a:custGeom>
                <a:avLst/>
                <a:gdLst>
                  <a:gd name="connsiteX0" fmla="*/ 95512 w 96289"/>
                  <a:gd name="connsiteY0" fmla="*/ 0 h 29724"/>
                  <a:gd name="connsiteX1" fmla="*/ 96289 w 96289"/>
                  <a:gd name="connsiteY1" fmla="*/ 2930 h 29724"/>
                  <a:gd name="connsiteX2" fmla="*/ 837 w 96289"/>
                  <a:gd name="connsiteY2" fmla="*/ 29724 h 29724"/>
                  <a:gd name="connsiteX3" fmla="*/ 0 w 96289"/>
                  <a:gd name="connsiteY3" fmla="*/ 26734 h 29724"/>
                </a:gdLst>
                <a:ahLst/>
                <a:cxnLst>
                  <a:cxn ang="0">
                    <a:pos x="connsiteX0" y="connsiteY0"/>
                  </a:cxn>
                  <a:cxn ang="0">
                    <a:pos x="connsiteX1" y="connsiteY1"/>
                  </a:cxn>
                  <a:cxn ang="0">
                    <a:pos x="connsiteX2" y="connsiteY2"/>
                  </a:cxn>
                  <a:cxn ang="0">
                    <a:pos x="connsiteX3" y="connsiteY3"/>
                  </a:cxn>
                </a:cxnLst>
                <a:rect l="l" t="t" r="r" b="b"/>
                <a:pathLst>
                  <a:path w="96289" h="29724">
                    <a:moveTo>
                      <a:pt x="95512" y="0"/>
                    </a:moveTo>
                    <a:lnTo>
                      <a:pt x="96289" y="2930"/>
                    </a:lnTo>
                    <a:lnTo>
                      <a:pt x="837" y="29724"/>
                    </a:lnTo>
                    <a:lnTo>
                      <a:pt x="0" y="26734"/>
                    </a:lnTo>
                    <a:close/>
                  </a:path>
                </a:pathLst>
              </a:custGeom>
              <a:grpFill/>
              <a:ln w="5978" cap="flat">
                <a:noFill/>
                <a:prstDash val="solid"/>
                <a:miter/>
              </a:ln>
            </p:spPr>
            <p:txBody>
              <a:bodyPr rtlCol="0" anchor="ctr"/>
              <a:lstStyle/>
              <a:p>
                <a:endParaRPr lang="en-GB"/>
              </a:p>
            </p:txBody>
          </p:sp>
          <p:sp>
            <p:nvSpPr>
              <p:cNvPr id="5064" name="Vrije vorm: vorm 5063">
                <a:extLst>
                  <a:ext uri="{FF2B5EF4-FFF2-40B4-BE49-F238E27FC236}">
                    <a16:creationId xmlns:a16="http://schemas.microsoft.com/office/drawing/2014/main" id="{50013006-1FEA-45C1-80D9-FC3685DEC23E}"/>
                  </a:ext>
                </a:extLst>
              </p:cNvPr>
              <p:cNvSpPr/>
              <p:nvPr/>
            </p:nvSpPr>
            <p:spPr>
              <a:xfrm>
                <a:off x="7861714" y="2898731"/>
                <a:ext cx="18315" cy="18451"/>
              </a:xfrm>
              <a:custGeom>
                <a:avLst/>
                <a:gdLst>
                  <a:gd name="connsiteX0" fmla="*/ 6664 w 18315"/>
                  <a:gd name="connsiteY0" fmla="*/ 344 h 18451"/>
                  <a:gd name="connsiteX1" fmla="*/ 17967 w 18315"/>
                  <a:gd name="connsiteY1" fmla="*/ 6744 h 18451"/>
                  <a:gd name="connsiteX2" fmla="*/ 11627 w 18315"/>
                  <a:gd name="connsiteY2" fmla="*/ 18107 h 18451"/>
                  <a:gd name="connsiteX3" fmla="*/ 324 w 18315"/>
                  <a:gd name="connsiteY3" fmla="*/ 11708 h 18451"/>
                  <a:gd name="connsiteX4" fmla="*/ 6664 w 18315"/>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1">
                    <a:moveTo>
                      <a:pt x="6664" y="344"/>
                    </a:moveTo>
                    <a:cubicBezTo>
                      <a:pt x="11508" y="-1031"/>
                      <a:pt x="16591" y="1839"/>
                      <a:pt x="17967" y="6744"/>
                    </a:cubicBezTo>
                    <a:cubicBezTo>
                      <a:pt x="19343" y="11648"/>
                      <a:pt x="16531" y="16731"/>
                      <a:pt x="11627" y="18107"/>
                    </a:cubicBezTo>
                    <a:cubicBezTo>
                      <a:pt x="6783" y="19483"/>
                      <a:pt x="1699" y="16612"/>
                      <a:pt x="324" y="11708"/>
                    </a:cubicBezTo>
                    <a:cubicBezTo>
                      <a:pt x="-992" y="6804"/>
                      <a:pt x="1819" y="1720"/>
                      <a:pt x="6664" y="344"/>
                    </a:cubicBezTo>
                    <a:close/>
                  </a:path>
                </a:pathLst>
              </a:custGeom>
              <a:grpFill/>
              <a:ln w="5978" cap="flat">
                <a:noFill/>
                <a:prstDash val="solid"/>
                <a:miter/>
              </a:ln>
            </p:spPr>
            <p:txBody>
              <a:bodyPr rtlCol="0" anchor="ctr"/>
              <a:lstStyle/>
              <a:p>
                <a:endParaRPr lang="en-GB"/>
              </a:p>
            </p:txBody>
          </p:sp>
          <p:sp>
            <p:nvSpPr>
              <p:cNvPr id="5065" name="Vrije vorm: vorm 5064">
                <a:extLst>
                  <a:ext uri="{FF2B5EF4-FFF2-40B4-BE49-F238E27FC236}">
                    <a16:creationId xmlns:a16="http://schemas.microsoft.com/office/drawing/2014/main" id="{4B14F49C-4BAC-4209-8411-8894785B94AF}"/>
                  </a:ext>
                </a:extLst>
              </p:cNvPr>
              <p:cNvSpPr/>
              <p:nvPr/>
            </p:nvSpPr>
            <p:spPr>
              <a:xfrm>
                <a:off x="7767078" y="2925285"/>
                <a:ext cx="18331" cy="18451"/>
              </a:xfrm>
              <a:custGeom>
                <a:avLst/>
                <a:gdLst>
                  <a:gd name="connsiteX0" fmla="*/ 6684 w 18331"/>
                  <a:gd name="connsiteY0" fmla="*/ 344 h 18451"/>
                  <a:gd name="connsiteX1" fmla="*/ 345 w 18331"/>
                  <a:gd name="connsiteY1" fmla="*/ 11708 h 18451"/>
                  <a:gd name="connsiteX2" fmla="*/ 11648 w 18331"/>
                  <a:gd name="connsiteY2" fmla="*/ 18107 h 18451"/>
                  <a:gd name="connsiteX3" fmla="*/ 17987 w 18331"/>
                  <a:gd name="connsiteY3" fmla="*/ 6744 h 18451"/>
                  <a:gd name="connsiteX4" fmla="*/ 6684 w 18331"/>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51">
                    <a:moveTo>
                      <a:pt x="6684" y="344"/>
                    </a:moveTo>
                    <a:cubicBezTo>
                      <a:pt x="1840" y="1720"/>
                      <a:pt x="-1031" y="6803"/>
                      <a:pt x="345" y="11708"/>
                    </a:cubicBezTo>
                    <a:cubicBezTo>
                      <a:pt x="1720" y="16612"/>
                      <a:pt x="6803" y="19483"/>
                      <a:pt x="11648" y="18107"/>
                    </a:cubicBezTo>
                    <a:cubicBezTo>
                      <a:pt x="16492" y="16731"/>
                      <a:pt x="19363" y="11648"/>
                      <a:pt x="17987" y="6744"/>
                    </a:cubicBezTo>
                    <a:cubicBezTo>
                      <a:pt x="16672" y="1839"/>
                      <a:pt x="11588" y="-1031"/>
                      <a:pt x="6684" y="344"/>
                    </a:cubicBezTo>
                    <a:close/>
                  </a:path>
                </a:pathLst>
              </a:custGeom>
              <a:grpFill/>
              <a:ln w="5978" cap="flat">
                <a:noFill/>
                <a:prstDash val="solid"/>
                <a:miter/>
              </a:ln>
            </p:spPr>
            <p:txBody>
              <a:bodyPr rtlCol="0" anchor="ctr"/>
              <a:lstStyle/>
              <a:p>
                <a:endParaRPr lang="en-GB"/>
              </a:p>
            </p:txBody>
          </p:sp>
        </p:grpSp>
        <p:grpSp>
          <p:nvGrpSpPr>
            <p:cNvPr id="106" name="Graphic 3">
              <a:extLst>
                <a:ext uri="{FF2B5EF4-FFF2-40B4-BE49-F238E27FC236}">
                  <a16:creationId xmlns:a16="http://schemas.microsoft.com/office/drawing/2014/main" id="{5B0F88E8-CE67-4990-B715-58BE69C3436E}"/>
                </a:ext>
              </a:extLst>
            </p:cNvPr>
            <p:cNvGrpSpPr/>
            <p:nvPr/>
          </p:nvGrpSpPr>
          <p:grpSpPr>
            <a:xfrm>
              <a:off x="7622268" y="2425442"/>
              <a:ext cx="95596" cy="64359"/>
              <a:chOff x="7622268" y="2425442"/>
              <a:chExt cx="95596" cy="64359"/>
            </a:xfrm>
            <a:grpFill/>
          </p:grpSpPr>
          <p:sp>
            <p:nvSpPr>
              <p:cNvPr id="5060" name="Vrije vorm: vorm 5059">
                <a:extLst>
                  <a:ext uri="{FF2B5EF4-FFF2-40B4-BE49-F238E27FC236}">
                    <a16:creationId xmlns:a16="http://schemas.microsoft.com/office/drawing/2014/main" id="{85C3D990-7579-4658-8E56-6B3544345BA5}"/>
                  </a:ext>
                </a:extLst>
              </p:cNvPr>
              <p:cNvSpPr/>
              <p:nvPr/>
            </p:nvSpPr>
            <p:spPr>
              <a:xfrm>
                <a:off x="7630284" y="2433117"/>
                <a:ext cx="79603" cy="49041"/>
              </a:xfrm>
              <a:custGeom>
                <a:avLst/>
                <a:gdLst>
                  <a:gd name="connsiteX0" fmla="*/ 79604 w 79603"/>
                  <a:gd name="connsiteY0" fmla="*/ 2632 h 49041"/>
                  <a:gd name="connsiteX1" fmla="*/ 1555 w 79603"/>
                  <a:gd name="connsiteY1" fmla="*/ 49042 h 49041"/>
                  <a:gd name="connsiteX2" fmla="*/ 0 w 79603"/>
                  <a:gd name="connsiteY2" fmla="*/ 46410 h 49041"/>
                  <a:gd name="connsiteX3" fmla="*/ 78049 w 79603"/>
                  <a:gd name="connsiteY3" fmla="*/ 0 h 49041"/>
                </a:gdLst>
                <a:ahLst/>
                <a:cxnLst>
                  <a:cxn ang="0">
                    <a:pos x="connsiteX0" y="connsiteY0"/>
                  </a:cxn>
                  <a:cxn ang="0">
                    <a:pos x="connsiteX1" y="connsiteY1"/>
                  </a:cxn>
                  <a:cxn ang="0">
                    <a:pos x="connsiteX2" y="connsiteY2"/>
                  </a:cxn>
                  <a:cxn ang="0">
                    <a:pos x="connsiteX3" y="connsiteY3"/>
                  </a:cxn>
                </a:cxnLst>
                <a:rect l="l" t="t" r="r" b="b"/>
                <a:pathLst>
                  <a:path w="79603" h="49041">
                    <a:moveTo>
                      <a:pt x="79604" y="2632"/>
                    </a:moveTo>
                    <a:lnTo>
                      <a:pt x="1555" y="49042"/>
                    </a:lnTo>
                    <a:lnTo>
                      <a:pt x="0" y="46410"/>
                    </a:lnTo>
                    <a:lnTo>
                      <a:pt x="78049" y="0"/>
                    </a:lnTo>
                    <a:close/>
                  </a:path>
                </a:pathLst>
              </a:custGeom>
              <a:grpFill/>
              <a:ln w="5978" cap="flat">
                <a:noFill/>
                <a:prstDash val="solid"/>
                <a:miter/>
              </a:ln>
            </p:spPr>
            <p:txBody>
              <a:bodyPr rtlCol="0" anchor="ctr"/>
              <a:lstStyle/>
              <a:p>
                <a:endParaRPr lang="en-GB"/>
              </a:p>
            </p:txBody>
          </p:sp>
          <p:sp>
            <p:nvSpPr>
              <p:cNvPr id="5061" name="Vrije vorm: vorm 5060">
                <a:extLst>
                  <a:ext uri="{FF2B5EF4-FFF2-40B4-BE49-F238E27FC236}">
                    <a16:creationId xmlns:a16="http://schemas.microsoft.com/office/drawing/2014/main" id="{D88786A3-BC85-4AF9-80A4-01841C444AF0}"/>
                  </a:ext>
                </a:extLst>
              </p:cNvPr>
              <p:cNvSpPr/>
              <p:nvPr/>
            </p:nvSpPr>
            <p:spPr>
              <a:xfrm>
                <a:off x="7699565" y="2425442"/>
                <a:ext cx="18299" cy="18400"/>
              </a:xfrm>
              <a:custGeom>
                <a:avLst/>
                <a:gdLst>
                  <a:gd name="connsiteX0" fmla="*/ 4461 w 18299"/>
                  <a:gd name="connsiteY0" fmla="*/ 1276 h 18400"/>
                  <a:gd name="connsiteX1" fmla="*/ 17021 w 18299"/>
                  <a:gd name="connsiteY1" fmla="*/ 4506 h 18400"/>
                  <a:gd name="connsiteX2" fmla="*/ 13851 w 18299"/>
                  <a:gd name="connsiteY2" fmla="*/ 17125 h 18400"/>
                  <a:gd name="connsiteX3" fmla="*/ 1292 w 18299"/>
                  <a:gd name="connsiteY3" fmla="*/ 13895 h 18400"/>
                  <a:gd name="connsiteX4" fmla="*/ 4461 w 18299"/>
                  <a:gd name="connsiteY4" fmla="*/ 127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00">
                    <a:moveTo>
                      <a:pt x="4461" y="1276"/>
                    </a:moveTo>
                    <a:cubicBezTo>
                      <a:pt x="8828" y="-1296"/>
                      <a:pt x="14449" y="140"/>
                      <a:pt x="17021" y="4506"/>
                    </a:cubicBezTo>
                    <a:cubicBezTo>
                      <a:pt x="19593" y="8872"/>
                      <a:pt x="18157" y="14553"/>
                      <a:pt x="13851" y="17125"/>
                    </a:cubicBezTo>
                    <a:cubicBezTo>
                      <a:pt x="9486" y="19697"/>
                      <a:pt x="3863" y="18261"/>
                      <a:pt x="1292" y="13895"/>
                    </a:cubicBezTo>
                    <a:cubicBezTo>
                      <a:pt x="-1280" y="9529"/>
                      <a:pt x="96" y="3907"/>
                      <a:pt x="4461" y="1276"/>
                    </a:cubicBezTo>
                    <a:close/>
                  </a:path>
                </a:pathLst>
              </a:custGeom>
              <a:grpFill/>
              <a:ln w="5978" cap="flat">
                <a:noFill/>
                <a:prstDash val="solid"/>
                <a:miter/>
              </a:ln>
            </p:spPr>
            <p:txBody>
              <a:bodyPr rtlCol="0" anchor="ctr"/>
              <a:lstStyle/>
              <a:p>
                <a:endParaRPr lang="en-GB"/>
              </a:p>
            </p:txBody>
          </p:sp>
          <p:sp>
            <p:nvSpPr>
              <p:cNvPr id="5062" name="Vrije vorm: vorm 5061">
                <a:extLst>
                  <a:ext uri="{FF2B5EF4-FFF2-40B4-BE49-F238E27FC236}">
                    <a16:creationId xmlns:a16="http://schemas.microsoft.com/office/drawing/2014/main" id="{96374017-4280-437E-9549-8ECBDE1F991B}"/>
                  </a:ext>
                </a:extLst>
              </p:cNvPr>
              <p:cNvSpPr/>
              <p:nvPr/>
            </p:nvSpPr>
            <p:spPr>
              <a:xfrm>
                <a:off x="7622268" y="2471374"/>
                <a:ext cx="18366" cy="18427"/>
              </a:xfrm>
              <a:custGeom>
                <a:avLst/>
                <a:gdLst>
                  <a:gd name="connsiteX0" fmla="*/ 4488 w 18366"/>
                  <a:gd name="connsiteY0" fmla="*/ 1276 h 18427"/>
                  <a:gd name="connsiteX1" fmla="*/ 1318 w 18366"/>
                  <a:gd name="connsiteY1" fmla="*/ 13895 h 18427"/>
                  <a:gd name="connsiteX2" fmla="*/ 13878 w 18366"/>
                  <a:gd name="connsiteY2" fmla="*/ 17125 h 18427"/>
                  <a:gd name="connsiteX3" fmla="*/ 17048 w 18366"/>
                  <a:gd name="connsiteY3" fmla="*/ 4505 h 18427"/>
                  <a:gd name="connsiteX4" fmla="*/ 4488 w 18366"/>
                  <a:gd name="connsiteY4" fmla="*/ 127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7">
                    <a:moveTo>
                      <a:pt x="4488" y="1276"/>
                    </a:moveTo>
                    <a:cubicBezTo>
                      <a:pt x="122" y="3848"/>
                      <a:pt x="-1313" y="9529"/>
                      <a:pt x="1318" y="13895"/>
                    </a:cubicBezTo>
                    <a:cubicBezTo>
                      <a:pt x="3890" y="18261"/>
                      <a:pt x="9512" y="19756"/>
                      <a:pt x="13878" y="17125"/>
                    </a:cubicBezTo>
                    <a:cubicBezTo>
                      <a:pt x="18243" y="14553"/>
                      <a:pt x="19679" y="8871"/>
                      <a:pt x="17048" y="4505"/>
                    </a:cubicBezTo>
                    <a:cubicBezTo>
                      <a:pt x="14475" y="140"/>
                      <a:pt x="8854" y="-1296"/>
                      <a:pt x="4488" y="1276"/>
                    </a:cubicBezTo>
                    <a:close/>
                  </a:path>
                </a:pathLst>
              </a:custGeom>
              <a:grpFill/>
              <a:ln w="5978" cap="flat">
                <a:noFill/>
                <a:prstDash val="solid"/>
                <a:miter/>
              </a:ln>
            </p:spPr>
            <p:txBody>
              <a:bodyPr rtlCol="0" anchor="ctr"/>
              <a:lstStyle/>
              <a:p>
                <a:endParaRPr lang="en-GB"/>
              </a:p>
            </p:txBody>
          </p:sp>
        </p:grpSp>
        <p:grpSp>
          <p:nvGrpSpPr>
            <p:cNvPr id="107" name="Graphic 3">
              <a:extLst>
                <a:ext uri="{FF2B5EF4-FFF2-40B4-BE49-F238E27FC236}">
                  <a16:creationId xmlns:a16="http://schemas.microsoft.com/office/drawing/2014/main" id="{7D5EAA6B-0476-44A9-86DB-39483337DED7}"/>
                </a:ext>
              </a:extLst>
            </p:cNvPr>
            <p:cNvGrpSpPr/>
            <p:nvPr/>
          </p:nvGrpSpPr>
          <p:grpSpPr>
            <a:xfrm>
              <a:off x="7878862" y="3243234"/>
              <a:ext cx="100557" cy="25490"/>
              <a:chOff x="7878862" y="3243234"/>
              <a:chExt cx="100557" cy="25490"/>
            </a:xfrm>
            <a:grpFill/>
          </p:grpSpPr>
          <p:sp>
            <p:nvSpPr>
              <p:cNvPr id="5057" name="Vrije vorm: vorm 5056">
                <a:extLst>
                  <a:ext uri="{FF2B5EF4-FFF2-40B4-BE49-F238E27FC236}">
                    <a16:creationId xmlns:a16="http://schemas.microsoft.com/office/drawing/2014/main" id="{1E773810-E3E3-429B-A530-74291A8B4072}"/>
                  </a:ext>
                </a:extLst>
              </p:cNvPr>
              <p:cNvSpPr/>
              <p:nvPr/>
            </p:nvSpPr>
            <p:spPr>
              <a:xfrm>
                <a:off x="7887396" y="3250921"/>
                <a:ext cx="83431" cy="10167"/>
              </a:xfrm>
              <a:custGeom>
                <a:avLst/>
                <a:gdLst>
                  <a:gd name="connsiteX0" fmla="*/ 83192 w 83431"/>
                  <a:gd name="connsiteY0" fmla="*/ 0 h 10167"/>
                  <a:gd name="connsiteX1" fmla="*/ 83432 w 83431"/>
                  <a:gd name="connsiteY1" fmla="*/ 3050 h 10167"/>
                  <a:gd name="connsiteX2" fmla="*/ 299 w 83431"/>
                  <a:gd name="connsiteY2" fmla="*/ 10167 h 10167"/>
                  <a:gd name="connsiteX3" fmla="*/ 0 w 83431"/>
                  <a:gd name="connsiteY3" fmla="*/ 7117 h 10167"/>
                </a:gdLst>
                <a:ahLst/>
                <a:cxnLst>
                  <a:cxn ang="0">
                    <a:pos x="connsiteX0" y="connsiteY0"/>
                  </a:cxn>
                  <a:cxn ang="0">
                    <a:pos x="connsiteX1" y="connsiteY1"/>
                  </a:cxn>
                  <a:cxn ang="0">
                    <a:pos x="connsiteX2" y="connsiteY2"/>
                  </a:cxn>
                  <a:cxn ang="0">
                    <a:pos x="connsiteX3" y="connsiteY3"/>
                  </a:cxn>
                </a:cxnLst>
                <a:rect l="l" t="t" r="r" b="b"/>
                <a:pathLst>
                  <a:path w="83431" h="10167">
                    <a:moveTo>
                      <a:pt x="83192" y="0"/>
                    </a:moveTo>
                    <a:lnTo>
                      <a:pt x="83432" y="3050"/>
                    </a:lnTo>
                    <a:lnTo>
                      <a:pt x="299" y="10167"/>
                    </a:lnTo>
                    <a:lnTo>
                      <a:pt x="0" y="7117"/>
                    </a:lnTo>
                    <a:close/>
                  </a:path>
                </a:pathLst>
              </a:custGeom>
              <a:grpFill/>
              <a:ln w="5978" cap="flat">
                <a:noFill/>
                <a:prstDash val="solid"/>
                <a:miter/>
              </a:ln>
            </p:spPr>
            <p:txBody>
              <a:bodyPr rtlCol="0" anchor="ctr"/>
              <a:lstStyle/>
              <a:p>
                <a:endParaRPr lang="en-GB"/>
              </a:p>
            </p:txBody>
          </p:sp>
          <p:sp>
            <p:nvSpPr>
              <p:cNvPr id="5058" name="Vrije vorm: vorm 5057">
                <a:extLst>
                  <a:ext uri="{FF2B5EF4-FFF2-40B4-BE49-F238E27FC236}">
                    <a16:creationId xmlns:a16="http://schemas.microsoft.com/office/drawing/2014/main" id="{A13C1A1B-55DD-42C8-BC12-B41C013926B4}"/>
                  </a:ext>
                </a:extLst>
              </p:cNvPr>
              <p:cNvSpPr/>
              <p:nvPr/>
            </p:nvSpPr>
            <p:spPr>
              <a:xfrm>
                <a:off x="7961097" y="3243234"/>
                <a:ext cx="18322" cy="18424"/>
              </a:xfrm>
              <a:custGeom>
                <a:avLst/>
                <a:gdLst>
                  <a:gd name="connsiteX0" fmla="*/ 8354 w 18322"/>
                  <a:gd name="connsiteY0" fmla="*/ 32 h 18424"/>
                  <a:gd name="connsiteX1" fmla="*/ 18282 w 18322"/>
                  <a:gd name="connsiteY1" fmla="*/ 8405 h 18424"/>
                  <a:gd name="connsiteX2" fmla="*/ 9969 w 18322"/>
                  <a:gd name="connsiteY2" fmla="*/ 18392 h 18424"/>
                  <a:gd name="connsiteX3" fmla="*/ 41 w 18322"/>
                  <a:gd name="connsiteY3" fmla="*/ 10019 h 18424"/>
                  <a:gd name="connsiteX4" fmla="*/ 8354 w 18322"/>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4">
                    <a:moveTo>
                      <a:pt x="8354" y="32"/>
                    </a:moveTo>
                    <a:cubicBezTo>
                      <a:pt x="13378" y="-387"/>
                      <a:pt x="17863" y="3381"/>
                      <a:pt x="18282" y="8405"/>
                    </a:cubicBezTo>
                    <a:cubicBezTo>
                      <a:pt x="18761" y="13488"/>
                      <a:pt x="14993" y="17914"/>
                      <a:pt x="9969" y="18392"/>
                    </a:cubicBezTo>
                    <a:cubicBezTo>
                      <a:pt x="4945" y="18811"/>
                      <a:pt x="459" y="15043"/>
                      <a:pt x="41" y="10019"/>
                    </a:cubicBezTo>
                    <a:cubicBezTo>
                      <a:pt x="-438" y="4936"/>
                      <a:pt x="3330" y="450"/>
                      <a:pt x="8354" y="32"/>
                    </a:cubicBezTo>
                    <a:close/>
                  </a:path>
                </a:pathLst>
              </a:custGeom>
              <a:grpFill/>
              <a:ln w="5978" cap="flat">
                <a:noFill/>
                <a:prstDash val="solid"/>
                <a:miter/>
              </a:ln>
            </p:spPr>
            <p:txBody>
              <a:bodyPr rtlCol="0" anchor="ctr"/>
              <a:lstStyle/>
              <a:p>
                <a:endParaRPr lang="en-GB"/>
              </a:p>
            </p:txBody>
          </p:sp>
          <p:sp>
            <p:nvSpPr>
              <p:cNvPr id="5059" name="Vrije vorm: vorm 5058">
                <a:extLst>
                  <a:ext uri="{FF2B5EF4-FFF2-40B4-BE49-F238E27FC236}">
                    <a16:creationId xmlns:a16="http://schemas.microsoft.com/office/drawing/2014/main" id="{87FD4597-3922-40ED-A972-6FFE336F3873}"/>
                  </a:ext>
                </a:extLst>
              </p:cNvPr>
              <p:cNvSpPr/>
              <p:nvPr/>
            </p:nvSpPr>
            <p:spPr>
              <a:xfrm>
                <a:off x="7878862" y="3250291"/>
                <a:ext cx="18314" cy="18433"/>
              </a:xfrm>
              <a:custGeom>
                <a:avLst/>
                <a:gdLst>
                  <a:gd name="connsiteX0" fmla="*/ 8354 w 18314"/>
                  <a:gd name="connsiteY0" fmla="*/ 32 h 18433"/>
                  <a:gd name="connsiteX1" fmla="*/ 41 w 18314"/>
                  <a:gd name="connsiteY1" fmla="*/ 10019 h 18433"/>
                  <a:gd name="connsiteX2" fmla="*/ 9969 w 18314"/>
                  <a:gd name="connsiteY2" fmla="*/ 18393 h 18433"/>
                  <a:gd name="connsiteX3" fmla="*/ 18282 w 18314"/>
                  <a:gd name="connsiteY3" fmla="*/ 8405 h 18433"/>
                  <a:gd name="connsiteX4" fmla="*/ 8354 w 18314"/>
                  <a:gd name="connsiteY4" fmla="*/ 32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33">
                    <a:moveTo>
                      <a:pt x="8354" y="32"/>
                    </a:moveTo>
                    <a:cubicBezTo>
                      <a:pt x="3330" y="450"/>
                      <a:pt x="-438" y="4936"/>
                      <a:pt x="41" y="10019"/>
                    </a:cubicBezTo>
                    <a:cubicBezTo>
                      <a:pt x="519" y="15103"/>
                      <a:pt x="4945" y="18871"/>
                      <a:pt x="9969" y="18393"/>
                    </a:cubicBezTo>
                    <a:cubicBezTo>
                      <a:pt x="14993" y="17974"/>
                      <a:pt x="18701" y="13488"/>
                      <a:pt x="18282" y="8405"/>
                    </a:cubicBezTo>
                    <a:cubicBezTo>
                      <a:pt x="17804" y="3381"/>
                      <a:pt x="13378" y="-387"/>
                      <a:pt x="8354" y="32"/>
                    </a:cubicBezTo>
                    <a:close/>
                  </a:path>
                </a:pathLst>
              </a:custGeom>
              <a:grpFill/>
              <a:ln w="5978" cap="flat">
                <a:noFill/>
                <a:prstDash val="solid"/>
                <a:miter/>
              </a:ln>
            </p:spPr>
            <p:txBody>
              <a:bodyPr rtlCol="0" anchor="ctr"/>
              <a:lstStyle/>
              <a:p>
                <a:endParaRPr lang="en-GB"/>
              </a:p>
            </p:txBody>
          </p:sp>
        </p:grpSp>
        <p:grpSp>
          <p:nvGrpSpPr>
            <p:cNvPr id="108" name="Graphic 3">
              <a:extLst>
                <a:ext uri="{FF2B5EF4-FFF2-40B4-BE49-F238E27FC236}">
                  <a16:creationId xmlns:a16="http://schemas.microsoft.com/office/drawing/2014/main" id="{813D3D33-7467-4AE1-B688-80A4B518B765}"/>
                </a:ext>
              </a:extLst>
            </p:cNvPr>
            <p:cNvGrpSpPr/>
            <p:nvPr/>
          </p:nvGrpSpPr>
          <p:grpSpPr>
            <a:xfrm>
              <a:off x="7597369" y="2395018"/>
              <a:ext cx="101162" cy="69758"/>
              <a:chOff x="7597369" y="2395018"/>
              <a:chExt cx="101162" cy="69758"/>
            </a:xfrm>
            <a:grpFill/>
          </p:grpSpPr>
          <p:sp>
            <p:nvSpPr>
              <p:cNvPr id="5054" name="Vrije vorm: vorm 5053">
                <a:extLst>
                  <a:ext uri="{FF2B5EF4-FFF2-40B4-BE49-F238E27FC236}">
                    <a16:creationId xmlns:a16="http://schemas.microsoft.com/office/drawing/2014/main" id="{EAC47CF7-66FC-49BE-A22B-BCBA5C925EA7}"/>
                  </a:ext>
                </a:extLst>
              </p:cNvPr>
              <p:cNvSpPr/>
              <p:nvPr/>
            </p:nvSpPr>
            <p:spPr>
              <a:xfrm>
                <a:off x="7605344" y="2402675"/>
                <a:ext cx="85225" cy="54424"/>
              </a:xfrm>
              <a:custGeom>
                <a:avLst/>
                <a:gdLst>
                  <a:gd name="connsiteX0" fmla="*/ 85225 w 85225"/>
                  <a:gd name="connsiteY0" fmla="*/ 2632 h 54424"/>
                  <a:gd name="connsiteX1" fmla="*/ 1555 w 85225"/>
                  <a:gd name="connsiteY1" fmla="*/ 54425 h 54424"/>
                  <a:gd name="connsiteX2" fmla="*/ 0 w 85225"/>
                  <a:gd name="connsiteY2" fmla="*/ 51853 h 54424"/>
                  <a:gd name="connsiteX3" fmla="*/ 83611 w 85225"/>
                  <a:gd name="connsiteY3" fmla="*/ 0 h 54424"/>
                </a:gdLst>
                <a:ahLst/>
                <a:cxnLst>
                  <a:cxn ang="0">
                    <a:pos x="connsiteX0" y="connsiteY0"/>
                  </a:cxn>
                  <a:cxn ang="0">
                    <a:pos x="connsiteX1" y="connsiteY1"/>
                  </a:cxn>
                  <a:cxn ang="0">
                    <a:pos x="connsiteX2" y="connsiteY2"/>
                  </a:cxn>
                  <a:cxn ang="0">
                    <a:pos x="connsiteX3" y="connsiteY3"/>
                  </a:cxn>
                </a:cxnLst>
                <a:rect l="l" t="t" r="r" b="b"/>
                <a:pathLst>
                  <a:path w="85225" h="54424">
                    <a:moveTo>
                      <a:pt x="85225" y="2632"/>
                    </a:moveTo>
                    <a:lnTo>
                      <a:pt x="1555" y="54425"/>
                    </a:lnTo>
                    <a:lnTo>
                      <a:pt x="0" y="51853"/>
                    </a:lnTo>
                    <a:lnTo>
                      <a:pt x="83611" y="0"/>
                    </a:lnTo>
                    <a:close/>
                  </a:path>
                </a:pathLst>
              </a:custGeom>
              <a:grpFill/>
              <a:ln w="5978" cap="flat">
                <a:noFill/>
                <a:prstDash val="solid"/>
                <a:miter/>
              </a:ln>
            </p:spPr>
            <p:txBody>
              <a:bodyPr rtlCol="0" anchor="ctr"/>
              <a:lstStyle/>
              <a:p>
                <a:endParaRPr lang="en-GB"/>
              </a:p>
            </p:txBody>
          </p:sp>
          <p:sp>
            <p:nvSpPr>
              <p:cNvPr id="5055" name="Vrije vorm: vorm 5054">
                <a:extLst>
                  <a:ext uri="{FF2B5EF4-FFF2-40B4-BE49-F238E27FC236}">
                    <a16:creationId xmlns:a16="http://schemas.microsoft.com/office/drawing/2014/main" id="{0FB9AB61-3EE3-47B1-8B35-1579FB7C31A3}"/>
                  </a:ext>
                </a:extLst>
              </p:cNvPr>
              <p:cNvSpPr/>
              <p:nvPr/>
            </p:nvSpPr>
            <p:spPr>
              <a:xfrm>
                <a:off x="7680202" y="2395018"/>
                <a:ext cx="18329" cy="18484"/>
              </a:xfrm>
              <a:custGeom>
                <a:avLst/>
                <a:gdLst>
                  <a:gd name="connsiteX0" fmla="*/ 4328 w 18329"/>
                  <a:gd name="connsiteY0" fmla="*/ 1378 h 18484"/>
                  <a:gd name="connsiteX1" fmla="*/ 16947 w 18329"/>
                  <a:gd name="connsiteY1" fmla="*/ 4428 h 18484"/>
                  <a:gd name="connsiteX2" fmla="*/ 14017 w 18329"/>
                  <a:gd name="connsiteY2" fmla="*/ 17107 h 18484"/>
                  <a:gd name="connsiteX3" fmla="*/ 1397 w 18329"/>
                  <a:gd name="connsiteY3" fmla="*/ 14057 h 18484"/>
                  <a:gd name="connsiteX4" fmla="*/ 4328 w 18329"/>
                  <a:gd name="connsiteY4" fmla="*/ 137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84">
                    <a:moveTo>
                      <a:pt x="4328" y="1378"/>
                    </a:moveTo>
                    <a:cubicBezTo>
                      <a:pt x="8634" y="-1314"/>
                      <a:pt x="14255" y="62"/>
                      <a:pt x="16947" y="4428"/>
                    </a:cubicBezTo>
                    <a:cubicBezTo>
                      <a:pt x="19638" y="8734"/>
                      <a:pt x="18263" y="14416"/>
                      <a:pt x="14017" y="17107"/>
                    </a:cubicBezTo>
                    <a:cubicBezTo>
                      <a:pt x="9710" y="19798"/>
                      <a:pt x="4088" y="18423"/>
                      <a:pt x="1397" y="14057"/>
                    </a:cubicBezTo>
                    <a:cubicBezTo>
                      <a:pt x="-1294" y="9691"/>
                      <a:pt x="21" y="4009"/>
                      <a:pt x="4328" y="1378"/>
                    </a:cubicBezTo>
                    <a:close/>
                  </a:path>
                </a:pathLst>
              </a:custGeom>
              <a:grpFill/>
              <a:ln w="5978" cap="flat">
                <a:noFill/>
                <a:prstDash val="solid"/>
                <a:miter/>
              </a:ln>
            </p:spPr>
            <p:txBody>
              <a:bodyPr rtlCol="0" anchor="ctr"/>
              <a:lstStyle/>
              <a:p>
                <a:endParaRPr lang="en-GB"/>
              </a:p>
            </p:txBody>
          </p:sp>
          <p:sp>
            <p:nvSpPr>
              <p:cNvPr id="5056" name="Vrije vorm: vorm 5055">
                <a:extLst>
                  <a:ext uri="{FF2B5EF4-FFF2-40B4-BE49-F238E27FC236}">
                    <a16:creationId xmlns:a16="http://schemas.microsoft.com/office/drawing/2014/main" id="{8F58AB5A-3429-45CD-890F-1C7D8E1202FF}"/>
                  </a:ext>
                </a:extLst>
              </p:cNvPr>
              <p:cNvSpPr/>
              <p:nvPr/>
            </p:nvSpPr>
            <p:spPr>
              <a:xfrm>
                <a:off x="7597369" y="2446359"/>
                <a:ext cx="18343" cy="18417"/>
              </a:xfrm>
              <a:custGeom>
                <a:avLst/>
                <a:gdLst>
                  <a:gd name="connsiteX0" fmla="*/ 4327 w 18343"/>
                  <a:gd name="connsiteY0" fmla="*/ 1351 h 18417"/>
                  <a:gd name="connsiteX1" fmla="*/ 1397 w 18343"/>
                  <a:gd name="connsiteY1" fmla="*/ 14030 h 18417"/>
                  <a:gd name="connsiteX2" fmla="*/ 14016 w 18343"/>
                  <a:gd name="connsiteY2" fmla="*/ 17080 h 18417"/>
                  <a:gd name="connsiteX3" fmla="*/ 16946 w 18343"/>
                  <a:gd name="connsiteY3" fmla="*/ 4401 h 18417"/>
                  <a:gd name="connsiteX4" fmla="*/ 4327 w 18343"/>
                  <a:gd name="connsiteY4" fmla="*/ 1351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7">
                    <a:moveTo>
                      <a:pt x="4327" y="1351"/>
                    </a:moveTo>
                    <a:cubicBezTo>
                      <a:pt x="21" y="4042"/>
                      <a:pt x="-1294" y="9664"/>
                      <a:pt x="1397" y="14030"/>
                    </a:cubicBezTo>
                    <a:cubicBezTo>
                      <a:pt x="4089" y="18336"/>
                      <a:pt x="9710" y="19712"/>
                      <a:pt x="14016" y="17080"/>
                    </a:cubicBezTo>
                    <a:cubicBezTo>
                      <a:pt x="18323" y="14389"/>
                      <a:pt x="19638" y="8767"/>
                      <a:pt x="16946" y="4401"/>
                    </a:cubicBezTo>
                    <a:cubicBezTo>
                      <a:pt x="14255" y="35"/>
                      <a:pt x="8634" y="-1280"/>
                      <a:pt x="4327" y="1351"/>
                    </a:cubicBezTo>
                    <a:close/>
                  </a:path>
                </a:pathLst>
              </a:custGeom>
              <a:grpFill/>
              <a:ln w="5978" cap="flat">
                <a:noFill/>
                <a:prstDash val="solid"/>
                <a:miter/>
              </a:ln>
            </p:spPr>
            <p:txBody>
              <a:bodyPr rtlCol="0" anchor="ctr"/>
              <a:lstStyle/>
              <a:p>
                <a:endParaRPr lang="en-GB"/>
              </a:p>
            </p:txBody>
          </p:sp>
        </p:grpSp>
        <p:grpSp>
          <p:nvGrpSpPr>
            <p:cNvPr id="109" name="Graphic 3">
              <a:extLst>
                <a:ext uri="{FF2B5EF4-FFF2-40B4-BE49-F238E27FC236}">
                  <a16:creationId xmlns:a16="http://schemas.microsoft.com/office/drawing/2014/main" id="{9D8F9A8D-B07C-4D65-80AC-B267B78734DF}"/>
                </a:ext>
              </a:extLst>
            </p:cNvPr>
            <p:cNvGrpSpPr/>
            <p:nvPr/>
          </p:nvGrpSpPr>
          <p:grpSpPr>
            <a:xfrm>
              <a:off x="8028296" y="3647677"/>
              <a:ext cx="63705" cy="23885"/>
              <a:chOff x="8028296" y="3647677"/>
              <a:chExt cx="63705" cy="23885"/>
            </a:xfrm>
            <a:grpFill/>
          </p:grpSpPr>
          <p:sp>
            <p:nvSpPr>
              <p:cNvPr id="5051" name="Vrije vorm: vorm 5050">
                <a:extLst>
                  <a:ext uri="{FF2B5EF4-FFF2-40B4-BE49-F238E27FC236}">
                    <a16:creationId xmlns:a16="http://schemas.microsoft.com/office/drawing/2014/main" id="{2A03DAB3-AE9C-4DE9-9235-063E9AF3E9DD}"/>
                  </a:ext>
                </a:extLst>
              </p:cNvPr>
              <p:cNvSpPr/>
              <p:nvPr/>
            </p:nvSpPr>
            <p:spPr>
              <a:xfrm>
                <a:off x="8036854" y="3655278"/>
                <a:ext cx="46649" cy="8672"/>
              </a:xfrm>
              <a:custGeom>
                <a:avLst/>
                <a:gdLst>
                  <a:gd name="connsiteX0" fmla="*/ 46650 w 46649"/>
                  <a:gd name="connsiteY0" fmla="*/ 5622 h 8672"/>
                  <a:gd name="connsiteX1" fmla="*/ 46291 w 46649"/>
                  <a:gd name="connsiteY1" fmla="*/ 8672 h 8672"/>
                  <a:gd name="connsiteX2" fmla="*/ 0 w 46649"/>
                  <a:gd name="connsiteY2" fmla="*/ 3050 h 8672"/>
                  <a:gd name="connsiteX3" fmla="*/ 359 w 46649"/>
                  <a:gd name="connsiteY3" fmla="*/ 0 h 8672"/>
                </a:gdLst>
                <a:ahLst/>
                <a:cxnLst>
                  <a:cxn ang="0">
                    <a:pos x="connsiteX0" y="connsiteY0"/>
                  </a:cxn>
                  <a:cxn ang="0">
                    <a:pos x="connsiteX1" y="connsiteY1"/>
                  </a:cxn>
                  <a:cxn ang="0">
                    <a:pos x="connsiteX2" y="connsiteY2"/>
                  </a:cxn>
                  <a:cxn ang="0">
                    <a:pos x="connsiteX3" y="connsiteY3"/>
                  </a:cxn>
                </a:cxnLst>
                <a:rect l="l" t="t" r="r" b="b"/>
                <a:pathLst>
                  <a:path w="46649" h="8672">
                    <a:moveTo>
                      <a:pt x="46650" y="5622"/>
                    </a:moveTo>
                    <a:lnTo>
                      <a:pt x="46291" y="8672"/>
                    </a:lnTo>
                    <a:lnTo>
                      <a:pt x="0" y="3050"/>
                    </a:lnTo>
                    <a:lnTo>
                      <a:pt x="359" y="0"/>
                    </a:lnTo>
                    <a:close/>
                  </a:path>
                </a:pathLst>
              </a:custGeom>
              <a:grpFill/>
              <a:ln w="5978" cap="flat">
                <a:noFill/>
                <a:prstDash val="solid"/>
                <a:miter/>
              </a:ln>
            </p:spPr>
            <p:txBody>
              <a:bodyPr rtlCol="0" anchor="ctr"/>
              <a:lstStyle/>
              <a:p>
                <a:endParaRPr lang="en-GB"/>
              </a:p>
            </p:txBody>
          </p:sp>
          <p:sp>
            <p:nvSpPr>
              <p:cNvPr id="5052" name="Vrije vorm: vorm 5051">
                <a:extLst>
                  <a:ext uri="{FF2B5EF4-FFF2-40B4-BE49-F238E27FC236}">
                    <a16:creationId xmlns:a16="http://schemas.microsoft.com/office/drawing/2014/main" id="{6939B76C-54F6-4E24-B196-BC49E9027376}"/>
                  </a:ext>
                </a:extLst>
              </p:cNvPr>
              <p:cNvSpPr/>
              <p:nvPr/>
            </p:nvSpPr>
            <p:spPr>
              <a:xfrm>
                <a:off x="8073690" y="3653179"/>
                <a:ext cx="18311" cy="18383"/>
              </a:xfrm>
              <a:custGeom>
                <a:avLst/>
                <a:gdLst>
                  <a:gd name="connsiteX0" fmla="*/ 10232 w 18311"/>
                  <a:gd name="connsiteY0" fmla="*/ 65 h 18383"/>
                  <a:gd name="connsiteX1" fmla="*/ 18247 w 18311"/>
                  <a:gd name="connsiteY1" fmla="*/ 10292 h 18383"/>
                  <a:gd name="connsiteX2" fmla="*/ 8079 w 18311"/>
                  <a:gd name="connsiteY2" fmla="*/ 18306 h 18383"/>
                  <a:gd name="connsiteX3" fmla="*/ 65 w 18311"/>
                  <a:gd name="connsiteY3" fmla="*/ 8079 h 18383"/>
                  <a:gd name="connsiteX4" fmla="*/ 10232 w 18311"/>
                  <a:gd name="connsiteY4" fmla="*/ 65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383">
                    <a:moveTo>
                      <a:pt x="10232" y="65"/>
                    </a:moveTo>
                    <a:cubicBezTo>
                      <a:pt x="15256" y="663"/>
                      <a:pt x="18845" y="5268"/>
                      <a:pt x="18247" y="10292"/>
                    </a:cubicBezTo>
                    <a:cubicBezTo>
                      <a:pt x="17648" y="15316"/>
                      <a:pt x="13103" y="18964"/>
                      <a:pt x="8079" y="18306"/>
                    </a:cubicBezTo>
                    <a:cubicBezTo>
                      <a:pt x="3055" y="17708"/>
                      <a:pt x="-533" y="13103"/>
                      <a:pt x="65" y="8079"/>
                    </a:cubicBezTo>
                    <a:cubicBezTo>
                      <a:pt x="663" y="3055"/>
                      <a:pt x="5208" y="-533"/>
                      <a:pt x="10232" y="65"/>
                    </a:cubicBezTo>
                    <a:close/>
                  </a:path>
                </a:pathLst>
              </a:custGeom>
              <a:grpFill/>
              <a:ln w="5978" cap="flat">
                <a:noFill/>
                <a:prstDash val="solid"/>
                <a:miter/>
              </a:ln>
            </p:spPr>
            <p:txBody>
              <a:bodyPr rtlCol="0" anchor="ctr"/>
              <a:lstStyle/>
              <a:p>
                <a:endParaRPr lang="en-GB"/>
              </a:p>
            </p:txBody>
          </p:sp>
          <p:sp>
            <p:nvSpPr>
              <p:cNvPr id="5053" name="Vrije vorm: vorm 5052">
                <a:extLst>
                  <a:ext uri="{FF2B5EF4-FFF2-40B4-BE49-F238E27FC236}">
                    <a16:creationId xmlns:a16="http://schemas.microsoft.com/office/drawing/2014/main" id="{8BBEE4D1-AF29-4D85-B795-F6F2D9529099}"/>
                  </a:ext>
                </a:extLst>
              </p:cNvPr>
              <p:cNvSpPr/>
              <p:nvPr/>
            </p:nvSpPr>
            <p:spPr>
              <a:xfrm>
                <a:off x="8028296" y="3647677"/>
                <a:ext cx="18370" cy="18371"/>
              </a:xfrm>
              <a:custGeom>
                <a:avLst/>
                <a:gdLst>
                  <a:gd name="connsiteX0" fmla="*/ 10232 w 18370"/>
                  <a:gd name="connsiteY0" fmla="*/ 65 h 18371"/>
                  <a:gd name="connsiteX1" fmla="*/ 65 w 18370"/>
                  <a:gd name="connsiteY1" fmla="*/ 8079 h 18371"/>
                  <a:gd name="connsiteX2" fmla="*/ 8139 w 18370"/>
                  <a:gd name="connsiteY2" fmla="*/ 18306 h 18371"/>
                  <a:gd name="connsiteX3" fmla="*/ 18306 w 18370"/>
                  <a:gd name="connsiteY3" fmla="*/ 10232 h 18371"/>
                  <a:gd name="connsiteX4" fmla="*/ 10232 w 18370"/>
                  <a:gd name="connsiteY4" fmla="*/ 65 h 1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371">
                    <a:moveTo>
                      <a:pt x="10232" y="65"/>
                    </a:moveTo>
                    <a:cubicBezTo>
                      <a:pt x="5209" y="-533"/>
                      <a:pt x="663" y="3055"/>
                      <a:pt x="65" y="8079"/>
                    </a:cubicBezTo>
                    <a:cubicBezTo>
                      <a:pt x="-533" y="13103"/>
                      <a:pt x="3056" y="17708"/>
                      <a:pt x="8139" y="18306"/>
                    </a:cubicBezTo>
                    <a:cubicBezTo>
                      <a:pt x="13163" y="18905"/>
                      <a:pt x="17708" y="15316"/>
                      <a:pt x="18306" y="10232"/>
                    </a:cubicBezTo>
                    <a:cubicBezTo>
                      <a:pt x="18904" y="5268"/>
                      <a:pt x="15256" y="663"/>
                      <a:pt x="10232" y="65"/>
                    </a:cubicBezTo>
                    <a:close/>
                  </a:path>
                </a:pathLst>
              </a:custGeom>
              <a:grpFill/>
              <a:ln w="5978" cap="flat">
                <a:noFill/>
                <a:prstDash val="solid"/>
                <a:miter/>
              </a:ln>
            </p:spPr>
            <p:txBody>
              <a:bodyPr rtlCol="0" anchor="ctr"/>
              <a:lstStyle/>
              <a:p>
                <a:endParaRPr lang="en-GB"/>
              </a:p>
            </p:txBody>
          </p:sp>
        </p:grpSp>
        <p:grpSp>
          <p:nvGrpSpPr>
            <p:cNvPr id="110" name="Graphic 3">
              <a:extLst>
                <a:ext uri="{FF2B5EF4-FFF2-40B4-BE49-F238E27FC236}">
                  <a16:creationId xmlns:a16="http://schemas.microsoft.com/office/drawing/2014/main" id="{DA186B47-D9C7-4FE5-BCBA-B08447255431}"/>
                </a:ext>
              </a:extLst>
            </p:cNvPr>
            <p:cNvGrpSpPr/>
            <p:nvPr/>
          </p:nvGrpSpPr>
          <p:grpSpPr>
            <a:xfrm>
              <a:off x="7917874" y="3280742"/>
              <a:ext cx="41134" cy="19962"/>
              <a:chOff x="7917874" y="3280742"/>
              <a:chExt cx="41134" cy="19962"/>
            </a:xfrm>
            <a:grpFill/>
          </p:grpSpPr>
          <p:sp>
            <p:nvSpPr>
              <p:cNvPr id="5048" name="Vrije vorm: vorm 5047">
                <a:extLst>
                  <a:ext uri="{FF2B5EF4-FFF2-40B4-BE49-F238E27FC236}">
                    <a16:creationId xmlns:a16="http://schemas.microsoft.com/office/drawing/2014/main" id="{19D6F281-DC96-4199-B7E3-63546424A579}"/>
                  </a:ext>
                </a:extLst>
              </p:cNvPr>
              <p:cNvSpPr/>
              <p:nvPr/>
            </p:nvSpPr>
            <p:spPr>
              <a:xfrm>
                <a:off x="7926450" y="3288420"/>
                <a:ext cx="23922" cy="4605"/>
              </a:xfrm>
              <a:custGeom>
                <a:avLst/>
                <a:gdLst>
                  <a:gd name="connsiteX0" fmla="*/ 23743 w 23922"/>
                  <a:gd name="connsiteY0" fmla="*/ 0 h 4605"/>
                  <a:gd name="connsiteX1" fmla="*/ 23923 w 23922"/>
                  <a:gd name="connsiteY1" fmla="*/ 3050 h 4605"/>
                  <a:gd name="connsiteX2" fmla="*/ 239 w 23922"/>
                  <a:gd name="connsiteY2" fmla="*/ 4605 h 4605"/>
                  <a:gd name="connsiteX3" fmla="*/ 0 w 23922"/>
                  <a:gd name="connsiteY3" fmla="*/ 1555 h 4605"/>
                </a:gdLst>
                <a:ahLst/>
                <a:cxnLst>
                  <a:cxn ang="0">
                    <a:pos x="connsiteX0" y="connsiteY0"/>
                  </a:cxn>
                  <a:cxn ang="0">
                    <a:pos x="connsiteX1" y="connsiteY1"/>
                  </a:cxn>
                  <a:cxn ang="0">
                    <a:pos x="connsiteX2" y="connsiteY2"/>
                  </a:cxn>
                  <a:cxn ang="0">
                    <a:pos x="connsiteX3" y="connsiteY3"/>
                  </a:cxn>
                </a:cxnLst>
                <a:rect l="l" t="t" r="r" b="b"/>
                <a:pathLst>
                  <a:path w="23922" h="4605">
                    <a:moveTo>
                      <a:pt x="23743" y="0"/>
                    </a:moveTo>
                    <a:lnTo>
                      <a:pt x="23923" y="3050"/>
                    </a:lnTo>
                    <a:lnTo>
                      <a:pt x="239" y="4605"/>
                    </a:lnTo>
                    <a:lnTo>
                      <a:pt x="0" y="1555"/>
                    </a:lnTo>
                    <a:close/>
                  </a:path>
                </a:pathLst>
              </a:custGeom>
              <a:grpFill/>
              <a:ln w="5978" cap="flat">
                <a:noFill/>
                <a:prstDash val="solid"/>
                <a:miter/>
              </a:ln>
            </p:spPr>
            <p:txBody>
              <a:bodyPr rtlCol="0" anchor="ctr"/>
              <a:lstStyle/>
              <a:p>
                <a:endParaRPr lang="en-GB"/>
              </a:p>
            </p:txBody>
          </p:sp>
          <p:sp>
            <p:nvSpPr>
              <p:cNvPr id="5049" name="Vrije vorm: vorm 5048">
                <a:extLst>
                  <a:ext uri="{FF2B5EF4-FFF2-40B4-BE49-F238E27FC236}">
                    <a16:creationId xmlns:a16="http://schemas.microsoft.com/office/drawing/2014/main" id="{920D27B3-D644-44B7-A343-BEB2AF36B7BD}"/>
                  </a:ext>
                </a:extLst>
              </p:cNvPr>
              <p:cNvSpPr/>
              <p:nvPr/>
            </p:nvSpPr>
            <p:spPr>
              <a:xfrm>
                <a:off x="7940660" y="3280742"/>
                <a:ext cx="18347" cy="18406"/>
              </a:xfrm>
              <a:custGeom>
                <a:avLst/>
                <a:gdLst>
                  <a:gd name="connsiteX0" fmla="*/ 8517 w 18347"/>
                  <a:gd name="connsiteY0" fmla="*/ 23 h 18406"/>
                  <a:gd name="connsiteX1" fmla="*/ 18324 w 18347"/>
                  <a:gd name="connsiteY1" fmla="*/ 8575 h 18406"/>
                  <a:gd name="connsiteX2" fmla="*/ 9832 w 18347"/>
                  <a:gd name="connsiteY2" fmla="*/ 18384 h 18406"/>
                  <a:gd name="connsiteX3" fmla="*/ 24 w 18347"/>
                  <a:gd name="connsiteY3" fmla="*/ 9831 h 18406"/>
                  <a:gd name="connsiteX4" fmla="*/ 8517 w 18347"/>
                  <a:gd name="connsiteY4" fmla="*/ 2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6">
                    <a:moveTo>
                      <a:pt x="8517" y="23"/>
                    </a:moveTo>
                    <a:cubicBezTo>
                      <a:pt x="13540" y="-336"/>
                      <a:pt x="17966" y="3552"/>
                      <a:pt x="18324" y="8575"/>
                    </a:cubicBezTo>
                    <a:cubicBezTo>
                      <a:pt x="18684" y="13659"/>
                      <a:pt x="14856" y="18025"/>
                      <a:pt x="9832" y="18384"/>
                    </a:cubicBezTo>
                    <a:cubicBezTo>
                      <a:pt x="4809" y="18743"/>
                      <a:pt x="382" y="14855"/>
                      <a:pt x="24" y="9831"/>
                    </a:cubicBezTo>
                    <a:cubicBezTo>
                      <a:pt x="-336" y="4748"/>
                      <a:pt x="3432" y="382"/>
                      <a:pt x="8517" y="23"/>
                    </a:cubicBezTo>
                    <a:close/>
                  </a:path>
                </a:pathLst>
              </a:custGeom>
              <a:grpFill/>
              <a:ln w="5978" cap="flat">
                <a:noFill/>
                <a:prstDash val="solid"/>
                <a:miter/>
              </a:ln>
            </p:spPr>
            <p:txBody>
              <a:bodyPr rtlCol="0" anchor="ctr"/>
              <a:lstStyle/>
              <a:p>
                <a:endParaRPr lang="en-GB"/>
              </a:p>
            </p:txBody>
          </p:sp>
          <p:sp>
            <p:nvSpPr>
              <p:cNvPr id="5050" name="Vrije vorm: vorm 5049">
                <a:extLst>
                  <a:ext uri="{FF2B5EF4-FFF2-40B4-BE49-F238E27FC236}">
                    <a16:creationId xmlns:a16="http://schemas.microsoft.com/office/drawing/2014/main" id="{90E9C586-C13B-43FC-9F1B-ACC23E500A56}"/>
                  </a:ext>
                </a:extLst>
              </p:cNvPr>
              <p:cNvSpPr/>
              <p:nvPr/>
            </p:nvSpPr>
            <p:spPr>
              <a:xfrm>
                <a:off x="7917874" y="3282297"/>
                <a:ext cx="18347" cy="18407"/>
              </a:xfrm>
              <a:custGeom>
                <a:avLst/>
                <a:gdLst>
                  <a:gd name="connsiteX0" fmla="*/ 8516 w 18347"/>
                  <a:gd name="connsiteY0" fmla="*/ 23 h 18407"/>
                  <a:gd name="connsiteX1" fmla="*/ 23 w 18347"/>
                  <a:gd name="connsiteY1" fmla="*/ 9832 h 18407"/>
                  <a:gd name="connsiteX2" fmla="*/ 9832 w 18347"/>
                  <a:gd name="connsiteY2" fmla="*/ 18384 h 18407"/>
                  <a:gd name="connsiteX3" fmla="*/ 18325 w 18347"/>
                  <a:gd name="connsiteY3" fmla="*/ 8576 h 18407"/>
                  <a:gd name="connsiteX4" fmla="*/ 8516 w 18347"/>
                  <a:gd name="connsiteY4" fmla="*/ 2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8516" y="23"/>
                    </a:moveTo>
                    <a:cubicBezTo>
                      <a:pt x="3493" y="382"/>
                      <a:pt x="-335" y="4748"/>
                      <a:pt x="23" y="9832"/>
                    </a:cubicBezTo>
                    <a:cubicBezTo>
                      <a:pt x="382" y="14915"/>
                      <a:pt x="4748" y="18743"/>
                      <a:pt x="9832" y="18384"/>
                    </a:cubicBezTo>
                    <a:cubicBezTo>
                      <a:pt x="14856" y="18025"/>
                      <a:pt x="18683" y="13659"/>
                      <a:pt x="18325" y="8576"/>
                    </a:cubicBezTo>
                    <a:cubicBezTo>
                      <a:pt x="17965" y="3492"/>
                      <a:pt x="13540" y="-336"/>
                      <a:pt x="8516" y="23"/>
                    </a:cubicBezTo>
                    <a:close/>
                  </a:path>
                </a:pathLst>
              </a:custGeom>
              <a:grpFill/>
              <a:ln w="5978" cap="flat">
                <a:noFill/>
                <a:prstDash val="solid"/>
                <a:miter/>
              </a:ln>
            </p:spPr>
            <p:txBody>
              <a:bodyPr rtlCol="0" anchor="ctr"/>
              <a:lstStyle/>
              <a:p>
                <a:endParaRPr lang="en-GB"/>
              </a:p>
            </p:txBody>
          </p:sp>
        </p:grpSp>
        <p:grpSp>
          <p:nvGrpSpPr>
            <p:cNvPr id="111" name="Graphic 3">
              <a:extLst>
                <a:ext uri="{FF2B5EF4-FFF2-40B4-BE49-F238E27FC236}">
                  <a16:creationId xmlns:a16="http://schemas.microsoft.com/office/drawing/2014/main" id="{B0433905-2C3A-4C01-8C0B-50758537F718}"/>
                </a:ext>
              </a:extLst>
            </p:cNvPr>
            <p:cNvGrpSpPr/>
            <p:nvPr/>
          </p:nvGrpSpPr>
          <p:grpSpPr>
            <a:xfrm>
              <a:off x="7755625" y="2928928"/>
              <a:ext cx="148991" cy="52489"/>
              <a:chOff x="7755625" y="2928928"/>
              <a:chExt cx="148991" cy="52489"/>
            </a:xfrm>
            <a:grpFill/>
          </p:grpSpPr>
          <p:sp>
            <p:nvSpPr>
              <p:cNvPr id="5045" name="Vrije vorm: vorm 5044">
                <a:extLst>
                  <a:ext uri="{FF2B5EF4-FFF2-40B4-BE49-F238E27FC236}">
                    <a16:creationId xmlns:a16="http://schemas.microsoft.com/office/drawing/2014/main" id="{4398720F-C804-4857-9FD2-577B29F03EDA}"/>
                  </a:ext>
                </a:extLst>
              </p:cNvPr>
              <p:cNvSpPr/>
              <p:nvPr/>
            </p:nvSpPr>
            <p:spPr>
              <a:xfrm>
                <a:off x="7763624" y="2936476"/>
                <a:ext cx="132306" cy="37249"/>
              </a:xfrm>
              <a:custGeom>
                <a:avLst/>
                <a:gdLst>
                  <a:gd name="connsiteX0" fmla="*/ 0 w 132306"/>
                  <a:gd name="connsiteY0" fmla="*/ 34298 h 37249"/>
                  <a:gd name="connsiteX1" fmla="*/ 131537 w 132306"/>
                  <a:gd name="connsiteY1" fmla="*/ 0 h 37249"/>
                  <a:gd name="connsiteX2" fmla="*/ 132307 w 132306"/>
                  <a:gd name="connsiteY2" fmla="*/ 2951 h 37249"/>
                  <a:gd name="connsiteX3" fmla="*/ 770 w 132306"/>
                  <a:gd name="connsiteY3" fmla="*/ 37249 h 37249"/>
                </a:gdLst>
                <a:ahLst/>
                <a:cxnLst>
                  <a:cxn ang="0">
                    <a:pos x="connsiteX0" y="connsiteY0"/>
                  </a:cxn>
                  <a:cxn ang="0">
                    <a:pos x="connsiteX1" y="connsiteY1"/>
                  </a:cxn>
                  <a:cxn ang="0">
                    <a:pos x="connsiteX2" y="connsiteY2"/>
                  </a:cxn>
                  <a:cxn ang="0">
                    <a:pos x="connsiteX3" y="connsiteY3"/>
                  </a:cxn>
                </a:cxnLst>
                <a:rect l="l" t="t" r="r" b="b"/>
                <a:pathLst>
                  <a:path w="132306" h="37249">
                    <a:moveTo>
                      <a:pt x="0" y="34298"/>
                    </a:moveTo>
                    <a:lnTo>
                      <a:pt x="131537" y="0"/>
                    </a:lnTo>
                    <a:lnTo>
                      <a:pt x="132307" y="2951"/>
                    </a:lnTo>
                    <a:lnTo>
                      <a:pt x="770" y="37249"/>
                    </a:lnTo>
                    <a:close/>
                  </a:path>
                </a:pathLst>
              </a:custGeom>
              <a:grpFill/>
              <a:ln w="5978" cap="flat">
                <a:noFill/>
                <a:prstDash val="solid"/>
                <a:miter/>
              </a:ln>
            </p:spPr>
            <p:txBody>
              <a:bodyPr rtlCol="0" anchor="ctr"/>
              <a:lstStyle/>
              <a:p>
                <a:endParaRPr lang="en-GB"/>
              </a:p>
            </p:txBody>
          </p:sp>
          <p:sp>
            <p:nvSpPr>
              <p:cNvPr id="5046" name="Vrije vorm: vorm 5045">
                <a:extLst>
                  <a:ext uri="{FF2B5EF4-FFF2-40B4-BE49-F238E27FC236}">
                    <a16:creationId xmlns:a16="http://schemas.microsoft.com/office/drawing/2014/main" id="{66B3DC04-096A-416F-AEF9-5EBFBB87C8BB}"/>
                  </a:ext>
                </a:extLst>
              </p:cNvPr>
              <p:cNvSpPr/>
              <p:nvPr/>
            </p:nvSpPr>
            <p:spPr>
              <a:xfrm>
                <a:off x="7886303" y="2928928"/>
                <a:ext cx="18312" cy="18462"/>
              </a:xfrm>
              <a:custGeom>
                <a:avLst/>
                <a:gdLst>
                  <a:gd name="connsiteX0" fmla="*/ 6834 w 18312"/>
                  <a:gd name="connsiteY0" fmla="*/ 290 h 18462"/>
                  <a:gd name="connsiteX1" fmla="*/ 18018 w 18312"/>
                  <a:gd name="connsiteY1" fmla="*/ 6929 h 18462"/>
                  <a:gd name="connsiteX2" fmla="*/ 11499 w 18312"/>
                  <a:gd name="connsiteY2" fmla="*/ 18173 h 18462"/>
                  <a:gd name="connsiteX3" fmla="*/ 315 w 18312"/>
                  <a:gd name="connsiteY3" fmla="*/ 11534 h 18462"/>
                  <a:gd name="connsiteX4" fmla="*/ 6834 w 18312"/>
                  <a:gd name="connsiteY4" fmla="*/ 29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62">
                    <a:moveTo>
                      <a:pt x="6834" y="290"/>
                    </a:moveTo>
                    <a:cubicBezTo>
                      <a:pt x="11738" y="-966"/>
                      <a:pt x="16762" y="1965"/>
                      <a:pt x="18018" y="6929"/>
                    </a:cubicBezTo>
                    <a:cubicBezTo>
                      <a:pt x="19274" y="11833"/>
                      <a:pt x="16403" y="16857"/>
                      <a:pt x="11499" y="18173"/>
                    </a:cubicBezTo>
                    <a:cubicBezTo>
                      <a:pt x="6595" y="19428"/>
                      <a:pt x="1571" y="16498"/>
                      <a:pt x="315" y="11534"/>
                    </a:cubicBezTo>
                    <a:cubicBezTo>
                      <a:pt x="-1001" y="6570"/>
                      <a:pt x="1930" y="1546"/>
                      <a:pt x="6834" y="290"/>
                    </a:cubicBezTo>
                    <a:close/>
                  </a:path>
                </a:pathLst>
              </a:custGeom>
              <a:grpFill/>
              <a:ln w="5978" cap="flat">
                <a:noFill/>
                <a:prstDash val="solid"/>
                <a:miter/>
              </a:ln>
            </p:spPr>
            <p:txBody>
              <a:bodyPr rtlCol="0" anchor="ctr"/>
              <a:lstStyle/>
              <a:p>
                <a:endParaRPr lang="en-GB"/>
              </a:p>
            </p:txBody>
          </p:sp>
          <p:sp>
            <p:nvSpPr>
              <p:cNvPr id="5047" name="Vrije vorm: vorm 5046">
                <a:extLst>
                  <a:ext uri="{FF2B5EF4-FFF2-40B4-BE49-F238E27FC236}">
                    <a16:creationId xmlns:a16="http://schemas.microsoft.com/office/drawing/2014/main" id="{A02AAEF4-A22C-4AB6-A2DE-D22F7E4D3554}"/>
                  </a:ext>
                </a:extLst>
              </p:cNvPr>
              <p:cNvSpPr/>
              <p:nvPr/>
            </p:nvSpPr>
            <p:spPr>
              <a:xfrm>
                <a:off x="7755625" y="2962938"/>
                <a:ext cx="18332" cy="18479"/>
              </a:xfrm>
              <a:custGeom>
                <a:avLst/>
                <a:gdLst>
                  <a:gd name="connsiteX0" fmla="*/ 6834 w 18332"/>
                  <a:gd name="connsiteY0" fmla="*/ 310 h 18479"/>
                  <a:gd name="connsiteX1" fmla="*/ 315 w 18332"/>
                  <a:gd name="connsiteY1" fmla="*/ 11554 h 18479"/>
                  <a:gd name="connsiteX2" fmla="*/ 11499 w 18332"/>
                  <a:gd name="connsiteY2" fmla="*/ 18193 h 18479"/>
                  <a:gd name="connsiteX3" fmla="*/ 18017 w 18332"/>
                  <a:gd name="connsiteY3" fmla="*/ 6949 h 18479"/>
                  <a:gd name="connsiteX4" fmla="*/ 6834 w 18332"/>
                  <a:gd name="connsiteY4" fmla="*/ 310 h 1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79">
                    <a:moveTo>
                      <a:pt x="6834" y="310"/>
                    </a:moveTo>
                    <a:cubicBezTo>
                      <a:pt x="1930" y="1566"/>
                      <a:pt x="-1001" y="6590"/>
                      <a:pt x="315" y="11554"/>
                    </a:cubicBezTo>
                    <a:cubicBezTo>
                      <a:pt x="1630" y="16458"/>
                      <a:pt x="6595" y="19449"/>
                      <a:pt x="11499" y="18193"/>
                    </a:cubicBezTo>
                    <a:cubicBezTo>
                      <a:pt x="16403" y="16937"/>
                      <a:pt x="19334" y="11913"/>
                      <a:pt x="18017" y="6949"/>
                    </a:cubicBezTo>
                    <a:cubicBezTo>
                      <a:pt x="16702" y="1985"/>
                      <a:pt x="11738" y="-1005"/>
                      <a:pt x="6834" y="310"/>
                    </a:cubicBezTo>
                    <a:close/>
                  </a:path>
                </a:pathLst>
              </a:custGeom>
              <a:grpFill/>
              <a:ln w="5978" cap="flat">
                <a:noFill/>
                <a:prstDash val="solid"/>
                <a:miter/>
              </a:ln>
            </p:spPr>
            <p:txBody>
              <a:bodyPr rtlCol="0" anchor="ctr"/>
              <a:lstStyle/>
              <a:p>
                <a:endParaRPr lang="en-GB"/>
              </a:p>
            </p:txBody>
          </p:sp>
        </p:grpSp>
        <p:grpSp>
          <p:nvGrpSpPr>
            <p:cNvPr id="112" name="Graphic 3">
              <a:extLst>
                <a:ext uri="{FF2B5EF4-FFF2-40B4-BE49-F238E27FC236}">
                  <a16:creationId xmlns:a16="http://schemas.microsoft.com/office/drawing/2014/main" id="{374BF062-822A-46B3-8A0C-7CCBB3193D46}"/>
                </a:ext>
              </a:extLst>
            </p:cNvPr>
            <p:cNvGrpSpPr/>
            <p:nvPr/>
          </p:nvGrpSpPr>
          <p:grpSpPr>
            <a:xfrm>
              <a:off x="7399990" y="2006899"/>
              <a:ext cx="311484" cy="267819"/>
              <a:chOff x="7399990" y="2006899"/>
              <a:chExt cx="311484" cy="267819"/>
            </a:xfrm>
            <a:grpFill/>
          </p:grpSpPr>
          <p:sp>
            <p:nvSpPr>
              <p:cNvPr id="5042" name="Vrije vorm: vorm 5041">
                <a:extLst>
                  <a:ext uri="{FF2B5EF4-FFF2-40B4-BE49-F238E27FC236}">
                    <a16:creationId xmlns:a16="http://schemas.microsoft.com/office/drawing/2014/main" id="{8AC3A0AB-9528-4CC3-B9D9-2D8EE71719BB}"/>
                  </a:ext>
                </a:extLst>
              </p:cNvPr>
              <p:cNvSpPr/>
              <p:nvPr/>
            </p:nvSpPr>
            <p:spPr>
              <a:xfrm>
                <a:off x="7407802" y="2014646"/>
                <a:ext cx="295866" cy="252326"/>
              </a:xfrm>
              <a:custGeom>
                <a:avLst/>
                <a:gdLst>
                  <a:gd name="connsiteX0" fmla="*/ 295866 w 295866"/>
                  <a:gd name="connsiteY0" fmla="*/ 2392 h 252326"/>
                  <a:gd name="connsiteX1" fmla="*/ 1973 w 295866"/>
                  <a:gd name="connsiteY1" fmla="*/ 252327 h 252326"/>
                  <a:gd name="connsiteX2" fmla="*/ 0 w 295866"/>
                  <a:gd name="connsiteY2" fmla="*/ 249994 h 252326"/>
                  <a:gd name="connsiteX3" fmla="*/ 293893 w 295866"/>
                  <a:gd name="connsiteY3" fmla="*/ 0 h 252326"/>
                </a:gdLst>
                <a:ahLst/>
                <a:cxnLst>
                  <a:cxn ang="0">
                    <a:pos x="connsiteX0" y="connsiteY0"/>
                  </a:cxn>
                  <a:cxn ang="0">
                    <a:pos x="connsiteX1" y="connsiteY1"/>
                  </a:cxn>
                  <a:cxn ang="0">
                    <a:pos x="connsiteX2" y="connsiteY2"/>
                  </a:cxn>
                  <a:cxn ang="0">
                    <a:pos x="connsiteX3" y="connsiteY3"/>
                  </a:cxn>
                </a:cxnLst>
                <a:rect l="l" t="t" r="r" b="b"/>
                <a:pathLst>
                  <a:path w="295866" h="252326">
                    <a:moveTo>
                      <a:pt x="295866" y="2392"/>
                    </a:moveTo>
                    <a:lnTo>
                      <a:pt x="1973" y="252327"/>
                    </a:lnTo>
                    <a:lnTo>
                      <a:pt x="0" y="249994"/>
                    </a:lnTo>
                    <a:lnTo>
                      <a:pt x="293893" y="0"/>
                    </a:lnTo>
                    <a:close/>
                  </a:path>
                </a:pathLst>
              </a:custGeom>
              <a:grpFill/>
              <a:ln w="5978" cap="flat">
                <a:noFill/>
                <a:prstDash val="solid"/>
                <a:miter/>
              </a:ln>
            </p:spPr>
            <p:txBody>
              <a:bodyPr rtlCol="0" anchor="ctr"/>
              <a:lstStyle/>
              <a:p>
                <a:endParaRPr lang="en-GB"/>
              </a:p>
            </p:txBody>
          </p:sp>
          <p:sp>
            <p:nvSpPr>
              <p:cNvPr id="5043" name="Vrije vorm: vorm 5042">
                <a:extLst>
                  <a:ext uri="{FF2B5EF4-FFF2-40B4-BE49-F238E27FC236}">
                    <a16:creationId xmlns:a16="http://schemas.microsoft.com/office/drawing/2014/main" id="{08219A9D-B93C-40BA-9AEC-98186098DACD}"/>
                  </a:ext>
                </a:extLst>
              </p:cNvPr>
              <p:cNvSpPr/>
              <p:nvPr/>
            </p:nvSpPr>
            <p:spPr>
              <a:xfrm>
                <a:off x="7693155" y="2006899"/>
                <a:ext cx="18319" cy="18423"/>
              </a:xfrm>
              <a:custGeom>
                <a:avLst/>
                <a:gdLst>
                  <a:gd name="connsiteX0" fmla="*/ 3217 w 18319"/>
                  <a:gd name="connsiteY0" fmla="*/ 2185 h 18423"/>
                  <a:gd name="connsiteX1" fmla="*/ 16135 w 18319"/>
                  <a:gd name="connsiteY1" fmla="*/ 3261 h 18423"/>
                  <a:gd name="connsiteX2" fmla="*/ 15059 w 18319"/>
                  <a:gd name="connsiteY2" fmla="*/ 16239 h 18423"/>
                  <a:gd name="connsiteX3" fmla="*/ 2140 w 18319"/>
                  <a:gd name="connsiteY3" fmla="*/ 15163 h 18423"/>
                  <a:gd name="connsiteX4" fmla="*/ 3217 w 18319"/>
                  <a:gd name="connsiteY4" fmla="*/ 2185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3">
                    <a:moveTo>
                      <a:pt x="3217" y="2185"/>
                    </a:moveTo>
                    <a:cubicBezTo>
                      <a:pt x="7045" y="-1105"/>
                      <a:pt x="12846" y="-626"/>
                      <a:pt x="16135" y="3261"/>
                    </a:cubicBezTo>
                    <a:cubicBezTo>
                      <a:pt x="19425" y="7149"/>
                      <a:pt x="18946" y="12950"/>
                      <a:pt x="15059" y="16239"/>
                    </a:cubicBezTo>
                    <a:cubicBezTo>
                      <a:pt x="11231" y="19529"/>
                      <a:pt x="5430" y="19050"/>
                      <a:pt x="2140" y="15163"/>
                    </a:cubicBezTo>
                    <a:cubicBezTo>
                      <a:pt x="-1090" y="11275"/>
                      <a:pt x="-611" y="5474"/>
                      <a:pt x="3217" y="2185"/>
                    </a:cubicBezTo>
                    <a:close/>
                  </a:path>
                </a:pathLst>
              </a:custGeom>
              <a:grpFill/>
              <a:ln w="5978" cap="flat">
                <a:noFill/>
                <a:prstDash val="solid"/>
                <a:miter/>
              </a:ln>
            </p:spPr>
            <p:txBody>
              <a:bodyPr rtlCol="0" anchor="ctr"/>
              <a:lstStyle/>
              <a:p>
                <a:endParaRPr lang="en-GB"/>
              </a:p>
            </p:txBody>
          </p:sp>
          <p:sp>
            <p:nvSpPr>
              <p:cNvPr id="5044" name="Vrije vorm: vorm 5043">
                <a:extLst>
                  <a:ext uri="{FF2B5EF4-FFF2-40B4-BE49-F238E27FC236}">
                    <a16:creationId xmlns:a16="http://schemas.microsoft.com/office/drawing/2014/main" id="{6511240E-ACAD-4C5E-BC7A-A39B563DC634}"/>
                  </a:ext>
                </a:extLst>
              </p:cNvPr>
              <p:cNvSpPr/>
              <p:nvPr/>
            </p:nvSpPr>
            <p:spPr>
              <a:xfrm>
                <a:off x="7399990" y="2256296"/>
                <a:ext cx="18344" cy="18423"/>
              </a:xfrm>
              <a:custGeom>
                <a:avLst/>
                <a:gdLst>
                  <a:gd name="connsiteX0" fmla="*/ 3207 w 18344"/>
                  <a:gd name="connsiteY0" fmla="*/ 2185 h 18423"/>
                  <a:gd name="connsiteX1" fmla="*/ 2190 w 18344"/>
                  <a:gd name="connsiteY1" fmla="*/ 15163 h 18423"/>
                  <a:gd name="connsiteX2" fmla="*/ 15108 w 18344"/>
                  <a:gd name="connsiteY2" fmla="*/ 16239 h 18423"/>
                  <a:gd name="connsiteX3" fmla="*/ 16185 w 18344"/>
                  <a:gd name="connsiteY3" fmla="*/ 3261 h 18423"/>
                  <a:gd name="connsiteX4" fmla="*/ 3207 w 18344"/>
                  <a:gd name="connsiteY4" fmla="*/ 2185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3">
                    <a:moveTo>
                      <a:pt x="3207" y="2185"/>
                    </a:moveTo>
                    <a:cubicBezTo>
                      <a:pt x="-621" y="5474"/>
                      <a:pt x="-1099" y="11275"/>
                      <a:pt x="2190" y="15163"/>
                    </a:cubicBezTo>
                    <a:cubicBezTo>
                      <a:pt x="5479" y="19050"/>
                      <a:pt x="11280" y="19529"/>
                      <a:pt x="15108" y="16239"/>
                    </a:cubicBezTo>
                    <a:cubicBezTo>
                      <a:pt x="18996" y="12950"/>
                      <a:pt x="19414" y="7149"/>
                      <a:pt x="16185" y="3261"/>
                    </a:cubicBezTo>
                    <a:cubicBezTo>
                      <a:pt x="12836" y="-626"/>
                      <a:pt x="7034" y="-1105"/>
                      <a:pt x="3207" y="2185"/>
                    </a:cubicBezTo>
                    <a:close/>
                  </a:path>
                </a:pathLst>
              </a:custGeom>
              <a:grpFill/>
              <a:ln w="5978" cap="flat">
                <a:noFill/>
                <a:prstDash val="solid"/>
                <a:miter/>
              </a:ln>
            </p:spPr>
            <p:txBody>
              <a:bodyPr rtlCol="0" anchor="ctr"/>
              <a:lstStyle/>
              <a:p>
                <a:endParaRPr lang="en-GB"/>
              </a:p>
            </p:txBody>
          </p:sp>
        </p:grpSp>
        <p:grpSp>
          <p:nvGrpSpPr>
            <p:cNvPr id="113" name="Graphic 3">
              <a:extLst>
                <a:ext uri="{FF2B5EF4-FFF2-40B4-BE49-F238E27FC236}">
                  <a16:creationId xmlns:a16="http://schemas.microsoft.com/office/drawing/2014/main" id="{A4E4649E-C688-43BC-801F-22F43D4EA368}"/>
                </a:ext>
              </a:extLst>
            </p:cNvPr>
            <p:cNvGrpSpPr/>
            <p:nvPr/>
          </p:nvGrpSpPr>
          <p:grpSpPr>
            <a:xfrm>
              <a:off x="7995366" y="3606722"/>
              <a:ext cx="110009" cy="27784"/>
              <a:chOff x="7995366" y="3606722"/>
              <a:chExt cx="110009" cy="27784"/>
            </a:xfrm>
            <a:grpFill/>
          </p:grpSpPr>
          <p:sp>
            <p:nvSpPr>
              <p:cNvPr id="5039" name="Vrije vorm: vorm 5038">
                <a:extLst>
                  <a:ext uri="{FF2B5EF4-FFF2-40B4-BE49-F238E27FC236}">
                    <a16:creationId xmlns:a16="http://schemas.microsoft.com/office/drawing/2014/main" id="{39F45128-EBB3-4785-9CBA-E6911397B844}"/>
                  </a:ext>
                </a:extLst>
              </p:cNvPr>
              <p:cNvSpPr/>
              <p:nvPr/>
            </p:nvSpPr>
            <p:spPr>
              <a:xfrm>
                <a:off x="8003900" y="3614369"/>
                <a:ext cx="92880" cy="12499"/>
              </a:xfrm>
              <a:custGeom>
                <a:avLst/>
                <a:gdLst>
                  <a:gd name="connsiteX0" fmla="*/ 92881 w 92880"/>
                  <a:gd name="connsiteY0" fmla="*/ 9449 h 12499"/>
                  <a:gd name="connsiteX1" fmla="*/ 92582 w 92880"/>
                  <a:gd name="connsiteY1" fmla="*/ 12500 h 12499"/>
                  <a:gd name="connsiteX2" fmla="*/ 0 w 92880"/>
                  <a:gd name="connsiteY2" fmla="*/ 3050 h 12499"/>
                  <a:gd name="connsiteX3" fmla="*/ 299 w 92880"/>
                  <a:gd name="connsiteY3" fmla="*/ 0 h 12499"/>
                </a:gdLst>
                <a:ahLst/>
                <a:cxnLst>
                  <a:cxn ang="0">
                    <a:pos x="connsiteX0" y="connsiteY0"/>
                  </a:cxn>
                  <a:cxn ang="0">
                    <a:pos x="connsiteX1" y="connsiteY1"/>
                  </a:cxn>
                  <a:cxn ang="0">
                    <a:pos x="connsiteX2" y="connsiteY2"/>
                  </a:cxn>
                  <a:cxn ang="0">
                    <a:pos x="connsiteX3" y="connsiteY3"/>
                  </a:cxn>
                </a:cxnLst>
                <a:rect l="l" t="t" r="r" b="b"/>
                <a:pathLst>
                  <a:path w="92880" h="12499">
                    <a:moveTo>
                      <a:pt x="92881" y="9449"/>
                    </a:moveTo>
                    <a:lnTo>
                      <a:pt x="92582" y="12500"/>
                    </a:lnTo>
                    <a:lnTo>
                      <a:pt x="0" y="3050"/>
                    </a:lnTo>
                    <a:lnTo>
                      <a:pt x="299" y="0"/>
                    </a:lnTo>
                    <a:close/>
                  </a:path>
                </a:pathLst>
              </a:custGeom>
              <a:grpFill/>
              <a:ln w="5978" cap="flat">
                <a:noFill/>
                <a:prstDash val="solid"/>
                <a:miter/>
              </a:ln>
            </p:spPr>
            <p:txBody>
              <a:bodyPr rtlCol="0" anchor="ctr"/>
              <a:lstStyle/>
              <a:p>
                <a:endParaRPr lang="en-GB"/>
              </a:p>
            </p:txBody>
          </p:sp>
          <p:sp>
            <p:nvSpPr>
              <p:cNvPr id="5040" name="Vrije vorm: vorm 5039">
                <a:extLst>
                  <a:ext uri="{FF2B5EF4-FFF2-40B4-BE49-F238E27FC236}">
                    <a16:creationId xmlns:a16="http://schemas.microsoft.com/office/drawing/2014/main" id="{AA74DECE-3FF4-4320-BF62-D04BC022F29D}"/>
                  </a:ext>
                </a:extLst>
              </p:cNvPr>
              <p:cNvSpPr/>
              <p:nvPr/>
            </p:nvSpPr>
            <p:spPr>
              <a:xfrm>
                <a:off x="8087050" y="3616062"/>
                <a:ext cx="18324" cy="18444"/>
              </a:xfrm>
              <a:custGeom>
                <a:avLst/>
                <a:gdLst>
                  <a:gd name="connsiteX0" fmla="*/ 10030 w 18324"/>
                  <a:gd name="connsiteY0" fmla="*/ 42 h 18444"/>
                  <a:gd name="connsiteX1" fmla="*/ 18283 w 18324"/>
                  <a:gd name="connsiteY1" fmla="*/ 10150 h 18444"/>
                  <a:gd name="connsiteX2" fmla="*/ 8295 w 18324"/>
                  <a:gd name="connsiteY2" fmla="*/ 18403 h 18444"/>
                  <a:gd name="connsiteX3" fmla="*/ 42 w 18324"/>
                  <a:gd name="connsiteY3" fmla="*/ 8295 h 18444"/>
                  <a:gd name="connsiteX4" fmla="*/ 10030 w 18324"/>
                  <a:gd name="connsiteY4" fmla="*/ 4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4">
                    <a:moveTo>
                      <a:pt x="10030" y="42"/>
                    </a:moveTo>
                    <a:cubicBezTo>
                      <a:pt x="15053" y="580"/>
                      <a:pt x="18761" y="5066"/>
                      <a:pt x="18283" y="10150"/>
                    </a:cubicBezTo>
                    <a:cubicBezTo>
                      <a:pt x="17804" y="15233"/>
                      <a:pt x="13319" y="18881"/>
                      <a:pt x="8295" y="18403"/>
                    </a:cubicBezTo>
                    <a:cubicBezTo>
                      <a:pt x="3271" y="17865"/>
                      <a:pt x="-437" y="13379"/>
                      <a:pt x="42" y="8295"/>
                    </a:cubicBezTo>
                    <a:cubicBezTo>
                      <a:pt x="520" y="3212"/>
                      <a:pt x="5005" y="-436"/>
                      <a:pt x="10030" y="42"/>
                    </a:cubicBezTo>
                    <a:close/>
                  </a:path>
                </a:pathLst>
              </a:custGeom>
              <a:grpFill/>
              <a:ln w="5978" cap="flat">
                <a:noFill/>
                <a:prstDash val="solid"/>
                <a:miter/>
              </a:ln>
            </p:spPr>
            <p:txBody>
              <a:bodyPr rtlCol="0" anchor="ctr"/>
              <a:lstStyle/>
              <a:p>
                <a:endParaRPr lang="en-GB"/>
              </a:p>
            </p:txBody>
          </p:sp>
          <p:sp>
            <p:nvSpPr>
              <p:cNvPr id="5041" name="Vrije vorm: vorm 5040">
                <a:extLst>
                  <a:ext uri="{FF2B5EF4-FFF2-40B4-BE49-F238E27FC236}">
                    <a16:creationId xmlns:a16="http://schemas.microsoft.com/office/drawing/2014/main" id="{EA4AAB73-A741-442F-9248-D2B0F0A5B287}"/>
                  </a:ext>
                </a:extLst>
              </p:cNvPr>
              <p:cNvSpPr/>
              <p:nvPr/>
            </p:nvSpPr>
            <p:spPr>
              <a:xfrm>
                <a:off x="7995366" y="3606722"/>
                <a:ext cx="18324" cy="18464"/>
              </a:xfrm>
              <a:custGeom>
                <a:avLst/>
                <a:gdLst>
                  <a:gd name="connsiteX0" fmla="*/ 10030 w 18324"/>
                  <a:gd name="connsiteY0" fmla="*/ 52 h 18464"/>
                  <a:gd name="connsiteX1" fmla="*/ 42 w 18324"/>
                  <a:gd name="connsiteY1" fmla="*/ 8305 h 18464"/>
                  <a:gd name="connsiteX2" fmla="*/ 8296 w 18324"/>
                  <a:gd name="connsiteY2" fmla="*/ 18413 h 18464"/>
                  <a:gd name="connsiteX3" fmla="*/ 18283 w 18324"/>
                  <a:gd name="connsiteY3" fmla="*/ 10159 h 18464"/>
                  <a:gd name="connsiteX4" fmla="*/ 10030 w 18324"/>
                  <a:gd name="connsiteY4" fmla="*/ 5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4">
                    <a:moveTo>
                      <a:pt x="10030" y="52"/>
                    </a:moveTo>
                    <a:cubicBezTo>
                      <a:pt x="5006" y="-486"/>
                      <a:pt x="520" y="3222"/>
                      <a:pt x="42" y="8305"/>
                    </a:cubicBezTo>
                    <a:cubicBezTo>
                      <a:pt x="-437" y="13389"/>
                      <a:pt x="3211" y="17874"/>
                      <a:pt x="8296" y="18413"/>
                    </a:cubicBezTo>
                    <a:cubicBezTo>
                      <a:pt x="13319" y="18951"/>
                      <a:pt x="17805" y="15243"/>
                      <a:pt x="18283" y="10159"/>
                    </a:cubicBezTo>
                    <a:cubicBezTo>
                      <a:pt x="18762" y="5076"/>
                      <a:pt x="15054" y="590"/>
                      <a:pt x="10030" y="52"/>
                    </a:cubicBezTo>
                    <a:close/>
                  </a:path>
                </a:pathLst>
              </a:custGeom>
              <a:grpFill/>
              <a:ln w="5978" cap="flat">
                <a:noFill/>
                <a:prstDash val="solid"/>
                <a:miter/>
              </a:ln>
            </p:spPr>
            <p:txBody>
              <a:bodyPr rtlCol="0" anchor="ctr"/>
              <a:lstStyle/>
              <a:p>
                <a:endParaRPr lang="en-GB"/>
              </a:p>
            </p:txBody>
          </p:sp>
        </p:grpSp>
        <p:grpSp>
          <p:nvGrpSpPr>
            <p:cNvPr id="114" name="Graphic 3">
              <a:extLst>
                <a:ext uri="{FF2B5EF4-FFF2-40B4-BE49-F238E27FC236}">
                  <a16:creationId xmlns:a16="http://schemas.microsoft.com/office/drawing/2014/main" id="{B9EE95EF-270F-4467-9E7E-153C0AA5B6BB}"/>
                </a:ext>
              </a:extLst>
            </p:cNvPr>
            <p:cNvGrpSpPr/>
            <p:nvPr/>
          </p:nvGrpSpPr>
          <p:grpSpPr>
            <a:xfrm>
              <a:off x="7822125" y="2973575"/>
              <a:ext cx="49445" cy="25937"/>
              <a:chOff x="7822125" y="2973575"/>
              <a:chExt cx="49445" cy="25937"/>
            </a:xfrm>
            <a:grpFill/>
          </p:grpSpPr>
          <p:sp>
            <p:nvSpPr>
              <p:cNvPr id="5036" name="Vrije vorm: vorm 5035">
                <a:extLst>
                  <a:ext uri="{FF2B5EF4-FFF2-40B4-BE49-F238E27FC236}">
                    <a16:creationId xmlns:a16="http://schemas.microsoft.com/office/drawing/2014/main" id="{C57C92DD-172E-47A8-B42E-8B7695EF0E6B}"/>
                  </a:ext>
                </a:extLst>
              </p:cNvPr>
              <p:cNvSpPr/>
              <p:nvPr/>
            </p:nvSpPr>
            <p:spPr>
              <a:xfrm>
                <a:off x="7830266" y="2981001"/>
                <a:ext cx="32695" cy="10649"/>
              </a:xfrm>
              <a:custGeom>
                <a:avLst/>
                <a:gdLst>
                  <a:gd name="connsiteX0" fmla="*/ 0 w 32695"/>
                  <a:gd name="connsiteY0" fmla="*/ 7684 h 10649"/>
                  <a:gd name="connsiteX1" fmla="*/ 31983 w 32695"/>
                  <a:gd name="connsiteY1" fmla="*/ 0 h 10649"/>
                  <a:gd name="connsiteX2" fmla="*/ 32695 w 32695"/>
                  <a:gd name="connsiteY2" fmla="*/ 2966 h 10649"/>
                  <a:gd name="connsiteX3" fmla="*/ 712 w 32695"/>
                  <a:gd name="connsiteY3" fmla="*/ 10650 h 10649"/>
                </a:gdLst>
                <a:ahLst/>
                <a:cxnLst>
                  <a:cxn ang="0">
                    <a:pos x="connsiteX0" y="connsiteY0"/>
                  </a:cxn>
                  <a:cxn ang="0">
                    <a:pos x="connsiteX1" y="connsiteY1"/>
                  </a:cxn>
                  <a:cxn ang="0">
                    <a:pos x="connsiteX2" y="connsiteY2"/>
                  </a:cxn>
                  <a:cxn ang="0">
                    <a:pos x="connsiteX3" y="connsiteY3"/>
                  </a:cxn>
                </a:cxnLst>
                <a:rect l="l" t="t" r="r" b="b"/>
                <a:pathLst>
                  <a:path w="32695" h="10649">
                    <a:moveTo>
                      <a:pt x="0" y="7684"/>
                    </a:moveTo>
                    <a:lnTo>
                      <a:pt x="31983" y="0"/>
                    </a:lnTo>
                    <a:lnTo>
                      <a:pt x="32695" y="2966"/>
                    </a:lnTo>
                    <a:lnTo>
                      <a:pt x="712" y="10650"/>
                    </a:lnTo>
                    <a:close/>
                  </a:path>
                </a:pathLst>
              </a:custGeom>
              <a:grpFill/>
              <a:ln w="5978" cap="flat">
                <a:noFill/>
                <a:prstDash val="solid"/>
                <a:miter/>
              </a:ln>
            </p:spPr>
            <p:txBody>
              <a:bodyPr rtlCol="0" anchor="ctr"/>
              <a:lstStyle/>
              <a:p>
                <a:endParaRPr lang="en-GB"/>
              </a:p>
            </p:txBody>
          </p:sp>
          <p:sp>
            <p:nvSpPr>
              <p:cNvPr id="5037" name="Vrije vorm: vorm 5036">
                <a:extLst>
                  <a:ext uri="{FF2B5EF4-FFF2-40B4-BE49-F238E27FC236}">
                    <a16:creationId xmlns:a16="http://schemas.microsoft.com/office/drawing/2014/main" id="{244BD31A-F0EB-45C8-B1BC-904F08E1EAA1}"/>
                  </a:ext>
                </a:extLst>
              </p:cNvPr>
              <p:cNvSpPr/>
              <p:nvPr/>
            </p:nvSpPr>
            <p:spPr>
              <a:xfrm>
                <a:off x="7853244" y="2973575"/>
                <a:ext cx="18326" cy="18461"/>
              </a:xfrm>
              <a:custGeom>
                <a:avLst/>
                <a:gdLst>
                  <a:gd name="connsiteX0" fmla="*/ 6999 w 18326"/>
                  <a:gd name="connsiteY0" fmla="*/ 260 h 18461"/>
                  <a:gd name="connsiteX1" fmla="*/ 18063 w 18326"/>
                  <a:gd name="connsiteY1" fmla="*/ 7078 h 18461"/>
                  <a:gd name="connsiteX2" fmla="*/ 11305 w 18326"/>
                  <a:gd name="connsiteY2" fmla="*/ 18202 h 18461"/>
                  <a:gd name="connsiteX3" fmla="*/ 241 w 18326"/>
                  <a:gd name="connsiteY3" fmla="*/ 11384 h 18461"/>
                  <a:gd name="connsiteX4" fmla="*/ 6999 w 18326"/>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6999" y="260"/>
                    </a:moveTo>
                    <a:cubicBezTo>
                      <a:pt x="11903" y="-936"/>
                      <a:pt x="16867" y="2114"/>
                      <a:pt x="18063" y="7078"/>
                    </a:cubicBezTo>
                    <a:cubicBezTo>
                      <a:pt x="19259" y="12042"/>
                      <a:pt x="16269" y="17006"/>
                      <a:pt x="11305" y="18202"/>
                    </a:cubicBezTo>
                    <a:cubicBezTo>
                      <a:pt x="6401" y="19398"/>
                      <a:pt x="1437" y="16348"/>
                      <a:pt x="241" y="11384"/>
                    </a:cubicBezTo>
                    <a:cubicBezTo>
                      <a:pt x="-896" y="6360"/>
                      <a:pt x="2095" y="1396"/>
                      <a:pt x="6999" y="260"/>
                    </a:cubicBezTo>
                    <a:close/>
                  </a:path>
                </a:pathLst>
              </a:custGeom>
              <a:grpFill/>
              <a:ln w="5978" cap="flat">
                <a:noFill/>
                <a:prstDash val="solid"/>
                <a:miter/>
              </a:ln>
            </p:spPr>
            <p:txBody>
              <a:bodyPr rtlCol="0" anchor="ctr"/>
              <a:lstStyle/>
              <a:p>
                <a:endParaRPr lang="en-GB"/>
              </a:p>
            </p:txBody>
          </p:sp>
          <p:sp>
            <p:nvSpPr>
              <p:cNvPr id="5038" name="Vrije vorm: vorm 5037">
                <a:extLst>
                  <a:ext uri="{FF2B5EF4-FFF2-40B4-BE49-F238E27FC236}">
                    <a16:creationId xmlns:a16="http://schemas.microsoft.com/office/drawing/2014/main" id="{56262A8F-7B76-4583-9A62-35983EA74991}"/>
                  </a:ext>
                </a:extLst>
              </p:cNvPr>
              <p:cNvSpPr/>
              <p:nvPr/>
            </p:nvSpPr>
            <p:spPr>
              <a:xfrm>
                <a:off x="7822125" y="2981050"/>
                <a:ext cx="18342" cy="18461"/>
              </a:xfrm>
              <a:custGeom>
                <a:avLst/>
                <a:gdLst>
                  <a:gd name="connsiteX0" fmla="*/ 7018 w 18342"/>
                  <a:gd name="connsiteY0" fmla="*/ 260 h 18461"/>
                  <a:gd name="connsiteX1" fmla="*/ 260 w 18342"/>
                  <a:gd name="connsiteY1" fmla="*/ 11384 h 18461"/>
                  <a:gd name="connsiteX2" fmla="*/ 11324 w 18342"/>
                  <a:gd name="connsiteY2" fmla="*/ 18202 h 18461"/>
                  <a:gd name="connsiteX3" fmla="*/ 18082 w 18342"/>
                  <a:gd name="connsiteY3" fmla="*/ 7078 h 18461"/>
                  <a:gd name="connsiteX4" fmla="*/ 7018 w 18342"/>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1">
                    <a:moveTo>
                      <a:pt x="7018" y="260"/>
                    </a:moveTo>
                    <a:cubicBezTo>
                      <a:pt x="2114" y="1456"/>
                      <a:pt x="-936" y="6420"/>
                      <a:pt x="260" y="11384"/>
                    </a:cubicBezTo>
                    <a:cubicBezTo>
                      <a:pt x="1456" y="16348"/>
                      <a:pt x="6420" y="19398"/>
                      <a:pt x="11324" y="18202"/>
                    </a:cubicBezTo>
                    <a:cubicBezTo>
                      <a:pt x="16229" y="17006"/>
                      <a:pt x="19279" y="12042"/>
                      <a:pt x="18082" y="7078"/>
                    </a:cubicBezTo>
                    <a:cubicBezTo>
                      <a:pt x="16886" y="2114"/>
                      <a:pt x="11982" y="-936"/>
                      <a:pt x="7018" y="260"/>
                    </a:cubicBezTo>
                    <a:close/>
                  </a:path>
                </a:pathLst>
              </a:custGeom>
              <a:grpFill/>
              <a:ln w="5978" cap="flat">
                <a:noFill/>
                <a:prstDash val="solid"/>
                <a:miter/>
              </a:ln>
            </p:spPr>
            <p:txBody>
              <a:bodyPr rtlCol="0" anchor="ctr"/>
              <a:lstStyle/>
              <a:p>
                <a:endParaRPr lang="en-GB"/>
              </a:p>
            </p:txBody>
          </p:sp>
        </p:grpSp>
        <p:grpSp>
          <p:nvGrpSpPr>
            <p:cNvPr id="115" name="Graphic 3">
              <a:extLst>
                <a:ext uri="{FF2B5EF4-FFF2-40B4-BE49-F238E27FC236}">
                  <a16:creationId xmlns:a16="http://schemas.microsoft.com/office/drawing/2014/main" id="{C99A184A-F0E0-4AEE-9C8B-EE5445146747}"/>
                </a:ext>
              </a:extLst>
            </p:cNvPr>
            <p:cNvGrpSpPr/>
            <p:nvPr/>
          </p:nvGrpSpPr>
          <p:grpSpPr>
            <a:xfrm>
              <a:off x="7551495" y="2209658"/>
              <a:ext cx="33557" cy="30408"/>
              <a:chOff x="7551495" y="2209658"/>
              <a:chExt cx="33557" cy="30408"/>
            </a:xfrm>
            <a:grpFill/>
          </p:grpSpPr>
          <p:sp>
            <p:nvSpPr>
              <p:cNvPr id="5033" name="Vrije vorm: vorm 5032">
                <a:extLst>
                  <a:ext uri="{FF2B5EF4-FFF2-40B4-BE49-F238E27FC236}">
                    <a16:creationId xmlns:a16="http://schemas.microsoft.com/office/drawing/2014/main" id="{A8730327-BAAC-497A-9E16-BA1A16ADF016}"/>
                  </a:ext>
                </a:extLst>
              </p:cNvPr>
              <p:cNvSpPr/>
              <p:nvPr/>
            </p:nvSpPr>
            <p:spPr>
              <a:xfrm>
                <a:off x="7559353" y="2217393"/>
                <a:ext cx="17882" cy="14951"/>
              </a:xfrm>
              <a:custGeom>
                <a:avLst/>
                <a:gdLst>
                  <a:gd name="connsiteX0" fmla="*/ 17882 w 17882"/>
                  <a:gd name="connsiteY0" fmla="*/ 2392 h 14951"/>
                  <a:gd name="connsiteX1" fmla="*/ 1914 w 17882"/>
                  <a:gd name="connsiteY1" fmla="*/ 14952 h 14951"/>
                  <a:gd name="connsiteX2" fmla="*/ 0 w 17882"/>
                  <a:gd name="connsiteY2" fmla="*/ 12560 h 14951"/>
                  <a:gd name="connsiteX3" fmla="*/ 15969 w 17882"/>
                  <a:gd name="connsiteY3" fmla="*/ 0 h 14951"/>
                </a:gdLst>
                <a:ahLst/>
                <a:cxnLst>
                  <a:cxn ang="0">
                    <a:pos x="connsiteX0" y="connsiteY0"/>
                  </a:cxn>
                  <a:cxn ang="0">
                    <a:pos x="connsiteX1" y="connsiteY1"/>
                  </a:cxn>
                  <a:cxn ang="0">
                    <a:pos x="connsiteX2" y="connsiteY2"/>
                  </a:cxn>
                  <a:cxn ang="0">
                    <a:pos x="connsiteX3" y="connsiteY3"/>
                  </a:cxn>
                </a:cxnLst>
                <a:rect l="l" t="t" r="r" b="b"/>
                <a:pathLst>
                  <a:path w="17882" h="14951">
                    <a:moveTo>
                      <a:pt x="17882" y="2392"/>
                    </a:moveTo>
                    <a:lnTo>
                      <a:pt x="1914" y="14952"/>
                    </a:lnTo>
                    <a:lnTo>
                      <a:pt x="0" y="12560"/>
                    </a:lnTo>
                    <a:lnTo>
                      <a:pt x="15969" y="0"/>
                    </a:lnTo>
                    <a:close/>
                  </a:path>
                </a:pathLst>
              </a:custGeom>
              <a:grpFill/>
              <a:ln w="5978" cap="flat">
                <a:noFill/>
                <a:prstDash val="solid"/>
                <a:miter/>
              </a:ln>
            </p:spPr>
            <p:txBody>
              <a:bodyPr rtlCol="0" anchor="ctr"/>
              <a:lstStyle/>
              <a:p>
                <a:endParaRPr lang="en-GB"/>
              </a:p>
            </p:txBody>
          </p:sp>
          <p:sp>
            <p:nvSpPr>
              <p:cNvPr id="5034" name="Vrije vorm: vorm 5033">
                <a:extLst>
                  <a:ext uri="{FF2B5EF4-FFF2-40B4-BE49-F238E27FC236}">
                    <a16:creationId xmlns:a16="http://schemas.microsoft.com/office/drawing/2014/main" id="{2256E912-9CA8-4380-A807-C3CFF0805442}"/>
                  </a:ext>
                </a:extLst>
              </p:cNvPr>
              <p:cNvSpPr/>
              <p:nvPr/>
            </p:nvSpPr>
            <p:spPr>
              <a:xfrm>
                <a:off x="7566746" y="2209658"/>
                <a:ext cx="18306" cy="18417"/>
              </a:xfrm>
              <a:custGeom>
                <a:avLst/>
                <a:gdLst>
                  <a:gd name="connsiteX0" fmla="*/ 3492 w 18306"/>
                  <a:gd name="connsiteY0" fmla="*/ 1933 h 18417"/>
                  <a:gd name="connsiteX1" fmla="*/ 16350 w 18306"/>
                  <a:gd name="connsiteY1" fmla="*/ 3548 h 18417"/>
                  <a:gd name="connsiteX2" fmla="*/ 14795 w 18306"/>
                  <a:gd name="connsiteY2" fmla="*/ 16466 h 18417"/>
                  <a:gd name="connsiteX3" fmla="*/ 1937 w 18306"/>
                  <a:gd name="connsiteY3" fmla="*/ 14851 h 18417"/>
                  <a:gd name="connsiteX4" fmla="*/ 3492 w 18306"/>
                  <a:gd name="connsiteY4" fmla="*/ 1933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17">
                    <a:moveTo>
                      <a:pt x="3492" y="1933"/>
                    </a:moveTo>
                    <a:cubicBezTo>
                      <a:pt x="7439" y="-1177"/>
                      <a:pt x="13240" y="-459"/>
                      <a:pt x="16350" y="3548"/>
                    </a:cubicBezTo>
                    <a:cubicBezTo>
                      <a:pt x="19461" y="7555"/>
                      <a:pt x="18803" y="13356"/>
                      <a:pt x="14795" y="16466"/>
                    </a:cubicBezTo>
                    <a:cubicBezTo>
                      <a:pt x="10849" y="19576"/>
                      <a:pt x="5047" y="18918"/>
                      <a:pt x="1937" y="14851"/>
                    </a:cubicBezTo>
                    <a:cubicBezTo>
                      <a:pt x="-1173" y="10844"/>
                      <a:pt x="-455" y="5043"/>
                      <a:pt x="3492" y="1933"/>
                    </a:cubicBezTo>
                    <a:close/>
                  </a:path>
                </a:pathLst>
              </a:custGeom>
              <a:grpFill/>
              <a:ln w="5978" cap="flat">
                <a:noFill/>
                <a:prstDash val="solid"/>
                <a:miter/>
              </a:ln>
            </p:spPr>
            <p:txBody>
              <a:bodyPr rtlCol="0" anchor="ctr"/>
              <a:lstStyle/>
              <a:p>
                <a:endParaRPr lang="en-GB"/>
              </a:p>
            </p:txBody>
          </p:sp>
          <p:sp>
            <p:nvSpPr>
              <p:cNvPr id="5035" name="Vrije vorm: vorm 5034">
                <a:extLst>
                  <a:ext uri="{FF2B5EF4-FFF2-40B4-BE49-F238E27FC236}">
                    <a16:creationId xmlns:a16="http://schemas.microsoft.com/office/drawing/2014/main" id="{5F98904A-7B1E-4B88-A65B-59CC6CBDD7B0}"/>
                  </a:ext>
                </a:extLst>
              </p:cNvPr>
              <p:cNvSpPr/>
              <p:nvPr/>
            </p:nvSpPr>
            <p:spPr>
              <a:xfrm>
                <a:off x="7551495" y="2221675"/>
                <a:ext cx="18287" cy="18391"/>
              </a:xfrm>
              <a:custGeom>
                <a:avLst/>
                <a:gdLst>
                  <a:gd name="connsiteX0" fmla="*/ 3492 w 18287"/>
                  <a:gd name="connsiteY0" fmla="*/ 1937 h 18391"/>
                  <a:gd name="connsiteX1" fmla="*/ 1937 w 18287"/>
                  <a:gd name="connsiteY1" fmla="*/ 14856 h 18391"/>
                  <a:gd name="connsiteX2" fmla="*/ 14796 w 18287"/>
                  <a:gd name="connsiteY2" fmla="*/ 16411 h 18391"/>
                  <a:gd name="connsiteX3" fmla="*/ 16351 w 18287"/>
                  <a:gd name="connsiteY3" fmla="*/ 3492 h 18391"/>
                  <a:gd name="connsiteX4" fmla="*/ 3492 w 18287"/>
                  <a:gd name="connsiteY4" fmla="*/ 1937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391">
                    <a:moveTo>
                      <a:pt x="3492" y="1937"/>
                    </a:moveTo>
                    <a:cubicBezTo>
                      <a:pt x="-455" y="5047"/>
                      <a:pt x="-1173" y="10849"/>
                      <a:pt x="1937" y="14856"/>
                    </a:cubicBezTo>
                    <a:cubicBezTo>
                      <a:pt x="5047" y="18863"/>
                      <a:pt x="10849" y="19580"/>
                      <a:pt x="14796" y="16411"/>
                    </a:cubicBezTo>
                    <a:cubicBezTo>
                      <a:pt x="18743" y="13301"/>
                      <a:pt x="19460" y="7499"/>
                      <a:pt x="16351" y="3492"/>
                    </a:cubicBezTo>
                    <a:cubicBezTo>
                      <a:pt x="13241" y="-455"/>
                      <a:pt x="7499" y="-1173"/>
                      <a:pt x="3492" y="1937"/>
                    </a:cubicBezTo>
                    <a:close/>
                  </a:path>
                </a:pathLst>
              </a:custGeom>
              <a:grpFill/>
              <a:ln w="5978" cap="flat">
                <a:noFill/>
                <a:prstDash val="solid"/>
                <a:miter/>
              </a:ln>
            </p:spPr>
            <p:txBody>
              <a:bodyPr rtlCol="0" anchor="ctr"/>
              <a:lstStyle/>
              <a:p>
                <a:endParaRPr lang="en-GB"/>
              </a:p>
            </p:txBody>
          </p:sp>
        </p:grpSp>
        <p:grpSp>
          <p:nvGrpSpPr>
            <p:cNvPr id="116" name="Graphic 3">
              <a:extLst>
                <a:ext uri="{FF2B5EF4-FFF2-40B4-BE49-F238E27FC236}">
                  <a16:creationId xmlns:a16="http://schemas.microsoft.com/office/drawing/2014/main" id="{B9B4F03D-63C1-427D-8EE8-EA44F1B304FA}"/>
                </a:ext>
              </a:extLst>
            </p:cNvPr>
            <p:cNvGrpSpPr/>
            <p:nvPr/>
          </p:nvGrpSpPr>
          <p:grpSpPr>
            <a:xfrm>
              <a:off x="7687414" y="2648089"/>
              <a:ext cx="62411" cy="38320"/>
              <a:chOff x="7687414" y="2648089"/>
              <a:chExt cx="62411" cy="38320"/>
            </a:xfrm>
            <a:grpFill/>
          </p:grpSpPr>
          <p:sp>
            <p:nvSpPr>
              <p:cNvPr id="5030" name="Vrije vorm: vorm 5029">
                <a:extLst>
                  <a:ext uri="{FF2B5EF4-FFF2-40B4-BE49-F238E27FC236}">
                    <a16:creationId xmlns:a16="http://schemas.microsoft.com/office/drawing/2014/main" id="{37676768-3D6C-4FAB-8D85-72BDFFB9C0A3}"/>
                  </a:ext>
                </a:extLst>
              </p:cNvPr>
              <p:cNvSpPr/>
              <p:nvPr/>
            </p:nvSpPr>
            <p:spPr>
              <a:xfrm>
                <a:off x="7695474" y="2655720"/>
                <a:ext cx="46230" cy="23025"/>
              </a:xfrm>
              <a:custGeom>
                <a:avLst/>
                <a:gdLst>
                  <a:gd name="connsiteX0" fmla="*/ 46231 w 46230"/>
                  <a:gd name="connsiteY0" fmla="*/ 2751 h 23025"/>
                  <a:gd name="connsiteX1" fmla="*/ 1256 w 46230"/>
                  <a:gd name="connsiteY1" fmla="*/ 23026 h 23025"/>
                  <a:gd name="connsiteX2" fmla="*/ 0 w 46230"/>
                  <a:gd name="connsiteY2" fmla="*/ 20215 h 23025"/>
                  <a:gd name="connsiteX3" fmla="*/ 44975 w 46230"/>
                  <a:gd name="connsiteY3" fmla="*/ 0 h 23025"/>
                </a:gdLst>
                <a:ahLst/>
                <a:cxnLst>
                  <a:cxn ang="0">
                    <a:pos x="connsiteX0" y="connsiteY0"/>
                  </a:cxn>
                  <a:cxn ang="0">
                    <a:pos x="connsiteX1" y="connsiteY1"/>
                  </a:cxn>
                  <a:cxn ang="0">
                    <a:pos x="connsiteX2" y="connsiteY2"/>
                  </a:cxn>
                  <a:cxn ang="0">
                    <a:pos x="connsiteX3" y="connsiteY3"/>
                  </a:cxn>
                </a:cxnLst>
                <a:rect l="l" t="t" r="r" b="b"/>
                <a:pathLst>
                  <a:path w="46230" h="23025">
                    <a:moveTo>
                      <a:pt x="46231" y="2751"/>
                    </a:moveTo>
                    <a:lnTo>
                      <a:pt x="1256" y="23026"/>
                    </a:lnTo>
                    <a:lnTo>
                      <a:pt x="0" y="20215"/>
                    </a:lnTo>
                    <a:lnTo>
                      <a:pt x="44975" y="0"/>
                    </a:lnTo>
                    <a:close/>
                  </a:path>
                </a:pathLst>
              </a:custGeom>
              <a:grpFill/>
              <a:ln w="5978" cap="flat">
                <a:noFill/>
                <a:prstDash val="solid"/>
                <a:miter/>
              </a:ln>
            </p:spPr>
            <p:txBody>
              <a:bodyPr rtlCol="0" anchor="ctr"/>
              <a:lstStyle/>
              <a:p>
                <a:endParaRPr lang="en-GB"/>
              </a:p>
            </p:txBody>
          </p:sp>
          <p:sp>
            <p:nvSpPr>
              <p:cNvPr id="5031" name="Vrije vorm: vorm 5030">
                <a:extLst>
                  <a:ext uri="{FF2B5EF4-FFF2-40B4-BE49-F238E27FC236}">
                    <a16:creationId xmlns:a16="http://schemas.microsoft.com/office/drawing/2014/main" id="{890E838D-CFC3-4D1B-AC63-73A04EC2CB37}"/>
                  </a:ext>
                </a:extLst>
              </p:cNvPr>
              <p:cNvSpPr/>
              <p:nvPr/>
            </p:nvSpPr>
            <p:spPr>
              <a:xfrm>
                <a:off x="7731492" y="2648089"/>
                <a:ext cx="18333" cy="18489"/>
              </a:xfrm>
              <a:custGeom>
                <a:avLst/>
                <a:gdLst>
                  <a:gd name="connsiteX0" fmla="*/ 5369 w 18333"/>
                  <a:gd name="connsiteY0" fmla="*/ 812 h 18489"/>
                  <a:gd name="connsiteX1" fmla="*/ 17510 w 18333"/>
                  <a:gd name="connsiteY1" fmla="*/ 5477 h 18489"/>
                  <a:gd name="connsiteX2" fmla="*/ 12964 w 18333"/>
                  <a:gd name="connsiteY2" fmla="*/ 17678 h 18489"/>
                  <a:gd name="connsiteX3" fmla="*/ 824 w 18333"/>
                  <a:gd name="connsiteY3" fmla="*/ 13013 h 18489"/>
                  <a:gd name="connsiteX4" fmla="*/ 5369 w 18333"/>
                  <a:gd name="connsiteY4" fmla="*/ 812 h 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89">
                    <a:moveTo>
                      <a:pt x="5369" y="812"/>
                    </a:moveTo>
                    <a:cubicBezTo>
                      <a:pt x="9974" y="-1281"/>
                      <a:pt x="15417" y="812"/>
                      <a:pt x="17510" y="5477"/>
                    </a:cubicBezTo>
                    <a:cubicBezTo>
                      <a:pt x="19604" y="10142"/>
                      <a:pt x="17570" y="15585"/>
                      <a:pt x="12964" y="17678"/>
                    </a:cubicBezTo>
                    <a:cubicBezTo>
                      <a:pt x="8360" y="19771"/>
                      <a:pt x="2917" y="17678"/>
                      <a:pt x="824" y="13013"/>
                    </a:cubicBezTo>
                    <a:cubicBezTo>
                      <a:pt x="-1270" y="8288"/>
                      <a:pt x="764" y="2846"/>
                      <a:pt x="5369" y="812"/>
                    </a:cubicBezTo>
                    <a:close/>
                  </a:path>
                </a:pathLst>
              </a:custGeom>
              <a:grpFill/>
              <a:ln w="5978" cap="flat">
                <a:noFill/>
                <a:prstDash val="solid"/>
                <a:miter/>
              </a:ln>
            </p:spPr>
            <p:txBody>
              <a:bodyPr rtlCol="0" anchor="ctr"/>
              <a:lstStyle/>
              <a:p>
                <a:endParaRPr lang="en-GB"/>
              </a:p>
            </p:txBody>
          </p:sp>
          <p:sp>
            <p:nvSpPr>
              <p:cNvPr id="5032" name="Vrije vorm: vorm 5031">
                <a:extLst>
                  <a:ext uri="{FF2B5EF4-FFF2-40B4-BE49-F238E27FC236}">
                    <a16:creationId xmlns:a16="http://schemas.microsoft.com/office/drawing/2014/main" id="{AF6C5385-2181-4C02-A45B-40144F6F90CF}"/>
                  </a:ext>
                </a:extLst>
              </p:cNvPr>
              <p:cNvSpPr/>
              <p:nvPr/>
            </p:nvSpPr>
            <p:spPr>
              <a:xfrm>
                <a:off x="7687414" y="2667945"/>
                <a:ext cx="18333" cy="18464"/>
              </a:xfrm>
              <a:custGeom>
                <a:avLst/>
                <a:gdLst>
                  <a:gd name="connsiteX0" fmla="*/ 5369 w 18333"/>
                  <a:gd name="connsiteY0" fmla="*/ 812 h 18464"/>
                  <a:gd name="connsiteX1" fmla="*/ 824 w 18333"/>
                  <a:gd name="connsiteY1" fmla="*/ 13013 h 18464"/>
                  <a:gd name="connsiteX2" fmla="*/ 12964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5"/>
                      <a:pt x="-1270" y="8348"/>
                      <a:pt x="824" y="13013"/>
                    </a:cubicBezTo>
                    <a:cubicBezTo>
                      <a:pt x="2917" y="17678"/>
                      <a:pt x="8360" y="19711"/>
                      <a:pt x="12964" y="17678"/>
                    </a:cubicBezTo>
                    <a:cubicBezTo>
                      <a:pt x="17570" y="15585"/>
                      <a:pt x="19603"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17" name="Graphic 3">
              <a:extLst>
                <a:ext uri="{FF2B5EF4-FFF2-40B4-BE49-F238E27FC236}">
                  <a16:creationId xmlns:a16="http://schemas.microsoft.com/office/drawing/2014/main" id="{A822B2B1-E526-4267-A686-D35B8C79D748}"/>
                </a:ext>
              </a:extLst>
            </p:cNvPr>
            <p:cNvGrpSpPr/>
            <p:nvPr/>
          </p:nvGrpSpPr>
          <p:grpSpPr>
            <a:xfrm>
              <a:off x="7426676" y="2017977"/>
              <a:ext cx="211102" cy="188729"/>
              <a:chOff x="7426676" y="2017977"/>
              <a:chExt cx="211102" cy="188729"/>
            </a:xfrm>
            <a:grpFill/>
          </p:grpSpPr>
          <p:sp>
            <p:nvSpPr>
              <p:cNvPr id="5027" name="Vrije vorm: vorm 5026">
                <a:extLst>
                  <a:ext uri="{FF2B5EF4-FFF2-40B4-BE49-F238E27FC236}">
                    <a16:creationId xmlns:a16="http://schemas.microsoft.com/office/drawing/2014/main" id="{5C126E08-BF8D-471A-B268-5B5A05FD4E97}"/>
                  </a:ext>
                </a:extLst>
              </p:cNvPr>
              <p:cNvSpPr/>
              <p:nvPr/>
            </p:nvSpPr>
            <p:spPr>
              <a:xfrm>
                <a:off x="7434476" y="2025710"/>
                <a:ext cx="195510" cy="173261"/>
              </a:xfrm>
              <a:custGeom>
                <a:avLst/>
                <a:gdLst>
                  <a:gd name="connsiteX0" fmla="*/ 195510 w 195510"/>
                  <a:gd name="connsiteY0" fmla="*/ 2332 h 173261"/>
                  <a:gd name="connsiteX1" fmla="*/ 1973 w 195510"/>
                  <a:gd name="connsiteY1" fmla="*/ 173262 h 173261"/>
                  <a:gd name="connsiteX2" fmla="*/ 0 w 195510"/>
                  <a:gd name="connsiteY2" fmla="*/ 170929 h 173261"/>
                  <a:gd name="connsiteX3" fmla="*/ 193476 w 195510"/>
                  <a:gd name="connsiteY3" fmla="*/ 0 h 173261"/>
                </a:gdLst>
                <a:ahLst/>
                <a:cxnLst>
                  <a:cxn ang="0">
                    <a:pos x="connsiteX0" y="connsiteY0"/>
                  </a:cxn>
                  <a:cxn ang="0">
                    <a:pos x="connsiteX1" y="connsiteY1"/>
                  </a:cxn>
                  <a:cxn ang="0">
                    <a:pos x="connsiteX2" y="connsiteY2"/>
                  </a:cxn>
                  <a:cxn ang="0">
                    <a:pos x="connsiteX3" y="connsiteY3"/>
                  </a:cxn>
                </a:cxnLst>
                <a:rect l="l" t="t" r="r" b="b"/>
                <a:pathLst>
                  <a:path w="195510" h="173261">
                    <a:moveTo>
                      <a:pt x="195510" y="2332"/>
                    </a:moveTo>
                    <a:lnTo>
                      <a:pt x="1973" y="173262"/>
                    </a:lnTo>
                    <a:lnTo>
                      <a:pt x="0" y="170929"/>
                    </a:lnTo>
                    <a:lnTo>
                      <a:pt x="193476" y="0"/>
                    </a:lnTo>
                    <a:close/>
                  </a:path>
                </a:pathLst>
              </a:custGeom>
              <a:grpFill/>
              <a:ln w="5978" cap="flat">
                <a:noFill/>
                <a:prstDash val="solid"/>
                <a:miter/>
              </a:ln>
            </p:spPr>
            <p:txBody>
              <a:bodyPr rtlCol="0" anchor="ctr"/>
              <a:lstStyle/>
              <a:p>
                <a:endParaRPr lang="en-GB"/>
              </a:p>
            </p:txBody>
          </p:sp>
          <p:sp>
            <p:nvSpPr>
              <p:cNvPr id="5028" name="Vrije vorm: vorm 5027">
                <a:extLst>
                  <a:ext uri="{FF2B5EF4-FFF2-40B4-BE49-F238E27FC236}">
                    <a16:creationId xmlns:a16="http://schemas.microsoft.com/office/drawing/2014/main" id="{98350A11-0A32-4307-AB55-AFE534DA1F94}"/>
                  </a:ext>
                </a:extLst>
              </p:cNvPr>
              <p:cNvSpPr/>
              <p:nvPr/>
            </p:nvSpPr>
            <p:spPr>
              <a:xfrm>
                <a:off x="7619441" y="2017977"/>
                <a:ext cx="18338" cy="18398"/>
              </a:xfrm>
              <a:custGeom>
                <a:avLst/>
                <a:gdLst>
                  <a:gd name="connsiteX0" fmla="*/ 3128 w 18338"/>
                  <a:gd name="connsiteY0" fmla="*/ 2291 h 18398"/>
                  <a:gd name="connsiteX1" fmla="*/ 16047 w 18338"/>
                  <a:gd name="connsiteY1" fmla="*/ 3129 h 18398"/>
                  <a:gd name="connsiteX2" fmla="*/ 15209 w 18338"/>
                  <a:gd name="connsiteY2" fmla="*/ 16107 h 18398"/>
                  <a:gd name="connsiteX3" fmla="*/ 2292 w 18338"/>
                  <a:gd name="connsiteY3" fmla="*/ 15270 h 18398"/>
                  <a:gd name="connsiteX4" fmla="*/ 3128 w 18338"/>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3128" y="2291"/>
                    </a:moveTo>
                    <a:cubicBezTo>
                      <a:pt x="6896" y="-1058"/>
                      <a:pt x="12698" y="-699"/>
                      <a:pt x="16047" y="3129"/>
                    </a:cubicBezTo>
                    <a:cubicBezTo>
                      <a:pt x="19396" y="6956"/>
                      <a:pt x="19037" y="12758"/>
                      <a:pt x="15209" y="16107"/>
                    </a:cubicBezTo>
                    <a:cubicBezTo>
                      <a:pt x="11442" y="19456"/>
                      <a:pt x="5640" y="19097"/>
                      <a:pt x="2292" y="15270"/>
                    </a:cubicBezTo>
                    <a:cubicBezTo>
                      <a:pt x="-1058" y="11442"/>
                      <a:pt x="-699" y="5641"/>
                      <a:pt x="3128" y="2291"/>
                    </a:cubicBezTo>
                    <a:close/>
                  </a:path>
                </a:pathLst>
              </a:custGeom>
              <a:grpFill/>
              <a:ln w="5978" cap="flat">
                <a:noFill/>
                <a:prstDash val="solid"/>
                <a:miter/>
              </a:ln>
            </p:spPr>
            <p:txBody>
              <a:bodyPr rtlCol="0" anchor="ctr"/>
              <a:lstStyle/>
              <a:p>
                <a:endParaRPr lang="en-GB"/>
              </a:p>
            </p:txBody>
          </p:sp>
          <p:sp>
            <p:nvSpPr>
              <p:cNvPr id="5029" name="Vrije vorm: vorm 5028">
                <a:extLst>
                  <a:ext uri="{FF2B5EF4-FFF2-40B4-BE49-F238E27FC236}">
                    <a16:creationId xmlns:a16="http://schemas.microsoft.com/office/drawing/2014/main" id="{C0AB2DA3-4B07-41C1-B26C-0002A8CB8015}"/>
                  </a:ext>
                </a:extLst>
              </p:cNvPr>
              <p:cNvSpPr/>
              <p:nvPr/>
            </p:nvSpPr>
            <p:spPr>
              <a:xfrm>
                <a:off x="7426676" y="2188308"/>
                <a:ext cx="18299" cy="18398"/>
              </a:xfrm>
              <a:custGeom>
                <a:avLst/>
                <a:gdLst>
                  <a:gd name="connsiteX0" fmla="*/ 3075 w 18299"/>
                  <a:gd name="connsiteY0" fmla="*/ 2291 h 18398"/>
                  <a:gd name="connsiteX1" fmla="*/ 2297 w 18299"/>
                  <a:gd name="connsiteY1" fmla="*/ 15269 h 18398"/>
                  <a:gd name="connsiteX2" fmla="*/ 15216 w 18299"/>
                  <a:gd name="connsiteY2" fmla="*/ 16107 h 18398"/>
                  <a:gd name="connsiteX3" fmla="*/ 16053 w 18299"/>
                  <a:gd name="connsiteY3" fmla="*/ 3129 h 18398"/>
                  <a:gd name="connsiteX4" fmla="*/ 3075 w 18299"/>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98">
                    <a:moveTo>
                      <a:pt x="3075" y="2291"/>
                    </a:moveTo>
                    <a:cubicBezTo>
                      <a:pt x="-693" y="5641"/>
                      <a:pt x="-1052" y="11442"/>
                      <a:pt x="2297" y="15269"/>
                    </a:cubicBezTo>
                    <a:cubicBezTo>
                      <a:pt x="5647" y="19097"/>
                      <a:pt x="11448" y="19456"/>
                      <a:pt x="15216" y="16107"/>
                    </a:cubicBezTo>
                    <a:cubicBezTo>
                      <a:pt x="18983" y="12758"/>
                      <a:pt x="19343" y="6956"/>
                      <a:pt x="16053" y="3129"/>
                    </a:cubicBezTo>
                    <a:cubicBezTo>
                      <a:pt x="12644" y="-699"/>
                      <a:pt x="6842" y="-1058"/>
                      <a:pt x="3075" y="2291"/>
                    </a:cubicBezTo>
                    <a:close/>
                  </a:path>
                </a:pathLst>
              </a:custGeom>
              <a:grpFill/>
              <a:ln w="5978" cap="flat">
                <a:noFill/>
                <a:prstDash val="solid"/>
                <a:miter/>
              </a:ln>
            </p:spPr>
            <p:txBody>
              <a:bodyPr rtlCol="0" anchor="ctr"/>
              <a:lstStyle/>
              <a:p>
                <a:endParaRPr lang="en-GB"/>
              </a:p>
            </p:txBody>
          </p:sp>
        </p:grpSp>
        <p:grpSp>
          <p:nvGrpSpPr>
            <p:cNvPr id="118" name="Graphic 3">
              <a:extLst>
                <a:ext uri="{FF2B5EF4-FFF2-40B4-BE49-F238E27FC236}">
                  <a16:creationId xmlns:a16="http://schemas.microsoft.com/office/drawing/2014/main" id="{E9911168-4C40-4659-8FCE-2F4D13867A51}"/>
                </a:ext>
              </a:extLst>
            </p:cNvPr>
            <p:cNvGrpSpPr/>
            <p:nvPr/>
          </p:nvGrpSpPr>
          <p:grpSpPr>
            <a:xfrm>
              <a:off x="7782744" y="2879616"/>
              <a:ext cx="38014" cy="24351"/>
              <a:chOff x="7782744" y="2879616"/>
              <a:chExt cx="38014" cy="24351"/>
            </a:xfrm>
            <a:grpFill/>
          </p:grpSpPr>
          <p:sp>
            <p:nvSpPr>
              <p:cNvPr id="5024" name="Vrije vorm: vorm 5023">
                <a:extLst>
                  <a:ext uri="{FF2B5EF4-FFF2-40B4-BE49-F238E27FC236}">
                    <a16:creationId xmlns:a16="http://schemas.microsoft.com/office/drawing/2014/main" id="{A87A4962-CD02-42D0-8C3B-2ECE0BDF5EDA}"/>
                  </a:ext>
                </a:extLst>
              </p:cNvPr>
              <p:cNvSpPr/>
              <p:nvPr/>
            </p:nvSpPr>
            <p:spPr>
              <a:xfrm>
                <a:off x="7791046" y="2887233"/>
                <a:ext cx="21410" cy="9150"/>
              </a:xfrm>
              <a:custGeom>
                <a:avLst/>
                <a:gdLst>
                  <a:gd name="connsiteX0" fmla="*/ 20514 w 21410"/>
                  <a:gd name="connsiteY0" fmla="*/ 0 h 9150"/>
                  <a:gd name="connsiteX1" fmla="*/ 21411 w 21410"/>
                  <a:gd name="connsiteY1" fmla="*/ 2931 h 9150"/>
                  <a:gd name="connsiteX2" fmla="*/ 837 w 21410"/>
                  <a:gd name="connsiteY2" fmla="*/ 9151 h 9150"/>
                  <a:gd name="connsiteX3" fmla="*/ 0 w 21410"/>
                  <a:gd name="connsiteY3" fmla="*/ 6220 h 9150"/>
                </a:gdLst>
                <a:ahLst/>
                <a:cxnLst>
                  <a:cxn ang="0">
                    <a:pos x="connsiteX0" y="connsiteY0"/>
                  </a:cxn>
                  <a:cxn ang="0">
                    <a:pos x="connsiteX1" y="connsiteY1"/>
                  </a:cxn>
                  <a:cxn ang="0">
                    <a:pos x="connsiteX2" y="connsiteY2"/>
                  </a:cxn>
                  <a:cxn ang="0">
                    <a:pos x="connsiteX3" y="connsiteY3"/>
                  </a:cxn>
                </a:cxnLst>
                <a:rect l="l" t="t" r="r" b="b"/>
                <a:pathLst>
                  <a:path w="21410" h="9150">
                    <a:moveTo>
                      <a:pt x="20514" y="0"/>
                    </a:moveTo>
                    <a:lnTo>
                      <a:pt x="21411" y="2931"/>
                    </a:lnTo>
                    <a:lnTo>
                      <a:pt x="837" y="9151"/>
                    </a:lnTo>
                    <a:lnTo>
                      <a:pt x="0" y="6220"/>
                    </a:lnTo>
                    <a:close/>
                  </a:path>
                </a:pathLst>
              </a:custGeom>
              <a:grpFill/>
              <a:ln w="5978" cap="flat">
                <a:noFill/>
                <a:prstDash val="solid"/>
                <a:miter/>
              </a:ln>
            </p:spPr>
            <p:txBody>
              <a:bodyPr rtlCol="0" anchor="ctr"/>
              <a:lstStyle/>
              <a:p>
                <a:endParaRPr lang="en-GB"/>
              </a:p>
            </p:txBody>
          </p:sp>
          <p:sp>
            <p:nvSpPr>
              <p:cNvPr id="5025" name="Vrije vorm: vorm 5024">
                <a:extLst>
                  <a:ext uri="{FF2B5EF4-FFF2-40B4-BE49-F238E27FC236}">
                    <a16:creationId xmlns:a16="http://schemas.microsoft.com/office/drawing/2014/main" id="{832504F0-ABCC-4DF2-B766-2F5F64FD2CC4}"/>
                  </a:ext>
                </a:extLst>
              </p:cNvPr>
              <p:cNvSpPr/>
              <p:nvPr/>
            </p:nvSpPr>
            <p:spPr>
              <a:xfrm>
                <a:off x="7802421" y="2879616"/>
                <a:ext cx="18338" cy="18403"/>
              </a:xfrm>
              <a:custGeom>
                <a:avLst/>
                <a:gdLst>
                  <a:gd name="connsiteX0" fmla="*/ 6508 w 18338"/>
                  <a:gd name="connsiteY0" fmla="*/ 380 h 18403"/>
                  <a:gd name="connsiteX1" fmla="*/ 17931 w 18338"/>
                  <a:gd name="connsiteY1" fmla="*/ 6540 h 18403"/>
                  <a:gd name="connsiteX2" fmla="*/ 11831 w 18338"/>
                  <a:gd name="connsiteY2" fmla="*/ 18024 h 18403"/>
                  <a:gd name="connsiteX3" fmla="*/ 407 w 18338"/>
                  <a:gd name="connsiteY3" fmla="*/ 11863 h 18403"/>
                  <a:gd name="connsiteX4" fmla="*/ 6508 w 18338"/>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3">
                    <a:moveTo>
                      <a:pt x="6508" y="380"/>
                    </a:moveTo>
                    <a:cubicBezTo>
                      <a:pt x="11353" y="-1055"/>
                      <a:pt x="16496" y="1696"/>
                      <a:pt x="17931" y="6540"/>
                    </a:cubicBezTo>
                    <a:cubicBezTo>
                      <a:pt x="19426" y="11445"/>
                      <a:pt x="16676" y="16528"/>
                      <a:pt x="11831" y="18024"/>
                    </a:cubicBezTo>
                    <a:cubicBezTo>
                      <a:pt x="6987" y="19459"/>
                      <a:pt x="1843" y="16708"/>
                      <a:pt x="407" y="11863"/>
                    </a:cubicBezTo>
                    <a:cubicBezTo>
                      <a:pt x="-1088" y="7019"/>
                      <a:pt x="1664" y="1876"/>
                      <a:pt x="6508" y="380"/>
                    </a:cubicBezTo>
                    <a:close/>
                  </a:path>
                </a:pathLst>
              </a:custGeom>
              <a:grpFill/>
              <a:ln w="5978" cap="flat">
                <a:noFill/>
                <a:prstDash val="solid"/>
                <a:miter/>
              </a:ln>
            </p:spPr>
            <p:txBody>
              <a:bodyPr rtlCol="0" anchor="ctr"/>
              <a:lstStyle/>
              <a:p>
                <a:endParaRPr lang="en-GB"/>
              </a:p>
            </p:txBody>
          </p:sp>
          <p:sp>
            <p:nvSpPr>
              <p:cNvPr id="5026" name="Vrije vorm: vorm 5025">
                <a:extLst>
                  <a:ext uri="{FF2B5EF4-FFF2-40B4-BE49-F238E27FC236}">
                    <a16:creationId xmlns:a16="http://schemas.microsoft.com/office/drawing/2014/main" id="{EC95701D-E81D-4F54-9AC2-982BB28D0C33}"/>
                  </a:ext>
                </a:extLst>
              </p:cNvPr>
              <p:cNvSpPr/>
              <p:nvPr/>
            </p:nvSpPr>
            <p:spPr>
              <a:xfrm>
                <a:off x="7782744" y="2885537"/>
                <a:ext cx="18338" cy="18430"/>
              </a:xfrm>
              <a:custGeom>
                <a:avLst/>
                <a:gdLst>
                  <a:gd name="connsiteX0" fmla="*/ 6507 w 18338"/>
                  <a:gd name="connsiteY0" fmla="*/ 380 h 18430"/>
                  <a:gd name="connsiteX1" fmla="*/ 407 w 18338"/>
                  <a:gd name="connsiteY1" fmla="*/ 11863 h 18430"/>
                  <a:gd name="connsiteX2" fmla="*/ 11830 w 18338"/>
                  <a:gd name="connsiteY2" fmla="*/ 18023 h 18430"/>
                  <a:gd name="connsiteX3" fmla="*/ 17931 w 18338"/>
                  <a:gd name="connsiteY3" fmla="*/ 6541 h 18430"/>
                  <a:gd name="connsiteX4" fmla="*/ 6507 w 18338"/>
                  <a:gd name="connsiteY4" fmla="*/ 38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0">
                    <a:moveTo>
                      <a:pt x="6507" y="380"/>
                    </a:moveTo>
                    <a:cubicBezTo>
                      <a:pt x="1663" y="1816"/>
                      <a:pt x="-1088" y="6959"/>
                      <a:pt x="407" y="11863"/>
                    </a:cubicBezTo>
                    <a:cubicBezTo>
                      <a:pt x="1903" y="16768"/>
                      <a:pt x="6986" y="19519"/>
                      <a:pt x="11830" y="18023"/>
                    </a:cubicBezTo>
                    <a:cubicBezTo>
                      <a:pt x="16675" y="16588"/>
                      <a:pt x="19426" y="11445"/>
                      <a:pt x="17931" y="6541"/>
                    </a:cubicBezTo>
                    <a:cubicBezTo>
                      <a:pt x="16435" y="1696"/>
                      <a:pt x="11352" y="-1055"/>
                      <a:pt x="6507" y="380"/>
                    </a:cubicBezTo>
                    <a:close/>
                  </a:path>
                </a:pathLst>
              </a:custGeom>
              <a:grpFill/>
              <a:ln w="5978" cap="flat">
                <a:noFill/>
                <a:prstDash val="solid"/>
                <a:miter/>
              </a:ln>
            </p:spPr>
            <p:txBody>
              <a:bodyPr rtlCol="0" anchor="ctr"/>
              <a:lstStyle/>
              <a:p>
                <a:endParaRPr lang="en-GB"/>
              </a:p>
            </p:txBody>
          </p:sp>
        </p:grpSp>
        <p:grpSp>
          <p:nvGrpSpPr>
            <p:cNvPr id="119" name="Graphic 3">
              <a:extLst>
                <a:ext uri="{FF2B5EF4-FFF2-40B4-BE49-F238E27FC236}">
                  <a16:creationId xmlns:a16="http://schemas.microsoft.com/office/drawing/2014/main" id="{B2F5C318-3798-4807-8DCA-5C969CA0AA0C}"/>
                </a:ext>
              </a:extLst>
            </p:cNvPr>
            <p:cNvGrpSpPr/>
            <p:nvPr/>
          </p:nvGrpSpPr>
          <p:grpSpPr>
            <a:xfrm>
              <a:off x="7664069" y="2718512"/>
              <a:ext cx="192376" cy="85348"/>
              <a:chOff x="7664069" y="2718512"/>
              <a:chExt cx="192376" cy="85348"/>
            </a:xfrm>
            <a:grpFill/>
          </p:grpSpPr>
          <p:sp>
            <p:nvSpPr>
              <p:cNvPr id="5021" name="Vrije vorm: vorm 5020">
                <a:extLst>
                  <a:ext uri="{FF2B5EF4-FFF2-40B4-BE49-F238E27FC236}">
                    <a16:creationId xmlns:a16="http://schemas.microsoft.com/office/drawing/2014/main" id="{875347FC-A24D-4FD5-AD17-2AC5D5DFAD71}"/>
                  </a:ext>
                </a:extLst>
              </p:cNvPr>
              <p:cNvSpPr/>
              <p:nvPr/>
            </p:nvSpPr>
            <p:spPr>
              <a:xfrm>
                <a:off x="7672022" y="2726050"/>
                <a:ext cx="175973" cy="70114"/>
              </a:xfrm>
              <a:custGeom>
                <a:avLst/>
                <a:gdLst>
                  <a:gd name="connsiteX0" fmla="*/ 0 w 175973"/>
                  <a:gd name="connsiteY0" fmla="*/ 67268 h 70114"/>
                  <a:gd name="connsiteX1" fmla="*/ 174878 w 175973"/>
                  <a:gd name="connsiteY1" fmla="*/ 0 h 70114"/>
                  <a:gd name="connsiteX2" fmla="*/ 175973 w 175973"/>
                  <a:gd name="connsiteY2" fmla="*/ 2847 h 70114"/>
                  <a:gd name="connsiteX3" fmla="*/ 1095 w 175973"/>
                  <a:gd name="connsiteY3" fmla="*/ 70115 h 70114"/>
                </a:gdLst>
                <a:ahLst/>
                <a:cxnLst>
                  <a:cxn ang="0">
                    <a:pos x="connsiteX0" y="connsiteY0"/>
                  </a:cxn>
                  <a:cxn ang="0">
                    <a:pos x="connsiteX1" y="connsiteY1"/>
                  </a:cxn>
                  <a:cxn ang="0">
                    <a:pos x="connsiteX2" y="connsiteY2"/>
                  </a:cxn>
                  <a:cxn ang="0">
                    <a:pos x="connsiteX3" y="connsiteY3"/>
                  </a:cxn>
                </a:cxnLst>
                <a:rect l="l" t="t" r="r" b="b"/>
                <a:pathLst>
                  <a:path w="175973" h="70114">
                    <a:moveTo>
                      <a:pt x="0" y="67268"/>
                    </a:moveTo>
                    <a:lnTo>
                      <a:pt x="174878" y="0"/>
                    </a:lnTo>
                    <a:lnTo>
                      <a:pt x="175973" y="2847"/>
                    </a:lnTo>
                    <a:lnTo>
                      <a:pt x="1095" y="70115"/>
                    </a:lnTo>
                    <a:close/>
                  </a:path>
                </a:pathLst>
              </a:custGeom>
              <a:grpFill/>
              <a:ln w="5978" cap="flat">
                <a:noFill/>
                <a:prstDash val="solid"/>
                <a:miter/>
              </a:ln>
            </p:spPr>
            <p:txBody>
              <a:bodyPr rtlCol="0" anchor="ctr"/>
              <a:lstStyle/>
              <a:p>
                <a:endParaRPr lang="en-GB"/>
              </a:p>
            </p:txBody>
          </p:sp>
          <p:sp>
            <p:nvSpPr>
              <p:cNvPr id="5022" name="Vrije vorm: vorm 5021">
                <a:extLst>
                  <a:ext uri="{FF2B5EF4-FFF2-40B4-BE49-F238E27FC236}">
                    <a16:creationId xmlns:a16="http://schemas.microsoft.com/office/drawing/2014/main" id="{F12B358E-A6CF-4D9F-AD84-53B1C2FD9BCC}"/>
                  </a:ext>
                </a:extLst>
              </p:cNvPr>
              <p:cNvSpPr/>
              <p:nvPr/>
            </p:nvSpPr>
            <p:spPr>
              <a:xfrm>
                <a:off x="7838108" y="2718512"/>
                <a:ext cx="18337" cy="18431"/>
              </a:xfrm>
              <a:custGeom>
                <a:avLst/>
                <a:gdLst>
                  <a:gd name="connsiteX0" fmla="*/ 5867 w 18337"/>
                  <a:gd name="connsiteY0" fmla="*/ 603 h 18431"/>
                  <a:gd name="connsiteX1" fmla="*/ 17709 w 18337"/>
                  <a:gd name="connsiteY1" fmla="*/ 5926 h 18431"/>
                  <a:gd name="connsiteX2" fmla="*/ 12446 w 18337"/>
                  <a:gd name="connsiteY2" fmla="*/ 17828 h 18431"/>
                  <a:gd name="connsiteX3" fmla="*/ 604 w 18337"/>
                  <a:gd name="connsiteY3" fmla="*/ 12505 h 18431"/>
                  <a:gd name="connsiteX4" fmla="*/ 5867 w 18337"/>
                  <a:gd name="connsiteY4" fmla="*/ 603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1">
                    <a:moveTo>
                      <a:pt x="5867" y="603"/>
                    </a:moveTo>
                    <a:cubicBezTo>
                      <a:pt x="10592" y="-1191"/>
                      <a:pt x="15915" y="1142"/>
                      <a:pt x="17709" y="5926"/>
                    </a:cubicBezTo>
                    <a:cubicBezTo>
                      <a:pt x="19563" y="10651"/>
                      <a:pt x="17171" y="16034"/>
                      <a:pt x="12446" y="17828"/>
                    </a:cubicBezTo>
                    <a:cubicBezTo>
                      <a:pt x="7721" y="19622"/>
                      <a:pt x="2399" y="17290"/>
                      <a:pt x="604" y="12505"/>
                    </a:cubicBezTo>
                    <a:cubicBezTo>
                      <a:pt x="-1190" y="7721"/>
                      <a:pt x="1143" y="2398"/>
                      <a:pt x="5867" y="603"/>
                    </a:cubicBezTo>
                    <a:close/>
                  </a:path>
                </a:pathLst>
              </a:custGeom>
              <a:grpFill/>
              <a:ln w="5978" cap="flat">
                <a:noFill/>
                <a:prstDash val="solid"/>
                <a:miter/>
              </a:ln>
            </p:spPr>
            <p:txBody>
              <a:bodyPr rtlCol="0" anchor="ctr"/>
              <a:lstStyle/>
              <a:p>
                <a:endParaRPr lang="en-GB"/>
              </a:p>
            </p:txBody>
          </p:sp>
          <p:sp>
            <p:nvSpPr>
              <p:cNvPr id="5023" name="Vrije vorm: vorm 5022">
                <a:extLst>
                  <a:ext uri="{FF2B5EF4-FFF2-40B4-BE49-F238E27FC236}">
                    <a16:creationId xmlns:a16="http://schemas.microsoft.com/office/drawing/2014/main" id="{74D6FEB3-D65A-4FC6-9B91-7241A9BF5E1D}"/>
                  </a:ext>
                </a:extLst>
              </p:cNvPr>
              <p:cNvSpPr/>
              <p:nvPr/>
            </p:nvSpPr>
            <p:spPr>
              <a:xfrm>
                <a:off x="7664069" y="2785443"/>
                <a:ext cx="18313" cy="18417"/>
              </a:xfrm>
              <a:custGeom>
                <a:avLst/>
                <a:gdLst>
                  <a:gd name="connsiteX0" fmla="*/ 5867 w 18313"/>
                  <a:gd name="connsiteY0" fmla="*/ 596 h 18417"/>
                  <a:gd name="connsiteX1" fmla="*/ 604 w 18313"/>
                  <a:gd name="connsiteY1" fmla="*/ 12498 h 18417"/>
                  <a:gd name="connsiteX2" fmla="*/ 12446 w 18313"/>
                  <a:gd name="connsiteY2" fmla="*/ 17821 h 18417"/>
                  <a:gd name="connsiteX3" fmla="*/ 17709 w 18313"/>
                  <a:gd name="connsiteY3" fmla="*/ 5919 h 18417"/>
                  <a:gd name="connsiteX4" fmla="*/ 5867 w 18313"/>
                  <a:gd name="connsiteY4" fmla="*/ 596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17">
                    <a:moveTo>
                      <a:pt x="5867" y="596"/>
                    </a:moveTo>
                    <a:cubicBezTo>
                      <a:pt x="1142" y="2391"/>
                      <a:pt x="-1190" y="7713"/>
                      <a:pt x="604" y="12498"/>
                    </a:cubicBezTo>
                    <a:cubicBezTo>
                      <a:pt x="2399" y="17223"/>
                      <a:pt x="7722" y="19615"/>
                      <a:pt x="12446" y="17821"/>
                    </a:cubicBezTo>
                    <a:cubicBezTo>
                      <a:pt x="17171" y="16027"/>
                      <a:pt x="19503" y="10704"/>
                      <a:pt x="17709" y="5919"/>
                    </a:cubicBezTo>
                    <a:cubicBezTo>
                      <a:pt x="15915" y="1194"/>
                      <a:pt x="10592" y="-1198"/>
                      <a:pt x="5867" y="596"/>
                    </a:cubicBezTo>
                    <a:close/>
                  </a:path>
                </a:pathLst>
              </a:custGeom>
              <a:grpFill/>
              <a:ln w="5978" cap="flat">
                <a:noFill/>
                <a:prstDash val="solid"/>
                <a:miter/>
              </a:ln>
            </p:spPr>
            <p:txBody>
              <a:bodyPr rtlCol="0" anchor="ctr"/>
              <a:lstStyle/>
              <a:p>
                <a:endParaRPr lang="en-GB"/>
              </a:p>
            </p:txBody>
          </p:sp>
        </p:grpSp>
        <p:grpSp>
          <p:nvGrpSpPr>
            <p:cNvPr id="120" name="Graphic 3">
              <a:extLst>
                <a:ext uri="{FF2B5EF4-FFF2-40B4-BE49-F238E27FC236}">
                  <a16:creationId xmlns:a16="http://schemas.microsoft.com/office/drawing/2014/main" id="{35CE2F2F-89D0-4F66-BCDA-98F222F6CB86}"/>
                </a:ext>
              </a:extLst>
            </p:cNvPr>
            <p:cNvGrpSpPr/>
            <p:nvPr/>
          </p:nvGrpSpPr>
          <p:grpSpPr>
            <a:xfrm>
              <a:off x="7625108" y="2800521"/>
              <a:ext cx="326456" cy="86566"/>
              <a:chOff x="7625108" y="2800521"/>
              <a:chExt cx="326456" cy="86566"/>
            </a:xfrm>
            <a:grpFill/>
          </p:grpSpPr>
          <p:sp>
            <p:nvSpPr>
              <p:cNvPr id="5018" name="Vrije vorm: vorm 5017">
                <a:extLst>
                  <a:ext uri="{FF2B5EF4-FFF2-40B4-BE49-F238E27FC236}">
                    <a16:creationId xmlns:a16="http://schemas.microsoft.com/office/drawing/2014/main" id="{FC25092A-6029-4A28-A7F7-59A46CE1789C}"/>
                  </a:ext>
                </a:extLst>
              </p:cNvPr>
              <p:cNvSpPr/>
              <p:nvPr/>
            </p:nvSpPr>
            <p:spPr>
              <a:xfrm>
                <a:off x="7633514" y="2808168"/>
                <a:ext cx="309622" cy="71290"/>
              </a:xfrm>
              <a:custGeom>
                <a:avLst/>
                <a:gdLst>
                  <a:gd name="connsiteX0" fmla="*/ 308964 w 309622"/>
                  <a:gd name="connsiteY0" fmla="*/ 0 h 71290"/>
                  <a:gd name="connsiteX1" fmla="*/ 309622 w 309622"/>
                  <a:gd name="connsiteY1" fmla="*/ 2990 h 71290"/>
                  <a:gd name="connsiteX2" fmla="*/ 658 w 309622"/>
                  <a:gd name="connsiteY2" fmla="*/ 71290 h 71290"/>
                  <a:gd name="connsiteX3" fmla="*/ 0 w 309622"/>
                  <a:gd name="connsiteY3" fmla="*/ 68300 h 71290"/>
                </a:gdLst>
                <a:ahLst/>
                <a:cxnLst>
                  <a:cxn ang="0">
                    <a:pos x="connsiteX0" y="connsiteY0"/>
                  </a:cxn>
                  <a:cxn ang="0">
                    <a:pos x="connsiteX1" y="connsiteY1"/>
                  </a:cxn>
                  <a:cxn ang="0">
                    <a:pos x="connsiteX2" y="connsiteY2"/>
                  </a:cxn>
                  <a:cxn ang="0">
                    <a:pos x="connsiteX3" y="connsiteY3"/>
                  </a:cxn>
                </a:cxnLst>
                <a:rect l="l" t="t" r="r" b="b"/>
                <a:pathLst>
                  <a:path w="309622" h="71290">
                    <a:moveTo>
                      <a:pt x="308964" y="0"/>
                    </a:moveTo>
                    <a:lnTo>
                      <a:pt x="309622" y="2990"/>
                    </a:lnTo>
                    <a:lnTo>
                      <a:pt x="658" y="71290"/>
                    </a:lnTo>
                    <a:lnTo>
                      <a:pt x="0" y="68300"/>
                    </a:lnTo>
                    <a:close/>
                  </a:path>
                </a:pathLst>
              </a:custGeom>
              <a:grpFill/>
              <a:ln w="5978" cap="flat">
                <a:noFill/>
                <a:prstDash val="solid"/>
                <a:miter/>
              </a:ln>
            </p:spPr>
            <p:txBody>
              <a:bodyPr rtlCol="0" anchor="ctr"/>
              <a:lstStyle/>
              <a:p>
                <a:endParaRPr lang="en-GB"/>
              </a:p>
            </p:txBody>
          </p:sp>
          <p:sp>
            <p:nvSpPr>
              <p:cNvPr id="5019" name="Vrije vorm: vorm 5018">
                <a:extLst>
                  <a:ext uri="{FF2B5EF4-FFF2-40B4-BE49-F238E27FC236}">
                    <a16:creationId xmlns:a16="http://schemas.microsoft.com/office/drawing/2014/main" id="{D9FA36A7-8E2D-4D32-A6B8-C76524F5C3FB}"/>
                  </a:ext>
                </a:extLst>
              </p:cNvPr>
              <p:cNvSpPr/>
              <p:nvPr/>
            </p:nvSpPr>
            <p:spPr>
              <a:xfrm>
                <a:off x="7625108" y="2868660"/>
                <a:ext cx="18329" cy="18427"/>
              </a:xfrm>
              <a:custGeom>
                <a:avLst/>
                <a:gdLst>
                  <a:gd name="connsiteX0" fmla="*/ 11158 w 18329"/>
                  <a:gd name="connsiteY0" fmla="*/ 18215 h 18427"/>
                  <a:gd name="connsiteX1" fmla="*/ 213 w 18329"/>
                  <a:gd name="connsiteY1" fmla="*/ 11217 h 18427"/>
                  <a:gd name="connsiteX2" fmla="*/ 7150 w 18329"/>
                  <a:gd name="connsiteY2" fmla="*/ 213 h 18427"/>
                  <a:gd name="connsiteX3" fmla="*/ 18095 w 18329"/>
                  <a:gd name="connsiteY3" fmla="*/ 7210 h 18427"/>
                  <a:gd name="connsiteX4" fmla="*/ 11158 w 18329"/>
                  <a:gd name="connsiteY4" fmla="*/ 18215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7">
                    <a:moveTo>
                      <a:pt x="11158" y="18215"/>
                    </a:moveTo>
                    <a:cubicBezTo>
                      <a:pt x="6194" y="19291"/>
                      <a:pt x="1289" y="16181"/>
                      <a:pt x="213" y="11217"/>
                    </a:cubicBezTo>
                    <a:cubicBezTo>
                      <a:pt x="-864" y="6253"/>
                      <a:pt x="2246" y="1349"/>
                      <a:pt x="7150" y="213"/>
                    </a:cubicBezTo>
                    <a:cubicBezTo>
                      <a:pt x="12115" y="-864"/>
                      <a:pt x="17019" y="2246"/>
                      <a:pt x="18095" y="7210"/>
                    </a:cubicBezTo>
                    <a:cubicBezTo>
                      <a:pt x="19231" y="12174"/>
                      <a:pt x="16121" y="17078"/>
                      <a:pt x="11158" y="18215"/>
                    </a:cubicBezTo>
                    <a:close/>
                  </a:path>
                </a:pathLst>
              </a:custGeom>
              <a:grpFill/>
              <a:ln w="5978" cap="flat">
                <a:noFill/>
                <a:prstDash val="solid"/>
                <a:miter/>
              </a:ln>
            </p:spPr>
            <p:txBody>
              <a:bodyPr rtlCol="0" anchor="ctr"/>
              <a:lstStyle/>
              <a:p>
                <a:endParaRPr lang="en-GB"/>
              </a:p>
            </p:txBody>
          </p:sp>
          <p:sp>
            <p:nvSpPr>
              <p:cNvPr id="5020" name="Vrije vorm: vorm 5019">
                <a:extLst>
                  <a:ext uri="{FF2B5EF4-FFF2-40B4-BE49-F238E27FC236}">
                    <a16:creationId xmlns:a16="http://schemas.microsoft.com/office/drawing/2014/main" id="{33619DA9-1567-4F68-A6D8-9F2B8CCD3EB9}"/>
                  </a:ext>
                </a:extLst>
              </p:cNvPr>
              <p:cNvSpPr/>
              <p:nvPr/>
            </p:nvSpPr>
            <p:spPr>
              <a:xfrm>
                <a:off x="7933213" y="2800521"/>
                <a:ext cx="18350" cy="18445"/>
              </a:xfrm>
              <a:custGeom>
                <a:avLst/>
                <a:gdLst>
                  <a:gd name="connsiteX0" fmla="*/ 11179 w 18350"/>
                  <a:gd name="connsiteY0" fmla="*/ 18233 h 18445"/>
                  <a:gd name="connsiteX1" fmla="*/ 18117 w 18350"/>
                  <a:gd name="connsiteY1" fmla="*/ 7229 h 18445"/>
                  <a:gd name="connsiteX2" fmla="*/ 7171 w 18350"/>
                  <a:gd name="connsiteY2" fmla="*/ 231 h 18445"/>
                  <a:gd name="connsiteX3" fmla="*/ 234 w 18350"/>
                  <a:gd name="connsiteY3" fmla="*/ 11236 h 18445"/>
                  <a:gd name="connsiteX4" fmla="*/ 11179 w 18350"/>
                  <a:gd name="connsiteY4" fmla="*/ 18233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45">
                    <a:moveTo>
                      <a:pt x="11179" y="18233"/>
                    </a:moveTo>
                    <a:cubicBezTo>
                      <a:pt x="16142" y="17157"/>
                      <a:pt x="19253" y="12252"/>
                      <a:pt x="18117" y="7229"/>
                    </a:cubicBezTo>
                    <a:cubicBezTo>
                      <a:pt x="17040" y="2264"/>
                      <a:pt x="12136" y="-905"/>
                      <a:pt x="7171" y="231"/>
                    </a:cubicBezTo>
                    <a:cubicBezTo>
                      <a:pt x="2208" y="1308"/>
                      <a:pt x="-902" y="6212"/>
                      <a:pt x="234" y="11236"/>
                    </a:cubicBezTo>
                    <a:cubicBezTo>
                      <a:pt x="1310" y="16200"/>
                      <a:pt x="6215" y="19310"/>
                      <a:pt x="11179" y="18233"/>
                    </a:cubicBezTo>
                    <a:close/>
                  </a:path>
                </a:pathLst>
              </a:custGeom>
              <a:grpFill/>
              <a:ln w="5978" cap="flat">
                <a:noFill/>
                <a:prstDash val="solid"/>
                <a:miter/>
              </a:ln>
            </p:spPr>
            <p:txBody>
              <a:bodyPr rtlCol="0" anchor="ctr"/>
              <a:lstStyle/>
              <a:p>
                <a:endParaRPr lang="en-GB"/>
              </a:p>
            </p:txBody>
          </p:sp>
        </p:grpSp>
        <p:grpSp>
          <p:nvGrpSpPr>
            <p:cNvPr id="121" name="Graphic 3">
              <a:extLst>
                <a:ext uri="{FF2B5EF4-FFF2-40B4-BE49-F238E27FC236}">
                  <a16:creationId xmlns:a16="http://schemas.microsoft.com/office/drawing/2014/main" id="{4B459AD3-E4F7-49CB-8106-D45EA245B08B}"/>
                </a:ext>
              </a:extLst>
            </p:cNvPr>
            <p:cNvGrpSpPr/>
            <p:nvPr/>
          </p:nvGrpSpPr>
          <p:grpSpPr>
            <a:xfrm>
              <a:off x="8038060" y="3724902"/>
              <a:ext cx="90469" cy="29885"/>
              <a:chOff x="8038060" y="3724902"/>
              <a:chExt cx="90469" cy="29885"/>
            </a:xfrm>
            <a:grpFill/>
          </p:grpSpPr>
          <p:sp>
            <p:nvSpPr>
              <p:cNvPr id="5015" name="Vrije vorm: vorm 5014">
                <a:extLst>
                  <a:ext uri="{FF2B5EF4-FFF2-40B4-BE49-F238E27FC236}">
                    <a16:creationId xmlns:a16="http://schemas.microsoft.com/office/drawing/2014/main" id="{63C12F38-9F44-4D82-812D-3D05FE9BCE52}"/>
                  </a:ext>
                </a:extLst>
              </p:cNvPr>
              <p:cNvSpPr/>
              <p:nvPr/>
            </p:nvSpPr>
            <p:spPr>
              <a:xfrm>
                <a:off x="8046542" y="3732549"/>
                <a:ext cx="73503" cy="14652"/>
              </a:xfrm>
              <a:custGeom>
                <a:avLst/>
                <a:gdLst>
                  <a:gd name="connsiteX0" fmla="*/ 73503 w 73503"/>
                  <a:gd name="connsiteY0" fmla="*/ 11603 h 14652"/>
                  <a:gd name="connsiteX1" fmla="*/ 73085 w 73503"/>
                  <a:gd name="connsiteY1" fmla="*/ 14653 h 14652"/>
                  <a:gd name="connsiteX2" fmla="*/ 0 w 73503"/>
                  <a:gd name="connsiteY2" fmla="*/ 2990 h 14652"/>
                  <a:gd name="connsiteX3" fmla="*/ 419 w 73503"/>
                  <a:gd name="connsiteY3" fmla="*/ 0 h 14652"/>
                </a:gdLst>
                <a:ahLst/>
                <a:cxnLst>
                  <a:cxn ang="0">
                    <a:pos x="connsiteX0" y="connsiteY0"/>
                  </a:cxn>
                  <a:cxn ang="0">
                    <a:pos x="connsiteX1" y="connsiteY1"/>
                  </a:cxn>
                  <a:cxn ang="0">
                    <a:pos x="connsiteX2" y="connsiteY2"/>
                  </a:cxn>
                  <a:cxn ang="0">
                    <a:pos x="connsiteX3" y="connsiteY3"/>
                  </a:cxn>
                </a:cxnLst>
                <a:rect l="l" t="t" r="r" b="b"/>
                <a:pathLst>
                  <a:path w="73503" h="14652">
                    <a:moveTo>
                      <a:pt x="73503" y="11603"/>
                    </a:moveTo>
                    <a:lnTo>
                      <a:pt x="73085" y="14653"/>
                    </a:lnTo>
                    <a:lnTo>
                      <a:pt x="0" y="2990"/>
                    </a:lnTo>
                    <a:lnTo>
                      <a:pt x="419" y="0"/>
                    </a:lnTo>
                    <a:close/>
                  </a:path>
                </a:pathLst>
              </a:custGeom>
              <a:grpFill/>
              <a:ln w="5978" cap="flat">
                <a:noFill/>
                <a:prstDash val="solid"/>
                <a:miter/>
              </a:ln>
            </p:spPr>
            <p:txBody>
              <a:bodyPr rtlCol="0" anchor="ctr"/>
              <a:lstStyle/>
              <a:p>
                <a:endParaRPr lang="en-GB"/>
              </a:p>
            </p:txBody>
          </p:sp>
          <p:sp>
            <p:nvSpPr>
              <p:cNvPr id="5016" name="Vrije vorm: vorm 5015">
                <a:extLst>
                  <a:ext uri="{FF2B5EF4-FFF2-40B4-BE49-F238E27FC236}">
                    <a16:creationId xmlns:a16="http://schemas.microsoft.com/office/drawing/2014/main" id="{F3DCFA81-BC39-4D8C-A0B7-905589E443D3}"/>
                  </a:ext>
                </a:extLst>
              </p:cNvPr>
              <p:cNvSpPr/>
              <p:nvPr/>
            </p:nvSpPr>
            <p:spPr>
              <a:xfrm>
                <a:off x="8110187" y="3736385"/>
                <a:ext cx="18342" cy="18402"/>
              </a:xfrm>
              <a:custGeom>
                <a:avLst/>
                <a:gdLst>
                  <a:gd name="connsiteX0" fmla="*/ 10577 w 18342"/>
                  <a:gd name="connsiteY0" fmla="*/ 110 h 18402"/>
                  <a:gd name="connsiteX1" fmla="*/ 18232 w 18342"/>
                  <a:gd name="connsiteY1" fmla="*/ 10637 h 18402"/>
                  <a:gd name="connsiteX2" fmla="*/ 7766 w 18342"/>
                  <a:gd name="connsiteY2" fmla="*/ 18292 h 18402"/>
                  <a:gd name="connsiteX3" fmla="*/ 110 w 18342"/>
                  <a:gd name="connsiteY3" fmla="*/ 7766 h 18402"/>
                  <a:gd name="connsiteX4" fmla="*/ 10577 w 18342"/>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2">
                    <a:moveTo>
                      <a:pt x="10577" y="110"/>
                    </a:moveTo>
                    <a:cubicBezTo>
                      <a:pt x="15600" y="888"/>
                      <a:pt x="19010" y="5613"/>
                      <a:pt x="18232" y="10637"/>
                    </a:cubicBezTo>
                    <a:cubicBezTo>
                      <a:pt x="17455" y="15660"/>
                      <a:pt x="12790" y="19069"/>
                      <a:pt x="7766" y="18292"/>
                    </a:cubicBezTo>
                    <a:cubicBezTo>
                      <a:pt x="2742" y="17514"/>
                      <a:pt x="-667" y="12790"/>
                      <a:pt x="110" y="7766"/>
                    </a:cubicBezTo>
                    <a:cubicBezTo>
                      <a:pt x="888" y="2742"/>
                      <a:pt x="5613" y="-667"/>
                      <a:pt x="10577" y="110"/>
                    </a:cubicBezTo>
                    <a:close/>
                  </a:path>
                </a:pathLst>
              </a:custGeom>
              <a:grpFill/>
              <a:ln w="5978" cap="flat">
                <a:noFill/>
                <a:prstDash val="solid"/>
                <a:miter/>
              </a:ln>
            </p:spPr>
            <p:txBody>
              <a:bodyPr rtlCol="0" anchor="ctr"/>
              <a:lstStyle/>
              <a:p>
                <a:endParaRPr lang="en-GB"/>
              </a:p>
            </p:txBody>
          </p:sp>
          <p:sp>
            <p:nvSpPr>
              <p:cNvPr id="5017" name="Vrije vorm: vorm 5016">
                <a:extLst>
                  <a:ext uri="{FF2B5EF4-FFF2-40B4-BE49-F238E27FC236}">
                    <a16:creationId xmlns:a16="http://schemas.microsoft.com/office/drawing/2014/main" id="{3D8E49B6-9AC1-42D9-A32A-F5F9CDCF61C7}"/>
                  </a:ext>
                </a:extLst>
              </p:cNvPr>
              <p:cNvSpPr/>
              <p:nvPr/>
            </p:nvSpPr>
            <p:spPr>
              <a:xfrm>
                <a:off x="8038060" y="3724902"/>
                <a:ext cx="18326" cy="18402"/>
              </a:xfrm>
              <a:custGeom>
                <a:avLst/>
                <a:gdLst>
                  <a:gd name="connsiteX0" fmla="*/ 10577 w 18326"/>
                  <a:gd name="connsiteY0" fmla="*/ 110 h 18402"/>
                  <a:gd name="connsiteX1" fmla="*/ 110 w 18326"/>
                  <a:gd name="connsiteY1" fmla="*/ 7766 h 18402"/>
                  <a:gd name="connsiteX2" fmla="*/ 7765 w 18326"/>
                  <a:gd name="connsiteY2" fmla="*/ 18292 h 18402"/>
                  <a:gd name="connsiteX3" fmla="*/ 18231 w 18326"/>
                  <a:gd name="connsiteY3" fmla="*/ 10637 h 18402"/>
                  <a:gd name="connsiteX4" fmla="*/ 10577 w 18326"/>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02">
                    <a:moveTo>
                      <a:pt x="10577" y="110"/>
                    </a:moveTo>
                    <a:cubicBezTo>
                      <a:pt x="5552" y="-667"/>
                      <a:pt x="887" y="2742"/>
                      <a:pt x="110" y="7766"/>
                    </a:cubicBezTo>
                    <a:cubicBezTo>
                      <a:pt x="-667" y="12790"/>
                      <a:pt x="2742" y="17514"/>
                      <a:pt x="7765" y="18292"/>
                    </a:cubicBezTo>
                    <a:cubicBezTo>
                      <a:pt x="12790" y="19069"/>
                      <a:pt x="17454" y="15660"/>
                      <a:pt x="18231" y="10637"/>
                    </a:cubicBezTo>
                    <a:cubicBezTo>
                      <a:pt x="18949" y="5613"/>
                      <a:pt x="15540" y="888"/>
                      <a:pt x="10577" y="110"/>
                    </a:cubicBezTo>
                    <a:close/>
                  </a:path>
                </a:pathLst>
              </a:custGeom>
              <a:grpFill/>
              <a:ln w="5978" cap="flat">
                <a:noFill/>
                <a:prstDash val="solid"/>
                <a:miter/>
              </a:ln>
            </p:spPr>
            <p:txBody>
              <a:bodyPr rtlCol="0" anchor="ctr"/>
              <a:lstStyle/>
              <a:p>
                <a:endParaRPr lang="en-GB"/>
              </a:p>
            </p:txBody>
          </p:sp>
        </p:grpSp>
        <p:grpSp>
          <p:nvGrpSpPr>
            <p:cNvPr id="122" name="Graphic 3">
              <a:extLst>
                <a:ext uri="{FF2B5EF4-FFF2-40B4-BE49-F238E27FC236}">
                  <a16:creationId xmlns:a16="http://schemas.microsoft.com/office/drawing/2014/main" id="{7AB0755B-6168-4DE0-8D22-E25DBC269D59}"/>
                </a:ext>
              </a:extLst>
            </p:cNvPr>
            <p:cNvGrpSpPr/>
            <p:nvPr/>
          </p:nvGrpSpPr>
          <p:grpSpPr>
            <a:xfrm>
              <a:off x="7148148" y="1555842"/>
              <a:ext cx="589700" cy="604972"/>
              <a:chOff x="7148148" y="1555842"/>
              <a:chExt cx="589700" cy="604972"/>
            </a:xfrm>
            <a:grpFill/>
          </p:grpSpPr>
          <p:sp>
            <p:nvSpPr>
              <p:cNvPr id="5012" name="Vrije vorm: vorm 5011">
                <a:extLst>
                  <a:ext uri="{FF2B5EF4-FFF2-40B4-BE49-F238E27FC236}">
                    <a16:creationId xmlns:a16="http://schemas.microsoft.com/office/drawing/2014/main" id="{7E85016D-CE8D-44D6-9322-BADDD2704463}"/>
                  </a:ext>
                </a:extLst>
              </p:cNvPr>
              <p:cNvSpPr/>
              <p:nvPr/>
            </p:nvSpPr>
            <p:spPr>
              <a:xfrm>
                <a:off x="7155894" y="1563640"/>
                <a:ext cx="574209" cy="589400"/>
              </a:xfrm>
              <a:custGeom>
                <a:avLst/>
                <a:gdLst>
                  <a:gd name="connsiteX0" fmla="*/ 574209 w 574209"/>
                  <a:gd name="connsiteY0" fmla="*/ 2153 h 589400"/>
                  <a:gd name="connsiteX1" fmla="*/ 2213 w 574209"/>
                  <a:gd name="connsiteY1" fmla="*/ 589400 h 589400"/>
                  <a:gd name="connsiteX2" fmla="*/ 0 w 574209"/>
                  <a:gd name="connsiteY2" fmla="*/ 587247 h 589400"/>
                  <a:gd name="connsiteX3" fmla="*/ 572056 w 574209"/>
                  <a:gd name="connsiteY3" fmla="*/ 0 h 589400"/>
                </a:gdLst>
                <a:ahLst/>
                <a:cxnLst>
                  <a:cxn ang="0">
                    <a:pos x="connsiteX0" y="connsiteY0"/>
                  </a:cxn>
                  <a:cxn ang="0">
                    <a:pos x="connsiteX1" y="connsiteY1"/>
                  </a:cxn>
                  <a:cxn ang="0">
                    <a:pos x="connsiteX2" y="connsiteY2"/>
                  </a:cxn>
                  <a:cxn ang="0">
                    <a:pos x="connsiteX3" y="connsiteY3"/>
                  </a:cxn>
                </a:cxnLst>
                <a:rect l="l" t="t" r="r" b="b"/>
                <a:pathLst>
                  <a:path w="574209" h="589400">
                    <a:moveTo>
                      <a:pt x="574209" y="2153"/>
                    </a:moveTo>
                    <a:lnTo>
                      <a:pt x="2213" y="589400"/>
                    </a:lnTo>
                    <a:lnTo>
                      <a:pt x="0" y="587247"/>
                    </a:lnTo>
                    <a:lnTo>
                      <a:pt x="572056" y="0"/>
                    </a:lnTo>
                    <a:close/>
                  </a:path>
                </a:pathLst>
              </a:custGeom>
              <a:grpFill/>
              <a:ln w="5978" cap="flat">
                <a:noFill/>
                <a:prstDash val="solid"/>
                <a:miter/>
              </a:ln>
            </p:spPr>
            <p:txBody>
              <a:bodyPr rtlCol="0" anchor="ctr"/>
              <a:lstStyle/>
              <a:p>
                <a:endParaRPr lang="en-GB"/>
              </a:p>
            </p:txBody>
          </p:sp>
          <p:sp>
            <p:nvSpPr>
              <p:cNvPr id="5013" name="Vrije vorm: vorm 5012">
                <a:extLst>
                  <a:ext uri="{FF2B5EF4-FFF2-40B4-BE49-F238E27FC236}">
                    <a16:creationId xmlns:a16="http://schemas.microsoft.com/office/drawing/2014/main" id="{42CDD9C4-5F5F-4227-9593-46004168FE12}"/>
                  </a:ext>
                </a:extLst>
              </p:cNvPr>
              <p:cNvSpPr/>
              <p:nvPr/>
            </p:nvSpPr>
            <p:spPr>
              <a:xfrm>
                <a:off x="7148148" y="2142394"/>
                <a:ext cx="18340" cy="18421"/>
              </a:xfrm>
              <a:custGeom>
                <a:avLst/>
                <a:gdLst>
                  <a:gd name="connsiteX0" fmla="*/ 15760 w 18340"/>
                  <a:gd name="connsiteY0" fmla="*/ 15670 h 18421"/>
                  <a:gd name="connsiteX1" fmla="*/ 2782 w 18340"/>
                  <a:gd name="connsiteY1" fmla="*/ 15789 h 18421"/>
                  <a:gd name="connsiteX2" fmla="*/ 2603 w 18340"/>
                  <a:gd name="connsiteY2" fmla="*/ 2751 h 18421"/>
                  <a:gd name="connsiteX3" fmla="*/ 15581 w 18340"/>
                  <a:gd name="connsiteY3" fmla="*/ 2632 h 18421"/>
                  <a:gd name="connsiteX4" fmla="*/ 15760 w 18340"/>
                  <a:gd name="connsiteY4" fmla="*/ 1567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1">
                    <a:moveTo>
                      <a:pt x="15760" y="15670"/>
                    </a:moveTo>
                    <a:cubicBezTo>
                      <a:pt x="12232" y="19318"/>
                      <a:pt x="6430" y="19318"/>
                      <a:pt x="2782" y="15789"/>
                    </a:cubicBezTo>
                    <a:cubicBezTo>
                      <a:pt x="-866" y="12201"/>
                      <a:pt x="-926" y="6400"/>
                      <a:pt x="2603" y="2751"/>
                    </a:cubicBezTo>
                    <a:cubicBezTo>
                      <a:pt x="6131" y="-897"/>
                      <a:pt x="11932" y="-897"/>
                      <a:pt x="15581" y="2632"/>
                    </a:cubicBezTo>
                    <a:cubicBezTo>
                      <a:pt x="19169" y="6220"/>
                      <a:pt x="19289" y="12081"/>
                      <a:pt x="15760" y="15670"/>
                    </a:cubicBezTo>
                    <a:close/>
                  </a:path>
                </a:pathLst>
              </a:custGeom>
              <a:grpFill/>
              <a:ln w="5978" cap="flat">
                <a:noFill/>
                <a:prstDash val="solid"/>
                <a:miter/>
              </a:ln>
            </p:spPr>
            <p:txBody>
              <a:bodyPr rtlCol="0" anchor="ctr"/>
              <a:lstStyle/>
              <a:p>
                <a:endParaRPr lang="en-GB"/>
              </a:p>
            </p:txBody>
          </p:sp>
          <p:sp>
            <p:nvSpPr>
              <p:cNvPr id="5014" name="Vrije vorm: vorm 5013">
                <a:extLst>
                  <a:ext uri="{FF2B5EF4-FFF2-40B4-BE49-F238E27FC236}">
                    <a16:creationId xmlns:a16="http://schemas.microsoft.com/office/drawing/2014/main" id="{9091BA8E-DEAB-487C-BF19-D2EEAD46DE97}"/>
                  </a:ext>
                </a:extLst>
              </p:cNvPr>
              <p:cNvSpPr/>
              <p:nvPr/>
            </p:nvSpPr>
            <p:spPr>
              <a:xfrm>
                <a:off x="7719486" y="1555842"/>
                <a:ext cx="18362" cy="18443"/>
              </a:xfrm>
              <a:custGeom>
                <a:avLst/>
                <a:gdLst>
                  <a:gd name="connsiteX0" fmla="*/ 15760 w 18362"/>
                  <a:gd name="connsiteY0" fmla="*/ 15692 h 18443"/>
                  <a:gd name="connsiteX1" fmla="*/ 15581 w 18362"/>
                  <a:gd name="connsiteY1" fmla="*/ 2654 h 18443"/>
                  <a:gd name="connsiteX2" fmla="*/ 2602 w 18362"/>
                  <a:gd name="connsiteY2" fmla="*/ 2774 h 18443"/>
                  <a:gd name="connsiteX3" fmla="*/ 2782 w 18362"/>
                  <a:gd name="connsiteY3" fmla="*/ 15812 h 18443"/>
                  <a:gd name="connsiteX4" fmla="*/ 15760 w 18362"/>
                  <a:gd name="connsiteY4" fmla="*/ 1569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43">
                    <a:moveTo>
                      <a:pt x="15760" y="15692"/>
                    </a:moveTo>
                    <a:cubicBezTo>
                      <a:pt x="19289" y="12044"/>
                      <a:pt x="19229" y="6243"/>
                      <a:pt x="15581" y="2654"/>
                    </a:cubicBezTo>
                    <a:cubicBezTo>
                      <a:pt x="11932" y="-934"/>
                      <a:pt x="6131" y="-874"/>
                      <a:pt x="2602" y="2774"/>
                    </a:cubicBezTo>
                    <a:cubicBezTo>
                      <a:pt x="-926" y="6422"/>
                      <a:pt x="-866" y="12223"/>
                      <a:pt x="2782" y="15812"/>
                    </a:cubicBezTo>
                    <a:cubicBezTo>
                      <a:pt x="6430" y="19341"/>
                      <a:pt x="12231" y="19341"/>
                      <a:pt x="15760" y="15692"/>
                    </a:cubicBezTo>
                    <a:close/>
                  </a:path>
                </a:pathLst>
              </a:custGeom>
              <a:grpFill/>
              <a:ln w="5978" cap="flat">
                <a:noFill/>
                <a:prstDash val="solid"/>
                <a:miter/>
              </a:ln>
            </p:spPr>
            <p:txBody>
              <a:bodyPr rtlCol="0" anchor="ctr"/>
              <a:lstStyle/>
              <a:p>
                <a:endParaRPr lang="en-GB"/>
              </a:p>
            </p:txBody>
          </p:sp>
        </p:grpSp>
        <p:grpSp>
          <p:nvGrpSpPr>
            <p:cNvPr id="123" name="Graphic 3">
              <a:extLst>
                <a:ext uri="{FF2B5EF4-FFF2-40B4-BE49-F238E27FC236}">
                  <a16:creationId xmlns:a16="http://schemas.microsoft.com/office/drawing/2014/main" id="{0C8DA469-F1BD-4AE4-8473-52D9C4A97B3B}"/>
                </a:ext>
              </a:extLst>
            </p:cNvPr>
            <p:cNvGrpSpPr/>
            <p:nvPr/>
          </p:nvGrpSpPr>
          <p:grpSpPr>
            <a:xfrm>
              <a:off x="7709287" y="3197692"/>
              <a:ext cx="351073" cy="23505"/>
              <a:chOff x="7709287" y="3197692"/>
              <a:chExt cx="351073" cy="23505"/>
            </a:xfrm>
            <a:grpFill/>
          </p:grpSpPr>
          <p:sp>
            <p:nvSpPr>
              <p:cNvPr id="5009" name="Vrije vorm: vorm 5008">
                <a:extLst>
                  <a:ext uri="{FF2B5EF4-FFF2-40B4-BE49-F238E27FC236}">
                    <a16:creationId xmlns:a16="http://schemas.microsoft.com/office/drawing/2014/main" id="{5645DE91-FA10-4288-8B16-1CC686EBEDCF}"/>
                  </a:ext>
                </a:extLst>
              </p:cNvPr>
              <p:cNvSpPr/>
              <p:nvPr/>
            </p:nvSpPr>
            <p:spPr>
              <a:xfrm>
                <a:off x="7717962" y="3205348"/>
                <a:ext cx="333723" cy="8193"/>
              </a:xfrm>
              <a:custGeom>
                <a:avLst/>
                <a:gdLst>
                  <a:gd name="connsiteX0" fmla="*/ 333665 w 333723"/>
                  <a:gd name="connsiteY0" fmla="*/ 0 h 8193"/>
                  <a:gd name="connsiteX1" fmla="*/ 333724 w 333723"/>
                  <a:gd name="connsiteY1" fmla="*/ 3050 h 8193"/>
                  <a:gd name="connsiteX2" fmla="*/ 60 w 333723"/>
                  <a:gd name="connsiteY2" fmla="*/ 8194 h 8193"/>
                  <a:gd name="connsiteX3" fmla="*/ 0 w 333723"/>
                  <a:gd name="connsiteY3" fmla="*/ 5144 h 8193"/>
                </a:gdLst>
                <a:ahLst/>
                <a:cxnLst>
                  <a:cxn ang="0">
                    <a:pos x="connsiteX0" y="connsiteY0"/>
                  </a:cxn>
                  <a:cxn ang="0">
                    <a:pos x="connsiteX1" y="connsiteY1"/>
                  </a:cxn>
                  <a:cxn ang="0">
                    <a:pos x="connsiteX2" y="connsiteY2"/>
                  </a:cxn>
                  <a:cxn ang="0">
                    <a:pos x="connsiteX3" y="connsiteY3"/>
                  </a:cxn>
                </a:cxnLst>
                <a:rect l="l" t="t" r="r" b="b"/>
                <a:pathLst>
                  <a:path w="333723" h="8193">
                    <a:moveTo>
                      <a:pt x="333665" y="0"/>
                    </a:moveTo>
                    <a:lnTo>
                      <a:pt x="333724" y="3050"/>
                    </a:lnTo>
                    <a:lnTo>
                      <a:pt x="60" y="8194"/>
                    </a:lnTo>
                    <a:lnTo>
                      <a:pt x="0" y="5144"/>
                    </a:lnTo>
                    <a:close/>
                  </a:path>
                </a:pathLst>
              </a:custGeom>
              <a:grpFill/>
              <a:ln w="5978" cap="flat">
                <a:noFill/>
                <a:prstDash val="solid"/>
                <a:miter/>
              </a:ln>
            </p:spPr>
            <p:txBody>
              <a:bodyPr rtlCol="0" anchor="ctr"/>
              <a:lstStyle/>
              <a:p>
                <a:endParaRPr lang="en-GB"/>
              </a:p>
            </p:txBody>
          </p:sp>
          <p:sp>
            <p:nvSpPr>
              <p:cNvPr id="5010" name="Vrije vorm: vorm 5009">
                <a:extLst>
                  <a:ext uri="{FF2B5EF4-FFF2-40B4-BE49-F238E27FC236}">
                    <a16:creationId xmlns:a16="http://schemas.microsoft.com/office/drawing/2014/main" id="{B4CE829C-29F5-4521-A8F7-5FECCB1A27DD}"/>
                  </a:ext>
                </a:extLst>
              </p:cNvPr>
              <p:cNvSpPr/>
              <p:nvPr/>
            </p:nvSpPr>
            <p:spPr>
              <a:xfrm>
                <a:off x="7709287" y="3202776"/>
                <a:ext cx="18306" cy="18422"/>
              </a:xfrm>
              <a:custGeom>
                <a:avLst/>
                <a:gdLst>
                  <a:gd name="connsiteX0" fmla="*/ 9333 w 18306"/>
                  <a:gd name="connsiteY0" fmla="*/ 18421 h 18422"/>
                  <a:gd name="connsiteX1" fmla="*/ 3 w 18306"/>
                  <a:gd name="connsiteY1" fmla="*/ 9331 h 18422"/>
                  <a:gd name="connsiteX2" fmla="*/ 8974 w 18306"/>
                  <a:gd name="connsiteY2" fmla="*/ 1 h 18422"/>
                  <a:gd name="connsiteX3" fmla="*/ 18304 w 18306"/>
                  <a:gd name="connsiteY3" fmla="*/ 9091 h 18422"/>
                  <a:gd name="connsiteX4" fmla="*/ 9333 w 18306"/>
                  <a:gd name="connsiteY4" fmla="*/ 1842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9333" y="18421"/>
                    </a:moveTo>
                    <a:cubicBezTo>
                      <a:pt x="4249" y="18481"/>
                      <a:pt x="62" y="14414"/>
                      <a:pt x="3" y="9331"/>
                    </a:cubicBezTo>
                    <a:cubicBezTo>
                      <a:pt x="-116" y="4247"/>
                      <a:pt x="3950" y="61"/>
                      <a:pt x="8974" y="1"/>
                    </a:cubicBezTo>
                    <a:cubicBezTo>
                      <a:pt x="14058" y="-59"/>
                      <a:pt x="18244" y="4008"/>
                      <a:pt x="18304" y="9091"/>
                    </a:cubicBezTo>
                    <a:cubicBezTo>
                      <a:pt x="18424" y="14175"/>
                      <a:pt x="14416" y="18362"/>
                      <a:pt x="9333" y="18421"/>
                    </a:cubicBezTo>
                    <a:close/>
                  </a:path>
                </a:pathLst>
              </a:custGeom>
              <a:grpFill/>
              <a:ln w="5978" cap="flat">
                <a:noFill/>
                <a:prstDash val="solid"/>
                <a:miter/>
              </a:ln>
            </p:spPr>
            <p:txBody>
              <a:bodyPr rtlCol="0" anchor="ctr"/>
              <a:lstStyle/>
              <a:p>
                <a:endParaRPr lang="en-GB"/>
              </a:p>
            </p:txBody>
          </p:sp>
          <p:sp>
            <p:nvSpPr>
              <p:cNvPr id="5011" name="Vrije vorm: vorm 5010">
                <a:extLst>
                  <a:ext uri="{FF2B5EF4-FFF2-40B4-BE49-F238E27FC236}">
                    <a16:creationId xmlns:a16="http://schemas.microsoft.com/office/drawing/2014/main" id="{6D6F22AB-1EE4-4D1C-A204-D26AD72806F0}"/>
                  </a:ext>
                </a:extLst>
              </p:cNvPr>
              <p:cNvSpPr/>
              <p:nvPr/>
            </p:nvSpPr>
            <p:spPr>
              <a:xfrm>
                <a:off x="8042054" y="3197692"/>
                <a:ext cx="18306" cy="18422"/>
              </a:xfrm>
              <a:custGeom>
                <a:avLst/>
                <a:gdLst>
                  <a:gd name="connsiteX0" fmla="*/ 9333 w 18306"/>
                  <a:gd name="connsiteY0" fmla="*/ 18421 h 18422"/>
                  <a:gd name="connsiteX1" fmla="*/ 18304 w 18306"/>
                  <a:gd name="connsiteY1" fmla="*/ 9091 h 18422"/>
                  <a:gd name="connsiteX2" fmla="*/ 8974 w 18306"/>
                  <a:gd name="connsiteY2" fmla="*/ 1 h 18422"/>
                  <a:gd name="connsiteX3" fmla="*/ 3 w 18306"/>
                  <a:gd name="connsiteY3" fmla="*/ 9331 h 18422"/>
                  <a:gd name="connsiteX4" fmla="*/ 9333 w 18306"/>
                  <a:gd name="connsiteY4" fmla="*/ 1842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9333" y="18421"/>
                    </a:moveTo>
                    <a:cubicBezTo>
                      <a:pt x="14416" y="18362"/>
                      <a:pt x="18424" y="14175"/>
                      <a:pt x="18304" y="9091"/>
                    </a:cubicBezTo>
                    <a:cubicBezTo>
                      <a:pt x="18184" y="4008"/>
                      <a:pt x="13998" y="-59"/>
                      <a:pt x="8974" y="1"/>
                    </a:cubicBezTo>
                    <a:cubicBezTo>
                      <a:pt x="3890" y="61"/>
                      <a:pt x="-117" y="4247"/>
                      <a:pt x="3" y="9331"/>
                    </a:cubicBezTo>
                    <a:cubicBezTo>
                      <a:pt x="122" y="14414"/>
                      <a:pt x="4249" y="18481"/>
                      <a:pt x="9333" y="18421"/>
                    </a:cubicBezTo>
                    <a:close/>
                  </a:path>
                </a:pathLst>
              </a:custGeom>
              <a:grpFill/>
              <a:ln w="5978" cap="flat">
                <a:noFill/>
                <a:prstDash val="solid"/>
                <a:miter/>
              </a:ln>
            </p:spPr>
            <p:txBody>
              <a:bodyPr rtlCol="0" anchor="ctr"/>
              <a:lstStyle/>
              <a:p>
                <a:endParaRPr lang="en-GB"/>
              </a:p>
            </p:txBody>
          </p:sp>
        </p:grpSp>
        <p:grpSp>
          <p:nvGrpSpPr>
            <p:cNvPr id="124" name="Graphic 3">
              <a:extLst>
                <a:ext uri="{FF2B5EF4-FFF2-40B4-BE49-F238E27FC236}">
                  <a16:creationId xmlns:a16="http://schemas.microsoft.com/office/drawing/2014/main" id="{B3D7AA52-D057-4F87-A265-262BCF27B4C2}"/>
                </a:ext>
              </a:extLst>
            </p:cNvPr>
            <p:cNvGrpSpPr/>
            <p:nvPr/>
          </p:nvGrpSpPr>
          <p:grpSpPr>
            <a:xfrm>
              <a:off x="7739021" y="3453913"/>
              <a:ext cx="471266" cy="69423"/>
              <a:chOff x="7739021" y="3453913"/>
              <a:chExt cx="471266" cy="69423"/>
            </a:xfrm>
            <a:grpFill/>
          </p:grpSpPr>
          <p:sp>
            <p:nvSpPr>
              <p:cNvPr id="5006" name="Vrije vorm: vorm 5005">
                <a:extLst>
                  <a:ext uri="{FF2B5EF4-FFF2-40B4-BE49-F238E27FC236}">
                    <a16:creationId xmlns:a16="http://schemas.microsoft.com/office/drawing/2014/main" id="{ADFC0DE4-48F9-49BD-AF42-917C6EC2BC65}"/>
                  </a:ext>
                </a:extLst>
              </p:cNvPr>
              <p:cNvSpPr/>
              <p:nvPr/>
            </p:nvSpPr>
            <p:spPr>
              <a:xfrm>
                <a:off x="7747566" y="3461562"/>
                <a:ext cx="454176" cy="54125"/>
              </a:xfrm>
              <a:custGeom>
                <a:avLst/>
                <a:gdLst>
                  <a:gd name="connsiteX0" fmla="*/ 454176 w 454176"/>
                  <a:gd name="connsiteY0" fmla="*/ 51075 h 54125"/>
                  <a:gd name="connsiteX1" fmla="*/ 453817 w 454176"/>
                  <a:gd name="connsiteY1" fmla="*/ 54125 h 54125"/>
                  <a:gd name="connsiteX2" fmla="*/ 0 w 454176"/>
                  <a:gd name="connsiteY2" fmla="*/ 3050 h 54125"/>
                  <a:gd name="connsiteX3" fmla="*/ 359 w 454176"/>
                  <a:gd name="connsiteY3" fmla="*/ 0 h 54125"/>
                </a:gdLst>
                <a:ahLst/>
                <a:cxnLst>
                  <a:cxn ang="0">
                    <a:pos x="connsiteX0" y="connsiteY0"/>
                  </a:cxn>
                  <a:cxn ang="0">
                    <a:pos x="connsiteX1" y="connsiteY1"/>
                  </a:cxn>
                  <a:cxn ang="0">
                    <a:pos x="connsiteX2" y="connsiteY2"/>
                  </a:cxn>
                  <a:cxn ang="0">
                    <a:pos x="connsiteX3" y="connsiteY3"/>
                  </a:cxn>
                </a:cxnLst>
                <a:rect l="l" t="t" r="r" b="b"/>
                <a:pathLst>
                  <a:path w="454176" h="54125">
                    <a:moveTo>
                      <a:pt x="454176" y="51075"/>
                    </a:moveTo>
                    <a:lnTo>
                      <a:pt x="453817" y="54125"/>
                    </a:lnTo>
                    <a:lnTo>
                      <a:pt x="0" y="3050"/>
                    </a:lnTo>
                    <a:lnTo>
                      <a:pt x="359" y="0"/>
                    </a:lnTo>
                    <a:close/>
                  </a:path>
                </a:pathLst>
              </a:custGeom>
              <a:grpFill/>
              <a:ln w="5978" cap="flat">
                <a:noFill/>
                <a:prstDash val="solid"/>
                <a:miter/>
              </a:ln>
            </p:spPr>
            <p:txBody>
              <a:bodyPr rtlCol="0" anchor="ctr"/>
              <a:lstStyle/>
              <a:p>
                <a:endParaRPr lang="en-GB"/>
              </a:p>
            </p:txBody>
          </p:sp>
          <p:sp>
            <p:nvSpPr>
              <p:cNvPr id="5007" name="Vrije vorm: vorm 5006">
                <a:extLst>
                  <a:ext uri="{FF2B5EF4-FFF2-40B4-BE49-F238E27FC236}">
                    <a16:creationId xmlns:a16="http://schemas.microsoft.com/office/drawing/2014/main" id="{2718CCA1-C7CC-40E8-B4B7-B580DEC70BC9}"/>
                  </a:ext>
                </a:extLst>
              </p:cNvPr>
              <p:cNvSpPr/>
              <p:nvPr/>
            </p:nvSpPr>
            <p:spPr>
              <a:xfrm>
                <a:off x="7739021" y="3453913"/>
                <a:ext cx="18346" cy="18418"/>
              </a:xfrm>
              <a:custGeom>
                <a:avLst/>
                <a:gdLst>
                  <a:gd name="connsiteX0" fmla="*/ 8186 w 18346"/>
                  <a:gd name="connsiteY0" fmla="*/ 18354 h 18418"/>
                  <a:gd name="connsiteX1" fmla="*/ 53 w 18346"/>
                  <a:gd name="connsiteY1" fmla="*/ 8187 h 18418"/>
                  <a:gd name="connsiteX2" fmla="*/ 10160 w 18346"/>
                  <a:gd name="connsiteY2" fmla="*/ 53 h 18418"/>
                  <a:gd name="connsiteX3" fmla="*/ 18294 w 18346"/>
                  <a:gd name="connsiteY3" fmla="*/ 10221 h 18418"/>
                  <a:gd name="connsiteX4" fmla="*/ 8186 w 18346"/>
                  <a:gd name="connsiteY4" fmla="*/ 18354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8">
                    <a:moveTo>
                      <a:pt x="8186" y="18354"/>
                    </a:moveTo>
                    <a:cubicBezTo>
                      <a:pt x="3162" y="17816"/>
                      <a:pt x="-486" y="13211"/>
                      <a:pt x="53" y="8187"/>
                    </a:cubicBezTo>
                    <a:cubicBezTo>
                      <a:pt x="591" y="3104"/>
                      <a:pt x="5136" y="-485"/>
                      <a:pt x="10160" y="53"/>
                    </a:cubicBezTo>
                    <a:cubicBezTo>
                      <a:pt x="15183" y="592"/>
                      <a:pt x="18832" y="5197"/>
                      <a:pt x="18294" y="10221"/>
                    </a:cubicBezTo>
                    <a:cubicBezTo>
                      <a:pt x="17755" y="15304"/>
                      <a:pt x="13210" y="18953"/>
                      <a:pt x="8186" y="18354"/>
                    </a:cubicBezTo>
                    <a:close/>
                  </a:path>
                </a:pathLst>
              </a:custGeom>
              <a:grpFill/>
              <a:ln w="5978" cap="flat">
                <a:noFill/>
                <a:prstDash val="solid"/>
                <a:miter/>
              </a:ln>
            </p:spPr>
            <p:txBody>
              <a:bodyPr rtlCol="0" anchor="ctr"/>
              <a:lstStyle/>
              <a:p>
                <a:endParaRPr lang="en-GB"/>
              </a:p>
            </p:txBody>
          </p:sp>
          <p:sp>
            <p:nvSpPr>
              <p:cNvPr id="5008" name="Vrije vorm: vorm 5007">
                <a:extLst>
                  <a:ext uri="{FF2B5EF4-FFF2-40B4-BE49-F238E27FC236}">
                    <a16:creationId xmlns:a16="http://schemas.microsoft.com/office/drawing/2014/main" id="{26691306-1F61-4005-BD0F-5F94E54F5FD0}"/>
                  </a:ext>
                </a:extLst>
              </p:cNvPr>
              <p:cNvSpPr/>
              <p:nvPr/>
            </p:nvSpPr>
            <p:spPr>
              <a:xfrm>
                <a:off x="8191941" y="3504929"/>
                <a:ext cx="18346" cy="18407"/>
              </a:xfrm>
              <a:custGeom>
                <a:avLst/>
                <a:gdLst>
                  <a:gd name="connsiteX0" fmla="*/ 8186 w 18346"/>
                  <a:gd name="connsiteY0" fmla="*/ 18354 h 18407"/>
                  <a:gd name="connsiteX1" fmla="*/ 18294 w 18346"/>
                  <a:gd name="connsiteY1" fmla="*/ 10221 h 18407"/>
                  <a:gd name="connsiteX2" fmla="*/ 10160 w 18346"/>
                  <a:gd name="connsiteY2" fmla="*/ 53 h 18407"/>
                  <a:gd name="connsiteX3" fmla="*/ 53 w 18346"/>
                  <a:gd name="connsiteY3" fmla="*/ 8187 h 18407"/>
                  <a:gd name="connsiteX4" fmla="*/ 8186 w 18346"/>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7">
                    <a:moveTo>
                      <a:pt x="8186" y="18354"/>
                    </a:moveTo>
                    <a:cubicBezTo>
                      <a:pt x="13210" y="18893"/>
                      <a:pt x="17755" y="15304"/>
                      <a:pt x="18294" y="10221"/>
                    </a:cubicBezTo>
                    <a:cubicBezTo>
                      <a:pt x="18832" y="5137"/>
                      <a:pt x="15184" y="592"/>
                      <a:pt x="10160" y="53"/>
                    </a:cubicBezTo>
                    <a:cubicBezTo>
                      <a:pt x="5136" y="-485"/>
                      <a:pt x="591" y="3104"/>
                      <a:pt x="53" y="8187"/>
                    </a:cubicBezTo>
                    <a:cubicBezTo>
                      <a:pt x="-486" y="13211"/>
                      <a:pt x="3163" y="17756"/>
                      <a:pt x="8186" y="18354"/>
                    </a:cubicBezTo>
                    <a:close/>
                  </a:path>
                </a:pathLst>
              </a:custGeom>
              <a:grpFill/>
              <a:ln w="5978" cap="flat">
                <a:noFill/>
                <a:prstDash val="solid"/>
                <a:miter/>
              </a:ln>
            </p:spPr>
            <p:txBody>
              <a:bodyPr rtlCol="0" anchor="ctr"/>
              <a:lstStyle/>
              <a:p>
                <a:endParaRPr lang="en-GB"/>
              </a:p>
            </p:txBody>
          </p:sp>
        </p:grpSp>
        <p:grpSp>
          <p:nvGrpSpPr>
            <p:cNvPr id="125" name="Graphic 3">
              <a:extLst>
                <a:ext uri="{FF2B5EF4-FFF2-40B4-BE49-F238E27FC236}">
                  <a16:creationId xmlns:a16="http://schemas.microsoft.com/office/drawing/2014/main" id="{7E41DCE1-35D4-4C69-A1DB-4383CB9DA2E5}"/>
                </a:ext>
              </a:extLst>
            </p:cNvPr>
            <p:cNvGrpSpPr/>
            <p:nvPr/>
          </p:nvGrpSpPr>
          <p:grpSpPr>
            <a:xfrm>
              <a:off x="7447826" y="2213555"/>
              <a:ext cx="255154" cy="190957"/>
              <a:chOff x="7447826" y="2213555"/>
              <a:chExt cx="255154" cy="190957"/>
            </a:xfrm>
            <a:grpFill/>
          </p:grpSpPr>
          <p:sp>
            <p:nvSpPr>
              <p:cNvPr id="5003" name="Vrije vorm: vorm 5002">
                <a:extLst>
                  <a:ext uri="{FF2B5EF4-FFF2-40B4-BE49-F238E27FC236}">
                    <a16:creationId xmlns:a16="http://schemas.microsoft.com/office/drawing/2014/main" id="{318E4990-F496-4BBB-B427-85FF541B34DE}"/>
                  </a:ext>
                </a:extLst>
              </p:cNvPr>
              <p:cNvSpPr/>
              <p:nvPr/>
            </p:nvSpPr>
            <p:spPr>
              <a:xfrm>
                <a:off x="7455707" y="2221220"/>
                <a:ext cx="239347" cy="175653"/>
              </a:xfrm>
              <a:custGeom>
                <a:avLst/>
                <a:gdLst>
                  <a:gd name="connsiteX0" fmla="*/ 239348 w 239347"/>
                  <a:gd name="connsiteY0" fmla="*/ 2512 h 175653"/>
                  <a:gd name="connsiteX1" fmla="*/ 1794 w 239347"/>
                  <a:gd name="connsiteY1" fmla="*/ 175654 h 175653"/>
                  <a:gd name="connsiteX2" fmla="*/ 0 w 239347"/>
                  <a:gd name="connsiteY2" fmla="*/ 173142 h 175653"/>
                  <a:gd name="connsiteX3" fmla="*/ 237554 w 239347"/>
                  <a:gd name="connsiteY3" fmla="*/ 0 h 175653"/>
                </a:gdLst>
                <a:ahLst/>
                <a:cxnLst>
                  <a:cxn ang="0">
                    <a:pos x="connsiteX0" y="connsiteY0"/>
                  </a:cxn>
                  <a:cxn ang="0">
                    <a:pos x="connsiteX1" y="connsiteY1"/>
                  </a:cxn>
                  <a:cxn ang="0">
                    <a:pos x="connsiteX2" y="connsiteY2"/>
                  </a:cxn>
                  <a:cxn ang="0">
                    <a:pos x="connsiteX3" y="connsiteY3"/>
                  </a:cxn>
                </a:cxnLst>
                <a:rect l="l" t="t" r="r" b="b"/>
                <a:pathLst>
                  <a:path w="239347" h="175653">
                    <a:moveTo>
                      <a:pt x="239348" y="2512"/>
                    </a:moveTo>
                    <a:lnTo>
                      <a:pt x="1794" y="175654"/>
                    </a:lnTo>
                    <a:lnTo>
                      <a:pt x="0" y="173142"/>
                    </a:lnTo>
                    <a:lnTo>
                      <a:pt x="237554" y="0"/>
                    </a:lnTo>
                    <a:close/>
                  </a:path>
                </a:pathLst>
              </a:custGeom>
              <a:grpFill/>
              <a:ln w="5978" cap="flat">
                <a:noFill/>
                <a:prstDash val="solid"/>
                <a:miter/>
              </a:ln>
            </p:spPr>
            <p:txBody>
              <a:bodyPr rtlCol="0" anchor="ctr"/>
              <a:lstStyle/>
              <a:p>
                <a:endParaRPr lang="en-GB"/>
              </a:p>
            </p:txBody>
          </p:sp>
          <p:sp>
            <p:nvSpPr>
              <p:cNvPr id="5004" name="Vrije vorm: vorm 5003">
                <a:extLst>
                  <a:ext uri="{FF2B5EF4-FFF2-40B4-BE49-F238E27FC236}">
                    <a16:creationId xmlns:a16="http://schemas.microsoft.com/office/drawing/2014/main" id="{D01F8759-6C01-47CE-A58E-ED6287590C4F}"/>
                  </a:ext>
                </a:extLst>
              </p:cNvPr>
              <p:cNvSpPr/>
              <p:nvPr/>
            </p:nvSpPr>
            <p:spPr>
              <a:xfrm>
                <a:off x="7684619" y="2213555"/>
                <a:ext cx="18361" cy="18439"/>
              </a:xfrm>
              <a:custGeom>
                <a:avLst/>
                <a:gdLst>
                  <a:gd name="connsiteX0" fmla="*/ 3798 w 18361"/>
                  <a:gd name="connsiteY0" fmla="*/ 1744 h 18439"/>
                  <a:gd name="connsiteX1" fmla="*/ 16597 w 18361"/>
                  <a:gd name="connsiteY1" fmla="*/ 3837 h 18439"/>
                  <a:gd name="connsiteX2" fmla="*/ 14563 w 18361"/>
                  <a:gd name="connsiteY2" fmla="*/ 16696 h 18439"/>
                  <a:gd name="connsiteX3" fmla="*/ 1765 w 18361"/>
                  <a:gd name="connsiteY3" fmla="*/ 14602 h 18439"/>
                  <a:gd name="connsiteX4" fmla="*/ 3798 w 18361"/>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39">
                    <a:moveTo>
                      <a:pt x="3798" y="1744"/>
                    </a:moveTo>
                    <a:cubicBezTo>
                      <a:pt x="7865" y="-1246"/>
                      <a:pt x="13606" y="-290"/>
                      <a:pt x="16597" y="3837"/>
                    </a:cubicBezTo>
                    <a:cubicBezTo>
                      <a:pt x="19587" y="7964"/>
                      <a:pt x="18690" y="13705"/>
                      <a:pt x="14563" y="16696"/>
                    </a:cubicBezTo>
                    <a:cubicBezTo>
                      <a:pt x="10496" y="19686"/>
                      <a:pt x="4755" y="18729"/>
                      <a:pt x="1765" y="14602"/>
                    </a:cubicBezTo>
                    <a:cubicBezTo>
                      <a:pt x="-1226" y="10476"/>
                      <a:pt x="-329" y="4674"/>
                      <a:pt x="3798" y="1744"/>
                    </a:cubicBezTo>
                    <a:close/>
                  </a:path>
                </a:pathLst>
              </a:custGeom>
              <a:grpFill/>
              <a:ln w="5978" cap="flat">
                <a:noFill/>
                <a:prstDash val="solid"/>
                <a:miter/>
              </a:ln>
            </p:spPr>
            <p:txBody>
              <a:bodyPr rtlCol="0" anchor="ctr"/>
              <a:lstStyle/>
              <a:p>
                <a:endParaRPr lang="en-GB"/>
              </a:p>
            </p:txBody>
          </p:sp>
          <p:sp>
            <p:nvSpPr>
              <p:cNvPr id="5005" name="Vrije vorm: vorm 5004">
                <a:extLst>
                  <a:ext uri="{FF2B5EF4-FFF2-40B4-BE49-F238E27FC236}">
                    <a16:creationId xmlns:a16="http://schemas.microsoft.com/office/drawing/2014/main" id="{E5DB3842-2323-4811-AFFD-BCA119EE7F95}"/>
                  </a:ext>
                </a:extLst>
              </p:cNvPr>
              <p:cNvSpPr/>
              <p:nvPr/>
            </p:nvSpPr>
            <p:spPr>
              <a:xfrm>
                <a:off x="7447826" y="2386125"/>
                <a:ext cx="18275" cy="18387"/>
              </a:xfrm>
              <a:custGeom>
                <a:avLst/>
                <a:gdLst>
                  <a:gd name="connsiteX0" fmla="*/ 3755 w 18275"/>
                  <a:gd name="connsiteY0" fmla="*/ 1718 h 18387"/>
                  <a:gd name="connsiteX1" fmla="*/ 1722 w 18275"/>
                  <a:gd name="connsiteY1" fmla="*/ 14577 h 18387"/>
                  <a:gd name="connsiteX2" fmla="*/ 14520 w 18275"/>
                  <a:gd name="connsiteY2" fmla="*/ 16670 h 18387"/>
                  <a:gd name="connsiteX3" fmla="*/ 16554 w 18275"/>
                  <a:gd name="connsiteY3" fmla="*/ 3811 h 18387"/>
                  <a:gd name="connsiteX4" fmla="*/ 3755 w 18275"/>
                  <a:gd name="connsiteY4" fmla="*/ 171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387">
                    <a:moveTo>
                      <a:pt x="3755" y="1718"/>
                    </a:moveTo>
                    <a:cubicBezTo>
                      <a:pt x="-312" y="4708"/>
                      <a:pt x="-1209" y="10450"/>
                      <a:pt x="1722" y="14577"/>
                    </a:cubicBezTo>
                    <a:cubicBezTo>
                      <a:pt x="4712" y="18703"/>
                      <a:pt x="10453" y="19600"/>
                      <a:pt x="14520" y="16670"/>
                    </a:cubicBezTo>
                    <a:cubicBezTo>
                      <a:pt x="18587" y="13679"/>
                      <a:pt x="19484" y="7938"/>
                      <a:pt x="16554" y="3811"/>
                    </a:cubicBezTo>
                    <a:cubicBezTo>
                      <a:pt x="13563" y="-316"/>
                      <a:pt x="7822" y="-1213"/>
                      <a:pt x="3755" y="1718"/>
                    </a:cubicBezTo>
                    <a:close/>
                  </a:path>
                </a:pathLst>
              </a:custGeom>
              <a:grpFill/>
              <a:ln w="5978" cap="flat">
                <a:noFill/>
                <a:prstDash val="solid"/>
                <a:miter/>
              </a:ln>
            </p:spPr>
            <p:txBody>
              <a:bodyPr rtlCol="0" anchor="ctr"/>
              <a:lstStyle/>
              <a:p>
                <a:endParaRPr lang="en-GB"/>
              </a:p>
            </p:txBody>
          </p:sp>
        </p:grpSp>
        <p:grpSp>
          <p:nvGrpSpPr>
            <p:cNvPr id="126" name="Graphic 3">
              <a:extLst>
                <a:ext uri="{FF2B5EF4-FFF2-40B4-BE49-F238E27FC236}">
                  <a16:creationId xmlns:a16="http://schemas.microsoft.com/office/drawing/2014/main" id="{2FB932FE-2E2E-4B2A-8713-60A676946F06}"/>
                </a:ext>
              </a:extLst>
            </p:cNvPr>
            <p:cNvGrpSpPr/>
            <p:nvPr/>
          </p:nvGrpSpPr>
          <p:grpSpPr>
            <a:xfrm>
              <a:off x="7412314" y="1988149"/>
              <a:ext cx="142862" cy="136987"/>
              <a:chOff x="7412314" y="1988149"/>
              <a:chExt cx="142862" cy="136987"/>
            </a:xfrm>
            <a:grpFill/>
          </p:grpSpPr>
          <p:sp>
            <p:nvSpPr>
              <p:cNvPr id="5000" name="Vrije vorm: vorm 4999">
                <a:extLst>
                  <a:ext uri="{FF2B5EF4-FFF2-40B4-BE49-F238E27FC236}">
                    <a16:creationId xmlns:a16="http://schemas.microsoft.com/office/drawing/2014/main" id="{E5A49793-9FAA-46F5-B3D9-B47CCBAEC9F7}"/>
                  </a:ext>
                </a:extLst>
              </p:cNvPr>
              <p:cNvSpPr/>
              <p:nvPr/>
            </p:nvSpPr>
            <p:spPr>
              <a:xfrm>
                <a:off x="7420062" y="1995927"/>
                <a:ext cx="127269" cy="121408"/>
              </a:xfrm>
              <a:custGeom>
                <a:avLst/>
                <a:gdLst>
                  <a:gd name="connsiteX0" fmla="*/ 127270 w 127269"/>
                  <a:gd name="connsiteY0" fmla="*/ 2213 h 121408"/>
                  <a:gd name="connsiteX1" fmla="*/ 2153 w 127269"/>
                  <a:gd name="connsiteY1" fmla="*/ 121409 h 121408"/>
                  <a:gd name="connsiteX2" fmla="*/ 0 w 127269"/>
                  <a:gd name="connsiteY2" fmla="*/ 119196 h 121408"/>
                  <a:gd name="connsiteX3" fmla="*/ 125177 w 127269"/>
                  <a:gd name="connsiteY3" fmla="*/ 0 h 121408"/>
                </a:gdLst>
                <a:ahLst/>
                <a:cxnLst>
                  <a:cxn ang="0">
                    <a:pos x="connsiteX0" y="connsiteY0"/>
                  </a:cxn>
                  <a:cxn ang="0">
                    <a:pos x="connsiteX1" y="connsiteY1"/>
                  </a:cxn>
                  <a:cxn ang="0">
                    <a:pos x="connsiteX2" y="connsiteY2"/>
                  </a:cxn>
                  <a:cxn ang="0">
                    <a:pos x="connsiteX3" y="connsiteY3"/>
                  </a:cxn>
                </a:cxnLst>
                <a:rect l="l" t="t" r="r" b="b"/>
                <a:pathLst>
                  <a:path w="127269" h="121408">
                    <a:moveTo>
                      <a:pt x="127270" y="2213"/>
                    </a:moveTo>
                    <a:lnTo>
                      <a:pt x="2153" y="121409"/>
                    </a:lnTo>
                    <a:lnTo>
                      <a:pt x="0" y="119196"/>
                    </a:lnTo>
                    <a:lnTo>
                      <a:pt x="125177" y="0"/>
                    </a:lnTo>
                    <a:close/>
                  </a:path>
                </a:pathLst>
              </a:custGeom>
              <a:grpFill/>
              <a:ln w="5978" cap="flat">
                <a:noFill/>
                <a:prstDash val="solid"/>
                <a:miter/>
              </a:ln>
            </p:spPr>
            <p:txBody>
              <a:bodyPr rtlCol="0" anchor="ctr"/>
              <a:lstStyle/>
              <a:p>
                <a:endParaRPr lang="en-GB"/>
              </a:p>
            </p:txBody>
          </p:sp>
          <p:sp>
            <p:nvSpPr>
              <p:cNvPr id="5001" name="Vrije vorm: vorm 5000">
                <a:extLst>
                  <a:ext uri="{FF2B5EF4-FFF2-40B4-BE49-F238E27FC236}">
                    <a16:creationId xmlns:a16="http://schemas.microsoft.com/office/drawing/2014/main" id="{4C66C769-C47C-43BC-8C94-6946EF681295}"/>
                  </a:ext>
                </a:extLst>
              </p:cNvPr>
              <p:cNvSpPr/>
              <p:nvPr/>
            </p:nvSpPr>
            <p:spPr>
              <a:xfrm>
                <a:off x="7536811" y="1988149"/>
                <a:ext cx="18365" cy="18426"/>
              </a:xfrm>
              <a:custGeom>
                <a:avLst/>
                <a:gdLst>
                  <a:gd name="connsiteX0" fmla="*/ 2866 w 18365"/>
                  <a:gd name="connsiteY0" fmla="*/ 2515 h 18426"/>
                  <a:gd name="connsiteX1" fmla="*/ 15844 w 18365"/>
                  <a:gd name="connsiteY1" fmla="*/ 2874 h 18426"/>
                  <a:gd name="connsiteX2" fmla="*/ 15545 w 18365"/>
                  <a:gd name="connsiteY2" fmla="*/ 15912 h 18426"/>
                  <a:gd name="connsiteX3" fmla="*/ 2567 w 18365"/>
                  <a:gd name="connsiteY3" fmla="*/ 15553 h 18426"/>
                  <a:gd name="connsiteX4" fmla="*/ 2866 w 18365"/>
                  <a:gd name="connsiteY4" fmla="*/ 25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6">
                    <a:moveTo>
                      <a:pt x="2866" y="2515"/>
                    </a:moveTo>
                    <a:cubicBezTo>
                      <a:pt x="6514" y="-954"/>
                      <a:pt x="12316" y="-834"/>
                      <a:pt x="15844" y="2874"/>
                    </a:cubicBezTo>
                    <a:cubicBezTo>
                      <a:pt x="19312" y="6582"/>
                      <a:pt x="19193" y="12383"/>
                      <a:pt x="15545" y="15912"/>
                    </a:cubicBezTo>
                    <a:cubicBezTo>
                      <a:pt x="11896" y="19381"/>
                      <a:pt x="6095" y="19261"/>
                      <a:pt x="2567" y="15553"/>
                    </a:cubicBezTo>
                    <a:cubicBezTo>
                      <a:pt x="-962" y="11845"/>
                      <a:pt x="-843" y="5984"/>
                      <a:pt x="2866" y="2515"/>
                    </a:cubicBezTo>
                    <a:close/>
                  </a:path>
                </a:pathLst>
              </a:custGeom>
              <a:grpFill/>
              <a:ln w="5978" cap="flat">
                <a:noFill/>
                <a:prstDash val="solid"/>
                <a:miter/>
              </a:ln>
            </p:spPr>
            <p:txBody>
              <a:bodyPr rtlCol="0" anchor="ctr"/>
              <a:lstStyle/>
              <a:p>
                <a:endParaRPr lang="en-GB"/>
              </a:p>
            </p:txBody>
          </p:sp>
          <p:sp>
            <p:nvSpPr>
              <p:cNvPr id="5002" name="Vrije vorm: vorm 5001">
                <a:extLst>
                  <a:ext uri="{FF2B5EF4-FFF2-40B4-BE49-F238E27FC236}">
                    <a16:creationId xmlns:a16="http://schemas.microsoft.com/office/drawing/2014/main" id="{AD3720DD-2B8E-4718-86B5-5E1DC027F13A}"/>
                  </a:ext>
                </a:extLst>
              </p:cNvPr>
              <p:cNvSpPr/>
              <p:nvPr/>
            </p:nvSpPr>
            <p:spPr>
              <a:xfrm>
                <a:off x="7412314" y="2106708"/>
                <a:ext cx="18366" cy="18428"/>
              </a:xfrm>
              <a:custGeom>
                <a:avLst/>
                <a:gdLst>
                  <a:gd name="connsiteX0" fmla="*/ 2844 w 18366"/>
                  <a:gd name="connsiteY0" fmla="*/ 2493 h 18428"/>
                  <a:gd name="connsiteX1" fmla="*/ 2545 w 18366"/>
                  <a:gd name="connsiteY1" fmla="*/ 15531 h 18428"/>
                  <a:gd name="connsiteX2" fmla="*/ 15523 w 18366"/>
                  <a:gd name="connsiteY2" fmla="*/ 15890 h 18428"/>
                  <a:gd name="connsiteX3" fmla="*/ 15822 w 18366"/>
                  <a:gd name="connsiteY3" fmla="*/ 2852 h 18428"/>
                  <a:gd name="connsiteX4" fmla="*/ 2844 w 18366"/>
                  <a:gd name="connsiteY4" fmla="*/ 2493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8">
                    <a:moveTo>
                      <a:pt x="2844" y="2493"/>
                    </a:moveTo>
                    <a:cubicBezTo>
                      <a:pt x="-804" y="5962"/>
                      <a:pt x="-984" y="11823"/>
                      <a:pt x="2545" y="15531"/>
                    </a:cubicBezTo>
                    <a:cubicBezTo>
                      <a:pt x="6014" y="19239"/>
                      <a:pt x="11815" y="19419"/>
                      <a:pt x="15523" y="15890"/>
                    </a:cubicBezTo>
                    <a:cubicBezTo>
                      <a:pt x="19171" y="12421"/>
                      <a:pt x="19351" y="6560"/>
                      <a:pt x="15822" y="2852"/>
                    </a:cubicBezTo>
                    <a:cubicBezTo>
                      <a:pt x="12293" y="-796"/>
                      <a:pt x="6492" y="-976"/>
                      <a:pt x="2844" y="2493"/>
                    </a:cubicBezTo>
                    <a:close/>
                  </a:path>
                </a:pathLst>
              </a:custGeom>
              <a:grpFill/>
              <a:ln w="5978" cap="flat">
                <a:noFill/>
                <a:prstDash val="solid"/>
                <a:miter/>
              </a:ln>
            </p:spPr>
            <p:txBody>
              <a:bodyPr rtlCol="0" anchor="ctr"/>
              <a:lstStyle/>
              <a:p>
                <a:endParaRPr lang="en-GB"/>
              </a:p>
            </p:txBody>
          </p:sp>
        </p:grpSp>
        <p:grpSp>
          <p:nvGrpSpPr>
            <p:cNvPr id="127" name="Graphic 3">
              <a:extLst>
                <a:ext uri="{FF2B5EF4-FFF2-40B4-BE49-F238E27FC236}">
                  <a16:creationId xmlns:a16="http://schemas.microsoft.com/office/drawing/2014/main" id="{21F501C2-1402-4EFC-8B3E-98D37DE1AFEF}"/>
                </a:ext>
              </a:extLst>
            </p:cNvPr>
            <p:cNvGrpSpPr/>
            <p:nvPr/>
          </p:nvGrpSpPr>
          <p:grpSpPr>
            <a:xfrm>
              <a:off x="7444783" y="2031742"/>
              <a:ext cx="119848" cy="111582"/>
              <a:chOff x="7444783" y="2031742"/>
              <a:chExt cx="119848" cy="111582"/>
            </a:xfrm>
            <a:grpFill/>
          </p:grpSpPr>
          <p:sp>
            <p:nvSpPr>
              <p:cNvPr id="4997" name="Vrije vorm: vorm 4996">
                <a:extLst>
                  <a:ext uri="{FF2B5EF4-FFF2-40B4-BE49-F238E27FC236}">
                    <a16:creationId xmlns:a16="http://schemas.microsoft.com/office/drawing/2014/main" id="{958506E1-B545-4549-A2AB-27F8FCD6006D}"/>
                  </a:ext>
                </a:extLst>
              </p:cNvPr>
              <p:cNvSpPr/>
              <p:nvPr/>
            </p:nvSpPr>
            <p:spPr>
              <a:xfrm>
                <a:off x="7452537" y="2039526"/>
                <a:ext cx="104243" cy="95990"/>
              </a:xfrm>
              <a:custGeom>
                <a:avLst/>
                <a:gdLst>
                  <a:gd name="connsiteX0" fmla="*/ 104244 w 104243"/>
                  <a:gd name="connsiteY0" fmla="*/ 2273 h 95990"/>
                  <a:gd name="connsiteX1" fmla="*/ 2093 w 104243"/>
                  <a:gd name="connsiteY1" fmla="*/ 95991 h 95990"/>
                  <a:gd name="connsiteX2" fmla="*/ 0 w 104243"/>
                  <a:gd name="connsiteY2" fmla="*/ 93718 h 95990"/>
                  <a:gd name="connsiteX3" fmla="*/ 102210 w 104243"/>
                  <a:gd name="connsiteY3" fmla="*/ 0 h 95990"/>
                </a:gdLst>
                <a:ahLst/>
                <a:cxnLst>
                  <a:cxn ang="0">
                    <a:pos x="connsiteX0" y="connsiteY0"/>
                  </a:cxn>
                  <a:cxn ang="0">
                    <a:pos x="connsiteX1" y="connsiteY1"/>
                  </a:cxn>
                  <a:cxn ang="0">
                    <a:pos x="connsiteX2" y="connsiteY2"/>
                  </a:cxn>
                  <a:cxn ang="0">
                    <a:pos x="connsiteX3" y="connsiteY3"/>
                  </a:cxn>
                </a:cxnLst>
                <a:rect l="l" t="t" r="r" b="b"/>
                <a:pathLst>
                  <a:path w="104243" h="95990">
                    <a:moveTo>
                      <a:pt x="104244" y="2273"/>
                    </a:moveTo>
                    <a:lnTo>
                      <a:pt x="2093" y="95991"/>
                    </a:lnTo>
                    <a:lnTo>
                      <a:pt x="0" y="93718"/>
                    </a:lnTo>
                    <a:lnTo>
                      <a:pt x="102210" y="0"/>
                    </a:lnTo>
                    <a:close/>
                  </a:path>
                </a:pathLst>
              </a:custGeom>
              <a:grpFill/>
              <a:ln w="5978" cap="flat">
                <a:noFill/>
                <a:prstDash val="solid"/>
                <a:miter/>
              </a:ln>
            </p:spPr>
            <p:txBody>
              <a:bodyPr rtlCol="0" anchor="ctr"/>
              <a:lstStyle/>
              <a:p>
                <a:endParaRPr lang="en-GB"/>
              </a:p>
            </p:txBody>
          </p:sp>
          <p:sp>
            <p:nvSpPr>
              <p:cNvPr id="4998" name="Vrije vorm: vorm 4997">
                <a:extLst>
                  <a:ext uri="{FF2B5EF4-FFF2-40B4-BE49-F238E27FC236}">
                    <a16:creationId xmlns:a16="http://schemas.microsoft.com/office/drawing/2014/main" id="{32136C96-37E4-4ED9-99A8-D952A6E963BF}"/>
                  </a:ext>
                </a:extLst>
              </p:cNvPr>
              <p:cNvSpPr/>
              <p:nvPr/>
            </p:nvSpPr>
            <p:spPr>
              <a:xfrm>
                <a:off x="7546255" y="2031742"/>
                <a:ext cx="18376" cy="18438"/>
              </a:xfrm>
              <a:custGeom>
                <a:avLst/>
                <a:gdLst>
                  <a:gd name="connsiteX0" fmla="*/ 2991 w 18376"/>
                  <a:gd name="connsiteY0" fmla="*/ 2401 h 18438"/>
                  <a:gd name="connsiteX1" fmla="*/ 15969 w 18376"/>
                  <a:gd name="connsiteY1" fmla="*/ 3000 h 18438"/>
                  <a:gd name="connsiteX2" fmla="*/ 15431 w 18376"/>
                  <a:gd name="connsiteY2" fmla="*/ 16037 h 18438"/>
                  <a:gd name="connsiteX3" fmla="*/ 2452 w 18376"/>
                  <a:gd name="connsiteY3" fmla="*/ 15439 h 18438"/>
                  <a:gd name="connsiteX4" fmla="*/ 2991 w 18376"/>
                  <a:gd name="connsiteY4" fmla="*/ 24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2991" y="2401"/>
                    </a:moveTo>
                    <a:cubicBezTo>
                      <a:pt x="6699" y="-1008"/>
                      <a:pt x="12500" y="-768"/>
                      <a:pt x="15969" y="3000"/>
                    </a:cubicBezTo>
                    <a:cubicBezTo>
                      <a:pt x="19378" y="6767"/>
                      <a:pt x="19139" y="12569"/>
                      <a:pt x="15431" y="16037"/>
                    </a:cubicBezTo>
                    <a:cubicBezTo>
                      <a:pt x="11723" y="19447"/>
                      <a:pt x="5921" y="19207"/>
                      <a:pt x="2452" y="15439"/>
                    </a:cubicBezTo>
                    <a:cubicBezTo>
                      <a:pt x="-1016" y="11672"/>
                      <a:pt x="-777" y="5870"/>
                      <a:pt x="2991" y="2401"/>
                    </a:cubicBezTo>
                    <a:close/>
                  </a:path>
                </a:pathLst>
              </a:custGeom>
              <a:grpFill/>
              <a:ln w="5978" cap="flat">
                <a:noFill/>
                <a:prstDash val="solid"/>
                <a:miter/>
              </a:ln>
            </p:spPr>
            <p:txBody>
              <a:bodyPr rtlCol="0" anchor="ctr"/>
              <a:lstStyle/>
              <a:p>
                <a:endParaRPr lang="en-GB"/>
              </a:p>
            </p:txBody>
          </p:sp>
          <p:sp>
            <p:nvSpPr>
              <p:cNvPr id="4999" name="Vrije vorm: vorm 4998">
                <a:extLst>
                  <a:ext uri="{FF2B5EF4-FFF2-40B4-BE49-F238E27FC236}">
                    <a16:creationId xmlns:a16="http://schemas.microsoft.com/office/drawing/2014/main" id="{D7F5C871-84B2-48B3-A7EE-86EA3B0BED66}"/>
                  </a:ext>
                </a:extLst>
              </p:cNvPr>
              <p:cNvSpPr/>
              <p:nvPr/>
            </p:nvSpPr>
            <p:spPr>
              <a:xfrm>
                <a:off x="7444783" y="2124862"/>
                <a:ext cx="18379" cy="18462"/>
              </a:xfrm>
              <a:custGeom>
                <a:avLst/>
                <a:gdLst>
                  <a:gd name="connsiteX0" fmla="*/ 2969 w 18379"/>
                  <a:gd name="connsiteY0" fmla="*/ 2401 h 18462"/>
                  <a:gd name="connsiteX1" fmla="*/ 2431 w 18379"/>
                  <a:gd name="connsiteY1" fmla="*/ 15439 h 18462"/>
                  <a:gd name="connsiteX2" fmla="*/ 15410 w 18379"/>
                  <a:gd name="connsiteY2" fmla="*/ 16038 h 18462"/>
                  <a:gd name="connsiteX3" fmla="*/ 15948 w 18379"/>
                  <a:gd name="connsiteY3" fmla="*/ 3000 h 18462"/>
                  <a:gd name="connsiteX4" fmla="*/ 2969 w 18379"/>
                  <a:gd name="connsiteY4" fmla="*/ 2401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62">
                    <a:moveTo>
                      <a:pt x="2969" y="2401"/>
                    </a:moveTo>
                    <a:cubicBezTo>
                      <a:pt x="-739" y="5810"/>
                      <a:pt x="-1037" y="11672"/>
                      <a:pt x="2431" y="15439"/>
                    </a:cubicBezTo>
                    <a:cubicBezTo>
                      <a:pt x="5840" y="19207"/>
                      <a:pt x="11642" y="19506"/>
                      <a:pt x="15410" y="16038"/>
                    </a:cubicBezTo>
                    <a:cubicBezTo>
                      <a:pt x="19118" y="12628"/>
                      <a:pt x="19416" y="6767"/>
                      <a:pt x="15948" y="3000"/>
                    </a:cubicBezTo>
                    <a:cubicBezTo>
                      <a:pt x="12479" y="-768"/>
                      <a:pt x="6677" y="-1008"/>
                      <a:pt x="2969" y="2401"/>
                    </a:cubicBezTo>
                    <a:close/>
                  </a:path>
                </a:pathLst>
              </a:custGeom>
              <a:grpFill/>
              <a:ln w="5978" cap="flat">
                <a:noFill/>
                <a:prstDash val="solid"/>
                <a:miter/>
              </a:ln>
            </p:spPr>
            <p:txBody>
              <a:bodyPr rtlCol="0" anchor="ctr"/>
              <a:lstStyle/>
              <a:p>
                <a:endParaRPr lang="en-GB"/>
              </a:p>
            </p:txBody>
          </p:sp>
        </p:grpSp>
        <p:grpSp>
          <p:nvGrpSpPr>
            <p:cNvPr id="128" name="Graphic 3">
              <a:extLst>
                <a:ext uri="{FF2B5EF4-FFF2-40B4-BE49-F238E27FC236}">
                  <a16:creationId xmlns:a16="http://schemas.microsoft.com/office/drawing/2014/main" id="{E5245818-1422-4B25-B8FB-BAC1973110D3}"/>
                </a:ext>
              </a:extLst>
            </p:cNvPr>
            <p:cNvGrpSpPr/>
            <p:nvPr/>
          </p:nvGrpSpPr>
          <p:grpSpPr>
            <a:xfrm>
              <a:off x="7531400" y="2233043"/>
              <a:ext cx="23988" cy="22884"/>
              <a:chOff x="7531400" y="2233043"/>
              <a:chExt cx="23988" cy="22884"/>
            </a:xfrm>
            <a:grpFill/>
          </p:grpSpPr>
          <p:sp>
            <p:nvSpPr>
              <p:cNvPr id="4994" name="Vrije vorm: vorm 4993">
                <a:extLst>
                  <a:ext uri="{FF2B5EF4-FFF2-40B4-BE49-F238E27FC236}">
                    <a16:creationId xmlns:a16="http://schemas.microsoft.com/office/drawing/2014/main" id="{A22AFACE-B88B-42E2-B310-8F1C7785D047}"/>
                  </a:ext>
                </a:extLst>
              </p:cNvPr>
              <p:cNvSpPr/>
              <p:nvPr/>
            </p:nvSpPr>
            <p:spPr>
              <a:xfrm>
                <a:off x="7539258" y="2240717"/>
                <a:ext cx="8313" cy="7475"/>
              </a:xfrm>
              <a:custGeom>
                <a:avLst/>
                <a:gdLst>
                  <a:gd name="connsiteX0" fmla="*/ 8313 w 8313"/>
                  <a:gd name="connsiteY0" fmla="*/ 2452 h 7475"/>
                  <a:gd name="connsiteX1" fmla="*/ 1914 w 8313"/>
                  <a:gd name="connsiteY1" fmla="*/ 7476 h 7475"/>
                  <a:gd name="connsiteX2" fmla="*/ 0 w 8313"/>
                  <a:gd name="connsiteY2" fmla="*/ 5084 h 7475"/>
                  <a:gd name="connsiteX3" fmla="*/ 6459 w 8313"/>
                  <a:gd name="connsiteY3" fmla="*/ 0 h 7475"/>
                </a:gdLst>
                <a:ahLst/>
                <a:cxnLst>
                  <a:cxn ang="0">
                    <a:pos x="connsiteX0" y="connsiteY0"/>
                  </a:cxn>
                  <a:cxn ang="0">
                    <a:pos x="connsiteX1" y="connsiteY1"/>
                  </a:cxn>
                  <a:cxn ang="0">
                    <a:pos x="connsiteX2" y="connsiteY2"/>
                  </a:cxn>
                  <a:cxn ang="0">
                    <a:pos x="connsiteX3" y="connsiteY3"/>
                  </a:cxn>
                </a:cxnLst>
                <a:rect l="l" t="t" r="r" b="b"/>
                <a:pathLst>
                  <a:path w="8313" h="7475">
                    <a:moveTo>
                      <a:pt x="8313" y="2452"/>
                    </a:moveTo>
                    <a:lnTo>
                      <a:pt x="1914" y="7476"/>
                    </a:lnTo>
                    <a:lnTo>
                      <a:pt x="0" y="5084"/>
                    </a:lnTo>
                    <a:lnTo>
                      <a:pt x="6459" y="0"/>
                    </a:lnTo>
                    <a:close/>
                  </a:path>
                </a:pathLst>
              </a:custGeom>
              <a:grpFill/>
              <a:ln w="5978" cap="flat">
                <a:noFill/>
                <a:prstDash val="solid"/>
                <a:miter/>
              </a:ln>
            </p:spPr>
            <p:txBody>
              <a:bodyPr rtlCol="0" anchor="ctr"/>
              <a:lstStyle/>
              <a:p>
                <a:endParaRPr lang="en-GB"/>
              </a:p>
            </p:txBody>
          </p:sp>
          <p:sp>
            <p:nvSpPr>
              <p:cNvPr id="4995" name="Vrije vorm: vorm 4994">
                <a:extLst>
                  <a:ext uri="{FF2B5EF4-FFF2-40B4-BE49-F238E27FC236}">
                    <a16:creationId xmlns:a16="http://schemas.microsoft.com/office/drawing/2014/main" id="{9F35EB47-22FE-4B06-BE2C-97949F453D18}"/>
                  </a:ext>
                </a:extLst>
              </p:cNvPr>
              <p:cNvSpPr/>
              <p:nvPr/>
            </p:nvSpPr>
            <p:spPr>
              <a:xfrm>
                <a:off x="7537081" y="2233043"/>
                <a:ext cx="18306" cy="18398"/>
              </a:xfrm>
              <a:custGeom>
                <a:avLst/>
                <a:gdLst>
                  <a:gd name="connsiteX0" fmla="*/ 3492 w 18306"/>
                  <a:gd name="connsiteY0" fmla="*/ 1933 h 18398"/>
                  <a:gd name="connsiteX1" fmla="*/ 16351 w 18306"/>
                  <a:gd name="connsiteY1" fmla="*/ 3548 h 18398"/>
                  <a:gd name="connsiteX2" fmla="*/ 14796 w 18306"/>
                  <a:gd name="connsiteY2" fmla="*/ 16466 h 18398"/>
                  <a:gd name="connsiteX3" fmla="*/ 1937 w 18306"/>
                  <a:gd name="connsiteY3" fmla="*/ 14851 h 18398"/>
                  <a:gd name="connsiteX4" fmla="*/ 3492 w 18306"/>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8">
                    <a:moveTo>
                      <a:pt x="3492" y="1933"/>
                    </a:moveTo>
                    <a:cubicBezTo>
                      <a:pt x="7440" y="-1177"/>
                      <a:pt x="13241" y="-459"/>
                      <a:pt x="16351" y="3548"/>
                    </a:cubicBezTo>
                    <a:cubicBezTo>
                      <a:pt x="19461" y="7555"/>
                      <a:pt x="18803" y="13356"/>
                      <a:pt x="14796" y="16466"/>
                    </a:cubicBezTo>
                    <a:cubicBezTo>
                      <a:pt x="10849" y="19576"/>
                      <a:pt x="5047" y="18858"/>
                      <a:pt x="1937" y="14851"/>
                    </a:cubicBezTo>
                    <a:cubicBezTo>
                      <a:pt x="-1173" y="10844"/>
                      <a:pt x="-455" y="5043"/>
                      <a:pt x="3492" y="1933"/>
                    </a:cubicBezTo>
                    <a:close/>
                  </a:path>
                </a:pathLst>
              </a:custGeom>
              <a:grpFill/>
              <a:ln w="5978" cap="flat">
                <a:noFill/>
                <a:prstDash val="solid"/>
                <a:miter/>
              </a:ln>
            </p:spPr>
            <p:txBody>
              <a:bodyPr rtlCol="0" anchor="ctr"/>
              <a:lstStyle/>
              <a:p>
                <a:endParaRPr lang="en-GB"/>
              </a:p>
            </p:txBody>
          </p:sp>
          <p:sp>
            <p:nvSpPr>
              <p:cNvPr id="4996" name="Vrije vorm: vorm 4995">
                <a:extLst>
                  <a:ext uri="{FF2B5EF4-FFF2-40B4-BE49-F238E27FC236}">
                    <a16:creationId xmlns:a16="http://schemas.microsoft.com/office/drawing/2014/main" id="{265833CD-BA1C-4048-97B1-722415AAE0BF}"/>
                  </a:ext>
                </a:extLst>
              </p:cNvPr>
              <p:cNvSpPr/>
              <p:nvPr/>
            </p:nvSpPr>
            <p:spPr>
              <a:xfrm>
                <a:off x="7531400" y="2237485"/>
                <a:ext cx="18287" cy="18442"/>
              </a:xfrm>
              <a:custGeom>
                <a:avLst/>
                <a:gdLst>
                  <a:gd name="connsiteX0" fmla="*/ 3492 w 18287"/>
                  <a:gd name="connsiteY0" fmla="*/ 1977 h 18442"/>
                  <a:gd name="connsiteX1" fmla="*/ 1937 w 18287"/>
                  <a:gd name="connsiteY1" fmla="*/ 14895 h 18442"/>
                  <a:gd name="connsiteX2" fmla="*/ 14796 w 18287"/>
                  <a:gd name="connsiteY2" fmla="*/ 16510 h 18442"/>
                  <a:gd name="connsiteX3" fmla="*/ 16351 w 18287"/>
                  <a:gd name="connsiteY3" fmla="*/ 3591 h 18442"/>
                  <a:gd name="connsiteX4" fmla="*/ 3492 w 18287"/>
                  <a:gd name="connsiteY4" fmla="*/ 1977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42">
                    <a:moveTo>
                      <a:pt x="3492" y="1977"/>
                    </a:moveTo>
                    <a:cubicBezTo>
                      <a:pt x="-455" y="5087"/>
                      <a:pt x="-1173" y="10888"/>
                      <a:pt x="1937" y="14895"/>
                    </a:cubicBezTo>
                    <a:cubicBezTo>
                      <a:pt x="5047" y="18902"/>
                      <a:pt x="10849" y="19620"/>
                      <a:pt x="14796" y="16510"/>
                    </a:cubicBezTo>
                    <a:cubicBezTo>
                      <a:pt x="18743" y="13400"/>
                      <a:pt x="19460" y="7598"/>
                      <a:pt x="16351" y="3591"/>
                    </a:cubicBezTo>
                    <a:cubicBezTo>
                      <a:pt x="13241" y="-476"/>
                      <a:pt x="7499" y="-1193"/>
                      <a:pt x="3492" y="1977"/>
                    </a:cubicBezTo>
                    <a:close/>
                  </a:path>
                </a:pathLst>
              </a:custGeom>
              <a:grpFill/>
              <a:ln w="5978" cap="flat">
                <a:noFill/>
                <a:prstDash val="solid"/>
                <a:miter/>
              </a:ln>
            </p:spPr>
            <p:txBody>
              <a:bodyPr rtlCol="0" anchor="ctr"/>
              <a:lstStyle/>
              <a:p>
                <a:endParaRPr lang="en-GB"/>
              </a:p>
            </p:txBody>
          </p:sp>
        </p:grpSp>
        <p:grpSp>
          <p:nvGrpSpPr>
            <p:cNvPr id="129" name="Graphic 3">
              <a:extLst>
                <a:ext uri="{FF2B5EF4-FFF2-40B4-BE49-F238E27FC236}">
                  <a16:creationId xmlns:a16="http://schemas.microsoft.com/office/drawing/2014/main" id="{D55494C1-C915-49CB-B100-A1E5580293BC}"/>
                </a:ext>
              </a:extLst>
            </p:cNvPr>
            <p:cNvGrpSpPr/>
            <p:nvPr/>
          </p:nvGrpSpPr>
          <p:grpSpPr>
            <a:xfrm>
              <a:off x="7293332" y="1658865"/>
              <a:ext cx="181931" cy="221262"/>
              <a:chOff x="7293332" y="1658865"/>
              <a:chExt cx="181931" cy="221262"/>
            </a:xfrm>
            <a:grpFill/>
          </p:grpSpPr>
          <p:sp>
            <p:nvSpPr>
              <p:cNvPr id="4991" name="Vrije vorm: vorm 4990">
                <a:extLst>
                  <a:ext uri="{FF2B5EF4-FFF2-40B4-BE49-F238E27FC236}">
                    <a16:creationId xmlns:a16="http://schemas.microsoft.com/office/drawing/2014/main" id="{D4B129D8-BD37-49DA-9CD1-B6E413A88625}"/>
                  </a:ext>
                </a:extLst>
              </p:cNvPr>
              <p:cNvSpPr/>
              <p:nvPr/>
            </p:nvSpPr>
            <p:spPr>
              <a:xfrm>
                <a:off x="7301046" y="1666807"/>
                <a:ext cx="166562" cy="205437"/>
              </a:xfrm>
              <a:custGeom>
                <a:avLst/>
                <a:gdLst>
                  <a:gd name="connsiteX0" fmla="*/ 166563 w 166562"/>
                  <a:gd name="connsiteY0" fmla="*/ 1914 h 205437"/>
                  <a:gd name="connsiteX1" fmla="*/ 2332 w 166562"/>
                  <a:gd name="connsiteY1" fmla="*/ 205438 h 205437"/>
                  <a:gd name="connsiteX2" fmla="*/ 0 w 166562"/>
                  <a:gd name="connsiteY2" fmla="*/ 203524 h 205437"/>
                  <a:gd name="connsiteX3" fmla="*/ 164171 w 166562"/>
                  <a:gd name="connsiteY3" fmla="*/ 0 h 205437"/>
                </a:gdLst>
                <a:ahLst/>
                <a:cxnLst>
                  <a:cxn ang="0">
                    <a:pos x="connsiteX0" y="connsiteY0"/>
                  </a:cxn>
                  <a:cxn ang="0">
                    <a:pos x="connsiteX1" y="connsiteY1"/>
                  </a:cxn>
                  <a:cxn ang="0">
                    <a:pos x="connsiteX2" y="connsiteY2"/>
                  </a:cxn>
                  <a:cxn ang="0">
                    <a:pos x="connsiteX3" y="connsiteY3"/>
                  </a:cxn>
                </a:cxnLst>
                <a:rect l="l" t="t" r="r" b="b"/>
                <a:pathLst>
                  <a:path w="166562" h="205437">
                    <a:moveTo>
                      <a:pt x="166563" y="1914"/>
                    </a:moveTo>
                    <a:lnTo>
                      <a:pt x="2332" y="205438"/>
                    </a:lnTo>
                    <a:lnTo>
                      <a:pt x="0" y="203524"/>
                    </a:lnTo>
                    <a:lnTo>
                      <a:pt x="164171" y="0"/>
                    </a:lnTo>
                    <a:close/>
                  </a:path>
                </a:pathLst>
              </a:custGeom>
              <a:grpFill/>
              <a:ln w="5978" cap="flat">
                <a:noFill/>
                <a:prstDash val="solid"/>
                <a:miter/>
              </a:ln>
            </p:spPr>
            <p:txBody>
              <a:bodyPr rtlCol="0" anchor="ctr"/>
              <a:lstStyle/>
              <a:p>
                <a:endParaRPr lang="en-GB"/>
              </a:p>
            </p:txBody>
          </p:sp>
          <p:sp>
            <p:nvSpPr>
              <p:cNvPr id="4992" name="Vrije vorm: vorm 4991">
                <a:extLst>
                  <a:ext uri="{FF2B5EF4-FFF2-40B4-BE49-F238E27FC236}">
                    <a16:creationId xmlns:a16="http://schemas.microsoft.com/office/drawing/2014/main" id="{3DBCFFCA-B955-45CE-9330-D1E8A2984D63}"/>
                  </a:ext>
                </a:extLst>
              </p:cNvPr>
              <p:cNvSpPr/>
              <p:nvPr/>
            </p:nvSpPr>
            <p:spPr>
              <a:xfrm>
                <a:off x="7456959" y="1658865"/>
                <a:ext cx="18303" cy="18456"/>
              </a:xfrm>
              <a:custGeom>
                <a:avLst/>
                <a:gdLst>
                  <a:gd name="connsiteX0" fmla="*/ 2037 w 18303"/>
                  <a:gd name="connsiteY0" fmla="*/ 3397 h 18456"/>
                  <a:gd name="connsiteX1" fmla="*/ 14896 w 18303"/>
                  <a:gd name="connsiteY1" fmla="*/ 2081 h 18456"/>
                  <a:gd name="connsiteX2" fmla="*/ 16271 w 18303"/>
                  <a:gd name="connsiteY2" fmla="*/ 15059 h 18456"/>
                  <a:gd name="connsiteX3" fmla="*/ 3353 w 18303"/>
                  <a:gd name="connsiteY3" fmla="*/ 16375 h 18456"/>
                  <a:gd name="connsiteX4" fmla="*/ 2037 w 18303"/>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56">
                    <a:moveTo>
                      <a:pt x="2037" y="3397"/>
                    </a:moveTo>
                    <a:cubicBezTo>
                      <a:pt x="5207" y="-550"/>
                      <a:pt x="11008" y="-1148"/>
                      <a:pt x="14896" y="2081"/>
                    </a:cubicBezTo>
                    <a:cubicBezTo>
                      <a:pt x="18843" y="5311"/>
                      <a:pt x="19441" y="11112"/>
                      <a:pt x="16271" y="15059"/>
                    </a:cubicBezTo>
                    <a:cubicBezTo>
                      <a:pt x="13101" y="19007"/>
                      <a:pt x="7300" y="19605"/>
                      <a:pt x="3353" y="16375"/>
                    </a:cubicBezTo>
                    <a:cubicBezTo>
                      <a:pt x="-534" y="13145"/>
                      <a:pt x="-1133" y="7344"/>
                      <a:pt x="2037" y="3397"/>
                    </a:cubicBezTo>
                    <a:close/>
                  </a:path>
                </a:pathLst>
              </a:custGeom>
              <a:grpFill/>
              <a:ln w="5978" cap="flat">
                <a:noFill/>
                <a:prstDash val="solid"/>
                <a:miter/>
              </a:ln>
            </p:spPr>
            <p:txBody>
              <a:bodyPr rtlCol="0" anchor="ctr"/>
              <a:lstStyle/>
              <a:p>
                <a:endParaRPr lang="en-GB"/>
              </a:p>
            </p:txBody>
          </p:sp>
          <p:sp>
            <p:nvSpPr>
              <p:cNvPr id="4993" name="Vrije vorm: vorm 4992">
                <a:extLst>
                  <a:ext uri="{FF2B5EF4-FFF2-40B4-BE49-F238E27FC236}">
                    <a16:creationId xmlns:a16="http://schemas.microsoft.com/office/drawing/2014/main" id="{A8459F46-1976-44D4-A700-BF0B20BBD139}"/>
                  </a:ext>
                </a:extLst>
              </p:cNvPr>
              <p:cNvSpPr/>
              <p:nvPr/>
            </p:nvSpPr>
            <p:spPr>
              <a:xfrm>
                <a:off x="7293332" y="1861715"/>
                <a:ext cx="18358" cy="18412"/>
              </a:xfrm>
              <a:custGeom>
                <a:avLst/>
                <a:gdLst>
                  <a:gd name="connsiteX0" fmla="*/ 2032 w 18358"/>
                  <a:gd name="connsiteY0" fmla="*/ 3353 h 18412"/>
                  <a:gd name="connsiteX1" fmla="*/ 3408 w 18358"/>
                  <a:gd name="connsiteY1" fmla="*/ 16331 h 18412"/>
                  <a:gd name="connsiteX2" fmla="*/ 16326 w 18358"/>
                  <a:gd name="connsiteY2" fmla="*/ 15015 h 18412"/>
                  <a:gd name="connsiteX3" fmla="*/ 14951 w 18358"/>
                  <a:gd name="connsiteY3" fmla="*/ 2037 h 18412"/>
                  <a:gd name="connsiteX4" fmla="*/ 2032 w 18358"/>
                  <a:gd name="connsiteY4" fmla="*/ 3353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12">
                    <a:moveTo>
                      <a:pt x="2032" y="3353"/>
                    </a:moveTo>
                    <a:cubicBezTo>
                      <a:pt x="-1138" y="7300"/>
                      <a:pt x="-539" y="13101"/>
                      <a:pt x="3408" y="16331"/>
                    </a:cubicBezTo>
                    <a:cubicBezTo>
                      <a:pt x="7355" y="19561"/>
                      <a:pt x="13096" y="18963"/>
                      <a:pt x="16326" y="15015"/>
                    </a:cubicBezTo>
                    <a:cubicBezTo>
                      <a:pt x="19496" y="11068"/>
                      <a:pt x="18898" y="5267"/>
                      <a:pt x="14951" y="2037"/>
                    </a:cubicBezTo>
                    <a:cubicBezTo>
                      <a:pt x="11003" y="-1133"/>
                      <a:pt x="5262" y="-535"/>
                      <a:pt x="2032" y="3353"/>
                    </a:cubicBezTo>
                    <a:close/>
                  </a:path>
                </a:pathLst>
              </a:custGeom>
              <a:grpFill/>
              <a:ln w="5978" cap="flat">
                <a:noFill/>
                <a:prstDash val="solid"/>
                <a:miter/>
              </a:ln>
            </p:spPr>
            <p:txBody>
              <a:bodyPr rtlCol="0" anchor="ctr"/>
              <a:lstStyle/>
              <a:p>
                <a:endParaRPr lang="en-GB"/>
              </a:p>
            </p:txBody>
          </p:sp>
        </p:grpSp>
        <p:grpSp>
          <p:nvGrpSpPr>
            <p:cNvPr id="130" name="Graphic 3">
              <a:extLst>
                <a:ext uri="{FF2B5EF4-FFF2-40B4-BE49-F238E27FC236}">
                  <a16:creationId xmlns:a16="http://schemas.microsoft.com/office/drawing/2014/main" id="{5C26A1FD-7842-4645-B3E3-E154E30B8517}"/>
                </a:ext>
              </a:extLst>
            </p:cNvPr>
            <p:cNvGrpSpPr/>
            <p:nvPr/>
          </p:nvGrpSpPr>
          <p:grpSpPr>
            <a:xfrm>
              <a:off x="7583051" y="2682289"/>
              <a:ext cx="264020" cy="86870"/>
              <a:chOff x="7583051" y="2682289"/>
              <a:chExt cx="264020" cy="86870"/>
            </a:xfrm>
            <a:grpFill/>
          </p:grpSpPr>
          <p:sp>
            <p:nvSpPr>
              <p:cNvPr id="4988" name="Vrije vorm: vorm 4987">
                <a:extLst>
                  <a:ext uri="{FF2B5EF4-FFF2-40B4-BE49-F238E27FC236}">
                    <a16:creationId xmlns:a16="http://schemas.microsoft.com/office/drawing/2014/main" id="{A8812AF8-9471-4326-908A-0BD4DF5AD1A0}"/>
                  </a:ext>
                </a:extLst>
              </p:cNvPr>
              <p:cNvSpPr/>
              <p:nvPr/>
            </p:nvSpPr>
            <p:spPr>
              <a:xfrm>
                <a:off x="7591350" y="2689929"/>
                <a:ext cx="247422" cy="71589"/>
              </a:xfrm>
              <a:custGeom>
                <a:avLst/>
                <a:gdLst>
                  <a:gd name="connsiteX0" fmla="*/ 246585 w 247422"/>
                  <a:gd name="connsiteY0" fmla="*/ 0 h 71589"/>
                  <a:gd name="connsiteX1" fmla="*/ 247422 w 247422"/>
                  <a:gd name="connsiteY1" fmla="*/ 2930 h 71589"/>
                  <a:gd name="connsiteX2" fmla="*/ 837 w 247422"/>
                  <a:gd name="connsiteY2" fmla="*/ 71589 h 71589"/>
                  <a:gd name="connsiteX3" fmla="*/ 0 w 247422"/>
                  <a:gd name="connsiteY3" fmla="*/ 68659 h 71589"/>
                </a:gdLst>
                <a:ahLst/>
                <a:cxnLst>
                  <a:cxn ang="0">
                    <a:pos x="connsiteX0" y="connsiteY0"/>
                  </a:cxn>
                  <a:cxn ang="0">
                    <a:pos x="connsiteX1" y="connsiteY1"/>
                  </a:cxn>
                  <a:cxn ang="0">
                    <a:pos x="connsiteX2" y="connsiteY2"/>
                  </a:cxn>
                  <a:cxn ang="0">
                    <a:pos x="connsiteX3" y="connsiteY3"/>
                  </a:cxn>
                </a:cxnLst>
                <a:rect l="l" t="t" r="r" b="b"/>
                <a:pathLst>
                  <a:path w="247422" h="71589">
                    <a:moveTo>
                      <a:pt x="246585" y="0"/>
                    </a:moveTo>
                    <a:lnTo>
                      <a:pt x="247422" y="2930"/>
                    </a:lnTo>
                    <a:lnTo>
                      <a:pt x="837" y="71589"/>
                    </a:lnTo>
                    <a:lnTo>
                      <a:pt x="0" y="68659"/>
                    </a:lnTo>
                    <a:close/>
                  </a:path>
                </a:pathLst>
              </a:custGeom>
              <a:grpFill/>
              <a:ln w="5978" cap="flat">
                <a:noFill/>
                <a:prstDash val="solid"/>
                <a:miter/>
              </a:ln>
            </p:spPr>
            <p:txBody>
              <a:bodyPr rtlCol="0" anchor="ctr"/>
              <a:lstStyle/>
              <a:p>
                <a:endParaRPr lang="en-GB"/>
              </a:p>
            </p:txBody>
          </p:sp>
          <p:sp>
            <p:nvSpPr>
              <p:cNvPr id="4989" name="Vrije vorm: vorm 4988">
                <a:extLst>
                  <a:ext uri="{FF2B5EF4-FFF2-40B4-BE49-F238E27FC236}">
                    <a16:creationId xmlns:a16="http://schemas.microsoft.com/office/drawing/2014/main" id="{FA6D9448-6126-43FC-9AC6-C6000AAAEB2A}"/>
                  </a:ext>
                </a:extLst>
              </p:cNvPr>
              <p:cNvSpPr/>
              <p:nvPr/>
            </p:nvSpPr>
            <p:spPr>
              <a:xfrm>
                <a:off x="7583051" y="2750708"/>
                <a:ext cx="18331" cy="18451"/>
              </a:xfrm>
              <a:custGeom>
                <a:avLst/>
                <a:gdLst>
                  <a:gd name="connsiteX0" fmla="*/ 11648 w 18331"/>
                  <a:gd name="connsiteY0" fmla="*/ 18107 h 18451"/>
                  <a:gd name="connsiteX1" fmla="*/ 345 w 18331"/>
                  <a:gd name="connsiteY1" fmla="*/ 11708 h 18451"/>
                  <a:gd name="connsiteX2" fmla="*/ 6684 w 18331"/>
                  <a:gd name="connsiteY2" fmla="*/ 344 h 18451"/>
                  <a:gd name="connsiteX3" fmla="*/ 17987 w 18331"/>
                  <a:gd name="connsiteY3" fmla="*/ 6744 h 18451"/>
                  <a:gd name="connsiteX4" fmla="*/ 11648 w 18331"/>
                  <a:gd name="connsiteY4" fmla="*/ 1810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51">
                    <a:moveTo>
                      <a:pt x="11648" y="18107"/>
                    </a:moveTo>
                    <a:cubicBezTo>
                      <a:pt x="6803" y="19483"/>
                      <a:pt x="1720" y="16612"/>
                      <a:pt x="345" y="11708"/>
                    </a:cubicBezTo>
                    <a:cubicBezTo>
                      <a:pt x="-1031" y="6804"/>
                      <a:pt x="1840" y="1720"/>
                      <a:pt x="6684" y="344"/>
                    </a:cubicBezTo>
                    <a:cubicBezTo>
                      <a:pt x="11528" y="-1031"/>
                      <a:pt x="16612" y="1839"/>
                      <a:pt x="17987" y="6744"/>
                    </a:cubicBezTo>
                    <a:cubicBezTo>
                      <a:pt x="19363" y="11648"/>
                      <a:pt x="16492" y="16731"/>
                      <a:pt x="11648" y="18107"/>
                    </a:cubicBezTo>
                    <a:close/>
                  </a:path>
                </a:pathLst>
              </a:custGeom>
              <a:grpFill/>
              <a:ln w="5978" cap="flat">
                <a:noFill/>
                <a:prstDash val="solid"/>
                <a:miter/>
              </a:ln>
            </p:spPr>
            <p:txBody>
              <a:bodyPr rtlCol="0" anchor="ctr"/>
              <a:lstStyle/>
              <a:p>
                <a:endParaRPr lang="en-GB"/>
              </a:p>
            </p:txBody>
          </p:sp>
          <p:sp>
            <p:nvSpPr>
              <p:cNvPr id="4990" name="Vrije vorm: vorm 4989">
                <a:extLst>
                  <a:ext uri="{FF2B5EF4-FFF2-40B4-BE49-F238E27FC236}">
                    <a16:creationId xmlns:a16="http://schemas.microsoft.com/office/drawing/2014/main" id="{FADAA068-7882-4046-8724-5C7324E824BC}"/>
                  </a:ext>
                </a:extLst>
              </p:cNvPr>
              <p:cNvSpPr/>
              <p:nvPr/>
            </p:nvSpPr>
            <p:spPr>
              <a:xfrm>
                <a:off x="7828739" y="2682289"/>
                <a:ext cx="18332" cy="18447"/>
              </a:xfrm>
              <a:custGeom>
                <a:avLst/>
                <a:gdLst>
                  <a:gd name="connsiteX0" fmla="*/ 11648 w 18332"/>
                  <a:gd name="connsiteY0" fmla="*/ 18107 h 18447"/>
                  <a:gd name="connsiteX1" fmla="*/ 17988 w 18332"/>
                  <a:gd name="connsiteY1" fmla="*/ 6744 h 18447"/>
                  <a:gd name="connsiteX2" fmla="*/ 6684 w 18332"/>
                  <a:gd name="connsiteY2" fmla="*/ 344 h 18447"/>
                  <a:gd name="connsiteX3" fmla="*/ 345 w 18332"/>
                  <a:gd name="connsiteY3" fmla="*/ 11708 h 18447"/>
                  <a:gd name="connsiteX4" fmla="*/ 11648 w 18332"/>
                  <a:gd name="connsiteY4" fmla="*/ 1810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47">
                    <a:moveTo>
                      <a:pt x="11648" y="18107"/>
                    </a:moveTo>
                    <a:cubicBezTo>
                      <a:pt x="16493" y="16732"/>
                      <a:pt x="19364" y="11648"/>
                      <a:pt x="17988" y="6744"/>
                    </a:cubicBezTo>
                    <a:cubicBezTo>
                      <a:pt x="16612" y="1839"/>
                      <a:pt x="11528" y="-1031"/>
                      <a:pt x="6684" y="344"/>
                    </a:cubicBezTo>
                    <a:cubicBezTo>
                      <a:pt x="1840" y="1720"/>
                      <a:pt x="-1031" y="6803"/>
                      <a:pt x="345" y="11708"/>
                    </a:cubicBezTo>
                    <a:cubicBezTo>
                      <a:pt x="1720" y="16552"/>
                      <a:pt x="6804" y="19483"/>
                      <a:pt x="11648" y="18107"/>
                    </a:cubicBezTo>
                    <a:close/>
                  </a:path>
                </a:pathLst>
              </a:custGeom>
              <a:grpFill/>
              <a:ln w="5978" cap="flat">
                <a:noFill/>
                <a:prstDash val="solid"/>
                <a:miter/>
              </a:ln>
            </p:spPr>
            <p:txBody>
              <a:bodyPr rtlCol="0" anchor="ctr"/>
              <a:lstStyle/>
              <a:p>
                <a:endParaRPr lang="en-GB"/>
              </a:p>
            </p:txBody>
          </p:sp>
        </p:grpSp>
        <p:grpSp>
          <p:nvGrpSpPr>
            <p:cNvPr id="131" name="Graphic 3">
              <a:extLst>
                <a:ext uri="{FF2B5EF4-FFF2-40B4-BE49-F238E27FC236}">
                  <a16:creationId xmlns:a16="http://schemas.microsoft.com/office/drawing/2014/main" id="{C6743E61-B036-46DA-B0E1-DC5832CEC4AE}"/>
                </a:ext>
              </a:extLst>
            </p:cNvPr>
            <p:cNvGrpSpPr/>
            <p:nvPr/>
          </p:nvGrpSpPr>
          <p:grpSpPr>
            <a:xfrm>
              <a:off x="7601223" y="2522741"/>
              <a:ext cx="88924" cy="56837"/>
              <a:chOff x="7601223" y="2522741"/>
              <a:chExt cx="88924" cy="56837"/>
            </a:xfrm>
            <a:grpFill/>
          </p:grpSpPr>
          <p:sp>
            <p:nvSpPr>
              <p:cNvPr id="4985" name="Vrije vorm: vorm 4984">
                <a:extLst>
                  <a:ext uri="{FF2B5EF4-FFF2-40B4-BE49-F238E27FC236}">
                    <a16:creationId xmlns:a16="http://schemas.microsoft.com/office/drawing/2014/main" id="{60100801-6FDD-4868-B2E8-F3FA20B85EAB}"/>
                  </a:ext>
                </a:extLst>
              </p:cNvPr>
              <p:cNvSpPr/>
              <p:nvPr/>
            </p:nvSpPr>
            <p:spPr>
              <a:xfrm>
                <a:off x="7609292" y="2530364"/>
                <a:ext cx="72785" cy="41566"/>
              </a:xfrm>
              <a:custGeom>
                <a:avLst/>
                <a:gdLst>
                  <a:gd name="connsiteX0" fmla="*/ 72786 w 72785"/>
                  <a:gd name="connsiteY0" fmla="*/ 2691 h 41566"/>
                  <a:gd name="connsiteX1" fmla="*/ 1435 w 72785"/>
                  <a:gd name="connsiteY1" fmla="*/ 41566 h 41566"/>
                  <a:gd name="connsiteX2" fmla="*/ 0 w 72785"/>
                  <a:gd name="connsiteY2" fmla="*/ 38875 h 41566"/>
                  <a:gd name="connsiteX3" fmla="*/ 71350 w 72785"/>
                  <a:gd name="connsiteY3" fmla="*/ 0 h 41566"/>
                </a:gdLst>
                <a:ahLst/>
                <a:cxnLst>
                  <a:cxn ang="0">
                    <a:pos x="connsiteX0" y="connsiteY0"/>
                  </a:cxn>
                  <a:cxn ang="0">
                    <a:pos x="connsiteX1" y="connsiteY1"/>
                  </a:cxn>
                  <a:cxn ang="0">
                    <a:pos x="connsiteX2" y="connsiteY2"/>
                  </a:cxn>
                  <a:cxn ang="0">
                    <a:pos x="connsiteX3" y="connsiteY3"/>
                  </a:cxn>
                </a:cxnLst>
                <a:rect l="l" t="t" r="r" b="b"/>
                <a:pathLst>
                  <a:path w="72785" h="41566">
                    <a:moveTo>
                      <a:pt x="72786" y="2691"/>
                    </a:moveTo>
                    <a:lnTo>
                      <a:pt x="1435" y="41566"/>
                    </a:lnTo>
                    <a:lnTo>
                      <a:pt x="0" y="38875"/>
                    </a:lnTo>
                    <a:lnTo>
                      <a:pt x="71350" y="0"/>
                    </a:lnTo>
                    <a:close/>
                  </a:path>
                </a:pathLst>
              </a:custGeom>
              <a:grpFill/>
              <a:ln w="5978" cap="flat">
                <a:noFill/>
                <a:prstDash val="solid"/>
                <a:miter/>
              </a:ln>
            </p:spPr>
            <p:txBody>
              <a:bodyPr rtlCol="0" anchor="ctr"/>
              <a:lstStyle/>
              <a:p>
                <a:endParaRPr lang="en-GB"/>
              </a:p>
            </p:txBody>
          </p:sp>
          <p:sp>
            <p:nvSpPr>
              <p:cNvPr id="4986" name="Vrije vorm: vorm 4985">
                <a:extLst>
                  <a:ext uri="{FF2B5EF4-FFF2-40B4-BE49-F238E27FC236}">
                    <a16:creationId xmlns:a16="http://schemas.microsoft.com/office/drawing/2014/main" id="{AE47E0E0-392F-47E5-B17B-9D6405F72EB6}"/>
                  </a:ext>
                </a:extLst>
              </p:cNvPr>
              <p:cNvSpPr/>
              <p:nvPr/>
            </p:nvSpPr>
            <p:spPr>
              <a:xfrm>
                <a:off x="7671795" y="2522741"/>
                <a:ext cx="18352" cy="18414"/>
              </a:xfrm>
              <a:custGeom>
                <a:avLst/>
                <a:gdLst>
                  <a:gd name="connsiteX0" fmla="*/ 4780 w 18352"/>
                  <a:gd name="connsiteY0" fmla="*/ 1103 h 18414"/>
                  <a:gd name="connsiteX1" fmla="*/ 17220 w 18352"/>
                  <a:gd name="connsiteY1" fmla="*/ 4812 h 18414"/>
                  <a:gd name="connsiteX2" fmla="*/ 13572 w 18352"/>
                  <a:gd name="connsiteY2" fmla="*/ 17311 h 18414"/>
                  <a:gd name="connsiteX3" fmla="*/ 1132 w 18352"/>
                  <a:gd name="connsiteY3" fmla="*/ 13603 h 18414"/>
                  <a:gd name="connsiteX4" fmla="*/ 4780 w 18352"/>
                  <a:gd name="connsiteY4" fmla="*/ 11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4780" y="1103"/>
                    </a:moveTo>
                    <a:cubicBezTo>
                      <a:pt x="9206" y="-1289"/>
                      <a:pt x="14768" y="326"/>
                      <a:pt x="17220" y="4812"/>
                    </a:cubicBezTo>
                    <a:cubicBezTo>
                      <a:pt x="19672" y="9297"/>
                      <a:pt x="17998" y="14859"/>
                      <a:pt x="13572" y="17311"/>
                    </a:cubicBezTo>
                    <a:cubicBezTo>
                      <a:pt x="9146" y="19703"/>
                      <a:pt x="3584" y="18089"/>
                      <a:pt x="1132" y="13603"/>
                    </a:cubicBezTo>
                    <a:cubicBezTo>
                      <a:pt x="-1320" y="9118"/>
                      <a:pt x="354" y="3496"/>
                      <a:pt x="4780" y="1103"/>
                    </a:cubicBezTo>
                    <a:close/>
                  </a:path>
                </a:pathLst>
              </a:custGeom>
              <a:grpFill/>
              <a:ln w="5978" cap="flat">
                <a:noFill/>
                <a:prstDash val="solid"/>
                <a:miter/>
              </a:ln>
            </p:spPr>
            <p:txBody>
              <a:bodyPr rtlCol="0" anchor="ctr"/>
              <a:lstStyle/>
              <a:p>
                <a:endParaRPr lang="en-GB"/>
              </a:p>
            </p:txBody>
          </p:sp>
          <p:sp>
            <p:nvSpPr>
              <p:cNvPr id="4987" name="Vrije vorm: vorm 4986">
                <a:extLst>
                  <a:ext uri="{FF2B5EF4-FFF2-40B4-BE49-F238E27FC236}">
                    <a16:creationId xmlns:a16="http://schemas.microsoft.com/office/drawing/2014/main" id="{B4A2DF1B-30F2-40EF-9906-B1133DC0A61A}"/>
                  </a:ext>
                </a:extLst>
              </p:cNvPr>
              <p:cNvSpPr/>
              <p:nvPr/>
            </p:nvSpPr>
            <p:spPr>
              <a:xfrm>
                <a:off x="7601223" y="2561111"/>
                <a:ext cx="18351" cy="18467"/>
              </a:xfrm>
              <a:custGeom>
                <a:avLst/>
                <a:gdLst>
                  <a:gd name="connsiteX0" fmla="*/ 4780 w 18351"/>
                  <a:gd name="connsiteY0" fmla="*/ 1130 h 18467"/>
                  <a:gd name="connsiteX1" fmla="*/ 1131 w 18351"/>
                  <a:gd name="connsiteY1" fmla="*/ 13630 h 18467"/>
                  <a:gd name="connsiteX2" fmla="*/ 13572 w 18351"/>
                  <a:gd name="connsiteY2" fmla="*/ 17338 h 18467"/>
                  <a:gd name="connsiteX3" fmla="*/ 17220 w 18351"/>
                  <a:gd name="connsiteY3" fmla="*/ 4838 h 18467"/>
                  <a:gd name="connsiteX4" fmla="*/ 4780 w 18351"/>
                  <a:gd name="connsiteY4" fmla="*/ 11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7">
                    <a:moveTo>
                      <a:pt x="4780" y="1130"/>
                    </a:moveTo>
                    <a:cubicBezTo>
                      <a:pt x="355" y="3522"/>
                      <a:pt x="-1320" y="9144"/>
                      <a:pt x="1131" y="13630"/>
                    </a:cubicBezTo>
                    <a:cubicBezTo>
                      <a:pt x="3584" y="18115"/>
                      <a:pt x="9146" y="19790"/>
                      <a:pt x="13572" y="17338"/>
                    </a:cubicBezTo>
                    <a:cubicBezTo>
                      <a:pt x="17997" y="14945"/>
                      <a:pt x="19672" y="9324"/>
                      <a:pt x="17220" y="4838"/>
                    </a:cubicBezTo>
                    <a:cubicBezTo>
                      <a:pt x="14828" y="353"/>
                      <a:pt x="9266" y="-1322"/>
                      <a:pt x="4780" y="1130"/>
                    </a:cubicBezTo>
                    <a:close/>
                  </a:path>
                </a:pathLst>
              </a:custGeom>
              <a:grpFill/>
              <a:ln w="5978" cap="flat">
                <a:noFill/>
                <a:prstDash val="solid"/>
                <a:miter/>
              </a:ln>
            </p:spPr>
            <p:txBody>
              <a:bodyPr rtlCol="0" anchor="ctr"/>
              <a:lstStyle/>
              <a:p>
                <a:endParaRPr lang="en-GB"/>
              </a:p>
            </p:txBody>
          </p:sp>
        </p:grpSp>
        <p:grpSp>
          <p:nvGrpSpPr>
            <p:cNvPr id="132" name="Graphic 3">
              <a:extLst>
                <a:ext uri="{FF2B5EF4-FFF2-40B4-BE49-F238E27FC236}">
                  <a16:creationId xmlns:a16="http://schemas.microsoft.com/office/drawing/2014/main" id="{7EB9B655-9BAE-46ED-938E-F973CD0BDA5B}"/>
                </a:ext>
              </a:extLst>
            </p:cNvPr>
            <p:cNvGrpSpPr/>
            <p:nvPr/>
          </p:nvGrpSpPr>
          <p:grpSpPr>
            <a:xfrm>
              <a:off x="7395033" y="1955653"/>
              <a:ext cx="138132" cy="136884"/>
              <a:chOff x="7395033" y="1955653"/>
              <a:chExt cx="138132" cy="136884"/>
            </a:xfrm>
            <a:grpFill/>
          </p:grpSpPr>
          <p:sp>
            <p:nvSpPr>
              <p:cNvPr id="4982" name="Vrije vorm: vorm 4981">
                <a:extLst>
                  <a:ext uri="{FF2B5EF4-FFF2-40B4-BE49-F238E27FC236}">
                    <a16:creationId xmlns:a16="http://schemas.microsoft.com/office/drawing/2014/main" id="{CD935C07-650F-4FF5-965B-9D502E6C3A9E}"/>
                  </a:ext>
                </a:extLst>
              </p:cNvPr>
              <p:cNvSpPr/>
              <p:nvPr/>
            </p:nvSpPr>
            <p:spPr>
              <a:xfrm>
                <a:off x="7402777" y="1963451"/>
                <a:ext cx="122604" cy="121289"/>
              </a:xfrm>
              <a:custGeom>
                <a:avLst/>
                <a:gdLst>
                  <a:gd name="connsiteX0" fmla="*/ 122605 w 122604"/>
                  <a:gd name="connsiteY0" fmla="*/ 2213 h 121289"/>
                  <a:gd name="connsiteX1" fmla="*/ 2154 w 122604"/>
                  <a:gd name="connsiteY1" fmla="*/ 121289 h 121289"/>
                  <a:gd name="connsiteX2" fmla="*/ 0 w 122604"/>
                  <a:gd name="connsiteY2" fmla="*/ 119076 h 121289"/>
                  <a:gd name="connsiteX3" fmla="*/ 120512 w 122604"/>
                  <a:gd name="connsiteY3" fmla="*/ 0 h 121289"/>
                </a:gdLst>
                <a:ahLst/>
                <a:cxnLst>
                  <a:cxn ang="0">
                    <a:pos x="connsiteX0" y="connsiteY0"/>
                  </a:cxn>
                  <a:cxn ang="0">
                    <a:pos x="connsiteX1" y="connsiteY1"/>
                  </a:cxn>
                  <a:cxn ang="0">
                    <a:pos x="connsiteX2" y="connsiteY2"/>
                  </a:cxn>
                  <a:cxn ang="0">
                    <a:pos x="connsiteX3" y="connsiteY3"/>
                  </a:cxn>
                </a:cxnLst>
                <a:rect l="l" t="t" r="r" b="b"/>
                <a:pathLst>
                  <a:path w="122604" h="121289">
                    <a:moveTo>
                      <a:pt x="122605" y="2213"/>
                    </a:moveTo>
                    <a:lnTo>
                      <a:pt x="2154" y="121289"/>
                    </a:lnTo>
                    <a:lnTo>
                      <a:pt x="0" y="119076"/>
                    </a:lnTo>
                    <a:lnTo>
                      <a:pt x="120512" y="0"/>
                    </a:lnTo>
                    <a:close/>
                  </a:path>
                </a:pathLst>
              </a:custGeom>
              <a:grpFill/>
              <a:ln w="5978" cap="flat">
                <a:noFill/>
                <a:prstDash val="solid"/>
                <a:miter/>
              </a:ln>
            </p:spPr>
            <p:txBody>
              <a:bodyPr rtlCol="0" anchor="ctr"/>
              <a:lstStyle/>
              <a:p>
                <a:endParaRPr lang="en-GB"/>
              </a:p>
            </p:txBody>
          </p:sp>
          <p:sp>
            <p:nvSpPr>
              <p:cNvPr id="4983" name="Vrije vorm: vorm 4982">
                <a:extLst>
                  <a:ext uri="{FF2B5EF4-FFF2-40B4-BE49-F238E27FC236}">
                    <a16:creationId xmlns:a16="http://schemas.microsoft.com/office/drawing/2014/main" id="{08E60AD5-5132-4480-86BD-DB5A00394F84}"/>
                  </a:ext>
                </a:extLst>
              </p:cNvPr>
              <p:cNvSpPr/>
              <p:nvPr/>
            </p:nvSpPr>
            <p:spPr>
              <a:xfrm>
                <a:off x="7514849" y="1955653"/>
                <a:ext cx="18316" cy="18466"/>
              </a:xfrm>
              <a:custGeom>
                <a:avLst/>
                <a:gdLst>
                  <a:gd name="connsiteX0" fmla="*/ 2699 w 18316"/>
                  <a:gd name="connsiteY0" fmla="*/ 2654 h 18466"/>
                  <a:gd name="connsiteX1" fmla="*/ 15677 w 18316"/>
                  <a:gd name="connsiteY1" fmla="*/ 2774 h 18466"/>
                  <a:gd name="connsiteX2" fmla="*/ 15617 w 18316"/>
                  <a:gd name="connsiteY2" fmla="*/ 15812 h 18466"/>
                  <a:gd name="connsiteX3" fmla="*/ 2639 w 18316"/>
                  <a:gd name="connsiteY3" fmla="*/ 15692 h 18466"/>
                  <a:gd name="connsiteX4" fmla="*/ 2699 w 18316"/>
                  <a:gd name="connsiteY4" fmla="*/ 265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66">
                    <a:moveTo>
                      <a:pt x="2699" y="2654"/>
                    </a:moveTo>
                    <a:cubicBezTo>
                      <a:pt x="6287" y="-934"/>
                      <a:pt x="12088" y="-874"/>
                      <a:pt x="15677" y="2774"/>
                    </a:cubicBezTo>
                    <a:cubicBezTo>
                      <a:pt x="19206" y="6422"/>
                      <a:pt x="19206" y="12224"/>
                      <a:pt x="15617" y="15812"/>
                    </a:cubicBezTo>
                    <a:cubicBezTo>
                      <a:pt x="12028" y="19400"/>
                      <a:pt x="6227" y="19341"/>
                      <a:pt x="2639" y="15692"/>
                    </a:cubicBezTo>
                    <a:cubicBezTo>
                      <a:pt x="-890" y="12044"/>
                      <a:pt x="-890" y="6183"/>
                      <a:pt x="2699" y="2654"/>
                    </a:cubicBezTo>
                    <a:close/>
                  </a:path>
                </a:pathLst>
              </a:custGeom>
              <a:grpFill/>
              <a:ln w="5978" cap="flat">
                <a:noFill/>
                <a:prstDash val="solid"/>
                <a:miter/>
              </a:ln>
            </p:spPr>
            <p:txBody>
              <a:bodyPr rtlCol="0" anchor="ctr"/>
              <a:lstStyle/>
              <a:p>
                <a:endParaRPr lang="en-GB"/>
              </a:p>
            </p:txBody>
          </p:sp>
          <p:sp>
            <p:nvSpPr>
              <p:cNvPr id="4984" name="Vrije vorm: vorm 4983">
                <a:extLst>
                  <a:ext uri="{FF2B5EF4-FFF2-40B4-BE49-F238E27FC236}">
                    <a16:creationId xmlns:a16="http://schemas.microsoft.com/office/drawing/2014/main" id="{F62B670E-010E-4598-80B6-F83441CCECD5}"/>
                  </a:ext>
                </a:extLst>
              </p:cNvPr>
              <p:cNvSpPr/>
              <p:nvPr/>
            </p:nvSpPr>
            <p:spPr>
              <a:xfrm>
                <a:off x="7395033" y="2074117"/>
                <a:ext cx="18361" cy="18421"/>
              </a:xfrm>
              <a:custGeom>
                <a:avLst/>
                <a:gdLst>
                  <a:gd name="connsiteX0" fmla="*/ 2721 w 18361"/>
                  <a:gd name="connsiteY0" fmla="*/ 2610 h 18421"/>
                  <a:gd name="connsiteX1" fmla="*/ 2661 w 18361"/>
                  <a:gd name="connsiteY1" fmla="*/ 15648 h 18421"/>
                  <a:gd name="connsiteX2" fmla="*/ 15640 w 18361"/>
                  <a:gd name="connsiteY2" fmla="*/ 15767 h 18421"/>
                  <a:gd name="connsiteX3" fmla="*/ 15700 w 18361"/>
                  <a:gd name="connsiteY3" fmla="*/ 2729 h 18421"/>
                  <a:gd name="connsiteX4" fmla="*/ 2721 w 18361"/>
                  <a:gd name="connsiteY4" fmla="*/ 26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2721" y="2610"/>
                    </a:moveTo>
                    <a:cubicBezTo>
                      <a:pt x="-867" y="6198"/>
                      <a:pt x="-927" y="11999"/>
                      <a:pt x="2661" y="15648"/>
                    </a:cubicBezTo>
                    <a:cubicBezTo>
                      <a:pt x="6191" y="19296"/>
                      <a:pt x="12052" y="19356"/>
                      <a:pt x="15640" y="15767"/>
                    </a:cubicBezTo>
                    <a:cubicBezTo>
                      <a:pt x="19228" y="12179"/>
                      <a:pt x="19288" y="6377"/>
                      <a:pt x="15700" y="2729"/>
                    </a:cubicBezTo>
                    <a:cubicBezTo>
                      <a:pt x="12111" y="-859"/>
                      <a:pt x="6310" y="-919"/>
                      <a:pt x="2721" y="2610"/>
                    </a:cubicBezTo>
                    <a:close/>
                  </a:path>
                </a:pathLst>
              </a:custGeom>
              <a:grpFill/>
              <a:ln w="5978" cap="flat">
                <a:noFill/>
                <a:prstDash val="solid"/>
                <a:miter/>
              </a:ln>
            </p:spPr>
            <p:txBody>
              <a:bodyPr rtlCol="0" anchor="ctr"/>
              <a:lstStyle/>
              <a:p>
                <a:endParaRPr lang="en-GB"/>
              </a:p>
            </p:txBody>
          </p:sp>
        </p:grpSp>
        <p:grpSp>
          <p:nvGrpSpPr>
            <p:cNvPr id="133" name="Graphic 3">
              <a:extLst>
                <a:ext uri="{FF2B5EF4-FFF2-40B4-BE49-F238E27FC236}">
                  <a16:creationId xmlns:a16="http://schemas.microsoft.com/office/drawing/2014/main" id="{5066546C-98F6-4B17-9F2B-C99C19DE45A6}"/>
                </a:ext>
              </a:extLst>
            </p:cNvPr>
            <p:cNvGrpSpPr/>
            <p:nvPr/>
          </p:nvGrpSpPr>
          <p:grpSpPr>
            <a:xfrm>
              <a:off x="7284396" y="1957152"/>
              <a:ext cx="421467" cy="334240"/>
              <a:chOff x="7284396" y="1957152"/>
              <a:chExt cx="421467" cy="334240"/>
            </a:xfrm>
            <a:grpFill/>
          </p:grpSpPr>
          <p:sp>
            <p:nvSpPr>
              <p:cNvPr id="4979" name="Vrije vorm: vorm 4978">
                <a:extLst>
                  <a:ext uri="{FF2B5EF4-FFF2-40B4-BE49-F238E27FC236}">
                    <a16:creationId xmlns:a16="http://schemas.microsoft.com/office/drawing/2014/main" id="{352A8F70-832F-44BA-9F16-6DEE255530F6}"/>
                  </a:ext>
                </a:extLst>
              </p:cNvPr>
              <p:cNvSpPr/>
              <p:nvPr/>
            </p:nvSpPr>
            <p:spPr>
              <a:xfrm>
                <a:off x="7292254" y="1964887"/>
                <a:ext cx="405732" cy="318772"/>
              </a:xfrm>
              <a:custGeom>
                <a:avLst/>
                <a:gdLst>
                  <a:gd name="connsiteX0" fmla="*/ 405733 w 405732"/>
                  <a:gd name="connsiteY0" fmla="*/ 2392 h 318772"/>
                  <a:gd name="connsiteX1" fmla="*/ 1854 w 405732"/>
                  <a:gd name="connsiteY1" fmla="*/ 318772 h 318772"/>
                  <a:gd name="connsiteX2" fmla="*/ 0 w 405732"/>
                  <a:gd name="connsiteY2" fmla="*/ 316320 h 318772"/>
                  <a:gd name="connsiteX3" fmla="*/ 403819 w 405732"/>
                  <a:gd name="connsiteY3" fmla="*/ 0 h 318772"/>
                </a:gdLst>
                <a:ahLst/>
                <a:cxnLst>
                  <a:cxn ang="0">
                    <a:pos x="connsiteX0" y="connsiteY0"/>
                  </a:cxn>
                  <a:cxn ang="0">
                    <a:pos x="connsiteX1" y="connsiteY1"/>
                  </a:cxn>
                  <a:cxn ang="0">
                    <a:pos x="connsiteX2" y="connsiteY2"/>
                  </a:cxn>
                  <a:cxn ang="0">
                    <a:pos x="connsiteX3" y="connsiteY3"/>
                  </a:cxn>
                </a:cxnLst>
                <a:rect l="l" t="t" r="r" b="b"/>
                <a:pathLst>
                  <a:path w="405732" h="318772">
                    <a:moveTo>
                      <a:pt x="405733" y="2392"/>
                    </a:moveTo>
                    <a:lnTo>
                      <a:pt x="1854" y="318772"/>
                    </a:lnTo>
                    <a:lnTo>
                      <a:pt x="0" y="316320"/>
                    </a:lnTo>
                    <a:lnTo>
                      <a:pt x="403819" y="0"/>
                    </a:lnTo>
                    <a:close/>
                  </a:path>
                </a:pathLst>
              </a:custGeom>
              <a:grpFill/>
              <a:ln w="5978" cap="flat">
                <a:noFill/>
                <a:prstDash val="solid"/>
                <a:miter/>
              </a:ln>
            </p:spPr>
            <p:txBody>
              <a:bodyPr rtlCol="0" anchor="ctr"/>
              <a:lstStyle/>
              <a:p>
                <a:endParaRPr lang="en-GB"/>
              </a:p>
            </p:txBody>
          </p:sp>
          <p:sp>
            <p:nvSpPr>
              <p:cNvPr id="4980" name="Vrije vorm: vorm 4979">
                <a:extLst>
                  <a:ext uri="{FF2B5EF4-FFF2-40B4-BE49-F238E27FC236}">
                    <a16:creationId xmlns:a16="http://schemas.microsoft.com/office/drawing/2014/main" id="{701017F6-09AE-41CC-9DB1-3044A6151710}"/>
                  </a:ext>
                </a:extLst>
              </p:cNvPr>
              <p:cNvSpPr/>
              <p:nvPr/>
            </p:nvSpPr>
            <p:spPr>
              <a:xfrm>
                <a:off x="7284396" y="2272994"/>
                <a:ext cx="18306" cy="18398"/>
              </a:xfrm>
              <a:custGeom>
                <a:avLst/>
                <a:gdLst>
                  <a:gd name="connsiteX0" fmla="*/ 14796 w 18306"/>
                  <a:gd name="connsiteY0" fmla="*/ 16466 h 18398"/>
                  <a:gd name="connsiteX1" fmla="*/ 1937 w 18306"/>
                  <a:gd name="connsiteY1" fmla="*/ 14851 h 18398"/>
                  <a:gd name="connsiteX2" fmla="*/ 3492 w 18306"/>
                  <a:gd name="connsiteY2" fmla="*/ 1933 h 18398"/>
                  <a:gd name="connsiteX3" fmla="*/ 16351 w 18306"/>
                  <a:gd name="connsiteY3" fmla="*/ 3548 h 18398"/>
                  <a:gd name="connsiteX4" fmla="*/ 14796 w 18306"/>
                  <a:gd name="connsiteY4" fmla="*/ 16466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8">
                    <a:moveTo>
                      <a:pt x="14796" y="16466"/>
                    </a:moveTo>
                    <a:cubicBezTo>
                      <a:pt x="10789" y="19576"/>
                      <a:pt x="5047" y="18858"/>
                      <a:pt x="1937" y="14851"/>
                    </a:cubicBezTo>
                    <a:cubicBezTo>
                      <a:pt x="-1173" y="10844"/>
                      <a:pt x="-455" y="5043"/>
                      <a:pt x="3492" y="1933"/>
                    </a:cubicBezTo>
                    <a:cubicBezTo>
                      <a:pt x="7500" y="-1177"/>
                      <a:pt x="13241" y="-459"/>
                      <a:pt x="16351" y="3548"/>
                    </a:cubicBezTo>
                    <a:cubicBezTo>
                      <a:pt x="19461" y="7555"/>
                      <a:pt x="18803" y="13296"/>
                      <a:pt x="14796" y="16466"/>
                    </a:cubicBezTo>
                    <a:close/>
                  </a:path>
                </a:pathLst>
              </a:custGeom>
              <a:grpFill/>
              <a:ln w="5978" cap="flat">
                <a:noFill/>
                <a:prstDash val="solid"/>
                <a:miter/>
              </a:ln>
            </p:spPr>
            <p:txBody>
              <a:bodyPr rtlCol="0" anchor="ctr"/>
              <a:lstStyle/>
              <a:p>
                <a:endParaRPr lang="en-GB"/>
              </a:p>
            </p:txBody>
          </p:sp>
          <p:sp>
            <p:nvSpPr>
              <p:cNvPr id="4981" name="Vrije vorm: vorm 4980">
                <a:extLst>
                  <a:ext uri="{FF2B5EF4-FFF2-40B4-BE49-F238E27FC236}">
                    <a16:creationId xmlns:a16="http://schemas.microsoft.com/office/drawing/2014/main" id="{491B69DD-5839-4F0B-900E-95167EAEEC08}"/>
                  </a:ext>
                </a:extLst>
              </p:cNvPr>
              <p:cNvSpPr/>
              <p:nvPr/>
            </p:nvSpPr>
            <p:spPr>
              <a:xfrm>
                <a:off x="7687538" y="1957152"/>
                <a:ext cx="18324" cy="18398"/>
              </a:xfrm>
              <a:custGeom>
                <a:avLst/>
                <a:gdLst>
                  <a:gd name="connsiteX0" fmla="*/ 14815 w 18324"/>
                  <a:gd name="connsiteY0" fmla="*/ 16466 h 18398"/>
                  <a:gd name="connsiteX1" fmla="*/ 16370 w 18324"/>
                  <a:gd name="connsiteY1" fmla="*/ 3548 h 18398"/>
                  <a:gd name="connsiteX2" fmla="*/ 3511 w 18324"/>
                  <a:gd name="connsiteY2" fmla="*/ 1933 h 18398"/>
                  <a:gd name="connsiteX3" fmla="*/ 1956 w 18324"/>
                  <a:gd name="connsiteY3" fmla="*/ 14851 h 18398"/>
                  <a:gd name="connsiteX4" fmla="*/ 14815 w 18324"/>
                  <a:gd name="connsiteY4" fmla="*/ 16466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8">
                    <a:moveTo>
                      <a:pt x="14815" y="16466"/>
                    </a:moveTo>
                    <a:cubicBezTo>
                      <a:pt x="18821" y="13356"/>
                      <a:pt x="19479" y="7555"/>
                      <a:pt x="16370" y="3548"/>
                    </a:cubicBezTo>
                    <a:cubicBezTo>
                      <a:pt x="13259" y="-459"/>
                      <a:pt x="7517" y="-1177"/>
                      <a:pt x="3511" y="1933"/>
                    </a:cubicBezTo>
                    <a:cubicBezTo>
                      <a:pt x="-496" y="5043"/>
                      <a:pt x="-1154" y="10844"/>
                      <a:pt x="1956" y="14851"/>
                    </a:cubicBezTo>
                    <a:cubicBezTo>
                      <a:pt x="5066" y="18858"/>
                      <a:pt x="10807" y="19576"/>
                      <a:pt x="14815" y="16466"/>
                    </a:cubicBezTo>
                    <a:close/>
                  </a:path>
                </a:pathLst>
              </a:custGeom>
              <a:grpFill/>
              <a:ln w="5978" cap="flat">
                <a:noFill/>
                <a:prstDash val="solid"/>
                <a:miter/>
              </a:ln>
            </p:spPr>
            <p:txBody>
              <a:bodyPr rtlCol="0" anchor="ctr"/>
              <a:lstStyle/>
              <a:p>
                <a:endParaRPr lang="en-GB"/>
              </a:p>
            </p:txBody>
          </p:sp>
        </p:grpSp>
        <p:grpSp>
          <p:nvGrpSpPr>
            <p:cNvPr id="134" name="Graphic 3">
              <a:extLst>
                <a:ext uri="{FF2B5EF4-FFF2-40B4-BE49-F238E27FC236}">
                  <a16:creationId xmlns:a16="http://schemas.microsoft.com/office/drawing/2014/main" id="{76691E1C-E23D-426C-BB60-8FA2E5B06DB5}"/>
                </a:ext>
              </a:extLst>
            </p:cNvPr>
            <p:cNvGrpSpPr/>
            <p:nvPr/>
          </p:nvGrpSpPr>
          <p:grpSpPr>
            <a:xfrm>
              <a:off x="7559713" y="2386026"/>
              <a:ext cx="86343" cy="62337"/>
              <a:chOff x="7559713" y="2386026"/>
              <a:chExt cx="86343" cy="62337"/>
            </a:xfrm>
            <a:grpFill/>
          </p:grpSpPr>
          <p:sp>
            <p:nvSpPr>
              <p:cNvPr id="4976" name="Vrije vorm: vorm 4975">
                <a:extLst>
                  <a:ext uri="{FF2B5EF4-FFF2-40B4-BE49-F238E27FC236}">
                    <a16:creationId xmlns:a16="http://schemas.microsoft.com/office/drawing/2014/main" id="{CEEB67EF-FF3F-466B-9039-937816C274D4}"/>
                  </a:ext>
                </a:extLst>
              </p:cNvPr>
              <p:cNvSpPr/>
              <p:nvPr/>
            </p:nvSpPr>
            <p:spPr>
              <a:xfrm>
                <a:off x="7567666" y="2393704"/>
                <a:ext cx="70453" cy="46948"/>
              </a:xfrm>
              <a:custGeom>
                <a:avLst/>
                <a:gdLst>
                  <a:gd name="connsiteX0" fmla="*/ 70453 w 70453"/>
                  <a:gd name="connsiteY0" fmla="*/ 2572 h 46948"/>
                  <a:gd name="connsiteX1" fmla="*/ 1675 w 70453"/>
                  <a:gd name="connsiteY1" fmla="*/ 46949 h 46948"/>
                  <a:gd name="connsiteX2" fmla="*/ 0 w 70453"/>
                  <a:gd name="connsiteY2" fmla="*/ 44377 h 46948"/>
                  <a:gd name="connsiteX3" fmla="*/ 68778 w 70453"/>
                  <a:gd name="connsiteY3" fmla="*/ 0 h 46948"/>
                </a:gdLst>
                <a:ahLst/>
                <a:cxnLst>
                  <a:cxn ang="0">
                    <a:pos x="connsiteX0" y="connsiteY0"/>
                  </a:cxn>
                  <a:cxn ang="0">
                    <a:pos x="connsiteX1" y="connsiteY1"/>
                  </a:cxn>
                  <a:cxn ang="0">
                    <a:pos x="connsiteX2" y="connsiteY2"/>
                  </a:cxn>
                  <a:cxn ang="0">
                    <a:pos x="connsiteX3" y="connsiteY3"/>
                  </a:cxn>
                </a:cxnLst>
                <a:rect l="l" t="t" r="r" b="b"/>
                <a:pathLst>
                  <a:path w="70453" h="46948">
                    <a:moveTo>
                      <a:pt x="70453" y="2572"/>
                    </a:moveTo>
                    <a:lnTo>
                      <a:pt x="1675" y="46949"/>
                    </a:lnTo>
                    <a:lnTo>
                      <a:pt x="0" y="44377"/>
                    </a:lnTo>
                    <a:lnTo>
                      <a:pt x="68778" y="0"/>
                    </a:lnTo>
                    <a:close/>
                  </a:path>
                </a:pathLst>
              </a:custGeom>
              <a:grpFill/>
              <a:ln w="5978" cap="flat">
                <a:noFill/>
                <a:prstDash val="solid"/>
                <a:miter/>
              </a:ln>
            </p:spPr>
            <p:txBody>
              <a:bodyPr rtlCol="0" anchor="ctr"/>
              <a:lstStyle/>
              <a:p>
                <a:endParaRPr lang="en-GB"/>
              </a:p>
            </p:txBody>
          </p:sp>
          <p:sp>
            <p:nvSpPr>
              <p:cNvPr id="4977" name="Vrije vorm: vorm 4976">
                <a:extLst>
                  <a:ext uri="{FF2B5EF4-FFF2-40B4-BE49-F238E27FC236}">
                    <a16:creationId xmlns:a16="http://schemas.microsoft.com/office/drawing/2014/main" id="{594982F3-E9F7-429C-921D-B74E0BA2F8CC}"/>
                  </a:ext>
                </a:extLst>
              </p:cNvPr>
              <p:cNvSpPr/>
              <p:nvPr/>
            </p:nvSpPr>
            <p:spPr>
              <a:xfrm>
                <a:off x="7627729" y="2386026"/>
                <a:ext cx="18327" cy="18465"/>
              </a:xfrm>
              <a:custGeom>
                <a:avLst/>
                <a:gdLst>
                  <a:gd name="connsiteX0" fmla="*/ 4170 w 18327"/>
                  <a:gd name="connsiteY0" fmla="*/ 1458 h 18465"/>
                  <a:gd name="connsiteX1" fmla="*/ 16849 w 18327"/>
                  <a:gd name="connsiteY1" fmla="*/ 4269 h 18465"/>
                  <a:gd name="connsiteX2" fmla="*/ 14158 w 18327"/>
                  <a:gd name="connsiteY2" fmla="*/ 17008 h 18465"/>
                  <a:gd name="connsiteX3" fmla="*/ 1479 w 18327"/>
                  <a:gd name="connsiteY3" fmla="*/ 14197 h 18465"/>
                  <a:gd name="connsiteX4" fmla="*/ 4170 w 18327"/>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5">
                    <a:moveTo>
                      <a:pt x="4170" y="1458"/>
                    </a:moveTo>
                    <a:cubicBezTo>
                      <a:pt x="8416" y="-1293"/>
                      <a:pt x="14098" y="-37"/>
                      <a:pt x="16849" y="4269"/>
                    </a:cubicBezTo>
                    <a:cubicBezTo>
                      <a:pt x="19600" y="8575"/>
                      <a:pt x="18404" y="14257"/>
                      <a:pt x="14158" y="17008"/>
                    </a:cubicBezTo>
                    <a:cubicBezTo>
                      <a:pt x="9911" y="19759"/>
                      <a:pt x="4230" y="18503"/>
                      <a:pt x="1479" y="14197"/>
                    </a:cubicBezTo>
                    <a:cubicBezTo>
                      <a:pt x="-1273" y="9891"/>
                      <a:pt x="-76" y="4209"/>
                      <a:pt x="4170" y="1458"/>
                    </a:cubicBezTo>
                    <a:close/>
                  </a:path>
                </a:pathLst>
              </a:custGeom>
              <a:grpFill/>
              <a:ln w="5978" cap="flat">
                <a:noFill/>
                <a:prstDash val="solid"/>
                <a:miter/>
              </a:ln>
            </p:spPr>
            <p:txBody>
              <a:bodyPr rtlCol="0" anchor="ctr"/>
              <a:lstStyle/>
              <a:p>
                <a:endParaRPr lang="en-GB"/>
              </a:p>
            </p:txBody>
          </p:sp>
          <p:sp>
            <p:nvSpPr>
              <p:cNvPr id="4978" name="Vrije vorm: vorm 4977">
                <a:extLst>
                  <a:ext uri="{FF2B5EF4-FFF2-40B4-BE49-F238E27FC236}">
                    <a16:creationId xmlns:a16="http://schemas.microsoft.com/office/drawing/2014/main" id="{E4C78D39-F724-48E5-9E76-C91DCC05198D}"/>
                  </a:ext>
                </a:extLst>
              </p:cNvPr>
              <p:cNvSpPr/>
              <p:nvPr/>
            </p:nvSpPr>
            <p:spPr>
              <a:xfrm>
                <a:off x="7559713" y="2429925"/>
                <a:ext cx="18298" cy="18439"/>
              </a:xfrm>
              <a:custGeom>
                <a:avLst/>
                <a:gdLst>
                  <a:gd name="connsiteX0" fmla="*/ 4185 w 18298"/>
                  <a:gd name="connsiteY0" fmla="*/ 1458 h 18439"/>
                  <a:gd name="connsiteX1" fmla="*/ 1434 w 18298"/>
                  <a:gd name="connsiteY1" fmla="*/ 14197 h 18439"/>
                  <a:gd name="connsiteX2" fmla="*/ 14114 w 18298"/>
                  <a:gd name="connsiteY2" fmla="*/ 17008 h 18439"/>
                  <a:gd name="connsiteX3" fmla="*/ 16864 w 18298"/>
                  <a:gd name="connsiteY3" fmla="*/ 4269 h 18439"/>
                  <a:gd name="connsiteX4" fmla="*/ 4185 w 18298"/>
                  <a:gd name="connsiteY4" fmla="*/ 1458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9">
                    <a:moveTo>
                      <a:pt x="4185" y="1458"/>
                    </a:moveTo>
                    <a:cubicBezTo>
                      <a:pt x="-61" y="4209"/>
                      <a:pt x="-1257" y="9891"/>
                      <a:pt x="1434" y="14197"/>
                    </a:cubicBezTo>
                    <a:cubicBezTo>
                      <a:pt x="4185" y="18503"/>
                      <a:pt x="9867" y="19699"/>
                      <a:pt x="14114" y="17008"/>
                    </a:cubicBezTo>
                    <a:cubicBezTo>
                      <a:pt x="18360" y="14257"/>
                      <a:pt x="19555" y="8575"/>
                      <a:pt x="16864" y="4269"/>
                    </a:cubicBezTo>
                    <a:cubicBezTo>
                      <a:pt x="14173" y="-37"/>
                      <a:pt x="8431" y="-1293"/>
                      <a:pt x="4185" y="1458"/>
                    </a:cubicBezTo>
                    <a:close/>
                  </a:path>
                </a:pathLst>
              </a:custGeom>
              <a:grpFill/>
              <a:ln w="5978" cap="flat">
                <a:noFill/>
                <a:prstDash val="solid"/>
                <a:miter/>
              </a:ln>
            </p:spPr>
            <p:txBody>
              <a:bodyPr rtlCol="0" anchor="ctr"/>
              <a:lstStyle/>
              <a:p>
                <a:endParaRPr lang="en-GB"/>
              </a:p>
            </p:txBody>
          </p:sp>
        </p:grpSp>
        <p:grpSp>
          <p:nvGrpSpPr>
            <p:cNvPr id="135" name="Graphic 3">
              <a:extLst>
                <a:ext uri="{FF2B5EF4-FFF2-40B4-BE49-F238E27FC236}">
                  <a16:creationId xmlns:a16="http://schemas.microsoft.com/office/drawing/2014/main" id="{C44BD06D-BFAE-41D3-9CB9-F5DDBC909A4A}"/>
                </a:ext>
              </a:extLst>
            </p:cNvPr>
            <p:cNvGrpSpPr/>
            <p:nvPr/>
          </p:nvGrpSpPr>
          <p:grpSpPr>
            <a:xfrm>
              <a:off x="7337625" y="2042872"/>
              <a:ext cx="392979" cy="285900"/>
              <a:chOff x="7337625" y="2042872"/>
              <a:chExt cx="392979" cy="285900"/>
            </a:xfrm>
            <a:grpFill/>
          </p:grpSpPr>
          <p:sp>
            <p:nvSpPr>
              <p:cNvPr id="4973" name="Vrije vorm: vorm 4972">
                <a:extLst>
                  <a:ext uri="{FF2B5EF4-FFF2-40B4-BE49-F238E27FC236}">
                    <a16:creationId xmlns:a16="http://schemas.microsoft.com/office/drawing/2014/main" id="{10009E1C-CECE-4C4C-926B-64C2C8778156}"/>
                  </a:ext>
                </a:extLst>
              </p:cNvPr>
              <p:cNvSpPr/>
              <p:nvPr/>
            </p:nvSpPr>
            <p:spPr>
              <a:xfrm>
                <a:off x="7345482" y="2050590"/>
                <a:ext cx="377204" cy="270508"/>
              </a:xfrm>
              <a:custGeom>
                <a:avLst/>
                <a:gdLst>
                  <a:gd name="connsiteX0" fmla="*/ 377205 w 377204"/>
                  <a:gd name="connsiteY0" fmla="*/ 2452 h 270508"/>
                  <a:gd name="connsiteX1" fmla="*/ 1795 w 377204"/>
                  <a:gd name="connsiteY1" fmla="*/ 270508 h 270508"/>
                  <a:gd name="connsiteX2" fmla="*/ 0 w 377204"/>
                  <a:gd name="connsiteY2" fmla="*/ 267996 h 270508"/>
                  <a:gd name="connsiteX3" fmla="*/ 375410 w 377204"/>
                  <a:gd name="connsiteY3" fmla="*/ 0 h 270508"/>
                </a:gdLst>
                <a:ahLst/>
                <a:cxnLst>
                  <a:cxn ang="0">
                    <a:pos x="connsiteX0" y="connsiteY0"/>
                  </a:cxn>
                  <a:cxn ang="0">
                    <a:pos x="connsiteX1" y="connsiteY1"/>
                  </a:cxn>
                  <a:cxn ang="0">
                    <a:pos x="connsiteX2" y="connsiteY2"/>
                  </a:cxn>
                  <a:cxn ang="0">
                    <a:pos x="connsiteX3" y="connsiteY3"/>
                  </a:cxn>
                </a:cxnLst>
                <a:rect l="l" t="t" r="r" b="b"/>
                <a:pathLst>
                  <a:path w="377204" h="270508">
                    <a:moveTo>
                      <a:pt x="377205" y="2452"/>
                    </a:moveTo>
                    <a:lnTo>
                      <a:pt x="1795" y="270508"/>
                    </a:lnTo>
                    <a:lnTo>
                      <a:pt x="0" y="267996"/>
                    </a:lnTo>
                    <a:lnTo>
                      <a:pt x="375410" y="0"/>
                    </a:lnTo>
                    <a:close/>
                  </a:path>
                </a:pathLst>
              </a:custGeom>
              <a:grpFill/>
              <a:ln w="5978" cap="flat">
                <a:noFill/>
                <a:prstDash val="solid"/>
                <a:miter/>
              </a:ln>
            </p:spPr>
            <p:txBody>
              <a:bodyPr rtlCol="0" anchor="ctr"/>
              <a:lstStyle/>
              <a:p>
                <a:endParaRPr lang="en-GB"/>
              </a:p>
            </p:txBody>
          </p:sp>
          <p:sp>
            <p:nvSpPr>
              <p:cNvPr id="4974" name="Vrije vorm: vorm 4973">
                <a:extLst>
                  <a:ext uri="{FF2B5EF4-FFF2-40B4-BE49-F238E27FC236}">
                    <a16:creationId xmlns:a16="http://schemas.microsoft.com/office/drawing/2014/main" id="{24E55482-AB91-452F-98A9-E79E59AEE7BA}"/>
                  </a:ext>
                </a:extLst>
              </p:cNvPr>
              <p:cNvSpPr/>
              <p:nvPr/>
            </p:nvSpPr>
            <p:spPr>
              <a:xfrm>
                <a:off x="7337625" y="2310314"/>
                <a:ext cx="18304" cy="18459"/>
              </a:xfrm>
              <a:custGeom>
                <a:avLst/>
                <a:gdLst>
                  <a:gd name="connsiteX0" fmla="*/ 14496 w 18304"/>
                  <a:gd name="connsiteY0" fmla="*/ 16765 h 18459"/>
                  <a:gd name="connsiteX1" fmla="*/ 1697 w 18304"/>
                  <a:gd name="connsiteY1" fmla="*/ 14552 h 18459"/>
                  <a:gd name="connsiteX2" fmla="*/ 3850 w 18304"/>
                  <a:gd name="connsiteY2" fmla="*/ 1694 h 18459"/>
                  <a:gd name="connsiteX3" fmla="*/ 16649 w 18304"/>
                  <a:gd name="connsiteY3" fmla="*/ 3907 h 18459"/>
                  <a:gd name="connsiteX4" fmla="*/ 14496 w 18304"/>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9">
                    <a:moveTo>
                      <a:pt x="14496" y="16765"/>
                    </a:moveTo>
                    <a:cubicBezTo>
                      <a:pt x="10370" y="19696"/>
                      <a:pt x="4628" y="18739"/>
                      <a:pt x="1697" y="14552"/>
                    </a:cubicBezTo>
                    <a:cubicBezTo>
                      <a:pt x="-1233" y="10426"/>
                      <a:pt x="-276" y="4625"/>
                      <a:pt x="3850" y="1694"/>
                    </a:cubicBezTo>
                    <a:cubicBezTo>
                      <a:pt x="7977" y="-1237"/>
                      <a:pt x="13719" y="-280"/>
                      <a:pt x="16649" y="3907"/>
                    </a:cubicBezTo>
                    <a:cubicBezTo>
                      <a:pt x="19520" y="8093"/>
                      <a:pt x="18563" y="13835"/>
                      <a:pt x="14496" y="16765"/>
                    </a:cubicBezTo>
                    <a:close/>
                  </a:path>
                </a:pathLst>
              </a:custGeom>
              <a:grpFill/>
              <a:ln w="5978" cap="flat">
                <a:noFill/>
                <a:prstDash val="solid"/>
                <a:miter/>
              </a:ln>
            </p:spPr>
            <p:txBody>
              <a:bodyPr rtlCol="0" anchor="ctr"/>
              <a:lstStyle/>
              <a:p>
                <a:endParaRPr lang="en-GB"/>
              </a:p>
            </p:txBody>
          </p:sp>
          <p:sp>
            <p:nvSpPr>
              <p:cNvPr id="4975" name="Vrije vorm: vorm 4974">
                <a:extLst>
                  <a:ext uri="{FF2B5EF4-FFF2-40B4-BE49-F238E27FC236}">
                    <a16:creationId xmlns:a16="http://schemas.microsoft.com/office/drawing/2014/main" id="{0D0E3D93-4340-41B4-8B3A-E51481F66953}"/>
                  </a:ext>
                </a:extLst>
              </p:cNvPr>
              <p:cNvSpPr/>
              <p:nvPr/>
            </p:nvSpPr>
            <p:spPr>
              <a:xfrm>
                <a:off x="7712257" y="2042872"/>
                <a:ext cx="18346" cy="18426"/>
              </a:xfrm>
              <a:custGeom>
                <a:avLst/>
                <a:gdLst>
                  <a:gd name="connsiteX0" fmla="*/ 14496 w 18346"/>
                  <a:gd name="connsiteY0" fmla="*/ 16749 h 18426"/>
                  <a:gd name="connsiteX1" fmla="*/ 16649 w 18346"/>
                  <a:gd name="connsiteY1" fmla="*/ 3890 h 18426"/>
                  <a:gd name="connsiteX2" fmla="*/ 3850 w 18346"/>
                  <a:gd name="connsiteY2" fmla="*/ 1677 h 18426"/>
                  <a:gd name="connsiteX3" fmla="*/ 1697 w 18346"/>
                  <a:gd name="connsiteY3" fmla="*/ 14536 h 18426"/>
                  <a:gd name="connsiteX4" fmla="*/ 14496 w 18346"/>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6">
                    <a:moveTo>
                      <a:pt x="14496" y="16749"/>
                    </a:moveTo>
                    <a:cubicBezTo>
                      <a:pt x="18623" y="13818"/>
                      <a:pt x="19580" y="8077"/>
                      <a:pt x="16649" y="3890"/>
                    </a:cubicBezTo>
                    <a:cubicBezTo>
                      <a:pt x="13719" y="-236"/>
                      <a:pt x="7977" y="-1253"/>
                      <a:pt x="3850" y="1677"/>
                    </a:cubicBezTo>
                    <a:cubicBezTo>
                      <a:pt x="-276" y="4608"/>
                      <a:pt x="-1233" y="10349"/>
                      <a:pt x="1697" y="14536"/>
                    </a:cubicBezTo>
                    <a:cubicBezTo>
                      <a:pt x="4628" y="18663"/>
                      <a:pt x="10370" y="19679"/>
                      <a:pt x="14496" y="16749"/>
                    </a:cubicBezTo>
                    <a:close/>
                  </a:path>
                </a:pathLst>
              </a:custGeom>
              <a:grpFill/>
              <a:ln w="5978" cap="flat">
                <a:noFill/>
                <a:prstDash val="solid"/>
                <a:miter/>
              </a:ln>
            </p:spPr>
            <p:txBody>
              <a:bodyPr rtlCol="0" anchor="ctr"/>
              <a:lstStyle/>
              <a:p>
                <a:endParaRPr lang="en-GB"/>
              </a:p>
            </p:txBody>
          </p:sp>
        </p:grpSp>
        <p:grpSp>
          <p:nvGrpSpPr>
            <p:cNvPr id="136" name="Graphic 3">
              <a:extLst>
                <a:ext uri="{FF2B5EF4-FFF2-40B4-BE49-F238E27FC236}">
                  <a16:creationId xmlns:a16="http://schemas.microsoft.com/office/drawing/2014/main" id="{6025FC2E-0BA5-4EF2-8E7E-9ECC234B3243}"/>
                </a:ext>
              </a:extLst>
            </p:cNvPr>
            <p:cNvGrpSpPr/>
            <p:nvPr/>
          </p:nvGrpSpPr>
          <p:grpSpPr>
            <a:xfrm>
              <a:off x="7738654" y="3385427"/>
              <a:ext cx="411475" cy="22668"/>
              <a:chOff x="7738654" y="3385427"/>
              <a:chExt cx="411475" cy="22668"/>
            </a:xfrm>
            <a:grpFill/>
          </p:grpSpPr>
          <p:sp>
            <p:nvSpPr>
              <p:cNvPr id="4970" name="Vrije vorm: vorm 4969">
                <a:extLst>
                  <a:ext uri="{FF2B5EF4-FFF2-40B4-BE49-F238E27FC236}">
                    <a16:creationId xmlns:a16="http://schemas.microsoft.com/office/drawing/2014/main" id="{56B17517-5FF1-4FB0-9835-97DEDD0AD903}"/>
                  </a:ext>
                </a:extLst>
              </p:cNvPr>
              <p:cNvSpPr/>
              <p:nvPr/>
            </p:nvSpPr>
            <p:spPr>
              <a:xfrm>
                <a:off x="7747327" y="3393143"/>
                <a:ext cx="394129" cy="7296"/>
              </a:xfrm>
              <a:custGeom>
                <a:avLst/>
                <a:gdLst>
                  <a:gd name="connsiteX0" fmla="*/ 394129 w 394129"/>
                  <a:gd name="connsiteY0" fmla="*/ 0 h 7296"/>
                  <a:gd name="connsiteX1" fmla="*/ 394129 w 394129"/>
                  <a:gd name="connsiteY1" fmla="*/ 3050 h 7296"/>
                  <a:gd name="connsiteX2" fmla="*/ 59 w 394129"/>
                  <a:gd name="connsiteY2" fmla="*/ 7296 h 7296"/>
                  <a:gd name="connsiteX3" fmla="*/ 0 w 394129"/>
                  <a:gd name="connsiteY3" fmla="*/ 4186 h 7296"/>
                </a:gdLst>
                <a:ahLst/>
                <a:cxnLst>
                  <a:cxn ang="0">
                    <a:pos x="connsiteX0" y="connsiteY0"/>
                  </a:cxn>
                  <a:cxn ang="0">
                    <a:pos x="connsiteX1" y="connsiteY1"/>
                  </a:cxn>
                  <a:cxn ang="0">
                    <a:pos x="connsiteX2" y="connsiteY2"/>
                  </a:cxn>
                  <a:cxn ang="0">
                    <a:pos x="connsiteX3" y="connsiteY3"/>
                  </a:cxn>
                </a:cxnLst>
                <a:rect l="l" t="t" r="r" b="b"/>
                <a:pathLst>
                  <a:path w="394129" h="7296">
                    <a:moveTo>
                      <a:pt x="394129" y="0"/>
                    </a:moveTo>
                    <a:lnTo>
                      <a:pt x="394129" y="3050"/>
                    </a:lnTo>
                    <a:lnTo>
                      <a:pt x="59" y="7296"/>
                    </a:lnTo>
                    <a:lnTo>
                      <a:pt x="0" y="4186"/>
                    </a:lnTo>
                    <a:close/>
                  </a:path>
                </a:pathLst>
              </a:custGeom>
              <a:grpFill/>
              <a:ln w="5978" cap="flat">
                <a:noFill/>
                <a:prstDash val="solid"/>
                <a:miter/>
              </a:ln>
            </p:spPr>
            <p:txBody>
              <a:bodyPr rtlCol="0" anchor="ctr"/>
              <a:lstStyle/>
              <a:p>
                <a:endParaRPr lang="en-GB"/>
              </a:p>
            </p:txBody>
          </p:sp>
          <p:sp>
            <p:nvSpPr>
              <p:cNvPr id="4971" name="Vrije vorm: vorm 4970">
                <a:extLst>
                  <a:ext uri="{FF2B5EF4-FFF2-40B4-BE49-F238E27FC236}">
                    <a16:creationId xmlns:a16="http://schemas.microsoft.com/office/drawing/2014/main" id="{A0D8DEA9-4FD2-4293-A158-1070EFD2F9C5}"/>
                  </a:ext>
                </a:extLst>
              </p:cNvPr>
              <p:cNvSpPr/>
              <p:nvPr/>
            </p:nvSpPr>
            <p:spPr>
              <a:xfrm>
                <a:off x="8131827" y="3385427"/>
                <a:ext cx="18302" cy="18421"/>
              </a:xfrm>
              <a:custGeom>
                <a:avLst/>
                <a:gdLst>
                  <a:gd name="connsiteX0" fmla="*/ 9032 w 18302"/>
                  <a:gd name="connsiteY0" fmla="*/ 1 h 18421"/>
                  <a:gd name="connsiteX1" fmla="*/ 18302 w 18302"/>
                  <a:gd name="connsiteY1" fmla="*/ 9091 h 18421"/>
                  <a:gd name="connsiteX2" fmla="*/ 9271 w 18302"/>
                  <a:gd name="connsiteY2" fmla="*/ 18421 h 18421"/>
                  <a:gd name="connsiteX3" fmla="*/ 1 w 18302"/>
                  <a:gd name="connsiteY3" fmla="*/ 9331 h 18421"/>
                  <a:gd name="connsiteX4" fmla="*/ 9032 w 18302"/>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2" y="1"/>
                    </a:moveTo>
                    <a:cubicBezTo>
                      <a:pt x="14115" y="-59"/>
                      <a:pt x="18242" y="4008"/>
                      <a:pt x="18302" y="9091"/>
                    </a:cubicBezTo>
                    <a:cubicBezTo>
                      <a:pt x="18362" y="14175"/>
                      <a:pt x="14355" y="18362"/>
                      <a:pt x="9271" y="18421"/>
                    </a:cubicBezTo>
                    <a:cubicBezTo>
                      <a:pt x="4188" y="18481"/>
                      <a:pt x="61" y="14414"/>
                      <a:pt x="1" y="9331"/>
                    </a:cubicBezTo>
                    <a:cubicBezTo>
                      <a:pt x="-59" y="4247"/>
                      <a:pt x="3948" y="61"/>
                      <a:pt x="9032" y="1"/>
                    </a:cubicBezTo>
                    <a:close/>
                  </a:path>
                </a:pathLst>
              </a:custGeom>
              <a:grpFill/>
              <a:ln w="5978" cap="flat">
                <a:noFill/>
                <a:prstDash val="solid"/>
                <a:miter/>
              </a:ln>
            </p:spPr>
            <p:txBody>
              <a:bodyPr rtlCol="0" anchor="ctr"/>
              <a:lstStyle/>
              <a:p>
                <a:endParaRPr lang="en-GB"/>
              </a:p>
            </p:txBody>
          </p:sp>
          <p:sp>
            <p:nvSpPr>
              <p:cNvPr id="4972" name="Vrije vorm: vorm 4971">
                <a:extLst>
                  <a:ext uri="{FF2B5EF4-FFF2-40B4-BE49-F238E27FC236}">
                    <a16:creationId xmlns:a16="http://schemas.microsoft.com/office/drawing/2014/main" id="{E0EE8F17-9CB9-4622-8546-5EAF7B190F06}"/>
                  </a:ext>
                </a:extLst>
              </p:cNvPr>
              <p:cNvSpPr/>
              <p:nvPr/>
            </p:nvSpPr>
            <p:spPr>
              <a:xfrm>
                <a:off x="7738654" y="3389673"/>
                <a:ext cx="18302" cy="18422"/>
              </a:xfrm>
              <a:custGeom>
                <a:avLst/>
                <a:gdLst>
                  <a:gd name="connsiteX0" fmla="*/ 9032 w 18302"/>
                  <a:gd name="connsiteY0" fmla="*/ 1 h 18422"/>
                  <a:gd name="connsiteX1" fmla="*/ 1 w 18302"/>
                  <a:gd name="connsiteY1" fmla="*/ 9331 h 18422"/>
                  <a:gd name="connsiteX2" fmla="*/ 9271 w 18302"/>
                  <a:gd name="connsiteY2" fmla="*/ 18421 h 18422"/>
                  <a:gd name="connsiteX3" fmla="*/ 18302 w 18302"/>
                  <a:gd name="connsiteY3" fmla="*/ 9091 h 18422"/>
                  <a:gd name="connsiteX4" fmla="*/ 9032 w 18302"/>
                  <a:gd name="connsiteY4" fmla="*/ 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2">
                    <a:moveTo>
                      <a:pt x="9032" y="1"/>
                    </a:moveTo>
                    <a:cubicBezTo>
                      <a:pt x="3948" y="61"/>
                      <a:pt x="-59" y="4247"/>
                      <a:pt x="1" y="9331"/>
                    </a:cubicBezTo>
                    <a:cubicBezTo>
                      <a:pt x="61" y="14414"/>
                      <a:pt x="4247" y="18481"/>
                      <a:pt x="9271" y="18421"/>
                    </a:cubicBezTo>
                    <a:cubicBezTo>
                      <a:pt x="14355" y="18362"/>
                      <a:pt x="18362" y="14175"/>
                      <a:pt x="18302" y="9091"/>
                    </a:cubicBezTo>
                    <a:cubicBezTo>
                      <a:pt x="18242" y="4008"/>
                      <a:pt x="14115" y="-59"/>
                      <a:pt x="9032" y="1"/>
                    </a:cubicBezTo>
                    <a:close/>
                  </a:path>
                </a:pathLst>
              </a:custGeom>
              <a:grpFill/>
              <a:ln w="5978" cap="flat">
                <a:noFill/>
                <a:prstDash val="solid"/>
                <a:miter/>
              </a:ln>
            </p:spPr>
            <p:txBody>
              <a:bodyPr rtlCol="0" anchor="ctr"/>
              <a:lstStyle/>
              <a:p>
                <a:endParaRPr lang="en-GB"/>
              </a:p>
            </p:txBody>
          </p:sp>
        </p:grpSp>
        <p:grpSp>
          <p:nvGrpSpPr>
            <p:cNvPr id="137" name="Graphic 3">
              <a:extLst>
                <a:ext uri="{FF2B5EF4-FFF2-40B4-BE49-F238E27FC236}">
                  <a16:creationId xmlns:a16="http://schemas.microsoft.com/office/drawing/2014/main" id="{96A1ACCA-8DA4-4DCC-9FE7-084104CF74C4}"/>
                </a:ext>
              </a:extLst>
            </p:cNvPr>
            <p:cNvGrpSpPr/>
            <p:nvPr/>
          </p:nvGrpSpPr>
          <p:grpSpPr>
            <a:xfrm>
              <a:off x="7195332" y="1730137"/>
              <a:ext cx="502988" cy="472251"/>
              <a:chOff x="7195332" y="1730137"/>
              <a:chExt cx="502988" cy="472251"/>
            </a:xfrm>
            <a:grpFill/>
          </p:grpSpPr>
          <p:sp>
            <p:nvSpPr>
              <p:cNvPr id="4967" name="Vrije vorm: vorm 4966">
                <a:extLst>
                  <a:ext uri="{FF2B5EF4-FFF2-40B4-BE49-F238E27FC236}">
                    <a16:creationId xmlns:a16="http://schemas.microsoft.com/office/drawing/2014/main" id="{3B97F2CF-67BD-449D-8C14-F606B6F87B08}"/>
                  </a:ext>
                </a:extLst>
              </p:cNvPr>
              <p:cNvSpPr/>
              <p:nvPr/>
            </p:nvSpPr>
            <p:spPr>
              <a:xfrm>
                <a:off x="7203141" y="1737918"/>
                <a:ext cx="487369" cy="456687"/>
              </a:xfrm>
              <a:custGeom>
                <a:avLst/>
                <a:gdLst>
                  <a:gd name="connsiteX0" fmla="*/ 487370 w 487369"/>
                  <a:gd name="connsiteY0" fmla="*/ 2273 h 456687"/>
                  <a:gd name="connsiteX1" fmla="*/ 2094 w 487369"/>
                  <a:gd name="connsiteY1" fmla="*/ 456688 h 456687"/>
                  <a:gd name="connsiteX2" fmla="*/ 0 w 487369"/>
                  <a:gd name="connsiteY2" fmla="*/ 454475 h 456687"/>
                  <a:gd name="connsiteX3" fmla="*/ 485276 w 487369"/>
                  <a:gd name="connsiteY3" fmla="*/ 0 h 456687"/>
                </a:gdLst>
                <a:ahLst/>
                <a:cxnLst>
                  <a:cxn ang="0">
                    <a:pos x="connsiteX0" y="connsiteY0"/>
                  </a:cxn>
                  <a:cxn ang="0">
                    <a:pos x="connsiteX1" y="connsiteY1"/>
                  </a:cxn>
                  <a:cxn ang="0">
                    <a:pos x="connsiteX2" y="connsiteY2"/>
                  </a:cxn>
                  <a:cxn ang="0">
                    <a:pos x="connsiteX3" y="connsiteY3"/>
                  </a:cxn>
                </a:cxnLst>
                <a:rect l="l" t="t" r="r" b="b"/>
                <a:pathLst>
                  <a:path w="487369" h="456687">
                    <a:moveTo>
                      <a:pt x="487370" y="2273"/>
                    </a:moveTo>
                    <a:lnTo>
                      <a:pt x="2094" y="456688"/>
                    </a:lnTo>
                    <a:lnTo>
                      <a:pt x="0" y="454475"/>
                    </a:lnTo>
                    <a:lnTo>
                      <a:pt x="485276" y="0"/>
                    </a:lnTo>
                    <a:close/>
                  </a:path>
                </a:pathLst>
              </a:custGeom>
              <a:grpFill/>
              <a:ln w="5978" cap="flat">
                <a:noFill/>
                <a:prstDash val="solid"/>
                <a:miter/>
              </a:ln>
            </p:spPr>
            <p:txBody>
              <a:bodyPr rtlCol="0" anchor="ctr"/>
              <a:lstStyle/>
              <a:p>
                <a:endParaRPr lang="en-GB"/>
              </a:p>
            </p:txBody>
          </p:sp>
          <p:sp>
            <p:nvSpPr>
              <p:cNvPr id="4968" name="Vrije vorm: vorm 4967">
                <a:extLst>
                  <a:ext uri="{FF2B5EF4-FFF2-40B4-BE49-F238E27FC236}">
                    <a16:creationId xmlns:a16="http://schemas.microsoft.com/office/drawing/2014/main" id="{82FF5E50-8DFF-4639-8262-3D5B58116D12}"/>
                  </a:ext>
                </a:extLst>
              </p:cNvPr>
              <p:cNvSpPr/>
              <p:nvPr/>
            </p:nvSpPr>
            <p:spPr>
              <a:xfrm>
                <a:off x="7195332" y="2183954"/>
                <a:ext cx="18370" cy="18434"/>
              </a:xfrm>
              <a:custGeom>
                <a:avLst/>
                <a:gdLst>
                  <a:gd name="connsiteX0" fmla="*/ 15465 w 18370"/>
                  <a:gd name="connsiteY0" fmla="*/ 15975 h 18434"/>
                  <a:gd name="connsiteX1" fmla="*/ 2487 w 18370"/>
                  <a:gd name="connsiteY1" fmla="*/ 15497 h 18434"/>
                  <a:gd name="connsiteX2" fmla="*/ 2905 w 18370"/>
                  <a:gd name="connsiteY2" fmla="*/ 2459 h 18434"/>
                  <a:gd name="connsiteX3" fmla="*/ 15884 w 18370"/>
                  <a:gd name="connsiteY3" fmla="*/ 2937 h 18434"/>
                  <a:gd name="connsiteX4" fmla="*/ 15465 w 18370"/>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4">
                    <a:moveTo>
                      <a:pt x="15465" y="15975"/>
                    </a:moveTo>
                    <a:cubicBezTo>
                      <a:pt x="11757" y="19444"/>
                      <a:pt x="5956" y="19205"/>
                      <a:pt x="2487" y="15497"/>
                    </a:cubicBezTo>
                    <a:cubicBezTo>
                      <a:pt x="-982" y="11789"/>
                      <a:pt x="-803" y="5928"/>
                      <a:pt x="2905" y="2459"/>
                    </a:cubicBezTo>
                    <a:cubicBezTo>
                      <a:pt x="6613" y="-1010"/>
                      <a:pt x="12414" y="-771"/>
                      <a:pt x="15884" y="2937"/>
                    </a:cubicBezTo>
                    <a:cubicBezTo>
                      <a:pt x="19352" y="6705"/>
                      <a:pt x="19173" y="12506"/>
                      <a:pt x="15465" y="15975"/>
                    </a:cubicBezTo>
                    <a:close/>
                  </a:path>
                </a:pathLst>
              </a:custGeom>
              <a:grpFill/>
              <a:ln w="5978" cap="flat">
                <a:noFill/>
                <a:prstDash val="solid"/>
                <a:miter/>
              </a:ln>
            </p:spPr>
            <p:txBody>
              <a:bodyPr rtlCol="0" anchor="ctr"/>
              <a:lstStyle/>
              <a:p>
                <a:endParaRPr lang="en-GB"/>
              </a:p>
            </p:txBody>
          </p:sp>
          <p:sp>
            <p:nvSpPr>
              <p:cNvPr id="4969" name="Vrije vorm: vorm 4968">
                <a:extLst>
                  <a:ext uri="{FF2B5EF4-FFF2-40B4-BE49-F238E27FC236}">
                    <a16:creationId xmlns:a16="http://schemas.microsoft.com/office/drawing/2014/main" id="{0ABAFCA1-E0BA-429B-A6C5-1E626F4E2C5B}"/>
                  </a:ext>
                </a:extLst>
              </p:cNvPr>
              <p:cNvSpPr/>
              <p:nvPr/>
            </p:nvSpPr>
            <p:spPr>
              <a:xfrm>
                <a:off x="7679950" y="1730137"/>
                <a:ext cx="18370" cy="18434"/>
              </a:xfrm>
              <a:custGeom>
                <a:avLst/>
                <a:gdLst>
                  <a:gd name="connsiteX0" fmla="*/ 15465 w 18370"/>
                  <a:gd name="connsiteY0" fmla="*/ 15975 h 18434"/>
                  <a:gd name="connsiteX1" fmla="*/ 15883 w 18370"/>
                  <a:gd name="connsiteY1" fmla="*/ 2937 h 18434"/>
                  <a:gd name="connsiteX2" fmla="*/ 2905 w 18370"/>
                  <a:gd name="connsiteY2" fmla="*/ 2459 h 18434"/>
                  <a:gd name="connsiteX3" fmla="*/ 2486 w 18370"/>
                  <a:gd name="connsiteY3" fmla="*/ 15497 h 18434"/>
                  <a:gd name="connsiteX4" fmla="*/ 15465 w 18370"/>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4">
                    <a:moveTo>
                      <a:pt x="15465" y="15975"/>
                    </a:moveTo>
                    <a:cubicBezTo>
                      <a:pt x="19173" y="12506"/>
                      <a:pt x="19352" y="6705"/>
                      <a:pt x="15883" y="2937"/>
                    </a:cubicBezTo>
                    <a:cubicBezTo>
                      <a:pt x="12415" y="-771"/>
                      <a:pt x="6613" y="-1010"/>
                      <a:pt x="2905" y="2459"/>
                    </a:cubicBezTo>
                    <a:cubicBezTo>
                      <a:pt x="-803" y="5928"/>
                      <a:pt x="-982" y="11729"/>
                      <a:pt x="2486" y="15497"/>
                    </a:cubicBezTo>
                    <a:cubicBezTo>
                      <a:pt x="5956" y="19205"/>
                      <a:pt x="11757" y="19444"/>
                      <a:pt x="15465" y="15975"/>
                    </a:cubicBezTo>
                    <a:close/>
                  </a:path>
                </a:pathLst>
              </a:custGeom>
              <a:grpFill/>
              <a:ln w="5978" cap="flat">
                <a:noFill/>
                <a:prstDash val="solid"/>
                <a:miter/>
              </a:ln>
            </p:spPr>
            <p:txBody>
              <a:bodyPr rtlCol="0" anchor="ctr"/>
              <a:lstStyle/>
              <a:p>
                <a:endParaRPr lang="en-GB"/>
              </a:p>
            </p:txBody>
          </p:sp>
        </p:grpSp>
        <p:grpSp>
          <p:nvGrpSpPr>
            <p:cNvPr id="138" name="Graphic 3">
              <a:extLst>
                <a:ext uri="{FF2B5EF4-FFF2-40B4-BE49-F238E27FC236}">
                  <a16:creationId xmlns:a16="http://schemas.microsoft.com/office/drawing/2014/main" id="{844D0612-3949-4892-AE3E-9A92F841BEF0}"/>
                </a:ext>
              </a:extLst>
            </p:cNvPr>
            <p:cNvGrpSpPr/>
            <p:nvPr/>
          </p:nvGrpSpPr>
          <p:grpSpPr>
            <a:xfrm>
              <a:off x="7502544" y="2197848"/>
              <a:ext cx="39648" cy="35919"/>
              <a:chOff x="7502544" y="2197848"/>
              <a:chExt cx="39648" cy="35919"/>
            </a:xfrm>
            <a:grpFill/>
          </p:grpSpPr>
          <p:sp>
            <p:nvSpPr>
              <p:cNvPr id="4964" name="Vrije vorm: vorm 4963">
                <a:extLst>
                  <a:ext uri="{FF2B5EF4-FFF2-40B4-BE49-F238E27FC236}">
                    <a16:creationId xmlns:a16="http://schemas.microsoft.com/office/drawing/2014/main" id="{0DFA01FB-F224-48AA-B244-2E148D09AB7F}"/>
                  </a:ext>
                </a:extLst>
              </p:cNvPr>
              <p:cNvSpPr/>
              <p:nvPr/>
            </p:nvSpPr>
            <p:spPr>
              <a:xfrm>
                <a:off x="7510430" y="2205611"/>
                <a:ext cx="23922" cy="20394"/>
              </a:xfrm>
              <a:custGeom>
                <a:avLst/>
                <a:gdLst>
                  <a:gd name="connsiteX0" fmla="*/ 23923 w 23922"/>
                  <a:gd name="connsiteY0" fmla="*/ 2392 h 20394"/>
                  <a:gd name="connsiteX1" fmla="*/ 1914 w 23922"/>
                  <a:gd name="connsiteY1" fmla="*/ 20394 h 20394"/>
                  <a:gd name="connsiteX2" fmla="*/ 0 w 23922"/>
                  <a:gd name="connsiteY2" fmla="*/ 18002 h 20394"/>
                  <a:gd name="connsiteX3" fmla="*/ 22009 w 23922"/>
                  <a:gd name="connsiteY3" fmla="*/ 0 h 20394"/>
                </a:gdLst>
                <a:ahLst/>
                <a:cxnLst>
                  <a:cxn ang="0">
                    <a:pos x="connsiteX0" y="connsiteY0"/>
                  </a:cxn>
                  <a:cxn ang="0">
                    <a:pos x="connsiteX1" y="connsiteY1"/>
                  </a:cxn>
                  <a:cxn ang="0">
                    <a:pos x="connsiteX2" y="connsiteY2"/>
                  </a:cxn>
                  <a:cxn ang="0">
                    <a:pos x="connsiteX3" y="connsiteY3"/>
                  </a:cxn>
                </a:cxnLst>
                <a:rect l="l" t="t" r="r" b="b"/>
                <a:pathLst>
                  <a:path w="23922" h="20394">
                    <a:moveTo>
                      <a:pt x="23923" y="2392"/>
                    </a:moveTo>
                    <a:lnTo>
                      <a:pt x="1914" y="20394"/>
                    </a:lnTo>
                    <a:lnTo>
                      <a:pt x="0" y="18002"/>
                    </a:lnTo>
                    <a:lnTo>
                      <a:pt x="22009" y="0"/>
                    </a:lnTo>
                    <a:close/>
                  </a:path>
                </a:pathLst>
              </a:custGeom>
              <a:grpFill/>
              <a:ln w="5978" cap="flat">
                <a:noFill/>
                <a:prstDash val="solid"/>
                <a:miter/>
              </a:ln>
            </p:spPr>
            <p:txBody>
              <a:bodyPr rtlCol="0" anchor="ctr"/>
              <a:lstStyle/>
              <a:p>
                <a:endParaRPr lang="en-GB"/>
              </a:p>
            </p:txBody>
          </p:sp>
          <p:sp>
            <p:nvSpPr>
              <p:cNvPr id="4965" name="Vrije vorm: vorm 4964">
                <a:extLst>
                  <a:ext uri="{FF2B5EF4-FFF2-40B4-BE49-F238E27FC236}">
                    <a16:creationId xmlns:a16="http://schemas.microsoft.com/office/drawing/2014/main" id="{A04FD5A2-A027-48E3-B3B0-D484C7950D63}"/>
                  </a:ext>
                </a:extLst>
              </p:cNvPr>
              <p:cNvSpPr/>
              <p:nvPr/>
            </p:nvSpPr>
            <p:spPr>
              <a:xfrm>
                <a:off x="7502544" y="2215316"/>
                <a:ext cx="18346" cy="18451"/>
              </a:xfrm>
              <a:custGeom>
                <a:avLst/>
                <a:gdLst>
                  <a:gd name="connsiteX0" fmla="*/ 15004 w 18346"/>
                  <a:gd name="connsiteY0" fmla="*/ 16370 h 18451"/>
                  <a:gd name="connsiteX1" fmla="*/ 2086 w 18346"/>
                  <a:gd name="connsiteY1" fmla="*/ 15054 h 18451"/>
                  <a:gd name="connsiteX2" fmla="*/ 3342 w 18346"/>
                  <a:gd name="connsiteY2" fmla="*/ 2076 h 18451"/>
                  <a:gd name="connsiteX3" fmla="*/ 16260 w 18346"/>
                  <a:gd name="connsiteY3" fmla="*/ 3452 h 18451"/>
                  <a:gd name="connsiteX4" fmla="*/ 15004 w 18346"/>
                  <a:gd name="connsiteY4" fmla="*/ 16370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1">
                    <a:moveTo>
                      <a:pt x="15004" y="16370"/>
                    </a:moveTo>
                    <a:cubicBezTo>
                      <a:pt x="11117" y="19600"/>
                      <a:pt x="5316" y="19002"/>
                      <a:pt x="2086" y="15054"/>
                    </a:cubicBezTo>
                    <a:cubicBezTo>
                      <a:pt x="-1143" y="11107"/>
                      <a:pt x="-545" y="5306"/>
                      <a:pt x="3342" y="2076"/>
                    </a:cubicBezTo>
                    <a:cubicBezTo>
                      <a:pt x="7229" y="-1153"/>
                      <a:pt x="13031" y="-555"/>
                      <a:pt x="16260" y="3452"/>
                    </a:cubicBezTo>
                    <a:cubicBezTo>
                      <a:pt x="19490" y="7339"/>
                      <a:pt x="18892" y="13141"/>
                      <a:pt x="15004" y="16370"/>
                    </a:cubicBezTo>
                    <a:close/>
                  </a:path>
                </a:pathLst>
              </a:custGeom>
              <a:grpFill/>
              <a:ln w="5978" cap="flat">
                <a:noFill/>
                <a:prstDash val="solid"/>
                <a:miter/>
              </a:ln>
            </p:spPr>
            <p:txBody>
              <a:bodyPr rtlCol="0" anchor="ctr"/>
              <a:lstStyle/>
              <a:p>
                <a:endParaRPr lang="en-GB"/>
              </a:p>
            </p:txBody>
          </p:sp>
          <p:sp>
            <p:nvSpPr>
              <p:cNvPr id="4966" name="Vrije vorm: vorm 4965">
                <a:extLst>
                  <a:ext uri="{FF2B5EF4-FFF2-40B4-BE49-F238E27FC236}">
                    <a16:creationId xmlns:a16="http://schemas.microsoft.com/office/drawing/2014/main" id="{6ED1B3AE-0B50-4564-9AD7-9B024114B345}"/>
                  </a:ext>
                </a:extLst>
              </p:cNvPr>
              <p:cNvSpPr/>
              <p:nvPr/>
            </p:nvSpPr>
            <p:spPr>
              <a:xfrm>
                <a:off x="7523884" y="2197848"/>
                <a:ext cx="18308" cy="18456"/>
              </a:xfrm>
              <a:custGeom>
                <a:avLst/>
                <a:gdLst>
                  <a:gd name="connsiteX0" fmla="*/ 14955 w 18308"/>
                  <a:gd name="connsiteY0" fmla="*/ 16375 h 18456"/>
                  <a:gd name="connsiteX1" fmla="*/ 16271 w 18308"/>
                  <a:gd name="connsiteY1" fmla="*/ 3397 h 18456"/>
                  <a:gd name="connsiteX2" fmla="*/ 3353 w 18308"/>
                  <a:gd name="connsiteY2" fmla="*/ 2081 h 18456"/>
                  <a:gd name="connsiteX3" fmla="*/ 2037 w 18308"/>
                  <a:gd name="connsiteY3" fmla="*/ 15059 h 18456"/>
                  <a:gd name="connsiteX4" fmla="*/ 14955 w 18308"/>
                  <a:gd name="connsiteY4" fmla="*/ 16375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6">
                    <a:moveTo>
                      <a:pt x="14955" y="16375"/>
                    </a:moveTo>
                    <a:cubicBezTo>
                      <a:pt x="18843" y="13145"/>
                      <a:pt x="19441" y="7344"/>
                      <a:pt x="16271" y="3397"/>
                    </a:cubicBezTo>
                    <a:cubicBezTo>
                      <a:pt x="13042" y="-550"/>
                      <a:pt x="7300" y="-1148"/>
                      <a:pt x="3353" y="2081"/>
                    </a:cubicBezTo>
                    <a:cubicBezTo>
                      <a:pt x="-535" y="5311"/>
                      <a:pt x="-1133" y="11112"/>
                      <a:pt x="2037" y="15059"/>
                    </a:cubicBezTo>
                    <a:cubicBezTo>
                      <a:pt x="5266" y="19007"/>
                      <a:pt x="11068" y="19605"/>
                      <a:pt x="14955" y="16375"/>
                    </a:cubicBezTo>
                    <a:close/>
                  </a:path>
                </a:pathLst>
              </a:custGeom>
              <a:grpFill/>
              <a:ln w="5978" cap="flat">
                <a:noFill/>
                <a:prstDash val="solid"/>
                <a:miter/>
              </a:ln>
            </p:spPr>
            <p:txBody>
              <a:bodyPr rtlCol="0" anchor="ctr"/>
              <a:lstStyle/>
              <a:p>
                <a:endParaRPr lang="en-GB"/>
              </a:p>
            </p:txBody>
          </p:sp>
        </p:grpSp>
        <p:grpSp>
          <p:nvGrpSpPr>
            <p:cNvPr id="139" name="Graphic 3">
              <a:extLst>
                <a:ext uri="{FF2B5EF4-FFF2-40B4-BE49-F238E27FC236}">
                  <a16:creationId xmlns:a16="http://schemas.microsoft.com/office/drawing/2014/main" id="{308FEA56-4554-4823-A14C-00B200D7F519}"/>
                </a:ext>
              </a:extLst>
            </p:cNvPr>
            <p:cNvGrpSpPr/>
            <p:nvPr/>
          </p:nvGrpSpPr>
          <p:grpSpPr>
            <a:xfrm>
              <a:off x="7500353" y="2478242"/>
              <a:ext cx="269372" cy="121818"/>
              <a:chOff x="7500353" y="2478242"/>
              <a:chExt cx="269372" cy="121818"/>
            </a:xfrm>
            <a:grpFill/>
          </p:grpSpPr>
          <p:sp>
            <p:nvSpPr>
              <p:cNvPr id="4961" name="Vrije vorm: vorm 4960">
                <a:extLst>
                  <a:ext uri="{FF2B5EF4-FFF2-40B4-BE49-F238E27FC236}">
                    <a16:creationId xmlns:a16="http://schemas.microsoft.com/office/drawing/2014/main" id="{0BF5EC0F-2CDA-4275-89B9-13D824596884}"/>
                  </a:ext>
                </a:extLst>
              </p:cNvPr>
              <p:cNvSpPr/>
              <p:nvPr/>
            </p:nvSpPr>
            <p:spPr>
              <a:xfrm>
                <a:off x="7508812" y="2486010"/>
                <a:ext cx="253070" cy="106558"/>
              </a:xfrm>
              <a:custGeom>
                <a:avLst/>
                <a:gdLst>
                  <a:gd name="connsiteX0" fmla="*/ 0 w 253070"/>
                  <a:gd name="connsiteY0" fmla="*/ 103738 h 106558"/>
                  <a:gd name="connsiteX1" fmla="*/ 251909 w 253070"/>
                  <a:gd name="connsiteY1" fmla="*/ 0 h 106558"/>
                  <a:gd name="connsiteX2" fmla="*/ 253070 w 253070"/>
                  <a:gd name="connsiteY2" fmla="*/ 2820 h 106558"/>
                  <a:gd name="connsiteX3" fmla="*/ 1162 w 253070"/>
                  <a:gd name="connsiteY3" fmla="*/ 106559 h 106558"/>
                </a:gdLst>
                <a:ahLst/>
                <a:cxnLst>
                  <a:cxn ang="0">
                    <a:pos x="connsiteX0" y="connsiteY0"/>
                  </a:cxn>
                  <a:cxn ang="0">
                    <a:pos x="connsiteX1" y="connsiteY1"/>
                  </a:cxn>
                  <a:cxn ang="0">
                    <a:pos x="connsiteX2" y="connsiteY2"/>
                  </a:cxn>
                  <a:cxn ang="0">
                    <a:pos x="connsiteX3" y="connsiteY3"/>
                  </a:cxn>
                </a:cxnLst>
                <a:rect l="l" t="t" r="r" b="b"/>
                <a:pathLst>
                  <a:path w="253070" h="106558">
                    <a:moveTo>
                      <a:pt x="0" y="103738"/>
                    </a:moveTo>
                    <a:lnTo>
                      <a:pt x="251909" y="0"/>
                    </a:lnTo>
                    <a:lnTo>
                      <a:pt x="253070" y="2820"/>
                    </a:lnTo>
                    <a:lnTo>
                      <a:pt x="1162" y="106559"/>
                    </a:lnTo>
                    <a:close/>
                  </a:path>
                </a:pathLst>
              </a:custGeom>
              <a:grpFill/>
              <a:ln w="5978" cap="flat">
                <a:noFill/>
                <a:prstDash val="solid"/>
                <a:miter/>
              </a:ln>
            </p:spPr>
            <p:txBody>
              <a:bodyPr rtlCol="0" anchor="ctr"/>
              <a:lstStyle/>
              <a:p>
                <a:endParaRPr lang="en-GB"/>
              </a:p>
            </p:txBody>
          </p:sp>
          <p:sp>
            <p:nvSpPr>
              <p:cNvPr id="4962" name="Vrije vorm: vorm 4961">
                <a:extLst>
                  <a:ext uri="{FF2B5EF4-FFF2-40B4-BE49-F238E27FC236}">
                    <a16:creationId xmlns:a16="http://schemas.microsoft.com/office/drawing/2014/main" id="{C0EEC75F-7A76-436E-AF18-1E1865DDF7ED}"/>
                  </a:ext>
                </a:extLst>
              </p:cNvPr>
              <p:cNvSpPr/>
              <p:nvPr/>
            </p:nvSpPr>
            <p:spPr>
              <a:xfrm>
                <a:off x="7500353" y="2581657"/>
                <a:ext cx="18334" cy="18403"/>
              </a:xfrm>
              <a:custGeom>
                <a:avLst/>
                <a:gdLst>
                  <a:gd name="connsiteX0" fmla="*/ 12649 w 18334"/>
                  <a:gd name="connsiteY0" fmla="*/ 17724 h 18403"/>
                  <a:gd name="connsiteX1" fmla="*/ 688 w 18334"/>
                  <a:gd name="connsiteY1" fmla="*/ 12701 h 18403"/>
                  <a:gd name="connsiteX2" fmla="*/ 5652 w 18334"/>
                  <a:gd name="connsiteY2" fmla="*/ 679 h 18403"/>
                  <a:gd name="connsiteX3" fmla="*/ 17613 w 18334"/>
                  <a:gd name="connsiteY3" fmla="*/ 5703 h 18403"/>
                  <a:gd name="connsiteX4" fmla="*/ 12649 w 18334"/>
                  <a:gd name="connsiteY4" fmla="*/ 17724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3">
                    <a:moveTo>
                      <a:pt x="12649" y="17724"/>
                    </a:moveTo>
                    <a:cubicBezTo>
                      <a:pt x="7984" y="19638"/>
                      <a:pt x="2602" y="17366"/>
                      <a:pt x="688" y="12701"/>
                    </a:cubicBezTo>
                    <a:cubicBezTo>
                      <a:pt x="-1225" y="7976"/>
                      <a:pt x="987" y="2593"/>
                      <a:pt x="5652" y="679"/>
                    </a:cubicBezTo>
                    <a:cubicBezTo>
                      <a:pt x="10317" y="-1235"/>
                      <a:pt x="15700" y="1038"/>
                      <a:pt x="17613" y="5703"/>
                    </a:cubicBezTo>
                    <a:cubicBezTo>
                      <a:pt x="19587" y="10428"/>
                      <a:pt x="17374" y="15811"/>
                      <a:pt x="12649" y="17724"/>
                    </a:cubicBezTo>
                    <a:close/>
                  </a:path>
                </a:pathLst>
              </a:custGeom>
              <a:grpFill/>
              <a:ln w="5978" cap="flat">
                <a:noFill/>
                <a:prstDash val="solid"/>
                <a:miter/>
              </a:ln>
            </p:spPr>
            <p:txBody>
              <a:bodyPr rtlCol="0" anchor="ctr"/>
              <a:lstStyle/>
              <a:p>
                <a:endParaRPr lang="en-GB"/>
              </a:p>
            </p:txBody>
          </p:sp>
          <p:sp>
            <p:nvSpPr>
              <p:cNvPr id="4963" name="Vrije vorm: vorm 4962">
                <a:extLst>
                  <a:ext uri="{FF2B5EF4-FFF2-40B4-BE49-F238E27FC236}">
                    <a16:creationId xmlns:a16="http://schemas.microsoft.com/office/drawing/2014/main" id="{AA6B400D-115E-4091-84FE-49F1E4F27B50}"/>
                  </a:ext>
                </a:extLst>
              </p:cNvPr>
              <p:cNvSpPr/>
              <p:nvPr/>
            </p:nvSpPr>
            <p:spPr>
              <a:xfrm>
                <a:off x="7751424" y="2478242"/>
                <a:ext cx="18301" cy="18444"/>
              </a:xfrm>
              <a:custGeom>
                <a:avLst/>
                <a:gdLst>
                  <a:gd name="connsiteX0" fmla="*/ 12649 w 18301"/>
                  <a:gd name="connsiteY0" fmla="*/ 17732 h 18444"/>
                  <a:gd name="connsiteX1" fmla="*/ 17614 w 18301"/>
                  <a:gd name="connsiteY1" fmla="*/ 5711 h 18444"/>
                  <a:gd name="connsiteX2" fmla="*/ 5652 w 18301"/>
                  <a:gd name="connsiteY2" fmla="*/ 687 h 18444"/>
                  <a:gd name="connsiteX3" fmla="*/ 688 w 18301"/>
                  <a:gd name="connsiteY3" fmla="*/ 12709 h 18444"/>
                  <a:gd name="connsiteX4" fmla="*/ 12649 w 18301"/>
                  <a:gd name="connsiteY4" fmla="*/ 177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44">
                    <a:moveTo>
                      <a:pt x="12649" y="17732"/>
                    </a:moveTo>
                    <a:cubicBezTo>
                      <a:pt x="17315" y="15819"/>
                      <a:pt x="19527" y="10436"/>
                      <a:pt x="17614" y="5711"/>
                    </a:cubicBezTo>
                    <a:cubicBezTo>
                      <a:pt x="15700" y="986"/>
                      <a:pt x="10317" y="-1227"/>
                      <a:pt x="5652" y="687"/>
                    </a:cubicBezTo>
                    <a:cubicBezTo>
                      <a:pt x="987" y="2601"/>
                      <a:pt x="-1226" y="7984"/>
                      <a:pt x="688" y="12709"/>
                    </a:cubicBezTo>
                    <a:cubicBezTo>
                      <a:pt x="2602" y="17433"/>
                      <a:pt x="7984" y="19706"/>
                      <a:pt x="12649" y="17732"/>
                    </a:cubicBezTo>
                    <a:close/>
                  </a:path>
                </a:pathLst>
              </a:custGeom>
              <a:grpFill/>
              <a:ln w="5978" cap="flat">
                <a:noFill/>
                <a:prstDash val="solid"/>
                <a:miter/>
              </a:ln>
            </p:spPr>
            <p:txBody>
              <a:bodyPr rtlCol="0" anchor="ctr"/>
              <a:lstStyle/>
              <a:p>
                <a:endParaRPr lang="en-GB"/>
              </a:p>
            </p:txBody>
          </p:sp>
        </p:grpSp>
        <p:grpSp>
          <p:nvGrpSpPr>
            <p:cNvPr id="140" name="Graphic 3">
              <a:extLst>
                <a:ext uri="{FF2B5EF4-FFF2-40B4-BE49-F238E27FC236}">
                  <a16:creationId xmlns:a16="http://schemas.microsoft.com/office/drawing/2014/main" id="{142236E2-FA33-4E23-A900-3476FBB12FFC}"/>
                </a:ext>
              </a:extLst>
            </p:cNvPr>
            <p:cNvGrpSpPr/>
            <p:nvPr/>
          </p:nvGrpSpPr>
          <p:grpSpPr>
            <a:xfrm>
              <a:off x="7732010" y="3485347"/>
              <a:ext cx="472309" cy="77906"/>
              <a:chOff x="7732010" y="3485347"/>
              <a:chExt cx="472309" cy="77906"/>
            </a:xfrm>
            <a:grpFill/>
          </p:grpSpPr>
          <p:sp>
            <p:nvSpPr>
              <p:cNvPr id="4958" name="Vrije vorm: vorm 4957">
                <a:extLst>
                  <a:ext uri="{FF2B5EF4-FFF2-40B4-BE49-F238E27FC236}">
                    <a16:creationId xmlns:a16="http://schemas.microsoft.com/office/drawing/2014/main" id="{2DE7297F-70F1-4F23-8BAF-FAA6335A726C}"/>
                  </a:ext>
                </a:extLst>
              </p:cNvPr>
              <p:cNvSpPr/>
              <p:nvPr/>
            </p:nvSpPr>
            <p:spPr>
              <a:xfrm>
                <a:off x="7740509" y="3492961"/>
                <a:ext cx="455312" cy="62677"/>
              </a:xfrm>
              <a:custGeom>
                <a:avLst/>
                <a:gdLst>
                  <a:gd name="connsiteX0" fmla="*/ 455312 w 455312"/>
                  <a:gd name="connsiteY0" fmla="*/ 59628 h 62677"/>
                  <a:gd name="connsiteX1" fmla="*/ 454893 w 455312"/>
                  <a:gd name="connsiteY1" fmla="*/ 62678 h 62677"/>
                  <a:gd name="connsiteX2" fmla="*/ 0 w 455312"/>
                  <a:gd name="connsiteY2" fmla="*/ 3050 h 62677"/>
                  <a:gd name="connsiteX3" fmla="*/ 418 w 455312"/>
                  <a:gd name="connsiteY3" fmla="*/ 0 h 62677"/>
                </a:gdLst>
                <a:ahLst/>
                <a:cxnLst>
                  <a:cxn ang="0">
                    <a:pos x="connsiteX0" y="connsiteY0"/>
                  </a:cxn>
                  <a:cxn ang="0">
                    <a:pos x="connsiteX1" y="connsiteY1"/>
                  </a:cxn>
                  <a:cxn ang="0">
                    <a:pos x="connsiteX2" y="connsiteY2"/>
                  </a:cxn>
                  <a:cxn ang="0">
                    <a:pos x="connsiteX3" y="connsiteY3"/>
                  </a:cxn>
                </a:cxnLst>
                <a:rect l="l" t="t" r="r" b="b"/>
                <a:pathLst>
                  <a:path w="455312" h="62677">
                    <a:moveTo>
                      <a:pt x="455312" y="59628"/>
                    </a:moveTo>
                    <a:lnTo>
                      <a:pt x="454893" y="62678"/>
                    </a:lnTo>
                    <a:lnTo>
                      <a:pt x="0" y="3050"/>
                    </a:lnTo>
                    <a:lnTo>
                      <a:pt x="418" y="0"/>
                    </a:lnTo>
                    <a:close/>
                  </a:path>
                </a:pathLst>
              </a:custGeom>
              <a:grpFill/>
              <a:ln w="5978" cap="flat">
                <a:noFill/>
                <a:prstDash val="solid"/>
                <a:miter/>
              </a:ln>
            </p:spPr>
            <p:txBody>
              <a:bodyPr rtlCol="0" anchor="ctr"/>
              <a:lstStyle/>
              <a:p>
                <a:endParaRPr lang="en-GB"/>
              </a:p>
            </p:txBody>
          </p:sp>
          <p:sp>
            <p:nvSpPr>
              <p:cNvPr id="4959" name="Vrije vorm: vorm 4958">
                <a:extLst>
                  <a:ext uri="{FF2B5EF4-FFF2-40B4-BE49-F238E27FC236}">
                    <a16:creationId xmlns:a16="http://schemas.microsoft.com/office/drawing/2014/main" id="{65F9CF9C-B1ED-4490-92AD-C61FEE8BEA76}"/>
                  </a:ext>
                </a:extLst>
              </p:cNvPr>
              <p:cNvSpPr/>
              <p:nvPr/>
            </p:nvSpPr>
            <p:spPr>
              <a:xfrm>
                <a:off x="7732010" y="3485347"/>
                <a:ext cx="18313" cy="18444"/>
              </a:xfrm>
              <a:custGeom>
                <a:avLst/>
                <a:gdLst>
                  <a:gd name="connsiteX0" fmla="*/ 8020 w 18313"/>
                  <a:gd name="connsiteY0" fmla="*/ 18379 h 18444"/>
                  <a:gd name="connsiteX1" fmla="*/ 66 w 18313"/>
                  <a:gd name="connsiteY1" fmla="*/ 8032 h 18444"/>
                  <a:gd name="connsiteX2" fmla="*/ 10293 w 18313"/>
                  <a:gd name="connsiteY2" fmla="*/ 78 h 18444"/>
                  <a:gd name="connsiteX3" fmla="*/ 18248 w 18313"/>
                  <a:gd name="connsiteY3" fmla="*/ 10424 h 18444"/>
                  <a:gd name="connsiteX4" fmla="*/ 8020 w 18313"/>
                  <a:gd name="connsiteY4" fmla="*/ 1837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44">
                    <a:moveTo>
                      <a:pt x="8020" y="18379"/>
                    </a:moveTo>
                    <a:cubicBezTo>
                      <a:pt x="2997" y="17721"/>
                      <a:pt x="-532" y="13116"/>
                      <a:pt x="66" y="8032"/>
                    </a:cubicBezTo>
                    <a:cubicBezTo>
                      <a:pt x="724" y="3008"/>
                      <a:pt x="5269" y="-580"/>
                      <a:pt x="10293" y="78"/>
                    </a:cubicBezTo>
                    <a:cubicBezTo>
                      <a:pt x="15317" y="736"/>
                      <a:pt x="18846" y="5341"/>
                      <a:pt x="18248" y="10424"/>
                    </a:cubicBezTo>
                    <a:cubicBezTo>
                      <a:pt x="17590" y="15448"/>
                      <a:pt x="13044" y="18977"/>
                      <a:pt x="8020" y="18379"/>
                    </a:cubicBezTo>
                    <a:close/>
                  </a:path>
                </a:pathLst>
              </a:custGeom>
              <a:grpFill/>
              <a:ln w="5978" cap="flat">
                <a:noFill/>
                <a:prstDash val="solid"/>
                <a:miter/>
              </a:ln>
            </p:spPr>
            <p:txBody>
              <a:bodyPr rtlCol="0" anchor="ctr"/>
              <a:lstStyle/>
              <a:p>
                <a:endParaRPr lang="en-GB"/>
              </a:p>
            </p:txBody>
          </p:sp>
          <p:sp>
            <p:nvSpPr>
              <p:cNvPr id="4960" name="Vrije vorm: vorm 4959">
                <a:extLst>
                  <a:ext uri="{FF2B5EF4-FFF2-40B4-BE49-F238E27FC236}">
                    <a16:creationId xmlns:a16="http://schemas.microsoft.com/office/drawing/2014/main" id="{2D6891F5-3A31-4E3A-8124-228EEDBE34A6}"/>
                  </a:ext>
                </a:extLst>
              </p:cNvPr>
              <p:cNvSpPr/>
              <p:nvPr/>
            </p:nvSpPr>
            <p:spPr>
              <a:xfrm>
                <a:off x="8185995" y="3544795"/>
                <a:ext cx="18324" cy="18458"/>
              </a:xfrm>
              <a:custGeom>
                <a:avLst/>
                <a:gdLst>
                  <a:gd name="connsiteX0" fmla="*/ 8032 w 18324"/>
                  <a:gd name="connsiteY0" fmla="*/ 18380 h 18458"/>
                  <a:gd name="connsiteX1" fmla="*/ 18259 w 18324"/>
                  <a:gd name="connsiteY1" fmla="*/ 10425 h 18458"/>
                  <a:gd name="connsiteX2" fmla="*/ 10305 w 18324"/>
                  <a:gd name="connsiteY2" fmla="*/ 79 h 18458"/>
                  <a:gd name="connsiteX3" fmla="*/ 78 w 18324"/>
                  <a:gd name="connsiteY3" fmla="*/ 8033 h 18458"/>
                  <a:gd name="connsiteX4" fmla="*/ 8032 w 18324"/>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8">
                    <a:moveTo>
                      <a:pt x="8032" y="18380"/>
                    </a:moveTo>
                    <a:cubicBezTo>
                      <a:pt x="13055" y="19038"/>
                      <a:pt x="17661" y="15509"/>
                      <a:pt x="18259" y="10425"/>
                    </a:cubicBezTo>
                    <a:cubicBezTo>
                      <a:pt x="18857" y="5342"/>
                      <a:pt x="15328" y="737"/>
                      <a:pt x="10305" y="79"/>
                    </a:cubicBezTo>
                    <a:cubicBezTo>
                      <a:pt x="5281" y="-579"/>
                      <a:pt x="676" y="2950"/>
                      <a:pt x="78" y="8033"/>
                    </a:cubicBezTo>
                    <a:cubicBezTo>
                      <a:pt x="-580" y="13117"/>
                      <a:pt x="3008" y="17722"/>
                      <a:pt x="8032" y="18380"/>
                    </a:cubicBezTo>
                    <a:close/>
                  </a:path>
                </a:pathLst>
              </a:custGeom>
              <a:grpFill/>
              <a:ln w="5978" cap="flat">
                <a:noFill/>
                <a:prstDash val="solid"/>
                <a:miter/>
              </a:ln>
            </p:spPr>
            <p:txBody>
              <a:bodyPr rtlCol="0" anchor="ctr"/>
              <a:lstStyle/>
              <a:p>
                <a:endParaRPr lang="en-GB"/>
              </a:p>
            </p:txBody>
          </p:sp>
        </p:grpSp>
        <p:grpSp>
          <p:nvGrpSpPr>
            <p:cNvPr id="141" name="Graphic 3">
              <a:extLst>
                <a:ext uri="{FF2B5EF4-FFF2-40B4-BE49-F238E27FC236}">
                  <a16:creationId xmlns:a16="http://schemas.microsoft.com/office/drawing/2014/main" id="{5F7D4A4E-AA57-4759-9281-FCA0A5AE6C6B}"/>
                </a:ext>
              </a:extLst>
            </p:cNvPr>
            <p:cNvGrpSpPr/>
            <p:nvPr/>
          </p:nvGrpSpPr>
          <p:grpSpPr>
            <a:xfrm>
              <a:off x="7270545" y="1938237"/>
              <a:ext cx="395143" cy="322849"/>
              <a:chOff x="7270545" y="1938237"/>
              <a:chExt cx="395143" cy="322849"/>
            </a:xfrm>
            <a:grpFill/>
          </p:grpSpPr>
          <p:sp>
            <p:nvSpPr>
              <p:cNvPr id="4955" name="Vrije vorm: vorm 4954">
                <a:extLst>
                  <a:ext uri="{FF2B5EF4-FFF2-40B4-BE49-F238E27FC236}">
                    <a16:creationId xmlns:a16="http://schemas.microsoft.com/office/drawing/2014/main" id="{5AECB5D9-5990-4359-A9DC-ED22AD5EA390}"/>
                  </a:ext>
                </a:extLst>
              </p:cNvPr>
              <p:cNvSpPr/>
              <p:nvPr/>
            </p:nvSpPr>
            <p:spPr>
              <a:xfrm>
                <a:off x="7278439" y="1945987"/>
                <a:ext cx="379416" cy="307409"/>
              </a:xfrm>
              <a:custGeom>
                <a:avLst/>
                <a:gdLst>
                  <a:gd name="connsiteX0" fmla="*/ 379417 w 379416"/>
                  <a:gd name="connsiteY0" fmla="*/ 2392 h 307409"/>
                  <a:gd name="connsiteX1" fmla="*/ 1914 w 379416"/>
                  <a:gd name="connsiteY1" fmla="*/ 307409 h 307409"/>
                  <a:gd name="connsiteX2" fmla="*/ 0 w 379416"/>
                  <a:gd name="connsiteY2" fmla="*/ 305017 h 307409"/>
                  <a:gd name="connsiteX3" fmla="*/ 377503 w 379416"/>
                  <a:gd name="connsiteY3" fmla="*/ 0 h 307409"/>
                </a:gdLst>
                <a:ahLst/>
                <a:cxnLst>
                  <a:cxn ang="0">
                    <a:pos x="connsiteX0" y="connsiteY0"/>
                  </a:cxn>
                  <a:cxn ang="0">
                    <a:pos x="connsiteX1" y="connsiteY1"/>
                  </a:cxn>
                  <a:cxn ang="0">
                    <a:pos x="connsiteX2" y="connsiteY2"/>
                  </a:cxn>
                  <a:cxn ang="0">
                    <a:pos x="connsiteX3" y="connsiteY3"/>
                  </a:cxn>
                </a:cxnLst>
                <a:rect l="l" t="t" r="r" b="b"/>
                <a:pathLst>
                  <a:path w="379416" h="307409">
                    <a:moveTo>
                      <a:pt x="379417" y="2392"/>
                    </a:moveTo>
                    <a:lnTo>
                      <a:pt x="1914" y="307409"/>
                    </a:lnTo>
                    <a:lnTo>
                      <a:pt x="0" y="305017"/>
                    </a:lnTo>
                    <a:lnTo>
                      <a:pt x="377503" y="0"/>
                    </a:lnTo>
                    <a:close/>
                  </a:path>
                </a:pathLst>
              </a:custGeom>
              <a:grpFill/>
              <a:ln w="5978" cap="flat">
                <a:noFill/>
                <a:prstDash val="solid"/>
                <a:miter/>
              </a:ln>
            </p:spPr>
            <p:txBody>
              <a:bodyPr rtlCol="0" anchor="ctr"/>
              <a:lstStyle/>
              <a:p>
                <a:endParaRPr lang="en-GB"/>
              </a:p>
            </p:txBody>
          </p:sp>
          <p:sp>
            <p:nvSpPr>
              <p:cNvPr id="4956" name="Vrije vorm: vorm 4955">
                <a:extLst>
                  <a:ext uri="{FF2B5EF4-FFF2-40B4-BE49-F238E27FC236}">
                    <a16:creationId xmlns:a16="http://schemas.microsoft.com/office/drawing/2014/main" id="{C720CB43-0D3D-4842-95C3-587D74BADCA6}"/>
                  </a:ext>
                </a:extLst>
              </p:cNvPr>
              <p:cNvSpPr/>
              <p:nvPr/>
            </p:nvSpPr>
            <p:spPr>
              <a:xfrm>
                <a:off x="7270545" y="2242637"/>
                <a:ext cx="18358" cy="18449"/>
              </a:xfrm>
              <a:custGeom>
                <a:avLst/>
                <a:gdLst>
                  <a:gd name="connsiteX0" fmla="*/ 14950 w 18358"/>
                  <a:gd name="connsiteY0" fmla="*/ 16441 h 18449"/>
                  <a:gd name="connsiteX1" fmla="*/ 2032 w 18358"/>
                  <a:gd name="connsiteY1" fmla="*/ 15006 h 18449"/>
                  <a:gd name="connsiteX2" fmla="*/ 3408 w 18358"/>
                  <a:gd name="connsiteY2" fmla="*/ 2028 h 18449"/>
                  <a:gd name="connsiteX3" fmla="*/ 16326 w 18358"/>
                  <a:gd name="connsiteY3" fmla="*/ 3463 h 18449"/>
                  <a:gd name="connsiteX4" fmla="*/ 14950 w 18358"/>
                  <a:gd name="connsiteY4" fmla="*/ 16441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9">
                    <a:moveTo>
                      <a:pt x="14950" y="16441"/>
                    </a:moveTo>
                    <a:cubicBezTo>
                      <a:pt x="11004" y="19611"/>
                      <a:pt x="5262" y="18953"/>
                      <a:pt x="2032" y="15006"/>
                    </a:cubicBezTo>
                    <a:cubicBezTo>
                      <a:pt x="-1137" y="11058"/>
                      <a:pt x="-540" y="5257"/>
                      <a:pt x="3408" y="2028"/>
                    </a:cubicBezTo>
                    <a:cubicBezTo>
                      <a:pt x="7355" y="-1142"/>
                      <a:pt x="13097" y="-544"/>
                      <a:pt x="16326" y="3463"/>
                    </a:cubicBezTo>
                    <a:cubicBezTo>
                      <a:pt x="19496" y="7470"/>
                      <a:pt x="18898" y="13271"/>
                      <a:pt x="14950" y="16441"/>
                    </a:cubicBezTo>
                    <a:close/>
                  </a:path>
                </a:pathLst>
              </a:custGeom>
              <a:grpFill/>
              <a:ln w="5978" cap="flat">
                <a:noFill/>
                <a:prstDash val="solid"/>
                <a:miter/>
              </a:ln>
            </p:spPr>
            <p:txBody>
              <a:bodyPr rtlCol="0" anchor="ctr"/>
              <a:lstStyle/>
              <a:p>
                <a:endParaRPr lang="en-GB"/>
              </a:p>
            </p:txBody>
          </p:sp>
          <p:sp>
            <p:nvSpPr>
              <p:cNvPr id="4957" name="Vrije vorm: vorm 4956">
                <a:extLst>
                  <a:ext uri="{FF2B5EF4-FFF2-40B4-BE49-F238E27FC236}">
                    <a16:creationId xmlns:a16="http://schemas.microsoft.com/office/drawing/2014/main" id="{CCA54C70-D8D8-4397-AA61-E48A9F9B859A}"/>
                  </a:ext>
                </a:extLst>
              </p:cNvPr>
              <p:cNvSpPr/>
              <p:nvPr/>
            </p:nvSpPr>
            <p:spPr>
              <a:xfrm>
                <a:off x="7647331" y="1938237"/>
                <a:ext cx="18358" cy="18430"/>
              </a:xfrm>
              <a:custGeom>
                <a:avLst/>
                <a:gdLst>
                  <a:gd name="connsiteX0" fmla="*/ 14950 w 18358"/>
                  <a:gd name="connsiteY0" fmla="*/ 16422 h 18430"/>
                  <a:gd name="connsiteX1" fmla="*/ 16326 w 18358"/>
                  <a:gd name="connsiteY1" fmla="*/ 3444 h 18430"/>
                  <a:gd name="connsiteX2" fmla="*/ 3408 w 18358"/>
                  <a:gd name="connsiteY2" fmla="*/ 2009 h 18430"/>
                  <a:gd name="connsiteX3" fmla="*/ 2032 w 18358"/>
                  <a:gd name="connsiteY3" fmla="*/ 14987 h 18430"/>
                  <a:gd name="connsiteX4" fmla="*/ 14950 w 18358"/>
                  <a:gd name="connsiteY4" fmla="*/ 1642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30">
                    <a:moveTo>
                      <a:pt x="14950" y="16422"/>
                    </a:moveTo>
                    <a:cubicBezTo>
                      <a:pt x="18898" y="13252"/>
                      <a:pt x="19496" y="7451"/>
                      <a:pt x="16326" y="3444"/>
                    </a:cubicBezTo>
                    <a:cubicBezTo>
                      <a:pt x="13157" y="-503"/>
                      <a:pt x="7355" y="-1161"/>
                      <a:pt x="3408" y="2009"/>
                    </a:cubicBezTo>
                    <a:cubicBezTo>
                      <a:pt x="-540" y="5178"/>
                      <a:pt x="-1137" y="10980"/>
                      <a:pt x="2032" y="14987"/>
                    </a:cubicBezTo>
                    <a:cubicBezTo>
                      <a:pt x="5262" y="18934"/>
                      <a:pt x="11063" y="19592"/>
                      <a:pt x="14950" y="16422"/>
                    </a:cubicBezTo>
                    <a:close/>
                  </a:path>
                </a:pathLst>
              </a:custGeom>
              <a:grpFill/>
              <a:ln w="5978" cap="flat">
                <a:noFill/>
                <a:prstDash val="solid"/>
                <a:miter/>
              </a:ln>
            </p:spPr>
            <p:txBody>
              <a:bodyPr rtlCol="0" anchor="ctr"/>
              <a:lstStyle/>
              <a:p>
                <a:endParaRPr lang="en-GB"/>
              </a:p>
            </p:txBody>
          </p:sp>
        </p:grpSp>
        <p:grpSp>
          <p:nvGrpSpPr>
            <p:cNvPr id="142" name="Graphic 3">
              <a:extLst>
                <a:ext uri="{FF2B5EF4-FFF2-40B4-BE49-F238E27FC236}">
                  <a16:creationId xmlns:a16="http://schemas.microsoft.com/office/drawing/2014/main" id="{7B68FC39-B777-4AC7-A1C0-CDF67293FD36}"/>
                </a:ext>
              </a:extLst>
            </p:cNvPr>
            <p:cNvGrpSpPr/>
            <p:nvPr/>
          </p:nvGrpSpPr>
          <p:grpSpPr>
            <a:xfrm>
              <a:off x="7721502" y="3514290"/>
              <a:ext cx="473516" cy="88524"/>
              <a:chOff x="7721502" y="3514290"/>
              <a:chExt cx="473516" cy="88524"/>
            </a:xfrm>
            <a:grpFill/>
          </p:grpSpPr>
          <p:sp>
            <p:nvSpPr>
              <p:cNvPr id="4952" name="Vrije vorm: vorm 4951">
                <a:extLst>
                  <a:ext uri="{FF2B5EF4-FFF2-40B4-BE49-F238E27FC236}">
                    <a16:creationId xmlns:a16="http://schemas.microsoft.com/office/drawing/2014/main" id="{698232A2-B2E9-4E3A-9A1D-8DFFDC0DF7B8}"/>
                  </a:ext>
                </a:extLst>
              </p:cNvPr>
              <p:cNvSpPr/>
              <p:nvPr/>
            </p:nvSpPr>
            <p:spPr>
              <a:xfrm>
                <a:off x="7732674" y="3524180"/>
                <a:ext cx="453877" cy="70991"/>
              </a:xfrm>
              <a:custGeom>
                <a:avLst/>
                <a:gdLst>
                  <a:gd name="connsiteX0" fmla="*/ 453877 w 453877"/>
                  <a:gd name="connsiteY0" fmla="*/ 67941 h 70991"/>
                  <a:gd name="connsiteX1" fmla="*/ 453399 w 453877"/>
                  <a:gd name="connsiteY1" fmla="*/ 70991 h 70991"/>
                  <a:gd name="connsiteX2" fmla="*/ 0 w 453877"/>
                  <a:gd name="connsiteY2" fmla="*/ 2990 h 70991"/>
                  <a:gd name="connsiteX3" fmla="*/ 419 w 453877"/>
                  <a:gd name="connsiteY3" fmla="*/ 0 h 70991"/>
                </a:gdLst>
                <a:ahLst/>
                <a:cxnLst>
                  <a:cxn ang="0">
                    <a:pos x="connsiteX0" y="connsiteY0"/>
                  </a:cxn>
                  <a:cxn ang="0">
                    <a:pos x="connsiteX1" y="connsiteY1"/>
                  </a:cxn>
                  <a:cxn ang="0">
                    <a:pos x="connsiteX2" y="connsiteY2"/>
                  </a:cxn>
                  <a:cxn ang="0">
                    <a:pos x="connsiteX3" y="connsiteY3"/>
                  </a:cxn>
                </a:cxnLst>
                <a:rect l="l" t="t" r="r" b="b"/>
                <a:pathLst>
                  <a:path w="453877" h="70991">
                    <a:moveTo>
                      <a:pt x="453877" y="67941"/>
                    </a:moveTo>
                    <a:lnTo>
                      <a:pt x="453399" y="70991"/>
                    </a:lnTo>
                    <a:lnTo>
                      <a:pt x="0" y="2990"/>
                    </a:lnTo>
                    <a:lnTo>
                      <a:pt x="419" y="0"/>
                    </a:lnTo>
                    <a:close/>
                  </a:path>
                </a:pathLst>
              </a:custGeom>
              <a:grpFill/>
              <a:ln w="5978" cap="flat">
                <a:noFill/>
                <a:prstDash val="solid"/>
                <a:miter/>
              </a:ln>
            </p:spPr>
            <p:txBody>
              <a:bodyPr rtlCol="0" anchor="ctr"/>
              <a:lstStyle/>
              <a:p>
                <a:endParaRPr lang="en-GB"/>
              </a:p>
            </p:txBody>
          </p:sp>
          <p:sp>
            <p:nvSpPr>
              <p:cNvPr id="4953" name="Vrije vorm: vorm 4952">
                <a:extLst>
                  <a:ext uri="{FF2B5EF4-FFF2-40B4-BE49-F238E27FC236}">
                    <a16:creationId xmlns:a16="http://schemas.microsoft.com/office/drawing/2014/main" id="{CD312085-A7CA-4731-AEF4-E06E26870131}"/>
                  </a:ext>
                </a:extLst>
              </p:cNvPr>
              <p:cNvSpPr/>
              <p:nvPr/>
            </p:nvSpPr>
            <p:spPr>
              <a:xfrm>
                <a:off x="7721502" y="3514290"/>
                <a:ext cx="23109" cy="23185"/>
              </a:xfrm>
              <a:custGeom>
                <a:avLst/>
                <a:gdLst>
                  <a:gd name="connsiteX0" fmla="*/ 20254 w 23109"/>
                  <a:gd name="connsiteY0" fmla="*/ 8756 h 23185"/>
                  <a:gd name="connsiteX1" fmla="*/ 14410 w 23109"/>
                  <a:gd name="connsiteY1" fmla="*/ 20349 h 23185"/>
                  <a:gd name="connsiteX2" fmla="*/ 2855 w 23109"/>
                  <a:gd name="connsiteY2" fmla="*/ 14430 h 23185"/>
                  <a:gd name="connsiteX3" fmla="*/ 8699 w 23109"/>
                  <a:gd name="connsiteY3" fmla="*/ 2837 h 23185"/>
                  <a:gd name="connsiteX4" fmla="*/ 20254 w 23109"/>
                  <a:gd name="connsiteY4" fmla="*/ 8756 h 23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09" h="23185">
                    <a:moveTo>
                      <a:pt x="20254" y="8756"/>
                    </a:moveTo>
                    <a:cubicBezTo>
                      <a:pt x="21831" y="13592"/>
                      <a:pt x="19214" y="18783"/>
                      <a:pt x="14410" y="20349"/>
                    </a:cubicBezTo>
                    <a:cubicBezTo>
                      <a:pt x="9605" y="21916"/>
                      <a:pt x="4432" y="19266"/>
                      <a:pt x="2855" y="14430"/>
                    </a:cubicBezTo>
                    <a:cubicBezTo>
                      <a:pt x="1278" y="9594"/>
                      <a:pt x="3895" y="4403"/>
                      <a:pt x="8699" y="2837"/>
                    </a:cubicBezTo>
                    <a:cubicBezTo>
                      <a:pt x="13504" y="1270"/>
                      <a:pt x="18677" y="3920"/>
                      <a:pt x="20254" y="8756"/>
                    </a:cubicBezTo>
                    <a:close/>
                  </a:path>
                </a:pathLst>
              </a:custGeom>
              <a:grpFill/>
              <a:ln w="5978" cap="flat">
                <a:noFill/>
                <a:prstDash val="solid"/>
                <a:miter/>
              </a:ln>
            </p:spPr>
            <p:txBody>
              <a:bodyPr rtlCol="0" anchor="ctr"/>
              <a:lstStyle/>
              <a:p>
                <a:endParaRPr lang="en-GB"/>
              </a:p>
            </p:txBody>
          </p:sp>
          <p:sp>
            <p:nvSpPr>
              <p:cNvPr id="4954" name="Vrije vorm: vorm 4953">
                <a:extLst>
                  <a:ext uri="{FF2B5EF4-FFF2-40B4-BE49-F238E27FC236}">
                    <a16:creationId xmlns:a16="http://schemas.microsoft.com/office/drawing/2014/main" id="{D3DA6924-2CB2-44EA-A5FA-001967ACC590}"/>
                  </a:ext>
                </a:extLst>
              </p:cNvPr>
              <p:cNvSpPr/>
              <p:nvPr/>
            </p:nvSpPr>
            <p:spPr>
              <a:xfrm>
                <a:off x="8176650" y="3584358"/>
                <a:ext cx="18368" cy="18456"/>
              </a:xfrm>
              <a:custGeom>
                <a:avLst/>
                <a:gdLst>
                  <a:gd name="connsiteX0" fmla="*/ 7868 w 18368"/>
                  <a:gd name="connsiteY0" fmla="*/ 18349 h 18456"/>
                  <a:gd name="connsiteX1" fmla="*/ 18274 w 18368"/>
                  <a:gd name="connsiteY1" fmla="*/ 10574 h 18456"/>
                  <a:gd name="connsiteX2" fmla="*/ 10499 w 18368"/>
                  <a:gd name="connsiteY2" fmla="*/ 107 h 18456"/>
                  <a:gd name="connsiteX3" fmla="*/ 93 w 18368"/>
                  <a:gd name="connsiteY3" fmla="*/ 7882 h 18456"/>
                  <a:gd name="connsiteX4" fmla="*/ 7868 w 18368"/>
                  <a:gd name="connsiteY4" fmla="*/ 1834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56">
                    <a:moveTo>
                      <a:pt x="7868" y="18349"/>
                    </a:moveTo>
                    <a:cubicBezTo>
                      <a:pt x="12892" y="19126"/>
                      <a:pt x="17497" y="15598"/>
                      <a:pt x="18274" y="10574"/>
                    </a:cubicBezTo>
                    <a:cubicBezTo>
                      <a:pt x="18992" y="5550"/>
                      <a:pt x="15523" y="825"/>
                      <a:pt x="10499" y="107"/>
                    </a:cubicBezTo>
                    <a:cubicBezTo>
                      <a:pt x="5476" y="-670"/>
                      <a:pt x="870" y="2859"/>
                      <a:pt x="93" y="7882"/>
                    </a:cubicBezTo>
                    <a:cubicBezTo>
                      <a:pt x="-625" y="12906"/>
                      <a:pt x="2904" y="17571"/>
                      <a:pt x="7868" y="18349"/>
                    </a:cubicBezTo>
                    <a:close/>
                  </a:path>
                </a:pathLst>
              </a:custGeom>
              <a:grpFill/>
              <a:ln w="5978" cap="flat">
                <a:noFill/>
                <a:prstDash val="solid"/>
                <a:miter/>
              </a:ln>
            </p:spPr>
            <p:txBody>
              <a:bodyPr rtlCol="0" anchor="ctr"/>
              <a:lstStyle/>
              <a:p>
                <a:endParaRPr lang="en-GB"/>
              </a:p>
            </p:txBody>
          </p:sp>
        </p:grpSp>
        <p:grpSp>
          <p:nvGrpSpPr>
            <p:cNvPr id="143" name="Graphic 3">
              <a:extLst>
                <a:ext uri="{FF2B5EF4-FFF2-40B4-BE49-F238E27FC236}">
                  <a16:creationId xmlns:a16="http://schemas.microsoft.com/office/drawing/2014/main" id="{7796EFBC-E0CC-4B89-AB07-9F3CDC3B0609}"/>
                </a:ext>
              </a:extLst>
            </p:cNvPr>
            <p:cNvGrpSpPr/>
            <p:nvPr/>
          </p:nvGrpSpPr>
          <p:grpSpPr>
            <a:xfrm>
              <a:off x="7661218" y="2675481"/>
              <a:ext cx="27783" cy="22710"/>
              <a:chOff x="7661218" y="2675481"/>
              <a:chExt cx="27783" cy="22710"/>
            </a:xfrm>
            <a:grpFill/>
          </p:grpSpPr>
          <p:sp>
            <p:nvSpPr>
              <p:cNvPr id="4949" name="Vrije vorm: vorm 4948">
                <a:extLst>
                  <a:ext uri="{FF2B5EF4-FFF2-40B4-BE49-F238E27FC236}">
                    <a16:creationId xmlns:a16="http://schemas.microsoft.com/office/drawing/2014/main" id="{513C4992-C339-4EA1-9026-838F74C1B0E4}"/>
                  </a:ext>
                </a:extLst>
              </p:cNvPr>
              <p:cNvSpPr/>
              <p:nvPr/>
            </p:nvSpPr>
            <p:spPr>
              <a:xfrm>
                <a:off x="7669339" y="2683111"/>
                <a:ext cx="11542" cy="7416"/>
              </a:xfrm>
              <a:custGeom>
                <a:avLst/>
                <a:gdLst>
                  <a:gd name="connsiteX0" fmla="*/ 11542 w 11542"/>
                  <a:gd name="connsiteY0" fmla="*/ 2811 h 7416"/>
                  <a:gd name="connsiteX1" fmla="*/ 1256 w 11542"/>
                  <a:gd name="connsiteY1" fmla="*/ 7416 h 7416"/>
                  <a:gd name="connsiteX2" fmla="*/ 0 w 11542"/>
                  <a:gd name="connsiteY2" fmla="*/ 4665 h 7416"/>
                  <a:gd name="connsiteX3" fmla="*/ 10287 w 11542"/>
                  <a:gd name="connsiteY3" fmla="*/ 0 h 7416"/>
                </a:gdLst>
                <a:ahLst/>
                <a:cxnLst>
                  <a:cxn ang="0">
                    <a:pos x="connsiteX0" y="connsiteY0"/>
                  </a:cxn>
                  <a:cxn ang="0">
                    <a:pos x="connsiteX1" y="connsiteY1"/>
                  </a:cxn>
                  <a:cxn ang="0">
                    <a:pos x="connsiteX2" y="connsiteY2"/>
                  </a:cxn>
                  <a:cxn ang="0">
                    <a:pos x="connsiteX3" y="connsiteY3"/>
                  </a:cxn>
                </a:cxnLst>
                <a:rect l="l" t="t" r="r" b="b"/>
                <a:pathLst>
                  <a:path w="11542" h="7416">
                    <a:moveTo>
                      <a:pt x="11542" y="2811"/>
                    </a:moveTo>
                    <a:lnTo>
                      <a:pt x="1256" y="7416"/>
                    </a:lnTo>
                    <a:lnTo>
                      <a:pt x="0" y="4665"/>
                    </a:lnTo>
                    <a:lnTo>
                      <a:pt x="10287" y="0"/>
                    </a:lnTo>
                    <a:close/>
                  </a:path>
                </a:pathLst>
              </a:custGeom>
              <a:grpFill/>
              <a:ln w="5978" cap="flat">
                <a:noFill/>
                <a:prstDash val="solid"/>
                <a:miter/>
              </a:ln>
            </p:spPr>
            <p:txBody>
              <a:bodyPr rtlCol="0" anchor="ctr"/>
              <a:lstStyle/>
              <a:p>
                <a:endParaRPr lang="en-GB"/>
              </a:p>
            </p:txBody>
          </p:sp>
          <p:sp>
            <p:nvSpPr>
              <p:cNvPr id="4950" name="Vrije vorm: vorm 4949">
                <a:extLst>
                  <a:ext uri="{FF2B5EF4-FFF2-40B4-BE49-F238E27FC236}">
                    <a16:creationId xmlns:a16="http://schemas.microsoft.com/office/drawing/2014/main" id="{7C2F848C-98D1-4DE1-B66E-FCAEDF91C7A1}"/>
                  </a:ext>
                </a:extLst>
              </p:cNvPr>
              <p:cNvSpPr/>
              <p:nvPr/>
            </p:nvSpPr>
            <p:spPr>
              <a:xfrm>
                <a:off x="7670668" y="2675481"/>
                <a:ext cx="18333" cy="18490"/>
              </a:xfrm>
              <a:custGeom>
                <a:avLst/>
                <a:gdLst>
                  <a:gd name="connsiteX0" fmla="*/ 5369 w 18333"/>
                  <a:gd name="connsiteY0" fmla="*/ 812 h 18490"/>
                  <a:gd name="connsiteX1" fmla="*/ 17510 w 18333"/>
                  <a:gd name="connsiteY1" fmla="*/ 5477 h 18490"/>
                  <a:gd name="connsiteX2" fmla="*/ 12965 w 18333"/>
                  <a:gd name="connsiteY2" fmla="*/ 17678 h 18490"/>
                  <a:gd name="connsiteX3" fmla="*/ 824 w 18333"/>
                  <a:gd name="connsiteY3" fmla="*/ 13013 h 18490"/>
                  <a:gd name="connsiteX4" fmla="*/ 5369 w 18333"/>
                  <a:gd name="connsiteY4" fmla="*/ 812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90">
                    <a:moveTo>
                      <a:pt x="5369" y="812"/>
                    </a:moveTo>
                    <a:cubicBezTo>
                      <a:pt x="9974" y="-1281"/>
                      <a:pt x="15416" y="812"/>
                      <a:pt x="17510" y="5477"/>
                    </a:cubicBezTo>
                    <a:cubicBezTo>
                      <a:pt x="19603" y="10142"/>
                      <a:pt x="17570" y="15585"/>
                      <a:pt x="12965" y="17678"/>
                    </a:cubicBezTo>
                    <a:cubicBezTo>
                      <a:pt x="8359" y="19771"/>
                      <a:pt x="2917" y="17678"/>
                      <a:pt x="824" y="13013"/>
                    </a:cubicBezTo>
                    <a:cubicBezTo>
                      <a:pt x="-1269" y="8348"/>
                      <a:pt x="764" y="2906"/>
                      <a:pt x="5369" y="812"/>
                    </a:cubicBezTo>
                    <a:close/>
                  </a:path>
                </a:pathLst>
              </a:custGeom>
              <a:grpFill/>
              <a:ln w="5978" cap="flat">
                <a:noFill/>
                <a:prstDash val="solid"/>
                <a:miter/>
              </a:ln>
            </p:spPr>
            <p:txBody>
              <a:bodyPr rtlCol="0" anchor="ctr"/>
              <a:lstStyle/>
              <a:p>
                <a:endParaRPr lang="en-GB"/>
              </a:p>
            </p:txBody>
          </p:sp>
          <p:sp>
            <p:nvSpPr>
              <p:cNvPr id="4951" name="Vrije vorm: vorm 4950">
                <a:extLst>
                  <a:ext uri="{FF2B5EF4-FFF2-40B4-BE49-F238E27FC236}">
                    <a16:creationId xmlns:a16="http://schemas.microsoft.com/office/drawing/2014/main" id="{F52E1F56-B5CF-4428-A9A6-962A40F35389}"/>
                  </a:ext>
                </a:extLst>
              </p:cNvPr>
              <p:cNvSpPr/>
              <p:nvPr/>
            </p:nvSpPr>
            <p:spPr>
              <a:xfrm>
                <a:off x="7661218" y="2679727"/>
                <a:ext cx="18333" cy="18464"/>
              </a:xfrm>
              <a:custGeom>
                <a:avLst/>
                <a:gdLst>
                  <a:gd name="connsiteX0" fmla="*/ 5369 w 18333"/>
                  <a:gd name="connsiteY0" fmla="*/ 812 h 18464"/>
                  <a:gd name="connsiteX1" fmla="*/ 824 w 18333"/>
                  <a:gd name="connsiteY1" fmla="*/ 13013 h 18464"/>
                  <a:gd name="connsiteX2" fmla="*/ 12964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5"/>
                      <a:pt x="-1270" y="8348"/>
                      <a:pt x="824" y="13013"/>
                    </a:cubicBezTo>
                    <a:cubicBezTo>
                      <a:pt x="2917" y="17678"/>
                      <a:pt x="8360" y="19711"/>
                      <a:pt x="12964" y="17678"/>
                    </a:cubicBezTo>
                    <a:cubicBezTo>
                      <a:pt x="17570" y="15585"/>
                      <a:pt x="19604"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44" name="Graphic 3">
              <a:extLst>
                <a:ext uri="{FF2B5EF4-FFF2-40B4-BE49-F238E27FC236}">
                  <a16:creationId xmlns:a16="http://schemas.microsoft.com/office/drawing/2014/main" id="{42515C0F-8118-4FA9-BA6F-E6A9D59021E4}"/>
                </a:ext>
              </a:extLst>
            </p:cNvPr>
            <p:cNvGrpSpPr/>
            <p:nvPr/>
          </p:nvGrpSpPr>
          <p:grpSpPr>
            <a:xfrm>
              <a:off x="7383190" y="1947183"/>
              <a:ext cx="104305" cy="106599"/>
              <a:chOff x="7383190" y="1947183"/>
              <a:chExt cx="104305" cy="106599"/>
            </a:xfrm>
            <a:grpFill/>
          </p:grpSpPr>
          <p:sp>
            <p:nvSpPr>
              <p:cNvPr id="4946" name="Vrije vorm: vorm 4945">
                <a:extLst>
                  <a:ext uri="{FF2B5EF4-FFF2-40B4-BE49-F238E27FC236}">
                    <a16:creationId xmlns:a16="http://schemas.microsoft.com/office/drawing/2014/main" id="{321317C7-F31D-43CD-ADC0-09AE5C30E361}"/>
                  </a:ext>
                </a:extLst>
              </p:cNvPr>
              <p:cNvSpPr/>
              <p:nvPr/>
            </p:nvSpPr>
            <p:spPr>
              <a:xfrm>
                <a:off x="7390936" y="1954959"/>
                <a:ext cx="88754" cy="91026"/>
              </a:xfrm>
              <a:custGeom>
                <a:avLst/>
                <a:gdLst>
                  <a:gd name="connsiteX0" fmla="*/ 88754 w 88754"/>
                  <a:gd name="connsiteY0" fmla="*/ 2153 h 91026"/>
                  <a:gd name="connsiteX1" fmla="*/ 2213 w 88754"/>
                  <a:gd name="connsiteY1" fmla="*/ 91027 h 91026"/>
                  <a:gd name="connsiteX2" fmla="*/ 0 w 88754"/>
                  <a:gd name="connsiteY2" fmla="*/ 88874 h 91026"/>
                  <a:gd name="connsiteX3" fmla="*/ 86601 w 88754"/>
                  <a:gd name="connsiteY3" fmla="*/ 0 h 91026"/>
                </a:gdLst>
                <a:ahLst/>
                <a:cxnLst>
                  <a:cxn ang="0">
                    <a:pos x="connsiteX0" y="connsiteY0"/>
                  </a:cxn>
                  <a:cxn ang="0">
                    <a:pos x="connsiteX1" y="connsiteY1"/>
                  </a:cxn>
                  <a:cxn ang="0">
                    <a:pos x="connsiteX2" y="connsiteY2"/>
                  </a:cxn>
                  <a:cxn ang="0">
                    <a:pos x="connsiteX3" y="connsiteY3"/>
                  </a:cxn>
                </a:cxnLst>
                <a:rect l="l" t="t" r="r" b="b"/>
                <a:pathLst>
                  <a:path w="88754" h="91026">
                    <a:moveTo>
                      <a:pt x="88754" y="2153"/>
                    </a:moveTo>
                    <a:lnTo>
                      <a:pt x="2213" y="91027"/>
                    </a:lnTo>
                    <a:lnTo>
                      <a:pt x="0" y="88874"/>
                    </a:lnTo>
                    <a:lnTo>
                      <a:pt x="86601" y="0"/>
                    </a:lnTo>
                    <a:close/>
                  </a:path>
                </a:pathLst>
              </a:custGeom>
              <a:grpFill/>
              <a:ln w="5978" cap="flat">
                <a:noFill/>
                <a:prstDash val="solid"/>
                <a:miter/>
              </a:ln>
            </p:spPr>
            <p:txBody>
              <a:bodyPr rtlCol="0" anchor="ctr"/>
              <a:lstStyle/>
              <a:p>
                <a:endParaRPr lang="en-GB"/>
              </a:p>
            </p:txBody>
          </p:sp>
          <p:sp>
            <p:nvSpPr>
              <p:cNvPr id="4947" name="Vrije vorm: vorm 4946">
                <a:extLst>
                  <a:ext uri="{FF2B5EF4-FFF2-40B4-BE49-F238E27FC236}">
                    <a16:creationId xmlns:a16="http://schemas.microsoft.com/office/drawing/2014/main" id="{83BA84BB-12BC-4D41-B24D-DE3B1A7B7901}"/>
                  </a:ext>
                </a:extLst>
              </p:cNvPr>
              <p:cNvSpPr/>
              <p:nvPr/>
            </p:nvSpPr>
            <p:spPr>
              <a:xfrm>
                <a:off x="7469133" y="1947183"/>
                <a:ext cx="18362" cy="18421"/>
              </a:xfrm>
              <a:custGeom>
                <a:avLst/>
                <a:gdLst>
                  <a:gd name="connsiteX0" fmla="*/ 2602 w 18362"/>
                  <a:gd name="connsiteY0" fmla="*/ 2751 h 18421"/>
                  <a:gd name="connsiteX1" fmla="*/ 15581 w 18362"/>
                  <a:gd name="connsiteY1" fmla="*/ 2632 h 18421"/>
                  <a:gd name="connsiteX2" fmla="*/ 15760 w 18362"/>
                  <a:gd name="connsiteY2" fmla="*/ 15670 h 18421"/>
                  <a:gd name="connsiteX3" fmla="*/ 2782 w 18362"/>
                  <a:gd name="connsiteY3" fmla="*/ 15789 h 18421"/>
                  <a:gd name="connsiteX4" fmla="*/ 2602 w 18362"/>
                  <a:gd name="connsiteY4" fmla="*/ 27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2602" y="2751"/>
                    </a:moveTo>
                    <a:cubicBezTo>
                      <a:pt x="6131" y="-897"/>
                      <a:pt x="11932" y="-897"/>
                      <a:pt x="15581" y="2632"/>
                    </a:cubicBezTo>
                    <a:cubicBezTo>
                      <a:pt x="19229" y="6220"/>
                      <a:pt x="19289" y="12021"/>
                      <a:pt x="15760" y="15670"/>
                    </a:cubicBezTo>
                    <a:cubicBezTo>
                      <a:pt x="12231" y="19318"/>
                      <a:pt x="6430" y="19318"/>
                      <a:pt x="2782" y="15789"/>
                    </a:cubicBezTo>
                    <a:cubicBezTo>
                      <a:pt x="-866" y="12201"/>
                      <a:pt x="-926" y="6340"/>
                      <a:pt x="2602" y="2751"/>
                    </a:cubicBezTo>
                    <a:close/>
                  </a:path>
                </a:pathLst>
              </a:custGeom>
              <a:grpFill/>
              <a:ln w="5978" cap="flat">
                <a:noFill/>
                <a:prstDash val="solid"/>
                <a:miter/>
              </a:ln>
            </p:spPr>
            <p:txBody>
              <a:bodyPr rtlCol="0" anchor="ctr"/>
              <a:lstStyle/>
              <a:p>
                <a:endParaRPr lang="en-GB"/>
              </a:p>
            </p:txBody>
          </p:sp>
          <p:sp>
            <p:nvSpPr>
              <p:cNvPr id="4948" name="Vrije vorm: vorm 4947">
                <a:extLst>
                  <a:ext uri="{FF2B5EF4-FFF2-40B4-BE49-F238E27FC236}">
                    <a16:creationId xmlns:a16="http://schemas.microsoft.com/office/drawing/2014/main" id="{B65F946D-BA00-48CB-B5BD-0C0773D84B58}"/>
                  </a:ext>
                </a:extLst>
              </p:cNvPr>
              <p:cNvSpPr/>
              <p:nvPr/>
            </p:nvSpPr>
            <p:spPr>
              <a:xfrm>
                <a:off x="7383190" y="2035361"/>
                <a:ext cx="18362" cy="18421"/>
              </a:xfrm>
              <a:custGeom>
                <a:avLst/>
                <a:gdLst>
                  <a:gd name="connsiteX0" fmla="*/ 2602 w 18362"/>
                  <a:gd name="connsiteY0" fmla="*/ 2729 h 18421"/>
                  <a:gd name="connsiteX1" fmla="*/ 2782 w 18362"/>
                  <a:gd name="connsiteY1" fmla="*/ 15767 h 18421"/>
                  <a:gd name="connsiteX2" fmla="*/ 15760 w 18362"/>
                  <a:gd name="connsiteY2" fmla="*/ 15647 h 18421"/>
                  <a:gd name="connsiteX3" fmla="*/ 15581 w 18362"/>
                  <a:gd name="connsiteY3" fmla="*/ 2610 h 18421"/>
                  <a:gd name="connsiteX4" fmla="*/ 2602 w 18362"/>
                  <a:gd name="connsiteY4" fmla="*/ 272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2602" y="2729"/>
                    </a:moveTo>
                    <a:cubicBezTo>
                      <a:pt x="-926" y="6377"/>
                      <a:pt x="-866" y="12179"/>
                      <a:pt x="2782" y="15767"/>
                    </a:cubicBezTo>
                    <a:cubicBezTo>
                      <a:pt x="6430" y="19356"/>
                      <a:pt x="12231" y="19296"/>
                      <a:pt x="15760" y="15647"/>
                    </a:cubicBezTo>
                    <a:cubicBezTo>
                      <a:pt x="19289" y="11999"/>
                      <a:pt x="19229" y="6198"/>
                      <a:pt x="15581" y="2610"/>
                    </a:cubicBezTo>
                    <a:cubicBezTo>
                      <a:pt x="11932" y="-919"/>
                      <a:pt x="6131" y="-859"/>
                      <a:pt x="2602" y="2729"/>
                    </a:cubicBezTo>
                    <a:close/>
                  </a:path>
                </a:pathLst>
              </a:custGeom>
              <a:grpFill/>
              <a:ln w="5978" cap="flat">
                <a:noFill/>
                <a:prstDash val="solid"/>
                <a:miter/>
              </a:ln>
            </p:spPr>
            <p:txBody>
              <a:bodyPr rtlCol="0" anchor="ctr"/>
              <a:lstStyle/>
              <a:p>
                <a:endParaRPr lang="en-GB"/>
              </a:p>
            </p:txBody>
          </p:sp>
        </p:grpSp>
        <p:grpSp>
          <p:nvGrpSpPr>
            <p:cNvPr id="145" name="Graphic 3">
              <a:extLst>
                <a:ext uri="{FF2B5EF4-FFF2-40B4-BE49-F238E27FC236}">
                  <a16:creationId xmlns:a16="http://schemas.microsoft.com/office/drawing/2014/main" id="{EE8B364F-B182-430F-B1CB-0DB8CEBC5988}"/>
                </a:ext>
              </a:extLst>
            </p:cNvPr>
            <p:cNvGrpSpPr/>
            <p:nvPr/>
          </p:nvGrpSpPr>
          <p:grpSpPr>
            <a:xfrm>
              <a:off x="7307462" y="2009063"/>
              <a:ext cx="400673" cy="303982"/>
              <a:chOff x="7307462" y="2009063"/>
              <a:chExt cx="400673" cy="303982"/>
            </a:xfrm>
            <a:grpFill/>
          </p:grpSpPr>
          <p:sp>
            <p:nvSpPr>
              <p:cNvPr id="4943" name="Vrije vorm: vorm 4942">
                <a:extLst>
                  <a:ext uri="{FF2B5EF4-FFF2-40B4-BE49-F238E27FC236}">
                    <a16:creationId xmlns:a16="http://schemas.microsoft.com/office/drawing/2014/main" id="{3650D971-8271-486D-B99D-13E609435C48}"/>
                  </a:ext>
                </a:extLst>
              </p:cNvPr>
              <p:cNvSpPr/>
              <p:nvPr/>
            </p:nvSpPr>
            <p:spPr>
              <a:xfrm>
                <a:off x="7315339" y="2016739"/>
                <a:ext cx="384860" cy="288569"/>
              </a:xfrm>
              <a:custGeom>
                <a:avLst/>
                <a:gdLst>
                  <a:gd name="connsiteX0" fmla="*/ 384860 w 384860"/>
                  <a:gd name="connsiteY0" fmla="*/ 2452 h 288569"/>
                  <a:gd name="connsiteX1" fmla="*/ 1795 w 384860"/>
                  <a:gd name="connsiteY1" fmla="*/ 288570 h 288569"/>
                  <a:gd name="connsiteX2" fmla="*/ 0 w 384860"/>
                  <a:gd name="connsiteY2" fmla="*/ 286118 h 288569"/>
                  <a:gd name="connsiteX3" fmla="*/ 383066 w 384860"/>
                  <a:gd name="connsiteY3" fmla="*/ 0 h 288569"/>
                </a:gdLst>
                <a:ahLst/>
                <a:cxnLst>
                  <a:cxn ang="0">
                    <a:pos x="connsiteX0" y="connsiteY0"/>
                  </a:cxn>
                  <a:cxn ang="0">
                    <a:pos x="connsiteX1" y="connsiteY1"/>
                  </a:cxn>
                  <a:cxn ang="0">
                    <a:pos x="connsiteX2" y="connsiteY2"/>
                  </a:cxn>
                  <a:cxn ang="0">
                    <a:pos x="connsiteX3" y="connsiteY3"/>
                  </a:cxn>
                </a:cxnLst>
                <a:rect l="l" t="t" r="r" b="b"/>
                <a:pathLst>
                  <a:path w="384860" h="288569">
                    <a:moveTo>
                      <a:pt x="384860" y="2452"/>
                    </a:moveTo>
                    <a:lnTo>
                      <a:pt x="1795" y="288570"/>
                    </a:lnTo>
                    <a:lnTo>
                      <a:pt x="0" y="286118"/>
                    </a:lnTo>
                    <a:lnTo>
                      <a:pt x="383066" y="0"/>
                    </a:lnTo>
                    <a:close/>
                  </a:path>
                </a:pathLst>
              </a:custGeom>
              <a:grpFill/>
              <a:ln w="5978" cap="flat">
                <a:noFill/>
                <a:prstDash val="solid"/>
                <a:miter/>
              </a:ln>
            </p:spPr>
            <p:txBody>
              <a:bodyPr rtlCol="0" anchor="ctr"/>
              <a:lstStyle/>
              <a:p>
                <a:endParaRPr lang="en-GB"/>
              </a:p>
            </p:txBody>
          </p:sp>
          <p:sp>
            <p:nvSpPr>
              <p:cNvPr id="4944" name="Vrije vorm: vorm 4943">
                <a:extLst>
                  <a:ext uri="{FF2B5EF4-FFF2-40B4-BE49-F238E27FC236}">
                    <a16:creationId xmlns:a16="http://schemas.microsoft.com/office/drawing/2014/main" id="{A3393142-3D7E-4C75-91C1-B397AC553029}"/>
                  </a:ext>
                </a:extLst>
              </p:cNvPr>
              <p:cNvSpPr/>
              <p:nvPr/>
            </p:nvSpPr>
            <p:spPr>
              <a:xfrm>
                <a:off x="7307462" y="2294642"/>
                <a:ext cx="18300" cy="18403"/>
              </a:xfrm>
              <a:custGeom>
                <a:avLst/>
                <a:gdLst>
                  <a:gd name="connsiteX0" fmla="*/ 14635 w 18300"/>
                  <a:gd name="connsiteY0" fmla="*/ 16588 h 18403"/>
                  <a:gd name="connsiteX1" fmla="*/ 1836 w 18300"/>
                  <a:gd name="connsiteY1" fmla="*/ 14674 h 18403"/>
                  <a:gd name="connsiteX2" fmla="*/ 3691 w 18300"/>
                  <a:gd name="connsiteY2" fmla="*/ 1815 h 18403"/>
                  <a:gd name="connsiteX3" fmla="*/ 16490 w 18300"/>
                  <a:gd name="connsiteY3" fmla="*/ 3729 h 18403"/>
                  <a:gd name="connsiteX4" fmla="*/ 14635 w 18300"/>
                  <a:gd name="connsiteY4" fmla="*/ 16588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03">
                    <a:moveTo>
                      <a:pt x="14635" y="16588"/>
                    </a:moveTo>
                    <a:cubicBezTo>
                      <a:pt x="10569" y="19638"/>
                      <a:pt x="4827" y="18741"/>
                      <a:pt x="1836" y="14674"/>
                    </a:cubicBezTo>
                    <a:cubicBezTo>
                      <a:pt x="-1213" y="10607"/>
                      <a:pt x="-376" y="4806"/>
                      <a:pt x="3691" y="1815"/>
                    </a:cubicBezTo>
                    <a:cubicBezTo>
                      <a:pt x="7758" y="-1235"/>
                      <a:pt x="13499" y="-338"/>
                      <a:pt x="16490" y="3729"/>
                    </a:cubicBezTo>
                    <a:cubicBezTo>
                      <a:pt x="19480" y="7796"/>
                      <a:pt x="18702" y="13538"/>
                      <a:pt x="14635" y="16588"/>
                    </a:cubicBezTo>
                    <a:close/>
                  </a:path>
                </a:pathLst>
              </a:custGeom>
              <a:grpFill/>
              <a:ln w="5978" cap="flat">
                <a:noFill/>
                <a:prstDash val="solid"/>
                <a:miter/>
              </a:ln>
            </p:spPr>
            <p:txBody>
              <a:bodyPr rtlCol="0" anchor="ctr"/>
              <a:lstStyle/>
              <a:p>
                <a:endParaRPr lang="en-GB"/>
              </a:p>
            </p:txBody>
          </p:sp>
          <p:sp>
            <p:nvSpPr>
              <p:cNvPr id="4945" name="Vrije vorm: vorm 4944">
                <a:extLst>
                  <a:ext uri="{FF2B5EF4-FFF2-40B4-BE49-F238E27FC236}">
                    <a16:creationId xmlns:a16="http://schemas.microsoft.com/office/drawing/2014/main" id="{EB012E65-C3C7-4896-BC34-5C68F27FBEA0}"/>
                  </a:ext>
                </a:extLst>
              </p:cNvPr>
              <p:cNvSpPr/>
              <p:nvPr/>
            </p:nvSpPr>
            <p:spPr>
              <a:xfrm>
                <a:off x="7689810" y="2009063"/>
                <a:ext cx="18326" cy="18420"/>
              </a:xfrm>
              <a:custGeom>
                <a:avLst/>
                <a:gdLst>
                  <a:gd name="connsiteX0" fmla="*/ 14636 w 18326"/>
                  <a:gd name="connsiteY0" fmla="*/ 16588 h 18420"/>
                  <a:gd name="connsiteX1" fmla="*/ 16489 w 18326"/>
                  <a:gd name="connsiteY1" fmla="*/ 3729 h 18420"/>
                  <a:gd name="connsiteX2" fmla="*/ 3691 w 18326"/>
                  <a:gd name="connsiteY2" fmla="*/ 1815 h 18420"/>
                  <a:gd name="connsiteX3" fmla="*/ 1837 w 18326"/>
                  <a:gd name="connsiteY3" fmla="*/ 14674 h 18420"/>
                  <a:gd name="connsiteX4" fmla="*/ 14636 w 18326"/>
                  <a:gd name="connsiteY4" fmla="*/ 16588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0">
                    <a:moveTo>
                      <a:pt x="14636" y="16588"/>
                    </a:moveTo>
                    <a:cubicBezTo>
                      <a:pt x="18702" y="13537"/>
                      <a:pt x="19539" y="7796"/>
                      <a:pt x="16489" y="3729"/>
                    </a:cubicBezTo>
                    <a:cubicBezTo>
                      <a:pt x="13440" y="-338"/>
                      <a:pt x="7698" y="-1235"/>
                      <a:pt x="3691" y="1815"/>
                    </a:cubicBezTo>
                    <a:cubicBezTo>
                      <a:pt x="-376" y="4865"/>
                      <a:pt x="-1213" y="10607"/>
                      <a:pt x="1837" y="14674"/>
                    </a:cubicBezTo>
                    <a:cubicBezTo>
                      <a:pt x="4827" y="18801"/>
                      <a:pt x="10568" y="19638"/>
                      <a:pt x="14636" y="16588"/>
                    </a:cubicBezTo>
                    <a:close/>
                  </a:path>
                </a:pathLst>
              </a:custGeom>
              <a:grpFill/>
              <a:ln w="5978" cap="flat">
                <a:noFill/>
                <a:prstDash val="solid"/>
                <a:miter/>
              </a:ln>
            </p:spPr>
            <p:txBody>
              <a:bodyPr rtlCol="0" anchor="ctr"/>
              <a:lstStyle/>
              <a:p>
                <a:endParaRPr lang="en-GB"/>
              </a:p>
            </p:txBody>
          </p:sp>
        </p:grpSp>
        <p:grpSp>
          <p:nvGrpSpPr>
            <p:cNvPr id="146" name="Graphic 3">
              <a:extLst>
                <a:ext uri="{FF2B5EF4-FFF2-40B4-BE49-F238E27FC236}">
                  <a16:creationId xmlns:a16="http://schemas.microsoft.com/office/drawing/2014/main" id="{00F2A42E-9F23-40F2-B164-CC1B42E2B505}"/>
                </a:ext>
              </a:extLst>
            </p:cNvPr>
            <p:cNvGrpSpPr/>
            <p:nvPr/>
          </p:nvGrpSpPr>
          <p:grpSpPr>
            <a:xfrm>
              <a:off x="7564839" y="2646617"/>
              <a:ext cx="184456" cy="62222"/>
              <a:chOff x="7564839" y="2646617"/>
              <a:chExt cx="184456" cy="62222"/>
            </a:xfrm>
            <a:grpFill/>
          </p:grpSpPr>
          <p:sp>
            <p:nvSpPr>
              <p:cNvPr id="4940" name="Vrije vorm: vorm 4939">
                <a:extLst>
                  <a:ext uri="{FF2B5EF4-FFF2-40B4-BE49-F238E27FC236}">
                    <a16:creationId xmlns:a16="http://schemas.microsoft.com/office/drawing/2014/main" id="{EA20C0A8-9925-43F8-8973-9F4D9466A9AB}"/>
                  </a:ext>
                </a:extLst>
              </p:cNvPr>
              <p:cNvSpPr/>
              <p:nvPr/>
            </p:nvSpPr>
            <p:spPr>
              <a:xfrm>
                <a:off x="7573286" y="2654509"/>
                <a:ext cx="167678" cy="47201"/>
              </a:xfrm>
              <a:custGeom>
                <a:avLst/>
                <a:gdLst>
                  <a:gd name="connsiteX0" fmla="*/ 0 w 167678"/>
                  <a:gd name="connsiteY0" fmla="*/ 44254 h 47201"/>
                  <a:gd name="connsiteX1" fmla="*/ 166897 w 167678"/>
                  <a:gd name="connsiteY1" fmla="*/ 0 h 47201"/>
                  <a:gd name="connsiteX2" fmla="*/ 167678 w 167678"/>
                  <a:gd name="connsiteY2" fmla="*/ 2948 h 47201"/>
                  <a:gd name="connsiteX3" fmla="*/ 782 w 167678"/>
                  <a:gd name="connsiteY3" fmla="*/ 47202 h 47201"/>
                </a:gdLst>
                <a:ahLst/>
                <a:cxnLst>
                  <a:cxn ang="0">
                    <a:pos x="connsiteX0" y="connsiteY0"/>
                  </a:cxn>
                  <a:cxn ang="0">
                    <a:pos x="connsiteX1" y="connsiteY1"/>
                  </a:cxn>
                  <a:cxn ang="0">
                    <a:pos x="connsiteX2" y="connsiteY2"/>
                  </a:cxn>
                  <a:cxn ang="0">
                    <a:pos x="connsiteX3" y="connsiteY3"/>
                  </a:cxn>
                </a:cxnLst>
                <a:rect l="l" t="t" r="r" b="b"/>
                <a:pathLst>
                  <a:path w="167678" h="47201">
                    <a:moveTo>
                      <a:pt x="0" y="44254"/>
                    </a:moveTo>
                    <a:lnTo>
                      <a:pt x="166897" y="0"/>
                    </a:lnTo>
                    <a:lnTo>
                      <a:pt x="167678" y="2948"/>
                    </a:lnTo>
                    <a:lnTo>
                      <a:pt x="782" y="47202"/>
                    </a:lnTo>
                    <a:close/>
                  </a:path>
                </a:pathLst>
              </a:custGeom>
              <a:grpFill/>
              <a:ln w="5978" cap="flat">
                <a:noFill/>
                <a:prstDash val="solid"/>
                <a:miter/>
              </a:ln>
            </p:spPr>
            <p:txBody>
              <a:bodyPr rtlCol="0" anchor="ctr"/>
              <a:lstStyle/>
              <a:p>
                <a:endParaRPr lang="en-GB"/>
              </a:p>
            </p:txBody>
          </p:sp>
          <p:sp>
            <p:nvSpPr>
              <p:cNvPr id="4941" name="Vrije vorm: vorm 4940">
                <a:extLst>
                  <a:ext uri="{FF2B5EF4-FFF2-40B4-BE49-F238E27FC236}">
                    <a16:creationId xmlns:a16="http://schemas.microsoft.com/office/drawing/2014/main" id="{9400732A-A4C8-48B6-81D4-C7AE113E8A12}"/>
                  </a:ext>
                </a:extLst>
              </p:cNvPr>
              <p:cNvSpPr/>
              <p:nvPr/>
            </p:nvSpPr>
            <p:spPr>
              <a:xfrm>
                <a:off x="7564839" y="2690396"/>
                <a:ext cx="18357" cy="18443"/>
              </a:xfrm>
              <a:custGeom>
                <a:avLst/>
                <a:gdLst>
                  <a:gd name="connsiteX0" fmla="*/ 11559 w 18357"/>
                  <a:gd name="connsiteY0" fmla="*/ 18133 h 18443"/>
                  <a:gd name="connsiteX1" fmla="*/ 315 w 18357"/>
                  <a:gd name="connsiteY1" fmla="*/ 11554 h 18443"/>
                  <a:gd name="connsiteX2" fmla="*/ 6834 w 18357"/>
                  <a:gd name="connsiteY2" fmla="*/ 311 h 18443"/>
                  <a:gd name="connsiteX3" fmla="*/ 18018 w 18357"/>
                  <a:gd name="connsiteY3" fmla="*/ 6889 h 18443"/>
                  <a:gd name="connsiteX4" fmla="*/ 11559 w 18357"/>
                  <a:gd name="connsiteY4" fmla="*/ 1813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3">
                    <a:moveTo>
                      <a:pt x="11559" y="18133"/>
                    </a:moveTo>
                    <a:cubicBezTo>
                      <a:pt x="6655" y="19449"/>
                      <a:pt x="1630" y="16459"/>
                      <a:pt x="315" y="11554"/>
                    </a:cubicBezTo>
                    <a:cubicBezTo>
                      <a:pt x="-1001" y="6650"/>
                      <a:pt x="1930" y="1626"/>
                      <a:pt x="6834" y="311"/>
                    </a:cubicBezTo>
                    <a:cubicBezTo>
                      <a:pt x="11738" y="-1005"/>
                      <a:pt x="16762" y="1985"/>
                      <a:pt x="18018" y="6889"/>
                    </a:cubicBezTo>
                    <a:cubicBezTo>
                      <a:pt x="19394" y="11853"/>
                      <a:pt x="16463" y="16877"/>
                      <a:pt x="11559" y="18133"/>
                    </a:cubicBezTo>
                    <a:close/>
                  </a:path>
                </a:pathLst>
              </a:custGeom>
              <a:grpFill/>
              <a:ln w="5978" cap="flat">
                <a:noFill/>
                <a:prstDash val="solid"/>
                <a:miter/>
              </a:ln>
            </p:spPr>
            <p:txBody>
              <a:bodyPr rtlCol="0" anchor="ctr"/>
              <a:lstStyle/>
              <a:p>
                <a:endParaRPr lang="en-GB"/>
              </a:p>
            </p:txBody>
          </p:sp>
          <p:sp>
            <p:nvSpPr>
              <p:cNvPr id="4942" name="Vrije vorm: vorm 4941">
                <a:extLst>
                  <a:ext uri="{FF2B5EF4-FFF2-40B4-BE49-F238E27FC236}">
                    <a16:creationId xmlns:a16="http://schemas.microsoft.com/office/drawing/2014/main" id="{13D5F1EC-EF8B-4294-B16C-67868836EF8A}"/>
                  </a:ext>
                </a:extLst>
              </p:cNvPr>
              <p:cNvSpPr/>
              <p:nvPr/>
            </p:nvSpPr>
            <p:spPr>
              <a:xfrm>
                <a:off x="7730945" y="2646617"/>
                <a:ext cx="18351" cy="18447"/>
              </a:xfrm>
              <a:custGeom>
                <a:avLst/>
                <a:gdLst>
                  <a:gd name="connsiteX0" fmla="*/ 11538 w 18351"/>
                  <a:gd name="connsiteY0" fmla="*/ 18133 h 18447"/>
                  <a:gd name="connsiteX1" fmla="*/ 18057 w 18351"/>
                  <a:gd name="connsiteY1" fmla="*/ 6889 h 18447"/>
                  <a:gd name="connsiteX2" fmla="*/ 6813 w 18351"/>
                  <a:gd name="connsiteY2" fmla="*/ 311 h 18447"/>
                  <a:gd name="connsiteX3" fmla="*/ 294 w 18351"/>
                  <a:gd name="connsiteY3" fmla="*/ 11554 h 18447"/>
                  <a:gd name="connsiteX4" fmla="*/ 11538 w 18351"/>
                  <a:gd name="connsiteY4" fmla="*/ 18133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47">
                    <a:moveTo>
                      <a:pt x="11538" y="18133"/>
                    </a:moveTo>
                    <a:cubicBezTo>
                      <a:pt x="16442" y="16818"/>
                      <a:pt x="19313" y="11794"/>
                      <a:pt x="18057" y="6889"/>
                    </a:cubicBezTo>
                    <a:cubicBezTo>
                      <a:pt x="16741" y="1985"/>
                      <a:pt x="11718" y="-1005"/>
                      <a:pt x="6813" y="311"/>
                    </a:cubicBezTo>
                    <a:cubicBezTo>
                      <a:pt x="1909" y="1626"/>
                      <a:pt x="-961" y="6650"/>
                      <a:pt x="294" y="11554"/>
                    </a:cubicBezTo>
                    <a:cubicBezTo>
                      <a:pt x="1670" y="16519"/>
                      <a:pt x="6634" y="19449"/>
                      <a:pt x="11538" y="18133"/>
                    </a:cubicBezTo>
                    <a:close/>
                  </a:path>
                </a:pathLst>
              </a:custGeom>
              <a:grpFill/>
              <a:ln w="5978" cap="flat">
                <a:noFill/>
                <a:prstDash val="solid"/>
                <a:miter/>
              </a:ln>
            </p:spPr>
            <p:txBody>
              <a:bodyPr rtlCol="0" anchor="ctr"/>
              <a:lstStyle/>
              <a:p>
                <a:endParaRPr lang="en-GB"/>
              </a:p>
            </p:txBody>
          </p:sp>
        </p:grpSp>
        <p:grpSp>
          <p:nvGrpSpPr>
            <p:cNvPr id="147" name="Graphic 3">
              <a:extLst>
                <a:ext uri="{FF2B5EF4-FFF2-40B4-BE49-F238E27FC236}">
                  <a16:creationId xmlns:a16="http://schemas.microsoft.com/office/drawing/2014/main" id="{BD09F236-B556-4F2F-96A7-FB4D9EE00CA9}"/>
                </a:ext>
              </a:extLst>
            </p:cNvPr>
            <p:cNvGrpSpPr/>
            <p:nvPr/>
          </p:nvGrpSpPr>
          <p:grpSpPr>
            <a:xfrm>
              <a:off x="7716678" y="3077813"/>
              <a:ext cx="166020" cy="45267"/>
              <a:chOff x="7716678" y="3077813"/>
              <a:chExt cx="166020" cy="45267"/>
            </a:xfrm>
            <a:grpFill/>
          </p:grpSpPr>
          <p:sp>
            <p:nvSpPr>
              <p:cNvPr id="4937" name="Vrije vorm: vorm 4936">
                <a:extLst>
                  <a:ext uri="{FF2B5EF4-FFF2-40B4-BE49-F238E27FC236}">
                    <a16:creationId xmlns:a16="http://schemas.microsoft.com/office/drawing/2014/main" id="{E45B6CA9-B52C-4C29-97C7-3EE63CE20B84}"/>
                  </a:ext>
                </a:extLst>
              </p:cNvPr>
              <p:cNvSpPr/>
              <p:nvPr/>
            </p:nvSpPr>
            <p:spPr>
              <a:xfrm>
                <a:off x="7725139" y="3085434"/>
                <a:ext cx="149099" cy="30023"/>
              </a:xfrm>
              <a:custGeom>
                <a:avLst/>
                <a:gdLst>
                  <a:gd name="connsiteX0" fmla="*/ 148562 w 149099"/>
                  <a:gd name="connsiteY0" fmla="*/ 0 h 30023"/>
                  <a:gd name="connsiteX1" fmla="*/ 149100 w 149099"/>
                  <a:gd name="connsiteY1" fmla="*/ 3050 h 30023"/>
                  <a:gd name="connsiteX2" fmla="*/ 539 w 149099"/>
                  <a:gd name="connsiteY2" fmla="*/ 30023 h 30023"/>
                  <a:gd name="connsiteX3" fmla="*/ 0 w 149099"/>
                  <a:gd name="connsiteY3" fmla="*/ 26973 h 30023"/>
                </a:gdLst>
                <a:ahLst/>
                <a:cxnLst>
                  <a:cxn ang="0">
                    <a:pos x="connsiteX0" y="connsiteY0"/>
                  </a:cxn>
                  <a:cxn ang="0">
                    <a:pos x="connsiteX1" y="connsiteY1"/>
                  </a:cxn>
                  <a:cxn ang="0">
                    <a:pos x="connsiteX2" y="connsiteY2"/>
                  </a:cxn>
                  <a:cxn ang="0">
                    <a:pos x="connsiteX3" y="connsiteY3"/>
                  </a:cxn>
                </a:cxnLst>
                <a:rect l="l" t="t" r="r" b="b"/>
                <a:pathLst>
                  <a:path w="149099" h="30023">
                    <a:moveTo>
                      <a:pt x="148562" y="0"/>
                    </a:moveTo>
                    <a:lnTo>
                      <a:pt x="149100" y="3050"/>
                    </a:lnTo>
                    <a:lnTo>
                      <a:pt x="539" y="30023"/>
                    </a:lnTo>
                    <a:lnTo>
                      <a:pt x="0" y="26973"/>
                    </a:lnTo>
                    <a:close/>
                  </a:path>
                </a:pathLst>
              </a:custGeom>
              <a:grpFill/>
              <a:ln w="5978" cap="flat">
                <a:noFill/>
                <a:prstDash val="solid"/>
                <a:miter/>
              </a:ln>
            </p:spPr>
            <p:txBody>
              <a:bodyPr rtlCol="0" anchor="ctr"/>
              <a:lstStyle/>
              <a:p>
                <a:endParaRPr lang="en-GB"/>
              </a:p>
            </p:txBody>
          </p:sp>
          <p:sp>
            <p:nvSpPr>
              <p:cNvPr id="4938" name="Vrije vorm: vorm 4937">
                <a:extLst>
                  <a:ext uri="{FF2B5EF4-FFF2-40B4-BE49-F238E27FC236}">
                    <a16:creationId xmlns:a16="http://schemas.microsoft.com/office/drawing/2014/main" id="{BA8C1A83-0B4B-49B7-ABD2-177DF97DE3D2}"/>
                  </a:ext>
                </a:extLst>
              </p:cNvPr>
              <p:cNvSpPr/>
              <p:nvPr/>
            </p:nvSpPr>
            <p:spPr>
              <a:xfrm>
                <a:off x="7864342" y="3077813"/>
                <a:ext cx="18356" cy="18412"/>
              </a:xfrm>
              <a:custGeom>
                <a:avLst/>
                <a:gdLst>
                  <a:gd name="connsiteX0" fmla="*/ 7504 w 18356"/>
                  <a:gd name="connsiteY0" fmla="*/ 145 h 18412"/>
                  <a:gd name="connsiteX1" fmla="*/ 18209 w 18356"/>
                  <a:gd name="connsiteY1" fmla="*/ 7561 h 18412"/>
                  <a:gd name="connsiteX2" fmla="*/ 10853 w 18356"/>
                  <a:gd name="connsiteY2" fmla="*/ 18267 h 18412"/>
                  <a:gd name="connsiteX3" fmla="*/ 147 w 18356"/>
                  <a:gd name="connsiteY3" fmla="*/ 10851 h 18412"/>
                  <a:gd name="connsiteX4" fmla="*/ 7504 w 18356"/>
                  <a:gd name="connsiteY4" fmla="*/ 145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2">
                    <a:moveTo>
                      <a:pt x="7504" y="145"/>
                    </a:moveTo>
                    <a:cubicBezTo>
                      <a:pt x="12467" y="-752"/>
                      <a:pt x="17252" y="2598"/>
                      <a:pt x="18209" y="7561"/>
                    </a:cubicBezTo>
                    <a:cubicBezTo>
                      <a:pt x="19106" y="12585"/>
                      <a:pt x="15817" y="17370"/>
                      <a:pt x="10853" y="18267"/>
                    </a:cubicBezTo>
                    <a:cubicBezTo>
                      <a:pt x="5889" y="19164"/>
                      <a:pt x="1105" y="15815"/>
                      <a:pt x="147" y="10851"/>
                    </a:cubicBezTo>
                    <a:cubicBezTo>
                      <a:pt x="-750" y="5887"/>
                      <a:pt x="2540" y="1102"/>
                      <a:pt x="7504" y="145"/>
                    </a:cubicBezTo>
                    <a:close/>
                  </a:path>
                </a:pathLst>
              </a:custGeom>
              <a:grpFill/>
              <a:ln w="5978" cap="flat">
                <a:noFill/>
                <a:prstDash val="solid"/>
                <a:miter/>
              </a:ln>
            </p:spPr>
            <p:txBody>
              <a:bodyPr rtlCol="0" anchor="ctr"/>
              <a:lstStyle/>
              <a:p>
                <a:endParaRPr lang="en-GB"/>
              </a:p>
            </p:txBody>
          </p:sp>
          <p:sp>
            <p:nvSpPr>
              <p:cNvPr id="4939" name="Vrije vorm: vorm 4938">
                <a:extLst>
                  <a:ext uri="{FF2B5EF4-FFF2-40B4-BE49-F238E27FC236}">
                    <a16:creationId xmlns:a16="http://schemas.microsoft.com/office/drawing/2014/main" id="{DA5D771B-E8F6-4F48-A3B3-5764431276C0}"/>
                  </a:ext>
                </a:extLst>
              </p:cNvPr>
              <p:cNvSpPr/>
              <p:nvPr/>
            </p:nvSpPr>
            <p:spPr>
              <a:xfrm>
                <a:off x="7716678" y="3104649"/>
                <a:ext cx="18356" cy="18432"/>
              </a:xfrm>
              <a:custGeom>
                <a:avLst/>
                <a:gdLst>
                  <a:gd name="connsiteX0" fmla="*/ 7504 w 18356"/>
                  <a:gd name="connsiteY0" fmla="*/ 163 h 18432"/>
                  <a:gd name="connsiteX1" fmla="*/ 147 w 18356"/>
                  <a:gd name="connsiteY1" fmla="*/ 10869 h 18432"/>
                  <a:gd name="connsiteX2" fmla="*/ 10853 w 18356"/>
                  <a:gd name="connsiteY2" fmla="*/ 18285 h 18432"/>
                  <a:gd name="connsiteX3" fmla="*/ 18209 w 18356"/>
                  <a:gd name="connsiteY3" fmla="*/ 7580 h 18432"/>
                  <a:gd name="connsiteX4" fmla="*/ 7504 w 18356"/>
                  <a:gd name="connsiteY4" fmla="*/ 163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2">
                    <a:moveTo>
                      <a:pt x="7504" y="163"/>
                    </a:moveTo>
                    <a:cubicBezTo>
                      <a:pt x="2540" y="1061"/>
                      <a:pt x="-749" y="5845"/>
                      <a:pt x="147" y="10869"/>
                    </a:cubicBezTo>
                    <a:cubicBezTo>
                      <a:pt x="1045" y="15893"/>
                      <a:pt x="5829" y="19182"/>
                      <a:pt x="10853" y="18285"/>
                    </a:cubicBezTo>
                    <a:cubicBezTo>
                      <a:pt x="15817" y="17388"/>
                      <a:pt x="19106" y="12603"/>
                      <a:pt x="18209" y="7580"/>
                    </a:cubicBezTo>
                    <a:cubicBezTo>
                      <a:pt x="17252" y="2556"/>
                      <a:pt x="12468" y="-794"/>
                      <a:pt x="7504" y="163"/>
                    </a:cubicBezTo>
                    <a:close/>
                  </a:path>
                </a:pathLst>
              </a:custGeom>
              <a:grpFill/>
              <a:ln w="5978" cap="flat">
                <a:noFill/>
                <a:prstDash val="solid"/>
                <a:miter/>
              </a:ln>
            </p:spPr>
            <p:txBody>
              <a:bodyPr rtlCol="0" anchor="ctr"/>
              <a:lstStyle/>
              <a:p>
                <a:endParaRPr lang="en-GB"/>
              </a:p>
            </p:txBody>
          </p:sp>
        </p:grpSp>
        <p:grpSp>
          <p:nvGrpSpPr>
            <p:cNvPr id="148" name="Graphic 3">
              <a:extLst>
                <a:ext uri="{FF2B5EF4-FFF2-40B4-BE49-F238E27FC236}">
                  <a16:creationId xmlns:a16="http://schemas.microsoft.com/office/drawing/2014/main" id="{D5CF38FB-BF33-4BA2-8FF5-B8488DDBB36B}"/>
                </a:ext>
              </a:extLst>
            </p:cNvPr>
            <p:cNvGrpSpPr/>
            <p:nvPr/>
          </p:nvGrpSpPr>
          <p:grpSpPr>
            <a:xfrm>
              <a:off x="7643534" y="2849174"/>
              <a:ext cx="159502" cy="63798"/>
              <a:chOff x="7643534" y="2849174"/>
              <a:chExt cx="159502" cy="63798"/>
            </a:xfrm>
            <a:grpFill/>
          </p:grpSpPr>
          <p:sp>
            <p:nvSpPr>
              <p:cNvPr id="4934" name="Vrije vorm: vorm 4933">
                <a:extLst>
                  <a:ext uri="{FF2B5EF4-FFF2-40B4-BE49-F238E27FC236}">
                    <a16:creationId xmlns:a16="http://schemas.microsoft.com/office/drawing/2014/main" id="{57F194DA-26BE-41CF-95F6-B0678EDBF0B0}"/>
                  </a:ext>
                </a:extLst>
              </p:cNvPr>
              <p:cNvSpPr/>
              <p:nvPr/>
            </p:nvSpPr>
            <p:spPr>
              <a:xfrm>
                <a:off x="7651815" y="2856791"/>
                <a:ext cx="142999" cy="48563"/>
              </a:xfrm>
              <a:custGeom>
                <a:avLst/>
                <a:gdLst>
                  <a:gd name="connsiteX0" fmla="*/ 142042 w 142999"/>
                  <a:gd name="connsiteY0" fmla="*/ 0 h 48563"/>
                  <a:gd name="connsiteX1" fmla="*/ 142999 w 142999"/>
                  <a:gd name="connsiteY1" fmla="*/ 2931 h 48563"/>
                  <a:gd name="connsiteX2" fmla="*/ 957 w 142999"/>
                  <a:gd name="connsiteY2" fmla="*/ 48564 h 48563"/>
                  <a:gd name="connsiteX3" fmla="*/ 0 w 142999"/>
                  <a:gd name="connsiteY3" fmla="*/ 45633 h 48563"/>
                </a:gdLst>
                <a:ahLst/>
                <a:cxnLst>
                  <a:cxn ang="0">
                    <a:pos x="connsiteX0" y="connsiteY0"/>
                  </a:cxn>
                  <a:cxn ang="0">
                    <a:pos x="connsiteX1" y="connsiteY1"/>
                  </a:cxn>
                  <a:cxn ang="0">
                    <a:pos x="connsiteX2" y="connsiteY2"/>
                  </a:cxn>
                  <a:cxn ang="0">
                    <a:pos x="connsiteX3" y="connsiteY3"/>
                  </a:cxn>
                </a:cxnLst>
                <a:rect l="l" t="t" r="r" b="b"/>
                <a:pathLst>
                  <a:path w="142999" h="48563">
                    <a:moveTo>
                      <a:pt x="142042" y="0"/>
                    </a:moveTo>
                    <a:lnTo>
                      <a:pt x="142999" y="2931"/>
                    </a:lnTo>
                    <a:lnTo>
                      <a:pt x="957" y="48564"/>
                    </a:lnTo>
                    <a:lnTo>
                      <a:pt x="0" y="45633"/>
                    </a:lnTo>
                    <a:close/>
                  </a:path>
                </a:pathLst>
              </a:custGeom>
              <a:grpFill/>
              <a:ln w="5978" cap="flat">
                <a:noFill/>
                <a:prstDash val="solid"/>
                <a:miter/>
              </a:ln>
            </p:spPr>
            <p:txBody>
              <a:bodyPr rtlCol="0" anchor="ctr"/>
              <a:lstStyle/>
              <a:p>
                <a:endParaRPr lang="en-GB"/>
              </a:p>
            </p:txBody>
          </p:sp>
          <p:sp>
            <p:nvSpPr>
              <p:cNvPr id="4935" name="Vrije vorm: vorm 4934">
                <a:extLst>
                  <a:ext uri="{FF2B5EF4-FFF2-40B4-BE49-F238E27FC236}">
                    <a16:creationId xmlns:a16="http://schemas.microsoft.com/office/drawing/2014/main" id="{8E8B5271-9F77-415C-BC3D-CB2EEA0B51D1}"/>
                  </a:ext>
                </a:extLst>
              </p:cNvPr>
              <p:cNvSpPr/>
              <p:nvPr/>
            </p:nvSpPr>
            <p:spPr>
              <a:xfrm>
                <a:off x="7784706" y="2849174"/>
                <a:ext cx="18329" cy="18465"/>
              </a:xfrm>
              <a:custGeom>
                <a:avLst/>
                <a:gdLst>
                  <a:gd name="connsiteX0" fmla="*/ 6340 w 18329"/>
                  <a:gd name="connsiteY0" fmla="*/ 441 h 18465"/>
                  <a:gd name="connsiteX1" fmla="*/ 17883 w 18329"/>
                  <a:gd name="connsiteY1" fmla="*/ 6422 h 18465"/>
                  <a:gd name="connsiteX2" fmla="*/ 11962 w 18329"/>
                  <a:gd name="connsiteY2" fmla="*/ 18024 h 18465"/>
                  <a:gd name="connsiteX3" fmla="*/ 419 w 18329"/>
                  <a:gd name="connsiteY3" fmla="*/ 12044 h 18465"/>
                  <a:gd name="connsiteX4" fmla="*/ 6340 w 18329"/>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65">
                    <a:moveTo>
                      <a:pt x="6340" y="441"/>
                    </a:moveTo>
                    <a:cubicBezTo>
                      <a:pt x="11184" y="-1114"/>
                      <a:pt x="16328" y="1577"/>
                      <a:pt x="17883" y="6422"/>
                    </a:cubicBezTo>
                    <a:cubicBezTo>
                      <a:pt x="19438" y="11266"/>
                      <a:pt x="16806" y="16469"/>
                      <a:pt x="11962" y="18024"/>
                    </a:cubicBezTo>
                    <a:cubicBezTo>
                      <a:pt x="7117" y="19579"/>
                      <a:pt x="1974" y="16888"/>
                      <a:pt x="419" y="12044"/>
                    </a:cubicBezTo>
                    <a:cubicBezTo>
                      <a:pt x="-1076" y="7139"/>
                      <a:pt x="1555" y="1996"/>
                      <a:pt x="6340" y="441"/>
                    </a:cubicBezTo>
                    <a:close/>
                  </a:path>
                </a:pathLst>
              </a:custGeom>
              <a:grpFill/>
              <a:ln w="5978" cap="flat">
                <a:noFill/>
                <a:prstDash val="solid"/>
                <a:miter/>
              </a:ln>
            </p:spPr>
            <p:txBody>
              <a:bodyPr rtlCol="0" anchor="ctr"/>
              <a:lstStyle/>
              <a:p>
                <a:endParaRPr lang="en-GB"/>
              </a:p>
            </p:txBody>
          </p:sp>
          <p:sp>
            <p:nvSpPr>
              <p:cNvPr id="4936" name="Vrije vorm: vorm 4935">
                <a:extLst>
                  <a:ext uri="{FF2B5EF4-FFF2-40B4-BE49-F238E27FC236}">
                    <a16:creationId xmlns:a16="http://schemas.microsoft.com/office/drawing/2014/main" id="{4096842B-6692-474D-95A5-7D33406A3F1A}"/>
                  </a:ext>
                </a:extLst>
              </p:cNvPr>
              <p:cNvSpPr/>
              <p:nvPr/>
            </p:nvSpPr>
            <p:spPr>
              <a:xfrm>
                <a:off x="7643534" y="2894508"/>
                <a:ext cx="18356" cy="18465"/>
              </a:xfrm>
              <a:custGeom>
                <a:avLst/>
                <a:gdLst>
                  <a:gd name="connsiteX0" fmla="*/ 6368 w 18356"/>
                  <a:gd name="connsiteY0" fmla="*/ 441 h 18465"/>
                  <a:gd name="connsiteX1" fmla="*/ 447 w 18356"/>
                  <a:gd name="connsiteY1" fmla="*/ 12043 h 18465"/>
                  <a:gd name="connsiteX2" fmla="*/ 11989 w 18356"/>
                  <a:gd name="connsiteY2" fmla="*/ 18024 h 18465"/>
                  <a:gd name="connsiteX3" fmla="*/ 17910 w 18356"/>
                  <a:gd name="connsiteY3" fmla="*/ 6422 h 18465"/>
                  <a:gd name="connsiteX4" fmla="*/ 6368 w 18356"/>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65">
                    <a:moveTo>
                      <a:pt x="6368" y="441"/>
                    </a:moveTo>
                    <a:cubicBezTo>
                      <a:pt x="1523" y="1996"/>
                      <a:pt x="-1108" y="7199"/>
                      <a:pt x="447" y="12043"/>
                    </a:cubicBezTo>
                    <a:cubicBezTo>
                      <a:pt x="2002" y="16888"/>
                      <a:pt x="7145" y="19579"/>
                      <a:pt x="11989" y="18024"/>
                    </a:cubicBezTo>
                    <a:cubicBezTo>
                      <a:pt x="16834" y="16469"/>
                      <a:pt x="19465" y="11266"/>
                      <a:pt x="17910" y="6422"/>
                    </a:cubicBezTo>
                    <a:cubicBezTo>
                      <a:pt x="16356" y="1577"/>
                      <a:pt x="11212" y="-1114"/>
                      <a:pt x="6368" y="441"/>
                    </a:cubicBezTo>
                    <a:close/>
                  </a:path>
                </a:pathLst>
              </a:custGeom>
              <a:grpFill/>
              <a:ln w="5978" cap="flat">
                <a:noFill/>
                <a:prstDash val="solid"/>
                <a:miter/>
              </a:ln>
            </p:spPr>
            <p:txBody>
              <a:bodyPr rtlCol="0" anchor="ctr"/>
              <a:lstStyle/>
              <a:p>
                <a:endParaRPr lang="en-GB"/>
              </a:p>
            </p:txBody>
          </p:sp>
        </p:grpSp>
        <p:grpSp>
          <p:nvGrpSpPr>
            <p:cNvPr id="149" name="Graphic 3">
              <a:extLst>
                <a:ext uri="{FF2B5EF4-FFF2-40B4-BE49-F238E27FC236}">
                  <a16:creationId xmlns:a16="http://schemas.microsoft.com/office/drawing/2014/main" id="{430325AE-2F4F-4C8D-AF03-480457CF946F}"/>
                </a:ext>
              </a:extLst>
            </p:cNvPr>
            <p:cNvGrpSpPr/>
            <p:nvPr/>
          </p:nvGrpSpPr>
          <p:grpSpPr>
            <a:xfrm>
              <a:off x="7639625" y="2706123"/>
              <a:ext cx="62750" cy="37432"/>
              <a:chOff x="7639625" y="2706123"/>
              <a:chExt cx="62750" cy="37432"/>
            </a:xfrm>
            <a:grpFill/>
          </p:grpSpPr>
          <p:sp>
            <p:nvSpPr>
              <p:cNvPr id="4931" name="Vrije vorm: vorm 4930">
                <a:extLst>
                  <a:ext uri="{FF2B5EF4-FFF2-40B4-BE49-F238E27FC236}">
                    <a16:creationId xmlns:a16="http://schemas.microsoft.com/office/drawing/2014/main" id="{72AE7518-5D9C-4B85-B3D5-ACF58649B8DA}"/>
                  </a:ext>
                </a:extLst>
              </p:cNvPr>
              <p:cNvSpPr/>
              <p:nvPr/>
            </p:nvSpPr>
            <p:spPr>
              <a:xfrm>
                <a:off x="7647748" y="2713733"/>
                <a:ext cx="46530" cy="22248"/>
              </a:xfrm>
              <a:custGeom>
                <a:avLst/>
                <a:gdLst>
                  <a:gd name="connsiteX0" fmla="*/ 46530 w 46530"/>
                  <a:gd name="connsiteY0" fmla="*/ 2811 h 22248"/>
                  <a:gd name="connsiteX1" fmla="*/ 1196 w 46530"/>
                  <a:gd name="connsiteY1" fmla="*/ 22248 h 22248"/>
                  <a:gd name="connsiteX2" fmla="*/ 0 w 46530"/>
                  <a:gd name="connsiteY2" fmla="*/ 19437 h 22248"/>
                  <a:gd name="connsiteX3" fmla="*/ 45334 w 46530"/>
                  <a:gd name="connsiteY3" fmla="*/ 0 h 22248"/>
                </a:gdLst>
                <a:ahLst/>
                <a:cxnLst>
                  <a:cxn ang="0">
                    <a:pos x="connsiteX0" y="connsiteY0"/>
                  </a:cxn>
                  <a:cxn ang="0">
                    <a:pos x="connsiteX1" y="connsiteY1"/>
                  </a:cxn>
                  <a:cxn ang="0">
                    <a:pos x="connsiteX2" y="connsiteY2"/>
                  </a:cxn>
                  <a:cxn ang="0">
                    <a:pos x="connsiteX3" y="connsiteY3"/>
                  </a:cxn>
                </a:cxnLst>
                <a:rect l="l" t="t" r="r" b="b"/>
                <a:pathLst>
                  <a:path w="46530" h="22248">
                    <a:moveTo>
                      <a:pt x="46530" y="2811"/>
                    </a:moveTo>
                    <a:lnTo>
                      <a:pt x="1196" y="22248"/>
                    </a:lnTo>
                    <a:lnTo>
                      <a:pt x="0" y="19437"/>
                    </a:lnTo>
                    <a:lnTo>
                      <a:pt x="45334" y="0"/>
                    </a:lnTo>
                    <a:close/>
                  </a:path>
                </a:pathLst>
              </a:custGeom>
              <a:grpFill/>
              <a:ln w="5978" cap="flat">
                <a:noFill/>
                <a:prstDash val="solid"/>
                <a:miter/>
              </a:ln>
            </p:spPr>
            <p:txBody>
              <a:bodyPr rtlCol="0" anchor="ctr"/>
              <a:lstStyle/>
              <a:p>
                <a:endParaRPr lang="en-GB"/>
              </a:p>
            </p:txBody>
          </p:sp>
          <p:sp>
            <p:nvSpPr>
              <p:cNvPr id="4932" name="Vrije vorm: vorm 4931">
                <a:extLst>
                  <a:ext uri="{FF2B5EF4-FFF2-40B4-BE49-F238E27FC236}">
                    <a16:creationId xmlns:a16="http://schemas.microsoft.com/office/drawing/2014/main" id="{EC971749-1AF8-490D-90C6-C001E9B5F3C8}"/>
                  </a:ext>
                </a:extLst>
              </p:cNvPr>
              <p:cNvSpPr/>
              <p:nvPr/>
            </p:nvSpPr>
            <p:spPr>
              <a:xfrm>
                <a:off x="7684096" y="2706123"/>
                <a:ext cx="18279" cy="18388"/>
              </a:xfrm>
              <a:custGeom>
                <a:avLst/>
                <a:gdLst>
                  <a:gd name="connsiteX0" fmla="*/ 5517 w 18279"/>
                  <a:gd name="connsiteY0" fmla="*/ 732 h 18388"/>
                  <a:gd name="connsiteX1" fmla="*/ 17539 w 18279"/>
                  <a:gd name="connsiteY1" fmla="*/ 5576 h 18388"/>
                  <a:gd name="connsiteX2" fmla="*/ 12754 w 18279"/>
                  <a:gd name="connsiteY2" fmla="*/ 17657 h 18388"/>
                  <a:gd name="connsiteX3" fmla="*/ 733 w 18279"/>
                  <a:gd name="connsiteY3" fmla="*/ 12813 h 18388"/>
                  <a:gd name="connsiteX4" fmla="*/ 5517 w 18279"/>
                  <a:gd name="connsiteY4" fmla="*/ 732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9" h="18388">
                    <a:moveTo>
                      <a:pt x="5517" y="732"/>
                    </a:moveTo>
                    <a:cubicBezTo>
                      <a:pt x="10183" y="-1242"/>
                      <a:pt x="15565" y="911"/>
                      <a:pt x="17539" y="5576"/>
                    </a:cubicBezTo>
                    <a:cubicBezTo>
                      <a:pt x="19512" y="10241"/>
                      <a:pt x="17419" y="15684"/>
                      <a:pt x="12754" y="17657"/>
                    </a:cubicBezTo>
                    <a:cubicBezTo>
                      <a:pt x="8089" y="19631"/>
                      <a:pt x="2707" y="17478"/>
                      <a:pt x="733" y="12813"/>
                    </a:cubicBezTo>
                    <a:cubicBezTo>
                      <a:pt x="-1241" y="8148"/>
                      <a:pt x="912" y="2705"/>
                      <a:pt x="5517" y="732"/>
                    </a:cubicBezTo>
                    <a:close/>
                  </a:path>
                </a:pathLst>
              </a:custGeom>
              <a:grpFill/>
              <a:ln w="5978" cap="flat">
                <a:noFill/>
                <a:prstDash val="solid"/>
                <a:miter/>
              </a:ln>
            </p:spPr>
            <p:txBody>
              <a:bodyPr rtlCol="0" anchor="ctr"/>
              <a:lstStyle/>
              <a:p>
                <a:endParaRPr lang="en-GB"/>
              </a:p>
            </p:txBody>
          </p:sp>
          <p:sp>
            <p:nvSpPr>
              <p:cNvPr id="4933" name="Vrije vorm: vorm 4932">
                <a:extLst>
                  <a:ext uri="{FF2B5EF4-FFF2-40B4-BE49-F238E27FC236}">
                    <a16:creationId xmlns:a16="http://schemas.microsoft.com/office/drawing/2014/main" id="{911D0823-25E5-49E3-A606-587A142C8397}"/>
                  </a:ext>
                </a:extLst>
              </p:cNvPr>
              <p:cNvSpPr/>
              <p:nvPr/>
            </p:nvSpPr>
            <p:spPr>
              <a:xfrm>
                <a:off x="7639625" y="2725150"/>
                <a:ext cx="18339" cy="18405"/>
              </a:xfrm>
              <a:custGeom>
                <a:avLst/>
                <a:gdLst>
                  <a:gd name="connsiteX0" fmla="*/ 5551 w 18339"/>
                  <a:gd name="connsiteY0" fmla="*/ 723 h 18405"/>
                  <a:gd name="connsiteX1" fmla="*/ 767 w 18339"/>
                  <a:gd name="connsiteY1" fmla="*/ 12804 h 18405"/>
                  <a:gd name="connsiteX2" fmla="*/ 12788 w 18339"/>
                  <a:gd name="connsiteY2" fmla="*/ 17649 h 18405"/>
                  <a:gd name="connsiteX3" fmla="*/ 17572 w 18339"/>
                  <a:gd name="connsiteY3" fmla="*/ 5568 h 18405"/>
                  <a:gd name="connsiteX4" fmla="*/ 5551 w 18339"/>
                  <a:gd name="connsiteY4" fmla="*/ 72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5">
                    <a:moveTo>
                      <a:pt x="5551" y="723"/>
                    </a:moveTo>
                    <a:cubicBezTo>
                      <a:pt x="886" y="2697"/>
                      <a:pt x="-1267" y="8139"/>
                      <a:pt x="767" y="12804"/>
                    </a:cubicBezTo>
                    <a:cubicBezTo>
                      <a:pt x="2740" y="17469"/>
                      <a:pt x="8183" y="19682"/>
                      <a:pt x="12788" y="17649"/>
                    </a:cubicBezTo>
                    <a:cubicBezTo>
                      <a:pt x="17453" y="15675"/>
                      <a:pt x="19606" y="10233"/>
                      <a:pt x="17572" y="5568"/>
                    </a:cubicBezTo>
                    <a:cubicBezTo>
                      <a:pt x="15599" y="963"/>
                      <a:pt x="10216" y="-1250"/>
                      <a:pt x="5551" y="723"/>
                    </a:cubicBezTo>
                    <a:close/>
                  </a:path>
                </a:pathLst>
              </a:custGeom>
              <a:grpFill/>
              <a:ln w="5978" cap="flat">
                <a:noFill/>
                <a:prstDash val="solid"/>
                <a:miter/>
              </a:ln>
            </p:spPr>
            <p:txBody>
              <a:bodyPr rtlCol="0" anchor="ctr"/>
              <a:lstStyle/>
              <a:p>
                <a:endParaRPr lang="en-GB"/>
              </a:p>
            </p:txBody>
          </p:sp>
        </p:grpSp>
        <p:grpSp>
          <p:nvGrpSpPr>
            <p:cNvPr id="150" name="Graphic 3">
              <a:extLst>
                <a:ext uri="{FF2B5EF4-FFF2-40B4-BE49-F238E27FC236}">
                  <a16:creationId xmlns:a16="http://schemas.microsoft.com/office/drawing/2014/main" id="{4C9C38E2-975D-4E2A-BB83-5B370AD5E7BF}"/>
                </a:ext>
              </a:extLst>
            </p:cNvPr>
            <p:cNvGrpSpPr/>
            <p:nvPr/>
          </p:nvGrpSpPr>
          <p:grpSpPr>
            <a:xfrm>
              <a:off x="7356823" y="2178539"/>
              <a:ext cx="328106" cy="216040"/>
              <a:chOff x="7356823" y="2178539"/>
              <a:chExt cx="328106" cy="216040"/>
            </a:xfrm>
            <a:grpFill/>
          </p:grpSpPr>
          <p:sp>
            <p:nvSpPr>
              <p:cNvPr id="4928" name="Vrije vorm: vorm 4927">
                <a:extLst>
                  <a:ext uri="{FF2B5EF4-FFF2-40B4-BE49-F238E27FC236}">
                    <a16:creationId xmlns:a16="http://schemas.microsoft.com/office/drawing/2014/main" id="{A9F6A15A-C241-4592-B4F4-344394EB1D63}"/>
                  </a:ext>
                </a:extLst>
              </p:cNvPr>
              <p:cNvSpPr/>
              <p:nvPr/>
            </p:nvSpPr>
            <p:spPr>
              <a:xfrm>
                <a:off x="7364800" y="2186233"/>
                <a:ext cx="312194" cy="200712"/>
              </a:xfrm>
              <a:custGeom>
                <a:avLst/>
                <a:gdLst>
                  <a:gd name="connsiteX0" fmla="*/ 312194 w 312194"/>
                  <a:gd name="connsiteY0" fmla="*/ 2572 h 200712"/>
                  <a:gd name="connsiteX1" fmla="*/ 1615 w 312194"/>
                  <a:gd name="connsiteY1" fmla="*/ 200713 h 200712"/>
                  <a:gd name="connsiteX2" fmla="*/ 0 w 312194"/>
                  <a:gd name="connsiteY2" fmla="*/ 198141 h 200712"/>
                  <a:gd name="connsiteX3" fmla="*/ 310519 w 312194"/>
                  <a:gd name="connsiteY3" fmla="*/ 0 h 200712"/>
                </a:gdLst>
                <a:ahLst/>
                <a:cxnLst>
                  <a:cxn ang="0">
                    <a:pos x="connsiteX0" y="connsiteY0"/>
                  </a:cxn>
                  <a:cxn ang="0">
                    <a:pos x="connsiteX1" y="connsiteY1"/>
                  </a:cxn>
                  <a:cxn ang="0">
                    <a:pos x="connsiteX2" y="connsiteY2"/>
                  </a:cxn>
                  <a:cxn ang="0">
                    <a:pos x="connsiteX3" y="connsiteY3"/>
                  </a:cxn>
                </a:cxnLst>
                <a:rect l="l" t="t" r="r" b="b"/>
                <a:pathLst>
                  <a:path w="312194" h="200712">
                    <a:moveTo>
                      <a:pt x="312194" y="2572"/>
                    </a:moveTo>
                    <a:lnTo>
                      <a:pt x="1615" y="200713"/>
                    </a:lnTo>
                    <a:lnTo>
                      <a:pt x="0" y="198141"/>
                    </a:lnTo>
                    <a:lnTo>
                      <a:pt x="310519" y="0"/>
                    </a:lnTo>
                    <a:close/>
                  </a:path>
                </a:pathLst>
              </a:custGeom>
              <a:grpFill/>
              <a:ln w="5978" cap="flat">
                <a:noFill/>
                <a:prstDash val="solid"/>
                <a:miter/>
              </a:ln>
            </p:spPr>
            <p:txBody>
              <a:bodyPr rtlCol="0" anchor="ctr"/>
              <a:lstStyle/>
              <a:p>
                <a:endParaRPr lang="en-GB"/>
              </a:p>
            </p:txBody>
          </p:sp>
          <p:sp>
            <p:nvSpPr>
              <p:cNvPr id="4929" name="Vrije vorm: vorm 4928">
                <a:extLst>
                  <a:ext uri="{FF2B5EF4-FFF2-40B4-BE49-F238E27FC236}">
                    <a16:creationId xmlns:a16="http://schemas.microsoft.com/office/drawing/2014/main" id="{6F561570-2599-4D9C-A831-F1E654E7C415}"/>
                  </a:ext>
                </a:extLst>
              </p:cNvPr>
              <p:cNvSpPr/>
              <p:nvPr/>
            </p:nvSpPr>
            <p:spPr>
              <a:xfrm>
                <a:off x="7356823" y="2376116"/>
                <a:ext cx="18364" cy="18464"/>
              </a:xfrm>
              <a:custGeom>
                <a:avLst/>
                <a:gdLst>
                  <a:gd name="connsiteX0" fmla="*/ 14137 w 18364"/>
                  <a:gd name="connsiteY0" fmla="*/ 17050 h 18464"/>
                  <a:gd name="connsiteX1" fmla="*/ 1458 w 18364"/>
                  <a:gd name="connsiteY1" fmla="*/ 14179 h 18464"/>
                  <a:gd name="connsiteX2" fmla="*/ 4269 w 18364"/>
                  <a:gd name="connsiteY2" fmla="*/ 1441 h 18464"/>
                  <a:gd name="connsiteX3" fmla="*/ 16948 w 18364"/>
                  <a:gd name="connsiteY3" fmla="*/ 4311 h 18464"/>
                  <a:gd name="connsiteX4" fmla="*/ 14137 w 18364"/>
                  <a:gd name="connsiteY4" fmla="*/ 17050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64">
                    <a:moveTo>
                      <a:pt x="14137" y="17050"/>
                    </a:moveTo>
                    <a:cubicBezTo>
                      <a:pt x="9891" y="19742"/>
                      <a:pt x="4209" y="18486"/>
                      <a:pt x="1458" y="14179"/>
                    </a:cubicBezTo>
                    <a:cubicBezTo>
                      <a:pt x="-1293" y="9873"/>
                      <a:pt x="-37" y="4192"/>
                      <a:pt x="4269" y="1441"/>
                    </a:cubicBezTo>
                    <a:cubicBezTo>
                      <a:pt x="8515" y="-1311"/>
                      <a:pt x="14197" y="5"/>
                      <a:pt x="16948" y="4311"/>
                    </a:cubicBezTo>
                    <a:cubicBezTo>
                      <a:pt x="19639" y="8677"/>
                      <a:pt x="18383" y="14359"/>
                      <a:pt x="14137" y="17050"/>
                    </a:cubicBezTo>
                    <a:close/>
                  </a:path>
                </a:pathLst>
              </a:custGeom>
              <a:grpFill/>
              <a:ln w="5978" cap="flat">
                <a:noFill/>
                <a:prstDash val="solid"/>
                <a:miter/>
              </a:ln>
            </p:spPr>
            <p:txBody>
              <a:bodyPr rtlCol="0" anchor="ctr"/>
              <a:lstStyle/>
              <a:p>
                <a:endParaRPr lang="en-GB"/>
              </a:p>
            </p:txBody>
          </p:sp>
          <p:sp>
            <p:nvSpPr>
              <p:cNvPr id="4930" name="Vrije vorm: vorm 4929">
                <a:extLst>
                  <a:ext uri="{FF2B5EF4-FFF2-40B4-BE49-F238E27FC236}">
                    <a16:creationId xmlns:a16="http://schemas.microsoft.com/office/drawing/2014/main" id="{D568C17B-C203-45E5-AE13-081B7A85AD85}"/>
                  </a:ext>
                </a:extLst>
              </p:cNvPr>
              <p:cNvSpPr/>
              <p:nvPr/>
            </p:nvSpPr>
            <p:spPr>
              <a:xfrm>
                <a:off x="7666606" y="2178539"/>
                <a:ext cx="18323" cy="18437"/>
              </a:xfrm>
              <a:custGeom>
                <a:avLst/>
                <a:gdLst>
                  <a:gd name="connsiteX0" fmla="*/ 14096 w 18323"/>
                  <a:gd name="connsiteY0" fmla="*/ 17024 h 18437"/>
                  <a:gd name="connsiteX1" fmla="*/ 16907 w 18323"/>
                  <a:gd name="connsiteY1" fmla="*/ 4285 h 18437"/>
                  <a:gd name="connsiteX2" fmla="*/ 4228 w 18323"/>
                  <a:gd name="connsiteY2" fmla="*/ 1414 h 18437"/>
                  <a:gd name="connsiteX3" fmla="*/ 1417 w 18323"/>
                  <a:gd name="connsiteY3" fmla="*/ 14153 h 18437"/>
                  <a:gd name="connsiteX4" fmla="*/ 14096 w 18323"/>
                  <a:gd name="connsiteY4" fmla="*/ 1702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7">
                    <a:moveTo>
                      <a:pt x="14096" y="17024"/>
                    </a:moveTo>
                    <a:cubicBezTo>
                      <a:pt x="18342" y="14332"/>
                      <a:pt x="19598" y="8591"/>
                      <a:pt x="16907" y="4285"/>
                    </a:cubicBezTo>
                    <a:cubicBezTo>
                      <a:pt x="14156" y="-21"/>
                      <a:pt x="8534" y="-1277"/>
                      <a:pt x="4228" y="1414"/>
                    </a:cubicBezTo>
                    <a:cubicBezTo>
                      <a:pt x="-18" y="4105"/>
                      <a:pt x="-1275" y="9847"/>
                      <a:pt x="1417" y="14153"/>
                    </a:cubicBezTo>
                    <a:cubicBezTo>
                      <a:pt x="4168" y="18459"/>
                      <a:pt x="9849" y="19715"/>
                      <a:pt x="14096" y="17024"/>
                    </a:cubicBezTo>
                    <a:close/>
                  </a:path>
                </a:pathLst>
              </a:custGeom>
              <a:grpFill/>
              <a:ln w="5978" cap="flat">
                <a:noFill/>
                <a:prstDash val="solid"/>
                <a:miter/>
              </a:ln>
            </p:spPr>
            <p:txBody>
              <a:bodyPr rtlCol="0" anchor="ctr"/>
              <a:lstStyle/>
              <a:p>
                <a:endParaRPr lang="en-GB"/>
              </a:p>
            </p:txBody>
          </p:sp>
        </p:grpSp>
        <p:grpSp>
          <p:nvGrpSpPr>
            <p:cNvPr id="151" name="Graphic 3">
              <a:extLst>
                <a:ext uri="{FF2B5EF4-FFF2-40B4-BE49-F238E27FC236}">
                  <a16:creationId xmlns:a16="http://schemas.microsoft.com/office/drawing/2014/main" id="{7C76C0DA-B081-4C9F-8911-065EFD15A74F}"/>
                </a:ext>
              </a:extLst>
            </p:cNvPr>
            <p:cNvGrpSpPr/>
            <p:nvPr/>
          </p:nvGrpSpPr>
          <p:grpSpPr>
            <a:xfrm>
              <a:off x="7576195" y="2678422"/>
              <a:ext cx="187065" cy="59914"/>
              <a:chOff x="7576195" y="2678422"/>
              <a:chExt cx="187065" cy="59914"/>
            </a:xfrm>
            <a:grpFill/>
          </p:grpSpPr>
          <p:sp>
            <p:nvSpPr>
              <p:cNvPr id="4925" name="Vrije vorm: vorm 4924">
                <a:extLst>
                  <a:ext uri="{FF2B5EF4-FFF2-40B4-BE49-F238E27FC236}">
                    <a16:creationId xmlns:a16="http://schemas.microsoft.com/office/drawing/2014/main" id="{4BB491E0-73EE-4337-9C8F-B55F51C67E06}"/>
                  </a:ext>
                </a:extLst>
              </p:cNvPr>
              <p:cNvSpPr/>
              <p:nvPr/>
            </p:nvSpPr>
            <p:spPr>
              <a:xfrm>
                <a:off x="7584592" y="2686042"/>
                <a:ext cx="170330" cy="44675"/>
              </a:xfrm>
              <a:custGeom>
                <a:avLst/>
                <a:gdLst>
                  <a:gd name="connsiteX0" fmla="*/ 169553 w 170330"/>
                  <a:gd name="connsiteY0" fmla="*/ 0 h 44675"/>
                  <a:gd name="connsiteX1" fmla="*/ 170331 w 170330"/>
                  <a:gd name="connsiteY1" fmla="*/ 2990 h 44675"/>
                  <a:gd name="connsiteX2" fmla="*/ 718 w 170330"/>
                  <a:gd name="connsiteY2" fmla="*/ 44676 h 44675"/>
                  <a:gd name="connsiteX3" fmla="*/ 0 w 170330"/>
                  <a:gd name="connsiteY3" fmla="*/ 41686 h 44675"/>
                </a:gdLst>
                <a:ahLst/>
                <a:cxnLst>
                  <a:cxn ang="0">
                    <a:pos x="connsiteX0" y="connsiteY0"/>
                  </a:cxn>
                  <a:cxn ang="0">
                    <a:pos x="connsiteX1" y="connsiteY1"/>
                  </a:cxn>
                  <a:cxn ang="0">
                    <a:pos x="connsiteX2" y="connsiteY2"/>
                  </a:cxn>
                  <a:cxn ang="0">
                    <a:pos x="connsiteX3" y="connsiteY3"/>
                  </a:cxn>
                </a:cxnLst>
                <a:rect l="l" t="t" r="r" b="b"/>
                <a:pathLst>
                  <a:path w="170330" h="44675">
                    <a:moveTo>
                      <a:pt x="169553" y="0"/>
                    </a:moveTo>
                    <a:lnTo>
                      <a:pt x="170331" y="2990"/>
                    </a:lnTo>
                    <a:lnTo>
                      <a:pt x="718" y="44676"/>
                    </a:lnTo>
                    <a:lnTo>
                      <a:pt x="0" y="41686"/>
                    </a:lnTo>
                    <a:close/>
                  </a:path>
                </a:pathLst>
              </a:custGeom>
              <a:grpFill/>
              <a:ln w="5978" cap="flat">
                <a:noFill/>
                <a:prstDash val="solid"/>
                <a:miter/>
              </a:ln>
            </p:spPr>
            <p:txBody>
              <a:bodyPr rtlCol="0" anchor="ctr"/>
              <a:lstStyle/>
              <a:p>
                <a:endParaRPr lang="en-GB"/>
              </a:p>
            </p:txBody>
          </p:sp>
          <p:sp>
            <p:nvSpPr>
              <p:cNvPr id="4926" name="Vrije vorm: vorm 4925">
                <a:extLst>
                  <a:ext uri="{FF2B5EF4-FFF2-40B4-BE49-F238E27FC236}">
                    <a16:creationId xmlns:a16="http://schemas.microsoft.com/office/drawing/2014/main" id="{FF7EC8CC-2FB2-412F-B22D-8194195CE0AF}"/>
                  </a:ext>
                </a:extLst>
              </p:cNvPr>
              <p:cNvSpPr/>
              <p:nvPr/>
            </p:nvSpPr>
            <p:spPr>
              <a:xfrm>
                <a:off x="7576195" y="2719929"/>
                <a:ext cx="18349" cy="18408"/>
              </a:xfrm>
              <a:custGeom>
                <a:avLst/>
                <a:gdLst>
                  <a:gd name="connsiteX0" fmla="*/ 11387 w 18349"/>
                  <a:gd name="connsiteY0" fmla="*/ 18146 h 18408"/>
                  <a:gd name="connsiteX1" fmla="*/ 263 w 18349"/>
                  <a:gd name="connsiteY1" fmla="*/ 11387 h 18408"/>
                  <a:gd name="connsiteX2" fmla="*/ 6962 w 18349"/>
                  <a:gd name="connsiteY2" fmla="*/ 263 h 18408"/>
                  <a:gd name="connsiteX3" fmla="*/ 18086 w 18349"/>
                  <a:gd name="connsiteY3" fmla="*/ 7021 h 18408"/>
                  <a:gd name="connsiteX4" fmla="*/ 11387 w 18349"/>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1387" y="18146"/>
                    </a:moveTo>
                    <a:cubicBezTo>
                      <a:pt x="6483" y="19342"/>
                      <a:pt x="1519" y="16351"/>
                      <a:pt x="263" y="11387"/>
                    </a:cubicBezTo>
                    <a:cubicBezTo>
                      <a:pt x="-933" y="6423"/>
                      <a:pt x="2058" y="1459"/>
                      <a:pt x="6962" y="263"/>
                    </a:cubicBezTo>
                    <a:cubicBezTo>
                      <a:pt x="11866" y="-933"/>
                      <a:pt x="16830" y="2057"/>
                      <a:pt x="18086" y="7021"/>
                    </a:cubicBezTo>
                    <a:cubicBezTo>
                      <a:pt x="19282" y="11926"/>
                      <a:pt x="16292" y="16890"/>
                      <a:pt x="11387" y="18146"/>
                    </a:cubicBezTo>
                    <a:close/>
                  </a:path>
                </a:pathLst>
              </a:custGeom>
              <a:grpFill/>
              <a:ln w="5978" cap="flat">
                <a:noFill/>
                <a:prstDash val="solid"/>
                <a:miter/>
              </a:ln>
            </p:spPr>
            <p:txBody>
              <a:bodyPr rtlCol="0" anchor="ctr"/>
              <a:lstStyle/>
              <a:p>
                <a:endParaRPr lang="en-GB"/>
              </a:p>
            </p:txBody>
          </p:sp>
          <p:sp>
            <p:nvSpPr>
              <p:cNvPr id="4927" name="Vrije vorm: vorm 4926">
                <a:extLst>
                  <a:ext uri="{FF2B5EF4-FFF2-40B4-BE49-F238E27FC236}">
                    <a16:creationId xmlns:a16="http://schemas.microsoft.com/office/drawing/2014/main" id="{FC0611E4-03CE-4FC0-A63C-2F3C3272BA64}"/>
                  </a:ext>
                </a:extLst>
              </p:cNvPr>
              <p:cNvSpPr/>
              <p:nvPr/>
            </p:nvSpPr>
            <p:spPr>
              <a:xfrm>
                <a:off x="7744911" y="2678422"/>
                <a:ext cx="18349" cy="18408"/>
              </a:xfrm>
              <a:custGeom>
                <a:avLst/>
                <a:gdLst>
                  <a:gd name="connsiteX0" fmla="*/ 11388 w 18349"/>
                  <a:gd name="connsiteY0" fmla="*/ 18146 h 18408"/>
                  <a:gd name="connsiteX1" fmla="*/ 18086 w 18349"/>
                  <a:gd name="connsiteY1" fmla="*/ 7021 h 18408"/>
                  <a:gd name="connsiteX2" fmla="*/ 6962 w 18349"/>
                  <a:gd name="connsiteY2" fmla="*/ 263 h 18408"/>
                  <a:gd name="connsiteX3" fmla="*/ 263 w 18349"/>
                  <a:gd name="connsiteY3" fmla="*/ 11387 h 18408"/>
                  <a:gd name="connsiteX4" fmla="*/ 11388 w 18349"/>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1388" y="18146"/>
                    </a:moveTo>
                    <a:cubicBezTo>
                      <a:pt x="16292" y="16949"/>
                      <a:pt x="19282" y="11926"/>
                      <a:pt x="18086" y="7021"/>
                    </a:cubicBezTo>
                    <a:cubicBezTo>
                      <a:pt x="16890" y="2057"/>
                      <a:pt x="11866" y="-933"/>
                      <a:pt x="6962" y="263"/>
                    </a:cubicBezTo>
                    <a:cubicBezTo>
                      <a:pt x="2058" y="1459"/>
                      <a:pt x="-933" y="6483"/>
                      <a:pt x="263" y="11387"/>
                    </a:cubicBezTo>
                    <a:cubicBezTo>
                      <a:pt x="1520" y="16351"/>
                      <a:pt x="6483" y="19342"/>
                      <a:pt x="11388" y="18146"/>
                    </a:cubicBezTo>
                    <a:close/>
                  </a:path>
                </a:pathLst>
              </a:custGeom>
              <a:grpFill/>
              <a:ln w="5978" cap="flat">
                <a:noFill/>
                <a:prstDash val="solid"/>
                <a:miter/>
              </a:ln>
            </p:spPr>
            <p:txBody>
              <a:bodyPr rtlCol="0" anchor="ctr"/>
              <a:lstStyle/>
              <a:p>
                <a:endParaRPr lang="en-GB"/>
              </a:p>
            </p:txBody>
          </p:sp>
        </p:grpSp>
        <p:grpSp>
          <p:nvGrpSpPr>
            <p:cNvPr id="152" name="Graphic 3">
              <a:extLst>
                <a:ext uri="{FF2B5EF4-FFF2-40B4-BE49-F238E27FC236}">
                  <a16:creationId xmlns:a16="http://schemas.microsoft.com/office/drawing/2014/main" id="{44245E7E-A6F0-46F8-8498-20BB6562AC4C}"/>
                </a:ext>
              </a:extLst>
            </p:cNvPr>
            <p:cNvGrpSpPr/>
            <p:nvPr/>
          </p:nvGrpSpPr>
          <p:grpSpPr>
            <a:xfrm>
              <a:off x="7809636" y="3488106"/>
              <a:ext cx="247857" cy="28907"/>
              <a:chOff x="7809636" y="3488106"/>
              <a:chExt cx="247857" cy="28907"/>
            </a:xfrm>
            <a:grpFill/>
          </p:grpSpPr>
          <p:sp>
            <p:nvSpPr>
              <p:cNvPr id="4922" name="Vrije vorm: vorm 4921">
                <a:extLst>
                  <a:ext uri="{FF2B5EF4-FFF2-40B4-BE49-F238E27FC236}">
                    <a16:creationId xmlns:a16="http://schemas.microsoft.com/office/drawing/2014/main" id="{01F71A96-7CC8-416F-A8D6-ACE650AF29AA}"/>
                  </a:ext>
                </a:extLst>
              </p:cNvPr>
              <p:cNvSpPr/>
              <p:nvPr/>
            </p:nvSpPr>
            <p:spPr>
              <a:xfrm>
                <a:off x="7818259" y="3495772"/>
                <a:ext cx="230556" cy="13576"/>
              </a:xfrm>
              <a:custGeom>
                <a:avLst/>
                <a:gdLst>
                  <a:gd name="connsiteX0" fmla="*/ 230556 w 230556"/>
                  <a:gd name="connsiteY0" fmla="*/ 10466 h 13576"/>
                  <a:gd name="connsiteX1" fmla="*/ 230437 w 230556"/>
                  <a:gd name="connsiteY1" fmla="*/ 13576 h 13576"/>
                  <a:gd name="connsiteX2" fmla="*/ 0 w 230556"/>
                  <a:gd name="connsiteY2" fmla="*/ 3050 h 13576"/>
                  <a:gd name="connsiteX3" fmla="*/ 120 w 230556"/>
                  <a:gd name="connsiteY3" fmla="*/ 0 h 13576"/>
                </a:gdLst>
                <a:ahLst/>
                <a:cxnLst>
                  <a:cxn ang="0">
                    <a:pos x="connsiteX0" y="connsiteY0"/>
                  </a:cxn>
                  <a:cxn ang="0">
                    <a:pos x="connsiteX1" y="connsiteY1"/>
                  </a:cxn>
                  <a:cxn ang="0">
                    <a:pos x="connsiteX2" y="connsiteY2"/>
                  </a:cxn>
                  <a:cxn ang="0">
                    <a:pos x="connsiteX3" y="connsiteY3"/>
                  </a:cxn>
                </a:cxnLst>
                <a:rect l="l" t="t" r="r" b="b"/>
                <a:pathLst>
                  <a:path w="230556" h="13576">
                    <a:moveTo>
                      <a:pt x="230556" y="10466"/>
                    </a:moveTo>
                    <a:lnTo>
                      <a:pt x="230437" y="13576"/>
                    </a:lnTo>
                    <a:lnTo>
                      <a:pt x="0" y="3050"/>
                    </a:lnTo>
                    <a:lnTo>
                      <a:pt x="120" y="0"/>
                    </a:lnTo>
                    <a:close/>
                  </a:path>
                </a:pathLst>
              </a:custGeom>
              <a:grpFill/>
              <a:ln w="5978" cap="flat">
                <a:noFill/>
                <a:prstDash val="solid"/>
                <a:miter/>
              </a:ln>
            </p:spPr>
            <p:txBody>
              <a:bodyPr rtlCol="0" anchor="ctr"/>
              <a:lstStyle/>
              <a:p>
                <a:endParaRPr lang="en-GB"/>
              </a:p>
            </p:txBody>
          </p:sp>
          <p:sp>
            <p:nvSpPr>
              <p:cNvPr id="4923" name="Vrije vorm: vorm 4922">
                <a:extLst>
                  <a:ext uri="{FF2B5EF4-FFF2-40B4-BE49-F238E27FC236}">
                    <a16:creationId xmlns:a16="http://schemas.microsoft.com/office/drawing/2014/main" id="{349421D5-5454-47D1-81D1-13882C4C5FBB}"/>
                  </a:ext>
                </a:extLst>
              </p:cNvPr>
              <p:cNvSpPr/>
              <p:nvPr/>
            </p:nvSpPr>
            <p:spPr>
              <a:xfrm>
                <a:off x="8039180" y="3498572"/>
                <a:ext cx="18313" cy="18441"/>
              </a:xfrm>
              <a:custGeom>
                <a:avLst/>
                <a:gdLst>
                  <a:gd name="connsiteX0" fmla="*/ 9515 w 18313"/>
                  <a:gd name="connsiteY0" fmla="*/ 10 h 18441"/>
                  <a:gd name="connsiteX1" fmla="*/ 18307 w 18313"/>
                  <a:gd name="connsiteY1" fmla="*/ 9639 h 18441"/>
                  <a:gd name="connsiteX2" fmla="*/ 8797 w 18313"/>
                  <a:gd name="connsiteY2" fmla="*/ 18431 h 18441"/>
                  <a:gd name="connsiteX3" fmla="*/ 6 w 18313"/>
                  <a:gd name="connsiteY3" fmla="*/ 8802 h 18441"/>
                  <a:gd name="connsiteX4" fmla="*/ 9515 w 18313"/>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41">
                    <a:moveTo>
                      <a:pt x="9515" y="10"/>
                    </a:moveTo>
                    <a:cubicBezTo>
                      <a:pt x="14599" y="250"/>
                      <a:pt x="18486" y="4556"/>
                      <a:pt x="18307" y="9639"/>
                    </a:cubicBezTo>
                    <a:cubicBezTo>
                      <a:pt x="18128" y="14723"/>
                      <a:pt x="13822" y="18670"/>
                      <a:pt x="8797" y="18431"/>
                    </a:cubicBezTo>
                    <a:cubicBezTo>
                      <a:pt x="3714" y="18192"/>
                      <a:pt x="-174" y="13886"/>
                      <a:pt x="6" y="8802"/>
                    </a:cubicBezTo>
                    <a:cubicBezTo>
                      <a:pt x="186" y="3719"/>
                      <a:pt x="4432" y="-229"/>
                      <a:pt x="9515" y="10"/>
                    </a:cubicBezTo>
                    <a:close/>
                  </a:path>
                </a:pathLst>
              </a:custGeom>
              <a:grpFill/>
              <a:ln w="5978" cap="flat">
                <a:noFill/>
                <a:prstDash val="solid"/>
                <a:miter/>
              </a:ln>
            </p:spPr>
            <p:txBody>
              <a:bodyPr rtlCol="0" anchor="ctr"/>
              <a:lstStyle/>
              <a:p>
                <a:endParaRPr lang="en-GB"/>
              </a:p>
            </p:txBody>
          </p:sp>
          <p:sp>
            <p:nvSpPr>
              <p:cNvPr id="4924" name="Vrije vorm: vorm 4923">
                <a:extLst>
                  <a:ext uri="{FF2B5EF4-FFF2-40B4-BE49-F238E27FC236}">
                    <a16:creationId xmlns:a16="http://schemas.microsoft.com/office/drawing/2014/main" id="{BA7DF958-F59C-4D91-B3DD-723CACC8A293}"/>
                  </a:ext>
                </a:extLst>
              </p:cNvPr>
              <p:cNvSpPr/>
              <p:nvPr/>
            </p:nvSpPr>
            <p:spPr>
              <a:xfrm>
                <a:off x="7809636" y="3488106"/>
                <a:ext cx="18321" cy="18441"/>
              </a:xfrm>
              <a:custGeom>
                <a:avLst/>
                <a:gdLst>
                  <a:gd name="connsiteX0" fmla="*/ 9519 w 18321"/>
                  <a:gd name="connsiteY0" fmla="*/ 10 h 18441"/>
                  <a:gd name="connsiteX1" fmla="*/ 10 w 18321"/>
                  <a:gd name="connsiteY1" fmla="*/ 8802 h 18441"/>
                  <a:gd name="connsiteX2" fmla="*/ 8802 w 18321"/>
                  <a:gd name="connsiteY2" fmla="*/ 18431 h 18441"/>
                  <a:gd name="connsiteX3" fmla="*/ 18312 w 18321"/>
                  <a:gd name="connsiteY3" fmla="*/ 9639 h 18441"/>
                  <a:gd name="connsiteX4" fmla="*/ 9519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19" y="10"/>
                    </a:moveTo>
                    <a:cubicBezTo>
                      <a:pt x="4436" y="-229"/>
                      <a:pt x="190" y="3719"/>
                      <a:pt x="10" y="8802"/>
                    </a:cubicBezTo>
                    <a:cubicBezTo>
                      <a:pt x="-228" y="13886"/>
                      <a:pt x="3718" y="18192"/>
                      <a:pt x="8802" y="18431"/>
                    </a:cubicBezTo>
                    <a:cubicBezTo>
                      <a:pt x="13886" y="18670"/>
                      <a:pt x="18132" y="14723"/>
                      <a:pt x="18312" y="9639"/>
                    </a:cubicBezTo>
                    <a:cubicBezTo>
                      <a:pt x="18550" y="4556"/>
                      <a:pt x="14604" y="250"/>
                      <a:pt x="9519" y="10"/>
                    </a:cubicBezTo>
                    <a:close/>
                  </a:path>
                </a:pathLst>
              </a:custGeom>
              <a:grpFill/>
              <a:ln w="5978" cap="flat">
                <a:noFill/>
                <a:prstDash val="solid"/>
                <a:miter/>
              </a:ln>
            </p:spPr>
            <p:txBody>
              <a:bodyPr rtlCol="0" anchor="ctr"/>
              <a:lstStyle/>
              <a:p>
                <a:endParaRPr lang="en-GB"/>
              </a:p>
            </p:txBody>
          </p:sp>
        </p:grpSp>
        <p:grpSp>
          <p:nvGrpSpPr>
            <p:cNvPr id="153" name="Graphic 3">
              <a:extLst>
                <a:ext uri="{FF2B5EF4-FFF2-40B4-BE49-F238E27FC236}">
                  <a16:creationId xmlns:a16="http://schemas.microsoft.com/office/drawing/2014/main" id="{9BA5DB23-BB8E-4734-AEDE-9F70E59E88DD}"/>
                </a:ext>
              </a:extLst>
            </p:cNvPr>
            <p:cNvGrpSpPr/>
            <p:nvPr/>
          </p:nvGrpSpPr>
          <p:grpSpPr>
            <a:xfrm>
              <a:off x="7257788" y="1913022"/>
              <a:ext cx="375324" cy="316284"/>
              <a:chOff x="7257788" y="1913022"/>
              <a:chExt cx="375324" cy="316284"/>
            </a:xfrm>
            <a:grpFill/>
          </p:grpSpPr>
          <p:sp>
            <p:nvSpPr>
              <p:cNvPr id="4919" name="Vrije vorm: vorm 4918">
                <a:extLst>
                  <a:ext uri="{FF2B5EF4-FFF2-40B4-BE49-F238E27FC236}">
                    <a16:creationId xmlns:a16="http://schemas.microsoft.com/office/drawing/2014/main" id="{CA103E8A-3A75-4148-B926-4E843D9F270E}"/>
                  </a:ext>
                </a:extLst>
              </p:cNvPr>
              <p:cNvSpPr/>
              <p:nvPr/>
            </p:nvSpPr>
            <p:spPr>
              <a:xfrm>
                <a:off x="7265640" y="1920809"/>
                <a:ext cx="359620" cy="300770"/>
              </a:xfrm>
              <a:custGeom>
                <a:avLst/>
                <a:gdLst>
                  <a:gd name="connsiteX0" fmla="*/ 359621 w 359620"/>
                  <a:gd name="connsiteY0" fmla="*/ 2332 h 300770"/>
                  <a:gd name="connsiteX1" fmla="*/ 1914 w 359620"/>
                  <a:gd name="connsiteY1" fmla="*/ 300770 h 300770"/>
                  <a:gd name="connsiteX2" fmla="*/ 0 w 359620"/>
                  <a:gd name="connsiteY2" fmla="*/ 298378 h 300770"/>
                  <a:gd name="connsiteX3" fmla="*/ 357647 w 359620"/>
                  <a:gd name="connsiteY3" fmla="*/ 0 h 300770"/>
                </a:gdLst>
                <a:ahLst/>
                <a:cxnLst>
                  <a:cxn ang="0">
                    <a:pos x="connsiteX0" y="connsiteY0"/>
                  </a:cxn>
                  <a:cxn ang="0">
                    <a:pos x="connsiteX1" y="connsiteY1"/>
                  </a:cxn>
                  <a:cxn ang="0">
                    <a:pos x="connsiteX2" y="connsiteY2"/>
                  </a:cxn>
                  <a:cxn ang="0">
                    <a:pos x="connsiteX3" y="connsiteY3"/>
                  </a:cxn>
                </a:cxnLst>
                <a:rect l="l" t="t" r="r" b="b"/>
                <a:pathLst>
                  <a:path w="359620" h="300770">
                    <a:moveTo>
                      <a:pt x="359621" y="2332"/>
                    </a:moveTo>
                    <a:lnTo>
                      <a:pt x="1914" y="300770"/>
                    </a:lnTo>
                    <a:lnTo>
                      <a:pt x="0" y="298378"/>
                    </a:lnTo>
                    <a:lnTo>
                      <a:pt x="357647" y="0"/>
                    </a:lnTo>
                    <a:close/>
                  </a:path>
                </a:pathLst>
              </a:custGeom>
              <a:grpFill/>
              <a:ln w="5978" cap="flat">
                <a:noFill/>
                <a:prstDash val="solid"/>
                <a:miter/>
              </a:ln>
            </p:spPr>
            <p:txBody>
              <a:bodyPr rtlCol="0" anchor="ctr"/>
              <a:lstStyle/>
              <a:p>
                <a:endParaRPr lang="en-GB"/>
              </a:p>
            </p:txBody>
          </p:sp>
          <p:sp>
            <p:nvSpPr>
              <p:cNvPr id="4920" name="Vrije vorm: vorm 4919">
                <a:extLst>
                  <a:ext uri="{FF2B5EF4-FFF2-40B4-BE49-F238E27FC236}">
                    <a16:creationId xmlns:a16="http://schemas.microsoft.com/office/drawing/2014/main" id="{2F0AEFC9-492B-4EEF-BC50-9E25FB947968}"/>
                  </a:ext>
                </a:extLst>
              </p:cNvPr>
              <p:cNvSpPr/>
              <p:nvPr/>
            </p:nvSpPr>
            <p:spPr>
              <a:xfrm>
                <a:off x="7257788" y="2210862"/>
                <a:ext cx="18335" cy="18444"/>
              </a:xfrm>
              <a:custGeom>
                <a:avLst/>
                <a:gdLst>
                  <a:gd name="connsiteX0" fmla="*/ 15028 w 18335"/>
                  <a:gd name="connsiteY0" fmla="*/ 16339 h 18444"/>
                  <a:gd name="connsiteX1" fmla="*/ 2111 w 18335"/>
                  <a:gd name="connsiteY1" fmla="*/ 15083 h 18444"/>
                  <a:gd name="connsiteX2" fmla="*/ 3306 w 18335"/>
                  <a:gd name="connsiteY2" fmla="*/ 2105 h 18444"/>
                  <a:gd name="connsiteX3" fmla="*/ 16225 w 18335"/>
                  <a:gd name="connsiteY3" fmla="*/ 3361 h 18444"/>
                  <a:gd name="connsiteX4" fmla="*/ 15028 w 18335"/>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8" y="16339"/>
                    </a:moveTo>
                    <a:cubicBezTo>
                      <a:pt x="11141" y="19569"/>
                      <a:pt x="5340" y="19031"/>
                      <a:pt x="2111" y="15083"/>
                    </a:cubicBezTo>
                    <a:cubicBezTo>
                      <a:pt x="-1119" y="11136"/>
                      <a:pt x="-581" y="5335"/>
                      <a:pt x="3306" y="2105"/>
                    </a:cubicBezTo>
                    <a:cubicBezTo>
                      <a:pt x="7194" y="-1124"/>
                      <a:pt x="12995" y="-586"/>
                      <a:pt x="16225" y="3361"/>
                    </a:cubicBezTo>
                    <a:cubicBezTo>
                      <a:pt x="19454" y="7309"/>
                      <a:pt x="18916" y="13110"/>
                      <a:pt x="15028" y="16339"/>
                    </a:cubicBezTo>
                    <a:close/>
                  </a:path>
                </a:pathLst>
              </a:custGeom>
              <a:grpFill/>
              <a:ln w="5978" cap="flat">
                <a:noFill/>
                <a:prstDash val="solid"/>
                <a:miter/>
              </a:ln>
            </p:spPr>
            <p:txBody>
              <a:bodyPr rtlCol="0" anchor="ctr"/>
              <a:lstStyle/>
              <a:p>
                <a:endParaRPr lang="en-GB"/>
              </a:p>
            </p:txBody>
          </p:sp>
          <p:sp>
            <p:nvSpPr>
              <p:cNvPr id="4921" name="Vrije vorm: vorm 4920">
                <a:extLst>
                  <a:ext uri="{FF2B5EF4-FFF2-40B4-BE49-F238E27FC236}">
                    <a16:creationId xmlns:a16="http://schemas.microsoft.com/office/drawing/2014/main" id="{70DD7055-38C9-47B7-AAA4-FB5F67E2B890}"/>
                  </a:ext>
                </a:extLst>
              </p:cNvPr>
              <p:cNvSpPr/>
              <p:nvPr/>
            </p:nvSpPr>
            <p:spPr>
              <a:xfrm>
                <a:off x="7614777" y="1913022"/>
                <a:ext cx="18335" cy="18444"/>
              </a:xfrm>
              <a:custGeom>
                <a:avLst/>
                <a:gdLst>
                  <a:gd name="connsiteX0" fmla="*/ 15029 w 18335"/>
                  <a:gd name="connsiteY0" fmla="*/ 16339 h 18444"/>
                  <a:gd name="connsiteX1" fmla="*/ 16225 w 18335"/>
                  <a:gd name="connsiteY1" fmla="*/ 3361 h 18444"/>
                  <a:gd name="connsiteX2" fmla="*/ 3306 w 18335"/>
                  <a:gd name="connsiteY2" fmla="*/ 2105 h 18444"/>
                  <a:gd name="connsiteX3" fmla="*/ 2110 w 18335"/>
                  <a:gd name="connsiteY3" fmla="*/ 15084 h 18444"/>
                  <a:gd name="connsiteX4" fmla="*/ 15029 w 18335"/>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39"/>
                    </a:moveTo>
                    <a:cubicBezTo>
                      <a:pt x="18917" y="13110"/>
                      <a:pt x="19455" y="7309"/>
                      <a:pt x="16225" y="3361"/>
                    </a:cubicBezTo>
                    <a:cubicBezTo>
                      <a:pt x="12995" y="-586"/>
                      <a:pt x="7194" y="-1124"/>
                      <a:pt x="3306" y="2105"/>
                    </a:cubicBezTo>
                    <a:cubicBezTo>
                      <a:pt x="-581" y="5335"/>
                      <a:pt x="-1119" y="11136"/>
                      <a:pt x="2110" y="15084"/>
                    </a:cubicBezTo>
                    <a:cubicBezTo>
                      <a:pt x="5340" y="19031"/>
                      <a:pt x="11141" y="19569"/>
                      <a:pt x="15029" y="16339"/>
                    </a:cubicBezTo>
                    <a:close/>
                  </a:path>
                </a:pathLst>
              </a:custGeom>
              <a:grpFill/>
              <a:ln w="5978" cap="flat">
                <a:noFill/>
                <a:prstDash val="solid"/>
                <a:miter/>
              </a:ln>
            </p:spPr>
            <p:txBody>
              <a:bodyPr rtlCol="0" anchor="ctr"/>
              <a:lstStyle/>
              <a:p>
                <a:endParaRPr lang="en-GB"/>
              </a:p>
            </p:txBody>
          </p:sp>
        </p:grpSp>
        <p:grpSp>
          <p:nvGrpSpPr>
            <p:cNvPr id="154" name="Graphic 3">
              <a:extLst>
                <a:ext uri="{FF2B5EF4-FFF2-40B4-BE49-F238E27FC236}">
                  <a16:creationId xmlns:a16="http://schemas.microsoft.com/office/drawing/2014/main" id="{532292EB-2059-4905-83F2-133FD0494929}"/>
                </a:ext>
              </a:extLst>
            </p:cNvPr>
            <p:cNvGrpSpPr/>
            <p:nvPr/>
          </p:nvGrpSpPr>
          <p:grpSpPr>
            <a:xfrm>
              <a:off x="7694522" y="3015367"/>
              <a:ext cx="149546" cy="47272"/>
              <a:chOff x="7694522" y="3015367"/>
              <a:chExt cx="149546" cy="47272"/>
            </a:xfrm>
            <a:grpFill/>
          </p:grpSpPr>
          <p:sp>
            <p:nvSpPr>
              <p:cNvPr id="4916" name="Vrije vorm: vorm 4915">
                <a:extLst>
                  <a:ext uri="{FF2B5EF4-FFF2-40B4-BE49-F238E27FC236}">
                    <a16:creationId xmlns:a16="http://schemas.microsoft.com/office/drawing/2014/main" id="{38B73A7F-D3DD-43B8-88EB-5A1F70A95B72}"/>
                  </a:ext>
                </a:extLst>
              </p:cNvPr>
              <p:cNvSpPr/>
              <p:nvPr/>
            </p:nvSpPr>
            <p:spPr>
              <a:xfrm>
                <a:off x="7702950" y="3022996"/>
                <a:ext cx="132711" cy="32116"/>
              </a:xfrm>
              <a:custGeom>
                <a:avLst/>
                <a:gdLst>
                  <a:gd name="connsiteX0" fmla="*/ 132054 w 132711"/>
                  <a:gd name="connsiteY0" fmla="*/ 0 h 32116"/>
                  <a:gd name="connsiteX1" fmla="*/ 132712 w 132711"/>
                  <a:gd name="connsiteY1" fmla="*/ 2990 h 32116"/>
                  <a:gd name="connsiteX2" fmla="*/ 658 w 132711"/>
                  <a:gd name="connsiteY2" fmla="*/ 32116 h 32116"/>
                  <a:gd name="connsiteX3" fmla="*/ 0 w 132711"/>
                  <a:gd name="connsiteY3" fmla="*/ 29126 h 32116"/>
                </a:gdLst>
                <a:ahLst/>
                <a:cxnLst>
                  <a:cxn ang="0">
                    <a:pos x="connsiteX0" y="connsiteY0"/>
                  </a:cxn>
                  <a:cxn ang="0">
                    <a:pos x="connsiteX1" y="connsiteY1"/>
                  </a:cxn>
                  <a:cxn ang="0">
                    <a:pos x="connsiteX2" y="connsiteY2"/>
                  </a:cxn>
                  <a:cxn ang="0">
                    <a:pos x="connsiteX3" y="connsiteY3"/>
                  </a:cxn>
                </a:cxnLst>
                <a:rect l="l" t="t" r="r" b="b"/>
                <a:pathLst>
                  <a:path w="132711" h="32116">
                    <a:moveTo>
                      <a:pt x="132054" y="0"/>
                    </a:moveTo>
                    <a:lnTo>
                      <a:pt x="132712" y="2990"/>
                    </a:lnTo>
                    <a:lnTo>
                      <a:pt x="658" y="32116"/>
                    </a:lnTo>
                    <a:lnTo>
                      <a:pt x="0" y="29126"/>
                    </a:lnTo>
                    <a:close/>
                  </a:path>
                </a:pathLst>
              </a:custGeom>
              <a:grpFill/>
              <a:ln w="5978" cap="flat">
                <a:noFill/>
                <a:prstDash val="solid"/>
                <a:miter/>
              </a:ln>
            </p:spPr>
            <p:txBody>
              <a:bodyPr rtlCol="0" anchor="ctr"/>
              <a:lstStyle/>
              <a:p>
                <a:endParaRPr lang="en-GB"/>
              </a:p>
            </p:txBody>
          </p:sp>
          <p:sp>
            <p:nvSpPr>
              <p:cNvPr id="4917" name="Vrije vorm: vorm 4916">
                <a:extLst>
                  <a:ext uri="{FF2B5EF4-FFF2-40B4-BE49-F238E27FC236}">
                    <a16:creationId xmlns:a16="http://schemas.microsoft.com/office/drawing/2014/main" id="{5D04ECF0-4543-4D9C-8C8E-886E6ED4F39B}"/>
                  </a:ext>
                </a:extLst>
              </p:cNvPr>
              <p:cNvSpPr/>
              <p:nvPr/>
            </p:nvSpPr>
            <p:spPr>
              <a:xfrm>
                <a:off x="7825739" y="3015367"/>
                <a:ext cx="18329" cy="18367"/>
              </a:xfrm>
              <a:custGeom>
                <a:avLst/>
                <a:gdLst>
                  <a:gd name="connsiteX0" fmla="*/ 7172 w 18329"/>
                  <a:gd name="connsiteY0" fmla="*/ 213 h 18367"/>
                  <a:gd name="connsiteX1" fmla="*/ 18116 w 18329"/>
                  <a:gd name="connsiteY1" fmla="*/ 7210 h 18367"/>
                  <a:gd name="connsiteX2" fmla="*/ 11179 w 18329"/>
                  <a:gd name="connsiteY2" fmla="*/ 18155 h 18367"/>
                  <a:gd name="connsiteX3" fmla="*/ 234 w 18329"/>
                  <a:gd name="connsiteY3" fmla="*/ 11098 h 18367"/>
                  <a:gd name="connsiteX4" fmla="*/ 7172 w 18329"/>
                  <a:gd name="connsiteY4" fmla="*/ 21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67">
                    <a:moveTo>
                      <a:pt x="7172" y="213"/>
                    </a:moveTo>
                    <a:cubicBezTo>
                      <a:pt x="12136" y="-864"/>
                      <a:pt x="17040" y="2246"/>
                      <a:pt x="18116" y="7210"/>
                    </a:cubicBezTo>
                    <a:cubicBezTo>
                      <a:pt x="19193" y="12174"/>
                      <a:pt x="16083" y="17079"/>
                      <a:pt x="11179" y="18155"/>
                    </a:cubicBezTo>
                    <a:cubicBezTo>
                      <a:pt x="6215" y="19231"/>
                      <a:pt x="1311" y="16122"/>
                      <a:pt x="234" y="11098"/>
                    </a:cubicBezTo>
                    <a:cubicBezTo>
                      <a:pt x="-902" y="6194"/>
                      <a:pt x="2208" y="1289"/>
                      <a:pt x="7172" y="213"/>
                    </a:cubicBezTo>
                    <a:close/>
                  </a:path>
                </a:pathLst>
              </a:custGeom>
              <a:grpFill/>
              <a:ln w="5978" cap="flat">
                <a:noFill/>
                <a:prstDash val="solid"/>
                <a:miter/>
              </a:ln>
            </p:spPr>
            <p:txBody>
              <a:bodyPr rtlCol="0" anchor="ctr"/>
              <a:lstStyle/>
              <a:p>
                <a:endParaRPr lang="en-GB"/>
              </a:p>
            </p:txBody>
          </p:sp>
          <p:sp>
            <p:nvSpPr>
              <p:cNvPr id="4918" name="Vrije vorm: vorm 4917">
                <a:extLst>
                  <a:ext uri="{FF2B5EF4-FFF2-40B4-BE49-F238E27FC236}">
                    <a16:creationId xmlns:a16="http://schemas.microsoft.com/office/drawing/2014/main" id="{7D1D7239-675D-42C9-BFD2-77A2F34F0863}"/>
                  </a:ext>
                </a:extLst>
              </p:cNvPr>
              <p:cNvSpPr/>
              <p:nvPr/>
            </p:nvSpPr>
            <p:spPr>
              <a:xfrm>
                <a:off x="7694522" y="3044256"/>
                <a:ext cx="18350" cy="18383"/>
              </a:xfrm>
              <a:custGeom>
                <a:avLst/>
                <a:gdLst>
                  <a:gd name="connsiteX0" fmla="*/ 7172 w 18350"/>
                  <a:gd name="connsiteY0" fmla="*/ 210 h 18383"/>
                  <a:gd name="connsiteX1" fmla="*/ 234 w 18350"/>
                  <a:gd name="connsiteY1" fmla="*/ 11155 h 18383"/>
                  <a:gd name="connsiteX2" fmla="*/ 11179 w 18350"/>
                  <a:gd name="connsiteY2" fmla="*/ 18152 h 18383"/>
                  <a:gd name="connsiteX3" fmla="*/ 18117 w 18350"/>
                  <a:gd name="connsiteY3" fmla="*/ 7208 h 18383"/>
                  <a:gd name="connsiteX4" fmla="*/ 7172 w 18350"/>
                  <a:gd name="connsiteY4" fmla="*/ 210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83">
                    <a:moveTo>
                      <a:pt x="7172" y="210"/>
                    </a:moveTo>
                    <a:cubicBezTo>
                      <a:pt x="2208" y="1287"/>
                      <a:pt x="-902" y="6191"/>
                      <a:pt x="234" y="11155"/>
                    </a:cubicBezTo>
                    <a:cubicBezTo>
                      <a:pt x="1310" y="16119"/>
                      <a:pt x="6215" y="19289"/>
                      <a:pt x="11179" y="18152"/>
                    </a:cubicBezTo>
                    <a:cubicBezTo>
                      <a:pt x="16143" y="17076"/>
                      <a:pt x="19253" y="12172"/>
                      <a:pt x="18117" y="7208"/>
                    </a:cubicBezTo>
                    <a:cubicBezTo>
                      <a:pt x="17040" y="2303"/>
                      <a:pt x="12136" y="-866"/>
                      <a:pt x="7172" y="210"/>
                    </a:cubicBezTo>
                    <a:close/>
                  </a:path>
                </a:pathLst>
              </a:custGeom>
              <a:grpFill/>
              <a:ln w="5978" cap="flat">
                <a:noFill/>
                <a:prstDash val="solid"/>
                <a:miter/>
              </a:ln>
            </p:spPr>
            <p:txBody>
              <a:bodyPr rtlCol="0" anchor="ctr"/>
              <a:lstStyle/>
              <a:p>
                <a:endParaRPr lang="en-GB"/>
              </a:p>
            </p:txBody>
          </p:sp>
        </p:grpSp>
        <p:grpSp>
          <p:nvGrpSpPr>
            <p:cNvPr id="155" name="Graphic 3">
              <a:extLst>
                <a:ext uri="{FF2B5EF4-FFF2-40B4-BE49-F238E27FC236}">
                  <a16:creationId xmlns:a16="http://schemas.microsoft.com/office/drawing/2014/main" id="{C4254F2F-4BF8-47BB-9F6E-517BADB0D17A}"/>
                </a:ext>
              </a:extLst>
            </p:cNvPr>
            <p:cNvGrpSpPr/>
            <p:nvPr/>
          </p:nvGrpSpPr>
          <p:grpSpPr>
            <a:xfrm>
              <a:off x="7550605" y="2612762"/>
              <a:ext cx="189263" cy="67968"/>
              <a:chOff x="7550605" y="2612762"/>
              <a:chExt cx="189263" cy="67968"/>
            </a:xfrm>
            <a:grpFill/>
          </p:grpSpPr>
          <p:sp>
            <p:nvSpPr>
              <p:cNvPr id="4913" name="Vrije vorm: vorm 4912">
                <a:extLst>
                  <a:ext uri="{FF2B5EF4-FFF2-40B4-BE49-F238E27FC236}">
                    <a16:creationId xmlns:a16="http://schemas.microsoft.com/office/drawing/2014/main" id="{1A7DABA8-7DB2-45E7-B7D0-C3AB1FD48EA0}"/>
                  </a:ext>
                </a:extLst>
              </p:cNvPr>
              <p:cNvSpPr/>
              <p:nvPr/>
            </p:nvSpPr>
            <p:spPr>
              <a:xfrm>
                <a:off x="7559170" y="2620542"/>
                <a:ext cx="172666" cy="52730"/>
              </a:xfrm>
              <a:custGeom>
                <a:avLst/>
                <a:gdLst>
                  <a:gd name="connsiteX0" fmla="*/ 0 w 172666"/>
                  <a:gd name="connsiteY0" fmla="*/ 49801 h 52730"/>
                  <a:gd name="connsiteX1" fmla="*/ 171818 w 172666"/>
                  <a:gd name="connsiteY1" fmla="*/ 0 h 52730"/>
                  <a:gd name="connsiteX2" fmla="*/ 172667 w 172666"/>
                  <a:gd name="connsiteY2" fmla="*/ 2930 h 52730"/>
                  <a:gd name="connsiteX3" fmla="*/ 849 w 172666"/>
                  <a:gd name="connsiteY3" fmla="*/ 52731 h 52730"/>
                </a:gdLst>
                <a:ahLst/>
                <a:cxnLst>
                  <a:cxn ang="0">
                    <a:pos x="connsiteX0" y="connsiteY0"/>
                  </a:cxn>
                  <a:cxn ang="0">
                    <a:pos x="connsiteX1" y="connsiteY1"/>
                  </a:cxn>
                  <a:cxn ang="0">
                    <a:pos x="connsiteX2" y="connsiteY2"/>
                  </a:cxn>
                  <a:cxn ang="0">
                    <a:pos x="connsiteX3" y="connsiteY3"/>
                  </a:cxn>
                </a:cxnLst>
                <a:rect l="l" t="t" r="r" b="b"/>
                <a:pathLst>
                  <a:path w="172666" h="52730">
                    <a:moveTo>
                      <a:pt x="0" y="49801"/>
                    </a:moveTo>
                    <a:lnTo>
                      <a:pt x="171818" y="0"/>
                    </a:lnTo>
                    <a:lnTo>
                      <a:pt x="172667" y="2930"/>
                    </a:lnTo>
                    <a:lnTo>
                      <a:pt x="849" y="52731"/>
                    </a:lnTo>
                    <a:close/>
                  </a:path>
                </a:pathLst>
              </a:custGeom>
              <a:grpFill/>
              <a:ln w="5978" cap="flat">
                <a:noFill/>
                <a:prstDash val="solid"/>
                <a:miter/>
              </a:ln>
            </p:spPr>
            <p:txBody>
              <a:bodyPr rtlCol="0" anchor="ctr"/>
              <a:lstStyle/>
              <a:p>
                <a:endParaRPr lang="en-GB"/>
              </a:p>
            </p:txBody>
          </p:sp>
          <p:sp>
            <p:nvSpPr>
              <p:cNvPr id="4914" name="Vrije vorm: vorm 4913">
                <a:extLst>
                  <a:ext uri="{FF2B5EF4-FFF2-40B4-BE49-F238E27FC236}">
                    <a16:creationId xmlns:a16="http://schemas.microsoft.com/office/drawing/2014/main" id="{B303AB2D-D655-4151-819F-07329832279C}"/>
                  </a:ext>
                </a:extLst>
              </p:cNvPr>
              <p:cNvSpPr/>
              <p:nvPr/>
            </p:nvSpPr>
            <p:spPr>
              <a:xfrm>
                <a:off x="7550605" y="2662287"/>
                <a:ext cx="18334" cy="18443"/>
              </a:xfrm>
              <a:custGeom>
                <a:avLst/>
                <a:gdLst>
                  <a:gd name="connsiteX0" fmla="*/ 11739 w 18334"/>
                  <a:gd name="connsiteY0" fmla="*/ 18073 h 18443"/>
                  <a:gd name="connsiteX1" fmla="*/ 375 w 18334"/>
                  <a:gd name="connsiteY1" fmla="*/ 11794 h 18443"/>
                  <a:gd name="connsiteX2" fmla="*/ 6596 w 18334"/>
                  <a:gd name="connsiteY2" fmla="*/ 370 h 18443"/>
                  <a:gd name="connsiteX3" fmla="*/ 17959 w 18334"/>
                  <a:gd name="connsiteY3" fmla="*/ 6650 h 18443"/>
                  <a:gd name="connsiteX4" fmla="*/ 11739 w 18334"/>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3">
                    <a:moveTo>
                      <a:pt x="11739" y="18073"/>
                    </a:moveTo>
                    <a:cubicBezTo>
                      <a:pt x="6894" y="19509"/>
                      <a:pt x="1811" y="16638"/>
                      <a:pt x="375" y="11794"/>
                    </a:cubicBezTo>
                    <a:cubicBezTo>
                      <a:pt x="-1060" y="6889"/>
                      <a:pt x="1751" y="1806"/>
                      <a:pt x="6596" y="370"/>
                    </a:cubicBezTo>
                    <a:cubicBezTo>
                      <a:pt x="11440" y="-1065"/>
                      <a:pt x="16524" y="1806"/>
                      <a:pt x="17959" y="6650"/>
                    </a:cubicBezTo>
                    <a:cubicBezTo>
                      <a:pt x="19394" y="11554"/>
                      <a:pt x="16584" y="16638"/>
                      <a:pt x="11739" y="18073"/>
                    </a:cubicBezTo>
                    <a:close/>
                  </a:path>
                </a:pathLst>
              </a:custGeom>
              <a:grpFill/>
              <a:ln w="5978" cap="flat">
                <a:noFill/>
                <a:prstDash val="solid"/>
                <a:miter/>
              </a:ln>
            </p:spPr>
            <p:txBody>
              <a:bodyPr rtlCol="0" anchor="ctr"/>
              <a:lstStyle/>
              <a:p>
                <a:endParaRPr lang="en-GB"/>
              </a:p>
            </p:txBody>
          </p:sp>
          <p:sp>
            <p:nvSpPr>
              <p:cNvPr id="4915" name="Vrije vorm: vorm 4914">
                <a:extLst>
                  <a:ext uri="{FF2B5EF4-FFF2-40B4-BE49-F238E27FC236}">
                    <a16:creationId xmlns:a16="http://schemas.microsoft.com/office/drawing/2014/main" id="{83701871-ED28-4CB1-ADD7-1FDA01A4F769}"/>
                  </a:ext>
                </a:extLst>
              </p:cNvPr>
              <p:cNvSpPr/>
              <p:nvPr/>
            </p:nvSpPr>
            <p:spPr>
              <a:xfrm>
                <a:off x="7721534" y="2612762"/>
                <a:ext cx="18333" cy="18448"/>
              </a:xfrm>
              <a:custGeom>
                <a:avLst/>
                <a:gdLst>
                  <a:gd name="connsiteX0" fmla="*/ 11738 w 18333"/>
                  <a:gd name="connsiteY0" fmla="*/ 18078 h 18448"/>
                  <a:gd name="connsiteX1" fmla="*/ 17959 w 18333"/>
                  <a:gd name="connsiteY1" fmla="*/ 6655 h 18448"/>
                  <a:gd name="connsiteX2" fmla="*/ 6595 w 18333"/>
                  <a:gd name="connsiteY2" fmla="*/ 375 h 18448"/>
                  <a:gd name="connsiteX3" fmla="*/ 376 w 18333"/>
                  <a:gd name="connsiteY3" fmla="*/ 11798 h 18448"/>
                  <a:gd name="connsiteX4" fmla="*/ 11738 w 18333"/>
                  <a:gd name="connsiteY4" fmla="*/ 180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8">
                    <a:moveTo>
                      <a:pt x="11738" y="18078"/>
                    </a:moveTo>
                    <a:cubicBezTo>
                      <a:pt x="16583" y="16702"/>
                      <a:pt x="19394" y="11559"/>
                      <a:pt x="17959" y="6655"/>
                    </a:cubicBezTo>
                    <a:cubicBezTo>
                      <a:pt x="16523" y="1751"/>
                      <a:pt x="11440" y="-1060"/>
                      <a:pt x="6595" y="375"/>
                    </a:cubicBezTo>
                    <a:cubicBezTo>
                      <a:pt x="1751" y="1810"/>
                      <a:pt x="-1060" y="6894"/>
                      <a:pt x="376" y="11798"/>
                    </a:cubicBezTo>
                    <a:cubicBezTo>
                      <a:pt x="1811" y="16643"/>
                      <a:pt x="6894" y="19513"/>
                      <a:pt x="11738" y="18078"/>
                    </a:cubicBezTo>
                    <a:close/>
                  </a:path>
                </a:pathLst>
              </a:custGeom>
              <a:grpFill/>
              <a:ln w="5978" cap="flat">
                <a:noFill/>
                <a:prstDash val="solid"/>
                <a:miter/>
              </a:ln>
            </p:spPr>
            <p:txBody>
              <a:bodyPr rtlCol="0" anchor="ctr"/>
              <a:lstStyle/>
              <a:p>
                <a:endParaRPr lang="en-GB"/>
              </a:p>
            </p:txBody>
          </p:sp>
        </p:grpSp>
        <p:grpSp>
          <p:nvGrpSpPr>
            <p:cNvPr id="156" name="Graphic 3">
              <a:extLst>
                <a:ext uri="{FF2B5EF4-FFF2-40B4-BE49-F238E27FC236}">
                  <a16:creationId xmlns:a16="http://schemas.microsoft.com/office/drawing/2014/main" id="{60742498-7129-4CC0-81A6-8CC7ABCFE5B0}"/>
                </a:ext>
              </a:extLst>
            </p:cNvPr>
            <p:cNvGrpSpPr/>
            <p:nvPr/>
          </p:nvGrpSpPr>
          <p:grpSpPr>
            <a:xfrm>
              <a:off x="7126487" y="1593788"/>
              <a:ext cx="516359" cy="544153"/>
              <a:chOff x="7126487" y="1593788"/>
              <a:chExt cx="516359" cy="544153"/>
            </a:xfrm>
            <a:grpFill/>
          </p:grpSpPr>
          <p:sp>
            <p:nvSpPr>
              <p:cNvPr id="4910" name="Vrije vorm: vorm 4909">
                <a:extLst>
                  <a:ext uri="{FF2B5EF4-FFF2-40B4-BE49-F238E27FC236}">
                    <a16:creationId xmlns:a16="http://schemas.microsoft.com/office/drawing/2014/main" id="{62D79E42-9485-40AB-B48D-CA75465E444C}"/>
                  </a:ext>
                </a:extLst>
              </p:cNvPr>
              <p:cNvSpPr/>
              <p:nvPr/>
            </p:nvSpPr>
            <p:spPr>
              <a:xfrm>
                <a:off x="7134244" y="1601618"/>
                <a:ext cx="500885" cy="528456"/>
              </a:xfrm>
              <a:custGeom>
                <a:avLst/>
                <a:gdLst>
                  <a:gd name="connsiteX0" fmla="*/ 500886 w 500885"/>
                  <a:gd name="connsiteY0" fmla="*/ 2093 h 528456"/>
                  <a:gd name="connsiteX1" fmla="*/ 2213 w 500885"/>
                  <a:gd name="connsiteY1" fmla="*/ 528457 h 528456"/>
                  <a:gd name="connsiteX2" fmla="*/ 0 w 500885"/>
                  <a:gd name="connsiteY2" fmla="*/ 526363 h 528456"/>
                  <a:gd name="connsiteX3" fmla="*/ 498673 w 500885"/>
                  <a:gd name="connsiteY3" fmla="*/ 0 h 528456"/>
                </a:gdLst>
                <a:ahLst/>
                <a:cxnLst>
                  <a:cxn ang="0">
                    <a:pos x="connsiteX0" y="connsiteY0"/>
                  </a:cxn>
                  <a:cxn ang="0">
                    <a:pos x="connsiteX1" y="connsiteY1"/>
                  </a:cxn>
                  <a:cxn ang="0">
                    <a:pos x="connsiteX2" y="connsiteY2"/>
                  </a:cxn>
                  <a:cxn ang="0">
                    <a:pos x="connsiteX3" y="connsiteY3"/>
                  </a:cxn>
                </a:cxnLst>
                <a:rect l="l" t="t" r="r" b="b"/>
                <a:pathLst>
                  <a:path w="500885" h="528456">
                    <a:moveTo>
                      <a:pt x="500886" y="2093"/>
                    </a:moveTo>
                    <a:lnTo>
                      <a:pt x="2213" y="528457"/>
                    </a:lnTo>
                    <a:lnTo>
                      <a:pt x="0" y="526363"/>
                    </a:lnTo>
                    <a:lnTo>
                      <a:pt x="498673" y="0"/>
                    </a:lnTo>
                    <a:close/>
                  </a:path>
                </a:pathLst>
              </a:custGeom>
              <a:grpFill/>
              <a:ln w="5978" cap="flat">
                <a:noFill/>
                <a:prstDash val="solid"/>
                <a:miter/>
              </a:ln>
            </p:spPr>
            <p:txBody>
              <a:bodyPr rtlCol="0" anchor="ctr"/>
              <a:lstStyle/>
              <a:p>
                <a:endParaRPr lang="en-GB"/>
              </a:p>
            </p:txBody>
          </p:sp>
          <p:sp>
            <p:nvSpPr>
              <p:cNvPr id="4911" name="Vrije vorm: vorm 4910">
                <a:extLst>
                  <a:ext uri="{FF2B5EF4-FFF2-40B4-BE49-F238E27FC236}">
                    <a16:creationId xmlns:a16="http://schemas.microsoft.com/office/drawing/2014/main" id="{1F87317E-2F3B-4672-9405-2C5E7B45B25F}"/>
                  </a:ext>
                </a:extLst>
              </p:cNvPr>
              <p:cNvSpPr/>
              <p:nvPr/>
            </p:nvSpPr>
            <p:spPr>
              <a:xfrm>
                <a:off x="7126487" y="2119515"/>
                <a:ext cx="18323" cy="18426"/>
              </a:xfrm>
              <a:custGeom>
                <a:avLst/>
                <a:gdLst>
                  <a:gd name="connsiteX0" fmla="*/ 15831 w 18323"/>
                  <a:gd name="connsiteY0" fmla="*/ 15583 h 18426"/>
                  <a:gd name="connsiteX1" fmla="*/ 2852 w 18323"/>
                  <a:gd name="connsiteY1" fmla="*/ 15882 h 18426"/>
                  <a:gd name="connsiteX2" fmla="*/ 2494 w 18323"/>
                  <a:gd name="connsiteY2" fmla="*/ 2844 h 18426"/>
                  <a:gd name="connsiteX3" fmla="*/ 15471 w 18323"/>
                  <a:gd name="connsiteY3" fmla="*/ 2545 h 18426"/>
                  <a:gd name="connsiteX4" fmla="*/ 15831 w 18323"/>
                  <a:gd name="connsiteY4" fmla="*/ 1558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6">
                    <a:moveTo>
                      <a:pt x="15831" y="15583"/>
                    </a:moveTo>
                    <a:cubicBezTo>
                      <a:pt x="12361" y="19231"/>
                      <a:pt x="6560" y="19410"/>
                      <a:pt x="2852" y="15882"/>
                    </a:cubicBezTo>
                    <a:cubicBezTo>
                      <a:pt x="-796" y="12353"/>
                      <a:pt x="-976" y="6552"/>
                      <a:pt x="2494" y="2844"/>
                    </a:cubicBezTo>
                    <a:cubicBezTo>
                      <a:pt x="5962" y="-804"/>
                      <a:pt x="11763" y="-984"/>
                      <a:pt x="15471" y="2545"/>
                    </a:cubicBezTo>
                    <a:cubicBezTo>
                      <a:pt x="19119" y="6014"/>
                      <a:pt x="19299" y="11875"/>
                      <a:pt x="15831" y="15583"/>
                    </a:cubicBezTo>
                    <a:close/>
                  </a:path>
                </a:pathLst>
              </a:custGeom>
              <a:grpFill/>
              <a:ln w="5978" cap="flat">
                <a:noFill/>
                <a:prstDash val="solid"/>
                <a:miter/>
              </a:ln>
            </p:spPr>
            <p:txBody>
              <a:bodyPr rtlCol="0" anchor="ctr"/>
              <a:lstStyle/>
              <a:p>
                <a:endParaRPr lang="en-GB"/>
              </a:p>
            </p:txBody>
          </p:sp>
          <p:sp>
            <p:nvSpPr>
              <p:cNvPr id="4912" name="Vrije vorm: vorm 4911">
                <a:extLst>
                  <a:ext uri="{FF2B5EF4-FFF2-40B4-BE49-F238E27FC236}">
                    <a16:creationId xmlns:a16="http://schemas.microsoft.com/office/drawing/2014/main" id="{72067C9E-5B13-437A-B8F5-A2B58E86C9AE}"/>
                  </a:ext>
                </a:extLst>
              </p:cNvPr>
              <p:cNvSpPr/>
              <p:nvPr/>
            </p:nvSpPr>
            <p:spPr>
              <a:xfrm>
                <a:off x="7624480" y="1593788"/>
                <a:ext cx="18366" cy="18425"/>
              </a:xfrm>
              <a:custGeom>
                <a:avLst/>
                <a:gdLst>
                  <a:gd name="connsiteX0" fmla="*/ 15852 w 18366"/>
                  <a:gd name="connsiteY0" fmla="*/ 15604 h 18425"/>
                  <a:gd name="connsiteX1" fmla="*/ 15493 w 18366"/>
                  <a:gd name="connsiteY1" fmla="*/ 2567 h 18425"/>
                  <a:gd name="connsiteX2" fmla="*/ 2515 w 18366"/>
                  <a:gd name="connsiteY2" fmla="*/ 2866 h 18425"/>
                  <a:gd name="connsiteX3" fmla="*/ 2874 w 18366"/>
                  <a:gd name="connsiteY3" fmla="*/ 15904 h 18425"/>
                  <a:gd name="connsiteX4" fmla="*/ 15852 w 18366"/>
                  <a:gd name="connsiteY4" fmla="*/ 15604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15852" y="15604"/>
                    </a:moveTo>
                    <a:cubicBezTo>
                      <a:pt x="19321" y="11956"/>
                      <a:pt x="19201" y="6095"/>
                      <a:pt x="15493" y="2567"/>
                    </a:cubicBezTo>
                    <a:cubicBezTo>
                      <a:pt x="11845" y="-962"/>
                      <a:pt x="6044" y="-843"/>
                      <a:pt x="2515" y="2866"/>
                    </a:cubicBezTo>
                    <a:cubicBezTo>
                      <a:pt x="-954" y="6514"/>
                      <a:pt x="-834" y="12375"/>
                      <a:pt x="2874" y="15904"/>
                    </a:cubicBezTo>
                    <a:cubicBezTo>
                      <a:pt x="6582" y="19372"/>
                      <a:pt x="12383" y="19253"/>
                      <a:pt x="15852" y="15604"/>
                    </a:cubicBezTo>
                    <a:close/>
                  </a:path>
                </a:pathLst>
              </a:custGeom>
              <a:grpFill/>
              <a:ln w="5978" cap="flat">
                <a:noFill/>
                <a:prstDash val="solid"/>
                <a:miter/>
              </a:ln>
            </p:spPr>
            <p:txBody>
              <a:bodyPr rtlCol="0" anchor="ctr"/>
              <a:lstStyle/>
              <a:p>
                <a:endParaRPr lang="en-GB"/>
              </a:p>
            </p:txBody>
          </p:sp>
        </p:grpSp>
        <p:grpSp>
          <p:nvGrpSpPr>
            <p:cNvPr id="157" name="Graphic 3">
              <a:extLst>
                <a:ext uri="{FF2B5EF4-FFF2-40B4-BE49-F238E27FC236}">
                  <a16:creationId xmlns:a16="http://schemas.microsoft.com/office/drawing/2014/main" id="{52F76FF1-627E-44F8-9C72-7AD020DDC94D}"/>
                </a:ext>
              </a:extLst>
            </p:cNvPr>
            <p:cNvGrpSpPr/>
            <p:nvPr/>
          </p:nvGrpSpPr>
          <p:grpSpPr>
            <a:xfrm>
              <a:off x="7222919" y="1845100"/>
              <a:ext cx="421359" cy="374225"/>
              <a:chOff x="7222919" y="1845100"/>
              <a:chExt cx="421359" cy="374225"/>
            </a:xfrm>
            <a:grpFill/>
          </p:grpSpPr>
          <p:sp>
            <p:nvSpPr>
              <p:cNvPr id="4907" name="Vrije vorm: vorm 4906">
                <a:extLst>
                  <a:ext uri="{FF2B5EF4-FFF2-40B4-BE49-F238E27FC236}">
                    <a16:creationId xmlns:a16="http://schemas.microsoft.com/office/drawing/2014/main" id="{02656059-9A6D-4157-B551-F2AD6BD14DAC}"/>
                  </a:ext>
                </a:extLst>
              </p:cNvPr>
              <p:cNvSpPr/>
              <p:nvPr/>
            </p:nvSpPr>
            <p:spPr>
              <a:xfrm>
                <a:off x="7230713" y="1852808"/>
                <a:ext cx="405791" cy="358723"/>
              </a:xfrm>
              <a:custGeom>
                <a:avLst/>
                <a:gdLst>
                  <a:gd name="connsiteX0" fmla="*/ 405792 w 405791"/>
                  <a:gd name="connsiteY0" fmla="*/ 2332 h 358723"/>
                  <a:gd name="connsiteX1" fmla="*/ 2033 w 405791"/>
                  <a:gd name="connsiteY1" fmla="*/ 358724 h 358723"/>
                  <a:gd name="connsiteX2" fmla="*/ 0 w 405791"/>
                  <a:gd name="connsiteY2" fmla="*/ 356451 h 358723"/>
                  <a:gd name="connsiteX3" fmla="*/ 403759 w 405791"/>
                  <a:gd name="connsiteY3" fmla="*/ 0 h 358723"/>
                </a:gdLst>
                <a:ahLst/>
                <a:cxnLst>
                  <a:cxn ang="0">
                    <a:pos x="connsiteX0" y="connsiteY0"/>
                  </a:cxn>
                  <a:cxn ang="0">
                    <a:pos x="connsiteX1" y="connsiteY1"/>
                  </a:cxn>
                  <a:cxn ang="0">
                    <a:pos x="connsiteX2" y="connsiteY2"/>
                  </a:cxn>
                  <a:cxn ang="0">
                    <a:pos x="connsiteX3" y="connsiteY3"/>
                  </a:cxn>
                </a:cxnLst>
                <a:rect l="l" t="t" r="r" b="b"/>
                <a:pathLst>
                  <a:path w="405791" h="358723">
                    <a:moveTo>
                      <a:pt x="405792" y="2332"/>
                    </a:moveTo>
                    <a:lnTo>
                      <a:pt x="2033" y="358724"/>
                    </a:lnTo>
                    <a:lnTo>
                      <a:pt x="0" y="356451"/>
                    </a:lnTo>
                    <a:lnTo>
                      <a:pt x="403759" y="0"/>
                    </a:lnTo>
                    <a:close/>
                  </a:path>
                </a:pathLst>
              </a:custGeom>
              <a:grpFill/>
              <a:ln w="5978" cap="flat">
                <a:noFill/>
                <a:prstDash val="solid"/>
                <a:miter/>
              </a:ln>
            </p:spPr>
            <p:txBody>
              <a:bodyPr rtlCol="0" anchor="ctr"/>
              <a:lstStyle/>
              <a:p>
                <a:endParaRPr lang="en-GB"/>
              </a:p>
            </p:txBody>
          </p:sp>
          <p:sp>
            <p:nvSpPr>
              <p:cNvPr id="4908" name="Vrije vorm: vorm 4907">
                <a:extLst>
                  <a:ext uri="{FF2B5EF4-FFF2-40B4-BE49-F238E27FC236}">
                    <a16:creationId xmlns:a16="http://schemas.microsoft.com/office/drawing/2014/main" id="{D8E0B11F-E208-405D-869B-A94533C5B541}"/>
                  </a:ext>
                </a:extLst>
              </p:cNvPr>
              <p:cNvSpPr/>
              <p:nvPr/>
            </p:nvSpPr>
            <p:spPr>
              <a:xfrm>
                <a:off x="7222919" y="2200927"/>
                <a:ext cx="18318" cy="18398"/>
              </a:xfrm>
              <a:custGeom>
                <a:avLst/>
                <a:gdLst>
                  <a:gd name="connsiteX0" fmla="*/ 15210 w 18318"/>
                  <a:gd name="connsiteY0" fmla="*/ 16107 h 18398"/>
                  <a:gd name="connsiteX1" fmla="*/ 2291 w 18318"/>
                  <a:gd name="connsiteY1" fmla="*/ 15270 h 18398"/>
                  <a:gd name="connsiteX2" fmla="*/ 3129 w 18318"/>
                  <a:gd name="connsiteY2" fmla="*/ 2291 h 18398"/>
                  <a:gd name="connsiteX3" fmla="*/ 16047 w 18318"/>
                  <a:gd name="connsiteY3" fmla="*/ 3129 h 18398"/>
                  <a:gd name="connsiteX4" fmla="*/ 15210 w 18318"/>
                  <a:gd name="connsiteY4" fmla="*/ 16107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98">
                    <a:moveTo>
                      <a:pt x="15210" y="16107"/>
                    </a:moveTo>
                    <a:cubicBezTo>
                      <a:pt x="11442" y="19456"/>
                      <a:pt x="5640" y="19097"/>
                      <a:pt x="2291" y="15270"/>
                    </a:cubicBezTo>
                    <a:cubicBezTo>
                      <a:pt x="-1058" y="11442"/>
                      <a:pt x="-699" y="5641"/>
                      <a:pt x="3129" y="2291"/>
                    </a:cubicBezTo>
                    <a:cubicBezTo>
                      <a:pt x="6897" y="-1058"/>
                      <a:pt x="12698" y="-699"/>
                      <a:pt x="16047" y="3129"/>
                    </a:cubicBezTo>
                    <a:cubicBezTo>
                      <a:pt x="19396" y="6896"/>
                      <a:pt x="18978" y="12758"/>
                      <a:pt x="15210" y="16107"/>
                    </a:cubicBezTo>
                    <a:close/>
                  </a:path>
                </a:pathLst>
              </a:custGeom>
              <a:grpFill/>
              <a:ln w="5978" cap="flat">
                <a:noFill/>
                <a:prstDash val="solid"/>
                <a:miter/>
              </a:ln>
            </p:spPr>
            <p:txBody>
              <a:bodyPr rtlCol="0" anchor="ctr"/>
              <a:lstStyle/>
              <a:p>
                <a:endParaRPr lang="en-GB"/>
              </a:p>
            </p:txBody>
          </p:sp>
          <p:sp>
            <p:nvSpPr>
              <p:cNvPr id="4909" name="Vrije vorm: vorm 4908">
                <a:extLst>
                  <a:ext uri="{FF2B5EF4-FFF2-40B4-BE49-F238E27FC236}">
                    <a16:creationId xmlns:a16="http://schemas.microsoft.com/office/drawing/2014/main" id="{D80EB663-F3B8-4874-B906-2E7683EDA6F1}"/>
                  </a:ext>
                </a:extLst>
              </p:cNvPr>
              <p:cNvSpPr/>
              <p:nvPr/>
            </p:nvSpPr>
            <p:spPr>
              <a:xfrm>
                <a:off x="7625980" y="1845100"/>
                <a:ext cx="18297" cy="18405"/>
              </a:xfrm>
              <a:custGeom>
                <a:avLst/>
                <a:gdLst>
                  <a:gd name="connsiteX0" fmla="*/ 15190 w 18297"/>
                  <a:gd name="connsiteY0" fmla="*/ 16141 h 18405"/>
                  <a:gd name="connsiteX1" fmla="*/ 16026 w 18297"/>
                  <a:gd name="connsiteY1" fmla="*/ 3162 h 18405"/>
                  <a:gd name="connsiteX2" fmla="*/ 3108 w 18297"/>
                  <a:gd name="connsiteY2" fmla="*/ 2265 h 18405"/>
                  <a:gd name="connsiteX3" fmla="*/ 2271 w 18297"/>
                  <a:gd name="connsiteY3" fmla="*/ 15244 h 18405"/>
                  <a:gd name="connsiteX4" fmla="*/ 15190 w 18297"/>
                  <a:gd name="connsiteY4" fmla="*/ 161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15190" y="16141"/>
                    </a:moveTo>
                    <a:cubicBezTo>
                      <a:pt x="18958" y="12791"/>
                      <a:pt x="19376" y="6990"/>
                      <a:pt x="16026" y="3162"/>
                    </a:cubicBezTo>
                    <a:cubicBezTo>
                      <a:pt x="12678" y="-665"/>
                      <a:pt x="6876" y="-1084"/>
                      <a:pt x="3108" y="2265"/>
                    </a:cubicBezTo>
                    <a:cubicBezTo>
                      <a:pt x="-659" y="5615"/>
                      <a:pt x="-1078" y="11416"/>
                      <a:pt x="2271" y="15244"/>
                    </a:cubicBezTo>
                    <a:cubicBezTo>
                      <a:pt x="5620" y="19071"/>
                      <a:pt x="11422" y="19490"/>
                      <a:pt x="15190" y="16141"/>
                    </a:cubicBezTo>
                    <a:close/>
                  </a:path>
                </a:pathLst>
              </a:custGeom>
              <a:grpFill/>
              <a:ln w="5978" cap="flat">
                <a:noFill/>
                <a:prstDash val="solid"/>
                <a:miter/>
              </a:ln>
            </p:spPr>
            <p:txBody>
              <a:bodyPr rtlCol="0" anchor="ctr"/>
              <a:lstStyle/>
              <a:p>
                <a:endParaRPr lang="en-GB"/>
              </a:p>
            </p:txBody>
          </p:sp>
        </p:grpSp>
        <p:grpSp>
          <p:nvGrpSpPr>
            <p:cNvPr id="158" name="Graphic 3">
              <a:extLst>
                <a:ext uri="{FF2B5EF4-FFF2-40B4-BE49-F238E27FC236}">
                  <a16:creationId xmlns:a16="http://schemas.microsoft.com/office/drawing/2014/main" id="{7630C2DC-4943-46E2-A0C2-7BAAE4736F1D}"/>
                </a:ext>
              </a:extLst>
            </p:cNvPr>
            <p:cNvGrpSpPr/>
            <p:nvPr/>
          </p:nvGrpSpPr>
          <p:grpSpPr>
            <a:xfrm>
              <a:off x="7624808" y="2808882"/>
              <a:ext cx="190074" cy="77188"/>
              <a:chOff x="7624808" y="2808882"/>
              <a:chExt cx="190074" cy="77188"/>
            </a:xfrm>
            <a:grpFill/>
          </p:grpSpPr>
          <p:sp>
            <p:nvSpPr>
              <p:cNvPr id="4904" name="Vrije vorm: vorm 4903">
                <a:extLst>
                  <a:ext uri="{FF2B5EF4-FFF2-40B4-BE49-F238E27FC236}">
                    <a16:creationId xmlns:a16="http://schemas.microsoft.com/office/drawing/2014/main" id="{95C98F3F-0E76-4389-AACE-0B05F04E6378}"/>
                  </a:ext>
                </a:extLst>
              </p:cNvPr>
              <p:cNvSpPr/>
              <p:nvPr/>
            </p:nvSpPr>
            <p:spPr>
              <a:xfrm>
                <a:off x="7633095" y="2816481"/>
                <a:ext cx="173560" cy="61960"/>
              </a:xfrm>
              <a:custGeom>
                <a:avLst/>
                <a:gdLst>
                  <a:gd name="connsiteX0" fmla="*/ 173561 w 173560"/>
                  <a:gd name="connsiteY0" fmla="*/ 2930 h 61960"/>
                  <a:gd name="connsiteX1" fmla="*/ 957 w 173560"/>
                  <a:gd name="connsiteY1" fmla="*/ 61960 h 61960"/>
                  <a:gd name="connsiteX2" fmla="*/ 0 w 173560"/>
                  <a:gd name="connsiteY2" fmla="*/ 59090 h 61960"/>
                  <a:gd name="connsiteX3" fmla="*/ 172544 w 173560"/>
                  <a:gd name="connsiteY3" fmla="*/ 0 h 61960"/>
                </a:gdLst>
                <a:ahLst/>
                <a:cxnLst>
                  <a:cxn ang="0">
                    <a:pos x="connsiteX0" y="connsiteY0"/>
                  </a:cxn>
                  <a:cxn ang="0">
                    <a:pos x="connsiteX1" y="connsiteY1"/>
                  </a:cxn>
                  <a:cxn ang="0">
                    <a:pos x="connsiteX2" y="connsiteY2"/>
                  </a:cxn>
                  <a:cxn ang="0">
                    <a:pos x="connsiteX3" y="connsiteY3"/>
                  </a:cxn>
                </a:cxnLst>
                <a:rect l="l" t="t" r="r" b="b"/>
                <a:pathLst>
                  <a:path w="173560" h="61960">
                    <a:moveTo>
                      <a:pt x="173561" y="2930"/>
                    </a:moveTo>
                    <a:lnTo>
                      <a:pt x="957" y="61960"/>
                    </a:lnTo>
                    <a:lnTo>
                      <a:pt x="0" y="59090"/>
                    </a:lnTo>
                    <a:lnTo>
                      <a:pt x="172544" y="0"/>
                    </a:lnTo>
                    <a:close/>
                  </a:path>
                </a:pathLst>
              </a:custGeom>
              <a:grpFill/>
              <a:ln w="5978" cap="flat">
                <a:noFill/>
                <a:prstDash val="solid"/>
                <a:miter/>
              </a:ln>
            </p:spPr>
            <p:txBody>
              <a:bodyPr rtlCol="0" anchor="ctr"/>
              <a:lstStyle/>
              <a:p>
                <a:endParaRPr lang="en-GB"/>
              </a:p>
            </p:txBody>
          </p:sp>
          <p:sp>
            <p:nvSpPr>
              <p:cNvPr id="4905" name="Vrije vorm: vorm 4904">
                <a:extLst>
                  <a:ext uri="{FF2B5EF4-FFF2-40B4-BE49-F238E27FC236}">
                    <a16:creationId xmlns:a16="http://schemas.microsoft.com/office/drawing/2014/main" id="{72BBFBA0-6D56-4365-B6CB-AD4709E87AC2}"/>
                  </a:ext>
                </a:extLst>
              </p:cNvPr>
              <p:cNvSpPr/>
              <p:nvPr/>
            </p:nvSpPr>
            <p:spPr>
              <a:xfrm>
                <a:off x="7796538" y="2808882"/>
                <a:ext cx="18345" cy="18368"/>
              </a:xfrm>
              <a:custGeom>
                <a:avLst/>
                <a:gdLst>
                  <a:gd name="connsiteX0" fmla="*/ 6170 w 18345"/>
                  <a:gd name="connsiteY0" fmla="*/ 482 h 18368"/>
                  <a:gd name="connsiteX1" fmla="*/ 17833 w 18345"/>
                  <a:gd name="connsiteY1" fmla="*/ 6224 h 18368"/>
                  <a:gd name="connsiteX2" fmla="*/ 12151 w 18345"/>
                  <a:gd name="connsiteY2" fmla="*/ 17886 h 18368"/>
                  <a:gd name="connsiteX3" fmla="*/ 489 w 18345"/>
                  <a:gd name="connsiteY3" fmla="*/ 12145 h 18368"/>
                  <a:gd name="connsiteX4" fmla="*/ 6170 w 18345"/>
                  <a:gd name="connsiteY4" fmla="*/ 482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368">
                    <a:moveTo>
                      <a:pt x="6170" y="482"/>
                    </a:moveTo>
                    <a:cubicBezTo>
                      <a:pt x="10955" y="-1132"/>
                      <a:pt x="16158" y="1439"/>
                      <a:pt x="17833" y="6224"/>
                    </a:cubicBezTo>
                    <a:cubicBezTo>
                      <a:pt x="19508" y="11068"/>
                      <a:pt x="16936" y="16272"/>
                      <a:pt x="12151" y="17886"/>
                    </a:cubicBezTo>
                    <a:cubicBezTo>
                      <a:pt x="7367" y="19501"/>
                      <a:pt x="2164" y="16929"/>
                      <a:pt x="489" y="12145"/>
                    </a:cubicBezTo>
                    <a:cubicBezTo>
                      <a:pt x="-1126" y="7360"/>
                      <a:pt x="1386" y="2157"/>
                      <a:pt x="6170" y="482"/>
                    </a:cubicBezTo>
                    <a:close/>
                  </a:path>
                </a:pathLst>
              </a:custGeom>
              <a:grpFill/>
              <a:ln w="5978" cap="flat">
                <a:noFill/>
                <a:prstDash val="solid"/>
                <a:miter/>
              </a:ln>
            </p:spPr>
            <p:txBody>
              <a:bodyPr rtlCol="0" anchor="ctr"/>
              <a:lstStyle/>
              <a:p>
                <a:endParaRPr lang="en-GB"/>
              </a:p>
            </p:txBody>
          </p:sp>
          <p:sp>
            <p:nvSpPr>
              <p:cNvPr id="4906" name="Vrije vorm: vorm 4905">
                <a:extLst>
                  <a:ext uri="{FF2B5EF4-FFF2-40B4-BE49-F238E27FC236}">
                    <a16:creationId xmlns:a16="http://schemas.microsoft.com/office/drawing/2014/main" id="{68711910-D3D2-494C-9465-F7E2AE2BD20F}"/>
                  </a:ext>
                </a:extLst>
              </p:cNvPr>
              <p:cNvSpPr/>
              <p:nvPr/>
            </p:nvSpPr>
            <p:spPr>
              <a:xfrm>
                <a:off x="7624808" y="2867643"/>
                <a:ext cx="18368" cy="18426"/>
              </a:xfrm>
              <a:custGeom>
                <a:avLst/>
                <a:gdLst>
                  <a:gd name="connsiteX0" fmla="*/ 6194 w 18368"/>
                  <a:gd name="connsiteY0" fmla="*/ 512 h 18426"/>
                  <a:gd name="connsiteX1" fmla="*/ 512 w 18368"/>
                  <a:gd name="connsiteY1" fmla="*/ 12174 h 18426"/>
                  <a:gd name="connsiteX2" fmla="*/ 12174 w 18368"/>
                  <a:gd name="connsiteY2" fmla="*/ 17915 h 18426"/>
                  <a:gd name="connsiteX3" fmla="*/ 17856 w 18368"/>
                  <a:gd name="connsiteY3" fmla="*/ 6253 h 18426"/>
                  <a:gd name="connsiteX4" fmla="*/ 6194 w 18368"/>
                  <a:gd name="connsiteY4" fmla="*/ 51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6">
                    <a:moveTo>
                      <a:pt x="6194" y="512"/>
                    </a:moveTo>
                    <a:cubicBezTo>
                      <a:pt x="1409" y="2126"/>
                      <a:pt x="-1163" y="7389"/>
                      <a:pt x="512" y="12174"/>
                    </a:cubicBezTo>
                    <a:cubicBezTo>
                      <a:pt x="2187" y="17018"/>
                      <a:pt x="7390" y="19590"/>
                      <a:pt x="12174" y="17915"/>
                    </a:cubicBezTo>
                    <a:cubicBezTo>
                      <a:pt x="16959" y="16301"/>
                      <a:pt x="19530" y="11038"/>
                      <a:pt x="17856" y="6253"/>
                    </a:cubicBezTo>
                    <a:cubicBezTo>
                      <a:pt x="16182" y="1409"/>
                      <a:pt x="10978" y="-1163"/>
                      <a:pt x="6194" y="512"/>
                    </a:cubicBezTo>
                    <a:close/>
                  </a:path>
                </a:pathLst>
              </a:custGeom>
              <a:grpFill/>
              <a:ln w="5978" cap="flat">
                <a:noFill/>
                <a:prstDash val="solid"/>
                <a:miter/>
              </a:ln>
            </p:spPr>
            <p:txBody>
              <a:bodyPr rtlCol="0" anchor="ctr"/>
              <a:lstStyle/>
              <a:p>
                <a:endParaRPr lang="en-GB"/>
              </a:p>
            </p:txBody>
          </p:sp>
        </p:grpSp>
        <p:grpSp>
          <p:nvGrpSpPr>
            <p:cNvPr id="159" name="Graphic 3">
              <a:extLst>
                <a:ext uri="{FF2B5EF4-FFF2-40B4-BE49-F238E27FC236}">
                  <a16:creationId xmlns:a16="http://schemas.microsoft.com/office/drawing/2014/main" id="{19396D4B-FB63-409D-A886-C386CFAF8AD0}"/>
                </a:ext>
              </a:extLst>
            </p:cNvPr>
            <p:cNvGrpSpPr/>
            <p:nvPr/>
          </p:nvGrpSpPr>
          <p:grpSpPr>
            <a:xfrm>
              <a:off x="7652153" y="2736977"/>
              <a:ext cx="63139" cy="36583"/>
              <a:chOff x="7652153" y="2736977"/>
              <a:chExt cx="63139" cy="36583"/>
            </a:xfrm>
            <a:grpFill/>
          </p:grpSpPr>
          <p:sp>
            <p:nvSpPr>
              <p:cNvPr id="4901" name="Vrije vorm: vorm 4900">
                <a:extLst>
                  <a:ext uri="{FF2B5EF4-FFF2-40B4-BE49-F238E27FC236}">
                    <a16:creationId xmlns:a16="http://schemas.microsoft.com/office/drawing/2014/main" id="{C1A03B86-BE59-4340-B014-785B46CD2FDE}"/>
                  </a:ext>
                </a:extLst>
              </p:cNvPr>
              <p:cNvSpPr/>
              <p:nvPr/>
            </p:nvSpPr>
            <p:spPr>
              <a:xfrm>
                <a:off x="7660308" y="2744593"/>
                <a:ext cx="46828" cy="21410"/>
              </a:xfrm>
              <a:custGeom>
                <a:avLst/>
                <a:gdLst>
                  <a:gd name="connsiteX0" fmla="*/ 46829 w 46828"/>
                  <a:gd name="connsiteY0" fmla="*/ 2871 h 21410"/>
                  <a:gd name="connsiteX1" fmla="*/ 1136 w 46828"/>
                  <a:gd name="connsiteY1" fmla="*/ 21411 h 21410"/>
                  <a:gd name="connsiteX2" fmla="*/ 0 w 46828"/>
                  <a:gd name="connsiteY2" fmla="*/ 18540 h 21410"/>
                  <a:gd name="connsiteX3" fmla="*/ 45633 w 46828"/>
                  <a:gd name="connsiteY3" fmla="*/ 0 h 21410"/>
                </a:gdLst>
                <a:ahLst/>
                <a:cxnLst>
                  <a:cxn ang="0">
                    <a:pos x="connsiteX0" y="connsiteY0"/>
                  </a:cxn>
                  <a:cxn ang="0">
                    <a:pos x="connsiteX1" y="connsiteY1"/>
                  </a:cxn>
                  <a:cxn ang="0">
                    <a:pos x="connsiteX2" y="connsiteY2"/>
                  </a:cxn>
                  <a:cxn ang="0">
                    <a:pos x="connsiteX3" y="connsiteY3"/>
                  </a:cxn>
                </a:cxnLst>
                <a:rect l="l" t="t" r="r" b="b"/>
                <a:pathLst>
                  <a:path w="46828" h="21410">
                    <a:moveTo>
                      <a:pt x="46829" y="2871"/>
                    </a:moveTo>
                    <a:lnTo>
                      <a:pt x="1136" y="21411"/>
                    </a:lnTo>
                    <a:lnTo>
                      <a:pt x="0" y="18540"/>
                    </a:lnTo>
                    <a:lnTo>
                      <a:pt x="45633" y="0"/>
                    </a:lnTo>
                    <a:close/>
                  </a:path>
                </a:pathLst>
              </a:custGeom>
              <a:grpFill/>
              <a:ln w="5978" cap="flat">
                <a:noFill/>
                <a:prstDash val="solid"/>
                <a:miter/>
              </a:ln>
            </p:spPr>
            <p:txBody>
              <a:bodyPr rtlCol="0" anchor="ctr"/>
              <a:lstStyle/>
              <a:p>
                <a:endParaRPr lang="en-GB"/>
              </a:p>
            </p:txBody>
          </p:sp>
          <p:sp>
            <p:nvSpPr>
              <p:cNvPr id="4902" name="Vrije vorm: vorm 4901">
                <a:extLst>
                  <a:ext uri="{FF2B5EF4-FFF2-40B4-BE49-F238E27FC236}">
                    <a16:creationId xmlns:a16="http://schemas.microsoft.com/office/drawing/2014/main" id="{D4D31832-DF6A-4A19-B3F9-2DC7DE849ED1}"/>
                  </a:ext>
                </a:extLst>
              </p:cNvPr>
              <p:cNvSpPr/>
              <p:nvPr/>
            </p:nvSpPr>
            <p:spPr>
              <a:xfrm>
                <a:off x="7696948" y="2736977"/>
                <a:ext cx="18343" cy="18402"/>
              </a:xfrm>
              <a:custGeom>
                <a:avLst/>
                <a:gdLst>
                  <a:gd name="connsiteX0" fmla="*/ 5703 w 18343"/>
                  <a:gd name="connsiteY0" fmla="*/ 679 h 18402"/>
                  <a:gd name="connsiteX1" fmla="*/ 17664 w 18343"/>
                  <a:gd name="connsiteY1" fmla="*/ 5762 h 18402"/>
                  <a:gd name="connsiteX2" fmla="*/ 12641 w 18343"/>
                  <a:gd name="connsiteY2" fmla="*/ 17724 h 18402"/>
                  <a:gd name="connsiteX3" fmla="*/ 679 w 18343"/>
                  <a:gd name="connsiteY3" fmla="*/ 12640 h 18402"/>
                  <a:gd name="connsiteX4" fmla="*/ 5703 w 18343"/>
                  <a:gd name="connsiteY4" fmla="*/ 679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2">
                    <a:moveTo>
                      <a:pt x="5703" y="679"/>
                    </a:moveTo>
                    <a:cubicBezTo>
                      <a:pt x="10368" y="-1235"/>
                      <a:pt x="15751" y="1037"/>
                      <a:pt x="17664" y="5762"/>
                    </a:cubicBezTo>
                    <a:cubicBezTo>
                      <a:pt x="19578" y="10487"/>
                      <a:pt x="17306" y="15870"/>
                      <a:pt x="12641" y="17724"/>
                    </a:cubicBezTo>
                    <a:cubicBezTo>
                      <a:pt x="7975" y="19637"/>
                      <a:pt x="2593" y="17365"/>
                      <a:pt x="679" y="12640"/>
                    </a:cubicBezTo>
                    <a:cubicBezTo>
                      <a:pt x="-1234" y="7975"/>
                      <a:pt x="1038" y="2592"/>
                      <a:pt x="5703" y="679"/>
                    </a:cubicBezTo>
                    <a:close/>
                  </a:path>
                </a:pathLst>
              </a:custGeom>
              <a:grpFill/>
              <a:ln w="5978" cap="flat">
                <a:noFill/>
                <a:prstDash val="solid"/>
                <a:miter/>
              </a:ln>
            </p:spPr>
            <p:txBody>
              <a:bodyPr rtlCol="0" anchor="ctr"/>
              <a:lstStyle/>
              <a:p>
                <a:endParaRPr lang="en-GB"/>
              </a:p>
            </p:txBody>
          </p:sp>
          <p:sp>
            <p:nvSpPr>
              <p:cNvPr id="4903" name="Vrije vorm: vorm 4902">
                <a:extLst>
                  <a:ext uri="{FF2B5EF4-FFF2-40B4-BE49-F238E27FC236}">
                    <a16:creationId xmlns:a16="http://schemas.microsoft.com/office/drawing/2014/main" id="{4CB2648E-1962-465F-8080-0BB9DF809C6B}"/>
                  </a:ext>
                </a:extLst>
              </p:cNvPr>
              <p:cNvSpPr/>
              <p:nvPr/>
            </p:nvSpPr>
            <p:spPr>
              <a:xfrm>
                <a:off x="7652153" y="2755191"/>
                <a:ext cx="18343" cy="18369"/>
              </a:xfrm>
              <a:custGeom>
                <a:avLst/>
                <a:gdLst>
                  <a:gd name="connsiteX0" fmla="*/ 5703 w 18343"/>
                  <a:gd name="connsiteY0" fmla="*/ 646 h 18369"/>
                  <a:gd name="connsiteX1" fmla="*/ 679 w 18343"/>
                  <a:gd name="connsiteY1" fmla="*/ 12607 h 18369"/>
                  <a:gd name="connsiteX2" fmla="*/ 12641 w 18343"/>
                  <a:gd name="connsiteY2" fmla="*/ 17691 h 18369"/>
                  <a:gd name="connsiteX3" fmla="*/ 17664 w 18343"/>
                  <a:gd name="connsiteY3" fmla="*/ 5729 h 18369"/>
                  <a:gd name="connsiteX4" fmla="*/ 5703 w 18343"/>
                  <a:gd name="connsiteY4" fmla="*/ 646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69">
                    <a:moveTo>
                      <a:pt x="5703" y="646"/>
                    </a:moveTo>
                    <a:cubicBezTo>
                      <a:pt x="1038" y="2560"/>
                      <a:pt x="-1234" y="7942"/>
                      <a:pt x="679" y="12607"/>
                    </a:cubicBezTo>
                    <a:cubicBezTo>
                      <a:pt x="2593" y="17332"/>
                      <a:pt x="7916" y="19605"/>
                      <a:pt x="12641" y="17691"/>
                    </a:cubicBezTo>
                    <a:cubicBezTo>
                      <a:pt x="17306" y="15777"/>
                      <a:pt x="19579" y="10394"/>
                      <a:pt x="17664" y="5729"/>
                    </a:cubicBezTo>
                    <a:cubicBezTo>
                      <a:pt x="15691" y="1065"/>
                      <a:pt x="10368" y="-1208"/>
                      <a:pt x="5703" y="646"/>
                    </a:cubicBezTo>
                    <a:close/>
                  </a:path>
                </a:pathLst>
              </a:custGeom>
              <a:grpFill/>
              <a:ln w="5978" cap="flat">
                <a:noFill/>
                <a:prstDash val="solid"/>
                <a:miter/>
              </a:ln>
            </p:spPr>
            <p:txBody>
              <a:bodyPr rtlCol="0" anchor="ctr"/>
              <a:lstStyle/>
              <a:p>
                <a:endParaRPr lang="en-GB"/>
              </a:p>
            </p:txBody>
          </p:sp>
        </p:grpSp>
        <p:grpSp>
          <p:nvGrpSpPr>
            <p:cNvPr id="160" name="Graphic 3">
              <a:extLst>
                <a:ext uri="{FF2B5EF4-FFF2-40B4-BE49-F238E27FC236}">
                  <a16:creationId xmlns:a16="http://schemas.microsoft.com/office/drawing/2014/main" id="{7DD5D62F-2485-4629-A7FA-7A768AEE18FF}"/>
                </a:ext>
              </a:extLst>
            </p:cNvPr>
            <p:cNvGrpSpPr/>
            <p:nvPr/>
          </p:nvGrpSpPr>
          <p:grpSpPr>
            <a:xfrm>
              <a:off x="7295808" y="1830018"/>
              <a:ext cx="249285" cy="264533"/>
              <a:chOff x="7295808" y="1830018"/>
              <a:chExt cx="249285" cy="264533"/>
            </a:xfrm>
            <a:grpFill/>
          </p:grpSpPr>
          <p:sp>
            <p:nvSpPr>
              <p:cNvPr id="4898" name="Vrije vorm: vorm 4897">
                <a:extLst>
                  <a:ext uri="{FF2B5EF4-FFF2-40B4-BE49-F238E27FC236}">
                    <a16:creationId xmlns:a16="http://schemas.microsoft.com/office/drawing/2014/main" id="{0598CC46-5F5B-441F-8775-E4D86A2E9E38}"/>
                  </a:ext>
                </a:extLst>
              </p:cNvPr>
              <p:cNvSpPr/>
              <p:nvPr/>
            </p:nvSpPr>
            <p:spPr>
              <a:xfrm>
                <a:off x="7303498" y="1837856"/>
                <a:ext cx="233786" cy="248857"/>
              </a:xfrm>
              <a:custGeom>
                <a:avLst/>
                <a:gdLst>
                  <a:gd name="connsiteX0" fmla="*/ 233787 w 233786"/>
                  <a:gd name="connsiteY0" fmla="*/ 2093 h 248857"/>
                  <a:gd name="connsiteX1" fmla="*/ 2273 w 233786"/>
                  <a:gd name="connsiteY1" fmla="*/ 248858 h 248857"/>
                  <a:gd name="connsiteX2" fmla="*/ 0 w 233786"/>
                  <a:gd name="connsiteY2" fmla="*/ 246765 h 248857"/>
                  <a:gd name="connsiteX3" fmla="*/ 231573 w 233786"/>
                  <a:gd name="connsiteY3" fmla="*/ 0 h 248857"/>
                </a:gdLst>
                <a:ahLst/>
                <a:cxnLst>
                  <a:cxn ang="0">
                    <a:pos x="connsiteX0" y="connsiteY0"/>
                  </a:cxn>
                  <a:cxn ang="0">
                    <a:pos x="connsiteX1" y="connsiteY1"/>
                  </a:cxn>
                  <a:cxn ang="0">
                    <a:pos x="connsiteX2" y="connsiteY2"/>
                  </a:cxn>
                  <a:cxn ang="0">
                    <a:pos x="connsiteX3" y="connsiteY3"/>
                  </a:cxn>
                </a:cxnLst>
                <a:rect l="l" t="t" r="r" b="b"/>
                <a:pathLst>
                  <a:path w="233786" h="248857">
                    <a:moveTo>
                      <a:pt x="233787" y="2093"/>
                    </a:moveTo>
                    <a:lnTo>
                      <a:pt x="2273" y="248858"/>
                    </a:lnTo>
                    <a:lnTo>
                      <a:pt x="0" y="246765"/>
                    </a:lnTo>
                    <a:lnTo>
                      <a:pt x="231573" y="0"/>
                    </a:lnTo>
                    <a:close/>
                  </a:path>
                </a:pathLst>
              </a:custGeom>
              <a:grpFill/>
              <a:ln w="5978" cap="flat">
                <a:noFill/>
                <a:prstDash val="solid"/>
                <a:miter/>
              </a:ln>
            </p:spPr>
            <p:txBody>
              <a:bodyPr rtlCol="0" anchor="ctr"/>
              <a:lstStyle/>
              <a:p>
                <a:endParaRPr lang="en-GB"/>
              </a:p>
            </p:txBody>
          </p:sp>
          <p:sp>
            <p:nvSpPr>
              <p:cNvPr id="4899" name="Vrije vorm: vorm 4898">
                <a:extLst>
                  <a:ext uri="{FF2B5EF4-FFF2-40B4-BE49-F238E27FC236}">
                    <a16:creationId xmlns:a16="http://schemas.microsoft.com/office/drawing/2014/main" id="{668BB8AF-C2AC-4D71-9113-0B61FD76B448}"/>
                  </a:ext>
                </a:extLst>
              </p:cNvPr>
              <p:cNvSpPr/>
              <p:nvPr/>
            </p:nvSpPr>
            <p:spPr>
              <a:xfrm>
                <a:off x="7526724" y="1830018"/>
                <a:ext cx="18370" cy="18426"/>
              </a:xfrm>
              <a:custGeom>
                <a:avLst/>
                <a:gdLst>
                  <a:gd name="connsiteX0" fmla="*/ 2486 w 18370"/>
                  <a:gd name="connsiteY0" fmla="*/ 2874 h 18426"/>
                  <a:gd name="connsiteX1" fmla="*/ 15465 w 18370"/>
                  <a:gd name="connsiteY1" fmla="*/ 2515 h 18426"/>
                  <a:gd name="connsiteX2" fmla="*/ 15883 w 18370"/>
                  <a:gd name="connsiteY2" fmla="*/ 15553 h 18426"/>
                  <a:gd name="connsiteX3" fmla="*/ 2905 w 18370"/>
                  <a:gd name="connsiteY3" fmla="*/ 15912 h 18426"/>
                  <a:gd name="connsiteX4" fmla="*/ 2486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6" y="2874"/>
                    </a:moveTo>
                    <a:cubicBezTo>
                      <a:pt x="5956" y="-834"/>
                      <a:pt x="11757" y="-954"/>
                      <a:pt x="15465" y="2515"/>
                    </a:cubicBezTo>
                    <a:cubicBezTo>
                      <a:pt x="19173" y="6044"/>
                      <a:pt x="19352" y="11845"/>
                      <a:pt x="15883" y="15553"/>
                    </a:cubicBezTo>
                    <a:cubicBezTo>
                      <a:pt x="12415" y="19261"/>
                      <a:pt x="6613" y="19381"/>
                      <a:pt x="2905" y="15912"/>
                    </a:cubicBezTo>
                    <a:cubicBezTo>
                      <a:pt x="-803" y="12443"/>
                      <a:pt x="-982" y="6582"/>
                      <a:pt x="2486" y="2874"/>
                    </a:cubicBezTo>
                    <a:close/>
                  </a:path>
                </a:pathLst>
              </a:custGeom>
              <a:grpFill/>
              <a:ln w="5978" cap="flat">
                <a:noFill/>
                <a:prstDash val="solid"/>
                <a:miter/>
              </a:ln>
            </p:spPr>
            <p:txBody>
              <a:bodyPr rtlCol="0" anchor="ctr"/>
              <a:lstStyle/>
              <a:p>
                <a:endParaRPr lang="en-GB"/>
              </a:p>
            </p:txBody>
          </p:sp>
          <p:sp>
            <p:nvSpPr>
              <p:cNvPr id="4900" name="Vrije vorm: vorm 4899">
                <a:extLst>
                  <a:ext uri="{FF2B5EF4-FFF2-40B4-BE49-F238E27FC236}">
                    <a16:creationId xmlns:a16="http://schemas.microsoft.com/office/drawing/2014/main" id="{C9FFAA85-3E6A-4644-9464-6DBF2AC4487B}"/>
                  </a:ext>
                </a:extLst>
              </p:cNvPr>
              <p:cNvSpPr/>
              <p:nvPr/>
            </p:nvSpPr>
            <p:spPr>
              <a:xfrm>
                <a:off x="7295808" y="2076125"/>
                <a:ext cx="18370" cy="18426"/>
              </a:xfrm>
              <a:custGeom>
                <a:avLst/>
                <a:gdLst>
                  <a:gd name="connsiteX0" fmla="*/ 2486 w 18370"/>
                  <a:gd name="connsiteY0" fmla="*/ 2874 h 18426"/>
                  <a:gd name="connsiteX1" fmla="*/ 2905 w 18370"/>
                  <a:gd name="connsiteY1" fmla="*/ 15912 h 18426"/>
                  <a:gd name="connsiteX2" fmla="*/ 15883 w 18370"/>
                  <a:gd name="connsiteY2" fmla="*/ 15553 h 18426"/>
                  <a:gd name="connsiteX3" fmla="*/ 15465 w 18370"/>
                  <a:gd name="connsiteY3" fmla="*/ 2515 h 18426"/>
                  <a:gd name="connsiteX4" fmla="*/ 2486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6" y="2874"/>
                    </a:moveTo>
                    <a:cubicBezTo>
                      <a:pt x="-982" y="6582"/>
                      <a:pt x="-803" y="12383"/>
                      <a:pt x="2905" y="15912"/>
                    </a:cubicBezTo>
                    <a:cubicBezTo>
                      <a:pt x="6613" y="19380"/>
                      <a:pt x="12415" y="19261"/>
                      <a:pt x="15883" y="15553"/>
                    </a:cubicBezTo>
                    <a:cubicBezTo>
                      <a:pt x="19352" y="11845"/>
                      <a:pt x="19173" y="6043"/>
                      <a:pt x="15465" y="2515"/>
                    </a:cubicBezTo>
                    <a:cubicBezTo>
                      <a:pt x="11697" y="-954"/>
                      <a:pt x="5956" y="-834"/>
                      <a:pt x="2486" y="2874"/>
                    </a:cubicBezTo>
                    <a:close/>
                  </a:path>
                </a:pathLst>
              </a:custGeom>
              <a:grpFill/>
              <a:ln w="5978" cap="flat">
                <a:noFill/>
                <a:prstDash val="solid"/>
                <a:miter/>
              </a:ln>
            </p:spPr>
            <p:txBody>
              <a:bodyPr rtlCol="0" anchor="ctr"/>
              <a:lstStyle/>
              <a:p>
                <a:endParaRPr lang="en-GB"/>
              </a:p>
            </p:txBody>
          </p:sp>
        </p:grpSp>
        <p:grpSp>
          <p:nvGrpSpPr>
            <p:cNvPr id="161" name="Graphic 3">
              <a:extLst>
                <a:ext uri="{FF2B5EF4-FFF2-40B4-BE49-F238E27FC236}">
                  <a16:creationId xmlns:a16="http://schemas.microsoft.com/office/drawing/2014/main" id="{740D40E9-75AE-424A-B1DD-A05B759CD0DB}"/>
                </a:ext>
              </a:extLst>
            </p:cNvPr>
            <p:cNvGrpSpPr/>
            <p:nvPr/>
          </p:nvGrpSpPr>
          <p:grpSpPr>
            <a:xfrm>
              <a:off x="7940793" y="3745860"/>
              <a:ext cx="128784" cy="38208"/>
              <a:chOff x="7940793" y="3745860"/>
              <a:chExt cx="128784" cy="38208"/>
            </a:xfrm>
            <a:grpFill/>
          </p:grpSpPr>
          <p:sp>
            <p:nvSpPr>
              <p:cNvPr id="4895" name="Vrije vorm: vorm 4894">
                <a:extLst>
                  <a:ext uri="{FF2B5EF4-FFF2-40B4-BE49-F238E27FC236}">
                    <a16:creationId xmlns:a16="http://schemas.microsoft.com/office/drawing/2014/main" id="{23CC921A-64DA-4061-97FB-3160A5C6A58B}"/>
                  </a:ext>
                </a:extLst>
              </p:cNvPr>
              <p:cNvSpPr/>
              <p:nvPr/>
            </p:nvSpPr>
            <p:spPr>
              <a:xfrm>
                <a:off x="7949236" y="3753481"/>
                <a:ext cx="111899" cy="22906"/>
              </a:xfrm>
              <a:custGeom>
                <a:avLst/>
                <a:gdLst>
                  <a:gd name="connsiteX0" fmla="*/ 111900 w 111899"/>
                  <a:gd name="connsiteY0" fmla="*/ 19916 h 22906"/>
                  <a:gd name="connsiteX1" fmla="*/ 111362 w 111899"/>
                  <a:gd name="connsiteY1" fmla="*/ 22906 h 22906"/>
                  <a:gd name="connsiteX2" fmla="*/ 0 w 111899"/>
                  <a:gd name="connsiteY2" fmla="*/ 3050 h 22906"/>
                  <a:gd name="connsiteX3" fmla="*/ 539 w 111899"/>
                  <a:gd name="connsiteY3" fmla="*/ 0 h 22906"/>
                </a:gdLst>
                <a:ahLst/>
                <a:cxnLst>
                  <a:cxn ang="0">
                    <a:pos x="connsiteX0" y="connsiteY0"/>
                  </a:cxn>
                  <a:cxn ang="0">
                    <a:pos x="connsiteX1" y="connsiteY1"/>
                  </a:cxn>
                  <a:cxn ang="0">
                    <a:pos x="connsiteX2" y="connsiteY2"/>
                  </a:cxn>
                  <a:cxn ang="0">
                    <a:pos x="connsiteX3" y="connsiteY3"/>
                  </a:cxn>
                </a:cxnLst>
                <a:rect l="l" t="t" r="r" b="b"/>
                <a:pathLst>
                  <a:path w="111899" h="22906">
                    <a:moveTo>
                      <a:pt x="111900" y="19916"/>
                    </a:moveTo>
                    <a:lnTo>
                      <a:pt x="111362" y="22906"/>
                    </a:lnTo>
                    <a:lnTo>
                      <a:pt x="0" y="3050"/>
                    </a:lnTo>
                    <a:lnTo>
                      <a:pt x="539" y="0"/>
                    </a:lnTo>
                    <a:close/>
                  </a:path>
                </a:pathLst>
              </a:custGeom>
              <a:grpFill/>
              <a:ln w="5978" cap="flat">
                <a:noFill/>
                <a:prstDash val="solid"/>
                <a:miter/>
              </a:ln>
            </p:spPr>
            <p:txBody>
              <a:bodyPr rtlCol="0" anchor="ctr"/>
              <a:lstStyle/>
              <a:p>
                <a:endParaRPr lang="en-GB"/>
              </a:p>
            </p:txBody>
          </p:sp>
          <p:sp>
            <p:nvSpPr>
              <p:cNvPr id="4896" name="Vrije vorm: vorm 4895">
                <a:extLst>
                  <a:ext uri="{FF2B5EF4-FFF2-40B4-BE49-F238E27FC236}">
                    <a16:creationId xmlns:a16="http://schemas.microsoft.com/office/drawing/2014/main" id="{13D1F7A5-0677-4CAF-A4F7-1FE7A4355D34}"/>
                  </a:ext>
                </a:extLst>
              </p:cNvPr>
              <p:cNvSpPr/>
              <p:nvPr/>
            </p:nvSpPr>
            <p:spPr>
              <a:xfrm>
                <a:off x="8051259" y="3765596"/>
                <a:ext cx="18318" cy="18472"/>
              </a:xfrm>
              <a:custGeom>
                <a:avLst/>
                <a:gdLst>
                  <a:gd name="connsiteX0" fmla="*/ 10714 w 18318"/>
                  <a:gd name="connsiteY0" fmla="*/ 145 h 18472"/>
                  <a:gd name="connsiteX1" fmla="*/ 18190 w 18318"/>
                  <a:gd name="connsiteY1" fmla="*/ 10851 h 18472"/>
                  <a:gd name="connsiteX2" fmla="*/ 7604 w 18318"/>
                  <a:gd name="connsiteY2" fmla="*/ 18327 h 18472"/>
                  <a:gd name="connsiteX3" fmla="*/ 128 w 18318"/>
                  <a:gd name="connsiteY3" fmla="*/ 7621 h 18472"/>
                  <a:gd name="connsiteX4" fmla="*/ 10714 w 18318"/>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2">
                    <a:moveTo>
                      <a:pt x="10714" y="145"/>
                    </a:moveTo>
                    <a:cubicBezTo>
                      <a:pt x="15678" y="1042"/>
                      <a:pt x="19028" y="5827"/>
                      <a:pt x="18190" y="10851"/>
                    </a:cubicBezTo>
                    <a:cubicBezTo>
                      <a:pt x="17353" y="15875"/>
                      <a:pt x="12568" y="19224"/>
                      <a:pt x="7604" y="18327"/>
                    </a:cubicBezTo>
                    <a:cubicBezTo>
                      <a:pt x="2640" y="17430"/>
                      <a:pt x="-709" y="12645"/>
                      <a:pt x="128" y="7621"/>
                    </a:cubicBezTo>
                    <a:cubicBezTo>
                      <a:pt x="966" y="2597"/>
                      <a:pt x="5750" y="-752"/>
                      <a:pt x="10714" y="145"/>
                    </a:cubicBezTo>
                    <a:close/>
                  </a:path>
                </a:pathLst>
              </a:custGeom>
              <a:grpFill/>
              <a:ln w="5978" cap="flat">
                <a:noFill/>
                <a:prstDash val="solid"/>
                <a:miter/>
              </a:ln>
            </p:spPr>
            <p:txBody>
              <a:bodyPr rtlCol="0" anchor="ctr"/>
              <a:lstStyle/>
              <a:p>
                <a:endParaRPr lang="en-GB"/>
              </a:p>
            </p:txBody>
          </p:sp>
          <p:sp>
            <p:nvSpPr>
              <p:cNvPr id="4897" name="Vrije vorm: vorm 4896">
                <a:extLst>
                  <a:ext uri="{FF2B5EF4-FFF2-40B4-BE49-F238E27FC236}">
                    <a16:creationId xmlns:a16="http://schemas.microsoft.com/office/drawing/2014/main" id="{041476B7-21B7-4ABE-89DD-2257CB72CA01}"/>
                  </a:ext>
                </a:extLst>
              </p:cNvPr>
              <p:cNvSpPr/>
              <p:nvPr/>
            </p:nvSpPr>
            <p:spPr>
              <a:xfrm>
                <a:off x="7940793" y="3745860"/>
                <a:ext cx="18319" cy="18472"/>
              </a:xfrm>
              <a:custGeom>
                <a:avLst/>
                <a:gdLst>
                  <a:gd name="connsiteX0" fmla="*/ 10715 w 18319"/>
                  <a:gd name="connsiteY0" fmla="*/ 145 h 18472"/>
                  <a:gd name="connsiteX1" fmla="*/ 130 w 18319"/>
                  <a:gd name="connsiteY1" fmla="*/ 7621 h 18472"/>
                  <a:gd name="connsiteX2" fmla="*/ 7606 w 18319"/>
                  <a:gd name="connsiteY2" fmla="*/ 18327 h 18472"/>
                  <a:gd name="connsiteX3" fmla="*/ 18191 w 18319"/>
                  <a:gd name="connsiteY3" fmla="*/ 10851 h 18472"/>
                  <a:gd name="connsiteX4" fmla="*/ 10715 w 18319"/>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2">
                    <a:moveTo>
                      <a:pt x="10715" y="145"/>
                    </a:moveTo>
                    <a:cubicBezTo>
                      <a:pt x="5752" y="-752"/>
                      <a:pt x="967" y="2597"/>
                      <a:pt x="130" y="7621"/>
                    </a:cubicBezTo>
                    <a:cubicBezTo>
                      <a:pt x="-707" y="12645"/>
                      <a:pt x="2582" y="17430"/>
                      <a:pt x="7606" y="18327"/>
                    </a:cubicBezTo>
                    <a:cubicBezTo>
                      <a:pt x="12570" y="19224"/>
                      <a:pt x="17355" y="15875"/>
                      <a:pt x="18191" y="10851"/>
                    </a:cubicBezTo>
                    <a:cubicBezTo>
                      <a:pt x="19029" y="5827"/>
                      <a:pt x="15680" y="1042"/>
                      <a:pt x="10715" y="145"/>
                    </a:cubicBezTo>
                    <a:close/>
                  </a:path>
                </a:pathLst>
              </a:custGeom>
              <a:grpFill/>
              <a:ln w="5978" cap="flat">
                <a:noFill/>
                <a:prstDash val="solid"/>
                <a:miter/>
              </a:ln>
            </p:spPr>
            <p:txBody>
              <a:bodyPr rtlCol="0" anchor="ctr"/>
              <a:lstStyle/>
              <a:p>
                <a:endParaRPr lang="en-GB"/>
              </a:p>
            </p:txBody>
          </p:sp>
        </p:grpSp>
        <p:grpSp>
          <p:nvGrpSpPr>
            <p:cNvPr id="162" name="Graphic 3">
              <a:extLst>
                <a:ext uri="{FF2B5EF4-FFF2-40B4-BE49-F238E27FC236}">
                  <a16:creationId xmlns:a16="http://schemas.microsoft.com/office/drawing/2014/main" id="{07AEABB7-E121-4697-8DD5-D35A727B0A16}"/>
                </a:ext>
              </a:extLst>
            </p:cNvPr>
            <p:cNvGrpSpPr/>
            <p:nvPr/>
          </p:nvGrpSpPr>
          <p:grpSpPr>
            <a:xfrm>
              <a:off x="7662293" y="2890860"/>
              <a:ext cx="121266" cy="49345"/>
              <a:chOff x="7662293" y="2890860"/>
              <a:chExt cx="121266" cy="49345"/>
            </a:xfrm>
            <a:grpFill/>
          </p:grpSpPr>
          <p:sp>
            <p:nvSpPr>
              <p:cNvPr id="4892" name="Vrije vorm: vorm 4891">
                <a:extLst>
                  <a:ext uri="{FF2B5EF4-FFF2-40B4-BE49-F238E27FC236}">
                    <a16:creationId xmlns:a16="http://schemas.microsoft.com/office/drawing/2014/main" id="{D3CACA2E-9AF6-431E-AF20-24C597C53D6E}"/>
                  </a:ext>
                </a:extLst>
              </p:cNvPr>
              <p:cNvSpPr/>
              <p:nvPr/>
            </p:nvSpPr>
            <p:spPr>
              <a:xfrm>
                <a:off x="7670594" y="2898417"/>
                <a:ext cx="104662" cy="34149"/>
              </a:xfrm>
              <a:custGeom>
                <a:avLst/>
                <a:gdLst>
                  <a:gd name="connsiteX0" fmla="*/ 103765 w 104662"/>
                  <a:gd name="connsiteY0" fmla="*/ 0 h 34149"/>
                  <a:gd name="connsiteX1" fmla="*/ 104663 w 104662"/>
                  <a:gd name="connsiteY1" fmla="*/ 2990 h 34149"/>
                  <a:gd name="connsiteX2" fmla="*/ 837 w 104662"/>
                  <a:gd name="connsiteY2" fmla="*/ 34150 h 34149"/>
                  <a:gd name="connsiteX3" fmla="*/ 0 w 104662"/>
                  <a:gd name="connsiteY3" fmla="*/ 31219 h 34149"/>
                </a:gdLst>
                <a:ahLst/>
                <a:cxnLst>
                  <a:cxn ang="0">
                    <a:pos x="connsiteX0" y="connsiteY0"/>
                  </a:cxn>
                  <a:cxn ang="0">
                    <a:pos x="connsiteX1" y="connsiteY1"/>
                  </a:cxn>
                  <a:cxn ang="0">
                    <a:pos x="connsiteX2" y="connsiteY2"/>
                  </a:cxn>
                  <a:cxn ang="0">
                    <a:pos x="connsiteX3" y="connsiteY3"/>
                  </a:cxn>
                </a:cxnLst>
                <a:rect l="l" t="t" r="r" b="b"/>
                <a:pathLst>
                  <a:path w="104662" h="34149">
                    <a:moveTo>
                      <a:pt x="103765" y="0"/>
                    </a:moveTo>
                    <a:lnTo>
                      <a:pt x="104663" y="2990"/>
                    </a:lnTo>
                    <a:lnTo>
                      <a:pt x="837" y="34150"/>
                    </a:lnTo>
                    <a:lnTo>
                      <a:pt x="0" y="31219"/>
                    </a:lnTo>
                    <a:close/>
                  </a:path>
                </a:pathLst>
              </a:custGeom>
              <a:grpFill/>
              <a:ln w="5978" cap="flat">
                <a:noFill/>
                <a:prstDash val="solid"/>
                <a:miter/>
              </a:ln>
            </p:spPr>
            <p:txBody>
              <a:bodyPr rtlCol="0" anchor="ctr"/>
              <a:lstStyle/>
              <a:p>
                <a:endParaRPr lang="en-GB"/>
              </a:p>
            </p:txBody>
          </p:sp>
          <p:sp>
            <p:nvSpPr>
              <p:cNvPr id="4893" name="Vrije vorm: vorm 4892">
                <a:extLst>
                  <a:ext uri="{FF2B5EF4-FFF2-40B4-BE49-F238E27FC236}">
                    <a16:creationId xmlns:a16="http://schemas.microsoft.com/office/drawing/2014/main" id="{DBA3B351-227C-4C0B-B5BD-B07A530E8459}"/>
                  </a:ext>
                </a:extLst>
              </p:cNvPr>
              <p:cNvSpPr/>
              <p:nvPr/>
            </p:nvSpPr>
            <p:spPr>
              <a:xfrm>
                <a:off x="7765221" y="2890860"/>
                <a:ext cx="18338" cy="18462"/>
              </a:xfrm>
              <a:custGeom>
                <a:avLst/>
                <a:gdLst>
                  <a:gd name="connsiteX0" fmla="*/ 6508 w 18338"/>
                  <a:gd name="connsiteY0" fmla="*/ 380 h 18462"/>
                  <a:gd name="connsiteX1" fmla="*/ 17931 w 18338"/>
                  <a:gd name="connsiteY1" fmla="*/ 6600 h 18462"/>
                  <a:gd name="connsiteX2" fmla="*/ 11831 w 18338"/>
                  <a:gd name="connsiteY2" fmla="*/ 18083 h 18462"/>
                  <a:gd name="connsiteX3" fmla="*/ 407 w 18338"/>
                  <a:gd name="connsiteY3" fmla="*/ 11863 h 18462"/>
                  <a:gd name="connsiteX4" fmla="*/ 6508 w 18338"/>
                  <a:gd name="connsiteY4" fmla="*/ 38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2">
                    <a:moveTo>
                      <a:pt x="6508" y="380"/>
                    </a:moveTo>
                    <a:cubicBezTo>
                      <a:pt x="11352" y="-1055"/>
                      <a:pt x="16496" y="1696"/>
                      <a:pt x="17931" y="6600"/>
                    </a:cubicBezTo>
                    <a:cubicBezTo>
                      <a:pt x="19427" y="11504"/>
                      <a:pt x="16675" y="16588"/>
                      <a:pt x="11831" y="18083"/>
                    </a:cubicBezTo>
                    <a:cubicBezTo>
                      <a:pt x="6986" y="19518"/>
                      <a:pt x="1843" y="16767"/>
                      <a:pt x="407" y="11863"/>
                    </a:cubicBezTo>
                    <a:cubicBezTo>
                      <a:pt x="-1088" y="6959"/>
                      <a:pt x="1663" y="1815"/>
                      <a:pt x="6508" y="380"/>
                    </a:cubicBezTo>
                    <a:close/>
                  </a:path>
                </a:pathLst>
              </a:custGeom>
              <a:grpFill/>
              <a:ln w="5978" cap="flat">
                <a:noFill/>
                <a:prstDash val="solid"/>
                <a:miter/>
              </a:ln>
            </p:spPr>
            <p:txBody>
              <a:bodyPr rtlCol="0" anchor="ctr"/>
              <a:lstStyle/>
              <a:p>
                <a:endParaRPr lang="en-GB"/>
              </a:p>
            </p:txBody>
          </p:sp>
          <p:sp>
            <p:nvSpPr>
              <p:cNvPr id="4894" name="Vrije vorm: vorm 4893">
                <a:extLst>
                  <a:ext uri="{FF2B5EF4-FFF2-40B4-BE49-F238E27FC236}">
                    <a16:creationId xmlns:a16="http://schemas.microsoft.com/office/drawing/2014/main" id="{B56BA001-A078-48B5-9D55-BC256802E1D6}"/>
                  </a:ext>
                </a:extLst>
              </p:cNvPr>
              <p:cNvSpPr/>
              <p:nvPr/>
            </p:nvSpPr>
            <p:spPr>
              <a:xfrm>
                <a:off x="7662293" y="2921780"/>
                <a:ext cx="18338" cy="18425"/>
              </a:xfrm>
              <a:custGeom>
                <a:avLst/>
                <a:gdLst>
                  <a:gd name="connsiteX0" fmla="*/ 6508 w 18338"/>
                  <a:gd name="connsiteY0" fmla="*/ 380 h 18425"/>
                  <a:gd name="connsiteX1" fmla="*/ 407 w 18338"/>
                  <a:gd name="connsiteY1" fmla="*/ 11863 h 18425"/>
                  <a:gd name="connsiteX2" fmla="*/ 11830 w 18338"/>
                  <a:gd name="connsiteY2" fmla="*/ 18023 h 18425"/>
                  <a:gd name="connsiteX3" fmla="*/ 17931 w 18338"/>
                  <a:gd name="connsiteY3" fmla="*/ 6541 h 18425"/>
                  <a:gd name="connsiteX4" fmla="*/ 6508 w 18338"/>
                  <a:gd name="connsiteY4" fmla="*/ 380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5">
                    <a:moveTo>
                      <a:pt x="6508" y="380"/>
                    </a:moveTo>
                    <a:cubicBezTo>
                      <a:pt x="1663" y="1816"/>
                      <a:pt x="-1088" y="6959"/>
                      <a:pt x="407" y="11863"/>
                    </a:cubicBezTo>
                    <a:cubicBezTo>
                      <a:pt x="1903" y="16708"/>
                      <a:pt x="6986" y="19519"/>
                      <a:pt x="11830" y="18023"/>
                    </a:cubicBezTo>
                    <a:cubicBezTo>
                      <a:pt x="16675" y="16588"/>
                      <a:pt x="19426" y="11445"/>
                      <a:pt x="17931" y="6541"/>
                    </a:cubicBezTo>
                    <a:cubicBezTo>
                      <a:pt x="16435" y="1696"/>
                      <a:pt x="11352" y="-1055"/>
                      <a:pt x="6508" y="380"/>
                    </a:cubicBezTo>
                    <a:close/>
                  </a:path>
                </a:pathLst>
              </a:custGeom>
              <a:grpFill/>
              <a:ln w="5978" cap="flat">
                <a:noFill/>
                <a:prstDash val="solid"/>
                <a:miter/>
              </a:ln>
            </p:spPr>
            <p:txBody>
              <a:bodyPr rtlCol="0" anchor="ctr"/>
              <a:lstStyle/>
              <a:p>
                <a:endParaRPr lang="en-GB"/>
              </a:p>
            </p:txBody>
          </p:sp>
        </p:grpSp>
        <p:grpSp>
          <p:nvGrpSpPr>
            <p:cNvPr id="163" name="Graphic 3">
              <a:extLst>
                <a:ext uri="{FF2B5EF4-FFF2-40B4-BE49-F238E27FC236}">
                  <a16:creationId xmlns:a16="http://schemas.microsoft.com/office/drawing/2014/main" id="{A162608D-BAFB-4E12-8B4F-3386DD36B801}"/>
                </a:ext>
              </a:extLst>
            </p:cNvPr>
            <p:cNvGrpSpPr/>
            <p:nvPr/>
          </p:nvGrpSpPr>
          <p:grpSpPr>
            <a:xfrm>
              <a:off x="7738529" y="3350557"/>
              <a:ext cx="268247" cy="25725"/>
              <a:chOff x="7738529" y="3350557"/>
              <a:chExt cx="268247" cy="25725"/>
            </a:xfrm>
            <a:grpFill/>
          </p:grpSpPr>
          <p:sp>
            <p:nvSpPr>
              <p:cNvPr id="4889" name="Vrije vorm: vorm 4888">
                <a:extLst>
                  <a:ext uri="{FF2B5EF4-FFF2-40B4-BE49-F238E27FC236}">
                    <a16:creationId xmlns:a16="http://schemas.microsoft.com/office/drawing/2014/main" id="{502DE106-622F-4368-86A9-8D313D5AF954}"/>
                  </a:ext>
                </a:extLst>
              </p:cNvPr>
              <p:cNvSpPr/>
              <p:nvPr/>
            </p:nvSpPr>
            <p:spPr>
              <a:xfrm>
                <a:off x="7747148" y="3358215"/>
                <a:ext cx="251010" cy="10466"/>
              </a:xfrm>
              <a:custGeom>
                <a:avLst/>
                <a:gdLst>
                  <a:gd name="connsiteX0" fmla="*/ 250891 w 251010"/>
                  <a:gd name="connsiteY0" fmla="*/ 0 h 10466"/>
                  <a:gd name="connsiteX1" fmla="*/ 251011 w 251010"/>
                  <a:gd name="connsiteY1" fmla="*/ 3050 h 10466"/>
                  <a:gd name="connsiteX2" fmla="*/ 120 w 251010"/>
                  <a:gd name="connsiteY2" fmla="*/ 10466 h 10466"/>
                  <a:gd name="connsiteX3" fmla="*/ 0 w 251010"/>
                  <a:gd name="connsiteY3" fmla="*/ 7416 h 10466"/>
                </a:gdLst>
                <a:ahLst/>
                <a:cxnLst>
                  <a:cxn ang="0">
                    <a:pos x="connsiteX0" y="connsiteY0"/>
                  </a:cxn>
                  <a:cxn ang="0">
                    <a:pos x="connsiteX1" y="connsiteY1"/>
                  </a:cxn>
                  <a:cxn ang="0">
                    <a:pos x="connsiteX2" y="connsiteY2"/>
                  </a:cxn>
                  <a:cxn ang="0">
                    <a:pos x="connsiteX3" y="connsiteY3"/>
                  </a:cxn>
                </a:cxnLst>
                <a:rect l="l" t="t" r="r" b="b"/>
                <a:pathLst>
                  <a:path w="251010" h="10466">
                    <a:moveTo>
                      <a:pt x="250891" y="0"/>
                    </a:moveTo>
                    <a:lnTo>
                      <a:pt x="251011" y="3050"/>
                    </a:lnTo>
                    <a:lnTo>
                      <a:pt x="120" y="10466"/>
                    </a:lnTo>
                    <a:lnTo>
                      <a:pt x="0" y="7416"/>
                    </a:lnTo>
                    <a:close/>
                  </a:path>
                </a:pathLst>
              </a:custGeom>
              <a:grpFill/>
              <a:ln w="5978" cap="flat">
                <a:noFill/>
                <a:prstDash val="solid"/>
                <a:miter/>
              </a:ln>
            </p:spPr>
            <p:txBody>
              <a:bodyPr rtlCol="0" anchor="ctr"/>
              <a:lstStyle/>
              <a:p>
                <a:endParaRPr lang="en-GB"/>
              </a:p>
            </p:txBody>
          </p:sp>
          <p:sp>
            <p:nvSpPr>
              <p:cNvPr id="4890" name="Vrije vorm: vorm 4889">
                <a:extLst>
                  <a:ext uri="{FF2B5EF4-FFF2-40B4-BE49-F238E27FC236}">
                    <a16:creationId xmlns:a16="http://schemas.microsoft.com/office/drawing/2014/main" id="{C65D2958-273D-461B-8009-B2EE74EAC74B}"/>
                  </a:ext>
                </a:extLst>
              </p:cNvPr>
              <p:cNvSpPr/>
              <p:nvPr/>
            </p:nvSpPr>
            <p:spPr>
              <a:xfrm>
                <a:off x="7988464" y="3350557"/>
                <a:ext cx="18313" cy="18366"/>
              </a:xfrm>
              <a:custGeom>
                <a:avLst/>
                <a:gdLst>
                  <a:gd name="connsiteX0" fmla="*/ 8857 w 18313"/>
                  <a:gd name="connsiteY0" fmla="*/ 3 h 18366"/>
                  <a:gd name="connsiteX1" fmla="*/ 18307 w 18313"/>
                  <a:gd name="connsiteY1" fmla="*/ 8914 h 18366"/>
                  <a:gd name="connsiteX2" fmla="*/ 9455 w 18313"/>
                  <a:gd name="connsiteY2" fmla="*/ 18364 h 18366"/>
                  <a:gd name="connsiteX3" fmla="*/ 6 w 18313"/>
                  <a:gd name="connsiteY3" fmla="*/ 9452 h 18366"/>
                  <a:gd name="connsiteX4" fmla="*/ 8857 w 18313"/>
                  <a:gd name="connsiteY4" fmla="*/ 3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66">
                    <a:moveTo>
                      <a:pt x="8857" y="3"/>
                    </a:moveTo>
                    <a:cubicBezTo>
                      <a:pt x="13941" y="-117"/>
                      <a:pt x="18128" y="3830"/>
                      <a:pt x="18307" y="8914"/>
                    </a:cubicBezTo>
                    <a:cubicBezTo>
                      <a:pt x="18486" y="13998"/>
                      <a:pt x="14539" y="18244"/>
                      <a:pt x="9455" y="18364"/>
                    </a:cubicBezTo>
                    <a:cubicBezTo>
                      <a:pt x="4372" y="18483"/>
                      <a:pt x="185" y="14536"/>
                      <a:pt x="6" y="9452"/>
                    </a:cubicBezTo>
                    <a:cubicBezTo>
                      <a:pt x="-174" y="4369"/>
                      <a:pt x="3834" y="122"/>
                      <a:pt x="8857" y="3"/>
                    </a:cubicBezTo>
                    <a:close/>
                  </a:path>
                </a:pathLst>
              </a:custGeom>
              <a:grpFill/>
              <a:ln w="5978" cap="flat">
                <a:noFill/>
                <a:prstDash val="solid"/>
                <a:miter/>
              </a:ln>
            </p:spPr>
            <p:txBody>
              <a:bodyPr rtlCol="0" anchor="ctr"/>
              <a:lstStyle/>
              <a:p>
                <a:endParaRPr lang="en-GB"/>
              </a:p>
            </p:txBody>
          </p:sp>
          <p:sp>
            <p:nvSpPr>
              <p:cNvPr id="4891" name="Vrije vorm: vorm 4890">
                <a:extLst>
                  <a:ext uri="{FF2B5EF4-FFF2-40B4-BE49-F238E27FC236}">
                    <a16:creationId xmlns:a16="http://schemas.microsoft.com/office/drawing/2014/main" id="{F12D4A80-D6B6-42F2-8480-6D8BD439B36C}"/>
                  </a:ext>
                </a:extLst>
              </p:cNvPr>
              <p:cNvSpPr/>
              <p:nvPr/>
            </p:nvSpPr>
            <p:spPr>
              <a:xfrm>
                <a:off x="7738529" y="3357914"/>
                <a:ext cx="18313" cy="18369"/>
              </a:xfrm>
              <a:custGeom>
                <a:avLst/>
                <a:gdLst>
                  <a:gd name="connsiteX0" fmla="*/ 8857 w 18313"/>
                  <a:gd name="connsiteY0" fmla="*/ 3 h 18369"/>
                  <a:gd name="connsiteX1" fmla="*/ 6 w 18313"/>
                  <a:gd name="connsiteY1" fmla="*/ 9452 h 18369"/>
                  <a:gd name="connsiteX2" fmla="*/ 9456 w 18313"/>
                  <a:gd name="connsiteY2" fmla="*/ 18363 h 18369"/>
                  <a:gd name="connsiteX3" fmla="*/ 18307 w 18313"/>
                  <a:gd name="connsiteY3" fmla="*/ 8914 h 18369"/>
                  <a:gd name="connsiteX4" fmla="*/ 8857 w 18313"/>
                  <a:gd name="connsiteY4" fmla="*/ 3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69">
                    <a:moveTo>
                      <a:pt x="8857" y="3"/>
                    </a:moveTo>
                    <a:cubicBezTo>
                      <a:pt x="3774" y="122"/>
                      <a:pt x="-173" y="4369"/>
                      <a:pt x="6" y="9452"/>
                    </a:cubicBezTo>
                    <a:cubicBezTo>
                      <a:pt x="185" y="14536"/>
                      <a:pt x="4432" y="18543"/>
                      <a:pt x="9456" y="18363"/>
                    </a:cubicBezTo>
                    <a:cubicBezTo>
                      <a:pt x="14539" y="18244"/>
                      <a:pt x="18487" y="13997"/>
                      <a:pt x="18307" y="8914"/>
                    </a:cubicBezTo>
                    <a:cubicBezTo>
                      <a:pt x="18128" y="3890"/>
                      <a:pt x="13882" y="-117"/>
                      <a:pt x="8857" y="3"/>
                    </a:cubicBezTo>
                    <a:close/>
                  </a:path>
                </a:pathLst>
              </a:custGeom>
              <a:grpFill/>
              <a:ln w="5978" cap="flat">
                <a:noFill/>
                <a:prstDash val="solid"/>
                <a:miter/>
              </a:ln>
            </p:spPr>
            <p:txBody>
              <a:bodyPr rtlCol="0" anchor="ctr"/>
              <a:lstStyle/>
              <a:p>
                <a:endParaRPr lang="en-GB"/>
              </a:p>
            </p:txBody>
          </p:sp>
        </p:grpSp>
        <p:grpSp>
          <p:nvGrpSpPr>
            <p:cNvPr id="164" name="Graphic 3">
              <a:extLst>
                <a:ext uri="{FF2B5EF4-FFF2-40B4-BE49-F238E27FC236}">
                  <a16:creationId xmlns:a16="http://schemas.microsoft.com/office/drawing/2014/main" id="{8B6881C4-16E9-4990-AA09-E8E3E5B00782}"/>
                </a:ext>
              </a:extLst>
            </p:cNvPr>
            <p:cNvGrpSpPr/>
            <p:nvPr/>
          </p:nvGrpSpPr>
          <p:grpSpPr>
            <a:xfrm>
              <a:off x="7685346" y="2985297"/>
              <a:ext cx="137361" cy="47049"/>
              <a:chOff x="7685346" y="2985297"/>
              <a:chExt cx="137361" cy="47049"/>
            </a:xfrm>
            <a:grpFill/>
          </p:grpSpPr>
          <p:sp>
            <p:nvSpPr>
              <p:cNvPr id="4886" name="Vrije vorm: vorm 4885">
                <a:extLst>
                  <a:ext uri="{FF2B5EF4-FFF2-40B4-BE49-F238E27FC236}">
                    <a16:creationId xmlns:a16="http://schemas.microsoft.com/office/drawing/2014/main" id="{D9424895-FA50-418D-8301-4E9273F9F77F}"/>
                  </a:ext>
                </a:extLst>
              </p:cNvPr>
              <p:cNvSpPr/>
              <p:nvPr/>
            </p:nvSpPr>
            <p:spPr>
              <a:xfrm>
                <a:off x="7693556" y="2992582"/>
                <a:ext cx="120560" cy="31759"/>
              </a:xfrm>
              <a:custGeom>
                <a:avLst/>
                <a:gdLst>
                  <a:gd name="connsiteX0" fmla="*/ 0 w 120560"/>
                  <a:gd name="connsiteY0" fmla="*/ 28794 h 31759"/>
                  <a:gd name="connsiteX1" fmla="*/ 119848 w 120560"/>
                  <a:gd name="connsiteY1" fmla="*/ 0 h 31759"/>
                  <a:gd name="connsiteX2" fmla="*/ 120561 w 120560"/>
                  <a:gd name="connsiteY2" fmla="*/ 2966 h 31759"/>
                  <a:gd name="connsiteX3" fmla="*/ 713 w 120560"/>
                  <a:gd name="connsiteY3" fmla="*/ 31760 h 31759"/>
                </a:gdLst>
                <a:ahLst/>
                <a:cxnLst>
                  <a:cxn ang="0">
                    <a:pos x="connsiteX0" y="connsiteY0"/>
                  </a:cxn>
                  <a:cxn ang="0">
                    <a:pos x="connsiteX1" y="connsiteY1"/>
                  </a:cxn>
                  <a:cxn ang="0">
                    <a:pos x="connsiteX2" y="connsiteY2"/>
                  </a:cxn>
                  <a:cxn ang="0">
                    <a:pos x="connsiteX3" y="connsiteY3"/>
                  </a:cxn>
                </a:cxnLst>
                <a:rect l="l" t="t" r="r" b="b"/>
                <a:pathLst>
                  <a:path w="120560" h="31759">
                    <a:moveTo>
                      <a:pt x="0" y="28794"/>
                    </a:moveTo>
                    <a:lnTo>
                      <a:pt x="119848" y="0"/>
                    </a:lnTo>
                    <a:lnTo>
                      <a:pt x="120561" y="2966"/>
                    </a:lnTo>
                    <a:lnTo>
                      <a:pt x="713" y="31760"/>
                    </a:lnTo>
                    <a:close/>
                  </a:path>
                </a:pathLst>
              </a:custGeom>
              <a:grpFill/>
              <a:ln w="5978" cap="flat">
                <a:noFill/>
                <a:prstDash val="solid"/>
                <a:miter/>
              </a:ln>
            </p:spPr>
            <p:txBody>
              <a:bodyPr rtlCol="0" anchor="ctr"/>
              <a:lstStyle/>
              <a:p>
                <a:endParaRPr lang="en-GB"/>
              </a:p>
            </p:txBody>
          </p:sp>
          <p:sp>
            <p:nvSpPr>
              <p:cNvPr id="4887" name="Vrije vorm: vorm 4886">
                <a:extLst>
                  <a:ext uri="{FF2B5EF4-FFF2-40B4-BE49-F238E27FC236}">
                    <a16:creationId xmlns:a16="http://schemas.microsoft.com/office/drawing/2014/main" id="{AAAB9390-B9FD-4539-B966-898CAA0925CA}"/>
                  </a:ext>
                </a:extLst>
              </p:cNvPr>
              <p:cNvSpPr/>
              <p:nvPr/>
            </p:nvSpPr>
            <p:spPr>
              <a:xfrm>
                <a:off x="7804360" y="2985297"/>
                <a:ext cx="18348" cy="18461"/>
              </a:xfrm>
              <a:custGeom>
                <a:avLst/>
                <a:gdLst>
                  <a:gd name="connsiteX0" fmla="*/ 7021 w 18348"/>
                  <a:gd name="connsiteY0" fmla="*/ 260 h 18461"/>
                  <a:gd name="connsiteX1" fmla="*/ 18085 w 18348"/>
                  <a:gd name="connsiteY1" fmla="*/ 7078 h 18461"/>
                  <a:gd name="connsiteX2" fmla="*/ 11327 w 18348"/>
                  <a:gd name="connsiteY2" fmla="*/ 18202 h 18461"/>
                  <a:gd name="connsiteX3" fmla="*/ 263 w 18348"/>
                  <a:gd name="connsiteY3" fmla="*/ 11384 h 18461"/>
                  <a:gd name="connsiteX4" fmla="*/ 7021 w 18348"/>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61">
                    <a:moveTo>
                      <a:pt x="7021" y="260"/>
                    </a:moveTo>
                    <a:cubicBezTo>
                      <a:pt x="11925" y="-936"/>
                      <a:pt x="16890" y="2114"/>
                      <a:pt x="18085" y="7078"/>
                    </a:cubicBezTo>
                    <a:cubicBezTo>
                      <a:pt x="19281" y="12042"/>
                      <a:pt x="16291" y="17006"/>
                      <a:pt x="11327" y="18202"/>
                    </a:cubicBezTo>
                    <a:cubicBezTo>
                      <a:pt x="6423" y="19398"/>
                      <a:pt x="1459" y="16348"/>
                      <a:pt x="263" y="11384"/>
                    </a:cubicBezTo>
                    <a:cubicBezTo>
                      <a:pt x="-933" y="6420"/>
                      <a:pt x="2058" y="1456"/>
                      <a:pt x="7021" y="260"/>
                    </a:cubicBezTo>
                    <a:close/>
                  </a:path>
                </a:pathLst>
              </a:custGeom>
              <a:grpFill/>
              <a:ln w="5978" cap="flat">
                <a:noFill/>
                <a:prstDash val="solid"/>
                <a:miter/>
              </a:ln>
            </p:spPr>
            <p:txBody>
              <a:bodyPr rtlCol="0" anchor="ctr"/>
              <a:lstStyle/>
              <a:p>
                <a:endParaRPr lang="en-GB"/>
              </a:p>
            </p:txBody>
          </p:sp>
          <p:sp>
            <p:nvSpPr>
              <p:cNvPr id="4888" name="Vrije vorm: vorm 4887">
                <a:extLst>
                  <a:ext uri="{FF2B5EF4-FFF2-40B4-BE49-F238E27FC236}">
                    <a16:creationId xmlns:a16="http://schemas.microsoft.com/office/drawing/2014/main" id="{73489F03-E0EA-48F7-BDF3-95D798A35B7A}"/>
                  </a:ext>
                </a:extLst>
              </p:cNvPr>
              <p:cNvSpPr/>
              <p:nvPr/>
            </p:nvSpPr>
            <p:spPr>
              <a:xfrm>
                <a:off x="7685346" y="3013885"/>
                <a:ext cx="18342" cy="18461"/>
              </a:xfrm>
              <a:custGeom>
                <a:avLst/>
                <a:gdLst>
                  <a:gd name="connsiteX0" fmla="*/ 7018 w 18342"/>
                  <a:gd name="connsiteY0" fmla="*/ 260 h 18461"/>
                  <a:gd name="connsiteX1" fmla="*/ 260 w 18342"/>
                  <a:gd name="connsiteY1" fmla="*/ 11384 h 18461"/>
                  <a:gd name="connsiteX2" fmla="*/ 11324 w 18342"/>
                  <a:gd name="connsiteY2" fmla="*/ 18202 h 18461"/>
                  <a:gd name="connsiteX3" fmla="*/ 18082 w 18342"/>
                  <a:gd name="connsiteY3" fmla="*/ 7078 h 18461"/>
                  <a:gd name="connsiteX4" fmla="*/ 7018 w 18342"/>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1">
                    <a:moveTo>
                      <a:pt x="7018" y="260"/>
                    </a:moveTo>
                    <a:cubicBezTo>
                      <a:pt x="2114" y="1456"/>
                      <a:pt x="-936" y="6420"/>
                      <a:pt x="260" y="11384"/>
                    </a:cubicBezTo>
                    <a:cubicBezTo>
                      <a:pt x="1456" y="16348"/>
                      <a:pt x="6420" y="19398"/>
                      <a:pt x="11324" y="18202"/>
                    </a:cubicBezTo>
                    <a:cubicBezTo>
                      <a:pt x="16229" y="17006"/>
                      <a:pt x="19279" y="12042"/>
                      <a:pt x="18082" y="7078"/>
                    </a:cubicBezTo>
                    <a:cubicBezTo>
                      <a:pt x="16946" y="2114"/>
                      <a:pt x="11982" y="-936"/>
                      <a:pt x="7018" y="260"/>
                    </a:cubicBezTo>
                    <a:close/>
                  </a:path>
                </a:pathLst>
              </a:custGeom>
              <a:grpFill/>
              <a:ln w="5978" cap="flat">
                <a:noFill/>
                <a:prstDash val="solid"/>
                <a:miter/>
              </a:ln>
            </p:spPr>
            <p:txBody>
              <a:bodyPr rtlCol="0" anchor="ctr"/>
              <a:lstStyle/>
              <a:p>
                <a:endParaRPr lang="en-GB"/>
              </a:p>
            </p:txBody>
          </p:sp>
        </p:grpSp>
        <p:grpSp>
          <p:nvGrpSpPr>
            <p:cNvPr id="165" name="Graphic 3">
              <a:extLst>
                <a:ext uri="{FF2B5EF4-FFF2-40B4-BE49-F238E27FC236}">
                  <a16:creationId xmlns:a16="http://schemas.microsoft.com/office/drawing/2014/main" id="{373F595F-0C14-4CF2-A76D-97E35D2D0D6E}"/>
                </a:ext>
              </a:extLst>
            </p:cNvPr>
            <p:cNvGrpSpPr/>
            <p:nvPr/>
          </p:nvGrpSpPr>
          <p:grpSpPr>
            <a:xfrm>
              <a:off x="7704020" y="3110249"/>
              <a:ext cx="195284" cy="47183"/>
              <a:chOff x="7704020" y="3110249"/>
              <a:chExt cx="195284" cy="47183"/>
            </a:xfrm>
            <a:grpFill/>
          </p:grpSpPr>
          <p:sp>
            <p:nvSpPr>
              <p:cNvPr id="4883" name="Vrije vorm: vorm 4882">
                <a:extLst>
                  <a:ext uri="{FF2B5EF4-FFF2-40B4-BE49-F238E27FC236}">
                    <a16:creationId xmlns:a16="http://schemas.microsoft.com/office/drawing/2014/main" id="{13EB57B0-BB14-4FA3-BBDB-975F1157E94D}"/>
                  </a:ext>
                </a:extLst>
              </p:cNvPr>
              <p:cNvSpPr/>
              <p:nvPr/>
            </p:nvSpPr>
            <p:spPr>
              <a:xfrm>
                <a:off x="7712218" y="3117904"/>
                <a:ext cx="178405" cy="31942"/>
              </a:xfrm>
              <a:custGeom>
                <a:avLst/>
                <a:gdLst>
                  <a:gd name="connsiteX0" fmla="*/ 0 w 178405"/>
                  <a:gd name="connsiteY0" fmla="*/ 28932 h 31942"/>
                  <a:gd name="connsiteX1" fmla="*/ 177915 w 178405"/>
                  <a:gd name="connsiteY1" fmla="*/ 0 h 31942"/>
                  <a:gd name="connsiteX2" fmla="*/ 178405 w 178405"/>
                  <a:gd name="connsiteY2" fmla="*/ 3011 h 31942"/>
                  <a:gd name="connsiteX3" fmla="*/ 489 w 178405"/>
                  <a:gd name="connsiteY3" fmla="*/ 31942 h 31942"/>
                </a:gdLst>
                <a:ahLst/>
                <a:cxnLst>
                  <a:cxn ang="0">
                    <a:pos x="connsiteX0" y="connsiteY0"/>
                  </a:cxn>
                  <a:cxn ang="0">
                    <a:pos x="connsiteX1" y="connsiteY1"/>
                  </a:cxn>
                  <a:cxn ang="0">
                    <a:pos x="connsiteX2" y="connsiteY2"/>
                  </a:cxn>
                  <a:cxn ang="0">
                    <a:pos x="connsiteX3" y="connsiteY3"/>
                  </a:cxn>
                </a:cxnLst>
                <a:rect l="l" t="t" r="r" b="b"/>
                <a:pathLst>
                  <a:path w="178405" h="31942">
                    <a:moveTo>
                      <a:pt x="0" y="28932"/>
                    </a:moveTo>
                    <a:lnTo>
                      <a:pt x="177915" y="0"/>
                    </a:lnTo>
                    <a:lnTo>
                      <a:pt x="178405" y="3011"/>
                    </a:lnTo>
                    <a:lnTo>
                      <a:pt x="489" y="31942"/>
                    </a:lnTo>
                    <a:close/>
                  </a:path>
                </a:pathLst>
              </a:custGeom>
              <a:grpFill/>
              <a:ln w="5978" cap="flat">
                <a:noFill/>
                <a:prstDash val="solid"/>
                <a:miter/>
              </a:ln>
            </p:spPr>
            <p:txBody>
              <a:bodyPr rtlCol="0" anchor="ctr"/>
              <a:lstStyle/>
              <a:p>
                <a:endParaRPr lang="en-GB"/>
              </a:p>
            </p:txBody>
          </p:sp>
          <p:sp>
            <p:nvSpPr>
              <p:cNvPr id="4884" name="Vrije vorm: vorm 4883">
                <a:extLst>
                  <a:ext uri="{FF2B5EF4-FFF2-40B4-BE49-F238E27FC236}">
                    <a16:creationId xmlns:a16="http://schemas.microsoft.com/office/drawing/2014/main" id="{119AE502-DDAF-4741-859F-59E4562FD9D8}"/>
                  </a:ext>
                </a:extLst>
              </p:cNvPr>
              <p:cNvSpPr/>
              <p:nvPr/>
            </p:nvSpPr>
            <p:spPr>
              <a:xfrm>
                <a:off x="7880990" y="3110249"/>
                <a:ext cx="18314" cy="18490"/>
              </a:xfrm>
              <a:custGeom>
                <a:avLst/>
                <a:gdLst>
                  <a:gd name="connsiteX0" fmla="*/ 7662 w 18314"/>
                  <a:gd name="connsiteY0" fmla="*/ 125 h 18490"/>
                  <a:gd name="connsiteX1" fmla="*/ 18188 w 18314"/>
                  <a:gd name="connsiteY1" fmla="*/ 7780 h 18490"/>
                  <a:gd name="connsiteX2" fmla="*/ 10653 w 18314"/>
                  <a:gd name="connsiteY2" fmla="*/ 18366 h 18490"/>
                  <a:gd name="connsiteX3" fmla="*/ 127 w 18314"/>
                  <a:gd name="connsiteY3" fmla="*/ 10711 h 18490"/>
                  <a:gd name="connsiteX4" fmla="*/ 7662 w 18314"/>
                  <a:gd name="connsiteY4" fmla="*/ 125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90">
                    <a:moveTo>
                      <a:pt x="7662" y="125"/>
                    </a:moveTo>
                    <a:cubicBezTo>
                      <a:pt x="12686" y="-713"/>
                      <a:pt x="17351" y="2756"/>
                      <a:pt x="18188" y="7780"/>
                    </a:cubicBezTo>
                    <a:cubicBezTo>
                      <a:pt x="19025" y="12804"/>
                      <a:pt x="15616" y="17529"/>
                      <a:pt x="10653" y="18366"/>
                    </a:cubicBezTo>
                    <a:cubicBezTo>
                      <a:pt x="5688" y="19203"/>
                      <a:pt x="963" y="15734"/>
                      <a:pt x="127" y="10711"/>
                    </a:cubicBezTo>
                    <a:cubicBezTo>
                      <a:pt x="-711" y="5687"/>
                      <a:pt x="2698" y="962"/>
                      <a:pt x="7662" y="125"/>
                    </a:cubicBezTo>
                    <a:close/>
                  </a:path>
                </a:pathLst>
              </a:custGeom>
              <a:grpFill/>
              <a:ln w="5978" cap="flat">
                <a:noFill/>
                <a:prstDash val="solid"/>
                <a:miter/>
              </a:ln>
            </p:spPr>
            <p:txBody>
              <a:bodyPr rtlCol="0" anchor="ctr"/>
              <a:lstStyle/>
              <a:p>
                <a:endParaRPr lang="en-GB"/>
              </a:p>
            </p:txBody>
          </p:sp>
          <p:sp>
            <p:nvSpPr>
              <p:cNvPr id="4885" name="Vrije vorm: vorm 4884">
                <a:extLst>
                  <a:ext uri="{FF2B5EF4-FFF2-40B4-BE49-F238E27FC236}">
                    <a16:creationId xmlns:a16="http://schemas.microsoft.com/office/drawing/2014/main" id="{72F74487-2372-4AAE-AF6A-358B3E79A25F}"/>
                  </a:ext>
                </a:extLst>
              </p:cNvPr>
              <p:cNvSpPr/>
              <p:nvPr/>
            </p:nvSpPr>
            <p:spPr>
              <a:xfrm>
                <a:off x="7704020" y="3138957"/>
                <a:ext cx="18315" cy="18476"/>
              </a:xfrm>
              <a:custGeom>
                <a:avLst/>
                <a:gdLst>
                  <a:gd name="connsiteX0" fmla="*/ 7662 w 18315"/>
                  <a:gd name="connsiteY0" fmla="*/ 125 h 18476"/>
                  <a:gd name="connsiteX1" fmla="*/ 127 w 18315"/>
                  <a:gd name="connsiteY1" fmla="*/ 10711 h 18476"/>
                  <a:gd name="connsiteX2" fmla="*/ 10653 w 18315"/>
                  <a:gd name="connsiteY2" fmla="*/ 18366 h 18476"/>
                  <a:gd name="connsiteX3" fmla="*/ 18188 w 18315"/>
                  <a:gd name="connsiteY3" fmla="*/ 7780 h 18476"/>
                  <a:gd name="connsiteX4" fmla="*/ 7662 w 18315"/>
                  <a:gd name="connsiteY4" fmla="*/ 125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76">
                    <a:moveTo>
                      <a:pt x="7662" y="125"/>
                    </a:moveTo>
                    <a:cubicBezTo>
                      <a:pt x="2699" y="962"/>
                      <a:pt x="-711" y="5687"/>
                      <a:pt x="127" y="10711"/>
                    </a:cubicBezTo>
                    <a:cubicBezTo>
                      <a:pt x="964" y="15734"/>
                      <a:pt x="5689" y="19143"/>
                      <a:pt x="10653" y="18366"/>
                    </a:cubicBezTo>
                    <a:cubicBezTo>
                      <a:pt x="15617" y="17529"/>
                      <a:pt x="19026" y="12804"/>
                      <a:pt x="18188" y="7780"/>
                    </a:cubicBezTo>
                    <a:cubicBezTo>
                      <a:pt x="17351" y="2756"/>
                      <a:pt x="12627" y="-713"/>
                      <a:pt x="7662" y="125"/>
                    </a:cubicBezTo>
                    <a:close/>
                  </a:path>
                </a:pathLst>
              </a:custGeom>
              <a:grpFill/>
              <a:ln w="5978" cap="flat">
                <a:noFill/>
                <a:prstDash val="solid"/>
                <a:miter/>
              </a:ln>
            </p:spPr>
            <p:txBody>
              <a:bodyPr rtlCol="0" anchor="ctr"/>
              <a:lstStyle/>
              <a:p>
                <a:endParaRPr lang="en-GB"/>
              </a:p>
            </p:txBody>
          </p:sp>
        </p:grpSp>
        <p:grpSp>
          <p:nvGrpSpPr>
            <p:cNvPr id="166" name="Graphic 3">
              <a:extLst>
                <a:ext uri="{FF2B5EF4-FFF2-40B4-BE49-F238E27FC236}">
                  <a16:creationId xmlns:a16="http://schemas.microsoft.com/office/drawing/2014/main" id="{9B270364-2423-418D-AF94-DDE2FA0722F8}"/>
                </a:ext>
              </a:extLst>
            </p:cNvPr>
            <p:cNvGrpSpPr/>
            <p:nvPr/>
          </p:nvGrpSpPr>
          <p:grpSpPr>
            <a:xfrm>
              <a:off x="7466635" y="2321178"/>
              <a:ext cx="148876" cy="109858"/>
              <a:chOff x="7466635" y="2321178"/>
              <a:chExt cx="148876" cy="109858"/>
            </a:xfrm>
            <a:grpFill/>
          </p:grpSpPr>
          <p:sp>
            <p:nvSpPr>
              <p:cNvPr id="4880" name="Vrije vorm: vorm 4879">
                <a:extLst>
                  <a:ext uri="{FF2B5EF4-FFF2-40B4-BE49-F238E27FC236}">
                    <a16:creationId xmlns:a16="http://schemas.microsoft.com/office/drawing/2014/main" id="{86310691-9B26-466D-8B2B-6F6FF5CA3993}"/>
                  </a:ext>
                </a:extLst>
              </p:cNvPr>
              <p:cNvSpPr/>
              <p:nvPr/>
            </p:nvSpPr>
            <p:spPr>
              <a:xfrm>
                <a:off x="7474546" y="2328873"/>
                <a:ext cx="133071" cy="94495"/>
              </a:xfrm>
              <a:custGeom>
                <a:avLst/>
                <a:gdLst>
                  <a:gd name="connsiteX0" fmla="*/ 133071 w 133071"/>
                  <a:gd name="connsiteY0" fmla="*/ 2512 h 94495"/>
                  <a:gd name="connsiteX1" fmla="*/ 1735 w 133071"/>
                  <a:gd name="connsiteY1" fmla="*/ 94495 h 94495"/>
                  <a:gd name="connsiteX2" fmla="*/ 0 w 133071"/>
                  <a:gd name="connsiteY2" fmla="*/ 91984 h 94495"/>
                  <a:gd name="connsiteX3" fmla="*/ 131277 w 133071"/>
                  <a:gd name="connsiteY3" fmla="*/ 0 h 94495"/>
                </a:gdLst>
                <a:ahLst/>
                <a:cxnLst>
                  <a:cxn ang="0">
                    <a:pos x="connsiteX0" y="connsiteY0"/>
                  </a:cxn>
                  <a:cxn ang="0">
                    <a:pos x="connsiteX1" y="connsiteY1"/>
                  </a:cxn>
                  <a:cxn ang="0">
                    <a:pos x="connsiteX2" y="connsiteY2"/>
                  </a:cxn>
                  <a:cxn ang="0">
                    <a:pos x="connsiteX3" y="connsiteY3"/>
                  </a:cxn>
                </a:cxnLst>
                <a:rect l="l" t="t" r="r" b="b"/>
                <a:pathLst>
                  <a:path w="133071" h="94495">
                    <a:moveTo>
                      <a:pt x="133071" y="2512"/>
                    </a:moveTo>
                    <a:lnTo>
                      <a:pt x="1735" y="94495"/>
                    </a:lnTo>
                    <a:lnTo>
                      <a:pt x="0" y="91984"/>
                    </a:lnTo>
                    <a:lnTo>
                      <a:pt x="131277" y="0"/>
                    </a:lnTo>
                    <a:close/>
                  </a:path>
                </a:pathLst>
              </a:custGeom>
              <a:grpFill/>
              <a:ln w="5978" cap="flat">
                <a:noFill/>
                <a:prstDash val="solid"/>
                <a:miter/>
              </a:ln>
            </p:spPr>
            <p:txBody>
              <a:bodyPr rtlCol="0" anchor="ctr"/>
              <a:lstStyle/>
              <a:p>
                <a:endParaRPr lang="en-GB"/>
              </a:p>
            </p:txBody>
          </p:sp>
          <p:sp>
            <p:nvSpPr>
              <p:cNvPr id="4881" name="Vrije vorm: vorm 4880">
                <a:extLst>
                  <a:ext uri="{FF2B5EF4-FFF2-40B4-BE49-F238E27FC236}">
                    <a16:creationId xmlns:a16="http://schemas.microsoft.com/office/drawing/2014/main" id="{B5037DB9-9438-4BAB-ABE8-76A506864874}"/>
                  </a:ext>
                </a:extLst>
              </p:cNvPr>
              <p:cNvSpPr/>
              <p:nvPr/>
            </p:nvSpPr>
            <p:spPr>
              <a:xfrm>
                <a:off x="7597178" y="2321178"/>
                <a:ext cx="18333" cy="18439"/>
              </a:xfrm>
              <a:custGeom>
                <a:avLst/>
                <a:gdLst>
                  <a:gd name="connsiteX0" fmla="*/ 3920 w 18333"/>
                  <a:gd name="connsiteY0" fmla="*/ 1654 h 18439"/>
                  <a:gd name="connsiteX1" fmla="*/ 16659 w 18333"/>
                  <a:gd name="connsiteY1" fmla="*/ 3987 h 18439"/>
                  <a:gd name="connsiteX2" fmla="*/ 14387 w 18333"/>
                  <a:gd name="connsiteY2" fmla="*/ 16785 h 18439"/>
                  <a:gd name="connsiteX3" fmla="*/ 1648 w 18333"/>
                  <a:gd name="connsiteY3" fmla="*/ 14453 h 18439"/>
                  <a:gd name="connsiteX4" fmla="*/ 3920 w 18333"/>
                  <a:gd name="connsiteY4" fmla="*/ 165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9">
                    <a:moveTo>
                      <a:pt x="3920" y="1654"/>
                    </a:moveTo>
                    <a:cubicBezTo>
                      <a:pt x="8047" y="-1276"/>
                      <a:pt x="13789" y="-200"/>
                      <a:pt x="16659" y="3987"/>
                    </a:cubicBezTo>
                    <a:cubicBezTo>
                      <a:pt x="19590" y="8173"/>
                      <a:pt x="18574" y="13915"/>
                      <a:pt x="14387" y="16785"/>
                    </a:cubicBezTo>
                    <a:cubicBezTo>
                      <a:pt x="10260" y="19716"/>
                      <a:pt x="4518" y="18639"/>
                      <a:pt x="1648" y="14453"/>
                    </a:cubicBezTo>
                    <a:cubicBezTo>
                      <a:pt x="-1223" y="10326"/>
                      <a:pt x="-266" y="4585"/>
                      <a:pt x="3920" y="1654"/>
                    </a:cubicBezTo>
                    <a:close/>
                  </a:path>
                </a:pathLst>
              </a:custGeom>
              <a:grpFill/>
              <a:ln w="5978" cap="flat">
                <a:noFill/>
                <a:prstDash val="solid"/>
                <a:miter/>
              </a:ln>
            </p:spPr>
            <p:txBody>
              <a:bodyPr rtlCol="0" anchor="ctr"/>
              <a:lstStyle/>
              <a:p>
                <a:endParaRPr lang="en-GB"/>
              </a:p>
            </p:txBody>
          </p:sp>
          <p:sp>
            <p:nvSpPr>
              <p:cNvPr id="4882" name="Vrije vorm: vorm 4881">
                <a:extLst>
                  <a:ext uri="{FF2B5EF4-FFF2-40B4-BE49-F238E27FC236}">
                    <a16:creationId xmlns:a16="http://schemas.microsoft.com/office/drawing/2014/main" id="{272658D1-F7C5-43B3-BE44-E0CF776E85D4}"/>
                  </a:ext>
                </a:extLst>
              </p:cNvPr>
              <p:cNvSpPr/>
              <p:nvPr/>
            </p:nvSpPr>
            <p:spPr>
              <a:xfrm>
                <a:off x="7466635" y="2412650"/>
                <a:ext cx="18274" cy="18387"/>
              </a:xfrm>
              <a:custGeom>
                <a:avLst/>
                <a:gdLst>
                  <a:gd name="connsiteX0" fmla="*/ 3904 w 18274"/>
                  <a:gd name="connsiteY0" fmla="*/ 1628 h 18387"/>
                  <a:gd name="connsiteX1" fmla="*/ 1631 w 18274"/>
                  <a:gd name="connsiteY1" fmla="*/ 14427 h 18387"/>
                  <a:gd name="connsiteX2" fmla="*/ 14370 w 18274"/>
                  <a:gd name="connsiteY2" fmla="*/ 16759 h 18387"/>
                  <a:gd name="connsiteX3" fmla="*/ 16643 w 18274"/>
                  <a:gd name="connsiteY3" fmla="*/ 3961 h 18387"/>
                  <a:gd name="connsiteX4" fmla="*/ 3904 w 18274"/>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3904" y="1628"/>
                    </a:moveTo>
                    <a:cubicBezTo>
                      <a:pt x="-223" y="4559"/>
                      <a:pt x="-1239" y="10300"/>
                      <a:pt x="1631" y="14427"/>
                    </a:cubicBezTo>
                    <a:cubicBezTo>
                      <a:pt x="4562" y="18613"/>
                      <a:pt x="10243" y="19630"/>
                      <a:pt x="14370" y="16759"/>
                    </a:cubicBezTo>
                    <a:cubicBezTo>
                      <a:pt x="18497" y="13829"/>
                      <a:pt x="19514" y="8087"/>
                      <a:pt x="16643" y="3961"/>
                    </a:cubicBezTo>
                    <a:cubicBezTo>
                      <a:pt x="13773" y="-226"/>
                      <a:pt x="8031" y="-1243"/>
                      <a:pt x="3904" y="1628"/>
                    </a:cubicBezTo>
                    <a:close/>
                  </a:path>
                </a:pathLst>
              </a:custGeom>
              <a:grpFill/>
              <a:ln w="5978" cap="flat">
                <a:noFill/>
                <a:prstDash val="solid"/>
                <a:miter/>
              </a:ln>
            </p:spPr>
            <p:txBody>
              <a:bodyPr rtlCol="0" anchor="ctr"/>
              <a:lstStyle/>
              <a:p>
                <a:endParaRPr lang="en-GB"/>
              </a:p>
            </p:txBody>
          </p:sp>
        </p:grpSp>
        <p:grpSp>
          <p:nvGrpSpPr>
            <p:cNvPr id="167" name="Graphic 3">
              <a:extLst>
                <a:ext uri="{FF2B5EF4-FFF2-40B4-BE49-F238E27FC236}">
                  <a16:creationId xmlns:a16="http://schemas.microsoft.com/office/drawing/2014/main" id="{2613ACF7-1B5F-4A33-AC8D-B304123A91FC}"/>
                </a:ext>
              </a:extLst>
            </p:cNvPr>
            <p:cNvGrpSpPr/>
            <p:nvPr/>
          </p:nvGrpSpPr>
          <p:grpSpPr>
            <a:xfrm>
              <a:off x="7501007" y="2375178"/>
              <a:ext cx="97887" cy="71980"/>
              <a:chOff x="7501007" y="2375178"/>
              <a:chExt cx="97887" cy="71980"/>
            </a:xfrm>
            <a:grpFill/>
          </p:grpSpPr>
          <p:sp>
            <p:nvSpPr>
              <p:cNvPr id="4877" name="Vrije vorm: vorm 4876">
                <a:extLst>
                  <a:ext uri="{FF2B5EF4-FFF2-40B4-BE49-F238E27FC236}">
                    <a16:creationId xmlns:a16="http://schemas.microsoft.com/office/drawing/2014/main" id="{A4E1BB20-ED38-4E8C-A734-198190462E2D}"/>
                  </a:ext>
                </a:extLst>
              </p:cNvPr>
              <p:cNvSpPr/>
              <p:nvPr/>
            </p:nvSpPr>
            <p:spPr>
              <a:xfrm>
                <a:off x="7508935" y="2382879"/>
                <a:ext cx="81996" cy="56577"/>
              </a:xfrm>
              <a:custGeom>
                <a:avLst/>
                <a:gdLst>
                  <a:gd name="connsiteX0" fmla="*/ 81996 w 81996"/>
                  <a:gd name="connsiteY0" fmla="*/ 2512 h 56577"/>
                  <a:gd name="connsiteX1" fmla="*/ 1735 w 81996"/>
                  <a:gd name="connsiteY1" fmla="*/ 56578 h 56577"/>
                  <a:gd name="connsiteX2" fmla="*/ 0 w 81996"/>
                  <a:gd name="connsiteY2" fmla="*/ 54006 h 56577"/>
                  <a:gd name="connsiteX3" fmla="*/ 80321 w 81996"/>
                  <a:gd name="connsiteY3" fmla="*/ 0 h 56577"/>
                </a:gdLst>
                <a:ahLst/>
                <a:cxnLst>
                  <a:cxn ang="0">
                    <a:pos x="connsiteX0" y="connsiteY0"/>
                  </a:cxn>
                  <a:cxn ang="0">
                    <a:pos x="connsiteX1" y="connsiteY1"/>
                  </a:cxn>
                  <a:cxn ang="0">
                    <a:pos x="connsiteX2" y="connsiteY2"/>
                  </a:cxn>
                  <a:cxn ang="0">
                    <a:pos x="connsiteX3" y="connsiteY3"/>
                  </a:cxn>
                </a:cxnLst>
                <a:rect l="l" t="t" r="r" b="b"/>
                <a:pathLst>
                  <a:path w="81996" h="56577">
                    <a:moveTo>
                      <a:pt x="81996" y="2512"/>
                    </a:moveTo>
                    <a:lnTo>
                      <a:pt x="1735" y="56578"/>
                    </a:lnTo>
                    <a:lnTo>
                      <a:pt x="0" y="54006"/>
                    </a:lnTo>
                    <a:lnTo>
                      <a:pt x="80321" y="0"/>
                    </a:lnTo>
                    <a:close/>
                  </a:path>
                </a:pathLst>
              </a:custGeom>
              <a:grpFill/>
              <a:ln w="5978" cap="flat">
                <a:noFill/>
                <a:prstDash val="solid"/>
                <a:miter/>
              </a:ln>
            </p:spPr>
            <p:txBody>
              <a:bodyPr rtlCol="0" anchor="ctr"/>
              <a:lstStyle/>
              <a:p>
                <a:endParaRPr lang="en-GB"/>
              </a:p>
            </p:txBody>
          </p:sp>
          <p:sp>
            <p:nvSpPr>
              <p:cNvPr id="4878" name="Vrije vorm: vorm 4877">
                <a:extLst>
                  <a:ext uri="{FF2B5EF4-FFF2-40B4-BE49-F238E27FC236}">
                    <a16:creationId xmlns:a16="http://schemas.microsoft.com/office/drawing/2014/main" id="{C44C548A-9FE2-492D-9795-2BECEB23034E}"/>
                  </a:ext>
                </a:extLst>
              </p:cNvPr>
              <p:cNvSpPr/>
              <p:nvPr/>
            </p:nvSpPr>
            <p:spPr>
              <a:xfrm>
                <a:off x="7580550" y="2375178"/>
                <a:ext cx="18343" cy="18453"/>
              </a:xfrm>
              <a:custGeom>
                <a:avLst/>
                <a:gdLst>
                  <a:gd name="connsiteX0" fmla="*/ 4041 w 18343"/>
                  <a:gd name="connsiteY0" fmla="*/ 1541 h 18453"/>
                  <a:gd name="connsiteX1" fmla="*/ 16780 w 18343"/>
                  <a:gd name="connsiteY1" fmla="*/ 4113 h 18453"/>
                  <a:gd name="connsiteX2" fmla="*/ 14328 w 18343"/>
                  <a:gd name="connsiteY2" fmla="*/ 16912 h 18453"/>
                  <a:gd name="connsiteX3" fmla="*/ 1590 w 18343"/>
                  <a:gd name="connsiteY3" fmla="*/ 14340 h 18453"/>
                  <a:gd name="connsiteX4" fmla="*/ 4041 w 18343"/>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3">
                    <a:moveTo>
                      <a:pt x="4041" y="1541"/>
                    </a:moveTo>
                    <a:cubicBezTo>
                      <a:pt x="8228" y="-1270"/>
                      <a:pt x="13910" y="-133"/>
                      <a:pt x="16780" y="4113"/>
                    </a:cubicBezTo>
                    <a:cubicBezTo>
                      <a:pt x="19591" y="8360"/>
                      <a:pt x="18515" y="14041"/>
                      <a:pt x="14328" y="16912"/>
                    </a:cubicBezTo>
                    <a:cubicBezTo>
                      <a:pt x="10142" y="19723"/>
                      <a:pt x="4461" y="18587"/>
                      <a:pt x="1590" y="14340"/>
                    </a:cubicBezTo>
                    <a:cubicBezTo>
                      <a:pt x="-1281" y="10094"/>
                      <a:pt x="-145" y="4352"/>
                      <a:pt x="4041" y="1541"/>
                    </a:cubicBezTo>
                    <a:close/>
                  </a:path>
                </a:pathLst>
              </a:custGeom>
              <a:grpFill/>
              <a:ln w="5978" cap="flat">
                <a:noFill/>
                <a:prstDash val="solid"/>
                <a:miter/>
              </a:ln>
            </p:spPr>
            <p:txBody>
              <a:bodyPr rtlCol="0" anchor="ctr"/>
              <a:lstStyle/>
              <a:p>
                <a:endParaRPr lang="en-GB"/>
              </a:p>
            </p:txBody>
          </p:sp>
          <p:sp>
            <p:nvSpPr>
              <p:cNvPr id="4879" name="Vrije vorm: vorm 4878">
                <a:extLst>
                  <a:ext uri="{FF2B5EF4-FFF2-40B4-BE49-F238E27FC236}">
                    <a16:creationId xmlns:a16="http://schemas.microsoft.com/office/drawing/2014/main" id="{A1E4786A-2357-411A-B09E-E0DC0D20098A}"/>
                  </a:ext>
                </a:extLst>
              </p:cNvPr>
              <p:cNvSpPr/>
              <p:nvPr/>
            </p:nvSpPr>
            <p:spPr>
              <a:xfrm>
                <a:off x="7501007" y="2428705"/>
                <a:ext cx="18384" cy="18453"/>
              </a:xfrm>
              <a:custGeom>
                <a:avLst/>
                <a:gdLst>
                  <a:gd name="connsiteX0" fmla="*/ 4042 w 18384"/>
                  <a:gd name="connsiteY0" fmla="*/ 1541 h 18453"/>
                  <a:gd name="connsiteX1" fmla="*/ 1590 w 18384"/>
                  <a:gd name="connsiteY1" fmla="*/ 14340 h 18453"/>
                  <a:gd name="connsiteX2" fmla="*/ 14329 w 18384"/>
                  <a:gd name="connsiteY2" fmla="*/ 16912 h 18453"/>
                  <a:gd name="connsiteX3" fmla="*/ 16841 w 18384"/>
                  <a:gd name="connsiteY3" fmla="*/ 4113 h 18453"/>
                  <a:gd name="connsiteX4" fmla="*/ 4042 w 1838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53">
                    <a:moveTo>
                      <a:pt x="4042" y="1541"/>
                    </a:moveTo>
                    <a:cubicBezTo>
                      <a:pt x="-145" y="4352"/>
                      <a:pt x="-1281" y="10094"/>
                      <a:pt x="1590" y="14340"/>
                    </a:cubicBezTo>
                    <a:cubicBezTo>
                      <a:pt x="4400" y="18586"/>
                      <a:pt x="10142" y="19723"/>
                      <a:pt x="14329" y="16912"/>
                    </a:cubicBezTo>
                    <a:cubicBezTo>
                      <a:pt x="18515" y="14101"/>
                      <a:pt x="19651" y="8359"/>
                      <a:pt x="16841" y="4113"/>
                    </a:cubicBezTo>
                    <a:cubicBezTo>
                      <a:pt x="13909" y="-133"/>
                      <a:pt x="8228" y="-1270"/>
                      <a:pt x="4042" y="1541"/>
                    </a:cubicBezTo>
                    <a:close/>
                  </a:path>
                </a:pathLst>
              </a:custGeom>
              <a:grpFill/>
              <a:ln w="5978" cap="flat">
                <a:noFill/>
                <a:prstDash val="solid"/>
                <a:miter/>
              </a:ln>
            </p:spPr>
            <p:txBody>
              <a:bodyPr rtlCol="0" anchor="ctr"/>
              <a:lstStyle/>
              <a:p>
                <a:endParaRPr lang="en-GB"/>
              </a:p>
            </p:txBody>
          </p:sp>
        </p:grpSp>
        <p:grpSp>
          <p:nvGrpSpPr>
            <p:cNvPr id="168" name="Graphic 3">
              <a:extLst>
                <a:ext uri="{FF2B5EF4-FFF2-40B4-BE49-F238E27FC236}">
                  <a16:creationId xmlns:a16="http://schemas.microsoft.com/office/drawing/2014/main" id="{06ADB871-81B2-49C9-9270-0FE555AB33A4}"/>
                </a:ext>
              </a:extLst>
            </p:cNvPr>
            <p:cNvGrpSpPr/>
            <p:nvPr/>
          </p:nvGrpSpPr>
          <p:grpSpPr>
            <a:xfrm>
              <a:off x="7719673" y="3296881"/>
              <a:ext cx="257038" cy="35938"/>
              <a:chOff x="7719673" y="3296881"/>
              <a:chExt cx="257038" cy="35938"/>
            </a:xfrm>
            <a:grpFill/>
          </p:grpSpPr>
          <p:sp>
            <p:nvSpPr>
              <p:cNvPr id="4874" name="Vrije vorm: vorm 4873">
                <a:extLst>
                  <a:ext uri="{FF2B5EF4-FFF2-40B4-BE49-F238E27FC236}">
                    <a16:creationId xmlns:a16="http://schemas.microsoft.com/office/drawing/2014/main" id="{261890B4-88C0-46D0-872F-75C8D729130C}"/>
                  </a:ext>
                </a:extLst>
              </p:cNvPr>
              <p:cNvSpPr/>
              <p:nvPr/>
            </p:nvSpPr>
            <p:spPr>
              <a:xfrm>
                <a:off x="7728249" y="3304508"/>
                <a:ext cx="239886" cy="20693"/>
              </a:xfrm>
              <a:custGeom>
                <a:avLst/>
                <a:gdLst>
                  <a:gd name="connsiteX0" fmla="*/ 239887 w 239886"/>
                  <a:gd name="connsiteY0" fmla="*/ 17643 h 20693"/>
                  <a:gd name="connsiteX1" fmla="*/ 239707 w 239886"/>
                  <a:gd name="connsiteY1" fmla="*/ 20693 h 20693"/>
                  <a:gd name="connsiteX2" fmla="*/ 0 w 239886"/>
                  <a:gd name="connsiteY2" fmla="*/ 3050 h 20693"/>
                  <a:gd name="connsiteX3" fmla="*/ 239 w 239886"/>
                  <a:gd name="connsiteY3" fmla="*/ 0 h 20693"/>
                </a:gdLst>
                <a:ahLst/>
                <a:cxnLst>
                  <a:cxn ang="0">
                    <a:pos x="connsiteX0" y="connsiteY0"/>
                  </a:cxn>
                  <a:cxn ang="0">
                    <a:pos x="connsiteX1" y="connsiteY1"/>
                  </a:cxn>
                  <a:cxn ang="0">
                    <a:pos x="connsiteX2" y="connsiteY2"/>
                  </a:cxn>
                  <a:cxn ang="0">
                    <a:pos x="connsiteX3" y="connsiteY3"/>
                  </a:cxn>
                </a:cxnLst>
                <a:rect l="l" t="t" r="r" b="b"/>
                <a:pathLst>
                  <a:path w="239886" h="20693">
                    <a:moveTo>
                      <a:pt x="239887" y="17643"/>
                    </a:moveTo>
                    <a:lnTo>
                      <a:pt x="239707" y="20693"/>
                    </a:lnTo>
                    <a:lnTo>
                      <a:pt x="0" y="3050"/>
                    </a:lnTo>
                    <a:lnTo>
                      <a:pt x="239" y="0"/>
                    </a:lnTo>
                    <a:close/>
                  </a:path>
                </a:pathLst>
              </a:custGeom>
              <a:grpFill/>
              <a:ln w="5978" cap="flat">
                <a:noFill/>
                <a:prstDash val="solid"/>
                <a:miter/>
              </a:ln>
            </p:spPr>
            <p:txBody>
              <a:bodyPr rtlCol="0" anchor="ctr"/>
              <a:lstStyle/>
              <a:p>
                <a:endParaRPr lang="en-GB"/>
              </a:p>
            </p:txBody>
          </p:sp>
          <p:sp>
            <p:nvSpPr>
              <p:cNvPr id="4875" name="Vrije vorm: vorm 4874">
                <a:extLst>
                  <a:ext uri="{FF2B5EF4-FFF2-40B4-BE49-F238E27FC236}">
                    <a16:creationId xmlns:a16="http://schemas.microsoft.com/office/drawing/2014/main" id="{A15C6969-9F75-4429-8975-F5A773029EDB}"/>
                  </a:ext>
                </a:extLst>
              </p:cNvPr>
              <p:cNvSpPr/>
              <p:nvPr/>
            </p:nvSpPr>
            <p:spPr>
              <a:xfrm>
                <a:off x="7719673" y="3296881"/>
                <a:ext cx="18287" cy="18415"/>
              </a:xfrm>
              <a:custGeom>
                <a:avLst/>
                <a:gdLst>
                  <a:gd name="connsiteX0" fmla="*/ 8516 w 18287"/>
                  <a:gd name="connsiteY0" fmla="*/ 18392 h 18415"/>
                  <a:gd name="connsiteX1" fmla="*/ 23 w 18287"/>
                  <a:gd name="connsiteY1" fmla="*/ 8524 h 18415"/>
                  <a:gd name="connsiteX2" fmla="*/ 9771 w 18287"/>
                  <a:gd name="connsiteY2" fmla="*/ 31 h 18415"/>
                  <a:gd name="connsiteX3" fmla="*/ 18264 w 18287"/>
                  <a:gd name="connsiteY3" fmla="*/ 9900 h 18415"/>
                  <a:gd name="connsiteX4" fmla="*/ 8516 w 18287"/>
                  <a:gd name="connsiteY4" fmla="*/ 18392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5">
                    <a:moveTo>
                      <a:pt x="8516" y="18392"/>
                    </a:moveTo>
                    <a:cubicBezTo>
                      <a:pt x="3492" y="18033"/>
                      <a:pt x="-336" y="13608"/>
                      <a:pt x="23" y="8524"/>
                    </a:cubicBezTo>
                    <a:cubicBezTo>
                      <a:pt x="382" y="3440"/>
                      <a:pt x="4748" y="-387"/>
                      <a:pt x="9771" y="31"/>
                    </a:cubicBezTo>
                    <a:cubicBezTo>
                      <a:pt x="14796" y="390"/>
                      <a:pt x="18623" y="4816"/>
                      <a:pt x="18264" y="9900"/>
                    </a:cubicBezTo>
                    <a:cubicBezTo>
                      <a:pt x="17906" y="14923"/>
                      <a:pt x="13539" y="18751"/>
                      <a:pt x="8516" y="18392"/>
                    </a:cubicBezTo>
                    <a:close/>
                  </a:path>
                </a:pathLst>
              </a:custGeom>
              <a:grpFill/>
              <a:ln w="5978" cap="flat">
                <a:noFill/>
                <a:prstDash val="solid"/>
                <a:miter/>
              </a:ln>
            </p:spPr>
            <p:txBody>
              <a:bodyPr rtlCol="0" anchor="ctr"/>
              <a:lstStyle/>
              <a:p>
                <a:endParaRPr lang="en-GB"/>
              </a:p>
            </p:txBody>
          </p:sp>
          <p:sp>
            <p:nvSpPr>
              <p:cNvPr id="4876" name="Vrije vorm: vorm 4875">
                <a:extLst>
                  <a:ext uri="{FF2B5EF4-FFF2-40B4-BE49-F238E27FC236}">
                    <a16:creationId xmlns:a16="http://schemas.microsoft.com/office/drawing/2014/main" id="{6A7EC66F-E343-4385-85A4-7FA498609D87}"/>
                  </a:ext>
                </a:extLst>
              </p:cNvPr>
              <p:cNvSpPr/>
              <p:nvPr/>
            </p:nvSpPr>
            <p:spPr>
              <a:xfrm>
                <a:off x="7958423" y="3314413"/>
                <a:ext cx="18288" cy="18407"/>
              </a:xfrm>
              <a:custGeom>
                <a:avLst/>
                <a:gdLst>
                  <a:gd name="connsiteX0" fmla="*/ 8516 w 18288"/>
                  <a:gd name="connsiteY0" fmla="*/ 18384 h 18407"/>
                  <a:gd name="connsiteX1" fmla="*/ 18265 w 18288"/>
                  <a:gd name="connsiteY1" fmla="*/ 9891 h 18407"/>
                  <a:gd name="connsiteX2" fmla="*/ 9772 w 18288"/>
                  <a:gd name="connsiteY2" fmla="*/ 23 h 18407"/>
                  <a:gd name="connsiteX3" fmla="*/ 23 w 18288"/>
                  <a:gd name="connsiteY3" fmla="*/ 8516 h 18407"/>
                  <a:gd name="connsiteX4" fmla="*/ 8516 w 18288"/>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07">
                    <a:moveTo>
                      <a:pt x="8516" y="18384"/>
                    </a:moveTo>
                    <a:cubicBezTo>
                      <a:pt x="13540" y="18743"/>
                      <a:pt x="17965" y="14915"/>
                      <a:pt x="18265" y="9891"/>
                    </a:cubicBezTo>
                    <a:cubicBezTo>
                      <a:pt x="18623" y="4808"/>
                      <a:pt x="14795" y="382"/>
                      <a:pt x="9772" y="23"/>
                    </a:cubicBezTo>
                    <a:cubicBezTo>
                      <a:pt x="4748" y="-336"/>
                      <a:pt x="323" y="3492"/>
                      <a:pt x="23" y="8516"/>
                    </a:cubicBezTo>
                    <a:cubicBezTo>
                      <a:pt x="-335" y="13599"/>
                      <a:pt x="3493" y="18025"/>
                      <a:pt x="8516" y="18384"/>
                    </a:cubicBezTo>
                    <a:close/>
                  </a:path>
                </a:pathLst>
              </a:custGeom>
              <a:grpFill/>
              <a:ln w="5978" cap="flat">
                <a:noFill/>
                <a:prstDash val="solid"/>
                <a:miter/>
              </a:ln>
            </p:spPr>
            <p:txBody>
              <a:bodyPr rtlCol="0" anchor="ctr"/>
              <a:lstStyle/>
              <a:p>
                <a:endParaRPr lang="en-GB"/>
              </a:p>
            </p:txBody>
          </p:sp>
        </p:grpSp>
        <p:grpSp>
          <p:nvGrpSpPr>
            <p:cNvPr id="169" name="Graphic 3">
              <a:extLst>
                <a:ext uri="{FF2B5EF4-FFF2-40B4-BE49-F238E27FC236}">
                  <a16:creationId xmlns:a16="http://schemas.microsoft.com/office/drawing/2014/main" id="{72E52534-D8B0-4A2E-BFFE-DD6585E340DA}"/>
                </a:ext>
              </a:extLst>
            </p:cNvPr>
            <p:cNvGrpSpPr/>
            <p:nvPr/>
          </p:nvGrpSpPr>
          <p:grpSpPr>
            <a:xfrm>
              <a:off x="7711018" y="3234528"/>
              <a:ext cx="248689" cy="27702"/>
              <a:chOff x="7711018" y="3234528"/>
              <a:chExt cx="248689" cy="27702"/>
            </a:xfrm>
            <a:grpFill/>
          </p:grpSpPr>
          <p:sp>
            <p:nvSpPr>
              <p:cNvPr id="4871" name="Vrije vorm: vorm 4870">
                <a:extLst>
                  <a:ext uri="{FF2B5EF4-FFF2-40B4-BE49-F238E27FC236}">
                    <a16:creationId xmlns:a16="http://schemas.microsoft.com/office/drawing/2014/main" id="{86686E07-9E64-4680-AA40-5599A22095CE}"/>
                  </a:ext>
                </a:extLst>
              </p:cNvPr>
              <p:cNvSpPr/>
              <p:nvPr/>
            </p:nvSpPr>
            <p:spPr>
              <a:xfrm>
                <a:off x="7719697" y="3242189"/>
                <a:ext cx="231333" cy="12380"/>
              </a:xfrm>
              <a:custGeom>
                <a:avLst/>
                <a:gdLst>
                  <a:gd name="connsiteX0" fmla="*/ 231334 w 231333"/>
                  <a:gd name="connsiteY0" fmla="*/ 9270 h 12380"/>
                  <a:gd name="connsiteX1" fmla="*/ 231214 w 231333"/>
                  <a:gd name="connsiteY1" fmla="*/ 12380 h 12380"/>
                  <a:gd name="connsiteX2" fmla="*/ 0 w 231333"/>
                  <a:gd name="connsiteY2" fmla="*/ 3110 h 12380"/>
                  <a:gd name="connsiteX3" fmla="*/ 119 w 231333"/>
                  <a:gd name="connsiteY3" fmla="*/ 0 h 12380"/>
                </a:gdLst>
                <a:ahLst/>
                <a:cxnLst>
                  <a:cxn ang="0">
                    <a:pos x="connsiteX0" y="connsiteY0"/>
                  </a:cxn>
                  <a:cxn ang="0">
                    <a:pos x="connsiteX1" y="connsiteY1"/>
                  </a:cxn>
                  <a:cxn ang="0">
                    <a:pos x="connsiteX2" y="connsiteY2"/>
                  </a:cxn>
                  <a:cxn ang="0">
                    <a:pos x="connsiteX3" y="connsiteY3"/>
                  </a:cxn>
                </a:cxnLst>
                <a:rect l="l" t="t" r="r" b="b"/>
                <a:pathLst>
                  <a:path w="231333" h="12380">
                    <a:moveTo>
                      <a:pt x="231334" y="9270"/>
                    </a:moveTo>
                    <a:lnTo>
                      <a:pt x="231214" y="12380"/>
                    </a:lnTo>
                    <a:lnTo>
                      <a:pt x="0" y="3110"/>
                    </a:lnTo>
                    <a:lnTo>
                      <a:pt x="119" y="0"/>
                    </a:lnTo>
                    <a:close/>
                  </a:path>
                </a:pathLst>
              </a:custGeom>
              <a:grpFill/>
              <a:ln w="5978" cap="flat">
                <a:noFill/>
                <a:prstDash val="solid"/>
                <a:miter/>
              </a:ln>
            </p:spPr>
            <p:txBody>
              <a:bodyPr rtlCol="0" anchor="ctr"/>
              <a:lstStyle/>
              <a:p>
                <a:endParaRPr lang="en-GB"/>
              </a:p>
            </p:txBody>
          </p:sp>
          <p:sp>
            <p:nvSpPr>
              <p:cNvPr id="4872" name="Vrije vorm: vorm 4871">
                <a:extLst>
                  <a:ext uri="{FF2B5EF4-FFF2-40B4-BE49-F238E27FC236}">
                    <a16:creationId xmlns:a16="http://schemas.microsoft.com/office/drawing/2014/main" id="{9BA83C3F-D351-40EB-A79D-A67A2268796A}"/>
                  </a:ext>
                </a:extLst>
              </p:cNvPr>
              <p:cNvSpPr/>
              <p:nvPr/>
            </p:nvSpPr>
            <p:spPr>
              <a:xfrm>
                <a:off x="7711018" y="3234528"/>
                <a:ext cx="18372" cy="18436"/>
              </a:xfrm>
              <a:custGeom>
                <a:avLst/>
                <a:gdLst>
                  <a:gd name="connsiteX0" fmla="*/ 8857 w 18372"/>
                  <a:gd name="connsiteY0" fmla="*/ 18427 h 18436"/>
                  <a:gd name="connsiteX1" fmla="*/ 6 w 18372"/>
                  <a:gd name="connsiteY1" fmla="*/ 8857 h 18436"/>
                  <a:gd name="connsiteX2" fmla="*/ 9515 w 18372"/>
                  <a:gd name="connsiteY2" fmla="*/ 6 h 18436"/>
                  <a:gd name="connsiteX3" fmla="*/ 18367 w 18372"/>
                  <a:gd name="connsiteY3" fmla="*/ 9575 h 18436"/>
                  <a:gd name="connsiteX4" fmla="*/ 8857 w 18372"/>
                  <a:gd name="connsiteY4" fmla="*/ 18427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6">
                    <a:moveTo>
                      <a:pt x="8857" y="18427"/>
                    </a:moveTo>
                    <a:cubicBezTo>
                      <a:pt x="3774" y="18247"/>
                      <a:pt x="-174" y="13941"/>
                      <a:pt x="6" y="8857"/>
                    </a:cubicBezTo>
                    <a:cubicBezTo>
                      <a:pt x="185" y="3774"/>
                      <a:pt x="4432" y="-174"/>
                      <a:pt x="9515" y="6"/>
                    </a:cubicBezTo>
                    <a:cubicBezTo>
                      <a:pt x="14599" y="185"/>
                      <a:pt x="18546" y="4491"/>
                      <a:pt x="18367" y="9575"/>
                    </a:cubicBezTo>
                    <a:cubicBezTo>
                      <a:pt x="18188" y="14659"/>
                      <a:pt x="13941" y="18666"/>
                      <a:pt x="8857" y="18427"/>
                    </a:cubicBezTo>
                    <a:close/>
                  </a:path>
                </a:pathLst>
              </a:custGeom>
              <a:grpFill/>
              <a:ln w="5978" cap="flat">
                <a:noFill/>
                <a:prstDash val="solid"/>
                <a:miter/>
              </a:ln>
            </p:spPr>
            <p:txBody>
              <a:bodyPr rtlCol="0" anchor="ctr"/>
              <a:lstStyle/>
              <a:p>
                <a:endParaRPr lang="en-GB"/>
              </a:p>
            </p:txBody>
          </p:sp>
          <p:sp>
            <p:nvSpPr>
              <p:cNvPr id="4873" name="Vrije vorm: vorm 4872">
                <a:extLst>
                  <a:ext uri="{FF2B5EF4-FFF2-40B4-BE49-F238E27FC236}">
                    <a16:creationId xmlns:a16="http://schemas.microsoft.com/office/drawing/2014/main" id="{7D43E7E8-FBFA-43EB-A2A5-A61F313BB44A}"/>
                  </a:ext>
                </a:extLst>
              </p:cNvPr>
              <p:cNvSpPr/>
              <p:nvPr/>
            </p:nvSpPr>
            <p:spPr>
              <a:xfrm>
                <a:off x="7941336" y="3243798"/>
                <a:ext cx="18372" cy="18432"/>
              </a:xfrm>
              <a:custGeom>
                <a:avLst/>
                <a:gdLst>
                  <a:gd name="connsiteX0" fmla="*/ 8857 w 18372"/>
                  <a:gd name="connsiteY0" fmla="*/ 18426 h 18432"/>
                  <a:gd name="connsiteX1" fmla="*/ 18366 w 18372"/>
                  <a:gd name="connsiteY1" fmla="*/ 9575 h 18432"/>
                  <a:gd name="connsiteX2" fmla="*/ 9515 w 18372"/>
                  <a:gd name="connsiteY2" fmla="*/ 6 h 18432"/>
                  <a:gd name="connsiteX3" fmla="*/ 6 w 18372"/>
                  <a:gd name="connsiteY3" fmla="*/ 8857 h 18432"/>
                  <a:gd name="connsiteX4" fmla="*/ 8857 w 18372"/>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8857" y="18426"/>
                    </a:moveTo>
                    <a:cubicBezTo>
                      <a:pt x="13941" y="18606"/>
                      <a:pt x="18187" y="14659"/>
                      <a:pt x="18366" y="9575"/>
                    </a:cubicBezTo>
                    <a:cubicBezTo>
                      <a:pt x="18546" y="4491"/>
                      <a:pt x="14599" y="185"/>
                      <a:pt x="9515" y="6"/>
                    </a:cubicBezTo>
                    <a:cubicBezTo>
                      <a:pt x="4431" y="-174"/>
                      <a:pt x="185" y="3774"/>
                      <a:pt x="6" y="8857"/>
                    </a:cubicBezTo>
                    <a:cubicBezTo>
                      <a:pt x="-174" y="13941"/>
                      <a:pt x="3834" y="18187"/>
                      <a:pt x="8857" y="18426"/>
                    </a:cubicBezTo>
                    <a:close/>
                  </a:path>
                </a:pathLst>
              </a:custGeom>
              <a:grpFill/>
              <a:ln w="5978" cap="flat">
                <a:noFill/>
                <a:prstDash val="solid"/>
                <a:miter/>
              </a:ln>
            </p:spPr>
            <p:txBody>
              <a:bodyPr rtlCol="0" anchor="ctr"/>
              <a:lstStyle/>
              <a:p>
                <a:endParaRPr lang="en-GB"/>
              </a:p>
            </p:txBody>
          </p:sp>
        </p:grpSp>
        <p:grpSp>
          <p:nvGrpSpPr>
            <p:cNvPr id="170" name="Graphic 3">
              <a:extLst>
                <a:ext uri="{FF2B5EF4-FFF2-40B4-BE49-F238E27FC236}">
                  <a16:creationId xmlns:a16="http://schemas.microsoft.com/office/drawing/2014/main" id="{95C5834F-C06B-4765-9AF3-49B0226072C3}"/>
                </a:ext>
              </a:extLst>
            </p:cNvPr>
            <p:cNvGrpSpPr/>
            <p:nvPr/>
          </p:nvGrpSpPr>
          <p:grpSpPr>
            <a:xfrm>
              <a:off x="7209417" y="1410633"/>
              <a:ext cx="23526" cy="27252"/>
              <a:chOff x="7209417" y="1410633"/>
              <a:chExt cx="23526" cy="27252"/>
            </a:xfrm>
            <a:grpFill/>
          </p:grpSpPr>
          <p:sp>
            <p:nvSpPr>
              <p:cNvPr id="4869" name="Vrije vorm: vorm 4868">
                <a:extLst>
                  <a:ext uri="{FF2B5EF4-FFF2-40B4-BE49-F238E27FC236}">
                    <a16:creationId xmlns:a16="http://schemas.microsoft.com/office/drawing/2014/main" id="{62E561A3-C9BE-4376-A598-D3A444DEDB07}"/>
                  </a:ext>
                </a:extLst>
              </p:cNvPr>
              <p:cNvSpPr/>
              <p:nvPr/>
            </p:nvSpPr>
            <p:spPr>
              <a:xfrm>
                <a:off x="7214587" y="1410633"/>
                <a:ext cx="18356" cy="18400"/>
              </a:xfrm>
              <a:custGeom>
                <a:avLst/>
                <a:gdLst>
                  <a:gd name="connsiteX0" fmla="*/ 17082 w 18356"/>
                  <a:gd name="connsiteY0" fmla="*/ 13895 h 18400"/>
                  <a:gd name="connsiteX1" fmla="*/ 4523 w 18356"/>
                  <a:gd name="connsiteY1" fmla="*/ 17125 h 18400"/>
                  <a:gd name="connsiteX2" fmla="*/ 1234 w 18356"/>
                  <a:gd name="connsiteY2" fmla="*/ 4506 h 18400"/>
                  <a:gd name="connsiteX3" fmla="*/ 13793 w 18356"/>
                  <a:gd name="connsiteY3" fmla="*/ 1276 h 18400"/>
                  <a:gd name="connsiteX4" fmla="*/ 17082 w 18356"/>
                  <a:gd name="connsiteY4" fmla="*/ 1389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0">
                    <a:moveTo>
                      <a:pt x="17082" y="13895"/>
                    </a:moveTo>
                    <a:cubicBezTo>
                      <a:pt x="14511" y="18261"/>
                      <a:pt x="8889" y="19697"/>
                      <a:pt x="4523" y="17125"/>
                    </a:cubicBezTo>
                    <a:cubicBezTo>
                      <a:pt x="157" y="14553"/>
                      <a:pt x="-1278" y="8871"/>
                      <a:pt x="1234" y="4506"/>
                    </a:cubicBezTo>
                    <a:cubicBezTo>
                      <a:pt x="3805" y="140"/>
                      <a:pt x="9428" y="-1296"/>
                      <a:pt x="13793" y="1276"/>
                    </a:cubicBezTo>
                    <a:cubicBezTo>
                      <a:pt x="18219" y="3848"/>
                      <a:pt x="19654" y="9529"/>
                      <a:pt x="17082" y="13895"/>
                    </a:cubicBezTo>
                    <a:close/>
                  </a:path>
                </a:pathLst>
              </a:custGeom>
              <a:grpFill/>
              <a:ln w="5978" cap="flat">
                <a:noFill/>
                <a:prstDash val="solid"/>
                <a:miter/>
              </a:ln>
            </p:spPr>
            <p:txBody>
              <a:bodyPr rtlCol="0" anchor="ctr"/>
              <a:lstStyle/>
              <a:p>
                <a:endParaRPr lang="en-GB"/>
              </a:p>
            </p:txBody>
          </p:sp>
          <p:sp>
            <p:nvSpPr>
              <p:cNvPr id="4870" name="Vrije vorm: vorm 4869">
                <a:extLst>
                  <a:ext uri="{FF2B5EF4-FFF2-40B4-BE49-F238E27FC236}">
                    <a16:creationId xmlns:a16="http://schemas.microsoft.com/office/drawing/2014/main" id="{25407439-4E1C-4D21-BB1C-99DD6B0E0DE6}"/>
                  </a:ext>
                </a:extLst>
              </p:cNvPr>
              <p:cNvSpPr/>
              <p:nvPr/>
            </p:nvSpPr>
            <p:spPr>
              <a:xfrm>
                <a:off x="7209417" y="1419485"/>
                <a:ext cx="18369" cy="18400"/>
              </a:xfrm>
              <a:custGeom>
                <a:avLst/>
                <a:gdLst>
                  <a:gd name="connsiteX0" fmla="*/ 17109 w 18369"/>
                  <a:gd name="connsiteY0" fmla="*/ 13895 h 18400"/>
                  <a:gd name="connsiteX1" fmla="*/ 13820 w 18369"/>
                  <a:gd name="connsiteY1" fmla="*/ 1276 h 18400"/>
                  <a:gd name="connsiteX2" fmla="*/ 1260 w 18369"/>
                  <a:gd name="connsiteY2" fmla="*/ 4506 h 18400"/>
                  <a:gd name="connsiteX3" fmla="*/ 4550 w 18369"/>
                  <a:gd name="connsiteY3" fmla="*/ 17125 h 18400"/>
                  <a:gd name="connsiteX4" fmla="*/ 17109 w 18369"/>
                  <a:gd name="connsiteY4" fmla="*/ 1389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7109" y="13895"/>
                    </a:moveTo>
                    <a:cubicBezTo>
                      <a:pt x="19681" y="9529"/>
                      <a:pt x="18186" y="3848"/>
                      <a:pt x="13820" y="1276"/>
                    </a:cubicBezTo>
                    <a:cubicBezTo>
                      <a:pt x="9454" y="-1296"/>
                      <a:pt x="3832" y="140"/>
                      <a:pt x="1260" y="4506"/>
                    </a:cubicBezTo>
                    <a:cubicBezTo>
                      <a:pt x="-1311" y="8871"/>
                      <a:pt x="184" y="14553"/>
                      <a:pt x="4550" y="17125"/>
                    </a:cubicBezTo>
                    <a:cubicBezTo>
                      <a:pt x="8916" y="19697"/>
                      <a:pt x="14538" y="18261"/>
                      <a:pt x="17109" y="13895"/>
                    </a:cubicBezTo>
                    <a:close/>
                  </a:path>
                </a:pathLst>
              </a:custGeom>
              <a:grpFill/>
              <a:ln w="5978" cap="flat">
                <a:noFill/>
                <a:prstDash val="solid"/>
                <a:miter/>
              </a:ln>
            </p:spPr>
            <p:txBody>
              <a:bodyPr rtlCol="0" anchor="ctr"/>
              <a:lstStyle/>
              <a:p>
                <a:endParaRPr lang="en-GB"/>
              </a:p>
            </p:txBody>
          </p:sp>
        </p:grpSp>
        <p:grpSp>
          <p:nvGrpSpPr>
            <p:cNvPr id="171" name="Graphic 3">
              <a:extLst>
                <a:ext uri="{FF2B5EF4-FFF2-40B4-BE49-F238E27FC236}">
                  <a16:creationId xmlns:a16="http://schemas.microsoft.com/office/drawing/2014/main" id="{0F3D648F-07B3-4D33-8C4F-94BCF9ADB9D1}"/>
                </a:ext>
              </a:extLst>
            </p:cNvPr>
            <p:cNvGrpSpPr/>
            <p:nvPr/>
          </p:nvGrpSpPr>
          <p:grpSpPr>
            <a:xfrm>
              <a:off x="7550009" y="2603685"/>
              <a:ext cx="133219" cy="75480"/>
              <a:chOff x="7550009" y="2603685"/>
              <a:chExt cx="133219" cy="75480"/>
            </a:xfrm>
            <a:grpFill/>
          </p:grpSpPr>
          <p:sp>
            <p:nvSpPr>
              <p:cNvPr id="4866" name="Vrije vorm: vorm 4865">
                <a:extLst>
                  <a:ext uri="{FF2B5EF4-FFF2-40B4-BE49-F238E27FC236}">
                    <a16:creationId xmlns:a16="http://schemas.microsoft.com/office/drawing/2014/main" id="{30447F07-BB5B-4136-9A65-4F9A5A02B399}"/>
                  </a:ext>
                </a:extLst>
              </p:cNvPr>
              <p:cNvSpPr/>
              <p:nvPr/>
            </p:nvSpPr>
            <p:spPr>
              <a:xfrm>
                <a:off x="7558219" y="2611205"/>
                <a:ext cx="117053" cy="60205"/>
              </a:xfrm>
              <a:custGeom>
                <a:avLst/>
                <a:gdLst>
                  <a:gd name="connsiteX0" fmla="*/ 0 w 117053"/>
                  <a:gd name="connsiteY0" fmla="*/ 57474 h 60205"/>
                  <a:gd name="connsiteX1" fmla="*/ 115697 w 117053"/>
                  <a:gd name="connsiteY1" fmla="*/ 0 h 60205"/>
                  <a:gd name="connsiteX2" fmla="*/ 117054 w 117053"/>
                  <a:gd name="connsiteY2" fmla="*/ 2732 h 60205"/>
                  <a:gd name="connsiteX3" fmla="*/ 1357 w 117053"/>
                  <a:gd name="connsiteY3" fmla="*/ 60205 h 60205"/>
                </a:gdLst>
                <a:ahLst/>
                <a:cxnLst>
                  <a:cxn ang="0">
                    <a:pos x="connsiteX0" y="connsiteY0"/>
                  </a:cxn>
                  <a:cxn ang="0">
                    <a:pos x="connsiteX1" y="connsiteY1"/>
                  </a:cxn>
                  <a:cxn ang="0">
                    <a:pos x="connsiteX2" y="connsiteY2"/>
                  </a:cxn>
                  <a:cxn ang="0">
                    <a:pos x="connsiteX3" y="connsiteY3"/>
                  </a:cxn>
                </a:cxnLst>
                <a:rect l="l" t="t" r="r" b="b"/>
                <a:pathLst>
                  <a:path w="117053" h="60205">
                    <a:moveTo>
                      <a:pt x="0" y="57474"/>
                    </a:moveTo>
                    <a:lnTo>
                      <a:pt x="115697" y="0"/>
                    </a:lnTo>
                    <a:lnTo>
                      <a:pt x="117054" y="2732"/>
                    </a:lnTo>
                    <a:lnTo>
                      <a:pt x="1357" y="60205"/>
                    </a:lnTo>
                    <a:close/>
                  </a:path>
                </a:pathLst>
              </a:custGeom>
              <a:grpFill/>
              <a:ln w="5978" cap="flat">
                <a:noFill/>
                <a:prstDash val="solid"/>
                <a:miter/>
              </a:ln>
            </p:spPr>
            <p:txBody>
              <a:bodyPr rtlCol="0" anchor="ctr"/>
              <a:lstStyle/>
              <a:p>
                <a:endParaRPr lang="en-GB"/>
              </a:p>
            </p:txBody>
          </p:sp>
          <p:sp>
            <p:nvSpPr>
              <p:cNvPr id="4867" name="Vrije vorm: vorm 4866">
                <a:extLst>
                  <a:ext uri="{FF2B5EF4-FFF2-40B4-BE49-F238E27FC236}">
                    <a16:creationId xmlns:a16="http://schemas.microsoft.com/office/drawing/2014/main" id="{C0E3CD50-A2D9-4325-9632-95E038BD5773}"/>
                  </a:ext>
                </a:extLst>
              </p:cNvPr>
              <p:cNvSpPr/>
              <p:nvPr/>
            </p:nvSpPr>
            <p:spPr>
              <a:xfrm>
                <a:off x="7664899" y="2603685"/>
                <a:ext cx="18329" cy="18424"/>
              </a:xfrm>
              <a:custGeom>
                <a:avLst/>
                <a:gdLst>
                  <a:gd name="connsiteX0" fmla="*/ 5098 w 18329"/>
                  <a:gd name="connsiteY0" fmla="*/ 959 h 18424"/>
                  <a:gd name="connsiteX1" fmla="*/ 17358 w 18329"/>
                  <a:gd name="connsiteY1" fmla="*/ 5146 h 18424"/>
                  <a:gd name="connsiteX2" fmla="*/ 13231 w 18329"/>
                  <a:gd name="connsiteY2" fmla="*/ 17466 h 18424"/>
                  <a:gd name="connsiteX3" fmla="*/ 971 w 18329"/>
                  <a:gd name="connsiteY3" fmla="*/ 13279 h 18424"/>
                  <a:gd name="connsiteX4" fmla="*/ 5098 w 18329"/>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4">
                    <a:moveTo>
                      <a:pt x="5098" y="959"/>
                    </a:moveTo>
                    <a:cubicBezTo>
                      <a:pt x="9643" y="-1314"/>
                      <a:pt x="15145" y="600"/>
                      <a:pt x="17358" y="5146"/>
                    </a:cubicBezTo>
                    <a:cubicBezTo>
                      <a:pt x="19631" y="9691"/>
                      <a:pt x="17777" y="15253"/>
                      <a:pt x="13231" y="17466"/>
                    </a:cubicBezTo>
                    <a:cubicBezTo>
                      <a:pt x="8686" y="19739"/>
                      <a:pt x="3184" y="17825"/>
                      <a:pt x="971" y="13279"/>
                    </a:cubicBezTo>
                    <a:cubicBezTo>
                      <a:pt x="-1302" y="8734"/>
                      <a:pt x="552" y="3172"/>
                      <a:pt x="5098" y="959"/>
                    </a:cubicBezTo>
                    <a:close/>
                  </a:path>
                </a:pathLst>
              </a:custGeom>
              <a:grpFill/>
              <a:ln w="5978" cap="flat">
                <a:noFill/>
                <a:prstDash val="solid"/>
                <a:miter/>
              </a:ln>
            </p:spPr>
            <p:txBody>
              <a:bodyPr rtlCol="0" anchor="ctr"/>
              <a:lstStyle/>
              <a:p>
                <a:endParaRPr lang="en-GB"/>
              </a:p>
            </p:txBody>
          </p:sp>
          <p:sp>
            <p:nvSpPr>
              <p:cNvPr id="4868" name="Vrije vorm: vorm 4867">
                <a:extLst>
                  <a:ext uri="{FF2B5EF4-FFF2-40B4-BE49-F238E27FC236}">
                    <a16:creationId xmlns:a16="http://schemas.microsoft.com/office/drawing/2014/main" id="{F9CA4C83-5BEC-41DC-9EEC-CFF9343A02A6}"/>
                  </a:ext>
                </a:extLst>
              </p:cNvPr>
              <p:cNvSpPr/>
              <p:nvPr/>
            </p:nvSpPr>
            <p:spPr>
              <a:xfrm>
                <a:off x="7550009" y="2660741"/>
                <a:ext cx="18329" cy="18424"/>
              </a:xfrm>
              <a:custGeom>
                <a:avLst/>
                <a:gdLst>
                  <a:gd name="connsiteX0" fmla="*/ 5098 w 18329"/>
                  <a:gd name="connsiteY0" fmla="*/ 959 h 18424"/>
                  <a:gd name="connsiteX1" fmla="*/ 971 w 18329"/>
                  <a:gd name="connsiteY1" fmla="*/ 13279 h 18424"/>
                  <a:gd name="connsiteX2" fmla="*/ 13232 w 18329"/>
                  <a:gd name="connsiteY2" fmla="*/ 17466 h 18424"/>
                  <a:gd name="connsiteX3" fmla="*/ 17358 w 18329"/>
                  <a:gd name="connsiteY3" fmla="*/ 5146 h 18424"/>
                  <a:gd name="connsiteX4" fmla="*/ 5098 w 18329"/>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4">
                    <a:moveTo>
                      <a:pt x="5098" y="959"/>
                    </a:moveTo>
                    <a:cubicBezTo>
                      <a:pt x="553" y="3232"/>
                      <a:pt x="-1302" y="8734"/>
                      <a:pt x="971" y="13279"/>
                    </a:cubicBezTo>
                    <a:cubicBezTo>
                      <a:pt x="3244" y="17825"/>
                      <a:pt x="8746" y="19739"/>
                      <a:pt x="13232" y="17466"/>
                    </a:cubicBezTo>
                    <a:cubicBezTo>
                      <a:pt x="17777" y="15193"/>
                      <a:pt x="19631" y="9691"/>
                      <a:pt x="17358" y="5146"/>
                    </a:cubicBezTo>
                    <a:cubicBezTo>
                      <a:pt x="15145" y="600"/>
                      <a:pt x="9643" y="-1314"/>
                      <a:pt x="5098" y="959"/>
                    </a:cubicBezTo>
                    <a:close/>
                  </a:path>
                </a:pathLst>
              </a:custGeom>
              <a:grpFill/>
              <a:ln w="5978" cap="flat">
                <a:noFill/>
                <a:prstDash val="solid"/>
                <a:miter/>
              </a:ln>
            </p:spPr>
            <p:txBody>
              <a:bodyPr rtlCol="0" anchor="ctr"/>
              <a:lstStyle/>
              <a:p>
                <a:endParaRPr lang="en-GB"/>
              </a:p>
            </p:txBody>
          </p:sp>
        </p:grpSp>
        <p:grpSp>
          <p:nvGrpSpPr>
            <p:cNvPr id="172" name="Graphic 3">
              <a:extLst>
                <a:ext uri="{FF2B5EF4-FFF2-40B4-BE49-F238E27FC236}">
                  <a16:creationId xmlns:a16="http://schemas.microsoft.com/office/drawing/2014/main" id="{32C3D458-CDE4-4324-8816-72356F3E9021}"/>
                </a:ext>
              </a:extLst>
            </p:cNvPr>
            <p:cNvGrpSpPr/>
            <p:nvPr/>
          </p:nvGrpSpPr>
          <p:grpSpPr>
            <a:xfrm>
              <a:off x="7564282" y="2634753"/>
              <a:ext cx="132612" cy="72494"/>
              <a:chOff x="7564282" y="2634753"/>
              <a:chExt cx="132612" cy="72494"/>
            </a:xfrm>
            <a:grpFill/>
          </p:grpSpPr>
          <p:sp>
            <p:nvSpPr>
              <p:cNvPr id="4863" name="Vrije vorm: vorm 4862">
                <a:extLst>
                  <a:ext uri="{FF2B5EF4-FFF2-40B4-BE49-F238E27FC236}">
                    <a16:creationId xmlns:a16="http://schemas.microsoft.com/office/drawing/2014/main" id="{F71BF108-98BE-41A8-ADE7-B0BC302DC650}"/>
                  </a:ext>
                </a:extLst>
              </p:cNvPr>
              <p:cNvSpPr/>
              <p:nvPr/>
            </p:nvSpPr>
            <p:spPr>
              <a:xfrm>
                <a:off x="7572590" y="2642543"/>
                <a:ext cx="116385" cy="57253"/>
              </a:xfrm>
              <a:custGeom>
                <a:avLst/>
                <a:gdLst>
                  <a:gd name="connsiteX0" fmla="*/ 0 w 116385"/>
                  <a:gd name="connsiteY0" fmla="*/ 54497 h 57253"/>
                  <a:gd name="connsiteX1" fmla="*/ 115081 w 116385"/>
                  <a:gd name="connsiteY1" fmla="*/ 0 h 57253"/>
                  <a:gd name="connsiteX2" fmla="*/ 116386 w 116385"/>
                  <a:gd name="connsiteY2" fmla="*/ 2757 h 57253"/>
                  <a:gd name="connsiteX3" fmla="*/ 1306 w 116385"/>
                  <a:gd name="connsiteY3" fmla="*/ 57254 h 57253"/>
                </a:gdLst>
                <a:ahLst/>
                <a:cxnLst>
                  <a:cxn ang="0">
                    <a:pos x="connsiteX0" y="connsiteY0"/>
                  </a:cxn>
                  <a:cxn ang="0">
                    <a:pos x="connsiteX1" y="connsiteY1"/>
                  </a:cxn>
                  <a:cxn ang="0">
                    <a:pos x="connsiteX2" y="connsiteY2"/>
                  </a:cxn>
                  <a:cxn ang="0">
                    <a:pos x="connsiteX3" y="connsiteY3"/>
                  </a:cxn>
                </a:cxnLst>
                <a:rect l="l" t="t" r="r" b="b"/>
                <a:pathLst>
                  <a:path w="116385" h="57253">
                    <a:moveTo>
                      <a:pt x="0" y="54497"/>
                    </a:moveTo>
                    <a:lnTo>
                      <a:pt x="115081" y="0"/>
                    </a:lnTo>
                    <a:lnTo>
                      <a:pt x="116386" y="2757"/>
                    </a:lnTo>
                    <a:lnTo>
                      <a:pt x="1306" y="57254"/>
                    </a:lnTo>
                    <a:close/>
                  </a:path>
                </a:pathLst>
              </a:custGeom>
              <a:grpFill/>
              <a:ln w="5978" cap="flat">
                <a:noFill/>
                <a:prstDash val="solid"/>
                <a:miter/>
              </a:ln>
            </p:spPr>
            <p:txBody>
              <a:bodyPr rtlCol="0" anchor="ctr"/>
              <a:lstStyle/>
              <a:p>
                <a:endParaRPr lang="en-GB"/>
              </a:p>
            </p:txBody>
          </p:sp>
          <p:sp>
            <p:nvSpPr>
              <p:cNvPr id="4864" name="Vrije vorm: vorm 4863">
                <a:extLst>
                  <a:ext uri="{FF2B5EF4-FFF2-40B4-BE49-F238E27FC236}">
                    <a16:creationId xmlns:a16="http://schemas.microsoft.com/office/drawing/2014/main" id="{40422182-2087-40DE-87EE-A377640B4864}"/>
                  </a:ext>
                </a:extLst>
              </p:cNvPr>
              <p:cNvSpPr/>
              <p:nvPr/>
            </p:nvSpPr>
            <p:spPr>
              <a:xfrm>
                <a:off x="7678564" y="2634753"/>
                <a:ext cx="18331" cy="18428"/>
              </a:xfrm>
              <a:custGeom>
                <a:avLst/>
                <a:gdLst>
                  <a:gd name="connsiteX0" fmla="*/ 5249 w 18331"/>
                  <a:gd name="connsiteY0" fmla="*/ 871 h 18428"/>
                  <a:gd name="connsiteX1" fmla="*/ 17449 w 18331"/>
                  <a:gd name="connsiteY1" fmla="*/ 5297 h 18428"/>
                  <a:gd name="connsiteX2" fmla="*/ 13083 w 18331"/>
                  <a:gd name="connsiteY2" fmla="*/ 17557 h 18428"/>
                  <a:gd name="connsiteX3" fmla="*/ 882 w 18331"/>
                  <a:gd name="connsiteY3" fmla="*/ 13132 h 18428"/>
                  <a:gd name="connsiteX4" fmla="*/ 5249 w 1833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28">
                    <a:moveTo>
                      <a:pt x="5249" y="871"/>
                    </a:moveTo>
                    <a:cubicBezTo>
                      <a:pt x="9793" y="-1282"/>
                      <a:pt x="15296" y="692"/>
                      <a:pt x="17449" y="5297"/>
                    </a:cubicBezTo>
                    <a:cubicBezTo>
                      <a:pt x="19602" y="9902"/>
                      <a:pt x="17688" y="15404"/>
                      <a:pt x="13083" y="17557"/>
                    </a:cubicBezTo>
                    <a:cubicBezTo>
                      <a:pt x="8538" y="19710"/>
                      <a:pt x="3035" y="17737"/>
                      <a:pt x="882" y="13132"/>
                    </a:cubicBezTo>
                    <a:cubicBezTo>
                      <a:pt x="-1271" y="8526"/>
                      <a:pt x="643" y="3024"/>
                      <a:pt x="5249" y="871"/>
                    </a:cubicBezTo>
                    <a:close/>
                  </a:path>
                </a:pathLst>
              </a:custGeom>
              <a:grpFill/>
              <a:ln w="5978" cap="flat">
                <a:noFill/>
                <a:prstDash val="solid"/>
                <a:miter/>
              </a:ln>
            </p:spPr>
            <p:txBody>
              <a:bodyPr rtlCol="0" anchor="ctr"/>
              <a:lstStyle/>
              <a:p>
                <a:endParaRPr lang="en-GB"/>
              </a:p>
            </p:txBody>
          </p:sp>
          <p:sp>
            <p:nvSpPr>
              <p:cNvPr id="4865" name="Vrije vorm: vorm 4864">
                <a:extLst>
                  <a:ext uri="{FF2B5EF4-FFF2-40B4-BE49-F238E27FC236}">
                    <a16:creationId xmlns:a16="http://schemas.microsoft.com/office/drawing/2014/main" id="{FD981002-3536-4789-B86C-C3EC47B82999}"/>
                  </a:ext>
                </a:extLst>
              </p:cNvPr>
              <p:cNvSpPr/>
              <p:nvPr/>
            </p:nvSpPr>
            <p:spPr>
              <a:xfrm>
                <a:off x="7564282" y="2688819"/>
                <a:ext cx="18311" cy="18428"/>
              </a:xfrm>
              <a:custGeom>
                <a:avLst/>
                <a:gdLst>
                  <a:gd name="connsiteX0" fmla="*/ 5238 w 18311"/>
                  <a:gd name="connsiteY0" fmla="*/ 871 h 18428"/>
                  <a:gd name="connsiteX1" fmla="*/ 872 w 18311"/>
                  <a:gd name="connsiteY1" fmla="*/ 13132 h 18428"/>
                  <a:gd name="connsiteX2" fmla="*/ 13073 w 18311"/>
                  <a:gd name="connsiteY2" fmla="*/ 17557 h 18428"/>
                  <a:gd name="connsiteX3" fmla="*/ 17439 w 18311"/>
                  <a:gd name="connsiteY3" fmla="*/ 5297 h 18428"/>
                  <a:gd name="connsiteX4" fmla="*/ 5238 w 1831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8">
                    <a:moveTo>
                      <a:pt x="5238" y="871"/>
                    </a:moveTo>
                    <a:cubicBezTo>
                      <a:pt x="693" y="3024"/>
                      <a:pt x="-1281" y="8526"/>
                      <a:pt x="872" y="13132"/>
                    </a:cubicBezTo>
                    <a:cubicBezTo>
                      <a:pt x="3025" y="17737"/>
                      <a:pt x="8528" y="19711"/>
                      <a:pt x="13073" y="17557"/>
                    </a:cubicBezTo>
                    <a:cubicBezTo>
                      <a:pt x="17619" y="15404"/>
                      <a:pt x="19592" y="9902"/>
                      <a:pt x="17439" y="5297"/>
                    </a:cubicBezTo>
                    <a:cubicBezTo>
                      <a:pt x="15286" y="692"/>
                      <a:pt x="9843" y="-1282"/>
                      <a:pt x="5238" y="871"/>
                    </a:cubicBezTo>
                    <a:close/>
                  </a:path>
                </a:pathLst>
              </a:custGeom>
              <a:grpFill/>
              <a:ln w="5978" cap="flat">
                <a:noFill/>
                <a:prstDash val="solid"/>
                <a:miter/>
              </a:ln>
            </p:spPr>
            <p:txBody>
              <a:bodyPr rtlCol="0" anchor="ctr"/>
              <a:lstStyle/>
              <a:p>
                <a:endParaRPr lang="en-GB"/>
              </a:p>
            </p:txBody>
          </p:sp>
        </p:grpSp>
        <p:grpSp>
          <p:nvGrpSpPr>
            <p:cNvPr id="173" name="Graphic 3">
              <a:extLst>
                <a:ext uri="{FF2B5EF4-FFF2-40B4-BE49-F238E27FC236}">
                  <a16:creationId xmlns:a16="http://schemas.microsoft.com/office/drawing/2014/main" id="{8B93AC8D-9168-4392-8611-921819EE1082}"/>
                </a:ext>
              </a:extLst>
            </p:cNvPr>
            <p:cNvGrpSpPr/>
            <p:nvPr/>
          </p:nvGrpSpPr>
          <p:grpSpPr>
            <a:xfrm>
              <a:off x="7612802" y="2793504"/>
              <a:ext cx="142737" cy="63633"/>
              <a:chOff x="7612802" y="2793504"/>
              <a:chExt cx="142737" cy="63633"/>
            </a:xfrm>
            <a:grpFill/>
          </p:grpSpPr>
          <p:sp>
            <p:nvSpPr>
              <p:cNvPr id="4860" name="Vrije vorm: vorm 4859">
                <a:extLst>
                  <a:ext uri="{FF2B5EF4-FFF2-40B4-BE49-F238E27FC236}">
                    <a16:creationId xmlns:a16="http://schemas.microsoft.com/office/drawing/2014/main" id="{27F1A9D9-BE4E-4F27-9143-4358F3826CD1}"/>
                  </a:ext>
                </a:extLst>
              </p:cNvPr>
              <p:cNvSpPr/>
              <p:nvPr/>
            </p:nvSpPr>
            <p:spPr>
              <a:xfrm>
                <a:off x="7620845" y="2801237"/>
                <a:ext cx="126283" cy="48358"/>
              </a:xfrm>
              <a:custGeom>
                <a:avLst/>
                <a:gdLst>
                  <a:gd name="connsiteX0" fmla="*/ 0 w 126283"/>
                  <a:gd name="connsiteY0" fmla="*/ 45492 h 48358"/>
                  <a:gd name="connsiteX1" fmla="*/ 125242 w 126283"/>
                  <a:gd name="connsiteY1" fmla="*/ 0 h 48358"/>
                  <a:gd name="connsiteX2" fmla="*/ 126283 w 126283"/>
                  <a:gd name="connsiteY2" fmla="*/ 2867 h 48358"/>
                  <a:gd name="connsiteX3" fmla="*/ 1041 w 126283"/>
                  <a:gd name="connsiteY3" fmla="*/ 48359 h 48358"/>
                </a:gdLst>
                <a:ahLst/>
                <a:cxnLst>
                  <a:cxn ang="0">
                    <a:pos x="connsiteX0" y="connsiteY0"/>
                  </a:cxn>
                  <a:cxn ang="0">
                    <a:pos x="connsiteX1" y="connsiteY1"/>
                  </a:cxn>
                  <a:cxn ang="0">
                    <a:pos x="connsiteX2" y="connsiteY2"/>
                  </a:cxn>
                  <a:cxn ang="0">
                    <a:pos x="connsiteX3" y="connsiteY3"/>
                  </a:cxn>
                </a:cxnLst>
                <a:rect l="l" t="t" r="r" b="b"/>
                <a:pathLst>
                  <a:path w="126283" h="48358">
                    <a:moveTo>
                      <a:pt x="0" y="45492"/>
                    </a:moveTo>
                    <a:lnTo>
                      <a:pt x="125242" y="0"/>
                    </a:lnTo>
                    <a:lnTo>
                      <a:pt x="126283" y="2867"/>
                    </a:lnTo>
                    <a:lnTo>
                      <a:pt x="1041" y="48359"/>
                    </a:lnTo>
                    <a:close/>
                  </a:path>
                </a:pathLst>
              </a:custGeom>
              <a:grpFill/>
              <a:ln w="5978" cap="flat">
                <a:noFill/>
                <a:prstDash val="solid"/>
                <a:miter/>
              </a:ln>
            </p:spPr>
            <p:txBody>
              <a:bodyPr rtlCol="0" anchor="ctr"/>
              <a:lstStyle/>
              <a:p>
                <a:endParaRPr lang="en-GB"/>
              </a:p>
            </p:txBody>
          </p:sp>
          <p:sp>
            <p:nvSpPr>
              <p:cNvPr id="4861" name="Vrije vorm: vorm 4860">
                <a:extLst>
                  <a:ext uri="{FF2B5EF4-FFF2-40B4-BE49-F238E27FC236}">
                    <a16:creationId xmlns:a16="http://schemas.microsoft.com/office/drawing/2014/main" id="{F84F8B66-ABE6-4570-941F-5567CD395815}"/>
                  </a:ext>
                </a:extLst>
              </p:cNvPr>
              <p:cNvSpPr/>
              <p:nvPr/>
            </p:nvSpPr>
            <p:spPr>
              <a:xfrm>
                <a:off x="7737170" y="2793504"/>
                <a:ext cx="18369" cy="18442"/>
              </a:xfrm>
              <a:custGeom>
                <a:avLst/>
                <a:gdLst>
                  <a:gd name="connsiteX0" fmla="*/ 6031 w 18369"/>
                  <a:gd name="connsiteY0" fmla="*/ 549 h 18442"/>
                  <a:gd name="connsiteX1" fmla="*/ 17812 w 18369"/>
                  <a:gd name="connsiteY1" fmla="*/ 6111 h 18442"/>
                  <a:gd name="connsiteX2" fmla="*/ 12370 w 18369"/>
                  <a:gd name="connsiteY2" fmla="*/ 17894 h 18442"/>
                  <a:gd name="connsiteX3" fmla="*/ 588 w 18369"/>
                  <a:gd name="connsiteY3" fmla="*/ 12331 h 18442"/>
                  <a:gd name="connsiteX4" fmla="*/ 6031 w 18369"/>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2">
                    <a:moveTo>
                      <a:pt x="6031" y="549"/>
                    </a:moveTo>
                    <a:cubicBezTo>
                      <a:pt x="10815" y="-1185"/>
                      <a:pt x="16078" y="1327"/>
                      <a:pt x="17812" y="6111"/>
                    </a:cubicBezTo>
                    <a:cubicBezTo>
                      <a:pt x="19547" y="10896"/>
                      <a:pt x="17095" y="16159"/>
                      <a:pt x="12370" y="17894"/>
                    </a:cubicBezTo>
                    <a:cubicBezTo>
                      <a:pt x="7645" y="19628"/>
                      <a:pt x="2382" y="17116"/>
                      <a:pt x="588" y="12331"/>
                    </a:cubicBezTo>
                    <a:cubicBezTo>
                      <a:pt x="-1206" y="7547"/>
                      <a:pt x="1246" y="2284"/>
                      <a:pt x="6031" y="549"/>
                    </a:cubicBezTo>
                    <a:close/>
                  </a:path>
                </a:pathLst>
              </a:custGeom>
              <a:grpFill/>
              <a:ln w="5978" cap="flat">
                <a:noFill/>
                <a:prstDash val="solid"/>
                <a:miter/>
              </a:ln>
            </p:spPr>
            <p:txBody>
              <a:bodyPr rtlCol="0" anchor="ctr"/>
              <a:lstStyle/>
              <a:p>
                <a:endParaRPr lang="en-GB"/>
              </a:p>
            </p:txBody>
          </p:sp>
          <p:sp>
            <p:nvSpPr>
              <p:cNvPr id="4862" name="Vrije vorm: vorm 4861">
                <a:extLst>
                  <a:ext uri="{FF2B5EF4-FFF2-40B4-BE49-F238E27FC236}">
                    <a16:creationId xmlns:a16="http://schemas.microsoft.com/office/drawing/2014/main" id="{1B2DFB7A-9616-4932-A567-507F8A945A60}"/>
                  </a:ext>
                </a:extLst>
              </p:cNvPr>
              <p:cNvSpPr/>
              <p:nvPr/>
            </p:nvSpPr>
            <p:spPr>
              <a:xfrm>
                <a:off x="7612802" y="2838712"/>
                <a:ext cx="18285" cy="18425"/>
              </a:xfrm>
              <a:custGeom>
                <a:avLst/>
                <a:gdLst>
                  <a:gd name="connsiteX0" fmla="*/ 5999 w 18285"/>
                  <a:gd name="connsiteY0" fmla="*/ 556 h 18425"/>
                  <a:gd name="connsiteX1" fmla="*/ 557 w 18285"/>
                  <a:gd name="connsiteY1" fmla="*/ 12338 h 18425"/>
                  <a:gd name="connsiteX2" fmla="*/ 12279 w 18285"/>
                  <a:gd name="connsiteY2" fmla="*/ 17900 h 18425"/>
                  <a:gd name="connsiteX3" fmla="*/ 17722 w 18285"/>
                  <a:gd name="connsiteY3" fmla="*/ 6118 h 18425"/>
                  <a:gd name="connsiteX4" fmla="*/ 5999 w 18285"/>
                  <a:gd name="connsiteY4" fmla="*/ 556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5">
                    <a:moveTo>
                      <a:pt x="5999" y="556"/>
                    </a:moveTo>
                    <a:cubicBezTo>
                      <a:pt x="1275" y="2291"/>
                      <a:pt x="-1177" y="7554"/>
                      <a:pt x="557" y="12338"/>
                    </a:cubicBezTo>
                    <a:cubicBezTo>
                      <a:pt x="2291" y="17123"/>
                      <a:pt x="7554" y="19575"/>
                      <a:pt x="12279" y="17900"/>
                    </a:cubicBezTo>
                    <a:cubicBezTo>
                      <a:pt x="17064" y="16166"/>
                      <a:pt x="19456" y="10903"/>
                      <a:pt x="17722" y="6118"/>
                    </a:cubicBezTo>
                    <a:cubicBezTo>
                      <a:pt x="15987" y="1274"/>
                      <a:pt x="10724" y="-1178"/>
                      <a:pt x="5999" y="556"/>
                    </a:cubicBezTo>
                    <a:close/>
                  </a:path>
                </a:pathLst>
              </a:custGeom>
              <a:grpFill/>
              <a:ln w="5978" cap="flat">
                <a:noFill/>
                <a:prstDash val="solid"/>
                <a:miter/>
              </a:ln>
            </p:spPr>
            <p:txBody>
              <a:bodyPr rtlCol="0" anchor="ctr"/>
              <a:lstStyle/>
              <a:p>
                <a:endParaRPr lang="en-GB"/>
              </a:p>
            </p:txBody>
          </p:sp>
        </p:grpSp>
        <p:grpSp>
          <p:nvGrpSpPr>
            <p:cNvPr id="174" name="Graphic 3">
              <a:extLst>
                <a:ext uri="{FF2B5EF4-FFF2-40B4-BE49-F238E27FC236}">
                  <a16:creationId xmlns:a16="http://schemas.microsoft.com/office/drawing/2014/main" id="{2E626845-A76A-48F2-B6F9-0FAD18022AD2}"/>
                </a:ext>
              </a:extLst>
            </p:cNvPr>
            <p:cNvGrpSpPr/>
            <p:nvPr/>
          </p:nvGrpSpPr>
          <p:grpSpPr>
            <a:xfrm>
              <a:off x="7700688" y="3151668"/>
              <a:ext cx="155522" cy="38043"/>
              <a:chOff x="7700688" y="3151668"/>
              <a:chExt cx="155522" cy="38043"/>
            </a:xfrm>
            <a:grpFill/>
          </p:grpSpPr>
          <p:sp>
            <p:nvSpPr>
              <p:cNvPr id="4857" name="Vrije vorm: vorm 4856">
                <a:extLst>
                  <a:ext uri="{FF2B5EF4-FFF2-40B4-BE49-F238E27FC236}">
                    <a16:creationId xmlns:a16="http://schemas.microsoft.com/office/drawing/2014/main" id="{5378CFDF-2FEB-4229-A8C4-B798400A8664}"/>
                  </a:ext>
                </a:extLst>
              </p:cNvPr>
              <p:cNvSpPr/>
              <p:nvPr/>
            </p:nvSpPr>
            <p:spPr>
              <a:xfrm>
                <a:off x="7709170" y="3159296"/>
                <a:ext cx="138572" cy="22786"/>
              </a:xfrm>
              <a:custGeom>
                <a:avLst/>
                <a:gdLst>
                  <a:gd name="connsiteX0" fmla="*/ 138095 w 138572"/>
                  <a:gd name="connsiteY0" fmla="*/ 0 h 22786"/>
                  <a:gd name="connsiteX1" fmla="*/ 138573 w 138572"/>
                  <a:gd name="connsiteY1" fmla="*/ 2990 h 22786"/>
                  <a:gd name="connsiteX2" fmla="*/ 418 w 138572"/>
                  <a:gd name="connsiteY2" fmla="*/ 22787 h 22786"/>
                  <a:gd name="connsiteX3" fmla="*/ 0 w 138572"/>
                  <a:gd name="connsiteY3" fmla="*/ 19736 h 22786"/>
                </a:gdLst>
                <a:ahLst/>
                <a:cxnLst>
                  <a:cxn ang="0">
                    <a:pos x="connsiteX0" y="connsiteY0"/>
                  </a:cxn>
                  <a:cxn ang="0">
                    <a:pos x="connsiteX1" y="connsiteY1"/>
                  </a:cxn>
                  <a:cxn ang="0">
                    <a:pos x="connsiteX2" y="connsiteY2"/>
                  </a:cxn>
                  <a:cxn ang="0">
                    <a:pos x="connsiteX3" y="connsiteY3"/>
                  </a:cxn>
                </a:cxnLst>
                <a:rect l="l" t="t" r="r" b="b"/>
                <a:pathLst>
                  <a:path w="138572" h="22786">
                    <a:moveTo>
                      <a:pt x="138095" y="0"/>
                    </a:moveTo>
                    <a:lnTo>
                      <a:pt x="138573" y="2990"/>
                    </a:lnTo>
                    <a:lnTo>
                      <a:pt x="418" y="22787"/>
                    </a:lnTo>
                    <a:lnTo>
                      <a:pt x="0" y="19736"/>
                    </a:lnTo>
                    <a:close/>
                  </a:path>
                </a:pathLst>
              </a:custGeom>
              <a:grpFill/>
              <a:ln w="5978" cap="flat">
                <a:noFill/>
                <a:prstDash val="solid"/>
                <a:miter/>
              </a:ln>
            </p:spPr>
            <p:txBody>
              <a:bodyPr rtlCol="0" anchor="ctr"/>
              <a:lstStyle/>
              <a:p>
                <a:endParaRPr lang="en-GB"/>
              </a:p>
            </p:txBody>
          </p:sp>
          <p:sp>
            <p:nvSpPr>
              <p:cNvPr id="4858" name="Vrije vorm: vorm 4857">
                <a:extLst>
                  <a:ext uri="{FF2B5EF4-FFF2-40B4-BE49-F238E27FC236}">
                    <a16:creationId xmlns:a16="http://schemas.microsoft.com/office/drawing/2014/main" id="{44F654B1-5FAB-4B79-A0B9-3337E0600F80}"/>
                  </a:ext>
                </a:extLst>
              </p:cNvPr>
              <p:cNvSpPr/>
              <p:nvPr/>
            </p:nvSpPr>
            <p:spPr>
              <a:xfrm>
                <a:off x="7837901" y="3151668"/>
                <a:ext cx="18309" cy="18426"/>
              </a:xfrm>
              <a:custGeom>
                <a:avLst/>
                <a:gdLst>
                  <a:gd name="connsiteX0" fmla="*/ 7809 w 18309"/>
                  <a:gd name="connsiteY0" fmla="*/ 93 h 18426"/>
                  <a:gd name="connsiteX1" fmla="*/ 18216 w 18309"/>
                  <a:gd name="connsiteY1" fmla="*/ 7927 h 18426"/>
                  <a:gd name="connsiteX2" fmla="*/ 10500 w 18309"/>
                  <a:gd name="connsiteY2" fmla="*/ 18334 h 18426"/>
                  <a:gd name="connsiteX3" fmla="*/ 94 w 18309"/>
                  <a:gd name="connsiteY3" fmla="*/ 10499 h 18426"/>
                  <a:gd name="connsiteX4" fmla="*/ 7809 w 18309"/>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6">
                    <a:moveTo>
                      <a:pt x="7809" y="93"/>
                    </a:moveTo>
                    <a:cubicBezTo>
                      <a:pt x="12833" y="-625"/>
                      <a:pt x="17498" y="2904"/>
                      <a:pt x="18216" y="7927"/>
                    </a:cubicBezTo>
                    <a:cubicBezTo>
                      <a:pt x="18933" y="12951"/>
                      <a:pt x="15465" y="17616"/>
                      <a:pt x="10500" y="18334"/>
                    </a:cubicBezTo>
                    <a:cubicBezTo>
                      <a:pt x="5477" y="19052"/>
                      <a:pt x="812" y="15523"/>
                      <a:pt x="94" y="10499"/>
                    </a:cubicBezTo>
                    <a:cubicBezTo>
                      <a:pt x="-624" y="5475"/>
                      <a:pt x="2846" y="810"/>
                      <a:pt x="7809" y="93"/>
                    </a:cubicBezTo>
                    <a:close/>
                  </a:path>
                </a:pathLst>
              </a:custGeom>
              <a:grpFill/>
              <a:ln w="5978" cap="flat">
                <a:noFill/>
                <a:prstDash val="solid"/>
                <a:miter/>
              </a:ln>
            </p:spPr>
            <p:txBody>
              <a:bodyPr rtlCol="0" anchor="ctr"/>
              <a:lstStyle/>
              <a:p>
                <a:endParaRPr lang="en-GB"/>
              </a:p>
            </p:txBody>
          </p:sp>
          <p:sp>
            <p:nvSpPr>
              <p:cNvPr id="4859" name="Vrije vorm: vorm 4858">
                <a:extLst>
                  <a:ext uri="{FF2B5EF4-FFF2-40B4-BE49-F238E27FC236}">
                    <a16:creationId xmlns:a16="http://schemas.microsoft.com/office/drawing/2014/main" id="{C9906B69-6BAC-48D4-80B3-ABEF698531E0}"/>
                  </a:ext>
                </a:extLst>
              </p:cNvPr>
              <p:cNvSpPr/>
              <p:nvPr/>
            </p:nvSpPr>
            <p:spPr>
              <a:xfrm>
                <a:off x="7700688" y="3171283"/>
                <a:ext cx="18339" cy="18427"/>
              </a:xfrm>
              <a:custGeom>
                <a:avLst/>
                <a:gdLst>
                  <a:gd name="connsiteX0" fmla="*/ 7824 w 18339"/>
                  <a:gd name="connsiteY0" fmla="*/ 94 h 18427"/>
                  <a:gd name="connsiteX1" fmla="*/ 109 w 18339"/>
                  <a:gd name="connsiteY1" fmla="*/ 10500 h 18427"/>
                  <a:gd name="connsiteX2" fmla="*/ 10515 w 18339"/>
                  <a:gd name="connsiteY2" fmla="*/ 18335 h 18427"/>
                  <a:gd name="connsiteX3" fmla="*/ 18231 w 18339"/>
                  <a:gd name="connsiteY3" fmla="*/ 7929 h 18427"/>
                  <a:gd name="connsiteX4" fmla="*/ 7824 w 18339"/>
                  <a:gd name="connsiteY4" fmla="*/ 9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7">
                    <a:moveTo>
                      <a:pt x="7824" y="94"/>
                    </a:moveTo>
                    <a:cubicBezTo>
                      <a:pt x="2800" y="812"/>
                      <a:pt x="-669" y="5477"/>
                      <a:pt x="109" y="10500"/>
                    </a:cubicBezTo>
                    <a:cubicBezTo>
                      <a:pt x="827" y="15524"/>
                      <a:pt x="5492" y="19053"/>
                      <a:pt x="10515" y="18335"/>
                    </a:cubicBezTo>
                    <a:cubicBezTo>
                      <a:pt x="15539" y="17617"/>
                      <a:pt x="19008" y="12952"/>
                      <a:pt x="18231" y="7929"/>
                    </a:cubicBezTo>
                    <a:cubicBezTo>
                      <a:pt x="17513" y="2845"/>
                      <a:pt x="12848" y="-624"/>
                      <a:pt x="7824" y="94"/>
                    </a:cubicBezTo>
                    <a:close/>
                  </a:path>
                </a:pathLst>
              </a:custGeom>
              <a:grpFill/>
              <a:ln w="5978" cap="flat">
                <a:noFill/>
                <a:prstDash val="solid"/>
                <a:miter/>
              </a:ln>
            </p:spPr>
            <p:txBody>
              <a:bodyPr rtlCol="0" anchor="ctr"/>
              <a:lstStyle/>
              <a:p>
                <a:endParaRPr lang="en-GB"/>
              </a:p>
            </p:txBody>
          </p:sp>
        </p:grpSp>
        <p:grpSp>
          <p:nvGrpSpPr>
            <p:cNvPr id="175" name="Graphic 3">
              <a:extLst>
                <a:ext uri="{FF2B5EF4-FFF2-40B4-BE49-F238E27FC236}">
                  <a16:creationId xmlns:a16="http://schemas.microsoft.com/office/drawing/2014/main" id="{CEF4A424-49B0-4133-ABB7-992E361105B8}"/>
                </a:ext>
              </a:extLst>
            </p:cNvPr>
            <p:cNvGrpSpPr/>
            <p:nvPr/>
          </p:nvGrpSpPr>
          <p:grpSpPr>
            <a:xfrm>
              <a:off x="7240083" y="1686417"/>
              <a:ext cx="160680" cy="201744"/>
              <a:chOff x="7240083" y="1686417"/>
              <a:chExt cx="160680" cy="201744"/>
            </a:xfrm>
            <a:grpFill/>
          </p:grpSpPr>
          <p:sp>
            <p:nvSpPr>
              <p:cNvPr id="4854" name="Vrije vorm: vorm 4853">
                <a:extLst>
                  <a:ext uri="{FF2B5EF4-FFF2-40B4-BE49-F238E27FC236}">
                    <a16:creationId xmlns:a16="http://schemas.microsoft.com/office/drawing/2014/main" id="{38D61BE4-0399-402D-BAA0-E2BA16D39F5E}"/>
                  </a:ext>
                </a:extLst>
              </p:cNvPr>
              <p:cNvSpPr/>
              <p:nvPr/>
            </p:nvSpPr>
            <p:spPr>
              <a:xfrm>
                <a:off x="7247758" y="1694379"/>
                <a:ext cx="145271" cy="185880"/>
              </a:xfrm>
              <a:custGeom>
                <a:avLst/>
                <a:gdLst>
                  <a:gd name="connsiteX0" fmla="*/ 145271 w 145271"/>
                  <a:gd name="connsiteY0" fmla="*/ 1854 h 185880"/>
                  <a:gd name="connsiteX1" fmla="*/ 2392 w 145271"/>
                  <a:gd name="connsiteY1" fmla="*/ 185881 h 185880"/>
                  <a:gd name="connsiteX2" fmla="*/ 0 w 145271"/>
                  <a:gd name="connsiteY2" fmla="*/ 184027 h 185880"/>
                  <a:gd name="connsiteX3" fmla="*/ 142880 w 145271"/>
                  <a:gd name="connsiteY3" fmla="*/ 0 h 185880"/>
                </a:gdLst>
                <a:ahLst/>
                <a:cxnLst>
                  <a:cxn ang="0">
                    <a:pos x="connsiteX0" y="connsiteY0"/>
                  </a:cxn>
                  <a:cxn ang="0">
                    <a:pos x="connsiteX1" y="connsiteY1"/>
                  </a:cxn>
                  <a:cxn ang="0">
                    <a:pos x="connsiteX2" y="connsiteY2"/>
                  </a:cxn>
                  <a:cxn ang="0">
                    <a:pos x="connsiteX3" y="connsiteY3"/>
                  </a:cxn>
                </a:cxnLst>
                <a:rect l="l" t="t" r="r" b="b"/>
                <a:pathLst>
                  <a:path w="145271" h="185880">
                    <a:moveTo>
                      <a:pt x="145271" y="1854"/>
                    </a:moveTo>
                    <a:lnTo>
                      <a:pt x="2392" y="185881"/>
                    </a:lnTo>
                    <a:lnTo>
                      <a:pt x="0" y="184027"/>
                    </a:lnTo>
                    <a:lnTo>
                      <a:pt x="142880" y="0"/>
                    </a:lnTo>
                    <a:close/>
                  </a:path>
                </a:pathLst>
              </a:custGeom>
              <a:grpFill/>
              <a:ln w="5978" cap="flat">
                <a:noFill/>
                <a:prstDash val="solid"/>
                <a:miter/>
              </a:ln>
            </p:spPr>
            <p:txBody>
              <a:bodyPr rtlCol="0" anchor="ctr"/>
              <a:lstStyle/>
              <a:p>
                <a:endParaRPr lang="en-GB"/>
              </a:p>
            </p:txBody>
          </p:sp>
          <p:sp>
            <p:nvSpPr>
              <p:cNvPr id="4855" name="Vrije vorm: vorm 4854">
                <a:extLst>
                  <a:ext uri="{FF2B5EF4-FFF2-40B4-BE49-F238E27FC236}">
                    <a16:creationId xmlns:a16="http://schemas.microsoft.com/office/drawing/2014/main" id="{B6EA482D-5ED8-4106-A64A-688B8F1D0B2E}"/>
                  </a:ext>
                </a:extLst>
              </p:cNvPr>
              <p:cNvSpPr/>
              <p:nvPr/>
            </p:nvSpPr>
            <p:spPr>
              <a:xfrm>
                <a:off x="7382424" y="1686417"/>
                <a:ext cx="18339" cy="18435"/>
              </a:xfrm>
              <a:custGeom>
                <a:avLst/>
                <a:gdLst>
                  <a:gd name="connsiteX0" fmla="*/ 1933 w 18339"/>
                  <a:gd name="connsiteY0" fmla="*/ 3536 h 18435"/>
                  <a:gd name="connsiteX1" fmla="*/ 14792 w 18339"/>
                  <a:gd name="connsiteY1" fmla="*/ 1981 h 18435"/>
                  <a:gd name="connsiteX2" fmla="*/ 16407 w 18339"/>
                  <a:gd name="connsiteY2" fmla="*/ 14899 h 18435"/>
                  <a:gd name="connsiteX3" fmla="*/ 3548 w 18339"/>
                  <a:gd name="connsiteY3" fmla="*/ 16454 h 18435"/>
                  <a:gd name="connsiteX4" fmla="*/ 1933 w 18339"/>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35">
                    <a:moveTo>
                      <a:pt x="1933" y="3536"/>
                    </a:moveTo>
                    <a:cubicBezTo>
                      <a:pt x="5043" y="-471"/>
                      <a:pt x="10784" y="-1189"/>
                      <a:pt x="14792" y="1981"/>
                    </a:cubicBezTo>
                    <a:cubicBezTo>
                      <a:pt x="18799" y="5091"/>
                      <a:pt x="19517" y="10892"/>
                      <a:pt x="16407" y="14899"/>
                    </a:cubicBezTo>
                    <a:cubicBezTo>
                      <a:pt x="13296" y="18906"/>
                      <a:pt x="7555" y="19624"/>
                      <a:pt x="3548" y="16454"/>
                    </a:cubicBezTo>
                    <a:cubicBezTo>
                      <a:pt x="-459" y="13344"/>
                      <a:pt x="-1177" y="7543"/>
                      <a:pt x="1933" y="3536"/>
                    </a:cubicBezTo>
                    <a:close/>
                  </a:path>
                </a:pathLst>
              </a:custGeom>
              <a:grpFill/>
              <a:ln w="5978" cap="flat">
                <a:noFill/>
                <a:prstDash val="solid"/>
                <a:miter/>
              </a:ln>
            </p:spPr>
            <p:txBody>
              <a:bodyPr rtlCol="0" anchor="ctr"/>
              <a:lstStyle/>
              <a:p>
                <a:endParaRPr lang="en-GB"/>
              </a:p>
            </p:txBody>
          </p:sp>
          <p:sp>
            <p:nvSpPr>
              <p:cNvPr id="4856" name="Vrije vorm: vorm 4855">
                <a:extLst>
                  <a:ext uri="{FF2B5EF4-FFF2-40B4-BE49-F238E27FC236}">
                    <a16:creationId xmlns:a16="http://schemas.microsoft.com/office/drawing/2014/main" id="{222938BB-32D7-4D06-94A9-5028430328D4}"/>
                  </a:ext>
                </a:extLst>
              </p:cNvPr>
              <p:cNvSpPr/>
              <p:nvPr/>
            </p:nvSpPr>
            <p:spPr>
              <a:xfrm>
                <a:off x="7240083" y="1869751"/>
                <a:ext cx="18338" cy="18410"/>
              </a:xfrm>
              <a:custGeom>
                <a:avLst/>
                <a:gdLst>
                  <a:gd name="connsiteX0" fmla="*/ 1932 w 18338"/>
                  <a:gd name="connsiteY0" fmla="*/ 3511 h 18410"/>
                  <a:gd name="connsiteX1" fmla="*/ 3547 w 18338"/>
                  <a:gd name="connsiteY1" fmla="*/ 16429 h 18410"/>
                  <a:gd name="connsiteX2" fmla="*/ 16406 w 18338"/>
                  <a:gd name="connsiteY2" fmla="*/ 14874 h 18410"/>
                  <a:gd name="connsiteX3" fmla="*/ 14791 w 18338"/>
                  <a:gd name="connsiteY3" fmla="*/ 1956 h 18410"/>
                  <a:gd name="connsiteX4" fmla="*/ 1932 w 18338"/>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0">
                    <a:moveTo>
                      <a:pt x="1932" y="3511"/>
                    </a:moveTo>
                    <a:cubicBezTo>
                      <a:pt x="-1177" y="7518"/>
                      <a:pt x="-459" y="13319"/>
                      <a:pt x="3547" y="16429"/>
                    </a:cubicBezTo>
                    <a:cubicBezTo>
                      <a:pt x="7555" y="19599"/>
                      <a:pt x="13296" y="18881"/>
                      <a:pt x="16406" y="14874"/>
                    </a:cubicBezTo>
                    <a:cubicBezTo>
                      <a:pt x="19516" y="10867"/>
                      <a:pt x="18798" y="5066"/>
                      <a:pt x="14791" y="1956"/>
                    </a:cubicBezTo>
                    <a:cubicBezTo>
                      <a:pt x="10785" y="-1154"/>
                      <a:pt x="5043" y="-496"/>
                      <a:pt x="1932" y="3511"/>
                    </a:cubicBezTo>
                    <a:close/>
                  </a:path>
                </a:pathLst>
              </a:custGeom>
              <a:grpFill/>
              <a:ln w="5978" cap="flat">
                <a:noFill/>
                <a:prstDash val="solid"/>
                <a:miter/>
              </a:ln>
            </p:spPr>
            <p:txBody>
              <a:bodyPr rtlCol="0" anchor="ctr"/>
              <a:lstStyle/>
              <a:p>
                <a:endParaRPr lang="en-GB"/>
              </a:p>
            </p:txBody>
          </p:sp>
        </p:grpSp>
        <p:grpSp>
          <p:nvGrpSpPr>
            <p:cNvPr id="176" name="Graphic 3">
              <a:extLst>
                <a:ext uri="{FF2B5EF4-FFF2-40B4-BE49-F238E27FC236}">
                  <a16:creationId xmlns:a16="http://schemas.microsoft.com/office/drawing/2014/main" id="{D7AC6BC8-F894-4C9B-B59A-1CCE87F9F9C1}"/>
                </a:ext>
              </a:extLst>
            </p:cNvPr>
            <p:cNvGrpSpPr/>
            <p:nvPr/>
          </p:nvGrpSpPr>
          <p:grpSpPr>
            <a:xfrm>
              <a:off x="7670788" y="2930190"/>
              <a:ext cx="97043" cy="40520"/>
              <a:chOff x="7670788" y="2930190"/>
              <a:chExt cx="97043" cy="40520"/>
            </a:xfrm>
            <a:grpFill/>
          </p:grpSpPr>
          <p:sp>
            <p:nvSpPr>
              <p:cNvPr id="4851" name="Vrije vorm: vorm 4850">
                <a:extLst>
                  <a:ext uri="{FF2B5EF4-FFF2-40B4-BE49-F238E27FC236}">
                    <a16:creationId xmlns:a16="http://schemas.microsoft.com/office/drawing/2014/main" id="{7B4D95E3-73D7-4135-998E-99869A9F2FDB}"/>
                  </a:ext>
                </a:extLst>
              </p:cNvPr>
              <p:cNvSpPr/>
              <p:nvPr/>
            </p:nvSpPr>
            <p:spPr>
              <a:xfrm>
                <a:off x="7679087" y="2937830"/>
                <a:ext cx="80380" cy="25238"/>
              </a:xfrm>
              <a:custGeom>
                <a:avLst/>
                <a:gdLst>
                  <a:gd name="connsiteX0" fmla="*/ 79603 w 80380"/>
                  <a:gd name="connsiteY0" fmla="*/ 0 h 25238"/>
                  <a:gd name="connsiteX1" fmla="*/ 80381 w 80380"/>
                  <a:gd name="connsiteY1" fmla="*/ 2930 h 25238"/>
                  <a:gd name="connsiteX2" fmla="*/ 837 w 80380"/>
                  <a:gd name="connsiteY2" fmla="*/ 25239 h 25238"/>
                  <a:gd name="connsiteX3" fmla="*/ 0 w 80380"/>
                  <a:gd name="connsiteY3" fmla="*/ 22308 h 25238"/>
                </a:gdLst>
                <a:ahLst/>
                <a:cxnLst>
                  <a:cxn ang="0">
                    <a:pos x="connsiteX0" y="connsiteY0"/>
                  </a:cxn>
                  <a:cxn ang="0">
                    <a:pos x="connsiteX1" y="connsiteY1"/>
                  </a:cxn>
                  <a:cxn ang="0">
                    <a:pos x="connsiteX2" y="connsiteY2"/>
                  </a:cxn>
                  <a:cxn ang="0">
                    <a:pos x="connsiteX3" y="connsiteY3"/>
                  </a:cxn>
                </a:cxnLst>
                <a:rect l="l" t="t" r="r" b="b"/>
                <a:pathLst>
                  <a:path w="80380" h="25238">
                    <a:moveTo>
                      <a:pt x="79603" y="0"/>
                    </a:moveTo>
                    <a:lnTo>
                      <a:pt x="80381" y="2930"/>
                    </a:lnTo>
                    <a:lnTo>
                      <a:pt x="837" y="25239"/>
                    </a:lnTo>
                    <a:lnTo>
                      <a:pt x="0" y="22308"/>
                    </a:lnTo>
                    <a:close/>
                  </a:path>
                </a:pathLst>
              </a:custGeom>
              <a:grpFill/>
              <a:ln w="5978" cap="flat">
                <a:noFill/>
                <a:prstDash val="solid"/>
                <a:miter/>
              </a:ln>
            </p:spPr>
            <p:txBody>
              <a:bodyPr rtlCol="0" anchor="ctr"/>
              <a:lstStyle/>
              <a:p>
                <a:endParaRPr lang="en-GB"/>
              </a:p>
            </p:txBody>
          </p:sp>
          <p:sp>
            <p:nvSpPr>
              <p:cNvPr id="4852" name="Vrije vorm: vorm 4851">
                <a:extLst>
                  <a:ext uri="{FF2B5EF4-FFF2-40B4-BE49-F238E27FC236}">
                    <a16:creationId xmlns:a16="http://schemas.microsoft.com/office/drawing/2014/main" id="{229D64BB-310B-4159-8B45-75E7F6FBE8AE}"/>
                  </a:ext>
                </a:extLst>
              </p:cNvPr>
              <p:cNvSpPr/>
              <p:nvPr/>
            </p:nvSpPr>
            <p:spPr>
              <a:xfrm>
                <a:off x="7749490" y="2930190"/>
                <a:ext cx="18341" cy="18451"/>
              </a:xfrm>
              <a:custGeom>
                <a:avLst/>
                <a:gdLst>
                  <a:gd name="connsiteX0" fmla="*/ 6689 w 18341"/>
                  <a:gd name="connsiteY0" fmla="*/ 344 h 18451"/>
                  <a:gd name="connsiteX1" fmla="*/ 17992 w 18341"/>
                  <a:gd name="connsiteY1" fmla="*/ 6744 h 18451"/>
                  <a:gd name="connsiteX2" fmla="*/ 11652 w 18341"/>
                  <a:gd name="connsiteY2" fmla="*/ 18107 h 18451"/>
                  <a:gd name="connsiteX3" fmla="*/ 349 w 18341"/>
                  <a:gd name="connsiteY3" fmla="*/ 11708 h 18451"/>
                  <a:gd name="connsiteX4" fmla="*/ 6689 w 18341"/>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1">
                    <a:moveTo>
                      <a:pt x="6689" y="344"/>
                    </a:moveTo>
                    <a:cubicBezTo>
                      <a:pt x="11533" y="-1031"/>
                      <a:pt x="16616" y="1839"/>
                      <a:pt x="17992" y="6744"/>
                    </a:cubicBezTo>
                    <a:cubicBezTo>
                      <a:pt x="19368" y="11648"/>
                      <a:pt x="16557" y="16731"/>
                      <a:pt x="11652" y="18107"/>
                    </a:cubicBezTo>
                    <a:cubicBezTo>
                      <a:pt x="6808" y="19482"/>
                      <a:pt x="1724" y="16612"/>
                      <a:pt x="349" y="11708"/>
                    </a:cubicBezTo>
                    <a:cubicBezTo>
                      <a:pt x="-1027" y="6803"/>
                      <a:pt x="1784" y="1720"/>
                      <a:pt x="6689" y="344"/>
                    </a:cubicBezTo>
                    <a:close/>
                  </a:path>
                </a:pathLst>
              </a:custGeom>
              <a:grpFill/>
              <a:ln w="5978" cap="flat">
                <a:noFill/>
                <a:prstDash val="solid"/>
                <a:miter/>
              </a:ln>
            </p:spPr>
            <p:txBody>
              <a:bodyPr rtlCol="0" anchor="ctr"/>
              <a:lstStyle/>
              <a:p>
                <a:endParaRPr lang="en-GB"/>
              </a:p>
            </p:txBody>
          </p:sp>
          <p:sp>
            <p:nvSpPr>
              <p:cNvPr id="4853" name="Vrije vorm: vorm 4852">
                <a:extLst>
                  <a:ext uri="{FF2B5EF4-FFF2-40B4-BE49-F238E27FC236}">
                    <a16:creationId xmlns:a16="http://schemas.microsoft.com/office/drawing/2014/main" id="{0C5035FE-314E-49A6-81BA-A0091EE706AD}"/>
                  </a:ext>
                </a:extLst>
              </p:cNvPr>
              <p:cNvSpPr/>
              <p:nvPr/>
            </p:nvSpPr>
            <p:spPr>
              <a:xfrm>
                <a:off x="7670788" y="2952258"/>
                <a:ext cx="18332" cy="18451"/>
              </a:xfrm>
              <a:custGeom>
                <a:avLst/>
                <a:gdLst>
                  <a:gd name="connsiteX0" fmla="*/ 6684 w 18332"/>
                  <a:gd name="connsiteY0" fmla="*/ 344 h 18451"/>
                  <a:gd name="connsiteX1" fmla="*/ 345 w 18332"/>
                  <a:gd name="connsiteY1" fmla="*/ 11708 h 18451"/>
                  <a:gd name="connsiteX2" fmla="*/ 11648 w 18332"/>
                  <a:gd name="connsiteY2" fmla="*/ 18107 h 18451"/>
                  <a:gd name="connsiteX3" fmla="*/ 17988 w 18332"/>
                  <a:gd name="connsiteY3" fmla="*/ 6744 h 18451"/>
                  <a:gd name="connsiteX4" fmla="*/ 6684 w 18332"/>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1">
                    <a:moveTo>
                      <a:pt x="6684" y="344"/>
                    </a:moveTo>
                    <a:cubicBezTo>
                      <a:pt x="1840" y="1720"/>
                      <a:pt x="-1031" y="6803"/>
                      <a:pt x="345" y="11708"/>
                    </a:cubicBezTo>
                    <a:cubicBezTo>
                      <a:pt x="1721" y="16612"/>
                      <a:pt x="6804" y="19482"/>
                      <a:pt x="11648" y="18107"/>
                    </a:cubicBezTo>
                    <a:cubicBezTo>
                      <a:pt x="16493" y="16731"/>
                      <a:pt x="19364" y="11648"/>
                      <a:pt x="17988" y="6744"/>
                    </a:cubicBezTo>
                    <a:cubicBezTo>
                      <a:pt x="16613" y="1839"/>
                      <a:pt x="11529" y="-1031"/>
                      <a:pt x="6684" y="344"/>
                    </a:cubicBezTo>
                    <a:close/>
                  </a:path>
                </a:pathLst>
              </a:custGeom>
              <a:grpFill/>
              <a:ln w="5978" cap="flat">
                <a:noFill/>
                <a:prstDash val="solid"/>
                <a:miter/>
              </a:ln>
            </p:spPr>
            <p:txBody>
              <a:bodyPr rtlCol="0" anchor="ctr"/>
              <a:lstStyle/>
              <a:p>
                <a:endParaRPr lang="en-GB"/>
              </a:p>
            </p:txBody>
          </p:sp>
        </p:grpSp>
        <p:grpSp>
          <p:nvGrpSpPr>
            <p:cNvPr id="177" name="Graphic 3">
              <a:extLst>
                <a:ext uri="{FF2B5EF4-FFF2-40B4-BE49-F238E27FC236}">
                  <a16:creationId xmlns:a16="http://schemas.microsoft.com/office/drawing/2014/main" id="{D5A6A360-39B4-4D24-9A0C-C28CABAFDBEB}"/>
                </a:ext>
              </a:extLst>
            </p:cNvPr>
            <p:cNvGrpSpPr/>
            <p:nvPr/>
          </p:nvGrpSpPr>
          <p:grpSpPr>
            <a:xfrm>
              <a:off x="7709506" y="3266328"/>
              <a:ext cx="218702" cy="33599"/>
              <a:chOff x="7709506" y="3266328"/>
              <a:chExt cx="218702" cy="33599"/>
            </a:xfrm>
            <a:grpFill/>
          </p:grpSpPr>
          <p:sp>
            <p:nvSpPr>
              <p:cNvPr id="4848" name="Vrije vorm: vorm 4847">
                <a:extLst>
                  <a:ext uri="{FF2B5EF4-FFF2-40B4-BE49-F238E27FC236}">
                    <a16:creationId xmlns:a16="http://schemas.microsoft.com/office/drawing/2014/main" id="{1F3659D9-BB75-4D23-9EEA-9CE1AEC343AD}"/>
                  </a:ext>
                </a:extLst>
              </p:cNvPr>
              <p:cNvSpPr/>
              <p:nvPr/>
            </p:nvSpPr>
            <p:spPr>
              <a:xfrm>
                <a:off x="7718082" y="3274007"/>
                <a:ext cx="201490" cy="18241"/>
              </a:xfrm>
              <a:custGeom>
                <a:avLst/>
                <a:gdLst>
                  <a:gd name="connsiteX0" fmla="*/ 201490 w 201490"/>
                  <a:gd name="connsiteY0" fmla="*/ 15191 h 18241"/>
                  <a:gd name="connsiteX1" fmla="*/ 201311 w 201490"/>
                  <a:gd name="connsiteY1" fmla="*/ 18241 h 18241"/>
                  <a:gd name="connsiteX2" fmla="*/ 0 w 201490"/>
                  <a:gd name="connsiteY2" fmla="*/ 3050 h 18241"/>
                  <a:gd name="connsiteX3" fmla="*/ 239 w 201490"/>
                  <a:gd name="connsiteY3" fmla="*/ 0 h 18241"/>
                </a:gdLst>
                <a:ahLst/>
                <a:cxnLst>
                  <a:cxn ang="0">
                    <a:pos x="connsiteX0" y="connsiteY0"/>
                  </a:cxn>
                  <a:cxn ang="0">
                    <a:pos x="connsiteX1" y="connsiteY1"/>
                  </a:cxn>
                  <a:cxn ang="0">
                    <a:pos x="connsiteX2" y="connsiteY2"/>
                  </a:cxn>
                  <a:cxn ang="0">
                    <a:pos x="connsiteX3" y="connsiteY3"/>
                  </a:cxn>
                </a:cxnLst>
                <a:rect l="l" t="t" r="r" b="b"/>
                <a:pathLst>
                  <a:path w="201490" h="18241">
                    <a:moveTo>
                      <a:pt x="201490" y="15191"/>
                    </a:moveTo>
                    <a:lnTo>
                      <a:pt x="201311" y="18241"/>
                    </a:lnTo>
                    <a:lnTo>
                      <a:pt x="0" y="3050"/>
                    </a:lnTo>
                    <a:lnTo>
                      <a:pt x="239" y="0"/>
                    </a:lnTo>
                    <a:close/>
                  </a:path>
                </a:pathLst>
              </a:custGeom>
              <a:grpFill/>
              <a:ln w="5978" cap="flat">
                <a:noFill/>
                <a:prstDash val="solid"/>
                <a:miter/>
              </a:ln>
            </p:spPr>
            <p:txBody>
              <a:bodyPr rtlCol="0" anchor="ctr"/>
              <a:lstStyle/>
              <a:p>
                <a:endParaRPr lang="en-GB"/>
              </a:p>
            </p:txBody>
          </p:sp>
          <p:sp>
            <p:nvSpPr>
              <p:cNvPr id="4849" name="Vrije vorm: vorm 4848">
                <a:extLst>
                  <a:ext uri="{FF2B5EF4-FFF2-40B4-BE49-F238E27FC236}">
                    <a16:creationId xmlns:a16="http://schemas.microsoft.com/office/drawing/2014/main" id="{959FD982-85FE-4090-A4CF-84D5CBDDE48D}"/>
                  </a:ext>
                </a:extLst>
              </p:cNvPr>
              <p:cNvSpPr/>
              <p:nvPr/>
            </p:nvSpPr>
            <p:spPr>
              <a:xfrm>
                <a:off x="7709506" y="3266328"/>
                <a:ext cx="18347" cy="18415"/>
              </a:xfrm>
              <a:custGeom>
                <a:avLst/>
                <a:gdLst>
                  <a:gd name="connsiteX0" fmla="*/ 8516 w 18347"/>
                  <a:gd name="connsiteY0" fmla="*/ 18384 h 18415"/>
                  <a:gd name="connsiteX1" fmla="*/ 23 w 18347"/>
                  <a:gd name="connsiteY1" fmla="*/ 8516 h 18415"/>
                  <a:gd name="connsiteX2" fmla="*/ 9832 w 18347"/>
                  <a:gd name="connsiteY2" fmla="*/ 24 h 18415"/>
                  <a:gd name="connsiteX3" fmla="*/ 18325 w 18347"/>
                  <a:gd name="connsiteY3" fmla="*/ 9892 h 18415"/>
                  <a:gd name="connsiteX4" fmla="*/ 8516 w 18347"/>
                  <a:gd name="connsiteY4" fmla="*/ 18384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15">
                    <a:moveTo>
                      <a:pt x="8516" y="18384"/>
                    </a:moveTo>
                    <a:cubicBezTo>
                      <a:pt x="3492" y="18026"/>
                      <a:pt x="-335" y="13600"/>
                      <a:pt x="23" y="8516"/>
                    </a:cubicBezTo>
                    <a:cubicBezTo>
                      <a:pt x="382" y="3433"/>
                      <a:pt x="4748" y="-335"/>
                      <a:pt x="9832" y="24"/>
                    </a:cubicBezTo>
                    <a:cubicBezTo>
                      <a:pt x="14855" y="382"/>
                      <a:pt x="18683" y="4808"/>
                      <a:pt x="18325" y="9892"/>
                    </a:cubicBezTo>
                    <a:cubicBezTo>
                      <a:pt x="17965" y="14975"/>
                      <a:pt x="13540" y="18803"/>
                      <a:pt x="8516" y="18384"/>
                    </a:cubicBezTo>
                    <a:close/>
                  </a:path>
                </a:pathLst>
              </a:custGeom>
              <a:grpFill/>
              <a:ln w="5978" cap="flat">
                <a:noFill/>
                <a:prstDash val="solid"/>
                <a:miter/>
              </a:ln>
            </p:spPr>
            <p:txBody>
              <a:bodyPr rtlCol="0" anchor="ctr"/>
              <a:lstStyle/>
              <a:p>
                <a:endParaRPr lang="en-GB"/>
              </a:p>
            </p:txBody>
          </p:sp>
          <p:sp>
            <p:nvSpPr>
              <p:cNvPr id="4850" name="Vrije vorm: vorm 4849">
                <a:extLst>
                  <a:ext uri="{FF2B5EF4-FFF2-40B4-BE49-F238E27FC236}">
                    <a16:creationId xmlns:a16="http://schemas.microsoft.com/office/drawing/2014/main" id="{5B47F968-DF88-4DA5-BC4D-1F52814E43B2}"/>
                  </a:ext>
                </a:extLst>
              </p:cNvPr>
              <p:cNvSpPr/>
              <p:nvPr/>
            </p:nvSpPr>
            <p:spPr>
              <a:xfrm>
                <a:off x="7909860" y="3281519"/>
                <a:ext cx="18348" cy="18407"/>
              </a:xfrm>
              <a:custGeom>
                <a:avLst/>
                <a:gdLst>
                  <a:gd name="connsiteX0" fmla="*/ 8516 w 18348"/>
                  <a:gd name="connsiteY0" fmla="*/ 18384 h 18407"/>
                  <a:gd name="connsiteX1" fmla="*/ 18325 w 18348"/>
                  <a:gd name="connsiteY1" fmla="*/ 9892 h 18407"/>
                  <a:gd name="connsiteX2" fmla="*/ 9832 w 18348"/>
                  <a:gd name="connsiteY2" fmla="*/ 24 h 18407"/>
                  <a:gd name="connsiteX3" fmla="*/ 24 w 18348"/>
                  <a:gd name="connsiteY3" fmla="*/ 8516 h 18407"/>
                  <a:gd name="connsiteX4" fmla="*/ 8516 w 18348"/>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07">
                    <a:moveTo>
                      <a:pt x="8516" y="18384"/>
                    </a:moveTo>
                    <a:cubicBezTo>
                      <a:pt x="13540" y="18743"/>
                      <a:pt x="17966" y="14975"/>
                      <a:pt x="18325" y="9892"/>
                    </a:cubicBezTo>
                    <a:cubicBezTo>
                      <a:pt x="18683" y="4808"/>
                      <a:pt x="14856" y="382"/>
                      <a:pt x="9832" y="24"/>
                    </a:cubicBezTo>
                    <a:cubicBezTo>
                      <a:pt x="4808" y="-335"/>
                      <a:pt x="383" y="3433"/>
                      <a:pt x="24" y="8516"/>
                    </a:cubicBezTo>
                    <a:cubicBezTo>
                      <a:pt x="-335" y="13600"/>
                      <a:pt x="3433" y="18025"/>
                      <a:pt x="8516" y="18384"/>
                    </a:cubicBezTo>
                    <a:close/>
                  </a:path>
                </a:pathLst>
              </a:custGeom>
              <a:grpFill/>
              <a:ln w="5978" cap="flat">
                <a:noFill/>
                <a:prstDash val="solid"/>
                <a:miter/>
              </a:ln>
            </p:spPr>
            <p:txBody>
              <a:bodyPr rtlCol="0" anchor="ctr"/>
              <a:lstStyle/>
              <a:p>
                <a:endParaRPr lang="en-GB"/>
              </a:p>
            </p:txBody>
          </p:sp>
        </p:grpSp>
        <p:grpSp>
          <p:nvGrpSpPr>
            <p:cNvPr id="178" name="Graphic 3">
              <a:extLst>
                <a:ext uri="{FF2B5EF4-FFF2-40B4-BE49-F238E27FC236}">
                  <a16:creationId xmlns:a16="http://schemas.microsoft.com/office/drawing/2014/main" id="{9A7C4972-A720-48E8-B285-22D7A8D61D98}"/>
                </a:ext>
              </a:extLst>
            </p:cNvPr>
            <p:cNvGrpSpPr/>
            <p:nvPr/>
          </p:nvGrpSpPr>
          <p:grpSpPr>
            <a:xfrm>
              <a:off x="7738046" y="3316699"/>
              <a:ext cx="214250" cy="27890"/>
              <a:chOff x="7738046" y="3316699"/>
              <a:chExt cx="214250" cy="27890"/>
            </a:xfrm>
            <a:grpFill/>
          </p:grpSpPr>
          <p:sp>
            <p:nvSpPr>
              <p:cNvPr id="4845" name="Vrije vorm: vorm 4844">
                <a:extLst>
                  <a:ext uri="{FF2B5EF4-FFF2-40B4-BE49-F238E27FC236}">
                    <a16:creationId xmlns:a16="http://schemas.microsoft.com/office/drawing/2014/main" id="{48704B92-8660-4E9A-B843-468C67BF24DD}"/>
                  </a:ext>
                </a:extLst>
              </p:cNvPr>
              <p:cNvSpPr/>
              <p:nvPr/>
            </p:nvSpPr>
            <p:spPr>
              <a:xfrm>
                <a:off x="7746669" y="3324364"/>
                <a:ext cx="197005" cy="12559"/>
              </a:xfrm>
              <a:custGeom>
                <a:avLst/>
                <a:gdLst>
                  <a:gd name="connsiteX0" fmla="*/ 196886 w 197005"/>
                  <a:gd name="connsiteY0" fmla="*/ 0 h 12559"/>
                  <a:gd name="connsiteX1" fmla="*/ 197005 w 197005"/>
                  <a:gd name="connsiteY1" fmla="*/ 3050 h 12559"/>
                  <a:gd name="connsiteX2" fmla="*/ 180 w 197005"/>
                  <a:gd name="connsiteY2" fmla="*/ 12559 h 12559"/>
                  <a:gd name="connsiteX3" fmla="*/ 0 w 197005"/>
                  <a:gd name="connsiteY3" fmla="*/ 9509 h 12559"/>
                </a:gdLst>
                <a:ahLst/>
                <a:cxnLst>
                  <a:cxn ang="0">
                    <a:pos x="connsiteX0" y="connsiteY0"/>
                  </a:cxn>
                  <a:cxn ang="0">
                    <a:pos x="connsiteX1" y="connsiteY1"/>
                  </a:cxn>
                  <a:cxn ang="0">
                    <a:pos x="connsiteX2" y="connsiteY2"/>
                  </a:cxn>
                  <a:cxn ang="0">
                    <a:pos x="connsiteX3" y="connsiteY3"/>
                  </a:cxn>
                </a:cxnLst>
                <a:rect l="l" t="t" r="r" b="b"/>
                <a:pathLst>
                  <a:path w="197005" h="12559">
                    <a:moveTo>
                      <a:pt x="196886" y="0"/>
                    </a:moveTo>
                    <a:lnTo>
                      <a:pt x="197005" y="3050"/>
                    </a:lnTo>
                    <a:lnTo>
                      <a:pt x="180" y="12559"/>
                    </a:lnTo>
                    <a:lnTo>
                      <a:pt x="0" y="9509"/>
                    </a:lnTo>
                    <a:close/>
                  </a:path>
                </a:pathLst>
              </a:custGeom>
              <a:grpFill/>
              <a:ln w="5978" cap="flat">
                <a:noFill/>
                <a:prstDash val="solid"/>
                <a:miter/>
              </a:ln>
            </p:spPr>
            <p:txBody>
              <a:bodyPr rtlCol="0" anchor="ctr"/>
              <a:lstStyle/>
              <a:p>
                <a:endParaRPr lang="en-GB"/>
              </a:p>
            </p:txBody>
          </p:sp>
          <p:sp>
            <p:nvSpPr>
              <p:cNvPr id="4846" name="Vrije vorm: vorm 4845">
                <a:extLst>
                  <a:ext uri="{FF2B5EF4-FFF2-40B4-BE49-F238E27FC236}">
                    <a16:creationId xmlns:a16="http://schemas.microsoft.com/office/drawing/2014/main" id="{1729D869-C956-4D63-9B0C-9C0E5055B24F}"/>
                  </a:ext>
                </a:extLst>
              </p:cNvPr>
              <p:cNvSpPr/>
              <p:nvPr/>
            </p:nvSpPr>
            <p:spPr>
              <a:xfrm>
                <a:off x="7933975" y="3316699"/>
                <a:ext cx="18321" cy="18381"/>
              </a:xfrm>
              <a:custGeom>
                <a:avLst/>
                <a:gdLst>
                  <a:gd name="connsiteX0" fmla="*/ 8682 w 18321"/>
                  <a:gd name="connsiteY0" fmla="*/ 10 h 18381"/>
                  <a:gd name="connsiteX1" fmla="*/ 18311 w 18321"/>
                  <a:gd name="connsiteY1" fmla="*/ 8742 h 18381"/>
                  <a:gd name="connsiteX2" fmla="*/ 9639 w 18321"/>
                  <a:gd name="connsiteY2" fmla="*/ 18371 h 18381"/>
                  <a:gd name="connsiteX3" fmla="*/ 10 w 18321"/>
                  <a:gd name="connsiteY3" fmla="*/ 9639 h 18381"/>
                  <a:gd name="connsiteX4" fmla="*/ 8682 w 18321"/>
                  <a:gd name="connsiteY4" fmla="*/ 10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8682" y="10"/>
                    </a:moveTo>
                    <a:cubicBezTo>
                      <a:pt x="13766" y="-229"/>
                      <a:pt x="18072" y="3659"/>
                      <a:pt x="18311" y="8742"/>
                    </a:cubicBezTo>
                    <a:cubicBezTo>
                      <a:pt x="18551" y="13826"/>
                      <a:pt x="14663" y="18132"/>
                      <a:pt x="9639" y="18371"/>
                    </a:cubicBezTo>
                    <a:cubicBezTo>
                      <a:pt x="4616" y="18610"/>
                      <a:pt x="250" y="14723"/>
                      <a:pt x="10" y="9639"/>
                    </a:cubicBezTo>
                    <a:cubicBezTo>
                      <a:pt x="-229" y="4556"/>
                      <a:pt x="3659" y="250"/>
                      <a:pt x="8682" y="10"/>
                    </a:cubicBezTo>
                    <a:close/>
                  </a:path>
                </a:pathLst>
              </a:custGeom>
              <a:grpFill/>
              <a:ln w="5978" cap="flat">
                <a:noFill/>
                <a:prstDash val="solid"/>
                <a:miter/>
              </a:ln>
            </p:spPr>
            <p:txBody>
              <a:bodyPr rtlCol="0" anchor="ctr"/>
              <a:lstStyle/>
              <a:p>
                <a:endParaRPr lang="en-GB"/>
              </a:p>
            </p:txBody>
          </p:sp>
          <p:sp>
            <p:nvSpPr>
              <p:cNvPr id="4847" name="Vrije vorm: vorm 4846">
                <a:extLst>
                  <a:ext uri="{FF2B5EF4-FFF2-40B4-BE49-F238E27FC236}">
                    <a16:creationId xmlns:a16="http://schemas.microsoft.com/office/drawing/2014/main" id="{B9B29AAB-831C-4292-B0B4-684DCBF5805B}"/>
                  </a:ext>
                </a:extLst>
              </p:cNvPr>
              <p:cNvSpPr/>
              <p:nvPr/>
            </p:nvSpPr>
            <p:spPr>
              <a:xfrm>
                <a:off x="7738046" y="3326148"/>
                <a:ext cx="18321" cy="18441"/>
              </a:xfrm>
              <a:custGeom>
                <a:avLst/>
                <a:gdLst>
                  <a:gd name="connsiteX0" fmla="*/ 8682 w 18321"/>
                  <a:gd name="connsiteY0" fmla="*/ 10 h 18441"/>
                  <a:gd name="connsiteX1" fmla="*/ 11 w 18321"/>
                  <a:gd name="connsiteY1" fmla="*/ 9639 h 18441"/>
                  <a:gd name="connsiteX2" fmla="*/ 9640 w 18321"/>
                  <a:gd name="connsiteY2" fmla="*/ 18431 h 18441"/>
                  <a:gd name="connsiteX3" fmla="*/ 18311 w 18321"/>
                  <a:gd name="connsiteY3" fmla="*/ 8802 h 18441"/>
                  <a:gd name="connsiteX4" fmla="*/ 8682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8682" y="10"/>
                    </a:moveTo>
                    <a:cubicBezTo>
                      <a:pt x="3599" y="250"/>
                      <a:pt x="-229" y="4556"/>
                      <a:pt x="11" y="9639"/>
                    </a:cubicBezTo>
                    <a:cubicBezTo>
                      <a:pt x="250" y="14723"/>
                      <a:pt x="4556" y="18670"/>
                      <a:pt x="9640" y="18431"/>
                    </a:cubicBezTo>
                    <a:cubicBezTo>
                      <a:pt x="14723" y="18192"/>
                      <a:pt x="18551" y="13886"/>
                      <a:pt x="18311" y="8802"/>
                    </a:cubicBezTo>
                    <a:cubicBezTo>
                      <a:pt x="18073" y="3718"/>
                      <a:pt x="13767" y="-229"/>
                      <a:pt x="8682" y="10"/>
                    </a:cubicBezTo>
                    <a:close/>
                  </a:path>
                </a:pathLst>
              </a:custGeom>
              <a:grpFill/>
              <a:ln w="5978" cap="flat">
                <a:noFill/>
                <a:prstDash val="solid"/>
                <a:miter/>
              </a:ln>
            </p:spPr>
            <p:txBody>
              <a:bodyPr rtlCol="0" anchor="ctr"/>
              <a:lstStyle/>
              <a:p>
                <a:endParaRPr lang="en-GB"/>
              </a:p>
            </p:txBody>
          </p:sp>
        </p:grpSp>
        <p:grpSp>
          <p:nvGrpSpPr>
            <p:cNvPr id="179" name="Graphic 3">
              <a:extLst>
                <a:ext uri="{FF2B5EF4-FFF2-40B4-BE49-F238E27FC236}">
                  <a16:creationId xmlns:a16="http://schemas.microsoft.com/office/drawing/2014/main" id="{174286EE-C99B-40FC-A0D9-46FD3FCBC7C3}"/>
                </a:ext>
              </a:extLst>
            </p:cNvPr>
            <p:cNvGrpSpPr/>
            <p:nvPr/>
          </p:nvGrpSpPr>
          <p:grpSpPr>
            <a:xfrm>
              <a:off x="7104085" y="1601491"/>
              <a:ext cx="473584" cy="514176"/>
              <a:chOff x="7104085" y="1601491"/>
              <a:chExt cx="473584" cy="514176"/>
            </a:xfrm>
            <a:grpFill/>
          </p:grpSpPr>
          <p:sp>
            <p:nvSpPr>
              <p:cNvPr id="4842" name="Vrije vorm: vorm 4841">
                <a:extLst>
                  <a:ext uri="{FF2B5EF4-FFF2-40B4-BE49-F238E27FC236}">
                    <a16:creationId xmlns:a16="http://schemas.microsoft.com/office/drawing/2014/main" id="{77AF7B81-E3BA-4F45-A037-85949EDC2636}"/>
                  </a:ext>
                </a:extLst>
              </p:cNvPr>
              <p:cNvSpPr/>
              <p:nvPr/>
            </p:nvSpPr>
            <p:spPr>
              <a:xfrm>
                <a:off x="7111816" y="1609333"/>
                <a:ext cx="458123" cy="498493"/>
              </a:xfrm>
              <a:custGeom>
                <a:avLst/>
                <a:gdLst>
                  <a:gd name="connsiteX0" fmla="*/ 458123 w 458123"/>
                  <a:gd name="connsiteY0" fmla="*/ 2093 h 498493"/>
                  <a:gd name="connsiteX1" fmla="*/ 2213 w 458123"/>
                  <a:gd name="connsiteY1" fmla="*/ 498493 h 498493"/>
                  <a:gd name="connsiteX2" fmla="*/ 0 w 458123"/>
                  <a:gd name="connsiteY2" fmla="*/ 496400 h 498493"/>
                  <a:gd name="connsiteX3" fmla="*/ 455850 w 458123"/>
                  <a:gd name="connsiteY3" fmla="*/ 0 h 498493"/>
                </a:gdLst>
                <a:ahLst/>
                <a:cxnLst>
                  <a:cxn ang="0">
                    <a:pos x="connsiteX0" y="connsiteY0"/>
                  </a:cxn>
                  <a:cxn ang="0">
                    <a:pos x="connsiteX1" y="connsiteY1"/>
                  </a:cxn>
                  <a:cxn ang="0">
                    <a:pos x="connsiteX2" y="connsiteY2"/>
                  </a:cxn>
                  <a:cxn ang="0">
                    <a:pos x="connsiteX3" y="connsiteY3"/>
                  </a:cxn>
                </a:cxnLst>
                <a:rect l="l" t="t" r="r" b="b"/>
                <a:pathLst>
                  <a:path w="458123" h="498493">
                    <a:moveTo>
                      <a:pt x="458123" y="2093"/>
                    </a:moveTo>
                    <a:lnTo>
                      <a:pt x="2213" y="498493"/>
                    </a:lnTo>
                    <a:lnTo>
                      <a:pt x="0" y="496400"/>
                    </a:lnTo>
                    <a:lnTo>
                      <a:pt x="455850" y="0"/>
                    </a:lnTo>
                    <a:close/>
                  </a:path>
                </a:pathLst>
              </a:custGeom>
              <a:grpFill/>
              <a:ln w="5978" cap="flat">
                <a:noFill/>
                <a:prstDash val="solid"/>
                <a:miter/>
              </a:ln>
            </p:spPr>
            <p:txBody>
              <a:bodyPr rtlCol="0" anchor="ctr"/>
              <a:lstStyle/>
              <a:p>
                <a:endParaRPr lang="en-GB"/>
              </a:p>
            </p:txBody>
          </p:sp>
          <p:sp>
            <p:nvSpPr>
              <p:cNvPr id="4843" name="Vrije vorm: vorm 4842">
                <a:extLst>
                  <a:ext uri="{FF2B5EF4-FFF2-40B4-BE49-F238E27FC236}">
                    <a16:creationId xmlns:a16="http://schemas.microsoft.com/office/drawing/2014/main" id="{A50A85A8-75E6-4AE6-A709-7D973AC234FF}"/>
                  </a:ext>
                </a:extLst>
              </p:cNvPr>
              <p:cNvSpPr/>
              <p:nvPr/>
            </p:nvSpPr>
            <p:spPr>
              <a:xfrm>
                <a:off x="7104085" y="2097233"/>
                <a:ext cx="18331" cy="18434"/>
              </a:xfrm>
              <a:custGeom>
                <a:avLst/>
                <a:gdLst>
                  <a:gd name="connsiteX0" fmla="*/ 15924 w 18331"/>
                  <a:gd name="connsiteY0" fmla="*/ 15497 h 18434"/>
                  <a:gd name="connsiteX1" fmla="*/ 2946 w 18331"/>
                  <a:gd name="connsiteY1" fmla="*/ 15975 h 18434"/>
                  <a:gd name="connsiteX2" fmla="*/ 2408 w 18331"/>
                  <a:gd name="connsiteY2" fmla="*/ 2937 h 18434"/>
                  <a:gd name="connsiteX3" fmla="*/ 15386 w 18331"/>
                  <a:gd name="connsiteY3" fmla="*/ 2459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2515" y="19205"/>
                      <a:pt x="6714" y="19444"/>
                      <a:pt x="2946" y="15975"/>
                    </a:cubicBezTo>
                    <a:cubicBezTo>
                      <a:pt x="-762" y="12506"/>
                      <a:pt x="-1001" y="6705"/>
                      <a:pt x="2408" y="2937"/>
                    </a:cubicBezTo>
                    <a:cubicBezTo>
                      <a:pt x="5817" y="-771"/>
                      <a:pt x="11618" y="-1010"/>
                      <a:pt x="15386" y="2459"/>
                    </a:cubicBezTo>
                    <a:cubicBezTo>
                      <a:pt x="19094" y="5928"/>
                      <a:pt x="19333" y="11789"/>
                      <a:pt x="15924" y="15497"/>
                    </a:cubicBezTo>
                    <a:close/>
                  </a:path>
                </a:pathLst>
              </a:custGeom>
              <a:grpFill/>
              <a:ln w="5978" cap="flat">
                <a:noFill/>
                <a:prstDash val="solid"/>
                <a:miter/>
              </a:ln>
            </p:spPr>
            <p:txBody>
              <a:bodyPr rtlCol="0" anchor="ctr"/>
              <a:lstStyle/>
              <a:p>
                <a:endParaRPr lang="en-GB"/>
              </a:p>
            </p:txBody>
          </p:sp>
          <p:sp>
            <p:nvSpPr>
              <p:cNvPr id="4844" name="Vrije vorm: vorm 4843">
                <a:extLst>
                  <a:ext uri="{FF2B5EF4-FFF2-40B4-BE49-F238E27FC236}">
                    <a16:creationId xmlns:a16="http://schemas.microsoft.com/office/drawing/2014/main" id="{41DAE1D8-E287-4201-84D6-FA8C9F2FCD5D}"/>
                  </a:ext>
                </a:extLst>
              </p:cNvPr>
              <p:cNvSpPr/>
              <p:nvPr/>
            </p:nvSpPr>
            <p:spPr>
              <a:xfrm>
                <a:off x="7559338" y="1601491"/>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7" y="-771"/>
                      <a:pt x="2408" y="2937"/>
                    </a:cubicBezTo>
                    <a:cubicBezTo>
                      <a:pt x="-1001" y="6645"/>
                      <a:pt x="-762" y="12506"/>
                      <a:pt x="2946" y="15975"/>
                    </a:cubicBezTo>
                    <a:cubicBezTo>
                      <a:pt x="6714" y="19444"/>
                      <a:pt x="12515" y="19205"/>
                      <a:pt x="15924" y="15497"/>
                    </a:cubicBezTo>
                    <a:close/>
                  </a:path>
                </a:pathLst>
              </a:custGeom>
              <a:grpFill/>
              <a:ln w="5978" cap="flat">
                <a:noFill/>
                <a:prstDash val="solid"/>
                <a:miter/>
              </a:ln>
            </p:spPr>
            <p:txBody>
              <a:bodyPr rtlCol="0" anchor="ctr"/>
              <a:lstStyle/>
              <a:p>
                <a:endParaRPr lang="en-GB"/>
              </a:p>
            </p:txBody>
          </p:sp>
        </p:grpSp>
        <p:grpSp>
          <p:nvGrpSpPr>
            <p:cNvPr id="180" name="Graphic 3">
              <a:extLst>
                <a:ext uri="{FF2B5EF4-FFF2-40B4-BE49-F238E27FC236}">
                  <a16:creationId xmlns:a16="http://schemas.microsoft.com/office/drawing/2014/main" id="{1274F32B-B1B4-4468-A43B-F5D9CFFFF94B}"/>
                </a:ext>
              </a:extLst>
            </p:cNvPr>
            <p:cNvGrpSpPr/>
            <p:nvPr/>
          </p:nvGrpSpPr>
          <p:grpSpPr>
            <a:xfrm>
              <a:off x="7677815" y="2967563"/>
              <a:ext cx="78378" cy="34069"/>
              <a:chOff x="7677815" y="2967563"/>
              <a:chExt cx="78378" cy="34069"/>
            </a:xfrm>
            <a:grpFill/>
          </p:grpSpPr>
          <p:sp>
            <p:nvSpPr>
              <p:cNvPr id="4839" name="Vrije vorm: vorm 4838">
                <a:extLst>
                  <a:ext uri="{FF2B5EF4-FFF2-40B4-BE49-F238E27FC236}">
                    <a16:creationId xmlns:a16="http://schemas.microsoft.com/office/drawing/2014/main" id="{DC982B46-24EC-4DC2-8B81-5B8D5BE31DE3}"/>
                  </a:ext>
                </a:extLst>
              </p:cNvPr>
              <p:cNvSpPr/>
              <p:nvPr/>
            </p:nvSpPr>
            <p:spPr>
              <a:xfrm>
                <a:off x="7686095" y="2975423"/>
                <a:ext cx="61711" cy="18828"/>
              </a:xfrm>
              <a:custGeom>
                <a:avLst/>
                <a:gdLst>
                  <a:gd name="connsiteX0" fmla="*/ 0 w 61711"/>
                  <a:gd name="connsiteY0" fmla="*/ 15877 h 18828"/>
                  <a:gd name="connsiteX1" fmla="*/ 60943 w 61711"/>
                  <a:gd name="connsiteY1" fmla="*/ 0 h 18828"/>
                  <a:gd name="connsiteX2" fmla="*/ 61712 w 61711"/>
                  <a:gd name="connsiteY2" fmla="*/ 2952 h 18828"/>
                  <a:gd name="connsiteX3" fmla="*/ 769 w 61711"/>
                  <a:gd name="connsiteY3" fmla="*/ 18828 h 18828"/>
                </a:gdLst>
                <a:ahLst/>
                <a:cxnLst>
                  <a:cxn ang="0">
                    <a:pos x="connsiteX0" y="connsiteY0"/>
                  </a:cxn>
                  <a:cxn ang="0">
                    <a:pos x="connsiteX1" y="connsiteY1"/>
                  </a:cxn>
                  <a:cxn ang="0">
                    <a:pos x="connsiteX2" y="connsiteY2"/>
                  </a:cxn>
                  <a:cxn ang="0">
                    <a:pos x="connsiteX3" y="connsiteY3"/>
                  </a:cxn>
                </a:cxnLst>
                <a:rect l="l" t="t" r="r" b="b"/>
                <a:pathLst>
                  <a:path w="61711" h="18828">
                    <a:moveTo>
                      <a:pt x="0" y="15877"/>
                    </a:moveTo>
                    <a:lnTo>
                      <a:pt x="60943" y="0"/>
                    </a:lnTo>
                    <a:lnTo>
                      <a:pt x="61712" y="2952"/>
                    </a:lnTo>
                    <a:lnTo>
                      <a:pt x="769" y="18828"/>
                    </a:lnTo>
                    <a:close/>
                  </a:path>
                </a:pathLst>
              </a:custGeom>
              <a:grpFill/>
              <a:ln w="5978" cap="flat">
                <a:noFill/>
                <a:prstDash val="solid"/>
                <a:miter/>
              </a:ln>
            </p:spPr>
            <p:txBody>
              <a:bodyPr rtlCol="0" anchor="ctr"/>
              <a:lstStyle/>
              <a:p>
                <a:endParaRPr lang="en-GB"/>
              </a:p>
            </p:txBody>
          </p:sp>
          <p:sp>
            <p:nvSpPr>
              <p:cNvPr id="4840" name="Vrije vorm: vorm 4839">
                <a:extLst>
                  <a:ext uri="{FF2B5EF4-FFF2-40B4-BE49-F238E27FC236}">
                    <a16:creationId xmlns:a16="http://schemas.microsoft.com/office/drawing/2014/main" id="{E3F281A7-4154-49D8-89D5-9A50391562E8}"/>
                  </a:ext>
                </a:extLst>
              </p:cNvPr>
              <p:cNvSpPr/>
              <p:nvPr/>
            </p:nvSpPr>
            <p:spPr>
              <a:xfrm>
                <a:off x="7737886" y="2967563"/>
                <a:ext cx="18308" cy="18483"/>
              </a:xfrm>
              <a:custGeom>
                <a:avLst/>
                <a:gdLst>
                  <a:gd name="connsiteX0" fmla="*/ 6810 w 18308"/>
                  <a:gd name="connsiteY0" fmla="*/ 290 h 18483"/>
                  <a:gd name="connsiteX1" fmla="*/ 17994 w 18308"/>
                  <a:gd name="connsiteY1" fmla="*/ 6929 h 18483"/>
                  <a:gd name="connsiteX2" fmla="*/ 11475 w 18308"/>
                  <a:gd name="connsiteY2" fmla="*/ 18173 h 18483"/>
                  <a:gd name="connsiteX3" fmla="*/ 291 w 18308"/>
                  <a:gd name="connsiteY3" fmla="*/ 11534 h 18483"/>
                  <a:gd name="connsiteX4" fmla="*/ 6810 w 18308"/>
                  <a:gd name="connsiteY4" fmla="*/ 290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83">
                    <a:moveTo>
                      <a:pt x="6810" y="290"/>
                    </a:moveTo>
                    <a:cubicBezTo>
                      <a:pt x="11714" y="-966"/>
                      <a:pt x="16738" y="1965"/>
                      <a:pt x="17994" y="6929"/>
                    </a:cubicBezTo>
                    <a:cubicBezTo>
                      <a:pt x="19309" y="11833"/>
                      <a:pt x="16379" y="16857"/>
                      <a:pt x="11475" y="18173"/>
                    </a:cubicBezTo>
                    <a:cubicBezTo>
                      <a:pt x="6570" y="19488"/>
                      <a:pt x="1547" y="16498"/>
                      <a:pt x="291" y="11534"/>
                    </a:cubicBezTo>
                    <a:cubicBezTo>
                      <a:pt x="-966" y="6570"/>
                      <a:pt x="1966" y="1546"/>
                      <a:pt x="6810" y="290"/>
                    </a:cubicBezTo>
                    <a:close/>
                  </a:path>
                </a:pathLst>
              </a:custGeom>
              <a:grpFill/>
              <a:ln w="5978" cap="flat">
                <a:noFill/>
                <a:prstDash val="solid"/>
                <a:miter/>
              </a:ln>
            </p:spPr>
            <p:txBody>
              <a:bodyPr rtlCol="0" anchor="ctr"/>
              <a:lstStyle/>
              <a:p>
                <a:endParaRPr lang="en-GB"/>
              </a:p>
            </p:txBody>
          </p:sp>
          <p:sp>
            <p:nvSpPr>
              <p:cNvPr id="4841" name="Vrije vorm: vorm 4840">
                <a:extLst>
                  <a:ext uri="{FF2B5EF4-FFF2-40B4-BE49-F238E27FC236}">
                    <a16:creationId xmlns:a16="http://schemas.microsoft.com/office/drawing/2014/main" id="{20C08FBC-899B-4731-9BD0-25B80E30D5B2}"/>
                  </a:ext>
                </a:extLst>
              </p:cNvPr>
              <p:cNvSpPr/>
              <p:nvPr/>
            </p:nvSpPr>
            <p:spPr>
              <a:xfrm>
                <a:off x="7677815" y="2983173"/>
                <a:ext cx="18332" cy="18459"/>
              </a:xfrm>
              <a:custGeom>
                <a:avLst/>
                <a:gdLst>
                  <a:gd name="connsiteX0" fmla="*/ 6834 w 18332"/>
                  <a:gd name="connsiteY0" fmla="*/ 290 h 18459"/>
                  <a:gd name="connsiteX1" fmla="*/ 315 w 18332"/>
                  <a:gd name="connsiteY1" fmla="*/ 11534 h 18459"/>
                  <a:gd name="connsiteX2" fmla="*/ 11499 w 18332"/>
                  <a:gd name="connsiteY2" fmla="*/ 18173 h 18459"/>
                  <a:gd name="connsiteX3" fmla="*/ 18017 w 18332"/>
                  <a:gd name="connsiteY3" fmla="*/ 6929 h 18459"/>
                  <a:gd name="connsiteX4" fmla="*/ 6834 w 18332"/>
                  <a:gd name="connsiteY4" fmla="*/ 290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9">
                    <a:moveTo>
                      <a:pt x="6834" y="290"/>
                    </a:moveTo>
                    <a:cubicBezTo>
                      <a:pt x="1930" y="1546"/>
                      <a:pt x="-1001" y="6570"/>
                      <a:pt x="315" y="11534"/>
                    </a:cubicBezTo>
                    <a:cubicBezTo>
                      <a:pt x="1570" y="16438"/>
                      <a:pt x="6595" y="19429"/>
                      <a:pt x="11499" y="18173"/>
                    </a:cubicBezTo>
                    <a:cubicBezTo>
                      <a:pt x="16403" y="16917"/>
                      <a:pt x="19334" y="11893"/>
                      <a:pt x="18017" y="6929"/>
                    </a:cubicBezTo>
                    <a:cubicBezTo>
                      <a:pt x="16702" y="1965"/>
                      <a:pt x="11738" y="-966"/>
                      <a:pt x="6834" y="290"/>
                    </a:cubicBezTo>
                    <a:close/>
                  </a:path>
                </a:pathLst>
              </a:custGeom>
              <a:grpFill/>
              <a:ln w="5978" cap="flat">
                <a:noFill/>
                <a:prstDash val="solid"/>
                <a:miter/>
              </a:ln>
            </p:spPr>
            <p:txBody>
              <a:bodyPr rtlCol="0" anchor="ctr"/>
              <a:lstStyle/>
              <a:p>
                <a:endParaRPr lang="en-GB"/>
              </a:p>
            </p:txBody>
          </p:sp>
        </p:grpSp>
        <p:grpSp>
          <p:nvGrpSpPr>
            <p:cNvPr id="181" name="Graphic 3">
              <a:extLst>
                <a:ext uri="{FF2B5EF4-FFF2-40B4-BE49-F238E27FC236}">
                  <a16:creationId xmlns:a16="http://schemas.microsoft.com/office/drawing/2014/main" id="{B27E7A0C-D3C8-4286-B458-9CAA722BE5CE}"/>
                </a:ext>
              </a:extLst>
            </p:cNvPr>
            <p:cNvGrpSpPr/>
            <p:nvPr/>
          </p:nvGrpSpPr>
          <p:grpSpPr>
            <a:xfrm>
              <a:off x="7534393" y="2584841"/>
              <a:ext cx="111580" cy="66949"/>
              <a:chOff x="7534393" y="2584841"/>
              <a:chExt cx="111580" cy="66949"/>
            </a:xfrm>
            <a:grpFill/>
          </p:grpSpPr>
          <p:sp>
            <p:nvSpPr>
              <p:cNvPr id="4836" name="Vrije vorm: vorm 4835">
                <a:extLst>
                  <a:ext uri="{FF2B5EF4-FFF2-40B4-BE49-F238E27FC236}">
                    <a16:creationId xmlns:a16="http://schemas.microsoft.com/office/drawing/2014/main" id="{8DFD8C76-258C-433A-9E49-9E26DEDDE30A}"/>
                  </a:ext>
                </a:extLst>
              </p:cNvPr>
              <p:cNvSpPr/>
              <p:nvPr/>
            </p:nvSpPr>
            <p:spPr>
              <a:xfrm>
                <a:off x="7542428" y="2592503"/>
                <a:ext cx="95452" cy="51673"/>
              </a:xfrm>
              <a:custGeom>
                <a:avLst/>
                <a:gdLst>
                  <a:gd name="connsiteX0" fmla="*/ 95452 w 95452"/>
                  <a:gd name="connsiteY0" fmla="*/ 2691 h 51673"/>
                  <a:gd name="connsiteX1" fmla="*/ 1435 w 95452"/>
                  <a:gd name="connsiteY1" fmla="*/ 51674 h 51673"/>
                  <a:gd name="connsiteX2" fmla="*/ 0 w 95452"/>
                  <a:gd name="connsiteY2" fmla="*/ 48922 h 51673"/>
                  <a:gd name="connsiteX3" fmla="*/ 94017 w 95452"/>
                  <a:gd name="connsiteY3" fmla="*/ 0 h 51673"/>
                </a:gdLst>
                <a:ahLst/>
                <a:cxnLst>
                  <a:cxn ang="0">
                    <a:pos x="connsiteX0" y="connsiteY0"/>
                  </a:cxn>
                  <a:cxn ang="0">
                    <a:pos x="connsiteX1" y="connsiteY1"/>
                  </a:cxn>
                  <a:cxn ang="0">
                    <a:pos x="connsiteX2" y="connsiteY2"/>
                  </a:cxn>
                  <a:cxn ang="0">
                    <a:pos x="connsiteX3" y="connsiteY3"/>
                  </a:cxn>
                </a:cxnLst>
                <a:rect l="l" t="t" r="r" b="b"/>
                <a:pathLst>
                  <a:path w="95452" h="51673">
                    <a:moveTo>
                      <a:pt x="95452" y="2691"/>
                    </a:moveTo>
                    <a:lnTo>
                      <a:pt x="1435" y="51674"/>
                    </a:lnTo>
                    <a:lnTo>
                      <a:pt x="0" y="48922"/>
                    </a:lnTo>
                    <a:lnTo>
                      <a:pt x="94017" y="0"/>
                    </a:lnTo>
                    <a:close/>
                  </a:path>
                </a:pathLst>
              </a:custGeom>
              <a:grpFill/>
              <a:ln w="5978" cap="flat">
                <a:noFill/>
                <a:prstDash val="solid"/>
                <a:miter/>
              </a:ln>
            </p:spPr>
            <p:txBody>
              <a:bodyPr rtlCol="0" anchor="ctr"/>
              <a:lstStyle/>
              <a:p>
                <a:endParaRPr lang="en-GB"/>
              </a:p>
            </p:txBody>
          </p:sp>
          <p:sp>
            <p:nvSpPr>
              <p:cNvPr id="4837" name="Vrije vorm: vorm 4836">
                <a:extLst>
                  <a:ext uri="{FF2B5EF4-FFF2-40B4-BE49-F238E27FC236}">
                    <a16:creationId xmlns:a16="http://schemas.microsoft.com/office/drawing/2014/main" id="{12F90899-29AB-4605-8676-9CF03C8630E4}"/>
                  </a:ext>
                </a:extLst>
              </p:cNvPr>
              <p:cNvSpPr/>
              <p:nvPr/>
            </p:nvSpPr>
            <p:spPr>
              <a:xfrm>
                <a:off x="7627606" y="2584841"/>
                <a:ext cx="18367" cy="18434"/>
              </a:xfrm>
              <a:custGeom>
                <a:avLst/>
                <a:gdLst>
                  <a:gd name="connsiteX0" fmla="*/ 4951 w 18367"/>
                  <a:gd name="connsiteY0" fmla="*/ 1024 h 18434"/>
                  <a:gd name="connsiteX1" fmla="*/ 17331 w 18367"/>
                  <a:gd name="connsiteY1" fmla="*/ 4971 h 18434"/>
                  <a:gd name="connsiteX2" fmla="*/ 13444 w 18367"/>
                  <a:gd name="connsiteY2" fmla="*/ 17411 h 18434"/>
                  <a:gd name="connsiteX3" fmla="*/ 1063 w 18367"/>
                  <a:gd name="connsiteY3" fmla="*/ 13464 h 18434"/>
                  <a:gd name="connsiteX4" fmla="*/ 4951 w 18367"/>
                  <a:gd name="connsiteY4" fmla="*/ 102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34">
                    <a:moveTo>
                      <a:pt x="4951" y="1024"/>
                    </a:moveTo>
                    <a:cubicBezTo>
                      <a:pt x="9436" y="-1309"/>
                      <a:pt x="14999" y="486"/>
                      <a:pt x="17331" y="4971"/>
                    </a:cubicBezTo>
                    <a:cubicBezTo>
                      <a:pt x="19663" y="9517"/>
                      <a:pt x="17929" y="15079"/>
                      <a:pt x="13444" y="17411"/>
                    </a:cubicBezTo>
                    <a:cubicBezTo>
                      <a:pt x="8958" y="19744"/>
                      <a:pt x="3396" y="17949"/>
                      <a:pt x="1063" y="13464"/>
                    </a:cubicBezTo>
                    <a:cubicBezTo>
                      <a:pt x="-1329" y="8918"/>
                      <a:pt x="465" y="3356"/>
                      <a:pt x="4951" y="1024"/>
                    </a:cubicBezTo>
                    <a:close/>
                  </a:path>
                </a:pathLst>
              </a:custGeom>
              <a:grpFill/>
              <a:ln w="5978" cap="flat">
                <a:noFill/>
                <a:prstDash val="solid"/>
                <a:miter/>
              </a:ln>
            </p:spPr>
            <p:txBody>
              <a:bodyPr rtlCol="0" anchor="ctr"/>
              <a:lstStyle/>
              <a:p>
                <a:endParaRPr lang="en-GB"/>
              </a:p>
            </p:txBody>
          </p:sp>
          <p:sp>
            <p:nvSpPr>
              <p:cNvPr id="4838" name="Vrije vorm: vorm 4837">
                <a:extLst>
                  <a:ext uri="{FF2B5EF4-FFF2-40B4-BE49-F238E27FC236}">
                    <a16:creationId xmlns:a16="http://schemas.microsoft.com/office/drawing/2014/main" id="{606101C0-13DB-46B0-8D91-0850F88D36B6}"/>
                  </a:ext>
                </a:extLst>
              </p:cNvPr>
              <p:cNvSpPr/>
              <p:nvPr/>
            </p:nvSpPr>
            <p:spPr>
              <a:xfrm>
                <a:off x="7534393" y="2633345"/>
                <a:ext cx="18340" cy="18446"/>
              </a:xfrm>
              <a:custGeom>
                <a:avLst/>
                <a:gdLst>
                  <a:gd name="connsiteX0" fmla="*/ 4924 w 18340"/>
                  <a:gd name="connsiteY0" fmla="*/ 1024 h 18446"/>
                  <a:gd name="connsiteX1" fmla="*/ 1037 w 18340"/>
                  <a:gd name="connsiteY1" fmla="*/ 13464 h 18446"/>
                  <a:gd name="connsiteX2" fmla="*/ 13417 w 18340"/>
                  <a:gd name="connsiteY2" fmla="*/ 17411 h 18446"/>
                  <a:gd name="connsiteX3" fmla="*/ 17304 w 18340"/>
                  <a:gd name="connsiteY3" fmla="*/ 4971 h 18446"/>
                  <a:gd name="connsiteX4" fmla="*/ 4924 w 18340"/>
                  <a:gd name="connsiteY4" fmla="*/ 1024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6">
                    <a:moveTo>
                      <a:pt x="4924" y="1024"/>
                    </a:moveTo>
                    <a:cubicBezTo>
                      <a:pt x="439" y="3356"/>
                      <a:pt x="-1296" y="8918"/>
                      <a:pt x="1037" y="13464"/>
                    </a:cubicBezTo>
                    <a:cubicBezTo>
                      <a:pt x="3369" y="18009"/>
                      <a:pt x="8931" y="19743"/>
                      <a:pt x="13417" y="17411"/>
                    </a:cubicBezTo>
                    <a:cubicBezTo>
                      <a:pt x="17902" y="15079"/>
                      <a:pt x="19637" y="9516"/>
                      <a:pt x="17304" y="4971"/>
                    </a:cubicBezTo>
                    <a:cubicBezTo>
                      <a:pt x="14972" y="486"/>
                      <a:pt x="9410" y="-1309"/>
                      <a:pt x="4924" y="1024"/>
                    </a:cubicBezTo>
                    <a:close/>
                  </a:path>
                </a:pathLst>
              </a:custGeom>
              <a:grpFill/>
              <a:ln w="5978" cap="flat">
                <a:noFill/>
                <a:prstDash val="solid"/>
                <a:miter/>
              </a:ln>
            </p:spPr>
            <p:txBody>
              <a:bodyPr rtlCol="0" anchor="ctr"/>
              <a:lstStyle/>
              <a:p>
                <a:endParaRPr lang="en-GB"/>
              </a:p>
            </p:txBody>
          </p:sp>
        </p:grpSp>
        <p:grpSp>
          <p:nvGrpSpPr>
            <p:cNvPr id="182" name="Graphic 3">
              <a:extLst>
                <a:ext uri="{FF2B5EF4-FFF2-40B4-BE49-F238E27FC236}">
                  <a16:creationId xmlns:a16="http://schemas.microsoft.com/office/drawing/2014/main" id="{1A5D565C-DF02-48B1-9F2E-31BEFBC248D2}"/>
                </a:ext>
              </a:extLst>
            </p:cNvPr>
            <p:cNvGrpSpPr/>
            <p:nvPr/>
          </p:nvGrpSpPr>
          <p:grpSpPr>
            <a:xfrm>
              <a:off x="7719730" y="3547896"/>
              <a:ext cx="385748" cy="85878"/>
              <a:chOff x="7719730" y="3547896"/>
              <a:chExt cx="385748" cy="85878"/>
            </a:xfrm>
            <a:grpFill/>
          </p:grpSpPr>
          <p:sp>
            <p:nvSpPr>
              <p:cNvPr id="4833" name="Vrije vorm: vorm 4832">
                <a:extLst>
                  <a:ext uri="{FF2B5EF4-FFF2-40B4-BE49-F238E27FC236}">
                    <a16:creationId xmlns:a16="http://schemas.microsoft.com/office/drawing/2014/main" id="{0856A85B-3F2C-4D8F-94A7-5205EF5C916E}"/>
                  </a:ext>
                </a:extLst>
              </p:cNvPr>
              <p:cNvSpPr/>
              <p:nvPr/>
            </p:nvSpPr>
            <p:spPr>
              <a:xfrm>
                <a:off x="7728189" y="3555519"/>
                <a:ext cx="368831" cy="70632"/>
              </a:xfrm>
              <a:custGeom>
                <a:avLst/>
                <a:gdLst>
                  <a:gd name="connsiteX0" fmla="*/ 368831 w 368831"/>
                  <a:gd name="connsiteY0" fmla="*/ 67642 h 70632"/>
                  <a:gd name="connsiteX1" fmla="*/ 368293 w 368831"/>
                  <a:gd name="connsiteY1" fmla="*/ 70632 h 70632"/>
                  <a:gd name="connsiteX2" fmla="*/ 0 w 368831"/>
                  <a:gd name="connsiteY2" fmla="*/ 2990 h 70632"/>
                  <a:gd name="connsiteX3" fmla="*/ 538 w 368831"/>
                  <a:gd name="connsiteY3" fmla="*/ 0 h 70632"/>
                </a:gdLst>
                <a:ahLst/>
                <a:cxnLst>
                  <a:cxn ang="0">
                    <a:pos x="connsiteX0" y="connsiteY0"/>
                  </a:cxn>
                  <a:cxn ang="0">
                    <a:pos x="connsiteX1" y="connsiteY1"/>
                  </a:cxn>
                  <a:cxn ang="0">
                    <a:pos x="connsiteX2" y="connsiteY2"/>
                  </a:cxn>
                  <a:cxn ang="0">
                    <a:pos x="connsiteX3" y="connsiteY3"/>
                  </a:cxn>
                </a:cxnLst>
                <a:rect l="l" t="t" r="r" b="b"/>
                <a:pathLst>
                  <a:path w="368831" h="70632">
                    <a:moveTo>
                      <a:pt x="368831" y="67642"/>
                    </a:moveTo>
                    <a:lnTo>
                      <a:pt x="368293" y="70632"/>
                    </a:lnTo>
                    <a:lnTo>
                      <a:pt x="0" y="2990"/>
                    </a:lnTo>
                    <a:lnTo>
                      <a:pt x="538" y="0"/>
                    </a:lnTo>
                    <a:close/>
                  </a:path>
                </a:pathLst>
              </a:custGeom>
              <a:grpFill/>
              <a:ln w="5978" cap="flat">
                <a:noFill/>
                <a:prstDash val="solid"/>
                <a:miter/>
              </a:ln>
            </p:spPr>
            <p:txBody>
              <a:bodyPr rtlCol="0" anchor="ctr"/>
              <a:lstStyle/>
              <a:p>
                <a:endParaRPr lang="en-GB"/>
              </a:p>
            </p:txBody>
          </p:sp>
          <p:sp>
            <p:nvSpPr>
              <p:cNvPr id="4834" name="Vrije vorm: vorm 4833">
                <a:extLst>
                  <a:ext uri="{FF2B5EF4-FFF2-40B4-BE49-F238E27FC236}">
                    <a16:creationId xmlns:a16="http://schemas.microsoft.com/office/drawing/2014/main" id="{958869FA-4512-403A-B107-AEEBCA00FF48}"/>
                  </a:ext>
                </a:extLst>
              </p:cNvPr>
              <p:cNvSpPr/>
              <p:nvPr/>
            </p:nvSpPr>
            <p:spPr>
              <a:xfrm>
                <a:off x="7719730" y="3547896"/>
                <a:ext cx="18352" cy="18416"/>
              </a:xfrm>
              <a:custGeom>
                <a:avLst/>
                <a:gdLst>
                  <a:gd name="connsiteX0" fmla="*/ 7561 w 18352"/>
                  <a:gd name="connsiteY0" fmla="*/ 18269 h 18416"/>
                  <a:gd name="connsiteX1" fmla="*/ 145 w 18352"/>
                  <a:gd name="connsiteY1" fmla="*/ 7563 h 18416"/>
                  <a:gd name="connsiteX2" fmla="*/ 10791 w 18352"/>
                  <a:gd name="connsiteY2" fmla="*/ 147 h 18416"/>
                  <a:gd name="connsiteX3" fmla="*/ 18207 w 18352"/>
                  <a:gd name="connsiteY3" fmla="*/ 10853 h 18416"/>
                  <a:gd name="connsiteX4" fmla="*/ 7561 w 18352"/>
                  <a:gd name="connsiteY4" fmla="*/ 18269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6">
                    <a:moveTo>
                      <a:pt x="7561" y="18269"/>
                    </a:moveTo>
                    <a:cubicBezTo>
                      <a:pt x="2598" y="17372"/>
                      <a:pt x="-752" y="12527"/>
                      <a:pt x="145" y="7563"/>
                    </a:cubicBezTo>
                    <a:cubicBezTo>
                      <a:pt x="1043" y="2540"/>
                      <a:pt x="5828" y="-750"/>
                      <a:pt x="10791" y="147"/>
                    </a:cubicBezTo>
                    <a:cubicBezTo>
                      <a:pt x="15755" y="1044"/>
                      <a:pt x="19105" y="5889"/>
                      <a:pt x="18207" y="10853"/>
                    </a:cubicBezTo>
                    <a:cubicBezTo>
                      <a:pt x="17310" y="15877"/>
                      <a:pt x="12586" y="19166"/>
                      <a:pt x="7561" y="18269"/>
                    </a:cubicBezTo>
                    <a:close/>
                  </a:path>
                </a:pathLst>
              </a:custGeom>
              <a:grpFill/>
              <a:ln w="5978" cap="flat">
                <a:noFill/>
                <a:prstDash val="solid"/>
                <a:miter/>
              </a:ln>
            </p:spPr>
            <p:txBody>
              <a:bodyPr rtlCol="0" anchor="ctr"/>
              <a:lstStyle/>
              <a:p>
                <a:endParaRPr lang="en-GB"/>
              </a:p>
            </p:txBody>
          </p:sp>
          <p:sp>
            <p:nvSpPr>
              <p:cNvPr id="4835" name="Vrije vorm: vorm 4834">
                <a:extLst>
                  <a:ext uri="{FF2B5EF4-FFF2-40B4-BE49-F238E27FC236}">
                    <a16:creationId xmlns:a16="http://schemas.microsoft.com/office/drawing/2014/main" id="{51FA47F8-FD91-44AF-BE6C-AA3DBDD7AA4D}"/>
                  </a:ext>
                </a:extLst>
              </p:cNvPr>
              <p:cNvSpPr/>
              <p:nvPr/>
            </p:nvSpPr>
            <p:spPr>
              <a:xfrm>
                <a:off x="8087124" y="3615358"/>
                <a:ext cx="18354" cy="18416"/>
              </a:xfrm>
              <a:custGeom>
                <a:avLst/>
                <a:gdLst>
                  <a:gd name="connsiteX0" fmla="*/ 7563 w 18354"/>
                  <a:gd name="connsiteY0" fmla="*/ 18269 h 18416"/>
                  <a:gd name="connsiteX1" fmla="*/ 18209 w 18354"/>
                  <a:gd name="connsiteY1" fmla="*/ 10853 h 18416"/>
                  <a:gd name="connsiteX2" fmla="*/ 10793 w 18354"/>
                  <a:gd name="connsiteY2" fmla="*/ 147 h 18416"/>
                  <a:gd name="connsiteX3" fmla="*/ 147 w 18354"/>
                  <a:gd name="connsiteY3" fmla="*/ 7563 h 18416"/>
                  <a:gd name="connsiteX4" fmla="*/ 7563 w 18354"/>
                  <a:gd name="connsiteY4" fmla="*/ 18269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6">
                    <a:moveTo>
                      <a:pt x="7563" y="18269"/>
                    </a:moveTo>
                    <a:cubicBezTo>
                      <a:pt x="12527" y="19166"/>
                      <a:pt x="17312" y="15877"/>
                      <a:pt x="18209" y="10853"/>
                    </a:cubicBezTo>
                    <a:cubicBezTo>
                      <a:pt x="19106" y="5829"/>
                      <a:pt x="15757" y="1044"/>
                      <a:pt x="10793" y="147"/>
                    </a:cubicBezTo>
                    <a:cubicBezTo>
                      <a:pt x="5829" y="-750"/>
                      <a:pt x="1045" y="2540"/>
                      <a:pt x="147" y="7563"/>
                    </a:cubicBezTo>
                    <a:cubicBezTo>
                      <a:pt x="-750" y="12527"/>
                      <a:pt x="2540" y="17372"/>
                      <a:pt x="7563" y="18269"/>
                    </a:cubicBezTo>
                    <a:close/>
                  </a:path>
                </a:pathLst>
              </a:custGeom>
              <a:grpFill/>
              <a:ln w="5978" cap="flat">
                <a:noFill/>
                <a:prstDash val="solid"/>
                <a:miter/>
              </a:ln>
            </p:spPr>
            <p:txBody>
              <a:bodyPr rtlCol="0" anchor="ctr"/>
              <a:lstStyle/>
              <a:p>
                <a:endParaRPr lang="en-GB"/>
              </a:p>
            </p:txBody>
          </p:sp>
        </p:grpSp>
        <p:grpSp>
          <p:nvGrpSpPr>
            <p:cNvPr id="183" name="Graphic 3">
              <a:extLst>
                <a:ext uri="{FF2B5EF4-FFF2-40B4-BE49-F238E27FC236}">
                  <a16:creationId xmlns:a16="http://schemas.microsoft.com/office/drawing/2014/main" id="{7A088ECB-DE1B-4190-9FE3-4E70F291ECB9}"/>
                </a:ext>
              </a:extLst>
            </p:cNvPr>
            <p:cNvGrpSpPr/>
            <p:nvPr/>
          </p:nvGrpSpPr>
          <p:grpSpPr>
            <a:xfrm>
              <a:off x="7791867" y="3520097"/>
              <a:ext cx="189621" cy="29457"/>
              <a:chOff x="7791867" y="3520097"/>
              <a:chExt cx="189621" cy="29457"/>
            </a:xfrm>
            <a:grpFill/>
          </p:grpSpPr>
          <p:sp>
            <p:nvSpPr>
              <p:cNvPr id="4830" name="Vrije vorm: vorm 4829">
                <a:extLst>
                  <a:ext uri="{FF2B5EF4-FFF2-40B4-BE49-F238E27FC236}">
                    <a16:creationId xmlns:a16="http://schemas.microsoft.com/office/drawing/2014/main" id="{6DAB7166-2A83-4C04-B2FB-D59ED73D46F7}"/>
                  </a:ext>
                </a:extLst>
              </p:cNvPr>
              <p:cNvSpPr/>
              <p:nvPr/>
            </p:nvSpPr>
            <p:spPr>
              <a:xfrm>
                <a:off x="7800436" y="3527769"/>
                <a:ext cx="172423" cy="14114"/>
              </a:xfrm>
              <a:custGeom>
                <a:avLst/>
                <a:gdLst>
                  <a:gd name="connsiteX0" fmla="*/ 172424 w 172423"/>
                  <a:gd name="connsiteY0" fmla="*/ 11064 h 14114"/>
                  <a:gd name="connsiteX1" fmla="*/ 172185 w 172423"/>
                  <a:gd name="connsiteY1" fmla="*/ 14115 h 14114"/>
                  <a:gd name="connsiteX2" fmla="*/ 0 w 172423"/>
                  <a:gd name="connsiteY2" fmla="*/ 3050 h 14114"/>
                  <a:gd name="connsiteX3" fmla="*/ 179 w 172423"/>
                  <a:gd name="connsiteY3" fmla="*/ 0 h 14114"/>
                </a:gdLst>
                <a:ahLst/>
                <a:cxnLst>
                  <a:cxn ang="0">
                    <a:pos x="connsiteX0" y="connsiteY0"/>
                  </a:cxn>
                  <a:cxn ang="0">
                    <a:pos x="connsiteX1" y="connsiteY1"/>
                  </a:cxn>
                  <a:cxn ang="0">
                    <a:pos x="connsiteX2" y="connsiteY2"/>
                  </a:cxn>
                  <a:cxn ang="0">
                    <a:pos x="connsiteX3" y="connsiteY3"/>
                  </a:cxn>
                </a:cxnLst>
                <a:rect l="l" t="t" r="r" b="b"/>
                <a:pathLst>
                  <a:path w="172423" h="14114">
                    <a:moveTo>
                      <a:pt x="172424" y="11064"/>
                    </a:moveTo>
                    <a:lnTo>
                      <a:pt x="172185" y="14115"/>
                    </a:lnTo>
                    <a:lnTo>
                      <a:pt x="0" y="3050"/>
                    </a:lnTo>
                    <a:lnTo>
                      <a:pt x="179" y="0"/>
                    </a:lnTo>
                    <a:close/>
                  </a:path>
                </a:pathLst>
              </a:custGeom>
              <a:grpFill/>
              <a:ln w="5978" cap="flat">
                <a:noFill/>
                <a:prstDash val="solid"/>
                <a:miter/>
              </a:ln>
            </p:spPr>
            <p:txBody>
              <a:bodyPr rtlCol="0" anchor="ctr"/>
              <a:lstStyle/>
              <a:p>
                <a:endParaRPr lang="en-GB"/>
              </a:p>
            </p:txBody>
          </p:sp>
          <p:sp>
            <p:nvSpPr>
              <p:cNvPr id="4831" name="Vrije vorm: vorm 4830">
                <a:extLst>
                  <a:ext uri="{FF2B5EF4-FFF2-40B4-BE49-F238E27FC236}">
                    <a16:creationId xmlns:a16="http://schemas.microsoft.com/office/drawing/2014/main" id="{C45D5E8A-4BB1-4E41-AB87-C6B342BAEAFA}"/>
                  </a:ext>
                </a:extLst>
              </p:cNvPr>
              <p:cNvSpPr/>
              <p:nvPr/>
            </p:nvSpPr>
            <p:spPr>
              <a:xfrm>
                <a:off x="7963155" y="3531101"/>
                <a:ext cx="18333" cy="18453"/>
              </a:xfrm>
              <a:custGeom>
                <a:avLst/>
                <a:gdLst>
                  <a:gd name="connsiteX0" fmla="*/ 9705 w 18333"/>
                  <a:gd name="connsiteY0" fmla="*/ 16 h 18453"/>
                  <a:gd name="connsiteX1" fmla="*/ 18317 w 18333"/>
                  <a:gd name="connsiteY1" fmla="*/ 9825 h 18453"/>
                  <a:gd name="connsiteX2" fmla="*/ 8628 w 18333"/>
                  <a:gd name="connsiteY2" fmla="*/ 18437 h 18453"/>
                  <a:gd name="connsiteX3" fmla="*/ 16 w 18333"/>
                  <a:gd name="connsiteY3" fmla="*/ 8629 h 18453"/>
                  <a:gd name="connsiteX4" fmla="*/ 9705 w 18333"/>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6"/>
                    </a:moveTo>
                    <a:cubicBezTo>
                      <a:pt x="14729" y="316"/>
                      <a:pt x="18616" y="4741"/>
                      <a:pt x="18317" y="9825"/>
                    </a:cubicBezTo>
                    <a:cubicBezTo>
                      <a:pt x="18018" y="14909"/>
                      <a:pt x="13652" y="18736"/>
                      <a:pt x="8628" y="18437"/>
                    </a:cubicBezTo>
                    <a:cubicBezTo>
                      <a:pt x="3604" y="18138"/>
                      <a:pt x="-283" y="13712"/>
                      <a:pt x="16" y="8629"/>
                    </a:cubicBezTo>
                    <a:cubicBezTo>
                      <a:pt x="256" y="3545"/>
                      <a:pt x="4621" y="-283"/>
                      <a:pt x="9705" y="16"/>
                    </a:cubicBezTo>
                    <a:close/>
                  </a:path>
                </a:pathLst>
              </a:custGeom>
              <a:grpFill/>
              <a:ln w="5978" cap="flat">
                <a:noFill/>
                <a:prstDash val="solid"/>
                <a:miter/>
              </a:ln>
            </p:spPr>
            <p:txBody>
              <a:bodyPr rtlCol="0" anchor="ctr"/>
              <a:lstStyle/>
              <a:p>
                <a:endParaRPr lang="en-GB"/>
              </a:p>
            </p:txBody>
          </p:sp>
          <p:sp>
            <p:nvSpPr>
              <p:cNvPr id="4832" name="Vrije vorm: vorm 4831">
                <a:extLst>
                  <a:ext uri="{FF2B5EF4-FFF2-40B4-BE49-F238E27FC236}">
                    <a16:creationId xmlns:a16="http://schemas.microsoft.com/office/drawing/2014/main" id="{7035C691-BB4F-42B9-826E-0A3D96E131DF}"/>
                  </a:ext>
                </a:extLst>
              </p:cNvPr>
              <p:cNvSpPr/>
              <p:nvPr/>
            </p:nvSpPr>
            <p:spPr>
              <a:xfrm>
                <a:off x="7791867" y="3520097"/>
                <a:ext cx="18333" cy="18453"/>
              </a:xfrm>
              <a:custGeom>
                <a:avLst/>
                <a:gdLst>
                  <a:gd name="connsiteX0" fmla="*/ 9705 w 18333"/>
                  <a:gd name="connsiteY0" fmla="*/ 16 h 18453"/>
                  <a:gd name="connsiteX1" fmla="*/ 16 w 18333"/>
                  <a:gd name="connsiteY1" fmla="*/ 8629 h 18453"/>
                  <a:gd name="connsiteX2" fmla="*/ 8628 w 18333"/>
                  <a:gd name="connsiteY2" fmla="*/ 18437 h 18453"/>
                  <a:gd name="connsiteX3" fmla="*/ 18317 w 18333"/>
                  <a:gd name="connsiteY3" fmla="*/ 9825 h 18453"/>
                  <a:gd name="connsiteX4" fmla="*/ 9705 w 18333"/>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6"/>
                    </a:moveTo>
                    <a:cubicBezTo>
                      <a:pt x="4682" y="-283"/>
                      <a:pt x="316" y="3545"/>
                      <a:pt x="16" y="8629"/>
                    </a:cubicBezTo>
                    <a:cubicBezTo>
                      <a:pt x="-283" y="13712"/>
                      <a:pt x="3545" y="18078"/>
                      <a:pt x="8628" y="18437"/>
                    </a:cubicBezTo>
                    <a:cubicBezTo>
                      <a:pt x="13653" y="18736"/>
                      <a:pt x="18018" y="14909"/>
                      <a:pt x="18317" y="9825"/>
                    </a:cubicBezTo>
                    <a:cubicBezTo>
                      <a:pt x="18616" y="4741"/>
                      <a:pt x="14729" y="375"/>
                      <a:pt x="9705" y="16"/>
                    </a:cubicBezTo>
                    <a:close/>
                  </a:path>
                </a:pathLst>
              </a:custGeom>
              <a:grpFill/>
              <a:ln w="5978" cap="flat">
                <a:noFill/>
                <a:prstDash val="solid"/>
                <a:miter/>
              </a:ln>
            </p:spPr>
            <p:txBody>
              <a:bodyPr rtlCol="0" anchor="ctr"/>
              <a:lstStyle/>
              <a:p>
                <a:endParaRPr lang="en-GB"/>
              </a:p>
            </p:txBody>
          </p:sp>
        </p:grpSp>
        <p:grpSp>
          <p:nvGrpSpPr>
            <p:cNvPr id="184" name="Graphic 3">
              <a:extLst>
                <a:ext uri="{FF2B5EF4-FFF2-40B4-BE49-F238E27FC236}">
                  <a16:creationId xmlns:a16="http://schemas.microsoft.com/office/drawing/2014/main" id="{61DA1FBA-1D45-4B17-A01E-40FDD0BFD484}"/>
                </a:ext>
              </a:extLst>
            </p:cNvPr>
            <p:cNvGrpSpPr/>
            <p:nvPr/>
          </p:nvGrpSpPr>
          <p:grpSpPr>
            <a:xfrm>
              <a:off x="7705710" y="3064734"/>
              <a:ext cx="66264" cy="28002"/>
              <a:chOff x="7705710" y="3064734"/>
              <a:chExt cx="66264" cy="28002"/>
            </a:xfrm>
            <a:grpFill/>
          </p:grpSpPr>
          <p:sp>
            <p:nvSpPr>
              <p:cNvPr id="4827" name="Vrije vorm: vorm 4826">
                <a:extLst>
                  <a:ext uri="{FF2B5EF4-FFF2-40B4-BE49-F238E27FC236}">
                    <a16:creationId xmlns:a16="http://schemas.microsoft.com/office/drawing/2014/main" id="{4BF7FE8B-2CA9-4483-877E-44EE7C1DFEBB}"/>
                  </a:ext>
                </a:extLst>
              </p:cNvPr>
              <p:cNvSpPr/>
              <p:nvPr/>
            </p:nvSpPr>
            <p:spPr>
              <a:xfrm>
                <a:off x="7714134" y="3072337"/>
                <a:ext cx="49460" cy="12798"/>
              </a:xfrm>
              <a:custGeom>
                <a:avLst/>
                <a:gdLst>
                  <a:gd name="connsiteX0" fmla="*/ 48803 w 49460"/>
                  <a:gd name="connsiteY0" fmla="*/ 0 h 12798"/>
                  <a:gd name="connsiteX1" fmla="*/ 49461 w 49460"/>
                  <a:gd name="connsiteY1" fmla="*/ 2990 h 12798"/>
                  <a:gd name="connsiteX2" fmla="*/ 598 w 49460"/>
                  <a:gd name="connsiteY2" fmla="*/ 12799 h 12798"/>
                  <a:gd name="connsiteX3" fmla="*/ 0 w 49460"/>
                  <a:gd name="connsiteY3" fmla="*/ 9808 h 12798"/>
                </a:gdLst>
                <a:ahLst/>
                <a:cxnLst>
                  <a:cxn ang="0">
                    <a:pos x="connsiteX0" y="connsiteY0"/>
                  </a:cxn>
                  <a:cxn ang="0">
                    <a:pos x="connsiteX1" y="connsiteY1"/>
                  </a:cxn>
                  <a:cxn ang="0">
                    <a:pos x="connsiteX2" y="connsiteY2"/>
                  </a:cxn>
                  <a:cxn ang="0">
                    <a:pos x="connsiteX3" y="connsiteY3"/>
                  </a:cxn>
                </a:cxnLst>
                <a:rect l="l" t="t" r="r" b="b"/>
                <a:pathLst>
                  <a:path w="49460" h="12798">
                    <a:moveTo>
                      <a:pt x="48803" y="0"/>
                    </a:moveTo>
                    <a:lnTo>
                      <a:pt x="49461" y="2990"/>
                    </a:lnTo>
                    <a:lnTo>
                      <a:pt x="598" y="12799"/>
                    </a:lnTo>
                    <a:lnTo>
                      <a:pt x="0" y="9808"/>
                    </a:lnTo>
                    <a:close/>
                  </a:path>
                </a:pathLst>
              </a:custGeom>
              <a:grpFill/>
              <a:ln w="5978" cap="flat">
                <a:noFill/>
                <a:prstDash val="solid"/>
                <a:miter/>
              </a:ln>
            </p:spPr>
            <p:txBody>
              <a:bodyPr rtlCol="0" anchor="ctr"/>
              <a:lstStyle/>
              <a:p>
                <a:endParaRPr lang="en-GB"/>
              </a:p>
            </p:txBody>
          </p:sp>
          <p:sp>
            <p:nvSpPr>
              <p:cNvPr id="4828" name="Vrije vorm: vorm 4827">
                <a:extLst>
                  <a:ext uri="{FF2B5EF4-FFF2-40B4-BE49-F238E27FC236}">
                    <a16:creationId xmlns:a16="http://schemas.microsoft.com/office/drawing/2014/main" id="{993FEBEA-D643-4556-B59A-4E6DFA107485}"/>
                  </a:ext>
                </a:extLst>
              </p:cNvPr>
              <p:cNvSpPr/>
              <p:nvPr/>
            </p:nvSpPr>
            <p:spPr>
              <a:xfrm>
                <a:off x="7753602" y="3064734"/>
                <a:ext cx="18373" cy="18435"/>
              </a:xfrm>
              <a:custGeom>
                <a:avLst/>
                <a:gdLst>
                  <a:gd name="connsiteX0" fmla="*/ 7361 w 18373"/>
                  <a:gd name="connsiteY0" fmla="*/ 187 h 18435"/>
                  <a:gd name="connsiteX1" fmla="*/ 18187 w 18373"/>
                  <a:gd name="connsiteY1" fmla="*/ 7424 h 18435"/>
                  <a:gd name="connsiteX2" fmla="*/ 11010 w 18373"/>
                  <a:gd name="connsiteY2" fmla="*/ 18249 h 18435"/>
                  <a:gd name="connsiteX3" fmla="*/ 185 w 18373"/>
                  <a:gd name="connsiteY3" fmla="*/ 11012 h 18435"/>
                  <a:gd name="connsiteX4" fmla="*/ 7361 w 18373"/>
                  <a:gd name="connsiteY4" fmla="*/ 187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35">
                    <a:moveTo>
                      <a:pt x="7361" y="187"/>
                    </a:moveTo>
                    <a:cubicBezTo>
                      <a:pt x="12326" y="-830"/>
                      <a:pt x="17170" y="2400"/>
                      <a:pt x="18187" y="7424"/>
                    </a:cubicBezTo>
                    <a:cubicBezTo>
                      <a:pt x="19203" y="12447"/>
                      <a:pt x="15974" y="17292"/>
                      <a:pt x="11010" y="18249"/>
                    </a:cubicBezTo>
                    <a:cubicBezTo>
                      <a:pt x="6046" y="19266"/>
                      <a:pt x="1202" y="16036"/>
                      <a:pt x="185" y="11012"/>
                    </a:cubicBezTo>
                    <a:cubicBezTo>
                      <a:pt x="-832" y="5988"/>
                      <a:pt x="2458" y="1144"/>
                      <a:pt x="7361" y="187"/>
                    </a:cubicBezTo>
                    <a:close/>
                  </a:path>
                </a:pathLst>
              </a:custGeom>
              <a:grpFill/>
              <a:ln w="5978" cap="flat">
                <a:noFill/>
                <a:prstDash val="solid"/>
                <a:miter/>
              </a:ln>
            </p:spPr>
            <p:txBody>
              <a:bodyPr rtlCol="0" anchor="ctr"/>
              <a:lstStyle/>
              <a:p>
                <a:endParaRPr lang="en-GB"/>
              </a:p>
            </p:txBody>
          </p:sp>
          <p:sp>
            <p:nvSpPr>
              <p:cNvPr id="4829" name="Vrije vorm: vorm 4828">
                <a:extLst>
                  <a:ext uri="{FF2B5EF4-FFF2-40B4-BE49-F238E27FC236}">
                    <a16:creationId xmlns:a16="http://schemas.microsoft.com/office/drawing/2014/main" id="{350F1466-D737-425E-86BA-024982787D7D}"/>
                  </a:ext>
                </a:extLst>
              </p:cNvPr>
              <p:cNvSpPr/>
              <p:nvPr/>
            </p:nvSpPr>
            <p:spPr>
              <a:xfrm>
                <a:off x="7705710" y="3074322"/>
                <a:ext cx="18342" cy="18414"/>
              </a:xfrm>
              <a:custGeom>
                <a:avLst/>
                <a:gdLst>
                  <a:gd name="connsiteX0" fmla="*/ 7347 w 18342"/>
                  <a:gd name="connsiteY0" fmla="*/ 168 h 18414"/>
                  <a:gd name="connsiteX1" fmla="*/ 170 w 18342"/>
                  <a:gd name="connsiteY1" fmla="*/ 10993 h 18414"/>
                  <a:gd name="connsiteX2" fmla="*/ 10996 w 18342"/>
                  <a:gd name="connsiteY2" fmla="*/ 18230 h 18414"/>
                  <a:gd name="connsiteX3" fmla="*/ 18172 w 18342"/>
                  <a:gd name="connsiteY3" fmla="*/ 7405 h 18414"/>
                  <a:gd name="connsiteX4" fmla="*/ 7347 w 18342"/>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4">
                    <a:moveTo>
                      <a:pt x="7347" y="168"/>
                    </a:moveTo>
                    <a:cubicBezTo>
                      <a:pt x="2383" y="1185"/>
                      <a:pt x="-787" y="6029"/>
                      <a:pt x="170" y="10993"/>
                    </a:cubicBezTo>
                    <a:cubicBezTo>
                      <a:pt x="1187" y="15957"/>
                      <a:pt x="6031" y="19246"/>
                      <a:pt x="10996" y="18230"/>
                    </a:cubicBezTo>
                    <a:cubicBezTo>
                      <a:pt x="15960" y="17213"/>
                      <a:pt x="19129" y="12368"/>
                      <a:pt x="18172" y="7405"/>
                    </a:cubicBezTo>
                    <a:cubicBezTo>
                      <a:pt x="17155" y="2440"/>
                      <a:pt x="12311" y="-789"/>
                      <a:pt x="7347" y="168"/>
                    </a:cubicBezTo>
                    <a:close/>
                  </a:path>
                </a:pathLst>
              </a:custGeom>
              <a:grpFill/>
              <a:ln w="5978" cap="flat">
                <a:noFill/>
                <a:prstDash val="solid"/>
                <a:miter/>
              </a:ln>
            </p:spPr>
            <p:txBody>
              <a:bodyPr rtlCol="0" anchor="ctr"/>
              <a:lstStyle/>
              <a:p>
                <a:endParaRPr lang="en-GB"/>
              </a:p>
            </p:txBody>
          </p:sp>
        </p:grpSp>
        <p:grpSp>
          <p:nvGrpSpPr>
            <p:cNvPr id="185" name="Graphic 3">
              <a:extLst>
                <a:ext uri="{FF2B5EF4-FFF2-40B4-BE49-F238E27FC236}">
                  <a16:creationId xmlns:a16="http://schemas.microsoft.com/office/drawing/2014/main" id="{5760E900-94DE-4AC7-88FC-53CD222A4AC3}"/>
                </a:ext>
              </a:extLst>
            </p:cNvPr>
            <p:cNvGrpSpPr/>
            <p:nvPr/>
          </p:nvGrpSpPr>
          <p:grpSpPr>
            <a:xfrm>
              <a:off x="7719673" y="3283493"/>
              <a:ext cx="198247" cy="30488"/>
              <a:chOff x="7719673" y="3283493"/>
              <a:chExt cx="198247" cy="30488"/>
            </a:xfrm>
            <a:grpFill/>
          </p:grpSpPr>
          <p:sp>
            <p:nvSpPr>
              <p:cNvPr id="4824" name="Vrije vorm: vorm 4823">
                <a:extLst>
                  <a:ext uri="{FF2B5EF4-FFF2-40B4-BE49-F238E27FC236}">
                    <a16:creationId xmlns:a16="http://schemas.microsoft.com/office/drawing/2014/main" id="{01E6CFC6-D629-4489-A5BB-36218A03A086}"/>
                  </a:ext>
                </a:extLst>
              </p:cNvPr>
              <p:cNvSpPr/>
              <p:nvPr/>
            </p:nvSpPr>
            <p:spPr>
              <a:xfrm>
                <a:off x="7728249" y="3291171"/>
                <a:ext cx="181036" cy="15191"/>
              </a:xfrm>
              <a:custGeom>
                <a:avLst/>
                <a:gdLst>
                  <a:gd name="connsiteX0" fmla="*/ 180857 w 181036"/>
                  <a:gd name="connsiteY0" fmla="*/ 0 h 15191"/>
                  <a:gd name="connsiteX1" fmla="*/ 181037 w 181036"/>
                  <a:gd name="connsiteY1" fmla="*/ 3050 h 15191"/>
                  <a:gd name="connsiteX2" fmla="*/ 239 w 181036"/>
                  <a:gd name="connsiteY2" fmla="*/ 15191 h 15191"/>
                  <a:gd name="connsiteX3" fmla="*/ 0 w 181036"/>
                  <a:gd name="connsiteY3" fmla="*/ 12081 h 15191"/>
                </a:gdLst>
                <a:ahLst/>
                <a:cxnLst>
                  <a:cxn ang="0">
                    <a:pos x="connsiteX0" y="connsiteY0"/>
                  </a:cxn>
                  <a:cxn ang="0">
                    <a:pos x="connsiteX1" y="connsiteY1"/>
                  </a:cxn>
                  <a:cxn ang="0">
                    <a:pos x="connsiteX2" y="connsiteY2"/>
                  </a:cxn>
                  <a:cxn ang="0">
                    <a:pos x="connsiteX3" y="connsiteY3"/>
                  </a:cxn>
                </a:cxnLst>
                <a:rect l="l" t="t" r="r" b="b"/>
                <a:pathLst>
                  <a:path w="181036" h="15191">
                    <a:moveTo>
                      <a:pt x="180857" y="0"/>
                    </a:moveTo>
                    <a:lnTo>
                      <a:pt x="181037" y="3050"/>
                    </a:lnTo>
                    <a:lnTo>
                      <a:pt x="239" y="15191"/>
                    </a:lnTo>
                    <a:lnTo>
                      <a:pt x="0" y="12081"/>
                    </a:lnTo>
                    <a:close/>
                  </a:path>
                </a:pathLst>
              </a:custGeom>
              <a:grpFill/>
              <a:ln w="5978" cap="flat">
                <a:noFill/>
                <a:prstDash val="solid"/>
                <a:miter/>
              </a:ln>
            </p:spPr>
            <p:txBody>
              <a:bodyPr rtlCol="0" anchor="ctr"/>
              <a:lstStyle/>
              <a:p>
                <a:endParaRPr lang="en-GB"/>
              </a:p>
            </p:txBody>
          </p:sp>
          <p:sp>
            <p:nvSpPr>
              <p:cNvPr id="4825" name="Vrije vorm: vorm 4824">
                <a:extLst>
                  <a:ext uri="{FF2B5EF4-FFF2-40B4-BE49-F238E27FC236}">
                    <a16:creationId xmlns:a16="http://schemas.microsoft.com/office/drawing/2014/main" id="{99F32280-9556-49DA-9F2C-C57A76654FB0}"/>
                  </a:ext>
                </a:extLst>
              </p:cNvPr>
              <p:cNvSpPr/>
              <p:nvPr/>
            </p:nvSpPr>
            <p:spPr>
              <a:xfrm>
                <a:off x="7899573" y="3283493"/>
                <a:ext cx="18347" cy="18406"/>
              </a:xfrm>
              <a:custGeom>
                <a:avLst/>
                <a:gdLst>
                  <a:gd name="connsiteX0" fmla="*/ 8516 w 18347"/>
                  <a:gd name="connsiteY0" fmla="*/ 23 h 18406"/>
                  <a:gd name="connsiteX1" fmla="*/ 18324 w 18347"/>
                  <a:gd name="connsiteY1" fmla="*/ 8575 h 18406"/>
                  <a:gd name="connsiteX2" fmla="*/ 9832 w 18347"/>
                  <a:gd name="connsiteY2" fmla="*/ 18384 h 18406"/>
                  <a:gd name="connsiteX3" fmla="*/ 23 w 18347"/>
                  <a:gd name="connsiteY3" fmla="*/ 9831 h 18406"/>
                  <a:gd name="connsiteX4" fmla="*/ 8516 w 18347"/>
                  <a:gd name="connsiteY4" fmla="*/ 2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6">
                    <a:moveTo>
                      <a:pt x="8516" y="23"/>
                    </a:moveTo>
                    <a:cubicBezTo>
                      <a:pt x="13540" y="-336"/>
                      <a:pt x="17966" y="3552"/>
                      <a:pt x="18324" y="8575"/>
                    </a:cubicBezTo>
                    <a:cubicBezTo>
                      <a:pt x="18683" y="13659"/>
                      <a:pt x="14855" y="18025"/>
                      <a:pt x="9832" y="18384"/>
                    </a:cubicBezTo>
                    <a:cubicBezTo>
                      <a:pt x="4807" y="18743"/>
                      <a:pt x="382" y="14855"/>
                      <a:pt x="23" y="9831"/>
                    </a:cubicBezTo>
                    <a:cubicBezTo>
                      <a:pt x="-336" y="4748"/>
                      <a:pt x="3492" y="382"/>
                      <a:pt x="8516" y="23"/>
                    </a:cubicBezTo>
                    <a:close/>
                  </a:path>
                </a:pathLst>
              </a:custGeom>
              <a:grpFill/>
              <a:ln w="5978" cap="flat">
                <a:noFill/>
                <a:prstDash val="solid"/>
                <a:miter/>
              </a:ln>
            </p:spPr>
            <p:txBody>
              <a:bodyPr rtlCol="0" anchor="ctr"/>
              <a:lstStyle/>
              <a:p>
                <a:endParaRPr lang="en-GB"/>
              </a:p>
            </p:txBody>
          </p:sp>
          <p:sp>
            <p:nvSpPr>
              <p:cNvPr id="4826" name="Vrije vorm: vorm 4825">
                <a:extLst>
                  <a:ext uri="{FF2B5EF4-FFF2-40B4-BE49-F238E27FC236}">
                    <a16:creationId xmlns:a16="http://schemas.microsoft.com/office/drawing/2014/main" id="{4AA43939-EB66-4B15-8A01-7456038B386A}"/>
                  </a:ext>
                </a:extLst>
              </p:cNvPr>
              <p:cNvSpPr/>
              <p:nvPr/>
            </p:nvSpPr>
            <p:spPr>
              <a:xfrm>
                <a:off x="7719673" y="3295574"/>
                <a:ext cx="18347" cy="18407"/>
              </a:xfrm>
              <a:custGeom>
                <a:avLst/>
                <a:gdLst>
                  <a:gd name="connsiteX0" fmla="*/ 8516 w 18347"/>
                  <a:gd name="connsiteY0" fmla="*/ 23 h 18407"/>
                  <a:gd name="connsiteX1" fmla="*/ 23 w 18347"/>
                  <a:gd name="connsiteY1" fmla="*/ 9832 h 18407"/>
                  <a:gd name="connsiteX2" fmla="*/ 9831 w 18347"/>
                  <a:gd name="connsiteY2" fmla="*/ 18384 h 18407"/>
                  <a:gd name="connsiteX3" fmla="*/ 18324 w 18347"/>
                  <a:gd name="connsiteY3" fmla="*/ 8576 h 18407"/>
                  <a:gd name="connsiteX4" fmla="*/ 8516 w 18347"/>
                  <a:gd name="connsiteY4" fmla="*/ 2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8516" y="23"/>
                    </a:moveTo>
                    <a:cubicBezTo>
                      <a:pt x="3492" y="382"/>
                      <a:pt x="-336" y="4748"/>
                      <a:pt x="23" y="9832"/>
                    </a:cubicBezTo>
                    <a:cubicBezTo>
                      <a:pt x="382" y="14915"/>
                      <a:pt x="4748" y="18743"/>
                      <a:pt x="9831" y="18384"/>
                    </a:cubicBezTo>
                    <a:cubicBezTo>
                      <a:pt x="14855" y="18025"/>
                      <a:pt x="18683" y="13659"/>
                      <a:pt x="18324" y="8576"/>
                    </a:cubicBezTo>
                    <a:cubicBezTo>
                      <a:pt x="17906" y="3492"/>
                      <a:pt x="13539" y="-336"/>
                      <a:pt x="8516" y="23"/>
                    </a:cubicBezTo>
                    <a:close/>
                  </a:path>
                </a:pathLst>
              </a:custGeom>
              <a:grpFill/>
              <a:ln w="5978" cap="flat">
                <a:noFill/>
                <a:prstDash val="solid"/>
                <a:miter/>
              </a:ln>
            </p:spPr>
            <p:txBody>
              <a:bodyPr rtlCol="0" anchor="ctr"/>
              <a:lstStyle/>
              <a:p>
                <a:endParaRPr lang="en-GB"/>
              </a:p>
            </p:txBody>
          </p:sp>
        </p:grpSp>
        <p:grpSp>
          <p:nvGrpSpPr>
            <p:cNvPr id="186" name="Graphic 3">
              <a:extLst>
                <a:ext uri="{FF2B5EF4-FFF2-40B4-BE49-F238E27FC236}">
                  <a16:creationId xmlns:a16="http://schemas.microsoft.com/office/drawing/2014/main" id="{0547E7C7-1D24-4A63-8621-9AF7F7C7DFDF}"/>
                </a:ext>
              </a:extLst>
            </p:cNvPr>
            <p:cNvGrpSpPr/>
            <p:nvPr/>
          </p:nvGrpSpPr>
          <p:grpSpPr>
            <a:xfrm>
              <a:off x="7710971" y="3217796"/>
              <a:ext cx="165592" cy="33835"/>
              <a:chOff x="7710971" y="3217796"/>
              <a:chExt cx="165592" cy="33835"/>
            </a:xfrm>
            <a:grpFill/>
          </p:grpSpPr>
          <p:sp>
            <p:nvSpPr>
              <p:cNvPr id="4821" name="Vrije vorm: vorm 4820">
                <a:extLst>
                  <a:ext uri="{FF2B5EF4-FFF2-40B4-BE49-F238E27FC236}">
                    <a16:creationId xmlns:a16="http://schemas.microsoft.com/office/drawing/2014/main" id="{670096BE-94EF-421C-B14A-0C9279DB51CF}"/>
                  </a:ext>
                </a:extLst>
              </p:cNvPr>
              <p:cNvSpPr/>
              <p:nvPr/>
            </p:nvSpPr>
            <p:spPr>
              <a:xfrm>
                <a:off x="7719577" y="3225443"/>
                <a:ext cx="148381" cy="18540"/>
              </a:xfrm>
              <a:custGeom>
                <a:avLst/>
                <a:gdLst>
                  <a:gd name="connsiteX0" fmla="*/ 148083 w 148381"/>
                  <a:gd name="connsiteY0" fmla="*/ 0 h 18540"/>
                  <a:gd name="connsiteX1" fmla="*/ 148381 w 148381"/>
                  <a:gd name="connsiteY1" fmla="*/ 3050 h 18540"/>
                  <a:gd name="connsiteX2" fmla="*/ 299 w 148381"/>
                  <a:gd name="connsiteY2" fmla="*/ 18540 h 18540"/>
                  <a:gd name="connsiteX3" fmla="*/ 0 w 148381"/>
                  <a:gd name="connsiteY3" fmla="*/ 15490 h 18540"/>
                </a:gdLst>
                <a:ahLst/>
                <a:cxnLst>
                  <a:cxn ang="0">
                    <a:pos x="connsiteX0" y="connsiteY0"/>
                  </a:cxn>
                  <a:cxn ang="0">
                    <a:pos x="connsiteX1" y="connsiteY1"/>
                  </a:cxn>
                  <a:cxn ang="0">
                    <a:pos x="connsiteX2" y="connsiteY2"/>
                  </a:cxn>
                  <a:cxn ang="0">
                    <a:pos x="connsiteX3" y="connsiteY3"/>
                  </a:cxn>
                </a:cxnLst>
                <a:rect l="l" t="t" r="r" b="b"/>
                <a:pathLst>
                  <a:path w="148381" h="18540">
                    <a:moveTo>
                      <a:pt x="148083" y="0"/>
                    </a:moveTo>
                    <a:lnTo>
                      <a:pt x="148381" y="3050"/>
                    </a:lnTo>
                    <a:lnTo>
                      <a:pt x="299" y="18540"/>
                    </a:lnTo>
                    <a:lnTo>
                      <a:pt x="0" y="15490"/>
                    </a:lnTo>
                    <a:close/>
                  </a:path>
                </a:pathLst>
              </a:custGeom>
              <a:grpFill/>
              <a:ln w="5978" cap="flat">
                <a:noFill/>
                <a:prstDash val="solid"/>
                <a:miter/>
              </a:ln>
            </p:spPr>
            <p:txBody>
              <a:bodyPr rtlCol="0" anchor="ctr"/>
              <a:lstStyle/>
              <a:p>
                <a:endParaRPr lang="en-GB"/>
              </a:p>
            </p:txBody>
          </p:sp>
          <p:sp>
            <p:nvSpPr>
              <p:cNvPr id="4822" name="Vrije vorm: vorm 4821">
                <a:extLst>
                  <a:ext uri="{FF2B5EF4-FFF2-40B4-BE49-F238E27FC236}">
                    <a16:creationId xmlns:a16="http://schemas.microsoft.com/office/drawing/2014/main" id="{970BB464-0081-4D2C-85D1-0A9A0CD0329D}"/>
                  </a:ext>
                </a:extLst>
              </p:cNvPr>
              <p:cNvSpPr/>
              <p:nvPr/>
            </p:nvSpPr>
            <p:spPr>
              <a:xfrm>
                <a:off x="7858216" y="3217796"/>
                <a:ext cx="18347" cy="18404"/>
              </a:xfrm>
              <a:custGeom>
                <a:avLst/>
                <a:gdLst>
                  <a:gd name="connsiteX0" fmla="*/ 8187 w 18347"/>
                  <a:gd name="connsiteY0" fmla="*/ 52 h 18404"/>
                  <a:gd name="connsiteX1" fmla="*/ 18295 w 18347"/>
                  <a:gd name="connsiteY1" fmla="*/ 8246 h 18404"/>
                  <a:gd name="connsiteX2" fmla="*/ 10161 w 18347"/>
                  <a:gd name="connsiteY2" fmla="*/ 18353 h 18404"/>
                  <a:gd name="connsiteX3" fmla="*/ 53 w 18347"/>
                  <a:gd name="connsiteY3" fmla="*/ 10159 h 18404"/>
                  <a:gd name="connsiteX4" fmla="*/ 8187 w 18347"/>
                  <a:gd name="connsiteY4" fmla="*/ 52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4">
                    <a:moveTo>
                      <a:pt x="8187" y="52"/>
                    </a:moveTo>
                    <a:cubicBezTo>
                      <a:pt x="13211" y="-486"/>
                      <a:pt x="17756" y="3222"/>
                      <a:pt x="18295" y="8246"/>
                    </a:cubicBezTo>
                    <a:cubicBezTo>
                      <a:pt x="18833" y="13329"/>
                      <a:pt x="15185" y="17815"/>
                      <a:pt x="10161" y="18353"/>
                    </a:cubicBezTo>
                    <a:cubicBezTo>
                      <a:pt x="5137" y="18891"/>
                      <a:pt x="591" y="15183"/>
                      <a:pt x="53" y="10159"/>
                    </a:cubicBezTo>
                    <a:cubicBezTo>
                      <a:pt x="-485" y="5076"/>
                      <a:pt x="3104" y="590"/>
                      <a:pt x="8187" y="52"/>
                    </a:cubicBezTo>
                    <a:close/>
                  </a:path>
                </a:pathLst>
              </a:custGeom>
              <a:grpFill/>
              <a:ln w="5978" cap="flat">
                <a:noFill/>
                <a:prstDash val="solid"/>
                <a:miter/>
              </a:ln>
            </p:spPr>
            <p:txBody>
              <a:bodyPr rtlCol="0" anchor="ctr"/>
              <a:lstStyle/>
              <a:p>
                <a:endParaRPr lang="en-GB"/>
              </a:p>
            </p:txBody>
          </p:sp>
          <p:sp>
            <p:nvSpPr>
              <p:cNvPr id="4823" name="Vrije vorm: vorm 4822">
                <a:extLst>
                  <a:ext uri="{FF2B5EF4-FFF2-40B4-BE49-F238E27FC236}">
                    <a16:creationId xmlns:a16="http://schemas.microsoft.com/office/drawing/2014/main" id="{C7D54820-F4A2-4D2C-A557-48FEBA6FB6FE}"/>
                  </a:ext>
                </a:extLst>
              </p:cNvPr>
              <p:cNvSpPr/>
              <p:nvPr/>
            </p:nvSpPr>
            <p:spPr>
              <a:xfrm>
                <a:off x="7710971" y="3233226"/>
                <a:ext cx="18346" cy="18405"/>
              </a:xfrm>
              <a:custGeom>
                <a:avLst/>
                <a:gdLst>
                  <a:gd name="connsiteX0" fmla="*/ 8186 w 18346"/>
                  <a:gd name="connsiteY0" fmla="*/ 52 h 18405"/>
                  <a:gd name="connsiteX1" fmla="*/ 53 w 18346"/>
                  <a:gd name="connsiteY1" fmla="*/ 10159 h 18405"/>
                  <a:gd name="connsiteX2" fmla="*/ 10160 w 18346"/>
                  <a:gd name="connsiteY2" fmla="*/ 18353 h 18405"/>
                  <a:gd name="connsiteX3" fmla="*/ 18294 w 18346"/>
                  <a:gd name="connsiteY3" fmla="*/ 8246 h 18405"/>
                  <a:gd name="connsiteX4" fmla="*/ 8186 w 18346"/>
                  <a:gd name="connsiteY4" fmla="*/ 5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5">
                    <a:moveTo>
                      <a:pt x="8186" y="52"/>
                    </a:moveTo>
                    <a:cubicBezTo>
                      <a:pt x="3163" y="590"/>
                      <a:pt x="-485" y="5136"/>
                      <a:pt x="53" y="10159"/>
                    </a:cubicBezTo>
                    <a:cubicBezTo>
                      <a:pt x="591" y="15243"/>
                      <a:pt x="5136" y="18891"/>
                      <a:pt x="10160" y="18353"/>
                    </a:cubicBezTo>
                    <a:cubicBezTo>
                      <a:pt x="15184" y="17815"/>
                      <a:pt x="18832" y="13269"/>
                      <a:pt x="18294" y="8246"/>
                    </a:cubicBezTo>
                    <a:cubicBezTo>
                      <a:pt x="17755" y="3222"/>
                      <a:pt x="13211" y="-486"/>
                      <a:pt x="8186" y="52"/>
                    </a:cubicBezTo>
                    <a:close/>
                  </a:path>
                </a:pathLst>
              </a:custGeom>
              <a:grpFill/>
              <a:ln w="5978" cap="flat">
                <a:noFill/>
                <a:prstDash val="solid"/>
                <a:miter/>
              </a:ln>
            </p:spPr>
            <p:txBody>
              <a:bodyPr rtlCol="0" anchor="ctr"/>
              <a:lstStyle/>
              <a:p>
                <a:endParaRPr lang="en-GB"/>
              </a:p>
            </p:txBody>
          </p:sp>
        </p:grpSp>
        <p:grpSp>
          <p:nvGrpSpPr>
            <p:cNvPr id="187" name="Graphic 3">
              <a:extLst>
                <a:ext uri="{FF2B5EF4-FFF2-40B4-BE49-F238E27FC236}">
                  <a16:creationId xmlns:a16="http://schemas.microsoft.com/office/drawing/2014/main" id="{8132237F-24A7-49AB-9F75-1997DA963AC1}"/>
                </a:ext>
              </a:extLst>
            </p:cNvPr>
            <p:cNvGrpSpPr/>
            <p:nvPr/>
          </p:nvGrpSpPr>
          <p:grpSpPr>
            <a:xfrm>
              <a:off x="7575694" y="2687263"/>
              <a:ext cx="87171" cy="49504"/>
              <a:chOff x="7575694" y="2687263"/>
              <a:chExt cx="87171" cy="49504"/>
            </a:xfrm>
            <a:grpFill/>
          </p:grpSpPr>
          <p:sp>
            <p:nvSpPr>
              <p:cNvPr id="4818" name="Vrije vorm: vorm 4817">
                <a:extLst>
                  <a:ext uri="{FF2B5EF4-FFF2-40B4-BE49-F238E27FC236}">
                    <a16:creationId xmlns:a16="http://schemas.microsoft.com/office/drawing/2014/main" id="{021CEB1B-C577-4E28-BEFD-5F6FB8E07D99}"/>
                  </a:ext>
                </a:extLst>
              </p:cNvPr>
              <p:cNvSpPr/>
              <p:nvPr/>
            </p:nvSpPr>
            <p:spPr>
              <a:xfrm>
                <a:off x="7583814" y="2694893"/>
                <a:ext cx="70931" cy="34209"/>
              </a:xfrm>
              <a:custGeom>
                <a:avLst/>
                <a:gdLst>
                  <a:gd name="connsiteX0" fmla="*/ 70931 w 70931"/>
                  <a:gd name="connsiteY0" fmla="*/ 2811 h 34209"/>
                  <a:gd name="connsiteX1" fmla="*/ 1256 w 70931"/>
                  <a:gd name="connsiteY1" fmla="*/ 34210 h 34209"/>
                  <a:gd name="connsiteX2" fmla="*/ 0 w 70931"/>
                  <a:gd name="connsiteY2" fmla="*/ 31399 h 34209"/>
                  <a:gd name="connsiteX3" fmla="*/ 69616 w 70931"/>
                  <a:gd name="connsiteY3" fmla="*/ 0 h 34209"/>
                </a:gdLst>
                <a:ahLst/>
                <a:cxnLst>
                  <a:cxn ang="0">
                    <a:pos x="connsiteX0" y="connsiteY0"/>
                  </a:cxn>
                  <a:cxn ang="0">
                    <a:pos x="connsiteX1" y="connsiteY1"/>
                  </a:cxn>
                  <a:cxn ang="0">
                    <a:pos x="connsiteX2" y="connsiteY2"/>
                  </a:cxn>
                  <a:cxn ang="0">
                    <a:pos x="connsiteX3" y="connsiteY3"/>
                  </a:cxn>
                </a:cxnLst>
                <a:rect l="l" t="t" r="r" b="b"/>
                <a:pathLst>
                  <a:path w="70931" h="34209">
                    <a:moveTo>
                      <a:pt x="70931" y="2811"/>
                    </a:moveTo>
                    <a:lnTo>
                      <a:pt x="1256" y="34210"/>
                    </a:lnTo>
                    <a:lnTo>
                      <a:pt x="0" y="31399"/>
                    </a:lnTo>
                    <a:lnTo>
                      <a:pt x="69616" y="0"/>
                    </a:lnTo>
                    <a:close/>
                  </a:path>
                </a:pathLst>
              </a:custGeom>
              <a:grpFill/>
              <a:ln w="5978" cap="flat">
                <a:noFill/>
                <a:prstDash val="solid"/>
                <a:miter/>
              </a:ln>
            </p:spPr>
            <p:txBody>
              <a:bodyPr rtlCol="0" anchor="ctr"/>
              <a:lstStyle/>
              <a:p>
                <a:endParaRPr lang="en-GB"/>
              </a:p>
            </p:txBody>
          </p:sp>
          <p:sp>
            <p:nvSpPr>
              <p:cNvPr id="4819" name="Vrije vorm: vorm 4818">
                <a:extLst>
                  <a:ext uri="{FF2B5EF4-FFF2-40B4-BE49-F238E27FC236}">
                    <a16:creationId xmlns:a16="http://schemas.microsoft.com/office/drawing/2014/main" id="{48E186EE-9902-469A-97DC-A17DF731520B}"/>
                  </a:ext>
                </a:extLst>
              </p:cNvPr>
              <p:cNvSpPr/>
              <p:nvPr/>
            </p:nvSpPr>
            <p:spPr>
              <a:xfrm>
                <a:off x="7644532" y="2687263"/>
                <a:ext cx="18333" cy="18490"/>
              </a:xfrm>
              <a:custGeom>
                <a:avLst/>
                <a:gdLst>
                  <a:gd name="connsiteX0" fmla="*/ 5369 w 18333"/>
                  <a:gd name="connsiteY0" fmla="*/ 812 h 18490"/>
                  <a:gd name="connsiteX1" fmla="*/ 17510 w 18333"/>
                  <a:gd name="connsiteY1" fmla="*/ 5477 h 18490"/>
                  <a:gd name="connsiteX2" fmla="*/ 12965 w 18333"/>
                  <a:gd name="connsiteY2" fmla="*/ 17678 h 18490"/>
                  <a:gd name="connsiteX3" fmla="*/ 824 w 18333"/>
                  <a:gd name="connsiteY3" fmla="*/ 13013 h 18490"/>
                  <a:gd name="connsiteX4" fmla="*/ 5369 w 18333"/>
                  <a:gd name="connsiteY4" fmla="*/ 812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90">
                    <a:moveTo>
                      <a:pt x="5369" y="812"/>
                    </a:moveTo>
                    <a:cubicBezTo>
                      <a:pt x="9974" y="-1281"/>
                      <a:pt x="15416" y="812"/>
                      <a:pt x="17510" y="5477"/>
                    </a:cubicBezTo>
                    <a:cubicBezTo>
                      <a:pt x="19603" y="10142"/>
                      <a:pt x="17570" y="15585"/>
                      <a:pt x="12965" y="17678"/>
                    </a:cubicBezTo>
                    <a:cubicBezTo>
                      <a:pt x="8359" y="19771"/>
                      <a:pt x="2917" y="17678"/>
                      <a:pt x="824" y="13013"/>
                    </a:cubicBezTo>
                    <a:cubicBezTo>
                      <a:pt x="-1269" y="8348"/>
                      <a:pt x="764" y="2906"/>
                      <a:pt x="5369" y="812"/>
                    </a:cubicBezTo>
                    <a:close/>
                  </a:path>
                </a:pathLst>
              </a:custGeom>
              <a:grpFill/>
              <a:ln w="5978" cap="flat">
                <a:noFill/>
                <a:prstDash val="solid"/>
                <a:miter/>
              </a:ln>
            </p:spPr>
            <p:txBody>
              <a:bodyPr rtlCol="0" anchor="ctr"/>
              <a:lstStyle/>
              <a:p>
                <a:endParaRPr lang="en-GB"/>
              </a:p>
            </p:txBody>
          </p:sp>
          <p:sp>
            <p:nvSpPr>
              <p:cNvPr id="4820" name="Vrije vorm: vorm 4819">
                <a:extLst>
                  <a:ext uri="{FF2B5EF4-FFF2-40B4-BE49-F238E27FC236}">
                    <a16:creationId xmlns:a16="http://schemas.microsoft.com/office/drawing/2014/main" id="{7D9A4D2E-E816-45EE-95B9-38600A7EB1CE}"/>
                  </a:ext>
                </a:extLst>
              </p:cNvPr>
              <p:cNvSpPr/>
              <p:nvPr/>
            </p:nvSpPr>
            <p:spPr>
              <a:xfrm>
                <a:off x="7575694" y="2718303"/>
                <a:ext cx="18333" cy="18464"/>
              </a:xfrm>
              <a:custGeom>
                <a:avLst/>
                <a:gdLst>
                  <a:gd name="connsiteX0" fmla="*/ 5369 w 18333"/>
                  <a:gd name="connsiteY0" fmla="*/ 812 h 18464"/>
                  <a:gd name="connsiteX1" fmla="*/ 824 w 18333"/>
                  <a:gd name="connsiteY1" fmla="*/ 13013 h 18464"/>
                  <a:gd name="connsiteX2" fmla="*/ 12965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6"/>
                      <a:pt x="-1269" y="8348"/>
                      <a:pt x="824" y="13013"/>
                    </a:cubicBezTo>
                    <a:cubicBezTo>
                      <a:pt x="2917" y="17678"/>
                      <a:pt x="8359" y="19711"/>
                      <a:pt x="12965" y="17678"/>
                    </a:cubicBezTo>
                    <a:cubicBezTo>
                      <a:pt x="17570" y="15585"/>
                      <a:pt x="19603"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88" name="Graphic 3">
              <a:extLst>
                <a:ext uri="{FF2B5EF4-FFF2-40B4-BE49-F238E27FC236}">
                  <a16:creationId xmlns:a16="http://schemas.microsoft.com/office/drawing/2014/main" id="{38EB76A7-167C-4005-87F1-82FAD2E6A6FB}"/>
                </a:ext>
              </a:extLst>
            </p:cNvPr>
            <p:cNvGrpSpPr/>
            <p:nvPr/>
          </p:nvGrpSpPr>
          <p:grpSpPr>
            <a:xfrm>
              <a:off x="7738237" y="3421371"/>
              <a:ext cx="224336" cy="20096"/>
              <a:chOff x="7738237" y="3421371"/>
              <a:chExt cx="224336" cy="20096"/>
            </a:xfrm>
            <a:grpFill/>
          </p:grpSpPr>
          <p:sp>
            <p:nvSpPr>
              <p:cNvPr id="4815" name="Vrije vorm: vorm 4814">
                <a:extLst>
                  <a:ext uri="{FF2B5EF4-FFF2-40B4-BE49-F238E27FC236}">
                    <a16:creationId xmlns:a16="http://schemas.microsoft.com/office/drawing/2014/main" id="{CD942514-2327-4D12-807F-7DC7DD12EC17}"/>
                  </a:ext>
                </a:extLst>
              </p:cNvPr>
              <p:cNvSpPr/>
              <p:nvPr/>
            </p:nvSpPr>
            <p:spPr>
              <a:xfrm>
                <a:off x="7746968" y="3429087"/>
                <a:ext cx="206872" cy="4664"/>
              </a:xfrm>
              <a:custGeom>
                <a:avLst/>
                <a:gdLst>
                  <a:gd name="connsiteX0" fmla="*/ 206873 w 206872"/>
                  <a:gd name="connsiteY0" fmla="*/ 1615 h 4664"/>
                  <a:gd name="connsiteX1" fmla="*/ 206873 w 206872"/>
                  <a:gd name="connsiteY1" fmla="*/ 4665 h 4664"/>
                  <a:gd name="connsiteX2" fmla="*/ 0 w 206872"/>
                  <a:gd name="connsiteY2" fmla="*/ 3050 h 4664"/>
                  <a:gd name="connsiteX3" fmla="*/ 0 w 206872"/>
                  <a:gd name="connsiteY3" fmla="*/ 0 h 4664"/>
                </a:gdLst>
                <a:ahLst/>
                <a:cxnLst>
                  <a:cxn ang="0">
                    <a:pos x="connsiteX0" y="connsiteY0"/>
                  </a:cxn>
                  <a:cxn ang="0">
                    <a:pos x="connsiteX1" y="connsiteY1"/>
                  </a:cxn>
                  <a:cxn ang="0">
                    <a:pos x="connsiteX2" y="connsiteY2"/>
                  </a:cxn>
                  <a:cxn ang="0">
                    <a:pos x="connsiteX3" y="connsiteY3"/>
                  </a:cxn>
                </a:cxnLst>
                <a:rect l="l" t="t" r="r" b="b"/>
                <a:pathLst>
                  <a:path w="206872" h="4664">
                    <a:moveTo>
                      <a:pt x="206873" y="1615"/>
                    </a:moveTo>
                    <a:lnTo>
                      <a:pt x="206873" y="4665"/>
                    </a:lnTo>
                    <a:lnTo>
                      <a:pt x="0" y="3050"/>
                    </a:lnTo>
                    <a:lnTo>
                      <a:pt x="0" y="0"/>
                    </a:lnTo>
                    <a:close/>
                  </a:path>
                </a:pathLst>
              </a:custGeom>
              <a:grpFill/>
              <a:ln w="5978" cap="flat">
                <a:noFill/>
                <a:prstDash val="solid"/>
                <a:miter/>
              </a:ln>
            </p:spPr>
            <p:txBody>
              <a:bodyPr rtlCol="0" anchor="ctr"/>
              <a:lstStyle/>
              <a:p>
                <a:endParaRPr lang="en-GB"/>
              </a:p>
            </p:txBody>
          </p:sp>
          <p:sp>
            <p:nvSpPr>
              <p:cNvPr id="4816" name="Vrije vorm: vorm 4815">
                <a:extLst>
                  <a:ext uri="{FF2B5EF4-FFF2-40B4-BE49-F238E27FC236}">
                    <a16:creationId xmlns:a16="http://schemas.microsoft.com/office/drawing/2014/main" id="{2DF9D62F-FD5B-4416-B5FA-A17E4CDF59F5}"/>
                  </a:ext>
                </a:extLst>
              </p:cNvPr>
              <p:cNvSpPr/>
              <p:nvPr/>
            </p:nvSpPr>
            <p:spPr>
              <a:xfrm>
                <a:off x="7944212" y="3423046"/>
                <a:ext cx="18361" cy="18421"/>
              </a:xfrm>
              <a:custGeom>
                <a:avLst/>
                <a:gdLst>
                  <a:gd name="connsiteX0" fmla="*/ 9211 w 18361"/>
                  <a:gd name="connsiteY0" fmla="*/ 1 h 18421"/>
                  <a:gd name="connsiteX1" fmla="*/ 18361 w 18361"/>
                  <a:gd name="connsiteY1" fmla="*/ 9271 h 18421"/>
                  <a:gd name="connsiteX2" fmla="*/ 9151 w 18361"/>
                  <a:gd name="connsiteY2" fmla="*/ 18421 h 18421"/>
                  <a:gd name="connsiteX3" fmla="*/ 0 w 18361"/>
                  <a:gd name="connsiteY3" fmla="*/ 9151 h 18421"/>
                  <a:gd name="connsiteX4" fmla="*/ 9211 w 1836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9211" y="1"/>
                    </a:moveTo>
                    <a:cubicBezTo>
                      <a:pt x="14294" y="60"/>
                      <a:pt x="18361" y="4187"/>
                      <a:pt x="18361" y="9271"/>
                    </a:cubicBezTo>
                    <a:cubicBezTo>
                      <a:pt x="18361" y="14354"/>
                      <a:pt x="14234" y="18481"/>
                      <a:pt x="9151" y="18421"/>
                    </a:cubicBezTo>
                    <a:cubicBezTo>
                      <a:pt x="4067" y="18361"/>
                      <a:pt x="0" y="14235"/>
                      <a:pt x="0" y="9151"/>
                    </a:cubicBezTo>
                    <a:cubicBezTo>
                      <a:pt x="0" y="4067"/>
                      <a:pt x="4127" y="-59"/>
                      <a:pt x="9211" y="1"/>
                    </a:cubicBezTo>
                    <a:close/>
                  </a:path>
                </a:pathLst>
              </a:custGeom>
              <a:grpFill/>
              <a:ln w="5978" cap="flat">
                <a:noFill/>
                <a:prstDash val="solid"/>
                <a:miter/>
              </a:ln>
            </p:spPr>
            <p:txBody>
              <a:bodyPr rtlCol="0" anchor="ctr"/>
              <a:lstStyle/>
              <a:p>
                <a:endParaRPr lang="en-GB"/>
              </a:p>
            </p:txBody>
          </p:sp>
          <p:sp>
            <p:nvSpPr>
              <p:cNvPr id="4817" name="Vrije vorm: vorm 4816">
                <a:extLst>
                  <a:ext uri="{FF2B5EF4-FFF2-40B4-BE49-F238E27FC236}">
                    <a16:creationId xmlns:a16="http://schemas.microsoft.com/office/drawing/2014/main" id="{C5B61700-DFF2-4CCE-81C4-E0AAC8DBB3B0}"/>
                  </a:ext>
                </a:extLst>
              </p:cNvPr>
              <p:cNvSpPr/>
              <p:nvPr/>
            </p:nvSpPr>
            <p:spPr>
              <a:xfrm>
                <a:off x="7738237" y="3421371"/>
                <a:ext cx="18360" cy="18421"/>
              </a:xfrm>
              <a:custGeom>
                <a:avLst/>
                <a:gdLst>
                  <a:gd name="connsiteX0" fmla="*/ 9210 w 18360"/>
                  <a:gd name="connsiteY0" fmla="*/ 1 h 18421"/>
                  <a:gd name="connsiteX1" fmla="*/ 0 w 18360"/>
                  <a:gd name="connsiteY1" fmla="*/ 9151 h 18421"/>
                  <a:gd name="connsiteX2" fmla="*/ 9150 w 18360"/>
                  <a:gd name="connsiteY2" fmla="*/ 18421 h 18421"/>
                  <a:gd name="connsiteX3" fmla="*/ 18360 w 18360"/>
                  <a:gd name="connsiteY3" fmla="*/ 9271 h 18421"/>
                  <a:gd name="connsiteX4" fmla="*/ 9210 w 18360"/>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9210" y="1"/>
                    </a:moveTo>
                    <a:cubicBezTo>
                      <a:pt x="4126" y="-59"/>
                      <a:pt x="0" y="4067"/>
                      <a:pt x="0" y="9151"/>
                    </a:cubicBezTo>
                    <a:cubicBezTo>
                      <a:pt x="0" y="14235"/>
                      <a:pt x="4066" y="18421"/>
                      <a:pt x="9150" y="18421"/>
                    </a:cubicBezTo>
                    <a:cubicBezTo>
                      <a:pt x="14234" y="18481"/>
                      <a:pt x="18360" y="14354"/>
                      <a:pt x="18360" y="9271"/>
                    </a:cubicBezTo>
                    <a:cubicBezTo>
                      <a:pt x="18360" y="4187"/>
                      <a:pt x="14294" y="60"/>
                      <a:pt x="9210" y="1"/>
                    </a:cubicBezTo>
                    <a:close/>
                  </a:path>
                </a:pathLst>
              </a:custGeom>
              <a:grpFill/>
              <a:ln w="5978" cap="flat">
                <a:noFill/>
                <a:prstDash val="solid"/>
                <a:miter/>
              </a:ln>
            </p:spPr>
            <p:txBody>
              <a:bodyPr rtlCol="0" anchor="ctr"/>
              <a:lstStyle/>
              <a:p>
                <a:endParaRPr lang="en-GB"/>
              </a:p>
            </p:txBody>
          </p:sp>
        </p:grpSp>
        <p:grpSp>
          <p:nvGrpSpPr>
            <p:cNvPr id="189" name="Graphic 3">
              <a:extLst>
                <a:ext uri="{FF2B5EF4-FFF2-40B4-BE49-F238E27FC236}">
                  <a16:creationId xmlns:a16="http://schemas.microsoft.com/office/drawing/2014/main" id="{2073E4AD-CCD4-4561-8CA2-89AD93D6109D}"/>
                </a:ext>
              </a:extLst>
            </p:cNvPr>
            <p:cNvGrpSpPr/>
            <p:nvPr/>
          </p:nvGrpSpPr>
          <p:grpSpPr>
            <a:xfrm>
              <a:off x="7718373" y="3579375"/>
              <a:ext cx="373810" cy="91460"/>
              <a:chOff x="7718373" y="3579375"/>
              <a:chExt cx="373810" cy="91460"/>
            </a:xfrm>
            <a:grpFill/>
          </p:grpSpPr>
          <p:sp>
            <p:nvSpPr>
              <p:cNvPr id="4812" name="Vrije vorm: vorm 4811">
                <a:extLst>
                  <a:ext uri="{FF2B5EF4-FFF2-40B4-BE49-F238E27FC236}">
                    <a16:creationId xmlns:a16="http://schemas.microsoft.com/office/drawing/2014/main" id="{78759ACC-7BBE-40EB-8640-113BDCE54207}"/>
                  </a:ext>
                </a:extLst>
              </p:cNvPr>
              <p:cNvSpPr/>
              <p:nvPr/>
            </p:nvSpPr>
            <p:spPr>
              <a:xfrm>
                <a:off x="7726753" y="3587038"/>
                <a:ext cx="356989" cy="76194"/>
              </a:xfrm>
              <a:custGeom>
                <a:avLst/>
                <a:gdLst>
                  <a:gd name="connsiteX0" fmla="*/ 356990 w 356989"/>
                  <a:gd name="connsiteY0" fmla="*/ 73204 h 76194"/>
                  <a:gd name="connsiteX1" fmla="*/ 356391 w 356989"/>
                  <a:gd name="connsiteY1" fmla="*/ 76194 h 76194"/>
                  <a:gd name="connsiteX2" fmla="*/ 0 w 356989"/>
                  <a:gd name="connsiteY2" fmla="*/ 2990 h 76194"/>
                  <a:gd name="connsiteX3" fmla="*/ 598 w 356989"/>
                  <a:gd name="connsiteY3" fmla="*/ 0 h 76194"/>
                </a:gdLst>
                <a:ahLst/>
                <a:cxnLst>
                  <a:cxn ang="0">
                    <a:pos x="connsiteX0" y="connsiteY0"/>
                  </a:cxn>
                  <a:cxn ang="0">
                    <a:pos x="connsiteX1" y="connsiteY1"/>
                  </a:cxn>
                  <a:cxn ang="0">
                    <a:pos x="connsiteX2" y="connsiteY2"/>
                  </a:cxn>
                  <a:cxn ang="0">
                    <a:pos x="connsiteX3" y="connsiteY3"/>
                  </a:cxn>
                </a:cxnLst>
                <a:rect l="l" t="t" r="r" b="b"/>
                <a:pathLst>
                  <a:path w="356989" h="76194">
                    <a:moveTo>
                      <a:pt x="356990" y="73204"/>
                    </a:moveTo>
                    <a:lnTo>
                      <a:pt x="356391" y="76194"/>
                    </a:lnTo>
                    <a:lnTo>
                      <a:pt x="0" y="2990"/>
                    </a:lnTo>
                    <a:lnTo>
                      <a:pt x="598" y="0"/>
                    </a:lnTo>
                    <a:close/>
                  </a:path>
                </a:pathLst>
              </a:custGeom>
              <a:grpFill/>
              <a:ln w="5978" cap="flat">
                <a:noFill/>
                <a:prstDash val="solid"/>
                <a:miter/>
              </a:ln>
            </p:spPr>
            <p:txBody>
              <a:bodyPr rtlCol="0" anchor="ctr"/>
              <a:lstStyle/>
              <a:p>
                <a:endParaRPr lang="en-GB"/>
              </a:p>
            </p:txBody>
          </p:sp>
          <p:sp>
            <p:nvSpPr>
              <p:cNvPr id="4813" name="Vrije vorm: vorm 4812">
                <a:extLst>
                  <a:ext uri="{FF2B5EF4-FFF2-40B4-BE49-F238E27FC236}">
                    <a16:creationId xmlns:a16="http://schemas.microsoft.com/office/drawing/2014/main" id="{3D619885-CB11-4A87-9880-4DC24ED84BF1}"/>
                  </a:ext>
                </a:extLst>
              </p:cNvPr>
              <p:cNvSpPr/>
              <p:nvPr/>
            </p:nvSpPr>
            <p:spPr>
              <a:xfrm>
                <a:off x="7718373" y="3579375"/>
                <a:ext cx="18316" cy="18436"/>
              </a:xfrm>
              <a:custGeom>
                <a:avLst/>
                <a:gdLst>
                  <a:gd name="connsiteX0" fmla="*/ 7364 w 18316"/>
                  <a:gd name="connsiteY0" fmla="*/ 18249 h 18436"/>
                  <a:gd name="connsiteX1" fmla="*/ 187 w 18316"/>
                  <a:gd name="connsiteY1" fmla="*/ 7364 h 18436"/>
                  <a:gd name="connsiteX2" fmla="*/ 10953 w 18316"/>
                  <a:gd name="connsiteY2" fmla="*/ 187 h 18436"/>
                  <a:gd name="connsiteX3" fmla="*/ 18129 w 18316"/>
                  <a:gd name="connsiteY3" fmla="*/ 11072 h 18436"/>
                  <a:gd name="connsiteX4" fmla="*/ 7364 w 18316"/>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7364" y="18249"/>
                    </a:moveTo>
                    <a:cubicBezTo>
                      <a:pt x="2400" y="17232"/>
                      <a:pt x="-830" y="12388"/>
                      <a:pt x="187" y="7364"/>
                    </a:cubicBezTo>
                    <a:cubicBezTo>
                      <a:pt x="1204" y="2400"/>
                      <a:pt x="5988" y="-830"/>
                      <a:pt x="10953" y="187"/>
                    </a:cubicBezTo>
                    <a:cubicBezTo>
                      <a:pt x="15917" y="1204"/>
                      <a:pt x="19146" y="6048"/>
                      <a:pt x="18129" y="11072"/>
                    </a:cubicBezTo>
                    <a:cubicBezTo>
                      <a:pt x="17172" y="16036"/>
                      <a:pt x="12328" y="19266"/>
                      <a:pt x="7364" y="18249"/>
                    </a:cubicBezTo>
                    <a:close/>
                  </a:path>
                </a:pathLst>
              </a:custGeom>
              <a:grpFill/>
              <a:ln w="5978" cap="flat">
                <a:noFill/>
                <a:prstDash val="solid"/>
                <a:miter/>
              </a:ln>
            </p:spPr>
            <p:txBody>
              <a:bodyPr rtlCol="0" anchor="ctr"/>
              <a:lstStyle/>
              <a:p>
                <a:endParaRPr lang="en-GB"/>
              </a:p>
            </p:txBody>
          </p:sp>
          <p:sp>
            <p:nvSpPr>
              <p:cNvPr id="4814" name="Vrije vorm: vorm 4813">
                <a:extLst>
                  <a:ext uri="{FF2B5EF4-FFF2-40B4-BE49-F238E27FC236}">
                    <a16:creationId xmlns:a16="http://schemas.microsoft.com/office/drawing/2014/main" id="{0BE90246-97C2-47DA-A116-190A0677DD25}"/>
                  </a:ext>
                </a:extLst>
              </p:cNvPr>
              <p:cNvSpPr/>
              <p:nvPr/>
            </p:nvSpPr>
            <p:spPr>
              <a:xfrm>
                <a:off x="8073867" y="3652399"/>
                <a:ext cx="18316" cy="18436"/>
              </a:xfrm>
              <a:custGeom>
                <a:avLst/>
                <a:gdLst>
                  <a:gd name="connsiteX0" fmla="*/ 7364 w 18316"/>
                  <a:gd name="connsiteY0" fmla="*/ 18249 h 18436"/>
                  <a:gd name="connsiteX1" fmla="*/ 18129 w 18316"/>
                  <a:gd name="connsiteY1" fmla="*/ 11072 h 18436"/>
                  <a:gd name="connsiteX2" fmla="*/ 10952 w 18316"/>
                  <a:gd name="connsiteY2" fmla="*/ 187 h 18436"/>
                  <a:gd name="connsiteX3" fmla="*/ 187 w 18316"/>
                  <a:gd name="connsiteY3" fmla="*/ 7364 h 18436"/>
                  <a:gd name="connsiteX4" fmla="*/ 7364 w 18316"/>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7364" y="18249"/>
                    </a:moveTo>
                    <a:cubicBezTo>
                      <a:pt x="12328" y="19266"/>
                      <a:pt x="17172" y="16036"/>
                      <a:pt x="18129" y="11072"/>
                    </a:cubicBezTo>
                    <a:cubicBezTo>
                      <a:pt x="19146" y="6108"/>
                      <a:pt x="15916" y="1204"/>
                      <a:pt x="10952" y="187"/>
                    </a:cubicBezTo>
                    <a:cubicBezTo>
                      <a:pt x="5988" y="-830"/>
                      <a:pt x="1144" y="2400"/>
                      <a:pt x="187" y="7364"/>
                    </a:cubicBezTo>
                    <a:cubicBezTo>
                      <a:pt x="-830" y="12388"/>
                      <a:pt x="2400" y="17232"/>
                      <a:pt x="7364" y="18249"/>
                    </a:cubicBezTo>
                    <a:close/>
                  </a:path>
                </a:pathLst>
              </a:custGeom>
              <a:grpFill/>
              <a:ln w="5978" cap="flat">
                <a:noFill/>
                <a:prstDash val="solid"/>
                <a:miter/>
              </a:ln>
            </p:spPr>
            <p:txBody>
              <a:bodyPr rtlCol="0" anchor="ctr"/>
              <a:lstStyle/>
              <a:p>
                <a:endParaRPr lang="en-GB"/>
              </a:p>
            </p:txBody>
          </p:sp>
        </p:grpSp>
        <p:grpSp>
          <p:nvGrpSpPr>
            <p:cNvPr id="190" name="Graphic 3">
              <a:extLst>
                <a:ext uri="{FF2B5EF4-FFF2-40B4-BE49-F238E27FC236}">
                  <a16:creationId xmlns:a16="http://schemas.microsoft.com/office/drawing/2014/main" id="{355CD6CB-4623-4D48-927C-66DC6E6EAFE8}"/>
                </a:ext>
              </a:extLst>
            </p:cNvPr>
            <p:cNvGrpSpPr/>
            <p:nvPr/>
          </p:nvGrpSpPr>
          <p:grpSpPr>
            <a:xfrm>
              <a:off x="7709488" y="3251906"/>
              <a:ext cx="169396" cy="31411"/>
              <a:chOff x="7709488" y="3251906"/>
              <a:chExt cx="169396" cy="31411"/>
            </a:xfrm>
            <a:grpFill/>
          </p:grpSpPr>
          <p:sp>
            <p:nvSpPr>
              <p:cNvPr id="4809" name="Vrije vorm: vorm 4808">
                <a:extLst>
                  <a:ext uri="{FF2B5EF4-FFF2-40B4-BE49-F238E27FC236}">
                    <a16:creationId xmlns:a16="http://schemas.microsoft.com/office/drawing/2014/main" id="{E57FE8B8-46F3-424D-A83E-3816D7273F5A}"/>
                  </a:ext>
                </a:extLst>
              </p:cNvPr>
              <p:cNvSpPr/>
              <p:nvPr/>
            </p:nvSpPr>
            <p:spPr>
              <a:xfrm>
                <a:off x="7718082" y="3259533"/>
                <a:ext cx="152268" cy="16088"/>
              </a:xfrm>
              <a:custGeom>
                <a:avLst/>
                <a:gdLst>
                  <a:gd name="connsiteX0" fmla="*/ 151970 w 152268"/>
                  <a:gd name="connsiteY0" fmla="*/ 0 h 16088"/>
                  <a:gd name="connsiteX1" fmla="*/ 152269 w 152268"/>
                  <a:gd name="connsiteY1" fmla="*/ 3050 h 16088"/>
                  <a:gd name="connsiteX2" fmla="*/ 239 w 152268"/>
                  <a:gd name="connsiteY2" fmla="*/ 16088 h 16088"/>
                  <a:gd name="connsiteX3" fmla="*/ 0 w 152268"/>
                  <a:gd name="connsiteY3" fmla="*/ 13038 h 16088"/>
                </a:gdLst>
                <a:ahLst/>
                <a:cxnLst>
                  <a:cxn ang="0">
                    <a:pos x="connsiteX0" y="connsiteY0"/>
                  </a:cxn>
                  <a:cxn ang="0">
                    <a:pos x="connsiteX1" y="connsiteY1"/>
                  </a:cxn>
                  <a:cxn ang="0">
                    <a:pos x="connsiteX2" y="connsiteY2"/>
                  </a:cxn>
                  <a:cxn ang="0">
                    <a:pos x="connsiteX3" y="connsiteY3"/>
                  </a:cxn>
                </a:cxnLst>
                <a:rect l="l" t="t" r="r" b="b"/>
                <a:pathLst>
                  <a:path w="152268" h="16088">
                    <a:moveTo>
                      <a:pt x="151970" y="0"/>
                    </a:moveTo>
                    <a:lnTo>
                      <a:pt x="152269" y="3050"/>
                    </a:lnTo>
                    <a:lnTo>
                      <a:pt x="239" y="16088"/>
                    </a:lnTo>
                    <a:lnTo>
                      <a:pt x="0" y="13038"/>
                    </a:lnTo>
                    <a:close/>
                  </a:path>
                </a:pathLst>
              </a:custGeom>
              <a:grpFill/>
              <a:ln w="5978" cap="flat">
                <a:noFill/>
                <a:prstDash val="solid"/>
                <a:miter/>
              </a:ln>
            </p:spPr>
            <p:txBody>
              <a:bodyPr rtlCol="0" anchor="ctr"/>
              <a:lstStyle/>
              <a:p>
                <a:endParaRPr lang="en-GB"/>
              </a:p>
            </p:txBody>
          </p:sp>
          <p:sp>
            <p:nvSpPr>
              <p:cNvPr id="4810" name="Vrije vorm: vorm 4809">
                <a:extLst>
                  <a:ext uri="{FF2B5EF4-FFF2-40B4-BE49-F238E27FC236}">
                    <a16:creationId xmlns:a16="http://schemas.microsoft.com/office/drawing/2014/main" id="{01CBD19E-5A63-4F9F-AA0A-D50575253FDE}"/>
                  </a:ext>
                </a:extLst>
              </p:cNvPr>
              <p:cNvSpPr/>
              <p:nvPr/>
            </p:nvSpPr>
            <p:spPr>
              <a:xfrm>
                <a:off x="7860570" y="3251906"/>
                <a:ext cx="18314" cy="18424"/>
              </a:xfrm>
              <a:custGeom>
                <a:avLst/>
                <a:gdLst>
                  <a:gd name="connsiteX0" fmla="*/ 8345 w 18314"/>
                  <a:gd name="connsiteY0" fmla="*/ 32 h 18424"/>
                  <a:gd name="connsiteX1" fmla="*/ 18274 w 18314"/>
                  <a:gd name="connsiteY1" fmla="*/ 8405 h 18424"/>
                  <a:gd name="connsiteX2" fmla="*/ 9960 w 18314"/>
                  <a:gd name="connsiteY2" fmla="*/ 18393 h 18424"/>
                  <a:gd name="connsiteX3" fmla="*/ 32 w 18314"/>
                  <a:gd name="connsiteY3" fmla="*/ 10020 h 18424"/>
                  <a:gd name="connsiteX4" fmla="*/ 8345 w 18314"/>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24">
                    <a:moveTo>
                      <a:pt x="8345" y="32"/>
                    </a:moveTo>
                    <a:cubicBezTo>
                      <a:pt x="13369" y="-387"/>
                      <a:pt x="17855" y="3381"/>
                      <a:pt x="18274" y="8405"/>
                    </a:cubicBezTo>
                    <a:cubicBezTo>
                      <a:pt x="18752" y="13488"/>
                      <a:pt x="14984" y="17914"/>
                      <a:pt x="9960" y="18393"/>
                    </a:cubicBezTo>
                    <a:cubicBezTo>
                      <a:pt x="4936" y="18811"/>
                      <a:pt x="451" y="15043"/>
                      <a:pt x="32" y="10020"/>
                    </a:cubicBezTo>
                    <a:cubicBezTo>
                      <a:pt x="-386" y="4876"/>
                      <a:pt x="3322" y="450"/>
                      <a:pt x="8345" y="32"/>
                    </a:cubicBezTo>
                    <a:close/>
                  </a:path>
                </a:pathLst>
              </a:custGeom>
              <a:grpFill/>
              <a:ln w="5978" cap="flat">
                <a:noFill/>
                <a:prstDash val="solid"/>
                <a:miter/>
              </a:ln>
            </p:spPr>
            <p:txBody>
              <a:bodyPr rtlCol="0" anchor="ctr"/>
              <a:lstStyle/>
              <a:p>
                <a:endParaRPr lang="en-GB"/>
              </a:p>
            </p:txBody>
          </p:sp>
          <p:sp>
            <p:nvSpPr>
              <p:cNvPr id="4811" name="Vrije vorm: vorm 4810">
                <a:extLst>
                  <a:ext uri="{FF2B5EF4-FFF2-40B4-BE49-F238E27FC236}">
                    <a16:creationId xmlns:a16="http://schemas.microsoft.com/office/drawing/2014/main" id="{FF967746-93A0-4E8D-9972-0F53362B2AAE}"/>
                  </a:ext>
                </a:extLst>
              </p:cNvPr>
              <p:cNvSpPr/>
              <p:nvPr/>
            </p:nvSpPr>
            <p:spPr>
              <a:xfrm>
                <a:off x="7709488" y="3264875"/>
                <a:ext cx="18314" cy="18442"/>
              </a:xfrm>
              <a:custGeom>
                <a:avLst/>
                <a:gdLst>
                  <a:gd name="connsiteX0" fmla="*/ 8354 w 18314"/>
                  <a:gd name="connsiteY0" fmla="*/ 41 h 18442"/>
                  <a:gd name="connsiteX1" fmla="*/ 41 w 18314"/>
                  <a:gd name="connsiteY1" fmla="*/ 10029 h 18442"/>
                  <a:gd name="connsiteX2" fmla="*/ 9969 w 18314"/>
                  <a:gd name="connsiteY2" fmla="*/ 18402 h 18442"/>
                  <a:gd name="connsiteX3" fmla="*/ 18282 w 18314"/>
                  <a:gd name="connsiteY3" fmla="*/ 8414 h 18442"/>
                  <a:gd name="connsiteX4" fmla="*/ 8354 w 18314"/>
                  <a:gd name="connsiteY4" fmla="*/ 41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42">
                    <a:moveTo>
                      <a:pt x="8354" y="41"/>
                    </a:moveTo>
                    <a:cubicBezTo>
                      <a:pt x="3331" y="460"/>
                      <a:pt x="-437" y="4945"/>
                      <a:pt x="41" y="10029"/>
                    </a:cubicBezTo>
                    <a:cubicBezTo>
                      <a:pt x="519" y="15112"/>
                      <a:pt x="4946" y="18880"/>
                      <a:pt x="9969" y="18402"/>
                    </a:cubicBezTo>
                    <a:cubicBezTo>
                      <a:pt x="14993" y="17983"/>
                      <a:pt x="18701" y="13498"/>
                      <a:pt x="18282" y="8414"/>
                    </a:cubicBezTo>
                    <a:cubicBezTo>
                      <a:pt x="17863" y="3330"/>
                      <a:pt x="13378" y="-438"/>
                      <a:pt x="8354" y="41"/>
                    </a:cubicBezTo>
                    <a:close/>
                  </a:path>
                </a:pathLst>
              </a:custGeom>
              <a:grpFill/>
              <a:ln w="5978" cap="flat">
                <a:noFill/>
                <a:prstDash val="solid"/>
                <a:miter/>
              </a:ln>
            </p:spPr>
            <p:txBody>
              <a:bodyPr rtlCol="0" anchor="ctr"/>
              <a:lstStyle/>
              <a:p>
                <a:endParaRPr lang="en-GB"/>
              </a:p>
            </p:txBody>
          </p:sp>
        </p:grpSp>
        <p:grpSp>
          <p:nvGrpSpPr>
            <p:cNvPr id="191" name="Graphic 3">
              <a:extLst>
                <a:ext uri="{FF2B5EF4-FFF2-40B4-BE49-F238E27FC236}">
                  <a16:creationId xmlns:a16="http://schemas.microsoft.com/office/drawing/2014/main" id="{DAE50C55-9B83-4976-B864-5787311991AF}"/>
                </a:ext>
              </a:extLst>
            </p:cNvPr>
            <p:cNvGrpSpPr/>
            <p:nvPr/>
          </p:nvGrpSpPr>
          <p:grpSpPr>
            <a:xfrm>
              <a:off x="7474585" y="2456021"/>
              <a:ext cx="125518" cy="84889"/>
              <a:chOff x="7474585" y="2456021"/>
              <a:chExt cx="125518" cy="84889"/>
            </a:xfrm>
            <a:grpFill/>
          </p:grpSpPr>
          <p:sp>
            <p:nvSpPr>
              <p:cNvPr id="4806" name="Vrije vorm: vorm 4805">
                <a:extLst>
                  <a:ext uri="{FF2B5EF4-FFF2-40B4-BE49-F238E27FC236}">
                    <a16:creationId xmlns:a16="http://schemas.microsoft.com/office/drawing/2014/main" id="{73527ECC-FEEF-4CE8-B361-487AB4CCD8B6}"/>
                  </a:ext>
                </a:extLst>
              </p:cNvPr>
              <p:cNvSpPr/>
              <p:nvPr/>
            </p:nvSpPr>
            <p:spPr>
              <a:xfrm>
                <a:off x="7482561" y="2463679"/>
                <a:ext cx="109566" cy="69555"/>
              </a:xfrm>
              <a:custGeom>
                <a:avLst/>
                <a:gdLst>
                  <a:gd name="connsiteX0" fmla="*/ 109567 w 109566"/>
                  <a:gd name="connsiteY0" fmla="*/ 2632 h 69555"/>
                  <a:gd name="connsiteX1" fmla="*/ 1615 w 109566"/>
                  <a:gd name="connsiteY1" fmla="*/ 69556 h 69555"/>
                  <a:gd name="connsiteX2" fmla="*/ 0 w 109566"/>
                  <a:gd name="connsiteY2" fmla="*/ 66924 h 69555"/>
                  <a:gd name="connsiteX3" fmla="*/ 107952 w 109566"/>
                  <a:gd name="connsiteY3" fmla="*/ 0 h 69555"/>
                </a:gdLst>
                <a:ahLst/>
                <a:cxnLst>
                  <a:cxn ang="0">
                    <a:pos x="connsiteX0" y="connsiteY0"/>
                  </a:cxn>
                  <a:cxn ang="0">
                    <a:pos x="connsiteX1" y="connsiteY1"/>
                  </a:cxn>
                  <a:cxn ang="0">
                    <a:pos x="connsiteX2" y="connsiteY2"/>
                  </a:cxn>
                  <a:cxn ang="0">
                    <a:pos x="connsiteX3" y="connsiteY3"/>
                  </a:cxn>
                </a:cxnLst>
                <a:rect l="l" t="t" r="r" b="b"/>
                <a:pathLst>
                  <a:path w="109566" h="69555">
                    <a:moveTo>
                      <a:pt x="109567" y="2632"/>
                    </a:moveTo>
                    <a:lnTo>
                      <a:pt x="1615" y="69556"/>
                    </a:lnTo>
                    <a:lnTo>
                      <a:pt x="0" y="66924"/>
                    </a:lnTo>
                    <a:lnTo>
                      <a:pt x="107952" y="0"/>
                    </a:lnTo>
                    <a:close/>
                  </a:path>
                </a:pathLst>
              </a:custGeom>
              <a:grpFill/>
              <a:ln w="5978" cap="flat">
                <a:noFill/>
                <a:prstDash val="solid"/>
                <a:miter/>
              </a:ln>
            </p:spPr>
            <p:txBody>
              <a:bodyPr rtlCol="0" anchor="ctr"/>
              <a:lstStyle/>
              <a:p>
                <a:endParaRPr lang="en-GB"/>
              </a:p>
            </p:txBody>
          </p:sp>
          <p:sp>
            <p:nvSpPr>
              <p:cNvPr id="4807" name="Vrije vorm: vorm 4806">
                <a:extLst>
                  <a:ext uri="{FF2B5EF4-FFF2-40B4-BE49-F238E27FC236}">
                    <a16:creationId xmlns:a16="http://schemas.microsoft.com/office/drawing/2014/main" id="{49CF508B-30B7-47FD-9171-9BDDC028B82E}"/>
                  </a:ext>
                </a:extLst>
              </p:cNvPr>
              <p:cNvSpPr/>
              <p:nvPr/>
            </p:nvSpPr>
            <p:spPr>
              <a:xfrm>
                <a:off x="7581759" y="2456021"/>
                <a:ext cx="18343" cy="18484"/>
              </a:xfrm>
              <a:custGeom>
                <a:avLst/>
                <a:gdLst>
                  <a:gd name="connsiteX0" fmla="*/ 4327 w 18343"/>
                  <a:gd name="connsiteY0" fmla="*/ 1378 h 18484"/>
                  <a:gd name="connsiteX1" fmla="*/ 16946 w 18343"/>
                  <a:gd name="connsiteY1" fmla="*/ 4428 h 18484"/>
                  <a:gd name="connsiteX2" fmla="*/ 14016 w 18343"/>
                  <a:gd name="connsiteY2" fmla="*/ 17107 h 18484"/>
                  <a:gd name="connsiteX3" fmla="*/ 1397 w 18343"/>
                  <a:gd name="connsiteY3" fmla="*/ 14057 h 18484"/>
                  <a:gd name="connsiteX4" fmla="*/ 4327 w 18343"/>
                  <a:gd name="connsiteY4" fmla="*/ 137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4327" y="1378"/>
                    </a:moveTo>
                    <a:cubicBezTo>
                      <a:pt x="8633" y="-1314"/>
                      <a:pt x="14255" y="62"/>
                      <a:pt x="16946" y="4428"/>
                    </a:cubicBezTo>
                    <a:cubicBezTo>
                      <a:pt x="19638" y="8734"/>
                      <a:pt x="18323" y="14416"/>
                      <a:pt x="14016" y="17107"/>
                    </a:cubicBezTo>
                    <a:cubicBezTo>
                      <a:pt x="9710" y="19798"/>
                      <a:pt x="4089" y="18423"/>
                      <a:pt x="1397" y="14057"/>
                    </a:cubicBezTo>
                    <a:cubicBezTo>
                      <a:pt x="-1294" y="9691"/>
                      <a:pt x="21" y="4009"/>
                      <a:pt x="4327" y="1378"/>
                    </a:cubicBezTo>
                    <a:close/>
                  </a:path>
                </a:pathLst>
              </a:custGeom>
              <a:grpFill/>
              <a:ln w="5978" cap="flat">
                <a:noFill/>
                <a:prstDash val="solid"/>
                <a:miter/>
              </a:ln>
            </p:spPr>
            <p:txBody>
              <a:bodyPr rtlCol="0" anchor="ctr"/>
              <a:lstStyle/>
              <a:p>
                <a:endParaRPr lang="en-GB"/>
              </a:p>
            </p:txBody>
          </p:sp>
          <p:sp>
            <p:nvSpPr>
              <p:cNvPr id="4808" name="Vrije vorm: vorm 4807">
                <a:extLst>
                  <a:ext uri="{FF2B5EF4-FFF2-40B4-BE49-F238E27FC236}">
                    <a16:creationId xmlns:a16="http://schemas.microsoft.com/office/drawing/2014/main" id="{9F21A0D4-2EFD-4EFB-BDD2-89EDE777F83A}"/>
                  </a:ext>
                </a:extLst>
              </p:cNvPr>
              <p:cNvSpPr/>
              <p:nvPr/>
            </p:nvSpPr>
            <p:spPr>
              <a:xfrm>
                <a:off x="7474585" y="2522467"/>
                <a:ext cx="18343" cy="18443"/>
              </a:xfrm>
              <a:custGeom>
                <a:avLst/>
                <a:gdLst>
                  <a:gd name="connsiteX0" fmla="*/ 4328 w 18343"/>
                  <a:gd name="connsiteY0" fmla="*/ 1378 h 18443"/>
                  <a:gd name="connsiteX1" fmla="*/ 1397 w 18343"/>
                  <a:gd name="connsiteY1" fmla="*/ 14057 h 18443"/>
                  <a:gd name="connsiteX2" fmla="*/ 14016 w 18343"/>
                  <a:gd name="connsiteY2" fmla="*/ 17107 h 18443"/>
                  <a:gd name="connsiteX3" fmla="*/ 16947 w 18343"/>
                  <a:gd name="connsiteY3" fmla="*/ 4428 h 18443"/>
                  <a:gd name="connsiteX4" fmla="*/ 4328 w 18343"/>
                  <a:gd name="connsiteY4" fmla="*/ 1378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3">
                    <a:moveTo>
                      <a:pt x="4328" y="1378"/>
                    </a:moveTo>
                    <a:cubicBezTo>
                      <a:pt x="21" y="4069"/>
                      <a:pt x="-1295" y="9691"/>
                      <a:pt x="1397" y="14057"/>
                    </a:cubicBezTo>
                    <a:cubicBezTo>
                      <a:pt x="4088" y="18363"/>
                      <a:pt x="9710" y="19738"/>
                      <a:pt x="14016" y="17107"/>
                    </a:cubicBezTo>
                    <a:cubicBezTo>
                      <a:pt x="18322" y="14416"/>
                      <a:pt x="19638" y="8794"/>
                      <a:pt x="16947" y="4428"/>
                    </a:cubicBezTo>
                    <a:cubicBezTo>
                      <a:pt x="14255" y="62"/>
                      <a:pt x="8634" y="-1314"/>
                      <a:pt x="4328" y="1378"/>
                    </a:cubicBezTo>
                    <a:close/>
                  </a:path>
                </a:pathLst>
              </a:custGeom>
              <a:grpFill/>
              <a:ln w="5978" cap="flat">
                <a:noFill/>
                <a:prstDash val="solid"/>
                <a:miter/>
              </a:ln>
            </p:spPr>
            <p:txBody>
              <a:bodyPr rtlCol="0" anchor="ctr"/>
              <a:lstStyle/>
              <a:p>
                <a:endParaRPr lang="en-GB"/>
              </a:p>
            </p:txBody>
          </p:sp>
        </p:grpSp>
        <p:grpSp>
          <p:nvGrpSpPr>
            <p:cNvPr id="192" name="Graphic 3">
              <a:extLst>
                <a:ext uri="{FF2B5EF4-FFF2-40B4-BE49-F238E27FC236}">
                  <a16:creationId xmlns:a16="http://schemas.microsoft.com/office/drawing/2014/main" id="{6192291F-064C-412C-84FC-78E01D165E59}"/>
                </a:ext>
              </a:extLst>
            </p:cNvPr>
            <p:cNvGrpSpPr/>
            <p:nvPr/>
          </p:nvGrpSpPr>
          <p:grpSpPr>
            <a:xfrm>
              <a:off x="7347777" y="2208745"/>
              <a:ext cx="236732" cy="153296"/>
              <a:chOff x="7347777" y="2208745"/>
              <a:chExt cx="236732" cy="153296"/>
            </a:xfrm>
            <a:grpFill/>
          </p:grpSpPr>
          <p:sp>
            <p:nvSpPr>
              <p:cNvPr id="4803" name="Vrije vorm: vorm 4802">
                <a:extLst>
                  <a:ext uri="{FF2B5EF4-FFF2-40B4-BE49-F238E27FC236}">
                    <a16:creationId xmlns:a16="http://schemas.microsoft.com/office/drawing/2014/main" id="{D0791AE8-7A86-4B54-A94C-71832C1455F4}"/>
                  </a:ext>
                </a:extLst>
              </p:cNvPr>
              <p:cNvSpPr/>
              <p:nvPr/>
            </p:nvSpPr>
            <p:spPr>
              <a:xfrm>
                <a:off x="7355942" y="2216210"/>
                <a:ext cx="220734" cy="137901"/>
              </a:xfrm>
              <a:custGeom>
                <a:avLst/>
                <a:gdLst>
                  <a:gd name="connsiteX0" fmla="*/ 0 w 220734"/>
                  <a:gd name="connsiteY0" fmla="*/ 135306 h 137901"/>
                  <a:gd name="connsiteX1" fmla="*/ 219133 w 220734"/>
                  <a:gd name="connsiteY1" fmla="*/ 0 h 137901"/>
                  <a:gd name="connsiteX2" fmla="*/ 220735 w 220734"/>
                  <a:gd name="connsiteY2" fmla="*/ 2595 h 137901"/>
                  <a:gd name="connsiteX3" fmla="*/ 1603 w 220734"/>
                  <a:gd name="connsiteY3" fmla="*/ 137902 h 137901"/>
                </a:gdLst>
                <a:ahLst/>
                <a:cxnLst>
                  <a:cxn ang="0">
                    <a:pos x="connsiteX0" y="connsiteY0"/>
                  </a:cxn>
                  <a:cxn ang="0">
                    <a:pos x="connsiteX1" y="connsiteY1"/>
                  </a:cxn>
                  <a:cxn ang="0">
                    <a:pos x="connsiteX2" y="connsiteY2"/>
                  </a:cxn>
                  <a:cxn ang="0">
                    <a:pos x="connsiteX3" y="connsiteY3"/>
                  </a:cxn>
                </a:cxnLst>
                <a:rect l="l" t="t" r="r" b="b"/>
                <a:pathLst>
                  <a:path w="220734" h="137901">
                    <a:moveTo>
                      <a:pt x="0" y="135306"/>
                    </a:moveTo>
                    <a:lnTo>
                      <a:pt x="219133" y="0"/>
                    </a:lnTo>
                    <a:lnTo>
                      <a:pt x="220735" y="2595"/>
                    </a:lnTo>
                    <a:lnTo>
                      <a:pt x="1603" y="137902"/>
                    </a:lnTo>
                    <a:close/>
                  </a:path>
                </a:pathLst>
              </a:custGeom>
              <a:grpFill/>
              <a:ln w="5978" cap="flat">
                <a:noFill/>
                <a:prstDash val="solid"/>
                <a:miter/>
              </a:ln>
            </p:spPr>
            <p:txBody>
              <a:bodyPr rtlCol="0" anchor="ctr"/>
              <a:lstStyle/>
              <a:p>
                <a:endParaRPr lang="en-GB"/>
              </a:p>
            </p:txBody>
          </p:sp>
          <p:sp>
            <p:nvSpPr>
              <p:cNvPr id="4804" name="Vrije vorm: vorm 4803">
                <a:extLst>
                  <a:ext uri="{FF2B5EF4-FFF2-40B4-BE49-F238E27FC236}">
                    <a16:creationId xmlns:a16="http://schemas.microsoft.com/office/drawing/2014/main" id="{CAD63A13-6168-4BA1-8AC5-4E3FF70E2D4F}"/>
                  </a:ext>
                </a:extLst>
              </p:cNvPr>
              <p:cNvSpPr/>
              <p:nvPr/>
            </p:nvSpPr>
            <p:spPr>
              <a:xfrm>
                <a:off x="7347777" y="2343610"/>
                <a:ext cx="18343" cy="18431"/>
              </a:xfrm>
              <a:custGeom>
                <a:avLst/>
                <a:gdLst>
                  <a:gd name="connsiteX0" fmla="*/ 13973 w 18343"/>
                  <a:gd name="connsiteY0" fmla="*/ 17080 h 18431"/>
                  <a:gd name="connsiteX1" fmla="*/ 1353 w 18343"/>
                  <a:gd name="connsiteY1" fmla="*/ 14030 h 18431"/>
                  <a:gd name="connsiteX2" fmla="*/ 4344 w 18343"/>
                  <a:gd name="connsiteY2" fmla="*/ 1351 h 18431"/>
                  <a:gd name="connsiteX3" fmla="*/ 16963 w 18343"/>
                  <a:gd name="connsiteY3" fmla="*/ 4401 h 18431"/>
                  <a:gd name="connsiteX4" fmla="*/ 13973 w 18343"/>
                  <a:gd name="connsiteY4" fmla="*/ 1708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31">
                    <a:moveTo>
                      <a:pt x="13973" y="17080"/>
                    </a:moveTo>
                    <a:cubicBezTo>
                      <a:pt x="9667" y="19712"/>
                      <a:pt x="4045" y="18396"/>
                      <a:pt x="1353" y="14030"/>
                    </a:cubicBezTo>
                    <a:cubicBezTo>
                      <a:pt x="-1278" y="9664"/>
                      <a:pt x="38" y="4042"/>
                      <a:pt x="4344" y="1351"/>
                    </a:cubicBezTo>
                    <a:cubicBezTo>
                      <a:pt x="8650" y="-1280"/>
                      <a:pt x="14272" y="35"/>
                      <a:pt x="16963" y="4401"/>
                    </a:cubicBezTo>
                    <a:cubicBezTo>
                      <a:pt x="19655" y="8707"/>
                      <a:pt x="18279" y="14389"/>
                      <a:pt x="13973" y="17080"/>
                    </a:cubicBezTo>
                    <a:close/>
                  </a:path>
                </a:pathLst>
              </a:custGeom>
              <a:grpFill/>
              <a:ln w="5978" cap="flat">
                <a:noFill/>
                <a:prstDash val="solid"/>
                <a:miter/>
              </a:ln>
            </p:spPr>
            <p:txBody>
              <a:bodyPr rtlCol="0" anchor="ctr"/>
              <a:lstStyle/>
              <a:p>
                <a:endParaRPr lang="en-GB"/>
              </a:p>
            </p:txBody>
          </p:sp>
          <p:sp>
            <p:nvSpPr>
              <p:cNvPr id="4805" name="Vrije vorm: vorm 4804">
                <a:extLst>
                  <a:ext uri="{FF2B5EF4-FFF2-40B4-BE49-F238E27FC236}">
                    <a16:creationId xmlns:a16="http://schemas.microsoft.com/office/drawing/2014/main" id="{4C42819A-E5E0-4358-8FE5-D22E9038D620}"/>
                  </a:ext>
                </a:extLst>
              </p:cNvPr>
              <p:cNvSpPr/>
              <p:nvPr/>
            </p:nvSpPr>
            <p:spPr>
              <a:xfrm>
                <a:off x="7566193" y="2208745"/>
                <a:ext cx="18316" cy="18457"/>
              </a:xfrm>
              <a:custGeom>
                <a:avLst/>
                <a:gdLst>
                  <a:gd name="connsiteX0" fmla="*/ 13973 w 18316"/>
                  <a:gd name="connsiteY0" fmla="*/ 17080 h 18457"/>
                  <a:gd name="connsiteX1" fmla="*/ 16963 w 18316"/>
                  <a:gd name="connsiteY1" fmla="*/ 4401 h 18457"/>
                  <a:gd name="connsiteX2" fmla="*/ 4344 w 18316"/>
                  <a:gd name="connsiteY2" fmla="*/ 1351 h 18457"/>
                  <a:gd name="connsiteX3" fmla="*/ 1353 w 18316"/>
                  <a:gd name="connsiteY3" fmla="*/ 14030 h 18457"/>
                  <a:gd name="connsiteX4" fmla="*/ 13973 w 18316"/>
                  <a:gd name="connsiteY4" fmla="*/ 1708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7">
                    <a:moveTo>
                      <a:pt x="13973" y="17080"/>
                    </a:moveTo>
                    <a:cubicBezTo>
                      <a:pt x="18279" y="14449"/>
                      <a:pt x="19595" y="8767"/>
                      <a:pt x="16963" y="4401"/>
                    </a:cubicBezTo>
                    <a:cubicBezTo>
                      <a:pt x="14332" y="35"/>
                      <a:pt x="8650" y="-1280"/>
                      <a:pt x="4344" y="1351"/>
                    </a:cubicBezTo>
                    <a:cubicBezTo>
                      <a:pt x="38" y="3983"/>
                      <a:pt x="-1278" y="9664"/>
                      <a:pt x="1353" y="14030"/>
                    </a:cubicBezTo>
                    <a:cubicBezTo>
                      <a:pt x="3985" y="18396"/>
                      <a:pt x="9667" y="19772"/>
                      <a:pt x="13973" y="17080"/>
                    </a:cubicBezTo>
                    <a:close/>
                  </a:path>
                </a:pathLst>
              </a:custGeom>
              <a:grpFill/>
              <a:ln w="5978" cap="flat">
                <a:noFill/>
                <a:prstDash val="solid"/>
                <a:miter/>
              </a:ln>
            </p:spPr>
            <p:txBody>
              <a:bodyPr rtlCol="0" anchor="ctr"/>
              <a:lstStyle/>
              <a:p>
                <a:endParaRPr lang="en-GB"/>
              </a:p>
            </p:txBody>
          </p:sp>
        </p:grpSp>
        <p:grpSp>
          <p:nvGrpSpPr>
            <p:cNvPr id="193" name="Graphic 3">
              <a:extLst>
                <a:ext uri="{FF2B5EF4-FFF2-40B4-BE49-F238E27FC236}">
                  <a16:creationId xmlns:a16="http://schemas.microsoft.com/office/drawing/2014/main" id="{0AEC1BA7-E54E-4DFA-9444-30A6AA76E243}"/>
                </a:ext>
              </a:extLst>
            </p:cNvPr>
            <p:cNvGrpSpPr/>
            <p:nvPr/>
          </p:nvGrpSpPr>
          <p:grpSpPr>
            <a:xfrm>
              <a:off x="7709223" y="3185188"/>
              <a:ext cx="152593" cy="35057"/>
              <a:chOff x="7709223" y="3185188"/>
              <a:chExt cx="152593" cy="35057"/>
            </a:xfrm>
            <a:grpFill/>
          </p:grpSpPr>
          <p:sp>
            <p:nvSpPr>
              <p:cNvPr id="4800" name="Vrije vorm: vorm 4799">
                <a:extLst>
                  <a:ext uri="{FF2B5EF4-FFF2-40B4-BE49-F238E27FC236}">
                    <a16:creationId xmlns:a16="http://schemas.microsoft.com/office/drawing/2014/main" id="{4EDDE4FE-069B-4428-B8A4-35974441DBDB}"/>
                  </a:ext>
                </a:extLst>
              </p:cNvPr>
              <p:cNvSpPr/>
              <p:nvPr/>
            </p:nvSpPr>
            <p:spPr>
              <a:xfrm>
                <a:off x="7717722" y="3192788"/>
                <a:ext cx="135643" cy="19796"/>
              </a:xfrm>
              <a:custGeom>
                <a:avLst/>
                <a:gdLst>
                  <a:gd name="connsiteX0" fmla="*/ 135224 w 135643"/>
                  <a:gd name="connsiteY0" fmla="*/ 0 h 19796"/>
                  <a:gd name="connsiteX1" fmla="*/ 135643 w 135643"/>
                  <a:gd name="connsiteY1" fmla="*/ 3050 h 19796"/>
                  <a:gd name="connsiteX2" fmla="*/ 419 w 135643"/>
                  <a:gd name="connsiteY2" fmla="*/ 19796 h 19796"/>
                  <a:gd name="connsiteX3" fmla="*/ 0 w 135643"/>
                  <a:gd name="connsiteY3" fmla="*/ 16746 h 19796"/>
                </a:gdLst>
                <a:ahLst/>
                <a:cxnLst>
                  <a:cxn ang="0">
                    <a:pos x="connsiteX0" y="connsiteY0"/>
                  </a:cxn>
                  <a:cxn ang="0">
                    <a:pos x="connsiteX1" y="connsiteY1"/>
                  </a:cxn>
                  <a:cxn ang="0">
                    <a:pos x="connsiteX2" y="connsiteY2"/>
                  </a:cxn>
                  <a:cxn ang="0">
                    <a:pos x="connsiteX3" y="connsiteY3"/>
                  </a:cxn>
                </a:cxnLst>
                <a:rect l="l" t="t" r="r" b="b"/>
                <a:pathLst>
                  <a:path w="135643" h="19796">
                    <a:moveTo>
                      <a:pt x="135224" y="0"/>
                    </a:moveTo>
                    <a:lnTo>
                      <a:pt x="135643" y="3050"/>
                    </a:lnTo>
                    <a:lnTo>
                      <a:pt x="419" y="19796"/>
                    </a:lnTo>
                    <a:lnTo>
                      <a:pt x="0" y="16746"/>
                    </a:lnTo>
                    <a:close/>
                  </a:path>
                </a:pathLst>
              </a:custGeom>
              <a:grpFill/>
              <a:ln w="5978" cap="flat">
                <a:noFill/>
                <a:prstDash val="solid"/>
                <a:miter/>
              </a:ln>
            </p:spPr>
            <p:txBody>
              <a:bodyPr rtlCol="0" anchor="ctr"/>
              <a:lstStyle/>
              <a:p>
                <a:endParaRPr lang="en-GB"/>
              </a:p>
            </p:txBody>
          </p:sp>
          <p:sp>
            <p:nvSpPr>
              <p:cNvPr id="4801" name="Vrije vorm: vorm 4800">
                <a:extLst>
                  <a:ext uri="{FF2B5EF4-FFF2-40B4-BE49-F238E27FC236}">
                    <a16:creationId xmlns:a16="http://schemas.microsoft.com/office/drawing/2014/main" id="{D7CBEE69-99A3-4D3C-9D42-B9B0390BF2FC}"/>
                  </a:ext>
                </a:extLst>
              </p:cNvPr>
              <p:cNvSpPr/>
              <p:nvPr/>
            </p:nvSpPr>
            <p:spPr>
              <a:xfrm>
                <a:off x="7843491" y="3185188"/>
                <a:ext cx="18325" cy="18431"/>
              </a:xfrm>
              <a:custGeom>
                <a:avLst/>
                <a:gdLst>
                  <a:gd name="connsiteX0" fmla="*/ 8020 w 18325"/>
                  <a:gd name="connsiteY0" fmla="*/ 65 h 18431"/>
                  <a:gd name="connsiteX1" fmla="*/ 18248 w 18325"/>
                  <a:gd name="connsiteY1" fmla="*/ 8079 h 18431"/>
                  <a:gd name="connsiteX2" fmla="*/ 10293 w 18325"/>
                  <a:gd name="connsiteY2" fmla="*/ 18366 h 18431"/>
                  <a:gd name="connsiteX3" fmla="*/ 66 w 18325"/>
                  <a:gd name="connsiteY3" fmla="*/ 10352 h 18431"/>
                  <a:gd name="connsiteX4" fmla="*/ 8020 w 18325"/>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1">
                    <a:moveTo>
                      <a:pt x="8020" y="65"/>
                    </a:moveTo>
                    <a:cubicBezTo>
                      <a:pt x="13044" y="-533"/>
                      <a:pt x="17649" y="3055"/>
                      <a:pt x="18248" y="8079"/>
                    </a:cubicBezTo>
                    <a:cubicBezTo>
                      <a:pt x="18905" y="13103"/>
                      <a:pt x="15316" y="17708"/>
                      <a:pt x="10293" y="18366"/>
                    </a:cubicBezTo>
                    <a:cubicBezTo>
                      <a:pt x="5269" y="18964"/>
                      <a:pt x="664" y="15376"/>
                      <a:pt x="66" y="10352"/>
                    </a:cubicBezTo>
                    <a:cubicBezTo>
                      <a:pt x="-532" y="5268"/>
                      <a:pt x="2997" y="663"/>
                      <a:pt x="8020" y="65"/>
                    </a:cubicBezTo>
                    <a:close/>
                  </a:path>
                </a:pathLst>
              </a:custGeom>
              <a:grpFill/>
              <a:ln w="5978" cap="flat">
                <a:noFill/>
                <a:prstDash val="solid"/>
                <a:miter/>
              </a:ln>
            </p:spPr>
            <p:txBody>
              <a:bodyPr rtlCol="0" anchor="ctr"/>
              <a:lstStyle/>
              <a:p>
                <a:endParaRPr lang="en-GB"/>
              </a:p>
            </p:txBody>
          </p:sp>
          <p:sp>
            <p:nvSpPr>
              <p:cNvPr id="4802" name="Vrije vorm: vorm 4801">
                <a:extLst>
                  <a:ext uri="{FF2B5EF4-FFF2-40B4-BE49-F238E27FC236}">
                    <a16:creationId xmlns:a16="http://schemas.microsoft.com/office/drawing/2014/main" id="{55A23A75-B5FB-48A0-8DFC-BF5524C94375}"/>
                  </a:ext>
                </a:extLst>
              </p:cNvPr>
              <p:cNvSpPr/>
              <p:nvPr/>
            </p:nvSpPr>
            <p:spPr>
              <a:xfrm>
                <a:off x="7709223" y="3201814"/>
                <a:ext cx="18313" cy="18431"/>
              </a:xfrm>
              <a:custGeom>
                <a:avLst/>
                <a:gdLst>
                  <a:gd name="connsiteX0" fmla="*/ 8021 w 18313"/>
                  <a:gd name="connsiteY0" fmla="*/ 65 h 18431"/>
                  <a:gd name="connsiteX1" fmla="*/ 66 w 18313"/>
                  <a:gd name="connsiteY1" fmla="*/ 10352 h 18431"/>
                  <a:gd name="connsiteX2" fmla="*/ 10294 w 18313"/>
                  <a:gd name="connsiteY2" fmla="*/ 18366 h 18431"/>
                  <a:gd name="connsiteX3" fmla="*/ 18248 w 18313"/>
                  <a:gd name="connsiteY3" fmla="*/ 8079 h 18431"/>
                  <a:gd name="connsiteX4" fmla="*/ 8021 w 18313"/>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8021" y="65"/>
                    </a:moveTo>
                    <a:cubicBezTo>
                      <a:pt x="2997" y="663"/>
                      <a:pt x="-532" y="5268"/>
                      <a:pt x="66" y="10352"/>
                    </a:cubicBezTo>
                    <a:cubicBezTo>
                      <a:pt x="725" y="15376"/>
                      <a:pt x="5269" y="18964"/>
                      <a:pt x="10294" y="18366"/>
                    </a:cubicBezTo>
                    <a:cubicBezTo>
                      <a:pt x="15317" y="17768"/>
                      <a:pt x="18846" y="13163"/>
                      <a:pt x="18248" y="8079"/>
                    </a:cubicBezTo>
                    <a:cubicBezTo>
                      <a:pt x="17590" y="3055"/>
                      <a:pt x="12985" y="-533"/>
                      <a:pt x="8021" y="65"/>
                    </a:cubicBezTo>
                    <a:close/>
                  </a:path>
                </a:pathLst>
              </a:custGeom>
              <a:grpFill/>
              <a:ln w="5978" cap="flat">
                <a:noFill/>
                <a:prstDash val="solid"/>
                <a:miter/>
              </a:ln>
            </p:spPr>
            <p:txBody>
              <a:bodyPr rtlCol="0" anchor="ctr"/>
              <a:lstStyle/>
              <a:p>
                <a:endParaRPr lang="en-GB"/>
              </a:p>
            </p:txBody>
          </p:sp>
        </p:grpSp>
        <p:grpSp>
          <p:nvGrpSpPr>
            <p:cNvPr id="194" name="Graphic 3">
              <a:extLst>
                <a:ext uri="{FF2B5EF4-FFF2-40B4-BE49-F238E27FC236}">
                  <a16:creationId xmlns:a16="http://schemas.microsoft.com/office/drawing/2014/main" id="{8237CFF6-330A-4C27-911F-F1525FD7314A}"/>
                </a:ext>
              </a:extLst>
            </p:cNvPr>
            <p:cNvGrpSpPr/>
            <p:nvPr/>
          </p:nvGrpSpPr>
          <p:grpSpPr>
            <a:xfrm>
              <a:off x="7487462" y="2480764"/>
              <a:ext cx="137402" cy="89119"/>
              <a:chOff x="7487462" y="2480764"/>
              <a:chExt cx="137402" cy="89119"/>
            </a:xfrm>
            <a:grpFill/>
          </p:grpSpPr>
          <p:sp>
            <p:nvSpPr>
              <p:cNvPr id="4797" name="Vrije vorm: vorm 4796">
                <a:extLst>
                  <a:ext uri="{FF2B5EF4-FFF2-40B4-BE49-F238E27FC236}">
                    <a16:creationId xmlns:a16="http://schemas.microsoft.com/office/drawing/2014/main" id="{C99F3E97-9C19-4387-87E9-4AA0B9C60523}"/>
                  </a:ext>
                </a:extLst>
              </p:cNvPr>
              <p:cNvSpPr/>
              <p:nvPr/>
            </p:nvSpPr>
            <p:spPr>
              <a:xfrm>
                <a:off x="7495479" y="2488379"/>
                <a:ext cx="121349" cy="73861"/>
              </a:xfrm>
              <a:custGeom>
                <a:avLst/>
                <a:gdLst>
                  <a:gd name="connsiteX0" fmla="*/ 121349 w 121349"/>
                  <a:gd name="connsiteY0" fmla="*/ 2631 h 73861"/>
                  <a:gd name="connsiteX1" fmla="*/ 1555 w 121349"/>
                  <a:gd name="connsiteY1" fmla="*/ 73862 h 73861"/>
                  <a:gd name="connsiteX2" fmla="*/ 0 w 121349"/>
                  <a:gd name="connsiteY2" fmla="*/ 71230 h 73861"/>
                  <a:gd name="connsiteX3" fmla="*/ 119794 w 121349"/>
                  <a:gd name="connsiteY3" fmla="*/ 0 h 73861"/>
                </a:gdLst>
                <a:ahLst/>
                <a:cxnLst>
                  <a:cxn ang="0">
                    <a:pos x="connsiteX0" y="connsiteY0"/>
                  </a:cxn>
                  <a:cxn ang="0">
                    <a:pos x="connsiteX1" y="connsiteY1"/>
                  </a:cxn>
                  <a:cxn ang="0">
                    <a:pos x="connsiteX2" y="connsiteY2"/>
                  </a:cxn>
                  <a:cxn ang="0">
                    <a:pos x="connsiteX3" y="connsiteY3"/>
                  </a:cxn>
                </a:cxnLst>
                <a:rect l="l" t="t" r="r" b="b"/>
                <a:pathLst>
                  <a:path w="121349" h="73861">
                    <a:moveTo>
                      <a:pt x="121349" y="2631"/>
                    </a:moveTo>
                    <a:lnTo>
                      <a:pt x="1555" y="73862"/>
                    </a:lnTo>
                    <a:lnTo>
                      <a:pt x="0" y="71230"/>
                    </a:lnTo>
                    <a:lnTo>
                      <a:pt x="119794" y="0"/>
                    </a:lnTo>
                    <a:close/>
                  </a:path>
                </a:pathLst>
              </a:custGeom>
              <a:grpFill/>
              <a:ln w="5978" cap="flat">
                <a:noFill/>
                <a:prstDash val="solid"/>
                <a:miter/>
              </a:ln>
            </p:spPr>
            <p:txBody>
              <a:bodyPr rtlCol="0" anchor="ctr"/>
              <a:lstStyle/>
              <a:p>
                <a:endParaRPr lang="en-GB"/>
              </a:p>
            </p:txBody>
          </p:sp>
          <p:sp>
            <p:nvSpPr>
              <p:cNvPr id="4798" name="Vrije vorm: vorm 4797">
                <a:extLst>
                  <a:ext uri="{FF2B5EF4-FFF2-40B4-BE49-F238E27FC236}">
                    <a16:creationId xmlns:a16="http://schemas.microsoft.com/office/drawing/2014/main" id="{21733D36-02F9-43D5-916B-95B0331C7286}"/>
                  </a:ext>
                </a:extLst>
              </p:cNvPr>
              <p:cNvSpPr/>
              <p:nvPr/>
            </p:nvSpPr>
            <p:spPr>
              <a:xfrm>
                <a:off x="7606538" y="2480764"/>
                <a:ext cx="18325" cy="18400"/>
              </a:xfrm>
              <a:custGeom>
                <a:avLst/>
                <a:gdLst>
                  <a:gd name="connsiteX0" fmla="*/ 4488 w 18325"/>
                  <a:gd name="connsiteY0" fmla="*/ 1276 h 18400"/>
                  <a:gd name="connsiteX1" fmla="*/ 17048 w 18325"/>
                  <a:gd name="connsiteY1" fmla="*/ 4506 h 18400"/>
                  <a:gd name="connsiteX2" fmla="*/ 13878 w 18325"/>
                  <a:gd name="connsiteY2" fmla="*/ 17125 h 18400"/>
                  <a:gd name="connsiteX3" fmla="*/ 1318 w 18325"/>
                  <a:gd name="connsiteY3" fmla="*/ 13895 h 18400"/>
                  <a:gd name="connsiteX4" fmla="*/ 4488 w 18325"/>
                  <a:gd name="connsiteY4" fmla="*/ 127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0">
                    <a:moveTo>
                      <a:pt x="4488" y="1276"/>
                    </a:moveTo>
                    <a:cubicBezTo>
                      <a:pt x="8854" y="-1296"/>
                      <a:pt x="14476" y="140"/>
                      <a:pt x="17048" y="4506"/>
                    </a:cubicBezTo>
                    <a:cubicBezTo>
                      <a:pt x="19620" y="8872"/>
                      <a:pt x="18184" y="14553"/>
                      <a:pt x="13878" y="17125"/>
                    </a:cubicBezTo>
                    <a:cubicBezTo>
                      <a:pt x="9512" y="19697"/>
                      <a:pt x="3890" y="18261"/>
                      <a:pt x="1318" y="13895"/>
                    </a:cubicBezTo>
                    <a:cubicBezTo>
                      <a:pt x="-1313" y="9470"/>
                      <a:pt x="122" y="3848"/>
                      <a:pt x="4488" y="1276"/>
                    </a:cubicBezTo>
                    <a:close/>
                  </a:path>
                </a:pathLst>
              </a:custGeom>
              <a:grpFill/>
              <a:ln w="5978" cap="flat">
                <a:noFill/>
                <a:prstDash val="solid"/>
                <a:miter/>
              </a:ln>
            </p:spPr>
            <p:txBody>
              <a:bodyPr rtlCol="0" anchor="ctr"/>
              <a:lstStyle/>
              <a:p>
                <a:endParaRPr lang="en-GB"/>
              </a:p>
            </p:txBody>
          </p:sp>
          <p:sp>
            <p:nvSpPr>
              <p:cNvPr id="4799" name="Vrije vorm: vorm 4798">
                <a:extLst>
                  <a:ext uri="{FF2B5EF4-FFF2-40B4-BE49-F238E27FC236}">
                    <a16:creationId xmlns:a16="http://schemas.microsoft.com/office/drawing/2014/main" id="{45827758-389B-4ED0-B245-C160CB69B63F}"/>
                  </a:ext>
                </a:extLst>
              </p:cNvPr>
              <p:cNvSpPr/>
              <p:nvPr/>
            </p:nvSpPr>
            <p:spPr>
              <a:xfrm>
                <a:off x="7487462" y="2551456"/>
                <a:ext cx="18366" cy="18427"/>
              </a:xfrm>
              <a:custGeom>
                <a:avLst/>
                <a:gdLst>
                  <a:gd name="connsiteX0" fmla="*/ 4488 w 18366"/>
                  <a:gd name="connsiteY0" fmla="*/ 1276 h 18427"/>
                  <a:gd name="connsiteX1" fmla="*/ 1318 w 18366"/>
                  <a:gd name="connsiteY1" fmla="*/ 13895 h 18427"/>
                  <a:gd name="connsiteX2" fmla="*/ 13878 w 18366"/>
                  <a:gd name="connsiteY2" fmla="*/ 17125 h 18427"/>
                  <a:gd name="connsiteX3" fmla="*/ 17048 w 18366"/>
                  <a:gd name="connsiteY3" fmla="*/ 4506 h 18427"/>
                  <a:gd name="connsiteX4" fmla="*/ 4488 w 18366"/>
                  <a:gd name="connsiteY4" fmla="*/ 127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7">
                    <a:moveTo>
                      <a:pt x="4488" y="1276"/>
                    </a:moveTo>
                    <a:cubicBezTo>
                      <a:pt x="122" y="3848"/>
                      <a:pt x="-1313" y="9529"/>
                      <a:pt x="1318" y="13895"/>
                    </a:cubicBezTo>
                    <a:cubicBezTo>
                      <a:pt x="3890" y="18261"/>
                      <a:pt x="9512" y="19756"/>
                      <a:pt x="13878" y="17125"/>
                    </a:cubicBezTo>
                    <a:cubicBezTo>
                      <a:pt x="18244" y="14553"/>
                      <a:pt x="19679" y="8872"/>
                      <a:pt x="17048" y="4506"/>
                    </a:cubicBezTo>
                    <a:cubicBezTo>
                      <a:pt x="14476" y="140"/>
                      <a:pt x="8854" y="-1296"/>
                      <a:pt x="4488" y="1276"/>
                    </a:cubicBezTo>
                    <a:close/>
                  </a:path>
                </a:pathLst>
              </a:custGeom>
              <a:grpFill/>
              <a:ln w="5978" cap="flat">
                <a:noFill/>
                <a:prstDash val="solid"/>
                <a:miter/>
              </a:ln>
            </p:spPr>
            <p:txBody>
              <a:bodyPr rtlCol="0" anchor="ctr"/>
              <a:lstStyle/>
              <a:p>
                <a:endParaRPr lang="en-GB"/>
              </a:p>
            </p:txBody>
          </p:sp>
        </p:grpSp>
        <p:grpSp>
          <p:nvGrpSpPr>
            <p:cNvPr id="195" name="Graphic 3">
              <a:extLst>
                <a:ext uri="{FF2B5EF4-FFF2-40B4-BE49-F238E27FC236}">
                  <a16:creationId xmlns:a16="http://schemas.microsoft.com/office/drawing/2014/main" id="{142FA238-4376-4A21-A112-D6E09BB3044B}"/>
                </a:ext>
              </a:extLst>
            </p:cNvPr>
            <p:cNvGrpSpPr/>
            <p:nvPr/>
          </p:nvGrpSpPr>
          <p:grpSpPr>
            <a:xfrm>
              <a:off x="7499884" y="2521028"/>
              <a:ext cx="123051" cy="77999"/>
              <a:chOff x="7499884" y="2521028"/>
              <a:chExt cx="123051" cy="77999"/>
            </a:xfrm>
            <a:grpFill/>
          </p:grpSpPr>
          <p:sp>
            <p:nvSpPr>
              <p:cNvPr id="4794" name="Vrije vorm: vorm 4793">
                <a:extLst>
                  <a:ext uri="{FF2B5EF4-FFF2-40B4-BE49-F238E27FC236}">
                    <a16:creationId xmlns:a16="http://schemas.microsoft.com/office/drawing/2014/main" id="{7BD309EB-3EA5-4C50-98F0-EAC40CA457A3}"/>
                  </a:ext>
                </a:extLst>
              </p:cNvPr>
              <p:cNvSpPr/>
              <p:nvPr/>
            </p:nvSpPr>
            <p:spPr>
              <a:xfrm>
                <a:off x="7508093" y="2529013"/>
                <a:ext cx="107036" cy="62687"/>
              </a:xfrm>
              <a:custGeom>
                <a:avLst/>
                <a:gdLst>
                  <a:gd name="connsiteX0" fmla="*/ 0 w 107036"/>
                  <a:gd name="connsiteY0" fmla="*/ 60037 h 62687"/>
                  <a:gd name="connsiteX1" fmla="*/ 105528 w 107036"/>
                  <a:gd name="connsiteY1" fmla="*/ 0 h 62687"/>
                  <a:gd name="connsiteX2" fmla="*/ 107037 w 107036"/>
                  <a:gd name="connsiteY2" fmla="*/ 2651 h 62687"/>
                  <a:gd name="connsiteX3" fmla="*/ 1508 w 107036"/>
                  <a:gd name="connsiteY3" fmla="*/ 62688 h 62687"/>
                </a:gdLst>
                <a:ahLst/>
                <a:cxnLst>
                  <a:cxn ang="0">
                    <a:pos x="connsiteX0" y="connsiteY0"/>
                  </a:cxn>
                  <a:cxn ang="0">
                    <a:pos x="connsiteX1" y="connsiteY1"/>
                  </a:cxn>
                  <a:cxn ang="0">
                    <a:pos x="connsiteX2" y="connsiteY2"/>
                  </a:cxn>
                  <a:cxn ang="0">
                    <a:pos x="connsiteX3" y="connsiteY3"/>
                  </a:cxn>
                </a:cxnLst>
                <a:rect l="l" t="t" r="r" b="b"/>
                <a:pathLst>
                  <a:path w="107036" h="62687">
                    <a:moveTo>
                      <a:pt x="0" y="60037"/>
                    </a:moveTo>
                    <a:lnTo>
                      <a:pt x="105528" y="0"/>
                    </a:lnTo>
                    <a:lnTo>
                      <a:pt x="107037" y="2651"/>
                    </a:lnTo>
                    <a:lnTo>
                      <a:pt x="1508" y="62688"/>
                    </a:lnTo>
                    <a:close/>
                  </a:path>
                </a:pathLst>
              </a:custGeom>
              <a:grpFill/>
              <a:ln w="5978" cap="flat">
                <a:noFill/>
                <a:prstDash val="solid"/>
                <a:miter/>
              </a:ln>
            </p:spPr>
            <p:txBody>
              <a:bodyPr rtlCol="0" anchor="ctr"/>
              <a:lstStyle/>
              <a:p>
                <a:endParaRPr lang="en-GB"/>
              </a:p>
            </p:txBody>
          </p:sp>
          <p:sp>
            <p:nvSpPr>
              <p:cNvPr id="4795" name="Vrije vorm: vorm 4794">
                <a:extLst>
                  <a:ext uri="{FF2B5EF4-FFF2-40B4-BE49-F238E27FC236}">
                    <a16:creationId xmlns:a16="http://schemas.microsoft.com/office/drawing/2014/main" id="{11047162-D2C7-4434-82B2-8429F8F6AD73}"/>
                  </a:ext>
                </a:extLst>
              </p:cNvPr>
              <p:cNvSpPr/>
              <p:nvPr/>
            </p:nvSpPr>
            <p:spPr>
              <a:xfrm>
                <a:off x="7604580" y="2521028"/>
                <a:ext cx="18355" cy="18431"/>
              </a:xfrm>
              <a:custGeom>
                <a:avLst/>
                <a:gdLst>
                  <a:gd name="connsiteX0" fmla="*/ 4652 w 18355"/>
                  <a:gd name="connsiteY0" fmla="*/ 1201 h 18431"/>
                  <a:gd name="connsiteX1" fmla="*/ 17152 w 18355"/>
                  <a:gd name="connsiteY1" fmla="*/ 4670 h 18431"/>
                  <a:gd name="connsiteX2" fmla="*/ 13743 w 18355"/>
                  <a:gd name="connsiteY2" fmla="*/ 17230 h 18431"/>
                  <a:gd name="connsiteX3" fmla="*/ 1243 w 18355"/>
                  <a:gd name="connsiteY3" fmla="*/ 13761 h 18431"/>
                  <a:gd name="connsiteX4" fmla="*/ 4652 w 18355"/>
                  <a:gd name="connsiteY4" fmla="*/ 120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31">
                    <a:moveTo>
                      <a:pt x="4652" y="1201"/>
                    </a:moveTo>
                    <a:cubicBezTo>
                      <a:pt x="9078" y="-1310"/>
                      <a:pt x="14640" y="245"/>
                      <a:pt x="17152" y="4670"/>
                    </a:cubicBezTo>
                    <a:cubicBezTo>
                      <a:pt x="19664" y="9096"/>
                      <a:pt x="18109" y="14718"/>
                      <a:pt x="13743" y="17230"/>
                    </a:cubicBezTo>
                    <a:cubicBezTo>
                      <a:pt x="9317" y="19742"/>
                      <a:pt x="3755" y="18187"/>
                      <a:pt x="1243" y="13761"/>
                    </a:cubicBezTo>
                    <a:cubicBezTo>
                      <a:pt x="-1329" y="9275"/>
                      <a:pt x="226" y="3654"/>
                      <a:pt x="4652" y="1201"/>
                    </a:cubicBezTo>
                    <a:close/>
                  </a:path>
                </a:pathLst>
              </a:custGeom>
              <a:grpFill/>
              <a:ln w="5978" cap="flat">
                <a:noFill/>
                <a:prstDash val="solid"/>
                <a:miter/>
              </a:ln>
            </p:spPr>
            <p:txBody>
              <a:bodyPr rtlCol="0" anchor="ctr"/>
              <a:lstStyle/>
              <a:p>
                <a:endParaRPr lang="en-GB"/>
              </a:p>
            </p:txBody>
          </p:sp>
          <p:sp>
            <p:nvSpPr>
              <p:cNvPr id="4796" name="Vrije vorm: vorm 4795">
                <a:extLst>
                  <a:ext uri="{FF2B5EF4-FFF2-40B4-BE49-F238E27FC236}">
                    <a16:creationId xmlns:a16="http://schemas.microsoft.com/office/drawing/2014/main" id="{4D3B1982-1793-4F6E-BAEC-C523382F9D04}"/>
                  </a:ext>
                </a:extLst>
              </p:cNvPr>
              <p:cNvSpPr/>
              <p:nvPr/>
            </p:nvSpPr>
            <p:spPr>
              <a:xfrm>
                <a:off x="7499884" y="2580596"/>
                <a:ext cx="18328" cy="18431"/>
              </a:xfrm>
              <a:custGeom>
                <a:avLst/>
                <a:gdLst>
                  <a:gd name="connsiteX0" fmla="*/ 4625 w 18328"/>
                  <a:gd name="connsiteY0" fmla="*/ 1202 h 18431"/>
                  <a:gd name="connsiteX1" fmla="*/ 1217 w 18328"/>
                  <a:gd name="connsiteY1" fmla="*/ 13761 h 18431"/>
                  <a:gd name="connsiteX2" fmla="*/ 13716 w 18328"/>
                  <a:gd name="connsiteY2" fmla="*/ 17230 h 18431"/>
                  <a:gd name="connsiteX3" fmla="*/ 17126 w 18328"/>
                  <a:gd name="connsiteY3" fmla="*/ 4670 h 18431"/>
                  <a:gd name="connsiteX4" fmla="*/ 4625 w 18328"/>
                  <a:gd name="connsiteY4" fmla="*/ 12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25" y="1202"/>
                    </a:moveTo>
                    <a:cubicBezTo>
                      <a:pt x="200" y="3713"/>
                      <a:pt x="-1296" y="9335"/>
                      <a:pt x="1217" y="13761"/>
                    </a:cubicBezTo>
                    <a:cubicBezTo>
                      <a:pt x="3729" y="18187"/>
                      <a:pt x="9350" y="19742"/>
                      <a:pt x="13716" y="17230"/>
                    </a:cubicBezTo>
                    <a:cubicBezTo>
                      <a:pt x="18082" y="14718"/>
                      <a:pt x="19637" y="9096"/>
                      <a:pt x="17126" y="4670"/>
                    </a:cubicBezTo>
                    <a:cubicBezTo>
                      <a:pt x="14613" y="245"/>
                      <a:pt x="8992" y="-1310"/>
                      <a:pt x="4625" y="1202"/>
                    </a:cubicBezTo>
                    <a:close/>
                  </a:path>
                </a:pathLst>
              </a:custGeom>
              <a:grpFill/>
              <a:ln w="5978" cap="flat">
                <a:noFill/>
                <a:prstDash val="solid"/>
                <a:miter/>
              </a:ln>
            </p:spPr>
            <p:txBody>
              <a:bodyPr rtlCol="0" anchor="ctr"/>
              <a:lstStyle/>
              <a:p>
                <a:endParaRPr lang="en-GB"/>
              </a:p>
            </p:txBody>
          </p:sp>
        </p:grpSp>
        <p:grpSp>
          <p:nvGrpSpPr>
            <p:cNvPr id="196" name="Graphic 3">
              <a:extLst>
                <a:ext uri="{FF2B5EF4-FFF2-40B4-BE49-F238E27FC236}">
                  <a16:creationId xmlns:a16="http://schemas.microsoft.com/office/drawing/2014/main" id="{86104ACB-7BDF-4683-A015-9B4B688639D2}"/>
                </a:ext>
              </a:extLst>
            </p:cNvPr>
            <p:cNvGrpSpPr/>
            <p:nvPr/>
          </p:nvGrpSpPr>
          <p:grpSpPr>
            <a:xfrm>
              <a:off x="7812258" y="3655125"/>
              <a:ext cx="219186" cy="46595"/>
              <a:chOff x="7812258" y="3655125"/>
              <a:chExt cx="219186" cy="46595"/>
            </a:xfrm>
            <a:grpFill/>
          </p:grpSpPr>
          <p:sp>
            <p:nvSpPr>
              <p:cNvPr id="4791" name="Vrije vorm: vorm 4790">
                <a:extLst>
                  <a:ext uri="{FF2B5EF4-FFF2-40B4-BE49-F238E27FC236}">
                    <a16:creationId xmlns:a16="http://schemas.microsoft.com/office/drawing/2014/main" id="{B7E051C6-AAF7-4826-B0BC-6C5D3DFC7D83}"/>
                  </a:ext>
                </a:extLst>
              </p:cNvPr>
              <p:cNvSpPr/>
              <p:nvPr/>
            </p:nvSpPr>
            <p:spPr>
              <a:xfrm>
                <a:off x="7820770" y="3662813"/>
                <a:ext cx="202148" cy="31279"/>
              </a:xfrm>
              <a:custGeom>
                <a:avLst/>
                <a:gdLst>
                  <a:gd name="connsiteX0" fmla="*/ 202149 w 202148"/>
                  <a:gd name="connsiteY0" fmla="*/ 28229 h 31279"/>
                  <a:gd name="connsiteX1" fmla="*/ 201730 w 202148"/>
                  <a:gd name="connsiteY1" fmla="*/ 31279 h 31279"/>
                  <a:gd name="connsiteX2" fmla="*/ 0 w 202148"/>
                  <a:gd name="connsiteY2" fmla="*/ 2990 h 31279"/>
                  <a:gd name="connsiteX3" fmla="*/ 359 w 202148"/>
                  <a:gd name="connsiteY3" fmla="*/ 0 h 31279"/>
                </a:gdLst>
                <a:ahLst/>
                <a:cxnLst>
                  <a:cxn ang="0">
                    <a:pos x="connsiteX0" y="connsiteY0"/>
                  </a:cxn>
                  <a:cxn ang="0">
                    <a:pos x="connsiteX1" y="connsiteY1"/>
                  </a:cxn>
                  <a:cxn ang="0">
                    <a:pos x="connsiteX2" y="connsiteY2"/>
                  </a:cxn>
                  <a:cxn ang="0">
                    <a:pos x="connsiteX3" y="connsiteY3"/>
                  </a:cxn>
                </a:cxnLst>
                <a:rect l="l" t="t" r="r" b="b"/>
                <a:pathLst>
                  <a:path w="202148" h="31279">
                    <a:moveTo>
                      <a:pt x="202149" y="28229"/>
                    </a:moveTo>
                    <a:lnTo>
                      <a:pt x="201730" y="31279"/>
                    </a:lnTo>
                    <a:lnTo>
                      <a:pt x="0" y="2990"/>
                    </a:lnTo>
                    <a:lnTo>
                      <a:pt x="359" y="0"/>
                    </a:lnTo>
                    <a:close/>
                  </a:path>
                </a:pathLst>
              </a:custGeom>
              <a:grpFill/>
              <a:ln w="5978" cap="flat">
                <a:noFill/>
                <a:prstDash val="solid"/>
                <a:miter/>
              </a:ln>
            </p:spPr>
            <p:txBody>
              <a:bodyPr rtlCol="0" anchor="ctr"/>
              <a:lstStyle/>
              <a:p>
                <a:endParaRPr lang="en-GB"/>
              </a:p>
            </p:txBody>
          </p:sp>
          <p:sp>
            <p:nvSpPr>
              <p:cNvPr id="4792" name="Vrije vorm: vorm 4791">
                <a:extLst>
                  <a:ext uri="{FF2B5EF4-FFF2-40B4-BE49-F238E27FC236}">
                    <a16:creationId xmlns:a16="http://schemas.microsoft.com/office/drawing/2014/main" id="{0FF0123E-894C-43A4-BF2C-91DBECF85246}"/>
                  </a:ext>
                </a:extLst>
              </p:cNvPr>
              <p:cNvSpPr/>
              <p:nvPr/>
            </p:nvSpPr>
            <p:spPr>
              <a:xfrm>
                <a:off x="8013137" y="3683294"/>
                <a:ext cx="18307" cy="18426"/>
              </a:xfrm>
              <a:custGeom>
                <a:avLst/>
                <a:gdLst>
                  <a:gd name="connsiteX0" fmla="*/ 10379 w 18307"/>
                  <a:gd name="connsiteY0" fmla="*/ 93 h 18426"/>
                  <a:gd name="connsiteX1" fmla="*/ 18214 w 18307"/>
                  <a:gd name="connsiteY1" fmla="*/ 10499 h 18426"/>
                  <a:gd name="connsiteX2" fmla="*/ 7927 w 18307"/>
                  <a:gd name="connsiteY2" fmla="*/ 18334 h 18426"/>
                  <a:gd name="connsiteX3" fmla="*/ 93 w 18307"/>
                  <a:gd name="connsiteY3" fmla="*/ 7927 h 18426"/>
                  <a:gd name="connsiteX4" fmla="*/ 10379 w 18307"/>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10379" y="93"/>
                    </a:moveTo>
                    <a:cubicBezTo>
                      <a:pt x="15403" y="810"/>
                      <a:pt x="18932" y="5475"/>
                      <a:pt x="18214" y="10499"/>
                    </a:cubicBezTo>
                    <a:cubicBezTo>
                      <a:pt x="17497" y="15523"/>
                      <a:pt x="12892" y="19052"/>
                      <a:pt x="7927" y="18334"/>
                    </a:cubicBezTo>
                    <a:cubicBezTo>
                      <a:pt x="2903" y="17616"/>
                      <a:pt x="-625" y="12951"/>
                      <a:pt x="93" y="7927"/>
                    </a:cubicBezTo>
                    <a:cubicBezTo>
                      <a:pt x="810" y="2904"/>
                      <a:pt x="5356" y="-625"/>
                      <a:pt x="10379" y="93"/>
                    </a:cubicBezTo>
                    <a:close/>
                  </a:path>
                </a:pathLst>
              </a:custGeom>
              <a:grpFill/>
              <a:ln w="5978" cap="flat">
                <a:noFill/>
                <a:prstDash val="solid"/>
                <a:miter/>
              </a:ln>
            </p:spPr>
            <p:txBody>
              <a:bodyPr rtlCol="0" anchor="ctr"/>
              <a:lstStyle/>
              <a:p>
                <a:endParaRPr lang="en-GB"/>
              </a:p>
            </p:txBody>
          </p:sp>
          <p:sp>
            <p:nvSpPr>
              <p:cNvPr id="4793" name="Vrije vorm: vorm 4792">
                <a:extLst>
                  <a:ext uri="{FF2B5EF4-FFF2-40B4-BE49-F238E27FC236}">
                    <a16:creationId xmlns:a16="http://schemas.microsoft.com/office/drawing/2014/main" id="{B63F204A-EADC-4217-9C2E-725377EBAADF}"/>
                  </a:ext>
                </a:extLst>
              </p:cNvPr>
              <p:cNvSpPr/>
              <p:nvPr/>
            </p:nvSpPr>
            <p:spPr>
              <a:xfrm>
                <a:off x="7812258" y="3655125"/>
                <a:ext cx="18281" cy="18426"/>
              </a:xfrm>
              <a:custGeom>
                <a:avLst/>
                <a:gdLst>
                  <a:gd name="connsiteX0" fmla="*/ 10367 w 18281"/>
                  <a:gd name="connsiteY0" fmla="*/ 93 h 18426"/>
                  <a:gd name="connsiteX1" fmla="*/ 80 w 18281"/>
                  <a:gd name="connsiteY1" fmla="*/ 7927 h 18426"/>
                  <a:gd name="connsiteX2" fmla="*/ 7915 w 18281"/>
                  <a:gd name="connsiteY2" fmla="*/ 18334 h 18426"/>
                  <a:gd name="connsiteX3" fmla="*/ 18201 w 18281"/>
                  <a:gd name="connsiteY3" fmla="*/ 10499 h 18426"/>
                  <a:gd name="connsiteX4" fmla="*/ 10367 w 18281"/>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26">
                    <a:moveTo>
                      <a:pt x="10367" y="93"/>
                    </a:moveTo>
                    <a:cubicBezTo>
                      <a:pt x="5343" y="-625"/>
                      <a:pt x="738" y="2904"/>
                      <a:pt x="80" y="7927"/>
                    </a:cubicBezTo>
                    <a:cubicBezTo>
                      <a:pt x="-578" y="12951"/>
                      <a:pt x="2891" y="17616"/>
                      <a:pt x="7915" y="18334"/>
                    </a:cubicBezTo>
                    <a:cubicBezTo>
                      <a:pt x="12938" y="19052"/>
                      <a:pt x="17543" y="15523"/>
                      <a:pt x="18201" y="10499"/>
                    </a:cubicBezTo>
                    <a:cubicBezTo>
                      <a:pt x="18859" y="5475"/>
                      <a:pt x="15390" y="811"/>
                      <a:pt x="10367" y="93"/>
                    </a:cubicBezTo>
                    <a:close/>
                  </a:path>
                </a:pathLst>
              </a:custGeom>
              <a:grpFill/>
              <a:ln w="5978" cap="flat">
                <a:noFill/>
                <a:prstDash val="solid"/>
                <a:miter/>
              </a:ln>
            </p:spPr>
            <p:txBody>
              <a:bodyPr rtlCol="0" anchor="ctr"/>
              <a:lstStyle/>
              <a:p>
                <a:endParaRPr lang="en-GB"/>
              </a:p>
            </p:txBody>
          </p:sp>
        </p:grpSp>
        <p:grpSp>
          <p:nvGrpSpPr>
            <p:cNvPr id="197" name="Graphic 3">
              <a:extLst>
                <a:ext uri="{FF2B5EF4-FFF2-40B4-BE49-F238E27FC236}">
                  <a16:creationId xmlns:a16="http://schemas.microsoft.com/office/drawing/2014/main" id="{F8BE1A6D-3D2D-4DD2-BF45-21D853F3CCED}"/>
                </a:ext>
              </a:extLst>
            </p:cNvPr>
            <p:cNvGrpSpPr/>
            <p:nvPr/>
          </p:nvGrpSpPr>
          <p:grpSpPr>
            <a:xfrm>
              <a:off x="7794749" y="3619388"/>
              <a:ext cx="233725" cy="44506"/>
              <a:chOff x="7794749" y="3619388"/>
              <a:chExt cx="233725" cy="44506"/>
            </a:xfrm>
            <a:grpFill/>
          </p:grpSpPr>
          <p:sp>
            <p:nvSpPr>
              <p:cNvPr id="4788" name="Vrije vorm: vorm 4787">
                <a:extLst>
                  <a:ext uri="{FF2B5EF4-FFF2-40B4-BE49-F238E27FC236}">
                    <a16:creationId xmlns:a16="http://schemas.microsoft.com/office/drawing/2014/main" id="{4E568D35-D4F9-479F-BA96-F62D98B7DCB4}"/>
                  </a:ext>
                </a:extLst>
              </p:cNvPr>
              <p:cNvSpPr/>
              <p:nvPr/>
            </p:nvSpPr>
            <p:spPr>
              <a:xfrm>
                <a:off x="7803307" y="3627049"/>
                <a:ext cx="216621" cy="29185"/>
              </a:xfrm>
              <a:custGeom>
                <a:avLst/>
                <a:gdLst>
                  <a:gd name="connsiteX0" fmla="*/ 216622 w 216621"/>
                  <a:gd name="connsiteY0" fmla="*/ 26136 h 29185"/>
                  <a:gd name="connsiteX1" fmla="*/ 216262 w 216621"/>
                  <a:gd name="connsiteY1" fmla="*/ 29186 h 29185"/>
                  <a:gd name="connsiteX2" fmla="*/ 0 w 216621"/>
                  <a:gd name="connsiteY2" fmla="*/ 3050 h 29185"/>
                  <a:gd name="connsiteX3" fmla="*/ 358 w 216621"/>
                  <a:gd name="connsiteY3" fmla="*/ 0 h 29185"/>
                </a:gdLst>
                <a:ahLst/>
                <a:cxnLst>
                  <a:cxn ang="0">
                    <a:pos x="connsiteX0" y="connsiteY0"/>
                  </a:cxn>
                  <a:cxn ang="0">
                    <a:pos x="connsiteX1" y="connsiteY1"/>
                  </a:cxn>
                  <a:cxn ang="0">
                    <a:pos x="connsiteX2" y="connsiteY2"/>
                  </a:cxn>
                  <a:cxn ang="0">
                    <a:pos x="connsiteX3" y="connsiteY3"/>
                  </a:cxn>
                </a:cxnLst>
                <a:rect l="l" t="t" r="r" b="b"/>
                <a:pathLst>
                  <a:path w="216621" h="29185">
                    <a:moveTo>
                      <a:pt x="216622" y="26136"/>
                    </a:moveTo>
                    <a:lnTo>
                      <a:pt x="216262" y="29186"/>
                    </a:lnTo>
                    <a:lnTo>
                      <a:pt x="0" y="3050"/>
                    </a:lnTo>
                    <a:lnTo>
                      <a:pt x="358" y="0"/>
                    </a:lnTo>
                    <a:close/>
                  </a:path>
                </a:pathLst>
              </a:custGeom>
              <a:grpFill/>
              <a:ln w="5978" cap="flat">
                <a:noFill/>
                <a:prstDash val="solid"/>
                <a:miter/>
              </a:ln>
            </p:spPr>
            <p:txBody>
              <a:bodyPr rtlCol="0" anchor="ctr"/>
              <a:lstStyle/>
              <a:p>
                <a:endParaRPr lang="en-GB"/>
              </a:p>
            </p:txBody>
          </p:sp>
          <p:sp>
            <p:nvSpPr>
              <p:cNvPr id="4789" name="Vrije vorm: vorm 4788">
                <a:extLst>
                  <a:ext uri="{FF2B5EF4-FFF2-40B4-BE49-F238E27FC236}">
                    <a16:creationId xmlns:a16="http://schemas.microsoft.com/office/drawing/2014/main" id="{C8A5A1DB-941E-46EE-B86F-2612D48A58DC}"/>
                  </a:ext>
                </a:extLst>
              </p:cNvPr>
              <p:cNvSpPr/>
              <p:nvPr/>
            </p:nvSpPr>
            <p:spPr>
              <a:xfrm>
                <a:off x="8010175" y="3645464"/>
                <a:ext cx="18300" cy="18430"/>
              </a:xfrm>
              <a:custGeom>
                <a:avLst/>
                <a:gdLst>
                  <a:gd name="connsiteX0" fmla="*/ 10172 w 18300"/>
                  <a:gd name="connsiteY0" fmla="*/ 65 h 18430"/>
                  <a:gd name="connsiteX1" fmla="*/ 18247 w 18300"/>
                  <a:gd name="connsiteY1" fmla="*/ 10292 h 18430"/>
                  <a:gd name="connsiteX2" fmla="*/ 8079 w 18300"/>
                  <a:gd name="connsiteY2" fmla="*/ 18366 h 18430"/>
                  <a:gd name="connsiteX3" fmla="*/ 65 w 18300"/>
                  <a:gd name="connsiteY3" fmla="*/ 8139 h 18430"/>
                  <a:gd name="connsiteX4" fmla="*/ 10172 w 18300"/>
                  <a:gd name="connsiteY4" fmla="*/ 65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30">
                    <a:moveTo>
                      <a:pt x="10172" y="65"/>
                    </a:moveTo>
                    <a:cubicBezTo>
                      <a:pt x="15196" y="663"/>
                      <a:pt x="18785" y="5268"/>
                      <a:pt x="18247" y="10292"/>
                    </a:cubicBezTo>
                    <a:cubicBezTo>
                      <a:pt x="17648" y="15316"/>
                      <a:pt x="13103" y="18964"/>
                      <a:pt x="8079" y="18366"/>
                    </a:cubicBezTo>
                    <a:cubicBezTo>
                      <a:pt x="3055" y="17768"/>
                      <a:pt x="-533" y="13163"/>
                      <a:pt x="65" y="8139"/>
                    </a:cubicBezTo>
                    <a:cubicBezTo>
                      <a:pt x="603" y="3055"/>
                      <a:pt x="5149" y="-533"/>
                      <a:pt x="10172" y="65"/>
                    </a:cubicBezTo>
                    <a:close/>
                  </a:path>
                </a:pathLst>
              </a:custGeom>
              <a:grpFill/>
              <a:ln w="5978" cap="flat">
                <a:noFill/>
                <a:prstDash val="solid"/>
                <a:miter/>
              </a:ln>
            </p:spPr>
            <p:txBody>
              <a:bodyPr rtlCol="0" anchor="ctr"/>
              <a:lstStyle/>
              <a:p>
                <a:endParaRPr lang="en-GB"/>
              </a:p>
            </p:txBody>
          </p:sp>
          <p:sp>
            <p:nvSpPr>
              <p:cNvPr id="4790" name="Vrije vorm: vorm 4789">
                <a:extLst>
                  <a:ext uri="{FF2B5EF4-FFF2-40B4-BE49-F238E27FC236}">
                    <a16:creationId xmlns:a16="http://schemas.microsoft.com/office/drawing/2014/main" id="{0C30D3D3-FA96-4834-BE11-8C89475D2961}"/>
                  </a:ext>
                </a:extLst>
              </p:cNvPr>
              <p:cNvSpPr/>
              <p:nvPr/>
            </p:nvSpPr>
            <p:spPr>
              <a:xfrm>
                <a:off x="7794749" y="3619388"/>
                <a:ext cx="18311" cy="18431"/>
              </a:xfrm>
              <a:custGeom>
                <a:avLst/>
                <a:gdLst>
                  <a:gd name="connsiteX0" fmla="*/ 10232 w 18311"/>
                  <a:gd name="connsiteY0" fmla="*/ 65 h 18431"/>
                  <a:gd name="connsiteX1" fmla="*/ 65 w 18311"/>
                  <a:gd name="connsiteY1" fmla="*/ 8139 h 18431"/>
                  <a:gd name="connsiteX2" fmla="*/ 8079 w 18311"/>
                  <a:gd name="connsiteY2" fmla="*/ 18366 h 18431"/>
                  <a:gd name="connsiteX3" fmla="*/ 18247 w 18311"/>
                  <a:gd name="connsiteY3" fmla="*/ 10292 h 18431"/>
                  <a:gd name="connsiteX4" fmla="*/ 10232 w 18311"/>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10232" y="65"/>
                    </a:moveTo>
                    <a:cubicBezTo>
                      <a:pt x="5208" y="-533"/>
                      <a:pt x="663" y="3055"/>
                      <a:pt x="65" y="8139"/>
                    </a:cubicBezTo>
                    <a:cubicBezTo>
                      <a:pt x="-533" y="13163"/>
                      <a:pt x="3055" y="17768"/>
                      <a:pt x="8079" y="18366"/>
                    </a:cubicBezTo>
                    <a:cubicBezTo>
                      <a:pt x="13103" y="18964"/>
                      <a:pt x="17649" y="15376"/>
                      <a:pt x="18247" y="10292"/>
                    </a:cubicBezTo>
                    <a:cubicBezTo>
                      <a:pt x="18845" y="5268"/>
                      <a:pt x="15256" y="723"/>
                      <a:pt x="10232" y="65"/>
                    </a:cubicBezTo>
                    <a:close/>
                  </a:path>
                </a:pathLst>
              </a:custGeom>
              <a:grpFill/>
              <a:ln w="5978" cap="flat">
                <a:noFill/>
                <a:prstDash val="solid"/>
                <a:miter/>
              </a:ln>
            </p:spPr>
            <p:txBody>
              <a:bodyPr rtlCol="0" anchor="ctr"/>
              <a:lstStyle/>
              <a:p>
                <a:endParaRPr lang="en-GB"/>
              </a:p>
            </p:txBody>
          </p:sp>
        </p:grpSp>
        <p:grpSp>
          <p:nvGrpSpPr>
            <p:cNvPr id="198" name="Graphic 3">
              <a:extLst>
                <a:ext uri="{FF2B5EF4-FFF2-40B4-BE49-F238E27FC236}">
                  <a16:creationId xmlns:a16="http://schemas.microsoft.com/office/drawing/2014/main" id="{FBFCC285-EB53-495E-B2F3-B82457C5507A}"/>
                </a:ext>
              </a:extLst>
            </p:cNvPr>
            <p:cNvGrpSpPr/>
            <p:nvPr/>
          </p:nvGrpSpPr>
          <p:grpSpPr>
            <a:xfrm>
              <a:off x="7515997" y="2569869"/>
              <a:ext cx="87488" cy="56119"/>
              <a:chOff x="7515997" y="2569869"/>
              <a:chExt cx="87488" cy="56119"/>
            </a:xfrm>
            <a:grpFill/>
          </p:grpSpPr>
          <p:sp>
            <p:nvSpPr>
              <p:cNvPr id="4785" name="Vrije vorm: vorm 4784">
                <a:extLst>
                  <a:ext uri="{FF2B5EF4-FFF2-40B4-BE49-F238E27FC236}">
                    <a16:creationId xmlns:a16="http://schemas.microsoft.com/office/drawing/2014/main" id="{9D19224F-4B25-48F8-98E5-F5607F2A7AF9}"/>
                  </a:ext>
                </a:extLst>
              </p:cNvPr>
              <p:cNvSpPr/>
              <p:nvPr/>
            </p:nvSpPr>
            <p:spPr>
              <a:xfrm>
                <a:off x="7524067" y="2577552"/>
                <a:ext cx="71410" cy="40728"/>
              </a:xfrm>
              <a:custGeom>
                <a:avLst/>
                <a:gdLst>
                  <a:gd name="connsiteX0" fmla="*/ 71410 w 71410"/>
                  <a:gd name="connsiteY0" fmla="*/ 2691 h 40728"/>
                  <a:gd name="connsiteX1" fmla="*/ 1435 w 71410"/>
                  <a:gd name="connsiteY1" fmla="*/ 40729 h 40728"/>
                  <a:gd name="connsiteX2" fmla="*/ 0 w 71410"/>
                  <a:gd name="connsiteY2" fmla="*/ 38037 h 40728"/>
                  <a:gd name="connsiteX3" fmla="*/ 69915 w 71410"/>
                  <a:gd name="connsiteY3" fmla="*/ 0 h 40728"/>
                </a:gdLst>
                <a:ahLst/>
                <a:cxnLst>
                  <a:cxn ang="0">
                    <a:pos x="connsiteX0" y="connsiteY0"/>
                  </a:cxn>
                  <a:cxn ang="0">
                    <a:pos x="connsiteX1" y="connsiteY1"/>
                  </a:cxn>
                  <a:cxn ang="0">
                    <a:pos x="connsiteX2" y="connsiteY2"/>
                  </a:cxn>
                  <a:cxn ang="0">
                    <a:pos x="connsiteX3" y="connsiteY3"/>
                  </a:cxn>
                </a:cxnLst>
                <a:rect l="l" t="t" r="r" b="b"/>
                <a:pathLst>
                  <a:path w="71410" h="40728">
                    <a:moveTo>
                      <a:pt x="71410" y="2691"/>
                    </a:moveTo>
                    <a:lnTo>
                      <a:pt x="1435" y="40729"/>
                    </a:lnTo>
                    <a:lnTo>
                      <a:pt x="0" y="38037"/>
                    </a:lnTo>
                    <a:lnTo>
                      <a:pt x="69915" y="0"/>
                    </a:lnTo>
                    <a:close/>
                  </a:path>
                </a:pathLst>
              </a:custGeom>
              <a:grpFill/>
              <a:ln w="5978" cap="flat">
                <a:noFill/>
                <a:prstDash val="solid"/>
                <a:miter/>
              </a:ln>
            </p:spPr>
            <p:txBody>
              <a:bodyPr rtlCol="0" anchor="ctr"/>
              <a:lstStyle/>
              <a:p>
                <a:endParaRPr lang="en-GB"/>
              </a:p>
            </p:txBody>
          </p:sp>
          <p:sp>
            <p:nvSpPr>
              <p:cNvPr id="4786" name="Vrije vorm: vorm 4785">
                <a:extLst>
                  <a:ext uri="{FF2B5EF4-FFF2-40B4-BE49-F238E27FC236}">
                    <a16:creationId xmlns:a16="http://schemas.microsoft.com/office/drawing/2014/main" id="{FD81E649-F82C-4D43-948D-79889F71B6E3}"/>
                  </a:ext>
                </a:extLst>
              </p:cNvPr>
              <p:cNvSpPr/>
              <p:nvPr/>
            </p:nvSpPr>
            <p:spPr>
              <a:xfrm>
                <a:off x="7585161" y="2569869"/>
                <a:ext cx="18325" cy="18414"/>
              </a:xfrm>
              <a:custGeom>
                <a:avLst/>
                <a:gdLst>
                  <a:gd name="connsiteX0" fmla="*/ 4754 w 18325"/>
                  <a:gd name="connsiteY0" fmla="*/ 1104 h 18414"/>
                  <a:gd name="connsiteX1" fmla="*/ 17193 w 18325"/>
                  <a:gd name="connsiteY1" fmla="*/ 4812 h 18414"/>
                  <a:gd name="connsiteX2" fmla="*/ 13545 w 18325"/>
                  <a:gd name="connsiteY2" fmla="*/ 17311 h 18414"/>
                  <a:gd name="connsiteX3" fmla="*/ 1105 w 18325"/>
                  <a:gd name="connsiteY3" fmla="*/ 13603 h 18414"/>
                  <a:gd name="connsiteX4" fmla="*/ 4754 w 18325"/>
                  <a:gd name="connsiteY4" fmla="*/ 1104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14">
                    <a:moveTo>
                      <a:pt x="4754" y="1104"/>
                    </a:moveTo>
                    <a:cubicBezTo>
                      <a:pt x="9179" y="-1289"/>
                      <a:pt x="14742" y="326"/>
                      <a:pt x="17193" y="4812"/>
                    </a:cubicBezTo>
                    <a:cubicBezTo>
                      <a:pt x="19645" y="9297"/>
                      <a:pt x="17971" y="14859"/>
                      <a:pt x="13545" y="17311"/>
                    </a:cubicBezTo>
                    <a:cubicBezTo>
                      <a:pt x="9119" y="19704"/>
                      <a:pt x="3558" y="18089"/>
                      <a:pt x="1105" y="13603"/>
                    </a:cubicBezTo>
                    <a:cubicBezTo>
                      <a:pt x="-1287" y="9118"/>
                      <a:pt x="328" y="3556"/>
                      <a:pt x="4754" y="1104"/>
                    </a:cubicBezTo>
                    <a:close/>
                  </a:path>
                </a:pathLst>
              </a:custGeom>
              <a:grpFill/>
              <a:ln w="5978" cap="flat">
                <a:noFill/>
                <a:prstDash val="solid"/>
                <a:miter/>
              </a:ln>
            </p:spPr>
            <p:txBody>
              <a:bodyPr rtlCol="0" anchor="ctr"/>
              <a:lstStyle/>
              <a:p>
                <a:endParaRPr lang="en-GB"/>
              </a:p>
            </p:txBody>
          </p:sp>
          <p:sp>
            <p:nvSpPr>
              <p:cNvPr id="4787" name="Vrije vorm: vorm 4786">
                <a:extLst>
                  <a:ext uri="{FF2B5EF4-FFF2-40B4-BE49-F238E27FC236}">
                    <a16:creationId xmlns:a16="http://schemas.microsoft.com/office/drawing/2014/main" id="{C50AD56D-EB0A-444C-86B0-67AF51889116}"/>
                  </a:ext>
                </a:extLst>
              </p:cNvPr>
              <p:cNvSpPr/>
              <p:nvPr/>
            </p:nvSpPr>
            <p:spPr>
              <a:xfrm>
                <a:off x="7515997" y="2607521"/>
                <a:ext cx="18351" cy="18467"/>
              </a:xfrm>
              <a:custGeom>
                <a:avLst/>
                <a:gdLst>
                  <a:gd name="connsiteX0" fmla="*/ 4780 w 18351"/>
                  <a:gd name="connsiteY0" fmla="*/ 1130 h 18467"/>
                  <a:gd name="connsiteX1" fmla="*/ 1131 w 18351"/>
                  <a:gd name="connsiteY1" fmla="*/ 13630 h 18467"/>
                  <a:gd name="connsiteX2" fmla="*/ 13572 w 18351"/>
                  <a:gd name="connsiteY2" fmla="*/ 17338 h 18467"/>
                  <a:gd name="connsiteX3" fmla="*/ 17220 w 18351"/>
                  <a:gd name="connsiteY3" fmla="*/ 4838 h 18467"/>
                  <a:gd name="connsiteX4" fmla="*/ 4780 w 18351"/>
                  <a:gd name="connsiteY4" fmla="*/ 11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7">
                    <a:moveTo>
                      <a:pt x="4780" y="1130"/>
                    </a:moveTo>
                    <a:cubicBezTo>
                      <a:pt x="355" y="3522"/>
                      <a:pt x="-1320" y="9144"/>
                      <a:pt x="1131" y="13630"/>
                    </a:cubicBezTo>
                    <a:cubicBezTo>
                      <a:pt x="3584" y="18115"/>
                      <a:pt x="9146" y="19790"/>
                      <a:pt x="13572" y="17338"/>
                    </a:cubicBezTo>
                    <a:cubicBezTo>
                      <a:pt x="17997" y="14945"/>
                      <a:pt x="19672" y="9324"/>
                      <a:pt x="17220" y="4838"/>
                    </a:cubicBezTo>
                    <a:cubicBezTo>
                      <a:pt x="14768" y="352"/>
                      <a:pt x="9206" y="-1322"/>
                      <a:pt x="4780" y="1130"/>
                    </a:cubicBezTo>
                    <a:close/>
                  </a:path>
                </a:pathLst>
              </a:custGeom>
              <a:grpFill/>
              <a:ln w="5978" cap="flat">
                <a:noFill/>
                <a:prstDash val="solid"/>
                <a:miter/>
              </a:ln>
            </p:spPr>
            <p:txBody>
              <a:bodyPr rtlCol="0" anchor="ctr"/>
              <a:lstStyle/>
              <a:p>
                <a:endParaRPr lang="en-GB"/>
              </a:p>
            </p:txBody>
          </p:sp>
        </p:grpSp>
        <p:grpSp>
          <p:nvGrpSpPr>
            <p:cNvPr id="199" name="Graphic 3">
              <a:extLst>
                <a:ext uri="{FF2B5EF4-FFF2-40B4-BE49-F238E27FC236}">
                  <a16:creationId xmlns:a16="http://schemas.microsoft.com/office/drawing/2014/main" id="{5171691C-938D-4EBA-AF20-210B8AE21FD4}"/>
                </a:ext>
              </a:extLst>
            </p:cNvPr>
            <p:cNvGrpSpPr/>
            <p:nvPr/>
          </p:nvGrpSpPr>
          <p:grpSpPr>
            <a:xfrm>
              <a:off x="7716830" y="3642660"/>
              <a:ext cx="411825" cy="111495"/>
              <a:chOff x="7716830" y="3642660"/>
              <a:chExt cx="411825" cy="111495"/>
            </a:xfrm>
            <a:grpFill/>
          </p:grpSpPr>
          <p:sp>
            <p:nvSpPr>
              <p:cNvPr id="4782" name="Vrije vorm: vorm 4781">
                <a:extLst>
                  <a:ext uri="{FF2B5EF4-FFF2-40B4-BE49-F238E27FC236}">
                    <a16:creationId xmlns:a16="http://schemas.microsoft.com/office/drawing/2014/main" id="{A4C834E7-674C-4D22-82A7-0ADCD9B94D46}"/>
                  </a:ext>
                </a:extLst>
              </p:cNvPr>
              <p:cNvSpPr/>
              <p:nvPr/>
            </p:nvSpPr>
            <p:spPr>
              <a:xfrm>
                <a:off x="7725198" y="3650254"/>
                <a:ext cx="395086" cy="96289"/>
              </a:xfrm>
              <a:custGeom>
                <a:avLst/>
                <a:gdLst>
                  <a:gd name="connsiteX0" fmla="*/ 395087 w 395086"/>
                  <a:gd name="connsiteY0" fmla="*/ 93299 h 96289"/>
                  <a:gd name="connsiteX1" fmla="*/ 394429 w 395086"/>
                  <a:gd name="connsiteY1" fmla="*/ 96290 h 96289"/>
                  <a:gd name="connsiteX2" fmla="*/ 0 w 395086"/>
                  <a:gd name="connsiteY2" fmla="*/ 2990 h 96289"/>
                  <a:gd name="connsiteX3" fmla="*/ 718 w 395086"/>
                  <a:gd name="connsiteY3" fmla="*/ 0 h 96289"/>
                </a:gdLst>
                <a:ahLst/>
                <a:cxnLst>
                  <a:cxn ang="0">
                    <a:pos x="connsiteX0" y="connsiteY0"/>
                  </a:cxn>
                  <a:cxn ang="0">
                    <a:pos x="connsiteX1" y="connsiteY1"/>
                  </a:cxn>
                  <a:cxn ang="0">
                    <a:pos x="connsiteX2" y="connsiteY2"/>
                  </a:cxn>
                  <a:cxn ang="0">
                    <a:pos x="connsiteX3" y="connsiteY3"/>
                  </a:cxn>
                </a:cxnLst>
                <a:rect l="l" t="t" r="r" b="b"/>
                <a:pathLst>
                  <a:path w="395086" h="96289">
                    <a:moveTo>
                      <a:pt x="395087" y="93299"/>
                    </a:moveTo>
                    <a:lnTo>
                      <a:pt x="394429" y="96290"/>
                    </a:lnTo>
                    <a:lnTo>
                      <a:pt x="0" y="2990"/>
                    </a:lnTo>
                    <a:lnTo>
                      <a:pt x="718" y="0"/>
                    </a:lnTo>
                    <a:close/>
                  </a:path>
                </a:pathLst>
              </a:custGeom>
              <a:grpFill/>
              <a:ln w="5978" cap="flat">
                <a:noFill/>
                <a:prstDash val="solid"/>
                <a:miter/>
              </a:ln>
            </p:spPr>
            <p:txBody>
              <a:bodyPr rtlCol="0" anchor="ctr"/>
              <a:lstStyle/>
              <a:p>
                <a:endParaRPr lang="en-GB"/>
              </a:p>
            </p:txBody>
          </p:sp>
          <p:sp>
            <p:nvSpPr>
              <p:cNvPr id="4783" name="Vrije vorm: vorm 4782">
                <a:extLst>
                  <a:ext uri="{FF2B5EF4-FFF2-40B4-BE49-F238E27FC236}">
                    <a16:creationId xmlns:a16="http://schemas.microsoft.com/office/drawing/2014/main" id="{21244B31-8A47-4460-8E23-2F288358B9BF}"/>
                  </a:ext>
                </a:extLst>
              </p:cNvPr>
              <p:cNvSpPr/>
              <p:nvPr/>
            </p:nvSpPr>
            <p:spPr>
              <a:xfrm>
                <a:off x="7716830" y="3642660"/>
                <a:ext cx="18350" cy="18435"/>
              </a:xfrm>
              <a:custGeom>
                <a:avLst/>
                <a:gdLst>
                  <a:gd name="connsiteX0" fmla="*/ 7112 w 18350"/>
                  <a:gd name="connsiteY0" fmla="*/ 18180 h 18435"/>
                  <a:gd name="connsiteX1" fmla="*/ 234 w 18350"/>
                  <a:gd name="connsiteY1" fmla="*/ 7115 h 18435"/>
                  <a:gd name="connsiteX2" fmla="*/ 11239 w 18350"/>
                  <a:gd name="connsiteY2" fmla="*/ 237 h 18435"/>
                  <a:gd name="connsiteX3" fmla="*/ 18117 w 18350"/>
                  <a:gd name="connsiteY3" fmla="*/ 11302 h 18435"/>
                  <a:gd name="connsiteX4" fmla="*/ 7112 w 18350"/>
                  <a:gd name="connsiteY4" fmla="*/ 1818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5">
                    <a:moveTo>
                      <a:pt x="7112" y="18180"/>
                    </a:moveTo>
                    <a:cubicBezTo>
                      <a:pt x="2208" y="17043"/>
                      <a:pt x="-902" y="12079"/>
                      <a:pt x="234" y="7115"/>
                    </a:cubicBezTo>
                    <a:cubicBezTo>
                      <a:pt x="1371" y="2151"/>
                      <a:pt x="6275" y="-899"/>
                      <a:pt x="11239" y="237"/>
                    </a:cubicBezTo>
                    <a:cubicBezTo>
                      <a:pt x="16143" y="1374"/>
                      <a:pt x="19253" y="6338"/>
                      <a:pt x="18117" y="11302"/>
                    </a:cubicBezTo>
                    <a:cubicBezTo>
                      <a:pt x="16981" y="16266"/>
                      <a:pt x="12016" y="19376"/>
                      <a:pt x="7112" y="18180"/>
                    </a:cubicBezTo>
                    <a:close/>
                  </a:path>
                </a:pathLst>
              </a:custGeom>
              <a:grpFill/>
              <a:ln w="5978" cap="flat">
                <a:noFill/>
                <a:prstDash val="solid"/>
                <a:miter/>
              </a:ln>
            </p:spPr>
            <p:txBody>
              <a:bodyPr rtlCol="0" anchor="ctr"/>
              <a:lstStyle/>
              <a:p>
                <a:endParaRPr lang="en-GB"/>
              </a:p>
            </p:txBody>
          </p:sp>
          <p:sp>
            <p:nvSpPr>
              <p:cNvPr id="4784" name="Vrije vorm: vorm 4783">
                <a:extLst>
                  <a:ext uri="{FF2B5EF4-FFF2-40B4-BE49-F238E27FC236}">
                    <a16:creationId xmlns:a16="http://schemas.microsoft.com/office/drawing/2014/main" id="{6149C075-2A1B-4F59-954A-A8D95A75A67F}"/>
                  </a:ext>
                </a:extLst>
              </p:cNvPr>
              <p:cNvSpPr/>
              <p:nvPr/>
            </p:nvSpPr>
            <p:spPr>
              <a:xfrm>
                <a:off x="8110321" y="3735720"/>
                <a:ext cx="18335" cy="18435"/>
              </a:xfrm>
              <a:custGeom>
                <a:avLst/>
                <a:gdLst>
                  <a:gd name="connsiteX0" fmla="*/ 7094 w 18335"/>
                  <a:gd name="connsiteY0" fmla="*/ 18180 h 18435"/>
                  <a:gd name="connsiteX1" fmla="*/ 18098 w 18335"/>
                  <a:gd name="connsiteY1" fmla="*/ 11302 h 18435"/>
                  <a:gd name="connsiteX2" fmla="*/ 11220 w 18335"/>
                  <a:gd name="connsiteY2" fmla="*/ 237 h 18435"/>
                  <a:gd name="connsiteX3" fmla="*/ 216 w 18335"/>
                  <a:gd name="connsiteY3" fmla="*/ 7115 h 18435"/>
                  <a:gd name="connsiteX4" fmla="*/ 7094 w 18335"/>
                  <a:gd name="connsiteY4" fmla="*/ 1818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5">
                    <a:moveTo>
                      <a:pt x="7094" y="18180"/>
                    </a:moveTo>
                    <a:cubicBezTo>
                      <a:pt x="11998" y="19376"/>
                      <a:pt x="16962" y="16266"/>
                      <a:pt x="18098" y="11302"/>
                    </a:cubicBezTo>
                    <a:cubicBezTo>
                      <a:pt x="19234" y="6338"/>
                      <a:pt x="16184" y="1374"/>
                      <a:pt x="11220" y="237"/>
                    </a:cubicBezTo>
                    <a:cubicBezTo>
                      <a:pt x="6317" y="-899"/>
                      <a:pt x="1352" y="2151"/>
                      <a:pt x="216" y="7115"/>
                    </a:cubicBezTo>
                    <a:cubicBezTo>
                      <a:pt x="-861" y="12019"/>
                      <a:pt x="2189" y="16983"/>
                      <a:pt x="7094" y="18180"/>
                    </a:cubicBezTo>
                    <a:close/>
                  </a:path>
                </a:pathLst>
              </a:custGeom>
              <a:grpFill/>
              <a:ln w="5978" cap="flat">
                <a:noFill/>
                <a:prstDash val="solid"/>
                <a:miter/>
              </a:ln>
            </p:spPr>
            <p:txBody>
              <a:bodyPr rtlCol="0" anchor="ctr"/>
              <a:lstStyle/>
              <a:p>
                <a:endParaRPr lang="en-GB"/>
              </a:p>
            </p:txBody>
          </p:sp>
        </p:grpSp>
        <p:grpSp>
          <p:nvGrpSpPr>
            <p:cNvPr id="200" name="Graphic 3">
              <a:extLst>
                <a:ext uri="{FF2B5EF4-FFF2-40B4-BE49-F238E27FC236}">
                  <a16:creationId xmlns:a16="http://schemas.microsoft.com/office/drawing/2014/main" id="{B14EB1A3-4E44-4ABF-A90E-E941A6EC9D98}"/>
                </a:ext>
              </a:extLst>
            </p:cNvPr>
            <p:cNvGrpSpPr/>
            <p:nvPr/>
          </p:nvGrpSpPr>
          <p:grpSpPr>
            <a:xfrm>
              <a:off x="7347093" y="2197848"/>
              <a:ext cx="195142" cy="163189"/>
              <a:chOff x="7347093" y="2197848"/>
              <a:chExt cx="195142" cy="163189"/>
            </a:xfrm>
            <a:grpFill/>
          </p:grpSpPr>
          <p:sp>
            <p:nvSpPr>
              <p:cNvPr id="4779" name="Vrije vorm: vorm 4778">
                <a:extLst>
                  <a:ext uri="{FF2B5EF4-FFF2-40B4-BE49-F238E27FC236}">
                    <a16:creationId xmlns:a16="http://schemas.microsoft.com/office/drawing/2014/main" id="{1ED9B44C-FD76-4D42-96AE-4AE61A18864E}"/>
                  </a:ext>
                </a:extLst>
              </p:cNvPr>
              <p:cNvSpPr/>
              <p:nvPr/>
            </p:nvSpPr>
            <p:spPr>
              <a:xfrm>
                <a:off x="7354932" y="2205611"/>
                <a:ext cx="179421" cy="147723"/>
              </a:xfrm>
              <a:custGeom>
                <a:avLst/>
                <a:gdLst>
                  <a:gd name="connsiteX0" fmla="*/ 179422 w 179421"/>
                  <a:gd name="connsiteY0" fmla="*/ 2392 h 147723"/>
                  <a:gd name="connsiteX1" fmla="*/ 1914 w 179421"/>
                  <a:gd name="connsiteY1" fmla="*/ 147724 h 147723"/>
                  <a:gd name="connsiteX2" fmla="*/ 0 w 179421"/>
                  <a:gd name="connsiteY2" fmla="*/ 145332 h 147723"/>
                  <a:gd name="connsiteX3" fmla="*/ 177508 w 179421"/>
                  <a:gd name="connsiteY3" fmla="*/ 0 h 147723"/>
                </a:gdLst>
                <a:ahLst/>
                <a:cxnLst>
                  <a:cxn ang="0">
                    <a:pos x="connsiteX0" y="connsiteY0"/>
                  </a:cxn>
                  <a:cxn ang="0">
                    <a:pos x="connsiteX1" y="connsiteY1"/>
                  </a:cxn>
                  <a:cxn ang="0">
                    <a:pos x="connsiteX2" y="connsiteY2"/>
                  </a:cxn>
                  <a:cxn ang="0">
                    <a:pos x="connsiteX3" y="connsiteY3"/>
                  </a:cxn>
                </a:cxnLst>
                <a:rect l="l" t="t" r="r" b="b"/>
                <a:pathLst>
                  <a:path w="179421" h="147723">
                    <a:moveTo>
                      <a:pt x="179422" y="2392"/>
                    </a:moveTo>
                    <a:lnTo>
                      <a:pt x="1914" y="147724"/>
                    </a:lnTo>
                    <a:lnTo>
                      <a:pt x="0" y="145332"/>
                    </a:lnTo>
                    <a:lnTo>
                      <a:pt x="177508" y="0"/>
                    </a:lnTo>
                    <a:close/>
                  </a:path>
                </a:pathLst>
              </a:custGeom>
              <a:grpFill/>
              <a:ln w="5978" cap="flat">
                <a:noFill/>
                <a:prstDash val="solid"/>
                <a:miter/>
              </a:ln>
            </p:spPr>
            <p:txBody>
              <a:bodyPr rtlCol="0" anchor="ctr"/>
              <a:lstStyle/>
              <a:p>
                <a:endParaRPr lang="en-GB"/>
              </a:p>
            </p:txBody>
          </p:sp>
          <p:sp>
            <p:nvSpPr>
              <p:cNvPr id="4780" name="Vrije vorm: vorm 4779">
                <a:extLst>
                  <a:ext uri="{FF2B5EF4-FFF2-40B4-BE49-F238E27FC236}">
                    <a16:creationId xmlns:a16="http://schemas.microsoft.com/office/drawing/2014/main" id="{F6D48ECD-10F8-443C-AC82-DF9C175D2956}"/>
                  </a:ext>
                </a:extLst>
              </p:cNvPr>
              <p:cNvSpPr/>
              <p:nvPr/>
            </p:nvSpPr>
            <p:spPr>
              <a:xfrm>
                <a:off x="7523865" y="2197848"/>
                <a:ext cx="18371" cy="18451"/>
              </a:xfrm>
              <a:custGeom>
                <a:avLst/>
                <a:gdLst>
                  <a:gd name="connsiteX0" fmla="*/ 3372 w 18371"/>
                  <a:gd name="connsiteY0" fmla="*/ 2081 h 18451"/>
                  <a:gd name="connsiteX1" fmla="*/ 16291 w 18371"/>
                  <a:gd name="connsiteY1" fmla="*/ 3397 h 18451"/>
                  <a:gd name="connsiteX2" fmla="*/ 14974 w 18371"/>
                  <a:gd name="connsiteY2" fmla="*/ 16375 h 18451"/>
                  <a:gd name="connsiteX3" fmla="*/ 2056 w 18371"/>
                  <a:gd name="connsiteY3" fmla="*/ 15000 h 18451"/>
                  <a:gd name="connsiteX4" fmla="*/ 3372 w 18371"/>
                  <a:gd name="connsiteY4" fmla="*/ 2081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1">
                    <a:moveTo>
                      <a:pt x="3372" y="2081"/>
                    </a:moveTo>
                    <a:cubicBezTo>
                      <a:pt x="7260" y="-1148"/>
                      <a:pt x="13061" y="-550"/>
                      <a:pt x="16291" y="3397"/>
                    </a:cubicBezTo>
                    <a:cubicBezTo>
                      <a:pt x="19520" y="7344"/>
                      <a:pt x="18922" y="13145"/>
                      <a:pt x="14974" y="16375"/>
                    </a:cubicBezTo>
                    <a:cubicBezTo>
                      <a:pt x="11087" y="19605"/>
                      <a:pt x="5286" y="19007"/>
                      <a:pt x="2056" y="15000"/>
                    </a:cubicBezTo>
                    <a:cubicBezTo>
                      <a:pt x="-1114" y="11112"/>
                      <a:pt x="-575" y="5311"/>
                      <a:pt x="3372" y="2081"/>
                    </a:cubicBezTo>
                    <a:close/>
                  </a:path>
                </a:pathLst>
              </a:custGeom>
              <a:grpFill/>
              <a:ln w="5978" cap="flat">
                <a:noFill/>
                <a:prstDash val="solid"/>
                <a:miter/>
              </a:ln>
            </p:spPr>
            <p:txBody>
              <a:bodyPr rtlCol="0" anchor="ctr"/>
              <a:lstStyle/>
              <a:p>
                <a:endParaRPr lang="en-GB"/>
              </a:p>
            </p:txBody>
          </p:sp>
          <p:sp>
            <p:nvSpPr>
              <p:cNvPr id="4781" name="Vrije vorm: vorm 4780">
                <a:extLst>
                  <a:ext uri="{FF2B5EF4-FFF2-40B4-BE49-F238E27FC236}">
                    <a16:creationId xmlns:a16="http://schemas.microsoft.com/office/drawing/2014/main" id="{E1EAFFD6-B06E-4BF1-9F80-1E5016E9F556}"/>
                  </a:ext>
                </a:extLst>
              </p:cNvPr>
              <p:cNvSpPr/>
              <p:nvPr/>
            </p:nvSpPr>
            <p:spPr>
              <a:xfrm>
                <a:off x="7347093" y="2342625"/>
                <a:ext cx="18308" cy="18412"/>
              </a:xfrm>
              <a:custGeom>
                <a:avLst/>
                <a:gdLst>
                  <a:gd name="connsiteX0" fmla="*/ 3353 w 18308"/>
                  <a:gd name="connsiteY0" fmla="*/ 2037 h 18412"/>
                  <a:gd name="connsiteX1" fmla="*/ 2037 w 18308"/>
                  <a:gd name="connsiteY1" fmla="*/ 15015 h 18412"/>
                  <a:gd name="connsiteX2" fmla="*/ 14956 w 18308"/>
                  <a:gd name="connsiteY2" fmla="*/ 16331 h 18412"/>
                  <a:gd name="connsiteX3" fmla="*/ 16271 w 18308"/>
                  <a:gd name="connsiteY3" fmla="*/ 3353 h 18412"/>
                  <a:gd name="connsiteX4" fmla="*/ 3353 w 18308"/>
                  <a:gd name="connsiteY4" fmla="*/ 203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12">
                    <a:moveTo>
                      <a:pt x="3353" y="2037"/>
                    </a:moveTo>
                    <a:cubicBezTo>
                      <a:pt x="-534" y="5267"/>
                      <a:pt x="-1133" y="11068"/>
                      <a:pt x="2037" y="15015"/>
                    </a:cubicBezTo>
                    <a:cubicBezTo>
                      <a:pt x="5267" y="18963"/>
                      <a:pt x="11008" y="19561"/>
                      <a:pt x="14956" y="16331"/>
                    </a:cubicBezTo>
                    <a:cubicBezTo>
                      <a:pt x="18843" y="13101"/>
                      <a:pt x="19441" y="7300"/>
                      <a:pt x="16271" y="3353"/>
                    </a:cubicBezTo>
                    <a:cubicBezTo>
                      <a:pt x="13041" y="-535"/>
                      <a:pt x="7300" y="-1133"/>
                      <a:pt x="3353" y="2037"/>
                    </a:cubicBezTo>
                    <a:close/>
                  </a:path>
                </a:pathLst>
              </a:custGeom>
              <a:grpFill/>
              <a:ln w="5978" cap="flat">
                <a:noFill/>
                <a:prstDash val="solid"/>
                <a:miter/>
              </a:ln>
            </p:spPr>
            <p:txBody>
              <a:bodyPr rtlCol="0" anchor="ctr"/>
              <a:lstStyle/>
              <a:p>
                <a:endParaRPr lang="en-GB"/>
              </a:p>
            </p:txBody>
          </p:sp>
        </p:grpSp>
        <p:grpSp>
          <p:nvGrpSpPr>
            <p:cNvPr id="201" name="Graphic 3">
              <a:extLst>
                <a:ext uri="{FF2B5EF4-FFF2-40B4-BE49-F238E27FC236}">
                  <a16:creationId xmlns:a16="http://schemas.microsoft.com/office/drawing/2014/main" id="{4B0163A8-6423-4E5A-8760-619E88F04022}"/>
                </a:ext>
              </a:extLst>
            </p:cNvPr>
            <p:cNvGrpSpPr/>
            <p:nvPr/>
          </p:nvGrpSpPr>
          <p:grpSpPr>
            <a:xfrm>
              <a:off x="7715838" y="3610750"/>
              <a:ext cx="411056" cy="103647"/>
              <a:chOff x="7715838" y="3610750"/>
              <a:chExt cx="411056" cy="103647"/>
            </a:xfrm>
            <a:grpFill/>
          </p:grpSpPr>
          <p:sp>
            <p:nvSpPr>
              <p:cNvPr id="4776" name="Vrije vorm: vorm 4775">
                <a:extLst>
                  <a:ext uri="{FF2B5EF4-FFF2-40B4-BE49-F238E27FC236}">
                    <a16:creationId xmlns:a16="http://schemas.microsoft.com/office/drawing/2014/main" id="{5EB5F193-C478-4240-9B76-062C8780B3B3}"/>
                  </a:ext>
                </a:extLst>
              </p:cNvPr>
              <p:cNvSpPr/>
              <p:nvPr/>
            </p:nvSpPr>
            <p:spPr>
              <a:xfrm>
                <a:off x="7724241" y="3618376"/>
                <a:ext cx="394249" cy="88395"/>
              </a:xfrm>
              <a:custGeom>
                <a:avLst/>
                <a:gdLst>
                  <a:gd name="connsiteX0" fmla="*/ 394249 w 394249"/>
                  <a:gd name="connsiteY0" fmla="*/ 85405 h 88395"/>
                  <a:gd name="connsiteX1" fmla="*/ 393592 w 394249"/>
                  <a:gd name="connsiteY1" fmla="*/ 88395 h 88395"/>
                  <a:gd name="connsiteX2" fmla="*/ 0 w 394249"/>
                  <a:gd name="connsiteY2" fmla="*/ 2990 h 88395"/>
                  <a:gd name="connsiteX3" fmla="*/ 599 w 394249"/>
                  <a:gd name="connsiteY3" fmla="*/ 0 h 88395"/>
                </a:gdLst>
                <a:ahLst/>
                <a:cxnLst>
                  <a:cxn ang="0">
                    <a:pos x="connsiteX0" y="connsiteY0"/>
                  </a:cxn>
                  <a:cxn ang="0">
                    <a:pos x="connsiteX1" y="connsiteY1"/>
                  </a:cxn>
                  <a:cxn ang="0">
                    <a:pos x="connsiteX2" y="connsiteY2"/>
                  </a:cxn>
                  <a:cxn ang="0">
                    <a:pos x="connsiteX3" y="connsiteY3"/>
                  </a:cxn>
                </a:cxnLst>
                <a:rect l="l" t="t" r="r" b="b"/>
                <a:pathLst>
                  <a:path w="394249" h="88395">
                    <a:moveTo>
                      <a:pt x="394249" y="85405"/>
                    </a:moveTo>
                    <a:lnTo>
                      <a:pt x="393592" y="88395"/>
                    </a:lnTo>
                    <a:lnTo>
                      <a:pt x="0" y="2990"/>
                    </a:lnTo>
                    <a:lnTo>
                      <a:pt x="599" y="0"/>
                    </a:lnTo>
                    <a:close/>
                  </a:path>
                </a:pathLst>
              </a:custGeom>
              <a:grpFill/>
              <a:ln w="5978" cap="flat">
                <a:noFill/>
                <a:prstDash val="solid"/>
                <a:miter/>
              </a:ln>
            </p:spPr>
            <p:txBody>
              <a:bodyPr rtlCol="0" anchor="ctr"/>
              <a:lstStyle/>
              <a:p>
                <a:endParaRPr lang="en-GB"/>
              </a:p>
            </p:txBody>
          </p:sp>
          <p:sp>
            <p:nvSpPr>
              <p:cNvPr id="4777" name="Vrije vorm: vorm 4776">
                <a:extLst>
                  <a:ext uri="{FF2B5EF4-FFF2-40B4-BE49-F238E27FC236}">
                    <a16:creationId xmlns:a16="http://schemas.microsoft.com/office/drawing/2014/main" id="{8E5EB3AF-36C5-4BF8-815E-6B7CD8B082F2}"/>
                  </a:ext>
                </a:extLst>
              </p:cNvPr>
              <p:cNvSpPr/>
              <p:nvPr/>
            </p:nvSpPr>
            <p:spPr>
              <a:xfrm>
                <a:off x="7715838" y="3610750"/>
                <a:ext cx="18362" cy="18421"/>
              </a:xfrm>
              <a:custGeom>
                <a:avLst/>
                <a:gdLst>
                  <a:gd name="connsiteX0" fmla="*/ 7267 w 18362"/>
                  <a:gd name="connsiteY0" fmla="*/ 18212 h 18421"/>
                  <a:gd name="connsiteX1" fmla="*/ 210 w 18362"/>
                  <a:gd name="connsiteY1" fmla="*/ 7267 h 18421"/>
                  <a:gd name="connsiteX2" fmla="*/ 11095 w 18362"/>
                  <a:gd name="connsiteY2" fmla="*/ 210 h 18421"/>
                  <a:gd name="connsiteX3" fmla="*/ 18152 w 18362"/>
                  <a:gd name="connsiteY3" fmla="*/ 11155 h 18421"/>
                  <a:gd name="connsiteX4" fmla="*/ 7267 w 18362"/>
                  <a:gd name="connsiteY4" fmla="*/ 1821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7267" y="18212"/>
                    </a:moveTo>
                    <a:cubicBezTo>
                      <a:pt x="2304" y="17136"/>
                      <a:pt x="-866" y="12231"/>
                      <a:pt x="210" y="7267"/>
                    </a:cubicBezTo>
                    <a:cubicBezTo>
                      <a:pt x="1287" y="2303"/>
                      <a:pt x="6131" y="-867"/>
                      <a:pt x="11095" y="210"/>
                    </a:cubicBezTo>
                    <a:cubicBezTo>
                      <a:pt x="16059" y="1286"/>
                      <a:pt x="19229" y="6191"/>
                      <a:pt x="18152" y="11155"/>
                    </a:cubicBezTo>
                    <a:cubicBezTo>
                      <a:pt x="17076" y="16119"/>
                      <a:pt x="12171" y="19288"/>
                      <a:pt x="7267" y="18212"/>
                    </a:cubicBezTo>
                    <a:close/>
                  </a:path>
                </a:pathLst>
              </a:custGeom>
              <a:grpFill/>
              <a:ln w="5978" cap="flat">
                <a:noFill/>
                <a:prstDash val="solid"/>
                <a:miter/>
              </a:ln>
            </p:spPr>
            <p:txBody>
              <a:bodyPr rtlCol="0" anchor="ctr"/>
              <a:lstStyle/>
              <a:p>
                <a:endParaRPr lang="en-GB"/>
              </a:p>
            </p:txBody>
          </p:sp>
          <p:sp>
            <p:nvSpPr>
              <p:cNvPr id="4778" name="Vrije vorm: vorm 4777">
                <a:extLst>
                  <a:ext uri="{FF2B5EF4-FFF2-40B4-BE49-F238E27FC236}">
                    <a16:creationId xmlns:a16="http://schemas.microsoft.com/office/drawing/2014/main" id="{F248F3FD-3F6F-4BC2-B2BC-0106C7CD2FCB}"/>
                  </a:ext>
                </a:extLst>
              </p:cNvPr>
              <p:cNvSpPr/>
              <p:nvPr/>
            </p:nvSpPr>
            <p:spPr>
              <a:xfrm>
                <a:off x="8108532" y="3695976"/>
                <a:ext cx="18362" cy="18421"/>
              </a:xfrm>
              <a:custGeom>
                <a:avLst/>
                <a:gdLst>
                  <a:gd name="connsiteX0" fmla="*/ 7267 w 18362"/>
                  <a:gd name="connsiteY0" fmla="*/ 18212 h 18421"/>
                  <a:gd name="connsiteX1" fmla="*/ 18152 w 18362"/>
                  <a:gd name="connsiteY1" fmla="*/ 11155 h 18421"/>
                  <a:gd name="connsiteX2" fmla="*/ 11095 w 18362"/>
                  <a:gd name="connsiteY2" fmla="*/ 210 h 18421"/>
                  <a:gd name="connsiteX3" fmla="*/ 210 w 18362"/>
                  <a:gd name="connsiteY3" fmla="*/ 7267 h 18421"/>
                  <a:gd name="connsiteX4" fmla="*/ 7267 w 18362"/>
                  <a:gd name="connsiteY4" fmla="*/ 1821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7267" y="18212"/>
                    </a:moveTo>
                    <a:cubicBezTo>
                      <a:pt x="12231" y="19288"/>
                      <a:pt x="17076" y="16119"/>
                      <a:pt x="18152" y="11155"/>
                    </a:cubicBezTo>
                    <a:cubicBezTo>
                      <a:pt x="19229" y="6191"/>
                      <a:pt x="16059" y="1286"/>
                      <a:pt x="11095" y="210"/>
                    </a:cubicBezTo>
                    <a:cubicBezTo>
                      <a:pt x="6131" y="-867"/>
                      <a:pt x="1287" y="2303"/>
                      <a:pt x="210" y="7267"/>
                    </a:cubicBezTo>
                    <a:cubicBezTo>
                      <a:pt x="-866" y="12231"/>
                      <a:pt x="2303" y="17136"/>
                      <a:pt x="7267" y="18212"/>
                    </a:cubicBezTo>
                    <a:close/>
                  </a:path>
                </a:pathLst>
              </a:custGeom>
              <a:grpFill/>
              <a:ln w="5978" cap="flat">
                <a:noFill/>
                <a:prstDash val="solid"/>
                <a:miter/>
              </a:ln>
            </p:spPr>
            <p:txBody>
              <a:bodyPr rtlCol="0" anchor="ctr"/>
              <a:lstStyle/>
              <a:p>
                <a:endParaRPr lang="en-GB"/>
              </a:p>
            </p:txBody>
          </p:sp>
        </p:grpSp>
        <p:grpSp>
          <p:nvGrpSpPr>
            <p:cNvPr id="202" name="Graphic 3">
              <a:extLst>
                <a:ext uri="{FF2B5EF4-FFF2-40B4-BE49-F238E27FC236}">
                  <a16:creationId xmlns:a16="http://schemas.microsoft.com/office/drawing/2014/main" id="{CC7D6BE3-C943-466B-95A0-EC5FD38163DA}"/>
                </a:ext>
              </a:extLst>
            </p:cNvPr>
            <p:cNvGrpSpPr/>
            <p:nvPr/>
          </p:nvGrpSpPr>
          <p:grpSpPr>
            <a:xfrm>
              <a:off x="7247775" y="1880788"/>
              <a:ext cx="196789" cy="215922"/>
              <a:chOff x="7247775" y="1880788"/>
              <a:chExt cx="196789" cy="215922"/>
            </a:xfrm>
            <a:grpFill/>
          </p:grpSpPr>
          <p:sp>
            <p:nvSpPr>
              <p:cNvPr id="4773" name="Vrije vorm: vorm 4772">
                <a:extLst>
                  <a:ext uri="{FF2B5EF4-FFF2-40B4-BE49-F238E27FC236}">
                    <a16:creationId xmlns:a16="http://schemas.microsoft.com/office/drawing/2014/main" id="{ECC13DC9-2129-4BC7-A1E5-2EC58988AB3F}"/>
                  </a:ext>
                </a:extLst>
              </p:cNvPr>
              <p:cNvSpPr/>
              <p:nvPr/>
            </p:nvSpPr>
            <p:spPr>
              <a:xfrm>
                <a:off x="7255532" y="1888632"/>
                <a:ext cx="181335" cy="200174"/>
              </a:xfrm>
              <a:custGeom>
                <a:avLst/>
                <a:gdLst>
                  <a:gd name="connsiteX0" fmla="*/ 181336 w 181335"/>
                  <a:gd name="connsiteY0" fmla="*/ 2093 h 200174"/>
                  <a:gd name="connsiteX1" fmla="*/ 2273 w 181335"/>
                  <a:gd name="connsiteY1" fmla="*/ 200175 h 200174"/>
                  <a:gd name="connsiteX2" fmla="*/ 0 w 181335"/>
                  <a:gd name="connsiteY2" fmla="*/ 198141 h 200174"/>
                  <a:gd name="connsiteX3" fmla="*/ 179063 w 181335"/>
                  <a:gd name="connsiteY3" fmla="*/ 0 h 200174"/>
                </a:gdLst>
                <a:ahLst/>
                <a:cxnLst>
                  <a:cxn ang="0">
                    <a:pos x="connsiteX0" y="connsiteY0"/>
                  </a:cxn>
                  <a:cxn ang="0">
                    <a:pos x="connsiteX1" y="connsiteY1"/>
                  </a:cxn>
                  <a:cxn ang="0">
                    <a:pos x="connsiteX2" y="connsiteY2"/>
                  </a:cxn>
                  <a:cxn ang="0">
                    <a:pos x="connsiteX3" y="connsiteY3"/>
                  </a:cxn>
                </a:cxnLst>
                <a:rect l="l" t="t" r="r" b="b"/>
                <a:pathLst>
                  <a:path w="181335" h="200174">
                    <a:moveTo>
                      <a:pt x="181336" y="2093"/>
                    </a:moveTo>
                    <a:lnTo>
                      <a:pt x="2273" y="200175"/>
                    </a:lnTo>
                    <a:lnTo>
                      <a:pt x="0" y="198141"/>
                    </a:lnTo>
                    <a:lnTo>
                      <a:pt x="179063" y="0"/>
                    </a:lnTo>
                    <a:close/>
                  </a:path>
                </a:pathLst>
              </a:custGeom>
              <a:grpFill/>
              <a:ln w="5978" cap="flat">
                <a:noFill/>
                <a:prstDash val="solid"/>
                <a:miter/>
              </a:ln>
            </p:spPr>
            <p:txBody>
              <a:bodyPr rtlCol="0" anchor="ctr"/>
              <a:lstStyle/>
              <a:p>
                <a:endParaRPr lang="en-GB"/>
              </a:p>
            </p:txBody>
          </p:sp>
          <p:sp>
            <p:nvSpPr>
              <p:cNvPr id="4774" name="Vrije vorm: vorm 4773">
                <a:extLst>
                  <a:ext uri="{FF2B5EF4-FFF2-40B4-BE49-F238E27FC236}">
                    <a16:creationId xmlns:a16="http://schemas.microsoft.com/office/drawing/2014/main" id="{F64612E3-4164-4632-AB0F-5E9C2432746C}"/>
                  </a:ext>
                </a:extLst>
              </p:cNvPr>
              <p:cNvSpPr/>
              <p:nvPr/>
            </p:nvSpPr>
            <p:spPr>
              <a:xfrm>
                <a:off x="7426240" y="1880788"/>
                <a:ext cx="18325" cy="18438"/>
              </a:xfrm>
              <a:custGeom>
                <a:avLst/>
                <a:gdLst>
                  <a:gd name="connsiteX0" fmla="*/ 2375 w 18325"/>
                  <a:gd name="connsiteY0" fmla="*/ 3000 h 18438"/>
                  <a:gd name="connsiteX1" fmla="*/ 15293 w 18325"/>
                  <a:gd name="connsiteY1" fmla="*/ 2401 h 18438"/>
                  <a:gd name="connsiteX2" fmla="*/ 15951 w 18325"/>
                  <a:gd name="connsiteY2" fmla="*/ 15439 h 18438"/>
                  <a:gd name="connsiteX3" fmla="*/ 3032 w 18325"/>
                  <a:gd name="connsiteY3" fmla="*/ 16037 h 18438"/>
                  <a:gd name="connsiteX4" fmla="*/ 2375 w 18325"/>
                  <a:gd name="connsiteY4" fmla="*/ 3000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8">
                    <a:moveTo>
                      <a:pt x="2375" y="3000"/>
                    </a:moveTo>
                    <a:cubicBezTo>
                      <a:pt x="5783" y="-768"/>
                      <a:pt x="11585" y="-1008"/>
                      <a:pt x="15293" y="2401"/>
                    </a:cubicBezTo>
                    <a:cubicBezTo>
                      <a:pt x="19061" y="5810"/>
                      <a:pt x="19360" y="11672"/>
                      <a:pt x="15951" y="15439"/>
                    </a:cubicBezTo>
                    <a:cubicBezTo>
                      <a:pt x="12541" y="19207"/>
                      <a:pt x="6740" y="19447"/>
                      <a:pt x="3032" y="16037"/>
                    </a:cubicBezTo>
                    <a:cubicBezTo>
                      <a:pt x="-736" y="12628"/>
                      <a:pt x="-1035" y="6767"/>
                      <a:pt x="2375" y="3000"/>
                    </a:cubicBezTo>
                    <a:close/>
                  </a:path>
                </a:pathLst>
              </a:custGeom>
              <a:grpFill/>
              <a:ln w="5978" cap="flat">
                <a:noFill/>
                <a:prstDash val="solid"/>
                <a:miter/>
              </a:ln>
            </p:spPr>
            <p:txBody>
              <a:bodyPr rtlCol="0" anchor="ctr"/>
              <a:lstStyle/>
              <a:p>
                <a:endParaRPr lang="en-GB"/>
              </a:p>
            </p:txBody>
          </p:sp>
          <p:sp>
            <p:nvSpPr>
              <p:cNvPr id="4775" name="Vrije vorm: vorm 4774">
                <a:extLst>
                  <a:ext uri="{FF2B5EF4-FFF2-40B4-BE49-F238E27FC236}">
                    <a16:creationId xmlns:a16="http://schemas.microsoft.com/office/drawing/2014/main" id="{3FC446C8-F9BC-45B0-A9B0-74EDBFB5628B}"/>
                  </a:ext>
                </a:extLst>
              </p:cNvPr>
              <p:cNvSpPr/>
              <p:nvPr/>
            </p:nvSpPr>
            <p:spPr>
              <a:xfrm>
                <a:off x="7247775" y="2078248"/>
                <a:ext cx="18300" cy="18462"/>
              </a:xfrm>
              <a:custGeom>
                <a:avLst/>
                <a:gdLst>
                  <a:gd name="connsiteX0" fmla="*/ 2375 w 18300"/>
                  <a:gd name="connsiteY0" fmla="*/ 3023 h 18462"/>
                  <a:gd name="connsiteX1" fmla="*/ 3032 w 18300"/>
                  <a:gd name="connsiteY1" fmla="*/ 16061 h 18462"/>
                  <a:gd name="connsiteX2" fmla="*/ 15950 w 18300"/>
                  <a:gd name="connsiteY2" fmla="*/ 15463 h 18462"/>
                  <a:gd name="connsiteX3" fmla="*/ 15292 w 18300"/>
                  <a:gd name="connsiteY3" fmla="*/ 2425 h 18462"/>
                  <a:gd name="connsiteX4" fmla="*/ 2375 w 18300"/>
                  <a:gd name="connsiteY4" fmla="*/ 3023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62">
                    <a:moveTo>
                      <a:pt x="2375" y="3023"/>
                    </a:moveTo>
                    <a:cubicBezTo>
                      <a:pt x="-1035" y="6791"/>
                      <a:pt x="-736" y="12592"/>
                      <a:pt x="3032" y="16061"/>
                    </a:cubicBezTo>
                    <a:cubicBezTo>
                      <a:pt x="6800" y="19470"/>
                      <a:pt x="12601" y="19231"/>
                      <a:pt x="15950" y="15463"/>
                    </a:cubicBezTo>
                    <a:cubicBezTo>
                      <a:pt x="19300" y="11695"/>
                      <a:pt x="19060" y="5894"/>
                      <a:pt x="15292" y="2425"/>
                    </a:cubicBezTo>
                    <a:cubicBezTo>
                      <a:pt x="11584" y="-1044"/>
                      <a:pt x="5783" y="-745"/>
                      <a:pt x="2375" y="3023"/>
                    </a:cubicBezTo>
                    <a:close/>
                  </a:path>
                </a:pathLst>
              </a:custGeom>
              <a:grpFill/>
              <a:ln w="5978" cap="flat">
                <a:noFill/>
                <a:prstDash val="solid"/>
                <a:miter/>
              </a:ln>
            </p:spPr>
            <p:txBody>
              <a:bodyPr rtlCol="0" anchor="ctr"/>
              <a:lstStyle/>
              <a:p>
                <a:endParaRPr lang="en-GB"/>
              </a:p>
            </p:txBody>
          </p:sp>
        </p:grpSp>
        <p:grpSp>
          <p:nvGrpSpPr>
            <p:cNvPr id="203" name="Graphic 3">
              <a:extLst>
                <a:ext uri="{FF2B5EF4-FFF2-40B4-BE49-F238E27FC236}">
                  <a16:creationId xmlns:a16="http://schemas.microsoft.com/office/drawing/2014/main" id="{3E8AA74F-712B-478B-B415-61C474EECC40}"/>
                </a:ext>
              </a:extLst>
            </p:cNvPr>
            <p:cNvGrpSpPr/>
            <p:nvPr/>
          </p:nvGrpSpPr>
          <p:grpSpPr>
            <a:xfrm>
              <a:off x="8029398" y="4248202"/>
              <a:ext cx="158772" cy="77998"/>
              <a:chOff x="8029398" y="4248202"/>
              <a:chExt cx="158772" cy="77998"/>
            </a:xfrm>
            <a:grpFill/>
          </p:grpSpPr>
          <p:sp>
            <p:nvSpPr>
              <p:cNvPr id="4770" name="Vrije vorm: vorm 4769">
                <a:extLst>
                  <a:ext uri="{FF2B5EF4-FFF2-40B4-BE49-F238E27FC236}">
                    <a16:creationId xmlns:a16="http://schemas.microsoft.com/office/drawing/2014/main" id="{59D22233-A4F4-4A31-A16F-FE77F97B233F}"/>
                  </a:ext>
                </a:extLst>
              </p:cNvPr>
              <p:cNvSpPr/>
              <p:nvPr/>
            </p:nvSpPr>
            <p:spPr>
              <a:xfrm>
                <a:off x="8037512" y="4255862"/>
                <a:ext cx="142521" cy="62677"/>
              </a:xfrm>
              <a:custGeom>
                <a:avLst/>
                <a:gdLst>
                  <a:gd name="connsiteX0" fmla="*/ 142521 w 142521"/>
                  <a:gd name="connsiteY0" fmla="*/ 59867 h 62677"/>
                  <a:gd name="connsiteX1" fmla="*/ 141325 w 142521"/>
                  <a:gd name="connsiteY1" fmla="*/ 62678 h 62677"/>
                  <a:gd name="connsiteX2" fmla="*/ 0 w 142521"/>
                  <a:gd name="connsiteY2" fmla="*/ 2811 h 62677"/>
                  <a:gd name="connsiteX3" fmla="*/ 1137 w 142521"/>
                  <a:gd name="connsiteY3" fmla="*/ 0 h 62677"/>
                </a:gdLst>
                <a:ahLst/>
                <a:cxnLst>
                  <a:cxn ang="0">
                    <a:pos x="connsiteX0" y="connsiteY0"/>
                  </a:cxn>
                  <a:cxn ang="0">
                    <a:pos x="connsiteX1" y="connsiteY1"/>
                  </a:cxn>
                  <a:cxn ang="0">
                    <a:pos x="connsiteX2" y="connsiteY2"/>
                  </a:cxn>
                  <a:cxn ang="0">
                    <a:pos x="connsiteX3" y="connsiteY3"/>
                  </a:cxn>
                </a:cxnLst>
                <a:rect l="l" t="t" r="r" b="b"/>
                <a:pathLst>
                  <a:path w="142521" h="62677">
                    <a:moveTo>
                      <a:pt x="142521" y="59867"/>
                    </a:moveTo>
                    <a:lnTo>
                      <a:pt x="141325" y="62678"/>
                    </a:lnTo>
                    <a:lnTo>
                      <a:pt x="0" y="2811"/>
                    </a:lnTo>
                    <a:lnTo>
                      <a:pt x="1137" y="0"/>
                    </a:lnTo>
                    <a:close/>
                  </a:path>
                </a:pathLst>
              </a:custGeom>
              <a:grpFill/>
              <a:ln w="5978" cap="flat">
                <a:noFill/>
                <a:prstDash val="solid"/>
                <a:miter/>
              </a:ln>
            </p:spPr>
            <p:txBody>
              <a:bodyPr rtlCol="0" anchor="ctr"/>
              <a:lstStyle/>
              <a:p>
                <a:endParaRPr lang="en-GB"/>
              </a:p>
            </p:txBody>
          </p:sp>
          <p:sp>
            <p:nvSpPr>
              <p:cNvPr id="4771" name="Vrije vorm: vorm 4770">
                <a:extLst>
                  <a:ext uri="{FF2B5EF4-FFF2-40B4-BE49-F238E27FC236}">
                    <a16:creationId xmlns:a16="http://schemas.microsoft.com/office/drawing/2014/main" id="{DED313A1-DA31-4D9D-A662-D51AB6AD85D2}"/>
                  </a:ext>
                </a:extLst>
              </p:cNvPr>
              <p:cNvSpPr/>
              <p:nvPr/>
            </p:nvSpPr>
            <p:spPr>
              <a:xfrm>
                <a:off x="8169860" y="4307736"/>
                <a:ext cx="18310" cy="18463"/>
              </a:xfrm>
              <a:custGeom>
                <a:avLst/>
                <a:gdLst>
                  <a:gd name="connsiteX0" fmla="*/ 12684 w 18310"/>
                  <a:gd name="connsiteY0" fmla="*/ 756 h 18463"/>
                  <a:gd name="connsiteX1" fmla="*/ 17588 w 18310"/>
                  <a:gd name="connsiteY1" fmla="*/ 12837 h 18463"/>
                  <a:gd name="connsiteX2" fmla="*/ 5627 w 18310"/>
                  <a:gd name="connsiteY2" fmla="*/ 17742 h 18463"/>
                  <a:gd name="connsiteX3" fmla="*/ 722 w 18310"/>
                  <a:gd name="connsiteY3" fmla="*/ 5660 h 18463"/>
                  <a:gd name="connsiteX4" fmla="*/ 12684 w 18310"/>
                  <a:gd name="connsiteY4" fmla="*/ 756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63">
                    <a:moveTo>
                      <a:pt x="12684" y="756"/>
                    </a:moveTo>
                    <a:cubicBezTo>
                      <a:pt x="17349" y="2730"/>
                      <a:pt x="19562" y="8112"/>
                      <a:pt x="17588" y="12837"/>
                    </a:cubicBezTo>
                    <a:cubicBezTo>
                      <a:pt x="15614" y="17502"/>
                      <a:pt x="10292" y="19715"/>
                      <a:pt x="5627" y="17742"/>
                    </a:cubicBezTo>
                    <a:cubicBezTo>
                      <a:pt x="962" y="15768"/>
                      <a:pt x="-1251" y="10385"/>
                      <a:pt x="722" y="5660"/>
                    </a:cubicBezTo>
                    <a:cubicBezTo>
                      <a:pt x="2636" y="936"/>
                      <a:pt x="8019" y="-1277"/>
                      <a:pt x="12684" y="756"/>
                    </a:cubicBezTo>
                    <a:close/>
                  </a:path>
                </a:pathLst>
              </a:custGeom>
              <a:grpFill/>
              <a:ln w="5978" cap="flat">
                <a:noFill/>
                <a:prstDash val="solid"/>
                <a:miter/>
              </a:ln>
            </p:spPr>
            <p:txBody>
              <a:bodyPr rtlCol="0" anchor="ctr"/>
              <a:lstStyle/>
              <a:p>
                <a:endParaRPr lang="en-GB"/>
              </a:p>
            </p:txBody>
          </p:sp>
          <p:sp>
            <p:nvSpPr>
              <p:cNvPr id="4772" name="Vrije vorm: vorm 4771">
                <a:extLst>
                  <a:ext uri="{FF2B5EF4-FFF2-40B4-BE49-F238E27FC236}">
                    <a16:creationId xmlns:a16="http://schemas.microsoft.com/office/drawing/2014/main" id="{9AA13EE3-D239-423B-9148-E510E8CE9CC7}"/>
                  </a:ext>
                </a:extLst>
              </p:cNvPr>
              <p:cNvSpPr/>
              <p:nvPr/>
            </p:nvSpPr>
            <p:spPr>
              <a:xfrm>
                <a:off x="8029398" y="4248202"/>
                <a:ext cx="18285" cy="18430"/>
              </a:xfrm>
              <a:custGeom>
                <a:avLst/>
                <a:gdLst>
                  <a:gd name="connsiteX0" fmla="*/ 12659 w 18285"/>
                  <a:gd name="connsiteY0" fmla="*/ 722 h 18430"/>
                  <a:gd name="connsiteX1" fmla="*/ 697 w 18285"/>
                  <a:gd name="connsiteY1" fmla="*/ 5626 h 18430"/>
                  <a:gd name="connsiteX2" fmla="*/ 5602 w 18285"/>
                  <a:gd name="connsiteY2" fmla="*/ 17708 h 18430"/>
                  <a:gd name="connsiteX3" fmla="*/ 17563 w 18285"/>
                  <a:gd name="connsiteY3" fmla="*/ 12803 h 18430"/>
                  <a:gd name="connsiteX4" fmla="*/ 12659 w 18285"/>
                  <a:gd name="connsiteY4" fmla="*/ 72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30">
                    <a:moveTo>
                      <a:pt x="12659" y="722"/>
                    </a:moveTo>
                    <a:cubicBezTo>
                      <a:pt x="7994" y="-1251"/>
                      <a:pt x="2611" y="962"/>
                      <a:pt x="697" y="5626"/>
                    </a:cubicBezTo>
                    <a:cubicBezTo>
                      <a:pt x="-1216" y="10292"/>
                      <a:pt x="937" y="15734"/>
                      <a:pt x="5602" y="17708"/>
                    </a:cubicBezTo>
                    <a:cubicBezTo>
                      <a:pt x="10267" y="19681"/>
                      <a:pt x="15649" y="17469"/>
                      <a:pt x="17563" y="12803"/>
                    </a:cubicBezTo>
                    <a:cubicBezTo>
                      <a:pt x="19536" y="8139"/>
                      <a:pt x="17324" y="2696"/>
                      <a:pt x="12659" y="722"/>
                    </a:cubicBezTo>
                    <a:close/>
                  </a:path>
                </a:pathLst>
              </a:custGeom>
              <a:grpFill/>
              <a:ln w="5978" cap="flat">
                <a:noFill/>
                <a:prstDash val="solid"/>
                <a:miter/>
              </a:ln>
            </p:spPr>
            <p:txBody>
              <a:bodyPr rtlCol="0" anchor="ctr"/>
              <a:lstStyle/>
              <a:p>
                <a:endParaRPr lang="en-GB"/>
              </a:p>
            </p:txBody>
          </p:sp>
        </p:grpSp>
        <p:grpSp>
          <p:nvGrpSpPr>
            <p:cNvPr id="204" name="Graphic 3">
              <a:extLst>
                <a:ext uri="{FF2B5EF4-FFF2-40B4-BE49-F238E27FC236}">
                  <a16:creationId xmlns:a16="http://schemas.microsoft.com/office/drawing/2014/main" id="{EEF458E1-9562-4E1F-BBE8-A06BBE95DBF6}"/>
                </a:ext>
              </a:extLst>
            </p:cNvPr>
            <p:cNvGrpSpPr/>
            <p:nvPr/>
          </p:nvGrpSpPr>
          <p:grpSpPr>
            <a:xfrm>
              <a:off x="7788074" y="3585550"/>
              <a:ext cx="207375" cy="37772"/>
              <a:chOff x="7788074" y="3585550"/>
              <a:chExt cx="207375" cy="37772"/>
            </a:xfrm>
            <a:grpFill/>
          </p:grpSpPr>
          <p:sp>
            <p:nvSpPr>
              <p:cNvPr id="4767" name="Vrije vorm: vorm 4766">
                <a:extLst>
                  <a:ext uri="{FF2B5EF4-FFF2-40B4-BE49-F238E27FC236}">
                    <a16:creationId xmlns:a16="http://schemas.microsoft.com/office/drawing/2014/main" id="{07E6423E-2795-46ED-90FD-6DDE239BAD26}"/>
                  </a:ext>
                </a:extLst>
              </p:cNvPr>
              <p:cNvSpPr/>
              <p:nvPr/>
            </p:nvSpPr>
            <p:spPr>
              <a:xfrm>
                <a:off x="7796609" y="3593198"/>
                <a:ext cx="190246" cy="22427"/>
              </a:xfrm>
              <a:custGeom>
                <a:avLst/>
                <a:gdLst>
                  <a:gd name="connsiteX0" fmla="*/ 190246 w 190246"/>
                  <a:gd name="connsiteY0" fmla="*/ 19378 h 22427"/>
                  <a:gd name="connsiteX1" fmla="*/ 189948 w 190246"/>
                  <a:gd name="connsiteY1" fmla="*/ 22428 h 22427"/>
                  <a:gd name="connsiteX2" fmla="*/ 0 w 190246"/>
                  <a:gd name="connsiteY2" fmla="*/ 3050 h 22427"/>
                  <a:gd name="connsiteX3" fmla="*/ 299 w 190246"/>
                  <a:gd name="connsiteY3" fmla="*/ 0 h 22427"/>
                </a:gdLst>
                <a:ahLst/>
                <a:cxnLst>
                  <a:cxn ang="0">
                    <a:pos x="connsiteX0" y="connsiteY0"/>
                  </a:cxn>
                  <a:cxn ang="0">
                    <a:pos x="connsiteX1" y="connsiteY1"/>
                  </a:cxn>
                  <a:cxn ang="0">
                    <a:pos x="connsiteX2" y="connsiteY2"/>
                  </a:cxn>
                  <a:cxn ang="0">
                    <a:pos x="connsiteX3" y="connsiteY3"/>
                  </a:cxn>
                </a:cxnLst>
                <a:rect l="l" t="t" r="r" b="b"/>
                <a:pathLst>
                  <a:path w="190246" h="22427">
                    <a:moveTo>
                      <a:pt x="190246" y="19378"/>
                    </a:moveTo>
                    <a:lnTo>
                      <a:pt x="189948" y="22428"/>
                    </a:lnTo>
                    <a:lnTo>
                      <a:pt x="0" y="3050"/>
                    </a:lnTo>
                    <a:lnTo>
                      <a:pt x="299" y="0"/>
                    </a:lnTo>
                    <a:close/>
                  </a:path>
                </a:pathLst>
              </a:custGeom>
              <a:grpFill/>
              <a:ln w="5978" cap="flat">
                <a:noFill/>
                <a:prstDash val="solid"/>
                <a:miter/>
              </a:ln>
            </p:spPr>
            <p:txBody>
              <a:bodyPr rtlCol="0" anchor="ctr"/>
              <a:lstStyle/>
              <a:p>
                <a:endParaRPr lang="en-GB"/>
              </a:p>
            </p:txBody>
          </p:sp>
          <p:sp>
            <p:nvSpPr>
              <p:cNvPr id="4768" name="Vrije vorm: vorm 4767">
                <a:extLst>
                  <a:ext uri="{FF2B5EF4-FFF2-40B4-BE49-F238E27FC236}">
                    <a16:creationId xmlns:a16="http://schemas.microsoft.com/office/drawing/2014/main" id="{A30755E7-6749-4C37-9FB8-A07330CABAFD}"/>
                  </a:ext>
                </a:extLst>
              </p:cNvPr>
              <p:cNvSpPr/>
              <p:nvPr/>
            </p:nvSpPr>
            <p:spPr>
              <a:xfrm>
                <a:off x="7977125" y="3604868"/>
                <a:ext cx="18324" cy="18454"/>
              </a:xfrm>
              <a:custGeom>
                <a:avLst/>
                <a:gdLst>
                  <a:gd name="connsiteX0" fmla="*/ 10030 w 18324"/>
                  <a:gd name="connsiteY0" fmla="*/ 52 h 18454"/>
                  <a:gd name="connsiteX1" fmla="*/ 18283 w 18324"/>
                  <a:gd name="connsiteY1" fmla="*/ 10159 h 18454"/>
                  <a:gd name="connsiteX2" fmla="*/ 8295 w 18324"/>
                  <a:gd name="connsiteY2" fmla="*/ 18413 h 18454"/>
                  <a:gd name="connsiteX3" fmla="*/ 42 w 18324"/>
                  <a:gd name="connsiteY3" fmla="*/ 8305 h 18454"/>
                  <a:gd name="connsiteX4" fmla="*/ 10030 w 18324"/>
                  <a:gd name="connsiteY4" fmla="*/ 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4">
                    <a:moveTo>
                      <a:pt x="10030" y="52"/>
                    </a:moveTo>
                    <a:cubicBezTo>
                      <a:pt x="15053" y="590"/>
                      <a:pt x="18761" y="5076"/>
                      <a:pt x="18283" y="10159"/>
                    </a:cubicBezTo>
                    <a:cubicBezTo>
                      <a:pt x="17804" y="15243"/>
                      <a:pt x="13319" y="18891"/>
                      <a:pt x="8295" y="18413"/>
                    </a:cubicBezTo>
                    <a:cubicBezTo>
                      <a:pt x="3271" y="17934"/>
                      <a:pt x="-437" y="13389"/>
                      <a:pt x="42" y="8305"/>
                    </a:cubicBezTo>
                    <a:cubicBezTo>
                      <a:pt x="520" y="3222"/>
                      <a:pt x="5005" y="-486"/>
                      <a:pt x="10030" y="52"/>
                    </a:cubicBezTo>
                    <a:close/>
                  </a:path>
                </a:pathLst>
              </a:custGeom>
              <a:grpFill/>
              <a:ln w="5978" cap="flat">
                <a:noFill/>
                <a:prstDash val="solid"/>
                <a:miter/>
              </a:ln>
            </p:spPr>
            <p:txBody>
              <a:bodyPr rtlCol="0" anchor="ctr"/>
              <a:lstStyle/>
              <a:p>
                <a:endParaRPr lang="en-GB"/>
              </a:p>
            </p:txBody>
          </p:sp>
          <p:sp>
            <p:nvSpPr>
              <p:cNvPr id="4769" name="Vrije vorm: vorm 4768">
                <a:extLst>
                  <a:ext uri="{FF2B5EF4-FFF2-40B4-BE49-F238E27FC236}">
                    <a16:creationId xmlns:a16="http://schemas.microsoft.com/office/drawing/2014/main" id="{5213F3F3-7CFE-475F-86CF-36275FECA8EA}"/>
                  </a:ext>
                </a:extLst>
              </p:cNvPr>
              <p:cNvSpPr/>
              <p:nvPr/>
            </p:nvSpPr>
            <p:spPr>
              <a:xfrm>
                <a:off x="7788074" y="3585550"/>
                <a:ext cx="18325" cy="18464"/>
              </a:xfrm>
              <a:custGeom>
                <a:avLst/>
                <a:gdLst>
                  <a:gd name="connsiteX0" fmla="*/ 10030 w 18325"/>
                  <a:gd name="connsiteY0" fmla="*/ 52 h 18464"/>
                  <a:gd name="connsiteX1" fmla="*/ 42 w 18325"/>
                  <a:gd name="connsiteY1" fmla="*/ 8305 h 18464"/>
                  <a:gd name="connsiteX2" fmla="*/ 8296 w 18325"/>
                  <a:gd name="connsiteY2" fmla="*/ 18413 h 18464"/>
                  <a:gd name="connsiteX3" fmla="*/ 18284 w 18325"/>
                  <a:gd name="connsiteY3" fmla="*/ 10159 h 18464"/>
                  <a:gd name="connsiteX4" fmla="*/ 10030 w 18325"/>
                  <a:gd name="connsiteY4" fmla="*/ 5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4">
                    <a:moveTo>
                      <a:pt x="10030" y="52"/>
                    </a:moveTo>
                    <a:cubicBezTo>
                      <a:pt x="5006" y="-486"/>
                      <a:pt x="520" y="3222"/>
                      <a:pt x="42" y="8305"/>
                    </a:cubicBezTo>
                    <a:cubicBezTo>
                      <a:pt x="-436" y="13389"/>
                      <a:pt x="3212" y="17874"/>
                      <a:pt x="8296" y="18413"/>
                    </a:cubicBezTo>
                    <a:cubicBezTo>
                      <a:pt x="13319" y="18951"/>
                      <a:pt x="17805" y="15243"/>
                      <a:pt x="18284" y="10159"/>
                    </a:cubicBezTo>
                    <a:cubicBezTo>
                      <a:pt x="18762" y="5076"/>
                      <a:pt x="15054" y="590"/>
                      <a:pt x="10030" y="52"/>
                    </a:cubicBezTo>
                    <a:close/>
                  </a:path>
                </a:pathLst>
              </a:custGeom>
              <a:grpFill/>
              <a:ln w="5978" cap="flat">
                <a:noFill/>
                <a:prstDash val="solid"/>
                <a:miter/>
              </a:ln>
            </p:spPr>
            <p:txBody>
              <a:bodyPr rtlCol="0" anchor="ctr"/>
              <a:lstStyle/>
              <a:p>
                <a:endParaRPr lang="en-GB"/>
              </a:p>
            </p:txBody>
          </p:sp>
        </p:grpSp>
        <p:grpSp>
          <p:nvGrpSpPr>
            <p:cNvPr id="205" name="Graphic 3">
              <a:extLst>
                <a:ext uri="{FF2B5EF4-FFF2-40B4-BE49-F238E27FC236}">
                  <a16:creationId xmlns:a16="http://schemas.microsoft.com/office/drawing/2014/main" id="{9DFB1D38-46CC-43CF-9902-368C8952003F}"/>
                </a:ext>
              </a:extLst>
            </p:cNvPr>
            <p:cNvGrpSpPr/>
            <p:nvPr/>
          </p:nvGrpSpPr>
          <p:grpSpPr>
            <a:xfrm>
              <a:off x="7601810" y="2792015"/>
              <a:ext cx="63467" cy="35828"/>
              <a:chOff x="7601810" y="2792015"/>
              <a:chExt cx="63467" cy="35828"/>
            </a:xfrm>
            <a:grpFill/>
          </p:grpSpPr>
          <p:sp>
            <p:nvSpPr>
              <p:cNvPr id="4764" name="Vrije vorm: vorm 4763">
                <a:extLst>
                  <a:ext uri="{FF2B5EF4-FFF2-40B4-BE49-F238E27FC236}">
                    <a16:creationId xmlns:a16="http://schemas.microsoft.com/office/drawing/2014/main" id="{5F1FCBDF-6AB4-4EFC-BF71-34C7B51755AE}"/>
                  </a:ext>
                </a:extLst>
              </p:cNvPr>
              <p:cNvSpPr/>
              <p:nvPr/>
            </p:nvSpPr>
            <p:spPr>
              <a:xfrm>
                <a:off x="7610208" y="2799891"/>
                <a:ext cx="47093" cy="20534"/>
              </a:xfrm>
              <a:custGeom>
                <a:avLst/>
                <a:gdLst>
                  <a:gd name="connsiteX0" fmla="*/ 0 w 47093"/>
                  <a:gd name="connsiteY0" fmla="*/ 17687 h 20534"/>
                  <a:gd name="connsiteX1" fmla="*/ 45999 w 47093"/>
                  <a:gd name="connsiteY1" fmla="*/ 0 h 20534"/>
                  <a:gd name="connsiteX2" fmla="*/ 47094 w 47093"/>
                  <a:gd name="connsiteY2" fmla="*/ 2847 h 20534"/>
                  <a:gd name="connsiteX3" fmla="*/ 1095 w 47093"/>
                  <a:gd name="connsiteY3" fmla="*/ 20534 h 20534"/>
                </a:gdLst>
                <a:ahLst/>
                <a:cxnLst>
                  <a:cxn ang="0">
                    <a:pos x="connsiteX0" y="connsiteY0"/>
                  </a:cxn>
                  <a:cxn ang="0">
                    <a:pos x="connsiteX1" y="connsiteY1"/>
                  </a:cxn>
                  <a:cxn ang="0">
                    <a:pos x="connsiteX2" y="connsiteY2"/>
                  </a:cxn>
                  <a:cxn ang="0">
                    <a:pos x="connsiteX3" y="connsiteY3"/>
                  </a:cxn>
                </a:cxnLst>
                <a:rect l="l" t="t" r="r" b="b"/>
                <a:pathLst>
                  <a:path w="47093" h="20534">
                    <a:moveTo>
                      <a:pt x="0" y="17687"/>
                    </a:moveTo>
                    <a:lnTo>
                      <a:pt x="45999" y="0"/>
                    </a:lnTo>
                    <a:lnTo>
                      <a:pt x="47094" y="2847"/>
                    </a:lnTo>
                    <a:lnTo>
                      <a:pt x="1095" y="20534"/>
                    </a:lnTo>
                    <a:close/>
                  </a:path>
                </a:pathLst>
              </a:custGeom>
              <a:grpFill/>
              <a:ln w="5978" cap="flat">
                <a:noFill/>
                <a:prstDash val="solid"/>
                <a:miter/>
              </a:ln>
            </p:spPr>
            <p:txBody>
              <a:bodyPr rtlCol="0" anchor="ctr"/>
              <a:lstStyle/>
              <a:p>
                <a:endParaRPr lang="en-GB"/>
              </a:p>
            </p:txBody>
          </p:sp>
          <p:sp>
            <p:nvSpPr>
              <p:cNvPr id="4765" name="Vrije vorm: vorm 4764">
                <a:extLst>
                  <a:ext uri="{FF2B5EF4-FFF2-40B4-BE49-F238E27FC236}">
                    <a16:creationId xmlns:a16="http://schemas.microsoft.com/office/drawing/2014/main" id="{BA162B95-D545-4D10-BDC2-E09A8F4BC61A}"/>
                  </a:ext>
                </a:extLst>
              </p:cNvPr>
              <p:cNvSpPr/>
              <p:nvPr/>
            </p:nvSpPr>
            <p:spPr>
              <a:xfrm>
                <a:off x="7646964" y="2792015"/>
                <a:ext cx="18313" cy="18431"/>
              </a:xfrm>
              <a:custGeom>
                <a:avLst/>
                <a:gdLst>
                  <a:gd name="connsiteX0" fmla="*/ 5867 w 18313"/>
                  <a:gd name="connsiteY0" fmla="*/ 604 h 18431"/>
                  <a:gd name="connsiteX1" fmla="*/ 17709 w 18313"/>
                  <a:gd name="connsiteY1" fmla="*/ 5926 h 18431"/>
                  <a:gd name="connsiteX2" fmla="*/ 12446 w 18313"/>
                  <a:gd name="connsiteY2" fmla="*/ 17828 h 18431"/>
                  <a:gd name="connsiteX3" fmla="*/ 604 w 18313"/>
                  <a:gd name="connsiteY3" fmla="*/ 12505 h 18431"/>
                  <a:gd name="connsiteX4" fmla="*/ 5867 w 18313"/>
                  <a:gd name="connsiteY4" fmla="*/ 604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5867" y="604"/>
                    </a:moveTo>
                    <a:cubicBezTo>
                      <a:pt x="10592" y="-1191"/>
                      <a:pt x="15915" y="1142"/>
                      <a:pt x="17709" y="5926"/>
                    </a:cubicBezTo>
                    <a:cubicBezTo>
                      <a:pt x="19504" y="10651"/>
                      <a:pt x="17171" y="15974"/>
                      <a:pt x="12446" y="17828"/>
                    </a:cubicBezTo>
                    <a:cubicBezTo>
                      <a:pt x="7721" y="19622"/>
                      <a:pt x="2399" y="17290"/>
                      <a:pt x="604" y="12505"/>
                    </a:cubicBezTo>
                    <a:cubicBezTo>
                      <a:pt x="-1190" y="7780"/>
                      <a:pt x="1142" y="2458"/>
                      <a:pt x="5867" y="604"/>
                    </a:cubicBezTo>
                    <a:close/>
                  </a:path>
                </a:pathLst>
              </a:custGeom>
              <a:grpFill/>
              <a:ln w="5978" cap="flat">
                <a:noFill/>
                <a:prstDash val="solid"/>
                <a:miter/>
              </a:ln>
            </p:spPr>
            <p:txBody>
              <a:bodyPr rtlCol="0" anchor="ctr"/>
              <a:lstStyle/>
              <a:p>
                <a:endParaRPr lang="en-GB"/>
              </a:p>
            </p:txBody>
          </p:sp>
          <p:sp>
            <p:nvSpPr>
              <p:cNvPr id="4766" name="Vrije vorm: vorm 4765">
                <a:extLst>
                  <a:ext uri="{FF2B5EF4-FFF2-40B4-BE49-F238E27FC236}">
                    <a16:creationId xmlns:a16="http://schemas.microsoft.com/office/drawing/2014/main" id="{CAF00FF4-8416-4729-B6C3-9580385D7398}"/>
                  </a:ext>
                </a:extLst>
              </p:cNvPr>
              <p:cNvSpPr/>
              <p:nvPr/>
            </p:nvSpPr>
            <p:spPr>
              <a:xfrm>
                <a:off x="7601810" y="2809394"/>
                <a:ext cx="18313" cy="18448"/>
              </a:xfrm>
              <a:custGeom>
                <a:avLst/>
                <a:gdLst>
                  <a:gd name="connsiteX0" fmla="*/ 5867 w 18313"/>
                  <a:gd name="connsiteY0" fmla="*/ 628 h 18448"/>
                  <a:gd name="connsiteX1" fmla="*/ 604 w 18313"/>
                  <a:gd name="connsiteY1" fmla="*/ 12530 h 18448"/>
                  <a:gd name="connsiteX2" fmla="*/ 12446 w 18313"/>
                  <a:gd name="connsiteY2" fmla="*/ 17852 h 18448"/>
                  <a:gd name="connsiteX3" fmla="*/ 17710 w 18313"/>
                  <a:gd name="connsiteY3" fmla="*/ 5951 h 18448"/>
                  <a:gd name="connsiteX4" fmla="*/ 5867 w 18313"/>
                  <a:gd name="connsiteY4" fmla="*/ 62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48">
                    <a:moveTo>
                      <a:pt x="5867" y="628"/>
                    </a:moveTo>
                    <a:cubicBezTo>
                      <a:pt x="1143" y="2422"/>
                      <a:pt x="-1190" y="7745"/>
                      <a:pt x="604" y="12530"/>
                    </a:cubicBezTo>
                    <a:cubicBezTo>
                      <a:pt x="2458" y="17254"/>
                      <a:pt x="7721" y="19647"/>
                      <a:pt x="12446" y="17852"/>
                    </a:cubicBezTo>
                    <a:cubicBezTo>
                      <a:pt x="17171" y="16058"/>
                      <a:pt x="19503" y="10735"/>
                      <a:pt x="17710" y="5951"/>
                    </a:cubicBezTo>
                    <a:cubicBezTo>
                      <a:pt x="15915" y="1166"/>
                      <a:pt x="10592" y="-1226"/>
                      <a:pt x="5867" y="628"/>
                    </a:cubicBezTo>
                    <a:close/>
                  </a:path>
                </a:pathLst>
              </a:custGeom>
              <a:grpFill/>
              <a:ln w="5978" cap="flat">
                <a:noFill/>
                <a:prstDash val="solid"/>
                <a:miter/>
              </a:ln>
            </p:spPr>
            <p:txBody>
              <a:bodyPr rtlCol="0" anchor="ctr"/>
              <a:lstStyle/>
              <a:p>
                <a:endParaRPr lang="en-GB"/>
              </a:p>
            </p:txBody>
          </p:sp>
        </p:grpSp>
        <p:grpSp>
          <p:nvGrpSpPr>
            <p:cNvPr id="206" name="Graphic 3">
              <a:extLst>
                <a:ext uri="{FF2B5EF4-FFF2-40B4-BE49-F238E27FC236}">
                  <a16:creationId xmlns:a16="http://schemas.microsoft.com/office/drawing/2014/main" id="{1F70FCA2-F004-4A09-A076-E03BD2C89210}"/>
                </a:ext>
              </a:extLst>
            </p:cNvPr>
            <p:cNvGrpSpPr/>
            <p:nvPr/>
          </p:nvGrpSpPr>
          <p:grpSpPr>
            <a:xfrm>
              <a:off x="7590312" y="2762096"/>
              <a:ext cx="63199" cy="36643"/>
              <a:chOff x="7590312" y="2762096"/>
              <a:chExt cx="63199" cy="36643"/>
            </a:xfrm>
            <a:grpFill/>
          </p:grpSpPr>
          <p:sp>
            <p:nvSpPr>
              <p:cNvPr id="4761" name="Vrije vorm: vorm 4760">
                <a:extLst>
                  <a:ext uri="{FF2B5EF4-FFF2-40B4-BE49-F238E27FC236}">
                    <a16:creationId xmlns:a16="http://schemas.microsoft.com/office/drawing/2014/main" id="{4ED8663F-9F3E-4D59-9EC9-E4BA0BDCED6A}"/>
                  </a:ext>
                </a:extLst>
              </p:cNvPr>
              <p:cNvSpPr/>
              <p:nvPr/>
            </p:nvSpPr>
            <p:spPr>
              <a:xfrm>
                <a:off x="7598643" y="2769501"/>
                <a:ext cx="46802" cy="21384"/>
              </a:xfrm>
              <a:custGeom>
                <a:avLst/>
                <a:gdLst>
                  <a:gd name="connsiteX0" fmla="*/ 0 w 46802"/>
                  <a:gd name="connsiteY0" fmla="*/ 18559 h 21384"/>
                  <a:gd name="connsiteX1" fmla="*/ 45654 w 46802"/>
                  <a:gd name="connsiteY1" fmla="*/ 0 h 21384"/>
                  <a:gd name="connsiteX2" fmla="*/ 46803 w 46802"/>
                  <a:gd name="connsiteY2" fmla="*/ 2826 h 21384"/>
                  <a:gd name="connsiteX3" fmla="*/ 1149 w 46802"/>
                  <a:gd name="connsiteY3" fmla="*/ 21385 h 21384"/>
                </a:gdLst>
                <a:ahLst/>
                <a:cxnLst>
                  <a:cxn ang="0">
                    <a:pos x="connsiteX0" y="connsiteY0"/>
                  </a:cxn>
                  <a:cxn ang="0">
                    <a:pos x="connsiteX1" y="connsiteY1"/>
                  </a:cxn>
                  <a:cxn ang="0">
                    <a:pos x="connsiteX2" y="connsiteY2"/>
                  </a:cxn>
                  <a:cxn ang="0">
                    <a:pos x="connsiteX3" y="connsiteY3"/>
                  </a:cxn>
                </a:cxnLst>
                <a:rect l="l" t="t" r="r" b="b"/>
                <a:pathLst>
                  <a:path w="46802" h="21384">
                    <a:moveTo>
                      <a:pt x="0" y="18559"/>
                    </a:moveTo>
                    <a:lnTo>
                      <a:pt x="45654" y="0"/>
                    </a:lnTo>
                    <a:lnTo>
                      <a:pt x="46803" y="2826"/>
                    </a:lnTo>
                    <a:lnTo>
                      <a:pt x="1149" y="21385"/>
                    </a:lnTo>
                    <a:close/>
                  </a:path>
                </a:pathLst>
              </a:custGeom>
              <a:grpFill/>
              <a:ln w="5978" cap="flat">
                <a:noFill/>
                <a:prstDash val="solid"/>
                <a:miter/>
              </a:ln>
            </p:spPr>
            <p:txBody>
              <a:bodyPr rtlCol="0" anchor="ctr"/>
              <a:lstStyle/>
              <a:p>
                <a:endParaRPr lang="en-GB"/>
              </a:p>
            </p:txBody>
          </p:sp>
          <p:sp>
            <p:nvSpPr>
              <p:cNvPr id="4762" name="Vrije vorm: vorm 4761">
                <a:extLst>
                  <a:ext uri="{FF2B5EF4-FFF2-40B4-BE49-F238E27FC236}">
                    <a16:creationId xmlns:a16="http://schemas.microsoft.com/office/drawing/2014/main" id="{594AF991-2D10-4F04-A56E-E6AF278A7903}"/>
                  </a:ext>
                </a:extLst>
              </p:cNvPr>
              <p:cNvSpPr/>
              <p:nvPr/>
            </p:nvSpPr>
            <p:spPr>
              <a:xfrm>
                <a:off x="7635159" y="2762096"/>
                <a:ext cx="18351" cy="18402"/>
              </a:xfrm>
              <a:custGeom>
                <a:avLst/>
                <a:gdLst>
                  <a:gd name="connsiteX0" fmla="*/ 5711 w 18351"/>
                  <a:gd name="connsiteY0" fmla="*/ 678 h 18402"/>
                  <a:gd name="connsiteX1" fmla="*/ 17673 w 18351"/>
                  <a:gd name="connsiteY1" fmla="*/ 5762 h 18402"/>
                  <a:gd name="connsiteX2" fmla="*/ 12649 w 18351"/>
                  <a:gd name="connsiteY2" fmla="*/ 17724 h 18402"/>
                  <a:gd name="connsiteX3" fmla="*/ 688 w 18351"/>
                  <a:gd name="connsiteY3" fmla="*/ 12640 h 18402"/>
                  <a:gd name="connsiteX4" fmla="*/ 5711 w 18351"/>
                  <a:gd name="connsiteY4" fmla="*/ 678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02">
                    <a:moveTo>
                      <a:pt x="5711" y="678"/>
                    </a:moveTo>
                    <a:cubicBezTo>
                      <a:pt x="10376" y="-1235"/>
                      <a:pt x="15759" y="1037"/>
                      <a:pt x="17673" y="5762"/>
                    </a:cubicBezTo>
                    <a:cubicBezTo>
                      <a:pt x="19586" y="10487"/>
                      <a:pt x="17313" y="15870"/>
                      <a:pt x="12649" y="17724"/>
                    </a:cubicBezTo>
                    <a:cubicBezTo>
                      <a:pt x="7984" y="19637"/>
                      <a:pt x="2601" y="17365"/>
                      <a:pt x="688" y="12640"/>
                    </a:cubicBezTo>
                    <a:cubicBezTo>
                      <a:pt x="-1227" y="7915"/>
                      <a:pt x="986" y="2592"/>
                      <a:pt x="5711" y="678"/>
                    </a:cubicBezTo>
                    <a:close/>
                  </a:path>
                </a:pathLst>
              </a:custGeom>
              <a:grpFill/>
              <a:ln w="5978" cap="flat">
                <a:noFill/>
                <a:prstDash val="solid"/>
                <a:miter/>
              </a:ln>
            </p:spPr>
            <p:txBody>
              <a:bodyPr rtlCol="0" anchor="ctr"/>
              <a:lstStyle/>
              <a:p>
                <a:endParaRPr lang="en-GB"/>
              </a:p>
            </p:txBody>
          </p:sp>
          <p:sp>
            <p:nvSpPr>
              <p:cNvPr id="4763" name="Vrije vorm: vorm 4762">
                <a:extLst>
                  <a:ext uri="{FF2B5EF4-FFF2-40B4-BE49-F238E27FC236}">
                    <a16:creationId xmlns:a16="http://schemas.microsoft.com/office/drawing/2014/main" id="{4DCC1781-5FDF-4F03-B067-C61832A90043}"/>
                  </a:ext>
                </a:extLst>
              </p:cNvPr>
              <p:cNvSpPr/>
              <p:nvPr/>
            </p:nvSpPr>
            <p:spPr>
              <a:xfrm>
                <a:off x="7590312" y="2780311"/>
                <a:ext cx="18343" cy="18428"/>
              </a:xfrm>
              <a:custGeom>
                <a:avLst/>
                <a:gdLst>
                  <a:gd name="connsiteX0" fmla="*/ 5703 w 18343"/>
                  <a:gd name="connsiteY0" fmla="*/ 645 h 18428"/>
                  <a:gd name="connsiteX1" fmla="*/ 680 w 18343"/>
                  <a:gd name="connsiteY1" fmla="*/ 12666 h 18428"/>
                  <a:gd name="connsiteX2" fmla="*/ 12641 w 18343"/>
                  <a:gd name="connsiteY2" fmla="*/ 17750 h 18428"/>
                  <a:gd name="connsiteX3" fmla="*/ 17665 w 18343"/>
                  <a:gd name="connsiteY3" fmla="*/ 5789 h 18428"/>
                  <a:gd name="connsiteX4" fmla="*/ 5703 w 18343"/>
                  <a:gd name="connsiteY4" fmla="*/ 64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8">
                    <a:moveTo>
                      <a:pt x="5703" y="645"/>
                    </a:moveTo>
                    <a:cubicBezTo>
                      <a:pt x="1038" y="2559"/>
                      <a:pt x="-1235" y="7942"/>
                      <a:pt x="680" y="12666"/>
                    </a:cubicBezTo>
                    <a:cubicBezTo>
                      <a:pt x="2593" y="17391"/>
                      <a:pt x="7916" y="19664"/>
                      <a:pt x="12641" y="17750"/>
                    </a:cubicBezTo>
                    <a:cubicBezTo>
                      <a:pt x="17305" y="15836"/>
                      <a:pt x="19578" y="10454"/>
                      <a:pt x="17665" y="5789"/>
                    </a:cubicBezTo>
                    <a:cubicBezTo>
                      <a:pt x="15751" y="1064"/>
                      <a:pt x="10428" y="-1209"/>
                      <a:pt x="5703" y="645"/>
                    </a:cubicBezTo>
                    <a:close/>
                  </a:path>
                </a:pathLst>
              </a:custGeom>
              <a:grpFill/>
              <a:ln w="5978" cap="flat">
                <a:noFill/>
                <a:prstDash val="solid"/>
                <a:miter/>
              </a:ln>
            </p:spPr>
            <p:txBody>
              <a:bodyPr rtlCol="0" anchor="ctr"/>
              <a:lstStyle/>
              <a:p>
                <a:endParaRPr lang="en-GB"/>
              </a:p>
            </p:txBody>
          </p:sp>
        </p:grpSp>
        <p:grpSp>
          <p:nvGrpSpPr>
            <p:cNvPr id="207" name="Graphic 3">
              <a:extLst>
                <a:ext uri="{FF2B5EF4-FFF2-40B4-BE49-F238E27FC236}">
                  <a16:creationId xmlns:a16="http://schemas.microsoft.com/office/drawing/2014/main" id="{4E608709-E25E-4406-B514-9D7365436239}"/>
                </a:ext>
              </a:extLst>
            </p:cNvPr>
            <p:cNvGrpSpPr/>
            <p:nvPr/>
          </p:nvGrpSpPr>
          <p:grpSpPr>
            <a:xfrm>
              <a:off x="7582629" y="2732378"/>
              <a:ext cx="58444" cy="35638"/>
              <a:chOff x="7582629" y="2732378"/>
              <a:chExt cx="58444" cy="35638"/>
            </a:xfrm>
            <a:grpFill/>
          </p:grpSpPr>
          <p:sp>
            <p:nvSpPr>
              <p:cNvPr id="4758" name="Vrije vorm: vorm 4757">
                <a:extLst>
                  <a:ext uri="{FF2B5EF4-FFF2-40B4-BE49-F238E27FC236}">
                    <a16:creationId xmlns:a16="http://schemas.microsoft.com/office/drawing/2014/main" id="{2C9E3737-3679-4019-A72E-7A4E4A5D46BE}"/>
                  </a:ext>
                </a:extLst>
              </p:cNvPr>
              <p:cNvSpPr/>
              <p:nvPr/>
            </p:nvSpPr>
            <p:spPr>
              <a:xfrm>
                <a:off x="7590752" y="2739988"/>
                <a:ext cx="42224" cy="20394"/>
              </a:xfrm>
              <a:custGeom>
                <a:avLst/>
                <a:gdLst>
                  <a:gd name="connsiteX0" fmla="*/ 42224 w 42224"/>
                  <a:gd name="connsiteY0" fmla="*/ 2811 h 20394"/>
                  <a:gd name="connsiteX1" fmla="*/ 1196 w 42224"/>
                  <a:gd name="connsiteY1" fmla="*/ 20394 h 20394"/>
                  <a:gd name="connsiteX2" fmla="*/ 0 w 42224"/>
                  <a:gd name="connsiteY2" fmla="*/ 17583 h 20394"/>
                  <a:gd name="connsiteX3" fmla="*/ 41028 w 42224"/>
                  <a:gd name="connsiteY3" fmla="*/ 0 h 20394"/>
                </a:gdLst>
                <a:ahLst/>
                <a:cxnLst>
                  <a:cxn ang="0">
                    <a:pos x="connsiteX0" y="connsiteY0"/>
                  </a:cxn>
                  <a:cxn ang="0">
                    <a:pos x="connsiteX1" y="connsiteY1"/>
                  </a:cxn>
                  <a:cxn ang="0">
                    <a:pos x="connsiteX2" y="connsiteY2"/>
                  </a:cxn>
                  <a:cxn ang="0">
                    <a:pos x="connsiteX3" y="connsiteY3"/>
                  </a:cxn>
                </a:cxnLst>
                <a:rect l="l" t="t" r="r" b="b"/>
                <a:pathLst>
                  <a:path w="42224" h="20394">
                    <a:moveTo>
                      <a:pt x="42224" y="2811"/>
                    </a:moveTo>
                    <a:lnTo>
                      <a:pt x="1196" y="20394"/>
                    </a:lnTo>
                    <a:lnTo>
                      <a:pt x="0" y="17583"/>
                    </a:lnTo>
                    <a:lnTo>
                      <a:pt x="41028" y="0"/>
                    </a:lnTo>
                    <a:close/>
                  </a:path>
                </a:pathLst>
              </a:custGeom>
              <a:grpFill/>
              <a:ln w="5978" cap="flat">
                <a:noFill/>
                <a:prstDash val="solid"/>
                <a:miter/>
              </a:ln>
            </p:spPr>
            <p:txBody>
              <a:bodyPr rtlCol="0" anchor="ctr"/>
              <a:lstStyle/>
              <a:p>
                <a:endParaRPr lang="en-GB"/>
              </a:p>
            </p:txBody>
          </p:sp>
          <p:sp>
            <p:nvSpPr>
              <p:cNvPr id="4759" name="Vrije vorm: vorm 4758">
                <a:extLst>
                  <a:ext uri="{FF2B5EF4-FFF2-40B4-BE49-F238E27FC236}">
                    <a16:creationId xmlns:a16="http://schemas.microsoft.com/office/drawing/2014/main" id="{64A23B12-F42F-449A-985E-F29E82A141B7}"/>
                  </a:ext>
                </a:extLst>
              </p:cNvPr>
              <p:cNvSpPr/>
              <p:nvPr/>
            </p:nvSpPr>
            <p:spPr>
              <a:xfrm>
                <a:off x="7622794" y="2732378"/>
                <a:ext cx="18279" cy="18388"/>
              </a:xfrm>
              <a:custGeom>
                <a:avLst/>
                <a:gdLst>
                  <a:gd name="connsiteX0" fmla="*/ 5517 w 18279"/>
                  <a:gd name="connsiteY0" fmla="*/ 732 h 18388"/>
                  <a:gd name="connsiteX1" fmla="*/ 17539 w 18279"/>
                  <a:gd name="connsiteY1" fmla="*/ 5576 h 18388"/>
                  <a:gd name="connsiteX2" fmla="*/ 12754 w 18279"/>
                  <a:gd name="connsiteY2" fmla="*/ 17657 h 18388"/>
                  <a:gd name="connsiteX3" fmla="*/ 733 w 18279"/>
                  <a:gd name="connsiteY3" fmla="*/ 12813 h 18388"/>
                  <a:gd name="connsiteX4" fmla="*/ 5517 w 18279"/>
                  <a:gd name="connsiteY4" fmla="*/ 732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9" h="18388">
                    <a:moveTo>
                      <a:pt x="5517" y="732"/>
                    </a:moveTo>
                    <a:cubicBezTo>
                      <a:pt x="10183" y="-1242"/>
                      <a:pt x="15565" y="911"/>
                      <a:pt x="17539" y="5576"/>
                    </a:cubicBezTo>
                    <a:cubicBezTo>
                      <a:pt x="19512" y="10241"/>
                      <a:pt x="17419" y="15684"/>
                      <a:pt x="12754" y="17657"/>
                    </a:cubicBezTo>
                    <a:cubicBezTo>
                      <a:pt x="8089" y="19631"/>
                      <a:pt x="2707" y="17478"/>
                      <a:pt x="733" y="12813"/>
                    </a:cubicBezTo>
                    <a:cubicBezTo>
                      <a:pt x="-1241" y="8148"/>
                      <a:pt x="912" y="2705"/>
                      <a:pt x="5517" y="732"/>
                    </a:cubicBezTo>
                    <a:close/>
                  </a:path>
                </a:pathLst>
              </a:custGeom>
              <a:grpFill/>
              <a:ln w="5978" cap="flat">
                <a:noFill/>
                <a:prstDash val="solid"/>
                <a:miter/>
              </a:ln>
            </p:spPr>
            <p:txBody>
              <a:bodyPr rtlCol="0" anchor="ctr"/>
              <a:lstStyle/>
              <a:p>
                <a:endParaRPr lang="en-GB"/>
              </a:p>
            </p:txBody>
          </p:sp>
          <p:sp>
            <p:nvSpPr>
              <p:cNvPr id="4760" name="Vrije vorm: vorm 4759">
                <a:extLst>
                  <a:ext uri="{FF2B5EF4-FFF2-40B4-BE49-F238E27FC236}">
                    <a16:creationId xmlns:a16="http://schemas.microsoft.com/office/drawing/2014/main" id="{F7091E99-4BBE-4695-9776-261679EAE85B}"/>
                  </a:ext>
                </a:extLst>
              </p:cNvPr>
              <p:cNvSpPr/>
              <p:nvPr/>
            </p:nvSpPr>
            <p:spPr>
              <a:xfrm>
                <a:off x="7582629" y="2749578"/>
                <a:ext cx="18330" cy="18439"/>
              </a:xfrm>
              <a:custGeom>
                <a:avLst/>
                <a:gdLst>
                  <a:gd name="connsiteX0" fmla="*/ 5551 w 18330"/>
                  <a:gd name="connsiteY0" fmla="*/ 757 h 18439"/>
                  <a:gd name="connsiteX1" fmla="*/ 767 w 18330"/>
                  <a:gd name="connsiteY1" fmla="*/ 12838 h 18439"/>
                  <a:gd name="connsiteX2" fmla="*/ 12788 w 18330"/>
                  <a:gd name="connsiteY2" fmla="*/ 17682 h 18439"/>
                  <a:gd name="connsiteX3" fmla="*/ 17572 w 18330"/>
                  <a:gd name="connsiteY3" fmla="*/ 5601 h 18439"/>
                  <a:gd name="connsiteX4" fmla="*/ 5551 w 18330"/>
                  <a:gd name="connsiteY4" fmla="*/ 757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39">
                    <a:moveTo>
                      <a:pt x="5551" y="757"/>
                    </a:moveTo>
                    <a:cubicBezTo>
                      <a:pt x="886" y="2731"/>
                      <a:pt x="-1267" y="8173"/>
                      <a:pt x="767" y="12838"/>
                    </a:cubicBezTo>
                    <a:cubicBezTo>
                      <a:pt x="2740" y="17503"/>
                      <a:pt x="8183" y="19716"/>
                      <a:pt x="12788" y="17682"/>
                    </a:cubicBezTo>
                    <a:cubicBezTo>
                      <a:pt x="17393" y="15649"/>
                      <a:pt x="19606" y="10266"/>
                      <a:pt x="17572" y="5601"/>
                    </a:cubicBezTo>
                    <a:cubicBezTo>
                      <a:pt x="15599" y="936"/>
                      <a:pt x="10216" y="-1276"/>
                      <a:pt x="5551" y="757"/>
                    </a:cubicBezTo>
                    <a:close/>
                  </a:path>
                </a:pathLst>
              </a:custGeom>
              <a:grpFill/>
              <a:ln w="5978" cap="flat">
                <a:noFill/>
                <a:prstDash val="solid"/>
                <a:miter/>
              </a:ln>
            </p:spPr>
            <p:txBody>
              <a:bodyPr rtlCol="0" anchor="ctr"/>
              <a:lstStyle/>
              <a:p>
                <a:endParaRPr lang="en-GB"/>
              </a:p>
            </p:txBody>
          </p:sp>
        </p:grpSp>
        <p:grpSp>
          <p:nvGrpSpPr>
            <p:cNvPr id="208" name="Graphic 3">
              <a:extLst>
                <a:ext uri="{FF2B5EF4-FFF2-40B4-BE49-F238E27FC236}">
                  <a16:creationId xmlns:a16="http://schemas.microsoft.com/office/drawing/2014/main" id="{0F0EF08D-ED87-4470-BDE4-B2FF75E0AAEC}"/>
                </a:ext>
              </a:extLst>
            </p:cNvPr>
            <p:cNvGrpSpPr/>
            <p:nvPr/>
          </p:nvGrpSpPr>
          <p:grpSpPr>
            <a:xfrm>
              <a:off x="7459492" y="2439853"/>
              <a:ext cx="103193" cy="73282"/>
              <a:chOff x="7459492" y="2439853"/>
              <a:chExt cx="103193" cy="73282"/>
            </a:xfrm>
            <a:grpFill/>
          </p:grpSpPr>
          <p:sp>
            <p:nvSpPr>
              <p:cNvPr id="4755" name="Vrije vorm: vorm 4754">
                <a:extLst>
                  <a:ext uri="{FF2B5EF4-FFF2-40B4-BE49-F238E27FC236}">
                    <a16:creationId xmlns:a16="http://schemas.microsoft.com/office/drawing/2014/main" id="{C7CA5C14-49B5-4F8D-85E0-A63952B1D63E}"/>
                  </a:ext>
                </a:extLst>
              </p:cNvPr>
              <p:cNvSpPr/>
              <p:nvPr/>
            </p:nvSpPr>
            <p:spPr>
              <a:xfrm>
                <a:off x="7467429" y="2447531"/>
                <a:ext cx="87318" cy="57893"/>
              </a:xfrm>
              <a:custGeom>
                <a:avLst/>
                <a:gdLst>
                  <a:gd name="connsiteX0" fmla="*/ 87318 w 87318"/>
                  <a:gd name="connsiteY0" fmla="*/ 2572 h 57893"/>
                  <a:gd name="connsiteX1" fmla="*/ 1675 w 87318"/>
                  <a:gd name="connsiteY1" fmla="*/ 57893 h 57893"/>
                  <a:gd name="connsiteX2" fmla="*/ 0 w 87318"/>
                  <a:gd name="connsiteY2" fmla="*/ 55322 h 57893"/>
                  <a:gd name="connsiteX3" fmla="*/ 85644 w 87318"/>
                  <a:gd name="connsiteY3" fmla="*/ 0 h 57893"/>
                </a:gdLst>
                <a:ahLst/>
                <a:cxnLst>
                  <a:cxn ang="0">
                    <a:pos x="connsiteX0" y="connsiteY0"/>
                  </a:cxn>
                  <a:cxn ang="0">
                    <a:pos x="connsiteX1" y="connsiteY1"/>
                  </a:cxn>
                  <a:cxn ang="0">
                    <a:pos x="connsiteX2" y="connsiteY2"/>
                  </a:cxn>
                  <a:cxn ang="0">
                    <a:pos x="connsiteX3" y="connsiteY3"/>
                  </a:cxn>
                </a:cxnLst>
                <a:rect l="l" t="t" r="r" b="b"/>
                <a:pathLst>
                  <a:path w="87318" h="57893">
                    <a:moveTo>
                      <a:pt x="87318" y="2572"/>
                    </a:moveTo>
                    <a:lnTo>
                      <a:pt x="1675" y="57893"/>
                    </a:lnTo>
                    <a:lnTo>
                      <a:pt x="0" y="55322"/>
                    </a:lnTo>
                    <a:lnTo>
                      <a:pt x="85644" y="0"/>
                    </a:lnTo>
                    <a:close/>
                  </a:path>
                </a:pathLst>
              </a:custGeom>
              <a:grpFill/>
              <a:ln w="5978" cap="flat">
                <a:noFill/>
                <a:prstDash val="solid"/>
                <a:miter/>
              </a:ln>
            </p:spPr>
            <p:txBody>
              <a:bodyPr rtlCol="0" anchor="ctr"/>
              <a:lstStyle/>
              <a:p>
                <a:endParaRPr lang="en-GB"/>
              </a:p>
            </p:txBody>
          </p:sp>
          <p:sp>
            <p:nvSpPr>
              <p:cNvPr id="4756" name="Vrije vorm: vorm 4755">
                <a:extLst>
                  <a:ext uri="{FF2B5EF4-FFF2-40B4-BE49-F238E27FC236}">
                    <a16:creationId xmlns:a16="http://schemas.microsoft.com/office/drawing/2014/main" id="{9EB5A77D-7AB5-4438-BDFD-55E75CBA695E}"/>
                  </a:ext>
                </a:extLst>
              </p:cNvPr>
              <p:cNvSpPr/>
              <p:nvPr/>
            </p:nvSpPr>
            <p:spPr>
              <a:xfrm>
                <a:off x="7544358" y="2439853"/>
                <a:ext cx="18327" cy="18465"/>
              </a:xfrm>
              <a:custGeom>
                <a:avLst/>
                <a:gdLst>
                  <a:gd name="connsiteX0" fmla="*/ 4169 w 18327"/>
                  <a:gd name="connsiteY0" fmla="*/ 1458 h 18465"/>
                  <a:gd name="connsiteX1" fmla="*/ 16849 w 18327"/>
                  <a:gd name="connsiteY1" fmla="*/ 4269 h 18465"/>
                  <a:gd name="connsiteX2" fmla="*/ 14158 w 18327"/>
                  <a:gd name="connsiteY2" fmla="*/ 17008 h 18465"/>
                  <a:gd name="connsiteX3" fmla="*/ 1478 w 18327"/>
                  <a:gd name="connsiteY3" fmla="*/ 14197 h 18465"/>
                  <a:gd name="connsiteX4" fmla="*/ 4169 w 18327"/>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5">
                    <a:moveTo>
                      <a:pt x="4169" y="1458"/>
                    </a:moveTo>
                    <a:cubicBezTo>
                      <a:pt x="8416" y="-1293"/>
                      <a:pt x="14098" y="-37"/>
                      <a:pt x="16849" y="4269"/>
                    </a:cubicBezTo>
                    <a:cubicBezTo>
                      <a:pt x="19600" y="8575"/>
                      <a:pt x="18404" y="14257"/>
                      <a:pt x="14158" y="17008"/>
                    </a:cubicBezTo>
                    <a:cubicBezTo>
                      <a:pt x="9911" y="19759"/>
                      <a:pt x="4229" y="18503"/>
                      <a:pt x="1478" y="14197"/>
                    </a:cubicBezTo>
                    <a:cubicBezTo>
                      <a:pt x="-1272" y="9891"/>
                      <a:pt x="-77" y="4209"/>
                      <a:pt x="4169" y="1458"/>
                    </a:cubicBezTo>
                    <a:close/>
                  </a:path>
                </a:pathLst>
              </a:custGeom>
              <a:grpFill/>
              <a:ln w="5978" cap="flat">
                <a:noFill/>
                <a:prstDash val="solid"/>
                <a:miter/>
              </a:ln>
            </p:spPr>
            <p:txBody>
              <a:bodyPr rtlCol="0" anchor="ctr"/>
              <a:lstStyle/>
              <a:p>
                <a:endParaRPr lang="en-GB"/>
              </a:p>
            </p:txBody>
          </p:sp>
          <p:sp>
            <p:nvSpPr>
              <p:cNvPr id="4757" name="Vrije vorm: vorm 4756">
                <a:extLst>
                  <a:ext uri="{FF2B5EF4-FFF2-40B4-BE49-F238E27FC236}">
                    <a16:creationId xmlns:a16="http://schemas.microsoft.com/office/drawing/2014/main" id="{AC4043E3-1DFF-446B-8BD2-A53A1E665290}"/>
                  </a:ext>
                </a:extLst>
              </p:cNvPr>
              <p:cNvSpPr/>
              <p:nvPr/>
            </p:nvSpPr>
            <p:spPr>
              <a:xfrm>
                <a:off x="7459492" y="2494696"/>
                <a:ext cx="18327" cy="18439"/>
              </a:xfrm>
              <a:custGeom>
                <a:avLst/>
                <a:gdLst>
                  <a:gd name="connsiteX0" fmla="*/ 4170 w 18327"/>
                  <a:gd name="connsiteY0" fmla="*/ 1458 h 18439"/>
                  <a:gd name="connsiteX1" fmla="*/ 1479 w 18327"/>
                  <a:gd name="connsiteY1" fmla="*/ 14197 h 18439"/>
                  <a:gd name="connsiteX2" fmla="*/ 14158 w 18327"/>
                  <a:gd name="connsiteY2" fmla="*/ 17008 h 18439"/>
                  <a:gd name="connsiteX3" fmla="*/ 16849 w 18327"/>
                  <a:gd name="connsiteY3" fmla="*/ 4269 h 18439"/>
                  <a:gd name="connsiteX4" fmla="*/ 4170 w 18327"/>
                  <a:gd name="connsiteY4" fmla="*/ 1458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9">
                    <a:moveTo>
                      <a:pt x="4170" y="1458"/>
                    </a:moveTo>
                    <a:cubicBezTo>
                      <a:pt x="-76" y="4209"/>
                      <a:pt x="-1273" y="9891"/>
                      <a:pt x="1479" y="14197"/>
                    </a:cubicBezTo>
                    <a:cubicBezTo>
                      <a:pt x="4230" y="18503"/>
                      <a:pt x="9911" y="19699"/>
                      <a:pt x="14158" y="17008"/>
                    </a:cubicBezTo>
                    <a:cubicBezTo>
                      <a:pt x="18404" y="14257"/>
                      <a:pt x="19600" y="8575"/>
                      <a:pt x="16849" y="4269"/>
                    </a:cubicBezTo>
                    <a:cubicBezTo>
                      <a:pt x="14098" y="-37"/>
                      <a:pt x="8416" y="-1293"/>
                      <a:pt x="4170" y="1458"/>
                    </a:cubicBezTo>
                    <a:close/>
                  </a:path>
                </a:pathLst>
              </a:custGeom>
              <a:grpFill/>
              <a:ln w="5978" cap="flat">
                <a:noFill/>
                <a:prstDash val="solid"/>
                <a:miter/>
              </a:ln>
            </p:spPr>
            <p:txBody>
              <a:bodyPr rtlCol="0" anchor="ctr"/>
              <a:lstStyle/>
              <a:p>
                <a:endParaRPr lang="en-GB"/>
              </a:p>
            </p:txBody>
          </p:sp>
        </p:grpSp>
        <p:grpSp>
          <p:nvGrpSpPr>
            <p:cNvPr id="209" name="Graphic 3">
              <a:extLst>
                <a:ext uri="{FF2B5EF4-FFF2-40B4-BE49-F238E27FC236}">
                  <a16:creationId xmlns:a16="http://schemas.microsoft.com/office/drawing/2014/main" id="{ED30AFA0-DF1D-4E4D-B460-3D0D0306F2A3}"/>
                </a:ext>
              </a:extLst>
            </p:cNvPr>
            <p:cNvGrpSpPr/>
            <p:nvPr/>
          </p:nvGrpSpPr>
          <p:grpSpPr>
            <a:xfrm>
              <a:off x="7788024" y="3552676"/>
              <a:ext cx="188029" cy="32538"/>
              <a:chOff x="7788024" y="3552676"/>
              <a:chExt cx="188029" cy="32538"/>
            </a:xfrm>
            <a:grpFill/>
          </p:grpSpPr>
          <p:sp>
            <p:nvSpPr>
              <p:cNvPr id="4752" name="Vrije vorm: vorm 4751">
                <a:extLst>
                  <a:ext uri="{FF2B5EF4-FFF2-40B4-BE49-F238E27FC236}">
                    <a16:creationId xmlns:a16="http://schemas.microsoft.com/office/drawing/2014/main" id="{C43F7243-28E6-47FD-AF53-DE1E0DAFC68A}"/>
                  </a:ext>
                </a:extLst>
              </p:cNvPr>
              <p:cNvSpPr/>
              <p:nvPr/>
            </p:nvSpPr>
            <p:spPr>
              <a:xfrm>
                <a:off x="7796609" y="3560304"/>
                <a:ext cx="170809" cy="17224"/>
              </a:xfrm>
              <a:custGeom>
                <a:avLst/>
                <a:gdLst>
                  <a:gd name="connsiteX0" fmla="*/ 170809 w 170809"/>
                  <a:gd name="connsiteY0" fmla="*/ 14174 h 17224"/>
                  <a:gd name="connsiteX1" fmla="*/ 170570 w 170809"/>
                  <a:gd name="connsiteY1" fmla="*/ 17225 h 17224"/>
                  <a:gd name="connsiteX2" fmla="*/ 0 w 170809"/>
                  <a:gd name="connsiteY2" fmla="*/ 3050 h 17224"/>
                  <a:gd name="connsiteX3" fmla="*/ 239 w 170809"/>
                  <a:gd name="connsiteY3" fmla="*/ 0 h 17224"/>
                </a:gdLst>
                <a:ahLst/>
                <a:cxnLst>
                  <a:cxn ang="0">
                    <a:pos x="connsiteX0" y="connsiteY0"/>
                  </a:cxn>
                  <a:cxn ang="0">
                    <a:pos x="connsiteX1" y="connsiteY1"/>
                  </a:cxn>
                  <a:cxn ang="0">
                    <a:pos x="connsiteX2" y="connsiteY2"/>
                  </a:cxn>
                  <a:cxn ang="0">
                    <a:pos x="connsiteX3" y="connsiteY3"/>
                  </a:cxn>
                </a:cxnLst>
                <a:rect l="l" t="t" r="r" b="b"/>
                <a:pathLst>
                  <a:path w="170809" h="17224">
                    <a:moveTo>
                      <a:pt x="170809" y="14174"/>
                    </a:moveTo>
                    <a:lnTo>
                      <a:pt x="170570" y="17225"/>
                    </a:lnTo>
                    <a:lnTo>
                      <a:pt x="0" y="3050"/>
                    </a:lnTo>
                    <a:lnTo>
                      <a:pt x="239" y="0"/>
                    </a:lnTo>
                    <a:close/>
                  </a:path>
                </a:pathLst>
              </a:custGeom>
              <a:grpFill/>
              <a:ln w="5978" cap="flat">
                <a:noFill/>
                <a:prstDash val="solid"/>
                <a:miter/>
              </a:ln>
            </p:spPr>
            <p:txBody>
              <a:bodyPr rtlCol="0" anchor="ctr"/>
              <a:lstStyle/>
              <a:p>
                <a:endParaRPr lang="en-GB"/>
              </a:p>
            </p:txBody>
          </p:sp>
          <p:sp>
            <p:nvSpPr>
              <p:cNvPr id="4753" name="Vrije vorm: vorm 4752">
                <a:extLst>
                  <a:ext uri="{FF2B5EF4-FFF2-40B4-BE49-F238E27FC236}">
                    <a16:creationId xmlns:a16="http://schemas.microsoft.com/office/drawing/2014/main" id="{2936378C-D1E6-4322-B3A5-2F2F85DED5CD}"/>
                  </a:ext>
                </a:extLst>
              </p:cNvPr>
              <p:cNvSpPr/>
              <p:nvPr/>
            </p:nvSpPr>
            <p:spPr>
              <a:xfrm>
                <a:off x="7957705" y="3566791"/>
                <a:ext cx="18348" cy="18424"/>
              </a:xfrm>
              <a:custGeom>
                <a:avLst/>
                <a:gdLst>
                  <a:gd name="connsiteX0" fmla="*/ 9892 w 18348"/>
                  <a:gd name="connsiteY0" fmla="*/ 32 h 18424"/>
                  <a:gd name="connsiteX1" fmla="*/ 18325 w 18348"/>
                  <a:gd name="connsiteY1" fmla="*/ 9960 h 18424"/>
                  <a:gd name="connsiteX2" fmla="*/ 8457 w 18348"/>
                  <a:gd name="connsiteY2" fmla="*/ 18393 h 18424"/>
                  <a:gd name="connsiteX3" fmla="*/ 24 w 18348"/>
                  <a:gd name="connsiteY3" fmla="*/ 8465 h 18424"/>
                  <a:gd name="connsiteX4" fmla="*/ 9892 w 18348"/>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4">
                    <a:moveTo>
                      <a:pt x="9892" y="32"/>
                    </a:moveTo>
                    <a:cubicBezTo>
                      <a:pt x="14916" y="450"/>
                      <a:pt x="18683" y="4876"/>
                      <a:pt x="18325" y="9960"/>
                    </a:cubicBezTo>
                    <a:cubicBezTo>
                      <a:pt x="17906" y="15043"/>
                      <a:pt x="13540" y="18811"/>
                      <a:pt x="8457" y="18393"/>
                    </a:cubicBezTo>
                    <a:cubicBezTo>
                      <a:pt x="3433" y="17974"/>
                      <a:pt x="-335" y="13548"/>
                      <a:pt x="24" y="8465"/>
                    </a:cubicBezTo>
                    <a:cubicBezTo>
                      <a:pt x="443" y="3381"/>
                      <a:pt x="4808" y="-387"/>
                      <a:pt x="9892" y="32"/>
                    </a:cubicBezTo>
                    <a:close/>
                  </a:path>
                </a:pathLst>
              </a:custGeom>
              <a:grpFill/>
              <a:ln w="5978" cap="flat">
                <a:noFill/>
                <a:prstDash val="solid"/>
                <a:miter/>
              </a:ln>
            </p:spPr>
            <p:txBody>
              <a:bodyPr rtlCol="0" anchor="ctr"/>
              <a:lstStyle/>
              <a:p>
                <a:endParaRPr lang="en-GB"/>
              </a:p>
            </p:txBody>
          </p:sp>
          <p:sp>
            <p:nvSpPr>
              <p:cNvPr id="4754" name="Vrije vorm: vorm 4753">
                <a:extLst>
                  <a:ext uri="{FF2B5EF4-FFF2-40B4-BE49-F238E27FC236}">
                    <a16:creationId xmlns:a16="http://schemas.microsoft.com/office/drawing/2014/main" id="{7E7AC719-6548-418F-919F-9DEAE8A09271}"/>
                  </a:ext>
                </a:extLst>
              </p:cNvPr>
              <p:cNvSpPr/>
              <p:nvPr/>
            </p:nvSpPr>
            <p:spPr>
              <a:xfrm>
                <a:off x="7788024" y="3552676"/>
                <a:ext cx="18356" cy="18424"/>
              </a:xfrm>
              <a:custGeom>
                <a:avLst/>
                <a:gdLst>
                  <a:gd name="connsiteX0" fmla="*/ 9900 w 18356"/>
                  <a:gd name="connsiteY0" fmla="*/ 32 h 18424"/>
                  <a:gd name="connsiteX1" fmla="*/ 32 w 18356"/>
                  <a:gd name="connsiteY1" fmla="*/ 8465 h 18424"/>
                  <a:gd name="connsiteX2" fmla="*/ 8465 w 18356"/>
                  <a:gd name="connsiteY2" fmla="*/ 18393 h 18424"/>
                  <a:gd name="connsiteX3" fmla="*/ 18333 w 18356"/>
                  <a:gd name="connsiteY3" fmla="*/ 9960 h 18424"/>
                  <a:gd name="connsiteX4" fmla="*/ 9900 w 18356"/>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4">
                    <a:moveTo>
                      <a:pt x="9900" y="32"/>
                    </a:moveTo>
                    <a:cubicBezTo>
                      <a:pt x="4876" y="-387"/>
                      <a:pt x="451" y="3381"/>
                      <a:pt x="32" y="8465"/>
                    </a:cubicBezTo>
                    <a:cubicBezTo>
                      <a:pt x="-387" y="13548"/>
                      <a:pt x="3381" y="17974"/>
                      <a:pt x="8465" y="18393"/>
                    </a:cubicBezTo>
                    <a:cubicBezTo>
                      <a:pt x="13548" y="18811"/>
                      <a:pt x="17914" y="15043"/>
                      <a:pt x="18333" y="9960"/>
                    </a:cubicBezTo>
                    <a:cubicBezTo>
                      <a:pt x="18692" y="4876"/>
                      <a:pt x="14924" y="450"/>
                      <a:pt x="9900" y="32"/>
                    </a:cubicBezTo>
                    <a:close/>
                  </a:path>
                </a:pathLst>
              </a:custGeom>
              <a:grpFill/>
              <a:ln w="5978" cap="flat">
                <a:noFill/>
                <a:prstDash val="solid"/>
                <a:miter/>
              </a:ln>
            </p:spPr>
            <p:txBody>
              <a:bodyPr rtlCol="0" anchor="ctr"/>
              <a:lstStyle/>
              <a:p>
                <a:endParaRPr lang="en-GB"/>
              </a:p>
            </p:txBody>
          </p:sp>
        </p:grpSp>
        <p:grpSp>
          <p:nvGrpSpPr>
            <p:cNvPr id="210" name="Graphic 3">
              <a:extLst>
                <a:ext uri="{FF2B5EF4-FFF2-40B4-BE49-F238E27FC236}">
                  <a16:creationId xmlns:a16="http://schemas.microsoft.com/office/drawing/2014/main" id="{6AF4A919-36F8-4931-A762-A93421048A45}"/>
                </a:ext>
              </a:extLst>
            </p:cNvPr>
            <p:cNvGrpSpPr/>
            <p:nvPr/>
          </p:nvGrpSpPr>
          <p:grpSpPr>
            <a:xfrm>
              <a:off x="7840097" y="3693384"/>
              <a:ext cx="198183" cy="47049"/>
              <a:chOff x="7840097" y="3693384"/>
              <a:chExt cx="198183" cy="47049"/>
            </a:xfrm>
            <a:grpFill/>
          </p:grpSpPr>
          <p:sp>
            <p:nvSpPr>
              <p:cNvPr id="4749" name="Vrije vorm: vorm 4748">
                <a:extLst>
                  <a:ext uri="{FF2B5EF4-FFF2-40B4-BE49-F238E27FC236}">
                    <a16:creationId xmlns:a16="http://schemas.microsoft.com/office/drawing/2014/main" id="{47644D5A-5271-4091-99E2-AA64CE400604}"/>
                  </a:ext>
                </a:extLst>
              </p:cNvPr>
              <p:cNvSpPr/>
              <p:nvPr/>
            </p:nvSpPr>
            <p:spPr>
              <a:xfrm>
                <a:off x="7848581" y="3701030"/>
                <a:ext cx="181216" cy="31757"/>
              </a:xfrm>
              <a:custGeom>
                <a:avLst/>
                <a:gdLst>
                  <a:gd name="connsiteX0" fmla="*/ 181216 w 181216"/>
                  <a:gd name="connsiteY0" fmla="*/ 28767 h 31757"/>
                  <a:gd name="connsiteX1" fmla="*/ 180737 w 181216"/>
                  <a:gd name="connsiteY1" fmla="*/ 31758 h 31757"/>
                  <a:gd name="connsiteX2" fmla="*/ 0 w 181216"/>
                  <a:gd name="connsiteY2" fmla="*/ 2990 h 31757"/>
                  <a:gd name="connsiteX3" fmla="*/ 478 w 181216"/>
                  <a:gd name="connsiteY3" fmla="*/ 0 h 31757"/>
                </a:gdLst>
                <a:ahLst/>
                <a:cxnLst>
                  <a:cxn ang="0">
                    <a:pos x="connsiteX0" y="connsiteY0"/>
                  </a:cxn>
                  <a:cxn ang="0">
                    <a:pos x="connsiteX1" y="connsiteY1"/>
                  </a:cxn>
                  <a:cxn ang="0">
                    <a:pos x="connsiteX2" y="connsiteY2"/>
                  </a:cxn>
                  <a:cxn ang="0">
                    <a:pos x="connsiteX3" y="connsiteY3"/>
                  </a:cxn>
                </a:cxnLst>
                <a:rect l="l" t="t" r="r" b="b"/>
                <a:pathLst>
                  <a:path w="181216" h="31757">
                    <a:moveTo>
                      <a:pt x="181216" y="28767"/>
                    </a:moveTo>
                    <a:lnTo>
                      <a:pt x="180737" y="31758"/>
                    </a:lnTo>
                    <a:lnTo>
                      <a:pt x="0" y="2990"/>
                    </a:lnTo>
                    <a:lnTo>
                      <a:pt x="478" y="0"/>
                    </a:lnTo>
                    <a:close/>
                  </a:path>
                </a:pathLst>
              </a:custGeom>
              <a:grpFill/>
              <a:ln w="5978" cap="flat">
                <a:noFill/>
                <a:prstDash val="solid"/>
                <a:miter/>
              </a:ln>
            </p:spPr>
            <p:txBody>
              <a:bodyPr rtlCol="0" anchor="ctr"/>
              <a:lstStyle/>
              <a:p>
                <a:endParaRPr lang="en-GB"/>
              </a:p>
            </p:txBody>
          </p:sp>
          <p:sp>
            <p:nvSpPr>
              <p:cNvPr id="4750" name="Vrije vorm: vorm 4749">
                <a:extLst>
                  <a:ext uri="{FF2B5EF4-FFF2-40B4-BE49-F238E27FC236}">
                    <a16:creationId xmlns:a16="http://schemas.microsoft.com/office/drawing/2014/main" id="{5F0D2BAD-A4E9-49E9-A6BD-FFFA3D304F84}"/>
                  </a:ext>
                </a:extLst>
              </p:cNvPr>
              <p:cNvSpPr/>
              <p:nvPr/>
            </p:nvSpPr>
            <p:spPr>
              <a:xfrm>
                <a:off x="8019938" y="3722017"/>
                <a:ext cx="18342" cy="18416"/>
              </a:xfrm>
              <a:custGeom>
                <a:avLst/>
                <a:gdLst>
                  <a:gd name="connsiteX0" fmla="*/ 10577 w 18342"/>
                  <a:gd name="connsiteY0" fmla="*/ 125 h 18416"/>
                  <a:gd name="connsiteX1" fmla="*/ 18232 w 18342"/>
                  <a:gd name="connsiteY1" fmla="*/ 10651 h 18416"/>
                  <a:gd name="connsiteX2" fmla="*/ 7766 w 18342"/>
                  <a:gd name="connsiteY2" fmla="*/ 18306 h 18416"/>
                  <a:gd name="connsiteX3" fmla="*/ 110 w 18342"/>
                  <a:gd name="connsiteY3" fmla="*/ 7780 h 18416"/>
                  <a:gd name="connsiteX4" fmla="*/ 10577 w 18342"/>
                  <a:gd name="connsiteY4" fmla="*/ 125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6">
                    <a:moveTo>
                      <a:pt x="10577" y="125"/>
                    </a:moveTo>
                    <a:cubicBezTo>
                      <a:pt x="15600" y="902"/>
                      <a:pt x="19009" y="5627"/>
                      <a:pt x="18232" y="10651"/>
                    </a:cubicBezTo>
                    <a:cubicBezTo>
                      <a:pt x="17455" y="15675"/>
                      <a:pt x="12790" y="19084"/>
                      <a:pt x="7766" y="18306"/>
                    </a:cubicBezTo>
                    <a:cubicBezTo>
                      <a:pt x="2742" y="17529"/>
                      <a:pt x="-667" y="12804"/>
                      <a:pt x="110" y="7780"/>
                    </a:cubicBezTo>
                    <a:cubicBezTo>
                      <a:pt x="888" y="2756"/>
                      <a:pt x="5552" y="-712"/>
                      <a:pt x="10577" y="125"/>
                    </a:cubicBezTo>
                    <a:close/>
                  </a:path>
                </a:pathLst>
              </a:custGeom>
              <a:grpFill/>
              <a:ln w="5978" cap="flat">
                <a:noFill/>
                <a:prstDash val="solid"/>
                <a:miter/>
              </a:ln>
            </p:spPr>
            <p:txBody>
              <a:bodyPr rtlCol="0" anchor="ctr"/>
              <a:lstStyle/>
              <a:p>
                <a:endParaRPr lang="en-GB"/>
              </a:p>
            </p:txBody>
          </p:sp>
          <p:sp>
            <p:nvSpPr>
              <p:cNvPr id="4751" name="Vrije vorm: vorm 4750">
                <a:extLst>
                  <a:ext uri="{FF2B5EF4-FFF2-40B4-BE49-F238E27FC236}">
                    <a16:creationId xmlns:a16="http://schemas.microsoft.com/office/drawing/2014/main" id="{E5E7C7EE-FC25-4F12-BB71-22316EDB0251}"/>
                  </a:ext>
                </a:extLst>
              </p:cNvPr>
              <p:cNvSpPr/>
              <p:nvPr/>
            </p:nvSpPr>
            <p:spPr>
              <a:xfrm>
                <a:off x="7840097" y="3693384"/>
                <a:ext cx="18342" cy="18402"/>
              </a:xfrm>
              <a:custGeom>
                <a:avLst/>
                <a:gdLst>
                  <a:gd name="connsiteX0" fmla="*/ 10577 w 18342"/>
                  <a:gd name="connsiteY0" fmla="*/ 110 h 18402"/>
                  <a:gd name="connsiteX1" fmla="*/ 110 w 18342"/>
                  <a:gd name="connsiteY1" fmla="*/ 7766 h 18402"/>
                  <a:gd name="connsiteX2" fmla="*/ 7766 w 18342"/>
                  <a:gd name="connsiteY2" fmla="*/ 18292 h 18402"/>
                  <a:gd name="connsiteX3" fmla="*/ 18232 w 18342"/>
                  <a:gd name="connsiteY3" fmla="*/ 10636 h 18402"/>
                  <a:gd name="connsiteX4" fmla="*/ 10577 w 18342"/>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2">
                    <a:moveTo>
                      <a:pt x="10577" y="110"/>
                    </a:moveTo>
                    <a:cubicBezTo>
                      <a:pt x="5553" y="-667"/>
                      <a:pt x="888" y="2742"/>
                      <a:pt x="110" y="7766"/>
                    </a:cubicBezTo>
                    <a:cubicBezTo>
                      <a:pt x="-667" y="12790"/>
                      <a:pt x="2742" y="17514"/>
                      <a:pt x="7766" y="18292"/>
                    </a:cubicBezTo>
                    <a:cubicBezTo>
                      <a:pt x="12790" y="19069"/>
                      <a:pt x="17455" y="15660"/>
                      <a:pt x="18232" y="10636"/>
                    </a:cubicBezTo>
                    <a:cubicBezTo>
                      <a:pt x="19010" y="5613"/>
                      <a:pt x="15601" y="948"/>
                      <a:pt x="10577" y="110"/>
                    </a:cubicBezTo>
                    <a:close/>
                  </a:path>
                </a:pathLst>
              </a:custGeom>
              <a:grpFill/>
              <a:ln w="5978" cap="flat">
                <a:noFill/>
                <a:prstDash val="solid"/>
                <a:miter/>
              </a:ln>
            </p:spPr>
            <p:txBody>
              <a:bodyPr rtlCol="0" anchor="ctr"/>
              <a:lstStyle/>
              <a:p>
                <a:endParaRPr lang="en-GB"/>
              </a:p>
            </p:txBody>
          </p:sp>
        </p:grpSp>
        <p:grpSp>
          <p:nvGrpSpPr>
            <p:cNvPr id="211" name="Graphic 3">
              <a:extLst>
                <a:ext uri="{FF2B5EF4-FFF2-40B4-BE49-F238E27FC236}">
                  <a16:creationId xmlns:a16="http://schemas.microsoft.com/office/drawing/2014/main" id="{E39DC7B5-A940-4530-8179-C8A740D0C9EC}"/>
                </a:ext>
              </a:extLst>
            </p:cNvPr>
            <p:cNvGrpSpPr/>
            <p:nvPr/>
          </p:nvGrpSpPr>
          <p:grpSpPr>
            <a:xfrm>
              <a:off x="7144566" y="1440073"/>
              <a:ext cx="22355" cy="25608"/>
              <a:chOff x="7144566" y="1440073"/>
              <a:chExt cx="22355" cy="25608"/>
            </a:xfrm>
            <a:grpFill/>
          </p:grpSpPr>
          <p:sp>
            <p:nvSpPr>
              <p:cNvPr id="4746" name="Vrije vorm: vorm 4745">
                <a:extLst>
                  <a:ext uri="{FF2B5EF4-FFF2-40B4-BE49-F238E27FC236}">
                    <a16:creationId xmlns:a16="http://schemas.microsoft.com/office/drawing/2014/main" id="{C50698E7-5C74-4A1E-9760-7748D44B7C57}"/>
                  </a:ext>
                </a:extLst>
              </p:cNvPr>
              <p:cNvSpPr/>
              <p:nvPr/>
            </p:nvSpPr>
            <p:spPr>
              <a:xfrm>
                <a:off x="7152246" y="1448152"/>
                <a:ext cx="7116" cy="9449"/>
              </a:xfrm>
              <a:custGeom>
                <a:avLst/>
                <a:gdLst>
                  <a:gd name="connsiteX0" fmla="*/ 7117 w 7116"/>
                  <a:gd name="connsiteY0" fmla="*/ 1495 h 9449"/>
                  <a:gd name="connsiteX1" fmla="*/ 2631 w 7116"/>
                  <a:gd name="connsiteY1" fmla="*/ 9450 h 9449"/>
                  <a:gd name="connsiteX2" fmla="*/ 0 w 7116"/>
                  <a:gd name="connsiteY2" fmla="*/ 7954 h 9449"/>
                  <a:gd name="connsiteX3" fmla="*/ 4426 w 7116"/>
                  <a:gd name="connsiteY3" fmla="*/ 0 h 9449"/>
                </a:gdLst>
                <a:ahLst/>
                <a:cxnLst>
                  <a:cxn ang="0">
                    <a:pos x="connsiteX0" y="connsiteY0"/>
                  </a:cxn>
                  <a:cxn ang="0">
                    <a:pos x="connsiteX1" y="connsiteY1"/>
                  </a:cxn>
                  <a:cxn ang="0">
                    <a:pos x="connsiteX2" y="connsiteY2"/>
                  </a:cxn>
                  <a:cxn ang="0">
                    <a:pos x="connsiteX3" y="connsiteY3"/>
                  </a:cxn>
                </a:cxnLst>
                <a:rect l="l" t="t" r="r" b="b"/>
                <a:pathLst>
                  <a:path w="7116" h="9449">
                    <a:moveTo>
                      <a:pt x="7117" y="1495"/>
                    </a:moveTo>
                    <a:lnTo>
                      <a:pt x="2631" y="9450"/>
                    </a:lnTo>
                    <a:lnTo>
                      <a:pt x="0" y="7954"/>
                    </a:lnTo>
                    <a:lnTo>
                      <a:pt x="4426" y="0"/>
                    </a:lnTo>
                    <a:close/>
                  </a:path>
                </a:pathLst>
              </a:custGeom>
              <a:grpFill/>
              <a:ln w="5978" cap="flat">
                <a:noFill/>
                <a:prstDash val="solid"/>
                <a:miter/>
              </a:ln>
            </p:spPr>
            <p:txBody>
              <a:bodyPr rtlCol="0" anchor="ctr"/>
              <a:lstStyle/>
              <a:p>
                <a:endParaRPr lang="en-GB"/>
              </a:p>
            </p:txBody>
          </p:sp>
          <p:sp>
            <p:nvSpPr>
              <p:cNvPr id="4747" name="Vrije vorm: vorm 4746">
                <a:extLst>
                  <a:ext uri="{FF2B5EF4-FFF2-40B4-BE49-F238E27FC236}">
                    <a16:creationId xmlns:a16="http://schemas.microsoft.com/office/drawing/2014/main" id="{443D9090-46BA-4A73-849E-13B7CABA2A21}"/>
                  </a:ext>
                </a:extLst>
              </p:cNvPr>
              <p:cNvSpPr/>
              <p:nvPr/>
            </p:nvSpPr>
            <p:spPr>
              <a:xfrm>
                <a:off x="7144566" y="1447250"/>
                <a:ext cx="18387" cy="18431"/>
              </a:xfrm>
              <a:custGeom>
                <a:avLst/>
                <a:gdLst>
                  <a:gd name="connsiteX0" fmla="*/ 17189 w 18387"/>
                  <a:gd name="connsiteY0" fmla="*/ 13761 h 18431"/>
                  <a:gd name="connsiteX1" fmla="*/ 4689 w 18387"/>
                  <a:gd name="connsiteY1" fmla="*/ 17230 h 18431"/>
                  <a:gd name="connsiteX2" fmla="*/ 1160 w 18387"/>
                  <a:gd name="connsiteY2" fmla="*/ 4670 h 18431"/>
                  <a:gd name="connsiteX3" fmla="*/ 13660 w 18387"/>
                  <a:gd name="connsiteY3" fmla="*/ 1201 h 18431"/>
                  <a:gd name="connsiteX4" fmla="*/ 17189 w 18387"/>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7" h="18431">
                    <a:moveTo>
                      <a:pt x="17189" y="13761"/>
                    </a:moveTo>
                    <a:cubicBezTo>
                      <a:pt x="14736" y="18187"/>
                      <a:pt x="9115" y="19742"/>
                      <a:pt x="4689" y="17230"/>
                    </a:cubicBezTo>
                    <a:cubicBezTo>
                      <a:pt x="263" y="14718"/>
                      <a:pt x="-1292" y="9096"/>
                      <a:pt x="1160" y="4670"/>
                    </a:cubicBezTo>
                    <a:cubicBezTo>
                      <a:pt x="3612" y="245"/>
                      <a:pt x="9234" y="-1310"/>
                      <a:pt x="13660" y="1201"/>
                    </a:cubicBezTo>
                    <a:cubicBezTo>
                      <a:pt x="18146" y="3713"/>
                      <a:pt x="19700" y="9335"/>
                      <a:pt x="17189" y="13761"/>
                    </a:cubicBezTo>
                    <a:close/>
                  </a:path>
                </a:pathLst>
              </a:custGeom>
              <a:grpFill/>
              <a:ln w="5978" cap="flat">
                <a:noFill/>
                <a:prstDash val="solid"/>
                <a:miter/>
              </a:ln>
            </p:spPr>
            <p:txBody>
              <a:bodyPr rtlCol="0" anchor="ctr"/>
              <a:lstStyle/>
              <a:p>
                <a:endParaRPr lang="en-GB"/>
              </a:p>
            </p:txBody>
          </p:sp>
          <p:sp>
            <p:nvSpPr>
              <p:cNvPr id="4748" name="Vrije vorm: vorm 4747">
                <a:extLst>
                  <a:ext uri="{FF2B5EF4-FFF2-40B4-BE49-F238E27FC236}">
                    <a16:creationId xmlns:a16="http://schemas.microsoft.com/office/drawing/2014/main" id="{B0DB9A32-779E-4425-8B0D-BA2C64F20717}"/>
                  </a:ext>
                </a:extLst>
              </p:cNvPr>
              <p:cNvSpPr/>
              <p:nvPr/>
            </p:nvSpPr>
            <p:spPr>
              <a:xfrm>
                <a:off x="7148573" y="1440073"/>
                <a:ext cx="18348" cy="18431"/>
              </a:xfrm>
              <a:custGeom>
                <a:avLst/>
                <a:gdLst>
                  <a:gd name="connsiteX0" fmla="*/ 17188 w 18348"/>
                  <a:gd name="connsiteY0" fmla="*/ 13761 h 18431"/>
                  <a:gd name="connsiteX1" fmla="*/ 13660 w 18348"/>
                  <a:gd name="connsiteY1" fmla="*/ 1201 h 18431"/>
                  <a:gd name="connsiteX2" fmla="*/ 1160 w 18348"/>
                  <a:gd name="connsiteY2" fmla="*/ 4670 h 18431"/>
                  <a:gd name="connsiteX3" fmla="*/ 4689 w 18348"/>
                  <a:gd name="connsiteY3" fmla="*/ 17230 h 18431"/>
                  <a:gd name="connsiteX4" fmla="*/ 17188 w 18348"/>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1">
                    <a:moveTo>
                      <a:pt x="17188" y="13761"/>
                    </a:moveTo>
                    <a:cubicBezTo>
                      <a:pt x="19641" y="9335"/>
                      <a:pt x="18086" y="3713"/>
                      <a:pt x="13660" y="1201"/>
                    </a:cubicBezTo>
                    <a:cubicBezTo>
                      <a:pt x="9234" y="-1310"/>
                      <a:pt x="3673" y="245"/>
                      <a:pt x="1160" y="4670"/>
                    </a:cubicBezTo>
                    <a:cubicBezTo>
                      <a:pt x="-1292" y="9096"/>
                      <a:pt x="263" y="14718"/>
                      <a:pt x="4689" y="17230"/>
                    </a:cubicBezTo>
                    <a:cubicBezTo>
                      <a:pt x="9115" y="19742"/>
                      <a:pt x="14737" y="18187"/>
                      <a:pt x="17188" y="13761"/>
                    </a:cubicBezTo>
                    <a:close/>
                  </a:path>
                </a:pathLst>
              </a:custGeom>
              <a:grpFill/>
              <a:ln w="5978" cap="flat">
                <a:noFill/>
                <a:prstDash val="solid"/>
                <a:miter/>
              </a:ln>
            </p:spPr>
            <p:txBody>
              <a:bodyPr rtlCol="0" anchor="ctr"/>
              <a:lstStyle/>
              <a:p>
                <a:endParaRPr lang="en-GB"/>
              </a:p>
            </p:txBody>
          </p:sp>
        </p:grpSp>
        <p:grpSp>
          <p:nvGrpSpPr>
            <p:cNvPr id="212" name="Graphic 3">
              <a:extLst>
                <a:ext uri="{FF2B5EF4-FFF2-40B4-BE49-F238E27FC236}">
                  <a16:creationId xmlns:a16="http://schemas.microsoft.com/office/drawing/2014/main" id="{3CB15061-EB4A-4438-94F5-7D36D01BD56E}"/>
                </a:ext>
              </a:extLst>
            </p:cNvPr>
            <p:cNvGrpSpPr/>
            <p:nvPr/>
          </p:nvGrpSpPr>
          <p:grpSpPr>
            <a:xfrm>
              <a:off x="7356344" y="2248832"/>
              <a:ext cx="179008" cy="145010"/>
              <a:chOff x="7356344" y="2248832"/>
              <a:chExt cx="179008" cy="145010"/>
            </a:xfrm>
            <a:grpFill/>
          </p:grpSpPr>
          <p:sp>
            <p:nvSpPr>
              <p:cNvPr id="4743" name="Vrije vorm: vorm 4742">
                <a:extLst>
                  <a:ext uri="{FF2B5EF4-FFF2-40B4-BE49-F238E27FC236}">
                    <a16:creationId xmlns:a16="http://schemas.microsoft.com/office/drawing/2014/main" id="{940F71C1-BFC2-4C8E-B582-7249BCF9E131}"/>
                  </a:ext>
                </a:extLst>
              </p:cNvPr>
              <p:cNvSpPr/>
              <p:nvPr/>
            </p:nvSpPr>
            <p:spPr>
              <a:xfrm>
                <a:off x="7364202" y="2256566"/>
                <a:ext cx="163274" cy="129602"/>
              </a:xfrm>
              <a:custGeom>
                <a:avLst/>
                <a:gdLst>
                  <a:gd name="connsiteX0" fmla="*/ 163274 w 163274"/>
                  <a:gd name="connsiteY0" fmla="*/ 2392 h 129602"/>
                  <a:gd name="connsiteX1" fmla="*/ 1854 w 163274"/>
                  <a:gd name="connsiteY1" fmla="*/ 129602 h 129602"/>
                  <a:gd name="connsiteX2" fmla="*/ 0 w 163274"/>
                  <a:gd name="connsiteY2" fmla="*/ 127150 h 129602"/>
                  <a:gd name="connsiteX3" fmla="*/ 161420 w 163274"/>
                  <a:gd name="connsiteY3" fmla="*/ 0 h 129602"/>
                </a:gdLst>
                <a:ahLst/>
                <a:cxnLst>
                  <a:cxn ang="0">
                    <a:pos x="connsiteX0" y="connsiteY0"/>
                  </a:cxn>
                  <a:cxn ang="0">
                    <a:pos x="connsiteX1" y="connsiteY1"/>
                  </a:cxn>
                  <a:cxn ang="0">
                    <a:pos x="connsiteX2" y="connsiteY2"/>
                  </a:cxn>
                  <a:cxn ang="0">
                    <a:pos x="connsiteX3" y="connsiteY3"/>
                  </a:cxn>
                </a:cxnLst>
                <a:rect l="l" t="t" r="r" b="b"/>
                <a:pathLst>
                  <a:path w="163274" h="129602">
                    <a:moveTo>
                      <a:pt x="163274" y="2392"/>
                    </a:moveTo>
                    <a:lnTo>
                      <a:pt x="1854" y="129602"/>
                    </a:lnTo>
                    <a:lnTo>
                      <a:pt x="0" y="127150"/>
                    </a:lnTo>
                    <a:lnTo>
                      <a:pt x="161420" y="0"/>
                    </a:lnTo>
                    <a:close/>
                  </a:path>
                </a:pathLst>
              </a:custGeom>
              <a:grpFill/>
              <a:ln w="5978" cap="flat">
                <a:noFill/>
                <a:prstDash val="solid"/>
                <a:miter/>
              </a:ln>
            </p:spPr>
            <p:txBody>
              <a:bodyPr rtlCol="0" anchor="ctr"/>
              <a:lstStyle/>
              <a:p>
                <a:endParaRPr lang="en-GB"/>
              </a:p>
            </p:txBody>
          </p:sp>
          <p:sp>
            <p:nvSpPr>
              <p:cNvPr id="4744" name="Vrije vorm: vorm 4743">
                <a:extLst>
                  <a:ext uri="{FF2B5EF4-FFF2-40B4-BE49-F238E27FC236}">
                    <a16:creationId xmlns:a16="http://schemas.microsoft.com/office/drawing/2014/main" id="{92F9E667-655A-49E1-AFD6-82F44D9E392B}"/>
                  </a:ext>
                </a:extLst>
              </p:cNvPr>
              <p:cNvSpPr/>
              <p:nvPr/>
            </p:nvSpPr>
            <p:spPr>
              <a:xfrm>
                <a:off x="7517027" y="2248832"/>
                <a:ext cx="18325" cy="18398"/>
              </a:xfrm>
              <a:custGeom>
                <a:avLst/>
                <a:gdLst>
                  <a:gd name="connsiteX0" fmla="*/ 3511 w 18325"/>
                  <a:gd name="connsiteY0" fmla="*/ 1933 h 18398"/>
                  <a:gd name="connsiteX1" fmla="*/ 16370 w 18325"/>
                  <a:gd name="connsiteY1" fmla="*/ 3548 h 18398"/>
                  <a:gd name="connsiteX2" fmla="*/ 14815 w 18325"/>
                  <a:gd name="connsiteY2" fmla="*/ 16466 h 18398"/>
                  <a:gd name="connsiteX3" fmla="*/ 1956 w 18325"/>
                  <a:gd name="connsiteY3" fmla="*/ 14851 h 18398"/>
                  <a:gd name="connsiteX4" fmla="*/ 3511 w 18325"/>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98">
                    <a:moveTo>
                      <a:pt x="3511" y="1933"/>
                    </a:moveTo>
                    <a:cubicBezTo>
                      <a:pt x="7458" y="-1177"/>
                      <a:pt x="13259" y="-459"/>
                      <a:pt x="16370" y="3548"/>
                    </a:cubicBezTo>
                    <a:cubicBezTo>
                      <a:pt x="19480" y="7555"/>
                      <a:pt x="18821" y="13356"/>
                      <a:pt x="14815" y="16466"/>
                    </a:cubicBezTo>
                    <a:cubicBezTo>
                      <a:pt x="10867" y="19576"/>
                      <a:pt x="5066" y="18858"/>
                      <a:pt x="1956" y="14851"/>
                    </a:cubicBezTo>
                    <a:cubicBezTo>
                      <a:pt x="-1154" y="10904"/>
                      <a:pt x="-496" y="5103"/>
                      <a:pt x="3511" y="1933"/>
                    </a:cubicBezTo>
                    <a:close/>
                  </a:path>
                </a:pathLst>
              </a:custGeom>
              <a:grpFill/>
              <a:ln w="5978" cap="flat">
                <a:noFill/>
                <a:prstDash val="solid"/>
                <a:miter/>
              </a:ln>
            </p:spPr>
            <p:txBody>
              <a:bodyPr rtlCol="0" anchor="ctr"/>
              <a:lstStyle/>
              <a:p>
                <a:endParaRPr lang="en-GB"/>
              </a:p>
            </p:txBody>
          </p:sp>
          <p:sp>
            <p:nvSpPr>
              <p:cNvPr id="4745" name="Vrije vorm: vorm 4744">
                <a:extLst>
                  <a:ext uri="{FF2B5EF4-FFF2-40B4-BE49-F238E27FC236}">
                    <a16:creationId xmlns:a16="http://schemas.microsoft.com/office/drawing/2014/main" id="{5A8D412F-A712-4988-8391-D2F38CF712FC}"/>
                  </a:ext>
                </a:extLst>
              </p:cNvPr>
              <p:cNvSpPr/>
              <p:nvPr/>
            </p:nvSpPr>
            <p:spPr>
              <a:xfrm>
                <a:off x="7356344" y="2375444"/>
                <a:ext cx="18288" cy="18398"/>
              </a:xfrm>
              <a:custGeom>
                <a:avLst/>
                <a:gdLst>
                  <a:gd name="connsiteX0" fmla="*/ 3492 w 18288"/>
                  <a:gd name="connsiteY0" fmla="*/ 1933 h 18398"/>
                  <a:gd name="connsiteX1" fmla="*/ 1937 w 18288"/>
                  <a:gd name="connsiteY1" fmla="*/ 14851 h 18398"/>
                  <a:gd name="connsiteX2" fmla="*/ 14796 w 18288"/>
                  <a:gd name="connsiteY2" fmla="*/ 16466 h 18398"/>
                  <a:gd name="connsiteX3" fmla="*/ 16351 w 18288"/>
                  <a:gd name="connsiteY3" fmla="*/ 3548 h 18398"/>
                  <a:gd name="connsiteX4" fmla="*/ 3492 w 1828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98">
                    <a:moveTo>
                      <a:pt x="3492" y="1933"/>
                    </a:moveTo>
                    <a:cubicBezTo>
                      <a:pt x="-455" y="5043"/>
                      <a:pt x="-1173" y="10844"/>
                      <a:pt x="1937" y="14851"/>
                    </a:cubicBezTo>
                    <a:cubicBezTo>
                      <a:pt x="5047" y="18858"/>
                      <a:pt x="10849" y="19576"/>
                      <a:pt x="14796" y="16466"/>
                    </a:cubicBezTo>
                    <a:cubicBezTo>
                      <a:pt x="18743" y="13356"/>
                      <a:pt x="19461" y="7555"/>
                      <a:pt x="16351" y="3548"/>
                    </a:cubicBezTo>
                    <a:cubicBezTo>
                      <a:pt x="13181" y="-459"/>
                      <a:pt x="7440" y="-1177"/>
                      <a:pt x="3492" y="1933"/>
                    </a:cubicBezTo>
                    <a:close/>
                  </a:path>
                </a:pathLst>
              </a:custGeom>
              <a:grpFill/>
              <a:ln w="5978" cap="flat">
                <a:noFill/>
                <a:prstDash val="solid"/>
                <a:miter/>
              </a:ln>
            </p:spPr>
            <p:txBody>
              <a:bodyPr rtlCol="0" anchor="ctr"/>
              <a:lstStyle/>
              <a:p>
                <a:endParaRPr lang="en-GB"/>
              </a:p>
            </p:txBody>
          </p:sp>
        </p:grpSp>
        <p:grpSp>
          <p:nvGrpSpPr>
            <p:cNvPr id="213" name="Graphic 3">
              <a:extLst>
                <a:ext uri="{FF2B5EF4-FFF2-40B4-BE49-F238E27FC236}">
                  <a16:creationId xmlns:a16="http://schemas.microsoft.com/office/drawing/2014/main" id="{F6AC4A8D-5222-401A-9302-B22438C4E96B}"/>
                </a:ext>
              </a:extLst>
            </p:cNvPr>
            <p:cNvGrpSpPr/>
            <p:nvPr/>
          </p:nvGrpSpPr>
          <p:grpSpPr>
            <a:xfrm>
              <a:off x="7867611" y="3768086"/>
              <a:ext cx="145906" cy="43652"/>
              <a:chOff x="7867611" y="3768086"/>
              <a:chExt cx="145906" cy="43652"/>
            </a:xfrm>
            <a:grpFill/>
          </p:grpSpPr>
          <p:sp>
            <p:nvSpPr>
              <p:cNvPr id="4740" name="Vrije vorm: vorm 4739">
                <a:extLst>
                  <a:ext uri="{FF2B5EF4-FFF2-40B4-BE49-F238E27FC236}">
                    <a16:creationId xmlns:a16="http://schemas.microsoft.com/office/drawing/2014/main" id="{A8225751-C990-4FA8-9827-553F9BA6FDA3}"/>
                  </a:ext>
                </a:extLst>
              </p:cNvPr>
              <p:cNvSpPr/>
              <p:nvPr/>
            </p:nvSpPr>
            <p:spPr>
              <a:xfrm>
                <a:off x="7875972" y="3775729"/>
                <a:ext cx="129124" cy="28408"/>
              </a:xfrm>
              <a:custGeom>
                <a:avLst/>
                <a:gdLst>
                  <a:gd name="connsiteX0" fmla="*/ 129124 w 129124"/>
                  <a:gd name="connsiteY0" fmla="*/ 25418 h 28408"/>
                  <a:gd name="connsiteX1" fmla="*/ 128526 w 129124"/>
                  <a:gd name="connsiteY1" fmla="*/ 28408 h 28408"/>
                  <a:gd name="connsiteX2" fmla="*/ 0 w 129124"/>
                  <a:gd name="connsiteY2" fmla="*/ 2990 h 28408"/>
                  <a:gd name="connsiteX3" fmla="*/ 599 w 129124"/>
                  <a:gd name="connsiteY3" fmla="*/ 0 h 28408"/>
                </a:gdLst>
                <a:ahLst/>
                <a:cxnLst>
                  <a:cxn ang="0">
                    <a:pos x="connsiteX0" y="connsiteY0"/>
                  </a:cxn>
                  <a:cxn ang="0">
                    <a:pos x="connsiteX1" y="connsiteY1"/>
                  </a:cxn>
                  <a:cxn ang="0">
                    <a:pos x="connsiteX2" y="connsiteY2"/>
                  </a:cxn>
                  <a:cxn ang="0">
                    <a:pos x="connsiteX3" y="connsiteY3"/>
                  </a:cxn>
                </a:cxnLst>
                <a:rect l="l" t="t" r="r" b="b"/>
                <a:pathLst>
                  <a:path w="129124" h="28408">
                    <a:moveTo>
                      <a:pt x="129124" y="25418"/>
                    </a:moveTo>
                    <a:lnTo>
                      <a:pt x="128526" y="28408"/>
                    </a:lnTo>
                    <a:lnTo>
                      <a:pt x="0" y="2990"/>
                    </a:lnTo>
                    <a:lnTo>
                      <a:pt x="599" y="0"/>
                    </a:lnTo>
                    <a:close/>
                  </a:path>
                </a:pathLst>
              </a:custGeom>
              <a:grpFill/>
              <a:ln w="5978" cap="flat">
                <a:noFill/>
                <a:prstDash val="solid"/>
                <a:miter/>
              </a:ln>
            </p:spPr>
            <p:txBody>
              <a:bodyPr rtlCol="0" anchor="ctr"/>
              <a:lstStyle/>
              <a:p>
                <a:endParaRPr lang="en-GB"/>
              </a:p>
            </p:txBody>
          </p:sp>
          <p:sp>
            <p:nvSpPr>
              <p:cNvPr id="4741" name="Vrije vorm: vorm 4740">
                <a:extLst>
                  <a:ext uri="{FF2B5EF4-FFF2-40B4-BE49-F238E27FC236}">
                    <a16:creationId xmlns:a16="http://schemas.microsoft.com/office/drawing/2014/main" id="{0039B795-7CE1-4467-A5C9-24E7788E50AE}"/>
                  </a:ext>
                </a:extLst>
              </p:cNvPr>
              <p:cNvSpPr/>
              <p:nvPr/>
            </p:nvSpPr>
            <p:spPr>
              <a:xfrm>
                <a:off x="7995240" y="3793324"/>
                <a:ext cx="18277" cy="18414"/>
              </a:xfrm>
              <a:custGeom>
                <a:avLst/>
                <a:gdLst>
                  <a:gd name="connsiteX0" fmla="*/ 10873 w 18277"/>
                  <a:gd name="connsiteY0" fmla="*/ 168 h 18414"/>
                  <a:gd name="connsiteX1" fmla="*/ 18110 w 18277"/>
                  <a:gd name="connsiteY1" fmla="*/ 10993 h 18414"/>
                  <a:gd name="connsiteX2" fmla="*/ 7404 w 18277"/>
                  <a:gd name="connsiteY2" fmla="*/ 18229 h 18414"/>
                  <a:gd name="connsiteX3" fmla="*/ 168 w 18277"/>
                  <a:gd name="connsiteY3" fmla="*/ 7404 h 18414"/>
                  <a:gd name="connsiteX4" fmla="*/ 10873 w 18277"/>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14">
                    <a:moveTo>
                      <a:pt x="10873" y="168"/>
                    </a:moveTo>
                    <a:cubicBezTo>
                      <a:pt x="15837" y="1125"/>
                      <a:pt x="19067" y="5969"/>
                      <a:pt x="18110" y="10993"/>
                    </a:cubicBezTo>
                    <a:cubicBezTo>
                      <a:pt x="17153" y="15957"/>
                      <a:pt x="12368" y="19246"/>
                      <a:pt x="7404" y="18229"/>
                    </a:cubicBezTo>
                    <a:cubicBezTo>
                      <a:pt x="2441" y="17273"/>
                      <a:pt x="-789" y="12428"/>
                      <a:pt x="168" y="7404"/>
                    </a:cubicBezTo>
                    <a:cubicBezTo>
                      <a:pt x="1065" y="2441"/>
                      <a:pt x="5909" y="-789"/>
                      <a:pt x="10873" y="168"/>
                    </a:cubicBezTo>
                    <a:close/>
                  </a:path>
                </a:pathLst>
              </a:custGeom>
              <a:grpFill/>
              <a:ln w="5978" cap="flat">
                <a:noFill/>
                <a:prstDash val="solid"/>
                <a:miter/>
              </a:ln>
            </p:spPr>
            <p:txBody>
              <a:bodyPr rtlCol="0" anchor="ctr"/>
              <a:lstStyle/>
              <a:p>
                <a:endParaRPr lang="en-GB"/>
              </a:p>
            </p:txBody>
          </p:sp>
          <p:sp>
            <p:nvSpPr>
              <p:cNvPr id="4742" name="Vrije vorm: vorm 4741">
                <a:extLst>
                  <a:ext uri="{FF2B5EF4-FFF2-40B4-BE49-F238E27FC236}">
                    <a16:creationId xmlns:a16="http://schemas.microsoft.com/office/drawing/2014/main" id="{DD2A5F0A-5776-4143-9E38-7543AC04D2F9}"/>
                  </a:ext>
                </a:extLst>
              </p:cNvPr>
              <p:cNvSpPr/>
              <p:nvPr/>
            </p:nvSpPr>
            <p:spPr>
              <a:xfrm>
                <a:off x="7867611" y="3768086"/>
                <a:ext cx="18277" cy="18397"/>
              </a:xfrm>
              <a:custGeom>
                <a:avLst/>
                <a:gdLst>
                  <a:gd name="connsiteX0" fmla="*/ 10873 w 18277"/>
                  <a:gd name="connsiteY0" fmla="*/ 168 h 18397"/>
                  <a:gd name="connsiteX1" fmla="*/ 168 w 18277"/>
                  <a:gd name="connsiteY1" fmla="*/ 7405 h 18397"/>
                  <a:gd name="connsiteX2" fmla="*/ 7405 w 18277"/>
                  <a:gd name="connsiteY2" fmla="*/ 18230 h 18397"/>
                  <a:gd name="connsiteX3" fmla="*/ 18110 w 18277"/>
                  <a:gd name="connsiteY3" fmla="*/ 10993 h 18397"/>
                  <a:gd name="connsiteX4" fmla="*/ 10873 w 18277"/>
                  <a:gd name="connsiteY4" fmla="*/ 168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397">
                    <a:moveTo>
                      <a:pt x="10873" y="168"/>
                    </a:moveTo>
                    <a:cubicBezTo>
                      <a:pt x="5910" y="-789"/>
                      <a:pt x="1125" y="2440"/>
                      <a:pt x="168" y="7405"/>
                    </a:cubicBezTo>
                    <a:cubicBezTo>
                      <a:pt x="-789" y="12368"/>
                      <a:pt x="2440" y="17213"/>
                      <a:pt x="7405" y="18230"/>
                    </a:cubicBezTo>
                    <a:cubicBezTo>
                      <a:pt x="12369" y="19187"/>
                      <a:pt x="17154" y="15957"/>
                      <a:pt x="18110" y="10993"/>
                    </a:cubicBezTo>
                    <a:cubicBezTo>
                      <a:pt x="19067" y="6029"/>
                      <a:pt x="15837" y="1185"/>
                      <a:pt x="10873" y="168"/>
                    </a:cubicBezTo>
                    <a:close/>
                  </a:path>
                </a:pathLst>
              </a:custGeom>
              <a:grpFill/>
              <a:ln w="5978" cap="flat">
                <a:noFill/>
                <a:prstDash val="solid"/>
                <a:miter/>
              </a:ln>
            </p:spPr>
            <p:txBody>
              <a:bodyPr rtlCol="0" anchor="ctr"/>
              <a:lstStyle/>
              <a:p>
                <a:endParaRPr lang="en-GB"/>
              </a:p>
            </p:txBody>
          </p:sp>
        </p:grpSp>
        <p:grpSp>
          <p:nvGrpSpPr>
            <p:cNvPr id="214" name="Graphic 3">
              <a:extLst>
                <a:ext uri="{FF2B5EF4-FFF2-40B4-BE49-F238E27FC236}">
                  <a16:creationId xmlns:a16="http://schemas.microsoft.com/office/drawing/2014/main" id="{F3D85519-EDA7-4B96-A31C-EDACDAC8C8A0}"/>
                </a:ext>
              </a:extLst>
            </p:cNvPr>
            <p:cNvGrpSpPr/>
            <p:nvPr/>
          </p:nvGrpSpPr>
          <p:grpSpPr>
            <a:xfrm>
              <a:off x="7943198" y="4049464"/>
              <a:ext cx="186115" cy="75124"/>
              <a:chOff x="7943198" y="4049464"/>
              <a:chExt cx="186115" cy="75124"/>
            </a:xfrm>
            <a:grpFill/>
          </p:grpSpPr>
          <p:sp>
            <p:nvSpPr>
              <p:cNvPr id="4737" name="Vrije vorm: vorm 4736">
                <a:extLst>
                  <a:ext uri="{FF2B5EF4-FFF2-40B4-BE49-F238E27FC236}">
                    <a16:creationId xmlns:a16="http://schemas.microsoft.com/office/drawing/2014/main" id="{1C165133-EE09-4CDE-83B0-964BC9C9E923}"/>
                  </a:ext>
                </a:extLst>
              </p:cNvPr>
              <p:cNvSpPr/>
              <p:nvPr/>
            </p:nvSpPr>
            <p:spPr>
              <a:xfrm>
                <a:off x="7951509" y="4057063"/>
                <a:ext cx="169554" cy="59926"/>
              </a:xfrm>
              <a:custGeom>
                <a:avLst/>
                <a:gdLst>
                  <a:gd name="connsiteX0" fmla="*/ 169554 w 169554"/>
                  <a:gd name="connsiteY0" fmla="*/ 56996 h 59926"/>
                  <a:gd name="connsiteX1" fmla="*/ 168597 w 169554"/>
                  <a:gd name="connsiteY1" fmla="*/ 59927 h 59926"/>
                  <a:gd name="connsiteX2" fmla="*/ 0 w 169554"/>
                  <a:gd name="connsiteY2" fmla="*/ 2930 h 59926"/>
                  <a:gd name="connsiteX3" fmla="*/ 897 w 169554"/>
                  <a:gd name="connsiteY3" fmla="*/ 0 h 59926"/>
                </a:gdLst>
                <a:ahLst/>
                <a:cxnLst>
                  <a:cxn ang="0">
                    <a:pos x="connsiteX0" y="connsiteY0"/>
                  </a:cxn>
                  <a:cxn ang="0">
                    <a:pos x="connsiteX1" y="connsiteY1"/>
                  </a:cxn>
                  <a:cxn ang="0">
                    <a:pos x="connsiteX2" y="connsiteY2"/>
                  </a:cxn>
                  <a:cxn ang="0">
                    <a:pos x="connsiteX3" y="connsiteY3"/>
                  </a:cxn>
                </a:cxnLst>
                <a:rect l="l" t="t" r="r" b="b"/>
                <a:pathLst>
                  <a:path w="169554" h="59926">
                    <a:moveTo>
                      <a:pt x="169554" y="56996"/>
                    </a:moveTo>
                    <a:lnTo>
                      <a:pt x="168597" y="59927"/>
                    </a:lnTo>
                    <a:lnTo>
                      <a:pt x="0" y="2930"/>
                    </a:lnTo>
                    <a:lnTo>
                      <a:pt x="897" y="0"/>
                    </a:lnTo>
                    <a:close/>
                  </a:path>
                </a:pathLst>
              </a:custGeom>
              <a:grpFill/>
              <a:ln w="5978" cap="flat">
                <a:noFill/>
                <a:prstDash val="solid"/>
                <a:miter/>
              </a:ln>
            </p:spPr>
            <p:txBody>
              <a:bodyPr rtlCol="0" anchor="ctr"/>
              <a:lstStyle/>
              <a:p>
                <a:endParaRPr lang="en-GB"/>
              </a:p>
            </p:txBody>
          </p:sp>
          <p:sp>
            <p:nvSpPr>
              <p:cNvPr id="4738" name="Vrije vorm: vorm 4737">
                <a:extLst>
                  <a:ext uri="{FF2B5EF4-FFF2-40B4-BE49-F238E27FC236}">
                    <a16:creationId xmlns:a16="http://schemas.microsoft.com/office/drawing/2014/main" id="{37FB1757-B275-4A63-BD2A-6B4F639C213A}"/>
                  </a:ext>
                </a:extLst>
              </p:cNvPr>
              <p:cNvSpPr/>
              <p:nvPr/>
            </p:nvSpPr>
            <p:spPr>
              <a:xfrm>
                <a:off x="8110958" y="4106161"/>
                <a:ext cx="18355" cy="18427"/>
              </a:xfrm>
              <a:custGeom>
                <a:avLst/>
                <a:gdLst>
                  <a:gd name="connsiteX0" fmla="*/ 12078 w 18355"/>
                  <a:gd name="connsiteY0" fmla="*/ 482 h 18427"/>
                  <a:gd name="connsiteX1" fmla="*/ 17880 w 18355"/>
                  <a:gd name="connsiteY1" fmla="*/ 12144 h 18427"/>
                  <a:gd name="connsiteX2" fmla="*/ 6277 w 18355"/>
                  <a:gd name="connsiteY2" fmla="*/ 17946 h 18427"/>
                  <a:gd name="connsiteX3" fmla="*/ 476 w 18355"/>
                  <a:gd name="connsiteY3" fmla="*/ 6283 h 18427"/>
                  <a:gd name="connsiteX4" fmla="*/ 12078 w 18355"/>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7">
                    <a:moveTo>
                      <a:pt x="12078" y="482"/>
                    </a:moveTo>
                    <a:cubicBezTo>
                      <a:pt x="16863" y="2097"/>
                      <a:pt x="19494" y="7360"/>
                      <a:pt x="17880" y="12144"/>
                    </a:cubicBezTo>
                    <a:cubicBezTo>
                      <a:pt x="16265" y="16989"/>
                      <a:pt x="11121" y="19560"/>
                      <a:pt x="6277" y="17946"/>
                    </a:cubicBezTo>
                    <a:cubicBezTo>
                      <a:pt x="1492" y="16331"/>
                      <a:pt x="-1139" y="11068"/>
                      <a:pt x="476" y="6283"/>
                    </a:cubicBezTo>
                    <a:cubicBezTo>
                      <a:pt x="2090" y="1439"/>
                      <a:pt x="7294" y="-1133"/>
                      <a:pt x="12078" y="482"/>
                    </a:cubicBezTo>
                    <a:close/>
                  </a:path>
                </a:pathLst>
              </a:custGeom>
              <a:grpFill/>
              <a:ln w="5978" cap="flat">
                <a:noFill/>
                <a:prstDash val="solid"/>
                <a:miter/>
              </a:ln>
            </p:spPr>
            <p:txBody>
              <a:bodyPr rtlCol="0" anchor="ctr"/>
              <a:lstStyle/>
              <a:p>
                <a:endParaRPr lang="en-GB"/>
              </a:p>
            </p:txBody>
          </p:sp>
          <p:sp>
            <p:nvSpPr>
              <p:cNvPr id="4739" name="Vrije vorm: vorm 4738">
                <a:extLst>
                  <a:ext uri="{FF2B5EF4-FFF2-40B4-BE49-F238E27FC236}">
                    <a16:creationId xmlns:a16="http://schemas.microsoft.com/office/drawing/2014/main" id="{24116828-88E1-4D44-A2A0-94DF54A4FD4F}"/>
                  </a:ext>
                </a:extLst>
              </p:cNvPr>
              <p:cNvSpPr/>
              <p:nvPr/>
            </p:nvSpPr>
            <p:spPr>
              <a:xfrm>
                <a:off x="7943198" y="4049464"/>
                <a:ext cx="18355" cy="18427"/>
              </a:xfrm>
              <a:custGeom>
                <a:avLst/>
                <a:gdLst>
                  <a:gd name="connsiteX0" fmla="*/ 12078 w 18355"/>
                  <a:gd name="connsiteY0" fmla="*/ 482 h 18427"/>
                  <a:gd name="connsiteX1" fmla="*/ 476 w 18355"/>
                  <a:gd name="connsiteY1" fmla="*/ 6283 h 18427"/>
                  <a:gd name="connsiteX2" fmla="*/ 6277 w 18355"/>
                  <a:gd name="connsiteY2" fmla="*/ 17946 h 18427"/>
                  <a:gd name="connsiteX3" fmla="*/ 17880 w 18355"/>
                  <a:gd name="connsiteY3" fmla="*/ 12144 h 18427"/>
                  <a:gd name="connsiteX4" fmla="*/ 12078 w 18355"/>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7">
                    <a:moveTo>
                      <a:pt x="12078" y="482"/>
                    </a:moveTo>
                    <a:cubicBezTo>
                      <a:pt x="7294" y="-1133"/>
                      <a:pt x="2091" y="1439"/>
                      <a:pt x="476" y="6283"/>
                    </a:cubicBezTo>
                    <a:cubicBezTo>
                      <a:pt x="-1139" y="11127"/>
                      <a:pt x="1493" y="16331"/>
                      <a:pt x="6277" y="17946"/>
                    </a:cubicBezTo>
                    <a:cubicBezTo>
                      <a:pt x="11062" y="19560"/>
                      <a:pt x="16265" y="16989"/>
                      <a:pt x="17880" y="12144"/>
                    </a:cubicBezTo>
                    <a:cubicBezTo>
                      <a:pt x="19494" y="7300"/>
                      <a:pt x="16863" y="2096"/>
                      <a:pt x="12078" y="482"/>
                    </a:cubicBezTo>
                    <a:close/>
                  </a:path>
                </a:pathLst>
              </a:custGeom>
              <a:grpFill/>
              <a:ln w="5978" cap="flat">
                <a:noFill/>
                <a:prstDash val="solid"/>
                <a:miter/>
              </a:ln>
            </p:spPr>
            <p:txBody>
              <a:bodyPr rtlCol="0" anchor="ctr"/>
              <a:lstStyle/>
              <a:p>
                <a:endParaRPr lang="en-GB"/>
              </a:p>
            </p:txBody>
          </p:sp>
        </p:grpSp>
        <p:grpSp>
          <p:nvGrpSpPr>
            <p:cNvPr id="215" name="Graphic 3">
              <a:extLst>
                <a:ext uri="{FF2B5EF4-FFF2-40B4-BE49-F238E27FC236}">
                  <a16:creationId xmlns:a16="http://schemas.microsoft.com/office/drawing/2014/main" id="{160279BB-26F7-4284-9B67-786138AF2238}"/>
                </a:ext>
              </a:extLst>
            </p:cNvPr>
            <p:cNvGrpSpPr/>
            <p:nvPr/>
          </p:nvGrpSpPr>
          <p:grpSpPr>
            <a:xfrm>
              <a:off x="7900164" y="3810746"/>
              <a:ext cx="72906" cy="30263"/>
              <a:chOff x="7900164" y="3810746"/>
              <a:chExt cx="72906" cy="30263"/>
            </a:xfrm>
            <a:grpFill/>
          </p:grpSpPr>
          <p:sp>
            <p:nvSpPr>
              <p:cNvPr id="4734" name="Vrije vorm: vorm 4733">
                <a:extLst>
                  <a:ext uri="{FF2B5EF4-FFF2-40B4-BE49-F238E27FC236}">
                    <a16:creationId xmlns:a16="http://schemas.microsoft.com/office/drawing/2014/main" id="{C2B0B333-A142-40F9-868B-EC88F33C2B3B}"/>
                  </a:ext>
                </a:extLst>
              </p:cNvPr>
              <p:cNvSpPr/>
              <p:nvPr/>
            </p:nvSpPr>
            <p:spPr>
              <a:xfrm>
                <a:off x="7908568" y="3818372"/>
                <a:ext cx="56099" cy="15011"/>
              </a:xfrm>
              <a:custGeom>
                <a:avLst/>
                <a:gdLst>
                  <a:gd name="connsiteX0" fmla="*/ 56099 w 56099"/>
                  <a:gd name="connsiteY0" fmla="*/ 12021 h 15011"/>
                  <a:gd name="connsiteX1" fmla="*/ 55441 w 56099"/>
                  <a:gd name="connsiteY1" fmla="*/ 15012 h 15011"/>
                  <a:gd name="connsiteX2" fmla="*/ 0 w 56099"/>
                  <a:gd name="connsiteY2" fmla="*/ 2990 h 15011"/>
                  <a:gd name="connsiteX3" fmla="*/ 658 w 56099"/>
                  <a:gd name="connsiteY3" fmla="*/ 0 h 15011"/>
                </a:gdLst>
                <a:ahLst/>
                <a:cxnLst>
                  <a:cxn ang="0">
                    <a:pos x="connsiteX0" y="connsiteY0"/>
                  </a:cxn>
                  <a:cxn ang="0">
                    <a:pos x="connsiteX1" y="connsiteY1"/>
                  </a:cxn>
                  <a:cxn ang="0">
                    <a:pos x="connsiteX2" y="connsiteY2"/>
                  </a:cxn>
                  <a:cxn ang="0">
                    <a:pos x="connsiteX3" y="connsiteY3"/>
                  </a:cxn>
                </a:cxnLst>
                <a:rect l="l" t="t" r="r" b="b"/>
                <a:pathLst>
                  <a:path w="56099" h="15011">
                    <a:moveTo>
                      <a:pt x="56099" y="12021"/>
                    </a:moveTo>
                    <a:lnTo>
                      <a:pt x="55441" y="15012"/>
                    </a:lnTo>
                    <a:lnTo>
                      <a:pt x="0" y="2990"/>
                    </a:lnTo>
                    <a:lnTo>
                      <a:pt x="658" y="0"/>
                    </a:lnTo>
                    <a:close/>
                  </a:path>
                </a:pathLst>
              </a:custGeom>
              <a:grpFill/>
              <a:ln w="5978" cap="flat">
                <a:noFill/>
                <a:prstDash val="solid"/>
                <a:miter/>
              </a:ln>
            </p:spPr>
            <p:txBody>
              <a:bodyPr rtlCol="0" anchor="ctr"/>
              <a:lstStyle/>
              <a:p>
                <a:endParaRPr lang="en-GB"/>
              </a:p>
            </p:txBody>
          </p:sp>
          <p:sp>
            <p:nvSpPr>
              <p:cNvPr id="4735" name="Vrije vorm: vorm 4734">
                <a:extLst>
                  <a:ext uri="{FF2B5EF4-FFF2-40B4-BE49-F238E27FC236}">
                    <a16:creationId xmlns:a16="http://schemas.microsoft.com/office/drawing/2014/main" id="{9BE6F0D4-51A8-4A3D-9DAD-8ED5713B642D}"/>
                  </a:ext>
                </a:extLst>
              </p:cNvPr>
              <p:cNvSpPr/>
              <p:nvPr/>
            </p:nvSpPr>
            <p:spPr>
              <a:xfrm>
                <a:off x="7954708" y="3822588"/>
                <a:ext cx="18362" cy="18421"/>
              </a:xfrm>
              <a:custGeom>
                <a:avLst/>
                <a:gdLst>
                  <a:gd name="connsiteX0" fmla="*/ 11095 w 18362"/>
                  <a:gd name="connsiteY0" fmla="*/ 210 h 18421"/>
                  <a:gd name="connsiteX1" fmla="*/ 18152 w 18362"/>
                  <a:gd name="connsiteY1" fmla="*/ 11155 h 18421"/>
                  <a:gd name="connsiteX2" fmla="*/ 7267 w 18362"/>
                  <a:gd name="connsiteY2" fmla="*/ 18212 h 18421"/>
                  <a:gd name="connsiteX3" fmla="*/ 210 w 18362"/>
                  <a:gd name="connsiteY3" fmla="*/ 7267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16059" y="1286"/>
                      <a:pt x="19228" y="6191"/>
                      <a:pt x="18152" y="11155"/>
                    </a:cubicBezTo>
                    <a:cubicBezTo>
                      <a:pt x="17075" y="16119"/>
                      <a:pt x="12231" y="19288"/>
                      <a:pt x="7267" y="18212"/>
                    </a:cubicBezTo>
                    <a:cubicBezTo>
                      <a:pt x="2303" y="17136"/>
                      <a:pt x="-867" y="12231"/>
                      <a:pt x="210" y="7267"/>
                    </a:cubicBezTo>
                    <a:cubicBezTo>
                      <a:pt x="1286" y="2303"/>
                      <a:pt x="6131" y="-867"/>
                      <a:pt x="11095" y="210"/>
                    </a:cubicBezTo>
                    <a:close/>
                  </a:path>
                </a:pathLst>
              </a:custGeom>
              <a:grpFill/>
              <a:ln w="5978" cap="flat">
                <a:noFill/>
                <a:prstDash val="solid"/>
                <a:miter/>
              </a:ln>
            </p:spPr>
            <p:txBody>
              <a:bodyPr rtlCol="0" anchor="ctr"/>
              <a:lstStyle/>
              <a:p>
                <a:endParaRPr lang="en-GB"/>
              </a:p>
            </p:txBody>
          </p:sp>
          <p:sp>
            <p:nvSpPr>
              <p:cNvPr id="4736" name="Vrije vorm: vorm 4735">
                <a:extLst>
                  <a:ext uri="{FF2B5EF4-FFF2-40B4-BE49-F238E27FC236}">
                    <a16:creationId xmlns:a16="http://schemas.microsoft.com/office/drawing/2014/main" id="{D8A1E1D8-1A8B-4933-A4F4-446386250741}"/>
                  </a:ext>
                </a:extLst>
              </p:cNvPr>
              <p:cNvSpPr/>
              <p:nvPr/>
            </p:nvSpPr>
            <p:spPr>
              <a:xfrm>
                <a:off x="7900164" y="3810746"/>
                <a:ext cx="18362" cy="18421"/>
              </a:xfrm>
              <a:custGeom>
                <a:avLst/>
                <a:gdLst>
                  <a:gd name="connsiteX0" fmla="*/ 11095 w 18362"/>
                  <a:gd name="connsiteY0" fmla="*/ 210 h 18421"/>
                  <a:gd name="connsiteX1" fmla="*/ 210 w 18362"/>
                  <a:gd name="connsiteY1" fmla="*/ 7267 h 18421"/>
                  <a:gd name="connsiteX2" fmla="*/ 7267 w 18362"/>
                  <a:gd name="connsiteY2" fmla="*/ 18212 h 18421"/>
                  <a:gd name="connsiteX3" fmla="*/ 18152 w 18362"/>
                  <a:gd name="connsiteY3" fmla="*/ 11155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6131" y="-867"/>
                      <a:pt x="1286" y="2303"/>
                      <a:pt x="210" y="7267"/>
                    </a:cubicBezTo>
                    <a:cubicBezTo>
                      <a:pt x="-867" y="12231"/>
                      <a:pt x="2303" y="17136"/>
                      <a:pt x="7267" y="18212"/>
                    </a:cubicBezTo>
                    <a:cubicBezTo>
                      <a:pt x="12231" y="19288"/>
                      <a:pt x="17075" y="16119"/>
                      <a:pt x="18152" y="11155"/>
                    </a:cubicBezTo>
                    <a:cubicBezTo>
                      <a:pt x="19228" y="6191"/>
                      <a:pt x="16059" y="1286"/>
                      <a:pt x="11095" y="210"/>
                    </a:cubicBezTo>
                    <a:close/>
                  </a:path>
                </a:pathLst>
              </a:custGeom>
              <a:grpFill/>
              <a:ln w="5978" cap="flat">
                <a:noFill/>
                <a:prstDash val="solid"/>
                <a:miter/>
              </a:ln>
            </p:spPr>
            <p:txBody>
              <a:bodyPr rtlCol="0" anchor="ctr"/>
              <a:lstStyle/>
              <a:p>
                <a:endParaRPr lang="en-GB"/>
              </a:p>
            </p:txBody>
          </p:sp>
        </p:grpSp>
        <p:grpSp>
          <p:nvGrpSpPr>
            <p:cNvPr id="216" name="Graphic 3">
              <a:extLst>
                <a:ext uri="{FF2B5EF4-FFF2-40B4-BE49-F238E27FC236}">
                  <a16:creationId xmlns:a16="http://schemas.microsoft.com/office/drawing/2014/main" id="{0D088B1E-ADBE-432C-8213-EDAACE80D59A}"/>
                </a:ext>
              </a:extLst>
            </p:cNvPr>
            <p:cNvGrpSpPr/>
            <p:nvPr/>
          </p:nvGrpSpPr>
          <p:grpSpPr>
            <a:xfrm>
              <a:off x="7078999" y="1658545"/>
              <a:ext cx="395947" cy="438249"/>
              <a:chOff x="7078999" y="1658545"/>
              <a:chExt cx="395947" cy="438249"/>
            </a:xfrm>
            <a:grpFill/>
          </p:grpSpPr>
          <p:sp>
            <p:nvSpPr>
              <p:cNvPr id="4731" name="Vrije vorm: vorm 4730">
                <a:extLst>
                  <a:ext uri="{FF2B5EF4-FFF2-40B4-BE49-F238E27FC236}">
                    <a16:creationId xmlns:a16="http://schemas.microsoft.com/office/drawing/2014/main" id="{84B8EE68-1A18-4155-8B92-BF3268281E67}"/>
                  </a:ext>
                </a:extLst>
              </p:cNvPr>
              <p:cNvSpPr/>
              <p:nvPr/>
            </p:nvSpPr>
            <p:spPr>
              <a:xfrm>
                <a:off x="7086696" y="1666449"/>
                <a:ext cx="380493" cy="422478"/>
              </a:xfrm>
              <a:custGeom>
                <a:avLst/>
                <a:gdLst>
                  <a:gd name="connsiteX0" fmla="*/ 380494 w 380493"/>
                  <a:gd name="connsiteY0" fmla="*/ 2033 h 422478"/>
                  <a:gd name="connsiteX1" fmla="*/ 2273 w 380493"/>
                  <a:gd name="connsiteY1" fmla="*/ 422478 h 422478"/>
                  <a:gd name="connsiteX2" fmla="*/ 0 w 380493"/>
                  <a:gd name="connsiteY2" fmla="*/ 420445 h 422478"/>
                  <a:gd name="connsiteX3" fmla="*/ 378221 w 380493"/>
                  <a:gd name="connsiteY3" fmla="*/ 0 h 422478"/>
                </a:gdLst>
                <a:ahLst/>
                <a:cxnLst>
                  <a:cxn ang="0">
                    <a:pos x="connsiteX0" y="connsiteY0"/>
                  </a:cxn>
                  <a:cxn ang="0">
                    <a:pos x="connsiteX1" y="connsiteY1"/>
                  </a:cxn>
                  <a:cxn ang="0">
                    <a:pos x="connsiteX2" y="connsiteY2"/>
                  </a:cxn>
                  <a:cxn ang="0">
                    <a:pos x="connsiteX3" y="connsiteY3"/>
                  </a:cxn>
                </a:cxnLst>
                <a:rect l="l" t="t" r="r" b="b"/>
                <a:pathLst>
                  <a:path w="380493" h="422478">
                    <a:moveTo>
                      <a:pt x="380494" y="2033"/>
                    </a:moveTo>
                    <a:lnTo>
                      <a:pt x="2273" y="422478"/>
                    </a:lnTo>
                    <a:lnTo>
                      <a:pt x="0" y="420445"/>
                    </a:lnTo>
                    <a:lnTo>
                      <a:pt x="378221" y="0"/>
                    </a:lnTo>
                    <a:close/>
                  </a:path>
                </a:pathLst>
              </a:custGeom>
              <a:grpFill/>
              <a:ln w="5978" cap="flat">
                <a:noFill/>
                <a:prstDash val="solid"/>
                <a:miter/>
              </a:ln>
            </p:spPr>
            <p:txBody>
              <a:bodyPr rtlCol="0" anchor="ctr"/>
              <a:lstStyle/>
              <a:p>
                <a:endParaRPr lang="en-GB"/>
              </a:p>
            </p:txBody>
          </p:sp>
          <p:sp>
            <p:nvSpPr>
              <p:cNvPr id="4732" name="Vrije vorm: vorm 4731">
                <a:extLst>
                  <a:ext uri="{FF2B5EF4-FFF2-40B4-BE49-F238E27FC236}">
                    <a16:creationId xmlns:a16="http://schemas.microsoft.com/office/drawing/2014/main" id="{8D580DE9-ABC8-4D2D-A813-89D6152B0815}"/>
                  </a:ext>
                </a:extLst>
              </p:cNvPr>
              <p:cNvSpPr/>
              <p:nvPr/>
            </p:nvSpPr>
            <p:spPr>
              <a:xfrm>
                <a:off x="7078999" y="2078308"/>
                <a:ext cx="18324" cy="18486"/>
              </a:xfrm>
              <a:custGeom>
                <a:avLst/>
                <a:gdLst>
                  <a:gd name="connsiteX0" fmla="*/ 15950 w 18324"/>
                  <a:gd name="connsiteY0" fmla="*/ 15463 h 18486"/>
                  <a:gd name="connsiteX1" fmla="*/ 3032 w 18324"/>
                  <a:gd name="connsiteY1" fmla="*/ 16061 h 18486"/>
                  <a:gd name="connsiteX2" fmla="*/ 2374 w 18324"/>
                  <a:gd name="connsiteY2" fmla="*/ 3023 h 18486"/>
                  <a:gd name="connsiteX3" fmla="*/ 15293 w 18324"/>
                  <a:gd name="connsiteY3" fmla="*/ 2425 h 18486"/>
                  <a:gd name="connsiteX4" fmla="*/ 15950 w 18324"/>
                  <a:gd name="connsiteY4" fmla="*/ 15463 h 18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86">
                    <a:moveTo>
                      <a:pt x="15950" y="15463"/>
                    </a:moveTo>
                    <a:cubicBezTo>
                      <a:pt x="12542" y="19231"/>
                      <a:pt x="6741" y="19530"/>
                      <a:pt x="3032" y="16061"/>
                    </a:cubicBezTo>
                    <a:cubicBezTo>
                      <a:pt x="-735" y="12652"/>
                      <a:pt x="-1035" y="6791"/>
                      <a:pt x="2374" y="3023"/>
                    </a:cubicBezTo>
                    <a:cubicBezTo>
                      <a:pt x="5783" y="-745"/>
                      <a:pt x="11585" y="-1044"/>
                      <a:pt x="15293" y="2425"/>
                    </a:cubicBezTo>
                    <a:cubicBezTo>
                      <a:pt x="19060" y="5834"/>
                      <a:pt x="19360" y="11695"/>
                      <a:pt x="15950" y="15463"/>
                    </a:cubicBezTo>
                    <a:close/>
                  </a:path>
                </a:pathLst>
              </a:custGeom>
              <a:grpFill/>
              <a:ln w="5978" cap="flat">
                <a:noFill/>
                <a:prstDash val="solid"/>
                <a:miter/>
              </a:ln>
            </p:spPr>
            <p:txBody>
              <a:bodyPr rtlCol="0" anchor="ctr"/>
              <a:lstStyle/>
              <a:p>
                <a:endParaRPr lang="en-GB"/>
              </a:p>
            </p:txBody>
          </p:sp>
          <p:sp>
            <p:nvSpPr>
              <p:cNvPr id="4733" name="Vrije vorm: vorm 4732">
                <a:extLst>
                  <a:ext uri="{FF2B5EF4-FFF2-40B4-BE49-F238E27FC236}">
                    <a16:creationId xmlns:a16="http://schemas.microsoft.com/office/drawing/2014/main" id="{C9BE7D47-8974-488C-8FAB-523ECD1EF652}"/>
                  </a:ext>
                </a:extLst>
              </p:cNvPr>
              <p:cNvSpPr/>
              <p:nvPr/>
            </p:nvSpPr>
            <p:spPr>
              <a:xfrm>
                <a:off x="7456622" y="1658545"/>
                <a:ext cx="18325" cy="18462"/>
              </a:xfrm>
              <a:custGeom>
                <a:avLst/>
                <a:gdLst>
                  <a:gd name="connsiteX0" fmla="*/ 15951 w 18325"/>
                  <a:gd name="connsiteY0" fmla="*/ 15439 h 18462"/>
                  <a:gd name="connsiteX1" fmla="*/ 15293 w 18325"/>
                  <a:gd name="connsiteY1" fmla="*/ 2401 h 18462"/>
                  <a:gd name="connsiteX2" fmla="*/ 2374 w 18325"/>
                  <a:gd name="connsiteY2" fmla="*/ 3000 h 18462"/>
                  <a:gd name="connsiteX3" fmla="*/ 3032 w 18325"/>
                  <a:gd name="connsiteY3" fmla="*/ 16038 h 18462"/>
                  <a:gd name="connsiteX4" fmla="*/ 15951 w 18325"/>
                  <a:gd name="connsiteY4" fmla="*/ 15439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2">
                    <a:moveTo>
                      <a:pt x="15951" y="15439"/>
                    </a:moveTo>
                    <a:cubicBezTo>
                      <a:pt x="19360" y="11672"/>
                      <a:pt x="19061" y="5870"/>
                      <a:pt x="15293" y="2401"/>
                    </a:cubicBezTo>
                    <a:cubicBezTo>
                      <a:pt x="11525" y="-1008"/>
                      <a:pt x="5724" y="-768"/>
                      <a:pt x="2374" y="3000"/>
                    </a:cubicBezTo>
                    <a:cubicBezTo>
                      <a:pt x="-1034" y="6767"/>
                      <a:pt x="-736" y="12569"/>
                      <a:pt x="3032" y="16038"/>
                    </a:cubicBezTo>
                    <a:cubicBezTo>
                      <a:pt x="6800" y="19506"/>
                      <a:pt x="12542" y="19207"/>
                      <a:pt x="15951" y="15439"/>
                    </a:cubicBezTo>
                    <a:close/>
                  </a:path>
                </a:pathLst>
              </a:custGeom>
              <a:grpFill/>
              <a:ln w="5978" cap="flat">
                <a:noFill/>
                <a:prstDash val="solid"/>
                <a:miter/>
              </a:ln>
            </p:spPr>
            <p:txBody>
              <a:bodyPr rtlCol="0" anchor="ctr"/>
              <a:lstStyle/>
              <a:p>
                <a:endParaRPr lang="en-GB"/>
              </a:p>
            </p:txBody>
          </p:sp>
        </p:grpSp>
        <p:grpSp>
          <p:nvGrpSpPr>
            <p:cNvPr id="217" name="Graphic 3">
              <a:extLst>
                <a:ext uri="{FF2B5EF4-FFF2-40B4-BE49-F238E27FC236}">
                  <a16:creationId xmlns:a16="http://schemas.microsoft.com/office/drawing/2014/main" id="{B058CC16-66CB-47A2-8D50-2184629F6976}"/>
                </a:ext>
              </a:extLst>
            </p:cNvPr>
            <p:cNvGrpSpPr/>
            <p:nvPr/>
          </p:nvGrpSpPr>
          <p:grpSpPr>
            <a:xfrm>
              <a:off x="7739071" y="3453127"/>
              <a:ext cx="121832" cy="21176"/>
              <a:chOff x="7739071" y="3453127"/>
              <a:chExt cx="121832" cy="21176"/>
            </a:xfrm>
            <a:grpFill/>
          </p:grpSpPr>
          <p:sp>
            <p:nvSpPr>
              <p:cNvPr id="4728" name="Vrije vorm: vorm 4727">
                <a:extLst>
                  <a:ext uri="{FF2B5EF4-FFF2-40B4-BE49-F238E27FC236}">
                    <a16:creationId xmlns:a16="http://schemas.microsoft.com/office/drawing/2014/main" id="{D549989E-96CB-40A5-96A7-567B29CC6A5E}"/>
                  </a:ext>
                </a:extLst>
              </p:cNvPr>
              <p:cNvSpPr/>
              <p:nvPr/>
            </p:nvSpPr>
            <p:spPr>
              <a:xfrm>
                <a:off x="7747746" y="3460785"/>
                <a:ext cx="104483" cy="5860"/>
              </a:xfrm>
              <a:custGeom>
                <a:avLst/>
                <a:gdLst>
                  <a:gd name="connsiteX0" fmla="*/ 104483 w 104483"/>
                  <a:gd name="connsiteY0" fmla="*/ 2811 h 5860"/>
                  <a:gd name="connsiteX1" fmla="*/ 104423 w 104483"/>
                  <a:gd name="connsiteY1" fmla="*/ 5861 h 5860"/>
                  <a:gd name="connsiteX2" fmla="*/ 0 w 104483"/>
                  <a:gd name="connsiteY2" fmla="*/ 3110 h 5860"/>
                  <a:gd name="connsiteX3" fmla="*/ 60 w 104483"/>
                  <a:gd name="connsiteY3" fmla="*/ 0 h 5860"/>
                </a:gdLst>
                <a:ahLst/>
                <a:cxnLst>
                  <a:cxn ang="0">
                    <a:pos x="connsiteX0" y="connsiteY0"/>
                  </a:cxn>
                  <a:cxn ang="0">
                    <a:pos x="connsiteX1" y="connsiteY1"/>
                  </a:cxn>
                  <a:cxn ang="0">
                    <a:pos x="connsiteX2" y="connsiteY2"/>
                  </a:cxn>
                  <a:cxn ang="0">
                    <a:pos x="connsiteX3" y="connsiteY3"/>
                  </a:cxn>
                </a:cxnLst>
                <a:rect l="l" t="t" r="r" b="b"/>
                <a:pathLst>
                  <a:path w="104483" h="5860">
                    <a:moveTo>
                      <a:pt x="104483" y="2811"/>
                    </a:moveTo>
                    <a:lnTo>
                      <a:pt x="104423" y="5861"/>
                    </a:lnTo>
                    <a:lnTo>
                      <a:pt x="0" y="3110"/>
                    </a:lnTo>
                    <a:lnTo>
                      <a:pt x="60" y="0"/>
                    </a:lnTo>
                    <a:close/>
                  </a:path>
                </a:pathLst>
              </a:custGeom>
              <a:grpFill/>
              <a:ln w="5978" cap="flat">
                <a:noFill/>
                <a:prstDash val="solid"/>
                <a:miter/>
              </a:ln>
            </p:spPr>
            <p:txBody>
              <a:bodyPr rtlCol="0" anchor="ctr"/>
              <a:lstStyle/>
              <a:p>
                <a:endParaRPr lang="en-GB"/>
              </a:p>
            </p:txBody>
          </p:sp>
          <p:sp>
            <p:nvSpPr>
              <p:cNvPr id="4729" name="Vrije vorm: vorm 4728">
                <a:extLst>
                  <a:ext uri="{FF2B5EF4-FFF2-40B4-BE49-F238E27FC236}">
                    <a16:creationId xmlns:a16="http://schemas.microsoft.com/office/drawing/2014/main" id="{B7642917-72BC-4C11-9AB1-AA9410CC256B}"/>
                  </a:ext>
                </a:extLst>
              </p:cNvPr>
              <p:cNvSpPr/>
              <p:nvPr/>
            </p:nvSpPr>
            <p:spPr>
              <a:xfrm>
                <a:off x="7842538" y="3455878"/>
                <a:ext cx="18366" cy="18425"/>
              </a:xfrm>
              <a:custGeom>
                <a:avLst/>
                <a:gdLst>
                  <a:gd name="connsiteX0" fmla="*/ 9393 w 18366"/>
                  <a:gd name="connsiteY0" fmla="*/ 3 h 18425"/>
                  <a:gd name="connsiteX1" fmla="*/ 18364 w 18366"/>
                  <a:gd name="connsiteY1" fmla="*/ 9452 h 18425"/>
                  <a:gd name="connsiteX2" fmla="*/ 8974 w 18366"/>
                  <a:gd name="connsiteY2" fmla="*/ 18423 h 18425"/>
                  <a:gd name="connsiteX3" fmla="*/ 3 w 18366"/>
                  <a:gd name="connsiteY3" fmla="*/ 8974 h 18425"/>
                  <a:gd name="connsiteX4" fmla="*/ 9393 w 18366"/>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3" y="3"/>
                    </a:moveTo>
                    <a:cubicBezTo>
                      <a:pt x="14476" y="122"/>
                      <a:pt x="18483" y="4369"/>
                      <a:pt x="18364" y="9452"/>
                    </a:cubicBezTo>
                    <a:cubicBezTo>
                      <a:pt x="18244" y="14536"/>
                      <a:pt x="14057" y="18543"/>
                      <a:pt x="8974" y="18423"/>
                    </a:cubicBezTo>
                    <a:cubicBezTo>
                      <a:pt x="3890" y="18304"/>
                      <a:pt x="-117" y="14057"/>
                      <a:pt x="3" y="8974"/>
                    </a:cubicBezTo>
                    <a:cubicBezTo>
                      <a:pt x="122" y="3890"/>
                      <a:pt x="4309" y="-117"/>
                      <a:pt x="9393" y="3"/>
                    </a:cubicBezTo>
                    <a:close/>
                  </a:path>
                </a:pathLst>
              </a:custGeom>
              <a:grpFill/>
              <a:ln w="5978" cap="flat">
                <a:noFill/>
                <a:prstDash val="solid"/>
                <a:miter/>
              </a:ln>
            </p:spPr>
            <p:txBody>
              <a:bodyPr rtlCol="0" anchor="ctr"/>
              <a:lstStyle/>
              <a:p>
                <a:endParaRPr lang="en-GB"/>
              </a:p>
            </p:txBody>
          </p:sp>
          <p:sp>
            <p:nvSpPr>
              <p:cNvPr id="4730" name="Vrije vorm: vorm 4729">
                <a:extLst>
                  <a:ext uri="{FF2B5EF4-FFF2-40B4-BE49-F238E27FC236}">
                    <a16:creationId xmlns:a16="http://schemas.microsoft.com/office/drawing/2014/main" id="{51B4425D-4D3D-4C46-AA63-613610F94EF7}"/>
                  </a:ext>
                </a:extLst>
              </p:cNvPr>
              <p:cNvSpPr/>
              <p:nvPr/>
            </p:nvSpPr>
            <p:spPr>
              <a:xfrm>
                <a:off x="7739071" y="3453127"/>
                <a:ext cx="18363" cy="18425"/>
              </a:xfrm>
              <a:custGeom>
                <a:avLst/>
                <a:gdLst>
                  <a:gd name="connsiteX0" fmla="*/ 9392 w 18363"/>
                  <a:gd name="connsiteY0" fmla="*/ 3 h 18425"/>
                  <a:gd name="connsiteX1" fmla="*/ 3 w 18363"/>
                  <a:gd name="connsiteY1" fmla="*/ 8974 h 18425"/>
                  <a:gd name="connsiteX2" fmla="*/ 8974 w 18363"/>
                  <a:gd name="connsiteY2" fmla="*/ 18423 h 18425"/>
                  <a:gd name="connsiteX3" fmla="*/ 18363 w 18363"/>
                  <a:gd name="connsiteY3" fmla="*/ 9452 h 18425"/>
                  <a:gd name="connsiteX4" fmla="*/ 9392 w 18363"/>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5">
                    <a:moveTo>
                      <a:pt x="9392" y="3"/>
                    </a:moveTo>
                    <a:cubicBezTo>
                      <a:pt x="4309" y="-117"/>
                      <a:pt x="122" y="3890"/>
                      <a:pt x="3" y="8974"/>
                    </a:cubicBezTo>
                    <a:cubicBezTo>
                      <a:pt x="-117" y="14057"/>
                      <a:pt x="3890" y="18304"/>
                      <a:pt x="8974" y="18423"/>
                    </a:cubicBezTo>
                    <a:cubicBezTo>
                      <a:pt x="14057" y="18543"/>
                      <a:pt x="18243" y="14536"/>
                      <a:pt x="18363" y="9452"/>
                    </a:cubicBezTo>
                    <a:cubicBezTo>
                      <a:pt x="18423" y="4368"/>
                      <a:pt x="14416" y="122"/>
                      <a:pt x="9392" y="3"/>
                    </a:cubicBezTo>
                    <a:close/>
                  </a:path>
                </a:pathLst>
              </a:custGeom>
              <a:grpFill/>
              <a:ln w="5978" cap="flat">
                <a:noFill/>
                <a:prstDash val="solid"/>
                <a:miter/>
              </a:ln>
            </p:spPr>
            <p:txBody>
              <a:bodyPr rtlCol="0" anchor="ctr"/>
              <a:lstStyle/>
              <a:p>
                <a:endParaRPr lang="en-GB"/>
              </a:p>
            </p:txBody>
          </p:sp>
        </p:grpSp>
        <p:grpSp>
          <p:nvGrpSpPr>
            <p:cNvPr id="218" name="Graphic 3">
              <a:extLst>
                <a:ext uri="{FF2B5EF4-FFF2-40B4-BE49-F238E27FC236}">
                  <a16:creationId xmlns:a16="http://schemas.microsoft.com/office/drawing/2014/main" id="{6AB5463D-2768-4A0E-A00B-DD359DE865AC}"/>
                </a:ext>
              </a:extLst>
            </p:cNvPr>
            <p:cNvGrpSpPr/>
            <p:nvPr/>
          </p:nvGrpSpPr>
          <p:grpSpPr>
            <a:xfrm>
              <a:off x="7106522" y="1520649"/>
              <a:ext cx="208923" cy="305875"/>
              <a:chOff x="7106522" y="1520649"/>
              <a:chExt cx="208923" cy="305875"/>
            </a:xfrm>
            <a:grpFill/>
          </p:grpSpPr>
          <p:sp>
            <p:nvSpPr>
              <p:cNvPr id="4725" name="Vrije vorm: vorm 4724">
                <a:extLst>
                  <a:ext uri="{FF2B5EF4-FFF2-40B4-BE49-F238E27FC236}">
                    <a16:creationId xmlns:a16="http://schemas.microsoft.com/office/drawing/2014/main" id="{1217EE0A-6E84-44C3-BE87-654FD302C5A7}"/>
                  </a:ext>
                </a:extLst>
              </p:cNvPr>
              <p:cNvSpPr/>
              <p:nvPr/>
            </p:nvSpPr>
            <p:spPr>
              <a:xfrm>
                <a:off x="7114148" y="1528593"/>
                <a:ext cx="193595" cy="289945"/>
              </a:xfrm>
              <a:custGeom>
                <a:avLst/>
                <a:gdLst>
                  <a:gd name="connsiteX0" fmla="*/ 193596 w 193595"/>
                  <a:gd name="connsiteY0" fmla="*/ 1734 h 289945"/>
                  <a:gd name="connsiteX1" fmla="*/ 2571 w 193595"/>
                  <a:gd name="connsiteY1" fmla="*/ 289945 h 289945"/>
                  <a:gd name="connsiteX2" fmla="*/ 0 w 193595"/>
                  <a:gd name="connsiteY2" fmla="*/ 288271 h 289945"/>
                  <a:gd name="connsiteX3" fmla="*/ 191084 w 193595"/>
                  <a:gd name="connsiteY3" fmla="*/ 0 h 289945"/>
                </a:gdLst>
                <a:ahLst/>
                <a:cxnLst>
                  <a:cxn ang="0">
                    <a:pos x="connsiteX0" y="connsiteY0"/>
                  </a:cxn>
                  <a:cxn ang="0">
                    <a:pos x="connsiteX1" y="connsiteY1"/>
                  </a:cxn>
                  <a:cxn ang="0">
                    <a:pos x="connsiteX2" y="connsiteY2"/>
                  </a:cxn>
                  <a:cxn ang="0">
                    <a:pos x="connsiteX3" y="connsiteY3"/>
                  </a:cxn>
                </a:cxnLst>
                <a:rect l="l" t="t" r="r" b="b"/>
                <a:pathLst>
                  <a:path w="193595" h="289945">
                    <a:moveTo>
                      <a:pt x="193596" y="1734"/>
                    </a:moveTo>
                    <a:lnTo>
                      <a:pt x="2571" y="289945"/>
                    </a:lnTo>
                    <a:lnTo>
                      <a:pt x="0" y="288271"/>
                    </a:lnTo>
                    <a:lnTo>
                      <a:pt x="191084" y="0"/>
                    </a:lnTo>
                    <a:close/>
                  </a:path>
                </a:pathLst>
              </a:custGeom>
              <a:grpFill/>
              <a:ln w="5978" cap="flat">
                <a:noFill/>
                <a:prstDash val="solid"/>
                <a:miter/>
              </a:ln>
            </p:spPr>
            <p:txBody>
              <a:bodyPr rtlCol="0" anchor="ctr"/>
              <a:lstStyle/>
              <a:p>
                <a:endParaRPr lang="en-GB"/>
              </a:p>
            </p:txBody>
          </p:sp>
          <p:sp>
            <p:nvSpPr>
              <p:cNvPr id="4726" name="Vrije vorm: vorm 4725">
                <a:extLst>
                  <a:ext uri="{FF2B5EF4-FFF2-40B4-BE49-F238E27FC236}">
                    <a16:creationId xmlns:a16="http://schemas.microsoft.com/office/drawing/2014/main" id="{8FED77A5-849C-4B65-9D8A-CD651A906354}"/>
                  </a:ext>
                </a:extLst>
              </p:cNvPr>
              <p:cNvSpPr/>
              <p:nvPr/>
            </p:nvSpPr>
            <p:spPr>
              <a:xfrm>
                <a:off x="7106522" y="1808041"/>
                <a:ext cx="18318" cy="18483"/>
              </a:xfrm>
              <a:custGeom>
                <a:avLst/>
                <a:gdLst>
                  <a:gd name="connsiteX0" fmla="*/ 16777 w 18318"/>
                  <a:gd name="connsiteY0" fmla="*/ 14385 h 18483"/>
                  <a:gd name="connsiteX1" fmla="*/ 4098 w 18318"/>
                  <a:gd name="connsiteY1" fmla="*/ 16897 h 18483"/>
                  <a:gd name="connsiteX2" fmla="*/ 1526 w 18318"/>
                  <a:gd name="connsiteY2" fmla="*/ 4098 h 18483"/>
                  <a:gd name="connsiteX3" fmla="*/ 14205 w 18318"/>
                  <a:gd name="connsiteY3" fmla="*/ 1586 h 18483"/>
                  <a:gd name="connsiteX4" fmla="*/ 16777 w 18318"/>
                  <a:gd name="connsiteY4" fmla="*/ 14385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83">
                    <a:moveTo>
                      <a:pt x="16777" y="14385"/>
                    </a:moveTo>
                    <a:cubicBezTo>
                      <a:pt x="13966" y="18631"/>
                      <a:pt x="8285" y="19768"/>
                      <a:pt x="4098" y="16897"/>
                    </a:cubicBezTo>
                    <a:cubicBezTo>
                      <a:pt x="-89" y="14086"/>
                      <a:pt x="-1285" y="8345"/>
                      <a:pt x="1526" y="4098"/>
                    </a:cubicBezTo>
                    <a:cubicBezTo>
                      <a:pt x="4337" y="-148"/>
                      <a:pt x="10018" y="-1284"/>
                      <a:pt x="14205" y="1586"/>
                    </a:cubicBezTo>
                    <a:cubicBezTo>
                      <a:pt x="18451" y="4457"/>
                      <a:pt x="19588" y="10199"/>
                      <a:pt x="16777" y="14385"/>
                    </a:cubicBezTo>
                    <a:close/>
                  </a:path>
                </a:pathLst>
              </a:custGeom>
              <a:grpFill/>
              <a:ln w="5978" cap="flat">
                <a:noFill/>
                <a:prstDash val="solid"/>
                <a:miter/>
              </a:ln>
            </p:spPr>
            <p:txBody>
              <a:bodyPr rtlCol="0" anchor="ctr"/>
              <a:lstStyle/>
              <a:p>
                <a:endParaRPr lang="en-GB"/>
              </a:p>
            </p:txBody>
          </p:sp>
          <p:sp>
            <p:nvSpPr>
              <p:cNvPr id="4727" name="Vrije vorm: vorm 4726">
                <a:extLst>
                  <a:ext uri="{FF2B5EF4-FFF2-40B4-BE49-F238E27FC236}">
                    <a16:creationId xmlns:a16="http://schemas.microsoft.com/office/drawing/2014/main" id="{F21C5DE3-FECA-424F-AD90-D2198BC5794B}"/>
                  </a:ext>
                </a:extLst>
              </p:cNvPr>
              <p:cNvSpPr/>
              <p:nvPr/>
            </p:nvSpPr>
            <p:spPr>
              <a:xfrm>
                <a:off x="7297112" y="1520649"/>
                <a:ext cx="18333" cy="18415"/>
              </a:xfrm>
              <a:custGeom>
                <a:avLst/>
                <a:gdLst>
                  <a:gd name="connsiteX0" fmla="*/ 16792 w 18333"/>
                  <a:gd name="connsiteY0" fmla="*/ 14343 h 18415"/>
                  <a:gd name="connsiteX1" fmla="*/ 14221 w 18333"/>
                  <a:gd name="connsiteY1" fmla="*/ 1544 h 18415"/>
                  <a:gd name="connsiteX2" fmla="*/ 1542 w 18333"/>
                  <a:gd name="connsiteY2" fmla="*/ 4056 h 18415"/>
                  <a:gd name="connsiteX3" fmla="*/ 4113 w 18333"/>
                  <a:gd name="connsiteY3" fmla="*/ 16855 h 18415"/>
                  <a:gd name="connsiteX4" fmla="*/ 16792 w 18333"/>
                  <a:gd name="connsiteY4" fmla="*/ 1434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5">
                    <a:moveTo>
                      <a:pt x="16792" y="14343"/>
                    </a:moveTo>
                    <a:cubicBezTo>
                      <a:pt x="19604" y="10097"/>
                      <a:pt x="18467" y="4415"/>
                      <a:pt x="14221" y="1544"/>
                    </a:cubicBezTo>
                    <a:cubicBezTo>
                      <a:pt x="10034" y="-1266"/>
                      <a:pt x="4293" y="-130"/>
                      <a:pt x="1542" y="4056"/>
                    </a:cubicBezTo>
                    <a:cubicBezTo>
                      <a:pt x="-1270" y="8303"/>
                      <a:pt x="-133" y="13984"/>
                      <a:pt x="4113" y="16855"/>
                    </a:cubicBezTo>
                    <a:cubicBezTo>
                      <a:pt x="8300" y="19666"/>
                      <a:pt x="13981" y="18590"/>
                      <a:pt x="16792" y="14343"/>
                    </a:cubicBezTo>
                    <a:close/>
                  </a:path>
                </a:pathLst>
              </a:custGeom>
              <a:grpFill/>
              <a:ln w="5978" cap="flat">
                <a:noFill/>
                <a:prstDash val="solid"/>
                <a:miter/>
              </a:ln>
            </p:spPr>
            <p:txBody>
              <a:bodyPr rtlCol="0" anchor="ctr"/>
              <a:lstStyle/>
              <a:p>
                <a:endParaRPr lang="en-GB"/>
              </a:p>
            </p:txBody>
          </p:sp>
        </p:grpSp>
        <p:grpSp>
          <p:nvGrpSpPr>
            <p:cNvPr id="219" name="Graphic 3">
              <a:extLst>
                <a:ext uri="{FF2B5EF4-FFF2-40B4-BE49-F238E27FC236}">
                  <a16:creationId xmlns:a16="http://schemas.microsoft.com/office/drawing/2014/main" id="{CCBE6376-C646-4CEB-A83A-EB2361C54E83}"/>
                </a:ext>
              </a:extLst>
            </p:cNvPr>
            <p:cNvGrpSpPr/>
            <p:nvPr/>
          </p:nvGrpSpPr>
          <p:grpSpPr>
            <a:xfrm>
              <a:off x="7942722" y="3857308"/>
              <a:ext cx="19191" cy="18615"/>
              <a:chOff x="7942722" y="3857308"/>
              <a:chExt cx="19191" cy="18615"/>
            </a:xfrm>
            <a:grpFill/>
          </p:grpSpPr>
          <p:sp>
            <p:nvSpPr>
              <p:cNvPr id="4722" name="Vrije vorm: vorm 4721">
                <a:extLst>
                  <a:ext uri="{FF2B5EF4-FFF2-40B4-BE49-F238E27FC236}">
                    <a16:creationId xmlns:a16="http://schemas.microsoft.com/office/drawing/2014/main" id="{0D178E8C-1A61-419E-91FC-28CD8433B326}"/>
                  </a:ext>
                </a:extLst>
              </p:cNvPr>
              <p:cNvSpPr/>
              <p:nvPr/>
            </p:nvSpPr>
            <p:spPr>
              <a:xfrm>
                <a:off x="7951150" y="3864902"/>
                <a:ext cx="2392" cy="3409"/>
              </a:xfrm>
              <a:custGeom>
                <a:avLst/>
                <a:gdLst>
                  <a:gd name="connsiteX0" fmla="*/ 2392 w 2392"/>
                  <a:gd name="connsiteY0" fmla="*/ 419 h 3409"/>
                  <a:gd name="connsiteX1" fmla="*/ 1675 w 2392"/>
                  <a:gd name="connsiteY1" fmla="*/ 3409 h 3409"/>
                  <a:gd name="connsiteX2" fmla="*/ 0 w 2392"/>
                  <a:gd name="connsiteY2" fmla="*/ 2990 h 3409"/>
                  <a:gd name="connsiteX3" fmla="*/ 658 w 2392"/>
                  <a:gd name="connsiteY3" fmla="*/ 0 h 3409"/>
                </a:gdLst>
                <a:ahLst/>
                <a:cxnLst>
                  <a:cxn ang="0">
                    <a:pos x="connsiteX0" y="connsiteY0"/>
                  </a:cxn>
                  <a:cxn ang="0">
                    <a:pos x="connsiteX1" y="connsiteY1"/>
                  </a:cxn>
                  <a:cxn ang="0">
                    <a:pos x="connsiteX2" y="connsiteY2"/>
                  </a:cxn>
                  <a:cxn ang="0">
                    <a:pos x="connsiteX3" y="connsiteY3"/>
                  </a:cxn>
                </a:cxnLst>
                <a:rect l="l" t="t" r="r" b="b"/>
                <a:pathLst>
                  <a:path w="2392" h="3409">
                    <a:moveTo>
                      <a:pt x="2392" y="419"/>
                    </a:moveTo>
                    <a:lnTo>
                      <a:pt x="1675" y="3409"/>
                    </a:lnTo>
                    <a:lnTo>
                      <a:pt x="0" y="2990"/>
                    </a:lnTo>
                    <a:lnTo>
                      <a:pt x="658" y="0"/>
                    </a:lnTo>
                    <a:close/>
                  </a:path>
                </a:pathLst>
              </a:custGeom>
              <a:grpFill/>
              <a:ln w="5978" cap="flat">
                <a:noFill/>
                <a:prstDash val="solid"/>
                <a:miter/>
              </a:ln>
            </p:spPr>
            <p:txBody>
              <a:bodyPr rtlCol="0" anchor="ctr"/>
              <a:lstStyle/>
              <a:p>
                <a:endParaRPr lang="en-GB"/>
              </a:p>
            </p:txBody>
          </p:sp>
          <p:sp>
            <p:nvSpPr>
              <p:cNvPr id="4723" name="Vrije vorm: vorm 4722">
                <a:extLst>
                  <a:ext uri="{FF2B5EF4-FFF2-40B4-BE49-F238E27FC236}">
                    <a16:creationId xmlns:a16="http://schemas.microsoft.com/office/drawing/2014/main" id="{4E955584-4A70-4184-A26F-A5B3047F35AB}"/>
                  </a:ext>
                </a:extLst>
              </p:cNvPr>
              <p:cNvSpPr/>
              <p:nvPr/>
            </p:nvSpPr>
            <p:spPr>
              <a:xfrm>
                <a:off x="7942722" y="3857308"/>
                <a:ext cx="18350" cy="18416"/>
              </a:xfrm>
              <a:custGeom>
                <a:avLst/>
                <a:gdLst>
                  <a:gd name="connsiteX0" fmla="*/ 7112 w 18350"/>
                  <a:gd name="connsiteY0" fmla="*/ 18180 h 18416"/>
                  <a:gd name="connsiteX1" fmla="*/ 234 w 18350"/>
                  <a:gd name="connsiteY1" fmla="*/ 7115 h 18416"/>
                  <a:gd name="connsiteX2" fmla="*/ 11239 w 18350"/>
                  <a:gd name="connsiteY2" fmla="*/ 237 h 18416"/>
                  <a:gd name="connsiteX3" fmla="*/ 18117 w 18350"/>
                  <a:gd name="connsiteY3" fmla="*/ 11302 h 18416"/>
                  <a:gd name="connsiteX4" fmla="*/ 7112 w 18350"/>
                  <a:gd name="connsiteY4" fmla="*/ 1818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6">
                    <a:moveTo>
                      <a:pt x="7112" y="18180"/>
                    </a:moveTo>
                    <a:cubicBezTo>
                      <a:pt x="2208" y="16984"/>
                      <a:pt x="-902" y="12020"/>
                      <a:pt x="234" y="7115"/>
                    </a:cubicBezTo>
                    <a:cubicBezTo>
                      <a:pt x="1370" y="2151"/>
                      <a:pt x="6275" y="-899"/>
                      <a:pt x="11239" y="237"/>
                    </a:cubicBezTo>
                    <a:cubicBezTo>
                      <a:pt x="16143" y="1434"/>
                      <a:pt x="19253" y="6398"/>
                      <a:pt x="18117" y="11302"/>
                    </a:cubicBezTo>
                    <a:cubicBezTo>
                      <a:pt x="16980" y="16266"/>
                      <a:pt x="12076" y="19316"/>
                      <a:pt x="7112" y="18180"/>
                    </a:cubicBezTo>
                    <a:close/>
                  </a:path>
                </a:pathLst>
              </a:custGeom>
              <a:grpFill/>
              <a:ln w="5978" cap="flat">
                <a:noFill/>
                <a:prstDash val="solid"/>
                <a:miter/>
              </a:ln>
            </p:spPr>
            <p:txBody>
              <a:bodyPr rtlCol="0" anchor="ctr"/>
              <a:lstStyle/>
              <a:p>
                <a:endParaRPr lang="en-GB"/>
              </a:p>
            </p:txBody>
          </p:sp>
          <p:sp>
            <p:nvSpPr>
              <p:cNvPr id="4724" name="Vrije vorm: vorm 4723">
                <a:extLst>
                  <a:ext uri="{FF2B5EF4-FFF2-40B4-BE49-F238E27FC236}">
                    <a16:creationId xmlns:a16="http://schemas.microsoft.com/office/drawing/2014/main" id="{0BDA6DED-BFFA-47DB-AE51-CE75E72DC4DB}"/>
                  </a:ext>
                </a:extLst>
              </p:cNvPr>
              <p:cNvSpPr/>
              <p:nvPr/>
            </p:nvSpPr>
            <p:spPr>
              <a:xfrm>
                <a:off x="7943557" y="3857488"/>
                <a:ext cx="18356" cy="18435"/>
              </a:xfrm>
              <a:custGeom>
                <a:avLst/>
                <a:gdLst>
                  <a:gd name="connsiteX0" fmla="*/ 7115 w 18356"/>
                  <a:gd name="connsiteY0" fmla="*/ 18180 h 18435"/>
                  <a:gd name="connsiteX1" fmla="*/ 18120 w 18356"/>
                  <a:gd name="connsiteY1" fmla="*/ 11302 h 18435"/>
                  <a:gd name="connsiteX2" fmla="*/ 11242 w 18356"/>
                  <a:gd name="connsiteY2" fmla="*/ 237 h 18435"/>
                  <a:gd name="connsiteX3" fmla="*/ 237 w 18356"/>
                  <a:gd name="connsiteY3" fmla="*/ 7115 h 18435"/>
                  <a:gd name="connsiteX4" fmla="*/ 7115 w 18356"/>
                  <a:gd name="connsiteY4" fmla="*/ 1818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5">
                    <a:moveTo>
                      <a:pt x="7115" y="18180"/>
                    </a:moveTo>
                    <a:cubicBezTo>
                      <a:pt x="12019" y="19376"/>
                      <a:pt x="16983" y="16266"/>
                      <a:pt x="18120" y="11302"/>
                    </a:cubicBezTo>
                    <a:cubicBezTo>
                      <a:pt x="19256" y="6338"/>
                      <a:pt x="16206" y="1374"/>
                      <a:pt x="11242" y="237"/>
                    </a:cubicBezTo>
                    <a:cubicBezTo>
                      <a:pt x="6278" y="-899"/>
                      <a:pt x="1373" y="2151"/>
                      <a:pt x="237" y="7115"/>
                    </a:cubicBezTo>
                    <a:cubicBezTo>
                      <a:pt x="-899" y="12019"/>
                      <a:pt x="2151" y="16983"/>
                      <a:pt x="7115" y="18180"/>
                    </a:cubicBezTo>
                    <a:close/>
                  </a:path>
                </a:pathLst>
              </a:custGeom>
              <a:grpFill/>
              <a:ln w="5978" cap="flat">
                <a:noFill/>
                <a:prstDash val="solid"/>
                <a:miter/>
              </a:ln>
            </p:spPr>
            <p:txBody>
              <a:bodyPr rtlCol="0" anchor="ctr"/>
              <a:lstStyle/>
              <a:p>
                <a:endParaRPr lang="en-GB"/>
              </a:p>
            </p:txBody>
          </p:sp>
        </p:grpSp>
        <p:grpSp>
          <p:nvGrpSpPr>
            <p:cNvPr id="220" name="Graphic 3">
              <a:extLst>
                <a:ext uri="{FF2B5EF4-FFF2-40B4-BE49-F238E27FC236}">
                  <a16:creationId xmlns:a16="http://schemas.microsoft.com/office/drawing/2014/main" id="{6C550E7B-ABCE-469E-AF63-BA677BB6E890}"/>
                </a:ext>
              </a:extLst>
            </p:cNvPr>
            <p:cNvGrpSpPr/>
            <p:nvPr/>
          </p:nvGrpSpPr>
          <p:grpSpPr>
            <a:xfrm>
              <a:off x="7710470" y="3673682"/>
              <a:ext cx="359269" cy="109598"/>
              <a:chOff x="7710470" y="3673682"/>
              <a:chExt cx="359269" cy="109598"/>
            </a:xfrm>
            <a:grpFill/>
          </p:grpSpPr>
          <p:sp>
            <p:nvSpPr>
              <p:cNvPr id="4719" name="Vrije vorm: vorm 4718">
                <a:extLst>
                  <a:ext uri="{FF2B5EF4-FFF2-40B4-BE49-F238E27FC236}">
                    <a16:creationId xmlns:a16="http://schemas.microsoft.com/office/drawing/2014/main" id="{238302EF-FC8B-42BA-A432-7CB0640B8C8B}"/>
                  </a:ext>
                </a:extLst>
              </p:cNvPr>
              <p:cNvSpPr/>
              <p:nvPr/>
            </p:nvSpPr>
            <p:spPr>
              <a:xfrm>
                <a:off x="7718799" y="3681294"/>
                <a:ext cx="342575" cy="94375"/>
              </a:xfrm>
              <a:custGeom>
                <a:avLst/>
                <a:gdLst>
                  <a:gd name="connsiteX0" fmla="*/ 342575 w 342575"/>
                  <a:gd name="connsiteY0" fmla="*/ 91385 h 94375"/>
                  <a:gd name="connsiteX1" fmla="*/ 341798 w 342575"/>
                  <a:gd name="connsiteY1" fmla="*/ 94376 h 94375"/>
                  <a:gd name="connsiteX2" fmla="*/ 0 w 342575"/>
                  <a:gd name="connsiteY2" fmla="*/ 2990 h 94375"/>
                  <a:gd name="connsiteX3" fmla="*/ 778 w 342575"/>
                  <a:gd name="connsiteY3" fmla="*/ 0 h 94375"/>
                </a:gdLst>
                <a:ahLst/>
                <a:cxnLst>
                  <a:cxn ang="0">
                    <a:pos x="connsiteX0" y="connsiteY0"/>
                  </a:cxn>
                  <a:cxn ang="0">
                    <a:pos x="connsiteX1" y="connsiteY1"/>
                  </a:cxn>
                  <a:cxn ang="0">
                    <a:pos x="connsiteX2" y="connsiteY2"/>
                  </a:cxn>
                  <a:cxn ang="0">
                    <a:pos x="connsiteX3" y="connsiteY3"/>
                  </a:cxn>
                </a:cxnLst>
                <a:rect l="l" t="t" r="r" b="b"/>
                <a:pathLst>
                  <a:path w="342575" h="94375">
                    <a:moveTo>
                      <a:pt x="342575" y="91385"/>
                    </a:moveTo>
                    <a:lnTo>
                      <a:pt x="341798" y="94376"/>
                    </a:lnTo>
                    <a:lnTo>
                      <a:pt x="0" y="2990"/>
                    </a:lnTo>
                    <a:lnTo>
                      <a:pt x="778" y="0"/>
                    </a:lnTo>
                    <a:close/>
                  </a:path>
                </a:pathLst>
              </a:custGeom>
              <a:grpFill/>
              <a:ln w="5978" cap="flat">
                <a:noFill/>
                <a:prstDash val="solid"/>
                <a:miter/>
              </a:ln>
            </p:spPr>
            <p:txBody>
              <a:bodyPr rtlCol="0" anchor="ctr"/>
              <a:lstStyle/>
              <a:p>
                <a:endParaRPr lang="en-GB"/>
              </a:p>
            </p:txBody>
          </p:sp>
          <p:sp>
            <p:nvSpPr>
              <p:cNvPr id="4720" name="Vrije vorm: vorm 4719">
                <a:extLst>
                  <a:ext uri="{FF2B5EF4-FFF2-40B4-BE49-F238E27FC236}">
                    <a16:creationId xmlns:a16="http://schemas.microsoft.com/office/drawing/2014/main" id="{35A09077-DCFD-4AE3-A0BB-5BF4955DD4AB}"/>
                  </a:ext>
                </a:extLst>
              </p:cNvPr>
              <p:cNvSpPr/>
              <p:nvPr/>
            </p:nvSpPr>
            <p:spPr>
              <a:xfrm>
                <a:off x="7710470" y="3673682"/>
                <a:ext cx="18332" cy="18451"/>
              </a:xfrm>
              <a:custGeom>
                <a:avLst/>
                <a:gdLst>
                  <a:gd name="connsiteX0" fmla="*/ 6834 w 18332"/>
                  <a:gd name="connsiteY0" fmla="*/ 18137 h 18451"/>
                  <a:gd name="connsiteX1" fmla="*/ 315 w 18332"/>
                  <a:gd name="connsiteY1" fmla="*/ 6834 h 18451"/>
                  <a:gd name="connsiteX2" fmla="*/ 11499 w 18332"/>
                  <a:gd name="connsiteY2" fmla="*/ 315 h 18451"/>
                  <a:gd name="connsiteX3" fmla="*/ 18018 w 18332"/>
                  <a:gd name="connsiteY3" fmla="*/ 11559 h 18451"/>
                  <a:gd name="connsiteX4" fmla="*/ 6834 w 18332"/>
                  <a:gd name="connsiteY4" fmla="*/ 1813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1">
                    <a:moveTo>
                      <a:pt x="6834" y="18137"/>
                    </a:moveTo>
                    <a:cubicBezTo>
                      <a:pt x="1930" y="16822"/>
                      <a:pt x="-1001" y="11798"/>
                      <a:pt x="315" y="6834"/>
                    </a:cubicBezTo>
                    <a:cubicBezTo>
                      <a:pt x="1571" y="1930"/>
                      <a:pt x="6595" y="-1001"/>
                      <a:pt x="11499" y="315"/>
                    </a:cubicBezTo>
                    <a:cubicBezTo>
                      <a:pt x="16403" y="1631"/>
                      <a:pt x="19334" y="6654"/>
                      <a:pt x="18018" y="11559"/>
                    </a:cubicBezTo>
                    <a:cubicBezTo>
                      <a:pt x="16703" y="16523"/>
                      <a:pt x="11738" y="19453"/>
                      <a:pt x="6834" y="18137"/>
                    </a:cubicBezTo>
                    <a:close/>
                  </a:path>
                </a:pathLst>
              </a:custGeom>
              <a:grpFill/>
              <a:ln w="5978" cap="flat">
                <a:noFill/>
                <a:prstDash val="solid"/>
                <a:miter/>
              </a:ln>
            </p:spPr>
            <p:txBody>
              <a:bodyPr rtlCol="0" anchor="ctr"/>
              <a:lstStyle/>
              <a:p>
                <a:endParaRPr lang="en-GB"/>
              </a:p>
            </p:txBody>
          </p:sp>
          <p:sp>
            <p:nvSpPr>
              <p:cNvPr id="4721" name="Vrije vorm: vorm 4720">
                <a:extLst>
                  <a:ext uri="{FF2B5EF4-FFF2-40B4-BE49-F238E27FC236}">
                    <a16:creationId xmlns:a16="http://schemas.microsoft.com/office/drawing/2014/main" id="{22EE8767-2776-4CD5-8D1D-8707C8FD3E7E}"/>
                  </a:ext>
                </a:extLst>
              </p:cNvPr>
              <p:cNvSpPr/>
              <p:nvPr/>
            </p:nvSpPr>
            <p:spPr>
              <a:xfrm>
                <a:off x="8051431" y="3764888"/>
                <a:ext cx="18308" cy="18392"/>
              </a:xfrm>
              <a:custGeom>
                <a:avLst/>
                <a:gdLst>
                  <a:gd name="connsiteX0" fmla="*/ 6834 w 18308"/>
                  <a:gd name="connsiteY0" fmla="*/ 18078 h 18392"/>
                  <a:gd name="connsiteX1" fmla="*/ 18018 w 18308"/>
                  <a:gd name="connsiteY1" fmla="*/ 11559 h 18392"/>
                  <a:gd name="connsiteX2" fmla="*/ 11499 w 18308"/>
                  <a:gd name="connsiteY2" fmla="*/ 315 h 18392"/>
                  <a:gd name="connsiteX3" fmla="*/ 315 w 18308"/>
                  <a:gd name="connsiteY3" fmla="*/ 6834 h 18392"/>
                  <a:gd name="connsiteX4" fmla="*/ 6834 w 18308"/>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392">
                    <a:moveTo>
                      <a:pt x="6834" y="18078"/>
                    </a:moveTo>
                    <a:cubicBezTo>
                      <a:pt x="11738" y="19393"/>
                      <a:pt x="16762" y="16463"/>
                      <a:pt x="18018" y="11559"/>
                    </a:cubicBezTo>
                    <a:cubicBezTo>
                      <a:pt x="19274" y="6654"/>
                      <a:pt x="16343" y="1571"/>
                      <a:pt x="11499" y="315"/>
                    </a:cubicBezTo>
                    <a:cubicBezTo>
                      <a:pt x="6595" y="-1001"/>
                      <a:pt x="1571" y="1930"/>
                      <a:pt x="315" y="6834"/>
                    </a:cubicBezTo>
                    <a:cubicBezTo>
                      <a:pt x="-1001" y="11678"/>
                      <a:pt x="1930" y="16762"/>
                      <a:pt x="6834" y="18078"/>
                    </a:cubicBezTo>
                    <a:close/>
                  </a:path>
                </a:pathLst>
              </a:custGeom>
              <a:grpFill/>
              <a:ln w="5978" cap="flat">
                <a:noFill/>
                <a:prstDash val="solid"/>
                <a:miter/>
              </a:ln>
            </p:spPr>
            <p:txBody>
              <a:bodyPr rtlCol="0" anchor="ctr"/>
              <a:lstStyle/>
              <a:p>
                <a:endParaRPr lang="en-GB"/>
              </a:p>
            </p:txBody>
          </p:sp>
        </p:grpSp>
        <p:grpSp>
          <p:nvGrpSpPr>
            <p:cNvPr id="221" name="Graphic 3">
              <a:extLst>
                <a:ext uri="{FF2B5EF4-FFF2-40B4-BE49-F238E27FC236}">
                  <a16:creationId xmlns:a16="http://schemas.microsoft.com/office/drawing/2014/main" id="{7B3E8599-148F-41AE-A7EB-6D2176D4C15E}"/>
                </a:ext>
              </a:extLst>
            </p:cNvPr>
            <p:cNvGrpSpPr/>
            <p:nvPr/>
          </p:nvGrpSpPr>
          <p:grpSpPr>
            <a:xfrm>
              <a:off x="7185485" y="1669739"/>
              <a:ext cx="78433" cy="105438"/>
              <a:chOff x="7185485" y="1669739"/>
              <a:chExt cx="78433" cy="105438"/>
            </a:xfrm>
            <a:grpFill/>
          </p:grpSpPr>
          <p:sp>
            <p:nvSpPr>
              <p:cNvPr id="4716" name="Vrije vorm: vorm 4715">
                <a:extLst>
                  <a:ext uri="{FF2B5EF4-FFF2-40B4-BE49-F238E27FC236}">
                    <a16:creationId xmlns:a16="http://schemas.microsoft.com/office/drawing/2014/main" id="{647E69B8-B148-4AD6-A34E-57653489DBC1}"/>
                  </a:ext>
                </a:extLst>
              </p:cNvPr>
              <p:cNvSpPr/>
              <p:nvPr/>
            </p:nvSpPr>
            <p:spPr>
              <a:xfrm>
                <a:off x="7193154" y="1677692"/>
                <a:ext cx="63096" cy="89531"/>
              </a:xfrm>
              <a:custGeom>
                <a:avLst/>
                <a:gdLst>
                  <a:gd name="connsiteX0" fmla="*/ 63096 w 63096"/>
                  <a:gd name="connsiteY0" fmla="*/ 1734 h 89531"/>
                  <a:gd name="connsiteX1" fmla="*/ 2511 w 63096"/>
                  <a:gd name="connsiteY1" fmla="*/ 89531 h 89531"/>
                  <a:gd name="connsiteX2" fmla="*/ 0 w 63096"/>
                  <a:gd name="connsiteY2" fmla="*/ 87797 h 89531"/>
                  <a:gd name="connsiteX3" fmla="*/ 60585 w 63096"/>
                  <a:gd name="connsiteY3" fmla="*/ 0 h 89531"/>
                </a:gdLst>
                <a:ahLst/>
                <a:cxnLst>
                  <a:cxn ang="0">
                    <a:pos x="connsiteX0" y="connsiteY0"/>
                  </a:cxn>
                  <a:cxn ang="0">
                    <a:pos x="connsiteX1" y="connsiteY1"/>
                  </a:cxn>
                  <a:cxn ang="0">
                    <a:pos x="connsiteX2" y="connsiteY2"/>
                  </a:cxn>
                  <a:cxn ang="0">
                    <a:pos x="connsiteX3" y="connsiteY3"/>
                  </a:cxn>
                </a:cxnLst>
                <a:rect l="l" t="t" r="r" b="b"/>
                <a:pathLst>
                  <a:path w="63096" h="89531">
                    <a:moveTo>
                      <a:pt x="63096" y="1734"/>
                    </a:moveTo>
                    <a:lnTo>
                      <a:pt x="2511" y="89531"/>
                    </a:lnTo>
                    <a:lnTo>
                      <a:pt x="0" y="87797"/>
                    </a:lnTo>
                    <a:lnTo>
                      <a:pt x="60585" y="0"/>
                    </a:lnTo>
                    <a:close/>
                  </a:path>
                </a:pathLst>
              </a:custGeom>
              <a:grpFill/>
              <a:ln w="5978" cap="flat">
                <a:noFill/>
                <a:prstDash val="solid"/>
                <a:miter/>
              </a:ln>
            </p:spPr>
            <p:txBody>
              <a:bodyPr rtlCol="0" anchor="ctr"/>
              <a:lstStyle/>
              <a:p>
                <a:endParaRPr lang="en-GB"/>
              </a:p>
            </p:txBody>
          </p:sp>
          <p:sp>
            <p:nvSpPr>
              <p:cNvPr id="4717" name="Vrije vorm: vorm 4716">
                <a:extLst>
                  <a:ext uri="{FF2B5EF4-FFF2-40B4-BE49-F238E27FC236}">
                    <a16:creationId xmlns:a16="http://schemas.microsoft.com/office/drawing/2014/main" id="{7DD0A631-E961-4DCF-AC05-D3DD6B501918}"/>
                  </a:ext>
                </a:extLst>
              </p:cNvPr>
              <p:cNvSpPr/>
              <p:nvPr/>
            </p:nvSpPr>
            <p:spPr>
              <a:xfrm>
                <a:off x="7185485" y="1756758"/>
                <a:ext cx="18353" cy="18419"/>
              </a:xfrm>
              <a:custGeom>
                <a:avLst/>
                <a:gdLst>
                  <a:gd name="connsiteX0" fmla="*/ 16700 w 18353"/>
                  <a:gd name="connsiteY0" fmla="*/ 14473 h 18419"/>
                  <a:gd name="connsiteX1" fmla="*/ 3961 w 18353"/>
                  <a:gd name="connsiteY1" fmla="*/ 16745 h 18419"/>
                  <a:gd name="connsiteX2" fmla="*/ 1628 w 18353"/>
                  <a:gd name="connsiteY2" fmla="*/ 3947 h 18419"/>
                  <a:gd name="connsiteX3" fmla="*/ 14367 w 18353"/>
                  <a:gd name="connsiteY3" fmla="*/ 1674 h 18419"/>
                  <a:gd name="connsiteX4" fmla="*/ 16700 w 18353"/>
                  <a:gd name="connsiteY4" fmla="*/ 14473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9">
                    <a:moveTo>
                      <a:pt x="16700" y="14473"/>
                    </a:moveTo>
                    <a:cubicBezTo>
                      <a:pt x="13829" y="18659"/>
                      <a:pt x="8087" y="19676"/>
                      <a:pt x="3961" y="16745"/>
                    </a:cubicBezTo>
                    <a:cubicBezTo>
                      <a:pt x="-226" y="13815"/>
                      <a:pt x="-1243" y="8073"/>
                      <a:pt x="1628" y="3947"/>
                    </a:cubicBezTo>
                    <a:cubicBezTo>
                      <a:pt x="4499" y="-240"/>
                      <a:pt x="10240" y="-1257"/>
                      <a:pt x="14367" y="1674"/>
                    </a:cubicBezTo>
                    <a:cubicBezTo>
                      <a:pt x="18553" y="4604"/>
                      <a:pt x="19630" y="10346"/>
                      <a:pt x="16700" y="14473"/>
                    </a:cubicBezTo>
                    <a:close/>
                  </a:path>
                </a:pathLst>
              </a:custGeom>
              <a:grpFill/>
              <a:ln w="5978" cap="flat">
                <a:noFill/>
                <a:prstDash val="solid"/>
                <a:miter/>
              </a:ln>
            </p:spPr>
            <p:txBody>
              <a:bodyPr rtlCol="0" anchor="ctr"/>
              <a:lstStyle/>
              <a:p>
                <a:endParaRPr lang="en-GB"/>
              </a:p>
            </p:txBody>
          </p:sp>
          <p:sp>
            <p:nvSpPr>
              <p:cNvPr id="4718" name="Vrije vorm: vorm 4717">
                <a:extLst>
                  <a:ext uri="{FF2B5EF4-FFF2-40B4-BE49-F238E27FC236}">
                    <a16:creationId xmlns:a16="http://schemas.microsoft.com/office/drawing/2014/main" id="{D853FD72-B774-4ABB-82BE-0F512F36BDFC}"/>
                  </a:ext>
                </a:extLst>
              </p:cNvPr>
              <p:cNvSpPr/>
              <p:nvPr/>
            </p:nvSpPr>
            <p:spPr>
              <a:xfrm>
                <a:off x="7245591" y="1669739"/>
                <a:ext cx="18327" cy="18419"/>
              </a:xfrm>
              <a:custGeom>
                <a:avLst/>
                <a:gdLst>
                  <a:gd name="connsiteX0" fmla="*/ 16699 w 18327"/>
                  <a:gd name="connsiteY0" fmla="*/ 14473 h 18419"/>
                  <a:gd name="connsiteX1" fmla="*/ 14367 w 18327"/>
                  <a:gd name="connsiteY1" fmla="*/ 1674 h 18419"/>
                  <a:gd name="connsiteX2" fmla="*/ 1628 w 18327"/>
                  <a:gd name="connsiteY2" fmla="*/ 3947 h 18419"/>
                  <a:gd name="connsiteX3" fmla="*/ 3960 w 18327"/>
                  <a:gd name="connsiteY3" fmla="*/ 16745 h 18419"/>
                  <a:gd name="connsiteX4" fmla="*/ 16699 w 18327"/>
                  <a:gd name="connsiteY4" fmla="*/ 14473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699" y="14473"/>
                    </a:moveTo>
                    <a:cubicBezTo>
                      <a:pt x="19571" y="10286"/>
                      <a:pt x="18554" y="4545"/>
                      <a:pt x="14367" y="1674"/>
                    </a:cubicBezTo>
                    <a:cubicBezTo>
                      <a:pt x="10180" y="-1257"/>
                      <a:pt x="4499" y="-240"/>
                      <a:pt x="1628" y="3947"/>
                    </a:cubicBezTo>
                    <a:cubicBezTo>
                      <a:pt x="-1243" y="8133"/>
                      <a:pt x="-226" y="13875"/>
                      <a:pt x="3960" y="16745"/>
                    </a:cubicBezTo>
                    <a:cubicBezTo>
                      <a:pt x="8087" y="19676"/>
                      <a:pt x="13829" y="18659"/>
                      <a:pt x="16699" y="14473"/>
                    </a:cubicBezTo>
                    <a:close/>
                  </a:path>
                </a:pathLst>
              </a:custGeom>
              <a:grpFill/>
              <a:ln w="5978" cap="flat">
                <a:noFill/>
                <a:prstDash val="solid"/>
                <a:miter/>
              </a:ln>
            </p:spPr>
            <p:txBody>
              <a:bodyPr rtlCol="0" anchor="ctr"/>
              <a:lstStyle/>
              <a:p>
                <a:endParaRPr lang="en-GB"/>
              </a:p>
            </p:txBody>
          </p:sp>
        </p:grpSp>
        <p:grpSp>
          <p:nvGrpSpPr>
            <p:cNvPr id="222" name="Graphic 3">
              <a:extLst>
                <a:ext uri="{FF2B5EF4-FFF2-40B4-BE49-F238E27FC236}">
                  <a16:creationId xmlns:a16="http://schemas.microsoft.com/office/drawing/2014/main" id="{25BF5A8E-DABF-44C8-9C7C-3C9B3E85FFD0}"/>
                </a:ext>
              </a:extLst>
            </p:cNvPr>
            <p:cNvGrpSpPr/>
            <p:nvPr/>
          </p:nvGrpSpPr>
          <p:grpSpPr>
            <a:xfrm>
              <a:off x="7444175" y="2438932"/>
              <a:ext cx="59981" cy="46502"/>
              <a:chOff x="7444175" y="2438932"/>
              <a:chExt cx="59981" cy="46502"/>
            </a:xfrm>
            <a:grpFill/>
          </p:grpSpPr>
          <p:sp>
            <p:nvSpPr>
              <p:cNvPr id="4713" name="Vrije vorm: vorm 4712">
                <a:extLst>
                  <a:ext uri="{FF2B5EF4-FFF2-40B4-BE49-F238E27FC236}">
                    <a16:creationId xmlns:a16="http://schemas.microsoft.com/office/drawing/2014/main" id="{39B3C4FA-E16B-45FF-9B58-4A1D328AD6DA}"/>
                  </a:ext>
                </a:extLst>
              </p:cNvPr>
              <p:cNvSpPr/>
              <p:nvPr/>
            </p:nvSpPr>
            <p:spPr>
              <a:xfrm>
                <a:off x="7452118" y="2446634"/>
                <a:ext cx="44077" cy="31039"/>
              </a:xfrm>
              <a:custGeom>
                <a:avLst/>
                <a:gdLst>
                  <a:gd name="connsiteX0" fmla="*/ 44078 w 44077"/>
                  <a:gd name="connsiteY0" fmla="*/ 2572 h 31039"/>
                  <a:gd name="connsiteX1" fmla="*/ 1675 w 44077"/>
                  <a:gd name="connsiteY1" fmla="*/ 31040 h 31039"/>
                  <a:gd name="connsiteX2" fmla="*/ 0 w 44077"/>
                  <a:gd name="connsiteY2" fmla="*/ 28528 h 31039"/>
                  <a:gd name="connsiteX3" fmla="*/ 42404 w 44077"/>
                  <a:gd name="connsiteY3" fmla="*/ 0 h 31039"/>
                </a:gdLst>
                <a:ahLst/>
                <a:cxnLst>
                  <a:cxn ang="0">
                    <a:pos x="connsiteX0" y="connsiteY0"/>
                  </a:cxn>
                  <a:cxn ang="0">
                    <a:pos x="connsiteX1" y="connsiteY1"/>
                  </a:cxn>
                  <a:cxn ang="0">
                    <a:pos x="connsiteX2" y="connsiteY2"/>
                  </a:cxn>
                  <a:cxn ang="0">
                    <a:pos x="connsiteX3" y="connsiteY3"/>
                  </a:cxn>
                </a:cxnLst>
                <a:rect l="l" t="t" r="r" b="b"/>
                <a:pathLst>
                  <a:path w="44077" h="31039">
                    <a:moveTo>
                      <a:pt x="44078" y="2572"/>
                    </a:moveTo>
                    <a:lnTo>
                      <a:pt x="1675" y="31040"/>
                    </a:lnTo>
                    <a:lnTo>
                      <a:pt x="0" y="28528"/>
                    </a:lnTo>
                    <a:lnTo>
                      <a:pt x="42404" y="0"/>
                    </a:lnTo>
                    <a:close/>
                  </a:path>
                </a:pathLst>
              </a:custGeom>
              <a:grpFill/>
              <a:ln w="5978" cap="flat">
                <a:noFill/>
                <a:prstDash val="solid"/>
                <a:miter/>
              </a:ln>
            </p:spPr>
            <p:txBody>
              <a:bodyPr rtlCol="0" anchor="ctr"/>
              <a:lstStyle/>
              <a:p>
                <a:endParaRPr lang="en-GB"/>
              </a:p>
            </p:txBody>
          </p:sp>
          <p:sp>
            <p:nvSpPr>
              <p:cNvPr id="4714" name="Vrije vorm: vorm 4713">
                <a:extLst>
                  <a:ext uri="{FF2B5EF4-FFF2-40B4-BE49-F238E27FC236}">
                    <a16:creationId xmlns:a16="http://schemas.microsoft.com/office/drawing/2014/main" id="{0A2E4E82-3404-4BCA-9AD9-99CF1BAE75E7}"/>
                  </a:ext>
                </a:extLst>
              </p:cNvPr>
              <p:cNvSpPr/>
              <p:nvPr/>
            </p:nvSpPr>
            <p:spPr>
              <a:xfrm>
                <a:off x="7485774" y="2438932"/>
                <a:ext cx="18381" cy="18453"/>
              </a:xfrm>
              <a:custGeom>
                <a:avLst/>
                <a:gdLst>
                  <a:gd name="connsiteX0" fmla="*/ 4083 w 18381"/>
                  <a:gd name="connsiteY0" fmla="*/ 1541 h 18453"/>
                  <a:gd name="connsiteX1" fmla="*/ 16822 w 18381"/>
                  <a:gd name="connsiteY1" fmla="*/ 4113 h 18453"/>
                  <a:gd name="connsiteX2" fmla="*/ 14310 w 18381"/>
                  <a:gd name="connsiteY2" fmla="*/ 16912 h 18453"/>
                  <a:gd name="connsiteX3" fmla="*/ 1571 w 18381"/>
                  <a:gd name="connsiteY3" fmla="*/ 14340 h 18453"/>
                  <a:gd name="connsiteX4" fmla="*/ 4083 w 18381"/>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53">
                    <a:moveTo>
                      <a:pt x="4083" y="1541"/>
                    </a:moveTo>
                    <a:cubicBezTo>
                      <a:pt x="8269" y="-1270"/>
                      <a:pt x="13951" y="-133"/>
                      <a:pt x="16822" y="4113"/>
                    </a:cubicBezTo>
                    <a:cubicBezTo>
                      <a:pt x="19632" y="8359"/>
                      <a:pt x="18556" y="14041"/>
                      <a:pt x="14310" y="16912"/>
                    </a:cubicBezTo>
                    <a:cubicBezTo>
                      <a:pt x="10123" y="19723"/>
                      <a:pt x="4441" y="18587"/>
                      <a:pt x="1571" y="14340"/>
                    </a:cubicBezTo>
                    <a:cubicBezTo>
                      <a:pt x="-1300" y="10094"/>
                      <a:pt x="-103" y="4412"/>
                      <a:pt x="4083" y="1541"/>
                    </a:cubicBezTo>
                    <a:close/>
                  </a:path>
                </a:pathLst>
              </a:custGeom>
              <a:grpFill/>
              <a:ln w="5978" cap="flat">
                <a:noFill/>
                <a:prstDash val="solid"/>
                <a:miter/>
              </a:ln>
            </p:spPr>
            <p:txBody>
              <a:bodyPr rtlCol="0" anchor="ctr"/>
              <a:lstStyle/>
              <a:p>
                <a:endParaRPr lang="en-GB"/>
              </a:p>
            </p:txBody>
          </p:sp>
          <p:sp>
            <p:nvSpPr>
              <p:cNvPr id="4715" name="Vrije vorm: vorm 4714">
                <a:extLst>
                  <a:ext uri="{FF2B5EF4-FFF2-40B4-BE49-F238E27FC236}">
                    <a16:creationId xmlns:a16="http://schemas.microsoft.com/office/drawing/2014/main" id="{AF56CAAA-9E6B-460A-A5FC-D367C31AE6A6}"/>
                  </a:ext>
                </a:extLst>
              </p:cNvPr>
              <p:cNvSpPr/>
              <p:nvPr/>
            </p:nvSpPr>
            <p:spPr>
              <a:xfrm>
                <a:off x="7444175" y="2466940"/>
                <a:ext cx="18339" cy="18495"/>
              </a:xfrm>
              <a:custGeom>
                <a:avLst/>
                <a:gdLst>
                  <a:gd name="connsiteX0" fmla="*/ 4057 w 18339"/>
                  <a:gd name="connsiteY0" fmla="*/ 1583 h 18495"/>
                  <a:gd name="connsiteX1" fmla="*/ 1544 w 18339"/>
                  <a:gd name="connsiteY1" fmla="*/ 14382 h 18495"/>
                  <a:gd name="connsiteX2" fmla="*/ 14283 w 18339"/>
                  <a:gd name="connsiteY2" fmla="*/ 16954 h 18495"/>
                  <a:gd name="connsiteX3" fmla="*/ 16796 w 18339"/>
                  <a:gd name="connsiteY3" fmla="*/ 4155 h 18495"/>
                  <a:gd name="connsiteX4" fmla="*/ 4057 w 18339"/>
                  <a:gd name="connsiteY4" fmla="*/ 1583 h 18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95">
                    <a:moveTo>
                      <a:pt x="4057" y="1583"/>
                    </a:moveTo>
                    <a:cubicBezTo>
                      <a:pt x="-130" y="4394"/>
                      <a:pt x="-1266" y="10136"/>
                      <a:pt x="1544" y="14382"/>
                    </a:cubicBezTo>
                    <a:cubicBezTo>
                      <a:pt x="4355" y="18628"/>
                      <a:pt x="10097" y="19765"/>
                      <a:pt x="14283" y="16954"/>
                    </a:cubicBezTo>
                    <a:cubicBezTo>
                      <a:pt x="18470" y="14143"/>
                      <a:pt x="19606" y="8401"/>
                      <a:pt x="16796" y="4155"/>
                    </a:cubicBezTo>
                    <a:cubicBezTo>
                      <a:pt x="13924" y="-151"/>
                      <a:pt x="8243" y="-1287"/>
                      <a:pt x="4057" y="1583"/>
                    </a:cubicBezTo>
                    <a:close/>
                  </a:path>
                </a:pathLst>
              </a:custGeom>
              <a:grpFill/>
              <a:ln w="5978" cap="flat">
                <a:noFill/>
                <a:prstDash val="solid"/>
                <a:miter/>
              </a:ln>
            </p:spPr>
            <p:txBody>
              <a:bodyPr rtlCol="0" anchor="ctr"/>
              <a:lstStyle/>
              <a:p>
                <a:endParaRPr lang="en-GB"/>
              </a:p>
            </p:txBody>
          </p:sp>
        </p:grpSp>
        <p:grpSp>
          <p:nvGrpSpPr>
            <p:cNvPr id="223" name="Graphic 3">
              <a:extLst>
                <a:ext uri="{FF2B5EF4-FFF2-40B4-BE49-F238E27FC236}">
                  <a16:creationId xmlns:a16="http://schemas.microsoft.com/office/drawing/2014/main" id="{96CEEF0D-4D37-4DB3-BEA1-598B927F9616}"/>
                </a:ext>
              </a:extLst>
            </p:cNvPr>
            <p:cNvGrpSpPr/>
            <p:nvPr/>
          </p:nvGrpSpPr>
          <p:grpSpPr>
            <a:xfrm>
              <a:off x="7201354" y="1881497"/>
              <a:ext cx="191583" cy="217376"/>
              <a:chOff x="7201354" y="1881497"/>
              <a:chExt cx="191583" cy="217376"/>
            </a:xfrm>
            <a:grpFill/>
          </p:grpSpPr>
          <p:sp>
            <p:nvSpPr>
              <p:cNvPr id="4710" name="Vrije vorm: vorm 4709">
                <a:extLst>
                  <a:ext uri="{FF2B5EF4-FFF2-40B4-BE49-F238E27FC236}">
                    <a16:creationId xmlns:a16="http://schemas.microsoft.com/office/drawing/2014/main" id="{FD7694FB-BCCB-46BB-A967-7806F26AA78F}"/>
                  </a:ext>
                </a:extLst>
              </p:cNvPr>
              <p:cNvSpPr/>
              <p:nvPr/>
            </p:nvSpPr>
            <p:spPr>
              <a:xfrm>
                <a:off x="7209122" y="1889350"/>
                <a:ext cx="176132" cy="201729"/>
              </a:xfrm>
              <a:custGeom>
                <a:avLst/>
                <a:gdLst>
                  <a:gd name="connsiteX0" fmla="*/ 176133 w 176132"/>
                  <a:gd name="connsiteY0" fmla="*/ 2034 h 201729"/>
                  <a:gd name="connsiteX1" fmla="*/ 2273 w 176132"/>
                  <a:gd name="connsiteY1" fmla="*/ 201730 h 201729"/>
                  <a:gd name="connsiteX2" fmla="*/ 0 w 176132"/>
                  <a:gd name="connsiteY2" fmla="*/ 199696 h 201729"/>
                  <a:gd name="connsiteX3" fmla="*/ 173800 w 176132"/>
                  <a:gd name="connsiteY3" fmla="*/ 0 h 201729"/>
                </a:gdLst>
                <a:ahLst/>
                <a:cxnLst>
                  <a:cxn ang="0">
                    <a:pos x="connsiteX0" y="connsiteY0"/>
                  </a:cxn>
                  <a:cxn ang="0">
                    <a:pos x="connsiteX1" y="connsiteY1"/>
                  </a:cxn>
                  <a:cxn ang="0">
                    <a:pos x="connsiteX2" y="connsiteY2"/>
                  </a:cxn>
                  <a:cxn ang="0">
                    <a:pos x="connsiteX3" y="connsiteY3"/>
                  </a:cxn>
                </a:cxnLst>
                <a:rect l="l" t="t" r="r" b="b"/>
                <a:pathLst>
                  <a:path w="176132" h="201729">
                    <a:moveTo>
                      <a:pt x="176133" y="2034"/>
                    </a:moveTo>
                    <a:lnTo>
                      <a:pt x="2273" y="201730"/>
                    </a:lnTo>
                    <a:lnTo>
                      <a:pt x="0" y="199696"/>
                    </a:lnTo>
                    <a:lnTo>
                      <a:pt x="173800" y="0"/>
                    </a:lnTo>
                    <a:close/>
                  </a:path>
                </a:pathLst>
              </a:custGeom>
              <a:grpFill/>
              <a:ln w="5978" cap="flat">
                <a:noFill/>
                <a:prstDash val="solid"/>
                <a:miter/>
              </a:ln>
            </p:spPr>
            <p:txBody>
              <a:bodyPr rtlCol="0" anchor="ctr"/>
              <a:lstStyle/>
              <a:p>
                <a:endParaRPr lang="en-GB"/>
              </a:p>
            </p:txBody>
          </p:sp>
          <p:sp>
            <p:nvSpPr>
              <p:cNvPr id="4711" name="Vrije vorm: vorm 4710">
                <a:extLst>
                  <a:ext uri="{FF2B5EF4-FFF2-40B4-BE49-F238E27FC236}">
                    <a16:creationId xmlns:a16="http://schemas.microsoft.com/office/drawing/2014/main" id="{9D543DFF-2136-4CCB-9093-4FABDF4F63E6}"/>
                  </a:ext>
                </a:extLst>
              </p:cNvPr>
              <p:cNvSpPr/>
              <p:nvPr/>
            </p:nvSpPr>
            <p:spPr>
              <a:xfrm>
                <a:off x="7374616" y="1881497"/>
                <a:ext cx="18321" cy="18398"/>
              </a:xfrm>
              <a:custGeom>
                <a:avLst/>
                <a:gdLst>
                  <a:gd name="connsiteX0" fmla="*/ 2265 w 18321"/>
                  <a:gd name="connsiteY0" fmla="*/ 3129 h 18398"/>
                  <a:gd name="connsiteX1" fmla="*/ 15184 w 18321"/>
                  <a:gd name="connsiteY1" fmla="*/ 2291 h 18398"/>
                  <a:gd name="connsiteX2" fmla="*/ 16081 w 18321"/>
                  <a:gd name="connsiteY2" fmla="*/ 15269 h 18398"/>
                  <a:gd name="connsiteX3" fmla="*/ 3162 w 18321"/>
                  <a:gd name="connsiteY3" fmla="*/ 16107 h 18398"/>
                  <a:gd name="connsiteX4" fmla="*/ 2265 w 18321"/>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98">
                    <a:moveTo>
                      <a:pt x="2265" y="3129"/>
                    </a:moveTo>
                    <a:cubicBezTo>
                      <a:pt x="5615" y="-699"/>
                      <a:pt x="11356" y="-1058"/>
                      <a:pt x="15184" y="2291"/>
                    </a:cubicBezTo>
                    <a:cubicBezTo>
                      <a:pt x="19011" y="5641"/>
                      <a:pt x="19370" y="11442"/>
                      <a:pt x="16081" y="15269"/>
                    </a:cubicBezTo>
                    <a:cubicBezTo>
                      <a:pt x="12731" y="19097"/>
                      <a:pt x="6990" y="19456"/>
                      <a:pt x="3162" y="16107"/>
                    </a:cubicBezTo>
                    <a:cubicBezTo>
                      <a:pt x="-665" y="12758"/>
                      <a:pt x="-1084" y="6956"/>
                      <a:pt x="2265" y="3129"/>
                    </a:cubicBezTo>
                    <a:close/>
                  </a:path>
                </a:pathLst>
              </a:custGeom>
              <a:grpFill/>
              <a:ln w="5978" cap="flat">
                <a:noFill/>
                <a:prstDash val="solid"/>
                <a:miter/>
              </a:ln>
            </p:spPr>
            <p:txBody>
              <a:bodyPr rtlCol="0" anchor="ctr"/>
              <a:lstStyle/>
              <a:p>
                <a:endParaRPr lang="en-GB"/>
              </a:p>
            </p:txBody>
          </p:sp>
          <p:sp>
            <p:nvSpPr>
              <p:cNvPr id="4712" name="Vrije vorm: vorm 4711">
                <a:extLst>
                  <a:ext uri="{FF2B5EF4-FFF2-40B4-BE49-F238E27FC236}">
                    <a16:creationId xmlns:a16="http://schemas.microsoft.com/office/drawing/2014/main" id="{A3953F85-0588-4409-B9A3-28323C0E5A51}"/>
                  </a:ext>
                </a:extLst>
              </p:cNvPr>
              <p:cNvSpPr/>
              <p:nvPr/>
            </p:nvSpPr>
            <p:spPr>
              <a:xfrm>
                <a:off x="7201354" y="2080475"/>
                <a:ext cx="18346" cy="18398"/>
              </a:xfrm>
              <a:custGeom>
                <a:avLst/>
                <a:gdLst>
                  <a:gd name="connsiteX0" fmla="*/ 2265 w 18346"/>
                  <a:gd name="connsiteY0" fmla="*/ 3129 h 18398"/>
                  <a:gd name="connsiteX1" fmla="*/ 3163 w 18346"/>
                  <a:gd name="connsiteY1" fmla="*/ 16107 h 18398"/>
                  <a:gd name="connsiteX2" fmla="*/ 16081 w 18346"/>
                  <a:gd name="connsiteY2" fmla="*/ 15270 h 18398"/>
                  <a:gd name="connsiteX3" fmla="*/ 15184 w 18346"/>
                  <a:gd name="connsiteY3" fmla="*/ 2291 h 18398"/>
                  <a:gd name="connsiteX4" fmla="*/ 2265 w 18346"/>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8">
                    <a:moveTo>
                      <a:pt x="2265" y="3129"/>
                    </a:moveTo>
                    <a:cubicBezTo>
                      <a:pt x="-1084" y="6956"/>
                      <a:pt x="-665" y="12758"/>
                      <a:pt x="3163" y="16107"/>
                    </a:cubicBezTo>
                    <a:cubicBezTo>
                      <a:pt x="6990" y="19456"/>
                      <a:pt x="12792" y="19097"/>
                      <a:pt x="16081" y="15270"/>
                    </a:cubicBezTo>
                    <a:cubicBezTo>
                      <a:pt x="19430" y="11442"/>
                      <a:pt x="19011" y="5641"/>
                      <a:pt x="15184" y="2291"/>
                    </a:cubicBezTo>
                    <a:cubicBezTo>
                      <a:pt x="11416" y="-1058"/>
                      <a:pt x="5614" y="-699"/>
                      <a:pt x="2265" y="3129"/>
                    </a:cubicBezTo>
                    <a:close/>
                  </a:path>
                </a:pathLst>
              </a:custGeom>
              <a:grpFill/>
              <a:ln w="5978" cap="flat">
                <a:noFill/>
                <a:prstDash val="solid"/>
                <a:miter/>
              </a:ln>
            </p:spPr>
            <p:txBody>
              <a:bodyPr rtlCol="0" anchor="ctr"/>
              <a:lstStyle/>
              <a:p>
                <a:endParaRPr lang="en-GB"/>
              </a:p>
            </p:txBody>
          </p:sp>
        </p:grpSp>
        <p:grpSp>
          <p:nvGrpSpPr>
            <p:cNvPr id="224" name="Graphic 3">
              <a:extLst>
                <a:ext uri="{FF2B5EF4-FFF2-40B4-BE49-F238E27FC236}">
                  <a16:creationId xmlns:a16="http://schemas.microsoft.com/office/drawing/2014/main" id="{25874EE9-6119-4FF8-8668-7DACA6DED71D}"/>
                </a:ext>
              </a:extLst>
            </p:cNvPr>
            <p:cNvGrpSpPr/>
            <p:nvPr/>
          </p:nvGrpSpPr>
          <p:grpSpPr>
            <a:xfrm>
              <a:off x="7283902" y="2137242"/>
              <a:ext cx="165720" cy="153626"/>
              <a:chOff x="7283902" y="2137242"/>
              <a:chExt cx="165720" cy="153626"/>
            </a:xfrm>
            <a:grpFill/>
          </p:grpSpPr>
          <p:sp>
            <p:nvSpPr>
              <p:cNvPr id="4707" name="Vrije vorm: vorm 4706">
                <a:extLst>
                  <a:ext uri="{FF2B5EF4-FFF2-40B4-BE49-F238E27FC236}">
                    <a16:creationId xmlns:a16="http://schemas.microsoft.com/office/drawing/2014/main" id="{FFFDF240-4421-47E8-9D68-6CDA738794F0}"/>
                  </a:ext>
                </a:extLst>
              </p:cNvPr>
              <p:cNvSpPr/>
              <p:nvPr/>
            </p:nvSpPr>
            <p:spPr>
              <a:xfrm>
                <a:off x="7291716" y="2145026"/>
                <a:ext cx="150056" cy="138035"/>
              </a:xfrm>
              <a:custGeom>
                <a:avLst/>
                <a:gdLst>
                  <a:gd name="connsiteX0" fmla="*/ 150056 w 150056"/>
                  <a:gd name="connsiteY0" fmla="*/ 2273 h 138035"/>
                  <a:gd name="connsiteX1" fmla="*/ 2033 w 150056"/>
                  <a:gd name="connsiteY1" fmla="*/ 138035 h 138035"/>
                  <a:gd name="connsiteX2" fmla="*/ 0 w 150056"/>
                  <a:gd name="connsiteY2" fmla="*/ 135762 h 138035"/>
                  <a:gd name="connsiteX3" fmla="*/ 148023 w 150056"/>
                  <a:gd name="connsiteY3" fmla="*/ 0 h 138035"/>
                </a:gdLst>
                <a:ahLst/>
                <a:cxnLst>
                  <a:cxn ang="0">
                    <a:pos x="connsiteX0" y="connsiteY0"/>
                  </a:cxn>
                  <a:cxn ang="0">
                    <a:pos x="connsiteX1" y="connsiteY1"/>
                  </a:cxn>
                  <a:cxn ang="0">
                    <a:pos x="connsiteX2" y="connsiteY2"/>
                  </a:cxn>
                  <a:cxn ang="0">
                    <a:pos x="connsiteX3" y="connsiteY3"/>
                  </a:cxn>
                </a:cxnLst>
                <a:rect l="l" t="t" r="r" b="b"/>
                <a:pathLst>
                  <a:path w="150056" h="138035">
                    <a:moveTo>
                      <a:pt x="150056" y="2273"/>
                    </a:moveTo>
                    <a:lnTo>
                      <a:pt x="2033" y="138035"/>
                    </a:lnTo>
                    <a:lnTo>
                      <a:pt x="0" y="135762"/>
                    </a:lnTo>
                    <a:lnTo>
                      <a:pt x="148023" y="0"/>
                    </a:lnTo>
                    <a:close/>
                  </a:path>
                </a:pathLst>
              </a:custGeom>
              <a:grpFill/>
              <a:ln w="5978" cap="flat">
                <a:noFill/>
                <a:prstDash val="solid"/>
                <a:miter/>
              </a:ln>
            </p:spPr>
            <p:txBody>
              <a:bodyPr rtlCol="0" anchor="ctr"/>
              <a:lstStyle/>
              <a:p>
                <a:endParaRPr lang="en-GB"/>
              </a:p>
            </p:txBody>
          </p:sp>
          <p:sp>
            <p:nvSpPr>
              <p:cNvPr id="4708" name="Vrije vorm: vorm 4707">
                <a:extLst>
                  <a:ext uri="{FF2B5EF4-FFF2-40B4-BE49-F238E27FC236}">
                    <a16:creationId xmlns:a16="http://schemas.microsoft.com/office/drawing/2014/main" id="{E117930E-0012-491C-AEDD-CE1CF061C625}"/>
                  </a:ext>
                </a:extLst>
              </p:cNvPr>
              <p:cNvSpPr/>
              <p:nvPr/>
            </p:nvSpPr>
            <p:spPr>
              <a:xfrm>
                <a:off x="7431254" y="2137242"/>
                <a:ext cx="18367" cy="18438"/>
              </a:xfrm>
              <a:custGeom>
                <a:avLst/>
                <a:gdLst>
                  <a:gd name="connsiteX0" fmla="*/ 2982 w 18367"/>
                  <a:gd name="connsiteY0" fmla="*/ 2401 h 18438"/>
                  <a:gd name="connsiteX1" fmla="*/ 15960 w 18367"/>
                  <a:gd name="connsiteY1" fmla="*/ 3000 h 18438"/>
                  <a:gd name="connsiteX2" fmla="*/ 15422 w 18367"/>
                  <a:gd name="connsiteY2" fmla="*/ 16037 h 18438"/>
                  <a:gd name="connsiteX3" fmla="*/ 2504 w 18367"/>
                  <a:gd name="connsiteY3" fmla="*/ 15439 h 18438"/>
                  <a:gd name="connsiteX4" fmla="*/ 2982 w 18367"/>
                  <a:gd name="connsiteY4" fmla="*/ 24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38">
                    <a:moveTo>
                      <a:pt x="2982" y="2401"/>
                    </a:moveTo>
                    <a:cubicBezTo>
                      <a:pt x="6690" y="-1008"/>
                      <a:pt x="12492" y="-768"/>
                      <a:pt x="15960" y="3000"/>
                    </a:cubicBezTo>
                    <a:cubicBezTo>
                      <a:pt x="19369" y="6767"/>
                      <a:pt x="19130" y="12569"/>
                      <a:pt x="15422" y="16037"/>
                    </a:cubicBezTo>
                    <a:cubicBezTo>
                      <a:pt x="11714" y="19447"/>
                      <a:pt x="5912" y="19207"/>
                      <a:pt x="2504" y="15439"/>
                    </a:cubicBezTo>
                    <a:cubicBezTo>
                      <a:pt x="-1025" y="11672"/>
                      <a:pt x="-786" y="5810"/>
                      <a:pt x="2982" y="2401"/>
                    </a:cubicBezTo>
                    <a:close/>
                  </a:path>
                </a:pathLst>
              </a:custGeom>
              <a:grpFill/>
              <a:ln w="5978" cap="flat">
                <a:noFill/>
                <a:prstDash val="solid"/>
                <a:miter/>
              </a:ln>
            </p:spPr>
            <p:txBody>
              <a:bodyPr rtlCol="0" anchor="ctr"/>
              <a:lstStyle/>
              <a:p>
                <a:endParaRPr lang="en-GB"/>
              </a:p>
            </p:txBody>
          </p:sp>
          <p:sp>
            <p:nvSpPr>
              <p:cNvPr id="4709" name="Vrije vorm: vorm 4708">
                <a:extLst>
                  <a:ext uri="{FF2B5EF4-FFF2-40B4-BE49-F238E27FC236}">
                    <a16:creationId xmlns:a16="http://schemas.microsoft.com/office/drawing/2014/main" id="{FB7A7D52-58B9-4475-979B-F477D05322A5}"/>
                  </a:ext>
                </a:extLst>
              </p:cNvPr>
              <p:cNvSpPr/>
              <p:nvPr/>
            </p:nvSpPr>
            <p:spPr>
              <a:xfrm>
                <a:off x="7283902" y="2272406"/>
                <a:ext cx="18379" cy="18462"/>
              </a:xfrm>
              <a:custGeom>
                <a:avLst/>
                <a:gdLst>
                  <a:gd name="connsiteX0" fmla="*/ 2969 w 18379"/>
                  <a:gd name="connsiteY0" fmla="*/ 2401 h 18462"/>
                  <a:gd name="connsiteX1" fmla="*/ 2431 w 18379"/>
                  <a:gd name="connsiteY1" fmla="*/ 15439 h 18462"/>
                  <a:gd name="connsiteX2" fmla="*/ 15410 w 18379"/>
                  <a:gd name="connsiteY2" fmla="*/ 16037 h 18462"/>
                  <a:gd name="connsiteX3" fmla="*/ 15948 w 18379"/>
                  <a:gd name="connsiteY3" fmla="*/ 2999 h 18462"/>
                  <a:gd name="connsiteX4" fmla="*/ 2969 w 18379"/>
                  <a:gd name="connsiteY4" fmla="*/ 2401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62">
                    <a:moveTo>
                      <a:pt x="2969" y="2401"/>
                    </a:moveTo>
                    <a:cubicBezTo>
                      <a:pt x="-739" y="5810"/>
                      <a:pt x="-1037" y="11672"/>
                      <a:pt x="2431" y="15439"/>
                    </a:cubicBezTo>
                    <a:cubicBezTo>
                      <a:pt x="5841" y="19207"/>
                      <a:pt x="11642" y="19506"/>
                      <a:pt x="15410" y="16037"/>
                    </a:cubicBezTo>
                    <a:cubicBezTo>
                      <a:pt x="19118" y="12629"/>
                      <a:pt x="19416" y="6767"/>
                      <a:pt x="15948" y="2999"/>
                    </a:cubicBezTo>
                    <a:cubicBezTo>
                      <a:pt x="12539" y="-768"/>
                      <a:pt x="6737" y="-1007"/>
                      <a:pt x="2969" y="2401"/>
                    </a:cubicBezTo>
                    <a:close/>
                  </a:path>
                </a:pathLst>
              </a:custGeom>
              <a:grpFill/>
              <a:ln w="5978" cap="flat">
                <a:noFill/>
                <a:prstDash val="solid"/>
                <a:miter/>
              </a:ln>
            </p:spPr>
            <p:txBody>
              <a:bodyPr rtlCol="0" anchor="ctr"/>
              <a:lstStyle/>
              <a:p>
                <a:endParaRPr lang="en-GB"/>
              </a:p>
            </p:txBody>
          </p:sp>
        </p:grpSp>
        <p:grpSp>
          <p:nvGrpSpPr>
            <p:cNvPr id="225" name="Graphic 3">
              <a:extLst>
                <a:ext uri="{FF2B5EF4-FFF2-40B4-BE49-F238E27FC236}">
                  <a16:creationId xmlns:a16="http://schemas.microsoft.com/office/drawing/2014/main" id="{936E6B2A-602A-4ACB-A458-784FBA43217C}"/>
                </a:ext>
              </a:extLst>
            </p:cNvPr>
            <p:cNvGrpSpPr/>
            <p:nvPr/>
          </p:nvGrpSpPr>
          <p:grpSpPr>
            <a:xfrm>
              <a:off x="7841812" y="3728217"/>
              <a:ext cx="99239" cy="32945"/>
              <a:chOff x="7841812" y="3728217"/>
              <a:chExt cx="99239" cy="32945"/>
            </a:xfrm>
            <a:grpFill/>
          </p:grpSpPr>
          <p:sp>
            <p:nvSpPr>
              <p:cNvPr id="4704" name="Vrije vorm: vorm 4703">
                <a:extLst>
                  <a:ext uri="{FF2B5EF4-FFF2-40B4-BE49-F238E27FC236}">
                    <a16:creationId xmlns:a16="http://schemas.microsoft.com/office/drawing/2014/main" id="{C42554D0-05D9-48FA-A3EA-4A381F2C713F}"/>
                  </a:ext>
                </a:extLst>
              </p:cNvPr>
              <p:cNvSpPr/>
              <p:nvPr/>
            </p:nvSpPr>
            <p:spPr>
              <a:xfrm>
                <a:off x="7850255" y="3735838"/>
                <a:ext cx="82354" cy="17643"/>
              </a:xfrm>
              <a:custGeom>
                <a:avLst/>
                <a:gdLst>
                  <a:gd name="connsiteX0" fmla="*/ 82355 w 82354"/>
                  <a:gd name="connsiteY0" fmla="*/ 14593 h 17643"/>
                  <a:gd name="connsiteX1" fmla="*/ 81816 w 82354"/>
                  <a:gd name="connsiteY1" fmla="*/ 17643 h 17643"/>
                  <a:gd name="connsiteX2" fmla="*/ 0 w 82354"/>
                  <a:gd name="connsiteY2" fmla="*/ 3050 h 17643"/>
                  <a:gd name="connsiteX3" fmla="*/ 478 w 82354"/>
                  <a:gd name="connsiteY3" fmla="*/ 0 h 17643"/>
                </a:gdLst>
                <a:ahLst/>
                <a:cxnLst>
                  <a:cxn ang="0">
                    <a:pos x="connsiteX0" y="connsiteY0"/>
                  </a:cxn>
                  <a:cxn ang="0">
                    <a:pos x="connsiteX1" y="connsiteY1"/>
                  </a:cxn>
                  <a:cxn ang="0">
                    <a:pos x="connsiteX2" y="connsiteY2"/>
                  </a:cxn>
                  <a:cxn ang="0">
                    <a:pos x="connsiteX3" y="connsiteY3"/>
                  </a:cxn>
                </a:cxnLst>
                <a:rect l="l" t="t" r="r" b="b"/>
                <a:pathLst>
                  <a:path w="82354" h="17643">
                    <a:moveTo>
                      <a:pt x="82355" y="14593"/>
                    </a:moveTo>
                    <a:lnTo>
                      <a:pt x="81816" y="17643"/>
                    </a:lnTo>
                    <a:lnTo>
                      <a:pt x="0" y="3050"/>
                    </a:lnTo>
                    <a:lnTo>
                      <a:pt x="478" y="0"/>
                    </a:lnTo>
                    <a:close/>
                  </a:path>
                </a:pathLst>
              </a:custGeom>
              <a:grpFill/>
              <a:ln w="5978" cap="flat">
                <a:noFill/>
                <a:prstDash val="solid"/>
                <a:miter/>
              </a:ln>
            </p:spPr>
            <p:txBody>
              <a:bodyPr rtlCol="0" anchor="ctr"/>
              <a:lstStyle/>
              <a:p>
                <a:endParaRPr lang="en-GB"/>
              </a:p>
            </p:txBody>
          </p:sp>
          <p:sp>
            <p:nvSpPr>
              <p:cNvPr id="4705" name="Vrije vorm: vorm 4704">
                <a:extLst>
                  <a:ext uri="{FF2B5EF4-FFF2-40B4-BE49-F238E27FC236}">
                    <a16:creationId xmlns:a16="http://schemas.microsoft.com/office/drawing/2014/main" id="{0AE62090-28AD-4DD9-9B49-2D71DFB0B6E7}"/>
                  </a:ext>
                </a:extLst>
              </p:cNvPr>
              <p:cNvSpPr/>
              <p:nvPr/>
            </p:nvSpPr>
            <p:spPr>
              <a:xfrm>
                <a:off x="7922733" y="3742690"/>
                <a:ext cx="18318" cy="18471"/>
              </a:xfrm>
              <a:custGeom>
                <a:avLst/>
                <a:gdLst>
                  <a:gd name="connsiteX0" fmla="*/ 10714 w 18318"/>
                  <a:gd name="connsiteY0" fmla="*/ 145 h 18471"/>
                  <a:gd name="connsiteX1" fmla="*/ 18190 w 18318"/>
                  <a:gd name="connsiteY1" fmla="*/ 10851 h 18471"/>
                  <a:gd name="connsiteX2" fmla="*/ 7604 w 18318"/>
                  <a:gd name="connsiteY2" fmla="*/ 18327 h 18471"/>
                  <a:gd name="connsiteX3" fmla="*/ 128 w 18318"/>
                  <a:gd name="connsiteY3" fmla="*/ 7621 h 18471"/>
                  <a:gd name="connsiteX4" fmla="*/ 10714 w 18318"/>
                  <a:gd name="connsiteY4" fmla="*/ 145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1">
                    <a:moveTo>
                      <a:pt x="10714" y="145"/>
                    </a:moveTo>
                    <a:cubicBezTo>
                      <a:pt x="15678" y="1042"/>
                      <a:pt x="19027" y="5827"/>
                      <a:pt x="18190" y="10851"/>
                    </a:cubicBezTo>
                    <a:cubicBezTo>
                      <a:pt x="17353" y="15875"/>
                      <a:pt x="12568" y="19224"/>
                      <a:pt x="7604" y="18327"/>
                    </a:cubicBezTo>
                    <a:cubicBezTo>
                      <a:pt x="2640" y="17430"/>
                      <a:pt x="-709" y="12645"/>
                      <a:pt x="128" y="7621"/>
                    </a:cubicBezTo>
                    <a:cubicBezTo>
                      <a:pt x="966" y="2597"/>
                      <a:pt x="5750" y="-752"/>
                      <a:pt x="10714" y="145"/>
                    </a:cubicBezTo>
                    <a:close/>
                  </a:path>
                </a:pathLst>
              </a:custGeom>
              <a:grpFill/>
              <a:ln w="5978" cap="flat">
                <a:noFill/>
                <a:prstDash val="solid"/>
                <a:miter/>
              </a:ln>
            </p:spPr>
            <p:txBody>
              <a:bodyPr rtlCol="0" anchor="ctr"/>
              <a:lstStyle/>
              <a:p>
                <a:endParaRPr lang="en-GB"/>
              </a:p>
            </p:txBody>
          </p:sp>
          <p:sp>
            <p:nvSpPr>
              <p:cNvPr id="4706" name="Vrije vorm: vorm 4705">
                <a:extLst>
                  <a:ext uri="{FF2B5EF4-FFF2-40B4-BE49-F238E27FC236}">
                    <a16:creationId xmlns:a16="http://schemas.microsoft.com/office/drawing/2014/main" id="{F88F5056-91F2-4B4B-8B3A-0946823D58D4}"/>
                  </a:ext>
                </a:extLst>
              </p:cNvPr>
              <p:cNvSpPr/>
              <p:nvPr/>
            </p:nvSpPr>
            <p:spPr>
              <a:xfrm>
                <a:off x="7841812" y="3728217"/>
                <a:ext cx="18320" cy="18472"/>
              </a:xfrm>
              <a:custGeom>
                <a:avLst/>
                <a:gdLst>
                  <a:gd name="connsiteX0" fmla="*/ 10716 w 18320"/>
                  <a:gd name="connsiteY0" fmla="*/ 145 h 18472"/>
                  <a:gd name="connsiteX1" fmla="*/ 130 w 18320"/>
                  <a:gd name="connsiteY1" fmla="*/ 7621 h 18472"/>
                  <a:gd name="connsiteX2" fmla="*/ 7606 w 18320"/>
                  <a:gd name="connsiteY2" fmla="*/ 18327 h 18472"/>
                  <a:gd name="connsiteX3" fmla="*/ 18192 w 18320"/>
                  <a:gd name="connsiteY3" fmla="*/ 10851 h 18472"/>
                  <a:gd name="connsiteX4" fmla="*/ 10716 w 18320"/>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72">
                    <a:moveTo>
                      <a:pt x="10716" y="145"/>
                    </a:moveTo>
                    <a:cubicBezTo>
                      <a:pt x="5752" y="-752"/>
                      <a:pt x="967" y="2597"/>
                      <a:pt x="130" y="7621"/>
                    </a:cubicBezTo>
                    <a:cubicBezTo>
                      <a:pt x="-707" y="12645"/>
                      <a:pt x="2582" y="17430"/>
                      <a:pt x="7606" y="18327"/>
                    </a:cubicBezTo>
                    <a:cubicBezTo>
                      <a:pt x="12570" y="19224"/>
                      <a:pt x="17355" y="15875"/>
                      <a:pt x="18192" y="10851"/>
                    </a:cubicBezTo>
                    <a:cubicBezTo>
                      <a:pt x="19029" y="5827"/>
                      <a:pt x="15680" y="1042"/>
                      <a:pt x="10716" y="145"/>
                    </a:cubicBezTo>
                    <a:close/>
                  </a:path>
                </a:pathLst>
              </a:custGeom>
              <a:grpFill/>
              <a:ln w="5978" cap="flat">
                <a:noFill/>
                <a:prstDash val="solid"/>
                <a:miter/>
              </a:ln>
            </p:spPr>
            <p:txBody>
              <a:bodyPr rtlCol="0" anchor="ctr"/>
              <a:lstStyle/>
              <a:p>
                <a:endParaRPr lang="en-GB"/>
              </a:p>
            </p:txBody>
          </p:sp>
        </p:grpSp>
        <p:grpSp>
          <p:nvGrpSpPr>
            <p:cNvPr id="226" name="Graphic 3">
              <a:extLst>
                <a:ext uri="{FF2B5EF4-FFF2-40B4-BE49-F238E27FC236}">
                  <a16:creationId xmlns:a16="http://schemas.microsoft.com/office/drawing/2014/main" id="{B1E26F9B-D48B-4C62-A99D-833A92CA9799}"/>
                </a:ext>
              </a:extLst>
            </p:cNvPr>
            <p:cNvGrpSpPr/>
            <p:nvPr/>
          </p:nvGrpSpPr>
          <p:grpSpPr>
            <a:xfrm>
              <a:off x="7148396" y="1578587"/>
              <a:ext cx="32637" cy="41754"/>
              <a:chOff x="7148396" y="1578587"/>
              <a:chExt cx="32637" cy="41754"/>
            </a:xfrm>
            <a:grpFill/>
          </p:grpSpPr>
          <p:sp>
            <p:nvSpPr>
              <p:cNvPr id="4701" name="Vrije vorm: vorm 4700">
                <a:extLst>
                  <a:ext uri="{FF2B5EF4-FFF2-40B4-BE49-F238E27FC236}">
                    <a16:creationId xmlns:a16="http://schemas.microsoft.com/office/drawing/2014/main" id="{5EFA8BA3-329F-4D38-AD66-A3D217BC6CC9}"/>
                  </a:ext>
                </a:extLst>
              </p:cNvPr>
              <p:cNvSpPr/>
              <p:nvPr/>
            </p:nvSpPr>
            <p:spPr>
              <a:xfrm>
                <a:off x="7156073" y="1586606"/>
                <a:ext cx="17344" cy="25717"/>
              </a:xfrm>
              <a:custGeom>
                <a:avLst/>
                <a:gdLst>
                  <a:gd name="connsiteX0" fmla="*/ 17344 w 17344"/>
                  <a:gd name="connsiteY0" fmla="*/ 1615 h 25717"/>
                  <a:gd name="connsiteX1" fmla="*/ 2572 w 17344"/>
                  <a:gd name="connsiteY1" fmla="*/ 25717 h 25717"/>
                  <a:gd name="connsiteX2" fmla="*/ 0 w 17344"/>
                  <a:gd name="connsiteY2" fmla="*/ 24102 h 25717"/>
                  <a:gd name="connsiteX3" fmla="*/ 14713 w 17344"/>
                  <a:gd name="connsiteY3" fmla="*/ 0 h 25717"/>
                </a:gdLst>
                <a:ahLst/>
                <a:cxnLst>
                  <a:cxn ang="0">
                    <a:pos x="connsiteX0" y="connsiteY0"/>
                  </a:cxn>
                  <a:cxn ang="0">
                    <a:pos x="connsiteX1" y="connsiteY1"/>
                  </a:cxn>
                  <a:cxn ang="0">
                    <a:pos x="connsiteX2" y="connsiteY2"/>
                  </a:cxn>
                  <a:cxn ang="0">
                    <a:pos x="connsiteX3" y="connsiteY3"/>
                  </a:cxn>
                </a:cxnLst>
                <a:rect l="l" t="t" r="r" b="b"/>
                <a:pathLst>
                  <a:path w="17344" h="25717">
                    <a:moveTo>
                      <a:pt x="17344" y="1615"/>
                    </a:moveTo>
                    <a:lnTo>
                      <a:pt x="2572" y="25717"/>
                    </a:lnTo>
                    <a:lnTo>
                      <a:pt x="0" y="24102"/>
                    </a:lnTo>
                    <a:lnTo>
                      <a:pt x="14713" y="0"/>
                    </a:lnTo>
                    <a:close/>
                  </a:path>
                </a:pathLst>
              </a:custGeom>
              <a:grpFill/>
              <a:ln w="5978" cap="flat">
                <a:noFill/>
                <a:prstDash val="solid"/>
                <a:miter/>
              </a:ln>
            </p:spPr>
            <p:txBody>
              <a:bodyPr rtlCol="0" anchor="ctr"/>
              <a:lstStyle/>
              <a:p>
                <a:endParaRPr lang="en-GB"/>
              </a:p>
            </p:txBody>
          </p:sp>
          <p:sp>
            <p:nvSpPr>
              <p:cNvPr id="4702" name="Vrije vorm: vorm 4701">
                <a:extLst>
                  <a:ext uri="{FF2B5EF4-FFF2-40B4-BE49-F238E27FC236}">
                    <a16:creationId xmlns:a16="http://schemas.microsoft.com/office/drawing/2014/main" id="{938E2418-9A38-4657-B21A-621CCEAA4A35}"/>
                  </a:ext>
                </a:extLst>
              </p:cNvPr>
              <p:cNvSpPr/>
              <p:nvPr/>
            </p:nvSpPr>
            <p:spPr>
              <a:xfrm>
                <a:off x="7148396" y="1601912"/>
                <a:ext cx="18357" cy="18429"/>
              </a:xfrm>
              <a:custGeom>
                <a:avLst/>
                <a:gdLst>
                  <a:gd name="connsiteX0" fmla="*/ 17007 w 18357"/>
                  <a:gd name="connsiteY0" fmla="*/ 14059 h 18429"/>
                  <a:gd name="connsiteX1" fmla="*/ 4387 w 18357"/>
                  <a:gd name="connsiteY1" fmla="*/ 17050 h 18429"/>
                  <a:gd name="connsiteX2" fmla="*/ 1337 w 18357"/>
                  <a:gd name="connsiteY2" fmla="*/ 4370 h 18429"/>
                  <a:gd name="connsiteX3" fmla="*/ 13956 w 18357"/>
                  <a:gd name="connsiteY3" fmla="*/ 1380 h 18429"/>
                  <a:gd name="connsiteX4" fmla="*/ 17007 w 18357"/>
                  <a:gd name="connsiteY4" fmla="*/ 1405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29">
                    <a:moveTo>
                      <a:pt x="17007" y="14059"/>
                    </a:moveTo>
                    <a:cubicBezTo>
                      <a:pt x="14375" y="18365"/>
                      <a:pt x="8693" y="19741"/>
                      <a:pt x="4387" y="17050"/>
                    </a:cubicBezTo>
                    <a:cubicBezTo>
                      <a:pt x="81" y="14358"/>
                      <a:pt x="-1295" y="8677"/>
                      <a:pt x="1337" y="4370"/>
                    </a:cubicBezTo>
                    <a:cubicBezTo>
                      <a:pt x="3968" y="64"/>
                      <a:pt x="9650" y="-1311"/>
                      <a:pt x="13956" y="1380"/>
                    </a:cubicBezTo>
                    <a:cubicBezTo>
                      <a:pt x="18322" y="4071"/>
                      <a:pt x="19638" y="9753"/>
                      <a:pt x="17007" y="14059"/>
                    </a:cubicBezTo>
                    <a:close/>
                  </a:path>
                </a:pathLst>
              </a:custGeom>
              <a:grpFill/>
              <a:ln w="5978" cap="flat">
                <a:noFill/>
                <a:prstDash val="solid"/>
                <a:miter/>
              </a:ln>
            </p:spPr>
            <p:txBody>
              <a:bodyPr rtlCol="0" anchor="ctr"/>
              <a:lstStyle/>
              <a:p>
                <a:endParaRPr lang="en-GB"/>
              </a:p>
            </p:txBody>
          </p:sp>
          <p:sp>
            <p:nvSpPr>
              <p:cNvPr id="4703" name="Vrije vorm: vorm 4702">
                <a:extLst>
                  <a:ext uri="{FF2B5EF4-FFF2-40B4-BE49-F238E27FC236}">
                    <a16:creationId xmlns:a16="http://schemas.microsoft.com/office/drawing/2014/main" id="{D3E9C6F2-E495-4CC8-89FA-DCABFBF505BB}"/>
                  </a:ext>
                </a:extLst>
              </p:cNvPr>
              <p:cNvSpPr/>
              <p:nvPr/>
            </p:nvSpPr>
            <p:spPr>
              <a:xfrm>
                <a:off x="7162690" y="1578587"/>
                <a:ext cx="18343" cy="18403"/>
              </a:xfrm>
              <a:custGeom>
                <a:avLst/>
                <a:gdLst>
                  <a:gd name="connsiteX0" fmla="*/ 17007 w 18343"/>
                  <a:gd name="connsiteY0" fmla="*/ 14059 h 18403"/>
                  <a:gd name="connsiteX1" fmla="*/ 13957 w 18343"/>
                  <a:gd name="connsiteY1" fmla="*/ 1380 h 18403"/>
                  <a:gd name="connsiteX2" fmla="*/ 1337 w 18343"/>
                  <a:gd name="connsiteY2" fmla="*/ 4370 h 18403"/>
                  <a:gd name="connsiteX3" fmla="*/ 4388 w 18343"/>
                  <a:gd name="connsiteY3" fmla="*/ 17050 h 18403"/>
                  <a:gd name="connsiteX4" fmla="*/ 17007 w 18343"/>
                  <a:gd name="connsiteY4" fmla="*/ 1405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17007" y="14059"/>
                    </a:moveTo>
                    <a:cubicBezTo>
                      <a:pt x="19638" y="9753"/>
                      <a:pt x="18262" y="4071"/>
                      <a:pt x="13957" y="1380"/>
                    </a:cubicBezTo>
                    <a:cubicBezTo>
                      <a:pt x="9651" y="-1311"/>
                      <a:pt x="3968" y="64"/>
                      <a:pt x="1337" y="4370"/>
                    </a:cubicBezTo>
                    <a:cubicBezTo>
                      <a:pt x="-1295" y="8677"/>
                      <a:pt x="81" y="14358"/>
                      <a:pt x="4388" y="17050"/>
                    </a:cubicBezTo>
                    <a:cubicBezTo>
                      <a:pt x="8693" y="19681"/>
                      <a:pt x="14315" y="18365"/>
                      <a:pt x="17007" y="14059"/>
                    </a:cubicBezTo>
                    <a:close/>
                  </a:path>
                </a:pathLst>
              </a:custGeom>
              <a:grpFill/>
              <a:ln w="5978" cap="flat">
                <a:noFill/>
                <a:prstDash val="solid"/>
                <a:miter/>
              </a:ln>
            </p:spPr>
            <p:txBody>
              <a:bodyPr rtlCol="0" anchor="ctr"/>
              <a:lstStyle/>
              <a:p>
                <a:endParaRPr lang="en-GB"/>
              </a:p>
            </p:txBody>
          </p:sp>
        </p:grpSp>
        <p:grpSp>
          <p:nvGrpSpPr>
            <p:cNvPr id="227" name="Graphic 3">
              <a:extLst>
                <a:ext uri="{FF2B5EF4-FFF2-40B4-BE49-F238E27FC236}">
                  <a16:creationId xmlns:a16="http://schemas.microsoft.com/office/drawing/2014/main" id="{DB9D9917-91EA-4B30-BFC8-97AC2AE1CDBD}"/>
                </a:ext>
              </a:extLst>
            </p:cNvPr>
            <p:cNvGrpSpPr/>
            <p:nvPr/>
          </p:nvGrpSpPr>
          <p:grpSpPr>
            <a:xfrm>
              <a:off x="7097660" y="1520015"/>
              <a:ext cx="168062" cy="253648"/>
              <a:chOff x="7097660" y="1520015"/>
              <a:chExt cx="168062" cy="253648"/>
            </a:xfrm>
            <a:grpFill/>
          </p:grpSpPr>
          <p:sp>
            <p:nvSpPr>
              <p:cNvPr id="4698" name="Vrije vorm: vorm 4697">
                <a:extLst>
                  <a:ext uri="{FF2B5EF4-FFF2-40B4-BE49-F238E27FC236}">
                    <a16:creationId xmlns:a16="http://schemas.microsoft.com/office/drawing/2014/main" id="{D7CF3512-83E2-4A4E-A5E6-B7ED74A1FC6A}"/>
                  </a:ext>
                </a:extLst>
              </p:cNvPr>
              <p:cNvSpPr/>
              <p:nvPr/>
            </p:nvSpPr>
            <p:spPr>
              <a:xfrm>
                <a:off x="7105296" y="1527995"/>
                <a:ext cx="152807" cy="237673"/>
              </a:xfrm>
              <a:custGeom>
                <a:avLst/>
                <a:gdLst>
                  <a:gd name="connsiteX0" fmla="*/ 152808 w 152807"/>
                  <a:gd name="connsiteY0" fmla="*/ 1675 h 237673"/>
                  <a:gd name="connsiteX1" fmla="*/ 2572 w 152807"/>
                  <a:gd name="connsiteY1" fmla="*/ 237674 h 237673"/>
                  <a:gd name="connsiteX2" fmla="*/ 0 w 152807"/>
                  <a:gd name="connsiteY2" fmla="*/ 235999 h 237673"/>
                  <a:gd name="connsiteX3" fmla="*/ 150236 w 152807"/>
                  <a:gd name="connsiteY3" fmla="*/ 0 h 237673"/>
                </a:gdLst>
                <a:ahLst/>
                <a:cxnLst>
                  <a:cxn ang="0">
                    <a:pos x="connsiteX0" y="connsiteY0"/>
                  </a:cxn>
                  <a:cxn ang="0">
                    <a:pos x="connsiteX1" y="connsiteY1"/>
                  </a:cxn>
                  <a:cxn ang="0">
                    <a:pos x="connsiteX2" y="connsiteY2"/>
                  </a:cxn>
                  <a:cxn ang="0">
                    <a:pos x="connsiteX3" y="connsiteY3"/>
                  </a:cxn>
                </a:cxnLst>
                <a:rect l="l" t="t" r="r" b="b"/>
                <a:pathLst>
                  <a:path w="152807" h="237673">
                    <a:moveTo>
                      <a:pt x="152808" y="1675"/>
                    </a:moveTo>
                    <a:lnTo>
                      <a:pt x="2572" y="237674"/>
                    </a:lnTo>
                    <a:lnTo>
                      <a:pt x="0" y="235999"/>
                    </a:lnTo>
                    <a:lnTo>
                      <a:pt x="150236" y="0"/>
                    </a:lnTo>
                    <a:close/>
                  </a:path>
                </a:pathLst>
              </a:custGeom>
              <a:grpFill/>
              <a:ln w="5978" cap="flat">
                <a:noFill/>
                <a:prstDash val="solid"/>
                <a:miter/>
              </a:ln>
            </p:spPr>
            <p:txBody>
              <a:bodyPr rtlCol="0" anchor="ctr"/>
              <a:lstStyle/>
              <a:p>
                <a:endParaRPr lang="en-GB"/>
              </a:p>
            </p:txBody>
          </p:sp>
          <p:sp>
            <p:nvSpPr>
              <p:cNvPr id="4699" name="Vrije vorm: vorm 4698">
                <a:extLst>
                  <a:ext uri="{FF2B5EF4-FFF2-40B4-BE49-F238E27FC236}">
                    <a16:creationId xmlns:a16="http://schemas.microsoft.com/office/drawing/2014/main" id="{7917F75E-EAE4-416A-BC20-95434FD3E285}"/>
                  </a:ext>
                </a:extLst>
              </p:cNvPr>
              <p:cNvSpPr/>
              <p:nvPr/>
            </p:nvSpPr>
            <p:spPr>
              <a:xfrm>
                <a:off x="7097660" y="1755222"/>
                <a:ext cx="18364" cy="18441"/>
              </a:xfrm>
              <a:custGeom>
                <a:avLst/>
                <a:gdLst>
                  <a:gd name="connsiteX0" fmla="*/ 16907 w 18364"/>
                  <a:gd name="connsiteY0" fmla="*/ 14215 h 18441"/>
                  <a:gd name="connsiteX1" fmla="*/ 4228 w 18364"/>
                  <a:gd name="connsiteY1" fmla="*/ 16966 h 18441"/>
                  <a:gd name="connsiteX2" fmla="*/ 1417 w 18364"/>
                  <a:gd name="connsiteY2" fmla="*/ 4227 h 18441"/>
                  <a:gd name="connsiteX3" fmla="*/ 14096 w 18364"/>
                  <a:gd name="connsiteY3" fmla="*/ 1476 h 18441"/>
                  <a:gd name="connsiteX4" fmla="*/ 16907 w 18364"/>
                  <a:gd name="connsiteY4" fmla="*/ 1421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41">
                    <a:moveTo>
                      <a:pt x="16907" y="14215"/>
                    </a:moveTo>
                    <a:cubicBezTo>
                      <a:pt x="14156" y="18521"/>
                      <a:pt x="8534" y="19717"/>
                      <a:pt x="4228" y="16966"/>
                    </a:cubicBezTo>
                    <a:cubicBezTo>
                      <a:pt x="-18" y="14215"/>
                      <a:pt x="-1275" y="8533"/>
                      <a:pt x="1417" y="4227"/>
                    </a:cubicBezTo>
                    <a:cubicBezTo>
                      <a:pt x="4108" y="-79"/>
                      <a:pt x="9789" y="-1276"/>
                      <a:pt x="14096" y="1476"/>
                    </a:cubicBezTo>
                    <a:cubicBezTo>
                      <a:pt x="18402" y="4227"/>
                      <a:pt x="19658" y="9909"/>
                      <a:pt x="16907" y="14215"/>
                    </a:cubicBezTo>
                    <a:close/>
                  </a:path>
                </a:pathLst>
              </a:custGeom>
              <a:grpFill/>
              <a:ln w="5978" cap="flat">
                <a:noFill/>
                <a:prstDash val="solid"/>
                <a:miter/>
              </a:ln>
            </p:spPr>
            <p:txBody>
              <a:bodyPr rtlCol="0" anchor="ctr"/>
              <a:lstStyle/>
              <a:p>
                <a:endParaRPr lang="en-GB"/>
              </a:p>
            </p:txBody>
          </p:sp>
          <p:sp>
            <p:nvSpPr>
              <p:cNvPr id="4700" name="Vrije vorm: vorm 4699">
                <a:extLst>
                  <a:ext uri="{FF2B5EF4-FFF2-40B4-BE49-F238E27FC236}">
                    <a16:creationId xmlns:a16="http://schemas.microsoft.com/office/drawing/2014/main" id="{9AB0C6C7-2AF3-427F-9EA3-06335F6AD642}"/>
                  </a:ext>
                </a:extLst>
              </p:cNvPr>
              <p:cNvSpPr/>
              <p:nvPr/>
            </p:nvSpPr>
            <p:spPr>
              <a:xfrm>
                <a:off x="7247343" y="1520015"/>
                <a:ext cx="18379" cy="18411"/>
              </a:xfrm>
              <a:custGeom>
                <a:avLst/>
                <a:gdLst>
                  <a:gd name="connsiteX0" fmla="*/ 16922 w 18379"/>
                  <a:gd name="connsiteY0" fmla="*/ 14200 h 18411"/>
                  <a:gd name="connsiteX1" fmla="*/ 14110 w 18379"/>
                  <a:gd name="connsiteY1" fmla="*/ 1461 h 18411"/>
                  <a:gd name="connsiteX2" fmla="*/ 1431 w 18379"/>
                  <a:gd name="connsiteY2" fmla="*/ 4212 h 18411"/>
                  <a:gd name="connsiteX3" fmla="*/ 4243 w 18379"/>
                  <a:gd name="connsiteY3" fmla="*/ 16951 h 18411"/>
                  <a:gd name="connsiteX4" fmla="*/ 16922 w 18379"/>
                  <a:gd name="connsiteY4" fmla="*/ 1420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11">
                    <a:moveTo>
                      <a:pt x="16922" y="14200"/>
                    </a:moveTo>
                    <a:cubicBezTo>
                      <a:pt x="19673" y="9894"/>
                      <a:pt x="18417" y="4212"/>
                      <a:pt x="14110" y="1461"/>
                    </a:cubicBezTo>
                    <a:cubicBezTo>
                      <a:pt x="9864" y="-1290"/>
                      <a:pt x="4183" y="-34"/>
                      <a:pt x="1431" y="4212"/>
                    </a:cubicBezTo>
                    <a:cubicBezTo>
                      <a:pt x="-1260" y="8518"/>
                      <a:pt x="-64" y="14200"/>
                      <a:pt x="4243" y="16951"/>
                    </a:cubicBezTo>
                    <a:cubicBezTo>
                      <a:pt x="8549" y="19702"/>
                      <a:pt x="14230" y="18446"/>
                      <a:pt x="16922" y="14200"/>
                    </a:cubicBezTo>
                    <a:close/>
                  </a:path>
                </a:pathLst>
              </a:custGeom>
              <a:grpFill/>
              <a:ln w="5978" cap="flat">
                <a:noFill/>
                <a:prstDash val="solid"/>
                <a:miter/>
              </a:ln>
            </p:spPr>
            <p:txBody>
              <a:bodyPr rtlCol="0" anchor="ctr"/>
              <a:lstStyle/>
              <a:p>
                <a:endParaRPr lang="en-GB"/>
              </a:p>
            </p:txBody>
          </p:sp>
        </p:grpSp>
        <p:grpSp>
          <p:nvGrpSpPr>
            <p:cNvPr id="228" name="Graphic 3">
              <a:extLst>
                <a:ext uri="{FF2B5EF4-FFF2-40B4-BE49-F238E27FC236}">
                  <a16:creationId xmlns:a16="http://schemas.microsoft.com/office/drawing/2014/main" id="{6D2E653B-FB56-4BC2-9498-E6B4A2EF6624}"/>
                </a:ext>
              </a:extLst>
            </p:cNvPr>
            <p:cNvGrpSpPr/>
            <p:nvPr/>
          </p:nvGrpSpPr>
          <p:grpSpPr>
            <a:xfrm>
              <a:off x="7948678" y="3934537"/>
              <a:ext cx="21032" cy="19139"/>
              <a:chOff x="7948678" y="3934537"/>
              <a:chExt cx="21032" cy="19139"/>
            </a:xfrm>
            <a:grpFill/>
          </p:grpSpPr>
          <p:sp>
            <p:nvSpPr>
              <p:cNvPr id="4695" name="Vrije vorm: vorm 4694">
                <a:extLst>
                  <a:ext uri="{FF2B5EF4-FFF2-40B4-BE49-F238E27FC236}">
                    <a16:creationId xmlns:a16="http://schemas.microsoft.com/office/drawing/2014/main" id="{D0A44C5C-C7A5-4D15-A225-64EF609B0EA9}"/>
                  </a:ext>
                </a:extLst>
              </p:cNvPr>
              <p:cNvSpPr/>
              <p:nvPr/>
            </p:nvSpPr>
            <p:spPr>
              <a:xfrm>
                <a:off x="7957011" y="3942173"/>
                <a:ext cx="4365" cy="3947"/>
              </a:xfrm>
              <a:custGeom>
                <a:avLst/>
                <a:gdLst>
                  <a:gd name="connsiteX0" fmla="*/ 4366 w 4365"/>
                  <a:gd name="connsiteY0" fmla="*/ 957 h 3947"/>
                  <a:gd name="connsiteX1" fmla="*/ 3588 w 4365"/>
                  <a:gd name="connsiteY1" fmla="*/ 3947 h 3947"/>
                  <a:gd name="connsiteX2" fmla="*/ 0 w 4365"/>
                  <a:gd name="connsiteY2" fmla="*/ 2930 h 3947"/>
                  <a:gd name="connsiteX3" fmla="*/ 778 w 4365"/>
                  <a:gd name="connsiteY3" fmla="*/ 0 h 3947"/>
                </a:gdLst>
                <a:ahLst/>
                <a:cxnLst>
                  <a:cxn ang="0">
                    <a:pos x="connsiteX0" y="connsiteY0"/>
                  </a:cxn>
                  <a:cxn ang="0">
                    <a:pos x="connsiteX1" y="connsiteY1"/>
                  </a:cxn>
                  <a:cxn ang="0">
                    <a:pos x="connsiteX2" y="connsiteY2"/>
                  </a:cxn>
                  <a:cxn ang="0">
                    <a:pos x="connsiteX3" y="connsiteY3"/>
                  </a:cxn>
                </a:cxnLst>
                <a:rect l="l" t="t" r="r" b="b"/>
                <a:pathLst>
                  <a:path w="4365" h="3947">
                    <a:moveTo>
                      <a:pt x="4366" y="957"/>
                    </a:moveTo>
                    <a:lnTo>
                      <a:pt x="3588" y="3947"/>
                    </a:lnTo>
                    <a:lnTo>
                      <a:pt x="0" y="2930"/>
                    </a:lnTo>
                    <a:lnTo>
                      <a:pt x="778" y="0"/>
                    </a:lnTo>
                    <a:close/>
                  </a:path>
                </a:pathLst>
              </a:custGeom>
              <a:grpFill/>
              <a:ln w="5978" cap="flat">
                <a:noFill/>
                <a:prstDash val="solid"/>
                <a:miter/>
              </a:ln>
            </p:spPr>
            <p:txBody>
              <a:bodyPr rtlCol="0" anchor="ctr"/>
              <a:lstStyle/>
              <a:p>
                <a:endParaRPr lang="en-GB"/>
              </a:p>
            </p:txBody>
          </p:sp>
          <p:sp>
            <p:nvSpPr>
              <p:cNvPr id="4696" name="Vrije vorm: vorm 4695">
                <a:extLst>
                  <a:ext uri="{FF2B5EF4-FFF2-40B4-BE49-F238E27FC236}">
                    <a16:creationId xmlns:a16="http://schemas.microsoft.com/office/drawing/2014/main" id="{2B938B22-46ED-48BE-8BA0-0FCD30929680}"/>
                  </a:ext>
                </a:extLst>
              </p:cNvPr>
              <p:cNvSpPr/>
              <p:nvPr/>
            </p:nvSpPr>
            <p:spPr>
              <a:xfrm>
                <a:off x="7951369" y="3935275"/>
                <a:ext cx="18341" cy="18400"/>
              </a:xfrm>
              <a:custGeom>
                <a:avLst/>
                <a:gdLst>
                  <a:gd name="connsiteX0" fmla="*/ 11563 w 18341"/>
                  <a:gd name="connsiteY0" fmla="*/ 319 h 18400"/>
                  <a:gd name="connsiteX1" fmla="*/ 18022 w 18341"/>
                  <a:gd name="connsiteY1" fmla="*/ 11622 h 18400"/>
                  <a:gd name="connsiteX2" fmla="*/ 6779 w 18341"/>
                  <a:gd name="connsiteY2" fmla="*/ 18082 h 18400"/>
                  <a:gd name="connsiteX3" fmla="*/ 319 w 18341"/>
                  <a:gd name="connsiteY3" fmla="*/ 6778 h 18400"/>
                  <a:gd name="connsiteX4" fmla="*/ 11563 w 18341"/>
                  <a:gd name="connsiteY4" fmla="*/ 31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1563" y="319"/>
                    </a:moveTo>
                    <a:cubicBezTo>
                      <a:pt x="16467" y="1695"/>
                      <a:pt x="19338" y="6718"/>
                      <a:pt x="18022" y="11622"/>
                    </a:cubicBezTo>
                    <a:cubicBezTo>
                      <a:pt x="16706" y="16527"/>
                      <a:pt x="11683" y="19398"/>
                      <a:pt x="6779" y="18082"/>
                    </a:cubicBezTo>
                    <a:cubicBezTo>
                      <a:pt x="1874" y="16706"/>
                      <a:pt x="-997" y="11682"/>
                      <a:pt x="319" y="6778"/>
                    </a:cubicBezTo>
                    <a:cubicBezTo>
                      <a:pt x="1635" y="1874"/>
                      <a:pt x="6719" y="-997"/>
                      <a:pt x="11563" y="319"/>
                    </a:cubicBezTo>
                    <a:close/>
                  </a:path>
                </a:pathLst>
              </a:custGeom>
              <a:grpFill/>
              <a:ln w="5978" cap="flat">
                <a:noFill/>
                <a:prstDash val="solid"/>
                <a:miter/>
              </a:ln>
            </p:spPr>
            <p:txBody>
              <a:bodyPr rtlCol="0" anchor="ctr"/>
              <a:lstStyle/>
              <a:p>
                <a:endParaRPr lang="en-GB"/>
              </a:p>
            </p:txBody>
          </p:sp>
          <p:sp>
            <p:nvSpPr>
              <p:cNvPr id="4697" name="Vrije vorm: vorm 4696">
                <a:extLst>
                  <a:ext uri="{FF2B5EF4-FFF2-40B4-BE49-F238E27FC236}">
                    <a16:creationId xmlns:a16="http://schemas.microsoft.com/office/drawing/2014/main" id="{05EDBC0B-1317-49E5-9892-D3D264BF5B3E}"/>
                  </a:ext>
                </a:extLst>
              </p:cNvPr>
              <p:cNvSpPr/>
              <p:nvPr/>
            </p:nvSpPr>
            <p:spPr>
              <a:xfrm>
                <a:off x="7948678" y="3934537"/>
                <a:ext cx="18340" cy="18442"/>
              </a:xfrm>
              <a:custGeom>
                <a:avLst/>
                <a:gdLst>
                  <a:gd name="connsiteX0" fmla="*/ 11563 w 18340"/>
                  <a:gd name="connsiteY0" fmla="*/ 340 h 18442"/>
                  <a:gd name="connsiteX1" fmla="*/ 319 w 18340"/>
                  <a:gd name="connsiteY1" fmla="*/ 6799 h 18442"/>
                  <a:gd name="connsiteX2" fmla="*/ 6778 w 18340"/>
                  <a:gd name="connsiteY2" fmla="*/ 18102 h 18442"/>
                  <a:gd name="connsiteX3" fmla="*/ 18022 w 18340"/>
                  <a:gd name="connsiteY3" fmla="*/ 11643 h 18442"/>
                  <a:gd name="connsiteX4" fmla="*/ 11563 w 18340"/>
                  <a:gd name="connsiteY4" fmla="*/ 34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2">
                    <a:moveTo>
                      <a:pt x="11563" y="340"/>
                    </a:moveTo>
                    <a:cubicBezTo>
                      <a:pt x="6658" y="-1036"/>
                      <a:pt x="1635" y="1895"/>
                      <a:pt x="319" y="6799"/>
                    </a:cubicBezTo>
                    <a:cubicBezTo>
                      <a:pt x="-997" y="11703"/>
                      <a:pt x="1874" y="16787"/>
                      <a:pt x="6778" y="18102"/>
                    </a:cubicBezTo>
                    <a:cubicBezTo>
                      <a:pt x="11683" y="19478"/>
                      <a:pt x="16706" y="16547"/>
                      <a:pt x="18022" y="11643"/>
                    </a:cubicBezTo>
                    <a:cubicBezTo>
                      <a:pt x="19337" y="6739"/>
                      <a:pt x="16467" y="1655"/>
                      <a:pt x="11563" y="340"/>
                    </a:cubicBezTo>
                    <a:close/>
                  </a:path>
                </a:pathLst>
              </a:custGeom>
              <a:grpFill/>
              <a:ln w="5978" cap="flat">
                <a:noFill/>
                <a:prstDash val="solid"/>
                <a:miter/>
              </a:ln>
            </p:spPr>
            <p:txBody>
              <a:bodyPr rtlCol="0" anchor="ctr"/>
              <a:lstStyle/>
              <a:p>
                <a:endParaRPr lang="en-GB"/>
              </a:p>
            </p:txBody>
          </p:sp>
        </p:grpSp>
        <p:grpSp>
          <p:nvGrpSpPr>
            <p:cNvPr id="229" name="Graphic 3">
              <a:extLst>
                <a:ext uri="{FF2B5EF4-FFF2-40B4-BE49-F238E27FC236}">
                  <a16:creationId xmlns:a16="http://schemas.microsoft.com/office/drawing/2014/main" id="{4EA62438-94A9-4443-A7D6-717B083F34AD}"/>
                </a:ext>
              </a:extLst>
            </p:cNvPr>
            <p:cNvGrpSpPr/>
            <p:nvPr/>
          </p:nvGrpSpPr>
          <p:grpSpPr>
            <a:xfrm>
              <a:off x="7079414" y="1520607"/>
              <a:ext cx="235956" cy="346783"/>
              <a:chOff x="7079414" y="1520607"/>
              <a:chExt cx="235956" cy="346783"/>
            </a:xfrm>
            <a:grpFill/>
          </p:grpSpPr>
          <p:sp>
            <p:nvSpPr>
              <p:cNvPr id="4692" name="Vrije vorm: vorm 4691">
                <a:extLst>
                  <a:ext uri="{FF2B5EF4-FFF2-40B4-BE49-F238E27FC236}">
                    <a16:creationId xmlns:a16="http://schemas.microsoft.com/office/drawing/2014/main" id="{B8DA29C3-BDA7-4C4B-9231-1A42D8FB8A5F}"/>
                  </a:ext>
                </a:extLst>
              </p:cNvPr>
              <p:cNvSpPr/>
              <p:nvPr/>
            </p:nvSpPr>
            <p:spPr>
              <a:xfrm>
                <a:off x="7087056" y="1528593"/>
                <a:ext cx="220688" cy="330793"/>
              </a:xfrm>
              <a:custGeom>
                <a:avLst/>
                <a:gdLst>
                  <a:gd name="connsiteX0" fmla="*/ 220689 w 220688"/>
                  <a:gd name="connsiteY0" fmla="*/ 1734 h 330793"/>
                  <a:gd name="connsiteX1" fmla="*/ 2571 w 220688"/>
                  <a:gd name="connsiteY1" fmla="*/ 330794 h 330793"/>
                  <a:gd name="connsiteX2" fmla="*/ 0 w 220688"/>
                  <a:gd name="connsiteY2" fmla="*/ 329119 h 330793"/>
                  <a:gd name="connsiteX3" fmla="*/ 218177 w 220688"/>
                  <a:gd name="connsiteY3" fmla="*/ 0 h 330793"/>
                </a:gdLst>
                <a:ahLst/>
                <a:cxnLst>
                  <a:cxn ang="0">
                    <a:pos x="connsiteX0" y="connsiteY0"/>
                  </a:cxn>
                  <a:cxn ang="0">
                    <a:pos x="connsiteX1" y="connsiteY1"/>
                  </a:cxn>
                  <a:cxn ang="0">
                    <a:pos x="connsiteX2" y="connsiteY2"/>
                  </a:cxn>
                  <a:cxn ang="0">
                    <a:pos x="connsiteX3" y="connsiteY3"/>
                  </a:cxn>
                </a:cxnLst>
                <a:rect l="l" t="t" r="r" b="b"/>
                <a:pathLst>
                  <a:path w="220688" h="330793">
                    <a:moveTo>
                      <a:pt x="220689" y="1734"/>
                    </a:moveTo>
                    <a:lnTo>
                      <a:pt x="2571" y="330794"/>
                    </a:lnTo>
                    <a:lnTo>
                      <a:pt x="0" y="329119"/>
                    </a:lnTo>
                    <a:lnTo>
                      <a:pt x="218177" y="0"/>
                    </a:lnTo>
                    <a:close/>
                  </a:path>
                </a:pathLst>
              </a:custGeom>
              <a:grpFill/>
              <a:ln w="5978" cap="flat">
                <a:noFill/>
                <a:prstDash val="solid"/>
                <a:miter/>
              </a:ln>
            </p:spPr>
            <p:txBody>
              <a:bodyPr rtlCol="0" anchor="ctr"/>
              <a:lstStyle/>
              <a:p>
                <a:endParaRPr lang="en-GB"/>
              </a:p>
            </p:txBody>
          </p:sp>
          <p:sp>
            <p:nvSpPr>
              <p:cNvPr id="4693" name="Vrije vorm: vorm 4692">
                <a:extLst>
                  <a:ext uri="{FF2B5EF4-FFF2-40B4-BE49-F238E27FC236}">
                    <a16:creationId xmlns:a16="http://schemas.microsoft.com/office/drawing/2014/main" id="{49EFC2EB-796C-45C4-852B-5407C0002E03}"/>
                  </a:ext>
                </a:extLst>
              </p:cNvPr>
              <p:cNvSpPr/>
              <p:nvPr/>
            </p:nvSpPr>
            <p:spPr>
              <a:xfrm>
                <a:off x="7297094" y="1520607"/>
                <a:ext cx="18276" cy="18483"/>
              </a:xfrm>
              <a:custGeom>
                <a:avLst/>
                <a:gdLst>
                  <a:gd name="connsiteX0" fmla="*/ 1500 w 18276"/>
                  <a:gd name="connsiteY0" fmla="*/ 4098 h 18483"/>
                  <a:gd name="connsiteX1" fmla="*/ 14179 w 18276"/>
                  <a:gd name="connsiteY1" fmla="*/ 1586 h 18483"/>
                  <a:gd name="connsiteX2" fmla="*/ 16750 w 18276"/>
                  <a:gd name="connsiteY2" fmla="*/ 14385 h 18483"/>
                  <a:gd name="connsiteX3" fmla="*/ 4071 w 18276"/>
                  <a:gd name="connsiteY3" fmla="*/ 16897 h 18483"/>
                  <a:gd name="connsiteX4" fmla="*/ 1500 w 18276"/>
                  <a:gd name="connsiteY4" fmla="*/ 4098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 h="18483">
                    <a:moveTo>
                      <a:pt x="1500" y="4098"/>
                    </a:moveTo>
                    <a:cubicBezTo>
                      <a:pt x="4311" y="-148"/>
                      <a:pt x="9992" y="-1284"/>
                      <a:pt x="14179" y="1586"/>
                    </a:cubicBezTo>
                    <a:cubicBezTo>
                      <a:pt x="18365" y="4397"/>
                      <a:pt x="19562" y="10139"/>
                      <a:pt x="16750" y="14385"/>
                    </a:cubicBezTo>
                    <a:cubicBezTo>
                      <a:pt x="13940" y="18631"/>
                      <a:pt x="8258" y="19768"/>
                      <a:pt x="4071" y="16897"/>
                    </a:cubicBezTo>
                    <a:cubicBezTo>
                      <a:pt x="-115" y="14086"/>
                      <a:pt x="-1252" y="8345"/>
                      <a:pt x="1500" y="4098"/>
                    </a:cubicBezTo>
                    <a:close/>
                  </a:path>
                </a:pathLst>
              </a:custGeom>
              <a:grpFill/>
              <a:ln w="5978" cap="flat">
                <a:noFill/>
                <a:prstDash val="solid"/>
                <a:miter/>
              </a:ln>
            </p:spPr>
            <p:txBody>
              <a:bodyPr rtlCol="0" anchor="ctr"/>
              <a:lstStyle/>
              <a:p>
                <a:endParaRPr lang="en-GB"/>
              </a:p>
            </p:txBody>
          </p:sp>
          <p:sp>
            <p:nvSpPr>
              <p:cNvPr id="4694" name="Vrije vorm: vorm 4693">
                <a:extLst>
                  <a:ext uri="{FF2B5EF4-FFF2-40B4-BE49-F238E27FC236}">
                    <a16:creationId xmlns:a16="http://schemas.microsoft.com/office/drawing/2014/main" id="{D8653088-5409-4D8C-B896-CA6E45D49168}"/>
                  </a:ext>
                </a:extLst>
              </p:cNvPr>
              <p:cNvSpPr/>
              <p:nvPr/>
            </p:nvSpPr>
            <p:spPr>
              <a:xfrm>
                <a:off x="7079414" y="1848949"/>
                <a:ext cx="18333" cy="18441"/>
              </a:xfrm>
              <a:custGeom>
                <a:avLst/>
                <a:gdLst>
                  <a:gd name="connsiteX0" fmla="*/ 1541 w 18333"/>
                  <a:gd name="connsiteY0" fmla="*/ 4098 h 18441"/>
                  <a:gd name="connsiteX1" fmla="*/ 4113 w 18333"/>
                  <a:gd name="connsiteY1" fmla="*/ 16897 h 18441"/>
                  <a:gd name="connsiteX2" fmla="*/ 16793 w 18333"/>
                  <a:gd name="connsiteY2" fmla="*/ 14385 h 18441"/>
                  <a:gd name="connsiteX3" fmla="*/ 14221 w 18333"/>
                  <a:gd name="connsiteY3" fmla="*/ 1586 h 18441"/>
                  <a:gd name="connsiteX4" fmla="*/ 1541 w 18333"/>
                  <a:gd name="connsiteY4" fmla="*/ 409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541" y="4098"/>
                    </a:moveTo>
                    <a:cubicBezTo>
                      <a:pt x="-1269" y="8345"/>
                      <a:pt x="-133" y="14026"/>
                      <a:pt x="4113" y="16897"/>
                    </a:cubicBezTo>
                    <a:cubicBezTo>
                      <a:pt x="8300" y="19708"/>
                      <a:pt x="14041" y="18572"/>
                      <a:pt x="16793" y="14385"/>
                    </a:cubicBezTo>
                    <a:cubicBezTo>
                      <a:pt x="19603" y="10139"/>
                      <a:pt x="18467" y="4457"/>
                      <a:pt x="14221" y="1586"/>
                    </a:cubicBezTo>
                    <a:cubicBezTo>
                      <a:pt x="10034" y="-1284"/>
                      <a:pt x="4352" y="-148"/>
                      <a:pt x="1541" y="4098"/>
                    </a:cubicBezTo>
                    <a:close/>
                  </a:path>
                </a:pathLst>
              </a:custGeom>
              <a:grpFill/>
              <a:ln w="5978" cap="flat">
                <a:noFill/>
                <a:prstDash val="solid"/>
                <a:miter/>
              </a:ln>
            </p:spPr>
            <p:txBody>
              <a:bodyPr rtlCol="0" anchor="ctr"/>
              <a:lstStyle/>
              <a:p>
                <a:endParaRPr lang="en-GB"/>
              </a:p>
            </p:txBody>
          </p:sp>
        </p:grpSp>
        <p:grpSp>
          <p:nvGrpSpPr>
            <p:cNvPr id="230" name="Graphic 3">
              <a:extLst>
                <a:ext uri="{FF2B5EF4-FFF2-40B4-BE49-F238E27FC236}">
                  <a16:creationId xmlns:a16="http://schemas.microsoft.com/office/drawing/2014/main" id="{3B5B790B-679A-482A-A399-0D8815901689}"/>
                </a:ext>
              </a:extLst>
            </p:cNvPr>
            <p:cNvGrpSpPr/>
            <p:nvPr/>
          </p:nvGrpSpPr>
          <p:grpSpPr>
            <a:xfrm>
              <a:off x="7934410" y="4007400"/>
              <a:ext cx="86828" cy="40175"/>
              <a:chOff x="7934410" y="4007400"/>
              <a:chExt cx="86828" cy="40175"/>
            </a:xfrm>
            <a:grpFill/>
          </p:grpSpPr>
          <p:sp>
            <p:nvSpPr>
              <p:cNvPr id="4689" name="Vrije vorm: vorm 4688">
                <a:extLst>
                  <a:ext uri="{FF2B5EF4-FFF2-40B4-BE49-F238E27FC236}">
                    <a16:creationId xmlns:a16="http://schemas.microsoft.com/office/drawing/2014/main" id="{03B498A5-9685-4B21-BA4A-888D670E24AF}"/>
                  </a:ext>
                </a:extLst>
              </p:cNvPr>
              <p:cNvSpPr/>
              <p:nvPr/>
            </p:nvSpPr>
            <p:spPr>
              <a:xfrm>
                <a:off x="7942657" y="4015018"/>
                <a:ext cx="70273" cy="24939"/>
              </a:xfrm>
              <a:custGeom>
                <a:avLst/>
                <a:gdLst>
                  <a:gd name="connsiteX0" fmla="*/ 70273 w 70273"/>
                  <a:gd name="connsiteY0" fmla="*/ 22009 h 24939"/>
                  <a:gd name="connsiteX1" fmla="*/ 69376 w 70273"/>
                  <a:gd name="connsiteY1" fmla="*/ 24940 h 24939"/>
                  <a:gd name="connsiteX2" fmla="*/ 0 w 70273"/>
                  <a:gd name="connsiteY2" fmla="*/ 2930 h 24939"/>
                  <a:gd name="connsiteX3" fmla="*/ 957 w 70273"/>
                  <a:gd name="connsiteY3" fmla="*/ 0 h 24939"/>
                </a:gdLst>
                <a:ahLst/>
                <a:cxnLst>
                  <a:cxn ang="0">
                    <a:pos x="connsiteX0" y="connsiteY0"/>
                  </a:cxn>
                  <a:cxn ang="0">
                    <a:pos x="connsiteX1" y="connsiteY1"/>
                  </a:cxn>
                  <a:cxn ang="0">
                    <a:pos x="connsiteX2" y="connsiteY2"/>
                  </a:cxn>
                  <a:cxn ang="0">
                    <a:pos x="connsiteX3" y="connsiteY3"/>
                  </a:cxn>
                </a:cxnLst>
                <a:rect l="l" t="t" r="r" b="b"/>
                <a:pathLst>
                  <a:path w="70273" h="24939">
                    <a:moveTo>
                      <a:pt x="70273" y="22009"/>
                    </a:moveTo>
                    <a:lnTo>
                      <a:pt x="69376" y="24940"/>
                    </a:lnTo>
                    <a:lnTo>
                      <a:pt x="0" y="2930"/>
                    </a:lnTo>
                    <a:lnTo>
                      <a:pt x="957" y="0"/>
                    </a:lnTo>
                    <a:close/>
                  </a:path>
                </a:pathLst>
              </a:custGeom>
              <a:grpFill/>
              <a:ln w="5978" cap="flat">
                <a:noFill/>
                <a:prstDash val="solid"/>
                <a:miter/>
              </a:ln>
            </p:spPr>
            <p:txBody>
              <a:bodyPr rtlCol="0" anchor="ctr"/>
              <a:lstStyle/>
              <a:p>
                <a:endParaRPr lang="en-GB"/>
              </a:p>
            </p:txBody>
          </p:sp>
          <p:sp>
            <p:nvSpPr>
              <p:cNvPr id="4690" name="Vrije vorm: vorm 4689">
                <a:extLst>
                  <a:ext uri="{FF2B5EF4-FFF2-40B4-BE49-F238E27FC236}">
                    <a16:creationId xmlns:a16="http://schemas.microsoft.com/office/drawing/2014/main" id="{7A2587A3-70CB-48A1-ADCA-3CB4BA6FAA9B}"/>
                  </a:ext>
                </a:extLst>
              </p:cNvPr>
              <p:cNvSpPr/>
              <p:nvPr/>
            </p:nvSpPr>
            <p:spPr>
              <a:xfrm>
                <a:off x="7934410" y="4007400"/>
                <a:ext cx="18348" cy="18405"/>
              </a:xfrm>
              <a:custGeom>
                <a:avLst/>
                <a:gdLst>
                  <a:gd name="connsiteX0" fmla="*/ 6454 w 18348"/>
                  <a:gd name="connsiteY0" fmla="*/ 17964 h 18405"/>
                  <a:gd name="connsiteX1" fmla="*/ 413 w 18348"/>
                  <a:gd name="connsiteY1" fmla="*/ 6422 h 18405"/>
                  <a:gd name="connsiteX2" fmla="*/ 11895 w 18348"/>
                  <a:gd name="connsiteY2" fmla="*/ 441 h 18405"/>
                  <a:gd name="connsiteX3" fmla="*/ 17936 w 18348"/>
                  <a:gd name="connsiteY3" fmla="*/ 11984 h 18405"/>
                  <a:gd name="connsiteX4" fmla="*/ 6454 w 18348"/>
                  <a:gd name="connsiteY4" fmla="*/ 1796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05">
                    <a:moveTo>
                      <a:pt x="6454" y="17964"/>
                    </a:moveTo>
                    <a:cubicBezTo>
                      <a:pt x="1609" y="16410"/>
                      <a:pt x="-1082" y="11266"/>
                      <a:pt x="413" y="6422"/>
                    </a:cubicBezTo>
                    <a:cubicBezTo>
                      <a:pt x="1908" y="1577"/>
                      <a:pt x="7051" y="-1114"/>
                      <a:pt x="11895" y="441"/>
                    </a:cubicBezTo>
                    <a:cubicBezTo>
                      <a:pt x="16740" y="1996"/>
                      <a:pt x="19431" y="7139"/>
                      <a:pt x="17936" y="11984"/>
                    </a:cubicBezTo>
                    <a:cubicBezTo>
                      <a:pt x="16381" y="16828"/>
                      <a:pt x="11238" y="19519"/>
                      <a:pt x="6454" y="17964"/>
                    </a:cubicBezTo>
                    <a:close/>
                  </a:path>
                </a:pathLst>
              </a:custGeom>
              <a:grpFill/>
              <a:ln w="5978" cap="flat">
                <a:noFill/>
                <a:prstDash val="solid"/>
                <a:miter/>
              </a:ln>
            </p:spPr>
            <p:txBody>
              <a:bodyPr rtlCol="0" anchor="ctr"/>
              <a:lstStyle/>
              <a:p>
                <a:endParaRPr lang="en-GB"/>
              </a:p>
            </p:txBody>
          </p:sp>
          <p:sp>
            <p:nvSpPr>
              <p:cNvPr id="4691" name="Vrije vorm: vorm 4690">
                <a:extLst>
                  <a:ext uri="{FF2B5EF4-FFF2-40B4-BE49-F238E27FC236}">
                    <a16:creationId xmlns:a16="http://schemas.microsoft.com/office/drawing/2014/main" id="{9DC2E638-4901-4ACD-A82A-DC14DC0BB99C}"/>
                  </a:ext>
                </a:extLst>
              </p:cNvPr>
              <p:cNvSpPr/>
              <p:nvPr/>
            </p:nvSpPr>
            <p:spPr>
              <a:xfrm>
                <a:off x="8002889" y="4029170"/>
                <a:ext cx="18349" cy="18405"/>
              </a:xfrm>
              <a:custGeom>
                <a:avLst/>
                <a:gdLst>
                  <a:gd name="connsiteX0" fmla="*/ 6453 w 18349"/>
                  <a:gd name="connsiteY0" fmla="*/ 17964 h 18405"/>
                  <a:gd name="connsiteX1" fmla="*/ 17937 w 18349"/>
                  <a:gd name="connsiteY1" fmla="*/ 11984 h 18405"/>
                  <a:gd name="connsiteX2" fmla="*/ 11896 w 18349"/>
                  <a:gd name="connsiteY2" fmla="*/ 441 h 18405"/>
                  <a:gd name="connsiteX3" fmla="*/ 413 w 18349"/>
                  <a:gd name="connsiteY3" fmla="*/ 6422 h 18405"/>
                  <a:gd name="connsiteX4" fmla="*/ 6453 w 18349"/>
                  <a:gd name="connsiteY4" fmla="*/ 1796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6453" y="17964"/>
                    </a:moveTo>
                    <a:cubicBezTo>
                      <a:pt x="11298" y="19519"/>
                      <a:pt x="16442" y="16828"/>
                      <a:pt x="17937" y="11984"/>
                    </a:cubicBezTo>
                    <a:cubicBezTo>
                      <a:pt x="19432" y="7139"/>
                      <a:pt x="16740" y="1936"/>
                      <a:pt x="11896" y="441"/>
                    </a:cubicBezTo>
                    <a:cubicBezTo>
                      <a:pt x="7051" y="-1114"/>
                      <a:pt x="1908" y="1577"/>
                      <a:pt x="413" y="6422"/>
                    </a:cubicBezTo>
                    <a:cubicBezTo>
                      <a:pt x="-1082" y="11266"/>
                      <a:pt x="1609" y="16469"/>
                      <a:pt x="6453" y="17964"/>
                    </a:cubicBezTo>
                    <a:close/>
                  </a:path>
                </a:pathLst>
              </a:custGeom>
              <a:grpFill/>
              <a:ln w="5978" cap="flat">
                <a:noFill/>
                <a:prstDash val="solid"/>
                <a:miter/>
              </a:ln>
            </p:spPr>
            <p:txBody>
              <a:bodyPr rtlCol="0" anchor="ctr"/>
              <a:lstStyle/>
              <a:p>
                <a:endParaRPr lang="en-GB"/>
              </a:p>
            </p:txBody>
          </p:sp>
        </p:grpSp>
        <p:grpSp>
          <p:nvGrpSpPr>
            <p:cNvPr id="231" name="Graphic 3">
              <a:extLst>
                <a:ext uri="{FF2B5EF4-FFF2-40B4-BE49-F238E27FC236}">
                  <a16:creationId xmlns:a16="http://schemas.microsoft.com/office/drawing/2014/main" id="{5CD275F6-1422-4CD4-8E66-F4B48A59DC94}"/>
                </a:ext>
              </a:extLst>
            </p:cNvPr>
            <p:cNvGrpSpPr/>
            <p:nvPr/>
          </p:nvGrpSpPr>
          <p:grpSpPr>
            <a:xfrm>
              <a:off x="7270092" y="2119366"/>
              <a:ext cx="147288" cy="141234"/>
              <a:chOff x="7270092" y="2119366"/>
              <a:chExt cx="147288" cy="141234"/>
            </a:xfrm>
            <a:grpFill/>
          </p:grpSpPr>
          <p:sp>
            <p:nvSpPr>
              <p:cNvPr id="4686" name="Vrije vorm: vorm 4685">
                <a:extLst>
                  <a:ext uri="{FF2B5EF4-FFF2-40B4-BE49-F238E27FC236}">
                    <a16:creationId xmlns:a16="http://schemas.microsoft.com/office/drawing/2014/main" id="{F9DA9772-1EA9-43F4-8CE7-18D639E8621D}"/>
                  </a:ext>
                </a:extLst>
              </p:cNvPr>
              <p:cNvSpPr/>
              <p:nvPr/>
            </p:nvSpPr>
            <p:spPr>
              <a:xfrm>
                <a:off x="7277841" y="2127144"/>
                <a:ext cx="131754" cy="125654"/>
              </a:xfrm>
              <a:custGeom>
                <a:avLst/>
                <a:gdLst>
                  <a:gd name="connsiteX0" fmla="*/ 131755 w 131754"/>
                  <a:gd name="connsiteY0" fmla="*/ 2213 h 125654"/>
                  <a:gd name="connsiteX1" fmla="*/ 2153 w 131754"/>
                  <a:gd name="connsiteY1" fmla="*/ 125655 h 125654"/>
                  <a:gd name="connsiteX2" fmla="*/ 0 w 131754"/>
                  <a:gd name="connsiteY2" fmla="*/ 123382 h 125654"/>
                  <a:gd name="connsiteX3" fmla="*/ 129602 w 131754"/>
                  <a:gd name="connsiteY3" fmla="*/ 0 h 125654"/>
                </a:gdLst>
                <a:ahLst/>
                <a:cxnLst>
                  <a:cxn ang="0">
                    <a:pos x="connsiteX0" y="connsiteY0"/>
                  </a:cxn>
                  <a:cxn ang="0">
                    <a:pos x="connsiteX1" y="connsiteY1"/>
                  </a:cxn>
                  <a:cxn ang="0">
                    <a:pos x="connsiteX2" y="connsiteY2"/>
                  </a:cxn>
                  <a:cxn ang="0">
                    <a:pos x="connsiteX3" y="connsiteY3"/>
                  </a:cxn>
                </a:cxnLst>
                <a:rect l="l" t="t" r="r" b="b"/>
                <a:pathLst>
                  <a:path w="131754" h="125654">
                    <a:moveTo>
                      <a:pt x="131755" y="2213"/>
                    </a:moveTo>
                    <a:lnTo>
                      <a:pt x="2153" y="125655"/>
                    </a:lnTo>
                    <a:lnTo>
                      <a:pt x="0" y="123382"/>
                    </a:lnTo>
                    <a:lnTo>
                      <a:pt x="129602" y="0"/>
                    </a:lnTo>
                    <a:close/>
                  </a:path>
                </a:pathLst>
              </a:custGeom>
              <a:grpFill/>
              <a:ln w="5978" cap="flat">
                <a:noFill/>
                <a:prstDash val="solid"/>
                <a:miter/>
              </a:ln>
            </p:spPr>
            <p:txBody>
              <a:bodyPr rtlCol="0" anchor="ctr"/>
              <a:lstStyle/>
              <a:p>
                <a:endParaRPr lang="en-GB"/>
              </a:p>
            </p:txBody>
          </p:sp>
          <p:sp>
            <p:nvSpPr>
              <p:cNvPr id="4687" name="Vrije vorm: vorm 4686">
                <a:extLst>
                  <a:ext uri="{FF2B5EF4-FFF2-40B4-BE49-F238E27FC236}">
                    <a16:creationId xmlns:a16="http://schemas.microsoft.com/office/drawing/2014/main" id="{85F009DE-44EF-4C5D-9974-F2A70D741A89}"/>
                  </a:ext>
                </a:extLst>
              </p:cNvPr>
              <p:cNvSpPr/>
              <p:nvPr/>
            </p:nvSpPr>
            <p:spPr>
              <a:xfrm>
                <a:off x="7399037" y="2119366"/>
                <a:ext cx="18343" cy="18426"/>
              </a:xfrm>
              <a:custGeom>
                <a:avLst/>
                <a:gdLst>
                  <a:gd name="connsiteX0" fmla="*/ 2844 w 18343"/>
                  <a:gd name="connsiteY0" fmla="*/ 2515 h 18426"/>
                  <a:gd name="connsiteX1" fmla="*/ 15822 w 18343"/>
                  <a:gd name="connsiteY1" fmla="*/ 2874 h 18426"/>
                  <a:gd name="connsiteX2" fmla="*/ 15523 w 18343"/>
                  <a:gd name="connsiteY2" fmla="*/ 15912 h 18426"/>
                  <a:gd name="connsiteX3" fmla="*/ 2545 w 18343"/>
                  <a:gd name="connsiteY3" fmla="*/ 15553 h 18426"/>
                  <a:gd name="connsiteX4" fmla="*/ 2844 w 18343"/>
                  <a:gd name="connsiteY4" fmla="*/ 25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6">
                    <a:moveTo>
                      <a:pt x="2844" y="2515"/>
                    </a:moveTo>
                    <a:cubicBezTo>
                      <a:pt x="6492" y="-954"/>
                      <a:pt x="12293" y="-834"/>
                      <a:pt x="15822" y="2874"/>
                    </a:cubicBezTo>
                    <a:cubicBezTo>
                      <a:pt x="19291" y="6582"/>
                      <a:pt x="19171" y="12383"/>
                      <a:pt x="15523" y="15912"/>
                    </a:cubicBezTo>
                    <a:cubicBezTo>
                      <a:pt x="11875" y="19381"/>
                      <a:pt x="6073" y="19261"/>
                      <a:pt x="2545" y="15553"/>
                    </a:cubicBezTo>
                    <a:cubicBezTo>
                      <a:pt x="-984" y="11845"/>
                      <a:pt x="-804" y="5984"/>
                      <a:pt x="2844" y="2515"/>
                    </a:cubicBezTo>
                    <a:close/>
                  </a:path>
                </a:pathLst>
              </a:custGeom>
              <a:grpFill/>
              <a:ln w="5978" cap="flat">
                <a:noFill/>
                <a:prstDash val="solid"/>
                <a:miter/>
              </a:ln>
            </p:spPr>
            <p:txBody>
              <a:bodyPr rtlCol="0" anchor="ctr"/>
              <a:lstStyle/>
              <a:p>
                <a:endParaRPr lang="en-GB"/>
              </a:p>
            </p:txBody>
          </p:sp>
          <p:sp>
            <p:nvSpPr>
              <p:cNvPr id="4688" name="Vrije vorm: vorm 4687">
                <a:extLst>
                  <a:ext uri="{FF2B5EF4-FFF2-40B4-BE49-F238E27FC236}">
                    <a16:creationId xmlns:a16="http://schemas.microsoft.com/office/drawing/2014/main" id="{82125601-1D0A-4FDC-9E29-824F1AE0E1DE}"/>
                  </a:ext>
                </a:extLst>
              </p:cNvPr>
              <p:cNvSpPr/>
              <p:nvPr/>
            </p:nvSpPr>
            <p:spPr>
              <a:xfrm>
                <a:off x="7270092" y="2242127"/>
                <a:ext cx="18366" cy="18472"/>
              </a:xfrm>
              <a:custGeom>
                <a:avLst/>
                <a:gdLst>
                  <a:gd name="connsiteX0" fmla="*/ 2844 w 18366"/>
                  <a:gd name="connsiteY0" fmla="*/ 2538 h 18472"/>
                  <a:gd name="connsiteX1" fmla="*/ 2545 w 18366"/>
                  <a:gd name="connsiteY1" fmla="*/ 15576 h 18472"/>
                  <a:gd name="connsiteX2" fmla="*/ 15523 w 18366"/>
                  <a:gd name="connsiteY2" fmla="*/ 15935 h 18472"/>
                  <a:gd name="connsiteX3" fmla="*/ 15822 w 18366"/>
                  <a:gd name="connsiteY3" fmla="*/ 2897 h 18472"/>
                  <a:gd name="connsiteX4" fmla="*/ 2844 w 18366"/>
                  <a:gd name="connsiteY4" fmla="*/ 2538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2">
                    <a:moveTo>
                      <a:pt x="2844" y="2538"/>
                    </a:moveTo>
                    <a:cubicBezTo>
                      <a:pt x="-804" y="6007"/>
                      <a:pt x="-984" y="11868"/>
                      <a:pt x="2545" y="15576"/>
                    </a:cubicBezTo>
                    <a:cubicBezTo>
                      <a:pt x="6074" y="19284"/>
                      <a:pt x="11815" y="19464"/>
                      <a:pt x="15523" y="15935"/>
                    </a:cubicBezTo>
                    <a:cubicBezTo>
                      <a:pt x="19171" y="12466"/>
                      <a:pt x="19351" y="6605"/>
                      <a:pt x="15822" y="2897"/>
                    </a:cubicBezTo>
                    <a:cubicBezTo>
                      <a:pt x="12293" y="-811"/>
                      <a:pt x="6492" y="-991"/>
                      <a:pt x="2844" y="2538"/>
                    </a:cubicBezTo>
                    <a:close/>
                  </a:path>
                </a:pathLst>
              </a:custGeom>
              <a:grpFill/>
              <a:ln w="5978" cap="flat">
                <a:noFill/>
                <a:prstDash val="solid"/>
                <a:miter/>
              </a:ln>
            </p:spPr>
            <p:txBody>
              <a:bodyPr rtlCol="0" anchor="ctr"/>
              <a:lstStyle/>
              <a:p>
                <a:endParaRPr lang="en-GB"/>
              </a:p>
            </p:txBody>
          </p:sp>
        </p:grpSp>
        <p:grpSp>
          <p:nvGrpSpPr>
            <p:cNvPr id="232" name="Graphic 3">
              <a:extLst>
                <a:ext uri="{FF2B5EF4-FFF2-40B4-BE49-F238E27FC236}">
                  <a16:creationId xmlns:a16="http://schemas.microsoft.com/office/drawing/2014/main" id="{4243C2FE-BBA2-4A27-BD63-DE76D53AECBB}"/>
                </a:ext>
              </a:extLst>
            </p:cNvPr>
            <p:cNvGrpSpPr/>
            <p:nvPr/>
          </p:nvGrpSpPr>
          <p:grpSpPr>
            <a:xfrm>
              <a:off x="7091645" y="1442656"/>
              <a:ext cx="26165" cy="33094"/>
              <a:chOff x="7091645" y="1442656"/>
              <a:chExt cx="26165" cy="33094"/>
            </a:xfrm>
            <a:grpFill/>
          </p:grpSpPr>
          <p:sp>
            <p:nvSpPr>
              <p:cNvPr id="4683" name="Vrije vorm: vorm 4682">
                <a:extLst>
                  <a:ext uri="{FF2B5EF4-FFF2-40B4-BE49-F238E27FC236}">
                    <a16:creationId xmlns:a16="http://schemas.microsoft.com/office/drawing/2014/main" id="{40A5803D-5C85-433E-945B-B92FFEEA94AF}"/>
                  </a:ext>
                </a:extLst>
              </p:cNvPr>
              <p:cNvSpPr/>
              <p:nvPr/>
            </p:nvSpPr>
            <p:spPr>
              <a:xfrm>
                <a:off x="7099256" y="1450724"/>
                <a:ext cx="10945" cy="16925"/>
              </a:xfrm>
              <a:custGeom>
                <a:avLst/>
                <a:gdLst>
                  <a:gd name="connsiteX0" fmla="*/ 10945 w 10945"/>
                  <a:gd name="connsiteY0" fmla="*/ 1495 h 16925"/>
                  <a:gd name="connsiteX1" fmla="*/ 2692 w 10945"/>
                  <a:gd name="connsiteY1" fmla="*/ 16925 h 16925"/>
                  <a:gd name="connsiteX2" fmla="*/ 0 w 10945"/>
                  <a:gd name="connsiteY2" fmla="*/ 15490 h 16925"/>
                  <a:gd name="connsiteX3" fmla="*/ 8253 w 10945"/>
                  <a:gd name="connsiteY3" fmla="*/ 0 h 16925"/>
                </a:gdLst>
                <a:ahLst/>
                <a:cxnLst>
                  <a:cxn ang="0">
                    <a:pos x="connsiteX0" y="connsiteY0"/>
                  </a:cxn>
                  <a:cxn ang="0">
                    <a:pos x="connsiteX1" y="connsiteY1"/>
                  </a:cxn>
                  <a:cxn ang="0">
                    <a:pos x="connsiteX2" y="connsiteY2"/>
                  </a:cxn>
                  <a:cxn ang="0">
                    <a:pos x="connsiteX3" y="connsiteY3"/>
                  </a:cxn>
                </a:cxnLst>
                <a:rect l="l" t="t" r="r" b="b"/>
                <a:pathLst>
                  <a:path w="10945" h="16925">
                    <a:moveTo>
                      <a:pt x="10945" y="1495"/>
                    </a:moveTo>
                    <a:lnTo>
                      <a:pt x="2692" y="16925"/>
                    </a:lnTo>
                    <a:lnTo>
                      <a:pt x="0" y="15490"/>
                    </a:lnTo>
                    <a:lnTo>
                      <a:pt x="8253" y="0"/>
                    </a:lnTo>
                    <a:close/>
                  </a:path>
                </a:pathLst>
              </a:custGeom>
              <a:grpFill/>
              <a:ln w="5978" cap="flat">
                <a:noFill/>
                <a:prstDash val="solid"/>
                <a:miter/>
              </a:ln>
            </p:spPr>
            <p:txBody>
              <a:bodyPr rtlCol="0" anchor="ctr"/>
              <a:lstStyle/>
              <a:p>
                <a:endParaRPr lang="en-GB"/>
              </a:p>
            </p:txBody>
          </p:sp>
          <p:sp>
            <p:nvSpPr>
              <p:cNvPr id="4684" name="Vrije vorm: vorm 4683">
                <a:extLst>
                  <a:ext uri="{FF2B5EF4-FFF2-40B4-BE49-F238E27FC236}">
                    <a16:creationId xmlns:a16="http://schemas.microsoft.com/office/drawing/2014/main" id="{5BDF50DF-AE1B-4BE4-A4F8-832CBD50D086}"/>
                  </a:ext>
                </a:extLst>
              </p:cNvPr>
              <p:cNvSpPr/>
              <p:nvPr/>
            </p:nvSpPr>
            <p:spPr>
              <a:xfrm>
                <a:off x="7091645" y="1457336"/>
                <a:ext cx="18331" cy="18414"/>
              </a:xfrm>
              <a:custGeom>
                <a:avLst/>
                <a:gdLst>
                  <a:gd name="connsiteX0" fmla="*/ 17240 w 18331"/>
                  <a:gd name="connsiteY0" fmla="*/ 13603 h 18414"/>
                  <a:gd name="connsiteX1" fmla="*/ 4800 w 18331"/>
                  <a:gd name="connsiteY1" fmla="*/ 17311 h 18414"/>
                  <a:gd name="connsiteX2" fmla="*/ 1092 w 18331"/>
                  <a:gd name="connsiteY2" fmla="*/ 4812 h 18414"/>
                  <a:gd name="connsiteX3" fmla="*/ 13532 w 18331"/>
                  <a:gd name="connsiteY3" fmla="*/ 1103 h 18414"/>
                  <a:gd name="connsiteX4" fmla="*/ 17240 w 18331"/>
                  <a:gd name="connsiteY4" fmla="*/ 136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14">
                    <a:moveTo>
                      <a:pt x="17240" y="13603"/>
                    </a:moveTo>
                    <a:cubicBezTo>
                      <a:pt x="14848" y="18089"/>
                      <a:pt x="9285" y="19704"/>
                      <a:pt x="4800" y="17311"/>
                    </a:cubicBezTo>
                    <a:cubicBezTo>
                      <a:pt x="374" y="14859"/>
                      <a:pt x="-1301" y="9297"/>
                      <a:pt x="1092" y="4812"/>
                    </a:cubicBezTo>
                    <a:cubicBezTo>
                      <a:pt x="3484" y="326"/>
                      <a:pt x="9046" y="-1289"/>
                      <a:pt x="13532" y="1103"/>
                    </a:cubicBezTo>
                    <a:cubicBezTo>
                      <a:pt x="17958" y="3496"/>
                      <a:pt x="19632" y="9118"/>
                      <a:pt x="17240" y="13603"/>
                    </a:cubicBezTo>
                    <a:close/>
                  </a:path>
                </a:pathLst>
              </a:custGeom>
              <a:grpFill/>
              <a:ln w="5978" cap="flat">
                <a:noFill/>
                <a:prstDash val="solid"/>
                <a:miter/>
              </a:ln>
            </p:spPr>
            <p:txBody>
              <a:bodyPr rtlCol="0" anchor="ctr"/>
              <a:lstStyle/>
              <a:p>
                <a:endParaRPr lang="en-GB"/>
              </a:p>
            </p:txBody>
          </p:sp>
          <p:sp>
            <p:nvSpPr>
              <p:cNvPr id="4685" name="Vrije vorm: vorm 4684">
                <a:extLst>
                  <a:ext uri="{FF2B5EF4-FFF2-40B4-BE49-F238E27FC236}">
                    <a16:creationId xmlns:a16="http://schemas.microsoft.com/office/drawing/2014/main" id="{5A922B04-9E6D-4223-B759-FBD295BEDA3E}"/>
                  </a:ext>
                </a:extLst>
              </p:cNvPr>
              <p:cNvSpPr/>
              <p:nvPr/>
            </p:nvSpPr>
            <p:spPr>
              <a:xfrm>
                <a:off x="7099454" y="1442656"/>
                <a:ext cx="18357" cy="18441"/>
              </a:xfrm>
              <a:custGeom>
                <a:avLst/>
                <a:gdLst>
                  <a:gd name="connsiteX0" fmla="*/ 17266 w 18357"/>
                  <a:gd name="connsiteY0" fmla="*/ 13630 h 18441"/>
                  <a:gd name="connsiteX1" fmla="*/ 13558 w 18357"/>
                  <a:gd name="connsiteY1" fmla="*/ 1130 h 18441"/>
                  <a:gd name="connsiteX2" fmla="*/ 1118 w 18357"/>
                  <a:gd name="connsiteY2" fmla="*/ 4838 h 18441"/>
                  <a:gd name="connsiteX3" fmla="*/ 4826 w 18357"/>
                  <a:gd name="connsiteY3" fmla="*/ 17338 h 18441"/>
                  <a:gd name="connsiteX4" fmla="*/ 17266 w 18357"/>
                  <a:gd name="connsiteY4" fmla="*/ 1363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1">
                    <a:moveTo>
                      <a:pt x="17266" y="13630"/>
                    </a:moveTo>
                    <a:cubicBezTo>
                      <a:pt x="19658" y="9144"/>
                      <a:pt x="17983" y="3582"/>
                      <a:pt x="13558" y="1130"/>
                    </a:cubicBezTo>
                    <a:cubicBezTo>
                      <a:pt x="9072" y="-1322"/>
                      <a:pt x="3570" y="352"/>
                      <a:pt x="1118" y="4838"/>
                    </a:cubicBezTo>
                    <a:cubicBezTo>
                      <a:pt x="-1334" y="9324"/>
                      <a:pt x="400" y="14886"/>
                      <a:pt x="4826" y="17338"/>
                    </a:cubicBezTo>
                    <a:cubicBezTo>
                      <a:pt x="9312" y="19730"/>
                      <a:pt x="14873" y="18115"/>
                      <a:pt x="17266" y="13630"/>
                    </a:cubicBezTo>
                    <a:close/>
                  </a:path>
                </a:pathLst>
              </a:custGeom>
              <a:grpFill/>
              <a:ln w="5978" cap="flat">
                <a:noFill/>
                <a:prstDash val="solid"/>
                <a:miter/>
              </a:ln>
            </p:spPr>
            <p:txBody>
              <a:bodyPr rtlCol="0" anchor="ctr"/>
              <a:lstStyle/>
              <a:p>
                <a:endParaRPr lang="en-GB"/>
              </a:p>
            </p:txBody>
          </p:sp>
        </p:grpSp>
        <p:grpSp>
          <p:nvGrpSpPr>
            <p:cNvPr id="233" name="Graphic 3">
              <a:extLst>
                <a:ext uri="{FF2B5EF4-FFF2-40B4-BE49-F238E27FC236}">
                  <a16:creationId xmlns:a16="http://schemas.microsoft.com/office/drawing/2014/main" id="{4D2C5653-5863-4FE1-B7D5-36FD95873E3A}"/>
                </a:ext>
              </a:extLst>
            </p:cNvPr>
            <p:cNvGrpSpPr/>
            <p:nvPr/>
          </p:nvGrpSpPr>
          <p:grpSpPr>
            <a:xfrm>
              <a:off x="7257237" y="2086990"/>
              <a:ext cx="143096" cy="141788"/>
              <a:chOff x="7257237" y="2086990"/>
              <a:chExt cx="143096" cy="141788"/>
            </a:xfrm>
            <a:grpFill/>
          </p:grpSpPr>
          <p:sp>
            <p:nvSpPr>
              <p:cNvPr id="4680" name="Vrije vorm: vorm 4679">
                <a:extLst>
                  <a:ext uri="{FF2B5EF4-FFF2-40B4-BE49-F238E27FC236}">
                    <a16:creationId xmlns:a16="http://schemas.microsoft.com/office/drawing/2014/main" id="{9AB3B94E-5E6B-4A25-B9A1-EE4B4E564ACF}"/>
                  </a:ext>
                </a:extLst>
              </p:cNvPr>
              <p:cNvSpPr/>
              <p:nvPr/>
            </p:nvSpPr>
            <p:spPr>
              <a:xfrm>
                <a:off x="7265042" y="2094788"/>
                <a:ext cx="127508" cy="126133"/>
              </a:xfrm>
              <a:custGeom>
                <a:avLst/>
                <a:gdLst>
                  <a:gd name="connsiteX0" fmla="*/ 127509 w 127508"/>
                  <a:gd name="connsiteY0" fmla="*/ 2213 h 126133"/>
                  <a:gd name="connsiteX1" fmla="*/ 2153 w 127508"/>
                  <a:gd name="connsiteY1" fmla="*/ 126133 h 126133"/>
                  <a:gd name="connsiteX2" fmla="*/ 0 w 127508"/>
                  <a:gd name="connsiteY2" fmla="*/ 123980 h 126133"/>
                  <a:gd name="connsiteX3" fmla="*/ 125356 w 127508"/>
                  <a:gd name="connsiteY3" fmla="*/ 0 h 126133"/>
                </a:gdLst>
                <a:ahLst/>
                <a:cxnLst>
                  <a:cxn ang="0">
                    <a:pos x="connsiteX0" y="connsiteY0"/>
                  </a:cxn>
                  <a:cxn ang="0">
                    <a:pos x="connsiteX1" y="connsiteY1"/>
                  </a:cxn>
                  <a:cxn ang="0">
                    <a:pos x="connsiteX2" y="connsiteY2"/>
                  </a:cxn>
                  <a:cxn ang="0">
                    <a:pos x="connsiteX3" y="connsiteY3"/>
                  </a:cxn>
                </a:cxnLst>
                <a:rect l="l" t="t" r="r" b="b"/>
                <a:pathLst>
                  <a:path w="127508" h="126133">
                    <a:moveTo>
                      <a:pt x="127509" y="2213"/>
                    </a:moveTo>
                    <a:lnTo>
                      <a:pt x="2153" y="126133"/>
                    </a:lnTo>
                    <a:lnTo>
                      <a:pt x="0" y="123980"/>
                    </a:lnTo>
                    <a:lnTo>
                      <a:pt x="125356" y="0"/>
                    </a:lnTo>
                    <a:close/>
                  </a:path>
                </a:pathLst>
              </a:custGeom>
              <a:grpFill/>
              <a:ln w="5978" cap="flat">
                <a:noFill/>
                <a:prstDash val="solid"/>
                <a:miter/>
              </a:ln>
            </p:spPr>
            <p:txBody>
              <a:bodyPr rtlCol="0" anchor="ctr"/>
              <a:lstStyle/>
              <a:p>
                <a:endParaRPr lang="en-GB"/>
              </a:p>
            </p:txBody>
          </p:sp>
          <p:sp>
            <p:nvSpPr>
              <p:cNvPr id="4681" name="Vrije vorm: vorm 4680">
                <a:extLst>
                  <a:ext uri="{FF2B5EF4-FFF2-40B4-BE49-F238E27FC236}">
                    <a16:creationId xmlns:a16="http://schemas.microsoft.com/office/drawing/2014/main" id="{5FD10F6D-32F9-4842-AC7B-50B0B507D9D4}"/>
                  </a:ext>
                </a:extLst>
              </p:cNvPr>
              <p:cNvSpPr/>
              <p:nvPr/>
            </p:nvSpPr>
            <p:spPr>
              <a:xfrm>
                <a:off x="7381994" y="2086990"/>
                <a:ext cx="18339" cy="18466"/>
              </a:xfrm>
              <a:custGeom>
                <a:avLst/>
                <a:gdLst>
                  <a:gd name="connsiteX0" fmla="*/ 2722 w 18339"/>
                  <a:gd name="connsiteY0" fmla="*/ 2654 h 18466"/>
                  <a:gd name="connsiteX1" fmla="*/ 15700 w 18339"/>
                  <a:gd name="connsiteY1" fmla="*/ 2774 h 18466"/>
                  <a:gd name="connsiteX2" fmla="*/ 15640 w 18339"/>
                  <a:gd name="connsiteY2" fmla="*/ 15812 h 18466"/>
                  <a:gd name="connsiteX3" fmla="*/ 2662 w 18339"/>
                  <a:gd name="connsiteY3" fmla="*/ 15692 h 18466"/>
                  <a:gd name="connsiteX4" fmla="*/ 2722 w 18339"/>
                  <a:gd name="connsiteY4" fmla="*/ 265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66">
                    <a:moveTo>
                      <a:pt x="2722" y="2654"/>
                    </a:moveTo>
                    <a:cubicBezTo>
                      <a:pt x="6310" y="-934"/>
                      <a:pt x="12111" y="-874"/>
                      <a:pt x="15700" y="2774"/>
                    </a:cubicBezTo>
                    <a:cubicBezTo>
                      <a:pt x="19229" y="6422"/>
                      <a:pt x="19229" y="12224"/>
                      <a:pt x="15640" y="15812"/>
                    </a:cubicBezTo>
                    <a:cubicBezTo>
                      <a:pt x="12051" y="19400"/>
                      <a:pt x="6250" y="19341"/>
                      <a:pt x="2662" y="15692"/>
                    </a:cubicBezTo>
                    <a:cubicBezTo>
                      <a:pt x="-927" y="12044"/>
                      <a:pt x="-867" y="6183"/>
                      <a:pt x="2722" y="2654"/>
                    </a:cubicBezTo>
                    <a:close/>
                  </a:path>
                </a:pathLst>
              </a:custGeom>
              <a:grpFill/>
              <a:ln w="5978" cap="flat">
                <a:noFill/>
                <a:prstDash val="solid"/>
                <a:miter/>
              </a:ln>
            </p:spPr>
            <p:txBody>
              <a:bodyPr rtlCol="0" anchor="ctr"/>
              <a:lstStyle/>
              <a:p>
                <a:endParaRPr lang="en-GB"/>
              </a:p>
            </p:txBody>
          </p:sp>
          <p:sp>
            <p:nvSpPr>
              <p:cNvPr id="4682" name="Vrije vorm: vorm 4681">
                <a:extLst>
                  <a:ext uri="{FF2B5EF4-FFF2-40B4-BE49-F238E27FC236}">
                    <a16:creationId xmlns:a16="http://schemas.microsoft.com/office/drawing/2014/main" id="{C80BEC71-52E1-4093-8EC9-77CA4C8FEC7B}"/>
                  </a:ext>
                </a:extLst>
              </p:cNvPr>
              <p:cNvSpPr/>
              <p:nvPr/>
            </p:nvSpPr>
            <p:spPr>
              <a:xfrm>
                <a:off x="7257237" y="2210313"/>
                <a:ext cx="18361" cy="18466"/>
              </a:xfrm>
              <a:custGeom>
                <a:avLst/>
                <a:gdLst>
                  <a:gd name="connsiteX0" fmla="*/ 2721 w 18361"/>
                  <a:gd name="connsiteY0" fmla="*/ 2654 h 18466"/>
                  <a:gd name="connsiteX1" fmla="*/ 2662 w 18361"/>
                  <a:gd name="connsiteY1" fmla="*/ 15692 h 18466"/>
                  <a:gd name="connsiteX2" fmla="*/ 15640 w 18361"/>
                  <a:gd name="connsiteY2" fmla="*/ 15812 h 18466"/>
                  <a:gd name="connsiteX3" fmla="*/ 15700 w 18361"/>
                  <a:gd name="connsiteY3" fmla="*/ 2774 h 18466"/>
                  <a:gd name="connsiteX4" fmla="*/ 2721 w 18361"/>
                  <a:gd name="connsiteY4" fmla="*/ 265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66">
                    <a:moveTo>
                      <a:pt x="2721" y="2654"/>
                    </a:moveTo>
                    <a:cubicBezTo>
                      <a:pt x="-867" y="6243"/>
                      <a:pt x="-927" y="12044"/>
                      <a:pt x="2662" y="15692"/>
                    </a:cubicBezTo>
                    <a:cubicBezTo>
                      <a:pt x="6191" y="19341"/>
                      <a:pt x="12052" y="19400"/>
                      <a:pt x="15640" y="15812"/>
                    </a:cubicBezTo>
                    <a:cubicBezTo>
                      <a:pt x="19228" y="12283"/>
                      <a:pt x="19288" y="6422"/>
                      <a:pt x="15700" y="2774"/>
                    </a:cubicBezTo>
                    <a:cubicBezTo>
                      <a:pt x="12171" y="-874"/>
                      <a:pt x="6370" y="-934"/>
                      <a:pt x="2721" y="2654"/>
                    </a:cubicBezTo>
                    <a:close/>
                  </a:path>
                </a:pathLst>
              </a:custGeom>
              <a:grpFill/>
              <a:ln w="5978" cap="flat">
                <a:noFill/>
                <a:prstDash val="solid"/>
                <a:miter/>
              </a:ln>
            </p:spPr>
            <p:txBody>
              <a:bodyPr rtlCol="0" anchor="ctr"/>
              <a:lstStyle/>
              <a:p>
                <a:endParaRPr lang="en-GB"/>
              </a:p>
            </p:txBody>
          </p:sp>
        </p:grpSp>
        <p:grpSp>
          <p:nvGrpSpPr>
            <p:cNvPr id="234" name="Graphic 3">
              <a:extLst>
                <a:ext uri="{FF2B5EF4-FFF2-40B4-BE49-F238E27FC236}">
                  <a16:creationId xmlns:a16="http://schemas.microsoft.com/office/drawing/2014/main" id="{D64DE746-055E-4B60-A0FE-F7576ADBDDD1}"/>
                </a:ext>
              </a:extLst>
            </p:cNvPr>
            <p:cNvGrpSpPr/>
            <p:nvPr/>
          </p:nvGrpSpPr>
          <p:grpSpPr>
            <a:xfrm>
              <a:off x="7905709" y="3885428"/>
              <a:ext cx="66122" cy="30656"/>
              <a:chOff x="7905709" y="3885428"/>
              <a:chExt cx="66122" cy="30656"/>
            </a:xfrm>
            <a:grpFill/>
          </p:grpSpPr>
          <p:sp>
            <p:nvSpPr>
              <p:cNvPr id="4677" name="Vrije vorm: vorm 4676">
                <a:extLst>
                  <a:ext uri="{FF2B5EF4-FFF2-40B4-BE49-F238E27FC236}">
                    <a16:creationId xmlns:a16="http://schemas.microsoft.com/office/drawing/2014/main" id="{1EA398A0-C9AC-4024-8B61-648B75294F9E}"/>
                  </a:ext>
                </a:extLst>
              </p:cNvPr>
              <p:cNvSpPr/>
              <p:nvPr/>
            </p:nvSpPr>
            <p:spPr>
              <a:xfrm>
                <a:off x="7914070" y="3893011"/>
                <a:ext cx="49400" cy="15489"/>
              </a:xfrm>
              <a:custGeom>
                <a:avLst/>
                <a:gdLst>
                  <a:gd name="connsiteX0" fmla="*/ 49400 w 49400"/>
                  <a:gd name="connsiteY0" fmla="*/ 12500 h 15489"/>
                  <a:gd name="connsiteX1" fmla="*/ 48623 w 49400"/>
                  <a:gd name="connsiteY1" fmla="*/ 15490 h 15489"/>
                  <a:gd name="connsiteX2" fmla="*/ 0 w 49400"/>
                  <a:gd name="connsiteY2" fmla="*/ 2990 h 15489"/>
                  <a:gd name="connsiteX3" fmla="*/ 777 w 49400"/>
                  <a:gd name="connsiteY3" fmla="*/ 0 h 15489"/>
                </a:gdLst>
                <a:ahLst/>
                <a:cxnLst>
                  <a:cxn ang="0">
                    <a:pos x="connsiteX0" y="connsiteY0"/>
                  </a:cxn>
                  <a:cxn ang="0">
                    <a:pos x="connsiteX1" y="connsiteY1"/>
                  </a:cxn>
                  <a:cxn ang="0">
                    <a:pos x="connsiteX2" y="connsiteY2"/>
                  </a:cxn>
                  <a:cxn ang="0">
                    <a:pos x="connsiteX3" y="connsiteY3"/>
                  </a:cxn>
                </a:cxnLst>
                <a:rect l="l" t="t" r="r" b="b"/>
                <a:pathLst>
                  <a:path w="49400" h="15489">
                    <a:moveTo>
                      <a:pt x="49400" y="12500"/>
                    </a:moveTo>
                    <a:lnTo>
                      <a:pt x="48623" y="15490"/>
                    </a:lnTo>
                    <a:lnTo>
                      <a:pt x="0" y="2990"/>
                    </a:lnTo>
                    <a:lnTo>
                      <a:pt x="777" y="0"/>
                    </a:lnTo>
                    <a:close/>
                  </a:path>
                </a:pathLst>
              </a:custGeom>
              <a:grpFill/>
              <a:ln w="5978" cap="flat">
                <a:noFill/>
                <a:prstDash val="solid"/>
                <a:miter/>
              </a:ln>
            </p:spPr>
            <p:txBody>
              <a:bodyPr rtlCol="0" anchor="ctr"/>
              <a:lstStyle/>
              <a:p>
                <a:endParaRPr lang="en-GB"/>
              </a:p>
            </p:txBody>
          </p:sp>
          <p:sp>
            <p:nvSpPr>
              <p:cNvPr id="4678" name="Vrije vorm: vorm 4677">
                <a:extLst>
                  <a:ext uri="{FF2B5EF4-FFF2-40B4-BE49-F238E27FC236}">
                    <a16:creationId xmlns:a16="http://schemas.microsoft.com/office/drawing/2014/main" id="{A96DEFFD-4177-431F-B5DF-324E52440F66}"/>
                  </a:ext>
                </a:extLst>
              </p:cNvPr>
              <p:cNvSpPr/>
              <p:nvPr/>
            </p:nvSpPr>
            <p:spPr>
              <a:xfrm>
                <a:off x="7905709" y="3885428"/>
                <a:ext cx="18336" cy="18399"/>
              </a:xfrm>
              <a:custGeom>
                <a:avLst/>
                <a:gdLst>
                  <a:gd name="connsiteX0" fmla="*/ 6925 w 18336"/>
                  <a:gd name="connsiteY0" fmla="*/ 18109 h 18399"/>
                  <a:gd name="connsiteX1" fmla="*/ 287 w 18336"/>
                  <a:gd name="connsiteY1" fmla="*/ 6925 h 18399"/>
                  <a:gd name="connsiteX2" fmla="*/ 11411 w 18336"/>
                  <a:gd name="connsiteY2" fmla="*/ 287 h 18399"/>
                  <a:gd name="connsiteX3" fmla="*/ 18050 w 18336"/>
                  <a:gd name="connsiteY3" fmla="*/ 11471 h 18399"/>
                  <a:gd name="connsiteX4" fmla="*/ 6925 w 18336"/>
                  <a:gd name="connsiteY4" fmla="*/ 18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9">
                    <a:moveTo>
                      <a:pt x="6925" y="18109"/>
                    </a:moveTo>
                    <a:cubicBezTo>
                      <a:pt x="2021" y="16853"/>
                      <a:pt x="-969" y="11829"/>
                      <a:pt x="287" y="6925"/>
                    </a:cubicBezTo>
                    <a:cubicBezTo>
                      <a:pt x="1543" y="2021"/>
                      <a:pt x="6507" y="-969"/>
                      <a:pt x="11411" y="287"/>
                    </a:cubicBezTo>
                    <a:cubicBezTo>
                      <a:pt x="16315" y="1543"/>
                      <a:pt x="19306" y="6566"/>
                      <a:pt x="18050" y="11471"/>
                    </a:cubicBezTo>
                    <a:cubicBezTo>
                      <a:pt x="16853" y="16435"/>
                      <a:pt x="11830" y="19365"/>
                      <a:pt x="6925" y="18109"/>
                    </a:cubicBezTo>
                    <a:close/>
                  </a:path>
                </a:pathLst>
              </a:custGeom>
              <a:grpFill/>
              <a:ln w="5978" cap="flat">
                <a:noFill/>
                <a:prstDash val="solid"/>
                <a:miter/>
              </a:ln>
            </p:spPr>
            <p:txBody>
              <a:bodyPr rtlCol="0" anchor="ctr"/>
              <a:lstStyle/>
              <a:p>
                <a:endParaRPr lang="en-GB"/>
              </a:p>
            </p:txBody>
          </p:sp>
          <p:sp>
            <p:nvSpPr>
              <p:cNvPr id="4679" name="Vrije vorm: vorm 4678">
                <a:extLst>
                  <a:ext uri="{FF2B5EF4-FFF2-40B4-BE49-F238E27FC236}">
                    <a16:creationId xmlns:a16="http://schemas.microsoft.com/office/drawing/2014/main" id="{04B1843C-2803-40B6-9E57-9A99190F201A}"/>
                  </a:ext>
                </a:extLst>
              </p:cNvPr>
              <p:cNvSpPr/>
              <p:nvPr/>
            </p:nvSpPr>
            <p:spPr>
              <a:xfrm>
                <a:off x="7953495" y="3897689"/>
                <a:ext cx="18336" cy="18395"/>
              </a:xfrm>
              <a:custGeom>
                <a:avLst/>
                <a:gdLst>
                  <a:gd name="connsiteX0" fmla="*/ 6926 w 18336"/>
                  <a:gd name="connsiteY0" fmla="*/ 18109 h 18395"/>
                  <a:gd name="connsiteX1" fmla="*/ 18050 w 18336"/>
                  <a:gd name="connsiteY1" fmla="*/ 11470 h 18395"/>
                  <a:gd name="connsiteX2" fmla="*/ 11411 w 18336"/>
                  <a:gd name="connsiteY2" fmla="*/ 287 h 18395"/>
                  <a:gd name="connsiteX3" fmla="*/ 287 w 18336"/>
                  <a:gd name="connsiteY3" fmla="*/ 6925 h 18395"/>
                  <a:gd name="connsiteX4" fmla="*/ 6926 w 18336"/>
                  <a:gd name="connsiteY4" fmla="*/ 18109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5">
                    <a:moveTo>
                      <a:pt x="6926" y="18109"/>
                    </a:moveTo>
                    <a:cubicBezTo>
                      <a:pt x="11830" y="19365"/>
                      <a:pt x="16793" y="16375"/>
                      <a:pt x="18050" y="11470"/>
                    </a:cubicBezTo>
                    <a:cubicBezTo>
                      <a:pt x="19306" y="6566"/>
                      <a:pt x="16315" y="1543"/>
                      <a:pt x="11411" y="287"/>
                    </a:cubicBezTo>
                    <a:cubicBezTo>
                      <a:pt x="6507" y="-969"/>
                      <a:pt x="1543" y="2021"/>
                      <a:pt x="287" y="6925"/>
                    </a:cubicBezTo>
                    <a:cubicBezTo>
                      <a:pt x="-969" y="11829"/>
                      <a:pt x="2021" y="16853"/>
                      <a:pt x="6926" y="18109"/>
                    </a:cubicBezTo>
                    <a:close/>
                  </a:path>
                </a:pathLst>
              </a:custGeom>
              <a:grpFill/>
              <a:ln w="5978" cap="flat">
                <a:noFill/>
                <a:prstDash val="solid"/>
                <a:miter/>
              </a:ln>
            </p:spPr>
            <p:txBody>
              <a:bodyPr rtlCol="0" anchor="ctr"/>
              <a:lstStyle/>
              <a:p>
                <a:endParaRPr lang="en-GB"/>
              </a:p>
            </p:txBody>
          </p:sp>
        </p:grpSp>
        <p:grpSp>
          <p:nvGrpSpPr>
            <p:cNvPr id="235" name="Graphic 3">
              <a:extLst>
                <a:ext uri="{FF2B5EF4-FFF2-40B4-BE49-F238E27FC236}">
                  <a16:creationId xmlns:a16="http://schemas.microsoft.com/office/drawing/2014/main" id="{DA59C9F9-F42E-4FFD-95B1-3699846A5949}"/>
                </a:ext>
              </a:extLst>
            </p:cNvPr>
            <p:cNvGrpSpPr/>
            <p:nvPr/>
          </p:nvGrpSpPr>
          <p:grpSpPr>
            <a:xfrm>
              <a:off x="7867543" y="4261151"/>
              <a:ext cx="455426" cy="223208"/>
              <a:chOff x="7867543" y="4261151"/>
              <a:chExt cx="455426" cy="223208"/>
            </a:xfrm>
            <a:grpFill/>
          </p:grpSpPr>
          <p:sp>
            <p:nvSpPr>
              <p:cNvPr id="4674" name="Vrije vorm: vorm 4673">
                <a:extLst>
                  <a:ext uri="{FF2B5EF4-FFF2-40B4-BE49-F238E27FC236}">
                    <a16:creationId xmlns:a16="http://schemas.microsoft.com/office/drawing/2014/main" id="{0797BEE4-3A62-43E6-9941-2900A9E9A347}"/>
                  </a:ext>
                </a:extLst>
              </p:cNvPr>
              <p:cNvSpPr/>
              <p:nvPr/>
            </p:nvSpPr>
            <p:spPr>
              <a:xfrm>
                <a:off x="7875614" y="4268780"/>
                <a:ext cx="439223" cy="207949"/>
              </a:xfrm>
              <a:custGeom>
                <a:avLst/>
                <a:gdLst>
                  <a:gd name="connsiteX0" fmla="*/ 439224 w 439223"/>
                  <a:gd name="connsiteY0" fmla="*/ 205139 h 207949"/>
                  <a:gd name="connsiteX1" fmla="*/ 437968 w 439223"/>
                  <a:gd name="connsiteY1" fmla="*/ 207950 h 207949"/>
                  <a:gd name="connsiteX2" fmla="*/ 0 w 439223"/>
                  <a:gd name="connsiteY2" fmla="*/ 2751 h 207949"/>
                  <a:gd name="connsiteX3" fmla="*/ 1256 w 439223"/>
                  <a:gd name="connsiteY3" fmla="*/ 0 h 207949"/>
                </a:gdLst>
                <a:ahLst/>
                <a:cxnLst>
                  <a:cxn ang="0">
                    <a:pos x="connsiteX0" y="connsiteY0"/>
                  </a:cxn>
                  <a:cxn ang="0">
                    <a:pos x="connsiteX1" y="connsiteY1"/>
                  </a:cxn>
                  <a:cxn ang="0">
                    <a:pos x="connsiteX2" y="connsiteY2"/>
                  </a:cxn>
                  <a:cxn ang="0">
                    <a:pos x="connsiteX3" y="connsiteY3"/>
                  </a:cxn>
                </a:cxnLst>
                <a:rect l="l" t="t" r="r" b="b"/>
                <a:pathLst>
                  <a:path w="439223" h="207949">
                    <a:moveTo>
                      <a:pt x="439224" y="205139"/>
                    </a:moveTo>
                    <a:lnTo>
                      <a:pt x="437968" y="207950"/>
                    </a:lnTo>
                    <a:lnTo>
                      <a:pt x="0" y="2751"/>
                    </a:lnTo>
                    <a:lnTo>
                      <a:pt x="1256" y="0"/>
                    </a:lnTo>
                    <a:close/>
                  </a:path>
                </a:pathLst>
              </a:custGeom>
              <a:grpFill/>
              <a:ln w="5978" cap="flat">
                <a:noFill/>
                <a:prstDash val="solid"/>
                <a:miter/>
              </a:ln>
            </p:spPr>
            <p:txBody>
              <a:bodyPr rtlCol="0" anchor="ctr"/>
              <a:lstStyle/>
              <a:p>
                <a:endParaRPr lang="en-GB"/>
              </a:p>
            </p:txBody>
          </p:sp>
          <p:sp>
            <p:nvSpPr>
              <p:cNvPr id="4675" name="Vrije vorm: vorm 4674">
                <a:extLst>
                  <a:ext uri="{FF2B5EF4-FFF2-40B4-BE49-F238E27FC236}">
                    <a16:creationId xmlns:a16="http://schemas.microsoft.com/office/drawing/2014/main" id="{716BD27B-A91D-4509-A85E-915885DE3B59}"/>
                  </a:ext>
                </a:extLst>
              </p:cNvPr>
              <p:cNvSpPr/>
              <p:nvPr/>
            </p:nvSpPr>
            <p:spPr>
              <a:xfrm>
                <a:off x="8304674" y="4465930"/>
                <a:ext cx="18295" cy="18428"/>
              </a:xfrm>
              <a:custGeom>
                <a:avLst/>
                <a:gdLst>
                  <a:gd name="connsiteX0" fmla="*/ 12975 w 18295"/>
                  <a:gd name="connsiteY0" fmla="*/ 871 h 18428"/>
                  <a:gd name="connsiteX1" fmla="*/ 17461 w 18295"/>
                  <a:gd name="connsiteY1" fmla="*/ 13132 h 18428"/>
                  <a:gd name="connsiteX2" fmla="*/ 5320 w 18295"/>
                  <a:gd name="connsiteY2" fmla="*/ 17557 h 18428"/>
                  <a:gd name="connsiteX3" fmla="*/ 834 w 18295"/>
                  <a:gd name="connsiteY3" fmla="*/ 5297 h 18428"/>
                  <a:gd name="connsiteX4" fmla="*/ 12975 w 18295"/>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28">
                    <a:moveTo>
                      <a:pt x="12975" y="871"/>
                    </a:moveTo>
                    <a:cubicBezTo>
                      <a:pt x="17581" y="3024"/>
                      <a:pt x="19554" y="8527"/>
                      <a:pt x="17461" y="13132"/>
                    </a:cubicBezTo>
                    <a:cubicBezTo>
                      <a:pt x="15308" y="17737"/>
                      <a:pt x="9865" y="19710"/>
                      <a:pt x="5320" y="17557"/>
                    </a:cubicBezTo>
                    <a:cubicBezTo>
                      <a:pt x="715" y="15405"/>
                      <a:pt x="-1259" y="9902"/>
                      <a:pt x="834" y="5297"/>
                    </a:cubicBezTo>
                    <a:cubicBezTo>
                      <a:pt x="2927" y="692"/>
                      <a:pt x="8370" y="-1282"/>
                      <a:pt x="12975" y="871"/>
                    </a:cubicBezTo>
                    <a:close/>
                  </a:path>
                </a:pathLst>
              </a:custGeom>
              <a:grpFill/>
              <a:ln w="5978" cap="flat">
                <a:noFill/>
                <a:prstDash val="solid"/>
                <a:miter/>
              </a:ln>
            </p:spPr>
            <p:txBody>
              <a:bodyPr rtlCol="0" anchor="ctr"/>
              <a:lstStyle/>
              <a:p>
                <a:endParaRPr lang="en-GB"/>
              </a:p>
            </p:txBody>
          </p:sp>
          <p:sp>
            <p:nvSpPr>
              <p:cNvPr id="4676" name="Vrije vorm: vorm 4675">
                <a:extLst>
                  <a:ext uri="{FF2B5EF4-FFF2-40B4-BE49-F238E27FC236}">
                    <a16:creationId xmlns:a16="http://schemas.microsoft.com/office/drawing/2014/main" id="{4693F4A5-C1AC-4473-9BCA-9A5410F3261B}"/>
                  </a:ext>
                </a:extLst>
              </p:cNvPr>
              <p:cNvSpPr/>
              <p:nvPr/>
            </p:nvSpPr>
            <p:spPr>
              <a:xfrm>
                <a:off x="7867543" y="4261151"/>
                <a:ext cx="18295" cy="18428"/>
              </a:xfrm>
              <a:custGeom>
                <a:avLst/>
                <a:gdLst>
                  <a:gd name="connsiteX0" fmla="*/ 12975 w 18295"/>
                  <a:gd name="connsiteY0" fmla="*/ 871 h 18428"/>
                  <a:gd name="connsiteX1" fmla="*/ 835 w 18295"/>
                  <a:gd name="connsiteY1" fmla="*/ 5297 h 18428"/>
                  <a:gd name="connsiteX2" fmla="*/ 5320 w 18295"/>
                  <a:gd name="connsiteY2" fmla="*/ 17558 h 18428"/>
                  <a:gd name="connsiteX3" fmla="*/ 17460 w 18295"/>
                  <a:gd name="connsiteY3" fmla="*/ 13132 h 18428"/>
                  <a:gd name="connsiteX4" fmla="*/ 12975 w 18295"/>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28">
                    <a:moveTo>
                      <a:pt x="12975" y="871"/>
                    </a:moveTo>
                    <a:cubicBezTo>
                      <a:pt x="8370" y="-1282"/>
                      <a:pt x="2928" y="692"/>
                      <a:pt x="835" y="5297"/>
                    </a:cubicBezTo>
                    <a:cubicBezTo>
                      <a:pt x="-1259" y="9902"/>
                      <a:pt x="715" y="15404"/>
                      <a:pt x="5320" y="17558"/>
                    </a:cubicBezTo>
                    <a:cubicBezTo>
                      <a:pt x="9925" y="19710"/>
                      <a:pt x="15367" y="17737"/>
                      <a:pt x="17460" y="13132"/>
                    </a:cubicBezTo>
                    <a:cubicBezTo>
                      <a:pt x="19554" y="8467"/>
                      <a:pt x="17580" y="3024"/>
                      <a:pt x="12975" y="871"/>
                    </a:cubicBezTo>
                    <a:close/>
                  </a:path>
                </a:pathLst>
              </a:custGeom>
              <a:grpFill/>
              <a:ln w="5978" cap="flat">
                <a:noFill/>
                <a:prstDash val="solid"/>
                <a:miter/>
              </a:ln>
            </p:spPr>
            <p:txBody>
              <a:bodyPr rtlCol="0" anchor="ctr"/>
              <a:lstStyle/>
              <a:p>
                <a:endParaRPr lang="en-GB"/>
              </a:p>
            </p:txBody>
          </p:sp>
        </p:grpSp>
        <p:grpSp>
          <p:nvGrpSpPr>
            <p:cNvPr id="236" name="Graphic 3">
              <a:extLst>
                <a:ext uri="{FF2B5EF4-FFF2-40B4-BE49-F238E27FC236}">
                  <a16:creationId xmlns:a16="http://schemas.microsoft.com/office/drawing/2014/main" id="{B407C8E7-6E89-495A-AAAC-CB050956798A}"/>
                </a:ext>
              </a:extLst>
            </p:cNvPr>
            <p:cNvGrpSpPr/>
            <p:nvPr/>
          </p:nvGrpSpPr>
          <p:grpSpPr>
            <a:xfrm>
              <a:off x="7784331" y="3924209"/>
              <a:ext cx="360909" cy="120195"/>
              <a:chOff x="7784331" y="3924209"/>
              <a:chExt cx="360909" cy="120195"/>
            </a:xfrm>
            <a:grpFill/>
          </p:grpSpPr>
          <p:sp>
            <p:nvSpPr>
              <p:cNvPr id="4671" name="Vrije vorm: vorm 4670">
                <a:extLst>
                  <a:ext uri="{FF2B5EF4-FFF2-40B4-BE49-F238E27FC236}">
                    <a16:creationId xmlns:a16="http://schemas.microsoft.com/office/drawing/2014/main" id="{C44C5533-B6A6-42D5-96AC-A8A09864B67F}"/>
                  </a:ext>
                </a:extLst>
              </p:cNvPr>
              <p:cNvSpPr/>
              <p:nvPr/>
            </p:nvSpPr>
            <p:spPr>
              <a:xfrm>
                <a:off x="7792661" y="3931826"/>
                <a:ext cx="344309" cy="104961"/>
              </a:xfrm>
              <a:custGeom>
                <a:avLst/>
                <a:gdLst>
                  <a:gd name="connsiteX0" fmla="*/ 344310 w 344309"/>
                  <a:gd name="connsiteY0" fmla="*/ 102031 h 104961"/>
                  <a:gd name="connsiteX1" fmla="*/ 343413 w 344309"/>
                  <a:gd name="connsiteY1" fmla="*/ 104962 h 104961"/>
                  <a:gd name="connsiteX2" fmla="*/ 0 w 344309"/>
                  <a:gd name="connsiteY2" fmla="*/ 2930 h 104961"/>
                  <a:gd name="connsiteX3" fmla="*/ 837 w 344309"/>
                  <a:gd name="connsiteY3" fmla="*/ 0 h 104961"/>
                </a:gdLst>
                <a:ahLst/>
                <a:cxnLst>
                  <a:cxn ang="0">
                    <a:pos x="connsiteX0" y="connsiteY0"/>
                  </a:cxn>
                  <a:cxn ang="0">
                    <a:pos x="connsiteX1" y="connsiteY1"/>
                  </a:cxn>
                  <a:cxn ang="0">
                    <a:pos x="connsiteX2" y="connsiteY2"/>
                  </a:cxn>
                  <a:cxn ang="0">
                    <a:pos x="connsiteX3" y="connsiteY3"/>
                  </a:cxn>
                </a:cxnLst>
                <a:rect l="l" t="t" r="r" b="b"/>
                <a:pathLst>
                  <a:path w="344309" h="104961">
                    <a:moveTo>
                      <a:pt x="344310" y="102031"/>
                    </a:moveTo>
                    <a:lnTo>
                      <a:pt x="343413" y="104962"/>
                    </a:lnTo>
                    <a:lnTo>
                      <a:pt x="0" y="2930"/>
                    </a:lnTo>
                    <a:lnTo>
                      <a:pt x="837" y="0"/>
                    </a:lnTo>
                    <a:close/>
                  </a:path>
                </a:pathLst>
              </a:custGeom>
              <a:grpFill/>
              <a:ln w="5978" cap="flat">
                <a:noFill/>
                <a:prstDash val="solid"/>
                <a:miter/>
              </a:ln>
            </p:spPr>
            <p:txBody>
              <a:bodyPr rtlCol="0" anchor="ctr"/>
              <a:lstStyle/>
              <a:p>
                <a:endParaRPr lang="en-GB"/>
              </a:p>
            </p:txBody>
          </p:sp>
          <p:sp>
            <p:nvSpPr>
              <p:cNvPr id="4672" name="Vrije vorm: vorm 4671">
                <a:extLst>
                  <a:ext uri="{FF2B5EF4-FFF2-40B4-BE49-F238E27FC236}">
                    <a16:creationId xmlns:a16="http://schemas.microsoft.com/office/drawing/2014/main" id="{05A8A02C-63FA-44A5-A0AA-7BA5FB1E2249}"/>
                  </a:ext>
                </a:extLst>
              </p:cNvPr>
              <p:cNvSpPr/>
              <p:nvPr/>
            </p:nvSpPr>
            <p:spPr>
              <a:xfrm>
                <a:off x="8126907" y="4025980"/>
                <a:ext cx="18334" cy="18425"/>
              </a:xfrm>
              <a:custGeom>
                <a:avLst/>
                <a:gdLst>
                  <a:gd name="connsiteX0" fmla="*/ 11739 w 18334"/>
                  <a:gd name="connsiteY0" fmla="*/ 402 h 18425"/>
                  <a:gd name="connsiteX1" fmla="*/ 17959 w 18334"/>
                  <a:gd name="connsiteY1" fmla="*/ 11825 h 18425"/>
                  <a:gd name="connsiteX2" fmla="*/ 6596 w 18334"/>
                  <a:gd name="connsiteY2" fmla="*/ 18045 h 18425"/>
                  <a:gd name="connsiteX3" fmla="*/ 375 w 18334"/>
                  <a:gd name="connsiteY3" fmla="*/ 6622 h 18425"/>
                  <a:gd name="connsiteX4" fmla="*/ 11739 w 18334"/>
                  <a:gd name="connsiteY4" fmla="*/ 40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5">
                    <a:moveTo>
                      <a:pt x="11739" y="402"/>
                    </a:moveTo>
                    <a:cubicBezTo>
                      <a:pt x="16584" y="1837"/>
                      <a:pt x="19394" y="6980"/>
                      <a:pt x="17959" y="11825"/>
                    </a:cubicBezTo>
                    <a:cubicBezTo>
                      <a:pt x="16524" y="16729"/>
                      <a:pt x="11440" y="19480"/>
                      <a:pt x="6596" y="18045"/>
                    </a:cubicBezTo>
                    <a:cubicBezTo>
                      <a:pt x="1751" y="16609"/>
                      <a:pt x="-1060" y="11466"/>
                      <a:pt x="375" y="6622"/>
                    </a:cubicBezTo>
                    <a:cubicBezTo>
                      <a:pt x="1811" y="1717"/>
                      <a:pt x="6895" y="-1093"/>
                      <a:pt x="11739" y="402"/>
                    </a:cubicBezTo>
                    <a:close/>
                  </a:path>
                </a:pathLst>
              </a:custGeom>
              <a:grpFill/>
              <a:ln w="5978" cap="flat">
                <a:noFill/>
                <a:prstDash val="solid"/>
                <a:miter/>
              </a:ln>
            </p:spPr>
            <p:txBody>
              <a:bodyPr rtlCol="0" anchor="ctr"/>
              <a:lstStyle/>
              <a:p>
                <a:endParaRPr lang="en-GB"/>
              </a:p>
            </p:txBody>
          </p:sp>
          <p:sp>
            <p:nvSpPr>
              <p:cNvPr id="4673" name="Vrije vorm: vorm 4672">
                <a:extLst>
                  <a:ext uri="{FF2B5EF4-FFF2-40B4-BE49-F238E27FC236}">
                    <a16:creationId xmlns:a16="http://schemas.microsoft.com/office/drawing/2014/main" id="{BE07DF5E-D586-4E52-9E10-31FD5A5A9B68}"/>
                  </a:ext>
                </a:extLst>
              </p:cNvPr>
              <p:cNvSpPr/>
              <p:nvPr/>
            </p:nvSpPr>
            <p:spPr>
              <a:xfrm>
                <a:off x="7784331" y="3924209"/>
                <a:ext cx="18338" cy="18403"/>
              </a:xfrm>
              <a:custGeom>
                <a:avLst/>
                <a:gdLst>
                  <a:gd name="connsiteX0" fmla="*/ 11738 w 18338"/>
                  <a:gd name="connsiteY0" fmla="*/ 380 h 18403"/>
                  <a:gd name="connsiteX1" fmla="*/ 376 w 18338"/>
                  <a:gd name="connsiteY1" fmla="*/ 6600 h 18403"/>
                  <a:gd name="connsiteX2" fmla="*/ 6595 w 18338"/>
                  <a:gd name="connsiteY2" fmla="*/ 18023 h 18403"/>
                  <a:gd name="connsiteX3" fmla="*/ 17959 w 18338"/>
                  <a:gd name="connsiteY3" fmla="*/ 11803 h 18403"/>
                  <a:gd name="connsiteX4" fmla="*/ 11738 w 18338"/>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3">
                    <a:moveTo>
                      <a:pt x="11738" y="380"/>
                    </a:moveTo>
                    <a:cubicBezTo>
                      <a:pt x="6894" y="-1055"/>
                      <a:pt x="1811" y="1696"/>
                      <a:pt x="376" y="6600"/>
                    </a:cubicBezTo>
                    <a:cubicBezTo>
                      <a:pt x="-1060" y="11504"/>
                      <a:pt x="1751" y="16588"/>
                      <a:pt x="6595" y="18023"/>
                    </a:cubicBezTo>
                    <a:cubicBezTo>
                      <a:pt x="11440" y="19459"/>
                      <a:pt x="16523" y="16707"/>
                      <a:pt x="17959" y="11803"/>
                    </a:cubicBezTo>
                    <a:cubicBezTo>
                      <a:pt x="19394" y="6959"/>
                      <a:pt x="16643" y="1815"/>
                      <a:pt x="11738" y="380"/>
                    </a:cubicBezTo>
                    <a:close/>
                  </a:path>
                </a:pathLst>
              </a:custGeom>
              <a:grpFill/>
              <a:ln w="5978" cap="flat">
                <a:noFill/>
                <a:prstDash val="solid"/>
                <a:miter/>
              </a:ln>
            </p:spPr>
            <p:txBody>
              <a:bodyPr rtlCol="0" anchor="ctr"/>
              <a:lstStyle/>
              <a:p>
                <a:endParaRPr lang="en-GB"/>
              </a:p>
            </p:txBody>
          </p:sp>
        </p:grpSp>
        <p:grpSp>
          <p:nvGrpSpPr>
            <p:cNvPr id="237" name="Graphic 3">
              <a:extLst>
                <a:ext uri="{FF2B5EF4-FFF2-40B4-BE49-F238E27FC236}">
                  <a16:creationId xmlns:a16="http://schemas.microsoft.com/office/drawing/2014/main" id="{C2E85751-B744-44B1-B818-1A3217685741}"/>
                </a:ext>
              </a:extLst>
            </p:cNvPr>
            <p:cNvGrpSpPr/>
            <p:nvPr/>
          </p:nvGrpSpPr>
          <p:grpSpPr>
            <a:xfrm>
              <a:off x="7908168" y="4076608"/>
              <a:ext cx="178098" cy="75797"/>
              <a:chOff x="7908168" y="4076608"/>
              <a:chExt cx="178098" cy="75797"/>
            </a:xfrm>
            <a:grpFill/>
          </p:grpSpPr>
          <p:sp>
            <p:nvSpPr>
              <p:cNvPr id="4668" name="Vrije vorm: vorm 4667">
                <a:extLst>
                  <a:ext uri="{FF2B5EF4-FFF2-40B4-BE49-F238E27FC236}">
                    <a16:creationId xmlns:a16="http://schemas.microsoft.com/office/drawing/2014/main" id="{A64E3BD0-460D-4669-B8ED-2CDB82C7FFFB}"/>
                  </a:ext>
                </a:extLst>
              </p:cNvPr>
              <p:cNvSpPr/>
              <p:nvPr/>
            </p:nvSpPr>
            <p:spPr>
              <a:xfrm>
                <a:off x="7916402" y="4084215"/>
                <a:ext cx="161659" cy="60584"/>
              </a:xfrm>
              <a:custGeom>
                <a:avLst/>
                <a:gdLst>
                  <a:gd name="connsiteX0" fmla="*/ 161659 w 161659"/>
                  <a:gd name="connsiteY0" fmla="*/ 57714 h 60584"/>
                  <a:gd name="connsiteX1" fmla="*/ 160643 w 161659"/>
                  <a:gd name="connsiteY1" fmla="*/ 60585 h 60584"/>
                  <a:gd name="connsiteX2" fmla="*/ 0 w 161659"/>
                  <a:gd name="connsiteY2" fmla="*/ 2871 h 60584"/>
                  <a:gd name="connsiteX3" fmla="*/ 1017 w 161659"/>
                  <a:gd name="connsiteY3" fmla="*/ 0 h 60584"/>
                </a:gdLst>
                <a:ahLst/>
                <a:cxnLst>
                  <a:cxn ang="0">
                    <a:pos x="connsiteX0" y="connsiteY0"/>
                  </a:cxn>
                  <a:cxn ang="0">
                    <a:pos x="connsiteX1" y="connsiteY1"/>
                  </a:cxn>
                  <a:cxn ang="0">
                    <a:pos x="connsiteX2" y="connsiteY2"/>
                  </a:cxn>
                  <a:cxn ang="0">
                    <a:pos x="connsiteX3" y="connsiteY3"/>
                  </a:cxn>
                </a:cxnLst>
                <a:rect l="l" t="t" r="r" b="b"/>
                <a:pathLst>
                  <a:path w="161659" h="60584">
                    <a:moveTo>
                      <a:pt x="161659" y="57714"/>
                    </a:moveTo>
                    <a:lnTo>
                      <a:pt x="160643" y="60585"/>
                    </a:lnTo>
                    <a:lnTo>
                      <a:pt x="0" y="2871"/>
                    </a:lnTo>
                    <a:lnTo>
                      <a:pt x="1017" y="0"/>
                    </a:lnTo>
                    <a:close/>
                  </a:path>
                </a:pathLst>
              </a:custGeom>
              <a:grpFill/>
              <a:ln w="5978" cap="flat">
                <a:noFill/>
                <a:prstDash val="solid"/>
                <a:miter/>
              </a:ln>
            </p:spPr>
            <p:txBody>
              <a:bodyPr rtlCol="0" anchor="ctr"/>
              <a:lstStyle/>
              <a:p>
                <a:endParaRPr lang="en-GB"/>
              </a:p>
            </p:txBody>
          </p:sp>
          <p:sp>
            <p:nvSpPr>
              <p:cNvPr id="4669" name="Vrije vorm: vorm 4668">
                <a:extLst>
                  <a:ext uri="{FF2B5EF4-FFF2-40B4-BE49-F238E27FC236}">
                    <a16:creationId xmlns:a16="http://schemas.microsoft.com/office/drawing/2014/main" id="{EB8D5C8D-95F5-46C0-A7CA-D03D2F4382BE}"/>
                  </a:ext>
                </a:extLst>
              </p:cNvPr>
              <p:cNvSpPr/>
              <p:nvPr/>
            </p:nvSpPr>
            <p:spPr>
              <a:xfrm>
                <a:off x="8067883" y="4133963"/>
                <a:ext cx="18383" cy="18443"/>
              </a:xfrm>
              <a:custGeom>
                <a:avLst/>
                <a:gdLst>
                  <a:gd name="connsiteX0" fmla="*/ 12272 w 18383"/>
                  <a:gd name="connsiteY0" fmla="*/ 549 h 18443"/>
                  <a:gd name="connsiteX1" fmla="*/ 17834 w 18383"/>
                  <a:gd name="connsiteY1" fmla="*/ 12332 h 18443"/>
                  <a:gd name="connsiteX2" fmla="*/ 6112 w 18383"/>
                  <a:gd name="connsiteY2" fmla="*/ 17894 h 18443"/>
                  <a:gd name="connsiteX3" fmla="*/ 550 w 18383"/>
                  <a:gd name="connsiteY3" fmla="*/ 6112 h 18443"/>
                  <a:gd name="connsiteX4" fmla="*/ 12272 w 18383"/>
                  <a:gd name="connsiteY4" fmla="*/ 54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43">
                    <a:moveTo>
                      <a:pt x="12272" y="549"/>
                    </a:moveTo>
                    <a:cubicBezTo>
                      <a:pt x="17056" y="2284"/>
                      <a:pt x="19569" y="7547"/>
                      <a:pt x="17834" y="12332"/>
                    </a:cubicBezTo>
                    <a:cubicBezTo>
                      <a:pt x="16159" y="17116"/>
                      <a:pt x="10896" y="19628"/>
                      <a:pt x="6112" y="17894"/>
                    </a:cubicBezTo>
                    <a:cubicBezTo>
                      <a:pt x="1327" y="16159"/>
                      <a:pt x="-1185" y="10896"/>
                      <a:pt x="550" y="6112"/>
                    </a:cubicBezTo>
                    <a:cubicBezTo>
                      <a:pt x="2284" y="1327"/>
                      <a:pt x="7487" y="-1185"/>
                      <a:pt x="12272" y="549"/>
                    </a:cubicBezTo>
                    <a:close/>
                  </a:path>
                </a:pathLst>
              </a:custGeom>
              <a:grpFill/>
              <a:ln w="5978" cap="flat">
                <a:noFill/>
                <a:prstDash val="solid"/>
                <a:miter/>
              </a:ln>
            </p:spPr>
            <p:txBody>
              <a:bodyPr rtlCol="0" anchor="ctr"/>
              <a:lstStyle/>
              <a:p>
                <a:endParaRPr lang="en-GB"/>
              </a:p>
            </p:txBody>
          </p:sp>
          <p:sp>
            <p:nvSpPr>
              <p:cNvPr id="4670" name="Vrije vorm: vorm 4669">
                <a:extLst>
                  <a:ext uri="{FF2B5EF4-FFF2-40B4-BE49-F238E27FC236}">
                    <a16:creationId xmlns:a16="http://schemas.microsoft.com/office/drawing/2014/main" id="{54D978B7-B00D-4275-8859-0DEC607FBE47}"/>
                  </a:ext>
                </a:extLst>
              </p:cNvPr>
              <p:cNvSpPr/>
              <p:nvPr/>
            </p:nvSpPr>
            <p:spPr>
              <a:xfrm>
                <a:off x="7908168" y="4076608"/>
                <a:ext cx="18353" cy="18442"/>
              </a:xfrm>
              <a:custGeom>
                <a:avLst/>
                <a:gdLst>
                  <a:gd name="connsiteX0" fmla="*/ 12241 w 18353"/>
                  <a:gd name="connsiteY0" fmla="*/ 549 h 18442"/>
                  <a:gd name="connsiteX1" fmla="*/ 519 w 18353"/>
                  <a:gd name="connsiteY1" fmla="*/ 6111 h 18442"/>
                  <a:gd name="connsiteX2" fmla="*/ 6081 w 18353"/>
                  <a:gd name="connsiteY2" fmla="*/ 17893 h 18442"/>
                  <a:gd name="connsiteX3" fmla="*/ 17804 w 18353"/>
                  <a:gd name="connsiteY3" fmla="*/ 12331 h 18442"/>
                  <a:gd name="connsiteX4" fmla="*/ 12241 w 18353"/>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2">
                    <a:moveTo>
                      <a:pt x="12241" y="549"/>
                    </a:moveTo>
                    <a:cubicBezTo>
                      <a:pt x="7457" y="-1185"/>
                      <a:pt x="2253" y="1327"/>
                      <a:pt x="519" y="6111"/>
                    </a:cubicBezTo>
                    <a:cubicBezTo>
                      <a:pt x="-1155" y="10896"/>
                      <a:pt x="1357" y="16159"/>
                      <a:pt x="6081" y="17893"/>
                    </a:cubicBezTo>
                    <a:cubicBezTo>
                      <a:pt x="10866" y="19628"/>
                      <a:pt x="16069" y="17116"/>
                      <a:pt x="17804" y="12331"/>
                    </a:cubicBezTo>
                    <a:cubicBezTo>
                      <a:pt x="19538" y="7547"/>
                      <a:pt x="17026" y="2284"/>
                      <a:pt x="12241" y="549"/>
                    </a:cubicBezTo>
                    <a:close/>
                  </a:path>
                </a:pathLst>
              </a:custGeom>
              <a:grpFill/>
              <a:ln w="5978" cap="flat">
                <a:noFill/>
                <a:prstDash val="solid"/>
                <a:miter/>
              </a:ln>
            </p:spPr>
            <p:txBody>
              <a:bodyPr rtlCol="0" anchor="ctr"/>
              <a:lstStyle/>
              <a:p>
                <a:endParaRPr lang="en-GB"/>
              </a:p>
            </p:txBody>
          </p:sp>
        </p:grpSp>
        <p:grpSp>
          <p:nvGrpSpPr>
            <p:cNvPr id="238" name="Graphic 3">
              <a:extLst>
                <a:ext uri="{FF2B5EF4-FFF2-40B4-BE49-F238E27FC236}">
                  <a16:creationId xmlns:a16="http://schemas.microsoft.com/office/drawing/2014/main" id="{2F931656-2E71-47D2-96B0-5DF7448D505B}"/>
                </a:ext>
              </a:extLst>
            </p:cNvPr>
            <p:cNvGrpSpPr/>
            <p:nvPr/>
          </p:nvGrpSpPr>
          <p:grpSpPr>
            <a:xfrm>
              <a:off x="7422498" y="2423150"/>
              <a:ext cx="47443" cy="38807"/>
              <a:chOff x="7422498" y="2423150"/>
              <a:chExt cx="47443" cy="38807"/>
            </a:xfrm>
            <a:grpFill/>
          </p:grpSpPr>
          <p:sp>
            <p:nvSpPr>
              <p:cNvPr id="4665" name="Vrije vorm: vorm 4664">
                <a:extLst>
                  <a:ext uri="{FF2B5EF4-FFF2-40B4-BE49-F238E27FC236}">
                    <a16:creationId xmlns:a16="http://schemas.microsoft.com/office/drawing/2014/main" id="{C14B527B-9CA4-42AE-9D36-3D869E90DAC5}"/>
                  </a:ext>
                </a:extLst>
              </p:cNvPr>
              <p:cNvSpPr/>
              <p:nvPr/>
            </p:nvSpPr>
            <p:spPr>
              <a:xfrm>
                <a:off x="7430408" y="2430844"/>
                <a:ext cx="31638" cy="23444"/>
              </a:xfrm>
              <a:custGeom>
                <a:avLst/>
                <a:gdLst>
                  <a:gd name="connsiteX0" fmla="*/ 31638 w 31638"/>
                  <a:gd name="connsiteY0" fmla="*/ 2512 h 23444"/>
                  <a:gd name="connsiteX1" fmla="*/ 1795 w 31638"/>
                  <a:gd name="connsiteY1" fmla="*/ 23445 h 23444"/>
                  <a:gd name="connsiteX2" fmla="*/ 0 w 31638"/>
                  <a:gd name="connsiteY2" fmla="*/ 20933 h 23444"/>
                  <a:gd name="connsiteX3" fmla="*/ 29904 w 31638"/>
                  <a:gd name="connsiteY3" fmla="*/ 0 h 23444"/>
                </a:gdLst>
                <a:ahLst/>
                <a:cxnLst>
                  <a:cxn ang="0">
                    <a:pos x="connsiteX0" y="connsiteY0"/>
                  </a:cxn>
                  <a:cxn ang="0">
                    <a:pos x="connsiteX1" y="connsiteY1"/>
                  </a:cxn>
                  <a:cxn ang="0">
                    <a:pos x="connsiteX2" y="connsiteY2"/>
                  </a:cxn>
                  <a:cxn ang="0">
                    <a:pos x="connsiteX3" y="connsiteY3"/>
                  </a:cxn>
                </a:cxnLst>
                <a:rect l="l" t="t" r="r" b="b"/>
                <a:pathLst>
                  <a:path w="31638" h="23444">
                    <a:moveTo>
                      <a:pt x="31638" y="2512"/>
                    </a:moveTo>
                    <a:lnTo>
                      <a:pt x="1795" y="23445"/>
                    </a:lnTo>
                    <a:lnTo>
                      <a:pt x="0" y="20933"/>
                    </a:lnTo>
                    <a:lnTo>
                      <a:pt x="29904" y="0"/>
                    </a:lnTo>
                    <a:close/>
                  </a:path>
                </a:pathLst>
              </a:custGeom>
              <a:grpFill/>
              <a:ln w="5978" cap="flat">
                <a:noFill/>
                <a:prstDash val="solid"/>
                <a:miter/>
              </a:ln>
            </p:spPr>
            <p:txBody>
              <a:bodyPr rtlCol="0" anchor="ctr"/>
              <a:lstStyle/>
              <a:p>
                <a:endParaRPr lang="en-GB"/>
              </a:p>
            </p:txBody>
          </p:sp>
          <p:sp>
            <p:nvSpPr>
              <p:cNvPr id="4666" name="Vrije vorm: vorm 4665">
                <a:extLst>
                  <a:ext uri="{FF2B5EF4-FFF2-40B4-BE49-F238E27FC236}">
                    <a16:creationId xmlns:a16="http://schemas.microsoft.com/office/drawing/2014/main" id="{17365DD5-60B2-4329-BD15-596C9D1DEA5B}"/>
                  </a:ext>
                </a:extLst>
              </p:cNvPr>
              <p:cNvSpPr/>
              <p:nvPr/>
            </p:nvSpPr>
            <p:spPr>
              <a:xfrm>
                <a:off x="7451624" y="2423150"/>
                <a:ext cx="18316" cy="18439"/>
              </a:xfrm>
              <a:custGeom>
                <a:avLst/>
                <a:gdLst>
                  <a:gd name="connsiteX0" fmla="*/ 3904 w 18316"/>
                  <a:gd name="connsiteY0" fmla="*/ 1654 h 18439"/>
                  <a:gd name="connsiteX1" fmla="*/ 16643 w 18316"/>
                  <a:gd name="connsiteY1" fmla="*/ 3987 h 18439"/>
                  <a:gd name="connsiteX2" fmla="*/ 14370 w 18316"/>
                  <a:gd name="connsiteY2" fmla="*/ 16786 h 18439"/>
                  <a:gd name="connsiteX3" fmla="*/ 1631 w 18316"/>
                  <a:gd name="connsiteY3" fmla="*/ 14453 h 18439"/>
                  <a:gd name="connsiteX4" fmla="*/ 3904 w 18316"/>
                  <a:gd name="connsiteY4" fmla="*/ 165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9">
                    <a:moveTo>
                      <a:pt x="3904" y="1654"/>
                    </a:moveTo>
                    <a:cubicBezTo>
                      <a:pt x="8031" y="-1276"/>
                      <a:pt x="13773" y="-200"/>
                      <a:pt x="16643" y="3987"/>
                    </a:cubicBezTo>
                    <a:cubicBezTo>
                      <a:pt x="19574" y="8173"/>
                      <a:pt x="18557" y="13915"/>
                      <a:pt x="14370" y="16786"/>
                    </a:cubicBezTo>
                    <a:cubicBezTo>
                      <a:pt x="10243" y="19716"/>
                      <a:pt x="4502" y="18640"/>
                      <a:pt x="1631" y="14453"/>
                    </a:cubicBezTo>
                    <a:cubicBezTo>
                      <a:pt x="-1239" y="10326"/>
                      <a:pt x="-223" y="4585"/>
                      <a:pt x="3904" y="1654"/>
                    </a:cubicBezTo>
                    <a:close/>
                  </a:path>
                </a:pathLst>
              </a:custGeom>
              <a:grpFill/>
              <a:ln w="5978" cap="flat">
                <a:noFill/>
                <a:prstDash val="solid"/>
                <a:miter/>
              </a:ln>
            </p:spPr>
            <p:txBody>
              <a:bodyPr rtlCol="0" anchor="ctr"/>
              <a:lstStyle/>
              <a:p>
                <a:endParaRPr lang="en-GB"/>
              </a:p>
            </p:txBody>
          </p:sp>
          <p:sp>
            <p:nvSpPr>
              <p:cNvPr id="4667" name="Vrije vorm: vorm 4666">
                <a:extLst>
                  <a:ext uri="{FF2B5EF4-FFF2-40B4-BE49-F238E27FC236}">
                    <a16:creationId xmlns:a16="http://schemas.microsoft.com/office/drawing/2014/main" id="{8EF3D473-F7B0-4A6A-AC0D-51F362A89B62}"/>
                  </a:ext>
                </a:extLst>
              </p:cNvPr>
              <p:cNvSpPr/>
              <p:nvPr/>
            </p:nvSpPr>
            <p:spPr>
              <a:xfrm>
                <a:off x="7422498" y="2443544"/>
                <a:ext cx="18274" cy="18413"/>
              </a:xfrm>
              <a:custGeom>
                <a:avLst/>
                <a:gdLst>
                  <a:gd name="connsiteX0" fmla="*/ 3904 w 18274"/>
                  <a:gd name="connsiteY0" fmla="*/ 1654 h 18413"/>
                  <a:gd name="connsiteX1" fmla="*/ 1631 w 18274"/>
                  <a:gd name="connsiteY1" fmla="*/ 14453 h 18413"/>
                  <a:gd name="connsiteX2" fmla="*/ 14370 w 18274"/>
                  <a:gd name="connsiteY2" fmla="*/ 16786 h 18413"/>
                  <a:gd name="connsiteX3" fmla="*/ 16643 w 18274"/>
                  <a:gd name="connsiteY3" fmla="*/ 3987 h 18413"/>
                  <a:gd name="connsiteX4" fmla="*/ 3904 w 18274"/>
                  <a:gd name="connsiteY4" fmla="*/ 165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13">
                    <a:moveTo>
                      <a:pt x="3904" y="1654"/>
                    </a:moveTo>
                    <a:cubicBezTo>
                      <a:pt x="-223" y="4585"/>
                      <a:pt x="-1239" y="10326"/>
                      <a:pt x="1631" y="14453"/>
                    </a:cubicBezTo>
                    <a:cubicBezTo>
                      <a:pt x="4562" y="18640"/>
                      <a:pt x="10243" y="19656"/>
                      <a:pt x="14370" y="16786"/>
                    </a:cubicBezTo>
                    <a:cubicBezTo>
                      <a:pt x="18497" y="13855"/>
                      <a:pt x="19514" y="8113"/>
                      <a:pt x="16643" y="3987"/>
                    </a:cubicBezTo>
                    <a:cubicBezTo>
                      <a:pt x="13773" y="-200"/>
                      <a:pt x="8090" y="-1276"/>
                      <a:pt x="3904" y="1654"/>
                    </a:cubicBezTo>
                    <a:close/>
                  </a:path>
                </a:pathLst>
              </a:custGeom>
              <a:grpFill/>
              <a:ln w="5978" cap="flat">
                <a:noFill/>
                <a:prstDash val="solid"/>
                <a:miter/>
              </a:ln>
            </p:spPr>
            <p:txBody>
              <a:bodyPr rtlCol="0" anchor="ctr"/>
              <a:lstStyle/>
              <a:p>
                <a:endParaRPr lang="en-GB"/>
              </a:p>
            </p:txBody>
          </p:sp>
        </p:grpSp>
        <p:grpSp>
          <p:nvGrpSpPr>
            <p:cNvPr id="239" name="Graphic 3">
              <a:extLst>
                <a:ext uri="{FF2B5EF4-FFF2-40B4-BE49-F238E27FC236}">
                  <a16:creationId xmlns:a16="http://schemas.microsoft.com/office/drawing/2014/main" id="{C1EF9176-E4F5-4EE3-A60A-403390060894}"/>
                </a:ext>
              </a:extLst>
            </p:cNvPr>
            <p:cNvGrpSpPr/>
            <p:nvPr/>
          </p:nvGrpSpPr>
          <p:grpSpPr>
            <a:xfrm>
              <a:off x="7180612" y="1859714"/>
              <a:ext cx="181179" cy="212797"/>
              <a:chOff x="7180612" y="1859714"/>
              <a:chExt cx="181179" cy="212797"/>
            </a:xfrm>
            <a:grpFill/>
          </p:grpSpPr>
          <p:sp>
            <p:nvSpPr>
              <p:cNvPr id="4662" name="Vrije vorm: vorm 4661">
                <a:extLst>
                  <a:ext uri="{FF2B5EF4-FFF2-40B4-BE49-F238E27FC236}">
                    <a16:creationId xmlns:a16="http://schemas.microsoft.com/office/drawing/2014/main" id="{CC181A0D-074E-4180-802B-DA3B92FC374D}"/>
                  </a:ext>
                </a:extLst>
              </p:cNvPr>
              <p:cNvSpPr/>
              <p:nvPr/>
            </p:nvSpPr>
            <p:spPr>
              <a:xfrm>
                <a:off x="7188309" y="1867580"/>
                <a:ext cx="165786" cy="197064"/>
              </a:xfrm>
              <a:custGeom>
                <a:avLst/>
                <a:gdLst>
                  <a:gd name="connsiteX0" fmla="*/ 165786 w 165786"/>
                  <a:gd name="connsiteY0" fmla="*/ 1974 h 197064"/>
                  <a:gd name="connsiteX1" fmla="*/ 2333 w 165786"/>
                  <a:gd name="connsiteY1" fmla="*/ 197065 h 197064"/>
                  <a:gd name="connsiteX2" fmla="*/ 0 w 165786"/>
                  <a:gd name="connsiteY2" fmla="*/ 195091 h 197064"/>
                  <a:gd name="connsiteX3" fmla="*/ 163454 w 165786"/>
                  <a:gd name="connsiteY3" fmla="*/ 0 h 197064"/>
                </a:gdLst>
                <a:ahLst/>
                <a:cxnLst>
                  <a:cxn ang="0">
                    <a:pos x="connsiteX0" y="connsiteY0"/>
                  </a:cxn>
                  <a:cxn ang="0">
                    <a:pos x="connsiteX1" y="connsiteY1"/>
                  </a:cxn>
                  <a:cxn ang="0">
                    <a:pos x="connsiteX2" y="connsiteY2"/>
                  </a:cxn>
                  <a:cxn ang="0">
                    <a:pos x="connsiteX3" y="connsiteY3"/>
                  </a:cxn>
                </a:cxnLst>
                <a:rect l="l" t="t" r="r" b="b"/>
                <a:pathLst>
                  <a:path w="165786" h="197064">
                    <a:moveTo>
                      <a:pt x="165786" y="1974"/>
                    </a:moveTo>
                    <a:lnTo>
                      <a:pt x="2333" y="197065"/>
                    </a:lnTo>
                    <a:lnTo>
                      <a:pt x="0" y="195091"/>
                    </a:lnTo>
                    <a:lnTo>
                      <a:pt x="163454" y="0"/>
                    </a:lnTo>
                    <a:close/>
                  </a:path>
                </a:pathLst>
              </a:custGeom>
              <a:grpFill/>
              <a:ln w="5978" cap="flat">
                <a:noFill/>
                <a:prstDash val="solid"/>
                <a:miter/>
              </a:ln>
            </p:spPr>
            <p:txBody>
              <a:bodyPr rtlCol="0" anchor="ctr"/>
              <a:lstStyle/>
              <a:p>
                <a:endParaRPr lang="en-GB"/>
              </a:p>
            </p:txBody>
          </p:sp>
          <p:sp>
            <p:nvSpPr>
              <p:cNvPr id="4663" name="Vrije vorm: vorm 4662">
                <a:extLst>
                  <a:ext uri="{FF2B5EF4-FFF2-40B4-BE49-F238E27FC236}">
                    <a16:creationId xmlns:a16="http://schemas.microsoft.com/office/drawing/2014/main" id="{276E4D49-7516-4DAD-A3E9-DC841713BF05}"/>
                  </a:ext>
                </a:extLst>
              </p:cNvPr>
              <p:cNvSpPr/>
              <p:nvPr/>
            </p:nvSpPr>
            <p:spPr>
              <a:xfrm>
                <a:off x="7343467" y="1859714"/>
                <a:ext cx="18324" cy="18423"/>
              </a:xfrm>
              <a:custGeom>
                <a:avLst/>
                <a:gdLst>
                  <a:gd name="connsiteX0" fmla="*/ 2135 w 18324"/>
                  <a:gd name="connsiteY0" fmla="*/ 3261 h 18423"/>
                  <a:gd name="connsiteX1" fmla="*/ 15054 w 18324"/>
                  <a:gd name="connsiteY1" fmla="*/ 2185 h 18423"/>
                  <a:gd name="connsiteX2" fmla="*/ 16190 w 18324"/>
                  <a:gd name="connsiteY2" fmla="*/ 15163 h 18423"/>
                  <a:gd name="connsiteX3" fmla="*/ 3271 w 18324"/>
                  <a:gd name="connsiteY3" fmla="*/ 16239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5365" y="-626"/>
                      <a:pt x="11166" y="-1105"/>
                      <a:pt x="15054" y="2185"/>
                    </a:cubicBezTo>
                    <a:cubicBezTo>
                      <a:pt x="18941" y="5474"/>
                      <a:pt x="19419" y="11275"/>
                      <a:pt x="16190" y="15163"/>
                    </a:cubicBezTo>
                    <a:cubicBezTo>
                      <a:pt x="12960" y="19050"/>
                      <a:pt x="7159" y="19529"/>
                      <a:pt x="3271" y="16239"/>
                    </a:cubicBezTo>
                    <a:cubicBezTo>
                      <a:pt x="-616" y="12950"/>
                      <a:pt x="-1095" y="7149"/>
                      <a:pt x="2135" y="3261"/>
                    </a:cubicBezTo>
                    <a:close/>
                  </a:path>
                </a:pathLst>
              </a:custGeom>
              <a:grpFill/>
              <a:ln w="5978" cap="flat">
                <a:noFill/>
                <a:prstDash val="solid"/>
                <a:miter/>
              </a:ln>
            </p:spPr>
            <p:txBody>
              <a:bodyPr rtlCol="0" anchor="ctr"/>
              <a:lstStyle/>
              <a:p>
                <a:endParaRPr lang="en-GB"/>
              </a:p>
            </p:txBody>
          </p:sp>
          <p:sp>
            <p:nvSpPr>
              <p:cNvPr id="4664" name="Vrije vorm: vorm 4663">
                <a:extLst>
                  <a:ext uri="{FF2B5EF4-FFF2-40B4-BE49-F238E27FC236}">
                    <a16:creationId xmlns:a16="http://schemas.microsoft.com/office/drawing/2014/main" id="{369FDFEF-3DF1-4D81-9521-84FBD197B75D}"/>
                  </a:ext>
                </a:extLst>
              </p:cNvPr>
              <p:cNvSpPr/>
              <p:nvPr/>
            </p:nvSpPr>
            <p:spPr>
              <a:xfrm>
                <a:off x="7180612" y="2054087"/>
                <a:ext cx="18324" cy="18423"/>
              </a:xfrm>
              <a:custGeom>
                <a:avLst/>
                <a:gdLst>
                  <a:gd name="connsiteX0" fmla="*/ 2135 w 18324"/>
                  <a:gd name="connsiteY0" fmla="*/ 3261 h 18423"/>
                  <a:gd name="connsiteX1" fmla="*/ 3271 w 18324"/>
                  <a:gd name="connsiteY1" fmla="*/ 16239 h 18423"/>
                  <a:gd name="connsiteX2" fmla="*/ 16190 w 18324"/>
                  <a:gd name="connsiteY2" fmla="*/ 15163 h 18423"/>
                  <a:gd name="connsiteX3" fmla="*/ 15053 w 18324"/>
                  <a:gd name="connsiteY3" fmla="*/ 2185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1095" y="7149"/>
                      <a:pt x="-616" y="12950"/>
                      <a:pt x="3271" y="16239"/>
                    </a:cubicBezTo>
                    <a:cubicBezTo>
                      <a:pt x="7159" y="19529"/>
                      <a:pt x="12900" y="19050"/>
                      <a:pt x="16190" y="15163"/>
                    </a:cubicBezTo>
                    <a:cubicBezTo>
                      <a:pt x="19420" y="11275"/>
                      <a:pt x="18941" y="5474"/>
                      <a:pt x="15053" y="2185"/>
                    </a:cubicBezTo>
                    <a:cubicBezTo>
                      <a:pt x="11166" y="-1105"/>
                      <a:pt x="5364" y="-626"/>
                      <a:pt x="2135" y="3261"/>
                    </a:cubicBezTo>
                    <a:close/>
                  </a:path>
                </a:pathLst>
              </a:custGeom>
              <a:grpFill/>
              <a:ln w="5978" cap="flat">
                <a:noFill/>
                <a:prstDash val="solid"/>
                <a:miter/>
              </a:ln>
            </p:spPr>
            <p:txBody>
              <a:bodyPr rtlCol="0" anchor="ctr"/>
              <a:lstStyle/>
              <a:p>
                <a:endParaRPr lang="en-GB"/>
              </a:p>
            </p:txBody>
          </p:sp>
        </p:grpSp>
        <p:grpSp>
          <p:nvGrpSpPr>
            <p:cNvPr id="240" name="Graphic 3">
              <a:extLst>
                <a:ext uri="{FF2B5EF4-FFF2-40B4-BE49-F238E27FC236}">
                  <a16:creationId xmlns:a16="http://schemas.microsoft.com/office/drawing/2014/main" id="{A8A064D1-635D-4CEB-B989-E3D2424506D3}"/>
                </a:ext>
              </a:extLst>
            </p:cNvPr>
            <p:cNvGrpSpPr/>
            <p:nvPr/>
          </p:nvGrpSpPr>
          <p:grpSpPr>
            <a:xfrm>
              <a:off x="7200287" y="1757804"/>
              <a:ext cx="48948" cy="61063"/>
              <a:chOff x="7200287" y="1757804"/>
              <a:chExt cx="48948" cy="61063"/>
            </a:xfrm>
            <a:grpFill/>
          </p:grpSpPr>
          <p:sp>
            <p:nvSpPr>
              <p:cNvPr id="4659" name="Vrije vorm: vorm 4658">
                <a:extLst>
                  <a:ext uri="{FF2B5EF4-FFF2-40B4-BE49-F238E27FC236}">
                    <a16:creationId xmlns:a16="http://schemas.microsoft.com/office/drawing/2014/main" id="{754099B0-8640-4F67-98F4-DF7D5F4E04F6}"/>
                  </a:ext>
                </a:extLst>
              </p:cNvPr>
              <p:cNvSpPr/>
              <p:nvPr/>
            </p:nvSpPr>
            <p:spPr>
              <a:xfrm>
                <a:off x="7207926" y="1765788"/>
                <a:ext cx="33611" cy="45154"/>
              </a:xfrm>
              <a:custGeom>
                <a:avLst/>
                <a:gdLst>
                  <a:gd name="connsiteX0" fmla="*/ 33612 w 33611"/>
                  <a:gd name="connsiteY0" fmla="*/ 1794 h 45154"/>
                  <a:gd name="connsiteX1" fmla="*/ 2452 w 33611"/>
                  <a:gd name="connsiteY1" fmla="*/ 45154 h 45154"/>
                  <a:gd name="connsiteX2" fmla="*/ 0 w 33611"/>
                  <a:gd name="connsiteY2" fmla="*/ 43360 h 45154"/>
                  <a:gd name="connsiteX3" fmla="*/ 31159 w 33611"/>
                  <a:gd name="connsiteY3" fmla="*/ 0 h 45154"/>
                </a:gdLst>
                <a:ahLst/>
                <a:cxnLst>
                  <a:cxn ang="0">
                    <a:pos x="connsiteX0" y="connsiteY0"/>
                  </a:cxn>
                  <a:cxn ang="0">
                    <a:pos x="connsiteX1" y="connsiteY1"/>
                  </a:cxn>
                  <a:cxn ang="0">
                    <a:pos x="connsiteX2" y="connsiteY2"/>
                  </a:cxn>
                  <a:cxn ang="0">
                    <a:pos x="connsiteX3" y="connsiteY3"/>
                  </a:cxn>
                </a:cxnLst>
                <a:rect l="l" t="t" r="r" b="b"/>
                <a:pathLst>
                  <a:path w="33611" h="45154">
                    <a:moveTo>
                      <a:pt x="33612" y="1794"/>
                    </a:moveTo>
                    <a:lnTo>
                      <a:pt x="2452" y="45154"/>
                    </a:lnTo>
                    <a:lnTo>
                      <a:pt x="0" y="43360"/>
                    </a:lnTo>
                    <a:lnTo>
                      <a:pt x="31159" y="0"/>
                    </a:lnTo>
                    <a:close/>
                  </a:path>
                </a:pathLst>
              </a:custGeom>
              <a:grpFill/>
              <a:ln w="5978" cap="flat">
                <a:noFill/>
                <a:prstDash val="solid"/>
                <a:miter/>
              </a:ln>
            </p:spPr>
            <p:txBody>
              <a:bodyPr rtlCol="0" anchor="ctr"/>
              <a:lstStyle/>
              <a:p>
                <a:endParaRPr lang="en-GB"/>
              </a:p>
            </p:txBody>
          </p:sp>
          <p:sp>
            <p:nvSpPr>
              <p:cNvPr id="4660" name="Vrije vorm: vorm 4659">
                <a:extLst>
                  <a:ext uri="{FF2B5EF4-FFF2-40B4-BE49-F238E27FC236}">
                    <a16:creationId xmlns:a16="http://schemas.microsoft.com/office/drawing/2014/main" id="{AC73FCE1-D2F1-4347-B933-F55B25F110C6}"/>
                  </a:ext>
                </a:extLst>
              </p:cNvPr>
              <p:cNvSpPr/>
              <p:nvPr/>
            </p:nvSpPr>
            <p:spPr>
              <a:xfrm>
                <a:off x="7230882" y="1757804"/>
                <a:ext cx="18353" cy="18421"/>
              </a:xfrm>
              <a:custGeom>
                <a:avLst/>
                <a:gdLst>
                  <a:gd name="connsiteX0" fmla="*/ 1744 w 18353"/>
                  <a:gd name="connsiteY0" fmla="*/ 3798 h 18421"/>
                  <a:gd name="connsiteX1" fmla="*/ 14543 w 18353"/>
                  <a:gd name="connsiteY1" fmla="*/ 1765 h 18421"/>
                  <a:gd name="connsiteX2" fmla="*/ 16636 w 18353"/>
                  <a:gd name="connsiteY2" fmla="*/ 14623 h 18421"/>
                  <a:gd name="connsiteX3" fmla="*/ 3837 w 18353"/>
                  <a:gd name="connsiteY3" fmla="*/ 16657 h 18421"/>
                  <a:gd name="connsiteX4" fmla="*/ 1744 w 1835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1">
                    <a:moveTo>
                      <a:pt x="1744" y="3798"/>
                    </a:moveTo>
                    <a:cubicBezTo>
                      <a:pt x="4674" y="-329"/>
                      <a:pt x="10416" y="-1226"/>
                      <a:pt x="14543" y="1765"/>
                    </a:cubicBezTo>
                    <a:cubicBezTo>
                      <a:pt x="18669" y="4755"/>
                      <a:pt x="19566" y="10496"/>
                      <a:pt x="16636" y="14623"/>
                    </a:cubicBezTo>
                    <a:cubicBezTo>
                      <a:pt x="13705" y="18750"/>
                      <a:pt x="7964" y="19647"/>
                      <a:pt x="3837" y="16657"/>
                    </a:cubicBezTo>
                    <a:cubicBezTo>
                      <a:pt x="-289" y="13726"/>
                      <a:pt x="-1247" y="7925"/>
                      <a:pt x="1744" y="3798"/>
                    </a:cubicBezTo>
                    <a:close/>
                  </a:path>
                </a:pathLst>
              </a:custGeom>
              <a:grpFill/>
              <a:ln w="5978" cap="flat">
                <a:noFill/>
                <a:prstDash val="solid"/>
                <a:miter/>
              </a:ln>
            </p:spPr>
            <p:txBody>
              <a:bodyPr rtlCol="0" anchor="ctr"/>
              <a:lstStyle/>
              <a:p>
                <a:endParaRPr lang="en-GB"/>
              </a:p>
            </p:txBody>
          </p:sp>
          <p:sp>
            <p:nvSpPr>
              <p:cNvPr id="4661" name="Vrije vorm: vorm 4660">
                <a:extLst>
                  <a:ext uri="{FF2B5EF4-FFF2-40B4-BE49-F238E27FC236}">
                    <a16:creationId xmlns:a16="http://schemas.microsoft.com/office/drawing/2014/main" id="{71B227E3-EF91-427E-9700-62E21763BA02}"/>
                  </a:ext>
                </a:extLst>
              </p:cNvPr>
              <p:cNvSpPr/>
              <p:nvPr/>
            </p:nvSpPr>
            <p:spPr>
              <a:xfrm>
                <a:off x="7200287" y="1800446"/>
                <a:ext cx="18327" cy="18421"/>
              </a:xfrm>
              <a:custGeom>
                <a:avLst/>
                <a:gdLst>
                  <a:gd name="connsiteX0" fmla="*/ 1718 w 18327"/>
                  <a:gd name="connsiteY0" fmla="*/ 3798 h 18421"/>
                  <a:gd name="connsiteX1" fmla="*/ 3811 w 18327"/>
                  <a:gd name="connsiteY1" fmla="*/ 16657 h 18421"/>
                  <a:gd name="connsiteX2" fmla="*/ 16610 w 18327"/>
                  <a:gd name="connsiteY2" fmla="*/ 14623 h 18421"/>
                  <a:gd name="connsiteX3" fmla="*/ 14517 w 18327"/>
                  <a:gd name="connsiteY3" fmla="*/ 1765 h 18421"/>
                  <a:gd name="connsiteX4" fmla="*/ 1718 w 18327"/>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1">
                    <a:moveTo>
                      <a:pt x="1718" y="3798"/>
                    </a:moveTo>
                    <a:cubicBezTo>
                      <a:pt x="-1213" y="7925"/>
                      <a:pt x="-315" y="13666"/>
                      <a:pt x="3811" y="16657"/>
                    </a:cubicBezTo>
                    <a:cubicBezTo>
                      <a:pt x="7938" y="19647"/>
                      <a:pt x="13619" y="18750"/>
                      <a:pt x="16610" y="14623"/>
                    </a:cubicBezTo>
                    <a:cubicBezTo>
                      <a:pt x="19540" y="10496"/>
                      <a:pt x="18643" y="4755"/>
                      <a:pt x="14517" y="1765"/>
                    </a:cubicBezTo>
                    <a:cubicBezTo>
                      <a:pt x="10390" y="-1226"/>
                      <a:pt x="4648" y="-329"/>
                      <a:pt x="1718" y="3798"/>
                    </a:cubicBezTo>
                    <a:close/>
                  </a:path>
                </a:pathLst>
              </a:custGeom>
              <a:grpFill/>
              <a:ln w="5978" cap="flat">
                <a:noFill/>
                <a:prstDash val="solid"/>
                <a:miter/>
              </a:ln>
            </p:spPr>
            <p:txBody>
              <a:bodyPr rtlCol="0" anchor="ctr"/>
              <a:lstStyle/>
              <a:p>
                <a:endParaRPr lang="en-GB"/>
              </a:p>
            </p:txBody>
          </p:sp>
        </p:grpSp>
        <p:grpSp>
          <p:nvGrpSpPr>
            <p:cNvPr id="241" name="Graphic 3">
              <a:extLst>
                <a:ext uri="{FF2B5EF4-FFF2-40B4-BE49-F238E27FC236}">
                  <a16:creationId xmlns:a16="http://schemas.microsoft.com/office/drawing/2014/main" id="{3868DB75-E351-4EEA-887F-0BC6F39046DE}"/>
                </a:ext>
              </a:extLst>
            </p:cNvPr>
            <p:cNvGrpSpPr/>
            <p:nvPr/>
          </p:nvGrpSpPr>
          <p:grpSpPr>
            <a:xfrm>
              <a:off x="7141198" y="1715067"/>
              <a:ext cx="187341" cy="244740"/>
              <a:chOff x="7141198" y="1715067"/>
              <a:chExt cx="187341" cy="244740"/>
            </a:xfrm>
            <a:grpFill/>
          </p:grpSpPr>
          <p:sp>
            <p:nvSpPr>
              <p:cNvPr id="4656" name="Vrije vorm: vorm 4655">
                <a:extLst>
                  <a:ext uri="{FF2B5EF4-FFF2-40B4-BE49-F238E27FC236}">
                    <a16:creationId xmlns:a16="http://schemas.microsoft.com/office/drawing/2014/main" id="{1153D0CF-F8FA-48FE-861E-EEEBB0D61637}"/>
                  </a:ext>
                </a:extLst>
              </p:cNvPr>
              <p:cNvSpPr/>
              <p:nvPr/>
            </p:nvSpPr>
            <p:spPr>
              <a:xfrm>
                <a:off x="7148836" y="1722966"/>
                <a:ext cx="172005" cy="228882"/>
              </a:xfrm>
              <a:custGeom>
                <a:avLst/>
                <a:gdLst>
                  <a:gd name="connsiteX0" fmla="*/ 172006 w 172005"/>
                  <a:gd name="connsiteY0" fmla="*/ 1854 h 228882"/>
                  <a:gd name="connsiteX1" fmla="*/ 2452 w 172005"/>
                  <a:gd name="connsiteY1" fmla="*/ 228882 h 228882"/>
                  <a:gd name="connsiteX2" fmla="*/ 0 w 172005"/>
                  <a:gd name="connsiteY2" fmla="*/ 227028 h 228882"/>
                  <a:gd name="connsiteX3" fmla="*/ 169613 w 172005"/>
                  <a:gd name="connsiteY3" fmla="*/ 0 h 228882"/>
                </a:gdLst>
                <a:ahLst/>
                <a:cxnLst>
                  <a:cxn ang="0">
                    <a:pos x="connsiteX0" y="connsiteY0"/>
                  </a:cxn>
                  <a:cxn ang="0">
                    <a:pos x="connsiteX1" y="connsiteY1"/>
                  </a:cxn>
                  <a:cxn ang="0">
                    <a:pos x="connsiteX2" y="connsiteY2"/>
                  </a:cxn>
                  <a:cxn ang="0">
                    <a:pos x="connsiteX3" y="connsiteY3"/>
                  </a:cxn>
                </a:cxnLst>
                <a:rect l="l" t="t" r="r" b="b"/>
                <a:pathLst>
                  <a:path w="172005" h="228882">
                    <a:moveTo>
                      <a:pt x="172006" y="1854"/>
                    </a:moveTo>
                    <a:lnTo>
                      <a:pt x="2452" y="228882"/>
                    </a:lnTo>
                    <a:lnTo>
                      <a:pt x="0" y="227028"/>
                    </a:lnTo>
                    <a:lnTo>
                      <a:pt x="169613" y="0"/>
                    </a:lnTo>
                    <a:close/>
                  </a:path>
                </a:pathLst>
              </a:custGeom>
              <a:grpFill/>
              <a:ln w="5978" cap="flat">
                <a:noFill/>
                <a:prstDash val="solid"/>
                <a:miter/>
              </a:ln>
            </p:spPr>
            <p:txBody>
              <a:bodyPr rtlCol="0" anchor="ctr"/>
              <a:lstStyle/>
              <a:p>
                <a:endParaRPr lang="en-GB"/>
              </a:p>
            </p:txBody>
          </p:sp>
          <p:sp>
            <p:nvSpPr>
              <p:cNvPr id="4657" name="Vrije vorm: vorm 4656">
                <a:extLst>
                  <a:ext uri="{FF2B5EF4-FFF2-40B4-BE49-F238E27FC236}">
                    <a16:creationId xmlns:a16="http://schemas.microsoft.com/office/drawing/2014/main" id="{6021C246-C56F-4A60-9DDA-EE0372BB6666}"/>
                  </a:ext>
                </a:extLst>
              </p:cNvPr>
              <p:cNvSpPr/>
              <p:nvPr/>
            </p:nvSpPr>
            <p:spPr>
              <a:xfrm>
                <a:off x="7310210" y="1715067"/>
                <a:ext cx="18330" cy="18429"/>
              </a:xfrm>
              <a:custGeom>
                <a:avLst/>
                <a:gdLst>
                  <a:gd name="connsiteX0" fmla="*/ 1841 w 18330"/>
                  <a:gd name="connsiteY0" fmla="*/ 3653 h 18429"/>
                  <a:gd name="connsiteX1" fmla="*/ 14640 w 18330"/>
                  <a:gd name="connsiteY1" fmla="*/ 1858 h 18429"/>
                  <a:gd name="connsiteX2" fmla="*/ 16493 w 18330"/>
                  <a:gd name="connsiteY2" fmla="*/ 14777 h 18429"/>
                  <a:gd name="connsiteX3" fmla="*/ 3635 w 18330"/>
                  <a:gd name="connsiteY3" fmla="*/ 16571 h 18429"/>
                  <a:gd name="connsiteX4" fmla="*/ 1841 w 18330"/>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29">
                    <a:moveTo>
                      <a:pt x="1841" y="3653"/>
                    </a:moveTo>
                    <a:cubicBezTo>
                      <a:pt x="4891" y="-414"/>
                      <a:pt x="10632" y="-1192"/>
                      <a:pt x="14640" y="1858"/>
                    </a:cubicBezTo>
                    <a:cubicBezTo>
                      <a:pt x="18706" y="4909"/>
                      <a:pt x="19544" y="10710"/>
                      <a:pt x="16493" y="14777"/>
                    </a:cubicBezTo>
                    <a:cubicBezTo>
                      <a:pt x="13443" y="18844"/>
                      <a:pt x="7702" y="19621"/>
                      <a:pt x="3635" y="16571"/>
                    </a:cubicBezTo>
                    <a:cubicBezTo>
                      <a:pt x="-372" y="13461"/>
                      <a:pt x="-1209" y="7720"/>
                      <a:pt x="1841" y="3653"/>
                    </a:cubicBezTo>
                    <a:close/>
                  </a:path>
                </a:pathLst>
              </a:custGeom>
              <a:grpFill/>
              <a:ln w="5978" cap="flat">
                <a:noFill/>
                <a:prstDash val="solid"/>
                <a:miter/>
              </a:ln>
            </p:spPr>
            <p:txBody>
              <a:bodyPr rtlCol="0" anchor="ctr"/>
              <a:lstStyle/>
              <a:p>
                <a:endParaRPr lang="en-GB"/>
              </a:p>
            </p:txBody>
          </p:sp>
          <p:sp>
            <p:nvSpPr>
              <p:cNvPr id="4658" name="Vrije vorm: vorm 4657">
                <a:extLst>
                  <a:ext uri="{FF2B5EF4-FFF2-40B4-BE49-F238E27FC236}">
                    <a16:creationId xmlns:a16="http://schemas.microsoft.com/office/drawing/2014/main" id="{25FB06F3-8FD7-45F0-A317-67B52DBD0569}"/>
                  </a:ext>
                </a:extLst>
              </p:cNvPr>
              <p:cNvSpPr/>
              <p:nvPr/>
            </p:nvSpPr>
            <p:spPr>
              <a:xfrm>
                <a:off x="7141198" y="1941352"/>
                <a:ext cx="18385" cy="18455"/>
              </a:xfrm>
              <a:custGeom>
                <a:avLst/>
                <a:gdLst>
                  <a:gd name="connsiteX0" fmla="*/ 1837 w 18385"/>
                  <a:gd name="connsiteY0" fmla="*/ 3678 h 18455"/>
                  <a:gd name="connsiteX1" fmla="*/ 3690 w 18385"/>
                  <a:gd name="connsiteY1" fmla="*/ 16597 h 18455"/>
                  <a:gd name="connsiteX2" fmla="*/ 16549 w 18385"/>
                  <a:gd name="connsiteY2" fmla="*/ 14802 h 18455"/>
                  <a:gd name="connsiteX3" fmla="*/ 14695 w 18385"/>
                  <a:gd name="connsiteY3" fmla="*/ 1884 h 18455"/>
                  <a:gd name="connsiteX4" fmla="*/ 1837 w 18385"/>
                  <a:gd name="connsiteY4" fmla="*/ 3678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5" h="18455">
                    <a:moveTo>
                      <a:pt x="1837" y="3678"/>
                    </a:moveTo>
                    <a:cubicBezTo>
                      <a:pt x="-1213" y="7745"/>
                      <a:pt x="-376" y="13547"/>
                      <a:pt x="3690" y="16597"/>
                    </a:cubicBezTo>
                    <a:cubicBezTo>
                      <a:pt x="7758" y="19647"/>
                      <a:pt x="13499" y="18869"/>
                      <a:pt x="16549" y="14802"/>
                    </a:cubicBezTo>
                    <a:cubicBezTo>
                      <a:pt x="19599" y="10736"/>
                      <a:pt x="18762" y="4994"/>
                      <a:pt x="14695" y="1884"/>
                    </a:cubicBezTo>
                    <a:cubicBezTo>
                      <a:pt x="10628" y="-1226"/>
                      <a:pt x="4827" y="-389"/>
                      <a:pt x="1837" y="3678"/>
                    </a:cubicBezTo>
                    <a:close/>
                  </a:path>
                </a:pathLst>
              </a:custGeom>
              <a:grpFill/>
              <a:ln w="5978" cap="flat">
                <a:noFill/>
                <a:prstDash val="solid"/>
                <a:miter/>
              </a:ln>
            </p:spPr>
            <p:txBody>
              <a:bodyPr rtlCol="0" anchor="ctr"/>
              <a:lstStyle/>
              <a:p>
                <a:endParaRPr lang="en-GB"/>
              </a:p>
            </p:txBody>
          </p:sp>
        </p:grpSp>
        <p:grpSp>
          <p:nvGrpSpPr>
            <p:cNvPr id="242" name="Graphic 3">
              <a:extLst>
                <a:ext uri="{FF2B5EF4-FFF2-40B4-BE49-F238E27FC236}">
                  <a16:creationId xmlns:a16="http://schemas.microsoft.com/office/drawing/2014/main" id="{7D93397D-1846-4201-92D7-DB7181AAEC38}"/>
                </a:ext>
              </a:extLst>
            </p:cNvPr>
            <p:cNvGrpSpPr/>
            <p:nvPr/>
          </p:nvGrpSpPr>
          <p:grpSpPr>
            <a:xfrm>
              <a:off x="7375340" y="2353232"/>
              <a:ext cx="80371" cy="65514"/>
              <a:chOff x="7375340" y="2353232"/>
              <a:chExt cx="80371" cy="65514"/>
            </a:xfrm>
            <a:grpFill/>
          </p:grpSpPr>
          <p:sp>
            <p:nvSpPr>
              <p:cNvPr id="4653" name="Vrije vorm: vorm 4652">
                <a:extLst>
                  <a:ext uri="{FF2B5EF4-FFF2-40B4-BE49-F238E27FC236}">
                    <a16:creationId xmlns:a16="http://schemas.microsoft.com/office/drawing/2014/main" id="{6EA0D031-4394-44CD-B51E-AE9AF9220D7C}"/>
                  </a:ext>
                </a:extLst>
              </p:cNvPr>
              <p:cNvSpPr/>
              <p:nvPr/>
            </p:nvSpPr>
            <p:spPr>
              <a:xfrm>
                <a:off x="7383221" y="2360930"/>
                <a:ext cx="64591" cy="50058"/>
              </a:xfrm>
              <a:custGeom>
                <a:avLst/>
                <a:gdLst>
                  <a:gd name="connsiteX0" fmla="*/ 64591 w 64591"/>
                  <a:gd name="connsiteY0" fmla="*/ 2452 h 50058"/>
                  <a:gd name="connsiteX1" fmla="*/ 1854 w 64591"/>
                  <a:gd name="connsiteY1" fmla="*/ 50059 h 50058"/>
                  <a:gd name="connsiteX2" fmla="*/ 0 w 64591"/>
                  <a:gd name="connsiteY2" fmla="*/ 47607 h 50058"/>
                  <a:gd name="connsiteX3" fmla="*/ 62798 w 64591"/>
                  <a:gd name="connsiteY3" fmla="*/ 0 h 50058"/>
                </a:gdLst>
                <a:ahLst/>
                <a:cxnLst>
                  <a:cxn ang="0">
                    <a:pos x="connsiteX0" y="connsiteY0"/>
                  </a:cxn>
                  <a:cxn ang="0">
                    <a:pos x="connsiteX1" y="connsiteY1"/>
                  </a:cxn>
                  <a:cxn ang="0">
                    <a:pos x="connsiteX2" y="connsiteY2"/>
                  </a:cxn>
                  <a:cxn ang="0">
                    <a:pos x="connsiteX3" y="connsiteY3"/>
                  </a:cxn>
                </a:cxnLst>
                <a:rect l="l" t="t" r="r" b="b"/>
                <a:pathLst>
                  <a:path w="64591" h="50058">
                    <a:moveTo>
                      <a:pt x="64591" y="2452"/>
                    </a:moveTo>
                    <a:lnTo>
                      <a:pt x="1854" y="50059"/>
                    </a:lnTo>
                    <a:lnTo>
                      <a:pt x="0" y="47607"/>
                    </a:lnTo>
                    <a:lnTo>
                      <a:pt x="62798" y="0"/>
                    </a:lnTo>
                    <a:close/>
                  </a:path>
                </a:pathLst>
              </a:custGeom>
              <a:grpFill/>
              <a:ln w="5978" cap="flat">
                <a:noFill/>
                <a:prstDash val="solid"/>
                <a:miter/>
              </a:ln>
            </p:spPr>
            <p:txBody>
              <a:bodyPr rtlCol="0" anchor="ctr"/>
              <a:lstStyle/>
              <a:p>
                <a:endParaRPr lang="en-GB"/>
              </a:p>
            </p:txBody>
          </p:sp>
          <p:sp>
            <p:nvSpPr>
              <p:cNvPr id="4654" name="Vrije vorm: vorm 4653">
                <a:extLst>
                  <a:ext uri="{FF2B5EF4-FFF2-40B4-BE49-F238E27FC236}">
                    <a16:creationId xmlns:a16="http://schemas.microsoft.com/office/drawing/2014/main" id="{F5D14716-6A3F-45B1-A202-3D38E19365F5}"/>
                  </a:ext>
                </a:extLst>
              </p:cNvPr>
              <p:cNvSpPr/>
              <p:nvPr/>
            </p:nvSpPr>
            <p:spPr>
              <a:xfrm>
                <a:off x="7437385" y="2353232"/>
                <a:ext cx="18326" cy="18445"/>
              </a:xfrm>
              <a:custGeom>
                <a:avLst/>
                <a:gdLst>
                  <a:gd name="connsiteX0" fmla="*/ 3609 w 18326"/>
                  <a:gd name="connsiteY0" fmla="*/ 1837 h 18445"/>
                  <a:gd name="connsiteX1" fmla="*/ 16468 w 18326"/>
                  <a:gd name="connsiteY1" fmla="*/ 3691 h 18445"/>
                  <a:gd name="connsiteX2" fmla="*/ 14674 w 18326"/>
                  <a:gd name="connsiteY2" fmla="*/ 16609 h 18445"/>
                  <a:gd name="connsiteX3" fmla="*/ 1815 w 18326"/>
                  <a:gd name="connsiteY3" fmla="*/ 14755 h 18445"/>
                  <a:gd name="connsiteX4" fmla="*/ 3609 w 18326"/>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45">
                    <a:moveTo>
                      <a:pt x="3609" y="1837"/>
                    </a:moveTo>
                    <a:cubicBezTo>
                      <a:pt x="7616" y="-1213"/>
                      <a:pt x="13417" y="-376"/>
                      <a:pt x="16468" y="3691"/>
                    </a:cubicBezTo>
                    <a:cubicBezTo>
                      <a:pt x="19518" y="7758"/>
                      <a:pt x="18740" y="13559"/>
                      <a:pt x="14674" y="16609"/>
                    </a:cubicBezTo>
                    <a:cubicBezTo>
                      <a:pt x="10667" y="19659"/>
                      <a:pt x="4865" y="18822"/>
                      <a:pt x="1815" y="14755"/>
                    </a:cubicBezTo>
                    <a:cubicBezTo>
                      <a:pt x="-1175" y="10688"/>
                      <a:pt x="-398" y="4887"/>
                      <a:pt x="3609" y="1837"/>
                    </a:cubicBezTo>
                    <a:close/>
                  </a:path>
                </a:pathLst>
              </a:custGeom>
              <a:grpFill/>
              <a:ln w="5978" cap="flat">
                <a:noFill/>
                <a:prstDash val="solid"/>
                <a:miter/>
              </a:ln>
            </p:spPr>
            <p:txBody>
              <a:bodyPr rtlCol="0" anchor="ctr"/>
              <a:lstStyle/>
              <a:p>
                <a:endParaRPr lang="en-GB"/>
              </a:p>
            </p:txBody>
          </p:sp>
          <p:sp>
            <p:nvSpPr>
              <p:cNvPr id="4655" name="Vrije vorm: vorm 4654">
                <a:extLst>
                  <a:ext uri="{FF2B5EF4-FFF2-40B4-BE49-F238E27FC236}">
                    <a16:creationId xmlns:a16="http://schemas.microsoft.com/office/drawing/2014/main" id="{2065B5A1-14F3-4E22-BF67-14D0253A20DE}"/>
                  </a:ext>
                </a:extLst>
              </p:cNvPr>
              <p:cNvSpPr/>
              <p:nvPr/>
            </p:nvSpPr>
            <p:spPr>
              <a:xfrm>
                <a:off x="7375340" y="2400257"/>
                <a:ext cx="18334" cy="18489"/>
              </a:xfrm>
              <a:custGeom>
                <a:avLst/>
                <a:gdLst>
                  <a:gd name="connsiteX0" fmla="*/ 3635 w 18334"/>
                  <a:gd name="connsiteY0" fmla="*/ 1880 h 18489"/>
                  <a:gd name="connsiteX1" fmla="*/ 1841 w 18334"/>
                  <a:gd name="connsiteY1" fmla="*/ 14798 h 18489"/>
                  <a:gd name="connsiteX2" fmla="*/ 14699 w 18334"/>
                  <a:gd name="connsiteY2" fmla="*/ 16652 h 18489"/>
                  <a:gd name="connsiteX3" fmla="*/ 16493 w 18334"/>
                  <a:gd name="connsiteY3" fmla="*/ 3734 h 18489"/>
                  <a:gd name="connsiteX4" fmla="*/ 3635 w 18334"/>
                  <a:gd name="connsiteY4" fmla="*/ 1880 h 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89">
                    <a:moveTo>
                      <a:pt x="3635" y="1880"/>
                    </a:moveTo>
                    <a:cubicBezTo>
                      <a:pt x="-372" y="4930"/>
                      <a:pt x="-1209" y="10732"/>
                      <a:pt x="1841" y="14798"/>
                    </a:cubicBezTo>
                    <a:cubicBezTo>
                      <a:pt x="4891" y="18865"/>
                      <a:pt x="10632" y="19703"/>
                      <a:pt x="14699" y="16652"/>
                    </a:cubicBezTo>
                    <a:cubicBezTo>
                      <a:pt x="18706" y="13602"/>
                      <a:pt x="19544" y="7801"/>
                      <a:pt x="16493" y="3734"/>
                    </a:cubicBezTo>
                    <a:cubicBezTo>
                      <a:pt x="13383" y="-393"/>
                      <a:pt x="7642" y="-1230"/>
                      <a:pt x="3635" y="1880"/>
                    </a:cubicBezTo>
                    <a:close/>
                  </a:path>
                </a:pathLst>
              </a:custGeom>
              <a:grpFill/>
              <a:ln w="5978" cap="flat">
                <a:noFill/>
                <a:prstDash val="solid"/>
                <a:miter/>
              </a:ln>
            </p:spPr>
            <p:txBody>
              <a:bodyPr rtlCol="0" anchor="ctr"/>
              <a:lstStyle/>
              <a:p>
                <a:endParaRPr lang="en-GB"/>
              </a:p>
            </p:txBody>
          </p:sp>
        </p:grpSp>
        <p:grpSp>
          <p:nvGrpSpPr>
            <p:cNvPr id="243" name="Graphic 3">
              <a:extLst>
                <a:ext uri="{FF2B5EF4-FFF2-40B4-BE49-F238E27FC236}">
                  <a16:creationId xmlns:a16="http://schemas.microsoft.com/office/drawing/2014/main" id="{254A57CA-C752-4FDF-B5B3-CBCFF2A42CA6}"/>
                </a:ext>
              </a:extLst>
            </p:cNvPr>
            <p:cNvGrpSpPr/>
            <p:nvPr/>
          </p:nvGrpSpPr>
          <p:grpSpPr>
            <a:xfrm>
              <a:off x="7394777" y="2396924"/>
              <a:ext cx="56535" cy="46283"/>
              <a:chOff x="7394777" y="2396924"/>
              <a:chExt cx="56535" cy="46283"/>
            </a:xfrm>
            <a:grpFill/>
          </p:grpSpPr>
          <p:sp>
            <p:nvSpPr>
              <p:cNvPr id="4650" name="Vrije vorm: vorm 4649">
                <a:extLst>
                  <a:ext uri="{FF2B5EF4-FFF2-40B4-BE49-F238E27FC236}">
                    <a16:creationId xmlns:a16="http://schemas.microsoft.com/office/drawing/2014/main" id="{78CD16E7-6DBF-450D-9933-97451CA59482}"/>
                  </a:ext>
                </a:extLst>
              </p:cNvPr>
              <p:cNvSpPr/>
              <p:nvPr/>
            </p:nvSpPr>
            <p:spPr>
              <a:xfrm>
                <a:off x="7402718" y="2404649"/>
                <a:ext cx="40728" cy="30860"/>
              </a:xfrm>
              <a:custGeom>
                <a:avLst/>
                <a:gdLst>
                  <a:gd name="connsiteX0" fmla="*/ 40728 w 40728"/>
                  <a:gd name="connsiteY0" fmla="*/ 2452 h 30860"/>
                  <a:gd name="connsiteX1" fmla="*/ 1734 w 40728"/>
                  <a:gd name="connsiteY1" fmla="*/ 30860 h 30860"/>
                  <a:gd name="connsiteX2" fmla="*/ 0 w 40728"/>
                  <a:gd name="connsiteY2" fmla="*/ 28349 h 30860"/>
                  <a:gd name="connsiteX3" fmla="*/ 38934 w 40728"/>
                  <a:gd name="connsiteY3" fmla="*/ 0 h 30860"/>
                </a:gdLst>
                <a:ahLst/>
                <a:cxnLst>
                  <a:cxn ang="0">
                    <a:pos x="connsiteX0" y="connsiteY0"/>
                  </a:cxn>
                  <a:cxn ang="0">
                    <a:pos x="connsiteX1" y="connsiteY1"/>
                  </a:cxn>
                  <a:cxn ang="0">
                    <a:pos x="connsiteX2" y="connsiteY2"/>
                  </a:cxn>
                  <a:cxn ang="0">
                    <a:pos x="connsiteX3" y="connsiteY3"/>
                  </a:cxn>
                </a:cxnLst>
                <a:rect l="l" t="t" r="r" b="b"/>
                <a:pathLst>
                  <a:path w="40728" h="30860">
                    <a:moveTo>
                      <a:pt x="40728" y="2452"/>
                    </a:moveTo>
                    <a:lnTo>
                      <a:pt x="1734" y="30860"/>
                    </a:lnTo>
                    <a:lnTo>
                      <a:pt x="0" y="28349"/>
                    </a:lnTo>
                    <a:lnTo>
                      <a:pt x="38934" y="0"/>
                    </a:lnTo>
                    <a:close/>
                  </a:path>
                </a:pathLst>
              </a:custGeom>
              <a:grpFill/>
              <a:ln w="5978" cap="flat">
                <a:noFill/>
                <a:prstDash val="solid"/>
                <a:miter/>
              </a:ln>
            </p:spPr>
            <p:txBody>
              <a:bodyPr rtlCol="0" anchor="ctr"/>
              <a:lstStyle/>
              <a:p>
                <a:endParaRPr lang="en-GB"/>
              </a:p>
            </p:txBody>
          </p:sp>
          <p:sp>
            <p:nvSpPr>
              <p:cNvPr id="4651" name="Vrije vorm: vorm 4650">
                <a:extLst>
                  <a:ext uri="{FF2B5EF4-FFF2-40B4-BE49-F238E27FC236}">
                    <a16:creationId xmlns:a16="http://schemas.microsoft.com/office/drawing/2014/main" id="{A3A4C245-3C72-4FD2-9A19-D689626C74B6}"/>
                  </a:ext>
                </a:extLst>
              </p:cNvPr>
              <p:cNvSpPr/>
              <p:nvPr/>
            </p:nvSpPr>
            <p:spPr>
              <a:xfrm>
                <a:off x="7432993" y="2396924"/>
                <a:ext cx="18318" cy="18439"/>
              </a:xfrm>
              <a:custGeom>
                <a:avLst/>
                <a:gdLst>
                  <a:gd name="connsiteX0" fmla="*/ 3755 w 18318"/>
                  <a:gd name="connsiteY0" fmla="*/ 1744 h 18439"/>
                  <a:gd name="connsiteX1" fmla="*/ 16554 w 18318"/>
                  <a:gd name="connsiteY1" fmla="*/ 3837 h 18439"/>
                  <a:gd name="connsiteX2" fmla="*/ 14521 w 18318"/>
                  <a:gd name="connsiteY2" fmla="*/ 16696 h 18439"/>
                  <a:gd name="connsiteX3" fmla="*/ 1722 w 18318"/>
                  <a:gd name="connsiteY3" fmla="*/ 14602 h 18439"/>
                  <a:gd name="connsiteX4" fmla="*/ 3755 w 18318"/>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9">
                    <a:moveTo>
                      <a:pt x="3755" y="1744"/>
                    </a:moveTo>
                    <a:cubicBezTo>
                      <a:pt x="7822" y="-1246"/>
                      <a:pt x="13563" y="-290"/>
                      <a:pt x="16554" y="3837"/>
                    </a:cubicBezTo>
                    <a:cubicBezTo>
                      <a:pt x="19544" y="7964"/>
                      <a:pt x="18647" y="13705"/>
                      <a:pt x="14521" y="16696"/>
                    </a:cubicBezTo>
                    <a:cubicBezTo>
                      <a:pt x="10453" y="19686"/>
                      <a:pt x="4712" y="18729"/>
                      <a:pt x="1722" y="14602"/>
                    </a:cubicBezTo>
                    <a:cubicBezTo>
                      <a:pt x="-1209" y="10476"/>
                      <a:pt x="-312" y="4734"/>
                      <a:pt x="3755" y="1744"/>
                    </a:cubicBezTo>
                    <a:close/>
                  </a:path>
                </a:pathLst>
              </a:custGeom>
              <a:grpFill/>
              <a:ln w="5978" cap="flat">
                <a:noFill/>
                <a:prstDash val="solid"/>
                <a:miter/>
              </a:ln>
            </p:spPr>
            <p:txBody>
              <a:bodyPr rtlCol="0" anchor="ctr"/>
              <a:lstStyle/>
              <a:p>
                <a:endParaRPr lang="en-GB"/>
              </a:p>
            </p:txBody>
          </p:sp>
          <p:sp>
            <p:nvSpPr>
              <p:cNvPr id="4652" name="Vrije vorm: vorm 4651">
                <a:extLst>
                  <a:ext uri="{FF2B5EF4-FFF2-40B4-BE49-F238E27FC236}">
                    <a16:creationId xmlns:a16="http://schemas.microsoft.com/office/drawing/2014/main" id="{B38D2479-A1AD-42AE-9296-2A4925774558}"/>
                  </a:ext>
                </a:extLst>
              </p:cNvPr>
              <p:cNvSpPr/>
              <p:nvPr/>
            </p:nvSpPr>
            <p:spPr>
              <a:xfrm>
                <a:off x="7394777" y="2424778"/>
                <a:ext cx="18275" cy="18430"/>
              </a:xfrm>
              <a:custGeom>
                <a:avLst/>
                <a:gdLst>
                  <a:gd name="connsiteX0" fmla="*/ 3755 w 18275"/>
                  <a:gd name="connsiteY0" fmla="*/ 1761 h 18430"/>
                  <a:gd name="connsiteX1" fmla="*/ 1722 w 18275"/>
                  <a:gd name="connsiteY1" fmla="*/ 14619 h 18430"/>
                  <a:gd name="connsiteX2" fmla="*/ 14520 w 18275"/>
                  <a:gd name="connsiteY2" fmla="*/ 16713 h 18430"/>
                  <a:gd name="connsiteX3" fmla="*/ 16554 w 18275"/>
                  <a:gd name="connsiteY3" fmla="*/ 3854 h 18430"/>
                  <a:gd name="connsiteX4" fmla="*/ 3755 w 18275"/>
                  <a:gd name="connsiteY4" fmla="*/ 176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30">
                    <a:moveTo>
                      <a:pt x="3755" y="1761"/>
                    </a:moveTo>
                    <a:cubicBezTo>
                      <a:pt x="-312" y="4751"/>
                      <a:pt x="-1209" y="10493"/>
                      <a:pt x="1722" y="14619"/>
                    </a:cubicBezTo>
                    <a:cubicBezTo>
                      <a:pt x="4712" y="18746"/>
                      <a:pt x="10453" y="19643"/>
                      <a:pt x="14520" y="16713"/>
                    </a:cubicBezTo>
                    <a:cubicBezTo>
                      <a:pt x="18587" y="13722"/>
                      <a:pt x="19484" y="7981"/>
                      <a:pt x="16554" y="3854"/>
                    </a:cubicBezTo>
                    <a:cubicBezTo>
                      <a:pt x="13623" y="-332"/>
                      <a:pt x="7882" y="-1230"/>
                      <a:pt x="3755" y="1761"/>
                    </a:cubicBezTo>
                    <a:close/>
                  </a:path>
                </a:pathLst>
              </a:custGeom>
              <a:grpFill/>
              <a:ln w="5978" cap="flat">
                <a:noFill/>
                <a:prstDash val="solid"/>
                <a:miter/>
              </a:ln>
            </p:spPr>
            <p:txBody>
              <a:bodyPr rtlCol="0" anchor="ctr"/>
              <a:lstStyle/>
              <a:p>
                <a:endParaRPr lang="en-GB"/>
              </a:p>
            </p:txBody>
          </p:sp>
        </p:grpSp>
        <p:grpSp>
          <p:nvGrpSpPr>
            <p:cNvPr id="244" name="Graphic 3">
              <a:extLst>
                <a:ext uri="{FF2B5EF4-FFF2-40B4-BE49-F238E27FC236}">
                  <a16:creationId xmlns:a16="http://schemas.microsoft.com/office/drawing/2014/main" id="{6B4CD8B3-7868-49A4-97A8-F5D4708A47DE}"/>
                </a:ext>
              </a:extLst>
            </p:cNvPr>
            <p:cNvGrpSpPr/>
            <p:nvPr/>
          </p:nvGrpSpPr>
          <p:grpSpPr>
            <a:xfrm>
              <a:off x="7929812" y="4164883"/>
              <a:ext cx="159061" cy="74997"/>
              <a:chOff x="7929812" y="4164883"/>
              <a:chExt cx="159061" cy="74997"/>
            </a:xfrm>
            <a:grpFill/>
          </p:grpSpPr>
          <p:sp>
            <p:nvSpPr>
              <p:cNvPr id="4647" name="Vrije vorm: vorm 4646">
                <a:extLst>
                  <a:ext uri="{FF2B5EF4-FFF2-40B4-BE49-F238E27FC236}">
                    <a16:creationId xmlns:a16="http://schemas.microsoft.com/office/drawing/2014/main" id="{147E6BBA-A5C3-459B-8800-60B3B114AE9A}"/>
                  </a:ext>
                </a:extLst>
              </p:cNvPr>
              <p:cNvSpPr/>
              <p:nvPr/>
            </p:nvSpPr>
            <p:spPr>
              <a:xfrm>
                <a:off x="7937993" y="4172550"/>
                <a:ext cx="142759" cy="59747"/>
              </a:xfrm>
              <a:custGeom>
                <a:avLst/>
                <a:gdLst>
                  <a:gd name="connsiteX0" fmla="*/ 142760 w 142759"/>
                  <a:gd name="connsiteY0" fmla="*/ 56877 h 59747"/>
                  <a:gd name="connsiteX1" fmla="*/ 141623 w 142759"/>
                  <a:gd name="connsiteY1" fmla="*/ 59747 h 59747"/>
                  <a:gd name="connsiteX2" fmla="*/ 0 w 142759"/>
                  <a:gd name="connsiteY2" fmla="*/ 2811 h 59747"/>
                  <a:gd name="connsiteX3" fmla="*/ 1136 w 142759"/>
                  <a:gd name="connsiteY3" fmla="*/ 0 h 59747"/>
                </a:gdLst>
                <a:ahLst/>
                <a:cxnLst>
                  <a:cxn ang="0">
                    <a:pos x="connsiteX0" y="connsiteY0"/>
                  </a:cxn>
                  <a:cxn ang="0">
                    <a:pos x="connsiteX1" y="connsiteY1"/>
                  </a:cxn>
                  <a:cxn ang="0">
                    <a:pos x="connsiteX2" y="connsiteY2"/>
                  </a:cxn>
                  <a:cxn ang="0">
                    <a:pos x="connsiteX3" y="connsiteY3"/>
                  </a:cxn>
                </a:cxnLst>
                <a:rect l="l" t="t" r="r" b="b"/>
                <a:pathLst>
                  <a:path w="142759" h="59747">
                    <a:moveTo>
                      <a:pt x="142760" y="56877"/>
                    </a:moveTo>
                    <a:lnTo>
                      <a:pt x="141623" y="59747"/>
                    </a:lnTo>
                    <a:lnTo>
                      <a:pt x="0" y="2811"/>
                    </a:lnTo>
                    <a:lnTo>
                      <a:pt x="1136" y="0"/>
                    </a:lnTo>
                    <a:close/>
                  </a:path>
                </a:pathLst>
              </a:custGeom>
              <a:grpFill/>
              <a:ln w="5978" cap="flat">
                <a:noFill/>
                <a:prstDash val="solid"/>
                <a:miter/>
              </a:ln>
            </p:spPr>
            <p:txBody>
              <a:bodyPr rtlCol="0" anchor="ctr"/>
              <a:lstStyle/>
              <a:p>
                <a:endParaRPr lang="en-GB"/>
              </a:p>
            </p:txBody>
          </p:sp>
          <p:sp>
            <p:nvSpPr>
              <p:cNvPr id="4648" name="Vrije vorm: vorm 4647">
                <a:extLst>
                  <a:ext uri="{FF2B5EF4-FFF2-40B4-BE49-F238E27FC236}">
                    <a16:creationId xmlns:a16="http://schemas.microsoft.com/office/drawing/2014/main" id="{5A5A4EF8-7775-42B8-96E8-D3F400BCAE10}"/>
                  </a:ext>
                </a:extLst>
              </p:cNvPr>
              <p:cNvSpPr/>
              <p:nvPr/>
            </p:nvSpPr>
            <p:spPr>
              <a:xfrm>
                <a:off x="8070538" y="4221460"/>
                <a:ext cx="18335" cy="18419"/>
              </a:xfrm>
              <a:custGeom>
                <a:avLst/>
                <a:gdLst>
                  <a:gd name="connsiteX0" fmla="*/ 12547 w 18335"/>
                  <a:gd name="connsiteY0" fmla="*/ 670 h 18419"/>
                  <a:gd name="connsiteX1" fmla="*/ 17691 w 18335"/>
                  <a:gd name="connsiteY1" fmla="*/ 12631 h 18419"/>
                  <a:gd name="connsiteX2" fmla="*/ 5788 w 18335"/>
                  <a:gd name="connsiteY2" fmla="*/ 17775 h 18419"/>
                  <a:gd name="connsiteX3" fmla="*/ 645 w 18335"/>
                  <a:gd name="connsiteY3" fmla="*/ 5813 h 18419"/>
                  <a:gd name="connsiteX4" fmla="*/ 12547 w 18335"/>
                  <a:gd name="connsiteY4" fmla="*/ 67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19">
                    <a:moveTo>
                      <a:pt x="12547" y="670"/>
                    </a:moveTo>
                    <a:cubicBezTo>
                      <a:pt x="17272" y="2584"/>
                      <a:pt x="19544" y="7907"/>
                      <a:pt x="17691" y="12631"/>
                    </a:cubicBezTo>
                    <a:cubicBezTo>
                      <a:pt x="15836" y="17356"/>
                      <a:pt x="10513" y="19629"/>
                      <a:pt x="5788" y="17775"/>
                    </a:cubicBezTo>
                    <a:cubicBezTo>
                      <a:pt x="1064" y="15861"/>
                      <a:pt x="-1209" y="10538"/>
                      <a:pt x="645" y="5813"/>
                    </a:cubicBezTo>
                    <a:cubicBezTo>
                      <a:pt x="2559" y="1089"/>
                      <a:pt x="7882" y="-1244"/>
                      <a:pt x="12547" y="670"/>
                    </a:cubicBezTo>
                    <a:close/>
                  </a:path>
                </a:pathLst>
              </a:custGeom>
              <a:grpFill/>
              <a:ln w="5978" cap="flat">
                <a:noFill/>
                <a:prstDash val="solid"/>
                <a:miter/>
              </a:ln>
            </p:spPr>
            <p:txBody>
              <a:bodyPr rtlCol="0" anchor="ctr"/>
              <a:lstStyle/>
              <a:p>
                <a:endParaRPr lang="en-GB"/>
              </a:p>
            </p:txBody>
          </p:sp>
          <p:sp>
            <p:nvSpPr>
              <p:cNvPr id="4649" name="Vrije vorm: vorm 4648">
                <a:extLst>
                  <a:ext uri="{FF2B5EF4-FFF2-40B4-BE49-F238E27FC236}">
                    <a16:creationId xmlns:a16="http://schemas.microsoft.com/office/drawing/2014/main" id="{009448E0-678F-4055-8A6E-643438317CB4}"/>
                  </a:ext>
                </a:extLst>
              </p:cNvPr>
              <p:cNvSpPr/>
              <p:nvPr/>
            </p:nvSpPr>
            <p:spPr>
              <a:xfrm>
                <a:off x="7929812" y="4164883"/>
                <a:ext cx="18335" cy="18444"/>
              </a:xfrm>
              <a:custGeom>
                <a:avLst/>
                <a:gdLst>
                  <a:gd name="connsiteX0" fmla="*/ 12547 w 18335"/>
                  <a:gd name="connsiteY0" fmla="*/ 670 h 18444"/>
                  <a:gd name="connsiteX1" fmla="*/ 645 w 18335"/>
                  <a:gd name="connsiteY1" fmla="*/ 5813 h 18444"/>
                  <a:gd name="connsiteX2" fmla="*/ 5789 w 18335"/>
                  <a:gd name="connsiteY2" fmla="*/ 17775 h 18444"/>
                  <a:gd name="connsiteX3" fmla="*/ 17690 w 18335"/>
                  <a:gd name="connsiteY3" fmla="*/ 12631 h 18444"/>
                  <a:gd name="connsiteX4" fmla="*/ 12547 w 18335"/>
                  <a:gd name="connsiteY4" fmla="*/ 67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2547" y="670"/>
                    </a:moveTo>
                    <a:cubicBezTo>
                      <a:pt x="7822" y="-1244"/>
                      <a:pt x="2499" y="1088"/>
                      <a:pt x="645" y="5813"/>
                    </a:cubicBezTo>
                    <a:cubicBezTo>
                      <a:pt x="-1209" y="10538"/>
                      <a:pt x="1064" y="15921"/>
                      <a:pt x="5789" y="17775"/>
                    </a:cubicBezTo>
                    <a:cubicBezTo>
                      <a:pt x="10513" y="19689"/>
                      <a:pt x="15836" y="17356"/>
                      <a:pt x="17690" y="12631"/>
                    </a:cubicBezTo>
                    <a:cubicBezTo>
                      <a:pt x="19544" y="7907"/>
                      <a:pt x="17271" y="2584"/>
                      <a:pt x="12547" y="670"/>
                    </a:cubicBezTo>
                    <a:close/>
                  </a:path>
                </a:pathLst>
              </a:custGeom>
              <a:grpFill/>
              <a:ln w="5978" cap="flat">
                <a:noFill/>
                <a:prstDash val="solid"/>
                <a:miter/>
              </a:ln>
            </p:spPr>
            <p:txBody>
              <a:bodyPr rtlCol="0" anchor="ctr"/>
              <a:lstStyle/>
              <a:p>
                <a:endParaRPr lang="en-GB"/>
              </a:p>
            </p:txBody>
          </p:sp>
        </p:grpSp>
        <p:grpSp>
          <p:nvGrpSpPr>
            <p:cNvPr id="245" name="Graphic 3">
              <a:extLst>
                <a:ext uri="{FF2B5EF4-FFF2-40B4-BE49-F238E27FC236}">
                  <a16:creationId xmlns:a16="http://schemas.microsoft.com/office/drawing/2014/main" id="{40534F0F-D7DF-4387-81D8-5FDF796DD270}"/>
                </a:ext>
              </a:extLst>
            </p:cNvPr>
            <p:cNvGrpSpPr/>
            <p:nvPr/>
          </p:nvGrpSpPr>
          <p:grpSpPr>
            <a:xfrm>
              <a:off x="7853677" y="3872031"/>
              <a:ext cx="118154" cy="44053"/>
              <a:chOff x="7853677" y="3872031"/>
              <a:chExt cx="118154" cy="44053"/>
            </a:xfrm>
            <a:grpFill/>
          </p:grpSpPr>
          <p:sp>
            <p:nvSpPr>
              <p:cNvPr id="4644" name="Vrije vorm: vorm 4643">
                <a:extLst>
                  <a:ext uri="{FF2B5EF4-FFF2-40B4-BE49-F238E27FC236}">
                    <a16:creationId xmlns:a16="http://schemas.microsoft.com/office/drawing/2014/main" id="{FA9C9CE5-0E7D-4A68-90E5-62962BF97585}"/>
                  </a:ext>
                </a:extLst>
              </p:cNvPr>
              <p:cNvSpPr/>
              <p:nvPr/>
            </p:nvSpPr>
            <p:spPr>
              <a:xfrm>
                <a:off x="7862037" y="3879674"/>
                <a:ext cx="101432" cy="28827"/>
              </a:xfrm>
              <a:custGeom>
                <a:avLst/>
                <a:gdLst>
                  <a:gd name="connsiteX0" fmla="*/ 101433 w 101432"/>
                  <a:gd name="connsiteY0" fmla="*/ 25837 h 28827"/>
                  <a:gd name="connsiteX1" fmla="*/ 100655 w 101432"/>
                  <a:gd name="connsiteY1" fmla="*/ 28827 h 28827"/>
                  <a:gd name="connsiteX2" fmla="*/ 0 w 101432"/>
                  <a:gd name="connsiteY2" fmla="*/ 2930 h 28827"/>
                  <a:gd name="connsiteX3" fmla="*/ 718 w 101432"/>
                  <a:gd name="connsiteY3" fmla="*/ 0 h 28827"/>
                </a:gdLst>
                <a:ahLst/>
                <a:cxnLst>
                  <a:cxn ang="0">
                    <a:pos x="connsiteX0" y="connsiteY0"/>
                  </a:cxn>
                  <a:cxn ang="0">
                    <a:pos x="connsiteX1" y="connsiteY1"/>
                  </a:cxn>
                  <a:cxn ang="0">
                    <a:pos x="connsiteX2" y="connsiteY2"/>
                  </a:cxn>
                  <a:cxn ang="0">
                    <a:pos x="connsiteX3" y="connsiteY3"/>
                  </a:cxn>
                </a:cxnLst>
                <a:rect l="l" t="t" r="r" b="b"/>
                <a:pathLst>
                  <a:path w="101432" h="28827">
                    <a:moveTo>
                      <a:pt x="101433" y="25837"/>
                    </a:moveTo>
                    <a:lnTo>
                      <a:pt x="100655" y="28827"/>
                    </a:lnTo>
                    <a:lnTo>
                      <a:pt x="0" y="2930"/>
                    </a:lnTo>
                    <a:lnTo>
                      <a:pt x="718" y="0"/>
                    </a:lnTo>
                    <a:close/>
                  </a:path>
                </a:pathLst>
              </a:custGeom>
              <a:grpFill/>
              <a:ln w="5978" cap="flat">
                <a:noFill/>
                <a:prstDash val="solid"/>
                <a:miter/>
              </a:ln>
            </p:spPr>
            <p:txBody>
              <a:bodyPr rtlCol="0" anchor="ctr"/>
              <a:lstStyle/>
              <a:p>
                <a:endParaRPr lang="en-GB"/>
              </a:p>
            </p:txBody>
          </p:sp>
          <p:sp>
            <p:nvSpPr>
              <p:cNvPr id="4645" name="Vrije vorm: vorm 4644">
                <a:extLst>
                  <a:ext uri="{FF2B5EF4-FFF2-40B4-BE49-F238E27FC236}">
                    <a16:creationId xmlns:a16="http://schemas.microsoft.com/office/drawing/2014/main" id="{D20EC564-4FAD-4AAD-A730-F4B708D93DB8}"/>
                  </a:ext>
                </a:extLst>
              </p:cNvPr>
              <p:cNvSpPr/>
              <p:nvPr/>
            </p:nvSpPr>
            <p:spPr>
              <a:xfrm>
                <a:off x="7953495" y="3897685"/>
                <a:ext cx="18336" cy="18399"/>
              </a:xfrm>
              <a:custGeom>
                <a:avLst/>
                <a:gdLst>
                  <a:gd name="connsiteX0" fmla="*/ 11411 w 18336"/>
                  <a:gd name="connsiteY0" fmla="*/ 290 h 18399"/>
                  <a:gd name="connsiteX1" fmla="*/ 18050 w 18336"/>
                  <a:gd name="connsiteY1" fmla="*/ 11474 h 18399"/>
                  <a:gd name="connsiteX2" fmla="*/ 6926 w 18336"/>
                  <a:gd name="connsiteY2" fmla="*/ 18113 h 18399"/>
                  <a:gd name="connsiteX3" fmla="*/ 287 w 18336"/>
                  <a:gd name="connsiteY3" fmla="*/ 6929 h 18399"/>
                  <a:gd name="connsiteX4" fmla="*/ 11411 w 18336"/>
                  <a:gd name="connsiteY4" fmla="*/ 29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9">
                    <a:moveTo>
                      <a:pt x="11411" y="290"/>
                    </a:moveTo>
                    <a:cubicBezTo>
                      <a:pt x="16315" y="1546"/>
                      <a:pt x="19306" y="6570"/>
                      <a:pt x="18050" y="11474"/>
                    </a:cubicBezTo>
                    <a:cubicBezTo>
                      <a:pt x="16793" y="16378"/>
                      <a:pt x="11830" y="19369"/>
                      <a:pt x="6926" y="18113"/>
                    </a:cubicBezTo>
                    <a:cubicBezTo>
                      <a:pt x="2021" y="16857"/>
                      <a:pt x="-969" y="11833"/>
                      <a:pt x="287" y="6929"/>
                    </a:cubicBezTo>
                    <a:cubicBezTo>
                      <a:pt x="1483" y="1965"/>
                      <a:pt x="6447" y="-965"/>
                      <a:pt x="11411" y="290"/>
                    </a:cubicBezTo>
                    <a:close/>
                  </a:path>
                </a:pathLst>
              </a:custGeom>
              <a:grpFill/>
              <a:ln w="5978" cap="flat">
                <a:noFill/>
                <a:prstDash val="solid"/>
                <a:miter/>
              </a:ln>
            </p:spPr>
            <p:txBody>
              <a:bodyPr rtlCol="0" anchor="ctr"/>
              <a:lstStyle/>
              <a:p>
                <a:endParaRPr lang="en-GB"/>
              </a:p>
            </p:txBody>
          </p:sp>
          <p:sp>
            <p:nvSpPr>
              <p:cNvPr id="4646" name="Vrije vorm: vorm 4645">
                <a:extLst>
                  <a:ext uri="{FF2B5EF4-FFF2-40B4-BE49-F238E27FC236}">
                    <a16:creationId xmlns:a16="http://schemas.microsoft.com/office/drawing/2014/main" id="{F05E4247-0B89-4CAE-8211-73882871BE6A}"/>
                  </a:ext>
                </a:extLst>
              </p:cNvPr>
              <p:cNvSpPr/>
              <p:nvPr/>
            </p:nvSpPr>
            <p:spPr>
              <a:xfrm>
                <a:off x="7853677" y="3872031"/>
                <a:ext cx="18335" cy="18395"/>
              </a:xfrm>
              <a:custGeom>
                <a:avLst/>
                <a:gdLst>
                  <a:gd name="connsiteX0" fmla="*/ 11411 w 18335"/>
                  <a:gd name="connsiteY0" fmla="*/ 287 h 18395"/>
                  <a:gd name="connsiteX1" fmla="*/ 287 w 18335"/>
                  <a:gd name="connsiteY1" fmla="*/ 6925 h 18395"/>
                  <a:gd name="connsiteX2" fmla="*/ 6925 w 18335"/>
                  <a:gd name="connsiteY2" fmla="*/ 18109 h 18395"/>
                  <a:gd name="connsiteX3" fmla="*/ 18049 w 18335"/>
                  <a:gd name="connsiteY3" fmla="*/ 11471 h 18395"/>
                  <a:gd name="connsiteX4" fmla="*/ 11411 w 18335"/>
                  <a:gd name="connsiteY4" fmla="*/ 28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5">
                    <a:moveTo>
                      <a:pt x="11411" y="287"/>
                    </a:moveTo>
                    <a:cubicBezTo>
                      <a:pt x="6507" y="-969"/>
                      <a:pt x="1542" y="2021"/>
                      <a:pt x="287" y="6925"/>
                    </a:cubicBezTo>
                    <a:cubicBezTo>
                      <a:pt x="-969" y="11829"/>
                      <a:pt x="2021" y="16853"/>
                      <a:pt x="6925" y="18109"/>
                    </a:cubicBezTo>
                    <a:cubicBezTo>
                      <a:pt x="11829" y="19365"/>
                      <a:pt x="16793" y="16375"/>
                      <a:pt x="18049" y="11471"/>
                    </a:cubicBezTo>
                    <a:cubicBezTo>
                      <a:pt x="19305" y="6566"/>
                      <a:pt x="16314" y="1543"/>
                      <a:pt x="11411" y="287"/>
                    </a:cubicBezTo>
                    <a:close/>
                  </a:path>
                </a:pathLst>
              </a:custGeom>
              <a:grpFill/>
              <a:ln w="5978" cap="flat">
                <a:noFill/>
                <a:prstDash val="solid"/>
                <a:miter/>
              </a:ln>
            </p:spPr>
            <p:txBody>
              <a:bodyPr rtlCol="0" anchor="ctr"/>
              <a:lstStyle/>
              <a:p>
                <a:endParaRPr lang="en-GB"/>
              </a:p>
            </p:txBody>
          </p:sp>
        </p:grpSp>
        <p:grpSp>
          <p:nvGrpSpPr>
            <p:cNvPr id="246" name="Graphic 3">
              <a:extLst>
                <a:ext uri="{FF2B5EF4-FFF2-40B4-BE49-F238E27FC236}">
                  <a16:creationId xmlns:a16="http://schemas.microsoft.com/office/drawing/2014/main" id="{4B724B46-1354-4FB6-B61A-675C1680F481}"/>
                </a:ext>
              </a:extLst>
            </p:cNvPr>
            <p:cNvGrpSpPr/>
            <p:nvPr/>
          </p:nvGrpSpPr>
          <p:grpSpPr>
            <a:xfrm>
              <a:off x="7889409" y="3918090"/>
              <a:ext cx="59907" cy="29964"/>
              <a:chOff x="7889409" y="3918090"/>
              <a:chExt cx="59907" cy="29964"/>
            </a:xfrm>
            <a:grpFill/>
          </p:grpSpPr>
          <p:sp>
            <p:nvSpPr>
              <p:cNvPr id="4641" name="Vrije vorm: vorm 4640">
                <a:extLst>
                  <a:ext uri="{FF2B5EF4-FFF2-40B4-BE49-F238E27FC236}">
                    <a16:creationId xmlns:a16="http://schemas.microsoft.com/office/drawing/2014/main" id="{BA684D27-E798-4F4E-867D-930AFD61EEF5}"/>
                  </a:ext>
                </a:extLst>
              </p:cNvPr>
              <p:cNvSpPr/>
              <p:nvPr/>
            </p:nvSpPr>
            <p:spPr>
              <a:xfrm>
                <a:off x="7897742" y="3925726"/>
                <a:ext cx="43241" cy="14712"/>
              </a:xfrm>
              <a:custGeom>
                <a:avLst/>
                <a:gdLst>
                  <a:gd name="connsiteX0" fmla="*/ 43241 w 43241"/>
                  <a:gd name="connsiteY0" fmla="*/ 11782 h 14712"/>
                  <a:gd name="connsiteX1" fmla="*/ 42464 w 43241"/>
                  <a:gd name="connsiteY1" fmla="*/ 14713 h 14712"/>
                  <a:gd name="connsiteX2" fmla="*/ 0 w 43241"/>
                  <a:gd name="connsiteY2" fmla="*/ 2990 h 14712"/>
                  <a:gd name="connsiteX3" fmla="*/ 778 w 43241"/>
                  <a:gd name="connsiteY3" fmla="*/ 0 h 14712"/>
                </a:gdLst>
                <a:ahLst/>
                <a:cxnLst>
                  <a:cxn ang="0">
                    <a:pos x="connsiteX0" y="connsiteY0"/>
                  </a:cxn>
                  <a:cxn ang="0">
                    <a:pos x="connsiteX1" y="connsiteY1"/>
                  </a:cxn>
                  <a:cxn ang="0">
                    <a:pos x="connsiteX2" y="connsiteY2"/>
                  </a:cxn>
                  <a:cxn ang="0">
                    <a:pos x="connsiteX3" y="connsiteY3"/>
                  </a:cxn>
                </a:cxnLst>
                <a:rect l="l" t="t" r="r" b="b"/>
                <a:pathLst>
                  <a:path w="43241" h="14712">
                    <a:moveTo>
                      <a:pt x="43241" y="11782"/>
                    </a:moveTo>
                    <a:lnTo>
                      <a:pt x="42464" y="14713"/>
                    </a:lnTo>
                    <a:lnTo>
                      <a:pt x="0" y="2990"/>
                    </a:lnTo>
                    <a:lnTo>
                      <a:pt x="778" y="0"/>
                    </a:lnTo>
                    <a:close/>
                  </a:path>
                </a:pathLst>
              </a:custGeom>
              <a:grpFill/>
              <a:ln w="5978" cap="flat">
                <a:noFill/>
                <a:prstDash val="solid"/>
                <a:miter/>
              </a:ln>
            </p:spPr>
            <p:txBody>
              <a:bodyPr rtlCol="0" anchor="ctr"/>
              <a:lstStyle/>
              <a:p>
                <a:endParaRPr lang="en-GB"/>
              </a:p>
            </p:txBody>
          </p:sp>
          <p:sp>
            <p:nvSpPr>
              <p:cNvPr id="4642" name="Vrije vorm: vorm 4641">
                <a:extLst>
                  <a:ext uri="{FF2B5EF4-FFF2-40B4-BE49-F238E27FC236}">
                    <a16:creationId xmlns:a16="http://schemas.microsoft.com/office/drawing/2014/main" id="{9968F949-2DC5-43A8-BAAD-01531B817D35}"/>
                  </a:ext>
                </a:extLst>
              </p:cNvPr>
              <p:cNvSpPr/>
              <p:nvPr/>
            </p:nvSpPr>
            <p:spPr>
              <a:xfrm>
                <a:off x="7930975" y="3929632"/>
                <a:ext cx="18341" cy="18421"/>
              </a:xfrm>
              <a:custGeom>
                <a:avLst/>
                <a:gdLst>
                  <a:gd name="connsiteX0" fmla="*/ 11563 w 18341"/>
                  <a:gd name="connsiteY0" fmla="*/ 340 h 18421"/>
                  <a:gd name="connsiteX1" fmla="*/ 18022 w 18341"/>
                  <a:gd name="connsiteY1" fmla="*/ 11643 h 18421"/>
                  <a:gd name="connsiteX2" fmla="*/ 6779 w 18341"/>
                  <a:gd name="connsiteY2" fmla="*/ 18102 h 18421"/>
                  <a:gd name="connsiteX3" fmla="*/ 319 w 18341"/>
                  <a:gd name="connsiteY3" fmla="*/ 6799 h 18421"/>
                  <a:gd name="connsiteX4" fmla="*/ 11563 w 18341"/>
                  <a:gd name="connsiteY4" fmla="*/ 34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1">
                    <a:moveTo>
                      <a:pt x="11563" y="340"/>
                    </a:moveTo>
                    <a:cubicBezTo>
                      <a:pt x="16467" y="1715"/>
                      <a:pt x="19338" y="6739"/>
                      <a:pt x="18022" y="11643"/>
                    </a:cubicBezTo>
                    <a:cubicBezTo>
                      <a:pt x="16707" y="16547"/>
                      <a:pt x="11683" y="19418"/>
                      <a:pt x="6779" y="18102"/>
                    </a:cubicBezTo>
                    <a:cubicBezTo>
                      <a:pt x="1874" y="16727"/>
                      <a:pt x="-997" y="11703"/>
                      <a:pt x="319" y="6799"/>
                    </a:cubicBezTo>
                    <a:cubicBezTo>
                      <a:pt x="1695" y="1895"/>
                      <a:pt x="6719" y="-1036"/>
                      <a:pt x="11563" y="340"/>
                    </a:cubicBezTo>
                    <a:close/>
                  </a:path>
                </a:pathLst>
              </a:custGeom>
              <a:grpFill/>
              <a:ln w="5978" cap="flat">
                <a:noFill/>
                <a:prstDash val="solid"/>
                <a:miter/>
              </a:ln>
            </p:spPr>
            <p:txBody>
              <a:bodyPr rtlCol="0" anchor="ctr"/>
              <a:lstStyle/>
              <a:p>
                <a:endParaRPr lang="en-GB"/>
              </a:p>
            </p:txBody>
          </p:sp>
          <p:sp>
            <p:nvSpPr>
              <p:cNvPr id="4643" name="Vrije vorm: vorm 4642">
                <a:extLst>
                  <a:ext uri="{FF2B5EF4-FFF2-40B4-BE49-F238E27FC236}">
                    <a16:creationId xmlns:a16="http://schemas.microsoft.com/office/drawing/2014/main" id="{E8710C5C-AB34-4A1C-83A3-1F57450E437C}"/>
                  </a:ext>
                </a:extLst>
              </p:cNvPr>
              <p:cNvSpPr/>
              <p:nvPr/>
            </p:nvSpPr>
            <p:spPr>
              <a:xfrm>
                <a:off x="7889409" y="3918090"/>
                <a:ext cx="18340" cy="18442"/>
              </a:xfrm>
              <a:custGeom>
                <a:avLst/>
                <a:gdLst>
                  <a:gd name="connsiteX0" fmla="*/ 11563 w 18340"/>
                  <a:gd name="connsiteY0" fmla="*/ 340 h 18442"/>
                  <a:gd name="connsiteX1" fmla="*/ 319 w 18340"/>
                  <a:gd name="connsiteY1" fmla="*/ 6799 h 18442"/>
                  <a:gd name="connsiteX2" fmla="*/ 6778 w 18340"/>
                  <a:gd name="connsiteY2" fmla="*/ 18102 h 18442"/>
                  <a:gd name="connsiteX3" fmla="*/ 18022 w 18340"/>
                  <a:gd name="connsiteY3" fmla="*/ 11643 h 18442"/>
                  <a:gd name="connsiteX4" fmla="*/ 11563 w 18340"/>
                  <a:gd name="connsiteY4" fmla="*/ 34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2">
                    <a:moveTo>
                      <a:pt x="11563" y="340"/>
                    </a:moveTo>
                    <a:cubicBezTo>
                      <a:pt x="6659" y="-1036"/>
                      <a:pt x="1635" y="1895"/>
                      <a:pt x="319" y="6799"/>
                    </a:cubicBezTo>
                    <a:cubicBezTo>
                      <a:pt x="-997" y="11703"/>
                      <a:pt x="1874" y="16787"/>
                      <a:pt x="6778" y="18102"/>
                    </a:cubicBezTo>
                    <a:cubicBezTo>
                      <a:pt x="11683" y="19478"/>
                      <a:pt x="16706" y="16547"/>
                      <a:pt x="18022" y="11643"/>
                    </a:cubicBezTo>
                    <a:cubicBezTo>
                      <a:pt x="19338" y="6799"/>
                      <a:pt x="16467" y="1715"/>
                      <a:pt x="11563" y="340"/>
                    </a:cubicBezTo>
                    <a:close/>
                  </a:path>
                </a:pathLst>
              </a:custGeom>
              <a:grpFill/>
              <a:ln w="5978" cap="flat">
                <a:noFill/>
                <a:prstDash val="solid"/>
                <a:miter/>
              </a:ln>
            </p:spPr>
            <p:txBody>
              <a:bodyPr rtlCol="0" anchor="ctr"/>
              <a:lstStyle/>
              <a:p>
                <a:endParaRPr lang="en-GB"/>
              </a:p>
            </p:txBody>
          </p:sp>
        </p:grpSp>
        <p:grpSp>
          <p:nvGrpSpPr>
            <p:cNvPr id="247" name="Graphic 3">
              <a:extLst>
                <a:ext uri="{FF2B5EF4-FFF2-40B4-BE49-F238E27FC236}">
                  <a16:creationId xmlns:a16="http://schemas.microsoft.com/office/drawing/2014/main" id="{DB499179-22C1-4FF5-B28A-0F137EB8899F}"/>
                </a:ext>
              </a:extLst>
            </p:cNvPr>
            <p:cNvGrpSpPr/>
            <p:nvPr/>
          </p:nvGrpSpPr>
          <p:grpSpPr>
            <a:xfrm>
              <a:off x="7307002" y="2200449"/>
              <a:ext cx="124208" cy="111936"/>
              <a:chOff x="7307002" y="2200449"/>
              <a:chExt cx="124208" cy="111936"/>
            </a:xfrm>
            <a:grpFill/>
          </p:grpSpPr>
          <p:sp>
            <p:nvSpPr>
              <p:cNvPr id="4638" name="Vrije vorm: vorm 4637">
                <a:extLst>
                  <a:ext uri="{FF2B5EF4-FFF2-40B4-BE49-F238E27FC236}">
                    <a16:creationId xmlns:a16="http://schemas.microsoft.com/office/drawing/2014/main" id="{3D971C44-836D-4833-B429-1E4B9AD80FB9}"/>
                  </a:ext>
                </a:extLst>
              </p:cNvPr>
              <p:cNvSpPr/>
              <p:nvPr/>
            </p:nvSpPr>
            <p:spPr>
              <a:xfrm>
                <a:off x="7314801" y="2208182"/>
                <a:ext cx="108610" cy="96528"/>
              </a:xfrm>
              <a:custGeom>
                <a:avLst/>
                <a:gdLst>
                  <a:gd name="connsiteX0" fmla="*/ 108610 w 108610"/>
                  <a:gd name="connsiteY0" fmla="*/ 2332 h 96528"/>
                  <a:gd name="connsiteX1" fmla="*/ 1973 w 108610"/>
                  <a:gd name="connsiteY1" fmla="*/ 96529 h 96528"/>
                  <a:gd name="connsiteX2" fmla="*/ 0 w 108610"/>
                  <a:gd name="connsiteY2" fmla="*/ 94196 h 96528"/>
                  <a:gd name="connsiteX3" fmla="*/ 106577 w 108610"/>
                  <a:gd name="connsiteY3" fmla="*/ 0 h 96528"/>
                </a:gdLst>
                <a:ahLst/>
                <a:cxnLst>
                  <a:cxn ang="0">
                    <a:pos x="connsiteX0" y="connsiteY0"/>
                  </a:cxn>
                  <a:cxn ang="0">
                    <a:pos x="connsiteX1" y="connsiteY1"/>
                  </a:cxn>
                  <a:cxn ang="0">
                    <a:pos x="connsiteX2" y="connsiteY2"/>
                  </a:cxn>
                  <a:cxn ang="0">
                    <a:pos x="connsiteX3" y="connsiteY3"/>
                  </a:cxn>
                </a:cxnLst>
                <a:rect l="l" t="t" r="r" b="b"/>
                <a:pathLst>
                  <a:path w="108610" h="96528">
                    <a:moveTo>
                      <a:pt x="108610" y="2332"/>
                    </a:moveTo>
                    <a:lnTo>
                      <a:pt x="1973" y="96529"/>
                    </a:lnTo>
                    <a:lnTo>
                      <a:pt x="0" y="94196"/>
                    </a:lnTo>
                    <a:lnTo>
                      <a:pt x="106577" y="0"/>
                    </a:lnTo>
                    <a:close/>
                  </a:path>
                </a:pathLst>
              </a:custGeom>
              <a:grpFill/>
              <a:ln w="5978" cap="flat">
                <a:noFill/>
                <a:prstDash val="solid"/>
                <a:miter/>
              </a:ln>
            </p:spPr>
            <p:txBody>
              <a:bodyPr rtlCol="0" anchor="ctr"/>
              <a:lstStyle/>
              <a:p>
                <a:endParaRPr lang="en-GB"/>
              </a:p>
            </p:txBody>
          </p:sp>
          <p:sp>
            <p:nvSpPr>
              <p:cNvPr id="4639" name="Vrije vorm: vorm 4638">
                <a:extLst>
                  <a:ext uri="{FF2B5EF4-FFF2-40B4-BE49-F238E27FC236}">
                    <a16:creationId xmlns:a16="http://schemas.microsoft.com/office/drawing/2014/main" id="{2836741A-1107-4211-B3FD-2C6DA688FF23}"/>
                  </a:ext>
                </a:extLst>
              </p:cNvPr>
              <p:cNvSpPr/>
              <p:nvPr/>
            </p:nvSpPr>
            <p:spPr>
              <a:xfrm>
                <a:off x="7412921" y="2200449"/>
                <a:ext cx="18289" cy="18398"/>
              </a:xfrm>
              <a:custGeom>
                <a:avLst/>
                <a:gdLst>
                  <a:gd name="connsiteX0" fmla="*/ 3075 w 18289"/>
                  <a:gd name="connsiteY0" fmla="*/ 2291 h 18398"/>
                  <a:gd name="connsiteX1" fmla="*/ 15993 w 18289"/>
                  <a:gd name="connsiteY1" fmla="*/ 3129 h 18398"/>
                  <a:gd name="connsiteX2" fmla="*/ 15216 w 18289"/>
                  <a:gd name="connsiteY2" fmla="*/ 16107 h 18398"/>
                  <a:gd name="connsiteX3" fmla="*/ 2297 w 18289"/>
                  <a:gd name="connsiteY3" fmla="*/ 15269 h 18398"/>
                  <a:gd name="connsiteX4" fmla="*/ 3075 w 18289"/>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98">
                    <a:moveTo>
                      <a:pt x="3075" y="2291"/>
                    </a:moveTo>
                    <a:cubicBezTo>
                      <a:pt x="6843" y="-1058"/>
                      <a:pt x="12644" y="-699"/>
                      <a:pt x="15993" y="3129"/>
                    </a:cubicBezTo>
                    <a:cubicBezTo>
                      <a:pt x="19342" y="6956"/>
                      <a:pt x="18983" y="12758"/>
                      <a:pt x="15216" y="16107"/>
                    </a:cubicBezTo>
                    <a:cubicBezTo>
                      <a:pt x="11448" y="19456"/>
                      <a:pt x="5646" y="19097"/>
                      <a:pt x="2297" y="15269"/>
                    </a:cubicBezTo>
                    <a:cubicBezTo>
                      <a:pt x="-1052" y="11442"/>
                      <a:pt x="-693" y="5641"/>
                      <a:pt x="3075" y="2291"/>
                    </a:cubicBezTo>
                    <a:close/>
                  </a:path>
                </a:pathLst>
              </a:custGeom>
              <a:grpFill/>
              <a:ln w="5978" cap="flat">
                <a:noFill/>
                <a:prstDash val="solid"/>
                <a:miter/>
              </a:ln>
            </p:spPr>
            <p:txBody>
              <a:bodyPr rtlCol="0" anchor="ctr"/>
              <a:lstStyle/>
              <a:p>
                <a:endParaRPr lang="en-GB"/>
              </a:p>
            </p:txBody>
          </p:sp>
          <p:sp>
            <p:nvSpPr>
              <p:cNvPr id="4640" name="Vrije vorm: vorm 4639">
                <a:extLst>
                  <a:ext uri="{FF2B5EF4-FFF2-40B4-BE49-F238E27FC236}">
                    <a16:creationId xmlns:a16="http://schemas.microsoft.com/office/drawing/2014/main" id="{1DAF0AD8-5615-47EA-87F4-06B76C27FC85}"/>
                  </a:ext>
                </a:extLst>
              </p:cNvPr>
              <p:cNvSpPr/>
              <p:nvPr/>
            </p:nvSpPr>
            <p:spPr>
              <a:xfrm>
                <a:off x="7307002" y="2294007"/>
                <a:ext cx="18290" cy="18377"/>
              </a:xfrm>
              <a:custGeom>
                <a:avLst/>
                <a:gdLst>
                  <a:gd name="connsiteX0" fmla="*/ 3075 w 18290"/>
                  <a:gd name="connsiteY0" fmla="*/ 2271 h 18377"/>
                  <a:gd name="connsiteX1" fmla="*/ 2297 w 18290"/>
                  <a:gd name="connsiteY1" fmla="*/ 15249 h 18377"/>
                  <a:gd name="connsiteX2" fmla="*/ 15216 w 18290"/>
                  <a:gd name="connsiteY2" fmla="*/ 16086 h 18377"/>
                  <a:gd name="connsiteX3" fmla="*/ 15993 w 18290"/>
                  <a:gd name="connsiteY3" fmla="*/ 3108 h 18377"/>
                  <a:gd name="connsiteX4" fmla="*/ 3075 w 18290"/>
                  <a:gd name="connsiteY4" fmla="*/ 2271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77">
                    <a:moveTo>
                      <a:pt x="3075" y="2271"/>
                    </a:moveTo>
                    <a:cubicBezTo>
                      <a:pt x="-693" y="5620"/>
                      <a:pt x="-1052" y="11421"/>
                      <a:pt x="2297" y="15249"/>
                    </a:cubicBezTo>
                    <a:cubicBezTo>
                      <a:pt x="5647" y="19077"/>
                      <a:pt x="11448" y="19436"/>
                      <a:pt x="15216" y="16086"/>
                    </a:cubicBezTo>
                    <a:cubicBezTo>
                      <a:pt x="18983" y="12737"/>
                      <a:pt x="19343" y="6936"/>
                      <a:pt x="15993" y="3108"/>
                    </a:cubicBezTo>
                    <a:cubicBezTo>
                      <a:pt x="12644" y="-660"/>
                      <a:pt x="6842" y="-1078"/>
                      <a:pt x="3075" y="2271"/>
                    </a:cubicBezTo>
                    <a:close/>
                  </a:path>
                </a:pathLst>
              </a:custGeom>
              <a:grpFill/>
              <a:ln w="5978" cap="flat">
                <a:noFill/>
                <a:prstDash val="solid"/>
                <a:miter/>
              </a:ln>
            </p:spPr>
            <p:txBody>
              <a:bodyPr rtlCol="0" anchor="ctr"/>
              <a:lstStyle/>
              <a:p>
                <a:endParaRPr lang="en-GB"/>
              </a:p>
            </p:txBody>
          </p:sp>
        </p:grpSp>
        <p:grpSp>
          <p:nvGrpSpPr>
            <p:cNvPr id="248" name="Graphic 3">
              <a:extLst>
                <a:ext uri="{FF2B5EF4-FFF2-40B4-BE49-F238E27FC236}">
                  <a16:creationId xmlns:a16="http://schemas.microsoft.com/office/drawing/2014/main" id="{0BD955EF-8102-493F-9CD2-B60AE8738CB2}"/>
                </a:ext>
              </a:extLst>
            </p:cNvPr>
            <p:cNvGrpSpPr/>
            <p:nvPr/>
          </p:nvGrpSpPr>
          <p:grpSpPr>
            <a:xfrm>
              <a:off x="7732066" y="3484577"/>
              <a:ext cx="77586" cy="21132"/>
              <a:chOff x="7732066" y="3484577"/>
              <a:chExt cx="77586" cy="21132"/>
            </a:xfrm>
            <a:grpFill/>
          </p:grpSpPr>
          <p:sp>
            <p:nvSpPr>
              <p:cNvPr id="4635" name="Vrije vorm: vorm 4634">
                <a:extLst>
                  <a:ext uri="{FF2B5EF4-FFF2-40B4-BE49-F238E27FC236}">
                    <a16:creationId xmlns:a16="http://schemas.microsoft.com/office/drawing/2014/main" id="{890B7A75-9DEC-4F49-8918-F2C2E90E7C05}"/>
                  </a:ext>
                </a:extLst>
              </p:cNvPr>
              <p:cNvSpPr/>
              <p:nvPr/>
            </p:nvSpPr>
            <p:spPr>
              <a:xfrm>
                <a:off x="7740688" y="3492243"/>
                <a:ext cx="60346" cy="5801"/>
              </a:xfrm>
              <a:custGeom>
                <a:avLst/>
                <a:gdLst>
                  <a:gd name="connsiteX0" fmla="*/ 60346 w 60346"/>
                  <a:gd name="connsiteY0" fmla="*/ 2751 h 5801"/>
                  <a:gd name="connsiteX1" fmla="*/ 60166 w 60346"/>
                  <a:gd name="connsiteY1" fmla="*/ 5801 h 5801"/>
                  <a:gd name="connsiteX2" fmla="*/ 0 w 60346"/>
                  <a:gd name="connsiteY2" fmla="*/ 3050 h 5801"/>
                  <a:gd name="connsiteX3" fmla="*/ 120 w 60346"/>
                  <a:gd name="connsiteY3" fmla="*/ 0 h 5801"/>
                </a:gdLst>
                <a:ahLst/>
                <a:cxnLst>
                  <a:cxn ang="0">
                    <a:pos x="connsiteX0" y="connsiteY0"/>
                  </a:cxn>
                  <a:cxn ang="0">
                    <a:pos x="connsiteX1" y="connsiteY1"/>
                  </a:cxn>
                  <a:cxn ang="0">
                    <a:pos x="connsiteX2" y="connsiteY2"/>
                  </a:cxn>
                  <a:cxn ang="0">
                    <a:pos x="connsiteX3" y="connsiteY3"/>
                  </a:cxn>
                </a:cxnLst>
                <a:rect l="l" t="t" r="r" b="b"/>
                <a:pathLst>
                  <a:path w="60346" h="5801">
                    <a:moveTo>
                      <a:pt x="60346" y="2751"/>
                    </a:moveTo>
                    <a:lnTo>
                      <a:pt x="60166" y="5801"/>
                    </a:lnTo>
                    <a:lnTo>
                      <a:pt x="0" y="3050"/>
                    </a:lnTo>
                    <a:lnTo>
                      <a:pt x="120" y="0"/>
                    </a:lnTo>
                    <a:close/>
                  </a:path>
                </a:pathLst>
              </a:custGeom>
              <a:grpFill/>
              <a:ln w="5978" cap="flat">
                <a:noFill/>
                <a:prstDash val="solid"/>
                <a:miter/>
              </a:ln>
            </p:spPr>
            <p:txBody>
              <a:bodyPr rtlCol="0" anchor="ctr"/>
              <a:lstStyle/>
              <a:p>
                <a:endParaRPr lang="en-GB"/>
              </a:p>
            </p:txBody>
          </p:sp>
          <p:sp>
            <p:nvSpPr>
              <p:cNvPr id="4636" name="Vrije vorm: vorm 4635">
                <a:extLst>
                  <a:ext uri="{FF2B5EF4-FFF2-40B4-BE49-F238E27FC236}">
                    <a16:creationId xmlns:a16="http://schemas.microsoft.com/office/drawing/2014/main" id="{6F563F4D-CB6C-4AF3-9CAE-05C5FAF81E38}"/>
                  </a:ext>
                </a:extLst>
              </p:cNvPr>
              <p:cNvSpPr/>
              <p:nvPr/>
            </p:nvSpPr>
            <p:spPr>
              <a:xfrm>
                <a:off x="7791340" y="3487269"/>
                <a:ext cx="18312" cy="18441"/>
              </a:xfrm>
              <a:custGeom>
                <a:avLst/>
                <a:gdLst>
                  <a:gd name="connsiteX0" fmla="*/ 9515 w 18312"/>
                  <a:gd name="connsiteY0" fmla="*/ 10 h 18441"/>
                  <a:gd name="connsiteX1" fmla="*/ 18307 w 18312"/>
                  <a:gd name="connsiteY1" fmla="*/ 9639 h 18441"/>
                  <a:gd name="connsiteX2" fmla="*/ 8797 w 18312"/>
                  <a:gd name="connsiteY2" fmla="*/ 18431 h 18441"/>
                  <a:gd name="connsiteX3" fmla="*/ 6 w 18312"/>
                  <a:gd name="connsiteY3" fmla="*/ 8802 h 18441"/>
                  <a:gd name="connsiteX4" fmla="*/ 9515 w 18312"/>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1">
                    <a:moveTo>
                      <a:pt x="9515" y="10"/>
                    </a:moveTo>
                    <a:cubicBezTo>
                      <a:pt x="14599" y="250"/>
                      <a:pt x="18486" y="4556"/>
                      <a:pt x="18307" y="9639"/>
                    </a:cubicBezTo>
                    <a:cubicBezTo>
                      <a:pt x="18068" y="14723"/>
                      <a:pt x="13821" y="18670"/>
                      <a:pt x="8797" y="18431"/>
                    </a:cubicBezTo>
                    <a:cubicBezTo>
                      <a:pt x="3774" y="18192"/>
                      <a:pt x="-174" y="13886"/>
                      <a:pt x="6" y="8802"/>
                    </a:cubicBezTo>
                    <a:cubicBezTo>
                      <a:pt x="185" y="3718"/>
                      <a:pt x="4491" y="-229"/>
                      <a:pt x="9515" y="10"/>
                    </a:cubicBezTo>
                    <a:close/>
                  </a:path>
                </a:pathLst>
              </a:custGeom>
              <a:grpFill/>
              <a:ln w="5978" cap="flat">
                <a:noFill/>
                <a:prstDash val="solid"/>
                <a:miter/>
              </a:ln>
            </p:spPr>
            <p:txBody>
              <a:bodyPr rtlCol="0" anchor="ctr"/>
              <a:lstStyle/>
              <a:p>
                <a:endParaRPr lang="en-GB"/>
              </a:p>
            </p:txBody>
          </p:sp>
          <p:sp>
            <p:nvSpPr>
              <p:cNvPr id="4637" name="Vrije vorm: vorm 4636">
                <a:extLst>
                  <a:ext uri="{FF2B5EF4-FFF2-40B4-BE49-F238E27FC236}">
                    <a16:creationId xmlns:a16="http://schemas.microsoft.com/office/drawing/2014/main" id="{8FB73D31-A0C8-472A-B167-BD1C425089F8}"/>
                  </a:ext>
                </a:extLst>
              </p:cNvPr>
              <p:cNvSpPr/>
              <p:nvPr/>
            </p:nvSpPr>
            <p:spPr>
              <a:xfrm>
                <a:off x="7732066" y="3484577"/>
                <a:ext cx="18321" cy="18441"/>
              </a:xfrm>
              <a:custGeom>
                <a:avLst/>
                <a:gdLst>
                  <a:gd name="connsiteX0" fmla="*/ 9519 w 18321"/>
                  <a:gd name="connsiteY0" fmla="*/ 10 h 18441"/>
                  <a:gd name="connsiteX1" fmla="*/ 10 w 18321"/>
                  <a:gd name="connsiteY1" fmla="*/ 8802 h 18441"/>
                  <a:gd name="connsiteX2" fmla="*/ 8802 w 18321"/>
                  <a:gd name="connsiteY2" fmla="*/ 18431 h 18441"/>
                  <a:gd name="connsiteX3" fmla="*/ 18311 w 18321"/>
                  <a:gd name="connsiteY3" fmla="*/ 9639 h 18441"/>
                  <a:gd name="connsiteX4" fmla="*/ 9519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19" y="10"/>
                    </a:moveTo>
                    <a:cubicBezTo>
                      <a:pt x="4436" y="-229"/>
                      <a:pt x="190" y="3718"/>
                      <a:pt x="10" y="8802"/>
                    </a:cubicBezTo>
                    <a:cubicBezTo>
                      <a:pt x="-229" y="13886"/>
                      <a:pt x="3718" y="18192"/>
                      <a:pt x="8802" y="18431"/>
                    </a:cubicBezTo>
                    <a:cubicBezTo>
                      <a:pt x="13885" y="18670"/>
                      <a:pt x="18132" y="14723"/>
                      <a:pt x="18311" y="9639"/>
                    </a:cubicBezTo>
                    <a:cubicBezTo>
                      <a:pt x="18550" y="4556"/>
                      <a:pt x="14603" y="250"/>
                      <a:pt x="9519" y="10"/>
                    </a:cubicBezTo>
                    <a:close/>
                  </a:path>
                </a:pathLst>
              </a:custGeom>
              <a:grpFill/>
              <a:ln w="5978" cap="flat">
                <a:noFill/>
                <a:prstDash val="solid"/>
                <a:miter/>
              </a:ln>
            </p:spPr>
            <p:txBody>
              <a:bodyPr rtlCol="0" anchor="ctr"/>
              <a:lstStyle/>
              <a:p>
                <a:endParaRPr lang="en-GB"/>
              </a:p>
            </p:txBody>
          </p:sp>
        </p:grpSp>
        <p:grpSp>
          <p:nvGrpSpPr>
            <p:cNvPr id="249" name="Graphic 3">
              <a:extLst>
                <a:ext uri="{FF2B5EF4-FFF2-40B4-BE49-F238E27FC236}">
                  <a16:creationId xmlns:a16="http://schemas.microsoft.com/office/drawing/2014/main" id="{76DD91BC-3E04-4A72-A946-BBA0BE98F7F1}"/>
                </a:ext>
              </a:extLst>
            </p:cNvPr>
            <p:cNvGrpSpPr/>
            <p:nvPr/>
          </p:nvGrpSpPr>
          <p:grpSpPr>
            <a:xfrm>
              <a:off x="7053365" y="1686140"/>
              <a:ext cx="346919" cy="392485"/>
              <a:chOff x="7053365" y="1686140"/>
              <a:chExt cx="346919" cy="392485"/>
            </a:xfrm>
            <a:grpFill/>
          </p:grpSpPr>
          <p:sp>
            <p:nvSpPr>
              <p:cNvPr id="4632" name="Vrije vorm: vorm 4631">
                <a:extLst>
                  <a:ext uri="{FF2B5EF4-FFF2-40B4-BE49-F238E27FC236}">
                    <a16:creationId xmlns:a16="http://schemas.microsoft.com/office/drawing/2014/main" id="{05FD5D4F-D1AB-4594-820D-8FC05A344571}"/>
                  </a:ext>
                </a:extLst>
              </p:cNvPr>
              <p:cNvSpPr/>
              <p:nvPr/>
            </p:nvSpPr>
            <p:spPr>
              <a:xfrm>
                <a:off x="7061040" y="1693960"/>
                <a:ext cx="331570" cy="376785"/>
              </a:xfrm>
              <a:custGeom>
                <a:avLst/>
                <a:gdLst>
                  <a:gd name="connsiteX0" fmla="*/ 331571 w 331570"/>
                  <a:gd name="connsiteY0" fmla="*/ 2033 h 376785"/>
                  <a:gd name="connsiteX1" fmla="*/ 2332 w 331570"/>
                  <a:gd name="connsiteY1" fmla="*/ 376785 h 376785"/>
                  <a:gd name="connsiteX2" fmla="*/ 0 w 331570"/>
                  <a:gd name="connsiteY2" fmla="*/ 374752 h 376785"/>
                  <a:gd name="connsiteX3" fmla="*/ 329238 w 331570"/>
                  <a:gd name="connsiteY3" fmla="*/ 0 h 376785"/>
                </a:gdLst>
                <a:ahLst/>
                <a:cxnLst>
                  <a:cxn ang="0">
                    <a:pos x="connsiteX0" y="connsiteY0"/>
                  </a:cxn>
                  <a:cxn ang="0">
                    <a:pos x="connsiteX1" y="connsiteY1"/>
                  </a:cxn>
                  <a:cxn ang="0">
                    <a:pos x="connsiteX2" y="connsiteY2"/>
                  </a:cxn>
                  <a:cxn ang="0">
                    <a:pos x="connsiteX3" y="connsiteY3"/>
                  </a:cxn>
                </a:cxnLst>
                <a:rect l="l" t="t" r="r" b="b"/>
                <a:pathLst>
                  <a:path w="331570" h="376785">
                    <a:moveTo>
                      <a:pt x="331571" y="2033"/>
                    </a:moveTo>
                    <a:lnTo>
                      <a:pt x="2332" y="376785"/>
                    </a:lnTo>
                    <a:lnTo>
                      <a:pt x="0" y="374752"/>
                    </a:lnTo>
                    <a:lnTo>
                      <a:pt x="329238" y="0"/>
                    </a:lnTo>
                    <a:close/>
                  </a:path>
                </a:pathLst>
              </a:custGeom>
              <a:grpFill/>
              <a:ln w="5978" cap="flat">
                <a:noFill/>
                <a:prstDash val="solid"/>
                <a:miter/>
              </a:ln>
            </p:spPr>
            <p:txBody>
              <a:bodyPr rtlCol="0" anchor="ctr"/>
              <a:lstStyle/>
              <a:p>
                <a:endParaRPr lang="en-GB"/>
              </a:p>
            </p:txBody>
          </p:sp>
          <p:sp>
            <p:nvSpPr>
              <p:cNvPr id="4633" name="Vrije vorm: vorm 4632">
                <a:extLst>
                  <a:ext uri="{FF2B5EF4-FFF2-40B4-BE49-F238E27FC236}">
                    <a16:creationId xmlns:a16="http://schemas.microsoft.com/office/drawing/2014/main" id="{892EE04F-964B-4562-B824-FC726C2716D9}"/>
                  </a:ext>
                </a:extLst>
              </p:cNvPr>
              <p:cNvSpPr/>
              <p:nvPr/>
            </p:nvSpPr>
            <p:spPr>
              <a:xfrm>
                <a:off x="7053365" y="2060234"/>
                <a:ext cx="18317" cy="18391"/>
              </a:xfrm>
              <a:custGeom>
                <a:avLst/>
                <a:gdLst>
                  <a:gd name="connsiteX0" fmla="*/ 16047 w 18317"/>
                  <a:gd name="connsiteY0" fmla="*/ 15296 h 18391"/>
                  <a:gd name="connsiteX1" fmla="*/ 3129 w 18317"/>
                  <a:gd name="connsiteY1" fmla="*/ 16073 h 18391"/>
                  <a:gd name="connsiteX2" fmla="*/ 2291 w 18317"/>
                  <a:gd name="connsiteY2" fmla="*/ 3095 h 18391"/>
                  <a:gd name="connsiteX3" fmla="*/ 15209 w 18317"/>
                  <a:gd name="connsiteY3" fmla="*/ 2318 h 18391"/>
                  <a:gd name="connsiteX4" fmla="*/ 16047 w 18317"/>
                  <a:gd name="connsiteY4" fmla="*/ 15296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91">
                    <a:moveTo>
                      <a:pt x="16047" y="15296"/>
                    </a:moveTo>
                    <a:cubicBezTo>
                      <a:pt x="12698" y="19124"/>
                      <a:pt x="6897" y="19423"/>
                      <a:pt x="3129" y="16073"/>
                    </a:cubicBezTo>
                    <a:cubicBezTo>
                      <a:pt x="-699" y="12724"/>
                      <a:pt x="-1058" y="6863"/>
                      <a:pt x="2291" y="3095"/>
                    </a:cubicBezTo>
                    <a:cubicBezTo>
                      <a:pt x="5640" y="-732"/>
                      <a:pt x="11442" y="-1031"/>
                      <a:pt x="15209" y="2318"/>
                    </a:cubicBezTo>
                    <a:cubicBezTo>
                      <a:pt x="18977" y="5667"/>
                      <a:pt x="19396" y="11468"/>
                      <a:pt x="16047" y="15296"/>
                    </a:cubicBezTo>
                    <a:close/>
                  </a:path>
                </a:pathLst>
              </a:custGeom>
              <a:grpFill/>
              <a:ln w="5978" cap="flat">
                <a:noFill/>
                <a:prstDash val="solid"/>
                <a:miter/>
              </a:ln>
            </p:spPr>
            <p:txBody>
              <a:bodyPr rtlCol="0" anchor="ctr"/>
              <a:lstStyle/>
              <a:p>
                <a:endParaRPr lang="en-GB"/>
              </a:p>
            </p:txBody>
          </p:sp>
          <p:sp>
            <p:nvSpPr>
              <p:cNvPr id="4634" name="Vrije vorm: vorm 4633">
                <a:extLst>
                  <a:ext uri="{FF2B5EF4-FFF2-40B4-BE49-F238E27FC236}">
                    <a16:creationId xmlns:a16="http://schemas.microsoft.com/office/drawing/2014/main" id="{0EF75EDE-AD25-4CBD-BC68-797761E1B719}"/>
                  </a:ext>
                </a:extLst>
              </p:cNvPr>
              <p:cNvSpPr/>
              <p:nvPr/>
            </p:nvSpPr>
            <p:spPr>
              <a:xfrm>
                <a:off x="7381946" y="1686140"/>
                <a:ext cx="18338" cy="18370"/>
              </a:xfrm>
              <a:custGeom>
                <a:avLst/>
                <a:gdLst>
                  <a:gd name="connsiteX0" fmla="*/ 16047 w 18338"/>
                  <a:gd name="connsiteY0" fmla="*/ 15296 h 18370"/>
                  <a:gd name="connsiteX1" fmla="*/ 15210 w 18338"/>
                  <a:gd name="connsiteY1" fmla="*/ 2318 h 18370"/>
                  <a:gd name="connsiteX2" fmla="*/ 2291 w 18338"/>
                  <a:gd name="connsiteY2" fmla="*/ 3095 h 18370"/>
                  <a:gd name="connsiteX3" fmla="*/ 3129 w 18338"/>
                  <a:gd name="connsiteY3" fmla="*/ 16073 h 18370"/>
                  <a:gd name="connsiteX4" fmla="*/ 16047 w 18338"/>
                  <a:gd name="connsiteY4" fmla="*/ 15296 h 18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0">
                    <a:moveTo>
                      <a:pt x="16047" y="15296"/>
                    </a:moveTo>
                    <a:cubicBezTo>
                      <a:pt x="19396" y="11468"/>
                      <a:pt x="19038" y="5667"/>
                      <a:pt x="15210" y="2318"/>
                    </a:cubicBezTo>
                    <a:cubicBezTo>
                      <a:pt x="11382" y="-1031"/>
                      <a:pt x="5641" y="-732"/>
                      <a:pt x="2291" y="3095"/>
                    </a:cubicBezTo>
                    <a:cubicBezTo>
                      <a:pt x="-1058" y="6923"/>
                      <a:pt x="-699" y="12724"/>
                      <a:pt x="3129" y="16073"/>
                    </a:cubicBezTo>
                    <a:cubicBezTo>
                      <a:pt x="6956" y="19423"/>
                      <a:pt x="12757" y="19064"/>
                      <a:pt x="16047" y="15296"/>
                    </a:cubicBezTo>
                    <a:close/>
                  </a:path>
                </a:pathLst>
              </a:custGeom>
              <a:grpFill/>
              <a:ln w="5978" cap="flat">
                <a:noFill/>
                <a:prstDash val="solid"/>
                <a:miter/>
              </a:ln>
            </p:spPr>
            <p:txBody>
              <a:bodyPr rtlCol="0" anchor="ctr"/>
              <a:lstStyle/>
              <a:p>
                <a:endParaRPr lang="en-GB"/>
              </a:p>
            </p:txBody>
          </p:sp>
        </p:grpSp>
        <p:grpSp>
          <p:nvGrpSpPr>
            <p:cNvPr id="250" name="Graphic 3">
              <a:extLst>
                <a:ext uri="{FF2B5EF4-FFF2-40B4-BE49-F238E27FC236}">
                  <a16:creationId xmlns:a16="http://schemas.microsoft.com/office/drawing/2014/main" id="{E387B8CB-61F1-4C07-ABEA-A2F36A0FA2BF}"/>
                </a:ext>
              </a:extLst>
            </p:cNvPr>
            <p:cNvGrpSpPr/>
            <p:nvPr/>
          </p:nvGrpSpPr>
          <p:grpSpPr>
            <a:xfrm>
              <a:off x="7893263" y="3994302"/>
              <a:ext cx="127976" cy="53212"/>
              <a:chOff x="7893263" y="3994302"/>
              <a:chExt cx="127976" cy="53212"/>
            </a:xfrm>
            <a:grpFill/>
          </p:grpSpPr>
          <p:sp>
            <p:nvSpPr>
              <p:cNvPr id="4629" name="Vrije vorm: vorm 4628">
                <a:extLst>
                  <a:ext uri="{FF2B5EF4-FFF2-40B4-BE49-F238E27FC236}">
                    <a16:creationId xmlns:a16="http://schemas.microsoft.com/office/drawing/2014/main" id="{274F0025-57B7-448E-A638-65BAA346E539}"/>
                  </a:ext>
                </a:extLst>
              </p:cNvPr>
              <p:cNvSpPr/>
              <p:nvPr/>
            </p:nvSpPr>
            <p:spPr>
              <a:xfrm>
                <a:off x="7901570" y="4001980"/>
                <a:ext cx="111361" cy="37977"/>
              </a:xfrm>
              <a:custGeom>
                <a:avLst/>
                <a:gdLst>
                  <a:gd name="connsiteX0" fmla="*/ 111361 w 111361"/>
                  <a:gd name="connsiteY0" fmla="*/ 35047 h 37977"/>
                  <a:gd name="connsiteX1" fmla="*/ 110464 w 111361"/>
                  <a:gd name="connsiteY1" fmla="*/ 37977 h 37977"/>
                  <a:gd name="connsiteX2" fmla="*/ 0 w 111361"/>
                  <a:gd name="connsiteY2" fmla="*/ 2871 h 37977"/>
                  <a:gd name="connsiteX3" fmla="*/ 897 w 111361"/>
                  <a:gd name="connsiteY3" fmla="*/ 0 h 37977"/>
                </a:gdLst>
                <a:ahLst/>
                <a:cxnLst>
                  <a:cxn ang="0">
                    <a:pos x="connsiteX0" y="connsiteY0"/>
                  </a:cxn>
                  <a:cxn ang="0">
                    <a:pos x="connsiteX1" y="connsiteY1"/>
                  </a:cxn>
                  <a:cxn ang="0">
                    <a:pos x="connsiteX2" y="connsiteY2"/>
                  </a:cxn>
                  <a:cxn ang="0">
                    <a:pos x="connsiteX3" y="connsiteY3"/>
                  </a:cxn>
                </a:cxnLst>
                <a:rect l="l" t="t" r="r" b="b"/>
                <a:pathLst>
                  <a:path w="111361" h="37977">
                    <a:moveTo>
                      <a:pt x="111361" y="35047"/>
                    </a:moveTo>
                    <a:lnTo>
                      <a:pt x="110464" y="37977"/>
                    </a:lnTo>
                    <a:lnTo>
                      <a:pt x="0" y="2871"/>
                    </a:lnTo>
                    <a:lnTo>
                      <a:pt x="897" y="0"/>
                    </a:lnTo>
                    <a:close/>
                  </a:path>
                </a:pathLst>
              </a:custGeom>
              <a:grpFill/>
              <a:ln w="5978" cap="flat">
                <a:noFill/>
                <a:prstDash val="solid"/>
                <a:miter/>
              </a:ln>
            </p:spPr>
            <p:txBody>
              <a:bodyPr rtlCol="0" anchor="ctr"/>
              <a:lstStyle/>
              <a:p>
                <a:endParaRPr lang="en-GB"/>
              </a:p>
            </p:txBody>
          </p:sp>
          <p:sp>
            <p:nvSpPr>
              <p:cNvPr id="4630" name="Vrije vorm: vorm 4629">
                <a:extLst>
                  <a:ext uri="{FF2B5EF4-FFF2-40B4-BE49-F238E27FC236}">
                    <a16:creationId xmlns:a16="http://schemas.microsoft.com/office/drawing/2014/main" id="{D553BD10-5E26-4243-B608-833CB4250C67}"/>
                  </a:ext>
                </a:extLst>
              </p:cNvPr>
              <p:cNvSpPr/>
              <p:nvPr/>
            </p:nvSpPr>
            <p:spPr>
              <a:xfrm>
                <a:off x="8002889" y="4029138"/>
                <a:ext cx="18349" cy="18377"/>
              </a:xfrm>
              <a:custGeom>
                <a:avLst/>
                <a:gdLst>
                  <a:gd name="connsiteX0" fmla="*/ 11896 w 18349"/>
                  <a:gd name="connsiteY0" fmla="*/ 413 h 18377"/>
                  <a:gd name="connsiteX1" fmla="*/ 17937 w 18349"/>
                  <a:gd name="connsiteY1" fmla="*/ 11956 h 18377"/>
                  <a:gd name="connsiteX2" fmla="*/ 6453 w 18349"/>
                  <a:gd name="connsiteY2" fmla="*/ 17937 h 18377"/>
                  <a:gd name="connsiteX3" fmla="*/ 413 w 18349"/>
                  <a:gd name="connsiteY3" fmla="*/ 6394 h 18377"/>
                  <a:gd name="connsiteX4" fmla="*/ 11896 w 18349"/>
                  <a:gd name="connsiteY4" fmla="*/ 413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77">
                    <a:moveTo>
                      <a:pt x="11896" y="413"/>
                    </a:moveTo>
                    <a:cubicBezTo>
                      <a:pt x="16740" y="1968"/>
                      <a:pt x="19432" y="7112"/>
                      <a:pt x="17937" y="11956"/>
                    </a:cubicBezTo>
                    <a:cubicBezTo>
                      <a:pt x="16442" y="16800"/>
                      <a:pt x="11298" y="19492"/>
                      <a:pt x="6453" y="17937"/>
                    </a:cubicBezTo>
                    <a:cubicBezTo>
                      <a:pt x="1609" y="16382"/>
                      <a:pt x="-1082" y="11238"/>
                      <a:pt x="413" y="6394"/>
                    </a:cubicBezTo>
                    <a:cubicBezTo>
                      <a:pt x="1908" y="1610"/>
                      <a:pt x="7051" y="-1082"/>
                      <a:pt x="11896" y="413"/>
                    </a:cubicBezTo>
                    <a:close/>
                  </a:path>
                </a:pathLst>
              </a:custGeom>
              <a:grpFill/>
              <a:ln w="5978" cap="flat">
                <a:noFill/>
                <a:prstDash val="solid"/>
                <a:miter/>
              </a:ln>
            </p:spPr>
            <p:txBody>
              <a:bodyPr rtlCol="0" anchor="ctr"/>
              <a:lstStyle/>
              <a:p>
                <a:endParaRPr lang="en-GB"/>
              </a:p>
            </p:txBody>
          </p:sp>
          <p:sp>
            <p:nvSpPr>
              <p:cNvPr id="4631" name="Vrije vorm: vorm 4630">
                <a:extLst>
                  <a:ext uri="{FF2B5EF4-FFF2-40B4-BE49-F238E27FC236}">
                    <a16:creationId xmlns:a16="http://schemas.microsoft.com/office/drawing/2014/main" id="{A8441E14-56A2-489D-88A3-1F745F885E7E}"/>
                  </a:ext>
                </a:extLst>
              </p:cNvPr>
              <p:cNvSpPr/>
              <p:nvPr/>
            </p:nvSpPr>
            <p:spPr>
              <a:xfrm>
                <a:off x="7893263" y="3994302"/>
                <a:ext cx="18348" cy="18405"/>
              </a:xfrm>
              <a:custGeom>
                <a:avLst/>
                <a:gdLst>
                  <a:gd name="connsiteX0" fmla="*/ 11895 w 18348"/>
                  <a:gd name="connsiteY0" fmla="*/ 441 h 18405"/>
                  <a:gd name="connsiteX1" fmla="*/ 413 w 18348"/>
                  <a:gd name="connsiteY1" fmla="*/ 6421 h 18405"/>
                  <a:gd name="connsiteX2" fmla="*/ 6454 w 18348"/>
                  <a:gd name="connsiteY2" fmla="*/ 17964 h 18405"/>
                  <a:gd name="connsiteX3" fmla="*/ 17936 w 18348"/>
                  <a:gd name="connsiteY3" fmla="*/ 11984 h 18405"/>
                  <a:gd name="connsiteX4" fmla="*/ 11895 w 18348"/>
                  <a:gd name="connsiteY4" fmla="*/ 4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05">
                    <a:moveTo>
                      <a:pt x="11895" y="441"/>
                    </a:moveTo>
                    <a:cubicBezTo>
                      <a:pt x="7051" y="-1114"/>
                      <a:pt x="1908" y="1577"/>
                      <a:pt x="413" y="6421"/>
                    </a:cubicBezTo>
                    <a:cubicBezTo>
                      <a:pt x="-1082" y="11266"/>
                      <a:pt x="1609" y="16469"/>
                      <a:pt x="6454" y="17964"/>
                    </a:cubicBezTo>
                    <a:cubicBezTo>
                      <a:pt x="11298" y="19519"/>
                      <a:pt x="16441" y="16828"/>
                      <a:pt x="17936" y="11984"/>
                    </a:cubicBezTo>
                    <a:cubicBezTo>
                      <a:pt x="19431" y="7199"/>
                      <a:pt x="16740" y="1996"/>
                      <a:pt x="11895" y="441"/>
                    </a:cubicBezTo>
                    <a:close/>
                  </a:path>
                </a:pathLst>
              </a:custGeom>
              <a:grpFill/>
              <a:ln w="5978" cap="flat">
                <a:noFill/>
                <a:prstDash val="solid"/>
                <a:miter/>
              </a:ln>
            </p:spPr>
            <p:txBody>
              <a:bodyPr rtlCol="0" anchor="ctr"/>
              <a:lstStyle/>
              <a:p>
                <a:endParaRPr lang="en-GB"/>
              </a:p>
            </p:txBody>
          </p:sp>
        </p:grpSp>
        <p:grpSp>
          <p:nvGrpSpPr>
            <p:cNvPr id="251" name="Graphic 3">
              <a:extLst>
                <a:ext uri="{FF2B5EF4-FFF2-40B4-BE49-F238E27FC236}">
                  <a16:creationId xmlns:a16="http://schemas.microsoft.com/office/drawing/2014/main" id="{999A91BC-D760-4291-92F3-2B5E43915D75}"/>
                </a:ext>
              </a:extLst>
            </p:cNvPr>
            <p:cNvGrpSpPr/>
            <p:nvPr/>
          </p:nvGrpSpPr>
          <p:grpSpPr>
            <a:xfrm>
              <a:off x="7222428" y="2048497"/>
              <a:ext cx="166325" cy="170353"/>
              <a:chOff x="7222428" y="2048497"/>
              <a:chExt cx="166325" cy="170353"/>
            </a:xfrm>
            <a:grpFill/>
          </p:grpSpPr>
          <p:sp>
            <p:nvSpPr>
              <p:cNvPr id="4626" name="Vrije vorm: vorm 4625">
                <a:extLst>
                  <a:ext uri="{FF2B5EF4-FFF2-40B4-BE49-F238E27FC236}">
                    <a16:creationId xmlns:a16="http://schemas.microsoft.com/office/drawing/2014/main" id="{D6CE5704-F2DE-4E1F-8345-1FAABCB06A46}"/>
                  </a:ext>
                </a:extLst>
              </p:cNvPr>
              <p:cNvSpPr/>
              <p:nvPr/>
            </p:nvSpPr>
            <p:spPr>
              <a:xfrm>
                <a:off x="7230174" y="2056332"/>
                <a:ext cx="150774" cy="154661"/>
              </a:xfrm>
              <a:custGeom>
                <a:avLst/>
                <a:gdLst>
                  <a:gd name="connsiteX0" fmla="*/ 150775 w 150774"/>
                  <a:gd name="connsiteY0" fmla="*/ 2153 h 154661"/>
                  <a:gd name="connsiteX1" fmla="*/ 2213 w 150774"/>
                  <a:gd name="connsiteY1" fmla="*/ 154661 h 154661"/>
                  <a:gd name="connsiteX2" fmla="*/ 0 w 150774"/>
                  <a:gd name="connsiteY2" fmla="*/ 152508 h 154661"/>
                  <a:gd name="connsiteX3" fmla="*/ 148622 w 150774"/>
                  <a:gd name="connsiteY3" fmla="*/ 0 h 154661"/>
                </a:gdLst>
                <a:ahLst/>
                <a:cxnLst>
                  <a:cxn ang="0">
                    <a:pos x="connsiteX0" y="connsiteY0"/>
                  </a:cxn>
                  <a:cxn ang="0">
                    <a:pos x="connsiteX1" y="connsiteY1"/>
                  </a:cxn>
                  <a:cxn ang="0">
                    <a:pos x="connsiteX2" y="connsiteY2"/>
                  </a:cxn>
                  <a:cxn ang="0">
                    <a:pos x="connsiteX3" y="connsiteY3"/>
                  </a:cxn>
                </a:cxnLst>
                <a:rect l="l" t="t" r="r" b="b"/>
                <a:pathLst>
                  <a:path w="150774" h="154661">
                    <a:moveTo>
                      <a:pt x="150775" y="2153"/>
                    </a:moveTo>
                    <a:lnTo>
                      <a:pt x="2213" y="154661"/>
                    </a:lnTo>
                    <a:lnTo>
                      <a:pt x="0" y="152508"/>
                    </a:lnTo>
                    <a:lnTo>
                      <a:pt x="148622" y="0"/>
                    </a:lnTo>
                    <a:close/>
                  </a:path>
                </a:pathLst>
              </a:custGeom>
              <a:grpFill/>
              <a:ln w="5978" cap="flat">
                <a:noFill/>
                <a:prstDash val="solid"/>
                <a:miter/>
              </a:ln>
            </p:spPr>
            <p:txBody>
              <a:bodyPr rtlCol="0" anchor="ctr"/>
              <a:lstStyle/>
              <a:p>
                <a:endParaRPr lang="en-GB"/>
              </a:p>
            </p:txBody>
          </p:sp>
          <p:sp>
            <p:nvSpPr>
              <p:cNvPr id="4627" name="Vrije vorm: vorm 4626">
                <a:extLst>
                  <a:ext uri="{FF2B5EF4-FFF2-40B4-BE49-F238E27FC236}">
                    <a16:creationId xmlns:a16="http://schemas.microsoft.com/office/drawing/2014/main" id="{30C57F89-8F78-4A29-B27A-7CD6D602E4FA}"/>
                  </a:ext>
                </a:extLst>
              </p:cNvPr>
              <p:cNvSpPr/>
              <p:nvPr/>
            </p:nvSpPr>
            <p:spPr>
              <a:xfrm>
                <a:off x="7370391" y="2048497"/>
                <a:ext cx="18362" cy="18421"/>
              </a:xfrm>
              <a:custGeom>
                <a:avLst/>
                <a:gdLst>
                  <a:gd name="connsiteX0" fmla="*/ 2602 w 18362"/>
                  <a:gd name="connsiteY0" fmla="*/ 2751 h 18421"/>
                  <a:gd name="connsiteX1" fmla="*/ 15581 w 18362"/>
                  <a:gd name="connsiteY1" fmla="*/ 2632 h 18421"/>
                  <a:gd name="connsiteX2" fmla="*/ 15760 w 18362"/>
                  <a:gd name="connsiteY2" fmla="*/ 15670 h 18421"/>
                  <a:gd name="connsiteX3" fmla="*/ 2782 w 18362"/>
                  <a:gd name="connsiteY3" fmla="*/ 15789 h 18421"/>
                  <a:gd name="connsiteX4" fmla="*/ 2602 w 18362"/>
                  <a:gd name="connsiteY4" fmla="*/ 27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2602" y="2751"/>
                    </a:moveTo>
                    <a:cubicBezTo>
                      <a:pt x="6131" y="-897"/>
                      <a:pt x="11932" y="-897"/>
                      <a:pt x="15581" y="2632"/>
                    </a:cubicBezTo>
                    <a:cubicBezTo>
                      <a:pt x="19229" y="6220"/>
                      <a:pt x="19289" y="12021"/>
                      <a:pt x="15760" y="15670"/>
                    </a:cubicBezTo>
                    <a:cubicBezTo>
                      <a:pt x="12231" y="19318"/>
                      <a:pt x="6430" y="19318"/>
                      <a:pt x="2782" y="15789"/>
                    </a:cubicBezTo>
                    <a:cubicBezTo>
                      <a:pt x="-866" y="12201"/>
                      <a:pt x="-926" y="6400"/>
                      <a:pt x="2602" y="2751"/>
                    </a:cubicBezTo>
                    <a:close/>
                  </a:path>
                </a:pathLst>
              </a:custGeom>
              <a:grpFill/>
              <a:ln w="5978" cap="flat">
                <a:noFill/>
                <a:prstDash val="solid"/>
                <a:miter/>
              </a:ln>
            </p:spPr>
            <p:txBody>
              <a:bodyPr rtlCol="0" anchor="ctr"/>
              <a:lstStyle/>
              <a:p>
                <a:endParaRPr lang="en-GB"/>
              </a:p>
            </p:txBody>
          </p:sp>
          <p:sp>
            <p:nvSpPr>
              <p:cNvPr id="4628" name="Vrije vorm: vorm 4627">
                <a:extLst>
                  <a:ext uri="{FF2B5EF4-FFF2-40B4-BE49-F238E27FC236}">
                    <a16:creationId xmlns:a16="http://schemas.microsoft.com/office/drawing/2014/main" id="{46AD7C8F-6C9C-4BAC-B6F3-57A126554897}"/>
                  </a:ext>
                </a:extLst>
              </p:cNvPr>
              <p:cNvSpPr/>
              <p:nvPr/>
            </p:nvSpPr>
            <p:spPr>
              <a:xfrm>
                <a:off x="7222428" y="2200384"/>
                <a:ext cx="18362" cy="18466"/>
              </a:xfrm>
              <a:custGeom>
                <a:avLst/>
                <a:gdLst>
                  <a:gd name="connsiteX0" fmla="*/ 2602 w 18362"/>
                  <a:gd name="connsiteY0" fmla="*/ 2774 h 18466"/>
                  <a:gd name="connsiteX1" fmla="*/ 2782 w 18362"/>
                  <a:gd name="connsiteY1" fmla="*/ 15812 h 18466"/>
                  <a:gd name="connsiteX2" fmla="*/ 15760 w 18362"/>
                  <a:gd name="connsiteY2" fmla="*/ 15692 h 18466"/>
                  <a:gd name="connsiteX3" fmla="*/ 15581 w 18362"/>
                  <a:gd name="connsiteY3" fmla="*/ 2654 h 18466"/>
                  <a:gd name="connsiteX4" fmla="*/ 2602 w 18362"/>
                  <a:gd name="connsiteY4" fmla="*/ 277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66">
                    <a:moveTo>
                      <a:pt x="2602" y="2774"/>
                    </a:moveTo>
                    <a:cubicBezTo>
                      <a:pt x="-926" y="6422"/>
                      <a:pt x="-866" y="12224"/>
                      <a:pt x="2782" y="15812"/>
                    </a:cubicBezTo>
                    <a:cubicBezTo>
                      <a:pt x="6430" y="19400"/>
                      <a:pt x="12231" y="19341"/>
                      <a:pt x="15760" y="15692"/>
                    </a:cubicBezTo>
                    <a:cubicBezTo>
                      <a:pt x="19289" y="12044"/>
                      <a:pt x="19229" y="6243"/>
                      <a:pt x="15581" y="2654"/>
                    </a:cubicBezTo>
                    <a:cubicBezTo>
                      <a:pt x="11932" y="-934"/>
                      <a:pt x="6131" y="-874"/>
                      <a:pt x="2602" y="2774"/>
                    </a:cubicBezTo>
                    <a:close/>
                  </a:path>
                </a:pathLst>
              </a:custGeom>
              <a:grpFill/>
              <a:ln w="5978" cap="flat">
                <a:noFill/>
                <a:prstDash val="solid"/>
                <a:miter/>
              </a:ln>
            </p:spPr>
            <p:txBody>
              <a:bodyPr rtlCol="0" anchor="ctr"/>
              <a:lstStyle/>
              <a:p>
                <a:endParaRPr lang="en-GB"/>
              </a:p>
            </p:txBody>
          </p:sp>
        </p:grpSp>
        <p:grpSp>
          <p:nvGrpSpPr>
            <p:cNvPr id="252" name="Graphic 3">
              <a:extLst>
                <a:ext uri="{FF2B5EF4-FFF2-40B4-BE49-F238E27FC236}">
                  <a16:creationId xmlns:a16="http://schemas.microsoft.com/office/drawing/2014/main" id="{2AA0100C-66D6-429A-B5EE-A4D5E77D89CF}"/>
                </a:ext>
              </a:extLst>
            </p:cNvPr>
            <p:cNvGrpSpPr/>
            <p:nvPr/>
          </p:nvGrpSpPr>
          <p:grpSpPr>
            <a:xfrm>
              <a:off x="7703113" y="3704575"/>
              <a:ext cx="310616" cy="106342"/>
              <a:chOff x="7703113" y="3704575"/>
              <a:chExt cx="310616" cy="106342"/>
            </a:xfrm>
            <a:grpFill/>
          </p:grpSpPr>
          <p:sp>
            <p:nvSpPr>
              <p:cNvPr id="4623" name="Vrije vorm: vorm 4622">
                <a:extLst>
                  <a:ext uri="{FF2B5EF4-FFF2-40B4-BE49-F238E27FC236}">
                    <a16:creationId xmlns:a16="http://schemas.microsoft.com/office/drawing/2014/main" id="{511A76B8-1F74-4B47-A3A6-B35FB1346BA4}"/>
                  </a:ext>
                </a:extLst>
              </p:cNvPr>
              <p:cNvSpPr/>
              <p:nvPr/>
            </p:nvSpPr>
            <p:spPr>
              <a:xfrm>
                <a:off x="7711443" y="3712154"/>
                <a:ext cx="294011" cy="91146"/>
              </a:xfrm>
              <a:custGeom>
                <a:avLst/>
                <a:gdLst>
                  <a:gd name="connsiteX0" fmla="*/ 294012 w 294011"/>
                  <a:gd name="connsiteY0" fmla="*/ 88215 h 91146"/>
                  <a:gd name="connsiteX1" fmla="*/ 293115 w 294011"/>
                  <a:gd name="connsiteY1" fmla="*/ 91146 h 91146"/>
                  <a:gd name="connsiteX2" fmla="*/ 0 w 294011"/>
                  <a:gd name="connsiteY2" fmla="*/ 2930 h 91146"/>
                  <a:gd name="connsiteX3" fmla="*/ 837 w 294011"/>
                  <a:gd name="connsiteY3" fmla="*/ 0 h 91146"/>
                </a:gdLst>
                <a:ahLst/>
                <a:cxnLst>
                  <a:cxn ang="0">
                    <a:pos x="connsiteX0" y="connsiteY0"/>
                  </a:cxn>
                  <a:cxn ang="0">
                    <a:pos x="connsiteX1" y="connsiteY1"/>
                  </a:cxn>
                  <a:cxn ang="0">
                    <a:pos x="connsiteX2" y="connsiteY2"/>
                  </a:cxn>
                  <a:cxn ang="0">
                    <a:pos x="connsiteX3" y="connsiteY3"/>
                  </a:cxn>
                </a:cxnLst>
                <a:rect l="l" t="t" r="r" b="b"/>
                <a:pathLst>
                  <a:path w="294011" h="91146">
                    <a:moveTo>
                      <a:pt x="294012" y="88215"/>
                    </a:moveTo>
                    <a:lnTo>
                      <a:pt x="293115" y="91146"/>
                    </a:lnTo>
                    <a:lnTo>
                      <a:pt x="0" y="2930"/>
                    </a:lnTo>
                    <a:lnTo>
                      <a:pt x="837" y="0"/>
                    </a:lnTo>
                    <a:close/>
                  </a:path>
                </a:pathLst>
              </a:custGeom>
              <a:grpFill/>
              <a:ln w="5978" cap="flat">
                <a:noFill/>
                <a:prstDash val="solid"/>
                <a:miter/>
              </a:ln>
            </p:spPr>
            <p:txBody>
              <a:bodyPr rtlCol="0" anchor="ctr"/>
              <a:lstStyle/>
              <a:p>
                <a:endParaRPr lang="en-GB"/>
              </a:p>
            </p:txBody>
          </p:sp>
          <p:sp>
            <p:nvSpPr>
              <p:cNvPr id="4624" name="Vrije vorm: vorm 4623">
                <a:extLst>
                  <a:ext uri="{FF2B5EF4-FFF2-40B4-BE49-F238E27FC236}">
                    <a16:creationId xmlns:a16="http://schemas.microsoft.com/office/drawing/2014/main" id="{1AB00149-633B-4734-A45B-5694DABD1C45}"/>
                  </a:ext>
                </a:extLst>
              </p:cNvPr>
              <p:cNvSpPr/>
              <p:nvPr/>
            </p:nvSpPr>
            <p:spPr>
              <a:xfrm>
                <a:off x="7703113" y="3704575"/>
                <a:ext cx="18334" cy="18425"/>
              </a:xfrm>
              <a:custGeom>
                <a:avLst/>
                <a:gdLst>
                  <a:gd name="connsiteX0" fmla="*/ 6596 w 18334"/>
                  <a:gd name="connsiteY0" fmla="*/ 18045 h 18425"/>
                  <a:gd name="connsiteX1" fmla="*/ 375 w 18334"/>
                  <a:gd name="connsiteY1" fmla="*/ 6562 h 18425"/>
                  <a:gd name="connsiteX2" fmla="*/ 11739 w 18334"/>
                  <a:gd name="connsiteY2" fmla="*/ 402 h 18425"/>
                  <a:gd name="connsiteX3" fmla="*/ 17959 w 18334"/>
                  <a:gd name="connsiteY3" fmla="*/ 11885 h 18425"/>
                  <a:gd name="connsiteX4" fmla="*/ 6596 w 18334"/>
                  <a:gd name="connsiteY4" fmla="*/ 1804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5">
                    <a:moveTo>
                      <a:pt x="6596" y="18045"/>
                    </a:moveTo>
                    <a:cubicBezTo>
                      <a:pt x="1751" y="16610"/>
                      <a:pt x="-1060" y="11467"/>
                      <a:pt x="375" y="6562"/>
                    </a:cubicBezTo>
                    <a:cubicBezTo>
                      <a:pt x="1811" y="1718"/>
                      <a:pt x="6894" y="-1093"/>
                      <a:pt x="11739" y="402"/>
                    </a:cubicBezTo>
                    <a:cubicBezTo>
                      <a:pt x="16584" y="1837"/>
                      <a:pt x="19394" y="6981"/>
                      <a:pt x="17959" y="11885"/>
                    </a:cubicBezTo>
                    <a:cubicBezTo>
                      <a:pt x="16524" y="16730"/>
                      <a:pt x="11440" y="19481"/>
                      <a:pt x="6596" y="18045"/>
                    </a:cubicBezTo>
                    <a:close/>
                  </a:path>
                </a:pathLst>
              </a:custGeom>
              <a:grpFill/>
              <a:ln w="5978" cap="flat">
                <a:noFill/>
                <a:prstDash val="solid"/>
                <a:miter/>
              </a:ln>
            </p:spPr>
            <p:txBody>
              <a:bodyPr rtlCol="0" anchor="ctr"/>
              <a:lstStyle/>
              <a:p>
                <a:endParaRPr lang="en-GB"/>
              </a:p>
            </p:txBody>
          </p:sp>
          <p:sp>
            <p:nvSpPr>
              <p:cNvPr id="4625" name="Vrije vorm: vorm 4624">
                <a:extLst>
                  <a:ext uri="{FF2B5EF4-FFF2-40B4-BE49-F238E27FC236}">
                    <a16:creationId xmlns:a16="http://schemas.microsoft.com/office/drawing/2014/main" id="{667783DD-104F-464B-8D1D-3CC06219BCEC}"/>
                  </a:ext>
                </a:extLst>
              </p:cNvPr>
              <p:cNvSpPr/>
              <p:nvPr/>
            </p:nvSpPr>
            <p:spPr>
              <a:xfrm>
                <a:off x="7995391" y="3792514"/>
                <a:ext cx="18339" cy="18403"/>
              </a:xfrm>
              <a:custGeom>
                <a:avLst/>
                <a:gdLst>
                  <a:gd name="connsiteX0" fmla="*/ 6596 w 18339"/>
                  <a:gd name="connsiteY0" fmla="*/ 18024 h 18403"/>
                  <a:gd name="connsiteX1" fmla="*/ 17959 w 18339"/>
                  <a:gd name="connsiteY1" fmla="*/ 11864 h 18403"/>
                  <a:gd name="connsiteX2" fmla="*/ 11739 w 18339"/>
                  <a:gd name="connsiteY2" fmla="*/ 380 h 18403"/>
                  <a:gd name="connsiteX3" fmla="*/ 375 w 18339"/>
                  <a:gd name="connsiteY3" fmla="*/ 6541 h 18403"/>
                  <a:gd name="connsiteX4" fmla="*/ 6596 w 18339"/>
                  <a:gd name="connsiteY4" fmla="*/ 18024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3">
                    <a:moveTo>
                      <a:pt x="6596" y="18024"/>
                    </a:moveTo>
                    <a:cubicBezTo>
                      <a:pt x="11440" y="19459"/>
                      <a:pt x="16524" y="16708"/>
                      <a:pt x="17959" y="11864"/>
                    </a:cubicBezTo>
                    <a:cubicBezTo>
                      <a:pt x="19394" y="7019"/>
                      <a:pt x="16643" y="1876"/>
                      <a:pt x="11739" y="380"/>
                    </a:cubicBezTo>
                    <a:cubicBezTo>
                      <a:pt x="6895" y="-1055"/>
                      <a:pt x="1811" y="1696"/>
                      <a:pt x="375" y="6541"/>
                    </a:cubicBezTo>
                    <a:cubicBezTo>
                      <a:pt x="-1060" y="11385"/>
                      <a:pt x="1751" y="16528"/>
                      <a:pt x="6596" y="18024"/>
                    </a:cubicBezTo>
                    <a:close/>
                  </a:path>
                </a:pathLst>
              </a:custGeom>
              <a:grpFill/>
              <a:ln w="5978" cap="flat">
                <a:noFill/>
                <a:prstDash val="solid"/>
                <a:miter/>
              </a:ln>
            </p:spPr>
            <p:txBody>
              <a:bodyPr rtlCol="0" anchor="ctr"/>
              <a:lstStyle/>
              <a:p>
                <a:endParaRPr lang="en-GB"/>
              </a:p>
            </p:txBody>
          </p:sp>
        </p:grpSp>
        <p:grpSp>
          <p:nvGrpSpPr>
            <p:cNvPr id="253" name="Graphic 3">
              <a:extLst>
                <a:ext uri="{FF2B5EF4-FFF2-40B4-BE49-F238E27FC236}">
                  <a16:creationId xmlns:a16="http://schemas.microsoft.com/office/drawing/2014/main" id="{921F91AD-EBA7-41B3-A814-45C8EBB8E62C}"/>
                </a:ext>
              </a:extLst>
            </p:cNvPr>
            <p:cNvGrpSpPr/>
            <p:nvPr/>
          </p:nvGrpSpPr>
          <p:grpSpPr>
            <a:xfrm>
              <a:off x="7337122" y="2268137"/>
              <a:ext cx="67182" cy="59989"/>
              <a:chOff x="7337122" y="2268137"/>
              <a:chExt cx="67182" cy="59989"/>
            </a:xfrm>
            <a:grpFill/>
          </p:grpSpPr>
          <p:sp>
            <p:nvSpPr>
              <p:cNvPr id="4620" name="Vrije vorm: vorm 4619">
                <a:extLst>
                  <a:ext uri="{FF2B5EF4-FFF2-40B4-BE49-F238E27FC236}">
                    <a16:creationId xmlns:a16="http://schemas.microsoft.com/office/drawing/2014/main" id="{15525563-EB14-4F1B-957D-B9B433669658}"/>
                  </a:ext>
                </a:extLst>
              </p:cNvPr>
              <p:cNvSpPr/>
              <p:nvPr/>
            </p:nvSpPr>
            <p:spPr>
              <a:xfrm>
                <a:off x="7344944" y="2275884"/>
                <a:ext cx="51553" cy="44496"/>
              </a:xfrm>
              <a:custGeom>
                <a:avLst/>
                <a:gdLst>
                  <a:gd name="connsiteX0" fmla="*/ 51554 w 51553"/>
                  <a:gd name="connsiteY0" fmla="*/ 2392 h 44496"/>
                  <a:gd name="connsiteX1" fmla="*/ 1973 w 51553"/>
                  <a:gd name="connsiteY1" fmla="*/ 44496 h 44496"/>
                  <a:gd name="connsiteX2" fmla="*/ 0 w 51553"/>
                  <a:gd name="connsiteY2" fmla="*/ 42164 h 44496"/>
                  <a:gd name="connsiteX3" fmla="*/ 49580 w 51553"/>
                  <a:gd name="connsiteY3" fmla="*/ 0 h 44496"/>
                </a:gdLst>
                <a:ahLst/>
                <a:cxnLst>
                  <a:cxn ang="0">
                    <a:pos x="connsiteX0" y="connsiteY0"/>
                  </a:cxn>
                  <a:cxn ang="0">
                    <a:pos x="connsiteX1" y="connsiteY1"/>
                  </a:cxn>
                  <a:cxn ang="0">
                    <a:pos x="connsiteX2" y="connsiteY2"/>
                  </a:cxn>
                  <a:cxn ang="0">
                    <a:pos x="connsiteX3" y="connsiteY3"/>
                  </a:cxn>
                </a:cxnLst>
                <a:rect l="l" t="t" r="r" b="b"/>
                <a:pathLst>
                  <a:path w="51553" h="44496">
                    <a:moveTo>
                      <a:pt x="51554" y="2392"/>
                    </a:moveTo>
                    <a:lnTo>
                      <a:pt x="1973" y="44496"/>
                    </a:lnTo>
                    <a:lnTo>
                      <a:pt x="0" y="42164"/>
                    </a:lnTo>
                    <a:lnTo>
                      <a:pt x="49580" y="0"/>
                    </a:lnTo>
                    <a:close/>
                  </a:path>
                </a:pathLst>
              </a:custGeom>
              <a:grpFill/>
              <a:ln w="5978" cap="flat">
                <a:noFill/>
                <a:prstDash val="solid"/>
                <a:miter/>
              </a:ln>
            </p:spPr>
            <p:txBody>
              <a:bodyPr rtlCol="0" anchor="ctr"/>
              <a:lstStyle/>
              <a:p>
                <a:endParaRPr lang="en-GB"/>
              </a:p>
            </p:txBody>
          </p:sp>
          <p:sp>
            <p:nvSpPr>
              <p:cNvPr id="4621" name="Vrije vorm: vorm 4620">
                <a:extLst>
                  <a:ext uri="{FF2B5EF4-FFF2-40B4-BE49-F238E27FC236}">
                    <a16:creationId xmlns:a16="http://schemas.microsoft.com/office/drawing/2014/main" id="{0F3CA5A7-CCAC-491F-8535-4D7D07CC2218}"/>
                  </a:ext>
                </a:extLst>
              </p:cNvPr>
              <p:cNvSpPr/>
              <p:nvPr/>
            </p:nvSpPr>
            <p:spPr>
              <a:xfrm>
                <a:off x="7385985" y="2268137"/>
                <a:ext cx="18319" cy="18423"/>
              </a:xfrm>
              <a:custGeom>
                <a:avLst/>
                <a:gdLst>
                  <a:gd name="connsiteX0" fmla="*/ 3217 w 18319"/>
                  <a:gd name="connsiteY0" fmla="*/ 2185 h 18423"/>
                  <a:gd name="connsiteX1" fmla="*/ 16135 w 18319"/>
                  <a:gd name="connsiteY1" fmla="*/ 3261 h 18423"/>
                  <a:gd name="connsiteX2" fmla="*/ 15059 w 18319"/>
                  <a:gd name="connsiteY2" fmla="*/ 16239 h 18423"/>
                  <a:gd name="connsiteX3" fmla="*/ 2140 w 18319"/>
                  <a:gd name="connsiteY3" fmla="*/ 15163 h 18423"/>
                  <a:gd name="connsiteX4" fmla="*/ 3217 w 18319"/>
                  <a:gd name="connsiteY4" fmla="*/ 2185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3">
                    <a:moveTo>
                      <a:pt x="3217" y="2185"/>
                    </a:moveTo>
                    <a:cubicBezTo>
                      <a:pt x="7044" y="-1105"/>
                      <a:pt x="12846" y="-626"/>
                      <a:pt x="16135" y="3261"/>
                    </a:cubicBezTo>
                    <a:cubicBezTo>
                      <a:pt x="19425" y="7149"/>
                      <a:pt x="18946" y="12950"/>
                      <a:pt x="15059" y="16239"/>
                    </a:cubicBezTo>
                    <a:cubicBezTo>
                      <a:pt x="11231" y="19529"/>
                      <a:pt x="5430" y="19050"/>
                      <a:pt x="2140" y="15163"/>
                    </a:cubicBezTo>
                    <a:cubicBezTo>
                      <a:pt x="-1090" y="11275"/>
                      <a:pt x="-611" y="5474"/>
                      <a:pt x="3217" y="2185"/>
                    </a:cubicBezTo>
                    <a:close/>
                  </a:path>
                </a:pathLst>
              </a:custGeom>
              <a:grpFill/>
              <a:ln w="5978" cap="flat">
                <a:noFill/>
                <a:prstDash val="solid"/>
                <a:miter/>
              </a:ln>
            </p:spPr>
            <p:txBody>
              <a:bodyPr rtlCol="0" anchor="ctr"/>
              <a:lstStyle/>
              <a:p>
                <a:endParaRPr lang="en-GB"/>
              </a:p>
            </p:txBody>
          </p:sp>
          <p:sp>
            <p:nvSpPr>
              <p:cNvPr id="4622" name="Vrije vorm: vorm 4621">
                <a:extLst>
                  <a:ext uri="{FF2B5EF4-FFF2-40B4-BE49-F238E27FC236}">
                    <a16:creationId xmlns:a16="http://schemas.microsoft.com/office/drawing/2014/main" id="{A3184544-D42A-4C5D-9414-74C358548080}"/>
                  </a:ext>
                </a:extLst>
              </p:cNvPr>
              <p:cNvSpPr/>
              <p:nvPr/>
            </p:nvSpPr>
            <p:spPr>
              <a:xfrm>
                <a:off x="7337122" y="2309723"/>
                <a:ext cx="18295" cy="18404"/>
              </a:xfrm>
              <a:custGeom>
                <a:avLst/>
                <a:gdLst>
                  <a:gd name="connsiteX0" fmla="*/ 3217 w 18295"/>
                  <a:gd name="connsiteY0" fmla="*/ 2165 h 18404"/>
                  <a:gd name="connsiteX1" fmla="*/ 2140 w 18295"/>
                  <a:gd name="connsiteY1" fmla="*/ 15143 h 18404"/>
                  <a:gd name="connsiteX2" fmla="*/ 15059 w 18295"/>
                  <a:gd name="connsiteY2" fmla="*/ 16220 h 18404"/>
                  <a:gd name="connsiteX3" fmla="*/ 16135 w 18295"/>
                  <a:gd name="connsiteY3" fmla="*/ 3241 h 18404"/>
                  <a:gd name="connsiteX4" fmla="*/ 3217 w 18295"/>
                  <a:gd name="connsiteY4" fmla="*/ 2165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04">
                    <a:moveTo>
                      <a:pt x="3217" y="2165"/>
                    </a:moveTo>
                    <a:cubicBezTo>
                      <a:pt x="-611" y="5454"/>
                      <a:pt x="-1089" y="11256"/>
                      <a:pt x="2140" y="15143"/>
                    </a:cubicBezTo>
                    <a:cubicBezTo>
                      <a:pt x="5430" y="19031"/>
                      <a:pt x="11231" y="19509"/>
                      <a:pt x="15059" y="16220"/>
                    </a:cubicBezTo>
                    <a:cubicBezTo>
                      <a:pt x="18946" y="12930"/>
                      <a:pt x="19364" y="7129"/>
                      <a:pt x="16135" y="3241"/>
                    </a:cubicBezTo>
                    <a:cubicBezTo>
                      <a:pt x="12846" y="-586"/>
                      <a:pt x="7104" y="-1125"/>
                      <a:pt x="3217" y="2165"/>
                    </a:cubicBezTo>
                    <a:close/>
                  </a:path>
                </a:pathLst>
              </a:custGeom>
              <a:grpFill/>
              <a:ln w="5978" cap="flat">
                <a:noFill/>
                <a:prstDash val="solid"/>
                <a:miter/>
              </a:ln>
            </p:spPr>
            <p:txBody>
              <a:bodyPr rtlCol="0" anchor="ctr"/>
              <a:lstStyle/>
              <a:p>
                <a:endParaRPr lang="en-GB"/>
              </a:p>
            </p:txBody>
          </p:sp>
        </p:grpSp>
        <p:grpSp>
          <p:nvGrpSpPr>
            <p:cNvPr id="254" name="Graphic 3">
              <a:extLst>
                <a:ext uri="{FF2B5EF4-FFF2-40B4-BE49-F238E27FC236}">
                  <a16:creationId xmlns:a16="http://schemas.microsoft.com/office/drawing/2014/main" id="{04F2936C-16DD-43A6-AA7E-F760C8756759}"/>
                </a:ext>
              </a:extLst>
            </p:cNvPr>
            <p:cNvGrpSpPr/>
            <p:nvPr/>
          </p:nvGrpSpPr>
          <p:grpSpPr>
            <a:xfrm>
              <a:off x="7108752" y="1669739"/>
              <a:ext cx="155166" cy="216620"/>
              <a:chOff x="7108752" y="1669739"/>
              <a:chExt cx="155166" cy="216620"/>
            </a:xfrm>
            <a:grpFill/>
          </p:grpSpPr>
          <p:sp>
            <p:nvSpPr>
              <p:cNvPr id="4617" name="Vrije vorm: vorm 4616">
                <a:extLst>
                  <a:ext uri="{FF2B5EF4-FFF2-40B4-BE49-F238E27FC236}">
                    <a16:creationId xmlns:a16="http://schemas.microsoft.com/office/drawing/2014/main" id="{A7FD4D94-94B6-4943-AD85-AE2D8C499FB5}"/>
                  </a:ext>
                </a:extLst>
              </p:cNvPr>
              <p:cNvSpPr/>
              <p:nvPr/>
            </p:nvSpPr>
            <p:spPr>
              <a:xfrm>
                <a:off x="7116420" y="1677692"/>
                <a:ext cx="139829" cy="200712"/>
              </a:xfrm>
              <a:custGeom>
                <a:avLst/>
                <a:gdLst>
                  <a:gd name="connsiteX0" fmla="*/ 139829 w 139829"/>
                  <a:gd name="connsiteY0" fmla="*/ 1734 h 200712"/>
                  <a:gd name="connsiteX1" fmla="*/ 2512 w 139829"/>
                  <a:gd name="connsiteY1" fmla="*/ 200713 h 200712"/>
                  <a:gd name="connsiteX2" fmla="*/ 0 w 139829"/>
                  <a:gd name="connsiteY2" fmla="*/ 198979 h 200712"/>
                  <a:gd name="connsiteX3" fmla="*/ 137318 w 139829"/>
                  <a:gd name="connsiteY3" fmla="*/ 0 h 200712"/>
                </a:gdLst>
                <a:ahLst/>
                <a:cxnLst>
                  <a:cxn ang="0">
                    <a:pos x="connsiteX0" y="connsiteY0"/>
                  </a:cxn>
                  <a:cxn ang="0">
                    <a:pos x="connsiteX1" y="connsiteY1"/>
                  </a:cxn>
                  <a:cxn ang="0">
                    <a:pos x="connsiteX2" y="connsiteY2"/>
                  </a:cxn>
                  <a:cxn ang="0">
                    <a:pos x="connsiteX3" y="connsiteY3"/>
                  </a:cxn>
                </a:cxnLst>
                <a:rect l="l" t="t" r="r" b="b"/>
                <a:pathLst>
                  <a:path w="139829" h="200712">
                    <a:moveTo>
                      <a:pt x="139829" y="1734"/>
                    </a:moveTo>
                    <a:lnTo>
                      <a:pt x="2512" y="200713"/>
                    </a:lnTo>
                    <a:lnTo>
                      <a:pt x="0" y="198979"/>
                    </a:lnTo>
                    <a:lnTo>
                      <a:pt x="137318" y="0"/>
                    </a:lnTo>
                    <a:close/>
                  </a:path>
                </a:pathLst>
              </a:custGeom>
              <a:grpFill/>
              <a:ln w="5978" cap="flat">
                <a:noFill/>
                <a:prstDash val="solid"/>
                <a:miter/>
              </a:ln>
            </p:spPr>
            <p:txBody>
              <a:bodyPr rtlCol="0" anchor="ctr"/>
              <a:lstStyle/>
              <a:p>
                <a:endParaRPr lang="en-GB"/>
              </a:p>
            </p:txBody>
          </p:sp>
          <p:sp>
            <p:nvSpPr>
              <p:cNvPr id="4618" name="Vrije vorm: vorm 4617">
                <a:extLst>
                  <a:ext uri="{FF2B5EF4-FFF2-40B4-BE49-F238E27FC236}">
                    <a16:creationId xmlns:a16="http://schemas.microsoft.com/office/drawing/2014/main" id="{6DEA4E01-D609-4E2F-84AC-CAA662BD2774}"/>
                  </a:ext>
                </a:extLst>
              </p:cNvPr>
              <p:cNvSpPr/>
              <p:nvPr/>
            </p:nvSpPr>
            <p:spPr>
              <a:xfrm>
                <a:off x="7245591" y="1669739"/>
                <a:ext cx="18327" cy="18419"/>
              </a:xfrm>
              <a:custGeom>
                <a:avLst/>
                <a:gdLst>
                  <a:gd name="connsiteX0" fmla="*/ 1628 w 18327"/>
                  <a:gd name="connsiteY0" fmla="*/ 3947 h 18419"/>
                  <a:gd name="connsiteX1" fmla="*/ 14367 w 18327"/>
                  <a:gd name="connsiteY1" fmla="*/ 1674 h 18419"/>
                  <a:gd name="connsiteX2" fmla="*/ 16699 w 18327"/>
                  <a:gd name="connsiteY2" fmla="*/ 14473 h 18419"/>
                  <a:gd name="connsiteX3" fmla="*/ 3960 w 18327"/>
                  <a:gd name="connsiteY3" fmla="*/ 16745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4499" y="-240"/>
                      <a:pt x="10240" y="-1257"/>
                      <a:pt x="14367" y="1674"/>
                    </a:cubicBezTo>
                    <a:cubicBezTo>
                      <a:pt x="18554" y="4604"/>
                      <a:pt x="19571" y="10346"/>
                      <a:pt x="16699" y="14473"/>
                    </a:cubicBezTo>
                    <a:cubicBezTo>
                      <a:pt x="13829" y="18659"/>
                      <a:pt x="8087" y="19676"/>
                      <a:pt x="3960" y="16745"/>
                    </a:cubicBezTo>
                    <a:cubicBezTo>
                      <a:pt x="-226" y="13875"/>
                      <a:pt x="-1243" y="8133"/>
                      <a:pt x="1628" y="3947"/>
                    </a:cubicBezTo>
                    <a:close/>
                  </a:path>
                </a:pathLst>
              </a:custGeom>
              <a:grpFill/>
              <a:ln w="5978" cap="flat">
                <a:noFill/>
                <a:prstDash val="solid"/>
                <a:miter/>
              </a:ln>
            </p:spPr>
            <p:txBody>
              <a:bodyPr rtlCol="0" anchor="ctr"/>
              <a:lstStyle/>
              <a:p>
                <a:endParaRPr lang="en-GB"/>
              </a:p>
            </p:txBody>
          </p:sp>
          <p:sp>
            <p:nvSpPr>
              <p:cNvPr id="4619" name="Vrije vorm: vorm 4618">
                <a:extLst>
                  <a:ext uri="{FF2B5EF4-FFF2-40B4-BE49-F238E27FC236}">
                    <a16:creationId xmlns:a16="http://schemas.microsoft.com/office/drawing/2014/main" id="{DA3544EE-EB42-4FED-A4E9-33B59CDA370D}"/>
                  </a:ext>
                </a:extLst>
              </p:cNvPr>
              <p:cNvSpPr/>
              <p:nvPr/>
            </p:nvSpPr>
            <p:spPr>
              <a:xfrm>
                <a:off x="7108752" y="1867940"/>
                <a:ext cx="18327" cy="18419"/>
              </a:xfrm>
              <a:custGeom>
                <a:avLst/>
                <a:gdLst>
                  <a:gd name="connsiteX0" fmla="*/ 1628 w 18327"/>
                  <a:gd name="connsiteY0" fmla="*/ 3947 h 18419"/>
                  <a:gd name="connsiteX1" fmla="*/ 3960 w 18327"/>
                  <a:gd name="connsiteY1" fmla="*/ 16745 h 18419"/>
                  <a:gd name="connsiteX2" fmla="*/ 16699 w 18327"/>
                  <a:gd name="connsiteY2" fmla="*/ 14473 h 18419"/>
                  <a:gd name="connsiteX3" fmla="*/ 14367 w 18327"/>
                  <a:gd name="connsiteY3" fmla="*/ 1674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1243" y="8133"/>
                      <a:pt x="-226" y="13875"/>
                      <a:pt x="3960" y="16745"/>
                    </a:cubicBezTo>
                    <a:cubicBezTo>
                      <a:pt x="8147" y="19676"/>
                      <a:pt x="13829" y="18659"/>
                      <a:pt x="16699" y="14473"/>
                    </a:cubicBezTo>
                    <a:cubicBezTo>
                      <a:pt x="19571" y="10286"/>
                      <a:pt x="18554" y="4545"/>
                      <a:pt x="14367" y="1674"/>
                    </a:cubicBezTo>
                    <a:cubicBezTo>
                      <a:pt x="10240" y="-1257"/>
                      <a:pt x="4499" y="-240"/>
                      <a:pt x="1628" y="3947"/>
                    </a:cubicBezTo>
                    <a:close/>
                  </a:path>
                </a:pathLst>
              </a:custGeom>
              <a:grpFill/>
              <a:ln w="5978" cap="flat">
                <a:noFill/>
                <a:prstDash val="solid"/>
                <a:miter/>
              </a:ln>
            </p:spPr>
            <p:txBody>
              <a:bodyPr rtlCol="0" anchor="ctr"/>
              <a:lstStyle/>
              <a:p>
                <a:endParaRPr lang="en-GB"/>
              </a:p>
            </p:txBody>
          </p:sp>
        </p:grpSp>
        <p:grpSp>
          <p:nvGrpSpPr>
            <p:cNvPr id="255" name="Graphic 3">
              <a:extLst>
                <a:ext uri="{FF2B5EF4-FFF2-40B4-BE49-F238E27FC236}">
                  <a16:creationId xmlns:a16="http://schemas.microsoft.com/office/drawing/2014/main" id="{7CEA2FC6-1962-4D19-818A-4242C797178E}"/>
                </a:ext>
              </a:extLst>
            </p:cNvPr>
            <p:cNvGrpSpPr/>
            <p:nvPr/>
          </p:nvGrpSpPr>
          <p:grpSpPr>
            <a:xfrm>
              <a:off x="7039666" y="1520000"/>
              <a:ext cx="226075" cy="344794"/>
              <a:chOff x="7039666" y="1520000"/>
              <a:chExt cx="226075" cy="344794"/>
            </a:xfrm>
            <a:grpFill/>
          </p:grpSpPr>
          <p:sp>
            <p:nvSpPr>
              <p:cNvPr id="4614" name="Vrije vorm: vorm 4613">
                <a:extLst>
                  <a:ext uri="{FF2B5EF4-FFF2-40B4-BE49-F238E27FC236}">
                    <a16:creationId xmlns:a16="http://schemas.microsoft.com/office/drawing/2014/main" id="{FE5114D5-7CF2-4D1B-A0D4-4E12E2C0A278}"/>
                  </a:ext>
                </a:extLst>
              </p:cNvPr>
              <p:cNvSpPr/>
              <p:nvPr/>
            </p:nvSpPr>
            <p:spPr>
              <a:xfrm>
                <a:off x="7047284" y="1527995"/>
                <a:ext cx="210820" cy="328820"/>
              </a:xfrm>
              <a:custGeom>
                <a:avLst/>
                <a:gdLst>
                  <a:gd name="connsiteX0" fmla="*/ 210820 w 210820"/>
                  <a:gd name="connsiteY0" fmla="*/ 1675 h 328820"/>
                  <a:gd name="connsiteX1" fmla="*/ 2572 w 210820"/>
                  <a:gd name="connsiteY1" fmla="*/ 328820 h 328820"/>
                  <a:gd name="connsiteX2" fmla="*/ 0 w 210820"/>
                  <a:gd name="connsiteY2" fmla="*/ 327145 h 328820"/>
                  <a:gd name="connsiteX3" fmla="*/ 208248 w 210820"/>
                  <a:gd name="connsiteY3" fmla="*/ 0 h 328820"/>
                </a:gdLst>
                <a:ahLst/>
                <a:cxnLst>
                  <a:cxn ang="0">
                    <a:pos x="connsiteX0" y="connsiteY0"/>
                  </a:cxn>
                  <a:cxn ang="0">
                    <a:pos x="connsiteX1" y="connsiteY1"/>
                  </a:cxn>
                  <a:cxn ang="0">
                    <a:pos x="connsiteX2" y="connsiteY2"/>
                  </a:cxn>
                  <a:cxn ang="0">
                    <a:pos x="connsiteX3" y="connsiteY3"/>
                  </a:cxn>
                </a:cxnLst>
                <a:rect l="l" t="t" r="r" b="b"/>
                <a:pathLst>
                  <a:path w="210820" h="328820">
                    <a:moveTo>
                      <a:pt x="210820" y="1675"/>
                    </a:moveTo>
                    <a:lnTo>
                      <a:pt x="2572" y="328820"/>
                    </a:lnTo>
                    <a:lnTo>
                      <a:pt x="0" y="327145"/>
                    </a:lnTo>
                    <a:lnTo>
                      <a:pt x="208248" y="0"/>
                    </a:lnTo>
                    <a:close/>
                  </a:path>
                </a:pathLst>
              </a:custGeom>
              <a:grpFill/>
              <a:ln w="5978" cap="flat">
                <a:noFill/>
                <a:prstDash val="solid"/>
                <a:miter/>
              </a:ln>
            </p:spPr>
            <p:txBody>
              <a:bodyPr rtlCol="0" anchor="ctr"/>
              <a:lstStyle/>
              <a:p>
                <a:endParaRPr lang="en-GB"/>
              </a:p>
            </p:txBody>
          </p:sp>
          <p:sp>
            <p:nvSpPr>
              <p:cNvPr id="4615" name="Vrije vorm: vorm 4614">
                <a:extLst>
                  <a:ext uri="{FF2B5EF4-FFF2-40B4-BE49-F238E27FC236}">
                    <a16:creationId xmlns:a16="http://schemas.microsoft.com/office/drawing/2014/main" id="{0323F6AC-9D33-487A-B74D-A3F10EF782F2}"/>
                  </a:ext>
                </a:extLst>
              </p:cNvPr>
              <p:cNvSpPr/>
              <p:nvPr/>
            </p:nvSpPr>
            <p:spPr>
              <a:xfrm>
                <a:off x="7247376" y="1520000"/>
                <a:ext cx="18364" cy="18441"/>
              </a:xfrm>
              <a:custGeom>
                <a:avLst/>
                <a:gdLst>
                  <a:gd name="connsiteX0" fmla="*/ 1458 w 18364"/>
                  <a:gd name="connsiteY0" fmla="*/ 4227 h 18441"/>
                  <a:gd name="connsiteX1" fmla="*/ 14137 w 18364"/>
                  <a:gd name="connsiteY1" fmla="*/ 1476 h 18441"/>
                  <a:gd name="connsiteX2" fmla="*/ 16948 w 18364"/>
                  <a:gd name="connsiteY2" fmla="*/ 14215 h 18441"/>
                  <a:gd name="connsiteX3" fmla="*/ 4269 w 18364"/>
                  <a:gd name="connsiteY3" fmla="*/ 16966 h 18441"/>
                  <a:gd name="connsiteX4" fmla="*/ 1458 w 18364"/>
                  <a:gd name="connsiteY4" fmla="*/ 4227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41">
                    <a:moveTo>
                      <a:pt x="1458" y="4227"/>
                    </a:moveTo>
                    <a:cubicBezTo>
                      <a:pt x="4209" y="-79"/>
                      <a:pt x="9831" y="-1276"/>
                      <a:pt x="14137" y="1476"/>
                    </a:cubicBezTo>
                    <a:cubicBezTo>
                      <a:pt x="18384" y="4227"/>
                      <a:pt x="19639" y="9908"/>
                      <a:pt x="16948" y="14215"/>
                    </a:cubicBezTo>
                    <a:cubicBezTo>
                      <a:pt x="14197" y="18521"/>
                      <a:pt x="8575" y="19717"/>
                      <a:pt x="4269" y="16966"/>
                    </a:cubicBezTo>
                    <a:cubicBezTo>
                      <a:pt x="-37" y="14215"/>
                      <a:pt x="-1293" y="8473"/>
                      <a:pt x="1458" y="4227"/>
                    </a:cubicBezTo>
                    <a:close/>
                  </a:path>
                </a:pathLst>
              </a:custGeom>
              <a:grpFill/>
              <a:ln w="5978" cap="flat">
                <a:noFill/>
                <a:prstDash val="solid"/>
                <a:miter/>
              </a:ln>
            </p:spPr>
            <p:txBody>
              <a:bodyPr rtlCol="0" anchor="ctr"/>
              <a:lstStyle/>
              <a:p>
                <a:endParaRPr lang="en-GB"/>
              </a:p>
            </p:txBody>
          </p:sp>
          <p:sp>
            <p:nvSpPr>
              <p:cNvPr id="4616" name="Vrije vorm: vorm 4615">
                <a:extLst>
                  <a:ext uri="{FF2B5EF4-FFF2-40B4-BE49-F238E27FC236}">
                    <a16:creationId xmlns:a16="http://schemas.microsoft.com/office/drawing/2014/main" id="{B672EA01-5DD5-4362-9065-2AB004BB9DC8}"/>
                  </a:ext>
                </a:extLst>
              </p:cNvPr>
              <p:cNvSpPr/>
              <p:nvPr/>
            </p:nvSpPr>
            <p:spPr>
              <a:xfrm>
                <a:off x="7039666" y="1846383"/>
                <a:ext cx="18405" cy="18411"/>
              </a:xfrm>
              <a:custGeom>
                <a:avLst/>
                <a:gdLst>
                  <a:gd name="connsiteX0" fmla="*/ 1458 w 18405"/>
                  <a:gd name="connsiteY0" fmla="*/ 4212 h 18411"/>
                  <a:gd name="connsiteX1" fmla="*/ 4269 w 18405"/>
                  <a:gd name="connsiteY1" fmla="*/ 16951 h 18411"/>
                  <a:gd name="connsiteX2" fmla="*/ 16948 w 18405"/>
                  <a:gd name="connsiteY2" fmla="*/ 14200 h 18411"/>
                  <a:gd name="connsiteX3" fmla="*/ 14137 w 18405"/>
                  <a:gd name="connsiteY3" fmla="*/ 1461 h 18411"/>
                  <a:gd name="connsiteX4" fmla="*/ 1458 w 18405"/>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5" h="18411">
                    <a:moveTo>
                      <a:pt x="1458" y="4212"/>
                    </a:moveTo>
                    <a:cubicBezTo>
                      <a:pt x="-1293" y="8518"/>
                      <a:pt x="-37" y="14200"/>
                      <a:pt x="4269" y="16951"/>
                    </a:cubicBezTo>
                    <a:cubicBezTo>
                      <a:pt x="8515" y="19702"/>
                      <a:pt x="14197" y="18446"/>
                      <a:pt x="16948" y="14200"/>
                    </a:cubicBezTo>
                    <a:cubicBezTo>
                      <a:pt x="19699" y="9893"/>
                      <a:pt x="18443" y="4212"/>
                      <a:pt x="14137" y="1461"/>
                    </a:cubicBezTo>
                    <a:cubicBezTo>
                      <a:pt x="9831" y="-1290"/>
                      <a:pt x="4150" y="-34"/>
                      <a:pt x="1458" y="4212"/>
                    </a:cubicBezTo>
                    <a:close/>
                  </a:path>
                </a:pathLst>
              </a:custGeom>
              <a:grpFill/>
              <a:ln w="5978" cap="flat">
                <a:noFill/>
                <a:prstDash val="solid"/>
                <a:miter/>
              </a:ln>
            </p:spPr>
            <p:txBody>
              <a:bodyPr rtlCol="0" anchor="ctr"/>
              <a:lstStyle/>
              <a:p>
                <a:endParaRPr lang="en-GB"/>
              </a:p>
            </p:txBody>
          </p:sp>
        </p:grpSp>
        <p:grpSp>
          <p:nvGrpSpPr>
            <p:cNvPr id="256" name="Graphic 3">
              <a:extLst>
                <a:ext uri="{FF2B5EF4-FFF2-40B4-BE49-F238E27FC236}">
                  <a16:creationId xmlns:a16="http://schemas.microsoft.com/office/drawing/2014/main" id="{A756AB14-79AB-42F7-A467-51BED43A78A3}"/>
                </a:ext>
              </a:extLst>
            </p:cNvPr>
            <p:cNvGrpSpPr/>
            <p:nvPr/>
          </p:nvGrpSpPr>
          <p:grpSpPr>
            <a:xfrm>
              <a:off x="7841116" y="3762882"/>
              <a:ext cx="26770" cy="20088"/>
              <a:chOff x="7841116" y="3762882"/>
              <a:chExt cx="26770" cy="20088"/>
            </a:xfrm>
            <a:grpFill/>
          </p:grpSpPr>
          <p:sp>
            <p:nvSpPr>
              <p:cNvPr id="4611" name="Vrije vorm: vorm 4610">
                <a:extLst>
                  <a:ext uri="{FF2B5EF4-FFF2-40B4-BE49-F238E27FC236}">
                    <a16:creationId xmlns:a16="http://schemas.microsoft.com/office/drawing/2014/main" id="{5F6D3A89-7897-4B64-AA87-CC967B72DD9E}"/>
                  </a:ext>
                </a:extLst>
              </p:cNvPr>
              <p:cNvSpPr/>
              <p:nvPr/>
            </p:nvSpPr>
            <p:spPr>
              <a:xfrm>
                <a:off x="7849538" y="3770526"/>
                <a:ext cx="9928" cy="4844"/>
              </a:xfrm>
              <a:custGeom>
                <a:avLst/>
                <a:gdLst>
                  <a:gd name="connsiteX0" fmla="*/ 9928 w 9928"/>
                  <a:gd name="connsiteY0" fmla="*/ 1794 h 4844"/>
                  <a:gd name="connsiteX1" fmla="*/ 9330 w 9928"/>
                  <a:gd name="connsiteY1" fmla="*/ 4844 h 4844"/>
                  <a:gd name="connsiteX2" fmla="*/ 0 w 9928"/>
                  <a:gd name="connsiteY2" fmla="*/ 2990 h 4844"/>
                  <a:gd name="connsiteX3" fmla="*/ 598 w 9928"/>
                  <a:gd name="connsiteY3" fmla="*/ 0 h 4844"/>
                </a:gdLst>
                <a:ahLst/>
                <a:cxnLst>
                  <a:cxn ang="0">
                    <a:pos x="connsiteX0" y="connsiteY0"/>
                  </a:cxn>
                  <a:cxn ang="0">
                    <a:pos x="connsiteX1" y="connsiteY1"/>
                  </a:cxn>
                  <a:cxn ang="0">
                    <a:pos x="connsiteX2" y="connsiteY2"/>
                  </a:cxn>
                  <a:cxn ang="0">
                    <a:pos x="connsiteX3" y="connsiteY3"/>
                  </a:cxn>
                </a:cxnLst>
                <a:rect l="l" t="t" r="r" b="b"/>
                <a:pathLst>
                  <a:path w="9928" h="4844">
                    <a:moveTo>
                      <a:pt x="9928" y="1794"/>
                    </a:moveTo>
                    <a:lnTo>
                      <a:pt x="9330" y="4844"/>
                    </a:lnTo>
                    <a:lnTo>
                      <a:pt x="0" y="2990"/>
                    </a:lnTo>
                    <a:lnTo>
                      <a:pt x="598" y="0"/>
                    </a:lnTo>
                    <a:close/>
                  </a:path>
                </a:pathLst>
              </a:custGeom>
              <a:grpFill/>
              <a:ln w="5978" cap="flat">
                <a:noFill/>
                <a:prstDash val="solid"/>
                <a:miter/>
              </a:ln>
            </p:spPr>
            <p:txBody>
              <a:bodyPr rtlCol="0" anchor="ctr"/>
              <a:lstStyle/>
              <a:p>
                <a:endParaRPr lang="en-GB"/>
              </a:p>
            </p:txBody>
          </p:sp>
          <p:sp>
            <p:nvSpPr>
              <p:cNvPr id="4612" name="Vrije vorm: vorm 4611">
                <a:extLst>
                  <a:ext uri="{FF2B5EF4-FFF2-40B4-BE49-F238E27FC236}">
                    <a16:creationId xmlns:a16="http://schemas.microsoft.com/office/drawing/2014/main" id="{43E11D37-68C6-478C-8398-CCC597883A17}"/>
                  </a:ext>
                </a:extLst>
              </p:cNvPr>
              <p:cNvSpPr/>
              <p:nvPr/>
            </p:nvSpPr>
            <p:spPr>
              <a:xfrm>
                <a:off x="7849549" y="3764540"/>
                <a:ext cx="18337" cy="18431"/>
              </a:xfrm>
              <a:custGeom>
                <a:avLst/>
                <a:gdLst>
                  <a:gd name="connsiteX0" fmla="*/ 10933 w 18337"/>
                  <a:gd name="connsiteY0" fmla="*/ 185 h 18431"/>
                  <a:gd name="connsiteX1" fmla="*/ 18170 w 18337"/>
                  <a:gd name="connsiteY1" fmla="*/ 11010 h 18431"/>
                  <a:gd name="connsiteX2" fmla="*/ 7404 w 18337"/>
                  <a:gd name="connsiteY2" fmla="*/ 18246 h 18431"/>
                  <a:gd name="connsiteX3" fmla="*/ 168 w 18337"/>
                  <a:gd name="connsiteY3" fmla="*/ 7421 h 18431"/>
                  <a:gd name="connsiteX4" fmla="*/ 10933 w 18337"/>
                  <a:gd name="connsiteY4" fmla="*/ 18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1">
                    <a:moveTo>
                      <a:pt x="10933" y="185"/>
                    </a:moveTo>
                    <a:cubicBezTo>
                      <a:pt x="15897" y="1142"/>
                      <a:pt x="19126" y="5986"/>
                      <a:pt x="18170" y="11010"/>
                    </a:cubicBezTo>
                    <a:cubicBezTo>
                      <a:pt x="17213" y="15974"/>
                      <a:pt x="12428" y="19263"/>
                      <a:pt x="7404" y="18246"/>
                    </a:cubicBezTo>
                    <a:cubicBezTo>
                      <a:pt x="2441" y="17290"/>
                      <a:pt x="-789" y="12445"/>
                      <a:pt x="168" y="7421"/>
                    </a:cubicBezTo>
                    <a:cubicBezTo>
                      <a:pt x="1124" y="2457"/>
                      <a:pt x="5969" y="-832"/>
                      <a:pt x="10933" y="185"/>
                    </a:cubicBezTo>
                    <a:close/>
                  </a:path>
                </a:pathLst>
              </a:custGeom>
              <a:grpFill/>
              <a:ln w="5978" cap="flat">
                <a:noFill/>
                <a:prstDash val="solid"/>
                <a:miter/>
              </a:ln>
            </p:spPr>
            <p:txBody>
              <a:bodyPr rtlCol="0" anchor="ctr"/>
              <a:lstStyle/>
              <a:p>
                <a:endParaRPr lang="en-GB"/>
              </a:p>
            </p:txBody>
          </p:sp>
          <p:sp>
            <p:nvSpPr>
              <p:cNvPr id="4613" name="Vrije vorm: vorm 4612">
                <a:extLst>
                  <a:ext uri="{FF2B5EF4-FFF2-40B4-BE49-F238E27FC236}">
                    <a16:creationId xmlns:a16="http://schemas.microsoft.com/office/drawing/2014/main" id="{6B1F33C6-66C8-43D2-805D-04BF40B64E66}"/>
                  </a:ext>
                </a:extLst>
              </p:cNvPr>
              <p:cNvSpPr/>
              <p:nvPr/>
            </p:nvSpPr>
            <p:spPr>
              <a:xfrm>
                <a:off x="7841116" y="3762882"/>
                <a:ext cx="18297" cy="18397"/>
              </a:xfrm>
              <a:custGeom>
                <a:avLst/>
                <a:gdLst>
                  <a:gd name="connsiteX0" fmla="*/ 10933 w 18297"/>
                  <a:gd name="connsiteY0" fmla="*/ 168 h 18397"/>
                  <a:gd name="connsiteX1" fmla="*/ 168 w 18297"/>
                  <a:gd name="connsiteY1" fmla="*/ 7405 h 18397"/>
                  <a:gd name="connsiteX2" fmla="*/ 7404 w 18297"/>
                  <a:gd name="connsiteY2" fmla="*/ 18230 h 18397"/>
                  <a:gd name="connsiteX3" fmla="*/ 18110 w 18297"/>
                  <a:gd name="connsiteY3" fmla="*/ 10993 h 18397"/>
                  <a:gd name="connsiteX4" fmla="*/ 10933 w 18297"/>
                  <a:gd name="connsiteY4" fmla="*/ 168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7">
                    <a:moveTo>
                      <a:pt x="10933" y="168"/>
                    </a:moveTo>
                    <a:cubicBezTo>
                      <a:pt x="5969" y="-789"/>
                      <a:pt x="1185" y="2441"/>
                      <a:pt x="168" y="7405"/>
                    </a:cubicBezTo>
                    <a:cubicBezTo>
                      <a:pt x="-789" y="12369"/>
                      <a:pt x="2441" y="17213"/>
                      <a:pt x="7404" y="18230"/>
                    </a:cubicBezTo>
                    <a:cubicBezTo>
                      <a:pt x="12369" y="19187"/>
                      <a:pt x="17153" y="15957"/>
                      <a:pt x="18110" y="10993"/>
                    </a:cubicBezTo>
                    <a:cubicBezTo>
                      <a:pt x="19127" y="5969"/>
                      <a:pt x="15897" y="1125"/>
                      <a:pt x="10933" y="168"/>
                    </a:cubicBezTo>
                    <a:close/>
                  </a:path>
                </a:pathLst>
              </a:custGeom>
              <a:grpFill/>
              <a:ln w="5978" cap="flat">
                <a:noFill/>
                <a:prstDash val="solid"/>
                <a:miter/>
              </a:ln>
            </p:spPr>
            <p:txBody>
              <a:bodyPr rtlCol="0" anchor="ctr"/>
              <a:lstStyle/>
              <a:p>
                <a:endParaRPr lang="en-GB"/>
              </a:p>
            </p:txBody>
          </p:sp>
        </p:grpSp>
        <p:grpSp>
          <p:nvGrpSpPr>
            <p:cNvPr id="257" name="Graphic 3">
              <a:extLst>
                <a:ext uri="{FF2B5EF4-FFF2-40B4-BE49-F238E27FC236}">
                  <a16:creationId xmlns:a16="http://schemas.microsoft.com/office/drawing/2014/main" id="{62520340-54FF-425B-80A9-50BF48178B4B}"/>
                </a:ext>
              </a:extLst>
            </p:cNvPr>
            <p:cNvGrpSpPr/>
            <p:nvPr/>
          </p:nvGrpSpPr>
          <p:grpSpPr>
            <a:xfrm>
              <a:off x="7724225" y="3515791"/>
              <a:ext cx="67674" cy="21563"/>
              <a:chOff x="7724225" y="3515791"/>
              <a:chExt cx="67674" cy="21563"/>
            </a:xfrm>
            <a:grpFill/>
          </p:grpSpPr>
          <p:sp>
            <p:nvSpPr>
              <p:cNvPr id="4608" name="Vrije vorm: vorm 4607">
                <a:extLst>
                  <a:ext uri="{FF2B5EF4-FFF2-40B4-BE49-F238E27FC236}">
                    <a16:creationId xmlns:a16="http://schemas.microsoft.com/office/drawing/2014/main" id="{42A45178-9D5C-4C46-B03C-DDB786584C5D}"/>
                  </a:ext>
                </a:extLst>
              </p:cNvPr>
              <p:cNvSpPr/>
              <p:nvPr/>
            </p:nvSpPr>
            <p:spPr>
              <a:xfrm>
                <a:off x="7732854" y="3523403"/>
                <a:ext cx="50417" cy="6279"/>
              </a:xfrm>
              <a:custGeom>
                <a:avLst/>
                <a:gdLst>
                  <a:gd name="connsiteX0" fmla="*/ 50417 w 50417"/>
                  <a:gd name="connsiteY0" fmla="*/ 3229 h 6279"/>
                  <a:gd name="connsiteX1" fmla="*/ 50238 w 50417"/>
                  <a:gd name="connsiteY1" fmla="*/ 6280 h 6279"/>
                  <a:gd name="connsiteX2" fmla="*/ 0 w 50417"/>
                  <a:gd name="connsiteY2" fmla="*/ 3050 h 6279"/>
                  <a:gd name="connsiteX3" fmla="*/ 180 w 50417"/>
                  <a:gd name="connsiteY3" fmla="*/ 0 h 6279"/>
                </a:gdLst>
                <a:ahLst/>
                <a:cxnLst>
                  <a:cxn ang="0">
                    <a:pos x="connsiteX0" y="connsiteY0"/>
                  </a:cxn>
                  <a:cxn ang="0">
                    <a:pos x="connsiteX1" y="connsiteY1"/>
                  </a:cxn>
                  <a:cxn ang="0">
                    <a:pos x="connsiteX2" y="connsiteY2"/>
                  </a:cxn>
                  <a:cxn ang="0">
                    <a:pos x="connsiteX3" y="connsiteY3"/>
                  </a:cxn>
                </a:cxnLst>
                <a:rect l="l" t="t" r="r" b="b"/>
                <a:pathLst>
                  <a:path w="50417" h="6279">
                    <a:moveTo>
                      <a:pt x="50417" y="3229"/>
                    </a:moveTo>
                    <a:lnTo>
                      <a:pt x="50238" y="6280"/>
                    </a:lnTo>
                    <a:lnTo>
                      <a:pt x="0" y="3050"/>
                    </a:lnTo>
                    <a:lnTo>
                      <a:pt x="180" y="0"/>
                    </a:lnTo>
                    <a:close/>
                  </a:path>
                </a:pathLst>
              </a:custGeom>
              <a:grpFill/>
              <a:ln w="5978" cap="flat">
                <a:noFill/>
                <a:prstDash val="solid"/>
                <a:miter/>
              </a:ln>
            </p:spPr>
            <p:txBody>
              <a:bodyPr rtlCol="0" anchor="ctr"/>
              <a:lstStyle/>
              <a:p>
                <a:endParaRPr lang="en-GB"/>
              </a:p>
            </p:txBody>
          </p:sp>
          <p:sp>
            <p:nvSpPr>
              <p:cNvPr id="4609" name="Vrije vorm: vorm 4608">
                <a:extLst>
                  <a:ext uri="{FF2B5EF4-FFF2-40B4-BE49-F238E27FC236}">
                    <a16:creationId xmlns:a16="http://schemas.microsoft.com/office/drawing/2014/main" id="{9A8985E0-2DCC-42BD-A75A-18BAFF40A300}"/>
                  </a:ext>
                </a:extLst>
              </p:cNvPr>
              <p:cNvSpPr/>
              <p:nvPr/>
            </p:nvSpPr>
            <p:spPr>
              <a:xfrm>
                <a:off x="7773566" y="3518901"/>
                <a:ext cx="18333" cy="18453"/>
              </a:xfrm>
              <a:custGeom>
                <a:avLst/>
                <a:gdLst>
                  <a:gd name="connsiteX0" fmla="*/ 9705 w 18333"/>
                  <a:gd name="connsiteY0" fmla="*/ 16 h 18453"/>
                  <a:gd name="connsiteX1" fmla="*/ 18317 w 18333"/>
                  <a:gd name="connsiteY1" fmla="*/ 9825 h 18453"/>
                  <a:gd name="connsiteX2" fmla="*/ 8629 w 18333"/>
                  <a:gd name="connsiteY2" fmla="*/ 18437 h 18453"/>
                  <a:gd name="connsiteX3" fmla="*/ 16 w 18333"/>
                  <a:gd name="connsiteY3" fmla="*/ 8629 h 18453"/>
                  <a:gd name="connsiteX4" fmla="*/ 9705 w 18333"/>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6"/>
                    </a:moveTo>
                    <a:cubicBezTo>
                      <a:pt x="14729" y="315"/>
                      <a:pt x="18617" y="4741"/>
                      <a:pt x="18317" y="9825"/>
                    </a:cubicBezTo>
                    <a:cubicBezTo>
                      <a:pt x="18018" y="14908"/>
                      <a:pt x="13652" y="18736"/>
                      <a:pt x="8629" y="18437"/>
                    </a:cubicBezTo>
                    <a:cubicBezTo>
                      <a:pt x="3605" y="18138"/>
                      <a:pt x="-282" y="13712"/>
                      <a:pt x="16" y="8629"/>
                    </a:cubicBezTo>
                    <a:cubicBezTo>
                      <a:pt x="315" y="3545"/>
                      <a:pt x="4621" y="-283"/>
                      <a:pt x="9705" y="16"/>
                    </a:cubicBezTo>
                    <a:close/>
                  </a:path>
                </a:pathLst>
              </a:custGeom>
              <a:grpFill/>
              <a:ln w="5978" cap="flat">
                <a:noFill/>
                <a:prstDash val="solid"/>
                <a:miter/>
              </a:ln>
            </p:spPr>
            <p:txBody>
              <a:bodyPr rtlCol="0" anchor="ctr"/>
              <a:lstStyle/>
              <a:p>
                <a:endParaRPr lang="en-GB"/>
              </a:p>
            </p:txBody>
          </p:sp>
          <p:sp>
            <p:nvSpPr>
              <p:cNvPr id="4610" name="Vrije vorm: vorm 4609">
                <a:extLst>
                  <a:ext uri="{FF2B5EF4-FFF2-40B4-BE49-F238E27FC236}">
                    <a16:creationId xmlns:a16="http://schemas.microsoft.com/office/drawing/2014/main" id="{A0565941-D043-43FA-944F-812A0FED8753}"/>
                  </a:ext>
                </a:extLst>
              </p:cNvPr>
              <p:cNvSpPr/>
              <p:nvPr/>
            </p:nvSpPr>
            <p:spPr>
              <a:xfrm>
                <a:off x="7724225" y="3515791"/>
                <a:ext cx="18334" cy="18453"/>
              </a:xfrm>
              <a:custGeom>
                <a:avLst/>
                <a:gdLst>
                  <a:gd name="connsiteX0" fmla="*/ 9705 w 18334"/>
                  <a:gd name="connsiteY0" fmla="*/ 16 h 18453"/>
                  <a:gd name="connsiteX1" fmla="*/ 16 w 18334"/>
                  <a:gd name="connsiteY1" fmla="*/ 8629 h 18453"/>
                  <a:gd name="connsiteX2" fmla="*/ 8629 w 18334"/>
                  <a:gd name="connsiteY2" fmla="*/ 18437 h 18453"/>
                  <a:gd name="connsiteX3" fmla="*/ 18318 w 18334"/>
                  <a:gd name="connsiteY3" fmla="*/ 9825 h 18453"/>
                  <a:gd name="connsiteX4" fmla="*/ 9705 w 18334"/>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3">
                    <a:moveTo>
                      <a:pt x="9705" y="16"/>
                    </a:moveTo>
                    <a:cubicBezTo>
                      <a:pt x="4681" y="-283"/>
                      <a:pt x="316" y="3545"/>
                      <a:pt x="16" y="8629"/>
                    </a:cubicBezTo>
                    <a:cubicBezTo>
                      <a:pt x="-282" y="13712"/>
                      <a:pt x="3545" y="18078"/>
                      <a:pt x="8629" y="18437"/>
                    </a:cubicBezTo>
                    <a:cubicBezTo>
                      <a:pt x="13653" y="18736"/>
                      <a:pt x="18018" y="14909"/>
                      <a:pt x="18318" y="9825"/>
                    </a:cubicBezTo>
                    <a:cubicBezTo>
                      <a:pt x="18617" y="4741"/>
                      <a:pt x="14789" y="316"/>
                      <a:pt x="9705" y="16"/>
                    </a:cubicBezTo>
                    <a:close/>
                  </a:path>
                </a:pathLst>
              </a:custGeom>
              <a:grpFill/>
              <a:ln w="5978" cap="flat">
                <a:noFill/>
                <a:prstDash val="solid"/>
                <a:miter/>
              </a:ln>
            </p:spPr>
            <p:txBody>
              <a:bodyPr rtlCol="0" anchor="ctr"/>
              <a:lstStyle/>
              <a:p>
                <a:endParaRPr lang="en-GB"/>
              </a:p>
            </p:txBody>
          </p:sp>
        </p:grpSp>
        <p:grpSp>
          <p:nvGrpSpPr>
            <p:cNvPr id="258" name="Graphic 3">
              <a:extLst>
                <a:ext uri="{FF2B5EF4-FFF2-40B4-BE49-F238E27FC236}">
                  <a16:creationId xmlns:a16="http://schemas.microsoft.com/office/drawing/2014/main" id="{CAD2F7C6-09C5-426F-9942-A22C015B88C0}"/>
                </a:ext>
              </a:extLst>
            </p:cNvPr>
            <p:cNvGrpSpPr/>
            <p:nvPr/>
          </p:nvGrpSpPr>
          <p:grpSpPr>
            <a:xfrm>
              <a:off x="7912524" y="4117768"/>
              <a:ext cx="153422" cy="69823"/>
              <a:chOff x="7912524" y="4117768"/>
              <a:chExt cx="153422" cy="69823"/>
            </a:xfrm>
            <a:grpFill/>
          </p:grpSpPr>
          <p:sp>
            <p:nvSpPr>
              <p:cNvPr id="4605" name="Vrije vorm: vorm 4604">
                <a:extLst>
                  <a:ext uri="{FF2B5EF4-FFF2-40B4-BE49-F238E27FC236}">
                    <a16:creationId xmlns:a16="http://schemas.microsoft.com/office/drawing/2014/main" id="{F88CB8A7-D59C-43C1-9D8B-D89E1F985029}"/>
                  </a:ext>
                </a:extLst>
              </p:cNvPr>
              <p:cNvSpPr/>
              <p:nvPr/>
            </p:nvSpPr>
            <p:spPr>
              <a:xfrm>
                <a:off x="7920709" y="4125422"/>
                <a:ext cx="137017" cy="54544"/>
              </a:xfrm>
              <a:custGeom>
                <a:avLst/>
                <a:gdLst>
                  <a:gd name="connsiteX0" fmla="*/ 137018 w 137017"/>
                  <a:gd name="connsiteY0" fmla="*/ 51674 h 54544"/>
                  <a:gd name="connsiteX1" fmla="*/ 135942 w 137017"/>
                  <a:gd name="connsiteY1" fmla="*/ 54544 h 54544"/>
                  <a:gd name="connsiteX2" fmla="*/ 0 w 137017"/>
                  <a:gd name="connsiteY2" fmla="*/ 2871 h 54544"/>
                  <a:gd name="connsiteX3" fmla="*/ 1076 w 137017"/>
                  <a:gd name="connsiteY3" fmla="*/ 0 h 54544"/>
                </a:gdLst>
                <a:ahLst/>
                <a:cxnLst>
                  <a:cxn ang="0">
                    <a:pos x="connsiteX0" y="connsiteY0"/>
                  </a:cxn>
                  <a:cxn ang="0">
                    <a:pos x="connsiteX1" y="connsiteY1"/>
                  </a:cxn>
                  <a:cxn ang="0">
                    <a:pos x="connsiteX2" y="connsiteY2"/>
                  </a:cxn>
                  <a:cxn ang="0">
                    <a:pos x="connsiteX3" y="connsiteY3"/>
                  </a:cxn>
                </a:cxnLst>
                <a:rect l="l" t="t" r="r" b="b"/>
                <a:pathLst>
                  <a:path w="137017" h="54544">
                    <a:moveTo>
                      <a:pt x="137018" y="51674"/>
                    </a:moveTo>
                    <a:lnTo>
                      <a:pt x="135942" y="54544"/>
                    </a:lnTo>
                    <a:lnTo>
                      <a:pt x="0" y="2871"/>
                    </a:lnTo>
                    <a:lnTo>
                      <a:pt x="1076" y="0"/>
                    </a:lnTo>
                    <a:close/>
                  </a:path>
                </a:pathLst>
              </a:custGeom>
              <a:grpFill/>
              <a:ln w="5978" cap="flat">
                <a:noFill/>
                <a:prstDash val="solid"/>
                <a:miter/>
              </a:ln>
            </p:spPr>
            <p:txBody>
              <a:bodyPr rtlCol="0" anchor="ctr"/>
              <a:lstStyle/>
              <a:p>
                <a:endParaRPr lang="en-GB"/>
              </a:p>
            </p:txBody>
          </p:sp>
          <p:sp>
            <p:nvSpPr>
              <p:cNvPr id="4606" name="Vrije vorm: vorm 4605">
                <a:extLst>
                  <a:ext uri="{FF2B5EF4-FFF2-40B4-BE49-F238E27FC236}">
                    <a16:creationId xmlns:a16="http://schemas.microsoft.com/office/drawing/2014/main" id="{8A48E102-305C-4D82-830D-7D998639E7D4}"/>
                  </a:ext>
                </a:extLst>
              </p:cNvPr>
              <p:cNvSpPr/>
              <p:nvPr/>
            </p:nvSpPr>
            <p:spPr>
              <a:xfrm>
                <a:off x="8047653" y="4169143"/>
                <a:ext cx="18294" cy="18448"/>
              </a:xfrm>
              <a:custGeom>
                <a:avLst/>
                <a:gdLst>
                  <a:gd name="connsiteX0" fmla="*/ 12347 w 18294"/>
                  <a:gd name="connsiteY0" fmla="*/ 596 h 18448"/>
                  <a:gd name="connsiteX1" fmla="*/ 17729 w 18294"/>
                  <a:gd name="connsiteY1" fmla="*/ 12498 h 18448"/>
                  <a:gd name="connsiteX2" fmla="*/ 5948 w 18294"/>
                  <a:gd name="connsiteY2" fmla="*/ 17821 h 18448"/>
                  <a:gd name="connsiteX3" fmla="*/ 565 w 18294"/>
                  <a:gd name="connsiteY3" fmla="*/ 5919 h 18448"/>
                  <a:gd name="connsiteX4" fmla="*/ 12347 w 18294"/>
                  <a:gd name="connsiteY4" fmla="*/ 59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48">
                    <a:moveTo>
                      <a:pt x="12347" y="596"/>
                    </a:moveTo>
                    <a:cubicBezTo>
                      <a:pt x="17072" y="2390"/>
                      <a:pt x="19464" y="7713"/>
                      <a:pt x="17729" y="12498"/>
                    </a:cubicBezTo>
                    <a:cubicBezTo>
                      <a:pt x="15936" y="17283"/>
                      <a:pt x="10673" y="19675"/>
                      <a:pt x="5948" y="17821"/>
                    </a:cubicBezTo>
                    <a:cubicBezTo>
                      <a:pt x="1223" y="16027"/>
                      <a:pt x="-1170" y="10704"/>
                      <a:pt x="565" y="5919"/>
                    </a:cubicBezTo>
                    <a:cubicBezTo>
                      <a:pt x="2299" y="1195"/>
                      <a:pt x="7562" y="-1198"/>
                      <a:pt x="12347" y="596"/>
                    </a:cubicBezTo>
                    <a:close/>
                  </a:path>
                </a:pathLst>
              </a:custGeom>
              <a:grpFill/>
              <a:ln w="5978" cap="flat">
                <a:noFill/>
                <a:prstDash val="solid"/>
                <a:miter/>
              </a:ln>
            </p:spPr>
            <p:txBody>
              <a:bodyPr rtlCol="0" anchor="ctr"/>
              <a:lstStyle/>
              <a:p>
                <a:endParaRPr lang="en-GB"/>
              </a:p>
            </p:txBody>
          </p:sp>
          <p:sp>
            <p:nvSpPr>
              <p:cNvPr id="4607" name="Vrije vorm: vorm 4606">
                <a:extLst>
                  <a:ext uri="{FF2B5EF4-FFF2-40B4-BE49-F238E27FC236}">
                    <a16:creationId xmlns:a16="http://schemas.microsoft.com/office/drawing/2014/main" id="{2BDAEC3D-40FF-440C-B1E4-70514288B528}"/>
                  </a:ext>
                </a:extLst>
              </p:cNvPr>
              <p:cNvSpPr/>
              <p:nvPr/>
            </p:nvSpPr>
            <p:spPr>
              <a:xfrm>
                <a:off x="7912524" y="4117768"/>
                <a:ext cx="18342" cy="18417"/>
              </a:xfrm>
              <a:custGeom>
                <a:avLst/>
                <a:gdLst>
                  <a:gd name="connsiteX0" fmla="*/ 12371 w 18342"/>
                  <a:gd name="connsiteY0" fmla="*/ 597 h 18417"/>
                  <a:gd name="connsiteX1" fmla="*/ 589 w 18342"/>
                  <a:gd name="connsiteY1" fmla="*/ 5919 h 18417"/>
                  <a:gd name="connsiteX2" fmla="*/ 5972 w 18342"/>
                  <a:gd name="connsiteY2" fmla="*/ 17821 h 18417"/>
                  <a:gd name="connsiteX3" fmla="*/ 17753 w 18342"/>
                  <a:gd name="connsiteY3" fmla="*/ 12498 h 18417"/>
                  <a:gd name="connsiteX4" fmla="*/ 12371 w 18342"/>
                  <a:gd name="connsiteY4" fmla="*/ 59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7">
                    <a:moveTo>
                      <a:pt x="12371" y="597"/>
                    </a:moveTo>
                    <a:cubicBezTo>
                      <a:pt x="7646" y="-1198"/>
                      <a:pt x="2323" y="1194"/>
                      <a:pt x="589" y="5919"/>
                    </a:cubicBezTo>
                    <a:cubicBezTo>
                      <a:pt x="-1206" y="10704"/>
                      <a:pt x="1247" y="15967"/>
                      <a:pt x="5972" y="17821"/>
                    </a:cubicBezTo>
                    <a:cubicBezTo>
                      <a:pt x="10696" y="19615"/>
                      <a:pt x="16019" y="17223"/>
                      <a:pt x="17753" y="12498"/>
                    </a:cubicBezTo>
                    <a:cubicBezTo>
                      <a:pt x="19547" y="7714"/>
                      <a:pt x="17096" y="2391"/>
                      <a:pt x="12371" y="597"/>
                    </a:cubicBezTo>
                    <a:close/>
                  </a:path>
                </a:pathLst>
              </a:custGeom>
              <a:grpFill/>
              <a:ln w="5978" cap="flat">
                <a:noFill/>
                <a:prstDash val="solid"/>
                <a:miter/>
              </a:ln>
            </p:spPr>
            <p:txBody>
              <a:bodyPr rtlCol="0" anchor="ctr"/>
              <a:lstStyle/>
              <a:p>
                <a:endParaRPr lang="en-GB"/>
              </a:p>
            </p:txBody>
          </p:sp>
        </p:grpSp>
        <p:grpSp>
          <p:nvGrpSpPr>
            <p:cNvPr id="259" name="Graphic 3">
              <a:extLst>
                <a:ext uri="{FF2B5EF4-FFF2-40B4-BE49-F238E27FC236}">
                  <a16:creationId xmlns:a16="http://schemas.microsoft.com/office/drawing/2014/main" id="{138BB391-B1AE-4FE2-BF69-3F86CA5FC0BA}"/>
                </a:ext>
              </a:extLst>
            </p:cNvPr>
            <p:cNvGrpSpPr/>
            <p:nvPr/>
          </p:nvGrpSpPr>
          <p:grpSpPr>
            <a:xfrm>
              <a:off x="7151469" y="1875965"/>
              <a:ext cx="148738" cy="180055"/>
              <a:chOff x="7151469" y="1875965"/>
              <a:chExt cx="148738" cy="180055"/>
            </a:xfrm>
            <a:grpFill/>
          </p:grpSpPr>
          <p:sp>
            <p:nvSpPr>
              <p:cNvPr id="4602" name="Vrije vorm: vorm 4601">
                <a:extLst>
                  <a:ext uri="{FF2B5EF4-FFF2-40B4-BE49-F238E27FC236}">
                    <a16:creationId xmlns:a16="http://schemas.microsoft.com/office/drawing/2014/main" id="{91B77894-CF37-42D1-8C1D-4A1D6682DF6E}"/>
                  </a:ext>
                </a:extLst>
              </p:cNvPr>
              <p:cNvSpPr/>
              <p:nvPr/>
            </p:nvSpPr>
            <p:spPr>
              <a:xfrm>
                <a:off x="7159183" y="1883908"/>
                <a:ext cx="133250" cy="164170"/>
              </a:xfrm>
              <a:custGeom>
                <a:avLst/>
                <a:gdLst>
                  <a:gd name="connsiteX0" fmla="*/ 133251 w 133250"/>
                  <a:gd name="connsiteY0" fmla="*/ 1914 h 164170"/>
                  <a:gd name="connsiteX1" fmla="*/ 2333 w 133250"/>
                  <a:gd name="connsiteY1" fmla="*/ 164171 h 164170"/>
                  <a:gd name="connsiteX2" fmla="*/ 0 w 133250"/>
                  <a:gd name="connsiteY2" fmla="*/ 162257 h 164170"/>
                  <a:gd name="connsiteX3" fmla="*/ 130918 w 133250"/>
                  <a:gd name="connsiteY3" fmla="*/ 0 h 164170"/>
                </a:gdLst>
                <a:ahLst/>
                <a:cxnLst>
                  <a:cxn ang="0">
                    <a:pos x="connsiteX0" y="connsiteY0"/>
                  </a:cxn>
                  <a:cxn ang="0">
                    <a:pos x="connsiteX1" y="connsiteY1"/>
                  </a:cxn>
                  <a:cxn ang="0">
                    <a:pos x="connsiteX2" y="connsiteY2"/>
                  </a:cxn>
                  <a:cxn ang="0">
                    <a:pos x="connsiteX3" y="connsiteY3"/>
                  </a:cxn>
                </a:cxnLst>
                <a:rect l="l" t="t" r="r" b="b"/>
                <a:pathLst>
                  <a:path w="133250" h="164170">
                    <a:moveTo>
                      <a:pt x="133251" y="1914"/>
                    </a:moveTo>
                    <a:lnTo>
                      <a:pt x="2333" y="164171"/>
                    </a:lnTo>
                    <a:lnTo>
                      <a:pt x="0" y="162257"/>
                    </a:lnTo>
                    <a:lnTo>
                      <a:pt x="130918" y="0"/>
                    </a:lnTo>
                    <a:close/>
                  </a:path>
                </a:pathLst>
              </a:custGeom>
              <a:grpFill/>
              <a:ln w="5978" cap="flat">
                <a:noFill/>
                <a:prstDash val="solid"/>
                <a:miter/>
              </a:ln>
            </p:spPr>
            <p:txBody>
              <a:bodyPr rtlCol="0" anchor="ctr"/>
              <a:lstStyle/>
              <a:p>
                <a:endParaRPr lang="en-GB"/>
              </a:p>
            </p:txBody>
          </p:sp>
          <p:sp>
            <p:nvSpPr>
              <p:cNvPr id="4603" name="Vrije vorm: vorm 4602">
                <a:extLst>
                  <a:ext uri="{FF2B5EF4-FFF2-40B4-BE49-F238E27FC236}">
                    <a16:creationId xmlns:a16="http://schemas.microsoft.com/office/drawing/2014/main" id="{588BA99C-49B1-48AD-874B-437C942E74E7}"/>
                  </a:ext>
                </a:extLst>
              </p:cNvPr>
              <p:cNvSpPr/>
              <p:nvPr/>
            </p:nvSpPr>
            <p:spPr>
              <a:xfrm>
                <a:off x="7281824" y="1875965"/>
                <a:ext cx="18383" cy="18456"/>
              </a:xfrm>
              <a:custGeom>
                <a:avLst/>
                <a:gdLst>
                  <a:gd name="connsiteX0" fmla="*/ 2057 w 18383"/>
                  <a:gd name="connsiteY0" fmla="*/ 3397 h 18456"/>
                  <a:gd name="connsiteX1" fmla="*/ 14976 w 18383"/>
                  <a:gd name="connsiteY1" fmla="*/ 2081 h 18456"/>
                  <a:gd name="connsiteX2" fmla="*/ 16351 w 18383"/>
                  <a:gd name="connsiteY2" fmla="*/ 15059 h 18456"/>
                  <a:gd name="connsiteX3" fmla="*/ 3433 w 18383"/>
                  <a:gd name="connsiteY3" fmla="*/ 16375 h 18456"/>
                  <a:gd name="connsiteX4" fmla="*/ 2057 w 18383"/>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56">
                    <a:moveTo>
                      <a:pt x="2057" y="3397"/>
                    </a:moveTo>
                    <a:cubicBezTo>
                      <a:pt x="5227" y="-550"/>
                      <a:pt x="11028" y="-1148"/>
                      <a:pt x="14976" y="2081"/>
                    </a:cubicBezTo>
                    <a:cubicBezTo>
                      <a:pt x="18923" y="5311"/>
                      <a:pt x="19521" y="11112"/>
                      <a:pt x="16351" y="15059"/>
                    </a:cubicBezTo>
                    <a:cubicBezTo>
                      <a:pt x="13182" y="19007"/>
                      <a:pt x="7380" y="19605"/>
                      <a:pt x="3433" y="16375"/>
                    </a:cubicBezTo>
                    <a:cubicBezTo>
                      <a:pt x="-514" y="13146"/>
                      <a:pt x="-1172" y="7344"/>
                      <a:pt x="2057" y="3397"/>
                    </a:cubicBezTo>
                    <a:close/>
                  </a:path>
                </a:pathLst>
              </a:custGeom>
              <a:grpFill/>
              <a:ln w="5978" cap="flat">
                <a:noFill/>
                <a:prstDash val="solid"/>
                <a:miter/>
              </a:ln>
            </p:spPr>
            <p:txBody>
              <a:bodyPr rtlCol="0" anchor="ctr"/>
              <a:lstStyle/>
              <a:p>
                <a:endParaRPr lang="en-GB"/>
              </a:p>
            </p:txBody>
          </p:sp>
          <p:sp>
            <p:nvSpPr>
              <p:cNvPr id="4604" name="Vrije vorm: vorm 4603">
                <a:extLst>
                  <a:ext uri="{FF2B5EF4-FFF2-40B4-BE49-F238E27FC236}">
                    <a16:creationId xmlns:a16="http://schemas.microsoft.com/office/drawing/2014/main" id="{EADA785D-907E-475B-B59B-36D83E3AD5A6}"/>
                  </a:ext>
                </a:extLst>
              </p:cNvPr>
              <p:cNvSpPr/>
              <p:nvPr/>
            </p:nvSpPr>
            <p:spPr>
              <a:xfrm>
                <a:off x="7151469" y="2037564"/>
                <a:ext cx="18298" cy="18456"/>
              </a:xfrm>
              <a:custGeom>
                <a:avLst/>
                <a:gdLst>
                  <a:gd name="connsiteX0" fmla="*/ 2032 w 18298"/>
                  <a:gd name="connsiteY0" fmla="*/ 3397 h 18456"/>
                  <a:gd name="connsiteX1" fmla="*/ 3408 w 18298"/>
                  <a:gd name="connsiteY1" fmla="*/ 16375 h 18456"/>
                  <a:gd name="connsiteX2" fmla="*/ 16267 w 18298"/>
                  <a:gd name="connsiteY2" fmla="*/ 15059 h 18456"/>
                  <a:gd name="connsiteX3" fmla="*/ 14891 w 18298"/>
                  <a:gd name="connsiteY3" fmla="*/ 2081 h 18456"/>
                  <a:gd name="connsiteX4" fmla="*/ 2032 w 18298"/>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6">
                    <a:moveTo>
                      <a:pt x="2032" y="3397"/>
                    </a:moveTo>
                    <a:cubicBezTo>
                      <a:pt x="-1137" y="7344"/>
                      <a:pt x="-540" y="13146"/>
                      <a:pt x="3408" y="16375"/>
                    </a:cubicBezTo>
                    <a:cubicBezTo>
                      <a:pt x="7355" y="19605"/>
                      <a:pt x="13097" y="19007"/>
                      <a:pt x="16267" y="15059"/>
                    </a:cubicBezTo>
                    <a:cubicBezTo>
                      <a:pt x="19437" y="11112"/>
                      <a:pt x="18838" y="5311"/>
                      <a:pt x="14891" y="2081"/>
                    </a:cubicBezTo>
                    <a:cubicBezTo>
                      <a:pt x="11004" y="-1148"/>
                      <a:pt x="5202" y="-550"/>
                      <a:pt x="2032" y="3397"/>
                    </a:cubicBezTo>
                    <a:close/>
                  </a:path>
                </a:pathLst>
              </a:custGeom>
              <a:grpFill/>
              <a:ln w="5978" cap="flat">
                <a:noFill/>
                <a:prstDash val="solid"/>
                <a:miter/>
              </a:ln>
            </p:spPr>
            <p:txBody>
              <a:bodyPr rtlCol="0" anchor="ctr"/>
              <a:lstStyle/>
              <a:p>
                <a:endParaRPr lang="en-GB"/>
              </a:p>
            </p:txBody>
          </p:sp>
        </p:grpSp>
        <p:grpSp>
          <p:nvGrpSpPr>
            <p:cNvPr id="260" name="Graphic 3">
              <a:extLst>
                <a:ext uri="{FF2B5EF4-FFF2-40B4-BE49-F238E27FC236}">
                  <a16:creationId xmlns:a16="http://schemas.microsoft.com/office/drawing/2014/main" id="{9753428A-4E85-46EF-8F3C-FFDE6101424A}"/>
                </a:ext>
              </a:extLst>
            </p:cNvPr>
            <p:cNvGrpSpPr/>
            <p:nvPr/>
          </p:nvGrpSpPr>
          <p:grpSpPr>
            <a:xfrm>
              <a:off x="7810393" y="3791249"/>
              <a:ext cx="90190" cy="34031"/>
              <a:chOff x="7810393" y="3791249"/>
              <a:chExt cx="90190" cy="34031"/>
            </a:xfrm>
            <a:grpFill/>
          </p:grpSpPr>
          <p:sp>
            <p:nvSpPr>
              <p:cNvPr id="4599" name="Vrije vorm: vorm 4598">
                <a:extLst>
                  <a:ext uri="{FF2B5EF4-FFF2-40B4-BE49-F238E27FC236}">
                    <a16:creationId xmlns:a16="http://schemas.microsoft.com/office/drawing/2014/main" id="{21A823D6-7FA8-4FCB-BC82-122C428394E7}"/>
                  </a:ext>
                </a:extLst>
              </p:cNvPr>
              <p:cNvSpPr/>
              <p:nvPr/>
            </p:nvSpPr>
            <p:spPr>
              <a:xfrm>
                <a:off x="7818797" y="3798875"/>
                <a:ext cx="73383" cy="18779"/>
              </a:xfrm>
              <a:custGeom>
                <a:avLst/>
                <a:gdLst>
                  <a:gd name="connsiteX0" fmla="*/ 73384 w 73383"/>
                  <a:gd name="connsiteY0" fmla="*/ 15789 h 18779"/>
                  <a:gd name="connsiteX1" fmla="*/ 72726 w 73383"/>
                  <a:gd name="connsiteY1" fmla="*/ 18780 h 18779"/>
                  <a:gd name="connsiteX2" fmla="*/ 0 w 73383"/>
                  <a:gd name="connsiteY2" fmla="*/ 2990 h 18779"/>
                  <a:gd name="connsiteX3" fmla="*/ 658 w 73383"/>
                  <a:gd name="connsiteY3" fmla="*/ 0 h 18779"/>
                </a:gdLst>
                <a:ahLst/>
                <a:cxnLst>
                  <a:cxn ang="0">
                    <a:pos x="connsiteX0" y="connsiteY0"/>
                  </a:cxn>
                  <a:cxn ang="0">
                    <a:pos x="connsiteX1" y="connsiteY1"/>
                  </a:cxn>
                  <a:cxn ang="0">
                    <a:pos x="connsiteX2" y="connsiteY2"/>
                  </a:cxn>
                  <a:cxn ang="0">
                    <a:pos x="connsiteX3" y="connsiteY3"/>
                  </a:cxn>
                </a:cxnLst>
                <a:rect l="l" t="t" r="r" b="b"/>
                <a:pathLst>
                  <a:path w="73383" h="18779">
                    <a:moveTo>
                      <a:pt x="73384" y="15789"/>
                    </a:moveTo>
                    <a:lnTo>
                      <a:pt x="72726" y="18780"/>
                    </a:lnTo>
                    <a:lnTo>
                      <a:pt x="0" y="2990"/>
                    </a:lnTo>
                    <a:lnTo>
                      <a:pt x="658" y="0"/>
                    </a:lnTo>
                    <a:close/>
                  </a:path>
                </a:pathLst>
              </a:custGeom>
              <a:grpFill/>
              <a:ln w="5978" cap="flat">
                <a:noFill/>
                <a:prstDash val="solid"/>
                <a:miter/>
              </a:ln>
            </p:spPr>
            <p:txBody>
              <a:bodyPr rtlCol="0" anchor="ctr"/>
              <a:lstStyle/>
              <a:p>
                <a:endParaRPr lang="en-GB"/>
              </a:p>
            </p:txBody>
          </p:sp>
          <p:sp>
            <p:nvSpPr>
              <p:cNvPr id="4600" name="Vrije vorm: vorm 4599">
                <a:extLst>
                  <a:ext uri="{FF2B5EF4-FFF2-40B4-BE49-F238E27FC236}">
                    <a16:creationId xmlns:a16="http://schemas.microsoft.com/office/drawing/2014/main" id="{DAD5FA8F-616B-4683-8C53-18095FECC9C3}"/>
                  </a:ext>
                </a:extLst>
              </p:cNvPr>
              <p:cNvSpPr/>
              <p:nvPr/>
            </p:nvSpPr>
            <p:spPr>
              <a:xfrm>
                <a:off x="7882222" y="3806858"/>
                <a:ext cx="18362" cy="18421"/>
              </a:xfrm>
              <a:custGeom>
                <a:avLst/>
                <a:gdLst>
                  <a:gd name="connsiteX0" fmla="*/ 11095 w 18362"/>
                  <a:gd name="connsiteY0" fmla="*/ 210 h 18421"/>
                  <a:gd name="connsiteX1" fmla="*/ 18152 w 18362"/>
                  <a:gd name="connsiteY1" fmla="*/ 11155 h 18421"/>
                  <a:gd name="connsiteX2" fmla="*/ 7267 w 18362"/>
                  <a:gd name="connsiteY2" fmla="*/ 18212 h 18421"/>
                  <a:gd name="connsiteX3" fmla="*/ 210 w 18362"/>
                  <a:gd name="connsiteY3" fmla="*/ 7268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16059" y="1287"/>
                      <a:pt x="19228" y="6191"/>
                      <a:pt x="18152" y="11155"/>
                    </a:cubicBezTo>
                    <a:cubicBezTo>
                      <a:pt x="17075" y="16119"/>
                      <a:pt x="12231" y="19288"/>
                      <a:pt x="7267" y="18212"/>
                    </a:cubicBezTo>
                    <a:cubicBezTo>
                      <a:pt x="2303" y="17136"/>
                      <a:pt x="-867" y="12231"/>
                      <a:pt x="210" y="7268"/>
                    </a:cubicBezTo>
                    <a:cubicBezTo>
                      <a:pt x="1286" y="2303"/>
                      <a:pt x="6131" y="-867"/>
                      <a:pt x="11095" y="210"/>
                    </a:cubicBezTo>
                    <a:close/>
                  </a:path>
                </a:pathLst>
              </a:custGeom>
              <a:grpFill/>
              <a:ln w="5978" cap="flat">
                <a:noFill/>
                <a:prstDash val="solid"/>
                <a:miter/>
              </a:ln>
            </p:spPr>
            <p:txBody>
              <a:bodyPr rtlCol="0" anchor="ctr"/>
              <a:lstStyle/>
              <a:p>
                <a:endParaRPr lang="en-GB"/>
              </a:p>
            </p:txBody>
          </p:sp>
          <p:sp>
            <p:nvSpPr>
              <p:cNvPr id="4601" name="Vrije vorm: vorm 4600">
                <a:extLst>
                  <a:ext uri="{FF2B5EF4-FFF2-40B4-BE49-F238E27FC236}">
                    <a16:creationId xmlns:a16="http://schemas.microsoft.com/office/drawing/2014/main" id="{027D957A-5498-494F-995C-9105C65B8991}"/>
                  </a:ext>
                </a:extLst>
              </p:cNvPr>
              <p:cNvSpPr/>
              <p:nvPr/>
            </p:nvSpPr>
            <p:spPr>
              <a:xfrm>
                <a:off x="7810393" y="3791249"/>
                <a:ext cx="18362" cy="18421"/>
              </a:xfrm>
              <a:custGeom>
                <a:avLst/>
                <a:gdLst>
                  <a:gd name="connsiteX0" fmla="*/ 11095 w 18362"/>
                  <a:gd name="connsiteY0" fmla="*/ 210 h 18421"/>
                  <a:gd name="connsiteX1" fmla="*/ 210 w 18362"/>
                  <a:gd name="connsiteY1" fmla="*/ 7267 h 18421"/>
                  <a:gd name="connsiteX2" fmla="*/ 7267 w 18362"/>
                  <a:gd name="connsiteY2" fmla="*/ 18212 h 18421"/>
                  <a:gd name="connsiteX3" fmla="*/ 18152 w 18362"/>
                  <a:gd name="connsiteY3" fmla="*/ 11155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6131" y="-867"/>
                      <a:pt x="1286" y="2303"/>
                      <a:pt x="210" y="7267"/>
                    </a:cubicBezTo>
                    <a:cubicBezTo>
                      <a:pt x="-867" y="12231"/>
                      <a:pt x="2303" y="17136"/>
                      <a:pt x="7267" y="18212"/>
                    </a:cubicBezTo>
                    <a:cubicBezTo>
                      <a:pt x="12231" y="19288"/>
                      <a:pt x="17075" y="16119"/>
                      <a:pt x="18152" y="11155"/>
                    </a:cubicBezTo>
                    <a:cubicBezTo>
                      <a:pt x="19228" y="6191"/>
                      <a:pt x="16059" y="1287"/>
                      <a:pt x="11095" y="210"/>
                    </a:cubicBezTo>
                    <a:close/>
                  </a:path>
                </a:pathLst>
              </a:custGeom>
              <a:grpFill/>
              <a:ln w="5978" cap="flat">
                <a:noFill/>
                <a:prstDash val="solid"/>
                <a:miter/>
              </a:ln>
            </p:spPr>
            <p:txBody>
              <a:bodyPr rtlCol="0" anchor="ctr"/>
              <a:lstStyle/>
              <a:p>
                <a:endParaRPr lang="en-GB"/>
              </a:p>
            </p:txBody>
          </p:sp>
        </p:grpSp>
        <p:grpSp>
          <p:nvGrpSpPr>
            <p:cNvPr id="261" name="Graphic 3">
              <a:extLst>
                <a:ext uri="{FF2B5EF4-FFF2-40B4-BE49-F238E27FC236}">
                  <a16:creationId xmlns:a16="http://schemas.microsoft.com/office/drawing/2014/main" id="{50E86060-671D-4BA6-8423-6143590B0169}"/>
                </a:ext>
              </a:extLst>
            </p:cNvPr>
            <p:cNvGrpSpPr/>
            <p:nvPr/>
          </p:nvGrpSpPr>
          <p:grpSpPr>
            <a:xfrm>
              <a:off x="7783991" y="3819671"/>
              <a:ext cx="177919" cy="56233"/>
              <a:chOff x="7783991" y="3819671"/>
              <a:chExt cx="177919" cy="56233"/>
            </a:xfrm>
            <a:grpFill/>
          </p:grpSpPr>
          <p:sp>
            <p:nvSpPr>
              <p:cNvPr id="4596" name="Vrije vorm: vorm 4595">
                <a:extLst>
                  <a:ext uri="{FF2B5EF4-FFF2-40B4-BE49-F238E27FC236}">
                    <a16:creationId xmlns:a16="http://schemas.microsoft.com/office/drawing/2014/main" id="{F418E6D9-F620-4E17-AD20-547FA9AAC67D}"/>
                  </a:ext>
                </a:extLst>
              </p:cNvPr>
              <p:cNvSpPr/>
              <p:nvPr/>
            </p:nvSpPr>
            <p:spPr>
              <a:xfrm>
                <a:off x="7792422" y="3827283"/>
                <a:ext cx="161121" cy="41028"/>
              </a:xfrm>
              <a:custGeom>
                <a:avLst/>
                <a:gdLst>
                  <a:gd name="connsiteX0" fmla="*/ 161121 w 161121"/>
                  <a:gd name="connsiteY0" fmla="*/ 38038 h 41028"/>
                  <a:gd name="connsiteX1" fmla="*/ 160403 w 161121"/>
                  <a:gd name="connsiteY1" fmla="*/ 41028 h 41028"/>
                  <a:gd name="connsiteX2" fmla="*/ 0 w 161121"/>
                  <a:gd name="connsiteY2" fmla="*/ 2990 h 41028"/>
                  <a:gd name="connsiteX3" fmla="*/ 658 w 161121"/>
                  <a:gd name="connsiteY3" fmla="*/ 0 h 41028"/>
                </a:gdLst>
                <a:ahLst/>
                <a:cxnLst>
                  <a:cxn ang="0">
                    <a:pos x="connsiteX0" y="connsiteY0"/>
                  </a:cxn>
                  <a:cxn ang="0">
                    <a:pos x="connsiteX1" y="connsiteY1"/>
                  </a:cxn>
                  <a:cxn ang="0">
                    <a:pos x="connsiteX2" y="connsiteY2"/>
                  </a:cxn>
                  <a:cxn ang="0">
                    <a:pos x="connsiteX3" y="connsiteY3"/>
                  </a:cxn>
                </a:cxnLst>
                <a:rect l="l" t="t" r="r" b="b"/>
                <a:pathLst>
                  <a:path w="161121" h="41028">
                    <a:moveTo>
                      <a:pt x="161121" y="38038"/>
                    </a:moveTo>
                    <a:lnTo>
                      <a:pt x="160403" y="41028"/>
                    </a:lnTo>
                    <a:lnTo>
                      <a:pt x="0" y="2990"/>
                    </a:lnTo>
                    <a:lnTo>
                      <a:pt x="658" y="0"/>
                    </a:lnTo>
                    <a:close/>
                  </a:path>
                </a:pathLst>
              </a:custGeom>
              <a:grpFill/>
              <a:ln w="5978" cap="flat">
                <a:noFill/>
                <a:prstDash val="solid"/>
                <a:miter/>
              </a:ln>
            </p:spPr>
            <p:txBody>
              <a:bodyPr rtlCol="0" anchor="ctr"/>
              <a:lstStyle/>
              <a:p>
                <a:endParaRPr lang="en-GB"/>
              </a:p>
            </p:txBody>
          </p:sp>
          <p:sp>
            <p:nvSpPr>
              <p:cNvPr id="4597" name="Vrije vorm: vorm 4596">
                <a:extLst>
                  <a:ext uri="{FF2B5EF4-FFF2-40B4-BE49-F238E27FC236}">
                    <a16:creationId xmlns:a16="http://schemas.microsoft.com/office/drawing/2014/main" id="{0E58C28F-58AD-4C8C-8AAA-005DFAE1657C}"/>
                  </a:ext>
                </a:extLst>
              </p:cNvPr>
              <p:cNvSpPr/>
              <p:nvPr/>
            </p:nvSpPr>
            <p:spPr>
              <a:xfrm>
                <a:off x="7943560" y="3857488"/>
                <a:ext cx="18350" cy="18416"/>
              </a:xfrm>
              <a:custGeom>
                <a:avLst/>
                <a:gdLst>
                  <a:gd name="connsiteX0" fmla="*/ 11239 w 18350"/>
                  <a:gd name="connsiteY0" fmla="*/ 237 h 18416"/>
                  <a:gd name="connsiteX1" fmla="*/ 18117 w 18350"/>
                  <a:gd name="connsiteY1" fmla="*/ 11302 h 18416"/>
                  <a:gd name="connsiteX2" fmla="*/ 7112 w 18350"/>
                  <a:gd name="connsiteY2" fmla="*/ 18180 h 18416"/>
                  <a:gd name="connsiteX3" fmla="*/ 234 w 18350"/>
                  <a:gd name="connsiteY3" fmla="*/ 7115 h 18416"/>
                  <a:gd name="connsiteX4" fmla="*/ 11239 w 18350"/>
                  <a:gd name="connsiteY4" fmla="*/ 23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6">
                    <a:moveTo>
                      <a:pt x="11239" y="237"/>
                    </a:moveTo>
                    <a:cubicBezTo>
                      <a:pt x="16143" y="1434"/>
                      <a:pt x="19253" y="6397"/>
                      <a:pt x="18117" y="11302"/>
                    </a:cubicBezTo>
                    <a:cubicBezTo>
                      <a:pt x="16980" y="16266"/>
                      <a:pt x="12076" y="19316"/>
                      <a:pt x="7112" y="18180"/>
                    </a:cubicBezTo>
                    <a:cubicBezTo>
                      <a:pt x="2208" y="16983"/>
                      <a:pt x="-902" y="12019"/>
                      <a:pt x="234" y="7115"/>
                    </a:cubicBezTo>
                    <a:cubicBezTo>
                      <a:pt x="1370" y="2151"/>
                      <a:pt x="6335" y="-899"/>
                      <a:pt x="11239" y="237"/>
                    </a:cubicBezTo>
                    <a:close/>
                  </a:path>
                </a:pathLst>
              </a:custGeom>
              <a:grpFill/>
              <a:ln w="5978" cap="flat">
                <a:noFill/>
                <a:prstDash val="solid"/>
                <a:miter/>
              </a:ln>
            </p:spPr>
            <p:txBody>
              <a:bodyPr rtlCol="0" anchor="ctr"/>
              <a:lstStyle/>
              <a:p>
                <a:endParaRPr lang="en-GB"/>
              </a:p>
            </p:txBody>
          </p:sp>
          <p:sp>
            <p:nvSpPr>
              <p:cNvPr id="4598" name="Vrije vorm: vorm 4597">
                <a:extLst>
                  <a:ext uri="{FF2B5EF4-FFF2-40B4-BE49-F238E27FC236}">
                    <a16:creationId xmlns:a16="http://schemas.microsoft.com/office/drawing/2014/main" id="{4638BB30-1E7C-438C-8F16-A9D31C1C6EA8}"/>
                  </a:ext>
                </a:extLst>
              </p:cNvPr>
              <p:cNvSpPr/>
              <p:nvPr/>
            </p:nvSpPr>
            <p:spPr>
              <a:xfrm>
                <a:off x="7783991" y="3819671"/>
                <a:ext cx="18356" cy="18435"/>
              </a:xfrm>
              <a:custGeom>
                <a:avLst/>
                <a:gdLst>
                  <a:gd name="connsiteX0" fmla="*/ 11242 w 18356"/>
                  <a:gd name="connsiteY0" fmla="*/ 256 h 18435"/>
                  <a:gd name="connsiteX1" fmla="*/ 237 w 18356"/>
                  <a:gd name="connsiteY1" fmla="*/ 7134 h 18435"/>
                  <a:gd name="connsiteX2" fmla="*/ 7115 w 18356"/>
                  <a:gd name="connsiteY2" fmla="*/ 18198 h 18435"/>
                  <a:gd name="connsiteX3" fmla="*/ 18120 w 18356"/>
                  <a:gd name="connsiteY3" fmla="*/ 11320 h 18435"/>
                  <a:gd name="connsiteX4" fmla="*/ 11242 w 18356"/>
                  <a:gd name="connsiteY4" fmla="*/ 25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5">
                    <a:moveTo>
                      <a:pt x="11242" y="256"/>
                    </a:moveTo>
                    <a:cubicBezTo>
                      <a:pt x="6338" y="-940"/>
                      <a:pt x="1374" y="2170"/>
                      <a:pt x="237" y="7134"/>
                    </a:cubicBezTo>
                    <a:cubicBezTo>
                      <a:pt x="-899" y="12098"/>
                      <a:pt x="2151" y="17062"/>
                      <a:pt x="7115" y="18198"/>
                    </a:cubicBezTo>
                    <a:cubicBezTo>
                      <a:pt x="12079" y="19335"/>
                      <a:pt x="16984" y="16284"/>
                      <a:pt x="18120" y="11320"/>
                    </a:cubicBezTo>
                    <a:cubicBezTo>
                      <a:pt x="19256" y="6417"/>
                      <a:pt x="16206" y="1452"/>
                      <a:pt x="11242" y="256"/>
                    </a:cubicBezTo>
                    <a:close/>
                  </a:path>
                </a:pathLst>
              </a:custGeom>
              <a:grpFill/>
              <a:ln w="5978" cap="flat">
                <a:noFill/>
                <a:prstDash val="solid"/>
                <a:miter/>
              </a:ln>
            </p:spPr>
            <p:txBody>
              <a:bodyPr rtlCol="0" anchor="ctr"/>
              <a:lstStyle/>
              <a:p>
                <a:endParaRPr lang="en-GB"/>
              </a:p>
            </p:txBody>
          </p:sp>
        </p:grpSp>
        <p:grpSp>
          <p:nvGrpSpPr>
            <p:cNvPr id="262" name="Graphic 3">
              <a:extLst>
                <a:ext uri="{FF2B5EF4-FFF2-40B4-BE49-F238E27FC236}">
                  <a16:creationId xmlns:a16="http://schemas.microsoft.com/office/drawing/2014/main" id="{B8192317-AB4B-45ED-8C45-E3087F8D0245}"/>
                </a:ext>
              </a:extLst>
            </p:cNvPr>
            <p:cNvGrpSpPr/>
            <p:nvPr/>
          </p:nvGrpSpPr>
          <p:grpSpPr>
            <a:xfrm>
              <a:off x="7016834" y="1410216"/>
              <a:ext cx="70885" cy="121026"/>
              <a:chOff x="7016834" y="1410216"/>
              <a:chExt cx="70885" cy="121026"/>
            </a:xfrm>
            <a:grpFill/>
          </p:grpSpPr>
          <p:sp>
            <p:nvSpPr>
              <p:cNvPr id="4593" name="Vrije vorm: vorm 4592">
                <a:extLst>
                  <a:ext uri="{FF2B5EF4-FFF2-40B4-BE49-F238E27FC236}">
                    <a16:creationId xmlns:a16="http://schemas.microsoft.com/office/drawing/2014/main" id="{4C027B43-17AA-4D68-B15D-C7FD5AFD0D8B}"/>
                  </a:ext>
                </a:extLst>
              </p:cNvPr>
              <p:cNvSpPr/>
              <p:nvPr/>
            </p:nvSpPr>
            <p:spPr>
              <a:xfrm>
                <a:off x="7024438" y="1418308"/>
                <a:ext cx="55680" cy="104782"/>
              </a:xfrm>
              <a:custGeom>
                <a:avLst/>
                <a:gdLst>
                  <a:gd name="connsiteX0" fmla="*/ 55680 w 55680"/>
                  <a:gd name="connsiteY0" fmla="*/ 1376 h 104782"/>
                  <a:gd name="connsiteX1" fmla="*/ 2691 w 55680"/>
                  <a:gd name="connsiteY1" fmla="*/ 104782 h 104782"/>
                  <a:gd name="connsiteX2" fmla="*/ 0 w 55680"/>
                  <a:gd name="connsiteY2" fmla="*/ 103407 h 104782"/>
                  <a:gd name="connsiteX3" fmla="*/ 52989 w 55680"/>
                  <a:gd name="connsiteY3" fmla="*/ 0 h 104782"/>
                </a:gdLst>
                <a:ahLst/>
                <a:cxnLst>
                  <a:cxn ang="0">
                    <a:pos x="connsiteX0" y="connsiteY0"/>
                  </a:cxn>
                  <a:cxn ang="0">
                    <a:pos x="connsiteX1" y="connsiteY1"/>
                  </a:cxn>
                  <a:cxn ang="0">
                    <a:pos x="connsiteX2" y="connsiteY2"/>
                  </a:cxn>
                  <a:cxn ang="0">
                    <a:pos x="connsiteX3" y="connsiteY3"/>
                  </a:cxn>
                </a:cxnLst>
                <a:rect l="l" t="t" r="r" b="b"/>
                <a:pathLst>
                  <a:path w="55680" h="104782">
                    <a:moveTo>
                      <a:pt x="55680" y="1376"/>
                    </a:moveTo>
                    <a:lnTo>
                      <a:pt x="2691" y="104782"/>
                    </a:lnTo>
                    <a:lnTo>
                      <a:pt x="0" y="103407"/>
                    </a:lnTo>
                    <a:lnTo>
                      <a:pt x="52989" y="0"/>
                    </a:lnTo>
                    <a:close/>
                  </a:path>
                </a:pathLst>
              </a:custGeom>
              <a:grpFill/>
              <a:ln w="5978" cap="flat">
                <a:noFill/>
                <a:prstDash val="solid"/>
                <a:miter/>
              </a:ln>
            </p:spPr>
            <p:txBody>
              <a:bodyPr rtlCol="0" anchor="ctr"/>
              <a:lstStyle/>
              <a:p>
                <a:endParaRPr lang="en-GB"/>
              </a:p>
            </p:txBody>
          </p:sp>
          <p:sp>
            <p:nvSpPr>
              <p:cNvPr id="4594" name="Vrije vorm: vorm 4593">
                <a:extLst>
                  <a:ext uri="{FF2B5EF4-FFF2-40B4-BE49-F238E27FC236}">
                    <a16:creationId xmlns:a16="http://schemas.microsoft.com/office/drawing/2014/main" id="{2EB1947E-BBDE-438C-8AD2-39842FE24966}"/>
                  </a:ext>
                </a:extLst>
              </p:cNvPr>
              <p:cNvSpPr/>
              <p:nvPr/>
            </p:nvSpPr>
            <p:spPr>
              <a:xfrm>
                <a:off x="7069405" y="1410216"/>
                <a:ext cx="18315" cy="18457"/>
              </a:xfrm>
              <a:custGeom>
                <a:avLst/>
                <a:gdLst>
                  <a:gd name="connsiteX0" fmla="*/ 1024 w 18315"/>
                  <a:gd name="connsiteY0" fmla="*/ 4982 h 18457"/>
                  <a:gd name="connsiteX1" fmla="*/ 13344 w 18315"/>
                  <a:gd name="connsiteY1" fmla="*/ 1035 h 18457"/>
                  <a:gd name="connsiteX2" fmla="*/ 17291 w 18315"/>
                  <a:gd name="connsiteY2" fmla="*/ 13475 h 18457"/>
                  <a:gd name="connsiteX3" fmla="*/ 4971 w 18315"/>
                  <a:gd name="connsiteY3" fmla="*/ 17422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3356" y="437"/>
                      <a:pt x="8859" y="-1297"/>
                      <a:pt x="13344" y="1035"/>
                    </a:cubicBezTo>
                    <a:cubicBezTo>
                      <a:pt x="17830" y="3368"/>
                      <a:pt x="19624" y="8930"/>
                      <a:pt x="17291" y="13475"/>
                    </a:cubicBezTo>
                    <a:cubicBezTo>
                      <a:pt x="14959" y="18020"/>
                      <a:pt x="9457" y="19755"/>
                      <a:pt x="4971" y="17422"/>
                    </a:cubicBezTo>
                    <a:cubicBezTo>
                      <a:pt x="486" y="15030"/>
                      <a:pt x="-1309" y="9468"/>
                      <a:pt x="1024" y="4982"/>
                    </a:cubicBezTo>
                    <a:close/>
                  </a:path>
                </a:pathLst>
              </a:custGeom>
              <a:grpFill/>
              <a:ln w="5978" cap="flat">
                <a:noFill/>
                <a:prstDash val="solid"/>
                <a:miter/>
              </a:ln>
            </p:spPr>
            <p:txBody>
              <a:bodyPr rtlCol="0" anchor="ctr"/>
              <a:lstStyle/>
              <a:p>
                <a:endParaRPr lang="en-GB"/>
              </a:p>
            </p:txBody>
          </p:sp>
          <p:sp>
            <p:nvSpPr>
              <p:cNvPr id="4595" name="Vrije vorm: vorm 4594">
                <a:extLst>
                  <a:ext uri="{FF2B5EF4-FFF2-40B4-BE49-F238E27FC236}">
                    <a16:creationId xmlns:a16="http://schemas.microsoft.com/office/drawing/2014/main" id="{2FB21464-A7E9-4A9C-9B0A-C72A51AF7CB3}"/>
                  </a:ext>
                </a:extLst>
              </p:cNvPr>
              <p:cNvSpPr/>
              <p:nvPr/>
            </p:nvSpPr>
            <p:spPr>
              <a:xfrm>
                <a:off x="7016834" y="1512785"/>
                <a:ext cx="18315" cy="18457"/>
              </a:xfrm>
              <a:custGeom>
                <a:avLst/>
                <a:gdLst>
                  <a:gd name="connsiteX0" fmla="*/ 1024 w 18315"/>
                  <a:gd name="connsiteY0" fmla="*/ 4982 h 18457"/>
                  <a:gd name="connsiteX1" fmla="*/ 4971 w 18315"/>
                  <a:gd name="connsiteY1" fmla="*/ 17422 h 18457"/>
                  <a:gd name="connsiteX2" fmla="*/ 17292 w 18315"/>
                  <a:gd name="connsiteY2" fmla="*/ 13475 h 18457"/>
                  <a:gd name="connsiteX3" fmla="*/ 13344 w 18315"/>
                  <a:gd name="connsiteY3" fmla="*/ 1035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1309" y="9528"/>
                      <a:pt x="486" y="15090"/>
                      <a:pt x="4971" y="17422"/>
                    </a:cubicBezTo>
                    <a:cubicBezTo>
                      <a:pt x="9457" y="19755"/>
                      <a:pt x="15019" y="18020"/>
                      <a:pt x="17292" y="13475"/>
                    </a:cubicBezTo>
                    <a:cubicBezTo>
                      <a:pt x="19624" y="8930"/>
                      <a:pt x="17830" y="3368"/>
                      <a:pt x="13344" y="1035"/>
                    </a:cubicBezTo>
                    <a:cubicBezTo>
                      <a:pt x="8859" y="-1297"/>
                      <a:pt x="3356" y="437"/>
                      <a:pt x="1024" y="4982"/>
                    </a:cubicBezTo>
                    <a:close/>
                  </a:path>
                </a:pathLst>
              </a:custGeom>
              <a:grpFill/>
              <a:ln w="5978" cap="flat">
                <a:noFill/>
                <a:prstDash val="solid"/>
                <a:miter/>
              </a:ln>
            </p:spPr>
            <p:txBody>
              <a:bodyPr rtlCol="0" anchor="ctr"/>
              <a:lstStyle/>
              <a:p>
                <a:endParaRPr lang="en-GB"/>
              </a:p>
            </p:txBody>
          </p:sp>
        </p:grpSp>
        <p:grpSp>
          <p:nvGrpSpPr>
            <p:cNvPr id="263" name="Graphic 3">
              <a:extLst>
                <a:ext uri="{FF2B5EF4-FFF2-40B4-BE49-F238E27FC236}">
                  <a16:creationId xmlns:a16="http://schemas.microsoft.com/office/drawing/2014/main" id="{828D1688-7523-4A8C-8663-F4353FB67669}"/>
                </a:ext>
              </a:extLst>
            </p:cNvPr>
            <p:cNvGrpSpPr/>
            <p:nvPr/>
          </p:nvGrpSpPr>
          <p:grpSpPr>
            <a:xfrm>
              <a:off x="7676019" y="3859800"/>
              <a:ext cx="469397" cy="184063"/>
              <a:chOff x="7676019" y="3859800"/>
              <a:chExt cx="469397" cy="184063"/>
            </a:xfrm>
            <a:grpFill/>
          </p:grpSpPr>
          <p:sp>
            <p:nvSpPr>
              <p:cNvPr id="4590" name="Vrije vorm: vorm 4589">
                <a:extLst>
                  <a:ext uri="{FF2B5EF4-FFF2-40B4-BE49-F238E27FC236}">
                    <a16:creationId xmlns:a16="http://schemas.microsoft.com/office/drawing/2014/main" id="{3B5ADB57-32D5-41A7-AC30-4C11FCD6F0D2}"/>
                  </a:ext>
                </a:extLst>
              </p:cNvPr>
              <p:cNvSpPr/>
              <p:nvPr/>
            </p:nvSpPr>
            <p:spPr>
              <a:xfrm>
                <a:off x="7684231" y="3867474"/>
                <a:ext cx="452979" cy="168775"/>
              </a:xfrm>
              <a:custGeom>
                <a:avLst/>
                <a:gdLst>
                  <a:gd name="connsiteX0" fmla="*/ 452980 w 452979"/>
                  <a:gd name="connsiteY0" fmla="*/ 165905 h 168775"/>
                  <a:gd name="connsiteX1" fmla="*/ 451963 w 452979"/>
                  <a:gd name="connsiteY1" fmla="*/ 168776 h 168775"/>
                  <a:gd name="connsiteX2" fmla="*/ 0 w 452979"/>
                  <a:gd name="connsiteY2" fmla="*/ 2871 h 168775"/>
                  <a:gd name="connsiteX3" fmla="*/ 1017 w 452979"/>
                  <a:gd name="connsiteY3" fmla="*/ 0 h 168775"/>
                </a:gdLst>
                <a:ahLst/>
                <a:cxnLst>
                  <a:cxn ang="0">
                    <a:pos x="connsiteX0" y="connsiteY0"/>
                  </a:cxn>
                  <a:cxn ang="0">
                    <a:pos x="connsiteX1" y="connsiteY1"/>
                  </a:cxn>
                  <a:cxn ang="0">
                    <a:pos x="connsiteX2" y="connsiteY2"/>
                  </a:cxn>
                  <a:cxn ang="0">
                    <a:pos x="connsiteX3" y="connsiteY3"/>
                  </a:cxn>
                </a:cxnLst>
                <a:rect l="l" t="t" r="r" b="b"/>
                <a:pathLst>
                  <a:path w="452979" h="168775">
                    <a:moveTo>
                      <a:pt x="452980" y="165905"/>
                    </a:moveTo>
                    <a:lnTo>
                      <a:pt x="451963" y="168776"/>
                    </a:lnTo>
                    <a:lnTo>
                      <a:pt x="0" y="2871"/>
                    </a:lnTo>
                    <a:lnTo>
                      <a:pt x="1017" y="0"/>
                    </a:lnTo>
                    <a:close/>
                  </a:path>
                </a:pathLst>
              </a:custGeom>
              <a:grpFill/>
              <a:ln w="5978" cap="flat">
                <a:noFill/>
                <a:prstDash val="solid"/>
                <a:miter/>
              </a:ln>
            </p:spPr>
            <p:txBody>
              <a:bodyPr rtlCol="0" anchor="ctr"/>
              <a:lstStyle/>
              <a:p>
                <a:endParaRPr lang="en-GB"/>
              </a:p>
            </p:txBody>
          </p:sp>
          <p:sp>
            <p:nvSpPr>
              <p:cNvPr id="4591" name="Vrije vorm: vorm 4590">
                <a:extLst>
                  <a:ext uri="{FF2B5EF4-FFF2-40B4-BE49-F238E27FC236}">
                    <a16:creationId xmlns:a16="http://schemas.microsoft.com/office/drawing/2014/main" id="{DA1F74D3-8B7D-4DA5-ADDF-201591E467BB}"/>
                  </a:ext>
                </a:extLst>
              </p:cNvPr>
              <p:cNvSpPr/>
              <p:nvPr/>
            </p:nvSpPr>
            <p:spPr>
              <a:xfrm>
                <a:off x="7676019" y="3859800"/>
                <a:ext cx="18331" cy="18457"/>
              </a:xfrm>
              <a:custGeom>
                <a:avLst/>
                <a:gdLst>
                  <a:gd name="connsiteX0" fmla="*/ 6059 w 18331"/>
                  <a:gd name="connsiteY0" fmla="*/ 17900 h 18457"/>
                  <a:gd name="connsiteX1" fmla="*/ 556 w 18331"/>
                  <a:gd name="connsiteY1" fmla="*/ 6059 h 18457"/>
                  <a:gd name="connsiteX2" fmla="*/ 12279 w 18331"/>
                  <a:gd name="connsiteY2" fmla="*/ 557 h 18457"/>
                  <a:gd name="connsiteX3" fmla="*/ 17781 w 18331"/>
                  <a:gd name="connsiteY3" fmla="*/ 12398 h 18457"/>
                  <a:gd name="connsiteX4" fmla="*/ 6059 w 18331"/>
                  <a:gd name="connsiteY4" fmla="*/ 1790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57">
                    <a:moveTo>
                      <a:pt x="6059" y="17900"/>
                    </a:moveTo>
                    <a:cubicBezTo>
                      <a:pt x="1274" y="16166"/>
                      <a:pt x="-1177" y="10843"/>
                      <a:pt x="556" y="6059"/>
                    </a:cubicBezTo>
                    <a:cubicBezTo>
                      <a:pt x="2291" y="1274"/>
                      <a:pt x="7554" y="-1178"/>
                      <a:pt x="12279" y="557"/>
                    </a:cubicBezTo>
                    <a:cubicBezTo>
                      <a:pt x="17003" y="2291"/>
                      <a:pt x="19516" y="7614"/>
                      <a:pt x="17781" y="12398"/>
                    </a:cubicBezTo>
                    <a:cubicBezTo>
                      <a:pt x="16046" y="17183"/>
                      <a:pt x="10784" y="19635"/>
                      <a:pt x="6059" y="17900"/>
                    </a:cubicBezTo>
                    <a:close/>
                  </a:path>
                </a:pathLst>
              </a:custGeom>
              <a:grpFill/>
              <a:ln w="5978" cap="flat">
                <a:noFill/>
                <a:prstDash val="solid"/>
                <a:miter/>
              </a:ln>
            </p:spPr>
            <p:txBody>
              <a:bodyPr rtlCol="0" anchor="ctr"/>
              <a:lstStyle/>
              <a:p>
                <a:endParaRPr lang="en-GB"/>
              </a:p>
            </p:txBody>
          </p:sp>
          <p:sp>
            <p:nvSpPr>
              <p:cNvPr id="4592" name="Vrije vorm: vorm 4591">
                <a:extLst>
                  <a:ext uri="{FF2B5EF4-FFF2-40B4-BE49-F238E27FC236}">
                    <a16:creationId xmlns:a16="http://schemas.microsoft.com/office/drawing/2014/main" id="{3ED724F5-FF4B-4C1A-B2BF-51BB44AA3FFE}"/>
                  </a:ext>
                </a:extLst>
              </p:cNvPr>
              <p:cNvSpPr/>
              <p:nvPr/>
            </p:nvSpPr>
            <p:spPr>
              <a:xfrm>
                <a:off x="8127091" y="4025406"/>
                <a:ext cx="18324" cy="18457"/>
              </a:xfrm>
              <a:custGeom>
                <a:avLst/>
                <a:gdLst>
                  <a:gd name="connsiteX0" fmla="*/ 6052 w 18324"/>
                  <a:gd name="connsiteY0" fmla="*/ 17901 h 18457"/>
                  <a:gd name="connsiteX1" fmla="*/ 17775 w 18324"/>
                  <a:gd name="connsiteY1" fmla="*/ 12398 h 18457"/>
                  <a:gd name="connsiteX2" fmla="*/ 12272 w 18324"/>
                  <a:gd name="connsiteY2" fmla="*/ 557 h 18457"/>
                  <a:gd name="connsiteX3" fmla="*/ 550 w 18324"/>
                  <a:gd name="connsiteY3" fmla="*/ 6059 h 18457"/>
                  <a:gd name="connsiteX4" fmla="*/ 6052 w 18324"/>
                  <a:gd name="connsiteY4" fmla="*/ 17901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7">
                    <a:moveTo>
                      <a:pt x="6052" y="17901"/>
                    </a:moveTo>
                    <a:cubicBezTo>
                      <a:pt x="10837" y="19635"/>
                      <a:pt x="16040" y="17183"/>
                      <a:pt x="17775" y="12398"/>
                    </a:cubicBezTo>
                    <a:cubicBezTo>
                      <a:pt x="19509" y="7614"/>
                      <a:pt x="16997" y="2351"/>
                      <a:pt x="12272" y="557"/>
                    </a:cubicBezTo>
                    <a:cubicBezTo>
                      <a:pt x="7488" y="-1178"/>
                      <a:pt x="2285" y="1274"/>
                      <a:pt x="550" y="6059"/>
                    </a:cubicBezTo>
                    <a:cubicBezTo>
                      <a:pt x="-1185" y="10843"/>
                      <a:pt x="1328" y="16166"/>
                      <a:pt x="6052" y="17901"/>
                    </a:cubicBezTo>
                    <a:close/>
                  </a:path>
                </a:pathLst>
              </a:custGeom>
              <a:grpFill/>
              <a:ln w="5978" cap="flat">
                <a:noFill/>
                <a:prstDash val="solid"/>
                <a:miter/>
              </a:ln>
            </p:spPr>
            <p:txBody>
              <a:bodyPr rtlCol="0" anchor="ctr"/>
              <a:lstStyle/>
              <a:p>
                <a:endParaRPr lang="en-GB"/>
              </a:p>
            </p:txBody>
          </p:sp>
        </p:grpSp>
        <p:grpSp>
          <p:nvGrpSpPr>
            <p:cNvPr id="264" name="Graphic 3">
              <a:extLst>
                <a:ext uri="{FF2B5EF4-FFF2-40B4-BE49-F238E27FC236}">
                  <a16:creationId xmlns:a16="http://schemas.microsoft.com/office/drawing/2014/main" id="{BB4B1F4C-4775-465B-BC53-FF9E785EF48F}"/>
                </a:ext>
              </a:extLst>
            </p:cNvPr>
            <p:cNvGrpSpPr/>
            <p:nvPr/>
          </p:nvGrpSpPr>
          <p:grpSpPr>
            <a:xfrm>
              <a:off x="7718518" y="3578493"/>
              <a:ext cx="69639" cy="23658"/>
              <a:chOff x="7718518" y="3578493"/>
              <a:chExt cx="69639" cy="23658"/>
            </a:xfrm>
            <a:grpFill/>
          </p:grpSpPr>
          <p:sp>
            <p:nvSpPr>
              <p:cNvPr id="4587" name="Vrije vorm: vorm 4586">
                <a:extLst>
                  <a:ext uri="{FF2B5EF4-FFF2-40B4-BE49-F238E27FC236}">
                    <a16:creationId xmlns:a16="http://schemas.microsoft.com/office/drawing/2014/main" id="{88459B85-7523-4F13-B674-66811E78A088}"/>
                  </a:ext>
                </a:extLst>
              </p:cNvPr>
              <p:cNvSpPr/>
              <p:nvPr/>
            </p:nvSpPr>
            <p:spPr>
              <a:xfrm>
                <a:off x="7727053" y="3586140"/>
                <a:ext cx="52510" cy="8372"/>
              </a:xfrm>
              <a:custGeom>
                <a:avLst/>
                <a:gdLst>
                  <a:gd name="connsiteX0" fmla="*/ 52510 w 52510"/>
                  <a:gd name="connsiteY0" fmla="*/ 5323 h 8372"/>
                  <a:gd name="connsiteX1" fmla="*/ 52212 w 52510"/>
                  <a:gd name="connsiteY1" fmla="*/ 8373 h 8372"/>
                  <a:gd name="connsiteX2" fmla="*/ 0 w 52510"/>
                  <a:gd name="connsiteY2" fmla="*/ 3050 h 8372"/>
                  <a:gd name="connsiteX3" fmla="*/ 299 w 52510"/>
                  <a:gd name="connsiteY3" fmla="*/ 0 h 8372"/>
                </a:gdLst>
                <a:ahLst/>
                <a:cxnLst>
                  <a:cxn ang="0">
                    <a:pos x="connsiteX0" y="connsiteY0"/>
                  </a:cxn>
                  <a:cxn ang="0">
                    <a:pos x="connsiteX1" y="connsiteY1"/>
                  </a:cxn>
                  <a:cxn ang="0">
                    <a:pos x="connsiteX2" y="connsiteY2"/>
                  </a:cxn>
                  <a:cxn ang="0">
                    <a:pos x="connsiteX3" y="connsiteY3"/>
                  </a:cxn>
                </a:cxnLst>
                <a:rect l="l" t="t" r="r" b="b"/>
                <a:pathLst>
                  <a:path w="52510" h="8372">
                    <a:moveTo>
                      <a:pt x="52510" y="5323"/>
                    </a:moveTo>
                    <a:lnTo>
                      <a:pt x="52212" y="8373"/>
                    </a:lnTo>
                    <a:lnTo>
                      <a:pt x="0" y="3050"/>
                    </a:lnTo>
                    <a:lnTo>
                      <a:pt x="299" y="0"/>
                    </a:lnTo>
                    <a:close/>
                  </a:path>
                </a:pathLst>
              </a:custGeom>
              <a:grpFill/>
              <a:ln w="5978" cap="flat">
                <a:noFill/>
                <a:prstDash val="solid"/>
                <a:miter/>
              </a:ln>
            </p:spPr>
            <p:txBody>
              <a:bodyPr rtlCol="0" anchor="ctr"/>
              <a:lstStyle/>
              <a:p>
                <a:endParaRPr lang="en-GB"/>
              </a:p>
            </p:txBody>
          </p:sp>
          <p:sp>
            <p:nvSpPr>
              <p:cNvPr id="4588" name="Vrije vorm: vorm 4587">
                <a:extLst>
                  <a:ext uri="{FF2B5EF4-FFF2-40B4-BE49-F238E27FC236}">
                    <a16:creationId xmlns:a16="http://schemas.microsoft.com/office/drawing/2014/main" id="{C8DE9C35-65D8-4556-A962-5F18FACC82AD}"/>
                  </a:ext>
                </a:extLst>
              </p:cNvPr>
              <p:cNvSpPr/>
              <p:nvPr/>
            </p:nvSpPr>
            <p:spPr>
              <a:xfrm>
                <a:off x="7769833" y="3583706"/>
                <a:ext cx="18324" cy="18445"/>
              </a:xfrm>
              <a:custGeom>
                <a:avLst/>
                <a:gdLst>
                  <a:gd name="connsiteX0" fmla="*/ 10030 w 18324"/>
                  <a:gd name="connsiteY0" fmla="*/ 42 h 18445"/>
                  <a:gd name="connsiteX1" fmla="*/ 18283 w 18324"/>
                  <a:gd name="connsiteY1" fmla="*/ 10150 h 18445"/>
                  <a:gd name="connsiteX2" fmla="*/ 8295 w 18324"/>
                  <a:gd name="connsiteY2" fmla="*/ 18403 h 18445"/>
                  <a:gd name="connsiteX3" fmla="*/ 42 w 18324"/>
                  <a:gd name="connsiteY3" fmla="*/ 8296 h 18445"/>
                  <a:gd name="connsiteX4" fmla="*/ 10030 w 18324"/>
                  <a:gd name="connsiteY4" fmla="*/ 42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5">
                    <a:moveTo>
                      <a:pt x="10030" y="42"/>
                    </a:moveTo>
                    <a:cubicBezTo>
                      <a:pt x="15053" y="580"/>
                      <a:pt x="18761" y="5066"/>
                      <a:pt x="18283" y="10150"/>
                    </a:cubicBezTo>
                    <a:cubicBezTo>
                      <a:pt x="17805" y="15233"/>
                      <a:pt x="13319" y="18881"/>
                      <a:pt x="8295" y="18403"/>
                    </a:cubicBezTo>
                    <a:cubicBezTo>
                      <a:pt x="3271" y="17865"/>
                      <a:pt x="-437" y="13379"/>
                      <a:pt x="42" y="8296"/>
                    </a:cubicBezTo>
                    <a:cubicBezTo>
                      <a:pt x="461" y="3212"/>
                      <a:pt x="4946" y="-436"/>
                      <a:pt x="10030" y="42"/>
                    </a:cubicBezTo>
                    <a:close/>
                  </a:path>
                </a:pathLst>
              </a:custGeom>
              <a:grpFill/>
              <a:ln w="5978" cap="flat">
                <a:noFill/>
                <a:prstDash val="solid"/>
                <a:miter/>
              </a:ln>
            </p:spPr>
            <p:txBody>
              <a:bodyPr rtlCol="0" anchor="ctr"/>
              <a:lstStyle/>
              <a:p>
                <a:endParaRPr lang="en-GB"/>
              </a:p>
            </p:txBody>
          </p:sp>
          <p:sp>
            <p:nvSpPr>
              <p:cNvPr id="4589" name="Vrije vorm: vorm 4588">
                <a:extLst>
                  <a:ext uri="{FF2B5EF4-FFF2-40B4-BE49-F238E27FC236}">
                    <a16:creationId xmlns:a16="http://schemas.microsoft.com/office/drawing/2014/main" id="{20349F1F-D6BB-4533-B99B-C453DF29FC8C}"/>
                  </a:ext>
                </a:extLst>
              </p:cNvPr>
              <p:cNvSpPr/>
              <p:nvPr/>
            </p:nvSpPr>
            <p:spPr>
              <a:xfrm>
                <a:off x="7718518" y="3578493"/>
                <a:ext cx="18325" cy="18464"/>
              </a:xfrm>
              <a:custGeom>
                <a:avLst/>
                <a:gdLst>
                  <a:gd name="connsiteX0" fmla="*/ 10030 w 18325"/>
                  <a:gd name="connsiteY0" fmla="*/ 52 h 18464"/>
                  <a:gd name="connsiteX1" fmla="*/ 42 w 18325"/>
                  <a:gd name="connsiteY1" fmla="*/ 8305 h 18464"/>
                  <a:gd name="connsiteX2" fmla="*/ 8296 w 18325"/>
                  <a:gd name="connsiteY2" fmla="*/ 18413 h 18464"/>
                  <a:gd name="connsiteX3" fmla="*/ 18284 w 18325"/>
                  <a:gd name="connsiteY3" fmla="*/ 10159 h 18464"/>
                  <a:gd name="connsiteX4" fmla="*/ 10030 w 18325"/>
                  <a:gd name="connsiteY4" fmla="*/ 5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4">
                    <a:moveTo>
                      <a:pt x="10030" y="52"/>
                    </a:moveTo>
                    <a:cubicBezTo>
                      <a:pt x="5006" y="-486"/>
                      <a:pt x="520" y="3222"/>
                      <a:pt x="42" y="8305"/>
                    </a:cubicBezTo>
                    <a:cubicBezTo>
                      <a:pt x="-436" y="13389"/>
                      <a:pt x="3212" y="17874"/>
                      <a:pt x="8296" y="18413"/>
                    </a:cubicBezTo>
                    <a:cubicBezTo>
                      <a:pt x="13319" y="18951"/>
                      <a:pt x="17805" y="15243"/>
                      <a:pt x="18284" y="10159"/>
                    </a:cubicBezTo>
                    <a:cubicBezTo>
                      <a:pt x="18762" y="5076"/>
                      <a:pt x="15054" y="530"/>
                      <a:pt x="10030" y="52"/>
                    </a:cubicBezTo>
                    <a:close/>
                  </a:path>
                </a:pathLst>
              </a:custGeom>
              <a:grpFill/>
              <a:ln w="5978" cap="flat">
                <a:noFill/>
                <a:prstDash val="solid"/>
                <a:miter/>
              </a:ln>
            </p:spPr>
            <p:txBody>
              <a:bodyPr rtlCol="0" anchor="ctr"/>
              <a:lstStyle/>
              <a:p>
                <a:endParaRPr lang="en-GB"/>
              </a:p>
            </p:txBody>
          </p:sp>
        </p:grpSp>
        <p:grpSp>
          <p:nvGrpSpPr>
            <p:cNvPr id="265" name="Graphic 3">
              <a:extLst>
                <a:ext uri="{FF2B5EF4-FFF2-40B4-BE49-F238E27FC236}">
                  <a16:creationId xmlns:a16="http://schemas.microsoft.com/office/drawing/2014/main" id="{F2440FB2-C912-45D8-9A94-5B66C808DDC9}"/>
                </a:ext>
              </a:extLst>
            </p:cNvPr>
            <p:cNvGrpSpPr/>
            <p:nvPr/>
          </p:nvGrpSpPr>
          <p:grpSpPr>
            <a:xfrm>
              <a:off x="7719844" y="3546995"/>
              <a:ext cx="68295" cy="22610"/>
              <a:chOff x="7719844" y="3546995"/>
              <a:chExt cx="68295" cy="22610"/>
            </a:xfrm>
            <a:grpFill/>
          </p:grpSpPr>
          <p:sp>
            <p:nvSpPr>
              <p:cNvPr id="4584" name="Vrije vorm: vorm 4583">
                <a:extLst>
                  <a:ext uri="{FF2B5EF4-FFF2-40B4-BE49-F238E27FC236}">
                    <a16:creationId xmlns:a16="http://schemas.microsoft.com/office/drawing/2014/main" id="{74C72550-9217-41C5-9D3D-731BD5C11BFC}"/>
                  </a:ext>
                </a:extLst>
              </p:cNvPr>
              <p:cNvSpPr/>
              <p:nvPr/>
            </p:nvSpPr>
            <p:spPr>
              <a:xfrm>
                <a:off x="7728488" y="3554682"/>
                <a:ext cx="51015" cy="7236"/>
              </a:xfrm>
              <a:custGeom>
                <a:avLst/>
                <a:gdLst>
                  <a:gd name="connsiteX0" fmla="*/ 51016 w 51015"/>
                  <a:gd name="connsiteY0" fmla="*/ 4187 h 7236"/>
                  <a:gd name="connsiteX1" fmla="*/ 50776 w 51015"/>
                  <a:gd name="connsiteY1" fmla="*/ 7237 h 7236"/>
                  <a:gd name="connsiteX2" fmla="*/ 0 w 51015"/>
                  <a:gd name="connsiteY2" fmla="*/ 3050 h 7236"/>
                  <a:gd name="connsiteX3" fmla="*/ 239 w 51015"/>
                  <a:gd name="connsiteY3" fmla="*/ 0 h 7236"/>
                </a:gdLst>
                <a:ahLst/>
                <a:cxnLst>
                  <a:cxn ang="0">
                    <a:pos x="connsiteX0" y="connsiteY0"/>
                  </a:cxn>
                  <a:cxn ang="0">
                    <a:pos x="connsiteX1" y="connsiteY1"/>
                  </a:cxn>
                  <a:cxn ang="0">
                    <a:pos x="connsiteX2" y="connsiteY2"/>
                  </a:cxn>
                  <a:cxn ang="0">
                    <a:pos x="connsiteX3" y="connsiteY3"/>
                  </a:cxn>
                </a:cxnLst>
                <a:rect l="l" t="t" r="r" b="b"/>
                <a:pathLst>
                  <a:path w="51015" h="7236">
                    <a:moveTo>
                      <a:pt x="51016" y="4187"/>
                    </a:moveTo>
                    <a:lnTo>
                      <a:pt x="50776" y="7237"/>
                    </a:lnTo>
                    <a:lnTo>
                      <a:pt x="0" y="3050"/>
                    </a:lnTo>
                    <a:lnTo>
                      <a:pt x="239" y="0"/>
                    </a:lnTo>
                    <a:close/>
                  </a:path>
                </a:pathLst>
              </a:custGeom>
              <a:grpFill/>
              <a:ln w="5978" cap="flat">
                <a:noFill/>
                <a:prstDash val="solid"/>
                <a:miter/>
              </a:ln>
            </p:spPr>
            <p:txBody>
              <a:bodyPr rtlCol="0" anchor="ctr"/>
              <a:lstStyle/>
              <a:p>
                <a:endParaRPr lang="en-GB"/>
              </a:p>
            </p:txBody>
          </p:sp>
          <p:sp>
            <p:nvSpPr>
              <p:cNvPr id="4585" name="Vrije vorm: vorm 4584">
                <a:extLst>
                  <a:ext uri="{FF2B5EF4-FFF2-40B4-BE49-F238E27FC236}">
                    <a16:creationId xmlns:a16="http://schemas.microsoft.com/office/drawing/2014/main" id="{ED7A5840-8E59-493A-AC7C-F583813BA41B}"/>
                  </a:ext>
                </a:extLst>
              </p:cNvPr>
              <p:cNvSpPr/>
              <p:nvPr/>
            </p:nvSpPr>
            <p:spPr>
              <a:xfrm>
                <a:off x="7769791" y="3551181"/>
                <a:ext cx="18348" cy="18424"/>
              </a:xfrm>
              <a:custGeom>
                <a:avLst/>
                <a:gdLst>
                  <a:gd name="connsiteX0" fmla="*/ 9892 w 18348"/>
                  <a:gd name="connsiteY0" fmla="*/ 32 h 18424"/>
                  <a:gd name="connsiteX1" fmla="*/ 18325 w 18348"/>
                  <a:gd name="connsiteY1" fmla="*/ 9960 h 18424"/>
                  <a:gd name="connsiteX2" fmla="*/ 8457 w 18348"/>
                  <a:gd name="connsiteY2" fmla="*/ 18393 h 18424"/>
                  <a:gd name="connsiteX3" fmla="*/ 24 w 18348"/>
                  <a:gd name="connsiteY3" fmla="*/ 8465 h 18424"/>
                  <a:gd name="connsiteX4" fmla="*/ 9892 w 18348"/>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4">
                    <a:moveTo>
                      <a:pt x="9892" y="32"/>
                    </a:moveTo>
                    <a:cubicBezTo>
                      <a:pt x="14916" y="450"/>
                      <a:pt x="18684" y="4876"/>
                      <a:pt x="18325" y="9960"/>
                    </a:cubicBezTo>
                    <a:cubicBezTo>
                      <a:pt x="17907" y="15043"/>
                      <a:pt x="13540" y="18811"/>
                      <a:pt x="8457" y="18393"/>
                    </a:cubicBezTo>
                    <a:cubicBezTo>
                      <a:pt x="3433" y="17974"/>
                      <a:pt x="-335" y="13548"/>
                      <a:pt x="24" y="8465"/>
                    </a:cubicBezTo>
                    <a:cubicBezTo>
                      <a:pt x="383" y="3381"/>
                      <a:pt x="4808" y="-387"/>
                      <a:pt x="9892" y="32"/>
                    </a:cubicBezTo>
                    <a:close/>
                  </a:path>
                </a:pathLst>
              </a:custGeom>
              <a:grpFill/>
              <a:ln w="5978" cap="flat">
                <a:noFill/>
                <a:prstDash val="solid"/>
                <a:miter/>
              </a:ln>
            </p:spPr>
            <p:txBody>
              <a:bodyPr rtlCol="0" anchor="ctr"/>
              <a:lstStyle/>
              <a:p>
                <a:endParaRPr lang="en-GB"/>
              </a:p>
            </p:txBody>
          </p:sp>
          <p:sp>
            <p:nvSpPr>
              <p:cNvPr id="4586" name="Vrije vorm: vorm 4585">
                <a:extLst>
                  <a:ext uri="{FF2B5EF4-FFF2-40B4-BE49-F238E27FC236}">
                    <a16:creationId xmlns:a16="http://schemas.microsoft.com/office/drawing/2014/main" id="{AAFDC974-C129-4087-8DEE-910C54DD6193}"/>
                  </a:ext>
                </a:extLst>
              </p:cNvPr>
              <p:cNvSpPr/>
              <p:nvPr/>
            </p:nvSpPr>
            <p:spPr>
              <a:xfrm>
                <a:off x="7719844" y="3546995"/>
                <a:ext cx="18364" cy="18424"/>
              </a:xfrm>
              <a:custGeom>
                <a:avLst/>
                <a:gdLst>
                  <a:gd name="connsiteX0" fmla="*/ 9900 w 18364"/>
                  <a:gd name="connsiteY0" fmla="*/ 32 h 18424"/>
                  <a:gd name="connsiteX1" fmla="*/ 32 w 18364"/>
                  <a:gd name="connsiteY1" fmla="*/ 8465 h 18424"/>
                  <a:gd name="connsiteX2" fmla="*/ 8465 w 18364"/>
                  <a:gd name="connsiteY2" fmla="*/ 18393 h 18424"/>
                  <a:gd name="connsiteX3" fmla="*/ 18333 w 18364"/>
                  <a:gd name="connsiteY3" fmla="*/ 9960 h 18424"/>
                  <a:gd name="connsiteX4" fmla="*/ 9900 w 18364"/>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9900" y="32"/>
                    </a:moveTo>
                    <a:cubicBezTo>
                      <a:pt x="4876" y="-387"/>
                      <a:pt x="451" y="3381"/>
                      <a:pt x="32" y="8465"/>
                    </a:cubicBezTo>
                    <a:cubicBezTo>
                      <a:pt x="-387" y="13548"/>
                      <a:pt x="3381" y="17974"/>
                      <a:pt x="8465" y="18393"/>
                    </a:cubicBezTo>
                    <a:cubicBezTo>
                      <a:pt x="13488" y="18811"/>
                      <a:pt x="17914" y="15043"/>
                      <a:pt x="18333" y="9960"/>
                    </a:cubicBezTo>
                    <a:cubicBezTo>
                      <a:pt x="18751" y="4936"/>
                      <a:pt x="14924" y="450"/>
                      <a:pt x="9900" y="32"/>
                    </a:cubicBezTo>
                    <a:close/>
                  </a:path>
                </a:pathLst>
              </a:custGeom>
              <a:grpFill/>
              <a:ln w="5978" cap="flat">
                <a:noFill/>
                <a:prstDash val="solid"/>
                <a:miter/>
              </a:ln>
            </p:spPr>
            <p:txBody>
              <a:bodyPr rtlCol="0" anchor="ctr"/>
              <a:lstStyle/>
              <a:p>
                <a:endParaRPr lang="en-GB"/>
              </a:p>
            </p:txBody>
          </p:sp>
        </p:grpSp>
        <p:grpSp>
          <p:nvGrpSpPr>
            <p:cNvPr id="266" name="Graphic 3">
              <a:extLst>
                <a:ext uri="{FF2B5EF4-FFF2-40B4-BE49-F238E27FC236}">
                  <a16:creationId xmlns:a16="http://schemas.microsoft.com/office/drawing/2014/main" id="{4EDFEEF1-E830-4607-84CD-E7677BC4C99B}"/>
                </a:ext>
              </a:extLst>
            </p:cNvPr>
            <p:cNvGrpSpPr/>
            <p:nvPr/>
          </p:nvGrpSpPr>
          <p:grpSpPr>
            <a:xfrm>
              <a:off x="7696463" y="3735445"/>
              <a:ext cx="276790" cy="104633"/>
              <a:chOff x="7696463" y="3735445"/>
              <a:chExt cx="276790" cy="104633"/>
            </a:xfrm>
            <a:grpFill/>
          </p:grpSpPr>
          <p:sp>
            <p:nvSpPr>
              <p:cNvPr id="4581" name="Vrije vorm: vorm 4580">
                <a:extLst>
                  <a:ext uri="{FF2B5EF4-FFF2-40B4-BE49-F238E27FC236}">
                    <a16:creationId xmlns:a16="http://schemas.microsoft.com/office/drawing/2014/main" id="{E00EB2D2-7563-4F4E-A05E-155985E1E491}"/>
                  </a:ext>
                </a:extLst>
              </p:cNvPr>
              <p:cNvSpPr/>
              <p:nvPr/>
            </p:nvSpPr>
            <p:spPr>
              <a:xfrm>
                <a:off x="7704745" y="3743075"/>
                <a:ext cx="260280" cy="89352"/>
              </a:xfrm>
              <a:custGeom>
                <a:avLst/>
                <a:gdLst>
                  <a:gd name="connsiteX0" fmla="*/ 260280 w 260280"/>
                  <a:gd name="connsiteY0" fmla="*/ 86481 h 89352"/>
                  <a:gd name="connsiteX1" fmla="*/ 259324 w 260280"/>
                  <a:gd name="connsiteY1" fmla="*/ 89352 h 89352"/>
                  <a:gd name="connsiteX2" fmla="*/ 0 w 260280"/>
                  <a:gd name="connsiteY2" fmla="*/ 2931 h 89352"/>
                  <a:gd name="connsiteX3" fmla="*/ 956 w 260280"/>
                  <a:gd name="connsiteY3" fmla="*/ 0 h 89352"/>
                </a:gdLst>
                <a:ahLst/>
                <a:cxnLst>
                  <a:cxn ang="0">
                    <a:pos x="connsiteX0" y="connsiteY0"/>
                  </a:cxn>
                  <a:cxn ang="0">
                    <a:pos x="connsiteX1" y="connsiteY1"/>
                  </a:cxn>
                  <a:cxn ang="0">
                    <a:pos x="connsiteX2" y="connsiteY2"/>
                  </a:cxn>
                  <a:cxn ang="0">
                    <a:pos x="connsiteX3" y="connsiteY3"/>
                  </a:cxn>
                </a:cxnLst>
                <a:rect l="l" t="t" r="r" b="b"/>
                <a:pathLst>
                  <a:path w="260280" h="89352">
                    <a:moveTo>
                      <a:pt x="260280" y="86481"/>
                    </a:moveTo>
                    <a:lnTo>
                      <a:pt x="259324" y="89352"/>
                    </a:lnTo>
                    <a:lnTo>
                      <a:pt x="0" y="2931"/>
                    </a:lnTo>
                    <a:lnTo>
                      <a:pt x="956" y="0"/>
                    </a:lnTo>
                    <a:close/>
                  </a:path>
                </a:pathLst>
              </a:custGeom>
              <a:grpFill/>
              <a:ln w="5978" cap="flat">
                <a:noFill/>
                <a:prstDash val="solid"/>
                <a:miter/>
              </a:ln>
            </p:spPr>
            <p:txBody>
              <a:bodyPr rtlCol="0" anchor="ctr"/>
              <a:lstStyle/>
              <a:p>
                <a:endParaRPr lang="en-GB"/>
              </a:p>
            </p:txBody>
          </p:sp>
          <p:sp>
            <p:nvSpPr>
              <p:cNvPr id="4582" name="Vrije vorm: vorm 4581">
                <a:extLst>
                  <a:ext uri="{FF2B5EF4-FFF2-40B4-BE49-F238E27FC236}">
                    <a16:creationId xmlns:a16="http://schemas.microsoft.com/office/drawing/2014/main" id="{13AC1638-626C-48FD-B419-EB340D6B375F}"/>
                  </a:ext>
                </a:extLst>
              </p:cNvPr>
              <p:cNvSpPr/>
              <p:nvPr/>
            </p:nvSpPr>
            <p:spPr>
              <a:xfrm>
                <a:off x="7696463" y="3735445"/>
                <a:ext cx="18298" cy="18451"/>
              </a:xfrm>
              <a:custGeom>
                <a:avLst/>
                <a:gdLst>
                  <a:gd name="connsiteX0" fmla="*/ 6308 w 18298"/>
                  <a:gd name="connsiteY0" fmla="*/ 17976 h 18451"/>
                  <a:gd name="connsiteX1" fmla="*/ 447 w 18298"/>
                  <a:gd name="connsiteY1" fmla="*/ 6314 h 18451"/>
                  <a:gd name="connsiteX2" fmla="*/ 11990 w 18298"/>
                  <a:gd name="connsiteY2" fmla="*/ 453 h 18451"/>
                  <a:gd name="connsiteX3" fmla="*/ 17851 w 18298"/>
                  <a:gd name="connsiteY3" fmla="*/ 12115 h 18451"/>
                  <a:gd name="connsiteX4" fmla="*/ 6308 w 18298"/>
                  <a:gd name="connsiteY4" fmla="*/ 17976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1">
                    <a:moveTo>
                      <a:pt x="6308" y="17976"/>
                    </a:moveTo>
                    <a:cubicBezTo>
                      <a:pt x="1524" y="16361"/>
                      <a:pt x="-1108" y="11158"/>
                      <a:pt x="447" y="6314"/>
                    </a:cubicBezTo>
                    <a:cubicBezTo>
                      <a:pt x="2002" y="1469"/>
                      <a:pt x="7205" y="-1102"/>
                      <a:pt x="11990" y="453"/>
                    </a:cubicBezTo>
                    <a:cubicBezTo>
                      <a:pt x="16774" y="2067"/>
                      <a:pt x="19406" y="7271"/>
                      <a:pt x="17851" y="12115"/>
                    </a:cubicBezTo>
                    <a:cubicBezTo>
                      <a:pt x="16296" y="16959"/>
                      <a:pt x="11153" y="19591"/>
                      <a:pt x="6308" y="17976"/>
                    </a:cubicBezTo>
                    <a:close/>
                  </a:path>
                </a:pathLst>
              </a:custGeom>
              <a:grpFill/>
              <a:ln w="5978" cap="flat">
                <a:noFill/>
                <a:prstDash val="solid"/>
                <a:miter/>
              </a:ln>
            </p:spPr>
            <p:txBody>
              <a:bodyPr rtlCol="0" anchor="ctr"/>
              <a:lstStyle/>
              <a:p>
                <a:endParaRPr lang="en-GB"/>
              </a:p>
            </p:txBody>
          </p:sp>
          <p:sp>
            <p:nvSpPr>
              <p:cNvPr id="4583" name="Vrije vorm: vorm 4582">
                <a:extLst>
                  <a:ext uri="{FF2B5EF4-FFF2-40B4-BE49-F238E27FC236}">
                    <a16:creationId xmlns:a16="http://schemas.microsoft.com/office/drawing/2014/main" id="{91A03A8F-0A92-49A2-BF2F-82168A7FE5FA}"/>
                  </a:ext>
                </a:extLst>
              </p:cNvPr>
              <p:cNvSpPr/>
              <p:nvPr/>
            </p:nvSpPr>
            <p:spPr>
              <a:xfrm>
                <a:off x="7954949" y="3821604"/>
                <a:ext cx="18303" cy="18474"/>
              </a:xfrm>
              <a:custGeom>
                <a:avLst/>
                <a:gdLst>
                  <a:gd name="connsiteX0" fmla="*/ 6308 w 18303"/>
                  <a:gd name="connsiteY0" fmla="*/ 17999 h 18474"/>
                  <a:gd name="connsiteX1" fmla="*/ 17851 w 18303"/>
                  <a:gd name="connsiteY1" fmla="*/ 12138 h 18474"/>
                  <a:gd name="connsiteX2" fmla="*/ 11990 w 18303"/>
                  <a:gd name="connsiteY2" fmla="*/ 475 h 18474"/>
                  <a:gd name="connsiteX3" fmla="*/ 447 w 18303"/>
                  <a:gd name="connsiteY3" fmla="*/ 6337 h 18474"/>
                  <a:gd name="connsiteX4" fmla="*/ 6308 w 18303"/>
                  <a:gd name="connsiteY4" fmla="*/ 17999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74">
                    <a:moveTo>
                      <a:pt x="6308" y="17999"/>
                    </a:moveTo>
                    <a:cubicBezTo>
                      <a:pt x="11093" y="19614"/>
                      <a:pt x="16296" y="16982"/>
                      <a:pt x="17851" y="12138"/>
                    </a:cubicBezTo>
                    <a:cubicBezTo>
                      <a:pt x="19406" y="7294"/>
                      <a:pt x="16834" y="2090"/>
                      <a:pt x="11990" y="475"/>
                    </a:cubicBezTo>
                    <a:cubicBezTo>
                      <a:pt x="7205" y="-1139"/>
                      <a:pt x="2002" y="1492"/>
                      <a:pt x="447" y="6337"/>
                    </a:cubicBezTo>
                    <a:cubicBezTo>
                      <a:pt x="-1108" y="11181"/>
                      <a:pt x="1524" y="16384"/>
                      <a:pt x="6308" y="17999"/>
                    </a:cubicBezTo>
                    <a:close/>
                  </a:path>
                </a:pathLst>
              </a:custGeom>
              <a:grpFill/>
              <a:ln w="5978" cap="flat">
                <a:noFill/>
                <a:prstDash val="solid"/>
                <a:miter/>
              </a:ln>
            </p:spPr>
            <p:txBody>
              <a:bodyPr rtlCol="0" anchor="ctr"/>
              <a:lstStyle/>
              <a:p>
                <a:endParaRPr lang="en-GB"/>
              </a:p>
            </p:txBody>
          </p:sp>
        </p:grpSp>
        <p:grpSp>
          <p:nvGrpSpPr>
            <p:cNvPr id="267" name="Graphic 3">
              <a:extLst>
                <a:ext uri="{FF2B5EF4-FFF2-40B4-BE49-F238E27FC236}">
                  <a16:creationId xmlns:a16="http://schemas.microsoft.com/office/drawing/2014/main" id="{879B1E09-13A0-45C3-80DD-C2AC6C63E5A2}"/>
                </a:ext>
              </a:extLst>
            </p:cNvPr>
            <p:cNvGrpSpPr/>
            <p:nvPr/>
          </p:nvGrpSpPr>
          <p:grpSpPr>
            <a:xfrm>
              <a:off x="6979996" y="1419485"/>
              <a:ext cx="247763" cy="410496"/>
              <a:chOff x="6979996" y="1419485"/>
              <a:chExt cx="247763" cy="410496"/>
            </a:xfrm>
            <a:grpFill/>
          </p:grpSpPr>
          <p:sp>
            <p:nvSpPr>
              <p:cNvPr id="4578" name="Vrije vorm: vorm 4577">
                <a:extLst>
                  <a:ext uri="{FF2B5EF4-FFF2-40B4-BE49-F238E27FC236}">
                    <a16:creationId xmlns:a16="http://schemas.microsoft.com/office/drawing/2014/main" id="{5AF6E95E-C9C1-47A4-B523-53E345623220}"/>
                  </a:ext>
                </a:extLst>
              </p:cNvPr>
              <p:cNvSpPr/>
              <p:nvPr/>
            </p:nvSpPr>
            <p:spPr>
              <a:xfrm>
                <a:off x="6987656" y="1427519"/>
                <a:ext cx="232470" cy="394428"/>
              </a:xfrm>
              <a:custGeom>
                <a:avLst/>
                <a:gdLst>
                  <a:gd name="connsiteX0" fmla="*/ 232471 w 232470"/>
                  <a:gd name="connsiteY0" fmla="*/ 1555 h 394428"/>
                  <a:gd name="connsiteX1" fmla="*/ 2571 w 232470"/>
                  <a:gd name="connsiteY1" fmla="*/ 394429 h 394428"/>
                  <a:gd name="connsiteX2" fmla="*/ 0 w 232470"/>
                  <a:gd name="connsiteY2" fmla="*/ 392874 h 394428"/>
                  <a:gd name="connsiteX3" fmla="*/ 229899 w 232470"/>
                  <a:gd name="connsiteY3" fmla="*/ 0 h 394428"/>
                </a:gdLst>
                <a:ahLst/>
                <a:cxnLst>
                  <a:cxn ang="0">
                    <a:pos x="connsiteX0" y="connsiteY0"/>
                  </a:cxn>
                  <a:cxn ang="0">
                    <a:pos x="connsiteX1" y="connsiteY1"/>
                  </a:cxn>
                  <a:cxn ang="0">
                    <a:pos x="connsiteX2" y="connsiteY2"/>
                  </a:cxn>
                  <a:cxn ang="0">
                    <a:pos x="connsiteX3" y="connsiteY3"/>
                  </a:cxn>
                </a:cxnLst>
                <a:rect l="l" t="t" r="r" b="b"/>
                <a:pathLst>
                  <a:path w="232470" h="394428">
                    <a:moveTo>
                      <a:pt x="232471" y="1555"/>
                    </a:moveTo>
                    <a:lnTo>
                      <a:pt x="2571" y="394429"/>
                    </a:lnTo>
                    <a:lnTo>
                      <a:pt x="0" y="392874"/>
                    </a:lnTo>
                    <a:lnTo>
                      <a:pt x="229899" y="0"/>
                    </a:lnTo>
                    <a:close/>
                  </a:path>
                </a:pathLst>
              </a:custGeom>
              <a:grpFill/>
              <a:ln w="5978" cap="flat">
                <a:noFill/>
                <a:prstDash val="solid"/>
                <a:miter/>
              </a:ln>
            </p:spPr>
            <p:txBody>
              <a:bodyPr rtlCol="0" anchor="ctr"/>
              <a:lstStyle/>
              <a:p>
                <a:endParaRPr lang="en-GB"/>
              </a:p>
            </p:txBody>
          </p:sp>
          <p:sp>
            <p:nvSpPr>
              <p:cNvPr id="4579" name="Vrije vorm: vorm 4578">
                <a:extLst>
                  <a:ext uri="{FF2B5EF4-FFF2-40B4-BE49-F238E27FC236}">
                    <a16:creationId xmlns:a16="http://schemas.microsoft.com/office/drawing/2014/main" id="{A2B1CE47-E63D-46DB-894A-9CCC8151188B}"/>
                  </a:ext>
                </a:extLst>
              </p:cNvPr>
              <p:cNvSpPr/>
              <p:nvPr/>
            </p:nvSpPr>
            <p:spPr>
              <a:xfrm>
                <a:off x="7209443" y="1419485"/>
                <a:ext cx="18316" cy="18400"/>
              </a:xfrm>
              <a:custGeom>
                <a:avLst/>
                <a:gdLst>
                  <a:gd name="connsiteX0" fmla="*/ 1234 w 18316"/>
                  <a:gd name="connsiteY0" fmla="*/ 4506 h 18400"/>
                  <a:gd name="connsiteX1" fmla="*/ 13794 w 18316"/>
                  <a:gd name="connsiteY1" fmla="*/ 1276 h 18400"/>
                  <a:gd name="connsiteX2" fmla="*/ 17083 w 18316"/>
                  <a:gd name="connsiteY2" fmla="*/ 13895 h 18400"/>
                  <a:gd name="connsiteX3" fmla="*/ 4523 w 18316"/>
                  <a:gd name="connsiteY3" fmla="*/ 17125 h 18400"/>
                  <a:gd name="connsiteX4" fmla="*/ 1234 w 18316"/>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0">
                    <a:moveTo>
                      <a:pt x="1234" y="4506"/>
                    </a:moveTo>
                    <a:cubicBezTo>
                      <a:pt x="3806" y="140"/>
                      <a:pt x="9427" y="-1296"/>
                      <a:pt x="13794" y="1276"/>
                    </a:cubicBezTo>
                    <a:cubicBezTo>
                      <a:pt x="18159" y="3848"/>
                      <a:pt x="19595" y="9529"/>
                      <a:pt x="17083" y="13895"/>
                    </a:cubicBezTo>
                    <a:cubicBezTo>
                      <a:pt x="14511" y="18261"/>
                      <a:pt x="8889" y="19697"/>
                      <a:pt x="4523" y="17125"/>
                    </a:cubicBezTo>
                    <a:cubicBezTo>
                      <a:pt x="157" y="14553"/>
                      <a:pt x="-1278" y="8871"/>
                      <a:pt x="1234" y="4506"/>
                    </a:cubicBezTo>
                    <a:close/>
                  </a:path>
                </a:pathLst>
              </a:custGeom>
              <a:grpFill/>
              <a:ln w="5978" cap="flat">
                <a:noFill/>
                <a:prstDash val="solid"/>
                <a:miter/>
              </a:ln>
            </p:spPr>
            <p:txBody>
              <a:bodyPr rtlCol="0" anchor="ctr"/>
              <a:lstStyle/>
              <a:p>
                <a:endParaRPr lang="en-GB"/>
              </a:p>
            </p:txBody>
          </p:sp>
          <p:sp>
            <p:nvSpPr>
              <p:cNvPr id="4580" name="Vrije vorm: vorm 4579">
                <a:extLst>
                  <a:ext uri="{FF2B5EF4-FFF2-40B4-BE49-F238E27FC236}">
                    <a16:creationId xmlns:a16="http://schemas.microsoft.com/office/drawing/2014/main" id="{6B62DF1B-AAAB-45B0-B6B3-168D8504C83B}"/>
                  </a:ext>
                </a:extLst>
              </p:cNvPr>
              <p:cNvSpPr/>
              <p:nvPr/>
            </p:nvSpPr>
            <p:spPr>
              <a:xfrm>
                <a:off x="6979996" y="1811581"/>
                <a:ext cx="18369" cy="18400"/>
              </a:xfrm>
              <a:custGeom>
                <a:avLst/>
                <a:gdLst>
                  <a:gd name="connsiteX0" fmla="*/ 1260 w 18369"/>
                  <a:gd name="connsiteY0" fmla="*/ 4506 h 18400"/>
                  <a:gd name="connsiteX1" fmla="*/ 4550 w 18369"/>
                  <a:gd name="connsiteY1" fmla="*/ 17125 h 18400"/>
                  <a:gd name="connsiteX2" fmla="*/ 17109 w 18369"/>
                  <a:gd name="connsiteY2" fmla="*/ 13895 h 18400"/>
                  <a:gd name="connsiteX3" fmla="*/ 13819 w 18369"/>
                  <a:gd name="connsiteY3" fmla="*/ 1276 h 18400"/>
                  <a:gd name="connsiteX4" fmla="*/ 1260 w 18369"/>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260" y="4506"/>
                    </a:moveTo>
                    <a:cubicBezTo>
                      <a:pt x="-1311" y="8872"/>
                      <a:pt x="184" y="14553"/>
                      <a:pt x="4550" y="17125"/>
                    </a:cubicBezTo>
                    <a:cubicBezTo>
                      <a:pt x="8916" y="19697"/>
                      <a:pt x="14538" y="18261"/>
                      <a:pt x="17109" y="13895"/>
                    </a:cubicBezTo>
                    <a:cubicBezTo>
                      <a:pt x="19681" y="9529"/>
                      <a:pt x="18186" y="3848"/>
                      <a:pt x="13819" y="1276"/>
                    </a:cubicBezTo>
                    <a:cubicBezTo>
                      <a:pt x="9454" y="-1296"/>
                      <a:pt x="3832" y="140"/>
                      <a:pt x="1260" y="4506"/>
                    </a:cubicBezTo>
                    <a:close/>
                  </a:path>
                </a:pathLst>
              </a:custGeom>
              <a:grpFill/>
              <a:ln w="5978" cap="flat">
                <a:noFill/>
                <a:prstDash val="solid"/>
                <a:miter/>
              </a:ln>
            </p:spPr>
            <p:txBody>
              <a:bodyPr rtlCol="0" anchor="ctr"/>
              <a:lstStyle/>
              <a:p>
                <a:endParaRPr lang="en-GB"/>
              </a:p>
            </p:txBody>
          </p:sp>
        </p:grpSp>
        <p:grpSp>
          <p:nvGrpSpPr>
            <p:cNvPr id="268" name="Graphic 3">
              <a:extLst>
                <a:ext uri="{FF2B5EF4-FFF2-40B4-BE49-F238E27FC236}">
                  <a16:creationId xmlns:a16="http://schemas.microsoft.com/office/drawing/2014/main" id="{E26DC650-F85E-4DE0-B27F-78DA91DF19EF}"/>
                </a:ext>
              </a:extLst>
            </p:cNvPr>
            <p:cNvGrpSpPr/>
            <p:nvPr/>
          </p:nvGrpSpPr>
          <p:grpSpPr>
            <a:xfrm>
              <a:off x="7710615" y="3672810"/>
              <a:ext cx="129702" cy="36105"/>
              <a:chOff x="7710615" y="3672810"/>
              <a:chExt cx="129702" cy="36105"/>
            </a:xfrm>
            <a:grpFill/>
          </p:grpSpPr>
          <p:sp>
            <p:nvSpPr>
              <p:cNvPr id="4575" name="Vrije vorm: vorm 4574">
                <a:extLst>
                  <a:ext uri="{FF2B5EF4-FFF2-40B4-BE49-F238E27FC236}">
                    <a16:creationId xmlns:a16="http://schemas.microsoft.com/office/drawing/2014/main" id="{33664E67-26F7-448F-884D-8CB8586115C6}"/>
                  </a:ext>
                </a:extLst>
              </p:cNvPr>
              <p:cNvSpPr/>
              <p:nvPr/>
            </p:nvSpPr>
            <p:spPr>
              <a:xfrm>
                <a:off x="7719098" y="3680397"/>
                <a:ext cx="112737" cy="20932"/>
              </a:xfrm>
              <a:custGeom>
                <a:avLst/>
                <a:gdLst>
                  <a:gd name="connsiteX0" fmla="*/ 112737 w 112737"/>
                  <a:gd name="connsiteY0" fmla="*/ 17882 h 20932"/>
                  <a:gd name="connsiteX1" fmla="*/ 112258 w 112737"/>
                  <a:gd name="connsiteY1" fmla="*/ 20933 h 20932"/>
                  <a:gd name="connsiteX2" fmla="*/ 0 w 112737"/>
                  <a:gd name="connsiteY2" fmla="*/ 3050 h 20932"/>
                  <a:gd name="connsiteX3" fmla="*/ 479 w 112737"/>
                  <a:gd name="connsiteY3" fmla="*/ 0 h 20932"/>
                </a:gdLst>
                <a:ahLst/>
                <a:cxnLst>
                  <a:cxn ang="0">
                    <a:pos x="connsiteX0" y="connsiteY0"/>
                  </a:cxn>
                  <a:cxn ang="0">
                    <a:pos x="connsiteX1" y="connsiteY1"/>
                  </a:cxn>
                  <a:cxn ang="0">
                    <a:pos x="connsiteX2" y="connsiteY2"/>
                  </a:cxn>
                  <a:cxn ang="0">
                    <a:pos x="connsiteX3" y="connsiteY3"/>
                  </a:cxn>
                </a:cxnLst>
                <a:rect l="l" t="t" r="r" b="b"/>
                <a:pathLst>
                  <a:path w="112737" h="20932">
                    <a:moveTo>
                      <a:pt x="112737" y="17882"/>
                    </a:moveTo>
                    <a:lnTo>
                      <a:pt x="112258" y="20933"/>
                    </a:lnTo>
                    <a:lnTo>
                      <a:pt x="0" y="3050"/>
                    </a:lnTo>
                    <a:lnTo>
                      <a:pt x="479" y="0"/>
                    </a:lnTo>
                    <a:close/>
                  </a:path>
                </a:pathLst>
              </a:custGeom>
              <a:grpFill/>
              <a:ln w="5978" cap="flat">
                <a:noFill/>
                <a:prstDash val="solid"/>
                <a:miter/>
              </a:ln>
            </p:spPr>
            <p:txBody>
              <a:bodyPr rtlCol="0" anchor="ctr"/>
              <a:lstStyle/>
              <a:p>
                <a:endParaRPr lang="en-GB"/>
              </a:p>
            </p:txBody>
          </p:sp>
          <p:sp>
            <p:nvSpPr>
              <p:cNvPr id="4576" name="Vrije vorm: vorm 4575">
                <a:extLst>
                  <a:ext uri="{FF2B5EF4-FFF2-40B4-BE49-F238E27FC236}">
                    <a16:creationId xmlns:a16="http://schemas.microsoft.com/office/drawing/2014/main" id="{7909699D-4052-4B25-91F3-6CF8EF6E6795}"/>
                  </a:ext>
                </a:extLst>
              </p:cNvPr>
              <p:cNvSpPr/>
              <p:nvPr/>
            </p:nvSpPr>
            <p:spPr>
              <a:xfrm>
                <a:off x="7821976" y="3690513"/>
                <a:ext cx="18341" cy="18402"/>
              </a:xfrm>
              <a:custGeom>
                <a:avLst/>
                <a:gdLst>
                  <a:gd name="connsiteX0" fmla="*/ 10577 w 18341"/>
                  <a:gd name="connsiteY0" fmla="*/ 110 h 18402"/>
                  <a:gd name="connsiteX1" fmla="*/ 18231 w 18341"/>
                  <a:gd name="connsiteY1" fmla="*/ 10637 h 18402"/>
                  <a:gd name="connsiteX2" fmla="*/ 7765 w 18341"/>
                  <a:gd name="connsiteY2" fmla="*/ 18292 h 18402"/>
                  <a:gd name="connsiteX3" fmla="*/ 110 w 18341"/>
                  <a:gd name="connsiteY3" fmla="*/ 7766 h 18402"/>
                  <a:gd name="connsiteX4" fmla="*/ 10577 w 18341"/>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2">
                    <a:moveTo>
                      <a:pt x="10577" y="110"/>
                    </a:moveTo>
                    <a:cubicBezTo>
                      <a:pt x="15600" y="888"/>
                      <a:pt x="19009" y="5613"/>
                      <a:pt x="18231" y="10637"/>
                    </a:cubicBezTo>
                    <a:cubicBezTo>
                      <a:pt x="17454" y="15660"/>
                      <a:pt x="12790" y="19069"/>
                      <a:pt x="7765" y="18292"/>
                    </a:cubicBezTo>
                    <a:cubicBezTo>
                      <a:pt x="2742" y="17514"/>
                      <a:pt x="-667" y="12790"/>
                      <a:pt x="110" y="7766"/>
                    </a:cubicBezTo>
                    <a:cubicBezTo>
                      <a:pt x="888" y="2742"/>
                      <a:pt x="5552" y="-667"/>
                      <a:pt x="10577" y="110"/>
                    </a:cubicBezTo>
                    <a:close/>
                  </a:path>
                </a:pathLst>
              </a:custGeom>
              <a:grpFill/>
              <a:ln w="5978" cap="flat">
                <a:noFill/>
                <a:prstDash val="solid"/>
                <a:miter/>
              </a:ln>
            </p:spPr>
            <p:txBody>
              <a:bodyPr rtlCol="0" anchor="ctr"/>
              <a:lstStyle/>
              <a:p>
                <a:endParaRPr lang="en-GB"/>
              </a:p>
            </p:txBody>
          </p:sp>
          <p:sp>
            <p:nvSpPr>
              <p:cNvPr id="4577" name="Vrije vorm: vorm 4576">
                <a:extLst>
                  <a:ext uri="{FF2B5EF4-FFF2-40B4-BE49-F238E27FC236}">
                    <a16:creationId xmlns:a16="http://schemas.microsoft.com/office/drawing/2014/main" id="{181E27C0-37B0-44E5-844A-CC63589231B1}"/>
                  </a:ext>
                </a:extLst>
              </p:cNvPr>
              <p:cNvSpPr/>
              <p:nvPr/>
            </p:nvSpPr>
            <p:spPr>
              <a:xfrm>
                <a:off x="7710615" y="3672810"/>
                <a:ext cx="18341" cy="18402"/>
              </a:xfrm>
              <a:custGeom>
                <a:avLst/>
                <a:gdLst>
                  <a:gd name="connsiteX0" fmla="*/ 10577 w 18341"/>
                  <a:gd name="connsiteY0" fmla="*/ 110 h 18402"/>
                  <a:gd name="connsiteX1" fmla="*/ 110 w 18341"/>
                  <a:gd name="connsiteY1" fmla="*/ 7766 h 18402"/>
                  <a:gd name="connsiteX2" fmla="*/ 7765 w 18341"/>
                  <a:gd name="connsiteY2" fmla="*/ 18292 h 18402"/>
                  <a:gd name="connsiteX3" fmla="*/ 18231 w 18341"/>
                  <a:gd name="connsiteY3" fmla="*/ 10636 h 18402"/>
                  <a:gd name="connsiteX4" fmla="*/ 10577 w 18341"/>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2">
                    <a:moveTo>
                      <a:pt x="10577" y="110"/>
                    </a:moveTo>
                    <a:cubicBezTo>
                      <a:pt x="5552" y="-667"/>
                      <a:pt x="887" y="2742"/>
                      <a:pt x="110" y="7766"/>
                    </a:cubicBezTo>
                    <a:cubicBezTo>
                      <a:pt x="-667" y="12790"/>
                      <a:pt x="2742" y="17514"/>
                      <a:pt x="7765" y="18292"/>
                    </a:cubicBezTo>
                    <a:cubicBezTo>
                      <a:pt x="12790" y="19069"/>
                      <a:pt x="17454" y="15660"/>
                      <a:pt x="18231" y="10636"/>
                    </a:cubicBezTo>
                    <a:cubicBezTo>
                      <a:pt x="19009" y="5613"/>
                      <a:pt x="15600" y="888"/>
                      <a:pt x="10577" y="110"/>
                    </a:cubicBezTo>
                    <a:close/>
                  </a:path>
                </a:pathLst>
              </a:custGeom>
              <a:grpFill/>
              <a:ln w="5978" cap="flat">
                <a:noFill/>
                <a:prstDash val="solid"/>
                <a:miter/>
              </a:ln>
            </p:spPr>
            <p:txBody>
              <a:bodyPr rtlCol="0" anchor="ctr"/>
              <a:lstStyle/>
              <a:p>
                <a:endParaRPr lang="en-GB"/>
              </a:p>
            </p:txBody>
          </p:sp>
        </p:grpSp>
        <p:grpSp>
          <p:nvGrpSpPr>
            <p:cNvPr id="269" name="Graphic 3">
              <a:extLst>
                <a:ext uri="{FF2B5EF4-FFF2-40B4-BE49-F238E27FC236}">
                  <a16:creationId xmlns:a16="http://schemas.microsoft.com/office/drawing/2014/main" id="{FD81AF6D-A2DE-489A-AD36-2AF787988C01}"/>
                </a:ext>
              </a:extLst>
            </p:cNvPr>
            <p:cNvGrpSpPr/>
            <p:nvPr/>
          </p:nvGrpSpPr>
          <p:grpSpPr>
            <a:xfrm>
              <a:off x="7685200" y="3765252"/>
              <a:ext cx="258342" cy="105223"/>
              <a:chOff x="7685200" y="3765252"/>
              <a:chExt cx="258342" cy="105223"/>
            </a:xfrm>
            <a:grpFill/>
          </p:grpSpPr>
          <p:sp>
            <p:nvSpPr>
              <p:cNvPr id="4572" name="Vrije vorm: vorm 4571">
                <a:extLst>
                  <a:ext uri="{FF2B5EF4-FFF2-40B4-BE49-F238E27FC236}">
                    <a16:creationId xmlns:a16="http://schemas.microsoft.com/office/drawing/2014/main" id="{27349C36-A48E-4ECC-B8E8-A43FBF2735DB}"/>
                  </a:ext>
                </a:extLst>
              </p:cNvPr>
              <p:cNvSpPr/>
              <p:nvPr/>
            </p:nvSpPr>
            <p:spPr>
              <a:xfrm>
                <a:off x="7693441" y="3772918"/>
                <a:ext cx="241860" cy="89949"/>
              </a:xfrm>
              <a:custGeom>
                <a:avLst/>
                <a:gdLst>
                  <a:gd name="connsiteX0" fmla="*/ 241860 w 241860"/>
                  <a:gd name="connsiteY0" fmla="*/ 87079 h 89949"/>
                  <a:gd name="connsiteX1" fmla="*/ 240843 w 241860"/>
                  <a:gd name="connsiteY1" fmla="*/ 89950 h 89949"/>
                  <a:gd name="connsiteX2" fmla="*/ 0 w 241860"/>
                  <a:gd name="connsiteY2" fmla="*/ 2871 h 89949"/>
                  <a:gd name="connsiteX3" fmla="*/ 1016 w 241860"/>
                  <a:gd name="connsiteY3" fmla="*/ 0 h 89949"/>
                </a:gdLst>
                <a:ahLst/>
                <a:cxnLst>
                  <a:cxn ang="0">
                    <a:pos x="connsiteX0" y="connsiteY0"/>
                  </a:cxn>
                  <a:cxn ang="0">
                    <a:pos x="connsiteX1" y="connsiteY1"/>
                  </a:cxn>
                  <a:cxn ang="0">
                    <a:pos x="connsiteX2" y="connsiteY2"/>
                  </a:cxn>
                  <a:cxn ang="0">
                    <a:pos x="connsiteX3" y="connsiteY3"/>
                  </a:cxn>
                </a:cxnLst>
                <a:rect l="l" t="t" r="r" b="b"/>
                <a:pathLst>
                  <a:path w="241860" h="89949">
                    <a:moveTo>
                      <a:pt x="241860" y="87079"/>
                    </a:moveTo>
                    <a:lnTo>
                      <a:pt x="240843" y="89950"/>
                    </a:lnTo>
                    <a:lnTo>
                      <a:pt x="0" y="2871"/>
                    </a:lnTo>
                    <a:lnTo>
                      <a:pt x="1016" y="0"/>
                    </a:lnTo>
                    <a:close/>
                  </a:path>
                </a:pathLst>
              </a:custGeom>
              <a:grpFill/>
              <a:ln w="5978" cap="flat">
                <a:noFill/>
                <a:prstDash val="solid"/>
                <a:miter/>
              </a:ln>
            </p:spPr>
            <p:txBody>
              <a:bodyPr rtlCol="0" anchor="ctr"/>
              <a:lstStyle/>
              <a:p>
                <a:endParaRPr lang="en-GB"/>
              </a:p>
            </p:txBody>
          </p:sp>
          <p:sp>
            <p:nvSpPr>
              <p:cNvPr id="4573" name="Vrije vorm: vorm 4572">
                <a:extLst>
                  <a:ext uri="{FF2B5EF4-FFF2-40B4-BE49-F238E27FC236}">
                    <a16:creationId xmlns:a16="http://schemas.microsoft.com/office/drawing/2014/main" id="{68943318-C0B6-4AD0-9E3A-AAD738F59DC1}"/>
                  </a:ext>
                </a:extLst>
              </p:cNvPr>
              <p:cNvSpPr/>
              <p:nvPr/>
            </p:nvSpPr>
            <p:spPr>
              <a:xfrm>
                <a:off x="7685200" y="3765252"/>
                <a:ext cx="18335" cy="18442"/>
              </a:xfrm>
              <a:custGeom>
                <a:avLst/>
                <a:gdLst>
                  <a:gd name="connsiteX0" fmla="*/ 6088 w 18335"/>
                  <a:gd name="connsiteY0" fmla="*/ 17894 h 18442"/>
                  <a:gd name="connsiteX1" fmla="*/ 526 w 18335"/>
                  <a:gd name="connsiteY1" fmla="*/ 6111 h 18442"/>
                  <a:gd name="connsiteX2" fmla="*/ 12248 w 18335"/>
                  <a:gd name="connsiteY2" fmla="*/ 549 h 18442"/>
                  <a:gd name="connsiteX3" fmla="*/ 17810 w 18335"/>
                  <a:gd name="connsiteY3" fmla="*/ 12331 h 18442"/>
                  <a:gd name="connsiteX4" fmla="*/ 6088 w 18335"/>
                  <a:gd name="connsiteY4" fmla="*/ 1789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2">
                    <a:moveTo>
                      <a:pt x="6088" y="17894"/>
                    </a:moveTo>
                    <a:cubicBezTo>
                      <a:pt x="1303" y="16159"/>
                      <a:pt x="-1149" y="10896"/>
                      <a:pt x="526" y="6111"/>
                    </a:cubicBezTo>
                    <a:cubicBezTo>
                      <a:pt x="2201" y="1327"/>
                      <a:pt x="7464" y="-1185"/>
                      <a:pt x="12248" y="549"/>
                    </a:cubicBezTo>
                    <a:cubicBezTo>
                      <a:pt x="17033" y="2284"/>
                      <a:pt x="19485" y="7547"/>
                      <a:pt x="17810" y="12331"/>
                    </a:cubicBezTo>
                    <a:cubicBezTo>
                      <a:pt x="16135" y="17116"/>
                      <a:pt x="10872" y="19628"/>
                      <a:pt x="6088" y="17894"/>
                    </a:cubicBezTo>
                    <a:close/>
                  </a:path>
                </a:pathLst>
              </a:custGeom>
              <a:grpFill/>
              <a:ln w="5978" cap="flat">
                <a:noFill/>
                <a:prstDash val="solid"/>
                <a:miter/>
              </a:ln>
            </p:spPr>
            <p:txBody>
              <a:bodyPr rtlCol="0" anchor="ctr"/>
              <a:lstStyle/>
              <a:p>
                <a:endParaRPr lang="en-GB"/>
              </a:p>
            </p:txBody>
          </p:sp>
          <p:sp>
            <p:nvSpPr>
              <p:cNvPr id="4574" name="Vrije vorm: vorm 4573">
                <a:extLst>
                  <a:ext uri="{FF2B5EF4-FFF2-40B4-BE49-F238E27FC236}">
                    <a16:creationId xmlns:a16="http://schemas.microsoft.com/office/drawing/2014/main" id="{457CF39D-6826-4ADE-8429-50B68AC450A5}"/>
                  </a:ext>
                </a:extLst>
              </p:cNvPr>
              <p:cNvSpPr/>
              <p:nvPr/>
            </p:nvSpPr>
            <p:spPr>
              <a:xfrm>
                <a:off x="7925206" y="3852032"/>
                <a:ext cx="18335" cy="18442"/>
              </a:xfrm>
              <a:custGeom>
                <a:avLst/>
                <a:gdLst>
                  <a:gd name="connsiteX0" fmla="*/ 6087 w 18335"/>
                  <a:gd name="connsiteY0" fmla="*/ 17893 h 18442"/>
                  <a:gd name="connsiteX1" fmla="*/ 17810 w 18335"/>
                  <a:gd name="connsiteY1" fmla="*/ 12331 h 18442"/>
                  <a:gd name="connsiteX2" fmla="*/ 12248 w 18335"/>
                  <a:gd name="connsiteY2" fmla="*/ 550 h 18442"/>
                  <a:gd name="connsiteX3" fmla="*/ 526 w 18335"/>
                  <a:gd name="connsiteY3" fmla="*/ 6112 h 18442"/>
                  <a:gd name="connsiteX4" fmla="*/ 6087 w 18335"/>
                  <a:gd name="connsiteY4" fmla="*/ 1789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2">
                    <a:moveTo>
                      <a:pt x="6087" y="17893"/>
                    </a:moveTo>
                    <a:cubicBezTo>
                      <a:pt x="10872" y="19628"/>
                      <a:pt x="16076" y="17116"/>
                      <a:pt x="17810" y="12331"/>
                    </a:cubicBezTo>
                    <a:cubicBezTo>
                      <a:pt x="19485" y="7547"/>
                      <a:pt x="17033" y="2284"/>
                      <a:pt x="12248" y="550"/>
                    </a:cubicBezTo>
                    <a:cubicBezTo>
                      <a:pt x="7464" y="-1185"/>
                      <a:pt x="2260" y="1327"/>
                      <a:pt x="526" y="6112"/>
                    </a:cubicBezTo>
                    <a:cubicBezTo>
                      <a:pt x="-1149" y="10896"/>
                      <a:pt x="1303" y="16159"/>
                      <a:pt x="6087" y="17893"/>
                    </a:cubicBezTo>
                    <a:close/>
                  </a:path>
                </a:pathLst>
              </a:custGeom>
              <a:grpFill/>
              <a:ln w="5978" cap="flat">
                <a:noFill/>
                <a:prstDash val="solid"/>
                <a:miter/>
              </a:ln>
            </p:spPr>
            <p:txBody>
              <a:bodyPr rtlCol="0" anchor="ctr"/>
              <a:lstStyle/>
              <a:p>
                <a:endParaRPr lang="en-GB"/>
              </a:p>
            </p:txBody>
          </p:sp>
        </p:grpSp>
        <p:grpSp>
          <p:nvGrpSpPr>
            <p:cNvPr id="270" name="Graphic 3">
              <a:extLst>
                <a:ext uri="{FF2B5EF4-FFF2-40B4-BE49-F238E27FC236}">
                  <a16:creationId xmlns:a16="http://schemas.microsoft.com/office/drawing/2014/main" id="{D5DFD841-7BD0-4F67-BE33-C7FB47BB69D1}"/>
                </a:ext>
              </a:extLst>
            </p:cNvPr>
            <p:cNvGrpSpPr/>
            <p:nvPr/>
          </p:nvGrpSpPr>
          <p:grpSpPr>
            <a:xfrm>
              <a:off x="7717045" y="3641788"/>
              <a:ext cx="95326" cy="29251"/>
              <a:chOff x="7717045" y="3641788"/>
              <a:chExt cx="95326" cy="29251"/>
            </a:xfrm>
            <a:grpFill/>
          </p:grpSpPr>
          <p:sp>
            <p:nvSpPr>
              <p:cNvPr id="4569" name="Vrije vorm: vorm 4568">
                <a:extLst>
                  <a:ext uri="{FF2B5EF4-FFF2-40B4-BE49-F238E27FC236}">
                    <a16:creationId xmlns:a16="http://schemas.microsoft.com/office/drawing/2014/main" id="{E0174EEF-C66F-42D1-9340-33434C564725}"/>
                  </a:ext>
                </a:extLst>
              </p:cNvPr>
              <p:cNvSpPr/>
              <p:nvPr/>
            </p:nvSpPr>
            <p:spPr>
              <a:xfrm>
                <a:off x="7725498" y="3649476"/>
                <a:ext cx="78407" cy="13935"/>
              </a:xfrm>
              <a:custGeom>
                <a:avLst/>
                <a:gdLst>
                  <a:gd name="connsiteX0" fmla="*/ 78407 w 78407"/>
                  <a:gd name="connsiteY0" fmla="*/ 10885 h 13935"/>
                  <a:gd name="connsiteX1" fmla="*/ 77988 w 78407"/>
                  <a:gd name="connsiteY1" fmla="*/ 13935 h 13935"/>
                  <a:gd name="connsiteX2" fmla="*/ 0 w 78407"/>
                  <a:gd name="connsiteY2" fmla="*/ 2990 h 13935"/>
                  <a:gd name="connsiteX3" fmla="*/ 418 w 78407"/>
                  <a:gd name="connsiteY3" fmla="*/ 0 h 13935"/>
                </a:gdLst>
                <a:ahLst/>
                <a:cxnLst>
                  <a:cxn ang="0">
                    <a:pos x="connsiteX0" y="connsiteY0"/>
                  </a:cxn>
                  <a:cxn ang="0">
                    <a:pos x="connsiteX1" y="connsiteY1"/>
                  </a:cxn>
                  <a:cxn ang="0">
                    <a:pos x="connsiteX2" y="connsiteY2"/>
                  </a:cxn>
                  <a:cxn ang="0">
                    <a:pos x="connsiteX3" y="connsiteY3"/>
                  </a:cxn>
                </a:cxnLst>
                <a:rect l="l" t="t" r="r" b="b"/>
                <a:pathLst>
                  <a:path w="78407" h="13935">
                    <a:moveTo>
                      <a:pt x="78407" y="10885"/>
                    </a:moveTo>
                    <a:lnTo>
                      <a:pt x="77988" y="13935"/>
                    </a:lnTo>
                    <a:lnTo>
                      <a:pt x="0" y="2990"/>
                    </a:lnTo>
                    <a:lnTo>
                      <a:pt x="418" y="0"/>
                    </a:lnTo>
                    <a:close/>
                  </a:path>
                </a:pathLst>
              </a:custGeom>
              <a:grpFill/>
              <a:ln w="5978" cap="flat">
                <a:noFill/>
                <a:prstDash val="solid"/>
                <a:miter/>
              </a:ln>
            </p:spPr>
            <p:txBody>
              <a:bodyPr rtlCol="0" anchor="ctr"/>
              <a:lstStyle/>
              <a:p>
                <a:endParaRPr lang="en-GB"/>
              </a:p>
            </p:txBody>
          </p:sp>
          <p:sp>
            <p:nvSpPr>
              <p:cNvPr id="4570" name="Vrije vorm: vorm 4569">
                <a:extLst>
                  <a:ext uri="{FF2B5EF4-FFF2-40B4-BE49-F238E27FC236}">
                    <a16:creationId xmlns:a16="http://schemas.microsoft.com/office/drawing/2014/main" id="{62AA5AF3-4415-43BB-95FA-898911FD4CC2}"/>
                  </a:ext>
                </a:extLst>
              </p:cNvPr>
              <p:cNvSpPr/>
              <p:nvPr/>
            </p:nvSpPr>
            <p:spPr>
              <a:xfrm>
                <a:off x="7794064" y="3652613"/>
                <a:ext cx="18307" cy="18426"/>
              </a:xfrm>
              <a:custGeom>
                <a:avLst/>
                <a:gdLst>
                  <a:gd name="connsiteX0" fmla="*/ 10379 w 18307"/>
                  <a:gd name="connsiteY0" fmla="*/ 93 h 18426"/>
                  <a:gd name="connsiteX1" fmla="*/ 18214 w 18307"/>
                  <a:gd name="connsiteY1" fmla="*/ 10499 h 18426"/>
                  <a:gd name="connsiteX2" fmla="*/ 7927 w 18307"/>
                  <a:gd name="connsiteY2" fmla="*/ 18334 h 18426"/>
                  <a:gd name="connsiteX3" fmla="*/ 93 w 18307"/>
                  <a:gd name="connsiteY3" fmla="*/ 7927 h 18426"/>
                  <a:gd name="connsiteX4" fmla="*/ 10379 w 18307"/>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10379" y="93"/>
                    </a:moveTo>
                    <a:cubicBezTo>
                      <a:pt x="15403" y="810"/>
                      <a:pt x="18932" y="5475"/>
                      <a:pt x="18214" y="10499"/>
                    </a:cubicBezTo>
                    <a:cubicBezTo>
                      <a:pt x="17557" y="15523"/>
                      <a:pt x="12892" y="19051"/>
                      <a:pt x="7927" y="18334"/>
                    </a:cubicBezTo>
                    <a:cubicBezTo>
                      <a:pt x="2903" y="17616"/>
                      <a:pt x="-625" y="12951"/>
                      <a:pt x="93" y="7927"/>
                    </a:cubicBezTo>
                    <a:cubicBezTo>
                      <a:pt x="810" y="2904"/>
                      <a:pt x="5416" y="-625"/>
                      <a:pt x="10379" y="93"/>
                    </a:cubicBezTo>
                    <a:close/>
                  </a:path>
                </a:pathLst>
              </a:custGeom>
              <a:grpFill/>
              <a:ln w="5978" cap="flat">
                <a:noFill/>
                <a:prstDash val="solid"/>
                <a:miter/>
              </a:ln>
            </p:spPr>
            <p:txBody>
              <a:bodyPr rtlCol="0" anchor="ctr"/>
              <a:lstStyle/>
              <a:p>
                <a:endParaRPr lang="en-GB"/>
              </a:p>
            </p:txBody>
          </p:sp>
          <p:sp>
            <p:nvSpPr>
              <p:cNvPr id="4571" name="Vrije vorm: vorm 4570">
                <a:extLst>
                  <a:ext uri="{FF2B5EF4-FFF2-40B4-BE49-F238E27FC236}">
                    <a16:creationId xmlns:a16="http://schemas.microsoft.com/office/drawing/2014/main" id="{C8C732E1-3572-4BF0-8EEC-6E488234EA1A}"/>
                  </a:ext>
                </a:extLst>
              </p:cNvPr>
              <p:cNvSpPr/>
              <p:nvPr/>
            </p:nvSpPr>
            <p:spPr>
              <a:xfrm>
                <a:off x="7717045" y="3641788"/>
                <a:ext cx="18280" cy="18426"/>
              </a:xfrm>
              <a:custGeom>
                <a:avLst/>
                <a:gdLst>
                  <a:gd name="connsiteX0" fmla="*/ 10367 w 18280"/>
                  <a:gd name="connsiteY0" fmla="*/ 93 h 18426"/>
                  <a:gd name="connsiteX1" fmla="*/ 80 w 18280"/>
                  <a:gd name="connsiteY1" fmla="*/ 7927 h 18426"/>
                  <a:gd name="connsiteX2" fmla="*/ 7914 w 18280"/>
                  <a:gd name="connsiteY2" fmla="*/ 18334 h 18426"/>
                  <a:gd name="connsiteX3" fmla="*/ 18202 w 18280"/>
                  <a:gd name="connsiteY3" fmla="*/ 10499 h 18426"/>
                  <a:gd name="connsiteX4" fmla="*/ 10367 w 18280"/>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26">
                    <a:moveTo>
                      <a:pt x="10367" y="93"/>
                    </a:moveTo>
                    <a:cubicBezTo>
                      <a:pt x="5343" y="-625"/>
                      <a:pt x="738" y="2904"/>
                      <a:pt x="80" y="7927"/>
                    </a:cubicBezTo>
                    <a:cubicBezTo>
                      <a:pt x="-578" y="12951"/>
                      <a:pt x="2891" y="17616"/>
                      <a:pt x="7914" y="18334"/>
                    </a:cubicBezTo>
                    <a:cubicBezTo>
                      <a:pt x="12939" y="19051"/>
                      <a:pt x="17544" y="15523"/>
                      <a:pt x="18202" y="10499"/>
                    </a:cubicBezTo>
                    <a:cubicBezTo>
                      <a:pt x="18860" y="5475"/>
                      <a:pt x="15331" y="810"/>
                      <a:pt x="10367" y="93"/>
                    </a:cubicBezTo>
                    <a:close/>
                  </a:path>
                </a:pathLst>
              </a:custGeom>
              <a:grpFill/>
              <a:ln w="5978" cap="flat">
                <a:noFill/>
                <a:prstDash val="solid"/>
                <a:miter/>
              </a:ln>
            </p:spPr>
            <p:txBody>
              <a:bodyPr rtlCol="0" anchor="ctr"/>
              <a:lstStyle/>
              <a:p>
                <a:endParaRPr lang="en-GB"/>
              </a:p>
            </p:txBody>
          </p:sp>
        </p:grpSp>
        <p:grpSp>
          <p:nvGrpSpPr>
            <p:cNvPr id="271" name="Graphic 3">
              <a:extLst>
                <a:ext uri="{FF2B5EF4-FFF2-40B4-BE49-F238E27FC236}">
                  <a16:creationId xmlns:a16="http://schemas.microsoft.com/office/drawing/2014/main" id="{9083C0AF-1BD1-4010-9DCF-B46417CEADE3}"/>
                </a:ext>
              </a:extLst>
            </p:cNvPr>
            <p:cNvGrpSpPr/>
            <p:nvPr/>
          </p:nvGrpSpPr>
          <p:grpSpPr>
            <a:xfrm>
              <a:off x="7715923" y="3609879"/>
              <a:ext cx="78944" cy="25786"/>
              <a:chOff x="7715923" y="3609879"/>
              <a:chExt cx="78944" cy="25786"/>
            </a:xfrm>
            <a:grpFill/>
          </p:grpSpPr>
          <p:sp>
            <p:nvSpPr>
              <p:cNvPr id="4566" name="Vrije vorm: vorm 4565">
                <a:extLst>
                  <a:ext uri="{FF2B5EF4-FFF2-40B4-BE49-F238E27FC236}">
                    <a16:creationId xmlns:a16="http://schemas.microsoft.com/office/drawing/2014/main" id="{2AA0702A-19ED-4C0B-B3AC-8918995CD437}"/>
                  </a:ext>
                </a:extLst>
              </p:cNvPr>
              <p:cNvSpPr/>
              <p:nvPr/>
            </p:nvSpPr>
            <p:spPr>
              <a:xfrm>
                <a:off x="7724481" y="3617539"/>
                <a:ext cx="61840" cy="10466"/>
              </a:xfrm>
              <a:custGeom>
                <a:avLst/>
                <a:gdLst>
                  <a:gd name="connsiteX0" fmla="*/ 61840 w 61840"/>
                  <a:gd name="connsiteY0" fmla="*/ 7416 h 10466"/>
                  <a:gd name="connsiteX1" fmla="*/ 61482 w 61840"/>
                  <a:gd name="connsiteY1" fmla="*/ 10466 h 10466"/>
                  <a:gd name="connsiteX2" fmla="*/ 0 w 61840"/>
                  <a:gd name="connsiteY2" fmla="*/ 3050 h 10466"/>
                  <a:gd name="connsiteX3" fmla="*/ 359 w 61840"/>
                  <a:gd name="connsiteY3" fmla="*/ 0 h 10466"/>
                </a:gdLst>
                <a:ahLst/>
                <a:cxnLst>
                  <a:cxn ang="0">
                    <a:pos x="connsiteX0" y="connsiteY0"/>
                  </a:cxn>
                  <a:cxn ang="0">
                    <a:pos x="connsiteX1" y="connsiteY1"/>
                  </a:cxn>
                  <a:cxn ang="0">
                    <a:pos x="connsiteX2" y="connsiteY2"/>
                  </a:cxn>
                  <a:cxn ang="0">
                    <a:pos x="connsiteX3" y="connsiteY3"/>
                  </a:cxn>
                </a:cxnLst>
                <a:rect l="l" t="t" r="r" b="b"/>
                <a:pathLst>
                  <a:path w="61840" h="10466">
                    <a:moveTo>
                      <a:pt x="61840" y="7416"/>
                    </a:moveTo>
                    <a:lnTo>
                      <a:pt x="61482" y="10466"/>
                    </a:lnTo>
                    <a:lnTo>
                      <a:pt x="0" y="3050"/>
                    </a:lnTo>
                    <a:lnTo>
                      <a:pt x="359" y="0"/>
                    </a:lnTo>
                    <a:close/>
                  </a:path>
                </a:pathLst>
              </a:custGeom>
              <a:grpFill/>
              <a:ln w="5978" cap="flat">
                <a:noFill/>
                <a:prstDash val="solid"/>
                <a:miter/>
              </a:ln>
            </p:spPr>
            <p:txBody>
              <a:bodyPr rtlCol="0" anchor="ctr"/>
              <a:lstStyle/>
              <a:p>
                <a:endParaRPr lang="en-GB"/>
              </a:p>
            </p:txBody>
          </p:sp>
          <p:sp>
            <p:nvSpPr>
              <p:cNvPr id="4567" name="Vrije vorm: vorm 4566">
                <a:extLst>
                  <a:ext uri="{FF2B5EF4-FFF2-40B4-BE49-F238E27FC236}">
                    <a16:creationId xmlns:a16="http://schemas.microsoft.com/office/drawing/2014/main" id="{F9C07BBC-90B5-4998-9D6E-0F97B5C4331A}"/>
                  </a:ext>
                </a:extLst>
              </p:cNvPr>
              <p:cNvSpPr/>
              <p:nvPr/>
            </p:nvSpPr>
            <p:spPr>
              <a:xfrm>
                <a:off x="7776519" y="3617223"/>
                <a:ext cx="18348" cy="18441"/>
              </a:xfrm>
              <a:custGeom>
                <a:avLst/>
                <a:gdLst>
                  <a:gd name="connsiteX0" fmla="*/ 10221 w 18348"/>
                  <a:gd name="connsiteY0" fmla="*/ 77 h 18441"/>
                  <a:gd name="connsiteX1" fmla="*/ 18295 w 18348"/>
                  <a:gd name="connsiteY1" fmla="*/ 10304 h 18441"/>
                  <a:gd name="connsiteX2" fmla="*/ 8128 w 18348"/>
                  <a:gd name="connsiteY2" fmla="*/ 18378 h 18441"/>
                  <a:gd name="connsiteX3" fmla="*/ 53 w 18348"/>
                  <a:gd name="connsiteY3" fmla="*/ 8151 h 18441"/>
                  <a:gd name="connsiteX4" fmla="*/ 10221 w 18348"/>
                  <a:gd name="connsiteY4" fmla="*/ 77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41">
                    <a:moveTo>
                      <a:pt x="10221" y="77"/>
                    </a:moveTo>
                    <a:cubicBezTo>
                      <a:pt x="15245" y="675"/>
                      <a:pt x="18833" y="5280"/>
                      <a:pt x="18295" y="10304"/>
                    </a:cubicBezTo>
                    <a:cubicBezTo>
                      <a:pt x="17697" y="15328"/>
                      <a:pt x="13152" y="18976"/>
                      <a:pt x="8128" y="18378"/>
                    </a:cubicBezTo>
                    <a:cubicBezTo>
                      <a:pt x="3104" y="17780"/>
                      <a:pt x="-485" y="13174"/>
                      <a:pt x="53" y="8151"/>
                    </a:cubicBezTo>
                    <a:cubicBezTo>
                      <a:pt x="652" y="3067"/>
                      <a:pt x="5197" y="-581"/>
                      <a:pt x="10221" y="77"/>
                    </a:cubicBezTo>
                    <a:close/>
                  </a:path>
                </a:pathLst>
              </a:custGeom>
              <a:grpFill/>
              <a:ln w="5978" cap="flat">
                <a:noFill/>
                <a:prstDash val="solid"/>
                <a:miter/>
              </a:ln>
            </p:spPr>
            <p:txBody>
              <a:bodyPr rtlCol="0" anchor="ctr"/>
              <a:lstStyle/>
              <a:p>
                <a:endParaRPr lang="en-GB"/>
              </a:p>
            </p:txBody>
          </p:sp>
          <p:sp>
            <p:nvSpPr>
              <p:cNvPr id="4568" name="Vrije vorm: vorm 4567">
                <a:extLst>
                  <a:ext uri="{FF2B5EF4-FFF2-40B4-BE49-F238E27FC236}">
                    <a16:creationId xmlns:a16="http://schemas.microsoft.com/office/drawing/2014/main" id="{2DC3491C-18FD-48F9-AA8F-4C2EF443A55F}"/>
                  </a:ext>
                </a:extLst>
              </p:cNvPr>
              <p:cNvSpPr/>
              <p:nvPr/>
            </p:nvSpPr>
            <p:spPr>
              <a:xfrm>
                <a:off x="7715923" y="3609879"/>
                <a:ext cx="18370" cy="18431"/>
              </a:xfrm>
              <a:custGeom>
                <a:avLst/>
                <a:gdLst>
                  <a:gd name="connsiteX0" fmla="*/ 10233 w 18370"/>
                  <a:gd name="connsiteY0" fmla="*/ 65 h 18431"/>
                  <a:gd name="connsiteX1" fmla="*/ 65 w 18370"/>
                  <a:gd name="connsiteY1" fmla="*/ 8139 h 18431"/>
                  <a:gd name="connsiteX2" fmla="*/ 8140 w 18370"/>
                  <a:gd name="connsiteY2" fmla="*/ 18366 h 18431"/>
                  <a:gd name="connsiteX3" fmla="*/ 18307 w 18370"/>
                  <a:gd name="connsiteY3" fmla="*/ 10292 h 18431"/>
                  <a:gd name="connsiteX4" fmla="*/ 10233 w 18370"/>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1">
                    <a:moveTo>
                      <a:pt x="10233" y="65"/>
                    </a:moveTo>
                    <a:cubicBezTo>
                      <a:pt x="5209" y="-533"/>
                      <a:pt x="664" y="3055"/>
                      <a:pt x="65" y="8139"/>
                    </a:cubicBezTo>
                    <a:cubicBezTo>
                      <a:pt x="-533" y="13163"/>
                      <a:pt x="3055" y="17768"/>
                      <a:pt x="8140" y="18366"/>
                    </a:cubicBezTo>
                    <a:cubicBezTo>
                      <a:pt x="13163" y="18964"/>
                      <a:pt x="17709" y="15376"/>
                      <a:pt x="18307" y="10292"/>
                    </a:cubicBezTo>
                    <a:cubicBezTo>
                      <a:pt x="18904" y="5268"/>
                      <a:pt x="15256" y="663"/>
                      <a:pt x="10233" y="65"/>
                    </a:cubicBezTo>
                    <a:close/>
                  </a:path>
                </a:pathLst>
              </a:custGeom>
              <a:grpFill/>
              <a:ln w="5978" cap="flat">
                <a:noFill/>
                <a:prstDash val="solid"/>
                <a:miter/>
              </a:ln>
            </p:spPr>
            <p:txBody>
              <a:bodyPr rtlCol="0" anchor="ctr"/>
              <a:lstStyle/>
              <a:p>
                <a:endParaRPr lang="en-GB"/>
              </a:p>
            </p:txBody>
          </p:sp>
        </p:grpSp>
        <p:grpSp>
          <p:nvGrpSpPr>
            <p:cNvPr id="272" name="Graphic 3">
              <a:extLst>
                <a:ext uri="{FF2B5EF4-FFF2-40B4-BE49-F238E27FC236}">
                  <a16:creationId xmlns:a16="http://schemas.microsoft.com/office/drawing/2014/main" id="{2C594887-9685-42DC-B935-C88384615292}"/>
                </a:ext>
              </a:extLst>
            </p:cNvPr>
            <p:cNvGrpSpPr/>
            <p:nvPr/>
          </p:nvGrpSpPr>
          <p:grpSpPr>
            <a:xfrm>
              <a:off x="7119128" y="1815338"/>
              <a:ext cx="88780" cy="116564"/>
              <a:chOff x="7119128" y="1815338"/>
              <a:chExt cx="88780" cy="116564"/>
            </a:xfrm>
            <a:grpFill/>
          </p:grpSpPr>
          <p:sp>
            <p:nvSpPr>
              <p:cNvPr id="4563" name="Vrije vorm: vorm 4562">
                <a:extLst>
                  <a:ext uri="{FF2B5EF4-FFF2-40B4-BE49-F238E27FC236}">
                    <a16:creationId xmlns:a16="http://schemas.microsoft.com/office/drawing/2014/main" id="{2ECD6E74-5C7C-453B-9B8D-92CF7D7CE84C}"/>
                  </a:ext>
                </a:extLst>
              </p:cNvPr>
              <p:cNvSpPr/>
              <p:nvPr/>
            </p:nvSpPr>
            <p:spPr>
              <a:xfrm>
                <a:off x="7126768" y="1823323"/>
                <a:ext cx="73442" cy="100655"/>
              </a:xfrm>
              <a:custGeom>
                <a:avLst/>
                <a:gdLst>
                  <a:gd name="connsiteX0" fmla="*/ 73443 w 73442"/>
                  <a:gd name="connsiteY0" fmla="*/ 1794 h 100655"/>
                  <a:gd name="connsiteX1" fmla="*/ 2452 w 73442"/>
                  <a:gd name="connsiteY1" fmla="*/ 100656 h 100655"/>
                  <a:gd name="connsiteX2" fmla="*/ 0 w 73442"/>
                  <a:gd name="connsiteY2" fmla="*/ 98861 h 100655"/>
                  <a:gd name="connsiteX3" fmla="*/ 70991 w 73442"/>
                  <a:gd name="connsiteY3" fmla="*/ 0 h 100655"/>
                </a:gdLst>
                <a:ahLst/>
                <a:cxnLst>
                  <a:cxn ang="0">
                    <a:pos x="connsiteX0" y="connsiteY0"/>
                  </a:cxn>
                  <a:cxn ang="0">
                    <a:pos x="connsiteX1" y="connsiteY1"/>
                  </a:cxn>
                  <a:cxn ang="0">
                    <a:pos x="connsiteX2" y="connsiteY2"/>
                  </a:cxn>
                  <a:cxn ang="0">
                    <a:pos x="connsiteX3" y="connsiteY3"/>
                  </a:cxn>
                </a:cxnLst>
                <a:rect l="l" t="t" r="r" b="b"/>
                <a:pathLst>
                  <a:path w="73442" h="100655">
                    <a:moveTo>
                      <a:pt x="73443" y="1794"/>
                    </a:moveTo>
                    <a:lnTo>
                      <a:pt x="2452" y="100656"/>
                    </a:lnTo>
                    <a:lnTo>
                      <a:pt x="0" y="98861"/>
                    </a:lnTo>
                    <a:lnTo>
                      <a:pt x="70991" y="0"/>
                    </a:lnTo>
                    <a:close/>
                  </a:path>
                </a:pathLst>
              </a:custGeom>
              <a:grpFill/>
              <a:ln w="5978" cap="flat">
                <a:noFill/>
                <a:prstDash val="solid"/>
                <a:miter/>
              </a:ln>
            </p:spPr>
            <p:txBody>
              <a:bodyPr rtlCol="0" anchor="ctr"/>
              <a:lstStyle/>
              <a:p>
                <a:endParaRPr lang="en-GB"/>
              </a:p>
            </p:txBody>
          </p:sp>
          <p:sp>
            <p:nvSpPr>
              <p:cNvPr id="4564" name="Vrije vorm: vorm 4563">
                <a:extLst>
                  <a:ext uri="{FF2B5EF4-FFF2-40B4-BE49-F238E27FC236}">
                    <a16:creationId xmlns:a16="http://schemas.microsoft.com/office/drawing/2014/main" id="{468BFAB8-D6BF-4E15-885E-412C4539D89A}"/>
                  </a:ext>
                </a:extLst>
              </p:cNvPr>
              <p:cNvSpPr/>
              <p:nvPr/>
            </p:nvSpPr>
            <p:spPr>
              <a:xfrm>
                <a:off x="7189555" y="1815338"/>
                <a:ext cx="18353" cy="18421"/>
              </a:xfrm>
              <a:custGeom>
                <a:avLst/>
                <a:gdLst>
                  <a:gd name="connsiteX0" fmla="*/ 1744 w 18353"/>
                  <a:gd name="connsiteY0" fmla="*/ 3798 h 18421"/>
                  <a:gd name="connsiteX1" fmla="*/ 14543 w 18353"/>
                  <a:gd name="connsiteY1" fmla="*/ 1765 h 18421"/>
                  <a:gd name="connsiteX2" fmla="*/ 16636 w 18353"/>
                  <a:gd name="connsiteY2" fmla="*/ 14623 h 18421"/>
                  <a:gd name="connsiteX3" fmla="*/ 3838 w 18353"/>
                  <a:gd name="connsiteY3" fmla="*/ 16657 h 18421"/>
                  <a:gd name="connsiteX4" fmla="*/ 1744 w 1835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1">
                    <a:moveTo>
                      <a:pt x="1744" y="3798"/>
                    </a:moveTo>
                    <a:cubicBezTo>
                      <a:pt x="4674" y="-329"/>
                      <a:pt x="10416" y="-1226"/>
                      <a:pt x="14543" y="1765"/>
                    </a:cubicBezTo>
                    <a:cubicBezTo>
                      <a:pt x="18670" y="4755"/>
                      <a:pt x="19566" y="10496"/>
                      <a:pt x="16636" y="14623"/>
                    </a:cubicBezTo>
                    <a:cubicBezTo>
                      <a:pt x="13705" y="18750"/>
                      <a:pt x="7964" y="19647"/>
                      <a:pt x="3838" y="16657"/>
                    </a:cubicBezTo>
                    <a:cubicBezTo>
                      <a:pt x="-289" y="13726"/>
                      <a:pt x="-1247" y="7925"/>
                      <a:pt x="1744" y="3798"/>
                    </a:cubicBezTo>
                    <a:close/>
                  </a:path>
                </a:pathLst>
              </a:custGeom>
              <a:grpFill/>
              <a:ln w="5978" cap="flat">
                <a:noFill/>
                <a:prstDash val="solid"/>
                <a:miter/>
              </a:ln>
            </p:spPr>
            <p:txBody>
              <a:bodyPr rtlCol="0" anchor="ctr"/>
              <a:lstStyle/>
              <a:p>
                <a:endParaRPr lang="en-GB"/>
              </a:p>
            </p:txBody>
          </p:sp>
          <p:sp>
            <p:nvSpPr>
              <p:cNvPr id="4565" name="Vrije vorm: vorm 4564">
                <a:extLst>
                  <a:ext uri="{FF2B5EF4-FFF2-40B4-BE49-F238E27FC236}">
                    <a16:creationId xmlns:a16="http://schemas.microsoft.com/office/drawing/2014/main" id="{0781F128-D683-484C-AC63-6F2D6DCFC5E6}"/>
                  </a:ext>
                </a:extLst>
              </p:cNvPr>
              <p:cNvSpPr/>
              <p:nvPr/>
            </p:nvSpPr>
            <p:spPr>
              <a:xfrm>
                <a:off x="7119128" y="1913482"/>
                <a:ext cx="18328" cy="18421"/>
              </a:xfrm>
              <a:custGeom>
                <a:avLst/>
                <a:gdLst>
                  <a:gd name="connsiteX0" fmla="*/ 1718 w 18328"/>
                  <a:gd name="connsiteY0" fmla="*/ 3798 h 18421"/>
                  <a:gd name="connsiteX1" fmla="*/ 3811 w 18328"/>
                  <a:gd name="connsiteY1" fmla="*/ 16657 h 18421"/>
                  <a:gd name="connsiteX2" fmla="*/ 16610 w 18328"/>
                  <a:gd name="connsiteY2" fmla="*/ 14623 h 18421"/>
                  <a:gd name="connsiteX3" fmla="*/ 14516 w 18328"/>
                  <a:gd name="connsiteY3" fmla="*/ 1765 h 18421"/>
                  <a:gd name="connsiteX4" fmla="*/ 1718 w 18328"/>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21">
                    <a:moveTo>
                      <a:pt x="1718" y="3798"/>
                    </a:moveTo>
                    <a:cubicBezTo>
                      <a:pt x="-1213" y="7925"/>
                      <a:pt x="-316" y="13666"/>
                      <a:pt x="3811" y="16657"/>
                    </a:cubicBezTo>
                    <a:cubicBezTo>
                      <a:pt x="7938" y="19647"/>
                      <a:pt x="13620" y="18750"/>
                      <a:pt x="16610" y="14623"/>
                    </a:cubicBezTo>
                    <a:cubicBezTo>
                      <a:pt x="19541" y="10496"/>
                      <a:pt x="18644" y="4755"/>
                      <a:pt x="14516" y="1765"/>
                    </a:cubicBezTo>
                    <a:cubicBezTo>
                      <a:pt x="10390" y="-1226"/>
                      <a:pt x="4649" y="-329"/>
                      <a:pt x="1718" y="3798"/>
                    </a:cubicBezTo>
                    <a:close/>
                  </a:path>
                </a:pathLst>
              </a:custGeom>
              <a:grpFill/>
              <a:ln w="5978" cap="flat">
                <a:noFill/>
                <a:prstDash val="solid"/>
                <a:miter/>
              </a:ln>
            </p:spPr>
            <p:txBody>
              <a:bodyPr rtlCol="0" anchor="ctr"/>
              <a:lstStyle/>
              <a:p>
                <a:endParaRPr lang="en-GB"/>
              </a:p>
            </p:txBody>
          </p:sp>
        </p:grpSp>
        <p:grpSp>
          <p:nvGrpSpPr>
            <p:cNvPr id="273" name="Graphic 3">
              <a:extLst>
                <a:ext uri="{FF2B5EF4-FFF2-40B4-BE49-F238E27FC236}">
                  <a16:creationId xmlns:a16="http://schemas.microsoft.com/office/drawing/2014/main" id="{1CAF8CFC-94E6-404E-A7E2-AD566547D97E}"/>
                </a:ext>
              </a:extLst>
            </p:cNvPr>
            <p:cNvGrpSpPr/>
            <p:nvPr/>
          </p:nvGrpSpPr>
          <p:grpSpPr>
            <a:xfrm>
              <a:off x="7028860" y="1714660"/>
              <a:ext cx="299160" cy="344355"/>
              <a:chOff x="7028860" y="1714660"/>
              <a:chExt cx="299160" cy="344355"/>
            </a:xfrm>
            <a:grpFill/>
          </p:grpSpPr>
          <p:sp>
            <p:nvSpPr>
              <p:cNvPr id="4560" name="Vrije vorm: vorm 4559">
                <a:extLst>
                  <a:ext uri="{FF2B5EF4-FFF2-40B4-BE49-F238E27FC236}">
                    <a16:creationId xmlns:a16="http://schemas.microsoft.com/office/drawing/2014/main" id="{D17950EB-F80C-40A1-A129-C73C752C18C4}"/>
                  </a:ext>
                </a:extLst>
              </p:cNvPr>
              <p:cNvSpPr/>
              <p:nvPr/>
            </p:nvSpPr>
            <p:spPr>
              <a:xfrm>
                <a:off x="7036518" y="1722488"/>
                <a:ext cx="283785" cy="328640"/>
              </a:xfrm>
              <a:custGeom>
                <a:avLst/>
                <a:gdLst>
                  <a:gd name="connsiteX0" fmla="*/ 283786 w 283785"/>
                  <a:gd name="connsiteY0" fmla="*/ 2033 h 328640"/>
                  <a:gd name="connsiteX1" fmla="*/ 2333 w 283785"/>
                  <a:gd name="connsiteY1" fmla="*/ 328641 h 328640"/>
                  <a:gd name="connsiteX2" fmla="*/ 0 w 283785"/>
                  <a:gd name="connsiteY2" fmla="*/ 326667 h 328640"/>
                  <a:gd name="connsiteX3" fmla="*/ 281513 w 283785"/>
                  <a:gd name="connsiteY3" fmla="*/ 0 h 328640"/>
                </a:gdLst>
                <a:ahLst/>
                <a:cxnLst>
                  <a:cxn ang="0">
                    <a:pos x="connsiteX0" y="connsiteY0"/>
                  </a:cxn>
                  <a:cxn ang="0">
                    <a:pos x="connsiteX1" y="connsiteY1"/>
                  </a:cxn>
                  <a:cxn ang="0">
                    <a:pos x="connsiteX2" y="connsiteY2"/>
                  </a:cxn>
                  <a:cxn ang="0">
                    <a:pos x="connsiteX3" y="connsiteY3"/>
                  </a:cxn>
                </a:cxnLst>
                <a:rect l="l" t="t" r="r" b="b"/>
                <a:pathLst>
                  <a:path w="283785" h="328640">
                    <a:moveTo>
                      <a:pt x="283786" y="2033"/>
                    </a:moveTo>
                    <a:lnTo>
                      <a:pt x="2333" y="328641"/>
                    </a:lnTo>
                    <a:lnTo>
                      <a:pt x="0" y="326667"/>
                    </a:lnTo>
                    <a:lnTo>
                      <a:pt x="281513" y="0"/>
                    </a:lnTo>
                    <a:close/>
                  </a:path>
                </a:pathLst>
              </a:custGeom>
              <a:grpFill/>
              <a:ln w="5978" cap="flat">
                <a:noFill/>
                <a:prstDash val="solid"/>
                <a:miter/>
              </a:ln>
            </p:spPr>
            <p:txBody>
              <a:bodyPr rtlCol="0" anchor="ctr"/>
              <a:lstStyle/>
              <a:p>
                <a:endParaRPr lang="en-GB"/>
              </a:p>
            </p:txBody>
          </p:sp>
          <p:sp>
            <p:nvSpPr>
              <p:cNvPr id="4561" name="Vrije vorm: vorm 4560">
                <a:extLst>
                  <a:ext uri="{FF2B5EF4-FFF2-40B4-BE49-F238E27FC236}">
                    <a16:creationId xmlns:a16="http://schemas.microsoft.com/office/drawing/2014/main" id="{D8196936-08FE-41BF-B317-38E72FDE60A2}"/>
                  </a:ext>
                </a:extLst>
              </p:cNvPr>
              <p:cNvSpPr/>
              <p:nvPr/>
            </p:nvSpPr>
            <p:spPr>
              <a:xfrm>
                <a:off x="7028860" y="2040610"/>
                <a:ext cx="18306" cy="18405"/>
              </a:xfrm>
              <a:custGeom>
                <a:avLst/>
                <a:gdLst>
                  <a:gd name="connsiteX0" fmla="*/ 16091 w 18306"/>
                  <a:gd name="connsiteY0" fmla="*/ 15244 h 18405"/>
                  <a:gd name="connsiteX1" fmla="*/ 3172 w 18306"/>
                  <a:gd name="connsiteY1" fmla="*/ 16141 h 18405"/>
                  <a:gd name="connsiteX2" fmla="*/ 2216 w 18306"/>
                  <a:gd name="connsiteY2" fmla="*/ 3162 h 18405"/>
                  <a:gd name="connsiteX3" fmla="*/ 15134 w 18306"/>
                  <a:gd name="connsiteY3" fmla="*/ 2265 h 18405"/>
                  <a:gd name="connsiteX4" fmla="*/ 16091 w 18306"/>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6091" y="15244"/>
                    </a:moveTo>
                    <a:cubicBezTo>
                      <a:pt x="12801" y="19071"/>
                      <a:pt x="7000" y="19490"/>
                      <a:pt x="3172" y="16141"/>
                    </a:cubicBezTo>
                    <a:cubicBezTo>
                      <a:pt x="-656" y="12791"/>
                      <a:pt x="-1074" y="6990"/>
                      <a:pt x="2216" y="3162"/>
                    </a:cubicBezTo>
                    <a:cubicBezTo>
                      <a:pt x="5505" y="-665"/>
                      <a:pt x="11306" y="-1084"/>
                      <a:pt x="15134" y="2265"/>
                    </a:cubicBezTo>
                    <a:cubicBezTo>
                      <a:pt x="18961" y="5615"/>
                      <a:pt x="19380" y="11416"/>
                      <a:pt x="16091" y="15244"/>
                    </a:cubicBezTo>
                    <a:close/>
                  </a:path>
                </a:pathLst>
              </a:custGeom>
              <a:grpFill/>
              <a:ln w="5978" cap="flat">
                <a:noFill/>
                <a:prstDash val="solid"/>
                <a:miter/>
              </a:ln>
            </p:spPr>
            <p:txBody>
              <a:bodyPr rtlCol="0" anchor="ctr"/>
              <a:lstStyle/>
              <a:p>
                <a:endParaRPr lang="en-GB"/>
              </a:p>
            </p:txBody>
          </p:sp>
          <p:sp>
            <p:nvSpPr>
              <p:cNvPr id="4562" name="Vrije vorm: vorm 4561">
                <a:extLst>
                  <a:ext uri="{FF2B5EF4-FFF2-40B4-BE49-F238E27FC236}">
                    <a16:creationId xmlns:a16="http://schemas.microsoft.com/office/drawing/2014/main" id="{271507CE-D136-4891-929C-7A984B7538AB}"/>
                  </a:ext>
                </a:extLst>
              </p:cNvPr>
              <p:cNvSpPr/>
              <p:nvPr/>
            </p:nvSpPr>
            <p:spPr>
              <a:xfrm>
                <a:off x="7309715" y="1714660"/>
                <a:ext cx="18306" cy="18405"/>
              </a:xfrm>
              <a:custGeom>
                <a:avLst/>
                <a:gdLst>
                  <a:gd name="connsiteX0" fmla="*/ 16090 w 18306"/>
                  <a:gd name="connsiteY0" fmla="*/ 15244 h 18405"/>
                  <a:gd name="connsiteX1" fmla="*/ 15134 w 18306"/>
                  <a:gd name="connsiteY1" fmla="*/ 2265 h 18405"/>
                  <a:gd name="connsiteX2" fmla="*/ 2215 w 18306"/>
                  <a:gd name="connsiteY2" fmla="*/ 3162 h 18405"/>
                  <a:gd name="connsiteX3" fmla="*/ 3173 w 18306"/>
                  <a:gd name="connsiteY3" fmla="*/ 16141 h 18405"/>
                  <a:gd name="connsiteX4" fmla="*/ 16090 w 18306"/>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6090" y="15244"/>
                    </a:moveTo>
                    <a:cubicBezTo>
                      <a:pt x="19380" y="11416"/>
                      <a:pt x="18962" y="5615"/>
                      <a:pt x="15134" y="2265"/>
                    </a:cubicBezTo>
                    <a:cubicBezTo>
                      <a:pt x="11306" y="-1084"/>
                      <a:pt x="5505" y="-665"/>
                      <a:pt x="2215" y="3162"/>
                    </a:cubicBezTo>
                    <a:cubicBezTo>
                      <a:pt x="-1074" y="6990"/>
                      <a:pt x="-655" y="12791"/>
                      <a:pt x="3173" y="16141"/>
                    </a:cubicBezTo>
                    <a:cubicBezTo>
                      <a:pt x="7000" y="19490"/>
                      <a:pt x="12801" y="19071"/>
                      <a:pt x="16090" y="15244"/>
                    </a:cubicBezTo>
                    <a:close/>
                  </a:path>
                </a:pathLst>
              </a:custGeom>
              <a:grpFill/>
              <a:ln w="5978" cap="flat">
                <a:noFill/>
                <a:prstDash val="solid"/>
                <a:miter/>
              </a:ln>
            </p:spPr>
            <p:txBody>
              <a:bodyPr rtlCol="0" anchor="ctr"/>
              <a:lstStyle/>
              <a:p>
                <a:endParaRPr lang="en-GB"/>
              </a:p>
            </p:txBody>
          </p:sp>
        </p:grpSp>
        <p:grpSp>
          <p:nvGrpSpPr>
            <p:cNvPr id="274" name="Graphic 3">
              <a:extLst>
                <a:ext uri="{FF2B5EF4-FFF2-40B4-BE49-F238E27FC236}">
                  <a16:creationId xmlns:a16="http://schemas.microsoft.com/office/drawing/2014/main" id="{9BC2D491-BF5B-4EA9-B86E-E771096DA357}"/>
                </a:ext>
              </a:extLst>
            </p:cNvPr>
            <p:cNvGrpSpPr/>
            <p:nvPr/>
          </p:nvGrpSpPr>
          <p:grpSpPr>
            <a:xfrm>
              <a:off x="7652213" y="3918528"/>
              <a:ext cx="477295" cy="205538"/>
              <a:chOff x="7652213" y="3918528"/>
              <a:chExt cx="477295" cy="205538"/>
            </a:xfrm>
            <a:grpFill/>
          </p:grpSpPr>
          <p:sp>
            <p:nvSpPr>
              <p:cNvPr id="4557" name="Vrije vorm: vorm 4556">
                <a:extLst>
                  <a:ext uri="{FF2B5EF4-FFF2-40B4-BE49-F238E27FC236}">
                    <a16:creationId xmlns:a16="http://schemas.microsoft.com/office/drawing/2014/main" id="{F35B9995-2AC0-4566-8722-2CB94939DD97}"/>
                  </a:ext>
                </a:extLst>
              </p:cNvPr>
              <p:cNvSpPr/>
              <p:nvPr/>
            </p:nvSpPr>
            <p:spPr>
              <a:xfrm>
                <a:off x="7660368" y="3926204"/>
                <a:ext cx="460933" cy="190246"/>
              </a:xfrm>
              <a:custGeom>
                <a:avLst/>
                <a:gdLst>
                  <a:gd name="connsiteX0" fmla="*/ 460934 w 460933"/>
                  <a:gd name="connsiteY0" fmla="*/ 187436 h 190246"/>
                  <a:gd name="connsiteX1" fmla="*/ 459798 w 460933"/>
                  <a:gd name="connsiteY1" fmla="*/ 190247 h 190246"/>
                  <a:gd name="connsiteX2" fmla="*/ 0 w 460933"/>
                  <a:gd name="connsiteY2" fmla="*/ 2811 h 190246"/>
                  <a:gd name="connsiteX3" fmla="*/ 1136 w 460933"/>
                  <a:gd name="connsiteY3" fmla="*/ 0 h 190246"/>
                </a:gdLst>
                <a:ahLst/>
                <a:cxnLst>
                  <a:cxn ang="0">
                    <a:pos x="connsiteX0" y="connsiteY0"/>
                  </a:cxn>
                  <a:cxn ang="0">
                    <a:pos x="connsiteX1" y="connsiteY1"/>
                  </a:cxn>
                  <a:cxn ang="0">
                    <a:pos x="connsiteX2" y="connsiteY2"/>
                  </a:cxn>
                  <a:cxn ang="0">
                    <a:pos x="connsiteX3" y="connsiteY3"/>
                  </a:cxn>
                </a:cxnLst>
                <a:rect l="l" t="t" r="r" b="b"/>
                <a:pathLst>
                  <a:path w="460933" h="190246">
                    <a:moveTo>
                      <a:pt x="460934" y="187436"/>
                    </a:moveTo>
                    <a:lnTo>
                      <a:pt x="459798" y="190247"/>
                    </a:lnTo>
                    <a:lnTo>
                      <a:pt x="0" y="2811"/>
                    </a:lnTo>
                    <a:lnTo>
                      <a:pt x="1136" y="0"/>
                    </a:lnTo>
                    <a:close/>
                  </a:path>
                </a:pathLst>
              </a:custGeom>
              <a:grpFill/>
              <a:ln w="5978" cap="flat">
                <a:noFill/>
                <a:prstDash val="solid"/>
                <a:miter/>
              </a:ln>
            </p:spPr>
            <p:txBody>
              <a:bodyPr rtlCol="0" anchor="ctr"/>
              <a:lstStyle/>
              <a:p>
                <a:endParaRPr lang="en-GB"/>
              </a:p>
            </p:txBody>
          </p:sp>
          <p:sp>
            <p:nvSpPr>
              <p:cNvPr id="4558" name="Vrije vorm: vorm 4557">
                <a:extLst>
                  <a:ext uri="{FF2B5EF4-FFF2-40B4-BE49-F238E27FC236}">
                    <a16:creationId xmlns:a16="http://schemas.microsoft.com/office/drawing/2014/main" id="{5A1A090E-4F53-4EFF-9E1F-6F12FFB419FF}"/>
                  </a:ext>
                </a:extLst>
              </p:cNvPr>
              <p:cNvSpPr/>
              <p:nvPr/>
            </p:nvSpPr>
            <p:spPr>
              <a:xfrm>
                <a:off x="7652213" y="3918528"/>
                <a:ext cx="18342" cy="18462"/>
              </a:xfrm>
              <a:custGeom>
                <a:avLst/>
                <a:gdLst>
                  <a:gd name="connsiteX0" fmla="*/ 5762 w 18342"/>
                  <a:gd name="connsiteY0" fmla="*/ 17784 h 18462"/>
                  <a:gd name="connsiteX1" fmla="*/ 679 w 18342"/>
                  <a:gd name="connsiteY1" fmla="*/ 5762 h 18462"/>
                  <a:gd name="connsiteX2" fmla="*/ 12580 w 18342"/>
                  <a:gd name="connsiteY2" fmla="*/ 678 h 18462"/>
                  <a:gd name="connsiteX3" fmla="*/ 17664 w 18342"/>
                  <a:gd name="connsiteY3" fmla="*/ 12700 h 18462"/>
                  <a:gd name="connsiteX4" fmla="*/ 5762 w 18342"/>
                  <a:gd name="connsiteY4" fmla="*/ 17784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2">
                    <a:moveTo>
                      <a:pt x="5762" y="17784"/>
                    </a:moveTo>
                    <a:cubicBezTo>
                      <a:pt x="1037" y="15870"/>
                      <a:pt x="-1236" y="10487"/>
                      <a:pt x="679" y="5762"/>
                    </a:cubicBezTo>
                    <a:cubicBezTo>
                      <a:pt x="2532" y="1037"/>
                      <a:pt x="7915" y="-1235"/>
                      <a:pt x="12580" y="678"/>
                    </a:cubicBezTo>
                    <a:cubicBezTo>
                      <a:pt x="17305" y="2592"/>
                      <a:pt x="19578" y="7975"/>
                      <a:pt x="17664" y="12700"/>
                    </a:cubicBezTo>
                    <a:cubicBezTo>
                      <a:pt x="15810" y="17425"/>
                      <a:pt x="10427" y="19697"/>
                      <a:pt x="5762" y="17784"/>
                    </a:cubicBezTo>
                    <a:close/>
                  </a:path>
                </a:pathLst>
              </a:custGeom>
              <a:grpFill/>
              <a:ln w="5978" cap="flat">
                <a:noFill/>
                <a:prstDash val="solid"/>
                <a:miter/>
              </a:ln>
            </p:spPr>
            <p:txBody>
              <a:bodyPr rtlCol="0" anchor="ctr"/>
              <a:lstStyle/>
              <a:p>
                <a:endParaRPr lang="en-GB"/>
              </a:p>
            </p:txBody>
          </p:sp>
          <p:sp>
            <p:nvSpPr>
              <p:cNvPr id="4559" name="Vrije vorm: vorm 4558">
                <a:extLst>
                  <a:ext uri="{FF2B5EF4-FFF2-40B4-BE49-F238E27FC236}">
                    <a16:creationId xmlns:a16="http://schemas.microsoft.com/office/drawing/2014/main" id="{B0C5C3C6-088F-4ADC-9DA7-E394466B9708}"/>
                  </a:ext>
                </a:extLst>
              </p:cNvPr>
              <p:cNvSpPr/>
              <p:nvPr/>
            </p:nvSpPr>
            <p:spPr>
              <a:xfrm>
                <a:off x="8111174" y="4105605"/>
                <a:ext cx="18334" cy="18461"/>
              </a:xfrm>
              <a:custGeom>
                <a:avLst/>
                <a:gdLst>
                  <a:gd name="connsiteX0" fmla="*/ 5762 w 18334"/>
                  <a:gd name="connsiteY0" fmla="*/ 17783 h 18461"/>
                  <a:gd name="connsiteX1" fmla="*/ 17663 w 18334"/>
                  <a:gd name="connsiteY1" fmla="*/ 12700 h 18461"/>
                  <a:gd name="connsiteX2" fmla="*/ 12580 w 18334"/>
                  <a:gd name="connsiteY2" fmla="*/ 679 h 18461"/>
                  <a:gd name="connsiteX3" fmla="*/ 678 w 18334"/>
                  <a:gd name="connsiteY3" fmla="*/ 5762 h 18461"/>
                  <a:gd name="connsiteX4" fmla="*/ 5762 w 18334"/>
                  <a:gd name="connsiteY4" fmla="*/ 17783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1">
                    <a:moveTo>
                      <a:pt x="5762" y="17783"/>
                    </a:moveTo>
                    <a:cubicBezTo>
                      <a:pt x="10487" y="19697"/>
                      <a:pt x="15810" y="17424"/>
                      <a:pt x="17663" y="12700"/>
                    </a:cubicBezTo>
                    <a:cubicBezTo>
                      <a:pt x="19578" y="7975"/>
                      <a:pt x="17245" y="2592"/>
                      <a:pt x="12580" y="679"/>
                    </a:cubicBezTo>
                    <a:cubicBezTo>
                      <a:pt x="7855" y="-1235"/>
                      <a:pt x="2532" y="1037"/>
                      <a:pt x="678" y="5762"/>
                    </a:cubicBezTo>
                    <a:cubicBezTo>
                      <a:pt x="-1235" y="10487"/>
                      <a:pt x="1037" y="15869"/>
                      <a:pt x="5762" y="17783"/>
                    </a:cubicBezTo>
                    <a:close/>
                  </a:path>
                </a:pathLst>
              </a:custGeom>
              <a:grpFill/>
              <a:ln w="5978" cap="flat">
                <a:noFill/>
                <a:prstDash val="solid"/>
                <a:miter/>
              </a:ln>
            </p:spPr>
            <p:txBody>
              <a:bodyPr rtlCol="0" anchor="ctr"/>
              <a:lstStyle/>
              <a:p>
                <a:endParaRPr lang="en-GB"/>
              </a:p>
            </p:txBody>
          </p:sp>
        </p:grpSp>
        <p:grpSp>
          <p:nvGrpSpPr>
            <p:cNvPr id="275" name="Graphic 3">
              <a:extLst>
                <a:ext uri="{FF2B5EF4-FFF2-40B4-BE49-F238E27FC236}">
                  <a16:creationId xmlns:a16="http://schemas.microsoft.com/office/drawing/2014/main" id="{F9B20B53-1FC8-48C5-B32E-5B4575963BA1}"/>
                </a:ext>
              </a:extLst>
            </p:cNvPr>
            <p:cNvGrpSpPr/>
            <p:nvPr/>
          </p:nvGrpSpPr>
          <p:grpSpPr>
            <a:xfrm>
              <a:off x="7133925" y="1884259"/>
              <a:ext cx="113253" cy="140621"/>
              <a:chOff x="7133925" y="1884259"/>
              <a:chExt cx="113253" cy="140621"/>
            </a:xfrm>
            <a:grpFill/>
          </p:grpSpPr>
          <p:sp>
            <p:nvSpPr>
              <p:cNvPr id="4554" name="Vrije vorm: vorm 4553">
                <a:extLst>
                  <a:ext uri="{FF2B5EF4-FFF2-40B4-BE49-F238E27FC236}">
                    <a16:creationId xmlns:a16="http://schemas.microsoft.com/office/drawing/2014/main" id="{E26C7EE2-0452-4A81-B16B-2E26A0BD20D5}"/>
                  </a:ext>
                </a:extLst>
              </p:cNvPr>
              <p:cNvSpPr/>
              <p:nvPr/>
            </p:nvSpPr>
            <p:spPr>
              <a:xfrm>
                <a:off x="7141660" y="1892161"/>
                <a:ext cx="97844" cy="124817"/>
              </a:xfrm>
              <a:custGeom>
                <a:avLst/>
                <a:gdLst>
                  <a:gd name="connsiteX0" fmla="*/ 97845 w 97844"/>
                  <a:gd name="connsiteY0" fmla="*/ 1914 h 124817"/>
                  <a:gd name="connsiteX1" fmla="*/ 2392 w 97844"/>
                  <a:gd name="connsiteY1" fmla="*/ 124818 h 124817"/>
                  <a:gd name="connsiteX2" fmla="*/ 0 w 97844"/>
                  <a:gd name="connsiteY2" fmla="*/ 122904 h 124817"/>
                  <a:gd name="connsiteX3" fmla="*/ 95392 w 97844"/>
                  <a:gd name="connsiteY3" fmla="*/ 0 h 124817"/>
                </a:gdLst>
                <a:ahLst/>
                <a:cxnLst>
                  <a:cxn ang="0">
                    <a:pos x="connsiteX0" y="connsiteY0"/>
                  </a:cxn>
                  <a:cxn ang="0">
                    <a:pos x="connsiteX1" y="connsiteY1"/>
                  </a:cxn>
                  <a:cxn ang="0">
                    <a:pos x="connsiteX2" y="connsiteY2"/>
                  </a:cxn>
                  <a:cxn ang="0">
                    <a:pos x="connsiteX3" y="connsiteY3"/>
                  </a:cxn>
                </a:cxnLst>
                <a:rect l="l" t="t" r="r" b="b"/>
                <a:pathLst>
                  <a:path w="97844" h="124817">
                    <a:moveTo>
                      <a:pt x="97845" y="1914"/>
                    </a:moveTo>
                    <a:lnTo>
                      <a:pt x="2392" y="124818"/>
                    </a:lnTo>
                    <a:lnTo>
                      <a:pt x="0" y="122904"/>
                    </a:lnTo>
                    <a:lnTo>
                      <a:pt x="95392" y="0"/>
                    </a:lnTo>
                    <a:close/>
                  </a:path>
                </a:pathLst>
              </a:custGeom>
              <a:grpFill/>
              <a:ln w="5978" cap="flat">
                <a:noFill/>
                <a:prstDash val="solid"/>
                <a:miter/>
              </a:ln>
            </p:spPr>
            <p:txBody>
              <a:bodyPr rtlCol="0" anchor="ctr"/>
              <a:lstStyle/>
              <a:p>
                <a:endParaRPr lang="en-GB"/>
              </a:p>
            </p:txBody>
          </p:sp>
          <p:sp>
            <p:nvSpPr>
              <p:cNvPr id="4555" name="Vrije vorm: vorm 4554">
                <a:extLst>
                  <a:ext uri="{FF2B5EF4-FFF2-40B4-BE49-F238E27FC236}">
                    <a16:creationId xmlns:a16="http://schemas.microsoft.com/office/drawing/2014/main" id="{B8D8C03E-9352-4B72-A612-F028E197719F}"/>
                  </a:ext>
                </a:extLst>
              </p:cNvPr>
              <p:cNvSpPr/>
              <p:nvPr/>
            </p:nvSpPr>
            <p:spPr>
              <a:xfrm>
                <a:off x="7228840" y="1884259"/>
                <a:ext cx="18338" cy="18435"/>
              </a:xfrm>
              <a:custGeom>
                <a:avLst/>
                <a:gdLst>
                  <a:gd name="connsiteX0" fmla="*/ 1933 w 18338"/>
                  <a:gd name="connsiteY0" fmla="*/ 3536 h 18435"/>
                  <a:gd name="connsiteX1" fmla="*/ 14791 w 18338"/>
                  <a:gd name="connsiteY1" fmla="*/ 1981 h 18435"/>
                  <a:gd name="connsiteX2" fmla="*/ 16406 w 18338"/>
                  <a:gd name="connsiteY2" fmla="*/ 14899 h 18435"/>
                  <a:gd name="connsiteX3" fmla="*/ 3547 w 18338"/>
                  <a:gd name="connsiteY3" fmla="*/ 16454 h 18435"/>
                  <a:gd name="connsiteX4" fmla="*/ 1933 w 18338"/>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5">
                    <a:moveTo>
                      <a:pt x="1933" y="3536"/>
                    </a:moveTo>
                    <a:cubicBezTo>
                      <a:pt x="5042" y="-471"/>
                      <a:pt x="10784" y="-1189"/>
                      <a:pt x="14791" y="1981"/>
                    </a:cubicBezTo>
                    <a:cubicBezTo>
                      <a:pt x="18798" y="5151"/>
                      <a:pt x="19516" y="10892"/>
                      <a:pt x="16406" y="14899"/>
                    </a:cubicBezTo>
                    <a:cubicBezTo>
                      <a:pt x="13296" y="18906"/>
                      <a:pt x="7555" y="19624"/>
                      <a:pt x="3547" y="16454"/>
                    </a:cubicBezTo>
                    <a:cubicBezTo>
                      <a:pt x="-459" y="13285"/>
                      <a:pt x="-1177" y="7543"/>
                      <a:pt x="1933" y="3536"/>
                    </a:cubicBezTo>
                    <a:close/>
                  </a:path>
                </a:pathLst>
              </a:custGeom>
              <a:grpFill/>
              <a:ln w="5978" cap="flat">
                <a:noFill/>
                <a:prstDash val="solid"/>
                <a:miter/>
              </a:ln>
            </p:spPr>
            <p:txBody>
              <a:bodyPr rtlCol="0" anchor="ctr"/>
              <a:lstStyle/>
              <a:p>
                <a:endParaRPr lang="en-GB"/>
              </a:p>
            </p:txBody>
          </p:sp>
          <p:sp>
            <p:nvSpPr>
              <p:cNvPr id="4556" name="Vrije vorm: vorm 4555">
                <a:extLst>
                  <a:ext uri="{FF2B5EF4-FFF2-40B4-BE49-F238E27FC236}">
                    <a16:creationId xmlns:a16="http://schemas.microsoft.com/office/drawing/2014/main" id="{497483F7-4474-4E9E-B293-64E25FAF515D}"/>
                  </a:ext>
                </a:extLst>
              </p:cNvPr>
              <p:cNvSpPr/>
              <p:nvPr/>
            </p:nvSpPr>
            <p:spPr>
              <a:xfrm>
                <a:off x="7133925" y="2006445"/>
                <a:ext cx="18338" cy="18435"/>
              </a:xfrm>
              <a:custGeom>
                <a:avLst/>
                <a:gdLst>
                  <a:gd name="connsiteX0" fmla="*/ 1932 w 18338"/>
                  <a:gd name="connsiteY0" fmla="*/ 3536 h 18435"/>
                  <a:gd name="connsiteX1" fmla="*/ 3547 w 18338"/>
                  <a:gd name="connsiteY1" fmla="*/ 16454 h 18435"/>
                  <a:gd name="connsiteX2" fmla="*/ 16406 w 18338"/>
                  <a:gd name="connsiteY2" fmla="*/ 14899 h 18435"/>
                  <a:gd name="connsiteX3" fmla="*/ 14791 w 18338"/>
                  <a:gd name="connsiteY3" fmla="*/ 1981 h 18435"/>
                  <a:gd name="connsiteX4" fmla="*/ 1932 w 18338"/>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5">
                    <a:moveTo>
                      <a:pt x="1932" y="3536"/>
                    </a:moveTo>
                    <a:cubicBezTo>
                      <a:pt x="-1177" y="7543"/>
                      <a:pt x="-459" y="13344"/>
                      <a:pt x="3547" y="16454"/>
                    </a:cubicBezTo>
                    <a:cubicBezTo>
                      <a:pt x="7555" y="19624"/>
                      <a:pt x="13296" y="18906"/>
                      <a:pt x="16406" y="14899"/>
                    </a:cubicBezTo>
                    <a:cubicBezTo>
                      <a:pt x="19516" y="10892"/>
                      <a:pt x="18798" y="5091"/>
                      <a:pt x="14791" y="1981"/>
                    </a:cubicBezTo>
                    <a:cubicBezTo>
                      <a:pt x="10844" y="-1189"/>
                      <a:pt x="5043" y="-471"/>
                      <a:pt x="1932" y="3536"/>
                    </a:cubicBezTo>
                    <a:close/>
                  </a:path>
                </a:pathLst>
              </a:custGeom>
              <a:grpFill/>
              <a:ln w="5978" cap="flat">
                <a:noFill/>
                <a:prstDash val="solid"/>
                <a:miter/>
              </a:ln>
            </p:spPr>
            <p:txBody>
              <a:bodyPr rtlCol="0" anchor="ctr"/>
              <a:lstStyle/>
              <a:p>
                <a:endParaRPr lang="en-GB"/>
              </a:p>
            </p:txBody>
          </p:sp>
        </p:grpSp>
        <p:grpSp>
          <p:nvGrpSpPr>
            <p:cNvPr id="276" name="Graphic 3">
              <a:extLst>
                <a:ext uri="{FF2B5EF4-FFF2-40B4-BE49-F238E27FC236}">
                  <a16:creationId xmlns:a16="http://schemas.microsoft.com/office/drawing/2014/main" id="{8716C5ED-D26F-4BB6-B246-10BA973E8D31}"/>
                </a:ext>
              </a:extLst>
            </p:cNvPr>
            <p:cNvGrpSpPr/>
            <p:nvPr/>
          </p:nvGrpSpPr>
          <p:grpSpPr>
            <a:xfrm>
              <a:off x="7194973" y="2089522"/>
              <a:ext cx="106645" cy="112466"/>
              <a:chOff x="7194973" y="2089522"/>
              <a:chExt cx="106645" cy="112466"/>
            </a:xfrm>
            <a:grpFill/>
          </p:grpSpPr>
          <p:sp>
            <p:nvSpPr>
              <p:cNvPr id="4551" name="Vrije vorm: vorm 4550">
                <a:extLst>
                  <a:ext uri="{FF2B5EF4-FFF2-40B4-BE49-F238E27FC236}">
                    <a16:creationId xmlns:a16="http://schemas.microsoft.com/office/drawing/2014/main" id="{F0D92673-CCD2-417D-B7ED-76C2EE962E5D}"/>
                  </a:ext>
                </a:extLst>
              </p:cNvPr>
              <p:cNvSpPr/>
              <p:nvPr/>
            </p:nvSpPr>
            <p:spPr>
              <a:xfrm>
                <a:off x="7202723" y="2097300"/>
                <a:ext cx="91086" cy="96827"/>
              </a:xfrm>
              <a:custGeom>
                <a:avLst/>
                <a:gdLst>
                  <a:gd name="connsiteX0" fmla="*/ 91086 w 91086"/>
                  <a:gd name="connsiteY0" fmla="*/ 2153 h 96827"/>
                  <a:gd name="connsiteX1" fmla="*/ 2213 w 91086"/>
                  <a:gd name="connsiteY1" fmla="*/ 96828 h 96827"/>
                  <a:gd name="connsiteX2" fmla="*/ 0 w 91086"/>
                  <a:gd name="connsiteY2" fmla="*/ 94735 h 96827"/>
                  <a:gd name="connsiteX3" fmla="*/ 88873 w 91086"/>
                  <a:gd name="connsiteY3" fmla="*/ 0 h 96827"/>
                </a:gdLst>
                <a:ahLst/>
                <a:cxnLst>
                  <a:cxn ang="0">
                    <a:pos x="connsiteX0" y="connsiteY0"/>
                  </a:cxn>
                  <a:cxn ang="0">
                    <a:pos x="connsiteX1" y="connsiteY1"/>
                  </a:cxn>
                  <a:cxn ang="0">
                    <a:pos x="connsiteX2" y="connsiteY2"/>
                  </a:cxn>
                  <a:cxn ang="0">
                    <a:pos x="connsiteX3" y="connsiteY3"/>
                  </a:cxn>
                </a:cxnLst>
                <a:rect l="l" t="t" r="r" b="b"/>
                <a:pathLst>
                  <a:path w="91086" h="96827">
                    <a:moveTo>
                      <a:pt x="91086" y="2153"/>
                    </a:moveTo>
                    <a:lnTo>
                      <a:pt x="2213" y="96828"/>
                    </a:lnTo>
                    <a:lnTo>
                      <a:pt x="0" y="94735"/>
                    </a:lnTo>
                    <a:lnTo>
                      <a:pt x="88873" y="0"/>
                    </a:lnTo>
                    <a:close/>
                  </a:path>
                </a:pathLst>
              </a:custGeom>
              <a:grpFill/>
              <a:ln w="5978" cap="flat">
                <a:noFill/>
                <a:prstDash val="solid"/>
                <a:miter/>
              </a:ln>
            </p:spPr>
            <p:txBody>
              <a:bodyPr rtlCol="0" anchor="ctr"/>
              <a:lstStyle/>
              <a:p>
                <a:endParaRPr lang="en-GB"/>
              </a:p>
            </p:txBody>
          </p:sp>
          <p:sp>
            <p:nvSpPr>
              <p:cNvPr id="4552" name="Vrije vorm: vorm 4551">
                <a:extLst>
                  <a:ext uri="{FF2B5EF4-FFF2-40B4-BE49-F238E27FC236}">
                    <a16:creationId xmlns:a16="http://schemas.microsoft.com/office/drawing/2014/main" id="{3F848C04-5094-4CFB-A888-BE8875904259}"/>
                  </a:ext>
                </a:extLst>
              </p:cNvPr>
              <p:cNvSpPr/>
              <p:nvPr/>
            </p:nvSpPr>
            <p:spPr>
              <a:xfrm>
                <a:off x="7283248" y="2089522"/>
                <a:ext cx="18370" cy="18426"/>
              </a:xfrm>
              <a:custGeom>
                <a:avLst/>
                <a:gdLst>
                  <a:gd name="connsiteX0" fmla="*/ 2487 w 18370"/>
                  <a:gd name="connsiteY0" fmla="*/ 2874 h 18426"/>
                  <a:gd name="connsiteX1" fmla="*/ 15465 w 18370"/>
                  <a:gd name="connsiteY1" fmla="*/ 2515 h 18426"/>
                  <a:gd name="connsiteX2" fmla="*/ 15883 w 18370"/>
                  <a:gd name="connsiteY2" fmla="*/ 15553 h 18426"/>
                  <a:gd name="connsiteX3" fmla="*/ 2905 w 18370"/>
                  <a:gd name="connsiteY3" fmla="*/ 15912 h 18426"/>
                  <a:gd name="connsiteX4" fmla="*/ 2487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7" y="2874"/>
                    </a:moveTo>
                    <a:cubicBezTo>
                      <a:pt x="5955" y="-834"/>
                      <a:pt x="11757" y="-954"/>
                      <a:pt x="15465" y="2515"/>
                    </a:cubicBezTo>
                    <a:cubicBezTo>
                      <a:pt x="19173" y="5984"/>
                      <a:pt x="19352" y="11845"/>
                      <a:pt x="15883" y="15553"/>
                    </a:cubicBezTo>
                    <a:cubicBezTo>
                      <a:pt x="12415" y="19261"/>
                      <a:pt x="6613" y="19381"/>
                      <a:pt x="2905" y="15912"/>
                    </a:cubicBezTo>
                    <a:cubicBezTo>
                      <a:pt x="-803" y="12383"/>
                      <a:pt x="-982" y="6522"/>
                      <a:pt x="2487" y="2874"/>
                    </a:cubicBezTo>
                    <a:close/>
                  </a:path>
                </a:pathLst>
              </a:custGeom>
              <a:grpFill/>
              <a:ln w="5978" cap="flat">
                <a:noFill/>
                <a:prstDash val="solid"/>
                <a:miter/>
              </a:ln>
            </p:spPr>
            <p:txBody>
              <a:bodyPr rtlCol="0" anchor="ctr"/>
              <a:lstStyle/>
              <a:p>
                <a:endParaRPr lang="en-GB"/>
              </a:p>
            </p:txBody>
          </p:sp>
          <p:sp>
            <p:nvSpPr>
              <p:cNvPr id="4553" name="Vrije vorm: vorm 4552">
                <a:extLst>
                  <a:ext uri="{FF2B5EF4-FFF2-40B4-BE49-F238E27FC236}">
                    <a16:creationId xmlns:a16="http://schemas.microsoft.com/office/drawing/2014/main" id="{9806058B-E958-4EE1-B1FF-C656EEDEA128}"/>
                  </a:ext>
                </a:extLst>
              </p:cNvPr>
              <p:cNvSpPr/>
              <p:nvPr/>
            </p:nvSpPr>
            <p:spPr>
              <a:xfrm>
                <a:off x="7194973" y="2183539"/>
                <a:ext cx="18370" cy="18449"/>
              </a:xfrm>
              <a:custGeom>
                <a:avLst/>
                <a:gdLst>
                  <a:gd name="connsiteX0" fmla="*/ 2487 w 18370"/>
                  <a:gd name="connsiteY0" fmla="*/ 2874 h 18449"/>
                  <a:gd name="connsiteX1" fmla="*/ 2906 w 18370"/>
                  <a:gd name="connsiteY1" fmla="*/ 15912 h 18449"/>
                  <a:gd name="connsiteX2" fmla="*/ 15883 w 18370"/>
                  <a:gd name="connsiteY2" fmla="*/ 15553 h 18449"/>
                  <a:gd name="connsiteX3" fmla="*/ 15465 w 18370"/>
                  <a:gd name="connsiteY3" fmla="*/ 2515 h 18449"/>
                  <a:gd name="connsiteX4" fmla="*/ 2487 w 18370"/>
                  <a:gd name="connsiteY4" fmla="*/ 2874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49">
                    <a:moveTo>
                      <a:pt x="2487" y="2874"/>
                    </a:moveTo>
                    <a:cubicBezTo>
                      <a:pt x="-982" y="6582"/>
                      <a:pt x="-803" y="12383"/>
                      <a:pt x="2906" y="15912"/>
                    </a:cubicBezTo>
                    <a:cubicBezTo>
                      <a:pt x="6614" y="19440"/>
                      <a:pt x="12415" y="19261"/>
                      <a:pt x="15883" y="15553"/>
                    </a:cubicBezTo>
                    <a:cubicBezTo>
                      <a:pt x="19353" y="11845"/>
                      <a:pt x="19173" y="6044"/>
                      <a:pt x="15465" y="2515"/>
                    </a:cubicBezTo>
                    <a:cubicBezTo>
                      <a:pt x="11757" y="-954"/>
                      <a:pt x="5955" y="-834"/>
                      <a:pt x="2487" y="2874"/>
                    </a:cubicBezTo>
                    <a:close/>
                  </a:path>
                </a:pathLst>
              </a:custGeom>
              <a:grpFill/>
              <a:ln w="5978" cap="flat">
                <a:noFill/>
                <a:prstDash val="solid"/>
                <a:miter/>
              </a:ln>
            </p:spPr>
            <p:txBody>
              <a:bodyPr rtlCol="0" anchor="ctr"/>
              <a:lstStyle/>
              <a:p>
                <a:endParaRPr lang="en-GB"/>
              </a:p>
            </p:txBody>
          </p:sp>
        </p:grpSp>
        <p:grpSp>
          <p:nvGrpSpPr>
            <p:cNvPr id="277" name="Graphic 3">
              <a:extLst>
                <a:ext uri="{FF2B5EF4-FFF2-40B4-BE49-F238E27FC236}">
                  <a16:creationId xmlns:a16="http://schemas.microsoft.com/office/drawing/2014/main" id="{C40ED6BD-ADE1-415F-B791-D788700BF215}"/>
                </a:ext>
              </a:extLst>
            </p:cNvPr>
            <p:cNvGrpSpPr/>
            <p:nvPr/>
          </p:nvGrpSpPr>
          <p:grpSpPr>
            <a:xfrm>
              <a:off x="7703418" y="3703516"/>
              <a:ext cx="138652" cy="39942"/>
              <a:chOff x="7703418" y="3703516"/>
              <a:chExt cx="138652" cy="39942"/>
            </a:xfrm>
            <a:grpFill/>
          </p:grpSpPr>
          <p:sp>
            <p:nvSpPr>
              <p:cNvPr id="4548" name="Vrije vorm: vorm 4547">
                <a:extLst>
                  <a:ext uri="{FF2B5EF4-FFF2-40B4-BE49-F238E27FC236}">
                    <a16:creationId xmlns:a16="http://schemas.microsoft.com/office/drawing/2014/main" id="{9EFEEA56-C9D6-40E2-AC01-8B6C96AC1812}"/>
                  </a:ext>
                </a:extLst>
              </p:cNvPr>
              <p:cNvSpPr/>
              <p:nvPr/>
            </p:nvSpPr>
            <p:spPr>
              <a:xfrm>
                <a:off x="7711861" y="3711137"/>
                <a:ext cx="121707" cy="24640"/>
              </a:xfrm>
              <a:custGeom>
                <a:avLst/>
                <a:gdLst>
                  <a:gd name="connsiteX0" fmla="*/ 121708 w 121707"/>
                  <a:gd name="connsiteY0" fmla="*/ 21650 h 24640"/>
                  <a:gd name="connsiteX1" fmla="*/ 121229 w 121707"/>
                  <a:gd name="connsiteY1" fmla="*/ 24641 h 24640"/>
                  <a:gd name="connsiteX2" fmla="*/ 0 w 121707"/>
                  <a:gd name="connsiteY2" fmla="*/ 3050 h 24640"/>
                  <a:gd name="connsiteX3" fmla="*/ 478 w 121707"/>
                  <a:gd name="connsiteY3" fmla="*/ 0 h 24640"/>
                </a:gdLst>
                <a:ahLst/>
                <a:cxnLst>
                  <a:cxn ang="0">
                    <a:pos x="connsiteX0" y="connsiteY0"/>
                  </a:cxn>
                  <a:cxn ang="0">
                    <a:pos x="connsiteX1" y="connsiteY1"/>
                  </a:cxn>
                  <a:cxn ang="0">
                    <a:pos x="connsiteX2" y="connsiteY2"/>
                  </a:cxn>
                  <a:cxn ang="0">
                    <a:pos x="connsiteX3" y="connsiteY3"/>
                  </a:cxn>
                </a:cxnLst>
                <a:rect l="l" t="t" r="r" b="b"/>
                <a:pathLst>
                  <a:path w="121707" h="24640">
                    <a:moveTo>
                      <a:pt x="121708" y="21650"/>
                    </a:moveTo>
                    <a:lnTo>
                      <a:pt x="121229" y="24641"/>
                    </a:lnTo>
                    <a:lnTo>
                      <a:pt x="0" y="3050"/>
                    </a:lnTo>
                    <a:lnTo>
                      <a:pt x="478" y="0"/>
                    </a:lnTo>
                    <a:close/>
                  </a:path>
                </a:pathLst>
              </a:custGeom>
              <a:grpFill/>
              <a:ln w="5978" cap="flat">
                <a:noFill/>
                <a:prstDash val="solid"/>
                <a:miter/>
              </a:ln>
            </p:spPr>
            <p:txBody>
              <a:bodyPr rtlCol="0" anchor="ctr"/>
              <a:lstStyle/>
              <a:p>
                <a:endParaRPr lang="en-GB"/>
              </a:p>
            </p:txBody>
          </p:sp>
          <p:sp>
            <p:nvSpPr>
              <p:cNvPr id="4549" name="Vrije vorm: vorm 4548">
                <a:extLst>
                  <a:ext uri="{FF2B5EF4-FFF2-40B4-BE49-F238E27FC236}">
                    <a16:creationId xmlns:a16="http://schemas.microsoft.com/office/drawing/2014/main" id="{FC48F52C-5AA8-41CA-9F98-D836B05963BC}"/>
                  </a:ext>
                </a:extLst>
              </p:cNvPr>
              <p:cNvSpPr/>
              <p:nvPr/>
            </p:nvSpPr>
            <p:spPr>
              <a:xfrm>
                <a:off x="7823752" y="3724987"/>
                <a:ext cx="18318" cy="18472"/>
              </a:xfrm>
              <a:custGeom>
                <a:avLst/>
                <a:gdLst>
                  <a:gd name="connsiteX0" fmla="*/ 10714 w 18318"/>
                  <a:gd name="connsiteY0" fmla="*/ 145 h 18472"/>
                  <a:gd name="connsiteX1" fmla="*/ 18190 w 18318"/>
                  <a:gd name="connsiteY1" fmla="*/ 10851 h 18472"/>
                  <a:gd name="connsiteX2" fmla="*/ 7604 w 18318"/>
                  <a:gd name="connsiteY2" fmla="*/ 18327 h 18472"/>
                  <a:gd name="connsiteX3" fmla="*/ 128 w 18318"/>
                  <a:gd name="connsiteY3" fmla="*/ 7621 h 18472"/>
                  <a:gd name="connsiteX4" fmla="*/ 10714 w 18318"/>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2">
                    <a:moveTo>
                      <a:pt x="10714" y="145"/>
                    </a:moveTo>
                    <a:cubicBezTo>
                      <a:pt x="15678" y="1042"/>
                      <a:pt x="19028" y="5827"/>
                      <a:pt x="18190" y="10851"/>
                    </a:cubicBezTo>
                    <a:cubicBezTo>
                      <a:pt x="17353" y="15875"/>
                      <a:pt x="12569" y="19224"/>
                      <a:pt x="7604" y="18327"/>
                    </a:cubicBezTo>
                    <a:cubicBezTo>
                      <a:pt x="2640" y="17430"/>
                      <a:pt x="-709" y="12645"/>
                      <a:pt x="128" y="7621"/>
                    </a:cubicBezTo>
                    <a:cubicBezTo>
                      <a:pt x="966" y="2597"/>
                      <a:pt x="5691" y="-752"/>
                      <a:pt x="10714" y="145"/>
                    </a:cubicBezTo>
                    <a:close/>
                  </a:path>
                </a:pathLst>
              </a:custGeom>
              <a:grpFill/>
              <a:ln w="5978" cap="flat">
                <a:noFill/>
                <a:prstDash val="solid"/>
                <a:miter/>
              </a:ln>
            </p:spPr>
            <p:txBody>
              <a:bodyPr rtlCol="0" anchor="ctr"/>
              <a:lstStyle/>
              <a:p>
                <a:endParaRPr lang="en-GB"/>
              </a:p>
            </p:txBody>
          </p:sp>
          <p:sp>
            <p:nvSpPr>
              <p:cNvPr id="4550" name="Vrije vorm: vorm 4549">
                <a:extLst>
                  <a:ext uri="{FF2B5EF4-FFF2-40B4-BE49-F238E27FC236}">
                    <a16:creationId xmlns:a16="http://schemas.microsoft.com/office/drawing/2014/main" id="{350476B1-0927-40CA-822F-A4AD84B0EB8E}"/>
                  </a:ext>
                </a:extLst>
              </p:cNvPr>
              <p:cNvSpPr/>
              <p:nvPr/>
            </p:nvSpPr>
            <p:spPr>
              <a:xfrm>
                <a:off x="7703418" y="3703516"/>
                <a:ext cx="18320" cy="18472"/>
              </a:xfrm>
              <a:custGeom>
                <a:avLst/>
                <a:gdLst>
                  <a:gd name="connsiteX0" fmla="*/ 10716 w 18320"/>
                  <a:gd name="connsiteY0" fmla="*/ 145 h 18472"/>
                  <a:gd name="connsiteX1" fmla="*/ 130 w 18320"/>
                  <a:gd name="connsiteY1" fmla="*/ 7621 h 18472"/>
                  <a:gd name="connsiteX2" fmla="*/ 7606 w 18320"/>
                  <a:gd name="connsiteY2" fmla="*/ 18327 h 18472"/>
                  <a:gd name="connsiteX3" fmla="*/ 18192 w 18320"/>
                  <a:gd name="connsiteY3" fmla="*/ 10851 h 18472"/>
                  <a:gd name="connsiteX4" fmla="*/ 10716 w 18320"/>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72">
                    <a:moveTo>
                      <a:pt x="10716" y="145"/>
                    </a:moveTo>
                    <a:cubicBezTo>
                      <a:pt x="5752" y="-752"/>
                      <a:pt x="967" y="2597"/>
                      <a:pt x="130" y="7621"/>
                    </a:cubicBezTo>
                    <a:cubicBezTo>
                      <a:pt x="-707" y="12645"/>
                      <a:pt x="2582" y="17430"/>
                      <a:pt x="7606" y="18327"/>
                    </a:cubicBezTo>
                    <a:cubicBezTo>
                      <a:pt x="12570" y="19224"/>
                      <a:pt x="17355" y="15875"/>
                      <a:pt x="18192" y="10851"/>
                    </a:cubicBezTo>
                    <a:cubicBezTo>
                      <a:pt x="19029" y="5827"/>
                      <a:pt x="15680" y="1042"/>
                      <a:pt x="10716" y="145"/>
                    </a:cubicBezTo>
                    <a:close/>
                  </a:path>
                </a:pathLst>
              </a:custGeom>
              <a:grpFill/>
              <a:ln w="5978" cap="flat">
                <a:noFill/>
                <a:prstDash val="solid"/>
                <a:miter/>
              </a:ln>
            </p:spPr>
            <p:txBody>
              <a:bodyPr rtlCol="0" anchor="ctr"/>
              <a:lstStyle/>
              <a:p>
                <a:endParaRPr lang="en-GB"/>
              </a:p>
            </p:txBody>
          </p:sp>
        </p:grpSp>
        <p:grpSp>
          <p:nvGrpSpPr>
            <p:cNvPr id="278" name="Graphic 3">
              <a:extLst>
                <a:ext uri="{FF2B5EF4-FFF2-40B4-BE49-F238E27FC236}">
                  <a16:creationId xmlns:a16="http://schemas.microsoft.com/office/drawing/2014/main" id="{E09AEE32-DC88-4884-80FE-156A5636FBB2}"/>
                </a:ext>
              </a:extLst>
            </p:cNvPr>
            <p:cNvGrpSpPr/>
            <p:nvPr/>
          </p:nvGrpSpPr>
          <p:grpSpPr>
            <a:xfrm>
              <a:off x="6732505" y="752574"/>
              <a:ext cx="393146" cy="956119"/>
              <a:chOff x="6732505" y="752574"/>
              <a:chExt cx="393146" cy="956119"/>
            </a:xfrm>
            <a:grpFill/>
          </p:grpSpPr>
          <p:sp>
            <p:nvSpPr>
              <p:cNvPr id="4545" name="Vrije vorm: vorm 4544">
                <a:extLst>
                  <a:ext uri="{FF2B5EF4-FFF2-40B4-BE49-F238E27FC236}">
                    <a16:creationId xmlns:a16="http://schemas.microsoft.com/office/drawing/2014/main" id="{E2AC44D9-6688-4786-8361-7F68201C3E45}"/>
                  </a:ext>
                </a:extLst>
              </p:cNvPr>
              <p:cNvSpPr/>
              <p:nvPr/>
            </p:nvSpPr>
            <p:spPr>
              <a:xfrm>
                <a:off x="6740114" y="760788"/>
                <a:ext cx="377981" cy="939690"/>
              </a:xfrm>
              <a:custGeom>
                <a:avLst/>
                <a:gdLst>
                  <a:gd name="connsiteX0" fmla="*/ 377981 w 377981"/>
                  <a:gd name="connsiteY0" fmla="*/ 1136 h 939690"/>
                  <a:gd name="connsiteX1" fmla="*/ 2811 w 377981"/>
                  <a:gd name="connsiteY1" fmla="*/ 939691 h 939690"/>
                  <a:gd name="connsiteX2" fmla="*/ 0 w 377981"/>
                  <a:gd name="connsiteY2" fmla="*/ 938495 h 939690"/>
                  <a:gd name="connsiteX3" fmla="*/ 375171 w 377981"/>
                  <a:gd name="connsiteY3" fmla="*/ 0 h 939690"/>
                </a:gdLst>
                <a:ahLst/>
                <a:cxnLst>
                  <a:cxn ang="0">
                    <a:pos x="connsiteX0" y="connsiteY0"/>
                  </a:cxn>
                  <a:cxn ang="0">
                    <a:pos x="connsiteX1" y="connsiteY1"/>
                  </a:cxn>
                  <a:cxn ang="0">
                    <a:pos x="connsiteX2" y="connsiteY2"/>
                  </a:cxn>
                  <a:cxn ang="0">
                    <a:pos x="connsiteX3" y="connsiteY3"/>
                  </a:cxn>
                </a:cxnLst>
                <a:rect l="l" t="t" r="r" b="b"/>
                <a:pathLst>
                  <a:path w="377981" h="939690">
                    <a:moveTo>
                      <a:pt x="377981" y="1136"/>
                    </a:moveTo>
                    <a:lnTo>
                      <a:pt x="2811" y="939691"/>
                    </a:lnTo>
                    <a:lnTo>
                      <a:pt x="0" y="938495"/>
                    </a:lnTo>
                    <a:lnTo>
                      <a:pt x="375171" y="0"/>
                    </a:lnTo>
                    <a:close/>
                  </a:path>
                </a:pathLst>
              </a:custGeom>
              <a:grpFill/>
              <a:ln w="5978" cap="flat">
                <a:noFill/>
                <a:prstDash val="solid"/>
                <a:miter/>
              </a:ln>
            </p:spPr>
            <p:txBody>
              <a:bodyPr rtlCol="0" anchor="ctr"/>
              <a:lstStyle/>
              <a:p>
                <a:endParaRPr lang="en-GB"/>
              </a:p>
            </p:txBody>
          </p:sp>
          <p:sp>
            <p:nvSpPr>
              <p:cNvPr id="4546" name="Vrije vorm: vorm 4545">
                <a:extLst>
                  <a:ext uri="{FF2B5EF4-FFF2-40B4-BE49-F238E27FC236}">
                    <a16:creationId xmlns:a16="http://schemas.microsoft.com/office/drawing/2014/main" id="{01DBB450-1D67-4AC7-893C-A844770D2749}"/>
                  </a:ext>
                </a:extLst>
              </p:cNvPr>
              <p:cNvSpPr/>
              <p:nvPr/>
            </p:nvSpPr>
            <p:spPr>
              <a:xfrm>
                <a:off x="7107342" y="752574"/>
                <a:ext cx="18309" cy="18461"/>
              </a:xfrm>
              <a:custGeom>
                <a:avLst/>
                <a:gdLst>
                  <a:gd name="connsiteX0" fmla="*/ 646 w 18309"/>
                  <a:gd name="connsiteY0" fmla="*/ 5762 h 18461"/>
                  <a:gd name="connsiteX1" fmla="*/ 12548 w 18309"/>
                  <a:gd name="connsiteY1" fmla="*/ 679 h 18461"/>
                  <a:gd name="connsiteX2" fmla="*/ 17631 w 18309"/>
                  <a:gd name="connsiteY2" fmla="*/ 12700 h 18461"/>
                  <a:gd name="connsiteX3" fmla="*/ 5730 w 18309"/>
                  <a:gd name="connsiteY3" fmla="*/ 17783 h 18461"/>
                  <a:gd name="connsiteX4" fmla="*/ 646 w 18309"/>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646" y="5762"/>
                    </a:moveTo>
                    <a:cubicBezTo>
                      <a:pt x="2500" y="1037"/>
                      <a:pt x="7883" y="-1235"/>
                      <a:pt x="12548" y="679"/>
                    </a:cubicBezTo>
                    <a:cubicBezTo>
                      <a:pt x="17273" y="2592"/>
                      <a:pt x="19545" y="7975"/>
                      <a:pt x="17631" y="12700"/>
                    </a:cubicBezTo>
                    <a:cubicBezTo>
                      <a:pt x="15718" y="17425"/>
                      <a:pt x="10395" y="19697"/>
                      <a:pt x="5730" y="17783"/>
                    </a:cubicBezTo>
                    <a:cubicBezTo>
                      <a:pt x="1064" y="15870"/>
                      <a:pt x="-1208" y="10487"/>
                      <a:pt x="646" y="5762"/>
                    </a:cubicBezTo>
                    <a:close/>
                  </a:path>
                </a:pathLst>
              </a:custGeom>
              <a:grpFill/>
              <a:ln w="5978" cap="flat">
                <a:noFill/>
                <a:prstDash val="solid"/>
                <a:miter/>
              </a:ln>
            </p:spPr>
            <p:txBody>
              <a:bodyPr rtlCol="0" anchor="ctr"/>
              <a:lstStyle/>
              <a:p>
                <a:endParaRPr lang="en-GB"/>
              </a:p>
            </p:txBody>
          </p:sp>
          <p:sp>
            <p:nvSpPr>
              <p:cNvPr id="4547" name="Vrije vorm: vorm 4546">
                <a:extLst>
                  <a:ext uri="{FF2B5EF4-FFF2-40B4-BE49-F238E27FC236}">
                    <a16:creationId xmlns:a16="http://schemas.microsoft.com/office/drawing/2014/main" id="{FC88EAA8-38A6-41AD-B01E-E5CE62254B51}"/>
                  </a:ext>
                </a:extLst>
              </p:cNvPr>
              <p:cNvSpPr/>
              <p:nvPr/>
            </p:nvSpPr>
            <p:spPr>
              <a:xfrm>
                <a:off x="6732505" y="1690231"/>
                <a:ext cx="18326" cy="18461"/>
              </a:xfrm>
              <a:custGeom>
                <a:avLst/>
                <a:gdLst>
                  <a:gd name="connsiteX0" fmla="*/ 671 w 18326"/>
                  <a:gd name="connsiteY0" fmla="*/ 5762 h 18461"/>
                  <a:gd name="connsiteX1" fmla="*/ 5755 w 18326"/>
                  <a:gd name="connsiteY1" fmla="*/ 17783 h 18461"/>
                  <a:gd name="connsiteX2" fmla="*/ 17656 w 18326"/>
                  <a:gd name="connsiteY2" fmla="*/ 12700 h 18461"/>
                  <a:gd name="connsiteX3" fmla="*/ 12572 w 18326"/>
                  <a:gd name="connsiteY3" fmla="*/ 679 h 18461"/>
                  <a:gd name="connsiteX4" fmla="*/ 671 w 18326"/>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671" y="5762"/>
                    </a:moveTo>
                    <a:cubicBezTo>
                      <a:pt x="-1243" y="10487"/>
                      <a:pt x="1089" y="15870"/>
                      <a:pt x="5755" y="17783"/>
                    </a:cubicBezTo>
                    <a:cubicBezTo>
                      <a:pt x="10479" y="19697"/>
                      <a:pt x="15802" y="17425"/>
                      <a:pt x="17656" y="12700"/>
                    </a:cubicBezTo>
                    <a:cubicBezTo>
                      <a:pt x="19570" y="7975"/>
                      <a:pt x="17237" y="2592"/>
                      <a:pt x="12572" y="679"/>
                    </a:cubicBezTo>
                    <a:cubicBezTo>
                      <a:pt x="7908" y="-1235"/>
                      <a:pt x="2585" y="1037"/>
                      <a:pt x="671" y="5762"/>
                    </a:cubicBezTo>
                    <a:close/>
                  </a:path>
                </a:pathLst>
              </a:custGeom>
              <a:grpFill/>
              <a:ln w="5978" cap="flat">
                <a:noFill/>
                <a:prstDash val="solid"/>
                <a:miter/>
              </a:ln>
            </p:spPr>
            <p:txBody>
              <a:bodyPr rtlCol="0" anchor="ctr"/>
              <a:lstStyle/>
              <a:p>
                <a:endParaRPr lang="en-GB"/>
              </a:p>
            </p:txBody>
          </p:sp>
        </p:grpSp>
        <p:grpSp>
          <p:nvGrpSpPr>
            <p:cNvPr id="279" name="Graphic 3">
              <a:extLst>
                <a:ext uri="{FF2B5EF4-FFF2-40B4-BE49-F238E27FC236}">
                  <a16:creationId xmlns:a16="http://schemas.microsoft.com/office/drawing/2014/main" id="{42C5F576-5C26-4A53-AE9F-D20F8D280BC9}"/>
                </a:ext>
              </a:extLst>
            </p:cNvPr>
            <p:cNvGrpSpPr/>
            <p:nvPr/>
          </p:nvGrpSpPr>
          <p:grpSpPr>
            <a:xfrm>
              <a:off x="7681234" y="3828927"/>
              <a:ext cx="288761" cy="123929"/>
              <a:chOff x="7681234" y="3828927"/>
              <a:chExt cx="288761" cy="123929"/>
            </a:xfrm>
            <a:grpFill/>
          </p:grpSpPr>
          <p:sp>
            <p:nvSpPr>
              <p:cNvPr id="4542" name="Vrije vorm: vorm 4541">
                <a:extLst>
                  <a:ext uri="{FF2B5EF4-FFF2-40B4-BE49-F238E27FC236}">
                    <a16:creationId xmlns:a16="http://schemas.microsoft.com/office/drawing/2014/main" id="{34E3DC64-CA7A-4FD3-9D05-885BFE6C96E3}"/>
                  </a:ext>
                </a:extLst>
              </p:cNvPr>
              <p:cNvSpPr/>
              <p:nvPr/>
            </p:nvSpPr>
            <p:spPr>
              <a:xfrm>
                <a:off x="7689434" y="3836553"/>
                <a:ext cx="272362" cy="108669"/>
              </a:xfrm>
              <a:custGeom>
                <a:avLst/>
                <a:gdLst>
                  <a:gd name="connsiteX0" fmla="*/ 272362 w 272362"/>
                  <a:gd name="connsiteY0" fmla="*/ 105799 h 108669"/>
                  <a:gd name="connsiteX1" fmla="*/ 271285 w 272362"/>
                  <a:gd name="connsiteY1" fmla="*/ 108670 h 108669"/>
                  <a:gd name="connsiteX2" fmla="*/ 0 w 272362"/>
                  <a:gd name="connsiteY2" fmla="*/ 2811 h 108669"/>
                  <a:gd name="connsiteX3" fmla="*/ 1077 w 272362"/>
                  <a:gd name="connsiteY3" fmla="*/ 0 h 108669"/>
                </a:gdLst>
                <a:ahLst/>
                <a:cxnLst>
                  <a:cxn ang="0">
                    <a:pos x="connsiteX0" y="connsiteY0"/>
                  </a:cxn>
                  <a:cxn ang="0">
                    <a:pos x="connsiteX1" y="connsiteY1"/>
                  </a:cxn>
                  <a:cxn ang="0">
                    <a:pos x="connsiteX2" y="connsiteY2"/>
                  </a:cxn>
                  <a:cxn ang="0">
                    <a:pos x="connsiteX3" y="connsiteY3"/>
                  </a:cxn>
                </a:cxnLst>
                <a:rect l="l" t="t" r="r" b="b"/>
                <a:pathLst>
                  <a:path w="272362" h="108669">
                    <a:moveTo>
                      <a:pt x="272362" y="105799"/>
                    </a:moveTo>
                    <a:lnTo>
                      <a:pt x="271285" y="108670"/>
                    </a:lnTo>
                    <a:lnTo>
                      <a:pt x="0" y="2811"/>
                    </a:lnTo>
                    <a:lnTo>
                      <a:pt x="1077" y="0"/>
                    </a:lnTo>
                    <a:close/>
                  </a:path>
                </a:pathLst>
              </a:custGeom>
              <a:grpFill/>
              <a:ln w="5978" cap="flat">
                <a:noFill/>
                <a:prstDash val="solid"/>
                <a:miter/>
              </a:ln>
            </p:spPr>
            <p:txBody>
              <a:bodyPr rtlCol="0" anchor="ctr"/>
              <a:lstStyle/>
              <a:p>
                <a:endParaRPr lang="en-GB"/>
              </a:p>
            </p:txBody>
          </p:sp>
          <p:sp>
            <p:nvSpPr>
              <p:cNvPr id="4543" name="Vrije vorm: vorm 4542">
                <a:extLst>
                  <a:ext uri="{FF2B5EF4-FFF2-40B4-BE49-F238E27FC236}">
                    <a16:creationId xmlns:a16="http://schemas.microsoft.com/office/drawing/2014/main" id="{F50F9A66-895F-4450-B6DC-59649B71CE84}"/>
                  </a:ext>
                </a:extLst>
              </p:cNvPr>
              <p:cNvSpPr/>
              <p:nvPr/>
            </p:nvSpPr>
            <p:spPr>
              <a:xfrm>
                <a:off x="7681234" y="3828927"/>
                <a:ext cx="18313" cy="18421"/>
              </a:xfrm>
              <a:custGeom>
                <a:avLst/>
                <a:gdLst>
                  <a:gd name="connsiteX0" fmla="*/ 5867 w 18313"/>
                  <a:gd name="connsiteY0" fmla="*/ 17793 h 18421"/>
                  <a:gd name="connsiteX1" fmla="*/ 604 w 18313"/>
                  <a:gd name="connsiteY1" fmla="*/ 5892 h 18421"/>
                  <a:gd name="connsiteX2" fmla="*/ 12446 w 18313"/>
                  <a:gd name="connsiteY2" fmla="*/ 629 h 18421"/>
                  <a:gd name="connsiteX3" fmla="*/ 17709 w 18313"/>
                  <a:gd name="connsiteY3" fmla="*/ 12530 h 18421"/>
                  <a:gd name="connsiteX4" fmla="*/ 5867 w 18313"/>
                  <a:gd name="connsiteY4" fmla="*/ 1779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1">
                    <a:moveTo>
                      <a:pt x="5867" y="17793"/>
                    </a:moveTo>
                    <a:cubicBezTo>
                      <a:pt x="1142" y="15939"/>
                      <a:pt x="-1190" y="10617"/>
                      <a:pt x="604" y="5892"/>
                    </a:cubicBezTo>
                    <a:cubicBezTo>
                      <a:pt x="2399" y="1167"/>
                      <a:pt x="7722" y="-1225"/>
                      <a:pt x="12446" y="629"/>
                    </a:cubicBezTo>
                    <a:cubicBezTo>
                      <a:pt x="17171" y="2483"/>
                      <a:pt x="19503" y="7806"/>
                      <a:pt x="17709" y="12530"/>
                    </a:cubicBezTo>
                    <a:cubicBezTo>
                      <a:pt x="15915" y="17255"/>
                      <a:pt x="10592" y="19647"/>
                      <a:pt x="5867" y="17793"/>
                    </a:cubicBezTo>
                    <a:close/>
                  </a:path>
                </a:pathLst>
              </a:custGeom>
              <a:grpFill/>
              <a:ln w="5978" cap="flat">
                <a:noFill/>
                <a:prstDash val="solid"/>
                <a:miter/>
              </a:ln>
            </p:spPr>
            <p:txBody>
              <a:bodyPr rtlCol="0" anchor="ctr"/>
              <a:lstStyle/>
              <a:p>
                <a:endParaRPr lang="en-GB"/>
              </a:p>
            </p:txBody>
          </p:sp>
          <p:sp>
            <p:nvSpPr>
              <p:cNvPr id="4544" name="Vrije vorm: vorm 4543">
                <a:extLst>
                  <a:ext uri="{FF2B5EF4-FFF2-40B4-BE49-F238E27FC236}">
                    <a16:creationId xmlns:a16="http://schemas.microsoft.com/office/drawing/2014/main" id="{B2A0D9DB-815D-4C3C-BF82-9ACA199A1624}"/>
                  </a:ext>
                </a:extLst>
              </p:cNvPr>
              <p:cNvSpPr/>
              <p:nvPr/>
            </p:nvSpPr>
            <p:spPr>
              <a:xfrm>
                <a:off x="7951682" y="3934427"/>
                <a:ext cx="18313" cy="18429"/>
              </a:xfrm>
              <a:custGeom>
                <a:avLst/>
                <a:gdLst>
                  <a:gd name="connsiteX0" fmla="*/ 5867 w 18313"/>
                  <a:gd name="connsiteY0" fmla="*/ 17793 h 18429"/>
                  <a:gd name="connsiteX1" fmla="*/ 17710 w 18313"/>
                  <a:gd name="connsiteY1" fmla="*/ 12530 h 18429"/>
                  <a:gd name="connsiteX2" fmla="*/ 12446 w 18313"/>
                  <a:gd name="connsiteY2" fmla="*/ 629 h 18429"/>
                  <a:gd name="connsiteX3" fmla="*/ 604 w 18313"/>
                  <a:gd name="connsiteY3" fmla="*/ 5892 h 18429"/>
                  <a:gd name="connsiteX4" fmla="*/ 5867 w 18313"/>
                  <a:gd name="connsiteY4" fmla="*/ 1779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9">
                    <a:moveTo>
                      <a:pt x="5867" y="17793"/>
                    </a:moveTo>
                    <a:cubicBezTo>
                      <a:pt x="10592" y="19647"/>
                      <a:pt x="15915" y="17315"/>
                      <a:pt x="17710" y="12530"/>
                    </a:cubicBezTo>
                    <a:cubicBezTo>
                      <a:pt x="19503" y="7806"/>
                      <a:pt x="17171" y="2423"/>
                      <a:pt x="12446" y="629"/>
                    </a:cubicBezTo>
                    <a:cubicBezTo>
                      <a:pt x="7721" y="-1225"/>
                      <a:pt x="2399" y="1167"/>
                      <a:pt x="604" y="5892"/>
                    </a:cubicBezTo>
                    <a:cubicBezTo>
                      <a:pt x="-1190" y="10556"/>
                      <a:pt x="1143" y="15939"/>
                      <a:pt x="5867" y="17793"/>
                    </a:cubicBezTo>
                    <a:close/>
                  </a:path>
                </a:pathLst>
              </a:custGeom>
              <a:grpFill/>
              <a:ln w="5978" cap="flat">
                <a:noFill/>
                <a:prstDash val="solid"/>
                <a:miter/>
              </a:ln>
            </p:spPr>
            <p:txBody>
              <a:bodyPr rtlCol="0" anchor="ctr"/>
              <a:lstStyle/>
              <a:p>
                <a:endParaRPr lang="en-GB"/>
              </a:p>
            </p:txBody>
          </p:sp>
        </p:grpSp>
        <p:grpSp>
          <p:nvGrpSpPr>
            <p:cNvPr id="280" name="Graphic 3">
              <a:extLst>
                <a:ext uri="{FF2B5EF4-FFF2-40B4-BE49-F238E27FC236}">
                  <a16:creationId xmlns:a16="http://schemas.microsoft.com/office/drawing/2014/main" id="{44445E11-5AF2-4DEF-9938-AE8ED22238FD}"/>
                </a:ext>
              </a:extLst>
            </p:cNvPr>
            <p:cNvGrpSpPr/>
            <p:nvPr/>
          </p:nvGrpSpPr>
          <p:grpSpPr>
            <a:xfrm>
              <a:off x="6957668" y="1440073"/>
              <a:ext cx="209294" cy="359212"/>
              <a:chOff x="6957668" y="1440073"/>
              <a:chExt cx="209294" cy="359212"/>
            </a:xfrm>
            <a:grpFill/>
          </p:grpSpPr>
          <p:sp>
            <p:nvSpPr>
              <p:cNvPr id="4539" name="Vrije vorm: vorm 4538">
                <a:extLst>
                  <a:ext uri="{FF2B5EF4-FFF2-40B4-BE49-F238E27FC236}">
                    <a16:creationId xmlns:a16="http://schemas.microsoft.com/office/drawing/2014/main" id="{95EA9E8D-484D-48EB-89DE-E917D72E1823}"/>
                  </a:ext>
                </a:extLst>
              </p:cNvPr>
              <p:cNvSpPr/>
              <p:nvPr/>
            </p:nvSpPr>
            <p:spPr>
              <a:xfrm>
                <a:off x="6965288" y="1448152"/>
                <a:ext cx="194074" cy="343054"/>
              </a:xfrm>
              <a:custGeom>
                <a:avLst/>
                <a:gdLst>
                  <a:gd name="connsiteX0" fmla="*/ 194074 w 194074"/>
                  <a:gd name="connsiteY0" fmla="*/ 1495 h 343054"/>
                  <a:gd name="connsiteX1" fmla="*/ 2631 w 194074"/>
                  <a:gd name="connsiteY1" fmla="*/ 343054 h 343054"/>
                  <a:gd name="connsiteX2" fmla="*/ 0 w 194074"/>
                  <a:gd name="connsiteY2" fmla="*/ 341559 h 343054"/>
                  <a:gd name="connsiteX3" fmla="*/ 191383 w 194074"/>
                  <a:gd name="connsiteY3" fmla="*/ 0 h 343054"/>
                </a:gdLst>
                <a:ahLst/>
                <a:cxnLst>
                  <a:cxn ang="0">
                    <a:pos x="connsiteX0" y="connsiteY0"/>
                  </a:cxn>
                  <a:cxn ang="0">
                    <a:pos x="connsiteX1" y="connsiteY1"/>
                  </a:cxn>
                  <a:cxn ang="0">
                    <a:pos x="connsiteX2" y="connsiteY2"/>
                  </a:cxn>
                  <a:cxn ang="0">
                    <a:pos x="connsiteX3" y="connsiteY3"/>
                  </a:cxn>
                </a:cxnLst>
                <a:rect l="l" t="t" r="r" b="b"/>
                <a:pathLst>
                  <a:path w="194074" h="343054">
                    <a:moveTo>
                      <a:pt x="194074" y="1495"/>
                    </a:moveTo>
                    <a:lnTo>
                      <a:pt x="2631" y="343054"/>
                    </a:lnTo>
                    <a:lnTo>
                      <a:pt x="0" y="341559"/>
                    </a:lnTo>
                    <a:lnTo>
                      <a:pt x="191383" y="0"/>
                    </a:lnTo>
                    <a:close/>
                  </a:path>
                </a:pathLst>
              </a:custGeom>
              <a:grpFill/>
              <a:ln w="5978" cap="flat">
                <a:noFill/>
                <a:prstDash val="solid"/>
                <a:miter/>
              </a:ln>
            </p:spPr>
            <p:txBody>
              <a:bodyPr rtlCol="0" anchor="ctr"/>
              <a:lstStyle/>
              <a:p>
                <a:endParaRPr lang="en-GB"/>
              </a:p>
            </p:txBody>
          </p:sp>
          <p:sp>
            <p:nvSpPr>
              <p:cNvPr id="4540" name="Vrije vorm: vorm 4539">
                <a:extLst>
                  <a:ext uri="{FF2B5EF4-FFF2-40B4-BE49-F238E27FC236}">
                    <a16:creationId xmlns:a16="http://schemas.microsoft.com/office/drawing/2014/main" id="{2F11BA9A-A33C-48B8-A789-2FD96AF6AC44}"/>
                  </a:ext>
                </a:extLst>
              </p:cNvPr>
              <p:cNvSpPr/>
              <p:nvPr/>
            </p:nvSpPr>
            <p:spPr>
              <a:xfrm>
                <a:off x="7148631" y="1440073"/>
                <a:ext cx="18332" cy="18431"/>
              </a:xfrm>
              <a:custGeom>
                <a:avLst/>
                <a:gdLst>
                  <a:gd name="connsiteX0" fmla="*/ 1162 w 18332"/>
                  <a:gd name="connsiteY0" fmla="*/ 4670 h 18431"/>
                  <a:gd name="connsiteX1" fmla="*/ 13662 w 18332"/>
                  <a:gd name="connsiteY1" fmla="*/ 1201 h 18431"/>
                  <a:gd name="connsiteX2" fmla="*/ 17130 w 18332"/>
                  <a:gd name="connsiteY2" fmla="*/ 13761 h 18431"/>
                  <a:gd name="connsiteX3" fmla="*/ 4631 w 18332"/>
                  <a:gd name="connsiteY3" fmla="*/ 17230 h 18431"/>
                  <a:gd name="connsiteX4" fmla="*/ 1162 w 18332"/>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31">
                    <a:moveTo>
                      <a:pt x="1162" y="4670"/>
                    </a:moveTo>
                    <a:cubicBezTo>
                      <a:pt x="3615" y="245"/>
                      <a:pt x="9236" y="-1310"/>
                      <a:pt x="13662" y="1201"/>
                    </a:cubicBezTo>
                    <a:cubicBezTo>
                      <a:pt x="18088" y="3713"/>
                      <a:pt x="19643" y="9335"/>
                      <a:pt x="17130" y="13761"/>
                    </a:cubicBezTo>
                    <a:cubicBezTo>
                      <a:pt x="14679" y="18187"/>
                      <a:pt x="9057" y="19742"/>
                      <a:pt x="4631" y="17230"/>
                    </a:cubicBezTo>
                    <a:cubicBezTo>
                      <a:pt x="265" y="14718"/>
                      <a:pt x="-1290" y="9096"/>
                      <a:pt x="1162" y="4670"/>
                    </a:cubicBezTo>
                    <a:close/>
                  </a:path>
                </a:pathLst>
              </a:custGeom>
              <a:grpFill/>
              <a:ln w="5978" cap="flat">
                <a:noFill/>
                <a:prstDash val="solid"/>
                <a:miter/>
              </a:ln>
            </p:spPr>
            <p:txBody>
              <a:bodyPr rtlCol="0" anchor="ctr"/>
              <a:lstStyle/>
              <a:p>
                <a:endParaRPr lang="en-GB"/>
              </a:p>
            </p:txBody>
          </p:sp>
          <p:sp>
            <p:nvSpPr>
              <p:cNvPr id="4541" name="Vrije vorm: vorm 4540">
                <a:extLst>
                  <a:ext uri="{FF2B5EF4-FFF2-40B4-BE49-F238E27FC236}">
                    <a16:creationId xmlns:a16="http://schemas.microsoft.com/office/drawing/2014/main" id="{FE6FBC05-85D4-4F3A-8887-34AD4A4C59B4}"/>
                  </a:ext>
                </a:extLst>
              </p:cNvPr>
              <p:cNvSpPr/>
              <p:nvPr/>
            </p:nvSpPr>
            <p:spPr>
              <a:xfrm>
                <a:off x="6957668" y="1780854"/>
                <a:ext cx="18349" cy="18431"/>
              </a:xfrm>
              <a:custGeom>
                <a:avLst/>
                <a:gdLst>
                  <a:gd name="connsiteX0" fmla="*/ 1160 w 18349"/>
                  <a:gd name="connsiteY0" fmla="*/ 4670 h 18431"/>
                  <a:gd name="connsiteX1" fmla="*/ 4689 w 18349"/>
                  <a:gd name="connsiteY1" fmla="*/ 17230 h 18431"/>
                  <a:gd name="connsiteX2" fmla="*/ 17189 w 18349"/>
                  <a:gd name="connsiteY2" fmla="*/ 13761 h 18431"/>
                  <a:gd name="connsiteX3" fmla="*/ 13660 w 18349"/>
                  <a:gd name="connsiteY3" fmla="*/ 1202 h 18431"/>
                  <a:gd name="connsiteX4" fmla="*/ 1160 w 18349"/>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1160" y="4670"/>
                    </a:moveTo>
                    <a:cubicBezTo>
                      <a:pt x="-1292" y="9096"/>
                      <a:pt x="263" y="14718"/>
                      <a:pt x="4689" y="17230"/>
                    </a:cubicBezTo>
                    <a:cubicBezTo>
                      <a:pt x="9115" y="19742"/>
                      <a:pt x="14677" y="18187"/>
                      <a:pt x="17189" y="13761"/>
                    </a:cubicBezTo>
                    <a:cubicBezTo>
                      <a:pt x="19641" y="9335"/>
                      <a:pt x="18086" y="3713"/>
                      <a:pt x="13660" y="1202"/>
                    </a:cubicBezTo>
                    <a:cubicBezTo>
                      <a:pt x="9234" y="-1310"/>
                      <a:pt x="3672" y="245"/>
                      <a:pt x="1160" y="4670"/>
                    </a:cubicBezTo>
                    <a:close/>
                  </a:path>
                </a:pathLst>
              </a:custGeom>
              <a:grpFill/>
              <a:ln w="5978" cap="flat">
                <a:noFill/>
                <a:prstDash val="solid"/>
                <a:miter/>
              </a:ln>
            </p:spPr>
            <p:txBody>
              <a:bodyPr rtlCol="0" anchor="ctr"/>
              <a:lstStyle/>
              <a:p>
                <a:endParaRPr lang="en-GB"/>
              </a:p>
            </p:txBody>
          </p:sp>
        </p:grpSp>
        <p:grpSp>
          <p:nvGrpSpPr>
            <p:cNvPr id="281" name="Graphic 3">
              <a:extLst>
                <a:ext uri="{FF2B5EF4-FFF2-40B4-BE49-F238E27FC236}">
                  <a16:creationId xmlns:a16="http://schemas.microsoft.com/office/drawing/2014/main" id="{B964A8C5-7DD6-478D-8D58-862B40268E1F}"/>
                </a:ext>
              </a:extLst>
            </p:cNvPr>
            <p:cNvGrpSpPr/>
            <p:nvPr/>
          </p:nvGrpSpPr>
          <p:grpSpPr>
            <a:xfrm>
              <a:off x="7008149" y="1578587"/>
              <a:ext cx="172885" cy="271533"/>
              <a:chOff x="7008149" y="1578587"/>
              <a:chExt cx="172885" cy="271533"/>
            </a:xfrm>
            <a:grpFill/>
          </p:grpSpPr>
          <p:sp>
            <p:nvSpPr>
              <p:cNvPr id="4536" name="Vrije vorm: vorm 4535">
                <a:extLst>
                  <a:ext uri="{FF2B5EF4-FFF2-40B4-BE49-F238E27FC236}">
                    <a16:creationId xmlns:a16="http://schemas.microsoft.com/office/drawing/2014/main" id="{31217CA4-DBA8-4312-9EE5-758ECD854431}"/>
                  </a:ext>
                </a:extLst>
              </p:cNvPr>
              <p:cNvSpPr/>
              <p:nvPr/>
            </p:nvSpPr>
            <p:spPr>
              <a:xfrm>
                <a:off x="7015765" y="1586606"/>
                <a:ext cx="157651" cy="255496"/>
              </a:xfrm>
              <a:custGeom>
                <a:avLst/>
                <a:gdLst>
                  <a:gd name="connsiteX0" fmla="*/ 157652 w 157651"/>
                  <a:gd name="connsiteY0" fmla="*/ 1615 h 255496"/>
                  <a:gd name="connsiteX1" fmla="*/ 2632 w 157651"/>
                  <a:gd name="connsiteY1" fmla="*/ 255496 h 255496"/>
                  <a:gd name="connsiteX2" fmla="*/ 0 w 157651"/>
                  <a:gd name="connsiteY2" fmla="*/ 253882 h 255496"/>
                  <a:gd name="connsiteX3" fmla="*/ 155021 w 157651"/>
                  <a:gd name="connsiteY3" fmla="*/ 0 h 255496"/>
                </a:gdLst>
                <a:ahLst/>
                <a:cxnLst>
                  <a:cxn ang="0">
                    <a:pos x="connsiteX0" y="connsiteY0"/>
                  </a:cxn>
                  <a:cxn ang="0">
                    <a:pos x="connsiteX1" y="connsiteY1"/>
                  </a:cxn>
                  <a:cxn ang="0">
                    <a:pos x="connsiteX2" y="connsiteY2"/>
                  </a:cxn>
                  <a:cxn ang="0">
                    <a:pos x="connsiteX3" y="connsiteY3"/>
                  </a:cxn>
                </a:cxnLst>
                <a:rect l="l" t="t" r="r" b="b"/>
                <a:pathLst>
                  <a:path w="157651" h="255496">
                    <a:moveTo>
                      <a:pt x="157652" y="1615"/>
                    </a:moveTo>
                    <a:lnTo>
                      <a:pt x="2632" y="255496"/>
                    </a:lnTo>
                    <a:lnTo>
                      <a:pt x="0" y="253882"/>
                    </a:lnTo>
                    <a:lnTo>
                      <a:pt x="155021" y="0"/>
                    </a:lnTo>
                    <a:close/>
                  </a:path>
                </a:pathLst>
              </a:custGeom>
              <a:grpFill/>
              <a:ln w="5978" cap="flat">
                <a:noFill/>
                <a:prstDash val="solid"/>
                <a:miter/>
              </a:ln>
            </p:spPr>
            <p:txBody>
              <a:bodyPr rtlCol="0" anchor="ctr"/>
              <a:lstStyle/>
              <a:p>
                <a:endParaRPr lang="en-GB"/>
              </a:p>
            </p:txBody>
          </p:sp>
          <p:sp>
            <p:nvSpPr>
              <p:cNvPr id="4537" name="Vrije vorm: vorm 4536">
                <a:extLst>
                  <a:ext uri="{FF2B5EF4-FFF2-40B4-BE49-F238E27FC236}">
                    <a16:creationId xmlns:a16="http://schemas.microsoft.com/office/drawing/2014/main" id="{BAC3FAD4-506D-4FF7-8445-04D426107C04}"/>
                  </a:ext>
                </a:extLst>
              </p:cNvPr>
              <p:cNvSpPr/>
              <p:nvPr/>
            </p:nvSpPr>
            <p:spPr>
              <a:xfrm>
                <a:off x="7162690" y="1578587"/>
                <a:ext cx="18343" cy="18429"/>
              </a:xfrm>
              <a:custGeom>
                <a:avLst/>
                <a:gdLst>
                  <a:gd name="connsiteX0" fmla="*/ 1337 w 18343"/>
                  <a:gd name="connsiteY0" fmla="*/ 4370 h 18429"/>
                  <a:gd name="connsiteX1" fmla="*/ 13957 w 18343"/>
                  <a:gd name="connsiteY1" fmla="*/ 1380 h 18429"/>
                  <a:gd name="connsiteX2" fmla="*/ 17007 w 18343"/>
                  <a:gd name="connsiteY2" fmla="*/ 14059 h 18429"/>
                  <a:gd name="connsiteX3" fmla="*/ 4388 w 18343"/>
                  <a:gd name="connsiteY3" fmla="*/ 17050 h 18429"/>
                  <a:gd name="connsiteX4" fmla="*/ 1337 w 18343"/>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9">
                    <a:moveTo>
                      <a:pt x="1337" y="4370"/>
                    </a:moveTo>
                    <a:cubicBezTo>
                      <a:pt x="3968" y="64"/>
                      <a:pt x="9651" y="-1311"/>
                      <a:pt x="13957" y="1380"/>
                    </a:cubicBezTo>
                    <a:cubicBezTo>
                      <a:pt x="18262" y="4071"/>
                      <a:pt x="19638" y="9753"/>
                      <a:pt x="17007" y="14059"/>
                    </a:cubicBezTo>
                    <a:cubicBezTo>
                      <a:pt x="14375" y="18365"/>
                      <a:pt x="8693" y="19741"/>
                      <a:pt x="4388" y="17050"/>
                    </a:cubicBezTo>
                    <a:cubicBezTo>
                      <a:pt x="81" y="14358"/>
                      <a:pt x="-1295" y="8677"/>
                      <a:pt x="1337" y="4370"/>
                    </a:cubicBezTo>
                    <a:close/>
                  </a:path>
                </a:pathLst>
              </a:custGeom>
              <a:grpFill/>
              <a:ln w="5978" cap="flat">
                <a:noFill/>
                <a:prstDash val="solid"/>
                <a:miter/>
              </a:ln>
            </p:spPr>
            <p:txBody>
              <a:bodyPr rtlCol="0" anchor="ctr"/>
              <a:lstStyle/>
              <a:p>
                <a:endParaRPr lang="en-GB"/>
              </a:p>
            </p:txBody>
          </p:sp>
          <p:sp>
            <p:nvSpPr>
              <p:cNvPr id="4538" name="Vrije vorm: vorm 4537">
                <a:extLst>
                  <a:ext uri="{FF2B5EF4-FFF2-40B4-BE49-F238E27FC236}">
                    <a16:creationId xmlns:a16="http://schemas.microsoft.com/office/drawing/2014/main" id="{6CBAA045-2019-4ED0-8D02-1045E72999E9}"/>
                  </a:ext>
                </a:extLst>
              </p:cNvPr>
              <p:cNvSpPr/>
              <p:nvPr/>
            </p:nvSpPr>
            <p:spPr>
              <a:xfrm>
                <a:off x="7008149" y="1831691"/>
                <a:ext cx="18343" cy="18429"/>
              </a:xfrm>
              <a:custGeom>
                <a:avLst/>
                <a:gdLst>
                  <a:gd name="connsiteX0" fmla="*/ 1337 w 18343"/>
                  <a:gd name="connsiteY0" fmla="*/ 4370 h 18429"/>
                  <a:gd name="connsiteX1" fmla="*/ 4387 w 18343"/>
                  <a:gd name="connsiteY1" fmla="*/ 17050 h 18429"/>
                  <a:gd name="connsiteX2" fmla="*/ 17007 w 18343"/>
                  <a:gd name="connsiteY2" fmla="*/ 14059 h 18429"/>
                  <a:gd name="connsiteX3" fmla="*/ 13957 w 18343"/>
                  <a:gd name="connsiteY3" fmla="*/ 1380 h 18429"/>
                  <a:gd name="connsiteX4" fmla="*/ 1337 w 18343"/>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9">
                    <a:moveTo>
                      <a:pt x="1337" y="4370"/>
                    </a:moveTo>
                    <a:cubicBezTo>
                      <a:pt x="-1295" y="8677"/>
                      <a:pt x="81" y="14358"/>
                      <a:pt x="4387" y="17050"/>
                    </a:cubicBezTo>
                    <a:cubicBezTo>
                      <a:pt x="8693" y="19741"/>
                      <a:pt x="14375" y="18365"/>
                      <a:pt x="17007" y="14059"/>
                    </a:cubicBezTo>
                    <a:cubicBezTo>
                      <a:pt x="19638" y="9753"/>
                      <a:pt x="18262" y="4071"/>
                      <a:pt x="13957" y="1380"/>
                    </a:cubicBezTo>
                    <a:cubicBezTo>
                      <a:pt x="9650" y="-1311"/>
                      <a:pt x="4028" y="64"/>
                      <a:pt x="1337" y="4370"/>
                    </a:cubicBezTo>
                    <a:close/>
                  </a:path>
                </a:pathLst>
              </a:custGeom>
              <a:grpFill/>
              <a:ln w="5978" cap="flat">
                <a:noFill/>
                <a:prstDash val="solid"/>
                <a:miter/>
              </a:ln>
            </p:spPr>
            <p:txBody>
              <a:bodyPr rtlCol="0" anchor="ctr"/>
              <a:lstStyle/>
              <a:p>
                <a:endParaRPr lang="en-GB"/>
              </a:p>
            </p:txBody>
          </p:sp>
        </p:grpSp>
        <p:grpSp>
          <p:nvGrpSpPr>
            <p:cNvPr id="282" name="Graphic 3">
              <a:extLst>
                <a:ext uri="{FF2B5EF4-FFF2-40B4-BE49-F238E27FC236}">
                  <a16:creationId xmlns:a16="http://schemas.microsoft.com/office/drawing/2014/main" id="{8B245A52-3C41-43FB-9A01-0250A17100D6}"/>
                </a:ext>
              </a:extLst>
            </p:cNvPr>
            <p:cNvGrpSpPr/>
            <p:nvPr/>
          </p:nvGrpSpPr>
          <p:grpSpPr>
            <a:xfrm>
              <a:off x="7617533" y="4040055"/>
              <a:ext cx="570799" cy="285684"/>
              <a:chOff x="7617533" y="4040055"/>
              <a:chExt cx="570799" cy="285684"/>
            </a:xfrm>
            <a:grpFill/>
          </p:grpSpPr>
          <p:sp>
            <p:nvSpPr>
              <p:cNvPr id="4533" name="Vrije vorm: vorm 4532">
                <a:extLst>
                  <a:ext uri="{FF2B5EF4-FFF2-40B4-BE49-F238E27FC236}">
                    <a16:creationId xmlns:a16="http://schemas.microsoft.com/office/drawing/2014/main" id="{33F90B23-13DC-45E8-A6A1-10281B71C885}"/>
                  </a:ext>
                </a:extLst>
              </p:cNvPr>
              <p:cNvSpPr/>
              <p:nvPr/>
            </p:nvSpPr>
            <p:spPr>
              <a:xfrm>
                <a:off x="7625619" y="4047673"/>
                <a:ext cx="554652" cy="270448"/>
              </a:xfrm>
              <a:custGeom>
                <a:avLst/>
                <a:gdLst>
                  <a:gd name="connsiteX0" fmla="*/ 554652 w 554652"/>
                  <a:gd name="connsiteY0" fmla="*/ 267697 h 270448"/>
                  <a:gd name="connsiteX1" fmla="*/ 553337 w 554652"/>
                  <a:gd name="connsiteY1" fmla="*/ 270448 h 270448"/>
                  <a:gd name="connsiteX2" fmla="*/ 0 w 554652"/>
                  <a:gd name="connsiteY2" fmla="*/ 2811 h 270448"/>
                  <a:gd name="connsiteX3" fmla="*/ 1316 w 554652"/>
                  <a:gd name="connsiteY3" fmla="*/ 0 h 270448"/>
                </a:gdLst>
                <a:ahLst/>
                <a:cxnLst>
                  <a:cxn ang="0">
                    <a:pos x="connsiteX0" y="connsiteY0"/>
                  </a:cxn>
                  <a:cxn ang="0">
                    <a:pos x="connsiteX1" y="connsiteY1"/>
                  </a:cxn>
                  <a:cxn ang="0">
                    <a:pos x="connsiteX2" y="connsiteY2"/>
                  </a:cxn>
                  <a:cxn ang="0">
                    <a:pos x="connsiteX3" y="connsiteY3"/>
                  </a:cxn>
                </a:cxnLst>
                <a:rect l="l" t="t" r="r" b="b"/>
                <a:pathLst>
                  <a:path w="554652" h="270448">
                    <a:moveTo>
                      <a:pt x="554652" y="267697"/>
                    </a:moveTo>
                    <a:lnTo>
                      <a:pt x="553337" y="270448"/>
                    </a:lnTo>
                    <a:lnTo>
                      <a:pt x="0" y="2811"/>
                    </a:lnTo>
                    <a:lnTo>
                      <a:pt x="1316" y="0"/>
                    </a:lnTo>
                    <a:close/>
                  </a:path>
                </a:pathLst>
              </a:custGeom>
              <a:grpFill/>
              <a:ln w="5978" cap="flat">
                <a:noFill/>
                <a:prstDash val="solid"/>
                <a:miter/>
              </a:ln>
            </p:spPr>
            <p:txBody>
              <a:bodyPr rtlCol="0" anchor="ctr"/>
              <a:lstStyle/>
              <a:p>
                <a:endParaRPr lang="en-GB"/>
              </a:p>
            </p:txBody>
          </p:sp>
          <p:sp>
            <p:nvSpPr>
              <p:cNvPr id="4534" name="Vrije vorm: vorm 4533">
                <a:extLst>
                  <a:ext uri="{FF2B5EF4-FFF2-40B4-BE49-F238E27FC236}">
                    <a16:creationId xmlns:a16="http://schemas.microsoft.com/office/drawing/2014/main" id="{F53495A0-BCF6-4691-A8A5-12DBDE4962A4}"/>
                  </a:ext>
                </a:extLst>
              </p:cNvPr>
              <p:cNvSpPr/>
              <p:nvPr/>
            </p:nvSpPr>
            <p:spPr>
              <a:xfrm>
                <a:off x="7617533" y="4040055"/>
                <a:ext cx="18326" cy="18455"/>
              </a:xfrm>
              <a:custGeom>
                <a:avLst/>
                <a:gdLst>
                  <a:gd name="connsiteX0" fmla="*/ 5216 w 18326"/>
                  <a:gd name="connsiteY0" fmla="*/ 17546 h 18455"/>
                  <a:gd name="connsiteX1" fmla="*/ 910 w 18326"/>
                  <a:gd name="connsiteY1" fmla="*/ 5226 h 18455"/>
                  <a:gd name="connsiteX2" fmla="*/ 13111 w 18326"/>
                  <a:gd name="connsiteY2" fmla="*/ 920 h 18455"/>
                  <a:gd name="connsiteX3" fmla="*/ 17416 w 18326"/>
                  <a:gd name="connsiteY3" fmla="*/ 13240 h 18455"/>
                  <a:gd name="connsiteX4" fmla="*/ 5216 w 18326"/>
                  <a:gd name="connsiteY4" fmla="*/ 17546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5">
                    <a:moveTo>
                      <a:pt x="5216" y="17546"/>
                    </a:moveTo>
                    <a:cubicBezTo>
                      <a:pt x="670" y="15333"/>
                      <a:pt x="-1303" y="9831"/>
                      <a:pt x="910" y="5226"/>
                    </a:cubicBezTo>
                    <a:cubicBezTo>
                      <a:pt x="3063" y="620"/>
                      <a:pt x="8565" y="-1293"/>
                      <a:pt x="13111" y="920"/>
                    </a:cubicBezTo>
                    <a:cubicBezTo>
                      <a:pt x="17656" y="3133"/>
                      <a:pt x="19629" y="8635"/>
                      <a:pt x="17416" y="13240"/>
                    </a:cubicBezTo>
                    <a:cubicBezTo>
                      <a:pt x="15204" y="17785"/>
                      <a:pt x="9761" y="19759"/>
                      <a:pt x="5216" y="17546"/>
                    </a:cubicBezTo>
                    <a:close/>
                  </a:path>
                </a:pathLst>
              </a:custGeom>
              <a:grpFill/>
              <a:ln w="5978" cap="flat">
                <a:noFill/>
                <a:prstDash val="solid"/>
                <a:miter/>
              </a:ln>
            </p:spPr>
            <p:txBody>
              <a:bodyPr rtlCol="0" anchor="ctr"/>
              <a:lstStyle/>
              <a:p>
                <a:endParaRPr lang="en-GB"/>
              </a:p>
            </p:txBody>
          </p:sp>
          <p:sp>
            <p:nvSpPr>
              <p:cNvPr id="4535" name="Vrije vorm: vorm 4534">
                <a:extLst>
                  <a:ext uri="{FF2B5EF4-FFF2-40B4-BE49-F238E27FC236}">
                    <a16:creationId xmlns:a16="http://schemas.microsoft.com/office/drawing/2014/main" id="{E0BA9743-84B1-4263-B24F-0B5D38C9BA21}"/>
                  </a:ext>
                </a:extLst>
              </p:cNvPr>
              <p:cNvSpPr/>
              <p:nvPr/>
            </p:nvSpPr>
            <p:spPr>
              <a:xfrm>
                <a:off x="8170022" y="4307273"/>
                <a:ext cx="18310" cy="18465"/>
              </a:xfrm>
              <a:custGeom>
                <a:avLst/>
                <a:gdLst>
                  <a:gd name="connsiteX0" fmla="*/ 5226 w 18310"/>
                  <a:gd name="connsiteY0" fmla="*/ 17546 h 18465"/>
                  <a:gd name="connsiteX1" fmla="*/ 17427 w 18310"/>
                  <a:gd name="connsiteY1" fmla="*/ 13240 h 18465"/>
                  <a:gd name="connsiteX2" fmla="*/ 13121 w 18310"/>
                  <a:gd name="connsiteY2" fmla="*/ 920 h 18465"/>
                  <a:gd name="connsiteX3" fmla="*/ 920 w 18310"/>
                  <a:gd name="connsiteY3" fmla="*/ 5226 h 18465"/>
                  <a:gd name="connsiteX4" fmla="*/ 5226 w 18310"/>
                  <a:gd name="connsiteY4" fmla="*/ 17546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65">
                    <a:moveTo>
                      <a:pt x="5226" y="17546"/>
                    </a:moveTo>
                    <a:cubicBezTo>
                      <a:pt x="9771" y="19759"/>
                      <a:pt x="15274" y="17845"/>
                      <a:pt x="17427" y="13240"/>
                    </a:cubicBezTo>
                    <a:cubicBezTo>
                      <a:pt x="19580" y="8635"/>
                      <a:pt x="17666" y="3133"/>
                      <a:pt x="13121" y="920"/>
                    </a:cubicBezTo>
                    <a:cubicBezTo>
                      <a:pt x="8575" y="-1293"/>
                      <a:pt x="3073" y="621"/>
                      <a:pt x="920" y="5226"/>
                    </a:cubicBezTo>
                    <a:cubicBezTo>
                      <a:pt x="-1293" y="9831"/>
                      <a:pt x="620" y="15333"/>
                      <a:pt x="5226" y="17546"/>
                    </a:cubicBezTo>
                    <a:close/>
                  </a:path>
                </a:pathLst>
              </a:custGeom>
              <a:grpFill/>
              <a:ln w="5978" cap="flat">
                <a:noFill/>
                <a:prstDash val="solid"/>
                <a:miter/>
              </a:ln>
            </p:spPr>
            <p:txBody>
              <a:bodyPr rtlCol="0" anchor="ctr"/>
              <a:lstStyle/>
              <a:p>
                <a:endParaRPr lang="en-GB"/>
              </a:p>
            </p:txBody>
          </p:sp>
        </p:grpSp>
        <p:grpSp>
          <p:nvGrpSpPr>
            <p:cNvPr id="283" name="Graphic 3">
              <a:extLst>
                <a:ext uri="{FF2B5EF4-FFF2-40B4-BE49-F238E27FC236}">
                  <a16:creationId xmlns:a16="http://schemas.microsoft.com/office/drawing/2014/main" id="{3FCFB503-C664-49A4-B337-E5113600A962}"/>
                </a:ext>
              </a:extLst>
            </p:cNvPr>
            <p:cNvGrpSpPr/>
            <p:nvPr/>
          </p:nvGrpSpPr>
          <p:grpSpPr>
            <a:xfrm>
              <a:off x="7782377" y="3995099"/>
              <a:ext cx="161773" cy="66871"/>
              <a:chOff x="7782377" y="3995099"/>
              <a:chExt cx="161773" cy="66871"/>
            </a:xfrm>
            <a:grpFill/>
          </p:grpSpPr>
          <p:sp>
            <p:nvSpPr>
              <p:cNvPr id="4530" name="Vrije vorm: vorm 4529">
                <a:extLst>
                  <a:ext uri="{FF2B5EF4-FFF2-40B4-BE49-F238E27FC236}">
                    <a16:creationId xmlns:a16="http://schemas.microsoft.com/office/drawing/2014/main" id="{5CC1C546-B243-4F7E-BCF2-1097694EC5B1}"/>
                  </a:ext>
                </a:extLst>
              </p:cNvPr>
              <p:cNvSpPr/>
              <p:nvPr/>
            </p:nvSpPr>
            <p:spPr>
              <a:xfrm>
                <a:off x="7790688" y="4002698"/>
                <a:ext cx="145211" cy="51673"/>
              </a:xfrm>
              <a:custGeom>
                <a:avLst/>
                <a:gdLst>
                  <a:gd name="connsiteX0" fmla="*/ 145211 w 145211"/>
                  <a:gd name="connsiteY0" fmla="*/ 48803 h 51673"/>
                  <a:gd name="connsiteX1" fmla="*/ 144255 w 145211"/>
                  <a:gd name="connsiteY1" fmla="*/ 51674 h 51673"/>
                  <a:gd name="connsiteX2" fmla="*/ 0 w 145211"/>
                  <a:gd name="connsiteY2" fmla="*/ 2871 h 51673"/>
                  <a:gd name="connsiteX3" fmla="*/ 956 w 145211"/>
                  <a:gd name="connsiteY3" fmla="*/ 0 h 51673"/>
                </a:gdLst>
                <a:ahLst/>
                <a:cxnLst>
                  <a:cxn ang="0">
                    <a:pos x="connsiteX0" y="connsiteY0"/>
                  </a:cxn>
                  <a:cxn ang="0">
                    <a:pos x="connsiteX1" y="connsiteY1"/>
                  </a:cxn>
                  <a:cxn ang="0">
                    <a:pos x="connsiteX2" y="connsiteY2"/>
                  </a:cxn>
                  <a:cxn ang="0">
                    <a:pos x="connsiteX3" y="connsiteY3"/>
                  </a:cxn>
                </a:cxnLst>
                <a:rect l="l" t="t" r="r" b="b"/>
                <a:pathLst>
                  <a:path w="145211" h="51673">
                    <a:moveTo>
                      <a:pt x="145211" y="48803"/>
                    </a:moveTo>
                    <a:lnTo>
                      <a:pt x="144255" y="51674"/>
                    </a:lnTo>
                    <a:lnTo>
                      <a:pt x="0" y="2871"/>
                    </a:lnTo>
                    <a:lnTo>
                      <a:pt x="956" y="0"/>
                    </a:lnTo>
                    <a:close/>
                  </a:path>
                </a:pathLst>
              </a:custGeom>
              <a:grpFill/>
              <a:ln w="5978" cap="flat">
                <a:noFill/>
                <a:prstDash val="solid"/>
                <a:miter/>
              </a:ln>
            </p:spPr>
            <p:txBody>
              <a:bodyPr rtlCol="0" anchor="ctr"/>
              <a:lstStyle/>
              <a:p>
                <a:endParaRPr lang="en-GB"/>
              </a:p>
            </p:txBody>
          </p:sp>
          <p:sp>
            <p:nvSpPr>
              <p:cNvPr id="4531" name="Vrije vorm: vorm 4530">
                <a:extLst>
                  <a:ext uri="{FF2B5EF4-FFF2-40B4-BE49-F238E27FC236}">
                    <a16:creationId xmlns:a16="http://schemas.microsoft.com/office/drawing/2014/main" id="{2311ADB6-CD48-4AED-9252-A688EDA4A0B6}"/>
                  </a:ext>
                </a:extLst>
              </p:cNvPr>
              <p:cNvSpPr/>
              <p:nvPr/>
            </p:nvSpPr>
            <p:spPr>
              <a:xfrm>
                <a:off x="7925794" y="4043549"/>
                <a:ext cx="18356" cy="18421"/>
              </a:xfrm>
              <a:custGeom>
                <a:avLst/>
                <a:gdLst>
                  <a:gd name="connsiteX0" fmla="*/ 12079 w 18356"/>
                  <a:gd name="connsiteY0" fmla="*/ 476 h 18421"/>
                  <a:gd name="connsiteX1" fmla="*/ 17880 w 18356"/>
                  <a:gd name="connsiteY1" fmla="*/ 12138 h 18421"/>
                  <a:gd name="connsiteX2" fmla="*/ 6277 w 18356"/>
                  <a:gd name="connsiteY2" fmla="*/ 17940 h 18421"/>
                  <a:gd name="connsiteX3" fmla="*/ 476 w 18356"/>
                  <a:gd name="connsiteY3" fmla="*/ 6277 h 18421"/>
                  <a:gd name="connsiteX4" fmla="*/ 12079 w 18356"/>
                  <a:gd name="connsiteY4" fmla="*/ 476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1">
                    <a:moveTo>
                      <a:pt x="12079" y="476"/>
                    </a:moveTo>
                    <a:cubicBezTo>
                      <a:pt x="16863" y="2091"/>
                      <a:pt x="19495" y="7354"/>
                      <a:pt x="17880" y="12138"/>
                    </a:cubicBezTo>
                    <a:cubicBezTo>
                      <a:pt x="16265" y="16983"/>
                      <a:pt x="11122" y="19554"/>
                      <a:pt x="6277" y="17940"/>
                    </a:cubicBezTo>
                    <a:cubicBezTo>
                      <a:pt x="1493" y="16325"/>
                      <a:pt x="-1139" y="11062"/>
                      <a:pt x="476" y="6277"/>
                    </a:cubicBezTo>
                    <a:cubicBezTo>
                      <a:pt x="2091" y="1493"/>
                      <a:pt x="7294" y="-1139"/>
                      <a:pt x="12079" y="476"/>
                    </a:cubicBezTo>
                    <a:close/>
                  </a:path>
                </a:pathLst>
              </a:custGeom>
              <a:grpFill/>
              <a:ln w="5978" cap="flat">
                <a:noFill/>
                <a:prstDash val="solid"/>
                <a:miter/>
              </a:ln>
            </p:spPr>
            <p:txBody>
              <a:bodyPr rtlCol="0" anchor="ctr"/>
              <a:lstStyle/>
              <a:p>
                <a:endParaRPr lang="en-GB"/>
              </a:p>
            </p:txBody>
          </p:sp>
          <p:sp>
            <p:nvSpPr>
              <p:cNvPr id="4532" name="Vrije vorm: vorm 4531">
                <a:extLst>
                  <a:ext uri="{FF2B5EF4-FFF2-40B4-BE49-F238E27FC236}">
                    <a16:creationId xmlns:a16="http://schemas.microsoft.com/office/drawing/2014/main" id="{5055E401-AFD3-4994-8377-D9E9789084D6}"/>
                  </a:ext>
                </a:extLst>
              </p:cNvPr>
              <p:cNvSpPr/>
              <p:nvPr/>
            </p:nvSpPr>
            <p:spPr>
              <a:xfrm>
                <a:off x="7782377" y="3995099"/>
                <a:ext cx="18356" cy="18427"/>
              </a:xfrm>
              <a:custGeom>
                <a:avLst/>
                <a:gdLst>
                  <a:gd name="connsiteX0" fmla="*/ 12079 w 18356"/>
                  <a:gd name="connsiteY0" fmla="*/ 482 h 18427"/>
                  <a:gd name="connsiteX1" fmla="*/ 476 w 18356"/>
                  <a:gd name="connsiteY1" fmla="*/ 6283 h 18427"/>
                  <a:gd name="connsiteX2" fmla="*/ 6277 w 18356"/>
                  <a:gd name="connsiteY2" fmla="*/ 17945 h 18427"/>
                  <a:gd name="connsiteX3" fmla="*/ 17880 w 18356"/>
                  <a:gd name="connsiteY3" fmla="*/ 12144 h 18427"/>
                  <a:gd name="connsiteX4" fmla="*/ 12079 w 18356"/>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7">
                    <a:moveTo>
                      <a:pt x="12079" y="482"/>
                    </a:moveTo>
                    <a:cubicBezTo>
                      <a:pt x="7294" y="-1133"/>
                      <a:pt x="2091" y="1439"/>
                      <a:pt x="476" y="6283"/>
                    </a:cubicBezTo>
                    <a:cubicBezTo>
                      <a:pt x="-1139" y="11128"/>
                      <a:pt x="1493" y="16331"/>
                      <a:pt x="6277" y="17945"/>
                    </a:cubicBezTo>
                    <a:cubicBezTo>
                      <a:pt x="11062" y="19560"/>
                      <a:pt x="16265" y="16989"/>
                      <a:pt x="17880" y="12144"/>
                    </a:cubicBezTo>
                    <a:cubicBezTo>
                      <a:pt x="19495" y="7300"/>
                      <a:pt x="16863" y="2097"/>
                      <a:pt x="12079" y="482"/>
                    </a:cubicBezTo>
                    <a:close/>
                  </a:path>
                </a:pathLst>
              </a:custGeom>
              <a:grpFill/>
              <a:ln w="5978" cap="flat">
                <a:noFill/>
                <a:prstDash val="solid"/>
                <a:miter/>
              </a:ln>
            </p:spPr>
            <p:txBody>
              <a:bodyPr rtlCol="0" anchor="ctr"/>
              <a:lstStyle/>
              <a:p>
                <a:endParaRPr lang="en-GB"/>
              </a:p>
            </p:txBody>
          </p:sp>
        </p:grpSp>
        <p:grpSp>
          <p:nvGrpSpPr>
            <p:cNvPr id="284" name="Graphic 3">
              <a:extLst>
                <a:ext uri="{FF2B5EF4-FFF2-40B4-BE49-F238E27FC236}">
                  <a16:creationId xmlns:a16="http://schemas.microsoft.com/office/drawing/2014/main" id="{82A9027D-17C4-400E-B043-5A3A644AF549}"/>
                </a:ext>
              </a:extLst>
            </p:cNvPr>
            <p:cNvGrpSpPr/>
            <p:nvPr/>
          </p:nvGrpSpPr>
          <p:grpSpPr>
            <a:xfrm>
              <a:off x="7696802" y="3734354"/>
              <a:ext cx="144650" cy="43353"/>
              <a:chOff x="7696802" y="3734354"/>
              <a:chExt cx="144650" cy="43353"/>
            </a:xfrm>
            <a:grpFill/>
          </p:grpSpPr>
          <p:sp>
            <p:nvSpPr>
              <p:cNvPr id="4527" name="Vrije vorm: vorm 4526">
                <a:extLst>
                  <a:ext uri="{FF2B5EF4-FFF2-40B4-BE49-F238E27FC236}">
                    <a16:creationId xmlns:a16="http://schemas.microsoft.com/office/drawing/2014/main" id="{28AB5553-F0F1-4E99-A4EC-9C5AECC19524}"/>
                  </a:ext>
                </a:extLst>
              </p:cNvPr>
              <p:cNvSpPr/>
              <p:nvPr/>
            </p:nvSpPr>
            <p:spPr>
              <a:xfrm>
                <a:off x="7705223" y="3741938"/>
                <a:ext cx="127808" cy="28169"/>
              </a:xfrm>
              <a:custGeom>
                <a:avLst/>
                <a:gdLst>
                  <a:gd name="connsiteX0" fmla="*/ 127808 w 127808"/>
                  <a:gd name="connsiteY0" fmla="*/ 25179 h 28169"/>
                  <a:gd name="connsiteX1" fmla="*/ 127210 w 127808"/>
                  <a:gd name="connsiteY1" fmla="*/ 28169 h 28169"/>
                  <a:gd name="connsiteX2" fmla="*/ 0 w 127808"/>
                  <a:gd name="connsiteY2" fmla="*/ 3050 h 28169"/>
                  <a:gd name="connsiteX3" fmla="*/ 538 w 127808"/>
                  <a:gd name="connsiteY3" fmla="*/ 0 h 28169"/>
                </a:gdLst>
                <a:ahLst/>
                <a:cxnLst>
                  <a:cxn ang="0">
                    <a:pos x="connsiteX0" y="connsiteY0"/>
                  </a:cxn>
                  <a:cxn ang="0">
                    <a:pos x="connsiteX1" y="connsiteY1"/>
                  </a:cxn>
                  <a:cxn ang="0">
                    <a:pos x="connsiteX2" y="connsiteY2"/>
                  </a:cxn>
                  <a:cxn ang="0">
                    <a:pos x="connsiteX3" y="connsiteY3"/>
                  </a:cxn>
                </a:cxnLst>
                <a:rect l="l" t="t" r="r" b="b"/>
                <a:pathLst>
                  <a:path w="127808" h="28169">
                    <a:moveTo>
                      <a:pt x="127808" y="25179"/>
                    </a:moveTo>
                    <a:lnTo>
                      <a:pt x="127210" y="28169"/>
                    </a:lnTo>
                    <a:lnTo>
                      <a:pt x="0" y="3050"/>
                    </a:lnTo>
                    <a:lnTo>
                      <a:pt x="538" y="0"/>
                    </a:lnTo>
                    <a:close/>
                  </a:path>
                </a:pathLst>
              </a:custGeom>
              <a:grpFill/>
              <a:ln w="5978" cap="flat">
                <a:noFill/>
                <a:prstDash val="solid"/>
                <a:miter/>
              </a:ln>
            </p:spPr>
            <p:txBody>
              <a:bodyPr rtlCol="0" anchor="ctr"/>
              <a:lstStyle/>
              <a:p>
                <a:endParaRPr lang="en-GB"/>
              </a:p>
            </p:txBody>
          </p:sp>
          <p:sp>
            <p:nvSpPr>
              <p:cNvPr id="4528" name="Vrije vorm: vorm 4527">
                <a:extLst>
                  <a:ext uri="{FF2B5EF4-FFF2-40B4-BE49-F238E27FC236}">
                    <a16:creationId xmlns:a16="http://schemas.microsoft.com/office/drawing/2014/main" id="{9CDA4584-7D13-4C11-AA27-34300ED24056}"/>
                  </a:ext>
                </a:extLst>
              </p:cNvPr>
              <p:cNvSpPr/>
              <p:nvPr/>
            </p:nvSpPr>
            <p:spPr>
              <a:xfrm>
                <a:off x="7823174" y="3759294"/>
                <a:ext cx="18278" cy="18414"/>
              </a:xfrm>
              <a:custGeom>
                <a:avLst/>
                <a:gdLst>
                  <a:gd name="connsiteX0" fmla="*/ 10874 w 18278"/>
                  <a:gd name="connsiteY0" fmla="*/ 168 h 18414"/>
                  <a:gd name="connsiteX1" fmla="*/ 18110 w 18278"/>
                  <a:gd name="connsiteY1" fmla="*/ 10993 h 18414"/>
                  <a:gd name="connsiteX2" fmla="*/ 7404 w 18278"/>
                  <a:gd name="connsiteY2" fmla="*/ 18230 h 18414"/>
                  <a:gd name="connsiteX3" fmla="*/ 168 w 18278"/>
                  <a:gd name="connsiteY3" fmla="*/ 7405 h 18414"/>
                  <a:gd name="connsiteX4" fmla="*/ 10874 w 18278"/>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8" h="18414">
                    <a:moveTo>
                      <a:pt x="10874" y="168"/>
                    </a:moveTo>
                    <a:cubicBezTo>
                      <a:pt x="15837" y="1125"/>
                      <a:pt x="19067" y="5969"/>
                      <a:pt x="18110" y="10993"/>
                    </a:cubicBezTo>
                    <a:cubicBezTo>
                      <a:pt x="17153" y="15957"/>
                      <a:pt x="12369" y="19246"/>
                      <a:pt x="7404" y="18230"/>
                    </a:cubicBezTo>
                    <a:cubicBezTo>
                      <a:pt x="2441" y="17273"/>
                      <a:pt x="-789" y="12428"/>
                      <a:pt x="168" y="7405"/>
                    </a:cubicBezTo>
                    <a:cubicBezTo>
                      <a:pt x="1065" y="2440"/>
                      <a:pt x="5909" y="-789"/>
                      <a:pt x="10874" y="168"/>
                    </a:cubicBezTo>
                    <a:close/>
                  </a:path>
                </a:pathLst>
              </a:custGeom>
              <a:grpFill/>
              <a:ln w="5978" cap="flat">
                <a:noFill/>
                <a:prstDash val="solid"/>
                <a:miter/>
              </a:ln>
            </p:spPr>
            <p:txBody>
              <a:bodyPr rtlCol="0" anchor="ctr"/>
              <a:lstStyle/>
              <a:p>
                <a:endParaRPr lang="en-GB"/>
              </a:p>
            </p:txBody>
          </p:sp>
          <p:sp>
            <p:nvSpPr>
              <p:cNvPr id="4529" name="Vrije vorm: vorm 4528">
                <a:extLst>
                  <a:ext uri="{FF2B5EF4-FFF2-40B4-BE49-F238E27FC236}">
                    <a16:creationId xmlns:a16="http://schemas.microsoft.com/office/drawing/2014/main" id="{0649736C-E1F3-4286-9A1C-016EDAC7FE5B}"/>
                  </a:ext>
                </a:extLst>
              </p:cNvPr>
              <p:cNvSpPr/>
              <p:nvPr/>
            </p:nvSpPr>
            <p:spPr>
              <a:xfrm>
                <a:off x="7696802" y="3734354"/>
                <a:ext cx="18294" cy="18397"/>
              </a:xfrm>
              <a:custGeom>
                <a:avLst/>
                <a:gdLst>
                  <a:gd name="connsiteX0" fmla="*/ 10874 w 18294"/>
                  <a:gd name="connsiteY0" fmla="*/ 168 h 18397"/>
                  <a:gd name="connsiteX1" fmla="*/ 168 w 18294"/>
                  <a:gd name="connsiteY1" fmla="*/ 7405 h 18397"/>
                  <a:gd name="connsiteX2" fmla="*/ 7404 w 18294"/>
                  <a:gd name="connsiteY2" fmla="*/ 18230 h 18397"/>
                  <a:gd name="connsiteX3" fmla="*/ 18110 w 18294"/>
                  <a:gd name="connsiteY3" fmla="*/ 10993 h 18397"/>
                  <a:gd name="connsiteX4" fmla="*/ 10874 w 18294"/>
                  <a:gd name="connsiteY4" fmla="*/ 168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397">
                    <a:moveTo>
                      <a:pt x="10874" y="168"/>
                    </a:moveTo>
                    <a:cubicBezTo>
                      <a:pt x="5909" y="-789"/>
                      <a:pt x="1125" y="2441"/>
                      <a:pt x="168" y="7405"/>
                    </a:cubicBezTo>
                    <a:cubicBezTo>
                      <a:pt x="-789" y="12369"/>
                      <a:pt x="2441" y="17213"/>
                      <a:pt x="7404" y="18230"/>
                    </a:cubicBezTo>
                    <a:cubicBezTo>
                      <a:pt x="12369" y="19187"/>
                      <a:pt x="17153" y="15957"/>
                      <a:pt x="18110" y="10993"/>
                    </a:cubicBezTo>
                    <a:cubicBezTo>
                      <a:pt x="19127" y="5969"/>
                      <a:pt x="15837" y="1125"/>
                      <a:pt x="10874" y="168"/>
                    </a:cubicBezTo>
                    <a:close/>
                  </a:path>
                </a:pathLst>
              </a:custGeom>
              <a:grpFill/>
              <a:ln w="5978" cap="flat">
                <a:noFill/>
                <a:prstDash val="solid"/>
                <a:miter/>
              </a:ln>
            </p:spPr>
            <p:txBody>
              <a:bodyPr rtlCol="0" anchor="ctr"/>
              <a:lstStyle/>
              <a:p>
                <a:endParaRPr lang="en-GB"/>
              </a:p>
            </p:txBody>
          </p:sp>
        </p:grpSp>
        <p:grpSp>
          <p:nvGrpSpPr>
            <p:cNvPr id="285" name="Graphic 3">
              <a:extLst>
                <a:ext uri="{FF2B5EF4-FFF2-40B4-BE49-F238E27FC236}">
                  <a16:creationId xmlns:a16="http://schemas.microsoft.com/office/drawing/2014/main" id="{48DB1AC5-4353-4FF4-81B1-8A4FB1EA548B}"/>
                </a:ext>
              </a:extLst>
            </p:cNvPr>
            <p:cNvGrpSpPr/>
            <p:nvPr/>
          </p:nvGrpSpPr>
          <p:grpSpPr>
            <a:xfrm>
              <a:off x="7596107" y="4099627"/>
              <a:ext cx="727012" cy="384406"/>
              <a:chOff x="7596107" y="4099627"/>
              <a:chExt cx="727012" cy="384406"/>
            </a:xfrm>
            <a:grpFill/>
          </p:grpSpPr>
          <p:sp>
            <p:nvSpPr>
              <p:cNvPr id="4524" name="Vrije vorm: vorm 4523">
                <a:extLst>
                  <a:ext uri="{FF2B5EF4-FFF2-40B4-BE49-F238E27FC236}">
                    <a16:creationId xmlns:a16="http://schemas.microsoft.com/office/drawing/2014/main" id="{6AF4B1EB-1CFC-4D66-8999-AF3B534FD757}"/>
                  </a:ext>
                </a:extLst>
              </p:cNvPr>
              <p:cNvSpPr/>
              <p:nvPr/>
            </p:nvSpPr>
            <p:spPr>
              <a:xfrm>
                <a:off x="7604149" y="4107241"/>
                <a:ext cx="710928" cy="369130"/>
              </a:xfrm>
              <a:custGeom>
                <a:avLst/>
                <a:gdLst>
                  <a:gd name="connsiteX0" fmla="*/ 710928 w 710928"/>
                  <a:gd name="connsiteY0" fmla="*/ 366439 h 369130"/>
                  <a:gd name="connsiteX1" fmla="*/ 709493 w 710928"/>
                  <a:gd name="connsiteY1" fmla="*/ 369130 h 369130"/>
                  <a:gd name="connsiteX2" fmla="*/ 0 w 710928"/>
                  <a:gd name="connsiteY2" fmla="*/ 2751 h 369130"/>
                  <a:gd name="connsiteX3" fmla="*/ 1375 w 710928"/>
                  <a:gd name="connsiteY3" fmla="*/ 0 h 369130"/>
                </a:gdLst>
                <a:ahLst/>
                <a:cxnLst>
                  <a:cxn ang="0">
                    <a:pos x="connsiteX0" y="connsiteY0"/>
                  </a:cxn>
                  <a:cxn ang="0">
                    <a:pos x="connsiteX1" y="connsiteY1"/>
                  </a:cxn>
                  <a:cxn ang="0">
                    <a:pos x="connsiteX2" y="connsiteY2"/>
                  </a:cxn>
                  <a:cxn ang="0">
                    <a:pos x="connsiteX3" y="connsiteY3"/>
                  </a:cxn>
                </a:cxnLst>
                <a:rect l="l" t="t" r="r" b="b"/>
                <a:pathLst>
                  <a:path w="710928" h="369130">
                    <a:moveTo>
                      <a:pt x="710928" y="366439"/>
                    </a:moveTo>
                    <a:lnTo>
                      <a:pt x="709493" y="369130"/>
                    </a:lnTo>
                    <a:lnTo>
                      <a:pt x="0" y="2751"/>
                    </a:lnTo>
                    <a:lnTo>
                      <a:pt x="1375" y="0"/>
                    </a:lnTo>
                    <a:close/>
                  </a:path>
                </a:pathLst>
              </a:custGeom>
              <a:grpFill/>
              <a:ln w="5978" cap="flat">
                <a:noFill/>
                <a:prstDash val="solid"/>
                <a:miter/>
              </a:ln>
            </p:spPr>
            <p:txBody>
              <a:bodyPr rtlCol="0" anchor="ctr"/>
              <a:lstStyle/>
              <a:p>
                <a:endParaRPr lang="en-GB"/>
              </a:p>
            </p:txBody>
          </p:sp>
          <p:sp>
            <p:nvSpPr>
              <p:cNvPr id="4525" name="Vrije vorm: vorm 4524">
                <a:extLst>
                  <a:ext uri="{FF2B5EF4-FFF2-40B4-BE49-F238E27FC236}">
                    <a16:creationId xmlns:a16="http://schemas.microsoft.com/office/drawing/2014/main" id="{D3622507-D4E0-4B1F-90ED-2FE0C781BDE4}"/>
                  </a:ext>
                </a:extLst>
              </p:cNvPr>
              <p:cNvSpPr/>
              <p:nvPr/>
            </p:nvSpPr>
            <p:spPr>
              <a:xfrm>
                <a:off x="7596107" y="4099627"/>
                <a:ext cx="18297" cy="18386"/>
              </a:xfrm>
              <a:custGeom>
                <a:avLst/>
                <a:gdLst>
                  <a:gd name="connsiteX0" fmla="*/ 4992 w 18297"/>
                  <a:gd name="connsiteY0" fmla="*/ 17362 h 18386"/>
                  <a:gd name="connsiteX1" fmla="*/ 985 w 18297"/>
                  <a:gd name="connsiteY1" fmla="*/ 4982 h 18386"/>
                  <a:gd name="connsiteX2" fmla="*/ 13305 w 18297"/>
                  <a:gd name="connsiteY2" fmla="*/ 1035 h 18386"/>
                  <a:gd name="connsiteX3" fmla="*/ 17312 w 18297"/>
                  <a:gd name="connsiteY3" fmla="*/ 13415 h 18386"/>
                  <a:gd name="connsiteX4" fmla="*/ 4992 w 18297"/>
                  <a:gd name="connsiteY4" fmla="*/ 17362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86">
                    <a:moveTo>
                      <a:pt x="4992" y="17362"/>
                    </a:moveTo>
                    <a:cubicBezTo>
                      <a:pt x="506" y="15030"/>
                      <a:pt x="-1288" y="9468"/>
                      <a:pt x="985" y="4982"/>
                    </a:cubicBezTo>
                    <a:cubicBezTo>
                      <a:pt x="3257" y="437"/>
                      <a:pt x="8819" y="-1297"/>
                      <a:pt x="13305" y="1035"/>
                    </a:cubicBezTo>
                    <a:cubicBezTo>
                      <a:pt x="17790" y="3368"/>
                      <a:pt x="19585" y="8930"/>
                      <a:pt x="17312" y="13415"/>
                    </a:cubicBezTo>
                    <a:cubicBezTo>
                      <a:pt x="14980" y="17901"/>
                      <a:pt x="9477" y="19695"/>
                      <a:pt x="4992" y="17362"/>
                    </a:cubicBezTo>
                    <a:close/>
                  </a:path>
                </a:pathLst>
              </a:custGeom>
              <a:grpFill/>
              <a:ln w="5978" cap="flat">
                <a:noFill/>
                <a:prstDash val="solid"/>
                <a:miter/>
              </a:ln>
            </p:spPr>
            <p:txBody>
              <a:bodyPr rtlCol="0" anchor="ctr"/>
              <a:lstStyle/>
              <a:p>
                <a:endParaRPr lang="en-GB"/>
              </a:p>
            </p:txBody>
          </p:sp>
          <p:sp>
            <p:nvSpPr>
              <p:cNvPr id="4526" name="Vrije vorm: vorm 4525">
                <a:extLst>
                  <a:ext uri="{FF2B5EF4-FFF2-40B4-BE49-F238E27FC236}">
                    <a16:creationId xmlns:a16="http://schemas.microsoft.com/office/drawing/2014/main" id="{A187184D-6DCD-4BAA-8EED-0661DF563D89}"/>
                  </a:ext>
                </a:extLst>
              </p:cNvPr>
              <p:cNvSpPr/>
              <p:nvPr/>
            </p:nvSpPr>
            <p:spPr>
              <a:xfrm>
                <a:off x="8304785" y="4465658"/>
                <a:ext cx="18334" cy="18375"/>
              </a:xfrm>
              <a:custGeom>
                <a:avLst/>
                <a:gdLst>
                  <a:gd name="connsiteX0" fmla="*/ 5029 w 18334"/>
                  <a:gd name="connsiteY0" fmla="*/ 17351 h 18375"/>
                  <a:gd name="connsiteX1" fmla="*/ 17350 w 18334"/>
                  <a:gd name="connsiteY1" fmla="*/ 13404 h 18375"/>
                  <a:gd name="connsiteX2" fmla="*/ 13342 w 18334"/>
                  <a:gd name="connsiteY2" fmla="*/ 1024 h 18375"/>
                  <a:gd name="connsiteX3" fmla="*/ 1022 w 18334"/>
                  <a:gd name="connsiteY3" fmla="*/ 4971 h 18375"/>
                  <a:gd name="connsiteX4" fmla="*/ 5029 w 18334"/>
                  <a:gd name="connsiteY4" fmla="*/ 17351 h 18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75">
                    <a:moveTo>
                      <a:pt x="5029" y="17351"/>
                    </a:moveTo>
                    <a:cubicBezTo>
                      <a:pt x="9515" y="19684"/>
                      <a:pt x="15077" y="17890"/>
                      <a:pt x="17350" y="13404"/>
                    </a:cubicBezTo>
                    <a:cubicBezTo>
                      <a:pt x="19622" y="8859"/>
                      <a:pt x="17828" y="3297"/>
                      <a:pt x="13342" y="1024"/>
                    </a:cubicBezTo>
                    <a:cubicBezTo>
                      <a:pt x="8857" y="-1309"/>
                      <a:pt x="3294" y="485"/>
                      <a:pt x="1022" y="4971"/>
                    </a:cubicBezTo>
                    <a:cubicBezTo>
                      <a:pt x="-1310" y="9457"/>
                      <a:pt x="484" y="15019"/>
                      <a:pt x="5029" y="17351"/>
                    </a:cubicBezTo>
                    <a:close/>
                  </a:path>
                </a:pathLst>
              </a:custGeom>
              <a:grpFill/>
              <a:ln w="5978" cap="flat">
                <a:noFill/>
                <a:prstDash val="solid"/>
                <a:miter/>
              </a:ln>
            </p:spPr>
            <p:txBody>
              <a:bodyPr rtlCol="0" anchor="ctr"/>
              <a:lstStyle/>
              <a:p>
                <a:endParaRPr lang="en-GB"/>
              </a:p>
            </p:txBody>
          </p:sp>
        </p:grpSp>
        <p:grpSp>
          <p:nvGrpSpPr>
            <p:cNvPr id="286" name="Graphic 3">
              <a:extLst>
                <a:ext uri="{FF2B5EF4-FFF2-40B4-BE49-F238E27FC236}">
                  <a16:creationId xmlns:a16="http://schemas.microsoft.com/office/drawing/2014/main" id="{EF6A37B1-A811-47BB-A872-609A6181577D}"/>
                </a:ext>
              </a:extLst>
            </p:cNvPr>
            <p:cNvGrpSpPr/>
            <p:nvPr/>
          </p:nvGrpSpPr>
          <p:grpSpPr>
            <a:xfrm>
              <a:off x="7741502" y="4240995"/>
              <a:ext cx="448183" cy="229658"/>
              <a:chOff x="7741502" y="4240995"/>
              <a:chExt cx="448183" cy="229658"/>
            </a:xfrm>
            <a:grpFill/>
          </p:grpSpPr>
          <p:sp>
            <p:nvSpPr>
              <p:cNvPr id="4521" name="Vrije vorm: vorm 4520">
                <a:extLst>
                  <a:ext uri="{FF2B5EF4-FFF2-40B4-BE49-F238E27FC236}">
                    <a16:creationId xmlns:a16="http://schemas.microsoft.com/office/drawing/2014/main" id="{9D043BFF-A912-4209-9CEA-9CE278F79C4F}"/>
                  </a:ext>
                </a:extLst>
              </p:cNvPr>
              <p:cNvSpPr/>
              <p:nvPr/>
            </p:nvSpPr>
            <p:spPr>
              <a:xfrm>
                <a:off x="7749600" y="4248625"/>
                <a:ext cx="431987" cy="214409"/>
              </a:xfrm>
              <a:custGeom>
                <a:avLst/>
                <a:gdLst>
                  <a:gd name="connsiteX0" fmla="*/ 431987 w 431987"/>
                  <a:gd name="connsiteY0" fmla="*/ 211658 h 214409"/>
                  <a:gd name="connsiteX1" fmla="*/ 430671 w 431987"/>
                  <a:gd name="connsiteY1" fmla="*/ 214409 h 214409"/>
                  <a:gd name="connsiteX2" fmla="*/ 0 w 431987"/>
                  <a:gd name="connsiteY2" fmla="*/ 2751 h 214409"/>
                  <a:gd name="connsiteX3" fmla="*/ 1316 w 431987"/>
                  <a:gd name="connsiteY3" fmla="*/ 0 h 214409"/>
                </a:gdLst>
                <a:ahLst/>
                <a:cxnLst>
                  <a:cxn ang="0">
                    <a:pos x="connsiteX0" y="connsiteY0"/>
                  </a:cxn>
                  <a:cxn ang="0">
                    <a:pos x="connsiteX1" y="connsiteY1"/>
                  </a:cxn>
                  <a:cxn ang="0">
                    <a:pos x="connsiteX2" y="connsiteY2"/>
                  </a:cxn>
                  <a:cxn ang="0">
                    <a:pos x="connsiteX3" y="connsiteY3"/>
                  </a:cxn>
                </a:cxnLst>
                <a:rect l="l" t="t" r="r" b="b"/>
                <a:pathLst>
                  <a:path w="431987" h="214409">
                    <a:moveTo>
                      <a:pt x="431987" y="211658"/>
                    </a:moveTo>
                    <a:lnTo>
                      <a:pt x="430671" y="214409"/>
                    </a:lnTo>
                    <a:lnTo>
                      <a:pt x="0" y="2751"/>
                    </a:lnTo>
                    <a:lnTo>
                      <a:pt x="1316" y="0"/>
                    </a:lnTo>
                    <a:close/>
                  </a:path>
                </a:pathLst>
              </a:custGeom>
              <a:grpFill/>
              <a:ln w="5978" cap="flat">
                <a:noFill/>
                <a:prstDash val="solid"/>
                <a:miter/>
              </a:ln>
            </p:spPr>
            <p:txBody>
              <a:bodyPr rtlCol="0" anchor="ctr"/>
              <a:lstStyle/>
              <a:p>
                <a:endParaRPr lang="en-GB"/>
              </a:p>
            </p:txBody>
          </p:sp>
          <p:sp>
            <p:nvSpPr>
              <p:cNvPr id="4522" name="Vrije vorm: vorm 4521">
                <a:extLst>
                  <a:ext uri="{FF2B5EF4-FFF2-40B4-BE49-F238E27FC236}">
                    <a16:creationId xmlns:a16="http://schemas.microsoft.com/office/drawing/2014/main" id="{BB808FB1-803E-4F90-B016-BA67777BAA18}"/>
                  </a:ext>
                </a:extLst>
              </p:cNvPr>
              <p:cNvSpPr/>
              <p:nvPr/>
            </p:nvSpPr>
            <p:spPr>
              <a:xfrm>
                <a:off x="8171336" y="4452234"/>
                <a:ext cx="18349" cy="18419"/>
              </a:xfrm>
              <a:custGeom>
                <a:avLst/>
                <a:gdLst>
                  <a:gd name="connsiteX0" fmla="*/ 13182 w 18349"/>
                  <a:gd name="connsiteY0" fmla="*/ 931 h 18419"/>
                  <a:gd name="connsiteX1" fmla="*/ 17428 w 18349"/>
                  <a:gd name="connsiteY1" fmla="*/ 13252 h 18419"/>
                  <a:gd name="connsiteX2" fmla="*/ 5167 w 18349"/>
                  <a:gd name="connsiteY2" fmla="*/ 17498 h 18419"/>
                  <a:gd name="connsiteX3" fmla="*/ 921 w 18349"/>
                  <a:gd name="connsiteY3" fmla="*/ 5178 h 18419"/>
                  <a:gd name="connsiteX4" fmla="*/ 13182 w 18349"/>
                  <a:gd name="connsiteY4" fmla="*/ 93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9">
                    <a:moveTo>
                      <a:pt x="13182" y="931"/>
                    </a:moveTo>
                    <a:cubicBezTo>
                      <a:pt x="17727" y="3144"/>
                      <a:pt x="19641" y="8706"/>
                      <a:pt x="17428" y="13252"/>
                    </a:cubicBezTo>
                    <a:cubicBezTo>
                      <a:pt x="15215" y="17797"/>
                      <a:pt x="9713" y="19711"/>
                      <a:pt x="5167" y="17498"/>
                    </a:cubicBezTo>
                    <a:cubicBezTo>
                      <a:pt x="622" y="15285"/>
                      <a:pt x="-1292" y="9723"/>
                      <a:pt x="921" y="5178"/>
                    </a:cubicBezTo>
                    <a:cubicBezTo>
                      <a:pt x="3134" y="573"/>
                      <a:pt x="8636" y="-1281"/>
                      <a:pt x="13182" y="931"/>
                    </a:cubicBezTo>
                    <a:close/>
                  </a:path>
                </a:pathLst>
              </a:custGeom>
              <a:grpFill/>
              <a:ln w="5978" cap="flat">
                <a:noFill/>
                <a:prstDash val="solid"/>
                <a:miter/>
              </a:ln>
            </p:spPr>
            <p:txBody>
              <a:bodyPr rtlCol="0" anchor="ctr"/>
              <a:lstStyle/>
              <a:p>
                <a:endParaRPr lang="en-GB"/>
              </a:p>
            </p:txBody>
          </p:sp>
          <p:sp>
            <p:nvSpPr>
              <p:cNvPr id="4523" name="Vrije vorm: vorm 4522">
                <a:extLst>
                  <a:ext uri="{FF2B5EF4-FFF2-40B4-BE49-F238E27FC236}">
                    <a16:creationId xmlns:a16="http://schemas.microsoft.com/office/drawing/2014/main" id="{31D6FB33-7CD6-4CFB-BC7A-E78D47EDB949}"/>
                  </a:ext>
                </a:extLst>
              </p:cNvPr>
              <p:cNvSpPr/>
              <p:nvPr/>
            </p:nvSpPr>
            <p:spPr>
              <a:xfrm>
                <a:off x="7741502" y="4240995"/>
                <a:ext cx="18349" cy="18429"/>
              </a:xfrm>
              <a:custGeom>
                <a:avLst/>
                <a:gdLst>
                  <a:gd name="connsiteX0" fmla="*/ 13182 w 18349"/>
                  <a:gd name="connsiteY0" fmla="*/ 931 h 18429"/>
                  <a:gd name="connsiteX1" fmla="*/ 921 w 18349"/>
                  <a:gd name="connsiteY1" fmla="*/ 5178 h 18429"/>
                  <a:gd name="connsiteX2" fmla="*/ 5167 w 18349"/>
                  <a:gd name="connsiteY2" fmla="*/ 17498 h 18429"/>
                  <a:gd name="connsiteX3" fmla="*/ 17428 w 18349"/>
                  <a:gd name="connsiteY3" fmla="*/ 13252 h 18429"/>
                  <a:gd name="connsiteX4" fmla="*/ 13182 w 18349"/>
                  <a:gd name="connsiteY4" fmla="*/ 93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9">
                    <a:moveTo>
                      <a:pt x="13182" y="931"/>
                    </a:moveTo>
                    <a:cubicBezTo>
                      <a:pt x="8636" y="-1281"/>
                      <a:pt x="3134" y="573"/>
                      <a:pt x="921" y="5178"/>
                    </a:cubicBezTo>
                    <a:cubicBezTo>
                      <a:pt x="-1292" y="9723"/>
                      <a:pt x="622" y="15285"/>
                      <a:pt x="5167" y="17498"/>
                    </a:cubicBezTo>
                    <a:cubicBezTo>
                      <a:pt x="9713" y="19711"/>
                      <a:pt x="15215" y="17857"/>
                      <a:pt x="17428" y="13252"/>
                    </a:cubicBezTo>
                    <a:cubicBezTo>
                      <a:pt x="19641" y="8706"/>
                      <a:pt x="17727" y="3204"/>
                      <a:pt x="13182" y="931"/>
                    </a:cubicBezTo>
                    <a:close/>
                  </a:path>
                </a:pathLst>
              </a:custGeom>
              <a:grpFill/>
              <a:ln w="5978" cap="flat">
                <a:noFill/>
                <a:prstDash val="solid"/>
                <a:miter/>
              </a:ln>
            </p:spPr>
            <p:txBody>
              <a:bodyPr rtlCol="0" anchor="ctr"/>
              <a:lstStyle/>
              <a:p>
                <a:endParaRPr lang="en-GB"/>
              </a:p>
            </p:txBody>
          </p:sp>
        </p:grpSp>
        <p:grpSp>
          <p:nvGrpSpPr>
            <p:cNvPr id="287" name="Graphic 3">
              <a:extLst>
                <a:ext uri="{FF2B5EF4-FFF2-40B4-BE49-F238E27FC236}">
                  <a16:creationId xmlns:a16="http://schemas.microsoft.com/office/drawing/2014/main" id="{55D7702B-E49E-44BB-BD42-6C3BA57550A2}"/>
                </a:ext>
              </a:extLst>
            </p:cNvPr>
            <p:cNvGrpSpPr/>
            <p:nvPr/>
          </p:nvGrpSpPr>
          <p:grpSpPr>
            <a:xfrm>
              <a:off x="6909180" y="1312165"/>
              <a:ext cx="84815" cy="168318"/>
              <a:chOff x="6909180" y="1312165"/>
              <a:chExt cx="84815" cy="168318"/>
            </a:xfrm>
            <a:grpFill/>
          </p:grpSpPr>
          <p:sp>
            <p:nvSpPr>
              <p:cNvPr id="4518" name="Vrije vorm: vorm 4517">
                <a:extLst>
                  <a:ext uri="{FF2B5EF4-FFF2-40B4-BE49-F238E27FC236}">
                    <a16:creationId xmlns:a16="http://schemas.microsoft.com/office/drawing/2014/main" id="{21351384-8AB9-4343-92BA-F4E223DF2FF8}"/>
                  </a:ext>
                </a:extLst>
              </p:cNvPr>
              <p:cNvSpPr/>
              <p:nvPr/>
            </p:nvSpPr>
            <p:spPr>
              <a:xfrm>
                <a:off x="6916725" y="1320284"/>
                <a:ext cx="69674" cy="152029"/>
              </a:xfrm>
              <a:custGeom>
                <a:avLst/>
                <a:gdLst>
                  <a:gd name="connsiteX0" fmla="*/ 69675 w 69674"/>
                  <a:gd name="connsiteY0" fmla="*/ 1256 h 152029"/>
                  <a:gd name="connsiteX1" fmla="*/ 2811 w 69674"/>
                  <a:gd name="connsiteY1" fmla="*/ 152030 h 152029"/>
                  <a:gd name="connsiteX2" fmla="*/ 0 w 69674"/>
                  <a:gd name="connsiteY2" fmla="*/ 150774 h 152029"/>
                  <a:gd name="connsiteX3" fmla="*/ 66864 w 69674"/>
                  <a:gd name="connsiteY3" fmla="*/ 0 h 152029"/>
                </a:gdLst>
                <a:ahLst/>
                <a:cxnLst>
                  <a:cxn ang="0">
                    <a:pos x="connsiteX0" y="connsiteY0"/>
                  </a:cxn>
                  <a:cxn ang="0">
                    <a:pos x="connsiteX1" y="connsiteY1"/>
                  </a:cxn>
                  <a:cxn ang="0">
                    <a:pos x="connsiteX2" y="connsiteY2"/>
                  </a:cxn>
                  <a:cxn ang="0">
                    <a:pos x="connsiteX3" y="connsiteY3"/>
                  </a:cxn>
                </a:cxnLst>
                <a:rect l="l" t="t" r="r" b="b"/>
                <a:pathLst>
                  <a:path w="69674" h="152029">
                    <a:moveTo>
                      <a:pt x="69675" y="1256"/>
                    </a:moveTo>
                    <a:lnTo>
                      <a:pt x="2811" y="152030"/>
                    </a:lnTo>
                    <a:lnTo>
                      <a:pt x="0" y="150774"/>
                    </a:lnTo>
                    <a:lnTo>
                      <a:pt x="66864" y="0"/>
                    </a:lnTo>
                    <a:close/>
                  </a:path>
                </a:pathLst>
              </a:custGeom>
              <a:grpFill/>
              <a:ln w="5978" cap="flat">
                <a:noFill/>
                <a:prstDash val="solid"/>
                <a:miter/>
              </a:ln>
            </p:spPr>
            <p:txBody>
              <a:bodyPr rtlCol="0" anchor="ctr"/>
              <a:lstStyle/>
              <a:p>
                <a:endParaRPr lang="en-GB"/>
              </a:p>
            </p:txBody>
          </p:sp>
          <p:sp>
            <p:nvSpPr>
              <p:cNvPr id="4519" name="Vrije vorm: vorm 4518">
                <a:extLst>
                  <a:ext uri="{FF2B5EF4-FFF2-40B4-BE49-F238E27FC236}">
                    <a16:creationId xmlns:a16="http://schemas.microsoft.com/office/drawing/2014/main" id="{C5953825-3A0B-4569-8E1A-6F87468BB246}"/>
                  </a:ext>
                </a:extLst>
              </p:cNvPr>
              <p:cNvSpPr/>
              <p:nvPr/>
            </p:nvSpPr>
            <p:spPr>
              <a:xfrm>
                <a:off x="6975660" y="1312165"/>
                <a:ext cx="18335" cy="18451"/>
              </a:xfrm>
              <a:custGeom>
                <a:avLst/>
                <a:gdLst>
                  <a:gd name="connsiteX0" fmla="*/ 812 w 18335"/>
                  <a:gd name="connsiteY0" fmla="*/ 5428 h 18451"/>
                  <a:gd name="connsiteX1" fmla="*/ 12894 w 18335"/>
                  <a:gd name="connsiteY1" fmla="*/ 823 h 18451"/>
                  <a:gd name="connsiteX2" fmla="*/ 17558 w 18335"/>
                  <a:gd name="connsiteY2" fmla="*/ 13023 h 18451"/>
                  <a:gd name="connsiteX3" fmla="*/ 5477 w 18335"/>
                  <a:gd name="connsiteY3" fmla="*/ 17628 h 18451"/>
                  <a:gd name="connsiteX4" fmla="*/ 812 w 18335"/>
                  <a:gd name="connsiteY4" fmla="*/ 542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1">
                    <a:moveTo>
                      <a:pt x="812" y="5428"/>
                    </a:moveTo>
                    <a:cubicBezTo>
                      <a:pt x="2846" y="763"/>
                      <a:pt x="8288" y="-1271"/>
                      <a:pt x="12894" y="823"/>
                    </a:cubicBezTo>
                    <a:cubicBezTo>
                      <a:pt x="17498" y="2916"/>
                      <a:pt x="19592" y="8358"/>
                      <a:pt x="17558" y="13023"/>
                    </a:cubicBezTo>
                    <a:cubicBezTo>
                      <a:pt x="15525" y="17688"/>
                      <a:pt x="10082" y="19722"/>
                      <a:pt x="5477" y="17628"/>
                    </a:cubicBezTo>
                    <a:cubicBezTo>
                      <a:pt x="812" y="15475"/>
                      <a:pt x="-1281" y="10033"/>
                      <a:pt x="812" y="5428"/>
                    </a:cubicBezTo>
                    <a:close/>
                  </a:path>
                </a:pathLst>
              </a:custGeom>
              <a:grpFill/>
              <a:ln w="5978" cap="flat">
                <a:noFill/>
                <a:prstDash val="solid"/>
                <a:miter/>
              </a:ln>
            </p:spPr>
            <p:txBody>
              <a:bodyPr rtlCol="0" anchor="ctr"/>
              <a:lstStyle/>
              <a:p>
                <a:endParaRPr lang="en-GB"/>
              </a:p>
            </p:txBody>
          </p:sp>
          <p:sp>
            <p:nvSpPr>
              <p:cNvPr id="4520" name="Vrije vorm: vorm 4519">
                <a:extLst>
                  <a:ext uri="{FF2B5EF4-FFF2-40B4-BE49-F238E27FC236}">
                    <a16:creationId xmlns:a16="http://schemas.microsoft.com/office/drawing/2014/main" id="{B4410233-8CD9-4583-BC7D-274508CE7747}"/>
                  </a:ext>
                </a:extLst>
              </p:cNvPr>
              <p:cNvSpPr/>
              <p:nvPr/>
            </p:nvSpPr>
            <p:spPr>
              <a:xfrm>
                <a:off x="6909180" y="1462042"/>
                <a:ext cx="18319" cy="18441"/>
              </a:xfrm>
              <a:custGeom>
                <a:avLst/>
                <a:gdLst>
                  <a:gd name="connsiteX0" fmla="*/ 787 w 18319"/>
                  <a:gd name="connsiteY0" fmla="*/ 5428 h 18441"/>
                  <a:gd name="connsiteX1" fmla="*/ 5451 w 18319"/>
                  <a:gd name="connsiteY1" fmla="*/ 17628 h 18441"/>
                  <a:gd name="connsiteX2" fmla="*/ 17532 w 18319"/>
                  <a:gd name="connsiteY2" fmla="*/ 13023 h 18441"/>
                  <a:gd name="connsiteX3" fmla="*/ 12867 w 18319"/>
                  <a:gd name="connsiteY3" fmla="*/ 823 h 18441"/>
                  <a:gd name="connsiteX4" fmla="*/ 787 w 18319"/>
                  <a:gd name="connsiteY4" fmla="*/ 542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1">
                    <a:moveTo>
                      <a:pt x="787" y="5428"/>
                    </a:moveTo>
                    <a:cubicBezTo>
                      <a:pt x="-1247" y="10093"/>
                      <a:pt x="787" y="15535"/>
                      <a:pt x="5451" y="17628"/>
                    </a:cubicBezTo>
                    <a:cubicBezTo>
                      <a:pt x="10116" y="19722"/>
                      <a:pt x="15499" y="17628"/>
                      <a:pt x="17532" y="13023"/>
                    </a:cubicBezTo>
                    <a:cubicBezTo>
                      <a:pt x="19566" y="8358"/>
                      <a:pt x="17532" y="2916"/>
                      <a:pt x="12867" y="823"/>
                    </a:cubicBezTo>
                    <a:cubicBezTo>
                      <a:pt x="8263" y="-1271"/>
                      <a:pt x="2820" y="763"/>
                      <a:pt x="787" y="5428"/>
                    </a:cubicBezTo>
                    <a:close/>
                  </a:path>
                </a:pathLst>
              </a:custGeom>
              <a:grpFill/>
              <a:ln w="5978" cap="flat">
                <a:noFill/>
                <a:prstDash val="solid"/>
                <a:miter/>
              </a:ln>
            </p:spPr>
            <p:txBody>
              <a:bodyPr rtlCol="0" anchor="ctr"/>
              <a:lstStyle/>
              <a:p>
                <a:endParaRPr lang="en-GB"/>
              </a:p>
            </p:txBody>
          </p:sp>
        </p:grpSp>
        <p:grpSp>
          <p:nvGrpSpPr>
            <p:cNvPr id="288" name="Graphic 3">
              <a:extLst>
                <a:ext uri="{FF2B5EF4-FFF2-40B4-BE49-F238E27FC236}">
                  <a16:creationId xmlns:a16="http://schemas.microsoft.com/office/drawing/2014/main" id="{48FED2E5-097E-4885-AFD7-A4AF077D0ED9}"/>
                </a:ext>
              </a:extLst>
            </p:cNvPr>
            <p:cNvGrpSpPr/>
            <p:nvPr/>
          </p:nvGrpSpPr>
          <p:grpSpPr>
            <a:xfrm>
              <a:off x="7609039" y="4070744"/>
              <a:ext cx="612275" cy="316886"/>
              <a:chOff x="7609039" y="4070744"/>
              <a:chExt cx="612275" cy="316886"/>
            </a:xfrm>
            <a:grpFill/>
          </p:grpSpPr>
          <p:sp>
            <p:nvSpPr>
              <p:cNvPr id="4515" name="Vrije vorm: vorm 4514">
                <a:extLst>
                  <a:ext uri="{FF2B5EF4-FFF2-40B4-BE49-F238E27FC236}">
                    <a16:creationId xmlns:a16="http://schemas.microsoft.com/office/drawing/2014/main" id="{7365244D-78FD-4EC0-BB70-3F8E6AE02F92}"/>
                  </a:ext>
                </a:extLst>
              </p:cNvPr>
              <p:cNvSpPr/>
              <p:nvPr/>
            </p:nvSpPr>
            <p:spPr>
              <a:xfrm>
                <a:off x="7617127" y="4078414"/>
                <a:ext cx="596098" cy="301547"/>
              </a:xfrm>
              <a:custGeom>
                <a:avLst/>
                <a:gdLst>
                  <a:gd name="connsiteX0" fmla="*/ 596098 w 596098"/>
                  <a:gd name="connsiteY0" fmla="*/ 298797 h 301547"/>
                  <a:gd name="connsiteX1" fmla="*/ 594783 w 596098"/>
                  <a:gd name="connsiteY1" fmla="*/ 301548 h 301547"/>
                  <a:gd name="connsiteX2" fmla="*/ 0 w 596098"/>
                  <a:gd name="connsiteY2" fmla="*/ 2751 h 301547"/>
                  <a:gd name="connsiteX3" fmla="*/ 1316 w 596098"/>
                  <a:gd name="connsiteY3" fmla="*/ 0 h 301547"/>
                </a:gdLst>
                <a:ahLst/>
                <a:cxnLst>
                  <a:cxn ang="0">
                    <a:pos x="connsiteX0" y="connsiteY0"/>
                  </a:cxn>
                  <a:cxn ang="0">
                    <a:pos x="connsiteX1" y="connsiteY1"/>
                  </a:cxn>
                  <a:cxn ang="0">
                    <a:pos x="connsiteX2" y="connsiteY2"/>
                  </a:cxn>
                  <a:cxn ang="0">
                    <a:pos x="connsiteX3" y="connsiteY3"/>
                  </a:cxn>
                </a:cxnLst>
                <a:rect l="l" t="t" r="r" b="b"/>
                <a:pathLst>
                  <a:path w="596098" h="301547">
                    <a:moveTo>
                      <a:pt x="596098" y="298797"/>
                    </a:moveTo>
                    <a:lnTo>
                      <a:pt x="594783" y="301548"/>
                    </a:lnTo>
                    <a:lnTo>
                      <a:pt x="0" y="2751"/>
                    </a:lnTo>
                    <a:lnTo>
                      <a:pt x="1316" y="0"/>
                    </a:lnTo>
                    <a:close/>
                  </a:path>
                </a:pathLst>
              </a:custGeom>
              <a:grpFill/>
              <a:ln w="5978" cap="flat">
                <a:noFill/>
                <a:prstDash val="solid"/>
                <a:miter/>
              </a:ln>
            </p:spPr>
            <p:txBody>
              <a:bodyPr rtlCol="0" anchor="ctr"/>
              <a:lstStyle/>
              <a:p>
                <a:endParaRPr lang="en-GB"/>
              </a:p>
            </p:txBody>
          </p:sp>
          <p:sp>
            <p:nvSpPr>
              <p:cNvPr id="4516" name="Vrije vorm: vorm 4515">
                <a:extLst>
                  <a:ext uri="{FF2B5EF4-FFF2-40B4-BE49-F238E27FC236}">
                    <a16:creationId xmlns:a16="http://schemas.microsoft.com/office/drawing/2014/main" id="{F1E74361-E85C-414E-AD34-7FAF0B4EB800}"/>
                  </a:ext>
                </a:extLst>
              </p:cNvPr>
              <p:cNvSpPr/>
              <p:nvPr/>
            </p:nvSpPr>
            <p:spPr>
              <a:xfrm>
                <a:off x="7609039" y="4070744"/>
                <a:ext cx="18329" cy="18448"/>
              </a:xfrm>
              <a:custGeom>
                <a:avLst/>
                <a:gdLst>
                  <a:gd name="connsiteX0" fmla="*/ 5098 w 18329"/>
                  <a:gd name="connsiteY0" fmla="*/ 17478 h 18448"/>
                  <a:gd name="connsiteX1" fmla="*/ 971 w 18329"/>
                  <a:gd name="connsiteY1" fmla="*/ 5098 h 18448"/>
                  <a:gd name="connsiteX2" fmla="*/ 13232 w 18329"/>
                  <a:gd name="connsiteY2" fmla="*/ 971 h 18448"/>
                  <a:gd name="connsiteX3" fmla="*/ 17358 w 18329"/>
                  <a:gd name="connsiteY3" fmla="*/ 13351 h 18448"/>
                  <a:gd name="connsiteX4" fmla="*/ 5098 w 18329"/>
                  <a:gd name="connsiteY4" fmla="*/ 174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8">
                    <a:moveTo>
                      <a:pt x="5098" y="17478"/>
                    </a:moveTo>
                    <a:cubicBezTo>
                      <a:pt x="553" y="15205"/>
                      <a:pt x="-1302" y="9643"/>
                      <a:pt x="971" y="5098"/>
                    </a:cubicBezTo>
                    <a:cubicBezTo>
                      <a:pt x="3244" y="553"/>
                      <a:pt x="8746" y="-1301"/>
                      <a:pt x="13232" y="971"/>
                    </a:cubicBezTo>
                    <a:cubicBezTo>
                      <a:pt x="17777" y="3244"/>
                      <a:pt x="19631" y="8806"/>
                      <a:pt x="17358" y="13351"/>
                    </a:cubicBezTo>
                    <a:cubicBezTo>
                      <a:pt x="15085" y="17896"/>
                      <a:pt x="9584" y="19750"/>
                      <a:pt x="5098" y="17478"/>
                    </a:cubicBezTo>
                    <a:close/>
                  </a:path>
                </a:pathLst>
              </a:custGeom>
              <a:grpFill/>
              <a:ln w="5978" cap="flat">
                <a:noFill/>
                <a:prstDash val="solid"/>
                <a:miter/>
              </a:ln>
            </p:spPr>
            <p:txBody>
              <a:bodyPr rtlCol="0" anchor="ctr"/>
              <a:lstStyle/>
              <a:p>
                <a:endParaRPr lang="en-GB"/>
              </a:p>
            </p:txBody>
          </p:sp>
          <p:sp>
            <p:nvSpPr>
              <p:cNvPr id="4517" name="Vrije vorm: vorm 4516">
                <a:extLst>
                  <a:ext uri="{FF2B5EF4-FFF2-40B4-BE49-F238E27FC236}">
                    <a16:creationId xmlns:a16="http://schemas.microsoft.com/office/drawing/2014/main" id="{158987EF-2437-45B1-AB8C-53BDB4C95448}"/>
                  </a:ext>
                </a:extLst>
              </p:cNvPr>
              <p:cNvSpPr/>
              <p:nvPr/>
            </p:nvSpPr>
            <p:spPr>
              <a:xfrm>
                <a:off x="8202984" y="4369182"/>
                <a:ext cx="18329" cy="18449"/>
              </a:xfrm>
              <a:custGeom>
                <a:avLst/>
                <a:gdLst>
                  <a:gd name="connsiteX0" fmla="*/ 5098 w 18329"/>
                  <a:gd name="connsiteY0" fmla="*/ 17478 h 18449"/>
                  <a:gd name="connsiteX1" fmla="*/ 17358 w 18329"/>
                  <a:gd name="connsiteY1" fmla="*/ 13351 h 18449"/>
                  <a:gd name="connsiteX2" fmla="*/ 13231 w 18329"/>
                  <a:gd name="connsiteY2" fmla="*/ 971 h 18449"/>
                  <a:gd name="connsiteX3" fmla="*/ 971 w 18329"/>
                  <a:gd name="connsiteY3" fmla="*/ 5098 h 18449"/>
                  <a:gd name="connsiteX4" fmla="*/ 5098 w 18329"/>
                  <a:gd name="connsiteY4" fmla="*/ 1747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5098" y="17478"/>
                    </a:moveTo>
                    <a:cubicBezTo>
                      <a:pt x="9643" y="19751"/>
                      <a:pt x="15145" y="17897"/>
                      <a:pt x="17358" y="13351"/>
                    </a:cubicBezTo>
                    <a:cubicBezTo>
                      <a:pt x="19631" y="8806"/>
                      <a:pt x="17777" y="3244"/>
                      <a:pt x="13231" y="971"/>
                    </a:cubicBezTo>
                    <a:cubicBezTo>
                      <a:pt x="8686" y="-1302"/>
                      <a:pt x="3184" y="552"/>
                      <a:pt x="971" y="5098"/>
                    </a:cubicBezTo>
                    <a:cubicBezTo>
                      <a:pt x="-1302" y="9643"/>
                      <a:pt x="552" y="15205"/>
                      <a:pt x="5098" y="17478"/>
                    </a:cubicBezTo>
                    <a:close/>
                  </a:path>
                </a:pathLst>
              </a:custGeom>
              <a:grpFill/>
              <a:ln w="5978" cap="flat">
                <a:noFill/>
                <a:prstDash val="solid"/>
                <a:miter/>
              </a:ln>
            </p:spPr>
            <p:txBody>
              <a:bodyPr rtlCol="0" anchor="ctr"/>
              <a:lstStyle/>
              <a:p>
                <a:endParaRPr lang="en-GB"/>
              </a:p>
            </p:txBody>
          </p:sp>
        </p:grpSp>
        <p:grpSp>
          <p:nvGrpSpPr>
            <p:cNvPr id="289" name="Graphic 3">
              <a:extLst>
                <a:ext uri="{FF2B5EF4-FFF2-40B4-BE49-F238E27FC236}">
                  <a16:creationId xmlns:a16="http://schemas.microsoft.com/office/drawing/2014/main" id="{B68CADF9-93BB-4A0F-BC6D-3486084A9DE1}"/>
                </a:ext>
              </a:extLst>
            </p:cNvPr>
            <p:cNvGrpSpPr/>
            <p:nvPr/>
          </p:nvGrpSpPr>
          <p:grpSpPr>
            <a:xfrm>
              <a:off x="6964236" y="1478249"/>
              <a:ext cx="43670" cy="70116"/>
              <a:chOff x="6964236" y="1478249"/>
              <a:chExt cx="43670" cy="70116"/>
            </a:xfrm>
            <a:grpFill/>
          </p:grpSpPr>
          <p:sp>
            <p:nvSpPr>
              <p:cNvPr id="4512" name="Vrije vorm: vorm 4511">
                <a:extLst>
                  <a:ext uri="{FF2B5EF4-FFF2-40B4-BE49-F238E27FC236}">
                    <a16:creationId xmlns:a16="http://schemas.microsoft.com/office/drawing/2014/main" id="{BB846F16-C744-45EC-BFBF-DCD048E1401D}"/>
                  </a:ext>
                </a:extLst>
              </p:cNvPr>
              <p:cNvSpPr/>
              <p:nvPr/>
            </p:nvSpPr>
            <p:spPr>
              <a:xfrm>
                <a:off x="6971867" y="1486309"/>
                <a:ext cx="28408" cy="53946"/>
              </a:xfrm>
              <a:custGeom>
                <a:avLst/>
                <a:gdLst>
                  <a:gd name="connsiteX0" fmla="*/ 28408 w 28408"/>
                  <a:gd name="connsiteY0" fmla="*/ 1376 h 53946"/>
                  <a:gd name="connsiteX1" fmla="*/ 2691 w 28408"/>
                  <a:gd name="connsiteY1" fmla="*/ 53946 h 53946"/>
                  <a:gd name="connsiteX2" fmla="*/ 0 w 28408"/>
                  <a:gd name="connsiteY2" fmla="*/ 52571 h 53946"/>
                  <a:gd name="connsiteX3" fmla="*/ 25717 w 28408"/>
                  <a:gd name="connsiteY3" fmla="*/ 0 h 53946"/>
                </a:gdLst>
                <a:ahLst/>
                <a:cxnLst>
                  <a:cxn ang="0">
                    <a:pos x="connsiteX0" y="connsiteY0"/>
                  </a:cxn>
                  <a:cxn ang="0">
                    <a:pos x="connsiteX1" y="connsiteY1"/>
                  </a:cxn>
                  <a:cxn ang="0">
                    <a:pos x="connsiteX2" y="connsiteY2"/>
                  </a:cxn>
                  <a:cxn ang="0">
                    <a:pos x="connsiteX3" y="connsiteY3"/>
                  </a:cxn>
                </a:cxnLst>
                <a:rect l="l" t="t" r="r" b="b"/>
                <a:pathLst>
                  <a:path w="28408" h="53946">
                    <a:moveTo>
                      <a:pt x="28408" y="1376"/>
                    </a:moveTo>
                    <a:lnTo>
                      <a:pt x="2691" y="53946"/>
                    </a:lnTo>
                    <a:lnTo>
                      <a:pt x="0" y="52571"/>
                    </a:lnTo>
                    <a:lnTo>
                      <a:pt x="25717" y="0"/>
                    </a:lnTo>
                    <a:close/>
                  </a:path>
                </a:pathLst>
              </a:custGeom>
              <a:grpFill/>
              <a:ln w="5978" cap="flat">
                <a:noFill/>
                <a:prstDash val="solid"/>
                <a:miter/>
              </a:ln>
            </p:spPr>
            <p:txBody>
              <a:bodyPr rtlCol="0" anchor="ctr"/>
              <a:lstStyle/>
              <a:p>
                <a:endParaRPr lang="en-GB"/>
              </a:p>
            </p:txBody>
          </p:sp>
          <p:sp>
            <p:nvSpPr>
              <p:cNvPr id="4513" name="Vrije vorm: vorm 4512">
                <a:extLst>
                  <a:ext uri="{FF2B5EF4-FFF2-40B4-BE49-F238E27FC236}">
                    <a16:creationId xmlns:a16="http://schemas.microsoft.com/office/drawing/2014/main" id="{73840695-AAEE-4F73-B98B-40A987566474}"/>
                  </a:ext>
                </a:extLst>
              </p:cNvPr>
              <p:cNvSpPr/>
              <p:nvPr/>
            </p:nvSpPr>
            <p:spPr>
              <a:xfrm>
                <a:off x="6964236" y="1529993"/>
                <a:ext cx="18338" cy="18372"/>
              </a:xfrm>
              <a:custGeom>
                <a:avLst/>
                <a:gdLst>
                  <a:gd name="connsiteX0" fmla="*/ 17380 w 18338"/>
                  <a:gd name="connsiteY0" fmla="*/ 13253 h 18372"/>
                  <a:gd name="connsiteX1" fmla="*/ 5119 w 18338"/>
                  <a:gd name="connsiteY1" fmla="*/ 17440 h 18372"/>
                  <a:gd name="connsiteX2" fmla="*/ 933 w 18338"/>
                  <a:gd name="connsiteY2" fmla="*/ 5119 h 18372"/>
                  <a:gd name="connsiteX3" fmla="*/ 13193 w 18338"/>
                  <a:gd name="connsiteY3" fmla="*/ 933 h 18372"/>
                  <a:gd name="connsiteX4" fmla="*/ 17380 w 18338"/>
                  <a:gd name="connsiteY4" fmla="*/ 13253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2">
                    <a:moveTo>
                      <a:pt x="17380" y="13253"/>
                    </a:moveTo>
                    <a:cubicBezTo>
                      <a:pt x="15167" y="17798"/>
                      <a:pt x="9665" y="19653"/>
                      <a:pt x="5119" y="17440"/>
                    </a:cubicBezTo>
                    <a:cubicBezTo>
                      <a:pt x="574" y="15227"/>
                      <a:pt x="-1280" y="9665"/>
                      <a:pt x="933" y="5119"/>
                    </a:cubicBezTo>
                    <a:cubicBezTo>
                      <a:pt x="3146" y="574"/>
                      <a:pt x="8648" y="-1280"/>
                      <a:pt x="13193" y="933"/>
                    </a:cubicBezTo>
                    <a:cubicBezTo>
                      <a:pt x="17738" y="3206"/>
                      <a:pt x="19653" y="8708"/>
                      <a:pt x="17380" y="13253"/>
                    </a:cubicBezTo>
                    <a:close/>
                  </a:path>
                </a:pathLst>
              </a:custGeom>
              <a:grpFill/>
              <a:ln w="5978" cap="flat">
                <a:noFill/>
                <a:prstDash val="solid"/>
                <a:miter/>
              </a:ln>
            </p:spPr>
            <p:txBody>
              <a:bodyPr rtlCol="0" anchor="ctr"/>
              <a:lstStyle/>
              <a:p>
                <a:endParaRPr lang="en-GB"/>
              </a:p>
            </p:txBody>
          </p:sp>
          <p:sp>
            <p:nvSpPr>
              <p:cNvPr id="4514" name="Vrije vorm: vorm 4513">
                <a:extLst>
                  <a:ext uri="{FF2B5EF4-FFF2-40B4-BE49-F238E27FC236}">
                    <a16:creationId xmlns:a16="http://schemas.microsoft.com/office/drawing/2014/main" id="{979AF675-4527-4AC4-A8DF-7D0B56A8BF4C}"/>
                  </a:ext>
                </a:extLst>
              </p:cNvPr>
              <p:cNvSpPr/>
              <p:nvPr/>
            </p:nvSpPr>
            <p:spPr>
              <a:xfrm>
                <a:off x="6989594" y="1478249"/>
                <a:ext cx="18312" cy="18383"/>
              </a:xfrm>
              <a:custGeom>
                <a:avLst/>
                <a:gdLst>
                  <a:gd name="connsiteX0" fmla="*/ 17380 w 18312"/>
                  <a:gd name="connsiteY0" fmla="*/ 13264 h 18383"/>
                  <a:gd name="connsiteX1" fmla="*/ 13193 w 18312"/>
                  <a:gd name="connsiteY1" fmla="*/ 943 h 18383"/>
                  <a:gd name="connsiteX2" fmla="*/ 933 w 18312"/>
                  <a:gd name="connsiteY2" fmla="*/ 5130 h 18383"/>
                  <a:gd name="connsiteX3" fmla="*/ 5119 w 18312"/>
                  <a:gd name="connsiteY3" fmla="*/ 17450 h 18383"/>
                  <a:gd name="connsiteX4" fmla="*/ 17380 w 18312"/>
                  <a:gd name="connsiteY4" fmla="*/ 13264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83">
                    <a:moveTo>
                      <a:pt x="17380" y="13264"/>
                    </a:moveTo>
                    <a:cubicBezTo>
                      <a:pt x="19593" y="8718"/>
                      <a:pt x="17738" y="3156"/>
                      <a:pt x="13193" y="943"/>
                    </a:cubicBezTo>
                    <a:cubicBezTo>
                      <a:pt x="8648" y="-1269"/>
                      <a:pt x="3146" y="525"/>
                      <a:pt x="933" y="5130"/>
                    </a:cubicBezTo>
                    <a:cubicBezTo>
                      <a:pt x="-1280" y="9675"/>
                      <a:pt x="574" y="15237"/>
                      <a:pt x="5119" y="17450"/>
                    </a:cubicBezTo>
                    <a:cubicBezTo>
                      <a:pt x="9665" y="19663"/>
                      <a:pt x="15107" y="17809"/>
                      <a:pt x="17380" y="13264"/>
                    </a:cubicBezTo>
                    <a:close/>
                  </a:path>
                </a:pathLst>
              </a:custGeom>
              <a:grpFill/>
              <a:ln w="5978" cap="flat">
                <a:noFill/>
                <a:prstDash val="solid"/>
                <a:miter/>
              </a:ln>
            </p:spPr>
            <p:txBody>
              <a:bodyPr rtlCol="0" anchor="ctr"/>
              <a:lstStyle/>
              <a:p>
                <a:endParaRPr lang="en-GB"/>
              </a:p>
            </p:txBody>
          </p:sp>
        </p:grpSp>
        <p:grpSp>
          <p:nvGrpSpPr>
            <p:cNvPr id="290" name="Graphic 3">
              <a:extLst>
                <a:ext uri="{FF2B5EF4-FFF2-40B4-BE49-F238E27FC236}">
                  <a16:creationId xmlns:a16="http://schemas.microsoft.com/office/drawing/2014/main" id="{04C17CB8-B16C-4C0D-91D5-80BC565246DC}"/>
                </a:ext>
              </a:extLst>
            </p:cNvPr>
            <p:cNvGrpSpPr/>
            <p:nvPr/>
          </p:nvGrpSpPr>
          <p:grpSpPr>
            <a:xfrm>
              <a:off x="7678510" y="3796052"/>
              <a:ext cx="228182" cy="102090"/>
              <a:chOff x="7678510" y="3796052"/>
              <a:chExt cx="228182" cy="102090"/>
            </a:xfrm>
            <a:grpFill/>
          </p:grpSpPr>
          <p:sp>
            <p:nvSpPr>
              <p:cNvPr id="4509" name="Vrije vorm: vorm 4508">
                <a:extLst>
                  <a:ext uri="{FF2B5EF4-FFF2-40B4-BE49-F238E27FC236}">
                    <a16:creationId xmlns:a16="http://schemas.microsoft.com/office/drawing/2014/main" id="{F9B22C1A-9FC0-4602-8C69-BAF4714513E2}"/>
                  </a:ext>
                </a:extLst>
              </p:cNvPr>
              <p:cNvSpPr/>
              <p:nvPr/>
            </p:nvSpPr>
            <p:spPr>
              <a:xfrm>
                <a:off x="7686683" y="3803659"/>
                <a:ext cx="211776" cy="86899"/>
              </a:xfrm>
              <a:custGeom>
                <a:avLst/>
                <a:gdLst>
                  <a:gd name="connsiteX0" fmla="*/ 211777 w 211776"/>
                  <a:gd name="connsiteY0" fmla="*/ 84029 h 86899"/>
                  <a:gd name="connsiteX1" fmla="*/ 210641 w 211776"/>
                  <a:gd name="connsiteY1" fmla="*/ 86900 h 86899"/>
                  <a:gd name="connsiteX2" fmla="*/ 0 w 211776"/>
                  <a:gd name="connsiteY2" fmla="*/ 2871 h 86899"/>
                  <a:gd name="connsiteX3" fmla="*/ 1136 w 211776"/>
                  <a:gd name="connsiteY3" fmla="*/ 0 h 86899"/>
                </a:gdLst>
                <a:ahLst/>
                <a:cxnLst>
                  <a:cxn ang="0">
                    <a:pos x="connsiteX0" y="connsiteY0"/>
                  </a:cxn>
                  <a:cxn ang="0">
                    <a:pos x="connsiteX1" y="connsiteY1"/>
                  </a:cxn>
                  <a:cxn ang="0">
                    <a:pos x="connsiteX2" y="connsiteY2"/>
                  </a:cxn>
                  <a:cxn ang="0">
                    <a:pos x="connsiteX3" y="connsiteY3"/>
                  </a:cxn>
                </a:cxnLst>
                <a:rect l="l" t="t" r="r" b="b"/>
                <a:pathLst>
                  <a:path w="211776" h="86899">
                    <a:moveTo>
                      <a:pt x="211777" y="84029"/>
                    </a:moveTo>
                    <a:lnTo>
                      <a:pt x="210641" y="86900"/>
                    </a:lnTo>
                    <a:lnTo>
                      <a:pt x="0" y="2871"/>
                    </a:lnTo>
                    <a:lnTo>
                      <a:pt x="1136" y="0"/>
                    </a:lnTo>
                    <a:close/>
                  </a:path>
                </a:pathLst>
              </a:custGeom>
              <a:grpFill/>
              <a:ln w="5978" cap="flat">
                <a:noFill/>
                <a:prstDash val="solid"/>
                <a:miter/>
              </a:ln>
            </p:spPr>
            <p:txBody>
              <a:bodyPr rtlCol="0" anchor="ctr"/>
              <a:lstStyle/>
              <a:p>
                <a:endParaRPr lang="en-GB"/>
              </a:p>
            </p:txBody>
          </p:sp>
          <p:sp>
            <p:nvSpPr>
              <p:cNvPr id="4510" name="Vrije vorm: vorm 4509">
                <a:extLst>
                  <a:ext uri="{FF2B5EF4-FFF2-40B4-BE49-F238E27FC236}">
                    <a16:creationId xmlns:a16="http://schemas.microsoft.com/office/drawing/2014/main" id="{99E8B1E7-1ABC-4255-8CCD-0EB13E989A0A}"/>
                  </a:ext>
                </a:extLst>
              </p:cNvPr>
              <p:cNvSpPr/>
              <p:nvPr/>
            </p:nvSpPr>
            <p:spPr>
              <a:xfrm>
                <a:off x="7678510" y="3796052"/>
                <a:ext cx="18378" cy="18419"/>
              </a:xfrm>
              <a:custGeom>
                <a:avLst/>
                <a:gdLst>
                  <a:gd name="connsiteX0" fmla="*/ 5840 w 18378"/>
                  <a:gd name="connsiteY0" fmla="*/ 17775 h 18419"/>
                  <a:gd name="connsiteX1" fmla="*/ 637 w 18378"/>
                  <a:gd name="connsiteY1" fmla="*/ 5813 h 18419"/>
                  <a:gd name="connsiteX2" fmla="*/ 12539 w 18378"/>
                  <a:gd name="connsiteY2" fmla="*/ 670 h 18419"/>
                  <a:gd name="connsiteX3" fmla="*/ 17742 w 18378"/>
                  <a:gd name="connsiteY3" fmla="*/ 12631 h 18419"/>
                  <a:gd name="connsiteX4" fmla="*/ 5840 w 18378"/>
                  <a:gd name="connsiteY4" fmla="*/ 17775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19">
                    <a:moveTo>
                      <a:pt x="5840" y="17775"/>
                    </a:moveTo>
                    <a:cubicBezTo>
                      <a:pt x="1115" y="15921"/>
                      <a:pt x="-1217" y="10538"/>
                      <a:pt x="637" y="5813"/>
                    </a:cubicBezTo>
                    <a:cubicBezTo>
                      <a:pt x="2491" y="1089"/>
                      <a:pt x="7814" y="-1244"/>
                      <a:pt x="12539" y="670"/>
                    </a:cubicBezTo>
                    <a:cubicBezTo>
                      <a:pt x="17264" y="2524"/>
                      <a:pt x="19595" y="7907"/>
                      <a:pt x="17742" y="12631"/>
                    </a:cubicBezTo>
                    <a:cubicBezTo>
                      <a:pt x="15828" y="17356"/>
                      <a:pt x="10505" y="19629"/>
                      <a:pt x="5840" y="17775"/>
                    </a:cubicBezTo>
                    <a:close/>
                  </a:path>
                </a:pathLst>
              </a:custGeom>
              <a:grpFill/>
              <a:ln w="5978" cap="flat">
                <a:noFill/>
                <a:prstDash val="solid"/>
                <a:miter/>
              </a:ln>
            </p:spPr>
            <p:txBody>
              <a:bodyPr rtlCol="0" anchor="ctr"/>
              <a:lstStyle/>
              <a:p>
                <a:endParaRPr lang="en-GB"/>
              </a:p>
            </p:txBody>
          </p:sp>
          <p:sp>
            <p:nvSpPr>
              <p:cNvPr id="4511" name="Vrije vorm: vorm 4510">
                <a:extLst>
                  <a:ext uri="{FF2B5EF4-FFF2-40B4-BE49-F238E27FC236}">
                    <a16:creationId xmlns:a16="http://schemas.microsoft.com/office/drawing/2014/main" id="{9EC93E2C-DE5A-4579-900D-1F3139CC931C}"/>
                  </a:ext>
                </a:extLst>
              </p:cNvPr>
              <p:cNvSpPr/>
              <p:nvPr/>
            </p:nvSpPr>
            <p:spPr>
              <a:xfrm>
                <a:off x="7888314" y="3879747"/>
                <a:ext cx="18378" cy="18395"/>
              </a:xfrm>
              <a:custGeom>
                <a:avLst/>
                <a:gdLst>
                  <a:gd name="connsiteX0" fmla="*/ 5840 w 18378"/>
                  <a:gd name="connsiteY0" fmla="*/ 17750 h 18395"/>
                  <a:gd name="connsiteX1" fmla="*/ 17741 w 18378"/>
                  <a:gd name="connsiteY1" fmla="*/ 12607 h 18395"/>
                  <a:gd name="connsiteX2" fmla="*/ 12538 w 18378"/>
                  <a:gd name="connsiteY2" fmla="*/ 645 h 18395"/>
                  <a:gd name="connsiteX3" fmla="*/ 637 w 18378"/>
                  <a:gd name="connsiteY3" fmla="*/ 5789 h 18395"/>
                  <a:gd name="connsiteX4" fmla="*/ 5840 w 18378"/>
                  <a:gd name="connsiteY4" fmla="*/ 17750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395">
                    <a:moveTo>
                      <a:pt x="5840" y="17750"/>
                    </a:moveTo>
                    <a:cubicBezTo>
                      <a:pt x="10565" y="19604"/>
                      <a:pt x="15888" y="17332"/>
                      <a:pt x="17741" y="12607"/>
                    </a:cubicBezTo>
                    <a:cubicBezTo>
                      <a:pt x="19596" y="7882"/>
                      <a:pt x="17263" y="2499"/>
                      <a:pt x="12538" y="645"/>
                    </a:cubicBezTo>
                    <a:cubicBezTo>
                      <a:pt x="7814" y="-1209"/>
                      <a:pt x="2491" y="1064"/>
                      <a:pt x="637" y="5789"/>
                    </a:cubicBezTo>
                    <a:cubicBezTo>
                      <a:pt x="-1217" y="10513"/>
                      <a:pt x="1115" y="15896"/>
                      <a:pt x="5840" y="17750"/>
                    </a:cubicBezTo>
                    <a:close/>
                  </a:path>
                </a:pathLst>
              </a:custGeom>
              <a:grpFill/>
              <a:ln w="5978" cap="flat">
                <a:noFill/>
                <a:prstDash val="solid"/>
                <a:miter/>
              </a:ln>
            </p:spPr>
            <p:txBody>
              <a:bodyPr rtlCol="0" anchor="ctr"/>
              <a:lstStyle/>
              <a:p>
                <a:endParaRPr lang="en-GB"/>
              </a:p>
            </p:txBody>
          </p:sp>
        </p:grpSp>
        <p:grpSp>
          <p:nvGrpSpPr>
            <p:cNvPr id="291" name="Graphic 3">
              <a:extLst>
                <a:ext uri="{FF2B5EF4-FFF2-40B4-BE49-F238E27FC236}">
                  <a16:creationId xmlns:a16="http://schemas.microsoft.com/office/drawing/2014/main" id="{7F64D4AE-F721-4849-8762-F4E799A6ADF5}"/>
                </a:ext>
              </a:extLst>
            </p:cNvPr>
            <p:cNvGrpSpPr/>
            <p:nvPr/>
          </p:nvGrpSpPr>
          <p:grpSpPr>
            <a:xfrm>
              <a:off x="7168172" y="2091848"/>
              <a:ext cx="85667" cy="92898"/>
              <a:chOff x="7168172" y="2091848"/>
              <a:chExt cx="85667" cy="92898"/>
            </a:xfrm>
            <a:grpFill/>
          </p:grpSpPr>
          <p:sp>
            <p:nvSpPr>
              <p:cNvPr id="4506" name="Vrije vorm: vorm 4505">
                <a:extLst>
                  <a:ext uri="{FF2B5EF4-FFF2-40B4-BE49-F238E27FC236}">
                    <a16:creationId xmlns:a16="http://schemas.microsoft.com/office/drawing/2014/main" id="{4015260C-5D08-4810-B747-4B975390C4D4}"/>
                  </a:ext>
                </a:extLst>
              </p:cNvPr>
              <p:cNvSpPr/>
              <p:nvPr/>
            </p:nvSpPr>
            <p:spPr>
              <a:xfrm>
                <a:off x="7175929" y="2099692"/>
                <a:ext cx="70153" cy="77211"/>
              </a:xfrm>
              <a:custGeom>
                <a:avLst/>
                <a:gdLst>
                  <a:gd name="connsiteX0" fmla="*/ 70154 w 70153"/>
                  <a:gd name="connsiteY0" fmla="*/ 2093 h 77211"/>
                  <a:gd name="connsiteX1" fmla="*/ 2273 w 70153"/>
                  <a:gd name="connsiteY1" fmla="*/ 77211 h 77211"/>
                  <a:gd name="connsiteX2" fmla="*/ 0 w 70153"/>
                  <a:gd name="connsiteY2" fmla="*/ 75118 h 77211"/>
                  <a:gd name="connsiteX3" fmla="*/ 67881 w 70153"/>
                  <a:gd name="connsiteY3" fmla="*/ 0 h 77211"/>
                </a:gdLst>
                <a:ahLst/>
                <a:cxnLst>
                  <a:cxn ang="0">
                    <a:pos x="connsiteX0" y="connsiteY0"/>
                  </a:cxn>
                  <a:cxn ang="0">
                    <a:pos x="connsiteX1" y="connsiteY1"/>
                  </a:cxn>
                  <a:cxn ang="0">
                    <a:pos x="connsiteX2" y="connsiteY2"/>
                  </a:cxn>
                  <a:cxn ang="0">
                    <a:pos x="connsiteX3" y="connsiteY3"/>
                  </a:cxn>
                </a:cxnLst>
                <a:rect l="l" t="t" r="r" b="b"/>
                <a:pathLst>
                  <a:path w="70153" h="77211">
                    <a:moveTo>
                      <a:pt x="70154" y="2093"/>
                    </a:moveTo>
                    <a:lnTo>
                      <a:pt x="2273" y="77211"/>
                    </a:lnTo>
                    <a:lnTo>
                      <a:pt x="0" y="75118"/>
                    </a:lnTo>
                    <a:lnTo>
                      <a:pt x="67881" y="0"/>
                    </a:lnTo>
                    <a:close/>
                  </a:path>
                </a:pathLst>
              </a:custGeom>
              <a:grpFill/>
              <a:ln w="5978" cap="flat">
                <a:noFill/>
                <a:prstDash val="solid"/>
                <a:miter/>
              </a:ln>
            </p:spPr>
            <p:txBody>
              <a:bodyPr rtlCol="0" anchor="ctr"/>
              <a:lstStyle/>
              <a:p>
                <a:endParaRPr lang="en-GB"/>
              </a:p>
            </p:txBody>
          </p:sp>
          <p:sp>
            <p:nvSpPr>
              <p:cNvPr id="4507" name="Vrije vorm: vorm 4506">
                <a:extLst>
                  <a:ext uri="{FF2B5EF4-FFF2-40B4-BE49-F238E27FC236}">
                    <a16:creationId xmlns:a16="http://schemas.microsoft.com/office/drawing/2014/main" id="{C74E8E7B-A43D-4E13-BA53-81BF50A0C0FB}"/>
                  </a:ext>
                </a:extLst>
              </p:cNvPr>
              <p:cNvSpPr/>
              <p:nvPr/>
            </p:nvSpPr>
            <p:spPr>
              <a:xfrm>
                <a:off x="7235515" y="2091848"/>
                <a:ext cx="18324" cy="18438"/>
              </a:xfrm>
              <a:custGeom>
                <a:avLst/>
                <a:gdLst>
                  <a:gd name="connsiteX0" fmla="*/ 2374 w 18324"/>
                  <a:gd name="connsiteY0" fmla="*/ 2999 h 18438"/>
                  <a:gd name="connsiteX1" fmla="*/ 15293 w 18324"/>
                  <a:gd name="connsiteY1" fmla="*/ 2401 h 18438"/>
                  <a:gd name="connsiteX2" fmla="*/ 15951 w 18324"/>
                  <a:gd name="connsiteY2" fmla="*/ 15439 h 18438"/>
                  <a:gd name="connsiteX3" fmla="*/ 3032 w 18324"/>
                  <a:gd name="connsiteY3" fmla="*/ 16038 h 18438"/>
                  <a:gd name="connsiteX4" fmla="*/ 2374 w 18324"/>
                  <a:gd name="connsiteY4" fmla="*/ 299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8">
                    <a:moveTo>
                      <a:pt x="2374" y="2999"/>
                    </a:moveTo>
                    <a:cubicBezTo>
                      <a:pt x="5783" y="-768"/>
                      <a:pt x="11585" y="-1008"/>
                      <a:pt x="15293" y="2401"/>
                    </a:cubicBezTo>
                    <a:cubicBezTo>
                      <a:pt x="19061" y="5810"/>
                      <a:pt x="19359" y="11672"/>
                      <a:pt x="15951" y="15439"/>
                    </a:cubicBezTo>
                    <a:cubicBezTo>
                      <a:pt x="12541" y="19207"/>
                      <a:pt x="6740" y="19446"/>
                      <a:pt x="3032" y="16038"/>
                    </a:cubicBezTo>
                    <a:cubicBezTo>
                      <a:pt x="-736" y="12569"/>
                      <a:pt x="-1034" y="6767"/>
                      <a:pt x="2374" y="2999"/>
                    </a:cubicBezTo>
                    <a:close/>
                  </a:path>
                </a:pathLst>
              </a:custGeom>
              <a:grpFill/>
              <a:ln w="5978" cap="flat">
                <a:noFill/>
                <a:prstDash val="solid"/>
                <a:miter/>
              </a:ln>
            </p:spPr>
            <p:txBody>
              <a:bodyPr rtlCol="0" anchor="ctr"/>
              <a:lstStyle/>
              <a:p>
                <a:endParaRPr lang="en-GB"/>
              </a:p>
            </p:txBody>
          </p:sp>
          <p:sp>
            <p:nvSpPr>
              <p:cNvPr id="4508" name="Vrije vorm: vorm 4507">
                <a:extLst>
                  <a:ext uri="{FF2B5EF4-FFF2-40B4-BE49-F238E27FC236}">
                    <a16:creationId xmlns:a16="http://schemas.microsoft.com/office/drawing/2014/main" id="{E40E6664-92A9-40B6-B2BA-DAEEA47AA3EF}"/>
                  </a:ext>
                </a:extLst>
              </p:cNvPr>
              <p:cNvSpPr/>
              <p:nvPr/>
            </p:nvSpPr>
            <p:spPr>
              <a:xfrm>
                <a:off x="7168172" y="2166284"/>
                <a:ext cx="18324" cy="18462"/>
              </a:xfrm>
              <a:custGeom>
                <a:avLst/>
                <a:gdLst>
                  <a:gd name="connsiteX0" fmla="*/ 2374 w 18324"/>
                  <a:gd name="connsiteY0" fmla="*/ 3023 h 18462"/>
                  <a:gd name="connsiteX1" fmla="*/ 3032 w 18324"/>
                  <a:gd name="connsiteY1" fmla="*/ 16061 h 18462"/>
                  <a:gd name="connsiteX2" fmla="*/ 15951 w 18324"/>
                  <a:gd name="connsiteY2" fmla="*/ 15463 h 18462"/>
                  <a:gd name="connsiteX3" fmla="*/ 15293 w 18324"/>
                  <a:gd name="connsiteY3" fmla="*/ 2425 h 18462"/>
                  <a:gd name="connsiteX4" fmla="*/ 2374 w 18324"/>
                  <a:gd name="connsiteY4" fmla="*/ 3023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2">
                    <a:moveTo>
                      <a:pt x="2374" y="3023"/>
                    </a:moveTo>
                    <a:cubicBezTo>
                      <a:pt x="-1034" y="6791"/>
                      <a:pt x="-736" y="12592"/>
                      <a:pt x="3032" y="16061"/>
                    </a:cubicBezTo>
                    <a:cubicBezTo>
                      <a:pt x="6800" y="19470"/>
                      <a:pt x="12601" y="19231"/>
                      <a:pt x="15951" y="15463"/>
                    </a:cubicBezTo>
                    <a:cubicBezTo>
                      <a:pt x="19359" y="11695"/>
                      <a:pt x="19061" y="5894"/>
                      <a:pt x="15293" y="2425"/>
                    </a:cubicBezTo>
                    <a:cubicBezTo>
                      <a:pt x="11585" y="-1044"/>
                      <a:pt x="5784" y="-745"/>
                      <a:pt x="2374" y="3023"/>
                    </a:cubicBezTo>
                    <a:close/>
                  </a:path>
                </a:pathLst>
              </a:custGeom>
              <a:grpFill/>
              <a:ln w="5978" cap="flat">
                <a:noFill/>
                <a:prstDash val="solid"/>
                <a:miter/>
              </a:ln>
            </p:spPr>
            <p:txBody>
              <a:bodyPr rtlCol="0" anchor="ctr"/>
              <a:lstStyle/>
              <a:p>
                <a:endParaRPr lang="en-GB"/>
              </a:p>
            </p:txBody>
          </p:sp>
        </p:grpSp>
        <p:grpSp>
          <p:nvGrpSpPr>
            <p:cNvPr id="292" name="Graphic 3">
              <a:extLst>
                <a:ext uri="{FF2B5EF4-FFF2-40B4-BE49-F238E27FC236}">
                  <a16:creationId xmlns:a16="http://schemas.microsoft.com/office/drawing/2014/main" id="{959868CC-A1FC-4A85-B347-1920C4BD05AF}"/>
                </a:ext>
              </a:extLst>
            </p:cNvPr>
            <p:cNvGrpSpPr/>
            <p:nvPr/>
          </p:nvGrpSpPr>
          <p:grpSpPr>
            <a:xfrm>
              <a:off x="7630749" y="3944611"/>
              <a:ext cx="455759" cy="207293"/>
              <a:chOff x="7630749" y="3944611"/>
              <a:chExt cx="455759" cy="207293"/>
            </a:xfrm>
            <a:grpFill/>
          </p:grpSpPr>
          <p:sp>
            <p:nvSpPr>
              <p:cNvPr id="4503" name="Vrije vorm: vorm 4502">
                <a:extLst>
                  <a:ext uri="{FF2B5EF4-FFF2-40B4-BE49-F238E27FC236}">
                    <a16:creationId xmlns:a16="http://schemas.microsoft.com/office/drawing/2014/main" id="{C572EE0E-C121-416B-BE4B-2ECCC2025020}"/>
                  </a:ext>
                </a:extLst>
              </p:cNvPr>
              <p:cNvSpPr/>
              <p:nvPr/>
            </p:nvSpPr>
            <p:spPr>
              <a:xfrm>
                <a:off x="7638897" y="3952160"/>
                <a:ext cx="439463" cy="192100"/>
              </a:xfrm>
              <a:custGeom>
                <a:avLst/>
                <a:gdLst>
                  <a:gd name="connsiteX0" fmla="*/ 439463 w 439463"/>
                  <a:gd name="connsiteY0" fmla="*/ 189290 h 192100"/>
                  <a:gd name="connsiteX1" fmla="*/ 438267 w 439463"/>
                  <a:gd name="connsiteY1" fmla="*/ 192101 h 192100"/>
                  <a:gd name="connsiteX2" fmla="*/ 0 w 439463"/>
                  <a:gd name="connsiteY2" fmla="*/ 2871 h 192100"/>
                  <a:gd name="connsiteX3" fmla="*/ 1196 w 439463"/>
                  <a:gd name="connsiteY3" fmla="*/ 0 h 192100"/>
                </a:gdLst>
                <a:ahLst/>
                <a:cxnLst>
                  <a:cxn ang="0">
                    <a:pos x="connsiteX0" y="connsiteY0"/>
                  </a:cxn>
                  <a:cxn ang="0">
                    <a:pos x="connsiteX1" y="connsiteY1"/>
                  </a:cxn>
                  <a:cxn ang="0">
                    <a:pos x="connsiteX2" y="connsiteY2"/>
                  </a:cxn>
                  <a:cxn ang="0">
                    <a:pos x="connsiteX3" y="connsiteY3"/>
                  </a:cxn>
                </a:cxnLst>
                <a:rect l="l" t="t" r="r" b="b"/>
                <a:pathLst>
                  <a:path w="439463" h="192100">
                    <a:moveTo>
                      <a:pt x="439463" y="189290"/>
                    </a:moveTo>
                    <a:lnTo>
                      <a:pt x="438267" y="192101"/>
                    </a:lnTo>
                    <a:lnTo>
                      <a:pt x="0" y="2871"/>
                    </a:lnTo>
                    <a:lnTo>
                      <a:pt x="1196" y="0"/>
                    </a:lnTo>
                    <a:close/>
                  </a:path>
                </a:pathLst>
              </a:custGeom>
              <a:grpFill/>
              <a:ln w="5978" cap="flat">
                <a:noFill/>
                <a:prstDash val="solid"/>
                <a:miter/>
              </a:ln>
            </p:spPr>
            <p:txBody>
              <a:bodyPr rtlCol="0" anchor="ctr"/>
              <a:lstStyle/>
              <a:p>
                <a:endParaRPr lang="en-GB"/>
              </a:p>
            </p:txBody>
          </p:sp>
          <p:sp>
            <p:nvSpPr>
              <p:cNvPr id="4504" name="Vrije vorm: vorm 4503">
                <a:extLst>
                  <a:ext uri="{FF2B5EF4-FFF2-40B4-BE49-F238E27FC236}">
                    <a16:creationId xmlns:a16="http://schemas.microsoft.com/office/drawing/2014/main" id="{5A06556A-E255-490A-A142-22D525555F36}"/>
                  </a:ext>
                </a:extLst>
              </p:cNvPr>
              <p:cNvSpPr/>
              <p:nvPr/>
            </p:nvSpPr>
            <p:spPr>
              <a:xfrm>
                <a:off x="7630749" y="3944611"/>
                <a:ext cx="18328" cy="18388"/>
              </a:xfrm>
              <a:custGeom>
                <a:avLst/>
                <a:gdLst>
                  <a:gd name="connsiteX0" fmla="*/ 5576 w 18328"/>
                  <a:gd name="connsiteY0" fmla="*/ 17657 h 18388"/>
                  <a:gd name="connsiteX1" fmla="*/ 732 w 18328"/>
                  <a:gd name="connsiteY1" fmla="*/ 5576 h 18388"/>
                  <a:gd name="connsiteX2" fmla="*/ 12753 w 18328"/>
                  <a:gd name="connsiteY2" fmla="*/ 732 h 18388"/>
                  <a:gd name="connsiteX3" fmla="*/ 17597 w 18328"/>
                  <a:gd name="connsiteY3" fmla="*/ 12813 h 18388"/>
                  <a:gd name="connsiteX4" fmla="*/ 5576 w 18328"/>
                  <a:gd name="connsiteY4" fmla="*/ 17657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88">
                    <a:moveTo>
                      <a:pt x="5576" y="17657"/>
                    </a:moveTo>
                    <a:cubicBezTo>
                      <a:pt x="911" y="15624"/>
                      <a:pt x="-1242" y="10241"/>
                      <a:pt x="732" y="5576"/>
                    </a:cubicBezTo>
                    <a:cubicBezTo>
                      <a:pt x="2705" y="911"/>
                      <a:pt x="8088" y="-1242"/>
                      <a:pt x="12753" y="732"/>
                    </a:cubicBezTo>
                    <a:cubicBezTo>
                      <a:pt x="17418" y="2765"/>
                      <a:pt x="19571" y="8148"/>
                      <a:pt x="17597" y="12813"/>
                    </a:cubicBezTo>
                    <a:cubicBezTo>
                      <a:pt x="15624" y="17478"/>
                      <a:pt x="10181" y="19631"/>
                      <a:pt x="5576" y="17657"/>
                    </a:cubicBezTo>
                    <a:close/>
                  </a:path>
                </a:pathLst>
              </a:custGeom>
              <a:grpFill/>
              <a:ln w="5978" cap="flat">
                <a:noFill/>
                <a:prstDash val="solid"/>
                <a:miter/>
              </a:ln>
            </p:spPr>
            <p:txBody>
              <a:bodyPr rtlCol="0" anchor="ctr"/>
              <a:lstStyle/>
              <a:p>
                <a:endParaRPr lang="en-GB"/>
              </a:p>
            </p:txBody>
          </p:sp>
          <p:sp>
            <p:nvSpPr>
              <p:cNvPr id="4505" name="Vrije vorm: vorm 4504">
                <a:extLst>
                  <a:ext uri="{FF2B5EF4-FFF2-40B4-BE49-F238E27FC236}">
                    <a16:creationId xmlns:a16="http://schemas.microsoft.com/office/drawing/2014/main" id="{A9DFE67A-C2C1-4764-A45E-5B841DE5B057}"/>
                  </a:ext>
                </a:extLst>
              </p:cNvPr>
              <p:cNvSpPr/>
              <p:nvPr/>
            </p:nvSpPr>
            <p:spPr>
              <a:xfrm>
                <a:off x="8068179" y="4133448"/>
                <a:ext cx="18329" cy="18456"/>
              </a:xfrm>
              <a:custGeom>
                <a:avLst/>
                <a:gdLst>
                  <a:gd name="connsiteX0" fmla="*/ 5576 w 18329"/>
                  <a:gd name="connsiteY0" fmla="*/ 17691 h 18456"/>
                  <a:gd name="connsiteX1" fmla="*/ 17598 w 18329"/>
                  <a:gd name="connsiteY1" fmla="*/ 12847 h 18456"/>
                  <a:gd name="connsiteX2" fmla="*/ 12753 w 18329"/>
                  <a:gd name="connsiteY2" fmla="*/ 766 h 18456"/>
                  <a:gd name="connsiteX3" fmla="*/ 732 w 18329"/>
                  <a:gd name="connsiteY3" fmla="*/ 5610 h 18456"/>
                  <a:gd name="connsiteX4" fmla="*/ 5576 w 18329"/>
                  <a:gd name="connsiteY4" fmla="*/ 17691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6">
                    <a:moveTo>
                      <a:pt x="5576" y="17691"/>
                    </a:moveTo>
                    <a:cubicBezTo>
                      <a:pt x="10241" y="19725"/>
                      <a:pt x="15624" y="17571"/>
                      <a:pt x="17598" y="12847"/>
                    </a:cubicBezTo>
                    <a:cubicBezTo>
                      <a:pt x="19571" y="8182"/>
                      <a:pt x="17418" y="2739"/>
                      <a:pt x="12753" y="766"/>
                    </a:cubicBezTo>
                    <a:cubicBezTo>
                      <a:pt x="8088" y="-1268"/>
                      <a:pt x="2706" y="885"/>
                      <a:pt x="732" y="5610"/>
                    </a:cubicBezTo>
                    <a:cubicBezTo>
                      <a:pt x="-1242" y="10335"/>
                      <a:pt x="911" y="15658"/>
                      <a:pt x="5576" y="17691"/>
                    </a:cubicBezTo>
                    <a:close/>
                  </a:path>
                </a:pathLst>
              </a:custGeom>
              <a:grpFill/>
              <a:ln w="5978" cap="flat">
                <a:noFill/>
                <a:prstDash val="solid"/>
                <a:miter/>
              </a:ln>
            </p:spPr>
            <p:txBody>
              <a:bodyPr rtlCol="0" anchor="ctr"/>
              <a:lstStyle/>
              <a:p>
                <a:endParaRPr lang="en-GB"/>
              </a:p>
            </p:txBody>
          </p:sp>
        </p:grpSp>
        <p:grpSp>
          <p:nvGrpSpPr>
            <p:cNvPr id="293" name="Graphic 3">
              <a:extLst>
                <a:ext uri="{FF2B5EF4-FFF2-40B4-BE49-F238E27FC236}">
                  <a16:creationId xmlns:a16="http://schemas.microsoft.com/office/drawing/2014/main" id="{A21C9DED-4A6C-4FFE-9969-24935EDE33C7}"/>
                </a:ext>
              </a:extLst>
            </p:cNvPr>
            <p:cNvGrpSpPr/>
            <p:nvPr/>
          </p:nvGrpSpPr>
          <p:grpSpPr>
            <a:xfrm>
              <a:off x="7006792" y="1757363"/>
              <a:ext cx="241805" cy="278507"/>
              <a:chOff x="7006792" y="1757363"/>
              <a:chExt cx="241805" cy="278507"/>
            </a:xfrm>
            <a:grpFill/>
          </p:grpSpPr>
          <p:sp>
            <p:nvSpPr>
              <p:cNvPr id="4500" name="Vrije vorm: vorm 4499">
                <a:extLst>
                  <a:ext uri="{FF2B5EF4-FFF2-40B4-BE49-F238E27FC236}">
                    <a16:creationId xmlns:a16="http://schemas.microsoft.com/office/drawing/2014/main" id="{0035A22A-95F3-4542-97A3-79AEA728064F}"/>
                  </a:ext>
                </a:extLst>
              </p:cNvPr>
              <p:cNvSpPr/>
              <p:nvPr/>
            </p:nvSpPr>
            <p:spPr>
              <a:xfrm>
                <a:off x="7014509" y="1765190"/>
                <a:ext cx="226370" cy="262792"/>
              </a:xfrm>
              <a:custGeom>
                <a:avLst/>
                <a:gdLst>
                  <a:gd name="connsiteX0" fmla="*/ 226370 w 226370"/>
                  <a:gd name="connsiteY0" fmla="*/ 1974 h 262792"/>
                  <a:gd name="connsiteX1" fmla="*/ 2273 w 226370"/>
                  <a:gd name="connsiteY1" fmla="*/ 262793 h 262792"/>
                  <a:gd name="connsiteX2" fmla="*/ 0 w 226370"/>
                  <a:gd name="connsiteY2" fmla="*/ 260819 h 262792"/>
                  <a:gd name="connsiteX3" fmla="*/ 224038 w 226370"/>
                  <a:gd name="connsiteY3" fmla="*/ 0 h 262792"/>
                </a:gdLst>
                <a:ahLst/>
                <a:cxnLst>
                  <a:cxn ang="0">
                    <a:pos x="connsiteX0" y="connsiteY0"/>
                  </a:cxn>
                  <a:cxn ang="0">
                    <a:pos x="connsiteX1" y="connsiteY1"/>
                  </a:cxn>
                  <a:cxn ang="0">
                    <a:pos x="connsiteX2" y="connsiteY2"/>
                  </a:cxn>
                  <a:cxn ang="0">
                    <a:pos x="connsiteX3" y="connsiteY3"/>
                  </a:cxn>
                </a:cxnLst>
                <a:rect l="l" t="t" r="r" b="b"/>
                <a:pathLst>
                  <a:path w="226370" h="262792">
                    <a:moveTo>
                      <a:pt x="226370" y="1974"/>
                    </a:moveTo>
                    <a:lnTo>
                      <a:pt x="2273" y="262793"/>
                    </a:lnTo>
                    <a:lnTo>
                      <a:pt x="0" y="260819"/>
                    </a:lnTo>
                    <a:lnTo>
                      <a:pt x="224038" y="0"/>
                    </a:lnTo>
                    <a:close/>
                  </a:path>
                </a:pathLst>
              </a:custGeom>
              <a:grpFill/>
              <a:ln w="5978" cap="flat">
                <a:noFill/>
                <a:prstDash val="solid"/>
                <a:miter/>
              </a:ln>
            </p:spPr>
            <p:txBody>
              <a:bodyPr rtlCol="0" anchor="ctr"/>
              <a:lstStyle/>
              <a:p>
                <a:endParaRPr lang="en-GB"/>
              </a:p>
            </p:txBody>
          </p:sp>
          <p:sp>
            <p:nvSpPr>
              <p:cNvPr id="4501" name="Vrije vorm: vorm 4500">
                <a:extLst>
                  <a:ext uri="{FF2B5EF4-FFF2-40B4-BE49-F238E27FC236}">
                    <a16:creationId xmlns:a16="http://schemas.microsoft.com/office/drawing/2014/main" id="{79108465-C9ED-4B90-92E6-9ABFFFAEB741}"/>
                  </a:ext>
                </a:extLst>
              </p:cNvPr>
              <p:cNvSpPr/>
              <p:nvPr/>
            </p:nvSpPr>
            <p:spPr>
              <a:xfrm>
                <a:off x="7006792" y="2017464"/>
                <a:ext cx="18305" cy="18405"/>
              </a:xfrm>
              <a:custGeom>
                <a:avLst/>
                <a:gdLst>
                  <a:gd name="connsiteX0" fmla="*/ 16091 w 18305"/>
                  <a:gd name="connsiteY0" fmla="*/ 15243 h 18405"/>
                  <a:gd name="connsiteX1" fmla="*/ 3172 w 18305"/>
                  <a:gd name="connsiteY1" fmla="*/ 16141 h 18405"/>
                  <a:gd name="connsiteX2" fmla="*/ 2215 w 18305"/>
                  <a:gd name="connsiteY2" fmla="*/ 3162 h 18405"/>
                  <a:gd name="connsiteX3" fmla="*/ 15134 w 18305"/>
                  <a:gd name="connsiteY3" fmla="*/ 2265 h 18405"/>
                  <a:gd name="connsiteX4" fmla="*/ 16091 w 18305"/>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6091" y="15243"/>
                    </a:moveTo>
                    <a:cubicBezTo>
                      <a:pt x="12801" y="19071"/>
                      <a:pt x="7000" y="19490"/>
                      <a:pt x="3172" y="16141"/>
                    </a:cubicBezTo>
                    <a:cubicBezTo>
                      <a:pt x="-656" y="12791"/>
                      <a:pt x="-1074" y="6990"/>
                      <a:pt x="2215" y="3162"/>
                    </a:cubicBezTo>
                    <a:cubicBezTo>
                      <a:pt x="5505" y="-665"/>
                      <a:pt x="11306" y="-1084"/>
                      <a:pt x="15134" y="2265"/>
                    </a:cubicBezTo>
                    <a:cubicBezTo>
                      <a:pt x="18961" y="5555"/>
                      <a:pt x="19380" y="11356"/>
                      <a:pt x="16091" y="15243"/>
                    </a:cubicBezTo>
                    <a:close/>
                  </a:path>
                </a:pathLst>
              </a:custGeom>
              <a:grpFill/>
              <a:ln w="5978" cap="flat">
                <a:noFill/>
                <a:prstDash val="solid"/>
                <a:miter/>
              </a:ln>
            </p:spPr>
            <p:txBody>
              <a:bodyPr rtlCol="0" anchor="ctr"/>
              <a:lstStyle/>
              <a:p>
                <a:endParaRPr lang="en-GB"/>
              </a:p>
            </p:txBody>
          </p:sp>
          <p:sp>
            <p:nvSpPr>
              <p:cNvPr id="4502" name="Vrije vorm: vorm 4501">
                <a:extLst>
                  <a:ext uri="{FF2B5EF4-FFF2-40B4-BE49-F238E27FC236}">
                    <a16:creationId xmlns:a16="http://schemas.microsoft.com/office/drawing/2014/main" id="{B47EA4AC-8A1C-4FD3-9CC0-ECF76D9FA89B}"/>
                  </a:ext>
                </a:extLst>
              </p:cNvPr>
              <p:cNvSpPr/>
              <p:nvPr/>
            </p:nvSpPr>
            <p:spPr>
              <a:xfrm>
                <a:off x="7230291" y="1757363"/>
                <a:ext cx="18305" cy="18405"/>
              </a:xfrm>
              <a:custGeom>
                <a:avLst/>
                <a:gdLst>
                  <a:gd name="connsiteX0" fmla="*/ 16091 w 18305"/>
                  <a:gd name="connsiteY0" fmla="*/ 15244 h 18405"/>
                  <a:gd name="connsiteX1" fmla="*/ 15134 w 18305"/>
                  <a:gd name="connsiteY1" fmla="*/ 2265 h 18405"/>
                  <a:gd name="connsiteX2" fmla="*/ 2215 w 18305"/>
                  <a:gd name="connsiteY2" fmla="*/ 3162 h 18405"/>
                  <a:gd name="connsiteX3" fmla="*/ 3172 w 18305"/>
                  <a:gd name="connsiteY3" fmla="*/ 16141 h 18405"/>
                  <a:gd name="connsiteX4" fmla="*/ 16091 w 18305"/>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6091" y="15244"/>
                    </a:moveTo>
                    <a:cubicBezTo>
                      <a:pt x="19380" y="11416"/>
                      <a:pt x="18961" y="5555"/>
                      <a:pt x="15134" y="2265"/>
                    </a:cubicBezTo>
                    <a:cubicBezTo>
                      <a:pt x="11306" y="-1084"/>
                      <a:pt x="5505" y="-665"/>
                      <a:pt x="2215" y="3162"/>
                    </a:cubicBezTo>
                    <a:cubicBezTo>
                      <a:pt x="-1074" y="6990"/>
                      <a:pt x="-656" y="12851"/>
                      <a:pt x="3172" y="16141"/>
                    </a:cubicBezTo>
                    <a:cubicBezTo>
                      <a:pt x="7000" y="19490"/>
                      <a:pt x="12801" y="19071"/>
                      <a:pt x="16091" y="15244"/>
                    </a:cubicBezTo>
                    <a:close/>
                  </a:path>
                </a:pathLst>
              </a:custGeom>
              <a:grpFill/>
              <a:ln w="5978" cap="flat">
                <a:noFill/>
                <a:prstDash val="solid"/>
                <a:miter/>
              </a:ln>
            </p:spPr>
            <p:txBody>
              <a:bodyPr rtlCol="0" anchor="ctr"/>
              <a:lstStyle/>
              <a:p>
                <a:endParaRPr lang="en-GB"/>
              </a:p>
            </p:txBody>
          </p:sp>
        </p:grpSp>
        <p:grpSp>
          <p:nvGrpSpPr>
            <p:cNvPr id="294" name="Graphic 3">
              <a:extLst>
                <a:ext uri="{FF2B5EF4-FFF2-40B4-BE49-F238E27FC236}">
                  <a16:creationId xmlns:a16="http://schemas.microsoft.com/office/drawing/2014/main" id="{7CF6B321-27AF-43E8-9858-406DEF190610}"/>
                </a:ext>
              </a:extLst>
            </p:cNvPr>
            <p:cNvGrpSpPr/>
            <p:nvPr/>
          </p:nvGrpSpPr>
          <p:grpSpPr>
            <a:xfrm>
              <a:off x="7685516" y="3764096"/>
              <a:ext cx="125297" cy="41686"/>
              <a:chOff x="7685516" y="3764096"/>
              <a:chExt cx="125297" cy="41686"/>
            </a:xfrm>
            <a:grpFill/>
          </p:grpSpPr>
          <p:sp>
            <p:nvSpPr>
              <p:cNvPr id="4497" name="Vrije vorm: vorm 4496">
                <a:extLst>
                  <a:ext uri="{FF2B5EF4-FFF2-40B4-BE49-F238E27FC236}">
                    <a16:creationId xmlns:a16="http://schemas.microsoft.com/office/drawing/2014/main" id="{EC84C01B-73F3-491D-9A7B-D83323D4BE7B}"/>
                  </a:ext>
                </a:extLst>
              </p:cNvPr>
              <p:cNvSpPr/>
              <p:nvPr/>
            </p:nvSpPr>
            <p:spPr>
              <a:xfrm>
                <a:off x="7693979" y="3771722"/>
                <a:ext cx="108430" cy="26434"/>
              </a:xfrm>
              <a:custGeom>
                <a:avLst/>
                <a:gdLst>
                  <a:gd name="connsiteX0" fmla="*/ 108431 w 108430"/>
                  <a:gd name="connsiteY0" fmla="*/ 23444 h 26434"/>
                  <a:gd name="connsiteX1" fmla="*/ 107773 w 108430"/>
                  <a:gd name="connsiteY1" fmla="*/ 26435 h 26434"/>
                  <a:gd name="connsiteX2" fmla="*/ 0 w 108430"/>
                  <a:gd name="connsiteY2" fmla="*/ 2990 h 26434"/>
                  <a:gd name="connsiteX3" fmla="*/ 598 w 108430"/>
                  <a:gd name="connsiteY3" fmla="*/ 0 h 26434"/>
                </a:gdLst>
                <a:ahLst/>
                <a:cxnLst>
                  <a:cxn ang="0">
                    <a:pos x="connsiteX0" y="connsiteY0"/>
                  </a:cxn>
                  <a:cxn ang="0">
                    <a:pos x="connsiteX1" y="connsiteY1"/>
                  </a:cxn>
                  <a:cxn ang="0">
                    <a:pos x="connsiteX2" y="connsiteY2"/>
                  </a:cxn>
                  <a:cxn ang="0">
                    <a:pos x="connsiteX3" y="connsiteY3"/>
                  </a:cxn>
                </a:cxnLst>
                <a:rect l="l" t="t" r="r" b="b"/>
                <a:pathLst>
                  <a:path w="108430" h="26434">
                    <a:moveTo>
                      <a:pt x="108431" y="23444"/>
                    </a:moveTo>
                    <a:lnTo>
                      <a:pt x="107773" y="26435"/>
                    </a:lnTo>
                    <a:lnTo>
                      <a:pt x="0" y="2990"/>
                    </a:lnTo>
                    <a:lnTo>
                      <a:pt x="598" y="0"/>
                    </a:lnTo>
                    <a:close/>
                  </a:path>
                </a:pathLst>
              </a:custGeom>
              <a:grpFill/>
              <a:ln w="5978" cap="flat">
                <a:noFill/>
                <a:prstDash val="solid"/>
                <a:miter/>
              </a:ln>
            </p:spPr>
            <p:txBody>
              <a:bodyPr rtlCol="0" anchor="ctr"/>
              <a:lstStyle/>
              <a:p>
                <a:endParaRPr lang="en-GB"/>
              </a:p>
            </p:txBody>
          </p:sp>
          <p:sp>
            <p:nvSpPr>
              <p:cNvPr id="4498" name="Vrije vorm: vorm 4497">
                <a:extLst>
                  <a:ext uri="{FF2B5EF4-FFF2-40B4-BE49-F238E27FC236}">
                    <a16:creationId xmlns:a16="http://schemas.microsoft.com/office/drawing/2014/main" id="{A4A24C36-ACC1-454D-9344-52331A56FB69}"/>
                  </a:ext>
                </a:extLst>
              </p:cNvPr>
              <p:cNvSpPr/>
              <p:nvPr/>
            </p:nvSpPr>
            <p:spPr>
              <a:xfrm>
                <a:off x="7792451" y="3787358"/>
                <a:ext cx="18362" cy="18424"/>
              </a:xfrm>
              <a:custGeom>
                <a:avLst/>
                <a:gdLst>
                  <a:gd name="connsiteX0" fmla="*/ 11095 w 18362"/>
                  <a:gd name="connsiteY0" fmla="*/ 213 h 18424"/>
                  <a:gd name="connsiteX1" fmla="*/ 18152 w 18362"/>
                  <a:gd name="connsiteY1" fmla="*/ 11157 h 18424"/>
                  <a:gd name="connsiteX2" fmla="*/ 7267 w 18362"/>
                  <a:gd name="connsiteY2" fmla="*/ 18215 h 18424"/>
                  <a:gd name="connsiteX3" fmla="*/ 210 w 18362"/>
                  <a:gd name="connsiteY3" fmla="*/ 7270 h 18424"/>
                  <a:gd name="connsiteX4" fmla="*/ 11095 w 18362"/>
                  <a:gd name="connsiteY4" fmla="*/ 21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11095" y="213"/>
                    </a:moveTo>
                    <a:cubicBezTo>
                      <a:pt x="16059" y="1289"/>
                      <a:pt x="19228" y="6194"/>
                      <a:pt x="18152" y="11157"/>
                    </a:cubicBezTo>
                    <a:cubicBezTo>
                      <a:pt x="17075" y="16121"/>
                      <a:pt x="12231" y="19291"/>
                      <a:pt x="7267" y="18215"/>
                    </a:cubicBezTo>
                    <a:cubicBezTo>
                      <a:pt x="2303" y="17138"/>
                      <a:pt x="-867" y="12234"/>
                      <a:pt x="210" y="7270"/>
                    </a:cubicBezTo>
                    <a:cubicBezTo>
                      <a:pt x="1286" y="2246"/>
                      <a:pt x="6131" y="-864"/>
                      <a:pt x="11095" y="213"/>
                    </a:cubicBezTo>
                    <a:close/>
                  </a:path>
                </a:pathLst>
              </a:custGeom>
              <a:grpFill/>
              <a:ln w="5978" cap="flat">
                <a:noFill/>
                <a:prstDash val="solid"/>
                <a:miter/>
              </a:ln>
            </p:spPr>
            <p:txBody>
              <a:bodyPr rtlCol="0" anchor="ctr"/>
              <a:lstStyle/>
              <a:p>
                <a:endParaRPr lang="en-GB"/>
              </a:p>
            </p:txBody>
          </p:sp>
          <p:sp>
            <p:nvSpPr>
              <p:cNvPr id="4499" name="Vrije vorm: vorm 4498">
                <a:extLst>
                  <a:ext uri="{FF2B5EF4-FFF2-40B4-BE49-F238E27FC236}">
                    <a16:creationId xmlns:a16="http://schemas.microsoft.com/office/drawing/2014/main" id="{852445CE-F15D-4AD5-AECC-9029F2586DD2}"/>
                  </a:ext>
                </a:extLst>
              </p:cNvPr>
              <p:cNvSpPr/>
              <p:nvPr/>
            </p:nvSpPr>
            <p:spPr>
              <a:xfrm>
                <a:off x="7685516" y="3764096"/>
                <a:ext cx="18362" cy="18421"/>
              </a:xfrm>
              <a:custGeom>
                <a:avLst/>
                <a:gdLst>
                  <a:gd name="connsiteX0" fmla="*/ 11095 w 18362"/>
                  <a:gd name="connsiteY0" fmla="*/ 210 h 18421"/>
                  <a:gd name="connsiteX1" fmla="*/ 210 w 18362"/>
                  <a:gd name="connsiteY1" fmla="*/ 7267 h 18421"/>
                  <a:gd name="connsiteX2" fmla="*/ 7268 w 18362"/>
                  <a:gd name="connsiteY2" fmla="*/ 18212 h 18421"/>
                  <a:gd name="connsiteX3" fmla="*/ 18152 w 18362"/>
                  <a:gd name="connsiteY3" fmla="*/ 11155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6131" y="-867"/>
                      <a:pt x="1287" y="2303"/>
                      <a:pt x="210" y="7267"/>
                    </a:cubicBezTo>
                    <a:cubicBezTo>
                      <a:pt x="-867" y="12231"/>
                      <a:pt x="2303" y="17135"/>
                      <a:pt x="7268" y="18212"/>
                    </a:cubicBezTo>
                    <a:cubicBezTo>
                      <a:pt x="12231" y="19289"/>
                      <a:pt x="17075" y="16119"/>
                      <a:pt x="18152" y="11155"/>
                    </a:cubicBezTo>
                    <a:cubicBezTo>
                      <a:pt x="19229" y="6191"/>
                      <a:pt x="16059" y="1287"/>
                      <a:pt x="11095" y="210"/>
                    </a:cubicBezTo>
                    <a:close/>
                  </a:path>
                </a:pathLst>
              </a:custGeom>
              <a:grpFill/>
              <a:ln w="5978" cap="flat">
                <a:noFill/>
                <a:prstDash val="solid"/>
                <a:miter/>
              </a:ln>
            </p:spPr>
            <p:txBody>
              <a:bodyPr rtlCol="0" anchor="ctr"/>
              <a:lstStyle/>
              <a:p>
                <a:endParaRPr lang="en-GB"/>
              </a:p>
            </p:txBody>
          </p:sp>
        </p:grpSp>
        <p:grpSp>
          <p:nvGrpSpPr>
            <p:cNvPr id="295" name="Graphic 3">
              <a:extLst>
                <a:ext uri="{FF2B5EF4-FFF2-40B4-BE49-F238E27FC236}">
                  <a16:creationId xmlns:a16="http://schemas.microsoft.com/office/drawing/2014/main" id="{3F4F859C-5148-4AC6-AF58-5184A6C97508}"/>
                </a:ext>
              </a:extLst>
            </p:cNvPr>
            <p:cNvGrpSpPr/>
            <p:nvPr/>
          </p:nvGrpSpPr>
          <p:grpSpPr>
            <a:xfrm>
              <a:off x="7681552" y="3827834"/>
              <a:ext cx="172698" cy="58048"/>
              <a:chOff x="7681552" y="3827834"/>
              <a:chExt cx="172698" cy="58048"/>
            </a:xfrm>
            <a:grpFill/>
          </p:grpSpPr>
          <p:sp>
            <p:nvSpPr>
              <p:cNvPr id="4494" name="Vrije vorm: vorm 4493">
                <a:extLst>
                  <a:ext uri="{FF2B5EF4-FFF2-40B4-BE49-F238E27FC236}">
                    <a16:creationId xmlns:a16="http://schemas.microsoft.com/office/drawing/2014/main" id="{2E35A9D7-5F58-4712-AF50-277717698F58}"/>
                  </a:ext>
                </a:extLst>
              </p:cNvPr>
              <p:cNvSpPr/>
              <p:nvPr/>
            </p:nvSpPr>
            <p:spPr>
              <a:xfrm>
                <a:off x="7689912" y="3835477"/>
                <a:ext cx="155977" cy="42822"/>
              </a:xfrm>
              <a:custGeom>
                <a:avLst/>
                <a:gdLst>
                  <a:gd name="connsiteX0" fmla="*/ 155978 w 155977"/>
                  <a:gd name="connsiteY0" fmla="*/ 39832 h 42822"/>
                  <a:gd name="connsiteX1" fmla="*/ 155200 w 155977"/>
                  <a:gd name="connsiteY1" fmla="*/ 42822 h 42822"/>
                  <a:gd name="connsiteX2" fmla="*/ 0 w 155977"/>
                  <a:gd name="connsiteY2" fmla="*/ 2931 h 42822"/>
                  <a:gd name="connsiteX3" fmla="*/ 778 w 155977"/>
                  <a:gd name="connsiteY3" fmla="*/ 0 h 42822"/>
                </a:gdLst>
                <a:ahLst/>
                <a:cxnLst>
                  <a:cxn ang="0">
                    <a:pos x="connsiteX0" y="connsiteY0"/>
                  </a:cxn>
                  <a:cxn ang="0">
                    <a:pos x="connsiteX1" y="connsiteY1"/>
                  </a:cxn>
                  <a:cxn ang="0">
                    <a:pos x="connsiteX2" y="connsiteY2"/>
                  </a:cxn>
                  <a:cxn ang="0">
                    <a:pos x="connsiteX3" y="connsiteY3"/>
                  </a:cxn>
                </a:cxnLst>
                <a:rect l="l" t="t" r="r" b="b"/>
                <a:pathLst>
                  <a:path w="155977" h="42822">
                    <a:moveTo>
                      <a:pt x="155978" y="39832"/>
                    </a:moveTo>
                    <a:lnTo>
                      <a:pt x="155200" y="42822"/>
                    </a:lnTo>
                    <a:lnTo>
                      <a:pt x="0" y="2931"/>
                    </a:lnTo>
                    <a:lnTo>
                      <a:pt x="778" y="0"/>
                    </a:lnTo>
                    <a:close/>
                  </a:path>
                </a:pathLst>
              </a:custGeom>
              <a:grpFill/>
              <a:ln w="5978" cap="flat">
                <a:noFill/>
                <a:prstDash val="solid"/>
                <a:miter/>
              </a:ln>
            </p:spPr>
            <p:txBody>
              <a:bodyPr rtlCol="0" anchor="ctr"/>
              <a:lstStyle/>
              <a:p>
                <a:endParaRPr lang="en-GB"/>
              </a:p>
            </p:txBody>
          </p:sp>
          <p:sp>
            <p:nvSpPr>
              <p:cNvPr id="4495" name="Vrije vorm: vorm 4494">
                <a:extLst>
                  <a:ext uri="{FF2B5EF4-FFF2-40B4-BE49-F238E27FC236}">
                    <a16:creationId xmlns:a16="http://schemas.microsoft.com/office/drawing/2014/main" id="{FE9996F0-4B38-43EE-AA1C-39301D4C58E8}"/>
                  </a:ext>
                </a:extLst>
              </p:cNvPr>
              <p:cNvSpPr/>
              <p:nvPr/>
            </p:nvSpPr>
            <p:spPr>
              <a:xfrm>
                <a:off x="7835914" y="3867486"/>
                <a:ext cx="18335" cy="18395"/>
              </a:xfrm>
              <a:custGeom>
                <a:avLst/>
                <a:gdLst>
                  <a:gd name="connsiteX0" fmla="*/ 11411 w 18335"/>
                  <a:gd name="connsiteY0" fmla="*/ 287 h 18395"/>
                  <a:gd name="connsiteX1" fmla="*/ 18049 w 18335"/>
                  <a:gd name="connsiteY1" fmla="*/ 11471 h 18395"/>
                  <a:gd name="connsiteX2" fmla="*/ 6925 w 18335"/>
                  <a:gd name="connsiteY2" fmla="*/ 18109 h 18395"/>
                  <a:gd name="connsiteX3" fmla="*/ 287 w 18335"/>
                  <a:gd name="connsiteY3" fmla="*/ 6925 h 18395"/>
                  <a:gd name="connsiteX4" fmla="*/ 11411 w 18335"/>
                  <a:gd name="connsiteY4" fmla="*/ 28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5">
                    <a:moveTo>
                      <a:pt x="11411" y="287"/>
                    </a:moveTo>
                    <a:cubicBezTo>
                      <a:pt x="16315" y="1543"/>
                      <a:pt x="19305" y="6566"/>
                      <a:pt x="18049" y="11471"/>
                    </a:cubicBezTo>
                    <a:cubicBezTo>
                      <a:pt x="16794" y="16375"/>
                      <a:pt x="11829" y="19365"/>
                      <a:pt x="6925" y="18109"/>
                    </a:cubicBezTo>
                    <a:cubicBezTo>
                      <a:pt x="2021" y="16853"/>
                      <a:pt x="-970" y="11829"/>
                      <a:pt x="287" y="6925"/>
                    </a:cubicBezTo>
                    <a:cubicBezTo>
                      <a:pt x="1483" y="2021"/>
                      <a:pt x="6506" y="-969"/>
                      <a:pt x="11411" y="287"/>
                    </a:cubicBezTo>
                    <a:close/>
                  </a:path>
                </a:pathLst>
              </a:custGeom>
              <a:grpFill/>
              <a:ln w="5978" cap="flat">
                <a:noFill/>
                <a:prstDash val="solid"/>
                <a:miter/>
              </a:ln>
            </p:spPr>
            <p:txBody>
              <a:bodyPr rtlCol="0" anchor="ctr"/>
              <a:lstStyle/>
              <a:p>
                <a:endParaRPr lang="en-GB"/>
              </a:p>
            </p:txBody>
          </p:sp>
          <p:sp>
            <p:nvSpPr>
              <p:cNvPr id="4496" name="Vrije vorm: vorm 4495">
                <a:extLst>
                  <a:ext uri="{FF2B5EF4-FFF2-40B4-BE49-F238E27FC236}">
                    <a16:creationId xmlns:a16="http://schemas.microsoft.com/office/drawing/2014/main" id="{F605F33B-A7DF-48F1-8D18-C5AED97B1A58}"/>
                  </a:ext>
                </a:extLst>
              </p:cNvPr>
              <p:cNvSpPr/>
              <p:nvPr/>
            </p:nvSpPr>
            <p:spPr>
              <a:xfrm>
                <a:off x="7681552" y="3827834"/>
                <a:ext cx="18335" cy="18395"/>
              </a:xfrm>
              <a:custGeom>
                <a:avLst/>
                <a:gdLst>
                  <a:gd name="connsiteX0" fmla="*/ 11411 w 18335"/>
                  <a:gd name="connsiteY0" fmla="*/ 287 h 18395"/>
                  <a:gd name="connsiteX1" fmla="*/ 287 w 18335"/>
                  <a:gd name="connsiteY1" fmla="*/ 6925 h 18395"/>
                  <a:gd name="connsiteX2" fmla="*/ 6925 w 18335"/>
                  <a:gd name="connsiteY2" fmla="*/ 18109 h 18395"/>
                  <a:gd name="connsiteX3" fmla="*/ 18049 w 18335"/>
                  <a:gd name="connsiteY3" fmla="*/ 11471 h 18395"/>
                  <a:gd name="connsiteX4" fmla="*/ 11411 w 18335"/>
                  <a:gd name="connsiteY4" fmla="*/ 28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5">
                    <a:moveTo>
                      <a:pt x="11411" y="287"/>
                    </a:moveTo>
                    <a:cubicBezTo>
                      <a:pt x="6507" y="-969"/>
                      <a:pt x="1542" y="2021"/>
                      <a:pt x="287" y="6925"/>
                    </a:cubicBezTo>
                    <a:cubicBezTo>
                      <a:pt x="-969" y="11829"/>
                      <a:pt x="2021" y="16853"/>
                      <a:pt x="6925" y="18109"/>
                    </a:cubicBezTo>
                    <a:cubicBezTo>
                      <a:pt x="11830" y="19365"/>
                      <a:pt x="16793" y="16375"/>
                      <a:pt x="18049" y="11471"/>
                    </a:cubicBezTo>
                    <a:cubicBezTo>
                      <a:pt x="19306" y="6566"/>
                      <a:pt x="16315" y="1543"/>
                      <a:pt x="11411" y="287"/>
                    </a:cubicBezTo>
                    <a:close/>
                  </a:path>
                </a:pathLst>
              </a:custGeom>
              <a:grpFill/>
              <a:ln w="5978" cap="flat">
                <a:noFill/>
                <a:prstDash val="solid"/>
                <a:miter/>
              </a:ln>
            </p:spPr>
            <p:txBody>
              <a:bodyPr rtlCol="0" anchor="ctr"/>
              <a:lstStyle/>
              <a:p>
                <a:endParaRPr lang="en-GB"/>
              </a:p>
            </p:txBody>
          </p:sp>
        </p:grpSp>
        <p:grpSp>
          <p:nvGrpSpPr>
            <p:cNvPr id="296" name="Graphic 3">
              <a:extLst>
                <a:ext uri="{FF2B5EF4-FFF2-40B4-BE49-F238E27FC236}">
                  <a16:creationId xmlns:a16="http://schemas.microsoft.com/office/drawing/2014/main" id="{822C02AD-75C6-4DA8-8DD7-883CAB8309E3}"/>
                </a:ext>
              </a:extLst>
            </p:cNvPr>
            <p:cNvGrpSpPr/>
            <p:nvPr/>
          </p:nvGrpSpPr>
          <p:grpSpPr>
            <a:xfrm>
              <a:off x="6924066" y="1442683"/>
              <a:ext cx="193745" cy="345706"/>
              <a:chOff x="6924066" y="1442683"/>
              <a:chExt cx="193745" cy="345706"/>
            </a:xfrm>
            <a:grpFill/>
          </p:grpSpPr>
          <p:sp>
            <p:nvSpPr>
              <p:cNvPr id="4491" name="Vrije vorm: vorm 4490">
                <a:extLst>
                  <a:ext uri="{FF2B5EF4-FFF2-40B4-BE49-F238E27FC236}">
                    <a16:creationId xmlns:a16="http://schemas.microsoft.com/office/drawing/2014/main" id="{461F8552-6D48-4930-B59C-AE3383036771}"/>
                  </a:ext>
                </a:extLst>
              </p:cNvPr>
              <p:cNvSpPr/>
              <p:nvPr/>
            </p:nvSpPr>
            <p:spPr>
              <a:xfrm>
                <a:off x="6931677" y="1450724"/>
                <a:ext cx="178524" cy="329537"/>
              </a:xfrm>
              <a:custGeom>
                <a:avLst/>
                <a:gdLst>
                  <a:gd name="connsiteX0" fmla="*/ 178524 w 178524"/>
                  <a:gd name="connsiteY0" fmla="*/ 1495 h 329537"/>
                  <a:gd name="connsiteX1" fmla="*/ 2631 w 178524"/>
                  <a:gd name="connsiteY1" fmla="*/ 329538 h 329537"/>
                  <a:gd name="connsiteX2" fmla="*/ 0 w 178524"/>
                  <a:gd name="connsiteY2" fmla="*/ 328102 h 329537"/>
                  <a:gd name="connsiteX3" fmla="*/ 175833 w 178524"/>
                  <a:gd name="connsiteY3" fmla="*/ 0 h 329537"/>
                </a:gdLst>
                <a:ahLst/>
                <a:cxnLst>
                  <a:cxn ang="0">
                    <a:pos x="connsiteX0" y="connsiteY0"/>
                  </a:cxn>
                  <a:cxn ang="0">
                    <a:pos x="connsiteX1" y="connsiteY1"/>
                  </a:cxn>
                  <a:cxn ang="0">
                    <a:pos x="connsiteX2" y="connsiteY2"/>
                  </a:cxn>
                  <a:cxn ang="0">
                    <a:pos x="connsiteX3" y="connsiteY3"/>
                  </a:cxn>
                </a:cxnLst>
                <a:rect l="l" t="t" r="r" b="b"/>
                <a:pathLst>
                  <a:path w="178524" h="329537">
                    <a:moveTo>
                      <a:pt x="178524" y="1495"/>
                    </a:moveTo>
                    <a:lnTo>
                      <a:pt x="2631" y="329538"/>
                    </a:lnTo>
                    <a:lnTo>
                      <a:pt x="0" y="328102"/>
                    </a:lnTo>
                    <a:lnTo>
                      <a:pt x="175833" y="0"/>
                    </a:lnTo>
                    <a:close/>
                  </a:path>
                </a:pathLst>
              </a:custGeom>
              <a:grpFill/>
              <a:ln w="5978" cap="flat">
                <a:noFill/>
                <a:prstDash val="solid"/>
                <a:miter/>
              </a:ln>
            </p:spPr>
            <p:txBody>
              <a:bodyPr rtlCol="0" anchor="ctr"/>
              <a:lstStyle/>
              <a:p>
                <a:endParaRPr lang="en-GB"/>
              </a:p>
            </p:txBody>
          </p:sp>
          <p:sp>
            <p:nvSpPr>
              <p:cNvPr id="4492" name="Vrije vorm: vorm 4491">
                <a:extLst>
                  <a:ext uri="{FF2B5EF4-FFF2-40B4-BE49-F238E27FC236}">
                    <a16:creationId xmlns:a16="http://schemas.microsoft.com/office/drawing/2014/main" id="{FD6A827E-FB6A-4B7B-BD0C-FD94DC41F819}"/>
                  </a:ext>
                </a:extLst>
              </p:cNvPr>
              <p:cNvSpPr/>
              <p:nvPr/>
            </p:nvSpPr>
            <p:spPr>
              <a:xfrm>
                <a:off x="7099480" y="1442683"/>
                <a:ext cx="18330" cy="18414"/>
              </a:xfrm>
              <a:custGeom>
                <a:avLst/>
                <a:gdLst>
                  <a:gd name="connsiteX0" fmla="*/ 1092 w 18330"/>
                  <a:gd name="connsiteY0" fmla="*/ 4812 h 18414"/>
                  <a:gd name="connsiteX1" fmla="*/ 13531 w 18330"/>
                  <a:gd name="connsiteY1" fmla="*/ 1104 h 18414"/>
                  <a:gd name="connsiteX2" fmla="*/ 17239 w 18330"/>
                  <a:gd name="connsiteY2" fmla="*/ 13603 h 18414"/>
                  <a:gd name="connsiteX3" fmla="*/ 4800 w 18330"/>
                  <a:gd name="connsiteY3" fmla="*/ 17311 h 18414"/>
                  <a:gd name="connsiteX4" fmla="*/ 1092 w 18330"/>
                  <a:gd name="connsiteY4" fmla="*/ 481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14">
                    <a:moveTo>
                      <a:pt x="1092" y="4812"/>
                    </a:moveTo>
                    <a:cubicBezTo>
                      <a:pt x="3483" y="326"/>
                      <a:pt x="9046" y="-1289"/>
                      <a:pt x="13531" y="1104"/>
                    </a:cubicBezTo>
                    <a:cubicBezTo>
                      <a:pt x="17957" y="3556"/>
                      <a:pt x="19632" y="9118"/>
                      <a:pt x="17239" y="13603"/>
                    </a:cubicBezTo>
                    <a:cubicBezTo>
                      <a:pt x="14847" y="18089"/>
                      <a:pt x="9285" y="19704"/>
                      <a:pt x="4800" y="17311"/>
                    </a:cubicBezTo>
                    <a:cubicBezTo>
                      <a:pt x="374" y="14859"/>
                      <a:pt x="-1301" y="9297"/>
                      <a:pt x="1092" y="4812"/>
                    </a:cubicBezTo>
                    <a:close/>
                  </a:path>
                </a:pathLst>
              </a:custGeom>
              <a:grpFill/>
              <a:ln w="5978" cap="flat">
                <a:noFill/>
                <a:prstDash val="solid"/>
                <a:miter/>
              </a:ln>
            </p:spPr>
            <p:txBody>
              <a:bodyPr rtlCol="0" anchor="ctr"/>
              <a:lstStyle/>
              <a:p>
                <a:endParaRPr lang="en-GB"/>
              </a:p>
            </p:txBody>
          </p:sp>
          <p:sp>
            <p:nvSpPr>
              <p:cNvPr id="4493" name="Vrije vorm: vorm 4492">
                <a:extLst>
                  <a:ext uri="{FF2B5EF4-FFF2-40B4-BE49-F238E27FC236}">
                    <a16:creationId xmlns:a16="http://schemas.microsoft.com/office/drawing/2014/main" id="{A390B6C7-F268-445B-9562-9E60ABCDFE4F}"/>
                  </a:ext>
                </a:extLst>
              </p:cNvPr>
              <p:cNvSpPr/>
              <p:nvPr/>
            </p:nvSpPr>
            <p:spPr>
              <a:xfrm>
                <a:off x="6924066" y="1769921"/>
                <a:ext cx="18331" cy="18467"/>
              </a:xfrm>
              <a:custGeom>
                <a:avLst/>
                <a:gdLst>
                  <a:gd name="connsiteX0" fmla="*/ 1091 w 18331"/>
                  <a:gd name="connsiteY0" fmla="*/ 4838 h 18467"/>
                  <a:gd name="connsiteX1" fmla="*/ 4799 w 18331"/>
                  <a:gd name="connsiteY1" fmla="*/ 17338 h 18467"/>
                  <a:gd name="connsiteX2" fmla="*/ 17240 w 18331"/>
                  <a:gd name="connsiteY2" fmla="*/ 13630 h 18467"/>
                  <a:gd name="connsiteX3" fmla="*/ 13532 w 18331"/>
                  <a:gd name="connsiteY3" fmla="*/ 1130 h 18467"/>
                  <a:gd name="connsiteX4" fmla="*/ 1091 w 18331"/>
                  <a:gd name="connsiteY4" fmla="*/ 4838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67">
                    <a:moveTo>
                      <a:pt x="1091" y="4838"/>
                    </a:moveTo>
                    <a:cubicBezTo>
                      <a:pt x="-1300" y="9324"/>
                      <a:pt x="374" y="14886"/>
                      <a:pt x="4799" y="17338"/>
                    </a:cubicBezTo>
                    <a:cubicBezTo>
                      <a:pt x="9285" y="19790"/>
                      <a:pt x="14787" y="18115"/>
                      <a:pt x="17240" y="13630"/>
                    </a:cubicBezTo>
                    <a:cubicBezTo>
                      <a:pt x="19632" y="9144"/>
                      <a:pt x="17957" y="3582"/>
                      <a:pt x="13532" y="1130"/>
                    </a:cubicBezTo>
                    <a:cubicBezTo>
                      <a:pt x="9046" y="-1322"/>
                      <a:pt x="3484" y="353"/>
                      <a:pt x="1091" y="4838"/>
                    </a:cubicBezTo>
                    <a:close/>
                  </a:path>
                </a:pathLst>
              </a:custGeom>
              <a:grpFill/>
              <a:ln w="5978" cap="flat">
                <a:noFill/>
                <a:prstDash val="solid"/>
                <a:miter/>
              </a:ln>
            </p:spPr>
            <p:txBody>
              <a:bodyPr rtlCol="0" anchor="ctr"/>
              <a:lstStyle/>
              <a:p>
                <a:endParaRPr lang="en-GB"/>
              </a:p>
            </p:txBody>
          </p:sp>
        </p:grpSp>
        <p:grpSp>
          <p:nvGrpSpPr>
            <p:cNvPr id="297" name="Graphic 3">
              <a:extLst>
                <a:ext uri="{FF2B5EF4-FFF2-40B4-BE49-F238E27FC236}">
                  <a16:creationId xmlns:a16="http://schemas.microsoft.com/office/drawing/2014/main" id="{309F9DD9-75FC-4CE6-9C2E-83AC784321C9}"/>
                </a:ext>
              </a:extLst>
            </p:cNvPr>
            <p:cNvGrpSpPr/>
            <p:nvPr/>
          </p:nvGrpSpPr>
          <p:grpSpPr>
            <a:xfrm>
              <a:off x="7124333" y="1956090"/>
              <a:ext cx="24187" cy="26264"/>
              <a:chOff x="7124333" y="1956090"/>
              <a:chExt cx="24187" cy="26264"/>
            </a:xfrm>
            <a:grpFill/>
          </p:grpSpPr>
          <p:sp>
            <p:nvSpPr>
              <p:cNvPr id="4488" name="Vrije vorm: vorm 4487">
                <a:extLst>
                  <a:ext uri="{FF2B5EF4-FFF2-40B4-BE49-F238E27FC236}">
                    <a16:creationId xmlns:a16="http://schemas.microsoft.com/office/drawing/2014/main" id="{4322ABF6-6511-4A58-8E2B-4851DDA9556F}"/>
                  </a:ext>
                </a:extLst>
              </p:cNvPr>
              <p:cNvSpPr/>
              <p:nvPr/>
            </p:nvSpPr>
            <p:spPr>
              <a:xfrm>
                <a:off x="7131971" y="1963989"/>
                <a:ext cx="8911" cy="10466"/>
              </a:xfrm>
              <a:custGeom>
                <a:avLst/>
                <a:gdLst>
                  <a:gd name="connsiteX0" fmla="*/ 8911 w 8911"/>
                  <a:gd name="connsiteY0" fmla="*/ 1854 h 10466"/>
                  <a:gd name="connsiteX1" fmla="*/ 2452 w 8911"/>
                  <a:gd name="connsiteY1" fmla="*/ 10466 h 10466"/>
                  <a:gd name="connsiteX2" fmla="*/ 0 w 8911"/>
                  <a:gd name="connsiteY2" fmla="*/ 8612 h 10466"/>
                  <a:gd name="connsiteX3" fmla="*/ 6459 w 8911"/>
                  <a:gd name="connsiteY3" fmla="*/ 0 h 10466"/>
                </a:gdLst>
                <a:ahLst/>
                <a:cxnLst>
                  <a:cxn ang="0">
                    <a:pos x="connsiteX0" y="connsiteY0"/>
                  </a:cxn>
                  <a:cxn ang="0">
                    <a:pos x="connsiteX1" y="connsiteY1"/>
                  </a:cxn>
                  <a:cxn ang="0">
                    <a:pos x="connsiteX2" y="connsiteY2"/>
                  </a:cxn>
                  <a:cxn ang="0">
                    <a:pos x="connsiteX3" y="connsiteY3"/>
                  </a:cxn>
                </a:cxnLst>
                <a:rect l="l" t="t" r="r" b="b"/>
                <a:pathLst>
                  <a:path w="8911" h="10466">
                    <a:moveTo>
                      <a:pt x="8911" y="1854"/>
                    </a:moveTo>
                    <a:lnTo>
                      <a:pt x="2452" y="10466"/>
                    </a:lnTo>
                    <a:lnTo>
                      <a:pt x="0" y="8612"/>
                    </a:lnTo>
                    <a:lnTo>
                      <a:pt x="6459" y="0"/>
                    </a:lnTo>
                    <a:close/>
                  </a:path>
                </a:pathLst>
              </a:custGeom>
              <a:grpFill/>
              <a:ln w="5978" cap="flat">
                <a:noFill/>
                <a:prstDash val="solid"/>
                <a:miter/>
              </a:ln>
            </p:spPr>
            <p:txBody>
              <a:bodyPr rtlCol="0" anchor="ctr"/>
              <a:lstStyle/>
              <a:p>
                <a:endParaRPr lang="en-GB"/>
              </a:p>
            </p:txBody>
          </p:sp>
          <p:sp>
            <p:nvSpPr>
              <p:cNvPr id="4489" name="Vrije vorm: vorm 4488">
                <a:extLst>
                  <a:ext uri="{FF2B5EF4-FFF2-40B4-BE49-F238E27FC236}">
                    <a16:creationId xmlns:a16="http://schemas.microsoft.com/office/drawing/2014/main" id="{339FA7B1-2065-4AF3-9534-A797EB2D158E}"/>
                  </a:ext>
                </a:extLst>
              </p:cNvPr>
              <p:cNvSpPr/>
              <p:nvPr/>
            </p:nvSpPr>
            <p:spPr>
              <a:xfrm>
                <a:off x="7130194" y="1956090"/>
                <a:ext cx="18326" cy="18429"/>
              </a:xfrm>
              <a:custGeom>
                <a:avLst/>
                <a:gdLst>
                  <a:gd name="connsiteX0" fmla="*/ 1837 w 18326"/>
                  <a:gd name="connsiteY0" fmla="*/ 3653 h 18429"/>
                  <a:gd name="connsiteX1" fmla="*/ 14635 w 18326"/>
                  <a:gd name="connsiteY1" fmla="*/ 1858 h 18429"/>
                  <a:gd name="connsiteX2" fmla="*/ 16489 w 18326"/>
                  <a:gd name="connsiteY2" fmla="*/ 14777 h 18429"/>
                  <a:gd name="connsiteX3" fmla="*/ 3690 w 18326"/>
                  <a:gd name="connsiteY3" fmla="*/ 16571 h 18429"/>
                  <a:gd name="connsiteX4" fmla="*/ 1837 w 18326"/>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837" y="3653"/>
                    </a:moveTo>
                    <a:cubicBezTo>
                      <a:pt x="4887" y="-414"/>
                      <a:pt x="10628" y="-1192"/>
                      <a:pt x="14635" y="1858"/>
                    </a:cubicBezTo>
                    <a:cubicBezTo>
                      <a:pt x="18702" y="4909"/>
                      <a:pt x="19539" y="10710"/>
                      <a:pt x="16489" y="14777"/>
                    </a:cubicBezTo>
                    <a:cubicBezTo>
                      <a:pt x="13439" y="18844"/>
                      <a:pt x="7698" y="19621"/>
                      <a:pt x="3690" y="16571"/>
                    </a:cubicBezTo>
                    <a:cubicBezTo>
                      <a:pt x="-376" y="13461"/>
                      <a:pt x="-1213" y="7720"/>
                      <a:pt x="1837" y="3653"/>
                    </a:cubicBezTo>
                    <a:close/>
                  </a:path>
                </a:pathLst>
              </a:custGeom>
              <a:grpFill/>
              <a:ln w="5978" cap="flat">
                <a:noFill/>
                <a:prstDash val="solid"/>
                <a:miter/>
              </a:ln>
            </p:spPr>
            <p:txBody>
              <a:bodyPr rtlCol="0" anchor="ctr"/>
              <a:lstStyle/>
              <a:p>
                <a:endParaRPr lang="en-GB"/>
              </a:p>
            </p:txBody>
          </p:sp>
          <p:sp>
            <p:nvSpPr>
              <p:cNvPr id="4490" name="Vrije vorm: vorm 4489">
                <a:extLst>
                  <a:ext uri="{FF2B5EF4-FFF2-40B4-BE49-F238E27FC236}">
                    <a16:creationId xmlns:a16="http://schemas.microsoft.com/office/drawing/2014/main" id="{78209284-0FD8-4C50-902B-2BCBDEF59698}"/>
                  </a:ext>
                </a:extLst>
              </p:cNvPr>
              <p:cNvSpPr/>
              <p:nvPr/>
            </p:nvSpPr>
            <p:spPr>
              <a:xfrm>
                <a:off x="7124333" y="1963943"/>
                <a:ext cx="18326" cy="18411"/>
              </a:xfrm>
              <a:custGeom>
                <a:avLst/>
                <a:gdLst>
                  <a:gd name="connsiteX0" fmla="*/ 1836 w 18326"/>
                  <a:gd name="connsiteY0" fmla="*/ 3635 h 18411"/>
                  <a:gd name="connsiteX1" fmla="*/ 3691 w 18326"/>
                  <a:gd name="connsiteY1" fmla="*/ 16553 h 18411"/>
                  <a:gd name="connsiteX2" fmla="*/ 16490 w 18326"/>
                  <a:gd name="connsiteY2" fmla="*/ 14759 h 18411"/>
                  <a:gd name="connsiteX3" fmla="*/ 14635 w 18326"/>
                  <a:gd name="connsiteY3" fmla="*/ 1841 h 18411"/>
                  <a:gd name="connsiteX4" fmla="*/ 1836 w 18326"/>
                  <a:gd name="connsiteY4" fmla="*/ 3635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1">
                    <a:moveTo>
                      <a:pt x="1836" y="3635"/>
                    </a:moveTo>
                    <a:cubicBezTo>
                      <a:pt x="-1213" y="7702"/>
                      <a:pt x="-376" y="13503"/>
                      <a:pt x="3691" y="16553"/>
                    </a:cubicBezTo>
                    <a:cubicBezTo>
                      <a:pt x="7758" y="19604"/>
                      <a:pt x="13499" y="18826"/>
                      <a:pt x="16490" y="14759"/>
                    </a:cubicBezTo>
                    <a:cubicBezTo>
                      <a:pt x="19540" y="10692"/>
                      <a:pt x="18702" y="4891"/>
                      <a:pt x="14635" y="1841"/>
                    </a:cubicBezTo>
                    <a:cubicBezTo>
                      <a:pt x="10569" y="-1209"/>
                      <a:pt x="4827" y="-372"/>
                      <a:pt x="1836" y="3635"/>
                    </a:cubicBezTo>
                    <a:close/>
                  </a:path>
                </a:pathLst>
              </a:custGeom>
              <a:grpFill/>
              <a:ln w="5978" cap="flat">
                <a:noFill/>
                <a:prstDash val="solid"/>
                <a:miter/>
              </a:ln>
            </p:spPr>
            <p:txBody>
              <a:bodyPr rtlCol="0" anchor="ctr"/>
              <a:lstStyle/>
              <a:p>
                <a:endParaRPr lang="en-GB"/>
              </a:p>
            </p:txBody>
          </p:sp>
        </p:grpSp>
        <p:grpSp>
          <p:nvGrpSpPr>
            <p:cNvPr id="298" name="Graphic 3">
              <a:extLst>
                <a:ext uri="{FF2B5EF4-FFF2-40B4-BE49-F238E27FC236}">
                  <a16:creationId xmlns:a16="http://schemas.microsoft.com/office/drawing/2014/main" id="{D7C8C7F0-6386-4DB1-AD92-EF7972AC7E70}"/>
                </a:ext>
              </a:extLst>
            </p:cNvPr>
            <p:cNvGrpSpPr/>
            <p:nvPr/>
          </p:nvGrpSpPr>
          <p:grpSpPr>
            <a:xfrm>
              <a:off x="7676256" y="3859120"/>
              <a:ext cx="213791" cy="72547"/>
              <a:chOff x="7676256" y="3859120"/>
              <a:chExt cx="213791" cy="72547"/>
            </a:xfrm>
            <a:grpFill/>
          </p:grpSpPr>
          <p:sp>
            <p:nvSpPr>
              <p:cNvPr id="4485" name="Vrije vorm: vorm 4484">
                <a:extLst>
                  <a:ext uri="{FF2B5EF4-FFF2-40B4-BE49-F238E27FC236}">
                    <a16:creationId xmlns:a16="http://schemas.microsoft.com/office/drawing/2014/main" id="{401B8618-7C5F-43F4-A010-9DFA8AE765BD}"/>
                  </a:ext>
                </a:extLst>
              </p:cNvPr>
              <p:cNvSpPr/>
              <p:nvPr/>
            </p:nvSpPr>
            <p:spPr>
              <a:xfrm>
                <a:off x="7684530" y="3866756"/>
                <a:ext cx="197184" cy="57295"/>
              </a:xfrm>
              <a:custGeom>
                <a:avLst/>
                <a:gdLst>
                  <a:gd name="connsiteX0" fmla="*/ 197184 w 197184"/>
                  <a:gd name="connsiteY0" fmla="*/ 54305 h 57295"/>
                  <a:gd name="connsiteX1" fmla="*/ 196407 w 197184"/>
                  <a:gd name="connsiteY1" fmla="*/ 57295 h 57295"/>
                  <a:gd name="connsiteX2" fmla="*/ 0 w 197184"/>
                  <a:gd name="connsiteY2" fmla="*/ 2930 h 57295"/>
                  <a:gd name="connsiteX3" fmla="*/ 837 w 197184"/>
                  <a:gd name="connsiteY3" fmla="*/ 0 h 57295"/>
                </a:gdLst>
                <a:ahLst/>
                <a:cxnLst>
                  <a:cxn ang="0">
                    <a:pos x="connsiteX0" y="connsiteY0"/>
                  </a:cxn>
                  <a:cxn ang="0">
                    <a:pos x="connsiteX1" y="connsiteY1"/>
                  </a:cxn>
                  <a:cxn ang="0">
                    <a:pos x="connsiteX2" y="connsiteY2"/>
                  </a:cxn>
                  <a:cxn ang="0">
                    <a:pos x="connsiteX3" y="connsiteY3"/>
                  </a:cxn>
                </a:cxnLst>
                <a:rect l="l" t="t" r="r" b="b"/>
                <a:pathLst>
                  <a:path w="197184" h="57295">
                    <a:moveTo>
                      <a:pt x="197184" y="54305"/>
                    </a:moveTo>
                    <a:lnTo>
                      <a:pt x="196407" y="57295"/>
                    </a:lnTo>
                    <a:lnTo>
                      <a:pt x="0" y="2930"/>
                    </a:lnTo>
                    <a:lnTo>
                      <a:pt x="837" y="0"/>
                    </a:lnTo>
                    <a:close/>
                  </a:path>
                </a:pathLst>
              </a:custGeom>
              <a:grpFill/>
              <a:ln w="5978" cap="flat">
                <a:noFill/>
                <a:prstDash val="solid"/>
                <a:miter/>
              </a:ln>
            </p:spPr>
            <p:txBody>
              <a:bodyPr rtlCol="0" anchor="ctr"/>
              <a:lstStyle/>
              <a:p>
                <a:endParaRPr lang="en-GB"/>
              </a:p>
            </p:txBody>
          </p:sp>
          <p:sp>
            <p:nvSpPr>
              <p:cNvPr id="4486" name="Vrije vorm: vorm 4485">
                <a:extLst>
                  <a:ext uri="{FF2B5EF4-FFF2-40B4-BE49-F238E27FC236}">
                    <a16:creationId xmlns:a16="http://schemas.microsoft.com/office/drawing/2014/main" id="{67EE8930-F004-4694-8279-4D33BA2DD329}"/>
                  </a:ext>
                </a:extLst>
              </p:cNvPr>
              <p:cNvSpPr/>
              <p:nvPr/>
            </p:nvSpPr>
            <p:spPr>
              <a:xfrm>
                <a:off x="7871706" y="3913241"/>
                <a:ext cx="18340" cy="18425"/>
              </a:xfrm>
              <a:custGeom>
                <a:avLst/>
                <a:gdLst>
                  <a:gd name="connsiteX0" fmla="*/ 11563 w 18340"/>
                  <a:gd name="connsiteY0" fmla="*/ 344 h 18425"/>
                  <a:gd name="connsiteX1" fmla="*/ 18022 w 18340"/>
                  <a:gd name="connsiteY1" fmla="*/ 11648 h 18425"/>
                  <a:gd name="connsiteX2" fmla="*/ 6778 w 18340"/>
                  <a:gd name="connsiteY2" fmla="*/ 18107 h 18425"/>
                  <a:gd name="connsiteX3" fmla="*/ 319 w 18340"/>
                  <a:gd name="connsiteY3" fmla="*/ 6803 h 18425"/>
                  <a:gd name="connsiteX4" fmla="*/ 11563 w 18340"/>
                  <a:gd name="connsiteY4" fmla="*/ 344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11563" y="344"/>
                    </a:moveTo>
                    <a:cubicBezTo>
                      <a:pt x="16467" y="1720"/>
                      <a:pt x="19337" y="6743"/>
                      <a:pt x="18022" y="11648"/>
                    </a:cubicBezTo>
                    <a:cubicBezTo>
                      <a:pt x="16706" y="16552"/>
                      <a:pt x="11683" y="19422"/>
                      <a:pt x="6778" y="18107"/>
                    </a:cubicBezTo>
                    <a:cubicBezTo>
                      <a:pt x="1874" y="16731"/>
                      <a:pt x="-997" y="11707"/>
                      <a:pt x="319" y="6803"/>
                    </a:cubicBezTo>
                    <a:cubicBezTo>
                      <a:pt x="1635" y="1839"/>
                      <a:pt x="6718" y="-1032"/>
                      <a:pt x="11563" y="344"/>
                    </a:cubicBezTo>
                    <a:close/>
                  </a:path>
                </a:pathLst>
              </a:custGeom>
              <a:grpFill/>
              <a:ln w="5978" cap="flat">
                <a:noFill/>
                <a:prstDash val="solid"/>
                <a:miter/>
              </a:ln>
            </p:spPr>
            <p:txBody>
              <a:bodyPr rtlCol="0" anchor="ctr"/>
              <a:lstStyle/>
              <a:p>
                <a:endParaRPr lang="en-GB"/>
              </a:p>
            </p:txBody>
          </p:sp>
          <p:sp>
            <p:nvSpPr>
              <p:cNvPr id="4487" name="Vrije vorm: vorm 4486">
                <a:extLst>
                  <a:ext uri="{FF2B5EF4-FFF2-40B4-BE49-F238E27FC236}">
                    <a16:creationId xmlns:a16="http://schemas.microsoft.com/office/drawing/2014/main" id="{6A02EB2C-4C3F-424F-AF5D-E4994CBF1BC3}"/>
                  </a:ext>
                </a:extLst>
              </p:cNvPr>
              <p:cNvSpPr/>
              <p:nvPr/>
            </p:nvSpPr>
            <p:spPr>
              <a:xfrm>
                <a:off x="7676256" y="3859120"/>
                <a:ext cx="18317" cy="18442"/>
              </a:xfrm>
              <a:custGeom>
                <a:avLst/>
                <a:gdLst>
                  <a:gd name="connsiteX0" fmla="*/ 11563 w 18317"/>
                  <a:gd name="connsiteY0" fmla="*/ 340 h 18442"/>
                  <a:gd name="connsiteX1" fmla="*/ 319 w 18317"/>
                  <a:gd name="connsiteY1" fmla="*/ 6799 h 18442"/>
                  <a:gd name="connsiteX2" fmla="*/ 6779 w 18317"/>
                  <a:gd name="connsiteY2" fmla="*/ 18103 h 18442"/>
                  <a:gd name="connsiteX3" fmla="*/ 18022 w 18317"/>
                  <a:gd name="connsiteY3" fmla="*/ 11643 h 18442"/>
                  <a:gd name="connsiteX4" fmla="*/ 11563 w 18317"/>
                  <a:gd name="connsiteY4" fmla="*/ 34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2">
                    <a:moveTo>
                      <a:pt x="11563" y="340"/>
                    </a:moveTo>
                    <a:cubicBezTo>
                      <a:pt x="6659" y="-1036"/>
                      <a:pt x="1635" y="1895"/>
                      <a:pt x="319" y="6799"/>
                    </a:cubicBezTo>
                    <a:cubicBezTo>
                      <a:pt x="-997" y="11703"/>
                      <a:pt x="1874" y="16787"/>
                      <a:pt x="6779" y="18103"/>
                    </a:cubicBezTo>
                    <a:cubicBezTo>
                      <a:pt x="11683" y="19478"/>
                      <a:pt x="16706" y="16548"/>
                      <a:pt x="18022" y="11643"/>
                    </a:cubicBezTo>
                    <a:cubicBezTo>
                      <a:pt x="19278" y="6739"/>
                      <a:pt x="16408" y="1656"/>
                      <a:pt x="11563" y="340"/>
                    </a:cubicBezTo>
                    <a:close/>
                  </a:path>
                </a:pathLst>
              </a:custGeom>
              <a:grpFill/>
              <a:ln w="5978" cap="flat">
                <a:noFill/>
                <a:prstDash val="solid"/>
                <a:miter/>
              </a:ln>
            </p:spPr>
            <p:txBody>
              <a:bodyPr rtlCol="0" anchor="ctr"/>
              <a:lstStyle/>
              <a:p>
                <a:endParaRPr lang="en-GB"/>
              </a:p>
            </p:txBody>
          </p:sp>
        </p:grpSp>
        <p:grpSp>
          <p:nvGrpSpPr>
            <p:cNvPr id="299" name="Graphic 3">
              <a:extLst>
                <a:ext uri="{FF2B5EF4-FFF2-40B4-BE49-F238E27FC236}">
                  <a16:creationId xmlns:a16="http://schemas.microsoft.com/office/drawing/2014/main" id="{7717C0C5-9488-49A7-9067-FFA011C2C7AA}"/>
                </a:ext>
              </a:extLst>
            </p:cNvPr>
            <p:cNvGrpSpPr/>
            <p:nvPr/>
          </p:nvGrpSpPr>
          <p:grpSpPr>
            <a:xfrm>
              <a:off x="6869150" y="1426295"/>
              <a:ext cx="354148" cy="532193"/>
              <a:chOff x="6869150" y="1426295"/>
              <a:chExt cx="354148" cy="532193"/>
            </a:xfrm>
            <a:grpFill/>
          </p:grpSpPr>
          <p:sp>
            <p:nvSpPr>
              <p:cNvPr id="4482" name="Vrije vorm: vorm 4481">
                <a:extLst>
                  <a:ext uri="{FF2B5EF4-FFF2-40B4-BE49-F238E27FC236}">
                    <a16:creationId xmlns:a16="http://schemas.microsoft.com/office/drawing/2014/main" id="{7F5E1B9B-6651-4275-BA68-95ECE4EBF381}"/>
                  </a:ext>
                </a:extLst>
              </p:cNvPr>
              <p:cNvSpPr/>
              <p:nvPr/>
            </p:nvSpPr>
            <p:spPr>
              <a:xfrm>
                <a:off x="6876773" y="1434217"/>
                <a:ext cx="338867" cy="516315"/>
              </a:xfrm>
              <a:custGeom>
                <a:avLst/>
                <a:gdLst>
                  <a:gd name="connsiteX0" fmla="*/ 338868 w 338867"/>
                  <a:gd name="connsiteY0" fmla="*/ 1675 h 516315"/>
                  <a:gd name="connsiteX1" fmla="*/ 2572 w 338867"/>
                  <a:gd name="connsiteY1" fmla="*/ 516316 h 516315"/>
                  <a:gd name="connsiteX2" fmla="*/ 0 w 338867"/>
                  <a:gd name="connsiteY2" fmla="*/ 514641 h 516315"/>
                  <a:gd name="connsiteX3" fmla="*/ 336356 w 338867"/>
                  <a:gd name="connsiteY3" fmla="*/ 0 h 516315"/>
                </a:gdLst>
                <a:ahLst/>
                <a:cxnLst>
                  <a:cxn ang="0">
                    <a:pos x="connsiteX0" y="connsiteY0"/>
                  </a:cxn>
                  <a:cxn ang="0">
                    <a:pos x="connsiteX1" y="connsiteY1"/>
                  </a:cxn>
                  <a:cxn ang="0">
                    <a:pos x="connsiteX2" y="connsiteY2"/>
                  </a:cxn>
                  <a:cxn ang="0">
                    <a:pos x="connsiteX3" y="connsiteY3"/>
                  </a:cxn>
                </a:cxnLst>
                <a:rect l="l" t="t" r="r" b="b"/>
                <a:pathLst>
                  <a:path w="338867" h="516315">
                    <a:moveTo>
                      <a:pt x="338868" y="1675"/>
                    </a:moveTo>
                    <a:lnTo>
                      <a:pt x="2572" y="516316"/>
                    </a:lnTo>
                    <a:lnTo>
                      <a:pt x="0" y="514641"/>
                    </a:lnTo>
                    <a:lnTo>
                      <a:pt x="336356" y="0"/>
                    </a:lnTo>
                    <a:close/>
                  </a:path>
                </a:pathLst>
              </a:custGeom>
              <a:grpFill/>
              <a:ln w="5978" cap="flat">
                <a:noFill/>
                <a:prstDash val="solid"/>
                <a:miter/>
              </a:ln>
            </p:spPr>
            <p:txBody>
              <a:bodyPr rtlCol="0" anchor="ctr"/>
              <a:lstStyle/>
              <a:p>
                <a:endParaRPr lang="en-GB"/>
              </a:p>
            </p:txBody>
          </p:sp>
          <p:sp>
            <p:nvSpPr>
              <p:cNvPr id="4483" name="Vrije vorm: vorm 4482">
                <a:extLst>
                  <a:ext uri="{FF2B5EF4-FFF2-40B4-BE49-F238E27FC236}">
                    <a16:creationId xmlns:a16="http://schemas.microsoft.com/office/drawing/2014/main" id="{30BFAE8F-FBA1-4AFF-95EC-E753BB5A3933}"/>
                  </a:ext>
                </a:extLst>
              </p:cNvPr>
              <p:cNvSpPr/>
              <p:nvPr/>
            </p:nvSpPr>
            <p:spPr>
              <a:xfrm>
                <a:off x="6869150" y="1940125"/>
                <a:ext cx="18330" cy="18363"/>
              </a:xfrm>
              <a:custGeom>
                <a:avLst/>
                <a:gdLst>
                  <a:gd name="connsiteX0" fmla="*/ 16834 w 18330"/>
                  <a:gd name="connsiteY0" fmla="*/ 14236 h 18363"/>
                  <a:gd name="connsiteX1" fmla="*/ 4155 w 18330"/>
                  <a:gd name="connsiteY1" fmla="*/ 16867 h 18363"/>
                  <a:gd name="connsiteX2" fmla="*/ 1523 w 18330"/>
                  <a:gd name="connsiteY2" fmla="*/ 4128 h 18363"/>
                  <a:gd name="connsiteX3" fmla="*/ 14202 w 18330"/>
                  <a:gd name="connsiteY3" fmla="*/ 1497 h 18363"/>
                  <a:gd name="connsiteX4" fmla="*/ 16834 w 18330"/>
                  <a:gd name="connsiteY4" fmla="*/ 14236 h 1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363">
                    <a:moveTo>
                      <a:pt x="16834" y="14236"/>
                    </a:moveTo>
                    <a:cubicBezTo>
                      <a:pt x="14082" y="18482"/>
                      <a:pt x="8401" y="19618"/>
                      <a:pt x="4155" y="16867"/>
                    </a:cubicBezTo>
                    <a:cubicBezTo>
                      <a:pt x="-92" y="14056"/>
                      <a:pt x="-1288" y="8374"/>
                      <a:pt x="1523" y="4128"/>
                    </a:cubicBezTo>
                    <a:cubicBezTo>
                      <a:pt x="4275" y="-118"/>
                      <a:pt x="9956" y="-1255"/>
                      <a:pt x="14202" y="1497"/>
                    </a:cubicBezTo>
                    <a:cubicBezTo>
                      <a:pt x="18449" y="4308"/>
                      <a:pt x="19585" y="9989"/>
                      <a:pt x="16834" y="14236"/>
                    </a:cubicBezTo>
                    <a:close/>
                  </a:path>
                </a:pathLst>
              </a:custGeom>
              <a:grpFill/>
              <a:ln w="5978" cap="flat">
                <a:noFill/>
                <a:prstDash val="solid"/>
                <a:miter/>
              </a:ln>
            </p:spPr>
            <p:txBody>
              <a:bodyPr rtlCol="0" anchor="ctr"/>
              <a:lstStyle/>
              <a:p>
                <a:endParaRPr lang="en-GB"/>
              </a:p>
            </p:txBody>
          </p:sp>
          <p:sp>
            <p:nvSpPr>
              <p:cNvPr id="4484" name="Vrije vorm: vorm 4483">
                <a:extLst>
                  <a:ext uri="{FF2B5EF4-FFF2-40B4-BE49-F238E27FC236}">
                    <a16:creationId xmlns:a16="http://schemas.microsoft.com/office/drawing/2014/main" id="{46BF702F-3C7F-4E25-AFE5-622AA1899028}"/>
                  </a:ext>
                </a:extLst>
              </p:cNvPr>
              <p:cNvSpPr/>
              <p:nvPr/>
            </p:nvSpPr>
            <p:spPr>
              <a:xfrm>
                <a:off x="7204994" y="1426295"/>
                <a:ext cx="18303" cy="18390"/>
              </a:xfrm>
              <a:custGeom>
                <a:avLst/>
                <a:gdLst>
                  <a:gd name="connsiteX0" fmla="*/ 16808 w 18303"/>
                  <a:gd name="connsiteY0" fmla="*/ 14262 h 18390"/>
                  <a:gd name="connsiteX1" fmla="*/ 14176 w 18303"/>
                  <a:gd name="connsiteY1" fmla="*/ 1523 h 18390"/>
                  <a:gd name="connsiteX2" fmla="*/ 1497 w 18303"/>
                  <a:gd name="connsiteY2" fmla="*/ 4155 h 18390"/>
                  <a:gd name="connsiteX3" fmla="*/ 4128 w 18303"/>
                  <a:gd name="connsiteY3" fmla="*/ 16893 h 18390"/>
                  <a:gd name="connsiteX4" fmla="*/ 16808 w 1830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90">
                    <a:moveTo>
                      <a:pt x="16808" y="14262"/>
                    </a:moveTo>
                    <a:cubicBezTo>
                      <a:pt x="19558" y="10016"/>
                      <a:pt x="18422" y="4274"/>
                      <a:pt x="14176" y="1523"/>
                    </a:cubicBezTo>
                    <a:cubicBezTo>
                      <a:pt x="9930" y="-1288"/>
                      <a:pt x="4247" y="-92"/>
                      <a:pt x="1497" y="4155"/>
                    </a:cubicBezTo>
                    <a:cubicBezTo>
                      <a:pt x="-1254" y="8401"/>
                      <a:pt x="-118" y="14142"/>
                      <a:pt x="4128" y="16893"/>
                    </a:cubicBezTo>
                    <a:cubicBezTo>
                      <a:pt x="8315" y="19645"/>
                      <a:pt x="13996" y="18508"/>
                      <a:pt x="16808" y="14262"/>
                    </a:cubicBezTo>
                    <a:close/>
                  </a:path>
                </a:pathLst>
              </a:custGeom>
              <a:grpFill/>
              <a:ln w="5978" cap="flat">
                <a:noFill/>
                <a:prstDash val="solid"/>
                <a:miter/>
              </a:ln>
            </p:spPr>
            <p:txBody>
              <a:bodyPr rtlCol="0" anchor="ctr"/>
              <a:lstStyle/>
              <a:p>
                <a:endParaRPr lang="en-GB"/>
              </a:p>
            </p:txBody>
          </p:sp>
        </p:grpSp>
        <p:grpSp>
          <p:nvGrpSpPr>
            <p:cNvPr id="300" name="Graphic 3">
              <a:extLst>
                <a:ext uri="{FF2B5EF4-FFF2-40B4-BE49-F238E27FC236}">
                  <a16:creationId xmlns:a16="http://schemas.microsoft.com/office/drawing/2014/main" id="{5969DF0C-F2A3-4D52-98DD-21DAC7ADB0A1}"/>
                </a:ext>
              </a:extLst>
            </p:cNvPr>
            <p:cNvGrpSpPr/>
            <p:nvPr/>
          </p:nvGrpSpPr>
          <p:grpSpPr>
            <a:xfrm>
              <a:off x="7654133" y="3886682"/>
              <a:ext cx="281421" cy="132690"/>
              <a:chOff x="7654133" y="3886682"/>
              <a:chExt cx="281421" cy="132690"/>
            </a:xfrm>
            <a:grpFill/>
          </p:grpSpPr>
          <p:sp>
            <p:nvSpPr>
              <p:cNvPr id="4479" name="Vrije vorm: vorm 4478">
                <a:extLst>
                  <a:ext uri="{FF2B5EF4-FFF2-40B4-BE49-F238E27FC236}">
                    <a16:creationId xmlns:a16="http://schemas.microsoft.com/office/drawing/2014/main" id="{D6139307-0948-481F-B431-6A753CB139C7}"/>
                  </a:ext>
                </a:extLst>
              </p:cNvPr>
              <p:cNvSpPr/>
              <p:nvPr/>
            </p:nvSpPr>
            <p:spPr>
              <a:xfrm>
                <a:off x="7662281" y="3894327"/>
                <a:ext cx="265125" cy="117461"/>
              </a:xfrm>
              <a:custGeom>
                <a:avLst/>
                <a:gdLst>
                  <a:gd name="connsiteX0" fmla="*/ 265126 w 265125"/>
                  <a:gd name="connsiteY0" fmla="*/ 114650 h 117461"/>
                  <a:gd name="connsiteX1" fmla="*/ 263929 w 265125"/>
                  <a:gd name="connsiteY1" fmla="*/ 117461 h 117461"/>
                  <a:gd name="connsiteX2" fmla="*/ 0 w 265125"/>
                  <a:gd name="connsiteY2" fmla="*/ 2811 h 117461"/>
                  <a:gd name="connsiteX3" fmla="*/ 1197 w 265125"/>
                  <a:gd name="connsiteY3" fmla="*/ 0 h 117461"/>
                </a:gdLst>
                <a:ahLst/>
                <a:cxnLst>
                  <a:cxn ang="0">
                    <a:pos x="connsiteX0" y="connsiteY0"/>
                  </a:cxn>
                  <a:cxn ang="0">
                    <a:pos x="connsiteX1" y="connsiteY1"/>
                  </a:cxn>
                  <a:cxn ang="0">
                    <a:pos x="connsiteX2" y="connsiteY2"/>
                  </a:cxn>
                  <a:cxn ang="0">
                    <a:pos x="connsiteX3" y="connsiteY3"/>
                  </a:cxn>
                </a:cxnLst>
                <a:rect l="l" t="t" r="r" b="b"/>
                <a:pathLst>
                  <a:path w="265125" h="117461">
                    <a:moveTo>
                      <a:pt x="265126" y="114650"/>
                    </a:moveTo>
                    <a:lnTo>
                      <a:pt x="263929" y="117461"/>
                    </a:lnTo>
                    <a:lnTo>
                      <a:pt x="0" y="2811"/>
                    </a:lnTo>
                    <a:lnTo>
                      <a:pt x="1197" y="0"/>
                    </a:lnTo>
                    <a:close/>
                  </a:path>
                </a:pathLst>
              </a:custGeom>
              <a:grpFill/>
              <a:ln w="5978" cap="flat">
                <a:noFill/>
                <a:prstDash val="solid"/>
                <a:miter/>
              </a:ln>
            </p:spPr>
            <p:txBody>
              <a:bodyPr rtlCol="0" anchor="ctr"/>
              <a:lstStyle/>
              <a:p>
                <a:endParaRPr lang="en-GB"/>
              </a:p>
            </p:txBody>
          </p:sp>
          <p:sp>
            <p:nvSpPr>
              <p:cNvPr id="4480" name="Vrije vorm: vorm 4479">
                <a:extLst>
                  <a:ext uri="{FF2B5EF4-FFF2-40B4-BE49-F238E27FC236}">
                    <a16:creationId xmlns:a16="http://schemas.microsoft.com/office/drawing/2014/main" id="{A4593326-67F0-4181-B561-DCBFECF71154}"/>
                  </a:ext>
                </a:extLst>
              </p:cNvPr>
              <p:cNvSpPr/>
              <p:nvPr/>
            </p:nvSpPr>
            <p:spPr>
              <a:xfrm>
                <a:off x="7654133" y="3886682"/>
                <a:ext cx="18329" cy="18433"/>
              </a:xfrm>
              <a:custGeom>
                <a:avLst/>
                <a:gdLst>
                  <a:gd name="connsiteX0" fmla="*/ 5576 w 18329"/>
                  <a:gd name="connsiteY0" fmla="*/ 17692 h 18433"/>
                  <a:gd name="connsiteX1" fmla="*/ 732 w 18329"/>
                  <a:gd name="connsiteY1" fmla="*/ 5551 h 18433"/>
                  <a:gd name="connsiteX2" fmla="*/ 12753 w 18329"/>
                  <a:gd name="connsiteY2" fmla="*/ 767 h 18433"/>
                  <a:gd name="connsiteX3" fmla="*/ 17598 w 18329"/>
                  <a:gd name="connsiteY3" fmla="*/ 12908 h 18433"/>
                  <a:gd name="connsiteX4" fmla="*/ 5576 w 18329"/>
                  <a:gd name="connsiteY4" fmla="*/ 17692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3">
                    <a:moveTo>
                      <a:pt x="5576" y="17692"/>
                    </a:moveTo>
                    <a:cubicBezTo>
                      <a:pt x="911" y="15659"/>
                      <a:pt x="-1242" y="10276"/>
                      <a:pt x="732" y="5551"/>
                    </a:cubicBezTo>
                    <a:cubicBezTo>
                      <a:pt x="2706" y="886"/>
                      <a:pt x="8088" y="-1267"/>
                      <a:pt x="12753" y="767"/>
                    </a:cubicBezTo>
                    <a:cubicBezTo>
                      <a:pt x="17418" y="2800"/>
                      <a:pt x="19571" y="8183"/>
                      <a:pt x="17598" y="12908"/>
                    </a:cubicBezTo>
                    <a:cubicBezTo>
                      <a:pt x="15624" y="17572"/>
                      <a:pt x="10182" y="19666"/>
                      <a:pt x="5576" y="17692"/>
                    </a:cubicBezTo>
                    <a:close/>
                  </a:path>
                </a:pathLst>
              </a:custGeom>
              <a:grpFill/>
              <a:ln w="5978" cap="flat">
                <a:noFill/>
                <a:prstDash val="solid"/>
                <a:miter/>
              </a:ln>
            </p:spPr>
            <p:txBody>
              <a:bodyPr rtlCol="0" anchor="ctr"/>
              <a:lstStyle/>
              <a:p>
                <a:endParaRPr lang="en-GB"/>
              </a:p>
            </p:txBody>
          </p:sp>
          <p:sp>
            <p:nvSpPr>
              <p:cNvPr id="4481" name="Vrije vorm: vorm 4480">
                <a:extLst>
                  <a:ext uri="{FF2B5EF4-FFF2-40B4-BE49-F238E27FC236}">
                    <a16:creationId xmlns:a16="http://schemas.microsoft.com/office/drawing/2014/main" id="{AC3B75C6-197E-49B4-A106-9009758A331C}"/>
                  </a:ext>
                </a:extLst>
              </p:cNvPr>
              <p:cNvSpPr/>
              <p:nvPr/>
            </p:nvSpPr>
            <p:spPr>
              <a:xfrm>
                <a:off x="7917225" y="4000914"/>
                <a:ext cx="18329" cy="18458"/>
              </a:xfrm>
              <a:custGeom>
                <a:avLst/>
                <a:gdLst>
                  <a:gd name="connsiteX0" fmla="*/ 5576 w 18329"/>
                  <a:gd name="connsiteY0" fmla="*/ 17692 h 18458"/>
                  <a:gd name="connsiteX1" fmla="*/ 17598 w 18329"/>
                  <a:gd name="connsiteY1" fmla="*/ 12907 h 18458"/>
                  <a:gd name="connsiteX2" fmla="*/ 12753 w 18329"/>
                  <a:gd name="connsiteY2" fmla="*/ 767 h 18458"/>
                  <a:gd name="connsiteX3" fmla="*/ 732 w 18329"/>
                  <a:gd name="connsiteY3" fmla="*/ 5551 h 18458"/>
                  <a:gd name="connsiteX4" fmla="*/ 5576 w 18329"/>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8">
                    <a:moveTo>
                      <a:pt x="5576" y="17692"/>
                    </a:moveTo>
                    <a:cubicBezTo>
                      <a:pt x="10241" y="19726"/>
                      <a:pt x="15624" y="17573"/>
                      <a:pt x="17598" y="12907"/>
                    </a:cubicBezTo>
                    <a:cubicBezTo>
                      <a:pt x="19571" y="8243"/>
                      <a:pt x="17418" y="2800"/>
                      <a:pt x="12753" y="767"/>
                    </a:cubicBezTo>
                    <a:cubicBezTo>
                      <a:pt x="8088" y="-1267"/>
                      <a:pt x="2706" y="886"/>
                      <a:pt x="732" y="5551"/>
                    </a:cubicBezTo>
                    <a:cubicBezTo>
                      <a:pt x="-1242" y="10276"/>
                      <a:pt x="911" y="15719"/>
                      <a:pt x="5576" y="17692"/>
                    </a:cubicBezTo>
                    <a:close/>
                  </a:path>
                </a:pathLst>
              </a:custGeom>
              <a:grpFill/>
              <a:ln w="5978" cap="flat">
                <a:noFill/>
                <a:prstDash val="solid"/>
                <a:miter/>
              </a:ln>
            </p:spPr>
            <p:txBody>
              <a:bodyPr rtlCol="0" anchor="ctr"/>
              <a:lstStyle/>
              <a:p>
                <a:endParaRPr lang="en-GB"/>
              </a:p>
            </p:txBody>
          </p:sp>
        </p:grpSp>
        <p:grpSp>
          <p:nvGrpSpPr>
            <p:cNvPr id="301" name="Graphic 3">
              <a:extLst>
                <a:ext uri="{FF2B5EF4-FFF2-40B4-BE49-F238E27FC236}">
                  <a16:creationId xmlns:a16="http://schemas.microsoft.com/office/drawing/2014/main" id="{F476E07E-0027-448C-B673-09A1CE125744}"/>
                </a:ext>
              </a:extLst>
            </p:cNvPr>
            <p:cNvGrpSpPr/>
            <p:nvPr/>
          </p:nvGrpSpPr>
          <p:grpSpPr>
            <a:xfrm>
              <a:off x="7628337" y="4010462"/>
              <a:ext cx="460822" cy="228878"/>
              <a:chOff x="7628337" y="4010462"/>
              <a:chExt cx="460822" cy="228878"/>
            </a:xfrm>
            <a:grpFill/>
          </p:grpSpPr>
          <p:sp>
            <p:nvSpPr>
              <p:cNvPr id="4476" name="Vrije vorm: vorm 4475">
                <a:extLst>
                  <a:ext uri="{FF2B5EF4-FFF2-40B4-BE49-F238E27FC236}">
                    <a16:creationId xmlns:a16="http://schemas.microsoft.com/office/drawing/2014/main" id="{3EC52143-C68C-4885-8137-0CF119E51EEE}"/>
                  </a:ext>
                </a:extLst>
              </p:cNvPr>
              <p:cNvSpPr/>
              <p:nvPr/>
            </p:nvSpPr>
            <p:spPr>
              <a:xfrm>
                <a:off x="7636445" y="4018128"/>
                <a:ext cx="444606" cy="213631"/>
              </a:xfrm>
              <a:custGeom>
                <a:avLst/>
                <a:gdLst>
                  <a:gd name="connsiteX0" fmla="*/ 444607 w 444606"/>
                  <a:gd name="connsiteY0" fmla="*/ 210820 h 213631"/>
                  <a:gd name="connsiteX1" fmla="*/ 443291 w 444606"/>
                  <a:gd name="connsiteY1" fmla="*/ 213631 h 213631"/>
                  <a:gd name="connsiteX2" fmla="*/ 0 w 444606"/>
                  <a:gd name="connsiteY2" fmla="*/ 2751 h 213631"/>
                  <a:gd name="connsiteX3" fmla="*/ 1316 w 444606"/>
                  <a:gd name="connsiteY3" fmla="*/ 0 h 213631"/>
                </a:gdLst>
                <a:ahLst/>
                <a:cxnLst>
                  <a:cxn ang="0">
                    <a:pos x="connsiteX0" y="connsiteY0"/>
                  </a:cxn>
                  <a:cxn ang="0">
                    <a:pos x="connsiteX1" y="connsiteY1"/>
                  </a:cxn>
                  <a:cxn ang="0">
                    <a:pos x="connsiteX2" y="connsiteY2"/>
                  </a:cxn>
                  <a:cxn ang="0">
                    <a:pos x="connsiteX3" y="connsiteY3"/>
                  </a:cxn>
                </a:cxnLst>
                <a:rect l="l" t="t" r="r" b="b"/>
                <a:pathLst>
                  <a:path w="444606" h="213631">
                    <a:moveTo>
                      <a:pt x="444607" y="210820"/>
                    </a:moveTo>
                    <a:lnTo>
                      <a:pt x="443291" y="213631"/>
                    </a:lnTo>
                    <a:lnTo>
                      <a:pt x="0" y="2751"/>
                    </a:lnTo>
                    <a:lnTo>
                      <a:pt x="1316" y="0"/>
                    </a:lnTo>
                    <a:close/>
                  </a:path>
                </a:pathLst>
              </a:custGeom>
              <a:grpFill/>
              <a:ln w="5978" cap="flat">
                <a:noFill/>
                <a:prstDash val="solid"/>
                <a:miter/>
              </a:ln>
            </p:spPr>
            <p:txBody>
              <a:bodyPr rtlCol="0" anchor="ctr"/>
              <a:lstStyle/>
              <a:p>
                <a:endParaRPr lang="en-GB"/>
              </a:p>
            </p:txBody>
          </p:sp>
          <p:sp>
            <p:nvSpPr>
              <p:cNvPr id="4477" name="Vrije vorm: vorm 4476">
                <a:extLst>
                  <a:ext uri="{FF2B5EF4-FFF2-40B4-BE49-F238E27FC236}">
                    <a16:creationId xmlns:a16="http://schemas.microsoft.com/office/drawing/2014/main" id="{0E276C16-C619-4A13-98D2-0F70E8B88811}"/>
                  </a:ext>
                </a:extLst>
              </p:cNvPr>
              <p:cNvSpPr/>
              <p:nvPr/>
            </p:nvSpPr>
            <p:spPr>
              <a:xfrm>
                <a:off x="7628337" y="4010462"/>
                <a:ext cx="18368" cy="18442"/>
              </a:xfrm>
              <a:custGeom>
                <a:avLst/>
                <a:gdLst>
                  <a:gd name="connsiteX0" fmla="*/ 5297 w 18368"/>
                  <a:gd name="connsiteY0" fmla="*/ 17534 h 18442"/>
                  <a:gd name="connsiteX1" fmla="*/ 871 w 18368"/>
                  <a:gd name="connsiteY1" fmla="*/ 5274 h 18442"/>
                  <a:gd name="connsiteX2" fmla="*/ 13072 w 18368"/>
                  <a:gd name="connsiteY2" fmla="*/ 908 h 18442"/>
                  <a:gd name="connsiteX3" fmla="*/ 17497 w 18368"/>
                  <a:gd name="connsiteY3" fmla="*/ 13169 h 18442"/>
                  <a:gd name="connsiteX4" fmla="*/ 5297 w 18368"/>
                  <a:gd name="connsiteY4" fmla="*/ 1753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2">
                    <a:moveTo>
                      <a:pt x="5297" y="17534"/>
                    </a:moveTo>
                    <a:cubicBezTo>
                      <a:pt x="692" y="15382"/>
                      <a:pt x="-1282" y="9879"/>
                      <a:pt x="871" y="5274"/>
                    </a:cubicBezTo>
                    <a:cubicBezTo>
                      <a:pt x="3024" y="669"/>
                      <a:pt x="8466" y="-1305"/>
                      <a:pt x="13072" y="908"/>
                    </a:cubicBezTo>
                    <a:cubicBezTo>
                      <a:pt x="17677" y="3061"/>
                      <a:pt x="19650" y="8563"/>
                      <a:pt x="17497" y="13169"/>
                    </a:cubicBezTo>
                    <a:cubicBezTo>
                      <a:pt x="15344" y="17774"/>
                      <a:pt x="9843" y="19747"/>
                      <a:pt x="5297" y="17534"/>
                    </a:cubicBezTo>
                    <a:close/>
                  </a:path>
                </a:pathLst>
              </a:custGeom>
              <a:grpFill/>
              <a:ln w="5978" cap="flat">
                <a:noFill/>
                <a:prstDash val="solid"/>
                <a:miter/>
              </a:ln>
            </p:spPr>
            <p:txBody>
              <a:bodyPr rtlCol="0" anchor="ctr"/>
              <a:lstStyle/>
              <a:p>
                <a:endParaRPr lang="en-GB"/>
              </a:p>
            </p:txBody>
          </p:sp>
          <p:sp>
            <p:nvSpPr>
              <p:cNvPr id="4478" name="Vrije vorm: vorm 4477">
                <a:extLst>
                  <a:ext uri="{FF2B5EF4-FFF2-40B4-BE49-F238E27FC236}">
                    <a16:creationId xmlns:a16="http://schemas.microsoft.com/office/drawing/2014/main" id="{881126E8-C580-4EE1-A6EB-EF84B270E2B4}"/>
                  </a:ext>
                </a:extLst>
              </p:cNvPr>
              <p:cNvSpPr/>
              <p:nvPr/>
            </p:nvSpPr>
            <p:spPr>
              <a:xfrm>
                <a:off x="8070791" y="4220949"/>
                <a:ext cx="18368" cy="18390"/>
              </a:xfrm>
              <a:custGeom>
                <a:avLst/>
                <a:gdLst>
                  <a:gd name="connsiteX0" fmla="*/ 5297 w 18368"/>
                  <a:gd name="connsiteY0" fmla="*/ 17509 h 18390"/>
                  <a:gd name="connsiteX1" fmla="*/ 17497 w 18368"/>
                  <a:gd name="connsiteY1" fmla="*/ 13143 h 18390"/>
                  <a:gd name="connsiteX2" fmla="*/ 13071 w 18368"/>
                  <a:gd name="connsiteY2" fmla="*/ 882 h 18390"/>
                  <a:gd name="connsiteX3" fmla="*/ 871 w 18368"/>
                  <a:gd name="connsiteY3" fmla="*/ 5248 h 18390"/>
                  <a:gd name="connsiteX4" fmla="*/ 5297 w 18368"/>
                  <a:gd name="connsiteY4" fmla="*/ 17509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390">
                    <a:moveTo>
                      <a:pt x="5297" y="17509"/>
                    </a:moveTo>
                    <a:cubicBezTo>
                      <a:pt x="9902" y="19662"/>
                      <a:pt x="15344" y="17748"/>
                      <a:pt x="17497" y="13143"/>
                    </a:cubicBezTo>
                    <a:cubicBezTo>
                      <a:pt x="19651" y="8537"/>
                      <a:pt x="17677" y="3035"/>
                      <a:pt x="13071" y="882"/>
                    </a:cubicBezTo>
                    <a:cubicBezTo>
                      <a:pt x="8467" y="-1271"/>
                      <a:pt x="3024" y="643"/>
                      <a:pt x="871" y="5248"/>
                    </a:cubicBezTo>
                    <a:cubicBezTo>
                      <a:pt x="-1282" y="9853"/>
                      <a:pt x="692" y="15356"/>
                      <a:pt x="5297" y="17509"/>
                    </a:cubicBezTo>
                    <a:close/>
                  </a:path>
                </a:pathLst>
              </a:custGeom>
              <a:grpFill/>
              <a:ln w="5978" cap="flat">
                <a:noFill/>
                <a:prstDash val="solid"/>
                <a:miter/>
              </a:ln>
            </p:spPr>
            <p:txBody>
              <a:bodyPr rtlCol="0" anchor="ctr"/>
              <a:lstStyle/>
              <a:p>
                <a:endParaRPr lang="en-GB"/>
              </a:p>
            </p:txBody>
          </p:sp>
        </p:grpSp>
        <p:grpSp>
          <p:nvGrpSpPr>
            <p:cNvPr id="302" name="Graphic 3">
              <a:extLst>
                <a:ext uri="{FF2B5EF4-FFF2-40B4-BE49-F238E27FC236}">
                  <a16:creationId xmlns:a16="http://schemas.microsoft.com/office/drawing/2014/main" id="{7DAE4179-F528-4C62-9C1B-CE54BF85EFD8}"/>
                </a:ext>
              </a:extLst>
            </p:cNvPr>
            <p:cNvGrpSpPr/>
            <p:nvPr/>
          </p:nvGrpSpPr>
          <p:grpSpPr>
            <a:xfrm>
              <a:off x="7635621" y="3979566"/>
              <a:ext cx="430584" cy="207444"/>
              <a:chOff x="7635621" y="3979566"/>
              <a:chExt cx="430584" cy="207444"/>
            </a:xfrm>
            <a:grpFill/>
          </p:grpSpPr>
          <p:sp>
            <p:nvSpPr>
              <p:cNvPr id="4473" name="Vrije vorm: vorm 4472">
                <a:extLst>
                  <a:ext uri="{FF2B5EF4-FFF2-40B4-BE49-F238E27FC236}">
                    <a16:creationId xmlns:a16="http://schemas.microsoft.com/office/drawing/2014/main" id="{A0A0AC84-3C5D-4437-8BF5-D1CF85072B09}"/>
                  </a:ext>
                </a:extLst>
              </p:cNvPr>
              <p:cNvSpPr/>
              <p:nvPr/>
            </p:nvSpPr>
            <p:spPr>
              <a:xfrm>
                <a:off x="7643741" y="3987208"/>
                <a:ext cx="414284" cy="192160"/>
              </a:xfrm>
              <a:custGeom>
                <a:avLst/>
                <a:gdLst>
                  <a:gd name="connsiteX0" fmla="*/ 414285 w 414284"/>
                  <a:gd name="connsiteY0" fmla="*/ 189409 h 192160"/>
                  <a:gd name="connsiteX1" fmla="*/ 413029 w 414284"/>
                  <a:gd name="connsiteY1" fmla="*/ 192160 h 192160"/>
                  <a:gd name="connsiteX2" fmla="*/ 0 w 414284"/>
                  <a:gd name="connsiteY2" fmla="*/ 2751 h 192160"/>
                  <a:gd name="connsiteX3" fmla="*/ 1256 w 414284"/>
                  <a:gd name="connsiteY3" fmla="*/ 0 h 192160"/>
                </a:gdLst>
                <a:ahLst/>
                <a:cxnLst>
                  <a:cxn ang="0">
                    <a:pos x="connsiteX0" y="connsiteY0"/>
                  </a:cxn>
                  <a:cxn ang="0">
                    <a:pos x="connsiteX1" y="connsiteY1"/>
                  </a:cxn>
                  <a:cxn ang="0">
                    <a:pos x="connsiteX2" y="connsiteY2"/>
                  </a:cxn>
                  <a:cxn ang="0">
                    <a:pos x="connsiteX3" y="connsiteY3"/>
                  </a:cxn>
                </a:cxnLst>
                <a:rect l="l" t="t" r="r" b="b"/>
                <a:pathLst>
                  <a:path w="414284" h="192160">
                    <a:moveTo>
                      <a:pt x="414285" y="189409"/>
                    </a:moveTo>
                    <a:lnTo>
                      <a:pt x="413029" y="192160"/>
                    </a:lnTo>
                    <a:lnTo>
                      <a:pt x="0" y="2751"/>
                    </a:lnTo>
                    <a:lnTo>
                      <a:pt x="1256" y="0"/>
                    </a:lnTo>
                    <a:close/>
                  </a:path>
                </a:pathLst>
              </a:custGeom>
              <a:grpFill/>
              <a:ln w="5978" cap="flat">
                <a:noFill/>
                <a:prstDash val="solid"/>
                <a:miter/>
              </a:ln>
            </p:spPr>
            <p:txBody>
              <a:bodyPr rtlCol="0" anchor="ctr"/>
              <a:lstStyle/>
              <a:p>
                <a:endParaRPr lang="en-GB"/>
              </a:p>
            </p:txBody>
          </p:sp>
          <p:sp>
            <p:nvSpPr>
              <p:cNvPr id="4474" name="Vrije vorm: vorm 4473">
                <a:extLst>
                  <a:ext uri="{FF2B5EF4-FFF2-40B4-BE49-F238E27FC236}">
                    <a16:creationId xmlns:a16="http://schemas.microsoft.com/office/drawing/2014/main" id="{BB020812-D0FC-4969-A97B-52776BE73248}"/>
                  </a:ext>
                </a:extLst>
              </p:cNvPr>
              <p:cNvSpPr/>
              <p:nvPr/>
            </p:nvSpPr>
            <p:spPr>
              <a:xfrm>
                <a:off x="7635621" y="3979566"/>
                <a:ext cx="18333" cy="18419"/>
              </a:xfrm>
              <a:custGeom>
                <a:avLst/>
                <a:gdLst>
                  <a:gd name="connsiteX0" fmla="*/ 5369 w 18333"/>
                  <a:gd name="connsiteY0" fmla="*/ 17570 h 18419"/>
                  <a:gd name="connsiteX1" fmla="*/ 824 w 18333"/>
                  <a:gd name="connsiteY1" fmla="*/ 5369 h 18419"/>
                  <a:gd name="connsiteX2" fmla="*/ 12965 w 18333"/>
                  <a:gd name="connsiteY2" fmla="*/ 824 h 18419"/>
                  <a:gd name="connsiteX3" fmla="*/ 17510 w 18333"/>
                  <a:gd name="connsiteY3" fmla="*/ 13024 h 18419"/>
                  <a:gd name="connsiteX4" fmla="*/ 5369 w 18333"/>
                  <a:gd name="connsiteY4" fmla="*/ 1757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9">
                    <a:moveTo>
                      <a:pt x="5369" y="17570"/>
                    </a:moveTo>
                    <a:cubicBezTo>
                      <a:pt x="764" y="15477"/>
                      <a:pt x="-1269" y="9974"/>
                      <a:pt x="824" y="5369"/>
                    </a:cubicBezTo>
                    <a:cubicBezTo>
                      <a:pt x="2917" y="764"/>
                      <a:pt x="8359" y="-1270"/>
                      <a:pt x="12965" y="824"/>
                    </a:cubicBezTo>
                    <a:cubicBezTo>
                      <a:pt x="17569" y="2917"/>
                      <a:pt x="19603" y="8419"/>
                      <a:pt x="17510" y="13024"/>
                    </a:cubicBezTo>
                    <a:cubicBezTo>
                      <a:pt x="15416" y="17630"/>
                      <a:pt x="10034" y="19723"/>
                      <a:pt x="5369" y="17570"/>
                    </a:cubicBezTo>
                    <a:close/>
                  </a:path>
                </a:pathLst>
              </a:custGeom>
              <a:grpFill/>
              <a:ln w="5978" cap="flat">
                <a:noFill/>
                <a:prstDash val="solid"/>
                <a:miter/>
              </a:ln>
            </p:spPr>
            <p:txBody>
              <a:bodyPr rtlCol="0" anchor="ctr"/>
              <a:lstStyle/>
              <a:p>
                <a:endParaRPr lang="en-GB"/>
              </a:p>
            </p:txBody>
          </p:sp>
          <p:sp>
            <p:nvSpPr>
              <p:cNvPr id="4475" name="Vrije vorm: vorm 4474">
                <a:extLst>
                  <a:ext uri="{FF2B5EF4-FFF2-40B4-BE49-F238E27FC236}">
                    <a16:creationId xmlns:a16="http://schemas.microsoft.com/office/drawing/2014/main" id="{B975EAF9-4C7C-4550-8763-7C2B3C402371}"/>
                  </a:ext>
                </a:extLst>
              </p:cNvPr>
              <p:cNvSpPr/>
              <p:nvPr/>
            </p:nvSpPr>
            <p:spPr>
              <a:xfrm>
                <a:off x="8047846" y="4168617"/>
                <a:ext cx="18359" cy="18393"/>
              </a:xfrm>
              <a:custGeom>
                <a:avLst/>
                <a:gdLst>
                  <a:gd name="connsiteX0" fmla="*/ 5395 w 18359"/>
                  <a:gd name="connsiteY0" fmla="*/ 17570 h 18393"/>
                  <a:gd name="connsiteX1" fmla="*/ 17536 w 18359"/>
                  <a:gd name="connsiteY1" fmla="*/ 13024 h 18393"/>
                  <a:gd name="connsiteX2" fmla="*/ 12990 w 18359"/>
                  <a:gd name="connsiteY2" fmla="*/ 824 h 18393"/>
                  <a:gd name="connsiteX3" fmla="*/ 849 w 18359"/>
                  <a:gd name="connsiteY3" fmla="*/ 5369 h 18393"/>
                  <a:gd name="connsiteX4" fmla="*/ 5395 w 18359"/>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93">
                    <a:moveTo>
                      <a:pt x="5395" y="17570"/>
                    </a:moveTo>
                    <a:cubicBezTo>
                      <a:pt x="10000" y="19663"/>
                      <a:pt x="15443" y="17629"/>
                      <a:pt x="17536" y="13024"/>
                    </a:cubicBezTo>
                    <a:cubicBezTo>
                      <a:pt x="19629" y="8419"/>
                      <a:pt x="17596" y="2917"/>
                      <a:pt x="12990" y="824"/>
                    </a:cubicBezTo>
                    <a:cubicBezTo>
                      <a:pt x="8385" y="-1269"/>
                      <a:pt x="2943" y="764"/>
                      <a:pt x="849" y="5369"/>
                    </a:cubicBezTo>
                    <a:cubicBezTo>
                      <a:pt x="-1304" y="9974"/>
                      <a:pt x="790" y="15477"/>
                      <a:pt x="5395" y="17570"/>
                    </a:cubicBezTo>
                    <a:close/>
                  </a:path>
                </a:pathLst>
              </a:custGeom>
              <a:grpFill/>
              <a:ln w="5978" cap="flat">
                <a:noFill/>
                <a:prstDash val="solid"/>
                <a:miter/>
              </a:ln>
            </p:spPr>
            <p:txBody>
              <a:bodyPr rtlCol="0" anchor="ctr"/>
              <a:lstStyle/>
              <a:p>
                <a:endParaRPr lang="en-GB"/>
              </a:p>
            </p:txBody>
          </p:sp>
        </p:grpSp>
        <p:grpSp>
          <p:nvGrpSpPr>
            <p:cNvPr id="303" name="Graphic 3">
              <a:extLst>
                <a:ext uri="{FF2B5EF4-FFF2-40B4-BE49-F238E27FC236}">
                  <a16:creationId xmlns:a16="http://schemas.microsoft.com/office/drawing/2014/main" id="{845BCB46-428B-4848-8E67-5CF09B43F11D}"/>
                </a:ext>
              </a:extLst>
            </p:cNvPr>
            <p:cNvGrpSpPr/>
            <p:nvPr/>
          </p:nvGrpSpPr>
          <p:grpSpPr>
            <a:xfrm>
              <a:off x="6764262" y="1030479"/>
              <a:ext cx="302054" cy="691663"/>
              <a:chOff x="6764262" y="1030479"/>
              <a:chExt cx="302054" cy="691663"/>
            </a:xfrm>
            <a:grpFill/>
          </p:grpSpPr>
          <p:sp>
            <p:nvSpPr>
              <p:cNvPr id="4470" name="Vrije vorm: vorm 4469">
                <a:extLst>
                  <a:ext uri="{FF2B5EF4-FFF2-40B4-BE49-F238E27FC236}">
                    <a16:creationId xmlns:a16="http://schemas.microsoft.com/office/drawing/2014/main" id="{AAA8D342-3BA4-4576-88D6-EE7C5B0ADFA7}"/>
                  </a:ext>
                </a:extLst>
              </p:cNvPr>
              <p:cNvSpPr/>
              <p:nvPr/>
            </p:nvSpPr>
            <p:spPr>
              <a:xfrm>
                <a:off x="6771812" y="1038652"/>
                <a:ext cx="286955" cy="675283"/>
              </a:xfrm>
              <a:custGeom>
                <a:avLst/>
                <a:gdLst>
                  <a:gd name="connsiteX0" fmla="*/ 286955 w 286955"/>
                  <a:gd name="connsiteY0" fmla="*/ 1196 h 675283"/>
                  <a:gd name="connsiteX1" fmla="*/ 2811 w 286955"/>
                  <a:gd name="connsiteY1" fmla="*/ 675283 h 675283"/>
                  <a:gd name="connsiteX2" fmla="*/ 0 w 286955"/>
                  <a:gd name="connsiteY2" fmla="*/ 674087 h 675283"/>
                  <a:gd name="connsiteX3" fmla="*/ 284144 w 286955"/>
                  <a:gd name="connsiteY3" fmla="*/ 0 h 675283"/>
                </a:gdLst>
                <a:ahLst/>
                <a:cxnLst>
                  <a:cxn ang="0">
                    <a:pos x="connsiteX0" y="connsiteY0"/>
                  </a:cxn>
                  <a:cxn ang="0">
                    <a:pos x="connsiteX1" y="connsiteY1"/>
                  </a:cxn>
                  <a:cxn ang="0">
                    <a:pos x="connsiteX2" y="connsiteY2"/>
                  </a:cxn>
                  <a:cxn ang="0">
                    <a:pos x="connsiteX3" y="connsiteY3"/>
                  </a:cxn>
                </a:cxnLst>
                <a:rect l="l" t="t" r="r" b="b"/>
                <a:pathLst>
                  <a:path w="286955" h="675283">
                    <a:moveTo>
                      <a:pt x="286955" y="1196"/>
                    </a:moveTo>
                    <a:lnTo>
                      <a:pt x="2811" y="675283"/>
                    </a:lnTo>
                    <a:lnTo>
                      <a:pt x="0" y="674087"/>
                    </a:lnTo>
                    <a:lnTo>
                      <a:pt x="284144" y="0"/>
                    </a:lnTo>
                    <a:close/>
                  </a:path>
                </a:pathLst>
              </a:custGeom>
              <a:grpFill/>
              <a:ln w="5978" cap="flat">
                <a:noFill/>
                <a:prstDash val="solid"/>
                <a:miter/>
              </a:ln>
            </p:spPr>
            <p:txBody>
              <a:bodyPr rtlCol="0" anchor="ctr"/>
              <a:lstStyle/>
              <a:p>
                <a:endParaRPr lang="en-GB"/>
              </a:p>
            </p:txBody>
          </p:sp>
          <p:sp>
            <p:nvSpPr>
              <p:cNvPr id="4471" name="Vrije vorm: vorm 4470">
                <a:extLst>
                  <a:ext uri="{FF2B5EF4-FFF2-40B4-BE49-F238E27FC236}">
                    <a16:creationId xmlns:a16="http://schemas.microsoft.com/office/drawing/2014/main" id="{2D4AD552-9750-47F9-AB0C-741BEB8448FC}"/>
                  </a:ext>
                </a:extLst>
              </p:cNvPr>
              <p:cNvSpPr/>
              <p:nvPr/>
            </p:nvSpPr>
            <p:spPr>
              <a:xfrm>
                <a:off x="7048021" y="1030479"/>
                <a:ext cx="18295" cy="18439"/>
              </a:xfrm>
              <a:custGeom>
                <a:avLst/>
                <a:gdLst>
                  <a:gd name="connsiteX0" fmla="*/ 698 w 18295"/>
                  <a:gd name="connsiteY0" fmla="*/ 5601 h 18439"/>
                  <a:gd name="connsiteX1" fmla="*/ 12719 w 18295"/>
                  <a:gd name="connsiteY1" fmla="*/ 757 h 18439"/>
                  <a:gd name="connsiteX2" fmla="*/ 17563 w 18295"/>
                  <a:gd name="connsiteY2" fmla="*/ 12838 h 18439"/>
                  <a:gd name="connsiteX3" fmla="*/ 5543 w 18295"/>
                  <a:gd name="connsiteY3" fmla="*/ 17682 h 18439"/>
                  <a:gd name="connsiteX4" fmla="*/ 698 w 18295"/>
                  <a:gd name="connsiteY4" fmla="*/ 5601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39">
                    <a:moveTo>
                      <a:pt x="698" y="5601"/>
                    </a:moveTo>
                    <a:cubicBezTo>
                      <a:pt x="2671" y="936"/>
                      <a:pt x="8054" y="-1276"/>
                      <a:pt x="12719" y="757"/>
                    </a:cubicBezTo>
                    <a:cubicBezTo>
                      <a:pt x="17384" y="2731"/>
                      <a:pt x="19537" y="8173"/>
                      <a:pt x="17563" y="12838"/>
                    </a:cubicBezTo>
                    <a:cubicBezTo>
                      <a:pt x="15590" y="17503"/>
                      <a:pt x="10207" y="19716"/>
                      <a:pt x="5543" y="17682"/>
                    </a:cubicBezTo>
                    <a:cubicBezTo>
                      <a:pt x="937" y="15649"/>
                      <a:pt x="-1216" y="10266"/>
                      <a:pt x="698" y="5601"/>
                    </a:cubicBezTo>
                    <a:close/>
                  </a:path>
                </a:pathLst>
              </a:custGeom>
              <a:grpFill/>
              <a:ln w="5978" cap="flat">
                <a:noFill/>
                <a:prstDash val="solid"/>
                <a:miter/>
              </a:ln>
            </p:spPr>
            <p:txBody>
              <a:bodyPr rtlCol="0" anchor="ctr"/>
              <a:lstStyle/>
              <a:p>
                <a:endParaRPr lang="en-GB"/>
              </a:p>
            </p:txBody>
          </p:sp>
          <p:sp>
            <p:nvSpPr>
              <p:cNvPr id="4472" name="Vrije vorm: vorm 4471">
                <a:extLst>
                  <a:ext uri="{FF2B5EF4-FFF2-40B4-BE49-F238E27FC236}">
                    <a16:creationId xmlns:a16="http://schemas.microsoft.com/office/drawing/2014/main" id="{9D23D954-A944-4428-8931-EA9A2ADC321D}"/>
                  </a:ext>
                </a:extLst>
              </p:cNvPr>
              <p:cNvSpPr/>
              <p:nvPr/>
            </p:nvSpPr>
            <p:spPr>
              <a:xfrm>
                <a:off x="6764262" y="1703720"/>
                <a:ext cx="18329" cy="18422"/>
              </a:xfrm>
              <a:custGeom>
                <a:avLst/>
                <a:gdLst>
                  <a:gd name="connsiteX0" fmla="*/ 732 w 18329"/>
                  <a:gd name="connsiteY0" fmla="*/ 5610 h 18422"/>
                  <a:gd name="connsiteX1" fmla="*/ 5576 w 18329"/>
                  <a:gd name="connsiteY1" fmla="*/ 17691 h 18422"/>
                  <a:gd name="connsiteX2" fmla="*/ 17597 w 18329"/>
                  <a:gd name="connsiteY2" fmla="*/ 12847 h 18422"/>
                  <a:gd name="connsiteX3" fmla="*/ 12753 w 18329"/>
                  <a:gd name="connsiteY3" fmla="*/ 766 h 18422"/>
                  <a:gd name="connsiteX4" fmla="*/ 732 w 18329"/>
                  <a:gd name="connsiteY4" fmla="*/ 5610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2">
                    <a:moveTo>
                      <a:pt x="732" y="5610"/>
                    </a:moveTo>
                    <a:cubicBezTo>
                      <a:pt x="-1242" y="10275"/>
                      <a:pt x="911" y="15718"/>
                      <a:pt x="5576" y="17691"/>
                    </a:cubicBezTo>
                    <a:cubicBezTo>
                      <a:pt x="10241" y="19665"/>
                      <a:pt x="15624" y="17512"/>
                      <a:pt x="17597" y="12847"/>
                    </a:cubicBezTo>
                    <a:cubicBezTo>
                      <a:pt x="19571" y="8182"/>
                      <a:pt x="17418" y="2739"/>
                      <a:pt x="12753" y="766"/>
                    </a:cubicBezTo>
                    <a:cubicBezTo>
                      <a:pt x="8088" y="-1268"/>
                      <a:pt x="2705" y="885"/>
                      <a:pt x="732" y="5610"/>
                    </a:cubicBezTo>
                    <a:close/>
                  </a:path>
                </a:pathLst>
              </a:custGeom>
              <a:grpFill/>
              <a:ln w="5978" cap="flat">
                <a:noFill/>
                <a:prstDash val="solid"/>
                <a:miter/>
              </a:ln>
            </p:spPr>
            <p:txBody>
              <a:bodyPr rtlCol="0" anchor="ctr"/>
              <a:lstStyle/>
              <a:p>
                <a:endParaRPr lang="en-GB"/>
              </a:p>
            </p:txBody>
          </p:sp>
        </p:grpSp>
        <p:grpSp>
          <p:nvGrpSpPr>
            <p:cNvPr id="304" name="Graphic 3">
              <a:extLst>
                <a:ext uri="{FF2B5EF4-FFF2-40B4-BE49-F238E27FC236}">
                  <a16:creationId xmlns:a16="http://schemas.microsoft.com/office/drawing/2014/main" id="{10A6E810-CB79-4EAE-9CC3-1C3F732CEE07}"/>
                </a:ext>
              </a:extLst>
            </p:cNvPr>
            <p:cNvGrpSpPr/>
            <p:nvPr/>
          </p:nvGrpSpPr>
          <p:grpSpPr>
            <a:xfrm>
              <a:off x="6657676" y="752476"/>
              <a:ext cx="467765" cy="1057927"/>
              <a:chOff x="6657676" y="752476"/>
              <a:chExt cx="467765" cy="1057927"/>
            </a:xfrm>
            <a:grpFill/>
          </p:grpSpPr>
          <p:sp>
            <p:nvSpPr>
              <p:cNvPr id="4467" name="Vrije vorm: vorm 4466">
                <a:extLst>
                  <a:ext uri="{FF2B5EF4-FFF2-40B4-BE49-F238E27FC236}">
                    <a16:creationId xmlns:a16="http://schemas.microsoft.com/office/drawing/2014/main" id="{01B51E08-DB52-4F86-902A-B4622C759ABD}"/>
                  </a:ext>
                </a:extLst>
              </p:cNvPr>
              <p:cNvSpPr/>
              <p:nvPr/>
            </p:nvSpPr>
            <p:spPr>
              <a:xfrm>
                <a:off x="6665295" y="760668"/>
                <a:ext cx="452561" cy="1041542"/>
              </a:xfrm>
              <a:custGeom>
                <a:avLst/>
                <a:gdLst>
                  <a:gd name="connsiteX0" fmla="*/ 452562 w 452561"/>
                  <a:gd name="connsiteY0" fmla="*/ 1196 h 1041542"/>
                  <a:gd name="connsiteX1" fmla="*/ 2751 w 452561"/>
                  <a:gd name="connsiteY1" fmla="*/ 1041543 h 1041542"/>
                  <a:gd name="connsiteX2" fmla="*/ 0 w 452561"/>
                  <a:gd name="connsiteY2" fmla="*/ 1040347 h 1041542"/>
                  <a:gd name="connsiteX3" fmla="*/ 449750 w 452561"/>
                  <a:gd name="connsiteY3" fmla="*/ 0 h 1041542"/>
                </a:gdLst>
                <a:ahLst/>
                <a:cxnLst>
                  <a:cxn ang="0">
                    <a:pos x="connsiteX0" y="connsiteY0"/>
                  </a:cxn>
                  <a:cxn ang="0">
                    <a:pos x="connsiteX1" y="connsiteY1"/>
                  </a:cxn>
                  <a:cxn ang="0">
                    <a:pos x="connsiteX2" y="connsiteY2"/>
                  </a:cxn>
                  <a:cxn ang="0">
                    <a:pos x="connsiteX3" y="connsiteY3"/>
                  </a:cxn>
                </a:cxnLst>
                <a:rect l="l" t="t" r="r" b="b"/>
                <a:pathLst>
                  <a:path w="452561" h="1041542">
                    <a:moveTo>
                      <a:pt x="452562" y="1196"/>
                    </a:moveTo>
                    <a:lnTo>
                      <a:pt x="2751" y="1041543"/>
                    </a:lnTo>
                    <a:lnTo>
                      <a:pt x="0" y="1040347"/>
                    </a:lnTo>
                    <a:lnTo>
                      <a:pt x="449750" y="0"/>
                    </a:lnTo>
                    <a:close/>
                  </a:path>
                </a:pathLst>
              </a:custGeom>
              <a:grpFill/>
              <a:ln w="5978" cap="flat">
                <a:noFill/>
                <a:prstDash val="solid"/>
                <a:miter/>
              </a:ln>
            </p:spPr>
            <p:txBody>
              <a:bodyPr rtlCol="0" anchor="ctr"/>
              <a:lstStyle/>
              <a:p>
                <a:endParaRPr lang="en-GB"/>
              </a:p>
            </p:txBody>
          </p:sp>
          <p:sp>
            <p:nvSpPr>
              <p:cNvPr id="4468" name="Vrije vorm: vorm 4467">
                <a:extLst>
                  <a:ext uri="{FF2B5EF4-FFF2-40B4-BE49-F238E27FC236}">
                    <a16:creationId xmlns:a16="http://schemas.microsoft.com/office/drawing/2014/main" id="{48993001-A8E6-4327-9D58-FC7413D67633}"/>
                  </a:ext>
                </a:extLst>
              </p:cNvPr>
              <p:cNvSpPr/>
              <p:nvPr/>
            </p:nvSpPr>
            <p:spPr>
              <a:xfrm>
                <a:off x="6657676" y="1791985"/>
                <a:ext cx="18348" cy="18418"/>
              </a:xfrm>
              <a:custGeom>
                <a:avLst/>
                <a:gdLst>
                  <a:gd name="connsiteX0" fmla="*/ 17607 w 18348"/>
                  <a:gd name="connsiteY0" fmla="*/ 12917 h 18418"/>
                  <a:gd name="connsiteX1" fmla="*/ 5526 w 18348"/>
                  <a:gd name="connsiteY1" fmla="*/ 17642 h 18418"/>
                  <a:gd name="connsiteX2" fmla="*/ 741 w 18348"/>
                  <a:gd name="connsiteY2" fmla="*/ 5501 h 18418"/>
                  <a:gd name="connsiteX3" fmla="*/ 12822 w 18348"/>
                  <a:gd name="connsiteY3" fmla="*/ 777 h 18418"/>
                  <a:gd name="connsiteX4" fmla="*/ 17607 w 1834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8">
                    <a:moveTo>
                      <a:pt x="17607" y="12917"/>
                    </a:moveTo>
                    <a:cubicBezTo>
                      <a:pt x="15574" y="17582"/>
                      <a:pt x="10191" y="19676"/>
                      <a:pt x="5526" y="17642"/>
                    </a:cubicBezTo>
                    <a:cubicBezTo>
                      <a:pt x="861" y="15609"/>
                      <a:pt x="-1232" y="10166"/>
                      <a:pt x="741" y="5501"/>
                    </a:cubicBezTo>
                    <a:cubicBezTo>
                      <a:pt x="2775" y="836"/>
                      <a:pt x="8157" y="-1257"/>
                      <a:pt x="12822" y="777"/>
                    </a:cubicBezTo>
                    <a:cubicBezTo>
                      <a:pt x="17487" y="2810"/>
                      <a:pt x="19581" y="8252"/>
                      <a:pt x="17607" y="12917"/>
                    </a:cubicBezTo>
                    <a:close/>
                  </a:path>
                </a:pathLst>
              </a:custGeom>
              <a:grpFill/>
              <a:ln w="5978" cap="flat">
                <a:noFill/>
                <a:prstDash val="solid"/>
                <a:miter/>
              </a:ln>
            </p:spPr>
            <p:txBody>
              <a:bodyPr rtlCol="0" anchor="ctr"/>
              <a:lstStyle/>
              <a:p>
                <a:endParaRPr lang="en-GB"/>
              </a:p>
            </p:txBody>
          </p:sp>
          <p:sp>
            <p:nvSpPr>
              <p:cNvPr id="4469" name="Vrije vorm: vorm 4468">
                <a:extLst>
                  <a:ext uri="{FF2B5EF4-FFF2-40B4-BE49-F238E27FC236}">
                    <a16:creationId xmlns:a16="http://schemas.microsoft.com/office/drawing/2014/main" id="{AAAD3F3E-A89E-433D-B30F-6F62A5F88567}"/>
                  </a:ext>
                </a:extLst>
              </p:cNvPr>
              <p:cNvSpPr/>
              <p:nvPr/>
            </p:nvSpPr>
            <p:spPr>
              <a:xfrm>
                <a:off x="7107042" y="752476"/>
                <a:ext cx="18398" cy="18418"/>
              </a:xfrm>
              <a:custGeom>
                <a:avLst/>
                <a:gdLst>
                  <a:gd name="connsiteX0" fmla="*/ 17632 w 18398"/>
                  <a:gd name="connsiteY0" fmla="*/ 12917 h 18418"/>
                  <a:gd name="connsiteX1" fmla="*/ 12848 w 18398"/>
                  <a:gd name="connsiteY1" fmla="*/ 777 h 18418"/>
                  <a:gd name="connsiteX2" fmla="*/ 767 w 18398"/>
                  <a:gd name="connsiteY2" fmla="*/ 5501 h 18418"/>
                  <a:gd name="connsiteX3" fmla="*/ 5551 w 18398"/>
                  <a:gd name="connsiteY3" fmla="*/ 17642 h 18418"/>
                  <a:gd name="connsiteX4" fmla="*/ 17632 w 1839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418">
                    <a:moveTo>
                      <a:pt x="17632" y="12917"/>
                    </a:moveTo>
                    <a:cubicBezTo>
                      <a:pt x="19666" y="8252"/>
                      <a:pt x="17513" y="2810"/>
                      <a:pt x="12848" y="777"/>
                    </a:cubicBezTo>
                    <a:cubicBezTo>
                      <a:pt x="8183" y="-1257"/>
                      <a:pt x="2800" y="836"/>
                      <a:pt x="767" y="5501"/>
                    </a:cubicBezTo>
                    <a:cubicBezTo>
                      <a:pt x="-1267" y="10166"/>
                      <a:pt x="886" y="15609"/>
                      <a:pt x="5551" y="17642"/>
                    </a:cubicBezTo>
                    <a:cubicBezTo>
                      <a:pt x="10216" y="19676"/>
                      <a:pt x="15659" y="17582"/>
                      <a:pt x="17632" y="12917"/>
                    </a:cubicBezTo>
                    <a:close/>
                  </a:path>
                </a:pathLst>
              </a:custGeom>
              <a:grpFill/>
              <a:ln w="5978" cap="flat">
                <a:noFill/>
                <a:prstDash val="solid"/>
                <a:miter/>
              </a:ln>
            </p:spPr>
            <p:txBody>
              <a:bodyPr rtlCol="0" anchor="ctr"/>
              <a:lstStyle/>
              <a:p>
                <a:endParaRPr lang="en-GB"/>
              </a:p>
            </p:txBody>
          </p:sp>
        </p:grpSp>
        <p:grpSp>
          <p:nvGrpSpPr>
            <p:cNvPr id="305" name="Graphic 3">
              <a:extLst>
                <a:ext uri="{FF2B5EF4-FFF2-40B4-BE49-F238E27FC236}">
                  <a16:creationId xmlns:a16="http://schemas.microsoft.com/office/drawing/2014/main" id="{E91983D9-D2CD-4B08-9BF8-DA02EDD5FDB9}"/>
                </a:ext>
              </a:extLst>
            </p:cNvPr>
            <p:cNvGrpSpPr/>
            <p:nvPr/>
          </p:nvGrpSpPr>
          <p:grpSpPr>
            <a:xfrm>
              <a:off x="7721150" y="4009445"/>
              <a:ext cx="188086" cy="79386"/>
              <a:chOff x="7721150" y="4009445"/>
              <a:chExt cx="188086" cy="79386"/>
            </a:xfrm>
            <a:grpFill/>
          </p:grpSpPr>
          <p:sp>
            <p:nvSpPr>
              <p:cNvPr id="4464" name="Vrije vorm: vorm 4463">
                <a:extLst>
                  <a:ext uri="{FF2B5EF4-FFF2-40B4-BE49-F238E27FC236}">
                    <a16:creationId xmlns:a16="http://schemas.microsoft.com/office/drawing/2014/main" id="{F77D53E5-74CA-4F6D-9BCD-33045DF5EAF1}"/>
                  </a:ext>
                </a:extLst>
              </p:cNvPr>
              <p:cNvSpPr/>
              <p:nvPr/>
            </p:nvSpPr>
            <p:spPr>
              <a:xfrm>
                <a:off x="7729444" y="4017052"/>
                <a:ext cx="171587" cy="64173"/>
              </a:xfrm>
              <a:custGeom>
                <a:avLst/>
                <a:gdLst>
                  <a:gd name="connsiteX0" fmla="*/ 171587 w 171587"/>
                  <a:gd name="connsiteY0" fmla="*/ 61302 h 64173"/>
                  <a:gd name="connsiteX1" fmla="*/ 170570 w 171587"/>
                  <a:gd name="connsiteY1" fmla="*/ 64173 h 64173"/>
                  <a:gd name="connsiteX2" fmla="*/ 0 w 171587"/>
                  <a:gd name="connsiteY2" fmla="*/ 2871 h 64173"/>
                  <a:gd name="connsiteX3" fmla="*/ 957 w 171587"/>
                  <a:gd name="connsiteY3" fmla="*/ 0 h 64173"/>
                </a:gdLst>
                <a:ahLst/>
                <a:cxnLst>
                  <a:cxn ang="0">
                    <a:pos x="connsiteX0" y="connsiteY0"/>
                  </a:cxn>
                  <a:cxn ang="0">
                    <a:pos x="connsiteX1" y="connsiteY1"/>
                  </a:cxn>
                  <a:cxn ang="0">
                    <a:pos x="connsiteX2" y="connsiteY2"/>
                  </a:cxn>
                  <a:cxn ang="0">
                    <a:pos x="connsiteX3" y="connsiteY3"/>
                  </a:cxn>
                </a:cxnLst>
                <a:rect l="l" t="t" r="r" b="b"/>
                <a:pathLst>
                  <a:path w="171587" h="64173">
                    <a:moveTo>
                      <a:pt x="171587" y="61302"/>
                    </a:moveTo>
                    <a:lnTo>
                      <a:pt x="170570" y="64173"/>
                    </a:lnTo>
                    <a:lnTo>
                      <a:pt x="0" y="2871"/>
                    </a:lnTo>
                    <a:lnTo>
                      <a:pt x="957" y="0"/>
                    </a:lnTo>
                    <a:close/>
                  </a:path>
                </a:pathLst>
              </a:custGeom>
              <a:grpFill/>
              <a:ln w="5978" cap="flat">
                <a:noFill/>
                <a:prstDash val="solid"/>
                <a:miter/>
              </a:ln>
            </p:spPr>
            <p:txBody>
              <a:bodyPr rtlCol="0" anchor="ctr"/>
              <a:lstStyle/>
              <a:p>
                <a:endParaRPr lang="en-GB"/>
              </a:p>
            </p:txBody>
          </p:sp>
          <p:sp>
            <p:nvSpPr>
              <p:cNvPr id="4465" name="Vrije vorm: vorm 4464">
                <a:extLst>
                  <a:ext uri="{FF2B5EF4-FFF2-40B4-BE49-F238E27FC236}">
                    <a16:creationId xmlns:a16="http://schemas.microsoft.com/office/drawing/2014/main" id="{BD9DECF6-1406-4C27-ACF0-365C6F9184DD}"/>
                  </a:ext>
                </a:extLst>
              </p:cNvPr>
              <p:cNvSpPr/>
              <p:nvPr/>
            </p:nvSpPr>
            <p:spPr>
              <a:xfrm>
                <a:off x="7890853" y="4070388"/>
                <a:ext cx="18383" cy="18442"/>
              </a:xfrm>
              <a:custGeom>
                <a:avLst/>
                <a:gdLst>
                  <a:gd name="connsiteX0" fmla="*/ 12272 w 18383"/>
                  <a:gd name="connsiteY0" fmla="*/ 550 h 18442"/>
                  <a:gd name="connsiteX1" fmla="*/ 17834 w 18383"/>
                  <a:gd name="connsiteY1" fmla="*/ 12331 h 18442"/>
                  <a:gd name="connsiteX2" fmla="*/ 6111 w 18383"/>
                  <a:gd name="connsiteY2" fmla="*/ 17893 h 18442"/>
                  <a:gd name="connsiteX3" fmla="*/ 550 w 18383"/>
                  <a:gd name="connsiteY3" fmla="*/ 6112 h 18442"/>
                  <a:gd name="connsiteX4" fmla="*/ 12272 w 18383"/>
                  <a:gd name="connsiteY4" fmla="*/ 55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42">
                    <a:moveTo>
                      <a:pt x="12272" y="550"/>
                    </a:moveTo>
                    <a:cubicBezTo>
                      <a:pt x="17056" y="2284"/>
                      <a:pt x="19568" y="7547"/>
                      <a:pt x="17834" y="12331"/>
                    </a:cubicBezTo>
                    <a:cubicBezTo>
                      <a:pt x="16159" y="17116"/>
                      <a:pt x="10896" y="19628"/>
                      <a:pt x="6111" y="17893"/>
                    </a:cubicBezTo>
                    <a:cubicBezTo>
                      <a:pt x="1327" y="16159"/>
                      <a:pt x="-1185" y="10896"/>
                      <a:pt x="550" y="6112"/>
                    </a:cubicBezTo>
                    <a:cubicBezTo>
                      <a:pt x="2284" y="1327"/>
                      <a:pt x="7487" y="-1185"/>
                      <a:pt x="12272" y="550"/>
                    </a:cubicBezTo>
                    <a:close/>
                  </a:path>
                </a:pathLst>
              </a:custGeom>
              <a:grpFill/>
              <a:ln w="5978" cap="flat">
                <a:noFill/>
                <a:prstDash val="solid"/>
                <a:miter/>
              </a:ln>
            </p:spPr>
            <p:txBody>
              <a:bodyPr rtlCol="0" anchor="ctr"/>
              <a:lstStyle/>
              <a:p>
                <a:endParaRPr lang="en-GB"/>
              </a:p>
            </p:txBody>
          </p:sp>
          <p:sp>
            <p:nvSpPr>
              <p:cNvPr id="4466" name="Vrije vorm: vorm 4465">
                <a:extLst>
                  <a:ext uri="{FF2B5EF4-FFF2-40B4-BE49-F238E27FC236}">
                    <a16:creationId xmlns:a16="http://schemas.microsoft.com/office/drawing/2014/main" id="{A1EE6AE0-D339-48B4-9EFF-534718F392CF}"/>
                  </a:ext>
                </a:extLst>
              </p:cNvPr>
              <p:cNvSpPr/>
              <p:nvPr/>
            </p:nvSpPr>
            <p:spPr>
              <a:xfrm>
                <a:off x="7721150" y="4009445"/>
                <a:ext cx="18353" cy="18442"/>
              </a:xfrm>
              <a:custGeom>
                <a:avLst/>
                <a:gdLst>
                  <a:gd name="connsiteX0" fmla="*/ 12241 w 18353"/>
                  <a:gd name="connsiteY0" fmla="*/ 550 h 18442"/>
                  <a:gd name="connsiteX1" fmla="*/ 519 w 18353"/>
                  <a:gd name="connsiteY1" fmla="*/ 6112 h 18442"/>
                  <a:gd name="connsiteX2" fmla="*/ 6081 w 18353"/>
                  <a:gd name="connsiteY2" fmla="*/ 17893 h 18442"/>
                  <a:gd name="connsiteX3" fmla="*/ 17804 w 18353"/>
                  <a:gd name="connsiteY3" fmla="*/ 12331 h 18442"/>
                  <a:gd name="connsiteX4" fmla="*/ 12241 w 18353"/>
                  <a:gd name="connsiteY4" fmla="*/ 55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2">
                    <a:moveTo>
                      <a:pt x="12241" y="550"/>
                    </a:moveTo>
                    <a:cubicBezTo>
                      <a:pt x="7457" y="-1185"/>
                      <a:pt x="2254" y="1327"/>
                      <a:pt x="519" y="6112"/>
                    </a:cubicBezTo>
                    <a:cubicBezTo>
                      <a:pt x="-1155" y="10896"/>
                      <a:pt x="1357" y="16159"/>
                      <a:pt x="6081" y="17893"/>
                    </a:cubicBezTo>
                    <a:cubicBezTo>
                      <a:pt x="10866" y="19628"/>
                      <a:pt x="16069" y="17116"/>
                      <a:pt x="17804" y="12331"/>
                    </a:cubicBezTo>
                    <a:cubicBezTo>
                      <a:pt x="19538" y="7547"/>
                      <a:pt x="17026" y="2284"/>
                      <a:pt x="12241" y="550"/>
                    </a:cubicBezTo>
                    <a:close/>
                  </a:path>
                </a:pathLst>
              </a:custGeom>
              <a:grpFill/>
              <a:ln w="5978" cap="flat">
                <a:noFill/>
                <a:prstDash val="solid"/>
                <a:miter/>
              </a:ln>
            </p:spPr>
            <p:txBody>
              <a:bodyPr rtlCol="0" anchor="ctr"/>
              <a:lstStyle/>
              <a:p>
                <a:endParaRPr lang="en-GB"/>
              </a:p>
            </p:txBody>
          </p:sp>
        </p:grpSp>
        <p:grpSp>
          <p:nvGrpSpPr>
            <p:cNvPr id="306" name="Graphic 3">
              <a:extLst>
                <a:ext uri="{FF2B5EF4-FFF2-40B4-BE49-F238E27FC236}">
                  <a16:creationId xmlns:a16="http://schemas.microsoft.com/office/drawing/2014/main" id="{4FE3F29B-ED4F-47F1-9E59-1B8780C6F6CB}"/>
                </a:ext>
              </a:extLst>
            </p:cNvPr>
            <p:cNvGrpSpPr/>
            <p:nvPr/>
          </p:nvGrpSpPr>
          <p:grpSpPr>
            <a:xfrm>
              <a:off x="7672589" y="4097069"/>
              <a:ext cx="358169" cy="162394"/>
              <a:chOff x="7672589" y="4097069"/>
              <a:chExt cx="358169" cy="162394"/>
            </a:xfrm>
            <a:grpFill/>
          </p:grpSpPr>
          <p:sp>
            <p:nvSpPr>
              <p:cNvPr id="4461" name="Vrije vorm: vorm 4460">
                <a:extLst>
                  <a:ext uri="{FF2B5EF4-FFF2-40B4-BE49-F238E27FC236}">
                    <a16:creationId xmlns:a16="http://schemas.microsoft.com/office/drawing/2014/main" id="{864CB5F8-2A26-4D79-8FB2-0DF1FB5D071F}"/>
                  </a:ext>
                </a:extLst>
              </p:cNvPr>
              <p:cNvSpPr/>
              <p:nvPr/>
            </p:nvSpPr>
            <p:spPr>
              <a:xfrm>
                <a:off x="7680702" y="4104669"/>
                <a:ext cx="341917" cy="147185"/>
              </a:xfrm>
              <a:custGeom>
                <a:avLst/>
                <a:gdLst>
                  <a:gd name="connsiteX0" fmla="*/ 341917 w 341917"/>
                  <a:gd name="connsiteY0" fmla="*/ 144375 h 147185"/>
                  <a:gd name="connsiteX1" fmla="*/ 340722 w 341917"/>
                  <a:gd name="connsiteY1" fmla="*/ 147186 h 147185"/>
                  <a:gd name="connsiteX2" fmla="*/ 0 w 341917"/>
                  <a:gd name="connsiteY2" fmla="*/ 2811 h 147185"/>
                  <a:gd name="connsiteX3" fmla="*/ 1196 w 341917"/>
                  <a:gd name="connsiteY3" fmla="*/ 0 h 147185"/>
                </a:gdLst>
                <a:ahLst/>
                <a:cxnLst>
                  <a:cxn ang="0">
                    <a:pos x="connsiteX0" y="connsiteY0"/>
                  </a:cxn>
                  <a:cxn ang="0">
                    <a:pos x="connsiteX1" y="connsiteY1"/>
                  </a:cxn>
                  <a:cxn ang="0">
                    <a:pos x="connsiteX2" y="connsiteY2"/>
                  </a:cxn>
                  <a:cxn ang="0">
                    <a:pos x="connsiteX3" y="connsiteY3"/>
                  </a:cxn>
                </a:cxnLst>
                <a:rect l="l" t="t" r="r" b="b"/>
                <a:pathLst>
                  <a:path w="341917" h="147185">
                    <a:moveTo>
                      <a:pt x="341917" y="144375"/>
                    </a:moveTo>
                    <a:lnTo>
                      <a:pt x="340722" y="147186"/>
                    </a:lnTo>
                    <a:lnTo>
                      <a:pt x="0" y="2811"/>
                    </a:lnTo>
                    <a:lnTo>
                      <a:pt x="1196" y="0"/>
                    </a:lnTo>
                    <a:close/>
                  </a:path>
                </a:pathLst>
              </a:custGeom>
              <a:grpFill/>
              <a:ln w="5978" cap="flat">
                <a:noFill/>
                <a:prstDash val="solid"/>
                <a:miter/>
              </a:ln>
            </p:spPr>
            <p:txBody>
              <a:bodyPr rtlCol="0" anchor="ctr"/>
              <a:lstStyle/>
              <a:p>
                <a:endParaRPr lang="en-GB"/>
              </a:p>
            </p:txBody>
          </p:sp>
          <p:sp>
            <p:nvSpPr>
              <p:cNvPr id="4462" name="Vrije vorm: vorm 4461">
                <a:extLst>
                  <a:ext uri="{FF2B5EF4-FFF2-40B4-BE49-F238E27FC236}">
                    <a16:creationId xmlns:a16="http://schemas.microsoft.com/office/drawing/2014/main" id="{C4170819-BDF8-418B-9B8A-23DA71E5EC1E}"/>
                  </a:ext>
                </a:extLst>
              </p:cNvPr>
              <p:cNvSpPr/>
              <p:nvPr/>
            </p:nvSpPr>
            <p:spPr>
              <a:xfrm>
                <a:off x="8012448" y="4241025"/>
                <a:ext cx="18310" cy="18438"/>
              </a:xfrm>
              <a:custGeom>
                <a:avLst/>
                <a:gdLst>
                  <a:gd name="connsiteX0" fmla="*/ 12684 w 18310"/>
                  <a:gd name="connsiteY0" fmla="*/ 722 h 18438"/>
                  <a:gd name="connsiteX1" fmla="*/ 17588 w 18310"/>
                  <a:gd name="connsiteY1" fmla="*/ 12803 h 18438"/>
                  <a:gd name="connsiteX2" fmla="*/ 5626 w 18310"/>
                  <a:gd name="connsiteY2" fmla="*/ 17707 h 18438"/>
                  <a:gd name="connsiteX3" fmla="*/ 722 w 18310"/>
                  <a:gd name="connsiteY3" fmla="*/ 5626 h 18438"/>
                  <a:gd name="connsiteX4" fmla="*/ 12684 w 18310"/>
                  <a:gd name="connsiteY4" fmla="*/ 72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8">
                    <a:moveTo>
                      <a:pt x="12684" y="722"/>
                    </a:moveTo>
                    <a:cubicBezTo>
                      <a:pt x="17349" y="2696"/>
                      <a:pt x="19562" y="8079"/>
                      <a:pt x="17588" y="12803"/>
                    </a:cubicBezTo>
                    <a:cubicBezTo>
                      <a:pt x="15614" y="17528"/>
                      <a:pt x="10291" y="19681"/>
                      <a:pt x="5626" y="17707"/>
                    </a:cubicBezTo>
                    <a:cubicBezTo>
                      <a:pt x="962" y="15734"/>
                      <a:pt x="-1251" y="10351"/>
                      <a:pt x="722" y="5626"/>
                    </a:cubicBezTo>
                    <a:cubicBezTo>
                      <a:pt x="2636" y="962"/>
                      <a:pt x="8019" y="-1251"/>
                      <a:pt x="12684" y="722"/>
                    </a:cubicBezTo>
                    <a:close/>
                  </a:path>
                </a:pathLst>
              </a:custGeom>
              <a:grpFill/>
              <a:ln w="5978" cap="flat">
                <a:noFill/>
                <a:prstDash val="solid"/>
                <a:miter/>
              </a:ln>
            </p:spPr>
            <p:txBody>
              <a:bodyPr rtlCol="0" anchor="ctr"/>
              <a:lstStyle/>
              <a:p>
                <a:endParaRPr lang="en-GB"/>
              </a:p>
            </p:txBody>
          </p:sp>
          <p:sp>
            <p:nvSpPr>
              <p:cNvPr id="4463" name="Vrije vorm: vorm 4462">
                <a:extLst>
                  <a:ext uri="{FF2B5EF4-FFF2-40B4-BE49-F238E27FC236}">
                    <a16:creationId xmlns:a16="http://schemas.microsoft.com/office/drawing/2014/main" id="{2FAE9B33-33C8-444C-9E67-1AB113953C69}"/>
                  </a:ext>
                </a:extLst>
              </p:cNvPr>
              <p:cNvSpPr/>
              <p:nvPr/>
            </p:nvSpPr>
            <p:spPr>
              <a:xfrm>
                <a:off x="7672589" y="4097069"/>
                <a:ext cx="18285" cy="18429"/>
              </a:xfrm>
              <a:custGeom>
                <a:avLst/>
                <a:gdLst>
                  <a:gd name="connsiteX0" fmla="*/ 12659 w 18285"/>
                  <a:gd name="connsiteY0" fmla="*/ 722 h 18429"/>
                  <a:gd name="connsiteX1" fmla="*/ 697 w 18285"/>
                  <a:gd name="connsiteY1" fmla="*/ 5627 h 18429"/>
                  <a:gd name="connsiteX2" fmla="*/ 5601 w 18285"/>
                  <a:gd name="connsiteY2" fmla="*/ 17707 h 18429"/>
                  <a:gd name="connsiteX3" fmla="*/ 17563 w 18285"/>
                  <a:gd name="connsiteY3" fmla="*/ 12803 h 18429"/>
                  <a:gd name="connsiteX4" fmla="*/ 12659 w 18285"/>
                  <a:gd name="connsiteY4" fmla="*/ 72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9">
                    <a:moveTo>
                      <a:pt x="12659" y="722"/>
                    </a:moveTo>
                    <a:cubicBezTo>
                      <a:pt x="7994" y="-1251"/>
                      <a:pt x="2611" y="962"/>
                      <a:pt x="697" y="5627"/>
                    </a:cubicBezTo>
                    <a:cubicBezTo>
                      <a:pt x="-1217" y="10291"/>
                      <a:pt x="936" y="15734"/>
                      <a:pt x="5601" y="17707"/>
                    </a:cubicBezTo>
                    <a:cubicBezTo>
                      <a:pt x="10266" y="19681"/>
                      <a:pt x="15649" y="17468"/>
                      <a:pt x="17563" y="12803"/>
                    </a:cubicBezTo>
                    <a:cubicBezTo>
                      <a:pt x="19536" y="8079"/>
                      <a:pt x="17323" y="2696"/>
                      <a:pt x="12659" y="722"/>
                    </a:cubicBezTo>
                    <a:close/>
                  </a:path>
                </a:pathLst>
              </a:custGeom>
              <a:grpFill/>
              <a:ln w="5978" cap="flat">
                <a:noFill/>
                <a:prstDash val="solid"/>
                <a:miter/>
              </a:ln>
            </p:spPr>
            <p:txBody>
              <a:bodyPr rtlCol="0" anchor="ctr"/>
              <a:lstStyle/>
              <a:p>
                <a:endParaRPr lang="en-GB"/>
              </a:p>
            </p:txBody>
          </p:sp>
        </p:grpSp>
        <p:grpSp>
          <p:nvGrpSpPr>
            <p:cNvPr id="307" name="Graphic 3">
              <a:extLst>
                <a:ext uri="{FF2B5EF4-FFF2-40B4-BE49-F238E27FC236}">
                  <a16:creationId xmlns:a16="http://schemas.microsoft.com/office/drawing/2014/main" id="{EB9798E3-89C6-4D35-94B1-F8EC7E2D6C39}"/>
                </a:ext>
              </a:extLst>
            </p:cNvPr>
            <p:cNvGrpSpPr/>
            <p:nvPr/>
          </p:nvGrpSpPr>
          <p:grpSpPr>
            <a:xfrm>
              <a:off x="7684770" y="4138545"/>
              <a:ext cx="363976" cy="172553"/>
              <a:chOff x="7684770" y="4138545"/>
              <a:chExt cx="363976" cy="172553"/>
            </a:xfrm>
            <a:grpFill/>
          </p:grpSpPr>
          <p:sp>
            <p:nvSpPr>
              <p:cNvPr id="4458" name="Vrije vorm: vorm 4457">
                <a:extLst>
                  <a:ext uri="{FF2B5EF4-FFF2-40B4-BE49-F238E27FC236}">
                    <a16:creationId xmlns:a16="http://schemas.microsoft.com/office/drawing/2014/main" id="{7A85DD0E-E8E2-4BF3-A88F-73ECA797A4C3}"/>
                  </a:ext>
                </a:extLst>
              </p:cNvPr>
              <p:cNvSpPr/>
              <p:nvPr/>
            </p:nvSpPr>
            <p:spPr>
              <a:xfrm>
                <a:off x="7692902" y="4146175"/>
                <a:ext cx="347659" cy="157292"/>
              </a:xfrm>
              <a:custGeom>
                <a:avLst/>
                <a:gdLst>
                  <a:gd name="connsiteX0" fmla="*/ 347659 w 347659"/>
                  <a:gd name="connsiteY0" fmla="*/ 154482 h 157292"/>
                  <a:gd name="connsiteX1" fmla="*/ 346464 w 347659"/>
                  <a:gd name="connsiteY1" fmla="*/ 157293 h 157292"/>
                  <a:gd name="connsiteX2" fmla="*/ 0 w 347659"/>
                  <a:gd name="connsiteY2" fmla="*/ 2811 h 157292"/>
                  <a:gd name="connsiteX3" fmla="*/ 1256 w 347659"/>
                  <a:gd name="connsiteY3" fmla="*/ 0 h 157292"/>
                </a:gdLst>
                <a:ahLst/>
                <a:cxnLst>
                  <a:cxn ang="0">
                    <a:pos x="connsiteX0" y="connsiteY0"/>
                  </a:cxn>
                  <a:cxn ang="0">
                    <a:pos x="connsiteX1" y="connsiteY1"/>
                  </a:cxn>
                  <a:cxn ang="0">
                    <a:pos x="connsiteX2" y="connsiteY2"/>
                  </a:cxn>
                  <a:cxn ang="0">
                    <a:pos x="connsiteX3" y="connsiteY3"/>
                  </a:cxn>
                </a:cxnLst>
                <a:rect l="l" t="t" r="r" b="b"/>
                <a:pathLst>
                  <a:path w="347659" h="157292">
                    <a:moveTo>
                      <a:pt x="347659" y="154482"/>
                    </a:moveTo>
                    <a:lnTo>
                      <a:pt x="346464" y="157293"/>
                    </a:lnTo>
                    <a:lnTo>
                      <a:pt x="0" y="2811"/>
                    </a:lnTo>
                    <a:lnTo>
                      <a:pt x="1256" y="0"/>
                    </a:lnTo>
                    <a:close/>
                  </a:path>
                </a:pathLst>
              </a:custGeom>
              <a:grpFill/>
              <a:ln w="5978" cap="flat">
                <a:noFill/>
                <a:prstDash val="solid"/>
                <a:miter/>
              </a:ln>
            </p:spPr>
            <p:txBody>
              <a:bodyPr rtlCol="0" anchor="ctr"/>
              <a:lstStyle/>
              <a:p>
                <a:endParaRPr lang="en-GB"/>
              </a:p>
            </p:txBody>
          </p:sp>
          <p:sp>
            <p:nvSpPr>
              <p:cNvPr id="4459" name="Vrije vorm: vorm 4458">
                <a:extLst>
                  <a:ext uri="{FF2B5EF4-FFF2-40B4-BE49-F238E27FC236}">
                    <a16:creationId xmlns:a16="http://schemas.microsoft.com/office/drawing/2014/main" id="{29345642-E2BE-4FD2-8A3C-22CBCBC08C0D}"/>
                  </a:ext>
                </a:extLst>
              </p:cNvPr>
              <p:cNvSpPr/>
              <p:nvPr/>
            </p:nvSpPr>
            <p:spPr>
              <a:xfrm>
                <a:off x="8030405" y="4292668"/>
                <a:ext cx="18341" cy="18430"/>
              </a:xfrm>
              <a:custGeom>
                <a:avLst/>
                <a:gdLst>
                  <a:gd name="connsiteX0" fmla="*/ 12849 w 18341"/>
                  <a:gd name="connsiteY0" fmla="*/ 812 h 18430"/>
                  <a:gd name="connsiteX1" fmla="*/ 17573 w 18341"/>
                  <a:gd name="connsiteY1" fmla="*/ 12953 h 18430"/>
                  <a:gd name="connsiteX2" fmla="*/ 5493 w 18341"/>
                  <a:gd name="connsiteY2" fmla="*/ 17618 h 18430"/>
                  <a:gd name="connsiteX3" fmla="*/ 768 w 18341"/>
                  <a:gd name="connsiteY3" fmla="*/ 5477 h 18430"/>
                  <a:gd name="connsiteX4" fmla="*/ 12849 w 1834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0">
                    <a:moveTo>
                      <a:pt x="12849" y="812"/>
                    </a:moveTo>
                    <a:cubicBezTo>
                      <a:pt x="17454" y="2906"/>
                      <a:pt x="19607" y="8348"/>
                      <a:pt x="17573" y="12953"/>
                    </a:cubicBezTo>
                    <a:cubicBezTo>
                      <a:pt x="15540" y="17618"/>
                      <a:pt x="10157" y="19711"/>
                      <a:pt x="5493" y="17618"/>
                    </a:cubicBezTo>
                    <a:cubicBezTo>
                      <a:pt x="887" y="15525"/>
                      <a:pt x="-1266" y="10082"/>
                      <a:pt x="768" y="5477"/>
                    </a:cubicBezTo>
                    <a:cubicBezTo>
                      <a:pt x="2801" y="812"/>
                      <a:pt x="8184" y="-1281"/>
                      <a:pt x="12849" y="812"/>
                    </a:cubicBezTo>
                    <a:close/>
                  </a:path>
                </a:pathLst>
              </a:custGeom>
              <a:grpFill/>
              <a:ln w="5978" cap="flat">
                <a:noFill/>
                <a:prstDash val="solid"/>
                <a:miter/>
              </a:ln>
            </p:spPr>
            <p:txBody>
              <a:bodyPr rtlCol="0" anchor="ctr"/>
              <a:lstStyle/>
              <a:p>
                <a:endParaRPr lang="en-GB"/>
              </a:p>
            </p:txBody>
          </p:sp>
          <p:sp>
            <p:nvSpPr>
              <p:cNvPr id="4460" name="Vrije vorm: vorm 4459">
                <a:extLst>
                  <a:ext uri="{FF2B5EF4-FFF2-40B4-BE49-F238E27FC236}">
                    <a16:creationId xmlns:a16="http://schemas.microsoft.com/office/drawing/2014/main" id="{ACD91308-FB51-4C3D-8EE1-BB68C57153CC}"/>
                  </a:ext>
                </a:extLst>
              </p:cNvPr>
              <p:cNvSpPr/>
              <p:nvPr/>
            </p:nvSpPr>
            <p:spPr>
              <a:xfrm>
                <a:off x="7684770" y="4138545"/>
                <a:ext cx="18359" cy="18430"/>
              </a:xfrm>
              <a:custGeom>
                <a:avLst/>
                <a:gdLst>
                  <a:gd name="connsiteX0" fmla="*/ 12858 w 18359"/>
                  <a:gd name="connsiteY0" fmla="*/ 812 h 18430"/>
                  <a:gd name="connsiteX1" fmla="*/ 776 w 18359"/>
                  <a:gd name="connsiteY1" fmla="*/ 5477 h 18430"/>
                  <a:gd name="connsiteX2" fmla="*/ 5501 w 18359"/>
                  <a:gd name="connsiteY2" fmla="*/ 17618 h 18430"/>
                  <a:gd name="connsiteX3" fmla="*/ 17583 w 18359"/>
                  <a:gd name="connsiteY3" fmla="*/ 12953 h 18430"/>
                  <a:gd name="connsiteX4" fmla="*/ 12858 w 18359"/>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30">
                    <a:moveTo>
                      <a:pt x="12858" y="812"/>
                    </a:moveTo>
                    <a:cubicBezTo>
                      <a:pt x="8252" y="-1281"/>
                      <a:pt x="2810" y="812"/>
                      <a:pt x="776" y="5477"/>
                    </a:cubicBezTo>
                    <a:cubicBezTo>
                      <a:pt x="-1257" y="10142"/>
                      <a:pt x="836" y="15585"/>
                      <a:pt x="5501" y="17618"/>
                    </a:cubicBezTo>
                    <a:cubicBezTo>
                      <a:pt x="10107" y="19711"/>
                      <a:pt x="15549" y="17618"/>
                      <a:pt x="17583" y="12953"/>
                    </a:cubicBezTo>
                    <a:cubicBezTo>
                      <a:pt x="19616" y="8288"/>
                      <a:pt x="17523" y="2906"/>
                      <a:pt x="12858" y="812"/>
                    </a:cubicBezTo>
                    <a:close/>
                  </a:path>
                </a:pathLst>
              </a:custGeom>
              <a:grpFill/>
              <a:ln w="5978" cap="flat">
                <a:noFill/>
                <a:prstDash val="solid"/>
                <a:miter/>
              </a:ln>
            </p:spPr>
            <p:txBody>
              <a:bodyPr rtlCol="0" anchor="ctr"/>
              <a:lstStyle/>
              <a:p>
                <a:endParaRPr lang="en-GB"/>
              </a:p>
            </p:txBody>
          </p:sp>
        </p:grpSp>
        <p:grpSp>
          <p:nvGrpSpPr>
            <p:cNvPr id="308" name="Graphic 3">
              <a:extLst>
                <a:ext uri="{FF2B5EF4-FFF2-40B4-BE49-F238E27FC236}">
                  <a16:creationId xmlns:a16="http://schemas.microsoft.com/office/drawing/2014/main" id="{9BD2A28E-73D6-4E0A-A6E5-CF1323FA60A6}"/>
                </a:ext>
              </a:extLst>
            </p:cNvPr>
            <p:cNvGrpSpPr/>
            <p:nvPr/>
          </p:nvGrpSpPr>
          <p:grpSpPr>
            <a:xfrm>
              <a:off x="7126068" y="2068142"/>
              <a:ext cx="61086" cy="69379"/>
              <a:chOff x="7126068" y="2068142"/>
              <a:chExt cx="61086" cy="69379"/>
            </a:xfrm>
            <a:grpFill/>
          </p:grpSpPr>
          <p:sp>
            <p:nvSpPr>
              <p:cNvPr id="4455" name="Vrije vorm: vorm 4454">
                <a:extLst>
                  <a:ext uri="{FF2B5EF4-FFF2-40B4-BE49-F238E27FC236}">
                    <a16:creationId xmlns:a16="http://schemas.microsoft.com/office/drawing/2014/main" id="{1184E4EC-1303-4A39-87AC-E89DE05C3413}"/>
                  </a:ext>
                </a:extLst>
              </p:cNvPr>
              <p:cNvSpPr/>
              <p:nvPr/>
            </p:nvSpPr>
            <p:spPr>
              <a:xfrm>
                <a:off x="7133765" y="2076008"/>
                <a:ext cx="45632" cy="53647"/>
              </a:xfrm>
              <a:custGeom>
                <a:avLst/>
                <a:gdLst>
                  <a:gd name="connsiteX0" fmla="*/ 45633 w 45632"/>
                  <a:gd name="connsiteY0" fmla="*/ 1974 h 53647"/>
                  <a:gd name="connsiteX1" fmla="*/ 2333 w 45632"/>
                  <a:gd name="connsiteY1" fmla="*/ 53647 h 53647"/>
                  <a:gd name="connsiteX2" fmla="*/ 0 w 45632"/>
                  <a:gd name="connsiteY2" fmla="*/ 51673 h 53647"/>
                  <a:gd name="connsiteX3" fmla="*/ 43300 w 45632"/>
                  <a:gd name="connsiteY3" fmla="*/ 0 h 53647"/>
                </a:gdLst>
                <a:ahLst/>
                <a:cxnLst>
                  <a:cxn ang="0">
                    <a:pos x="connsiteX0" y="connsiteY0"/>
                  </a:cxn>
                  <a:cxn ang="0">
                    <a:pos x="connsiteX1" y="connsiteY1"/>
                  </a:cxn>
                  <a:cxn ang="0">
                    <a:pos x="connsiteX2" y="connsiteY2"/>
                  </a:cxn>
                  <a:cxn ang="0">
                    <a:pos x="connsiteX3" y="connsiteY3"/>
                  </a:cxn>
                </a:cxnLst>
                <a:rect l="l" t="t" r="r" b="b"/>
                <a:pathLst>
                  <a:path w="45632" h="53647">
                    <a:moveTo>
                      <a:pt x="45633" y="1974"/>
                    </a:moveTo>
                    <a:lnTo>
                      <a:pt x="2333" y="53647"/>
                    </a:lnTo>
                    <a:lnTo>
                      <a:pt x="0" y="51673"/>
                    </a:lnTo>
                    <a:lnTo>
                      <a:pt x="43300" y="0"/>
                    </a:lnTo>
                    <a:close/>
                  </a:path>
                </a:pathLst>
              </a:custGeom>
              <a:grpFill/>
              <a:ln w="5978" cap="flat">
                <a:noFill/>
                <a:prstDash val="solid"/>
                <a:miter/>
              </a:ln>
            </p:spPr>
            <p:txBody>
              <a:bodyPr rtlCol="0" anchor="ctr"/>
              <a:lstStyle/>
              <a:p>
                <a:endParaRPr lang="en-GB"/>
              </a:p>
            </p:txBody>
          </p:sp>
          <p:sp>
            <p:nvSpPr>
              <p:cNvPr id="4456" name="Vrije vorm: vorm 4455">
                <a:extLst>
                  <a:ext uri="{FF2B5EF4-FFF2-40B4-BE49-F238E27FC236}">
                    <a16:creationId xmlns:a16="http://schemas.microsoft.com/office/drawing/2014/main" id="{7A4D1BCE-FC05-40A2-9A75-E05C7CF10F89}"/>
                  </a:ext>
                </a:extLst>
              </p:cNvPr>
              <p:cNvSpPr/>
              <p:nvPr/>
            </p:nvSpPr>
            <p:spPr>
              <a:xfrm>
                <a:off x="7168805" y="2068142"/>
                <a:ext cx="18349" cy="18423"/>
              </a:xfrm>
              <a:custGeom>
                <a:avLst/>
                <a:gdLst>
                  <a:gd name="connsiteX0" fmla="*/ 2160 w 18349"/>
                  <a:gd name="connsiteY0" fmla="*/ 3261 h 18423"/>
                  <a:gd name="connsiteX1" fmla="*/ 15078 w 18349"/>
                  <a:gd name="connsiteY1" fmla="*/ 2185 h 18423"/>
                  <a:gd name="connsiteX2" fmla="*/ 16215 w 18349"/>
                  <a:gd name="connsiteY2" fmla="*/ 15163 h 18423"/>
                  <a:gd name="connsiteX3" fmla="*/ 3296 w 18349"/>
                  <a:gd name="connsiteY3" fmla="*/ 16239 h 18423"/>
                  <a:gd name="connsiteX4" fmla="*/ 2160 w 18349"/>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3">
                    <a:moveTo>
                      <a:pt x="2160" y="3261"/>
                    </a:moveTo>
                    <a:cubicBezTo>
                      <a:pt x="5389" y="-626"/>
                      <a:pt x="11190" y="-1105"/>
                      <a:pt x="15078" y="2185"/>
                    </a:cubicBezTo>
                    <a:cubicBezTo>
                      <a:pt x="18965" y="5474"/>
                      <a:pt x="19444" y="11275"/>
                      <a:pt x="16215" y="15163"/>
                    </a:cubicBezTo>
                    <a:cubicBezTo>
                      <a:pt x="12985" y="19050"/>
                      <a:pt x="7184" y="19529"/>
                      <a:pt x="3296" y="16239"/>
                    </a:cubicBezTo>
                    <a:cubicBezTo>
                      <a:pt x="-592" y="12950"/>
                      <a:pt x="-1130" y="7149"/>
                      <a:pt x="2160" y="3261"/>
                    </a:cubicBezTo>
                    <a:close/>
                  </a:path>
                </a:pathLst>
              </a:custGeom>
              <a:grpFill/>
              <a:ln w="5978" cap="flat">
                <a:noFill/>
                <a:prstDash val="solid"/>
                <a:miter/>
              </a:ln>
            </p:spPr>
            <p:txBody>
              <a:bodyPr rtlCol="0" anchor="ctr"/>
              <a:lstStyle/>
              <a:p>
                <a:endParaRPr lang="en-GB"/>
              </a:p>
            </p:txBody>
          </p:sp>
          <p:sp>
            <p:nvSpPr>
              <p:cNvPr id="4457" name="Vrije vorm: vorm 4456">
                <a:extLst>
                  <a:ext uri="{FF2B5EF4-FFF2-40B4-BE49-F238E27FC236}">
                    <a16:creationId xmlns:a16="http://schemas.microsoft.com/office/drawing/2014/main" id="{091A4BAC-28D8-4AD6-A505-111A4158E3F6}"/>
                  </a:ext>
                </a:extLst>
              </p:cNvPr>
              <p:cNvSpPr/>
              <p:nvPr/>
            </p:nvSpPr>
            <p:spPr>
              <a:xfrm>
                <a:off x="7126068" y="2119098"/>
                <a:ext cx="18324" cy="18423"/>
              </a:xfrm>
              <a:custGeom>
                <a:avLst/>
                <a:gdLst>
                  <a:gd name="connsiteX0" fmla="*/ 2135 w 18324"/>
                  <a:gd name="connsiteY0" fmla="*/ 3261 h 18423"/>
                  <a:gd name="connsiteX1" fmla="*/ 3271 w 18324"/>
                  <a:gd name="connsiteY1" fmla="*/ 16239 h 18423"/>
                  <a:gd name="connsiteX2" fmla="*/ 16190 w 18324"/>
                  <a:gd name="connsiteY2" fmla="*/ 15163 h 18423"/>
                  <a:gd name="connsiteX3" fmla="*/ 15053 w 18324"/>
                  <a:gd name="connsiteY3" fmla="*/ 2185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1095" y="7149"/>
                      <a:pt x="-616" y="12950"/>
                      <a:pt x="3271" y="16239"/>
                    </a:cubicBezTo>
                    <a:cubicBezTo>
                      <a:pt x="7159" y="19529"/>
                      <a:pt x="12900" y="19050"/>
                      <a:pt x="16190" y="15163"/>
                    </a:cubicBezTo>
                    <a:cubicBezTo>
                      <a:pt x="19420" y="11275"/>
                      <a:pt x="18941" y="5474"/>
                      <a:pt x="15053" y="2185"/>
                    </a:cubicBezTo>
                    <a:cubicBezTo>
                      <a:pt x="11166" y="-1105"/>
                      <a:pt x="5424" y="-626"/>
                      <a:pt x="2135" y="3261"/>
                    </a:cubicBezTo>
                    <a:close/>
                  </a:path>
                </a:pathLst>
              </a:custGeom>
              <a:grpFill/>
              <a:ln w="5978" cap="flat">
                <a:noFill/>
                <a:prstDash val="solid"/>
                <a:miter/>
              </a:ln>
            </p:spPr>
            <p:txBody>
              <a:bodyPr rtlCol="0" anchor="ctr"/>
              <a:lstStyle/>
              <a:p>
                <a:endParaRPr lang="en-GB"/>
              </a:p>
            </p:txBody>
          </p:sp>
        </p:grpSp>
        <p:grpSp>
          <p:nvGrpSpPr>
            <p:cNvPr id="309" name="Graphic 3">
              <a:extLst>
                <a:ext uri="{FF2B5EF4-FFF2-40B4-BE49-F238E27FC236}">
                  <a16:creationId xmlns:a16="http://schemas.microsoft.com/office/drawing/2014/main" id="{60D22C28-05E3-48A4-9A26-D7811FF807CF}"/>
                </a:ext>
              </a:extLst>
            </p:cNvPr>
            <p:cNvGrpSpPr/>
            <p:nvPr/>
          </p:nvGrpSpPr>
          <p:grpSpPr>
            <a:xfrm>
              <a:off x="7147767" y="2094350"/>
              <a:ext cx="59888" cy="66124"/>
              <a:chOff x="7147767" y="2094350"/>
              <a:chExt cx="59888" cy="66124"/>
            </a:xfrm>
            <a:grpFill/>
          </p:grpSpPr>
          <p:sp>
            <p:nvSpPr>
              <p:cNvPr id="4452" name="Vrije vorm: vorm 4451">
                <a:extLst>
                  <a:ext uri="{FF2B5EF4-FFF2-40B4-BE49-F238E27FC236}">
                    <a16:creationId xmlns:a16="http://schemas.microsoft.com/office/drawing/2014/main" id="{CBD76F5E-40A4-488F-A547-565DCD962B65}"/>
                  </a:ext>
                </a:extLst>
              </p:cNvPr>
              <p:cNvSpPr/>
              <p:nvPr/>
            </p:nvSpPr>
            <p:spPr>
              <a:xfrm>
                <a:off x="7155475" y="2102204"/>
                <a:ext cx="44496" cy="50417"/>
              </a:xfrm>
              <a:custGeom>
                <a:avLst/>
                <a:gdLst>
                  <a:gd name="connsiteX0" fmla="*/ 44497 w 44496"/>
                  <a:gd name="connsiteY0" fmla="*/ 1974 h 50417"/>
                  <a:gd name="connsiteX1" fmla="*/ 2333 w 44496"/>
                  <a:gd name="connsiteY1" fmla="*/ 50417 h 50417"/>
                  <a:gd name="connsiteX2" fmla="*/ 0 w 44496"/>
                  <a:gd name="connsiteY2" fmla="*/ 48444 h 50417"/>
                  <a:gd name="connsiteX3" fmla="*/ 42164 w 44496"/>
                  <a:gd name="connsiteY3" fmla="*/ 0 h 50417"/>
                </a:gdLst>
                <a:ahLst/>
                <a:cxnLst>
                  <a:cxn ang="0">
                    <a:pos x="connsiteX0" y="connsiteY0"/>
                  </a:cxn>
                  <a:cxn ang="0">
                    <a:pos x="connsiteX1" y="connsiteY1"/>
                  </a:cxn>
                  <a:cxn ang="0">
                    <a:pos x="connsiteX2" y="connsiteY2"/>
                  </a:cxn>
                  <a:cxn ang="0">
                    <a:pos x="connsiteX3" y="connsiteY3"/>
                  </a:cxn>
                </a:cxnLst>
                <a:rect l="l" t="t" r="r" b="b"/>
                <a:pathLst>
                  <a:path w="44496" h="50417">
                    <a:moveTo>
                      <a:pt x="44497" y="1974"/>
                    </a:moveTo>
                    <a:lnTo>
                      <a:pt x="2333" y="50417"/>
                    </a:lnTo>
                    <a:lnTo>
                      <a:pt x="0" y="48444"/>
                    </a:lnTo>
                    <a:lnTo>
                      <a:pt x="42164" y="0"/>
                    </a:lnTo>
                    <a:close/>
                  </a:path>
                </a:pathLst>
              </a:custGeom>
              <a:grpFill/>
              <a:ln w="5978" cap="flat">
                <a:noFill/>
                <a:prstDash val="solid"/>
                <a:miter/>
              </a:ln>
            </p:spPr>
            <p:txBody>
              <a:bodyPr rtlCol="0" anchor="ctr"/>
              <a:lstStyle/>
              <a:p>
                <a:endParaRPr lang="en-GB"/>
              </a:p>
            </p:txBody>
          </p:sp>
          <p:sp>
            <p:nvSpPr>
              <p:cNvPr id="4453" name="Vrije vorm: vorm 4452">
                <a:extLst>
                  <a:ext uri="{FF2B5EF4-FFF2-40B4-BE49-F238E27FC236}">
                    <a16:creationId xmlns:a16="http://schemas.microsoft.com/office/drawing/2014/main" id="{2CDB1B25-A9C5-40F2-8B46-E47C66DF3C99}"/>
                  </a:ext>
                </a:extLst>
              </p:cNvPr>
              <p:cNvSpPr/>
              <p:nvPr/>
            </p:nvSpPr>
            <p:spPr>
              <a:xfrm>
                <a:off x="7189333" y="2094350"/>
                <a:ext cx="18322" cy="18398"/>
              </a:xfrm>
              <a:custGeom>
                <a:avLst/>
                <a:gdLst>
                  <a:gd name="connsiteX0" fmla="*/ 2265 w 18322"/>
                  <a:gd name="connsiteY0" fmla="*/ 3129 h 18398"/>
                  <a:gd name="connsiteX1" fmla="*/ 15184 w 18322"/>
                  <a:gd name="connsiteY1" fmla="*/ 2291 h 18398"/>
                  <a:gd name="connsiteX2" fmla="*/ 16081 w 18322"/>
                  <a:gd name="connsiteY2" fmla="*/ 15269 h 18398"/>
                  <a:gd name="connsiteX3" fmla="*/ 3163 w 18322"/>
                  <a:gd name="connsiteY3" fmla="*/ 16107 h 18398"/>
                  <a:gd name="connsiteX4" fmla="*/ 2265 w 18322"/>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98">
                    <a:moveTo>
                      <a:pt x="2265" y="3129"/>
                    </a:moveTo>
                    <a:cubicBezTo>
                      <a:pt x="5614" y="-699"/>
                      <a:pt x="11356" y="-1058"/>
                      <a:pt x="15184" y="2291"/>
                    </a:cubicBezTo>
                    <a:cubicBezTo>
                      <a:pt x="19012" y="5641"/>
                      <a:pt x="19370" y="11442"/>
                      <a:pt x="16081" y="15269"/>
                    </a:cubicBezTo>
                    <a:cubicBezTo>
                      <a:pt x="12732" y="19097"/>
                      <a:pt x="6990" y="19456"/>
                      <a:pt x="3163" y="16107"/>
                    </a:cubicBezTo>
                    <a:cubicBezTo>
                      <a:pt x="-665" y="12758"/>
                      <a:pt x="-1084" y="6956"/>
                      <a:pt x="2265" y="3129"/>
                    </a:cubicBezTo>
                    <a:close/>
                  </a:path>
                </a:pathLst>
              </a:custGeom>
              <a:grpFill/>
              <a:ln w="5978" cap="flat">
                <a:noFill/>
                <a:prstDash val="solid"/>
                <a:miter/>
              </a:ln>
            </p:spPr>
            <p:txBody>
              <a:bodyPr rtlCol="0" anchor="ctr"/>
              <a:lstStyle/>
              <a:p>
                <a:endParaRPr lang="en-GB"/>
              </a:p>
            </p:txBody>
          </p:sp>
          <p:sp>
            <p:nvSpPr>
              <p:cNvPr id="4454" name="Vrije vorm: vorm 4453">
                <a:extLst>
                  <a:ext uri="{FF2B5EF4-FFF2-40B4-BE49-F238E27FC236}">
                    <a16:creationId xmlns:a16="http://schemas.microsoft.com/office/drawing/2014/main" id="{62093F47-658D-4801-84A6-28863634A54F}"/>
                  </a:ext>
                </a:extLst>
              </p:cNvPr>
              <p:cNvSpPr/>
              <p:nvPr/>
            </p:nvSpPr>
            <p:spPr>
              <a:xfrm>
                <a:off x="7147767" y="2142077"/>
                <a:ext cx="18346" cy="18398"/>
              </a:xfrm>
              <a:custGeom>
                <a:avLst/>
                <a:gdLst>
                  <a:gd name="connsiteX0" fmla="*/ 2266 w 18346"/>
                  <a:gd name="connsiteY0" fmla="*/ 3129 h 18398"/>
                  <a:gd name="connsiteX1" fmla="*/ 3162 w 18346"/>
                  <a:gd name="connsiteY1" fmla="*/ 16107 h 18398"/>
                  <a:gd name="connsiteX2" fmla="*/ 16081 w 18346"/>
                  <a:gd name="connsiteY2" fmla="*/ 15270 h 18398"/>
                  <a:gd name="connsiteX3" fmla="*/ 15184 w 18346"/>
                  <a:gd name="connsiteY3" fmla="*/ 2291 h 18398"/>
                  <a:gd name="connsiteX4" fmla="*/ 2266 w 18346"/>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8">
                    <a:moveTo>
                      <a:pt x="2266" y="3129"/>
                    </a:moveTo>
                    <a:cubicBezTo>
                      <a:pt x="-1084" y="6956"/>
                      <a:pt x="-665" y="12758"/>
                      <a:pt x="3162" y="16107"/>
                    </a:cubicBezTo>
                    <a:cubicBezTo>
                      <a:pt x="6990" y="19456"/>
                      <a:pt x="12791" y="19097"/>
                      <a:pt x="16081" y="15270"/>
                    </a:cubicBezTo>
                    <a:cubicBezTo>
                      <a:pt x="19430" y="11442"/>
                      <a:pt x="19011" y="5641"/>
                      <a:pt x="15184" y="2291"/>
                    </a:cubicBezTo>
                    <a:cubicBezTo>
                      <a:pt x="11356" y="-1058"/>
                      <a:pt x="5615" y="-699"/>
                      <a:pt x="2266" y="3129"/>
                    </a:cubicBezTo>
                    <a:close/>
                  </a:path>
                </a:pathLst>
              </a:custGeom>
              <a:grpFill/>
              <a:ln w="5978" cap="flat">
                <a:noFill/>
                <a:prstDash val="solid"/>
                <a:miter/>
              </a:ln>
            </p:spPr>
            <p:txBody>
              <a:bodyPr rtlCol="0" anchor="ctr"/>
              <a:lstStyle/>
              <a:p>
                <a:endParaRPr lang="en-GB"/>
              </a:p>
            </p:txBody>
          </p:sp>
        </p:grpSp>
        <p:grpSp>
          <p:nvGrpSpPr>
            <p:cNvPr id="310" name="Graphic 3">
              <a:extLst>
                <a:ext uri="{FF2B5EF4-FFF2-40B4-BE49-F238E27FC236}">
                  <a16:creationId xmlns:a16="http://schemas.microsoft.com/office/drawing/2014/main" id="{8EA83FCA-7DA1-47C0-A000-A3B959A5DEC3}"/>
                </a:ext>
              </a:extLst>
            </p:cNvPr>
            <p:cNvGrpSpPr/>
            <p:nvPr/>
          </p:nvGrpSpPr>
          <p:grpSpPr>
            <a:xfrm>
              <a:off x="7652479" y="3917869"/>
              <a:ext cx="241669" cy="89336"/>
              <a:chOff x="7652479" y="3917869"/>
              <a:chExt cx="241669" cy="89336"/>
            </a:xfrm>
            <a:grpFill/>
          </p:grpSpPr>
          <p:sp>
            <p:nvSpPr>
              <p:cNvPr id="4449" name="Vrije vorm: vorm 4448">
                <a:extLst>
                  <a:ext uri="{FF2B5EF4-FFF2-40B4-BE49-F238E27FC236}">
                    <a16:creationId xmlns:a16="http://schemas.microsoft.com/office/drawing/2014/main" id="{712E5222-51DC-4864-BE42-64D088EC0119}"/>
                  </a:ext>
                </a:extLst>
              </p:cNvPr>
              <p:cNvSpPr/>
              <p:nvPr/>
            </p:nvSpPr>
            <p:spPr>
              <a:xfrm>
                <a:off x="7660726" y="3925487"/>
                <a:ext cx="225114" cy="74100"/>
              </a:xfrm>
              <a:custGeom>
                <a:avLst/>
                <a:gdLst>
                  <a:gd name="connsiteX0" fmla="*/ 225114 w 225114"/>
                  <a:gd name="connsiteY0" fmla="*/ 71170 h 74100"/>
                  <a:gd name="connsiteX1" fmla="*/ 224217 w 225114"/>
                  <a:gd name="connsiteY1" fmla="*/ 74101 h 74100"/>
                  <a:gd name="connsiteX2" fmla="*/ 0 w 225114"/>
                  <a:gd name="connsiteY2" fmla="*/ 2930 h 74100"/>
                  <a:gd name="connsiteX3" fmla="*/ 897 w 225114"/>
                  <a:gd name="connsiteY3" fmla="*/ 0 h 74100"/>
                </a:gdLst>
                <a:ahLst/>
                <a:cxnLst>
                  <a:cxn ang="0">
                    <a:pos x="connsiteX0" y="connsiteY0"/>
                  </a:cxn>
                  <a:cxn ang="0">
                    <a:pos x="connsiteX1" y="connsiteY1"/>
                  </a:cxn>
                  <a:cxn ang="0">
                    <a:pos x="connsiteX2" y="connsiteY2"/>
                  </a:cxn>
                  <a:cxn ang="0">
                    <a:pos x="connsiteX3" y="connsiteY3"/>
                  </a:cxn>
                </a:cxnLst>
                <a:rect l="l" t="t" r="r" b="b"/>
                <a:pathLst>
                  <a:path w="225114" h="74100">
                    <a:moveTo>
                      <a:pt x="225114" y="71170"/>
                    </a:moveTo>
                    <a:lnTo>
                      <a:pt x="224217" y="74101"/>
                    </a:lnTo>
                    <a:lnTo>
                      <a:pt x="0" y="2930"/>
                    </a:lnTo>
                    <a:lnTo>
                      <a:pt x="897" y="0"/>
                    </a:lnTo>
                    <a:close/>
                  </a:path>
                </a:pathLst>
              </a:custGeom>
              <a:grpFill/>
              <a:ln w="5978" cap="flat">
                <a:noFill/>
                <a:prstDash val="solid"/>
                <a:miter/>
              </a:ln>
            </p:spPr>
            <p:txBody>
              <a:bodyPr rtlCol="0" anchor="ctr"/>
              <a:lstStyle/>
              <a:p>
                <a:endParaRPr lang="en-GB"/>
              </a:p>
            </p:txBody>
          </p:sp>
          <p:sp>
            <p:nvSpPr>
              <p:cNvPr id="4450" name="Vrije vorm: vorm 4449">
                <a:extLst>
                  <a:ext uri="{FF2B5EF4-FFF2-40B4-BE49-F238E27FC236}">
                    <a16:creationId xmlns:a16="http://schemas.microsoft.com/office/drawing/2014/main" id="{3135C860-4CC3-4E75-A39F-AF1FFDF7DBA5}"/>
                  </a:ext>
                </a:extLst>
              </p:cNvPr>
              <p:cNvSpPr/>
              <p:nvPr/>
            </p:nvSpPr>
            <p:spPr>
              <a:xfrm>
                <a:off x="7875799" y="3988800"/>
                <a:ext cx="18349" cy="18405"/>
              </a:xfrm>
              <a:custGeom>
                <a:avLst/>
                <a:gdLst>
                  <a:gd name="connsiteX0" fmla="*/ 11896 w 18349"/>
                  <a:gd name="connsiteY0" fmla="*/ 441 h 18405"/>
                  <a:gd name="connsiteX1" fmla="*/ 17937 w 18349"/>
                  <a:gd name="connsiteY1" fmla="*/ 11984 h 18405"/>
                  <a:gd name="connsiteX2" fmla="*/ 6453 w 18349"/>
                  <a:gd name="connsiteY2" fmla="*/ 17964 h 18405"/>
                  <a:gd name="connsiteX3" fmla="*/ 413 w 18349"/>
                  <a:gd name="connsiteY3" fmla="*/ 6422 h 18405"/>
                  <a:gd name="connsiteX4" fmla="*/ 11896 w 18349"/>
                  <a:gd name="connsiteY4" fmla="*/ 4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11896" y="441"/>
                    </a:moveTo>
                    <a:cubicBezTo>
                      <a:pt x="16740" y="1996"/>
                      <a:pt x="19432" y="7139"/>
                      <a:pt x="17937" y="11984"/>
                    </a:cubicBezTo>
                    <a:cubicBezTo>
                      <a:pt x="16442" y="16828"/>
                      <a:pt x="11298" y="19519"/>
                      <a:pt x="6453" y="17964"/>
                    </a:cubicBezTo>
                    <a:cubicBezTo>
                      <a:pt x="1609" y="16409"/>
                      <a:pt x="-1082" y="11266"/>
                      <a:pt x="413" y="6422"/>
                    </a:cubicBezTo>
                    <a:cubicBezTo>
                      <a:pt x="1908" y="1577"/>
                      <a:pt x="7051" y="-1114"/>
                      <a:pt x="11896" y="441"/>
                    </a:cubicBezTo>
                    <a:close/>
                  </a:path>
                </a:pathLst>
              </a:custGeom>
              <a:grpFill/>
              <a:ln w="5978" cap="flat">
                <a:noFill/>
                <a:prstDash val="solid"/>
                <a:miter/>
              </a:ln>
            </p:spPr>
            <p:txBody>
              <a:bodyPr rtlCol="0" anchor="ctr"/>
              <a:lstStyle/>
              <a:p>
                <a:endParaRPr lang="en-GB"/>
              </a:p>
            </p:txBody>
          </p:sp>
          <p:sp>
            <p:nvSpPr>
              <p:cNvPr id="4451" name="Vrije vorm: vorm 4450">
                <a:extLst>
                  <a:ext uri="{FF2B5EF4-FFF2-40B4-BE49-F238E27FC236}">
                    <a16:creationId xmlns:a16="http://schemas.microsoft.com/office/drawing/2014/main" id="{DE34C171-FD4F-43D9-B45C-3B3E79FC29B4}"/>
                  </a:ext>
                </a:extLst>
              </p:cNvPr>
              <p:cNvSpPr/>
              <p:nvPr/>
            </p:nvSpPr>
            <p:spPr>
              <a:xfrm>
                <a:off x="7652479" y="3917869"/>
                <a:ext cx="18343" cy="18405"/>
              </a:xfrm>
              <a:custGeom>
                <a:avLst/>
                <a:gdLst>
                  <a:gd name="connsiteX0" fmla="*/ 11896 w 18343"/>
                  <a:gd name="connsiteY0" fmla="*/ 441 h 18405"/>
                  <a:gd name="connsiteX1" fmla="*/ 413 w 18343"/>
                  <a:gd name="connsiteY1" fmla="*/ 6422 h 18405"/>
                  <a:gd name="connsiteX2" fmla="*/ 6454 w 18343"/>
                  <a:gd name="connsiteY2" fmla="*/ 17964 h 18405"/>
                  <a:gd name="connsiteX3" fmla="*/ 17936 w 18343"/>
                  <a:gd name="connsiteY3" fmla="*/ 11984 h 18405"/>
                  <a:gd name="connsiteX4" fmla="*/ 11896 w 18343"/>
                  <a:gd name="connsiteY4" fmla="*/ 4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5">
                    <a:moveTo>
                      <a:pt x="11896" y="441"/>
                    </a:moveTo>
                    <a:cubicBezTo>
                      <a:pt x="7051" y="-1114"/>
                      <a:pt x="1908" y="1577"/>
                      <a:pt x="413" y="6422"/>
                    </a:cubicBezTo>
                    <a:cubicBezTo>
                      <a:pt x="-1082" y="11266"/>
                      <a:pt x="1609" y="16469"/>
                      <a:pt x="6454" y="17964"/>
                    </a:cubicBezTo>
                    <a:cubicBezTo>
                      <a:pt x="11298" y="19519"/>
                      <a:pt x="16441" y="16828"/>
                      <a:pt x="17936" y="11984"/>
                    </a:cubicBezTo>
                    <a:cubicBezTo>
                      <a:pt x="19431" y="7139"/>
                      <a:pt x="16680" y="1996"/>
                      <a:pt x="11896" y="441"/>
                    </a:cubicBezTo>
                    <a:close/>
                  </a:path>
                </a:pathLst>
              </a:custGeom>
              <a:grpFill/>
              <a:ln w="5978" cap="flat">
                <a:noFill/>
                <a:prstDash val="solid"/>
                <a:miter/>
              </a:ln>
            </p:spPr>
            <p:txBody>
              <a:bodyPr rtlCol="0" anchor="ctr"/>
              <a:lstStyle/>
              <a:p>
                <a:endParaRPr lang="en-GB"/>
              </a:p>
            </p:txBody>
          </p:sp>
        </p:grpSp>
        <p:grpSp>
          <p:nvGrpSpPr>
            <p:cNvPr id="311" name="Graphic 3">
              <a:extLst>
                <a:ext uri="{FF2B5EF4-FFF2-40B4-BE49-F238E27FC236}">
                  <a16:creationId xmlns:a16="http://schemas.microsoft.com/office/drawing/2014/main" id="{484C5C1A-1B3E-41D0-A770-71E5BD50C632}"/>
                </a:ext>
              </a:extLst>
            </p:cNvPr>
            <p:cNvGrpSpPr/>
            <p:nvPr/>
          </p:nvGrpSpPr>
          <p:grpSpPr>
            <a:xfrm>
              <a:off x="6978354" y="1771353"/>
              <a:ext cx="214352" cy="250346"/>
              <a:chOff x="6978354" y="1771353"/>
              <a:chExt cx="214352" cy="250346"/>
            </a:xfrm>
            <a:grpFill/>
          </p:grpSpPr>
          <p:sp>
            <p:nvSpPr>
              <p:cNvPr id="4446" name="Vrije vorm: vorm 4445">
                <a:extLst>
                  <a:ext uri="{FF2B5EF4-FFF2-40B4-BE49-F238E27FC236}">
                    <a16:creationId xmlns:a16="http://schemas.microsoft.com/office/drawing/2014/main" id="{2D47DA64-A681-40BF-9FB1-B7373DC3EEE5}"/>
                  </a:ext>
                </a:extLst>
              </p:cNvPr>
              <p:cNvSpPr/>
              <p:nvPr/>
            </p:nvSpPr>
            <p:spPr>
              <a:xfrm>
                <a:off x="6986101" y="1779185"/>
                <a:ext cx="198918" cy="234683"/>
              </a:xfrm>
              <a:custGeom>
                <a:avLst/>
                <a:gdLst>
                  <a:gd name="connsiteX0" fmla="*/ 198919 w 198918"/>
                  <a:gd name="connsiteY0" fmla="*/ 1974 h 234683"/>
                  <a:gd name="connsiteX1" fmla="*/ 2333 w 198918"/>
                  <a:gd name="connsiteY1" fmla="*/ 234684 h 234683"/>
                  <a:gd name="connsiteX2" fmla="*/ 0 w 198918"/>
                  <a:gd name="connsiteY2" fmla="*/ 232710 h 234683"/>
                  <a:gd name="connsiteX3" fmla="*/ 196586 w 198918"/>
                  <a:gd name="connsiteY3" fmla="*/ 0 h 234683"/>
                </a:gdLst>
                <a:ahLst/>
                <a:cxnLst>
                  <a:cxn ang="0">
                    <a:pos x="connsiteX0" y="connsiteY0"/>
                  </a:cxn>
                  <a:cxn ang="0">
                    <a:pos x="connsiteX1" y="connsiteY1"/>
                  </a:cxn>
                  <a:cxn ang="0">
                    <a:pos x="connsiteX2" y="connsiteY2"/>
                  </a:cxn>
                  <a:cxn ang="0">
                    <a:pos x="connsiteX3" y="connsiteY3"/>
                  </a:cxn>
                </a:cxnLst>
                <a:rect l="l" t="t" r="r" b="b"/>
                <a:pathLst>
                  <a:path w="198918" h="234683">
                    <a:moveTo>
                      <a:pt x="198919" y="1974"/>
                    </a:moveTo>
                    <a:lnTo>
                      <a:pt x="2333" y="234684"/>
                    </a:lnTo>
                    <a:lnTo>
                      <a:pt x="0" y="232710"/>
                    </a:lnTo>
                    <a:lnTo>
                      <a:pt x="196586" y="0"/>
                    </a:lnTo>
                    <a:close/>
                  </a:path>
                </a:pathLst>
              </a:custGeom>
              <a:grpFill/>
              <a:ln w="5978" cap="flat">
                <a:noFill/>
                <a:prstDash val="solid"/>
                <a:miter/>
              </a:ln>
            </p:spPr>
            <p:txBody>
              <a:bodyPr rtlCol="0" anchor="ctr"/>
              <a:lstStyle/>
              <a:p>
                <a:endParaRPr lang="en-GB"/>
              </a:p>
            </p:txBody>
          </p:sp>
          <p:sp>
            <p:nvSpPr>
              <p:cNvPr id="4447" name="Vrije vorm: vorm 4446">
                <a:extLst>
                  <a:ext uri="{FF2B5EF4-FFF2-40B4-BE49-F238E27FC236}">
                    <a16:creationId xmlns:a16="http://schemas.microsoft.com/office/drawing/2014/main" id="{6DBDA8E9-0A9A-467E-B9F7-3D54DCB46310}"/>
                  </a:ext>
                </a:extLst>
              </p:cNvPr>
              <p:cNvSpPr/>
              <p:nvPr/>
            </p:nvSpPr>
            <p:spPr>
              <a:xfrm>
                <a:off x="6978354" y="2003286"/>
                <a:ext cx="18364" cy="18414"/>
              </a:xfrm>
              <a:custGeom>
                <a:avLst/>
                <a:gdLst>
                  <a:gd name="connsiteX0" fmla="*/ 16180 w 18364"/>
                  <a:gd name="connsiteY0" fmla="*/ 15188 h 18414"/>
                  <a:gd name="connsiteX1" fmla="*/ 3261 w 18364"/>
                  <a:gd name="connsiteY1" fmla="*/ 16205 h 18414"/>
                  <a:gd name="connsiteX2" fmla="*/ 2184 w 18364"/>
                  <a:gd name="connsiteY2" fmla="*/ 3227 h 18414"/>
                  <a:gd name="connsiteX3" fmla="*/ 15103 w 18364"/>
                  <a:gd name="connsiteY3" fmla="*/ 2210 h 18414"/>
                  <a:gd name="connsiteX4" fmla="*/ 16180 w 18364"/>
                  <a:gd name="connsiteY4" fmla="*/ 1518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16180" y="15188"/>
                    </a:moveTo>
                    <a:cubicBezTo>
                      <a:pt x="12890" y="19075"/>
                      <a:pt x="7149" y="19494"/>
                      <a:pt x="3261" y="16205"/>
                    </a:cubicBezTo>
                    <a:cubicBezTo>
                      <a:pt x="-626" y="12915"/>
                      <a:pt x="-1105" y="7114"/>
                      <a:pt x="2184" y="3227"/>
                    </a:cubicBezTo>
                    <a:cubicBezTo>
                      <a:pt x="5474" y="-661"/>
                      <a:pt x="11215" y="-1080"/>
                      <a:pt x="15103" y="2210"/>
                    </a:cubicBezTo>
                    <a:cubicBezTo>
                      <a:pt x="18991" y="5499"/>
                      <a:pt x="19469" y="11360"/>
                      <a:pt x="16180" y="15188"/>
                    </a:cubicBezTo>
                    <a:close/>
                  </a:path>
                </a:pathLst>
              </a:custGeom>
              <a:grpFill/>
              <a:ln w="5978" cap="flat">
                <a:noFill/>
                <a:prstDash val="solid"/>
                <a:miter/>
              </a:ln>
            </p:spPr>
            <p:txBody>
              <a:bodyPr rtlCol="0" anchor="ctr"/>
              <a:lstStyle/>
              <a:p>
                <a:endParaRPr lang="en-GB"/>
              </a:p>
            </p:txBody>
          </p:sp>
          <p:sp>
            <p:nvSpPr>
              <p:cNvPr id="4448" name="Vrije vorm: vorm 4447">
                <a:extLst>
                  <a:ext uri="{FF2B5EF4-FFF2-40B4-BE49-F238E27FC236}">
                    <a16:creationId xmlns:a16="http://schemas.microsoft.com/office/drawing/2014/main" id="{1FEA5170-0164-4F7C-AE47-C81ED5BE297E}"/>
                  </a:ext>
                </a:extLst>
              </p:cNvPr>
              <p:cNvSpPr/>
              <p:nvPr/>
            </p:nvSpPr>
            <p:spPr>
              <a:xfrm>
                <a:off x="7174342" y="1771353"/>
                <a:ext cx="18364" cy="18394"/>
              </a:xfrm>
              <a:custGeom>
                <a:avLst/>
                <a:gdLst>
                  <a:gd name="connsiteX0" fmla="*/ 16179 w 18364"/>
                  <a:gd name="connsiteY0" fmla="*/ 15188 h 18394"/>
                  <a:gd name="connsiteX1" fmla="*/ 15103 w 18364"/>
                  <a:gd name="connsiteY1" fmla="*/ 2210 h 18394"/>
                  <a:gd name="connsiteX2" fmla="*/ 2185 w 18364"/>
                  <a:gd name="connsiteY2" fmla="*/ 3227 h 18394"/>
                  <a:gd name="connsiteX3" fmla="*/ 3261 w 18364"/>
                  <a:gd name="connsiteY3" fmla="*/ 16205 h 18394"/>
                  <a:gd name="connsiteX4" fmla="*/ 16179 w 18364"/>
                  <a:gd name="connsiteY4" fmla="*/ 151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394">
                    <a:moveTo>
                      <a:pt x="16179" y="15188"/>
                    </a:moveTo>
                    <a:cubicBezTo>
                      <a:pt x="19469" y="11301"/>
                      <a:pt x="18991" y="5499"/>
                      <a:pt x="15103" y="2210"/>
                    </a:cubicBezTo>
                    <a:cubicBezTo>
                      <a:pt x="11216" y="-1080"/>
                      <a:pt x="5474" y="-661"/>
                      <a:pt x="2185" y="3227"/>
                    </a:cubicBezTo>
                    <a:cubicBezTo>
                      <a:pt x="-1105" y="7114"/>
                      <a:pt x="-626" y="12915"/>
                      <a:pt x="3261" y="16205"/>
                    </a:cubicBezTo>
                    <a:cubicBezTo>
                      <a:pt x="7148" y="19494"/>
                      <a:pt x="12890" y="19016"/>
                      <a:pt x="16179" y="15188"/>
                    </a:cubicBezTo>
                    <a:close/>
                  </a:path>
                </a:pathLst>
              </a:custGeom>
              <a:grpFill/>
              <a:ln w="5978" cap="flat">
                <a:noFill/>
                <a:prstDash val="solid"/>
                <a:miter/>
              </a:ln>
            </p:spPr>
            <p:txBody>
              <a:bodyPr rtlCol="0" anchor="ctr"/>
              <a:lstStyle/>
              <a:p>
                <a:endParaRPr lang="en-GB"/>
              </a:p>
            </p:txBody>
          </p:sp>
        </p:grpSp>
        <p:grpSp>
          <p:nvGrpSpPr>
            <p:cNvPr id="312" name="Graphic 3">
              <a:extLst>
                <a:ext uri="{FF2B5EF4-FFF2-40B4-BE49-F238E27FC236}">
                  <a16:creationId xmlns:a16="http://schemas.microsoft.com/office/drawing/2014/main" id="{EFD08F39-1051-459D-8E1A-B55A91E9E2D1}"/>
                </a:ext>
              </a:extLst>
            </p:cNvPr>
            <p:cNvGrpSpPr/>
            <p:nvPr/>
          </p:nvGrpSpPr>
          <p:grpSpPr>
            <a:xfrm>
              <a:off x="7742526" y="3911829"/>
              <a:ext cx="42556" cy="25580"/>
              <a:chOff x="7742526" y="3911829"/>
              <a:chExt cx="42556" cy="25580"/>
            </a:xfrm>
            <a:grpFill/>
          </p:grpSpPr>
          <p:sp>
            <p:nvSpPr>
              <p:cNvPr id="4443" name="Vrije vorm: vorm 4442">
                <a:extLst>
                  <a:ext uri="{FF2B5EF4-FFF2-40B4-BE49-F238E27FC236}">
                    <a16:creationId xmlns:a16="http://schemas.microsoft.com/office/drawing/2014/main" id="{96F93207-35FC-46C0-993A-B5C48CD6C24C}"/>
                  </a:ext>
                </a:extLst>
              </p:cNvPr>
              <p:cNvSpPr/>
              <p:nvPr/>
            </p:nvSpPr>
            <p:spPr>
              <a:xfrm>
                <a:off x="7750856" y="3919386"/>
                <a:ext cx="25956" cy="10406"/>
              </a:xfrm>
              <a:custGeom>
                <a:avLst/>
                <a:gdLst>
                  <a:gd name="connsiteX0" fmla="*/ 25956 w 25956"/>
                  <a:gd name="connsiteY0" fmla="*/ 7476 h 10406"/>
                  <a:gd name="connsiteX1" fmla="*/ 25059 w 25956"/>
                  <a:gd name="connsiteY1" fmla="*/ 10406 h 10406"/>
                  <a:gd name="connsiteX2" fmla="*/ 0 w 25956"/>
                  <a:gd name="connsiteY2" fmla="*/ 2990 h 10406"/>
                  <a:gd name="connsiteX3" fmla="*/ 837 w 25956"/>
                  <a:gd name="connsiteY3" fmla="*/ 0 h 10406"/>
                </a:gdLst>
                <a:ahLst/>
                <a:cxnLst>
                  <a:cxn ang="0">
                    <a:pos x="connsiteX0" y="connsiteY0"/>
                  </a:cxn>
                  <a:cxn ang="0">
                    <a:pos x="connsiteX1" y="connsiteY1"/>
                  </a:cxn>
                  <a:cxn ang="0">
                    <a:pos x="connsiteX2" y="connsiteY2"/>
                  </a:cxn>
                  <a:cxn ang="0">
                    <a:pos x="connsiteX3" y="connsiteY3"/>
                  </a:cxn>
                </a:cxnLst>
                <a:rect l="l" t="t" r="r" b="b"/>
                <a:pathLst>
                  <a:path w="25956" h="10406">
                    <a:moveTo>
                      <a:pt x="25956" y="7476"/>
                    </a:moveTo>
                    <a:lnTo>
                      <a:pt x="25059" y="10406"/>
                    </a:lnTo>
                    <a:lnTo>
                      <a:pt x="0" y="2990"/>
                    </a:lnTo>
                    <a:lnTo>
                      <a:pt x="837" y="0"/>
                    </a:lnTo>
                    <a:close/>
                  </a:path>
                </a:pathLst>
              </a:custGeom>
              <a:grpFill/>
              <a:ln w="5978" cap="flat">
                <a:noFill/>
                <a:prstDash val="solid"/>
                <a:miter/>
              </a:ln>
            </p:spPr>
            <p:txBody>
              <a:bodyPr rtlCol="0" anchor="ctr"/>
              <a:lstStyle/>
              <a:p>
                <a:endParaRPr lang="en-GB"/>
              </a:p>
            </p:txBody>
          </p:sp>
          <p:sp>
            <p:nvSpPr>
              <p:cNvPr id="4444" name="Vrije vorm: vorm 4443">
                <a:extLst>
                  <a:ext uri="{FF2B5EF4-FFF2-40B4-BE49-F238E27FC236}">
                    <a16:creationId xmlns:a16="http://schemas.microsoft.com/office/drawing/2014/main" id="{6763E414-CCD1-4CA0-B59E-4E457A66B9AA}"/>
                  </a:ext>
                </a:extLst>
              </p:cNvPr>
              <p:cNvSpPr/>
              <p:nvPr/>
            </p:nvSpPr>
            <p:spPr>
              <a:xfrm>
                <a:off x="7766748" y="3919006"/>
                <a:ext cx="18334" cy="18403"/>
              </a:xfrm>
              <a:custGeom>
                <a:avLst/>
                <a:gdLst>
                  <a:gd name="connsiteX0" fmla="*/ 11739 w 18334"/>
                  <a:gd name="connsiteY0" fmla="*/ 380 h 18403"/>
                  <a:gd name="connsiteX1" fmla="*/ 17959 w 18334"/>
                  <a:gd name="connsiteY1" fmla="*/ 11803 h 18403"/>
                  <a:gd name="connsiteX2" fmla="*/ 6596 w 18334"/>
                  <a:gd name="connsiteY2" fmla="*/ 18023 h 18403"/>
                  <a:gd name="connsiteX3" fmla="*/ 375 w 18334"/>
                  <a:gd name="connsiteY3" fmla="*/ 6600 h 18403"/>
                  <a:gd name="connsiteX4" fmla="*/ 11739 w 18334"/>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3">
                    <a:moveTo>
                      <a:pt x="11739" y="380"/>
                    </a:moveTo>
                    <a:cubicBezTo>
                      <a:pt x="16583" y="1815"/>
                      <a:pt x="19394" y="6959"/>
                      <a:pt x="17959" y="11803"/>
                    </a:cubicBezTo>
                    <a:cubicBezTo>
                      <a:pt x="16523" y="16707"/>
                      <a:pt x="11440" y="19459"/>
                      <a:pt x="6596" y="18023"/>
                    </a:cubicBezTo>
                    <a:cubicBezTo>
                      <a:pt x="1751" y="16588"/>
                      <a:pt x="-1060" y="11444"/>
                      <a:pt x="375" y="6600"/>
                    </a:cubicBezTo>
                    <a:cubicBezTo>
                      <a:pt x="1811" y="1696"/>
                      <a:pt x="6894" y="-1055"/>
                      <a:pt x="11739" y="380"/>
                    </a:cubicBezTo>
                    <a:close/>
                  </a:path>
                </a:pathLst>
              </a:custGeom>
              <a:grpFill/>
              <a:ln w="5978" cap="flat">
                <a:noFill/>
                <a:prstDash val="solid"/>
                <a:miter/>
              </a:ln>
            </p:spPr>
            <p:txBody>
              <a:bodyPr rtlCol="0" anchor="ctr"/>
              <a:lstStyle/>
              <a:p>
                <a:endParaRPr lang="en-GB"/>
              </a:p>
            </p:txBody>
          </p:sp>
          <p:sp>
            <p:nvSpPr>
              <p:cNvPr id="4445" name="Vrije vorm: vorm 4444">
                <a:extLst>
                  <a:ext uri="{FF2B5EF4-FFF2-40B4-BE49-F238E27FC236}">
                    <a16:creationId xmlns:a16="http://schemas.microsoft.com/office/drawing/2014/main" id="{44B518FE-8CF6-43F8-99C6-A92A084D5E12}"/>
                  </a:ext>
                </a:extLst>
              </p:cNvPr>
              <p:cNvSpPr/>
              <p:nvPr/>
            </p:nvSpPr>
            <p:spPr>
              <a:xfrm>
                <a:off x="7742526" y="3911829"/>
                <a:ext cx="18339" cy="18403"/>
              </a:xfrm>
              <a:custGeom>
                <a:avLst/>
                <a:gdLst>
                  <a:gd name="connsiteX0" fmla="*/ 11739 w 18339"/>
                  <a:gd name="connsiteY0" fmla="*/ 380 h 18403"/>
                  <a:gd name="connsiteX1" fmla="*/ 375 w 18339"/>
                  <a:gd name="connsiteY1" fmla="*/ 6600 h 18403"/>
                  <a:gd name="connsiteX2" fmla="*/ 6595 w 18339"/>
                  <a:gd name="connsiteY2" fmla="*/ 18023 h 18403"/>
                  <a:gd name="connsiteX3" fmla="*/ 17959 w 18339"/>
                  <a:gd name="connsiteY3" fmla="*/ 11803 h 18403"/>
                  <a:gd name="connsiteX4" fmla="*/ 11739 w 18339"/>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3">
                    <a:moveTo>
                      <a:pt x="11739" y="380"/>
                    </a:moveTo>
                    <a:cubicBezTo>
                      <a:pt x="6895" y="-1055"/>
                      <a:pt x="1811" y="1696"/>
                      <a:pt x="375" y="6600"/>
                    </a:cubicBezTo>
                    <a:cubicBezTo>
                      <a:pt x="-1060" y="11504"/>
                      <a:pt x="1751" y="16588"/>
                      <a:pt x="6595" y="18023"/>
                    </a:cubicBezTo>
                    <a:cubicBezTo>
                      <a:pt x="11440" y="19459"/>
                      <a:pt x="16524" y="16707"/>
                      <a:pt x="17959" y="11803"/>
                    </a:cubicBezTo>
                    <a:cubicBezTo>
                      <a:pt x="19394" y="6899"/>
                      <a:pt x="16643" y="1815"/>
                      <a:pt x="11739" y="380"/>
                    </a:cubicBezTo>
                    <a:close/>
                  </a:path>
                </a:pathLst>
              </a:custGeom>
              <a:grpFill/>
              <a:ln w="5978" cap="flat">
                <a:noFill/>
                <a:prstDash val="solid"/>
                <a:miter/>
              </a:ln>
            </p:spPr>
            <p:txBody>
              <a:bodyPr rtlCol="0" anchor="ctr"/>
              <a:lstStyle/>
              <a:p>
                <a:endParaRPr lang="en-GB"/>
              </a:p>
            </p:txBody>
          </p:sp>
        </p:grpSp>
        <p:grpSp>
          <p:nvGrpSpPr>
            <p:cNvPr id="313" name="Graphic 3">
              <a:extLst>
                <a:ext uri="{FF2B5EF4-FFF2-40B4-BE49-F238E27FC236}">
                  <a16:creationId xmlns:a16="http://schemas.microsoft.com/office/drawing/2014/main" id="{0CD413DE-F7C7-493B-BBCE-B2B13B799B50}"/>
                </a:ext>
              </a:extLst>
            </p:cNvPr>
            <p:cNvGrpSpPr/>
            <p:nvPr/>
          </p:nvGrpSpPr>
          <p:grpSpPr>
            <a:xfrm>
              <a:off x="7678910" y="3794731"/>
              <a:ext cx="105612" cy="39125"/>
              <a:chOff x="7678910" y="3794731"/>
              <a:chExt cx="105612" cy="39125"/>
            </a:xfrm>
            <a:grpFill/>
          </p:grpSpPr>
          <p:sp>
            <p:nvSpPr>
              <p:cNvPr id="4440" name="Vrije vorm: vorm 4439">
                <a:extLst>
                  <a:ext uri="{FF2B5EF4-FFF2-40B4-BE49-F238E27FC236}">
                    <a16:creationId xmlns:a16="http://schemas.microsoft.com/office/drawing/2014/main" id="{6763ADCF-8701-4E05-B33F-29E2923C5C90}"/>
                  </a:ext>
                </a:extLst>
              </p:cNvPr>
              <p:cNvSpPr/>
              <p:nvPr/>
            </p:nvSpPr>
            <p:spPr>
              <a:xfrm>
                <a:off x="7687281" y="3802403"/>
                <a:ext cx="88813" cy="23863"/>
              </a:xfrm>
              <a:custGeom>
                <a:avLst/>
                <a:gdLst>
                  <a:gd name="connsiteX0" fmla="*/ 88814 w 88813"/>
                  <a:gd name="connsiteY0" fmla="*/ 20873 h 23863"/>
                  <a:gd name="connsiteX1" fmla="*/ 88156 w 88813"/>
                  <a:gd name="connsiteY1" fmla="*/ 23863 h 23863"/>
                  <a:gd name="connsiteX2" fmla="*/ 0 w 88813"/>
                  <a:gd name="connsiteY2" fmla="*/ 2990 h 23863"/>
                  <a:gd name="connsiteX3" fmla="*/ 718 w 88813"/>
                  <a:gd name="connsiteY3" fmla="*/ 0 h 23863"/>
                </a:gdLst>
                <a:ahLst/>
                <a:cxnLst>
                  <a:cxn ang="0">
                    <a:pos x="connsiteX0" y="connsiteY0"/>
                  </a:cxn>
                  <a:cxn ang="0">
                    <a:pos x="connsiteX1" y="connsiteY1"/>
                  </a:cxn>
                  <a:cxn ang="0">
                    <a:pos x="connsiteX2" y="connsiteY2"/>
                  </a:cxn>
                  <a:cxn ang="0">
                    <a:pos x="connsiteX3" y="connsiteY3"/>
                  </a:cxn>
                </a:cxnLst>
                <a:rect l="l" t="t" r="r" b="b"/>
                <a:pathLst>
                  <a:path w="88813" h="23863">
                    <a:moveTo>
                      <a:pt x="88814" y="20873"/>
                    </a:moveTo>
                    <a:lnTo>
                      <a:pt x="88156" y="23863"/>
                    </a:lnTo>
                    <a:lnTo>
                      <a:pt x="0" y="2990"/>
                    </a:lnTo>
                    <a:lnTo>
                      <a:pt x="718" y="0"/>
                    </a:lnTo>
                    <a:close/>
                  </a:path>
                </a:pathLst>
              </a:custGeom>
              <a:grpFill/>
              <a:ln w="5978" cap="flat">
                <a:noFill/>
                <a:prstDash val="solid"/>
                <a:miter/>
              </a:ln>
            </p:spPr>
            <p:txBody>
              <a:bodyPr rtlCol="0" anchor="ctr"/>
              <a:lstStyle/>
              <a:p>
                <a:endParaRPr lang="en-GB"/>
              </a:p>
            </p:txBody>
          </p:sp>
          <p:sp>
            <p:nvSpPr>
              <p:cNvPr id="4441" name="Vrije vorm: vorm 4440">
                <a:extLst>
                  <a:ext uri="{FF2B5EF4-FFF2-40B4-BE49-F238E27FC236}">
                    <a16:creationId xmlns:a16="http://schemas.microsoft.com/office/drawing/2014/main" id="{E2C9F0CF-C96E-4135-9C53-7F90EEE41A2C}"/>
                  </a:ext>
                </a:extLst>
              </p:cNvPr>
              <p:cNvSpPr/>
              <p:nvPr/>
            </p:nvSpPr>
            <p:spPr>
              <a:xfrm>
                <a:off x="7766171" y="3815443"/>
                <a:ext cx="18350" cy="18413"/>
              </a:xfrm>
              <a:custGeom>
                <a:avLst/>
                <a:gdLst>
                  <a:gd name="connsiteX0" fmla="*/ 11239 w 18350"/>
                  <a:gd name="connsiteY0" fmla="*/ 237 h 18413"/>
                  <a:gd name="connsiteX1" fmla="*/ 18117 w 18350"/>
                  <a:gd name="connsiteY1" fmla="*/ 11302 h 18413"/>
                  <a:gd name="connsiteX2" fmla="*/ 7112 w 18350"/>
                  <a:gd name="connsiteY2" fmla="*/ 18180 h 18413"/>
                  <a:gd name="connsiteX3" fmla="*/ 234 w 18350"/>
                  <a:gd name="connsiteY3" fmla="*/ 7115 h 18413"/>
                  <a:gd name="connsiteX4" fmla="*/ 11239 w 18350"/>
                  <a:gd name="connsiteY4" fmla="*/ 237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3">
                    <a:moveTo>
                      <a:pt x="11239" y="237"/>
                    </a:moveTo>
                    <a:cubicBezTo>
                      <a:pt x="16143" y="1434"/>
                      <a:pt x="19253" y="6398"/>
                      <a:pt x="18117" y="11302"/>
                    </a:cubicBezTo>
                    <a:cubicBezTo>
                      <a:pt x="16981" y="16206"/>
                      <a:pt x="12076" y="19316"/>
                      <a:pt x="7112" y="18180"/>
                    </a:cubicBezTo>
                    <a:cubicBezTo>
                      <a:pt x="2208" y="16984"/>
                      <a:pt x="-902" y="12020"/>
                      <a:pt x="234" y="7115"/>
                    </a:cubicBezTo>
                    <a:cubicBezTo>
                      <a:pt x="1371" y="2151"/>
                      <a:pt x="6275" y="-899"/>
                      <a:pt x="11239" y="237"/>
                    </a:cubicBezTo>
                    <a:close/>
                  </a:path>
                </a:pathLst>
              </a:custGeom>
              <a:grpFill/>
              <a:ln w="5978" cap="flat">
                <a:noFill/>
                <a:prstDash val="solid"/>
                <a:miter/>
              </a:ln>
            </p:spPr>
            <p:txBody>
              <a:bodyPr rtlCol="0" anchor="ctr"/>
              <a:lstStyle/>
              <a:p>
                <a:endParaRPr lang="en-GB"/>
              </a:p>
            </p:txBody>
          </p:sp>
          <p:sp>
            <p:nvSpPr>
              <p:cNvPr id="4442" name="Vrije vorm: vorm 4441">
                <a:extLst>
                  <a:ext uri="{FF2B5EF4-FFF2-40B4-BE49-F238E27FC236}">
                    <a16:creationId xmlns:a16="http://schemas.microsoft.com/office/drawing/2014/main" id="{41EB6CC2-6D98-45A3-A143-4C56569DE359}"/>
                  </a:ext>
                </a:extLst>
              </p:cNvPr>
              <p:cNvSpPr/>
              <p:nvPr/>
            </p:nvSpPr>
            <p:spPr>
              <a:xfrm>
                <a:off x="7678910" y="3794731"/>
                <a:ext cx="18353" cy="18454"/>
              </a:xfrm>
              <a:custGeom>
                <a:avLst/>
                <a:gdLst>
                  <a:gd name="connsiteX0" fmla="*/ 11242 w 18353"/>
                  <a:gd name="connsiteY0" fmla="*/ 256 h 18454"/>
                  <a:gd name="connsiteX1" fmla="*/ 237 w 18353"/>
                  <a:gd name="connsiteY1" fmla="*/ 7134 h 18454"/>
                  <a:gd name="connsiteX2" fmla="*/ 7115 w 18353"/>
                  <a:gd name="connsiteY2" fmla="*/ 18198 h 18454"/>
                  <a:gd name="connsiteX3" fmla="*/ 18120 w 18353"/>
                  <a:gd name="connsiteY3" fmla="*/ 11320 h 18454"/>
                  <a:gd name="connsiteX4" fmla="*/ 11242 w 18353"/>
                  <a:gd name="connsiteY4" fmla="*/ 256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54">
                    <a:moveTo>
                      <a:pt x="11242" y="256"/>
                    </a:moveTo>
                    <a:cubicBezTo>
                      <a:pt x="6338" y="-940"/>
                      <a:pt x="1373" y="2170"/>
                      <a:pt x="237" y="7134"/>
                    </a:cubicBezTo>
                    <a:cubicBezTo>
                      <a:pt x="-899" y="12098"/>
                      <a:pt x="2151" y="17062"/>
                      <a:pt x="7115" y="18198"/>
                    </a:cubicBezTo>
                    <a:cubicBezTo>
                      <a:pt x="12019" y="19395"/>
                      <a:pt x="16983" y="16285"/>
                      <a:pt x="18120" y="11320"/>
                    </a:cubicBezTo>
                    <a:cubicBezTo>
                      <a:pt x="19256" y="6416"/>
                      <a:pt x="16146" y="1452"/>
                      <a:pt x="11242" y="256"/>
                    </a:cubicBezTo>
                    <a:close/>
                  </a:path>
                </a:pathLst>
              </a:custGeom>
              <a:grpFill/>
              <a:ln w="5978" cap="flat">
                <a:noFill/>
                <a:prstDash val="solid"/>
                <a:miter/>
              </a:ln>
            </p:spPr>
            <p:txBody>
              <a:bodyPr rtlCol="0" anchor="ctr"/>
              <a:lstStyle/>
              <a:p>
                <a:endParaRPr lang="en-GB"/>
              </a:p>
            </p:txBody>
          </p:sp>
        </p:grpSp>
        <p:grpSp>
          <p:nvGrpSpPr>
            <p:cNvPr id="314" name="Graphic 3">
              <a:extLst>
                <a:ext uri="{FF2B5EF4-FFF2-40B4-BE49-F238E27FC236}">
                  <a16:creationId xmlns:a16="http://schemas.microsoft.com/office/drawing/2014/main" id="{D7D2F6B1-30CC-460F-9609-125BA08871E7}"/>
                </a:ext>
              </a:extLst>
            </p:cNvPr>
            <p:cNvGrpSpPr/>
            <p:nvPr/>
          </p:nvGrpSpPr>
          <p:grpSpPr>
            <a:xfrm>
              <a:off x="7585175" y="4129541"/>
              <a:ext cx="604693" cy="340737"/>
              <a:chOff x="7585175" y="4129541"/>
              <a:chExt cx="604693" cy="340737"/>
            </a:xfrm>
            <a:grpFill/>
          </p:grpSpPr>
          <p:sp>
            <p:nvSpPr>
              <p:cNvPr id="4437" name="Vrije vorm: vorm 4436">
                <a:extLst>
                  <a:ext uri="{FF2B5EF4-FFF2-40B4-BE49-F238E27FC236}">
                    <a16:creationId xmlns:a16="http://schemas.microsoft.com/office/drawing/2014/main" id="{DE9C8FBA-741A-41C6-81D6-37A967FA209F}"/>
                  </a:ext>
                </a:extLst>
              </p:cNvPr>
              <p:cNvSpPr/>
              <p:nvPr/>
            </p:nvSpPr>
            <p:spPr>
              <a:xfrm>
                <a:off x="7593204" y="4137144"/>
                <a:ext cx="588622" cy="325471"/>
              </a:xfrm>
              <a:custGeom>
                <a:avLst/>
                <a:gdLst>
                  <a:gd name="connsiteX0" fmla="*/ 588622 w 588622"/>
                  <a:gd name="connsiteY0" fmla="*/ 322780 h 325471"/>
                  <a:gd name="connsiteX1" fmla="*/ 587187 w 588622"/>
                  <a:gd name="connsiteY1" fmla="*/ 325471 h 325471"/>
                  <a:gd name="connsiteX2" fmla="*/ 0 w 588622"/>
                  <a:gd name="connsiteY2" fmla="*/ 2691 h 325471"/>
                  <a:gd name="connsiteX3" fmla="*/ 1435 w 588622"/>
                  <a:gd name="connsiteY3" fmla="*/ 0 h 325471"/>
                </a:gdLst>
                <a:ahLst/>
                <a:cxnLst>
                  <a:cxn ang="0">
                    <a:pos x="connsiteX0" y="connsiteY0"/>
                  </a:cxn>
                  <a:cxn ang="0">
                    <a:pos x="connsiteX1" y="connsiteY1"/>
                  </a:cxn>
                  <a:cxn ang="0">
                    <a:pos x="connsiteX2" y="connsiteY2"/>
                  </a:cxn>
                  <a:cxn ang="0">
                    <a:pos x="connsiteX3" y="connsiteY3"/>
                  </a:cxn>
                </a:cxnLst>
                <a:rect l="l" t="t" r="r" b="b"/>
                <a:pathLst>
                  <a:path w="588622" h="325471">
                    <a:moveTo>
                      <a:pt x="588622" y="322780"/>
                    </a:moveTo>
                    <a:lnTo>
                      <a:pt x="587187" y="325471"/>
                    </a:lnTo>
                    <a:lnTo>
                      <a:pt x="0" y="2691"/>
                    </a:lnTo>
                    <a:lnTo>
                      <a:pt x="1435" y="0"/>
                    </a:lnTo>
                    <a:close/>
                  </a:path>
                </a:pathLst>
              </a:custGeom>
              <a:grpFill/>
              <a:ln w="5978" cap="flat">
                <a:noFill/>
                <a:prstDash val="solid"/>
                <a:miter/>
              </a:ln>
            </p:spPr>
            <p:txBody>
              <a:bodyPr rtlCol="0" anchor="ctr"/>
              <a:lstStyle/>
              <a:p>
                <a:endParaRPr lang="en-GB"/>
              </a:p>
            </p:txBody>
          </p:sp>
          <p:sp>
            <p:nvSpPr>
              <p:cNvPr id="4438" name="Vrije vorm: vorm 4437">
                <a:extLst>
                  <a:ext uri="{FF2B5EF4-FFF2-40B4-BE49-F238E27FC236}">
                    <a16:creationId xmlns:a16="http://schemas.microsoft.com/office/drawing/2014/main" id="{E1C3DFDA-C574-46BE-AD5B-D2F88F36CDF8}"/>
                  </a:ext>
                </a:extLst>
              </p:cNvPr>
              <p:cNvSpPr/>
              <p:nvPr/>
            </p:nvSpPr>
            <p:spPr>
              <a:xfrm>
                <a:off x="7585175" y="4129541"/>
                <a:ext cx="18330" cy="18423"/>
              </a:xfrm>
              <a:custGeom>
                <a:avLst/>
                <a:gdLst>
                  <a:gd name="connsiteX0" fmla="*/ 4800 w 18330"/>
                  <a:gd name="connsiteY0" fmla="*/ 17292 h 18423"/>
                  <a:gd name="connsiteX1" fmla="*/ 1092 w 18330"/>
                  <a:gd name="connsiteY1" fmla="*/ 4792 h 18423"/>
                  <a:gd name="connsiteX2" fmla="*/ 13531 w 18330"/>
                  <a:gd name="connsiteY2" fmla="*/ 1144 h 18423"/>
                  <a:gd name="connsiteX3" fmla="*/ 17239 w 18330"/>
                  <a:gd name="connsiteY3" fmla="*/ 13644 h 18423"/>
                  <a:gd name="connsiteX4" fmla="*/ 4800 w 18330"/>
                  <a:gd name="connsiteY4" fmla="*/ 172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23">
                    <a:moveTo>
                      <a:pt x="4800" y="17292"/>
                    </a:moveTo>
                    <a:cubicBezTo>
                      <a:pt x="374" y="14840"/>
                      <a:pt x="-1301" y="9278"/>
                      <a:pt x="1092" y="4792"/>
                    </a:cubicBezTo>
                    <a:cubicBezTo>
                      <a:pt x="3484" y="307"/>
                      <a:pt x="9046" y="-1308"/>
                      <a:pt x="13531" y="1144"/>
                    </a:cubicBezTo>
                    <a:cubicBezTo>
                      <a:pt x="17957" y="3596"/>
                      <a:pt x="19632" y="9218"/>
                      <a:pt x="17239" y="13644"/>
                    </a:cubicBezTo>
                    <a:cubicBezTo>
                      <a:pt x="14788" y="18069"/>
                      <a:pt x="9225" y="19744"/>
                      <a:pt x="4800" y="17292"/>
                    </a:cubicBezTo>
                    <a:close/>
                  </a:path>
                </a:pathLst>
              </a:custGeom>
              <a:grpFill/>
              <a:ln w="5978" cap="flat">
                <a:noFill/>
                <a:prstDash val="solid"/>
                <a:miter/>
              </a:ln>
            </p:spPr>
            <p:txBody>
              <a:bodyPr rtlCol="0" anchor="ctr"/>
              <a:lstStyle/>
              <a:p>
                <a:endParaRPr lang="en-GB"/>
              </a:p>
            </p:txBody>
          </p:sp>
          <p:sp>
            <p:nvSpPr>
              <p:cNvPr id="4439" name="Vrije vorm: vorm 4438">
                <a:extLst>
                  <a:ext uri="{FF2B5EF4-FFF2-40B4-BE49-F238E27FC236}">
                    <a16:creationId xmlns:a16="http://schemas.microsoft.com/office/drawing/2014/main" id="{04872AB5-FCF5-4CFF-ABDC-02B1FE229C25}"/>
                  </a:ext>
                </a:extLst>
              </p:cNvPr>
              <p:cNvSpPr/>
              <p:nvPr/>
            </p:nvSpPr>
            <p:spPr>
              <a:xfrm>
                <a:off x="8171525" y="4451842"/>
                <a:ext cx="18342" cy="18436"/>
              </a:xfrm>
              <a:custGeom>
                <a:avLst/>
                <a:gdLst>
                  <a:gd name="connsiteX0" fmla="*/ 4800 w 18342"/>
                  <a:gd name="connsiteY0" fmla="*/ 17292 h 18436"/>
                  <a:gd name="connsiteX1" fmla="*/ 17239 w 18342"/>
                  <a:gd name="connsiteY1" fmla="*/ 13644 h 18436"/>
                  <a:gd name="connsiteX2" fmla="*/ 13531 w 18342"/>
                  <a:gd name="connsiteY2" fmla="*/ 1144 h 18436"/>
                  <a:gd name="connsiteX3" fmla="*/ 1092 w 18342"/>
                  <a:gd name="connsiteY3" fmla="*/ 4792 h 18436"/>
                  <a:gd name="connsiteX4" fmla="*/ 4800 w 18342"/>
                  <a:gd name="connsiteY4" fmla="*/ 172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36">
                    <a:moveTo>
                      <a:pt x="4800" y="17292"/>
                    </a:moveTo>
                    <a:cubicBezTo>
                      <a:pt x="9225" y="19744"/>
                      <a:pt x="14787" y="18129"/>
                      <a:pt x="17239" y="13644"/>
                    </a:cubicBezTo>
                    <a:cubicBezTo>
                      <a:pt x="19632" y="9158"/>
                      <a:pt x="18017" y="3596"/>
                      <a:pt x="13531" y="1144"/>
                    </a:cubicBezTo>
                    <a:cubicBezTo>
                      <a:pt x="9106" y="-1308"/>
                      <a:pt x="3543" y="307"/>
                      <a:pt x="1092" y="4792"/>
                    </a:cubicBezTo>
                    <a:cubicBezTo>
                      <a:pt x="-1301" y="9278"/>
                      <a:pt x="374" y="14840"/>
                      <a:pt x="4800" y="17292"/>
                    </a:cubicBezTo>
                    <a:close/>
                  </a:path>
                </a:pathLst>
              </a:custGeom>
              <a:grpFill/>
              <a:ln w="5978" cap="flat">
                <a:noFill/>
                <a:prstDash val="solid"/>
                <a:miter/>
              </a:ln>
            </p:spPr>
            <p:txBody>
              <a:bodyPr rtlCol="0" anchor="ctr"/>
              <a:lstStyle/>
              <a:p>
                <a:endParaRPr lang="en-GB"/>
              </a:p>
            </p:txBody>
          </p:sp>
        </p:grpSp>
        <p:grpSp>
          <p:nvGrpSpPr>
            <p:cNvPr id="315" name="Graphic 3">
              <a:extLst>
                <a:ext uri="{FF2B5EF4-FFF2-40B4-BE49-F238E27FC236}">
                  <a16:creationId xmlns:a16="http://schemas.microsoft.com/office/drawing/2014/main" id="{BAF61CA9-CA20-4165-91A9-2822A43F8CDB}"/>
                </a:ext>
              </a:extLst>
            </p:cNvPr>
            <p:cNvGrpSpPr/>
            <p:nvPr/>
          </p:nvGrpSpPr>
          <p:grpSpPr>
            <a:xfrm>
              <a:off x="7691716" y="4033799"/>
              <a:ext cx="221961" cy="95899"/>
              <a:chOff x="7691716" y="4033799"/>
              <a:chExt cx="221961" cy="95899"/>
            </a:xfrm>
            <a:grpFill/>
          </p:grpSpPr>
          <p:sp>
            <p:nvSpPr>
              <p:cNvPr id="4434" name="Vrije vorm: vorm 4433">
                <a:extLst>
                  <a:ext uri="{FF2B5EF4-FFF2-40B4-BE49-F238E27FC236}">
                    <a16:creationId xmlns:a16="http://schemas.microsoft.com/office/drawing/2014/main" id="{990F6BFF-8004-4308-8035-51E74D314584}"/>
                  </a:ext>
                </a:extLst>
              </p:cNvPr>
              <p:cNvSpPr/>
              <p:nvPr/>
            </p:nvSpPr>
            <p:spPr>
              <a:xfrm>
                <a:off x="7699960" y="4041453"/>
                <a:ext cx="205557" cy="80620"/>
              </a:xfrm>
              <a:custGeom>
                <a:avLst/>
                <a:gdLst>
                  <a:gd name="connsiteX0" fmla="*/ 205557 w 205557"/>
                  <a:gd name="connsiteY0" fmla="*/ 77749 h 80620"/>
                  <a:gd name="connsiteX1" fmla="*/ 204481 w 205557"/>
                  <a:gd name="connsiteY1" fmla="*/ 80620 h 80620"/>
                  <a:gd name="connsiteX2" fmla="*/ 0 w 205557"/>
                  <a:gd name="connsiteY2" fmla="*/ 2811 h 80620"/>
                  <a:gd name="connsiteX3" fmla="*/ 1017 w 205557"/>
                  <a:gd name="connsiteY3" fmla="*/ 0 h 80620"/>
                </a:gdLst>
                <a:ahLst/>
                <a:cxnLst>
                  <a:cxn ang="0">
                    <a:pos x="connsiteX0" y="connsiteY0"/>
                  </a:cxn>
                  <a:cxn ang="0">
                    <a:pos x="connsiteX1" y="connsiteY1"/>
                  </a:cxn>
                  <a:cxn ang="0">
                    <a:pos x="connsiteX2" y="connsiteY2"/>
                  </a:cxn>
                  <a:cxn ang="0">
                    <a:pos x="connsiteX3" y="connsiteY3"/>
                  </a:cxn>
                </a:cxnLst>
                <a:rect l="l" t="t" r="r" b="b"/>
                <a:pathLst>
                  <a:path w="205557" h="80620">
                    <a:moveTo>
                      <a:pt x="205557" y="77749"/>
                    </a:moveTo>
                    <a:lnTo>
                      <a:pt x="204481" y="80620"/>
                    </a:lnTo>
                    <a:lnTo>
                      <a:pt x="0" y="2811"/>
                    </a:lnTo>
                    <a:lnTo>
                      <a:pt x="1017" y="0"/>
                    </a:lnTo>
                    <a:close/>
                  </a:path>
                </a:pathLst>
              </a:custGeom>
              <a:grpFill/>
              <a:ln w="5978" cap="flat">
                <a:noFill/>
                <a:prstDash val="solid"/>
                <a:miter/>
              </a:ln>
            </p:spPr>
            <p:txBody>
              <a:bodyPr rtlCol="0" anchor="ctr"/>
              <a:lstStyle/>
              <a:p>
                <a:endParaRPr lang="en-GB"/>
              </a:p>
            </p:txBody>
          </p:sp>
          <p:sp>
            <p:nvSpPr>
              <p:cNvPr id="4435" name="Vrije vorm: vorm 4434">
                <a:extLst>
                  <a:ext uri="{FF2B5EF4-FFF2-40B4-BE49-F238E27FC236}">
                    <a16:creationId xmlns:a16="http://schemas.microsoft.com/office/drawing/2014/main" id="{BA301B6D-B5F2-4878-A1BF-DF093BCC5CA4}"/>
                  </a:ext>
                </a:extLst>
              </p:cNvPr>
              <p:cNvSpPr/>
              <p:nvPr/>
            </p:nvSpPr>
            <p:spPr>
              <a:xfrm>
                <a:off x="7895384" y="4111249"/>
                <a:ext cx="18293" cy="18448"/>
              </a:xfrm>
              <a:custGeom>
                <a:avLst/>
                <a:gdLst>
                  <a:gd name="connsiteX0" fmla="*/ 12347 w 18293"/>
                  <a:gd name="connsiteY0" fmla="*/ 596 h 18448"/>
                  <a:gd name="connsiteX1" fmla="*/ 17729 w 18293"/>
                  <a:gd name="connsiteY1" fmla="*/ 12498 h 18448"/>
                  <a:gd name="connsiteX2" fmla="*/ 5948 w 18293"/>
                  <a:gd name="connsiteY2" fmla="*/ 17821 h 18448"/>
                  <a:gd name="connsiteX3" fmla="*/ 565 w 18293"/>
                  <a:gd name="connsiteY3" fmla="*/ 5919 h 18448"/>
                  <a:gd name="connsiteX4" fmla="*/ 12347 w 18293"/>
                  <a:gd name="connsiteY4" fmla="*/ 59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48">
                    <a:moveTo>
                      <a:pt x="12347" y="596"/>
                    </a:moveTo>
                    <a:cubicBezTo>
                      <a:pt x="17072" y="2391"/>
                      <a:pt x="19463" y="7713"/>
                      <a:pt x="17729" y="12498"/>
                    </a:cubicBezTo>
                    <a:cubicBezTo>
                      <a:pt x="15935" y="17282"/>
                      <a:pt x="10672" y="19675"/>
                      <a:pt x="5948" y="17821"/>
                    </a:cubicBezTo>
                    <a:cubicBezTo>
                      <a:pt x="1223" y="16027"/>
                      <a:pt x="-1170" y="10704"/>
                      <a:pt x="565" y="5919"/>
                    </a:cubicBezTo>
                    <a:cubicBezTo>
                      <a:pt x="2359" y="1194"/>
                      <a:pt x="7622" y="-1198"/>
                      <a:pt x="12347" y="596"/>
                    </a:cubicBezTo>
                    <a:close/>
                  </a:path>
                </a:pathLst>
              </a:custGeom>
              <a:grpFill/>
              <a:ln w="5978" cap="flat">
                <a:noFill/>
                <a:prstDash val="solid"/>
                <a:miter/>
              </a:ln>
            </p:spPr>
            <p:txBody>
              <a:bodyPr rtlCol="0" anchor="ctr"/>
              <a:lstStyle/>
              <a:p>
                <a:endParaRPr lang="en-GB"/>
              </a:p>
            </p:txBody>
          </p:sp>
          <p:sp>
            <p:nvSpPr>
              <p:cNvPr id="4436" name="Vrije vorm: vorm 4435">
                <a:extLst>
                  <a:ext uri="{FF2B5EF4-FFF2-40B4-BE49-F238E27FC236}">
                    <a16:creationId xmlns:a16="http://schemas.microsoft.com/office/drawing/2014/main" id="{882727DA-99F3-49EB-BDDC-541EF48F5749}"/>
                  </a:ext>
                </a:extLst>
              </p:cNvPr>
              <p:cNvSpPr/>
              <p:nvPr/>
            </p:nvSpPr>
            <p:spPr>
              <a:xfrm>
                <a:off x="7691716" y="4033799"/>
                <a:ext cx="18349" cy="18417"/>
              </a:xfrm>
              <a:custGeom>
                <a:avLst/>
                <a:gdLst>
                  <a:gd name="connsiteX0" fmla="*/ 12370 w 18349"/>
                  <a:gd name="connsiteY0" fmla="*/ 596 h 18417"/>
                  <a:gd name="connsiteX1" fmla="*/ 589 w 18349"/>
                  <a:gd name="connsiteY1" fmla="*/ 5919 h 18417"/>
                  <a:gd name="connsiteX2" fmla="*/ 5971 w 18349"/>
                  <a:gd name="connsiteY2" fmla="*/ 17821 h 18417"/>
                  <a:gd name="connsiteX3" fmla="*/ 17753 w 18349"/>
                  <a:gd name="connsiteY3" fmla="*/ 12498 h 18417"/>
                  <a:gd name="connsiteX4" fmla="*/ 12370 w 18349"/>
                  <a:gd name="connsiteY4" fmla="*/ 596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7">
                    <a:moveTo>
                      <a:pt x="12370" y="596"/>
                    </a:moveTo>
                    <a:cubicBezTo>
                      <a:pt x="7646" y="-1198"/>
                      <a:pt x="2323" y="1195"/>
                      <a:pt x="589" y="5919"/>
                    </a:cubicBezTo>
                    <a:cubicBezTo>
                      <a:pt x="-1205" y="10704"/>
                      <a:pt x="1246" y="15967"/>
                      <a:pt x="5971" y="17821"/>
                    </a:cubicBezTo>
                    <a:cubicBezTo>
                      <a:pt x="10696" y="19615"/>
                      <a:pt x="16019" y="17223"/>
                      <a:pt x="17753" y="12498"/>
                    </a:cubicBezTo>
                    <a:cubicBezTo>
                      <a:pt x="19548" y="7713"/>
                      <a:pt x="17155" y="2390"/>
                      <a:pt x="12370" y="596"/>
                    </a:cubicBezTo>
                    <a:close/>
                  </a:path>
                </a:pathLst>
              </a:custGeom>
              <a:grpFill/>
              <a:ln w="5978" cap="flat">
                <a:noFill/>
                <a:prstDash val="solid"/>
                <a:miter/>
              </a:ln>
            </p:spPr>
            <p:txBody>
              <a:bodyPr rtlCol="0" anchor="ctr"/>
              <a:lstStyle/>
              <a:p>
                <a:endParaRPr lang="en-GB"/>
              </a:p>
            </p:txBody>
          </p:sp>
        </p:grpSp>
        <p:grpSp>
          <p:nvGrpSpPr>
            <p:cNvPr id="316" name="Graphic 3">
              <a:extLst>
                <a:ext uri="{FF2B5EF4-FFF2-40B4-BE49-F238E27FC236}">
                  <a16:creationId xmlns:a16="http://schemas.microsoft.com/office/drawing/2014/main" id="{CCF2E58A-506D-498B-979F-C0FF27D83501}"/>
                </a:ext>
              </a:extLst>
            </p:cNvPr>
            <p:cNvGrpSpPr/>
            <p:nvPr/>
          </p:nvGrpSpPr>
          <p:grpSpPr>
            <a:xfrm>
              <a:off x="6896082" y="1617218"/>
              <a:ext cx="260556" cy="357905"/>
              <a:chOff x="6896082" y="1617218"/>
              <a:chExt cx="260556" cy="357905"/>
            </a:xfrm>
            <a:grpFill/>
          </p:grpSpPr>
          <p:sp>
            <p:nvSpPr>
              <p:cNvPr id="4431" name="Vrije vorm: vorm 4430">
                <a:extLst>
                  <a:ext uri="{FF2B5EF4-FFF2-40B4-BE49-F238E27FC236}">
                    <a16:creationId xmlns:a16="http://schemas.microsoft.com/office/drawing/2014/main" id="{823FE561-4DA5-4B18-84C4-3A91618453A1}"/>
                  </a:ext>
                </a:extLst>
              </p:cNvPr>
              <p:cNvSpPr/>
              <p:nvPr/>
            </p:nvSpPr>
            <p:spPr>
              <a:xfrm>
                <a:off x="6903746" y="1625182"/>
                <a:ext cx="245209" cy="341977"/>
              </a:xfrm>
              <a:custGeom>
                <a:avLst/>
                <a:gdLst>
                  <a:gd name="connsiteX0" fmla="*/ 245210 w 245209"/>
                  <a:gd name="connsiteY0" fmla="*/ 1794 h 341977"/>
                  <a:gd name="connsiteX1" fmla="*/ 2452 w 245209"/>
                  <a:gd name="connsiteY1" fmla="*/ 341978 h 341977"/>
                  <a:gd name="connsiteX2" fmla="*/ 0 w 245209"/>
                  <a:gd name="connsiteY2" fmla="*/ 340183 h 341977"/>
                  <a:gd name="connsiteX3" fmla="*/ 242757 w 245209"/>
                  <a:gd name="connsiteY3" fmla="*/ 0 h 341977"/>
                </a:gdLst>
                <a:ahLst/>
                <a:cxnLst>
                  <a:cxn ang="0">
                    <a:pos x="connsiteX0" y="connsiteY0"/>
                  </a:cxn>
                  <a:cxn ang="0">
                    <a:pos x="connsiteX1" y="connsiteY1"/>
                  </a:cxn>
                  <a:cxn ang="0">
                    <a:pos x="connsiteX2" y="connsiteY2"/>
                  </a:cxn>
                  <a:cxn ang="0">
                    <a:pos x="connsiteX3" y="connsiteY3"/>
                  </a:cxn>
                </a:cxnLst>
                <a:rect l="l" t="t" r="r" b="b"/>
                <a:pathLst>
                  <a:path w="245209" h="341977">
                    <a:moveTo>
                      <a:pt x="245210" y="1794"/>
                    </a:moveTo>
                    <a:lnTo>
                      <a:pt x="2452" y="341978"/>
                    </a:lnTo>
                    <a:lnTo>
                      <a:pt x="0" y="340183"/>
                    </a:lnTo>
                    <a:lnTo>
                      <a:pt x="242757" y="0"/>
                    </a:lnTo>
                    <a:close/>
                  </a:path>
                </a:pathLst>
              </a:custGeom>
              <a:grpFill/>
              <a:ln w="5978" cap="flat">
                <a:noFill/>
                <a:prstDash val="solid"/>
                <a:miter/>
              </a:ln>
            </p:spPr>
            <p:txBody>
              <a:bodyPr rtlCol="0" anchor="ctr"/>
              <a:lstStyle/>
              <a:p>
                <a:endParaRPr lang="en-GB"/>
              </a:p>
            </p:txBody>
          </p:sp>
          <p:sp>
            <p:nvSpPr>
              <p:cNvPr id="4432" name="Vrije vorm: vorm 4431">
                <a:extLst>
                  <a:ext uri="{FF2B5EF4-FFF2-40B4-BE49-F238E27FC236}">
                    <a16:creationId xmlns:a16="http://schemas.microsoft.com/office/drawing/2014/main" id="{CEC5E3F8-98D4-4041-8F1C-FA3BBB0D2BB1}"/>
                  </a:ext>
                </a:extLst>
              </p:cNvPr>
              <p:cNvSpPr/>
              <p:nvPr/>
            </p:nvSpPr>
            <p:spPr>
              <a:xfrm>
                <a:off x="6896082" y="1956683"/>
                <a:ext cx="18336" cy="18439"/>
              </a:xfrm>
              <a:custGeom>
                <a:avLst/>
                <a:gdLst>
                  <a:gd name="connsiteX0" fmla="*/ 16636 w 18336"/>
                  <a:gd name="connsiteY0" fmla="*/ 14602 h 18439"/>
                  <a:gd name="connsiteX1" fmla="*/ 3837 w 18336"/>
                  <a:gd name="connsiteY1" fmla="*/ 16696 h 18439"/>
                  <a:gd name="connsiteX2" fmla="*/ 1744 w 18336"/>
                  <a:gd name="connsiteY2" fmla="*/ 3837 h 18439"/>
                  <a:gd name="connsiteX3" fmla="*/ 14543 w 18336"/>
                  <a:gd name="connsiteY3" fmla="*/ 1744 h 18439"/>
                  <a:gd name="connsiteX4" fmla="*/ 16636 w 18336"/>
                  <a:gd name="connsiteY4" fmla="*/ 14602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39">
                    <a:moveTo>
                      <a:pt x="16636" y="14602"/>
                    </a:moveTo>
                    <a:cubicBezTo>
                      <a:pt x="13705" y="18729"/>
                      <a:pt x="7964" y="19686"/>
                      <a:pt x="3837" y="16696"/>
                    </a:cubicBezTo>
                    <a:cubicBezTo>
                      <a:pt x="-289" y="13705"/>
                      <a:pt x="-1247" y="7964"/>
                      <a:pt x="1744" y="3837"/>
                    </a:cubicBezTo>
                    <a:cubicBezTo>
                      <a:pt x="4674" y="-290"/>
                      <a:pt x="10416" y="-1246"/>
                      <a:pt x="14543" y="1744"/>
                    </a:cubicBezTo>
                    <a:cubicBezTo>
                      <a:pt x="18609" y="4674"/>
                      <a:pt x="19566" y="10476"/>
                      <a:pt x="16636" y="14602"/>
                    </a:cubicBezTo>
                    <a:close/>
                  </a:path>
                </a:pathLst>
              </a:custGeom>
              <a:grpFill/>
              <a:ln w="5978" cap="flat">
                <a:noFill/>
                <a:prstDash val="solid"/>
                <a:miter/>
              </a:ln>
            </p:spPr>
            <p:txBody>
              <a:bodyPr rtlCol="0" anchor="ctr"/>
              <a:lstStyle/>
              <a:p>
                <a:endParaRPr lang="en-GB"/>
              </a:p>
            </p:txBody>
          </p:sp>
          <p:sp>
            <p:nvSpPr>
              <p:cNvPr id="4433" name="Vrije vorm: vorm 4432">
                <a:extLst>
                  <a:ext uri="{FF2B5EF4-FFF2-40B4-BE49-F238E27FC236}">
                    <a16:creationId xmlns:a16="http://schemas.microsoft.com/office/drawing/2014/main" id="{2C6C267C-BF67-4EBD-9A8D-EB714A5DDD17}"/>
                  </a:ext>
                </a:extLst>
              </p:cNvPr>
              <p:cNvSpPr/>
              <p:nvPr/>
            </p:nvSpPr>
            <p:spPr>
              <a:xfrm>
                <a:off x="7138344" y="1617218"/>
                <a:ext cx="18293" cy="18439"/>
              </a:xfrm>
              <a:custGeom>
                <a:avLst/>
                <a:gdLst>
                  <a:gd name="connsiteX0" fmla="*/ 16593 w 18293"/>
                  <a:gd name="connsiteY0" fmla="*/ 14602 h 18439"/>
                  <a:gd name="connsiteX1" fmla="*/ 14500 w 18293"/>
                  <a:gd name="connsiteY1" fmla="*/ 1744 h 18439"/>
                  <a:gd name="connsiteX2" fmla="*/ 1701 w 18293"/>
                  <a:gd name="connsiteY2" fmla="*/ 3837 h 18439"/>
                  <a:gd name="connsiteX3" fmla="*/ 3794 w 18293"/>
                  <a:gd name="connsiteY3" fmla="*/ 16696 h 18439"/>
                  <a:gd name="connsiteX4" fmla="*/ 16593 w 18293"/>
                  <a:gd name="connsiteY4" fmla="*/ 14602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39">
                    <a:moveTo>
                      <a:pt x="16593" y="14602"/>
                    </a:moveTo>
                    <a:cubicBezTo>
                      <a:pt x="19523" y="10476"/>
                      <a:pt x="18566" y="4734"/>
                      <a:pt x="14500" y="1744"/>
                    </a:cubicBezTo>
                    <a:cubicBezTo>
                      <a:pt x="10373" y="-1246"/>
                      <a:pt x="4631" y="-290"/>
                      <a:pt x="1701" y="3837"/>
                    </a:cubicBezTo>
                    <a:cubicBezTo>
                      <a:pt x="-1230" y="7964"/>
                      <a:pt x="-272" y="13705"/>
                      <a:pt x="3794" y="16696"/>
                    </a:cubicBezTo>
                    <a:cubicBezTo>
                      <a:pt x="7921" y="19686"/>
                      <a:pt x="13662" y="18729"/>
                      <a:pt x="16593" y="14602"/>
                    </a:cubicBezTo>
                    <a:close/>
                  </a:path>
                </a:pathLst>
              </a:custGeom>
              <a:grpFill/>
              <a:ln w="5978" cap="flat">
                <a:noFill/>
                <a:prstDash val="solid"/>
                <a:miter/>
              </a:ln>
            </p:spPr>
            <p:txBody>
              <a:bodyPr rtlCol="0" anchor="ctr"/>
              <a:lstStyle/>
              <a:p>
                <a:endParaRPr lang="en-GB"/>
              </a:p>
            </p:txBody>
          </p:sp>
        </p:grpSp>
        <p:grpSp>
          <p:nvGrpSpPr>
            <p:cNvPr id="317" name="Graphic 3">
              <a:extLst>
                <a:ext uri="{FF2B5EF4-FFF2-40B4-BE49-F238E27FC236}">
                  <a16:creationId xmlns:a16="http://schemas.microsoft.com/office/drawing/2014/main" id="{710C9B0A-C72F-4D07-9748-521DD2F7842F}"/>
                </a:ext>
              </a:extLst>
            </p:cNvPr>
            <p:cNvGrpSpPr/>
            <p:nvPr/>
          </p:nvGrpSpPr>
          <p:grpSpPr>
            <a:xfrm>
              <a:off x="6842762" y="1463019"/>
              <a:ext cx="310735" cy="478403"/>
              <a:chOff x="6842762" y="1463019"/>
              <a:chExt cx="310735" cy="478403"/>
            </a:xfrm>
            <a:grpFill/>
          </p:grpSpPr>
          <p:sp>
            <p:nvSpPr>
              <p:cNvPr id="4428" name="Vrije vorm: vorm 4427">
                <a:extLst>
                  <a:ext uri="{FF2B5EF4-FFF2-40B4-BE49-F238E27FC236}">
                    <a16:creationId xmlns:a16="http://schemas.microsoft.com/office/drawing/2014/main" id="{400E0DEE-55D2-48D4-9D15-ABD7B25B2741}"/>
                  </a:ext>
                </a:extLst>
              </p:cNvPr>
              <p:cNvSpPr/>
              <p:nvPr/>
            </p:nvSpPr>
            <p:spPr>
              <a:xfrm>
                <a:off x="6850398" y="1470999"/>
                <a:ext cx="295507" cy="462429"/>
              </a:xfrm>
              <a:custGeom>
                <a:avLst/>
                <a:gdLst>
                  <a:gd name="connsiteX0" fmla="*/ 295508 w 295507"/>
                  <a:gd name="connsiteY0" fmla="*/ 1675 h 462429"/>
                  <a:gd name="connsiteX1" fmla="*/ 2572 w 295507"/>
                  <a:gd name="connsiteY1" fmla="*/ 462429 h 462429"/>
                  <a:gd name="connsiteX2" fmla="*/ 0 w 295507"/>
                  <a:gd name="connsiteY2" fmla="*/ 460815 h 462429"/>
                  <a:gd name="connsiteX3" fmla="*/ 292936 w 295507"/>
                  <a:gd name="connsiteY3" fmla="*/ 0 h 462429"/>
                </a:gdLst>
                <a:ahLst/>
                <a:cxnLst>
                  <a:cxn ang="0">
                    <a:pos x="connsiteX0" y="connsiteY0"/>
                  </a:cxn>
                  <a:cxn ang="0">
                    <a:pos x="connsiteX1" y="connsiteY1"/>
                  </a:cxn>
                  <a:cxn ang="0">
                    <a:pos x="connsiteX2" y="connsiteY2"/>
                  </a:cxn>
                  <a:cxn ang="0">
                    <a:pos x="connsiteX3" y="connsiteY3"/>
                  </a:cxn>
                </a:cxnLst>
                <a:rect l="l" t="t" r="r" b="b"/>
                <a:pathLst>
                  <a:path w="295507" h="462429">
                    <a:moveTo>
                      <a:pt x="295508" y="1675"/>
                    </a:moveTo>
                    <a:lnTo>
                      <a:pt x="2572" y="462429"/>
                    </a:lnTo>
                    <a:lnTo>
                      <a:pt x="0" y="460815"/>
                    </a:lnTo>
                    <a:lnTo>
                      <a:pt x="292936" y="0"/>
                    </a:lnTo>
                    <a:close/>
                  </a:path>
                </a:pathLst>
              </a:custGeom>
              <a:grpFill/>
              <a:ln w="5978" cap="flat">
                <a:noFill/>
                <a:prstDash val="solid"/>
                <a:miter/>
              </a:ln>
            </p:spPr>
            <p:txBody>
              <a:bodyPr rtlCol="0" anchor="ctr"/>
              <a:lstStyle/>
              <a:p>
                <a:endParaRPr lang="en-GB"/>
              </a:p>
            </p:txBody>
          </p:sp>
          <p:sp>
            <p:nvSpPr>
              <p:cNvPr id="4429" name="Vrije vorm: vorm 4428">
                <a:extLst>
                  <a:ext uri="{FF2B5EF4-FFF2-40B4-BE49-F238E27FC236}">
                    <a16:creationId xmlns:a16="http://schemas.microsoft.com/office/drawing/2014/main" id="{7F8BE23E-4DCB-4748-BD91-9F9132C86EA4}"/>
                  </a:ext>
                </a:extLst>
              </p:cNvPr>
              <p:cNvSpPr/>
              <p:nvPr/>
            </p:nvSpPr>
            <p:spPr>
              <a:xfrm>
                <a:off x="6842762" y="1922981"/>
                <a:ext cx="18323" cy="18441"/>
              </a:xfrm>
              <a:custGeom>
                <a:avLst/>
                <a:gdLst>
                  <a:gd name="connsiteX0" fmla="*/ 16907 w 18323"/>
                  <a:gd name="connsiteY0" fmla="*/ 14215 h 18441"/>
                  <a:gd name="connsiteX1" fmla="*/ 4228 w 18323"/>
                  <a:gd name="connsiteY1" fmla="*/ 16966 h 18441"/>
                  <a:gd name="connsiteX2" fmla="*/ 1417 w 18323"/>
                  <a:gd name="connsiteY2" fmla="*/ 4227 h 18441"/>
                  <a:gd name="connsiteX3" fmla="*/ 14096 w 18323"/>
                  <a:gd name="connsiteY3" fmla="*/ 1476 h 18441"/>
                  <a:gd name="connsiteX4" fmla="*/ 16907 w 18323"/>
                  <a:gd name="connsiteY4" fmla="*/ 1421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1">
                    <a:moveTo>
                      <a:pt x="16907" y="14215"/>
                    </a:moveTo>
                    <a:cubicBezTo>
                      <a:pt x="14216" y="18521"/>
                      <a:pt x="8534" y="19717"/>
                      <a:pt x="4228" y="16966"/>
                    </a:cubicBezTo>
                    <a:cubicBezTo>
                      <a:pt x="-18" y="14215"/>
                      <a:pt x="-1275" y="8533"/>
                      <a:pt x="1417" y="4227"/>
                    </a:cubicBezTo>
                    <a:cubicBezTo>
                      <a:pt x="4108" y="-79"/>
                      <a:pt x="9789" y="-1275"/>
                      <a:pt x="14096" y="1476"/>
                    </a:cubicBezTo>
                    <a:cubicBezTo>
                      <a:pt x="18342" y="4227"/>
                      <a:pt x="19598" y="9968"/>
                      <a:pt x="16907" y="14215"/>
                    </a:cubicBezTo>
                    <a:close/>
                  </a:path>
                </a:pathLst>
              </a:custGeom>
              <a:grpFill/>
              <a:ln w="5978" cap="flat">
                <a:noFill/>
                <a:prstDash val="solid"/>
                <a:miter/>
              </a:ln>
            </p:spPr>
            <p:txBody>
              <a:bodyPr rtlCol="0" anchor="ctr"/>
              <a:lstStyle/>
              <a:p>
                <a:endParaRPr lang="en-GB"/>
              </a:p>
            </p:txBody>
          </p:sp>
          <p:sp>
            <p:nvSpPr>
              <p:cNvPr id="4430" name="Vrije vorm: vorm 4429">
                <a:extLst>
                  <a:ext uri="{FF2B5EF4-FFF2-40B4-BE49-F238E27FC236}">
                    <a16:creationId xmlns:a16="http://schemas.microsoft.com/office/drawing/2014/main" id="{42787296-37B5-46BA-A866-A83CD1EAE9BD}"/>
                  </a:ext>
                </a:extLst>
              </p:cNvPr>
              <p:cNvSpPr/>
              <p:nvPr/>
            </p:nvSpPr>
            <p:spPr>
              <a:xfrm>
                <a:off x="7135159" y="1463019"/>
                <a:ext cx="18338" cy="18411"/>
              </a:xfrm>
              <a:custGeom>
                <a:avLst/>
                <a:gdLst>
                  <a:gd name="connsiteX0" fmla="*/ 16907 w 18338"/>
                  <a:gd name="connsiteY0" fmla="*/ 14200 h 18411"/>
                  <a:gd name="connsiteX1" fmla="*/ 14096 w 18338"/>
                  <a:gd name="connsiteY1" fmla="*/ 1461 h 18411"/>
                  <a:gd name="connsiteX2" fmla="*/ 1417 w 18338"/>
                  <a:gd name="connsiteY2" fmla="*/ 4212 h 18411"/>
                  <a:gd name="connsiteX3" fmla="*/ 4228 w 18338"/>
                  <a:gd name="connsiteY3" fmla="*/ 16951 h 18411"/>
                  <a:gd name="connsiteX4" fmla="*/ 16907 w 18338"/>
                  <a:gd name="connsiteY4" fmla="*/ 1420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1">
                    <a:moveTo>
                      <a:pt x="16907" y="14200"/>
                    </a:moveTo>
                    <a:cubicBezTo>
                      <a:pt x="19598" y="9893"/>
                      <a:pt x="18402" y="4212"/>
                      <a:pt x="14096" y="1461"/>
                    </a:cubicBezTo>
                    <a:cubicBezTo>
                      <a:pt x="9849" y="-1290"/>
                      <a:pt x="4168" y="-34"/>
                      <a:pt x="1417" y="4212"/>
                    </a:cubicBezTo>
                    <a:cubicBezTo>
                      <a:pt x="-1275" y="8518"/>
                      <a:pt x="-19" y="14200"/>
                      <a:pt x="4228" y="16951"/>
                    </a:cubicBezTo>
                    <a:cubicBezTo>
                      <a:pt x="8474" y="19702"/>
                      <a:pt x="14215" y="18446"/>
                      <a:pt x="16907" y="14200"/>
                    </a:cubicBezTo>
                    <a:close/>
                  </a:path>
                </a:pathLst>
              </a:custGeom>
              <a:grpFill/>
              <a:ln w="5978" cap="flat">
                <a:noFill/>
                <a:prstDash val="solid"/>
                <a:miter/>
              </a:ln>
            </p:spPr>
            <p:txBody>
              <a:bodyPr rtlCol="0" anchor="ctr"/>
              <a:lstStyle/>
              <a:p>
                <a:endParaRPr lang="en-GB"/>
              </a:p>
            </p:txBody>
          </p:sp>
        </p:grpSp>
        <p:grpSp>
          <p:nvGrpSpPr>
            <p:cNvPr id="318" name="Graphic 3">
              <a:extLst>
                <a:ext uri="{FF2B5EF4-FFF2-40B4-BE49-F238E27FC236}">
                  <a16:creationId xmlns:a16="http://schemas.microsoft.com/office/drawing/2014/main" id="{03CFB0DF-10A8-45C2-83CD-3A2A866770D9}"/>
                </a:ext>
              </a:extLst>
            </p:cNvPr>
            <p:cNvGrpSpPr/>
            <p:nvPr/>
          </p:nvGrpSpPr>
          <p:grpSpPr>
            <a:xfrm>
              <a:off x="7078484" y="2020919"/>
              <a:ext cx="62536" cy="75406"/>
              <a:chOff x="7078484" y="2020919"/>
              <a:chExt cx="62536" cy="75406"/>
            </a:xfrm>
            <a:grpFill/>
          </p:grpSpPr>
          <p:sp>
            <p:nvSpPr>
              <p:cNvPr id="4425" name="Vrije vorm: vorm 4424">
                <a:extLst>
                  <a:ext uri="{FF2B5EF4-FFF2-40B4-BE49-F238E27FC236}">
                    <a16:creationId xmlns:a16="http://schemas.microsoft.com/office/drawing/2014/main" id="{669E29B4-04E0-4398-9002-604F7DBC2E8B}"/>
                  </a:ext>
                </a:extLst>
              </p:cNvPr>
              <p:cNvSpPr/>
              <p:nvPr/>
            </p:nvSpPr>
            <p:spPr>
              <a:xfrm>
                <a:off x="7086158" y="2028820"/>
                <a:ext cx="47187" cy="59627"/>
              </a:xfrm>
              <a:custGeom>
                <a:avLst/>
                <a:gdLst>
                  <a:gd name="connsiteX0" fmla="*/ 47188 w 47187"/>
                  <a:gd name="connsiteY0" fmla="*/ 1914 h 59627"/>
                  <a:gd name="connsiteX1" fmla="*/ 2392 w 47187"/>
                  <a:gd name="connsiteY1" fmla="*/ 59628 h 59627"/>
                  <a:gd name="connsiteX2" fmla="*/ 0 w 47187"/>
                  <a:gd name="connsiteY2" fmla="*/ 57714 h 59627"/>
                  <a:gd name="connsiteX3" fmla="*/ 44796 w 47187"/>
                  <a:gd name="connsiteY3" fmla="*/ 0 h 59627"/>
                </a:gdLst>
                <a:ahLst/>
                <a:cxnLst>
                  <a:cxn ang="0">
                    <a:pos x="connsiteX0" y="connsiteY0"/>
                  </a:cxn>
                  <a:cxn ang="0">
                    <a:pos x="connsiteX1" y="connsiteY1"/>
                  </a:cxn>
                  <a:cxn ang="0">
                    <a:pos x="connsiteX2" y="connsiteY2"/>
                  </a:cxn>
                  <a:cxn ang="0">
                    <a:pos x="connsiteX3" y="connsiteY3"/>
                  </a:cxn>
                </a:cxnLst>
                <a:rect l="l" t="t" r="r" b="b"/>
                <a:pathLst>
                  <a:path w="47187" h="59627">
                    <a:moveTo>
                      <a:pt x="47188" y="1914"/>
                    </a:moveTo>
                    <a:lnTo>
                      <a:pt x="2392" y="59628"/>
                    </a:lnTo>
                    <a:lnTo>
                      <a:pt x="0" y="57714"/>
                    </a:lnTo>
                    <a:lnTo>
                      <a:pt x="44796" y="0"/>
                    </a:lnTo>
                    <a:close/>
                  </a:path>
                </a:pathLst>
              </a:custGeom>
              <a:grpFill/>
              <a:ln w="5978" cap="flat">
                <a:noFill/>
                <a:prstDash val="solid"/>
                <a:miter/>
              </a:ln>
            </p:spPr>
            <p:txBody>
              <a:bodyPr rtlCol="0" anchor="ctr"/>
              <a:lstStyle/>
              <a:p>
                <a:endParaRPr lang="en-GB"/>
              </a:p>
            </p:txBody>
          </p:sp>
          <p:sp>
            <p:nvSpPr>
              <p:cNvPr id="4426" name="Vrije vorm: vorm 4425">
                <a:extLst>
                  <a:ext uri="{FF2B5EF4-FFF2-40B4-BE49-F238E27FC236}">
                    <a16:creationId xmlns:a16="http://schemas.microsoft.com/office/drawing/2014/main" id="{329FCDF0-B686-4504-854C-D416A092C807}"/>
                  </a:ext>
                </a:extLst>
              </p:cNvPr>
              <p:cNvSpPr/>
              <p:nvPr/>
            </p:nvSpPr>
            <p:spPr>
              <a:xfrm>
                <a:off x="7122682" y="2020919"/>
                <a:ext cx="18338" cy="18435"/>
              </a:xfrm>
              <a:custGeom>
                <a:avLst/>
                <a:gdLst>
                  <a:gd name="connsiteX0" fmla="*/ 1933 w 18338"/>
                  <a:gd name="connsiteY0" fmla="*/ 3536 h 18435"/>
                  <a:gd name="connsiteX1" fmla="*/ 14791 w 18338"/>
                  <a:gd name="connsiteY1" fmla="*/ 1981 h 18435"/>
                  <a:gd name="connsiteX2" fmla="*/ 16406 w 18338"/>
                  <a:gd name="connsiteY2" fmla="*/ 14899 h 18435"/>
                  <a:gd name="connsiteX3" fmla="*/ 3547 w 18338"/>
                  <a:gd name="connsiteY3" fmla="*/ 16454 h 18435"/>
                  <a:gd name="connsiteX4" fmla="*/ 1933 w 18338"/>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5">
                    <a:moveTo>
                      <a:pt x="1933" y="3536"/>
                    </a:moveTo>
                    <a:cubicBezTo>
                      <a:pt x="5042" y="-471"/>
                      <a:pt x="10784" y="-1189"/>
                      <a:pt x="14791" y="1981"/>
                    </a:cubicBezTo>
                    <a:cubicBezTo>
                      <a:pt x="18798" y="5091"/>
                      <a:pt x="19516" y="10892"/>
                      <a:pt x="16406" y="14899"/>
                    </a:cubicBezTo>
                    <a:cubicBezTo>
                      <a:pt x="13296" y="18906"/>
                      <a:pt x="7555" y="19624"/>
                      <a:pt x="3547" y="16454"/>
                    </a:cubicBezTo>
                    <a:cubicBezTo>
                      <a:pt x="-459" y="13344"/>
                      <a:pt x="-1177" y="7543"/>
                      <a:pt x="1933" y="3536"/>
                    </a:cubicBezTo>
                    <a:close/>
                  </a:path>
                </a:pathLst>
              </a:custGeom>
              <a:grpFill/>
              <a:ln w="5978" cap="flat">
                <a:noFill/>
                <a:prstDash val="solid"/>
                <a:miter/>
              </a:ln>
            </p:spPr>
            <p:txBody>
              <a:bodyPr rtlCol="0" anchor="ctr"/>
              <a:lstStyle/>
              <a:p>
                <a:endParaRPr lang="en-GB"/>
              </a:p>
            </p:txBody>
          </p:sp>
          <p:sp>
            <p:nvSpPr>
              <p:cNvPr id="4427" name="Vrije vorm: vorm 4426">
                <a:extLst>
                  <a:ext uri="{FF2B5EF4-FFF2-40B4-BE49-F238E27FC236}">
                    <a16:creationId xmlns:a16="http://schemas.microsoft.com/office/drawing/2014/main" id="{7093A246-C704-4E77-B0CC-9F729F4204E1}"/>
                  </a:ext>
                </a:extLst>
              </p:cNvPr>
              <p:cNvSpPr/>
              <p:nvPr/>
            </p:nvSpPr>
            <p:spPr>
              <a:xfrm>
                <a:off x="7078484" y="2077915"/>
                <a:ext cx="18338" cy="18410"/>
              </a:xfrm>
              <a:custGeom>
                <a:avLst/>
                <a:gdLst>
                  <a:gd name="connsiteX0" fmla="*/ 1933 w 18338"/>
                  <a:gd name="connsiteY0" fmla="*/ 3536 h 18410"/>
                  <a:gd name="connsiteX1" fmla="*/ 3547 w 18338"/>
                  <a:gd name="connsiteY1" fmla="*/ 16454 h 18410"/>
                  <a:gd name="connsiteX2" fmla="*/ 16406 w 18338"/>
                  <a:gd name="connsiteY2" fmla="*/ 14899 h 18410"/>
                  <a:gd name="connsiteX3" fmla="*/ 14791 w 18338"/>
                  <a:gd name="connsiteY3" fmla="*/ 1981 h 18410"/>
                  <a:gd name="connsiteX4" fmla="*/ 1933 w 18338"/>
                  <a:gd name="connsiteY4" fmla="*/ 353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0">
                    <a:moveTo>
                      <a:pt x="1933" y="3536"/>
                    </a:moveTo>
                    <a:cubicBezTo>
                      <a:pt x="-1177" y="7543"/>
                      <a:pt x="-459" y="13344"/>
                      <a:pt x="3547" y="16454"/>
                    </a:cubicBezTo>
                    <a:cubicBezTo>
                      <a:pt x="7555" y="19564"/>
                      <a:pt x="13296" y="18906"/>
                      <a:pt x="16406" y="14899"/>
                    </a:cubicBezTo>
                    <a:cubicBezTo>
                      <a:pt x="19516" y="10892"/>
                      <a:pt x="18798" y="5091"/>
                      <a:pt x="14791" y="1981"/>
                    </a:cubicBezTo>
                    <a:cubicBezTo>
                      <a:pt x="10784" y="-1189"/>
                      <a:pt x="5042" y="-471"/>
                      <a:pt x="1933" y="3536"/>
                    </a:cubicBezTo>
                    <a:close/>
                  </a:path>
                </a:pathLst>
              </a:custGeom>
              <a:grpFill/>
              <a:ln w="5978" cap="flat">
                <a:noFill/>
                <a:prstDash val="solid"/>
                <a:miter/>
              </a:ln>
            </p:spPr>
            <p:txBody>
              <a:bodyPr rtlCol="0" anchor="ctr"/>
              <a:lstStyle/>
              <a:p>
                <a:endParaRPr lang="en-GB"/>
              </a:p>
            </p:txBody>
          </p:sp>
        </p:grpSp>
        <p:grpSp>
          <p:nvGrpSpPr>
            <p:cNvPr id="319" name="Graphic 3">
              <a:extLst>
                <a:ext uri="{FF2B5EF4-FFF2-40B4-BE49-F238E27FC236}">
                  <a16:creationId xmlns:a16="http://schemas.microsoft.com/office/drawing/2014/main" id="{2C9CFA3B-4EE7-404C-8BD5-988A94986C22}"/>
                </a:ext>
              </a:extLst>
            </p:cNvPr>
            <p:cNvGrpSpPr/>
            <p:nvPr/>
          </p:nvGrpSpPr>
          <p:grpSpPr>
            <a:xfrm>
              <a:off x="7103623" y="2051858"/>
              <a:ext cx="54661" cy="63431"/>
              <a:chOff x="7103623" y="2051858"/>
              <a:chExt cx="54661" cy="63431"/>
            </a:xfrm>
            <a:grpFill/>
          </p:grpSpPr>
          <p:sp>
            <p:nvSpPr>
              <p:cNvPr id="4422" name="Vrije vorm: vorm 4421">
                <a:extLst>
                  <a:ext uri="{FF2B5EF4-FFF2-40B4-BE49-F238E27FC236}">
                    <a16:creationId xmlns:a16="http://schemas.microsoft.com/office/drawing/2014/main" id="{9935CA86-E1D0-472C-B041-0FBB10DB60BA}"/>
                  </a:ext>
                </a:extLst>
              </p:cNvPr>
              <p:cNvSpPr/>
              <p:nvPr/>
            </p:nvSpPr>
            <p:spPr>
              <a:xfrm>
                <a:off x="7111337" y="2059741"/>
                <a:ext cx="39233" cy="47666"/>
              </a:xfrm>
              <a:custGeom>
                <a:avLst/>
                <a:gdLst>
                  <a:gd name="connsiteX0" fmla="*/ 39234 w 39233"/>
                  <a:gd name="connsiteY0" fmla="*/ 1914 h 47666"/>
                  <a:gd name="connsiteX1" fmla="*/ 2333 w 39233"/>
                  <a:gd name="connsiteY1" fmla="*/ 47666 h 47666"/>
                  <a:gd name="connsiteX2" fmla="*/ 0 w 39233"/>
                  <a:gd name="connsiteY2" fmla="*/ 45693 h 47666"/>
                  <a:gd name="connsiteX3" fmla="*/ 36901 w 39233"/>
                  <a:gd name="connsiteY3" fmla="*/ 0 h 47666"/>
                </a:gdLst>
                <a:ahLst/>
                <a:cxnLst>
                  <a:cxn ang="0">
                    <a:pos x="connsiteX0" y="connsiteY0"/>
                  </a:cxn>
                  <a:cxn ang="0">
                    <a:pos x="connsiteX1" y="connsiteY1"/>
                  </a:cxn>
                  <a:cxn ang="0">
                    <a:pos x="connsiteX2" y="connsiteY2"/>
                  </a:cxn>
                  <a:cxn ang="0">
                    <a:pos x="connsiteX3" y="connsiteY3"/>
                  </a:cxn>
                </a:cxnLst>
                <a:rect l="l" t="t" r="r" b="b"/>
                <a:pathLst>
                  <a:path w="39233" h="47666">
                    <a:moveTo>
                      <a:pt x="39234" y="1914"/>
                    </a:moveTo>
                    <a:lnTo>
                      <a:pt x="2333" y="47666"/>
                    </a:lnTo>
                    <a:lnTo>
                      <a:pt x="0" y="45693"/>
                    </a:lnTo>
                    <a:lnTo>
                      <a:pt x="36901" y="0"/>
                    </a:lnTo>
                    <a:close/>
                  </a:path>
                </a:pathLst>
              </a:custGeom>
              <a:grpFill/>
              <a:ln w="5978" cap="flat">
                <a:noFill/>
                <a:prstDash val="solid"/>
                <a:miter/>
              </a:ln>
            </p:spPr>
            <p:txBody>
              <a:bodyPr rtlCol="0" anchor="ctr"/>
              <a:lstStyle/>
              <a:p>
                <a:endParaRPr lang="en-GB"/>
              </a:p>
            </p:txBody>
          </p:sp>
          <p:sp>
            <p:nvSpPr>
              <p:cNvPr id="4423" name="Vrije vorm: vorm 4422">
                <a:extLst>
                  <a:ext uri="{FF2B5EF4-FFF2-40B4-BE49-F238E27FC236}">
                    <a16:creationId xmlns:a16="http://schemas.microsoft.com/office/drawing/2014/main" id="{56FC7D40-574D-439E-B4E7-05D318679621}"/>
                  </a:ext>
                </a:extLst>
              </p:cNvPr>
              <p:cNvSpPr/>
              <p:nvPr/>
            </p:nvSpPr>
            <p:spPr>
              <a:xfrm>
                <a:off x="7139961" y="2051858"/>
                <a:ext cx="18323" cy="18456"/>
              </a:xfrm>
              <a:custGeom>
                <a:avLst/>
                <a:gdLst>
                  <a:gd name="connsiteX0" fmla="*/ 2057 w 18323"/>
                  <a:gd name="connsiteY0" fmla="*/ 3397 h 18456"/>
                  <a:gd name="connsiteX1" fmla="*/ 14916 w 18323"/>
                  <a:gd name="connsiteY1" fmla="*/ 2081 h 18456"/>
                  <a:gd name="connsiteX2" fmla="*/ 16291 w 18323"/>
                  <a:gd name="connsiteY2" fmla="*/ 15059 h 18456"/>
                  <a:gd name="connsiteX3" fmla="*/ 3432 w 18323"/>
                  <a:gd name="connsiteY3" fmla="*/ 16375 h 18456"/>
                  <a:gd name="connsiteX4" fmla="*/ 2057 w 18323"/>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56">
                    <a:moveTo>
                      <a:pt x="2057" y="3397"/>
                    </a:moveTo>
                    <a:cubicBezTo>
                      <a:pt x="5227" y="-550"/>
                      <a:pt x="11028" y="-1148"/>
                      <a:pt x="14916" y="2081"/>
                    </a:cubicBezTo>
                    <a:cubicBezTo>
                      <a:pt x="18863" y="5311"/>
                      <a:pt x="19461" y="11112"/>
                      <a:pt x="16291" y="15059"/>
                    </a:cubicBezTo>
                    <a:cubicBezTo>
                      <a:pt x="13121" y="19007"/>
                      <a:pt x="7320" y="19605"/>
                      <a:pt x="3432" y="16375"/>
                    </a:cubicBezTo>
                    <a:cubicBezTo>
                      <a:pt x="-514" y="13146"/>
                      <a:pt x="-1172" y="7284"/>
                      <a:pt x="2057" y="3397"/>
                    </a:cubicBezTo>
                    <a:close/>
                  </a:path>
                </a:pathLst>
              </a:custGeom>
              <a:grpFill/>
              <a:ln w="5978" cap="flat">
                <a:noFill/>
                <a:prstDash val="solid"/>
                <a:miter/>
              </a:ln>
            </p:spPr>
            <p:txBody>
              <a:bodyPr rtlCol="0" anchor="ctr"/>
              <a:lstStyle/>
              <a:p>
                <a:endParaRPr lang="en-GB"/>
              </a:p>
            </p:txBody>
          </p:sp>
          <p:sp>
            <p:nvSpPr>
              <p:cNvPr id="4424" name="Vrije vorm: vorm 4423">
                <a:extLst>
                  <a:ext uri="{FF2B5EF4-FFF2-40B4-BE49-F238E27FC236}">
                    <a16:creationId xmlns:a16="http://schemas.microsoft.com/office/drawing/2014/main" id="{CB5D6635-152F-4548-BC19-40642C6DA1B2}"/>
                  </a:ext>
                </a:extLst>
              </p:cNvPr>
              <p:cNvSpPr/>
              <p:nvPr/>
            </p:nvSpPr>
            <p:spPr>
              <a:xfrm>
                <a:off x="7103623" y="2096858"/>
                <a:ext cx="18298" cy="18431"/>
              </a:xfrm>
              <a:custGeom>
                <a:avLst/>
                <a:gdLst>
                  <a:gd name="connsiteX0" fmla="*/ 2032 w 18298"/>
                  <a:gd name="connsiteY0" fmla="*/ 3372 h 18431"/>
                  <a:gd name="connsiteX1" fmla="*/ 3408 w 18298"/>
                  <a:gd name="connsiteY1" fmla="*/ 16350 h 18431"/>
                  <a:gd name="connsiteX2" fmla="*/ 16267 w 18298"/>
                  <a:gd name="connsiteY2" fmla="*/ 15034 h 18431"/>
                  <a:gd name="connsiteX3" fmla="*/ 14891 w 18298"/>
                  <a:gd name="connsiteY3" fmla="*/ 2056 h 18431"/>
                  <a:gd name="connsiteX4" fmla="*/ 2032 w 18298"/>
                  <a:gd name="connsiteY4" fmla="*/ 337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1">
                    <a:moveTo>
                      <a:pt x="2032" y="3372"/>
                    </a:moveTo>
                    <a:cubicBezTo>
                      <a:pt x="-1137" y="7319"/>
                      <a:pt x="-540" y="13120"/>
                      <a:pt x="3408" y="16350"/>
                    </a:cubicBezTo>
                    <a:cubicBezTo>
                      <a:pt x="7355" y="19580"/>
                      <a:pt x="13097" y="18982"/>
                      <a:pt x="16267" y="15034"/>
                    </a:cubicBezTo>
                    <a:cubicBezTo>
                      <a:pt x="19437" y="11087"/>
                      <a:pt x="18838" y="5286"/>
                      <a:pt x="14891" y="2056"/>
                    </a:cubicBezTo>
                    <a:cubicBezTo>
                      <a:pt x="11004" y="-1114"/>
                      <a:pt x="5202" y="-575"/>
                      <a:pt x="2032" y="3372"/>
                    </a:cubicBezTo>
                    <a:close/>
                  </a:path>
                </a:pathLst>
              </a:custGeom>
              <a:grpFill/>
              <a:ln w="5978" cap="flat">
                <a:noFill/>
                <a:prstDash val="solid"/>
                <a:miter/>
              </a:ln>
            </p:spPr>
            <p:txBody>
              <a:bodyPr rtlCol="0" anchor="ctr"/>
              <a:lstStyle/>
              <a:p>
                <a:endParaRPr lang="en-GB"/>
              </a:p>
            </p:txBody>
          </p:sp>
        </p:grpSp>
        <p:grpSp>
          <p:nvGrpSpPr>
            <p:cNvPr id="320" name="Graphic 3">
              <a:extLst>
                <a:ext uri="{FF2B5EF4-FFF2-40B4-BE49-F238E27FC236}">
                  <a16:creationId xmlns:a16="http://schemas.microsoft.com/office/drawing/2014/main" id="{4A0B897F-607A-4369-9464-53EB80EC2159}"/>
                </a:ext>
              </a:extLst>
            </p:cNvPr>
            <p:cNvGrpSpPr/>
            <p:nvPr/>
          </p:nvGrpSpPr>
          <p:grpSpPr>
            <a:xfrm>
              <a:off x="7676109" y="4062911"/>
              <a:ext cx="254992" cy="113573"/>
              <a:chOff x="7676109" y="4062911"/>
              <a:chExt cx="254992" cy="113573"/>
            </a:xfrm>
            <a:grpFill/>
          </p:grpSpPr>
          <p:sp>
            <p:nvSpPr>
              <p:cNvPr id="4419" name="Vrije vorm: vorm 4418">
                <a:extLst>
                  <a:ext uri="{FF2B5EF4-FFF2-40B4-BE49-F238E27FC236}">
                    <a16:creationId xmlns:a16="http://schemas.microsoft.com/office/drawing/2014/main" id="{F57A5ECD-791F-4469-8D22-4A37F10770B8}"/>
                  </a:ext>
                </a:extLst>
              </p:cNvPr>
              <p:cNvSpPr/>
              <p:nvPr/>
            </p:nvSpPr>
            <p:spPr>
              <a:xfrm>
                <a:off x="7684290" y="4070579"/>
                <a:ext cx="238630" cy="98263"/>
              </a:xfrm>
              <a:custGeom>
                <a:avLst/>
                <a:gdLst>
                  <a:gd name="connsiteX0" fmla="*/ 238631 w 238630"/>
                  <a:gd name="connsiteY0" fmla="*/ 95452 h 98263"/>
                  <a:gd name="connsiteX1" fmla="*/ 237494 w 238630"/>
                  <a:gd name="connsiteY1" fmla="*/ 98264 h 98263"/>
                  <a:gd name="connsiteX2" fmla="*/ 0 w 238630"/>
                  <a:gd name="connsiteY2" fmla="*/ 2811 h 98263"/>
                  <a:gd name="connsiteX3" fmla="*/ 1136 w 238630"/>
                  <a:gd name="connsiteY3" fmla="*/ 0 h 98263"/>
                </a:gdLst>
                <a:ahLst/>
                <a:cxnLst>
                  <a:cxn ang="0">
                    <a:pos x="connsiteX0" y="connsiteY0"/>
                  </a:cxn>
                  <a:cxn ang="0">
                    <a:pos x="connsiteX1" y="connsiteY1"/>
                  </a:cxn>
                  <a:cxn ang="0">
                    <a:pos x="connsiteX2" y="connsiteY2"/>
                  </a:cxn>
                  <a:cxn ang="0">
                    <a:pos x="connsiteX3" y="connsiteY3"/>
                  </a:cxn>
                </a:cxnLst>
                <a:rect l="l" t="t" r="r" b="b"/>
                <a:pathLst>
                  <a:path w="238630" h="98263">
                    <a:moveTo>
                      <a:pt x="238631" y="95452"/>
                    </a:moveTo>
                    <a:lnTo>
                      <a:pt x="237494" y="98264"/>
                    </a:lnTo>
                    <a:lnTo>
                      <a:pt x="0" y="2811"/>
                    </a:lnTo>
                    <a:lnTo>
                      <a:pt x="1136" y="0"/>
                    </a:lnTo>
                    <a:close/>
                  </a:path>
                </a:pathLst>
              </a:custGeom>
              <a:grpFill/>
              <a:ln w="5978" cap="flat">
                <a:noFill/>
                <a:prstDash val="solid"/>
                <a:miter/>
              </a:ln>
            </p:spPr>
            <p:txBody>
              <a:bodyPr rtlCol="0" anchor="ctr"/>
              <a:lstStyle/>
              <a:p>
                <a:endParaRPr lang="en-GB"/>
              </a:p>
            </p:txBody>
          </p:sp>
          <p:sp>
            <p:nvSpPr>
              <p:cNvPr id="4420" name="Vrije vorm: vorm 4419">
                <a:extLst>
                  <a:ext uri="{FF2B5EF4-FFF2-40B4-BE49-F238E27FC236}">
                    <a16:creationId xmlns:a16="http://schemas.microsoft.com/office/drawing/2014/main" id="{8BEF34A6-31D1-4EB2-BCE1-043E7DC3C793}"/>
                  </a:ext>
                </a:extLst>
              </p:cNvPr>
              <p:cNvSpPr/>
              <p:nvPr/>
            </p:nvSpPr>
            <p:spPr>
              <a:xfrm>
                <a:off x="7912767" y="4158057"/>
                <a:ext cx="18335" cy="18427"/>
              </a:xfrm>
              <a:custGeom>
                <a:avLst/>
                <a:gdLst>
                  <a:gd name="connsiteX0" fmla="*/ 12547 w 18335"/>
                  <a:gd name="connsiteY0" fmla="*/ 678 h 18427"/>
                  <a:gd name="connsiteX1" fmla="*/ 17691 w 18335"/>
                  <a:gd name="connsiteY1" fmla="*/ 12639 h 18427"/>
                  <a:gd name="connsiteX2" fmla="*/ 5789 w 18335"/>
                  <a:gd name="connsiteY2" fmla="*/ 17782 h 18427"/>
                  <a:gd name="connsiteX3" fmla="*/ 645 w 18335"/>
                  <a:gd name="connsiteY3" fmla="*/ 5821 h 18427"/>
                  <a:gd name="connsiteX4" fmla="*/ 12547 w 18335"/>
                  <a:gd name="connsiteY4" fmla="*/ 67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7">
                    <a:moveTo>
                      <a:pt x="12547" y="678"/>
                    </a:moveTo>
                    <a:cubicBezTo>
                      <a:pt x="17272" y="2592"/>
                      <a:pt x="19544" y="7914"/>
                      <a:pt x="17691" y="12639"/>
                    </a:cubicBezTo>
                    <a:cubicBezTo>
                      <a:pt x="15836" y="17364"/>
                      <a:pt x="10513" y="19636"/>
                      <a:pt x="5789" y="17782"/>
                    </a:cubicBezTo>
                    <a:cubicBezTo>
                      <a:pt x="1064" y="15869"/>
                      <a:pt x="-1209" y="10546"/>
                      <a:pt x="645" y="5821"/>
                    </a:cubicBezTo>
                    <a:cubicBezTo>
                      <a:pt x="2499" y="1037"/>
                      <a:pt x="7822" y="-1236"/>
                      <a:pt x="12547" y="678"/>
                    </a:cubicBezTo>
                    <a:close/>
                  </a:path>
                </a:pathLst>
              </a:custGeom>
              <a:grpFill/>
              <a:ln w="5978" cap="flat">
                <a:noFill/>
                <a:prstDash val="solid"/>
                <a:miter/>
              </a:ln>
            </p:spPr>
            <p:txBody>
              <a:bodyPr rtlCol="0" anchor="ctr"/>
              <a:lstStyle/>
              <a:p>
                <a:endParaRPr lang="en-GB"/>
              </a:p>
            </p:txBody>
          </p:sp>
          <p:sp>
            <p:nvSpPr>
              <p:cNvPr id="4421" name="Vrije vorm: vorm 4420">
                <a:extLst>
                  <a:ext uri="{FF2B5EF4-FFF2-40B4-BE49-F238E27FC236}">
                    <a16:creationId xmlns:a16="http://schemas.microsoft.com/office/drawing/2014/main" id="{1F75D017-B3E7-40B0-B57A-259D0988EDEB}"/>
                  </a:ext>
                </a:extLst>
              </p:cNvPr>
              <p:cNvSpPr/>
              <p:nvPr/>
            </p:nvSpPr>
            <p:spPr>
              <a:xfrm>
                <a:off x="7676109" y="4062911"/>
                <a:ext cx="18335" cy="18444"/>
              </a:xfrm>
              <a:custGeom>
                <a:avLst/>
                <a:gdLst>
                  <a:gd name="connsiteX0" fmla="*/ 12547 w 18335"/>
                  <a:gd name="connsiteY0" fmla="*/ 670 h 18444"/>
                  <a:gd name="connsiteX1" fmla="*/ 645 w 18335"/>
                  <a:gd name="connsiteY1" fmla="*/ 5813 h 18444"/>
                  <a:gd name="connsiteX2" fmla="*/ 5789 w 18335"/>
                  <a:gd name="connsiteY2" fmla="*/ 17775 h 18444"/>
                  <a:gd name="connsiteX3" fmla="*/ 17690 w 18335"/>
                  <a:gd name="connsiteY3" fmla="*/ 12631 h 18444"/>
                  <a:gd name="connsiteX4" fmla="*/ 12547 w 18335"/>
                  <a:gd name="connsiteY4" fmla="*/ 67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2547" y="670"/>
                    </a:moveTo>
                    <a:cubicBezTo>
                      <a:pt x="7822" y="-1244"/>
                      <a:pt x="2499" y="1089"/>
                      <a:pt x="645" y="5813"/>
                    </a:cubicBezTo>
                    <a:cubicBezTo>
                      <a:pt x="-1209" y="10538"/>
                      <a:pt x="1064" y="15921"/>
                      <a:pt x="5789" y="17775"/>
                    </a:cubicBezTo>
                    <a:cubicBezTo>
                      <a:pt x="10514" y="19689"/>
                      <a:pt x="15837" y="17356"/>
                      <a:pt x="17690" y="12631"/>
                    </a:cubicBezTo>
                    <a:cubicBezTo>
                      <a:pt x="19545" y="7967"/>
                      <a:pt x="17272" y="2584"/>
                      <a:pt x="12547" y="670"/>
                    </a:cubicBezTo>
                    <a:close/>
                  </a:path>
                </a:pathLst>
              </a:custGeom>
              <a:grpFill/>
              <a:ln w="5978" cap="flat">
                <a:noFill/>
                <a:prstDash val="solid"/>
                <a:miter/>
              </a:ln>
            </p:spPr>
            <p:txBody>
              <a:bodyPr rtlCol="0" anchor="ctr"/>
              <a:lstStyle/>
              <a:p>
                <a:endParaRPr lang="en-GB"/>
              </a:p>
            </p:txBody>
          </p:sp>
        </p:grpSp>
        <p:grpSp>
          <p:nvGrpSpPr>
            <p:cNvPr id="321" name="Graphic 3">
              <a:extLst>
                <a:ext uri="{FF2B5EF4-FFF2-40B4-BE49-F238E27FC236}">
                  <a16:creationId xmlns:a16="http://schemas.microsoft.com/office/drawing/2014/main" id="{F8F82983-34C8-47C3-A5C8-C4FECF1A5998}"/>
                </a:ext>
              </a:extLst>
            </p:cNvPr>
            <p:cNvGrpSpPr/>
            <p:nvPr/>
          </p:nvGrpSpPr>
          <p:grpSpPr>
            <a:xfrm>
              <a:off x="7704178" y="4261418"/>
              <a:ext cx="337693" cy="182781"/>
              <a:chOff x="7704178" y="4261418"/>
              <a:chExt cx="337693" cy="182781"/>
            </a:xfrm>
            <a:grpFill/>
          </p:grpSpPr>
          <p:sp>
            <p:nvSpPr>
              <p:cNvPr id="4416" name="Vrije vorm: vorm 4415">
                <a:extLst>
                  <a:ext uri="{FF2B5EF4-FFF2-40B4-BE49-F238E27FC236}">
                    <a16:creationId xmlns:a16="http://schemas.microsoft.com/office/drawing/2014/main" id="{4A8683A6-C2CA-45BE-9C69-9D9EF89D3543}"/>
                  </a:ext>
                </a:extLst>
              </p:cNvPr>
              <p:cNvSpPr/>
              <p:nvPr/>
            </p:nvSpPr>
            <p:spPr>
              <a:xfrm>
                <a:off x="7712280" y="4269079"/>
                <a:ext cx="321523" cy="167520"/>
              </a:xfrm>
              <a:custGeom>
                <a:avLst/>
                <a:gdLst>
                  <a:gd name="connsiteX0" fmla="*/ 321524 w 321523"/>
                  <a:gd name="connsiteY0" fmla="*/ 164769 h 167520"/>
                  <a:gd name="connsiteX1" fmla="*/ 320148 w 321523"/>
                  <a:gd name="connsiteY1" fmla="*/ 167520 h 167520"/>
                  <a:gd name="connsiteX2" fmla="*/ 0 w 321523"/>
                  <a:gd name="connsiteY2" fmla="*/ 2691 h 167520"/>
                  <a:gd name="connsiteX3" fmla="*/ 1376 w 321523"/>
                  <a:gd name="connsiteY3" fmla="*/ 0 h 167520"/>
                </a:gdLst>
                <a:ahLst/>
                <a:cxnLst>
                  <a:cxn ang="0">
                    <a:pos x="connsiteX0" y="connsiteY0"/>
                  </a:cxn>
                  <a:cxn ang="0">
                    <a:pos x="connsiteX1" y="connsiteY1"/>
                  </a:cxn>
                  <a:cxn ang="0">
                    <a:pos x="connsiteX2" y="connsiteY2"/>
                  </a:cxn>
                  <a:cxn ang="0">
                    <a:pos x="connsiteX3" y="connsiteY3"/>
                  </a:cxn>
                </a:cxnLst>
                <a:rect l="l" t="t" r="r" b="b"/>
                <a:pathLst>
                  <a:path w="321523" h="167520">
                    <a:moveTo>
                      <a:pt x="321524" y="164769"/>
                    </a:moveTo>
                    <a:lnTo>
                      <a:pt x="320148" y="167520"/>
                    </a:lnTo>
                    <a:lnTo>
                      <a:pt x="0" y="2691"/>
                    </a:lnTo>
                    <a:lnTo>
                      <a:pt x="1376" y="0"/>
                    </a:lnTo>
                    <a:close/>
                  </a:path>
                </a:pathLst>
              </a:custGeom>
              <a:grpFill/>
              <a:ln w="5978" cap="flat">
                <a:noFill/>
                <a:prstDash val="solid"/>
                <a:miter/>
              </a:ln>
            </p:spPr>
            <p:txBody>
              <a:bodyPr rtlCol="0" anchor="ctr"/>
              <a:lstStyle/>
              <a:p>
                <a:endParaRPr lang="en-GB"/>
              </a:p>
            </p:txBody>
          </p:sp>
          <p:sp>
            <p:nvSpPr>
              <p:cNvPr id="4417" name="Vrije vorm: vorm 4416">
                <a:extLst>
                  <a:ext uri="{FF2B5EF4-FFF2-40B4-BE49-F238E27FC236}">
                    <a16:creationId xmlns:a16="http://schemas.microsoft.com/office/drawing/2014/main" id="{FBDF53D9-A444-478D-B29B-CFBF409A6EC3}"/>
                  </a:ext>
                </a:extLst>
              </p:cNvPr>
              <p:cNvSpPr/>
              <p:nvPr/>
            </p:nvSpPr>
            <p:spPr>
              <a:xfrm>
                <a:off x="8023523" y="4425795"/>
                <a:ext cx="18349" cy="18405"/>
              </a:xfrm>
              <a:custGeom>
                <a:avLst/>
                <a:gdLst>
                  <a:gd name="connsiteX0" fmla="*/ 13331 w 18349"/>
                  <a:gd name="connsiteY0" fmla="*/ 996 h 18405"/>
                  <a:gd name="connsiteX1" fmla="*/ 17339 w 18349"/>
                  <a:gd name="connsiteY1" fmla="*/ 13376 h 18405"/>
                  <a:gd name="connsiteX2" fmla="*/ 5018 w 18349"/>
                  <a:gd name="connsiteY2" fmla="*/ 17383 h 18405"/>
                  <a:gd name="connsiteX3" fmla="*/ 1011 w 18349"/>
                  <a:gd name="connsiteY3" fmla="*/ 5003 h 18405"/>
                  <a:gd name="connsiteX4" fmla="*/ 13331 w 18349"/>
                  <a:gd name="connsiteY4" fmla="*/ 996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13331" y="996"/>
                    </a:moveTo>
                    <a:cubicBezTo>
                      <a:pt x="17817" y="3328"/>
                      <a:pt x="19671" y="8890"/>
                      <a:pt x="17339" y="13376"/>
                    </a:cubicBezTo>
                    <a:cubicBezTo>
                      <a:pt x="15066" y="17921"/>
                      <a:pt x="9503" y="19715"/>
                      <a:pt x="5018" y="17383"/>
                    </a:cubicBezTo>
                    <a:cubicBezTo>
                      <a:pt x="532" y="15051"/>
                      <a:pt x="-1321" y="9488"/>
                      <a:pt x="1011" y="5003"/>
                    </a:cubicBezTo>
                    <a:cubicBezTo>
                      <a:pt x="3284" y="458"/>
                      <a:pt x="8786" y="-1277"/>
                      <a:pt x="13331" y="996"/>
                    </a:cubicBezTo>
                    <a:close/>
                  </a:path>
                </a:pathLst>
              </a:custGeom>
              <a:grpFill/>
              <a:ln w="5978" cap="flat">
                <a:noFill/>
                <a:prstDash val="solid"/>
                <a:miter/>
              </a:ln>
            </p:spPr>
            <p:txBody>
              <a:bodyPr rtlCol="0" anchor="ctr"/>
              <a:lstStyle/>
              <a:p>
                <a:endParaRPr lang="en-GB"/>
              </a:p>
            </p:txBody>
          </p:sp>
          <p:sp>
            <p:nvSpPr>
              <p:cNvPr id="4418" name="Vrije vorm: vorm 4417">
                <a:extLst>
                  <a:ext uri="{FF2B5EF4-FFF2-40B4-BE49-F238E27FC236}">
                    <a16:creationId xmlns:a16="http://schemas.microsoft.com/office/drawing/2014/main" id="{478A2876-E2E8-4B69-AD48-47C2D8A25D22}"/>
                  </a:ext>
                </a:extLst>
              </p:cNvPr>
              <p:cNvSpPr/>
              <p:nvPr/>
            </p:nvSpPr>
            <p:spPr>
              <a:xfrm>
                <a:off x="7704178" y="4261418"/>
                <a:ext cx="18334" cy="18431"/>
              </a:xfrm>
              <a:custGeom>
                <a:avLst/>
                <a:gdLst>
                  <a:gd name="connsiteX0" fmla="*/ 13305 w 18334"/>
                  <a:gd name="connsiteY0" fmla="*/ 1022 h 18431"/>
                  <a:gd name="connsiteX1" fmla="*/ 985 w 18334"/>
                  <a:gd name="connsiteY1" fmla="*/ 5029 h 18431"/>
                  <a:gd name="connsiteX2" fmla="*/ 4992 w 18334"/>
                  <a:gd name="connsiteY2" fmla="*/ 17409 h 18431"/>
                  <a:gd name="connsiteX3" fmla="*/ 17312 w 18334"/>
                  <a:gd name="connsiteY3" fmla="*/ 13402 h 18431"/>
                  <a:gd name="connsiteX4" fmla="*/ 13305 w 18334"/>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1">
                    <a:moveTo>
                      <a:pt x="13305" y="1022"/>
                    </a:moveTo>
                    <a:cubicBezTo>
                      <a:pt x="8819" y="-1310"/>
                      <a:pt x="3258" y="484"/>
                      <a:pt x="985" y="5029"/>
                    </a:cubicBezTo>
                    <a:cubicBezTo>
                      <a:pt x="-1288" y="9575"/>
                      <a:pt x="507" y="15137"/>
                      <a:pt x="4992" y="17409"/>
                    </a:cubicBezTo>
                    <a:cubicBezTo>
                      <a:pt x="9478" y="19742"/>
                      <a:pt x="15039" y="17948"/>
                      <a:pt x="17312" y="13402"/>
                    </a:cubicBezTo>
                    <a:cubicBezTo>
                      <a:pt x="19645" y="8917"/>
                      <a:pt x="17850" y="3355"/>
                      <a:pt x="13305" y="1022"/>
                    </a:cubicBezTo>
                    <a:close/>
                  </a:path>
                </a:pathLst>
              </a:custGeom>
              <a:grpFill/>
              <a:ln w="5978" cap="flat">
                <a:noFill/>
                <a:prstDash val="solid"/>
                <a:miter/>
              </a:ln>
            </p:spPr>
            <p:txBody>
              <a:bodyPr rtlCol="0" anchor="ctr"/>
              <a:lstStyle/>
              <a:p>
                <a:endParaRPr lang="en-GB"/>
              </a:p>
            </p:txBody>
          </p:sp>
        </p:grpSp>
        <p:grpSp>
          <p:nvGrpSpPr>
            <p:cNvPr id="322" name="Graphic 3">
              <a:extLst>
                <a:ext uri="{FF2B5EF4-FFF2-40B4-BE49-F238E27FC236}">
                  <a16:creationId xmlns:a16="http://schemas.microsoft.com/office/drawing/2014/main" id="{5CC41267-73DA-4E8B-83FD-7BE30BD478B8}"/>
                </a:ext>
              </a:extLst>
            </p:cNvPr>
            <p:cNvGrpSpPr/>
            <p:nvPr/>
          </p:nvGrpSpPr>
          <p:grpSpPr>
            <a:xfrm>
              <a:off x="7052803" y="1978638"/>
              <a:ext cx="78910" cy="99528"/>
              <a:chOff x="7052803" y="1978638"/>
              <a:chExt cx="78910" cy="99528"/>
            </a:xfrm>
            <a:grpFill/>
          </p:grpSpPr>
          <p:sp>
            <p:nvSpPr>
              <p:cNvPr id="4413" name="Vrije vorm: vorm 4412">
                <a:extLst>
                  <a:ext uri="{FF2B5EF4-FFF2-40B4-BE49-F238E27FC236}">
                    <a16:creationId xmlns:a16="http://schemas.microsoft.com/office/drawing/2014/main" id="{6E752B62-E895-40DA-AB10-890A7A732DAB}"/>
                  </a:ext>
                </a:extLst>
              </p:cNvPr>
              <p:cNvSpPr/>
              <p:nvPr/>
            </p:nvSpPr>
            <p:spPr>
              <a:xfrm>
                <a:off x="7060441" y="1986597"/>
                <a:ext cx="63575" cy="83610"/>
              </a:xfrm>
              <a:custGeom>
                <a:avLst/>
                <a:gdLst>
                  <a:gd name="connsiteX0" fmla="*/ 63575 w 63575"/>
                  <a:gd name="connsiteY0" fmla="*/ 1794 h 83610"/>
                  <a:gd name="connsiteX1" fmla="*/ 2452 w 63575"/>
                  <a:gd name="connsiteY1" fmla="*/ 83610 h 83610"/>
                  <a:gd name="connsiteX2" fmla="*/ 0 w 63575"/>
                  <a:gd name="connsiteY2" fmla="*/ 81756 h 83610"/>
                  <a:gd name="connsiteX3" fmla="*/ 61124 w 63575"/>
                  <a:gd name="connsiteY3" fmla="*/ 0 h 83610"/>
                </a:gdLst>
                <a:ahLst/>
                <a:cxnLst>
                  <a:cxn ang="0">
                    <a:pos x="connsiteX0" y="connsiteY0"/>
                  </a:cxn>
                  <a:cxn ang="0">
                    <a:pos x="connsiteX1" y="connsiteY1"/>
                  </a:cxn>
                  <a:cxn ang="0">
                    <a:pos x="connsiteX2" y="connsiteY2"/>
                  </a:cxn>
                  <a:cxn ang="0">
                    <a:pos x="connsiteX3" y="connsiteY3"/>
                  </a:cxn>
                </a:cxnLst>
                <a:rect l="l" t="t" r="r" b="b"/>
                <a:pathLst>
                  <a:path w="63575" h="83610">
                    <a:moveTo>
                      <a:pt x="63575" y="1794"/>
                    </a:moveTo>
                    <a:lnTo>
                      <a:pt x="2452" y="83610"/>
                    </a:lnTo>
                    <a:lnTo>
                      <a:pt x="0" y="81756"/>
                    </a:lnTo>
                    <a:lnTo>
                      <a:pt x="61124" y="0"/>
                    </a:lnTo>
                    <a:close/>
                  </a:path>
                </a:pathLst>
              </a:custGeom>
              <a:grpFill/>
              <a:ln w="5978" cap="flat">
                <a:noFill/>
                <a:prstDash val="solid"/>
                <a:miter/>
              </a:ln>
            </p:spPr>
            <p:txBody>
              <a:bodyPr rtlCol="0" anchor="ctr"/>
              <a:lstStyle/>
              <a:p>
                <a:endParaRPr lang="en-GB"/>
              </a:p>
            </p:txBody>
          </p:sp>
          <p:sp>
            <p:nvSpPr>
              <p:cNvPr id="4414" name="Vrije vorm: vorm 4413">
                <a:extLst>
                  <a:ext uri="{FF2B5EF4-FFF2-40B4-BE49-F238E27FC236}">
                    <a16:creationId xmlns:a16="http://schemas.microsoft.com/office/drawing/2014/main" id="{923809C7-2756-4D70-B259-619D152D5478}"/>
                  </a:ext>
                </a:extLst>
              </p:cNvPr>
              <p:cNvSpPr/>
              <p:nvPr/>
            </p:nvSpPr>
            <p:spPr>
              <a:xfrm>
                <a:off x="7113328" y="1978638"/>
                <a:ext cx="18386" cy="18429"/>
              </a:xfrm>
              <a:custGeom>
                <a:avLst/>
                <a:gdLst>
                  <a:gd name="connsiteX0" fmla="*/ 1837 w 18386"/>
                  <a:gd name="connsiteY0" fmla="*/ 3653 h 18429"/>
                  <a:gd name="connsiteX1" fmla="*/ 14695 w 18386"/>
                  <a:gd name="connsiteY1" fmla="*/ 1859 h 18429"/>
                  <a:gd name="connsiteX2" fmla="*/ 16549 w 18386"/>
                  <a:gd name="connsiteY2" fmla="*/ 14777 h 18429"/>
                  <a:gd name="connsiteX3" fmla="*/ 3691 w 18386"/>
                  <a:gd name="connsiteY3" fmla="*/ 16571 h 18429"/>
                  <a:gd name="connsiteX4" fmla="*/ 1837 w 18386"/>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6" h="18429">
                    <a:moveTo>
                      <a:pt x="1837" y="3653"/>
                    </a:moveTo>
                    <a:cubicBezTo>
                      <a:pt x="4887" y="-414"/>
                      <a:pt x="10628" y="-1192"/>
                      <a:pt x="14695" y="1859"/>
                    </a:cubicBezTo>
                    <a:cubicBezTo>
                      <a:pt x="18763" y="4909"/>
                      <a:pt x="19599" y="10710"/>
                      <a:pt x="16549" y="14777"/>
                    </a:cubicBezTo>
                    <a:cubicBezTo>
                      <a:pt x="13500" y="18844"/>
                      <a:pt x="7758" y="19621"/>
                      <a:pt x="3691" y="16571"/>
                    </a:cubicBezTo>
                    <a:cubicBezTo>
                      <a:pt x="-376" y="13521"/>
                      <a:pt x="-1213" y="7720"/>
                      <a:pt x="1837" y="3653"/>
                    </a:cubicBezTo>
                    <a:close/>
                  </a:path>
                </a:pathLst>
              </a:custGeom>
              <a:grpFill/>
              <a:ln w="5978" cap="flat">
                <a:noFill/>
                <a:prstDash val="solid"/>
                <a:miter/>
              </a:ln>
            </p:spPr>
            <p:txBody>
              <a:bodyPr rtlCol="0" anchor="ctr"/>
              <a:lstStyle/>
              <a:p>
                <a:endParaRPr lang="en-GB"/>
              </a:p>
            </p:txBody>
          </p:sp>
          <p:sp>
            <p:nvSpPr>
              <p:cNvPr id="4415" name="Vrije vorm: vorm 4414">
                <a:extLst>
                  <a:ext uri="{FF2B5EF4-FFF2-40B4-BE49-F238E27FC236}">
                    <a16:creationId xmlns:a16="http://schemas.microsoft.com/office/drawing/2014/main" id="{9E318049-203D-4A1B-B813-D9A7A38F8882}"/>
                  </a:ext>
                </a:extLst>
              </p:cNvPr>
              <p:cNvSpPr/>
              <p:nvPr/>
            </p:nvSpPr>
            <p:spPr>
              <a:xfrm>
                <a:off x="7052803" y="2059736"/>
                <a:ext cx="18326" cy="18429"/>
              </a:xfrm>
              <a:custGeom>
                <a:avLst/>
                <a:gdLst>
                  <a:gd name="connsiteX0" fmla="*/ 1837 w 18326"/>
                  <a:gd name="connsiteY0" fmla="*/ 3653 h 18429"/>
                  <a:gd name="connsiteX1" fmla="*/ 3691 w 18326"/>
                  <a:gd name="connsiteY1" fmla="*/ 16571 h 18429"/>
                  <a:gd name="connsiteX2" fmla="*/ 16490 w 18326"/>
                  <a:gd name="connsiteY2" fmla="*/ 14777 h 18429"/>
                  <a:gd name="connsiteX3" fmla="*/ 14636 w 18326"/>
                  <a:gd name="connsiteY3" fmla="*/ 1859 h 18429"/>
                  <a:gd name="connsiteX4" fmla="*/ 1837 w 18326"/>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837" y="3653"/>
                    </a:moveTo>
                    <a:cubicBezTo>
                      <a:pt x="-1213" y="7720"/>
                      <a:pt x="-376" y="13521"/>
                      <a:pt x="3691" y="16571"/>
                    </a:cubicBezTo>
                    <a:cubicBezTo>
                      <a:pt x="7758" y="19621"/>
                      <a:pt x="13500" y="18844"/>
                      <a:pt x="16490" y="14777"/>
                    </a:cubicBezTo>
                    <a:cubicBezTo>
                      <a:pt x="19539" y="10710"/>
                      <a:pt x="18703" y="4969"/>
                      <a:pt x="14636" y="1859"/>
                    </a:cubicBezTo>
                    <a:cubicBezTo>
                      <a:pt x="10568" y="-1192"/>
                      <a:pt x="4827" y="-414"/>
                      <a:pt x="1837" y="3653"/>
                    </a:cubicBezTo>
                    <a:close/>
                  </a:path>
                </a:pathLst>
              </a:custGeom>
              <a:grpFill/>
              <a:ln w="5978" cap="flat">
                <a:noFill/>
                <a:prstDash val="solid"/>
                <a:miter/>
              </a:ln>
            </p:spPr>
            <p:txBody>
              <a:bodyPr rtlCol="0" anchor="ctr"/>
              <a:lstStyle/>
              <a:p>
                <a:endParaRPr lang="en-GB"/>
              </a:p>
            </p:txBody>
          </p:sp>
        </p:grpSp>
        <p:grpSp>
          <p:nvGrpSpPr>
            <p:cNvPr id="323" name="Graphic 3">
              <a:extLst>
                <a:ext uri="{FF2B5EF4-FFF2-40B4-BE49-F238E27FC236}">
                  <a16:creationId xmlns:a16="http://schemas.microsoft.com/office/drawing/2014/main" id="{B395E62D-EF7F-4A53-B58B-96EA2DB15DA5}"/>
                </a:ext>
              </a:extLst>
            </p:cNvPr>
            <p:cNvGrpSpPr/>
            <p:nvPr/>
          </p:nvGrpSpPr>
          <p:grpSpPr>
            <a:xfrm>
              <a:off x="6881703" y="1439505"/>
              <a:ext cx="100065" cy="193701"/>
              <a:chOff x="6881703" y="1439505"/>
              <a:chExt cx="100065" cy="193701"/>
            </a:xfrm>
            <a:grpFill/>
          </p:grpSpPr>
          <p:sp>
            <p:nvSpPr>
              <p:cNvPr id="4410" name="Vrije vorm: vorm 4409">
                <a:extLst>
                  <a:ext uri="{FF2B5EF4-FFF2-40B4-BE49-F238E27FC236}">
                    <a16:creationId xmlns:a16="http://schemas.microsoft.com/office/drawing/2014/main" id="{FB7B5AD5-CBB2-4F40-BC13-CF8C24116B89}"/>
                  </a:ext>
                </a:extLst>
              </p:cNvPr>
              <p:cNvSpPr/>
              <p:nvPr/>
            </p:nvSpPr>
            <p:spPr>
              <a:xfrm>
                <a:off x="6889273" y="1447614"/>
                <a:ext cx="84926" cy="177507"/>
              </a:xfrm>
              <a:custGeom>
                <a:avLst/>
                <a:gdLst>
                  <a:gd name="connsiteX0" fmla="*/ 84927 w 84926"/>
                  <a:gd name="connsiteY0" fmla="*/ 1316 h 177507"/>
                  <a:gd name="connsiteX1" fmla="*/ 2811 w 84926"/>
                  <a:gd name="connsiteY1" fmla="*/ 177508 h 177507"/>
                  <a:gd name="connsiteX2" fmla="*/ 0 w 84926"/>
                  <a:gd name="connsiteY2" fmla="*/ 176192 h 177507"/>
                  <a:gd name="connsiteX3" fmla="*/ 82115 w 84926"/>
                  <a:gd name="connsiteY3" fmla="*/ 0 h 177507"/>
                </a:gdLst>
                <a:ahLst/>
                <a:cxnLst>
                  <a:cxn ang="0">
                    <a:pos x="connsiteX0" y="connsiteY0"/>
                  </a:cxn>
                  <a:cxn ang="0">
                    <a:pos x="connsiteX1" y="connsiteY1"/>
                  </a:cxn>
                  <a:cxn ang="0">
                    <a:pos x="connsiteX2" y="connsiteY2"/>
                  </a:cxn>
                  <a:cxn ang="0">
                    <a:pos x="connsiteX3" y="connsiteY3"/>
                  </a:cxn>
                </a:cxnLst>
                <a:rect l="l" t="t" r="r" b="b"/>
                <a:pathLst>
                  <a:path w="84926" h="177507">
                    <a:moveTo>
                      <a:pt x="84927" y="1316"/>
                    </a:moveTo>
                    <a:lnTo>
                      <a:pt x="2811" y="177508"/>
                    </a:lnTo>
                    <a:lnTo>
                      <a:pt x="0" y="176192"/>
                    </a:lnTo>
                    <a:lnTo>
                      <a:pt x="82115" y="0"/>
                    </a:lnTo>
                    <a:close/>
                  </a:path>
                </a:pathLst>
              </a:custGeom>
              <a:grpFill/>
              <a:ln w="5978" cap="flat">
                <a:noFill/>
                <a:prstDash val="solid"/>
                <a:miter/>
              </a:ln>
            </p:spPr>
            <p:txBody>
              <a:bodyPr rtlCol="0" anchor="ctr"/>
              <a:lstStyle/>
              <a:p>
                <a:endParaRPr lang="en-GB"/>
              </a:p>
            </p:txBody>
          </p:sp>
          <p:sp>
            <p:nvSpPr>
              <p:cNvPr id="4411" name="Vrije vorm: vorm 4410">
                <a:extLst>
                  <a:ext uri="{FF2B5EF4-FFF2-40B4-BE49-F238E27FC236}">
                    <a16:creationId xmlns:a16="http://schemas.microsoft.com/office/drawing/2014/main" id="{8858DEEF-49C5-4396-9B5D-8760D82C100D}"/>
                  </a:ext>
                </a:extLst>
              </p:cNvPr>
              <p:cNvSpPr/>
              <p:nvPr/>
            </p:nvSpPr>
            <p:spPr>
              <a:xfrm>
                <a:off x="6881703" y="1614764"/>
                <a:ext cx="18333" cy="18442"/>
              </a:xfrm>
              <a:custGeom>
                <a:avLst/>
                <a:gdLst>
                  <a:gd name="connsiteX0" fmla="*/ 17498 w 18333"/>
                  <a:gd name="connsiteY0" fmla="*/ 13169 h 18442"/>
                  <a:gd name="connsiteX1" fmla="*/ 5297 w 18333"/>
                  <a:gd name="connsiteY1" fmla="*/ 17535 h 18442"/>
                  <a:gd name="connsiteX2" fmla="*/ 871 w 18333"/>
                  <a:gd name="connsiteY2" fmla="*/ 5274 h 18442"/>
                  <a:gd name="connsiteX3" fmla="*/ 13072 w 18333"/>
                  <a:gd name="connsiteY3" fmla="*/ 908 h 18442"/>
                  <a:gd name="connsiteX4" fmla="*/ 17498 w 18333"/>
                  <a:gd name="connsiteY4" fmla="*/ 1316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2">
                    <a:moveTo>
                      <a:pt x="17498" y="13169"/>
                    </a:moveTo>
                    <a:cubicBezTo>
                      <a:pt x="15345" y="17774"/>
                      <a:pt x="9902" y="19748"/>
                      <a:pt x="5297" y="17535"/>
                    </a:cubicBezTo>
                    <a:cubicBezTo>
                      <a:pt x="692" y="15382"/>
                      <a:pt x="-1282" y="9879"/>
                      <a:pt x="871" y="5274"/>
                    </a:cubicBezTo>
                    <a:cubicBezTo>
                      <a:pt x="3024" y="669"/>
                      <a:pt x="8467" y="-1305"/>
                      <a:pt x="13072" y="908"/>
                    </a:cubicBezTo>
                    <a:cubicBezTo>
                      <a:pt x="17617" y="3121"/>
                      <a:pt x="19591" y="8623"/>
                      <a:pt x="17498" y="13169"/>
                    </a:cubicBezTo>
                    <a:close/>
                  </a:path>
                </a:pathLst>
              </a:custGeom>
              <a:grpFill/>
              <a:ln w="5978" cap="flat">
                <a:noFill/>
                <a:prstDash val="solid"/>
                <a:miter/>
              </a:ln>
            </p:spPr>
            <p:txBody>
              <a:bodyPr rtlCol="0" anchor="ctr"/>
              <a:lstStyle/>
              <a:p>
                <a:endParaRPr lang="en-GB"/>
              </a:p>
            </p:txBody>
          </p:sp>
          <p:sp>
            <p:nvSpPr>
              <p:cNvPr id="4412" name="Vrije vorm: vorm 4411">
                <a:extLst>
                  <a:ext uri="{FF2B5EF4-FFF2-40B4-BE49-F238E27FC236}">
                    <a16:creationId xmlns:a16="http://schemas.microsoft.com/office/drawing/2014/main" id="{E58833C0-DA2A-4EC5-A800-16DF04A6CDC8}"/>
                  </a:ext>
                </a:extLst>
              </p:cNvPr>
              <p:cNvSpPr/>
              <p:nvPr/>
            </p:nvSpPr>
            <p:spPr>
              <a:xfrm>
                <a:off x="6963400" y="1439505"/>
                <a:ext cx="18368" cy="18407"/>
              </a:xfrm>
              <a:custGeom>
                <a:avLst/>
                <a:gdLst>
                  <a:gd name="connsiteX0" fmla="*/ 17498 w 18368"/>
                  <a:gd name="connsiteY0" fmla="*/ 13133 h 18407"/>
                  <a:gd name="connsiteX1" fmla="*/ 13072 w 18368"/>
                  <a:gd name="connsiteY1" fmla="*/ 872 h 18407"/>
                  <a:gd name="connsiteX2" fmla="*/ 871 w 18368"/>
                  <a:gd name="connsiteY2" fmla="*/ 5238 h 18407"/>
                  <a:gd name="connsiteX3" fmla="*/ 5297 w 18368"/>
                  <a:gd name="connsiteY3" fmla="*/ 17499 h 18407"/>
                  <a:gd name="connsiteX4" fmla="*/ 17498 w 18368"/>
                  <a:gd name="connsiteY4" fmla="*/ 1313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7">
                    <a:moveTo>
                      <a:pt x="17498" y="13133"/>
                    </a:moveTo>
                    <a:cubicBezTo>
                      <a:pt x="19651" y="8528"/>
                      <a:pt x="17677" y="3025"/>
                      <a:pt x="13072" y="872"/>
                    </a:cubicBezTo>
                    <a:cubicBezTo>
                      <a:pt x="8467" y="-1281"/>
                      <a:pt x="3024" y="693"/>
                      <a:pt x="871" y="5238"/>
                    </a:cubicBezTo>
                    <a:cubicBezTo>
                      <a:pt x="-1282" y="9843"/>
                      <a:pt x="692" y="15346"/>
                      <a:pt x="5297" y="17499"/>
                    </a:cubicBezTo>
                    <a:cubicBezTo>
                      <a:pt x="9902" y="19712"/>
                      <a:pt x="15345" y="17738"/>
                      <a:pt x="17498" y="13133"/>
                    </a:cubicBezTo>
                    <a:close/>
                  </a:path>
                </a:pathLst>
              </a:custGeom>
              <a:grpFill/>
              <a:ln w="5978" cap="flat">
                <a:noFill/>
                <a:prstDash val="solid"/>
                <a:miter/>
              </a:ln>
            </p:spPr>
            <p:txBody>
              <a:bodyPr rtlCol="0" anchor="ctr"/>
              <a:lstStyle/>
              <a:p>
                <a:endParaRPr lang="en-GB"/>
              </a:p>
            </p:txBody>
          </p:sp>
        </p:grpSp>
        <p:grpSp>
          <p:nvGrpSpPr>
            <p:cNvPr id="324" name="Graphic 3">
              <a:extLst>
                <a:ext uri="{FF2B5EF4-FFF2-40B4-BE49-F238E27FC236}">
                  <a16:creationId xmlns:a16="http://schemas.microsoft.com/office/drawing/2014/main" id="{31AB8AED-6158-40A2-A6D9-79BCF64CC891}"/>
                </a:ext>
              </a:extLst>
            </p:cNvPr>
            <p:cNvGrpSpPr/>
            <p:nvPr/>
          </p:nvGrpSpPr>
          <p:grpSpPr>
            <a:xfrm>
              <a:off x="7028222" y="1928374"/>
              <a:ext cx="98529" cy="130141"/>
              <a:chOff x="7028222" y="1928374"/>
              <a:chExt cx="98529" cy="130141"/>
            </a:xfrm>
            <a:grpFill/>
          </p:grpSpPr>
          <p:sp>
            <p:nvSpPr>
              <p:cNvPr id="4407" name="Vrije vorm: vorm 4406">
                <a:extLst>
                  <a:ext uri="{FF2B5EF4-FFF2-40B4-BE49-F238E27FC236}">
                    <a16:creationId xmlns:a16="http://schemas.microsoft.com/office/drawing/2014/main" id="{B79F6461-0BA5-4463-917D-A6D3AC44C381}"/>
                  </a:ext>
                </a:extLst>
              </p:cNvPr>
              <p:cNvSpPr/>
              <p:nvPr/>
            </p:nvSpPr>
            <p:spPr>
              <a:xfrm>
                <a:off x="7035860" y="1936299"/>
                <a:ext cx="83192" cy="114231"/>
              </a:xfrm>
              <a:custGeom>
                <a:avLst/>
                <a:gdLst>
                  <a:gd name="connsiteX0" fmla="*/ 83192 w 83192"/>
                  <a:gd name="connsiteY0" fmla="*/ 1794 h 114231"/>
                  <a:gd name="connsiteX1" fmla="*/ 2452 w 83192"/>
                  <a:gd name="connsiteY1" fmla="*/ 114232 h 114231"/>
                  <a:gd name="connsiteX2" fmla="*/ 0 w 83192"/>
                  <a:gd name="connsiteY2" fmla="*/ 112438 h 114231"/>
                  <a:gd name="connsiteX3" fmla="*/ 80740 w 83192"/>
                  <a:gd name="connsiteY3" fmla="*/ 0 h 114231"/>
                </a:gdLst>
                <a:ahLst/>
                <a:cxnLst>
                  <a:cxn ang="0">
                    <a:pos x="connsiteX0" y="connsiteY0"/>
                  </a:cxn>
                  <a:cxn ang="0">
                    <a:pos x="connsiteX1" y="connsiteY1"/>
                  </a:cxn>
                  <a:cxn ang="0">
                    <a:pos x="connsiteX2" y="connsiteY2"/>
                  </a:cxn>
                  <a:cxn ang="0">
                    <a:pos x="connsiteX3" y="connsiteY3"/>
                  </a:cxn>
                </a:cxnLst>
                <a:rect l="l" t="t" r="r" b="b"/>
                <a:pathLst>
                  <a:path w="83192" h="114231">
                    <a:moveTo>
                      <a:pt x="83192" y="1794"/>
                    </a:moveTo>
                    <a:lnTo>
                      <a:pt x="2452" y="114232"/>
                    </a:lnTo>
                    <a:lnTo>
                      <a:pt x="0" y="112438"/>
                    </a:lnTo>
                    <a:lnTo>
                      <a:pt x="80740" y="0"/>
                    </a:lnTo>
                    <a:close/>
                  </a:path>
                </a:pathLst>
              </a:custGeom>
              <a:grpFill/>
              <a:ln w="5978" cap="flat">
                <a:noFill/>
                <a:prstDash val="solid"/>
                <a:miter/>
              </a:ln>
            </p:spPr>
            <p:txBody>
              <a:bodyPr rtlCol="0" anchor="ctr"/>
              <a:lstStyle/>
              <a:p>
                <a:endParaRPr lang="en-GB"/>
              </a:p>
            </p:txBody>
          </p:sp>
          <p:sp>
            <p:nvSpPr>
              <p:cNvPr id="4408" name="Vrije vorm: vorm 4407">
                <a:extLst>
                  <a:ext uri="{FF2B5EF4-FFF2-40B4-BE49-F238E27FC236}">
                    <a16:creationId xmlns:a16="http://schemas.microsoft.com/office/drawing/2014/main" id="{E3B75E35-3435-429A-8AE5-3EC422B3188D}"/>
                  </a:ext>
                </a:extLst>
              </p:cNvPr>
              <p:cNvSpPr/>
              <p:nvPr/>
            </p:nvSpPr>
            <p:spPr>
              <a:xfrm>
                <a:off x="7108397" y="1928374"/>
                <a:ext cx="18353" cy="18421"/>
              </a:xfrm>
              <a:custGeom>
                <a:avLst/>
                <a:gdLst>
                  <a:gd name="connsiteX0" fmla="*/ 1744 w 18353"/>
                  <a:gd name="connsiteY0" fmla="*/ 3798 h 18421"/>
                  <a:gd name="connsiteX1" fmla="*/ 14543 w 18353"/>
                  <a:gd name="connsiteY1" fmla="*/ 1765 h 18421"/>
                  <a:gd name="connsiteX2" fmla="*/ 16636 w 18353"/>
                  <a:gd name="connsiteY2" fmla="*/ 14623 h 18421"/>
                  <a:gd name="connsiteX3" fmla="*/ 3837 w 18353"/>
                  <a:gd name="connsiteY3" fmla="*/ 16657 h 18421"/>
                  <a:gd name="connsiteX4" fmla="*/ 1744 w 1835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1">
                    <a:moveTo>
                      <a:pt x="1744" y="3798"/>
                    </a:moveTo>
                    <a:cubicBezTo>
                      <a:pt x="4674" y="-329"/>
                      <a:pt x="10416" y="-1226"/>
                      <a:pt x="14543" y="1765"/>
                    </a:cubicBezTo>
                    <a:cubicBezTo>
                      <a:pt x="18669" y="4755"/>
                      <a:pt x="19566" y="10496"/>
                      <a:pt x="16636" y="14623"/>
                    </a:cubicBezTo>
                    <a:cubicBezTo>
                      <a:pt x="13705" y="18750"/>
                      <a:pt x="7964" y="19647"/>
                      <a:pt x="3837" y="16657"/>
                    </a:cubicBezTo>
                    <a:cubicBezTo>
                      <a:pt x="-289" y="13666"/>
                      <a:pt x="-1247" y="7925"/>
                      <a:pt x="1744" y="3798"/>
                    </a:cubicBezTo>
                    <a:close/>
                  </a:path>
                </a:pathLst>
              </a:custGeom>
              <a:grpFill/>
              <a:ln w="5978" cap="flat">
                <a:noFill/>
                <a:prstDash val="solid"/>
                <a:miter/>
              </a:ln>
            </p:spPr>
            <p:txBody>
              <a:bodyPr rtlCol="0" anchor="ctr"/>
              <a:lstStyle/>
              <a:p>
                <a:endParaRPr lang="en-GB"/>
              </a:p>
            </p:txBody>
          </p:sp>
          <p:sp>
            <p:nvSpPr>
              <p:cNvPr id="4409" name="Vrije vorm: vorm 4408">
                <a:extLst>
                  <a:ext uri="{FF2B5EF4-FFF2-40B4-BE49-F238E27FC236}">
                    <a16:creationId xmlns:a16="http://schemas.microsoft.com/office/drawing/2014/main" id="{258AC419-5F4D-4B27-B21E-46A1DE787C2C}"/>
                  </a:ext>
                </a:extLst>
              </p:cNvPr>
              <p:cNvSpPr/>
              <p:nvPr/>
            </p:nvSpPr>
            <p:spPr>
              <a:xfrm>
                <a:off x="7028222" y="2040094"/>
                <a:ext cx="18327" cy="18421"/>
              </a:xfrm>
              <a:custGeom>
                <a:avLst/>
                <a:gdLst>
                  <a:gd name="connsiteX0" fmla="*/ 1718 w 18327"/>
                  <a:gd name="connsiteY0" fmla="*/ 3798 h 18421"/>
                  <a:gd name="connsiteX1" fmla="*/ 3811 w 18327"/>
                  <a:gd name="connsiteY1" fmla="*/ 16657 h 18421"/>
                  <a:gd name="connsiteX2" fmla="*/ 16610 w 18327"/>
                  <a:gd name="connsiteY2" fmla="*/ 14623 h 18421"/>
                  <a:gd name="connsiteX3" fmla="*/ 14517 w 18327"/>
                  <a:gd name="connsiteY3" fmla="*/ 1765 h 18421"/>
                  <a:gd name="connsiteX4" fmla="*/ 1718 w 18327"/>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1">
                    <a:moveTo>
                      <a:pt x="1718" y="3798"/>
                    </a:moveTo>
                    <a:cubicBezTo>
                      <a:pt x="-1213" y="7925"/>
                      <a:pt x="-315" y="13666"/>
                      <a:pt x="3811" y="16657"/>
                    </a:cubicBezTo>
                    <a:cubicBezTo>
                      <a:pt x="7938" y="19647"/>
                      <a:pt x="13619" y="18750"/>
                      <a:pt x="16610" y="14623"/>
                    </a:cubicBezTo>
                    <a:cubicBezTo>
                      <a:pt x="19540" y="10496"/>
                      <a:pt x="18644" y="4755"/>
                      <a:pt x="14517" y="1765"/>
                    </a:cubicBezTo>
                    <a:cubicBezTo>
                      <a:pt x="10390" y="-1226"/>
                      <a:pt x="4648" y="-329"/>
                      <a:pt x="1718" y="3798"/>
                    </a:cubicBezTo>
                    <a:close/>
                  </a:path>
                </a:pathLst>
              </a:custGeom>
              <a:grpFill/>
              <a:ln w="5978" cap="flat">
                <a:noFill/>
                <a:prstDash val="solid"/>
                <a:miter/>
              </a:ln>
            </p:spPr>
            <p:txBody>
              <a:bodyPr rtlCol="0" anchor="ctr"/>
              <a:lstStyle/>
              <a:p>
                <a:endParaRPr lang="en-GB"/>
              </a:p>
            </p:txBody>
          </p:sp>
        </p:grpSp>
        <p:grpSp>
          <p:nvGrpSpPr>
            <p:cNvPr id="325" name="Graphic 3">
              <a:extLst>
                <a:ext uri="{FF2B5EF4-FFF2-40B4-BE49-F238E27FC236}">
                  <a16:creationId xmlns:a16="http://schemas.microsoft.com/office/drawing/2014/main" id="{AE211F41-1023-4C53-8F90-14F98276B21B}"/>
                </a:ext>
              </a:extLst>
            </p:cNvPr>
            <p:cNvGrpSpPr/>
            <p:nvPr/>
          </p:nvGrpSpPr>
          <p:grpSpPr>
            <a:xfrm>
              <a:off x="7006003" y="1883071"/>
              <a:ext cx="110669" cy="152207"/>
              <a:chOff x="7006003" y="1883071"/>
              <a:chExt cx="110669" cy="152207"/>
            </a:xfrm>
            <a:grpFill/>
          </p:grpSpPr>
          <p:sp>
            <p:nvSpPr>
              <p:cNvPr id="4404" name="Vrije vorm: vorm 4403">
                <a:extLst>
                  <a:ext uri="{FF2B5EF4-FFF2-40B4-BE49-F238E27FC236}">
                    <a16:creationId xmlns:a16="http://schemas.microsoft.com/office/drawing/2014/main" id="{7F95262A-DB59-412C-834E-2F4AB4106B3D}"/>
                  </a:ext>
                </a:extLst>
              </p:cNvPr>
              <p:cNvSpPr/>
              <p:nvPr/>
            </p:nvSpPr>
            <p:spPr>
              <a:xfrm>
                <a:off x="7013672" y="1891025"/>
                <a:ext cx="95332" cy="136300"/>
              </a:xfrm>
              <a:custGeom>
                <a:avLst/>
                <a:gdLst>
                  <a:gd name="connsiteX0" fmla="*/ 95332 w 95332"/>
                  <a:gd name="connsiteY0" fmla="*/ 1734 h 136300"/>
                  <a:gd name="connsiteX1" fmla="*/ 2512 w 95332"/>
                  <a:gd name="connsiteY1" fmla="*/ 136301 h 136300"/>
                  <a:gd name="connsiteX2" fmla="*/ 0 w 95332"/>
                  <a:gd name="connsiteY2" fmla="*/ 134506 h 136300"/>
                  <a:gd name="connsiteX3" fmla="*/ 92821 w 95332"/>
                  <a:gd name="connsiteY3" fmla="*/ 0 h 136300"/>
                </a:gdLst>
                <a:ahLst/>
                <a:cxnLst>
                  <a:cxn ang="0">
                    <a:pos x="connsiteX0" y="connsiteY0"/>
                  </a:cxn>
                  <a:cxn ang="0">
                    <a:pos x="connsiteX1" y="connsiteY1"/>
                  </a:cxn>
                  <a:cxn ang="0">
                    <a:pos x="connsiteX2" y="connsiteY2"/>
                  </a:cxn>
                  <a:cxn ang="0">
                    <a:pos x="connsiteX3" y="connsiteY3"/>
                  </a:cxn>
                </a:cxnLst>
                <a:rect l="l" t="t" r="r" b="b"/>
                <a:pathLst>
                  <a:path w="95332" h="136300">
                    <a:moveTo>
                      <a:pt x="95332" y="1734"/>
                    </a:moveTo>
                    <a:lnTo>
                      <a:pt x="2512" y="136301"/>
                    </a:lnTo>
                    <a:lnTo>
                      <a:pt x="0" y="134506"/>
                    </a:lnTo>
                    <a:lnTo>
                      <a:pt x="92821" y="0"/>
                    </a:lnTo>
                    <a:close/>
                  </a:path>
                </a:pathLst>
              </a:custGeom>
              <a:grpFill/>
              <a:ln w="5978" cap="flat">
                <a:noFill/>
                <a:prstDash val="solid"/>
                <a:miter/>
              </a:ln>
            </p:spPr>
            <p:txBody>
              <a:bodyPr rtlCol="0" anchor="ctr"/>
              <a:lstStyle/>
              <a:p>
                <a:endParaRPr lang="en-GB"/>
              </a:p>
            </p:txBody>
          </p:sp>
          <p:sp>
            <p:nvSpPr>
              <p:cNvPr id="4405" name="Vrije vorm: vorm 4404">
                <a:extLst>
                  <a:ext uri="{FF2B5EF4-FFF2-40B4-BE49-F238E27FC236}">
                    <a16:creationId xmlns:a16="http://schemas.microsoft.com/office/drawing/2014/main" id="{99CB80D1-EF32-4F42-BC3A-69D67B6AB753}"/>
                  </a:ext>
                </a:extLst>
              </p:cNvPr>
              <p:cNvSpPr/>
              <p:nvPr/>
            </p:nvSpPr>
            <p:spPr>
              <a:xfrm>
                <a:off x="7098346" y="1883071"/>
                <a:ext cx="18327" cy="18419"/>
              </a:xfrm>
              <a:custGeom>
                <a:avLst/>
                <a:gdLst>
                  <a:gd name="connsiteX0" fmla="*/ 1628 w 18327"/>
                  <a:gd name="connsiteY0" fmla="*/ 3947 h 18419"/>
                  <a:gd name="connsiteX1" fmla="*/ 14367 w 18327"/>
                  <a:gd name="connsiteY1" fmla="*/ 1674 h 18419"/>
                  <a:gd name="connsiteX2" fmla="*/ 16699 w 18327"/>
                  <a:gd name="connsiteY2" fmla="*/ 14473 h 18419"/>
                  <a:gd name="connsiteX3" fmla="*/ 3960 w 18327"/>
                  <a:gd name="connsiteY3" fmla="*/ 16745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4499" y="-240"/>
                      <a:pt x="10241" y="-1257"/>
                      <a:pt x="14367" y="1674"/>
                    </a:cubicBezTo>
                    <a:cubicBezTo>
                      <a:pt x="18554" y="4604"/>
                      <a:pt x="19570" y="10346"/>
                      <a:pt x="16699" y="14473"/>
                    </a:cubicBezTo>
                    <a:cubicBezTo>
                      <a:pt x="13829" y="18659"/>
                      <a:pt x="8088" y="19676"/>
                      <a:pt x="3960" y="16745"/>
                    </a:cubicBezTo>
                    <a:cubicBezTo>
                      <a:pt x="-226" y="13875"/>
                      <a:pt x="-1243" y="8073"/>
                      <a:pt x="1628" y="3947"/>
                    </a:cubicBezTo>
                    <a:close/>
                  </a:path>
                </a:pathLst>
              </a:custGeom>
              <a:grpFill/>
              <a:ln w="5978" cap="flat">
                <a:noFill/>
                <a:prstDash val="solid"/>
                <a:miter/>
              </a:ln>
            </p:spPr>
            <p:txBody>
              <a:bodyPr rtlCol="0" anchor="ctr"/>
              <a:lstStyle/>
              <a:p>
                <a:endParaRPr lang="en-GB"/>
              </a:p>
            </p:txBody>
          </p:sp>
          <p:sp>
            <p:nvSpPr>
              <p:cNvPr id="4406" name="Vrije vorm: vorm 4405">
                <a:extLst>
                  <a:ext uri="{FF2B5EF4-FFF2-40B4-BE49-F238E27FC236}">
                    <a16:creationId xmlns:a16="http://schemas.microsoft.com/office/drawing/2014/main" id="{C6203C23-EE44-447E-BDCE-A8EFF2A89260}"/>
                  </a:ext>
                </a:extLst>
              </p:cNvPr>
              <p:cNvSpPr/>
              <p:nvPr/>
            </p:nvSpPr>
            <p:spPr>
              <a:xfrm>
                <a:off x="7006003" y="2016860"/>
                <a:ext cx="18327" cy="18419"/>
              </a:xfrm>
              <a:custGeom>
                <a:avLst/>
                <a:gdLst>
                  <a:gd name="connsiteX0" fmla="*/ 1628 w 18327"/>
                  <a:gd name="connsiteY0" fmla="*/ 3947 h 18419"/>
                  <a:gd name="connsiteX1" fmla="*/ 3961 w 18327"/>
                  <a:gd name="connsiteY1" fmla="*/ 16745 h 18419"/>
                  <a:gd name="connsiteX2" fmla="*/ 16700 w 18327"/>
                  <a:gd name="connsiteY2" fmla="*/ 14473 h 18419"/>
                  <a:gd name="connsiteX3" fmla="*/ 14367 w 18327"/>
                  <a:gd name="connsiteY3" fmla="*/ 1674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1243" y="8133"/>
                      <a:pt x="-226" y="13875"/>
                      <a:pt x="3961" y="16745"/>
                    </a:cubicBezTo>
                    <a:cubicBezTo>
                      <a:pt x="8147" y="19676"/>
                      <a:pt x="13829" y="18659"/>
                      <a:pt x="16700" y="14473"/>
                    </a:cubicBezTo>
                    <a:cubicBezTo>
                      <a:pt x="19570" y="10286"/>
                      <a:pt x="18553" y="4545"/>
                      <a:pt x="14367" y="1674"/>
                    </a:cubicBezTo>
                    <a:cubicBezTo>
                      <a:pt x="10240" y="-1257"/>
                      <a:pt x="4499" y="-240"/>
                      <a:pt x="1628" y="3947"/>
                    </a:cubicBezTo>
                    <a:close/>
                  </a:path>
                </a:pathLst>
              </a:custGeom>
              <a:grpFill/>
              <a:ln w="5978" cap="flat">
                <a:noFill/>
                <a:prstDash val="solid"/>
                <a:miter/>
              </a:ln>
            </p:spPr>
            <p:txBody>
              <a:bodyPr rtlCol="0" anchor="ctr"/>
              <a:lstStyle/>
              <a:p>
                <a:endParaRPr lang="en-GB"/>
              </a:p>
            </p:txBody>
          </p:sp>
        </p:grpSp>
        <p:grpSp>
          <p:nvGrpSpPr>
            <p:cNvPr id="326" name="Graphic 3">
              <a:extLst>
                <a:ext uri="{FF2B5EF4-FFF2-40B4-BE49-F238E27FC236}">
                  <a16:creationId xmlns:a16="http://schemas.microsoft.com/office/drawing/2014/main" id="{3F930A97-E653-42EA-BDC9-E98CBE3FE428}"/>
                </a:ext>
              </a:extLst>
            </p:cNvPr>
            <p:cNvGrpSpPr/>
            <p:nvPr/>
          </p:nvGrpSpPr>
          <p:grpSpPr>
            <a:xfrm>
              <a:off x="6894349" y="1529113"/>
              <a:ext cx="132427" cy="241205"/>
              <a:chOff x="6894349" y="1529113"/>
              <a:chExt cx="132427" cy="241205"/>
            </a:xfrm>
            <a:grpFill/>
          </p:grpSpPr>
          <p:sp>
            <p:nvSpPr>
              <p:cNvPr id="4401" name="Vrije vorm: vorm 4400">
                <a:extLst>
                  <a:ext uri="{FF2B5EF4-FFF2-40B4-BE49-F238E27FC236}">
                    <a16:creationId xmlns:a16="http://schemas.microsoft.com/office/drawing/2014/main" id="{4284F984-3142-477F-A14A-E1F467CF4D57}"/>
                  </a:ext>
                </a:extLst>
              </p:cNvPr>
              <p:cNvSpPr/>
              <p:nvPr/>
            </p:nvSpPr>
            <p:spPr>
              <a:xfrm>
                <a:off x="6901952" y="1537205"/>
                <a:ext cx="117222" cy="224994"/>
              </a:xfrm>
              <a:custGeom>
                <a:avLst/>
                <a:gdLst>
                  <a:gd name="connsiteX0" fmla="*/ 117223 w 117222"/>
                  <a:gd name="connsiteY0" fmla="*/ 1435 h 224994"/>
                  <a:gd name="connsiteX1" fmla="*/ 2692 w 117222"/>
                  <a:gd name="connsiteY1" fmla="*/ 224995 h 224994"/>
                  <a:gd name="connsiteX2" fmla="*/ 0 w 117222"/>
                  <a:gd name="connsiteY2" fmla="*/ 223559 h 224994"/>
                  <a:gd name="connsiteX3" fmla="*/ 114531 w 117222"/>
                  <a:gd name="connsiteY3" fmla="*/ 0 h 224994"/>
                </a:gdLst>
                <a:ahLst/>
                <a:cxnLst>
                  <a:cxn ang="0">
                    <a:pos x="connsiteX0" y="connsiteY0"/>
                  </a:cxn>
                  <a:cxn ang="0">
                    <a:pos x="connsiteX1" y="connsiteY1"/>
                  </a:cxn>
                  <a:cxn ang="0">
                    <a:pos x="connsiteX2" y="connsiteY2"/>
                  </a:cxn>
                  <a:cxn ang="0">
                    <a:pos x="connsiteX3" y="connsiteY3"/>
                  </a:cxn>
                </a:cxnLst>
                <a:rect l="l" t="t" r="r" b="b"/>
                <a:pathLst>
                  <a:path w="117222" h="224994">
                    <a:moveTo>
                      <a:pt x="117223" y="1435"/>
                    </a:moveTo>
                    <a:lnTo>
                      <a:pt x="2692" y="224995"/>
                    </a:lnTo>
                    <a:lnTo>
                      <a:pt x="0" y="223559"/>
                    </a:lnTo>
                    <a:lnTo>
                      <a:pt x="114531" y="0"/>
                    </a:lnTo>
                    <a:close/>
                  </a:path>
                </a:pathLst>
              </a:custGeom>
              <a:grpFill/>
              <a:ln w="5978" cap="flat">
                <a:noFill/>
                <a:prstDash val="solid"/>
                <a:miter/>
              </a:ln>
            </p:spPr>
            <p:txBody>
              <a:bodyPr rtlCol="0" anchor="ctr"/>
              <a:lstStyle/>
              <a:p>
                <a:endParaRPr lang="en-GB"/>
              </a:p>
            </p:txBody>
          </p:sp>
          <p:sp>
            <p:nvSpPr>
              <p:cNvPr id="4402" name="Vrije vorm: vorm 4401">
                <a:extLst>
                  <a:ext uri="{FF2B5EF4-FFF2-40B4-BE49-F238E27FC236}">
                    <a16:creationId xmlns:a16="http://schemas.microsoft.com/office/drawing/2014/main" id="{687DDED6-629C-4AD1-A42F-AD18B3C42346}"/>
                  </a:ext>
                </a:extLst>
              </p:cNvPr>
              <p:cNvSpPr/>
              <p:nvPr/>
            </p:nvSpPr>
            <p:spPr>
              <a:xfrm>
                <a:off x="7008462" y="1529113"/>
                <a:ext cx="18315" cy="18457"/>
              </a:xfrm>
              <a:custGeom>
                <a:avLst/>
                <a:gdLst>
                  <a:gd name="connsiteX0" fmla="*/ 1024 w 18315"/>
                  <a:gd name="connsiteY0" fmla="*/ 4982 h 18457"/>
                  <a:gd name="connsiteX1" fmla="*/ 13344 w 18315"/>
                  <a:gd name="connsiteY1" fmla="*/ 1035 h 18457"/>
                  <a:gd name="connsiteX2" fmla="*/ 17291 w 18315"/>
                  <a:gd name="connsiteY2" fmla="*/ 13475 h 18457"/>
                  <a:gd name="connsiteX3" fmla="*/ 4971 w 18315"/>
                  <a:gd name="connsiteY3" fmla="*/ 17422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3356" y="437"/>
                      <a:pt x="8858" y="-1297"/>
                      <a:pt x="13344" y="1035"/>
                    </a:cubicBezTo>
                    <a:cubicBezTo>
                      <a:pt x="17829" y="3368"/>
                      <a:pt x="19624" y="8930"/>
                      <a:pt x="17291" y="13475"/>
                    </a:cubicBezTo>
                    <a:cubicBezTo>
                      <a:pt x="14959" y="18020"/>
                      <a:pt x="9456" y="19755"/>
                      <a:pt x="4971" y="17422"/>
                    </a:cubicBezTo>
                    <a:cubicBezTo>
                      <a:pt x="485" y="15030"/>
                      <a:pt x="-1309" y="9468"/>
                      <a:pt x="1024" y="4982"/>
                    </a:cubicBezTo>
                    <a:close/>
                  </a:path>
                </a:pathLst>
              </a:custGeom>
              <a:grpFill/>
              <a:ln w="5978" cap="flat">
                <a:noFill/>
                <a:prstDash val="solid"/>
                <a:miter/>
              </a:ln>
            </p:spPr>
            <p:txBody>
              <a:bodyPr rtlCol="0" anchor="ctr"/>
              <a:lstStyle/>
              <a:p>
                <a:endParaRPr lang="en-GB"/>
              </a:p>
            </p:txBody>
          </p:sp>
          <p:sp>
            <p:nvSpPr>
              <p:cNvPr id="4403" name="Vrije vorm: vorm 4402">
                <a:extLst>
                  <a:ext uri="{FF2B5EF4-FFF2-40B4-BE49-F238E27FC236}">
                    <a16:creationId xmlns:a16="http://schemas.microsoft.com/office/drawing/2014/main" id="{90C0D7DF-E907-4F04-BA48-A3895B3B9424}"/>
                  </a:ext>
                </a:extLst>
              </p:cNvPr>
              <p:cNvSpPr/>
              <p:nvPr/>
            </p:nvSpPr>
            <p:spPr>
              <a:xfrm>
                <a:off x="6894349" y="1751846"/>
                <a:ext cx="18315" cy="18472"/>
              </a:xfrm>
              <a:custGeom>
                <a:avLst/>
                <a:gdLst>
                  <a:gd name="connsiteX0" fmla="*/ 1024 w 18315"/>
                  <a:gd name="connsiteY0" fmla="*/ 4971 h 18472"/>
                  <a:gd name="connsiteX1" fmla="*/ 4971 w 18315"/>
                  <a:gd name="connsiteY1" fmla="*/ 17411 h 18472"/>
                  <a:gd name="connsiteX2" fmla="*/ 17291 w 18315"/>
                  <a:gd name="connsiteY2" fmla="*/ 13464 h 18472"/>
                  <a:gd name="connsiteX3" fmla="*/ 13344 w 18315"/>
                  <a:gd name="connsiteY3" fmla="*/ 1024 h 18472"/>
                  <a:gd name="connsiteX4" fmla="*/ 1024 w 18315"/>
                  <a:gd name="connsiteY4" fmla="*/ 4971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72">
                    <a:moveTo>
                      <a:pt x="1024" y="4971"/>
                    </a:moveTo>
                    <a:cubicBezTo>
                      <a:pt x="-1309" y="9457"/>
                      <a:pt x="486" y="15019"/>
                      <a:pt x="4971" y="17411"/>
                    </a:cubicBezTo>
                    <a:cubicBezTo>
                      <a:pt x="9457" y="19803"/>
                      <a:pt x="15019" y="18009"/>
                      <a:pt x="17291" y="13464"/>
                    </a:cubicBezTo>
                    <a:cubicBezTo>
                      <a:pt x="19624" y="8978"/>
                      <a:pt x="17830" y="3416"/>
                      <a:pt x="13344" y="1024"/>
                    </a:cubicBezTo>
                    <a:cubicBezTo>
                      <a:pt x="8859" y="-1309"/>
                      <a:pt x="3356" y="486"/>
                      <a:pt x="1024" y="4971"/>
                    </a:cubicBezTo>
                    <a:close/>
                  </a:path>
                </a:pathLst>
              </a:custGeom>
              <a:grpFill/>
              <a:ln w="5978" cap="flat">
                <a:noFill/>
                <a:prstDash val="solid"/>
                <a:miter/>
              </a:ln>
            </p:spPr>
            <p:txBody>
              <a:bodyPr rtlCol="0" anchor="ctr"/>
              <a:lstStyle/>
              <a:p>
                <a:endParaRPr lang="en-GB"/>
              </a:p>
            </p:txBody>
          </p:sp>
        </p:grpSp>
        <p:grpSp>
          <p:nvGrpSpPr>
            <p:cNvPr id="327" name="Graphic 3">
              <a:extLst>
                <a:ext uri="{FF2B5EF4-FFF2-40B4-BE49-F238E27FC236}">
                  <a16:creationId xmlns:a16="http://schemas.microsoft.com/office/drawing/2014/main" id="{082B9D3A-19BA-47C0-800F-E66C6C208122}"/>
                </a:ext>
              </a:extLst>
            </p:cNvPr>
            <p:cNvGrpSpPr/>
            <p:nvPr/>
          </p:nvGrpSpPr>
          <p:grpSpPr>
            <a:xfrm>
              <a:off x="7654490" y="3885634"/>
              <a:ext cx="88787" cy="39335"/>
              <a:chOff x="7654490" y="3885634"/>
              <a:chExt cx="88787" cy="39335"/>
            </a:xfrm>
            <a:grpFill/>
          </p:grpSpPr>
          <p:sp>
            <p:nvSpPr>
              <p:cNvPr id="4398" name="Vrije vorm: vorm 4397">
                <a:extLst>
                  <a:ext uri="{FF2B5EF4-FFF2-40B4-BE49-F238E27FC236}">
                    <a16:creationId xmlns:a16="http://schemas.microsoft.com/office/drawing/2014/main" id="{E0DE40AB-5494-4332-8A01-259E9CCA9548}"/>
                  </a:ext>
                </a:extLst>
              </p:cNvPr>
              <p:cNvSpPr/>
              <p:nvPr/>
            </p:nvSpPr>
            <p:spPr>
              <a:xfrm>
                <a:off x="7662820" y="3893251"/>
                <a:ext cx="72186" cy="24161"/>
              </a:xfrm>
              <a:custGeom>
                <a:avLst/>
                <a:gdLst>
                  <a:gd name="connsiteX0" fmla="*/ 72187 w 72186"/>
                  <a:gd name="connsiteY0" fmla="*/ 21172 h 24161"/>
                  <a:gd name="connsiteX1" fmla="*/ 71290 w 72186"/>
                  <a:gd name="connsiteY1" fmla="*/ 24162 h 24161"/>
                  <a:gd name="connsiteX2" fmla="*/ 0 w 72186"/>
                  <a:gd name="connsiteY2" fmla="*/ 2930 h 24161"/>
                  <a:gd name="connsiteX3" fmla="*/ 837 w 72186"/>
                  <a:gd name="connsiteY3" fmla="*/ 0 h 24161"/>
                </a:gdLst>
                <a:ahLst/>
                <a:cxnLst>
                  <a:cxn ang="0">
                    <a:pos x="connsiteX0" y="connsiteY0"/>
                  </a:cxn>
                  <a:cxn ang="0">
                    <a:pos x="connsiteX1" y="connsiteY1"/>
                  </a:cxn>
                  <a:cxn ang="0">
                    <a:pos x="connsiteX2" y="connsiteY2"/>
                  </a:cxn>
                  <a:cxn ang="0">
                    <a:pos x="connsiteX3" y="connsiteY3"/>
                  </a:cxn>
                </a:cxnLst>
                <a:rect l="l" t="t" r="r" b="b"/>
                <a:pathLst>
                  <a:path w="72186" h="24161">
                    <a:moveTo>
                      <a:pt x="72187" y="21172"/>
                    </a:moveTo>
                    <a:lnTo>
                      <a:pt x="71290" y="24162"/>
                    </a:lnTo>
                    <a:lnTo>
                      <a:pt x="0" y="2930"/>
                    </a:lnTo>
                    <a:lnTo>
                      <a:pt x="837" y="0"/>
                    </a:lnTo>
                    <a:close/>
                  </a:path>
                </a:pathLst>
              </a:custGeom>
              <a:grpFill/>
              <a:ln w="5978" cap="flat">
                <a:noFill/>
                <a:prstDash val="solid"/>
                <a:miter/>
              </a:ln>
            </p:spPr>
            <p:txBody>
              <a:bodyPr rtlCol="0" anchor="ctr"/>
              <a:lstStyle/>
              <a:p>
                <a:endParaRPr lang="en-GB"/>
              </a:p>
            </p:txBody>
          </p:sp>
          <p:sp>
            <p:nvSpPr>
              <p:cNvPr id="4399" name="Vrije vorm: vorm 4398">
                <a:extLst>
                  <a:ext uri="{FF2B5EF4-FFF2-40B4-BE49-F238E27FC236}">
                    <a16:creationId xmlns:a16="http://schemas.microsoft.com/office/drawing/2014/main" id="{25BA3EEB-BAF0-4BDB-A309-2F22B0CD9F39}"/>
                  </a:ext>
                </a:extLst>
              </p:cNvPr>
              <p:cNvSpPr/>
              <p:nvPr/>
            </p:nvSpPr>
            <p:spPr>
              <a:xfrm>
                <a:off x="7724943" y="3906571"/>
                <a:ext cx="18333" cy="18398"/>
              </a:xfrm>
              <a:custGeom>
                <a:avLst/>
                <a:gdLst>
                  <a:gd name="connsiteX0" fmla="*/ 11739 w 18333"/>
                  <a:gd name="connsiteY0" fmla="*/ 375 h 18398"/>
                  <a:gd name="connsiteX1" fmla="*/ 17958 w 18333"/>
                  <a:gd name="connsiteY1" fmla="*/ 11799 h 18398"/>
                  <a:gd name="connsiteX2" fmla="*/ 6596 w 18333"/>
                  <a:gd name="connsiteY2" fmla="*/ 18019 h 18398"/>
                  <a:gd name="connsiteX3" fmla="*/ 375 w 18333"/>
                  <a:gd name="connsiteY3" fmla="*/ 6595 h 18398"/>
                  <a:gd name="connsiteX4" fmla="*/ 11739 w 18333"/>
                  <a:gd name="connsiteY4" fmla="*/ 37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8">
                    <a:moveTo>
                      <a:pt x="11739" y="375"/>
                    </a:moveTo>
                    <a:cubicBezTo>
                      <a:pt x="16583" y="1811"/>
                      <a:pt x="19394" y="6954"/>
                      <a:pt x="17958" y="11799"/>
                    </a:cubicBezTo>
                    <a:cubicBezTo>
                      <a:pt x="16523" y="16703"/>
                      <a:pt x="11440" y="19454"/>
                      <a:pt x="6596" y="18019"/>
                    </a:cubicBezTo>
                    <a:cubicBezTo>
                      <a:pt x="1751" y="16583"/>
                      <a:pt x="-1060" y="11440"/>
                      <a:pt x="375" y="6595"/>
                    </a:cubicBezTo>
                    <a:cubicBezTo>
                      <a:pt x="1811" y="1751"/>
                      <a:pt x="6894" y="-1060"/>
                      <a:pt x="11739" y="375"/>
                    </a:cubicBezTo>
                    <a:close/>
                  </a:path>
                </a:pathLst>
              </a:custGeom>
              <a:grpFill/>
              <a:ln w="5978" cap="flat">
                <a:noFill/>
                <a:prstDash val="solid"/>
                <a:miter/>
              </a:ln>
            </p:spPr>
            <p:txBody>
              <a:bodyPr rtlCol="0" anchor="ctr"/>
              <a:lstStyle/>
              <a:p>
                <a:endParaRPr lang="en-GB"/>
              </a:p>
            </p:txBody>
          </p:sp>
          <p:sp>
            <p:nvSpPr>
              <p:cNvPr id="4400" name="Vrije vorm: vorm 4399">
                <a:extLst>
                  <a:ext uri="{FF2B5EF4-FFF2-40B4-BE49-F238E27FC236}">
                    <a16:creationId xmlns:a16="http://schemas.microsoft.com/office/drawing/2014/main" id="{A0F3F50D-47E8-420B-998E-14268025C8D0}"/>
                  </a:ext>
                </a:extLst>
              </p:cNvPr>
              <p:cNvSpPr/>
              <p:nvPr/>
            </p:nvSpPr>
            <p:spPr>
              <a:xfrm>
                <a:off x="7654490" y="3885634"/>
                <a:ext cx="18334" cy="18403"/>
              </a:xfrm>
              <a:custGeom>
                <a:avLst/>
                <a:gdLst>
                  <a:gd name="connsiteX0" fmla="*/ 11739 w 18334"/>
                  <a:gd name="connsiteY0" fmla="*/ 380 h 18403"/>
                  <a:gd name="connsiteX1" fmla="*/ 375 w 18334"/>
                  <a:gd name="connsiteY1" fmla="*/ 6600 h 18403"/>
                  <a:gd name="connsiteX2" fmla="*/ 6596 w 18334"/>
                  <a:gd name="connsiteY2" fmla="*/ 18023 h 18403"/>
                  <a:gd name="connsiteX3" fmla="*/ 17959 w 18334"/>
                  <a:gd name="connsiteY3" fmla="*/ 11803 h 18403"/>
                  <a:gd name="connsiteX4" fmla="*/ 11739 w 18334"/>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3">
                    <a:moveTo>
                      <a:pt x="11739" y="380"/>
                    </a:moveTo>
                    <a:cubicBezTo>
                      <a:pt x="6895" y="-1055"/>
                      <a:pt x="1811" y="1696"/>
                      <a:pt x="375" y="6600"/>
                    </a:cubicBezTo>
                    <a:cubicBezTo>
                      <a:pt x="-1060" y="11504"/>
                      <a:pt x="1751" y="16588"/>
                      <a:pt x="6596" y="18023"/>
                    </a:cubicBezTo>
                    <a:cubicBezTo>
                      <a:pt x="11440" y="19459"/>
                      <a:pt x="16524" y="16708"/>
                      <a:pt x="17959" y="11803"/>
                    </a:cubicBezTo>
                    <a:cubicBezTo>
                      <a:pt x="19394" y="6959"/>
                      <a:pt x="16584" y="1815"/>
                      <a:pt x="11739" y="380"/>
                    </a:cubicBezTo>
                    <a:close/>
                  </a:path>
                </a:pathLst>
              </a:custGeom>
              <a:grpFill/>
              <a:ln w="5978" cap="flat">
                <a:noFill/>
                <a:prstDash val="solid"/>
                <a:miter/>
              </a:ln>
            </p:spPr>
            <p:txBody>
              <a:bodyPr rtlCol="0" anchor="ctr"/>
              <a:lstStyle/>
              <a:p>
                <a:endParaRPr lang="en-GB"/>
              </a:p>
            </p:txBody>
          </p:sp>
        </p:grpSp>
        <p:grpSp>
          <p:nvGrpSpPr>
            <p:cNvPr id="328" name="Graphic 3">
              <a:extLst>
                <a:ext uri="{FF2B5EF4-FFF2-40B4-BE49-F238E27FC236}">
                  <a16:creationId xmlns:a16="http://schemas.microsoft.com/office/drawing/2014/main" id="{34EE1FA9-F239-42AA-8A87-095F4971DC5C}"/>
                </a:ext>
              </a:extLst>
            </p:cNvPr>
            <p:cNvGrpSpPr/>
            <p:nvPr/>
          </p:nvGrpSpPr>
          <p:grpSpPr>
            <a:xfrm>
              <a:off x="6685894" y="1030365"/>
              <a:ext cx="380142" cy="796281"/>
              <a:chOff x="6685894" y="1030365"/>
              <a:chExt cx="380142" cy="796281"/>
            </a:xfrm>
            <a:grpFill/>
          </p:grpSpPr>
          <p:sp>
            <p:nvSpPr>
              <p:cNvPr id="4395" name="Vrije vorm: vorm 4394">
                <a:extLst>
                  <a:ext uri="{FF2B5EF4-FFF2-40B4-BE49-F238E27FC236}">
                    <a16:creationId xmlns:a16="http://schemas.microsoft.com/office/drawing/2014/main" id="{35D9A150-47C4-4838-A969-A73EAF97D205}"/>
                  </a:ext>
                </a:extLst>
              </p:cNvPr>
              <p:cNvSpPr/>
              <p:nvPr/>
            </p:nvSpPr>
            <p:spPr>
              <a:xfrm>
                <a:off x="6693524" y="1038473"/>
                <a:ext cx="364943" cy="780005"/>
              </a:xfrm>
              <a:custGeom>
                <a:avLst/>
                <a:gdLst>
                  <a:gd name="connsiteX0" fmla="*/ 364944 w 364943"/>
                  <a:gd name="connsiteY0" fmla="*/ 1316 h 780005"/>
                  <a:gd name="connsiteX1" fmla="*/ 2751 w 364943"/>
                  <a:gd name="connsiteY1" fmla="*/ 780006 h 780005"/>
                  <a:gd name="connsiteX2" fmla="*/ 0 w 364943"/>
                  <a:gd name="connsiteY2" fmla="*/ 778750 h 780005"/>
                  <a:gd name="connsiteX3" fmla="*/ 362193 w 364943"/>
                  <a:gd name="connsiteY3" fmla="*/ 0 h 780005"/>
                </a:gdLst>
                <a:ahLst/>
                <a:cxnLst>
                  <a:cxn ang="0">
                    <a:pos x="connsiteX0" y="connsiteY0"/>
                  </a:cxn>
                  <a:cxn ang="0">
                    <a:pos x="connsiteX1" y="connsiteY1"/>
                  </a:cxn>
                  <a:cxn ang="0">
                    <a:pos x="connsiteX2" y="connsiteY2"/>
                  </a:cxn>
                  <a:cxn ang="0">
                    <a:pos x="connsiteX3" y="connsiteY3"/>
                  </a:cxn>
                </a:cxnLst>
                <a:rect l="l" t="t" r="r" b="b"/>
                <a:pathLst>
                  <a:path w="364943" h="780005">
                    <a:moveTo>
                      <a:pt x="364944" y="1316"/>
                    </a:moveTo>
                    <a:lnTo>
                      <a:pt x="2751" y="780006"/>
                    </a:lnTo>
                    <a:lnTo>
                      <a:pt x="0" y="778750"/>
                    </a:lnTo>
                    <a:lnTo>
                      <a:pt x="362193" y="0"/>
                    </a:lnTo>
                    <a:close/>
                  </a:path>
                </a:pathLst>
              </a:custGeom>
              <a:grpFill/>
              <a:ln w="5978" cap="flat">
                <a:noFill/>
                <a:prstDash val="solid"/>
                <a:miter/>
              </a:ln>
            </p:spPr>
            <p:txBody>
              <a:bodyPr rtlCol="0" anchor="ctr"/>
              <a:lstStyle/>
              <a:p>
                <a:endParaRPr lang="en-GB"/>
              </a:p>
            </p:txBody>
          </p:sp>
          <p:sp>
            <p:nvSpPr>
              <p:cNvPr id="4396" name="Vrije vorm: vorm 4395">
                <a:extLst>
                  <a:ext uri="{FF2B5EF4-FFF2-40B4-BE49-F238E27FC236}">
                    <a16:creationId xmlns:a16="http://schemas.microsoft.com/office/drawing/2014/main" id="{EF357E6B-D8B8-47A8-AE4E-4612CCCFEF65}"/>
                  </a:ext>
                </a:extLst>
              </p:cNvPr>
              <p:cNvSpPr/>
              <p:nvPr/>
            </p:nvSpPr>
            <p:spPr>
              <a:xfrm>
                <a:off x="6685894" y="1808218"/>
                <a:ext cx="18368" cy="18428"/>
              </a:xfrm>
              <a:custGeom>
                <a:avLst/>
                <a:gdLst>
                  <a:gd name="connsiteX0" fmla="*/ 17498 w 18368"/>
                  <a:gd name="connsiteY0" fmla="*/ 13132 h 18428"/>
                  <a:gd name="connsiteX1" fmla="*/ 5297 w 18368"/>
                  <a:gd name="connsiteY1" fmla="*/ 17557 h 18428"/>
                  <a:gd name="connsiteX2" fmla="*/ 871 w 18368"/>
                  <a:gd name="connsiteY2" fmla="*/ 5297 h 18428"/>
                  <a:gd name="connsiteX3" fmla="*/ 13072 w 18368"/>
                  <a:gd name="connsiteY3" fmla="*/ 871 h 18428"/>
                  <a:gd name="connsiteX4" fmla="*/ 17498 w 18368"/>
                  <a:gd name="connsiteY4" fmla="*/ 13132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17498" y="13132"/>
                    </a:moveTo>
                    <a:cubicBezTo>
                      <a:pt x="15345" y="17737"/>
                      <a:pt x="9902" y="19710"/>
                      <a:pt x="5297" y="17557"/>
                    </a:cubicBezTo>
                    <a:cubicBezTo>
                      <a:pt x="692" y="15404"/>
                      <a:pt x="-1282" y="9902"/>
                      <a:pt x="871" y="5297"/>
                    </a:cubicBezTo>
                    <a:cubicBezTo>
                      <a:pt x="3024" y="692"/>
                      <a:pt x="8467" y="-1282"/>
                      <a:pt x="13072" y="871"/>
                    </a:cubicBezTo>
                    <a:cubicBezTo>
                      <a:pt x="17677" y="3024"/>
                      <a:pt x="19651" y="8526"/>
                      <a:pt x="17498" y="13132"/>
                    </a:cubicBezTo>
                    <a:close/>
                  </a:path>
                </a:pathLst>
              </a:custGeom>
              <a:grpFill/>
              <a:ln w="5978" cap="flat">
                <a:noFill/>
                <a:prstDash val="solid"/>
                <a:miter/>
              </a:ln>
            </p:spPr>
            <p:txBody>
              <a:bodyPr rtlCol="0" anchor="ctr"/>
              <a:lstStyle/>
              <a:p>
                <a:endParaRPr lang="en-GB"/>
              </a:p>
            </p:txBody>
          </p:sp>
          <p:sp>
            <p:nvSpPr>
              <p:cNvPr id="4397" name="Vrije vorm: vorm 4396">
                <a:extLst>
                  <a:ext uri="{FF2B5EF4-FFF2-40B4-BE49-F238E27FC236}">
                    <a16:creationId xmlns:a16="http://schemas.microsoft.com/office/drawing/2014/main" id="{F91598B8-F572-4C60-8453-1554E66720F3}"/>
                  </a:ext>
                </a:extLst>
              </p:cNvPr>
              <p:cNvSpPr/>
              <p:nvPr/>
            </p:nvSpPr>
            <p:spPr>
              <a:xfrm>
                <a:off x="7047668" y="1030365"/>
                <a:ext cx="18368" cy="18428"/>
              </a:xfrm>
              <a:custGeom>
                <a:avLst/>
                <a:gdLst>
                  <a:gd name="connsiteX0" fmla="*/ 17498 w 18368"/>
                  <a:gd name="connsiteY0" fmla="*/ 13132 h 18428"/>
                  <a:gd name="connsiteX1" fmla="*/ 13072 w 18368"/>
                  <a:gd name="connsiteY1" fmla="*/ 871 h 18428"/>
                  <a:gd name="connsiteX2" fmla="*/ 871 w 18368"/>
                  <a:gd name="connsiteY2" fmla="*/ 5297 h 18428"/>
                  <a:gd name="connsiteX3" fmla="*/ 5297 w 18368"/>
                  <a:gd name="connsiteY3" fmla="*/ 17557 h 18428"/>
                  <a:gd name="connsiteX4" fmla="*/ 17498 w 18368"/>
                  <a:gd name="connsiteY4" fmla="*/ 13132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17498" y="13132"/>
                    </a:moveTo>
                    <a:cubicBezTo>
                      <a:pt x="19651" y="8526"/>
                      <a:pt x="17677" y="3024"/>
                      <a:pt x="13072" y="871"/>
                    </a:cubicBezTo>
                    <a:cubicBezTo>
                      <a:pt x="8467" y="-1282"/>
                      <a:pt x="3024" y="692"/>
                      <a:pt x="871" y="5297"/>
                    </a:cubicBezTo>
                    <a:cubicBezTo>
                      <a:pt x="-1282" y="9902"/>
                      <a:pt x="692" y="15404"/>
                      <a:pt x="5297" y="17557"/>
                    </a:cubicBezTo>
                    <a:cubicBezTo>
                      <a:pt x="9902" y="19710"/>
                      <a:pt x="15404" y="17737"/>
                      <a:pt x="17498" y="13132"/>
                    </a:cubicBezTo>
                    <a:close/>
                  </a:path>
                </a:pathLst>
              </a:custGeom>
              <a:grpFill/>
              <a:ln w="5978" cap="flat">
                <a:noFill/>
                <a:prstDash val="solid"/>
                <a:miter/>
              </a:ln>
            </p:spPr>
            <p:txBody>
              <a:bodyPr rtlCol="0" anchor="ctr"/>
              <a:lstStyle/>
              <a:p>
                <a:endParaRPr lang="en-GB"/>
              </a:p>
            </p:txBody>
          </p:sp>
        </p:grpSp>
        <p:grpSp>
          <p:nvGrpSpPr>
            <p:cNvPr id="329" name="Graphic 3">
              <a:extLst>
                <a:ext uri="{FF2B5EF4-FFF2-40B4-BE49-F238E27FC236}">
                  <a16:creationId xmlns:a16="http://schemas.microsoft.com/office/drawing/2014/main" id="{7339DC5E-3A1A-4F08-ADBD-01D7EAB95256}"/>
                </a:ext>
              </a:extLst>
            </p:cNvPr>
            <p:cNvGrpSpPr/>
            <p:nvPr/>
          </p:nvGrpSpPr>
          <p:grpSpPr>
            <a:xfrm>
              <a:off x="6851740" y="1439469"/>
              <a:ext cx="130088" cy="258054"/>
              <a:chOff x="6851740" y="1439469"/>
              <a:chExt cx="130088" cy="258054"/>
            </a:xfrm>
            <a:grpFill/>
          </p:grpSpPr>
          <p:sp>
            <p:nvSpPr>
              <p:cNvPr id="4392" name="Vrije vorm: vorm 4391">
                <a:extLst>
                  <a:ext uri="{FF2B5EF4-FFF2-40B4-BE49-F238E27FC236}">
                    <a16:creationId xmlns:a16="http://schemas.microsoft.com/office/drawing/2014/main" id="{5488668D-1087-4F14-8369-3E28D2B868E8}"/>
                  </a:ext>
                </a:extLst>
              </p:cNvPr>
              <p:cNvSpPr/>
              <p:nvPr/>
            </p:nvSpPr>
            <p:spPr>
              <a:xfrm>
                <a:off x="6859369" y="1447614"/>
                <a:ext cx="114830" cy="241740"/>
              </a:xfrm>
              <a:custGeom>
                <a:avLst/>
                <a:gdLst>
                  <a:gd name="connsiteX0" fmla="*/ 114830 w 114830"/>
                  <a:gd name="connsiteY0" fmla="*/ 1316 h 241740"/>
                  <a:gd name="connsiteX1" fmla="*/ 2752 w 114830"/>
                  <a:gd name="connsiteY1" fmla="*/ 241741 h 241740"/>
                  <a:gd name="connsiteX2" fmla="*/ 0 w 114830"/>
                  <a:gd name="connsiteY2" fmla="*/ 240425 h 241740"/>
                  <a:gd name="connsiteX3" fmla="*/ 112019 w 114830"/>
                  <a:gd name="connsiteY3" fmla="*/ 0 h 241740"/>
                </a:gdLst>
                <a:ahLst/>
                <a:cxnLst>
                  <a:cxn ang="0">
                    <a:pos x="connsiteX0" y="connsiteY0"/>
                  </a:cxn>
                  <a:cxn ang="0">
                    <a:pos x="connsiteX1" y="connsiteY1"/>
                  </a:cxn>
                  <a:cxn ang="0">
                    <a:pos x="connsiteX2" y="connsiteY2"/>
                  </a:cxn>
                  <a:cxn ang="0">
                    <a:pos x="connsiteX3" y="connsiteY3"/>
                  </a:cxn>
                </a:cxnLst>
                <a:rect l="l" t="t" r="r" b="b"/>
                <a:pathLst>
                  <a:path w="114830" h="241740">
                    <a:moveTo>
                      <a:pt x="114830" y="1316"/>
                    </a:moveTo>
                    <a:lnTo>
                      <a:pt x="2752" y="241741"/>
                    </a:lnTo>
                    <a:lnTo>
                      <a:pt x="0" y="240425"/>
                    </a:lnTo>
                    <a:lnTo>
                      <a:pt x="112019" y="0"/>
                    </a:lnTo>
                    <a:close/>
                  </a:path>
                </a:pathLst>
              </a:custGeom>
              <a:grpFill/>
              <a:ln w="5978" cap="flat">
                <a:noFill/>
                <a:prstDash val="solid"/>
                <a:miter/>
              </a:ln>
            </p:spPr>
            <p:txBody>
              <a:bodyPr rtlCol="0" anchor="ctr"/>
              <a:lstStyle/>
              <a:p>
                <a:endParaRPr lang="en-GB"/>
              </a:p>
            </p:txBody>
          </p:sp>
          <p:sp>
            <p:nvSpPr>
              <p:cNvPr id="4393" name="Vrije vorm: vorm 4392">
                <a:extLst>
                  <a:ext uri="{FF2B5EF4-FFF2-40B4-BE49-F238E27FC236}">
                    <a16:creationId xmlns:a16="http://schemas.microsoft.com/office/drawing/2014/main" id="{00053E35-B1BE-4A81-9750-F13F7E7750DD}"/>
                  </a:ext>
                </a:extLst>
              </p:cNvPr>
              <p:cNvSpPr/>
              <p:nvPr/>
            </p:nvSpPr>
            <p:spPr>
              <a:xfrm>
                <a:off x="6963460" y="1439469"/>
                <a:ext cx="18368" cy="18442"/>
              </a:xfrm>
              <a:custGeom>
                <a:avLst/>
                <a:gdLst>
                  <a:gd name="connsiteX0" fmla="*/ 871 w 18368"/>
                  <a:gd name="connsiteY0" fmla="*/ 5274 h 18442"/>
                  <a:gd name="connsiteX1" fmla="*/ 13072 w 18368"/>
                  <a:gd name="connsiteY1" fmla="*/ 908 h 18442"/>
                  <a:gd name="connsiteX2" fmla="*/ 17498 w 18368"/>
                  <a:gd name="connsiteY2" fmla="*/ 13169 h 18442"/>
                  <a:gd name="connsiteX3" fmla="*/ 5297 w 18368"/>
                  <a:gd name="connsiteY3" fmla="*/ 17535 h 18442"/>
                  <a:gd name="connsiteX4" fmla="*/ 871 w 18368"/>
                  <a:gd name="connsiteY4" fmla="*/ 527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2">
                    <a:moveTo>
                      <a:pt x="871" y="5274"/>
                    </a:moveTo>
                    <a:cubicBezTo>
                      <a:pt x="3024" y="669"/>
                      <a:pt x="8467" y="-1305"/>
                      <a:pt x="13072" y="908"/>
                    </a:cubicBezTo>
                    <a:cubicBezTo>
                      <a:pt x="17677" y="3061"/>
                      <a:pt x="19651" y="8564"/>
                      <a:pt x="17498" y="13169"/>
                    </a:cubicBezTo>
                    <a:cubicBezTo>
                      <a:pt x="15345" y="17774"/>
                      <a:pt x="9902" y="19748"/>
                      <a:pt x="5297" y="17535"/>
                    </a:cubicBezTo>
                    <a:cubicBezTo>
                      <a:pt x="692" y="15382"/>
                      <a:pt x="-1282" y="9879"/>
                      <a:pt x="871" y="5274"/>
                    </a:cubicBezTo>
                    <a:close/>
                  </a:path>
                </a:pathLst>
              </a:custGeom>
              <a:grpFill/>
              <a:ln w="5978" cap="flat">
                <a:noFill/>
                <a:prstDash val="solid"/>
                <a:miter/>
              </a:ln>
            </p:spPr>
            <p:txBody>
              <a:bodyPr rtlCol="0" anchor="ctr"/>
              <a:lstStyle/>
              <a:p>
                <a:endParaRPr lang="en-GB"/>
              </a:p>
            </p:txBody>
          </p:sp>
          <p:sp>
            <p:nvSpPr>
              <p:cNvPr id="4394" name="Vrije vorm: vorm 4393">
                <a:extLst>
                  <a:ext uri="{FF2B5EF4-FFF2-40B4-BE49-F238E27FC236}">
                    <a16:creationId xmlns:a16="http://schemas.microsoft.com/office/drawing/2014/main" id="{03A27EB6-91CB-49D0-81D6-23037378F32B}"/>
                  </a:ext>
                </a:extLst>
              </p:cNvPr>
              <p:cNvSpPr/>
              <p:nvPr/>
            </p:nvSpPr>
            <p:spPr>
              <a:xfrm>
                <a:off x="6851740" y="1679116"/>
                <a:ext cx="18368" cy="18407"/>
              </a:xfrm>
              <a:custGeom>
                <a:avLst/>
                <a:gdLst>
                  <a:gd name="connsiteX0" fmla="*/ 871 w 18368"/>
                  <a:gd name="connsiteY0" fmla="*/ 5274 h 18407"/>
                  <a:gd name="connsiteX1" fmla="*/ 5297 w 18368"/>
                  <a:gd name="connsiteY1" fmla="*/ 17535 h 18407"/>
                  <a:gd name="connsiteX2" fmla="*/ 17498 w 18368"/>
                  <a:gd name="connsiteY2" fmla="*/ 13169 h 18407"/>
                  <a:gd name="connsiteX3" fmla="*/ 13072 w 18368"/>
                  <a:gd name="connsiteY3" fmla="*/ 908 h 18407"/>
                  <a:gd name="connsiteX4" fmla="*/ 871 w 18368"/>
                  <a:gd name="connsiteY4" fmla="*/ 527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7">
                    <a:moveTo>
                      <a:pt x="871" y="5274"/>
                    </a:moveTo>
                    <a:cubicBezTo>
                      <a:pt x="-1282" y="9879"/>
                      <a:pt x="692" y="15382"/>
                      <a:pt x="5297" y="17535"/>
                    </a:cubicBezTo>
                    <a:cubicBezTo>
                      <a:pt x="9902" y="19688"/>
                      <a:pt x="15345" y="17714"/>
                      <a:pt x="17498" y="13169"/>
                    </a:cubicBezTo>
                    <a:cubicBezTo>
                      <a:pt x="19651" y="8564"/>
                      <a:pt x="17677" y="3061"/>
                      <a:pt x="13072" y="908"/>
                    </a:cubicBezTo>
                    <a:cubicBezTo>
                      <a:pt x="8467" y="-1305"/>
                      <a:pt x="3024" y="669"/>
                      <a:pt x="871" y="5274"/>
                    </a:cubicBezTo>
                    <a:close/>
                  </a:path>
                </a:pathLst>
              </a:custGeom>
              <a:grpFill/>
              <a:ln w="5978" cap="flat">
                <a:noFill/>
                <a:prstDash val="solid"/>
                <a:miter/>
              </a:ln>
            </p:spPr>
            <p:txBody>
              <a:bodyPr rtlCol="0" anchor="ctr"/>
              <a:lstStyle/>
              <a:p>
                <a:endParaRPr lang="en-GB"/>
              </a:p>
            </p:txBody>
          </p:sp>
        </p:grpSp>
        <p:grpSp>
          <p:nvGrpSpPr>
            <p:cNvPr id="330" name="Graphic 3">
              <a:extLst>
                <a:ext uri="{FF2B5EF4-FFF2-40B4-BE49-F238E27FC236}">
                  <a16:creationId xmlns:a16="http://schemas.microsoft.com/office/drawing/2014/main" id="{25AEA166-8DE5-4CBE-97FF-F3865A5EA0AF}"/>
                </a:ext>
              </a:extLst>
            </p:cNvPr>
            <p:cNvGrpSpPr/>
            <p:nvPr/>
          </p:nvGrpSpPr>
          <p:grpSpPr>
            <a:xfrm>
              <a:off x="6736108" y="1076033"/>
              <a:ext cx="210338" cy="525853"/>
              <a:chOff x="6736108" y="1076033"/>
              <a:chExt cx="210338" cy="525853"/>
            </a:xfrm>
            <a:grpFill/>
          </p:grpSpPr>
          <p:sp>
            <p:nvSpPr>
              <p:cNvPr id="4389" name="Vrije vorm: vorm 4388">
                <a:extLst>
                  <a:ext uri="{FF2B5EF4-FFF2-40B4-BE49-F238E27FC236}">
                    <a16:creationId xmlns:a16="http://schemas.microsoft.com/office/drawing/2014/main" id="{5F0FB6C8-C596-47A7-950A-E3BA898D931B}"/>
                  </a:ext>
                </a:extLst>
              </p:cNvPr>
              <p:cNvSpPr/>
              <p:nvPr/>
            </p:nvSpPr>
            <p:spPr>
              <a:xfrm>
                <a:off x="6743702" y="1084285"/>
                <a:ext cx="195091" cy="509378"/>
              </a:xfrm>
              <a:custGeom>
                <a:avLst/>
                <a:gdLst>
                  <a:gd name="connsiteX0" fmla="*/ 195091 w 195091"/>
                  <a:gd name="connsiteY0" fmla="*/ 1077 h 509378"/>
                  <a:gd name="connsiteX1" fmla="*/ 2811 w 195091"/>
                  <a:gd name="connsiteY1" fmla="*/ 509378 h 509378"/>
                  <a:gd name="connsiteX2" fmla="*/ 0 w 195091"/>
                  <a:gd name="connsiteY2" fmla="*/ 508301 h 509378"/>
                  <a:gd name="connsiteX3" fmla="*/ 192280 w 195091"/>
                  <a:gd name="connsiteY3" fmla="*/ 0 h 509378"/>
                </a:gdLst>
                <a:ahLst/>
                <a:cxnLst>
                  <a:cxn ang="0">
                    <a:pos x="connsiteX0" y="connsiteY0"/>
                  </a:cxn>
                  <a:cxn ang="0">
                    <a:pos x="connsiteX1" y="connsiteY1"/>
                  </a:cxn>
                  <a:cxn ang="0">
                    <a:pos x="connsiteX2" y="connsiteY2"/>
                  </a:cxn>
                  <a:cxn ang="0">
                    <a:pos x="connsiteX3" y="connsiteY3"/>
                  </a:cxn>
                </a:cxnLst>
                <a:rect l="l" t="t" r="r" b="b"/>
                <a:pathLst>
                  <a:path w="195091" h="509378">
                    <a:moveTo>
                      <a:pt x="195091" y="1077"/>
                    </a:moveTo>
                    <a:lnTo>
                      <a:pt x="2811" y="509378"/>
                    </a:lnTo>
                    <a:lnTo>
                      <a:pt x="0" y="508301"/>
                    </a:lnTo>
                    <a:lnTo>
                      <a:pt x="192280" y="0"/>
                    </a:lnTo>
                    <a:close/>
                  </a:path>
                </a:pathLst>
              </a:custGeom>
              <a:grpFill/>
              <a:ln w="5978" cap="flat">
                <a:noFill/>
                <a:prstDash val="solid"/>
                <a:miter/>
              </a:ln>
            </p:spPr>
            <p:txBody>
              <a:bodyPr rtlCol="0" anchor="ctr"/>
              <a:lstStyle/>
              <a:p>
                <a:endParaRPr lang="en-GB"/>
              </a:p>
            </p:txBody>
          </p:sp>
          <p:sp>
            <p:nvSpPr>
              <p:cNvPr id="4390" name="Vrije vorm: vorm 4389">
                <a:extLst>
                  <a:ext uri="{FF2B5EF4-FFF2-40B4-BE49-F238E27FC236}">
                    <a16:creationId xmlns:a16="http://schemas.microsoft.com/office/drawing/2014/main" id="{CDBD00DE-7CD9-401C-A536-28AC9FBC5B37}"/>
                  </a:ext>
                </a:extLst>
              </p:cNvPr>
              <p:cNvSpPr/>
              <p:nvPr/>
            </p:nvSpPr>
            <p:spPr>
              <a:xfrm>
                <a:off x="6928090" y="1076033"/>
                <a:ext cx="18357" cy="18417"/>
              </a:xfrm>
              <a:custGeom>
                <a:avLst/>
                <a:gdLst>
                  <a:gd name="connsiteX0" fmla="*/ 597 w 18357"/>
                  <a:gd name="connsiteY0" fmla="*/ 5919 h 18417"/>
                  <a:gd name="connsiteX1" fmla="*/ 12438 w 18357"/>
                  <a:gd name="connsiteY1" fmla="*/ 596 h 18417"/>
                  <a:gd name="connsiteX2" fmla="*/ 17761 w 18357"/>
                  <a:gd name="connsiteY2" fmla="*/ 12498 h 18417"/>
                  <a:gd name="connsiteX3" fmla="*/ 5919 w 18357"/>
                  <a:gd name="connsiteY3" fmla="*/ 17821 h 18417"/>
                  <a:gd name="connsiteX4" fmla="*/ 597 w 18357"/>
                  <a:gd name="connsiteY4" fmla="*/ 5919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7">
                    <a:moveTo>
                      <a:pt x="597" y="5919"/>
                    </a:moveTo>
                    <a:cubicBezTo>
                      <a:pt x="2390" y="1194"/>
                      <a:pt x="7713" y="-1198"/>
                      <a:pt x="12438" y="596"/>
                    </a:cubicBezTo>
                    <a:cubicBezTo>
                      <a:pt x="17163" y="2450"/>
                      <a:pt x="19555" y="7773"/>
                      <a:pt x="17761" y="12498"/>
                    </a:cubicBezTo>
                    <a:cubicBezTo>
                      <a:pt x="15967" y="17223"/>
                      <a:pt x="10644" y="19615"/>
                      <a:pt x="5919" y="17821"/>
                    </a:cubicBezTo>
                    <a:cubicBezTo>
                      <a:pt x="1194" y="16027"/>
                      <a:pt x="-1198" y="10644"/>
                      <a:pt x="597" y="5919"/>
                    </a:cubicBezTo>
                    <a:close/>
                  </a:path>
                </a:pathLst>
              </a:custGeom>
              <a:grpFill/>
              <a:ln w="5978" cap="flat">
                <a:noFill/>
                <a:prstDash val="solid"/>
                <a:miter/>
              </a:ln>
            </p:spPr>
            <p:txBody>
              <a:bodyPr rtlCol="0" anchor="ctr"/>
              <a:lstStyle/>
              <a:p>
                <a:endParaRPr lang="en-GB"/>
              </a:p>
            </p:txBody>
          </p:sp>
          <p:sp>
            <p:nvSpPr>
              <p:cNvPr id="4391" name="Vrije vorm: vorm 4390">
                <a:extLst>
                  <a:ext uri="{FF2B5EF4-FFF2-40B4-BE49-F238E27FC236}">
                    <a16:creationId xmlns:a16="http://schemas.microsoft.com/office/drawing/2014/main" id="{07DE8EA5-174C-4130-B4DA-39106B99169B}"/>
                  </a:ext>
                </a:extLst>
              </p:cNvPr>
              <p:cNvSpPr/>
              <p:nvPr/>
            </p:nvSpPr>
            <p:spPr>
              <a:xfrm>
                <a:off x="6736108" y="1583438"/>
                <a:ext cx="18357" cy="18448"/>
              </a:xfrm>
              <a:custGeom>
                <a:avLst/>
                <a:gdLst>
                  <a:gd name="connsiteX0" fmla="*/ 596 w 18357"/>
                  <a:gd name="connsiteY0" fmla="*/ 5919 h 18448"/>
                  <a:gd name="connsiteX1" fmla="*/ 5919 w 18357"/>
                  <a:gd name="connsiteY1" fmla="*/ 17821 h 18448"/>
                  <a:gd name="connsiteX2" fmla="*/ 17761 w 18357"/>
                  <a:gd name="connsiteY2" fmla="*/ 12498 h 18448"/>
                  <a:gd name="connsiteX3" fmla="*/ 12438 w 18357"/>
                  <a:gd name="connsiteY3" fmla="*/ 596 h 18448"/>
                  <a:gd name="connsiteX4" fmla="*/ 596 w 18357"/>
                  <a:gd name="connsiteY4" fmla="*/ 5919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8">
                    <a:moveTo>
                      <a:pt x="596" y="5919"/>
                    </a:moveTo>
                    <a:cubicBezTo>
                      <a:pt x="-1198" y="10644"/>
                      <a:pt x="1194" y="16027"/>
                      <a:pt x="5919" y="17821"/>
                    </a:cubicBezTo>
                    <a:cubicBezTo>
                      <a:pt x="10644" y="19675"/>
                      <a:pt x="15967" y="17283"/>
                      <a:pt x="17761" y="12498"/>
                    </a:cubicBezTo>
                    <a:cubicBezTo>
                      <a:pt x="19555" y="7773"/>
                      <a:pt x="17163" y="2391"/>
                      <a:pt x="12438" y="596"/>
                    </a:cubicBezTo>
                    <a:cubicBezTo>
                      <a:pt x="7654" y="-1198"/>
                      <a:pt x="2391" y="1194"/>
                      <a:pt x="596" y="5919"/>
                    </a:cubicBezTo>
                    <a:close/>
                  </a:path>
                </a:pathLst>
              </a:custGeom>
              <a:grpFill/>
              <a:ln w="5978" cap="flat">
                <a:noFill/>
                <a:prstDash val="solid"/>
                <a:miter/>
              </a:ln>
            </p:spPr>
            <p:txBody>
              <a:bodyPr rtlCol="0" anchor="ctr"/>
              <a:lstStyle/>
              <a:p>
                <a:endParaRPr lang="en-GB"/>
              </a:p>
            </p:txBody>
          </p:sp>
        </p:grpSp>
        <p:grpSp>
          <p:nvGrpSpPr>
            <p:cNvPr id="331" name="Graphic 3">
              <a:extLst>
                <a:ext uri="{FF2B5EF4-FFF2-40B4-BE49-F238E27FC236}">
                  <a16:creationId xmlns:a16="http://schemas.microsoft.com/office/drawing/2014/main" id="{2FE603E9-13B6-46B7-9E51-815D300AC0D0}"/>
                </a:ext>
              </a:extLst>
            </p:cNvPr>
            <p:cNvGrpSpPr/>
            <p:nvPr/>
          </p:nvGrpSpPr>
          <p:grpSpPr>
            <a:xfrm>
              <a:off x="7745813" y="4449795"/>
              <a:ext cx="372503" cy="235517"/>
              <a:chOff x="7745813" y="4449795"/>
              <a:chExt cx="372503" cy="235517"/>
            </a:xfrm>
            <a:grpFill/>
          </p:grpSpPr>
          <p:sp>
            <p:nvSpPr>
              <p:cNvPr id="4386" name="Vrije vorm: vorm 4385">
                <a:extLst>
                  <a:ext uri="{FF2B5EF4-FFF2-40B4-BE49-F238E27FC236}">
                    <a16:creationId xmlns:a16="http://schemas.microsoft.com/office/drawing/2014/main" id="{1E2D8511-6C06-4105-A470-5D110E01D18A}"/>
                  </a:ext>
                </a:extLst>
              </p:cNvPr>
              <p:cNvSpPr/>
              <p:nvPr/>
            </p:nvSpPr>
            <p:spPr>
              <a:xfrm>
                <a:off x="7753786" y="4457472"/>
                <a:ext cx="356510" cy="220210"/>
              </a:xfrm>
              <a:custGeom>
                <a:avLst/>
                <a:gdLst>
                  <a:gd name="connsiteX0" fmla="*/ 356511 w 356510"/>
                  <a:gd name="connsiteY0" fmla="*/ 217579 h 220210"/>
                  <a:gd name="connsiteX1" fmla="*/ 354956 w 356510"/>
                  <a:gd name="connsiteY1" fmla="*/ 220210 h 220210"/>
                  <a:gd name="connsiteX2" fmla="*/ 0 w 356510"/>
                  <a:gd name="connsiteY2" fmla="*/ 2632 h 220210"/>
                  <a:gd name="connsiteX3" fmla="*/ 1555 w 356510"/>
                  <a:gd name="connsiteY3" fmla="*/ 0 h 220210"/>
                </a:gdLst>
                <a:ahLst/>
                <a:cxnLst>
                  <a:cxn ang="0">
                    <a:pos x="connsiteX0" y="connsiteY0"/>
                  </a:cxn>
                  <a:cxn ang="0">
                    <a:pos x="connsiteX1" y="connsiteY1"/>
                  </a:cxn>
                  <a:cxn ang="0">
                    <a:pos x="connsiteX2" y="connsiteY2"/>
                  </a:cxn>
                  <a:cxn ang="0">
                    <a:pos x="connsiteX3" y="connsiteY3"/>
                  </a:cxn>
                </a:cxnLst>
                <a:rect l="l" t="t" r="r" b="b"/>
                <a:pathLst>
                  <a:path w="356510" h="220210">
                    <a:moveTo>
                      <a:pt x="356511" y="217579"/>
                    </a:moveTo>
                    <a:lnTo>
                      <a:pt x="354956" y="220210"/>
                    </a:lnTo>
                    <a:lnTo>
                      <a:pt x="0" y="2632"/>
                    </a:lnTo>
                    <a:lnTo>
                      <a:pt x="1555" y="0"/>
                    </a:lnTo>
                    <a:close/>
                  </a:path>
                </a:pathLst>
              </a:custGeom>
              <a:grpFill/>
              <a:ln w="5978" cap="flat">
                <a:noFill/>
                <a:prstDash val="solid"/>
                <a:miter/>
              </a:ln>
            </p:spPr>
            <p:txBody>
              <a:bodyPr rtlCol="0" anchor="ctr"/>
              <a:lstStyle/>
              <a:p>
                <a:endParaRPr lang="en-GB"/>
              </a:p>
            </p:txBody>
          </p:sp>
          <p:sp>
            <p:nvSpPr>
              <p:cNvPr id="4387" name="Vrije vorm: vorm 4386">
                <a:extLst>
                  <a:ext uri="{FF2B5EF4-FFF2-40B4-BE49-F238E27FC236}">
                    <a16:creationId xmlns:a16="http://schemas.microsoft.com/office/drawing/2014/main" id="{C631B00A-0E98-4E72-B622-C903089F5A26}"/>
                  </a:ext>
                </a:extLst>
              </p:cNvPr>
              <p:cNvSpPr/>
              <p:nvPr/>
            </p:nvSpPr>
            <p:spPr>
              <a:xfrm>
                <a:off x="8100006" y="4666895"/>
                <a:ext cx="18310" cy="18417"/>
              </a:xfrm>
              <a:custGeom>
                <a:avLst/>
                <a:gdLst>
                  <a:gd name="connsiteX0" fmla="*/ 13880 w 18310"/>
                  <a:gd name="connsiteY0" fmla="*/ 1337 h 18417"/>
                  <a:gd name="connsiteX1" fmla="*/ 16990 w 18310"/>
                  <a:gd name="connsiteY1" fmla="*/ 14016 h 18417"/>
                  <a:gd name="connsiteX2" fmla="*/ 4431 w 18310"/>
                  <a:gd name="connsiteY2" fmla="*/ 17066 h 18417"/>
                  <a:gd name="connsiteX3" fmla="*/ 1321 w 18310"/>
                  <a:gd name="connsiteY3" fmla="*/ 4387 h 18417"/>
                  <a:gd name="connsiteX4" fmla="*/ 13880 w 18310"/>
                  <a:gd name="connsiteY4" fmla="*/ 133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7">
                    <a:moveTo>
                      <a:pt x="13880" y="1337"/>
                    </a:moveTo>
                    <a:cubicBezTo>
                      <a:pt x="18186" y="3969"/>
                      <a:pt x="19622" y="9650"/>
                      <a:pt x="16990" y="14016"/>
                    </a:cubicBezTo>
                    <a:cubicBezTo>
                      <a:pt x="14359" y="18382"/>
                      <a:pt x="8737" y="19698"/>
                      <a:pt x="4431" y="17066"/>
                    </a:cubicBezTo>
                    <a:cubicBezTo>
                      <a:pt x="125" y="14435"/>
                      <a:pt x="-1311" y="8753"/>
                      <a:pt x="1321" y="4387"/>
                    </a:cubicBezTo>
                    <a:cubicBezTo>
                      <a:pt x="3952" y="81"/>
                      <a:pt x="9574" y="-1294"/>
                      <a:pt x="13880" y="1337"/>
                    </a:cubicBezTo>
                    <a:close/>
                  </a:path>
                </a:pathLst>
              </a:custGeom>
              <a:grpFill/>
              <a:ln w="5978" cap="flat">
                <a:noFill/>
                <a:prstDash val="solid"/>
                <a:miter/>
              </a:ln>
            </p:spPr>
            <p:txBody>
              <a:bodyPr rtlCol="0" anchor="ctr"/>
              <a:lstStyle/>
              <a:p>
                <a:endParaRPr lang="en-GB"/>
              </a:p>
            </p:txBody>
          </p:sp>
          <p:sp>
            <p:nvSpPr>
              <p:cNvPr id="4388" name="Vrije vorm: vorm 4387">
                <a:extLst>
                  <a:ext uri="{FF2B5EF4-FFF2-40B4-BE49-F238E27FC236}">
                    <a16:creationId xmlns:a16="http://schemas.microsoft.com/office/drawing/2014/main" id="{CAC95D12-A021-4704-A007-D8E3116037BB}"/>
                  </a:ext>
                </a:extLst>
              </p:cNvPr>
              <p:cNvSpPr/>
              <p:nvPr/>
            </p:nvSpPr>
            <p:spPr>
              <a:xfrm>
                <a:off x="7745813" y="4449795"/>
                <a:ext cx="18298" cy="18403"/>
              </a:xfrm>
              <a:custGeom>
                <a:avLst/>
                <a:gdLst>
                  <a:gd name="connsiteX0" fmla="*/ 13894 w 18298"/>
                  <a:gd name="connsiteY0" fmla="*/ 1337 h 18403"/>
                  <a:gd name="connsiteX1" fmla="*/ 1335 w 18298"/>
                  <a:gd name="connsiteY1" fmla="*/ 4387 h 18403"/>
                  <a:gd name="connsiteX2" fmla="*/ 4445 w 18298"/>
                  <a:gd name="connsiteY2" fmla="*/ 17066 h 18403"/>
                  <a:gd name="connsiteX3" fmla="*/ 17004 w 18298"/>
                  <a:gd name="connsiteY3" fmla="*/ 14016 h 18403"/>
                  <a:gd name="connsiteX4" fmla="*/ 13894 w 18298"/>
                  <a:gd name="connsiteY4" fmla="*/ 133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03">
                    <a:moveTo>
                      <a:pt x="13894" y="1337"/>
                    </a:moveTo>
                    <a:cubicBezTo>
                      <a:pt x="9588" y="-1295"/>
                      <a:pt x="3906" y="81"/>
                      <a:pt x="1335" y="4387"/>
                    </a:cubicBezTo>
                    <a:cubicBezTo>
                      <a:pt x="-1297" y="8753"/>
                      <a:pt x="78" y="14375"/>
                      <a:pt x="4445" y="17066"/>
                    </a:cubicBezTo>
                    <a:cubicBezTo>
                      <a:pt x="8751" y="19698"/>
                      <a:pt x="14432" y="18322"/>
                      <a:pt x="17004" y="14016"/>
                    </a:cubicBezTo>
                    <a:cubicBezTo>
                      <a:pt x="19576" y="9650"/>
                      <a:pt x="18200" y="4028"/>
                      <a:pt x="13894" y="1337"/>
                    </a:cubicBezTo>
                    <a:close/>
                  </a:path>
                </a:pathLst>
              </a:custGeom>
              <a:grpFill/>
              <a:ln w="5978" cap="flat">
                <a:noFill/>
                <a:prstDash val="solid"/>
                <a:miter/>
              </a:ln>
            </p:spPr>
            <p:txBody>
              <a:bodyPr rtlCol="0" anchor="ctr"/>
              <a:lstStyle/>
              <a:p>
                <a:endParaRPr lang="en-GB"/>
              </a:p>
            </p:txBody>
          </p:sp>
        </p:grpSp>
        <p:grpSp>
          <p:nvGrpSpPr>
            <p:cNvPr id="332" name="Graphic 3">
              <a:extLst>
                <a:ext uri="{FF2B5EF4-FFF2-40B4-BE49-F238E27FC236}">
                  <a16:creationId xmlns:a16="http://schemas.microsoft.com/office/drawing/2014/main" id="{72AEA5B4-9279-49AE-ACFE-A0378E60E7E0}"/>
                </a:ext>
              </a:extLst>
            </p:cNvPr>
            <p:cNvGrpSpPr/>
            <p:nvPr/>
          </p:nvGrpSpPr>
          <p:grpSpPr>
            <a:xfrm>
              <a:off x="6923065" y="1770107"/>
              <a:ext cx="182230" cy="221621"/>
              <a:chOff x="6923065" y="1770107"/>
              <a:chExt cx="182230" cy="221621"/>
            </a:xfrm>
            <a:grpFill/>
          </p:grpSpPr>
          <p:sp>
            <p:nvSpPr>
              <p:cNvPr id="4383" name="Vrije vorm: vorm 4382">
                <a:extLst>
                  <a:ext uri="{FF2B5EF4-FFF2-40B4-BE49-F238E27FC236}">
                    <a16:creationId xmlns:a16="http://schemas.microsoft.com/office/drawing/2014/main" id="{F94A0E0A-BCCD-4EA2-AD2D-3DE30A7A1373}"/>
                  </a:ext>
                </a:extLst>
              </p:cNvPr>
              <p:cNvSpPr/>
              <p:nvPr/>
            </p:nvSpPr>
            <p:spPr>
              <a:xfrm>
                <a:off x="6930779" y="1777989"/>
                <a:ext cx="166862" cy="205856"/>
              </a:xfrm>
              <a:custGeom>
                <a:avLst/>
                <a:gdLst>
                  <a:gd name="connsiteX0" fmla="*/ 166862 w 166862"/>
                  <a:gd name="connsiteY0" fmla="*/ 1974 h 205856"/>
                  <a:gd name="connsiteX1" fmla="*/ 2392 w 166862"/>
                  <a:gd name="connsiteY1" fmla="*/ 205856 h 205856"/>
                  <a:gd name="connsiteX2" fmla="*/ 0 w 166862"/>
                  <a:gd name="connsiteY2" fmla="*/ 203883 h 205856"/>
                  <a:gd name="connsiteX3" fmla="*/ 164470 w 166862"/>
                  <a:gd name="connsiteY3" fmla="*/ 0 h 205856"/>
                </a:gdLst>
                <a:ahLst/>
                <a:cxnLst>
                  <a:cxn ang="0">
                    <a:pos x="connsiteX0" y="connsiteY0"/>
                  </a:cxn>
                  <a:cxn ang="0">
                    <a:pos x="connsiteX1" y="connsiteY1"/>
                  </a:cxn>
                  <a:cxn ang="0">
                    <a:pos x="connsiteX2" y="connsiteY2"/>
                  </a:cxn>
                  <a:cxn ang="0">
                    <a:pos x="connsiteX3" y="connsiteY3"/>
                  </a:cxn>
                </a:cxnLst>
                <a:rect l="l" t="t" r="r" b="b"/>
                <a:pathLst>
                  <a:path w="166862" h="205856">
                    <a:moveTo>
                      <a:pt x="166862" y="1974"/>
                    </a:moveTo>
                    <a:lnTo>
                      <a:pt x="2392" y="205856"/>
                    </a:lnTo>
                    <a:lnTo>
                      <a:pt x="0" y="203883"/>
                    </a:lnTo>
                    <a:lnTo>
                      <a:pt x="164470" y="0"/>
                    </a:lnTo>
                    <a:close/>
                  </a:path>
                </a:pathLst>
              </a:custGeom>
              <a:grpFill/>
              <a:ln w="5978" cap="flat">
                <a:noFill/>
                <a:prstDash val="solid"/>
                <a:miter/>
              </a:ln>
            </p:spPr>
            <p:txBody>
              <a:bodyPr rtlCol="0" anchor="ctr"/>
              <a:lstStyle/>
              <a:p>
                <a:endParaRPr lang="en-GB"/>
              </a:p>
            </p:txBody>
          </p:sp>
          <p:sp>
            <p:nvSpPr>
              <p:cNvPr id="4384" name="Vrije vorm: vorm 4383">
                <a:extLst>
                  <a:ext uri="{FF2B5EF4-FFF2-40B4-BE49-F238E27FC236}">
                    <a16:creationId xmlns:a16="http://schemas.microsoft.com/office/drawing/2014/main" id="{65B2236C-B56A-4140-9E98-09692E5FA672}"/>
                  </a:ext>
                </a:extLst>
              </p:cNvPr>
              <p:cNvSpPr/>
              <p:nvPr/>
            </p:nvSpPr>
            <p:spPr>
              <a:xfrm>
                <a:off x="6923065" y="1973272"/>
                <a:ext cx="18383" cy="18456"/>
              </a:xfrm>
              <a:custGeom>
                <a:avLst/>
                <a:gdLst>
                  <a:gd name="connsiteX0" fmla="*/ 16326 w 18383"/>
                  <a:gd name="connsiteY0" fmla="*/ 15059 h 18456"/>
                  <a:gd name="connsiteX1" fmla="*/ 3408 w 18383"/>
                  <a:gd name="connsiteY1" fmla="*/ 16375 h 18456"/>
                  <a:gd name="connsiteX2" fmla="*/ 2032 w 18383"/>
                  <a:gd name="connsiteY2" fmla="*/ 3397 h 18456"/>
                  <a:gd name="connsiteX3" fmla="*/ 14950 w 18383"/>
                  <a:gd name="connsiteY3" fmla="*/ 2081 h 18456"/>
                  <a:gd name="connsiteX4" fmla="*/ 16326 w 18383"/>
                  <a:gd name="connsiteY4" fmla="*/ 1505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56">
                    <a:moveTo>
                      <a:pt x="16326" y="15059"/>
                    </a:moveTo>
                    <a:cubicBezTo>
                      <a:pt x="13157" y="19007"/>
                      <a:pt x="7355" y="19605"/>
                      <a:pt x="3408" y="16375"/>
                    </a:cubicBezTo>
                    <a:cubicBezTo>
                      <a:pt x="-539" y="13146"/>
                      <a:pt x="-1137" y="7344"/>
                      <a:pt x="2032" y="3397"/>
                    </a:cubicBezTo>
                    <a:cubicBezTo>
                      <a:pt x="5202" y="-550"/>
                      <a:pt x="11003" y="-1148"/>
                      <a:pt x="14950" y="2081"/>
                    </a:cubicBezTo>
                    <a:cubicBezTo>
                      <a:pt x="18898" y="5311"/>
                      <a:pt x="19556" y="11112"/>
                      <a:pt x="16326" y="15059"/>
                    </a:cubicBezTo>
                    <a:close/>
                  </a:path>
                </a:pathLst>
              </a:custGeom>
              <a:grpFill/>
              <a:ln w="5978" cap="flat">
                <a:noFill/>
                <a:prstDash val="solid"/>
                <a:miter/>
              </a:ln>
            </p:spPr>
            <p:txBody>
              <a:bodyPr rtlCol="0" anchor="ctr"/>
              <a:lstStyle/>
              <a:p>
                <a:endParaRPr lang="en-GB"/>
              </a:p>
            </p:txBody>
          </p:sp>
          <p:sp>
            <p:nvSpPr>
              <p:cNvPr id="4385" name="Vrije vorm: vorm 4384">
                <a:extLst>
                  <a:ext uri="{FF2B5EF4-FFF2-40B4-BE49-F238E27FC236}">
                    <a16:creationId xmlns:a16="http://schemas.microsoft.com/office/drawing/2014/main" id="{3B64F90A-59EC-4DB9-90B7-C8E4CB824239}"/>
                  </a:ext>
                </a:extLst>
              </p:cNvPr>
              <p:cNvSpPr/>
              <p:nvPr/>
            </p:nvSpPr>
            <p:spPr>
              <a:xfrm>
                <a:off x="7086997" y="1770107"/>
                <a:ext cx="18298" cy="18456"/>
              </a:xfrm>
              <a:custGeom>
                <a:avLst/>
                <a:gdLst>
                  <a:gd name="connsiteX0" fmla="*/ 16266 w 18298"/>
                  <a:gd name="connsiteY0" fmla="*/ 15059 h 18456"/>
                  <a:gd name="connsiteX1" fmla="*/ 14891 w 18298"/>
                  <a:gd name="connsiteY1" fmla="*/ 2081 h 18456"/>
                  <a:gd name="connsiteX2" fmla="*/ 2032 w 18298"/>
                  <a:gd name="connsiteY2" fmla="*/ 3397 h 18456"/>
                  <a:gd name="connsiteX3" fmla="*/ 3408 w 18298"/>
                  <a:gd name="connsiteY3" fmla="*/ 16375 h 18456"/>
                  <a:gd name="connsiteX4" fmla="*/ 16266 w 18298"/>
                  <a:gd name="connsiteY4" fmla="*/ 1505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6">
                    <a:moveTo>
                      <a:pt x="16266" y="15059"/>
                    </a:moveTo>
                    <a:cubicBezTo>
                      <a:pt x="19436" y="11112"/>
                      <a:pt x="18838" y="5311"/>
                      <a:pt x="14891" y="2081"/>
                    </a:cubicBezTo>
                    <a:cubicBezTo>
                      <a:pt x="10943" y="-1148"/>
                      <a:pt x="5202" y="-550"/>
                      <a:pt x="2032" y="3397"/>
                    </a:cubicBezTo>
                    <a:cubicBezTo>
                      <a:pt x="-1138" y="7344"/>
                      <a:pt x="-539" y="13146"/>
                      <a:pt x="3408" y="16375"/>
                    </a:cubicBezTo>
                    <a:cubicBezTo>
                      <a:pt x="7355" y="19605"/>
                      <a:pt x="13096" y="19007"/>
                      <a:pt x="16266" y="15059"/>
                    </a:cubicBezTo>
                    <a:close/>
                  </a:path>
                </a:pathLst>
              </a:custGeom>
              <a:grpFill/>
              <a:ln w="5978" cap="flat">
                <a:noFill/>
                <a:prstDash val="solid"/>
                <a:miter/>
              </a:ln>
            </p:spPr>
            <p:txBody>
              <a:bodyPr rtlCol="0" anchor="ctr"/>
              <a:lstStyle/>
              <a:p>
                <a:endParaRPr lang="en-GB"/>
              </a:p>
            </p:txBody>
          </p:sp>
        </p:grpSp>
        <p:grpSp>
          <p:nvGrpSpPr>
            <p:cNvPr id="333" name="Graphic 3">
              <a:extLst>
                <a:ext uri="{FF2B5EF4-FFF2-40B4-BE49-F238E27FC236}">
                  <a16:creationId xmlns:a16="http://schemas.microsoft.com/office/drawing/2014/main" id="{782010D5-4DBD-478B-B5D2-E8D7339C756E}"/>
                </a:ext>
              </a:extLst>
            </p:cNvPr>
            <p:cNvGrpSpPr/>
            <p:nvPr/>
          </p:nvGrpSpPr>
          <p:grpSpPr>
            <a:xfrm>
              <a:off x="6864776" y="1478200"/>
              <a:ext cx="143130" cy="273640"/>
              <a:chOff x="6864776" y="1478200"/>
              <a:chExt cx="143130" cy="273640"/>
            </a:xfrm>
            <a:grpFill/>
          </p:grpSpPr>
          <p:sp>
            <p:nvSpPr>
              <p:cNvPr id="4380" name="Vrije vorm: vorm 4379">
                <a:extLst>
                  <a:ext uri="{FF2B5EF4-FFF2-40B4-BE49-F238E27FC236}">
                    <a16:creationId xmlns:a16="http://schemas.microsoft.com/office/drawing/2014/main" id="{E5B1D907-AA14-4FE9-82CE-198ACD7504A7}"/>
                  </a:ext>
                </a:extLst>
              </p:cNvPr>
              <p:cNvSpPr/>
              <p:nvPr/>
            </p:nvSpPr>
            <p:spPr>
              <a:xfrm>
                <a:off x="6872348" y="1486309"/>
                <a:ext cx="127927" cy="257470"/>
              </a:xfrm>
              <a:custGeom>
                <a:avLst/>
                <a:gdLst>
                  <a:gd name="connsiteX0" fmla="*/ 127928 w 127927"/>
                  <a:gd name="connsiteY0" fmla="*/ 1376 h 257470"/>
                  <a:gd name="connsiteX1" fmla="*/ 2751 w 127927"/>
                  <a:gd name="connsiteY1" fmla="*/ 257470 h 257470"/>
                  <a:gd name="connsiteX2" fmla="*/ 0 w 127927"/>
                  <a:gd name="connsiteY2" fmla="*/ 256094 h 257470"/>
                  <a:gd name="connsiteX3" fmla="*/ 125236 w 127927"/>
                  <a:gd name="connsiteY3" fmla="*/ 0 h 257470"/>
                </a:gdLst>
                <a:ahLst/>
                <a:cxnLst>
                  <a:cxn ang="0">
                    <a:pos x="connsiteX0" y="connsiteY0"/>
                  </a:cxn>
                  <a:cxn ang="0">
                    <a:pos x="connsiteX1" y="connsiteY1"/>
                  </a:cxn>
                  <a:cxn ang="0">
                    <a:pos x="connsiteX2" y="connsiteY2"/>
                  </a:cxn>
                  <a:cxn ang="0">
                    <a:pos x="connsiteX3" y="connsiteY3"/>
                  </a:cxn>
                </a:cxnLst>
                <a:rect l="l" t="t" r="r" b="b"/>
                <a:pathLst>
                  <a:path w="127927" h="257470">
                    <a:moveTo>
                      <a:pt x="127928" y="1376"/>
                    </a:moveTo>
                    <a:lnTo>
                      <a:pt x="2751" y="257470"/>
                    </a:lnTo>
                    <a:lnTo>
                      <a:pt x="0" y="256094"/>
                    </a:lnTo>
                    <a:lnTo>
                      <a:pt x="125236" y="0"/>
                    </a:lnTo>
                    <a:close/>
                  </a:path>
                </a:pathLst>
              </a:custGeom>
              <a:grpFill/>
              <a:ln w="5978" cap="flat">
                <a:noFill/>
                <a:prstDash val="solid"/>
                <a:miter/>
              </a:ln>
            </p:spPr>
            <p:txBody>
              <a:bodyPr rtlCol="0" anchor="ctr"/>
              <a:lstStyle/>
              <a:p>
                <a:endParaRPr lang="en-GB"/>
              </a:p>
            </p:txBody>
          </p:sp>
          <p:sp>
            <p:nvSpPr>
              <p:cNvPr id="4381" name="Vrije vorm: vorm 4380">
                <a:extLst>
                  <a:ext uri="{FF2B5EF4-FFF2-40B4-BE49-F238E27FC236}">
                    <a16:creationId xmlns:a16="http://schemas.microsoft.com/office/drawing/2014/main" id="{55C7041E-4E76-4E1E-AB46-B0F14EDC1F12}"/>
                  </a:ext>
                </a:extLst>
              </p:cNvPr>
              <p:cNvSpPr/>
              <p:nvPr/>
            </p:nvSpPr>
            <p:spPr>
              <a:xfrm>
                <a:off x="6989568" y="1478200"/>
                <a:ext cx="18338" cy="18372"/>
              </a:xfrm>
              <a:custGeom>
                <a:avLst/>
                <a:gdLst>
                  <a:gd name="connsiteX0" fmla="*/ 959 w 18338"/>
                  <a:gd name="connsiteY0" fmla="*/ 5119 h 18372"/>
                  <a:gd name="connsiteX1" fmla="*/ 13219 w 18338"/>
                  <a:gd name="connsiteY1" fmla="*/ 933 h 18372"/>
                  <a:gd name="connsiteX2" fmla="*/ 17406 w 18338"/>
                  <a:gd name="connsiteY2" fmla="*/ 13253 h 18372"/>
                  <a:gd name="connsiteX3" fmla="*/ 5145 w 18338"/>
                  <a:gd name="connsiteY3" fmla="*/ 17440 h 18372"/>
                  <a:gd name="connsiteX4" fmla="*/ 959 w 18338"/>
                  <a:gd name="connsiteY4" fmla="*/ 5119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2">
                    <a:moveTo>
                      <a:pt x="959" y="5119"/>
                    </a:moveTo>
                    <a:cubicBezTo>
                      <a:pt x="3172" y="574"/>
                      <a:pt x="8674" y="-1280"/>
                      <a:pt x="13219" y="933"/>
                    </a:cubicBezTo>
                    <a:cubicBezTo>
                      <a:pt x="17765" y="3206"/>
                      <a:pt x="19619" y="8708"/>
                      <a:pt x="17406" y="13253"/>
                    </a:cubicBezTo>
                    <a:cubicBezTo>
                      <a:pt x="15193" y="17798"/>
                      <a:pt x="9691" y="19653"/>
                      <a:pt x="5145" y="17440"/>
                    </a:cubicBezTo>
                    <a:cubicBezTo>
                      <a:pt x="600" y="15227"/>
                      <a:pt x="-1314" y="9665"/>
                      <a:pt x="959" y="5119"/>
                    </a:cubicBezTo>
                    <a:close/>
                  </a:path>
                </a:pathLst>
              </a:custGeom>
              <a:grpFill/>
              <a:ln w="5978" cap="flat">
                <a:noFill/>
                <a:prstDash val="solid"/>
                <a:miter/>
              </a:ln>
            </p:spPr>
            <p:txBody>
              <a:bodyPr rtlCol="0" anchor="ctr"/>
              <a:lstStyle/>
              <a:p>
                <a:endParaRPr lang="en-GB"/>
              </a:p>
            </p:txBody>
          </p:sp>
          <p:sp>
            <p:nvSpPr>
              <p:cNvPr id="4382" name="Vrije vorm: vorm 4381">
                <a:extLst>
                  <a:ext uri="{FF2B5EF4-FFF2-40B4-BE49-F238E27FC236}">
                    <a16:creationId xmlns:a16="http://schemas.microsoft.com/office/drawing/2014/main" id="{4AC0A90E-3AA3-4463-974D-163FD65F68AC}"/>
                  </a:ext>
                </a:extLst>
              </p:cNvPr>
              <p:cNvSpPr/>
              <p:nvPr/>
            </p:nvSpPr>
            <p:spPr>
              <a:xfrm>
                <a:off x="6864776" y="1733431"/>
                <a:ext cx="18312" cy="18409"/>
              </a:xfrm>
              <a:custGeom>
                <a:avLst/>
                <a:gdLst>
                  <a:gd name="connsiteX0" fmla="*/ 933 w 18312"/>
                  <a:gd name="connsiteY0" fmla="*/ 5146 h 18409"/>
                  <a:gd name="connsiteX1" fmla="*/ 5119 w 18312"/>
                  <a:gd name="connsiteY1" fmla="*/ 17466 h 18409"/>
                  <a:gd name="connsiteX2" fmla="*/ 17380 w 18312"/>
                  <a:gd name="connsiteY2" fmla="*/ 13279 h 18409"/>
                  <a:gd name="connsiteX3" fmla="*/ 13193 w 18312"/>
                  <a:gd name="connsiteY3" fmla="*/ 959 h 18409"/>
                  <a:gd name="connsiteX4" fmla="*/ 933 w 18312"/>
                  <a:gd name="connsiteY4" fmla="*/ 514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9">
                    <a:moveTo>
                      <a:pt x="933" y="5146"/>
                    </a:moveTo>
                    <a:cubicBezTo>
                      <a:pt x="-1280" y="9691"/>
                      <a:pt x="574" y="15253"/>
                      <a:pt x="5119" y="17466"/>
                    </a:cubicBezTo>
                    <a:cubicBezTo>
                      <a:pt x="9665" y="19679"/>
                      <a:pt x="15167" y="17884"/>
                      <a:pt x="17380" y="13279"/>
                    </a:cubicBezTo>
                    <a:cubicBezTo>
                      <a:pt x="19593" y="8734"/>
                      <a:pt x="17738" y="3172"/>
                      <a:pt x="13193" y="959"/>
                    </a:cubicBezTo>
                    <a:cubicBezTo>
                      <a:pt x="8648" y="-1314"/>
                      <a:pt x="3146" y="600"/>
                      <a:pt x="933" y="5146"/>
                    </a:cubicBezTo>
                    <a:close/>
                  </a:path>
                </a:pathLst>
              </a:custGeom>
              <a:grpFill/>
              <a:ln w="5978" cap="flat">
                <a:noFill/>
                <a:prstDash val="solid"/>
                <a:miter/>
              </a:ln>
            </p:spPr>
            <p:txBody>
              <a:bodyPr rtlCol="0" anchor="ctr"/>
              <a:lstStyle/>
              <a:p>
                <a:endParaRPr lang="en-GB"/>
              </a:p>
            </p:txBody>
          </p:sp>
        </p:grpSp>
        <p:grpSp>
          <p:nvGrpSpPr>
            <p:cNvPr id="334" name="Graphic 3">
              <a:extLst>
                <a:ext uri="{FF2B5EF4-FFF2-40B4-BE49-F238E27FC236}">
                  <a16:creationId xmlns:a16="http://schemas.microsoft.com/office/drawing/2014/main" id="{FD9A97AE-CDA4-4F4B-94E3-F849DEB517A3}"/>
                </a:ext>
              </a:extLst>
            </p:cNvPr>
            <p:cNvGrpSpPr/>
            <p:nvPr/>
          </p:nvGrpSpPr>
          <p:grpSpPr>
            <a:xfrm>
              <a:off x="6816270" y="1473250"/>
              <a:ext cx="284518" cy="450989"/>
              <a:chOff x="6816270" y="1473250"/>
              <a:chExt cx="284518" cy="450989"/>
            </a:xfrm>
            <a:grpFill/>
          </p:grpSpPr>
          <p:sp>
            <p:nvSpPr>
              <p:cNvPr id="4377" name="Vrije vorm: vorm 4376">
                <a:extLst>
                  <a:ext uri="{FF2B5EF4-FFF2-40B4-BE49-F238E27FC236}">
                    <a16:creationId xmlns:a16="http://schemas.microsoft.com/office/drawing/2014/main" id="{F94D6904-E13A-449D-A339-0F2E2918EB26}"/>
                  </a:ext>
                </a:extLst>
              </p:cNvPr>
              <p:cNvSpPr/>
              <p:nvPr/>
            </p:nvSpPr>
            <p:spPr>
              <a:xfrm>
                <a:off x="6823904" y="1481226"/>
                <a:ext cx="269312" cy="434977"/>
              </a:xfrm>
              <a:custGeom>
                <a:avLst/>
                <a:gdLst>
                  <a:gd name="connsiteX0" fmla="*/ 269312 w 269312"/>
                  <a:gd name="connsiteY0" fmla="*/ 1615 h 434977"/>
                  <a:gd name="connsiteX1" fmla="*/ 2631 w 269312"/>
                  <a:gd name="connsiteY1" fmla="*/ 434978 h 434977"/>
                  <a:gd name="connsiteX2" fmla="*/ 0 w 269312"/>
                  <a:gd name="connsiteY2" fmla="*/ 433363 h 434977"/>
                  <a:gd name="connsiteX3" fmla="*/ 266680 w 269312"/>
                  <a:gd name="connsiteY3" fmla="*/ 0 h 434977"/>
                </a:gdLst>
                <a:ahLst/>
                <a:cxnLst>
                  <a:cxn ang="0">
                    <a:pos x="connsiteX0" y="connsiteY0"/>
                  </a:cxn>
                  <a:cxn ang="0">
                    <a:pos x="connsiteX1" y="connsiteY1"/>
                  </a:cxn>
                  <a:cxn ang="0">
                    <a:pos x="connsiteX2" y="connsiteY2"/>
                  </a:cxn>
                  <a:cxn ang="0">
                    <a:pos x="connsiteX3" y="connsiteY3"/>
                  </a:cxn>
                </a:cxnLst>
                <a:rect l="l" t="t" r="r" b="b"/>
                <a:pathLst>
                  <a:path w="269312" h="434977">
                    <a:moveTo>
                      <a:pt x="269312" y="1615"/>
                    </a:moveTo>
                    <a:lnTo>
                      <a:pt x="2631" y="434978"/>
                    </a:lnTo>
                    <a:lnTo>
                      <a:pt x="0" y="433363"/>
                    </a:lnTo>
                    <a:lnTo>
                      <a:pt x="266680" y="0"/>
                    </a:lnTo>
                    <a:close/>
                  </a:path>
                </a:pathLst>
              </a:custGeom>
              <a:grpFill/>
              <a:ln w="5978" cap="flat">
                <a:noFill/>
                <a:prstDash val="solid"/>
                <a:miter/>
              </a:ln>
            </p:spPr>
            <p:txBody>
              <a:bodyPr rtlCol="0" anchor="ctr"/>
              <a:lstStyle/>
              <a:p>
                <a:endParaRPr lang="en-GB"/>
              </a:p>
            </p:txBody>
          </p:sp>
          <p:sp>
            <p:nvSpPr>
              <p:cNvPr id="4378" name="Vrije vorm: vorm 4377">
                <a:extLst>
                  <a:ext uri="{FF2B5EF4-FFF2-40B4-BE49-F238E27FC236}">
                    <a16:creationId xmlns:a16="http://schemas.microsoft.com/office/drawing/2014/main" id="{EE10B15B-C26B-410D-9D13-C9D57E419294}"/>
                  </a:ext>
                </a:extLst>
              </p:cNvPr>
              <p:cNvSpPr/>
              <p:nvPr/>
            </p:nvSpPr>
            <p:spPr>
              <a:xfrm>
                <a:off x="6816270" y="1905836"/>
                <a:ext cx="18343" cy="18403"/>
              </a:xfrm>
              <a:custGeom>
                <a:avLst/>
                <a:gdLst>
                  <a:gd name="connsiteX0" fmla="*/ 16963 w 18343"/>
                  <a:gd name="connsiteY0" fmla="*/ 14076 h 18403"/>
                  <a:gd name="connsiteX1" fmla="*/ 4344 w 18343"/>
                  <a:gd name="connsiteY1" fmla="*/ 17007 h 18403"/>
                  <a:gd name="connsiteX2" fmla="*/ 1354 w 18343"/>
                  <a:gd name="connsiteY2" fmla="*/ 4327 h 18403"/>
                  <a:gd name="connsiteX3" fmla="*/ 13973 w 18343"/>
                  <a:gd name="connsiteY3" fmla="*/ 1397 h 18403"/>
                  <a:gd name="connsiteX4" fmla="*/ 16963 w 18343"/>
                  <a:gd name="connsiteY4" fmla="*/ 14076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16963" y="14076"/>
                    </a:moveTo>
                    <a:cubicBezTo>
                      <a:pt x="14332" y="18382"/>
                      <a:pt x="8650" y="19698"/>
                      <a:pt x="4344" y="17007"/>
                    </a:cubicBezTo>
                    <a:cubicBezTo>
                      <a:pt x="38" y="14315"/>
                      <a:pt x="-1278" y="8634"/>
                      <a:pt x="1354" y="4327"/>
                    </a:cubicBezTo>
                    <a:cubicBezTo>
                      <a:pt x="3985" y="21"/>
                      <a:pt x="9667" y="-1294"/>
                      <a:pt x="13973" y="1397"/>
                    </a:cubicBezTo>
                    <a:cubicBezTo>
                      <a:pt x="18279" y="4088"/>
                      <a:pt x="19655" y="9770"/>
                      <a:pt x="16963" y="14076"/>
                    </a:cubicBezTo>
                    <a:close/>
                  </a:path>
                </a:pathLst>
              </a:custGeom>
              <a:grpFill/>
              <a:ln w="5978" cap="flat">
                <a:noFill/>
                <a:prstDash val="solid"/>
                <a:miter/>
              </a:ln>
            </p:spPr>
            <p:txBody>
              <a:bodyPr rtlCol="0" anchor="ctr"/>
              <a:lstStyle/>
              <a:p>
                <a:endParaRPr lang="en-GB"/>
              </a:p>
            </p:txBody>
          </p:sp>
          <p:sp>
            <p:nvSpPr>
              <p:cNvPr id="4379" name="Vrije vorm: vorm 4378">
                <a:extLst>
                  <a:ext uri="{FF2B5EF4-FFF2-40B4-BE49-F238E27FC236}">
                    <a16:creationId xmlns:a16="http://schemas.microsoft.com/office/drawing/2014/main" id="{2BEC9F27-2483-41C7-9A20-E5A17E68A843}"/>
                  </a:ext>
                </a:extLst>
              </p:cNvPr>
              <p:cNvSpPr/>
              <p:nvPr/>
            </p:nvSpPr>
            <p:spPr>
              <a:xfrm>
                <a:off x="7082472" y="1473250"/>
                <a:ext cx="18316" cy="18403"/>
              </a:xfrm>
              <a:custGeom>
                <a:avLst/>
                <a:gdLst>
                  <a:gd name="connsiteX0" fmla="*/ 16963 w 18316"/>
                  <a:gd name="connsiteY0" fmla="*/ 14076 h 18403"/>
                  <a:gd name="connsiteX1" fmla="*/ 13973 w 18316"/>
                  <a:gd name="connsiteY1" fmla="*/ 1397 h 18403"/>
                  <a:gd name="connsiteX2" fmla="*/ 1353 w 18316"/>
                  <a:gd name="connsiteY2" fmla="*/ 4327 h 18403"/>
                  <a:gd name="connsiteX3" fmla="*/ 4344 w 18316"/>
                  <a:gd name="connsiteY3" fmla="*/ 17007 h 18403"/>
                  <a:gd name="connsiteX4" fmla="*/ 16963 w 18316"/>
                  <a:gd name="connsiteY4" fmla="*/ 14076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16963" y="14076"/>
                    </a:moveTo>
                    <a:cubicBezTo>
                      <a:pt x="19595" y="9770"/>
                      <a:pt x="18279" y="4088"/>
                      <a:pt x="13973" y="1397"/>
                    </a:cubicBezTo>
                    <a:cubicBezTo>
                      <a:pt x="9667" y="-1294"/>
                      <a:pt x="4044" y="21"/>
                      <a:pt x="1353" y="4327"/>
                    </a:cubicBezTo>
                    <a:cubicBezTo>
                      <a:pt x="-1278" y="8634"/>
                      <a:pt x="38" y="14315"/>
                      <a:pt x="4344" y="17007"/>
                    </a:cubicBezTo>
                    <a:cubicBezTo>
                      <a:pt x="8650" y="19698"/>
                      <a:pt x="14332" y="18382"/>
                      <a:pt x="16963" y="14076"/>
                    </a:cubicBezTo>
                    <a:close/>
                  </a:path>
                </a:pathLst>
              </a:custGeom>
              <a:grpFill/>
              <a:ln w="5978" cap="flat">
                <a:noFill/>
                <a:prstDash val="solid"/>
                <a:miter/>
              </a:ln>
            </p:spPr>
            <p:txBody>
              <a:bodyPr rtlCol="0" anchor="ctr"/>
              <a:lstStyle/>
              <a:p>
                <a:endParaRPr lang="en-GB"/>
              </a:p>
            </p:txBody>
          </p:sp>
        </p:grpSp>
        <p:grpSp>
          <p:nvGrpSpPr>
            <p:cNvPr id="335" name="Graphic 3">
              <a:extLst>
                <a:ext uri="{FF2B5EF4-FFF2-40B4-BE49-F238E27FC236}">
                  <a16:creationId xmlns:a16="http://schemas.microsoft.com/office/drawing/2014/main" id="{A662433B-881B-40C9-8C50-1C173B02B9AD}"/>
                </a:ext>
              </a:extLst>
            </p:cNvPr>
            <p:cNvGrpSpPr/>
            <p:nvPr/>
          </p:nvGrpSpPr>
          <p:grpSpPr>
            <a:xfrm>
              <a:off x="6950786" y="1822706"/>
              <a:ext cx="162995" cy="184423"/>
              <a:chOff x="6950786" y="1822706"/>
              <a:chExt cx="162995" cy="184423"/>
            </a:xfrm>
            <a:grpFill/>
          </p:grpSpPr>
          <p:sp>
            <p:nvSpPr>
              <p:cNvPr id="4374" name="Vrije vorm: vorm 4373">
                <a:extLst>
                  <a:ext uri="{FF2B5EF4-FFF2-40B4-BE49-F238E27FC236}">
                    <a16:creationId xmlns:a16="http://schemas.microsoft.com/office/drawing/2014/main" id="{FF6FE228-0626-46F6-A0C9-93D5F5A3D4CD}"/>
                  </a:ext>
                </a:extLst>
              </p:cNvPr>
              <p:cNvSpPr/>
              <p:nvPr/>
            </p:nvSpPr>
            <p:spPr>
              <a:xfrm>
                <a:off x="6958470" y="1830500"/>
                <a:ext cx="147543" cy="168716"/>
              </a:xfrm>
              <a:custGeom>
                <a:avLst/>
                <a:gdLst>
                  <a:gd name="connsiteX0" fmla="*/ 147544 w 147543"/>
                  <a:gd name="connsiteY0" fmla="*/ 2033 h 168716"/>
                  <a:gd name="connsiteX1" fmla="*/ 2273 w 147543"/>
                  <a:gd name="connsiteY1" fmla="*/ 168716 h 168716"/>
                  <a:gd name="connsiteX2" fmla="*/ 0 w 147543"/>
                  <a:gd name="connsiteY2" fmla="*/ 166743 h 168716"/>
                  <a:gd name="connsiteX3" fmla="*/ 145271 w 147543"/>
                  <a:gd name="connsiteY3" fmla="*/ 0 h 168716"/>
                </a:gdLst>
                <a:ahLst/>
                <a:cxnLst>
                  <a:cxn ang="0">
                    <a:pos x="connsiteX0" y="connsiteY0"/>
                  </a:cxn>
                  <a:cxn ang="0">
                    <a:pos x="connsiteX1" y="connsiteY1"/>
                  </a:cxn>
                  <a:cxn ang="0">
                    <a:pos x="connsiteX2" y="connsiteY2"/>
                  </a:cxn>
                  <a:cxn ang="0">
                    <a:pos x="connsiteX3" y="connsiteY3"/>
                  </a:cxn>
                </a:cxnLst>
                <a:rect l="l" t="t" r="r" b="b"/>
                <a:pathLst>
                  <a:path w="147543" h="168716">
                    <a:moveTo>
                      <a:pt x="147544" y="2033"/>
                    </a:moveTo>
                    <a:lnTo>
                      <a:pt x="2273" y="168716"/>
                    </a:lnTo>
                    <a:lnTo>
                      <a:pt x="0" y="166743"/>
                    </a:lnTo>
                    <a:lnTo>
                      <a:pt x="145271" y="0"/>
                    </a:lnTo>
                    <a:close/>
                  </a:path>
                </a:pathLst>
              </a:custGeom>
              <a:grpFill/>
              <a:ln w="5978" cap="flat">
                <a:noFill/>
                <a:prstDash val="solid"/>
                <a:miter/>
              </a:ln>
            </p:spPr>
            <p:txBody>
              <a:bodyPr rtlCol="0" anchor="ctr"/>
              <a:lstStyle/>
              <a:p>
                <a:endParaRPr lang="en-GB"/>
              </a:p>
            </p:txBody>
          </p:sp>
          <p:sp>
            <p:nvSpPr>
              <p:cNvPr id="4375" name="Vrije vorm: vorm 4374">
                <a:extLst>
                  <a:ext uri="{FF2B5EF4-FFF2-40B4-BE49-F238E27FC236}">
                    <a16:creationId xmlns:a16="http://schemas.microsoft.com/office/drawing/2014/main" id="{DDA7D6B3-DE03-410E-94F3-C4E2FF4F7161}"/>
                  </a:ext>
                </a:extLst>
              </p:cNvPr>
              <p:cNvSpPr/>
              <p:nvPr/>
            </p:nvSpPr>
            <p:spPr>
              <a:xfrm>
                <a:off x="6950786" y="1988731"/>
                <a:ext cx="18297" cy="18398"/>
              </a:xfrm>
              <a:custGeom>
                <a:avLst/>
                <a:gdLst>
                  <a:gd name="connsiteX0" fmla="*/ 16057 w 18297"/>
                  <a:gd name="connsiteY0" fmla="*/ 15269 h 18398"/>
                  <a:gd name="connsiteX1" fmla="*/ 3138 w 18297"/>
                  <a:gd name="connsiteY1" fmla="*/ 16107 h 18398"/>
                  <a:gd name="connsiteX2" fmla="*/ 2241 w 18297"/>
                  <a:gd name="connsiteY2" fmla="*/ 3129 h 18398"/>
                  <a:gd name="connsiteX3" fmla="*/ 15160 w 18297"/>
                  <a:gd name="connsiteY3" fmla="*/ 2291 h 18398"/>
                  <a:gd name="connsiteX4" fmla="*/ 16057 w 18297"/>
                  <a:gd name="connsiteY4" fmla="*/ 1526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8">
                    <a:moveTo>
                      <a:pt x="16057" y="15269"/>
                    </a:moveTo>
                    <a:cubicBezTo>
                      <a:pt x="12707" y="19097"/>
                      <a:pt x="6966" y="19456"/>
                      <a:pt x="3138" y="16107"/>
                    </a:cubicBezTo>
                    <a:cubicBezTo>
                      <a:pt x="-689" y="12758"/>
                      <a:pt x="-1048" y="6897"/>
                      <a:pt x="2241" y="3129"/>
                    </a:cubicBezTo>
                    <a:cubicBezTo>
                      <a:pt x="5591" y="-699"/>
                      <a:pt x="11332" y="-1058"/>
                      <a:pt x="15160" y="2291"/>
                    </a:cubicBezTo>
                    <a:cubicBezTo>
                      <a:pt x="18988" y="5581"/>
                      <a:pt x="19346" y="11442"/>
                      <a:pt x="16057" y="15269"/>
                    </a:cubicBezTo>
                    <a:close/>
                  </a:path>
                </a:pathLst>
              </a:custGeom>
              <a:grpFill/>
              <a:ln w="5978" cap="flat">
                <a:noFill/>
                <a:prstDash val="solid"/>
                <a:miter/>
              </a:ln>
            </p:spPr>
            <p:txBody>
              <a:bodyPr rtlCol="0" anchor="ctr"/>
              <a:lstStyle/>
              <a:p>
                <a:endParaRPr lang="en-GB"/>
              </a:p>
            </p:txBody>
          </p:sp>
          <p:sp>
            <p:nvSpPr>
              <p:cNvPr id="4376" name="Vrije vorm: vorm 4375">
                <a:extLst>
                  <a:ext uri="{FF2B5EF4-FFF2-40B4-BE49-F238E27FC236}">
                    <a16:creationId xmlns:a16="http://schemas.microsoft.com/office/drawing/2014/main" id="{C5E708F0-A2C9-4320-AA21-57A9A807423C}"/>
                  </a:ext>
                </a:extLst>
              </p:cNvPr>
              <p:cNvSpPr/>
              <p:nvPr/>
            </p:nvSpPr>
            <p:spPr>
              <a:xfrm>
                <a:off x="7095436" y="1822706"/>
                <a:ext cx="18346" cy="18398"/>
              </a:xfrm>
              <a:custGeom>
                <a:avLst/>
                <a:gdLst>
                  <a:gd name="connsiteX0" fmla="*/ 16081 w 18346"/>
                  <a:gd name="connsiteY0" fmla="*/ 15269 h 18398"/>
                  <a:gd name="connsiteX1" fmla="*/ 15184 w 18346"/>
                  <a:gd name="connsiteY1" fmla="*/ 2291 h 18398"/>
                  <a:gd name="connsiteX2" fmla="*/ 2266 w 18346"/>
                  <a:gd name="connsiteY2" fmla="*/ 3129 h 18398"/>
                  <a:gd name="connsiteX3" fmla="*/ 3162 w 18346"/>
                  <a:gd name="connsiteY3" fmla="*/ 16107 h 18398"/>
                  <a:gd name="connsiteX4" fmla="*/ 16081 w 18346"/>
                  <a:gd name="connsiteY4" fmla="*/ 1526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8">
                    <a:moveTo>
                      <a:pt x="16081" y="15269"/>
                    </a:moveTo>
                    <a:cubicBezTo>
                      <a:pt x="19430" y="11442"/>
                      <a:pt x="19011" y="5641"/>
                      <a:pt x="15184" y="2291"/>
                    </a:cubicBezTo>
                    <a:cubicBezTo>
                      <a:pt x="11356" y="-1058"/>
                      <a:pt x="5555" y="-699"/>
                      <a:pt x="2266" y="3129"/>
                    </a:cubicBezTo>
                    <a:cubicBezTo>
                      <a:pt x="-1084" y="6956"/>
                      <a:pt x="-665" y="12758"/>
                      <a:pt x="3162" y="16107"/>
                    </a:cubicBezTo>
                    <a:cubicBezTo>
                      <a:pt x="6930" y="19456"/>
                      <a:pt x="12732" y="19097"/>
                      <a:pt x="16081" y="15269"/>
                    </a:cubicBezTo>
                    <a:close/>
                  </a:path>
                </a:pathLst>
              </a:custGeom>
              <a:grpFill/>
              <a:ln w="5978" cap="flat">
                <a:noFill/>
                <a:prstDash val="solid"/>
                <a:miter/>
              </a:ln>
            </p:spPr>
            <p:txBody>
              <a:bodyPr rtlCol="0" anchor="ctr"/>
              <a:lstStyle/>
              <a:p>
                <a:endParaRPr lang="en-GB"/>
              </a:p>
            </p:txBody>
          </p:sp>
        </p:grpSp>
        <p:grpSp>
          <p:nvGrpSpPr>
            <p:cNvPr id="336" name="Graphic 3">
              <a:extLst>
                <a:ext uri="{FF2B5EF4-FFF2-40B4-BE49-F238E27FC236}">
                  <a16:creationId xmlns:a16="http://schemas.microsoft.com/office/drawing/2014/main" id="{19DFCD60-D216-4682-A40A-21A1AE1AA957}"/>
                </a:ext>
              </a:extLst>
            </p:cNvPr>
            <p:cNvGrpSpPr/>
            <p:nvPr/>
          </p:nvGrpSpPr>
          <p:grpSpPr>
            <a:xfrm>
              <a:off x="6977502" y="1864259"/>
              <a:ext cx="110122" cy="156835"/>
              <a:chOff x="6977502" y="1864259"/>
              <a:chExt cx="110122" cy="156835"/>
            </a:xfrm>
            <a:grpFill/>
          </p:grpSpPr>
          <p:sp>
            <p:nvSpPr>
              <p:cNvPr id="4371" name="Vrije vorm: vorm 4370">
                <a:extLst>
                  <a:ext uri="{FF2B5EF4-FFF2-40B4-BE49-F238E27FC236}">
                    <a16:creationId xmlns:a16="http://schemas.microsoft.com/office/drawing/2014/main" id="{A1377B99-C580-4DF8-B47B-0984E9B1B158}"/>
                  </a:ext>
                </a:extLst>
              </p:cNvPr>
              <p:cNvSpPr/>
              <p:nvPr/>
            </p:nvSpPr>
            <p:spPr>
              <a:xfrm>
                <a:off x="6985144" y="1872245"/>
                <a:ext cx="94854" cy="140846"/>
              </a:xfrm>
              <a:custGeom>
                <a:avLst/>
                <a:gdLst>
                  <a:gd name="connsiteX0" fmla="*/ 94854 w 94854"/>
                  <a:gd name="connsiteY0" fmla="*/ 1675 h 140846"/>
                  <a:gd name="connsiteX1" fmla="*/ 2572 w 94854"/>
                  <a:gd name="connsiteY1" fmla="*/ 140846 h 140846"/>
                  <a:gd name="connsiteX2" fmla="*/ 0 w 94854"/>
                  <a:gd name="connsiteY2" fmla="*/ 139171 h 140846"/>
                  <a:gd name="connsiteX3" fmla="*/ 92283 w 94854"/>
                  <a:gd name="connsiteY3" fmla="*/ 0 h 140846"/>
                </a:gdLst>
                <a:ahLst/>
                <a:cxnLst>
                  <a:cxn ang="0">
                    <a:pos x="connsiteX0" y="connsiteY0"/>
                  </a:cxn>
                  <a:cxn ang="0">
                    <a:pos x="connsiteX1" y="connsiteY1"/>
                  </a:cxn>
                  <a:cxn ang="0">
                    <a:pos x="connsiteX2" y="connsiteY2"/>
                  </a:cxn>
                  <a:cxn ang="0">
                    <a:pos x="connsiteX3" y="connsiteY3"/>
                  </a:cxn>
                </a:cxnLst>
                <a:rect l="l" t="t" r="r" b="b"/>
                <a:pathLst>
                  <a:path w="94854" h="140846">
                    <a:moveTo>
                      <a:pt x="94854" y="1675"/>
                    </a:moveTo>
                    <a:lnTo>
                      <a:pt x="2572" y="140846"/>
                    </a:lnTo>
                    <a:lnTo>
                      <a:pt x="0" y="139171"/>
                    </a:lnTo>
                    <a:lnTo>
                      <a:pt x="92283" y="0"/>
                    </a:lnTo>
                    <a:close/>
                  </a:path>
                </a:pathLst>
              </a:custGeom>
              <a:grpFill/>
              <a:ln w="5978" cap="flat">
                <a:noFill/>
                <a:prstDash val="solid"/>
                <a:miter/>
              </a:ln>
            </p:spPr>
            <p:txBody>
              <a:bodyPr rtlCol="0" anchor="ctr"/>
              <a:lstStyle/>
              <a:p>
                <a:endParaRPr lang="en-GB"/>
              </a:p>
            </p:txBody>
          </p:sp>
          <p:sp>
            <p:nvSpPr>
              <p:cNvPr id="4372" name="Vrije vorm: vorm 4371">
                <a:extLst>
                  <a:ext uri="{FF2B5EF4-FFF2-40B4-BE49-F238E27FC236}">
                    <a16:creationId xmlns:a16="http://schemas.microsoft.com/office/drawing/2014/main" id="{3F02F1B8-519F-4286-967C-666579ADEDCF}"/>
                  </a:ext>
                </a:extLst>
              </p:cNvPr>
              <p:cNvSpPr/>
              <p:nvPr/>
            </p:nvSpPr>
            <p:spPr>
              <a:xfrm>
                <a:off x="7069306" y="1864259"/>
                <a:ext cx="18318" cy="18483"/>
              </a:xfrm>
              <a:custGeom>
                <a:avLst/>
                <a:gdLst>
                  <a:gd name="connsiteX0" fmla="*/ 1541 w 18318"/>
                  <a:gd name="connsiteY0" fmla="*/ 4098 h 18483"/>
                  <a:gd name="connsiteX1" fmla="*/ 14220 w 18318"/>
                  <a:gd name="connsiteY1" fmla="*/ 1586 h 18483"/>
                  <a:gd name="connsiteX2" fmla="*/ 16792 w 18318"/>
                  <a:gd name="connsiteY2" fmla="*/ 14385 h 18483"/>
                  <a:gd name="connsiteX3" fmla="*/ 4113 w 18318"/>
                  <a:gd name="connsiteY3" fmla="*/ 16897 h 18483"/>
                  <a:gd name="connsiteX4" fmla="*/ 1541 w 18318"/>
                  <a:gd name="connsiteY4" fmla="*/ 4098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83">
                    <a:moveTo>
                      <a:pt x="1541" y="4098"/>
                    </a:moveTo>
                    <a:cubicBezTo>
                      <a:pt x="4353" y="-148"/>
                      <a:pt x="10034" y="-1284"/>
                      <a:pt x="14220" y="1586"/>
                    </a:cubicBezTo>
                    <a:cubicBezTo>
                      <a:pt x="18407" y="4397"/>
                      <a:pt x="19603" y="10139"/>
                      <a:pt x="16792" y="14385"/>
                    </a:cubicBezTo>
                    <a:cubicBezTo>
                      <a:pt x="13982" y="18631"/>
                      <a:pt x="8299" y="19768"/>
                      <a:pt x="4113" y="16897"/>
                    </a:cubicBezTo>
                    <a:cubicBezTo>
                      <a:pt x="-133" y="14026"/>
                      <a:pt x="-1270" y="8285"/>
                      <a:pt x="1541" y="4098"/>
                    </a:cubicBezTo>
                    <a:close/>
                  </a:path>
                </a:pathLst>
              </a:custGeom>
              <a:grpFill/>
              <a:ln w="5978" cap="flat">
                <a:noFill/>
                <a:prstDash val="solid"/>
                <a:miter/>
              </a:ln>
            </p:spPr>
            <p:txBody>
              <a:bodyPr rtlCol="0" anchor="ctr"/>
              <a:lstStyle/>
              <a:p>
                <a:endParaRPr lang="en-GB"/>
              </a:p>
            </p:txBody>
          </p:sp>
          <p:sp>
            <p:nvSpPr>
              <p:cNvPr id="4373" name="Vrije vorm: vorm 4372">
                <a:extLst>
                  <a:ext uri="{FF2B5EF4-FFF2-40B4-BE49-F238E27FC236}">
                    <a16:creationId xmlns:a16="http://schemas.microsoft.com/office/drawing/2014/main" id="{C4B2C685-E02B-47FC-8F6C-A8E79ABF8532}"/>
                  </a:ext>
                </a:extLst>
              </p:cNvPr>
              <p:cNvSpPr/>
              <p:nvPr/>
            </p:nvSpPr>
            <p:spPr>
              <a:xfrm>
                <a:off x="6977502" y="2002653"/>
                <a:ext cx="18333" cy="18441"/>
              </a:xfrm>
              <a:custGeom>
                <a:avLst/>
                <a:gdLst>
                  <a:gd name="connsiteX0" fmla="*/ 1541 w 18333"/>
                  <a:gd name="connsiteY0" fmla="*/ 4098 h 18441"/>
                  <a:gd name="connsiteX1" fmla="*/ 4113 w 18333"/>
                  <a:gd name="connsiteY1" fmla="*/ 16897 h 18441"/>
                  <a:gd name="connsiteX2" fmla="*/ 16792 w 18333"/>
                  <a:gd name="connsiteY2" fmla="*/ 14385 h 18441"/>
                  <a:gd name="connsiteX3" fmla="*/ 14220 w 18333"/>
                  <a:gd name="connsiteY3" fmla="*/ 1586 h 18441"/>
                  <a:gd name="connsiteX4" fmla="*/ 1541 w 18333"/>
                  <a:gd name="connsiteY4" fmla="*/ 409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541" y="4098"/>
                    </a:moveTo>
                    <a:cubicBezTo>
                      <a:pt x="-1269" y="8345"/>
                      <a:pt x="-133" y="14026"/>
                      <a:pt x="4113" y="16897"/>
                    </a:cubicBezTo>
                    <a:cubicBezTo>
                      <a:pt x="8300" y="19708"/>
                      <a:pt x="14042" y="18572"/>
                      <a:pt x="16792" y="14385"/>
                    </a:cubicBezTo>
                    <a:cubicBezTo>
                      <a:pt x="19603" y="10139"/>
                      <a:pt x="18467" y="4457"/>
                      <a:pt x="14220" y="1586"/>
                    </a:cubicBezTo>
                    <a:cubicBezTo>
                      <a:pt x="10034" y="-1284"/>
                      <a:pt x="4352" y="-148"/>
                      <a:pt x="1541" y="4098"/>
                    </a:cubicBezTo>
                    <a:close/>
                  </a:path>
                </a:pathLst>
              </a:custGeom>
              <a:grpFill/>
              <a:ln w="5978" cap="flat">
                <a:noFill/>
                <a:prstDash val="solid"/>
                <a:miter/>
              </a:ln>
            </p:spPr>
            <p:txBody>
              <a:bodyPr rtlCol="0" anchor="ctr"/>
              <a:lstStyle/>
              <a:p>
                <a:endParaRPr lang="en-GB"/>
              </a:p>
            </p:txBody>
          </p:sp>
        </p:grpSp>
        <p:grpSp>
          <p:nvGrpSpPr>
            <p:cNvPr id="337" name="Graphic 3">
              <a:extLst>
                <a:ext uri="{FF2B5EF4-FFF2-40B4-BE49-F238E27FC236}">
                  <a16:creationId xmlns:a16="http://schemas.microsoft.com/office/drawing/2014/main" id="{BCD66CE0-3876-4FF7-AC82-5EE57FB35D14}"/>
                </a:ext>
              </a:extLst>
            </p:cNvPr>
            <p:cNvGrpSpPr/>
            <p:nvPr/>
          </p:nvGrpSpPr>
          <p:grpSpPr>
            <a:xfrm>
              <a:off x="6788912" y="1409975"/>
              <a:ext cx="298387" cy="498440"/>
              <a:chOff x="6788912" y="1409975"/>
              <a:chExt cx="298387" cy="498440"/>
            </a:xfrm>
            <a:grpFill/>
          </p:grpSpPr>
          <p:sp>
            <p:nvSpPr>
              <p:cNvPr id="4368" name="Vrije vorm: vorm 4367">
                <a:extLst>
                  <a:ext uri="{FF2B5EF4-FFF2-40B4-BE49-F238E27FC236}">
                    <a16:creationId xmlns:a16="http://schemas.microsoft.com/office/drawing/2014/main" id="{78E5B56C-7C4B-4B4F-A9D4-BA3D55349F65}"/>
                  </a:ext>
                </a:extLst>
              </p:cNvPr>
              <p:cNvSpPr/>
              <p:nvPr/>
            </p:nvSpPr>
            <p:spPr>
              <a:xfrm>
                <a:off x="6796572" y="1418009"/>
                <a:ext cx="283127" cy="482345"/>
              </a:xfrm>
              <a:custGeom>
                <a:avLst/>
                <a:gdLst>
                  <a:gd name="connsiteX0" fmla="*/ 283128 w 283127"/>
                  <a:gd name="connsiteY0" fmla="*/ 1555 h 482345"/>
                  <a:gd name="connsiteX1" fmla="*/ 2632 w 283127"/>
                  <a:gd name="connsiteY1" fmla="*/ 482345 h 482345"/>
                  <a:gd name="connsiteX2" fmla="*/ 0 w 283127"/>
                  <a:gd name="connsiteY2" fmla="*/ 480790 h 482345"/>
                  <a:gd name="connsiteX3" fmla="*/ 280496 w 283127"/>
                  <a:gd name="connsiteY3" fmla="*/ 0 h 482345"/>
                </a:gdLst>
                <a:ahLst/>
                <a:cxnLst>
                  <a:cxn ang="0">
                    <a:pos x="connsiteX0" y="connsiteY0"/>
                  </a:cxn>
                  <a:cxn ang="0">
                    <a:pos x="connsiteX1" y="connsiteY1"/>
                  </a:cxn>
                  <a:cxn ang="0">
                    <a:pos x="connsiteX2" y="connsiteY2"/>
                  </a:cxn>
                  <a:cxn ang="0">
                    <a:pos x="connsiteX3" y="connsiteY3"/>
                  </a:cxn>
                </a:cxnLst>
                <a:rect l="l" t="t" r="r" b="b"/>
                <a:pathLst>
                  <a:path w="283127" h="482345">
                    <a:moveTo>
                      <a:pt x="283128" y="1555"/>
                    </a:moveTo>
                    <a:lnTo>
                      <a:pt x="2632" y="482345"/>
                    </a:lnTo>
                    <a:lnTo>
                      <a:pt x="0" y="480790"/>
                    </a:lnTo>
                    <a:lnTo>
                      <a:pt x="280496" y="0"/>
                    </a:lnTo>
                    <a:close/>
                  </a:path>
                </a:pathLst>
              </a:custGeom>
              <a:grpFill/>
              <a:ln w="5978" cap="flat">
                <a:noFill/>
                <a:prstDash val="solid"/>
                <a:miter/>
              </a:ln>
            </p:spPr>
            <p:txBody>
              <a:bodyPr rtlCol="0" anchor="ctr"/>
              <a:lstStyle/>
              <a:p>
                <a:endParaRPr lang="en-GB"/>
              </a:p>
            </p:txBody>
          </p:sp>
          <p:sp>
            <p:nvSpPr>
              <p:cNvPr id="4369" name="Vrije vorm: vorm 4368">
                <a:extLst>
                  <a:ext uri="{FF2B5EF4-FFF2-40B4-BE49-F238E27FC236}">
                    <a16:creationId xmlns:a16="http://schemas.microsoft.com/office/drawing/2014/main" id="{62A1575E-AF4E-4A40-908A-71F4FEBE5803}"/>
                  </a:ext>
                </a:extLst>
              </p:cNvPr>
              <p:cNvSpPr/>
              <p:nvPr/>
            </p:nvSpPr>
            <p:spPr>
              <a:xfrm>
                <a:off x="6788912" y="1889961"/>
                <a:ext cx="18369" cy="18453"/>
              </a:xfrm>
              <a:custGeom>
                <a:avLst/>
                <a:gdLst>
                  <a:gd name="connsiteX0" fmla="*/ 17109 w 18369"/>
                  <a:gd name="connsiteY0" fmla="*/ 13922 h 18453"/>
                  <a:gd name="connsiteX1" fmla="*/ 4550 w 18369"/>
                  <a:gd name="connsiteY1" fmla="*/ 17151 h 18453"/>
                  <a:gd name="connsiteX2" fmla="*/ 1260 w 18369"/>
                  <a:gd name="connsiteY2" fmla="*/ 4532 h 18453"/>
                  <a:gd name="connsiteX3" fmla="*/ 13820 w 18369"/>
                  <a:gd name="connsiteY3" fmla="*/ 1303 h 18453"/>
                  <a:gd name="connsiteX4" fmla="*/ 17109 w 18369"/>
                  <a:gd name="connsiteY4" fmla="*/ 1392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53">
                    <a:moveTo>
                      <a:pt x="17109" y="13922"/>
                    </a:moveTo>
                    <a:cubicBezTo>
                      <a:pt x="14537" y="18288"/>
                      <a:pt x="8915" y="19783"/>
                      <a:pt x="4550" y="17151"/>
                    </a:cubicBezTo>
                    <a:cubicBezTo>
                      <a:pt x="184" y="14580"/>
                      <a:pt x="-1311" y="8898"/>
                      <a:pt x="1260" y="4532"/>
                    </a:cubicBezTo>
                    <a:cubicBezTo>
                      <a:pt x="3832" y="166"/>
                      <a:pt x="9454" y="-1329"/>
                      <a:pt x="13820" y="1303"/>
                    </a:cubicBezTo>
                    <a:cubicBezTo>
                      <a:pt x="18186" y="3934"/>
                      <a:pt x="19681" y="9496"/>
                      <a:pt x="17109" y="13922"/>
                    </a:cubicBezTo>
                    <a:close/>
                  </a:path>
                </a:pathLst>
              </a:custGeom>
              <a:grpFill/>
              <a:ln w="5978" cap="flat">
                <a:noFill/>
                <a:prstDash val="solid"/>
                <a:miter/>
              </a:ln>
            </p:spPr>
            <p:txBody>
              <a:bodyPr rtlCol="0" anchor="ctr"/>
              <a:lstStyle/>
              <a:p>
                <a:endParaRPr lang="en-GB"/>
              </a:p>
            </p:txBody>
          </p:sp>
          <p:sp>
            <p:nvSpPr>
              <p:cNvPr id="4370" name="Vrije vorm: vorm 4369">
                <a:extLst>
                  <a:ext uri="{FF2B5EF4-FFF2-40B4-BE49-F238E27FC236}">
                    <a16:creationId xmlns:a16="http://schemas.microsoft.com/office/drawing/2014/main" id="{21CFFA55-DC8A-4C2A-88DC-4678CA32D858}"/>
                  </a:ext>
                </a:extLst>
              </p:cNvPr>
              <p:cNvSpPr/>
              <p:nvPr/>
            </p:nvSpPr>
            <p:spPr>
              <a:xfrm>
                <a:off x="7068929" y="1409975"/>
                <a:ext cx="18369" cy="18400"/>
              </a:xfrm>
              <a:custGeom>
                <a:avLst/>
                <a:gdLst>
                  <a:gd name="connsiteX0" fmla="*/ 17109 w 18369"/>
                  <a:gd name="connsiteY0" fmla="*/ 13895 h 18400"/>
                  <a:gd name="connsiteX1" fmla="*/ 13820 w 18369"/>
                  <a:gd name="connsiteY1" fmla="*/ 1276 h 18400"/>
                  <a:gd name="connsiteX2" fmla="*/ 1260 w 18369"/>
                  <a:gd name="connsiteY2" fmla="*/ 4506 h 18400"/>
                  <a:gd name="connsiteX3" fmla="*/ 4550 w 18369"/>
                  <a:gd name="connsiteY3" fmla="*/ 17125 h 18400"/>
                  <a:gd name="connsiteX4" fmla="*/ 17109 w 18369"/>
                  <a:gd name="connsiteY4" fmla="*/ 1389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7109" y="13895"/>
                    </a:moveTo>
                    <a:cubicBezTo>
                      <a:pt x="19681" y="9529"/>
                      <a:pt x="18186" y="3848"/>
                      <a:pt x="13820" y="1276"/>
                    </a:cubicBezTo>
                    <a:cubicBezTo>
                      <a:pt x="9454" y="-1296"/>
                      <a:pt x="3832" y="140"/>
                      <a:pt x="1260" y="4506"/>
                    </a:cubicBezTo>
                    <a:cubicBezTo>
                      <a:pt x="-1311" y="8871"/>
                      <a:pt x="184" y="14553"/>
                      <a:pt x="4550" y="17125"/>
                    </a:cubicBezTo>
                    <a:cubicBezTo>
                      <a:pt x="8916" y="19697"/>
                      <a:pt x="14538" y="18261"/>
                      <a:pt x="17109" y="13895"/>
                    </a:cubicBezTo>
                    <a:close/>
                  </a:path>
                </a:pathLst>
              </a:custGeom>
              <a:grpFill/>
              <a:ln w="5978" cap="flat">
                <a:noFill/>
                <a:prstDash val="solid"/>
                <a:miter/>
              </a:ln>
            </p:spPr>
            <p:txBody>
              <a:bodyPr rtlCol="0" anchor="ctr"/>
              <a:lstStyle/>
              <a:p>
                <a:endParaRPr lang="en-GB"/>
              </a:p>
            </p:txBody>
          </p:sp>
        </p:grpSp>
        <p:grpSp>
          <p:nvGrpSpPr>
            <p:cNvPr id="338" name="Graphic 3">
              <a:extLst>
                <a:ext uri="{FF2B5EF4-FFF2-40B4-BE49-F238E27FC236}">
                  <a16:creationId xmlns:a16="http://schemas.microsoft.com/office/drawing/2014/main" id="{23E2BFF3-7961-4A5A-9A8F-23939FB3C6BB}"/>
                </a:ext>
              </a:extLst>
            </p:cNvPr>
            <p:cNvGrpSpPr/>
            <p:nvPr/>
          </p:nvGrpSpPr>
          <p:grpSpPr>
            <a:xfrm>
              <a:off x="7714431" y="4388330"/>
              <a:ext cx="309766" cy="189657"/>
              <a:chOff x="7714431" y="4388330"/>
              <a:chExt cx="309766" cy="189657"/>
            </a:xfrm>
            <a:grpFill/>
          </p:grpSpPr>
          <p:sp>
            <p:nvSpPr>
              <p:cNvPr id="4365" name="Vrije vorm: vorm 4364">
                <a:extLst>
                  <a:ext uri="{FF2B5EF4-FFF2-40B4-BE49-F238E27FC236}">
                    <a16:creationId xmlns:a16="http://schemas.microsoft.com/office/drawing/2014/main" id="{C42A400B-219A-440F-B222-04C2E8EEA677}"/>
                  </a:ext>
                </a:extLst>
              </p:cNvPr>
              <p:cNvSpPr/>
              <p:nvPr/>
            </p:nvSpPr>
            <p:spPr>
              <a:xfrm>
                <a:off x="7722447" y="4395930"/>
                <a:ext cx="293713" cy="174398"/>
              </a:xfrm>
              <a:custGeom>
                <a:avLst/>
                <a:gdLst>
                  <a:gd name="connsiteX0" fmla="*/ 293713 w 293713"/>
                  <a:gd name="connsiteY0" fmla="*/ 171767 h 174398"/>
                  <a:gd name="connsiteX1" fmla="*/ 292158 w 293713"/>
                  <a:gd name="connsiteY1" fmla="*/ 174398 h 174398"/>
                  <a:gd name="connsiteX2" fmla="*/ 0 w 293713"/>
                  <a:gd name="connsiteY2" fmla="*/ 2691 h 174398"/>
                  <a:gd name="connsiteX3" fmla="*/ 1495 w 293713"/>
                  <a:gd name="connsiteY3" fmla="*/ 0 h 174398"/>
                </a:gdLst>
                <a:ahLst/>
                <a:cxnLst>
                  <a:cxn ang="0">
                    <a:pos x="connsiteX0" y="connsiteY0"/>
                  </a:cxn>
                  <a:cxn ang="0">
                    <a:pos x="connsiteX1" y="connsiteY1"/>
                  </a:cxn>
                  <a:cxn ang="0">
                    <a:pos x="connsiteX2" y="connsiteY2"/>
                  </a:cxn>
                  <a:cxn ang="0">
                    <a:pos x="connsiteX3" y="connsiteY3"/>
                  </a:cxn>
                </a:cxnLst>
                <a:rect l="l" t="t" r="r" b="b"/>
                <a:pathLst>
                  <a:path w="293713" h="174398">
                    <a:moveTo>
                      <a:pt x="293713" y="171767"/>
                    </a:moveTo>
                    <a:lnTo>
                      <a:pt x="292158" y="174398"/>
                    </a:lnTo>
                    <a:lnTo>
                      <a:pt x="0" y="2691"/>
                    </a:lnTo>
                    <a:lnTo>
                      <a:pt x="1495" y="0"/>
                    </a:lnTo>
                    <a:close/>
                  </a:path>
                </a:pathLst>
              </a:custGeom>
              <a:grpFill/>
              <a:ln w="5978" cap="flat">
                <a:noFill/>
                <a:prstDash val="solid"/>
                <a:miter/>
              </a:ln>
            </p:spPr>
            <p:txBody>
              <a:bodyPr rtlCol="0" anchor="ctr"/>
              <a:lstStyle/>
              <a:p>
                <a:endParaRPr lang="en-GB"/>
              </a:p>
            </p:txBody>
          </p:sp>
          <p:sp>
            <p:nvSpPr>
              <p:cNvPr id="4366" name="Vrije vorm: vorm 4365">
                <a:extLst>
                  <a:ext uri="{FF2B5EF4-FFF2-40B4-BE49-F238E27FC236}">
                    <a16:creationId xmlns:a16="http://schemas.microsoft.com/office/drawing/2014/main" id="{F29D2FC1-9D0E-4098-A94B-1AD163E26570}"/>
                  </a:ext>
                </a:extLst>
              </p:cNvPr>
              <p:cNvSpPr/>
              <p:nvPr/>
            </p:nvSpPr>
            <p:spPr>
              <a:xfrm>
                <a:off x="8005911" y="4559545"/>
                <a:ext cx="18285" cy="18442"/>
              </a:xfrm>
              <a:custGeom>
                <a:avLst/>
                <a:gdLst>
                  <a:gd name="connsiteX0" fmla="*/ 13718 w 18285"/>
                  <a:gd name="connsiteY0" fmla="*/ 1274 h 18442"/>
                  <a:gd name="connsiteX1" fmla="*/ 17068 w 18285"/>
                  <a:gd name="connsiteY1" fmla="*/ 13893 h 18442"/>
                  <a:gd name="connsiteX2" fmla="*/ 4568 w 18285"/>
                  <a:gd name="connsiteY2" fmla="*/ 17182 h 18442"/>
                  <a:gd name="connsiteX3" fmla="*/ 1219 w 18285"/>
                  <a:gd name="connsiteY3" fmla="*/ 4563 h 18442"/>
                  <a:gd name="connsiteX4" fmla="*/ 13718 w 18285"/>
                  <a:gd name="connsiteY4" fmla="*/ 127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42">
                    <a:moveTo>
                      <a:pt x="13718" y="1274"/>
                    </a:moveTo>
                    <a:cubicBezTo>
                      <a:pt x="18084" y="3845"/>
                      <a:pt x="19579" y="9467"/>
                      <a:pt x="17068" y="13893"/>
                    </a:cubicBezTo>
                    <a:cubicBezTo>
                      <a:pt x="14496" y="18259"/>
                      <a:pt x="8934" y="19754"/>
                      <a:pt x="4568" y="17182"/>
                    </a:cubicBezTo>
                    <a:cubicBezTo>
                      <a:pt x="202" y="14611"/>
                      <a:pt x="-1293" y="8989"/>
                      <a:pt x="1219" y="4563"/>
                    </a:cubicBezTo>
                    <a:cubicBezTo>
                      <a:pt x="3731" y="137"/>
                      <a:pt x="9293" y="-1298"/>
                      <a:pt x="13718" y="1274"/>
                    </a:cubicBezTo>
                    <a:close/>
                  </a:path>
                </a:pathLst>
              </a:custGeom>
              <a:grpFill/>
              <a:ln w="5978" cap="flat">
                <a:noFill/>
                <a:prstDash val="solid"/>
                <a:miter/>
              </a:ln>
            </p:spPr>
            <p:txBody>
              <a:bodyPr rtlCol="0" anchor="ctr"/>
              <a:lstStyle/>
              <a:p>
                <a:endParaRPr lang="en-GB"/>
              </a:p>
            </p:txBody>
          </p:sp>
          <p:sp>
            <p:nvSpPr>
              <p:cNvPr id="4367" name="Vrije vorm: vorm 4366">
                <a:extLst>
                  <a:ext uri="{FF2B5EF4-FFF2-40B4-BE49-F238E27FC236}">
                    <a16:creationId xmlns:a16="http://schemas.microsoft.com/office/drawing/2014/main" id="{AC6E47E8-994E-4BF2-A1E6-FAF3BF90353B}"/>
                  </a:ext>
                </a:extLst>
              </p:cNvPr>
              <p:cNvSpPr/>
              <p:nvPr/>
            </p:nvSpPr>
            <p:spPr>
              <a:xfrm>
                <a:off x="7714431" y="4388330"/>
                <a:ext cx="18325" cy="18429"/>
              </a:xfrm>
              <a:custGeom>
                <a:avLst/>
                <a:gdLst>
                  <a:gd name="connsiteX0" fmla="*/ 13758 w 18325"/>
                  <a:gd name="connsiteY0" fmla="*/ 1260 h 18429"/>
                  <a:gd name="connsiteX1" fmla="*/ 1258 w 18325"/>
                  <a:gd name="connsiteY1" fmla="*/ 4550 h 18429"/>
                  <a:gd name="connsiteX2" fmla="*/ 4607 w 18325"/>
                  <a:gd name="connsiteY2" fmla="*/ 17169 h 18429"/>
                  <a:gd name="connsiteX3" fmla="*/ 17107 w 18325"/>
                  <a:gd name="connsiteY3" fmla="*/ 13880 h 18429"/>
                  <a:gd name="connsiteX4" fmla="*/ 13758 w 18325"/>
                  <a:gd name="connsiteY4" fmla="*/ 126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9">
                    <a:moveTo>
                      <a:pt x="13758" y="1260"/>
                    </a:moveTo>
                    <a:cubicBezTo>
                      <a:pt x="9392" y="-1311"/>
                      <a:pt x="3771" y="184"/>
                      <a:pt x="1258" y="4550"/>
                    </a:cubicBezTo>
                    <a:cubicBezTo>
                      <a:pt x="-1314" y="8916"/>
                      <a:pt x="182" y="14597"/>
                      <a:pt x="4607" y="17169"/>
                    </a:cubicBezTo>
                    <a:cubicBezTo>
                      <a:pt x="8974" y="19741"/>
                      <a:pt x="14595" y="18246"/>
                      <a:pt x="17107" y="13880"/>
                    </a:cubicBezTo>
                    <a:cubicBezTo>
                      <a:pt x="19619" y="9454"/>
                      <a:pt x="18124" y="3832"/>
                      <a:pt x="13758" y="1260"/>
                    </a:cubicBezTo>
                    <a:close/>
                  </a:path>
                </a:pathLst>
              </a:custGeom>
              <a:grpFill/>
              <a:ln w="5978" cap="flat">
                <a:noFill/>
                <a:prstDash val="solid"/>
                <a:miter/>
              </a:ln>
            </p:spPr>
            <p:txBody>
              <a:bodyPr rtlCol="0" anchor="ctr"/>
              <a:lstStyle/>
              <a:p>
                <a:endParaRPr lang="en-GB"/>
              </a:p>
            </p:txBody>
          </p:sp>
        </p:grpSp>
        <p:grpSp>
          <p:nvGrpSpPr>
            <p:cNvPr id="339" name="Graphic 3">
              <a:extLst>
                <a:ext uri="{FF2B5EF4-FFF2-40B4-BE49-F238E27FC236}">
                  <a16:creationId xmlns:a16="http://schemas.microsoft.com/office/drawing/2014/main" id="{DB7D1EBD-4CD6-4926-8A00-50E4D33C8082}"/>
                </a:ext>
              </a:extLst>
            </p:cNvPr>
            <p:cNvGrpSpPr/>
            <p:nvPr/>
          </p:nvGrpSpPr>
          <p:grpSpPr>
            <a:xfrm>
              <a:off x="7698334" y="4337867"/>
              <a:ext cx="314886" cy="185383"/>
              <a:chOff x="7698334" y="4337867"/>
              <a:chExt cx="314886" cy="185383"/>
            </a:xfrm>
            <a:grpFill/>
          </p:grpSpPr>
          <p:sp>
            <p:nvSpPr>
              <p:cNvPr id="4362" name="Vrije vorm: vorm 4361">
                <a:extLst>
                  <a:ext uri="{FF2B5EF4-FFF2-40B4-BE49-F238E27FC236}">
                    <a16:creationId xmlns:a16="http://schemas.microsoft.com/office/drawing/2014/main" id="{1E65BF18-549B-46AB-AD24-050D11A36EDA}"/>
                  </a:ext>
                </a:extLst>
              </p:cNvPr>
              <p:cNvSpPr/>
              <p:nvPr/>
            </p:nvSpPr>
            <p:spPr>
              <a:xfrm>
                <a:off x="7706359" y="4345513"/>
                <a:ext cx="298797" cy="170031"/>
              </a:xfrm>
              <a:custGeom>
                <a:avLst/>
                <a:gdLst>
                  <a:gd name="connsiteX0" fmla="*/ 298797 w 298797"/>
                  <a:gd name="connsiteY0" fmla="*/ 167340 h 170031"/>
                  <a:gd name="connsiteX1" fmla="*/ 297362 w 298797"/>
                  <a:gd name="connsiteY1" fmla="*/ 170032 h 170031"/>
                  <a:gd name="connsiteX2" fmla="*/ 0 w 298797"/>
                  <a:gd name="connsiteY2" fmla="*/ 2691 h 170031"/>
                  <a:gd name="connsiteX3" fmla="*/ 1435 w 298797"/>
                  <a:gd name="connsiteY3" fmla="*/ 0 h 170031"/>
                </a:gdLst>
                <a:ahLst/>
                <a:cxnLst>
                  <a:cxn ang="0">
                    <a:pos x="connsiteX0" y="connsiteY0"/>
                  </a:cxn>
                  <a:cxn ang="0">
                    <a:pos x="connsiteX1" y="connsiteY1"/>
                  </a:cxn>
                  <a:cxn ang="0">
                    <a:pos x="connsiteX2" y="connsiteY2"/>
                  </a:cxn>
                  <a:cxn ang="0">
                    <a:pos x="connsiteX3" y="connsiteY3"/>
                  </a:cxn>
                </a:cxnLst>
                <a:rect l="l" t="t" r="r" b="b"/>
                <a:pathLst>
                  <a:path w="298797" h="170031">
                    <a:moveTo>
                      <a:pt x="298797" y="167340"/>
                    </a:moveTo>
                    <a:lnTo>
                      <a:pt x="297362" y="170032"/>
                    </a:lnTo>
                    <a:lnTo>
                      <a:pt x="0" y="2691"/>
                    </a:lnTo>
                    <a:lnTo>
                      <a:pt x="1435" y="0"/>
                    </a:lnTo>
                    <a:close/>
                  </a:path>
                </a:pathLst>
              </a:custGeom>
              <a:grpFill/>
              <a:ln w="5978" cap="flat">
                <a:noFill/>
                <a:prstDash val="solid"/>
                <a:miter/>
              </a:ln>
            </p:spPr>
            <p:txBody>
              <a:bodyPr rtlCol="0" anchor="ctr"/>
              <a:lstStyle/>
              <a:p>
                <a:endParaRPr lang="en-GB"/>
              </a:p>
            </p:txBody>
          </p:sp>
          <p:sp>
            <p:nvSpPr>
              <p:cNvPr id="4363" name="Vrije vorm: vorm 4362">
                <a:extLst>
                  <a:ext uri="{FF2B5EF4-FFF2-40B4-BE49-F238E27FC236}">
                    <a16:creationId xmlns:a16="http://schemas.microsoft.com/office/drawing/2014/main" id="{890470E5-9EDC-402C-9A26-445F0DF1671C}"/>
                  </a:ext>
                </a:extLst>
              </p:cNvPr>
              <p:cNvSpPr/>
              <p:nvPr/>
            </p:nvSpPr>
            <p:spPr>
              <a:xfrm>
                <a:off x="7994879" y="4504776"/>
                <a:ext cx="18342" cy="18474"/>
              </a:xfrm>
              <a:custGeom>
                <a:avLst/>
                <a:gdLst>
                  <a:gd name="connsiteX0" fmla="*/ 13627 w 18342"/>
                  <a:gd name="connsiteY0" fmla="*/ 1200 h 18474"/>
                  <a:gd name="connsiteX1" fmla="*/ 17155 w 18342"/>
                  <a:gd name="connsiteY1" fmla="*/ 13759 h 18474"/>
                  <a:gd name="connsiteX2" fmla="*/ 4715 w 18342"/>
                  <a:gd name="connsiteY2" fmla="*/ 17288 h 18474"/>
                  <a:gd name="connsiteX3" fmla="*/ 1187 w 18342"/>
                  <a:gd name="connsiteY3" fmla="*/ 4728 h 18474"/>
                  <a:gd name="connsiteX4" fmla="*/ 13627 w 18342"/>
                  <a:gd name="connsiteY4" fmla="*/ 1200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74">
                    <a:moveTo>
                      <a:pt x="13627" y="1200"/>
                    </a:moveTo>
                    <a:cubicBezTo>
                      <a:pt x="18052" y="3711"/>
                      <a:pt x="19667" y="9333"/>
                      <a:pt x="17155" y="13759"/>
                    </a:cubicBezTo>
                    <a:cubicBezTo>
                      <a:pt x="14703" y="18185"/>
                      <a:pt x="9141" y="19800"/>
                      <a:pt x="4715" y="17288"/>
                    </a:cubicBezTo>
                    <a:cubicBezTo>
                      <a:pt x="290" y="14776"/>
                      <a:pt x="-1325" y="9154"/>
                      <a:pt x="1187" y="4728"/>
                    </a:cubicBezTo>
                    <a:cubicBezTo>
                      <a:pt x="3639" y="242"/>
                      <a:pt x="9201" y="-1313"/>
                      <a:pt x="13627" y="1200"/>
                    </a:cubicBezTo>
                    <a:close/>
                  </a:path>
                </a:pathLst>
              </a:custGeom>
              <a:grpFill/>
              <a:ln w="5978" cap="flat">
                <a:noFill/>
                <a:prstDash val="solid"/>
                <a:miter/>
              </a:ln>
            </p:spPr>
            <p:txBody>
              <a:bodyPr rtlCol="0" anchor="ctr"/>
              <a:lstStyle/>
              <a:p>
                <a:endParaRPr lang="en-GB"/>
              </a:p>
            </p:txBody>
          </p:sp>
          <p:sp>
            <p:nvSpPr>
              <p:cNvPr id="4364" name="Vrije vorm: vorm 4363">
                <a:extLst>
                  <a:ext uri="{FF2B5EF4-FFF2-40B4-BE49-F238E27FC236}">
                    <a16:creationId xmlns:a16="http://schemas.microsoft.com/office/drawing/2014/main" id="{51CAC9BA-F42A-42B1-8D80-8F281BD39D37}"/>
                  </a:ext>
                </a:extLst>
              </p:cNvPr>
              <p:cNvSpPr/>
              <p:nvPr/>
            </p:nvSpPr>
            <p:spPr>
              <a:xfrm>
                <a:off x="7698334" y="4337867"/>
                <a:ext cx="18302" cy="18461"/>
              </a:xfrm>
              <a:custGeom>
                <a:avLst/>
                <a:gdLst>
                  <a:gd name="connsiteX0" fmla="*/ 13588 w 18302"/>
                  <a:gd name="connsiteY0" fmla="*/ 1187 h 18461"/>
                  <a:gd name="connsiteX1" fmla="*/ 1148 w 18302"/>
                  <a:gd name="connsiteY1" fmla="*/ 4716 h 18461"/>
                  <a:gd name="connsiteX2" fmla="*/ 4676 w 18302"/>
                  <a:gd name="connsiteY2" fmla="*/ 17275 h 18461"/>
                  <a:gd name="connsiteX3" fmla="*/ 17116 w 18302"/>
                  <a:gd name="connsiteY3" fmla="*/ 13746 h 18461"/>
                  <a:gd name="connsiteX4" fmla="*/ 13588 w 18302"/>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61">
                    <a:moveTo>
                      <a:pt x="13588" y="1187"/>
                    </a:moveTo>
                    <a:cubicBezTo>
                      <a:pt x="9162" y="-1325"/>
                      <a:pt x="3600" y="290"/>
                      <a:pt x="1148" y="4716"/>
                    </a:cubicBezTo>
                    <a:cubicBezTo>
                      <a:pt x="-1304" y="9141"/>
                      <a:pt x="311" y="14763"/>
                      <a:pt x="4676" y="17275"/>
                    </a:cubicBezTo>
                    <a:cubicBezTo>
                      <a:pt x="9102" y="19787"/>
                      <a:pt x="14664" y="18172"/>
                      <a:pt x="17116" y="13746"/>
                    </a:cubicBezTo>
                    <a:cubicBezTo>
                      <a:pt x="19628" y="9261"/>
                      <a:pt x="18013" y="3639"/>
                      <a:pt x="13588" y="1187"/>
                    </a:cubicBezTo>
                    <a:close/>
                  </a:path>
                </a:pathLst>
              </a:custGeom>
              <a:grpFill/>
              <a:ln w="5978" cap="flat">
                <a:noFill/>
                <a:prstDash val="solid"/>
                <a:miter/>
              </a:ln>
            </p:spPr>
            <p:txBody>
              <a:bodyPr rtlCol="0" anchor="ctr"/>
              <a:lstStyle/>
              <a:p>
                <a:endParaRPr lang="en-GB"/>
              </a:p>
            </p:txBody>
          </p:sp>
        </p:grpSp>
        <p:grpSp>
          <p:nvGrpSpPr>
            <p:cNvPr id="340" name="Graphic 3">
              <a:extLst>
                <a:ext uri="{FF2B5EF4-FFF2-40B4-BE49-F238E27FC236}">
                  <a16:creationId xmlns:a16="http://schemas.microsoft.com/office/drawing/2014/main" id="{BD6011A9-A90D-436A-A9A8-43A9C66BF920}"/>
                </a:ext>
              </a:extLst>
            </p:cNvPr>
            <p:cNvGrpSpPr/>
            <p:nvPr/>
          </p:nvGrpSpPr>
          <p:grpSpPr>
            <a:xfrm>
              <a:off x="7630945" y="3943844"/>
              <a:ext cx="152383" cy="63761"/>
              <a:chOff x="7630945" y="3943844"/>
              <a:chExt cx="152383" cy="63761"/>
            </a:xfrm>
            <a:grpFill/>
          </p:grpSpPr>
          <p:sp>
            <p:nvSpPr>
              <p:cNvPr id="4359" name="Vrije vorm: vorm 4358">
                <a:extLst>
                  <a:ext uri="{FF2B5EF4-FFF2-40B4-BE49-F238E27FC236}">
                    <a16:creationId xmlns:a16="http://schemas.microsoft.com/office/drawing/2014/main" id="{6DF77721-FC38-4BC6-9CB1-6059624C2862}"/>
                  </a:ext>
                </a:extLst>
              </p:cNvPr>
              <p:cNvSpPr/>
              <p:nvPr/>
            </p:nvSpPr>
            <p:spPr>
              <a:xfrm>
                <a:off x="7639255" y="3951503"/>
                <a:ext cx="135821" cy="48503"/>
              </a:xfrm>
              <a:custGeom>
                <a:avLst/>
                <a:gdLst>
                  <a:gd name="connsiteX0" fmla="*/ 135822 w 135821"/>
                  <a:gd name="connsiteY0" fmla="*/ 45573 h 48503"/>
                  <a:gd name="connsiteX1" fmla="*/ 134866 w 135821"/>
                  <a:gd name="connsiteY1" fmla="*/ 48504 h 48503"/>
                  <a:gd name="connsiteX2" fmla="*/ 0 w 135821"/>
                  <a:gd name="connsiteY2" fmla="*/ 2871 h 48503"/>
                  <a:gd name="connsiteX3" fmla="*/ 957 w 135821"/>
                  <a:gd name="connsiteY3" fmla="*/ 0 h 48503"/>
                </a:gdLst>
                <a:ahLst/>
                <a:cxnLst>
                  <a:cxn ang="0">
                    <a:pos x="connsiteX0" y="connsiteY0"/>
                  </a:cxn>
                  <a:cxn ang="0">
                    <a:pos x="connsiteX1" y="connsiteY1"/>
                  </a:cxn>
                  <a:cxn ang="0">
                    <a:pos x="connsiteX2" y="connsiteY2"/>
                  </a:cxn>
                  <a:cxn ang="0">
                    <a:pos x="connsiteX3" y="connsiteY3"/>
                  </a:cxn>
                </a:cxnLst>
                <a:rect l="l" t="t" r="r" b="b"/>
                <a:pathLst>
                  <a:path w="135821" h="48503">
                    <a:moveTo>
                      <a:pt x="135822" y="45573"/>
                    </a:moveTo>
                    <a:lnTo>
                      <a:pt x="134866" y="48504"/>
                    </a:lnTo>
                    <a:lnTo>
                      <a:pt x="0" y="2871"/>
                    </a:lnTo>
                    <a:lnTo>
                      <a:pt x="957" y="0"/>
                    </a:lnTo>
                    <a:close/>
                  </a:path>
                </a:pathLst>
              </a:custGeom>
              <a:grpFill/>
              <a:ln w="5978" cap="flat">
                <a:noFill/>
                <a:prstDash val="solid"/>
                <a:miter/>
              </a:ln>
            </p:spPr>
            <p:txBody>
              <a:bodyPr rtlCol="0" anchor="ctr"/>
              <a:lstStyle/>
              <a:p>
                <a:endParaRPr lang="en-GB"/>
              </a:p>
            </p:txBody>
          </p:sp>
          <p:sp>
            <p:nvSpPr>
              <p:cNvPr id="4360" name="Vrije vorm: vorm 4359">
                <a:extLst>
                  <a:ext uri="{FF2B5EF4-FFF2-40B4-BE49-F238E27FC236}">
                    <a16:creationId xmlns:a16="http://schemas.microsoft.com/office/drawing/2014/main" id="{18953CE6-E40C-48BE-A524-C81B8FD99847}"/>
                  </a:ext>
                </a:extLst>
              </p:cNvPr>
              <p:cNvSpPr/>
              <p:nvPr/>
            </p:nvSpPr>
            <p:spPr>
              <a:xfrm>
                <a:off x="7764972" y="3989178"/>
                <a:ext cx="18356" cy="18427"/>
              </a:xfrm>
              <a:custGeom>
                <a:avLst/>
                <a:gdLst>
                  <a:gd name="connsiteX0" fmla="*/ 12079 w 18356"/>
                  <a:gd name="connsiteY0" fmla="*/ 482 h 18427"/>
                  <a:gd name="connsiteX1" fmla="*/ 17880 w 18356"/>
                  <a:gd name="connsiteY1" fmla="*/ 12144 h 18427"/>
                  <a:gd name="connsiteX2" fmla="*/ 6278 w 18356"/>
                  <a:gd name="connsiteY2" fmla="*/ 17946 h 18427"/>
                  <a:gd name="connsiteX3" fmla="*/ 476 w 18356"/>
                  <a:gd name="connsiteY3" fmla="*/ 6283 h 18427"/>
                  <a:gd name="connsiteX4" fmla="*/ 12079 w 18356"/>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7">
                    <a:moveTo>
                      <a:pt x="12079" y="482"/>
                    </a:moveTo>
                    <a:cubicBezTo>
                      <a:pt x="16863" y="2097"/>
                      <a:pt x="19495" y="7360"/>
                      <a:pt x="17880" y="12144"/>
                    </a:cubicBezTo>
                    <a:cubicBezTo>
                      <a:pt x="16265" y="16989"/>
                      <a:pt x="11122" y="19560"/>
                      <a:pt x="6278" y="17946"/>
                    </a:cubicBezTo>
                    <a:cubicBezTo>
                      <a:pt x="1493" y="16331"/>
                      <a:pt x="-1139" y="11068"/>
                      <a:pt x="476" y="6283"/>
                    </a:cubicBezTo>
                    <a:cubicBezTo>
                      <a:pt x="2091" y="1439"/>
                      <a:pt x="7294" y="-1133"/>
                      <a:pt x="12079" y="482"/>
                    </a:cubicBezTo>
                    <a:close/>
                  </a:path>
                </a:pathLst>
              </a:custGeom>
              <a:grpFill/>
              <a:ln w="5978" cap="flat">
                <a:noFill/>
                <a:prstDash val="solid"/>
                <a:miter/>
              </a:ln>
            </p:spPr>
            <p:txBody>
              <a:bodyPr rtlCol="0" anchor="ctr"/>
              <a:lstStyle/>
              <a:p>
                <a:endParaRPr lang="en-GB"/>
              </a:p>
            </p:txBody>
          </p:sp>
          <p:sp>
            <p:nvSpPr>
              <p:cNvPr id="4361" name="Vrije vorm: vorm 4360">
                <a:extLst>
                  <a:ext uri="{FF2B5EF4-FFF2-40B4-BE49-F238E27FC236}">
                    <a16:creationId xmlns:a16="http://schemas.microsoft.com/office/drawing/2014/main" id="{D00AC5B5-C9D9-4C7E-87A9-4495A910546D}"/>
                  </a:ext>
                </a:extLst>
              </p:cNvPr>
              <p:cNvSpPr/>
              <p:nvPr/>
            </p:nvSpPr>
            <p:spPr>
              <a:xfrm>
                <a:off x="7630945" y="3943844"/>
                <a:ext cx="18361" cy="18427"/>
              </a:xfrm>
              <a:custGeom>
                <a:avLst/>
                <a:gdLst>
                  <a:gd name="connsiteX0" fmla="*/ 12078 w 18361"/>
                  <a:gd name="connsiteY0" fmla="*/ 482 h 18427"/>
                  <a:gd name="connsiteX1" fmla="*/ 476 w 18361"/>
                  <a:gd name="connsiteY1" fmla="*/ 6283 h 18427"/>
                  <a:gd name="connsiteX2" fmla="*/ 6277 w 18361"/>
                  <a:gd name="connsiteY2" fmla="*/ 17946 h 18427"/>
                  <a:gd name="connsiteX3" fmla="*/ 17880 w 18361"/>
                  <a:gd name="connsiteY3" fmla="*/ 12144 h 18427"/>
                  <a:gd name="connsiteX4" fmla="*/ 12078 w 18361"/>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7">
                    <a:moveTo>
                      <a:pt x="12078" y="482"/>
                    </a:moveTo>
                    <a:cubicBezTo>
                      <a:pt x="7294" y="-1133"/>
                      <a:pt x="2090" y="1439"/>
                      <a:pt x="476" y="6283"/>
                    </a:cubicBezTo>
                    <a:cubicBezTo>
                      <a:pt x="-1139" y="11128"/>
                      <a:pt x="1492" y="16331"/>
                      <a:pt x="6277" y="17946"/>
                    </a:cubicBezTo>
                    <a:cubicBezTo>
                      <a:pt x="11061" y="19560"/>
                      <a:pt x="16265" y="16989"/>
                      <a:pt x="17880" y="12144"/>
                    </a:cubicBezTo>
                    <a:cubicBezTo>
                      <a:pt x="19494" y="7360"/>
                      <a:pt x="16923" y="2097"/>
                      <a:pt x="12078" y="482"/>
                    </a:cubicBezTo>
                    <a:close/>
                  </a:path>
                </a:pathLst>
              </a:custGeom>
              <a:grpFill/>
              <a:ln w="5978" cap="flat">
                <a:noFill/>
                <a:prstDash val="solid"/>
                <a:miter/>
              </a:ln>
            </p:spPr>
            <p:txBody>
              <a:bodyPr rtlCol="0" anchor="ctr"/>
              <a:lstStyle/>
              <a:p>
                <a:endParaRPr lang="en-GB"/>
              </a:p>
            </p:txBody>
          </p:sp>
        </p:grpSp>
        <p:grpSp>
          <p:nvGrpSpPr>
            <p:cNvPr id="341" name="Graphic 3">
              <a:extLst>
                <a:ext uri="{FF2B5EF4-FFF2-40B4-BE49-F238E27FC236}">
                  <a16:creationId xmlns:a16="http://schemas.microsoft.com/office/drawing/2014/main" id="{FF5DFE8C-5E86-4039-B424-82B2549D327D}"/>
                </a:ext>
              </a:extLst>
            </p:cNvPr>
            <p:cNvGrpSpPr/>
            <p:nvPr/>
          </p:nvGrpSpPr>
          <p:grpSpPr>
            <a:xfrm>
              <a:off x="7691047" y="4293826"/>
              <a:ext cx="289959" cy="164735"/>
              <a:chOff x="7691047" y="4293826"/>
              <a:chExt cx="289959" cy="164735"/>
            </a:xfrm>
            <a:grpFill/>
          </p:grpSpPr>
          <p:sp>
            <p:nvSpPr>
              <p:cNvPr id="4356" name="Vrije vorm: vorm 4355">
                <a:extLst>
                  <a:ext uri="{FF2B5EF4-FFF2-40B4-BE49-F238E27FC236}">
                    <a16:creationId xmlns:a16="http://schemas.microsoft.com/office/drawing/2014/main" id="{7EF85D42-6C07-4B09-AED3-77C3FE2805C9}"/>
                  </a:ext>
                </a:extLst>
              </p:cNvPr>
              <p:cNvSpPr/>
              <p:nvPr/>
            </p:nvSpPr>
            <p:spPr>
              <a:xfrm>
                <a:off x="7699063" y="4301435"/>
                <a:ext cx="273917" cy="149458"/>
              </a:xfrm>
              <a:custGeom>
                <a:avLst/>
                <a:gdLst>
                  <a:gd name="connsiteX0" fmla="*/ 273917 w 273917"/>
                  <a:gd name="connsiteY0" fmla="*/ 146767 h 149458"/>
                  <a:gd name="connsiteX1" fmla="*/ 272482 w 273917"/>
                  <a:gd name="connsiteY1" fmla="*/ 149458 h 149458"/>
                  <a:gd name="connsiteX2" fmla="*/ 0 w 273917"/>
                  <a:gd name="connsiteY2" fmla="*/ 2691 h 149458"/>
                  <a:gd name="connsiteX3" fmla="*/ 1435 w 273917"/>
                  <a:gd name="connsiteY3" fmla="*/ 0 h 149458"/>
                </a:gdLst>
                <a:ahLst/>
                <a:cxnLst>
                  <a:cxn ang="0">
                    <a:pos x="connsiteX0" y="connsiteY0"/>
                  </a:cxn>
                  <a:cxn ang="0">
                    <a:pos x="connsiteX1" y="connsiteY1"/>
                  </a:cxn>
                  <a:cxn ang="0">
                    <a:pos x="connsiteX2" y="connsiteY2"/>
                  </a:cxn>
                  <a:cxn ang="0">
                    <a:pos x="connsiteX3" y="connsiteY3"/>
                  </a:cxn>
                </a:cxnLst>
                <a:rect l="l" t="t" r="r" b="b"/>
                <a:pathLst>
                  <a:path w="273917" h="149458">
                    <a:moveTo>
                      <a:pt x="273917" y="146767"/>
                    </a:moveTo>
                    <a:lnTo>
                      <a:pt x="272482" y="149458"/>
                    </a:lnTo>
                    <a:lnTo>
                      <a:pt x="0" y="2691"/>
                    </a:lnTo>
                    <a:lnTo>
                      <a:pt x="1435" y="0"/>
                    </a:lnTo>
                    <a:close/>
                  </a:path>
                </a:pathLst>
              </a:custGeom>
              <a:grpFill/>
              <a:ln w="5978" cap="flat">
                <a:noFill/>
                <a:prstDash val="solid"/>
                <a:miter/>
              </a:ln>
            </p:spPr>
            <p:txBody>
              <a:bodyPr rtlCol="0" anchor="ctr"/>
              <a:lstStyle/>
              <a:p>
                <a:endParaRPr lang="en-GB"/>
              </a:p>
            </p:txBody>
          </p:sp>
          <p:sp>
            <p:nvSpPr>
              <p:cNvPr id="4357" name="Vrije vorm: vorm 4356">
                <a:extLst>
                  <a:ext uri="{FF2B5EF4-FFF2-40B4-BE49-F238E27FC236}">
                    <a16:creationId xmlns:a16="http://schemas.microsoft.com/office/drawing/2014/main" id="{FB1B1A3F-775C-4B87-A70A-128639C05D17}"/>
                  </a:ext>
                </a:extLst>
              </p:cNvPr>
              <p:cNvSpPr/>
              <p:nvPr/>
            </p:nvSpPr>
            <p:spPr>
              <a:xfrm>
                <a:off x="7962680" y="4440114"/>
                <a:ext cx="18327" cy="18447"/>
              </a:xfrm>
              <a:custGeom>
                <a:avLst/>
                <a:gdLst>
                  <a:gd name="connsiteX0" fmla="*/ 13470 w 18327"/>
                  <a:gd name="connsiteY0" fmla="*/ 1090 h 18447"/>
                  <a:gd name="connsiteX1" fmla="*/ 17237 w 18327"/>
                  <a:gd name="connsiteY1" fmla="*/ 13590 h 18447"/>
                  <a:gd name="connsiteX2" fmla="*/ 4858 w 18327"/>
                  <a:gd name="connsiteY2" fmla="*/ 17357 h 18447"/>
                  <a:gd name="connsiteX3" fmla="*/ 1090 w 18327"/>
                  <a:gd name="connsiteY3" fmla="*/ 4858 h 18447"/>
                  <a:gd name="connsiteX4" fmla="*/ 13470 w 18327"/>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7">
                    <a:moveTo>
                      <a:pt x="13470" y="1090"/>
                    </a:moveTo>
                    <a:cubicBezTo>
                      <a:pt x="17955" y="3482"/>
                      <a:pt x="19630" y="9104"/>
                      <a:pt x="17237" y="13590"/>
                    </a:cubicBezTo>
                    <a:cubicBezTo>
                      <a:pt x="14846" y="18075"/>
                      <a:pt x="9283" y="19750"/>
                      <a:pt x="4858" y="17357"/>
                    </a:cubicBezTo>
                    <a:cubicBezTo>
                      <a:pt x="372" y="14965"/>
                      <a:pt x="-1303" y="9343"/>
                      <a:pt x="1090" y="4858"/>
                    </a:cubicBezTo>
                    <a:cubicBezTo>
                      <a:pt x="3422" y="372"/>
                      <a:pt x="8984" y="-1303"/>
                      <a:pt x="13470" y="1090"/>
                    </a:cubicBezTo>
                    <a:close/>
                  </a:path>
                </a:pathLst>
              </a:custGeom>
              <a:grpFill/>
              <a:ln w="5978" cap="flat">
                <a:noFill/>
                <a:prstDash val="solid"/>
                <a:miter/>
              </a:ln>
            </p:spPr>
            <p:txBody>
              <a:bodyPr rtlCol="0" anchor="ctr"/>
              <a:lstStyle/>
              <a:p>
                <a:endParaRPr lang="en-GB"/>
              </a:p>
            </p:txBody>
          </p:sp>
          <p:sp>
            <p:nvSpPr>
              <p:cNvPr id="4358" name="Vrije vorm: vorm 4357">
                <a:extLst>
                  <a:ext uri="{FF2B5EF4-FFF2-40B4-BE49-F238E27FC236}">
                    <a16:creationId xmlns:a16="http://schemas.microsoft.com/office/drawing/2014/main" id="{73779D5F-22B8-4532-BEC8-C3123E476DE6}"/>
                  </a:ext>
                </a:extLst>
              </p:cNvPr>
              <p:cNvSpPr/>
              <p:nvPr/>
            </p:nvSpPr>
            <p:spPr>
              <a:xfrm>
                <a:off x="7691047" y="4293826"/>
                <a:ext cx="18304" cy="18447"/>
              </a:xfrm>
              <a:custGeom>
                <a:avLst/>
                <a:gdLst>
                  <a:gd name="connsiteX0" fmla="*/ 13458 w 18304"/>
                  <a:gd name="connsiteY0" fmla="*/ 1090 h 18447"/>
                  <a:gd name="connsiteX1" fmla="*/ 1078 w 18304"/>
                  <a:gd name="connsiteY1" fmla="*/ 4858 h 18447"/>
                  <a:gd name="connsiteX2" fmla="*/ 4846 w 18304"/>
                  <a:gd name="connsiteY2" fmla="*/ 17357 h 18447"/>
                  <a:gd name="connsiteX3" fmla="*/ 17226 w 18304"/>
                  <a:gd name="connsiteY3" fmla="*/ 13590 h 18447"/>
                  <a:gd name="connsiteX4" fmla="*/ 13458 w 18304"/>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47">
                    <a:moveTo>
                      <a:pt x="13458" y="1090"/>
                    </a:moveTo>
                    <a:cubicBezTo>
                      <a:pt x="8973" y="-1302"/>
                      <a:pt x="3410" y="372"/>
                      <a:pt x="1078" y="4858"/>
                    </a:cubicBezTo>
                    <a:cubicBezTo>
                      <a:pt x="-1314" y="9343"/>
                      <a:pt x="420" y="14905"/>
                      <a:pt x="4846" y="17357"/>
                    </a:cubicBezTo>
                    <a:cubicBezTo>
                      <a:pt x="9331" y="19749"/>
                      <a:pt x="14894" y="18075"/>
                      <a:pt x="17226" y="13590"/>
                    </a:cubicBezTo>
                    <a:cubicBezTo>
                      <a:pt x="19619" y="9044"/>
                      <a:pt x="17884" y="3482"/>
                      <a:pt x="13458" y="1090"/>
                    </a:cubicBezTo>
                    <a:close/>
                  </a:path>
                </a:pathLst>
              </a:custGeom>
              <a:grpFill/>
              <a:ln w="5978" cap="flat">
                <a:noFill/>
                <a:prstDash val="solid"/>
                <a:miter/>
              </a:ln>
            </p:spPr>
            <p:txBody>
              <a:bodyPr rtlCol="0" anchor="ctr"/>
              <a:lstStyle/>
              <a:p>
                <a:endParaRPr lang="en-GB"/>
              </a:p>
            </p:txBody>
          </p:sp>
        </p:grpSp>
        <p:grpSp>
          <p:nvGrpSpPr>
            <p:cNvPr id="342" name="Graphic 3">
              <a:extLst>
                <a:ext uri="{FF2B5EF4-FFF2-40B4-BE49-F238E27FC236}">
                  <a16:creationId xmlns:a16="http://schemas.microsoft.com/office/drawing/2014/main" id="{C104F541-5405-4F01-AE5D-D90CE3E66903}"/>
                </a:ext>
              </a:extLst>
            </p:cNvPr>
            <p:cNvGrpSpPr/>
            <p:nvPr/>
          </p:nvGrpSpPr>
          <p:grpSpPr>
            <a:xfrm>
              <a:off x="7568499" y="4156757"/>
              <a:ext cx="473681" cy="286977"/>
              <a:chOff x="7568499" y="4156757"/>
              <a:chExt cx="473681" cy="286977"/>
            </a:xfrm>
            <a:grpFill/>
          </p:grpSpPr>
          <p:sp>
            <p:nvSpPr>
              <p:cNvPr id="4353" name="Vrije vorm: vorm 4352">
                <a:extLst>
                  <a:ext uri="{FF2B5EF4-FFF2-40B4-BE49-F238E27FC236}">
                    <a16:creationId xmlns:a16="http://schemas.microsoft.com/office/drawing/2014/main" id="{FE03BA13-92B3-4797-A096-ADC380E13D0C}"/>
                  </a:ext>
                </a:extLst>
              </p:cNvPr>
              <p:cNvSpPr/>
              <p:nvPr/>
            </p:nvSpPr>
            <p:spPr>
              <a:xfrm>
                <a:off x="7576518" y="4164416"/>
                <a:ext cx="457585" cy="271704"/>
              </a:xfrm>
              <a:custGeom>
                <a:avLst/>
                <a:gdLst>
                  <a:gd name="connsiteX0" fmla="*/ 457585 w 457585"/>
                  <a:gd name="connsiteY0" fmla="*/ 269073 h 271704"/>
                  <a:gd name="connsiteX1" fmla="*/ 456030 w 457585"/>
                  <a:gd name="connsiteY1" fmla="*/ 271705 h 271704"/>
                  <a:gd name="connsiteX2" fmla="*/ 0 w 457585"/>
                  <a:gd name="connsiteY2" fmla="*/ 2691 h 271704"/>
                  <a:gd name="connsiteX3" fmla="*/ 1555 w 457585"/>
                  <a:gd name="connsiteY3" fmla="*/ 0 h 271704"/>
                </a:gdLst>
                <a:ahLst/>
                <a:cxnLst>
                  <a:cxn ang="0">
                    <a:pos x="connsiteX0" y="connsiteY0"/>
                  </a:cxn>
                  <a:cxn ang="0">
                    <a:pos x="connsiteX1" y="connsiteY1"/>
                  </a:cxn>
                  <a:cxn ang="0">
                    <a:pos x="connsiteX2" y="connsiteY2"/>
                  </a:cxn>
                  <a:cxn ang="0">
                    <a:pos x="connsiteX3" y="connsiteY3"/>
                  </a:cxn>
                </a:cxnLst>
                <a:rect l="l" t="t" r="r" b="b"/>
                <a:pathLst>
                  <a:path w="457585" h="271704">
                    <a:moveTo>
                      <a:pt x="457585" y="269073"/>
                    </a:moveTo>
                    <a:lnTo>
                      <a:pt x="456030" y="271705"/>
                    </a:lnTo>
                    <a:lnTo>
                      <a:pt x="0" y="2691"/>
                    </a:lnTo>
                    <a:lnTo>
                      <a:pt x="1555" y="0"/>
                    </a:lnTo>
                    <a:close/>
                  </a:path>
                </a:pathLst>
              </a:custGeom>
              <a:grpFill/>
              <a:ln w="5978" cap="flat">
                <a:noFill/>
                <a:prstDash val="solid"/>
                <a:miter/>
              </a:ln>
            </p:spPr>
            <p:txBody>
              <a:bodyPr rtlCol="0" anchor="ctr"/>
              <a:lstStyle/>
              <a:p>
                <a:endParaRPr lang="en-GB"/>
              </a:p>
            </p:txBody>
          </p:sp>
          <p:sp>
            <p:nvSpPr>
              <p:cNvPr id="4354" name="Vrije vorm: vorm 4353">
                <a:extLst>
                  <a:ext uri="{FF2B5EF4-FFF2-40B4-BE49-F238E27FC236}">
                    <a16:creationId xmlns:a16="http://schemas.microsoft.com/office/drawing/2014/main" id="{4C700AE3-1004-468B-A467-9B2B367EC3FE}"/>
                  </a:ext>
                </a:extLst>
              </p:cNvPr>
              <p:cNvSpPr/>
              <p:nvPr/>
            </p:nvSpPr>
            <p:spPr>
              <a:xfrm>
                <a:off x="7568499" y="4156757"/>
                <a:ext cx="18369" cy="18442"/>
              </a:xfrm>
              <a:custGeom>
                <a:avLst/>
                <a:gdLst>
                  <a:gd name="connsiteX0" fmla="*/ 4550 w 18369"/>
                  <a:gd name="connsiteY0" fmla="*/ 17169 h 18442"/>
                  <a:gd name="connsiteX1" fmla="*/ 1260 w 18369"/>
                  <a:gd name="connsiteY1" fmla="*/ 4550 h 18442"/>
                  <a:gd name="connsiteX2" fmla="*/ 13819 w 18369"/>
                  <a:gd name="connsiteY2" fmla="*/ 1261 h 18442"/>
                  <a:gd name="connsiteX3" fmla="*/ 17109 w 18369"/>
                  <a:gd name="connsiteY3" fmla="*/ 13880 h 18442"/>
                  <a:gd name="connsiteX4" fmla="*/ 4550 w 18369"/>
                  <a:gd name="connsiteY4" fmla="*/ 1716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2">
                    <a:moveTo>
                      <a:pt x="4550" y="17169"/>
                    </a:moveTo>
                    <a:cubicBezTo>
                      <a:pt x="184" y="14597"/>
                      <a:pt x="-1311" y="8916"/>
                      <a:pt x="1260" y="4550"/>
                    </a:cubicBezTo>
                    <a:cubicBezTo>
                      <a:pt x="3832" y="184"/>
                      <a:pt x="9394" y="-1311"/>
                      <a:pt x="13819" y="1261"/>
                    </a:cubicBezTo>
                    <a:cubicBezTo>
                      <a:pt x="18185" y="3832"/>
                      <a:pt x="19680" y="9514"/>
                      <a:pt x="17109" y="13880"/>
                    </a:cubicBezTo>
                    <a:cubicBezTo>
                      <a:pt x="14537" y="18306"/>
                      <a:pt x="8916" y="19741"/>
                      <a:pt x="4550" y="17169"/>
                    </a:cubicBezTo>
                    <a:close/>
                  </a:path>
                </a:pathLst>
              </a:custGeom>
              <a:grpFill/>
              <a:ln w="5978" cap="flat">
                <a:noFill/>
                <a:prstDash val="solid"/>
                <a:miter/>
              </a:ln>
            </p:spPr>
            <p:txBody>
              <a:bodyPr rtlCol="0" anchor="ctr"/>
              <a:lstStyle/>
              <a:p>
                <a:endParaRPr lang="en-GB"/>
              </a:p>
            </p:txBody>
          </p:sp>
          <p:sp>
            <p:nvSpPr>
              <p:cNvPr id="4355" name="Vrije vorm: vorm 4354">
                <a:extLst>
                  <a:ext uri="{FF2B5EF4-FFF2-40B4-BE49-F238E27FC236}">
                    <a16:creationId xmlns:a16="http://schemas.microsoft.com/office/drawing/2014/main" id="{78FF93A4-D23C-4FBB-B5AA-F82065FB21E9}"/>
                  </a:ext>
                </a:extLst>
              </p:cNvPr>
              <p:cNvSpPr/>
              <p:nvPr/>
            </p:nvSpPr>
            <p:spPr>
              <a:xfrm>
                <a:off x="8023798" y="4425278"/>
                <a:ext cx="18382" cy="18456"/>
              </a:xfrm>
              <a:custGeom>
                <a:avLst/>
                <a:gdLst>
                  <a:gd name="connsiteX0" fmla="*/ 4563 w 18382"/>
                  <a:gd name="connsiteY0" fmla="*/ 17183 h 18456"/>
                  <a:gd name="connsiteX1" fmla="*/ 17123 w 18382"/>
                  <a:gd name="connsiteY1" fmla="*/ 13893 h 18456"/>
                  <a:gd name="connsiteX2" fmla="*/ 13833 w 18382"/>
                  <a:gd name="connsiteY2" fmla="*/ 1274 h 18456"/>
                  <a:gd name="connsiteX3" fmla="*/ 1274 w 18382"/>
                  <a:gd name="connsiteY3" fmla="*/ 4563 h 18456"/>
                  <a:gd name="connsiteX4" fmla="*/ 4563 w 18382"/>
                  <a:gd name="connsiteY4" fmla="*/ 17183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2" h="18456">
                    <a:moveTo>
                      <a:pt x="4563" y="17183"/>
                    </a:moveTo>
                    <a:cubicBezTo>
                      <a:pt x="8929" y="19754"/>
                      <a:pt x="14551" y="18319"/>
                      <a:pt x="17123" y="13893"/>
                    </a:cubicBezTo>
                    <a:cubicBezTo>
                      <a:pt x="19694" y="9467"/>
                      <a:pt x="18199" y="3845"/>
                      <a:pt x="13833" y="1274"/>
                    </a:cubicBezTo>
                    <a:cubicBezTo>
                      <a:pt x="9467" y="-1298"/>
                      <a:pt x="3846" y="137"/>
                      <a:pt x="1274" y="4563"/>
                    </a:cubicBezTo>
                    <a:cubicBezTo>
                      <a:pt x="-1298" y="8989"/>
                      <a:pt x="138" y="14611"/>
                      <a:pt x="4563" y="17183"/>
                    </a:cubicBezTo>
                    <a:close/>
                  </a:path>
                </a:pathLst>
              </a:custGeom>
              <a:grpFill/>
              <a:ln w="5978" cap="flat">
                <a:noFill/>
                <a:prstDash val="solid"/>
                <a:miter/>
              </a:ln>
            </p:spPr>
            <p:txBody>
              <a:bodyPr rtlCol="0" anchor="ctr"/>
              <a:lstStyle/>
              <a:p>
                <a:endParaRPr lang="en-GB"/>
              </a:p>
            </p:txBody>
          </p:sp>
        </p:grpSp>
        <p:grpSp>
          <p:nvGrpSpPr>
            <p:cNvPr id="343" name="Graphic 3">
              <a:extLst>
                <a:ext uri="{FF2B5EF4-FFF2-40B4-BE49-F238E27FC236}">
                  <a16:creationId xmlns:a16="http://schemas.microsoft.com/office/drawing/2014/main" id="{1A2D9D6D-E030-472C-9BCA-36FF4E9B7399}"/>
                </a:ext>
              </a:extLst>
            </p:cNvPr>
            <p:cNvGrpSpPr/>
            <p:nvPr/>
          </p:nvGrpSpPr>
          <p:grpSpPr>
            <a:xfrm>
              <a:off x="7707738" y="4186272"/>
              <a:ext cx="161414" cy="85472"/>
              <a:chOff x="7707738" y="4186272"/>
              <a:chExt cx="161414" cy="85472"/>
            </a:xfrm>
            <a:grpFill/>
          </p:grpSpPr>
          <p:sp>
            <p:nvSpPr>
              <p:cNvPr id="4350" name="Vrije vorm: vorm 4349">
                <a:extLst>
                  <a:ext uri="{FF2B5EF4-FFF2-40B4-BE49-F238E27FC236}">
                    <a16:creationId xmlns:a16="http://schemas.microsoft.com/office/drawing/2014/main" id="{A379AACB-24B5-4C7B-8095-FBD1C74234FA}"/>
                  </a:ext>
                </a:extLst>
              </p:cNvPr>
              <p:cNvSpPr/>
              <p:nvPr/>
            </p:nvSpPr>
            <p:spPr>
              <a:xfrm>
                <a:off x="7715809" y="4193902"/>
                <a:ext cx="145271" cy="70213"/>
              </a:xfrm>
              <a:custGeom>
                <a:avLst/>
                <a:gdLst>
                  <a:gd name="connsiteX0" fmla="*/ 145271 w 145271"/>
                  <a:gd name="connsiteY0" fmla="*/ 67462 h 70213"/>
                  <a:gd name="connsiteX1" fmla="*/ 144016 w 145271"/>
                  <a:gd name="connsiteY1" fmla="*/ 70214 h 70213"/>
                  <a:gd name="connsiteX2" fmla="*/ 0 w 145271"/>
                  <a:gd name="connsiteY2" fmla="*/ 2751 h 70213"/>
                  <a:gd name="connsiteX3" fmla="*/ 1256 w 145271"/>
                  <a:gd name="connsiteY3" fmla="*/ 0 h 70213"/>
                </a:gdLst>
                <a:ahLst/>
                <a:cxnLst>
                  <a:cxn ang="0">
                    <a:pos x="connsiteX0" y="connsiteY0"/>
                  </a:cxn>
                  <a:cxn ang="0">
                    <a:pos x="connsiteX1" y="connsiteY1"/>
                  </a:cxn>
                  <a:cxn ang="0">
                    <a:pos x="connsiteX2" y="connsiteY2"/>
                  </a:cxn>
                  <a:cxn ang="0">
                    <a:pos x="connsiteX3" y="connsiteY3"/>
                  </a:cxn>
                </a:cxnLst>
                <a:rect l="l" t="t" r="r" b="b"/>
                <a:pathLst>
                  <a:path w="145271" h="70213">
                    <a:moveTo>
                      <a:pt x="145271" y="67462"/>
                    </a:moveTo>
                    <a:lnTo>
                      <a:pt x="144016" y="70214"/>
                    </a:lnTo>
                    <a:lnTo>
                      <a:pt x="0" y="2751"/>
                    </a:lnTo>
                    <a:lnTo>
                      <a:pt x="1256" y="0"/>
                    </a:lnTo>
                    <a:close/>
                  </a:path>
                </a:pathLst>
              </a:custGeom>
              <a:grpFill/>
              <a:ln w="5978" cap="flat">
                <a:noFill/>
                <a:prstDash val="solid"/>
                <a:miter/>
              </a:ln>
            </p:spPr>
            <p:txBody>
              <a:bodyPr rtlCol="0" anchor="ctr"/>
              <a:lstStyle/>
              <a:p>
                <a:endParaRPr lang="en-GB"/>
              </a:p>
            </p:txBody>
          </p:sp>
          <p:sp>
            <p:nvSpPr>
              <p:cNvPr id="4351" name="Vrije vorm: vorm 4350">
                <a:extLst>
                  <a:ext uri="{FF2B5EF4-FFF2-40B4-BE49-F238E27FC236}">
                    <a16:creationId xmlns:a16="http://schemas.microsoft.com/office/drawing/2014/main" id="{67385587-CD2B-4334-ACAF-B65D147BAF5F}"/>
                  </a:ext>
                </a:extLst>
              </p:cNvPr>
              <p:cNvSpPr/>
              <p:nvPr/>
            </p:nvSpPr>
            <p:spPr>
              <a:xfrm>
                <a:off x="7850856" y="4253326"/>
                <a:ext cx="18295" cy="18418"/>
              </a:xfrm>
              <a:custGeom>
                <a:avLst/>
                <a:gdLst>
                  <a:gd name="connsiteX0" fmla="*/ 12975 w 18295"/>
                  <a:gd name="connsiteY0" fmla="*/ 861 h 18418"/>
                  <a:gd name="connsiteX1" fmla="*/ 17461 w 18295"/>
                  <a:gd name="connsiteY1" fmla="*/ 13122 h 18418"/>
                  <a:gd name="connsiteX2" fmla="*/ 5320 w 18295"/>
                  <a:gd name="connsiteY2" fmla="*/ 17548 h 18418"/>
                  <a:gd name="connsiteX3" fmla="*/ 834 w 18295"/>
                  <a:gd name="connsiteY3" fmla="*/ 5287 h 18418"/>
                  <a:gd name="connsiteX4" fmla="*/ 12975 w 18295"/>
                  <a:gd name="connsiteY4" fmla="*/ 86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18">
                    <a:moveTo>
                      <a:pt x="12975" y="861"/>
                    </a:moveTo>
                    <a:cubicBezTo>
                      <a:pt x="17581" y="3015"/>
                      <a:pt x="19554" y="8517"/>
                      <a:pt x="17461" y="13122"/>
                    </a:cubicBezTo>
                    <a:cubicBezTo>
                      <a:pt x="15368" y="17727"/>
                      <a:pt x="9865" y="19701"/>
                      <a:pt x="5320" y="17548"/>
                    </a:cubicBezTo>
                    <a:cubicBezTo>
                      <a:pt x="715" y="15394"/>
                      <a:pt x="-1259" y="9892"/>
                      <a:pt x="834" y="5287"/>
                    </a:cubicBezTo>
                    <a:cubicBezTo>
                      <a:pt x="2987" y="742"/>
                      <a:pt x="8430" y="-1292"/>
                      <a:pt x="12975" y="861"/>
                    </a:cubicBezTo>
                    <a:close/>
                  </a:path>
                </a:pathLst>
              </a:custGeom>
              <a:grpFill/>
              <a:ln w="5978" cap="flat">
                <a:noFill/>
                <a:prstDash val="solid"/>
                <a:miter/>
              </a:ln>
            </p:spPr>
            <p:txBody>
              <a:bodyPr rtlCol="0" anchor="ctr"/>
              <a:lstStyle/>
              <a:p>
                <a:endParaRPr lang="en-GB"/>
              </a:p>
            </p:txBody>
          </p:sp>
          <p:sp>
            <p:nvSpPr>
              <p:cNvPr id="4352" name="Vrije vorm: vorm 4351">
                <a:extLst>
                  <a:ext uri="{FF2B5EF4-FFF2-40B4-BE49-F238E27FC236}">
                    <a16:creationId xmlns:a16="http://schemas.microsoft.com/office/drawing/2014/main" id="{4A7AFF63-CBFB-4C62-8B2B-683D8A29DA7C}"/>
                  </a:ext>
                </a:extLst>
              </p:cNvPr>
              <p:cNvSpPr/>
              <p:nvPr/>
            </p:nvSpPr>
            <p:spPr>
              <a:xfrm>
                <a:off x="7707738" y="4186272"/>
                <a:ext cx="18285" cy="18428"/>
              </a:xfrm>
              <a:custGeom>
                <a:avLst/>
                <a:gdLst>
                  <a:gd name="connsiteX0" fmla="*/ 12975 w 18285"/>
                  <a:gd name="connsiteY0" fmla="*/ 871 h 18428"/>
                  <a:gd name="connsiteX1" fmla="*/ 834 w 18285"/>
                  <a:gd name="connsiteY1" fmla="*/ 5297 h 18428"/>
                  <a:gd name="connsiteX2" fmla="*/ 5320 w 18285"/>
                  <a:gd name="connsiteY2" fmla="*/ 17557 h 18428"/>
                  <a:gd name="connsiteX3" fmla="*/ 17461 w 18285"/>
                  <a:gd name="connsiteY3" fmla="*/ 13132 h 18428"/>
                  <a:gd name="connsiteX4" fmla="*/ 12975 w 18285"/>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8">
                    <a:moveTo>
                      <a:pt x="12975" y="871"/>
                    </a:moveTo>
                    <a:cubicBezTo>
                      <a:pt x="8370" y="-1282"/>
                      <a:pt x="2928" y="692"/>
                      <a:pt x="834" y="5297"/>
                    </a:cubicBezTo>
                    <a:cubicBezTo>
                      <a:pt x="-1259" y="9902"/>
                      <a:pt x="715" y="15404"/>
                      <a:pt x="5320" y="17557"/>
                    </a:cubicBezTo>
                    <a:cubicBezTo>
                      <a:pt x="9925" y="19710"/>
                      <a:pt x="15368" y="17737"/>
                      <a:pt x="17461" y="13132"/>
                    </a:cubicBezTo>
                    <a:cubicBezTo>
                      <a:pt x="19554" y="8526"/>
                      <a:pt x="17521" y="3024"/>
                      <a:pt x="12975" y="871"/>
                    </a:cubicBezTo>
                    <a:close/>
                  </a:path>
                </a:pathLst>
              </a:custGeom>
              <a:grpFill/>
              <a:ln w="5978" cap="flat">
                <a:noFill/>
                <a:prstDash val="solid"/>
                <a:miter/>
              </a:ln>
            </p:spPr>
            <p:txBody>
              <a:bodyPr rtlCol="0" anchor="ctr"/>
              <a:lstStyle/>
              <a:p>
                <a:endParaRPr lang="en-GB"/>
              </a:p>
            </p:txBody>
          </p:sp>
        </p:grpSp>
        <p:grpSp>
          <p:nvGrpSpPr>
            <p:cNvPr id="344" name="Graphic 3">
              <a:extLst>
                <a:ext uri="{FF2B5EF4-FFF2-40B4-BE49-F238E27FC236}">
                  <a16:creationId xmlns:a16="http://schemas.microsoft.com/office/drawing/2014/main" id="{F55591EF-956C-4CCD-8735-8B19F52B57C3}"/>
                </a:ext>
              </a:extLst>
            </p:cNvPr>
            <p:cNvGrpSpPr/>
            <p:nvPr/>
          </p:nvGrpSpPr>
          <p:grpSpPr>
            <a:xfrm>
              <a:off x="7967502" y="4962246"/>
              <a:ext cx="143846" cy="119936"/>
              <a:chOff x="7967502" y="4962246"/>
              <a:chExt cx="143846" cy="119936"/>
            </a:xfrm>
            <a:grpFill/>
          </p:grpSpPr>
          <p:sp>
            <p:nvSpPr>
              <p:cNvPr id="4347" name="Vrije vorm: vorm 4346">
                <a:extLst>
                  <a:ext uri="{FF2B5EF4-FFF2-40B4-BE49-F238E27FC236}">
                    <a16:creationId xmlns:a16="http://schemas.microsoft.com/office/drawing/2014/main" id="{006A9B3B-E7EC-4B1A-A91C-2A6733D02F7A}"/>
                  </a:ext>
                </a:extLst>
              </p:cNvPr>
              <p:cNvSpPr/>
              <p:nvPr/>
            </p:nvSpPr>
            <p:spPr>
              <a:xfrm>
                <a:off x="7975313" y="4969960"/>
                <a:ext cx="128166" cy="104483"/>
              </a:xfrm>
              <a:custGeom>
                <a:avLst/>
                <a:gdLst>
                  <a:gd name="connsiteX0" fmla="*/ 128166 w 128166"/>
                  <a:gd name="connsiteY0" fmla="*/ 102091 h 104483"/>
                  <a:gd name="connsiteX1" fmla="*/ 126253 w 128166"/>
                  <a:gd name="connsiteY1" fmla="*/ 104483 h 104483"/>
                  <a:gd name="connsiteX2" fmla="*/ 0 w 128166"/>
                  <a:gd name="connsiteY2" fmla="*/ 2392 h 104483"/>
                  <a:gd name="connsiteX3" fmla="*/ 1914 w 128166"/>
                  <a:gd name="connsiteY3" fmla="*/ 0 h 104483"/>
                </a:gdLst>
                <a:ahLst/>
                <a:cxnLst>
                  <a:cxn ang="0">
                    <a:pos x="connsiteX0" y="connsiteY0"/>
                  </a:cxn>
                  <a:cxn ang="0">
                    <a:pos x="connsiteX1" y="connsiteY1"/>
                  </a:cxn>
                  <a:cxn ang="0">
                    <a:pos x="connsiteX2" y="connsiteY2"/>
                  </a:cxn>
                  <a:cxn ang="0">
                    <a:pos x="connsiteX3" y="connsiteY3"/>
                  </a:cxn>
                </a:cxnLst>
                <a:rect l="l" t="t" r="r" b="b"/>
                <a:pathLst>
                  <a:path w="128166" h="104483">
                    <a:moveTo>
                      <a:pt x="128166" y="102091"/>
                    </a:moveTo>
                    <a:lnTo>
                      <a:pt x="126253" y="104483"/>
                    </a:lnTo>
                    <a:lnTo>
                      <a:pt x="0" y="2392"/>
                    </a:lnTo>
                    <a:lnTo>
                      <a:pt x="1914" y="0"/>
                    </a:lnTo>
                    <a:close/>
                  </a:path>
                </a:pathLst>
              </a:custGeom>
              <a:grpFill/>
              <a:ln w="5978" cap="flat">
                <a:noFill/>
                <a:prstDash val="solid"/>
                <a:miter/>
              </a:ln>
            </p:spPr>
            <p:txBody>
              <a:bodyPr rtlCol="0" anchor="ctr"/>
              <a:lstStyle/>
              <a:p>
                <a:endParaRPr lang="en-GB"/>
              </a:p>
            </p:txBody>
          </p:sp>
          <p:sp>
            <p:nvSpPr>
              <p:cNvPr id="4348" name="Vrije vorm: vorm 4347">
                <a:extLst>
                  <a:ext uri="{FF2B5EF4-FFF2-40B4-BE49-F238E27FC236}">
                    <a16:creationId xmlns:a16="http://schemas.microsoft.com/office/drawing/2014/main" id="{395D9068-0DDA-425D-8D57-A8799C30F6F1}"/>
                  </a:ext>
                </a:extLst>
              </p:cNvPr>
              <p:cNvSpPr/>
              <p:nvPr/>
            </p:nvSpPr>
            <p:spPr>
              <a:xfrm>
                <a:off x="8093038" y="5063739"/>
                <a:ext cx="18311" cy="18443"/>
              </a:xfrm>
              <a:custGeom>
                <a:avLst/>
                <a:gdLst>
                  <a:gd name="connsiteX0" fmla="*/ 14867 w 18311"/>
                  <a:gd name="connsiteY0" fmla="*/ 2032 h 18443"/>
                  <a:gd name="connsiteX1" fmla="*/ 16302 w 18311"/>
                  <a:gd name="connsiteY1" fmla="*/ 15010 h 18443"/>
                  <a:gd name="connsiteX2" fmla="*/ 3444 w 18311"/>
                  <a:gd name="connsiteY2" fmla="*/ 16386 h 18443"/>
                  <a:gd name="connsiteX3" fmla="*/ 2008 w 18311"/>
                  <a:gd name="connsiteY3" fmla="*/ 3408 h 18443"/>
                  <a:gd name="connsiteX4" fmla="*/ 14867 w 18311"/>
                  <a:gd name="connsiteY4" fmla="*/ 20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43">
                    <a:moveTo>
                      <a:pt x="14867" y="2032"/>
                    </a:moveTo>
                    <a:cubicBezTo>
                      <a:pt x="18814" y="5202"/>
                      <a:pt x="19472" y="11003"/>
                      <a:pt x="16302" y="15010"/>
                    </a:cubicBezTo>
                    <a:cubicBezTo>
                      <a:pt x="13133" y="18958"/>
                      <a:pt x="7391" y="19616"/>
                      <a:pt x="3444" y="16386"/>
                    </a:cubicBezTo>
                    <a:cubicBezTo>
                      <a:pt x="-503" y="13216"/>
                      <a:pt x="-1161" y="7415"/>
                      <a:pt x="2008" y="3408"/>
                    </a:cubicBezTo>
                    <a:cubicBezTo>
                      <a:pt x="5118" y="-539"/>
                      <a:pt x="10920" y="-1137"/>
                      <a:pt x="14867" y="2032"/>
                    </a:cubicBezTo>
                    <a:close/>
                  </a:path>
                </a:pathLst>
              </a:custGeom>
              <a:grpFill/>
              <a:ln w="5978" cap="flat">
                <a:noFill/>
                <a:prstDash val="solid"/>
                <a:miter/>
              </a:ln>
            </p:spPr>
            <p:txBody>
              <a:bodyPr rtlCol="0" anchor="ctr"/>
              <a:lstStyle/>
              <a:p>
                <a:endParaRPr lang="en-GB"/>
              </a:p>
            </p:txBody>
          </p:sp>
          <p:sp>
            <p:nvSpPr>
              <p:cNvPr id="4349" name="Vrije vorm: vorm 4348">
                <a:extLst>
                  <a:ext uri="{FF2B5EF4-FFF2-40B4-BE49-F238E27FC236}">
                    <a16:creationId xmlns:a16="http://schemas.microsoft.com/office/drawing/2014/main" id="{4543D1CD-2331-4B4A-9A29-9E90774EE7F4}"/>
                  </a:ext>
                </a:extLst>
              </p:cNvPr>
              <p:cNvSpPr/>
              <p:nvPr/>
            </p:nvSpPr>
            <p:spPr>
              <a:xfrm>
                <a:off x="7967502" y="4962246"/>
                <a:ext cx="18311" cy="18418"/>
              </a:xfrm>
              <a:custGeom>
                <a:avLst/>
                <a:gdLst>
                  <a:gd name="connsiteX0" fmla="*/ 14867 w 18311"/>
                  <a:gd name="connsiteY0" fmla="*/ 2032 h 18418"/>
                  <a:gd name="connsiteX1" fmla="*/ 2008 w 18311"/>
                  <a:gd name="connsiteY1" fmla="*/ 3408 h 18418"/>
                  <a:gd name="connsiteX2" fmla="*/ 3444 w 18311"/>
                  <a:gd name="connsiteY2" fmla="*/ 16386 h 18418"/>
                  <a:gd name="connsiteX3" fmla="*/ 16302 w 18311"/>
                  <a:gd name="connsiteY3" fmla="*/ 15011 h 18418"/>
                  <a:gd name="connsiteX4" fmla="*/ 14867 w 18311"/>
                  <a:gd name="connsiteY4" fmla="*/ 203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4867" y="2032"/>
                    </a:moveTo>
                    <a:cubicBezTo>
                      <a:pt x="10920" y="-1137"/>
                      <a:pt x="5178" y="-540"/>
                      <a:pt x="2008" y="3408"/>
                    </a:cubicBezTo>
                    <a:cubicBezTo>
                      <a:pt x="-1161" y="7355"/>
                      <a:pt x="-503" y="13157"/>
                      <a:pt x="3444" y="16386"/>
                    </a:cubicBezTo>
                    <a:cubicBezTo>
                      <a:pt x="7391" y="19556"/>
                      <a:pt x="13132" y="18958"/>
                      <a:pt x="16302" y="15011"/>
                    </a:cubicBezTo>
                    <a:cubicBezTo>
                      <a:pt x="19472" y="11004"/>
                      <a:pt x="18815" y="5202"/>
                      <a:pt x="14867" y="2032"/>
                    </a:cubicBezTo>
                    <a:close/>
                  </a:path>
                </a:pathLst>
              </a:custGeom>
              <a:grpFill/>
              <a:ln w="5978" cap="flat">
                <a:noFill/>
                <a:prstDash val="solid"/>
                <a:miter/>
              </a:ln>
            </p:spPr>
            <p:txBody>
              <a:bodyPr rtlCol="0" anchor="ctr"/>
              <a:lstStyle/>
              <a:p>
                <a:endParaRPr lang="en-GB"/>
              </a:p>
            </p:txBody>
          </p:sp>
        </p:grpSp>
        <p:grpSp>
          <p:nvGrpSpPr>
            <p:cNvPr id="345" name="Graphic 3">
              <a:extLst>
                <a:ext uri="{FF2B5EF4-FFF2-40B4-BE49-F238E27FC236}">
                  <a16:creationId xmlns:a16="http://schemas.microsoft.com/office/drawing/2014/main" id="{57872368-81AF-4D1F-A288-19D99B2D7F2F}"/>
                </a:ext>
              </a:extLst>
            </p:cNvPr>
            <p:cNvGrpSpPr/>
            <p:nvPr/>
          </p:nvGrpSpPr>
          <p:grpSpPr>
            <a:xfrm>
              <a:off x="6949682" y="1861858"/>
              <a:ext cx="98479" cy="144440"/>
              <a:chOff x="6949682" y="1861858"/>
              <a:chExt cx="98479" cy="144440"/>
            </a:xfrm>
            <a:grpFill/>
          </p:grpSpPr>
          <p:sp>
            <p:nvSpPr>
              <p:cNvPr id="4344" name="Vrije vorm: vorm 4343">
                <a:extLst>
                  <a:ext uri="{FF2B5EF4-FFF2-40B4-BE49-F238E27FC236}">
                    <a16:creationId xmlns:a16="http://schemas.microsoft.com/office/drawing/2014/main" id="{0A54B4CA-8767-4D5D-8A69-EDF52D5FB0C9}"/>
                  </a:ext>
                </a:extLst>
              </p:cNvPr>
              <p:cNvSpPr/>
              <p:nvPr/>
            </p:nvSpPr>
            <p:spPr>
              <a:xfrm>
                <a:off x="6957273" y="1869853"/>
                <a:ext cx="83251" cy="128406"/>
              </a:xfrm>
              <a:custGeom>
                <a:avLst/>
                <a:gdLst>
                  <a:gd name="connsiteX0" fmla="*/ 83252 w 83251"/>
                  <a:gd name="connsiteY0" fmla="*/ 1675 h 128406"/>
                  <a:gd name="connsiteX1" fmla="*/ 2572 w 83251"/>
                  <a:gd name="connsiteY1" fmla="*/ 128406 h 128406"/>
                  <a:gd name="connsiteX2" fmla="*/ 0 w 83251"/>
                  <a:gd name="connsiteY2" fmla="*/ 126732 h 128406"/>
                  <a:gd name="connsiteX3" fmla="*/ 80680 w 83251"/>
                  <a:gd name="connsiteY3" fmla="*/ 0 h 128406"/>
                </a:gdLst>
                <a:ahLst/>
                <a:cxnLst>
                  <a:cxn ang="0">
                    <a:pos x="connsiteX0" y="connsiteY0"/>
                  </a:cxn>
                  <a:cxn ang="0">
                    <a:pos x="connsiteX1" y="connsiteY1"/>
                  </a:cxn>
                  <a:cxn ang="0">
                    <a:pos x="connsiteX2" y="connsiteY2"/>
                  </a:cxn>
                  <a:cxn ang="0">
                    <a:pos x="connsiteX3" y="connsiteY3"/>
                  </a:cxn>
                </a:cxnLst>
                <a:rect l="l" t="t" r="r" b="b"/>
                <a:pathLst>
                  <a:path w="83251" h="128406">
                    <a:moveTo>
                      <a:pt x="83252" y="1675"/>
                    </a:moveTo>
                    <a:lnTo>
                      <a:pt x="2572" y="128406"/>
                    </a:lnTo>
                    <a:lnTo>
                      <a:pt x="0" y="126732"/>
                    </a:lnTo>
                    <a:lnTo>
                      <a:pt x="80680" y="0"/>
                    </a:lnTo>
                    <a:close/>
                  </a:path>
                </a:pathLst>
              </a:custGeom>
              <a:grpFill/>
              <a:ln w="5978" cap="flat">
                <a:noFill/>
                <a:prstDash val="solid"/>
                <a:miter/>
              </a:ln>
            </p:spPr>
            <p:txBody>
              <a:bodyPr rtlCol="0" anchor="ctr"/>
              <a:lstStyle/>
              <a:p>
                <a:endParaRPr lang="en-GB"/>
              </a:p>
            </p:txBody>
          </p:sp>
          <p:sp>
            <p:nvSpPr>
              <p:cNvPr id="4345" name="Vrije vorm: vorm 4344">
                <a:extLst>
                  <a:ext uri="{FF2B5EF4-FFF2-40B4-BE49-F238E27FC236}">
                    <a16:creationId xmlns:a16="http://schemas.microsoft.com/office/drawing/2014/main" id="{58A6F36C-910E-425F-9B7C-3B9BA7911BF6}"/>
                  </a:ext>
                </a:extLst>
              </p:cNvPr>
              <p:cNvSpPr/>
              <p:nvPr/>
            </p:nvSpPr>
            <p:spPr>
              <a:xfrm>
                <a:off x="7029797" y="1861858"/>
                <a:ext cx="18364" cy="18441"/>
              </a:xfrm>
              <a:custGeom>
                <a:avLst/>
                <a:gdLst>
                  <a:gd name="connsiteX0" fmla="*/ 1458 w 18364"/>
                  <a:gd name="connsiteY0" fmla="*/ 4227 h 18441"/>
                  <a:gd name="connsiteX1" fmla="*/ 14137 w 18364"/>
                  <a:gd name="connsiteY1" fmla="*/ 1476 h 18441"/>
                  <a:gd name="connsiteX2" fmla="*/ 16948 w 18364"/>
                  <a:gd name="connsiteY2" fmla="*/ 14215 h 18441"/>
                  <a:gd name="connsiteX3" fmla="*/ 4269 w 18364"/>
                  <a:gd name="connsiteY3" fmla="*/ 16966 h 18441"/>
                  <a:gd name="connsiteX4" fmla="*/ 1458 w 18364"/>
                  <a:gd name="connsiteY4" fmla="*/ 4227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41">
                    <a:moveTo>
                      <a:pt x="1458" y="4227"/>
                    </a:moveTo>
                    <a:cubicBezTo>
                      <a:pt x="4209" y="-79"/>
                      <a:pt x="9831" y="-1275"/>
                      <a:pt x="14137" y="1476"/>
                    </a:cubicBezTo>
                    <a:cubicBezTo>
                      <a:pt x="18384" y="4227"/>
                      <a:pt x="19639" y="9909"/>
                      <a:pt x="16948" y="14215"/>
                    </a:cubicBezTo>
                    <a:cubicBezTo>
                      <a:pt x="14197" y="18521"/>
                      <a:pt x="8575" y="19717"/>
                      <a:pt x="4269" y="16966"/>
                    </a:cubicBezTo>
                    <a:cubicBezTo>
                      <a:pt x="-37" y="14215"/>
                      <a:pt x="-1293" y="8533"/>
                      <a:pt x="1458" y="4227"/>
                    </a:cubicBezTo>
                    <a:close/>
                  </a:path>
                </a:pathLst>
              </a:custGeom>
              <a:grpFill/>
              <a:ln w="5978" cap="flat">
                <a:noFill/>
                <a:prstDash val="solid"/>
                <a:miter/>
              </a:ln>
            </p:spPr>
            <p:txBody>
              <a:bodyPr rtlCol="0" anchor="ctr"/>
              <a:lstStyle/>
              <a:p>
                <a:endParaRPr lang="en-GB"/>
              </a:p>
            </p:txBody>
          </p:sp>
          <p:sp>
            <p:nvSpPr>
              <p:cNvPr id="4346" name="Vrije vorm: vorm 4345">
                <a:extLst>
                  <a:ext uri="{FF2B5EF4-FFF2-40B4-BE49-F238E27FC236}">
                    <a16:creationId xmlns:a16="http://schemas.microsoft.com/office/drawing/2014/main" id="{4F93182E-05F2-4FA7-AD47-78FF25CA130A}"/>
                  </a:ext>
                </a:extLst>
              </p:cNvPr>
              <p:cNvSpPr/>
              <p:nvPr/>
            </p:nvSpPr>
            <p:spPr>
              <a:xfrm>
                <a:off x="6949682" y="1987846"/>
                <a:ext cx="18379" cy="18452"/>
              </a:xfrm>
              <a:custGeom>
                <a:avLst/>
                <a:gdLst>
                  <a:gd name="connsiteX0" fmla="*/ 1432 w 18379"/>
                  <a:gd name="connsiteY0" fmla="*/ 4253 h 18452"/>
                  <a:gd name="connsiteX1" fmla="*/ 4242 w 18379"/>
                  <a:gd name="connsiteY1" fmla="*/ 16992 h 18452"/>
                  <a:gd name="connsiteX2" fmla="*/ 16922 w 18379"/>
                  <a:gd name="connsiteY2" fmla="*/ 14241 h 18452"/>
                  <a:gd name="connsiteX3" fmla="*/ 14111 w 18379"/>
                  <a:gd name="connsiteY3" fmla="*/ 1502 h 18452"/>
                  <a:gd name="connsiteX4" fmla="*/ 1432 w 18379"/>
                  <a:gd name="connsiteY4" fmla="*/ 4253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52">
                    <a:moveTo>
                      <a:pt x="1432" y="4253"/>
                    </a:moveTo>
                    <a:cubicBezTo>
                      <a:pt x="-1260" y="8559"/>
                      <a:pt x="-64" y="14241"/>
                      <a:pt x="4242" y="16992"/>
                    </a:cubicBezTo>
                    <a:cubicBezTo>
                      <a:pt x="8489" y="19743"/>
                      <a:pt x="14171" y="18487"/>
                      <a:pt x="16922" y="14241"/>
                    </a:cubicBezTo>
                    <a:cubicBezTo>
                      <a:pt x="19672" y="9935"/>
                      <a:pt x="18417" y="4253"/>
                      <a:pt x="14111" y="1502"/>
                    </a:cubicBezTo>
                    <a:cubicBezTo>
                      <a:pt x="9804" y="-1309"/>
                      <a:pt x="4123" y="-53"/>
                      <a:pt x="1432" y="4253"/>
                    </a:cubicBezTo>
                    <a:close/>
                  </a:path>
                </a:pathLst>
              </a:custGeom>
              <a:grpFill/>
              <a:ln w="5978" cap="flat">
                <a:noFill/>
                <a:prstDash val="solid"/>
                <a:miter/>
              </a:ln>
            </p:spPr>
            <p:txBody>
              <a:bodyPr rtlCol="0" anchor="ctr"/>
              <a:lstStyle/>
              <a:p>
                <a:endParaRPr lang="en-GB"/>
              </a:p>
            </p:txBody>
          </p:sp>
        </p:grpSp>
        <p:grpSp>
          <p:nvGrpSpPr>
            <p:cNvPr id="346" name="Graphic 3">
              <a:extLst>
                <a:ext uri="{FF2B5EF4-FFF2-40B4-BE49-F238E27FC236}">
                  <a16:creationId xmlns:a16="http://schemas.microsoft.com/office/drawing/2014/main" id="{EDE95BB2-C201-406C-B4EE-737790A9B427}"/>
                </a:ext>
              </a:extLst>
            </p:cNvPr>
            <p:cNvGrpSpPr/>
            <p:nvPr/>
          </p:nvGrpSpPr>
          <p:grpSpPr>
            <a:xfrm>
              <a:off x="6826586" y="1478848"/>
              <a:ext cx="93428" cy="187755"/>
              <a:chOff x="6826586" y="1478848"/>
              <a:chExt cx="93428" cy="187755"/>
            </a:xfrm>
            <a:grpFill/>
          </p:grpSpPr>
          <p:sp>
            <p:nvSpPr>
              <p:cNvPr id="4341" name="Vrije vorm: vorm 4340">
                <a:extLst>
                  <a:ext uri="{FF2B5EF4-FFF2-40B4-BE49-F238E27FC236}">
                    <a16:creationId xmlns:a16="http://schemas.microsoft.com/office/drawing/2014/main" id="{AAF07C88-C1F8-47DF-99F3-5385B4145455}"/>
                  </a:ext>
                </a:extLst>
              </p:cNvPr>
              <p:cNvSpPr/>
              <p:nvPr/>
            </p:nvSpPr>
            <p:spPr>
              <a:xfrm>
                <a:off x="6834190" y="1487027"/>
                <a:ext cx="78227" cy="171407"/>
              </a:xfrm>
              <a:custGeom>
                <a:avLst/>
                <a:gdLst>
                  <a:gd name="connsiteX0" fmla="*/ 78228 w 78227"/>
                  <a:gd name="connsiteY0" fmla="*/ 1256 h 171407"/>
                  <a:gd name="connsiteX1" fmla="*/ 2751 w 78227"/>
                  <a:gd name="connsiteY1" fmla="*/ 171407 h 171407"/>
                  <a:gd name="connsiteX2" fmla="*/ 0 w 78227"/>
                  <a:gd name="connsiteY2" fmla="*/ 170092 h 171407"/>
                  <a:gd name="connsiteX3" fmla="*/ 75477 w 78227"/>
                  <a:gd name="connsiteY3" fmla="*/ 0 h 171407"/>
                </a:gdLst>
                <a:ahLst/>
                <a:cxnLst>
                  <a:cxn ang="0">
                    <a:pos x="connsiteX0" y="connsiteY0"/>
                  </a:cxn>
                  <a:cxn ang="0">
                    <a:pos x="connsiteX1" y="connsiteY1"/>
                  </a:cxn>
                  <a:cxn ang="0">
                    <a:pos x="connsiteX2" y="connsiteY2"/>
                  </a:cxn>
                  <a:cxn ang="0">
                    <a:pos x="connsiteX3" y="connsiteY3"/>
                  </a:cxn>
                </a:cxnLst>
                <a:rect l="l" t="t" r="r" b="b"/>
                <a:pathLst>
                  <a:path w="78227" h="171407">
                    <a:moveTo>
                      <a:pt x="78228" y="1256"/>
                    </a:moveTo>
                    <a:lnTo>
                      <a:pt x="2751" y="171407"/>
                    </a:lnTo>
                    <a:lnTo>
                      <a:pt x="0" y="170092"/>
                    </a:lnTo>
                    <a:lnTo>
                      <a:pt x="75477" y="0"/>
                    </a:lnTo>
                    <a:close/>
                  </a:path>
                </a:pathLst>
              </a:custGeom>
              <a:grpFill/>
              <a:ln w="5978" cap="flat">
                <a:noFill/>
                <a:prstDash val="solid"/>
                <a:miter/>
              </a:ln>
            </p:spPr>
            <p:txBody>
              <a:bodyPr rtlCol="0" anchor="ctr"/>
              <a:lstStyle/>
              <a:p>
                <a:endParaRPr lang="en-GB"/>
              </a:p>
            </p:txBody>
          </p:sp>
          <p:sp>
            <p:nvSpPr>
              <p:cNvPr id="4342" name="Vrije vorm: vorm 4341">
                <a:extLst>
                  <a:ext uri="{FF2B5EF4-FFF2-40B4-BE49-F238E27FC236}">
                    <a16:creationId xmlns:a16="http://schemas.microsoft.com/office/drawing/2014/main" id="{B948F380-CB65-40F8-97F3-766291E482C9}"/>
                  </a:ext>
                </a:extLst>
              </p:cNvPr>
              <p:cNvSpPr/>
              <p:nvPr/>
            </p:nvSpPr>
            <p:spPr>
              <a:xfrm>
                <a:off x="6901704" y="1478848"/>
                <a:ext cx="18310" cy="18451"/>
              </a:xfrm>
              <a:custGeom>
                <a:avLst/>
                <a:gdLst>
                  <a:gd name="connsiteX0" fmla="*/ 787 w 18310"/>
                  <a:gd name="connsiteY0" fmla="*/ 5428 h 18451"/>
                  <a:gd name="connsiteX1" fmla="*/ 12867 w 18310"/>
                  <a:gd name="connsiteY1" fmla="*/ 823 h 18451"/>
                  <a:gd name="connsiteX2" fmla="*/ 17532 w 18310"/>
                  <a:gd name="connsiteY2" fmla="*/ 13023 h 18451"/>
                  <a:gd name="connsiteX3" fmla="*/ 5451 w 18310"/>
                  <a:gd name="connsiteY3" fmla="*/ 17628 h 18451"/>
                  <a:gd name="connsiteX4" fmla="*/ 787 w 18310"/>
                  <a:gd name="connsiteY4" fmla="*/ 542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51">
                    <a:moveTo>
                      <a:pt x="787" y="5428"/>
                    </a:moveTo>
                    <a:cubicBezTo>
                      <a:pt x="2820" y="763"/>
                      <a:pt x="8263" y="-1271"/>
                      <a:pt x="12867" y="823"/>
                    </a:cubicBezTo>
                    <a:cubicBezTo>
                      <a:pt x="17473" y="2916"/>
                      <a:pt x="19566" y="8358"/>
                      <a:pt x="17532" y="13023"/>
                    </a:cubicBezTo>
                    <a:cubicBezTo>
                      <a:pt x="15499" y="17688"/>
                      <a:pt x="10057" y="19722"/>
                      <a:pt x="5451" y="17628"/>
                    </a:cubicBezTo>
                    <a:cubicBezTo>
                      <a:pt x="787" y="15535"/>
                      <a:pt x="-1247" y="10033"/>
                      <a:pt x="787" y="5428"/>
                    </a:cubicBezTo>
                    <a:close/>
                  </a:path>
                </a:pathLst>
              </a:custGeom>
              <a:grpFill/>
              <a:ln w="5978" cap="flat">
                <a:noFill/>
                <a:prstDash val="solid"/>
                <a:miter/>
              </a:ln>
            </p:spPr>
            <p:txBody>
              <a:bodyPr rtlCol="0" anchor="ctr"/>
              <a:lstStyle/>
              <a:p>
                <a:endParaRPr lang="en-GB"/>
              </a:p>
            </p:txBody>
          </p:sp>
          <p:sp>
            <p:nvSpPr>
              <p:cNvPr id="4343" name="Vrije vorm: vorm 4342">
                <a:extLst>
                  <a:ext uri="{FF2B5EF4-FFF2-40B4-BE49-F238E27FC236}">
                    <a16:creationId xmlns:a16="http://schemas.microsoft.com/office/drawing/2014/main" id="{6EB8A49D-DBE7-4442-9701-754862918B76}"/>
                  </a:ext>
                </a:extLst>
              </p:cNvPr>
              <p:cNvSpPr/>
              <p:nvPr/>
            </p:nvSpPr>
            <p:spPr>
              <a:xfrm>
                <a:off x="6826586" y="1648162"/>
                <a:ext cx="18319" cy="18441"/>
              </a:xfrm>
              <a:custGeom>
                <a:avLst/>
                <a:gdLst>
                  <a:gd name="connsiteX0" fmla="*/ 787 w 18319"/>
                  <a:gd name="connsiteY0" fmla="*/ 5428 h 18441"/>
                  <a:gd name="connsiteX1" fmla="*/ 5452 w 18319"/>
                  <a:gd name="connsiteY1" fmla="*/ 17628 h 18441"/>
                  <a:gd name="connsiteX2" fmla="*/ 17533 w 18319"/>
                  <a:gd name="connsiteY2" fmla="*/ 13023 h 18441"/>
                  <a:gd name="connsiteX3" fmla="*/ 12868 w 18319"/>
                  <a:gd name="connsiteY3" fmla="*/ 823 h 18441"/>
                  <a:gd name="connsiteX4" fmla="*/ 787 w 18319"/>
                  <a:gd name="connsiteY4" fmla="*/ 542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1">
                    <a:moveTo>
                      <a:pt x="787" y="5428"/>
                    </a:moveTo>
                    <a:cubicBezTo>
                      <a:pt x="-1247" y="10093"/>
                      <a:pt x="787" y="15535"/>
                      <a:pt x="5452" y="17628"/>
                    </a:cubicBezTo>
                    <a:cubicBezTo>
                      <a:pt x="10057" y="19722"/>
                      <a:pt x="15499" y="17628"/>
                      <a:pt x="17533" y="13023"/>
                    </a:cubicBezTo>
                    <a:cubicBezTo>
                      <a:pt x="19566" y="8358"/>
                      <a:pt x="17533" y="2916"/>
                      <a:pt x="12868" y="823"/>
                    </a:cubicBezTo>
                    <a:cubicBezTo>
                      <a:pt x="8262" y="-1271"/>
                      <a:pt x="2880" y="763"/>
                      <a:pt x="787" y="5428"/>
                    </a:cubicBezTo>
                    <a:close/>
                  </a:path>
                </a:pathLst>
              </a:custGeom>
              <a:grpFill/>
              <a:ln w="5978" cap="flat">
                <a:noFill/>
                <a:prstDash val="solid"/>
                <a:miter/>
              </a:ln>
            </p:spPr>
            <p:txBody>
              <a:bodyPr rtlCol="0" anchor="ctr"/>
              <a:lstStyle/>
              <a:p>
                <a:endParaRPr lang="en-GB"/>
              </a:p>
            </p:txBody>
          </p:sp>
        </p:grpSp>
        <p:grpSp>
          <p:nvGrpSpPr>
            <p:cNvPr id="347" name="Graphic 3">
              <a:extLst>
                <a:ext uri="{FF2B5EF4-FFF2-40B4-BE49-F238E27FC236}">
                  <a16:creationId xmlns:a16="http://schemas.microsoft.com/office/drawing/2014/main" id="{C70A3631-A86B-42AD-BC5A-1FE4021BB13A}"/>
                </a:ext>
              </a:extLst>
            </p:cNvPr>
            <p:cNvGrpSpPr/>
            <p:nvPr/>
          </p:nvGrpSpPr>
          <p:grpSpPr>
            <a:xfrm>
              <a:off x="7635865" y="3978823"/>
              <a:ext cx="86354" cy="42844"/>
              <a:chOff x="7635865" y="3978823"/>
              <a:chExt cx="86354" cy="42844"/>
            </a:xfrm>
            <a:grpFill/>
          </p:grpSpPr>
          <p:sp>
            <p:nvSpPr>
              <p:cNvPr id="4338" name="Vrije vorm: vorm 4337">
                <a:extLst>
                  <a:ext uri="{FF2B5EF4-FFF2-40B4-BE49-F238E27FC236}">
                    <a16:creationId xmlns:a16="http://schemas.microsoft.com/office/drawing/2014/main" id="{F95258DD-9D37-40D6-8FDF-5271C4E08407}"/>
                  </a:ext>
                </a:extLst>
              </p:cNvPr>
              <p:cNvSpPr/>
              <p:nvPr/>
            </p:nvSpPr>
            <p:spPr>
              <a:xfrm>
                <a:off x="7644160" y="3986430"/>
                <a:ext cx="69854" cy="27630"/>
              </a:xfrm>
              <a:custGeom>
                <a:avLst/>
                <a:gdLst>
                  <a:gd name="connsiteX0" fmla="*/ 69854 w 69854"/>
                  <a:gd name="connsiteY0" fmla="*/ 24760 h 27630"/>
                  <a:gd name="connsiteX1" fmla="*/ 68837 w 69854"/>
                  <a:gd name="connsiteY1" fmla="*/ 27631 h 27630"/>
                  <a:gd name="connsiteX2" fmla="*/ 0 w 69854"/>
                  <a:gd name="connsiteY2" fmla="*/ 2871 h 27630"/>
                  <a:gd name="connsiteX3" fmla="*/ 1016 w 69854"/>
                  <a:gd name="connsiteY3" fmla="*/ 0 h 27630"/>
                </a:gdLst>
                <a:ahLst/>
                <a:cxnLst>
                  <a:cxn ang="0">
                    <a:pos x="connsiteX0" y="connsiteY0"/>
                  </a:cxn>
                  <a:cxn ang="0">
                    <a:pos x="connsiteX1" y="connsiteY1"/>
                  </a:cxn>
                  <a:cxn ang="0">
                    <a:pos x="connsiteX2" y="connsiteY2"/>
                  </a:cxn>
                  <a:cxn ang="0">
                    <a:pos x="connsiteX3" y="connsiteY3"/>
                  </a:cxn>
                </a:cxnLst>
                <a:rect l="l" t="t" r="r" b="b"/>
                <a:pathLst>
                  <a:path w="69854" h="27630">
                    <a:moveTo>
                      <a:pt x="69854" y="24760"/>
                    </a:moveTo>
                    <a:lnTo>
                      <a:pt x="68837" y="27631"/>
                    </a:lnTo>
                    <a:lnTo>
                      <a:pt x="0" y="2871"/>
                    </a:lnTo>
                    <a:lnTo>
                      <a:pt x="1016" y="0"/>
                    </a:lnTo>
                    <a:close/>
                  </a:path>
                </a:pathLst>
              </a:custGeom>
              <a:grpFill/>
              <a:ln w="5978" cap="flat">
                <a:noFill/>
                <a:prstDash val="solid"/>
                <a:miter/>
              </a:ln>
            </p:spPr>
            <p:txBody>
              <a:bodyPr rtlCol="0" anchor="ctr"/>
              <a:lstStyle/>
              <a:p>
                <a:endParaRPr lang="en-GB"/>
              </a:p>
            </p:txBody>
          </p:sp>
          <p:sp>
            <p:nvSpPr>
              <p:cNvPr id="4339" name="Vrije vorm: vorm 4338">
                <a:extLst>
                  <a:ext uri="{FF2B5EF4-FFF2-40B4-BE49-F238E27FC236}">
                    <a16:creationId xmlns:a16="http://schemas.microsoft.com/office/drawing/2014/main" id="{84D8FE64-E9B9-4C8C-81D7-C4EED12E9EAA}"/>
                  </a:ext>
                </a:extLst>
              </p:cNvPr>
              <p:cNvSpPr/>
              <p:nvPr/>
            </p:nvSpPr>
            <p:spPr>
              <a:xfrm>
                <a:off x="7703836" y="4003225"/>
                <a:ext cx="18383" cy="18443"/>
              </a:xfrm>
              <a:custGeom>
                <a:avLst/>
                <a:gdLst>
                  <a:gd name="connsiteX0" fmla="*/ 12272 w 18383"/>
                  <a:gd name="connsiteY0" fmla="*/ 549 h 18443"/>
                  <a:gd name="connsiteX1" fmla="*/ 17834 w 18383"/>
                  <a:gd name="connsiteY1" fmla="*/ 12332 h 18443"/>
                  <a:gd name="connsiteX2" fmla="*/ 6112 w 18383"/>
                  <a:gd name="connsiteY2" fmla="*/ 17894 h 18443"/>
                  <a:gd name="connsiteX3" fmla="*/ 550 w 18383"/>
                  <a:gd name="connsiteY3" fmla="*/ 6111 h 18443"/>
                  <a:gd name="connsiteX4" fmla="*/ 12272 w 18383"/>
                  <a:gd name="connsiteY4" fmla="*/ 54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43">
                    <a:moveTo>
                      <a:pt x="12272" y="549"/>
                    </a:moveTo>
                    <a:cubicBezTo>
                      <a:pt x="17056" y="2284"/>
                      <a:pt x="19569" y="7547"/>
                      <a:pt x="17834" y="12332"/>
                    </a:cubicBezTo>
                    <a:cubicBezTo>
                      <a:pt x="16159" y="17116"/>
                      <a:pt x="10896" y="19628"/>
                      <a:pt x="6112" y="17894"/>
                    </a:cubicBezTo>
                    <a:cubicBezTo>
                      <a:pt x="1327" y="16159"/>
                      <a:pt x="-1185" y="10896"/>
                      <a:pt x="550" y="6111"/>
                    </a:cubicBezTo>
                    <a:cubicBezTo>
                      <a:pt x="2284" y="1327"/>
                      <a:pt x="7547" y="-1185"/>
                      <a:pt x="12272" y="549"/>
                    </a:cubicBezTo>
                    <a:close/>
                  </a:path>
                </a:pathLst>
              </a:custGeom>
              <a:grpFill/>
              <a:ln w="5978" cap="flat">
                <a:noFill/>
                <a:prstDash val="solid"/>
                <a:miter/>
              </a:ln>
            </p:spPr>
            <p:txBody>
              <a:bodyPr rtlCol="0" anchor="ctr"/>
              <a:lstStyle/>
              <a:p>
                <a:endParaRPr lang="en-GB"/>
              </a:p>
            </p:txBody>
          </p:sp>
          <p:sp>
            <p:nvSpPr>
              <p:cNvPr id="4340" name="Vrije vorm: vorm 4339">
                <a:extLst>
                  <a:ext uri="{FF2B5EF4-FFF2-40B4-BE49-F238E27FC236}">
                    <a16:creationId xmlns:a16="http://schemas.microsoft.com/office/drawing/2014/main" id="{FE8DA272-FA39-4821-B661-96BFB2A15582}"/>
                  </a:ext>
                </a:extLst>
              </p:cNvPr>
              <p:cNvSpPr/>
              <p:nvPr/>
            </p:nvSpPr>
            <p:spPr>
              <a:xfrm>
                <a:off x="7635865" y="3978823"/>
                <a:ext cx="18353" cy="18443"/>
              </a:xfrm>
              <a:custGeom>
                <a:avLst/>
                <a:gdLst>
                  <a:gd name="connsiteX0" fmla="*/ 12241 w 18353"/>
                  <a:gd name="connsiteY0" fmla="*/ 549 h 18443"/>
                  <a:gd name="connsiteX1" fmla="*/ 519 w 18353"/>
                  <a:gd name="connsiteY1" fmla="*/ 6112 h 18443"/>
                  <a:gd name="connsiteX2" fmla="*/ 6082 w 18353"/>
                  <a:gd name="connsiteY2" fmla="*/ 17894 h 18443"/>
                  <a:gd name="connsiteX3" fmla="*/ 17804 w 18353"/>
                  <a:gd name="connsiteY3" fmla="*/ 12332 h 18443"/>
                  <a:gd name="connsiteX4" fmla="*/ 12241 w 18353"/>
                  <a:gd name="connsiteY4" fmla="*/ 54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3">
                    <a:moveTo>
                      <a:pt x="12241" y="549"/>
                    </a:moveTo>
                    <a:cubicBezTo>
                      <a:pt x="7457" y="-1185"/>
                      <a:pt x="2254" y="1327"/>
                      <a:pt x="519" y="6112"/>
                    </a:cubicBezTo>
                    <a:cubicBezTo>
                      <a:pt x="-1155" y="10896"/>
                      <a:pt x="1357" y="16159"/>
                      <a:pt x="6082" y="17894"/>
                    </a:cubicBezTo>
                    <a:cubicBezTo>
                      <a:pt x="10866" y="19628"/>
                      <a:pt x="16069" y="17116"/>
                      <a:pt x="17804" y="12332"/>
                    </a:cubicBezTo>
                    <a:cubicBezTo>
                      <a:pt x="19538" y="7547"/>
                      <a:pt x="17026" y="2284"/>
                      <a:pt x="12241" y="549"/>
                    </a:cubicBezTo>
                    <a:close/>
                  </a:path>
                </a:pathLst>
              </a:custGeom>
              <a:grpFill/>
              <a:ln w="5978" cap="flat">
                <a:noFill/>
                <a:prstDash val="solid"/>
                <a:miter/>
              </a:ln>
            </p:spPr>
            <p:txBody>
              <a:bodyPr rtlCol="0" anchor="ctr"/>
              <a:lstStyle/>
              <a:p>
                <a:endParaRPr lang="en-GB"/>
              </a:p>
            </p:txBody>
          </p:sp>
        </p:grpSp>
        <p:grpSp>
          <p:nvGrpSpPr>
            <p:cNvPr id="348" name="Graphic 3">
              <a:extLst>
                <a:ext uri="{FF2B5EF4-FFF2-40B4-BE49-F238E27FC236}">
                  <a16:creationId xmlns:a16="http://schemas.microsoft.com/office/drawing/2014/main" id="{BC9BBADF-8588-4057-AAFA-A6DA6B387FB4}"/>
                </a:ext>
              </a:extLst>
            </p:cNvPr>
            <p:cNvGrpSpPr/>
            <p:nvPr/>
          </p:nvGrpSpPr>
          <p:grpSpPr>
            <a:xfrm>
              <a:off x="6922132" y="1847361"/>
              <a:ext cx="94791" cy="143665"/>
              <a:chOff x="6922132" y="1847361"/>
              <a:chExt cx="94791" cy="143665"/>
            </a:xfrm>
            <a:grpFill/>
          </p:grpSpPr>
          <p:sp>
            <p:nvSpPr>
              <p:cNvPr id="4335" name="Vrije vorm: vorm 4334">
                <a:extLst>
                  <a:ext uri="{FF2B5EF4-FFF2-40B4-BE49-F238E27FC236}">
                    <a16:creationId xmlns:a16="http://schemas.microsoft.com/office/drawing/2014/main" id="{28665409-1EE4-4337-938F-5760CCF54FFF}"/>
                  </a:ext>
                </a:extLst>
              </p:cNvPr>
              <p:cNvSpPr/>
              <p:nvPr/>
            </p:nvSpPr>
            <p:spPr>
              <a:xfrm>
                <a:off x="6929762" y="1855380"/>
                <a:ext cx="79543" cy="127628"/>
              </a:xfrm>
              <a:custGeom>
                <a:avLst/>
                <a:gdLst>
                  <a:gd name="connsiteX0" fmla="*/ 79544 w 79543"/>
                  <a:gd name="connsiteY0" fmla="*/ 1615 h 127628"/>
                  <a:gd name="connsiteX1" fmla="*/ 2632 w 79543"/>
                  <a:gd name="connsiteY1" fmla="*/ 127629 h 127628"/>
                  <a:gd name="connsiteX2" fmla="*/ 0 w 79543"/>
                  <a:gd name="connsiteY2" fmla="*/ 126014 h 127628"/>
                  <a:gd name="connsiteX3" fmla="*/ 76912 w 79543"/>
                  <a:gd name="connsiteY3" fmla="*/ 0 h 127628"/>
                </a:gdLst>
                <a:ahLst/>
                <a:cxnLst>
                  <a:cxn ang="0">
                    <a:pos x="connsiteX0" y="connsiteY0"/>
                  </a:cxn>
                  <a:cxn ang="0">
                    <a:pos x="connsiteX1" y="connsiteY1"/>
                  </a:cxn>
                  <a:cxn ang="0">
                    <a:pos x="connsiteX2" y="connsiteY2"/>
                  </a:cxn>
                  <a:cxn ang="0">
                    <a:pos x="connsiteX3" y="connsiteY3"/>
                  </a:cxn>
                </a:cxnLst>
                <a:rect l="l" t="t" r="r" b="b"/>
                <a:pathLst>
                  <a:path w="79543" h="127628">
                    <a:moveTo>
                      <a:pt x="79544" y="1615"/>
                    </a:moveTo>
                    <a:lnTo>
                      <a:pt x="2632" y="127629"/>
                    </a:lnTo>
                    <a:lnTo>
                      <a:pt x="0" y="126014"/>
                    </a:lnTo>
                    <a:lnTo>
                      <a:pt x="76912" y="0"/>
                    </a:lnTo>
                    <a:close/>
                  </a:path>
                </a:pathLst>
              </a:custGeom>
              <a:grpFill/>
              <a:ln w="5978" cap="flat">
                <a:noFill/>
                <a:prstDash val="solid"/>
                <a:miter/>
              </a:ln>
            </p:spPr>
            <p:txBody>
              <a:bodyPr rtlCol="0" anchor="ctr"/>
              <a:lstStyle/>
              <a:p>
                <a:endParaRPr lang="en-GB"/>
              </a:p>
            </p:txBody>
          </p:sp>
          <p:sp>
            <p:nvSpPr>
              <p:cNvPr id="4336" name="Vrije vorm: vorm 4335">
                <a:extLst>
                  <a:ext uri="{FF2B5EF4-FFF2-40B4-BE49-F238E27FC236}">
                    <a16:creationId xmlns:a16="http://schemas.microsoft.com/office/drawing/2014/main" id="{07CAC38D-F955-4FDE-96EF-CBA6B16A9713}"/>
                  </a:ext>
                </a:extLst>
              </p:cNvPr>
              <p:cNvSpPr/>
              <p:nvPr/>
            </p:nvSpPr>
            <p:spPr>
              <a:xfrm>
                <a:off x="6998579" y="1847361"/>
                <a:ext cx="18343" cy="18429"/>
              </a:xfrm>
              <a:custGeom>
                <a:avLst/>
                <a:gdLst>
                  <a:gd name="connsiteX0" fmla="*/ 1337 w 18343"/>
                  <a:gd name="connsiteY0" fmla="*/ 4370 h 18429"/>
                  <a:gd name="connsiteX1" fmla="*/ 13956 w 18343"/>
                  <a:gd name="connsiteY1" fmla="*/ 1380 h 18429"/>
                  <a:gd name="connsiteX2" fmla="*/ 17006 w 18343"/>
                  <a:gd name="connsiteY2" fmla="*/ 14059 h 18429"/>
                  <a:gd name="connsiteX3" fmla="*/ 4387 w 18343"/>
                  <a:gd name="connsiteY3" fmla="*/ 17050 h 18429"/>
                  <a:gd name="connsiteX4" fmla="*/ 1337 w 18343"/>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9">
                    <a:moveTo>
                      <a:pt x="1337" y="4370"/>
                    </a:moveTo>
                    <a:cubicBezTo>
                      <a:pt x="3969" y="64"/>
                      <a:pt x="9650" y="-1311"/>
                      <a:pt x="13956" y="1380"/>
                    </a:cubicBezTo>
                    <a:cubicBezTo>
                      <a:pt x="18263" y="4071"/>
                      <a:pt x="19638" y="9753"/>
                      <a:pt x="17006" y="14059"/>
                    </a:cubicBezTo>
                    <a:cubicBezTo>
                      <a:pt x="14375" y="18365"/>
                      <a:pt x="8693" y="19741"/>
                      <a:pt x="4387" y="17050"/>
                    </a:cubicBezTo>
                    <a:cubicBezTo>
                      <a:pt x="81" y="14418"/>
                      <a:pt x="-1294" y="8736"/>
                      <a:pt x="1337" y="4370"/>
                    </a:cubicBezTo>
                    <a:close/>
                  </a:path>
                </a:pathLst>
              </a:custGeom>
              <a:grpFill/>
              <a:ln w="5978" cap="flat">
                <a:noFill/>
                <a:prstDash val="solid"/>
                <a:miter/>
              </a:ln>
            </p:spPr>
            <p:txBody>
              <a:bodyPr rtlCol="0" anchor="ctr"/>
              <a:lstStyle/>
              <a:p>
                <a:endParaRPr lang="en-GB"/>
              </a:p>
            </p:txBody>
          </p:sp>
          <p:sp>
            <p:nvSpPr>
              <p:cNvPr id="4337" name="Vrije vorm: vorm 4336">
                <a:extLst>
                  <a:ext uri="{FF2B5EF4-FFF2-40B4-BE49-F238E27FC236}">
                    <a16:creationId xmlns:a16="http://schemas.microsoft.com/office/drawing/2014/main" id="{E6134C0F-A75A-4DEA-B353-E86621C83252}"/>
                  </a:ext>
                </a:extLst>
              </p:cNvPr>
              <p:cNvSpPr/>
              <p:nvPr/>
            </p:nvSpPr>
            <p:spPr>
              <a:xfrm>
                <a:off x="6922132" y="1972597"/>
                <a:ext cx="18357" cy="18429"/>
              </a:xfrm>
              <a:custGeom>
                <a:avLst/>
                <a:gdLst>
                  <a:gd name="connsiteX0" fmla="*/ 1351 w 18357"/>
                  <a:gd name="connsiteY0" fmla="*/ 4370 h 18429"/>
                  <a:gd name="connsiteX1" fmla="*/ 4401 w 18357"/>
                  <a:gd name="connsiteY1" fmla="*/ 17050 h 18429"/>
                  <a:gd name="connsiteX2" fmla="*/ 17021 w 18357"/>
                  <a:gd name="connsiteY2" fmla="*/ 14059 h 18429"/>
                  <a:gd name="connsiteX3" fmla="*/ 13971 w 18357"/>
                  <a:gd name="connsiteY3" fmla="*/ 1380 h 18429"/>
                  <a:gd name="connsiteX4" fmla="*/ 1351 w 18357"/>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29">
                    <a:moveTo>
                      <a:pt x="1351" y="4370"/>
                    </a:moveTo>
                    <a:cubicBezTo>
                      <a:pt x="-1281" y="8677"/>
                      <a:pt x="35" y="14358"/>
                      <a:pt x="4401" y="17050"/>
                    </a:cubicBezTo>
                    <a:cubicBezTo>
                      <a:pt x="8708" y="19741"/>
                      <a:pt x="14389" y="18365"/>
                      <a:pt x="17021" y="14059"/>
                    </a:cubicBezTo>
                    <a:cubicBezTo>
                      <a:pt x="19652" y="9753"/>
                      <a:pt x="18277" y="4071"/>
                      <a:pt x="13971" y="1380"/>
                    </a:cubicBezTo>
                    <a:cubicBezTo>
                      <a:pt x="9664" y="-1311"/>
                      <a:pt x="3983" y="64"/>
                      <a:pt x="1351" y="4370"/>
                    </a:cubicBezTo>
                    <a:close/>
                  </a:path>
                </a:pathLst>
              </a:custGeom>
              <a:grpFill/>
              <a:ln w="5978" cap="flat">
                <a:noFill/>
                <a:prstDash val="solid"/>
                <a:miter/>
              </a:ln>
            </p:spPr>
            <p:txBody>
              <a:bodyPr rtlCol="0" anchor="ctr"/>
              <a:lstStyle/>
              <a:p>
                <a:endParaRPr lang="en-GB"/>
              </a:p>
            </p:txBody>
          </p:sp>
        </p:grpSp>
        <p:grpSp>
          <p:nvGrpSpPr>
            <p:cNvPr id="349" name="Graphic 3">
              <a:extLst>
                <a:ext uri="{FF2B5EF4-FFF2-40B4-BE49-F238E27FC236}">
                  <a16:creationId xmlns:a16="http://schemas.microsoft.com/office/drawing/2014/main" id="{175D2DF2-1B27-43A5-8891-99F9A27C7AA9}"/>
                </a:ext>
              </a:extLst>
            </p:cNvPr>
            <p:cNvGrpSpPr/>
            <p:nvPr/>
          </p:nvGrpSpPr>
          <p:grpSpPr>
            <a:xfrm>
              <a:off x="7895273" y="4961580"/>
              <a:ext cx="279214" cy="237627"/>
              <a:chOff x="7895273" y="4961580"/>
              <a:chExt cx="279214" cy="237627"/>
            </a:xfrm>
            <a:grpFill/>
          </p:grpSpPr>
          <p:sp>
            <p:nvSpPr>
              <p:cNvPr id="4332" name="Vrije vorm: vorm 4331">
                <a:extLst>
                  <a:ext uri="{FF2B5EF4-FFF2-40B4-BE49-F238E27FC236}">
                    <a16:creationId xmlns:a16="http://schemas.microsoft.com/office/drawing/2014/main" id="{6D31222F-AAC2-4095-B9B8-D0DBE1AC5FAA}"/>
                  </a:ext>
                </a:extLst>
              </p:cNvPr>
              <p:cNvSpPr/>
              <p:nvPr/>
            </p:nvSpPr>
            <p:spPr>
              <a:xfrm>
                <a:off x="7903125" y="4969302"/>
                <a:ext cx="263570" cy="222124"/>
              </a:xfrm>
              <a:custGeom>
                <a:avLst/>
                <a:gdLst>
                  <a:gd name="connsiteX0" fmla="*/ 263571 w 263570"/>
                  <a:gd name="connsiteY0" fmla="*/ 219792 h 222124"/>
                  <a:gd name="connsiteX1" fmla="*/ 261597 w 263570"/>
                  <a:gd name="connsiteY1" fmla="*/ 222124 h 222124"/>
                  <a:gd name="connsiteX2" fmla="*/ 0 w 263570"/>
                  <a:gd name="connsiteY2" fmla="*/ 2333 h 222124"/>
                  <a:gd name="connsiteX3" fmla="*/ 1974 w 263570"/>
                  <a:gd name="connsiteY3" fmla="*/ 0 h 222124"/>
                </a:gdLst>
                <a:ahLst/>
                <a:cxnLst>
                  <a:cxn ang="0">
                    <a:pos x="connsiteX0" y="connsiteY0"/>
                  </a:cxn>
                  <a:cxn ang="0">
                    <a:pos x="connsiteX1" y="connsiteY1"/>
                  </a:cxn>
                  <a:cxn ang="0">
                    <a:pos x="connsiteX2" y="connsiteY2"/>
                  </a:cxn>
                  <a:cxn ang="0">
                    <a:pos x="connsiteX3" y="connsiteY3"/>
                  </a:cxn>
                </a:cxnLst>
                <a:rect l="l" t="t" r="r" b="b"/>
                <a:pathLst>
                  <a:path w="263570" h="222124">
                    <a:moveTo>
                      <a:pt x="263571" y="219792"/>
                    </a:moveTo>
                    <a:lnTo>
                      <a:pt x="261597" y="222124"/>
                    </a:lnTo>
                    <a:lnTo>
                      <a:pt x="0" y="2333"/>
                    </a:lnTo>
                    <a:lnTo>
                      <a:pt x="1974" y="0"/>
                    </a:lnTo>
                    <a:close/>
                  </a:path>
                </a:pathLst>
              </a:custGeom>
              <a:grpFill/>
              <a:ln w="5978" cap="flat">
                <a:noFill/>
                <a:prstDash val="solid"/>
                <a:miter/>
              </a:ln>
            </p:spPr>
            <p:txBody>
              <a:bodyPr rtlCol="0" anchor="ctr"/>
              <a:lstStyle/>
              <a:p>
                <a:endParaRPr lang="en-GB"/>
              </a:p>
            </p:txBody>
          </p:sp>
          <p:sp>
            <p:nvSpPr>
              <p:cNvPr id="4333" name="Vrije vorm: vorm 4332">
                <a:extLst>
                  <a:ext uri="{FF2B5EF4-FFF2-40B4-BE49-F238E27FC236}">
                    <a16:creationId xmlns:a16="http://schemas.microsoft.com/office/drawing/2014/main" id="{E57C7ADF-BC96-4EF4-AD57-DAD62E238A6D}"/>
                  </a:ext>
                </a:extLst>
              </p:cNvPr>
              <p:cNvSpPr/>
              <p:nvPr/>
            </p:nvSpPr>
            <p:spPr>
              <a:xfrm>
                <a:off x="8156152" y="5180773"/>
                <a:ext cx="18335" cy="18433"/>
              </a:xfrm>
              <a:custGeom>
                <a:avLst/>
                <a:gdLst>
                  <a:gd name="connsiteX0" fmla="*/ 15029 w 18335"/>
                  <a:gd name="connsiteY0" fmla="*/ 2160 h 18433"/>
                  <a:gd name="connsiteX1" fmla="*/ 16225 w 18335"/>
                  <a:gd name="connsiteY1" fmla="*/ 15138 h 18433"/>
                  <a:gd name="connsiteX2" fmla="*/ 3306 w 18335"/>
                  <a:gd name="connsiteY2" fmla="*/ 16274 h 18433"/>
                  <a:gd name="connsiteX3" fmla="*/ 2111 w 18335"/>
                  <a:gd name="connsiteY3" fmla="*/ 3296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8916" y="5449"/>
                      <a:pt x="19455" y="11250"/>
                      <a:pt x="16225" y="15138"/>
                    </a:cubicBezTo>
                    <a:cubicBezTo>
                      <a:pt x="12995" y="19026"/>
                      <a:pt x="7194" y="19564"/>
                      <a:pt x="3306" y="16274"/>
                    </a:cubicBezTo>
                    <a:cubicBezTo>
                      <a:pt x="-581" y="12985"/>
                      <a:pt x="-1119" y="7183"/>
                      <a:pt x="2111" y="3296"/>
                    </a:cubicBezTo>
                    <a:cubicBezTo>
                      <a:pt x="5400" y="-591"/>
                      <a:pt x="11142" y="-1130"/>
                      <a:pt x="15029" y="2160"/>
                    </a:cubicBezTo>
                    <a:close/>
                  </a:path>
                </a:pathLst>
              </a:custGeom>
              <a:grpFill/>
              <a:ln w="5978" cap="flat">
                <a:noFill/>
                <a:prstDash val="solid"/>
                <a:miter/>
              </a:ln>
            </p:spPr>
            <p:txBody>
              <a:bodyPr rtlCol="0" anchor="ctr"/>
              <a:lstStyle/>
              <a:p>
                <a:endParaRPr lang="en-GB"/>
              </a:p>
            </p:txBody>
          </p:sp>
          <p:sp>
            <p:nvSpPr>
              <p:cNvPr id="4334" name="Vrije vorm: vorm 4333">
                <a:extLst>
                  <a:ext uri="{FF2B5EF4-FFF2-40B4-BE49-F238E27FC236}">
                    <a16:creationId xmlns:a16="http://schemas.microsoft.com/office/drawing/2014/main" id="{C1A17C1F-E67C-4EEE-96B8-DB7816A8C39A}"/>
                  </a:ext>
                </a:extLst>
              </p:cNvPr>
              <p:cNvSpPr/>
              <p:nvPr/>
            </p:nvSpPr>
            <p:spPr>
              <a:xfrm>
                <a:off x="7895273" y="4961580"/>
                <a:ext cx="18335" cy="18433"/>
              </a:xfrm>
              <a:custGeom>
                <a:avLst/>
                <a:gdLst>
                  <a:gd name="connsiteX0" fmla="*/ 15029 w 18335"/>
                  <a:gd name="connsiteY0" fmla="*/ 2160 h 18433"/>
                  <a:gd name="connsiteX1" fmla="*/ 2111 w 18335"/>
                  <a:gd name="connsiteY1" fmla="*/ 3296 h 18433"/>
                  <a:gd name="connsiteX2" fmla="*/ 3306 w 18335"/>
                  <a:gd name="connsiteY2" fmla="*/ 16274 h 18433"/>
                  <a:gd name="connsiteX3" fmla="*/ 16225 w 18335"/>
                  <a:gd name="connsiteY3" fmla="*/ 15138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1142" y="-1130"/>
                      <a:pt x="5340" y="-592"/>
                      <a:pt x="2111" y="3296"/>
                    </a:cubicBezTo>
                    <a:cubicBezTo>
                      <a:pt x="-1119" y="7184"/>
                      <a:pt x="-581" y="12985"/>
                      <a:pt x="3306" y="16274"/>
                    </a:cubicBezTo>
                    <a:cubicBezTo>
                      <a:pt x="7194" y="19563"/>
                      <a:pt x="12995" y="19025"/>
                      <a:pt x="16225" y="15138"/>
                    </a:cubicBezTo>
                    <a:cubicBezTo>
                      <a:pt x="19455" y="11251"/>
                      <a:pt x="18916" y="5389"/>
                      <a:pt x="15029" y="2160"/>
                    </a:cubicBezTo>
                    <a:close/>
                  </a:path>
                </a:pathLst>
              </a:custGeom>
              <a:grpFill/>
              <a:ln w="5978" cap="flat">
                <a:noFill/>
                <a:prstDash val="solid"/>
                <a:miter/>
              </a:ln>
            </p:spPr>
            <p:txBody>
              <a:bodyPr rtlCol="0" anchor="ctr"/>
              <a:lstStyle/>
              <a:p>
                <a:endParaRPr lang="en-GB"/>
              </a:p>
            </p:txBody>
          </p:sp>
        </p:grpSp>
        <p:grpSp>
          <p:nvGrpSpPr>
            <p:cNvPr id="350" name="Graphic 3">
              <a:extLst>
                <a:ext uri="{FF2B5EF4-FFF2-40B4-BE49-F238E27FC236}">
                  <a16:creationId xmlns:a16="http://schemas.microsoft.com/office/drawing/2014/main" id="{2C458B9A-FEC5-4A12-BBF6-B2EC0F2AC671}"/>
                </a:ext>
              </a:extLst>
            </p:cNvPr>
            <p:cNvGrpSpPr/>
            <p:nvPr/>
          </p:nvGrpSpPr>
          <p:grpSpPr>
            <a:xfrm>
              <a:off x="6627662" y="1075923"/>
              <a:ext cx="318381" cy="723226"/>
              <a:chOff x="6627662" y="1075923"/>
              <a:chExt cx="318381" cy="723226"/>
            </a:xfrm>
            <a:grpFill/>
          </p:grpSpPr>
          <p:sp>
            <p:nvSpPr>
              <p:cNvPr id="4329" name="Vrije vorm: vorm 4328">
                <a:extLst>
                  <a:ext uri="{FF2B5EF4-FFF2-40B4-BE49-F238E27FC236}">
                    <a16:creationId xmlns:a16="http://schemas.microsoft.com/office/drawing/2014/main" id="{222DF69B-0828-4694-9604-5E857E4AE7B3}"/>
                  </a:ext>
                </a:extLst>
              </p:cNvPr>
              <p:cNvSpPr/>
              <p:nvPr/>
            </p:nvSpPr>
            <p:spPr>
              <a:xfrm>
                <a:off x="6635272" y="1084046"/>
                <a:ext cx="303163" cy="706921"/>
              </a:xfrm>
              <a:custGeom>
                <a:avLst/>
                <a:gdLst>
                  <a:gd name="connsiteX0" fmla="*/ 303163 w 303163"/>
                  <a:gd name="connsiteY0" fmla="*/ 1256 h 706921"/>
                  <a:gd name="connsiteX1" fmla="*/ 2811 w 303163"/>
                  <a:gd name="connsiteY1" fmla="*/ 706921 h 706921"/>
                  <a:gd name="connsiteX2" fmla="*/ 0 w 303163"/>
                  <a:gd name="connsiteY2" fmla="*/ 705725 h 706921"/>
                  <a:gd name="connsiteX3" fmla="*/ 300412 w 303163"/>
                  <a:gd name="connsiteY3" fmla="*/ 0 h 706921"/>
                </a:gdLst>
                <a:ahLst/>
                <a:cxnLst>
                  <a:cxn ang="0">
                    <a:pos x="connsiteX0" y="connsiteY0"/>
                  </a:cxn>
                  <a:cxn ang="0">
                    <a:pos x="connsiteX1" y="connsiteY1"/>
                  </a:cxn>
                  <a:cxn ang="0">
                    <a:pos x="connsiteX2" y="connsiteY2"/>
                  </a:cxn>
                  <a:cxn ang="0">
                    <a:pos x="connsiteX3" y="connsiteY3"/>
                  </a:cxn>
                </a:cxnLst>
                <a:rect l="l" t="t" r="r" b="b"/>
                <a:pathLst>
                  <a:path w="303163" h="706921">
                    <a:moveTo>
                      <a:pt x="303163" y="1256"/>
                    </a:moveTo>
                    <a:lnTo>
                      <a:pt x="2811" y="706921"/>
                    </a:lnTo>
                    <a:lnTo>
                      <a:pt x="0" y="705725"/>
                    </a:lnTo>
                    <a:lnTo>
                      <a:pt x="300412" y="0"/>
                    </a:lnTo>
                    <a:close/>
                  </a:path>
                </a:pathLst>
              </a:custGeom>
              <a:grpFill/>
              <a:ln w="5978" cap="flat">
                <a:noFill/>
                <a:prstDash val="solid"/>
                <a:miter/>
              </a:ln>
            </p:spPr>
            <p:txBody>
              <a:bodyPr rtlCol="0" anchor="ctr"/>
              <a:lstStyle/>
              <a:p>
                <a:endParaRPr lang="en-GB"/>
              </a:p>
            </p:txBody>
          </p:sp>
          <p:sp>
            <p:nvSpPr>
              <p:cNvPr id="4330" name="Vrije vorm: vorm 4329">
                <a:extLst>
                  <a:ext uri="{FF2B5EF4-FFF2-40B4-BE49-F238E27FC236}">
                    <a16:creationId xmlns:a16="http://schemas.microsoft.com/office/drawing/2014/main" id="{B50A57D0-F21A-42D0-B283-DEA6428A05E5}"/>
                  </a:ext>
                </a:extLst>
              </p:cNvPr>
              <p:cNvSpPr/>
              <p:nvPr/>
            </p:nvSpPr>
            <p:spPr>
              <a:xfrm>
                <a:off x="6627662" y="1780751"/>
                <a:ext cx="18328" cy="18399"/>
              </a:xfrm>
              <a:custGeom>
                <a:avLst/>
                <a:gdLst>
                  <a:gd name="connsiteX0" fmla="*/ 17597 w 18328"/>
                  <a:gd name="connsiteY0" fmla="*/ 12848 h 18399"/>
                  <a:gd name="connsiteX1" fmla="*/ 5576 w 18328"/>
                  <a:gd name="connsiteY1" fmla="*/ 17632 h 18399"/>
                  <a:gd name="connsiteX2" fmla="*/ 732 w 18328"/>
                  <a:gd name="connsiteY2" fmla="*/ 5551 h 18399"/>
                  <a:gd name="connsiteX3" fmla="*/ 12753 w 18328"/>
                  <a:gd name="connsiteY3" fmla="*/ 767 h 18399"/>
                  <a:gd name="connsiteX4" fmla="*/ 17597 w 18328"/>
                  <a:gd name="connsiteY4" fmla="*/ 12848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9">
                    <a:moveTo>
                      <a:pt x="17597" y="12848"/>
                    </a:moveTo>
                    <a:cubicBezTo>
                      <a:pt x="15624" y="17513"/>
                      <a:pt x="10241" y="19666"/>
                      <a:pt x="5576" y="17632"/>
                    </a:cubicBezTo>
                    <a:cubicBezTo>
                      <a:pt x="911" y="15599"/>
                      <a:pt x="-1242" y="10216"/>
                      <a:pt x="732" y="5551"/>
                    </a:cubicBezTo>
                    <a:cubicBezTo>
                      <a:pt x="2705" y="886"/>
                      <a:pt x="8088" y="-1267"/>
                      <a:pt x="12753" y="767"/>
                    </a:cubicBezTo>
                    <a:cubicBezTo>
                      <a:pt x="17418" y="2740"/>
                      <a:pt x="19571" y="8183"/>
                      <a:pt x="17597" y="12848"/>
                    </a:cubicBezTo>
                    <a:close/>
                  </a:path>
                </a:pathLst>
              </a:custGeom>
              <a:grpFill/>
              <a:ln w="5978" cap="flat">
                <a:noFill/>
                <a:prstDash val="solid"/>
                <a:miter/>
              </a:ln>
            </p:spPr>
            <p:txBody>
              <a:bodyPr rtlCol="0" anchor="ctr"/>
              <a:lstStyle/>
              <a:p>
                <a:endParaRPr lang="en-GB"/>
              </a:p>
            </p:txBody>
          </p:sp>
          <p:sp>
            <p:nvSpPr>
              <p:cNvPr id="4331" name="Vrije vorm: vorm 4330">
                <a:extLst>
                  <a:ext uri="{FF2B5EF4-FFF2-40B4-BE49-F238E27FC236}">
                    <a16:creationId xmlns:a16="http://schemas.microsoft.com/office/drawing/2014/main" id="{0452EAA6-CCC3-4F00-BD99-957FE907B98B}"/>
                  </a:ext>
                </a:extLst>
              </p:cNvPr>
              <p:cNvSpPr/>
              <p:nvPr/>
            </p:nvSpPr>
            <p:spPr>
              <a:xfrm>
                <a:off x="6927715" y="1075923"/>
                <a:ext cx="18328" cy="18398"/>
              </a:xfrm>
              <a:custGeom>
                <a:avLst/>
                <a:gdLst>
                  <a:gd name="connsiteX0" fmla="*/ 17597 w 18328"/>
                  <a:gd name="connsiteY0" fmla="*/ 12848 h 18398"/>
                  <a:gd name="connsiteX1" fmla="*/ 12753 w 18328"/>
                  <a:gd name="connsiteY1" fmla="*/ 767 h 18398"/>
                  <a:gd name="connsiteX2" fmla="*/ 732 w 18328"/>
                  <a:gd name="connsiteY2" fmla="*/ 5551 h 18398"/>
                  <a:gd name="connsiteX3" fmla="*/ 5576 w 18328"/>
                  <a:gd name="connsiteY3" fmla="*/ 17632 h 18398"/>
                  <a:gd name="connsiteX4" fmla="*/ 17597 w 18328"/>
                  <a:gd name="connsiteY4" fmla="*/ 12848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8">
                    <a:moveTo>
                      <a:pt x="17597" y="12848"/>
                    </a:moveTo>
                    <a:cubicBezTo>
                      <a:pt x="19571" y="8183"/>
                      <a:pt x="17418" y="2740"/>
                      <a:pt x="12753" y="767"/>
                    </a:cubicBezTo>
                    <a:cubicBezTo>
                      <a:pt x="8088" y="-1267"/>
                      <a:pt x="2705" y="886"/>
                      <a:pt x="732" y="5551"/>
                    </a:cubicBezTo>
                    <a:cubicBezTo>
                      <a:pt x="-1242" y="10216"/>
                      <a:pt x="911" y="15659"/>
                      <a:pt x="5576" y="17632"/>
                    </a:cubicBezTo>
                    <a:cubicBezTo>
                      <a:pt x="10241" y="19666"/>
                      <a:pt x="15624" y="17513"/>
                      <a:pt x="17597" y="12848"/>
                    </a:cubicBezTo>
                    <a:close/>
                  </a:path>
                </a:pathLst>
              </a:custGeom>
              <a:grpFill/>
              <a:ln w="5978" cap="flat">
                <a:noFill/>
                <a:prstDash val="solid"/>
                <a:miter/>
              </a:ln>
            </p:spPr>
            <p:txBody>
              <a:bodyPr rtlCol="0" anchor="ctr"/>
              <a:lstStyle/>
              <a:p>
                <a:endParaRPr lang="en-GB"/>
              </a:p>
            </p:txBody>
          </p:sp>
        </p:grpSp>
        <p:grpSp>
          <p:nvGrpSpPr>
            <p:cNvPr id="351" name="Graphic 3">
              <a:extLst>
                <a:ext uri="{FF2B5EF4-FFF2-40B4-BE49-F238E27FC236}">
                  <a16:creationId xmlns:a16="http://schemas.microsoft.com/office/drawing/2014/main" id="{B462F4EF-94A1-4CF6-9C75-AC71C18B8B77}"/>
                </a:ext>
              </a:extLst>
            </p:cNvPr>
            <p:cNvGrpSpPr/>
            <p:nvPr/>
          </p:nvGrpSpPr>
          <p:grpSpPr>
            <a:xfrm>
              <a:off x="7502625" y="4264469"/>
              <a:ext cx="615851" cy="420514"/>
              <a:chOff x="7502625" y="4264469"/>
              <a:chExt cx="615851" cy="420514"/>
            </a:xfrm>
            <a:grpFill/>
          </p:grpSpPr>
          <p:sp>
            <p:nvSpPr>
              <p:cNvPr id="4326" name="Vrije vorm: vorm 4325">
                <a:extLst>
                  <a:ext uri="{FF2B5EF4-FFF2-40B4-BE49-F238E27FC236}">
                    <a16:creationId xmlns:a16="http://schemas.microsoft.com/office/drawing/2014/main" id="{5E05DDB7-8FCF-431D-A643-CA7A1C2311F9}"/>
                  </a:ext>
                </a:extLst>
              </p:cNvPr>
              <p:cNvSpPr/>
              <p:nvPr/>
            </p:nvSpPr>
            <p:spPr>
              <a:xfrm>
                <a:off x="7510610" y="4272189"/>
                <a:ext cx="599986" cy="405133"/>
              </a:xfrm>
              <a:custGeom>
                <a:avLst/>
                <a:gdLst>
                  <a:gd name="connsiteX0" fmla="*/ 599987 w 599986"/>
                  <a:gd name="connsiteY0" fmla="*/ 402562 h 405133"/>
                  <a:gd name="connsiteX1" fmla="*/ 598252 w 599986"/>
                  <a:gd name="connsiteY1" fmla="*/ 405134 h 405133"/>
                  <a:gd name="connsiteX2" fmla="*/ 0 w 599986"/>
                  <a:gd name="connsiteY2" fmla="*/ 2572 h 405133"/>
                  <a:gd name="connsiteX3" fmla="*/ 1675 w 599986"/>
                  <a:gd name="connsiteY3" fmla="*/ 0 h 405133"/>
                </a:gdLst>
                <a:ahLst/>
                <a:cxnLst>
                  <a:cxn ang="0">
                    <a:pos x="connsiteX0" y="connsiteY0"/>
                  </a:cxn>
                  <a:cxn ang="0">
                    <a:pos x="connsiteX1" y="connsiteY1"/>
                  </a:cxn>
                  <a:cxn ang="0">
                    <a:pos x="connsiteX2" y="connsiteY2"/>
                  </a:cxn>
                  <a:cxn ang="0">
                    <a:pos x="connsiteX3" y="connsiteY3"/>
                  </a:cxn>
                </a:cxnLst>
                <a:rect l="l" t="t" r="r" b="b"/>
                <a:pathLst>
                  <a:path w="599986" h="405133">
                    <a:moveTo>
                      <a:pt x="599987" y="402562"/>
                    </a:moveTo>
                    <a:lnTo>
                      <a:pt x="598252" y="405134"/>
                    </a:lnTo>
                    <a:lnTo>
                      <a:pt x="0" y="2572"/>
                    </a:lnTo>
                    <a:lnTo>
                      <a:pt x="1675" y="0"/>
                    </a:lnTo>
                    <a:close/>
                  </a:path>
                </a:pathLst>
              </a:custGeom>
              <a:grpFill/>
              <a:ln w="5978" cap="flat">
                <a:noFill/>
                <a:prstDash val="solid"/>
                <a:miter/>
              </a:ln>
            </p:spPr>
            <p:txBody>
              <a:bodyPr rtlCol="0" anchor="ctr"/>
              <a:lstStyle/>
              <a:p>
                <a:endParaRPr lang="en-GB"/>
              </a:p>
            </p:txBody>
          </p:sp>
          <p:sp>
            <p:nvSpPr>
              <p:cNvPr id="4327" name="Vrije vorm: vorm 4326">
                <a:extLst>
                  <a:ext uri="{FF2B5EF4-FFF2-40B4-BE49-F238E27FC236}">
                    <a16:creationId xmlns:a16="http://schemas.microsoft.com/office/drawing/2014/main" id="{2EF48FEF-C774-4A85-A787-66475E3B4EF1}"/>
                  </a:ext>
                </a:extLst>
              </p:cNvPr>
              <p:cNvSpPr/>
              <p:nvPr/>
            </p:nvSpPr>
            <p:spPr>
              <a:xfrm>
                <a:off x="7502625" y="4264469"/>
                <a:ext cx="18302" cy="18457"/>
              </a:xfrm>
              <a:custGeom>
                <a:avLst/>
                <a:gdLst>
                  <a:gd name="connsiteX0" fmla="*/ 4097 w 18302"/>
                  <a:gd name="connsiteY0" fmla="*/ 16871 h 18457"/>
                  <a:gd name="connsiteX1" fmla="*/ 1526 w 18302"/>
                  <a:gd name="connsiteY1" fmla="*/ 4072 h 18457"/>
                  <a:gd name="connsiteX2" fmla="*/ 14205 w 18302"/>
                  <a:gd name="connsiteY2" fmla="*/ 1560 h 18457"/>
                  <a:gd name="connsiteX3" fmla="*/ 16776 w 18302"/>
                  <a:gd name="connsiteY3" fmla="*/ 14359 h 18457"/>
                  <a:gd name="connsiteX4" fmla="*/ 4097 w 18302"/>
                  <a:gd name="connsiteY4" fmla="*/ 16871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57">
                    <a:moveTo>
                      <a:pt x="4097" y="16871"/>
                    </a:moveTo>
                    <a:cubicBezTo>
                      <a:pt x="-89" y="14060"/>
                      <a:pt x="-1285" y="8319"/>
                      <a:pt x="1526" y="4072"/>
                    </a:cubicBezTo>
                    <a:cubicBezTo>
                      <a:pt x="4337" y="-174"/>
                      <a:pt x="10018" y="-1251"/>
                      <a:pt x="14205" y="1560"/>
                    </a:cubicBezTo>
                    <a:cubicBezTo>
                      <a:pt x="18391" y="4371"/>
                      <a:pt x="19588" y="10113"/>
                      <a:pt x="16776" y="14359"/>
                    </a:cubicBezTo>
                    <a:cubicBezTo>
                      <a:pt x="14025" y="18605"/>
                      <a:pt x="8344" y="19742"/>
                      <a:pt x="4097" y="16871"/>
                    </a:cubicBezTo>
                    <a:close/>
                  </a:path>
                </a:pathLst>
              </a:custGeom>
              <a:grpFill/>
              <a:ln w="5978" cap="flat">
                <a:noFill/>
                <a:prstDash val="solid"/>
                <a:miter/>
              </a:ln>
            </p:spPr>
            <p:txBody>
              <a:bodyPr rtlCol="0" anchor="ctr"/>
              <a:lstStyle/>
              <a:p>
                <a:endParaRPr lang="en-GB"/>
              </a:p>
            </p:txBody>
          </p:sp>
          <p:sp>
            <p:nvSpPr>
              <p:cNvPr id="4328" name="Vrije vorm: vorm 4327">
                <a:extLst>
                  <a:ext uri="{FF2B5EF4-FFF2-40B4-BE49-F238E27FC236}">
                    <a16:creationId xmlns:a16="http://schemas.microsoft.com/office/drawing/2014/main" id="{7824D91A-F323-4E69-A5FF-77FC3A577A2F}"/>
                  </a:ext>
                </a:extLst>
              </p:cNvPr>
              <p:cNvSpPr/>
              <p:nvPr/>
            </p:nvSpPr>
            <p:spPr>
              <a:xfrm>
                <a:off x="8100185" y="4666553"/>
                <a:ext cx="18291" cy="18430"/>
              </a:xfrm>
              <a:custGeom>
                <a:avLst/>
                <a:gdLst>
                  <a:gd name="connsiteX0" fmla="*/ 4071 w 18291"/>
                  <a:gd name="connsiteY0" fmla="*/ 16871 h 18430"/>
                  <a:gd name="connsiteX1" fmla="*/ 16750 w 18291"/>
                  <a:gd name="connsiteY1" fmla="*/ 14359 h 18430"/>
                  <a:gd name="connsiteX2" fmla="*/ 14179 w 18291"/>
                  <a:gd name="connsiteY2" fmla="*/ 1560 h 18430"/>
                  <a:gd name="connsiteX3" fmla="*/ 1500 w 18291"/>
                  <a:gd name="connsiteY3" fmla="*/ 4072 h 18430"/>
                  <a:gd name="connsiteX4" fmla="*/ 4071 w 18291"/>
                  <a:gd name="connsiteY4" fmla="*/ 1687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30">
                    <a:moveTo>
                      <a:pt x="4071" y="16871"/>
                    </a:moveTo>
                    <a:cubicBezTo>
                      <a:pt x="8258" y="19682"/>
                      <a:pt x="13999" y="18605"/>
                      <a:pt x="16750" y="14359"/>
                    </a:cubicBezTo>
                    <a:cubicBezTo>
                      <a:pt x="19561" y="10113"/>
                      <a:pt x="18425" y="4431"/>
                      <a:pt x="14179" y="1560"/>
                    </a:cubicBezTo>
                    <a:cubicBezTo>
                      <a:pt x="9992" y="-1251"/>
                      <a:pt x="4251" y="-174"/>
                      <a:pt x="1500" y="4072"/>
                    </a:cubicBezTo>
                    <a:cubicBezTo>
                      <a:pt x="-1252" y="8318"/>
                      <a:pt x="-115" y="14060"/>
                      <a:pt x="4071" y="16871"/>
                    </a:cubicBezTo>
                    <a:close/>
                  </a:path>
                </a:pathLst>
              </a:custGeom>
              <a:grpFill/>
              <a:ln w="5978" cap="flat">
                <a:noFill/>
                <a:prstDash val="solid"/>
                <a:miter/>
              </a:ln>
            </p:spPr>
            <p:txBody>
              <a:bodyPr rtlCol="0" anchor="ctr"/>
              <a:lstStyle/>
              <a:p>
                <a:endParaRPr lang="en-GB"/>
              </a:p>
            </p:txBody>
          </p:sp>
        </p:grpSp>
        <p:grpSp>
          <p:nvGrpSpPr>
            <p:cNvPr id="352" name="Graphic 3">
              <a:extLst>
                <a:ext uri="{FF2B5EF4-FFF2-40B4-BE49-F238E27FC236}">
                  <a16:creationId xmlns:a16="http://schemas.microsoft.com/office/drawing/2014/main" id="{0C122E6F-81F6-409D-8CF7-73AC704C92EF}"/>
                </a:ext>
              </a:extLst>
            </p:cNvPr>
            <p:cNvGrpSpPr/>
            <p:nvPr/>
          </p:nvGrpSpPr>
          <p:grpSpPr>
            <a:xfrm>
              <a:off x="6707311" y="1311966"/>
              <a:ext cx="286233" cy="547007"/>
              <a:chOff x="6707311" y="1311966"/>
              <a:chExt cx="286233" cy="547007"/>
            </a:xfrm>
            <a:grpFill/>
          </p:grpSpPr>
          <p:sp>
            <p:nvSpPr>
              <p:cNvPr id="4323" name="Vrije vorm: vorm 4322">
                <a:extLst>
                  <a:ext uri="{FF2B5EF4-FFF2-40B4-BE49-F238E27FC236}">
                    <a16:creationId xmlns:a16="http://schemas.microsoft.com/office/drawing/2014/main" id="{1515CA41-33D8-4859-8E04-37EBDCAB2732}"/>
                  </a:ext>
                </a:extLst>
              </p:cNvPr>
              <p:cNvSpPr/>
              <p:nvPr/>
            </p:nvSpPr>
            <p:spPr>
              <a:xfrm>
                <a:off x="6714875" y="1320045"/>
                <a:ext cx="271106" cy="530789"/>
              </a:xfrm>
              <a:custGeom>
                <a:avLst/>
                <a:gdLst>
                  <a:gd name="connsiteX0" fmla="*/ 271106 w 271106"/>
                  <a:gd name="connsiteY0" fmla="*/ 1376 h 530789"/>
                  <a:gd name="connsiteX1" fmla="*/ 2751 w 271106"/>
                  <a:gd name="connsiteY1" fmla="*/ 530789 h 530789"/>
                  <a:gd name="connsiteX2" fmla="*/ 0 w 271106"/>
                  <a:gd name="connsiteY2" fmla="*/ 529413 h 530789"/>
                  <a:gd name="connsiteX3" fmla="*/ 268355 w 271106"/>
                  <a:gd name="connsiteY3" fmla="*/ 0 h 530789"/>
                </a:gdLst>
                <a:ahLst/>
                <a:cxnLst>
                  <a:cxn ang="0">
                    <a:pos x="connsiteX0" y="connsiteY0"/>
                  </a:cxn>
                  <a:cxn ang="0">
                    <a:pos x="connsiteX1" y="connsiteY1"/>
                  </a:cxn>
                  <a:cxn ang="0">
                    <a:pos x="connsiteX2" y="connsiteY2"/>
                  </a:cxn>
                  <a:cxn ang="0">
                    <a:pos x="connsiteX3" y="connsiteY3"/>
                  </a:cxn>
                </a:cxnLst>
                <a:rect l="l" t="t" r="r" b="b"/>
                <a:pathLst>
                  <a:path w="271106" h="530789">
                    <a:moveTo>
                      <a:pt x="271106" y="1376"/>
                    </a:moveTo>
                    <a:lnTo>
                      <a:pt x="2751" y="530789"/>
                    </a:lnTo>
                    <a:lnTo>
                      <a:pt x="0" y="529413"/>
                    </a:lnTo>
                    <a:lnTo>
                      <a:pt x="268355" y="0"/>
                    </a:lnTo>
                    <a:close/>
                  </a:path>
                </a:pathLst>
              </a:custGeom>
              <a:grpFill/>
              <a:ln w="5978" cap="flat">
                <a:noFill/>
                <a:prstDash val="solid"/>
                <a:miter/>
              </a:ln>
            </p:spPr>
            <p:txBody>
              <a:bodyPr rtlCol="0" anchor="ctr"/>
              <a:lstStyle/>
              <a:p>
                <a:endParaRPr lang="en-GB"/>
              </a:p>
            </p:txBody>
          </p:sp>
          <p:sp>
            <p:nvSpPr>
              <p:cNvPr id="4324" name="Vrije vorm: vorm 4323">
                <a:extLst>
                  <a:ext uri="{FF2B5EF4-FFF2-40B4-BE49-F238E27FC236}">
                    <a16:creationId xmlns:a16="http://schemas.microsoft.com/office/drawing/2014/main" id="{61F96FAA-1E1B-4867-BF92-07E73071702C}"/>
                  </a:ext>
                </a:extLst>
              </p:cNvPr>
              <p:cNvSpPr/>
              <p:nvPr/>
            </p:nvSpPr>
            <p:spPr>
              <a:xfrm>
                <a:off x="6707311" y="1840542"/>
                <a:ext cx="18297" cy="18431"/>
              </a:xfrm>
              <a:custGeom>
                <a:avLst/>
                <a:gdLst>
                  <a:gd name="connsiteX0" fmla="*/ 17312 w 18297"/>
                  <a:gd name="connsiteY0" fmla="*/ 13402 h 18431"/>
                  <a:gd name="connsiteX1" fmla="*/ 4992 w 18297"/>
                  <a:gd name="connsiteY1" fmla="*/ 17409 h 18431"/>
                  <a:gd name="connsiteX2" fmla="*/ 985 w 18297"/>
                  <a:gd name="connsiteY2" fmla="*/ 5029 h 18431"/>
                  <a:gd name="connsiteX3" fmla="*/ 13305 w 18297"/>
                  <a:gd name="connsiteY3" fmla="*/ 1022 h 18431"/>
                  <a:gd name="connsiteX4" fmla="*/ 17312 w 18297"/>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1">
                    <a:moveTo>
                      <a:pt x="17312" y="13402"/>
                    </a:moveTo>
                    <a:cubicBezTo>
                      <a:pt x="15039" y="17948"/>
                      <a:pt x="9477" y="19742"/>
                      <a:pt x="4992" y="17409"/>
                    </a:cubicBezTo>
                    <a:cubicBezTo>
                      <a:pt x="506" y="15077"/>
                      <a:pt x="-1288" y="9515"/>
                      <a:pt x="985" y="5029"/>
                    </a:cubicBezTo>
                    <a:cubicBezTo>
                      <a:pt x="3258" y="484"/>
                      <a:pt x="8820" y="-1310"/>
                      <a:pt x="13305" y="1022"/>
                    </a:cubicBezTo>
                    <a:cubicBezTo>
                      <a:pt x="17791" y="3295"/>
                      <a:pt x="19585" y="8857"/>
                      <a:pt x="17312" y="13402"/>
                    </a:cubicBezTo>
                    <a:close/>
                  </a:path>
                </a:pathLst>
              </a:custGeom>
              <a:grpFill/>
              <a:ln w="5978" cap="flat">
                <a:noFill/>
                <a:prstDash val="solid"/>
                <a:miter/>
              </a:ln>
            </p:spPr>
            <p:txBody>
              <a:bodyPr rtlCol="0" anchor="ctr"/>
              <a:lstStyle/>
              <a:p>
                <a:endParaRPr lang="en-GB"/>
              </a:p>
            </p:txBody>
          </p:sp>
          <p:sp>
            <p:nvSpPr>
              <p:cNvPr id="4325" name="Vrije vorm: vorm 4324">
                <a:extLst>
                  <a:ext uri="{FF2B5EF4-FFF2-40B4-BE49-F238E27FC236}">
                    <a16:creationId xmlns:a16="http://schemas.microsoft.com/office/drawing/2014/main" id="{0107099C-1E50-4BB4-A38D-26755DFE096F}"/>
                  </a:ext>
                </a:extLst>
              </p:cNvPr>
              <p:cNvSpPr/>
              <p:nvPr/>
            </p:nvSpPr>
            <p:spPr>
              <a:xfrm>
                <a:off x="6975248" y="1311966"/>
                <a:ext cx="18297" cy="18405"/>
              </a:xfrm>
              <a:custGeom>
                <a:avLst/>
                <a:gdLst>
                  <a:gd name="connsiteX0" fmla="*/ 17312 w 18297"/>
                  <a:gd name="connsiteY0" fmla="*/ 13402 h 18405"/>
                  <a:gd name="connsiteX1" fmla="*/ 13305 w 18297"/>
                  <a:gd name="connsiteY1" fmla="*/ 1022 h 18405"/>
                  <a:gd name="connsiteX2" fmla="*/ 985 w 18297"/>
                  <a:gd name="connsiteY2" fmla="*/ 5029 h 18405"/>
                  <a:gd name="connsiteX3" fmla="*/ 4992 w 18297"/>
                  <a:gd name="connsiteY3" fmla="*/ 17409 h 18405"/>
                  <a:gd name="connsiteX4" fmla="*/ 17312 w 18297"/>
                  <a:gd name="connsiteY4" fmla="*/ 1340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17312" y="13402"/>
                    </a:moveTo>
                    <a:cubicBezTo>
                      <a:pt x="19585" y="8857"/>
                      <a:pt x="17791" y="3295"/>
                      <a:pt x="13305" y="1022"/>
                    </a:cubicBezTo>
                    <a:cubicBezTo>
                      <a:pt x="8820" y="-1310"/>
                      <a:pt x="3258" y="484"/>
                      <a:pt x="985" y="5029"/>
                    </a:cubicBezTo>
                    <a:cubicBezTo>
                      <a:pt x="-1288" y="9575"/>
                      <a:pt x="507" y="15137"/>
                      <a:pt x="4992" y="17409"/>
                    </a:cubicBezTo>
                    <a:cubicBezTo>
                      <a:pt x="9478" y="19682"/>
                      <a:pt x="15039" y="17948"/>
                      <a:pt x="17312" y="13402"/>
                    </a:cubicBezTo>
                    <a:close/>
                  </a:path>
                </a:pathLst>
              </a:custGeom>
              <a:grpFill/>
              <a:ln w="5978" cap="flat">
                <a:noFill/>
                <a:prstDash val="solid"/>
                <a:miter/>
              </a:ln>
            </p:spPr>
            <p:txBody>
              <a:bodyPr rtlCol="0" anchor="ctr"/>
              <a:lstStyle/>
              <a:p>
                <a:endParaRPr lang="en-GB"/>
              </a:p>
            </p:txBody>
          </p:sp>
        </p:grpSp>
        <p:grpSp>
          <p:nvGrpSpPr>
            <p:cNvPr id="353" name="Graphic 3">
              <a:extLst>
                <a:ext uri="{FF2B5EF4-FFF2-40B4-BE49-F238E27FC236}">
                  <a16:creationId xmlns:a16="http://schemas.microsoft.com/office/drawing/2014/main" id="{8283A6BF-40CE-4EBA-9132-A4C93B45D097}"/>
                </a:ext>
              </a:extLst>
            </p:cNvPr>
            <p:cNvGrpSpPr/>
            <p:nvPr/>
          </p:nvGrpSpPr>
          <p:grpSpPr>
            <a:xfrm>
              <a:off x="7554082" y="4220819"/>
              <a:ext cx="459368" cy="301925"/>
              <a:chOff x="7554082" y="4220819"/>
              <a:chExt cx="459368" cy="301925"/>
            </a:xfrm>
            <a:grpFill/>
          </p:grpSpPr>
          <p:sp>
            <p:nvSpPr>
              <p:cNvPr id="4320" name="Vrije vorm: vorm 4319">
                <a:extLst>
                  <a:ext uri="{FF2B5EF4-FFF2-40B4-BE49-F238E27FC236}">
                    <a16:creationId xmlns:a16="http://schemas.microsoft.com/office/drawing/2014/main" id="{707D4DE6-A50E-47C6-B3FF-5D7FFB89D674}"/>
                  </a:ext>
                </a:extLst>
              </p:cNvPr>
              <p:cNvSpPr/>
              <p:nvPr/>
            </p:nvSpPr>
            <p:spPr>
              <a:xfrm>
                <a:off x="7562044" y="4228530"/>
                <a:ext cx="443470" cy="286536"/>
              </a:xfrm>
              <a:custGeom>
                <a:avLst/>
                <a:gdLst>
                  <a:gd name="connsiteX0" fmla="*/ 443471 w 443470"/>
                  <a:gd name="connsiteY0" fmla="*/ 283965 h 286536"/>
                  <a:gd name="connsiteX1" fmla="*/ 441856 w 443470"/>
                  <a:gd name="connsiteY1" fmla="*/ 286536 h 286536"/>
                  <a:gd name="connsiteX2" fmla="*/ 0 w 443470"/>
                  <a:gd name="connsiteY2" fmla="*/ 2572 h 286536"/>
                  <a:gd name="connsiteX3" fmla="*/ 1615 w 443470"/>
                  <a:gd name="connsiteY3" fmla="*/ 0 h 286536"/>
                </a:gdLst>
                <a:ahLst/>
                <a:cxnLst>
                  <a:cxn ang="0">
                    <a:pos x="connsiteX0" y="connsiteY0"/>
                  </a:cxn>
                  <a:cxn ang="0">
                    <a:pos x="connsiteX1" y="connsiteY1"/>
                  </a:cxn>
                  <a:cxn ang="0">
                    <a:pos x="connsiteX2" y="connsiteY2"/>
                  </a:cxn>
                  <a:cxn ang="0">
                    <a:pos x="connsiteX3" y="connsiteY3"/>
                  </a:cxn>
                </a:cxnLst>
                <a:rect l="l" t="t" r="r" b="b"/>
                <a:pathLst>
                  <a:path w="443470" h="286536">
                    <a:moveTo>
                      <a:pt x="443471" y="283965"/>
                    </a:moveTo>
                    <a:lnTo>
                      <a:pt x="441856" y="286536"/>
                    </a:lnTo>
                    <a:lnTo>
                      <a:pt x="0" y="2572"/>
                    </a:lnTo>
                    <a:lnTo>
                      <a:pt x="1615" y="0"/>
                    </a:lnTo>
                    <a:close/>
                  </a:path>
                </a:pathLst>
              </a:custGeom>
              <a:grpFill/>
              <a:ln w="5978" cap="flat">
                <a:noFill/>
                <a:prstDash val="solid"/>
                <a:miter/>
              </a:ln>
            </p:spPr>
            <p:txBody>
              <a:bodyPr rtlCol="0" anchor="ctr"/>
              <a:lstStyle/>
              <a:p>
                <a:endParaRPr lang="en-GB"/>
              </a:p>
            </p:txBody>
          </p:sp>
          <p:sp>
            <p:nvSpPr>
              <p:cNvPr id="4321" name="Vrije vorm: vorm 4320">
                <a:extLst>
                  <a:ext uri="{FF2B5EF4-FFF2-40B4-BE49-F238E27FC236}">
                    <a16:creationId xmlns:a16="http://schemas.microsoft.com/office/drawing/2014/main" id="{7822DC30-EE87-4106-AE3E-32C85DD943C8}"/>
                  </a:ext>
                </a:extLst>
              </p:cNvPr>
              <p:cNvSpPr/>
              <p:nvPr/>
            </p:nvSpPr>
            <p:spPr>
              <a:xfrm>
                <a:off x="7554082" y="4220819"/>
                <a:ext cx="18376" cy="18439"/>
              </a:xfrm>
              <a:custGeom>
                <a:avLst/>
                <a:gdLst>
                  <a:gd name="connsiteX0" fmla="*/ 4254 w 18376"/>
                  <a:gd name="connsiteY0" fmla="*/ 16981 h 18439"/>
                  <a:gd name="connsiteX1" fmla="*/ 1443 w 18376"/>
                  <a:gd name="connsiteY1" fmla="*/ 4242 h 18439"/>
                  <a:gd name="connsiteX2" fmla="*/ 14122 w 18376"/>
                  <a:gd name="connsiteY2" fmla="*/ 1432 h 18439"/>
                  <a:gd name="connsiteX3" fmla="*/ 16933 w 18376"/>
                  <a:gd name="connsiteY3" fmla="*/ 14170 h 18439"/>
                  <a:gd name="connsiteX4" fmla="*/ 4254 w 18376"/>
                  <a:gd name="connsiteY4" fmla="*/ 16981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9">
                    <a:moveTo>
                      <a:pt x="4254" y="16981"/>
                    </a:moveTo>
                    <a:cubicBezTo>
                      <a:pt x="8" y="14230"/>
                      <a:pt x="-1308" y="8549"/>
                      <a:pt x="1443" y="4242"/>
                    </a:cubicBezTo>
                    <a:cubicBezTo>
                      <a:pt x="4135" y="-64"/>
                      <a:pt x="9816" y="-1260"/>
                      <a:pt x="14122" y="1432"/>
                    </a:cubicBezTo>
                    <a:cubicBezTo>
                      <a:pt x="18368" y="4182"/>
                      <a:pt x="19685" y="9864"/>
                      <a:pt x="16933" y="14170"/>
                    </a:cubicBezTo>
                    <a:cubicBezTo>
                      <a:pt x="14182" y="18476"/>
                      <a:pt x="8501" y="19733"/>
                      <a:pt x="4254" y="16981"/>
                    </a:cubicBezTo>
                    <a:close/>
                  </a:path>
                </a:pathLst>
              </a:custGeom>
              <a:grpFill/>
              <a:ln w="5978" cap="flat">
                <a:noFill/>
                <a:prstDash val="solid"/>
                <a:miter/>
              </a:ln>
            </p:spPr>
            <p:txBody>
              <a:bodyPr rtlCol="0" anchor="ctr"/>
              <a:lstStyle/>
              <a:p>
                <a:endParaRPr lang="en-GB"/>
              </a:p>
            </p:txBody>
          </p:sp>
          <p:sp>
            <p:nvSpPr>
              <p:cNvPr id="4322" name="Vrije vorm: vorm 4321">
                <a:extLst>
                  <a:ext uri="{FF2B5EF4-FFF2-40B4-BE49-F238E27FC236}">
                    <a16:creationId xmlns:a16="http://schemas.microsoft.com/office/drawing/2014/main" id="{EEF5924D-C0A3-43DE-B4B8-22886B783F1C}"/>
                  </a:ext>
                </a:extLst>
              </p:cNvPr>
              <p:cNvSpPr/>
              <p:nvPr/>
            </p:nvSpPr>
            <p:spPr>
              <a:xfrm>
                <a:off x="7995146" y="4504278"/>
                <a:ext cx="18304" cy="18465"/>
              </a:xfrm>
              <a:custGeom>
                <a:avLst/>
                <a:gdLst>
                  <a:gd name="connsiteX0" fmla="*/ 4269 w 18304"/>
                  <a:gd name="connsiteY0" fmla="*/ 17008 h 18465"/>
                  <a:gd name="connsiteX1" fmla="*/ 16888 w 18304"/>
                  <a:gd name="connsiteY1" fmla="*/ 14197 h 18465"/>
                  <a:gd name="connsiteX2" fmla="*/ 14077 w 18304"/>
                  <a:gd name="connsiteY2" fmla="*/ 1458 h 18465"/>
                  <a:gd name="connsiteX3" fmla="*/ 1458 w 18304"/>
                  <a:gd name="connsiteY3" fmla="*/ 4269 h 18465"/>
                  <a:gd name="connsiteX4" fmla="*/ 4269 w 18304"/>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65">
                    <a:moveTo>
                      <a:pt x="4269" y="17008"/>
                    </a:moveTo>
                    <a:cubicBezTo>
                      <a:pt x="8515" y="19759"/>
                      <a:pt x="14197" y="18503"/>
                      <a:pt x="16888" y="14197"/>
                    </a:cubicBezTo>
                    <a:cubicBezTo>
                      <a:pt x="19580" y="9891"/>
                      <a:pt x="18324" y="4209"/>
                      <a:pt x="14077" y="1458"/>
                    </a:cubicBezTo>
                    <a:cubicBezTo>
                      <a:pt x="9831" y="-1293"/>
                      <a:pt x="4150" y="-37"/>
                      <a:pt x="1458" y="4269"/>
                    </a:cubicBezTo>
                    <a:cubicBezTo>
                      <a:pt x="-1293" y="8575"/>
                      <a:pt x="-37" y="14257"/>
                      <a:pt x="4269" y="17008"/>
                    </a:cubicBezTo>
                    <a:close/>
                  </a:path>
                </a:pathLst>
              </a:custGeom>
              <a:grpFill/>
              <a:ln w="5978" cap="flat">
                <a:noFill/>
                <a:prstDash val="solid"/>
                <a:miter/>
              </a:ln>
            </p:spPr>
            <p:txBody>
              <a:bodyPr rtlCol="0" anchor="ctr"/>
              <a:lstStyle/>
              <a:p>
                <a:endParaRPr lang="en-GB"/>
              </a:p>
            </p:txBody>
          </p:sp>
        </p:grpSp>
        <p:grpSp>
          <p:nvGrpSpPr>
            <p:cNvPr id="354" name="Graphic 3">
              <a:extLst>
                <a:ext uri="{FF2B5EF4-FFF2-40B4-BE49-F238E27FC236}">
                  <a16:creationId xmlns:a16="http://schemas.microsoft.com/office/drawing/2014/main" id="{C98B54B0-E37E-4A41-A1B9-B51E9FAC2AB1}"/>
                </a:ext>
              </a:extLst>
            </p:cNvPr>
            <p:cNvGrpSpPr/>
            <p:nvPr/>
          </p:nvGrpSpPr>
          <p:grpSpPr>
            <a:xfrm>
              <a:off x="7563023" y="4189634"/>
              <a:ext cx="418274" cy="268397"/>
              <a:chOff x="7563023" y="4189634"/>
              <a:chExt cx="418274" cy="268397"/>
            </a:xfrm>
            <a:grpFill/>
          </p:grpSpPr>
          <p:sp>
            <p:nvSpPr>
              <p:cNvPr id="4317" name="Vrije vorm: vorm 4316">
                <a:extLst>
                  <a:ext uri="{FF2B5EF4-FFF2-40B4-BE49-F238E27FC236}">
                    <a16:creationId xmlns:a16="http://schemas.microsoft.com/office/drawing/2014/main" id="{C3132733-C16F-49B8-97A4-5BF01A65019B}"/>
                  </a:ext>
                </a:extLst>
              </p:cNvPr>
              <p:cNvSpPr/>
              <p:nvPr/>
            </p:nvSpPr>
            <p:spPr>
              <a:xfrm>
                <a:off x="7571015" y="4197310"/>
                <a:ext cx="402323" cy="253044"/>
              </a:xfrm>
              <a:custGeom>
                <a:avLst/>
                <a:gdLst>
                  <a:gd name="connsiteX0" fmla="*/ 402323 w 402323"/>
                  <a:gd name="connsiteY0" fmla="*/ 250413 h 253044"/>
                  <a:gd name="connsiteX1" fmla="*/ 400708 w 402323"/>
                  <a:gd name="connsiteY1" fmla="*/ 253044 h 253044"/>
                  <a:gd name="connsiteX2" fmla="*/ 0 w 402323"/>
                  <a:gd name="connsiteY2" fmla="*/ 2572 h 253044"/>
                  <a:gd name="connsiteX3" fmla="*/ 1615 w 402323"/>
                  <a:gd name="connsiteY3" fmla="*/ 0 h 253044"/>
                </a:gdLst>
                <a:ahLst/>
                <a:cxnLst>
                  <a:cxn ang="0">
                    <a:pos x="connsiteX0" y="connsiteY0"/>
                  </a:cxn>
                  <a:cxn ang="0">
                    <a:pos x="connsiteX1" y="connsiteY1"/>
                  </a:cxn>
                  <a:cxn ang="0">
                    <a:pos x="connsiteX2" y="connsiteY2"/>
                  </a:cxn>
                  <a:cxn ang="0">
                    <a:pos x="connsiteX3" y="connsiteY3"/>
                  </a:cxn>
                </a:cxnLst>
                <a:rect l="l" t="t" r="r" b="b"/>
                <a:pathLst>
                  <a:path w="402323" h="253044">
                    <a:moveTo>
                      <a:pt x="402323" y="250413"/>
                    </a:moveTo>
                    <a:lnTo>
                      <a:pt x="400708" y="253044"/>
                    </a:lnTo>
                    <a:lnTo>
                      <a:pt x="0" y="2572"/>
                    </a:lnTo>
                    <a:lnTo>
                      <a:pt x="1615" y="0"/>
                    </a:lnTo>
                    <a:close/>
                  </a:path>
                </a:pathLst>
              </a:custGeom>
              <a:grpFill/>
              <a:ln w="5978" cap="flat">
                <a:noFill/>
                <a:prstDash val="solid"/>
                <a:miter/>
              </a:ln>
            </p:spPr>
            <p:txBody>
              <a:bodyPr rtlCol="0" anchor="ctr"/>
              <a:lstStyle/>
              <a:p>
                <a:endParaRPr lang="en-GB"/>
              </a:p>
            </p:txBody>
          </p:sp>
          <p:sp>
            <p:nvSpPr>
              <p:cNvPr id="4318" name="Vrije vorm: vorm 4317">
                <a:extLst>
                  <a:ext uri="{FF2B5EF4-FFF2-40B4-BE49-F238E27FC236}">
                    <a16:creationId xmlns:a16="http://schemas.microsoft.com/office/drawing/2014/main" id="{3F65BDC3-B03E-49DB-99FD-AA92A94B6CB9}"/>
                  </a:ext>
                </a:extLst>
              </p:cNvPr>
              <p:cNvSpPr/>
              <p:nvPr/>
            </p:nvSpPr>
            <p:spPr>
              <a:xfrm>
                <a:off x="7563023" y="4189634"/>
                <a:ext cx="18316" cy="18403"/>
              </a:xfrm>
              <a:custGeom>
                <a:avLst/>
                <a:gdLst>
                  <a:gd name="connsiteX0" fmla="*/ 4344 w 18316"/>
                  <a:gd name="connsiteY0" fmla="*/ 17007 h 18403"/>
                  <a:gd name="connsiteX1" fmla="*/ 1353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3" y="4327"/>
                    </a:cubicBezTo>
                    <a:cubicBezTo>
                      <a:pt x="3985" y="21"/>
                      <a:pt x="9667" y="-1294"/>
                      <a:pt x="13973" y="1397"/>
                    </a:cubicBezTo>
                    <a:cubicBezTo>
                      <a:pt x="18279" y="4088"/>
                      <a:pt x="19595" y="9770"/>
                      <a:pt x="16963" y="14076"/>
                    </a:cubicBezTo>
                    <a:cubicBezTo>
                      <a:pt x="14332" y="18382"/>
                      <a:pt x="8650" y="19698"/>
                      <a:pt x="4344" y="17007"/>
                    </a:cubicBezTo>
                    <a:close/>
                  </a:path>
                </a:pathLst>
              </a:custGeom>
              <a:grpFill/>
              <a:ln w="5978" cap="flat">
                <a:noFill/>
                <a:prstDash val="solid"/>
                <a:miter/>
              </a:ln>
            </p:spPr>
            <p:txBody>
              <a:bodyPr rtlCol="0" anchor="ctr"/>
              <a:lstStyle/>
              <a:p>
                <a:endParaRPr lang="en-GB"/>
              </a:p>
            </p:txBody>
          </p:sp>
          <p:sp>
            <p:nvSpPr>
              <p:cNvPr id="4319" name="Vrije vorm: vorm 4318">
                <a:extLst>
                  <a:ext uri="{FF2B5EF4-FFF2-40B4-BE49-F238E27FC236}">
                    <a16:creationId xmlns:a16="http://schemas.microsoft.com/office/drawing/2014/main" id="{B2695965-D95F-44EC-99F5-D46B4C838376}"/>
                  </a:ext>
                </a:extLst>
              </p:cNvPr>
              <p:cNvSpPr/>
              <p:nvPr/>
            </p:nvSpPr>
            <p:spPr>
              <a:xfrm>
                <a:off x="7962954" y="4439628"/>
                <a:ext cx="18343" cy="18403"/>
              </a:xfrm>
              <a:custGeom>
                <a:avLst/>
                <a:gdLst>
                  <a:gd name="connsiteX0" fmla="*/ 4344 w 18343"/>
                  <a:gd name="connsiteY0" fmla="*/ 17007 h 18403"/>
                  <a:gd name="connsiteX1" fmla="*/ 16963 w 18343"/>
                  <a:gd name="connsiteY1" fmla="*/ 14076 h 18403"/>
                  <a:gd name="connsiteX2" fmla="*/ 13973 w 18343"/>
                  <a:gd name="connsiteY2" fmla="*/ 1397 h 18403"/>
                  <a:gd name="connsiteX3" fmla="*/ 1353 w 18343"/>
                  <a:gd name="connsiteY3" fmla="*/ 4328 h 18403"/>
                  <a:gd name="connsiteX4" fmla="*/ 4344 w 18343"/>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4344" y="17007"/>
                    </a:moveTo>
                    <a:cubicBezTo>
                      <a:pt x="8650" y="19698"/>
                      <a:pt x="14272" y="18382"/>
                      <a:pt x="16963" y="14076"/>
                    </a:cubicBezTo>
                    <a:cubicBezTo>
                      <a:pt x="19655" y="9770"/>
                      <a:pt x="18279" y="4088"/>
                      <a:pt x="13973" y="1397"/>
                    </a:cubicBezTo>
                    <a:cubicBezTo>
                      <a:pt x="9667" y="-1294"/>
                      <a:pt x="4045" y="21"/>
                      <a:pt x="1353" y="4328"/>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355" name="Graphic 3">
              <a:extLst>
                <a:ext uri="{FF2B5EF4-FFF2-40B4-BE49-F238E27FC236}">
                  <a16:creationId xmlns:a16="http://schemas.microsoft.com/office/drawing/2014/main" id="{76675429-29BE-4ADC-A40E-377B32EC849B}"/>
                </a:ext>
              </a:extLst>
            </p:cNvPr>
            <p:cNvGrpSpPr/>
            <p:nvPr/>
          </p:nvGrpSpPr>
          <p:grpSpPr>
            <a:xfrm>
              <a:off x="7724995" y="4232921"/>
              <a:ext cx="20980" cy="19745"/>
              <a:chOff x="7724995" y="4232921"/>
              <a:chExt cx="20980" cy="19745"/>
            </a:xfrm>
            <a:grpFill/>
          </p:grpSpPr>
          <p:sp>
            <p:nvSpPr>
              <p:cNvPr id="4315" name="Vrije vorm: vorm 4314">
                <a:extLst>
                  <a:ext uri="{FF2B5EF4-FFF2-40B4-BE49-F238E27FC236}">
                    <a16:creationId xmlns:a16="http://schemas.microsoft.com/office/drawing/2014/main" id="{1DE6BA75-94C4-4EC8-ADE2-0277630885B4}"/>
                  </a:ext>
                </a:extLst>
              </p:cNvPr>
              <p:cNvSpPr/>
              <p:nvPr/>
            </p:nvSpPr>
            <p:spPr>
              <a:xfrm>
                <a:off x="7724995" y="4232921"/>
                <a:ext cx="18349" cy="18418"/>
              </a:xfrm>
              <a:custGeom>
                <a:avLst/>
                <a:gdLst>
                  <a:gd name="connsiteX0" fmla="*/ 13182 w 18349"/>
                  <a:gd name="connsiteY0" fmla="*/ 931 h 18418"/>
                  <a:gd name="connsiteX1" fmla="*/ 17428 w 18349"/>
                  <a:gd name="connsiteY1" fmla="*/ 13252 h 18418"/>
                  <a:gd name="connsiteX2" fmla="*/ 5168 w 18349"/>
                  <a:gd name="connsiteY2" fmla="*/ 17498 h 18418"/>
                  <a:gd name="connsiteX3" fmla="*/ 921 w 18349"/>
                  <a:gd name="connsiteY3" fmla="*/ 5178 h 18418"/>
                  <a:gd name="connsiteX4" fmla="*/ 13182 w 18349"/>
                  <a:gd name="connsiteY4" fmla="*/ 93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8">
                    <a:moveTo>
                      <a:pt x="13182" y="931"/>
                    </a:moveTo>
                    <a:cubicBezTo>
                      <a:pt x="17727" y="3144"/>
                      <a:pt x="19641" y="8706"/>
                      <a:pt x="17428" y="13252"/>
                    </a:cubicBezTo>
                    <a:cubicBezTo>
                      <a:pt x="15215" y="17797"/>
                      <a:pt x="9712" y="19711"/>
                      <a:pt x="5168" y="17498"/>
                    </a:cubicBezTo>
                    <a:cubicBezTo>
                      <a:pt x="622" y="15285"/>
                      <a:pt x="-1292" y="9723"/>
                      <a:pt x="921" y="5178"/>
                    </a:cubicBezTo>
                    <a:cubicBezTo>
                      <a:pt x="3134" y="573"/>
                      <a:pt x="8636" y="-1281"/>
                      <a:pt x="13182" y="931"/>
                    </a:cubicBezTo>
                    <a:close/>
                  </a:path>
                </a:pathLst>
              </a:custGeom>
              <a:grpFill/>
              <a:ln w="5978" cap="flat">
                <a:noFill/>
                <a:prstDash val="solid"/>
                <a:miter/>
              </a:ln>
            </p:spPr>
            <p:txBody>
              <a:bodyPr rtlCol="0" anchor="ctr"/>
              <a:lstStyle/>
              <a:p>
                <a:endParaRPr lang="en-GB"/>
              </a:p>
            </p:txBody>
          </p:sp>
          <p:sp>
            <p:nvSpPr>
              <p:cNvPr id="4316" name="Vrije vorm: vorm 4315">
                <a:extLst>
                  <a:ext uri="{FF2B5EF4-FFF2-40B4-BE49-F238E27FC236}">
                    <a16:creationId xmlns:a16="http://schemas.microsoft.com/office/drawing/2014/main" id="{2948C21F-C319-41FC-9241-60DDC46747C6}"/>
                  </a:ext>
                </a:extLst>
              </p:cNvPr>
              <p:cNvSpPr/>
              <p:nvPr/>
            </p:nvSpPr>
            <p:spPr>
              <a:xfrm>
                <a:off x="7727627" y="4234237"/>
                <a:ext cx="18349" cy="18429"/>
              </a:xfrm>
              <a:custGeom>
                <a:avLst/>
                <a:gdLst>
                  <a:gd name="connsiteX0" fmla="*/ 13181 w 18349"/>
                  <a:gd name="connsiteY0" fmla="*/ 931 h 18429"/>
                  <a:gd name="connsiteX1" fmla="*/ 921 w 18349"/>
                  <a:gd name="connsiteY1" fmla="*/ 5178 h 18429"/>
                  <a:gd name="connsiteX2" fmla="*/ 5167 w 18349"/>
                  <a:gd name="connsiteY2" fmla="*/ 17498 h 18429"/>
                  <a:gd name="connsiteX3" fmla="*/ 17428 w 18349"/>
                  <a:gd name="connsiteY3" fmla="*/ 13252 h 18429"/>
                  <a:gd name="connsiteX4" fmla="*/ 13181 w 18349"/>
                  <a:gd name="connsiteY4" fmla="*/ 93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9">
                    <a:moveTo>
                      <a:pt x="13181" y="931"/>
                    </a:moveTo>
                    <a:cubicBezTo>
                      <a:pt x="8636" y="-1281"/>
                      <a:pt x="3134" y="573"/>
                      <a:pt x="921" y="5178"/>
                    </a:cubicBezTo>
                    <a:cubicBezTo>
                      <a:pt x="-1292" y="9723"/>
                      <a:pt x="622" y="15285"/>
                      <a:pt x="5167" y="17498"/>
                    </a:cubicBezTo>
                    <a:cubicBezTo>
                      <a:pt x="9713" y="19711"/>
                      <a:pt x="15215" y="17857"/>
                      <a:pt x="17428" y="13252"/>
                    </a:cubicBezTo>
                    <a:cubicBezTo>
                      <a:pt x="19641" y="8647"/>
                      <a:pt x="17727" y="3144"/>
                      <a:pt x="13181" y="931"/>
                    </a:cubicBezTo>
                    <a:close/>
                  </a:path>
                </a:pathLst>
              </a:custGeom>
              <a:grpFill/>
              <a:ln w="5978" cap="flat">
                <a:noFill/>
                <a:prstDash val="solid"/>
                <a:miter/>
              </a:ln>
            </p:spPr>
            <p:txBody>
              <a:bodyPr rtlCol="0" anchor="ctr"/>
              <a:lstStyle/>
              <a:p>
                <a:endParaRPr lang="en-GB"/>
              </a:p>
            </p:txBody>
          </p:sp>
        </p:grpSp>
        <p:grpSp>
          <p:nvGrpSpPr>
            <p:cNvPr id="356" name="Graphic 3">
              <a:extLst>
                <a:ext uri="{FF2B5EF4-FFF2-40B4-BE49-F238E27FC236}">
                  <a16:creationId xmlns:a16="http://schemas.microsoft.com/office/drawing/2014/main" id="{87331232-655A-4B9F-A322-4AEDD8ECEC43}"/>
                </a:ext>
              </a:extLst>
            </p:cNvPr>
            <p:cNvGrpSpPr/>
            <p:nvPr/>
          </p:nvGrpSpPr>
          <p:grpSpPr>
            <a:xfrm>
              <a:off x="7520435" y="4238490"/>
              <a:ext cx="503962" cy="339102"/>
              <a:chOff x="7520435" y="4238490"/>
              <a:chExt cx="503962" cy="339102"/>
            </a:xfrm>
            <a:grpFill/>
          </p:grpSpPr>
          <p:sp>
            <p:nvSpPr>
              <p:cNvPr id="4312" name="Vrije vorm: vorm 4311">
                <a:extLst>
                  <a:ext uri="{FF2B5EF4-FFF2-40B4-BE49-F238E27FC236}">
                    <a16:creationId xmlns:a16="http://schemas.microsoft.com/office/drawing/2014/main" id="{8F4D590E-61E6-4B0F-B5E8-06FCA88466BA}"/>
                  </a:ext>
                </a:extLst>
              </p:cNvPr>
              <p:cNvSpPr/>
              <p:nvPr/>
            </p:nvSpPr>
            <p:spPr>
              <a:xfrm>
                <a:off x="7528373" y="4246173"/>
                <a:ext cx="488087" cy="323736"/>
              </a:xfrm>
              <a:custGeom>
                <a:avLst/>
                <a:gdLst>
                  <a:gd name="connsiteX0" fmla="*/ 488087 w 488087"/>
                  <a:gd name="connsiteY0" fmla="*/ 321165 h 323736"/>
                  <a:gd name="connsiteX1" fmla="*/ 486413 w 488087"/>
                  <a:gd name="connsiteY1" fmla="*/ 323736 h 323736"/>
                  <a:gd name="connsiteX2" fmla="*/ 0 w 488087"/>
                  <a:gd name="connsiteY2" fmla="*/ 2572 h 323736"/>
                  <a:gd name="connsiteX3" fmla="*/ 1675 w 488087"/>
                  <a:gd name="connsiteY3" fmla="*/ 0 h 323736"/>
                </a:gdLst>
                <a:ahLst/>
                <a:cxnLst>
                  <a:cxn ang="0">
                    <a:pos x="connsiteX0" y="connsiteY0"/>
                  </a:cxn>
                  <a:cxn ang="0">
                    <a:pos x="connsiteX1" y="connsiteY1"/>
                  </a:cxn>
                  <a:cxn ang="0">
                    <a:pos x="connsiteX2" y="connsiteY2"/>
                  </a:cxn>
                  <a:cxn ang="0">
                    <a:pos x="connsiteX3" y="connsiteY3"/>
                  </a:cxn>
                </a:cxnLst>
                <a:rect l="l" t="t" r="r" b="b"/>
                <a:pathLst>
                  <a:path w="488087" h="323736">
                    <a:moveTo>
                      <a:pt x="488087" y="321165"/>
                    </a:moveTo>
                    <a:lnTo>
                      <a:pt x="486413" y="323736"/>
                    </a:lnTo>
                    <a:lnTo>
                      <a:pt x="0" y="2572"/>
                    </a:lnTo>
                    <a:lnTo>
                      <a:pt x="1675" y="0"/>
                    </a:lnTo>
                    <a:close/>
                  </a:path>
                </a:pathLst>
              </a:custGeom>
              <a:grpFill/>
              <a:ln w="5978" cap="flat">
                <a:noFill/>
                <a:prstDash val="solid"/>
                <a:miter/>
              </a:ln>
            </p:spPr>
            <p:txBody>
              <a:bodyPr rtlCol="0" anchor="ctr"/>
              <a:lstStyle/>
              <a:p>
                <a:endParaRPr lang="en-GB"/>
              </a:p>
            </p:txBody>
          </p:sp>
          <p:sp>
            <p:nvSpPr>
              <p:cNvPr id="4313" name="Vrije vorm: vorm 4312">
                <a:extLst>
                  <a:ext uri="{FF2B5EF4-FFF2-40B4-BE49-F238E27FC236}">
                    <a16:creationId xmlns:a16="http://schemas.microsoft.com/office/drawing/2014/main" id="{145DE0D6-DD17-46CA-AB30-C9CCF18639DF}"/>
                  </a:ext>
                </a:extLst>
              </p:cNvPr>
              <p:cNvSpPr/>
              <p:nvPr/>
            </p:nvSpPr>
            <p:spPr>
              <a:xfrm>
                <a:off x="7520435" y="4238490"/>
                <a:ext cx="18327" cy="18416"/>
              </a:xfrm>
              <a:custGeom>
                <a:avLst/>
                <a:gdLst>
                  <a:gd name="connsiteX0" fmla="*/ 4169 w 18327"/>
                  <a:gd name="connsiteY0" fmla="*/ 16893 h 18416"/>
                  <a:gd name="connsiteX1" fmla="*/ 1478 w 18327"/>
                  <a:gd name="connsiteY1" fmla="*/ 4154 h 18416"/>
                  <a:gd name="connsiteX2" fmla="*/ 14158 w 18327"/>
                  <a:gd name="connsiteY2" fmla="*/ 1523 h 18416"/>
                  <a:gd name="connsiteX3" fmla="*/ 16849 w 18327"/>
                  <a:gd name="connsiteY3" fmla="*/ 14262 h 18416"/>
                  <a:gd name="connsiteX4" fmla="*/ 4169 w 18327"/>
                  <a:gd name="connsiteY4" fmla="*/ 1689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4169" y="16893"/>
                    </a:moveTo>
                    <a:cubicBezTo>
                      <a:pt x="-77" y="14083"/>
                      <a:pt x="-1272" y="8401"/>
                      <a:pt x="1478" y="4154"/>
                    </a:cubicBezTo>
                    <a:cubicBezTo>
                      <a:pt x="4229" y="-92"/>
                      <a:pt x="9911" y="-1288"/>
                      <a:pt x="14158" y="1523"/>
                    </a:cubicBezTo>
                    <a:cubicBezTo>
                      <a:pt x="18404" y="4334"/>
                      <a:pt x="19600" y="10015"/>
                      <a:pt x="16849" y="14262"/>
                    </a:cubicBezTo>
                    <a:cubicBezTo>
                      <a:pt x="14038" y="18508"/>
                      <a:pt x="8356" y="19705"/>
                      <a:pt x="4169" y="16893"/>
                    </a:cubicBezTo>
                    <a:close/>
                  </a:path>
                </a:pathLst>
              </a:custGeom>
              <a:grpFill/>
              <a:ln w="5978" cap="flat">
                <a:noFill/>
                <a:prstDash val="solid"/>
                <a:miter/>
              </a:ln>
            </p:spPr>
            <p:txBody>
              <a:bodyPr rtlCol="0" anchor="ctr"/>
              <a:lstStyle/>
              <a:p>
                <a:endParaRPr lang="en-GB"/>
              </a:p>
            </p:txBody>
          </p:sp>
          <p:sp>
            <p:nvSpPr>
              <p:cNvPr id="4314" name="Vrije vorm: vorm 4313">
                <a:extLst>
                  <a:ext uri="{FF2B5EF4-FFF2-40B4-BE49-F238E27FC236}">
                    <a16:creationId xmlns:a16="http://schemas.microsoft.com/office/drawing/2014/main" id="{F0D097A9-2CE8-48BF-A81D-83055DA9B515}"/>
                  </a:ext>
                </a:extLst>
              </p:cNvPr>
              <p:cNvSpPr/>
              <p:nvPr/>
            </p:nvSpPr>
            <p:spPr>
              <a:xfrm>
                <a:off x="8006070" y="4559176"/>
                <a:ext cx="18327" cy="18416"/>
              </a:xfrm>
              <a:custGeom>
                <a:avLst/>
                <a:gdLst>
                  <a:gd name="connsiteX0" fmla="*/ 4170 w 18327"/>
                  <a:gd name="connsiteY0" fmla="*/ 16893 h 18416"/>
                  <a:gd name="connsiteX1" fmla="*/ 16849 w 18327"/>
                  <a:gd name="connsiteY1" fmla="*/ 14262 h 18416"/>
                  <a:gd name="connsiteX2" fmla="*/ 14158 w 18327"/>
                  <a:gd name="connsiteY2" fmla="*/ 1523 h 18416"/>
                  <a:gd name="connsiteX3" fmla="*/ 1478 w 18327"/>
                  <a:gd name="connsiteY3" fmla="*/ 4154 h 18416"/>
                  <a:gd name="connsiteX4" fmla="*/ 4170 w 18327"/>
                  <a:gd name="connsiteY4" fmla="*/ 1689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4170" y="16893"/>
                    </a:moveTo>
                    <a:cubicBezTo>
                      <a:pt x="8416" y="19705"/>
                      <a:pt x="14098" y="18508"/>
                      <a:pt x="16849" y="14262"/>
                    </a:cubicBezTo>
                    <a:cubicBezTo>
                      <a:pt x="19600" y="10016"/>
                      <a:pt x="18404" y="4274"/>
                      <a:pt x="14158" y="1523"/>
                    </a:cubicBezTo>
                    <a:cubicBezTo>
                      <a:pt x="9911" y="-1288"/>
                      <a:pt x="4230" y="-92"/>
                      <a:pt x="1478" y="4154"/>
                    </a:cubicBezTo>
                    <a:cubicBezTo>
                      <a:pt x="-1273" y="8341"/>
                      <a:pt x="-76" y="14083"/>
                      <a:pt x="4170" y="16893"/>
                    </a:cubicBezTo>
                    <a:close/>
                  </a:path>
                </a:pathLst>
              </a:custGeom>
              <a:grpFill/>
              <a:ln w="5978" cap="flat">
                <a:noFill/>
                <a:prstDash val="solid"/>
                <a:miter/>
              </a:ln>
            </p:spPr>
            <p:txBody>
              <a:bodyPr rtlCol="0" anchor="ctr"/>
              <a:lstStyle/>
              <a:p>
                <a:endParaRPr lang="en-GB"/>
              </a:p>
            </p:txBody>
          </p:sp>
        </p:grpSp>
        <p:grpSp>
          <p:nvGrpSpPr>
            <p:cNvPr id="357" name="Graphic 3">
              <a:extLst>
                <a:ext uri="{FF2B5EF4-FFF2-40B4-BE49-F238E27FC236}">
                  <a16:creationId xmlns:a16="http://schemas.microsoft.com/office/drawing/2014/main" id="{6463F777-1F0B-4CE7-9914-4432BE6444EF}"/>
                </a:ext>
              </a:extLst>
            </p:cNvPr>
            <p:cNvGrpSpPr/>
            <p:nvPr/>
          </p:nvGrpSpPr>
          <p:grpSpPr>
            <a:xfrm>
              <a:off x="6895369" y="1827430"/>
              <a:ext cx="93700" cy="147165"/>
              <a:chOff x="6895369" y="1827430"/>
              <a:chExt cx="93700" cy="147165"/>
            </a:xfrm>
            <a:grpFill/>
          </p:grpSpPr>
          <p:sp>
            <p:nvSpPr>
              <p:cNvPr id="4309" name="Vrije vorm: vorm 4308">
                <a:extLst>
                  <a:ext uri="{FF2B5EF4-FFF2-40B4-BE49-F238E27FC236}">
                    <a16:creationId xmlns:a16="http://schemas.microsoft.com/office/drawing/2014/main" id="{0BDEC9C8-9612-4DF9-8BF9-6088E83A22C8}"/>
                  </a:ext>
                </a:extLst>
              </p:cNvPr>
              <p:cNvSpPr/>
              <p:nvPr/>
            </p:nvSpPr>
            <p:spPr>
              <a:xfrm>
                <a:off x="6903029" y="1835464"/>
                <a:ext cx="78407" cy="131157"/>
              </a:xfrm>
              <a:custGeom>
                <a:avLst/>
                <a:gdLst>
                  <a:gd name="connsiteX0" fmla="*/ 78407 w 78407"/>
                  <a:gd name="connsiteY0" fmla="*/ 1555 h 131157"/>
                  <a:gd name="connsiteX1" fmla="*/ 2571 w 78407"/>
                  <a:gd name="connsiteY1" fmla="*/ 131157 h 131157"/>
                  <a:gd name="connsiteX2" fmla="*/ 0 w 78407"/>
                  <a:gd name="connsiteY2" fmla="*/ 129542 h 131157"/>
                  <a:gd name="connsiteX3" fmla="*/ 75776 w 78407"/>
                  <a:gd name="connsiteY3" fmla="*/ 0 h 131157"/>
                </a:gdLst>
                <a:ahLst/>
                <a:cxnLst>
                  <a:cxn ang="0">
                    <a:pos x="connsiteX0" y="connsiteY0"/>
                  </a:cxn>
                  <a:cxn ang="0">
                    <a:pos x="connsiteX1" y="connsiteY1"/>
                  </a:cxn>
                  <a:cxn ang="0">
                    <a:pos x="connsiteX2" y="connsiteY2"/>
                  </a:cxn>
                  <a:cxn ang="0">
                    <a:pos x="connsiteX3" y="connsiteY3"/>
                  </a:cxn>
                </a:cxnLst>
                <a:rect l="l" t="t" r="r" b="b"/>
                <a:pathLst>
                  <a:path w="78407" h="131157">
                    <a:moveTo>
                      <a:pt x="78407" y="1555"/>
                    </a:moveTo>
                    <a:lnTo>
                      <a:pt x="2571" y="131157"/>
                    </a:lnTo>
                    <a:lnTo>
                      <a:pt x="0" y="129542"/>
                    </a:lnTo>
                    <a:lnTo>
                      <a:pt x="75776" y="0"/>
                    </a:lnTo>
                    <a:close/>
                  </a:path>
                </a:pathLst>
              </a:custGeom>
              <a:grpFill/>
              <a:ln w="5978" cap="flat">
                <a:noFill/>
                <a:prstDash val="solid"/>
                <a:miter/>
              </a:ln>
            </p:spPr>
            <p:txBody>
              <a:bodyPr rtlCol="0" anchor="ctr"/>
              <a:lstStyle/>
              <a:p>
                <a:endParaRPr lang="en-GB"/>
              </a:p>
            </p:txBody>
          </p:sp>
          <p:sp>
            <p:nvSpPr>
              <p:cNvPr id="4310" name="Vrije vorm: vorm 4309">
                <a:extLst>
                  <a:ext uri="{FF2B5EF4-FFF2-40B4-BE49-F238E27FC236}">
                    <a16:creationId xmlns:a16="http://schemas.microsoft.com/office/drawing/2014/main" id="{A68E3576-9ADF-4CBB-86DE-378499A52CCD}"/>
                  </a:ext>
                </a:extLst>
              </p:cNvPr>
              <p:cNvSpPr/>
              <p:nvPr/>
            </p:nvSpPr>
            <p:spPr>
              <a:xfrm>
                <a:off x="6970726" y="1827430"/>
                <a:ext cx="18342" cy="18400"/>
              </a:xfrm>
              <a:custGeom>
                <a:avLst/>
                <a:gdLst>
                  <a:gd name="connsiteX0" fmla="*/ 1261 w 18342"/>
                  <a:gd name="connsiteY0" fmla="*/ 4506 h 18400"/>
                  <a:gd name="connsiteX1" fmla="*/ 13820 w 18342"/>
                  <a:gd name="connsiteY1" fmla="*/ 1276 h 18400"/>
                  <a:gd name="connsiteX2" fmla="*/ 17109 w 18342"/>
                  <a:gd name="connsiteY2" fmla="*/ 13895 h 18400"/>
                  <a:gd name="connsiteX3" fmla="*/ 4550 w 18342"/>
                  <a:gd name="connsiteY3" fmla="*/ 17125 h 18400"/>
                  <a:gd name="connsiteX4" fmla="*/ 1261 w 18342"/>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0">
                    <a:moveTo>
                      <a:pt x="1261" y="4506"/>
                    </a:moveTo>
                    <a:cubicBezTo>
                      <a:pt x="3832" y="140"/>
                      <a:pt x="9454" y="-1296"/>
                      <a:pt x="13820" y="1276"/>
                    </a:cubicBezTo>
                    <a:cubicBezTo>
                      <a:pt x="18186" y="3848"/>
                      <a:pt x="19621" y="9529"/>
                      <a:pt x="17109" y="13895"/>
                    </a:cubicBezTo>
                    <a:cubicBezTo>
                      <a:pt x="14538" y="18261"/>
                      <a:pt x="8915" y="19697"/>
                      <a:pt x="4550" y="17125"/>
                    </a:cubicBezTo>
                    <a:cubicBezTo>
                      <a:pt x="184" y="14553"/>
                      <a:pt x="-1311" y="8871"/>
                      <a:pt x="1261" y="4506"/>
                    </a:cubicBezTo>
                    <a:close/>
                  </a:path>
                </a:pathLst>
              </a:custGeom>
              <a:grpFill/>
              <a:ln w="5978" cap="flat">
                <a:noFill/>
                <a:prstDash val="solid"/>
                <a:miter/>
              </a:ln>
            </p:spPr>
            <p:txBody>
              <a:bodyPr rtlCol="0" anchor="ctr"/>
              <a:lstStyle/>
              <a:p>
                <a:endParaRPr lang="en-GB"/>
              </a:p>
            </p:txBody>
          </p:sp>
          <p:sp>
            <p:nvSpPr>
              <p:cNvPr id="4311" name="Vrije vorm: vorm 4310">
                <a:extLst>
                  <a:ext uri="{FF2B5EF4-FFF2-40B4-BE49-F238E27FC236}">
                    <a16:creationId xmlns:a16="http://schemas.microsoft.com/office/drawing/2014/main" id="{A7B6313B-9AA8-42C7-868B-35DE3596892F}"/>
                  </a:ext>
                </a:extLst>
              </p:cNvPr>
              <p:cNvSpPr/>
              <p:nvPr/>
            </p:nvSpPr>
            <p:spPr>
              <a:xfrm>
                <a:off x="6895369" y="1956194"/>
                <a:ext cx="18369" cy="18400"/>
              </a:xfrm>
              <a:custGeom>
                <a:avLst/>
                <a:gdLst>
                  <a:gd name="connsiteX0" fmla="*/ 1260 w 18369"/>
                  <a:gd name="connsiteY0" fmla="*/ 4506 h 18400"/>
                  <a:gd name="connsiteX1" fmla="*/ 4550 w 18369"/>
                  <a:gd name="connsiteY1" fmla="*/ 17125 h 18400"/>
                  <a:gd name="connsiteX2" fmla="*/ 17109 w 18369"/>
                  <a:gd name="connsiteY2" fmla="*/ 13895 h 18400"/>
                  <a:gd name="connsiteX3" fmla="*/ 13820 w 18369"/>
                  <a:gd name="connsiteY3" fmla="*/ 1276 h 18400"/>
                  <a:gd name="connsiteX4" fmla="*/ 1260 w 18369"/>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260" y="4506"/>
                    </a:moveTo>
                    <a:cubicBezTo>
                      <a:pt x="-1311" y="8871"/>
                      <a:pt x="184" y="14553"/>
                      <a:pt x="4550" y="17125"/>
                    </a:cubicBezTo>
                    <a:cubicBezTo>
                      <a:pt x="8916" y="19697"/>
                      <a:pt x="14538" y="18261"/>
                      <a:pt x="17109" y="13895"/>
                    </a:cubicBezTo>
                    <a:cubicBezTo>
                      <a:pt x="19681" y="9529"/>
                      <a:pt x="18186" y="3848"/>
                      <a:pt x="13820" y="1276"/>
                    </a:cubicBezTo>
                    <a:cubicBezTo>
                      <a:pt x="9454" y="-1296"/>
                      <a:pt x="3832" y="140"/>
                      <a:pt x="1260" y="4506"/>
                    </a:cubicBezTo>
                    <a:close/>
                  </a:path>
                </a:pathLst>
              </a:custGeom>
              <a:grpFill/>
              <a:ln w="5978" cap="flat">
                <a:noFill/>
                <a:prstDash val="solid"/>
                <a:miter/>
              </a:ln>
            </p:spPr>
            <p:txBody>
              <a:bodyPr rtlCol="0" anchor="ctr"/>
              <a:lstStyle/>
              <a:p>
                <a:endParaRPr lang="en-GB"/>
              </a:p>
            </p:txBody>
          </p:sp>
        </p:grpSp>
        <p:grpSp>
          <p:nvGrpSpPr>
            <p:cNvPr id="358" name="Graphic 3">
              <a:extLst>
                <a:ext uri="{FF2B5EF4-FFF2-40B4-BE49-F238E27FC236}">
                  <a16:creationId xmlns:a16="http://schemas.microsoft.com/office/drawing/2014/main" id="{581DCC4A-3228-4B1A-B2AE-F8E7F14D9939}"/>
                </a:ext>
              </a:extLst>
            </p:cNvPr>
            <p:cNvGrpSpPr/>
            <p:nvPr/>
          </p:nvGrpSpPr>
          <p:grpSpPr>
            <a:xfrm>
              <a:off x="7917303" y="4864859"/>
              <a:ext cx="70181" cy="58828"/>
              <a:chOff x="7917303" y="4864859"/>
              <a:chExt cx="70181" cy="58828"/>
            </a:xfrm>
            <a:grpFill/>
          </p:grpSpPr>
          <p:sp>
            <p:nvSpPr>
              <p:cNvPr id="4306" name="Vrije vorm: vorm 4305">
                <a:extLst>
                  <a:ext uri="{FF2B5EF4-FFF2-40B4-BE49-F238E27FC236}">
                    <a16:creationId xmlns:a16="http://schemas.microsoft.com/office/drawing/2014/main" id="{5DE8AF71-C6E1-4F7D-A028-1C57AC974232}"/>
                  </a:ext>
                </a:extLst>
              </p:cNvPr>
              <p:cNvSpPr/>
              <p:nvPr/>
            </p:nvSpPr>
            <p:spPr>
              <a:xfrm>
                <a:off x="7925134" y="4872594"/>
                <a:ext cx="54484" cy="43360"/>
              </a:xfrm>
              <a:custGeom>
                <a:avLst/>
                <a:gdLst>
                  <a:gd name="connsiteX0" fmla="*/ 54484 w 54484"/>
                  <a:gd name="connsiteY0" fmla="*/ 40968 h 43360"/>
                  <a:gd name="connsiteX1" fmla="*/ 52630 w 54484"/>
                  <a:gd name="connsiteY1" fmla="*/ 43360 h 43360"/>
                  <a:gd name="connsiteX2" fmla="*/ 0 w 54484"/>
                  <a:gd name="connsiteY2" fmla="*/ 2452 h 43360"/>
                  <a:gd name="connsiteX3" fmla="*/ 1854 w 54484"/>
                  <a:gd name="connsiteY3" fmla="*/ 0 h 43360"/>
                </a:gdLst>
                <a:ahLst/>
                <a:cxnLst>
                  <a:cxn ang="0">
                    <a:pos x="connsiteX0" y="connsiteY0"/>
                  </a:cxn>
                  <a:cxn ang="0">
                    <a:pos x="connsiteX1" y="connsiteY1"/>
                  </a:cxn>
                  <a:cxn ang="0">
                    <a:pos x="connsiteX2" y="connsiteY2"/>
                  </a:cxn>
                  <a:cxn ang="0">
                    <a:pos x="connsiteX3" y="connsiteY3"/>
                  </a:cxn>
                </a:cxnLst>
                <a:rect l="l" t="t" r="r" b="b"/>
                <a:pathLst>
                  <a:path w="54484" h="43360">
                    <a:moveTo>
                      <a:pt x="54484" y="40968"/>
                    </a:moveTo>
                    <a:lnTo>
                      <a:pt x="52630" y="43360"/>
                    </a:lnTo>
                    <a:lnTo>
                      <a:pt x="0" y="2452"/>
                    </a:lnTo>
                    <a:lnTo>
                      <a:pt x="1854" y="0"/>
                    </a:lnTo>
                    <a:close/>
                  </a:path>
                </a:pathLst>
              </a:custGeom>
              <a:grpFill/>
              <a:ln w="5978" cap="flat">
                <a:noFill/>
                <a:prstDash val="solid"/>
                <a:miter/>
              </a:ln>
            </p:spPr>
            <p:txBody>
              <a:bodyPr rtlCol="0" anchor="ctr"/>
              <a:lstStyle/>
              <a:p>
                <a:endParaRPr lang="en-GB"/>
              </a:p>
            </p:txBody>
          </p:sp>
          <p:sp>
            <p:nvSpPr>
              <p:cNvPr id="4307" name="Vrije vorm: vorm 4306">
                <a:extLst>
                  <a:ext uri="{FF2B5EF4-FFF2-40B4-BE49-F238E27FC236}">
                    <a16:creationId xmlns:a16="http://schemas.microsoft.com/office/drawing/2014/main" id="{39B7223F-8C49-4786-A58D-13BBD2EE9A68}"/>
                  </a:ext>
                </a:extLst>
              </p:cNvPr>
              <p:cNvSpPr/>
              <p:nvPr/>
            </p:nvSpPr>
            <p:spPr>
              <a:xfrm>
                <a:off x="7969155" y="4905264"/>
                <a:ext cx="18328" cy="18424"/>
              </a:xfrm>
              <a:custGeom>
                <a:avLst/>
                <a:gdLst>
                  <a:gd name="connsiteX0" fmla="*/ 14769 w 18328"/>
                  <a:gd name="connsiteY0" fmla="*/ 1958 h 18424"/>
                  <a:gd name="connsiteX1" fmla="*/ 16444 w 18328"/>
                  <a:gd name="connsiteY1" fmla="*/ 14877 h 18424"/>
                  <a:gd name="connsiteX2" fmla="*/ 3585 w 18328"/>
                  <a:gd name="connsiteY2" fmla="*/ 16491 h 18424"/>
                  <a:gd name="connsiteX3" fmla="*/ 1910 w 18328"/>
                  <a:gd name="connsiteY3" fmla="*/ 3573 h 18424"/>
                  <a:gd name="connsiteX4" fmla="*/ 14769 w 18328"/>
                  <a:gd name="connsiteY4" fmla="*/ 1958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24">
                    <a:moveTo>
                      <a:pt x="14769" y="1958"/>
                    </a:moveTo>
                    <a:cubicBezTo>
                      <a:pt x="18776" y="5068"/>
                      <a:pt x="19494" y="10869"/>
                      <a:pt x="16444" y="14877"/>
                    </a:cubicBezTo>
                    <a:cubicBezTo>
                      <a:pt x="13334" y="18884"/>
                      <a:pt x="7593" y="19601"/>
                      <a:pt x="3585" y="16491"/>
                    </a:cubicBezTo>
                    <a:cubicBezTo>
                      <a:pt x="-422" y="13382"/>
                      <a:pt x="-1200" y="7580"/>
                      <a:pt x="1910" y="3573"/>
                    </a:cubicBezTo>
                    <a:cubicBezTo>
                      <a:pt x="4961" y="-434"/>
                      <a:pt x="10762" y="-1211"/>
                      <a:pt x="14769" y="1958"/>
                    </a:cubicBezTo>
                    <a:close/>
                  </a:path>
                </a:pathLst>
              </a:custGeom>
              <a:grpFill/>
              <a:ln w="5978" cap="flat">
                <a:noFill/>
                <a:prstDash val="solid"/>
                <a:miter/>
              </a:ln>
            </p:spPr>
            <p:txBody>
              <a:bodyPr rtlCol="0" anchor="ctr"/>
              <a:lstStyle/>
              <a:p>
                <a:endParaRPr lang="en-GB"/>
              </a:p>
            </p:txBody>
          </p:sp>
          <p:sp>
            <p:nvSpPr>
              <p:cNvPr id="4308" name="Vrije vorm: vorm 4307">
                <a:extLst>
                  <a:ext uri="{FF2B5EF4-FFF2-40B4-BE49-F238E27FC236}">
                    <a16:creationId xmlns:a16="http://schemas.microsoft.com/office/drawing/2014/main" id="{56D53DE7-EF56-4F29-9B0A-2474511284B8}"/>
                  </a:ext>
                </a:extLst>
              </p:cNvPr>
              <p:cNvSpPr/>
              <p:nvPr/>
            </p:nvSpPr>
            <p:spPr>
              <a:xfrm>
                <a:off x="7917303" y="4864859"/>
                <a:ext cx="18328" cy="18398"/>
              </a:xfrm>
              <a:custGeom>
                <a:avLst/>
                <a:gdLst>
                  <a:gd name="connsiteX0" fmla="*/ 14768 w 18328"/>
                  <a:gd name="connsiteY0" fmla="*/ 1933 h 18398"/>
                  <a:gd name="connsiteX1" fmla="*/ 1911 w 18328"/>
                  <a:gd name="connsiteY1" fmla="*/ 3548 h 18398"/>
                  <a:gd name="connsiteX2" fmla="*/ 3585 w 18328"/>
                  <a:gd name="connsiteY2" fmla="*/ 16466 h 18398"/>
                  <a:gd name="connsiteX3" fmla="*/ 16443 w 18328"/>
                  <a:gd name="connsiteY3" fmla="*/ 14851 h 18398"/>
                  <a:gd name="connsiteX4" fmla="*/ 14768 w 1832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8">
                    <a:moveTo>
                      <a:pt x="14768" y="1933"/>
                    </a:moveTo>
                    <a:cubicBezTo>
                      <a:pt x="10762" y="-1177"/>
                      <a:pt x="5020" y="-459"/>
                      <a:pt x="1911" y="3548"/>
                    </a:cubicBezTo>
                    <a:cubicBezTo>
                      <a:pt x="-1200" y="7555"/>
                      <a:pt x="-422" y="13356"/>
                      <a:pt x="3585" y="16466"/>
                    </a:cubicBezTo>
                    <a:cubicBezTo>
                      <a:pt x="7592" y="19576"/>
                      <a:pt x="13333" y="18858"/>
                      <a:pt x="16443" y="14851"/>
                    </a:cubicBezTo>
                    <a:cubicBezTo>
                      <a:pt x="19493" y="10844"/>
                      <a:pt x="18776" y="5103"/>
                      <a:pt x="14768" y="1933"/>
                    </a:cubicBezTo>
                    <a:close/>
                  </a:path>
                </a:pathLst>
              </a:custGeom>
              <a:grpFill/>
              <a:ln w="5978" cap="flat">
                <a:noFill/>
                <a:prstDash val="solid"/>
                <a:miter/>
              </a:ln>
            </p:spPr>
            <p:txBody>
              <a:bodyPr rtlCol="0" anchor="ctr"/>
              <a:lstStyle/>
              <a:p>
                <a:endParaRPr lang="en-GB"/>
              </a:p>
            </p:txBody>
          </p:sp>
        </p:grpSp>
        <p:grpSp>
          <p:nvGrpSpPr>
            <p:cNvPr id="359" name="Graphic 3">
              <a:extLst>
                <a:ext uri="{FF2B5EF4-FFF2-40B4-BE49-F238E27FC236}">
                  <a16:creationId xmlns:a16="http://schemas.microsoft.com/office/drawing/2014/main" id="{08961F58-C219-4BDD-8177-9F235F85ADAD}"/>
                </a:ext>
              </a:extLst>
            </p:cNvPr>
            <p:cNvGrpSpPr/>
            <p:nvPr/>
          </p:nvGrpSpPr>
          <p:grpSpPr>
            <a:xfrm>
              <a:off x="7719479" y="4477006"/>
              <a:ext cx="215023" cy="144180"/>
              <a:chOff x="7719479" y="4477006"/>
              <a:chExt cx="215023" cy="144180"/>
            </a:xfrm>
            <a:grpFill/>
          </p:grpSpPr>
          <p:sp>
            <p:nvSpPr>
              <p:cNvPr id="4303" name="Vrije vorm: vorm 4302">
                <a:extLst>
                  <a:ext uri="{FF2B5EF4-FFF2-40B4-BE49-F238E27FC236}">
                    <a16:creationId xmlns:a16="http://schemas.microsoft.com/office/drawing/2014/main" id="{D4DF3F02-2EF3-4EF0-A440-46F1281E7CE5}"/>
                  </a:ext>
                </a:extLst>
              </p:cNvPr>
              <p:cNvSpPr/>
              <p:nvPr/>
            </p:nvSpPr>
            <p:spPr>
              <a:xfrm>
                <a:off x="7727411" y="4484684"/>
                <a:ext cx="199158" cy="128764"/>
              </a:xfrm>
              <a:custGeom>
                <a:avLst/>
                <a:gdLst>
                  <a:gd name="connsiteX0" fmla="*/ 199158 w 199158"/>
                  <a:gd name="connsiteY0" fmla="*/ 126193 h 128764"/>
                  <a:gd name="connsiteX1" fmla="*/ 197484 w 199158"/>
                  <a:gd name="connsiteY1" fmla="*/ 128765 h 128764"/>
                  <a:gd name="connsiteX2" fmla="*/ 0 w 199158"/>
                  <a:gd name="connsiteY2" fmla="*/ 2572 h 128764"/>
                  <a:gd name="connsiteX3" fmla="*/ 1615 w 199158"/>
                  <a:gd name="connsiteY3" fmla="*/ 0 h 128764"/>
                </a:gdLst>
                <a:ahLst/>
                <a:cxnLst>
                  <a:cxn ang="0">
                    <a:pos x="connsiteX0" y="connsiteY0"/>
                  </a:cxn>
                  <a:cxn ang="0">
                    <a:pos x="connsiteX1" y="connsiteY1"/>
                  </a:cxn>
                  <a:cxn ang="0">
                    <a:pos x="connsiteX2" y="connsiteY2"/>
                  </a:cxn>
                  <a:cxn ang="0">
                    <a:pos x="connsiteX3" y="connsiteY3"/>
                  </a:cxn>
                </a:cxnLst>
                <a:rect l="l" t="t" r="r" b="b"/>
                <a:pathLst>
                  <a:path w="199158" h="128764">
                    <a:moveTo>
                      <a:pt x="199158" y="126193"/>
                    </a:moveTo>
                    <a:lnTo>
                      <a:pt x="197484" y="128765"/>
                    </a:lnTo>
                    <a:lnTo>
                      <a:pt x="0" y="2572"/>
                    </a:lnTo>
                    <a:lnTo>
                      <a:pt x="1615" y="0"/>
                    </a:lnTo>
                    <a:close/>
                  </a:path>
                </a:pathLst>
              </a:custGeom>
              <a:grpFill/>
              <a:ln w="5978" cap="flat">
                <a:noFill/>
                <a:prstDash val="solid"/>
                <a:miter/>
              </a:ln>
            </p:spPr>
            <p:txBody>
              <a:bodyPr rtlCol="0" anchor="ctr"/>
              <a:lstStyle/>
              <a:p>
                <a:endParaRPr lang="en-GB"/>
              </a:p>
            </p:txBody>
          </p:sp>
          <p:sp>
            <p:nvSpPr>
              <p:cNvPr id="4304" name="Vrije vorm: vorm 4303">
                <a:extLst>
                  <a:ext uri="{FF2B5EF4-FFF2-40B4-BE49-F238E27FC236}">
                    <a16:creationId xmlns:a16="http://schemas.microsoft.com/office/drawing/2014/main" id="{D6C2E967-7327-4D63-835D-77C55D7893FA}"/>
                  </a:ext>
                </a:extLst>
              </p:cNvPr>
              <p:cNvSpPr/>
              <p:nvPr/>
            </p:nvSpPr>
            <p:spPr>
              <a:xfrm>
                <a:off x="7916199" y="4602721"/>
                <a:ext cx="18303" cy="18465"/>
              </a:xfrm>
              <a:custGeom>
                <a:avLst/>
                <a:gdLst>
                  <a:gd name="connsiteX0" fmla="*/ 14019 w 18303"/>
                  <a:gd name="connsiteY0" fmla="*/ 1458 h 18465"/>
                  <a:gd name="connsiteX1" fmla="*/ 16890 w 18303"/>
                  <a:gd name="connsiteY1" fmla="*/ 14197 h 18465"/>
                  <a:gd name="connsiteX2" fmla="*/ 4270 w 18303"/>
                  <a:gd name="connsiteY2" fmla="*/ 17008 h 18465"/>
                  <a:gd name="connsiteX3" fmla="*/ 1400 w 18303"/>
                  <a:gd name="connsiteY3" fmla="*/ 4269 h 18465"/>
                  <a:gd name="connsiteX4" fmla="*/ 14019 w 18303"/>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19" y="1458"/>
                    </a:moveTo>
                    <a:cubicBezTo>
                      <a:pt x="18325" y="4209"/>
                      <a:pt x="19581" y="9891"/>
                      <a:pt x="16890" y="14197"/>
                    </a:cubicBezTo>
                    <a:cubicBezTo>
                      <a:pt x="14199" y="18503"/>
                      <a:pt x="8516" y="19759"/>
                      <a:pt x="4270" y="17008"/>
                    </a:cubicBezTo>
                    <a:cubicBezTo>
                      <a:pt x="24" y="14257"/>
                      <a:pt x="-1292" y="8575"/>
                      <a:pt x="1400" y="4269"/>
                    </a:cubicBezTo>
                    <a:cubicBezTo>
                      <a:pt x="4091" y="-37"/>
                      <a:pt x="9773" y="-1293"/>
                      <a:pt x="14019" y="1458"/>
                    </a:cubicBezTo>
                    <a:close/>
                  </a:path>
                </a:pathLst>
              </a:custGeom>
              <a:grpFill/>
              <a:ln w="5978" cap="flat">
                <a:noFill/>
                <a:prstDash val="solid"/>
                <a:miter/>
              </a:ln>
            </p:spPr>
            <p:txBody>
              <a:bodyPr rtlCol="0" anchor="ctr"/>
              <a:lstStyle/>
              <a:p>
                <a:endParaRPr lang="en-GB"/>
              </a:p>
            </p:txBody>
          </p:sp>
          <p:sp>
            <p:nvSpPr>
              <p:cNvPr id="4305" name="Vrije vorm: vorm 4304">
                <a:extLst>
                  <a:ext uri="{FF2B5EF4-FFF2-40B4-BE49-F238E27FC236}">
                    <a16:creationId xmlns:a16="http://schemas.microsoft.com/office/drawing/2014/main" id="{2416ACC7-6119-4DF1-9C21-021A5309ACD4}"/>
                  </a:ext>
                </a:extLst>
              </p:cNvPr>
              <p:cNvSpPr/>
              <p:nvPr/>
            </p:nvSpPr>
            <p:spPr>
              <a:xfrm>
                <a:off x="7719479" y="4477006"/>
                <a:ext cx="18303" cy="18465"/>
              </a:xfrm>
              <a:custGeom>
                <a:avLst/>
                <a:gdLst>
                  <a:gd name="connsiteX0" fmla="*/ 14033 w 18303"/>
                  <a:gd name="connsiteY0" fmla="*/ 1458 h 18465"/>
                  <a:gd name="connsiteX1" fmla="*/ 1414 w 18303"/>
                  <a:gd name="connsiteY1" fmla="*/ 4269 h 18465"/>
                  <a:gd name="connsiteX2" fmla="*/ 4285 w 18303"/>
                  <a:gd name="connsiteY2" fmla="*/ 17008 h 18465"/>
                  <a:gd name="connsiteX3" fmla="*/ 16904 w 18303"/>
                  <a:gd name="connsiteY3" fmla="*/ 14197 h 18465"/>
                  <a:gd name="connsiteX4" fmla="*/ 14033 w 18303"/>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33" y="1458"/>
                    </a:moveTo>
                    <a:cubicBezTo>
                      <a:pt x="9727" y="-1293"/>
                      <a:pt x="4105" y="-37"/>
                      <a:pt x="1414" y="4269"/>
                    </a:cubicBezTo>
                    <a:cubicBezTo>
                      <a:pt x="-1277" y="8575"/>
                      <a:pt x="-21" y="14257"/>
                      <a:pt x="4285" y="17008"/>
                    </a:cubicBezTo>
                    <a:cubicBezTo>
                      <a:pt x="8590" y="19759"/>
                      <a:pt x="14213" y="18503"/>
                      <a:pt x="16904" y="14197"/>
                    </a:cubicBezTo>
                    <a:cubicBezTo>
                      <a:pt x="19596" y="9891"/>
                      <a:pt x="18279" y="4209"/>
                      <a:pt x="14033" y="1458"/>
                    </a:cubicBezTo>
                    <a:close/>
                  </a:path>
                </a:pathLst>
              </a:custGeom>
              <a:grpFill/>
              <a:ln w="5978" cap="flat">
                <a:noFill/>
                <a:prstDash val="solid"/>
                <a:miter/>
              </a:ln>
            </p:spPr>
            <p:txBody>
              <a:bodyPr rtlCol="0" anchor="ctr"/>
              <a:lstStyle/>
              <a:p>
                <a:endParaRPr lang="en-GB"/>
              </a:p>
            </p:txBody>
          </p:sp>
        </p:grpSp>
        <p:grpSp>
          <p:nvGrpSpPr>
            <p:cNvPr id="360" name="Graphic 3">
              <a:extLst>
                <a:ext uri="{FF2B5EF4-FFF2-40B4-BE49-F238E27FC236}">
                  <a16:creationId xmlns:a16="http://schemas.microsoft.com/office/drawing/2014/main" id="{B8766639-8C4E-4C2D-A9F7-2395B8D7F73B}"/>
                </a:ext>
              </a:extLst>
            </p:cNvPr>
            <p:cNvGrpSpPr/>
            <p:nvPr/>
          </p:nvGrpSpPr>
          <p:grpSpPr>
            <a:xfrm>
              <a:off x="7628619" y="4009816"/>
              <a:ext cx="64249" cy="35912"/>
              <a:chOff x="7628619" y="4009816"/>
              <a:chExt cx="64249" cy="35912"/>
            </a:xfrm>
            <a:grpFill/>
          </p:grpSpPr>
          <p:sp>
            <p:nvSpPr>
              <p:cNvPr id="4300" name="Vrije vorm: vorm 4299">
                <a:extLst>
                  <a:ext uri="{FF2B5EF4-FFF2-40B4-BE49-F238E27FC236}">
                    <a16:creationId xmlns:a16="http://schemas.microsoft.com/office/drawing/2014/main" id="{D5C42F8F-7F43-4E2E-8541-C49E729623B2}"/>
                  </a:ext>
                </a:extLst>
              </p:cNvPr>
              <p:cNvSpPr/>
              <p:nvPr/>
            </p:nvSpPr>
            <p:spPr>
              <a:xfrm>
                <a:off x="7636803" y="4017410"/>
                <a:ext cx="47905" cy="20693"/>
              </a:xfrm>
              <a:custGeom>
                <a:avLst/>
                <a:gdLst>
                  <a:gd name="connsiteX0" fmla="*/ 47906 w 47905"/>
                  <a:gd name="connsiteY0" fmla="*/ 17822 h 20693"/>
                  <a:gd name="connsiteX1" fmla="*/ 46830 w 47905"/>
                  <a:gd name="connsiteY1" fmla="*/ 20693 h 20693"/>
                  <a:gd name="connsiteX2" fmla="*/ 0 w 47905"/>
                  <a:gd name="connsiteY2" fmla="*/ 2871 h 20693"/>
                  <a:gd name="connsiteX3" fmla="*/ 1077 w 47905"/>
                  <a:gd name="connsiteY3" fmla="*/ 0 h 20693"/>
                </a:gdLst>
                <a:ahLst/>
                <a:cxnLst>
                  <a:cxn ang="0">
                    <a:pos x="connsiteX0" y="connsiteY0"/>
                  </a:cxn>
                  <a:cxn ang="0">
                    <a:pos x="connsiteX1" y="connsiteY1"/>
                  </a:cxn>
                  <a:cxn ang="0">
                    <a:pos x="connsiteX2" y="connsiteY2"/>
                  </a:cxn>
                  <a:cxn ang="0">
                    <a:pos x="connsiteX3" y="connsiteY3"/>
                  </a:cxn>
                </a:cxnLst>
                <a:rect l="l" t="t" r="r" b="b"/>
                <a:pathLst>
                  <a:path w="47905" h="20693">
                    <a:moveTo>
                      <a:pt x="47906" y="17822"/>
                    </a:moveTo>
                    <a:lnTo>
                      <a:pt x="46830" y="20693"/>
                    </a:lnTo>
                    <a:lnTo>
                      <a:pt x="0" y="2871"/>
                    </a:lnTo>
                    <a:lnTo>
                      <a:pt x="1077" y="0"/>
                    </a:lnTo>
                    <a:close/>
                  </a:path>
                </a:pathLst>
              </a:custGeom>
              <a:grpFill/>
              <a:ln w="5978" cap="flat">
                <a:noFill/>
                <a:prstDash val="solid"/>
                <a:miter/>
              </a:ln>
            </p:spPr>
            <p:txBody>
              <a:bodyPr rtlCol="0" anchor="ctr"/>
              <a:lstStyle/>
              <a:p>
                <a:endParaRPr lang="en-GB"/>
              </a:p>
            </p:txBody>
          </p:sp>
          <p:sp>
            <p:nvSpPr>
              <p:cNvPr id="4301" name="Vrije vorm: vorm 4300">
                <a:extLst>
                  <a:ext uri="{FF2B5EF4-FFF2-40B4-BE49-F238E27FC236}">
                    <a16:creationId xmlns:a16="http://schemas.microsoft.com/office/drawing/2014/main" id="{E111EAE1-402F-491E-A4CD-1F6C4A8BDD9A}"/>
                  </a:ext>
                </a:extLst>
              </p:cNvPr>
              <p:cNvSpPr/>
              <p:nvPr/>
            </p:nvSpPr>
            <p:spPr>
              <a:xfrm>
                <a:off x="7674575" y="4027280"/>
                <a:ext cx="18294" cy="18448"/>
              </a:xfrm>
              <a:custGeom>
                <a:avLst/>
                <a:gdLst>
                  <a:gd name="connsiteX0" fmla="*/ 12347 w 18294"/>
                  <a:gd name="connsiteY0" fmla="*/ 596 h 18448"/>
                  <a:gd name="connsiteX1" fmla="*/ 17729 w 18294"/>
                  <a:gd name="connsiteY1" fmla="*/ 12498 h 18448"/>
                  <a:gd name="connsiteX2" fmla="*/ 5948 w 18294"/>
                  <a:gd name="connsiteY2" fmla="*/ 17821 h 18448"/>
                  <a:gd name="connsiteX3" fmla="*/ 565 w 18294"/>
                  <a:gd name="connsiteY3" fmla="*/ 5919 h 18448"/>
                  <a:gd name="connsiteX4" fmla="*/ 12347 w 18294"/>
                  <a:gd name="connsiteY4" fmla="*/ 59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48">
                    <a:moveTo>
                      <a:pt x="12347" y="596"/>
                    </a:moveTo>
                    <a:cubicBezTo>
                      <a:pt x="17072" y="2391"/>
                      <a:pt x="19464" y="7713"/>
                      <a:pt x="17729" y="12498"/>
                    </a:cubicBezTo>
                    <a:cubicBezTo>
                      <a:pt x="15936" y="17282"/>
                      <a:pt x="10673" y="19675"/>
                      <a:pt x="5948" y="17821"/>
                    </a:cubicBezTo>
                    <a:cubicBezTo>
                      <a:pt x="1223" y="16026"/>
                      <a:pt x="-1170" y="10704"/>
                      <a:pt x="565" y="5919"/>
                    </a:cubicBezTo>
                    <a:cubicBezTo>
                      <a:pt x="2359" y="1194"/>
                      <a:pt x="7622" y="-1198"/>
                      <a:pt x="12347" y="596"/>
                    </a:cubicBezTo>
                    <a:close/>
                  </a:path>
                </a:pathLst>
              </a:custGeom>
              <a:grpFill/>
              <a:ln w="5978" cap="flat">
                <a:noFill/>
                <a:prstDash val="solid"/>
                <a:miter/>
              </a:ln>
            </p:spPr>
            <p:txBody>
              <a:bodyPr rtlCol="0" anchor="ctr"/>
              <a:lstStyle/>
              <a:p>
                <a:endParaRPr lang="en-GB"/>
              </a:p>
            </p:txBody>
          </p:sp>
          <p:sp>
            <p:nvSpPr>
              <p:cNvPr id="4302" name="Vrije vorm: vorm 4301">
                <a:extLst>
                  <a:ext uri="{FF2B5EF4-FFF2-40B4-BE49-F238E27FC236}">
                    <a16:creationId xmlns:a16="http://schemas.microsoft.com/office/drawing/2014/main" id="{4A84D718-4B98-4AB0-A147-FA8A14B0F31F}"/>
                  </a:ext>
                </a:extLst>
              </p:cNvPr>
              <p:cNvSpPr/>
              <p:nvPr/>
            </p:nvSpPr>
            <p:spPr>
              <a:xfrm>
                <a:off x="7628619" y="4009816"/>
                <a:ext cx="18348" cy="18417"/>
              </a:xfrm>
              <a:custGeom>
                <a:avLst/>
                <a:gdLst>
                  <a:gd name="connsiteX0" fmla="*/ 12371 w 18348"/>
                  <a:gd name="connsiteY0" fmla="*/ 596 h 18417"/>
                  <a:gd name="connsiteX1" fmla="*/ 589 w 18348"/>
                  <a:gd name="connsiteY1" fmla="*/ 5919 h 18417"/>
                  <a:gd name="connsiteX2" fmla="*/ 5971 w 18348"/>
                  <a:gd name="connsiteY2" fmla="*/ 17821 h 18417"/>
                  <a:gd name="connsiteX3" fmla="*/ 17754 w 18348"/>
                  <a:gd name="connsiteY3" fmla="*/ 12498 h 18417"/>
                  <a:gd name="connsiteX4" fmla="*/ 12371 w 18348"/>
                  <a:gd name="connsiteY4" fmla="*/ 596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7">
                    <a:moveTo>
                      <a:pt x="12371" y="596"/>
                    </a:moveTo>
                    <a:cubicBezTo>
                      <a:pt x="7646" y="-1198"/>
                      <a:pt x="2323" y="1195"/>
                      <a:pt x="589" y="5919"/>
                    </a:cubicBezTo>
                    <a:cubicBezTo>
                      <a:pt x="-1206" y="10704"/>
                      <a:pt x="1247" y="15967"/>
                      <a:pt x="5971" y="17821"/>
                    </a:cubicBezTo>
                    <a:cubicBezTo>
                      <a:pt x="10696" y="19615"/>
                      <a:pt x="16019" y="17223"/>
                      <a:pt x="17754" y="12498"/>
                    </a:cubicBezTo>
                    <a:cubicBezTo>
                      <a:pt x="19547" y="7713"/>
                      <a:pt x="17155" y="2391"/>
                      <a:pt x="12371" y="596"/>
                    </a:cubicBezTo>
                    <a:close/>
                  </a:path>
                </a:pathLst>
              </a:custGeom>
              <a:grpFill/>
              <a:ln w="5978" cap="flat">
                <a:noFill/>
                <a:prstDash val="solid"/>
                <a:miter/>
              </a:ln>
            </p:spPr>
            <p:txBody>
              <a:bodyPr rtlCol="0" anchor="ctr"/>
              <a:lstStyle/>
              <a:p>
                <a:endParaRPr lang="en-GB"/>
              </a:p>
            </p:txBody>
          </p:sp>
        </p:grpSp>
        <p:grpSp>
          <p:nvGrpSpPr>
            <p:cNvPr id="361" name="Graphic 3">
              <a:extLst>
                <a:ext uri="{FF2B5EF4-FFF2-40B4-BE49-F238E27FC236}">
                  <a16:creationId xmlns:a16="http://schemas.microsoft.com/office/drawing/2014/main" id="{14A84640-73EA-4E2F-8ACE-5DEADD664543}"/>
                </a:ext>
              </a:extLst>
            </p:cNvPr>
            <p:cNvGrpSpPr/>
            <p:nvPr/>
          </p:nvGrpSpPr>
          <p:grpSpPr>
            <a:xfrm>
              <a:off x="6761146" y="1546114"/>
              <a:ext cx="212714" cy="347844"/>
              <a:chOff x="6761146" y="1546114"/>
              <a:chExt cx="212714" cy="347844"/>
            </a:xfrm>
            <a:grpFill/>
          </p:grpSpPr>
          <p:sp>
            <p:nvSpPr>
              <p:cNvPr id="4297" name="Vrije vorm: vorm 4296">
                <a:extLst>
                  <a:ext uri="{FF2B5EF4-FFF2-40B4-BE49-F238E27FC236}">
                    <a16:creationId xmlns:a16="http://schemas.microsoft.com/office/drawing/2014/main" id="{63087BC8-F5D1-4EFD-AF5C-52CAA3232059}"/>
                  </a:ext>
                </a:extLst>
              </p:cNvPr>
              <p:cNvSpPr/>
              <p:nvPr/>
            </p:nvSpPr>
            <p:spPr>
              <a:xfrm>
                <a:off x="6768761" y="1554190"/>
                <a:ext cx="197483" cy="331750"/>
              </a:xfrm>
              <a:custGeom>
                <a:avLst/>
                <a:gdLst>
                  <a:gd name="connsiteX0" fmla="*/ 197483 w 197483"/>
                  <a:gd name="connsiteY0" fmla="*/ 1555 h 331750"/>
                  <a:gd name="connsiteX1" fmla="*/ 2632 w 197483"/>
                  <a:gd name="connsiteY1" fmla="*/ 331751 h 331750"/>
                  <a:gd name="connsiteX2" fmla="*/ 0 w 197483"/>
                  <a:gd name="connsiteY2" fmla="*/ 330196 h 331750"/>
                  <a:gd name="connsiteX3" fmla="*/ 194852 w 197483"/>
                  <a:gd name="connsiteY3" fmla="*/ 0 h 331750"/>
                </a:gdLst>
                <a:ahLst/>
                <a:cxnLst>
                  <a:cxn ang="0">
                    <a:pos x="connsiteX0" y="connsiteY0"/>
                  </a:cxn>
                  <a:cxn ang="0">
                    <a:pos x="connsiteX1" y="connsiteY1"/>
                  </a:cxn>
                  <a:cxn ang="0">
                    <a:pos x="connsiteX2" y="connsiteY2"/>
                  </a:cxn>
                  <a:cxn ang="0">
                    <a:pos x="connsiteX3" y="connsiteY3"/>
                  </a:cxn>
                </a:cxnLst>
                <a:rect l="l" t="t" r="r" b="b"/>
                <a:pathLst>
                  <a:path w="197483" h="331750">
                    <a:moveTo>
                      <a:pt x="197483" y="1555"/>
                    </a:moveTo>
                    <a:lnTo>
                      <a:pt x="2632" y="331751"/>
                    </a:lnTo>
                    <a:lnTo>
                      <a:pt x="0" y="330196"/>
                    </a:lnTo>
                    <a:lnTo>
                      <a:pt x="194852" y="0"/>
                    </a:lnTo>
                    <a:close/>
                  </a:path>
                </a:pathLst>
              </a:custGeom>
              <a:grpFill/>
              <a:ln w="5978" cap="flat">
                <a:noFill/>
                <a:prstDash val="solid"/>
                <a:miter/>
              </a:ln>
            </p:spPr>
            <p:txBody>
              <a:bodyPr rtlCol="0" anchor="ctr"/>
              <a:lstStyle/>
              <a:p>
                <a:endParaRPr lang="en-GB"/>
              </a:p>
            </p:txBody>
          </p:sp>
          <p:sp>
            <p:nvSpPr>
              <p:cNvPr id="4298" name="Vrije vorm: vorm 4297">
                <a:extLst>
                  <a:ext uri="{FF2B5EF4-FFF2-40B4-BE49-F238E27FC236}">
                    <a16:creationId xmlns:a16="http://schemas.microsoft.com/office/drawing/2014/main" id="{FA7975DF-6B34-42F5-9804-E92432B5EC98}"/>
                  </a:ext>
                </a:extLst>
              </p:cNvPr>
              <p:cNvSpPr/>
              <p:nvPr/>
            </p:nvSpPr>
            <p:spPr>
              <a:xfrm>
                <a:off x="6761146" y="1875532"/>
                <a:ext cx="18341" cy="18425"/>
              </a:xfrm>
              <a:custGeom>
                <a:avLst/>
                <a:gdLst>
                  <a:gd name="connsiteX0" fmla="*/ 17065 w 18341"/>
                  <a:gd name="connsiteY0" fmla="*/ 13938 h 18425"/>
                  <a:gd name="connsiteX1" fmla="*/ 4505 w 18341"/>
                  <a:gd name="connsiteY1" fmla="*/ 17108 h 18425"/>
                  <a:gd name="connsiteX2" fmla="*/ 1276 w 18341"/>
                  <a:gd name="connsiteY2" fmla="*/ 4488 h 18425"/>
                  <a:gd name="connsiteX3" fmla="*/ 13835 w 18341"/>
                  <a:gd name="connsiteY3" fmla="*/ 1318 h 18425"/>
                  <a:gd name="connsiteX4" fmla="*/ 17065 w 18341"/>
                  <a:gd name="connsiteY4" fmla="*/ 1393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17065" y="13938"/>
                    </a:moveTo>
                    <a:cubicBezTo>
                      <a:pt x="14493" y="18304"/>
                      <a:pt x="8872" y="19739"/>
                      <a:pt x="4505" y="17108"/>
                    </a:cubicBezTo>
                    <a:cubicBezTo>
                      <a:pt x="140" y="14476"/>
                      <a:pt x="-1296" y="8854"/>
                      <a:pt x="1276" y="4488"/>
                    </a:cubicBezTo>
                    <a:cubicBezTo>
                      <a:pt x="3848" y="122"/>
                      <a:pt x="9470" y="-1313"/>
                      <a:pt x="13835" y="1318"/>
                    </a:cubicBezTo>
                    <a:cubicBezTo>
                      <a:pt x="18202" y="3950"/>
                      <a:pt x="19637" y="9572"/>
                      <a:pt x="17065" y="13938"/>
                    </a:cubicBezTo>
                    <a:close/>
                  </a:path>
                </a:pathLst>
              </a:custGeom>
              <a:grpFill/>
              <a:ln w="5978" cap="flat">
                <a:noFill/>
                <a:prstDash val="solid"/>
                <a:miter/>
              </a:ln>
            </p:spPr>
            <p:txBody>
              <a:bodyPr rtlCol="0" anchor="ctr"/>
              <a:lstStyle/>
              <a:p>
                <a:endParaRPr lang="en-GB"/>
              </a:p>
            </p:txBody>
          </p:sp>
          <p:sp>
            <p:nvSpPr>
              <p:cNvPr id="4299" name="Vrije vorm: vorm 4298">
                <a:extLst>
                  <a:ext uri="{FF2B5EF4-FFF2-40B4-BE49-F238E27FC236}">
                    <a16:creationId xmlns:a16="http://schemas.microsoft.com/office/drawing/2014/main" id="{4AC43D1C-129A-4088-B6F9-A9FA262ED67E}"/>
                  </a:ext>
                </a:extLst>
              </p:cNvPr>
              <p:cNvSpPr/>
              <p:nvPr/>
            </p:nvSpPr>
            <p:spPr>
              <a:xfrm>
                <a:off x="6955519" y="1546114"/>
                <a:ext cx="18340" cy="18425"/>
              </a:xfrm>
              <a:custGeom>
                <a:avLst/>
                <a:gdLst>
                  <a:gd name="connsiteX0" fmla="*/ 17065 w 18340"/>
                  <a:gd name="connsiteY0" fmla="*/ 13938 h 18425"/>
                  <a:gd name="connsiteX1" fmla="*/ 13835 w 18340"/>
                  <a:gd name="connsiteY1" fmla="*/ 1318 h 18425"/>
                  <a:gd name="connsiteX2" fmla="*/ 1276 w 18340"/>
                  <a:gd name="connsiteY2" fmla="*/ 4488 h 18425"/>
                  <a:gd name="connsiteX3" fmla="*/ 4506 w 18340"/>
                  <a:gd name="connsiteY3" fmla="*/ 17108 h 18425"/>
                  <a:gd name="connsiteX4" fmla="*/ 17065 w 18340"/>
                  <a:gd name="connsiteY4" fmla="*/ 1393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17065" y="13938"/>
                    </a:moveTo>
                    <a:cubicBezTo>
                      <a:pt x="19637" y="9572"/>
                      <a:pt x="18201" y="3890"/>
                      <a:pt x="13835" y="1318"/>
                    </a:cubicBezTo>
                    <a:cubicBezTo>
                      <a:pt x="9470" y="-1313"/>
                      <a:pt x="3848" y="122"/>
                      <a:pt x="1276" y="4488"/>
                    </a:cubicBezTo>
                    <a:cubicBezTo>
                      <a:pt x="-1296" y="8854"/>
                      <a:pt x="140" y="14536"/>
                      <a:pt x="4506" y="17108"/>
                    </a:cubicBezTo>
                    <a:cubicBezTo>
                      <a:pt x="8872" y="19739"/>
                      <a:pt x="14493" y="18304"/>
                      <a:pt x="17065" y="13938"/>
                    </a:cubicBezTo>
                    <a:close/>
                  </a:path>
                </a:pathLst>
              </a:custGeom>
              <a:grpFill/>
              <a:ln w="5978" cap="flat">
                <a:noFill/>
                <a:prstDash val="solid"/>
                <a:miter/>
              </a:ln>
            </p:spPr>
            <p:txBody>
              <a:bodyPr rtlCol="0" anchor="ctr"/>
              <a:lstStyle/>
              <a:p>
                <a:endParaRPr lang="en-GB"/>
              </a:p>
            </p:txBody>
          </p:sp>
        </p:grpSp>
        <p:grpSp>
          <p:nvGrpSpPr>
            <p:cNvPr id="362" name="Graphic 3">
              <a:extLst>
                <a:ext uri="{FF2B5EF4-FFF2-40B4-BE49-F238E27FC236}">
                  <a16:creationId xmlns:a16="http://schemas.microsoft.com/office/drawing/2014/main" id="{2D83B3F6-D736-421F-9A68-1973E821593C}"/>
                </a:ext>
              </a:extLst>
            </p:cNvPr>
            <p:cNvGrpSpPr/>
            <p:nvPr/>
          </p:nvGrpSpPr>
          <p:grpSpPr>
            <a:xfrm>
              <a:off x="7617738" y="4039467"/>
              <a:ext cx="59661" cy="35046"/>
              <a:chOff x="7617738" y="4039467"/>
              <a:chExt cx="59661" cy="35046"/>
            </a:xfrm>
            <a:grpFill/>
          </p:grpSpPr>
          <p:sp>
            <p:nvSpPr>
              <p:cNvPr id="4294" name="Vrije vorm: vorm 4293">
                <a:extLst>
                  <a:ext uri="{FF2B5EF4-FFF2-40B4-BE49-F238E27FC236}">
                    <a16:creationId xmlns:a16="http://schemas.microsoft.com/office/drawing/2014/main" id="{26860162-CEB4-480F-89B1-A24B1C8984FA}"/>
                  </a:ext>
                </a:extLst>
              </p:cNvPr>
              <p:cNvSpPr/>
              <p:nvPr/>
            </p:nvSpPr>
            <p:spPr>
              <a:xfrm>
                <a:off x="7625919" y="4047134"/>
                <a:ext cx="43300" cy="19796"/>
              </a:xfrm>
              <a:custGeom>
                <a:avLst/>
                <a:gdLst>
                  <a:gd name="connsiteX0" fmla="*/ 43300 w 43300"/>
                  <a:gd name="connsiteY0" fmla="*/ 16926 h 19796"/>
                  <a:gd name="connsiteX1" fmla="*/ 42224 w 43300"/>
                  <a:gd name="connsiteY1" fmla="*/ 19796 h 19796"/>
                  <a:gd name="connsiteX2" fmla="*/ 0 w 43300"/>
                  <a:gd name="connsiteY2" fmla="*/ 2811 h 19796"/>
                  <a:gd name="connsiteX3" fmla="*/ 1136 w 43300"/>
                  <a:gd name="connsiteY3" fmla="*/ 0 h 19796"/>
                </a:gdLst>
                <a:ahLst/>
                <a:cxnLst>
                  <a:cxn ang="0">
                    <a:pos x="connsiteX0" y="connsiteY0"/>
                  </a:cxn>
                  <a:cxn ang="0">
                    <a:pos x="connsiteX1" y="connsiteY1"/>
                  </a:cxn>
                  <a:cxn ang="0">
                    <a:pos x="connsiteX2" y="connsiteY2"/>
                  </a:cxn>
                  <a:cxn ang="0">
                    <a:pos x="connsiteX3" y="connsiteY3"/>
                  </a:cxn>
                </a:cxnLst>
                <a:rect l="l" t="t" r="r" b="b"/>
                <a:pathLst>
                  <a:path w="43300" h="19796">
                    <a:moveTo>
                      <a:pt x="43300" y="16926"/>
                    </a:moveTo>
                    <a:lnTo>
                      <a:pt x="42224" y="19796"/>
                    </a:lnTo>
                    <a:lnTo>
                      <a:pt x="0" y="2811"/>
                    </a:lnTo>
                    <a:lnTo>
                      <a:pt x="1136" y="0"/>
                    </a:lnTo>
                    <a:close/>
                  </a:path>
                </a:pathLst>
              </a:custGeom>
              <a:grpFill/>
              <a:ln w="5978" cap="flat">
                <a:noFill/>
                <a:prstDash val="solid"/>
                <a:miter/>
              </a:ln>
            </p:spPr>
            <p:txBody>
              <a:bodyPr rtlCol="0" anchor="ctr"/>
              <a:lstStyle/>
              <a:p>
                <a:endParaRPr lang="en-GB"/>
              </a:p>
            </p:txBody>
          </p:sp>
          <p:sp>
            <p:nvSpPr>
              <p:cNvPr id="4295" name="Vrije vorm: vorm 4294">
                <a:extLst>
                  <a:ext uri="{FF2B5EF4-FFF2-40B4-BE49-F238E27FC236}">
                    <a16:creationId xmlns:a16="http://schemas.microsoft.com/office/drawing/2014/main" id="{9CD3D112-9B2A-4B6E-AA84-8A0F2A1DB6F9}"/>
                  </a:ext>
                </a:extLst>
              </p:cNvPr>
              <p:cNvSpPr/>
              <p:nvPr/>
            </p:nvSpPr>
            <p:spPr>
              <a:xfrm>
                <a:off x="7659064" y="4056094"/>
                <a:ext cx="18335" cy="18420"/>
              </a:xfrm>
              <a:custGeom>
                <a:avLst/>
                <a:gdLst>
                  <a:gd name="connsiteX0" fmla="*/ 12547 w 18335"/>
                  <a:gd name="connsiteY0" fmla="*/ 670 h 18420"/>
                  <a:gd name="connsiteX1" fmla="*/ 17690 w 18335"/>
                  <a:gd name="connsiteY1" fmla="*/ 12631 h 18420"/>
                  <a:gd name="connsiteX2" fmla="*/ 5789 w 18335"/>
                  <a:gd name="connsiteY2" fmla="*/ 17775 h 18420"/>
                  <a:gd name="connsiteX3" fmla="*/ 645 w 18335"/>
                  <a:gd name="connsiteY3" fmla="*/ 5813 h 18420"/>
                  <a:gd name="connsiteX4" fmla="*/ 12547 w 18335"/>
                  <a:gd name="connsiteY4" fmla="*/ 67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0">
                    <a:moveTo>
                      <a:pt x="12547" y="670"/>
                    </a:moveTo>
                    <a:cubicBezTo>
                      <a:pt x="17272" y="2584"/>
                      <a:pt x="19544" y="7907"/>
                      <a:pt x="17690" y="12631"/>
                    </a:cubicBezTo>
                    <a:cubicBezTo>
                      <a:pt x="15836" y="17356"/>
                      <a:pt x="10514" y="19629"/>
                      <a:pt x="5789" y="17775"/>
                    </a:cubicBezTo>
                    <a:cubicBezTo>
                      <a:pt x="1064" y="15861"/>
                      <a:pt x="-1209" y="10538"/>
                      <a:pt x="645" y="5813"/>
                    </a:cubicBezTo>
                    <a:cubicBezTo>
                      <a:pt x="2499" y="1088"/>
                      <a:pt x="7822" y="-1244"/>
                      <a:pt x="12547" y="670"/>
                    </a:cubicBezTo>
                    <a:close/>
                  </a:path>
                </a:pathLst>
              </a:custGeom>
              <a:grpFill/>
              <a:ln w="5978" cap="flat">
                <a:noFill/>
                <a:prstDash val="solid"/>
                <a:miter/>
              </a:ln>
            </p:spPr>
            <p:txBody>
              <a:bodyPr rtlCol="0" anchor="ctr"/>
              <a:lstStyle/>
              <a:p>
                <a:endParaRPr lang="en-GB"/>
              </a:p>
            </p:txBody>
          </p:sp>
          <p:sp>
            <p:nvSpPr>
              <p:cNvPr id="4296" name="Vrije vorm: vorm 4295">
                <a:extLst>
                  <a:ext uri="{FF2B5EF4-FFF2-40B4-BE49-F238E27FC236}">
                    <a16:creationId xmlns:a16="http://schemas.microsoft.com/office/drawing/2014/main" id="{9E08155E-9729-4F5F-AB1D-6AE99FBE5FCA}"/>
                  </a:ext>
                </a:extLst>
              </p:cNvPr>
              <p:cNvSpPr/>
              <p:nvPr/>
            </p:nvSpPr>
            <p:spPr>
              <a:xfrm>
                <a:off x="7617738" y="4039467"/>
                <a:ext cx="18335" cy="18444"/>
              </a:xfrm>
              <a:custGeom>
                <a:avLst/>
                <a:gdLst>
                  <a:gd name="connsiteX0" fmla="*/ 12547 w 18335"/>
                  <a:gd name="connsiteY0" fmla="*/ 670 h 18444"/>
                  <a:gd name="connsiteX1" fmla="*/ 645 w 18335"/>
                  <a:gd name="connsiteY1" fmla="*/ 5813 h 18444"/>
                  <a:gd name="connsiteX2" fmla="*/ 5788 w 18335"/>
                  <a:gd name="connsiteY2" fmla="*/ 17775 h 18444"/>
                  <a:gd name="connsiteX3" fmla="*/ 17690 w 18335"/>
                  <a:gd name="connsiteY3" fmla="*/ 12631 h 18444"/>
                  <a:gd name="connsiteX4" fmla="*/ 12547 w 18335"/>
                  <a:gd name="connsiteY4" fmla="*/ 67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2547" y="670"/>
                    </a:moveTo>
                    <a:cubicBezTo>
                      <a:pt x="7822" y="-1244"/>
                      <a:pt x="2499" y="1089"/>
                      <a:pt x="645" y="5813"/>
                    </a:cubicBezTo>
                    <a:cubicBezTo>
                      <a:pt x="-1209" y="10538"/>
                      <a:pt x="1063" y="15921"/>
                      <a:pt x="5788" y="17775"/>
                    </a:cubicBezTo>
                    <a:cubicBezTo>
                      <a:pt x="10513" y="19689"/>
                      <a:pt x="15836" y="17356"/>
                      <a:pt x="17690" y="12631"/>
                    </a:cubicBezTo>
                    <a:cubicBezTo>
                      <a:pt x="19544" y="7966"/>
                      <a:pt x="17272" y="2584"/>
                      <a:pt x="12547" y="670"/>
                    </a:cubicBezTo>
                    <a:close/>
                  </a:path>
                </a:pathLst>
              </a:custGeom>
              <a:grpFill/>
              <a:ln w="5978" cap="flat">
                <a:noFill/>
                <a:prstDash val="solid"/>
                <a:miter/>
              </a:ln>
            </p:spPr>
            <p:txBody>
              <a:bodyPr rtlCol="0" anchor="ctr"/>
              <a:lstStyle/>
              <a:p>
                <a:endParaRPr lang="en-GB"/>
              </a:p>
            </p:txBody>
          </p:sp>
        </p:grpSp>
        <p:grpSp>
          <p:nvGrpSpPr>
            <p:cNvPr id="363" name="Graphic 3">
              <a:extLst>
                <a:ext uri="{FF2B5EF4-FFF2-40B4-BE49-F238E27FC236}">
                  <a16:creationId xmlns:a16="http://schemas.microsoft.com/office/drawing/2014/main" id="{FB3FC919-815A-47D6-946B-650826891097}"/>
                </a:ext>
              </a:extLst>
            </p:cNvPr>
            <p:cNvGrpSpPr/>
            <p:nvPr/>
          </p:nvGrpSpPr>
          <p:grpSpPr>
            <a:xfrm>
              <a:off x="6701407" y="1283425"/>
              <a:ext cx="121646" cy="307505"/>
              <a:chOff x="6701407" y="1283425"/>
              <a:chExt cx="121646" cy="307505"/>
            </a:xfrm>
            <a:grpFill/>
          </p:grpSpPr>
          <p:sp>
            <p:nvSpPr>
              <p:cNvPr id="4291" name="Vrije vorm: vorm 4290">
                <a:extLst>
                  <a:ext uri="{FF2B5EF4-FFF2-40B4-BE49-F238E27FC236}">
                    <a16:creationId xmlns:a16="http://schemas.microsoft.com/office/drawing/2014/main" id="{C391B448-81FE-466F-8ADA-1632E6F34572}"/>
                  </a:ext>
                </a:extLst>
              </p:cNvPr>
              <p:cNvSpPr/>
              <p:nvPr/>
            </p:nvSpPr>
            <p:spPr>
              <a:xfrm>
                <a:off x="6709014" y="1291697"/>
                <a:ext cx="106456" cy="291021"/>
              </a:xfrm>
              <a:custGeom>
                <a:avLst/>
                <a:gdLst>
                  <a:gd name="connsiteX0" fmla="*/ 106457 w 106456"/>
                  <a:gd name="connsiteY0" fmla="*/ 1017 h 291021"/>
                  <a:gd name="connsiteX1" fmla="*/ 2871 w 106456"/>
                  <a:gd name="connsiteY1" fmla="*/ 291022 h 291021"/>
                  <a:gd name="connsiteX2" fmla="*/ 0 w 106456"/>
                  <a:gd name="connsiteY2" fmla="*/ 289945 h 291021"/>
                  <a:gd name="connsiteX3" fmla="*/ 103586 w 106456"/>
                  <a:gd name="connsiteY3" fmla="*/ 0 h 291021"/>
                </a:gdLst>
                <a:ahLst/>
                <a:cxnLst>
                  <a:cxn ang="0">
                    <a:pos x="connsiteX0" y="connsiteY0"/>
                  </a:cxn>
                  <a:cxn ang="0">
                    <a:pos x="connsiteX1" y="connsiteY1"/>
                  </a:cxn>
                  <a:cxn ang="0">
                    <a:pos x="connsiteX2" y="connsiteY2"/>
                  </a:cxn>
                  <a:cxn ang="0">
                    <a:pos x="connsiteX3" y="connsiteY3"/>
                  </a:cxn>
                </a:cxnLst>
                <a:rect l="l" t="t" r="r" b="b"/>
                <a:pathLst>
                  <a:path w="106456" h="291021">
                    <a:moveTo>
                      <a:pt x="106457" y="1017"/>
                    </a:moveTo>
                    <a:lnTo>
                      <a:pt x="2871" y="291022"/>
                    </a:lnTo>
                    <a:lnTo>
                      <a:pt x="0" y="289945"/>
                    </a:lnTo>
                    <a:lnTo>
                      <a:pt x="103586" y="0"/>
                    </a:lnTo>
                    <a:close/>
                  </a:path>
                </a:pathLst>
              </a:custGeom>
              <a:grpFill/>
              <a:ln w="5978" cap="flat">
                <a:noFill/>
                <a:prstDash val="solid"/>
                <a:miter/>
              </a:ln>
            </p:spPr>
            <p:txBody>
              <a:bodyPr rtlCol="0" anchor="ctr"/>
              <a:lstStyle/>
              <a:p>
                <a:endParaRPr lang="en-GB"/>
              </a:p>
            </p:txBody>
          </p:sp>
          <p:sp>
            <p:nvSpPr>
              <p:cNvPr id="4292" name="Vrije vorm: vorm 4291">
                <a:extLst>
                  <a:ext uri="{FF2B5EF4-FFF2-40B4-BE49-F238E27FC236}">
                    <a16:creationId xmlns:a16="http://schemas.microsoft.com/office/drawing/2014/main" id="{192128CF-E0BA-4EBF-8A47-6223B6A5BAE0}"/>
                  </a:ext>
                </a:extLst>
              </p:cNvPr>
              <p:cNvSpPr/>
              <p:nvPr/>
            </p:nvSpPr>
            <p:spPr>
              <a:xfrm>
                <a:off x="6804718" y="1283425"/>
                <a:ext cx="18335" cy="18397"/>
              </a:xfrm>
              <a:custGeom>
                <a:avLst/>
                <a:gdLst>
                  <a:gd name="connsiteX0" fmla="*/ 526 w 18335"/>
                  <a:gd name="connsiteY0" fmla="*/ 6059 h 18397"/>
                  <a:gd name="connsiteX1" fmla="*/ 12248 w 18335"/>
                  <a:gd name="connsiteY1" fmla="*/ 557 h 18397"/>
                  <a:gd name="connsiteX2" fmla="*/ 17810 w 18335"/>
                  <a:gd name="connsiteY2" fmla="*/ 12339 h 18397"/>
                  <a:gd name="connsiteX3" fmla="*/ 6088 w 18335"/>
                  <a:gd name="connsiteY3" fmla="*/ 17841 h 18397"/>
                  <a:gd name="connsiteX4" fmla="*/ 526 w 18335"/>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7">
                    <a:moveTo>
                      <a:pt x="526" y="6059"/>
                    </a:moveTo>
                    <a:cubicBezTo>
                      <a:pt x="2260" y="1274"/>
                      <a:pt x="7463" y="-1178"/>
                      <a:pt x="12248" y="557"/>
                    </a:cubicBezTo>
                    <a:cubicBezTo>
                      <a:pt x="17033" y="2291"/>
                      <a:pt x="19485" y="7554"/>
                      <a:pt x="17810" y="12339"/>
                    </a:cubicBezTo>
                    <a:cubicBezTo>
                      <a:pt x="16136" y="17123"/>
                      <a:pt x="10873" y="19575"/>
                      <a:pt x="6088" y="17841"/>
                    </a:cubicBezTo>
                    <a:cubicBezTo>
                      <a:pt x="1303" y="16107"/>
                      <a:pt x="-1149" y="10843"/>
                      <a:pt x="526" y="6059"/>
                    </a:cubicBezTo>
                    <a:close/>
                  </a:path>
                </a:pathLst>
              </a:custGeom>
              <a:grpFill/>
              <a:ln w="5978" cap="flat">
                <a:noFill/>
                <a:prstDash val="solid"/>
                <a:miter/>
              </a:ln>
            </p:spPr>
            <p:txBody>
              <a:bodyPr rtlCol="0" anchor="ctr"/>
              <a:lstStyle/>
              <a:p>
                <a:endParaRPr lang="en-GB"/>
              </a:p>
            </p:txBody>
          </p:sp>
          <p:sp>
            <p:nvSpPr>
              <p:cNvPr id="4293" name="Vrije vorm: vorm 4292">
                <a:extLst>
                  <a:ext uri="{FF2B5EF4-FFF2-40B4-BE49-F238E27FC236}">
                    <a16:creationId xmlns:a16="http://schemas.microsoft.com/office/drawing/2014/main" id="{9CBB5571-91E4-4183-8DC3-C49DB6E8375C}"/>
                  </a:ext>
                </a:extLst>
              </p:cNvPr>
              <p:cNvSpPr/>
              <p:nvPr/>
            </p:nvSpPr>
            <p:spPr>
              <a:xfrm>
                <a:off x="6701407" y="1572533"/>
                <a:ext cx="18383" cy="18397"/>
              </a:xfrm>
              <a:custGeom>
                <a:avLst/>
                <a:gdLst>
                  <a:gd name="connsiteX0" fmla="*/ 550 w 18383"/>
                  <a:gd name="connsiteY0" fmla="*/ 6059 h 18397"/>
                  <a:gd name="connsiteX1" fmla="*/ 6112 w 18383"/>
                  <a:gd name="connsiteY1" fmla="*/ 17841 h 18397"/>
                  <a:gd name="connsiteX2" fmla="*/ 17834 w 18383"/>
                  <a:gd name="connsiteY2" fmla="*/ 12339 h 18397"/>
                  <a:gd name="connsiteX3" fmla="*/ 12331 w 18383"/>
                  <a:gd name="connsiteY3" fmla="*/ 557 h 18397"/>
                  <a:gd name="connsiteX4" fmla="*/ 550 w 18383"/>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397">
                    <a:moveTo>
                      <a:pt x="550" y="6059"/>
                    </a:moveTo>
                    <a:cubicBezTo>
                      <a:pt x="-1185" y="10844"/>
                      <a:pt x="1327" y="16106"/>
                      <a:pt x="6112" y="17841"/>
                    </a:cubicBezTo>
                    <a:cubicBezTo>
                      <a:pt x="10896" y="19575"/>
                      <a:pt x="16099" y="17123"/>
                      <a:pt x="17834" y="12339"/>
                    </a:cubicBezTo>
                    <a:cubicBezTo>
                      <a:pt x="19568" y="7554"/>
                      <a:pt x="17056" y="2291"/>
                      <a:pt x="12331" y="557"/>
                    </a:cubicBezTo>
                    <a:cubicBezTo>
                      <a:pt x="7547" y="-1178"/>
                      <a:pt x="2284" y="1274"/>
                      <a:pt x="550" y="6059"/>
                    </a:cubicBezTo>
                    <a:close/>
                  </a:path>
                </a:pathLst>
              </a:custGeom>
              <a:grpFill/>
              <a:ln w="5978" cap="flat">
                <a:noFill/>
                <a:prstDash val="solid"/>
                <a:miter/>
              </a:ln>
            </p:spPr>
            <p:txBody>
              <a:bodyPr rtlCol="0" anchor="ctr"/>
              <a:lstStyle/>
              <a:p>
                <a:endParaRPr lang="en-GB"/>
              </a:p>
            </p:txBody>
          </p:sp>
        </p:grpSp>
        <p:grpSp>
          <p:nvGrpSpPr>
            <p:cNvPr id="364" name="Graphic 3">
              <a:extLst>
                <a:ext uri="{FF2B5EF4-FFF2-40B4-BE49-F238E27FC236}">
                  <a16:creationId xmlns:a16="http://schemas.microsoft.com/office/drawing/2014/main" id="{4A0E278B-D0FE-4096-8094-535319F96F3E}"/>
                </a:ext>
              </a:extLst>
            </p:cNvPr>
            <p:cNvGrpSpPr/>
            <p:nvPr/>
          </p:nvGrpSpPr>
          <p:grpSpPr>
            <a:xfrm>
              <a:off x="7704212" y="4261418"/>
              <a:ext cx="20835" cy="19747"/>
              <a:chOff x="7704212" y="4261418"/>
              <a:chExt cx="20835" cy="19747"/>
            </a:xfrm>
            <a:grpFill/>
          </p:grpSpPr>
          <p:sp>
            <p:nvSpPr>
              <p:cNvPr id="4288" name="Vrije vorm: vorm 4287">
                <a:extLst>
                  <a:ext uri="{FF2B5EF4-FFF2-40B4-BE49-F238E27FC236}">
                    <a16:creationId xmlns:a16="http://schemas.microsoft.com/office/drawing/2014/main" id="{481E0A9A-D992-4214-95A5-B66BA852D8BD}"/>
                  </a:ext>
                </a:extLst>
              </p:cNvPr>
              <p:cNvSpPr/>
              <p:nvPr/>
            </p:nvSpPr>
            <p:spPr>
              <a:xfrm>
                <a:off x="7712280" y="4269079"/>
                <a:ext cx="4665" cy="4426"/>
              </a:xfrm>
              <a:custGeom>
                <a:avLst/>
                <a:gdLst>
                  <a:gd name="connsiteX0" fmla="*/ 4665 w 4665"/>
                  <a:gd name="connsiteY0" fmla="*/ 1675 h 4426"/>
                  <a:gd name="connsiteX1" fmla="*/ 3290 w 4665"/>
                  <a:gd name="connsiteY1" fmla="*/ 4426 h 4426"/>
                  <a:gd name="connsiteX2" fmla="*/ 0 w 4665"/>
                  <a:gd name="connsiteY2" fmla="*/ 2691 h 4426"/>
                  <a:gd name="connsiteX3" fmla="*/ 1376 w 4665"/>
                  <a:gd name="connsiteY3" fmla="*/ 0 h 4426"/>
                </a:gdLst>
                <a:ahLst/>
                <a:cxnLst>
                  <a:cxn ang="0">
                    <a:pos x="connsiteX0" y="connsiteY0"/>
                  </a:cxn>
                  <a:cxn ang="0">
                    <a:pos x="connsiteX1" y="connsiteY1"/>
                  </a:cxn>
                  <a:cxn ang="0">
                    <a:pos x="connsiteX2" y="connsiteY2"/>
                  </a:cxn>
                  <a:cxn ang="0">
                    <a:pos x="connsiteX3" y="connsiteY3"/>
                  </a:cxn>
                </a:cxnLst>
                <a:rect l="l" t="t" r="r" b="b"/>
                <a:pathLst>
                  <a:path w="4665" h="4426">
                    <a:moveTo>
                      <a:pt x="4665" y="1675"/>
                    </a:moveTo>
                    <a:lnTo>
                      <a:pt x="3290" y="4426"/>
                    </a:lnTo>
                    <a:lnTo>
                      <a:pt x="0" y="2691"/>
                    </a:lnTo>
                    <a:lnTo>
                      <a:pt x="1376" y="0"/>
                    </a:lnTo>
                    <a:close/>
                  </a:path>
                </a:pathLst>
              </a:custGeom>
              <a:grpFill/>
              <a:ln w="5978" cap="flat">
                <a:noFill/>
                <a:prstDash val="solid"/>
                <a:miter/>
              </a:ln>
            </p:spPr>
            <p:txBody>
              <a:bodyPr rtlCol="0" anchor="ctr"/>
              <a:lstStyle/>
              <a:p>
                <a:endParaRPr lang="en-GB"/>
              </a:p>
            </p:txBody>
          </p:sp>
          <p:sp>
            <p:nvSpPr>
              <p:cNvPr id="4289" name="Vrije vorm: vorm 4288">
                <a:extLst>
                  <a:ext uri="{FF2B5EF4-FFF2-40B4-BE49-F238E27FC236}">
                    <a16:creationId xmlns:a16="http://schemas.microsoft.com/office/drawing/2014/main" id="{77F2DD48-6031-4B40-BE8C-D6BC0AB7A27E}"/>
                  </a:ext>
                </a:extLst>
              </p:cNvPr>
              <p:cNvSpPr/>
              <p:nvPr/>
            </p:nvSpPr>
            <p:spPr>
              <a:xfrm>
                <a:off x="7704212" y="4261418"/>
                <a:ext cx="18349" cy="18431"/>
              </a:xfrm>
              <a:custGeom>
                <a:avLst/>
                <a:gdLst>
                  <a:gd name="connsiteX0" fmla="*/ 5019 w 18349"/>
                  <a:gd name="connsiteY0" fmla="*/ 17409 h 18431"/>
                  <a:gd name="connsiteX1" fmla="*/ 1011 w 18349"/>
                  <a:gd name="connsiteY1" fmla="*/ 5029 h 18431"/>
                  <a:gd name="connsiteX2" fmla="*/ 13331 w 18349"/>
                  <a:gd name="connsiteY2" fmla="*/ 1022 h 18431"/>
                  <a:gd name="connsiteX3" fmla="*/ 17338 w 18349"/>
                  <a:gd name="connsiteY3" fmla="*/ 13402 h 18431"/>
                  <a:gd name="connsiteX4" fmla="*/ 5019 w 18349"/>
                  <a:gd name="connsiteY4" fmla="*/ 1740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5019" y="17409"/>
                    </a:moveTo>
                    <a:cubicBezTo>
                      <a:pt x="533" y="15077"/>
                      <a:pt x="-1321" y="9515"/>
                      <a:pt x="1011" y="5029"/>
                    </a:cubicBezTo>
                    <a:cubicBezTo>
                      <a:pt x="3284" y="484"/>
                      <a:pt x="8846" y="-1310"/>
                      <a:pt x="13331" y="1022"/>
                    </a:cubicBezTo>
                    <a:cubicBezTo>
                      <a:pt x="17817" y="3355"/>
                      <a:pt x="19671" y="8917"/>
                      <a:pt x="17338" y="13402"/>
                    </a:cubicBezTo>
                    <a:cubicBezTo>
                      <a:pt x="15006" y="17948"/>
                      <a:pt x="9504" y="19742"/>
                      <a:pt x="5019" y="17409"/>
                    </a:cubicBezTo>
                    <a:close/>
                  </a:path>
                </a:pathLst>
              </a:custGeom>
              <a:grpFill/>
              <a:ln w="5978" cap="flat">
                <a:noFill/>
                <a:prstDash val="solid"/>
                <a:miter/>
              </a:ln>
            </p:spPr>
            <p:txBody>
              <a:bodyPr rtlCol="0" anchor="ctr"/>
              <a:lstStyle/>
              <a:p>
                <a:endParaRPr lang="en-GB"/>
              </a:p>
            </p:txBody>
          </p:sp>
          <p:sp>
            <p:nvSpPr>
              <p:cNvPr id="4290" name="Vrije vorm: vorm 4289">
                <a:extLst>
                  <a:ext uri="{FF2B5EF4-FFF2-40B4-BE49-F238E27FC236}">
                    <a16:creationId xmlns:a16="http://schemas.microsoft.com/office/drawing/2014/main" id="{3A81AAE3-DFCF-4E2D-87E9-61A9945F0D07}"/>
                  </a:ext>
                </a:extLst>
              </p:cNvPr>
              <p:cNvSpPr/>
              <p:nvPr/>
            </p:nvSpPr>
            <p:spPr>
              <a:xfrm>
                <a:off x="7706713" y="4262734"/>
                <a:ext cx="18334" cy="18431"/>
              </a:xfrm>
              <a:custGeom>
                <a:avLst/>
                <a:gdLst>
                  <a:gd name="connsiteX0" fmla="*/ 5029 w 18334"/>
                  <a:gd name="connsiteY0" fmla="*/ 17409 h 18431"/>
                  <a:gd name="connsiteX1" fmla="*/ 17350 w 18334"/>
                  <a:gd name="connsiteY1" fmla="*/ 13402 h 18431"/>
                  <a:gd name="connsiteX2" fmla="*/ 13342 w 18334"/>
                  <a:gd name="connsiteY2" fmla="*/ 1022 h 18431"/>
                  <a:gd name="connsiteX3" fmla="*/ 1022 w 18334"/>
                  <a:gd name="connsiteY3" fmla="*/ 5029 h 18431"/>
                  <a:gd name="connsiteX4" fmla="*/ 5029 w 18334"/>
                  <a:gd name="connsiteY4" fmla="*/ 1740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1">
                    <a:moveTo>
                      <a:pt x="5029" y="17409"/>
                    </a:moveTo>
                    <a:cubicBezTo>
                      <a:pt x="9515" y="19742"/>
                      <a:pt x="15077" y="17947"/>
                      <a:pt x="17350" y="13402"/>
                    </a:cubicBezTo>
                    <a:cubicBezTo>
                      <a:pt x="19622" y="8857"/>
                      <a:pt x="17828" y="3295"/>
                      <a:pt x="13342" y="1022"/>
                    </a:cubicBezTo>
                    <a:cubicBezTo>
                      <a:pt x="8857" y="-1310"/>
                      <a:pt x="3294" y="484"/>
                      <a:pt x="1022" y="5029"/>
                    </a:cubicBezTo>
                    <a:cubicBezTo>
                      <a:pt x="-1310" y="9515"/>
                      <a:pt x="484" y="15077"/>
                      <a:pt x="5029" y="17409"/>
                    </a:cubicBezTo>
                    <a:close/>
                  </a:path>
                </a:pathLst>
              </a:custGeom>
              <a:grpFill/>
              <a:ln w="5978" cap="flat">
                <a:noFill/>
                <a:prstDash val="solid"/>
                <a:miter/>
              </a:ln>
            </p:spPr>
            <p:txBody>
              <a:bodyPr rtlCol="0" anchor="ctr"/>
              <a:lstStyle/>
              <a:p>
                <a:endParaRPr lang="en-GB"/>
              </a:p>
            </p:txBody>
          </p:sp>
        </p:grpSp>
        <p:grpSp>
          <p:nvGrpSpPr>
            <p:cNvPr id="365" name="Graphic 3">
              <a:extLst>
                <a:ext uri="{FF2B5EF4-FFF2-40B4-BE49-F238E27FC236}">
                  <a16:creationId xmlns:a16="http://schemas.microsoft.com/office/drawing/2014/main" id="{1C0296E8-064C-4485-A5A0-917018A29243}"/>
                </a:ext>
              </a:extLst>
            </p:cNvPr>
            <p:cNvGrpSpPr/>
            <p:nvPr/>
          </p:nvGrpSpPr>
          <p:grpSpPr>
            <a:xfrm>
              <a:off x="6868614" y="1796883"/>
              <a:ext cx="98432" cy="161310"/>
              <a:chOff x="6868614" y="1796883"/>
              <a:chExt cx="98432" cy="161310"/>
            </a:xfrm>
            <a:grpFill/>
          </p:grpSpPr>
          <p:sp>
            <p:nvSpPr>
              <p:cNvPr id="4285" name="Vrije vorm: vorm 4284">
                <a:extLst>
                  <a:ext uri="{FF2B5EF4-FFF2-40B4-BE49-F238E27FC236}">
                    <a16:creationId xmlns:a16="http://schemas.microsoft.com/office/drawing/2014/main" id="{F8823531-0A25-42B4-A656-8D005AE8E910}"/>
                  </a:ext>
                </a:extLst>
              </p:cNvPr>
              <p:cNvSpPr/>
              <p:nvPr/>
            </p:nvSpPr>
            <p:spPr>
              <a:xfrm>
                <a:off x="6876235" y="1804902"/>
                <a:ext cx="83191" cy="145211"/>
              </a:xfrm>
              <a:custGeom>
                <a:avLst/>
                <a:gdLst>
                  <a:gd name="connsiteX0" fmla="*/ 83191 w 83191"/>
                  <a:gd name="connsiteY0" fmla="*/ 1495 h 145211"/>
                  <a:gd name="connsiteX1" fmla="*/ 2631 w 83191"/>
                  <a:gd name="connsiteY1" fmla="*/ 145212 h 145211"/>
                  <a:gd name="connsiteX2" fmla="*/ 0 w 83191"/>
                  <a:gd name="connsiteY2" fmla="*/ 143717 h 145211"/>
                  <a:gd name="connsiteX3" fmla="*/ 80500 w 83191"/>
                  <a:gd name="connsiteY3" fmla="*/ 0 h 145211"/>
                </a:gdLst>
                <a:ahLst/>
                <a:cxnLst>
                  <a:cxn ang="0">
                    <a:pos x="connsiteX0" y="connsiteY0"/>
                  </a:cxn>
                  <a:cxn ang="0">
                    <a:pos x="connsiteX1" y="connsiteY1"/>
                  </a:cxn>
                  <a:cxn ang="0">
                    <a:pos x="connsiteX2" y="connsiteY2"/>
                  </a:cxn>
                  <a:cxn ang="0">
                    <a:pos x="connsiteX3" y="connsiteY3"/>
                  </a:cxn>
                </a:cxnLst>
                <a:rect l="l" t="t" r="r" b="b"/>
                <a:pathLst>
                  <a:path w="83191" h="145211">
                    <a:moveTo>
                      <a:pt x="83191" y="1495"/>
                    </a:moveTo>
                    <a:lnTo>
                      <a:pt x="2631" y="145212"/>
                    </a:lnTo>
                    <a:lnTo>
                      <a:pt x="0" y="143717"/>
                    </a:lnTo>
                    <a:lnTo>
                      <a:pt x="80500" y="0"/>
                    </a:lnTo>
                    <a:close/>
                  </a:path>
                </a:pathLst>
              </a:custGeom>
              <a:grpFill/>
              <a:ln w="5978" cap="flat">
                <a:noFill/>
                <a:prstDash val="solid"/>
                <a:miter/>
              </a:ln>
            </p:spPr>
            <p:txBody>
              <a:bodyPr rtlCol="0" anchor="ctr"/>
              <a:lstStyle/>
              <a:p>
                <a:endParaRPr lang="en-GB"/>
              </a:p>
            </p:txBody>
          </p:sp>
          <p:sp>
            <p:nvSpPr>
              <p:cNvPr id="4286" name="Vrije vorm: vorm 4285">
                <a:extLst>
                  <a:ext uri="{FF2B5EF4-FFF2-40B4-BE49-F238E27FC236}">
                    <a16:creationId xmlns:a16="http://schemas.microsoft.com/office/drawing/2014/main" id="{F1562278-60CF-415A-A2C2-2C23B8AF0637}"/>
                  </a:ext>
                </a:extLst>
              </p:cNvPr>
              <p:cNvSpPr/>
              <p:nvPr/>
            </p:nvSpPr>
            <p:spPr>
              <a:xfrm>
                <a:off x="6948697" y="1796883"/>
                <a:ext cx="18349" cy="18431"/>
              </a:xfrm>
              <a:custGeom>
                <a:avLst/>
                <a:gdLst>
                  <a:gd name="connsiteX0" fmla="*/ 1160 w 18349"/>
                  <a:gd name="connsiteY0" fmla="*/ 4670 h 18431"/>
                  <a:gd name="connsiteX1" fmla="*/ 13660 w 18349"/>
                  <a:gd name="connsiteY1" fmla="*/ 1201 h 18431"/>
                  <a:gd name="connsiteX2" fmla="*/ 17189 w 18349"/>
                  <a:gd name="connsiteY2" fmla="*/ 13761 h 18431"/>
                  <a:gd name="connsiteX3" fmla="*/ 4689 w 18349"/>
                  <a:gd name="connsiteY3" fmla="*/ 17230 h 18431"/>
                  <a:gd name="connsiteX4" fmla="*/ 1160 w 18349"/>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1160" y="4670"/>
                    </a:moveTo>
                    <a:cubicBezTo>
                      <a:pt x="3612" y="245"/>
                      <a:pt x="9234" y="-1310"/>
                      <a:pt x="13660" y="1201"/>
                    </a:cubicBezTo>
                    <a:cubicBezTo>
                      <a:pt x="18086" y="3713"/>
                      <a:pt x="19641" y="9335"/>
                      <a:pt x="17189" y="13761"/>
                    </a:cubicBezTo>
                    <a:cubicBezTo>
                      <a:pt x="14736" y="18187"/>
                      <a:pt x="9115" y="19742"/>
                      <a:pt x="4689" y="17230"/>
                    </a:cubicBezTo>
                    <a:cubicBezTo>
                      <a:pt x="263" y="14718"/>
                      <a:pt x="-1292" y="9096"/>
                      <a:pt x="1160" y="4670"/>
                    </a:cubicBezTo>
                    <a:close/>
                  </a:path>
                </a:pathLst>
              </a:custGeom>
              <a:grpFill/>
              <a:ln w="5978" cap="flat">
                <a:noFill/>
                <a:prstDash val="solid"/>
                <a:miter/>
              </a:ln>
            </p:spPr>
            <p:txBody>
              <a:bodyPr rtlCol="0" anchor="ctr"/>
              <a:lstStyle/>
              <a:p>
                <a:endParaRPr lang="en-GB"/>
              </a:p>
            </p:txBody>
          </p:sp>
          <p:sp>
            <p:nvSpPr>
              <p:cNvPr id="4287" name="Vrije vorm: vorm 4286">
                <a:extLst>
                  <a:ext uri="{FF2B5EF4-FFF2-40B4-BE49-F238E27FC236}">
                    <a16:creationId xmlns:a16="http://schemas.microsoft.com/office/drawing/2014/main" id="{D840B29B-B617-41F4-B926-56C29CC2D006}"/>
                  </a:ext>
                </a:extLst>
              </p:cNvPr>
              <p:cNvSpPr/>
              <p:nvPr/>
            </p:nvSpPr>
            <p:spPr>
              <a:xfrm>
                <a:off x="6868614" y="1939762"/>
                <a:ext cx="18291" cy="18431"/>
              </a:xfrm>
              <a:custGeom>
                <a:avLst/>
                <a:gdLst>
                  <a:gd name="connsiteX0" fmla="*/ 1162 w 18291"/>
                  <a:gd name="connsiteY0" fmla="*/ 4670 h 18431"/>
                  <a:gd name="connsiteX1" fmla="*/ 4631 w 18291"/>
                  <a:gd name="connsiteY1" fmla="*/ 17230 h 18431"/>
                  <a:gd name="connsiteX2" fmla="*/ 17131 w 18291"/>
                  <a:gd name="connsiteY2" fmla="*/ 13761 h 18431"/>
                  <a:gd name="connsiteX3" fmla="*/ 13602 w 18291"/>
                  <a:gd name="connsiteY3" fmla="*/ 1201 h 18431"/>
                  <a:gd name="connsiteX4" fmla="*/ 1162 w 18291"/>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31">
                    <a:moveTo>
                      <a:pt x="1162" y="4670"/>
                    </a:moveTo>
                    <a:cubicBezTo>
                      <a:pt x="-1290" y="9096"/>
                      <a:pt x="265" y="14718"/>
                      <a:pt x="4631" y="17230"/>
                    </a:cubicBezTo>
                    <a:cubicBezTo>
                      <a:pt x="9057" y="19742"/>
                      <a:pt x="14619" y="18187"/>
                      <a:pt x="17131" y="13761"/>
                    </a:cubicBezTo>
                    <a:cubicBezTo>
                      <a:pt x="19583" y="9335"/>
                      <a:pt x="18028" y="3713"/>
                      <a:pt x="13602" y="1201"/>
                    </a:cubicBezTo>
                    <a:cubicBezTo>
                      <a:pt x="9236" y="-1310"/>
                      <a:pt x="3674" y="245"/>
                      <a:pt x="1162" y="4670"/>
                    </a:cubicBezTo>
                    <a:close/>
                  </a:path>
                </a:pathLst>
              </a:custGeom>
              <a:grpFill/>
              <a:ln w="5978" cap="flat">
                <a:noFill/>
                <a:prstDash val="solid"/>
                <a:miter/>
              </a:ln>
            </p:spPr>
            <p:txBody>
              <a:bodyPr rtlCol="0" anchor="ctr"/>
              <a:lstStyle/>
              <a:p>
                <a:endParaRPr lang="en-GB"/>
              </a:p>
            </p:txBody>
          </p:sp>
        </p:grpSp>
        <p:grpSp>
          <p:nvGrpSpPr>
            <p:cNvPr id="366" name="Graphic 3">
              <a:extLst>
                <a:ext uri="{FF2B5EF4-FFF2-40B4-BE49-F238E27FC236}">
                  <a16:creationId xmlns:a16="http://schemas.microsoft.com/office/drawing/2014/main" id="{BDD4B26D-DFEB-4B41-AFC2-77CC1B099D81}"/>
                </a:ext>
              </a:extLst>
            </p:cNvPr>
            <p:cNvGrpSpPr/>
            <p:nvPr/>
          </p:nvGrpSpPr>
          <p:grpSpPr>
            <a:xfrm>
              <a:off x="7745767" y="4449781"/>
              <a:ext cx="102713" cy="70150"/>
              <a:chOff x="7745767" y="4449781"/>
              <a:chExt cx="102713" cy="70150"/>
            </a:xfrm>
            <a:grpFill/>
          </p:grpSpPr>
          <p:sp>
            <p:nvSpPr>
              <p:cNvPr id="4282" name="Vrije vorm: vorm 4281">
                <a:extLst>
                  <a:ext uri="{FF2B5EF4-FFF2-40B4-BE49-F238E27FC236}">
                    <a16:creationId xmlns:a16="http://schemas.microsoft.com/office/drawing/2014/main" id="{83A0F5DC-A86B-47D6-8F35-6C95E57ADE23}"/>
                  </a:ext>
                </a:extLst>
              </p:cNvPr>
              <p:cNvSpPr/>
              <p:nvPr/>
            </p:nvSpPr>
            <p:spPr>
              <a:xfrm>
                <a:off x="7753786" y="4457472"/>
                <a:ext cx="86780" cy="54843"/>
              </a:xfrm>
              <a:custGeom>
                <a:avLst/>
                <a:gdLst>
                  <a:gd name="connsiteX0" fmla="*/ 86780 w 86780"/>
                  <a:gd name="connsiteY0" fmla="*/ 52212 h 54843"/>
                  <a:gd name="connsiteX1" fmla="*/ 85165 w 86780"/>
                  <a:gd name="connsiteY1" fmla="*/ 54843 h 54843"/>
                  <a:gd name="connsiteX2" fmla="*/ 0 w 86780"/>
                  <a:gd name="connsiteY2" fmla="*/ 2572 h 54843"/>
                  <a:gd name="connsiteX3" fmla="*/ 1555 w 86780"/>
                  <a:gd name="connsiteY3" fmla="*/ 0 h 54843"/>
                </a:gdLst>
                <a:ahLst/>
                <a:cxnLst>
                  <a:cxn ang="0">
                    <a:pos x="connsiteX0" y="connsiteY0"/>
                  </a:cxn>
                  <a:cxn ang="0">
                    <a:pos x="connsiteX1" y="connsiteY1"/>
                  </a:cxn>
                  <a:cxn ang="0">
                    <a:pos x="connsiteX2" y="connsiteY2"/>
                  </a:cxn>
                  <a:cxn ang="0">
                    <a:pos x="connsiteX3" y="connsiteY3"/>
                  </a:cxn>
                </a:cxnLst>
                <a:rect l="l" t="t" r="r" b="b"/>
                <a:pathLst>
                  <a:path w="86780" h="54843">
                    <a:moveTo>
                      <a:pt x="86780" y="52212"/>
                    </a:moveTo>
                    <a:lnTo>
                      <a:pt x="85165" y="54843"/>
                    </a:lnTo>
                    <a:lnTo>
                      <a:pt x="0" y="2572"/>
                    </a:lnTo>
                    <a:lnTo>
                      <a:pt x="1555" y="0"/>
                    </a:lnTo>
                    <a:close/>
                  </a:path>
                </a:pathLst>
              </a:custGeom>
              <a:grpFill/>
              <a:ln w="5978" cap="flat">
                <a:noFill/>
                <a:prstDash val="solid"/>
                <a:miter/>
              </a:ln>
            </p:spPr>
            <p:txBody>
              <a:bodyPr rtlCol="0" anchor="ctr"/>
              <a:lstStyle/>
              <a:p>
                <a:endParaRPr lang="en-GB"/>
              </a:p>
            </p:txBody>
          </p:sp>
          <p:sp>
            <p:nvSpPr>
              <p:cNvPr id="4283" name="Vrije vorm: vorm 4282">
                <a:extLst>
                  <a:ext uri="{FF2B5EF4-FFF2-40B4-BE49-F238E27FC236}">
                    <a16:creationId xmlns:a16="http://schemas.microsoft.com/office/drawing/2014/main" id="{8E472D27-26F4-4E17-ACC8-61E407B89BE6}"/>
                  </a:ext>
                </a:extLst>
              </p:cNvPr>
              <p:cNvSpPr/>
              <p:nvPr/>
            </p:nvSpPr>
            <p:spPr>
              <a:xfrm>
                <a:off x="7745767" y="4449781"/>
                <a:ext cx="18311" cy="18431"/>
              </a:xfrm>
              <a:custGeom>
                <a:avLst/>
                <a:gdLst>
                  <a:gd name="connsiteX0" fmla="*/ 4431 w 18311"/>
                  <a:gd name="connsiteY0" fmla="*/ 17080 h 18431"/>
                  <a:gd name="connsiteX1" fmla="*/ 1321 w 18311"/>
                  <a:gd name="connsiteY1" fmla="*/ 4401 h 18431"/>
                  <a:gd name="connsiteX2" fmla="*/ 13880 w 18311"/>
                  <a:gd name="connsiteY2" fmla="*/ 1351 h 18431"/>
                  <a:gd name="connsiteX3" fmla="*/ 16990 w 18311"/>
                  <a:gd name="connsiteY3" fmla="*/ 14030 h 18431"/>
                  <a:gd name="connsiteX4" fmla="*/ 4431 w 18311"/>
                  <a:gd name="connsiteY4" fmla="*/ 1708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4431" y="17080"/>
                    </a:moveTo>
                    <a:cubicBezTo>
                      <a:pt x="124" y="14449"/>
                      <a:pt x="-1311" y="8767"/>
                      <a:pt x="1321" y="4401"/>
                    </a:cubicBezTo>
                    <a:cubicBezTo>
                      <a:pt x="3952" y="35"/>
                      <a:pt x="9574" y="-1281"/>
                      <a:pt x="13880" y="1351"/>
                    </a:cubicBezTo>
                    <a:cubicBezTo>
                      <a:pt x="18186" y="3983"/>
                      <a:pt x="19622" y="9664"/>
                      <a:pt x="16990" y="14030"/>
                    </a:cubicBezTo>
                    <a:cubicBezTo>
                      <a:pt x="14418" y="18396"/>
                      <a:pt x="8737" y="19712"/>
                      <a:pt x="4431" y="17080"/>
                    </a:cubicBezTo>
                    <a:close/>
                  </a:path>
                </a:pathLst>
              </a:custGeom>
              <a:grpFill/>
              <a:ln w="5978" cap="flat">
                <a:noFill/>
                <a:prstDash val="solid"/>
                <a:miter/>
              </a:ln>
            </p:spPr>
            <p:txBody>
              <a:bodyPr rtlCol="0" anchor="ctr"/>
              <a:lstStyle/>
              <a:p>
                <a:endParaRPr lang="en-GB"/>
              </a:p>
            </p:txBody>
          </p:sp>
          <p:sp>
            <p:nvSpPr>
              <p:cNvPr id="4284" name="Vrije vorm: vorm 4283">
                <a:extLst>
                  <a:ext uri="{FF2B5EF4-FFF2-40B4-BE49-F238E27FC236}">
                    <a16:creationId xmlns:a16="http://schemas.microsoft.com/office/drawing/2014/main" id="{32F4856D-6C9F-4CEA-98B3-CF8B81AC593B}"/>
                  </a:ext>
                </a:extLst>
              </p:cNvPr>
              <p:cNvSpPr/>
              <p:nvPr/>
            </p:nvSpPr>
            <p:spPr>
              <a:xfrm>
                <a:off x="7830182" y="4501528"/>
                <a:ext cx="18298" cy="18403"/>
              </a:xfrm>
              <a:custGeom>
                <a:avLst/>
                <a:gdLst>
                  <a:gd name="connsiteX0" fmla="*/ 4404 w 18298"/>
                  <a:gd name="connsiteY0" fmla="*/ 17066 h 18403"/>
                  <a:gd name="connsiteX1" fmla="*/ 16964 w 18298"/>
                  <a:gd name="connsiteY1" fmla="*/ 14016 h 18403"/>
                  <a:gd name="connsiteX2" fmla="*/ 13854 w 18298"/>
                  <a:gd name="connsiteY2" fmla="*/ 1337 h 18403"/>
                  <a:gd name="connsiteX3" fmla="*/ 1294 w 18298"/>
                  <a:gd name="connsiteY3" fmla="*/ 4387 h 18403"/>
                  <a:gd name="connsiteX4" fmla="*/ 4404 w 18298"/>
                  <a:gd name="connsiteY4" fmla="*/ 17066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03">
                    <a:moveTo>
                      <a:pt x="4404" y="17066"/>
                    </a:moveTo>
                    <a:cubicBezTo>
                      <a:pt x="8710" y="19698"/>
                      <a:pt x="14392" y="18322"/>
                      <a:pt x="16964" y="14016"/>
                    </a:cubicBezTo>
                    <a:cubicBezTo>
                      <a:pt x="19596" y="9650"/>
                      <a:pt x="18219" y="4028"/>
                      <a:pt x="13854" y="1337"/>
                    </a:cubicBezTo>
                    <a:cubicBezTo>
                      <a:pt x="9548" y="-1294"/>
                      <a:pt x="3866" y="81"/>
                      <a:pt x="1294" y="4387"/>
                    </a:cubicBezTo>
                    <a:cubicBezTo>
                      <a:pt x="-1278" y="8753"/>
                      <a:pt x="98" y="14435"/>
                      <a:pt x="4404" y="17066"/>
                    </a:cubicBezTo>
                    <a:close/>
                  </a:path>
                </a:pathLst>
              </a:custGeom>
              <a:grpFill/>
              <a:ln w="5978" cap="flat">
                <a:noFill/>
                <a:prstDash val="solid"/>
                <a:miter/>
              </a:ln>
            </p:spPr>
            <p:txBody>
              <a:bodyPr rtlCol="0" anchor="ctr"/>
              <a:lstStyle/>
              <a:p>
                <a:endParaRPr lang="en-GB"/>
              </a:p>
            </p:txBody>
          </p:sp>
        </p:grpSp>
        <p:grpSp>
          <p:nvGrpSpPr>
            <p:cNvPr id="367" name="Graphic 3">
              <a:extLst>
                <a:ext uri="{FF2B5EF4-FFF2-40B4-BE49-F238E27FC236}">
                  <a16:creationId xmlns:a16="http://schemas.microsoft.com/office/drawing/2014/main" id="{262C8E36-C93F-4A07-964C-94D082866572}"/>
                </a:ext>
              </a:extLst>
            </p:cNvPr>
            <p:cNvGrpSpPr/>
            <p:nvPr/>
          </p:nvGrpSpPr>
          <p:grpSpPr>
            <a:xfrm>
              <a:off x="7816702" y="4586131"/>
              <a:ext cx="26198" cy="23656"/>
              <a:chOff x="7816702" y="4586131"/>
              <a:chExt cx="26198" cy="23656"/>
            </a:xfrm>
            <a:grpFill/>
          </p:grpSpPr>
          <p:sp>
            <p:nvSpPr>
              <p:cNvPr id="4279" name="Vrije vorm: vorm 4278">
                <a:extLst>
                  <a:ext uri="{FF2B5EF4-FFF2-40B4-BE49-F238E27FC236}">
                    <a16:creationId xmlns:a16="http://schemas.microsoft.com/office/drawing/2014/main" id="{2079812E-57DF-4E85-99C6-9C6C046B35F5}"/>
                  </a:ext>
                </a:extLst>
              </p:cNvPr>
              <p:cNvSpPr/>
              <p:nvPr/>
            </p:nvSpPr>
            <p:spPr>
              <a:xfrm>
                <a:off x="7824658" y="4593832"/>
                <a:ext cx="10286" cy="8253"/>
              </a:xfrm>
              <a:custGeom>
                <a:avLst/>
                <a:gdLst>
                  <a:gd name="connsiteX0" fmla="*/ 10287 w 10286"/>
                  <a:gd name="connsiteY0" fmla="*/ 5741 h 8253"/>
                  <a:gd name="connsiteX1" fmla="*/ 8613 w 10286"/>
                  <a:gd name="connsiteY1" fmla="*/ 8253 h 8253"/>
                  <a:gd name="connsiteX2" fmla="*/ 0 w 10286"/>
                  <a:gd name="connsiteY2" fmla="*/ 2512 h 8253"/>
                  <a:gd name="connsiteX3" fmla="*/ 1675 w 10286"/>
                  <a:gd name="connsiteY3" fmla="*/ 0 h 8253"/>
                </a:gdLst>
                <a:ahLst/>
                <a:cxnLst>
                  <a:cxn ang="0">
                    <a:pos x="connsiteX0" y="connsiteY0"/>
                  </a:cxn>
                  <a:cxn ang="0">
                    <a:pos x="connsiteX1" y="connsiteY1"/>
                  </a:cxn>
                  <a:cxn ang="0">
                    <a:pos x="connsiteX2" y="connsiteY2"/>
                  </a:cxn>
                  <a:cxn ang="0">
                    <a:pos x="connsiteX3" y="connsiteY3"/>
                  </a:cxn>
                </a:cxnLst>
                <a:rect l="l" t="t" r="r" b="b"/>
                <a:pathLst>
                  <a:path w="10286" h="8253">
                    <a:moveTo>
                      <a:pt x="10287" y="5741"/>
                    </a:moveTo>
                    <a:lnTo>
                      <a:pt x="8613" y="8253"/>
                    </a:lnTo>
                    <a:lnTo>
                      <a:pt x="0" y="2512"/>
                    </a:lnTo>
                    <a:lnTo>
                      <a:pt x="1675" y="0"/>
                    </a:lnTo>
                    <a:close/>
                  </a:path>
                </a:pathLst>
              </a:custGeom>
              <a:grpFill/>
              <a:ln w="5978" cap="flat">
                <a:noFill/>
                <a:prstDash val="solid"/>
                <a:miter/>
              </a:ln>
            </p:spPr>
            <p:txBody>
              <a:bodyPr rtlCol="0" anchor="ctr"/>
              <a:lstStyle/>
              <a:p>
                <a:endParaRPr lang="en-GB"/>
              </a:p>
            </p:txBody>
          </p:sp>
          <p:sp>
            <p:nvSpPr>
              <p:cNvPr id="4280" name="Vrije vorm: vorm 4279">
                <a:extLst>
                  <a:ext uri="{FF2B5EF4-FFF2-40B4-BE49-F238E27FC236}">
                    <a16:creationId xmlns:a16="http://schemas.microsoft.com/office/drawing/2014/main" id="{E0D56B58-7AF9-4979-93E8-E85405BFA950}"/>
                  </a:ext>
                </a:extLst>
              </p:cNvPr>
              <p:cNvSpPr/>
              <p:nvPr/>
            </p:nvSpPr>
            <p:spPr>
              <a:xfrm>
                <a:off x="7824597" y="4591334"/>
                <a:ext cx="18304" cy="18453"/>
              </a:xfrm>
              <a:custGeom>
                <a:avLst/>
                <a:gdLst>
                  <a:gd name="connsiteX0" fmla="*/ 14176 w 18304"/>
                  <a:gd name="connsiteY0" fmla="*/ 1541 h 18453"/>
                  <a:gd name="connsiteX1" fmla="*/ 16808 w 18304"/>
                  <a:gd name="connsiteY1" fmla="*/ 14340 h 18453"/>
                  <a:gd name="connsiteX2" fmla="*/ 4128 w 18304"/>
                  <a:gd name="connsiteY2" fmla="*/ 16912 h 18453"/>
                  <a:gd name="connsiteX3" fmla="*/ 1497 w 18304"/>
                  <a:gd name="connsiteY3" fmla="*/ 4113 h 18453"/>
                  <a:gd name="connsiteX4" fmla="*/ 14176 w 1830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3">
                    <a:moveTo>
                      <a:pt x="14176" y="1541"/>
                    </a:moveTo>
                    <a:cubicBezTo>
                      <a:pt x="18422" y="4352"/>
                      <a:pt x="19558" y="10094"/>
                      <a:pt x="16808" y="14340"/>
                    </a:cubicBezTo>
                    <a:cubicBezTo>
                      <a:pt x="13996" y="18587"/>
                      <a:pt x="8315" y="19723"/>
                      <a:pt x="4128" y="16912"/>
                    </a:cubicBezTo>
                    <a:cubicBezTo>
                      <a:pt x="-118" y="14101"/>
                      <a:pt x="-1254" y="8359"/>
                      <a:pt x="1497" y="4113"/>
                    </a:cubicBezTo>
                    <a:cubicBezTo>
                      <a:pt x="4248" y="-133"/>
                      <a:pt x="9930" y="-1269"/>
                      <a:pt x="14176" y="1541"/>
                    </a:cubicBezTo>
                    <a:close/>
                  </a:path>
                </a:pathLst>
              </a:custGeom>
              <a:grpFill/>
              <a:ln w="5978" cap="flat">
                <a:noFill/>
                <a:prstDash val="solid"/>
                <a:miter/>
              </a:ln>
            </p:spPr>
            <p:txBody>
              <a:bodyPr rtlCol="0" anchor="ctr"/>
              <a:lstStyle/>
              <a:p>
                <a:endParaRPr lang="en-GB"/>
              </a:p>
            </p:txBody>
          </p:sp>
          <p:sp>
            <p:nvSpPr>
              <p:cNvPr id="4281" name="Vrije vorm: vorm 4280">
                <a:extLst>
                  <a:ext uri="{FF2B5EF4-FFF2-40B4-BE49-F238E27FC236}">
                    <a16:creationId xmlns:a16="http://schemas.microsoft.com/office/drawing/2014/main" id="{991E6DDA-510C-4ADB-90B5-0CF9335F7C61}"/>
                  </a:ext>
                </a:extLst>
              </p:cNvPr>
              <p:cNvSpPr/>
              <p:nvPr/>
            </p:nvSpPr>
            <p:spPr>
              <a:xfrm>
                <a:off x="7816702" y="4586131"/>
                <a:ext cx="18304" cy="18453"/>
              </a:xfrm>
              <a:custGeom>
                <a:avLst/>
                <a:gdLst>
                  <a:gd name="connsiteX0" fmla="*/ 14176 w 18304"/>
                  <a:gd name="connsiteY0" fmla="*/ 1541 h 18453"/>
                  <a:gd name="connsiteX1" fmla="*/ 1497 w 18304"/>
                  <a:gd name="connsiteY1" fmla="*/ 4113 h 18453"/>
                  <a:gd name="connsiteX2" fmla="*/ 4128 w 18304"/>
                  <a:gd name="connsiteY2" fmla="*/ 16912 h 18453"/>
                  <a:gd name="connsiteX3" fmla="*/ 16807 w 18304"/>
                  <a:gd name="connsiteY3" fmla="*/ 14340 h 18453"/>
                  <a:gd name="connsiteX4" fmla="*/ 14176 w 1830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3">
                    <a:moveTo>
                      <a:pt x="14176" y="1541"/>
                    </a:moveTo>
                    <a:cubicBezTo>
                      <a:pt x="9929" y="-1269"/>
                      <a:pt x="4248" y="-133"/>
                      <a:pt x="1497" y="4113"/>
                    </a:cubicBezTo>
                    <a:cubicBezTo>
                      <a:pt x="-1255" y="8359"/>
                      <a:pt x="-118" y="14041"/>
                      <a:pt x="4128" y="16912"/>
                    </a:cubicBezTo>
                    <a:cubicBezTo>
                      <a:pt x="8375" y="19723"/>
                      <a:pt x="14056" y="18587"/>
                      <a:pt x="16807" y="14340"/>
                    </a:cubicBezTo>
                    <a:cubicBezTo>
                      <a:pt x="19559" y="10094"/>
                      <a:pt x="18422" y="4352"/>
                      <a:pt x="14176" y="1541"/>
                    </a:cubicBezTo>
                    <a:close/>
                  </a:path>
                </a:pathLst>
              </a:custGeom>
              <a:grpFill/>
              <a:ln w="5978" cap="flat">
                <a:noFill/>
                <a:prstDash val="solid"/>
                <a:miter/>
              </a:ln>
            </p:spPr>
            <p:txBody>
              <a:bodyPr rtlCol="0" anchor="ctr"/>
              <a:lstStyle/>
              <a:p>
                <a:endParaRPr lang="en-GB"/>
              </a:p>
            </p:txBody>
          </p:sp>
        </p:grpSp>
        <p:grpSp>
          <p:nvGrpSpPr>
            <p:cNvPr id="368" name="Graphic 3">
              <a:extLst>
                <a:ext uri="{FF2B5EF4-FFF2-40B4-BE49-F238E27FC236}">
                  <a16:creationId xmlns:a16="http://schemas.microsoft.com/office/drawing/2014/main" id="{0B4A55ED-AE84-4722-AD41-1D53D8AFA11F}"/>
                </a:ext>
              </a:extLst>
            </p:cNvPr>
            <p:cNvGrpSpPr/>
            <p:nvPr/>
          </p:nvGrpSpPr>
          <p:grpSpPr>
            <a:xfrm>
              <a:off x="6842190" y="1786156"/>
              <a:ext cx="91546" cy="154981"/>
              <a:chOff x="6842190" y="1786156"/>
              <a:chExt cx="91546" cy="154981"/>
            </a:xfrm>
            <a:grpFill/>
          </p:grpSpPr>
          <p:sp>
            <p:nvSpPr>
              <p:cNvPr id="4276" name="Vrije vorm: vorm 4275">
                <a:extLst>
                  <a:ext uri="{FF2B5EF4-FFF2-40B4-BE49-F238E27FC236}">
                    <a16:creationId xmlns:a16="http://schemas.microsoft.com/office/drawing/2014/main" id="{401FCAA1-45E9-4335-9034-96EB4939F57B}"/>
                  </a:ext>
                </a:extLst>
              </p:cNvPr>
              <p:cNvSpPr/>
              <p:nvPr/>
            </p:nvSpPr>
            <p:spPr>
              <a:xfrm>
                <a:off x="6849740" y="1794197"/>
                <a:ext cx="76373" cy="138812"/>
              </a:xfrm>
              <a:custGeom>
                <a:avLst/>
                <a:gdLst>
                  <a:gd name="connsiteX0" fmla="*/ 76374 w 76373"/>
                  <a:gd name="connsiteY0" fmla="*/ 1435 h 138812"/>
                  <a:gd name="connsiteX1" fmla="*/ 2692 w 76373"/>
                  <a:gd name="connsiteY1" fmla="*/ 138812 h 138812"/>
                  <a:gd name="connsiteX2" fmla="*/ 0 w 76373"/>
                  <a:gd name="connsiteY2" fmla="*/ 137377 h 138812"/>
                  <a:gd name="connsiteX3" fmla="*/ 73683 w 76373"/>
                  <a:gd name="connsiteY3" fmla="*/ 0 h 138812"/>
                </a:gdLst>
                <a:ahLst/>
                <a:cxnLst>
                  <a:cxn ang="0">
                    <a:pos x="connsiteX0" y="connsiteY0"/>
                  </a:cxn>
                  <a:cxn ang="0">
                    <a:pos x="connsiteX1" y="connsiteY1"/>
                  </a:cxn>
                  <a:cxn ang="0">
                    <a:pos x="connsiteX2" y="connsiteY2"/>
                  </a:cxn>
                  <a:cxn ang="0">
                    <a:pos x="connsiteX3" y="connsiteY3"/>
                  </a:cxn>
                </a:cxnLst>
                <a:rect l="l" t="t" r="r" b="b"/>
                <a:pathLst>
                  <a:path w="76373" h="138812">
                    <a:moveTo>
                      <a:pt x="76374" y="1435"/>
                    </a:moveTo>
                    <a:lnTo>
                      <a:pt x="2692" y="138812"/>
                    </a:lnTo>
                    <a:lnTo>
                      <a:pt x="0" y="137377"/>
                    </a:lnTo>
                    <a:lnTo>
                      <a:pt x="73683" y="0"/>
                    </a:lnTo>
                    <a:close/>
                  </a:path>
                </a:pathLst>
              </a:custGeom>
              <a:grpFill/>
              <a:ln w="5978" cap="flat">
                <a:noFill/>
                <a:prstDash val="solid"/>
                <a:miter/>
              </a:ln>
            </p:spPr>
            <p:txBody>
              <a:bodyPr rtlCol="0" anchor="ctr"/>
              <a:lstStyle/>
              <a:p>
                <a:endParaRPr lang="en-GB"/>
              </a:p>
            </p:txBody>
          </p:sp>
          <p:sp>
            <p:nvSpPr>
              <p:cNvPr id="4277" name="Vrije vorm: vorm 4276">
                <a:extLst>
                  <a:ext uri="{FF2B5EF4-FFF2-40B4-BE49-F238E27FC236}">
                    <a16:creationId xmlns:a16="http://schemas.microsoft.com/office/drawing/2014/main" id="{62BBE7C6-F2D4-4CCF-9087-041CD75DF94C}"/>
                  </a:ext>
                </a:extLst>
              </p:cNvPr>
              <p:cNvSpPr/>
              <p:nvPr/>
            </p:nvSpPr>
            <p:spPr>
              <a:xfrm>
                <a:off x="6915355" y="1786156"/>
                <a:ext cx="18381" cy="18414"/>
              </a:xfrm>
              <a:custGeom>
                <a:avLst/>
                <a:gdLst>
                  <a:gd name="connsiteX0" fmla="*/ 1130 w 18381"/>
                  <a:gd name="connsiteY0" fmla="*/ 4812 h 18414"/>
                  <a:gd name="connsiteX1" fmla="*/ 13570 w 18381"/>
                  <a:gd name="connsiteY1" fmla="*/ 1104 h 18414"/>
                  <a:gd name="connsiteX2" fmla="*/ 17278 w 18381"/>
                  <a:gd name="connsiteY2" fmla="*/ 13603 h 18414"/>
                  <a:gd name="connsiteX3" fmla="*/ 4838 w 18381"/>
                  <a:gd name="connsiteY3" fmla="*/ 17311 h 18414"/>
                  <a:gd name="connsiteX4" fmla="*/ 1130 w 18381"/>
                  <a:gd name="connsiteY4" fmla="*/ 481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14">
                    <a:moveTo>
                      <a:pt x="1130" y="4812"/>
                    </a:moveTo>
                    <a:cubicBezTo>
                      <a:pt x="3523" y="326"/>
                      <a:pt x="9084" y="-1289"/>
                      <a:pt x="13570" y="1104"/>
                    </a:cubicBezTo>
                    <a:cubicBezTo>
                      <a:pt x="18055" y="3556"/>
                      <a:pt x="19670" y="9118"/>
                      <a:pt x="17278" y="13603"/>
                    </a:cubicBezTo>
                    <a:cubicBezTo>
                      <a:pt x="14886" y="18089"/>
                      <a:pt x="9324" y="19704"/>
                      <a:pt x="4838" y="17311"/>
                    </a:cubicBezTo>
                    <a:cubicBezTo>
                      <a:pt x="353" y="14859"/>
                      <a:pt x="-1322" y="9237"/>
                      <a:pt x="1130" y="4812"/>
                    </a:cubicBezTo>
                    <a:close/>
                  </a:path>
                </a:pathLst>
              </a:custGeom>
              <a:grpFill/>
              <a:ln w="5978" cap="flat">
                <a:noFill/>
                <a:prstDash val="solid"/>
                <a:miter/>
              </a:ln>
            </p:spPr>
            <p:txBody>
              <a:bodyPr rtlCol="0" anchor="ctr"/>
              <a:lstStyle/>
              <a:p>
                <a:endParaRPr lang="en-GB"/>
              </a:p>
            </p:txBody>
          </p:sp>
          <p:sp>
            <p:nvSpPr>
              <p:cNvPr id="4278" name="Vrije vorm: vorm 4277">
                <a:extLst>
                  <a:ext uri="{FF2B5EF4-FFF2-40B4-BE49-F238E27FC236}">
                    <a16:creationId xmlns:a16="http://schemas.microsoft.com/office/drawing/2014/main" id="{46612EFD-B752-4997-B065-952441E407F2}"/>
                  </a:ext>
                </a:extLst>
              </p:cNvPr>
              <p:cNvSpPr/>
              <p:nvPr/>
            </p:nvSpPr>
            <p:spPr>
              <a:xfrm>
                <a:off x="6842190" y="1922669"/>
                <a:ext cx="18330" cy="18467"/>
              </a:xfrm>
              <a:custGeom>
                <a:avLst/>
                <a:gdLst>
                  <a:gd name="connsiteX0" fmla="*/ 1092 w 18330"/>
                  <a:gd name="connsiteY0" fmla="*/ 4838 h 18467"/>
                  <a:gd name="connsiteX1" fmla="*/ 4800 w 18330"/>
                  <a:gd name="connsiteY1" fmla="*/ 17338 h 18467"/>
                  <a:gd name="connsiteX2" fmla="*/ 17239 w 18330"/>
                  <a:gd name="connsiteY2" fmla="*/ 13630 h 18467"/>
                  <a:gd name="connsiteX3" fmla="*/ 13531 w 18330"/>
                  <a:gd name="connsiteY3" fmla="*/ 1130 h 18467"/>
                  <a:gd name="connsiteX4" fmla="*/ 1092 w 18330"/>
                  <a:gd name="connsiteY4" fmla="*/ 4838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67">
                    <a:moveTo>
                      <a:pt x="1092" y="4838"/>
                    </a:moveTo>
                    <a:cubicBezTo>
                      <a:pt x="-1301" y="9324"/>
                      <a:pt x="374" y="14886"/>
                      <a:pt x="4800" y="17338"/>
                    </a:cubicBezTo>
                    <a:cubicBezTo>
                      <a:pt x="9225" y="19790"/>
                      <a:pt x="14788" y="18115"/>
                      <a:pt x="17239" y="13630"/>
                    </a:cubicBezTo>
                    <a:cubicBezTo>
                      <a:pt x="19632" y="9144"/>
                      <a:pt x="17957" y="3582"/>
                      <a:pt x="13531" y="1130"/>
                    </a:cubicBezTo>
                    <a:cubicBezTo>
                      <a:pt x="9046" y="-1322"/>
                      <a:pt x="3484" y="352"/>
                      <a:pt x="1092" y="4838"/>
                    </a:cubicBezTo>
                    <a:close/>
                  </a:path>
                </a:pathLst>
              </a:custGeom>
              <a:grpFill/>
              <a:ln w="5978" cap="flat">
                <a:noFill/>
                <a:prstDash val="solid"/>
                <a:miter/>
              </a:ln>
            </p:spPr>
            <p:txBody>
              <a:bodyPr rtlCol="0" anchor="ctr"/>
              <a:lstStyle/>
              <a:p>
                <a:endParaRPr lang="en-GB"/>
              </a:p>
            </p:txBody>
          </p:sp>
        </p:grpSp>
        <p:grpSp>
          <p:nvGrpSpPr>
            <p:cNvPr id="369" name="Graphic 3">
              <a:extLst>
                <a:ext uri="{FF2B5EF4-FFF2-40B4-BE49-F238E27FC236}">
                  <a16:creationId xmlns:a16="http://schemas.microsoft.com/office/drawing/2014/main" id="{EE4A10A0-DBD4-4223-8355-4D6A0EAFDA6C}"/>
                </a:ext>
              </a:extLst>
            </p:cNvPr>
            <p:cNvGrpSpPr/>
            <p:nvPr/>
          </p:nvGrpSpPr>
          <p:grpSpPr>
            <a:xfrm>
              <a:off x="7609313" y="4070215"/>
              <a:ext cx="64635" cy="38114"/>
              <a:chOff x="7609313" y="4070215"/>
              <a:chExt cx="64635" cy="38114"/>
            </a:xfrm>
            <a:grpFill/>
          </p:grpSpPr>
          <p:sp>
            <p:nvSpPr>
              <p:cNvPr id="4273" name="Vrije vorm: vorm 4272">
                <a:extLst>
                  <a:ext uri="{FF2B5EF4-FFF2-40B4-BE49-F238E27FC236}">
                    <a16:creationId xmlns:a16="http://schemas.microsoft.com/office/drawing/2014/main" id="{277E311F-7CBC-4507-8409-CDE73EB3C1C8}"/>
                  </a:ext>
                </a:extLst>
              </p:cNvPr>
              <p:cNvSpPr/>
              <p:nvPr/>
            </p:nvSpPr>
            <p:spPr>
              <a:xfrm>
                <a:off x="7617426" y="4077816"/>
                <a:ext cx="48384" cy="22846"/>
              </a:xfrm>
              <a:custGeom>
                <a:avLst/>
                <a:gdLst>
                  <a:gd name="connsiteX0" fmla="*/ 48385 w 48384"/>
                  <a:gd name="connsiteY0" fmla="*/ 20036 h 22846"/>
                  <a:gd name="connsiteX1" fmla="*/ 47248 w 48384"/>
                  <a:gd name="connsiteY1" fmla="*/ 22846 h 22846"/>
                  <a:gd name="connsiteX2" fmla="*/ 0 w 48384"/>
                  <a:gd name="connsiteY2" fmla="*/ 2871 h 22846"/>
                  <a:gd name="connsiteX3" fmla="*/ 1197 w 48384"/>
                  <a:gd name="connsiteY3" fmla="*/ 0 h 22846"/>
                </a:gdLst>
                <a:ahLst/>
                <a:cxnLst>
                  <a:cxn ang="0">
                    <a:pos x="connsiteX0" y="connsiteY0"/>
                  </a:cxn>
                  <a:cxn ang="0">
                    <a:pos x="connsiteX1" y="connsiteY1"/>
                  </a:cxn>
                  <a:cxn ang="0">
                    <a:pos x="connsiteX2" y="connsiteY2"/>
                  </a:cxn>
                  <a:cxn ang="0">
                    <a:pos x="connsiteX3" y="connsiteY3"/>
                  </a:cxn>
                </a:cxnLst>
                <a:rect l="l" t="t" r="r" b="b"/>
                <a:pathLst>
                  <a:path w="48384" h="22846">
                    <a:moveTo>
                      <a:pt x="48385" y="20036"/>
                    </a:moveTo>
                    <a:lnTo>
                      <a:pt x="47248" y="22846"/>
                    </a:lnTo>
                    <a:lnTo>
                      <a:pt x="0" y="2871"/>
                    </a:lnTo>
                    <a:lnTo>
                      <a:pt x="1197" y="0"/>
                    </a:lnTo>
                    <a:close/>
                  </a:path>
                </a:pathLst>
              </a:custGeom>
              <a:grpFill/>
              <a:ln w="5978" cap="flat">
                <a:noFill/>
                <a:prstDash val="solid"/>
                <a:miter/>
              </a:ln>
            </p:spPr>
            <p:txBody>
              <a:bodyPr rtlCol="0" anchor="ctr"/>
              <a:lstStyle/>
              <a:p>
                <a:endParaRPr lang="en-GB"/>
              </a:p>
            </p:txBody>
          </p:sp>
          <p:sp>
            <p:nvSpPr>
              <p:cNvPr id="4274" name="Vrije vorm: vorm 4273">
                <a:extLst>
                  <a:ext uri="{FF2B5EF4-FFF2-40B4-BE49-F238E27FC236}">
                    <a16:creationId xmlns:a16="http://schemas.microsoft.com/office/drawing/2014/main" id="{6BA8ED03-A412-4AF5-9302-7639DB8D7AF4}"/>
                  </a:ext>
                </a:extLst>
              </p:cNvPr>
              <p:cNvSpPr/>
              <p:nvPr/>
            </p:nvSpPr>
            <p:spPr>
              <a:xfrm>
                <a:off x="7655638" y="4089883"/>
                <a:ext cx="18310" cy="18446"/>
              </a:xfrm>
              <a:custGeom>
                <a:avLst/>
                <a:gdLst>
                  <a:gd name="connsiteX0" fmla="*/ 12684 w 18310"/>
                  <a:gd name="connsiteY0" fmla="*/ 731 h 18446"/>
                  <a:gd name="connsiteX1" fmla="*/ 17588 w 18310"/>
                  <a:gd name="connsiteY1" fmla="*/ 12812 h 18446"/>
                  <a:gd name="connsiteX2" fmla="*/ 5627 w 18310"/>
                  <a:gd name="connsiteY2" fmla="*/ 17716 h 18446"/>
                  <a:gd name="connsiteX3" fmla="*/ 722 w 18310"/>
                  <a:gd name="connsiteY3" fmla="*/ 5635 h 18446"/>
                  <a:gd name="connsiteX4" fmla="*/ 12684 w 18310"/>
                  <a:gd name="connsiteY4" fmla="*/ 731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46">
                    <a:moveTo>
                      <a:pt x="12684" y="731"/>
                    </a:moveTo>
                    <a:cubicBezTo>
                      <a:pt x="17349" y="2705"/>
                      <a:pt x="19562" y="8087"/>
                      <a:pt x="17588" y="12812"/>
                    </a:cubicBezTo>
                    <a:cubicBezTo>
                      <a:pt x="15614" y="17537"/>
                      <a:pt x="10291" y="19690"/>
                      <a:pt x="5627" y="17716"/>
                    </a:cubicBezTo>
                    <a:cubicBezTo>
                      <a:pt x="962" y="15743"/>
                      <a:pt x="-1251" y="10360"/>
                      <a:pt x="722" y="5635"/>
                    </a:cubicBezTo>
                    <a:cubicBezTo>
                      <a:pt x="2696" y="910"/>
                      <a:pt x="8019" y="-1243"/>
                      <a:pt x="12684" y="731"/>
                    </a:cubicBezTo>
                    <a:close/>
                  </a:path>
                </a:pathLst>
              </a:custGeom>
              <a:grpFill/>
              <a:ln w="5978" cap="flat">
                <a:noFill/>
                <a:prstDash val="solid"/>
                <a:miter/>
              </a:ln>
            </p:spPr>
            <p:txBody>
              <a:bodyPr rtlCol="0" anchor="ctr"/>
              <a:lstStyle/>
              <a:p>
                <a:endParaRPr lang="en-GB"/>
              </a:p>
            </p:txBody>
          </p:sp>
          <p:sp>
            <p:nvSpPr>
              <p:cNvPr id="4275" name="Vrije vorm: vorm 4274">
                <a:extLst>
                  <a:ext uri="{FF2B5EF4-FFF2-40B4-BE49-F238E27FC236}">
                    <a16:creationId xmlns:a16="http://schemas.microsoft.com/office/drawing/2014/main" id="{CCA134F3-67CF-4DEB-AEED-E883C2ED253D}"/>
                  </a:ext>
                </a:extLst>
              </p:cNvPr>
              <p:cNvSpPr/>
              <p:nvPr/>
            </p:nvSpPr>
            <p:spPr>
              <a:xfrm>
                <a:off x="7609313" y="4070215"/>
                <a:ext cx="18285" cy="18429"/>
              </a:xfrm>
              <a:custGeom>
                <a:avLst/>
                <a:gdLst>
                  <a:gd name="connsiteX0" fmla="*/ 12659 w 18285"/>
                  <a:gd name="connsiteY0" fmla="*/ 722 h 18429"/>
                  <a:gd name="connsiteX1" fmla="*/ 697 w 18285"/>
                  <a:gd name="connsiteY1" fmla="*/ 5626 h 18429"/>
                  <a:gd name="connsiteX2" fmla="*/ 5602 w 18285"/>
                  <a:gd name="connsiteY2" fmla="*/ 17707 h 18429"/>
                  <a:gd name="connsiteX3" fmla="*/ 17563 w 18285"/>
                  <a:gd name="connsiteY3" fmla="*/ 12803 h 18429"/>
                  <a:gd name="connsiteX4" fmla="*/ 12659 w 18285"/>
                  <a:gd name="connsiteY4" fmla="*/ 72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9">
                    <a:moveTo>
                      <a:pt x="12659" y="722"/>
                    </a:moveTo>
                    <a:cubicBezTo>
                      <a:pt x="7993" y="-1251"/>
                      <a:pt x="2611" y="962"/>
                      <a:pt x="697" y="5626"/>
                    </a:cubicBezTo>
                    <a:cubicBezTo>
                      <a:pt x="-1216" y="10291"/>
                      <a:pt x="937" y="15734"/>
                      <a:pt x="5602" y="17707"/>
                    </a:cubicBezTo>
                    <a:cubicBezTo>
                      <a:pt x="10266" y="19681"/>
                      <a:pt x="15649" y="17468"/>
                      <a:pt x="17563" y="12803"/>
                    </a:cubicBezTo>
                    <a:cubicBezTo>
                      <a:pt x="19536" y="8138"/>
                      <a:pt x="17324" y="2696"/>
                      <a:pt x="12659" y="722"/>
                    </a:cubicBezTo>
                    <a:close/>
                  </a:path>
                </a:pathLst>
              </a:custGeom>
              <a:grpFill/>
              <a:ln w="5978" cap="flat">
                <a:noFill/>
                <a:prstDash val="solid"/>
                <a:miter/>
              </a:ln>
            </p:spPr>
            <p:txBody>
              <a:bodyPr rtlCol="0" anchor="ctr"/>
              <a:lstStyle/>
              <a:p>
                <a:endParaRPr lang="en-GB"/>
              </a:p>
            </p:txBody>
          </p:sp>
        </p:grpSp>
        <p:grpSp>
          <p:nvGrpSpPr>
            <p:cNvPr id="370" name="Graphic 3">
              <a:extLst>
                <a:ext uri="{FF2B5EF4-FFF2-40B4-BE49-F238E27FC236}">
                  <a16:creationId xmlns:a16="http://schemas.microsoft.com/office/drawing/2014/main" id="{73CBEF7F-1EE3-413B-9BC9-59274238164F}"/>
                </a:ext>
              </a:extLst>
            </p:cNvPr>
            <p:cNvGrpSpPr/>
            <p:nvPr/>
          </p:nvGrpSpPr>
          <p:grpSpPr>
            <a:xfrm>
              <a:off x="7596315" y="4099132"/>
              <a:ext cx="89998" cy="50367"/>
              <a:chOff x="7596315" y="4099132"/>
              <a:chExt cx="89998" cy="50367"/>
            </a:xfrm>
            <a:grpFill/>
          </p:grpSpPr>
          <p:sp>
            <p:nvSpPr>
              <p:cNvPr id="4270" name="Vrije vorm: vorm 4269">
                <a:extLst>
                  <a:ext uri="{FF2B5EF4-FFF2-40B4-BE49-F238E27FC236}">
                    <a16:creationId xmlns:a16="http://schemas.microsoft.com/office/drawing/2014/main" id="{CECF3803-E471-4120-A08B-B163971EAE6C}"/>
                  </a:ext>
                </a:extLst>
              </p:cNvPr>
              <p:cNvSpPr/>
              <p:nvPr/>
            </p:nvSpPr>
            <p:spPr>
              <a:xfrm>
                <a:off x="7604448" y="4106762"/>
                <a:ext cx="73742" cy="35106"/>
              </a:xfrm>
              <a:custGeom>
                <a:avLst/>
                <a:gdLst>
                  <a:gd name="connsiteX0" fmla="*/ 73742 w 73742"/>
                  <a:gd name="connsiteY0" fmla="*/ 32356 h 35106"/>
                  <a:gd name="connsiteX1" fmla="*/ 72546 w 73742"/>
                  <a:gd name="connsiteY1" fmla="*/ 35107 h 35106"/>
                  <a:gd name="connsiteX2" fmla="*/ 0 w 73742"/>
                  <a:gd name="connsiteY2" fmla="*/ 2811 h 35106"/>
                  <a:gd name="connsiteX3" fmla="*/ 1196 w 73742"/>
                  <a:gd name="connsiteY3" fmla="*/ 0 h 35106"/>
                </a:gdLst>
                <a:ahLst/>
                <a:cxnLst>
                  <a:cxn ang="0">
                    <a:pos x="connsiteX0" y="connsiteY0"/>
                  </a:cxn>
                  <a:cxn ang="0">
                    <a:pos x="connsiteX1" y="connsiteY1"/>
                  </a:cxn>
                  <a:cxn ang="0">
                    <a:pos x="connsiteX2" y="connsiteY2"/>
                  </a:cxn>
                  <a:cxn ang="0">
                    <a:pos x="connsiteX3" y="connsiteY3"/>
                  </a:cxn>
                </a:cxnLst>
                <a:rect l="l" t="t" r="r" b="b"/>
                <a:pathLst>
                  <a:path w="73742" h="35106">
                    <a:moveTo>
                      <a:pt x="73742" y="32356"/>
                    </a:moveTo>
                    <a:lnTo>
                      <a:pt x="72546" y="35107"/>
                    </a:lnTo>
                    <a:lnTo>
                      <a:pt x="0" y="2811"/>
                    </a:lnTo>
                    <a:lnTo>
                      <a:pt x="1196" y="0"/>
                    </a:lnTo>
                    <a:close/>
                  </a:path>
                </a:pathLst>
              </a:custGeom>
              <a:grpFill/>
              <a:ln w="5978" cap="flat">
                <a:noFill/>
                <a:prstDash val="solid"/>
                <a:miter/>
              </a:ln>
            </p:spPr>
            <p:txBody>
              <a:bodyPr rtlCol="0" anchor="ctr"/>
              <a:lstStyle/>
              <a:p>
                <a:endParaRPr lang="en-GB"/>
              </a:p>
            </p:txBody>
          </p:sp>
          <p:sp>
            <p:nvSpPr>
              <p:cNvPr id="4271" name="Vrije vorm: vorm 4270">
                <a:extLst>
                  <a:ext uri="{FF2B5EF4-FFF2-40B4-BE49-F238E27FC236}">
                    <a16:creationId xmlns:a16="http://schemas.microsoft.com/office/drawing/2014/main" id="{5BCF65E1-C0FD-4CFD-B99E-AF67FD633CC4}"/>
                  </a:ext>
                </a:extLst>
              </p:cNvPr>
              <p:cNvSpPr/>
              <p:nvPr/>
            </p:nvSpPr>
            <p:spPr>
              <a:xfrm>
                <a:off x="7667964" y="4131104"/>
                <a:ext cx="18349" cy="18395"/>
              </a:xfrm>
              <a:custGeom>
                <a:avLst/>
                <a:gdLst>
                  <a:gd name="connsiteX0" fmla="*/ 12858 w 18349"/>
                  <a:gd name="connsiteY0" fmla="*/ 777 h 18395"/>
                  <a:gd name="connsiteX1" fmla="*/ 17582 w 18349"/>
                  <a:gd name="connsiteY1" fmla="*/ 12919 h 18395"/>
                  <a:gd name="connsiteX2" fmla="*/ 5501 w 18349"/>
                  <a:gd name="connsiteY2" fmla="*/ 17584 h 18395"/>
                  <a:gd name="connsiteX3" fmla="*/ 777 w 18349"/>
                  <a:gd name="connsiteY3" fmla="*/ 5443 h 18395"/>
                  <a:gd name="connsiteX4" fmla="*/ 12858 w 18349"/>
                  <a:gd name="connsiteY4" fmla="*/ 77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95">
                    <a:moveTo>
                      <a:pt x="12858" y="777"/>
                    </a:moveTo>
                    <a:cubicBezTo>
                      <a:pt x="17462" y="2871"/>
                      <a:pt x="19615" y="8313"/>
                      <a:pt x="17582" y="12919"/>
                    </a:cubicBezTo>
                    <a:cubicBezTo>
                      <a:pt x="15549" y="17584"/>
                      <a:pt x="10166" y="19677"/>
                      <a:pt x="5501" y="17584"/>
                    </a:cubicBezTo>
                    <a:cubicBezTo>
                      <a:pt x="837" y="15490"/>
                      <a:pt x="-1257" y="10048"/>
                      <a:pt x="777" y="5443"/>
                    </a:cubicBezTo>
                    <a:cubicBezTo>
                      <a:pt x="2870" y="837"/>
                      <a:pt x="8253" y="-1256"/>
                      <a:pt x="12858" y="777"/>
                    </a:cubicBezTo>
                    <a:close/>
                  </a:path>
                </a:pathLst>
              </a:custGeom>
              <a:grpFill/>
              <a:ln w="5978" cap="flat">
                <a:noFill/>
                <a:prstDash val="solid"/>
                <a:miter/>
              </a:ln>
            </p:spPr>
            <p:txBody>
              <a:bodyPr rtlCol="0" anchor="ctr"/>
              <a:lstStyle/>
              <a:p>
                <a:endParaRPr lang="en-GB"/>
              </a:p>
            </p:txBody>
          </p:sp>
          <p:sp>
            <p:nvSpPr>
              <p:cNvPr id="4272" name="Vrije vorm: vorm 4271">
                <a:extLst>
                  <a:ext uri="{FF2B5EF4-FFF2-40B4-BE49-F238E27FC236}">
                    <a16:creationId xmlns:a16="http://schemas.microsoft.com/office/drawing/2014/main" id="{5EAA6C4A-B3EE-4E86-AADD-6D7AB43D379C}"/>
                  </a:ext>
                </a:extLst>
              </p:cNvPr>
              <p:cNvSpPr/>
              <p:nvPr/>
            </p:nvSpPr>
            <p:spPr>
              <a:xfrm>
                <a:off x="7596315" y="4099132"/>
                <a:ext cx="18324" cy="18395"/>
              </a:xfrm>
              <a:custGeom>
                <a:avLst/>
                <a:gdLst>
                  <a:gd name="connsiteX0" fmla="*/ 12857 w 18324"/>
                  <a:gd name="connsiteY0" fmla="*/ 812 h 18395"/>
                  <a:gd name="connsiteX1" fmla="*/ 777 w 18324"/>
                  <a:gd name="connsiteY1" fmla="*/ 5477 h 18395"/>
                  <a:gd name="connsiteX2" fmla="*/ 5501 w 18324"/>
                  <a:gd name="connsiteY2" fmla="*/ 17618 h 18395"/>
                  <a:gd name="connsiteX3" fmla="*/ 17582 w 18324"/>
                  <a:gd name="connsiteY3" fmla="*/ 12953 h 18395"/>
                  <a:gd name="connsiteX4" fmla="*/ 12857 w 18324"/>
                  <a:gd name="connsiteY4" fmla="*/ 812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5">
                    <a:moveTo>
                      <a:pt x="12857" y="812"/>
                    </a:moveTo>
                    <a:cubicBezTo>
                      <a:pt x="8253" y="-1281"/>
                      <a:pt x="2810" y="812"/>
                      <a:pt x="777" y="5477"/>
                    </a:cubicBezTo>
                    <a:cubicBezTo>
                      <a:pt x="-1257" y="10142"/>
                      <a:pt x="836" y="15584"/>
                      <a:pt x="5501" y="17618"/>
                    </a:cubicBezTo>
                    <a:cubicBezTo>
                      <a:pt x="10166" y="19652"/>
                      <a:pt x="15549" y="17558"/>
                      <a:pt x="17582" y="12953"/>
                    </a:cubicBezTo>
                    <a:cubicBezTo>
                      <a:pt x="19556" y="8288"/>
                      <a:pt x="17463" y="2845"/>
                      <a:pt x="12857" y="812"/>
                    </a:cubicBezTo>
                    <a:close/>
                  </a:path>
                </a:pathLst>
              </a:custGeom>
              <a:grpFill/>
              <a:ln w="5978" cap="flat">
                <a:noFill/>
                <a:prstDash val="solid"/>
                <a:miter/>
              </a:ln>
            </p:spPr>
            <p:txBody>
              <a:bodyPr rtlCol="0" anchor="ctr"/>
              <a:lstStyle/>
              <a:p>
                <a:endParaRPr lang="en-GB"/>
              </a:p>
            </p:txBody>
          </p:sp>
        </p:grpSp>
        <p:grpSp>
          <p:nvGrpSpPr>
            <p:cNvPr id="371" name="Graphic 3">
              <a:extLst>
                <a:ext uri="{FF2B5EF4-FFF2-40B4-BE49-F238E27FC236}">
                  <a16:creationId xmlns:a16="http://schemas.microsoft.com/office/drawing/2014/main" id="{B48BC9F8-4853-46B3-AD0F-465A1F84369E}"/>
                </a:ext>
              </a:extLst>
            </p:cNvPr>
            <p:cNvGrpSpPr/>
            <p:nvPr/>
          </p:nvGrpSpPr>
          <p:grpSpPr>
            <a:xfrm>
              <a:off x="7585432" y="4128977"/>
              <a:ext cx="123914" cy="67948"/>
              <a:chOff x="7585432" y="4128977"/>
              <a:chExt cx="123914" cy="67948"/>
            </a:xfrm>
            <a:grpFill/>
          </p:grpSpPr>
          <p:sp>
            <p:nvSpPr>
              <p:cNvPr id="4267" name="Vrije vorm: vorm 4266">
                <a:extLst>
                  <a:ext uri="{FF2B5EF4-FFF2-40B4-BE49-F238E27FC236}">
                    <a16:creationId xmlns:a16="http://schemas.microsoft.com/office/drawing/2014/main" id="{E6D651C4-6E64-478B-AA6F-BC1F1D34108F}"/>
                  </a:ext>
                </a:extLst>
              </p:cNvPr>
              <p:cNvSpPr/>
              <p:nvPr/>
            </p:nvSpPr>
            <p:spPr>
              <a:xfrm>
                <a:off x="7593503" y="4136606"/>
                <a:ext cx="107772" cy="52690"/>
              </a:xfrm>
              <a:custGeom>
                <a:avLst/>
                <a:gdLst>
                  <a:gd name="connsiteX0" fmla="*/ 107773 w 107772"/>
                  <a:gd name="connsiteY0" fmla="*/ 49879 h 52690"/>
                  <a:gd name="connsiteX1" fmla="*/ 106457 w 107772"/>
                  <a:gd name="connsiteY1" fmla="*/ 52690 h 52690"/>
                  <a:gd name="connsiteX2" fmla="*/ 0 w 107772"/>
                  <a:gd name="connsiteY2" fmla="*/ 2811 h 52690"/>
                  <a:gd name="connsiteX3" fmla="*/ 1316 w 107772"/>
                  <a:gd name="connsiteY3" fmla="*/ 0 h 52690"/>
                </a:gdLst>
                <a:ahLst/>
                <a:cxnLst>
                  <a:cxn ang="0">
                    <a:pos x="connsiteX0" y="connsiteY0"/>
                  </a:cxn>
                  <a:cxn ang="0">
                    <a:pos x="connsiteX1" y="connsiteY1"/>
                  </a:cxn>
                  <a:cxn ang="0">
                    <a:pos x="connsiteX2" y="connsiteY2"/>
                  </a:cxn>
                  <a:cxn ang="0">
                    <a:pos x="connsiteX3" y="connsiteY3"/>
                  </a:cxn>
                </a:cxnLst>
                <a:rect l="l" t="t" r="r" b="b"/>
                <a:pathLst>
                  <a:path w="107772" h="52690">
                    <a:moveTo>
                      <a:pt x="107773" y="49879"/>
                    </a:moveTo>
                    <a:lnTo>
                      <a:pt x="106457" y="52690"/>
                    </a:lnTo>
                    <a:lnTo>
                      <a:pt x="0" y="2811"/>
                    </a:lnTo>
                    <a:lnTo>
                      <a:pt x="1316" y="0"/>
                    </a:lnTo>
                    <a:close/>
                  </a:path>
                </a:pathLst>
              </a:custGeom>
              <a:grpFill/>
              <a:ln w="5978" cap="flat">
                <a:noFill/>
                <a:prstDash val="solid"/>
                <a:miter/>
              </a:ln>
            </p:spPr>
            <p:txBody>
              <a:bodyPr rtlCol="0" anchor="ctr"/>
              <a:lstStyle/>
              <a:p>
                <a:endParaRPr lang="en-GB"/>
              </a:p>
            </p:txBody>
          </p:sp>
          <p:sp>
            <p:nvSpPr>
              <p:cNvPr id="4268" name="Vrije vorm: vorm 4267">
                <a:extLst>
                  <a:ext uri="{FF2B5EF4-FFF2-40B4-BE49-F238E27FC236}">
                    <a16:creationId xmlns:a16="http://schemas.microsoft.com/office/drawing/2014/main" id="{59385A73-A60E-4F3B-A1C5-275FB94BCE12}"/>
                  </a:ext>
                </a:extLst>
              </p:cNvPr>
              <p:cNvSpPr/>
              <p:nvPr/>
            </p:nvSpPr>
            <p:spPr>
              <a:xfrm>
                <a:off x="7691052" y="4178497"/>
                <a:ext cx="18294" cy="18428"/>
              </a:xfrm>
              <a:custGeom>
                <a:avLst/>
                <a:gdLst>
                  <a:gd name="connsiteX0" fmla="*/ 12975 w 18294"/>
                  <a:gd name="connsiteY0" fmla="*/ 871 h 18428"/>
                  <a:gd name="connsiteX1" fmla="*/ 17460 w 18294"/>
                  <a:gd name="connsiteY1" fmla="*/ 13132 h 18428"/>
                  <a:gd name="connsiteX2" fmla="*/ 5320 w 18294"/>
                  <a:gd name="connsiteY2" fmla="*/ 17557 h 18428"/>
                  <a:gd name="connsiteX3" fmla="*/ 834 w 18294"/>
                  <a:gd name="connsiteY3" fmla="*/ 5297 h 18428"/>
                  <a:gd name="connsiteX4" fmla="*/ 12975 w 18294"/>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8">
                    <a:moveTo>
                      <a:pt x="12975" y="871"/>
                    </a:moveTo>
                    <a:cubicBezTo>
                      <a:pt x="17580" y="3024"/>
                      <a:pt x="19554" y="8527"/>
                      <a:pt x="17460" y="13132"/>
                    </a:cubicBezTo>
                    <a:cubicBezTo>
                      <a:pt x="15367" y="17737"/>
                      <a:pt x="9865" y="19710"/>
                      <a:pt x="5320" y="17557"/>
                    </a:cubicBezTo>
                    <a:cubicBezTo>
                      <a:pt x="715" y="15405"/>
                      <a:pt x="-1259" y="9902"/>
                      <a:pt x="834" y="5297"/>
                    </a:cubicBezTo>
                    <a:cubicBezTo>
                      <a:pt x="2927" y="692"/>
                      <a:pt x="8430" y="-1282"/>
                      <a:pt x="12975" y="871"/>
                    </a:cubicBezTo>
                    <a:close/>
                  </a:path>
                </a:pathLst>
              </a:custGeom>
              <a:grpFill/>
              <a:ln w="5978" cap="flat">
                <a:noFill/>
                <a:prstDash val="solid"/>
                <a:miter/>
              </a:ln>
            </p:spPr>
            <p:txBody>
              <a:bodyPr rtlCol="0" anchor="ctr"/>
              <a:lstStyle/>
              <a:p>
                <a:endParaRPr lang="en-GB"/>
              </a:p>
            </p:txBody>
          </p:sp>
          <p:sp>
            <p:nvSpPr>
              <p:cNvPr id="4269" name="Vrije vorm: vorm 4268">
                <a:extLst>
                  <a:ext uri="{FF2B5EF4-FFF2-40B4-BE49-F238E27FC236}">
                    <a16:creationId xmlns:a16="http://schemas.microsoft.com/office/drawing/2014/main" id="{C1603433-4D36-416A-B51C-8CE0660381CE}"/>
                  </a:ext>
                </a:extLst>
              </p:cNvPr>
              <p:cNvSpPr/>
              <p:nvPr/>
            </p:nvSpPr>
            <p:spPr>
              <a:xfrm>
                <a:off x="7585432" y="4128977"/>
                <a:ext cx="18321" cy="18428"/>
              </a:xfrm>
              <a:custGeom>
                <a:avLst/>
                <a:gdLst>
                  <a:gd name="connsiteX0" fmla="*/ 12975 w 18321"/>
                  <a:gd name="connsiteY0" fmla="*/ 871 h 18428"/>
                  <a:gd name="connsiteX1" fmla="*/ 834 w 18321"/>
                  <a:gd name="connsiteY1" fmla="*/ 5297 h 18428"/>
                  <a:gd name="connsiteX2" fmla="*/ 5320 w 18321"/>
                  <a:gd name="connsiteY2" fmla="*/ 17557 h 18428"/>
                  <a:gd name="connsiteX3" fmla="*/ 17461 w 18321"/>
                  <a:gd name="connsiteY3" fmla="*/ 13132 h 18428"/>
                  <a:gd name="connsiteX4" fmla="*/ 12975 w 1832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2975" y="871"/>
                    </a:moveTo>
                    <a:cubicBezTo>
                      <a:pt x="8370" y="-1282"/>
                      <a:pt x="2927" y="692"/>
                      <a:pt x="834" y="5297"/>
                    </a:cubicBezTo>
                    <a:cubicBezTo>
                      <a:pt x="-1259" y="9902"/>
                      <a:pt x="715" y="15404"/>
                      <a:pt x="5320" y="17557"/>
                    </a:cubicBezTo>
                    <a:cubicBezTo>
                      <a:pt x="9925" y="19711"/>
                      <a:pt x="15368" y="17737"/>
                      <a:pt x="17461" y="13132"/>
                    </a:cubicBezTo>
                    <a:cubicBezTo>
                      <a:pt x="19614" y="8526"/>
                      <a:pt x="17581" y="3024"/>
                      <a:pt x="12975" y="871"/>
                    </a:cubicBezTo>
                    <a:close/>
                  </a:path>
                </a:pathLst>
              </a:custGeom>
              <a:grpFill/>
              <a:ln w="5978" cap="flat">
                <a:noFill/>
                <a:prstDash val="solid"/>
                <a:miter/>
              </a:ln>
            </p:spPr>
            <p:txBody>
              <a:bodyPr rtlCol="0" anchor="ctr"/>
              <a:lstStyle/>
              <a:p>
                <a:endParaRPr lang="en-GB"/>
              </a:p>
            </p:txBody>
          </p:sp>
        </p:grpSp>
        <p:grpSp>
          <p:nvGrpSpPr>
            <p:cNvPr id="372" name="Graphic 3">
              <a:extLst>
                <a:ext uri="{FF2B5EF4-FFF2-40B4-BE49-F238E27FC236}">
                  <a16:creationId xmlns:a16="http://schemas.microsoft.com/office/drawing/2014/main" id="{A23C6A22-FBF9-4C10-A0E2-E09F736A1A0E}"/>
                </a:ext>
              </a:extLst>
            </p:cNvPr>
            <p:cNvGrpSpPr/>
            <p:nvPr/>
          </p:nvGrpSpPr>
          <p:grpSpPr>
            <a:xfrm>
              <a:off x="7691035" y="4293766"/>
              <a:ext cx="20588" cy="19703"/>
              <a:chOff x="7691035" y="4293766"/>
              <a:chExt cx="20588" cy="19703"/>
            </a:xfrm>
            <a:grpFill/>
          </p:grpSpPr>
          <p:sp>
            <p:nvSpPr>
              <p:cNvPr id="4264" name="Vrije vorm: vorm 4263">
                <a:extLst>
                  <a:ext uri="{FF2B5EF4-FFF2-40B4-BE49-F238E27FC236}">
                    <a16:creationId xmlns:a16="http://schemas.microsoft.com/office/drawing/2014/main" id="{0A014A08-3138-40BB-91A2-1B7C56EC8837}"/>
                  </a:ext>
                </a:extLst>
              </p:cNvPr>
              <p:cNvSpPr/>
              <p:nvPr/>
            </p:nvSpPr>
            <p:spPr>
              <a:xfrm>
                <a:off x="7699063" y="4301435"/>
                <a:ext cx="4485" cy="4365"/>
              </a:xfrm>
              <a:custGeom>
                <a:avLst/>
                <a:gdLst>
                  <a:gd name="connsiteX0" fmla="*/ 4486 w 4485"/>
                  <a:gd name="connsiteY0" fmla="*/ 1674 h 4365"/>
                  <a:gd name="connsiteX1" fmla="*/ 3050 w 4485"/>
                  <a:gd name="connsiteY1" fmla="*/ 4366 h 4365"/>
                  <a:gd name="connsiteX2" fmla="*/ 0 w 4485"/>
                  <a:gd name="connsiteY2" fmla="*/ 2691 h 4365"/>
                  <a:gd name="connsiteX3" fmla="*/ 1435 w 4485"/>
                  <a:gd name="connsiteY3" fmla="*/ 0 h 4365"/>
                </a:gdLst>
                <a:ahLst/>
                <a:cxnLst>
                  <a:cxn ang="0">
                    <a:pos x="connsiteX0" y="connsiteY0"/>
                  </a:cxn>
                  <a:cxn ang="0">
                    <a:pos x="connsiteX1" y="connsiteY1"/>
                  </a:cxn>
                  <a:cxn ang="0">
                    <a:pos x="connsiteX2" y="connsiteY2"/>
                  </a:cxn>
                  <a:cxn ang="0">
                    <a:pos x="connsiteX3" y="connsiteY3"/>
                  </a:cxn>
                </a:cxnLst>
                <a:rect l="l" t="t" r="r" b="b"/>
                <a:pathLst>
                  <a:path w="4485" h="4365">
                    <a:moveTo>
                      <a:pt x="4486" y="1674"/>
                    </a:moveTo>
                    <a:lnTo>
                      <a:pt x="3050" y="4366"/>
                    </a:lnTo>
                    <a:lnTo>
                      <a:pt x="0" y="2691"/>
                    </a:lnTo>
                    <a:lnTo>
                      <a:pt x="1435" y="0"/>
                    </a:lnTo>
                    <a:close/>
                  </a:path>
                </a:pathLst>
              </a:custGeom>
              <a:grpFill/>
              <a:ln w="5978" cap="flat">
                <a:noFill/>
                <a:prstDash val="solid"/>
                <a:miter/>
              </a:ln>
            </p:spPr>
            <p:txBody>
              <a:bodyPr rtlCol="0" anchor="ctr"/>
              <a:lstStyle/>
              <a:p>
                <a:endParaRPr lang="en-GB"/>
              </a:p>
            </p:txBody>
          </p:sp>
          <p:sp>
            <p:nvSpPr>
              <p:cNvPr id="4265" name="Vrije vorm: vorm 4264">
                <a:extLst>
                  <a:ext uri="{FF2B5EF4-FFF2-40B4-BE49-F238E27FC236}">
                    <a16:creationId xmlns:a16="http://schemas.microsoft.com/office/drawing/2014/main" id="{5C84AB83-6F74-492B-963D-43A8BA998644}"/>
                  </a:ext>
                </a:extLst>
              </p:cNvPr>
              <p:cNvSpPr/>
              <p:nvPr/>
            </p:nvSpPr>
            <p:spPr>
              <a:xfrm>
                <a:off x="7691035" y="4293766"/>
                <a:ext cx="18315" cy="18447"/>
              </a:xfrm>
              <a:custGeom>
                <a:avLst/>
                <a:gdLst>
                  <a:gd name="connsiteX0" fmla="*/ 4857 w 18315"/>
                  <a:gd name="connsiteY0" fmla="*/ 17357 h 18447"/>
                  <a:gd name="connsiteX1" fmla="*/ 1090 w 18315"/>
                  <a:gd name="connsiteY1" fmla="*/ 4858 h 18447"/>
                  <a:gd name="connsiteX2" fmla="*/ 13470 w 18315"/>
                  <a:gd name="connsiteY2" fmla="*/ 1090 h 18447"/>
                  <a:gd name="connsiteX3" fmla="*/ 17238 w 18315"/>
                  <a:gd name="connsiteY3" fmla="*/ 13590 h 18447"/>
                  <a:gd name="connsiteX4" fmla="*/ 4857 w 18315"/>
                  <a:gd name="connsiteY4" fmla="*/ 1735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47">
                    <a:moveTo>
                      <a:pt x="4857" y="17357"/>
                    </a:moveTo>
                    <a:cubicBezTo>
                      <a:pt x="372" y="14965"/>
                      <a:pt x="-1302" y="9343"/>
                      <a:pt x="1090" y="4858"/>
                    </a:cubicBezTo>
                    <a:cubicBezTo>
                      <a:pt x="3482" y="372"/>
                      <a:pt x="9044" y="-1302"/>
                      <a:pt x="13470" y="1090"/>
                    </a:cubicBezTo>
                    <a:cubicBezTo>
                      <a:pt x="17896" y="3482"/>
                      <a:pt x="19630" y="9104"/>
                      <a:pt x="17238" y="13590"/>
                    </a:cubicBezTo>
                    <a:cubicBezTo>
                      <a:pt x="14845" y="18075"/>
                      <a:pt x="9283" y="19750"/>
                      <a:pt x="4857" y="17357"/>
                    </a:cubicBezTo>
                    <a:close/>
                  </a:path>
                </a:pathLst>
              </a:custGeom>
              <a:grpFill/>
              <a:ln w="5978" cap="flat">
                <a:noFill/>
                <a:prstDash val="solid"/>
                <a:miter/>
              </a:ln>
            </p:spPr>
            <p:txBody>
              <a:bodyPr rtlCol="0" anchor="ctr"/>
              <a:lstStyle/>
              <a:p>
                <a:endParaRPr lang="en-GB"/>
              </a:p>
            </p:txBody>
          </p:sp>
          <p:sp>
            <p:nvSpPr>
              <p:cNvPr id="4266" name="Vrije vorm: vorm 4265">
                <a:extLst>
                  <a:ext uri="{FF2B5EF4-FFF2-40B4-BE49-F238E27FC236}">
                    <a16:creationId xmlns:a16="http://schemas.microsoft.com/office/drawing/2014/main" id="{B8472572-B23D-48D4-B3FD-8D31FE73AF21}"/>
                  </a:ext>
                </a:extLst>
              </p:cNvPr>
              <p:cNvSpPr/>
              <p:nvPr/>
            </p:nvSpPr>
            <p:spPr>
              <a:xfrm>
                <a:off x="7693334" y="4295022"/>
                <a:ext cx="18289" cy="18447"/>
              </a:xfrm>
              <a:custGeom>
                <a:avLst/>
                <a:gdLst>
                  <a:gd name="connsiteX0" fmla="*/ 4831 w 18289"/>
                  <a:gd name="connsiteY0" fmla="*/ 17357 h 18447"/>
                  <a:gd name="connsiteX1" fmla="*/ 17212 w 18289"/>
                  <a:gd name="connsiteY1" fmla="*/ 13590 h 18447"/>
                  <a:gd name="connsiteX2" fmla="*/ 13444 w 18289"/>
                  <a:gd name="connsiteY2" fmla="*/ 1090 h 18447"/>
                  <a:gd name="connsiteX3" fmla="*/ 1063 w 18289"/>
                  <a:gd name="connsiteY3" fmla="*/ 4858 h 18447"/>
                  <a:gd name="connsiteX4" fmla="*/ 4831 w 18289"/>
                  <a:gd name="connsiteY4" fmla="*/ 1735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47">
                    <a:moveTo>
                      <a:pt x="4831" y="17357"/>
                    </a:moveTo>
                    <a:cubicBezTo>
                      <a:pt x="9317" y="19749"/>
                      <a:pt x="14879" y="18075"/>
                      <a:pt x="17212" y="13590"/>
                    </a:cubicBezTo>
                    <a:cubicBezTo>
                      <a:pt x="19604" y="9104"/>
                      <a:pt x="17870" y="3542"/>
                      <a:pt x="13444" y="1090"/>
                    </a:cubicBezTo>
                    <a:cubicBezTo>
                      <a:pt x="8958" y="-1302"/>
                      <a:pt x="3396" y="372"/>
                      <a:pt x="1063" y="4858"/>
                    </a:cubicBezTo>
                    <a:cubicBezTo>
                      <a:pt x="-1269" y="9343"/>
                      <a:pt x="346" y="14905"/>
                      <a:pt x="4831" y="17357"/>
                    </a:cubicBezTo>
                    <a:close/>
                  </a:path>
                </a:pathLst>
              </a:custGeom>
              <a:grpFill/>
              <a:ln w="5978" cap="flat">
                <a:noFill/>
                <a:prstDash val="solid"/>
                <a:miter/>
              </a:ln>
            </p:spPr>
            <p:txBody>
              <a:bodyPr rtlCol="0" anchor="ctr"/>
              <a:lstStyle/>
              <a:p>
                <a:endParaRPr lang="en-GB"/>
              </a:p>
            </p:txBody>
          </p:sp>
        </p:grpSp>
        <p:grpSp>
          <p:nvGrpSpPr>
            <p:cNvPr id="373" name="Graphic 3">
              <a:extLst>
                <a:ext uri="{FF2B5EF4-FFF2-40B4-BE49-F238E27FC236}">
                  <a16:creationId xmlns:a16="http://schemas.microsoft.com/office/drawing/2014/main" id="{8EC04824-D90C-406C-99BF-CFFCB119E9A7}"/>
                </a:ext>
              </a:extLst>
            </p:cNvPr>
            <p:cNvGrpSpPr/>
            <p:nvPr/>
          </p:nvGrpSpPr>
          <p:grpSpPr>
            <a:xfrm>
              <a:off x="6815643" y="1768222"/>
              <a:ext cx="88648" cy="155741"/>
              <a:chOff x="6815643" y="1768222"/>
              <a:chExt cx="88648" cy="155741"/>
            </a:xfrm>
            <a:grpFill/>
          </p:grpSpPr>
          <p:sp>
            <p:nvSpPr>
              <p:cNvPr id="4261" name="Vrije vorm: vorm 4260">
                <a:extLst>
                  <a:ext uri="{FF2B5EF4-FFF2-40B4-BE49-F238E27FC236}">
                    <a16:creationId xmlns:a16="http://schemas.microsoft.com/office/drawing/2014/main" id="{F0C845C9-6C25-429F-BACA-D4A2A5B52A44}"/>
                  </a:ext>
                </a:extLst>
              </p:cNvPr>
              <p:cNvSpPr/>
              <p:nvPr/>
            </p:nvSpPr>
            <p:spPr>
              <a:xfrm>
                <a:off x="6823246" y="1776314"/>
                <a:ext cx="73443" cy="139470"/>
              </a:xfrm>
              <a:custGeom>
                <a:avLst/>
                <a:gdLst>
                  <a:gd name="connsiteX0" fmla="*/ 73443 w 73443"/>
                  <a:gd name="connsiteY0" fmla="*/ 1435 h 139470"/>
                  <a:gd name="connsiteX1" fmla="*/ 2751 w 73443"/>
                  <a:gd name="connsiteY1" fmla="*/ 139470 h 139470"/>
                  <a:gd name="connsiteX2" fmla="*/ 0 w 73443"/>
                  <a:gd name="connsiteY2" fmla="*/ 138095 h 139470"/>
                  <a:gd name="connsiteX3" fmla="*/ 70752 w 73443"/>
                  <a:gd name="connsiteY3" fmla="*/ 0 h 139470"/>
                </a:gdLst>
                <a:ahLst/>
                <a:cxnLst>
                  <a:cxn ang="0">
                    <a:pos x="connsiteX0" y="connsiteY0"/>
                  </a:cxn>
                  <a:cxn ang="0">
                    <a:pos x="connsiteX1" y="connsiteY1"/>
                  </a:cxn>
                  <a:cxn ang="0">
                    <a:pos x="connsiteX2" y="connsiteY2"/>
                  </a:cxn>
                  <a:cxn ang="0">
                    <a:pos x="connsiteX3" y="connsiteY3"/>
                  </a:cxn>
                </a:cxnLst>
                <a:rect l="l" t="t" r="r" b="b"/>
                <a:pathLst>
                  <a:path w="73443" h="139470">
                    <a:moveTo>
                      <a:pt x="73443" y="1435"/>
                    </a:moveTo>
                    <a:lnTo>
                      <a:pt x="2751" y="139470"/>
                    </a:lnTo>
                    <a:lnTo>
                      <a:pt x="0" y="138095"/>
                    </a:lnTo>
                    <a:lnTo>
                      <a:pt x="70752" y="0"/>
                    </a:lnTo>
                    <a:close/>
                  </a:path>
                </a:pathLst>
              </a:custGeom>
              <a:grpFill/>
              <a:ln w="5978" cap="flat">
                <a:noFill/>
                <a:prstDash val="solid"/>
                <a:miter/>
              </a:ln>
            </p:spPr>
            <p:txBody>
              <a:bodyPr rtlCol="0" anchor="ctr"/>
              <a:lstStyle/>
              <a:p>
                <a:endParaRPr lang="en-GB"/>
              </a:p>
            </p:txBody>
          </p:sp>
          <p:sp>
            <p:nvSpPr>
              <p:cNvPr id="4262" name="Vrije vorm: vorm 4261">
                <a:extLst>
                  <a:ext uri="{FF2B5EF4-FFF2-40B4-BE49-F238E27FC236}">
                    <a16:creationId xmlns:a16="http://schemas.microsoft.com/office/drawing/2014/main" id="{56EB4CD1-8DF5-48FC-BE5A-F9F536A02487}"/>
                  </a:ext>
                </a:extLst>
              </p:cNvPr>
              <p:cNvSpPr/>
              <p:nvPr/>
            </p:nvSpPr>
            <p:spPr>
              <a:xfrm>
                <a:off x="6885976" y="1768222"/>
                <a:ext cx="18315" cy="18457"/>
              </a:xfrm>
              <a:custGeom>
                <a:avLst/>
                <a:gdLst>
                  <a:gd name="connsiteX0" fmla="*/ 1024 w 18315"/>
                  <a:gd name="connsiteY0" fmla="*/ 4982 h 18457"/>
                  <a:gd name="connsiteX1" fmla="*/ 13344 w 18315"/>
                  <a:gd name="connsiteY1" fmla="*/ 1035 h 18457"/>
                  <a:gd name="connsiteX2" fmla="*/ 17292 w 18315"/>
                  <a:gd name="connsiteY2" fmla="*/ 13475 h 18457"/>
                  <a:gd name="connsiteX3" fmla="*/ 4971 w 18315"/>
                  <a:gd name="connsiteY3" fmla="*/ 17422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3356" y="437"/>
                      <a:pt x="8859" y="-1297"/>
                      <a:pt x="13344" y="1035"/>
                    </a:cubicBezTo>
                    <a:cubicBezTo>
                      <a:pt x="17830" y="3368"/>
                      <a:pt x="19624" y="8930"/>
                      <a:pt x="17292" y="13475"/>
                    </a:cubicBezTo>
                    <a:cubicBezTo>
                      <a:pt x="14959" y="18020"/>
                      <a:pt x="9457" y="19755"/>
                      <a:pt x="4971" y="17422"/>
                    </a:cubicBezTo>
                    <a:cubicBezTo>
                      <a:pt x="486" y="15030"/>
                      <a:pt x="-1309" y="9468"/>
                      <a:pt x="1024" y="4982"/>
                    </a:cubicBezTo>
                    <a:close/>
                  </a:path>
                </a:pathLst>
              </a:custGeom>
              <a:grpFill/>
              <a:ln w="5978" cap="flat">
                <a:noFill/>
                <a:prstDash val="solid"/>
                <a:miter/>
              </a:ln>
            </p:spPr>
            <p:txBody>
              <a:bodyPr rtlCol="0" anchor="ctr"/>
              <a:lstStyle/>
              <a:p>
                <a:endParaRPr lang="en-GB"/>
              </a:p>
            </p:txBody>
          </p:sp>
          <p:sp>
            <p:nvSpPr>
              <p:cNvPr id="4263" name="Vrije vorm: vorm 4262">
                <a:extLst>
                  <a:ext uri="{FF2B5EF4-FFF2-40B4-BE49-F238E27FC236}">
                    <a16:creationId xmlns:a16="http://schemas.microsoft.com/office/drawing/2014/main" id="{81E673F4-AA44-4205-93D1-90656D23B19C}"/>
                  </a:ext>
                </a:extLst>
              </p:cNvPr>
              <p:cNvSpPr/>
              <p:nvPr/>
            </p:nvSpPr>
            <p:spPr>
              <a:xfrm>
                <a:off x="6815643" y="1905480"/>
                <a:ext cx="18315" cy="18483"/>
              </a:xfrm>
              <a:custGeom>
                <a:avLst/>
                <a:gdLst>
                  <a:gd name="connsiteX0" fmla="*/ 1024 w 18315"/>
                  <a:gd name="connsiteY0" fmla="*/ 4982 h 18483"/>
                  <a:gd name="connsiteX1" fmla="*/ 4971 w 18315"/>
                  <a:gd name="connsiteY1" fmla="*/ 17422 h 18483"/>
                  <a:gd name="connsiteX2" fmla="*/ 17292 w 18315"/>
                  <a:gd name="connsiteY2" fmla="*/ 13475 h 18483"/>
                  <a:gd name="connsiteX3" fmla="*/ 13344 w 18315"/>
                  <a:gd name="connsiteY3" fmla="*/ 1035 h 18483"/>
                  <a:gd name="connsiteX4" fmla="*/ 1024 w 18315"/>
                  <a:gd name="connsiteY4" fmla="*/ 4982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83">
                    <a:moveTo>
                      <a:pt x="1024" y="4982"/>
                    </a:moveTo>
                    <a:cubicBezTo>
                      <a:pt x="-1309" y="9528"/>
                      <a:pt x="485" y="15030"/>
                      <a:pt x="4971" y="17422"/>
                    </a:cubicBezTo>
                    <a:cubicBezTo>
                      <a:pt x="9457" y="19815"/>
                      <a:pt x="15019" y="18020"/>
                      <a:pt x="17292" y="13475"/>
                    </a:cubicBezTo>
                    <a:cubicBezTo>
                      <a:pt x="19624" y="8930"/>
                      <a:pt x="17830" y="3368"/>
                      <a:pt x="13344" y="1035"/>
                    </a:cubicBezTo>
                    <a:cubicBezTo>
                      <a:pt x="8859" y="-1297"/>
                      <a:pt x="3356" y="437"/>
                      <a:pt x="1024" y="4982"/>
                    </a:cubicBezTo>
                    <a:close/>
                  </a:path>
                </a:pathLst>
              </a:custGeom>
              <a:grpFill/>
              <a:ln w="5978" cap="flat">
                <a:noFill/>
                <a:prstDash val="solid"/>
                <a:miter/>
              </a:ln>
            </p:spPr>
            <p:txBody>
              <a:bodyPr rtlCol="0" anchor="ctr"/>
              <a:lstStyle/>
              <a:p>
                <a:endParaRPr lang="en-GB"/>
              </a:p>
            </p:txBody>
          </p:sp>
        </p:grpSp>
        <p:grpSp>
          <p:nvGrpSpPr>
            <p:cNvPr id="374" name="Graphic 3">
              <a:extLst>
                <a:ext uri="{FF2B5EF4-FFF2-40B4-BE49-F238E27FC236}">
                  <a16:creationId xmlns:a16="http://schemas.microsoft.com/office/drawing/2014/main" id="{70B56B78-DB0E-4427-8A84-175CE9FC0A4A}"/>
                </a:ext>
              </a:extLst>
            </p:cNvPr>
            <p:cNvGrpSpPr/>
            <p:nvPr/>
          </p:nvGrpSpPr>
          <p:grpSpPr>
            <a:xfrm>
              <a:off x="7777117" y="4606917"/>
              <a:ext cx="24269" cy="22497"/>
              <a:chOff x="7777117" y="4606917"/>
              <a:chExt cx="24269" cy="22497"/>
            </a:xfrm>
            <a:grpFill/>
          </p:grpSpPr>
          <p:sp>
            <p:nvSpPr>
              <p:cNvPr id="4259" name="Vrije vorm: vorm 4258">
                <a:extLst>
                  <a:ext uri="{FF2B5EF4-FFF2-40B4-BE49-F238E27FC236}">
                    <a16:creationId xmlns:a16="http://schemas.microsoft.com/office/drawing/2014/main" id="{2A5F6B70-B054-42D4-B200-8B9C9B788ED1}"/>
                  </a:ext>
                </a:extLst>
              </p:cNvPr>
              <p:cNvSpPr/>
              <p:nvPr/>
            </p:nvSpPr>
            <p:spPr>
              <a:xfrm>
                <a:off x="7783038" y="4611017"/>
                <a:ext cx="18348" cy="18397"/>
              </a:xfrm>
              <a:custGeom>
                <a:avLst/>
                <a:gdLst>
                  <a:gd name="connsiteX0" fmla="*/ 4001 w 18348"/>
                  <a:gd name="connsiteY0" fmla="*/ 16786 h 18397"/>
                  <a:gd name="connsiteX1" fmla="*/ 1609 w 18348"/>
                  <a:gd name="connsiteY1" fmla="*/ 3987 h 18397"/>
                  <a:gd name="connsiteX2" fmla="*/ 14348 w 18348"/>
                  <a:gd name="connsiteY2" fmla="*/ 1654 h 18397"/>
                  <a:gd name="connsiteX3" fmla="*/ 16740 w 18348"/>
                  <a:gd name="connsiteY3" fmla="*/ 14453 h 18397"/>
                  <a:gd name="connsiteX4" fmla="*/ 4001 w 18348"/>
                  <a:gd name="connsiteY4" fmla="*/ 16786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97">
                    <a:moveTo>
                      <a:pt x="4001" y="16786"/>
                    </a:moveTo>
                    <a:cubicBezTo>
                      <a:pt x="-185" y="13915"/>
                      <a:pt x="-1262" y="8173"/>
                      <a:pt x="1609" y="3987"/>
                    </a:cubicBezTo>
                    <a:cubicBezTo>
                      <a:pt x="4480" y="-200"/>
                      <a:pt x="10161" y="-1276"/>
                      <a:pt x="14348" y="1654"/>
                    </a:cubicBezTo>
                    <a:cubicBezTo>
                      <a:pt x="18534" y="4525"/>
                      <a:pt x="19611" y="10266"/>
                      <a:pt x="16740" y="14453"/>
                    </a:cubicBezTo>
                    <a:cubicBezTo>
                      <a:pt x="13869" y="18580"/>
                      <a:pt x="8188" y="19656"/>
                      <a:pt x="4001" y="16786"/>
                    </a:cubicBezTo>
                    <a:close/>
                  </a:path>
                </a:pathLst>
              </a:custGeom>
              <a:grpFill/>
              <a:ln w="5978" cap="flat">
                <a:noFill/>
                <a:prstDash val="solid"/>
                <a:miter/>
              </a:ln>
            </p:spPr>
            <p:txBody>
              <a:bodyPr rtlCol="0" anchor="ctr"/>
              <a:lstStyle/>
              <a:p>
                <a:endParaRPr lang="en-GB"/>
              </a:p>
            </p:txBody>
          </p:sp>
          <p:sp>
            <p:nvSpPr>
              <p:cNvPr id="4260" name="Vrije vorm: vorm 4259">
                <a:extLst>
                  <a:ext uri="{FF2B5EF4-FFF2-40B4-BE49-F238E27FC236}">
                    <a16:creationId xmlns:a16="http://schemas.microsoft.com/office/drawing/2014/main" id="{ACDE70E5-E6E1-4ADE-80CC-B5D2ABDFC7DD}"/>
                  </a:ext>
                </a:extLst>
              </p:cNvPr>
              <p:cNvSpPr/>
              <p:nvPr/>
            </p:nvSpPr>
            <p:spPr>
              <a:xfrm>
                <a:off x="7777117" y="4606917"/>
                <a:ext cx="18348" cy="18387"/>
              </a:xfrm>
              <a:custGeom>
                <a:avLst/>
                <a:gdLst>
                  <a:gd name="connsiteX0" fmla="*/ 4001 w 18348"/>
                  <a:gd name="connsiteY0" fmla="*/ 16759 h 18387"/>
                  <a:gd name="connsiteX1" fmla="*/ 16740 w 18348"/>
                  <a:gd name="connsiteY1" fmla="*/ 14427 h 18387"/>
                  <a:gd name="connsiteX2" fmla="*/ 14348 w 18348"/>
                  <a:gd name="connsiteY2" fmla="*/ 1628 h 18387"/>
                  <a:gd name="connsiteX3" fmla="*/ 1609 w 18348"/>
                  <a:gd name="connsiteY3" fmla="*/ 3961 h 18387"/>
                  <a:gd name="connsiteX4" fmla="*/ 4001 w 18348"/>
                  <a:gd name="connsiteY4" fmla="*/ 1675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87">
                    <a:moveTo>
                      <a:pt x="4001" y="16759"/>
                    </a:moveTo>
                    <a:cubicBezTo>
                      <a:pt x="8188" y="19630"/>
                      <a:pt x="13869" y="18613"/>
                      <a:pt x="16740" y="14427"/>
                    </a:cubicBezTo>
                    <a:cubicBezTo>
                      <a:pt x="19610" y="10240"/>
                      <a:pt x="18534" y="4499"/>
                      <a:pt x="14348" y="1628"/>
                    </a:cubicBezTo>
                    <a:cubicBezTo>
                      <a:pt x="10161" y="-1243"/>
                      <a:pt x="4480" y="-226"/>
                      <a:pt x="1609" y="3961"/>
                    </a:cubicBezTo>
                    <a:cubicBezTo>
                      <a:pt x="-1262" y="8147"/>
                      <a:pt x="-185" y="13888"/>
                      <a:pt x="4001" y="16759"/>
                    </a:cubicBezTo>
                    <a:close/>
                  </a:path>
                </a:pathLst>
              </a:custGeom>
              <a:grpFill/>
              <a:ln w="5978" cap="flat">
                <a:noFill/>
                <a:prstDash val="solid"/>
                <a:miter/>
              </a:ln>
            </p:spPr>
            <p:txBody>
              <a:bodyPr rtlCol="0" anchor="ctr"/>
              <a:lstStyle/>
              <a:p>
                <a:endParaRPr lang="en-GB"/>
              </a:p>
            </p:txBody>
          </p:sp>
        </p:grpSp>
        <p:grpSp>
          <p:nvGrpSpPr>
            <p:cNvPr id="375" name="Graphic 3">
              <a:extLst>
                <a:ext uri="{FF2B5EF4-FFF2-40B4-BE49-F238E27FC236}">
                  <a16:creationId xmlns:a16="http://schemas.microsoft.com/office/drawing/2014/main" id="{BE72270E-1CC5-4519-AE9E-A53210A340C8}"/>
                </a:ext>
              </a:extLst>
            </p:cNvPr>
            <p:cNvGrpSpPr/>
            <p:nvPr/>
          </p:nvGrpSpPr>
          <p:grpSpPr>
            <a:xfrm>
              <a:off x="6764262" y="1611113"/>
              <a:ext cx="57374" cy="111055"/>
              <a:chOff x="6764262" y="1611113"/>
              <a:chExt cx="57374" cy="111055"/>
            </a:xfrm>
            <a:grpFill/>
          </p:grpSpPr>
          <p:sp>
            <p:nvSpPr>
              <p:cNvPr id="4256" name="Vrije vorm: vorm 4255">
                <a:extLst>
                  <a:ext uri="{FF2B5EF4-FFF2-40B4-BE49-F238E27FC236}">
                    <a16:creationId xmlns:a16="http://schemas.microsoft.com/office/drawing/2014/main" id="{A3DAB854-2711-4843-834C-BC422BA16265}"/>
                  </a:ext>
                </a:extLst>
              </p:cNvPr>
              <p:cNvSpPr/>
              <p:nvPr/>
            </p:nvSpPr>
            <p:spPr>
              <a:xfrm>
                <a:off x="6771812" y="1619261"/>
                <a:ext cx="42223" cy="94674"/>
              </a:xfrm>
              <a:custGeom>
                <a:avLst/>
                <a:gdLst>
                  <a:gd name="connsiteX0" fmla="*/ 42224 w 42223"/>
                  <a:gd name="connsiteY0" fmla="*/ 1196 h 94674"/>
                  <a:gd name="connsiteX1" fmla="*/ 2811 w 42223"/>
                  <a:gd name="connsiteY1" fmla="*/ 94675 h 94674"/>
                  <a:gd name="connsiteX2" fmla="*/ 0 w 42223"/>
                  <a:gd name="connsiteY2" fmla="*/ 93479 h 94674"/>
                  <a:gd name="connsiteX3" fmla="*/ 39413 w 42223"/>
                  <a:gd name="connsiteY3" fmla="*/ 0 h 94674"/>
                </a:gdLst>
                <a:ahLst/>
                <a:cxnLst>
                  <a:cxn ang="0">
                    <a:pos x="connsiteX0" y="connsiteY0"/>
                  </a:cxn>
                  <a:cxn ang="0">
                    <a:pos x="connsiteX1" y="connsiteY1"/>
                  </a:cxn>
                  <a:cxn ang="0">
                    <a:pos x="connsiteX2" y="connsiteY2"/>
                  </a:cxn>
                  <a:cxn ang="0">
                    <a:pos x="connsiteX3" y="connsiteY3"/>
                  </a:cxn>
                </a:cxnLst>
                <a:rect l="l" t="t" r="r" b="b"/>
                <a:pathLst>
                  <a:path w="42223" h="94674">
                    <a:moveTo>
                      <a:pt x="42224" y="1196"/>
                    </a:moveTo>
                    <a:lnTo>
                      <a:pt x="2811" y="94675"/>
                    </a:lnTo>
                    <a:lnTo>
                      <a:pt x="0" y="93479"/>
                    </a:lnTo>
                    <a:lnTo>
                      <a:pt x="39413" y="0"/>
                    </a:lnTo>
                    <a:close/>
                  </a:path>
                </a:pathLst>
              </a:custGeom>
              <a:grpFill/>
              <a:ln w="5978" cap="flat">
                <a:noFill/>
                <a:prstDash val="solid"/>
                <a:miter/>
              </a:ln>
            </p:spPr>
            <p:txBody>
              <a:bodyPr rtlCol="0" anchor="ctr"/>
              <a:lstStyle/>
              <a:p>
                <a:endParaRPr lang="en-GB"/>
              </a:p>
            </p:txBody>
          </p:sp>
          <p:sp>
            <p:nvSpPr>
              <p:cNvPr id="4257" name="Vrije vorm: vorm 4256">
                <a:extLst>
                  <a:ext uri="{FF2B5EF4-FFF2-40B4-BE49-F238E27FC236}">
                    <a16:creationId xmlns:a16="http://schemas.microsoft.com/office/drawing/2014/main" id="{E9599891-4C28-423A-B431-ACDE2B23EA11}"/>
                  </a:ext>
                </a:extLst>
              </p:cNvPr>
              <p:cNvSpPr/>
              <p:nvPr/>
            </p:nvSpPr>
            <p:spPr>
              <a:xfrm>
                <a:off x="6764262" y="1703754"/>
                <a:ext cx="18320" cy="18414"/>
              </a:xfrm>
              <a:custGeom>
                <a:avLst/>
                <a:gdLst>
                  <a:gd name="connsiteX0" fmla="*/ 17597 w 18320"/>
                  <a:gd name="connsiteY0" fmla="*/ 12813 h 18414"/>
                  <a:gd name="connsiteX1" fmla="*/ 5576 w 18320"/>
                  <a:gd name="connsiteY1" fmla="*/ 17657 h 18414"/>
                  <a:gd name="connsiteX2" fmla="*/ 732 w 18320"/>
                  <a:gd name="connsiteY2" fmla="*/ 5576 h 18414"/>
                  <a:gd name="connsiteX3" fmla="*/ 12753 w 18320"/>
                  <a:gd name="connsiteY3" fmla="*/ 732 h 18414"/>
                  <a:gd name="connsiteX4" fmla="*/ 17597 w 18320"/>
                  <a:gd name="connsiteY4" fmla="*/ 1281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4">
                    <a:moveTo>
                      <a:pt x="17597" y="12813"/>
                    </a:moveTo>
                    <a:cubicBezTo>
                      <a:pt x="15624" y="17478"/>
                      <a:pt x="10241" y="19691"/>
                      <a:pt x="5576" y="17657"/>
                    </a:cubicBezTo>
                    <a:cubicBezTo>
                      <a:pt x="911" y="15684"/>
                      <a:pt x="-1242" y="10241"/>
                      <a:pt x="732" y="5576"/>
                    </a:cubicBezTo>
                    <a:cubicBezTo>
                      <a:pt x="2705" y="911"/>
                      <a:pt x="8088" y="-1242"/>
                      <a:pt x="12753" y="732"/>
                    </a:cubicBezTo>
                    <a:cubicBezTo>
                      <a:pt x="17358" y="2705"/>
                      <a:pt x="19571" y="8148"/>
                      <a:pt x="17597" y="12813"/>
                    </a:cubicBezTo>
                    <a:close/>
                  </a:path>
                </a:pathLst>
              </a:custGeom>
              <a:grpFill/>
              <a:ln w="5978" cap="flat">
                <a:noFill/>
                <a:prstDash val="solid"/>
                <a:miter/>
              </a:ln>
            </p:spPr>
            <p:txBody>
              <a:bodyPr rtlCol="0" anchor="ctr"/>
              <a:lstStyle/>
              <a:p>
                <a:endParaRPr lang="en-GB"/>
              </a:p>
            </p:txBody>
          </p:sp>
          <p:sp>
            <p:nvSpPr>
              <p:cNvPr id="4258" name="Vrije vorm: vorm 4257">
                <a:extLst>
                  <a:ext uri="{FF2B5EF4-FFF2-40B4-BE49-F238E27FC236}">
                    <a16:creationId xmlns:a16="http://schemas.microsoft.com/office/drawing/2014/main" id="{A0A839BD-85F7-4EFC-BFAA-16EDF335D407}"/>
                  </a:ext>
                </a:extLst>
              </p:cNvPr>
              <p:cNvSpPr/>
              <p:nvPr/>
            </p:nvSpPr>
            <p:spPr>
              <a:xfrm>
                <a:off x="6803316" y="1611113"/>
                <a:ext cx="18320" cy="18388"/>
              </a:xfrm>
              <a:custGeom>
                <a:avLst/>
                <a:gdLst>
                  <a:gd name="connsiteX0" fmla="*/ 17597 w 18320"/>
                  <a:gd name="connsiteY0" fmla="*/ 12813 h 18388"/>
                  <a:gd name="connsiteX1" fmla="*/ 12753 w 18320"/>
                  <a:gd name="connsiteY1" fmla="*/ 732 h 18388"/>
                  <a:gd name="connsiteX2" fmla="*/ 732 w 18320"/>
                  <a:gd name="connsiteY2" fmla="*/ 5576 h 18388"/>
                  <a:gd name="connsiteX3" fmla="*/ 5576 w 18320"/>
                  <a:gd name="connsiteY3" fmla="*/ 17657 h 18388"/>
                  <a:gd name="connsiteX4" fmla="*/ 17597 w 18320"/>
                  <a:gd name="connsiteY4" fmla="*/ 12813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88">
                    <a:moveTo>
                      <a:pt x="17597" y="12813"/>
                    </a:moveTo>
                    <a:cubicBezTo>
                      <a:pt x="19571" y="8148"/>
                      <a:pt x="17358" y="2705"/>
                      <a:pt x="12753" y="732"/>
                    </a:cubicBezTo>
                    <a:cubicBezTo>
                      <a:pt x="8088" y="-1242"/>
                      <a:pt x="2705" y="911"/>
                      <a:pt x="732" y="5576"/>
                    </a:cubicBezTo>
                    <a:cubicBezTo>
                      <a:pt x="-1242" y="10241"/>
                      <a:pt x="911" y="15684"/>
                      <a:pt x="5576" y="17657"/>
                    </a:cubicBezTo>
                    <a:cubicBezTo>
                      <a:pt x="10241" y="19631"/>
                      <a:pt x="15624" y="17478"/>
                      <a:pt x="17597" y="12813"/>
                    </a:cubicBezTo>
                    <a:close/>
                  </a:path>
                </a:pathLst>
              </a:custGeom>
              <a:grpFill/>
              <a:ln w="5978" cap="flat">
                <a:noFill/>
                <a:prstDash val="solid"/>
                <a:miter/>
              </a:ln>
            </p:spPr>
            <p:txBody>
              <a:bodyPr rtlCol="0" anchor="ctr"/>
              <a:lstStyle/>
              <a:p>
                <a:endParaRPr lang="en-GB"/>
              </a:p>
            </p:txBody>
          </p:sp>
        </p:grpSp>
        <p:grpSp>
          <p:nvGrpSpPr>
            <p:cNvPr id="376" name="Graphic 3">
              <a:extLst>
                <a:ext uri="{FF2B5EF4-FFF2-40B4-BE49-F238E27FC236}">
                  <a16:creationId xmlns:a16="http://schemas.microsoft.com/office/drawing/2014/main" id="{F9233CE0-B9D1-4434-A42C-6E4AB944D964}"/>
                </a:ext>
              </a:extLst>
            </p:cNvPr>
            <p:cNvGrpSpPr/>
            <p:nvPr/>
          </p:nvGrpSpPr>
          <p:grpSpPr>
            <a:xfrm>
              <a:off x="7568838" y="4156188"/>
              <a:ext cx="160690" cy="88333"/>
              <a:chOff x="7568838" y="4156188"/>
              <a:chExt cx="160690" cy="88333"/>
            </a:xfrm>
            <a:grpFill/>
          </p:grpSpPr>
          <p:sp>
            <p:nvSpPr>
              <p:cNvPr id="4253" name="Vrije vorm: vorm 4252">
                <a:extLst>
                  <a:ext uri="{FF2B5EF4-FFF2-40B4-BE49-F238E27FC236}">
                    <a16:creationId xmlns:a16="http://schemas.microsoft.com/office/drawing/2014/main" id="{FDE60737-7612-45E3-A345-AF540033605F}"/>
                  </a:ext>
                </a:extLst>
              </p:cNvPr>
              <p:cNvSpPr/>
              <p:nvPr/>
            </p:nvSpPr>
            <p:spPr>
              <a:xfrm>
                <a:off x="7576936" y="4163818"/>
                <a:ext cx="144494" cy="73084"/>
              </a:xfrm>
              <a:custGeom>
                <a:avLst/>
                <a:gdLst>
                  <a:gd name="connsiteX0" fmla="*/ 144494 w 144494"/>
                  <a:gd name="connsiteY0" fmla="*/ 70333 h 73084"/>
                  <a:gd name="connsiteX1" fmla="*/ 143119 w 144494"/>
                  <a:gd name="connsiteY1" fmla="*/ 73085 h 73084"/>
                  <a:gd name="connsiteX2" fmla="*/ 0 w 144494"/>
                  <a:gd name="connsiteY2" fmla="*/ 2751 h 73084"/>
                  <a:gd name="connsiteX3" fmla="*/ 1316 w 144494"/>
                  <a:gd name="connsiteY3" fmla="*/ 0 h 73084"/>
                </a:gdLst>
                <a:ahLst/>
                <a:cxnLst>
                  <a:cxn ang="0">
                    <a:pos x="connsiteX0" y="connsiteY0"/>
                  </a:cxn>
                  <a:cxn ang="0">
                    <a:pos x="connsiteX1" y="connsiteY1"/>
                  </a:cxn>
                  <a:cxn ang="0">
                    <a:pos x="connsiteX2" y="connsiteY2"/>
                  </a:cxn>
                  <a:cxn ang="0">
                    <a:pos x="connsiteX3" y="connsiteY3"/>
                  </a:cxn>
                </a:cxnLst>
                <a:rect l="l" t="t" r="r" b="b"/>
                <a:pathLst>
                  <a:path w="144494" h="73084">
                    <a:moveTo>
                      <a:pt x="144494" y="70333"/>
                    </a:moveTo>
                    <a:lnTo>
                      <a:pt x="143119" y="73085"/>
                    </a:lnTo>
                    <a:lnTo>
                      <a:pt x="0" y="2751"/>
                    </a:lnTo>
                    <a:lnTo>
                      <a:pt x="1316" y="0"/>
                    </a:lnTo>
                    <a:close/>
                  </a:path>
                </a:pathLst>
              </a:custGeom>
              <a:grpFill/>
              <a:ln w="5978" cap="flat">
                <a:noFill/>
                <a:prstDash val="solid"/>
                <a:miter/>
              </a:ln>
            </p:spPr>
            <p:txBody>
              <a:bodyPr rtlCol="0" anchor="ctr"/>
              <a:lstStyle/>
              <a:p>
                <a:endParaRPr lang="en-GB"/>
              </a:p>
            </p:txBody>
          </p:sp>
          <p:sp>
            <p:nvSpPr>
              <p:cNvPr id="4254" name="Vrije vorm: vorm 4253">
                <a:extLst>
                  <a:ext uri="{FF2B5EF4-FFF2-40B4-BE49-F238E27FC236}">
                    <a16:creationId xmlns:a16="http://schemas.microsoft.com/office/drawing/2014/main" id="{BA5D0DBE-48B7-45E1-9099-2B805864B8E5}"/>
                  </a:ext>
                </a:extLst>
              </p:cNvPr>
              <p:cNvSpPr/>
              <p:nvPr/>
            </p:nvSpPr>
            <p:spPr>
              <a:xfrm>
                <a:off x="7711180" y="4226103"/>
                <a:ext cx="18349" cy="18419"/>
              </a:xfrm>
              <a:custGeom>
                <a:avLst/>
                <a:gdLst>
                  <a:gd name="connsiteX0" fmla="*/ 13181 w 18349"/>
                  <a:gd name="connsiteY0" fmla="*/ 931 h 18419"/>
                  <a:gd name="connsiteX1" fmla="*/ 17428 w 18349"/>
                  <a:gd name="connsiteY1" fmla="*/ 13252 h 18419"/>
                  <a:gd name="connsiteX2" fmla="*/ 5167 w 18349"/>
                  <a:gd name="connsiteY2" fmla="*/ 17498 h 18419"/>
                  <a:gd name="connsiteX3" fmla="*/ 921 w 18349"/>
                  <a:gd name="connsiteY3" fmla="*/ 5178 h 18419"/>
                  <a:gd name="connsiteX4" fmla="*/ 13181 w 18349"/>
                  <a:gd name="connsiteY4" fmla="*/ 93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9">
                    <a:moveTo>
                      <a:pt x="13181" y="931"/>
                    </a:moveTo>
                    <a:cubicBezTo>
                      <a:pt x="17727" y="3144"/>
                      <a:pt x="19641" y="8706"/>
                      <a:pt x="17428" y="13252"/>
                    </a:cubicBezTo>
                    <a:cubicBezTo>
                      <a:pt x="15215" y="17797"/>
                      <a:pt x="9713" y="19711"/>
                      <a:pt x="5167" y="17498"/>
                    </a:cubicBezTo>
                    <a:cubicBezTo>
                      <a:pt x="622" y="15285"/>
                      <a:pt x="-1292" y="9723"/>
                      <a:pt x="921" y="5178"/>
                    </a:cubicBezTo>
                    <a:cubicBezTo>
                      <a:pt x="3134" y="573"/>
                      <a:pt x="8576" y="-1281"/>
                      <a:pt x="13181" y="931"/>
                    </a:cubicBezTo>
                    <a:close/>
                  </a:path>
                </a:pathLst>
              </a:custGeom>
              <a:grpFill/>
              <a:ln w="5978" cap="flat">
                <a:noFill/>
                <a:prstDash val="solid"/>
                <a:miter/>
              </a:ln>
            </p:spPr>
            <p:txBody>
              <a:bodyPr rtlCol="0" anchor="ctr"/>
              <a:lstStyle/>
              <a:p>
                <a:endParaRPr lang="en-GB"/>
              </a:p>
            </p:txBody>
          </p:sp>
          <p:sp>
            <p:nvSpPr>
              <p:cNvPr id="4255" name="Vrije vorm: vorm 4254">
                <a:extLst>
                  <a:ext uri="{FF2B5EF4-FFF2-40B4-BE49-F238E27FC236}">
                    <a16:creationId xmlns:a16="http://schemas.microsoft.com/office/drawing/2014/main" id="{5660E949-1AD9-4480-97E2-C43832C34ECC}"/>
                  </a:ext>
                </a:extLst>
              </p:cNvPr>
              <p:cNvSpPr/>
              <p:nvPr/>
            </p:nvSpPr>
            <p:spPr>
              <a:xfrm>
                <a:off x="7568838" y="4156188"/>
                <a:ext cx="18349" cy="18429"/>
              </a:xfrm>
              <a:custGeom>
                <a:avLst/>
                <a:gdLst>
                  <a:gd name="connsiteX0" fmla="*/ 13182 w 18349"/>
                  <a:gd name="connsiteY0" fmla="*/ 931 h 18429"/>
                  <a:gd name="connsiteX1" fmla="*/ 921 w 18349"/>
                  <a:gd name="connsiteY1" fmla="*/ 5178 h 18429"/>
                  <a:gd name="connsiteX2" fmla="*/ 5167 w 18349"/>
                  <a:gd name="connsiteY2" fmla="*/ 17498 h 18429"/>
                  <a:gd name="connsiteX3" fmla="*/ 17428 w 18349"/>
                  <a:gd name="connsiteY3" fmla="*/ 13252 h 18429"/>
                  <a:gd name="connsiteX4" fmla="*/ 13182 w 18349"/>
                  <a:gd name="connsiteY4" fmla="*/ 93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9">
                    <a:moveTo>
                      <a:pt x="13182" y="931"/>
                    </a:moveTo>
                    <a:cubicBezTo>
                      <a:pt x="8637" y="-1281"/>
                      <a:pt x="3134" y="573"/>
                      <a:pt x="921" y="5178"/>
                    </a:cubicBezTo>
                    <a:cubicBezTo>
                      <a:pt x="-1292" y="9723"/>
                      <a:pt x="622" y="15285"/>
                      <a:pt x="5167" y="17498"/>
                    </a:cubicBezTo>
                    <a:cubicBezTo>
                      <a:pt x="9713" y="19711"/>
                      <a:pt x="15215" y="17857"/>
                      <a:pt x="17428" y="13252"/>
                    </a:cubicBezTo>
                    <a:cubicBezTo>
                      <a:pt x="19641" y="8646"/>
                      <a:pt x="17727" y="3144"/>
                      <a:pt x="13182" y="931"/>
                    </a:cubicBezTo>
                    <a:close/>
                  </a:path>
                </a:pathLst>
              </a:custGeom>
              <a:grpFill/>
              <a:ln w="5978" cap="flat">
                <a:noFill/>
                <a:prstDash val="solid"/>
                <a:miter/>
              </a:ln>
            </p:spPr>
            <p:txBody>
              <a:bodyPr rtlCol="0" anchor="ctr"/>
              <a:lstStyle/>
              <a:p>
                <a:endParaRPr lang="en-GB"/>
              </a:p>
            </p:txBody>
          </p:sp>
        </p:grpSp>
        <p:grpSp>
          <p:nvGrpSpPr>
            <p:cNvPr id="377" name="Graphic 3">
              <a:extLst>
                <a:ext uri="{FF2B5EF4-FFF2-40B4-BE49-F238E27FC236}">
                  <a16:creationId xmlns:a16="http://schemas.microsoft.com/office/drawing/2014/main" id="{A2973AEA-6BD4-4F1C-9E84-52DE3509E194}"/>
                </a:ext>
              </a:extLst>
            </p:cNvPr>
            <p:cNvGrpSpPr/>
            <p:nvPr/>
          </p:nvGrpSpPr>
          <p:grpSpPr>
            <a:xfrm>
              <a:off x="6736049" y="1531135"/>
              <a:ext cx="38153" cy="70780"/>
              <a:chOff x="6736049" y="1531135"/>
              <a:chExt cx="38153" cy="70780"/>
            </a:xfrm>
            <a:grpFill/>
          </p:grpSpPr>
          <p:sp>
            <p:nvSpPr>
              <p:cNvPr id="4250" name="Vrije vorm: vorm 4249">
                <a:extLst>
                  <a:ext uri="{FF2B5EF4-FFF2-40B4-BE49-F238E27FC236}">
                    <a16:creationId xmlns:a16="http://schemas.microsoft.com/office/drawing/2014/main" id="{F1658EBD-1EFC-4BFB-9713-1F38F9627B52}"/>
                  </a:ext>
                </a:extLst>
              </p:cNvPr>
              <p:cNvSpPr/>
              <p:nvPr/>
            </p:nvSpPr>
            <p:spPr>
              <a:xfrm>
                <a:off x="6743702" y="1539418"/>
                <a:ext cx="22966" cy="54245"/>
              </a:xfrm>
              <a:custGeom>
                <a:avLst/>
                <a:gdLst>
                  <a:gd name="connsiteX0" fmla="*/ 22966 w 22966"/>
                  <a:gd name="connsiteY0" fmla="*/ 1076 h 54245"/>
                  <a:gd name="connsiteX1" fmla="*/ 2811 w 22966"/>
                  <a:gd name="connsiteY1" fmla="*/ 54245 h 54245"/>
                  <a:gd name="connsiteX2" fmla="*/ 0 w 22966"/>
                  <a:gd name="connsiteY2" fmla="*/ 53169 h 54245"/>
                  <a:gd name="connsiteX3" fmla="*/ 20095 w 22966"/>
                  <a:gd name="connsiteY3" fmla="*/ 0 h 54245"/>
                </a:gdLst>
                <a:ahLst/>
                <a:cxnLst>
                  <a:cxn ang="0">
                    <a:pos x="connsiteX0" y="connsiteY0"/>
                  </a:cxn>
                  <a:cxn ang="0">
                    <a:pos x="connsiteX1" y="connsiteY1"/>
                  </a:cxn>
                  <a:cxn ang="0">
                    <a:pos x="connsiteX2" y="connsiteY2"/>
                  </a:cxn>
                  <a:cxn ang="0">
                    <a:pos x="connsiteX3" y="connsiteY3"/>
                  </a:cxn>
                </a:cxnLst>
                <a:rect l="l" t="t" r="r" b="b"/>
                <a:pathLst>
                  <a:path w="22966" h="54245">
                    <a:moveTo>
                      <a:pt x="22966" y="1076"/>
                    </a:moveTo>
                    <a:lnTo>
                      <a:pt x="2811" y="54245"/>
                    </a:lnTo>
                    <a:lnTo>
                      <a:pt x="0" y="53169"/>
                    </a:lnTo>
                    <a:lnTo>
                      <a:pt x="20095" y="0"/>
                    </a:lnTo>
                    <a:close/>
                  </a:path>
                </a:pathLst>
              </a:custGeom>
              <a:grpFill/>
              <a:ln w="5978" cap="flat">
                <a:noFill/>
                <a:prstDash val="solid"/>
                <a:miter/>
              </a:ln>
            </p:spPr>
            <p:txBody>
              <a:bodyPr rtlCol="0" anchor="ctr"/>
              <a:lstStyle/>
              <a:p>
                <a:endParaRPr lang="en-GB"/>
              </a:p>
            </p:txBody>
          </p:sp>
          <p:sp>
            <p:nvSpPr>
              <p:cNvPr id="4251" name="Vrije vorm: vorm 4250">
                <a:extLst>
                  <a:ext uri="{FF2B5EF4-FFF2-40B4-BE49-F238E27FC236}">
                    <a16:creationId xmlns:a16="http://schemas.microsoft.com/office/drawing/2014/main" id="{E71206C1-9EF3-4F8B-9B82-A516C13E9017}"/>
                  </a:ext>
                </a:extLst>
              </p:cNvPr>
              <p:cNvSpPr/>
              <p:nvPr/>
            </p:nvSpPr>
            <p:spPr>
              <a:xfrm>
                <a:off x="6736049" y="1583498"/>
                <a:ext cx="18364" cy="18417"/>
              </a:xfrm>
              <a:custGeom>
                <a:avLst/>
                <a:gdLst>
                  <a:gd name="connsiteX0" fmla="*/ 17761 w 18364"/>
                  <a:gd name="connsiteY0" fmla="*/ 12498 h 18417"/>
                  <a:gd name="connsiteX1" fmla="*/ 5919 w 18364"/>
                  <a:gd name="connsiteY1" fmla="*/ 17821 h 18417"/>
                  <a:gd name="connsiteX2" fmla="*/ 596 w 18364"/>
                  <a:gd name="connsiteY2" fmla="*/ 5919 h 18417"/>
                  <a:gd name="connsiteX3" fmla="*/ 12438 w 18364"/>
                  <a:gd name="connsiteY3" fmla="*/ 596 h 18417"/>
                  <a:gd name="connsiteX4" fmla="*/ 17761 w 18364"/>
                  <a:gd name="connsiteY4" fmla="*/ 12498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7">
                    <a:moveTo>
                      <a:pt x="17761" y="12498"/>
                    </a:moveTo>
                    <a:cubicBezTo>
                      <a:pt x="15967" y="17223"/>
                      <a:pt x="10644" y="19615"/>
                      <a:pt x="5919" y="17821"/>
                    </a:cubicBezTo>
                    <a:cubicBezTo>
                      <a:pt x="1194" y="15967"/>
                      <a:pt x="-1198" y="10644"/>
                      <a:pt x="596" y="5919"/>
                    </a:cubicBezTo>
                    <a:cubicBezTo>
                      <a:pt x="2391" y="1195"/>
                      <a:pt x="7713" y="-1198"/>
                      <a:pt x="12438" y="596"/>
                    </a:cubicBezTo>
                    <a:cubicBezTo>
                      <a:pt x="17223" y="2391"/>
                      <a:pt x="19555" y="7713"/>
                      <a:pt x="17761" y="12498"/>
                    </a:cubicBezTo>
                    <a:close/>
                  </a:path>
                </a:pathLst>
              </a:custGeom>
              <a:grpFill/>
              <a:ln w="5978" cap="flat">
                <a:noFill/>
                <a:prstDash val="solid"/>
                <a:miter/>
              </a:ln>
            </p:spPr>
            <p:txBody>
              <a:bodyPr rtlCol="0" anchor="ctr"/>
              <a:lstStyle/>
              <a:p>
                <a:endParaRPr lang="en-GB"/>
              </a:p>
            </p:txBody>
          </p:sp>
          <p:sp>
            <p:nvSpPr>
              <p:cNvPr id="4252" name="Vrije vorm: vorm 4251">
                <a:extLst>
                  <a:ext uri="{FF2B5EF4-FFF2-40B4-BE49-F238E27FC236}">
                    <a16:creationId xmlns:a16="http://schemas.microsoft.com/office/drawing/2014/main" id="{4770F204-417A-406B-8E20-2B0FC2F0A0D9}"/>
                  </a:ext>
                </a:extLst>
              </p:cNvPr>
              <p:cNvSpPr/>
              <p:nvPr/>
            </p:nvSpPr>
            <p:spPr>
              <a:xfrm>
                <a:off x="6755845" y="1531135"/>
                <a:ext cx="18357" cy="18455"/>
              </a:xfrm>
              <a:custGeom>
                <a:avLst/>
                <a:gdLst>
                  <a:gd name="connsiteX0" fmla="*/ 17761 w 18357"/>
                  <a:gd name="connsiteY0" fmla="*/ 12530 h 18455"/>
                  <a:gd name="connsiteX1" fmla="*/ 12438 w 18357"/>
                  <a:gd name="connsiteY1" fmla="*/ 628 h 18455"/>
                  <a:gd name="connsiteX2" fmla="*/ 596 w 18357"/>
                  <a:gd name="connsiteY2" fmla="*/ 5951 h 18455"/>
                  <a:gd name="connsiteX3" fmla="*/ 5919 w 18357"/>
                  <a:gd name="connsiteY3" fmla="*/ 17852 h 18455"/>
                  <a:gd name="connsiteX4" fmla="*/ 17761 w 18357"/>
                  <a:gd name="connsiteY4" fmla="*/ 12530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55">
                    <a:moveTo>
                      <a:pt x="17761" y="12530"/>
                    </a:moveTo>
                    <a:cubicBezTo>
                      <a:pt x="19555" y="7805"/>
                      <a:pt x="17163" y="2422"/>
                      <a:pt x="12438" y="628"/>
                    </a:cubicBezTo>
                    <a:cubicBezTo>
                      <a:pt x="7713" y="-1226"/>
                      <a:pt x="2391" y="1166"/>
                      <a:pt x="596" y="5951"/>
                    </a:cubicBezTo>
                    <a:cubicBezTo>
                      <a:pt x="-1198" y="10676"/>
                      <a:pt x="1194" y="16058"/>
                      <a:pt x="5919" y="17852"/>
                    </a:cubicBezTo>
                    <a:cubicBezTo>
                      <a:pt x="10704" y="19647"/>
                      <a:pt x="15967" y="17314"/>
                      <a:pt x="17761" y="12530"/>
                    </a:cubicBezTo>
                    <a:close/>
                  </a:path>
                </a:pathLst>
              </a:custGeom>
              <a:grpFill/>
              <a:ln w="5978" cap="flat">
                <a:noFill/>
                <a:prstDash val="solid"/>
                <a:miter/>
              </a:ln>
            </p:spPr>
            <p:txBody>
              <a:bodyPr rtlCol="0" anchor="ctr"/>
              <a:lstStyle/>
              <a:p>
                <a:endParaRPr lang="en-GB"/>
              </a:p>
            </p:txBody>
          </p:sp>
        </p:grpSp>
        <p:grpSp>
          <p:nvGrpSpPr>
            <p:cNvPr id="378" name="Graphic 3">
              <a:extLst>
                <a:ext uri="{FF2B5EF4-FFF2-40B4-BE49-F238E27FC236}">
                  <a16:creationId xmlns:a16="http://schemas.microsoft.com/office/drawing/2014/main" id="{8D693BBA-70F0-4677-8F96-002A2E6C1B04}"/>
                </a:ext>
              </a:extLst>
            </p:cNvPr>
            <p:cNvGrpSpPr/>
            <p:nvPr/>
          </p:nvGrpSpPr>
          <p:grpSpPr>
            <a:xfrm>
              <a:off x="7715034" y="4474195"/>
              <a:ext cx="22702" cy="21276"/>
              <a:chOff x="7715034" y="4474195"/>
              <a:chExt cx="22702" cy="21276"/>
            </a:xfrm>
            <a:grpFill/>
          </p:grpSpPr>
          <p:sp>
            <p:nvSpPr>
              <p:cNvPr id="4248" name="Vrije vorm: vorm 4247">
                <a:extLst>
                  <a:ext uri="{FF2B5EF4-FFF2-40B4-BE49-F238E27FC236}">
                    <a16:creationId xmlns:a16="http://schemas.microsoft.com/office/drawing/2014/main" id="{F16758D8-5E15-4856-84E7-283AAE0731C6}"/>
                  </a:ext>
                </a:extLst>
              </p:cNvPr>
              <p:cNvSpPr/>
              <p:nvPr/>
            </p:nvSpPr>
            <p:spPr>
              <a:xfrm>
                <a:off x="7719433" y="4477006"/>
                <a:ext cx="18303" cy="18465"/>
              </a:xfrm>
              <a:custGeom>
                <a:avLst/>
                <a:gdLst>
                  <a:gd name="connsiteX0" fmla="*/ 4270 w 18303"/>
                  <a:gd name="connsiteY0" fmla="*/ 17008 h 18465"/>
                  <a:gd name="connsiteX1" fmla="*/ 1399 w 18303"/>
                  <a:gd name="connsiteY1" fmla="*/ 4269 h 18465"/>
                  <a:gd name="connsiteX2" fmla="*/ 14019 w 18303"/>
                  <a:gd name="connsiteY2" fmla="*/ 1458 h 18465"/>
                  <a:gd name="connsiteX3" fmla="*/ 16889 w 18303"/>
                  <a:gd name="connsiteY3" fmla="*/ 14197 h 18465"/>
                  <a:gd name="connsiteX4" fmla="*/ 4270 w 18303"/>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4270" y="17008"/>
                    </a:moveTo>
                    <a:cubicBezTo>
                      <a:pt x="24" y="14257"/>
                      <a:pt x="-1292" y="8575"/>
                      <a:pt x="1399" y="4269"/>
                    </a:cubicBezTo>
                    <a:cubicBezTo>
                      <a:pt x="4090" y="-37"/>
                      <a:pt x="9773" y="-1293"/>
                      <a:pt x="14019" y="1458"/>
                    </a:cubicBezTo>
                    <a:cubicBezTo>
                      <a:pt x="18325" y="4209"/>
                      <a:pt x="19581" y="9891"/>
                      <a:pt x="16889" y="14197"/>
                    </a:cubicBezTo>
                    <a:cubicBezTo>
                      <a:pt x="14198" y="18503"/>
                      <a:pt x="8576" y="19759"/>
                      <a:pt x="4270" y="17008"/>
                    </a:cubicBezTo>
                    <a:close/>
                  </a:path>
                </a:pathLst>
              </a:custGeom>
              <a:grpFill/>
              <a:ln w="5978" cap="flat">
                <a:noFill/>
                <a:prstDash val="solid"/>
                <a:miter/>
              </a:ln>
            </p:spPr>
            <p:txBody>
              <a:bodyPr rtlCol="0" anchor="ctr"/>
              <a:lstStyle/>
              <a:p>
                <a:endParaRPr lang="en-GB"/>
              </a:p>
            </p:txBody>
          </p:sp>
          <p:sp>
            <p:nvSpPr>
              <p:cNvPr id="4249" name="Vrije vorm: vorm 4248">
                <a:extLst>
                  <a:ext uri="{FF2B5EF4-FFF2-40B4-BE49-F238E27FC236}">
                    <a16:creationId xmlns:a16="http://schemas.microsoft.com/office/drawing/2014/main" id="{28C3FE9B-EE62-4583-A561-AAD3FEB167A3}"/>
                  </a:ext>
                </a:extLst>
              </p:cNvPr>
              <p:cNvSpPr/>
              <p:nvPr/>
            </p:nvSpPr>
            <p:spPr>
              <a:xfrm>
                <a:off x="7715034" y="4474195"/>
                <a:ext cx="18277" cy="18465"/>
              </a:xfrm>
              <a:custGeom>
                <a:avLst/>
                <a:gdLst>
                  <a:gd name="connsiteX0" fmla="*/ 4244 w 18277"/>
                  <a:gd name="connsiteY0" fmla="*/ 17008 h 18465"/>
                  <a:gd name="connsiteX1" fmla="*/ 16863 w 18277"/>
                  <a:gd name="connsiteY1" fmla="*/ 14197 h 18465"/>
                  <a:gd name="connsiteX2" fmla="*/ 13992 w 18277"/>
                  <a:gd name="connsiteY2" fmla="*/ 1458 h 18465"/>
                  <a:gd name="connsiteX3" fmla="*/ 1373 w 18277"/>
                  <a:gd name="connsiteY3" fmla="*/ 4269 h 18465"/>
                  <a:gd name="connsiteX4" fmla="*/ 4244 w 18277"/>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65">
                    <a:moveTo>
                      <a:pt x="4244" y="17008"/>
                    </a:moveTo>
                    <a:cubicBezTo>
                      <a:pt x="8550" y="19759"/>
                      <a:pt x="14172" y="18503"/>
                      <a:pt x="16863" y="14197"/>
                    </a:cubicBezTo>
                    <a:cubicBezTo>
                      <a:pt x="19555" y="9891"/>
                      <a:pt x="18298" y="4209"/>
                      <a:pt x="13992" y="1458"/>
                    </a:cubicBezTo>
                    <a:cubicBezTo>
                      <a:pt x="9746" y="-1293"/>
                      <a:pt x="4064" y="-37"/>
                      <a:pt x="1373" y="4269"/>
                    </a:cubicBezTo>
                    <a:cubicBezTo>
                      <a:pt x="-1259" y="8575"/>
                      <a:pt x="-2" y="14257"/>
                      <a:pt x="4244" y="17008"/>
                    </a:cubicBezTo>
                    <a:close/>
                  </a:path>
                </a:pathLst>
              </a:custGeom>
              <a:grpFill/>
              <a:ln w="5978" cap="flat">
                <a:noFill/>
                <a:prstDash val="solid"/>
                <a:miter/>
              </a:ln>
            </p:spPr>
            <p:txBody>
              <a:bodyPr rtlCol="0" anchor="ctr"/>
              <a:lstStyle/>
              <a:p>
                <a:endParaRPr lang="en-GB"/>
              </a:p>
            </p:txBody>
          </p:sp>
        </p:grpSp>
        <p:grpSp>
          <p:nvGrpSpPr>
            <p:cNvPr id="379" name="Graphic 3">
              <a:extLst>
                <a:ext uri="{FF2B5EF4-FFF2-40B4-BE49-F238E27FC236}">
                  <a16:creationId xmlns:a16="http://schemas.microsoft.com/office/drawing/2014/main" id="{06CF5DF6-4782-42EA-BA46-737040F8D26C}"/>
                </a:ext>
              </a:extLst>
            </p:cNvPr>
            <p:cNvGrpSpPr/>
            <p:nvPr/>
          </p:nvGrpSpPr>
          <p:grpSpPr>
            <a:xfrm>
              <a:off x="7495589" y="4297265"/>
              <a:ext cx="439200" cy="323430"/>
              <a:chOff x="7495589" y="4297265"/>
              <a:chExt cx="439200" cy="323430"/>
            </a:xfrm>
            <a:grpFill/>
          </p:grpSpPr>
          <p:sp>
            <p:nvSpPr>
              <p:cNvPr id="4245" name="Vrije vorm: vorm 4244">
                <a:extLst>
                  <a:ext uri="{FF2B5EF4-FFF2-40B4-BE49-F238E27FC236}">
                    <a16:creationId xmlns:a16="http://schemas.microsoft.com/office/drawing/2014/main" id="{976385BD-D6E3-4671-B4BC-2F81FA06E35E}"/>
                  </a:ext>
                </a:extLst>
              </p:cNvPr>
              <p:cNvSpPr/>
              <p:nvPr/>
            </p:nvSpPr>
            <p:spPr>
              <a:xfrm>
                <a:off x="7503493" y="4304963"/>
                <a:ext cx="423374" cy="308007"/>
              </a:xfrm>
              <a:custGeom>
                <a:avLst/>
                <a:gdLst>
                  <a:gd name="connsiteX0" fmla="*/ 423375 w 423374"/>
                  <a:gd name="connsiteY0" fmla="*/ 305555 h 308007"/>
                  <a:gd name="connsiteX1" fmla="*/ 421641 w 423374"/>
                  <a:gd name="connsiteY1" fmla="*/ 308007 h 308007"/>
                  <a:gd name="connsiteX2" fmla="*/ 0 w 423374"/>
                  <a:gd name="connsiteY2" fmla="*/ 2512 h 308007"/>
                  <a:gd name="connsiteX3" fmla="*/ 1794 w 423374"/>
                  <a:gd name="connsiteY3" fmla="*/ 0 h 308007"/>
                </a:gdLst>
                <a:ahLst/>
                <a:cxnLst>
                  <a:cxn ang="0">
                    <a:pos x="connsiteX0" y="connsiteY0"/>
                  </a:cxn>
                  <a:cxn ang="0">
                    <a:pos x="connsiteX1" y="connsiteY1"/>
                  </a:cxn>
                  <a:cxn ang="0">
                    <a:pos x="connsiteX2" y="connsiteY2"/>
                  </a:cxn>
                  <a:cxn ang="0">
                    <a:pos x="connsiteX3" y="connsiteY3"/>
                  </a:cxn>
                </a:cxnLst>
                <a:rect l="l" t="t" r="r" b="b"/>
                <a:pathLst>
                  <a:path w="423374" h="308007">
                    <a:moveTo>
                      <a:pt x="423375" y="305555"/>
                    </a:moveTo>
                    <a:lnTo>
                      <a:pt x="421641" y="308007"/>
                    </a:lnTo>
                    <a:lnTo>
                      <a:pt x="0" y="2512"/>
                    </a:lnTo>
                    <a:lnTo>
                      <a:pt x="1794" y="0"/>
                    </a:lnTo>
                    <a:close/>
                  </a:path>
                </a:pathLst>
              </a:custGeom>
              <a:grpFill/>
              <a:ln w="5978" cap="flat">
                <a:noFill/>
                <a:prstDash val="solid"/>
                <a:miter/>
              </a:ln>
            </p:spPr>
            <p:txBody>
              <a:bodyPr rtlCol="0" anchor="ctr"/>
              <a:lstStyle/>
              <a:p>
                <a:endParaRPr lang="en-GB"/>
              </a:p>
            </p:txBody>
          </p:sp>
          <p:sp>
            <p:nvSpPr>
              <p:cNvPr id="4246" name="Vrije vorm: vorm 4245">
                <a:extLst>
                  <a:ext uri="{FF2B5EF4-FFF2-40B4-BE49-F238E27FC236}">
                    <a16:creationId xmlns:a16="http://schemas.microsoft.com/office/drawing/2014/main" id="{98EEF71C-EF27-4B25-A59C-B3B033E010F4}"/>
                  </a:ext>
                </a:extLst>
              </p:cNvPr>
              <p:cNvSpPr/>
              <p:nvPr/>
            </p:nvSpPr>
            <p:spPr>
              <a:xfrm>
                <a:off x="7495589" y="4297265"/>
                <a:ext cx="18379" cy="18430"/>
              </a:xfrm>
              <a:custGeom>
                <a:avLst/>
                <a:gdLst>
                  <a:gd name="connsiteX0" fmla="*/ 3837 w 18379"/>
                  <a:gd name="connsiteY0" fmla="*/ 16670 h 18430"/>
                  <a:gd name="connsiteX1" fmla="*/ 1744 w 18379"/>
                  <a:gd name="connsiteY1" fmla="*/ 3811 h 18430"/>
                  <a:gd name="connsiteX2" fmla="*/ 14543 w 18379"/>
                  <a:gd name="connsiteY2" fmla="*/ 1718 h 18430"/>
                  <a:gd name="connsiteX3" fmla="*/ 16636 w 18379"/>
                  <a:gd name="connsiteY3" fmla="*/ 14577 h 18430"/>
                  <a:gd name="connsiteX4" fmla="*/ 3837 w 18379"/>
                  <a:gd name="connsiteY4" fmla="*/ 1667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30">
                    <a:moveTo>
                      <a:pt x="3837" y="16670"/>
                    </a:moveTo>
                    <a:cubicBezTo>
                      <a:pt x="-289" y="13679"/>
                      <a:pt x="-1247" y="7938"/>
                      <a:pt x="1744" y="3811"/>
                    </a:cubicBezTo>
                    <a:cubicBezTo>
                      <a:pt x="4674" y="-315"/>
                      <a:pt x="10416" y="-1213"/>
                      <a:pt x="14543" y="1718"/>
                    </a:cubicBezTo>
                    <a:cubicBezTo>
                      <a:pt x="18669" y="4708"/>
                      <a:pt x="19626" y="10450"/>
                      <a:pt x="16636" y="14577"/>
                    </a:cubicBezTo>
                    <a:cubicBezTo>
                      <a:pt x="13705" y="18763"/>
                      <a:pt x="7964" y="19660"/>
                      <a:pt x="3837" y="16670"/>
                    </a:cubicBezTo>
                    <a:close/>
                  </a:path>
                </a:pathLst>
              </a:custGeom>
              <a:grpFill/>
              <a:ln w="5978" cap="flat">
                <a:noFill/>
                <a:prstDash val="solid"/>
                <a:miter/>
              </a:ln>
            </p:spPr>
            <p:txBody>
              <a:bodyPr rtlCol="0" anchor="ctr"/>
              <a:lstStyle/>
              <a:p>
                <a:endParaRPr lang="en-GB"/>
              </a:p>
            </p:txBody>
          </p:sp>
          <p:sp>
            <p:nvSpPr>
              <p:cNvPr id="4247" name="Vrije vorm: vorm 4246">
                <a:extLst>
                  <a:ext uri="{FF2B5EF4-FFF2-40B4-BE49-F238E27FC236}">
                    <a16:creationId xmlns:a16="http://schemas.microsoft.com/office/drawing/2014/main" id="{E0953B5B-02FD-49FD-94C5-5D94439132CF}"/>
                  </a:ext>
                </a:extLst>
              </p:cNvPr>
              <p:cNvSpPr/>
              <p:nvPr/>
            </p:nvSpPr>
            <p:spPr>
              <a:xfrm>
                <a:off x="7916479" y="4602255"/>
                <a:ext cx="18310" cy="18439"/>
              </a:xfrm>
              <a:custGeom>
                <a:avLst/>
                <a:gdLst>
                  <a:gd name="connsiteX0" fmla="*/ 3811 w 18310"/>
                  <a:gd name="connsiteY0" fmla="*/ 16696 h 18439"/>
                  <a:gd name="connsiteX1" fmla="*/ 16610 w 18310"/>
                  <a:gd name="connsiteY1" fmla="*/ 14603 h 18439"/>
                  <a:gd name="connsiteX2" fmla="*/ 14517 w 18310"/>
                  <a:gd name="connsiteY2" fmla="*/ 1744 h 18439"/>
                  <a:gd name="connsiteX3" fmla="*/ 1718 w 18310"/>
                  <a:gd name="connsiteY3" fmla="*/ 3837 h 18439"/>
                  <a:gd name="connsiteX4" fmla="*/ 3811 w 18310"/>
                  <a:gd name="connsiteY4" fmla="*/ 16696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9">
                    <a:moveTo>
                      <a:pt x="3811" y="16696"/>
                    </a:moveTo>
                    <a:cubicBezTo>
                      <a:pt x="7938" y="19686"/>
                      <a:pt x="13679" y="18729"/>
                      <a:pt x="16610" y="14603"/>
                    </a:cubicBezTo>
                    <a:cubicBezTo>
                      <a:pt x="19540" y="10476"/>
                      <a:pt x="18583" y="4734"/>
                      <a:pt x="14517" y="1744"/>
                    </a:cubicBezTo>
                    <a:cubicBezTo>
                      <a:pt x="10390" y="-1247"/>
                      <a:pt x="4708" y="-289"/>
                      <a:pt x="1718" y="3837"/>
                    </a:cubicBezTo>
                    <a:cubicBezTo>
                      <a:pt x="-1213" y="7964"/>
                      <a:pt x="-315" y="13705"/>
                      <a:pt x="3811" y="16696"/>
                    </a:cubicBezTo>
                    <a:close/>
                  </a:path>
                </a:pathLst>
              </a:custGeom>
              <a:grpFill/>
              <a:ln w="5978" cap="flat">
                <a:noFill/>
                <a:prstDash val="solid"/>
                <a:miter/>
              </a:ln>
            </p:spPr>
            <p:txBody>
              <a:bodyPr rtlCol="0" anchor="ctr"/>
              <a:lstStyle/>
              <a:p>
                <a:endParaRPr lang="en-GB"/>
              </a:p>
            </p:txBody>
          </p:sp>
        </p:grpSp>
        <p:grpSp>
          <p:nvGrpSpPr>
            <p:cNvPr id="380" name="Graphic 3">
              <a:extLst>
                <a:ext uri="{FF2B5EF4-FFF2-40B4-BE49-F238E27FC236}">
                  <a16:creationId xmlns:a16="http://schemas.microsoft.com/office/drawing/2014/main" id="{2423694C-872E-4FCA-AD32-68AF5713E9C6}"/>
                </a:ext>
              </a:extLst>
            </p:cNvPr>
            <p:cNvGrpSpPr/>
            <p:nvPr/>
          </p:nvGrpSpPr>
          <p:grpSpPr>
            <a:xfrm>
              <a:off x="7563452" y="4188932"/>
              <a:ext cx="161535" cy="92233"/>
              <a:chOff x="7563452" y="4188932"/>
              <a:chExt cx="161535" cy="92233"/>
            </a:xfrm>
            <a:grpFill/>
          </p:grpSpPr>
          <p:sp>
            <p:nvSpPr>
              <p:cNvPr id="4242" name="Vrije vorm: vorm 4241">
                <a:extLst>
                  <a:ext uri="{FF2B5EF4-FFF2-40B4-BE49-F238E27FC236}">
                    <a16:creationId xmlns:a16="http://schemas.microsoft.com/office/drawing/2014/main" id="{3D7BABA0-287D-4B8E-A0A7-AA41EDA84892}"/>
                  </a:ext>
                </a:extLst>
              </p:cNvPr>
              <p:cNvSpPr/>
              <p:nvPr/>
            </p:nvSpPr>
            <p:spPr>
              <a:xfrm>
                <a:off x="7571494" y="4196593"/>
                <a:ext cx="145450" cy="76912"/>
              </a:xfrm>
              <a:custGeom>
                <a:avLst/>
                <a:gdLst>
                  <a:gd name="connsiteX0" fmla="*/ 145451 w 145450"/>
                  <a:gd name="connsiteY0" fmla="*/ 74161 h 76912"/>
                  <a:gd name="connsiteX1" fmla="*/ 144075 w 145450"/>
                  <a:gd name="connsiteY1" fmla="*/ 76912 h 76912"/>
                  <a:gd name="connsiteX2" fmla="*/ 0 w 145450"/>
                  <a:gd name="connsiteY2" fmla="*/ 2751 h 76912"/>
                  <a:gd name="connsiteX3" fmla="*/ 1375 w 145450"/>
                  <a:gd name="connsiteY3" fmla="*/ 0 h 76912"/>
                </a:gdLst>
                <a:ahLst/>
                <a:cxnLst>
                  <a:cxn ang="0">
                    <a:pos x="connsiteX0" y="connsiteY0"/>
                  </a:cxn>
                  <a:cxn ang="0">
                    <a:pos x="connsiteX1" y="connsiteY1"/>
                  </a:cxn>
                  <a:cxn ang="0">
                    <a:pos x="connsiteX2" y="connsiteY2"/>
                  </a:cxn>
                  <a:cxn ang="0">
                    <a:pos x="connsiteX3" y="connsiteY3"/>
                  </a:cxn>
                </a:cxnLst>
                <a:rect l="l" t="t" r="r" b="b"/>
                <a:pathLst>
                  <a:path w="145450" h="76912">
                    <a:moveTo>
                      <a:pt x="145451" y="74161"/>
                    </a:moveTo>
                    <a:lnTo>
                      <a:pt x="144075" y="76912"/>
                    </a:lnTo>
                    <a:lnTo>
                      <a:pt x="0" y="2751"/>
                    </a:lnTo>
                    <a:lnTo>
                      <a:pt x="1375" y="0"/>
                    </a:lnTo>
                    <a:close/>
                  </a:path>
                </a:pathLst>
              </a:custGeom>
              <a:grpFill/>
              <a:ln w="5978" cap="flat">
                <a:noFill/>
                <a:prstDash val="solid"/>
                <a:miter/>
              </a:ln>
            </p:spPr>
            <p:txBody>
              <a:bodyPr rtlCol="0" anchor="ctr"/>
              <a:lstStyle/>
              <a:p>
                <a:endParaRPr lang="en-GB"/>
              </a:p>
            </p:txBody>
          </p:sp>
          <p:sp>
            <p:nvSpPr>
              <p:cNvPr id="4243" name="Vrije vorm: vorm 4242">
                <a:extLst>
                  <a:ext uri="{FF2B5EF4-FFF2-40B4-BE49-F238E27FC236}">
                    <a16:creationId xmlns:a16="http://schemas.microsoft.com/office/drawing/2014/main" id="{33D0153C-97AE-46AF-90A3-4AF04B22984E}"/>
                  </a:ext>
                </a:extLst>
              </p:cNvPr>
              <p:cNvSpPr/>
              <p:nvPr/>
            </p:nvSpPr>
            <p:spPr>
              <a:xfrm>
                <a:off x="7706664" y="4262734"/>
                <a:ext cx="18323" cy="18431"/>
              </a:xfrm>
              <a:custGeom>
                <a:avLst/>
                <a:gdLst>
                  <a:gd name="connsiteX0" fmla="*/ 13331 w 18323"/>
                  <a:gd name="connsiteY0" fmla="*/ 1022 h 18431"/>
                  <a:gd name="connsiteX1" fmla="*/ 17339 w 18323"/>
                  <a:gd name="connsiteY1" fmla="*/ 13402 h 18431"/>
                  <a:gd name="connsiteX2" fmla="*/ 5018 w 18323"/>
                  <a:gd name="connsiteY2" fmla="*/ 17409 h 18431"/>
                  <a:gd name="connsiteX3" fmla="*/ 1011 w 18323"/>
                  <a:gd name="connsiteY3" fmla="*/ 5029 h 18431"/>
                  <a:gd name="connsiteX4" fmla="*/ 13331 w 18323"/>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1">
                    <a:moveTo>
                      <a:pt x="13331" y="1022"/>
                    </a:moveTo>
                    <a:cubicBezTo>
                      <a:pt x="17817" y="3355"/>
                      <a:pt x="19611" y="8917"/>
                      <a:pt x="17339" y="13402"/>
                    </a:cubicBezTo>
                    <a:cubicBezTo>
                      <a:pt x="15066" y="17947"/>
                      <a:pt x="9503" y="19742"/>
                      <a:pt x="5018" y="17409"/>
                    </a:cubicBezTo>
                    <a:cubicBezTo>
                      <a:pt x="532" y="15077"/>
                      <a:pt x="-1321" y="9515"/>
                      <a:pt x="1011" y="5029"/>
                    </a:cubicBezTo>
                    <a:cubicBezTo>
                      <a:pt x="3343" y="484"/>
                      <a:pt x="8846" y="-1310"/>
                      <a:pt x="13331" y="1022"/>
                    </a:cubicBezTo>
                    <a:close/>
                  </a:path>
                </a:pathLst>
              </a:custGeom>
              <a:grpFill/>
              <a:ln w="5978" cap="flat">
                <a:noFill/>
                <a:prstDash val="solid"/>
                <a:miter/>
              </a:ln>
            </p:spPr>
            <p:txBody>
              <a:bodyPr rtlCol="0" anchor="ctr"/>
              <a:lstStyle/>
              <a:p>
                <a:endParaRPr lang="en-GB"/>
              </a:p>
            </p:txBody>
          </p:sp>
          <p:sp>
            <p:nvSpPr>
              <p:cNvPr id="4244" name="Vrije vorm: vorm 4243">
                <a:extLst>
                  <a:ext uri="{FF2B5EF4-FFF2-40B4-BE49-F238E27FC236}">
                    <a16:creationId xmlns:a16="http://schemas.microsoft.com/office/drawing/2014/main" id="{466BBBB9-8E77-4271-97C6-1E29AC838D22}"/>
                  </a:ext>
                </a:extLst>
              </p:cNvPr>
              <p:cNvSpPr/>
              <p:nvPr/>
            </p:nvSpPr>
            <p:spPr>
              <a:xfrm>
                <a:off x="7563452" y="4188932"/>
                <a:ext cx="18297" cy="18431"/>
              </a:xfrm>
              <a:custGeom>
                <a:avLst/>
                <a:gdLst>
                  <a:gd name="connsiteX0" fmla="*/ 13305 w 18297"/>
                  <a:gd name="connsiteY0" fmla="*/ 1022 h 18431"/>
                  <a:gd name="connsiteX1" fmla="*/ 985 w 18297"/>
                  <a:gd name="connsiteY1" fmla="*/ 5029 h 18431"/>
                  <a:gd name="connsiteX2" fmla="*/ 4992 w 18297"/>
                  <a:gd name="connsiteY2" fmla="*/ 17409 h 18431"/>
                  <a:gd name="connsiteX3" fmla="*/ 17312 w 18297"/>
                  <a:gd name="connsiteY3" fmla="*/ 13402 h 18431"/>
                  <a:gd name="connsiteX4" fmla="*/ 13305 w 18297"/>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1">
                    <a:moveTo>
                      <a:pt x="13305" y="1022"/>
                    </a:moveTo>
                    <a:cubicBezTo>
                      <a:pt x="8820" y="-1310"/>
                      <a:pt x="3258" y="484"/>
                      <a:pt x="985" y="5029"/>
                    </a:cubicBezTo>
                    <a:cubicBezTo>
                      <a:pt x="-1288" y="9575"/>
                      <a:pt x="507" y="15137"/>
                      <a:pt x="4992" y="17409"/>
                    </a:cubicBezTo>
                    <a:cubicBezTo>
                      <a:pt x="9478" y="19742"/>
                      <a:pt x="15039" y="17948"/>
                      <a:pt x="17312" y="13402"/>
                    </a:cubicBezTo>
                    <a:cubicBezTo>
                      <a:pt x="19585" y="8917"/>
                      <a:pt x="17791" y="3355"/>
                      <a:pt x="13305" y="1022"/>
                    </a:cubicBezTo>
                    <a:close/>
                  </a:path>
                </a:pathLst>
              </a:custGeom>
              <a:grpFill/>
              <a:ln w="5978" cap="flat">
                <a:noFill/>
                <a:prstDash val="solid"/>
                <a:miter/>
              </a:ln>
            </p:spPr>
            <p:txBody>
              <a:bodyPr rtlCol="0" anchor="ctr"/>
              <a:lstStyle/>
              <a:p>
                <a:endParaRPr lang="en-GB"/>
              </a:p>
            </p:txBody>
          </p:sp>
        </p:grpSp>
        <p:grpSp>
          <p:nvGrpSpPr>
            <p:cNvPr id="381" name="Graphic 3">
              <a:extLst>
                <a:ext uri="{FF2B5EF4-FFF2-40B4-BE49-F238E27FC236}">
                  <a16:creationId xmlns:a16="http://schemas.microsoft.com/office/drawing/2014/main" id="{CC6B87B0-57DD-45F1-BDEF-AD8D9D1926C7}"/>
                </a:ext>
              </a:extLst>
            </p:cNvPr>
            <p:cNvGrpSpPr/>
            <p:nvPr/>
          </p:nvGrpSpPr>
          <p:grpSpPr>
            <a:xfrm>
              <a:off x="6648186" y="1297972"/>
              <a:ext cx="125662" cy="337588"/>
              <a:chOff x="6648186" y="1297972"/>
              <a:chExt cx="125662" cy="337588"/>
            </a:xfrm>
            <a:grpFill/>
          </p:grpSpPr>
          <p:sp>
            <p:nvSpPr>
              <p:cNvPr id="4239" name="Vrije vorm: vorm 4238">
                <a:extLst>
                  <a:ext uri="{FF2B5EF4-FFF2-40B4-BE49-F238E27FC236}">
                    <a16:creationId xmlns:a16="http://schemas.microsoft.com/office/drawing/2014/main" id="{0A251E65-316D-42EA-8B56-0C4DD22FFD14}"/>
                  </a:ext>
                </a:extLst>
              </p:cNvPr>
              <p:cNvSpPr/>
              <p:nvPr/>
            </p:nvSpPr>
            <p:spPr>
              <a:xfrm>
                <a:off x="6655785" y="1306230"/>
                <a:ext cx="110464" cy="320985"/>
              </a:xfrm>
              <a:custGeom>
                <a:avLst/>
                <a:gdLst>
                  <a:gd name="connsiteX0" fmla="*/ 110464 w 110464"/>
                  <a:gd name="connsiteY0" fmla="*/ 1017 h 320985"/>
                  <a:gd name="connsiteX1" fmla="*/ 2871 w 110464"/>
                  <a:gd name="connsiteY1" fmla="*/ 320985 h 320985"/>
                  <a:gd name="connsiteX2" fmla="*/ 0 w 110464"/>
                  <a:gd name="connsiteY2" fmla="*/ 320028 h 320985"/>
                  <a:gd name="connsiteX3" fmla="*/ 107593 w 110464"/>
                  <a:gd name="connsiteY3" fmla="*/ 0 h 320985"/>
                </a:gdLst>
                <a:ahLst/>
                <a:cxnLst>
                  <a:cxn ang="0">
                    <a:pos x="connsiteX0" y="connsiteY0"/>
                  </a:cxn>
                  <a:cxn ang="0">
                    <a:pos x="connsiteX1" y="connsiteY1"/>
                  </a:cxn>
                  <a:cxn ang="0">
                    <a:pos x="connsiteX2" y="connsiteY2"/>
                  </a:cxn>
                  <a:cxn ang="0">
                    <a:pos x="connsiteX3" y="connsiteY3"/>
                  </a:cxn>
                </a:cxnLst>
                <a:rect l="l" t="t" r="r" b="b"/>
                <a:pathLst>
                  <a:path w="110464" h="320985">
                    <a:moveTo>
                      <a:pt x="110464" y="1017"/>
                    </a:moveTo>
                    <a:lnTo>
                      <a:pt x="2871" y="320985"/>
                    </a:lnTo>
                    <a:lnTo>
                      <a:pt x="0" y="320028"/>
                    </a:lnTo>
                    <a:lnTo>
                      <a:pt x="107593" y="0"/>
                    </a:lnTo>
                    <a:close/>
                  </a:path>
                </a:pathLst>
              </a:custGeom>
              <a:grpFill/>
              <a:ln w="5978" cap="flat">
                <a:noFill/>
                <a:prstDash val="solid"/>
                <a:miter/>
              </a:ln>
            </p:spPr>
            <p:txBody>
              <a:bodyPr rtlCol="0" anchor="ctr"/>
              <a:lstStyle/>
              <a:p>
                <a:endParaRPr lang="en-GB"/>
              </a:p>
            </p:txBody>
          </p:sp>
          <p:sp>
            <p:nvSpPr>
              <p:cNvPr id="4240" name="Vrije vorm: vorm 4239">
                <a:extLst>
                  <a:ext uri="{FF2B5EF4-FFF2-40B4-BE49-F238E27FC236}">
                    <a16:creationId xmlns:a16="http://schemas.microsoft.com/office/drawing/2014/main" id="{91DC661D-CA1B-4ACE-A30B-C5E92C252245}"/>
                  </a:ext>
                </a:extLst>
              </p:cNvPr>
              <p:cNvSpPr/>
              <p:nvPr/>
            </p:nvSpPr>
            <p:spPr>
              <a:xfrm>
                <a:off x="6755540" y="1297972"/>
                <a:ext cx="18308" cy="18428"/>
              </a:xfrm>
              <a:custGeom>
                <a:avLst/>
                <a:gdLst>
                  <a:gd name="connsiteX0" fmla="*/ 482 w 18308"/>
                  <a:gd name="connsiteY0" fmla="*/ 6224 h 18428"/>
                  <a:gd name="connsiteX1" fmla="*/ 12085 w 18308"/>
                  <a:gd name="connsiteY1" fmla="*/ 482 h 18428"/>
                  <a:gd name="connsiteX2" fmla="*/ 17827 w 18308"/>
                  <a:gd name="connsiteY2" fmla="*/ 12205 h 18428"/>
                  <a:gd name="connsiteX3" fmla="*/ 6224 w 18308"/>
                  <a:gd name="connsiteY3" fmla="*/ 17946 h 18428"/>
                  <a:gd name="connsiteX4" fmla="*/ 482 w 18308"/>
                  <a:gd name="connsiteY4" fmla="*/ 622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8">
                    <a:moveTo>
                      <a:pt x="482" y="6224"/>
                    </a:moveTo>
                    <a:cubicBezTo>
                      <a:pt x="2097" y="1439"/>
                      <a:pt x="7300" y="-1132"/>
                      <a:pt x="12085" y="482"/>
                    </a:cubicBezTo>
                    <a:cubicBezTo>
                      <a:pt x="16870" y="2157"/>
                      <a:pt x="19441" y="7360"/>
                      <a:pt x="17827" y="12205"/>
                    </a:cubicBezTo>
                    <a:cubicBezTo>
                      <a:pt x="16212" y="16989"/>
                      <a:pt x="11009" y="19561"/>
                      <a:pt x="6224" y="17946"/>
                    </a:cubicBezTo>
                    <a:cubicBezTo>
                      <a:pt x="1440" y="16271"/>
                      <a:pt x="-1133" y="11008"/>
                      <a:pt x="482" y="6224"/>
                    </a:cubicBezTo>
                    <a:close/>
                  </a:path>
                </a:pathLst>
              </a:custGeom>
              <a:grpFill/>
              <a:ln w="5978" cap="flat">
                <a:noFill/>
                <a:prstDash val="solid"/>
                <a:miter/>
              </a:ln>
            </p:spPr>
            <p:txBody>
              <a:bodyPr rtlCol="0" anchor="ctr"/>
              <a:lstStyle/>
              <a:p>
                <a:endParaRPr lang="en-GB"/>
              </a:p>
            </p:txBody>
          </p:sp>
          <p:sp>
            <p:nvSpPr>
              <p:cNvPr id="4241" name="Vrije vorm: vorm 4240">
                <a:extLst>
                  <a:ext uri="{FF2B5EF4-FFF2-40B4-BE49-F238E27FC236}">
                    <a16:creationId xmlns:a16="http://schemas.microsoft.com/office/drawing/2014/main" id="{0CD5DD0B-D9AD-4588-8B94-7D7061BDA50C}"/>
                  </a:ext>
                </a:extLst>
              </p:cNvPr>
              <p:cNvSpPr/>
              <p:nvPr/>
            </p:nvSpPr>
            <p:spPr>
              <a:xfrm>
                <a:off x="6648186" y="1617074"/>
                <a:ext cx="18308" cy="18486"/>
              </a:xfrm>
              <a:custGeom>
                <a:avLst/>
                <a:gdLst>
                  <a:gd name="connsiteX0" fmla="*/ 482 w 18308"/>
                  <a:gd name="connsiteY0" fmla="*/ 6253 h 18486"/>
                  <a:gd name="connsiteX1" fmla="*/ 6224 w 18308"/>
                  <a:gd name="connsiteY1" fmla="*/ 17975 h 18486"/>
                  <a:gd name="connsiteX2" fmla="*/ 17826 w 18308"/>
                  <a:gd name="connsiteY2" fmla="*/ 12234 h 18486"/>
                  <a:gd name="connsiteX3" fmla="*/ 12085 w 18308"/>
                  <a:gd name="connsiteY3" fmla="*/ 512 h 18486"/>
                  <a:gd name="connsiteX4" fmla="*/ 482 w 18308"/>
                  <a:gd name="connsiteY4" fmla="*/ 6253 h 18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86">
                    <a:moveTo>
                      <a:pt x="482" y="6253"/>
                    </a:moveTo>
                    <a:cubicBezTo>
                      <a:pt x="-1132" y="11038"/>
                      <a:pt x="1439" y="16301"/>
                      <a:pt x="6224" y="17975"/>
                    </a:cubicBezTo>
                    <a:cubicBezTo>
                      <a:pt x="11008" y="19650"/>
                      <a:pt x="16212" y="17078"/>
                      <a:pt x="17826" y="12234"/>
                    </a:cubicBezTo>
                    <a:cubicBezTo>
                      <a:pt x="19441" y="7449"/>
                      <a:pt x="16869" y="2186"/>
                      <a:pt x="12085" y="512"/>
                    </a:cubicBezTo>
                    <a:cubicBezTo>
                      <a:pt x="7300" y="-1163"/>
                      <a:pt x="2097" y="1409"/>
                      <a:pt x="482" y="6253"/>
                    </a:cubicBezTo>
                    <a:close/>
                  </a:path>
                </a:pathLst>
              </a:custGeom>
              <a:grpFill/>
              <a:ln w="5978" cap="flat">
                <a:noFill/>
                <a:prstDash val="solid"/>
                <a:miter/>
              </a:ln>
            </p:spPr>
            <p:txBody>
              <a:bodyPr rtlCol="0" anchor="ctr"/>
              <a:lstStyle/>
              <a:p>
                <a:endParaRPr lang="en-GB"/>
              </a:p>
            </p:txBody>
          </p:sp>
        </p:grpSp>
        <p:grpSp>
          <p:nvGrpSpPr>
            <p:cNvPr id="382" name="Graphic 3">
              <a:extLst>
                <a:ext uri="{FF2B5EF4-FFF2-40B4-BE49-F238E27FC236}">
                  <a16:creationId xmlns:a16="http://schemas.microsoft.com/office/drawing/2014/main" id="{233FB839-2DAC-4227-9CC6-AD0A5828AAAA}"/>
                </a:ext>
              </a:extLst>
            </p:cNvPr>
            <p:cNvGrpSpPr/>
            <p:nvPr/>
          </p:nvGrpSpPr>
          <p:grpSpPr>
            <a:xfrm>
              <a:off x="6732557" y="1573069"/>
              <a:ext cx="65163" cy="135624"/>
              <a:chOff x="6732557" y="1573069"/>
              <a:chExt cx="65163" cy="135624"/>
            </a:xfrm>
            <a:grpFill/>
          </p:grpSpPr>
          <p:sp>
            <p:nvSpPr>
              <p:cNvPr id="4236" name="Vrije vorm: vorm 4235">
                <a:extLst>
                  <a:ext uri="{FF2B5EF4-FFF2-40B4-BE49-F238E27FC236}">
                    <a16:creationId xmlns:a16="http://schemas.microsoft.com/office/drawing/2014/main" id="{C82CAC97-F7CC-4A72-8A07-271C35BEEBE9}"/>
                  </a:ext>
                </a:extLst>
              </p:cNvPr>
              <p:cNvSpPr/>
              <p:nvPr/>
            </p:nvSpPr>
            <p:spPr>
              <a:xfrm>
                <a:off x="6740114" y="1581343"/>
                <a:ext cx="49998" cy="119135"/>
              </a:xfrm>
              <a:custGeom>
                <a:avLst/>
                <a:gdLst>
                  <a:gd name="connsiteX0" fmla="*/ 49999 w 49998"/>
                  <a:gd name="connsiteY0" fmla="*/ 1136 h 119135"/>
                  <a:gd name="connsiteX1" fmla="*/ 2811 w 49998"/>
                  <a:gd name="connsiteY1" fmla="*/ 119136 h 119135"/>
                  <a:gd name="connsiteX2" fmla="*/ 0 w 49998"/>
                  <a:gd name="connsiteY2" fmla="*/ 117940 h 119135"/>
                  <a:gd name="connsiteX3" fmla="*/ 47188 w 49998"/>
                  <a:gd name="connsiteY3" fmla="*/ 0 h 119135"/>
                </a:gdLst>
                <a:ahLst/>
                <a:cxnLst>
                  <a:cxn ang="0">
                    <a:pos x="connsiteX0" y="connsiteY0"/>
                  </a:cxn>
                  <a:cxn ang="0">
                    <a:pos x="connsiteX1" y="connsiteY1"/>
                  </a:cxn>
                  <a:cxn ang="0">
                    <a:pos x="connsiteX2" y="connsiteY2"/>
                  </a:cxn>
                  <a:cxn ang="0">
                    <a:pos x="connsiteX3" y="connsiteY3"/>
                  </a:cxn>
                </a:cxnLst>
                <a:rect l="l" t="t" r="r" b="b"/>
                <a:pathLst>
                  <a:path w="49998" h="119135">
                    <a:moveTo>
                      <a:pt x="49999" y="1136"/>
                    </a:moveTo>
                    <a:lnTo>
                      <a:pt x="2811" y="119136"/>
                    </a:lnTo>
                    <a:lnTo>
                      <a:pt x="0" y="117940"/>
                    </a:lnTo>
                    <a:lnTo>
                      <a:pt x="47188" y="0"/>
                    </a:lnTo>
                    <a:close/>
                  </a:path>
                </a:pathLst>
              </a:custGeom>
              <a:grpFill/>
              <a:ln w="5978" cap="flat">
                <a:noFill/>
                <a:prstDash val="solid"/>
                <a:miter/>
              </a:ln>
            </p:spPr>
            <p:txBody>
              <a:bodyPr rtlCol="0" anchor="ctr"/>
              <a:lstStyle/>
              <a:p>
                <a:endParaRPr lang="en-GB"/>
              </a:p>
            </p:txBody>
          </p:sp>
          <p:sp>
            <p:nvSpPr>
              <p:cNvPr id="4237" name="Vrije vorm: vorm 4236">
                <a:extLst>
                  <a:ext uri="{FF2B5EF4-FFF2-40B4-BE49-F238E27FC236}">
                    <a16:creationId xmlns:a16="http://schemas.microsoft.com/office/drawing/2014/main" id="{78D2FF50-F8D9-41AF-8268-CDC9D35FB64D}"/>
                  </a:ext>
                </a:extLst>
              </p:cNvPr>
              <p:cNvSpPr/>
              <p:nvPr/>
            </p:nvSpPr>
            <p:spPr>
              <a:xfrm>
                <a:off x="6732557" y="1690231"/>
                <a:ext cx="18309" cy="18461"/>
              </a:xfrm>
              <a:custGeom>
                <a:avLst/>
                <a:gdLst>
                  <a:gd name="connsiteX0" fmla="*/ 17664 w 18309"/>
                  <a:gd name="connsiteY0" fmla="*/ 12700 h 18461"/>
                  <a:gd name="connsiteX1" fmla="*/ 5762 w 18309"/>
                  <a:gd name="connsiteY1" fmla="*/ 17783 h 18461"/>
                  <a:gd name="connsiteX2" fmla="*/ 679 w 18309"/>
                  <a:gd name="connsiteY2" fmla="*/ 5762 h 18461"/>
                  <a:gd name="connsiteX3" fmla="*/ 12580 w 18309"/>
                  <a:gd name="connsiteY3" fmla="*/ 679 h 18461"/>
                  <a:gd name="connsiteX4" fmla="*/ 17664 w 18309"/>
                  <a:gd name="connsiteY4" fmla="*/ 1270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17664" y="12700"/>
                    </a:moveTo>
                    <a:cubicBezTo>
                      <a:pt x="15750" y="17425"/>
                      <a:pt x="10427" y="19697"/>
                      <a:pt x="5762" y="17783"/>
                    </a:cubicBezTo>
                    <a:cubicBezTo>
                      <a:pt x="1037" y="15870"/>
                      <a:pt x="-1235" y="10487"/>
                      <a:pt x="679" y="5762"/>
                    </a:cubicBezTo>
                    <a:cubicBezTo>
                      <a:pt x="2592" y="1037"/>
                      <a:pt x="7915" y="-1235"/>
                      <a:pt x="12580" y="679"/>
                    </a:cubicBezTo>
                    <a:cubicBezTo>
                      <a:pt x="17245" y="2592"/>
                      <a:pt x="19518" y="7975"/>
                      <a:pt x="17664" y="12700"/>
                    </a:cubicBezTo>
                    <a:close/>
                  </a:path>
                </a:pathLst>
              </a:custGeom>
              <a:grpFill/>
              <a:ln w="5978" cap="flat">
                <a:noFill/>
                <a:prstDash val="solid"/>
                <a:miter/>
              </a:ln>
            </p:spPr>
            <p:txBody>
              <a:bodyPr rtlCol="0" anchor="ctr"/>
              <a:lstStyle/>
              <a:p>
                <a:endParaRPr lang="en-GB"/>
              </a:p>
            </p:txBody>
          </p:sp>
          <p:sp>
            <p:nvSpPr>
              <p:cNvPr id="4238" name="Vrije vorm: vorm 4237">
                <a:extLst>
                  <a:ext uri="{FF2B5EF4-FFF2-40B4-BE49-F238E27FC236}">
                    <a16:creationId xmlns:a16="http://schemas.microsoft.com/office/drawing/2014/main" id="{553ED0CC-A4B0-48DD-8AE3-02AEC31F0A2C}"/>
                  </a:ext>
                </a:extLst>
              </p:cNvPr>
              <p:cNvSpPr/>
              <p:nvPr/>
            </p:nvSpPr>
            <p:spPr>
              <a:xfrm>
                <a:off x="6779394" y="1573069"/>
                <a:ext cx="18326" cy="18461"/>
              </a:xfrm>
              <a:custGeom>
                <a:avLst/>
                <a:gdLst>
                  <a:gd name="connsiteX0" fmla="*/ 17656 w 18326"/>
                  <a:gd name="connsiteY0" fmla="*/ 12700 h 18461"/>
                  <a:gd name="connsiteX1" fmla="*/ 12572 w 18326"/>
                  <a:gd name="connsiteY1" fmla="*/ 679 h 18461"/>
                  <a:gd name="connsiteX2" fmla="*/ 671 w 18326"/>
                  <a:gd name="connsiteY2" fmla="*/ 5762 h 18461"/>
                  <a:gd name="connsiteX3" fmla="*/ 5754 w 18326"/>
                  <a:gd name="connsiteY3" fmla="*/ 17783 h 18461"/>
                  <a:gd name="connsiteX4" fmla="*/ 17656 w 18326"/>
                  <a:gd name="connsiteY4" fmla="*/ 1270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17656" y="12700"/>
                    </a:moveTo>
                    <a:cubicBezTo>
                      <a:pt x="19570" y="7975"/>
                      <a:pt x="17237" y="2592"/>
                      <a:pt x="12572" y="679"/>
                    </a:cubicBezTo>
                    <a:cubicBezTo>
                      <a:pt x="7848" y="-1235"/>
                      <a:pt x="2525" y="1037"/>
                      <a:pt x="671" y="5762"/>
                    </a:cubicBezTo>
                    <a:cubicBezTo>
                      <a:pt x="-1243" y="10487"/>
                      <a:pt x="1089" y="15870"/>
                      <a:pt x="5754" y="17783"/>
                    </a:cubicBezTo>
                    <a:cubicBezTo>
                      <a:pt x="10419" y="19697"/>
                      <a:pt x="15742" y="17424"/>
                      <a:pt x="17656" y="12700"/>
                    </a:cubicBezTo>
                    <a:close/>
                  </a:path>
                </a:pathLst>
              </a:custGeom>
              <a:grpFill/>
              <a:ln w="5978" cap="flat">
                <a:noFill/>
                <a:prstDash val="solid"/>
                <a:miter/>
              </a:ln>
            </p:spPr>
            <p:txBody>
              <a:bodyPr rtlCol="0" anchor="ctr"/>
              <a:lstStyle/>
              <a:p>
                <a:endParaRPr lang="en-GB"/>
              </a:p>
            </p:txBody>
          </p:sp>
        </p:grpSp>
        <p:grpSp>
          <p:nvGrpSpPr>
            <p:cNvPr id="383" name="Graphic 3">
              <a:extLst>
                <a:ext uri="{FF2B5EF4-FFF2-40B4-BE49-F238E27FC236}">
                  <a16:creationId xmlns:a16="http://schemas.microsoft.com/office/drawing/2014/main" id="{858A1CE3-FF03-4A0D-A476-B62384361C28}"/>
                </a:ext>
              </a:extLst>
            </p:cNvPr>
            <p:cNvGrpSpPr/>
            <p:nvPr/>
          </p:nvGrpSpPr>
          <p:grpSpPr>
            <a:xfrm>
              <a:off x="6760355" y="1695743"/>
              <a:ext cx="101979" cy="197828"/>
              <a:chOff x="6760355" y="1695743"/>
              <a:chExt cx="101979" cy="197828"/>
            </a:xfrm>
            <a:grpFill/>
          </p:grpSpPr>
          <p:sp>
            <p:nvSpPr>
              <p:cNvPr id="4233" name="Vrije vorm: vorm 4232">
                <a:extLst>
                  <a:ext uri="{FF2B5EF4-FFF2-40B4-BE49-F238E27FC236}">
                    <a16:creationId xmlns:a16="http://schemas.microsoft.com/office/drawing/2014/main" id="{00422A54-010F-44E0-9904-C8C8482AE4C1}"/>
                  </a:ext>
                </a:extLst>
              </p:cNvPr>
              <p:cNvSpPr/>
              <p:nvPr/>
            </p:nvSpPr>
            <p:spPr>
              <a:xfrm>
                <a:off x="6767984" y="1703888"/>
                <a:ext cx="86720" cy="181514"/>
              </a:xfrm>
              <a:custGeom>
                <a:avLst/>
                <a:gdLst>
                  <a:gd name="connsiteX0" fmla="*/ 86721 w 86720"/>
                  <a:gd name="connsiteY0" fmla="*/ 1316 h 181514"/>
                  <a:gd name="connsiteX1" fmla="*/ 2751 w 86720"/>
                  <a:gd name="connsiteY1" fmla="*/ 181515 h 181514"/>
                  <a:gd name="connsiteX2" fmla="*/ 0 w 86720"/>
                  <a:gd name="connsiteY2" fmla="*/ 180199 h 181514"/>
                  <a:gd name="connsiteX3" fmla="*/ 83969 w 86720"/>
                  <a:gd name="connsiteY3" fmla="*/ 0 h 181514"/>
                </a:gdLst>
                <a:ahLst/>
                <a:cxnLst>
                  <a:cxn ang="0">
                    <a:pos x="connsiteX0" y="connsiteY0"/>
                  </a:cxn>
                  <a:cxn ang="0">
                    <a:pos x="connsiteX1" y="connsiteY1"/>
                  </a:cxn>
                  <a:cxn ang="0">
                    <a:pos x="connsiteX2" y="connsiteY2"/>
                  </a:cxn>
                  <a:cxn ang="0">
                    <a:pos x="connsiteX3" y="connsiteY3"/>
                  </a:cxn>
                </a:cxnLst>
                <a:rect l="l" t="t" r="r" b="b"/>
                <a:pathLst>
                  <a:path w="86720" h="181514">
                    <a:moveTo>
                      <a:pt x="86721" y="1316"/>
                    </a:moveTo>
                    <a:lnTo>
                      <a:pt x="2751" y="181515"/>
                    </a:lnTo>
                    <a:lnTo>
                      <a:pt x="0" y="180199"/>
                    </a:lnTo>
                    <a:lnTo>
                      <a:pt x="83969" y="0"/>
                    </a:lnTo>
                    <a:close/>
                  </a:path>
                </a:pathLst>
              </a:custGeom>
              <a:grpFill/>
              <a:ln w="5978" cap="flat">
                <a:noFill/>
                <a:prstDash val="solid"/>
                <a:miter/>
              </a:ln>
            </p:spPr>
            <p:txBody>
              <a:bodyPr rtlCol="0" anchor="ctr"/>
              <a:lstStyle/>
              <a:p>
                <a:endParaRPr lang="en-GB"/>
              </a:p>
            </p:txBody>
          </p:sp>
          <p:sp>
            <p:nvSpPr>
              <p:cNvPr id="4234" name="Vrije vorm: vorm 4233">
                <a:extLst>
                  <a:ext uri="{FF2B5EF4-FFF2-40B4-BE49-F238E27FC236}">
                    <a16:creationId xmlns:a16="http://schemas.microsoft.com/office/drawing/2014/main" id="{8B8D5519-19F9-40AD-A64C-3F2003FF662C}"/>
                  </a:ext>
                </a:extLst>
              </p:cNvPr>
              <p:cNvSpPr/>
              <p:nvPr/>
            </p:nvSpPr>
            <p:spPr>
              <a:xfrm>
                <a:off x="6843975" y="1695743"/>
                <a:ext cx="18358" cy="18443"/>
              </a:xfrm>
              <a:custGeom>
                <a:avLst/>
                <a:gdLst>
                  <a:gd name="connsiteX0" fmla="*/ 861 w 18358"/>
                  <a:gd name="connsiteY0" fmla="*/ 5274 h 18443"/>
                  <a:gd name="connsiteX1" fmla="*/ 13062 w 18358"/>
                  <a:gd name="connsiteY1" fmla="*/ 908 h 18443"/>
                  <a:gd name="connsiteX2" fmla="*/ 17488 w 18358"/>
                  <a:gd name="connsiteY2" fmla="*/ 13169 h 18443"/>
                  <a:gd name="connsiteX3" fmla="*/ 5287 w 18358"/>
                  <a:gd name="connsiteY3" fmla="*/ 17535 h 18443"/>
                  <a:gd name="connsiteX4" fmla="*/ 861 w 18358"/>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3">
                    <a:moveTo>
                      <a:pt x="861" y="5274"/>
                    </a:moveTo>
                    <a:cubicBezTo>
                      <a:pt x="3014" y="669"/>
                      <a:pt x="8457" y="-1305"/>
                      <a:pt x="13062" y="908"/>
                    </a:cubicBezTo>
                    <a:cubicBezTo>
                      <a:pt x="17667" y="3061"/>
                      <a:pt x="19641" y="8564"/>
                      <a:pt x="17488" y="13169"/>
                    </a:cubicBezTo>
                    <a:cubicBezTo>
                      <a:pt x="15334" y="17774"/>
                      <a:pt x="9892" y="19748"/>
                      <a:pt x="5287" y="17535"/>
                    </a:cubicBezTo>
                    <a:cubicBezTo>
                      <a:pt x="742" y="15382"/>
                      <a:pt x="-1292" y="9879"/>
                      <a:pt x="861" y="5274"/>
                    </a:cubicBezTo>
                    <a:close/>
                  </a:path>
                </a:pathLst>
              </a:custGeom>
              <a:grpFill/>
              <a:ln w="5978" cap="flat">
                <a:noFill/>
                <a:prstDash val="solid"/>
                <a:miter/>
              </a:ln>
            </p:spPr>
            <p:txBody>
              <a:bodyPr rtlCol="0" anchor="ctr"/>
              <a:lstStyle/>
              <a:p>
                <a:endParaRPr lang="en-GB"/>
              </a:p>
            </p:txBody>
          </p:sp>
          <p:sp>
            <p:nvSpPr>
              <p:cNvPr id="4235" name="Vrije vorm: vorm 4234">
                <a:extLst>
                  <a:ext uri="{FF2B5EF4-FFF2-40B4-BE49-F238E27FC236}">
                    <a16:creationId xmlns:a16="http://schemas.microsoft.com/office/drawing/2014/main" id="{974B3061-FD77-482F-82E4-A4BB0BE44004}"/>
                  </a:ext>
                </a:extLst>
              </p:cNvPr>
              <p:cNvSpPr/>
              <p:nvPr/>
            </p:nvSpPr>
            <p:spPr>
              <a:xfrm>
                <a:off x="6760355" y="1875165"/>
                <a:ext cx="18368" cy="18407"/>
              </a:xfrm>
              <a:custGeom>
                <a:avLst/>
                <a:gdLst>
                  <a:gd name="connsiteX0" fmla="*/ 871 w 18368"/>
                  <a:gd name="connsiteY0" fmla="*/ 5274 h 18407"/>
                  <a:gd name="connsiteX1" fmla="*/ 5297 w 18368"/>
                  <a:gd name="connsiteY1" fmla="*/ 17535 h 18407"/>
                  <a:gd name="connsiteX2" fmla="*/ 17498 w 18368"/>
                  <a:gd name="connsiteY2" fmla="*/ 13169 h 18407"/>
                  <a:gd name="connsiteX3" fmla="*/ 13072 w 18368"/>
                  <a:gd name="connsiteY3" fmla="*/ 908 h 18407"/>
                  <a:gd name="connsiteX4" fmla="*/ 871 w 18368"/>
                  <a:gd name="connsiteY4" fmla="*/ 527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7">
                    <a:moveTo>
                      <a:pt x="871" y="5274"/>
                    </a:moveTo>
                    <a:cubicBezTo>
                      <a:pt x="-1282" y="9879"/>
                      <a:pt x="692" y="15382"/>
                      <a:pt x="5297" y="17535"/>
                    </a:cubicBezTo>
                    <a:cubicBezTo>
                      <a:pt x="9902" y="19688"/>
                      <a:pt x="15344" y="17714"/>
                      <a:pt x="17498" y="13169"/>
                    </a:cubicBezTo>
                    <a:cubicBezTo>
                      <a:pt x="19651" y="8564"/>
                      <a:pt x="17677" y="3061"/>
                      <a:pt x="13072" y="908"/>
                    </a:cubicBezTo>
                    <a:cubicBezTo>
                      <a:pt x="8467" y="-1305"/>
                      <a:pt x="3024" y="669"/>
                      <a:pt x="871" y="5274"/>
                    </a:cubicBezTo>
                    <a:close/>
                  </a:path>
                </a:pathLst>
              </a:custGeom>
              <a:grpFill/>
              <a:ln w="5978" cap="flat">
                <a:noFill/>
                <a:prstDash val="solid"/>
                <a:miter/>
              </a:ln>
            </p:spPr>
            <p:txBody>
              <a:bodyPr rtlCol="0" anchor="ctr"/>
              <a:lstStyle/>
              <a:p>
                <a:endParaRPr lang="en-GB"/>
              </a:p>
            </p:txBody>
          </p:sp>
        </p:grpSp>
        <p:grpSp>
          <p:nvGrpSpPr>
            <p:cNvPr id="384" name="Graphic 3">
              <a:extLst>
                <a:ext uri="{FF2B5EF4-FFF2-40B4-BE49-F238E27FC236}">
                  <a16:creationId xmlns:a16="http://schemas.microsoft.com/office/drawing/2014/main" id="{E6C28F8D-5774-4BC5-B345-8E46D36E44C0}"/>
                </a:ext>
              </a:extLst>
            </p:cNvPr>
            <p:cNvGrpSpPr/>
            <p:nvPr/>
          </p:nvGrpSpPr>
          <p:grpSpPr>
            <a:xfrm>
              <a:off x="6732975" y="1631007"/>
              <a:ext cx="158412" cy="249406"/>
              <a:chOff x="6732975" y="1631007"/>
              <a:chExt cx="158412" cy="249406"/>
            </a:xfrm>
            <a:grpFill/>
          </p:grpSpPr>
          <p:sp>
            <p:nvSpPr>
              <p:cNvPr id="4230" name="Vrije vorm: vorm 4229">
                <a:extLst>
                  <a:ext uri="{FF2B5EF4-FFF2-40B4-BE49-F238E27FC236}">
                    <a16:creationId xmlns:a16="http://schemas.microsoft.com/office/drawing/2014/main" id="{A7B70436-13B4-425F-9495-B8720AF3F0BA}"/>
                  </a:ext>
                </a:extLst>
              </p:cNvPr>
              <p:cNvSpPr/>
              <p:nvPr/>
            </p:nvSpPr>
            <p:spPr>
              <a:xfrm>
                <a:off x="6740652" y="1638997"/>
                <a:ext cx="143119" cy="233427"/>
              </a:xfrm>
              <a:custGeom>
                <a:avLst/>
                <a:gdLst>
                  <a:gd name="connsiteX0" fmla="*/ 143119 w 143119"/>
                  <a:gd name="connsiteY0" fmla="*/ 1615 h 233427"/>
                  <a:gd name="connsiteX1" fmla="*/ 2572 w 143119"/>
                  <a:gd name="connsiteY1" fmla="*/ 233428 h 233427"/>
                  <a:gd name="connsiteX2" fmla="*/ 0 w 143119"/>
                  <a:gd name="connsiteY2" fmla="*/ 231813 h 233427"/>
                  <a:gd name="connsiteX3" fmla="*/ 140487 w 143119"/>
                  <a:gd name="connsiteY3" fmla="*/ 0 h 233427"/>
                </a:gdLst>
                <a:ahLst/>
                <a:cxnLst>
                  <a:cxn ang="0">
                    <a:pos x="connsiteX0" y="connsiteY0"/>
                  </a:cxn>
                  <a:cxn ang="0">
                    <a:pos x="connsiteX1" y="connsiteY1"/>
                  </a:cxn>
                  <a:cxn ang="0">
                    <a:pos x="connsiteX2" y="connsiteY2"/>
                  </a:cxn>
                  <a:cxn ang="0">
                    <a:pos x="connsiteX3" y="connsiteY3"/>
                  </a:cxn>
                </a:cxnLst>
                <a:rect l="l" t="t" r="r" b="b"/>
                <a:pathLst>
                  <a:path w="143119" h="233427">
                    <a:moveTo>
                      <a:pt x="143119" y="1615"/>
                    </a:moveTo>
                    <a:lnTo>
                      <a:pt x="2572" y="233428"/>
                    </a:lnTo>
                    <a:lnTo>
                      <a:pt x="0" y="231813"/>
                    </a:lnTo>
                    <a:lnTo>
                      <a:pt x="140487" y="0"/>
                    </a:lnTo>
                    <a:close/>
                  </a:path>
                </a:pathLst>
              </a:custGeom>
              <a:grpFill/>
              <a:ln w="5978" cap="flat">
                <a:noFill/>
                <a:prstDash val="solid"/>
                <a:miter/>
              </a:ln>
            </p:spPr>
            <p:txBody>
              <a:bodyPr rtlCol="0" anchor="ctr"/>
              <a:lstStyle/>
              <a:p>
                <a:endParaRPr lang="en-GB"/>
              </a:p>
            </p:txBody>
          </p:sp>
          <p:sp>
            <p:nvSpPr>
              <p:cNvPr id="4231" name="Vrije vorm: vorm 4230">
                <a:extLst>
                  <a:ext uri="{FF2B5EF4-FFF2-40B4-BE49-F238E27FC236}">
                    <a16:creationId xmlns:a16="http://schemas.microsoft.com/office/drawing/2014/main" id="{87544BD9-45BA-4F48-B20D-667FCFA85757}"/>
                  </a:ext>
                </a:extLst>
              </p:cNvPr>
              <p:cNvSpPr/>
              <p:nvPr/>
            </p:nvSpPr>
            <p:spPr>
              <a:xfrm>
                <a:off x="6732975" y="1861983"/>
                <a:ext cx="18343" cy="18431"/>
              </a:xfrm>
              <a:custGeom>
                <a:avLst/>
                <a:gdLst>
                  <a:gd name="connsiteX0" fmla="*/ 17006 w 18343"/>
                  <a:gd name="connsiteY0" fmla="*/ 14030 h 18431"/>
                  <a:gd name="connsiteX1" fmla="*/ 4387 w 18343"/>
                  <a:gd name="connsiteY1" fmla="*/ 17080 h 18431"/>
                  <a:gd name="connsiteX2" fmla="*/ 1337 w 18343"/>
                  <a:gd name="connsiteY2" fmla="*/ 4401 h 18431"/>
                  <a:gd name="connsiteX3" fmla="*/ 13956 w 18343"/>
                  <a:gd name="connsiteY3" fmla="*/ 1351 h 18431"/>
                  <a:gd name="connsiteX4" fmla="*/ 17006 w 18343"/>
                  <a:gd name="connsiteY4" fmla="*/ 1403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31">
                    <a:moveTo>
                      <a:pt x="17006" y="14030"/>
                    </a:moveTo>
                    <a:cubicBezTo>
                      <a:pt x="14375" y="18396"/>
                      <a:pt x="8753" y="19712"/>
                      <a:pt x="4387" y="17080"/>
                    </a:cubicBezTo>
                    <a:cubicBezTo>
                      <a:pt x="81" y="14449"/>
                      <a:pt x="-1295" y="8767"/>
                      <a:pt x="1337" y="4401"/>
                    </a:cubicBezTo>
                    <a:cubicBezTo>
                      <a:pt x="3968" y="35"/>
                      <a:pt x="9590" y="-1280"/>
                      <a:pt x="13956" y="1351"/>
                    </a:cubicBezTo>
                    <a:cubicBezTo>
                      <a:pt x="18263" y="4042"/>
                      <a:pt x="19638" y="9724"/>
                      <a:pt x="17006" y="14030"/>
                    </a:cubicBezTo>
                    <a:close/>
                  </a:path>
                </a:pathLst>
              </a:custGeom>
              <a:grpFill/>
              <a:ln w="5978" cap="flat">
                <a:noFill/>
                <a:prstDash val="solid"/>
                <a:miter/>
              </a:ln>
            </p:spPr>
            <p:txBody>
              <a:bodyPr rtlCol="0" anchor="ctr"/>
              <a:lstStyle/>
              <a:p>
                <a:endParaRPr lang="en-GB"/>
              </a:p>
            </p:txBody>
          </p:sp>
          <p:sp>
            <p:nvSpPr>
              <p:cNvPr id="4232" name="Vrije vorm: vorm 4231">
                <a:extLst>
                  <a:ext uri="{FF2B5EF4-FFF2-40B4-BE49-F238E27FC236}">
                    <a16:creationId xmlns:a16="http://schemas.microsoft.com/office/drawing/2014/main" id="{722CB442-2203-4CE3-9D9E-14B51045E2B0}"/>
                  </a:ext>
                </a:extLst>
              </p:cNvPr>
              <p:cNvSpPr/>
              <p:nvPr/>
            </p:nvSpPr>
            <p:spPr>
              <a:xfrm>
                <a:off x="6873044" y="1631007"/>
                <a:ext cx="18343" cy="18417"/>
              </a:xfrm>
              <a:custGeom>
                <a:avLst/>
                <a:gdLst>
                  <a:gd name="connsiteX0" fmla="*/ 17006 w 18343"/>
                  <a:gd name="connsiteY0" fmla="*/ 14030 h 18417"/>
                  <a:gd name="connsiteX1" fmla="*/ 13956 w 18343"/>
                  <a:gd name="connsiteY1" fmla="*/ 1351 h 18417"/>
                  <a:gd name="connsiteX2" fmla="*/ 1337 w 18343"/>
                  <a:gd name="connsiteY2" fmla="*/ 4401 h 18417"/>
                  <a:gd name="connsiteX3" fmla="*/ 4387 w 18343"/>
                  <a:gd name="connsiteY3" fmla="*/ 17080 h 18417"/>
                  <a:gd name="connsiteX4" fmla="*/ 17006 w 18343"/>
                  <a:gd name="connsiteY4" fmla="*/ 14030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7">
                    <a:moveTo>
                      <a:pt x="17006" y="14030"/>
                    </a:moveTo>
                    <a:cubicBezTo>
                      <a:pt x="19638" y="9664"/>
                      <a:pt x="18263" y="4042"/>
                      <a:pt x="13956" y="1351"/>
                    </a:cubicBezTo>
                    <a:cubicBezTo>
                      <a:pt x="9650" y="-1280"/>
                      <a:pt x="3969" y="35"/>
                      <a:pt x="1337" y="4401"/>
                    </a:cubicBezTo>
                    <a:cubicBezTo>
                      <a:pt x="-1294" y="8767"/>
                      <a:pt x="81" y="14389"/>
                      <a:pt x="4387" y="17080"/>
                    </a:cubicBezTo>
                    <a:cubicBezTo>
                      <a:pt x="8753" y="19712"/>
                      <a:pt x="14375" y="18336"/>
                      <a:pt x="17006" y="14030"/>
                    </a:cubicBezTo>
                    <a:close/>
                  </a:path>
                </a:pathLst>
              </a:custGeom>
              <a:grpFill/>
              <a:ln w="5978" cap="flat">
                <a:noFill/>
                <a:prstDash val="solid"/>
                <a:miter/>
              </a:ln>
            </p:spPr>
            <p:txBody>
              <a:bodyPr rtlCol="0" anchor="ctr"/>
              <a:lstStyle/>
              <a:p>
                <a:endParaRPr lang="en-GB"/>
              </a:p>
            </p:txBody>
          </p:sp>
        </p:grpSp>
        <p:grpSp>
          <p:nvGrpSpPr>
            <p:cNvPr id="385" name="Graphic 3">
              <a:extLst>
                <a:ext uri="{FF2B5EF4-FFF2-40B4-BE49-F238E27FC236}">
                  <a16:creationId xmlns:a16="http://schemas.microsoft.com/office/drawing/2014/main" id="{91437477-51E5-401D-85A1-F426FDA5FBA0}"/>
                </a:ext>
              </a:extLst>
            </p:cNvPr>
            <p:cNvGrpSpPr/>
            <p:nvPr/>
          </p:nvGrpSpPr>
          <p:grpSpPr>
            <a:xfrm>
              <a:off x="6597519" y="1283216"/>
              <a:ext cx="225022" cy="505253"/>
              <a:chOff x="6597519" y="1283216"/>
              <a:chExt cx="225022" cy="505253"/>
            </a:xfrm>
            <a:grpFill/>
          </p:grpSpPr>
          <p:sp>
            <p:nvSpPr>
              <p:cNvPr id="4227" name="Vrije vorm: vorm 4226">
                <a:extLst>
                  <a:ext uri="{FF2B5EF4-FFF2-40B4-BE49-F238E27FC236}">
                    <a16:creationId xmlns:a16="http://schemas.microsoft.com/office/drawing/2014/main" id="{31676E33-7834-4D4B-BD02-28DEAB158581}"/>
                  </a:ext>
                </a:extLst>
              </p:cNvPr>
              <p:cNvSpPr/>
              <p:nvPr/>
            </p:nvSpPr>
            <p:spPr>
              <a:xfrm>
                <a:off x="6605069" y="1291398"/>
                <a:ext cx="209923" cy="488864"/>
              </a:xfrm>
              <a:custGeom>
                <a:avLst/>
                <a:gdLst>
                  <a:gd name="connsiteX0" fmla="*/ 209923 w 209923"/>
                  <a:gd name="connsiteY0" fmla="*/ 1196 h 488864"/>
                  <a:gd name="connsiteX1" fmla="*/ 2811 w 209923"/>
                  <a:gd name="connsiteY1" fmla="*/ 488864 h 488864"/>
                  <a:gd name="connsiteX2" fmla="*/ 0 w 209923"/>
                  <a:gd name="connsiteY2" fmla="*/ 487668 h 488864"/>
                  <a:gd name="connsiteX3" fmla="*/ 207112 w 209923"/>
                  <a:gd name="connsiteY3" fmla="*/ 0 h 488864"/>
                </a:gdLst>
                <a:ahLst/>
                <a:cxnLst>
                  <a:cxn ang="0">
                    <a:pos x="connsiteX0" y="connsiteY0"/>
                  </a:cxn>
                  <a:cxn ang="0">
                    <a:pos x="connsiteX1" y="connsiteY1"/>
                  </a:cxn>
                  <a:cxn ang="0">
                    <a:pos x="connsiteX2" y="connsiteY2"/>
                  </a:cxn>
                  <a:cxn ang="0">
                    <a:pos x="connsiteX3" y="connsiteY3"/>
                  </a:cxn>
                </a:cxnLst>
                <a:rect l="l" t="t" r="r" b="b"/>
                <a:pathLst>
                  <a:path w="209923" h="488864">
                    <a:moveTo>
                      <a:pt x="209923" y="1196"/>
                    </a:moveTo>
                    <a:lnTo>
                      <a:pt x="2811" y="488864"/>
                    </a:lnTo>
                    <a:lnTo>
                      <a:pt x="0" y="487668"/>
                    </a:lnTo>
                    <a:lnTo>
                      <a:pt x="207112" y="0"/>
                    </a:lnTo>
                    <a:close/>
                  </a:path>
                </a:pathLst>
              </a:custGeom>
              <a:grpFill/>
              <a:ln w="5978" cap="flat">
                <a:noFill/>
                <a:prstDash val="solid"/>
                <a:miter/>
              </a:ln>
            </p:spPr>
            <p:txBody>
              <a:bodyPr rtlCol="0" anchor="ctr"/>
              <a:lstStyle/>
              <a:p>
                <a:endParaRPr lang="en-GB"/>
              </a:p>
            </p:txBody>
          </p:sp>
          <p:sp>
            <p:nvSpPr>
              <p:cNvPr id="4228" name="Vrije vorm: vorm 4227">
                <a:extLst>
                  <a:ext uri="{FF2B5EF4-FFF2-40B4-BE49-F238E27FC236}">
                    <a16:creationId xmlns:a16="http://schemas.microsoft.com/office/drawing/2014/main" id="{097DB518-9C63-4D8A-AF0D-704486AF5486}"/>
                  </a:ext>
                </a:extLst>
              </p:cNvPr>
              <p:cNvSpPr/>
              <p:nvPr/>
            </p:nvSpPr>
            <p:spPr>
              <a:xfrm>
                <a:off x="6597519" y="1770080"/>
                <a:ext cx="18329" cy="18388"/>
              </a:xfrm>
              <a:custGeom>
                <a:avLst/>
                <a:gdLst>
                  <a:gd name="connsiteX0" fmla="*/ 17597 w 18329"/>
                  <a:gd name="connsiteY0" fmla="*/ 12813 h 18388"/>
                  <a:gd name="connsiteX1" fmla="*/ 5576 w 18329"/>
                  <a:gd name="connsiteY1" fmla="*/ 17657 h 18388"/>
                  <a:gd name="connsiteX2" fmla="*/ 732 w 18329"/>
                  <a:gd name="connsiteY2" fmla="*/ 5576 h 18388"/>
                  <a:gd name="connsiteX3" fmla="*/ 12753 w 18329"/>
                  <a:gd name="connsiteY3" fmla="*/ 732 h 18388"/>
                  <a:gd name="connsiteX4" fmla="*/ 17597 w 18329"/>
                  <a:gd name="connsiteY4" fmla="*/ 12813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88">
                    <a:moveTo>
                      <a:pt x="17597" y="12813"/>
                    </a:moveTo>
                    <a:cubicBezTo>
                      <a:pt x="15624" y="17478"/>
                      <a:pt x="10241" y="19631"/>
                      <a:pt x="5576" y="17657"/>
                    </a:cubicBezTo>
                    <a:cubicBezTo>
                      <a:pt x="911" y="15624"/>
                      <a:pt x="-1242" y="10241"/>
                      <a:pt x="732" y="5576"/>
                    </a:cubicBezTo>
                    <a:cubicBezTo>
                      <a:pt x="2705" y="911"/>
                      <a:pt x="8088" y="-1242"/>
                      <a:pt x="12753" y="732"/>
                    </a:cubicBezTo>
                    <a:cubicBezTo>
                      <a:pt x="17418" y="2705"/>
                      <a:pt x="19571" y="8148"/>
                      <a:pt x="17597" y="12813"/>
                    </a:cubicBezTo>
                    <a:close/>
                  </a:path>
                </a:pathLst>
              </a:custGeom>
              <a:grpFill/>
              <a:ln w="5978" cap="flat">
                <a:noFill/>
                <a:prstDash val="solid"/>
                <a:miter/>
              </a:ln>
            </p:spPr>
            <p:txBody>
              <a:bodyPr rtlCol="0" anchor="ctr"/>
              <a:lstStyle/>
              <a:p>
                <a:endParaRPr lang="en-GB"/>
              </a:p>
            </p:txBody>
          </p:sp>
          <p:sp>
            <p:nvSpPr>
              <p:cNvPr id="4229" name="Vrije vorm: vorm 4228">
                <a:extLst>
                  <a:ext uri="{FF2B5EF4-FFF2-40B4-BE49-F238E27FC236}">
                    <a16:creationId xmlns:a16="http://schemas.microsoft.com/office/drawing/2014/main" id="{3509B2EF-C8AE-442F-908A-E42F8DF484EC}"/>
                  </a:ext>
                </a:extLst>
              </p:cNvPr>
              <p:cNvSpPr/>
              <p:nvPr/>
            </p:nvSpPr>
            <p:spPr>
              <a:xfrm>
                <a:off x="6804213" y="1283216"/>
                <a:ext cx="18329" cy="18422"/>
              </a:xfrm>
              <a:custGeom>
                <a:avLst/>
                <a:gdLst>
                  <a:gd name="connsiteX0" fmla="*/ 17597 w 18329"/>
                  <a:gd name="connsiteY0" fmla="*/ 12847 h 18422"/>
                  <a:gd name="connsiteX1" fmla="*/ 12753 w 18329"/>
                  <a:gd name="connsiteY1" fmla="*/ 766 h 18422"/>
                  <a:gd name="connsiteX2" fmla="*/ 732 w 18329"/>
                  <a:gd name="connsiteY2" fmla="*/ 5610 h 18422"/>
                  <a:gd name="connsiteX3" fmla="*/ 5576 w 18329"/>
                  <a:gd name="connsiteY3" fmla="*/ 17691 h 18422"/>
                  <a:gd name="connsiteX4" fmla="*/ 17597 w 18329"/>
                  <a:gd name="connsiteY4" fmla="*/ 12847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2">
                    <a:moveTo>
                      <a:pt x="17597" y="12847"/>
                    </a:moveTo>
                    <a:cubicBezTo>
                      <a:pt x="19571" y="8182"/>
                      <a:pt x="17418" y="2739"/>
                      <a:pt x="12753" y="766"/>
                    </a:cubicBezTo>
                    <a:cubicBezTo>
                      <a:pt x="8088" y="-1268"/>
                      <a:pt x="2705" y="885"/>
                      <a:pt x="732" y="5610"/>
                    </a:cubicBezTo>
                    <a:cubicBezTo>
                      <a:pt x="-1242" y="10275"/>
                      <a:pt x="911" y="15717"/>
                      <a:pt x="5576" y="17691"/>
                    </a:cubicBezTo>
                    <a:cubicBezTo>
                      <a:pt x="10241" y="19665"/>
                      <a:pt x="15624" y="17512"/>
                      <a:pt x="17597" y="12847"/>
                    </a:cubicBezTo>
                    <a:close/>
                  </a:path>
                </a:pathLst>
              </a:custGeom>
              <a:grpFill/>
              <a:ln w="5978" cap="flat">
                <a:noFill/>
                <a:prstDash val="solid"/>
                <a:miter/>
              </a:ln>
            </p:spPr>
            <p:txBody>
              <a:bodyPr rtlCol="0" anchor="ctr"/>
              <a:lstStyle/>
              <a:p>
                <a:endParaRPr lang="en-GB"/>
              </a:p>
            </p:txBody>
          </p:sp>
        </p:grpSp>
        <p:grpSp>
          <p:nvGrpSpPr>
            <p:cNvPr id="386" name="Graphic 3">
              <a:extLst>
                <a:ext uri="{FF2B5EF4-FFF2-40B4-BE49-F238E27FC236}">
                  <a16:creationId xmlns:a16="http://schemas.microsoft.com/office/drawing/2014/main" id="{B01202F5-08A4-490B-8450-9DCC68ED5931}"/>
                </a:ext>
              </a:extLst>
            </p:cNvPr>
            <p:cNvGrpSpPr/>
            <p:nvPr/>
          </p:nvGrpSpPr>
          <p:grpSpPr>
            <a:xfrm>
              <a:off x="7554447" y="4220263"/>
              <a:ext cx="157128" cy="93206"/>
              <a:chOff x="7554447" y="4220263"/>
              <a:chExt cx="157128" cy="93206"/>
            </a:xfrm>
            <a:grpFill/>
          </p:grpSpPr>
          <p:sp>
            <p:nvSpPr>
              <p:cNvPr id="4224" name="Vrije vorm: vorm 4223">
                <a:extLst>
                  <a:ext uri="{FF2B5EF4-FFF2-40B4-BE49-F238E27FC236}">
                    <a16:creationId xmlns:a16="http://schemas.microsoft.com/office/drawing/2014/main" id="{6C459E9A-34AA-462E-8EE8-D8A0D392E01C}"/>
                  </a:ext>
                </a:extLst>
              </p:cNvPr>
              <p:cNvSpPr/>
              <p:nvPr/>
            </p:nvSpPr>
            <p:spPr>
              <a:xfrm>
                <a:off x="7562463" y="4227872"/>
                <a:ext cx="141085" cy="77928"/>
              </a:xfrm>
              <a:custGeom>
                <a:avLst/>
                <a:gdLst>
                  <a:gd name="connsiteX0" fmla="*/ 141085 w 141085"/>
                  <a:gd name="connsiteY0" fmla="*/ 75237 h 77928"/>
                  <a:gd name="connsiteX1" fmla="*/ 139650 w 141085"/>
                  <a:gd name="connsiteY1" fmla="*/ 77929 h 77928"/>
                  <a:gd name="connsiteX2" fmla="*/ 0 w 141085"/>
                  <a:gd name="connsiteY2" fmla="*/ 2691 h 77928"/>
                  <a:gd name="connsiteX3" fmla="*/ 1435 w 141085"/>
                  <a:gd name="connsiteY3" fmla="*/ 0 h 77928"/>
                </a:gdLst>
                <a:ahLst/>
                <a:cxnLst>
                  <a:cxn ang="0">
                    <a:pos x="connsiteX0" y="connsiteY0"/>
                  </a:cxn>
                  <a:cxn ang="0">
                    <a:pos x="connsiteX1" y="connsiteY1"/>
                  </a:cxn>
                  <a:cxn ang="0">
                    <a:pos x="connsiteX2" y="connsiteY2"/>
                  </a:cxn>
                  <a:cxn ang="0">
                    <a:pos x="connsiteX3" y="connsiteY3"/>
                  </a:cxn>
                </a:cxnLst>
                <a:rect l="l" t="t" r="r" b="b"/>
                <a:pathLst>
                  <a:path w="141085" h="77928">
                    <a:moveTo>
                      <a:pt x="141085" y="75237"/>
                    </a:moveTo>
                    <a:lnTo>
                      <a:pt x="139650" y="77929"/>
                    </a:lnTo>
                    <a:lnTo>
                      <a:pt x="0" y="2691"/>
                    </a:lnTo>
                    <a:lnTo>
                      <a:pt x="1435" y="0"/>
                    </a:lnTo>
                    <a:close/>
                  </a:path>
                </a:pathLst>
              </a:custGeom>
              <a:grpFill/>
              <a:ln w="5978" cap="flat">
                <a:noFill/>
                <a:prstDash val="solid"/>
                <a:miter/>
              </a:ln>
            </p:spPr>
            <p:txBody>
              <a:bodyPr rtlCol="0" anchor="ctr"/>
              <a:lstStyle/>
              <a:p>
                <a:endParaRPr lang="en-GB"/>
              </a:p>
            </p:txBody>
          </p:sp>
          <p:sp>
            <p:nvSpPr>
              <p:cNvPr id="4225" name="Vrije vorm: vorm 4224">
                <a:extLst>
                  <a:ext uri="{FF2B5EF4-FFF2-40B4-BE49-F238E27FC236}">
                    <a16:creationId xmlns:a16="http://schemas.microsoft.com/office/drawing/2014/main" id="{4984EA9A-2ABB-4359-94DA-4F0C505BDED8}"/>
                  </a:ext>
                </a:extLst>
              </p:cNvPr>
              <p:cNvSpPr/>
              <p:nvPr/>
            </p:nvSpPr>
            <p:spPr>
              <a:xfrm>
                <a:off x="7693248" y="4295022"/>
                <a:ext cx="18327" cy="18447"/>
              </a:xfrm>
              <a:custGeom>
                <a:avLst/>
                <a:gdLst>
                  <a:gd name="connsiteX0" fmla="*/ 13470 w 18327"/>
                  <a:gd name="connsiteY0" fmla="*/ 1090 h 18447"/>
                  <a:gd name="connsiteX1" fmla="*/ 17238 w 18327"/>
                  <a:gd name="connsiteY1" fmla="*/ 13590 h 18447"/>
                  <a:gd name="connsiteX2" fmla="*/ 4857 w 18327"/>
                  <a:gd name="connsiteY2" fmla="*/ 17357 h 18447"/>
                  <a:gd name="connsiteX3" fmla="*/ 1090 w 18327"/>
                  <a:gd name="connsiteY3" fmla="*/ 4858 h 18447"/>
                  <a:gd name="connsiteX4" fmla="*/ 13470 w 18327"/>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7">
                    <a:moveTo>
                      <a:pt x="13470" y="1090"/>
                    </a:moveTo>
                    <a:cubicBezTo>
                      <a:pt x="17956" y="3482"/>
                      <a:pt x="19630" y="9104"/>
                      <a:pt x="17238" y="13590"/>
                    </a:cubicBezTo>
                    <a:cubicBezTo>
                      <a:pt x="14845" y="18075"/>
                      <a:pt x="9283" y="19749"/>
                      <a:pt x="4857" y="17357"/>
                    </a:cubicBezTo>
                    <a:cubicBezTo>
                      <a:pt x="372" y="14965"/>
                      <a:pt x="-1302" y="9343"/>
                      <a:pt x="1090" y="4858"/>
                    </a:cubicBezTo>
                    <a:cubicBezTo>
                      <a:pt x="3482" y="372"/>
                      <a:pt x="9044" y="-1302"/>
                      <a:pt x="13470" y="1090"/>
                    </a:cubicBezTo>
                    <a:close/>
                  </a:path>
                </a:pathLst>
              </a:custGeom>
              <a:grpFill/>
              <a:ln w="5978" cap="flat">
                <a:noFill/>
                <a:prstDash val="solid"/>
                <a:miter/>
              </a:ln>
            </p:spPr>
            <p:txBody>
              <a:bodyPr rtlCol="0" anchor="ctr"/>
              <a:lstStyle/>
              <a:p>
                <a:endParaRPr lang="en-GB"/>
              </a:p>
            </p:txBody>
          </p:sp>
          <p:sp>
            <p:nvSpPr>
              <p:cNvPr id="4226" name="Vrije vorm: vorm 4225">
                <a:extLst>
                  <a:ext uri="{FF2B5EF4-FFF2-40B4-BE49-F238E27FC236}">
                    <a16:creationId xmlns:a16="http://schemas.microsoft.com/office/drawing/2014/main" id="{649290FE-0678-49BC-8E32-40F13317C824}"/>
                  </a:ext>
                </a:extLst>
              </p:cNvPr>
              <p:cNvSpPr/>
              <p:nvPr/>
            </p:nvSpPr>
            <p:spPr>
              <a:xfrm>
                <a:off x="7554447" y="4220263"/>
                <a:ext cx="18315" cy="18447"/>
              </a:xfrm>
              <a:custGeom>
                <a:avLst/>
                <a:gdLst>
                  <a:gd name="connsiteX0" fmla="*/ 13459 w 18315"/>
                  <a:gd name="connsiteY0" fmla="*/ 1090 h 18447"/>
                  <a:gd name="connsiteX1" fmla="*/ 1078 w 18315"/>
                  <a:gd name="connsiteY1" fmla="*/ 4858 h 18447"/>
                  <a:gd name="connsiteX2" fmla="*/ 4846 w 18315"/>
                  <a:gd name="connsiteY2" fmla="*/ 17357 h 18447"/>
                  <a:gd name="connsiteX3" fmla="*/ 17226 w 18315"/>
                  <a:gd name="connsiteY3" fmla="*/ 13590 h 18447"/>
                  <a:gd name="connsiteX4" fmla="*/ 13459 w 18315"/>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47">
                    <a:moveTo>
                      <a:pt x="13459" y="1090"/>
                    </a:moveTo>
                    <a:cubicBezTo>
                      <a:pt x="8973" y="-1302"/>
                      <a:pt x="3471" y="372"/>
                      <a:pt x="1078" y="4858"/>
                    </a:cubicBezTo>
                    <a:cubicBezTo>
                      <a:pt x="-1314" y="9343"/>
                      <a:pt x="420" y="14905"/>
                      <a:pt x="4846" y="17357"/>
                    </a:cubicBezTo>
                    <a:cubicBezTo>
                      <a:pt x="9331" y="19749"/>
                      <a:pt x="14894" y="18075"/>
                      <a:pt x="17226" y="13590"/>
                    </a:cubicBezTo>
                    <a:cubicBezTo>
                      <a:pt x="19618" y="9044"/>
                      <a:pt x="17944" y="3482"/>
                      <a:pt x="13459" y="1090"/>
                    </a:cubicBezTo>
                    <a:close/>
                  </a:path>
                </a:pathLst>
              </a:custGeom>
              <a:grpFill/>
              <a:ln w="5978" cap="flat">
                <a:noFill/>
                <a:prstDash val="solid"/>
                <a:miter/>
              </a:ln>
            </p:spPr>
            <p:txBody>
              <a:bodyPr rtlCol="0" anchor="ctr"/>
              <a:lstStyle/>
              <a:p>
                <a:endParaRPr lang="en-GB"/>
              </a:p>
            </p:txBody>
          </p:sp>
        </p:grpSp>
        <p:grpSp>
          <p:nvGrpSpPr>
            <p:cNvPr id="387" name="Graphic 3">
              <a:extLst>
                <a:ext uri="{FF2B5EF4-FFF2-40B4-BE49-F238E27FC236}">
                  <a16:creationId xmlns:a16="http://schemas.microsoft.com/office/drawing/2014/main" id="{471CD41B-4ED1-455C-A8EE-323EF6F5274B}"/>
                </a:ext>
              </a:extLst>
            </p:cNvPr>
            <p:cNvGrpSpPr/>
            <p:nvPr/>
          </p:nvGrpSpPr>
          <p:grpSpPr>
            <a:xfrm>
              <a:off x="7632844" y="4300966"/>
              <a:ext cx="67763" cy="46331"/>
              <a:chOff x="7632844" y="4300966"/>
              <a:chExt cx="67763" cy="46331"/>
            </a:xfrm>
            <a:grpFill/>
          </p:grpSpPr>
          <p:sp>
            <p:nvSpPr>
              <p:cNvPr id="4221" name="Vrije vorm: vorm 4220">
                <a:extLst>
                  <a:ext uri="{FF2B5EF4-FFF2-40B4-BE49-F238E27FC236}">
                    <a16:creationId xmlns:a16="http://schemas.microsoft.com/office/drawing/2014/main" id="{721FDE28-B3AF-48AC-AD7E-7B5BC8F2D967}"/>
                  </a:ext>
                </a:extLst>
              </p:cNvPr>
              <p:cNvSpPr/>
              <p:nvPr/>
            </p:nvSpPr>
            <p:spPr>
              <a:xfrm>
                <a:off x="7640810" y="4308612"/>
                <a:ext cx="51793" cy="30980"/>
              </a:xfrm>
              <a:custGeom>
                <a:avLst/>
                <a:gdLst>
                  <a:gd name="connsiteX0" fmla="*/ 51793 w 51793"/>
                  <a:gd name="connsiteY0" fmla="*/ 28349 h 30980"/>
                  <a:gd name="connsiteX1" fmla="*/ 50298 w 51793"/>
                  <a:gd name="connsiteY1" fmla="*/ 30980 h 30980"/>
                  <a:gd name="connsiteX2" fmla="*/ 0 w 51793"/>
                  <a:gd name="connsiteY2" fmla="*/ 2691 h 30980"/>
                  <a:gd name="connsiteX3" fmla="*/ 1495 w 51793"/>
                  <a:gd name="connsiteY3" fmla="*/ 0 h 30980"/>
                </a:gdLst>
                <a:ahLst/>
                <a:cxnLst>
                  <a:cxn ang="0">
                    <a:pos x="connsiteX0" y="connsiteY0"/>
                  </a:cxn>
                  <a:cxn ang="0">
                    <a:pos x="connsiteX1" y="connsiteY1"/>
                  </a:cxn>
                  <a:cxn ang="0">
                    <a:pos x="connsiteX2" y="connsiteY2"/>
                  </a:cxn>
                  <a:cxn ang="0">
                    <a:pos x="connsiteX3" y="connsiteY3"/>
                  </a:cxn>
                </a:cxnLst>
                <a:rect l="l" t="t" r="r" b="b"/>
                <a:pathLst>
                  <a:path w="51793" h="30980">
                    <a:moveTo>
                      <a:pt x="51793" y="28349"/>
                    </a:moveTo>
                    <a:lnTo>
                      <a:pt x="50298" y="30980"/>
                    </a:lnTo>
                    <a:lnTo>
                      <a:pt x="0" y="2691"/>
                    </a:lnTo>
                    <a:lnTo>
                      <a:pt x="1495" y="0"/>
                    </a:lnTo>
                    <a:close/>
                  </a:path>
                </a:pathLst>
              </a:custGeom>
              <a:grpFill/>
              <a:ln w="5978" cap="flat">
                <a:noFill/>
                <a:prstDash val="solid"/>
                <a:miter/>
              </a:ln>
            </p:spPr>
            <p:txBody>
              <a:bodyPr rtlCol="0" anchor="ctr"/>
              <a:lstStyle/>
              <a:p>
                <a:endParaRPr lang="en-GB"/>
              </a:p>
            </p:txBody>
          </p:sp>
          <p:sp>
            <p:nvSpPr>
              <p:cNvPr id="4222" name="Vrije vorm: vorm 4221">
                <a:extLst>
                  <a:ext uri="{FF2B5EF4-FFF2-40B4-BE49-F238E27FC236}">
                    <a16:creationId xmlns:a16="http://schemas.microsoft.com/office/drawing/2014/main" id="{B53E6EE3-9BE1-4798-8DDB-3C779EA7EB31}"/>
                  </a:ext>
                </a:extLst>
              </p:cNvPr>
              <p:cNvSpPr/>
              <p:nvPr/>
            </p:nvSpPr>
            <p:spPr>
              <a:xfrm>
                <a:off x="7682247" y="4328836"/>
                <a:ext cx="18361" cy="18461"/>
              </a:xfrm>
              <a:custGeom>
                <a:avLst/>
                <a:gdLst>
                  <a:gd name="connsiteX0" fmla="*/ 13646 w 18361"/>
                  <a:gd name="connsiteY0" fmla="*/ 1187 h 18461"/>
                  <a:gd name="connsiteX1" fmla="*/ 17175 w 18361"/>
                  <a:gd name="connsiteY1" fmla="*/ 13746 h 18461"/>
                  <a:gd name="connsiteX2" fmla="*/ 4734 w 18361"/>
                  <a:gd name="connsiteY2" fmla="*/ 17275 h 18461"/>
                  <a:gd name="connsiteX3" fmla="*/ 1146 w 18361"/>
                  <a:gd name="connsiteY3" fmla="*/ 4716 h 18461"/>
                  <a:gd name="connsiteX4" fmla="*/ 13646 w 18361"/>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61">
                    <a:moveTo>
                      <a:pt x="13646" y="1187"/>
                    </a:moveTo>
                    <a:cubicBezTo>
                      <a:pt x="18071" y="3699"/>
                      <a:pt x="19686" y="9321"/>
                      <a:pt x="17175" y="13746"/>
                    </a:cubicBezTo>
                    <a:cubicBezTo>
                      <a:pt x="14722" y="18172"/>
                      <a:pt x="9160" y="19787"/>
                      <a:pt x="4734" y="17275"/>
                    </a:cubicBezTo>
                    <a:cubicBezTo>
                      <a:pt x="309" y="14763"/>
                      <a:pt x="-1306" y="9141"/>
                      <a:pt x="1146" y="4716"/>
                    </a:cubicBezTo>
                    <a:cubicBezTo>
                      <a:pt x="3658" y="290"/>
                      <a:pt x="9220" y="-1325"/>
                      <a:pt x="13646" y="1187"/>
                    </a:cubicBezTo>
                    <a:close/>
                  </a:path>
                </a:pathLst>
              </a:custGeom>
              <a:grpFill/>
              <a:ln w="5978" cap="flat">
                <a:noFill/>
                <a:prstDash val="solid"/>
                <a:miter/>
              </a:ln>
            </p:spPr>
            <p:txBody>
              <a:bodyPr rtlCol="0" anchor="ctr"/>
              <a:lstStyle/>
              <a:p>
                <a:endParaRPr lang="en-GB"/>
              </a:p>
            </p:txBody>
          </p:sp>
          <p:sp>
            <p:nvSpPr>
              <p:cNvPr id="4223" name="Vrije vorm: vorm 4222">
                <a:extLst>
                  <a:ext uri="{FF2B5EF4-FFF2-40B4-BE49-F238E27FC236}">
                    <a16:creationId xmlns:a16="http://schemas.microsoft.com/office/drawing/2014/main" id="{7C9976D5-B6BD-4B80-AC7D-731A406BCBE4}"/>
                  </a:ext>
                </a:extLst>
              </p:cNvPr>
              <p:cNvSpPr/>
              <p:nvPr/>
            </p:nvSpPr>
            <p:spPr>
              <a:xfrm>
                <a:off x="7632844" y="4300966"/>
                <a:ext cx="18277" cy="18461"/>
              </a:xfrm>
              <a:custGeom>
                <a:avLst/>
                <a:gdLst>
                  <a:gd name="connsiteX0" fmla="*/ 13588 w 18277"/>
                  <a:gd name="connsiteY0" fmla="*/ 1187 h 18461"/>
                  <a:gd name="connsiteX1" fmla="*/ 1148 w 18277"/>
                  <a:gd name="connsiteY1" fmla="*/ 4716 h 18461"/>
                  <a:gd name="connsiteX2" fmla="*/ 4676 w 18277"/>
                  <a:gd name="connsiteY2" fmla="*/ 17275 h 18461"/>
                  <a:gd name="connsiteX3" fmla="*/ 17117 w 18277"/>
                  <a:gd name="connsiteY3" fmla="*/ 13746 h 18461"/>
                  <a:gd name="connsiteX4" fmla="*/ 13588 w 18277"/>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61">
                    <a:moveTo>
                      <a:pt x="13588" y="1187"/>
                    </a:moveTo>
                    <a:cubicBezTo>
                      <a:pt x="9162" y="-1325"/>
                      <a:pt x="3600" y="290"/>
                      <a:pt x="1148" y="4716"/>
                    </a:cubicBezTo>
                    <a:cubicBezTo>
                      <a:pt x="-1304" y="9141"/>
                      <a:pt x="311" y="14763"/>
                      <a:pt x="4676" y="17275"/>
                    </a:cubicBezTo>
                    <a:cubicBezTo>
                      <a:pt x="9103" y="19787"/>
                      <a:pt x="14664" y="18172"/>
                      <a:pt x="17117" y="13746"/>
                    </a:cubicBezTo>
                    <a:cubicBezTo>
                      <a:pt x="19569" y="9320"/>
                      <a:pt x="18014" y="3699"/>
                      <a:pt x="13588" y="1187"/>
                    </a:cubicBezTo>
                    <a:close/>
                  </a:path>
                </a:pathLst>
              </a:custGeom>
              <a:grpFill/>
              <a:ln w="5978" cap="flat">
                <a:noFill/>
                <a:prstDash val="solid"/>
                <a:miter/>
              </a:ln>
            </p:spPr>
            <p:txBody>
              <a:bodyPr rtlCol="0" anchor="ctr"/>
              <a:lstStyle/>
              <a:p>
                <a:endParaRPr lang="en-GB"/>
              </a:p>
            </p:txBody>
          </p:sp>
        </p:grpSp>
        <p:grpSp>
          <p:nvGrpSpPr>
            <p:cNvPr id="388" name="Graphic 3">
              <a:extLst>
                <a:ext uri="{FF2B5EF4-FFF2-40B4-BE49-F238E27FC236}">
                  <a16:creationId xmlns:a16="http://schemas.microsoft.com/office/drawing/2014/main" id="{EF499D28-BFFF-4931-ADE2-4A3050FDC5A7}"/>
                </a:ext>
              </a:extLst>
            </p:cNvPr>
            <p:cNvGrpSpPr/>
            <p:nvPr/>
          </p:nvGrpSpPr>
          <p:grpSpPr>
            <a:xfrm>
              <a:off x="6788342" y="1749964"/>
              <a:ext cx="86672" cy="158118"/>
              <a:chOff x="6788342" y="1749964"/>
              <a:chExt cx="86672" cy="158118"/>
            </a:xfrm>
            <a:grpFill/>
          </p:grpSpPr>
          <p:sp>
            <p:nvSpPr>
              <p:cNvPr id="4218" name="Vrije vorm: vorm 4217">
                <a:extLst>
                  <a:ext uri="{FF2B5EF4-FFF2-40B4-BE49-F238E27FC236}">
                    <a16:creationId xmlns:a16="http://schemas.microsoft.com/office/drawing/2014/main" id="{01352C5F-1EEF-4B6B-86BD-2D61FA72B06A}"/>
                  </a:ext>
                </a:extLst>
              </p:cNvPr>
              <p:cNvSpPr/>
              <p:nvPr/>
            </p:nvSpPr>
            <p:spPr>
              <a:xfrm>
                <a:off x="6795974" y="1758073"/>
                <a:ext cx="71410" cy="141862"/>
              </a:xfrm>
              <a:custGeom>
                <a:avLst/>
                <a:gdLst>
                  <a:gd name="connsiteX0" fmla="*/ 71410 w 71410"/>
                  <a:gd name="connsiteY0" fmla="*/ 1376 h 141862"/>
                  <a:gd name="connsiteX1" fmla="*/ 2751 w 71410"/>
                  <a:gd name="connsiteY1" fmla="*/ 141863 h 141862"/>
                  <a:gd name="connsiteX2" fmla="*/ 0 w 71410"/>
                  <a:gd name="connsiteY2" fmla="*/ 140547 h 141862"/>
                  <a:gd name="connsiteX3" fmla="*/ 68718 w 71410"/>
                  <a:gd name="connsiteY3" fmla="*/ 0 h 141862"/>
                </a:gdLst>
                <a:ahLst/>
                <a:cxnLst>
                  <a:cxn ang="0">
                    <a:pos x="connsiteX0" y="connsiteY0"/>
                  </a:cxn>
                  <a:cxn ang="0">
                    <a:pos x="connsiteX1" y="connsiteY1"/>
                  </a:cxn>
                  <a:cxn ang="0">
                    <a:pos x="connsiteX2" y="connsiteY2"/>
                  </a:cxn>
                  <a:cxn ang="0">
                    <a:pos x="connsiteX3" y="connsiteY3"/>
                  </a:cxn>
                </a:cxnLst>
                <a:rect l="l" t="t" r="r" b="b"/>
                <a:pathLst>
                  <a:path w="71410" h="141862">
                    <a:moveTo>
                      <a:pt x="71410" y="1376"/>
                    </a:moveTo>
                    <a:lnTo>
                      <a:pt x="2751" y="141863"/>
                    </a:lnTo>
                    <a:lnTo>
                      <a:pt x="0" y="140547"/>
                    </a:lnTo>
                    <a:lnTo>
                      <a:pt x="68718" y="0"/>
                    </a:lnTo>
                    <a:close/>
                  </a:path>
                </a:pathLst>
              </a:custGeom>
              <a:grpFill/>
              <a:ln w="5978" cap="flat">
                <a:noFill/>
                <a:prstDash val="solid"/>
                <a:miter/>
              </a:ln>
            </p:spPr>
            <p:txBody>
              <a:bodyPr rtlCol="0" anchor="ctr"/>
              <a:lstStyle/>
              <a:p>
                <a:endParaRPr lang="en-GB"/>
              </a:p>
            </p:txBody>
          </p:sp>
          <p:sp>
            <p:nvSpPr>
              <p:cNvPr id="4219" name="Vrije vorm: vorm 4218">
                <a:extLst>
                  <a:ext uri="{FF2B5EF4-FFF2-40B4-BE49-F238E27FC236}">
                    <a16:creationId xmlns:a16="http://schemas.microsoft.com/office/drawing/2014/main" id="{45413191-B8CB-4D18-A4A2-8DAAA9F51B14}"/>
                  </a:ext>
                </a:extLst>
              </p:cNvPr>
              <p:cNvSpPr/>
              <p:nvPr/>
            </p:nvSpPr>
            <p:spPr>
              <a:xfrm>
                <a:off x="6856676" y="1749964"/>
                <a:ext cx="18338" cy="18372"/>
              </a:xfrm>
              <a:custGeom>
                <a:avLst/>
                <a:gdLst>
                  <a:gd name="connsiteX0" fmla="*/ 959 w 18338"/>
                  <a:gd name="connsiteY0" fmla="*/ 5119 h 18372"/>
                  <a:gd name="connsiteX1" fmla="*/ 13219 w 18338"/>
                  <a:gd name="connsiteY1" fmla="*/ 933 h 18372"/>
                  <a:gd name="connsiteX2" fmla="*/ 17406 w 18338"/>
                  <a:gd name="connsiteY2" fmla="*/ 13253 h 18372"/>
                  <a:gd name="connsiteX3" fmla="*/ 5145 w 18338"/>
                  <a:gd name="connsiteY3" fmla="*/ 17440 h 18372"/>
                  <a:gd name="connsiteX4" fmla="*/ 959 w 18338"/>
                  <a:gd name="connsiteY4" fmla="*/ 5119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2">
                    <a:moveTo>
                      <a:pt x="959" y="5119"/>
                    </a:moveTo>
                    <a:cubicBezTo>
                      <a:pt x="3172" y="574"/>
                      <a:pt x="8674" y="-1280"/>
                      <a:pt x="13219" y="933"/>
                    </a:cubicBezTo>
                    <a:cubicBezTo>
                      <a:pt x="17765" y="3146"/>
                      <a:pt x="19619" y="8708"/>
                      <a:pt x="17406" y="13253"/>
                    </a:cubicBezTo>
                    <a:cubicBezTo>
                      <a:pt x="15193" y="17798"/>
                      <a:pt x="9691" y="19653"/>
                      <a:pt x="5145" y="17440"/>
                    </a:cubicBezTo>
                    <a:cubicBezTo>
                      <a:pt x="600" y="15167"/>
                      <a:pt x="-1314" y="9665"/>
                      <a:pt x="959" y="5119"/>
                    </a:cubicBezTo>
                    <a:close/>
                  </a:path>
                </a:pathLst>
              </a:custGeom>
              <a:grpFill/>
              <a:ln w="5978" cap="flat">
                <a:noFill/>
                <a:prstDash val="solid"/>
                <a:miter/>
              </a:ln>
            </p:spPr>
            <p:txBody>
              <a:bodyPr rtlCol="0" anchor="ctr"/>
              <a:lstStyle/>
              <a:p>
                <a:endParaRPr lang="en-GB"/>
              </a:p>
            </p:txBody>
          </p:sp>
          <p:sp>
            <p:nvSpPr>
              <p:cNvPr id="4220" name="Vrije vorm: vorm 4219">
                <a:extLst>
                  <a:ext uri="{FF2B5EF4-FFF2-40B4-BE49-F238E27FC236}">
                    <a16:creationId xmlns:a16="http://schemas.microsoft.com/office/drawing/2014/main" id="{CA0029C6-EBEC-4B60-9E2F-CB86F9AF272B}"/>
                  </a:ext>
                </a:extLst>
              </p:cNvPr>
              <p:cNvSpPr/>
              <p:nvPr/>
            </p:nvSpPr>
            <p:spPr>
              <a:xfrm>
                <a:off x="6788342" y="1889636"/>
                <a:ext cx="18312" cy="18446"/>
              </a:xfrm>
              <a:custGeom>
                <a:avLst/>
                <a:gdLst>
                  <a:gd name="connsiteX0" fmla="*/ 933 w 18312"/>
                  <a:gd name="connsiteY0" fmla="*/ 5156 h 18446"/>
                  <a:gd name="connsiteX1" fmla="*/ 5119 w 18312"/>
                  <a:gd name="connsiteY1" fmla="*/ 17476 h 18446"/>
                  <a:gd name="connsiteX2" fmla="*/ 17380 w 18312"/>
                  <a:gd name="connsiteY2" fmla="*/ 13290 h 18446"/>
                  <a:gd name="connsiteX3" fmla="*/ 13193 w 18312"/>
                  <a:gd name="connsiteY3" fmla="*/ 970 h 18446"/>
                  <a:gd name="connsiteX4" fmla="*/ 933 w 18312"/>
                  <a:gd name="connsiteY4" fmla="*/ 5156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6">
                    <a:moveTo>
                      <a:pt x="933" y="5156"/>
                    </a:moveTo>
                    <a:cubicBezTo>
                      <a:pt x="-1280" y="9701"/>
                      <a:pt x="574" y="15264"/>
                      <a:pt x="5119" y="17476"/>
                    </a:cubicBezTo>
                    <a:cubicBezTo>
                      <a:pt x="9665" y="19749"/>
                      <a:pt x="15167" y="17895"/>
                      <a:pt x="17380" y="13290"/>
                    </a:cubicBezTo>
                    <a:cubicBezTo>
                      <a:pt x="19593" y="8745"/>
                      <a:pt x="17739" y="3182"/>
                      <a:pt x="13193" y="970"/>
                    </a:cubicBezTo>
                    <a:cubicBezTo>
                      <a:pt x="8708" y="-1303"/>
                      <a:pt x="3206" y="551"/>
                      <a:pt x="933" y="5156"/>
                    </a:cubicBezTo>
                    <a:close/>
                  </a:path>
                </a:pathLst>
              </a:custGeom>
              <a:grpFill/>
              <a:ln w="5978" cap="flat">
                <a:noFill/>
                <a:prstDash val="solid"/>
                <a:miter/>
              </a:ln>
            </p:spPr>
            <p:txBody>
              <a:bodyPr rtlCol="0" anchor="ctr"/>
              <a:lstStyle/>
              <a:p>
                <a:endParaRPr lang="en-GB"/>
              </a:p>
            </p:txBody>
          </p:sp>
        </p:grpSp>
        <p:grpSp>
          <p:nvGrpSpPr>
            <p:cNvPr id="389" name="Graphic 3">
              <a:extLst>
                <a:ext uri="{FF2B5EF4-FFF2-40B4-BE49-F238E27FC236}">
                  <a16:creationId xmlns:a16="http://schemas.microsoft.com/office/drawing/2014/main" id="{1318E4CB-8A22-4217-B1F1-FFC242FE59AA}"/>
                </a:ext>
              </a:extLst>
            </p:cNvPr>
            <p:cNvGrpSpPr/>
            <p:nvPr/>
          </p:nvGrpSpPr>
          <p:grpSpPr>
            <a:xfrm>
              <a:off x="6731971" y="1664968"/>
              <a:ext cx="105509" cy="214908"/>
              <a:chOff x="6731971" y="1664968"/>
              <a:chExt cx="105509" cy="214908"/>
            </a:xfrm>
            <a:grpFill/>
          </p:grpSpPr>
          <p:sp>
            <p:nvSpPr>
              <p:cNvPr id="4215" name="Vrije vorm: vorm 4214">
                <a:extLst>
                  <a:ext uri="{FF2B5EF4-FFF2-40B4-BE49-F238E27FC236}">
                    <a16:creationId xmlns:a16="http://schemas.microsoft.com/office/drawing/2014/main" id="{063A409C-1B54-4C44-A140-4341777D17EA}"/>
                  </a:ext>
                </a:extLst>
              </p:cNvPr>
              <p:cNvSpPr/>
              <p:nvPr/>
            </p:nvSpPr>
            <p:spPr>
              <a:xfrm>
                <a:off x="6739575" y="1673087"/>
                <a:ext cx="90309" cy="198619"/>
              </a:xfrm>
              <a:custGeom>
                <a:avLst/>
                <a:gdLst>
                  <a:gd name="connsiteX0" fmla="*/ 90309 w 90309"/>
                  <a:gd name="connsiteY0" fmla="*/ 1256 h 198619"/>
                  <a:gd name="connsiteX1" fmla="*/ 2751 w 90309"/>
                  <a:gd name="connsiteY1" fmla="*/ 198620 h 198619"/>
                  <a:gd name="connsiteX2" fmla="*/ 0 w 90309"/>
                  <a:gd name="connsiteY2" fmla="*/ 197364 h 198619"/>
                  <a:gd name="connsiteX3" fmla="*/ 87498 w 90309"/>
                  <a:gd name="connsiteY3" fmla="*/ 0 h 198619"/>
                </a:gdLst>
                <a:ahLst/>
                <a:cxnLst>
                  <a:cxn ang="0">
                    <a:pos x="connsiteX0" y="connsiteY0"/>
                  </a:cxn>
                  <a:cxn ang="0">
                    <a:pos x="connsiteX1" y="connsiteY1"/>
                  </a:cxn>
                  <a:cxn ang="0">
                    <a:pos x="connsiteX2" y="connsiteY2"/>
                  </a:cxn>
                  <a:cxn ang="0">
                    <a:pos x="connsiteX3" y="connsiteY3"/>
                  </a:cxn>
                </a:cxnLst>
                <a:rect l="l" t="t" r="r" b="b"/>
                <a:pathLst>
                  <a:path w="90309" h="198619">
                    <a:moveTo>
                      <a:pt x="90309" y="1256"/>
                    </a:moveTo>
                    <a:lnTo>
                      <a:pt x="2751" y="198620"/>
                    </a:lnTo>
                    <a:lnTo>
                      <a:pt x="0" y="197364"/>
                    </a:lnTo>
                    <a:lnTo>
                      <a:pt x="87498" y="0"/>
                    </a:lnTo>
                    <a:close/>
                  </a:path>
                </a:pathLst>
              </a:custGeom>
              <a:grpFill/>
              <a:ln w="5978" cap="flat">
                <a:noFill/>
                <a:prstDash val="solid"/>
                <a:miter/>
              </a:ln>
            </p:spPr>
            <p:txBody>
              <a:bodyPr rtlCol="0" anchor="ctr"/>
              <a:lstStyle/>
              <a:p>
                <a:endParaRPr lang="en-GB"/>
              </a:p>
            </p:txBody>
          </p:sp>
          <p:sp>
            <p:nvSpPr>
              <p:cNvPr id="4216" name="Vrije vorm: vorm 4215">
                <a:extLst>
                  <a:ext uri="{FF2B5EF4-FFF2-40B4-BE49-F238E27FC236}">
                    <a16:creationId xmlns:a16="http://schemas.microsoft.com/office/drawing/2014/main" id="{54FA702B-7776-4FE5-AB91-12C03ACBAC98}"/>
                  </a:ext>
                </a:extLst>
              </p:cNvPr>
              <p:cNvSpPr/>
              <p:nvPr/>
            </p:nvSpPr>
            <p:spPr>
              <a:xfrm>
                <a:off x="6819144" y="1664968"/>
                <a:ext cx="18335" cy="18450"/>
              </a:xfrm>
              <a:custGeom>
                <a:avLst/>
                <a:gdLst>
                  <a:gd name="connsiteX0" fmla="*/ 812 w 18335"/>
                  <a:gd name="connsiteY0" fmla="*/ 5428 h 18450"/>
                  <a:gd name="connsiteX1" fmla="*/ 12893 w 18335"/>
                  <a:gd name="connsiteY1" fmla="*/ 823 h 18450"/>
                  <a:gd name="connsiteX2" fmla="*/ 17558 w 18335"/>
                  <a:gd name="connsiteY2" fmla="*/ 13023 h 18450"/>
                  <a:gd name="connsiteX3" fmla="*/ 5477 w 18335"/>
                  <a:gd name="connsiteY3" fmla="*/ 17628 h 18450"/>
                  <a:gd name="connsiteX4" fmla="*/ 812 w 18335"/>
                  <a:gd name="connsiteY4" fmla="*/ 5428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0">
                    <a:moveTo>
                      <a:pt x="812" y="5428"/>
                    </a:moveTo>
                    <a:cubicBezTo>
                      <a:pt x="2846" y="763"/>
                      <a:pt x="8288" y="-1271"/>
                      <a:pt x="12893" y="823"/>
                    </a:cubicBezTo>
                    <a:cubicBezTo>
                      <a:pt x="17499" y="2916"/>
                      <a:pt x="19592" y="8358"/>
                      <a:pt x="17558" y="13023"/>
                    </a:cubicBezTo>
                    <a:cubicBezTo>
                      <a:pt x="15525" y="17688"/>
                      <a:pt x="10082" y="19722"/>
                      <a:pt x="5477" y="17628"/>
                    </a:cubicBezTo>
                    <a:cubicBezTo>
                      <a:pt x="812" y="15535"/>
                      <a:pt x="-1281" y="10033"/>
                      <a:pt x="812" y="5428"/>
                    </a:cubicBezTo>
                    <a:close/>
                  </a:path>
                </a:pathLst>
              </a:custGeom>
              <a:grpFill/>
              <a:ln w="5978" cap="flat">
                <a:noFill/>
                <a:prstDash val="solid"/>
                <a:miter/>
              </a:ln>
            </p:spPr>
            <p:txBody>
              <a:bodyPr rtlCol="0" anchor="ctr"/>
              <a:lstStyle/>
              <a:p>
                <a:endParaRPr lang="en-GB"/>
              </a:p>
            </p:txBody>
          </p:sp>
          <p:sp>
            <p:nvSpPr>
              <p:cNvPr id="4217" name="Vrije vorm: vorm 4216">
                <a:extLst>
                  <a:ext uri="{FF2B5EF4-FFF2-40B4-BE49-F238E27FC236}">
                    <a16:creationId xmlns:a16="http://schemas.microsoft.com/office/drawing/2014/main" id="{27288CA1-6B9D-47BE-8F3E-45497342F63F}"/>
                  </a:ext>
                </a:extLst>
              </p:cNvPr>
              <p:cNvSpPr/>
              <p:nvPr/>
            </p:nvSpPr>
            <p:spPr>
              <a:xfrm>
                <a:off x="6731971" y="1861444"/>
                <a:ext cx="18319" cy="18432"/>
              </a:xfrm>
              <a:custGeom>
                <a:avLst/>
                <a:gdLst>
                  <a:gd name="connsiteX0" fmla="*/ 787 w 18319"/>
                  <a:gd name="connsiteY0" fmla="*/ 5418 h 18432"/>
                  <a:gd name="connsiteX1" fmla="*/ 5452 w 18319"/>
                  <a:gd name="connsiteY1" fmla="*/ 17619 h 18432"/>
                  <a:gd name="connsiteX2" fmla="*/ 17533 w 18319"/>
                  <a:gd name="connsiteY2" fmla="*/ 13014 h 18432"/>
                  <a:gd name="connsiteX3" fmla="*/ 12868 w 18319"/>
                  <a:gd name="connsiteY3" fmla="*/ 813 h 18432"/>
                  <a:gd name="connsiteX4" fmla="*/ 787 w 18319"/>
                  <a:gd name="connsiteY4" fmla="*/ 5418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32">
                    <a:moveTo>
                      <a:pt x="787" y="5418"/>
                    </a:moveTo>
                    <a:cubicBezTo>
                      <a:pt x="-1247" y="10083"/>
                      <a:pt x="787" y="15526"/>
                      <a:pt x="5452" y="17619"/>
                    </a:cubicBezTo>
                    <a:cubicBezTo>
                      <a:pt x="10057" y="19712"/>
                      <a:pt x="15499" y="17619"/>
                      <a:pt x="17533" y="13014"/>
                    </a:cubicBezTo>
                    <a:cubicBezTo>
                      <a:pt x="19566" y="8349"/>
                      <a:pt x="17533" y="2907"/>
                      <a:pt x="12868" y="813"/>
                    </a:cubicBezTo>
                    <a:cubicBezTo>
                      <a:pt x="8262" y="-1280"/>
                      <a:pt x="2820" y="813"/>
                      <a:pt x="787" y="5418"/>
                    </a:cubicBezTo>
                    <a:close/>
                  </a:path>
                </a:pathLst>
              </a:custGeom>
              <a:grpFill/>
              <a:ln w="5978" cap="flat">
                <a:noFill/>
                <a:prstDash val="solid"/>
                <a:miter/>
              </a:ln>
            </p:spPr>
            <p:txBody>
              <a:bodyPr rtlCol="0" anchor="ctr"/>
              <a:lstStyle/>
              <a:p>
                <a:endParaRPr lang="en-GB"/>
              </a:p>
            </p:txBody>
          </p:sp>
        </p:grpSp>
        <p:grpSp>
          <p:nvGrpSpPr>
            <p:cNvPr id="390" name="Graphic 3">
              <a:extLst>
                <a:ext uri="{FF2B5EF4-FFF2-40B4-BE49-F238E27FC236}">
                  <a16:creationId xmlns:a16="http://schemas.microsoft.com/office/drawing/2014/main" id="{FF0CE349-A415-47EA-9325-AED2148E2ACE}"/>
                </a:ext>
              </a:extLst>
            </p:cNvPr>
            <p:cNvGrpSpPr/>
            <p:nvPr/>
          </p:nvGrpSpPr>
          <p:grpSpPr>
            <a:xfrm>
              <a:off x="7604147" y="4444687"/>
              <a:ext cx="215548" cy="149730"/>
              <a:chOff x="7604147" y="4444687"/>
              <a:chExt cx="215548" cy="149730"/>
            </a:xfrm>
            <a:grpFill/>
          </p:grpSpPr>
          <p:sp>
            <p:nvSpPr>
              <p:cNvPr id="4212" name="Vrije vorm: vorm 4211">
                <a:extLst>
                  <a:ext uri="{FF2B5EF4-FFF2-40B4-BE49-F238E27FC236}">
                    <a16:creationId xmlns:a16="http://schemas.microsoft.com/office/drawing/2014/main" id="{5A242F0C-E0F5-4F58-A021-771F2D99663B}"/>
                  </a:ext>
                </a:extLst>
              </p:cNvPr>
              <p:cNvSpPr/>
              <p:nvPr/>
            </p:nvSpPr>
            <p:spPr>
              <a:xfrm>
                <a:off x="7612044" y="4452328"/>
                <a:ext cx="199755" cy="134386"/>
              </a:xfrm>
              <a:custGeom>
                <a:avLst/>
                <a:gdLst>
                  <a:gd name="connsiteX0" fmla="*/ 199756 w 199755"/>
                  <a:gd name="connsiteY0" fmla="*/ 131815 h 134386"/>
                  <a:gd name="connsiteX1" fmla="*/ 198082 w 199755"/>
                  <a:gd name="connsiteY1" fmla="*/ 134387 h 134386"/>
                  <a:gd name="connsiteX2" fmla="*/ 0 w 199755"/>
                  <a:gd name="connsiteY2" fmla="*/ 2572 h 134386"/>
                  <a:gd name="connsiteX3" fmla="*/ 1674 w 199755"/>
                  <a:gd name="connsiteY3" fmla="*/ 0 h 134386"/>
                </a:gdLst>
                <a:ahLst/>
                <a:cxnLst>
                  <a:cxn ang="0">
                    <a:pos x="connsiteX0" y="connsiteY0"/>
                  </a:cxn>
                  <a:cxn ang="0">
                    <a:pos x="connsiteX1" y="connsiteY1"/>
                  </a:cxn>
                  <a:cxn ang="0">
                    <a:pos x="connsiteX2" y="connsiteY2"/>
                  </a:cxn>
                  <a:cxn ang="0">
                    <a:pos x="connsiteX3" y="connsiteY3"/>
                  </a:cxn>
                </a:cxnLst>
                <a:rect l="l" t="t" r="r" b="b"/>
                <a:pathLst>
                  <a:path w="199755" h="134386">
                    <a:moveTo>
                      <a:pt x="199756" y="131815"/>
                    </a:moveTo>
                    <a:lnTo>
                      <a:pt x="198082" y="134387"/>
                    </a:lnTo>
                    <a:lnTo>
                      <a:pt x="0" y="2572"/>
                    </a:lnTo>
                    <a:lnTo>
                      <a:pt x="1674" y="0"/>
                    </a:lnTo>
                    <a:close/>
                  </a:path>
                </a:pathLst>
              </a:custGeom>
              <a:grpFill/>
              <a:ln w="5978" cap="flat">
                <a:noFill/>
                <a:prstDash val="solid"/>
                <a:miter/>
              </a:ln>
            </p:spPr>
            <p:txBody>
              <a:bodyPr rtlCol="0" anchor="ctr"/>
              <a:lstStyle/>
              <a:p>
                <a:endParaRPr lang="en-GB"/>
              </a:p>
            </p:txBody>
          </p:sp>
          <p:sp>
            <p:nvSpPr>
              <p:cNvPr id="4213" name="Vrije vorm: vorm 4212">
                <a:extLst>
                  <a:ext uri="{FF2B5EF4-FFF2-40B4-BE49-F238E27FC236}">
                    <a16:creationId xmlns:a16="http://schemas.microsoft.com/office/drawing/2014/main" id="{870CD30A-8ADF-4BDE-88CC-CB5D7547DC0B}"/>
                  </a:ext>
                </a:extLst>
              </p:cNvPr>
              <p:cNvSpPr/>
              <p:nvPr/>
            </p:nvSpPr>
            <p:spPr>
              <a:xfrm>
                <a:off x="7801391" y="4575963"/>
                <a:ext cx="18304" cy="18453"/>
              </a:xfrm>
              <a:custGeom>
                <a:avLst/>
                <a:gdLst>
                  <a:gd name="connsiteX0" fmla="*/ 14176 w 18304"/>
                  <a:gd name="connsiteY0" fmla="*/ 1541 h 18453"/>
                  <a:gd name="connsiteX1" fmla="*/ 16808 w 18304"/>
                  <a:gd name="connsiteY1" fmla="*/ 14340 h 18453"/>
                  <a:gd name="connsiteX2" fmla="*/ 4128 w 18304"/>
                  <a:gd name="connsiteY2" fmla="*/ 16912 h 18453"/>
                  <a:gd name="connsiteX3" fmla="*/ 1497 w 18304"/>
                  <a:gd name="connsiteY3" fmla="*/ 4113 h 18453"/>
                  <a:gd name="connsiteX4" fmla="*/ 14176 w 1830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3">
                    <a:moveTo>
                      <a:pt x="14176" y="1541"/>
                    </a:moveTo>
                    <a:cubicBezTo>
                      <a:pt x="18422" y="4352"/>
                      <a:pt x="19558" y="10094"/>
                      <a:pt x="16808" y="14340"/>
                    </a:cubicBezTo>
                    <a:cubicBezTo>
                      <a:pt x="14056" y="18587"/>
                      <a:pt x="8315" y="19723"/>
                      <a:pt x="4128" y="16912"/>
                    </a:cubicBezTo>
                    <a:cubicBezTo>
                      <a:pt x="-118" y="14101"/>
                      <a:pt x="-1254" y="8359"/>
                      <a:pt x="1497" y="4113"/>
                    </a:cubicBezTo>
                    <a:cubicBezTo>
                      <a:pt x="4307" y="-133"/>
                      <a:pt x="9989" y="-1269"/>
                      <a:pt x="14176" y="1541"/>
                    </a:cubicBezTo>
                    <a:close/>
                  </a:path>
                </a:pathLst>
              </a:custGeom>
              <a:grpFill/>
              <a:ln w="5978" cap="flat">
                <a:noFill/>
                <a:prstDash val="solid"/>
                <a:miter/>
              </a:ln>
            </p:spPr>
            <p:txBody>
              <a:bodyPr rtlCol="0" anchor="ctr"/>
              <a:lstStyle/>
              <a:p>
                <a:endParaRPr lang="en-GB"/>
              </a:p>
            </p:txBody>
          </p:sp>
          <p:sp>
            <p:nvSpPr>
              <p:cNvPr id="4214" name="Vrije vorm: vorm 4213">
                <a:extLst>
                  <a:ext uri="{FF2B5EF4-FFF2-40B4-BE49-F238E27FC236}">
                    <a16:creationId xmlns:a16="http://schemas.microsoft.com/office/drawing/2014/main" id="{F962AFAC-2A41-4F0F-8B49-F0DC7D92FE2F}"/>
                  </a:ext>
                </a:extLst>
              </p:cNvPr>
              <p:cNvSpPr/>
              <p:nvPr/>
            </p:nvSpPr>
            <p:spPr>
              <a:xfrm>
                <a:off x="7604147" y="4444687"/>
                <a:ext cx="18288" cy="18453"/>
              </a:xfrm>
              <a:custGeom>
                <a:avLst/>
                <a:gdLst>
                  <a:gd name="connsiteX0" fmla="*/ 14176 w 18288"/>
                  <a:gd name="connsiteY0" fmla="*/ 1542 h 18453"/>
                  <a:gd name="connsiteX1" fmla="*/ 1497 w 18288"/>
                  <a:gd name="connsiteY1" fmla="*/ 4113 h 18453"/>
                  <a:gd name="connsiteX2" fmla="*/ 4128 w 18288"/>
                  <a:gd name="connsiteY2" fmla="*/ 16912 h 18453"/>
                  <a:gd name="connsiteX3" fmla="*/ 16808 w 18288"/>
                  <a:gd name="connsiteY3" fmla="*/ 14340 h 18453"/>
                  <a:gd name="connsiteX4" fmla="*/ 14176 w 18288"/>
                  <a:gd name="connsiteY4" fmla="*/ 154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14176" y="1542"/>
                    </a:moveTo>
                    <a:cubicBezTo>
                      <a:pt x="9930" y="-1270"/>
                      <a:pt x="4247" y="-133"/>
                      <a:pt x="1497" y="4113"/>
                    </a:cubicBezTo>
                    <a:cubicBezTo>
                      <a:pt x="-1254" y="8359"/>
                      <a:pt x="-118" y="14041"/>
                      <a:pt x="4128" y="16912"/>
                    </a:cubicBezTo>
                    <a:cubicBezTo>
                      <a:pt x="8375" y="19723"/>
                      <a:pt x="14056" y="18586"/>
                      <a:pt x="16808" y="14340"/>
                    </a:cubicBezTo>
                    <a:cubicBezTo>
                      <a:pt x="19558" y="10034"/>
                      <a:pt x="18363" y="4352"/>
                      <a:pt x="14176" y="1542"/>
                    </a:cubicBezTo>
                    <a:close/>
                  </a:path>
                </a:pathLst>
              </a:custGeom>
              <a:grpFill/>
              <a:ln w="5978" cap="flat">
                <a:noFill/>
                <a:prstDash val="solid"/>
                <a:miter/>
              </a:ln>
            </p:spPr>
            <p:txBody>
              <a:bodyPr rtlCol="0" anchor="ctr"/>
              <a:lstStyle/>
              <a:p>
                <a:endParaRPr lang="en-GB"/>
              </a:p>
            </p:txBody>
          </p:sp>
        </p:grpSp>
        <p:grpSp>
          <p:nvGrpSpPr>
            <p:cNvPr id="391" name="Graphic 3">
              <a:extLst>
                <a:ext uri="{FF2B5EF4-FFF2-40B4-BE49-F238E27FC236}">
                  <a16:creationId xmlns:a16="http://schemas.microsoft.com/office/drawing/2014/main" id="{F70246AF-0789-4D81-89A4-C6009010457C}"/>
                </a:ext>
              </a:extLst>
            </p:cNvPr>
            <p:cNvGrpSpPr/>
            <p:nvPr/>
          </p:nvGrpSpPr>
          <p:grpSpPr>
            <a:xfrm>
              <a:off x="7495998" y="4296675"/>
              <a:ext cx="352527" cy="223271"/>
              <a:chOff x="7495998" y="4296675"/>
              <a:chExt cx="352527" cy="223271"/>
            </a:xfrm>
            <a:grpFill/>
          </p:grpSpPr>
          <p:sp>
            <p:nvSpPr>
              <p:cNvPr id="4209" name="Vrije vorm: vorm 4208">
                <a:extLst>
                  <a:ext uri="{FF2B5EF4-FFF2-40B4-BE49-F238E27FC236}">
                    <a16:creationId xmlns:a16="http://schemas.microsoft.com/office/drawing/2014/main" id="{0E22D557-DA15-41B3-9F01-E4B1EDAC7D32}"/>
                  </a:ext>
                </a:extLst>
              </p:cNvPr>
              <p:cNvSpPr/>
              <p:nvPr/>
            </p:nvSpPr>
            <p:spPr>
              <a:xfrm>
                <a:off x="7503972" y="4304365"/>
                <a:ext cx="336595" cy="207949"/>
              </a:xfrm>
              <a:custGeom>
                <a:avLst/>
                <a:gdLst>
                  <a:gd name="connsiteX0" fmla="*/ 336595 w 336595"/>
                  <a:gd name="connsiteY0" fmla="*/ 205318 h 207949"/>
                  <a:gd name="connsiteX1" fmla="*/ 334980 w 336595"/>
                  <a:gd name="connsiteY1" fmla="*/ 207950 h 207949"/>
                  <a:gd name="connsiteX2" fmla="*/ 0 w 336595"/>
                  <a:gd name="connsiteY2" fmla="*/ 2572 h 207949"/>
                  <a:gd name="connsiteX3" fmla="*/ 1615 w 336595"/>
                  <a:gd name="connsiteY3" fmla="*/ 0 h 207949"/>
                </a:gdLst>
                <a:ahLst/>
                <a:cxnLst>
                  <a:cxn ang="0">
                    <a:pos x="connsiteX0" y="connsiteY0"/>
                  </a:cxn>
                  <a:cxn ang="0">
                    <a:pos x="connsiteX1" y="connsiteY1"/>
                  </a:cxn>
                  <a:cxn ang="0">
                    <a:pos x="connsiteX2" y="connsiteY2"/>
                  </a:cxn>
                  <a:cxn ang="0">
                    <a:pos x="connsiteX3" y="connsiteY3"/>
                  </a:cxn>
                </a:cxnLst>
                <a:rect l="l" t="t" r="r" b="b"/>
                <a:pathLst>
                  <a:path w="336595" h="207949">
                    <a:moveTo>
                      <a:pt x="336595" y="205318"/>
                    </a:moveTo>
                    <a:lnTo>
                      <a:pt x="334980" y="207950"/>
                    </a:lnTo>
                    <a:lnTo>
                      <a:pt x="0" y="2572"/>
                    </a:lnTo>
                    <a:lnTo>
                      <a:pt x="1615" y="0"/>
                    </a:lnTo>
                    <a:close/>
                  </a:path>
                </a:pathLst>
              </a:custGeom>
              <a:grpFill/>
              <a:ln w="5978" cap="flat">
                <a:noFill/>
                <a:prstDash val="solid"/>
                <a:miter/>
              </a:ln>
            </p:spPr>
            <p:txBody>
              <a:bodyPr rtlCol="0" anchor="ctr"/>
              <a:lstStyle/>
              <a:p>
                <a:endParaRPr lang="en-GB"/>
              </a:p>
            </p:txBody>
          </p:sp>
          <p:sp>
            <p:nvSpPr>
              <p:cNvPr id="4210" name="Vrije vorm: vorm 4209">
                <a:extLst>
                  <a:ext uri="{FF2B5EF4-FFF2-40B4-BE49-F238E27FC236}">
                    <a16:creationId xmlns:a16="http://schemas.microsoft.com/office/drawing/2014/main" id="{B205EBCD-FD64-45B7-9B98-131D638417A5}"/>
                  </a:ext>
                </a:extLst>
              </p:cNvPr>
              <p:cNvSpPr/>
              <p:nvPr/>
            </p:nvSpPr>
            <p:spPr>
              <a:xfrm>
                <a:off x="7830215" y="4501528"/>
                <a:ext cx="18310" cy="18417"/>
              </a:xfrm>
              <a:custGeom>
                <a:avLst/>
                <a:gdLst>
                  <a:gd name="connsiteX0" fmla="*/ 13880 w 18310"/>
                  <a:gd name="connsiteY0" fmla="*/ 1337 h 18417"/>
                  <a:gd name="connsiteX1" fmla="*/ 16990 w 18310"/>
                  <a:gd name="connsiteY1" fmla="*/ 14016 h 18417"/>
                  <a:gd name="connsiteX2" fmla="*/ 4431 w 18310"/>
                  <a:gd name="connsiteY2" fmla="*/ 17066 h 18417"/>
                  <a:gd name="connsiteX3" fmla="*/ 1321 w 18310"/>
                  <a:gd name="connsiteY3" fmla="*/ 4387 h 18417"/>
                  <a:gd name="connsiteX4" fmla="*/ 13880 w 18310"/>
                  <a:gd name="connsiteY4" fmla="*/ 133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7">
                    <a:moveTo>
                      <a:pt x="13880" y="1337"/>
                    </a:moveTo>
                    <a:cubicBezTo>
                      <a:pt x="18186" y="3969"/>
                      <a:pt x="19621" y="9650"/>
                      <a:pt x="16990" y="14016"/>
                    </a:cubicBezTo>
                    <a:cubicBezTo>
                      <a:pt x="14358" y="18382"/>
                      <a:pt x="8737" y="19698"/>
                      <a:pt x="4431" y="17066"/>
                    </a:cubicBezTo>
                    <a:cubicBezTo>
                      <a:pt x="125" y="14435"/>
                      <a:pt x="-1311" y="8753"/>
                      <a:pt x="1321" y="4387"/>
                    </a:cubicBezTo>
                    <a:cubicBezTo>
                      <a:pt x="3952" y="81"/>
                      <a:pt x="9574" y="-1294"/>
                      <a:pt x="13880" y="1337"/>
                    </a:cubicBezTo>
                    <a:close/>
                  </a:path>
                </a:pathLst>
              </a:custGeom>
              <a:grpFill/>
              <a:ln w="5978" cap="flat">
                <a:noFill/>
                <a:prstDash val="solid"/>
                <a:miter/>
              </a:ln>
            </p:spPr>
            <p:txBody>
              <a:bodyPr rtlCol="0" anchor="ctr"/>
              <a:lstStyle/>
              <a:p>
                <a:endParaRPr lang="en-GB"/>
              </a:p>
            </p:txBody>
          </p:sp>
          <p:sp>
            <p:nvSpPr>
              <p:cNvPr id="4211" name="Vrije vorm: vorm 4210">
                <a:extLst>
                  <a:ext uri="{FF2B5EF4-FFF2-40B4-BE49-F238E27FC236}">
                    <a16:creationId xmlns:a16="http://schemas.microsoft.com/office/drawing/2014/main" id="{EA910D09-8FA8-4EF7-86B5-C7F97C899BA4}"/>
                  </a:ext>
                </a:extLst>
              </p:cNvPr>
              <p:cNvSpPr/>
              <p:nvPr/>
            </p:nvSpPr>
            <p:spPr>
              <a:xfrm>
                <a:off x="7495998" y="4296675"/>
                <a:ext cx="18338" cy="18417"/>
              </a:xfrm>
              <a:custGeom>
                <a:avLst/>
                <a:gdLst>
                  <a:gd name="connsiteX0" fmla="*/ 13894 w 18338"/>
                  <a:gd name="connsiteY0" fmla="*/ 1351 h 18417"/>
                  <a:gd name="connsiteX1" fmla="*/ 1335 w 18338"/>
                  <a:gd name="connsiteY1" fmla="*/ 4401 h 18417"/>
                  <a:gd name="connsiteX2" fmla="*/ 4445 w 18338"/>
                  <a:gd name="connsiteY2" fmla="*/ 17080 h 18417"/>
                  <a:gd name="connsiteX3" fmla="*/ 17004 w 18338"/>
                  <a:gd name="connsiteY3" fmla="*/ 14030 h 18417"/>
                  <a:gd name="connsiteX4" fmla="*/ 13894 w 18338"/>
                  <a:gd name="connsiteY4" fmla="*/ 1351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7">
                    <a:moveTo>
                      <a:pt x="13894" y="1351"/>
                    </a:moveTo>
                    <a:cubicBezTo>
                      <a:pt x="9588" y="-1281"/>
                      <a:pt x="3907" y="35"/>
                      <a:pt x="1335" y="4401"/>
                    </a:cubicBezTo>
                    <a:cubicBezTo>
                      <a:pt x="-1297" y="8767"/>
                      <a:pt x="79" y="14389"/>
                      <a:pt x="4445" y="17080"/>
                    </a:cubicBezTo>
                    <a:cubicBezTo>
                      <a:pt x="8751" y="19712"/>
                      <a:pt x="14432" y="18336"/>
                      <a:pt x="17004" y="14030"/>
                    </a:cubicBezTo>
                    <a:cubicBezTo>
                      <a:pt x="19635" y="9664"/>
                      <a:pt x="18260" y="4042"/>
                      <a:pt x="13894" y="1351"/>
                    </a:cubicBezTo>
                    <a:close/>
                  </a:path>
                </a:pathLst>
              </a:custGeom>
              <a:grpFill/>
              <a:ln w="5978" cap="flat">
                <a:noFill/>
                <a:prstDash val="solid"/>
                <a:miter/>
              </a:ln>
            </p:spPr>
            <p:txBody>
              <a:bodyPr rtlCol="0" anchor="ctr"/>
              <a:lstStyle/>
              <a:p>
                <a:endParaRPr lang="en-GB"/>
              </a:p>
            </p:txBody>
          </p:sp>
        </p:grpSp>
        <p:grpSp>
          <p:nvGrpSpPr>
            <p:cNvPr id="392" name="Graphic 3">
              <a:extLst>
                <a:ext uri="{FF2B5EF4-FFF2-40B4-BE49-F238E27FC236}">
                  <a16:creationId xmlns:a16="http://schemas.microsoft.com/office/drawing/2014/main" id="{F6744CE0-2EC4-41FE-932B-982CCC485C81}"/>
                </a:ext>
              </a:extLst>
            </p:cNvPr>
            <p:cNvGrpSpPr/>
            <p:nvPr/>
          </p:nvGrpSpPr>
          <p:grpSpPr>
            <a:xfrm>
              <a:off x="6685437" y="1573129"/>
              <a:ext cx="112231" cy="253324"/>
              <a:chOff x="6685437" y="1573129"/>
              <a:chExt cx="112231" cy="253324"/>
            </a:xfrm>
            <a:grpFill/>
          </p:grpSpPr>
          <p:sp>
            <p:nvSpPr>
              <p:cNvPr id="4206" name="Vrije vorm: vorm 4205">
                <a:extLst>
                  <a:ext uri="{FF2B5EF4-FFF2-40B4-BE49-F238E27FC236}">
                    <a16:creationId xmlns:a16="http://schemas.microsoft.com/office/drawing/2014/main" id="{C33C4D99-AFA3-463F-8D8F-CEDA7CFE04CE}"/>
                  </a:ext>
                </a:extLst>
              </p:cNvPr>
              <p:cNvSpPr/>
              <p:nvPr/>
            </p:nvSpPr>
            <p:spPr>
              <a:xfrm>
                <a:off x="6693046" y="1581343"/>
                <a:ext cx="97067" cy="236896"/>
              </a:xfrm>
              <a:custGeom>
                <a:avLst/>
                <a:gdLst>
                  <a:gd name="connsiteX0" fmla="*/ 97067 w 97067"/>
                  <a:gd name="connsiteY0" fmla="*/ 1136 h 236896"/>
                  <a:gd name="connsiteX1" fmla="*/ 2811 w 97067"/>
                  <a:gd name="connsiteY1" fmla="*/ 236896 h 236896"/>
                  <a:gd name="connsiteX2" fmla="*/ 0 w 97067"/>
                  <a:gd name="connsiteY2" fmla="*/ 235760 h 236896"/>
                  <a:gd name="connsiteX3" fmla="*/ 94256 w 97067"/>
                  <a:gd name="connsiteY3" fmla="*/ 0 h 236896"/>
                </a:gdLst>
                <a:ahLst/>
                <a:cxnLst>
                  <a:cxn ang="0">
                    <a:pos x="connsiteX0" y="connsiteY0"/>
                  </a:cxn>
                  <a:cxn ang="0">
                    <a:pos x="connsiteX1" y="connsiteY1"/>
                  </a:cxn>
                  <a:cxn ang="0">
                    <a:pos x="connsiteX2" y="connsiteY2"/>
                  </a:cxn>
                  <a:cxn ang="0">
                    <a:pos x="connsiteX3" y="connsiteY3"/>
                  </a:cxn>
                </a:cxnLst>
                <a:rect l="l" t="t" r="r" b="b"/>
                <a:pathLst>
                  <a:path w="97067" h="236896">
                    <a:moveTo>
                      <a:pt x="97067" y="1136"/>
                    </a:moveTo>
                    <a:lnTo>
                      <a:pt x="2811" y="236896"/>
                    </a:lnTo>
                    <a:lnTo>
                      <a:pt x="0" y="235760"/>
                    </a:lnTo>
                    <a:lnTo>
                      <a:pt x="94256" y="0"/>
                    </a:lnTo>
                    <a:close/>
                  </a:path>
                </a:pathLst>
              </a:custGeom>
              <a:grpFill/>
              <a:ln w="5978" cap="flat">
                <a:noFill/>
                <a:prstDash val="solid"/>
                <a:miter/>
              </a:ln>
            </p:spPr>
            <p:txBody>
              <a:bodyPr rtlCol="0" anchor="ctr"/>
              <a:lstStyle/>
              <a:p>
                <a:endParaRPr lang="en-GB"/>
              </a:p>
            </p:txBody>
          </p:sp>
          <p:sp>
            <p:nvSpPr>
              <p:cNvPr id="4207" name="Vrije vorm: vorm 4206">
                <a:extLst>
                  <a:ext uri="{FF2B5EF4-FFF2-40B4-BE49-F238E27FC236}">
                    <a16:creationId xmlns:a16="http://schemas.microsoft.com/office/drawing/2014/main" id="{51C55CA9-FCD6-48F6-B32D-0C24AF4D8764}"/>
                  </a:ext>
                </a:extLst>
              </p:cNvPr>
              <p:cNvSpPr/>
              <p:nvPr/>
            </p:nvSpPr>
            <p:spPr>
              <a:xfrm>
                <a:off x="6779359" y="1573129"/>
                <a:ext cx="18309" cy="18461"/>
              </a:xfrm>
              <a:custGeom>
                <a:avLst/>
                <a:gdLst>
                  <a:gd name="connsiteX0" fmla="*/ 646 w 18309"/>
                  <a:gd name="connsiteY0" fmla="*/ 5762 h 18461"/>
                  <a:gd name="connsiteX1" fmla="*/ 12547 w 18309"/>
                  <a:gd name="connsiteY1" fmla="*/ 679 h 18461"/>
                  <a:gd name="connsiteX2" fmla="*/ 17631 w 18309"/>
                  <a:gd name="connsiteY2" fmla="*/ 12700 h 18461"/>
                  <a:gd name="connsiteX3" fmla="*/ 5729 w 18309"/>
                  <a:gd name="connsiteY3" fmla="*/ 17783 h 18461"/>
                  <a:gd name="connsiteX4" fmla="*/ 646 w 18309"/>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646" y="5762"/>
                    </a:moveTo>
                    <a:cubicBezTo>
                      <a:pt x="2560" y="1037"/>
                      <a:pt x="7883" y="-1235"/>
                      <a:pt x="12547" y="679"/>
                    </a:cubicBezTo>
                    <a:cubicBezTo>
                      <a:pt x="17272" y="2592"/>
                      <a:pt x="19545" y="7975"/>
                      <a:pt x="17631" y="12700"/>
                    </a:cubicBezTo>
                    <a:cubicBezTo>
                      <a:pt x="15717" y="17425"/>
                      <a:pt x="10395" y="19697"/>
                      <a:pt x="5729" y="17783"/>
                    </a:cubicBezTo>
                    <a:cubicBezTo>
                      <a:pt x="1065" y="15810"/>
                      <a:pt x="-1208" y="10427"/>
                      <a:pt x="646" y="5762"/>
                    </a:cubicBezTo>
                    <a:close/>
                  </a:path>
                </a:pathLst>
              </a:custGeom>
              <a:grpFill/>
              <a:ln w="5978" cap="flat">
                <a:noFill/>
                <a:prstDash val="solid"/>
                <a:miter/>
              </a:ln>
            </p:spPr>
            <p:txBody>
              <a:bodyPr rtlCol="0" anchor="ctr"/>
              <a:lstStyle/>
              <a:p>
                <a:endParaRPr lang="en-GB"/>
              </a:p>
            </p:txBody>
          </p:sp>
          <p:sp>
            <p:nvSpPr>
              <p:cNvPr id="4208" name="Vrije vorm: vorm 4207">
                <a:extLst>
                  <a:ext uri="{FF2B5EF4-FFF2-40B4-BE49-F238E27FC236}">
                    <a16:creationId xmlns:a16="http://schemas.microsoft.com/office/drawing/2014/main" id="{401B2643-6110-41D6-8310-DD3FA42B99EF}"/>
                  </a:ext>
                </a:extLst>
              </p:cNvPr>
              <p:cNvSpPr/>
              <p:nvPr/>
            </p:nvSpPr>
            <p:spPr>
              <a:xfrm>
                <a:off x="6685437" y="1807992"/>
                <a:ext cx="18326" cy="18461"/>
              </a:xfrm>
              <a:custGeom>
                <a:avLst/>
                <a:gdLst>
                  <a:gd name="connsiteX0" fmla="*/ 671 w 18326"/>
                  <a:gd name="connsiteY0" fmla="*/ 5762 h 18461"/>
                  <a:gd name="connsiteX1" fmla="*/ 5755 w 18326"/>
                  <a:gd name="connsiteY1" fmla="*/ 17783 h 18461"/>
                  <a:gd name="connsiteX2" fmla="*/ 17656 w 18326"/>
                  <a:gd name="connsiteY2" fmla="*/ 12700 h 18461"/>
                  <a:gd name="connsiteX3" fmla="*/ 12572 w 18326"/>
                  <a:gd name="connsiteY3" fmla="*/ 679 h 18461"/>
                  <a:gd name="connsiteX4" fmla="*/ 671 w 18326"/>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671" y="5762"/>
                    </a:moveTo>
                    <a:cubicBezTo>
                      <a:pt x="-1243" y="10487"/>
                      <a:pt x="1089" y="15870"/>
                      <a:pt x="5755" y="17783"/>
                    </a:cubicBezTo>
                    <a:cubicBezTo>
                      <a:pt x="10419" y="19697"/>
                      <a:pt x="15802" y="17425"/>
                      <a:pt x="17656" y="12700"/>
                    </a:cubicBezTo>
                    <a:cubicBezTo>
                      <a:pt x="19570" y="7975"/>
                      <a:pt x="17237" y="2592"/>
                      <a:pt x="12572" y="679"/>
                    </a:cubicBezTo>
                    <a:cubicBezTo>
                      <a:pt x="7908" y="-1235"/>
                      <a:pt x="2585" y="1037"/>
                      <a:pt x="671" y="5762"/>
                    </a:cubicBezTo>
                    <a:close/>
                  </a:path>
                </a:pathLst>
              </a:custGeom>
              <a:grpFill/>
              <a:ln w="5978" cap="flat">
                <a:noFill/>
                <a:prstDash val="solid"/>
                <a:miter/>
              </a:ln>
            </p:spPr>
            <p:txBody>
              <a:bodyPr rtlCol="0" anchor="ctr"/>
              <a:lstStyle/>
              <a:p>
                <a:endParaRPr lang="en-GB"/>
              </a:p>
            </p:txBody>
          </p:sp>
        </p:grpSp>
        <p:grpSp>
          <p:nvGrpSpPr>
            <p:cNvPr id="393" name="Graphic 3">
              <a:extLst>
                <a:ext uri="{FF2B5EF4-FFF2-40B4-BE49-F238E27FC236}">
                  <a16:creationId xmlns:a16="http://schemas.microsoft.com/office/drawing/2014/main" id="{E89A07AE-A8E3-440D-AD60-992E7528A431}"/>
                </a:ext>
              </a:extLst>
            </p:cNvPr>
            <p:cNvGrpSpPr/>
            <p:nvPr/>
          </p:nvGrpSpPr>
          <p:grpSpPr>
            <a:xfrm>
              <a:off x="6706727" y="1611113"/>
              <a:ext cx="114917" cy="247510"/>
              <a:chOff x="6706727" y="1611113"/>
              <a:chExt cx="114917" cy="247510"/>
            </a:xfrm>
            <a:grpFill/>
          </p:grpSpPr>
          <p:sp>
            <p:nvSpPr>
              <p:cNvPr id="4203" name="Vrije vorm: vorm 4202">
                <a:extLst>
                  <a:ext uri="{FF2B5EF4-FFF2-40B4-BE49-F238E27FC236}">
                    <a16:creationId xmlns:a16="http://schemas.microsoft.com/office/drawing/2014/main" id="{F5ADABF2-C012-4643-B110-102DEDF3F114}"/>
                  </a:ext>
                </a:extLst>
              </p:cNvPr>
              <p:cNvSpPr/>
              <p:nvPr/>
            </p:nvSpPr>
            <p:spPr>
              <a:xfrm>
                <a:off x="6714277" y="1619261"/>
                <a:ext cx="99758" cy="231214"/>
              </a:xfrm>
              <a:custGeom>
                <a:avLst/>
                <a:gdLst>
                  <a:gd name="connsiteX0" fmla="*/ 99758 w 99758"/>
                  <a:gd name="connsiteY0" fmla="*/ 1196 h 231214"/>
                  <a:gd name="connsiteX1" fmla="*/ 2811 w 99758"/>
                  <a:gd name="connsiteY1" fmla="*/ 231215 h 231214"/>
                  <a:gd name="connsiteX2" fmla="*/ 0 w 99758"/>
                  <a:gd name="connsiteY2" fmla="*/ 230018 h 231214"/>
                  <a:gd name="connsiteX3" fmla="*/ 96947 w 99758"/>
                  <a:gd name="connsiteY3" fmla="*/ 0 h 231214"/>
                </a:gdLst>
                <a:ahLst/>
                <a:cxnLst>
                  <a:cxn ang="0">
                    <a:pos x="connsiteX0" y="connsiteY0"/>
                  </a:cxn>
                  <a:cxn ang="0">
                    <a:pos x="connsiteX1" y="connsiteY1"/>
                  </a:cxn>
                  <a:cxn ang="0">
                    <a:pos x="connsiteX2" y="connsiteY2"/>
                  </a:cxn>
                  <a:cxn ang="0">
                    <a:pos x="connsiteX3" y="connsiteY3"/>
                  </a:cxn>
                </a:cxnLst>
                <a:rect l="l" t="t" r="r" b="b"/>
                <a:pathLst>
                  <a:path w="99758" h="231214">
                    <a:moveTo>
                      <a:pt x="99758" y="1196"/>
                    </a:moveTo>
                    <a:lnTo>
                      <a:pt x="2811" y="231215"/>
                    </a:lnTo>
                    <a:lnTo>
                      <a:pt x="0" y="230018"/>
                    </a:lnTo>
                    <a:lnTo>
                      <a:pt x="96947" y="0"/>
                    </a:lnTo>
                    <a:close/>
                  </a:path>
                </a:pathLst>
              </a:custGeom>
              <a:grpFill/>
              <a:ln w="5978" cap="flat">
                <a:noFill/>
                <a:prstDash val="solid"/>
                <a:miter/>
              </a:ln>
            </p:spPr>
            <p:txBody>
              <a:bodyPr rtlCol="0" anchor="ctr"/>
              <a:lstStyle/>
              <a:p>
                <a:endParaRPr lang="en-GB"/>
              </a:p>
            </p:txBody>
          </p:sp>
          <p:sp>
            <p:nvSpPr>
              <p:cNvPr id="4204" name="Vrije vorm: vorm 4203">
                <a:extLst>
                  <a:ext uri="{FF2B5EF4-FFF2-40B4-BE49-F238E27FC236}">
                    <a16:creationId xmlns:a16="http://schemas.microsoft.com/office/drawing/2014/main" id="{F4EABB77-A5EE-4D94-A1D4-B52D534DDCC7}"/>
                  </a:ext>
                </a:extLst>
              </p:cNvPr>
              <p:cNvSpPr/>
              <p:nvPr/>
            </p:nvSpPr>
            <p:spPr>
              <a:xfrm>
                <a:off x="6803316" y="1611113"/>
                <a:ext cx="18329" cy="18388"/>
              </a:xfrm>
              <a:custGeom>
                <a:avLst/>
                <a:gdLst>
                  <a:gd name="connsiteX0" fmla="*/ 732 w 18329"/>
                  <a:gd name="connsiteY0" fmla="*/ 5576 h 18388"/>
                  <a:gd name="connsiteX1" fmla="*/ 12753 w 18329"/>
                  <a:gd name="connsiteY1" fmla="*/ 732 h 18388"/>
                  <a:gd name="connsiteX2" fmla="*/ 17597 w 18329"/>
                  <a:gd name="connsiteY2" fmla="*/ 12813 h 18388"/>
                  <a:gd name="connsiteX3" fmla="*/ 5576 w 18329"/>
                  <a:gd name="connsiteY3" fmla="*/ 17657 h 18388"/>
                  <a:gd name="connsiteX4" fmla="*/ 732 w 18329"/>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88">
                    <a:moveTo>
                      <a:pt x="732" y="5576"/>
                    </a:moveTo>
                    <a:cubicBezTo>
                      <a:pt x="2705" y="911"/>
                      <a:pt x="8088" y="-1242"/>
                      <a:pt x="12753" y="732"/>
                    </a:cubicBezTo>
                    <a:cubicBezTo>
                      <a:pt x="17418" y="2705"/>
                      <a:pt x="19571" y="8148"/>
                      <a:pt x="17597" y="12813"/>
                    </a:cubicBezTo>
                    <a:cubicBezTo>
                      <a:pt x="15624" y="17478"/>
                      <a:pt x="10241" y="19631"/>
                      <a:pt x="5576" y="17657"/>
                    </a:cubicBezTo>
                    <a:cubicBezTo>
                      <a:pt x="911" y="15684"/>
                      <a:pt x="-1242" y="10241"/>
                      <a:pt x="732" y="5576"/>
                    </a:cubicBezTo>
                    <a:close/>
                  </a:path>
                </a:pathLst>
              </a:custGeom>
              <a:grpFill/>
              <a:ln w="5978" cap="flat">
                <a:noFill/>
                <a:prstDash val="solid"/>
                <a:miter/>
              </a:ln>
            </p:spPr>
            <p:txBody>
              <a:bodyPr rtlCol="0" anchor="ctr"/>
              <a:lstStyle/>
              <a:p>
                <a:endParaRPr lang="en-GB"/>
              </a:p>
            </p:txBody>
          </p:sp>
          <p:sp>
            <p:nvSpPr>
              <p:cNvPr id="4205" name="Vrije vorm: vorm 4204">
                <a:extLst>
                  <a:ext uri="{FF2B5EF4-FFF2-40B4-BE49-F238E27FC236}">
                    <a16:creationId xmlns:a16="http://schemas.microsoft.com/office/drawing/2014/main" id="{D1C61252-F64E-4850-893F-15966C4C6FF7}"/>
                  </a:ext>
                </a:extLst>
              </p:cNvPr>
              <p:cNvSpPr/>
              <p:nvPr/>
            </p:nvSpPr>
            <p:spPr>
              <a:xfrm>
                <a:off x="6706727" y="1840234"/>
                <a:ext cx="18329" cy="18388"/>
              </a:xfrm>
              <a:custGeom>
                <a:avLst/>
                <a:gdLst>
                  <a:gd name="connsiteX0" fmla="*/ 732 w 18329"/>
                  <a:gd name="connsiteY0" fmla="*/ 5576 h 18388"/>
                  <a:gd name="connsiteX1" fmla="*/ 5576 w 18329"/>
                  <a:gd name="connsiteY1" fmla="*/ 17657 h 18388"/>
                  <a:gd name="connsiteX2" fmla="*/ 17597 w 18329"/>
                  <a:gd name="connsiteY2" fmla="*/ 12813 h 18388"/>
                  <a:gd name="connsiteX3" fmla="*/ 12753 w 18329"/>
                  <a:gd name="connsiteY3" fmla="*/ 732 h 18388"/>
                  <a:gd name="connsiteX4" fmla="*/ 732 w 18329"/>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88">
                    <a:moveTo>
                      <a:pt x="732" y="5576"/>
                    </a:moveTo>
                    <a:cubicBezTo>
                      <a:pt x="-1242" y="10241"/>
                      <a:pt x="911" y="15684"/>
                      <a:pt x="5576" y="17657"/>
                    </a:cubicBezTo>
                    <a:cubicBezTo>
                      <a:pt x="10241" y="19631"/>
                      <a:pt x="15624" y="17478"/>
                      <a:pt x="17597" y="12813"/>
                    </a:cubicBezTo>
                    <a:cubicBezTo>
                      <a:pt x="19571" y="8148"/>
                      <a:pt x="17418" y="2705"/>
                      <a:pt x="12753" y="732"/>
                    </a:cubicBezTo>
                    <a:cubicBezTo>
                      <a:pt x="8028" y="-1242"/>
                      <a:pt x="2705" y="911"/>
                      <a:pt x="732" y="5576"/>
                    </a:cubicBezTo>
                    <a:close/>
                  </a:path>
                </a:pathLst>
              </a:custGeom>
              <a:grpFill/>
              <a:ln w="5978" cap="flat">
                <a:noFill/>
                <a:prstDash val="solid"/>
                <a:miter/>
              </a:ln>
            </p:spPr>
            <p:txBody>
              <a:bodyPr rtlCol="0" anchor="ctr"/>
              <a:lstStyle/>
              <a:p>
                <a:endParaRPr lang="en-GB"/>
              </a:p>
            </p:txBody>
          </p:sp>
        </p:grpSp>
        <p:grpSp>
          <p:nvGrpSpPr>
            <p:cNvPr id="394" name="Graphic 3">
              <a:extLst>
                <a:ext uri="{FF2B5EF4-FFF2-40B4-BE49-F238E27FC236}">
                  <a16:creationId xmlns:a16="http://schemas.microsoft.com/office/drawing/2014/main" id="{3750BCE0-30AE-42A5-B2DB-0F48F14B72AF}"/>
                </a:ext>
              </a:extLst>
            </p:cNvPr>
            <p:cNvGrpSpPr/>
            <p:nvPr/>
          </p:nvGrpSpPr>
          <p:grpSpPr>
            <a:xfrm>
              <a:off x="6695271" y="1582461"/>
              <a:ext cx="20990" cy="25813"/>
              <a:chOff x="6695271" y="1582461"/>
              <a:chExt cx="20990" cy="25813"/>
            </a:xfrm>
            <a:grpFill/>
          </p:grpSpPr>
          <p:sp>
            <p:nvSpPr>
              <p:cNvPr id="4201" name="Vrije vorm: vorm 4200">
                <a:extLst>
                  <a:ext uri="{FF2B5EF4-FFF2-40B4-BE49-F238E27FC236}">
                    <a16:creationId xmlns:a16="http://schemas.microsoft.com/office/drawing/2014/main" id="{01E8C826-227B-4FB9-86B6-AE158601E8D6}"/>
                  </a:ext>
                </a:extLst>
              </p:cNvPr>
              <p:cNvSpPr/>
              <p:nvPr/>
            </p:nvSpPr>
            <p:spPr>
              <a:xfrm>
                <a:off x="6695271" y="1589877"/>
                <a:ext cx="18335" cy="18397"/>
              </a:xfrm>
              <a:custGeom>
                <a:avLst/>
                <a:gdLst>
                  <a:gd name="connsiteX0" fmla="*/ 526 w 18335"/>
                  <a:gd name="connsiteY0" fmla="*/ 6059 h 18397"/>
                  <a:gd name="connsiteX1" fmla="*/ 12248 w 18335"/>
                  <a:gd name="connsiteY1" fmla="*/ 557 h 18397"/>
                  <a:gd name="connsiteX2" fmla="*/ 17810 w 18335"/>
                  <a:gd name="connsiteY2" fmla="*/ 12339 h 18397"/>
                  <a:gd name="connsiteX3" fmla="*/ 6088 w 18335"/>
                  <a:gd name="connsiteY3" fmla="*/ 17841 h 18397"/>
                  <a:gd name="connsiteX4" fmla="*/ 526 w 18335"/>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7">
                    <a:moveTo>
                      <a:pt x="526" y="6059"/>
                    </a:moveTo>
                    <a:cubicBezTo>
                      <a:pt x="2260" y="1274"/>
                      <a:pt x="7464" y="-1178"/>
                      <a:pt x="12248" y="557"/>
                    </a:cubicBezTo>
                    <a:cubicBezTo>
                      <a:pt x="17033" y="2291"/>
                      <a:pt x="19485" y="7554"/>
                      <a:pt x="17810" y="12339"/>
                    </a:cubicBezTo>
                    <a:cubicBezTo>
                      <a:pt x="16076" y="17123"/>
                      <a:pt x="10873" y="19575"/>
                      <a:pt x="6088" y="17841"/>
                    </a:cubicBezTo>
                    <a:cubicBezTo>
                      <a:pt x="1303" y="16107"/>
                      <a:pt x="-1149" y="10843"/>
                      <a:pt x="526" y="6059"/>
                    </a:cubicBezTo>
                    <a:close/>
                  </a:path>
                </a:pathLst>
              </a:custGeom>
              <a:grpFill/>
              <a:ln w="5978" cap="flat">
                <a:noFill/>
                <a:prstDash val="solid"/>
                <a:miter/>
              </a:ln>
            </p:spPr>
            <p:txBody>
              <a:bodyPr rtlCol="0" anchor="ctr"/>
              <a:lstStyle/>
              <a:p>
                <a:endParaRPr lang="en-GB"/>
              </a:p>
            </p:txBody>
          </p:sp>
          <p:sp>
            <p:nvSpPr>
              <p:cNvPr id="4202" name="Vrije vorm: vorm 4201">
                <a:extLst>
                  <a:ext uri="{FF2B5EF4-FFF2-40B4-BE49-F238E27FC236}">
                    <a16:creationId xmlns:a16="http://schemas.microsoft.com/office/drawing/2014/main" id="{F26F49A6-72F8-486C-9B79-4A99515AE5A9}"/>
                  </a:ext>
                </a:extLst>
              </p:cNvPr>
              <p:cNvSpPr/>
              <p:nvPr/>
            </p:nvSpPr>
            <p:spPr>
              <a:xfrm>
                <a:off x="6697879" y="1582461"/>
                <a:ext cx="18383" cy="18397"/>
              </a:xfrm>
              <a:custGeom>
                <a:avLst/>
                <a:gdLst>
                  <a:gd name="connsiteX0" fmla="*/ 549 w 18383"/>
                  <a:gd name="connsiteY0" fmla="*/ 6059 h 18397"/>
                  <a:gd name="connsiteX1" fmla="*/ 6111 w 18383"/>
                  <a:gd name="connsiteY1" fmla="*/ 17841 h 18397"/>
                  <a:gd name="connsiteX2" fmla="*/ 17834 w 18383"/>
                  <a:gd name="connsiteY2" fmla="*/ 12339 h 18397"/>
                  <a:gd name="connsiteX3" fmla="*/ 12272 w 18383"/>
                  <a:gd name="connsiteY3" fmla="*/ 557 h 18397"/>
                  <a:gd name="connsiteX4" fmla="*/ 549 w 18383"/>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397">
                    <a:moveTo>
                      <a:pt x="549" y="6059"/>
                    </a:moveTo>
                    <a:cubicBezTo>
                      <a:pt x="-1185" y="10843"/>
                      <a:pt x="1327" y="16107"/>
                      <a:pt x="6111" y="17841"/>
                    </a:cubicBezTo>
                    <a:cubicBezTo>
                      <a:pt x="10896" y="19575"/>
                      <a:pt x="16099" y="17123"/>
                      <a:pt x="17834" y="12339"/>
                    </a:cubicBezTo>
                    <a:cubicBezTo>
                      <a:pt x="19568" y="7554"/>
                      <a:pt x="17056" y="2291"/>
                      <a:pt x="12272" y="557"/>
                    </a:cubicBezTo>
                    <a:cubicBezTo>
                      <a:pt x="7547" y="-1178"/>
                      <a:pt x="2284" y="1274"/>
                      <a:pt x="549" y="6059"/>
                    </a:cubicBezTo>
                    <a:close/>
                  </a:path>
                </a:pathLst>
              </a:custGeom>
              <a:grpFill/>
              <a:ln w="5978" cap="flat">
                <a:noFill/>
                <a:prstDash val="solid"/>
                <a:miter/>
              </a:ln>
            </p:spPr>
            <p:txBody>
              <a:bodyPr rtlCol="0" anchor="ctr"/>
              <a:lstStyle/>
              <a:p>
                <a:endParaRPr lang="en-GB"/>
              </a:p>
            </p:txBody>
          </p:sp>
        </p:grpSp>
        <p:grpSp>
          <p:nvGrpSpPr>
            <p:cNvPr id="395" name="Graphic 3">
              <a:extLst>
                <a:ext uri="{FF2B5EF4-FFF2-40B4-BE49-F238E27FC236}">
                  <a16:creationId xmlns:a16="http://schemas.microsoft.com/office/drawing/2014/main" id="{CA72554D-2B8E-472E-9FA6-1F3CE24DAD0C}"/>
                </a:ext>
              </a:extLst>
            </p:cNvPr>
            <p:cNvGrpSpPr/>
            <p:nvPr/>
          </p:nvGrpSpPr>
          <p:grpSpPr>
            <a:xfrm>
              <a:off x="7551636" y="4292639"/>
              <a:ext cx="165272" cy="104791"/>
              <a:chOff x="7551636" y="4292639"/>
              <a:chExt cx="165272" cy="104791"/>
            </a:xfrm>
            <a:grpFill/>
          </p:grpSpPr>
          <p:sp>
            <p:nvSpPr>
              <p:cNvPr id="4198" name="Vrije vorm: vorm 4197">
                <a:extLst>
                  <a:ext uri="{FF2B5EF4-FFF2-40B4-BE49-F238E27FC236}">
                    <a16:creationId xmlns:a16="http://schemas.microsoft.com/office/drawing/2014/main" id="{36A2D180-1874-455A-AD17-DCB68520F196}"/>
                  </a:ext>
                </a:extLst>
              </p:cNvPr>
              <p:cNvSpPr/>
              <p:nvPr/>
            </p:nvSpPr>
            <p:spPr>
              <a:xfrm>
                <a:off x="7559652" y="4300298"/>
                <a:ext cx="149278" cy="89471"/>
              </a:xfrm>
              <a:custGeom>
                <a:avLst/>
                <a:gdLst>
                  <a:gd name="connsiteX0" fmla="*/ 149279 w 149278"/>
                  <a:gd name="connsiteY0" fmla="*/ 86780 h 89471"/>
                  <a:gd name="connsiteX1" fmla="*/ 147724 w 149278"/>
                  <a:gd name="connsiteY1" fmla="*/ 89472 h 89471"/>
                  <a:gd name="connsiteX2" fmla="*/ 0 w 149278"/>
                  <a:gd name="connsiteY2" fmla="*/ 2632 h 89471"/>
                  <a:gd name="connsiteX3" fmla="*/ 1495 w 149278"/>
                  <a:gd name="connsiteY3" fmla="*/ 0 h 89471"/>
                </a:gdLst>
                <a:ahLst/>
                <a:cxnLst>
                  <a:cxn ang="0">
                    <a:pos x="connsiteX0" y="connsiteY0"/>
                  </a:cxn>
                  <a:cxn ang="0">
                    <a:pos x="connsiteX1" y="connsiteY1"/>
                  </a:cxn>
                  <a:cxn ang="0">
                    <a:pos x="connsiteX2" y="connsiteY2"/>
                  </a:cxn>
                  <a:cxn ang="0">
                    <a:pos x="connsiteX3" y="connsiteY3"/>
                  </a:cxn>
                </a:cxnLst>
                <a:rect l="l" t="t" r="r" b="b"/>
                <a:pathLst>
                  <a:path w="149278" h="89471">
                    <a:moveTo>
                      <a:pt x="149279" y="86780"/>
                    </a:moveTo>
                    <a:lnTo>
                      <a:pt x="147724" y="89472"/>
                    </a:lnTo>
                    <a:lnTo>
                      <a:pt x="0" y="2632"/>
                    </a:lnTo>
                    <a:lnTo>
                      <a:pt x="1495" y="0"/>
                    </a:lnTo>
                    <a:close/>
                  </a:path>
                </a:pathLst>
              </a:custGeom>
              <a:grpFill/>
              <a:ln w="5978" cap="flat">
                <a:noFill/>
                <a:prstDash val="solid"/>
                <a:miter/>
              </a:ln>
            </p:spPr>
            <p:txBody>
              <a:bodyPr rtlCol="0" anchor="ctr"/>
              <a:lstStyle/>
              <a:p>
                <a:endParaRPr lang="en-GB"/>
              </a:p>
            </p:txBody>
          </p:sp>
          <p:sp>
            <p:nvSpPr>
              <p:cNvPr id="4199" name="Vrije vorm: vorm 4198">
                <a:extLst>
                  <a:ext uri="{FF2B5EF4-FFF2-40B4-BE49-F238E27FC236}">
                    <a16:creationId xmlns:a16="http://schemas.microsoft.com/office/drawing/2014/main" id="{C06860D0-10B1-416F-9108-FDA888EE515A}"/>
                  </a:ext>
                </a:extLst>
              </p:cNvPr>
              <p:cNvSpPr/>
              <p:nvPr/>
            </p:nvSpPr>
            <p:spPr>
              <a:xfrm>
                <a:off x="7698621" y="4378987"/>
                <a:ext cx="18286" cy="18442"/>
              </a:xfrm>
              <a:custGeom>
                <a:avLst/>
                <a:gdLst>
                  <a:gd name="connsiteX0" fmla="*/ 13718 w 18286"/>
                  <a:gd name="connsiteY0" fmla="*/ 1274 h 18442"/>
                  <a:gd name="connsiteX1" fmla="*/ 17068 w 18286"/>
                  <a:gd name="connsiteY1" fmla="*/ 13893 h 18442"/>
                  <a:gd name="connsiteX2" fmla="*/ 4568 w 18286"/>
                  <a:gd name="connsiteY2" fmla="*/ 17182 h 18442"/>
                  <a:gd name="connsiteX3" fmla="*/ 1219 w 18286"/>
                  <a:gd name="connsiteY3" fmla="*/ 4563 h 18442"/>
                  <a:gd name="connsiteX4" fmla="*/ 13718 w 18286"/>
                  <a:gd name="connsiteY4" fmla="*/ 127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442">
                    <a:moveTo>
                      <a:pt x="13718" y="1274"/>
                    </a:moveTo>
                    <a:cubicBezTo>
                      <a:pt x="18085" y="3845"/>
                      <a:pt x="19580" y="9467"/>
                      <a:pt x="17068" y="13893"/>
                    </a:cubicBezTo>
                    <a:cubicBezTo>
                      <a:pt x="14496" y="18259"/>
                      <a:pt x="8934" y="19754"/>
                      <a:pt x="4568" y="17182"/>
                    </a:cubicBezTo>
                    <a:cubicBezTo>
                      <a:pt x="202" y="14611"/>
                      <a:pt x="-1293" y="8989"/>
                      <a:pt x="1219" y="4563"/>
                    </a:cubicBezTo>
                    <a:cubicBezTo>
                      <a:pt x="3731" y="137"/>
                      <a:pt x="9352" y="-1298"/>
                      <a:pt x="13718" y="1274"/>
                    </a:cubicBezTo>
                    <a:close/>
                  </a:path>
                </a:pathLst>
              </a:custGeom>
              <a:grpFill/>
              <a:ln w="5978" cap="flat">
                <a:noFill/>
                <a:prstDash val="solid"/>
                <a:miter/>
              </a:ln>
            </p:spPr>
            <p:txBody>
              <a:bodyPr rtlCol="0" anchor="ctr"/>
              <a:lstStyle/>
              <a:p>
                <a:endParaRPr lang="en-GB"/>
              </a:p>
            </p:txBody>
          </p:sp>
          <p:sp>
            <p:nvSpPr>
              <p:cNvPr id="4200" name="Vrije vorm: vorm 4199">
                <a:extLst>
                  <a:ext uri="{FF2B5EF4-FFF2-40B4-BE49-F238E27FC236}">
                    <a16:creationId xmlns:a16="http://schemas.microsoft.com/office/drawing/2014/main" id="{0DEE3ED0-C686-4737-880A-E074AA6A183C}"/>
                  </a:ext>
                </a:extLst>
              </p:cNvPr>
              <p:cNvSpPr/>
              <p:nvPr/>
            </p:nvSpPr>
            <p:spPr>
              <a:xfrm>
                <a:off x="7551636" y="4292639"/>
                <a:ext cx="18325" cy="18429"/>
              </a:xfrm>
              <a:custGeom>
                <a:avLst/>
                <a:gdLst>
                  <a:gd name="connsiteX0" fmla="*/ 13758 w 18325"/>
                  <a:gd name="connsiteY0" fmla="*/ 1260 h 18429"/>
                  <a:gd name="connsiteX1" fmla="*/ 1258 w 18325"/>
                  <a:gd name="connsiteY1" fmla="*/ 4550 h 18429"/>
                  <a:gd name="connsiteX2" fmla="*/ 4607 w 18325"/>
                  <a:gd name="connsiteY2" fmla="*/ 17169 h 18429"/>
                  <a:gd name="connsiteX3" fmla="*/ 17107 w 18325"/>
                  <a:gd name="connsiteY3" fmla="*/ 13880 h 18429"/>
                  <a:gd name="connsiteX4" fmla="*/ 13758 w 18325"/>
                  <a:gd name="connsiteY4" fmla="*/ 126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9">
                    <a:moveTo>
                      <a:pt x="13758" y="1260"/>
                    </a:moveTo>
                    <a:cubicBezTo>
                      <a:pt x="9392" y="-1311"/>
                      <a:pt x="3770" y="184"/>
                      <a:pt x="1258" y="4550"/>
                    </a:cubicBezTo>
                    <a:cubicBezTo>
                      <a:pt x="-1314" y="8916"/>
                      <a:pt x="182" y="14597"/>
                      <a:pt x="4607" y="17169"/>
                    </a:cubicBezTo>
                    <a:cubicBezTo>
                      <a:pt x="8973" y="19741"/>
                      <a:pt x="14595" y="18246"/>
                      <a:pt x="17107" y="13880"/>
                    </a:cubicBezTo>
                    <a:cubicBezTo>
                      <a:pt x="19619" y="9514"/>
                      <a:pt x="18124" y="3832"/>
                      <a:pt x="13758" y="1260"/>
                    </a:cubicBezTo>
                    <a:close/>
                  </a:path>
                </a:pathLst>
              </a:custGeom>
              <a:grpFill/>
              <a:ln w="5978" cap="flat">
                <a:noFill/>
                <a:prstDash val="solid"/>
                <a:miter/>
              </a:ln>
            </p:spPr>
            <p:txBody>
              <a:bodyPr rtlCol="0" anchor="ctr"/>
              <a:lstStyle/>
              <a:p>
                <a:endParaRPr lang="en-GB"/>
              </a:p>
            </p:txBody>
          </p:sp>
        </p:grpSp>
        <p:grpSp>
          <p:nvGrpSpPr>
            <p:cNvPr id="396" name="Graphic 3">
              <a:extLst>
                <a:ext uri="{FF2B5EF4-FFF2-40B4-BE49-F238E27FC236}">
                  <a16:creationId xmlns:a16="http://schemas.microsoft.com/office/drawing/2014/main" id="{3E9519CE-946E-4CDE-AD30-5AEA9CA0B21F}"/>
                </a:ext>
              </a:extLst>
            </p:cNvPr>
            <p:cNvGrpSpPr/>
            <p:nvPr/>
          </p:nvGrpSpPr>
          <p:grpSpPr>
            <a:xfrm>
              <a:off x="7470087" y="4318633"/>
              <a:ext cx="373180" cy="290622"/>
              <a:chOff x="7470087" y="4318633"/>
              <a:chExt cx="373180" cy="290622"/>
            </a:xfrm>
            <a:grpFill/>
          </p:grpSpPr>
          <p:sp>
            <p:nvSpPr>
              <p:cNvPr id="4195" name="Vrije vorm: vorm 4194">
                <a:extLst>
                  <a:ext uri="{FF2B5EF4-FFF2-40B4-BE49-F238E27FC236}">
                    <a16:creationId xmlns:a16="http://schemas.microsoft.com/office/drawing/2014/main" id="{D9A2BD47-6201-4838-B807-EE5B7AD89DF8}"/>
                  </a:ext>
                </a:extLst>
              </p:cNvPr>
              <p:cNvSpPr/>
              <p:nvPr/>
            </p:nvSpPr>
            <p:spPr>
              <a:xfrm>
                <a:off x="7477956" y="4326374"/>
                <a:ext cx="357408" cy="275173"/>
              </a:xfrm>
              <a:custGeom>
                <a:avLst/>
                <a:gdLst>
                  <a:gd name="connsiteX0" fmla="*/ 357408 w 357408"/>
                  <a:gd name="connsiteY0" fmla="*/ 272721 h 275173"/>
                  <a:gd name="connsiteX1" fmla="*/ 355554 w 357408"/>
                  <a:gd name="connsiteY1" fmla="*/ 275173 h 275173"/>
                  <a:gd name="connsiteX2" fmla="*/ 0 w 357408"/>
                  <a:gd name="connsiteY2" fmla="*/ 2392 h 275173"/>
                  <a:gd name="connsiteX3" fmla="*/ 1854 w 357408"/>
                  <a:gd name="connsiteY3" fmla="*/ 0 h 275173"/>
                </a:gdLst>
                <a:ahLst/>
                <a:cxnLst>
                  <a:cxn ang="0">
                    <a:pos x="connsiteX0" y="connsiteY0"/>
                  </a:cxn>
                  <a:cxn ang="0">
                    <a:pos x="connsiteX1" y="connsiteY1"/>
                  </a:cxn>
                  <a:cxn ang="0">
                    <a:pos x="connsiteX2" y="connsiteY2"/>
                  </a:cxn>
                  <a:cxn ang="0">
                    <a:pos x="connsiteX3" y="connsiteY3"/>
                  </a:cxn>
                </a:cxnLst>
                <a:rect l="l" t="t" r="r" b="b"/>
                <a:pathLst>
                  <a:path w="357408" h="275173">
                    <a:moveTo>
                      <a:pt x="357408" y="272721"/>
                    </a:moveTo>
                    <a:lnTo>
                      <a:pt x="355554" y="275173"/>
                    </a:lnTo>
                    <a:lnTo>
                      <a:pt x="0" y="2392"/>
                    </a:lnTo>
                    <a:lnTo>
                      <a:pt x="1854" y="0"/>
                    </a:lnTo>
                    <a:close/>
                  </a:path>
                </a:pathLst>
              </a:custGeom>
              <a:grpFill/>
              <a:ln w="5978" cap="flat">
                <a:noFill/>
                <a:prstDash val="solid"/>
                <a:miter/>
              </a:ln>
            </p:spPr>
            <p:txBody>
              <a:bodyPr rtlCol="0" anchor="ctr"/>
              <a:lstStyle/>
              <a:p>
                <a:endParaRPr lang="en-GB"/>
              </a:p>
            </p:txBody>
          </p:sp>
          <p:sp>
            <p:nvSpPr>
              <p:cNvPr id="4196" name="Vrije vorm: vorm 4195">
                <a:extLst>
                  <a:ext uri="{FF2B5EF4-FFF2-40B4-BE49-F238E27FC236}">
                    <a16:creationId xmlns:a16="http://schemas.microsoft.com/office/drawing/2014/main" id="{6133DA42-72C8-4658-AAA5-7EE9F1FE1713}"/>
                  </a:ext>
                </a:extLst>
              </p:cNvPr>
              <p:cNvSpPr/>
              <p:nvPr/>
            </p:nvSpPr>
            <p:spPr>
              <a:xfrm>
                <a:off x="7470087" y="4318633"/>
                <a:ext cx="18369" cy="18439"/>
              </a:xfrm>
              <a:custGeom>
                <a:avLst/>
                <a:gdLst>
                  <a:gd name="connsiteX0" fmla="*/ 3623 w 18369"/>
                  <a:gd name="connsiteY0" fmla="*/ 16534 h 18439"/>
                  <a:gd name="connsiteX1" fmla="*/ 1888 w 18369"/>
                  <a:gd name="connsiteY1" fmla="*/ 3615 h 18439"/>
                  <a:gd name="connsiteX2" fmla="*/ 14747 w 18369"/>
                  <a:gd name="connsiteY2" fmla="*/ 1881 h 18439"/>
                  <a:gd name="connsiteX3" fmla="*/ 16481 w 18369"/>
                  <a:gd name="connsiteY3" fmla="*/ 14799 h 18439"/>
                  <a:gd name="connsiteX4" fmla="*/ 3623 w 18369"/>
                  <a:gd name="connsiteY4" fmla="*/ 165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39">
                    <a:moveTo>
                      <a:pt x="3623" y="16534"/>
                    </a:moveTo>
                    <a:cubicBezTo>
                      <a:pt x="-384" y="13423"/>
                      <a:pt x="-1222" y="7682"/>
                      <a:pt x="1888" y="3615"/>
                    </a:cubicBezTo>
                    <a:cubicBezTo>
                      <a:pt x="4939" y="-452"/>
                      <a:pt x="10680" y="-1170"/>
                      <a:pt x="14747" y="1881"/>
                    </a:cubicBezTo>
                    <a:cubicBezTo>
                      <a:pt x="18754" y="4991"/>
                      <a:pt x="19591" y="10732"/>
                      <a:pt x="16481" y="14799"/>
                    </a:cubicBezTo>
                    <a:cubicBezTo>
                      <a:pt x="13372" y="18866"/>
                      <a:pt x="7630" y="19643"/>
                      <a:pt x="3623" y="16534"/>
                    </a:cubicBezTo>
                    <a:close/>
                  </a:path>
                </a:pathLst>
              </a:custGeom>
              <a:grpFill/>
              <a:ln w="5978" cap="flat">
                <a:noFill/>
                <a:prstDash val="solid"/>
                <a:miter/>
              </a:ln>
            </p:spPr>
            <p:txBody>
              <a:bodyPr rtlCol="0" anchor="ctr"/>
              <a:lstStyle/>
              <a:p>
                <a:endParaRPr lang="en-GB"/>
              </a:p>
            </p:txBody>
          </p:sp>
          <p:sp>
            <p:nvSpPr>
              <p:cNvPr id="4197" name="Vrije vorm: vorm 4196">
                <a:extLst>
                  <a:ext uri="{FF2B5EF4-FFF2-40B4-BE49-F238E27FC236}">
                    <a16:creationId xmlns:a16="http://schemas.microsoft.com/office/drawing/2014/main" id="{CD4CCB30-ACB6-4EF7-BFEF-372A211AC2B0}"/>
                  </a:ext>
                </a:extLst>
              </p:cNvPr>
              <p:cNvSpPr/>
              <p:nvPr/>
            </p:nvSpPr>
            <p:spPr>
              <a:xfrm>
                <a:off x="7824905" y="4590790"/>
                <a:ext cx="18362" cy="18464"/>
              </a:xfrm>
              <a:custGeom>
                <a:avLst/>
                <a:gdLst>
                  <a:gd name="connsiteX0" fmla="*/ 3641 w 18362"/>
                  <a:gd name="connsiteY0" fmla="*/ 16559 h 18464"/>
                  <a:gd name="connsiteX1" fmla="*/ 16500 w 18362"/>
                  <a:gd name="connsiteY1" fmla="*/ 14824 h 18464"/>
                  <a:gd name="connsiteX2" fmla="*/ 14765 w 18362"/>
                  <a:gd name="connsiteY2" fmla="*/ 1906 h 18464"/>
                  <a:gd name="connsiteX3" fmla="*/ 1906 w 18362"/>
                  <a:gd name="connsiteY3" fmla="*/ 3641 h 18464"/>
                  <a:gd name="connsiteX4" fmla="*/ 3641 w 18362"/>
                  <a:gd name="connsiteY4" fmla="*/ 1655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64">
                    <a:moveTo>
                      <a:pt x="3641" y="16559"/>
                    </a:moveTo>
                    <a:cubicBezTo>
                      <a:pt x="7648" y="19669"/>
                      <a:pt x="13449" y="18891"/>
                      <a:pt x="16500" y="14824"/>
                    </a:cubicBezTo>
                    <a:cubicBezTo>
                      <a:pt x="19550" y="10758"/>
                      <a:pt x="18772" y="5016"/>
                      <a:pt x="14765" y="1906"/>
                    </a:cubicBezTo>
                    <a:cubicBezTo>
                      <a:pt x="10758" y="-1204"/>
                      <a:pt x="4956" y="-426"/>
                      <a:pt x="1906" y="3641"/>
                    </a:cubicBezTo>
                    <a:cubicBezTo>
                      <a:pt x="-1204" y="7707"/>
                      <a:pt x="-426" y="13509"/>
                      <a:pt x="3641" y="16559"/>
                    </a:cubicBezTo>
                    <a:close/>
                  </a:path>
                </a:pathLst>
              </a:custGeom>
              <a:grpFill/>
              <a:ln w="5978" cap="flat">
                <a:noFill/>
                <a:prstDash val="solid"/>
                <a:miter/>
              </a:ln>
            </p:spPr>
            <p:txBody>
              <a:bodyPr rtlCol="0" anchor="ctr"/>
              <a:lstStyle/>
              <a:p>
                <a:endParaRPr lang="en-GB"/>
              </a:p>
            </p:txBody>
          </p:sp>
        </p:grpSp>
        <p:grpSp>
          <p:nvGrpSpPr>
            <p:cNvPr id="397" name="Graphic 3">
              <a:extLst>
                <a:ext uri="{FF2B5EF4-FFF2-40B4-BE49-F238E27FC236}">
                  <a16:creationId xmlns:a16="http://schemas.microsoft.com/office/drawing/2014/main" id="{AB4DFC5C-4585-436C-B154-67C570FBB0B5}"/>
                </a:ext>
              </a:extLst>
            </p:cNvPr>
            <p:cNvGrpSpPr/>
            <p:nvPr/>
          </p:nvGrpSpPr>
          <p:grpSpPr>
            <a:xfrm>
              <a:off x="6600860" y="1342570"/>
              <a:ext cx="115449" cy="326173"/>
              <a:chOff x="6600860" y="1342570"/>
              <a:chExt cx="115449" cy="326173"/>
            </a:xfrm>
            <a:grpFill/>
          </p:grpSpPr>
          <p:sp>
            <p:nvSpPr>
              <p:cNvPr id="4192" name="Vrije vorm: vorm 4191">
                <a:extLst>
                  <a:ext uri="{FF2B5EF4-FFF2-40B4-BE49-F238E27FC236}">
                    <a16:creationId xmlns:a16="http://schemas.microsoft.com/office/drawing/2014/main" id="{AE9CAC2A-BBBA-4B8B-BCF0-FE8671A82109}"/>
                  </a:ext>
                </a:extLst>
              </p:cNvPr>
              <p:cNvSpPr/>
              <p:nvPr/>
            </p:nvSpPr>
            <p:spPr>
              <a:xfrm>
                <a:off x="6608418" y="1350906"/>
                <a:ext cx="100296" cy="309502"/>
              </a:xfrm>
              <a:custGeom>
                <a:avLst/>
                <a:gdLst>
                  <a:gd name="connsiteX0" fmla="*/ 100297 w 100296"/>
                  <a:gd name="connsiteY0" fmla="*/ 897 h 309502"/>
                  <a:gd name="connsiteX1" fmla="*/ 2930 w 100296"/>
                  <a:gd name="connsiteY1" fmla="*/ 309502 h 309502"/>
                  <a:gd name="connsiteX2" fmla="*/ 0 w 100296"/>
                  <a:gd name="connsiteY2" fmla="*/ 308545 h 309502"/>
                  <a:gd name="connsiteX3" fmla="*/ 97426 w 100296"/>
                  <a:gd name="connsiteY3" fmla="*/ 0 h 309502"/>
                </a:gdLst>
                <a:ahLst/>
                <a:cxnLst>
                  <a:cxn ang="0">
                    <a:pos x="connsiteX0" y="connsiteY0"/>
                  </a:cxn>
                  <a:cxn ang="0">
                    <a:pos x="connsiteX1" y="connsiteY1"/>
                  </a:cxn>
                  <a:cxn ang="0">
                    <a:pos x="connsiteX2" y="connsiteY2"/>
                  </a:cxn>
                  <a:cxn ang="0">
                    <a:pos x="connsiteX3" y="connsiteY3"/>
                  </a:cxn>
                </a:cxnLst>
                <a:rect l="l" t="t" r="r" b="b"/>
                <a:pathLst>
                  <a:path w="100296" h="309502">
                    <a:moveTo>
                      <a:pt x="100297" y="897"/>
                    </a:moveTo>
                    <a:lnTo>
                      <a:pt x="2930" y="309502"/>
                    </a:lnTo>
                    <a:lnTo>
                      <a:pt x="0" y="308545"/>
                    </a:lnTo>
                    <a:lnTo>
                      <a:pt x="97426" y="0"/>
                    </a:lnTo>
                    <a:close/>
                  </a:path>
                </a:pathLst>
              </a:custGeom>
              <a:grpFill/>
              <a:ln w="5978" cap="flat">
                <a:noFill/>
                <a:prstDash val="solid"/>
                <a:miter/>
              </a:ln>
            </p:spPr>
            <p:txBody>
              <a:bodyPr rtlCol="0" anchor="ctr"/>
              <a:lstStyle/>
              <a:p>
                <a:endParaRPr lang="en-GB"/>
              </a:p>
            </p:txBody>
          </p:sp>
          <p:sp>
            <p:nvSpPr>
              <p:cNvPr id="4193" name="Vrije vorm: vorm 4192">
                <a:extLst>
                  <a:ext uri="{FF2B5EF4-FFF2-40B4-BE49-F238E27FC236}">
                    <a16:creationId xmlns:a16="http://schemas.microsoft.com/office/drawing/2014/main" id="{4A6A0DBF-EC1F-4FD2-8BD0-E6A2F2526F19}"/>
                  </a:ext>
                </a:extLst>
              </p:cNvPr>
              <p:cNvSpPr/>
              <p:nvPr/>
            </p:nvSpPr>
            <p:spPr>
              <a:xfrm>
                <a:off x="6697987" y="1342570"/>
                <a:ext cx="18323" cy="18465"/>
              </a:xfrm>
              <a:custGeom>
                <a:avLst/>
                <a:gdLst>
                  <a:gd name="connsiteX0" fmla="*/ 441 w 18323"/>
                  <a:gd name="connsiteY0" fmla="*/ 6422 h 18465"/>
                  <a:gd name="connsiteX1" fmla="*/ 11924 w 18323"/>
                  <a:gd name="connsiteY1" fmla="*/ 441 h 18465"/>
                  <a:gd name="connsiteX2" fmla="*/ 17905 w 18323"/>
                  <a:gd name="connsiteY2" fmla="*/ 12043 h 18465"/>
                  <a:gd name="connsiteX3" fmla="*/ 6422 w 18323"/>
                  <a:gd name="connsiteY3" fmla="*/ 18024 h 18465"/>
                  <a:gd name="connsiteX4" fmla="*/ 441 w 18323"/>
                  <a:gd name="connsiteY4" fmla="*/ 642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65">
                    <a:moveTo>
                      <a:pt x="441" y="6422"/>
                    </a:moveTo>
                    <a:cubicBezTo>
                      <a:pt x="1996" y="1577"/>
                      <a:pt x="7139" y="-1114"/>
                      <a:pt x="11924" y="441"/>
                    </a:cubicBezTo>
                    <a:cubicBezTo>
                      <a:pt x="16769" y="1996"/>
                      <a:pt x="19400" y="7199"/>
                      <a:pt x="17905" y="12043"/>
                    </a:cubicBezTo>
                    <a:cubicBezTo>
                      <a:pt x="16350" y="16888"/>
                      <a:pt x="11206" y="19579"/>
                      <a:pt x="6422" y="18024"/>
                    </a:cubicBezTo>
                    <a:cubicBezTo>
                      <a:pt x="1577" y="16409"/>
                      <a:pt x="-1114" y="11266"/>
                      <a:pt x="441" y="6422"/>
                    </a:cubicBezTo>
                    <a:close/>
                  </a:path>
                </a:pathLst>
              </a:custGeom>
              <a:grpFill/>
              <a:ln w="5978" cap="flat">
                <a:noFill/>
                <a:prstDash val="solid"/>
                <a:miter/>
              </a:ln>
            </p:spPr>
            <p:txBody>
              <a:bodyPr rtlCol="0" anchor="ctr"/>
              <a:lstStyle/>
              <a:p>
                <a:endParaRPr lang="en-GB"/>
              </a:p>
            </p:txBody>
          </p:sp>
          <p:sp>
            <p:nvSpPr>
              <p:cNvPr id="4194" name="Vrije vorm: vorm 4193">
                <a:extLst>
                  <a:ext uri="{FF2B5EF4-FFF2-40B4-BE49-F238E27FC236}">
                    <a16:creationId xmlns:a16="http://schemas.microsoft.com/office/drawing/2014/main" id="{ACE15AB1-6CD6-4EBF-B4F5-2D97F80D58AD}"/>
                  </a:ext>
                </a:extLst>
              </p:cNvPr>
              <p:cNvSpPr/>
              <p:nvPr/>
            </p:nvSpPr>
            <p:spPr>
              <a:xfrm>
                <a:off x="6600860" y="1650278"/>
                <a:ext cx="18345" cy="18465"/>
              </a:xfrm>
              <a:custGeom>
                <a:avLst/>
                <a:gdLst>
                  <a:gd name="connsiteX0" fmla="*/ 441 w 18345"/>
                  <a:gd name="connsiteY0" fmla="*/ 6422 h 18465"/>
                  <a:gd name="connsiteX1" fmla="*/ 6422 w 18345"/>
                  <a:gd name="connsiteY1" fmla="*/ 18024 h 18465"/>
                  <a:gd name="connsiteX2" fmla="*/ 17905 w 18345"/>
                  <a:gd name="connsiteY2" fmla="*/ 12043 h 18465"/>
                  <a:gd name="connsiteX3" fmla="*/ 11924 w 18345"/>
                  <a:gd name="connsiteY3" fmla="*/ 441 h 18465"/>
                  <a:gd name="connsiteX4" fmla="*/ 441 w 18345"/>
                  <a:gd name="connsiteY4" fmla="*/ 642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5">
                    <a:moveTo>
                      <a:pt x="441" y="6422"/>
                    </a:moveTo>
                    <a:cubicBezTo>
                      <a:pt x="-1114" y="11266"/>
                      <a:pt x="1577" y="16469"/>
                      <a:pt x="6422" y="18024"/>
                    </a:cubicBezTo>
                    <a:cubicBezTo>
                      <a:pt x="11266" y="19579"/>
                      <a:pt x="16409" y="16888"/>
                      <a:pt x="17905" y="12043"/>
                    </a:cubicBezTo>
                    <a:cubicBezTo>
                      <a:pt x="19460" y="7199"/>
                      <a:pt x="16768" y="1996"/>
                      <a:pt x="11924" y="441"/>
                    </a:cubicBezTo>
                    <a:cubicBezTo>
                      <a:pt x="7079" y="-1114"/>
                      <a:pt x="1936" y="1577"/>
                      <a:pt x="441" y="6422"/>
                    </a:cubicBezTo>
                    <a:close/>
                  </a:path>
                </a:pathLst>
              </a:custGeom>
              <a:grpFill/>
              <a:ln w="5978" cap="flat">
                <a:noFill/>
                <a:prstDash val="solid"/>
                <a:miter/>
              </a:ln>
            </p:spPr>
            <p:txBody>
              <a:bodyPr rtlCol="0" anchor="ctr"/>
              <a:lstStyle/>
              <a:p>
                <a:endParaRPr lang="en-GB"/>
              </a:p>
            </p:txBody>
          </p:sp>
        </p:grpSp>
        <p:grpSp>
          <p:nvGrpSpPr>
            <p:cNvPr id="398" name="Graphic 3">
              <a:extLst>
                <a:ext uri="{FF2B5EF4-FFF2-40B4-BE49-F238E27FC236}">
                  <a16:creationId xmlns:a16="http://schemas.microsoft.com/office/drawing/2014/main" id="{3917DBA6-E86F-4A6B-A52C-0F62705E39D1}"/>
                </a:ext>
              </a:extLst>
            </p:cNvPr>
            <p:cNvGrpSpPr/>
            <p:nvPr/>
          </p:nvGrpSpPr>
          <p:grpSpPr>
            <a:xfrm>
              <a:off x="6562226" y="1297767"/>
              <a:ext cx="211102" cy="495621"/>
              <a:chOff x="6562226" y="1297767"/>
              <a:chExt cx="211102" cy="495621"/>
            </a:xfrm>
            <a:grpFill/>
          </p:grpSpPr>
          <p:sp>
            <p:nvSpPr>
              <p:cNvPr id="4189" name="Vrije vorm: vorm 4188">
                <a:extLst>
                  <a:ext uri="{FF2B5EF4-FFF2-40B4-BE49-F238E27FC236}">
                    <a16:creationId xmlns:a16="http://schemas.microsoft.com/office/drawing/2014/main" id="{E88B2711-8104-42A8-ABEA-CC6BB2DFF947}"/>
                  </a:ext>
                </a:extLst>
              </p:cNvPr>
              <p:cNvSpPr/>
              <p:nvPr/>
            </p:nvSpPr>
            <p:spPr>
              <a:xfrm>
                <a:off x="6569842" y="1305991"/>
                <a:ext cx="195928" cy="479235"/>
              </a:xfrm>
              <a:custGeom>
                <a:avLst/>
                <a:gdLst>
                  <a:gd name="connsiteX0" fmla="*/ 195929 w 195928"/>
                  <a:gd name="connsiteY0" fmla="*/ 1136 h 479235"/>
                  <a:gd name="connsiteX1" fmla="*/ 2811 w 195928"/>
                  <a:gd name="connsiteY1" fmla="*/ 479235 h 479235"/>
                  <a:gd name="connsiteX2" fmla="*/ 0 w 195928"/>
                  <a:gd name="connsiteY2" fmla="*/ 478039 h 479235"/>
                  <a:gd name="connsiteX3" fmla="*/ 193118 w 195928"/>
                  <a:gd name="connsiteY3" fmla="*/ 0 h 479235"/>
                </a:gdLst>
                <a:ahLst/>
                <a:cxnLst>
                  <a:cxn ang="0">
                    <a:pos x="connsiteX0" y="connsiteY0"/>
                  </a:cxn>
                  <a:cxn ang="0">
                    <a:pos x="connsiteX1" y="connsiteY1"/>
                  </a:cxn>
                  <a:cxn ang="0">
                    <a:pos x="connsiteX2" y="connsiteY2"/>
                  </a:cxn>
                  <a:cxn ang="0">
                    <a:pos x="connsiteX3" y="connsiteY3"/>
                  </a:cxn>
                </a:cxnLst>
                <a:rect l="l" t="t" r="r" b="b"/>
                <a:pathLst>
                  <a:path w="195928" h="479235">
                    <a:moveTo>
                      <a:pt x="195929" y="1136"/>
                    </a:moveTo>
                    <a:lnTo>
                      <a:pt x="2811" y="479235"/>
                    </a:lnTo>
                    <a:lnTo>
                      <a:pt x="0" y="478039"/>
                    </a:lnTo>
                    <a:lnTo>
                      <a:pt x="193118" y="0"/>
                    </a:lnTo>
                    <a:close/>
                  </a:path>
                </a:pathLst>
              </a:custGeom>
              <a:grpFill/>
              <a:ln w="5978" cap="flat">
                <a:noFill/>
                <a:prstDash val="solid"/>
                <a:miter/>
              </a:ln>
            </p:spPr>
            <p:txBody>
              <a:bodyPr rtlCol="0" anchor="ctr"/>
              <a:lstStyle/>
              <a:p>
                <a:endParaRPr lang="en-GB"/>
              </a:p>
            </p:txBody>
          </p:sp>
          <p:sp>
            <p:nvSpPr>
              <p:cNvPr id="4190" name="Vrije vorm: vorm 4189">
                <a:extLst>
                  <a:ext uri="{FF2B5EF4-FFF2-40B4-BE49-F238E27FC236}">
                    <a16:creationId xmlns:a16="http://schemas.microsoft.com/office/drawing/2014/main" id="{0EFF4230-7CBA-405F-94AE-10701A3BA814}"/>
                  </a:ext>
                </a:extLst>
              </p:cNvPr>
              <p:cNvSpPr/>
              <p:nvPr/>
            </p:nvSpPr>
            <p:spPr>
              <a:xfrm>
                <a:off x="6562226" y="1774969"/>
                <a:ext cx="18343" cy="18419"/>
              </a:xfrm>
              <a:custGeom>
                <a:avLst/>
                <a:gdLst>
                  <a:gd name="connsiteX0" fmla="*/ 17664 w 18343"/>
                  <a:gd name="connsiteY0" fmla="*/ 12709 h 18419"/>
                  <a:gd name="connsiteX1" fmla="*/ 5703 w 18343"/>
                  <a:gd name="connsiteY1" fmla="*/ 17732 h 18419"/>
                  <a:gd name="connsiteX2" fmla="*/ 679 w 18343"/>
                  <a:gd name="connsiteY2" fmla="*/ 5711 h 18419"/>
                  <a:gd name="connsiteX3" fmla="*/ 12641 w 18343"/>
                  <a:gd name="connsiteY3" fmla="*/ 687 h 18419"/>
                  <a:gd name="connsiteX4" fmla="*/ 17664 w 18343"/>
                  <a:gd name="connsiteY4" fmla="*/ 12709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9">
                    <a:moveTo>
                      <a:pt x="17664" y="12709"/>
                    </a:moveTo>
                    <a:cubicBezTo>
                      <a:pt x="15751" y="17433"/>
                      <a:pt x="10428" y="19646"/>
                      <a:pt x="5703" y="17732"/>
                    </a:cubicBezTo>
                    <a:cubicBezTo>
                      <a:pt x="1038" y="15819"/>
                      <a:pt x="-1235" y="10436"/>
                      <a:pt x="679" y="5711"/>
                    </a:cubicBezTo>
                    <a:cubicBezTo>
                      <a:pt x="2593" y="986"/>
                      <a:pt x="7916" y="-1227"/>
                      <a:pt x="12641" y="687"/>
                    </a:cubicBezTo>
                    <a:cubicBezTo>
                      <a:pt x="17306" y="2601"/>
                      <a:pt x="19578" y="7984"/>
                      <a:pt x="17664" y="12709"/>
                    </a:cubicBezTo>
                    <a:close/>
                  </a:path>
                </a:pathLst>
              </a:custGeom>
              <a:grpFill/>
              <a:ln w="5978" cap="flat">
                <a:noFill/>
                <a:prstDash val="solid"/>
                <a:miter/>
              </a:ln>
            </p:spPr>
            <p:txBody>
              <a:bodyPr rtlCol="0" anchor="ctr"/>
              <a:lstStyle/>
              <a:p>
                <a:endParaRPr lang="en-GB"/>
              </a:p>
            </p:txBody>
          </p:sp>
          <p:sp>
            <p:nvSpPr>
              <p:cNvPr id="4191" name="Vrije vorm: vorm 4190">
                <a:extLst>
                  <a:ext uri="{FF2B5EF4-FFF2-40B4-BE49-F238E27FC236}">
                    <a16:creationId xmlns:a16="http://schemas.microsoft.com/office/drawing/2014/main" id="{682A48ED-88C5-459F-AEFF-C1A71467905D}"/>
                  </a:ext>
                </a:extLst>
              </p:cNvPr>
              <p:cNvSpPr/>
              <p:nvPr/>
            </p:nvSpPr>
            <p:spPr>
              <a:xfrm>
                <a:off x="6754984" y="1297767"/>
                <a:ext cx="18344" cy="18419"/>
              </a:xfrm>
              <a:custGeom>
                <a:avLst/>
                <a:gdLst>
                  <a:gd name="connsiteX0" fmla="*/ 17665 w 18344"/>
                  <a:gd name="connsiteY0" fmla="*/ 12709 h 18419"/>
                  <a:gd name="connsiteX1" fmla="*/ 12641 w 18344"/>
                  <a:gd name="connsiteY1" fmla="*/ 687 h 18419"/>
                  <a:gd name="connsiteX2" fmla="*/ 679 w 18344"/>
                  <a:gd name="connsiteY2" fmla="*/ 5711 h 18419"/>
                  <a:gd name="connsiteX3" fmla="*/ 5703 w 18344"/>
                  <a:gd name="connsiteY3" fmla="*/ 17732 h 18419"/>
                  <a:gd name="connsiteX4" fmla="*/ 17665 w 18344"/>
                  <a:gd name="connsiteY4" fmla="*/ 12709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19">
                    <a:moveTo>
                      <a:pt x="17665" y="12709"/>
                    </a:moveTo>
                    <a:cubicBezTo>
                      <a:pt x="19579" y="7984"/>
                      <a:pt x="17306" y="2601"/>
                      <a:pt x="12641" y="687"/>
                    </a:cubicBezTo>
                    <a:cubicBezTo>
                      <a:pt x="7976" y="-1227"/>
                      <a:pt x="2593" y="986"/>
                      <a:pt x="679" y="5711"/>
                    </a:cubicBezTo>
                    <a:cubicBezTo>
                      <a:pt x="-1235" y="10436"/>
                      <a:pt x="1038" y="15819"/>
                      <a:pt x="5703" y="17732"/>
                    </a:cubicBezTo>
                    <a:cubicBezTo>
                      <a:pt x="10368" y="19646"/>
                      <a:pt x="15811" y="17433"/>
                      <a:pt x="17665" y="12709"/>
                    </a:cubicBezTo>
                    <a:close/>
                  </a:path>
                </a:pathLst>
              </a:custGeom>
              <a:grpFill/>
              <a:ln w="5978" cap="flat">
                <a:noFill/>
                <a:prstDash val="solid"/>
                <a:miter/>
              </a:ln>
            </p:spPr>
            <p:txBody>
              <a:bodyPr rtlCol="0" anchor="ctr"/>
              <a:lstStyle/>
              <a:p>
                <a:endParaRPr lang="en-GB"/>
              </a:p>
            </p:txBody>
          </p:sp>
        </p:grpSp>
        <p:grpSp>
          <p:nvGrpSpPr>
            <p:cNvPr id="399" name="Graphic 3">
              <a:extLst>
                <a:ext uri="{FF2B5EF4-FFF2-40B4-BE49-F238E27FC236}">
                  <a16:creationId xmlns:a16="http://schemas.microsoft.com/office/drawing/2014/main" id="{A6BE82EB-06E2-426D-92E1-2E67310527CC}"/>
                </a:ext>
              </a:extLst>
            </p:cNvPr>
            <p:cNvGrpSpPr/>
            <p:nvPr/>
          </p:nvGrpSpPr>
          <p:grpSpPr>
            <a:xfrm>
              <a:off x="6657282" y="1531166"/>
              <a:ext cx="116979" cy="279088"/>
              <a:chOff x="6657282" y="1531166"/>
              <a:chExt cx="116979" cy="279088"/>
            </a:xfrm>
            <a:grpFill/>
          </p:grpSpPr>
          <p:sp>
            <p:nvSpPr>
              <p:cNvPr id="4186" name="Vrije vorm: vorm 4185">
                <a:extLst>
                  <a:ext uri="{FF2B5EF4-FFF2-40B4-BE49-F238E27FC236}">
                    <a16:creationId xmlns:a16="http://schemas.microsoft.com/office/drawing/2014/main" id="{391F3F7B-6D83-4CF6-8509-16B9914D9F17}"/>
                  </a:ext>
                </a:extLst>
              </p:cNvPr>
              <p:cNvSpPr/>
              <p:nvPr/>
            </p:nvSpPr>
            <p:spPr>
              <a:xfrm>
                <a:off x="6664876" y="1539418"/>
                <a:ext cx="101792" cy="262613"/>
              </a:xfrm>
              <a:custGeom>
                <a:avLst/>
                <a:gdLst>
                  <a:gd name="connsiteX0" fmla="*/ 101792 w 101792"/>
                  <a:gd name="connsiteY0" fmla="*/ 1076 h 262613"/>
                  <a:gd name="connsiteX1" fmla="*/ 2811 w 101792"/>
                  <a:gd name="connsiteY1" fmla="*/ 262614 h 262613"/>
                  <a:gd name="connsiteX2" fmla="*/ 0 w 101792"/>
                  <a:gd name="connsiteY2" fmla="*/ 261477 h 262613"/>
                  <a:gd name="connsiteX3" fmla="*/ 98921 w 101792"/>
                  <a:gd name="connsiteY3" fmla="*/ 0 h 262613"/>
                </a:gdLst>
                <a:ahLst/>
                <a:cxnLst>
                  <a:cxn ang="0">
                    <a:pos x="connsiteX0" y="connsiteY0"/>
                  </a:cxn>
                  <a:cxn ang="0">
                    <a:pos x="connsiteX1" y="connsiteY1"/>
                  </a:cxn>
                  <a:cxn ang="0">
                    <a:pos x="connsiteX2" y="connsiteY2"/>
                  </a:cxn>
                  <a:cxn ang="0">
                    <a:pos x="connsiteX3" y="connsiteY3"/>
                  </a:cxn>
                </a:cxnLst>
                <a:rect l="l" t="t" r="r" b="b"/>
                <a:pathLst>
                  <a:path w="101792" h="262613">
                    <a:moveTo>
                      <a:pt x="101792" y="1076"/>
                    </a:moveTo>
                    <a:lnTo>
                      <a:pt x="2811" y="262614"/>
                    </a:lnTo>
                    <a:lnTo>
                      <a:pt x="0" y="261477"/>
                    </a:lnTo>
                    <a:lnTo>
                      <a:pt x="98921" y="0"/>
                    </a:lnTo>
                    <a:close/>
                  </a:path>
                </a:pathLst>
              </a:custGeom>
              <a:grpFill/>
              <a:ln w="5978" cap="flat">
                <a:noFill/>
                <a:prstDash val="solid"/>
                <a:miter/>
              </a:ln>
            </p:spPr>
            <p:txBody>
              <a:bodyPr rtlCol="0" anchor="ctr"/>
              <a:lstStyle/>
              <a:p>
                <a:endParaRPr lang="en-GB"/>
              </a:p>
            </p:txBody>
          </p:sp>
          <p:sp>
            <p:nvSpPr>
              <p:cNvPr id="4187" name="Vrije vorm: vorm 4186">
                <a:extLst>
                  <a:ext uri="{FF2B5EF4-FFF2-40B4-BE49-F238E27FC236}">
                    <a16:creationId xmlns:a16="http://schemas.microsoft.com/office/drawing/2014/main" id="{4E44FEDA-DC51-479E-8CEE-8F81348CCE6B}"/>
                  </a:ext>
                </a:extLst>
              </p:cNvPr>
              <p:cNvSpPr/>
              <p:nvPr/>
            </p:nvSpPr>
            <p:spPr>
              <a:xfrm>
                <a:off x="6755905" y="1531166"/>
                <a:ext cx="18357" cy="18417"/>
              </a:xfrm>
              <a:custGeom>
                <a:avLst/>
                <a:gdLst>
                  <a:gd name="connsiteX0" fmla="*/ 596 w 18357"/>
                  <a:gd name="connsiteY0" fmla="*/ 5919 h 18417"/>
                  <a:gd name="connsiteX1" fmla="*/ 12438 w 18357"/>
                  <a:gd name="connsiteY1" fmla="*/ 596 h 18417"/>
                  <a:gd name="connsiteX2" fmla="*/ 17761 w 18357"/>
                  <a:gd name="connsiteY2" fmla="*/ 12498 h 18417"/>
                  <a:gd name="connsiteX3" fmla="*/ 5919 w 18357"/>
                  <a:gd name="connsiteY3" fmla="*/ 17821 h 18417"/>
                  <a:gd name="connsiteX4" fmla="*/ 596 w 18357"/>
                  <a:gd name="connsiteY4" fmla="*/ 5919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7">
                    <a:moveTo>
                      <a:pt x="596" y="5919"/>
                    </a:moveTo>
                    <a:cubicBezTo>
                      <a:pt x="2391" y="1195"/>
                      <a:pt x="7713" y="-1198"/>
                      <a:pt x="12438" y="596"/>
                    </a:cubicBezTo>
                    <a:cubicBezTo>
                      <a:pt x="17163" y="2450"/>
                      <a:pt x="19555" y="7773"/>
                      <a:pt x="17761" y="12498"/>
                    </a:cubicBezTo>
                    <a:cubicBezTo>
                      <a:pt x="15967" y="17223"/>
                      <a:pt x="10644" y="19615"/>
                      <a:pt x="5919" y="17821"/>
                    </a:cubicBezTo>
                    <a:cubicBezTo>
                      <a:pt x="1194" y="15967"/>
                      <a:pt x="-1198" y="10644"/>
                      <a:pt x="596" y="5919"/>
                    </a:cubicBezTo>
                    <a:close/>
                  </a:path>
                </a:pathLst>
              </a:custGeom>
              <a:grpFill/>
              <a:ln w="5978" cap="flat">
                <a:noFill/>
                <a:prstDash val="solid"/>
                <a:miter/>
              </a:ln>
            </p:spPr>
            <p:txBody>
              <a:bodyPr rtlCol="0" anchor="ctr"/>
              <a:lstStyle/>
              <a:p>
                <a:endParaRPr lang="en-GB"/>
              </a:p>
            </p:txBody>
          </p:sp>
          <p:sp>
            <p:nvSpPr>
              <p:cNvPr id="4188" name="Vrije vorm: vorm 4187">
                <a:extLst>
                  <a:ext uri="{FF2B5EF4-FFF2-40B4-BE49-F238E27FC236}">
                    <a16:creationId xmlns:a16="http://schemas.microsoft.com/office/drawing/2014/main" id="{62ED4B00-9D96-4D45-8D6A-EEFD86A5DBA2}"/>
                  </a:ext>
                </a:extLst>
              </p:cNvPr>
              <p:cNvSpPr/>
              <p:nvPr/>
            </p:nvSpPr>
            <p:spPr>
              <a:xfrm>
                <a:off x="6657282" y="1791806"/>
                <a:ext cx="18357" cy="18448"/>
              </a:xfrm>
              <a:custGeom>
                <a:avLst/>
                <a:gdLst>
                  <a:gd name="connsiteX0" fmla="*/ 597 w 18357"/>
                  <a:gd name="connsiteY0" fmla="*/ 5919 h 18448"/>
                  <a:gd name="connsiteX1" fmla="*/ 5919 w 18357"/>
                  <a:gd name="connsiteY1" fmla="*/ 17821 h 18448"/>
                  <a:gd name="connsiteX2" fmla="*/ 17761 w 18357"/>
                  <a:gd name="connsiteY2" fmla="*/ 12498 h 18448"/>
                  <a:gd name="connsiteX3" fmla="*/ 12438 w 18357"/>
                  <a:gd name="connsiteY3" fmla="*/ 596 h 18448"/>
                  <a:gd name="connsiteX4" fmla="*/ 597 w 18357"/>
                  <a:gd name="connsiteY4" fmla="*/ 5919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8">
                    <a:moveTo>
                      <a:pt x="597" y="5919"/>
                    </a:moveTo>
                    <a:cubicBezTo>
                      <a:pt x="-1198" y="10644"/>
                      <a:pt x="1194" y="16027"/>
                      <a:pt x="5919" y="17821"/>
                    </a:cubicBezTo>
                    <a:cubicBezTo>
                      <a:pt x="10644" y="19675"/>
                      <a:pt x="15967" y="17283"/>
                      <a:pt x="17761" y="12498"/>
                    </a:cubicBezTo>
                    <a:cubicBezTo>
                      <a:pt x="19555" y="7773"/>
                      <a:pt x="17163" y="2391"/>
                      <a:pt x="12438" y="596"/>
                    </a:cubicBezTo>
                    <a:cubicBezTo>
                      <a:pt x="7714" y="-1198"/>
                      <a:pt x="2391" y="1194"/>
                      <a:pt x="597" y="5919"/>
                    </a:cubicBezTo>
                    <a:close/>
                  </a:path>
                </a:pathLst>
              </a:custGeom>
              <a:grpFill/>
              <a:ln w="5978" cap="flat">
                <a:noFill/>
                <a:prstDash val="solid"/>
                <a:miter/>
              </a:ln>
            </p:spPr>
            <p:txBody>
              <a:bodyPr rtlCol="0" anchor="ctr"/>
              <a:lstStyle/>
              <a:p>
                <a:endParaRPr lang="en-GB"/>
              </a:p>
            </p:txBody>
          </p:sp>
        </p:grpSp>
        <p:grpSp>
          <p:nvGrpSpPr>
            <p:cNvPr id="400" name="Graphic 3">
              <a:extLst>
                <a:ext uri="{FF2B5EF4-FFF2-40B4-BE49-F238E27FC236}">
                  <a16:creationId xmlns:a16="http://schemas.microsoft.com/office/drawing/2014/main" id="{0128B0C9-5B68-4411-8CD7-E997B7DC8935}"/>
                </a:ext>
              </a:extLst>
            </p:cNvPr>
            <p:cNvGrpSpPr/>
            <p:nvPr/>
          </p:nvGrpSpPr>
          <p:grpSpPr>
            <a:xfrm>
              <a:off x="7520766" y="4237929"/>
              <a:ext cx="114353" cy="72467"/>
              <a:chOff x="7520766" y="4237929"/>
              <a:chExt cx="114353" cy="72467"/>
            </a:xfrm>
            <a:grpFill/>
          </p:grpSpPr>
          <p:sp>
            <p:nvSpPr>
              <p:cNvPr id="4183" name="Vrije vorm: vorm 4182">
                <a:extLst>
                  <a:ext uri="{FF2B5EF4-FFF2-40B4-BE49-F238E27FC236}">
                    <a16:creationId xmlns:a16="http://schemas.microsoft.com/office/drawing/2014/main" id="{B400B892-87AD-4823-8F7E-E1FFDE9D2C5E}"/>
                  </a:ext>
                </a:extLst>
              </p:cNvPr>
              <p:cNvSpPr/>
              <p:nvPr/>
            </p:nvSpPr>
            <p:spPr>
              <a:xfrm>
                <a:off x="7528792" y="4245575"/>
                <a:ext cx="98322" cy="57175"/>
              </a:xfrm>
              <a:custGeom>
                <a:avLst/>
                <a:gdLst>
                  <a:gd name="connsiteX0" fmla="*/ 98323 w 98322"/>
                  <a:gd name="connsiteY0" fmla="*/ 54485 h 57175"/>
                  <a:gd name="connsiteX1" fmla="*/ 96828 w 98322"/>
                  <a:gd name="connsiteY1" fmla="*/ 57176 h 57175"/>
                  <a:gd name="connsiteX2" fmla="*/ 0 w 98322"/>
                  <a:gd name="connsiteY2" fmla="*/ 2691 h 57175"/>
                  <a:gd name="connsiteX3" fmla="*/ 1495 w 98322"/>
                  <a:gd name="connsiteY3" fmla="*/ 0 h 57175"/>
                </a:gdLst>
                <a:ahLst/>
                <a:cxnLst>
                  <a:cxn ang="0">
                    <a:pos x="connsiteX0" y="connsiteY0"/>
                  </a:cxn>
                  <a:cxn ang="0">
                    <a:pos x="connsiteX1" y="connsiteY1"/>
                  </a:cxn>
                  <a:cxn ang="0">
                    <a:pos x="connsiteX2" y="connsiteY2"/>
                  </a:cxn>
                  <a:cxn ang="0">
                    <a:pos x="connsiteX3" y="connsiteY3"/>
                  </a:cxn>
                </a:cxnLst>
                <a:rect l="l" t="t" r="r" b="b"/>
                <a:pathLst>
                  <a:path w="98322" h="57175">
                    <a:moveTo>
                      <a:pt x="98323" y="54485"/>
                    </a:moveTo>
                    <a:lnTo>
                      <a:pt x="96828" y="57176"/>
                    </a:lnTo>
                    <a:lnTo>
                      <a:pt x="0" y="2691"/>
                    </a:lnTo>
                    <a:lnTo>
                      <a:pt x="1495" y="0"/>
                    </a:lnTo>
                    <a:close/>
                  </a:path>
                </a:pathLst>
              </a:custGeom>
              <a:grpFill/>
              <a:ln w="5978" cap="flat">
                <a:noFill/>
                <a:prstDash val="solid"/>
                <a:miter/>
              </a:ln>
            </p:spPr>
            <p:txBody>
              <a:bodyPr rtlCol="0" anchor="ctr"/>
              <a:lstStyle/>
              <a:p>
                <a:endParaRPr lang="en-GB"/>
              </a:p>
            </p:txBody>
          </p:sp>
          <p:sp>
            <p:nvSpPr>
              <p:cNvPr id="4184" name="Vrije vorm: vorm 4183">
                <a:extLst>
                  <a:ext uri="{FF2B5EF4-FFF2-40B4-BE49-F238E27FC236}">
                    <a16:creationId xmlns:a16="http://schemas.microsoft.com/office/drawing/2014/main" id="{C0737860-CCB9-43A9-84E3-2A2A7F67189B}"/>
                  </a:ext>
                </a:extLst>
              </p:cNvPr>
              <p:cNvSpPr/>
              <p:nvPr/>
            </p:nvSpPr>
            <p:spPr>
              <a:xfrm>
                <a:off x="7616777" y="4291961"/>
                <a:ext cx="18342" cy="18435"/>
              </a:xfrm>
              <a:custGeom>
                <a:avLst/>
                <a:gdLst>
                  <a:gd name="connsiteX0" fmla="*/ 13627 w 18342"/>
                  <a:gd name="connsiteY0" fmla="*/ 1160 h 18435"/>
                  <a:gd name="connsiteX1" fmla="*/ 17155 w 18342"/>
                  <a:gd name="connsiteY1" fmla="*/ 13720 h 18435"/>
                  <a:gd name="connsiteX2" fmla="*/ 4715 w 18342"/>
                  <a:gd name="connsiteY2" fmla="*/ 17248 h 18435"/>
                  <a:gd name="connsiteX3" fmla="*/ 1187 w 18342"/>
                  <a:gd name="connsiteY3" fmla="*/ 4689 h 18435"/>
                  <a:gd name="connsiteX4" fmla="*/ 13627 w 18342"/>
                  <a:gd name="connsiteY4" fmla="*/ 116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35">
                    <a:moveTo>
                      <a:pt x="13627" y="1160"/>
                    </a:moveTo>
                    <a:cubicBezTo>
                      <a:pt x="18052" y="3672"/>
                      <a:pt x="19667" y="9294"/>
                      <a:pt x="17155" y="13720"/>
                    </a:cubicBezTo>
                    <a:cubicBezTo>
                      <a:pt x="14703" y="18146"/>
                      <a:pt x="9141" y="19760"/>
                      <a:pt x="4715" y="17248"/>
                    </a:cubicBezTo>
                    <a:cubicBezTo>
                      <a:pt x="290" y="14737"/>
                      <a:pt x="-1325" y="9115"/>
                      <a:pt x="1187" y="4689"/>
                    </a:cubicBezTo>
                    <a:cubicBezTo>
                      <a:pt x="3639" y="263"/>
                      <a:pt x="9201" y="-1292"/>
                      <a:pt x="13627" y="1160"/>
                    </a:cubicBezTo>
                    <a:close/>
                  </a:path>
                </a:pathLst>
              </a:custGeom>
              <a:grpFill/>
              <a:ln w="5978" cap="flat">
                <a:noFill/>
                <a:prstDash val="solid"/>
                <a:miter/>
              </a:ln>
            </p:spPr>
            <p:txBody>
              <a:bodyPr rtlCol="0" anchor="ctr"/>
              <a:lstStyle/>
              <a:p>
                <a:endParaRPr lang="en-GB"/>
              </a:p>
            </p:txBody>
          </p:sp>
          <p:sp>
            <p:nvSpPr>
              <p:cNvPr id="4185" name="Vrije vorm: vorm 4184">
                <a:extLst>
                  <a:ext uri="{FF2B5EF4-FFF2-40B4-BE49-F238E27FC236}">
                    <a16:creationId xmlns:a16="http://schemas.microsoft.com/office/drawing/2014/main" id="{B6A69817-0D51-48D5-B247-FE7652AA53A5}"/>
                  </a:ext>
                </a:extLst>
              </p:cNvPr>
              <p:cNvSpPr/>
              <p:nvPr/>
            </p:nvSpPr>
            <p:spPr>
              <a:xfrm>
                <a:off x="7520766" y="4237929"/>
                <a:ext cx="18303" cy="18461"/>
              </a:xfrm>
              <a:custGeom>
                <a:avLst/>
                <a:gdLst>
                  <a:gd name="connsiteX0" fmla="*/ 13588 w 18303"/>
                  <a:gd name="connsiteY0" fmla="*/ 1187 h 18461"/>
                  <a:gd name="connsiteX1" fmla="*/ 1148 w 18303"/>
                  <a:gd name="connsiteY1" fmla="*/ 4715 h 18461"/>
                  <a:gd name="connsiteX2" fmla="*/ 4676 w 18303"/>
                  <a:gd name="connsiteY2" fmla="*/ 17275 h 18461"/>
                  <a:gd name="connsiteX3" fmla="*/ 17117 w 18303"/>
                  <a:gd name="connsiteY3" fmla="*/ 13746 h 18461"/>
                  <a:gd name="connsiteX4" fmla="*/ 13588 w 18303"/>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1">
                    <a:moveTo>
                      <a:pt x="13588" y="1187"/>
                    </a:moveTo>
                    <a:cubicBezTo>
                      <a:pt x="9162" y="-1325"/>
                      <a:pt x="3600" y="290"/>
                      <a:pt x="1148" y="4715"/>
                    </a:cubicBezTo>
                    <a:cubicBezTo>
                      <a:pt x="-1304" y="9141"/>
                      <a:pt x="311" y="14763"/>
                      <a:pt x="4676" y="17275"/>
                    </a:cubicBezTo>
                    <a:cubicBezTo>
                      <a:pt x="9043" y="19787"/>
                      <a:pt x="14664" y="18172"/>
                      <a:pt x="17117" y="13746"/>
                    </a:cubicBezTo>
                    <a:cubicBezTo>
                      <a:pt x="19628" y="9261"/>
                      <a:pt x="18014" y="3639"/>
                      <a:pt x="13588" y="1187"/>
                    </a:cubicBezTo>
                    <a:close/>
                  </a:path>
                </a:pathLst>
              </a:custGeom>
              <a:grpFill/>
              <a:ln w="5978" cap="flat">
                <a:noFill/>
                <a:prstDash val="solid"/>
                <a:miter/>
              </a:ln>
            </p:spPr>
            <p:txBody>
              <a:bodyPr rtlCol="0" anchor="ctr"/>
              <a:lstStyle/>
              <a:p>
                <a:endParaRPr lang="en-GB"/>
              </a:p>
            </p:txBody>
          </p:sp>
        </p:grpSp>
        <p:grpSp>
          <p:nvGrpSpPr>
            <p:cNvPr id="401" name="Graphic 3">
              <a:extLst>
                <a:ext uri="{FF2B5EF4-FFF2-40B4-BE49-F238E27FC236}">
                  <a16:creationId xmlns:a16="http://schemas.microsoft.com/office/drawing/2014/main" id="{526047A3-41F6-4609-A55B-69384CC93A24}"/>
                </a:ext>
              </a:extLst>
            </p:cNvPr>
            <p:cNvGrpSpPr/>
            <p:nvPr/>
          </p:nvGrpSpPr>
          <p:grpSpPr>
            <a:xfrm>
              <a:off x="7526704" y="4433416"/>
              <a:ext cx="268761" cy="191854"/>
              <a:chOff x="7526704" y="4433416"/>
              <a:chExt cx="268761" cy="191854"/>
            </a:xfrm>
            <a:grpFill/>
          </p:grpSpPr>
          <p:sp>
            <p:nvSpPr>
              <p:cNvPr id="4180" name="Vrije vorm: vorm 4179">
                <a:extLst>
                  <a:ext uri="{FF2B5EF4-FFF2-40B4-BE49-F238E27FC236}">
                    <a16:creationId xmlns:a16="http://schemas.microsoft.com/office/drawing/2014/main" id="{4D5CAC71-E9E4-488D-958A-D6E7AC326FC6}"/>
                  </a:ext>
                </a:extLst>
              </p:cNvPr>
              <p:cNvSpPr/>
              <p:nvPr/>
            </p:nvSpPr>
            <p:spPr>
              <a:xfrm>
                <a:off x="7534653" y="4441084"/>
                <a:ext cx="252865" cy="176551"/>
              </a:xfrm>
              <a:custGeom>
                <a:avLst/>
                <a:gdLst>
                  <a:gd name="connsiteX0" fmla="*/ 252865 w 252865"/>
                  <a:gd name="connsiteY0" fmla="*/ 173979 h 176551"/>
                  <a:gd name="connsiteX1" fmla="*/ 251130 w 252865"/>
                  <a:gd name="connsiteY1" fmla="*/ 176551 h 176551"/>
                  <a:gd name="connsiteX2" fmla="*/ 0 w 252865"/>
                  <a:gd name="connsiteY2" fmla="*/ 2572 h 176551"/>
                  <a:gd name="connsiteX3" fmla="*/ 1675 w 252865"/>
                  <a:gd name="connsiteY3" fmla="*/ 0 h 176551"/>
                </a:gdLst>
                <a:ahLst/>
                <a:cxnLst>
                  <a:cxn ang="0">
                    <a:pos x="connsiteX0" y="connsiteY0"/>
                  </a:cxn>
                  <a:cxn ang="0">
                    <a:pos x="connsiteX1" y="connsiteY1"/>
                  </a:cxn>
                  <a:cxn ang="0">
                    <a:pos x="connsiteX2" y="connsiteY2"/>
                  </a:cxn>
                  <a:cxn ang="0">
                    <a:pos x="connsiteX3" y="connsiteY3"/>
                  </a:cxn>
                </a:cxnLst>
                <a:rect l="l" t="t" r="r" b="b"/>
                <a:pathLst>
                  <a:path w="252865" h="176551">
                    <a:moveTo>
                      <a:pt x="252865" y="173979"/>
                    </a:moveTo>
                    <a:lnTo>
                      <a:pt x="251130" y="176551"/>
                    </a:lnTo>
                    <a:lnTo>
                      <a:pt x="0" y="2572"/>
                    </a:lnTo>
                    <a:lnTo>
                      <a:pt x="1675" y="0"/>
                    </a:lnTo>
                    <a:close/>
                  </a:path>
                </a:pathLst>
              </a:custGeom>
              <a:grpFill/>
              <a:ln w="5978" cap="flat">
                <a:noFill/>
                <a:prstDash val="solid"/>
                <a:miter/>
              </a:ln>
            </p:spPr>
            <p:txBody>
              <a:bodyPr rtlCol="0" anchor="ctr"/>
              <a:lstStyle/>
              <a:p>
                <a:endParaRPr lang="en-GB"/>
              </a:p>
            </p:txBody>
          </p:sp>
          <p:sp>
            <p:nvSpPr>
              <p:cNvPr id="4181" name="Vrije vorm: vorm 4180">
                <a:extLst>
                  <a:ext uri="{FF2B5EF4-FFF2-40B4-BE49-F238E27FC236}">
                    <a16:creationId xmlns:a16="http://schemas.microsoft.com/office/drawing/2014/main" id="{0101D328-32AD-4BAF-A567-33FF795222EF}"/>
                  </a:ext>
                </a:extLst>
              </p:cNvPr>
              <p:cNvSpPr/>
              <p:nvPr/>
            </p:nvSpPr>
            <p:spPr>
              <a:xfrm>
                <a:off x="7777117" y="4606873"/>
                <a:ext cx="18348" cy="18397"/>
              </a:xfrm>
              <a:custGeom>
                <a:avLst/>
                <a:gdLst>
                  <a:gd name="connsiteX0" fmla="*/ 14348 w 18348"/>
                  <a:gd name="connsiteY0" fmla="*/ 1612 h 18397"/>
                  <a:gd name="connsiteX1" fmla="*/ 16740 w 18348"/>
                  <a:gd name="connsiteY1" fmla="*/ 14411 h 18397"/>
                  <a:gd name="connsiteX2" fmla="*/ 4001 w 18348"/>
                  <a:gd name="connsiteY2" fmla="*/ 16743 h 18397"/>
                  <a:gd name="connsiteX3" fmla="*/ 1609 w 18348"/>
                  <a:gd name="connsiteY3" fmla="*/ 3944 h 18397"/>
                  <a:gd name="connsiteX4" fmla="*/ 14348 w 18348"/>
                  <a:gd name="connsiteY4" fmla="*/ 161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97">
                    <a:moveTo>
                      <a:pt x="14348" y="1612"/>
                    </a:moveTo>
                    <a:cubicBezTo>
                      <a:pt x="18534" y="4483"/>
                      <a:pt x="19610" y="10224"/>
                      <a:pt x="16740" y="14411"/>
                    </a:cubicBezTo>
                    <a:cubicBezTo>
                      <a:pt x="13869" y="18597"/>
                      <a:pt x="8188" y="19674"/>
                      <a:pt x="4001" y="16743"/>
                    </a:cubicBezTo>
                    <a:cubicBezTo>
                      <a:pt x="-185" y="13873"/>
                      <a:pt x="-1262" y="8131"/>
                      <a:pt x="1609" y="3944"/>
                    </a:cubicBezTo>
                    <a:cubicBezTo>
                      <a:pt x="4480" y="-182"/>
                      <a:pt x="10161" y="-1259"/>
                      <a:pt x="14348" y="1612"/>
                    </a:cubicBezTo>
                    <a:close/>
                  </a:path>
                </a:pathLst>
              </a:custGeom>
              <a:grpFill/>
              <a:ln w="5978" cap="flat">
                <a:noFill/>
                <a:prstDash val="solid"/>
                <a:miter/>
              </a:ln>
            </p:spPr>
            <p:txBody>
              <a:bodyPr rtlCol="0" anchor="ctr"/>
              <a:lstStyle/>
              <a:p>
                <a:endParaRPr lang="en-GB"/>
              </a:p>
            </p:txBody>
          </p:sp>
          <p:sp>
            <p:nvSpPr>
              <p:cNvPr id="4182" name="Vrije vorm: vorm 4181">
                <a:extLst>
                  <a:ext uri="{FF2B5EF4-FFF2-40B4-BE49-F238E27FC236}">
                    <a16:creationId xmlns:a16="http://schemas.microsoft.com/office/drawing/2014/main" id="{FDDAD42C-A22A-4615-8F8D-54DF818CC408}"/>
                  </a:ext>
                </a:extLst>
              </p:cNvPr>
              <p:cNvSpPr/>
              <p:nvPr/>
            </p:nvSpPr>
            <p:spPr>
              <a:xfrm>
                <a:off x="7526704" y="4433416"/>
                <a:ext cx="18348" cy="18387"/>
              </a:xfrm>
              <a:custGeom>
                <a:avLst/>
                <a:gdLst>
                  <a:gd name="connsiteX0" fmla="*/ 14347 w 18348"/>
                  <a:gd name="connsiteY0" fmla="*/ 1628 h 18387"/>
                  <a:gd name="connsiteX1" fmla="*/ 1609 w 18348"/>
                  <a:gd name="connsiteY1" fmla="*/ 3961 h 18387"/>
                  <a:gd name="connsiteX2" fmla="*/ 4001 w 18348"/>
                  <a:gd name="connsiteY2" fmla="*/ 16759 h 18387"/>
                  <a:gd name="connsiteX3" fmla="*/ 16740 w 18348"/>
                  <a:gd name="connsiteY3" fmla="*/ 14427 h 18387"/>
                  <a:gd name="connsiteX4" fmla="*/ 14347 w 18348"/>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87">
                    <a:moveTo>
                      <a:pt x="14347" y="1628"/>
                    </a:moveTo>
                    <a:cubicBezTo>
                      <a:pt x="10161" y="-1243"/>
                      <a:pt x="4480" y="-226"/>
                      <a:pt x="1609" y="3961"/>
                    </a:cubicBezTo>
                    <a:cubicBezTo>
                      <a:pt x="-1262" y="8147"/>
                      <a:pt x="-185" y="13889"/>
                      <a:pt x="4001" y="16759"/>
                    </a:cubicBezTo>
                    <a:cubicBezTo>
                      <a:pt x="8188" y="19630"/>
                      <a:pt x="13869" y="18613"/>
                      <a:pt x="16740" y="14427"/>
                    </a:cubicBezTo>
                    <a:cubicBezTo>
                      <a:pt x="19610" y="10300"/>
                      <a:pt x="18534" y="4559"/>
                      <a:pt x="14347" y="1628"/>
                    </a:cubicBezTo>
                    <a:close/>
                  </a:path>
                </a:pathLst>
              </a:custGeom>
              <a:grpFill/>
              <a:ln w="5978" cap="flat">
                <a:noFill/>
                <a:prstDash val="solid"/>
                <a:miter/>
              </a:ln>
            </p:spPr>
            <p:txBody>
              <a:bodyPr rtlCol="0" anchor="ctr"/>
              <a:lstStyle/>
              <a:p>
                <a:endParaRPr lang="en-GB"/>
              </a:p>
            </p:txBody>
          </p:sp>
        </p:grpSp>
        <p:grpSp>
          <p:nvGrpSpPr>
            <p:cNvPr id="402" name="Graphic 3">
              <a:extLst>
                <a:ext uri="{FF2B5EF4-FFF2-40B4-BE49-F238E27FC236}">
                  <a16:creationId xmlns:a16="http://schemas.microsoft.com/office/drawing/2014/main" id="{65FA5FAC-6F04-45EE-95B9-4B3B0ECB502E}"/>
                </a:ext>
              </a:extLst>
            </p:cNvPr>
            <p:cNvGrpSpPr/>
            <p:nvPr/>
          </p:nvGrpSpPr>
          <p:grpSpPr>
            <a:xfrm>
              <a:off x="7380373" y="4447457"/>
              <a:ext cx="731117" cy="634488"/>
              <a:chOff x="7380373" y="4447457"/>
              <a:chExt cx="731117" cy="634488"/>
            </a:xfrm>
            <a:grpFill/>
          </p:grpSpPr>
          <p:sp>
            <p:nvSpPr>
              <p:cNvPr id="4177" name="Vrije vorm: vorm 4176">
                <a:extLst>
                  <a:ext uri="{FF2B5EF4-FFF2-40B4-BE49-F238E27FC236}">
                    <a16:creationId xmlns:a16="http://schemas.microsoft.com/office/drawing/2014/main" id="{56B077F2-B1EB-4E09-A1B6-FF9FB50D9D95}"/>
                  </a:ext>
                </a:extLst>
              </p:cNvPr>
              <p:cNvSpPr/>
              <p:nvPr/>
            </p:nvSpPr>
            <p:spPr>
              <a:xfrm>
                <a:off x="7388245" y="4455199"/>
                <a:ext cx="715413" cy="619004"/>
              </a:xfrm>
              <a:custGeom>
                <a:avLst/>
                <a:gdLst>
                  <a:gd name="connsiteX0" fmla="*/ 715414 w 715413"/>
                  <a:gd name="connsiteY0" fmla="*/ 616672 h 619004"/>
                  <a:gd name="connsiteX1" fmla="*/ 713441 w 715413"/>
                  <a:gd name="connsiteY1" fmla="*/ 619005 h 619004"/>
                  <a:gd name="connsiteX2" fmla="*/ 0 w 715413"/>
                  <a:gd name="connsiteY2" fmla="*/ 2332 h 619004"/>
                  <a:gd name="connsiteX3" fmla="*/ 1973 w 715413"/>
                  <a:gd name="connsiteY3" fmla="*/ 0 h 619004"/>
                </a:gdLst>
                <a:ahLst/>
                <a:cxnLst>
                  <a:cxn ang="0">
                    <a:pos x="connsiteX0" y="connsiteY0"/>
                  </a:cxn>
                  <a:cxn ang="0">
                    <a:pos x="connsiteX1" y="connsiteY1"/>
                  </a:cxn>
                  <a:cxn ang="0">
                    <a:pos x="connsiteX2" y="connsiteY2"/>
                  </a:cxn>
                  <a:cxn ang="0">
                    <a:pos x="connsiteX3" y="connsiteY3"/>
                  </a:cxn>
                </a:cxnLst>
                <a:rect l="l" t="t" r="r" b="b"/>
                <a:pathLst>
                  <a:path w="715413" h="619004">
                    <a:moveTo>
                      <a:pt x="715414" y="616672"/>
                    </a:moveTo>
                    <a:lnTo>
                      <a:pt x="713441" y="619005"/>
                    </a:lnTo>
                    <a:lnTo>
                      <a:pt x="0" y="2332"/>
                    </a:lnTo>
                    <a:lnTo>
                      <a:pt x="1973" y="0"/>
                    </a:lnTo>
                    <a:close/>
                  </a:path>
                </a:pathLst>
              </a:custGeom>
              <a:grpFill/>
              <a:ln w="5978" cap="flat">
                <a:noFill/>
                <a:prstDash val="solid"/>
                <a:miter/>
              </a:ln>
            </p:spPr>
            <p:txBody>
              <a:bodyPr rtlCol="0" anchor="ctr"/>
              <a:lstStyle/>
              <a:p>
                <a:endParaRPr lang="en-GB"/>
              </a:p>
            </p:txBody>
          </p:sp>
          <p:sp>
            <p:nvSpPr>
              <p:cNvPr id="4178" name="Vrije vorm: vorm 4177">
                <a:extLst>
                  <a:ext uri="{FF2B5EF4-FFF2-40B4-BE49-F238E27FC236}">
                    <a16:creationId xmlns:a16="http://schemas.microsoft.com/office/drawing/2014/main" id="{3FFFDE5A-D4FA-47AA-A60C-B7FE28F8D26D}"/>
                  </a:ext>
                </a:extLst>
              </p:cNvPr>
              <p:cNvSpPr/>
              <p:nvPr/>
            </p:nvSpPr>
            <p:spPr>
              <a:xfrm>
                <a:off x="7380373" y="4447457"/>
                <a:ext cx="18314" cy="18414"/>
              </a:xfrm>
              <a:custGeom>
                <a:avLst/>
                <a:gdLst>
                  <a:gd name="connsiteX0" fmla="*/ 3207 w 18314"/>
                  <a:gd name="connsiteY0" fmla="*/ 16175 h 18414"/>
                  <a:gd name="connsiteX1" fmla="*/ 2190 w 18314"/>
                  <a:gd name="connsiteY1" fmla="*/ 3197 h 18414"/>
                  <a:gd name="connsiteX2" fmla="*/ 15108 w 18314"/>
                  <a:gd name="connsiteY2" fmla="*/ 2240 h 18414"/>
                  <a:gd name="connsiteX3" fmla="*/ 16125 w 18314"/>
                  <a:gd name="connsiteY3" fmla="*/ 15218 h 18414"/>
                  <a:gd name="connsiteX4" fmla="*/ 3207 w 18314"/>
                  <a:gd name="connsiteY4" fmla="*/ 1617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14">
                    <a:moveTo>
                      <a:pt x="3207" y="16175"/>
                    </a:moveTo>
                    <a:cubicBezTo>
                      <a:pt x="-621" y="12826"/>
                      <a:pt x="-1099" y="7024"/>
                      <a:pt x="2190" y="3197"/>
                    </a:cubicBezTo>
                    <a:cubicBezTo>
                      <a:pt x="5479" y="-631"/>
                      <a:pt x="11280" y="-1110"/>
                      <a:pt x="15108" y="2240"/>
                    </a:cubicBezTo>
                    <a:cubicBezTo>
                      <a:pt x="18936" y="5589"/>
                      <a:pt x="19414" y="11390"/>
                      <a:pt x="16125" y="15218"/>
                    </a:cubicBezTo>
                    <a:cubicBezTo>
                      <a:pt x="12836" y="19045"/>
                      <a:pt x="7094" y="19524"/>
                      <a:pt x="3207" y="16175"/>
                    </a:cubicBezTo>
                    <a:close/>
                  </a:path>
                </a:pathLst>
              </a:custGeom>
              <a:grpFill/>
              <a:ln w="5978" cap="flat">
                <a:noFill/>
                <a:prstDash val="solid"/>
                <a:miter/>
              </a:ln>
            </p:spPr>
            <p:txBody>
              <a:bodyPr rtlCol="0" anchor="ctr"/>
              <a:lstStyle/>
              <a:p>
                <a:endParaRPr lang="en-GB"/>
              </a:p>
            </p:txBody>
          </p:sp>
          <p:sp>
            <p:nvSpPr>
              <p:cNvPr id="4179" name="Vrije vorm: vorm 4178">
                <a:extLst>
                  <a:ext uri="{FF2B5EF4-FFF2-40B4-BE49-F238E27FC236}">
                    <a16:creationId xmlns:a16="http://schemas.microsoft.com/office/drawing/2014/main" id="{FE722841-1938-489E-98AB-DA25041A6548}"/>
                  </a:ext>
                </a:extLst>
              </p:cNvPr>
              <p:cNvSpPr/>
              <p:nvPr/>
            </p:nvSpPr>
            <p:spPr>
              <a:xfrm>
                <a:off x="8093180" y="5063531"/>
                <a:ext cx="18310" cy="18414"/>
              </a:xfrm>
              <a:custGeom>
                <a:avLst/>
                <a:gdLst>
                  <a:gd name="connsiteX0" fmla="*/ 3182 w 18310"/>
                  <a:gd name="connsiteY0" fmla="*/ 16175 h 18414"/>
                  <a:gd name="connsiteX1" fmla="*/ 16100 w 18310"/>
                  <a:gd name="connsiteY1" fmla="*/ 15218 h 18414"/>
                  <a:gd name="connsiteX2" fmla="*/ 15084 w 18310"/>
                  <a:gd name="connsiteY2" fmla="*/ 2240 h 18414"/>
                  <a:gd name="connsiteX3" fmla="*/ 2165 w 18310"/>
                  <a:gd name="connsiteY3" fmla="*/ 3197 h 18414"/>
                  <a:gd name="connsiteX4" fmla="*/ 3182 w 18310"/>
                  <a:gd name="connsiteY4" fmla="*/ 1617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4">
                    <a:moveTo>
                      <a:pt x="3182" y="16175"/>
                    </a:moveTo>
                    <a:cubicBezTo>
                      <a:pt x="7010" y="19524"/>
                      <a:pt x="12811" y="19045"/>
                      <a:pt x="16100" y="15218"/>
                    </a:cubicBezTo>
                    <a:cubicBezTo>
                      <a:pt x="19390" y="11390"/>
                      <a:pt x="18972" y="5529"/>
                      <a:pt x="15084" y="2240"/>
                    </a:cubicBezTo>
                    <a:cubicBezTo>
                      <a:pt x="11256" y="-1110"/>
                      <a:pt x="5455" y="-631"/>
                      <a:pt x="2165" y="3197"/>
                    </a:cubicBezTo>
                    <a:cubicBezTo>
                      <a:pt x="-1064" y="7024"/>
                      <a:pt x="-645" y="12826"/>
                      <a:pt x="3182" y="16175"/>
                    </a:cubicBezTo>
                    <a:close/>
                  </a:path>
                </a:pathLst>
              </a:custGeom>
              <a:grpFill/>
              <a:ln w="5978" cap="flat">
                <a:noFill/>
                <a:prstDash val="solid"/>
                <a:miter/>
              </a:ln>
            </p:spPr>
            <p:txBody>
              <a:bodyPr rtlCol="0" anchor="ctr"/>
              <a:lstStyle/>
              <a:p>
                <a:endParaRPr lang="en-GB"/>
              </a:p>
            </p:txBody>
          </p:sp>
        </p:grpSp>
        <p:grpSp>
          <p:nvGrpSpPr>
            <p:cNvPr id="403" name="Graphic 3">
              <a:extLst>
                <a:ext uri="{FF2B5EF4-FFF2-40B4-BE49-F238E27FC236}">
                  <a16:creationId xmlns:a16="http://schemas.microsoft.com/office/drawing/2014/main" id="{F734F825-4328-4FD7-A1B0-6C3CA47D50AC}"/>
                </a:ext>
              </a:extLst>
            </p:cNvPr>
            <p:cNvGrpSpPr/>
            <p:nvPr/>
          </p:nvGrpSpPr>
          <p:grpSpPr>
            <a:xfrm>
              <a:off x="7363606" y="4474292"/>
              <a:ext cx="811062" cy="724678"/>
              <a:chOff x="7363606" y="4474292"/>
              <a:chExt cx="811062" cy="724678"/>
            </a:xfrm>
            <a:grpFill/>
          </p:grpSpPr>
          <p:sp>
            <p:nvSpPr>
              <p:cNvPr id="4174" name="Vrije vorm: vorm 4173">
                <a:extLst>
                  <a:ext uri="{FF2B5EF4-FFF2-40B4-BE49-F238E27FC236}">
                    <a16:creationId xmlns:a16="http://schemas.microsoft.com/office/drawing/2014/main" id="{D3D07BA9-C462-4743-B26A-AE71B3D0CBAB}"/>
                  </a:ext>
                </a:extLst>
              </p:cNvPr>
              <p:cNvSpPr/>
              <p:nvPr/>
            </p:nvSpPr>
            <p:spPr>
              <a:xfrm>
                <a:off x="7371379" y="4482053"/>
                <a:ext cx="795495" cy="709193"/>
              </a:xfrm>
              <a:custGeom>
                <a:avLst/>
                <a:gdLst>
                  <a:gd name="connsiteX0" fmla="*/ 795496 w 795495"/>
                  <a:gd name="connsiteY0" fmla="*/ 706861 h 709193"/>
                  <a:gd name="connsiteX1" fmla="*/ 793463 w 795495"/>
                  <a:gd name="connsiteY1" fmla="*/ 709194 h 709193"/>
                  <a:gd name="connsiteX2" fmla="*/ 0 w 795495"/>
                  <a:gd name="connsiteY2" fmla="*/ 2273 h 709193"/>
                  <a:gd name="connsiteX3" fmla="*/ 2034 w 795495"/>
                  <a:gd name="connsiteY3" fmla="*/ 0 h 709193"/>
                </a:gdLst>
                <a:ahLst/>
                <a:cxnLst>
                  <a:cxn ang="0">
                    <a:pos x="connsiteX0" y="connsiteY0"/>
                  </a:cxn>
                  <a:cxn ang="0">
                    <a:pos x="connsiteX1" y="connsiteY1"/>
                  </a:cxn>
                  <a:cxn ang="0">
                    <a:pos x="connsiteX2" y="connsiteY2"/>
                  </a:cxn>
                  <a:cxn ang="0">
                    <a:pos x="connsiteX3" y="connsiteY3"/>
                  </a:cxn>
                </a:cxnLst>
                <a:rect l="l" t="t" r="r" b="b"/>
                <a:pathLst>
                  <a:path w="795495" h="709193">
                    <a:moveTo>
                      <a:pt x="795496" y="706861"/>
                    </a:moveTo>
                    <a:lnTo>
                      <a:pt x="793463" y="709194"/>
                    </a:lnTo>
                    <a:lnTo>
                      <a:pt x="0" y="2273"/>
                    </a:lnTo>
                    <a:lnTo>
                      <a:pt x="2034" y="0"/>
                    </a:lnTo>
                    <a:close/>
                  </a:path>
                </a:pathLst>
              </a:custGeom>
              <a:grpFill/>
              <a:ln w="5978" cap="flat">
                <a:noFill/>
                <a:prstDash val="solid"/>
                <a:miter/>
              </a:ln>
            </p:spPr>
            <p:txBody>
              <a:bodyPr rtlCol="0" anchor="ctr"/>
              <a:lstStyle/>
              <a:p>
                <a:endParaRPr lang="en-GB"/>
              </a:p>
            </p:txBody>
          </p:sp>
          <p:sp>
            <p:nvSpPr>
              <p:cNvPr id="4175" name="Vrije vorm: vorm 4174">
                <a:extLst>
                  <a:ext uri="{FF2B5EF4-FFF2-40B4-BE49-F238E27FC236}">
                    <a16:creationId xmlns:a16="http://schemas.microsoft.com/office/drawing/2014/main" id="{0FDBDFB7-8A6F-469B-87E8-76CBA9BB2E6B}"/>
                  </a:ext>
                </a:extLst>
              </p:cNvPr>
              <p:cNvSpPr/>
              <p:nvPr/>
            </p:nvSpPr>
            <p:spPr>
              <a:xfrm>
                <a:off x="7363606" y="4474292"/>
                <a:ext cx="18273" cy="18415"/>
              </a:xfrm>
              <a:custGeom>
                <a:avLst/>
                <a:gdLst>
                  <a:gd name="connsiteX0" fmla="*/ 3108 w 18273"/>
                  <a:gd name="connsiteY0" fmla="*/ 16073 h 18415"/>
                  <a:gd name="connsiteX1" fmla="*/ 2271 w 18273"/>
                  <a:gd name="connsiteY1" fmla="*/ 3095 h 18415"/>
                  <a:gd name="connsiteX2" fmla="*/ 15190 w 18273"/>
                  <a:gd name="connsiteY2" fmla="*/ 2318 h 18415"/>
                  <a:gd name="connsiteX3" fmla="*/ 16026 w 18273"/>
                  <a:gd name="connsiteY3" fmla="*/ 15296 h 18415"/>
                  <a:gd name="connsiteX4" fmla="*/ 3108 w 18273"/>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15">
                    <a:moveTo>
                      <a:pt x="3108" y="16073"/>
                    </a:moveTo>
                    <a:cubicBezTo>
                      <a:pt x="-659" y="12665"/>
                      <a:pt x="-1078" y="6863"/>
                      <a:pt x="2271" y="3095"/>
                    </a:cubicBezTo>
                    <a:cubicBezTo>
                      <a:pt x="5620" y="-733"/>
                      <a:pt x="11422" y="-1031"/>
                      <a:pt x="15190" y="2318"/>
                    </a:cubicBezTo>
                    <a:cubicBezTo>
                      <a:pt x="18957" y="5727"/>
                      <a:pt x="19316" y="11528"/>
                      <a:pt x="16026" y="15296"/>
                    </a:cubicBezTo>
                    <a:cubicBezTo>
                      <a:pt x="12678" y="19124"/>
                      <a:pt x="6876" y="19482"/>
                      <a:pt x="3108" y="16073"/>
                    </a:cubicBezTo>
                    <a:close/>
                  </a:path>
                </a:pathLst>
              </a:custGeom>
              <a:grpFill/>
              <a:ln w="5978" cap="flat">
                <a:noFill/>
                <a:prstDash val="solid"/>
                <a:miter/>
              </a:ln>
            </p:spPr>
            <p:txBody>
              <a:bodyPr rtlCol="0" anchor="ctr"/>
              <a:lstStyle/>
              <a:p>
                <a:endParaRPr lang="en-GB"/>
              </a:p>
            </p:txBody>
          </p:sp>
          <p:sp>
            <p:nvSpPr>
              <p:cNvPr id="4176" name="Vrije vorm: vorm 4175">
                <a:extLst>
                  <a:ext uri="{FF2B5EF4-FFF2-40B4-BE49-F238E27FC236}">
                    <a16:creationId xmlns:a16="http://schemas.microsoft.com/office/drawing/2014/main" id="{971C42E5-2AD1-4BA4-B1A5-10F3ADD50233}"/>
                  </a:ext>
                </a:extLst>
              </p:cNvPr>
              <p:cNvSpPr/>
              <p:nvPr/>
            </p:nvSpPr>
            <p:spPr>
              <a:xfrm>
                <a:off x="8156330" y="5180556"/>
                <a:ext cx="18338" cy="18415"/>
              </a:xfrm>
              <a:custGeom>
                <a:avLst/>
                <a:gdLst>
                  <a:gd name="connsiteX0" fmla="*/ 3129 w 18338"/>
                  <a:gd name="connsiteY0" fmla="*/ 16073 h 18415"/>
                  <a:gd name="connsiteX1" fmla="*/ 16047 w 18338"/>
                  <a:gd name="connsiteY1" fmla="*/ 15296 h 18415"/>
                  <a:gd name="connsiteX2" fmla="*/ 15210 w 18338"/>
                  <a:gd name="connsiteY2" fmla="*/ 2318 h 18415"/>
                  <a:gd name="connsiteX3" fmla="*/ 2291 w 18338"/>
                  <a:gd name="connsiteY3" fmla="*/ 3095 h 18415"/>
                  <a:gd name="connsiteX4" fmla="*/ 3129 w 18338"/>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5">
                    <a:moveTo>
                      <a:pt x="3129" y="16073"/>
                    </a:moveTo>
                    <a:cubicBezTo>
                      <a:pt x="6896" y="19482"/>
                      <a:pt x="12698" y="19124"/>
                      <a:pt x="16047" y="15296"/>
                    </a:cubicBezTo>
                    <a:cubicBezTo>
                      <a:pt x="19397" y="11468"/>
                      <a:pt x="19038" y="5667"/>
                      <a:pt x="15210" y="2318"/>
                    </a:cubicBezTo>
                    <a:cubicBezTo>
                      <a:pt x="11382" y="-1031"/>
                      <a:pt x="5641" y="-733"/>
                      <a:pt x="2291" y="3095"/>
                    </a:cubicBezTo>
                    <a:cubicBezTo>
                      <a:pt x="-1058" y="6923"/>
                      <a:pt x="-699" y="12724"/>
                      <a:pt x="3129" y="16073"/>
                    </a:cubicBezTo>
                    <a:close/>
                  </a:path>
                </a:pathLst>
              </a:custGeom>
              <a:grpFill/>
              <a:ln w="5978" cap="flat">
                <a:noFill/>
                <a:prstDash val="solid"/>
                <a:miter/>
              </a:ln>
            </p:spPr>
            <p:txBody>
              <a:bodyPr rtlCol="0" anchor="ctr"/>
              <a:lstStyle/>
              <a:p>
                <a:endParaRPr lang="en-GB"/>
              </a:p>
            </p:txBody>
          </p:sp>
        </p:grpSp>
        <p:grpSp>
          <p:nvGrpSpPr>
            <p:cNvPr id="404" name="Graphic 3">
              <a:extLst>
                <a:ext uri="{FF2B5EF4-FFF2-40B4-BE49-F238E27FC236}">
                  <a16:creationId xmlns:a16="http://schemas.microsoft.com/office/drawing/2014/main" id="{E803F614-67C2-463D-9971-BB99B34324EA}"/>
                </a:ext>
              </a:extLst>
            </p:cNvPr>
            <p:cNvGrpSpPr/>
            <p:nvPr/>
          </p:nvGrpSpPr>
          <p:grpSpPr>
            <a:xfrm>
              <a:off x="7489403" y="4575473"/>
              <a:ext cx="482116" cy="393614"/>
              <a:chOff x="7489403" y="4575473"/>
              <a:chExt cx="482116" cy="393614"/>
            </a:xfrm>
            <a:grpFill/>
          </p:grpSpPr>
          <p:sp>
            <p:nvSpPr>
              <p:cNvPr id="4171" name="Vrije vorm: vorm 4170">
                <a:extLst>
                  <a:ext uri="{FF2B5EF4-FFF2-40B4-BE49-F238E27FC236}">
                    <a16:creationId xmlns:a16="http://schemas.microsoft.com/office/drawing/2014/main" id="{EDF44873-86CA-441A-B9F3-ABFBB2DBBD64}"/>
                  </a:ext>
                </a:extLst>
              </p:cNvPr>
              <p:cNvSpPr/>
              <p:nvPr/>
            </p:nvSpPr>
            <p:spPr>
              <a:xfrm>
                <a:off x="7497213" y="4583186"/>
                <a:ext cx="466436" cy="378160"/>
              </a:xfrm>
              <a:custGeom>
                <a:avLst/>
                <a:gdLst>
                  <a:gd name="connsiteX0" fmla="*/ 466436 w 466436"/>
                  <a:gd name="connsiteY0" fmla="*/ 375769 h 378160"/>
                  <a:gd name="connsiteX1" fmla="*/ 464523 w 466436"/>
                  <a:gd name="connsiteY1" fmla="*/ 378161 h 378160"/>
                  <a:gd name="connsiteX2" fmla="*/ 0 w 466436"/>
                  <a:gd name="connsiteY2" fmla="*/ 2392 h 378160"/>
                  <a:gd name="connsiteX3" fmla="*/ 1914 w 466436"/>
                  <a:gd name="connsiteY3" fmla="*/ 0 h 378160"/>
                </a:gdLst>
                <a:ahLst/>
                <a:cxnLst>
                  <a:cxn ang="0">
                    <a:pos x="connsiteX0" y="connsiteY0"/>
                  </a:cxn>
                  <a:cxn ang="0">
                    <a:pos x="connsiteX1" y="connsiteY1"/>
                  </a:cxn>
                  <a:cxn ang="0">
                    <a:pos x="connsiteX2" y="connsiteY2"/>
                  </a:cxn>
                  <a:cxn ang="0">
                    <a:pos x="connsiteX3" y="connsiteY3"/>
                  </a:cxn>
                </a:cxnLst>
                <a:rect l="l" t="t" r="r" b="b"/>
                <a:pathLst>
                  <a:path w="466436" h="378160">
                    <a:moveTo>
                      <a:pt x="466436" y="375769"/>
                    </a:moveTo>
                    <a:lnTo>
                      <a:pt x="464523" y="378161"/>
                    </a:lnTo>
                    <a:lnTo>
                      <a:pt x="0" y="2392"/>
                    </a:lnTo>
                    <a:lnTo>
                      <a:pt x="1914" y="0"/>
                    </a:lnTo>
                    <a:close/>
                  </a:path>
                </a:pathLst>
              </a:custGeom>
              <a:grpFill/>
              <a:ln w="5978" cap="flat">
                <a:noFill/>
                <a:prstDash val="solid"/>
                <a:miter/>
              </a:ln>
            </p:spPr>
            <p:txBody>
              <a:bodyPr rtlCol="0" anchor="ctr"/>
              <a:lstStyle/>
              <a:p>
                <a:endParaRPr lang="en-GB"/>
              </a:p>
            </p:txBody>
          </p:sp>
          <p:sp>
            <p:nvSpPr>
              <p:cNvPr id="4172" name="Vrije vorm: vorm 4171">
                <a:extLst>
                  <a:ext uri="{FF2B5EF4-FFF2-40B4-BE49-F238E27FC236}">
                    <a16:creationId xmlns:a16="http://schemas.microsoft.com/office/drawing/2014/main" id="{BE483D7C-34D1-4048-A114-B0AA369A53B9}"/>
                  </a:ext>
                </a:extLst>
              </p:cNvPr>
              <p:cNvSpPr/>
              <p:nvPr/>
            </p:nvSpPr>
            <p:spPr>
              <a:xfrm>
                <a:off x="7953208" y="4950643"/>
                <a:ext cx="18311" cy="18443"/>
              </a:xfrm>
              <a:custGeom>
                <a:avLst/>
                <a:gdLst>
                  <a:gd name="connsiteX0" fmla="*/ 14867 w 18311"/>
                  <a:gd name="connsiteY0" fmla="*/ 2032 h 18443"/>
                  <a:gd name="connsiteX1" fmla="*/ 16302 w 18311"/>
                  <a:gd name="connsiteY1" fmla="*/ 15010 h 18443"/>
                  <a:gd name="connsiteX2" fmla="*/ 3444 w 18311"/>
                  <a:gd name="connsiteY2" fmla="*/ 16386 h 18443"/>
                  <a:gd name="connsiteX3" fmla="*/ 2008 w 18311"/>
                  <a:gd name="connsiteY3" fmla="*/ 3408 h 18443"/>
                  <a:gd name="connsiteX4" fmla="*/ 14867 w 18311"/>
                  <a:gd name="connsiteY4" fmla="*/ 20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43">
                    <a:moveTo>
                      <a:pt x="14867" y="2032"/>
                    </a:moveTo>
                    <a:cubicBezTo>
                      <a:pt x="18814" y="5202"/>
                      <a:pt x="19472" y="11003"/>
                      <a:pt x="16302" y="15010"/>
                    </a:cubicBezTo>
                    <a:cubicBezTo>
                      <a:pt x="13133" y="18958"/>
                      <a:pt x="7391" y="19616"/>
                      <a:pt x="3444" y="16386"/>
                    </a:cubicBezTo>
                    <a:cubicBezTo>
                      <a:pt x="-503" y="13216"/>
                      <a:pt x="-1161" y="7415"/>
                      <a:pt x="2008" y="3408"/>
                    </a:cubicBezTo>
                    <a:cubicBezTo>
                      <a:pt x="5118" y="-539"/>
                      <a:pt x="10920" y="-1138"/>
                      <a:pt x="14867" y="2032"/>
                    </a:cubicBezTo>
                    <a:close/>
                  </a:path>
                </a:pathLst>
              </a:custGeom>
              <a:grpFill/>
              <a:ln w="5978" cap="flat">
                <a:noFill/>
                <a:prstDash val="solid"/>
                <a:miter/>
              </a:ln>
            </p:spPr>
            <p:txBody>
              <a:bodyPr rtlCol="0" anchor="ctr"/>
              <a:lstStyle/>
              <a:p>
                <a:endParaRPr lang="en-GB"/>
              </a:p>
            </p:txBody>
          </p:sp>
          <p:sp>
            <p:nvSpPr>
              <p:cNvPr id="4173" name="Vrije vorm: vorm 4172">
                <a:extLst>
                  <a:ext uri="{FF2B5EF4-FFF2-40B4-BE49-F238E27FC236}">
                    <a16:creationId xmlns:a16="http://schemas.microsoft.com/office/drawing/2014/main" id="{BCC9BF95-61FC-4FDB-9926-9A29D77F67E8}"/>
                  </a:ext>
                </a:extLst>
              </p:cNvPr>
              <p:cNvSpPr/>
              <p:nvPr/>
            </p:nvSpPr>
            <p:spPr>
              <a:xfrm>
                <a:off x="7489403" y="4575473"/>
                <a:ext cx="18286" cy="18418"/>
              </a:xfrm>
              <a:custGeom>
                <a:avLst/>
                <a:gdLst>
                  <a:gd name="connsiteX0" fmla="*/ 14868 w 18286"/>
                  <a:gd name="connsiteY0" fmla="*/ 2032 h 18418"/>
                  <a:gd name="connsiteX1" fmla="*/ 2009 w 18286"/>
                  <a:gd name="connsiteY1" fmla="*/ 3408 h 18418"/>
                  <a:gd name="connsiteX2" fmla="*/ 3444 w 18286"/>
                  <a:gd name="connsiteY2" fmla="*/ 16386 h 18418"/>
                  <a:gd name="connsiteX3" fmla="*/ 16303 w 18286"/>
                  <a:gd name="connsiteY3" fmla="*/ 15011 h 18418"/>
                  <a:gd name="connsiteX4" fmla="*/ 14868 w 18286"/>
                  <a:gd name="connsiteY4" fmla="*/ 203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418">
                    <a:moveTo>
                      <a:pt x="14868" y="2032"/>
                    </a:moveTo>
                    <a:cubicBezTo>
                      <a:pt x="10920" y="-1137"/>
                      <a:pt x="5119" y="-539"/>
                      <a:pt x="2009" y="3408"/>
                    </a:cubicBezTo>
                    <a:cubicBezTo>
                      <a:pt x="-1161" y="7355"/>
                      <a:pt x="-503" y="13157"/>
                      <a:pt x="3444" y="16386"/>
                    </a:cubicBezTo>
                    <a:cubicBezTo>
                      <a:pt x="7392" y="19556"/>
                      <a:pt x="13193" y="18958"/>
                      <a:pt x="16303" y="15011"/>
                    </a:cubicBezTo>
                    <a:cubicBezTo>
                      <a:pt x="19413" y="11003"/>
                      <a:pt x="18814" y="5202"/>
                      <a:pt x="14868" y="2032"/>
                    </a:cubicBezTo>
                    <a:close/>
                  </a:path>
                </a:pathLst>
              </a:custGeom>
              <a:grpFill/>
              <a:ln w="5978" cap="flat">
                <a:noFill/>
                <a:prstDash val="solid"/>
                <a:miter/>
              </a:ln>
            </p:spPr>
            <p:txBody>
              <a:bodyPr rtlCol="0" anchor="ctr"/>
              <a:lstStyle/>
              <a:p>
                <a:endParaRPr lang="en-GB"/>
              </a:p>
            </p:txBody>
          </p:sp>
        </p:grpSp>
        <p:grpSp>
          <p:nvGrpSpPr>
            <p:cNvPr id="405" name="Graphic 3">
              <a:extLst>
                <a:ext uri="{FF2B5EF4-FFF2-40B4-BE49-F238E27FC236}">
                  <a16:creationId xmlns:a16="http://schemas.microsoft.com/office/drawing/2014/main" id="{54040D93-7EAF-4203-8E6A-222D99B2E410}"/>
                </a:ext>
              </a:extLst>
            </p:cNvPr>
            <p:cNvGrpSpPr/>
            <p:nvPr/>
          </p:nvGrpSpPr>
          <p:grpSpPr>
            <a:xfrm>
              <a:off x="7470561" y="4317979"/>
              <a:ext cx="262810" cy="174682"/>
              <a:chOff x="7470561" y="4317979"/>
              <a:chExt cx="262810" cy="174682"/>
            </a:xfrm>
            <a:grpFill/>
          </p:grpSpPr>
          <p:sp>
            <p:nvSpPr>
              <p:cNvPr id="4168" name="Vrije vorm: vorm 4167">
                <a:extLst>
                  <a:ext uri="{FF2B5EF4-FFF2-40B4-BE49-F238E27FC236}">
                    <a16:creationId xmlns:a16="http://schemas.microsoft.com/office/drawing/2014/main" id="{812EE809-3B89-47BC-BA34-AE1244BD549D}"/>
                  </a:ext>
                </a:extLst>
              </p:cNvPr>
              <p:cNvSpPr/>
              <p:nvPr/>
            </p:nvSpPr>
            <p:spPr>
              <a:xfrm>
                <a:off x="7478494" y="4325657"/>
                <a:ext cx="246884" cy="159326"/>
              </a:xfrm>
              <a:custGeom>
                <a:avLst/>
                <a:gdLst>
                  <a:gd name="connsiteX0" fmla="*/ 246884 w 246884"/>
                  <a:gd name="connsiteY0" fmla="*/ 156695 h 159326"/>
                  <a:gd name="connsiteX1" fmla="*/ 245269 w 246884"/>
                  <a:gd name="connsiteY1" fmla="*/ 159327 h 159326"/>
                  <a:gd name="connsiteX2" fmla="*/ 0 w 246884"/>
                  <a:gd name="connsiteY2" fmla="*/ 2572 h 159326"/>
                  <a:gd name="connsiteX3" fmla="*/ 1615 w 246884"/>
                  <a:gd name="connsiteY3" fmla="*/ 0 h 159326"/>
                </a:gdLst>
                <a:ahLst/>
                <a:cxnLst>
                  <a:cxn ang="0">
                    <a:pos x="connsiteX0" y="connsiteY0"/>
                  </a:cxn>
                  <a:cxn ang="0">
                    <a:pos x="connsiteX1" y="connsiteY1"/>
                  </a:cxn>
                  <a:cxn ang="0">
                    <a:pos x="connsiteX2" y="connsiteY2"/>
                  </a:cxn>
                  <a:cxn ang="0">
                    <a:pos x="connsiteX3" y="connsiteY3"/>
                  </a:cxn>
                </a:cxnLst>
                <a:rect l="l" t="t" r="r" b="b"/>
                <a:pathLst>
                  <a:path w="246884" h="159326">
                    <a:moveTo>
                      <a:pt x="246884" y="156695"/>
                    </a:moveTo>
                    <a:lnTo>
                      <a:pt x="245269" y="159327"/>
                    </a:lnTo>
                    <a:lnTo>
                      <a:pt x="0" y="2572"/>
                    </a:lnTo>
                    <a:lnTo>
                      <a:pt x="1615" y="0"/>
                    </a:lnTo>
                    <a:close/>
                  </a:path>
                </a:pathLst>
              </a:custGeom>
              <a:grpFill/>
              <a:ln w="5978" cap="flat">
                <a:noFill/>
                <a:prstDash val="solid"/>
                <a:miter/>
              </a:ln>
            </p:spPr>
            <p:txBody>
              <a:bodyPr rtlCol="0" anchor="ctr"/>
              <a:lstStyle/>
              <a:p>
                <a:endParaRPr lang="en-GB"/>
              </a:p>
            </p:txBody>
          </p:sp>
          <p:sp>
            <p:nvSpPr>
              <p:cNvPr id="4169" name="Vrije vorm: vorm 4168">
                <a:extLst>
                  <a:ext uri="{FF2B5EF4-FFF2-40B4-BE49-F238E27FC236}">
                    <a16:creationId xmlns:a16="http://schemas.microsoft.com/office/drawing/2014/main" id="{A6EA4444-4C5C-4379-9BEC-83C14BA576F5}"/>
                  </a:ext>
                </a:extLst>
              </p:cNvPr>
              <p:cNvSpPr/>
              <p:nvPr/>
            </p:nvSpPr>
            <p:spPr>
              <a:xfrm>
                <a:off x="7715053" y="4474195"/>
                <a:ext cx="18318" cy="18465"/>
              </a:xfrm>
              <a:custGeom>
                <a:avLst/>
                <a:gdLst>
                  <a:gd name="connsiteX0" fmla="*/ 14033 w 18318"/>
                  <a:gd name="connsiteY0" fmla="*/ 1458 h 18465"/>
                  <a:gd name="connsiteX1" fmla="*/ 16904 w 18318"/>
                  <a:gd name="connsiteY1" fmla="*/ 14197 h 18465"/>
                  <a:gd name="connsiteX2" fmla="*/ 4285 w 18318"/>
                  <a:gd name="connsiteY2" fmla="*/ 17008 h 18465"/>
                  <a:gd name="connsiteX3" fmla="*/ 1414 w 18318"/>
                  <a:gd name="connsiteY3" fmla="*/ 4269 h 18465"/>
                  <a:gd name="connsiteX4" fmla="*/ 14033 w 18318"/>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65">
                    <a:moveTo>
                      <a:pt x="14033" y="1458"/>
                    </a:moveTo>
                    <a:cubicBezTo>
                      <a:pt x="18339" y="4209"/>
                      <a:pt x="19596" y="9891"/>
                      <a:pt x="16904" y="14197"/>
                    </a:cubicBezTo>
                    <a:cubicBezTo>
                      <a:pt x="14213" y="18503"/>
                      <a:pt x="8531" y="19759"/>
                      <a:pt x="4285" y="17008"/>
                    </a:cubicBezTo>
                    <a:cubicBezTo>
                      <a:pt x="-21" y="14257"/>
                      <a:pt x="-1278" y="8575"/>
                      <a:pt x="1414" y="4269"/>
                    </a:cubicBezTo>
                    <a:cubicBezTo>
                      <a:pt x="4105" y="-37"/>
                      <a:pt x="9787" y="-1293"/>
                      <a:pt x="14033" y="1458"/>
                    </a:cubicBezTo>
                    <a:close/>
                  </a:path>
                </a:pathLst>
              </a:custGeom>
              <a:grpFill/>
              <a:ln w="5978" cap="flat">
                <a:noFill/>
                <a:prstDash val="solid"/>
                <a:miter/>
              </a:ln>
            </p:spPr>
            <p:txBody>
              <a:bodyPr rtlCol="0" anchor="ctr"/>
              <a:lstStyle/>
              <a:p>
                <a:endParaRPr lang="en-GB"/>
              </a:p>
            </p:txBody>
          </p:sp>
          <p:sp>
            <p:nvSpPr>
              <p:cNvPr id="4170" name="Vrije vorm: vorm 4169">
                <a:extLst>
                  <a:ext uri="{FF2B5EF4-FFF2-40B4-BE49-F238E27FC236}">
                    <a16:creationId xmlns:a16="http://schemas.microsoft.com/office/drawing/2014/main" id="{F1174424-E9D5-421B-A5D6-6990044629E3}"/>
                  </a:ext>
                </a:extLst>
              </p:cNvPr>
              <p:cNvSpPr/>
              <p:nvPr/>
            </p:nvSpPr>
            <p:spPr>
              <a:xfrm>
                <a:off x="7470561" y="4317979"/>
                <a:ext cx="18303" cy="18465"/>
              </a:xfrm>
              <a:custGeom>
                <a:avLst/>
                <a:gdLst>
                  <a:gd name="connsiteX0" fmla="*/ 14033 w 18303"/>
                  <a:gd name="connsiteY0" fmla="*/ 1458 h 18465"/>
                  <a:gd name="connsiteX1" fmla="*/ 1414 w 18303"/>
                  <a:gd name="connsiteY1" fmla="*/ 4269 h 18465"/>
                  <a:gd name="connsiteX2" fmla="*/ 4285 w 18303"/>
                  <a:gd name="connsiteY2" fmla="*/ 17008 h 18465"/>
                  <a:gd name="connsiteX3" fmla="*/ 16904 w 18303"/>
                  <a:gd name="connsiteY3" fmla="*/ 14197 h 18465"/>
                  <a:gd name="connsiteX4" fmla="*/ 14033 w 18303"/>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33" y="1458"/>
                    </a:moveTo>
                    <a:cubicBezTo>
                      <a:pt x="9728" y="-1293"/>
                      <a:pt x="4105" y="-37"/>
                      <a:pt x="1414" y="4269"/>
                    </a:cubicBezTo>
                    <a:cubicBezTo>
                      <a:pt x="-1278" y="8575"/>
                      <a:pt x="-21" y="14256"/>
                      <a:pt x="4285" y="17008"/>
                    </a:cubicBezTo>
                    <a:cubicBezTo>
                      <a:pt x="8591" y="19759"/>
                      <a:pt x="14213" y="18503"/>
                      <a:pt x="16904" y="14197"/>
                    </a:cubicBezTo>
                    <a:cubicBezTo>
                      <a:pt x="19596" y="9891"/>
                      <a:pt x="18280" y="4209"/>
                      <a:pt x="14033" y="1458"/>
                    </a:cubicBezTo>
                    <a:close/>
                  </a:path>
                </a:pathLst>
              </a:custGeom>
              <a:grpFill/>
              <a:ln w="5978" cap="flat">
                <a:noFill/>
                <a:prstDash val="solid"/>
                <a:miter/>
              </a:ln>
            </p:spPr>
            <p:txBody>
              <a:bodyPr rtlCol="0" anchor="ctr"/>
              <a:lstStyle/>
              <a:p>
                <a:endParaRPr lang="en-GB"/>
              </a:p>
            </p:txBody>
          </p:sp>
        </p:grpSp>
        <p:grpSp>
          <p:nvGrpSpPr>
            <p:cNvPr id="406" name="Graphic 3">
              <a:extLst>
                <a:ext uri="{FF2B5EF4-FFF2-40B4-BE49-F238E27FC236}">
                  <a16:creationId xmlns:a16="http://schemas.microsoft.com/office/drawing/2014/main" id="{FA4F9829-2CE9-4DAA-9BE5-71D699057B95}"/>
                </a:ext>
              </a:extLst>
            </p:cNvPr>
            <p:cNvGrpSpPr/>
            <p:nvPr/>
          </p:nvGrpSpPr>
          <p:grpSpPr>
            <a:xfrm>
              <a:off x="7500148" y="4540106"/>
              <a:ext cx="420976" cy="331848"/>
              <a:chOff x="7500148" y="4540106"/>
              <a:chExt cx="420976" cy="331848"/>
            </a:xfrm>
            <a:grpFill/>
          </p:grpSpPr>
          <p:sp>
            <p:nvSpPr>
              <p:cNvPr id="4165" name="Vrije vorm: vorm 4164">
                <a:extLst>
                  <a:ext uri="{FF2B5EF4-FFF2-40B4-BE49-F238E27FC236}">
                    <a16:creationId xmlns:a16="http://schemas.microsoft.com/office/drawing/2014/main" id="{D0416139-BD37-444D-8C79-0D052DC5AF5D}"/>
                  </a:ext>
                </a:extLst>
              </p:cNvPr>
              <p:cNvSpPr/>
              <p:nvPr/>
            </p:nvSpPr>
            <p:spPr>
              <a:xfrm>
                <a:off x="7508039" y="4547841"/>
                <a:ext cx="405193" cy="316439"/>
              </a:xfrm>
              <a:custGeom>
                <a:avLst/>
                <a:gdLst>
                  <a:gd name="connsiteX0" fmla="*/ 405194 w 405193"/>
                  <a:gd name="connsiteY0" fmla="*/ 314048 h 316439"/>
                  <a:gd name="connsiteX1" fmla="*/ 403340 w 405193"/>
                  <a:gd name="connsiteY1" fmla="*/ 316440 h 316439"/>
                  <a:gd name="connsiteX2" fmla="*/ 0 w 405193"/>
                  <a:gd name="connsiteY2" fmla="*/ 2392 h 316439"/>
                  <a:gd name="connsiteX3" fmla="*/ 1854 w 405193"/>
                  <a:gd name="connsiteY3" fmla="*/ 0 h 316439"/>
                </a:gdLst>
                <a:ahLst/>
                <a:cxnLst>
                  <a:cxn ang="0">
                    <a:pos x="connsiteX0" y="connsiteY0"/>
                  </a:cxn>
                  <a:cxn ang="0">
                    <a:pos x="connsiteX1" y="connsiteY1"/>
                  </a:cxn>
                  <a:cxn ang="0">
                    <a:pos x="connsiteX2" y="connsiteY2"/>
                  </a:cxn>
                  <a:cxn ang="0">
                    <a:pos x="connsiteX3" y="connsiteY3"/>
                  </a:cxn>
                </a:cxnLst>
                <a:rect l="l" t="t" r="r" b="b"/>
                <a:pathLst>
                  <a:path w="405193" h="316439">
                    <a:moveTo>
                      <a:pt x="405194" y="314048"/>
                    </a:moveTo>
                    <a:lnTo>
                      <a:pt x="403340" y="316440"/>
                    </a:lnTo>
                    <a:lnTo>
                      <a:pt x="0" y="2392"/>
                    </a:lnTo>
                    <a:lnTo>
                      <a:pt x="1854" y="0"/>
                    </a:lnTo>
                    <a:close/>
                  </a:path>
                </a:pathLst>
              </a:custGeom>
              <a:grpFill/>
              <a:ln w="5978" cap="flat">
                <a:noFill/>
                <a:prstDash val="solid"/>
                <a:miter/>
              </a:ln>
            </p:spPr>
            <p:txBody>
              <a:bodyPr rtlCol="0" anchor="ctr"/>
              <a:lstStyle/>
              <a:p>
                <a:endParaRPr lang="en-GB"/>
              </a:p>
            </p:txBody>
          </p:sp>
          <p:sp>
            <p:nvSpPr>
              <p:cNvPr id="4166" name="Vrije vorm: vorm 4165">
                <a:extLst>
                  <a:ext uri="{FF2B5EF4-FFF2-40B4-BE49-F238E27FC236}">
                    <a16:creationId xmlns:a16="http://schemas.microsoft.com/office/drawing/2014/main" id="{8213A57F-2E35-414C-BE5C-83E473BD1050}"/>
                  </a:ext>
                </a:extLst>
              </p:cNvPr>
              <p:cNvSpPr/>
              <p:nvPr/>
            </p:nvSpPr>
            <p:spPr>
              <a:xfrm>
                <a:off x="7902795" y="4853556"/>
                <a:ext cx="18328" cy="18398"/>
              </a:xfrm>
              <a:custGeom>
                <a:avLst/>
                <a:gdLst>
                  <a:gd name="connsiteX0" fmla="*/ 14744 w 18328"/>
                  <a:gd name="connsiteY0" fmla="*/ 1933 h 18398"/>
                  <a:gd name="connsiteX1" fmla="*/ 16418 w 18328"/>
                  <a:gd name="connsiteY1" fmla="*/ 14851 h 18398"/>
                  <a:gd name="connsiteX2" fmla="*/ 3560 w 18328"/>
                  <a:gd name="connsiteY2" fmla="*/ 16466 h 18398"/>
                  <a:gd name="connsiteX3" fmla="*/ 1885 w 18328"/>
                  <a:gd name="connsiteY3" fmla="*/ 3548 h 18398"/>
                  <a:gd name="connsiteX4" fmla="*/ 14744 w 1832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8">
                    <a:moveTo>
                      <a:pt x="14744" y="1933"/>
                    </a:moveTo>
                    <a:cubicBezTo>
                      <a:pt x="18751" y="5043"/>
                      <a:pt x="19528" y="10844"/>
                      <a:pt x="16418" y="14851"/>
                    </a:cubicBezTo>
                    <a:cubicBezTo>
                      <a:pt x="13308" y="18858"/>
                      <a:pt x="7566" y="19576"/>
                      <a:pt x="3560" y="16466"/>
                    </a:cubicBezTo>
                    <a:cubicBezTo>
                      <a:pt x="-448" y="13356"/>
                      <a:pt x="-1165" y="7555"/>
                      <a:pt x="1885" y="3548"/>
                    </a:cubicBezTo>
                    <a:cubicBezTo>
                      <a:pt x="4995" y="-459"/>
                      <a:pt x="10736" y="-1177"/>
                      <a:pt x="14744" y="1933"/>
                    </a:cubicBezTo>
                    <a:close/>
                  </a:path>
                </a:pathLst>
              </a:custGeom>
              <a:grpFill/>
              <a:ln w="5978" cap="flat">
                <a:noFill/>
                <a:prstDash val="solid"/>
                <a:miter/>
              </a:ln>
            </p:spPr>
            <p:txBody>
              <a:bodyPr rtlCol="0" anchor="ctr"/>
              <a:lstStyle/>
              <a:p>
                <a:endParaRPr lang="en-GB"/>
              </a:p>
            </p:txBody>
          </p:sp>
          <p:sp>
            <p:nvSpPr>
              <p:cNvPr id="4167" name="Vrije vorm: vorm 4166">
                <a:extLst>
                  <a:ext uri="{FF2B5EF4-FFF2-40B4-BE49-F238E27FC236}">
                    <a16:creationId xmlns:a16="http://schemas.microsoft.com/office/drawing/2014/main" id="{F4384A55-77BC-45C4-91AA-1363E77384EE}"/>
                  </a:ext>
                </a:extLst>
              </p:cNvPr>
              <p:cNvSpPr/>
              <p:nvPr/>
            </p:nvSpPr>
            <p:spPr>
              <a:xfrm>
                <a:off x="7500148" y="4540106"/>
                <a:ext cx="18353" cy="18398"/>
              </a:xfrm>
              <a:custGeom>
                <a:avLst/>
                <a:gdLst>
                  <a:gd name="connsiteX0" fmla="*/ 14768 w 18353"/>
                  <a:gd name="connsiteY0" fmla="*/ 1933 h 18398"/>
                  <a:gd name="connsiteX1" fmla="*/ 1911 w 18353"/>
                  <a:gd name="connsiteY1" fmla="*/ 3548 h 18398"/>
                  <a:gd name="connsiteX2" fmla="*/ 3585 w 18353"/>
                  <a:gd name="connsiteY2" fmla="*/ 16466 h 18398"/>
                  <a:gd name="connsiteX3" fmla="*/ 16443 w 18353"/>
                  <a:gd name="connsiteY3" fmla="*/ 14851 h 18398"/>
                  <a:gd name="connsiteX4" fmla="*/ 14768 w 18353"/>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398">
                    <a:moveTo>
                      <a:pt x="14768" y="1933"/>
                    </a:moveTo>
                    <a:cubicBezTo>
                      <a:pt x="10762" y="-1177"/>
                      <a:pt x="5020" y="-459"/>
                      <a:pt x="1911" y="3548"/>
                    </a:cubicBezTo>
                    <a:cubicBezTo>
                      <a:pt x="-1200" y="7555"/>
                      <a:pt x="-422" y="13356"/>
                      <a:pt x="3585" y="16466"/>
                    </a:cubicBezTo>
                    <a:cubicBezTo>
                      <a:pt x="7592" y="19576"/>
                      <a:pt x="13333" y="18858"/>
                      <a:pt x="16443" y="14851"/>
                    </a:cubicBezTo>
                    <a:cubicBezTo>
                      <a:pt x="19553" y="10844"/>
                      <a:pt x="18776" y="5043"/>
                      <a:pt x="14768" y="1933"/>
                    </a:cubicBezTo>
                    <a:close/>
                  </a:path>
                </a:pathLst>
              </a:custGeom>
              <a:grpFill/>
              <a:ln w="5978" cap="flat">
                <a:noFill/>
                <a:prstDash val="solid"/>
                <a:miter/>
              </a:ln>
            </p:spPr>
            <p:txBody>
              <a:bodyPr rtlCol="0" anchor="ctr"/>
              <a:lstStyle/>
              <a:p>
                <a:endParaRPr lang="en-GB"/>
              </a:p>
            </p:txBody>
          </p:sp>
        </p:grpSp>
        <p:grpSp>
          <p:nvGrpSpPr>
            <p:cNvPr id="407" name="Graphic 3">
              <a:extLst>
                <a:ext uri="{FF2B5EF4-FFF2-40B4-BE49-F238E27FC236}">
                  <a16:creationId xmlns:a16="http://schemas.microsoft.com/office/drawing/2014/main" id="{51A71B79-413B-4983-B972-B7F56E434D80}"/>
                </a:ext>
              </a:extLst>
            </p:cNvPr>
            <p:cNvGrpSpPr/>
            <p:nvPr/>
          </p:nvGrpSpPr>
          <p:grpSpPr>
            <a:xfrm>
              <a:off x="7400403" y="4423230"/>
              <a:ext cx="587330" cy="500170"/>
              <a:chOff x="7400403" y="4423230"/>
              <a:chExt cx="587330" cy="500170"/>
            </a:xfrm>
            <a:grpFill/>
          </p:grpSpPr>
          <p:sp>
            <p:nvSpPr>
              <p:cNvPr id="4162" name="Vrije vorm: vorm 4161">
                <a:extLst>
                  <a:ext uri="{FF2B5EF4-FFF2-40B4-BE49-F238E27FC236}">
                    <a16:creationId xmlns:a16="http://schemas.microsoft.com/office/drawing/2014/main" id="{CD28F37A-05B2-48A6-81DD-4F3E8AE737CC}"/>
                  </a:ext>
                </a:extLst>
              </p:cNvPr>
              <p:cNvSpPr/>
              <p:nvPr/>
            </p:nvSpPr>
            <p:spPr>
              <a:xfrm>
                <a:off x="7408220" y="4430977"/>
                <a:ext cx="571637" cy="484677"/>
              </a:xfrm>
              <a:custGeom>
                <a:avLst/>
                <a:gdLst>
                  <a:gd name="connsiteX0" fmla="*/ 571638 w 571637"/>
                  <a:gd name="connsiteY0" fmla="*/ 482345 h 484677"/>
                  <a:gd name="connsiteX1" fmla="*/ 569724 w 571637"/>
                  <a:gd name="connsiteY1" fmla="*/ 484678 h 484677"/>
                  <a:gd name="connsiteX2" fmla="*/ 0 w 571637"/>
                  <a:gd name="connsiteY2" fmla="*/ 2333 h 484677"/>
                  <a:gd name="connsiteX3" fmla="*/ 1974 w 571637"/>
                  <a:gd name="connsiteY3" fmla="*/ 0 h 484677"/>
                </a:gdLst>
                <a:ahLst/>
                <a:cxnLst>
                  <a:cxn ang="0">
                    <a:pos x="connsiteX0" y="connsiteY0"/>
                  </a:cxn>
                  <a:cxn ang="0">
                    <a:pos x="connsiteX1" y="connsiteY1"/>
                  </a:cxn>
                  <a:cxn ang="0">
                    <a:pos x="connsiteX2" y="connsiteY2"/>
                  </a:cxn>
                  <a:cxn ang="0">
                    <a:pos x="connsiteX3" y="connsiteY3"/>
                  </a:cxn>
                </a:cxnLst>
                <a:rect l="l" t="t" r="r" b="b"/>
                <a:pathLst>
                  <a:path w="571637" h="484677">
                    <a:moveTo>
                      <a:pt x="571638" y="482345"/>
                    </a:moveTo>
                    <a:lnTo>
                      <a:pt x="569724" y="484678"/>
                    </a:lnTo>
                    <a:lnTo>
                      <a:pt x="0" y="2333"/>
                    </a:lnTo>
                    <a:lnTo>
                      <a:pt x="1974" y="0"/>
                    </a:lnTo>
                    <a:close/>
                  </a:path>
                </a:pathLst>
              </a:custGeom>
              <a:grpFill/>
              <a:ln w="5978" cap="flat">
                <a:noFill/>
                <a:prstDash val="solid"/>
                <a:miter/>
              </a:ln>
            </p:spPr>
            <p:txBody>
              <a:bodyPr rtlCol="0" anchor="ctr"/>
              <a:lstStyle/>
              <a:p>
                <a:endParaRPr lang="en-GB"/>
              </a:p>
            </p:txBody>
          </p:sp>
          <p:sp>
            <p:nvSpPr>
              <p:cNvPr id="4163" name="Vrije vorm: vorm 4162">
                <a:extLst>
                  <a:ext uri="{FF2B5EF4-FFF2-40B4-BE49-F238E27FC236}">
                    <a16:creationId xmlns:a16="http://schemas.microsoft.com/office/drawing/2014/main" id="{92203A5C-9F36-4991-9200-6A420986ACE2}"/>
                  </a:ext>
                </a:extLst>
              </p:cNvPr>
              <p:cNvSpPr/>
              <p:nvPr/>
            </p:nvSpPr>
            <p:spPr>
              <a:xfrm>
                <a:off x="7400403" y="4423230"/>
                <a:ext cx="18324" cy="18423"/>
              </a:xfrm>
              <a:custGeom>
                <a:avLst/>
                <a:gdLst>
                  <a:gd name="connsiteX0" fmla="*/ 3271 w 18324"/>
                  <a:gd name="connsiteY0" fmla="*/ 16239 h 18423"/>
                  <a:gd name="connsiteX1" fmla="*/ 2135 w 18324"/>
                  <a:gd name="connsiteY1" fmla="*/ 3261 h 18423"/>
                  <a:gd name="connsiteX2" fmla="*/ 15053 w 18324"/>
                  <a:gd name="connsiteY2" fmla="*/ 2185 h 18423"/>
                  <a:gd name="connsiteX3" fmla="*/ 16190 w 18324"/>
                  <a:gd name="connsiteY3" fmla="*/ 15163 h 18423"/>
                  <a:gd name="connsiteX4" fmla="*/ 3271 w 18324"/>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3271" y="16239"/>
                    </a:moveTo>
                    <a:cubicBezTo>
                      <a:pt x="-616" y="12950"/>
                      <a:pt x="-1095" y="7149"/>
                      <a:pt x="2135" y="3261"/>
                    </a:cubicBezTo>
                    <a:cubicBezTo>
                      <a:pt x="5364" y="-626"/>
                      <a:pt x="11166" y="-1105"/>
                      <a:pt x="15053" y="2185"/>
                    </a:cubicBezTo>
                    <a:cubicBezTo>
                      <a:pt x="18941" y="5474"/>
                      <a:pt x="19420" y="11275"/>
                      <a:pt x="16190" y="15163"/>
                    </a:cubicBezTo>
                    <a:cubicBezTo>
                      <a:pt x="12960" y="19050"/>
                      <a:pt x="7159" y="19529"/>
                      <a:pt x="3271" y="16239"/>
                    </a:cubicBezTo>
                    <a:close/>
                  </a:path>
                </a:pathLst>
              </a:custGeom>
              <a:grpFill/>
              <a:ln w="5978" cap="flat">
                <a:noFill/>
                <a:prstDash val="solid"/>
                <a:miter/>
              </a:ln>
            </p:spPr>
            <p:txBody>
              <a:bodyPr rtlCol="0" anchor="ctr"/>
              <a:lstStyle/>
              <a:p>
                <a:endParaRPr lang="en-GB"/>
              </a:p>
            </p:txBody>
          </p:sp>
          <p:sp>
            <p:nvSpPr>
              <p:cNvPr id="4164" name="Vrije vorm: vorm 4163">
                <a:extLst>
                  <a:ext uri="{FF2B5EF4-FFF2-40B4-BE49-F238E27FC236}">
                    <a16:creationId xmlns:a16="http://schemas.microsoft.com/office/drawing/2014/main" id="{3AC341AE-EC66-447C-A6CE-88CD9E8702E2}"/>
                  </a:ext>
                </a:extLst>
              </p:cNvPr>
              <p:cNvSpPr/>
              <p:nvPr/>
            </p:nvSpPr>
            <p:spPr>
              <a:xfrm>
                <a:off x="7969385" y="4904978"/>
                <a:ext cx="18349" cy="18423"/>
              </a:xfrm>
              <a:custGeom>
                <a:avLst/>
                <a:gdLst>
                  <a:gd name="connsiteX0" fmla="*/ 3296 w 18349"/>
                  <a:gd name="connsiteY0" fmla="*/ 16239 h 18423"/>
                  <a:gd name="connsiteX1" fmla="*/ 16215 w 18349"/>
                  <a:gd name="connsiteY1" fmla="*/ 15163 h 18423"/>
                  <a:gd name="connsiteX2" fmla="*/ 15078 w 18349"/>
                  <a:gd name="connsiteY2" fmla="*/ 2184 h 18423"/>
                  <a:gd name="connsiteX3" fmla="*/ 2160 w 18349"/>
                  <a:gd name="connsiteY3" fmla="*/ 3261 h 18423"/>
                  <a:gd name="connsiteX4" fmla="*/ 3296 w 18349"/>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3">
                    <a:moveTo>
                      <a:pt x="3296" y="16239"/>
                    </a:moveTo>
                    <a:cubicBezTo>
                      <a:pt x="7184" y="19529"/>
                      <a:pt x="12925" y="19050"/>
                      <a:pt x="16215" y="15163"/>
                    </a:cubicBezTo>
                    <a:cubicBezTo>
                      <a:pt x="19444" y="11275"/>
                      <a:pt x="18965" y="5474"/>
                      <a:pt x="15078" y="2184"/>
                    </a:cubicBezTo>
                    <a:cubicBezTo>
                      <a:pt x="11191" y="-1105"/>
                      <a:pt x="5449" y="-626"/>
                      <a:pt x="2160" y="3261"/>
                    </a:cubicBezTo>
                    <a:cubicBezTo>
                      <a:pt x="-1130" y="7149"/>
                      <a:pt x="-592" y="12950"/>
                      <a:pt x="3296" y="16239"/>
                    </a:cubicBezTo>
                    <a:close/>
                  </a:path>
                </a:pathLst>
              </a:custGeom>
              <a:grpFill/>
              <a:ln w="5978" cap="flat">
                <a:noFill/>
                <a:prstDash val="solid"/>
                <a:miter/>
              </a:ln>
            </p:spPr>
            <p:txBody>
              <a:bodyPr rtlCol="0" anchor="ctr"/>
              <a:lstStyle/>
              <a:p>
                <a:endParaRPr lang="en-GB"/>
              </a:p>
            </p:txBody>
          </p:sp>
        </p:grpSp>
        <p:grpSp>
          <p:nvGrpSpPr>
            <p:cNvPr id="408" name="Graphic 3">
              <a:extLst>
                <a:ext uri="{FF2B5EF4-FFF2-40B4-BE49-F238E27FC236}">
                  <a16:creationId xmlns:a16="http://schemas.microsoft.com/office/drawing/2014/main" id="{6C61B767-1A5F-4984-B09E-960E722DD64B}"/>
                </a:ext>
              </a:extLst>
            </p:cNvPr>
            <p:cNvGrpSpPr/>
            <p:nvPr/>
          </p:nvGrpSpPr>
          <p:grpSpPr>
            <a:xfrm>
              <a:off x="7671250" y="4825652"/>
              <a:ext cx="156221" cy="138738"/>
              <a:chOff x="7671250" y="4825652"/>
              <a:chExt cx="156221" cy="138738"/>
            </a:xfrm>
            <a:grpFill/>
          </p:grpSpPr>
          <p:sp>
            <p:nvSpPr>
              <p:cNvPr id="4159" name="Vrije vorm: vorm 4158">
                <a:extLst>
                  <a:ext uri="{FF2B5EF4-FFF2-40B4-BE49-F238E27FC236}">
                    <a16:creationId xmlns:a16="http://schemas.microsoft.com/office/drawing/2014/main" id="{61EB75AA-46F5-4B18-9E00-D2D75C718FC8}"/>
                  </a:ext>
                </a:extLst>
              </p:cNvPr>
              <p:cNvSpPr/>
              <p:nvPr/>
            </p:nvSpPr>
            <p:spPr>
              <a:xfrm>
                <a:off x="7679027" y="4833420"/>
                <a:ext cx="140666" cy="123262"/>
              </a:xfrm>
              <a:custGeom>
                <a:avLst/>
                <a:gdLst>
                  <a:gd name="connsiteX0" fmla="*/ 140667 w 140666"/>
                  <a:gd name="connsiteY0" fmla="*/ 120930 h 123262"/>
                  <a:gd name="connsiteX1" fmla="*/ 138633 w 140666"/>
                  <a:gd name="connsiteY1" fmla="*/ 123263 h 123262"/>
                  <a:gd name="connsiteX2" fmla="*/ 0 w 140666"/>
                  <a:gd name="connsiteY2" fmla="*/ 2332 h 123262"/>
                  <a:gd name="connsiteX3" fmla="*/ 2033 w 140666"/>
                  <a:gd name="connsiteY3" fmla="*/ 0 h 123262"/>
                </a:gdLst>
                <a:ahLst/>
                <a:cxnLst>
                  <a:cxn ang="0">
                    <a:pos x="connsiteX0" y="connsiteY0"/>
                  </a:cxn>
                  <a:cxn ang="0">
                    <a:pos x="connsiteX1" y="connsiteY1"/>
                  </a:cxn>
                  <a:cxn ang="0">
                    <a:pos x="connsiteX2" y="connsiteY2"/>
                  </a:cxn>
                  <a:cxn ang="0">
                    <a:pos x="connsiteX3" y="connsiteY3"/>
                  </a:cxn>
                </a:cxnLst>
                <a:rect l="l" t="t" r="r" b="b"/>
                <a:pathLst>
                  <a:path w="140666" h="123262">
                    <a:moveTo>
                      <a:pt x="140667" y="120930"/>
                    </a:moveTo>
                    <a:lnTo>
                      <a:pt x="138633" y="123263"/>
                    </a:lnTo>
                    <a:lnTo>
                      <a:pt x="0" y="2332"/>
                    </a:lnTo>
                    <a:lnTo>
                      <a:pt x="2033" y="0"/>
                    </a:lnTo>
                    <a:close/>
                  </a:path>
                </a:pathLst>
              </a:custGeom>
              <a:grpFill/>
              <a:ln w="5978" cap="flat">
                <a:noFill/>
                <a:prstDash val="solid"/>
                <a:miter/>
              </a:ln>
            </p:spPr>
            <p:txBody>
              <a:bodyPr rtlCol="0" anchor="ctr"/>
              <a:lstStyle/>
              <a:p>
                <a:endParaRPr lang="en-GB"/>
              </a:p>
            </p:txBody>
          </p:sp>
          <p:sp>
            <p:nvSpPr>
              <p:cNvPr id="4160" name="Vrije vorm: vorm 4159">
                <a:extLst>
                  <a:ext uri="{FF2B5EF4-FFF2-40B4-BE49-F238E27FC236}">
                    <a16:creationId xmlns:a16="http://schemas.microsoft.com/office/drawing/2014/main" id="{E5E0CD79-479A-4BD8-9CAD-79512203278C}"/>
                  </a:ext>
                </a:extLst>
              </p:cNvPr>
              <p:cNvSpPr/>
              <p:nvPr/>
            </p:nvSpPr>
            <p:spPr>
              <a:xfrm>
                <a:off x="7809165" y="4945984"/>
                <a:ext cx="18305" cy="18406"/>
              </a:xfrm>
              <a:custGeom>
                <a:avLst/>
                <a:gdLst>
                  <a:gd name="connsiteX0" fmla="*/ 15134 w 18305"/>
                  <a:gd name="connsiteY0" fmla="*/ 2265 h 18406"/>
                  <a:gd name="connsiteX1" fmla="*/ 16090 w 18305"/>
                  <a:gd name="connsiteY1" fmla="*/ 15244 h 18406"/>
                  <a:gd name="connsiteX2" fmla="*/ 3173 w 18305"/>
                  <a:gd name="connsiteY2" fmla="*/ 16141 h 18406"/>
                  <a:gd name="connsiteX3" fmla="*/ 2215 w 18305"/>
                  <a:gd name="connsiteY3" fmla="*/ 3163 h 18406"/>
                  <a:gd name="connsiteX4" fmla="*/ 15134 w 18305"/>
                  <a:gd name="connsiteY4" fmla="*/ 2265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6">
                    <a:moveTo>
                      <a:pt x="15134" y="2265"/>
                    </a:moveTo>
                    <a:cubicBezTo>
                      <a:pt x="18961" y="5615"/>
                      <a:pt x="19380" y="11416"/>
                      <a:pt x="16090" y="15244"/>
                    </a:cubicBezTo>
                    <a:cubicBezTo>
                      <a:pt x="12801" y="19071"/>
                      <a:pt x="7000" y="19490"/>
                      <a:pt x="3173" y="16141"/>
                    </a:cubicBezTo>
                    <a:cubicBezTo>
                      <a:pt x="-655" y="12791"/>
                      <a:pt x="-1074" y="6990"/>
                      <a:pt x="2215" y="3163"/>
                    </a:cubicBezTo>
                    <a:cubicBezTo>
                      <a:pt x="5504" y="-665"/>
                      <a:pt x="11306" y="-1084"/>
                      <a:pt x="15134" y="2265"/>
                    </a:cubicBezTo>
                    <a:close/>
                  </a:path>
                </a:pathLst>
              </a:custGeom>
              <a:grpFill/>
              <a:ln w="5978" cap="flat">
                <a:noFill/>
                <a:prstDash val="solid"/>
                <a:miter/>
              </a:ln>
            </p:spPr>
            <p:txBody>
              <a:bodyPr rtlCol="0" anchor="ctr"/>
              <a:lstStyle/>
              <a:p>
                <a:endParaRPr lang="en-GB"/>
              </a:p>
            </p:txBody>
          </p:sp>
          <p:sp>
            <p:nvSpPr>
              <p:cNvPr id="4161" name="Vrije vorm: vorm 4160">
                <a:extLst>
                  <a:ext uri="{FF2B5EF4-FFF2-40B4-BE49-F238E27FC236}">
                    <a16:creationId xmlns:a16="http://schemas.microsoft.com/office/drawing/2014/main" id="{FDDD927A-F8CD-4648-A806-49A734A70467}"/>
                  </a:ext>
                </a:extLst>
              </p:cNvPr>
              <p:cNvSpPr/>
              <p:nvPr/>
            </p:nvSpPr>
            <p:spPr>
              <a:xfrm>
                <a:off x="7671250" y="4825652"/>
                <a:ext cx="18305" cy="18405"/>
              </a:xfrm>
              <a:custGeom>
                <a:avLst/>
                <a:gdLst>
                  <a:gd name="connsiteX0" fmla="*/ 15134 w 18305"/>
                  <a:gd name="connsiteY0" fmla="*/ 2265 h 18405"/>
                  <a:gd name="connsiteX1" fmla="*/ 2215 w 18305"/>
                  <a:gd name="connsiteY1" fmla="*/ 3163 h 18405"/>
                  <a:gd name="connsiteX2" fmla="*/ 3172 w 18305"/>
                  <a:gd name="connsiteY2" fmla="*/ 16141 h 18405"/>
                  <a:gd name="connsiteX3" fmla="*/ 16091 w 18305"/>
                  <a:gd name="connsiteY3" fmla="*/ 15244 h 18405"/>
                  <a:gd name="connsiteX4" fmla="*/ 15134 w 18305"/>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5134" y="2265"/>
                    </a:moveTo>
                    <a:cubicBezTo>
                      <a:pt x="11306" y="-1084"/>
                      <a:pt x="5505" y="-665"/>
                      <a:pt x="2215" y="3163"/>
                    </a:cubicBezTo>
                    <a:cubicBezTo>
                      <a:pt x="-1074" y="6990"/>
                      <a:pt x="-656" y="12791"/>
                      <a:pt x="3172" y="16141"/>
                    </a:cubicBezTo>
                    <a:cubicBezTo>
                      <a:pt x="7000" y="19490"/>
                      <a:pt x="12801" y="19071"/>
                      <a:pt x="16091" y="15244"/>
                    </a:cubicBezTo>
                    <a:cubicBezTo>
                      <a:pt x="19380" y="11476"/>
                      <a:pt x="18961" y="5615"/>
                      <a:pt x="15134" y="2265"/>
                    </a:cubicBezTo>
                    <a:close/>
                  </a:path>
                </a:pathLst>
              </a:custGeom>
              <a:grpFill/>
              <a:ln w="5978" cap="flat">
                <a:noFill/>
                <a:prstDash val="solid"/>
                <a:miter/>
              </a:ln>
            </p:spPr>
            <p:txBody>
              <a:bodyPr rtlCol="0" anchor="ctr"/>
              <a:lstStyle/>
              <a:p>
                <a:endParaRPr lang="en-GB"/>
              </a:p>
            </p:txBody>
          </p:sp>
        </p:grpSp>
        <p:grpSp>
          <p:nvGrpSpPr>
            <p:cNvPr id="409" name="Graphic 3">
              <a:extLst>
                <a:ext uri="{FF2B5EF4-FFF2-40B4-BE49-F238E27FC236}">
                  <a16:creationId xmlns:a16="http://schemas.microsoft.com/office/drawing/2014/main" id="{2BCD938C-4FE5-4851-85E9-7DF791416983}"/>
                </a:ext>
              </a:extLst>
            </p:cNvPr>
            <p:cNvGrpSpPr/>
            <p:nvPr/>
          </p:nvGrpSpPr>
          <p:grpSpPr>
            <a:xfrm>
              <a:off x="6573350" y="1405227"/>
              <a:ext cx="82397" cy="235487"/>
              <a:chOff x="6573350" y="1405227"/>
              <a:chExt cx="82397" cy="235487"/>
            </a:xfrm>
            <a:grpFill/>
          </p:grpSpPr>
          <p:sp>
            <p:nvSpPr>
              <p:cNvPr id="4156" name="Vrije vorm: vorm 4155">
                <a:extLst>
                  <a:ext uri="{FF2B5EF4-FFF2-40B4-BE49-F238E27FC236}">
                    <a16:creationId xmlns:a16="http://schemas.microsoft.com/office/drawing/2014/main" id="{6FA15ED9-B2F6-432B-BE28-3D09922E7E52}"/>
                  </a:ext>
                </a:extLst>
              </p:cNvPr>
              <p:cNvSpPr/>
              <p:nvPr/>
            </p:nvSpPr>
            <p:spPr>
              <a:xfrm>
                <a:off x="6580967" y="1413584"/>
                <a:ext cx="67283" cy="218774"/>
              </a:xfrm>
              <a:custGeom>
                <a:avLst/>
                <a:gdLst>
                  <a:gd name="connsiteX0" fmla="*/ 67283 w 67283"/>
                  <a:gd name="connsiteY0" fmla="*/ 897 h 218774"/>
                  <a:gd name="connsiteX1" fmla="*/ 2871 w 67283"/>
                  <a:gd name="connsiteY1" fmla="*/ 218775 h 218774"/>
                  <a:gd name="connsiteX2" fmla="*/ 0 w 67283"/>
                  <a:gd name="connsiteY2" fmla="*/ 217878 h 218774"/>
                  <a:gd name="connsiteX3" fmla="*/ 64353 w 67283"/>
                  <a:gd name="connsiteY3" fmla="*/ 0 h 218774"/>
                </a:gdLst>
                <a:ahLst/>
                <a:cxnLst>
                  <a:cxn ang="0">
                    <a:pos x="connsiteX0" y="connsiteY0"/>
                  </a:cxn>
                  <a:cxn ang="0">
                    <a:pos x="connsiteX1" y="connsiteY1"/>
                  </a:cxn>
                  <a:cxn ang="0">
                    <a:pos x="connsiteX2" y="connsiteY2"/>
                  </a:cxn>
                  <a:cxn ang="0">
                    <a:pos x="connsiteX3" y="connsiteY3"/>
                  </a:cxn>
                </a:cxnLst>
                <a:rect l="l" t="t" r="r" b="b"/>
                <a:pathLst>
                  <a:path w="67283" h="218774">
                    <a:moveTo>
                      <a:pt x="67283" y="897"/>
                    </a:moveTo>
                    <a:lnTo>
                      <a:pt x="2871" y="218775"/>
                    </a:lnTo>
                    <a:lnTo>
                      <a:pt x="0" y="217878"/>
                    </a:lnTo>
                    <a:lnTo>
                      <a:pt x="64353" y="0"/>
                    </a:lnTo>
                    <a:close/>
                  </a:path>
                </a:pathLst>
              </a:custGeom>
              <a:grpFill/>
              <a:ln w="5978" cap="flat">
                <a:noFill/>
                <a:prstDash val="solid"/>
                <a:miter/>
              </a:ln>
            </p:spPr>
            <p:txBody>
              <a:bodyPr rtlCol="0" anchor="ctr"/>
              <a:lstStyle/>
              <a:p>
                <a:endParaRPr lang="en-GB"/>
              </a:p>
            </p:txBody>
          </p:sp>
          <p:sp>
            <p:nvSpPr>
              <p:cNvPr id="4157" name="Vrije vorm: vorm 4156">
                <a:extLst>
                  <a:ext uri="{FF2B5EF4-FFF2-40B4-BE49-F238E27FC236}">
                    <a16:creationId xmlns:a16="http://schemas.microsoft.com/office/drawing/2014/main" id="{ECC35EDD-D385-4585-9D88-1B697721CA6D}"/>
                  </a:ext>
                </a:extLst>
              </p:cNvPr>
              <p:cNvSpPr/>
              <p:nvPr/>
            </p:nvSpPr>
            <p:spPr>
              <a:xfrm>
                <a:off x="6637463" y="1405227"/>
                <a:ext cx="18284" cy="18447"/>
              </a:xfrm>
              <a:custGeom>
                <a:avLst/>
                <a:gdLst>
                  <a:gd name="connsiteX0" fmla="*/ 380 w 18284"/>
                  <a:gd name="connsiteY0" fmla="*/ 6562 h 18447"/>
                  <a:gd name="connsiteX1" fmla="*/ 11744 w 18284"/>
                  <a:gd name="connsiteY1" fmla="*/ 402 h 18447"/>
                  <a:gd name="connsiteX2" fmla="*/ 17904 w 18284"/>
                  <a:gd name="connsiteY2" fmla="*/ 11885 h 18447"/>
                  <a:gd name="connsiteX3" fmla="*/ 6541 w 18284"/>
                  <a:gd name="connsiteY3" fmla="*/ 18045 h 18447"/>
                  <a:gd name="connsiteX4" fmla="*/ 380 w 1828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7">
                    <a:moveTo>
                      <a:pt x="380" y="6562"/>
                    </a:moveTo>
                    <a:cubicBezTo>
                      <a:pt x="1816" y="1718"/>
                      <a:pt x="6899" y="-1093"/>
                      <a:pt x="11744" y="402"/>
                    </a:cubicBezTo>
                    <a:cubicBezTo>
                      <a:pt x="16588" y="1897"/>
                      <a:pt x="19340" y="6981"/>
                      <a:pt x="17904" y="11885"/>
                    </a:cubicBezTo>
                    <a:cubicBezTo>
                      <a:pt x="16469" y="16730"/>
                      <a:pt x="11385" y="19540"/>
                      <a:pt x="6541" y="18045"/>
                    </a:cubicBezTo>
                    <a:cubicBezTo>
                      <a:pt x="1696" y="16610"/>
                      <a:pt x="-1055" y="11467"/>
                      <a:pt x="380" y="6562"/>
                    </a:cubicBezTo>
                    <a:close/>
                  </a:path>
                </a:pathLst>
              </a:custGeom>
              <a:grpFill/>
              <a:ln w="5978" cap="flat">
                <a:noFill/>
                <a:prstDash val="solid"/>
                <a:miter/>
              </a:ln>
            </p:spPr>
            <p:txBody>
              <a:bodyPr rtlCol="0" anchor="ctr"/>
              <a:lstStyle/>
              <a:p>
                <a:endParaRPr lang="en-GB"/>
              </a:p>
            </p:txBody>
          </p:sp>
          <p:sp>
            <p:nvSpPr>
              <p:cNvPr id="4158" name="Vrije vorm: vorm 4157">
                <a:extLst>
                  <a:ext uri="{FF2B5EF4-FFF2-40B4-BE49-F238E27FC236}">
                    <a16:creationId xmlns:a16="http://schemas.microsoft.com/office/drawing/2014/main" id="{686417A6-2ED3-4C4D-B312-C670B13D5930}"/>
                  </a:ext>
                </a:extLst>
              </p:cNvPr>
              <p:cNvSpPr/>
              <p:nvPr/>
            </p:nvSpPr>
            <p:spPr>
              <a:xfrm>
                <a:off x="6573350" y="1622268"/>
                <a:ext cx="18344" cy="18447"/>
              </a:xfrm>
              <a:custGeom>
                <a:avLst/>
                <a:gdLst>
                  <a:gd name="connsiteX0" fmla="*/ 380 w 18344"/>
                  <a:gd name="connsiteY0" fmla="*/ 6562 h 18447"/>
                  <a:gd name="connsiteX1" fmla="*/ 6540 w 18344"/>
                  <a:gd name="connsiteY1" fmla="*/ 18045 h 18447"/>
                  <a:gd name="connsiteX2" fmla="*/ 17964 w 18344"/>
                  <a:gd name="connsiteY2" fmla="*/ 11885 h 18447"/>
                  <a:gd name="connsiteX3" fmla="*/ 11803 w 18344"/>
                  <a:gd name="connsiteY3" fmla="*/ 402 h 18447"/>
                  <a:gd name="connsiteX4" fmla="*/ 380 w 1834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47">
                    <a:moveTo>
                      <a:pt x="380" y="6562"/>
                    </a:moveTo>
                    <a:cubicBezTo>
                      <a:pt x="-1055" y="11407"/>
                      <a:pt x="1696" y="16550"/>
                      <a:pt x="6540" y="18045"/>
                    </a:cubicBezTo>
                    <a:cubicBezTo>
                      <a:pt x="11385" y="19540"/>
                      <a:pt x="16469" y="16730"/>
                      <a:pt x="17964" y="11885"/>
                    </a:cubicBezTo>
                    <a:cubicBezTo>
                      <a:pt x="19399" y="7041"/>
                      <a:pt x="16648" y="1897"/>
                      <a:pt x="11803" y="402"/>
                    </a:cubicBezTo>
                    <a:cubicBezTo>
                      <a:pt x="6959" y="-1093"/>
                      <a:pt x="1816" y="1718"/>
                      <a:pt x="380" y="6562"/>
                    </a:cubicBezTo>
                    <a:close/>
                  </a:path>
                </a:pathLst>
              </a:custGeom>
              <a:grpFill/>
              <a:ln w="5978" cap="flat">
                <a:noFill/>
                <a:prstDash val="solid"/>
                <a:miter/>
              </a:ln>
            </p:spPr>
            <p:txBody>
              <a:bodyPr rtlCol="0" anchor="ctr"/>
              <a:lstStyle/>
              <a:p>
                <a:endParaRPr lang="en-GB"/>
              </a:p>
            </p:txBody>
          </p:sp>
        </p:grpSp>
        <p:grpSp>
          <p:nvGrpSpPr>
            <p:cNvPr id="410" name="Graphic 3">
              <a:extLst>
                <a:ext uri="{FF2B5EF4-FFF2-40B4-BE49-F238E27FC236}">
                  <a16:creationId xmlns:a16="http://schemas.microsoft.com/office/drawing/2014/main" id="{6B372CC3-4A33-4012-93F3-79882A5326BA}"/>
                </a:ext>
              </a:extLst>
            </p:cNvPr>
            <p:cNvGrpSpPr/>
            <p:nvPr/>
          </p:nvGrpSpPr>
          <p:grpSpPr>
            <a:xfrm>
              <a:off x="6627186" y="1599745"/>
              <a:ext cx="82891" cy="199194"/>
              <a:chOff x="6627186" y="1599745"/>
              <a:chExt cx="82891" cy="199194"/>
            </a:xfrm>
            <a:grpFill/>
          </p:grpSpPr>
          <p:sp>
            <p:nvSpPr>
              <p:cNvPr id="4153" name="Vrije vorm: vorm 4152">
                <a:extLst>
                  <a:ext uri="{FF2B5EF4-FFF2-40B4-BE49-F238E27FC236}">
                    <a16:creationId xmlns:a16="http://schemas.microsoft.com/office/drawing/2014/main" id="{CE92BBE9-0087-4280-A2EC-640D6CD4FE79}"/>
                  </a:ext>
                </a:extLst>
              </p:cNvPr>
              <p:cNvSpPr/>
              <p:nvPr/>
            </p:nvSpPr>
            <p:spPr>
              <a:xfrm>
                <a:off x="6634734" y="1608017"/>
                <a:ext cx="67761" cy="182651"/>
              </a:xfrm>
              <a:custGeom>
                <a:avLst/>
                <a:gdLst>
                  <a:gd name="connsiteX0" fmla="*/ 67761 w 67761"/>
                  <a:gd name="connsiteY0" fmla="*/ 1076 h 182651"/>
                  <a:gd name="connsiteX1" fmla="*/ 2871 w 67761"/>
                  <a:gd name="connsiteY1" fmla="*/ 182651 h 182651"/>
                  <a:gd name="connsiteX2" fmla="*/ 0 w 67761"/>
                  <a:gd name="connsiteY2" fmla="*/ 181634 h 182651"/>
                  <a:gd name="connsiteX3" fmla="*/ 64891 w 67761"/>
                  <a:gd name="connsiteY3" fmla="*/ 0 h 182651"/>
                </a:gdLst>
                <a:ahLst/>
                <a:cxnLst>
                  <a:cxn ang="0">
                    <a:pos x="connsiteX0" y="connsiteY0"/>
                  </a:cxn>
                  <a:cxn ang="0">
                    <a:pos x="connsiteX1" y="connsiteY1"/>
                  </a:cxn>
                  <a:cxn ang="0">
                    <a:pos x="connsiteX2" y="connsiteY2"/>
                  </a:cxn>
                  <a:cxn ang="0">
                    <a:pos x="connsiteX3" y="connsiteY3"/>
                  </a:cxn>
                </a:cxnLst>
                <a:rect l="l" t="t" r="r" b="b"/>
                <a:pathLst>
                  <a:path w="67761" h="182651">
                    <a:moveTo>
                      <a:pt x="67761" y="1076"/>
                    </a:moveTo>
                    <a:lnTo>
                      <a:pt x="2871" y="182651"/>
                    </a:lnTo>
                    <a:lnTo>
                      <a:pt x="0" y="181634"/>
                    </a:lnTo>
                    <a:lnTo>
                      <a:pt x="64891" y="0"/>
                    </a:lnTo>
                    <a:close/>
                  </a:path>
                </a:pathLst>
              </a:custGeom>
              <a:grpFill/>
              <a:ln w="5978" cap="flat">
                <a:noFill/>
                <a:prstDash val="solid"/>
                <a:miter/>
              </a:ln>
            </p:spPr>
            <p:txBody>
              <a:bodyPr rtlCol="0" anchor="ctr"/>
              <a:lstStyle/>
              <a:p>
                <a:endParaRPr lang="en-GB"/>
              </a:p>
            </p:txBody>
          </p:sp>
          <p:sp>
            <p:nvSpPr>
              <p:cNvPr id="4154" name="Vrije vorm: vorm 4153">
                <a:extLst>
                  <a:ext uri="{FF2B5EF4-FFF2-40B4-BE49-F238E27FC236}">
                    <a16:creationId xmlns:a16="http://schemas.microsoft.com/office/drawing/2014/main" id="{EDACCADE-D840-46FC-9C05-5E918D7D7692}"/>
                  </a:ext>
                </a:extLst>
              </p:cNvPr>
              <p:cNvSpPr/>
              <p:nvPr/>
            </p:nvSpPr>
            <p:spPr>
              <a:xfrm>
                <a:off x="6691719" y="1599745"/>
                <a:ext cx="18359" cy="18397"/>
              </a:xfrm>
              <a:custGeom>
                <a:avLst/>
                <a:gdLst>
                  <a:gd name="connsiteX0" fmla="*/ 550 w 18359"/>
                  <a:gd name="connsiteY0" fmla="*/ 6059 h 18397"/>
                  <a:gd name="connsiteX1" fmla="*/ 12272 w 18359"/>
                  <a:gd name="connsiteY1" fmla="*/ 557 h 18397"/>
                  <a:gd name="connsiteX2" fmla="*/ 17834 w 18359"/>
                  <a:gd name="connsiteY2" fmla="*/ 12339 h 18397"/>
                  <a:gd name="connsiteX3" fmla="*/ 6112 w 18359"/>
                  <a:gd name="connsiteY3" fmla="*/ 17841 h 18397"/>
                  <a:gd name="connsiteX4" fmla="*/ 550 w 18359"/>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97">
                    <a:moveTo>
                      <a:pt x="550" y="6059"/>
                    </a:moveTo>
                    <a:cubicBezTo>
                      <a:pt x="2284" y="1274"/>
                      <a:pt x="7487" y="-1178"/>
                      <a:pt x="12272" y="557"/>
                    </a:cubicBezTo>
                    <a:cubicBezTo>
                      <a:pt x="17056" y="2291"/>
                      <a:pt x="19508" y="7554"/>
                      <a:pt x="17834" y="12339"/>
                    </a:cubicBezTo>
                    <a:cubicBezTo>
                      <a:pt x="16159" y="17123"/>
                      <a:pt x="10896" y="19575"/>
                      <a:pt x="6112" y="17841"/>
                    </a:cubicBezTo>
                    <a:cubicBezTo>
                      <a:pt x="1327" y="16166"/>
                      <a:pt x="-1185" y="10843"/>
                      <a:pt x="550" y="6059"/>
                    </a:cubicBezTo>
                    <a:close/>
                  </a:path>
                </a:pathLst>
              </a:custGeom>
              <a:grpFill/>
              <a:ln w="5978" cap="flat">
                <a:noFill/>
                <a:prstDash val="solid"/>
                <a:miter/>
              </a:ln>
            </p:spPr>
            <p:txBody>
              <a:bodyPr rtlCol="0" anchor="ctr"/>
              <a:lstStyle/>
              <a:p>
                <a:endParaRPr lang="en-GB"/>
              </a:p>
            </p:txBody>
          </p:sp>
          <p:sp>
            <p:nvSpPr>
              <p:cNvPr id="4155" name="Vrije vorm: vorm 4154">
                <a:extLst>
                  <a:ext uri="{FF2B5EF4-FFF2-40B4-BE49-F238E27FC236}">
                    <a16:creationId xmlns:a16="http://schemas.microsoft.com/office/drawing/2014/main" id="{29B422CB-4A4D-4442-8C01-379C4941E704}"/>
                  </a:ext>
                </a:extLst>
              </p:cNvPr>
              <p:cNvSpPr/>
              <p:nvPr/>
            </p:nvSpPr>
            <p:spPr>
              <a:xfrm>
                <a:off x="6627186" y="1780542"/>
                <a:ext cx="18383" cy="18397"/>
              </a:xfrm>
              <a:custGeom>
                <a:avLst/>
                <a:gdLst>
                  <a:gd name="connsiteX0" fmla="*/ 549 w 18383"/>
                  <a:gd name="connsiteY0" fmla="*/ 6059 h 18397"/>
                  <a:gd name="connsiteX1" fmla="*/ 6111 w 18383"/>
                  <a:gd name="connsiteY1" fmla="*/ 17841 h 18397"/>
                  <a:gd name="connsiteX2" fmla="*/ 17834 w 18383"/>
                  <a:gd name="connsiteY2" fmla="*/ 12339 h 18397"/>
                  <a:gd name="connsiteX3" fmla="*/ 12272 w 18383"/>
                  <a:gd name="connsiteY3" fmla="*/ 557 h 18397"/>
                  <a:gd name="connsiteX4" fmla="*/ 549 w 18383"/>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397">
                    <a:moveTo>
                      <a:pt x="549" y="6059"/>
                    </a:moveTo>
                    <a:cubicBezTo>
                      <a:pt x="-1185" y="10844"/>
                      <a:pt x="1327" y="16106"/>
                      <a:pt x="6111" y="17841"/>
                    </a:cubicBezTo>
                    <a:cubicBezTo>
                      <a:pt x="10896" y="19575"/>
                      <a:pt x="16099" y="17123"/>
                      <a:pt x="17834" y="12339"/>
                    </a:cubicBezTo>
                    <a:cubicBezTo>
                      <a:pt x="19568" y="7554"/>
                      <a:pt x="17056" y="2291"/>
                      <a:pt x="12272" y="557"/>
                    </a:cubicBezTo>
                    <a:cubicBezTo>
                      <a:pt x="7487" y="-1178"/>
                      <a:pt x="2224" y="1274"/>
                      <a:pt x="549" y="6059"/>
                    </a:cubicBezTo>
                    <a:close/>
                  </a:path>
                </a:pathLst>
              </a:custGeom>
              <a:grpFill/>
              <a:ln w="5978" cap="flat">
                <a:noFill/>
                <a:prstDash val="solid"/>
                <a:miter/>
              </a:ln>
            </p:spPr>
            <p:txBody>
              <a:bodyPr rtlCol="0" anchor="ctr"/>
              <a:lstStyle/>
              <a:p>
                <a:endParaRPr lang="en-GB"/>
              </a:p>
            </p:txBody>
          </p:sp>
        </p:grpSp>
        <p:grpSp>
          <p:nvGrpSpPr>
            <p:cNvPr id="411" name="Graphic 3">
              <a:extLst>
                <a:ext uri="{FF2B5EF4-FFF2-40B4-BE49-F238E27FC236}">
                  <a16:creationId xmlns:a16="http://schemas.microsoft.com/office/drawing/2014/main" id="{DF873338-2D10-4E67-B240-07074509D54B}"/>
                </a:ext>
              </a:extLst>
            </p:cNvPr>
            <p:cNvGrpSpPr/>
            <p:nvPr/>
          </p:nvGrpSpPr>
          <p:grpSpPr>
            <a:xfrm>
              <a:off x="6530152" y="1342367"/>
              <a:ext cx="185599" cy="447263"/>
              <a:chOff x="6530152" y="1342367"/>
              <a:chExt cx="185599" cy="447263"/>
            </a:xfrm>
            <a:grpFill/>
          </p:grpSpPr>
          <p:sp>
            <p:nvSpPr>
              <p:cNvPr id="4150" name="Vrije vorm: vorm 4149">
                <a:extLst>
                  <a:ext uri="{FF2B5EF4-FFF2-40B4-BE49-F238E27FC236}">
                    <a16:creationId xmlns:a16="http://schemas.microsoft.com/office/drawing/2014/main" id="{E85842F0-68F0-46B0-A4A5-F28C4E9E1F6D}"/>
                  </a:ext>
                </a:extLst>
              </p:cNvPr>
              <p:cNvSpPr/>
              <p:nvPr/>
            </p:nvSpPr>
            <p:spPr>
              <a:xfrm>
                <a:off x="6537786" y="1350607"/>
                <a:ext cx="170390" cy="430731"/>
              </a:xfrm>
              <a:custGeom>
                <a:avLst/>
                <a:gdLst>
                  <a:gd name="connsiteX0" fmla="*/ 170391 w 170390"/>
                  <a:gd name="connsiteY0" fmla="*/ 1136 h 430731"/>
                  <a:gd name="connsiteX1" fmla="*/ 2811 w 170390"/>
                  <a:gd name="connsiteY1" fmla="*/ 430732 h 430731"/>
                  <a:gd name="connsiteX2" fmla="*/ 0 w 170390"/>
                  <a:gd name="connsiteY2" fmla="*/ 429655 h 430731"/>
                  <a:gd name="connsiteX3" fmla="*/ 167520 w 170390"/>
                  <a:gd name="connsiteY3" fmla="*/ 0 h 430731"/>
                </a:gdLst>
                <a:ahLst/>
                <a:cxnLst>
                  <a:cxn ang="0">
                    <a:pos x="connsiteX0" y="connsiteY0"/>
                  </a:cxn>
                  <a:cxn ang="0">
                    <a:pos x="connsiteX1" y="connsiteY1"/>
                  </a:cxn>
                  <a:cxn ang="0">
                    <a:pos x="connsiteX2" y="connsiteY2"/>
                  </a:cxn>
                  <a:cxn ang="0">
                    <a:pos x="connsiteX3" y="connsiteY3"/>
                  </a:cxn>
                </a:cxnLst>
                <a:rect l="l" t="t" r="r" b="b"/>
                <a:pathLst>
                  <a:path w="170390" h="430731">
                    <a:moveTo>
                      <a:pt x="170391" y="1136"/>
                    </a:moveTo>
                    <a:lnTo>
                      <a:pt x="2811" y="430732"/>
                    </a:lnTo>
                    <a:lnTo>
                      <a:pt x="0" y="429655"/>
                    </a:lnTo>
                    <a:lnTo>
                      <a:pt x="167520" y="0"/>
                    </a:lnTo>
                    <a:close/>
                  </a:path>
                </a:pathLst>
              </a:custGeom>
              <a:grpFill/>
              <a:ln w="5978" cap="flat">
                <a:noFill/>
                <a:prstDash val="solid"/>
                <a:miter/>
              </a:ln>
            </p:spPr>
            <p:txBody>
              <a:bodyPr rtlCol="0" anchor="ctr"/>
              <a:lstStyle/>
              <a:p>
                <a:endParaRPr lang="en-GB"/>
              </a:p>
            </p:txBody>
          </p:sp>
          <p:sp>
            <p:nvSpPr>
              <p:cNvPr id="4151" name="Vrije vorm: vorm 4150">
                <a:extLst>
                  <a:ext uri="{FF2B5EF4-FFF2-40B4-BE49-F238E27FC236}">
                    <a16:creationId xmlns:a16="http://schemas.microsoft.com/office/drawing/2014/main" id="{0435AF62-BF1A-4CBD-9FCC-43FB1F8A69DB}"/>
                  </a:ext>
                </a:extLst>
              </p:cNvPr>
              <p:cNvSpPr/>
              <p:nvPr/>
            </p:nvSpPr>
            <p:spPr>
              <a:xfrm>
                <a:off x="6530152" y="1771192"/>
                <a:ext cx="18378" cy="18438"/>
              </a:xfrm>
              <a:custGeom>
                <a:avLst/>
                <a:gdLst>
                  <a:gd name="connsiteX0" fmla="*/ 17742 w 18378"/>
                  <a:gd name="connsiteY0" fmla="*/ 12598 h 18438"/>
                  <a:gd name="connsiteX1" fmla="*/ 5840 w 18378"/>
                  <a:gd name="connsiteY1" fmla="*/ 17801 h 18438"/>
                  <a:gd name="connsiteX2" fmla="*/ 637 w 18378"/>
                  <a:gd name="connsiteY2" fmla="*/ 5840 h 18438"/>
                  <a:gd name="connsiteX3" fmla="*/ 12538 w 18378"/>
                  <a:gd name="connsiteY3" fmla="*/ 637 h 18438"/>
                  <a:gd name="connsiteX4" fmla="*/ 17742 w 1837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38">
                    <a:moveTo>
                      <a:pt x="17742" y="12598"/>
                    </a:moveTo>
                    <a:cubicBezTo>
                      <a:pt x="15888" y="17323"/>
                      <a:pt x="10565" y="19655"/>
                      <a:pt x="5840" y="17801"/>
                    </a:cubicBezTo>
                    <a:cubicBezTo>
                      <a:pt x="1115" y="15947"/>
                      <a:pt x="-1217" y="10565"/>
                      <a:pt x="637" y="5840"/>
                    </a:cubicBezTo>
                    <a:cubicBezTo>
                      <a:pt x="2491" y="1115"/>
                      <a:pt x="7813" y="-1217"/>
                      <a:pt x="12538" y="637"/>
                    </a:cubicBezTo>
                    <a:cubicBezTo>
                      <a:pt x="17263" y="2491"/>
                      <a:pt x="19596" y="7814"/>
                      <a:pt x="17742" y="12598"/>
                    </a:cubicBezTo>
                    <a:close/>
                  </a:path>
                </a:pathLst>
              </a:custGeom>
              <a:grpFill/>
              <a:ln w="5978" cap="flat">
                <a:noFill/>
                <a:prstDash val="solid"/>
                <a:miter/>
              </a:ln>
            </p:spPr>
            <p:txBody>
              <a:bodyPr rtlCol="0" anchor="ctr"/>
              <a:lstStyle/>
              <a:p>
                <a:endParaRPr lang="en-GB"/>
              </a:p>
            </p:txBody>
          </p:sp>
          <p:sp>
            <p:nvSpPr>
              <p:cNvPr id="4152" name="Vrije vorm: vorm 4151">
                <a:extLst>
                  <a:ext uri="{FF2B5EF4-FFF2-40B4-BE49-F238E27FC236}">
                    <a16:creationId xmlns:a16="http://schemas.microsoft.com/office/drawing/2014/main" id="{B630E789-FF8E-4A34-B43C-662C0D8FBEBB}"/>
                  </a:ext>
                </a:extLst>
              </p:cNvPr>
              <p:cNvSpPr/>
              <p:nvPr/>
            </p:nvSpPr>
            <p:spPr>
              <a:xfrm>
                <a:off x="6697373" y="1342367"/>
                <a:ext cx="18378" cy="18445"/>
              </a:xfrm>
              <a:custGeom>
                <a:avLst/>
                <a:gdLst>
                  <a:gd name="connsiteX0" fmla="*/ 17742 w 18378"/>
                  <a:gd name="connsiteY0" fmla="*/ 12606 h 18445"/>
                  <a:gd name="connsiteX1" fmla="*/ 12538 w 18378"/>
                  <a:gd name="connsiteY1" fmla="*/ 644 h 18445"/>
                  <a:gd name="connsiteX2" fmla="*/ 637 w 18378"/>
                  <a:gd name="connsiteY2" fmla="*/ 5848 h 18445"/>
                  <a:gd name="connsiteX3" fmla="*/ 5840 w 18378"/>
                  <a:gd name="connsiteY3" fmla="*/ 17809 h 18445"/>
                  <a:gd name="connsiteX4" fmla="*/ 17742 w 18378"/>
                  <a:gd name="connsiteY4" fmla="*/ 12606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45">
                    <a:moveTo>
                      <a:pt x="17742" y="12606"/>
                    </a:moveTo>
                    <a:cubicBezTo>
                      <a:pt x="19596" y="7881"/>
                      <a:pt x="17263" y="2498"/>
                      <a:pt x="12538" y="644"/>
                    </a:cubicBezTo>
                    <a:cubicBezTo>
                      <a:pt x="7814" y="-1210"/>
                      <a:pt x="2491" y="1063"/>
                      <a:pt x="637" y="5848"/>
                    </a:cubicBezTo>
                    <a:cubicBezTo>
                      <a:pt x="-1217" y="10572"/>
                      <a:pt x="1115" y="15955"/>
                      <a:pt x="5840" y="17809"/>
                    </a:cubicBezTo>
                    <a:cubicBezTo>
                      <a:pt x="10565" y="19663"/>
                      <a:pt x="15888" y="17331"/>
                      <a:pt x="17742" y="12606"/>
                    </a:cubicBezTo>
                    <a:close/>
                  </a:path>
                </a:pathLst>
              </a:custGeom>
              <a:grpFill/>
              <a:ln w="5978" cap="flat">
                <a:noFill/>
                <a:prstDash val="solid"/>
                <a:miter/>
              </a:ln>
            </p:spPr>
            <p:txBody>
              <a:bodyPr rtlCol="0" anchor="ctr"/>
              <a:lstStyle/>
              <a:p>
                <a:endParaRPr lang="en-GB"/>
              </a:p>
            </p:txBody>
          </p:sp>
        </p:grpSp>
        <p:grpSp>
          <p:nvGrpSpPr>
            <p:cNvPr id="412" name="Graphic 3">
              <a:extLst>
                <a:ext uri="{FF2B5EF4-FFF2-40B4-BE49-F238E27FC236}">
                  <a16:creationId xmlns:a16="http://schemas.microsoft.com/office/drawing/2014/main" id="{1B741EED-9B63-41D9-B941-FE5CD715A730}"/>
                </a:ext>
              </a:extLst>
            </p:cNvPr>
            <p:cNvGrpSpPr/>
            <p:nvPr/>
          </p:nvGrpSpPr>
          <p:grpSpPr>
            <a:xfrm>
              <a:off x="7443472" y="4338719"/>
              <a:ext cx="343183" cy="279687"/>
              <a:chOff x="7443472" y="4338719"/>
              <a:chExt cx="343183" cy="279687"/>
            </a:xfrm>
            <a:grpFill/>
          </p:grpSpPr>
          <p:sp>
            <p:nvSpPr>
              <p:cNvPr id="4147" name="Vrije vorm: vorm 4146">
                <a:extLst>
                  <a:ext uri="{FF2B5EF4-FFF2-40B4-BE49-F238E27FC236}">
                    <a16:creationId xmlns:a16="http://schemas.microsoft.com/office/drawing/2014/main" id="{E548459F-DC98-4C8C-8922-D8262368378A}"/>
                  </a:ext>
                </a:extLst>
              </p:cNvPr>
              <p:cNvSpPr/>
              <p:nvPr/>
            </p:nvSpPr>
            <p:spPr>
              <a:xfrm>
                <a:off x="7451282" y="4346469"/>
                <a:ext cx="327503" cy="264228"/>
              </a:xfrm>
              <a:custGeom>
                <a:avLst/>
                <a:gdLst>
                  <a:gd name="connsiteX0" fmla="*/ 327504 w 327503"/>
                  <a:gd name="connsiteY0" fmla="*/ 261836 h 264228"/>
                  <a:gd name="connsiteX1" fmla="*/ 325590 w 327503"/>
                  <a:gd name="connsiteY1" fmla="*/ 264229 h 264228"/>
                  <a:gd name="connsiteX2" fmla="*/ 0 w 327503"/>
                  <a:gd name="connsiteY2" fmla="*/ 2392 h 264228"/>
                  <a:gd name="connsiteX3" fmla="*/ 1914 w 327503"/>
                  <a:gd name="connsiteY3" fmla="*/ 0 h 264228"/>
                </a:gdLst>
                <a:ahLst/>
                <a:cxnLst>
                  <a:cxn ang="0">
                    <a:pos x="connsiteX0" y="connsiteY0"/>
                  </a:cxn>
                  <a:cxn ang="0">
                    <a:pos x="connsiteX1" y="connsiteY1"/>
                  </a:cxn>
                  <a:cxn ang="0">
                    <a:pos x="connsiteX2" y="connsiteY2"/>
                  </a:cxn>
                  <a:cxn ang="0">
                    <a:pos x="connsiteX3" y="connsiteY3"/>
                  </a:cxn>
                </a:cxnLst>
                <a:rect l="l" t="t" r="r" b="b"/>
                <a:pathLst>
                  <a:path w="327503" h="264228">
                    <a:moveTo>
                      <a:pt x="327504" y="261836"/>
                    </a:moveTo>
                    <a:lnTo>
                      <a:pt x="325590" y="264229"/>
                    </a:lnTo>
                    <a:lnTo>
                      <a:pt x="0" y="2392"/>
                    </a:lnTo>
                    <a:lnTo>
                      <a:pt x="1914" y="0"/>
                    </a:lnTo>
                    <a:close/>
                  </a:path>
                </a:pathLst>
              </a:custGeom>
              <a:grpFill/>
              <a:ln w="5978" cap="flat">
                <a:noFill/>
                <a:prstDash val="solid"/>
                <a:miter/>
              </a:ln>
            </p:spPr>
            <p:txBody>
              <a:bodyPr rtlCol="0" anchor="ctr"/>
              <a:lstStyle/>
              <a:p>
                <a:endParaRPr lang="en-GB"/>
              </a:p>
            </p:txBody>
          </p:sp>
          <p:sp>
            <p:nvSpPr>
              <p:cNvPr id="4148" name="Vrije vorm: vorm 4147">
                <a:extLst>
                  <a:ext uri="{FF2B5EF4-FFF2-40B4-BE49-F238E27FC236}">
                    <a16:creationId xmlns:a16="http://schemas.microsoft.com/office/drawing/2014/main" id="{7B3B2DDF-F22F-4888-931E-0860CB2FB9DA}"/>
                  </a:ext>
                </a:extLst>
              </p:cNvPr>
              <p:cNvSpPr/>
              <p:nvPr/>
            </p:nvSpPr>
            <p:spPr>
              <a:xfrm>
                <a:off x="7443472" y="4338719"/>
                <a:ext cx="18311" cy="18474"/>
              </a:xfrm>
              <a:custGeom>
                <a:avLst/>
                <a:gdLst>
                  <a:gd name="connsiteX0" fmla="*/ 3444 w 18311"/>
                  <a:gd name="connsiteY0" fmla="*/ 16422 h 18474"/>
                  <a:gd name="connsiteX1" fmla="*/ 2008 w 18311"/>
                  <a:gd name="connsiteY1" fmla="*/ 3444 h 18474"/>
                  <a:gd name="connsiteX2" fmla="*/ 14867 w 18311"/>
                  <a:gd name="connsiteY2" fmla="*/ 2009 h 18474"/>
                  <a:gd name="connsiteX3" fmla="*/ 16302 w 18311"/>
                  <a:gd name="connsiteY3" fmla="*/ 14987 h 18474"/>
                  <a:gd name="connsiteX4" fmla="*/ 3444 w 18311"/>
                  <a:gd name="connsiteY4" fmla="*/ 16422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74">
                    <a:moveTo>
                      <a:pt x="3444" y="16422"/>
                    </a:moveTo>
                    <a:cubicBezTo>
                      <a:pt x="-503" y="13253"/>
                      <a:pt x="-1161" y="7451"/>
                      <a:pt x="2008" y="3444"/>
                    </a:cubicBezTo>
                    <a:cubicBezTo>
                      <a:pt x="5178" y="-503"/>
                      <a:pt x="10920" y="-1161"/>
                      <a:pt x="14867" y="2009"/>
                    </a:cubicBezTo>
                    <a:cubicBezTo>
                      <a:pt x="18815" y="5178"/>
                      <a:pt x="19472" y="10980"/>
                      <a:pt x="16302" y="14987"/>
                    </a:cubicBezTo>
                    <a:cubicBezTo>
                      <a:pt x="13132" y="18994"/>
                      <a:pt x="7391" y="19652"/>
                      <a:pt x="3444" y="16422"/>
                    </a:cubicBezTo>
                    <a:close/>
                  </a:path>
                </a:pathLst>
              </a:custGeom>
              <a:grpFill/>
              <a:ln w="5978" cap="flat">
                <a:noFill/>
                <a:prstDash val="solid"/>
                <a:miter/>
              </a:ln>
            </p:spPr>
            <p:txBody>
              <a:bodyPr rtlCol="0" anchor="ctr"/>
              <a:lstStyle/>
              <a:p>
                <a:endParaRPr lang="en-GB"/>
              </a:p>
            </p:txBody>
          </p:sp>
          <p:sp>
            <p:nvSpPr>
              <p:cNvPr id="4149" name="Vrije vorm: vorm 4148">
                <a:extLst>
                  <a:ext uri="{FF2B5EF4-FFF2-40B4-BE49-F238E27FC236}">
                    <a16:creationId xmlns:a16="http://schemas.microsoft.com/office/drawing/2014/main" id="{65F794E5-B7C8-4EC4-AC4F-BC28749AD543}"/>
                  </a:ext>
                </a:extLst>
              </p:cNvPr>
              <p:cNvSpPr/>
              <p:nvPr/>
            </p:nvSpPr>
            <p:spPr>
              <a:xfrm>
                <a:off x="7768344" y="4599938"/>
                <a:ext cx="18311" cy="18468"/>
              </a:xfrm>
              <a:custGeom>
                <a:avLst/>
                <a:gdLst>
                  <a:gd name="connsiteX0" fmla="*/ 3444 w 18311"/>
                  <a:gd name="connsiteY0" fmla="*/ 16441 h 18468"/>
                  <a:gd name="connsiteX1" fmla="*/ 16303 w 18311"/>
                  <a:gd name="connsiteY1" fmla="*/ 15006 h 18468"/>
                  <a:gd name="connsiteX2" fmla="*/ 14868 w 18311"/>
                  <a:gd name="connsiteY2" fmla="*/ 2028 h 18468"/>
                  <a:gd name="connsiteX3" fmla="*/ 2009 w 18311"/>
                  <a:gd name="connsiteY3" fmla="*/ 3463 h 18468"/>
                  <a:gd name="connsiteX4" fmla="*/ 3444 w 18311"/>
                  <a:gd name="connsiteY4" fmla="*/ 16441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68">
                    <a:moveTo>
                      <a:pt x="3444" y="16441"/>
                    </a:moveTo>
                    <a:cubicBezTo>
                      <a:pt x="7392" y="19611"/>
                      <a:pt x="13193" y="19013"/>
                      <a:pt x="16303" y="15006"/>
                    </a:cubicBezTo>
                    <a:cubicBezTo>
                      <a:pt x="19472" y="11059"/>
                      <a:pt x="18814" y="5257"/>
                      <a:pt x="14868" y="2028"/>
                    </a:cubicBezTo>
                    <a:cubicBezTo>
                      <a:pt x="10920" y="-1142"/>
                      <a:pt x="5119" y="-544"/>
                      <a:pt x="2009" y="3463"/>
                    </a:cubicBezTo>
                    <a:cubicBezTo>
                      <a:pt x="-1161" y="7470"/>
                      <a:pt x="-503" y="13271"/>
                      <a:pt x="3444" y="16441"/>
                    </a:cubicBezTo>
                    <a:close/>
                  </a:path>
                </a:pathLst>
              </a:custGeom>
              <a:grpFill/>
              <a:ln w="5978" cap="flat">
                <a:noFill/>
                <a:prstDash val="solid"/>
                <a:miter/>
              </a:ln>
            </p:spPr>
            <p:txBody>
              <a:bodyPr rtlCol="0" anchor="ctr"/>
              <a:lstStyle/>
              <a:p>
                <a:endParaRPr lang="en-GB"/>
              </a:p>
            </p:txBody>
          </p:sp>
        </p:grpSp>
        <p:grpSp>
          <p:nvGrpSpPr>
            <p:cNvPr id="413" name="Graphic 3">
              <a:extLst>
                <a:ext uri="{FF2B5EF4-FFF2-40B4-BE49-F238E27FC236}">
                  <a16:creationId xmlns:a16="http://schemas.microsoft.com/office/drawing/2014/main" id="{56AFA0E0-415E-4F11-9C65-54BF55ED80BD}"/>
                </a:ext>
              </a:extLst>
            </p:cNvPr>
            <p:cNvGrpSpPr/>
            <p:nvPr/>
          </p:nvGrpSpPr>
          <p:grpSpPr>
            <a:xfrm>
              <a:off x="6644538" y="1617044"/>
              <a:ext cx="22016" cy="29462"/>
              <a:chOff x="6644538" y="1617044"/>
              <a:chExt cx="22016" cy="29462"/>
            </a:xfrm>
            <a:grpFill/>
          </p:grpSpPr>
          <p:sp>
            <p:nvSpPr>
              <p:cNvPr id="4145" name="Vrije vorm: vorm 4144">
                <a:extLst>
                  <a:ext uri="{FF2B5EF4-FFF2-40B4-BE49-F238E27FC236}">
                    <a16:creationId xmlns:a16="http://schemas.microsoft.com/office/drawing/2014/main" id="{1DCC8665-9892-468A-9498-947A4AAA0B97}"/>
                  </a:ext>
                </a:extLst>
              </p:cNvPr>
              <p:cNvSpPr/>
              <p:nvPr/>
            </p:nvSpPr>
            <p:spPr>
              <a:xfrm>
                <a:off x="6648246" y="1617044"/>
                <a:ext cx="18308" cy="18428"/>
              </a:xfrm>
              <a:custGeom>
                <a:avLst/>
                <a:gdLst>
                  <a:gd name="connsiteX0" fmla="*/ 17827 w 18308"/>
                  <a:gd name="connsiteY0" fmla="*/ 12205 h 18428"/>
                  <a:gd name="connsiteX1" fmla="*/ 6224 w 18308"/>
                  <a:gd name="connsiteY1" fmla="*/ 17946 h 18428"/>
                  <a:gd name="connsiteX2" fmla="*/ 482 w 18308"/>
                  <a:gd name="connsiteY2" fmla="*/ 6224 h 18428"/>
                  <a:gd name="connsiteX3" fmla="*/ 12085 w 18308"/>
                  <a:gd name="connsiteY3" fmla="*/ 482 h 18428"/>
                  <a:gd name="connsiteX4" fmla="*/ 17827 w 18308"/>
                  <a:gd name="connsiteY4" fmla="*/ 1220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8">
                    <a:moveTo>
                      <a:pt x="17827" y="12205"/>
                    </a:moveTo>
                    <a:cubicBezTo>
                      <a:pt x="16212" y="16989"/>
                      <a:pt x="11009" y="19561"/>
                      <a:pt x="6224" y="17946"/>
                    </a:cubicBezTo>
                    <a:cubicBezTo>
                      <a:pt x="1440" y="16271"/>
                      <a:pt x="-1133" y="11068"/>
                      <a:pt x="482" y="6224"/>
                    </a:cubicBezTo>
                    <a:cubicBezTo>
                      <a:pt x="2097" y="1439"/>
                      <a:pt x="7300" y="-1132"/>
                      <a:pt x="12085" y="482"/>
                    </a:cubicBezTo>
                    <a:cubicBezTo>
                      <a:pt x="16870" y="2157"/>
                      <a:pt x="19441" y="7420"/>
                      <a:pt x="17827" y="12205"/>
                    </a:cubicBezTo>
                    <a:close/>
                  </a:path>
                </a:pathLst>
              </a:custGeom>
              <a:grpFill/>
              <a:ln w="5978" cap="flat">
                <a:noFill/>
                <a:prstDash val="solid"/>
                <a:miter/>
              </a:ln>
            </p:spPr>
            <p:txBody>
              <a:bodyPr rtlCol="0" anchor="ctr"/>
              <a:lstStyle/>
              <a:p>
                <a:endParaRPr lang="en-GB"/>
              </a:p>
            </p:txBody>
          </p:sp>
          <p:sp>
            <p:nvSpPr>
              <p:cNvPr id="4146" name="Vrije vorm: vorm 4145">
                <a:extLst>
                  <a:ext uri="{FF2B5EF4-FFF2-40B4-BE49-F238E27FC236}">
                    <a16:creationId xmlns:a16="http://schemas.microsoft.com/office/drawing/2014/main" id="{9A135ECA-AC2D-441A-8A45-9ACC93E7C88F}"/>
                  </a:ext>
                </a:extLst>
              </p:cNvPr>
              <p:cNvSpPr/>
              <p:nvPr/>
            </p:nvSpPr>
            <p:spPr>
              <a:xfrm>
                <a:off x="6644538" y="1628019"/>
                <a:ext cx="18308" cy="18486"/>
              </a:xfrm>
              <a:custGeom>
                <a:avLst/>
                <a:gdLst>
                  <a:gd name="connsiteX0" fmla="*/ 17827 w 18308"/>
                  <a:gd name="connsiteY0" fmla="*/ 12234 h 18486"/>
                  <a:gd name="connsiteX1" fmla="*/ 12085 w 18308"/>
                  <a:gd name="connsiteY1" fmla="*/ 512 h 18486"/>
                  <a:gd name="connsiteX2" fmla="*/ 482 w 18308"/>
                  <a:gd name="connsiteY2" fmla="*/ 6253 h 18486"/>
                  <a:gd name="connsiteX3" fmla="*/ 6224 w 18308"/>
                  <a:gd name="connsiteY3" fmla="*/ 17975 h 18486"/>
                  <a:gd name="connsiteX4" fmla="*/ 17827 w 18308"/>
                  <a:gd name="connsiteY4" fmla="*/ 12234 h 18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86">
                    <a:moveTo>
                      <a:pt x="17827" y="12234"/>
                    </a:moveTo>
                    <a:cubicBezTo>
                      <a:pt x="19441" y="7449"/>
                      <a:pt x="16870" y="2186"/>
                      <a:pt x="12085" y="512"/>
                    </a:cubicBezTo>
                    <a:cubicBezTo>
                      <a:pt x="7300" y="-1163"/>
                      <a:pt x="2097" y="1409"/>
                      <a:pt x="482" y="6253"/>
                    </a:cubicBezTo>
                    <a:cubicBezTo>
                      <a:pt x="-1133" y="11038"/>
                      <a:pt x="1440" y="16301"/>
                      <a:pt x="6224" y="17975"/>
                    </a:cubicBezTo>
                    <a:cubicBezTo>
                      <a:pt x="11009" y="19650"/>
                      <a:pt x="16212" y="17078"/>
                      <a:pt x="17827" y="12234"/>
                    </a:cubicBezTo>
                    <a:close/>
                  </a:path>
                </a:pathLst>
              </a:custGeom>
              <a:grpFill/>
              <a:ln w="5978" cap="flat">
                <a:noFill/>
                <a:prstDash val="solid"/>
                <a:miter/>
              </a:ln>
            </p:spPr>
            <p:txBody>
              <a:bodyPr rtlCol="0" anchor="ctr"/>
              <a:lstStyle/>
              <a:p>
                <a:endParaRPr lang="en-GB"/>
              </a:p>
            </p:txBody>
          </p:sp>
        </p:grpSp>
        <p:grpSp>
          <p:nvGrpSpPr>
            <p:cNvPr id="414" name="Graphic 3">
              <a:extLst>
                <a:ext uri="{FF2B5EF4-FFF2-40B4-BE49-F238E27FC236}">
                  <a16:creationId xmlns:a16="http://schemas.microsoft.com/office/drawing/2014/main" id="{76527113-3604-49F8-BD11-DE4915086DFF}"/>
                </a:ext>
              </a:extLst>
            </p:cNvPr>
            <p:cNvGrpSpPr/>
            <p:nvPr/>
          </p:nvGrpSpPr>
          <p:grpSpPr>
            <a:xfrm>
              <a:off x="7502979" y="4264051"/>
              <a:ext cx="51133" cy="37687"/>
              <a:chOff x="7502979" y="4264051"/>
              <a:chExt cx="51133" cy="37687"/>
            </a:xfrm>
            <a:grpFill/>
          </p:grpSpPr>
          <p:sp>
            <p:nvSpPr>
              <p:cNvPr id="4142" name="Vrije vorm: vorm 4141">
                <a:extLst>
                  <a:ext uri="{FF2B5EF4-FFF2-40B4-BE49-F238E27FC236}">
                    <a16:creationId xmlns:a16="http://schemas.microsoft.com/office/drawing/2014/main" id="{DC6CADFF-E074-4A1F-A42B-9414139719E1}"/>
                  </a:ext>
                </a:extLst>
              </p:cNvPr>
              <p:cNvSpPr/>
              <p:nvPr/>
            </p:nvSpPr>
            <p:spPr>
              <a:xfrm>
                <a:off x="7510969" y="4271710"/>
                <a:ext cx="35166" cy="22368"/>
              </a:xfrm>
              <a:custGeom>
                <a:avLst/>
                <a:gdLst>
                  <a:gd name="connsiteX0" fmla="*/ 35167 w 35166"/>
                  <a:gd name="connsiteY0" fmla="*/ 19737 h 22368"/>
                  <a:gd name="connsiteX1" fmla="*/ 33612 w 35166"/>
                  <a:gd name="connsiteY1" fmla="*/ 22368 h 22368"/>
                  <a:gd name="connsiteX2" fmla="*/ 0 w 35166"/>
                  <a:gd name="connsiteY2" fmla="*/ 2632 h 22368"/>
                  <a:gd name="connsiteX3" fmla="*/ 1495 w 35166"/>
                  <a:gd name="connsiteY3" fmla="*/ 0 h 22368"/>
                </a:gdLst>
                <a:ahLst/>
                <a:cxnLst>
                  <a:cxn ang="0">
                    <a:pos x="connsiteX0" y="connsiteY0"/>
                  </a:cxn>
                  <a:cxn ang="0">
                    <a:pos x="connsiteX1" y="connsiteY1"/>
                  </a:cxn>
                  <a:cxn ang="0">
                    <a:pos x="connsiteX2" y="connsiteY2"/>
                  </a:cxn>
                  <a:cxn ang="0">
                    <a:pos x="connsiteX3" y="connsiteY3"/>
                  </a:cxn>
                </a:cxnLst>
                <a:rect l="l" t="t" r="r" b="b"/>
                <a:pathLst>
                  <a:path w="35166" h="22368">
                    <a:moveTo>
                      <a:pt x="35167" y="19737"/>
                    </a:moveTo>
                    <a:lnTo>
                      <a:pt x="33612" y="22368"/>
                    </a:lnTo>
                    <a:lnTo>
                      <a:pt x="0" y="2632"/>
                    </a:lnTo>
                    <a:lnTo>
                      <a:pt x="1495" y="0"/>
                    </a:lnTo>
                    <a:close/>
                  </a:path>
                </a:pathLst>
              </a:custGeom>
              <a:grpFill/>
              <a:ln w="5978" cap="flat">
                <a:noFill/>
                <a:prstDash val="solid"/>
                <a:miter/>
              </a:ln>
            </p:spPr>
            <p:txBody>
              <a:bodyPr rtlCol="0" anchor="ctr"/>
              <a:lstStyle/>
              <a:p>
                <a:endParaRPr lang="en-GB"/>
              </a:p>
            </p:txBody>
          </p:sp>
          <p:sp>
            <p:nvSpPr>
              <p:cNvPr id="4143" name="Vrije vorm: vorm 4142">
                <a:extLst>
                  <a:ext uri="{FF2B5EF4-FFF2-40B4-BE49-F238E27FC236}">
                    <a16:creationId xmlns:a16="http://schemas.microsoft.com/office/drawing/2014/main" id="{981DD3BA-BAA4-4472-891A-8AFE222A0E5C}"/>
                  </a:ext>
                </a:extLst>
              </p:cNvPr>
              <p:cNvSpPr/>
              <p:nvPr/>
            </p:nvSpPr>
            <p:spPr>
              <a:xfrm>
                <a:off x="7535826" y="4283309"/>
                <a:ext cx="18285" cy="18429"/>
              </a:xfrm>
              <a:custGeom>
                <a:avLst/>
                <a:gdLst>
                  <a:gd name="connsiteX0" fmla="*/ 13718 w 18285"/>
                  <a:gd name="connsiteY0" fmla="*/ 1260 h 18429"/>
                  <a:gd name="connsiteX1" fmla="*/ 17068 w 18285"/>
                  <a:gd name="connsiteY1" fmla="*/ 13880 h 18429"/>
                  <a:gd name="connsiteX2" fmla="*/ 4568 w 18285"/>
                  <a:gd name="connsiteY2" fmla="*/ 17169 h 18429"/>
                  <a:gd name="connsiteX3" fmla="*/ 1219 w 18285"/>
                  <a:gd name="connsiteY3" fmla="*/ 4550 h 18429"/>
                  <a:gd name="connsiteX4" fmla="*/ 13718 w 18285"/>
                  <a:gd name="connsiteY4" fmla="*/ 126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9">
                    <a:moveTo>
                      <a:pt x="13718" y="1260"/>
                    </a:moveTo>
                    <a:cubicBezTo>
                      <a:pt x="18084" y="3832"/>
                      <a:pt x="19579" y="9454"/>
                      <a:pt x="17068" y="13880"/>
                    </a:cubicBezTo>
                    <a:cubicBezTo>
                      <a:pt x="14496" y="18246"/>
                      <a:pt x="8934" y="19741"/>
                      <a:pt x="4568" y="17169"/>
                    </a:cubicBezTo>
                    <a:cubicBezTo>
                      <a:pt x="202" y="14597"/>
                      <a:pt x="-1293" y="8975"/>
                      <a:pt x="1219" y="4550"/>
                    </a:cubicBezTo>
                    <a:cubicBezTo>
                      <a:pt x="3730" y="184"/>
                      <a:pt x="9352" y="-1311"/>
                      <a:pt x="13718" y="1260"/>
                    </a:cubicBezTo>
                    <a:close/>
                  </a:path>
                </a:pathLst>
              </a:custGeom>
              <a:grpFill/>
              <a:ln w="5978" cap="flat">
                <a:noFill/>
                <a:prstDash val="solid"/>
                <a:miter/>
              </a:ln>
            </p:spPr>
            <p:txBody>
              <a:bodyPr rtlCol="0" anchor="ctr"/>
              <a:lstStyle/>
              <a:p>
                <a:endParaRPr lang="en-GB"/>
              </a:p>
            </p:txBody>
          </p:sp>
          <p:sp>
            <p:nvSpPr>
              <p:cNvPr id="4144" name="Vrije vorm: vorm 4143">
                <a:extLst>
                  <a:ext uri="{FF2B5EF4-FFF2-40B4-BE49-F238E27FC236}">
                    <a16:creationId xmlns:a16="http://schemas.microsoft.com/office/drawing/2014/main" id="{991D2DF4-A933-4FC3-A577-50A2DBD232C5}"/>
                  </a:ext>
                </a:extLst>
              </p:cNvPr>
              <p:cNvSpPr/>
              <p:nvPr/>
            </p:nvSpPr>
            <p:spPr>
              <a:xfrm>
                <a:off x="7502979" y="4264051"/>
                <a:ext cx="18299" cy="18429"/>
              </a:xfrm>
              <a:custGeom>
                <a:avLst/>
                <a:gdLst>
                  <a:gd name="connsiteX0" fmla="*/ 13731 w 18299"/>
                  <a:gd name="connsiteY0" fmla="*/ 1261 h 18429"/>
                  <a:gd name="connsiteX1" fmla="*/ 1232 w 18299"/>
                  <a:gd name="connsiteY1" fmla="*/ 4550 h 18429"/>
                  <a:gd name="connsiteX2" fmla="*/ 4581 w 18299"/>
                  <a:gd name="connsiteY2" fmla="*/ 17169 h 18429"/>
                  <a:gd name="connsiteX3" fmla="*/ 17081 w 18299"/>
                  <a:gd name="connsiteY3" fmla="*/ 13880 h 18429"/>
                  <a:gd name="connsiteX4" fmla="*/ 13731 w 18299"/>
                  <a:gd name="connsiteY4" fmla="*/ 126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29">
                    <a:moveTo>
                      <a:pt x="13731" y="1261"/>
                    </a:moveTo>
                    <a:cubicBezTo>
                      <a:pt x="9366" y="-1311"/>
                      <a:pt x="3743" y="184"/>
                      <a:pt x="1232" y="4550"/>
                    </a:cubicBezTo>
                    <a:cubicBezTo>
                      <a:pt x="-1280" y="8916"/>
                      <a:pt x="155" y="14597"/>
                      <a:pt x="4581" y="17169"/>
                    </a:cubicBezTo>
                    <a:cubicBezTo>
                      <a:pt x="8946" y="19741"/>
                      <a:pt x="14569" y="18246"/>
                      <a:pt x="17081" y="13880"/>
                    </a:cubicBezTo>
                    <a:cubicBezTo>
                      <a:pt x="19592" y="9514"/>
                      <a:pt x="18097" y="3832"/>
                      <a:pt x="13731" y="1261"/>
                    </a:cubicBezTo>
                    <a:close/>
                  </a:path>
                </a:pathLst>
              </a:custGeom>
              <a:grpFill/>
              <a:ln w="5978" cap="flat">
                <a:noFill/>
                <a:prstDash val="solid"/>
                <a:miter/>
              </a:ln>
            </p:spPr>
            <p:txBody>
              <a:bodyPr rtlCol="0" anchor="ctr"/>
              <a:lstStyle/>
              <a:p>
                <a:endParaRPr lang="en-GB"/>
              </a:p>
            </p:txBody>
          </p:sp>
        </p:grpSp>
        <p:grpSp>
          <p:nvGrpSpPr>
            <p:cNvPr id="415" name="Graphic 3">
              <a:extLst>
                <a:ext uri="{FF2B5EF4-FFF2-40B4-BE49-F238E27FC236}">
                  <a16:creationId xmlns:a16="http://schemas.microsoft.com/office/drawing/2014/main" id="{798EF53F-7A1D-4DDB-8BAE-7FF876D0CD85}"/>
                </a:ext>
              </a:extLst>
            </p:cNvPr>
            <p:cNvGrpSpPr/>
            <p:nvPr/>
          </p:nvGrpSpPr>
          <p:grpSpPr>
            <a:xfrm>
              <a:off x="7585167" y="4516851"/>
              <a:ext cx="21696" cy="20831"/>
              <a:chOff x="7585167" y="4516851"/>
              <a:chExt cx="21696" cy="20831"/>
            </a:xfrm>
            <a:grpFill/>
          </p:grpSpPr>
          <p:sp>
            <p:nvSpPr>
              <p:cNvPr id="4139" name="Vrije vorm: vorm 4138">
                <a:extLst>
                  <a:ext uri="{FF2B5EF4-FFF2-40B4-BE49-F238E27FC236}">
                    <a16:creationId xmlns:a16="http://schemas.microsoft.com/office/drawing/2014/main" id="{A3F5ED76-2141-4EEE-BF77-510C72393B3E}"/>
                  </a:ext>
                </a:extLst>
              </p:cNvPr>
              <p:cNvSpPr/>
              <p:nvPr/>
            </p:nvSpPr>
            <p:spPr>
              <a:xfrm>
                <a:off x="7593084" y="4524575"/>
                <a:ext cx="5860" cy="5442"/>
              </a:xfrm>
              <a:custGeom>
                <a:avLst/>
                <a:gdLst>
                  <a:gd name="connsiteX0" fmla="*/ 5861 w 5860"/>
                  <a:gd name="connsiteY0" fmla="*/ 2930 h 5442"/>
                  <a:gd name="connsiteX1" fmla="*/ 4066 w 5860"/>
                  <a:gd name="connsiteY1" fmla="*/ 5442 h 5442"/>
                  <a:gd name="connsiteX2" fmla="*/ 0 w 5860"/>
                  <a:gd name="connsiteY2" fmla="*/ 2452 h 5442"/>
                  <a:gd name="connsiteX3" fmla="*/ 1735 w 5860"/>
                  <a:gd name="connsiteY3" fmla="*/ 0 h 5442"/>
                </a:gdLst>
                <a:ahLst/>
                <a:cxnLst>
                  <a:cxn ang="0">
                    <a:pos x="connsiteX0" y="connsiteY0"/>
                  </a:cxn>
                  <a:cxn ang="0">
                    <a:pos x="connsiteX1" y="connsiteY1"/>
                  </a:cxn>
                  <a:cxn ang="0">
                    <a:pos x="connsiteX2" y="connsiteY2"/>
                  </a:cxn>
                  <a:cxn ang="0">
                    <a:pos x="connsiteX3" y="connsiteY3"/>
                  </a:cxn>
                </a:cxnLst>
                <a:rect l="l" t="t" r="r" b="b"/>
                <a:pathLst>
                  <a:path w="5860" h="5442">
                    <a:moveTo>
                      <a:pt x="5861" y="2930"/>
                    </a:moveTo>
                    <a:lnTo>
                      <a:pt x="4066" y="5442"/>
                    </a:lnTo>
                    <a:lnTo>
                      <a:pt x="0" y="2452"/>
                    </a:lnTo>
                    <a:lnTo>
                      <a:pt x="1735" y="0"/>
                    </a:lnTo>
                    <a:close/>
                  </a:path>
                </a:pathLst>
              </a:custGeom>
              <a:grpFill/>
              <a:ln w="5978" cap="flat">
                <a:noFill/>
                <a:prstDash val="solid"/>
                <a:miter/>
              </a:ln>
            </p:spPr>
            <p:txBody>
              <a:bodyPr rtlCol="0" anchor="ctr"/>
              <a:lstStyle/>
              <a:p>
                <a:endParaRPr lang="en-GB"/>
              </a:p>
            </p:txBody>
          </p:sp>
          <p:sp>
            <p:nvSpPr>
              <p:cNvPr id="4140" name="Vrije vorm: vorm 4139">
                <a:extLst>
                  <a:ext uri="{FF2B5EF4-FFF2-40B4-BE49-F238E27FC236}">
                    <a16:creationId xmlns:a16="http://schemas.microsoft.com/office/drawing/2014/main" id="{B40B66B2-07E8-424A-B6E9-3A1C50DDD4C1}"/>
                  </a:ext>
                </a:extLst>
              </p:cNvPr>
              <p:cNvSpPr/>
              <p:nvPr/>
            </p:nvSpPr>
            <p:spPr>
              <a:xfrm>
                <a:off x="7588516" y="4519269"/>
                <a:ext cx="18346" cy="18413"/>
              </a:xfrm>
              <a:custGeom>
                <a:avLst/>
                <a:gdLst>
                  <a:gd name="connsiteX0" fmla="*/ 14496 w 18346"/>
                  <a:gd name="connsiteY0" fmla="*/ 1718 h 18413"/>
                  <a:gd name="connsiteX1" fmla="*/ 16649 w 18346"/>
                  <a:gd name="connsiteY1" fmla="*/ 14576 h 18413"/>
                  <a:gd name="connsiteX2" fmla="*/ 3851 w 18346"/>
                  <a:gd name="connsiteY2" fmla="*/ 16670 h 18413"/>
                  <a:gd name="connsiteX3" fmla="*/ 1698 w 18346"/>
                  <a:gd name="connsiteY3" fmla="*/ 3811 h 18413"/>
                  <a:gd name="connsiteX4" fmla="*/ 14496 w 18346"/>
                  <a:gd name="connsiteY4" fmla="*/ 171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3">
                    <a:moveTo>
                      <a:pt x="14496" y="1718"/>
                    </a:moveTo>
                    <a:cubicBezTo>
                      <a:pt x="18623" y="4708"/>
                      <a:pt x="19580" y="10450"/>
                      <a:pt x="16649" y="14576"/>
                    </a:cubicBezTo>
                    <a:cubicBezTo>
                      <a:pt x="13719" y="18703"/>
                      <a:pt x="7977" y="19660"/>
                      <a:pt x="3851" y="16670"/>
                    </a:cubicBezTo>
                    <a:cubicBezTo>
                      <a:pt x="-277" y="13680"/>
                      <a:pt x="-1233" y="7938"/>
                      <a:pt x="1698" y="3811"/>
                    </a:cubicBezTo>
                    <a:cubicBezTo>
                      <a:pt x="4628" y="-315"/>
                      <a:pt x="10369" y="-1213"/>
                      <a:pt x="14496" y="1718"/>
                    </a:cubicBezTo>
                    <a:close/>
                  </a:path>
                </a:pathLst>
              </a:custGeom>
              <a:grpFill/>
              <a:ln w="5978" cap="flat">
                <a:noFill/>
                <a:prstDash val="solid"/>
                <a:miter/>
              </a:ln>
            </p:spPr>
            <p:txBody>
              <a:bodyPr rtlCol="0" anchor="ctr"/>
              <a:lstStyle/>
              <a:p>
                <a:endParaRPr lang="en-GB"/>
              </a:p>
            </p:txBody>
          </p:sp>
          <p:sp>
            <p:nvSpPr>
              <p:cNvPr id="4141" name="Vrije vorm: vorm 4140">
                <a:extLst>
                  <a:ext uri="{FF2B5EF4-FFF2-40B4-BE49-F238E27FC236}">
                    <a16:creationId xmlns:a16="http://schemas.microsoft.com/office/drawing/2014/main" id="{4D14E11C-37D5-4F54-9EEA-834363C380DF}"/>
                  </a:ext>
                </a:extLst>
              </p:cNvPr>
              <p:cNvSpPr/>
              <p:nvPr/>
            </p:nvSpPr>
            <p:spPr>
              <a:xfrm>
                <a:off x="7585167" y="4516851"/>
                <a:ext cx="18346" cy="18439"/>
              </a:xfrm>
              <a:custGeom>
                <a:avLst/>
                <a:gdLst>
                  <a:gd name="connsiteX0" fmla="*/ 14496 w 18346"/>
                  <a:gd name="connsiteY0" fmla="*/ 1744 h 18439"/>
                  <a:gd name="connsiteX1" fmla="*/ 1697 w 18346"/>
                  <a:gd name="connsiteY1" fmla="*/ 3837 h 18439"/>
                  <a:gd name="connsiteX2" fmla="*/ 3850 w 18346"/>
                  <a:gd name="connsiteY2" fmla="*/ 16696 h 18439"/>
                  <a:gd name="connsiteX3" fmla="*/ 16649 w 18346"/>
                  <a:gd name="connsiteY3" fmla="*/ 14603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0370" y="-1246"/>
                      <a:pt x="4628" y="-290"/>
                      <a:pt x="1697" y="3837"/>
                    </a:cubicBezTo>
                    <a:cubicBezTo>
                      <a:pt x="-1233" y="7964"/>
                      <a:pt x="-276" y="13705"/>
                      <a:pt x="3850" y="16696"/>
                    </a:cubicBezTo>
                    <a:cubicBezTo>
                      <a:pt x="7977" y="19686"/>
                      <a:pt x="13719" y="18729"/>
                      <a:pt x="16649" y="14603"/>
                    </a:cubicBezTo>
                    <a:cubicBezTo>
                      <a:pt x="19580" y="10476"/>
                      <a:pt x="18623" y="4734"/>
                      <a:pt x="14496" y="1744"/>
                    </a:cubicBezTo>
                    <a:close/>
                  </a:path>
                </a:pathLst>
              </a:custGeom>
              <a:grpFill/>
              <a:ln w="5978" cap="flat">
                <a:noFill/>
                <a:prstDash val="solid"/>
                <a:miter/>
              </a:ln>
            </p:spPr>
            <p:txBody>
              <a:bodyPr rtlCol="0" anchor="ctr"/>
              <a:lstStyle/>
              <a:p>
                <a:endParaRPr lang="en-GB"/>
              </a:p>
            </p:txBody>
          </p:sp>
        </p:grpSp>
        <p:grpSp>
          <p:nvGrpSpPr>
            <p:cNvPr id="416" name="Graphic 3">
              <a:extLst>
                <a:ext uri="{FF2B5EF4-FFF2-40B4-BE49-F238E27FC236}">
                  <a16:creationId xmlns:a16="http://schemas.microsoft.com/office/drawing/2014/main" id="{5A6D67E2-C034-467C-BC31-678C8DB3631E}"/>
                </a:ext>
              </a:extLst>
            </p:cNvPr>
            <p:cNvGrpSpPr/>
            <p:nvPr/>
          </p:nvGrpSpPr>
          <p:grpSpPr>
            <a:xfrm>
              <a:off x="7474589" y="4608119"/>
              <a:ext cx="424964" cy="360052"/>
              <a:chOff x="7474589" y="4608119"/>
              <a:chExt cx="424964" cy="360052"/>
            </a:xfrm>
            <a:grpFill/>
          </p:grpSpPr>
          <p:sp>
            <p:nvSpPr>
              <p:cNvPr id="4136" name="Vrije vorm: vorm 4135">
                <a:extLst>
                  <a:ext uri="{FF2B5EF4-FFF2-40B4-BE49-F238E27FC236}">
                    <a16:creationId xmlns:a16="http://schemas.microsoft.com/office/drawing/2014/main" id="{75C48226-8213-4804-8EA6-F5E384DCF5CC}"/>
                  </a:ext>
                </a:extLst>
              </p:cNvPr>
              <p:cNvSpPr/>
              <p:nvPr/>
            </p:nvSpPr>
            <p:spPr>
              <a:xfrm>
                <a:off x="7482441" y="4615841"/>
                <a:ext cx="409260" cy="344549"/>
              </a:xfrm>
              <a:custGeom>
                <a:avLst/>
                <a:gdLst>
                  <a:gd name="connsiteX0" fmla="*/ 409260 w 409260"/>
                  <a:gd name="connsiteY0" fmla="*/ 342217 h 344549"/>
                  <a:gd name="connsiteX1" fmla="*/ 407287 w 409260"/>
                  <a:gd name="connsiteY1" fmla="*/ 344549 h 344549"/>
                  <a:gd name="connsiteX2" fmla="*/ 0 w 409260"/>
                  <a:gd name="connsiteY2" fmla="*/ 2333 h 344549"/>
                  <a:gd name="connsiteX3" fmla="*/ 1914 w 409260"/>
                  <a:gd name="connsiteY3" fmla="*/ 0 h 344549"/>
                </a:gdLst>
                <a:ahLst/>
                <a:cxnLst>
                  <a:cxn ang="0">
                    <a:pos x="connsiteX0" y="connsiteY0"/>
                  </a:cxn>
                  <a:cxn ang="0">
                    <a:pos x="connsiteX1" y="connsiteY1"/>
                  </a:cxn>
                  <a:cxn ang="0">
                    <a:pos x="connsiteX2" y="connsiteY2"/>
                  </a:cxn>
                  <a:cxn ang="0">
                    <a:pos x="connsiteX3" y="connsiteY3"/>
                  </a:cxn>
                </a:cxnLst>
                <a:rect l="l" t="t" r="r" b="b"/>
                <a:pathLst>
                  <a:path w="409260" h="344549">
                    <a:moveTo>
                      <a:pt x="409260" y="342217"/>
                    </a:moveTo>
                    <a:lnTo>
                      <a:pt x="407287" y="344549"/>
                    </a:lnTo>
                    <a:lnTo>
                      <a:pt x="0" y="2333"/>
                    </a:lnTo>
                    <a:lnTo>
                      <a:pt x="1914" y="0"/>
                    </a:lnTo>
                    <a:close/>
                  </a:path>
                </a:pathLst>
              </a:custGeom>
              <a:grpFill/>
              <a:ln w="5978" cap="flat">
                <a:noFill/>
                <a:prstDash val="solid"/>
                <a:miter/>
              </a:ln>
            </p:spPr>
            <p:txBody>
              <a:bodyPr rtlCol="0" anchor="ctr"/>
              <a:lstStyle/>
              <a:p>
                <a:endParaRPr lang="en-GB"/>
              </a:p>
            </p:txBody>
          </p:sp>
          <p:sp>
            <p:nvSpPr>
              <p:cNvPr id="4137" name="Vrije vorm: vorm 4136">
                <a:extLst>
                  <a:ext uri="{FF2B5EF4-FFF2-40B4-BE49-F238E27FC236}">
                    <a16:creationId xmlns:a16="http://schemas.microsoft.com/office/drawing/2014/main" id="{43D9DB38-DE22-411B-94BC-CAA9FBC52930}"/>
                  </a:ext>
                </a:extLst>
              </p:cNvPr>
              <p:cNvSpPr/>
              <p:nvPr/>
            </p:nvSpPr>
            <p:spPr>
              <a:xfrm>
                <a:off x="7881218" y="4949738"/>
                <a:ext cx="18335" cy="18433"/>
              </a:xfrm>
              <a:custGeom>
                <a:avLst/>
                <a:gdLst>
                  <a:gd name="connsiteX0" fmla="*/ 15028 w 18335"/>
                  <a:gd name="connsiteY0" fmla="*/ 2160 h 18433"/>
                  <a:gd name="connsiteX1" fmla="*/ 16225 w 18335"/>
                  <a:gd name="connsiteY1" fmla="*/ 15138 h 18433"/>
                  <a:gd name="connsiteX2" fmla="*/ 3306 w 18335"/>
                  <a:gd name="connsiteY2" fmla="*/ 16274 h 18433"/>
                  <a:gd name="connsiteX3" fmla="*/ 2111 w 18335"/>
                  <a:gd name="connsiteY3" fmla="*/ 3296 h 18433"/>
                  <a:gd name="connsiteX4" fmla="*/ 15028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8" y="2160"/>
                    </a:moveTo>
                    <a:cubicBezTo>
                      <a:pt x="18916" y="5449"/>
                      <a:pt x="19454" y="11250"/>
                      <a:pt x="16225" y="15138"/>
                    </a:cubicBezTo>
                    <a:cubicBezTo>
                      <a:pt x="12995" y="19025"/>
                      <a:pt x="7194" y="19563"/>
                      <a:pt x="3306" y="16274"/>
                    </a:cubicBezTo>
                    <a:cubicBezTo>
                      <a:pt x="-581" y="12985"/>
                      <a:pt x="-1119" y="7183"/>
                      <a:pt x="2111" y="3296"/>
                    </a:cubicBezTo>
                    <a:cubicBezTo>
                      <a:pt x="5340" y="-592"/>
                      <a:pt x="11142" y="-1130"/>
                      <a:pt x="15028" y="2160"/>
                    </a:cubicBezTo>
                    <a:close/>
                  </a:path>
                </a:pathLst>
              </a:custGeom>
              <a:grpFill/>
              <a:ln w="5978" cap="flat">
                <a:noFill/>
                <a:prstDash val="solid"/>
                <a:miter/>
              </a:ln>
            </p:spPr>
            <p:txBody>
              <a:bodyPr rtlCol="0" anchor="ctr"/>
              <a:lstStyle/>
              <a:p>
                <a:endParaRPr lang="en-GB"/>
              </a:p>
            </p:txBody>
          </p:sp>
          <p:sp>
            <p:nvSpPr>
              <p:cNvPr id="4138" name="Vrije vorm: vorm 4137">
                <a:extLst>
                  <a:ext uri="{FF2B5EF4-FFF2-40B4-BE49-F238E27FC236}">
                    <a16:creationId xmlns:a16="http://schemas.microsoft.com/office/drawing/2014/main" id="{9D5C5283-E43F-4AF1-8C1D-93051B7D345F}"/>
                  </a:ext>
                </a:extLst>
              </p:cNvPr>
              <p:cNvSpPr/>
              <p:nvPr/>
            </p:nvSpPr>
            <p:spPr>
              <a:xfrm>
                <a:off x="7474589" y="4608119"/>
                <a:ext cx="18335" cy="18433"/>
              </a:xfrm>
              <a:custGeom>
                <a:avLst/>
                <a:gdLst>
                  <a:gd name="connsiteX0" fmla="*/ 15028 w 18335"/>
                  <a:gd name="connsiteY0" fmla="*/ 2160 h 18433"/>
                  <a:gd name="connsiteX1" fmla="*/ 2111 w 18335"/>
                  <a:gd name="connsiteY1" fmla="*/ 3296 h 18433"/>
                  <a:gd name="connsiteX2" fmla="*/ 3306 w 18335"/>
                  <a:gd name="connsiteY2" fmla="*/ 16274 h 18433"/>
                  <a:gd name="connsiteX3" fmla="*/ 16225 w 18335"/>
                  <a:gd name="connsiteY3" fmla="*/ 15138 h 18433"/>
                  <a:gd name="connsiteX4" fmla="*/ 15028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8" y="2160"/>
                    </a:moveTo>
                    <a:cubicBezTo>
                      <a:pt x="11141" y="-1130"/>
                      <a:pt x="5340" y="-591"/>
                      <a:pt x="2111" y="3296"/>
                    </a:cubicBezTo>
                    <a:cubicBezTo>
                      <a:pt x="-1119" y="7183"/>
                      <a:pt x="-581" y="12985"/>
                      <a:pt x="3306" y="16274"/>
                    </a:cubicBezTo>
                    <a:cubicBezTo>
                      <a:pt x="7194" y="19564"/>
                      <a:pt x="12995" y="19026"/>
                      <a:pt x="16225" y="15138"/>
                    </a:cubicBezTo>
                    <a:cubicBezTo>
                      <a:pt x="19454" y="11250"/>
                      <a:pt x="18916" y="5389"/>
                      <a:pt x="15028" y="2160"/>
                    </a:cubicBezTo>
                    <a:close/>
                  </a:path>
                </a:pathLst>
              </a:custGeom>
              <a:grpFill/>
              <a:ln w="5978" cap="flat">
                <a:noFill/>
                <a:prstDash val="solid"/>
                <a:miter/>
              </a:ln>
            </p:spPr>
            <p:txBody>
              <a:bodyPr rtlCol="0" anchor="ctr"/>
              <a:lstStyle/>
              <a:p>
                <a:endParaRPr lang="en-GB"/>
              </a:p>
            </p:txBody>
          </p:sp>
        </p:grpSp>
        <p:grpSp>
          <p:nvGrpSpPr>
            <p:cNvPr id="417" name="Graphic 3">
              <a:extLst>
                <a:ext uri="{FF2B5EF4-FFF2-40B4-BE49-F238E27FC236}">
                  <a16:creationId xmlns:a16="http://schemas.microsoft.com/office/drawing/2014/main" id="{FA79FD71-EF7E-4CAF-A4D7-94E076545AF1}"/>
                </a:ext>
              </a:extLst>
            </p:cNvPr>
            <p:cNvGrpSpPr/>
            <p:nvPr/>
          </p:nvGrpSpPr>
          <p:grpSpPr>
            <a:xfrm>
              <a:off x="6600883" y="1614035"/>
              <a:ext cx="29746" cy="54708"/>
              <a:chOff x="6600883" y="1614035"/>
              <a:chExt cx="29746" cy="54708"/>
            </a:xfrm>
            <a:grpFill/>
          </p:grpSpPr>
          <p:sp>
            <p:nvSpPr>
              <p:cNvPr id="4133" name="Vrije vorm: vorm 4132">
                <a:extLst>
                  <a:ext uri="{FF2B5EF4-FFF2-40B4-BE49-F238E27FC236}">
                    <a16:creationId xmlns:a16="http://schemas.microsoft.com/office/drawing/2014/main" id="{27794DCA-44D9-4CDD-9501-44CD6997D757}"/>
                  </a:ext>
                </a:extLst>
              </p:cNvPr>
              <p:cNvSpPr/>
              <p:nvPr/>
            </p:nvSpPr>
            <p:spPr>
              <a:xfrm>
                <a:off x="6608418" y="1622371"/>
                <a:ext cx="14592" cy="38037"/>
              </a:xfrm>
              <a:custGeom>
                <a:avLst/>
                <a:gdLst>
                  <a:gd name="connsiteX0" fmla="*/ 14593 w 14592"/>
                  <a:gd name="connsiteY0" fmla="*/ 957 h 38037"/>
                  <a:gd name="connsiteX1" fmla="*/ 2930 w 14592"/>
                  <a:gd name="connsiteY1" fmla="*/ 38037 h 38037"/>
                  <a:gd name="connsiteX2" fmla="*/ 0 w 14592"/>
                  <a:gd name="connsiteY2" fmla="*/ 37081 h 38037"/>
                  <a:gd name="connsiteX3" fmla="*/ 11722 w 14592"/>
                  <a:gd name="connsiteY3" fmla="*/ 0 h 38037"/>
                </a:gdLst>
                <a:ahLst/>
                <a:cxnLst>
                  <a:cxn ang="0">
                    <a:pos x="connsiteX0" y="connsiteY0"/>
                  </a:cxn>
                  <a:cxn ang="0">
                    <a:pos x="connsiteX1" y="connsiteY1"/>
                  </a:cxn>
                  <a:cxn ang="0">
                    <a:pos x="connsiteX2" y="connsiteY2"/>
                  </a:cxn>
                  <a:cxn ang="0">
                    <a:pos x="connsiteX3" y="connsiteY3"/>
                  </a:cxn>
                </a:cxnLst>
                <a:rect l="l" t="t" r="r" b="b"/>
                <a:pathLst>
                  <a:path w="14592" h="38037">
                    <a:moveTo>
                      <a:pt x="14593" y="957"/>
                    </a:moveTo>
                    <a:lnTo>
                      <a:pt x="2930" y="38037"/>
                    </a:lnTo>
                    <a:lnTo>
                      <a:pt x="0" y="37081"/>
                    </a:lnTo>
                    <a:lnTo>
                      <a:pt x="11722" y="0"/>
                    </a:lnTo>
                    <a:close/>
                  </a:path>
                </a:pathLst>
              </a:custGeom>
              <a:grpFill/>
              <a:ln w="5978" cap="flat">
                <a:noFill/>
                <a:prstDash val="solid"/>
                <a:miter/>
              </a:ln>
            </p:spPr>
            <p:txBody>
              <a:bodyPr rtlCol="0" anchor="ctr"/>
              <a:lstStyle/>
              <a:p>
                <a:endParaRPr lang="en-GB"/>
              </a:p>
            </p:txBody>
          </p:sp>
          <p:sp>
            <p:nvSpPr>
              <p:cNvPr id="4134" name="Vrije vorm: vorm 4133">
                <a:extLst>
                  <a:ext uri="{FF2B5EF4-FFF2-40B4-BE49-F238E27FC236}">
                    <a16:creationId xmlns:a16="http://schemas.microsoft.com/office/drawing/2014/main" id="{BAEECA0A-7932-4244-A3F2-39FF4715742E}"/>
                  </a:ext>
                </a:extLst>
              </p:cNvPr>
              <p:cNvSpPr/>
              <p:nvPr/>
            </p:nvSpPr>
            <p:spPr>
              <a:xfrm>
                <a:off x="6600883" y="1650278"/>
                <a:ext cx="18300" cy="18465"/>
              </a:xfrm>
              <a:custGeom>
                <a:avLst/>
                <a:gdLst>
                  <a:gd name="connsiteX0" fmla="*/ 17882 w 18300"/>
                  <a:gd name="connsiteY0" fmla="*/ 12043 h 18465"/>
                  <a:gd name="connsiteX1" fmla="*/ 6399 w 18300"/>
                  <a:gd name="connsiteY1" fmla="*/ 18024 h 18465"/>
                  <a:gd name="connsiteX2" fmla="*/ 418 w 18300"/>
                  <a:gd name="connsiteY2" fmla="*/ 6422 h 18465"/>
                  <a:gd name="connsiteX3" fmla="*/ 11901 w 18300"/>
                  <a:gd name="connsiteY3" fmla="*/ 441 h 18465"/>
                  <a:gd name="connsiteX4" fmla="*/ 17882 w 18300"/>
                  <a:gd name="connsiteY4" fmla="*/ 12043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65">
                    <a:moveTo>
                      <a:pt x="17882" y="12043"/>
                    </a:moveTo>
                    <a:cubicBezTo>
                      <a:pt x="16327" y="16888"/>
                      <a:pt x="11184" y="19579"/>
                      <a:pt x="6399" y="18024"/>
                    </a:cubicBezTo>
                    <a:cubicBezTo>
                      <a:pt x="1555" y="16469"/>
                      <a:pt x="-1077" y="11266"/>
                      <a:pt x="418" y="6422"/>
                    </a:cubicBezTo>
                    <a:cubicBezTo>
                      <a:pt x="1974" y="1577"/>
                      <a:pt x="7117" y="-1114"/>
                      <a:pt x="11901" y="441"/>
                    </a:cubicBezTo>
                    <a:cubicBezTo>
                      <a:pt x="16746" y="1996"/>
                      <a:pt x="19377" y="7199"/>
                      <a:pt x="17882" y="12043"/>
                    </a:cubicBezTo>
                    <a:close/>
                  </a:path>
                </a:pathLst>
              </a:custGeom>
              <a:grpFill/>
              <a:ln w="5978" cap="flat">
                <a:noFill/>
                <a:prstDash val="solid"/>
                <a:miter/>
              </a:ln>
            </p:spPr>
            <p:txBody>
              <a:bodyPr rtlCol="0" anchor="ctr"/>
              <a:lstStyle/>
              <a:p>
                <a:endParaRPr lang="en-GB"/>
              </a:p>
            </p:txBody>
          </p:sp>
          <p:sp>
            <p:nvSpPr>
              <p:cNvPr id="4135" name="Vrije vorm: vorm 4134">
                <a:extLst>
                  <a:ext uri="{FF2B5EF4-FFF2-40B4-BE49-F238E27FC236}">
                    <a16:creationId xmlns:a16="http://schemas.microsoft.com/office/drawing/2014/main" id="{0CF48063-72A0-41D8-AEBF-8493A2D68EE9}"/>
                  </a:ext>
                </a:extLst>
              </p:cNvPr>
              <p:cNvSpPr/>
              <p:nvPr/>
            </p:nvSpPr>
            <p:spPr>
              <a:xfrm>
                <a:off x="6612283" y="1614035"/>
                <a:ext cx="18345" cy="18465"/>
              </a:xfrm>
              <a:custGeom>
                <a:avLst/>
                <a:gdLst>
                  <a:gd name="connsiteX0" fmla="*/ 17905 w 18345"/>
                  <a:gd name="connsiteY0" fmla="*/ 12044 h 18465"/>
                  <a:gd name="connsiteX1" fmla="*/ 11924 w 18345"/>
                  <a:gd name="connsiteY1" fmla="*/ 441 h 18465"/>
                  <a:gd name="connsiteX2" fmla="*/ 441 w 18345"/>
                  <a:gd name="connsiteY2" fmla="*/ 6422 h 18465"/>
                  <a:gd name="connsiteX3" fmla="*/ 6421 w 18345"/>
                  <a:gd name="connsiteY3" fmla="*/ 18024 h 18465"/>
                  <a:gd name="connsiteX4" fmla="*/ 17905 w 18345"/>
                  <a:gd name="connsiteY4" fmla="*/ 1204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5">
                    <a:moveTo>
                      <a:pt x="17905" y="12044"/>
                    </a:moveTo>
                    <a:cubicBezTo>
                      <a:pt x="19460" y="7199"/>
                      <a:pt x="16768" y="1996"/>
                      <a:pt x="11924" y="441"/>
                    </a:cubicBezTo>
                    <a:cubicBezTo>
                      <a:pt x="7080" y="-1114"/>
                      <a:pt x="1936" y="1577"/>
                      <a:pt x="441" y="6422"/>
                    </a:cubicBezTo>
                    <a:cubicBezTo>
                      <a:pt x="-1114" y="11266"/>
                      <a:pt x="1577" y="16469"/>
                      <a:pt x="6421" y="18024"/>
                    </a:cubicBezTo>
                    <a:cubicBezTo>
                      <a:pt x="11206" y="19579"/>
                      <a:pt x="16350" y="16888"/>
                      <a:pt x="17905" y="12044"/>
                    </a:cubicBezTo>
                    <a:close/>
                  </a:path>
                </a:pathLst>
              </a:custGeom>
              <a:grpFill/>
              <a:ln w="5978" cap="flat">
                <a:noFill/>
                <a:prstDash val="solid"/>
                <a:miter/>
              </a:ln>
            </p:spPr>
            <p:txBody>
              <a:bodyPr rtlCol="0" anchor="ctr"/>
              <a:lstStyle/>
              <a:p>
                <a:endParaRPr lang="en-GB"/>
              </a:p>
            </p:txBody>
          </p:sp>
        </p:grpSp>
        <p:grpSp>
          <p:nvGrpSpPr>
            <p:cNvPr id="418" name="Graphic 3">
              <a:extLst>
                <a:ext uri="{FF2B5EF4-FFF2-40B4-BE49-F238E27FC236}">
                  <a16:creationId xmlns:a16="http://schemas.microsoft.com/office/drawing/2014/main" id="{977F7415-5273-4317-89BC-17966A7F7CDE}"/>
                </a:ext>
              </a:extLst>
            </p:cNvPr>
            <p:cNvGrpSpPr/>
            <p:nvPr/>
          </p:nvGrpSpPr>
          <p:grpSpPr>
            <a:xfrm>
              <a:off x="7536691" y="4524653"/>
              <a:ext cx="109976" cy="87104"/>
              <a:chOff x="7536691" y="4524653"/>
              <a:chExt cx="109976" cy="87104"/>
            </a:xfrm>
            <a:grpFill/>
          </p:grpSpPr>
          <p:sp>
            <p:nvSpPr>
              <p:cNvPr id="4130" name="Vrije vorm: vorm 4129">
                <a:extLst>
                  <a:ext uri="{FF2B5EF4-FFF2-40B4-BE49-F238E27FC236}">
                    <a16:creationId xmlns:a16="http://schemas.microsoft.com/office/drawing/2014/main" id="{3BDF88F2-4D85-4DDD-B7AC-5CA8E96265F8}"/>
                  </a:ext>
                </a:extLst>
              </p:cNvPr>
              <p:cNvSpPr/>
              <p:nvPr/>
            </p:nvSpPr>
            <p:spPr>
              <a:xfrm>
                <a:off x="7544581" y="4532350"/>
                <a:ext cx="94196" cy="71648"/>
              </a:xfrm>
              <a:custGeom>
                <a:avLst/>
                <a:gdLst>
                  <a:gd name="connsiteX0" fmla="*/ 94196 w 94196"/>
                  <a:gd name="connsiteY0" fmla="*/ 69197 h 71648"/>
                  <a:gd name="connsiteX1" fmla="*/ 92402 w 94196"/>
                  <a:gd name="connsiteY1" fmla="*/ 71649 h 71648"/>
                  <a:gd name="connsiteX2" fmla="*/ 0 w 94196"/>
                  <a:gd name="connsiteY2" fmla="*/ 2452 h 71648"/>
                  <a:gd name="connsiteX3" fmla="*/ 1794 w 94196"/>
                  <a:gd name="connsiteY3" fmla="*/ 0 h 71648"/>
                </a:gdLst>
                <a:ahLst/>
                <a:cxnLst>
                  <a:cxn ang="0">
                    <a:pos x="connsiteX0" y="connsiteY0"/>
                  </a:cxn>
                  <a:cxn ang="0">
                    <a:pos x="connsiteX1" y="connsiteY1"/>
                  </a:cxn>
                  <a:cxn ang="0">
                    <a:pos x="connsiteX2" y="connsiteY2"/>
                  </a:cxn>
                  <a:cxn ang="0">
                    <a:pos x="connsiteX3" y="connsiteY3"/>
                  </a:cxn>
                </a:cxnLst>
                <a:rect l="l" t="t" r="r" b="b"/>
                <a:pathLst>
                  <a:path w="94196" h="71648">
                    <a:moveTo>
                      <a:pt x="94196" y="69197"/>
                    </a:moveTo>
                    <a:lnTo>
                      <a:pt x="92402" y="71649"/>
                    </a:lnTo>
                    <a:lnTo>
                      <a:pt x="0" y="2452"/>
                    </a:lnTo>
                    <a:lnTo>
                      <a:pt x="1794" y="0"/>
                    </a:lnTo>
                    <a:close/>
                  </a:path>
                </a:pathLst>
              </a:custGeom>
              <a:grpFill/>
              <a:ln w="5978" cap="flat">
                <a:noFill/>
                <a:prstDash val="solid"/>
                <a:miter/>
              </a:ln>
            </p:spPr>
            <p:txBody>
              <a:bodyPr rtlCol="0" anchor="ctr"/>
              <a:lstStyle/>
              <a:p>
                <a:endParaRPr lang="en-GB"/>
              </a:p>
            </p:txBody>
          </p:sp>
          <p:sp>
            <p:nvSpPr>
              <p:cNvPr id="4131" name="Vrije vorm: vorm 4130">
                <a:extLst>
                  <a:ext uri="{FF2B5EF4-FFF2-40B4-BE49-F238E27FC236}">
                    <a16:creationId xmlns:a16="http://schemas.microsoft.com/office/drawing/2014/main" id="{AB1E43BE-45AD-42F3-93A6-EA2D52AFAEA8}"/>
                  </a:ext>
                </a:extLst>
              </p:cNvPr>
              <p:cNvSpPr/>
              <p:nvPr/>
            </p:nvSpPr>
            <p:spPr>
              <a:xfrm>
                <a:off x="7628375" y="4593311"/>
                <a:ext cx="18292" cy="18445"/>
              </a:xfrm>
              <a:custGeom>
                <a:avLst/>
                <a:gdLst>
                  <a:gd name="connsiteX0" fmla="*/ 14588 w 18292"/>
                  <a:gd name="connsiteY0" fmla="*/ 1837 h 18445"/>
                  <a:gd name="connsiteX1" fmla="*/ 16503 w 18292"/>
                  <a:gd name="connsiteY1" fmla="*/ 14755 h 18445"/>
                  <a:gd name="connsiteX2" fmla="*/ 3704 w 18292"/>
                  <a:gd name="connsiteY2" fmla="*/ 16609 h 18445"/>
                  <a:gd name="connsiteX3" fmla="*/ 1789 w 18292"/>
                  <a:gd name="connsiteY3" fmla="*/ 3691 h 18445"/>
                  <a:gd name="connsiteX4" fmla="*/ 14588 w 18292"/>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445">
                    <a:moveTo>
                      <a:pt x="14588" y="1837"/>
                    </a:moveTo>
                    <a:cubicBezTo>
                      <a:pt x="18656" y="4887"/>
                      <a:pt x="19493" y="10629"/>
                      <a:pt x="16503" y="14755"/>
                    </a:cubicBezTo>
                    <a:cubicBezTo>
                      <a:pt x="13512" y="18822"/>
                      <a:pt x="7770" y="19659"/>
                      <a:pt x="3704" y="16609"/>
                    </a:cubicBezTo>
                    <a:cubicBezTo>
                      <a:pt x="-363" y="13559"/>
                      <a:pt x="-1201" y="7817"/>
                      <a:pt x="1789" y="3691"/>
                    </a:cubicBezTo>
                    <a:cubicBezTo>
                      <a:pt x="4780" y="-376"/>
                      <a:pt x="10522" y="-1213"/>
                      <a:pt x="14588" y="1837"/>
                    </a:cubicBezTo>
                    <a:close/>
                  </a:path>
                </a:pathLst>
              </a:custGeom>
              <a:grpFill/>
              <a:ln w="5978" cap="flat">
                <a:noFill/>
                <a:prstDash val="solid"/>
                <a:miter/>
              </a:ln>
            </p:spPr>
            <p:txBody>
              <a:bodyPr rtlCol="0" anchor="ctr"/>
              <a:lstStyle/>
              <a:p>
                <a:endParaRPr lang="en-GB"/>
              </a:p>
            </p:txBody>
          </p:sp>
          <p:sp>
            <p:nvSpPr>
              <p:cNvPr id="4132" name="Vrije vorm: vorm 4131">
                <a:extLst>
                  <a:ext uri="{FF2B5EF4-FFF2-40B4-BE49-F238E27FC236}">
                    <a16:creationId xmlns:a16="http://schemas.microsoft.com/office/drawing/2014/main" id="{92B69F5D-3DF5-452E-B2FE-48E5F314E7CB}"/>
                  </a:ext>
                </a:extLst>
              </p:cNvPr>
              <p:cNvSpPr/>
              <p:nvPr/>
            </p:nvSpPr>
            <p:spPr>
              <a:xfrm>
                <a:off x="7536691" y="4524653"/>
                <a:ext cx="18317" cy="18445"/>
              </a:xfrm>
              <a:custGeom>
                <a:avLst/>
                <a:gdLst>
                  <a:gd name="connsiteX0" fmla="*/ 14588 w 18317"/>
                  <a:gd name="connsiteY0" fmla="*/ 1837 h 18445"/>
                  <a:gd name="connsiteX1" fmla="*/ 1790 w 18317"/>
                  <a:gd name="connsiteY1" fmla="*/ 3691 h 18445"/>
                  <a:gd name="connsiteX2" fmla="*/ 3703 w 18317"/>
                  <a:gd name="connsiteY2" fmla="*/ 16609 h 18445"/>
                  <a:gd name="connsiteX3" fmla="*/ 16502 w 18317"/>
                  <a:gd name="connsiteY3" fmla="*/ 14755 h 18445"/>
                  <a:gd name="connsiteX4" fmla="*/ 14588 w 18317"/>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5">
                    <a:moveTo>
                      <a:pt x="14588" y="1837"/>
                    </a:moveTo>
                    <a:cubicBezTo>
                      <a:pt x="10521" y="-1213"/>
                      <a:pt x="4780" y="-376"/>
                      <a:pt x="1790" y="3691"/>
                    </a:cubicBezTo>
                    <a:cubicBezTo>
                      <a:pt x="-1201" y="7758"/>
                      <a:pt x="-363" y="13559"/>
                      <a:pt x="3703" y="16609"/>
                    </a:cubicBezTo>
                    <a:cubicBezTo>
                      <a:pt x="7770" y="19659"/>
                      <a:pt x="13512" y="18822"/>
                      <a:pt x="16502" y="14755"/>
                    </a:cubicBezTo>
                    <a:cubicBezTo>
                      <a:pt x="19552" y="10628"/>
                      <a:pt x="18655" y="4887"/>
                      <a:pt x="14588" y="1837"/>
                    </a:cubicBezTo>
                    <a:close/>
                  </a:path>
                </a:pathLst>
              </a:custGeom>
              <a:grpFill/>
              <a:ln w="5978" cap="flat">
                <a:noFill/>
                <a:prstDash val="solid"/>
                <a:miter/>
              </a:ln>
            </p:spPr>
            <p:txBody>
              <a:bodyPr rtlCol="0" anchor="ctr"/>
              <a:lstStyle/>
              <a:p>
                <a:endParaRPr lang="en-GB"/>
              </a:p>
            </p:txBody>
          </p:sp>
        </p:grpSp>
        <p:grpSp>
          <p:nvGrpSpPr>
            <p:cNvPr id="419" name="Graphic 3">
              <a:extLst>
                <a:ext uri="{FF2B5EF4-FFF2-40B4-BE49-F238E27FC236}">
                  <a16:creationId xmlns:a16="http://schemas.microsoft.com/office/drawing/2014/main" id="{DC8D5FE2-F6C0-4FFB-8B37-C2AED042B7C5}"/>
                </a:ext>
              </a:extLst>
            </p:cNvPr>
            <p:cNvGrpSpPr/>
            <p:nvPr/>
          </p:nvGrpSpPr>
          <p:grpSpPr>
            <a:xfrm>
              <a:off x="6596812" y="1628108"/>
              <a:ext cx="65975" cy="160140"/>
              <a:chOff x="6596812" y="1628108"/>
              <a:chExt cx="65975" cy="160140"/>
            </a:xfrm>
            <a:grpFill/>
          </p:grpSpPr>
          <p:sp>
            <p:nvSpPr>
              <p:cNvPr id="4127" name="Vrije vorm: vorm 4126">
                <a:extLst>
                  <a:ext uri="{FF2B5EF4-FFF2-40B4-BE49-F238E27FC236}">
                    <a16:creationId xmlns:a16="http://schemas.microsoft.com/office/drawing/2014/main" id="{EF462F43-349F-4E34-A077-92A46BE785DC}"/>
                  </a:ext>
                </a:extLst>
              </p:cNvPr>
              <p:cNvSpPr/>
              <p:nvPr/>
            </p:nvSpPr>
            <p:spPr>
              <a:xfrm>
                <a:off x="6604411" y="1636366"/>
                <a:ext cx="50836" cy="143537"/>
              </a:xfrm>
              <a:custGeom>
                <a:avLst/>
                <a:gdLst>
                  <a:gd name="connsiteX0" fmla="*/ 50836 w 50836"/>
                  <a:gd name="connsiteY0" fmla="*/ 957 h 143537"/>
                  <a:gd name="connsiteX1" fmla="*/ 2871 w 50836"/>
                  <a:gd name="connsiteY1" fmla="*/ 143537 h 143537"/>
                  <a:gd name="connsiteX2" fmla="*/ 0 w 50836"/>
                  <a:gd name="connsiteY2" fmla="*/ 142580 h 143537"/>
                  <a:gd name="connsiteX3" fmla="*/ 47965 w 50836"/>
                  <a:gd name="connsiteY3" fmla="*/ 0 h 143537"/>
                </a:gdLst>
                <a:ahLst/>
                <a:cxnLst>
                  <a:cxn ang="0">
                    <a:pos x="connsiteX0" y="connsiteY0"/>
                  </a:cxn>
                  <a:cxn ang="0">
                    <a:pos x="connsiteX1" y="connsiteY1"/>
                  </a:cxn>
                  <a:cxn ang="0">
                    <a:pos x="connsiteX2" y="connsiteY2"/>
                  </a:cxn>
                  <a:cxn ang="0">
                    <a:pos x="connsiteX3" y="connsiteY3"/>
                  </a:cxn>
                </a:cxnLst>
                <a:rect l="l" t="t" r="r" b="b"/>
                <a:pathLst>
                  <a:path w="50836" h="143537">
                    <a:moveTo>
                      <a:pt x="50836" y="957"/>
                    </a:moveTo>
                    <a:lnTo>
                      <a:pt x="2871" y="143537"/>
                    </a:lnTo>
                    <a:lnTo>
                      <a:pt x="0" y="142580"/>
                    </a:lnTo>
                    <a:lnTo>
                      <a:pt x="47965" y="0"/>
                    </a:lnTo>
                    <a:close/>
                  </a:path>
                </a:pathLst>
              </a:custGeom>
              <a:grpFill/>
              <a:ln w="5978" cap="flat">
                <a:noFill/>
                <a:prstDash val="solid"/>
                <a:miter/>
              </a:ln>
            </p:spPr>
            <p:txBody>
              <a:bodyPr rtlCol="0" anchor="ctr"/>
              <a:lstStyle/>
              <a:p>
                <a:endParaRPr lang="en-GB"/>
              </a:p>
            </p:txBody>
          </p:sp>
          <p:sp>
            <p:nvSpPr>
              <p:cNvPr id="4128" name="Vrije vorm: vorm 4127">
                <a:extLst>
                  <a:ext uri="{FF2B5EF4-FFF2-40B4-BE49-F238E27FC236}">
                    <a16:creationId xmlns:a16="http://schemas.microsoft.com/office/drawing/2014/main" id="{BCBB4D41-00A2-4E8E-BC2D-79115833ED4A}"/>
                  </a:ext>
                </a:extLst>
              </p:cNvPr>
              <p:cNvSpPr/>
              <p:nvPr/>
            </p:nvSpPr>
            <p:spPr>
              <a:xfrm>
                <a:off x="6644478" y="1628108"/>
                <a:ext cx="18308" cy="18428"/>
              </a:xfrm>
              <a:custGeom>
                <a:avLst/>
                <a:gdLst>
                  <a:gd name="connsiteX0" fmla="*/ 482 w 18308"/>
                  <a:gd name="connsiteY0" fmla="*/ 6224 h 18428"/>
                  <a:gd name="connsiteX1" fmla="*/ 12085 w 18308"/>
                  <a:gd name="connsiteY1" fmla="*/ 482 h 18428"/>
                  <a:gd name="connsiteX2" fmla="*/ 17826 w 18308"/>
                  <a:gd name="connsiteY2" fmla="*/ 12205 h 18428"/>
                  <a:gd name="connsiteX3" fmla="*/ 6224 w 18308"/>
                  <a:gd name="connsiteY3" fmla="*/ 17946 h 18428"/>
                  <a:gd name="connsiteX4" fmla="*/ 482 w 18308"/>
                  <a:gd name="connsiteY4" fmla="*/ 622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8">
                    <a:moveTo>
                      <a:pt x="482" y="6224"/>
                    </a:moveTo>
                    <a:cubicBezTo>
                      <a:pt x="2097" y="1439"/>
                      <a:pt x="7300" y="-1132"/>
                      <a:pt x="12085" y="482"/>
                    </a:cubicBezTo>
                    <a:cubicBezTo>
                      <a:pt x="16869" y="2157"/>
                      <a:pt x="19441" y="7360"/>
                      <a:pt x="17826" y="12205"/>
                    </a:cubicBezTo>
                    <a:cubicBezTo>
                      <a:pt x="16212" y="16989"/>
                      <a:pt x="11008" y="19561"/>
                      <a:pt x="6224" y="17946"/>
                    </a:cubicBezTo>
                    <a:cubicBezTo>
                      <a:pt x="1439" y="16271"/>
                      <a:pt x="-1132" y="11008"/>
                      <a:pt x="482" y="6224"/>
                    </a:cubicBezTo>
                    <a:close/>
                  </a:path>
                </a:pathLst>
              </a:custGeom>
              <a:grpFill/>
              <a:ln w="5978" cap="flat">
                <a:noFill/>
                <a:prstDash val="solid"/>
                <a:miter/>
              </a:ln>
            </p:spPr>
            <p:txBody>
              <a:bodyPr rtlCol="0" anchor="ctr"/>
              <a:lstStyle/>
              <a:p>
                <a:endParaRPr lang="en-GB"/>
              </a:p>
            </p:txBody>
          </p:sp>
          <p:sp>
            <p:nvSpPr>
              <p:cNvPr id="4129" name="Vrije vorm: vorm 4128">
                <a:extLst>
                  <a:ext uri="{FF2B5EF4-FFF2-40B4-BE49-F238E27FC236}">
                    <a16:creationId xmlns:a16="http://schemas.microsoft.com/office/drawing/2014/main" id="{B7647B79-651B-45EA-81C2-95AEB9EF70EA}"/>
                  </a:ext>
                </a:extLst>
              </p:cNvPr>
              <p:cNvSpPr/>
              <p:nvPr/>
            </p:nvSpPr>
            <p:spPr>
              <a:xfrm>
                <a:off x="6596812" y="1769792"/>
                <a:ext cx="18308" cy="18457"/>
              </a:xfrm>
              <a:custGeom>
                <a:avLst/>
                <a:gdLst>
                  <a:gd name="connsiteX0" fmla="*/ 482 w 18308"/>
                  <a:gd name="connsiteY0" fmla="*/ 6224 h 18457"/>
                  <a:gd name="connsiteX1" fmla="*/ 6224 w 18308"/>
                  <a:gd name="connsiteY1" fmla="*/ 17946 h 18457"/>
                  <a:gd name="connsiteX2" fmla="*/ 17826 w 18308"/>
                  <a:gd name="connsiteY2" fmla="*/ 12205 h 18457"/>
                  <a:gd name="connsiteX3" fmla="*/ 12085 w 18308"/>
                  <a:gd name="connsiteY3" fmla="*/ 482 h 18457"/>
                  <a:gd name="connsiteX4" fmla="*/ 482 w 18308"/>
                  <a:gd name="connsiteY4" fmla="*/ 6224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7">
                    <a:moveTo>
                      <a:pt x="482" y="6224"/>
                    </a:moveTo>
                    <a:cubicBezTo>
                      <a:pt x="-1132" y="11008"/>
                      <a:pt x="1439" y="16271"/>
                      <a:pt x="6224" y="17946"/>
                    </a:cubicBezTo>
                    <a:cubicBezTo>
                      <a:pt x="11009" y="19621"/>
                      <a:pt x="16212" y="17049"/>
                      <a:pt x="17826" y="12205"/>
                    </a:cubicBezTo>
                    <a:cubicBezTo>
                      <a:pt x="19441" y="7420"/>
                      <a:pt x="16870" y="2157"/>
                      <a:pt x="12085" y="482"/>
                    </a:cubicBezTo>
                    <a:cubicBezTo>
                      <a:pt x="7360" y="-1132"/>
                      <a:pt x="2157" y="1439"/>
                      <a:pt x="482" y="6224"/>
                    </a:cubicBezTo>
                    <a:close/>
                  </a:path>
                </a:pathLst>
              </a:custGeom>
              <a:grpFill/>
              <a:ln w="5978" cap="flat">
                <a:noFill/>
                <a:prstDash val="solid"/>
                <a:miter/>
              </a:ln>
            </p:spPr>
            <p:txBody>
              <a:bodyPr rtlCol="0" anchor="ctr"/>
              <a:lstStyle/>
              <a:p>
                <a:endParaRPr lang="en-GB"/>
              </a:p>
            </p:txBody>
          </p:sp>
        </p:grpSp>
        <p:grpSp>
          <p:nvGrpSpPr>
            <p:cNvPr id="420" name="Graphic 3">
              <a:extLst>
                <a:ext uri="{FF2B5EF4-FFF2-40B4-BE49-F238E27FC236}">
                  <a16:creationId xmlns:a16="http://schemas.microsoft.com/office/drawing/2014/main" id="{4F00A3D0-4A09-494A-9229-319B242C0E2E}"/>
                </a:ext>
              </a:extLst>
            </p:cNvPr>
            <p:cNvGrpSpPr/>
            <p:nvPr/>
          </p:nvGrpSpPr>
          <p:grpSpPr>
            <a:xfrm>
              <a:off x="6543363" y="1454028"/>
              <a:ext cx="58740" cy="165098"/>
              <a:chOff x="6543363" y="1454028"/>
              <a:chExt cx="58740" cy="165098"/>
            </a:xfrm>
            <a:grpFill/>
          </p:grpSpPr>
          <p:sp>
            <p:nvSpPr>
              <p:cNvPr id="4124" name="Vrije vorm: vorm 4123">
                <a:extLst>
                  <a:ext uri="{FF2B5EF4-FFF2-40B4-BE49-F238E27FC236}">
                    <a16:creationId xmlns:a16="http://schemas.microsoft.com/office/drawing/2014/main" id="{5C755FD9-7462-48FC-80FF-6A185CC32515}"/>
                  </a:ext>
                </a:extLst>
              </p:cNvPr>
              <p:cNvSpPr/>
              <p:nvPr/>
            </p:nvSpPr>
            <p:spPr>
              <a:xfrm>
                <a:off x="6550944" y="1462386"/>
                <a:ext cx="43539" cy="148381"/>
              </a:xfrm>
              <a:custGeom>
                <a:avLst/>
                <a:gdLst>
                  <a:gd name="connsiteX0" fmla="*/ 43539 w 43539"/>
                  <a:gd name="connsiteY0" fmla="*/ 837 h 148381"/>
                  <a:gd name="connsiteX1" fmla="*/ 2930 w 43539"/>
                  <a:gd name="connsiteY1" fmla="*/ 148382 h 148381"/>
                  <a:gd name="connsiteX2" fmla="*/ 0 w 43539"/>
                  <a:gd name="connsiteY2" fmla="*/ 147544 h 148381"/>
                  <a:gd name="connsiteX3" fmla="*/ 40609 w 43539"/>
                  <a:gd name="connsiteY3" fmla="*/ 0 h 148381"/>
                </a:gdLst>
                <a:ahLst/>
                <a:cxnLst>
                  <a:cxn ang="0">
                    <a:pos x="connsiteX0" y="connsiteY0"/>
                  </a:cxn>
                  <a:cxn ang="0">
                    <a:pos x="connsiteX1" y="connsiteY1"/>
                  </a:cxn>
                  <a:cxn ang="0">
                    <a:pos x="connsiteX2" y="connsiteY2"/>
                  </a:cxn>
                  <a:cxn ang="0">
                    <a:pos x="connsiteX3" y="connsiteY3"/>
                  </a:cxn>
                </a:cxnLst>
                <a:rect l="l" t="t" r="r" b="b"/>
                <a:pathLst>
                  <a:path w="43539" h="148381">
                    <a:moveTo>
                      <a:pt x="43539" y="837"/>
                    </a:moveTo>
                    <a:lnTo>
                      <a:pt x="2930" y="148382"/>
                    </a:lnTo>
                    <a:lnTo>
                      <a:pt x="0" y="147544"/>
                    </a:lnTo>
                    <a:lnTo>
                      <a:pt x="40609" y="0"/>
                    </a:lnTo>
                    <a:close/>
                  </a:path>
                </a:pathLst>
              </a:custGeom>
              <a:grpFill/>
              <a:ln w="5978" cap="flat">
                <a:noFill/>
                <a:prstDash val="solid"/>
                <a:miter/>
              </a:ln>
            </p:spPr>
            <p:txBody>
              <a:bodyPr rtlCol="0" anchor="ctr"/>
              <a:lstStyle/>
              <a:p>
                <a:endParaRPr lang="en-GB"/>
              </a:p>
            </p:txBody>
          </p:sp>
          <p:sp>
            <p:nvSpPr>
              <p:cNvPr id="4125" name="Vrije vorm: vorm 4124">
                <a:extLst>
                  <a:ext uri="{FF2B5EF4-FFF2-40B4-BE49-F238E27FC236}">
                    <a16:creationId xmlns:a16="http://schemas.microsoft.com/office/drawing/2014/main" id="{3A236FF5-D1E6-461A-9E84-8B34786D18DB}"/>
                  </a:ext>
                </a:extLst>
              </p:cNvPr>
              <p:cNvSpPr/>
              <p:nvPr/>
            </p:nvSpPr>
            <p:spPr>
              <a:xfrm>
                <a:off x="6583753" y="1454028"/>
                <a:ext cx="18349" cy="18451"/>
              </a:xfrm>
              <a:custGeom>
                <a:avLst/>
                <a:gdLst>
                  <a:gd name="connsiteX0" fmla="*/ 323 w 18349"/>
                  <a:gd name="connsiteY0" fmla="*/ 6744 h 18451"/>
                  <a:gd name="connsiteX1" fmla="*/ 11627 w 18349"/>
                  <a:gd name="connsiteY1" fmla="*/ 344 h 18451"/>
                  <a:gd name="connsiteX2" fmla="*/ 18026 w 18349"/>
                  <a:gd name="connsiteY2" fmla="*/ 11708 h 18451"/>
                  <a:gd name="connsiteX3" fmla="*/ 6723 w 18349"/>
                  <a:gd name="connsiteY3" fmla="*/ 18107 h 18451"/>
                  <a:gd name="connsiteX4" fmla="*/ 323 w 18349"/>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1">
                    <a:moveTo>
                      <a:pt x="323" y="6744"/>
                    </a:moveTo>
                    <a:cubicBezTo>
                      <a:pt x="1699" y="1839"/>
                      <a:pt x="6723" y="-1031"/>
                      <a:pt x="11627" y="344"/>
                    </a:cubicBezTo>
                    <a:cubicBezTo>
                      <a:pt x="16531" y="1720"/>
                      <a:pt x="19342" y="6803"/>
                      <a:pt x="18026" y="11708"/>
                    </a:cubicBezTo>
                    <a:cubicBezTo>
                      <a:pt x="16651" y="16612"/>
                      <a:pt x="11627" y="19483"/>
                      <a:pt x="6723" y="18107"/>
                    </a:cubicBezTo>
                    <a:cubicBezTo>
                      <a:pt x="1819" y="16731"/>
                      <a:pt x="-992" y="11648"/>
                      <a:pt x="323" y="6744"/>
                    </a:cubicBezTo>
                    <a:close/>
                  </a:path>
                </a:pathLst>
              </a:custGeom>
              <a:grpFill/>
              <a:ln w="5978" cap="flat">
                <a:noFill/>
                <a:prstDash val="solid"/>
                <a:miter/>
              </a:ln>
            </p:spPr>
            <p:txBody>
              <a:bodyPr rtlCol="0" anchor="ctr"/>
              <a:lstStyle/>
              <a:p>
                <a:endParaRPr lang="en-GB"/>
              </a:p>
            </p:txBody>
          </p:sp>
          <p:sp>
            <p:nvSpPr>
              <p:cNvPr id="4126" name="Vrije vorm: vorm 4125">
                <a:extLst>
                  <a:ext uri="{FF2B5EF4-FFF2-40B4-BE49-F238E27FC236}">
                    <a16:creationId xmlns:a16="http://schemas.microsoft.com/office/drawing/2014/main" id="{927ABF8C-D40E-4BDF-A0C3-38D3939CE8EF}"/>
                  </a:ext>
                </a:extLst>
              </p:cNvPr>
              <p:cNvSpPr/>
              <p:nvPr/>
            </p:nvSpPr>
            <p:spPr>
              <a:xfrm>
                <a:off x="6543363" y="1600696"/>
                <a:ext cx="18391" cy="18430"/>
              </a:xfrm>
              <a:custGeom>
                <a:avLst/>
                <a:gdLst>
                  <a:gd name="connsiteX0" fmla="*/ 344 w 18391"/>
                  <a:gd name="connsiteY0" fmla="*/ 6723 h 18430"/>
                  <a:gd name="connsiteX1" fmla="*/ 6744 w 18391"/>
                  <a:gd name="connsiteY1" fmla="*/ 18086 h 18430"/>
                  <a:gd name="connsiteX2" fmla="*/ 18047 w 18391"/>
                  <a:gd name="connsiteY2" fmla="*/ 11687 h 18430"/>
                  <a:gd name="connsiteX3" fmla="*/ 11648 w 18391"/>
                  <a:gd name="connsiteY3" fmla="*/ 323 h 18430"/>
                  <a:gd name="connsiteX4" fmla="*/ 344 w 18391"/>
                  <a:gd name="connsiteY4" fmla="*/ 672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30">
                    <a:moveTo>
                      <a:pt x="344" y="6723"/>
                    </a:moveTo>
                    <a:cubicBezTo>
                      <a:pt x="-1031" y="11627"/>
                      <a:pt x="1839" y="16711"/>
                      <a:pt x="6744" y="18086"/>
                    </a:cubicBezTo>
                    <a:cubicBezTo>
                      <a:pt x="11648" y="19462"/>
                      <a:pt x="16671" y="16591"/>
                      <a:pt x="18047" y="11687"/>
                    </a:cubicBezTo>
                    <a:cubicBezTo>
                      <a:pt x="19423" y="6783"/>
                      <a:pt x="16552" y="1699"/>
                      <a:pt x="11648" y="323"/>
                    </a:cubicBezTo>
                    <a:cubicBezTo>
                      <a:pt x="6744" y="-992"/>
                      <a:pt x="1720" y="1819"/>
                      <a:pt x="344" y="6723"/>
                    </a:cubicBezTo>
                    <a:close/>
                  </a:path>
                </a:pathLst>
              </a:custGeom>
              <a:grpFill/>
              <a:ln w="5978" cap="flat">
                <a:noFill/>
                <a:prstDash val="solid"/>
                <a:miter/>
              </a:ln>
            </p:spPr>
            <p:txBody>
              <a:bodyPr rtlCol="0" anchor="ctr"/>
              <a:lstStyle/>
              <a:p>
                <a:endParaRPr lang="en-GB"/>
              </a:p>
            </p:txBody>
          </p:sp>
        </p:grpSp>
        <p:grpSp>
          <p:nvGrpSpPr>
            <p:cNvPr id="421" name="Graphic 3">
              <a:extLst>
                <a:ext uri="{FF2B5EF4-FFF2-40B4-BE49-F238E27FC236}">
                  <a16:creationId xmlns:a16="http://schemas.microsoft.com/office/drawing/2014/main" id="{EC6DB407-AF2D-4CA3-A0AB-1411680C19E6}"/>
                </a:ext>
              </a:extLst>
            </p:cNvPr>
            <p:cNvGrpSpPr/>
            <p:nvPr/>
          </p:nvGrpSpPr>
          <p:grpSpPr>
            <a:xfrm>
              <a:off x="6499503" y="1405053"/>
              <a:ext cx="155630" cy="377033"/>
              <a:chOff x="6499503" y="1405053"/>
              <a:chExt cx="155630" cy="377033"/>
            </a:xfrm>
            <a:grpFill/>
          </p:grpSpPr>
          <p:sp>
            <p:nvSpPr>
              <p:cNvPr id="4121" name="Vrije vorm: vorm 4120">
                <a:extLst>
                  <a:ext uri="{FF2B5EF4-FFF2-40B4-BE49-F238E27FC236}">
                    <a16:creationId xmlns:a16="http://schemas.microsoft.com/office/drawing/2014/main" id="{527403FE-5F1D-4D77-B946-20DC79E95474}"/>
                  </a:ext>
                </a:extLst>
              </p:cNvPr>
              <p:cNvSpPr/>
              <p:nvPr/>
            </p:nvSpPr>
            <p:spPr>
              <a:xfrm>
                <a:off x="6507045" y="1413225"/>
                <a:ext cx="140487" cy="360577"/>
              </a:xfrm>
              <a:custGeom>
                <a:avLst/>
                <a:gdLst>
                  <a:gd name="connsiteX0" fmla="*/ 140487 w 140487"/>
                  <a:gd name="connsiteY0" fmla="*/ 1136 h 360577"/>
                  <a:gd name="connsiteX1" fmla="*/ 2871 w 140487"/>
                  <a:gd name="connsiteY1" fmla="*/ 360578 h 360577"/>
                  <a:gd name="connsiteX2" fmla="*/ 0 w 140487"/>
                  <a:gd name="connsiteY2" fmla="*/ 359501 h 360577"/>
                  <a:gd name="connsiteX3" fmla="*/ 137676 w 140487"/>
                  <a:gd name="connsiteY3" fmla="*/ 0 h 360577"/>
                </a:gdLst>
                <a:ahLst/>
                <a:cxnLst>
                  <a:cxn ang="0">
                    <a:pos x="connsiteX0" y="connsiteY0"/>
                  </a:cxn>
                  <a:cxn ang="0">
                    <a:pos x="connsiteX1" y="connsiteY1"/>
                  </a:cxn>
                  <a:cxn ang="0">
                    <a:pos x="connsiteX2" y="connsiteY2"/>
                  </a:cxn>
                  <a:cxn ang="0">
                    <a:pos x="connsiteX3" y="connsiteY3"/>
                  </a:cxn>
                </a:cxnLst>
                <a:rect l="l" t="t" r="r" b="b"/>
                <a:pathLst>
                  <a:path w="140487" h="360577">
                    <a:moveTo>
                      <a:pt x="140487" y="1136"/>
                    </a:moveTo>
                    <a:lnTo>
                      <a:pt x="2871" y="360578"/>
                    </a:lnTo>
                    <a:lnTo>
                      <a:pt x="0" y="359501"/>
                    </a:lnTo>
                    <a:lnTo>
                      <a:pt x="137676" y="0"/>
                    </a:lnTo>
                    <a:close/>
                  </a:path>
                </a:pathLst>
              </a:custGeom>
              <a:grpFill/>
              <a:ln w="5978" cap="flat">
                <a:noFill/>
                <a:prstDash val="solid"/>
                <a:miter/>
              </a:ln>
            </p:spPr>
            <p:txBody>
              <a:bodyPr rtlCol="0" anchor="ctr"/>
              <a:lstStyle/>
              <a:p>
                <a:endParaRPr lang="en-GB"/>
              </a:p>
            </p:txBody>
          </p:sp>
          <p:sp>
            <p:nvSpPr>
              <p:cNvPr id="4122" name="Vrije vorm: vorm 4121">
                <a:extLst>
                  <a:ext uri="{FF2B5EF4-FFF2-40B4-BE49-F238E27FC236}">
                    <a16:creationId xmlns:a16="http://schemas.microsoft.com/office/drawing/2014/main" id="{4138609F-9693-4D54-B76B-D8E9A4D95290}"/>
                  </a:ext>
                </a:extLst>
              </p:cNvPr>
              <p:cNvSpPr/>
              <p:nvPr/>
            </p:nvSpPr>
            <p:spPr>
              <a:xfrm>
                <a:off x="6499503" y="1763664"/>
                <a:ext cx="18306" cy="18422"/>
              </a:xfrm>
              <a:custGeom>
                <a:avLst/>
                <a:gdLst>
                  <a:gd name="connsiteX0" fmla="*/ 17709 w 18306"/>
                  <a:gd name="connsiteY0" fmla="*/ 12530 h 18422"/>
                  <a:gd name="connsiteX1" fmla="*/ 5867 w 18306"/>
                  <a:gd name="connsiteY1" fmla="*/ 17793 h 18422"/>
                  <a:gd name="connsiteX2" fmla="*/ 604 w 18306"/>
                  <a:gd name="connsiteY2" fmla="*/ 5892 h 18422"/>
                  <a:gd name="connsiteX3" fmla="*/ 12446 w 18306"/>
                  <a:gd name="connsiteY3" fmla="*/ 629 h 18422"/>
                  <a:gd name="connsiteX4" fmla="*/ 17709 w 18306"/>
                  <a:gd name="connsiteY4" fmla="*/ 12530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7709" y="12530"/>
                    </a:moveTo>
                    <a:cubicBezTo>
                      <a:pt x="15915" y="17255"/>
                      <a:pt x="10592" y="19647"/>
                      <a:pt x="5867" y="17793"/>
                    </a:cubicBezTo>
                    <a:cubicBezTo>
                      <a:pt x="1142" y="15939"/>
                      <a:pt x="-1190" y="10617"/>
                      <a:pt x="604" y="5892"/>
                    </a:cubicBezTo>
                    <a:cubicBezTo>
                      <a:pt x="2398" y="1167"/>
                      <a:pt x="7721" y="-1225"/>
                      <a:pt x="12446" y="629"/>
                    </a:cubicBezTo>
                    <a:cubicBezTo>
                      <a:pt x="17111" y="2423"/>
                      <a:pt x="19503" y="7746"/>
                      <a:pt x="17709" y="12530"/>
                    </a:cubicBezTo>
                    <a:close/>
                  </a:path>
                </a:pathLst>
              </a:custGeom>
              <a:grpFill/>
              <a:ln w="5978" cap="flat">
                <a:noFill/>
                <a:prstDash val="solid"/>
                <a:miter/>
              </a:ln>
            </p:spPr>
            <p:txBody>
              <a:bodyPr rtlCol="0" anchor="ctr"/>
              <a:lstStyle/>
              <a:p>
                <a:endParaRPr lang="en-GB"/>
              </a:p>
            </p:txBody>
          </p:sp>
          <p:sp>
            <p:nvSpPr>
              <p:cNvPr id="4123" name="Vrije vorm: vorm 4122">
                <a:extLst>
                  <a:ext uri="{FF2B5EF4-FFF2-40B4-BE49-F238E27FC236}">
                    <a16:creationId xmlns:a16="http://schemas.microsoft.com/office/drawing/2014/main" id="{3C01C510-446A-45E2-8164-C7569ED6D775}"/>
                  </a:ext>
                </a:extLst>
              </p:cNvPr>
              <p:cNvSpPr/>
              <p:nvPr/>
            </p:nvSpPr>
            <p:spPr>
              <a:xfrm>
                <a:off x="6636820" y="1405053"/>
                <a:ext cx="18313" cy="18404"/>
              </a:xfrm>
              <a:custGeom>
                <a:avLst/>
                <a:gdLst>
                  <a:gd name="connsiteX0" fmla="*/ 17709 w 18313"/>
                  <a:gd name="connsiteY0" fmla="*/ 12538 h 18404"/>
                  <a:gd name="connsiteX1" fmla="*/ 12446 w 18313"/>
                  <a:gd name="connsiteY1" fmla="*/ 636 h 18404"/>
                  <a:gd name="connsiteX2" fmla="*/ 604 w 18313"/>
                  <a:gd name="connsiteY2" fmla="*/ 5899 h 18404"/>
                  <a:gd name="connsiteX3" fmla="*/ 5867 w 18313"/>
                  <a:gd name="connsiteY3" fmla="*/ 17801 h 18404"/>
                  <a:gd name="connsiteX4" fmla="*/ 17709 w 18313"/>
                  <a:gd name="connsiteY4" fmla="*/ 12538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17709" y="12538"/>
                    </a:moveTo>
                    <a:cubicBezTo>
                      <a:pt x="19503" y="7813"/>
                      <a:pt x="17171" y="2430"/>
                      <a:pt x="12446" y="636"/>
                    </a:cubicBezTo>
                    <a:cubicBezTo>
                      <a:pt x="7721" y="-1218"/>
                      <a:pt x="2399" y="1115"/>
                      <a:pt x="604" y="5899"/>
                    </a:cubicBezTo>
                    <a:cubicBezTo>
                      <a:pt x="-1190" y="10624"/>
                      <a:pt x="1143" y="16007"/>
                      <a:pt x="5867" y="17801"/>
                    </a:cubicBezTo>
                    <a:cubicBezTo>
                      <a:pt x="10592" y="19595"/>
                      <a:pt x="15855" y="17262"/>
                      <a:pt x="17709" y="12538"/>
                    </a:cubicBezTo>
                    <a:close/>
                  </a:path>
                </a:pathLst>
              </a:custGeom>
              <a:grpFill/>
              <a:ln w="5978" cap="flat">
                <a:noFill/>
                <a:prstDash val="solid"/>
                <a:miter/>
              </a:ln>
            </p:spPr>
            <p:txBody>
              <a:bodyPr rtlCol="0" anchor="ctr"/>
              <a:lstStyle/>
              <a:p>
                <a:endParaRPr lang="en-GB"/>
              </a:p>
            </p:txBody>
          </p:sp>
        </p:grpSp>
        <p:grpSp>
          <p:nvGrpSpPr>
            <p:cNvPr id="422" name="Graphic 3">
              <a:extLst>
                <a:ext uri="{FF2B5EF4-FFF2-40B4-BE49-F238E27FC236}">
                  <a16:creationId xmlns:a16="http://schemas.microsoft.com/office/drawing/2014/main" id="{42EC5E70-86A0-41EB-881A-D79A29A1C8AC}"/>
                </a:ext>
              </a:extLst>
            </p:cNvPr>
            <p:cNvGrpSpPr/>
            <p:nvPr/>
          </p:nvGrpSpPr>
          <p:grpSpPr>
            <a:xfrm>
              <a:off x="7443983" y="4338110"/>
              <a:ext cx="163157" cy="114802"/>
              <a:chOff x="7443983" y="4338110"/>
              <a:chExt cx="163157" cy="114802"/>
            </a:xfrm>
            <a:grpFill/>
          </p:grpSpPr>
          <p:sp>
            <p:nvSpPr>
              <p:cNvPr id="4118" name="Vrije vorm: vorm 4117">
                <a:extLst>
                  <a:ext uri="{FF2B5EF4-FFF2-40B4-BE49-F238E27FC236}">
                    <a16:creationId xmlns:a16="http://schemas.microsoft.com/office/drawing/2014/main" id="{83273309-EFA0-4A0D-8020-72F4A47FCE3D}"/>
                  </a:ext>
                </a:extLst>
              </p:cNvPr>
              <p:cNvSpPr/>
              <p:nvPr/>
            </p:nvSpPr>
            <p:spPr>
              <a:xfrm>
                <a:off x="7451880" y="4345752"/>
                <a:ext cx="147305" cy="99459"/>
              </a:xfrm>
              <a:custGeom>
                <a:avLst/>
                <a:gdLst>
                  <a:gd name="connsiteX0" fmla="*/ 147305 w 147305"/>
                  <a:gd name="connsiteY0" fmla="*/ 96888 h 99459"/>
                  <a:gd name="connsiteX1" fmla="*/ 145630 w 147305"/>
                  <a:gd name="connsiteY1" fmla="*/ 99459 h 99459"/>
                  <a:gd name="connsiteX2" fmla="*/ 0 w 147305"/>
                  <a:gd name="connsiteY2" fmla="*/ 2572 h 99459"/>
                  <a:gd name="connsiteX3" fmla="*/ 1675 w 147305"/>
                  <a:gd name="connsiteY3" fmla="*/ 0 h 99459"/>
                </a:gdLst>
                <a:ahLst/>
                <a:cxnLst>
                  <a:cxn ang="0">
                    <a:pos x="connsiteX0" y="connsiteY0"/>
                  </a:cxn>
                  <a:cxn ang="0">
                    <a:pos x="connsiteX1" y="connsiteY1"/>
                  </a:cxn>
                  <a:cxn ang="0">
                    <a:pos x="connsiteX2" y="connsiteY2"/>
                  </a:cxn>
                  <a:cxn ang="0">
                    <a:pos x="connsiteX3" y="connsiteY3"/>
                  </a:cxn>
                </a:cxnLst>
                <a:rect l="l" t="t" r="r" b="b"/>
                <a:pathLst>
                  <a:path w="147305" h="99459">
                    <a:moveTo>
                      <a:pt x="147305" y="96888"/>
                    </a:moveTo>
                    <a:lnTo>
                      <a:pt x="145630" y="99459"/>
                    </a:lnTo>
                    <a:lnTo>
                      <a:pt x="0" y="2572"/>
                    </a:lnTo>
                    <a:lnTo>
                      <a:pt x="1675" y="0"/>
                    </a:lnTo>
                    <a:close/>
                  </a:path>
                </a:pathLst>
              </a:custGeom>
              <a:grpFill/>
              <a:ln w="5978" cap="flat">
                <a:noFill/>
                <a:prstDash val="solid"/>
                <a:miter/>
              </a:ln>
            </p:spPr>
            <p:txBody>
              <a:bodyPr rtlCol="0" anchor="ctr"/>
              <a:lstStyle/>
              <a:p>
                <a:endParaRPr lang="en-GB"/>
              </a:p>
            </p:txBody>
          </p:sp>
          <p:sp>
            <p:nvSpPr>
              <p:cNvPr id="4119" name="Vrije vorm: vorm 4118">
                <a:extLst>
                  <a:ext uri="{FF2B5EF4-FFF2-40B4-BE49-F238E27FC236}">
                    <a16:creationId xmlns:a16="http://schemas.microsoft.com/office/drawing/2014/main" id="{38C46663-AE40-4468-8C72-78C47EF051BD}"/>
                  </a:ext>
                </a:extLst>
              </p:cNvPr>
              <p:cNvSpPr/>
              <p:nvPr/>
            </p:nvSpPr>
            <p:spPr>
              <a:xfrm>
                <a:off x="7588852" y="4434459"/>
                <a:ext cx="18288" cy="18453"/>
              </a:xfrm>
              <a:custGeom>
                <a:avLst/>
                <a:gdLst>
                  <a:gd name="connsiteX0" fmla="*/ 14161 w 18288"/>
                  <a:gd name="connsiteY0" fmla="*/ 1542 h 18453"/>
                  <a:gd name="connsiteX1" fmla="*/ 16792 w 18288"/>
                  <a:gd name="connsiteY1" fmla="*/ 14340 h 18453"/>
                  <a:gd name="connsiteX2" fmla="*/ 4113 w 18288"/>
                  <a:gd name="connsiteY2" fmla="*/ 16912 h 18453"/>
                  <a:gd name="connsiteX3" fmla="*/ 1482 w 18288"/>
                  <a:gd name="connsiteY3" fmla="*/ 4113 h 18453"/>
                  <a:gd name="connsiteX4" fmla="*/ 14161 w 18288"/>
                  <a:gd name="connsiteY4" fmla="*/ 154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14161" y="1542"/>
                    </a:moveTo>
                    <a:cubicBezTo>
                      <a:pt x="18407" y="4352"/>
                      <a:pt x="19543" y="10094"/>
                      <a:pt x="16792" y="14340"/>
                    </a:cubicBezTo>
                    <a:cubicBezTo>
                      <a:pt x="14041" y="18586"/>
                      <a:pt x="8299" y="19723"/>
                      <a:pt x="4113" y="16912"/>
                    </a:cubicBezTo>
                    <a:cubicBezTo>
                      <a:pt x="-73" y="14101"/>
                      <a:pt x="-1270" y="8360"/>
                      <a:pt x="1482" y="4113"/>
                    </a:cubicBezTo>
                    <a:cubicBezTo>
                      <a:pt x="4233" y="-133"/>
                      <a:pt x="9914" y="-1270"/>
                      <a:pt x="14161" y="1542"/>
                    </a:cubicBezTo>
                    <a:close/>
                  </a:path>
                </a:pathLst>
              </a:custGeom>
              <a:grpFill/>
              <a:ln w="5978" cap="flat">
                <a:noFill/>
                <a:prstDash val="solid"/>
                <a:miter/>
              </a:ln>
            </p:spPr>
            <p:txBody>
              <a:bodyPr rtlCol="0" anchor="ctr"/>
              <a:lstStyle/>
              <a:p>
                <a:endParaRPr lang="en-GB"/>
              </a:p>
            </p:txBody>
          </p:sp>
          <p:sp>
            <p:nvSpPr>
              <p:cNvPr id="4120" name="Vrije vorm: vorm 4119">
                <a:extLst>
                  <a:ext uri="{FF2B5EF4-FFF2-40B4-BE49-F238E27FC236}">
                    <a16:creationId xmlns:a16="http://schemas.microsoft.com/office/drawing/2014/main" id="{C4941AA2-0073-45B7-A3E6-119BEDA786ED}"/>
                  </a:ext>
                </a:extLst>
              </p:cNvPr>
              <p:cNvSpPr/>
              <p:nvPr/>
            </p:nvSpPr>
            <p:spPr>
              <a:xfrm>
                <a:off x="7443983" y="4338110"/>
                <a:ext cx="18288" cy="18453"/>
              </a:xfrm>
              <a:custGeom>
                <a:avLst/>
                <a:gdLst>
                  <a:gd name="connsiteX0" fmla="*/ 14176 w 18288"/>
                  <a:gd name="connsiteY0" fmla="*/ 1542 h 18453"/>
                  <a:gd name="connsiteX1" fmla="*/ 1497 w 18288"/>
                  <a:gd name="connsiteY1" fmla="*/ 4113 h 18453"/>
                  <a:gd name="connsiteX2" fmla="*/ 4128 w 18288"/>
                  <a:gd name="connsiteY2" fmla="*/ 16912 h 18453"/>
                  <a:gd name="connsiteX3" fmla="*/ 16808 w 18288"/>
                  <a:gd name="connsiteY3" fmla="*/ 14340 h 18453"/>
                  <a:gd name="connsiteX4" fmla="*/ 14176 w 18288"/>
                  <a:gd name="connsiteY4" fmla="*/ 154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14176" y="1542"/>
                    </a:moveTo>
                    <a:cubicBezTo>
                      <a:pt x="9930" y="-1270"/>
                      <a:pt x="4248" y="-133"/>
                      <a:pt x="1497" y="4113"/>
                    </a:cubicBezTo>
                    <a:cubicBezTo>
                      <a:pt x="-1254" y="8359"/>
                      <a:pt x="-118" y="14041"/>
                      <a:pt x="4128" y="16912"/>
                    </a:cubicBezTo>
                    <a:cubicBezTo>
                      <a:pt x="8375" y="19723"/>
                      <a:pt x="14057" y="18586"/>
                      <a:pt x="16808" y="14340"/>
                    </a:cubicBezTo>
                    <a:cubicBezTo>
                      <a:pt x="19558" y="10034"/>
                      <a:pt x="18363" y="4352"/>
                      <a:pt x="14176" y="1542"/>
                    </a:cubicBezTo>
                    <a:close/>
                  </a:path>
                </a:pathLst>
              </a:custGeom>
              <a:grpFill/>
              <a:ln w="5978" cap="flat">
                <a:noFill/>
                <a:prstDash val="solid"/>
                <a:miter/>
              </a:ln>
            </p:spPr>
            <p:txBody>
              <a:bodyPr rtlCol="0" anchor="ctr"/>
              <a:lstStyle/>
              <a:p>
                <a:endParaRPr lang="en-GB"/>
              </a:p>
            </p:txBody>
          </p:sp>
        </p:grpSp>
        <p:grpSp>
          <p:nvGrpSpPr>
            <p:cNvPr id="423" name="Graphic 3">
              <a:extLst>
                <a:ext uri="{FF2B5EF4-FFF2-40B4-BE49-F238E27FC236}">
                  <a16:creationId xmlns:a16="http://schemas.microsoft.com/office/drawing/2014/main" id="{7304BBF2-7530-45F8-BFB5-FEF2BB2EA20A}"/>
                </a:ext>
              </a:extLst>
            </p:cNvPr>
            <p:cNvGrpSpPr/>
            <p:nvPr/>
          </p:nvGrpSpPr>
          <p:grpSpPr>
            <a:xfrm>
              <a:off x="7483614" y="4443707"/>
              <a:ext cx="104947" cy="80818"/>
              <a:chOff x="7483614" y="4443707"/>
              <a:chExt cx="104947" cy="80818"/>
            </a:xfrm>
            <a:grpFill/>
          </p:grpSpPr>
          <p:sp>
            <p:nvSpPr>
              <p:cNvPr id="4115" name="Vrije vorm: vorm 4114">
                <a:extLst>
                  <a:ext uri="{FF2B5EF4-FFF2-40B4-BE49-F238E27FC236}">
                    <a16:creationId xmlns:a16="http://schemas.microsoft.com/office/drawing/2014/main" id="{4C9F38BE-8F45-4112-9B2E-7CCD84AFCE1D}"/>
                  </a:ext>
                </a:extLst>
              </p:cNvPr>
              <p:cNvSpPr/>
              <p:nvPr/>
            </p:nvSpPr>
            <p:spPr>
              <a:xfrm>
                <a:off x="7491532" y="4451371"/>
                <a:ext cx="89112" cy="65429"/>
              </a:xfrm>
              <a:custGeom>
                <a:avLst/>
                <a:gdLst>
                  <a:gd name="connsiteX0" fmla="*/ 89113 w 89112"/>
                  <a:gd name="connsiteY0" fmla="*/ 62977 h 65429"/>
                  <a:gd name="connsiteX1" fmla="*/ 87378 w 89112"/>
                  <a:gd name="connsiteY1" fmla="*/ 65429 h 65429"/>
                  <a:gd name="connsiteX2" fmla="*/ 0 w 89112"/>
                  <a:gd name="connsiteY2" fmla="*/ 2512 h 65429"/>
                  <a:gd name="connsiteX3" fmla="*/ 1734 w 89112"/>
                  <a:gd name="connsiteY3" fmla="*/ 0 h 65429"/>
                </a:gdLst>
                <a:ahLst/>
                <a:cxnLst>
                  <a:cxn ang="0">
                    <a:pos x="connsiteX0" y="connsiteY0"/>
                  </a:cxn>
                  <a:cxn ang="0">
                    <a:pos x="connsiteX1" y="connsiteY1"/>
                  </a:cxn>
                  <a:cxn ang="0">
                    <a:pos x="connsiteX2" y="connsiteY2"/>
                  </a:cxn>
                  <a:cxn ang="0">
                    <a:pos x="connsiteX3" y="connsiteY3"/>
                  </a:cxn>
                </a:cxnLst>
                <a:rect l="l" t="t" r="r" b="b"/>
                <a:pathLst>
                  <a:path w="89112" h="65429">
                    <a:moveTo>
                      <a:pt x="89113" y="62977"/>
                    </a:moveTo>
                    <a:lnTo>
                      <a:pt x="87378" y="65429"/>
                    </a:lnTo>
                    <a:lnTo>
                      <a:pt x="0" y="2512"/>
                    </a:lnTo>
                    <a:lnTo>
                      <a:pt x="1734" y="0"/>
                    </a:lnTo>
                    <a:close/>
                  </a:path>
                </a:pathLst>
              </a:custGeom>
              <a:grpFill/>
              <a:ln w="5978" cap="flat">
                <a:noFill/>
                <a:prstDash val="solid"/>
                <a:miter/>
              </a:ln>
            </p:spPr>
            <p:txBody>
              <a:bodyPr rtlCol="0" anchor="ctr"/>
              <a:lstStyle/>
              <a:p>
                <a:endParaRPr lang="en-GB"/>
              </a:p>
            </p:txBody>
          </p:sp>
          <p:sp>
            <p:nvSpPr>
              <p:cNvPr id="4116" name="Vrije vorm: vorm 4115">
                <a:extLst>
                  <a:ext uri="{FF2B5EF4-FFF2-40B4-BE49-F238E27FC236}">
                    <a16:creationId xmlns:a16="http://schemas.microsoft.com/office/drawing/2014/main" id="{8B63740B-D214-45BC-8D3F-1D428D7C99FF}"/>
                  </a:ext>
                </a:extLst>
              </p:cNvPr>
              <p:cNvSpPr/>
              <p:nvPr/>
            </p:nvSpPr>
            <p:spPr>
              <a:xfrm>
                <a:off x="7570215" y="4506086"/>
                <a:ext cx="18346" cy="18439"/>
              </a:xfrm>
              <a:custGeom>
                <a:avLst/>
                <a:gdLst>
                  <a:gd name="connsiteX0" fmla="*/ 14496 w 18346"/>
                  <a:gd name="connsiteY0" fmla="*/ 1744 h 18439"/>
                  <a:gd name="connsiteX1" fmla="*/ 16649 w 18346"/>
                  <a:gd name="connsiteY1" fmla="*/ 14602 h 18439"/>
                  <a:gd name="connsiteX2" fmla="*/ 3850 w 18346"/>
                  <a:gd name="connsiteY2" fmla="*/ 16696 h 18439"/>
                  <a:gd name="connsiteX3" fmla="*/ 1697 w 18346"/>
                  <a:gd name="connsiteY3" fmla="*/ 3837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8623" y="4734"/>
                      <a:pt x="19580" y="10476"/>
                      <a:pt x="16649" y="14602"/>
                    </a:cubicBezTo>
                    <a:cubicBezTo>
                      <a:pt x="13719" y="18729"/>
                      <a:pt x="7977" y="19686"/>
                      <a:pt x="3850" y="16696"/>
                    </a:cubicBezTo>
                    <a:cubicBezTo>
                      <a:pt x="-276" y="13705"/>
                      <a:pt x="-1233" y="7964"/>
                      <a:pt x="1697" y="3837"/>
                    </a:cubicBezTo>
                    <a:cubicBezTo>
                      <a:pt x="4688" y="-290"/>
                      <a:pt x="10370" y="-1246"/>
                      <a:pt x="14496" y="1744"/>
                    </a:cubicBezTo>
                    <a:close/>
                  </a:path>
                </a:pathLst>
              </a:custGeom>
              <a:grpFill/>
              <a:ln w="5978" cap="flat">
                <a:noFill/>
                <a:prstDash val="solid"/>
                <a:miter/>
              </a:ln>
            </p:spPr>
            <p:txBody>
              <a:bodyPr rtlCol="0" anchor="ctr"/>
              <a:lstStyle/>
              <a:p>
                <a:endParaRPr lang="en-GB"/>
              </a:p>
            </p:txBody>
          </p:sp>
          <p:sp>
            <p:nvSpPr>
              <p:cNvPr id="4117" name="Vrije vorm: vorm 4116">
                <a:extLst>
                  <a:ext uri="{FF2B5EF4-FFF2-40B4-BE49-F238E27FC236}">
                    <a16:creationId xmlns:a16="http://schemas.microsoft.com/office/drawing/2014/main" id="{E9F784D1-9ED4-47B1-9140-3B7E26F876DA}"/>
                  </a:ext>
                </a:extLst>
              </p:cNvPr>
              <p:cNvSpPr/>
              <p:nvPr/>
            </p:nvSpPr>
            <p:spPr>
              <a:xfrm>
                <a:off x="7483614" y="4443707"/>
                <a:ext cx="18346" cy="18439"/>
              </a:xfrm>
              <a:custGeom>
                <a:avLst/>
                <a:gdLst>
                  <a:gd name="connsiteX0" fmla="*/ 14496 w 18346"/>
                  <a:gd name="connsiteY0" fmla="*/ 1744 h 18439"/>
                  <a:gd name="connsiteX1" fmla="*/ 1697 w 18346"/>
                  <a:gd name="connsiteY1" fmla="*/ 3837 h 18439"/>
                  <a:gd name="connsiteX2" fmla="*/ 3850 w 18346"/>
                  <a:gd name="connsiteY2" fmla="*/ 16696 h 18439"/>
                  <a:gd name="connsiteX3" fmla="*/ 16649 w 18346"/>
                  <a:gd name="connsiteY3" fmla="*/ 14602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0369" y="-1246"/>
                      <a:pt x="4628" y="-290"/>
                      <a:pt x="1697" y="3837"/>
                    </a:cubicBezTo>
                    <a:cubicBezTo>
                      <a:pt x="-1233" y="7964"/>
                      <a:pt x="-276" y="13705"/>
                      <a:pt x="3850" y="16696"/>
                    </a:cubicBezTo>
                    <a:cubicBezTo>
                      <a:pt x="7977" y="19686"/>
                      <a:pt x="13719" y="18729"/>
                      <a:pt x="16649" y="14602"/>
                    </a:cubicBezTo>
                    <a:cubicBezTo>
                      <a:pt x="19580" y="10416"/>
                      <a:pt x="18623" y="4674"/>
                      <a:pt x="14496" y="1744"/>
                    </a:cubicBezTo>
                    <a:close/>
                  </a:path>
                </a:pathLst>
              </a:custGeom>
              <a:grpFill/>
              <a:ln w="5978" cap="flat">
                <a:noFill/>
                <a:prstDash val="solid"/>
                <a:miter/>
              </a:ln>
            </p:spPr>
            <p:txBody>
              <a:bodyPr rtlCol="0" anchor="ctr"/>
              <a:lstStyle/>
              <a:p>
                <a:endParaRPr lang="en-GB"/>
              </a:p>
            </p:txBody>
          </p:sp>
        </p:grpSp>
        <p:grpSp>
          <p:nvGrpSpPr>
            <p:cNvPr id="424" name="Graphic 3">
              <a:extLst>
                <a:ext uri="{FF2B5EF4-FFF2-40B4-BE49-F238E27FC236}">
                  <a16:creationId xmlns:a16="http://schemas.microsoft.com/office/drawing/2014/main" id="{733F6C12-883A-4A10-8910-03F75BD6F438}"/>
                </a:ext>
              </a:extLst>
            </p:cNvPr>
            <p:cNvGrpSpPr/>
            <p:nvPr/>
          </p:nvGrpSpPr>
          <p:grpSpPr>
            <a:xfrm>
              <a:off x="6561567" y="1614035"/>
              <a:ext cx="69039" cy="179107"/>
              <a:chOff x="6561567" y="1614035"/>
              <a:chExt cx="69039" cy="179107"/>
            </a:xfrm>
            <a:grpFill/>
          </p:grpSpPr>
          <p:sp>
            <p:nvSpPr>
              <p:cNvPr id="4112" name="Vrije vorm: vorm 4111">
                <a:extLst>
                  <a:ext uri="{FF2B5EF4-FFF2-40B4-BE49-F238E27FC236}">
                    <a16:creationId xmlns:a16="http://schemas.microsoft.com/office/drawing/2014/main" id="{8A21573B-2726-4EF5-AEFD-146550CCAD38}"/>
                  </a:ext>
                </a:extLst>
              </p:cNvPr>
              <p:cNvSpPr/>
              <p:nvPr/>
            </p:nvSpPr>
            <p:spPr>
              <a:xfrm>
                <a:off x="6569125" y="1622371"/>
                <a:ext cx="53886" cy="162496"/>
              </a:xfrm>
              <a:custGeom>
                <a:avLst/>
                <a:gdLst>
                  <a:gd name="connsiteX0" fmla="*/ 53886 w 53886"/>
                  <a:gd name="connsiteY0" fmla="*/ 957 h 162496"/>
                  <a:gd name="connsiteX1" fmla="*/ 2930 w 53886"/>
                  <a:gd name="connsiteY1" fmla="*/ 162496 h 162496"/>
                  <a:gd name="connsiteX2" fmla="*/ 0 w 53886"/>
                  <a:gd name="connsiteY2" fmla="*/ 161539 h 162496"/>
                  <a:gd name="connsiteX3" fmla="*/ 51016 w 53886"/>
                  <a:gd name="connsiteY3" fmla="*/ 0 h 162496"/>
                </a:gdLst>
                <a:ahLst/>
                <a:cxnLst>
                  <a:cxn ang="0">
                    <a:pos x="connsiteX0" y="connsiteY0"/>
                  </a:cxn>
                  <a:cxn ang="0">
                    <a:pos x="connsiteX1" y="connsiteY1"/>
                  </a:cxn>
                  <a:cxn ang="0">
                    <a:pos x="connsiteX2" y="connsiteY2"/>
                  </a:cxn>
                  <a:cxn ang="0">
                    <a:pos x="connsiteX3" y="connsiteY3"/>
                  </a:cxn>
                </a:cxnLst>
                <a:rect l="l" t="t" r="r" b="b"/>
                <a:pathLst>
                  <a:path w="53886" h="162496">
                    <a:moveTo>
                      <a:pt x="53886" y="957"/>
                    </a:moveTo>
                    <a:lnTo>
                      <a:pt x="2930" y="162496"/>
                    </a:lnTo>
                    <a:lnTo>
                      <a:pt x="0" y="161539"/>
                    </a:lnTo>
                    <a:lnTo>
                      <a:pt x="51016" y="0"/>
                    </a:lnTo>
                    <a:close/>
                  </a:path>
                </a:pathLst>
              </a:custGeom>
              <a:grpFill/>
              <a:ln w="5978" cap="flat">
                <a:noFill/>
                <a:prstDash val="solid"/>
                <a:miter/>
              </a:ln>
            </p:spPr>
            <p:txBody>
              <a:bodyPr rtlCol="0" anchor="ctr"/>
              <a:lstStyle/>
              <a:p>
                <a:endParaRPr lang="en-GB"/>
              </a:p>
            </p:txBody>
          </p:sp>
          <p:sp>
            <p:nvSpPr>
              <p:cNvPr id="4113" name="Vrije vorm: vorm 4112">
                <a:extLst>
                  <a:ext uri="{FF2B5EF4-FFF2-40B4-BE49-F238E27FC236}">
                    <a16:creationId xmlns:a16="http://schemas.microsoft.com/office/drawing/2014/main" id="{68399E1B-CA3F-47D0-9318-78F8DCD98456}"/>
                  </a:ext>
                </a:extLst>
              </p:cNvPr>
              <p:cNvSpPr/>
              <p:nvPr/>
            </p:nvSpPr>
            <p:spPr>
              <a:xfrm>
                <a:off x="6612283" y="1614035"/>
                <a:ext cx="18323" cy="18465"/>
              </a:xfrm>
              <a:custGeom>
                <a:avLst/>
                <a:gdLst>
                  <a:gd name="connsiteX0" fmla="*/ 441 w 18323"/>
                  <a:gd name="connsiteY0" fmla="*/ 6422 h 18465"/>
                  <a:gd name="connsiteX1" fmla="*/ 11924 w 18323"/>
                  <a:gd name="connsiteY1" fmla="*/ 441 h 18465"/>
                  <a:gd name="connsiteX2" fmla="*/ 17905 w 18323"/>
                  <a:gd name="connsiteY2" fmla="*/ 12044 h 18465"/>
                  <a:gd name="connsiteX3" fmla="*/ 6421 w 18323"/>
                  <a:gd name="connsiteY3" fmla="*/ 18024 h 18465"/>
                  <a:gd name="connsiteX4" fmla="*/ 441 w 18323"/>
                  <a:gd name="connsiteY4" fmla="*/ 642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65">
                    <a:moveTo>
                      <a:pt x="441" y="6422"/>
                    </a:moveTo>
                    <a:cubicBezTo>
                      <a:pt x="1996" y="1577"/>
                      <a:pt x="7140" y="-1114"/>
                      <a:pt x="11924" y="441"/>
                    </a:cubicBezTo>
                    <a:cubicBezTo>
                      <a:pt x="16768" y="1996"/>
                      <a:pt x="19400" y="7199"/>
                      <a:pt x="17905" y="12044"/>
                    </a:cubicBezTo>
                    <a:cubicBezTo>
                      <a:pt x="16350" y="16888"/>
                      <a:pt x="11206" y="19579"/>
                      <a:pt x="6421" y="18024"/>
                    </a:cubicBezTo>
                    <a:cubicBezTo>
                      <a:pt x="1577" y="16469"/>
                      <a:pt x="-1114" y="11266"/>
                      <a:pt x="441" y="6422"/>
                    </a:cubicBezTo>
                    <a:close/>
                  </a:path>
                </a:pathLst>
              </a:custGeom>
              <a:grpFill/>
              <a:ln w="5978" cap="flat">
                <a:noFill/>
                <a:prstDash val="solid"/>
                <a:miter/>
              </a:ln>
            </p:spPr>
            <p:txBody>
              <a:bodyPr rtlCol="0" anchor="ctr"/>
              <a:lstStyle/>
              <a:p>
                <a:endParaRPr lang="en-GB"/>
              </a:p>
            </p:txBody>
          </p:sp>
          <p:sp>
            <p:nvSpPr>
              <p:cNvPr id="4114" name="Vrije vorm: vorm 4113">
                <a:extLst>
                  <a:ext uri="{FF2B5EF4-FFF2-40B4-BE49-F238E27FC236}">
                    <a16:creationId xmlns:a16="http://schemas.microsoft.com/office/drawing/2014/main" id="{3257E25F-8015-412A-8597-F22456ADB067}"/>
                  </a:ext>
                </a:extLst>
              </p:cNvPr>
              <p:cNvSpPr/>
              <p:nvPr/>
            </p:nvSpPr>
            <p:spPr>
              <a:xfrm>
                <a:off x="6561567" y="1774700"/>
                <a:ext cx="18345" cy="18442"/>
              </a:xfrm>
              <a:custGeom>
                <a:avLst/>
                <a:gdLst>
                  <a:gd name="connsiteX0" fmla="*/ 441 w 18345"/>
                  <a:gd name="connsiteY0" fmla="*/ 6399 h 18442"/>
                  <a:gd name="connsiteX1" fmla="*/ 6422 w 18345"/>
                  <a:gd name="connsiteY1" fmla="*/ 18002 h 18442"/>
                  <a:gd name="connsiteX2" fmla="*/ 17905 w 18345"/>
                  <a:gd name="connsiteY2" fmla="*/ 12021 h 18442"/>
                  <a:gd name="connsiteX3" fmla="*/ 11924 w 18345"/>
                  <a:gd name="connsiteY3" fmla="*/ 418 h 18442"/>
                  <a:gd name="connsiteX4" fmla="*/ 441 w 18345"/>
                  <a:gd name="connsiteY4" fmla="*/ 639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2">
                    <a:moveTo>
                      <a:pt x="441" y="6399"/>
                    </a:moveTo>
                    <a:cubicBezTo>
                      <a:pt x="-1114" y="11244"/>
                      <a:pt x="1577" y="16447"/>
                      <a:pt x="6422" y="18002"/>
                    </a:cubicBezTo>
                    <a:cubicBezTo>
                      <a:pt x="11266" y="19557"/>
                      <a:pt x="16409" y="16865"/>
                      <a:pt x="17905" y="12021"/>
                    </a:cubicBezTo>
                    <a:cubicBezTo>
                      <a:pt x="19460" y="7177"/>
                      <a:pt x="16768" y="1973"/>
                      <a:pt x="11924" y="418"/>
                    </a:cubicBezTo>
                    <a:cubicBezTo>
                      <a:pt x="7079" y="-1077"/>
                      <a:pt x="1936" y="1555"/>
                      <a:pt x="441" y="6399"/>
                    </a:cubicBezTo>
                    <a:close/>
                  </a:path>
                </a:pathLst>
              </a:custGeom>
              <a:grpFill/>
              <a:ln w="5978" cap="flat">
                <a:noFill/>
                <a:prstDash val="solid"/>
                <a:miter/>
              </a:ln>
            </p:spPr>
            <p:txBody>
              <a:bodyPr rtlCol="0" anchor="ctr"/>
              <a:lstStyle/>
              <a:p>
                <a:endParaRPr lang="en-GB"/>
              </a:p>
            </p:txBody>
          </p:sp>
        </p:grpSp>
        <p:grpSp>
          <p:nvGrpSpPr>
            <p:cNvPr id="425" name="Graphic 3">
              <a:extLst>
                <a:ext uri="{FF2B5EF4-FFF2-40B4-BE49-F238E27FC236}">
                  <a16:creationId xmlns:a16="http://schemas.microsoft.com/office/drawing/2014/main" id="{89EE94E1-460A-4F98-BAE6-82A1A2FB8723}"/>
                </a:ext>
              </a:extLst>
            </p:cNvPr>
            <p:cNvGrpSpPr/>
            <p:nvPr/>
          </p:nvGrpSpPr>
          <p:grpSpPr>
            <a:xfrm>
              <a:off x="7415866" y="4396169"/>
              <a:ext cx="231352" cy="214828"/>
              <a:chOff x="7415866" y="4396169"/>
              <a:chExt cx="231352" cy="214828"/>
            </a:xfrm>
            <a:grpFill/>
          </p:grpSpPr>
          <p:sp>
            <p:nvSpPr>
              <p:cNvPr id="4109" name="Vrije vorm: vorm 4108">
                <a:extLst>
                  <a:ext uri="{FF2B5EF4-FFF2-40B4-BE49-F238E27FC236}">
                    <a16:creationId xmlns:a16="http://schemas.microsoft.com/office/drawing/2014/main" id="{21190226-A6E7-42FF-B0A9-86AFAC01FA33}"/>
                  </a:ext>
                </a:extLst>
              </p:cNvPr>
              <p:cNvSpPr/>
              <p:nvPr/>
            </p:nvSpPr>
            <p:spPr>
              <a:xfrm>
                <a:off x="7423651" y="4404004"/>
                <a:ext cx="215784" cy="199218"/>
              </a:xfrm>
              <a:custGeom>
                <a:avLst/>
                <a:gdLst>
                  <a:gd name="connsiteX0" fmla="*/ 215784 w 215784"/>
                  <a:gd name="connsiteY0" fmla="*/ 196945 h 199218"/>
                  <a:gd name="connsiteX1" fmla="*/ 213751 w 215784"/>
                  <a:gd name="connsiteY1" fmla="*/ 199218 h 199218"/>
                  <a:gd name="connsiteX2" fmla="*/ 0 w 215784"/>
                  <a:gd name="connsiteY2" fmla="*/ 2273 h 199218"/>
                  <a:gd name="connsiteX3" fmla="*/ 2093 w 215784"/>
                  <a:gd name="connsiteY3" fmla="*/ 0 h 199218"/>
                </a:gdLst>
                <a:ahLst/>
                <a:cxnLst>
                  <a:cxn ang="0">
                    <a:pos x="connsiteX0" y="connsiteY0"/>
                  </a:cxn>
                  <a:cxn ang="0">
                    <a:pos x="connsiteX1" y="connsiteY1"/>
                  </a:cxn>
                  <a:cxn ang="0">
                    <a:pos x="connsiteX2" y="connsiteY2"/>
                  </a:cxn>
                  <a:cxn ang="0">
                    <a:pos x="connsiteX3" y="connsiteY3"/>
                  </a:cxn>
                </a:cxnLst>
                <a:rect l="l" t="t" r="r" b="b"/>
                <a:pathLst>
                  <a:path w="215784" h="199218">
                    <a:moveTo>
                      <a:pt x="215784" y="196945"/>
                    </a:moveTo>
                    <a:lnTo>
                      <a:pt x="213751" y="199218"/>
                    </a:lnTo>
                    <a:lnTo>
                      <a:pt x="0" y="2273"/>
                    </a:lnTo>
                    <a:lnTo>
                      <a:pt x="2093" y="0"/>
                    </a:lnTo>
                    <a:close/>
                  </a:path>
                </a:pathLst>
              </a:custGeom>
              <a:grpFill/>
              <a:ln w="5978" cap="flat">
                <a:noFill/>
                <a:prstDash val="solid"/>
                <a:miter/>
              </a:ln>
            </p:spPr>
            <p:txBody>
              <a:bodyPr rtlCol="0" anchor="ctr"/>
              <a:lstStyle/>
              <a:p>
                <a:endParaRPr lang="en-GB"/>
              </a:p>
            </p:txBody>
          </p:sp>
          <p:sp>
            <p:nvSpPr>
              <p:cNvPr id="4110" name="Vrije vorm: vorm 4109">
                <a:extLst>
                  <a:ext uri="{FF2B5EF4-FFF2-40B4-BE49-F238E27FC236}">
                    <a16:creationId xmlns:a16="http://schemas.microsoft.com/office/drawing/2014/main" id="{22F2DA63-9F29-4FCB-A489-30E48CC5A411}"/>
                  </a:ext>
                </a:extLst>
              </p:cNvPr>
              <p:cNvSpPr/>
              <p:nvPr/>
            </p:nvSpPr>
            <p:spPr>
              <a:xfrm>
                <a:off x="7415866" y="4396169"/>
                <a:ext cx="18298" cy="18481"/>
              </a:xfrm>
              <a:custGeom>
                <a:avLst/>
                <a:gdLst>
                  <a:gd name="connsiteX0" fmla="*/ 3000 w 18298"/>
                  <a:gd name="connsiteY0" fmla="*/ 16029 h 18481"/>
                  <a:gd name="connsiteX1" fmla="*/ 2402 w 18298"/>
                  <a:gd name="connsiteY1" fmla="*/ 2991 h 18481"/>
                  <a:gd name="connsiteX2" fmla="*/ 15320 w 18298"/>
                  <a:gd name="connsiteY2" fmla="*/ 2452 h 18481"/>
                  <a:gd name="connsiteX3" fmla="*/ 15918 w 18298"/>
                  <a:gd name="connsiteY3" fmla="*/ 15490 h 18481"/>
                  <a:gd name="connsiteX4" fmla="*/ 3000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3000" y="16029"/>
                    </a:moveTo>
                    <a:cubicBezTo>
                      <a:pt x="-768" y="12560"/>
                      <a:pt x="-1008" y="6758"/>
                      <a:pt x="2402" y="2991"/>
                    </a:cubicBezTo>
                    <a:cubicBezTo>
                      <a:pt x="5810" y="-777"/>
                      <a:pt x="11611" y="-1016"/>
                      <a:pt x="15320" y="2452"/>
                    </a:cubicBezTo>
                    <a:cubicBezTo>
                      <a:pt x="19028" y="5921"/>
                      <a:pt x="19327" y="11723"/>
                      <a:pt x="15918" y="15490"/>
                    </a:cubicBezTo>
                    <a:cubicBezTo>
                      <a:pt x="12509" y="19258"/>
                      <a:pt x="6708" y="19497"/>
                      <a:pt x="3000" y="16029"/>
                    </a:cubicBezTo>
                    <a:close/>
                  </a:path>
                </a:pathLst>
              </a:custGeom>
              <a:grpFill/>
              <a:ln w="5978" cap="flat">
                <a:noFill/>
                <a:prstDash val="solid"/>
                <a:miter/>
              </a:ln>
            </p:spPr>
            <p:txBody>
              <a:bodyPr rtlCol="0" anchor="ctr"/>
              <a:lstStyle/>
              <a:p>
                <a:endParaRPr lang="en-GB"/>
              </a:p>
            </p:txBody>
          </p:sp>
          <p:sp>
            <p:nvSpPr>
              <p:cNvPr id="4111" name="Vrije vorm: vorm 4110">
                <a:extLst>
                  <a:ext uri="{FF2B5EF4-FFF2-40B4-BE49-F238E27FC236}">
                    <a16:creationId xmlns:a16="http://schemas.microsoft.com/office/drawing/2014/main" id="{9E6C9D2F-AA20-4FCF-9AF9-A4616749F7DC}"/>
                  </a:ext>
                </a:extLst>
              </p:cNvPr>
              <p:cNvSpPr/>
              <p:nvPr/>
            </p:nvSpPr>
            <p:spPr>
              <a:xfrm>
                <a:off x="7628921" y="4592516"/>
                <a:ext cx="18298" cy="18481"/>
              </a:xfrm>
              <a:custGeom>
                <a:avLst/>
                <a:gdLst>
                  <a:gd name="connsiteX0" fmla="*/ 2979 w 18298"/>
                  <a:gd name="connsiteY0" fmla="*/ 16029 h 18481"/>
                  <a:gd name="connsiteX1" fmla="*/ 15897 w 18298"/>
                  <a:gd name="connsiteY1" fmla="*/ 15491 h 18481"/>
                  <a:gd name="connsiteX2" fmla="*/ 15299 w 18298"/>
                  <a:gd name="connsiteY2" fmla="*/ 2453 h 18481"/>
                  <a:gd name="connsiteX3" fmla="*/ 2381 w 18298"/>
                  <a:gd name="connsiteY3" fmla="*/ 2991 h 18481"/>
                  <a:gd name="connsiteX4" fmla="*/ 2979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2979" y="16029"/>
                    </a:moveTo>
                    <a:cubicBezTo>
                      <a:pt x="6746" y="19498"/>
                      <a:pt x="12488" y="19258"/>
                      <a:pt x="15897" y="15491"/>
                    </a:cubicBezTo>
                    <a:cubicBezTo>
                      <a:pt x="19306" y="11723"/>
                      <a:pt x="19066" y="5921"/>
                      <a:pt x="15299" y="2453"/>
                    </a:cubicBezTo>
                    <a:cubicBezTo>
                      <a:pt x="11590" y="-1016"/>
                      <a:pt x="5789" y="-777"/>
                      <a:pt x="2381" y="2991"/>
                    </a:cubicBezTo>
                    <a:cubicBezTo>
                      <a:pt x="-1029" y="6759"/>
                      <a:pt x="-729" y="12620"/>
                      <a:pt x="2979" y="16029"/>
                    </a:cubicBezTo>
                    <a:close/>
                  </a:path>
                </a:pathLst>
              </a:custGeom>
              <a:grpFill/>
              <a:ln w="5978" cap="flat">
                <a:noFill/>
                <a:prstDash val="solid"/>
                <a:miter/>
              </a:ln>
            </p:spPr>
            <p:txBody>
              <a:bodyPr rtlCol="0" anchor="ctr"/>
              <a:lstStyle/>
              <a:p>
                <a:endParaRPr lang="en-GB"/>
              </a:p>
            </p:txBody>
          </p:sp>
        </p:grpSp>
        <p:grpSp>
          <p:nvGrpSpPr>
            <p:cNvPr id="426" name="Graphic 3">
              <a:extLst>
                <a:ext uri="{FF2B5EF4-FFF2-40B4-BE49-F238E27FC236}">
                  <a16:creationId xmlns:a16="http://schemas.microsoft.com/office/drawing/2014/main" id="{4E36BE90-F73D-4C8A-880D-D0BAE161854A}"/>
                </a:ext>
              </a:extLst>
            </p:cNvPr>
            <p:cNvGrpSpPr/>
            <p:nvPr/>
          </p:nvGrpSpPr>
          <p:grpSpPr>
            <a:xfrm>
              <a:off x="6568146" y="1636224"/>
              <a:ext cx="19361" cy="22133"/>
              <a:chOff x="6568146" y="1636224"/>
              <a:chExt cx="19361" cy="22133"/>
            </a:xfrm>
            <a:grpFill/>
          </p:grpSpPr>
          <p:sp>
            <p:nvSpPr>
              <p:cNvPr id="4107" name="Vrije vorm: vorm 4106">
                <a:extLst>
                  <a:ext uri="{FF2B5EF4-FFF2-40B4-BE49-F238E27FC236}">
                    <a16:creationId xmlns:a16="http://schemas.microsoft.com/office/drawing/2014/main" id="{64C72417-E352-48A8-81DB-D48FA4CB53D2}"/>
                  </a:ext>
                </a:extLst>
              </p:cNvPr>
              <p:cNvSpPr/>
              <p:nvPr/>
            </p:nvSpPr>
            <p:spPr>
              <a:xfrm>
                <a:off x="6568146" y="1639911"/>
                <a:ext cx="18284" cy="18447"/>
              </a:xfrm>
              <a:custGeom>
                <a:avLst/>
                <a:gdLst>
                  <a:gd name="connsiteX0" fmla="*/ 381 w 18284"/>
                  <a:gd name="connsiteY0" fmla="*/ 6562 h 18447"/>
                  <a:gd name="connsiteX1" fmla="*/ 11744 w 18284"/>
                  <a:gd name="connsiteY1" fmla="*/ 402 h 18447"/>
                  <a:gd name="connsiteX2" fmla="*/ 17904 w 18284"/>
                  <a:gd name="connsiteY2" fmla="*/ 11885 h 18447"/>
                  <a:gd name="connsiteX3" fmla="*/ 6481 w 18284"/>
                  <a:gd name="connsiteY3" fmla="*/ 18045 h 18447"/>
                  <a:gd name="connsiteX4" fmla="*/ 381 w 1828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7">
                    <a:moveTo>
                      <a:pt x="381" y="6562"/>
                    </a:moveTo>
                    <a:cubicBezTo>
                      <a:pt x="1816" y="1718"/>
                      <a:pt x="6900" y="-1093"/>
                      <a:pt x="11744" y="402"/>
                    </a:cubicBezTo>
                    <a:cubicBezTo>
                      <a:pt x="16588" y="1897"/>
                      <a:pt x="19340" y="6981"/>
                      <a:pt x="17904" y="11885"/>
                    </a:cubicBezTo>
                    <a:cubicBezTo>
                      <a:pt x="16469" y="16730"/>
                      <a:pt x="11385" y="19541"/>
                      <a:pt x="6481" y="18045"/>
                    </a:cubicBezTo>
                    <a:cubicBezTo>
                      <a:pt x="1696" y="16550"/>
                      <a:pt x="-1055" y="11467"/>
                      <a:pt x="381" y="6562"/>
                    </a:cubicBezTo>
                    <a:close/>
                  </a:path>
                </a:pathLst>
              </a:custGeom>
              <a:grpFill/>
              <a:ln w="5978" cap="flat">
                <a:noFill/>
                <a:prstDash val="solid"/>
                <a:miter/>
              </a:ln>
            </p:spPr>
            <p:txBody>
              <a:bodyPr rtlCol="0" anchor="ctr"/>
              <a:lstStyle/>
              <a:p>
                <a:endParaRPr lang="en-GB"/>
              </a:p>
            </p:txBody>
          </p:sp>
          <p:sp>
            <p:nvSpPr>
              <p:cNvPr id="4108" name="Vrije vorm: vorm 4107">
                <a:extLst>
                  <a:ext uri="{FF2B5EF4-FFF2-40B4-BE49-F238E27FC236}">
                    <a16:creationId xmlns:a16="http://schemas.microsoft.com/office/drawing/2014/main" id="{A3F3933F-469B-4843-87CD-7D8201BB4832}"/>
                  </a:ext>
                </a:extLst>
              </p:cNvPr>
              <p:cNvSpPr/>
              <p:nvPr/>
            </p:nvSpPr>
            <p:spPr>
              <a:xfrm>
                <a:off x="6569223" y="1636224"/>
                <a:ext cx="18284" cy="18425"/>
              </a:xfrm>
              <a:custGeom>
                <a:avLst/>
                <a:gdLst>
                  <a:gd name="connsiteX0" fmla="*/ 380 w 18284"/>
                  <a:gd name="connsiteY0" fmla="*/ 6541 h 18425"/>
                  <a:gd name="connsiteX1" fmla="*/ 6540 w 18284"/>
                  <a:gd name="connsiteY1" fmla="*/ 18024 h 18425"/>
                  <a:gd name="connsiteX2" fmla="*/ 17904 w 18284"/>
                  <a:gd name="connsiteY2" fmla="*/ 11863 h 18425"/>
                  <a:gd name="connsiteX3" fmla="*/ 11744 w 18284"/>
                  <a:gd name="connsiteY3" fmla="*/ 380 h 18425"/>
                  <a:gd name="connsiteX4" fmla="*/ 380 w 18284"/>
                  <a:gd name="connsiteY4" fmla="*/ 6541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25">
                    <a:moveTo>
                      <a:pt x="380" y="6541"/>
                    </a:moveTo>
                    <a:cubicBezTo>
                      <a:pt x="-1055" y="11385"/>
                      <a:pt x="1696" y="16528"/>
                      <a:pt x="6540" y="18024"/>
                    </a:cubicBezTo>
                    <a:cubicBezTo>
                      <a:pt x="11385" y="19519"/>
                      <a:pt x="16469" y="16708"/>
                      <a:pt x="17904" y="11863"/>
                    </a:cubicBezTo>
                    <a:cubicBezTo>
                      <a:pt x="19339" y="7019"/>
                      <a:pt x="16588" y="1876"/>
                      <a:pt x="11744" y="380"/>
                    </a:cubicBezTo>
                    <a:cubicBezTo>
                      <a:pt x="6959" y="-1055"/>
                      <a:pt x="1816" y="1696"/>
                      <a:pt x="380" y="6541"/>
                    </a:cubicBezTo>
                    <a:close/>
                  </a:path>
                </a:pathLst>
              </a:custGeom>
              <a:grpFill/>
              <a:ln w="5978" cap="flat">
                <a:noFill/>
                <a:prstDash val="solid"/>
                <a:miter/>
              </a:ln>
            </p:spPr>
            <p:txBody>
              <a:bodyPr rtlCol="0" anchor="ctr"/>
              <a:lstStyle/>
              <a:p>
                <a:endParaRPr lang="en-GB"/>
              </a:p>
            </p:txBody>
          </p:sp>
        </p:grpSp>
        <p:grpSp>
          <p:nvGrpSpPr>
            <p:cNvPr id="427" name="Graphic 3">
              <a:extLst>
                <a:ext uri="{FF2B5EF4-FFF2-40B4-BE49-F238E27FC236}">
                  <a16:creationId xmlns:a16="http://schemas.microsoft.com/office/drawing/2014/main" id="{BF4FC8C9-C216-4C0C-B18B-0FE7829B8C82}"/>
                </a:ext>
              </a:extLst>
            </p:cNvPr>
            <p:cNvGrpSpPr/>
            <p:nvPr/>
          </p:nvGrpSpPr>
          <p:grpSpPr>
            <a:xfrm>
              <a:off x="7427734" y="4366530"/>
              <a:ext cx="179890" cy="170220"/>
              <a:chOff x="7427734" y="4366530"/>
              <a:chExt cx="179890" cy="170220"/>
            </a:xfrm>
            <a:grpFill/>
          </p:grpSpPr>
          <p:sp>
            <p:nvSpPr>
              <p:cNvPr id="4104" name="Vrije vorm: vorm 4103">
                <a:extLst>
                  <a:ext uri="{FF2B5EF4-FFF2-40B4-BE49-F238E27FC236}">
                    <a16:creationId xmlns:a16="http://schemas.microsoft.com/office/drawing/2014/main" id="{E2A5D180-72AB-409F-8F32-CD960B8A9B9A}"/>
                  </a:ext>
                </a:extLst>
              </p:cNvPr>
              <p:cNvSpPr/>
              <p:nvPr/>
            </p:nvSpPr>
            <p:spPr>
              <a:xfrm>
                <a:off x="7435493" y="4374280"/>
                <a:ext cx="164290" cy="154721"/>
              </a:xfrm>
              <a:custGeom>
                <a:avLst/>
                <a:gdLst>
                  <a:gd name="connsiteX0" fmla="*/ 164290 w 164290"/>
                  <a:gd name="connsiteY0" fmla="*/ 152508 h 154721"/>
                  <a:gd name="connsiteX1" fmla="*/ 162257 w 164290"/>
                  <a:gd name="connsiteY1" fmla="*/ 154721 h 154721"/>
                  <a:gd name="connsiteX2" fmla="*/ 0 w 164290"/>
                  <a:gd name="connsiteY2" fmla="*/ 2273 h 154721"/>
                  <a:gd name="connsiteX3" fmla="*/ 2093 w 164290"/>
                  <a:gd name="connsiteY3" fmla="*/ 0 h 154721"/>
                </a:gdLst>
                <a:ahLst/>
                <a:cxnLst>
                  <a:cxn ang="0">
                    <a:pos x="connsiteX0" y="connsiteY0"/>
                  </a:cxn>
                  <a:cxn ang="0">
                    <a:pos x="connsiteX1" y="connsiteY1"/>
                  </a:cxn>
                  <a:cxn ang="0">
                    <a:pos x="connsiteX2" y="connsiteY2"/>
                  </a:cxn>
                  <a:cxn ang="0">
                    <a:pos x="connsiteX3" y="connsiteY3"/>
                  </a:cxn>
                </a:cxnLst>
                <a:rect l="l" t="t" r="r" b="b"/>
                <a:pathLst>
                  <a:path w="164290" h="154721">
                    <a:moveTo>
                      <a:pt x="164290" y="152508"/>
                    </a:moveTo>
                    <a:lnTo>
                      <a:pt x="162257" y="154721"/>
                    </a:lnTo>
                    <a:lnTo>
                      <a:pt x="0" y="2273"/>
                    </a:lnTo>
                    <a:lnTo>
                      <a:pt x="2093" y="0"/>
                    </a:lnTo>
                    <a:close/>
                  </a:path>
                </a:pathLst>
              </a:custGeom>
              <a:grpFill/>
              <a:ln w="5978" cap="flat">
                <a:noFill/>
                <a:prstDash val="solid"/>
                <a:miter/>
              </a:ln>
            </p:spPr>
            <p:txBody>
              <a:bodyPr rtlCol="0" anchor="ctr"/>
              <a:lstStyle/>
              <a:p>
                <a:endParaRPr lang="en-GB"/>
              </a:p>
            </p:txBody>
          </p:sp>
          <p:sp>
            <p:nvSpPr>
              <p:cNvPr id="4105" name="Vrije vorm: vorm 4104">
                <a:extLst>
                  <a:ext uri="{FF2B5EF4-FFF2-40B4-BE49-F238E27FC236}">
                    <a16:creationId xmlns:a16="http://schemas.microsoft.com/office/drawing/2014/main" id="{3FC8B5E7-3C21-44BA-B097-C412951ED324}"/>
                  </a:ext>
                </a:extLst>
              </p:cNvPr>
              <p:cNvSpPr/>
              <p:nvPr/>
            </p:nvSpPr>
            <p:spPr>
              <a:xfrm>
                <a:off x="7427734" y="4366530"/>
                <a:ext cx="18327" cy="18429"/>
              </a:xfrm>
              <a:custGeom>
                <a:avLst/>
                <a:gdLst>
                  <a:gd name="connsiteX0" fmla="*/ 2914 w 18327"/>
                  <a:gd name="connsiteY0" fmla="*/ 15943 h 18429"/>
                  <a:gd name="connsiteX1" fmla="*/ 2436 w 18327"/>
                  <a:gd name="connsiteY1" fmla="*/ 2905 h 18429"/>
                  <a:gd name="connsiteX2" fmla="*/ 15413 w 18327"/>
                  <a:gd name="connsiteY2" fmla="*/ 2487 h 18429"/>
                  <a:gd name="connsiteX3" fmla="*/ 15892 w 18327"/>
                  <a:gd name="connsiteY3" fmla="*/ 15525 h 18429"/>
                  <a:gd name="connsiteX4" fmla="*/ 2914 w 18327"/>
                  <a:gd name="connsiteY4" fmla="*/ 1594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2914" y="15943"/>
                    </a:moveTo>
                    <a:cubicBezTo>
                      <a:pt x="-794" y="12474"/>
                      <a:pt x="-974" y="6613"/>
                      <a:pt x="2436" y="2905"/>
                    </a:cubicBezTo>
                    <a:cubicBezTo>
                      <a:pt x="5904" y="-803"/>
                      <a:pt x="11705" y="-982"/>
                      <a:pt x="15413" y="2487"/>
                    </a:cubicBezTo>
                    <a:cubicBezTo>
                      <a:pt x="19121" y="5956"/>
                      <a:pt x="19301" y="11817"/>
                      <a:pt x="15892" y="15525"/>
                    </a:cubicBezTo>
                    <a:cubicBezTo>
                      <a:pt x="12364" y="19233"/>
                      <a:pt x="6562" y="19412"/>
                      <a:pt x="2914" y="15943"/>
                    </a:cubicBezTo>
                    <a:close/>
                  </a:path>
                </a:pathLst>
              </a:custGeom>
              <a:grpFill/>
              <a:ln w="5978" cap="flat">
                <a:noFill/>
                <a:prstDash val="solid"/>
                <a:miter/>
              </a:ln>
            </p:spPr>
            <p:txBody>
              <a:bodyPr rtlCol="0" anchor="ctr"/>
              <a:lstStyle/>
              <a:p>
                <a:endParaRPr lang="en-GB"/>
              </a:p>
            </p:txBody>
          </p:sp>
          <p:sp>
            <p:nvSpPr>
              <p:cNvPr id="4106" name="Vrije vorm: vorm 4105">
                <a:extLst>
                  <a:ext uri="{FF2B5EF4-FFF2-40B4-BE49-F238E27FC236}">
                    <a16:creationId xmlns:a16="http://schemas.microsoft.com/office/drawing/2014/main" id="{7FDC83B9-9697-488C-96CC-38CF31D161C5}"/>
                  </a:ext>
                </a:extLst>
              </p:cNvPr>
              <p:cNvSpPr/>
              <p:nvPr/>
            </p:nvSpPr>
            <p:spPr>
              <a:xfrm>
                <a:off x="7589273" y="4518321"/>
                <a:ext cx="18350" cy="18429"/>
              </a:xfrm>
              <a:custGeom>
                <a:avLst/>
                <a:gdLst>
                  <a:gd name="connsiteX0" fmla="*/ 2914 w 18350"/>
                  <a:gd name="connsiteY0" fmla="*/ 15943 h 18429"/>
                  <a:gd name="connsiteX1" fmla="*/ 15892 w 18350"/>
                  <a:gd name="connsiteY1" fmla="*/ 15525 h 18429"/>
                  <a:gd name="connsiteX2" fmla="*/ 15413 w 18350"/>
                  <a:gd name="connsiteY2" fmla="*/ 2487 h 18429"/>
                  <a:gd name="connsiteX3" fmla="*/ 2436 w 18350"/>
                  <a:gd name="connsiteY3" fmla="*/ 2905 h 18429"/>
                  <a:gd name="connsiteX4" fmla="*/ 2914 w 18350"/>
                  <a:gd name="connsiteY4" fmla="*/ 1594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29">
                    <a:moveTo>
                      <a:pt x="2914" y="15943"/>
                    </a:moveTo>
                    <a:cubicBezTo>
                      <a:pt x="6622" y="19412"/>
                      <a:pt x="12423" y="19233"/>
                      <a:pt x="15892" y="15525"/>
                    </a:cubicBezTo>
                    <a:cubicBezTo>
                      <a:pt x="19361" y="11817"/>
                      <a:pt x="19121" y="5956"/>
                      <a:pt x="15413" y="2487"/>
                    </a:cubicBezTo>
                    <a:cubicBezTo>
                      <a:pt x="11705" y="-982"/>
                      <a:pt x="5904" y="-803"/>
                      <a:pt x="2436" y="2905"/>
                    </a:cubicBezTo>
                    <a:cubicBezTo>
                      <a:pt x="-974" y="6673"/>
                      <a:pt x="-794" y="12474"/>
                      <a:pt x="2914" y="15943"/>
                    </a:cubicBezTo>
                    <a:close/>
                  </a:path>
                </a:pathLst>
              </a:custGeom>
              <a:grpFill/>
              <a:ln w="5978" cap="flat">
                <a:noFill/>
                <a:prstDash val="solid"/>
                <a:miter/>
              </a:ln>
            </p:spPr>
            <p:txBody>
              <a:bodyPr rtlCol="0" anchor="ctr"/>
              <a:lstStyle/>
              <a:p>
                <a:endParaRPr lang="en-GB"/>
              </a:p>
            </p:txBody>
          </p:sp>
        </p:grpSp>
        <p:grpSp>
          <p:nvGrpSpPr>
            <p:cNvPr id="428" name="Graphic 3">
              <a:extLst>
                <a:ext uri="{FF2B5EF4-FFF2-40B4-BE49-F238E27FC236}">
                  <a16:creationId xmlns:a16="http://schemas.microsoft.com/office/drawing/2014/main" id="{CF8F7967-06C4-4CB7-A4C5-6E0DA6C53D6C}"/>
                </a:ext>
              </a:extLst>
            </p:cNvPr>
            <p:cNvGrpSpPr/>
            <p:nvPr/>
          </p:nvGrpSpPr>
          <p:grpSpPr>
            <a:xfrm>
              <a:off x="7558345" y="4777458"/>
              <a:ext cx="181975" cy="166706"/>
              <a:chOff x="7558345" y="4777458"/>
              <a:chExt cx="181975" cy="166706"/>
            </a:xfrm>
            <a:grpFill/>
          </p:grpSpPr>
          <p:sp>
            <p:nvSpPr>
              <p:cNvPr id="4101" name="Vrije vorm: vorm 4100">
                <a:extLst>
                  <a:ext uri="{FF2B5EF4-FFF2-40B4-BE49-F238E27FC236}">
                    <a16:creationId xmlns:a16="http://schemas.microsoft.com/office/drawing/2014/main" id="{B68DD1D3-C0B8-4761-A8C8-8AD5AC2118EF}"/>
                  </a:ext>
                </a:extLst>
              </p:cNvPr>
              <p:cNvSpPr/>
              <p:nvPr/>
            </p:nvSpPr>
            <p:spPr>
              <a:xfrm>
                <a:off x="7566111" y="4785275"/>
                <a:ext cx="166383" cy="151073"/>
              </a:xfrm>
              <a:custGeom>
                <a:avLst/>
                <a:gdLst>
                  <a:gd name="connsiteX0" fmla="*/ 166383 w 166383"/>
                  <a:gd name="connsiteY0" fmla="*/ 148800 h 151073"/>
                  <a:gd name="connsiteX1" fmla="*/ 164350 w 166383"/>
                  <a:gd name="connsiteY1" fmla="*/ 151073 h 151073"/>
                  <a:gd name="connsiteX2" fmla="*/ 0 w 166383"/>
                  <a:gd name="connsiteY2" fmla="*/ 2273 h 151073"/>
                  <a:gd name="connsiteX3" fmla="*/ 2033 w 166383"/>
                  <a:gd name="connsiteY3" fmla="*/ 0 h 151073"/>
                </a:gdLst>
                <a:ahLst/>
                <a:cxnLst>
                  <a:cxn ang="0">
                    <a:pos x="connsiteX0" y="connsiteY0"/>
                  </a:cxn>
                  <a:cxn ang="0">
                    <a:pos x="connsiteX1" y="connsiteY1"/>
                  </a:cxn>
                  <a:cxn ang="0">
                    <a:pos x="connsiteX2" y="connsiteY2"/>
                  </a:cxn>
                  <a:cxn ang="0">
                    <a:pos x="connsiteX3" y="connsiteY3"/>
                  </a:cxn>
                </a:cxnLst>
                <a:rect l="l" t="t" r="r" b="b"/>
                <a:pathLst>
                  <a:path w="166383" h="151073">
                    <a:moveTo>
                      <a:pt x="166383" y="148800"/>
                    </a:moveTo>
                    <a:lnTo>
                      <a:pt x="164350" y="151073"/>
                    </a:lnTo>
                    <a:lnTo>
                      <a:pt x="0" y="2273"/>
                    </a:lnTo>
                    <a:lnTo>
                      <a:pt x="2033" y="0"/>
                    </a:lnTo>
                    <a:close/>
                  </a:path>
                </a:pathLst>
              </a:custGeom>
              <a:grpFill/>
              <a:ln w="5978" cap="flat">
                <a:noFill/>
                <a:prstDash val="solid"/>
                <a:miter/>
              </a:ln>
            </p:spPr>
            <p:txBody>
              <a:bodyPr rtlCol="0" anchor="ctr"/>
              <a:lstStyle/>
              <a:p>
                <a:endParaRPr lang="en-GB"/>
              </a:p>
            </p:txBody>
          </p:sp>
          <p:sp>
            <p:nvSpPr>
              <p:cNvPr id="4102" name="Vrije vorm: vorm 4101">
                <a:extLst>
                  <a:ext uri="{FF2B5EF4-FFF2-40B4-BE49-F238E27FC236}">
                    <a16:creationId xmlns:a16="http://schemas.microsoft.com/office/drawing/2014/main" id="{2AB36013-D622-489E-8562-3688EB77FFA2}"/>
                  </a:ext>
                </a:extLst>
              </p:cNvPr>
              <p:cNvSpPr/>
              <p:nvPr/>
            </p:nvSpPr>
            <p:spPr>
              <a:xfrm>
                <a:off x="7722037" y="4925720"/>
                <a:ext cx="18283" cy="18444"/>
              </a:xfrm>
              <a:custGeom>
                <a:avLst/>
                <a:gdLst>
                  <a:gd name="connsiteX0" fmla="*/ 15242 w 18283"/>
                  <a:gd name="connsiteY0" fmla="*/ 2374 h 18444"/>
                  <a:gd name="connsiteX1" fmla="*/ 15960 w 18283"/>
                  <a:gd name="connsiteY1" fmla="*/ 15412 h 18444"/>
                  <a:gd name="connsiteX2" fmla="*/ 3041 w 18283"/>
                  <a:gd name="connsiteY2" fmla="*/ 16070 h 18444"/>
                  <a:gd name="connsiteX3" fmla="*/ 2324 w 18283"/>
                  <a:gd name="connsiteY3" fmla="*/ 303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9010" y="5783"/>
                      <a:pt x="19309" y="11585"/>
                      <a:pt x="15960" y="15412"/>
                    </a:cubicBezTo>
                    <a:cubicBezTo>
                      <a:pt x="12551" y="19180"/>
                      <a:pt x="6809" y="19479"/>
                      <a:pt x="3041" y="16070"/>
                    </a:cubicBezTo>
                    <a:cubicBezTo>
                      <a:pt x="-727" y="12661"/>
                      <a:pt x="-1025" y="6860"/>
                      <a:pt x="2324" y="3032"/>
                    </a:cubicBezTo>
                    <a:cubicBezTo>
                      <a:pt x="5673" y="-736"/>
                      <a:pt x="11474" y="-1035"/>
                      <a:pt x="15242" y="2374"/>
                    </a:cubicBezTo>
                    <a:close/>
                  </a:path>
                </a:pathLst>
              </a:custGeom>
              <a:grpFill/>
              <a:ln w="5978" cap="flat">
                <a:noFill/>
                <a:prstDash val="solid"/>
                <a:miter/>
              </a:ln>
            </p:spPr>
            <p:txBody>
              <a:bodyPr rtlCol="0" anchor="ctr"/>
              <a:lstStyle/>
              <a:p>
                <a:endParaRPr lang="en-GB"/>
              </a:p>
            </p:txBody>
          </p:sp>
          <p:sp>
            <p:nvSpPr>
              <p:cNvPr id="4103" name="Vrije vorm: vorm 4102">
                <a:extLst>
                  <a:ext uri="{FF2B5EF4-FFF2-40B4-BE49-F238E27FC236}">
                    <a16:creationId xmlns:a16="http://schemas.microsoft.com/office/drawing/2014/main" id="{680AE8E6-A744-461E-989A-8D884AB0653A}"/>
                  </a:ext>
                </a:extLst>
              </p:cNvPr>
              <p:cNvSpPr/>
              <p:nvPr/>
            </p:nvSpPr>
            <p:spPr>
              <a:xfrm>
                <a:off x="7558345" y="4777458"/>
                <a:ext cx="18283" cy="18444"/>
              </a:xfrm>
              <a:custGeom>
                <a:avLst/>
                <a:gdLst>
                  <a:gd name="connsiteX0" fmla="*/ 15242 w 18283"/>
                  <a:gd name="connsiteY0" fmla="*/ 2374 h 18444"/>
                  <a:gd name="connsiteX1" fmla="*/ 2324 w 18283"/>
                  <a:gd name="connsiteY1" fmla="*/ 3032 h 18444"/>
                  <a:gd name="connsiteX2" fmla="*/ 3041 w 18283"/>
                  <a:gd name="connsiteY2" fmla="*/ 16070 h 18444"/>
                  <a:gd name="connsiteX3" fmla="*/ 15960 w 18283"/>
                  <a:gd name="connsiteY3" fmla="*/ 1541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1474" y="-1035"/>
                      <a:pt x="5673" y="-736"/>
                      <a:pt x="2324" y="3032"/>
                    </a:cubicBezTo>
                    <a:cubicBezTo>
                      <a:pt x="-1025" y="6800"/>
                      <a:pt x="-727" y="12661"/>
                      <a:pt x="3041" y="16070"/>
                    </a:cubicBezTo>
                    <a:cubicBezTo>
                      <a:pt x="6809" y="19479"/>
                      <a:pt x="12610" y="19180"/>
                      <a:pt x="15960" y="15412"/>
                    </a:cubicBezTo>
                    <a:cubicBezTo>
                      <a:pt x="19309" y="11644"/>
                      <a:pt x="19010" y="5783"/>
                      <a:pt x="15242" y="2374"/>
                    </a:cubicBezTo>
                    <a:close/>
                  </a:path>
                </a:pathLst>
              </a:custGeom>
              <a:grpFill/>
              <a:ln w="5978" cap="flat">
                <a:noFill/>
                <a:prstDash val="solid"/>
                <a:miter/>
              </a:ln>
            </p:spPr>
            <p:txBody>
              <a:bodyPr rtlCol="0" anchor="ctr"/>
              <a:lstStyle/>
              <a:p>
                <a:endParaRPr lang="en-GB"/>
              </a:p>
            </p:txBody>
          </p:sp>
        </p:grpSp>
        <p:grpSp>
          <p:nvGrpSpPr>
            <p:cNvPr id="429" name="Graphic 3">
              <a:extLst>
                <a:ext uri="{FF2B5EF4-FFF2-40B4-BE49-F238E27FC236}">
                  <a16:creationId xmlns:a16="http://schemas.microsoft.com/office/drawing/2014/main" id="{132B21C8-2BA3-4988-BE85-35160DDAFB46}"/>
                </a:ext>
              </a:extLst>
            </p:cNvPr>
            <p:cNvGrpSpPr/>
            <p:nvPr/>
          </p:nvGrpSpPr>
          <p:grpSpPr>
            <a:xfrm>
              <a:off x="6514290" y="1500352"/>
              <a:ext cx="37003" cy="91807"/>
              <a:chOff x="6514290" y="1500352"/>
              <a:chExt cx="37003" cy="91807"/>
            </a:xfrm>
            <a:grpFill/>
          </p:grpSpPr>
          <p:sp>
            <p:nvSpPr>
              <p:cNvPr id="4098" name="Vrije vorm: vorm 4097">
                <a:extLst>
                  <a:ext uri="{FF2B5EF4-FFF2-40B4-BE49-F238E27FC236}">
                    <a16:creationId xmlns:a16="http://schemas.microsoft.com/office/drawing/2014/main" id="{4BA3D72D-E4A2-44B9-BC1B-3022065103A6}"/>
                  </a:ext>
                </a:extLst>
              </p:cNvPr>
              <p:cNvSpPr/>
              <p:nvPr/>
            </p:nvSpPr>
            <p:spPr>
              <a:xfrm>
                <a:off x="6521877" y="1508737"/>
                <a:ext cx="21889" cy="75058"/>
              </a:xfrm>
              <a:custGeom>
                <a:avLst/>
                <a:gdLst>
                  <a:gd name="connsiteX0" fmla="*/ 21889 w 21889"/>
                  <a:gd name="connsiteY0" fmla="*/ 778 h 75058"/>
                  <a:gd name="connsiteX1" fmla="*/ 2930 w 21889"/>
                  <a:gd name="connsiteY1" fmla="*/ 75058 h 75058"/>
                  <a:gd name="connsiteX2" fmla="*/ 0 w 21889"/>
                  <a:gd name="connsiteY2" fmla="*/ 74281 h 75058"/>
                  <a:gd name="connsiteX3" fmla="*/ 18959 w 21889"/>
                  <a:gd name="connsiteY3" fmla="*/ 0 h 75058"/>
                </a:gdLst>
                <a:ahLst/>
                <a:cxnLst>
                  <a:cxn ang="0">
                    <a:pos x="connsiteX0" y="connsiteY0"/>
                  </a:cxn>
                  <a:cxn ang="0">
                    <a:pos x="connsiteX1" y="connsiteY1"/>
                  </a:cxn>
                  <a:cxn ang="0">
                    <a:pos x="connsiteX2" y="connsiteY2"/>
                  </a:cxn>
                  <a:cxn ang="0">
                    <a:pos x="connsiteX3" y="connsiteY3"/>
                  </a:cxn>
                </a:cxnLst>
                <a:rect l="l" t="t" r="r" b="b"/>
                <a:pathLst>
                  <a:path w="21889" h="75058">
                    <a:moveTo>
                      <a:pt x="21889" y="778"/>
                    </a:moveTo>
                    <a:lnTo>
                      <a:pt x="2930" y="75058"/>
                    </a:lnTo>
                    <a:lnTo>
                      <a:pt x="0" y="74281"/>
                    </a:lnTo>
                    <a:lnTo>
                      <a:pt x="18959" y="0"/>
                    </a:lnTo>
                    <a:close/>
                  </a:path>
                </a:pathLst>
              </a:custGeom>
              <a:grpFill/>
              <a:ln w="5978" cap="flat">
                <a:noFill/>
                <a:prstDash val="solid"/>
                <a:miter/>
              </a:ln>
            </p:spPr>
            <p:txBody>
              <a:bodyPr rtlCol="0" anchor="ctr"/>
              <a:lstStyle/>
              <a:p>
                <a:endParaRPr lang="en-GB"/>
              </a:p>
            </p:txBody>
          </p:sp>
          <p:sp>
            <p:nvSpPr>
              <p:cNvPr id="4099" name="Vrije vorm: vorm 4098">
                <a:extLst>
                  <a:ext uri="{FF2B5EF4-FFF2-40B4-BE49-F238E27FC236}">
                    <a16:creationId xmlns:a16="http://schemas.microsoft.com/office/drawing/2014/main" id="{33A77D81-154D-4B49-8441-59BDB40000AC}"/>
                  </a:ext>
                </a:extLst>
              </p:cNvPr>
              <p:cNvSpPr/>
              <p:nvPr/>
            </p:nvSpPr>
            <p:spPr>
              <a:xfrm>
                <a:off x="6533013" y="1500352"/>
                <a:ext cx="18280" cy="18443"/>
              </a:xfrm>
              <a:custGeom>
                <a:avLst/>
                <a:gdLst>
                  <a:gd name="connsiteX0" fmla="*/ 287 w 18280"/>
                  <a:gd name="connsiteY0" fmla="*/ 6889 h 18443"/>
                  <a:gd name="connsiteX1" fmla="*/ 11411 w 18280"/>
                  <a:gd name="connsiteY1" fmla="*/ 311 h 18443"/>
                  <a:gd name="connsiteX2" fmla="*/ 17990 w 18280"/>
                  <a:gd name="connsiteY2" fmla="*/ 11554 h 18443"/>
                  <a:gd name="connsiteX3" fmla="*/ 6866 w 18280"/>
                  <a:gd name="connsiteY3" fmla="*/ 18133 h 18443"/>
                  <a:gd name="connsiteX4" fmla="*/ 287 w 18280"/>
                  <a:gd name="connsiteY4" fmla="*/ 68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43">
                    <a:moveTo>
                      <a:pt x="287" y="6889"/>
                    </a:moveTo>
                    <a:cubicBezTo>
                      <a:pt x="1543" y="1985"/>
                      <a:pt x="6567" y="-1005"/>
                      <a:pt x="11411" y="311"/>
                    </a:cubicBezTo>
                    <a:cubicBezTo>
                      <a:pt x="16315" y="1567"/>
                      <a:pt x="19246" y="6650"/>
                      <a:pt x="17990" y="11554"/>
                    </a:cubicBezTo>
                    <a:cubicBezTo>
                      <a:pt x="16734" y="16459"/>
                      <a:pt x="11710" y="19449"/>
                      <a:pt x="6866" y="18133"/>
                    </a:cubicBezTo>
                    <a:cubicBezTo>
                      <a:pt x="2021" y="16877"/>
                      <a:pt x="-969" y="11853"/>
                      <a:pt x="287" y="6889"/>
                    </a:cubicBezTo>
                    <a:close/>
                  </a:path>
                </a:pathLst>
              </a:custGeom>
              <a:grpFill/>
              <a:ln w="5978" cap="flat">
                <a:noFill/>
                <a:prstDash val="solid"/>
                <a:miter/>
              </a:ln>
            </p:spPr>
            <p:txBody>
              <a:bodyPr rtlCol="0" anchor="ctr"/>
              <a:lstStyle/>
              <a:p>
                <a:endParaRPr lang="en-GB"/>
              </a:p>
            </p:txBody>
          </p:sp>
          <p:sp>
            <p:nvSpPr>
              <p:cNvPr id="4100" name="Vrije vorm: vorm 4099">
                <a:extLst>
                  <a:ext uri="{FF2B5EF4-FFF2-40B4-BE49-F238E27FC236}">
                    <a16:creationId xmlns:a16="http://schemas.microsoft.com/office/drawing/2014/main" id="{627C04B8-044B-40A7-8B5E-5B78508AE731}"/>
                  </a:ext>
                </a:extLst>
              </p:cNvPr>
              <p:cNvSpPr/>
              <p:nvPr/>
            </p:nvSpPr>
            <p:spPr>
              <a:xfrm>
                <a:off x="6514290" y="1573756"/>
                <a:ext cx="18284" cy="18403"/>
              </a:xfrm>
              <a:custGeom>
                <a:avLst/>
                <a:gdLst>
                  <a:gd name="connsiteX0" fmla="*/ 291 w 18284"/>
                  <a:gd name="connsiteY0" fmla="*/ 6869 h 18403"/>
                  <a:gd name="connsiteX1" fmla="*/ 6869 w 18284"/>
                  <a:gd name="connsiteY1" fmla="*/ 18113 h 18403"/>
                  <a:gd name="connsiteX2" fmla="*/ 17994 w 18284"/>
                  <a:gd name="connsiteY2" fmla="*/ 11534 h 18403"/>
                  <a:gd name="connsiteX3" fmla="*/ 11415 w 18284"/>
                  <a:gd name="connsiteY3" fmla="*/ 291 h 18403"/>
                  <a:gd name="connsiteX4" fmla="*/ 291 w 18284"/>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03">
                    <a:moveTo>
                      <a:pt x="291" y="6869"/>
                    </a:moveTo>
                    <a:cubicBezTo>
                      <a:pt x="-966" y="11774"/>
                      <a:pt x="1965" y="16797"/>
                      <a:pt x="6869" y="18113"/>
                    </a:cubicBezTo>
                    <a:cubicBezTo>
                      <a:pt x="11773" y="19369"/>
                      <a:pt x="16738" y="16439"/>
                      <a:pt x="17994" y="11534"/>
                    </a:cubicBezTo>
                    <a:cubicBezTo>
                      <a:pt x="19249" y="6630"/>
                      <a:pt x="16319" y="1606"/>
                      <a:pt x="11415" y="291"/>
                    </a:cubicBezTo>
                    <a:cubicBezTo>
                      <a:pt x="6570" y="-965"/>
                      <a:pt x="1547" y="1965"/>
                      <a:pt x="291" y="6869"/>
                    </a:cubicBezTo>
                    <a:close/>
                  </a:path>
                </a:pathLst>
              </a:custGeom>
              <a:grpFill/>
              <a:ln w="5978" cap="flat">
                <a:noFill/>
                <a:prstDash val="solid"/>
                <a:miter/>
              </a:ln>
            </p:spPr>
            <p:txBody>
              <a:bodyPr rtlCol="0" anchor="ctr"/>
              <a:lstStyle/>
              <a:p>
                <a:endParaRPr lang="en-GB"/>
              </a:p>
            </p:txBody>
          </p:sp>
        </p:grpSp>
        <p:grpSp>
          <p:nvGrpSpPr>
            <p:cNvPr id="430" name="Graphic 3">
              <a:extLst>
                <a:ext uri="{FF2B5EF4-FFF2-40B4-BE49-F238E27FC236}">
                  <a16:creationId xmlns:a16="http://schemas.microsoft.com/office/drawing/2014/main" id="{50D6D60F-2999-4706-8191-09C456A40878}"/>
                </a:ext>
              </a:extLst>
            </p:cNvPr>
            <p:cNvGrpSpPr/>
            <p:nvPr/>
          </p:nvGrpSpPr>
          <p:grpSpPr>
            <a:xfrm>
              <a:off x="7503079" y="4499414"/>
              <a:ext cx="37190" cy="32620"/>
              <a:chOff x="7503079" y="4499414"/>
              <a:chExt cx="37190" cy="32620"/>
            </a:xfrm>
            <a:grpFill/>
          </p:grpSpPr>
          <p:sp>
            <p:nvSpPr>
              <p:cNvPr id="4095" name="Vrije vorm: vorm 4094">
                <a:extLst>
                  <a:ext uri="{FF2B5EF4-FFF2-40B4-BE49-F238E27FC236}">
                    <a16:creationId xmlns:a16="http://schemas.microsoft.com/office/drawing/2014/main" id="{C124D187-EB37-47BB-8709-75DFC5D1329C}"/>
                  </a:ext>
                </a:extLst>
              </p:cNvPr>
              <p:cNvSpPr/>
              <p:nvPr/>
            </p:nvSpPr>
            <p:spPr>
              <a:xfrm>
                <a:off x="7510909" y="4507112"/>
                <a:ext cx="21470" cy="17224"/>
              </a:xfrm>
              <a:custGeom>
                <a:avLst/>
                <a:gdLst>
                  <a:gd name="connsiteX0" fmla="*/ 21471 w 21470"/>
                  <a:gd name="connsiteY0" fmla="*/ 14772 h 17224"/>
                  <a:gd name="connsiteX1" fmla="*/ 19676 w 21470"/>
                  <a:gd name="connsiteY1" fmla="*/ 17225 h 17224"/>
                  <a:gd name="connsiteX2" fmla="*/ 0 w 21470"/>
                  <a:gd name="connsiteY2" fmla="*/ 2452 h 17224"/>
                  <a:gd name="connsiteX3" fmla="*/ 1854 w 21470"/>
                  <a:gd name="connsiteY3" fmla="*/ 0 h 17224"/>
                </a:gdLst>
                <a:ahLst/>
                <a:cxnLst>
                  <a:cxn ang="0">
                    <a:pos x="connsiteX0" y="connsiteY0"/>
                  </a:cxn>
                  <a:cxn ang="0">
                    <a:pos x="connsiteX1" y="connsiteY1"/>
                  </a:cxn>
                  <a:cxn ang="0">
                    <a:pos x="connsiteX2" y="connsiteY2"/>
                  </a:cxn>
                  <a:cxn ang="0">
                    <a:pos x="connsiteX3" y="connsiteY3"/>
                  </a:cxn>
                </a:cxnLst>
                <a:rect l="l" t="t" r="r" b="b"/>
                <a:pathLst>
                  <a:path w="21470" h="17224">
                    <a:moveTo>
                      <a:pt x="21471" y="14772"/>
                    </a:moveTo>
                    <a:lnTo>
                      <a:pt x="19676" y="17225"/>
                    </a:lnTo>
                    <a:lnTo>
                      <a:pt x="0" y="2452"/>
                    </a:lnTo>
                    <a:lnTo>
                      <a:pt x="1854" y="0"/>
                    </a:lnTo>
                    <a:close/>
                  </a:path>
                </a:pathLst>
              </a:custGeom>
              <a:grpFill/>
              <a:ln w="5978" cap="flat">
                <a:noFill/>
                <a:prstDash val="solid"/>
                <a:miter/>
              </a:ln>
            </p:spPr>
            <p:txBody>
              <a:bodyPr rtlCol="0" anchor="ctr"/>
              <a:lstStyle/>
              <a:p>
                <a:endParaRPr lang="en-GB"/>
              </a:p>
            </p:txBody>
          </p:sp>
          <p:sp>
            <p:nvSpPr>
              <p:cNvPr id="4096" name="Vrije vorm: vorm 4095">
                <a:extLst>
                  <a:ext uri="{FF2B5EF4-FFF2-40B4-BE49-F238E27FC236}">
                    <a16:creationId xmlns:a16="http://schemas.microsoft.com/office/drawing/2014/main" id="{F2F9FA3E-ABB4-47FC-B744-6F5D99D08073}"/>
                  </a:ext>
                </a:extLst>
              </p:cNvPr>
              <p:cNvSpPr/>
              <p:nvPr/>
            </p:nvSpPr>
            <p:spPr>
              <a:xfrm>
                <a:off x="7521978" y="4513588"/>
                <a:ext cx="18291" cy="18445"/>
              </a:xfrm>
              <a:custGeom>
                <a:avLst/>
                <a:gdLst>
                  <a:gd name="connsiteX0" fmla="*/ 14588 w 18291"/>
                  <a:gd name="connsiteY0" fmla="*/ 1837 h 18445"/>
                  <a:gd name="connsiteX1" fmla="*/ 16502 w 18291"/>
                  <a:gd name="connsiteY1" fmla="*/ 14755 h 18445"/>
                  <a:gd name="connsiteX2" fmla="*/ 3703 w 18291"/>
                  <a:gd name="connsiteY2" fmla="*/ 16609 h 18445"/>
                  <a:gd name="connsiteX3" fmla="*/ 1790 w 18291"/>
                  <a:gd name="connsiteY3" fmla="*/ 3691 h 18445"/>
                  <a:gd name="connsiteX4" fmla="*/ 14588 w 18291"/>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4588" y="1837"/>
                    </a:moveTo>
                    <a:cubicBezTo>
                      <a:pt x="18655" y="4887"/>
                      <a:pt x="19492" y="10628"/>
                      <a:pt x="16502" y="14755"/>
                    </a:cubicBezTo>
                    <a:cubicBezTo>
                      <a:pt x="13512" y="18822"/>
                      <a:pt x="7770" y="19659"/>
                      <a:pt x="3703" y="16609"/>
                    </a:cubicBezTo>
                    <a:cubicBezTo>
                      <a:pt x="-364" y="13559"/>
                      <a:pt x="-1201" y="7817"/>
                      <a:pt x="1790" y="3691"/>
                    </a:cubicBezTo>
                    <a:cubicBezTo>
                      <a:pt x="4780" y="-376"/>
                      <a:pt x="10521" y="-1213"/>
                      <a:pt x="14588" y="1837"/>
                    </a:cubicBezTo>
                    <a:close/>
                  </a:path>
                </a:pathLst>
              </a:custGeom>
              <a:grpFill/>
              <a:ln w="5978" cap="flat">
                <a:noFill/>
                <a:prstDash val="solid"/>
                <a:miter/>
              </a:ln>
            </p:spPr>
            <p:txBody>
              <a:bodyPr rtlCol="0" anchor="ctr"/>
              <a:lstStyle/>
              <a:p>
                <a:endParaRPr lang="en-GB"/>
              </a:p>
            </p:txBody>
          </p:sp>
          <p:sp>
            <p:nvSpPr>
              <p:cNvPr id="4097" name="Vrije vorm: vorm 4096">
                <a:extLst>
                  <a:ext uri="{FF2B5EF4-FFF2-40B4-BE49-F238E27FC236}">
                    <a16:creationId xmlns:a16="http://schemas.microsoft.com/office/drawing/2014/main" id="{BF7AAE47-9B11-415C-88E7-9CA6AE92CC0F}"/>
                  </a:ext>
                </a:extLst>
              </p:cNvPr>
              <p:cNvSpPr/>
              <p:nvPr/>
            </p:nvSpPr>
            <p:spPr>
              <a:xfrm>
                <a:off x="7503079" y="4499414"/>
                <a:ext cx="18291" cy="18446"/>
              </a:xfrm>
              <a:custGeom>
                <a:avLst/>
                <a:gdLst>
                  <a:gd name="connsiteX0" fmla="*/ 14588 w 18291"/>
                  <a:gd name="connsiteY0" fmla="*/ 1837 h 18446"/>
                  <a:gd name="connsiteX1" fmla="*/ 1790 w 18291"/>
                  <a:gd name="connsiteY1" fmla="*/ 3691 h 18446"/>
                  <a:gd name="connsiteX2" fmla="*/ 3703 w 18291"/>
                  <a:gd name="connsiteY2" fmla="*/ 16609 h 18446"/>
                  <a:gd name="connsiteX3" fmla="*/ 16502 w 18291"/>
                  <a:gd name="connsiteY3" fmla="*/ 14755 h 18446"/>
                  <a:gd name="connsiteX4" fmla="*/ 14588 w 18291"/>
                  <a:gd name="connsiteY4" fmla="*/ 1837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6">
                    <a:moveTo>
                      <a:pt x="14588" y="1837"/>
                    </a:moveTo>
                    <a:cubicBezTo>
                      <a:pt x="10521" y="-1213"/>
                      <a:pt x="4780" y="-376"/>
                      <a:pt x="1790" y="3691"/>
                    </a:cubicBezTo>
                    <a:cubicBezTo>
                      <a:pt x="-1201" y="7758"/>
                      <a:pt x="-363" y="13559"/>
                      <a:pt x="3703" y="16609"/>
                    </a:cubicBezTo>
                    <a:cubicBezTo>
                      <a:pt x="7770" y="19660"/>
                      <a:pt x="13512" y="18822"/>
                      <a:pt x="16502" y="14755"/>
                    </a:cubicBezTo>
                    <a:cubicBezTo>
                      <a:pt x="19492" y="10688"/>
                      <a:pt x="18655" y="4887"/>
                      <a:pt x="14588" y="1837"/>
                    </a:cubicBezTo>
                    <a:close/>
                  </a:path>
                </a:pathLst>
              </a:custGeom>
              <a:grpFill/>
              <a:ln w="5978" cap="flat">
                <a:noFill/>
                <a:prstDash val="solid"/>
                <a:miter/>
              </a:ln>
            </p:spPr>
            <p:txBody>
              <a:bodyPr rtlCol="0" anchor="ctr"/>
              <a:lstStyle/>
              <a:p>
                <a:endParaRPr lang="en-GB"/>
              </a:p>
            </p:txBody>
          </p:sp>
        </p:grpSp>
        <p:grpSp>
          <p:nvGrpSpPr>
            <p:cNvPr id="431" name="Graphic 3">
              <a:extLst>
                <a:ext uri="{FF2B5EF4-FFF2-40B4-BE49-F238E27FC236}">
                  <a16:creationId xmlns:a16="http://schemas.microsoft.com/office/drawing/2014/main" id="{EE331D9B-AD68-484B-ADD5-EE01816BC0A5}"/>
                </a:ext>
              </a:extLst>
            </p:cNvPr>
            <p:cNvGrpSpPr/>
            <p:nvPr/>
          </p:nvGrpSpPr>
          <p:grpSpPr>
            <a:xfrm>
              <a:off x="6531102" y="1618438"/>
              <a:ext cx="25786" cy="45364"/>
              <a:chOff x="6531102" y="1618438"/>
              <a:chExt cx="25786" cy="45364"/>
            </a:xfrm>
            <a:grpFill/>
          </p:grpSpPr>
          <p:sp>
            <p:nvSpPr>
              <p:cNvPr id="4092" name="Vrije vorm: vorm 4091">
                <a:extLst>
                  <a:ext uri="{FF2B5EF4-FFF2-40B4-BE49-F238E27FC236}">
                    <a16:creationId xmlns:a16="http://schemas.microsoft.com/office/drawing/2014/main" id="{0A72BCC2-C911-4D9C-937C-AA27F993A895}"/>
                  </a:ext>
                </a:extLst>
              </p:cNvPr>
              <p:cNvSpPr/>
              <p:nvPr/>
            </p:nvSpPr>
            <p:spPr>
              <a:xfrm>
                <a:off x="6538683" y="1626796"/>
                <a:ext cx="10585" cy="28647"/>
              </a:xfrm>
              <a:custGeom>
                <a:avLst/>
                <a:gdLst>
                  <a:gd name="connsiteX0" fmla="*/ 10586 w 10585"/>
                  <a:gd name="connsiteY0" fmla="*/ 837 h 28647"/>
                  <a:gd name="connsiteX1" fmla="*/ 2930 w 10585"/>
                  <a:gd name="connsiteY1" fmla="*/ 28648 h 28647"/>
                  <a:gd name="connsiteX2" fmla="*/ 0 w 10585"/>
                  <a:gd name="connsiteY2" fmla="*/ 27810 h 28647"/>
                  <a:gd name="connsiteX3" fmla="*/ 7655 w 10585"/>
                  <a:gd name="connsiteY3" fmla="*/ 0 h 28647"/>
                </a:gdLst>
                <a:ahLst/>
                <a:cxnLst>
                  <a:cxn ang="0">
                    <a:pos x="connsiteX0" y="connsiteY0"/>
                  </a:cxn>
                  <a:cxn ang="0">
                    <a:pos x="connsiteX1" y="connsiteY1"/>
                  </a:cxn>
                  <a:cxn ang="0">
                    <a:pos x="connsiteX2" y="connsiteY2"/>
                  </a:cxn>
                  <a:cxn ang="0">
                    <a:pos x="connsiteX3" y="connsiteY3"/>
                  </a:cxn>
                </a:cxnLst>
                <a:rect l="l" t="t" r="r" b="b"/>
                <a:pathLst>
                  <a:path w="10585" h="28647">
                    <a:moveTo>
                      <a:pt x="10586" y="837"/>
                    </a:moveTo>
                    <a:lnTo>
                      <a:pt x="2930" y="28648"/>
                    </a:lnTo>
                    <a:lnTo>
                      <a:pt x="0" y="27810"/>
                    </a:lnTo>
                    <a:lnTo>
                      <a:pt x="7655" y="0"/>
                    </a:lnTo>
                    <a:close/>
                  </a:path>
                </a:pathLst>
              </a:custGeom>
              <a:grpFill/>
              <a:ln w="5978" cap="flat">
                <a:noFill/>
                <a:prstDash val="solid"/>
                <a:miter/>
              </a:ln>
            </p:spPr>
            <p:txBody>
              <a:bodyPr rtlCol="0" anchor="ctr"/>
              <a:lstStyle/>
              <a:p>
                <a:endParaRPr lang="en-GB"/>
              </a:p>
            </p:txBody>
          </p:sp>
          <p:sp>
            <p:nvSpPr>
              <p:cNvPr id="4093" name="Vrije vorm: vorm 4092">
                <a:extLst>
                  <a:ext uri="{FF2B5EF4-FFF2-40B4-BE49-F238E27FC236}">
                    <a16:creationId xmlns:a16="http://schemas.microsoft.com/office/drawing/2014/main" id="{A0A7EF34-A7CB-4090-881A-A591FD7BD3BA}"/>
                  </a:ext>
                </a:extLst>
              </p:cNvPr>
              <p:cNvSpPr/>
              <p:nvPr/>
            </p:nvSpPr>
            <p:spPr>
              <a:xfrm>
                <a:off x="6538518" y="1618438"/>
                <a:ext cx="18370" cy="18451"/>
              </a:xfrm>
              <a:custGeom>
                <a:avLst/>
                <a:gdLst>
                  <a:gd name="connsiteX0" fmla="*/ 344 w 18370"/>
                  <a:gd name="connsiteY0" fmla="*/ 6744 h 18451"/>
                  <a:gd name="connsiteX1" fmla="*/ 11648 w 18370"/>
                  <a:gd name="connsiteY1" fmla="*/ 344 h 18451"/>
                  <a:gd name="connsiteX2" fmla="*/ 18047 w 18370"/>
                  <a:gd name="connsiteY2" fmla="*/ 11708 h 18451"/>
                  <a:gd name="connsiteX3" fmla="*/ 6744 w 18370"/>
                  <a:gd name="connsiteY3" fmla="*/ 18107 h 18451"/>
                  <a:gd name="connsiteX4" fmla="*/ 344 w 18370"/>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51">
                    <a:moveTo>
                      <a:pt x="344" y="6744"/>
                    </a:moveTo>
                    <a:cubicBezTo>
                      <a:pt x="1720" y="1839"/>
                      <a:pt x="6744" y="-1031"/>
                      <a:pt x="11648" y="344"/>
                    </a:cubicBezTo>
                    <a:cubicBezTo>
                      <a:pt x="16552" y="1720"/>
                      <a:pt x="19363" y="6803"/>
                      <a:pt x="18047" y="11708"/>
                    </a:cubicBezTo>
                    <a:cubicBezTo>
                      <a:pt x="16671" y="16612"/>
                      <a:pt x="11648" y="19483"/>
                      <a:pt x="6744" y="18107"/>
                    </a:cubicBezTo>
                    <a:cubicBezTo>
                      <a:pt x="1839" y="16731"/>
                      <a:pt x="-1031" y="11648"/>
                      <a:pt x="344" y="6744"/>
                    </a:cubicBezTo>
                    <a:close/>
                  </a:path>
                </a:pathLst>
              </a:custGeom>
              <a:grpFill/>
              <a:ln w="5978" cap="flat">
                <a:noFill/>
                <a:prstDash val="solid"/>
                <a:miter/>
              </a:ln>
            </p:spPr>
            <p:txBody>
              <a:bodyPr rtlCol="0" anchor="ctr"/>
              <a:lstStyle/>
              <a:p>
                <a:endParaRPr lang="en-GB"/>
              </a:p>
            </p:txBody>
          </p:sp>
          <p:sp>
            <p:nvSpPr>
              <p:cNvPr id="4094" name="Vrije vorm: vorm 4093">
                <a:extLst>
                  <a:ext uri="{FF2B5EF4-FFF2-40B4-BE49-F238E27FC236}">
                    <a16:creationId xmlns:a16="http://schemas.microsoft.com/office/drawing/2014/main" id="{24CAC095-D82C-48E6-B884-127513867646}"/>
                  </a:ext>
                </a:extLst>
              </p:cNvPr>
              <p:cNvSpPr/>
              <p:nvPr/>
            </p:nvSpPr>
            <p:spPr>
              <a:xfrm>
                <a:off x="6531102" y="1645351"/>
                <a:ext cx="18391" cy="18451"/>
              </a:xfrm>
              <a:custGeom>
                <a:avLst/>
                <a:gdLst>
                  <a:gd name="connsiteX0" fmla="*/ 344 w 18391"/>
                  <a:gd name="connsiteY0" fmla="*/ 6744 h 18451"/>
                  <a:gd name="connsiteX1" fmla="*/ 6744 w 18391"/>
                  <a:gd name="connsiteY1" fmla="*/ 18107 h 18451"/>
                  <a:gd name="connsiteX2" fmla="*/ 18047 w 18391"/>
                  <a:gd name="connsiteY2" fmla="*/ 11708 h 18451"/>
                  <a:gd name="connsiteX3" fmla="*/ 11648 w 18391"/>
                  <a:gd name="connsiteY3" fmla="*/ 344 h 18451"/>
                  <a:gd name="connsiteX4" fmla="*/ 344 w 18391"/>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51">
                    <a:moveTo>
                      <a:pt x="344" y="6744"/>
                    </a:moveTo>
                    <a:cubicBezTo>
                      <a:pt x="-1031" y="11648"/>
                      <a:pt x="1839" y="16731"/>
                      <a:pt x="6744" y="18107"/>
                    </a:cubicBezTo>
                    <a:cubicBezTo>
                      <a:pt x="11648" y="19483"/>
                      <a:pt x="16671" y="16612"/>
                      <a:pt x="18047" y="11708"/>
                    </a:cubicBezTo>
                    <a:cubicBezTo>
                      <a:pt x="19423" y="6803"/>
                      <a:pt x="16552" y="1720"/>
                      <a:pt x="11648" y="344"/>
                    </a:cubicBezTo>
                    <a:cubicBezTo>
                      <a:pt x="6744" y="-1031"/>
                      <a:pt x="1660" y="1839"/>
                      <a:pt x="344" y="6744"/>
                    </a:cubicBezTo>
                    <a:close/>
                  </a:path>
                </a:pathLst>
              </a:custGeom>
              <a:grpFill/>
              <a:ln w="5978" cap="flat">
                <a:noFill/>
                <a:prstDash val="solid"/>
                <a:miter/>
              </a:ln>
            </p:spPr>
            <p:txBody>
              <a:bodyPr rtlCol="0" anchor="ctr"/>
              <a:lstStyle/>
              <a:p>
                <a:endParaRPr lang="en-GB"/>
              </a:p>
            </p:txBody>
          </p:sp>
        </p:grpSp>
        <p:grpSp>
          <p:nvGrpSpPr>
            <p:cNvPr id="432" name="Graphic 3">
              <a:extLst>
                <a:ext uri="{FF2B5EF4-FFF2-40B4-BE49-F238E27FC236}">
                  <a16:creationId xmlns:a16="http://schemas.microsoft.com/office/drawing/2014/main" id="{3E2AC6FA-B842-482B-A67A-46D5D3D6B7A6}"/>
                </a:ext>
              </a:extLst>
            </p:cNvPr>
            <p:cNvGrpSpPr/>
            <p:nvPr/>
          </p:nvGrpSpPr>
          <p:grpSpPr>
            <a:xfrm>
              <a:off x="7345381" y="4500344"/>
              <a:ext cx="482396" cy="463749"/>
              <a:chOff x="7345381" y="4500344"/>
              <a:chExt cx="482396" cy="463749"/>
            </a:xfrm>
            <a:grpFill/>
          </p:grpSpPr>
          <p:sp>
            <p:nvSpPr>
              <p:cNvPr id="4089" name="Vrije vorm: vorm 4088">
                <a:extLst>
                  <a:ext uri="{FF2B5EF4-FFF2-40B4-BE49-F238E27FC236}">
                    <a16:creationId xmlns:a16="http://schemas.microsoft.com/office/drawing/2014/main" id="{69CD869C-72FE-4417-8629-C6EABD1223A0}"/>
                  </a:ext>
                </a:extLst>
              </p:cNvPr>
              <p:cNvSpPr/>
              <p:nvPr/>
            </p:nvSpPr>
            <p:spPr>
              <a:xfrm>
                <a:off x="7353138" y="4508128"/>
                <a:ext cx="466854" cy="448195"/>
              </a:xfrm>
              <a:custGeom>
                <a:avLst/>
                <a:gdLst>
                  <a:gd name="connsiteX0" fmla="*/ 466855 w 466854"/>
                  <a:gd name="connsiteY0" fmla="*/ 445982 h 448195"/>
                  <a:gd name="connsiteX1" fmla="*/ 464762 w 466854"/>
                  <a:gd name="connsiteY1" fmla="*/ 448195 h 448195"/>
                  <a:gd name="connsiteX2" fmla="*/ 0 w 466854"/>
                  <a:gd name="connsiteY2" fmla="*/ 2213 h 448195"/>
                  <a:gd name="connsiteX3" fmla="*/ 2093 w 466854"/>
                  <a:gd name="connsiteY3" fmla="*/ 0 h 448195"/>
                </a:gdLst>
                <a:ahLst/>
                <a:cxnLst>
                  <a:cxn ang="0">
                    <a:pos x="connsiteX0" y="connsiteY0"/>
                  </a:cxn>
                  <a:cxn ang="0">
                    <a:pos x="connsiteX1" y="connsiteY1"/>
                  </a:cxn>
                  <a:cxn ang="0">
                    <a:pos x="connsiteX2" y="connsiteY2"/>
                  </a:cxn>
                  <a:cxn ang="0">
                    <a:pos x="connsiteX3" y="connsiteY3"/>
                  </a:cxn>
                </a:cxnLst>
                <a:rect l="l" t="t" r="r" b="b"/>
                <a:pathLst>
                  <a:path w="466854" h="448195">
                    <a:moveTo>
                      <a:pt x="466855" y="445982"/>
                    </a:moveTo>
                    <a:lnTo>
                      <a:pt x="464762" y="448195"/>
                    </a:lnTo>
                    <a:lnTo>
                      <a:pt x="0" y="2213"/>
                    </a:lnTo>
                    <a:lnTo>
                      <a:pt x="2093" y="0"/>
                    </a:lnTo>
                    <a:close/>
                  </a:path>
                </a:pathLst>
              </a:custGeom>
              <a:grpFill/>
              <a:ln w="5978" cap="flat">
                <a:noFill/>
                <a:prstDash val="solid"/>
                <a:miter/>
              </a:ln>
            </p:spPr>
            <p:txBody>
              <a:bodyPr rtlCol="0" anchor="ctr"/>
              <a:lstStyle/>
              <a:p>
                <a:endParaRPr lang="en-GB"/>
              </a:p>
            </p:txBody>
          </p:sp>
          <p:sp>
            <p:nvSpPr>
              <p:cNvPr id="4090" name="Vrije vorm: vorm 4089">
                <a:extLst>
                  <a:ext uri="{FF2B5EF4-FFF2-40B4-BE49-F238E27FC236}">
                    <a16:creationId xmlns:a16="http://schemas.microsoft.com/office/drawing/2014/main" id="{118AEBD3-BDCA-47CD-9EE2-10371D33EEF7}"/>
                  </a:ext>
                </a:extLst>
              </p:cNvPr>
              <p:cNvSpPr/>
              <p:nvPr/>
            </p:nvSpPr>
            <p:spPr>
              <a:xfrm>
                <a:off x="7345381" y="4500344"/>
                <a:ext cx="18315" cy="18425"/>
              </a:xfrm>
              <a:custGeom>
                <a:avLst/>
                <a:gdLst>
                  <a:gd name="connsiteX0" fmla="*/ 2852 w 18315"/>
                  <a:gd name="connsiteY0" fmla="*/ 15859 h 18425"/>
                  <a:gd name="connsiteX1" fmla="*/ 2493 w 18315"/>
                  <a:gd name="connsiteY1" fmla="*/ 2821 h 18425"/>
                  <a:gd name="connsiteX2" fmla="*/ 15472 w 18315"/>
                  <a:gd name="connsiteY2" fmla="*/ 2522 h 18425"/>
                  <a:gd name="connsiteX3" fmla="*/ 15770 w 18315"/>
                  <a:gd name="connsiteY3" fmla="*/ 15560 h 18425"/>
                  <a:gd name="connsiteX4" fmla="*/ 2852 w 18315"/>
                  <a:gd name="connsiteY4" fmla="*/ 15859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5">
                    <a:moveTo>
                      <a:pt x="2852" y="15859"/>
                    </a:moveTo>
                    <a:cubicBezTo>
                      <a:pt x="-796" y="12330"/>
                      <a:pt x="-975" y="6529"/>
                      <a:pt x="2493" y="2821"/>
                    </a:cubicBezTo>
                    <a:cubicBezTo>
                      <a:pt x="5962" y="-827"/>
                      <a:pt x="11763" y="-947"/>
                      <a:pt x="15472" y="2522"/>
                    </a:cubicBezTo>
                    <a:cubicBezTo>
                      <a:pt x="19120" y="6051"/>
                      <a:pt x="19299" y="11852"/>
                      <a:pt x="15770" y="15560"/>
                    </a:cubicBezTo>
                    <a:cubicBezTo>
                      <a:pt x="12302" y="19268"/>
                      <a:pt x="6501" y="19387"/>
                      <a:pt x="2852" y="15859"/>
                    </a:cubicBezTo>
                    <a:close/>
                  </a:path>
                </a:pathLst>
              </a:custGeom>
              <a:grpFill/>
              <a:ln w="5978" cap="flat">
                <a:noFill/>
                <a:prstDash val="solid"/>
                <a:miter/>
              </a:ln>
            </p:spPr>
            <p:txBody>
              <a:bodyPr rtlCol="0" anchor="ctr"/>
              <a:lstStyle/>
              <a:p>
                <a:endParaRPr lang="en-GB"/>
              </a:p>
            </p:txBody>
          </p:sp>
          <p:sp>
            <p:nvSpPr>
              <p:cNvPr id="4091" name="Vrije vorm: vorm 4090">
                <a:extLst>
                  <a:ext uri="{FF2B5EF4-FFF2-40B4-BE49-F238E27FC236}">
                    <a16:creationId xmlns:a16="http://schemas.microsoft.com/office/drawing/2014/main" id="{D1058227-B0A4-46CB-BC10-27F032860EEA}"/>
                  </a:ext>
                </a:extLst>
              </p:cNvPr>
              <p:cNvSpPr/>
              <p:nvPr/>
            </p:nvSpPr>
            <p:spPr>
              <a:xfrm>
                <a:off x="7809457" y="4945623"/>
                <a:ext cx="18320" cy="18470"/>
              </a:xfrm>
              <a:custGeom>
                <a:avLst/>
                <a:gdLst>
                  <a:gd name="connsiteX0" fmla="*/ 2821 w 18320"/>
                  <a:gd name="connsiteY0" fmla="*/ 15903 h 18470"/>
                  <a:gd name="connsiteX1" fmla="*/ 15798 w 18320"/>
                  <a:gd name="connsiteY1" fmla="*/ 15605 h 18470"/>
                  <a:gd name="connsiteX2" fmla="*/ 15500 w 18320"/>
                  <a:gd name="connsiteY2" fmla="*/ 2567 h 18470"/>
                  <a:gd name="connsiteX3" fmla="*/ 2521 w 18320"/>
                  <a:gd name="connsiteY3" fmla="*/ 2866 h 18470"/>
                  <a:gd name="connsiteX4" fmla="*/ 2821 w 18320"/>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70">
                    <a:moveTo>
                      <a:pt x="2821" y="15903"/>
                    </a:moveTo>
                    <a:cubicBezTo>
                      <a:pt x="6469" y="19432"/>
                      <a:pt x="12270" y="19313"/>
                      <a:pt x="15798" y="15605"/>
                    </a:cubicBezTo>
                    <a:cubicBezTo>
                      <a:pt x="19268" y="11956"/>
                      <a:pt x="19148" y="6095"/>
                      <a:pt x="15500" y="2567"/>
                    </a:cubicBezTo>
                    <a:cubicBezTo>
                      <a:pt x="11852" y="-962"/>
                      <a:pt x="6050" y="-842"/>
                      <a:pt x="2521" y="2866"/>
                    </a:cubicBezTo>
                    <a:cubicBezTo>
                      <a:pt x="-947" y="6574"/>
                      <a:pt x="-827" y="12375"/>
                      <a:pt x="2821" y="15903"/>
                    </a:cubicBezTo>
                    <a:close/>
                  </a:path>
                </a:pathLst>
              </a:custGeom>
              <a:grpFill/>
              <a:ln w="5978" cap="flat">
                <a:noFill/>
                <a:prstDash val="solid"/>
                <a:miter/>
              </a:ln>
            </p:spPr>
            <p:txBody>
              <a:bodyPr rtlCol="0" anchor="ctr"/>
              <a:lstStyle/>
              <a:p>
                <a:endParaRPr lang="en-GB"/>
              </a:p>
            </p:txBody>
          </p:sp>
        </p:grpSp>
        <p:grpSp>
          <p:nvGrpSpPr>
            <p:cNvPr id="433" name="Graphic 3">
              <a:extLst>
                <a:ext uri="{FF2B5EF4-FFF2-40B4-BE49-F238E27FC236}">
                  <a16:creationId xmlns:a16="http://schemas.microsoft.com/office/drawing/2014/main" id="{8C50570F-BC30-4F7F-8CFE-0E0CC6A1FAB4}"/>
                </a:ext>
              </a:extLst>
            </p:cNvPr>
            <p:cNvGrpSpPr/>
            <p:nvPr/>
          </p:nvGrpSpPr>
          <p:grpSpPr>
            <a:xfrm>
              <a:off x="6465931" y="1453776"/>
              <a:ext cx="135367" cy="331898"/>
              <a:chOff x="6465931" y="1453776"/>
              <a:chExt cx="135367" cy="331898"/>
            </a:xfrm>
            <a:grpFill/>
          </p:grpSpPr>
          <p:sp>
            <p:nvSpPr>
              <p:cNvPr id="4086" name="Vrije vorm: vorm 4085">
                <a:extLst>
                  <a:ext uri="{FF2B5EF4-FFF2-40B4-BE49-F238E27FC236}">
                    <a16:creationId xmlns:a16="http://schemas.microsoft.com/office/drawing/2014/main" id="{7915BC39-081E-4C22-8819-EC96A22C0452}"/>
                  </a:ext>
                </a:extLst>
              </p:cNvPr>
              <p:cNvSpPr/>
              <p:nvPr/>
            </p:nvSpPr>
            <p:spPr>
              <a:xfrm>
                <a:off x="6473493" y="1462027"/>
                <a:ext cx="120212" cy="315423"/>
              </a:xfrm>
              <a:custGeom>
                <a:avLst/>
                <a:gdLst>
                  <a:gd name="connsiteX0" fmla="*/ 120212 w 120212"/>
                  <a:gd name="connsiteY0" fmla="*/ 1077 h 315423"/>
                  <a:gd name="connsiteX1" fmla="*/ 2871 w 120212"/>
                  <a:gd name="connsiteY1" fmla="*/ 315423 h 315423"/>
                  <a:gd name="connsiteX2" fmla="*/ 0 w 120212"/>
                  <a:gd name="connsiteY2" fmla="*/ 314347 h 315423"/>
                  <a:gd name="connsiteX3" fmla="*/ 117402 w 120212"/>
                  <a:gd name="connsiteY3" fmla="*/ 0 h 315423"/>
                </a:gdLst>
                <a:ahLst/>
                <a:cxnLst>
                  <a:cxn ang="0">
                    <a:pos x="connsiteX0" y="connsiteY0"/>
                  </a:cxn>
                  <a:cxn ang="0">
                    <a:pos x="connsiteX1" y="connsiteY1"/>
                  </a:cxn>
                  <a:cxn ang="0">
                    <a:pos x="connsiteX2" y="connsiteY2"/>
                  </a:cxn>
                  <a:cxn ang="0">
                    <a:pos x="connsiteX3" y="connsiteY3"/>
                  </a:cxn>
                </a:cxnLst>
                <a:rect l="l" t="t" r="r" b="b"/>
                <a:pathLst>
                  <a:path w="120212" h="315423">
                    <a:moveTo>
                      <a:pt x="120212" y="1077"/>
                    </a:moveTo>
                    <a:lnTo>
                      <a:pt x="2871" y="315423"/>
                    </a:lnTo>
                    <a:lnTo>
                      <a:pt x="0" y="314347"/>
                    </a:lnTo>
                    <a:lnTo>
                      <a:pt x="117402" y="0"/>
                    </a:lnTo>
                    <a:close/>
                  </a:path>
                </a:pathLst>
              </a:custGeom>
              <a:grpFill/>
              <a:ln w="5978" cap="flat">
                <a:noFill/>
                <a:prstDash val="solid"/>
                <a:miter/>
              </a:ln>
            </p:spPr>
            <p:txBody>
              <a:bodyPr rtlCol="0" anchor="ctr"/>
              <a:lstStyle/>
              <a:p>
                <a:endParaRPr lang="en-GB"/>
              </a:p>
            </p:txBody>
          </p:sp>
          <p:sp>
            <p:nvSpPr>
              <p:cNvPr id="4087" name="Vrije vorm: vorm 4086">
                <a:extLst>
                  <a:ext uri="{FF2B5EF4-FFF2-40B4-BE49-F238E27FC236}">
                    <a16:creationId xmlns:a16="http://schemas.microsoft.com/office/drawing/2014/main" id="{5D6E3764-3858-40E7-BD8C-81BCB9C80D1A}"/>
                  </a:ext>
                </a:extLst>
              </p:cNvPr>
              <p:cNvSpPr/>
              <p:nvPr/>
            </p:nvSpPr>
            <p:spPr>
              <a:xfrm>
                <a:off x="6465931" y="1767194"/>
                <a:ext cx="18318" cy="18480"/>
              </a:xfrm>
              <a:custGeom>
                <a:avLst/>
                <a:gdLst>
                  <a:gd name="connsiteX0" fmla="*/ 17729 w 18318"/>
                  <a:gd name="connsiteY0" fmla="*/ 12530 h 18480"/>
                  <a:gd name="connsiteX1" fmla="*/ 5947 w 18318"/>
                  <a:gd name="connsiteY1" fmla="*/ 17852 h 18480"/>
                  <a:gd name="connsiteX2" fmla="*/ 565 w 18318"/>
                  <a:gd name="connsiteY2" fmla="*/ 5951 h 18480"/>
                  <a:gd name="connsiteX3" fmla="*/ 12347 w 18318"/>
                  <a:gd name="connsiteY3" fmla="*/ 628 h 18480"/>
                  <a:gd name="connsiteX4" fmla="*/ 17729 w 18318"/>
                  <a:gd name="connsiteY4" fmla="*/ 1253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80">
                    <a:moveTo>
                      <a:pt x="17729" y="12530"/>
                    </a:moveTo>
                    <a:cubicBezTo>
                      <a:pt x="15935" y="17314"/>
                      <a:pt x="10672" y="19706"/>
                      <a:pt x="5947" y="17852"/>
                    </a:cubicBezTo>
                    <a:cubicBezTo>
                      <a:pt x="1223" y="16058"/>
                      <a:pt x="-1170" y="10735"/>
                      <a:pt x="565" y="5951"/>
                    </a:cubicBezTo>
                    <a:cubicBezTo>
                      <a:pt x="2359" y="1166"/>
                      <a:pt x="7622" y="-1226"/>
                      <a:pt x="12347" y="628"/>
                    </a:cubicBezTo>
                    <a:cubicBezTo>
                      <a:pt x="17072" y="2482"/>
                      <a:pt x="19524" y="7805"/>
                      <a:pt x="17729" y="12530"/>
                    </a:cubicBezTo>
                    <a:close/>
                  </a:path>
                </a:pathLst>
              </a:custGeom>
              <a:grpFill/>
              <a:ln w="5978" cap="flat">
                <a:noFill/>
                <a:prstDash val="solid"/>
                <a:miter/>
              </a:ln>
            </p:spPr>
            <p:txBody>
              <a:bodyPr rtlCol="0" anchor="ctr"/>
              <a:lstStyle/>
              <a:p>
                <a:endParaRPr lang="en-GB"/>
              </a:p>
            </p:txBody>
          </p:sp>
          <p:sp>
            <p:nvSpPr>
              <p:cNvPr id="4088" name="Vrije vorm: vorm 4087">
                <a:extLst>
                  <a:ext uri="{FF2B5EF4-FFF2-40B4-BE49-F238E27FC236}">
                    <a16:creationId xmlns:a16="http://schemas.microsoft.com/office/drawing/2014/main" id="{FE1922EF-2333-4139-8260-2E3C467BA139}"/>
                  </a:ext>
                </a:extLst>
              </p:cNvPr>
              <p:cNvSpPr/>
              <p:nvPr/>
            </p:nvSpPr>
            <p:spPr>
              <a:xfrm>
                <a:off x="6582943" y="1453776"/>
                <a:ext cx="18356" cy="18448"/>
              </a:xfrm>
              <a:custGeom>
                <a:avLst/>
                <a:gdLst>
                  <a:gd name="connsiteX0" fmla="*/ 17760 w 18356"/>
                  <a:gd name="connsiteY0" fmla="*/ 12498 h 18448"/>
                  <a:gd name="connsiteX1" fmla="*/ 12378 w 18356"/>
                  <a:gd name="connsiteY1" fmla="*/ 596 h 18448"/>
                  <a:gd name="connsiteX2" fmla="*/ 596 w 18356"/>
                  <a:gd name="connsiteY2" fmla="*/ 5919 h 18448"/>
                  <a:gd name="connsiteX3" fmla="*/ 5978 w 18356"/>
                  <a:gd name="connsiteY3" fmla="*/ 17821 h 18448"/>
                  <a:gd name="connsiteX4" fmla="*/ 17760 w 18356"/>
                  <a:gd name="connsiteY4" fmla="*/ 124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48">
                    <a:moveTo>
                      <a:pt x="17760" y="12498"/>
                    </a:moveTo>
                    <a:cubicBezTo>
                      <a:pt x="19555" y="7713"/>
                      <a:pt x="17162" y="2450"/>
                      <a:pt x="12378" y="596"/>
                    </a:cubicBezTo>
                    <a:cubicBezTo>
                      <a:pt x="7653" y="-1198"/>
                      <a:pt x="2330" y="1194"/>
                      <a:pt x="596" y="5919"/>
                    </a:cubicBezTo>
                    <a:cubicBezTo>
                      <a:pt x="-1199" y="10704"/>
                      <a:pt x="1194" y="15967"/>
                      <a:pt x="5978" y="17821"/>
                    </a:cubicBezTo>
                    <a:cubicBezTo>
                      <a:pt x="10703" y="19675"/>
                      <a:pt x="16026" y="17283"/>
                      <a:pt x="17760" y="12498"/>
                    </a:cubicBezTo>
                    <a:close/>
                  </a:path>
                </a:pathLst>
              </a:custGeom>
              <a:grpFill/>
              <a:ln w="5978" cap="flat">
                <a:noFill/>
                <a:prstDash val="solid"/>
                <a:miter/>
              </a:ln>
            </p:spPr>
            <p:txBody>
              <a:bodyPr rtlCol="0" anchor="ctr"/>
              <a:lstStyle/>
              <a:p>
                <a:endParaRPr lang="en-GB"/>
              </a:p>
            </p:txBody>
          </p:sp>
        </p:grpSp>
        <p:grpSp>
          <p:nvGrpSpPr>
            <p:cNvPr id="434" name="Graphic 3">
              <a:extLst>
                <a:ext uri="{FF2B5EF4-FFF2-40B4-BE49-F238E27FC236}">
                  <a16:creationId xmlns:a16="http://schemas.microsoft.com/office/drawing/2014/main" id="{308CA2B1-57D6-4510-9714-82F44A3A28B7}"/>
                </a:ext>
              </a:extLst>
            </p:cNvPr>
            <p:cNvGrpSpPr/>
            <p:nvPr/>
          </p:nvGrpSpPr>
          <p:grpSpPr>
            <a:xfrm>
              <a:off x="7428561" y="4365475"/>
              <a:ext cx="101360" cy="75888"/>
              <a:chOff x="7428561" y="4365475"/>
              <a:chExt cx="101360" cy="75888"/>
            </a:xfrm>
            <a:grpFill/>
          </p:grpSpPr>
          <p:sp>
            <p:nvSpPr>
              <p:cNvPr id="4083" name="Vrije vorm: vorm 4082">
                <a:extLst>
                  <a:ext uri="{FF2B5EF4-FFF2-40B4-BE49-F238E27FC236}">
                    <a16:creationId xmlns:a16="http://schemas.microsoft.com/office/drawing/2014/main" id="{6CB1C62A-0626-4614-91F8-EE4A45B9CAEA}"/>
                  </a:ext>
                </a:extLst>
              </p:cNvPr>
              <p:cNvSpPr/>
              <p:nvPr/>
            </p:nvSpPr>
            <p:spPr>
              <a:xfrm>
                <a:off x="7436449" y="4373144"/>
                <a:ext cx="85524" cy="60524"/>
              </a:xfrm>
              <a:custGeom>
                <a:avLst/>
                <a:gdLst>
                  <a:gd name="connsiteX0" fmla="*/ 85525 w 85524"/>
                  <a:gd name="connsiteY0" fmla="*/ 58013 h 60524"/>
                  <a:gd name="connsiteX1" fmla="*/ 83790 w 85524"/>
                  <a:gd name="connsiteY1" fmla="*/ 60525 h 60524"/>
                  <a:gd name="connsiteX2" fmla="*/ 0 w 85524"/>
                  <a:gd name="connsiteY2" fmla="*/ 2512 h 60524"/>
                  <a:gd name="connsiteX3" fmla="*/ 1735 w 85524"/>
                  <a:gd name="connsiteY3" fmla="*/ 0 h 60524"/>
                </a:gdLst>
                <a:ahLst/>
                <a:cxnLst>
                  <a:cxn ang="0">
                    <a:pos x="connsiteX0" y="connsiteY0"/>
                  </a:cxn>
                  <a:cxn ang="0">
                    <a:pos x="connsiteX1" y="connsiteY1"/>
                  </a:cxn>
                  <a:cxn ang="0">
                    <a:pos x="connsiteX2" y="connsiteY2"/>
                  </a:cxn>
                  <a:cxn ang="0">
                    <a:pos x="connsiteX3" y="connsiteY3"/>
                  </a:cxn>
                </a:cxnLst>
                <a:rect l="l" t="t" r="r" b="b"/>
                <a:pathLst>
                  <a:path w="85524" h="60524">
                    <a:moveTo>
                      <a:pt x="85525" y="58013"/>
                    </a:moveTo>
                    <a:lnTo>
                      <a:pt x="83790" y="60525"/>
                    </a:lnTo>
                    <a:lnTo>
                      <a:pt x="0" y="2512"/>
                    </a:lnTo>
                    <a:lnTo>
                      <a:pt x="1735" y="0"/>
                    </a:lnTo>
                    <a:close/>
                  </a:path>
                </a:pathLst>
              </a:custGeom>
              <a:grpFill/>
              <a:ln w="5978" cap="flat">
                <a:noFill/>
                <a:prstDash val="solid"/>
                <a:miter/>
              </a:ln>
            </p:spPr>
            <p:txBody>
              <a:bodyPr rtlCol="0" anchor="ctr"/>
              <a:lstStyle/>
              <a:p>
                <a:endParaRPr lang="en-GB"/>
              </a:p>
            </p:txBody>
          </p:sp>
          <p:sp>
            <p:nvSpPr>
              <p:cNvPr id="4084" name="Vrije vorm: vorm 4083">
                <a:extLst>
                  <a:ext uri="{FF2B5EF4-FFF2-40B4-BE49-F238E27FC236}">
                    <a16:creationId xmlns:a16="http://schemas.microsoft.com/office/drawing/2014/main" id="{6C39D8B1-F1D7-47E6-98D5-5441D6442C78}"/>
                  </a:ext>
                </a:extLst>
              </p:cNvPr>
              <p:cNvSpPr/>
              <p:nvPr/>
            </p:nvSpPr>
            <p:spPr>
              <a:xfrm>
                <a:off x="7511573" y="4422950"/>
                <a:ext cx="18348" cy="18413"/>
              </a:xfrm>
              <a:custGeom>
                <a:avLst/>
                <a:gdLst>
                  <a:gd name="connsiteX0" fmla="*/ 14348 w 18348"/>
                  <a:gd name="connsiteY0" fmla="*/ 1628 h 18413"/>
                  <a:gd name="connsiteX1" fmla="*/ 16740 w 18348"/>
                  <a:gd name="connsiteY1" fmla="*/ 14427 h 18413"/>
                  <a:gd name="connsiteX2" fmla="*/ 4001 w 18348"/>
                  <a:gd name="connsiteY2" fmla="*/ 16759 h 18413"/>
                  <a:gd name="connsiteX3" fmla="*/ 1609 w 18348"/>
                  <a:gd name="connsiteY3" fmla="*/ 3961 h 18413"/>
                  <a:gd name="connsiteX4" fmla="*/ 14348 w 18348"/>
                  <a:gd name="connsiteY4" fmla="*/ 162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3">
                    <a:moveTo>
                      <a:pt x="14348" y="1628"/>
                    </a:moveTo>
                    <a:cubicBezTo>
                      <a:pt x="18534" y="4499"/>
                      <a:pt x="19611" y="10240"/>
                      <a:pt x="16740" y="14427"/>
                    </a:cubicBezTo>
                    <a:cubicBezTo>
                      <a:pt x="13869" y="18613"/>
                      <a:pt x="8187" y="19690"/>
                      <a:pt x="4001" y="16759"/>
                    </a:cubicBezTo>
                    <a:cubicBezTo>
                      <a:pt x="-186" y="13889"/>
                      <a:pt x="-1262" y="8147"/>
                      <a:pt x="1609" y="3961"/>
                    </a:cubicBezTo>
                    <a:cubicBezTo>
                      <a:pt x="4479" y="-226"/>
                      <a:pt x="10161" y="-1243"/>
                      <a:pt x="14348" y="1628"/>
                    </a:cubicBezTo>
                    <a:close/>
                  </a:path>
                </a:pathLst>
              </a:custGeom>
              <a:grpFill/>
              <a:ln w="5978" cap="flat">
                <a:noFill/>
                <a:prstDash val="solid"/>
                <a:miter/>
              </a:ln>
            </p:spPr>
            <p:txBody>
              <a:bodyPr rtlCol="0" anchor="ctr"/>
              <a:lstStyle/>
              <a:p>
                <a:endParaRPr lang="en-GB"/>
              </a:p>
            </p:txBody>
          </p:sp>
          <p:sp>
            <p:nvSpPr>
              <p:cNvPr id="4085" name="Vrije vorm: vorm 4084">
                <a:extLst>
                  <a:ext uri="{FF2B5EF4-FFF2-40B4-BE49-F238E27FC236}">
                    <a16:creationId xmlns:a16="http://schemas.microsoft.com/office/drawing/2014/main" id="{E14042EB-EF6C-4721-AAD3-CC1642EA1733}"/>
                  </a:ext>
                </a:extLst>
              </p:cNvPr>
              <p:cNvSpPr/>
              <p:nvPr/>
            </p:nvSpPr>
            <p:spPr>
              <a:xfrm>
                <a:off x="7428561" y="4365475"/>
                <a:ext cx="18322" cy="18387"/>
              </a:xfrm>
              <a:custGeom>
                <a:avLst/>
                <a:gdLst>
                  <a:gd name="connsiteX0" fmla="*/ 14348 w 18322"/>
                  <a:gd name="connsiteY0" fmla="*/ 1628 h 18387"/>
                  <a:gd name="connsiteX1" fmla="*/ 1609 w 18322"/>
                  <a:gd name="connsiteY1" fmla="*/ 3961 h 18387"/>
                  <a:gd name="connsiteX2" fmla="*/ 4001 w 18322"/>
                  <a:gd name="connsiteY2" fmla="*/ 16759 h 18387"/>
                  <a:gd name="connsiteX3" fmla="*/ 16740 w 18322"/>
                  <a:gd name="connsiteY3" fmla="*/ 14427 h 18387"/>
                  <a:gd name="connsiteX4" fmla="*/ 14348 w 18322"/>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87">
                    <a:moveTo>
                      <a:pt x="14348" y="1628"/>
                    </a:moveTo>
                    <a:cubicBezTo>
                      <a:pt x="10161" y="-1243"/>
                      <a:pt x="4479" y="-226"/>
                      <a:pt x="1609" y="3961"/>
                    </a:cubicBezTo>
                    <a:cubicBezTo>
                      <a:pt x="-1262" y="8147"/>
                      <a:pt x="-186" y="13888"/>
                      <a:pt x="4001" y="16759"/>
                    </a:cubicBezTo>
                    <a:cubicBezTo>
                      <a:pt x="8187" y="19630"/>
                      <a:pt x="13869" y="18613"/>
                      <a:pt x="16740" y="14427"/>
                    </a:cubicBezTo>
                    <a:cubicBezTo>
                      <a:pt x="19551" y="10240"/>
                      <a:pt x="18534" y="4499"/>
                      <a:pt x="14348" y="1628"/>
                    </a:cubicBezTo>
                    <a:close/>
                  </a:path>
                </a:pathLst>
              </a:custGeom>
              <a:grpFill/>
              <a:ln w="5978" cap="flat">
                <a:noFill/>
                <a:prstDash val="solid"/>
                <a:miter/>
              </a:ln>
            </p:spPr>
            <p:txBody>
              <a:bodyPr rtlCol="0" anchor="ctr"/>
              <a:lstStyle/>
              <a:p>
                <a:endParaRPr lang="en-GB"/>
              </a:p>
            </p:txBody>
          </p:sp>
        </p:grpSp>
        <p:grpSp>
          <p:nvGrpSpPr>
            <p:cNvPr id="435" name="Graphic 3">
              <a:extLst>
                <a:ext uri="{FF2B5EF4-FFF2-40B4-BE49-F238E27FC236}">
                  <a16:creationId xmlns:a16="http://schemas.microsoft.com/office/drawing/2014/main" id="{A1337ADB-767A-4E47-BEE8-5F78BCEB033B}"/>
                </a:ext>
              </a:extLst>
            </p:cNvPr>
            <p:cNvGrpSpPr/>
            <p:nvPr/>
          </p:nvGrpSpPr>
          <p:grpSpPr>
            <a:xfrm>
              <a:off x="6529451" y="1653846"/>
              <a:ext cx="52852" cy="135490"/>
              <a:chOff x="6529451" y="1653846"/>
              <a:chExt cx="52852" cy="135490"/>
            </a:xfrm>
            <a:grpFill/>
          </p:grpSpPr>
          <p:sp>
            <p:nvSpPr>
              <p:cNvPr id="4080" name="Vrije vorm: vorm 4079">
                <a:extLst>
                  <a:ext uri="{FF2B5EF4-FFF2-40B4-BE49-F238E27FC236}">
                    <a16:creationId xmlns:a16="http://schemas.microsoft.com/office/drawing/2014/main" id="{3C4742D8-21D6-4957-AD7F-5F473AA61EDE}"/>
                  </a:ext>
                </a:extLst>
              </p:cNvPr>
              <p:cNvSpPr/>
              <p:nvPr/>
            </p:nvSpPr>
            <p:spPr>
              <a:xfrm>
                <a:off x="6537068" y="1662202"/>
                <a:ext cx="37738" cy="118777"/>
              </a:xfrm>
              <a:custGeom>
                <a:avLst/>
                <a:gdLst>
                  <a:gd name="connsiteX0" fmla="*/ 37738 w 37738"/>
                  <a:gd name="connsiteY0" fmla="*/ 897 h 118777"/>
                  <a:gd name="connsiteX1" fmla="*/ 2871 w 37738"/>
                  <a:gd name="connsiteY1" fmla="*/ 118777 h 118777"/>
                  <a:gd name="connsiteX2" fmla="*/ 0 w 37738"/>
                  <a:gd name="connsiteY2" fmla="*/ 117880 h 118777"/>
                  <a:gd name="connsiteX3" fmla="*/ 34808 w 37738"/>
                  <a:gd name="connsiteY3" fmla="*/ 0 h 118777"/>
                </a:gdLst>
                <a:ahLst/>
                <a:cxnLst>
                  <a:cxn ang="0">
                    <a:pos x="connsiteX0" y="connsiteY0"/>
                  </a:cxn>
                  <a:cxn ang="0">
                    <a:pos x="connsiteX1" y="connsiteY1"/>
                  </a:cxn>
                  <a:cxn ang="0">
                    <a:pos x="connsiteX2" y="connsiteY2"/>
                  </a:cxn>
                  <a:cxn ang="0">
                    <a:pos x="connsiteX3" y="connsiteY3"/>
                  </a:cxn>
                </a:cxnLst>
                <a:rect l="l" t="t" r="r" b="b"/>
                <a:pathLst>
                  <a:path w="37738" h="118777">
                    <a:moveTo>
                      <a:pt x="37738" y="897"/>
                    </a:moveTo>
                    <a:lnTo>
                      <a:pt x="2871" y="118777"/>
                    </a:lnTo>
                    <a:lnTo>
                      <a:pt x="0" y="117880"/>
                    </a:lnTo>
                    <a:lnTo>
                      <a:pt x="34808" y="0"/>
                    </a:lnTo>
                    <a:close/>
                  </a:path>
                </a:pathLst>
              </a:custGeom>
              <a:grpFill/>
              <a:ln w="5978" cap="flat">
                <a:noFill/>
                <a:prstDash val="solid"/>
                <a:miter/>
              </a:ln>
            </p:spPr>
            <p:txBody>
              <a:bodyPr rtlCol="0" anchor="ctr"/>
              <a:lstStyle/>
              <a:p>
                <a:endParaRPr lang="en-GB"/>
              </a:p>
            </p:txBody>
          </p:sp>
          <p:sp>
            <p:nvSpPr>
              <p:cNvPr id="4081" name="Vrije vorm: vorm 4080">
                <a:extLst>
                  <a:ext uri="{FF2B5EF4-FFF2-40B4-BE49-F238E27FC236}">
                    <a16:creationId xmlns:a16="http://schemas.microsoft.com/office/drawing/2014/main" id="{9F9950FC-909C-42EF-8A65-EBCB46144361}"/>
                  </a:ext>
                </a:extLst>
              </p:cNvPr>
              <p:cNvSpPr/>
              <p:nvPr/>
            </p:nvSpPr>
            <p:spPr>
              <a:xfrm>
                <a:off x="6564020" y="1653846"/>
                <a:ext cx="18284" cy="18447"/>
              </a:xfrm>
              <a:custGeom>
                <a:avLst/>
                <a:gdLst>
                  <a:gd name="connsiteX0" fmla="*/ 380 w 18284"/>
                  <a:gd name="connsiteY0" fmla="*/ 6562 h 18447"/>
                  <a:gd name="connsiteX1" fmla="*/ 11744 w 18284"/>
                  <a:gd name="connsiteY1" fmla="*/ 402 h 18447"/>
                  <a:gd name="connsiteX2" fmla="*/ 17904 w 18284"/>
                  <a:gd name="connsiteY2" fmla="*/ 11885 h 18447"/>
                  <a:gd name="connsiteX3" fmla="*/ 6540 w 18284"/>
                  <a:gd name="connsiteY3" fmla="*/ 18045 h 18447"/>
                  <a:gd name="connsiteX4" fmla="*/ 380 w 1828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7">
                    <a:moveTo>
                      <a:pt x="380" y="6562"/>
                    </a:moveTo>
                    <a:cubicBezTo>
                      <a:pt x="1816" y="1718"/>
                      <a:pt x="6899" y="-1093"/>
                      <a:pt x="11744" y="402"/>
                    </a:cubicBezTo>
                    <a:cubicBezTo>
                      <a:pt x="16588" y="1838"/>
                      <a:pt x="19339" y="6981"/>
                      <a:pt x="17904" y="11885"/>
                    </a:cubicBezTo>
                    <a:cubicBezTo>
                      <a:pt x="16469" y="16730"/>
                      <a:pt x="11385" y="19540"/>
                      <a:pt x="6540" y="18045"/>
                    </a:cubicBezTo>
                    <a:cubicBezTo>
                      <a:pt x="1696" y="16610"/>
                      <a:pt x="-1055" y="11467"/>
                      <a:pt x="380" y="6562"/>
                    </a:cubicBezTo>
                    <a:close/>
                  </a:path>
                </a:pathLst>
              </a:custGeom>
              <a:grpFill/>
              <a:ln w="5978" cap="flat">
                <a:noFill/>
                <a:prstDash val="solid"/>
                <a:miter/>
              </a:ln>
            </p:spPr>
            <p:txBody>
              <a:bodyPr rtlCol="0" anchor="ctr"/>
              <a:lstStyle/>
              <a:p>
                <a:endParaRPr lang="en-GB"/>
              </a:p>
            </p:txBody>
          </p:sp>
          <p:sp>
            <p:nvSpPr>
              <p:cNvPr id="4082" name="Vrije vorm: vorm 4081">
                <a:extLst>
                  <a:ext uri="{FF2B5EF4-FFF2-40B4-BE49-F238E27FC236}">
                    <a16:creationId xmlns:a16="http://schemas.microsoft.com/office/drawing/2014/main" id="{2D3E1B6D-4187-4842-BE95-6754D200B54E}"/>
                  </a:ext>
                </a:extLst>
              </p:cNvPr>
              <p:cNvSpPr/>
              <p:nvPr/>
            </p:nvSpPr>
            <p:spPr>
              <a:xfrm>
                <a:off x="6529451" y="1770910"/>
                <a:ext cx="18284" cy="18425"/>
              </a:xfrm>
              <a:custGeom>
                <a:avLst/>
                <a:gdLst>
                  <a:gd name="connsiteX0" fmla="*/ 380 w 18284"/>
                  <a:gd name="connsiteY0" fmla="*/ 6541 h 18425"/>
                  <a:gd name="connsiteX1" fmla="*/ 6541 w 18284"/>
                  <a:gd name="connsiteY1" fmla="*/ 18024 h 18425"/>
                  <a:gd name="connsiteX2" fmla="*/ 17904 w 18284"/>
                  <a:gd name="connsiteY2" fmla="*/ 11863 h 18425"/>
                  <a:gd name="connsiteX3" fmla="*/ 11744 w 18284"/>
                  <a:gd name="connsiteY3" fmla="*/ 380 h 18425"/>
                  <a:gd name="connsiteX4" fmla="*/ 380 w 18284"/>
                  <a:gd name="connsiteY4" fmla="*/ 6541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25">
                    <a:moveTo>
                      <a:pt x="380" y="6541"/>
                    </a:moveTo>
                    <a:cubicBezTo>
                      <a:pt x="-1055" y="11385"/>
                      <a:pt x="1696" y="16528"/>
                      <a:pt x="6541" y="18024"/>
                    </a:cubicBezTo>
                    <a:cubicBezTo>
                      <a:pt x="11385" y="19519"/>
                      <a:pt x="16469" y="16708"/>
                      <a:pt x="17904" y="11863"/>
                    </a:cubicBezTo>
                    <a:cubicBezTo>
                      <a:pt x="19340" y="7019"/>
                      <a:pt x="16588" y="1876"/>
                      <a:pt x="11744" y="380"/>
                    </a:cubicBezTo>
                    <a:cubicBezTo>
                      <a:pt x="6959" y="-1055"/>
                      <a:pt x="1816" y="1696"/>
                      <a:pt x="380" y="6541"/>
                    </a:cubicBezTo>
                    <a:close/>
                  </a:path>
                </a:pathLst>
              </a:custGeom>
              <a:grpFill/>
              <a:ln w="5978" cap="flat">
                <a:noFill/>
                <a:prstDash val="solid"/>
                <a:miter/>
              </a:ln>
            </p:spPr>
            <p:txBody>
              <a:bodyPr rtlCol="0" anchor="ctr"/>
              <a:lstStyle/>
              <a:p>
                <a:endParaRPr lang="en-GB"/>
              </a:p>
            </p:txBody>
          </p:sp>
        </p:grpSp>
        <p:grpSp>
          <p:nvGrpSpPr>
            <p:cNvPr id="436" name="Graphic 3">
              <a:extLst>
                <a:ext uri="{FF2B5EF4-FFF2-40B4-BE49-F238E27FC236}">
                  <a16:creationId xmlns:a16="http://schemas.microsoft.com/office/drawing/2014/main" id="{DB7B3D24-3342-48D9-AD3B-39A37764AF9D}"/>
                </a:ext>
              </a:extLst>
            </p:cNvPr>
            <p:cNvGrpSpPr/>
            <p:nvPr/>
          </p:nvGrpSpPr>
          <p:grpSpPr>
            <a:xfrm>
              <a:off x="6480612" y="1529829"/>
              <a:ext cx="26192" cy="51774"/>
              <a:chOff x="6480612" y="1529829"/>
              <a:chExt cx="26192" cy="51774"/>
            </a:xfrm>
            <a:grpFill/>
          </p:grpSpPr>
          <p:sp>
            <p:nvSpPr>
              <p:cNvPr id="4077" name="Vrije vorm: vorm 4076">
                <a:extLst>
                  <a:ext uri="{FF2B5EF4-FFF2-40B4-BE49-F238E27FC236}">
                    <a16:creationId xmlns:a16="http://schemas.microsoft.com/office/drawing/2014/main" id="{142027A2-6D36-4147-B9B2-22506A78A1C7}"/>
                  </a:ext>
                </a:extLst>
              </p:cNvPr>
              <p:cNvSpPr/>
              <p:nvPr/>
            </p:nvSpPr>
            <p:spPr>
              <a:xfrm>
                <a:off x="6488206" y="1538222"/>
                <a:ext cx="11064" cy="34987"/>
              </a:xfrm>
              <a:custGeom>
                <a:avLst/>
                <a:gdLst>
                  <a:gd name="connsiteX0" fmla="*/ 11064 w 11064"/>
                  <a:gd name="connsiteY0" fmla="*/ 718 h 34987"/>
                  <a:gd name="connsiteX1" fmla="*/ 2990 w 11064"/>
                  <a:gd name="connsiteY1" fmla="*/ 34987 h 34987"/>
                  <a:gd name="connsiteX2" fmla="*/ 0 w 11064"/>
                  <a:gd name="connsiteY2" fmla="*/ 34270 h 34987"/>
                  <a:gd name="connsiteX3" fmla="*/ 8074 w 11064"/>
                  <a:gd name="connsiteY3" fmla="*/ 0 h 34987"/>
                </a:gdLst>
                <a:ahLst/>
                <a:cxnLst>
                  <a:cxn ang="0">
                    <a:pos x="connsiteX0" y="connsiteY0"/>
                  </a:cxn>
                  <a:cxn ang="0">
                    <a:pos x="connsiteX1" y="connsiteY1"/>
                  </a:cxn>
                  <a:cxn ang="0">
                    <a:pos x="connsiteX2" y="connsiteY2"/>
                  </a:cxn>
                  <a:cxn ang="0">
                    <a:pos x="connsiteX3" y="connsiteY3"/>
                  </a:cxn>
                </a:cxnLst>
                <a:rect l="l" t="t" r="r" b="b"/>
                <a:pathLst>
                  <a:path w="11064" h="34987">
                    <a:moveTo>
                      <a:pt x="11064" y="718"/>
                    </a:moveTo>
                    <a:lnTo>
                      <a:pt x="2990" y="34987"/>
                    </a:lnTo>
                    <a:lnTo>
                      <a:pt x="0" y="34270"/>
                    </a:lnTo>
                    <a:lnTo>
                      <a:pt x="8074" y="0"/>
                    </a:lnTo>
                    <a:close/>
                  </a:path>
                </a:pathLst>
              </a:custGeom>
              <a:grpFill/>
              <a:ln w="5978" cap="flat">
                <a:noFill/>
                <a:prstDash val="solid"/>
                <a:miter/>
              </a:ln>
            </p:spPr>
            <p:txBody>
              <a:bodyPr rtlCol="0" anchor="ctr"/>
              <a:lstStyle/>
              <a:p>
                <a:endParaRPr lang="en-GB"/>
              </a:p>
            </p:txBody>
          </p:sp>
          <p:sp>
            <p:nvSpPr>
              <p:cNvPr id="4078" name="Vrije vorm: vorm 4077">
                <a:extLst>
                  <a:ext uri="{FF2B5EF4-FFF2-40B4-BE49-F238E27FC236}">
                    <a16:creationId xmlns:a16="http://schemas.microsoft.com/office/drawing/2014/main" id="{35C91B55-E79E-4281-B55C-EED28F56E616}"/>
                  </a:ext>
                </a:extLst>
              </p:cNvPr>
              <p:cNvSpPr/>
              <p:nvPr/>
            </p:nvSpPr>
            <p:spPr>
              <a:xfrm>
                <a:off x="6488484" y="1529829"/>
                <a:ext cx="18319" cy="18461"/>
              </a:xfrm>
              <a:custGeom>
                <a:avLst/>
                <a:gdLst>
                  <a:gd name="connsiteX0" fmla="*/ 260 w 18319"/>
                  <a:gd name="connsiteY0" fmla="*/ 7078 h 18461"/>
                  <a:gd name="connsiteX1" fmla="*/ 11264 w 18319"/>
                  <a:gd name="connsiteY1" fmla="*/ 260 h 18461"/>
                  <a:gd name="connsiteX2" fmla="*/ 18082 w 18319"/>
                  <a:gd name="connsiteY2" fmla="*/ 11384 h 18461"/>
                  <a:gd name="connsiteX3" fmla="*/ 7078 w 18319"/>
                  <a:gd name="connsiteY3" fmla="*/ 18202 h 18461"/>
                  <a:gd name="connsiteX4" fmla="*/ 260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60" y="7078"/>
                    </a:moveTo>
                    <a:cubicBezTo>
                      <a:pt x="1396" y="2114"/>
                      <a:pt x="6360" y="-936"/>
                      <a:pt x="11264" y="260"/>
                    </a:cubicBezTo>
                    <a:cubicBezTo>
                      <a:pt x="16169" y="1456"/>
                      <a:pt x="19218" y="6420"/>
                      <a:pt x="18082" y="11384"/>
                    </a:cubicBezTo>
                    <a:cubicBezTo>
                      <a:pt x="16946" y="16348"/>
                      <a:pt x="11982" y="19398"/>
                      <a:pt x="7078" y="18202"/>
                    </a:cubicBezTo>
                    <a:cubicBezTo>
                      <a:pt x="2114" y="17006"/>
                      <a:pt x="-937" y="12042"/>
                      <a:pt x="260" y="7078"/>
                    </a:cubicBezTo>
                    <a:close/>
                  </a:path>
                </a:pathLst>
              </a:custGeom>
              <a:grpFill/>
              <a:ln w="5978" cap="flat">
                <a:noFill/>
                <a:prstDash val="solid"/>
                <a:miter/>
              </a:ln>
            </p:spPr>
            <p:txBody>
              <a:bodyPr rtlCol="0" anchor="ctr"/>
              <a:lstStyle/>
              <a:p>
                <a:endParaRPr lang="en-GB"/>
              </a:p>
            </p:txBody>
          </p:sp>
          <p:sp>
            <p:nvSpPr>
              <p:cNvPr id="4079" name="Vrije vorm: vorm 4078">
                <a:extLst>
                  <a:ext uri="{FF2B5EF4-FFF2-40B4-BE49-F238E27FC236}">
                    <a16:creationId xmlns:a16="http://schemas.microsoft.com/office/drawing/2014/main" id="{6D67455C-9B7D-42C0-B6E7-80C3EB862910}"/>
                  </a:ext>
                </a:extLst>
              </p:cNvPr>
              <p:cNvSpPr/>
              <p:nvPr/>
            </p:nvSpPr>
            <p:spPr>
              <a:xfrm>
                <a:off x="6480612" y="1563141"/>
                <a:ext cx="18297" cy="18461"/>
              </a:xfrm>
              <a:custGeom>
                <a:avLst/>
                <a:gdLst>
                  <a:gd name="connsiteX0" fmla="*/ 238 w 18297"/>
                  <a:gd name="connsiteY0" fmla="*/ 7078 h 18461"/>
                  <a:gd name="connsiteX1" fmla="*/ 7056 w 18297"/>
                  <a:gd name="connsiteY1" fmla="*/ 18202 h 18461"/>
                  <a:gd name="connsiteX2" fmla="*/ 18060 w 18297"/>
                  <a:gd name="connsiteY2" fmla="*/ 11384 h 18461"/>
                  <a:gd name="connsiteX3" fmla="*/ 11242 w 18297"/>
                  <a:gd name="connsiteY3" fmla="*/ 260 h 18461"/>
                  <a:gd name="connsiteX4" fmla="*/ 238 w 18297"/>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61">
                    <a:moveTo>
                      <a:pt x="238" y="7078"/>
                    </a:moveTo>
                    <a:cubicBezTo>
                      <a:pt x="-899" y="12042"/>
                      <a:pt x="2151" y="17006"/>
                      <a:pt x="7056" y="18202"/>
                    </a:cubicBezTo>
                    <a:cubicBezTo>
                      <a:pt x="11960" y="19398"/>
                      <a:pt x="16924" y="16348"/>
                      <a:pt x="18060" y="11384"/>
                    </a:cubicBezTo>
                    <a:cubicBezTo>
                      <a:pt x="19197" y="6420"/>
                      <a:pt x="16146" y="1456"/>
                      <a:pt x="11242" y="260"/>
                    </a:cubicBezTo>
                    <a:cubicBezTo>
                      <a:pt x="6398" y="-937"/>
                      <a:pt x="1434" y="2114"/>
                      <a:pt x="238" y="7078"/>
                    </a:cubicBezTo>
                    <a:close/>
                  </a:path>
                </a:pathLst>
              </a:custGeom>
              <a:grpFill/>
              <a:ln w="5978" cap="flat">
                <a:noFill/>
                <a:prstDash val="solid"/>
                <a:miter/>
              </a:ln>
            </p:spPr>
            <p:txBody>
              <a:bodyPr rtlCol="0" anchor="ctr"/>
              <a:lstStyle/>
              <a:p>
                <a:endParaRPr lang="en-GB"/>
              </a:p>
            </p:txBody>
          </p:sp>
        </p:grpSp>
        <p:grpSp>
          <p:nvGrpSpPr>
            <p:cNvPr id="437" name="Graphic 3">
              <a:extLst>
                <a:ext uri="{FF2B5EF4-FFF2-40B4-BE49-F238E27FC236}">
                  <a16:creationId xmlns:a16="http://schemas.microsoft.com/office/drawing/2014/main" id="{7E79D091-9872-4271-B72E-1D6F427C433D}"/>
                </a:ext>
              </a:extLst>
            </p:cNvPr>
            <p:cNvGrpSpPr/>
            <p:nvPr/>
          </p:nvGrpSpPr>
          <p:grpSpPr>
            <a:xfrm>
              <a:off x="6494434" y="1591558"/>
              <a:ext cx="33594" cy="78290"/>
              <a:chOff x="6494434" y="1591558"/>
              <a:chExt cx="33594" cy="78290"/>
            </a:xfrm>
            <a:grpFill/>
          </p:grpSpPr>
          <p:sp>
            <p:nvSpPr>
              <p:cNvPr id="4074" name="Vrije vorm: vorm 4073">
                <a:extLst>
                  <a:ext uri="{FF2B5EF4-FFF2-40B4-BE49-F238E27FC236}">
                    <a16:creationId xmlns:a16="http://schemas.microsoft.com/office/drawing/2014/main" id="{098D35D8-C13D-4324-ABD7-CCC3C4B16DF3}"/>
                  </a:ext>
                </a:extLst>
              </p:cNvPr>
              <p:cNvSpPr/>
              <p:nvPr/>
            </p:nvSpPr>
            <p:spPr>
              <a:xfrm>
                <a:off x="6502021" y="1599943"/>
                <a:ext cx="18480" cy="61541"/>
              </a:xfrm>
              <a:custGeom>
                <a:avLst/>
                <a:gdLst>
                  <a:gd name="connsiteX0" fmla="*/ 18480 w 18480"/>
                  <a:gd name="connsiteY0" fmla="*/ 778 h 61541"/>
                  <a:gd name="connsiteX1" fmla="*/ 2930 w 18480"/>
                  <a:gd name="connsiteY1" fmla="*/ 61542 h 61541"/>
                  <a:gd name="connsiteX2" fmla="*/ 0 w 18480"/>
                  <a:gd name="connsiteY2" fmla="*/ 60764 h 61541"/>
                  <a:gd name="connsiteX3" fmla="*/ 15550 w 18480"/>
                  <a:gd name="connsiteY3" fmla="*/ 0 h 61541"/>
                </a:gdLst>
                <a:ahLst/>
                <a:cxnLst>
                  <a:cxn ang="0">
                    <a:pos x="connsiteX0" y="connsiteY0"/>
                  </a:cxn>
                  <a:cxn ang="0">
                    <a:pos x="connsiteX1" y="connsiteY1"/>
                  </a:cxn>
                  <a:cxn ang="0">
                    <a:pos x="connsiteX2" y="connsiteY2"/>
                  </a:cxn>
                  <a:cxn ang="0">
                    <a:pos x="connsiteX3" y="connsiteY3"/>
                  </a:cxn>
                </a:cxnLst>
                <a:rect l="l" t="t" r="r" b="b"/>
                <a:pathLst>
                  <a:path w="18480" h="61541">
                    <a:moveTo>
                      <a:pt x="18480" y="778"/>
                    </a:moveTo>
                    <a:lnTo>
                      <a:pt x="2930" y="61542"/>
                    </a:lnTo>
                    <a:lnTo>
                      <a:pt x="0" y="60764"/>
                    </a:lnTo>
                    <a:lnTo>
                      <a:pt x="15550" y="0"/>
                    </a:lnTo>
                    <a:close/>
                  </a:path>
                </a:pathLst>
              </a:custGeom>
              <a:grpFill/>
              <a:ln w="5978" cap="flat">
                <a:noFill/>
                <a:prstDash val="solid"/>
                <a:miter/>
              </a:ln>
            </p:spPr>
            <p:txBody>
              <a:bodyPr rtlCol="0" anchor="ctr"/>
              <a:lstStyle/>
              <a:p>
                <a:endParaRPr lang="en-GB"/>
              </a:p>
            </p:txBody>
          </p:sp>
          <p:sp>
            <p:nvSpPr>
              <p:cNvPr id="4075" name="Vrije vorm: vorm 4074">
                <a:extLst>
                  <a:ext uri="{FF2B5EF4-FFF2-40B4-BE49-F238E27FC236}">
                    <a16:creationId xmlns:a16="http://schemas.microsoft.com/office/drawing/2014/main" id="{233BF99D-57D5-4471-BD94-E9045E074F02}"/>
                  </a:ext>
                </a:extLst>
              </p:cNvPr>
              <p:cNvSpPr/>
              <p:nvPr/>
            </p:nvSpPr>
            <p:spPr>
              <a:xfrm>
                <a:off x="6509745" y="1591558"/>
                <a:ext cx="18283" cy="18443"/>
              </a:xfrm>
              <a:custGeom>
                <a:avLst/>
                <a:gdLst>
                  <a:gd name="connsiteX0" fmla="*/ 290 w 18283"/>
                  <a:gd name="connsiteY0" fmla="*/ 6889 h 18443"/>
                  <a:gd name="connsiteX1" fmla="*/ 11415 w 18283"/>
                  <a:gd name="connsiteY1" fmla="*/ 311 h 18443"/>
                  <a:gd name="connsiteX2" fmla="*/ 17994 w 18283"/>
                  <a:gd name="connsiteY2" fmla="*/ 11554 h 18443"/>
                  <a:gd name="connsiteX3" fmla="*/ 6869 w 18283"/>
                  <a:gd name="connsiteY3" fmla="*/ 18133 h 18443"/>
                  <a:gd name="connsiteX4" fmla="*/ 290 w 18283"/>
                  <a:gd name="connsiteY4" fmla="*/ 68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3">
                    <a:moveTo>
                      <a:pt x="290" y="6889"/>
                    </a:moveTo>
                    <a:cubicBezTo>
                      <a:pt x="1547" y="1985"/>
                      <a:pt x="6570" y="-1005"/>
                      <a:pt x="11415" y="311"/>
                    </a:cubicBezTo>
                    <a:cubicBezTo>
                      <a:pt x="16319" y="1567"/>
                      <a:pt x="19249" y="6650"/>
                      <a:pt x="17994" y="11554"/>
                    </a:cubicBezTo>
                    <a:cubicBezTo>
                      <a:pt x="16737" y="16459"/>
                      <a:pt x="11714" y="19449"/>
                      <a:pt x="6869" y="18133"/>
                    </a:cubicBezTo>
                    <a:cubicBezTo>
                      <a:pt x="1965" y="16877"/>
                      <a:pt x="-965" y="11853"/>
                      <a:pt x="290" y="6889"/>
                    </a:cubicBezTo>
                    <a:close/>
                  </a:path>
                </a:pathLst>
              </a:custGeom>
              <a:grpFill/>
              <a:ln w="5978" cap="flat">
                <a:noFill/>
                <a:prstDash val="solid"/>
                <a:miter/>
              </a:ln>
            </p:spPr>
            <p:txBody>
              <a:bodyPr rtlCol="0" anchor="ctr"/>
              <a:lstStyle/>
              <a:p>
                <a:endParaRPr lang="en-GB"/>
              </a:p>
            </p:txBody>
          </p:sp>
          <p:sp>
            <p:nvSpPr>
              <p:cNvPr id="4076" name="Vrije vorm: vorm 4075">
                <a:extLst>
                  <a:ext uri="{FF2B5EF4-FFF2-40B4-BE49-F238E27FC236}">
                    <a16:creationId xmlns:a16="http://schemas.microsoft.com/office/drawing/2014/main" id="{FA756CEA-CB05-4AFC-BAE8-689E840C3ABB}"/>
                  </a:ext>
                </a:extLst>
              </p:cNvPr>
              <p:cNvSpPr/>
              <p:nvPr/>
            </p:nvSpPr>
            <p:spPr>
              <a:xfrm>
                <a:off x="6494434" y="1651445"/>
                <a:ext cx="18283" cy="18403"/>
              </a:xfrm>
              <a:custGeom>
                <a:avLst/>
                <a:gdLst>
                  <a:gd name="connsiteX0" fmla="*/ 290 w 18283"/>
                  <a:gd name="connsiteY0" fmla="*/ 6869 h 18403"/>
                  <a:gd name="connsiteX1" fmla="*/ 6869 w 18283"/>
                  <a:gd name="connsiteY1" fmla="*/ 18113 h 18403"/>
                  <a:gd name="connsiteX2" fmla="*/ 17994 w 18283"/>
                  <a:gd name="connsiteY2" fmla="*/ 11534 h 18403"/>
                  <a:gd name="connsiteX3" fmla="*/ 11415 w 18283"/>
                  <a:gd name="connsiteY3" fmla="*/ 291 h 18403"/>
                  <a:gd name="connsiteX4" fmla="*/ 290 w 18283"/>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03">
                    <a:moveTo>
                      <a:pt x="290" y="6869"/>
                    </a:moveTo>
                    <a:cubicBezTo>
                      <a:pt x="-965" y="11773"/>
                      <a:pt x="1965" y="16797"/>
                      <a:pt x="6869" y="18113"/>
                    </a:cubicBezTo>
                    <a:cubicBezTo>
                      <a:pt x="11773" y="19369"/>
                      <a:pt x="16737" y="16438"/>
                      <a:pt x="17994" y="11534"/>
                    </a:cubicBezTo>
                    <a:cubicBezTo>
                      <a:pt x="19249" y="6630"/>
                      <a:pt x="16319" y="1606"/>
                      <a:pt x="11415" y="291"/>
                    </a:cubicBezTo>
                    <a:cubicBezTo>
                      <a:pt x="6570" y="-965"/>
                      <a:pt x="1547" y="1965"/>
                      <a:pt x="290" y="6869"/>
                    </a:cubicBezTo>
                    <a:close/>
                  </a:path>
                </a:pathLst>
              </a:custGeom>
              <a:grpFill/>
              <a:ln w="5978" cap="flat">
                <a:noFill/>
                <a:prstDash val="solid"/>
                <a:miter/>
              </a:ln>
            </p:spPr>
            <p:txBody>
              <a:bodyPr rtlCol="0" anchor="ctr"/>
              <a:lstStyle/>
              <a:p>
                <a:endParaRPr lang="en-GB"/>
              </a:p>
            </p:txBody>
          </p:sp>
        </p:grpSp>
        <p:grpSp>
          <p:nvGrpSpPr>
            <p:cNvPr id="438" name="Graphic 3">
              <a:extLst>
                <a:ext uri="{FF2B5EF4-FFF2-40B4-BE49-F238E27FC236}">
                  <a16:creationId xmlns:a16="http://schemas.microsoft.com/office/drawing/2014/main" id="{C3D8FD19-FF60-4C8F-8174-0A3DBA7843AC}"/>
                </a:ext>
              </a:extLst>
            </p:cNvPr>
            <p:cNvGrpSpPr/>
            <p:nvPr/>
          </p:nvGrpSpPr>
          <p:grpSpPr>
            <a:xfrm>
              <a:off x="7449006" y="4631817"/>
              <a:ext cx="226674" cy="200160"/>
              <a:chOff x="7449006" y="4631817"/>
              <a:chExt cx="226674" cy="200160"/>
            </a:xfrm>
            <a:grpFill/>
          </p:grpSpPr>
          <p:sp>
            <p:nvSpPr>
              <p:cNvPr id="4071" name="Vrije vorm: vorm 4070">
                <a:extLst>
                  <a:ext uri="{FF2B5EF4-FFF2-40B4-BE49-F238E27FC236}">
                    <a16:creationId xmlns:a16="http://schemas.microsoft.com/office/drawing/2014/main" id="{0A1C574A-F378-4861-B7C5-F47E91F75034}"/>
                  </a:ext>
                </a:extLst>
              </p:cNvPr>
              <p:cNvSpPr/>
              <p:nvPr/>
            </p:nvSpPr>
            <p:spPr>
              <a:xfrm>
                <a:off x="7456784" y="4639525"/>
                <a:ext cx="211059" cy="184744"/>
              </a:xfrm>
              <a:custGeom>
                <a:avLst/>
                <a:gdLst>
                  <a:gd name="connsiteX0" fmla="*/ 211060 w 211059"/>
                  <a:gd name="connsiteY0" fmla="*/ 182412 h 184744"/>
                  <a:gd name="connsiteX1" fmla="*/ 209087 w 211059"/>
                  <a:gd name="connsiteY1" fmla="*/ 184745 h 184744"/>
                  <a:gd name="connsiteX2" fmla="*/ 0 w 211059"/>
                  <a:gd name="connsiteY2" fmla="*/ 2333 h 184744"/>
                  <a:gd name="connsiteX3" fmla="*/ 2033 w 211059"/>
                  <a:gd name="connsiteY3" fmla="*/ 0 h 184744"/>
                </a:gdLst>
                <a:ahLst/>
                <a:cxnLst>
                  <a:cxn ang="0">
                    <a:pos x="connsiteX0" y="connsiteY0"/>
                  </a:cxn>
                  <a:cxn ang="0">
                    <a:pos x="connsiteX1" y="connsiteY1"/>
                  </a:cxn>
                  <a:cxn ang="0">
                    <a:pos x="connsiteX2" y="connsiteY2"/>
                  </a:cxn>
                  <a:cxn ang="0">
                    <a:pos x="connsiteX3" y="connsiteY3"/>
                  </a:cxn>
                </a:cxnLst>
                <a:rect l="l" t="t" r="r" b="b"/>
                <a:pathLst>
                  <a:path w="211059" h="184744">
                    <a:moveTo>
                      <a:pt x="211060" y="182412"/>
                    </a:moveTo>
                    <a:lnTo>
                      <a:pt x="209087" y="184745"/>
                    </a:lnTo>
                    <a:lnTo>
                      <a:pt x="0" y="2333"/>
                    </a:lnTo>
                    <a:lnTo>
                      <a:pt x="2033" y="0"/>
                    </a:lnTo>
                    <a:close/>
                  </a:path>
                </a:pathLst>
              </a:custGeom>
              <a:grpFill/>
              <a:ln w="5978" cap="flat">
                <a:noFill/>
                <a:prstDash val="solid"/>
                <a:miter/>
              </a:ln>
            </p:spPr>
            <p:txBody>
              <a:bodyPr rtlCol="0" anchor="ctr"/>
              <a:lstStyle/>
              <a:p>
                <a:endParaRPr lang="en-GB"/>
              </a:p>
            </p:txBody>
          </p:sp>
          <p:sp>
            <p:nvSpPr>
              <p:cNvPr id="4072" name="Vrije vorm: vorm 4071">
                <a:extLst>
                  <a:ext uri="{FF2B5EF4-FFF2-40B4-BE49-F238E27FC236}">
                    <a16:creationId xmlns:a16="http://schemas.microsoft.com/office/drawing/2014/main" id="{50E2DEBB-1597-4821-92F9-F0B91F7D3EB7}"/>
                  </a:ext>
                </a:extLst>
              </p:cNvPr>
              <p:cNvSpPr/>
              <p:nvPr/>
            </p:nvSpPr>
            <p:spPr>
              <a:xfrm>
                <a:off x="7657375" y="4813571"/>
                <a:ext cx="18306" cy="18405"/>
              </a:xfrm>
              <a:custGeom>
                <a:avLst/>
                <a:gdLst>
                  <a:gd name="connsiteX0" fmla="*/ 15134 w 18306"/>
                  <a:gd name="connsiteY0" fmla="*/ 2265 h 18405"/>
                  <a:gd name="connsiteX1" fmla="*/ 16090 w 18306"/>
                  <a:gd name="connsiteY1" fmla="*/ 15243 h 18405"/>
                  <a:gd name="connsiteX2" fmla="*/ 3173 w 18306"/>
                  <a:gd name="connsiteY2" fmla="*/ 16141 h 18405"/>
                  <a:gd name="connsiteX3" fmla="*/ 2215 w 18306"/>
                  <a:gd name="connsiteY3" fmla="*/ 3162 h 18405"/>
                  <a:gd name="connsiteX4" fmla="*/ 15134 w 18306"/>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5134" y="2265"/>
                    </a:moveTo>
                    <a:cubicBezTo>
                      <a:pt x="18962" y="5615"/>
                      <a:pt x="19380" y="11416"/>
                      <a:pt x="16090" y="15243"/>
                    </a:cubicBezTo>
                    <a:cubicBezTo>
                      <a:pt x="12801" y="19071"/>
                      <a:pt x="7000" y="19490"/>
                      <a:pt x="3173" y="16141"/>
                    </a:cubicBezTo>
                    <a:cubicBezTo>
                      <a:pt x="-655" y="12791"/>
                      <a:pt x="-1074" y="6990"/>
                      <a:pt x="2215" y="3162"/>
                    </a:cubicBezTo>
                    <a:cubicBezTo>
                      <a:pt x="5505" y="-665"/>
                      <a:pt x="11306" y="-1084"/>
                      <a:pt x="15134" y="2265"/>
                    </a:cubicBezTo>
                    <a:close/>
                  </a:path>
                </a:pathLst>
              </a:custGeom>
              <a:grpFill/>
              <a:ln w="5978" cap="flat">
                <a:noFill/>
                <a:prstDash val="solid"/>
                <a:miter/>
              </a:ln>
            </p:spPr>
            <p:txBody>
              <a:bodyPr rtlCol="0" anchor="ctr"/>
              <a:lstStyle/>
              <a:p>
                <a:endParaRPr lang="en-GB"/>
              </a:p>
            </p:txBody>
          </p:sp>
          <p:sp>
            <p:nvSpPr>
              <p:cNvPr id="4073" name="Vrije vorm: vorm 4072">
                <a:extLst>
                  <a:ext uri="{FF2B5EF4-FFF2-40B4-BE49-F238E27FC236}">
                    <a16:creationId xmlns:a16="http://schemas.microsoft.com/office/drawing/2014/main" id="{C28B1412-4152-4765-B7E5-E5525ADF8EF8}"/>
                  </a:ext>
                </a:extLst>
              </p:cNvPr>
              <p:cNvSpPr/>
              <p:nvPr/>
            </p:nvSpPr>
            <p:spPr>
              <a:xfrm>
                <a:off x="7449006" y="4631817"/>
                <a:ext cx="18306" cy="18405"/>
              </a:xfrm>
              <a:custGeom>
                <a:avLst/>
                <a:gdLst>
                  <a:gd name="connsiteX0" fmla="*/ 15134 w 18306"/>
                  <a:gd name="connsiteY0" fmla="*/ 2265 h 18405"/>
                  <a:gd name="connsiteX1" fmla="*/ 2216 w 18306"/>
                  <a:gd name="connsiteY1" fmla="*/ 3163 h 18405"/>
                  <a:gd name="connsiteX2" fmla="*/ 3172 w 18306"/>
                  <a:gd name="connsiteY2" fmla="*/ 16141 h 18405"/>
                  <a:gd name="connsiteX3" fmla="*/ 16091 w 18306"/>
                  <a:gd name="connsiteY3" fmla="*/ 15243 h 18405"/>
                  <a:gd name="connsiteX4" fmla="*/ 15134 w 18306"/>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5134" y="2265"/>
                    </a:moveTo>
                    <a:cubicBezTo>
                      <a:pt x="11306" y="-1084"/>
                      <a:pt x="5505" y="-665"/>
                      <a:pt x="2216" y="3163"/>
                    </a:cubicBezTo>
                    <a:cubicBezTo>
                      <a:pt x="-1074" y="6990"/>
                      <a:pt x="-656" y="12791"/>
                      <a:pt x="3172" y="16141"/>
                    </a:cubicBezTo>
                    <a:cubicBezTo>
                      <a:pt x="7000" y="19490"/>
                      <a:pt x="12801" y="19071"/>
                      <a:pt x="16091" y="15243"/>
                    </a:cubicBezTo>
                    <a:cubicBezTo>
                      <a:pt x="19380" y="11416"/>
                      <a:pt x="18961" y="5555"/>
                      <a:pt x="15134" y="2265"/>
                    </a:cubicBezTo>
                    <a:close/>
                  </a:path>
                </a:pathLst>
              </a:custGeom>
              <a:grpFill/>
              <a:ln w="5978" cap="flat">
                <a:noFill/>
                <a:prstDash val="solid"/>
                <a:miter/>
              </a:ln>
            </p:spPr>
            <p:txBody>
              <a:bodyPr rtlCol="0" anchor="ctr"/>
              <a:lstStyle/>
              <a:p>
                <a:endParaRPr lang="en-GB"/>
              </a:p>
            </p:txBody>
          </p:sp>
        </p:grpSp>
        <p:grpSp>
          <p:nvGrpSpPr>
            <p:cNvPr id="439" name="Graphic 3">
              <a:extLst>
                <a:ext uri="{FF2B5EF4-FFF2-40B4-BE49-F238E27FC236}">
                  <a16:creationId xmlns:a16="http://schemas.microsoft.com/office/drawing/2014/main" id="{B921F25D-7C66-4B0B-9861-3C098ACBD413}"/>
                </a:ext>
              </a:extLst>
            </p:cNvPr>
            <p:cNvGrpSpPr/>
            <p:nvPr/>
          </p:nvGrpSpPr>
          <p:grpSpPr>
            <a:xfrm>
              <a:off x="7416570" y="4395382"/>
              <a:ext cx="70438" cy="55998"/>
              <a:chOff x="7416570" y="4395382"/>
              <a:chExt cx="70438" cy="55998"/>
            </a:xfrm>
            <a:grpFill/>
          </p:grpSpPr>
          <p:sp>
            <p:nvSpPr>
              <p:cNvPr id="4068" name="Vrije vorm: vorm 4067">
                <a:extLst>
                  <a:ext uri="{FF2B5EF4-FFF2-40B4-BE49-F238E27FC236}">
                    <a16:creationId xmlns:a16="http://schemas.microsoft.com/office/drawing/2014/main" id="{67ABBB56-64CF-431B-892B-B71300D23741}"/>
                  </a:ext>
                </a:extLst>
              </p:cNvPr>
              <p:cNvSpPr/>
              <p:nvPr/>
            </p:nvSpPr>
            <p:spPr>
              <a:xfrm>
                <a:off x="7424487" y="4403047"/>
                <a:ext cx="54604" cy="40608"/>
              </a:xfrm>
              <a:custGeom>
                <a:avLst/>
                <a:gdLst>
                  <a:gd name="connsiteX0" fmla="*/ 54604 w 54604"/>
                  <a:gd name="connsiteY0" fmla="*/ 38097 h 40608"/>
                  <a:gd name="connsiteX1" fmla="*/ 52870 w 54604"/>
                  <a:gd name="connsiteY1" fmla="*/ 40609 h 40608"/>
                  <a:gd name="connsiteX2" fmla="*/ 0 w 54604"/>
                  <a:gd name="connsiteY2" fmla="*/ 2512 h 40608"/>
                  <a:gd name="connsiteX3" fmla="*/ 1735 w 54604"/>
                  <a:gd name="connsiteY3" fmla="*/ 0 h 40608"/>
                </a:gdLst>
                <a:ahLst/>
                <a:cxnLst>
                  <a:cxn ang="0">
                    <a:pos x="connsiteX0" y="connsiteY0"/>
                  </a:cxn>
                  <a:cxn ang="0">
                    <a:pos x="connsiteX1" y="connsiteY1"/>
                  </a:cxn>
                  <a:cxn ang="0">
                    <a:pos x="connsiteX2" y="connsiteY2"/>
                  </a:cxn>
                  <a:cxn ang="0">
                    <a:pos x="connsiteX3" y="connsiteY3"/>
                  </a:cxn>
                </a:cxnLst>
                <a:rect l="l" t="t" r="r" b="b"/>
                <a:pathLst>
                  <a:path w="54604" h="40608">
                    <a:moveTo>
                      <a:pt x="54604" y="38097"/>
                    </a:moveTo>
                    <a:lnTo>
                      <a:pt x="52870" y="40609"/>
                    </a:lnTo>
                    <a:lnTo>
                      <a:pt x="0" y="2512"/>
                    </a:lnTo>
                    <a:lnTo>
                      <a:pt x="1735" y="0"/>
                    </a:lnTo>
                    <a:close/>
                  </a:path>
                </a:pathLst>
              </a:custGeom>
              <a:grpFill/>
              <a:ln w="5978" cap="flat">
                <a:noFill/>
                <a:prstDash val="solid"/>
                <a:miter/>
              </a:ln>
            </p:spPr>
            <p:txBody>
              <a:bodyPr rtlCol="0" anchor="ctr"/>
              <a:lstStyle/>
              <a:p>
                <a:endParaRPr lang="en-GB"/>
              </a:p>
            </p:txBody>
          </p:sp>
          <p:sp>
            <p:nvSpPr>
              <p:cNvPr id="4069" name="Vrije vorm: vorm 4068">
                <a:extLst>
                  <a:ext uri="{FF2B5EF4-FFF2-40B4-BE49-F238E27FC236}">
                    <a16:creationId xmlns:a16="http://schemas.microsoft.com/office/drawing/2014/main" id="{99F9794F-A0C7-40CA-9DDE-52946FF3E0E6}"/>
                  </a:ext>
                </a:extLst>
              </p:cNvPr>
              <p:cNvSpPr/>
              <p:nvPr/>
            </p:nvSpPr>
            <p:spPr>
              <a:xfrm>
                <a:off x="7468663" y="4432941"/>
                <a:ext cx="18346" cy="18439"/>
              </a:xfrm>
              <a:custGeom>
                <a:avLst/>
                <a:gdLst>
                  <a:gd name="connsiteX0" fmla="*/ 14496 w 18346"/>
                  <a:gd name="connsiteY0" fmla="*/ 1744 h 18439"/>
                  <a:gd name="connsiteX1" fmla="*/ 16649 w 18346"/>
                  <a:gd name="connsiteY1" fmla="*/ 14603 h 18439"/>
                  <a:gd name="connsiteX2" fmla="*/ 3850 w 18346"/>
                  <a:gd name="connsiteY2" fmla="*/ 16696 h 18439"/>
                  <a:gd name="connsiteX3" fmla="*/ 1697 w 18346"/>
                  <a:gd name="connsiteY3" fmla="*/ 3837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8623" y="4734"/>
                      <a:pt x="19580" y="10476"/>
                      <a:pt x="16649" y="14603"/>
                    </a:cubicBezTo>
                    <a:cubicBezTo>
                      <a:pt x="13719" y="18729"/>
                      <a:pt x="7977" y="19686"/>
                      <a:pt x="3850" y="16696"/>
                    </a:cubicBezTo>
                    <a:cubicBezTo>
                      <a:pt x="-276" y="13705"/>
                      <a:pt x="-1233" y="7964"/>
                      <a:pt x="1697" y="3837"/>
                    </a:cubicBezTo>
                    <a:cubicBezTo>
                      <a:pt x="4688" y="-289"/>
                      <a:pt x="10369" y="-1247"/>
                      <a:pt x="14496" y="1744"/>
                    </a:cubicBezTo>
                    <a:close/>
                  </a:path>
                </a:pathLst>
              </a:custGeom>
              <a:grpFill/>
              <a:ln w="5978" cap="flat">
                <a:noFill/>
                <a:prstDash val="solid"/>
                <a:miter/>
              </a:ln>
            </p:spPr>
            <p:txBody>
              <a:bodyPr rtlCol="0" anchor="ctr"/>
              <a:lstStyle/>
              <a:p>
                <a:endParaRPr lang="en-GB"/>
              </a:p>
            </p:txBody>
          </p:sp>
          <p:sp>
            <p:nvSpPr>
              <p:cNvPr id="4070" name="Vrije vorm: vorm 4069">
                <a:extLst>
                  <a:ext uri="{FF2B5EF4-FFF2-40B4-BE49-F238E27FC236}">
                    <a16:creationId xmlns:a16="http://schemas.microsoft.com/office/drawing/2014/main" id="{B84E3F7F-001D-4C65-94A0-FA7FC2DF232D}"/>
                  </a:ext>
                </a:extLst>
              </p:cNvPr>
              <p:cNvSpPr/>
              <p:nvPr/>
            </p:nvSpPr>
            <p:spPr>
              <a:xfrm>
                <a:off x="7416570" y="4395382"/>
                <a:ext cx="18330" cy="18439"/>
              </a:xfrm>
              <a:custGeom>
                <a:avLst/>
                <a:gdLst>
                  <a:gd name="connsiteX0" fmla="*/ 14496 w 18330"/>
                  <a:gd name="connsiteY0" fmla="*/ 1744 h 18439"/>
                  <a:gd name="connsiteX1" fmla="*/ 1698 w 18330"/>
                  <a:gd name="connsiteY1" fmla="*/ 3837 h 18439"/>
                  <a:gd name="connsiteX2" fmla="*/ 3851 w 18330"/>
                  <a:gd name="connsiteY2" fmla="*/ 16696 h 18439"/>
                  <a:gd name="connsiteX3" fmla="*/ 16649 w 18330"/>
                  <a:gd name="connsiteY3" fmla="*/ 14602 h 18439"/>
                  <a:gd name="connsiteX4" fmla="*/ 14496 w 18330"/>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39">
                    <a:moveTo>
                      <a:pt x="14496" y="1744"/>
                    </a:moveTo>
                    <a:cubicBezTo>
                      <a:pt x="10369" y="-1246"/>
                      <a:pt x="4628" y="-290"/>
                      <a:pt x="1698" y="3837"/>
                    </a:cubicBezTo>
                    <a:cubicBezTo>
                      <a:pt x="-1233" y="7964"/>
                      <a:pt x="-277" y="13705"/>
                      <a:pt x="3851" y="16696"/>
                    </a:cubicBezTo>
                    <a:cubicBezTo>
                      <a:pt x="7977" y="19686"/>
                      <a:pt x="13719" y="18729"/>
                      <a:pt x="16649" y="14602"/>
                    </a:cubicBezTo>
                    <a:cubicBezTo>
                      <a:pt x="19580" y="10476"/>
                      <a:pt x="18563" y="4674"/>
                      <a:pt x="14496" y="1744"/>
                    </a:cubicBezTo>
                    <a:close/>
                  </a:path>
                </a:pathLst>
              </a:custGeom>
              <a:grpFill/>
              <a:ln w="5978" cap="flat">
                <a:noFill/>
                <a:prstDash val="solid"/>
                <a:miter/>
              </a:ln>
            </p:spPr>
            <p:txBody>
              <a:bodyPr rtlCol="0" anchor="ctr"/>
              <a:lstStyle/>
              <a:p>
                <a:endParaRPr lang="en-GB"/>
              </a:p>
            </p:txBody>
          </p:sp>
        </p:grpSp>
        <p:grpSp>
          <p:nvGrpSpPr>
            <p:cNvPr id="440" name="Graphic 3">
              <a:extLst>
                <a:ext uri="{FF2B5EF4-FFF2-40B4-BE49-F238E27FC236}">
                  <a16:creationId xmlns:a16="http://schemas.microsoft.com/office/drawing/2014/main" id="{0DA122E2-3E6F-4B09-A75B-FD1320C613F4}"/>
                </a:ext>
              </a:extLst>
            </p:cNvPr>
            <p:cNvGrpSpPr/>
            <p:nvPr/>
          </p:nvGrpSpPr>
          <p:grpSpPr>
            <a:xfrm>
              <a:off x="6433702" y="1500074"/>
              <a:ext cx="116728" cy="285507"/>
              <a:chOff x="6433702" y="1500074"/>
              <a:chExt cx="116728" cy="285507"/>
            </a:xfrm>
            <a:grpFill/>
          </p:grpSpPr>
          <p:sp>
            <p:nvSpPr>
              <p:cNvPr id="4065" name="Vrije vorm: vorm 4064">
                <a:extLst>
                  <a:ext uri="{FF2B5EF4-FFF2-40B4-BE49-F238E27FC236}">
                    <a16:creationId xmlns:a16="http://schemas.microsoft.com/office/drawing/2014/main" id="{3CBA70E5-5728-4F52-A271-EC90162EB7C6}"/>
                  </a:ext>
                </a:extLst>
              </p:cNvPr>
              <p:cNvSpPr/>
              <p:nvPr/>
            </p:nvSpPr>
            <p:spPr>
              <a:xfrm>
                <a:off x="6441317" y="1508318"/>
                <a:ext cx="101552" cy="269012"/>
              </a:xfrm>
              <a:custGeom>
                <a:avLst/>
                <a:gdLst>
                  <a:gd name="connsiteX0" fmla="*/ 101553 w 101552"/>
                  <a:gd name="connsiteY0" fmla="*/ 1076 h 269012"/>
                  <a:gd name="connsiteX1" fmla="*/ 2811 w 101552"/>
                  <a:gd name="connsiteY1" fmla="*/ 269013 h 269012"/>
                  <a:gd name="connsiteX2" fmla="*/ 0 w 101552"/>
                  <a:gd name="connsiteY2" fmla="*/ 267936 h 269012"/>
                  <a:gd name="connsiteX3" fmla="*/ 98682 w 101552"/>
                  <a:gd name="connsiteY3" fmla="*/ 0 h 269012"/>
                </a:gdLst>
                <a:ahLst/>
                <a:cxnLst>
                  <a:cxn ang="0">
                    <a:pos x="connsiteX0" y="connsiteY0"/>
                  </a:cxn>
                  <a:cxn ang="0">
                    <a:pos x="connsiteX1" y="connsiteY1"/>
                  </a:cxn>
                  <a:cxn ang="0">
                    <a:pos x="connsiteX2" y="connsiteY2"/>
                  </a:cxn>
                  <a:cxn ang="0">
                    <a:pos x="connsiteX3" y="connsiteY3"/>
                  </a:cxn>
                </a:cxnLst>
                <a:rect l="l" t="t" r="r" b="b"/>
                <a:pathLst>
                  <a:path w="101552" h="269012">
                    <a:moveTo>
                      <a:pt x="101553" y="1076"/>
                    </a:moveTo>
                    <a:lnTo>
                      <a:pt x="2811" y="269013"/>
                    </a:lnTo>
                    <a:lnTo>
                      <a:pt x="0" y="267936"/>
                    </a:lnTo>
                    <a:lnTo>
                      <a:pt x="98682" y="0"/>
                    </a:lnTo>
                    <a:close/>
                  </a:path>
                </a:pathLst>
              </a:custGeom>
              <a:grpFill/>
              <a:ln w="5978" cap="flat">
                <a:noFill/>
                <a:prstDash val="solid"/>
                <a:miter/>
              </a:ln>
            </p:spPr>
            <p:txBody>
              <a:bodyPr rtlCol="0" anchor="ctr"/>
              <a:lstStyle/>
              <a:p>
                <a:endParaRPr lang="en-GB"/>
              </a:p>
            </p:txBody>
          </p:sp>
          <p:sp>
            <p:nvSpPr>
              <p:cNvPr id="4066" name="Vrije vorm: vorm 4065">
                <a:extLst>
                  <a:ext uri="{FF2B5EF4-FFF2-40B4-BE49-F238E27FC236}">
                    <a16:creationId xmlns:a16="http://schemas.microsoft.com/office/drawing/2014/main" id="{9224BF67-4CE2-4D21-B94F-D45E7F7E04CF}"/>
                  </a:ext>
                </a:extLst>
              </p:cNvPr>
              <p:cNvSpPr/>
              <p:nvPr/>
            </p:nvSpPr>
            <p:spPr>
              <a:xfrm>
                <a:off x="6433702" y="1767166"/>
                <a:ext cx="18345" cy="18415"/>
              </a:xfrm>
              <a:custGeom>
                <a:avLst/>
                <a:gdLst>
                  <a:gd name="connsiteX0" fmla="*/ 17782 w 18345"/>
                  <a:gd name="connsiteY0" fmla="*/ 12438 h 18415"/>
                  <a:gd name="connsiteX1" fmla="*/ 6000 w 18345"/>
                  <a:gd name="connsiteY1" fmla="*/ 17820 h 18415"/>
                  <a:gd name="connsiteX2" fmla="*/ 557 w 18345"/>
                  <a:gd name="connsiteY2" fmla="*/ 5978 h 18415"/>
                  <a:gd name="connsiteX3" fmla="*/ 12339 w 18345"/>
                  <a:gd name="connsiteY3" fmla="*/ 596 h 18415"/>
                  <a:gd name="connsiteX4" fmla="*/ 17782 w 18345"/>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15">
                    <a:moveTo>
                      <a:pt x="17782" y="12438"/>
                    </a:moveTo>
                    <a:cubicBezTo>
                      <a:pt x="16047" y="17222"/>
                      <a:pt x="10784" y="19614"/>
                      <a:pt x="6000" y="17820"/>
                    </a:cubicBezTo>
                    <a:cubicBezTo>
                      <a:pt x="1275" y="16026"/>
                      <a:pt x="-1177" y="10703"/>
                      <a:pt x="557" y="5978"/>
                    </a:cubicBezTo>
                    <a:cubicBezTo>
                      <a:pt x="2291" y="1194"/>
                      <a:pt x="7555" y="-1198"/>
                      <a:pt x="12339" y="596"/>
                    </a:cubicBezTo>
                    <a:cubicBezTo>
                      <a:pt x="17124" y="2390"/>
                      <a:pt x="19516" y="7713"/>
                      <a:pt x="17782" y="12438"/>
                    </a:cubicBezTo>
                    <a:close/>
                  </a:path>
                </a:pathLst>
              </a:custGeom>
              <a:grpFill/>
              <a:ln w="5978" cap="flat">
                <a:noFill/>
                <a:prstDash val="solid"/>
                <a:miter/>
              </a:ln>
            </p:spPr>
            <p:txBody>
              <a:bodyPr rtlCol="0" anchor="ctr"/>
              <a:lstStyle/>
              <a:p>
                <a:endParaRPr lang="en-GB"/>
              </a:p>
            </p:txBody>
          </p:sp>
          <p:sp>
            <p:nvSpPr>
              <p:cNvPr id="4067" name="Vrije vorm: vorm 4066">
                <a:extLst>
                  <a:ext uri="{FF2B5EF4-FFF2-40B4-BE49-F238E27FC236}">
                    <a16:creationId xmlns:a16="http://schemas.microsoft.com/office/drawing/2014/main" id="{E35ED370-480F-4891-872F-DDC694AC6051}"/>
                  </a:ext>
                </a:extLst>
              </p:cNvPr>
              <p:cNvSpPr/>
              <p:nvPr/>
            </p:nvSpPr>
            <p:spPr>
              <a:xfrm>
                <a:off x="6532078" y="1500074"/>
                <a:ext cx="18352" cy="18408"/>
              </a:xfrm>
              <a:custGeom>
                <a:avLst/>
                <a:gdLst>
                  <a:gd name="connsiteX0" fmla="*/ 17789 w 18352"/>
                  <a:gd name="connsiteY0" fmla="*/ 12431 h 18408"/>
                  <a:gd name="connsiteX1" fmla="*/ 12346 w 18352"/>
                  <a:gd name="connsiteY1" fmla="*/ 589 h 18408"/>
                  <a:gd name="connsiteX2" fmla="*/ 564 w 18352"/>
                  <a:gd name="connsiteY2" fmla="*/ 5971 h 18408"/>
                  <a:gd name="connsiteX3" fmla="*/ 6006 w 18352"/>
                  <a:gd name="connsiteY3" fmla="*/ 17813 h 18408"/>
                  <a:gd name="connsiteX4" fmla="*/ 17789 w 18352"/>
                  <a:gd name="connsiteY4" fmla="*/ 1243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8">
                    <a:moveTo>
                      <a:pt x="17789" y="12431"/>
                    </a:moveTo>
                    <a:cubicBezTo>
                      <a:pt x="19523" y="7646"/>
                      <a:pt x="17130" y="2383"/>
                      <a:pt x="12346" y="589"/>
                    </a:cubicBezTo>
                    <a:cubicBezTo>
                      <a:pt x="7621" y="-1206"/>
                      <a:pt x="2298" y="1247"/>
                      <a:pt x="564" y="5971"/>
                    </a:cubicBezTo>
                    <a:cubicBezTo>
                      <a:pt x="-1171" y="10756"/>
                      <a:pt x="1222" y="16019"/>
                      <a:pt x="6006" y="17813"/>
                    </a:cubicBezTo>
                    <a:cubicBezTo>
                      <a:pt x="10791" y="19607"/>
                      <a:pt x="16054" y="17215"/>
                      <a:pt x="17789" y="12431"/>
                    </a:cubicBezTo>
                    <a:close/>
                  </a:path>
                </a:pathLst>
              </a:custGeom>
              <a:grpFill/>
              <a:ln w="5978" cap="flat">
                <a:noFill/>
                <a:prstDash val="solid"/>
                <a:miter/>
              </a:ln>
            </p:spPr>
            <p:txBody>
              <a:bodyPr rtlCol="0" anchor="ctr"/>
              <a:lstStyle/>
              <a:p>
                <a:endParaRPr lang="en-GB"/>
              </a:p>
            </p:txBody>
          </p:sp>
        </p:grpSp>
        <p:grpSp>
          <p:nvGrpSpPr>
            <p:cNvPr id="441" name="Graphic 3">
              <a:extLst>
                <a:ext uri="{FF2B5EF4-FFF2-40B4-BE49-F238E27FC236}">
                  <a16:creationId xmlns:a16="http://schemas.microsoft.com/office/drawing/2014/main" id="{C738F927-A880-48B5-817E-6D8B6B338719}"/>
                </a:ext>
              </a:extLst>
            </p:cNvPr>
            <p:cNvGrpSpPr/>
            <p:nvPr/>
          </p:nvGrpSpPr>
          <p:grpSpPr>
            <a:xfrm>
              <a:off x="6443559" y="1484882"/>
              <a:ext cx="36247" cy="101637"/>
              <a:chOff x="6443559" y="1484882"/>
              <a:chExt cx="36247" cy="101637"/>
            </a:xfrm>
            <a:grpFill/>
          </p:grpSpPr>
          <p:sp>
            <p:nvSpPr>
              <p:cNvPr id="4062" name="Vrije vorm: vorm 4061">
                <a:extLst>
                  <a:ext uri="{FF2B5EF4-FFF2-40B4-BE49-F238E27FC236}">
                    <a16:creationId xmlns:a16="http://schemas.microsoft.com/office/drawing/2014/main" id="{80E129A3-5E1A-40FA-BA46-B0E43ED42A3B}"/>
                  </a:ext>
                </a:extLst>
              </p:cNvPr>
              <p:cNvSpPr/>
              <p:nvPr/>
            </p:nvSpPr>
            <p:spPr>
              <a:xfrm>
                <a:off x="6451125" y="1493307"/>
                <a:ext cx="21111" cy="84746"/>
              </a:xfrm>
              <a:custGeom>
                <a:avLst/>
                <a:gdLst>
                  <a:gd name="connsiteX0" fmla="*/ 21112 w 21111"/>
                  <a:gd name="connsiteY0" fmla="*/ 658 h 84746"/>
                  <a:gd name="connsiteX1" fmla="*/ 2990 w 21111"/>
                  <a:gd name="connsiteY1" fmla="*/ 84747 h 84746"/>
                  <a:gd name="connsiteX2" fmla="*/ 0 w 21111"/>
                  <a:gd name="connsiteY2" fmla="*/ 84089 h 84746"/>
                  <a:gd name="connsiteX3" fmla="*/ 18181 w 21111"/>
                  <a:gd name="connsiteY3" fmla="*/ 0 h 84746"/>
                </a:gdLst>
                <a:ahLst/>
                <a:cxnLst>
                  <a:cxn ang="0">
                    <a:pos x="connsiteX0" y="connsiteY0"/>
                  </a:cxn>
                  <a:cxn ang="0">
                    <a:pos x="connsiteX1" y="connsiteY1"/>
                  </a:cxn>
                  <a:cxn ang="0">
                    <a:pos x="connsiteX2" y="connsiteY2"/>
                  </a:cxn>
                  <a:cxn ang="0">
                    <a:pos x="connsiteX3" y="connsiteY3"/>
                  </a:cxn>
                </a:cxnLst>
                <a:rect l="l" t="t" r="r" b="b"/>
                <a:pathLst>
                  <a:path w="21111" h="84746">
                    <a:moveTo>
                      <a:pt x="21112" y="658"/>
                    </a:moveTo>
                    <a:lnTo>
                      <a:pt x="2990" y="84747"/>
                    </a:lnTo>
                    <a:lnTo>
                      <a:pt x="0" y="84089"/>
                    </a:lnTo>
                    <a:lnTo>
                      <a:pt x="18181" y="0"/>
                    </a:lnTo>
                    <a:close/>
                  </a:path>
                </a:pathLst>
              </a:custGeom>
              <a:grpFill/>
              <a:ln w="5978" cap="flat">
                <a:noFill/>
                <a:prstDash val="solid"/>
                <a:miter/>
              </a:ln>
            </p:spPr>
            <p:txBody>
              <a:bodyPr rtlCol="0" anchor="ctr"/>
              <a:lstStyle/>
              <a:p>
                <a:endParaRPr lang="en-GB"/>
              </a:p>
            </p:txBody>
          </p:sp>
          <p:sp>
            <p:nvSpPr>
              <p:cNvPr id="4063" name="Vrije vorm: vorm 4062">
                <a:extLst>
                  <a:ext uri="{FF2B5EF4-FFF2-40B4-BE49-F238E27FC236}">
                    <a16:creationId xmlns:a16="http://schemas.microsoft.com/office/drawing/2014/main" id="{DB442AB3-DFAF-4704-A1E5-B5E529AE76B2}"/>
                  </a:ext>
                </a:extLst>
              </p:cNvPr>
              <p:cNvSpPr/>
              <p:nvPr/>
            </p:nvSpPr>
            <p:spPr>
              <a:xfrm>
                <a:off x="6461501" y="1484882"/>
                <a:ext cx="18305" cy="18463"/>
              </a:xfrm>
              <a:custGeom>
                <a:avLst/>
                <a:gdLst>
                  <a:gd name="connsiteX0" fmla="*/ 210 w 18305"/>
                  <a:gd name="connsiteY0" fmla="*/ 7228 h 18463"/>
                  <a:gd name="connsiteX1" fmla="*/ 11095 w 18305"/>
                  <a:gd name="connsiteY1" fmla="*/ 231 h 18463"/>
                  <a:gd name="connsiteX2" fmla="*/ 18093 w 18305"/>
                  <a:gd name="connsiteY2" fmla="*/ 11236 h 18463"/>
                  <a:gd name="connsiteX3" fmla="*/ 7208 w 18305"/>
                  <a:gd name="connsiteY3" fmla="*/ 18233 h 18463"/>
                  <a:gd name="connsiteX4" fmla="*/ 210 w 18305"/>
                  <a:gd name="connsiteY4" fmla="*/ 7228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63">
                    <a:moveTo>
                      <a:pt x="210" y="7228"/>
                    </a:moveTo>
                    <a:cubicBezTo>
                      <a:pt x="1287" y="2264"/>
                      <a:pt x="6191" y="-905"/>
                      <a:pt x="11095" y="231"/>
                    </a:cubicBezTo>
                    <a:cubicBezTo>
                      <a:pt x="16059" y="1308"/>
                      <a:pt x="19169" y="6272"/>
                      <a:pt x="18093" y="11236"/>
                    </a:cubicBezTo>
                    <a:cubicBezTo>
                      <a:pt x="17016" y="16200"/>
                      <a:pt x="12112" y="19369"/>
                      <a:pt x="7208" y="18233"/>
                    </a:cubicBezTo>
                    <a:cubicBezTo>
                      <a:pt x="2304" y="17097"/>
                      <a:pt x="-866" y="12192"/>
                      <a:pt x="210" y="7228"/>
                    </a:cubicBezTo>
                    <a:close/>
                  </a:path>
                </a:pathLst>
              </a:custGeom>
              <a:grpFill/>
              <a:ln w="5978" cap="flat">
                <a:noFill/>
                <a:prstDash val="solid"/>
                <a:miter/>
              </a:ln>
            </p:spPr>
            <p:txBody>
              <a:bodyPr rtlCol="0" anchor="ctr"/>
              <a:lstStyle/>
              <a:p>
                <a:endParaRPr lang="en-GB"/>
              </a:p>
            </p:txBody>
          </p:sp>
          <p:sp>
            <p:nvSpPr>
              <p:cNvPr id="4064" name="Vrije vorm: vorm 4063">
                <a:extLst>
                  <a:ext uri="{FF2B5EF4-FFF2-40B4-BE49-F238E27FC236}">
                    <a16:creationId xmlns:a16="http://schemas.microsoft.com/office/drawing/2014/main" id="{3E8BB913-2233-45DF-AAD5-F63098CF70E1}"/>
                  </a:ext>
                </a:extLst>
              </p:cNvPr>
              <p:cNvSpPr/>
              <p:nvPr/>
            </p:nvSpPr>
            <p:spPr>
              <a:xfrm>
                <a:off x="6443559" y="1568074"/>
                <a:ext cx="18302" cy="18445"/>
              </a:xfrm>
              <a:custGeom>
                <a:avLst/>
                <a:gdLst>
                  <a:gd name="connsiteX0" fmla="*/ 210 w 18302"/>
                  <a:gd name="connsiteY0" fmla="*/ 7228 h 18445"/>
                  <a:gd name="connsiteX1" fmla="*/ 7208 w 18302"/>
                  <a:gd name="connsiteY1" fmla="*/ 18233 h 18445"/>
                  <a:gd name="connsiteX2" fmla="*/ 18093 w 18302"/>
                  <a:gd name="connsiteY2" fmla="*/ 11236 h 18445"/>
                  <a:gd name="connsiteX3" fmla="*/ 11095 w 18302"/>
                  <a:gd name="connsiteY3" fmla="*/ 231 h 18445"/>
                  <a:gd name="connsiteX4" fmla="*/ 210 w 18302"/>
                  <a:gd name="connsiteY4" fmla="*/ 72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45">
                    <a:moveTo>
                      <a:pt x="210" y="7228"/>
                    </a:moveTo>
                    <a:cubicBezTo>
                      <a:pt x="-866" y="12192"/>
                      <a:pt x="2304" y="17097"/>
                      <a:pt x="7208" y="18233"/>
                    </a:cubicBezTo>
                    <a:cubicBezTo>
                      <a:pt x="12172" y="19310"/>
                      <a:pt x="17016" y="16200"/>
                      <a:pt x="18093" y="11236"/>
                    </a:cubicBezTo>
                    <a:cubicBezTo>
                      <a:pt x="19169" y="6272"/>
                      <a:pt x="15999" y="1367"/>
                      <a:pt x="11095" y="231"/>
                    </a:cubicBezTo>
                    <a:cubicBezTo>
                      <a:pt x="6131" y="-905"/>
                      <a:pt x="1287" y="2264"/>
                      <a:pt x="210" y="7228"/>
                    </a:cubicBezTo>
                    <a:close/>
                  </a:path>
                </a:pathLst>
              </a:custGeom>
              <a:grpFill/>
              <a:ln w="5978" cap="flat">
                <a:noFill/>
                <a:prstDash val="solid"/>
                <a:miter/>
              </a:ln>
            </p:spPr>
            <p:txBody>
              <a:bodyPr rtlCol="0" anchor="ctr"/>
              <a:lstStyle/>
              <a:p>
                <a:endParaRPr lang="en-GB"/>
              </a:p>
            </p:txBody>
          </p:sp>
        </p:grpSp>
        <p:grpSp>
          <p:nvGrpSpPr>
            <p:cNvPr id="442" name="Graphic 3">
              <a:extLst>
                <a:ext uri="{FF2B5EF4-FFF2-40B4-BE49-F238E27FC236}">
                  <a16:creationId xmlns:a16="http://schemas.microsoft.com/office/drawing/2014/main" id="{A3ED96AB-30D8-4867-82AD-8BBAD26A1D24}"/>
                </a:ext>
              </a:extLst>
            </p:cNvPr>
            <p:cNvGrpSpPr/>
            <p:nvPr/>
          </p:nvGrpSpPr>
          <p:grpSpPr>
            <a:xfrm>
              <a:off x="6498627" y="1663054"/>
              <a:ext cx="45941" cy="118688"/>
              <a:chOff x="6498627" y="1663054"/>
              <a:chExt cx="45941" cy="118688"/>
            </a:xfrm>
            <a:grpFill/>
          </p:grpSpPr>
          <p:sp>
            <p:nvSpPr>
              <p:cNvPr id="4059" name="Vrije vorm: vorm 4058">
                <a:extLst>
                  <a:ext uri="{FF2B5EF4-FFF2-40B4-BE49-F238E27FC236}">
                    <a16:creationId xmlns:a16="http://schemas.microsoft.com/office/drawing/2014/main" id="{BE1C3DE6-99A5-4E6A-A069-D2B7899A7202}"/>
                  </a:ext>
                </a:extLst>
              </p:cNvPr>
              <p:cNvSpPr/>
              <p:nvPr/>
            </p:nvSpPr>
            <p:spPr>
              <a:xfrm>
                <a:off x="6506208" y="1671472"/>
                <a:ext cx="30741" cy="101911"/>
              </a:xfrm>
              <a:custGeom>
                <a:avLst/>
                <a:gdLst>
                  <a:gd name="connsiteX0" fmla="*/ 30741 w 30741"/>
                  <a:gd name="connsiteY0" fmla="*/ 778 h 101911"/>
                  <a:gd name="connsiteX1" fmla="*/ 2931 w 30741"/>
                  <a:gd name="connsiteY1" fmla="*/ 101911 h 101911"/>
                  <a:gd name="connsiteX2" fmla="*/ 0 w 30741"/>
                  <a:gd name="connsiteY2" fmla="*/ 101134 h 101911"/>
                  <a:gd name="connsiteX3" fmla="*/ 27811 w 30741"/>
                  <a:gd name="connsiteY3" fmla="*/ 0 h 101911"/>
                </a:gdLst>
                <a:ahLst/>
                <a:cxnLst>
                  <a:cxn ang="0">
                    <a:pos x="connsiteX0" y="connsiteY0"/>
                  </a:cxn>
                  <a:cxn ang="0">
                    <a:pos x="connsiteX1" y="connsiteY1"/>
                  </a:cxn>
                  <a:cxn ang="0">
                    <a:pos x="connsiteX2" y="connsiteY2"/>
                  </a:cxn>
                  <a:cxn ang="0">
                    <a:pos x="connsiteX3" y="connsiteY3"/>
                  </a:cxn>
                </a:cxnLst>
                <a:rect l="l" t="t" r="r" b="b"/>
                <a:pathLst>
                  <a:path w="30741" h="101911">
                    <a:moveTo>
                      <a:pt x="30741" y="778"/>
                    </a:moveTo>
                    <a:lnTo>
                      <a:pt x="2931" y="101911"/>
                    </a:lnTo>
                    <a:lnTo>
                      <a:pt x="0" y="101134"/>
                    </a:lnTo>
                    <a:lnTo>
                      <a:pt x="27811" y="0"/>
                    </a:lnTo>
                    <a:close/>
                  </a:path>
                </a:pathLst>
              </a:custGeom>
              <a:grpFill/>
              <a:ln w="5978" cap="flat">
                <a:noFill/>
                <a:prstDash val="solid"/>
                <a:miter/>
              </a:ln>
            </p:spPr>
            <p:txBody>
              <a:bodyPr rtlCol="0" anchor="ctr"/>
              <a:lstStyle/>
              <a:p>
                <a:endParaRPr lang="en-GB"/>
              </a:p>
            </p:txBody>
          </p:sp>
          <p:sp>
            <p:nvSpPr>
              <p:cNvPr id="4060" name="Vrije vorm: vorm 4059">
                <a:extLst>
                  <a:ext uri="{FF2B5EF4-FFF2-40B4-BE49-F238E27FC236}">
                    <a16:creationId xmlns:a16="http://schemas.microsoft.com/office/drawing/2014/main" id="{F8A2ABB1-F603-400A-8F04-B5F1D9086A61}"/>
                  </a:ext>
                </a:extLst>
              </p:cNvPr>
              <p:cNvSpPr/>
              <p:nvPr/>
            </p:nvSpPr>
            <p:spPr>
              <a:xfrm>
                <a:off x="6526219" y="1663054"/>
                <a:ext cx="18349" cy="18451"/>
              </a:xfrm>
              <a:custGeom>
                <a:avLst/>
                <a:gdLst>
                  <a:gd name="connsiteX0" fmla="*/ 323 w 18349"/>
                  <a:gd name="connsiteY0" fmla="*/ 6744 h 18451"/>
                  <a:gd name="connsiteX1" fmla="*/ 11627 w 18349"/>
                  <a:gd name="connsiteY1" fmla="*/ 344 h 18451"/>
                  <a:gd name="connsiteX2" fmla="*/ 18026 w 18349"/>
                  <a:gd name="connsiteY2" fmla="*/ 11708 h 18451"/>
                  <a:gd name="connsiteX3" fmla="*/ 6723 w 18349"/>
                  <a:gd name="connsiteY3" fmla="*/ 18107 h 18451"/>
                  <a:gd name="connsiteX4" fmla="*/ 323 w 18349"/>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1">
                    <a:moveTo>
                      <a:pt x="323" y="6744"/>
                    </a:moveTo>
                    <a:cubicBezTo>
                      <a:pt x="1699" y="1839"/>
                      <a:pt x="6723" y="-1031"/>
                      <a:pt x="11627" y="344"/>
                    </a:cubicBezTo>
                    <a:cubicBezTo>
                      <a:pt x="16531" y="1720"/>
                      <a:pt x="19342" y="6803"/>
                      <a:pt x="18026" y="11708"/>
                    </a:cubicBezTo>
                    <a:cubicBezTo>
                      <a:pt x="16651" y="16612"/>
                      <a:pt x="11627" y="19483"/>
                      <a:pt x="6723" y="18107"/>
                    </a:cubicBezTo>
                    <a:cubicBezTo>
                      <a:pt x="1819" y="16731"/>
                      <a:pt x="-992" y="11648"/>
                      <a:pt x="323" y="6744"/>
                    </a:cubicBezTo>
                    <a:close/>
                  </a:path>
                </a:pathLst>
              </a:custGeom>
              <a:grpFill/>
              <a:ln w="5978" cap="flat">
                <a:noFill/>
                <a:prstDash val="solid"/>
                <a:miter/>
              </a:ln>
            </p:spPr>
            <p:txBody>
              <a:bodyPr rtlCol="0" anchor="ctr"/>
              <a:lstStyle/>
              <a:p>
                <a:endParaRPr lang="en-GB"/>
              </a:p>
            </p:txBody>
          </p:sp>
          <p:sp>
            <p:nvSpPr>
              <p:cNvPr id="4061" name="Vrije vorm: vorm 4060">
                <a:extLst>
                  <a:ext uri="{FF2B5EF4-FFF2-40B4-BE49-F238E27FC236}">
                    <a16:creationId xmlns:a16="http://schemas.microsoft.com/office/drawing/2014/main" id="{0772D8F9-419A-4A9F-9142-CCBCDE34F5B1}"/>
                  </a:ext>
                </a:extLst>
              </p:cNvPr>
              <p:cNvSpPr/>
              <p:nvPr/>
            </p:nvSpPr>
            <p:spPr>
              <a:xfrm>
                <a:off x="6498627" y="1763312"/>
                <a:ext cx="18391" cy="18430"/>
              </a:xfrm>
              <a:custGeom>
                <a:avLst/>
                <a:gdLst>
                  <a:gd name="connsiteX0" fmla="*/ 344 w 18391"/>
                  <a:gd name="connsiteY0" fmla="*/ 6723 h 18430"/>
                  <a:gd name="connsiteX1" fmla="*/ 6744 w 18391"/>
                  <a:gd name="connsiteY1" fmla="*/ 18086 h 18430"/>
                  <a:gd name="connsiteX2" fmla="*/ 18047 w 18391"/>
                  <a:gd name="connsiteY2" fmla="*/ 11687 h 18430"/>
                  <a:gd name="connsiteX3" fmla="*/ 11648 w 18391"/>
                  <a:gd name="connsiteY3" fmla="*/ 323 h 18430"/>
                  <a:gd name="connsiteX4" fmla="*/ 344 w 18391"/>
                  <a:gd name="connsiteY4" fmla="*/ 672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30">
                    <a:moveTo>
                      <a:pt x="344" y="6723"/>
                    </a:moveTo>
                    <a:cubicBezTo>
                      <a:pt x="-1031" y="11627"/>
                      <a:pt x="1840" y="16711"/>
                      <a:pt x="6744" y="18086"/>
                    </a:cubicBezTo>
                    <a:cubicBezTo>
                      <a:pt x="11648" y="19462"/>
                      <a:pt x="16672" y="16591"/>
                      <a:pt x="18047" y="11687"/>
                    </a:cubicBezTo>
                    <a:cubicBezTo>
                      <a:pt x="19423" y="6783"/>
                      <a:pt x="16552" y="1699"/>
                      <a:pt x="11648" y="323"/>
                    </a:cubicBezTo>
                    <a:cubicBezTo>
                      <a:pt x="6744" y="-992"/>
                      <a:pt x="1660" y="1819"/>
                      <a:pt x="344" y="6723"/>
                    </a:cubicBezTo>
                    <a:close/>
                  </a:path>
                </a:pathLst>
              </a:custGeom>
              <a:grpFill/>
              <a:ln w="5978" cap="flat">
                <a:noFill/>
                <a:prstDash val="solid"/>
                <a:miter/>
              </a:ln>
            </p:spPr>
            <p:txBody>
              <a:bodyPr rtlCol="0" anchor="ctr"/>
              <a:lstStyle/>
              <a:p>
                <a:endParaRPr lang="en-GB"/>
              </a:p>
            </p:txBody>
          </p:sp>
        </p:grpSp>
        <p:grpSp>
          <p:nvGrpSpPr>
            <p:cNvPr id="443" name="Graphic 3">
              <a:extLst>
                <a:ext uri="{FF2B5EF4-FFF2-40B4-BE49-F238E27FC236}">
                  <a16:creationId xmlns:a16="http://schemas.microsoft.com/office/drawing/2014/main" id="{6B7814D6-920A-448C-B143-5230DDBF1BF2}"/>
                </a:ext>
              </a:extLst>
            </p:cNvPr>
            <p:cNvGrpSpPr/>
            <p:nvPr/>
          </p:nvGrpSpPr>
          <p:grpSpPr>
            <a:xfrm>
              <a:off x="7499898" y="4774595"/>
              <a:ext cx="173909" cy="164658"/>
              <a:chOff x="7499898" y="4774595"/>
              <a:chExt cx="173909" cy="164658"/>
            </a:xfrm>
            <a:grpFill/>
          </p:grpSpPr>
          <p:sp>
            <p:nvSpPr>
              <p:cNvPr id="4056" name="Vrije vorm: vorm 4055">
                <a:extLst>
                  <a:ext uri="{FF2B5EF4-FFF2-40B4-BE49-F238E27FC236}">
                    <a16:creationId xmlns:a16="http://schemas.microsoft.com/office/drawing/2014/main" id="{87A705C4-2997-4CC8-854A-198C15BFC265}"/>
                  </a:ext>
                </a:extLst>
              </p:cNvPr>
              <p:cNvSpPr/>
              <p:nvPr/>
            </p:nvSpPr>
            <p:spPr>
              <a:xfrm>
                <a:off x="7507680" y="4782344"/>
                <a:ext cx="158369" cy="149159"/>
              </a:xfrm>
              <a:custGeom>
                <a:avLst/>
                <a:gdLst>
                  <a:gd name="connsiteX0" fmla="*/ 158369 w 158369"/>
                  <a:gd name="connsiteY0" fmla="*/ 146887 h 149159"/>
                  <a:gd name="connsiteX1" fmla="*/ 156276 w 158369"/>
                  <a:gd name="connsiteY1" fmla="*/ 149159 h 149159"/>
                  <a:gd name="connsiteX2" fmla="*/ 0 w 158369"/>
                  <a:gd name="connsiteY2" fmla="*/ 2273 h 149159"/>
                  <a:gd name="connsiteX3" fmla="*/ 2093 w 158369"/>
                  <a:gd name="connsiteY3" fmla="*/ 0 h 149159"/>
                </a:gdLst>
                <a:ahLst/>
                <a:cxnLst>
                  <a:cxn ang="0">
                    <a:pos x="connsiteX0" y="connsiteY0"/>
                  </a:cxn>
                  <a:cxn ang="0">
                    <a:pos x="connsiteX1" y="connsiteY1"/>
                  </a:cxn>
                  <a:cxn ang="0">
                    <a:pos x="connsiteX2" y="connsiteY2"/>
                  </a:cxn>
                  <a:cxn ang="0">
                    <a:pos x="connsiteX3" y="connsiteY3"/>
                  </a:cxn>
                </a:cxnLst>
                <a:rect l="l" t="t" r="r" b="b"/>
                <a:pathLst>
                  <a:path w="158369" h="149159">
                    <a:moveTo>
                      <a:pt x="158369" y="146887"/>
                    </a:moveTo>
                    <a:lnTo>
                      <a:pt x="156276" y="149159"/>
                    </a:lnTo>
                    <a:lnTo>
                      <a:pt x="0" y="2273"/>
                    </a:lnTo>
                    <a:lnTo>
                      <a:pt x="2093" y="0"/>
                    </a:lnTo>
                    <a:close/>
                  </a:path>
                </a:pathLst>
              </a:custGeom>
              <a:grpFill/>
              <a:ln w="5978" cap="flat">
                <a:noFill/>
                <a:prstDash val="solid"/>
                <a:miter/>
              </a:ln>
            </p:spPr>
            <p:txBody>
              <a:bodyPr rtlCol="0" anchor="ctr"/>
              <a:lstStyle/>
              <a:p>
                <a:endParaRPr lang="en-GB"/>
              </a:p>
            </p:txBody>
          </p:sp>
          <p:sp>
            <p:nvSpPr>
              <p:cNvPr id="4057" name="Vrije vorm: vorm 4056">
                <a:extLst>
                  <a:ext uri="{FF2B5EF4-FFF2-40B4-BE49-F238E27FC236}">
                    <a16:creationId xmlns:a16="http://schemas.microsoft.com/office/drawing/2014/main" id="{BC66B2EF-5A49-4095-95CE-C1AFB743E98A}"/>
                  </a:ext>
                </a:extLst>
              </p:cNvPr>
              <p:cNvSpPr/>
              <p:nvPr/>
            </p:nvSpPr>
            <p:spPr>
              <a:xfrm>
                <a:off x="7655480" y="4920823"/>
                <a:ext cx="18327" cy="18429"/>
              </a:xfrm>
              <a:custGeom>
                <a:avLst/>
                <a:gdLst>
                  <a:gd name="connsiteX0" fmla="*/ 15414 w 18327"/>
                  <a:gd name="connsiteY0" fmla="*/ 2487 h 18429"/>
                  <a:gd name="connsiteX1" fmla="*/ 15892 w 18327"/>
                  <a:gd name="connsiteY1" fmla="*/ 15525 h 18429"/>
                  <a:gd name="connsiteX2" fmla="*/ 2914 w 18327"/>
                  <a:gd name="connsiteY2" fmla="*/ 15943 h 18429"/>
                  <a:gd name="connsiteX3" fmla="*/ 2435 w 18327"/>
                  <a:gd name="connsiteY3" fmla="*/ 2905 h 18429"/>
                  <a:gd name="connsiteX4" fmla="*/ 15414 w 18327"/>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5414" y="2487"/>
                    </a:moveTo>
                    <a:cubicBezTo>
                      <a:pt x="19122" y="5956"/>
                      <a:pt x="19301" y="11817"/>
                      <a:pt x="15892" y="15525"/>
                    </a:cubicBezTo>
                    <a:cubicBezTo>
                      <a:pt x="12423" y="19233"/>
                      <a:pt x="6622" y="19412"/>
                      <a:pt x="2914" y="15943"/>
                    </a:cubicBezTo>
                    <a:cubicBezTo>
                      <a:pt x="-795" y="12474"/>
                      <a:pt x="-973" y="6613"/>
                      <a:pt x="2435" y="2905"/>
                    </a:cubicBezTo>
                    <a:cubicBezTo>
                      <a:pt x="5905" y="-803"/>
                      <a:pt x="11706" y="-982"/>
                      <a:pt x="15414" y="2487"/>
                    </a:cubicBezTo>
                    <a:close/>
                  </a:path>
                </a:pathLst>
              </a:custGeom>
              <a:grpFill/>
              <a:ln w="5978" cap="flat">
                <a:noFill/>
                <a:prstDash val="solid"/>
                <a:miter/>
              </a:ln>
            </p:spPr>
            <p:txBody>
              <a:bodyPr rtlCol="0" anchor="ctr"/>
              <a:lstStyle/>
              <a:p>
                <a:endParaRPr lang="en-GB"/>
              </a:p>
            </p:txBody>
          </p:sp>
          <p:sp>
            <p:nvSpPr>
              <p:cNvPr id="4058" name="Vrije vorm: vorm 4057">
                <a:extLst>
                  <a:ext uri="{FF2B5EF4-FFF2-40B4-BE49-F238E27FC236}">
                    <a16:creationId xmlns:a16="http://schemas.microsoft.com/office/drawing/2014/main" id="{9752FF2A-4ED4-4CEA-BE64-8875A315BB6C}"/>
                  </a:ext>
                </a:extLst>
              </p:cNvPr>
              <p:cNvSpPr/>
              <p:nvPr/>
            </p:nvSpPr>
            <p:spPr>
              <a:xfrm>
                <a:off x="7499898" y="4774595"/>
                <a:ext cx="18350" cy="18430"/>
              </a:xfrm>
              <a:custGeom>
                <a:avLst/>
                <a:gdLst>
                  <a:gd name="connsiteX0" fmla="*/ 15437 w 18350"/>
                  <a:gd name="connsiteY0" fmla="*/ 2487 h 18430"/>
                  <a:gd name="connsiteX1" fmla="*/ 2458 w 18350"/>
                  <a:gd name="connsiteY1" fmla="*/ 2905 h 18430"/>
                  <a:gd name="connsiteX2" fmla="*/ 2937 w 18350"/>
                  <a:gd name="connsiteY2" fmla="*/ 15943 h 18430"/>
                  <a:gd name="connsiteX3" fmla="*/ 15915 w 18350"/>
                  <a:gd name="connsiteY3" fmla="*/ 15525 h 18430"/>
                  <a:gd name="connsiteX4" fmla="*/ 15437 w 18350"/>
                  <a:gd name="connsiteY4" fmla="*/ 24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0">
                    <a:moveTo>
                      <a:pt x="15437" y="2487"/>
                    </a:moveTo>
                    <a:cubicBezTo>
                      <a:pt x="11729" y="-982"/>
                      <a:pt x="5928" y="-803"/>
                      <a:pt x="2458" y="2905"/>
                    </a:cubicBezTo>
                    <a:cubicBezTo>
                      <a:pt x="-1010" y="6613"/>
                      <a:pt x="-771" y="12475"/>
                      <a:pt x="2937" y="15943"/>
                    </a:cubicBezTo>
                    <a:cubicBezTo>
                      <a:pt x="6645" y="19412"/>
                      <a:pt x="12447" y="19233"/>
                      <a:pt x="15915" y="15525"/>
                    </a:cubicBezTo>
                    <a:cubicBezTo>
                      <a:pt x="19325" y="11816"/>
                      <a:pt x="19145" y="5955"/>
                      <a:pt x="15437" y="2487"/>
                    </a:cubicBezTo>
                    <a:close/>
                  </a:path>
                </a:pathLst>
              </a:custGeom>
              <a:grpFill/>
              <a:ln w="5978" cap="flat">
                <a:noFill/>
                <a:prstDash val="solid"/>
                <a:miter/>
              </a:ln>
            </p:spPr>
            <p:txBody>
              <a:bodyPr rtlCol="0" anchor="ctr"/>
              <a:lstStyle/>
              <a:p>
                <a:endParaRPr lang="en-GB"/>
              </a:p>
            </p:txBody>
          </p:sp>
        </p:grpSp>
        <p:grpSp>
          <p:nvGrpSpPr>
            <p:cNvPr id="444" name="Graphic 3">
              <a:extLst>
                <a:ext uri="{FF2B5EF4-FFF2-40B4-BE49-F238E27FC236}">
                  <a16:creationId xmlns:a16="http://schemas.microsoft.com/office/drawing/2014/main" id="{61638ED9-046C-42D2-9B5B-9C046A65EF2B}"/>
                </a:ext>
              </a:extLst>
            </p:cNvPr>
            <p:cNvGrpSpPr/>
            <p:nvPr/>
          </p:nvGrpSpPr>
          <p:grpSpPr>
            <a:xfrm>
              <a:off x="7400809" y="4422801"/>
              <a:ext cx="105849" cy="84054"/>
              <a:chOff x="7400809" y="4422801"/>
              <a:chExt cx="105849" cy="84054"/>
            </a:xfrm>
            <a:grpFill/>
          </p:grpSpPr>
          <p:sp>
            <p:nvSpPr>
              <p:cNvPr id="4053" name="Vrije vorm: vorm 4052">
                <a:extLst>
                  <a:ext uri="{FF2B5EF4-FFF2-40B4-BE49-F238E27FC236}">
                    <a16:creationId xmlns:a16="http://schemas.microsoft.com/office/drawing/2014/main" id="{1014B792-7CAB-4E90-ABAE-523687ECCA05}"/>
                  </a:ext>
                </a:extLst>
              </p:cNvPr>
              <p:cNvSpPr/>
              <p:nvPr/>
            </p:nvSpPr>
            <p:spPr>
              <a:xfrm>
                <a:off x="7408639" y="4430499"/>
                <a:ext cx="90129" cy="68598"/>
              </a:xfrm>
              <a:custGeom>
                <a:avLst/>
                <a:gdLst>
                  <a:gd name="connsiteX0" fmla="*/ 90129 w 90129"/>
                  <a:gd name="connsiteY0" fmla="*/ 66147 h 68598"/>
                  <a:gd name="connsiteX1" fmla="*/ 88276 w 90129"/>
                  <a:gd name="connsiteY1" fmla="*/ 68599 h 68598"/>
                  <a:gd name="connsiteX2" fmla="*/ 0 w 90129"/>
                  <a:gd name="connsiteY2" fmla="*/ 2452 h 68598"/>
                  <a:gd name="connsiteX3" fmla="*/ 1794 w 90129"/>
                  <a:gd name="connsiteY3" fmla="*/ 0 h 68598"/>
                </a:gdLst>
                <a:ahLst/>
                <a:cxnLst>
                  <a:cxn ang="0">
                    <a:pos x="connsiteX0" y="connsiteY0"/>
                  </a:cxn>
                  <a:cxn ang="0">
                    <a:pos x="connsiteX1" y="connsiteY1"/>
                  </a:cxn>
                  <a:cxn ang="0">
                    <a:pos x="connsiteX2" y="connsiteY2"/>
                  </a:cxn>
                  <a:cxn ang="0">
                    <a:pos x="connsiteX3" y="connsiteY3"/>
                  </a:cxn>
                </a:cxnLst>
                <a:rect l="l" t="t" r="r" b="b"/>
                <a:pathLst>
                  <a:path w="90129" h="68598">
                    <a:moveTo>
                      <a:pt x="90129" y="66147"/>
                    </a:moveTo>
                    <a:lnTo>
                      <a:pt x="88276" y="68599"/>
                    </a:lnTo>
                    <a:lnTo>
                      <a:pt x="0" y="2452"/>
                    </a:lnTo>
                    <a:lnTo>
                      <a:pt x="1794" y="0"/>
                    </a:lnTo>
                    <a:close/>
                  </a:path>
                </a:pathLst>
              </a:custGeom>
              <a:grpFill/>
              <a:ln w="5978" cap="flat">
                <a:noFill/>
                <a:prstDash val="solid"/>
                <a:miter/>
              </a:ln>
            </p:spPr>
            <p:txBody>
              <a:bodyPr rtlCol="0" anchor="ctr"/>
              <a:lstStyle/>
              <a:p>
                <a:endParaRPr lang="en-GB"/>
              </a:p>
            </p:txBody>
          </p:sp>
          <p:sp>
            <p:nvSpPr>
              <p:cNvPr id="4054" name="Vrije vorm: vorm 4053">
                <a:extLst>
                  <a:ext uri="{FF2B5EF4-FFF2-40B4-BE49-F238E27FC236}">
                    <a16:creationId xmlns:a16="http://schemas.microsoft.com/office/drawing/2014/main" id="{98DD74B2-0B97-4232-830F-ECD7F1ACEB8E}"/>
                  </a:ext>
                </a:extLst>
              </p:cNvPr>
              <p:cNvSpPr/>
              <p:nvPr/>
            </p:nvSpPr>
            <p:spPr>
              <a:xfrm>
                <a:off x="7488367" y="4488409"/>
                <a:ext cx="18291" cy="18445"/>
              </a:xfrm>
              <a:custGeom>
                <a:avLst/>
                <a:gdLst>
                  <a:gd name="connsiteX0" fmla="*/ 14588 w 18291"/>
                  <a:gd name="connsiteY0" fmla="*/ 1837 h 18445"/>
                  <a:gd name="connsiteX1" fmla="*/ 16502 w 18291"/>
                  <a:gd name="connsiteY1" fmla="*/ 14755 h 18445"/>
                  <a:gd name="connsiteX2" fmla="*/ 3703 w 18291"/>
                  <a:gd name="connsiteY2" fmla="*/ 16609 h 18445"/>
                  <a:gd name="connsiteX3" fmla="*/ 1790 w 18291"/>
                  <a:gd name="connsiteY3" fmla="*/ 3691 h 18445"/>
                  <a:gd name="connsiteX4" fmla="*/ 14588 w 18291"/>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4588" y="1837"/>
                    </a:moveTo>
                    <a:cubicBezTo>
                      <a:pt x="18655" y="4887"/>
                      <a:pt x="19492" y="10628"/>
                      <a:pt x="16502" y="14755"/>
                    </a:cubicBezTo>
                    <a:cubicBezTo>
                      <a:pt x="13512" y="18822"/>
                      <a:pt x="7770" y="19659"/>
                      <a:pt x="3703" y="16609"/>
                    </a:cubicBezTo>
                    <a:cubicBezTo>
                      <a:pt x="-364" y="13559"/>
                      <a:pt x="-1201" y="7817"/>
                      <a:pt x="1790" y="3691"/>
                    </a:cubicBezTo>
                    <a:cubicBezTo>
                      <a:pt x="4780" y="-376"/>
                      <a:pt x="10521" y="-1213"/>
                      <a:pt x="14588" y="1837"/>
                    </a:cubicBezTo>
                    <a:close/>
                  </a:path>
                </a:pathLst>
              </a:custGeom>
              <a:grpFill/>
              <a:ln w="5978" cap="flat">
                <a:noFill/>
                <a:prstDash val="solid"/>
                <a:miter/>
              </a:ln>
            </p:spPr>
            <p:txBody>
              <a:bodyPr rtlCol="0" anchor="ctr"/>
              <a:lstStyle/>
              <a:p>
                <a:endParaRPr lang="en-GB"/>
              </a:p>
            </p:txBody>
          </p:sp>
          <p:sp>
            <p:nvSpPr>
              <p:cNvPr id="4055" name="Vrije vorm: vorm 4054">
                <a:extLst>
                  <a:ext uri="{FF2B5EF4-FFF2-40B4-BE49-F238E27FC236}">
                    <a16:creationId xmlns:a16="http://schemas.microsoft.com/office/drawing/2014/main" id="{A8DCF9ED-D871-4D09-B11F-C28B20B46B4C}"/>
                  </a:ext>
                </a:extLst>
              </p:cNvPr>
              <p:cNvSpPr/>
              <p:nvPr/>
            </p:nvSpPr>
            <p:spPr>
              <a:xfrm>
                <a:off x="7400809" y="4422801"/>
                <a:ext cx="18291" cy="18446"/>
              </a:xfrm>
              <a:custGeom>
                <a:avLst/>
                <a:gdLst>
                  <a:gd name="connsiteX0" fmla="*/ 14588 w 18291"/>
                  <a:gd name="connsiteY0" fmla="*/ 1837 h 18446"/>
                  <a:gd name="connsiteX1" fmla="*/ 1790 w 18291"/>
                  <a:gd name="connsiteY1" fmla="*/ 3691 h 18446"/>
                  <a:gd name="connsiteX2" fmla="*/ 3703 w 18291"/>
                  <a:gd name="connsiteY2" fmla="*/ 16609 h 18446"/>
                  <a:gd name="connsiteX3" fmla="*/ 16502 w 18291"/>
                  <a:gd name="connsiteY3" fmla="*/ 14755 h 18446"/>
                  <a:gd name="connsiteX4" fmla="*/ 14588 w 18291"/>
                  <a:gd name="connsiteY4" fmla="*/ 1837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6">
                    <a:moveTo>
                      <a:pt x="14588" y="1837"/>
                    </a:moveTo>
                    <a:cubicBezTo>
                      <a:pt x="10521" y="-1213"/>
                      <a:pt x="4780" y="-376"/>
                      <a:pt x="1790" y="3691"/>
                    </a:cubicBezTo>
                    <a:cubicBezTo>
                      <a:pt x="-1201" y="7758"/>
                      <a:pt x="-363" y="13559"/>
                      <a:pt x="3703" y="16609"/>
                    </a:cubicBezTo>
                    <a:cubicBezTo>
                      <a:pt x="7770" y="19660"/>
                      <a:pt x="13512" y="18822"/>
                      <a:pt x="16502" y="14755"/>
                    </a:cubicBezTo>
                    <a:cubicBezTo>
                      <a:pt x="19492" y="10688"/>
                      <a:pt x="18655" y="4887"/>
                      <a:pt x="14588" y="1837"/>
                    </a:cubicBezTo>
                    <a:close/>
                  </a:path>
                </a:pathLst>
              </a:custGeom>
              <a:grpFill/>
              <a:ln w="5978" cap="flat">
                <a:noFill/>
                <a:prstDash val="solid"/>
                <a:miter/>
              </a:ln>
            </p:spPr>
            <p:txBody>
              <a:bodyPr rtlCol="0" anchor="ctr"/>
              <a:lstStyle/>
              <a:p>
                <a:endParaRPr lang="en-GB"/>
              </a:p>
            </p:txBody>
          </p:sp>
        </p:grpSp>
        <p:grpSp>
          <p:nvGrpSpPr>
            <p:cNvPr id="445" name="Graphic 3">
              <a:extLst>
                <a:ext uri="{FF2B5EF4-FFF2-40B4-BE49-F238E27FC236}">
                  <a16:creationId xmlns:a16="http://schemas.microsoft.com/office/drawing/2014/main" id="{360AE75D-6766-42A5-9CFD-8A75F2A2656E}"/>
                </a:ext>
              </a:extLst>
            </p:cNvPr>
            <p:cNvGrpSpPr/>
            <p:nvPr/>
          </p:nvGrpSpPr>
          <p:grpSpPr>
            <a:xfrm>
              <a:off x="7380653" y="4447106"/>
              <a:ext cx="123290" cy="100095"/>
              <a:chOff x="7380653" y="4447106"/>
              <a:chExt cx="123290" cy="100095"/>
            </a:xfrm>
            <a:grpFill/>
          </p:grpSpPr>
          <p:sp>
            <p:nvSpPr>
              <p:cNvPr id="4050" name="Vrije vorm: vorm 4049">
                <a:extLst>
                  <a:ext uri="{FF2B5EF4-FFF2-40B4-BE49-F238E27FC236}">
                    <a16:creationId xmlns:a16="http://schemas.microsoft.com/office/drawing/2014/main" id="{4345785B-E296-4819-94D2-4ABCEFDD9964}"/>
                  </a:ext>
                </a:extLst>
              </p:cNvPr>
              <p:cNvSpPr/>
              <p:nvPr/>
            </p:nvSpPr>
            <p:spPr>
              <a:xfrm>
                <a:off x="7388543" y="4454781"/>
                <a:ext cx="107534" cy="84746"/>
              </a:xfrm>
              <a:custGeom>
                <a:avLst/>
                <a:gdLst>
                  <a:gd name="connsiteX0" fmla="*/ 107534 w 107534"/>
                  <a:gd name="connsiteY0" fmla="*/ 82294 h 84746"/>
                  <a:gd name="connsiteX1" fmla="*/ 105680 w 107534"/>
                  <a:gd name="connsiteY1" fmla="*/ 84747 h 84746"/>
                  <a:gd name="connsiteX2" fmla="*/ 0 w 107534"/>
                  <a:gd name="connsiteY2" fmla="*/ 2452 h 84746"/>
                  <a:gd name="connsiteX3" fmla="*/ 1854 w 107534"/>
                  <a:gd name="connsiteY3" fmla="*/ 0 h 84746"/>
                </a:gdLst>
                <a:ahLst/>
                <a:cxnLst>
                  <a:cxn ang="0">
                    <a:pos x="connsiteX0" y="connsiteY0"/>
                  </a:cxn>
                  <a:cxn ang="0">
                    <a:pos x="connsiteX1" y="connsiteY1"/>
                  </a:cxn>
                  <a:cxn ang="0">
                    <a:pos x="connsiteX2" y="connsiteY2"/>
                  </a:cxn>
                  <a:cxn ang="0">
                    <a:pos x="connsiteX3" y="connsiteY3"/>
                  </a:cxn>
                </a:cxnLst>
                <a:rect l="l" t="t" r="r" b="b"/>
                <a:pathLst>
                  <a:path w="107534" h="84746">
                    <a:moveTo>
                      <a:pt x="107534" y="82294"/>
                    </a:moveTo>
                    <a:lnTo>
                      <a:pt x="105680" y="84747"/>
                    </a:lnTo>
                    <a:lnTo>
                      <a:pt x="0" y="2452"/>
                    </a:lnTo>
                    <a:lnTo>
                      <a:pt x="1854" y="0"/>
                    </a:lnTo>
                    <a:close/>
                  </a:path>
                </a:pathLst>
              </a:custGeom>
              <a:grpFill/>
              <a:ln w="5978" cap="flat">
                <a:noFill/>
                <a:prstDash val="solid"/>
                <a:miter/>
              </a:ln>
            </p:spPr>
            <p:txBody>
              <a:bodyPr rtlCol="0" anchor="ctr"/>
              <a:lstStyle/>
              <a:p>
                <a:endParaRPr lang="en-GB"/>
              </a:p>
            </p:txBody>
          </p:sp>
          <p:sp>
            <p:nvSpPr>
              <p:cNvPr id="4051" name="Vrije vorm: vorm 4050">
                <a:extLst>
                  <a:ext uri="{FF2B5EF4-FFF2-40B4-BE49-F238E27FC236}">
                    <a16:creationId xmlns:a16="http://schemas.microsoft.com/office/drawing/2014/main" id="{66B07843-F7A2-4379-981F-6BE4EAE0CC12}"/>
                  </a:ext>
                </a:extLst>
              </p:cNvPr>
              <p:cNvSpPr/>
              <p:nvPr/>
            </p:nvSpPr>
            <p:spPr>
              <a:xfrm>
                <a:off x="7485640" y="4528803"/>
                <a:ext cx="18303" cy="18398"/>
              </a:xfrm>
              <a:custGeom>
                <a:avLst/>
                <a:gdLst>
                  <a:gd name="connsiteX0" fmla="*/ 14744 w 18303"/>
                  <a:gd name="connsiteY0" fmla="*/ 1933 h 18398"/>
                  <a:gd name="connsiteX1" fmla="*/ 16418 w 18303"/>
                  <a:gd name="connsiteY1" fmla="*/ 14851 h 18398"/>
                  <a:gd name="connsiteX2" fmla="*/ 3560 w 18303"/>
                  <a:gd name="connsiteY2" fmla="*/ 16466 h 18398"/>
                  <a:gd name="connsiteX3" fmla="*/ 1885 w 18303"/>
                  <a:gd name="connsiteY3" fmla="*/ 3548 h 18398"/>
                  <a:gd name="connsiteX4" fmla="*/ 14744 w 18303"/>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98">
                    <a:moveTo>
                      <a:pt x="14744" y="1933"/>
                    </a:moveTo>
                    <a:cubicBezTo>
                      <a:pt x="18751" y="5043"/>
                      <a:pt x="19469" y="10844"/>
                      <a:pt x="16418" y="14851"/>
                    </a:cubicBezTo>
                    <a:cubicBezTo>
                      <a:pt x="13308" y="18858"/>
                      <a:pt x="7566" y="19576"/>
                      <a:pt x="3560" y="16466"/>
                    </a:cubicBezTo>
                    <a:cubicBezTo>
                      <a:pt x="-448" y="13356"/>
                      <a:pt x="-1165" y="7555"/>
                      <a:pt x="1885" y="3548"/>
                    </a:cubicBezTo>
                    <a:cubicBezTo>
                      <a:pt x="4995" y="-459"/>
                      <a:pt x="10736" y="-1177"/>
                      <a:pt x="14744" y="1933"/>
                    </a:cubicBezTo>
                    <a:close/>
                  </a:path>
                </a:pathLst>
              </a:custGeom>
              <a:grpFill/>
              <a:ln w="5978" cap="flat">
                <a:noFill/>
                <a:prstDash val="solid"/>
                <a:miter/>
              </a:ln>
            </p:spPr>
            <p:txBody>
              <a:bodyPr rtlCol="0" anchor="ctr"/>
              <a:lstStyle/>
              <a:p>
                <a:endParaRPr lang="en-GB"/>
              </a:p>
            </p:txBody>
          </p:sp>
          <p:sp>
            <p:nvSpPr>
              <p:cNvPr id="4052" name="Vrije vorm: vorm 4051">
                <a:extLst>
                  <a:ext uri="{FF2B5EF4-FFF2-40B4-BE49-F238E27FC236}">
                    <a16:creationId xmlns:a16="http://schemas.microsoft.com/office/drawing/2014/main" id="{FB02E91D-320F-4C0A-A136-F03656E1C379}"/>
                  </a:ext>
                </a:extLst>
              </p:cNvPr>
              <p:cNvSpPr/>
              <p:nvPr/>
            </p:nvSpPr>
            <p:spPr>
              <a:xfrm>
                <a:off x="7380653" y="4447106"/>
                <a:ext cx="18353" cy="18399"/>
              </a:xfrm>
              <a:custGeom>
                <a:avLst/>
                <a:gdLst>
                  <a:gd name="connsiteX0" fmla="*/ 14769 w 18353"/>
                  <a:gd name="connsiteY0" fmla="*/ 1933 h 18399"/>
                  <a:gd name="connsiteX1" fmla="*/ 1910 w 18353"/>
                  <a:gd name="connsiteY1" fmla="*/ 3548 h 18399"/>
                  <a:gd name="connsiteX2" fmla="*/ 3585 w 18353"/>
                  <a:gd name="connsiteY2" fmla="*/ 16466 h 18399"/>
                  <a:gd name="connsiteX3" fmla="*/ 16443 w 18353"/>
                  <a:gd name="connsiteY3" fmla="*/ 14851 h 18399"/>
                  <a:gd name="connsiteX4" fmla="*/ 14769 w 18353"/>
                  <a:gd name="connsiteY4" fmla="*/ 193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399">
                    <a:moveTo>
                      <a:pt x="14769" y="1933"/>
                    </a:moveTo>
                    <a:cubicBezTo>
                      <a:pt x="10762" y="-1177"/>
                      <a:pt x="5020" y="-459"/>
                      <a:pt x="1910" y="3548"/>
                    </a:cubicBezTo>
                    <a:cubicBezTo>
                      <a:pt x="-1199" y="7555"/>
                      <a:pt x="-422" y="13356"/>
                      <a:pt x="3585" y="16466"/>
                    </a:cubicBezTo>
                    <a:cubicBezTo>
                      <a:pt x="7592" y="19576"/>
                      <a:pt x="13333" y="18859"/>
                      <a:pt x="16443" y="14851"/>
                    </a:cubicBezTo>
                    <a:cubicBezTo>
                      <a:pt x="19553" y="10844"/>
                      <a:pt x="18776" y="5043"/>
                      <a:pt x="14769" y="1933"/>
                    </a:cubicBezTo>
                    <a:close/>
                  </a:path>
                </a:pathLst>
              </a:custGeom>
              <a:grpFill/>
              <a:ln w="5978" cap="flat">
                <a:noFill/>
                <a:prstDash val="solid"/>
                <a:miter/>
              </a:ln>
            </p:spPr>
            <p:txBody>
              <a:bodyPr rtlCol="0" anchor="ctr"/>
              <a:lstStyle/>
              <a:p>
                <a:endParaRPr lang="en-GB"/>
              </a:p>
            </p:txBody>
          </p:sp>
        </p:grpSp>
        <p:grpSp>
          <p:nvGrpSpPr>
            <p:cNvPr id="446" name="Graphic 3">
              <a:extLst>
                <a:ext uri="{FF2B5EF4-FFF2-40B4-BE49-F238E27FC236}">
                  <a16:creationId xmlns:a16="http://schemas.microsoft.com/office/drawing/2014/main" id="{C134B8E0-6D5D-4F1B-A627-73BD22073761}"/>
                </a:ext>
              </a:extLst>
            </p:cNvPr>
            <p:cNvGrpSpPr/>
            <p:nvPr/>
          </p:nvGrpSpPr>
          <p:grpSpPr>
            <a:xfrm>
              <a:off x="7322576" y="4522430"/>
              <a:ext cx="418112" cy="421364"/>
              <a:chOff x="7322576" y="4522430"/>
              <a:chExt cx="418112" cy="421364"/>
            </a:xfrm>
            <a:grpFill/>
          </p:grpSpPr>
          <p:sp>
            <p:nvSpPr>
              <p:cNvPr id="4047" name="Vrije vorm: vorm 4046">
                <a:extLst>
                  <a:ext uri="{FF2B5EF4-FFF2-40B4-BE49-F238E27FC236}">
                    <a16:creationId xmlns:a16="http://schemas.microsoft.com/office/drawing/2014/main" id="{FB4E40CE-EB5B-40EF-9644-533FB4DC5891}"/>
                  </a:ext>
                </a:extLst>
              </p:cNvPr>
              <p:cNvSpPr/>
              <p:nvPr/>
            </p:nvSpPr>
            <p:spPr>
              <a:xfrm>
                <a:off x="7330351" y="4530257"/>
                <a:ext cx="402562" cy="405731"/>
              </a:xfrm>
              <a:custGeom>
                <a:avLst/>
                <a:gdLst>
                  <a:gd name="connsiteX0" fmla="*/ 402563 w 402562"/>
                  <a:gd name="connsiteY0" fmla="*/ 403579 h 405731"/>
                  <a:gd name="connsiteX1" fmla="*/ 400410 w 402562"/>
                  <a:gd name="connsiteY1" fmla="*/ 405732 h 405731"/>
                  <a:gd name="connsiteX2" fmla="*/ 0 w 402562"/>
                  <a:gd name="connsiteY2" fmla="*/ 2153 h 405731"/>
                  <a:gd name="connsiteX3" fmla="*/ 2153 w 402562"/>
                  <a:gd name="connsiteY3" fmla="*/ 0 h 405731"/>
                </a:gdLst>
                <a:ahLst/>
                <a:cxnLst>
                  <a:cxn ang="0">
                    <a:pos x="connsiteX0" y="connsiteY0"/>
                  </a:cxn>
                  <a:cxn ang="0">
                    <a:pos x="connsiteX1" y="connsiteY1"/>
                  </a:cxn>
                  <a:cxn ang="0">
                    <a:pos x="connsiteX2" y="connsiteY2"/>
                  </a:cxn>
                  <a:cxn ang="0">
                    <a:pos x="connsiteX3" y="connsiteY3"/>
                  </a:cxn>
                </a:cxnLst>
                <a:rect l="l" t="t" r="r" b="b"/>
                <a:pathLst>
                  <a:path w="402562" h="405731">
                    <a:moveTo>
                      <a:pt x="402563" y="403579"/>
                    </a:moveTo>
                    <a:lnTo>
                      <a:pt x="400410" y="405732"/>
                    </a:lnTo>
                    <a:lnTo>
                      <a:pt x="0" y="2153"/>
                    </a:lnTo>
                    <a:lnTo>
                      <a:pt x="2153" y="0"/>
                    </a:lnTo>
                    <a:close/>
                  </a:path>
                </a:pathLst>
              </a:custGeom>
              <a:grpFill/>
              <a:ln w="5978" cap="flat">
                <a:noFill/>
                <a:prstDash val="solid"/>
                <a:miter/>
              </a:ln>
            </p:spPr>
            <p:txBody>
              <a:bodyPr rtlCol="0" anchor="ctr"/>
              <a:lstStyle/>
              <a:p>
                <a:endParaRPr lang="en-GB"/>
              </a:p>
            </p:txBody>
          </p:sp>
          <p:sp>
            <p:nvSpPr>
              <p:cNvPr id="4048" name="Vrije vorm: vorm 4047">
                <a:extLst>
                  <a:ext uri="{FF2B5EF4-FFF2-40B4-BE49-F238E27FC236}">
                    <a16:creationId xmlns:a16="http://schemas.microsoft.com/office/drawing/2014/main" id="{184D59D3-26FB-4DE7-A2D6-B08F203CC90C}"/>
                  </a:ext>
                </a:extLst>
              </p:cNvPr>
              <p:cNvSpPr/>
              <p:nvPr/>
            </p:nvSpPr>
            <p:spPr>
              <a:xfrm>
                <a:off x="7322576" y="4522430"/>
                <a:ext cx="18360" cy="18420"/>
              </a:xfrm>
              <a:custGeom>
                <a:avLst/>
                <a:gdLst>
                  <a:gd name="connsiteX0" fmla="*/ 2691 w 18360"/>
                  <a:gd name="connsiteY0" fmla="*/ 15722 h 18420"/>
                  <a:gd name="connsiteX1" fmla="*/ 2691 w 18360"/>
                  <a:gd name="connsiteY1" fmla="*/ 2684 h 18420"/>
                  <a:gd name="connsiteX2" fmla="*/ 15670 w 18360"/>
                  <a:gd name="connsiteY2" fmla="*/ 2744 h 18420"/>
                  <a:gd name="connsiteX3" fmla="*/ 15670 w 18360"/>
                  <a:gd name="connsiteY3" fmla="*/ 15782 h 18420"/>
                  <a:gd name="connsiteX4" fmla="*/ 2691 w 18360"/>
                  <a:gd name="connsiteY4" fmla="*/ 15722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2691" y="15722"/>
                    </a:moveTo>
                    <a:cubicBezTo>
                      <a:pt x="-897" y="12133"/>
                      <a:pt x="-897" y="6272"/>
                      <a:pt x="2691" y="2684"/>
                    </a:cubicBezTo>
                    <a:cubicBezTo>
                      <a:pt x="6280" y="-905"/>
                      <a:pt x="12081" y="-905"/>
                      <a:pt x="15670" y="2744"/>
                    </a:cubicBezTo>
                    <a:cubicBezTo>
                      <a:pt x="19258" y="6332"/>
                      <a:pt x="19258" y="12193"/>
                      <a:pt x="15670" y="15782"/>
                    </a:cubicBezTo>
                    <a:cubicBezTo>
                      <a:pt x="12081" y="19310"/>
                      <a:pt x="6280" y="19310"/>
                      <a:pt x="2691" y="15722"/>
                    </a:cubicBezTo>
                    <a:close/>
                  </a:path>
                </a:pathLst>
              </a:custGeom>
              <a:grpFill/>
              <a:ln w="5978" cap="flat">
                <a:noFill/>
                <a:prstDash val="solid"/>
                <a:miter/>
              </a:ln>
            </p:spPr>
            <p:txBody>
              <a:bodyPr rtlCol="0" anchor="ctr"/>
              <a:lstStyle/>
              <a:p>
                <a:endParaRPr lang="en-GB"/>
              </a:p>
            </p:txBody>
          </p:sp>
          <p:sp>
            <p:nvSpPr>
              <p:cNvPr id="4049" name="Vrije vorm: vorm 4048">
                <a:extLst>
                  <a:ext uri="{FF2B5EF4-FFF2-40B4-BE49-F238E27FC236}">
                    <a16:creationId xmlns:a16="http://schemas.microsoft.com/office/drawing/2014/main" id="{9CC40F2D-71BF-49D0-8E7C-A01EA1215151}"/>
                  </a:ext>
                </a:extLst>
              </p:cNvPr>
              <p:cNvSpPr/>
              <p:nvPr/>
            </p:nvSpPr>
            <p:spPr>
              <a:xfrm>
                <a:off x="7722328" y="4925373"/>
                <a:ext cx="18360" cy="18421"/>
              </a:xfrm>
              <a:custGeom>
                <a:avLst/>
                <a:gdLst>
                  <a:gd name="connsiteX0" fmla="*/ 2691 w 18360"/>
                  <a:gd name="connsiteY0" fmla="*/ 15700 h 18421"/>
                  <a:gd name="connsiteX1" fmla="*/ 15670 w 18360"/>
                  <a:gd name="connsiteY1" fmla="*/ 15760 h 18421"/>
                  <a:gd name="connsiteX2" fmla="*/ 15670 w 18360"/>
                  <a:gd name="connsiteY2" fmla="*/ 2721 h 18421"/>
                  <a:gd name="connsiteX3" fmla="*/ 2691 w 18360"/>
                  <a:gd name="connsiteY3" fmla="*/ 2662 h 18421"/>
                  <a:gd name="connsiteX4" fmla="*/ 2691 w 18360"/>
                  <a:gd name="connsiteY4" fmla="*/ 1570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2691" y="15700"/>
                    </a:moveTo>
                    <a:cubicBezTo>
                      <a:pt x="6280" y="19288"/>
                      <a:pt x="12081" y="19348"/>
                      <a:pt x="15670" y="15760"/>
                    </a:cubicBezTo>
                    <a:cubicBezTo>
                      <a:pt x="19258" y="12171"/>
                      <a:pt x="19258" y="6370"/>
                      <a:pt x="15670" y="2721"/>
                    </a:cubicBezTo>
                    <a:cubicBezTo>
                      <a:pt x="12081" y="-867"/>
                      <a:pt x="6280" y="-927"/>
                      <a:pt x="2691" y="2662"/>
                    </a:cubicBezTo>
                    <a:cubicBezTo>
                      <a:pt x="-897" y="6250"/>
                      <a:pt x="-897" y="12051"/>
                      <a:pt x="2691" y="15700"/>
                    </a:cubicBezTo>
                    <a:close/>
                  </a:path>
                </a:pathLst>
              </a:custGeom>
              <a:grpFill/>
              <a:ln w="5978" cap="flat">
                <a:noFill/>
                <a:prstDash val="solid"/>
                <a:miter/>
              </a:ln>
            </p:spPr>
            <p:txBody>
              <a:bodyPr rtlCol="0" anchor="ctr"/>
              <a:lstStyle/>
              <a:p>
                <a:endParaRPr lang="en-GB"/>
              </a:p>
            </p:txBody>
          </p:sp>
        </p:grpSp>
        <p:grpSp>
          <p:nvGrpSpPr>
            <p:cNvPr id="447" name="Graphic 3">
              <a:extLst>
                <a:ext uri="{FF2B5EF4-FFF2-40B4-BE49-F238E27FC236}">
                  <a16:creationId xmlns:a16="http://schemas.microsoft.com/office/drawing/2014/main" id="{DB7CF7E1-0173-4C7E-BD5E-A77A768A423C}"/>
                </a:ext>
              </a:extLst>
            </p:cNvPr>
            <p:cNvGrpSpPr/>
            <p:nvPr/>
          </p:nvGrpSpPr>
          <p:grpSpPr>
            <a:xfrm>
              <a:off x="6405623" y="1463235"/>
              <a:ext cx="41244" cy="134681"/>
              <a:chOff x="6405623" y="1463235"/>
              <a:chExt cx="41244" cy="134681"/>
            </a:xfrm>
            <a:grpFill/>
          </p:grpSpPr>
          <p:sp>
            <p:nvSpPr>
              <p:cNvPr id="4044" name="Vrije vorm: vorm 4043">
                <a:extLst>
                  <a:ext uri="{FF2B5EF4-FFF2-40B4-BE49-F238E27FC236}">
                    <a16:creationId xmlns:a16="http://schemas.microsoft.com/office/drawing/2014/main" id="{5D66DD71-6555-473D-B9BE-6D6C7925FCEF}"/>
                  </a:ext>
                </a:extLst>
              </p:cNvPr>
              <p:cNvSpPr/>
              <p:nvPr/>
            </p:nvSpPr>
            <p:spPr>
              <a:xfrm>
                <a:off x="6413207" y="1471716"/>
                <a:ext cx="26075" cy="117760"/>
              </a:xfrm>
              <a:custGeom>
                <a:avLst/>
                <a:gdLst>
                  <a:gd name="connsiteX0" fmla="*/ 26076 w 26075"/>
                  <a:gd name="connsiteY0" fmla="*/ 598 h 117760"/>
                  <a:gd name="connsiteX1" fmla="*/ 2990 w 26075"/>
                  <a:gd name="connsiteY1" fmla="*/ 117760 h 117760"/>
                  <a:gd name="connsiteX2" fmla="*/ 0 w 26075"/>
                  <a:gd name="connsiteY2" fmla="*/ 117162 h 117760"/>
                  <a:gd name="connsiteX3" fmla="*/ 23086 w 26075"/>
                  <a:gd name="connsiteY3" fmla="*/ 0 h 117760"/>
                </a:gdLst>
                <a:ahLst/>
                <a:cxnLst>
                  <a:cxn ang="0">
                    <a:pos x="connsiteX0" y="connsiteY0"/>
                  </a:cxn>
                  <a:cxn ang="0">
                    <a:pos x="connsiteX1" y="connsiteY1"/>
                  </a:cxn>
                  <a:cxn ang="0">
                    <a:pos x="connsiteX2" y="connsiteY2"/>
                  </a:cxn>
                  <a:cxn ang="0">
                    <a:pos x="connsiteX3" y="connsiteY3"/>
                  </a:cxn>
                </a:cxnLst>
                <a:rect l="l" t="t" r="r" b="b"/>
                <a:pathLst>
                  <a:path w="26075" h="117760">
                    <a:moveTo>
                      <a:pt x="26076" y="598"/>
                    </a:moveTo>
                    <a:lnTo>
                      <a:pt x="2990" y="117760"/>
                    </a:lnTo>
                    <a:lnTo>
                      <a:pt x="0" y="117162"/>
                    </a:lnTo>
                    <a:lnTo>
                      <a:pt x="23086" y="0"/>
                    </a:lnTo>
                    <a:close/>
                  </a:path>
                </a:pathLst>
              </a:custGeom>
              <a:grpFill/>
              <a:ln w="5978" cap="flat">
                <a:noFill/>
                <a:prstDash val="solid"/>
                <a:miter/>
              </a:ln>
            </p:spPr>
            <p:txBody>
              <a:bodyPr rtlCol="0" anchor="ctr"/>
              <a:lstStyle/>
              <a:p>
                <a:endParaRPr lang="en-GB"/>
              </a:p>
            </p:txBody>
          </p:sp>
          <p:sp>
            <p:nvSpPr>
              <p:cNvPr id="4045" name="Vrije vorm: vorm 4044">
                <a:extLst>
                  <a:ext uri="{FF2B5EF4-FFF2-40B4-BE49-F238E27FC236}">
                    <a16:creationId xmlns:a16="http://schemas.microsoft.com/office/drawing/2014/main" id="{0CC09C45-C472-4563-A236-A268ADED182A}"/>
                  </a:ext>
                </a:extLst>
              </p:cNvPr>
              <p:cNvSpPr/>
              <p:nvPr/>
            </p:nvSpPr>
            <p:spPr>
              <a:xfrm>
                <a:off x="6428511" y="1463235"/>
                <a:ext cx="18356" cy="18457"/>
              </a:xfrm>
              <a:custGeom>
                <a:avLst/>
                <a:gdLst>
                  <a:gd name="connsiteX0" fmla="*/ 187 w 18356"/>
                  <a:gd name="connsiteY0" fmla="*/ 7405 h 18457"/>
                  <a:gd name="connsiteX1" fmla="*/ 10952 w 18356"/>
                  <a:gd name="connsiteY1" fmla="*/ 168 h 18457"/>
                  <a:gd name="connsiteX2" fmla="*/ 18189 w 18356"/>
                  <a:gd name="connsiteY2" fmla="*/ 11053 h 18457"/>
                  <a:gd name="connsiteX3" fmla="*/ 7423 w 18356"/>
                  <a:gd name="connsiteY3" fmla="*/ 18289 h 18457"/>
                  <a:gd name="connsiteX4" fmla="*/ 187 w 18356"/>
                  <a:gd name="connsiteY4" fmla="*/ 7405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57">
                    <a:moveTo>
                      <a:pt x="187" y="7405"/>
                    </a:moveTo>
                    <a:cubicBezTo>
                      <a:pt x="1144" y="2441"/>
                      <a:pt x="5988" y="-789"/>
                      <a:pt x="10952" y="168"/>
                    </a:cubicBezTo>
                    <a:cubicBezTo>
                      <a:pt x="15916" y="1185"/>
                      <a:pt x="19146" y="6029"/>
                      <a:pt x="18189" y="11053"/>
                    </a:cubicBezTo>
                    <a:cubicBezTo>
                      <a:pt x="17232" y="16017"/>
                      <a:pt x="12388" y="19246"/>
                      <a:pt x="7423" y="18289"/>
                    </a:cubicBezTo>
                    <a:cubicBezTo>
                      <a:pt x="2400" y="17273"/>
                      <a:pt x="-830" y="12428"/>
                      <a:pt x="187" y="7405"/>
                    </a:cubicBezTo>
                    <a:close/>
                  </a:path>
                </a:pathLst>
              </a:custGeom>
              <a:grpFill/>
              <a:ln w="5978" cap="flat">
                <a:noFill/>
                <a:prstDash val="solid"/>
                <a:miter/>
              </a:ln>
            </p:spPr>
            <p:txBody>
              <a:bodyPr rtlCol="0" anchor="ctr"/>
              <a:lstStyle/>
              <a:p>
                <a:endParaRPr lang="en-GB"/>
              </a:p>
            </p:txBody>
          </p:sp>
          <p:sp>
            <p:nvSpPr>
              <p:cNvPr id="4046" name="Vrije vorm: vorm 4045">
                <a:extLst>
                  <a:ext uri="{FF2B5EF4-FFF2-40B4-BE49-F238E27FC236}">
                    <a16:creationId xmlns:a16="http://schemas.microsoft.com/office/drawing/2014/main" id="{0683338C-B0D5-4D5F-BF37-3EB60B1C74B8}"/>
                  </a:ext>
                </a:extLst>
              </p:cNvPr>
              <p:cNvSpPr/>
              <p:nvPr/>
            </p:nvSpPr>
            <p:spPr>
              <a:xfrm>
                <a:off x="6405623" y="1579498"/>
                <a:ext cx="18337" cy="18418"/>
              </a:xfrm>
              <a:custGeom>
                <a:avLst/>
                <a:gdLst>
                  <a:gd name="connsiteX0" fmla="*/ 168 w 18337"/>
                  <a:gd name="connsiteY0" fmla="*/ 7407 h 18418"/>
                  <a:gd name="connsiteX1" fmla="*/ 7405 w 18337"/>
                  <a:gd name="connsiteY1" fmla="*/ 18232 h 18418"/>
                  <a:gd name="connsiteX2" fmla="*/ 18170 w 18337"/>
                  <a:gd name="connsiteY2" fmla="*/ 10995 h 18418"/>
                  <a:gd name="connsiteX3" fmla="*/ 10933 w 18337"/>
                  <a:gd name="connsiteY3" fmla="*/ 170 h 18418"/>
                  <a:gd name="connsiteX4" fmla="*/ 168 w 18337"/>
                  <a:gd name="connsiteY4" fmla="*/ 740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8">
                    <a:moveTo>
                      <a:pt x="168" y="7407"/>
                    </a:moveTo>
                    <a:cubicBezTo>
                      <a:pt x="-789" y="12371"/>
                      <a:pt x="2441" y="17275"/>
                      <a:pt x="7405" y="18232"/>
                    </a:cubicBezTo>
                    <a:cubicBezTo>
                      <a:pt x="12368" y="19249"/>
                      <a:pt x="17213" y="16019"/>
                      <a:pt x="18170" y="10995"/>
                    </a:cubicBezTo>
                    <a:cubicBezTo>
                      <a:pt x="19127" y="6031"/>
                      <a:pt x="15897" y="1127"/>
                      <a:pt x="10933" y="170"/>
                    </a:cubicBezTo>
                    <a:cubicBezTo>
                      <a:pt x="5969" y="-787"/>
                      <a:pt x="1184" y="2383"/>
                      <a:pt x="168" y="7407"/>
                    </a:cubicBezTo>
                    <a:close/>
                  </a:path>
                </a:pathLst>
              </a:custGeom>
              <a:grpFill/>
              <a:ln w="5978" cap="flat">
                <a:noFill/>
                <a:prstDash val="solid"/>
                <a:miter/>
              </a:ln>
            </p:spPr>
            <p:txBody>
              <a:bodyPr rtlCol="0" anchor="ctr"/>
              <a:lstStyle/>
              <a:p>
                <a:endParaRPr lang="en-GB"/>
              </a:p>
            </p:txBody>
          </p:sp>
        </p:grpSp>
        <p:grpSp>
          <p:nvGrpSpPr>
            <p:cNvPr id="448" name="Graphic 3">
              <a:extLst>
                <a:ext uri="{FF2B5EF4-FFF2-40B4-BE49-F238E27FC236}">
                  <a16:creationId xmlns:a16="http://schemas.microsoft.com/office/drawing/2014/main" id="{6409BDCC-D91E-4D81-A3B6-738629331F31}"/>
                </a:ext>
              </a:extLst>
            </p:cNvPr>
            <p:cNvGrpSpPr/>
            <p:nvPr/>
          </p:nvGrpSpPr>
          <p:grpSpPr>
            <a:xfrm>
              <a:off x="6457643" y="1581083"/>
              <a:ext cx="37080" cy="98064"/>
              <a:chOff x="6457643" y="1581083"/>
              <a:chExt cx="37080" cy="98064"/>
            </a:xfrm>
            <a:grpFill/>
          </p:grpSpPr>
          <p:sp>
            <p:nvSpPr>
              <p:cNvPr id="4041" name="Vrije vorm: vorm 4040">
                <a:extLst>
                  <a:ext uri="{FF2B5EF4-FFF2-40B4-BE49-F238E27FC236}">
                    <a16:creationId xmlns:a16="http://schemas.microsoft.com/office/drawing/2014/main" id="{C1BAE23E-FF33-4964-889B-7D45A38847D8}"/>
                  </a:ext>
                </a:extLst>
              </p:cNvPr>
              <p:cNvSpPr/>
              <p:nvPr/>
            </p:nvSpPr>
            <p:spPr>
              <a:xfrm>
                <a:off x="6465240" y="1589477"/>
                <a:ext cx="21949" cy="81218"/>
              </a:xfrm>
              <a:custGeom>
                <a:avLst/>
                <a:gdLst>
                  <a:gd name="connsiteX0" fmla="*/ 21949 w 21949"/>
                  <a:gd name="connsiteY0" fmla="*/ 718 h 81218"/>
                  <a:gd name="connsiteX1" fmla="*/ 2930 w 21949"/>
                  <a:gd name="connsiteY1" fmla="*/ 81218 h 81218"/>
                  <a:gd name="connsiteX2" fmla="*/ 0 w 21949"/>
                  <a:gd name="connsiteY2" fmla="*/ 80501 h 81218"/>
                  <a:gd name="connsiteX3" fmla="*/ 18959 w 21949"/>
                  <a:gd name="connsiteY3" fmla="*/ 0 h 81218"/>
                </a:gdLst>
                <a:ahLst/>
                <a:cxnLst>
                  <a:cxn ang="0">
                    <a:pos x="connsiteX0" y="connsiteY0"/>
                  </a:cxn>
                  <a:cxn ang="0">
                    <a:pos x="connsiteX1" y="connsiteY1"/>
                  </a:cxn>
                  <a:cxn ang="0">
                    <a:pos x="connsiteX2" y="connsiteY2"/>
                  </a:cxn>
                  <a:cxn ang="0">
                    <a:pos x="connsiteX3" y="connsiteY3"/>
                  </a:cxn>
                </a:cxnLst>
                <a:rect l="l" t="t" r="r" b="b"/>
                <a:pathLst>
                  <a:path w="21949" h="81218">
                    <a:moveTo>
                      <a:pt x="21949" y="718"/>
                    </a:moveTo>
                    <a:lnTo>
                      <a:pt x="2930" y="81218"/>
                    </a:lnTo>
                    <a:lnTo>
                      <a:pt x="0" y="80501"/>
                    </a:lnTo>
                    <a:lnTo>
                      <a:pt x="18959" y="0"/>
                    </a:lnTo>
                    <a:close/>
                  </a:path>
                </a:pathLst>
              </a:custGeom>
              <a:grpFill/>
              <a:ln w="5978" cap="flat">
                <a:noFill/>
                <a:prstDash val="solid"/>
                <a:miter/>
              </a:ln>
            </p:spPr>
            <p:txBody>
              <a:bodyPr rtlCol="0" anchor="ctr"/>
              <a:lstStyle/>
              <a:p>
                <a:endParaRPr lang="en-GB"/>
              </a:p>
            </p:txBody>
          </p:sp>
          <p:sp>
            <p:nvSpPr>
              <p:cNvPr id="4042" name="Vrije vorm: vorm 4041">
                <a:extLst>
                  <a:ext uri="{FF2B5EF4-FFF2-40B4-BE49-F238E27FC236}">
                    <a16:creationId xmlns:a16="http://schemas.microsoft.com/office/drawing/2014/main" id="{BFC43BF3-C26C-4BB5-B20F-C82338C711EE}"/>
                  </a:ext>
                </a:extLst>
              </p:cNvPr>
              <p:cNvSpPr/>
              <p:nvPr/>
            </p:nvSpPr>
            <p:spPr>
              <a:xfrm>
                <a:off x="6476403" y="1581083"/>
                <a:ext cx="18319" cy="18461"/>
              </a:xfrm>
              <a:custGeom>
                <a:avLst/>
                <a:gdLst>
                  <a:gd name="connsiteX0" fmla="*/ 260 w 18319"/>
                  <a:gd name="connsiteY0" fmla="*/ 7078 h 18461"/>
                  <a:gd name="connsiteX1" fmla="*/ 11264 w 18319"/>
                  <a:gd name="connsiteY1" fmla="*/ 260 h 18461"/>
                  <a:gd name="connsiteX2" fmla="*/ 18082 w 18319"/>
                  <a:gd name="connsiteY2" fmla="*/ 11384 h 18461"/>
                  <a:gd name="connsiteX3" fmla="*/ 7078 w 18319"/>
                  <a:gd name="connsiteY3" fmla="*/ 18202 h 18461"/>
                  <a:gd name="connsiteX4" fmla="*/ 260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60" y="7078"/>
                    </a:moveTo>
                    <a:cubicBezTo>
                      <a:pt x="1396" y="2114"/>
                      <a:pt x="6360" y="-937"/>
                      <a:pt x="11264" y="260"/>
                    </a:cubicBezTo>
                    <a:cubicBezTo>
                      <a:pt x="16168" y="1456"/>
                      <a:pt x="19219" y="6420"/>
                      <a:pt x="18082" y="11384"/>
                    </a:cubicBezTo>
                    <a:cubicBezTo>
                      <a:pt x="16886" y="16348"/>
                      <a:pt x="11982" y="19398"/>
                      <a:pt x="7078" y="18202"/>
                    </a:cubicBezTo>
                    <a:cubicBezTo>
                      <a:pt x="2114" y="16946"/>
                      <a:pt x="-936" y="11982"/>
                      <a:pt x="260" y="7078"/>
                    </a:cubicBezTo>
                    <a:close/>
                  </a:path>
                </a:pathLst>
              </a:custGeom>
              <a:grpFill/>
              <a:ln w="5978" cap="flat">
                <a:noFill/>
                <a:prstDash val="solid"/>
                <a:miter/>
              </a:ln>
            </p:spPr>
            <p:txBody>
              <a:bodyPr rtlCol="0" anchor="ctr"/>
              <a:lstStyle/>
              <a:p>
                <a:endParaRPr lang="en-GB"/>
              </a:p>
            </p:txBody>
          </p:sp>
          <p:sp>
            <p:nvSpPr>
              <p:cNvPr id="4043" name="Vrije vorm: vorm 4042">
                <a:extLst>
                  <a:ext uri="{FF2B5EF4-FFF2-40B4-BE49-F238E27FC236}">
                    <a16:creationId xmlns:a16="http://schemas.microsoft.com/office/drawing/2014/main" id="{D486E5EF-CECD-456D-875E-9DD0044F454A}"/>
                  </a:ext>
                </a:extLst>
              </p:cNvPr>
              <p:cNvSpPr/>
              <p:nvPr/>
            </p:nvSpPr>
            <p:spPr>
              <a:xfrm>
                <a:off x="6457643" y="1660687"/>
                <a:ext cx="18322" cy="18461"/>
              </a:xfrm>
              <a:custGeom>
                <a:avLst/>
                <a:gdLst>
                  <a:gd name="connsiteX0" fmla="*/ 241 w 18322"/>
                  <a:gd name="connsiteY0" fmla="*/ 7078 h 18461"/>
                  <a:gd name="connsiteX1" fmla="*/ 7058 w 18322"/>
                  <a:gd name="connsiteY1" fmla="*/ 18202 h 18461"/>
                  <a:gd name="connsiteX2" fmla="*/ 18063 w 18322"/>
                  <a:gd name="connsiteY2" fmla="*/ 11384 h 18461"/>
                  <a:gd name="connsiteX3" fmla="*/ 11245 w 18322"/>
                  <a:gd name="connsiteY3" fmla="*/ 260 h 18461"/>
                  <a:gd name="connsiteX4" fmla="*/ 241 w 18322"/>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61">
                    <a:moveTo>
                      <a:pt x="241" y="7078"/>
                    </a:moveTo>
                    <a:cubicBezTo>
                      <a:pt x="-896" y="12042"/>
                      <a:pt x="2095" y="17006"/>
                      <a:pt x="7058" y="18202"/>
                    </a:cubicBezTo>
                    <a:cubicBezTo>
                      <a:pt x="11963" y="19398"/>
                      <a:pt x="16927" y="16348"/>
                      <a:pt x="18063" y="11384"/>
                    </a:cubicBezTo>
                    <a:cubicBezTo>
                      <a:pt x="19259" y="6420"/>
                      <a:pt x="16209" y="1456"/>
                      <a:pt x="11245" y="260"/>
                    </a:cubicBezTo>
                    <a:cubicBezTo>
                      <a:pt x="6341" y="-937"/>
                      <a:pt x="1437" y="2114"/>
                      <a:pt x="241" y="7078"/>
                    </a:cubicBezTo>
                    <a:close/>
                  </a:path>
                </a:pathLst>
              </a:custGeom>
              <a:grpFill/>
              <a:ln w="5978" cap="flat">
                <a:noFill/>
                <a:prstDash val="solid"/>
                <a:miter/>
              </a:ln>
            </p:spPr>
            <p:txBody>
              <a:bodyPr rtlCol="0" anchor="ctr"/>
              <a:lstStyle/>
              <a:p>
                <a:endParaRPr lang="en-GB"/>
              </a:p>
            </p:txBody>
          </p:sp>
        </p:grpSp>
        <p:grpSp>
          <p:nvGrpSpPr>
            <p:cNvPr id="449" name="Graphic 3">
              <a:extLst>
                <a:ext uri="{FF2B5EF4-FFF2-40B4-BE49-F238E27FC236}">
                  <a16:creationId xmlns:a16="http://schemas.microsoft.com/office/drawing/2014/main" id="{FE48E8D0-3EAF-42E9-AA4D-071B5A4C17F9}"/>
                </a:ext>
              </a:extLst>
            </p:cNvPr>
            <p:cNvGrpSpPr/>
            <p:nvPr/>
          </p:nvGrpSpPr>
          <p:grpSpPr>
            <a:xfrm>
              <a:off x="6464949" y="1669308"/>
              <a:ext cx="43223" cy="116088"/>
              <a:chOff x="6464949" y="1669308"/>
              <a:chExt cx="43223" cy="116088"/>
            </a:xfrm>
            <a:grpFill/>
          </p:grpSpPr>
          <p:sp>
            <p:nvSpPr>
              <p:cNvPr id="4038" name="Vrije vorm: vorm 4037">
                <a:extLst>
                  <a:ext uri="{FF2B5EF4-FFF2-40B4-BE49-F238E27FC236}">
                    <a16:creationId xmlns:a16="http://schemas.microsoft.com/office/drawing/2014/main" id="{4CF7D534-EB3B-4E8B-8B85-103B9959B809}"/>
                  </a:ext>
                </a:extLst>
              </p:cNvPr>
              <p:cNvSpPr/>
              <p:nvPr/>
            </p:nvSpPr>
            <p:spPr>
              <a:xfrm>
                <a:off x="6472536" y="1677633"/>
                <a:ext cx="28109" cy="99339"/>
              </a:xfrm>
              <a:custGeom>
                <a:avLst/>
                <a:gdLst>
                  <a:gd name="connsiteX0" fmla="*/ 28109 w 28109"/>
                  <a:gd name="connsiteY0" fmla="*/ 778 h 99339"/>
                  <a:gd name="connsiteX1" fmla="*/ 2930 w 28109"/>
                  <a:gd name="connsiteY1" fmla="*/ 99340 h 99339"/>
                  <a:gd name="connsiteX2" fmla="*/ 0 w 28109"/>
                  <a:gd name="connsiteY2" fmla="*/ 98622 h 99339"/>
                  <a:gd name="connsiteX3" fmla="*/ 25179 w 28109"/>
                  <a:gd name="connsiteY3" fmla="*/ 0 h 99339"/>
                </a:gdLst>
                <a:ahLst/>
                <a:cxnLst>
                  <a:cxn ang="0">
                    <a:pos x="connsiteX0" y="connsiteY0"/>
                  </a:cxn>
                  <a:cxn ang="0">
                    <a:pos x="connsiteX1" y="connsiteY1"/>
                  </a:cxn>
                  <a:cxn ang="0">
                    <a:pos x="connsiteX2" y="connsiteY2"/>
                  </a:cxn>
                  <a:cxn ang="0">
                    <a:pos x="connsiteX3" y="connsiteY3"/>
                  </a:cxn>
                </a:cxnLst>
                <a:rect l="l" t="t" r="r" b="b"/>
                <a:pathLst>
                  <a:path w="28109" h="99339">
                    <a:moveTo>
                      <a:pt x="28109" y="778"/>
                    </a:moveTo>
                    <a:lnTo>
                      <a:pt x="2930" y="99340"/>
                    </a:lnTo>
                    <a:lnTo>
                      <a:pt x="0" y="98622"/>
                    </a:lnTo>
                    <a:lnTo>
                      <a:pt x="25179" y="0"/>
                    </a:lnTo>
                    <a:close/>
                  </a:path>
                </a:pathLst>
              </a:custGeom>
              <a:grpFill/>
              <a:ln w="5978" cap="flat">
                <a:noFill/>
                <a:prstDash val="solid"/>
                <a:miter/>
              </a:ln>
            </p:spPr>
            <p:txBody>
              <a:bodyPr rtlCol="0" anchor="ctr"/>
              <a:lstStyle/>
              <a:p>
                <a:endParaRPr lang="en-GB"/>
              </a:p>
            </p:txBody>
          </p:sp>
          <p:sp>
            <p:nvSpPr>
              <p:cNvPr id="4039" name="Vrije vorm: vorm 4038">
                <a:extLst>
                  <a:ext uri="{FF2B5EF4-FFF2-40B4-BE49-F238E27FC236}">
                    <a16:creationId xmlns:a16="http://schemas.microsoft.com/office/drawing/2014/main" id="{78947345-4F1B-45B7-A078-ADC0CBDCA85A}"/>
                  </a:ext>
                </a:extLst>
              </p:cNvPr>
              <p:cNvSpPr/>
              <p:nvPr/>
            </p:nvSpPr>
            <p:spPr>
              <a:xfrm>
                <a:off x="6489892" y="1669308"/>
                <a:ext cx="18280" cy="18443"/>
              </a:xfrm>
              <a:custGeom>
                <a:avLst/>
                <a:gdLst>
                  <a:gd name="connsiteX0" fmla="*/ 287 w 18280"/>
                  <a:gd name="connsiteY0" fmla="*/ 6889 h 18443"/>
                  <a:gd name="connsiteX1" fmla="*/ 11411 w 18280"/>
                  <a:gd name="connsiteY1" fmla="*/ 311 h 18443"/>
                  <a:gd name="connsiteX2" fmla="*/ 17990 w 18280"/>
                  <a:gd name="connsiteY2" fmla="*/ 11554 h 18443"/>
                  <a:gd name="connsiteX3" fmla="*/ 6866 w 18280"/>
                  <a:gd name="connsiteY3" fmla="*/ 18133 h 18443"/>
                  <a:gd name="connsiteX4" fmla="*/ 287 w 18280"/>
                  <a:gd name="connsiteY4" fmla="*/ 68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43">
                    <a:moveTo>
                      <a:pt x="287" y="6889"/>
                    </a:moveTo>
                    <a:cubicBezTo>
                      <a:pt x="1543" y="1985"/>
                      <a:pt x="6567" y="-1005"/>
                      <a:pt x="11411" y="311"/>
                    </a:cubicBezTo>
                    <a:cubicBezTo>
                      <a:pt x="16315" y="1567"/>
                      <a:pt x="19246" y="6650"/>
                      <a:pt x="17990" y="11554"/>
                    </a:cubicBezTo>
                    <a:cubicBezTo>
                      <a:pt x="16734" y="16459"/>
                      <a:pt x="11710" y="19449"/>
                      <a:pt x="6866" y="18133"/>
                    </a:cubicBezTo>
                    <a:cubicBezTo>
                      <a:pt x="2021" y="16817"/>
                      <a:pt x="-969" y="11794"/>
                      <a:pt x="287" y="6889"/>
                    </a:cubicBezTo>
                    <a:close/>
                  </a:path>
                </a:pathLst>
              </a:custGeom>
              <a:grpFill/>
              <a:ln w="5978" cap="flat">
                <a:noFill/>
                <a:prstDash val="solid"/>
                <a:miter/>
              </a:ln>
            </p:spPr>
            <p:txBody>
              <a:bodyPr rtlCol="0" anchor="ctr"/>
              <a:lstStyle/>
              <a:p>
                <a:endParaRPr lang="en-GB"/>
              </a:p>
            </p:txBody>
          </p:sp>
          <p:sp>
            <p:nvSpPr>
              <p:cNvPr id="4040" name="Vrije vorm: vorm 4039">
                <a:extLst>
                  <a:ext uri="{FF2B5EF4-FFF2-40B4-BE49-F238E27FC236}">
                    <a16:creationId xmlns:a16="http://schemas.microsoft.com/office/drawing/2014/main" id="{E023EB5A-07CC-40C0-A023-AE8F26DB020F}"/>
                  </a:ext>
                </a:extLst>
              </p:cNvPr>
              <p:cNvSpPr/>
              <p:nvPr/>
            </p:nvSpPr>
            <p:spPr>
              <a:xfrm>
                <a:off x="6464949" y="1766969"/>
                <a:ext cx="18284" cy="18427"/>
              </a:xfrm>
              <a:custGeom>
                <a:avLst/>
                <a:gdLst>
                  <a:gd name="connsiteX0" fmla="*/ 291 w 18284"/>
                  <a:gd name="connsiteY0" fmla="*/ 6893 h 18427"/>
                  <a:gd name="connsiteX1" fmla="*/ 6869 w 18284"/>
                  <a:gd name="connsiteY1" fmla="*/ 18137 h 18427"/>
                  <a:gd name="connsiteX2" fmla="*/ 17994 w 18284"/>
                  <a:gd name="connsiteY2" fmla="*/ 11558 h 18427"/>
                  <a:gd name="connsiteX3" fmla="*/ 11415 w 18284"/>
                  <a:gd name="connsiteY3" fmla="*/ 315 h 18427"/>
                  <a:gd name="connsiteX4" fmla="*/ 291 w 18284"/>
                  <a:gd name="connsiteY4" fmla="*/ 6893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27">
                    <a:moveTo>
                      <a:pt x="291" y="6893"/>
                    </a:moveTo>
                    <a:cubicBezTo>
                      <a:pt x="-966" y="11798"/>
                      <a:pt x="1965" y="16821"/>
                      <a:pt x="6869" y="18137"/>
                    </a:cubicBezTo>
                    <a:cubicBezTo>
                      <a:pt x="11773" y="19393"/>
                      <a:pt x="16738" y="16462"/>
                      <a:pt x="17994" y="11558"/>
                    </a:cubicBezTo>
                    <a:cubicBezTo>
                      <a:pt x="19249" y="6654"/>
                      <a:pt x="16319" y="1630"/>
                      <a:pt x="11415" y="315"/>
                    </a:cubicBezTo>
                    <a:cubicBezTo>
                      <a:pt x="6570" y="-1001"/>
                      <a:pt x="1547" y="1929"/>
                      <a:pt x="291" y="6893"/>
                    </a:cubicBezTo>
                    <a:close/>
                  </a:path>
                </a:pathLst>
              </a:custGeom>
              <a:grpFill/>
              <a:ln w="5978" cap="flat">
                <a:noFill/>
                <a:prstDash val="solid"/>
                <a:miter/>
              </a:ln>
            </p:spPr>
            <p:txBody>
              <a:bodyPr rtlCol="0" anchor="ctr"/>
              <a:lstStyle/>
              <a:p>
                <a:endParaRPr lang="en-GB"/>
              </a:p>
            </p:txBody>
          </p:sp>
        </p:grpSp>
        <p:grpSp>
          <p:nvGrpSpPr>
            <p:cNvPr id="450" name="Graphic 3">
              <a:extLst>
                <a:ext uri="{FF2B5EF4-FFF2-40B4-BE49-F238E27FC236}">
                  <a16:creationId xmlns:a16="http://schemas.microsoft.com/office/drawing/2014/main" id="{46A787B9-3028-4D21-BEA0-CFBDA9F8E09C}"/>
                </a:ext>
              </a:extLst>
            </p:cNvPr>
            <p:cNvGrpSpPr/>
            <p:nvPr/>
          </p:nvGrpSpPr>
          <p:grpSpPr>
            <a:xfrm>
              <a:off x="7363868" y="4473920"/>
              <a:ext cx="129553" cy="108393"/>
              <a:chOff x="7363868" y="4473920"/>
              <a:chExt cx="129553" cy="108393"/>
            </a:xfrm>
            <a:grpFill/>
          </p:grpSpPr>
          <p:sp>
            <p:nvSpPr>
              <p:cNvPr id="4035" name="Vrije vorm: vorm 4034">
                <a:extLst>
                  <a:ext uri="{FF2B5EF4-FFF2-40B4-BE49-F238E27FC236}">
                    <a16:creationId xmlns:a16="http://schemas.microsoft.com/office/drawing/2014/main" id="{65253B6B-74ED-4AC2-B17A-B1366C24E048}"/>
                  </a:ext>
                </a:extLst>
              </p:cNvPr>
              <p:cNvSpPr/>
              <p:nvPr/>
            </p:nvSpPr>
            <p:spPr>
              <a:xfrm>
                <a:off x="7371738" y="4481694"/>
                <a:ext cx="113813" cy="92880"/>
              </a:xfrm>
              <a:custGeom>
                <a:avLst/>
                <a:gdLst>
                  <a:gd name="connsiteX0" fmla="*/ 113813 w 113813"/>
                  <a:gd name="connsiteY0" fmla="*/ 90488 h 92880"/>
                  <a:gd name="connsiteX1" fmla="*/ 111899 w 113813"/>
                  <a:gd name="connsiteY1" fmla="*/ 92880 h 92880"/>
                  <a:gd name="connsiteX2" fmla="*/ 0 w 113813"/>
                  <a:gd name="connsiteY2" fmla="*/ 2332 h 92880"/>
                  <a:gd name="connsiteX3" fmla="*/ 1914 w 113813"/>
                  <a:gd name="connsiteY3" fmla="*/ 0 h 92880"/>
                </a:gdLst>
                <a:ahLst/>
                <a:cxnLst>
                  <a:cxn ang="0">
                    <a:pos x="connsiteX0" y="connsiteY0"/>
                  </a:cxn>
                  <a:cxn ang="0">
                    <a:pos x="connsiteX1" y="connsiteY1"/>
                  </a:cxn>
                  <a:cxn ang="0">
                    <a:pos x="connsiteX2" y="connsiteY2"/>
                  </a:cxn>
                  <a:cxn ang="0">
                    <a:pos x="connsiteX3" y="connsiteY3"/>
                  </a:cxn>
                </a:cxnLst>
                <a:rect l="l" t="t" r="r" b="b"/>
                <a:pathLst>
                  <a:path w="113813" h="92880">
                    <a:moveTo>
                      <a:pt x="113813" y="90488"/>
                    </a:moveTo>
                    <a:lnTo>
                      <a:pt x="111899" y="92880"/>
                    </a:lnTo>
                    <a:lnTo>
                      <a:pt x="0" y="2332"/>
                    </a:lnTo>
                    <a:lnTo>
                      <a:pt x="1914" y="0"/>
                    </a:lnTo>
                    <a:close/>
                  </a:path>
                </a:pathLst>
              </a:custGeom>
              <a:grpFill/>
              <a:ln w="5978" cap="flat">
                <a:noFill/>
                <a:prstDash val="solid"/>
                <a:miter/>
              </a:ln>
            </p:spPr>
            <p:txBody>
              <a:bodyPr rtlCol="0" anchor="ctr"/>
              <a:lstStyle/>
              <a:p>
                <a:endParaRPr lang="en-GB"/>
              </a:p>
            </p:txBody>
          </p:sp>
          <p:sp>
            <p:nvSpPr>
              <p:cNvPr id="4036" name="Vrije vorm: vorm 4035">
                <a:extLst>
                  <a:ext uri="{FF2B5EF4-FFF2-40B4-BE49-F238E27FC236}">
                    <a16:creationId xmlns:a16="http://schemas.microsoft.com/office/drawing/2014/main" id="{85516DA3-C99A-41CA-831B-66B083A9AB7B}"/>
                  </a:ext>
                </a:extLst>
              </p:cNvPr>
              <p:cNvSpPr/>
              <p:nvPr/>
            </p:nvSpPr>
            <p:spPr>
              <a:xfrm>
                <a:off x="7475109" y="4563870"/>
                <a:ext cx="18311" cy="18443"/>
              </a:xfrm>
              <a:custGeom>
                <a:avLst/>
                <a:gdLst>
                  <a:gd name="connsiteX0" fmla="*/ 14868 w 18311"/>
                  <a:gd name="connsiteY0" fmla="*/ 2032 h 18443"/>
                  <a:gd name="connsiteX1" fmla="*/ 16303 w 18311"/>
                  <a:gd name="connsiteY1" fmla="*/ 15011 h 18443"/>
                  <a:gd name="connsiteX2" fmla="*/ 3444 w 18311"/>
                  <a:gd name="connsiteY2" fmla="*/ 16386 h 18443"/>
                  <a:gd name="connsiteX3" fmla="*/ 2009 w 18311"/>
                  <a:gd name="connsiteY3" fmla="*/ 3408 h 18443"/>
                  <a:gd name="connsiteX4" fmla="*/ 14868 w 18311"/>
                  <a:gd name="connsiteY4" fmla="*/ 20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43">
                    <a:moveTo>
                      <a:pt x="14868" y="2032"/>
                    </a:moveTo>
                    <a:cubicBezTo>
                      <a:pt x="18815" y="5202"/>
                      <a:pt x="19473" y="11003"/>
                      <a:pt x="16303" y="15011"/>
                    </a:cubicBezTo>
                    <a:cubicBezTo>
                      <a:pt x="13133" y="18958"/>
                      <a:pt x="7392" y="19616"/>
                      <a:pt x="3444" y="16386"/>
                    </a:cubicBezTo>
                    <a:cubicBezTo>
                      <a:pt x="-503" y="13216"/>
                      <a:pt x="-1161" y="7415"/>
                      <a:pt x="2009" y="3408"/>
                    </a:cubicBezTo>
                    <a:cubicBezTo>
                      <a:pt x="5119" y="-539"/>
                      <a:pt x="10860" y="-1137"/>
                      <a:pt x="14868" y="2032"/>
                    </a:cubicBezTo>
                    <a:close/>
                  </a:path>
                </a:pathLst>
              </a:custGeom>
              <a:grpFill/>
              <a:ln w="5978" cap="flat">
                <a:noFill/>
                <a:prstDash val="solid"/>
                <a:miter/>
              </a:ln>
            </p:spPr>
            <p:txBody>
              <a:bodyPr rtlCol="0" anchor="ctr"/>
              <a:lstStyle/>
              <a:p>
                <a:endParaRPr lang="en-GB"/>
              </a:p>
            </p:txBody>
          </p:sp>
          <p:sp>
            <p:nvSpPr>
              <p:cNvPr id="4037" name="Vrije vorm: vorm 4036">
                <a:extLst>
                  <a:ext uri="{FF2B5EF4-FFF2-40B4-BE49-F238E27FC236}">
                    <a16:creationId xmlns:a16="http://schemas.microsoft.com/office/drawing/2014/main" id="{237D8001-880E-4CEE-9EA6-550021E9E973}"/>
                  </a:ext>
                </a:extLst>
              </p:cNvPr>
              <p:cNvSpPr/>
              <p:nvPr/>
            </p:nvSpPr>
            <p:spPr>
              <a:xfrm>
                <a:off x="7363868" y="4473920"/>
                <a:ext cx="18311" cy="18418"/>
              </a:xfrm>
              <a:custGeom>
                <a:avLst/>
                <a:gdLst>
                  <a:gd name="connsiteX0" fmla="*/ 14868 w 18311"/>
                  <a:gd name="connsiteY0" fmla="*/ 2032 h 18418"/>
                  <a:gd name="connsiteX1" fmla="*/ 2009 w 18311"/>
                  <a:gd name="connsiteY1" fmla="*/ 3408 h 18418"/>
                  <a:gd name="connsiteX2" fmla="*/ 3444 w 18311"/>
                  <a:gd name="connsiteY2" fmla="*/ 16386 h 18418"/>
                  <a:gd name="connsiteX3" fmla="*/ 16303 w 18311"/>
                  <a:gd name="connsiteY3" fmla="*/ 15010 h 18418"/>
                  <a:gd name="connsiteX4" fmla="*/ 14868 w 18311"/>
                  <a:gd name="connsiteY4" fmla="*/ 203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4868" y="2032"/>
                    </a:moveTo>
                    <a:cubicBezTo>
                      <a:pt x="10920" y="-1138"/>
                      <a:pt x="5119" y="-539"/>
                      <a:pt x="2009" y="3408"/>
                    </a:cubicBezTo>
                    <a:cubicBezTo>
                      <a:pt x="-1161" y="7355"/>
                      <a:pt x="-503" y="13156"/>
                      <a:pt x="3444" y="16386"/>
                    </a:cubicBezTo>
                    <a:cubicBezTo>
                      <a:pt x="7392" y="19556"/>
                      <a:pt x="13133" y="18958"/>
                      <a:pt x="16303" y="15010"/>
                    </a:cubicBezTo>
                    <a:cubicBezTo>
                      <a:pt x="19472" y="11063"/>
                      <a:pt x="18814" y="5262"/>
                      <a:pt x="14868" y="2032"/>
                    </a:cubicBezTo>
                    <a:close/>
                  </a:path>
                </a:pathLst>
              </a:custGeom>
              <a:grpFill/>
              <a:ln w="5978" cap="flat">
                <a:noFill/>
                <a:prstDash val="solid"/>
                <a:miter/>
              </a:ln>
            </p:spPr>
            <p:txBody>
              <a:bodyPr rtlCol="0" anchor="ctr"/>
              <a:lstStyle/>
              <a:p>
                <a:endParaRPr lang="en-GB"/>
              </a:p>
            </p:txBody>
          </p:sp>
        </p:grpSp>
        <p:grpSp>
          <p:nvGrpSpPr>
            <p:cNvPr id="451" name="Graphic 3">
              <a:extLst>
                <a:ext uri="{FF2B5EF4-FFF2-40B4-BE49-F238E27FC236}">
                  <a16:creationId xmlns:a16="http://schemas.microsoft.com/office/drawing/2014/main" id="{AFAAE8CF-224B-4C63-B449-E13989982703}"/>
                </a:ext>
              </a:extLst>
            </p:cNvPr>
            <p:cNvGrpSpPr/>
            <p:nvPr/>
          </p:nvGrpSpPr>
          <p:grpSpPr>
            <a:xfrm>
              <a:off x="6402484" y="1529524"/>
              <a:ext cx="103323" cy="252820"/>
              <a:chOff x="6402484" y="1529524"/>
              <a:chExt cx="103323" cy="252820"/>
            </a:xfrm>
            <a:grpFill/>
          </p:grpSpPr>
          <p:sp>
            <p:nvSpPr>
              <p:cNvPr id="4032" name="Vrije vorm: vorm 4031">
                <a:extLst>
                  <a:ext uri="{FF2B5EF4-FFF2-40B4-BE49-F238E27FC236}">
                    <a16:creationId xmlns:a16="http://schemas.microsoft.com/office/drawing/2014/main" id="{FBCAA196-32BE-461D-919E-0AC9CF879625}"/>
                  </a:ext>
                </a:extLst>
              </p:cNvPr>
              <p:cNvSpPr/>
              <p:nvPr/>
            </p:nvSpPr>
            <p:spPr>
              <a:xfrm>
                <a:off x="6410038" y="1537803"/>
                <a:ext cx="88155" cy="236298"/>
              </a:xfrm>
              <a:custGeom>
                <a:avLst/>
                <a:gdLst>
                  <a:gd name="connsiteX0" fmla="*/ 88156 w 88155"/>
                  <a:gd name="connsiteY0" fmla="*/ 1017 h 236298"/>
                  <a:gd name="connsiteX1" fmla="*/ 2871 w 88155"/>
                  <a:gd name="connsiteY1" fmla="*/ 236298 h 236298"/>
                  <a:gd name="connsiteX2" fmla="*/ 0 w 88155"/>
                  <a:gd name="connsiteY2" fmla="*/ 235222 h 236298"/>
                  <a:gd name="connsiteX3" fmla="*/ 85285 w 88155"/>
                  <a:gd name="connsiteY3" fmla="*/ 0 h 236298"/>
                </a:gdLst>
                <a:ahLst/>
                <a:cxnLst>
                  <a:cxn ang="0">
                    <a:pos x="connsiteX0" y="connsiteY0"/>
                  </a:cxn>
                  <a:cxn ang="0">
                    <a:pos x="connsiteX1" y="connsiteY1"/>
                  </a:cxn>
                  <a:cxn ang="0">
                    <a:pos x="connsiteX2" y="connsiteY2"/>
                  </a:cxn>
                  <a:cxn ang="0">
                    <a:pos x="connsiteX3" y="connsiteY3"/>
                  </a:cxn>
                </a:cxnLst>
                <a:rect l="l" t="t" r="r" b="b"/>
                <a:pathLst>
                  <a:path w="88155" h="236298">
                    <a:moveTo>
                      <a:pt x="88156" y="1017"/>
                    </a:moveTo>
                    <a:lnTo>
                      <a:pt x="2871" y="236298"/>
                    </a:lnTo>
                    <a:lnTo>
                      <a:pt x="0" y="235222"/>
                    </a:lnTo>
                    <a:lnTo>
                      <a:pt x="85285" y="0"/>
                    </a:lnTo>
                    <a:close/>
                  </a:path>
                </a:pathLst>
              </a:custGeom>
              <a:grpFill/>
              <a:ln w="5978" cap="flat">
                <a:noFill/>
                <a:prstDash val="solid"/>
                <a:miter/>
              </a:ln>
            </p:spPr>
            <p:txBody>
              <a:bodyPr rtlCol="0" anchor="ctr"/>
              <a:lstStyle/>
              <a:p>
                <a:endParaRPr lang="en-GB"/>
              </a:p>
            </p:txBody>
          </p:sp>
          <p:sp>
            <p:nvSpPr>
              <p:cNvPr id="4033" name="Vrije vorm: vorm 4032">
                <a:extLst>
                  <a:ext uri="{FF2B5EF4-FFF2-40B4-BE49-F238E27FC236}">
                    <a16:creationId xmlns:a16="http://schemas.microsoft.com/office/drawing/2014/main" id="{58AAC555-67BF-462C-8FCE-7616ABE5EAF2}"/>
                  </a:ext>
                </a:extLst>
              </p:cNvPr>
              <p:cNvSpPr/>
              <p:nvPr/>
            </p:nvSpPr>
            <p:spPr>
              <a:xfrm>
                <a:off x="6402484" y="1763885"/>
                <a:ext cx="18337" cy="18460"/>
              </a:xfrm>
              <a:custGeom>
                <a:avLst/>
                <a:gdLst>
                  <a:gd name="connsiteX0" fmla="*/ 17781 w 18337"/>
                  <a:gd name="connsiteY0" fmla="*/ 12430 h 18460"/>
                  <a:gd name="connsiteX1" fmla="*/ 6059 w 18337"/>
                  <a:gd name="connsiteY1" fmla="*/ 17872 h 18460"/>
                  <a:gd name="connsiteX2" fmla="*/ 557 w 18337"/>
                  <a:gd name="connsiteY2" fmla="*/ 6030 h 18460"/>
                  <a:gd name="connsiteX3" fmla="*/ 12279 w 18337"/>
                  <a:gd name="connsiteY3" fmla="*/ 588 h 18460"/>
                  <a:gd name="connsiteX4" fmla="*/ 17781 w 18337"/>
                  <a:gd name="connsiteY4" fmla="*/ 12430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60">
                    <a:moveTo>
                      <a:pt x="17781" y="12430"/>
                    </a:moveTo>
                    <a:cubicBezTo>
                      <a:pt x="16047" y="17214"/>
                      <a:pt x="10784" y="19667"/>
                      <a:pt x="6059" y="17872"/>
                    </a:cubicBezTo>
                    <a:cubicBezTo>
                      <a:pt x="1275" y="16138"/>
                      <a:pt x="-1178" y="10815"/>
                      <a:pt x="557" y="6030"/>
                    </a:cubicBezTo>
                    <a:cubicBezTo>
                      <a:pt x="2291" y="1246"/>
                      <a:pt x="7554" y="-1206"/>
                      <a:pt x="12279" y="588"/>
                    </a:cubicBezTo>
                    <a:cubicBezTo>
                      <a:pt x="17063" y="2322"/>
                      <a:pt x="19516" y="7645"/>
                      <a:pt x="17781" y="12430"/>
                    </a:cubicBezTo>
                    <a:close/>
                  </a:path>
                </a:pathLst>
              </a:custGeom>
              <a:grpFill/>
              <a:ln w="5978" cap="flat">
                <a:noFill/>
                <a:prstDash val="solid"/>
                <a:miter/>
              </a:ln>
            </p:spPr>
            <p:txBody>
              <a:bodyPr rtlCol="0" anchor="ctr"/>
              <a:lstStyle/>
              <a:p>
                <a:endParaRPr lang="en-GB"/>
              </a:p>
            </p:txBody>
          </p:sp>
          <p:sp>
            <p:nvSpPr>
              <p:cNvPr id="4034" name="Vrije vorm: vorm 4033">
                <a:extLst>
                  <a:ext uri="{FF2B5EF4-FFF2-40B4-BE49-F238E27FC236}">
                    <a16:creationId xmlns:a16="http://schemas.microsoft.com/office/drawing/2014/main" id="{B33BA60F-7147-47C7-8830-6701B0F9A6E1}"/>
                  </a:ext>
                </a:extLst>
              </p:cNvPr>
              <p:cNvSpPr/>
              <p:nvPr/>
            </p:nvSpPr>
            <p:spPr>
              <a:xfrm>
                <a:off x="6487470" y="1529524"/>
                <a:ext cx="18337" cy="18436"/>
              </a:xfrm>
              <a:custGeom>
                <a:avLst/>
                <a:gdLst>
                  <a:gd name="connsiteX0" fmla="*/ 17781 w 18337"/>
                  <a:gd name="connsiteY0" fmla="*/ 12406 h 18436"/>
                  <a:gd name="connsiteX1" fmla="*/ 12279 w 18337"/>
                  <a:gd name="connsiteY1" fmla="*/ 564 h 18436"/>
                  <a:gd name="connsiteX2" fmla="*/ 557 w 18337"/>
                  <a:gd name="connsiteY2" fmla="*/ 6006 h 18436"/>
                  <a:gd name="connsiteX3" fmla="*/ 6059 w 18337"/>
                  <a:gd name="connsiteY3" fmla="*/ 17848 h 18436"/>
                  <a:gd name="connsiteX4" fmla="*/ 17781 w 18337"/>
                  <a:gd name="connsiteY4" fmla="*/ 1240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7781" y="12406"/>
                    </a:moveTo>
                    <a:cubicBezTo>
                      <a:pt x="19515" y="7621"/>
                      <a:pt x="17063" y="2358"/>
                      <a:pt x="12279" y="564"/>
                    </a:cubicBezTo>
                    <a:cubicBezTo>
                      <a:pt x="7494" y="-1170"/>
                      <a:pt x="2291" y="1222"/>
                      <a:pt x="557" y="6006"/>
                    </a:cubicBezTo>
                    <a:cubicBezTo>
                      <a:pt x="-1178" y="10791"/>
                      <a:pt x="1274" y="16054"/>
                      <a:pt x="6059" y="17848"/>
                    </a:cubicBezTo>
                    <a:cubicBezTo>
                      <a:pt x="10784" y="19643"/>
                      <a:pt x="16047" y="17190"/>
                      <a:pt x="17781" y="12406"/>
                    </a:cubicBezTo>
                    <a:close/>
                  </a:path>
                </a:pathLst>
              </a:custGeom>
              <a:grpFill/>
              <a:ln w="5978" cap="flat">
                <a:noFill/>
                <a:prstDash val="solid"/>
                <a:miter/>
              </a:ln>
            </p:spPr>
            <p:txBody>
              <a:bodyPr rtlCol="0" anchor="ctr"/>
              <a:lstStyle/>
              <a:p>
                <a:endParaRPr lang="en-GB"/>
              </a:p>
            </p:txBody>
          </p:sp>
        </p:grpSp>
        <p:grpSp>
          <p:nvGrpSpPr>
            <p:cNvPr id="452" name="Graphic 3">
              <a:extLst>
                <a:ext uri="{FF2B5EF4-FFF2-40B4-BE49-F238E27FC236}">
                  <a16:creationId xmlns:a16="http://schemas.microsoft.com/office/drawing/2014/main" id="{23EA53CD-20AC-4DB8-8696-A21042258168}"/>
                </a:ext>
              </a:extLst>
            </p:cNvPr>
            <p:cNvGrpSpPr/>
            <p:nvPr/>
          </p:nvGrpSpPr>
          <p:grpSpPr>
            <a:xfrm>
              <a:off x="7457081" y="4784587"/>
              <a:ext cx="153326" cy="150117"/>
              <a:chOff x="7457081" y="4784587"/>
              <a:chExt cx="153326" cy="150117"/>
            </a:xfrm>
            <a:grpFill/>
          </p:grpSpPr>
          <p:sp>
            <p:nvSpPr>
              <p:cNvPr id="4029" name="Vrije vorm: vorm 4028">
                <a:extLst>
                  <a:ext uri="{FF2B5EF4-FFF2-40B4-BE49-F238E27FC236}">
                    <a16:creationId xmlns:a16="http://schemas.microsoft.com/office/drawing/2014/main" id="{769E30FB-9D0B-4F89-9C23-241291761A43}"/>
                  </a:ext>
                </a:extLst>
              </p:cNvPr>
              <p:cNvSpPr/>
              <p:nvPr/>
            </p:nvSpPr>
            <p:spPr>
              <a:xfrm>
                <a:off x="7464857" y="4792392"/>
                <a:ext cx="137736" cy="134566"/>
              </a:xfrm>
              <a:custGeom>
                <a:avLst/>
                <a:gdLst>
                  <a:gd name="connsiteX0" fmla="*/ 137736 w 137736"/>
                  <a:gd name="connsiteY0" fmla="*/ 132353 h 134566"/>
                  <a:gd name="connsiteX1" fmla="*/ 135643 w 137736"/>
                  <a:gd name="connsiteY1" fmla="*/ 134566 h 134566"/>
                  <a:gd name="connsiteX2" fmla="*/ 0 w 137736"/>
                  <a:gd name="connsiteY2" fmla="*/ 2213 h 134566"/>
                  <a:gd name="connsiteX3" fmla="*/ 2154 w 137736"/>
                  <a:gd name="connsiteY3" fmla="*/ 0 h 134566"/>
                </a:gdLst>
                <a:ahLst/>
                <a:cxnLst>
                  <a:cxn ang="0">
                    <a:pos x="connsiteX0" y="connsiteY0"/>
                  </a:cxn>
                  <a:cxn ang="0">
                    <a:pos x="connsiteX1" y="connsiteY1"/>
                  </a:cxn>
                  <a:cxn ang="0">
                    <a:pos x="connsiteX2" y="connsiteY2"/>
                  </a:cxn>
                  <a:cxn ang="0">
                    <a:pos x="connsiteX3" y="connsiteY3"/>
                  </a:cxn>
                </a:cxnLst>
                <a:rect l="l" t="t" r="r" b="b"/>
                <a:pathLst>
                  <a:path w="137736" h="134566">
                    <a:moveTo>
                      <a:pt x="137736" y="132353"/>
                    </a:moveTo>
                    <a:lnTo>
                      <a:pt x="135643" y="134566"/>
                    </a:lnTo>
                    <a:lnTo>
                      <a:pt x="0" y="2213"/>
                    </a:lnTo>
                    <a:lnTo>
                      <a:pt x="2154" y="0"/>
                    </a:lnTo>
                    <a:close/>
                  </a:path>
                </a:pathLst>
              </a:custGeom>
              <a:grpFill/>
              <a:ln w="5978" cap="flat">
                <a:noFill/>
                <a:prstDash val="solid"/>
                <a:miter/>
              </a:ln>
            </p:spPr>
            <p:txBody>
              <a:bodyPr rtlCol="0" anchor="ctr"/>
              <a:lstStyle/>
              <a:p>
                <a:endParaRPr lang="en-GB"/>
              </a:p>
            </p:txBody>
          </p:sp>
          <p:sp>
            <p:nvSpPr>
              <p:cNvPr id="4030" name="Vrije vorm: vorm 4029">
                <a:extLst>
                  <a:ext uri="{FF2B5EF4-FFF2-40B4-BE49-F238E27FC236}">
                    <a16:creationId xmlns:a16="http://schemas.microsoft.com/office/drawing/2014/main" id="{D99F2A1B-D804-40F7-8D82-06931E53B10F}"/>
                  </a:ext>
                </a:extLst>
              </p:cNvPr>
              <p:cNvSpPr/>
              <p:nvPr/>
            </p:nvSpPr>
            <p:spPr>
              <a:xfrm>
                <a:off x="7592089" y="4916282"/>
                <a:ext cx="18318" cy="18422"/>
              </a:xfrm>
              <a:custGeom>
                <a:avLst/>
                <a:gdLst>
                  <a:gd name="connsiteX0" fmla="*/ 15529 w 18318"/>
                  <a:gd name="connsiteY0" fmla="*/ 2602 h 18422"/>
                  <a:gd name="connsiteX1" fmla="*/ 15768 w 18318"/>
                  <a:gd name="connsiteY1" fmla="*/ 15640 h 18422"/>
                  <a:gd name="connsiteX2" fmla="*/ 2790 w 18318"/>
                  <a:gd name="connsiteY2" fmla="*/ 15820 h 18422"/>
                  <a:gd name="connsiteX3" fmla="*/ 2551 w 18318"/>
                  <a:gd name="connsiteY3" fmla="*/ 2782 h 18422"/>
                  <a:gd name="connsiteX4" fmla="*/ 15529 w 18318"/>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2">
                    <a:moveTo>
                      <a:pt x="15529" y="2602"/>
                    </a:moveTo>
                    <a:cubicBezTo>
                      <a:pt x="19177" y="6131"/>
                      <a:pt x="19237" y="11992"/>
                      <a:pt x="15768" y="15640"/>
                    </a:cubicBezTo>
                    <a:cubicBezTo>
                      <a:pt x="12240" y="19289"/>
                      <a:pt x="6438" y="19348"/>
                      <a:pt x="2790" y="15820"/>
                    </a:cubicBezTo>
                    <a:cubicBezTo>
                      <a:pt x="-859" y="12291"/>
                      <a:pt x="-918" y="6430"/>
                      <a:pt x="2551" y="2782"/>
                    </a:cubicBezTo>
                    <a:cubicBezTo>
                      <a:pt x="6079" y="-866"/>
                      <a:pt x="11880" y="-926"/>
                      <a:pt x="15529" y="2602"/>
                    </a:cubicBezTo>
                    <a:close/>
                  </a:path>
                </a:pathLst>
              </a:custGeom>
              <a:grpFill/>
              <a:ln w="5978" cap="flat">
                <a:noFill/>
                <a:prstDash val="solid"/>
                <a:miter/>
              </a:ln>
            </p:spPr>
            <p:txBody>
              <a:bodyPr rtlCol="0" anchor="ctr"/>
              <a:lstStyle/>
              <a:p>
                <a:endParaRPr lang="en-GB"/>
              </a:p>
            </p:txBody>
          </p:sp>
          <p:sp>
            <p:nvSpPr>
              <p:cNvPr id="4031" name="Vrije vorm: vorm 4030">
                <a:extLst>
                  <a:ext uri="{FF2B5EF4-FFF2-40B4-BE49-F238E27FC236}">
                    <a16:creationId xmlns:a16="http://schemas.microsoft.com/office/drawing/2014/main" id="{FD07CD22-8434-41B2-BC73-F30B3E88407B}"/>
                  </a:ext>
                </a:extLst>
              </p:cNvPr>
              <p:cNvSpPr/>
              <p:nvPr/>
            </p:nvSpPr>
            <p:spPr>
              <a:xfrm>
                <a:off x="7457081" y="4784587"/>
                <a:ext cx="18341" cy="18422"/>
              </a:xfrm>
              <a:custGeom>
                <a:avLst/>
                <a:gdLst>
                  <a:gd name="connsiteX0" fmla="*/ 15552 w 18341"/>
                  <a:gd name="connsiteY0" fmla="*/ 2602 h 18422"/>
                  <a:gd name="connsiteX1" fmla="*/ 2573 w 18341"/>
                  <a:gd name="connsiteY1" fmla="*/ 2782 h 18422"/>
                  <a:gd name="connsiteX2" fmla="*/ 2813 w 18341"/>
                  <a:gd name="connsiteY2" fmla="*/ 15820 h 18422"/>
                  <a:gd name="connsiteX3" fmla="*/ 15791 w 18341"/>
                  <a:gd name="connsiteY3" fmla="*/ 15640 h 18422"/>
                  <a:gd name="connsiteX4" fmla="*/ 15552 w 18341"/>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2">
                    <a:moveTo>
                      <a:pt x="15552" y="2602"/>
                    </a:moveTo>
                    <a:cubicBezTo>
                      <a:pt x="11903" y="-926"/>
                      <a:pt x="6102" y="-866"/>
                      <a:pt x="2573" y="2782"/>
                    </a:cubicBezTo>
                    <a:cubicBezTo>
                      <a:pt x="-955" y="6430"/>
                      <a:pt x="-836" y="12231"/>
                      <a:pt x="2813" y="15820"/>
                    </a:cubicBezTo>
                    <a:cubicBezTo>
                      <a:pt x="6461" y="19348"/>
                      <a:pt x="12262" y="19289"/>
                      <a:pt x="15791" y="15640"/>
                    </a:cubicBezTo>
                    <a:cubicBezTo>
                      <a:pt x="19260" y="11992"/>
                      <a:pt x="19200" y="6191"/>
                      <a:pt x="15552" y="2602"/>
                    </a:cubicBezTo>
                    <a:close/>
                  </a:path>
                </a:pathLst>
              </a:custGeom>
              <a:grpFill/>
              <a:ln w="5978" cap="flat">
                <a:noFill/>
                <a:prstDash val="solid"/>
                <a:miter/>
              </a:ln>
            </p:spPr>
            <p:txBody>
              <a:bodyPr rtlCol="0" anchor="ctr"/>
              <a:lstStyle/>
              <a:p>
                <a:endParaRPr lang="en-GB"/>
              </a:p>
            </p:txBody>
          </p:sp>
        </p:grpSp>
        <p:grpSp>
          <p:nvGrpSpPr>
            <p:cNvPr id="453" name="Graphic 3">
              <a:extLst>
                <a:ext uri="{FF2B5EF4-FFF2-40B4-BE49-F238E27FC236}">
                  <a16:creationId xmlns:a16="http://schemas.microsoft.com/office/drawing/2014/main" id="{EACEC17F-EEBF-41A5-85A3-D69C593187B8}"/>
                </a:ext>
              </a:extLst>
            </p:cNvPr>
            <p:cNvGrpSpPr/>
            <p:nvPr/>
          </p:nvGrpSpPr>
          <p:grpSpPr>
            <a:xfrm>
              <a:off x="7297148" y="4541893"/>
              <a:ext cx="377044" cy="396969"/>
              <a:chOff x="7297148" y="4541893"/>
              <a:chExt cx="377044" cy="396969"/>
            </a:xfrm>
            <a:grpFill/>
          </p:grpSpPr>
          <p:sp>
            <p:nvSpPr>
              <p:cNvPr id="4026" name="Vrije vorm: vorm 4025">
                <a:extLst>
                  <a:ext uri="{FF2B5EF4-FFF2-40B4-BE49-F238E27FC236}">
                    <a16:creationId xmlns:a16="http://schemas.microsoft.com/office/drawing/2014/main" id="{F5883BF2-98E9-4DDC-9E7C-A3AFADF65D19}"/>
                  </a:ext>
                </a:extLst>
              </p:cNvPr>
              <p:cNvSpPr/>
              <p:nvPr/>
            </p:nvSpPr>
            <p:spPr>
              <a:xfrm>
                <a:off x="7304873" y="4549695"/>
                <a:ext cx="361535" cy="381390"/>
              </a:xfrm>
              <a:custGeom>
                <a:avLst/>
                <a:gdLst>
                  <a:gd name="connsiteX0" fmla="*/ 361535 w 361535"/>
                  <a:gd name="connsiteY0" fmla="*/ 379237 h 381390"/>
                  <a:gd name="connsiteX1" fmla="*/ 359382 w 361535"/>
                  <a:gd name="connsiteY1" fmla="*/ 381390 h 381390"/>
                  <a:gd name="connsiteX2" fmla="*/ 0 w 361535"/>
                  <a:gd name="connsiteY2" fmla="*/ 2153 h 381390"/>
                  <a:gd name="connsiteX3" fmla="*/ 2213 w 361535"/>
                  <a:gd name="connsiteY3" fmla="*/ 0 h 381390"/>
                </a:gdLst>
                <a:ahLst/>
                <a:cxnLst>
                  <a:cxn ang="0">
                    <a:pos x="connsiteX0" y="connsiteY0"/>
                  </a:cxn>
                  <a:cxn ang="0">
                    <a:pos x="connsiteX1" y="connsiteY1"/>
                  </a:cxn>
                  <a:cxn ang="0">
                    <a:pos x="connsiteX2" y="connsiteY2"/>
                  </a:cxn>
                  <a:cxn ang="0">
                    <a:pos x="connsiteX3" y="connsiteY3"/>
                  </a:cxn>
                </a:cxnLst>
                <a:rect l="l" t="t" r="r" b="b"/>
                <a:pathLst>
                  <a:path w="361535" h="381390">
                    <a:moveTo>
                      <a:pt x="361535" y="379237"/>
                    </a:moveTo>
                    <a:lnTo>
                      <a:pt x="359382" y="381390"/>
                    </a:lnTo>
                    <a:lnTo>
                      <a:pt x="0" y="2153"/>
                    </a:lnTo>
                    <a:lnTo>
                      <a:pt x="2213" y="0"/>
                    </a:lnTo>
                    <a:close/>
                  </a:path>
                </a:pathLst>
              </a:custGeom>
              <a:grpFill/>
              <a:ln w="5978" cap="flat">
                <a:noFill/>
                <a:prstDash val="solid"/>
                <a:miter/>
              </a:ln>
            </p:spPr>
            <p:txBody>
              <a:bodyPr rtlCol="0" anchor="ctr"/>
              <a:lstStyle/>
              <a:p>
                <a:endParaRPr lang="en-GB"/>
              </a:p>
            </p:txBody>
          </p:sp>
          <p:sp>
            <p:nvSpPr>
              <p:cNvPr id="4027" name="Vrije vorm: vorm 4026">
                <a:extLst>
                  <a:ext uri="{FF2B5EF4-FFF2-40B4-BE49-F238E27FC236}">
                    <a16:creationId xmlns:a16="http://schemas.microsoft.com/office/drawing/2014/main" id="{F89F5B93-2161-4E40-B6B2-21C439054B3F}"/>
                  </a:ext>
                </a:extLst>
              </p:cNvPr>
              <p:cNvSpPr/>
              <p:nvPr/>
            </p:nvSpPr>
            <p:spPr>
              <a:xfrm>
                <a:off x="7297148" y="4541893"/>
                <a:ext cx="18320" cy="18428"/>
              </a:xfrm>
              <a:custGeom>
                <a:avLst/>
                <a:gdLst>
                  <a:gd name="connsiteX0" fmla="*/ 2521 w 18320"/>
                  <a:gd name="connsiteY0" fmla="*/ 15576 h 18428"/>
                  <a:gd name="connsiteX1" fmla="*/ 2821 w 18320"/>
                  <a:gd name="connsiteY1" fmla="*/ 2538 h 18428"/>
                  <a:gd name="connsiteX2" fmla="*/ 15799 w 18320"/>
                  <a:gd name="connsiteY2" fmla="*/ 2897 h 18428"/>
                  <a:gd name="connsiteX3" fmla="*/ 15500 w 18320"/>
                  <a:gd name="connsiteY3" fmla="*/ 15935 h 18428"/>
                  <a:gd name="connsiteX4" fmla="*/ 2521 w 18320"/>
                  <a:gd name="connsiteY4" fmla="*/ 1557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8">
                    <a:moveTo>
                      <a:pt x="2521" y="15576"/>
                    </a:moveTo>
                    <a:cubicBezTo>
                      <a:pt x="-947" y="11868"/>
                      <a:pt x="-827" y="6067"/>
                      <a:pt x="2821" y="2538"/>
                    </a:cubicBezTo>
                    <a:cubicBezTo>
                      <a:pt x="6469" y="-991"/>
                      <a:pt x="12270" y="-811"/>
                      <a:pt x="15799" y="2897"/>
                    </a:cubicBezTo>
                    <a:cubicBezTo>
                      <a:pt x="19268" y="6605"/>
                      <a:pt x="19148" y="12406"/>
                      <a:pt x="15500" y="15935"/>
                    </a:cubicBezTo>
                    <a:cubicBezTo>
                      <a:pt x="11852" y="19404"/>
                      <a:pt x="6051" y="19224"/>
                      <a:pt x="2521" y="15576"/>
                    </a:cubicBezTo>
                    <a:close/>
                  </a:path>
                </a:pathLst>
              </a:custGeom>
              <a:grpFill/>
              <a:ln w="5978" cap="flat">
                <a:noFill/>
                <a:prstDash val="solid"/>
                <a:miter/>
              </a:ln>
            </p:spPr>
            <p:txBody>
              <a:bodyPr rtlCol="0" anchor="ctr"/>
              <a:lstStyle/>
              <a:p>
                <a:endParaRPr lang="en-GB"/>
              </a:p>
            </p:txBody>
          </p:sp>
          <p:sp>
            <p:nvSpPr>
              <p:cNvPr id="4028" name="Vrije vorm: vorm 4027">
                <a:extLst>
                  <a:ext uri="{FF2B5EF4-FFF2-40B4-BE49-F238E27FC236}">
                    <a16:creationId xmlns:a16="http://schemas.microsoft.com/office/drawing/2014/main" id="{68274C63-DD2D-46A5-88A2-53B5EA4B2414}"/>
                  </a:ext>
                </a:extLst>
              </p:cNvPr>
              <p:cNvSpPr/>
              <p:nvPr/>
            </p:nvSpPr>
            <p:spPr>
              <a:xfrm>
                <a:off x="7655872" y="4920436"/>
                <a:ext cx="18320" cy="18426"/>
              </a:xfrm>
              <a:custGeom>
                <a:avLst/>
                <a:gdLst>
                  <a:gd name="connsiteX0" fmla="*/ 2522 w 18320"/>
                  <a:gd name="connsiteY0" fmla="*/ 15553 h 18426"/>
                  <a:gd name="connsiteX1" fmla="*/ 15500 w 18320"/>
                  <a:gd name="connsiteY1" fmla="*/ 15912 h 18426"/>
                  <a:gd name="connsiteX2" fmla="*/ 15799 w 18320"/>
                  <a:gd name="connsiteY2" fmla="*/ 2874 h 18426"/>
                  <a:gd name="connsiteX3" fmla="*/ 2821 w 18320"/>
                  <a:gd name="connsiteY3" fmla="*/ 2515 h 18426"/>
                  <a:gd name="connsiteX4" fmla="*/ 2522 w 18320"/>
                  <a:gd name="connsiteY4" fmla="*/ 1555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6">
                    <a:moveTo>
                      <a:pt x="2522" y="15553"/>
                    </a:moveTo>
                    <a:cubicBezTo>
                      <a:pt x="5991" y="19261"/>
                      <a:pt x="11792" y="19381"/>
                      <a:pt x="15500" y="15912"/>
                    </a:cubicBezTo>
                    <a:cubicBezTo>
                      <a:pt x="19148" y="12383"/>
                      <a:pt x="19268" y="6582"/>
                      <a:pt x="15799" y="2874"/>
                    </a:cubicBezTo>
                    <a:cubicBezTo>
                      <a:pt x="12330" y="-834"/>
                      <a:pt x="6469" y="-954"/>
                      <a:pt x="2821" y="2515"/>
                    </a:cubicBezTo>
                    <a:cubicBezTo>
                      <a:pt x="-828" y="6044"/>
                      <a:pt x="-947" y="11905"/>
                      <a:pt x="2522" y="15553"/>
                    </a:cubicBezTo>
                    <a:close/>
                  </a:path>
                </a:pathLst>
              </a:custGeom>
              <a:grpFill/>
              <a:ln w="5978" cap="flat">
                <a:noFill/>
                <a:prstDash val="solid"/>
                <a:miter/>
              </a:ln>
            </p:spPr>
            <p:txBody>
              <a:bodyPr rtlCol="0" anchor="ctr"/>
              <a:lstStyle/>
              <a:p>
                <a:endParaRPr lang="en-GB"/>
              </a:p>
            </p:txBody>
          </p:sp>
        </p:grpSp>
        <p:grpSp>
          <p:nvGrpSpPr>
            <p:cNvPr id="454" name="Graphic 3">
              <a:extLst>
                <a:ext uri="{FF2B5EF4-FFF2-40B4-BE49-F238E27FC236}">
                  <a16:creationId xmlns:a16="http://schemas.microsoft.com/office/drawing/2014/main" id="{2D714A72-3FFA-418F-A3E1-08D39E5CDACC}"/>
                </a:ext>
              </a:extLst>
            </p:cNvPr>
            <p:cNvGrpSpPr/>
            <p:nvPr/>
          </p:nvGrpSpPr>
          <p:grpSpPr>
            <a:xfrm>
              <a:off x="6421071" y="1586016"/>
              <a:ext cx="36905" cy="104448"/>
              <a:chOff x="6421071" y="1586016"/>
              <a:chExt cx="36905" cy="104448"/>
            </a:xfrm>
            <a:grpFill/>
          </p:grpSpPr>
          <p:sp>
            <p:nvSpPr>
              <p:cNvPr id="4023" name="Vrije vorm: vorm 4022">
                <a:extLst>
                  <a:ext uri="{FF2B5EF4-FFF2-40B4-BE49-F238E27FC236}">
                    <a16:creationId xmlns:a16="http://schemas.microsoft.com/office/drawing/2014/main" id="{227C4E1E-6D8D-4BCA-BC2B-98A55265051B}"/>
                  </a:ext>
                </a:extLst>
              </p:cNvPr>
              <p:cNvSpPr/>
              <p:nvPr/>
            </p:nvSpPr>
            <p:spPr>
              <a:xfrm>
                <a:off x="6428638" y="1594501"/>
                <a:ext cx="21769" cy="87497"/>
              </a:xfrm>
              <a:custGeom>
                <a:avLst/>
                <a:gdLst>
                  <a:gd name="connsiteX0" fmla="*/ 21770 w 21769"/>
                  <a:gd name="connsiteY0" fmla="*/ 658 h 87497"/>
                  <a:gd name="connsiteX1" fmla="*/ 2990 w 21769"/>
                  <a:gd name="connsiteY1" fmla="*/ 87498 h 87497"/>
                  <a:gd name="connsiteX2" fmla="*/ 0 w 21769"/>
                  <a:gd name="connsiteY2" fmla="*/ 86840 h 87497"/>
                  <a:gd name="connsiteX3" fmla="*/ 18780 w 21769"/>
                  <a:gd name="connsiteY3" fmla="*/ 0 h 87497"/>
                </a:gdLst>
                <a:ahLst/>
                <a:cxnLst>
                  <a:cxn ang="0">
                    <a:pos x="connsiteX0" y="connsiteY0"/>
                  </a:cxn>
                  <a:cxn ang="0">
                    <a:pos x="connsiteX1" y="connsiteY1"/>
                  </a:cxn>
                  <a:cxn ang="0">
                    <a:pos x="connsiteX2" y="connsiteY2"/>
                  </a:cxn>
                  <a:cxn ang="0">
                    <a:pos x="connsiteX3" y="connsiteY3"/>
                  </a:cxn>
                </a:cxnLst>
                <a:rect l="l" t="t" r="r" b="b"/>
                <a:pathLst>
                  <a:path w="21769" h="87497">
                    <a:moveTo>
                      <a:pt x="21770" y="658"/>
                    </a:moveTo>
                    <a:lnTo>
                      <a:pt x="2990" y="87498"/>
                    </a:lnTo>
                    <a:lnTo>
                      <a:pt x="0" y="86840"/>
                    </a:lnTo>
                    <a:lnTo>
                      <a:pt x="18780" y="0"/>
                    </a:lnTo>
                    <a:close/>
                  </a:path>
                </a:pathLst>
              </a:custGeom>
              <a:grpFill/>
              <a:ln w="5978" cap="flat">
                <a:noFill/>
                <a:prstDash val="solid"/>
                <a:miter/>
              </a:ln>
            </p:spPr>
            <p:txBody>
              <a:bodyPr rtlCol="0" anchor="ctr"/>
              <a:lstStyle/>
              <a:p>
                <a:endParaRPr lang="en-GB"/>
              </a:p>
            </p:txBody>
          </p:sp>
          <p:sp>
            <p:nvSpPr>
              <p:cNvPr id="4024" name="Vrije vorm: vorm 4023">
                <a:extLst>
                  <a:ext uri="{FF2B5EF4-FFF2-40B4-BE49-F238E27FC236}">
                    <a16:creationId xmlns:a16="http://schemas.microsoft.com/office/drawing/2014/main" id="{CB9A79A8-14ED-4E83-A3CA-275A96F01014}"/>
                  </a:ext>
                </a:extLst>
              </p:cNvPr>
              <p:cNvSpPr/>
              <p:nvPr/>
            </p:nvSpPr>
            <p:spPr>
              <a:xfrm>
                <a:off x="6439669" y="1586016"/>
                <a:ext cx="18307" cy="18464"/>
              </a:xfrm>
              <a:custGeom>
                <a:avLst/>
                <a:gdLst>
                  <a:gd name="connsiteX0" fmla="*/ 213 w 18307"/>
                  <a:gd name="connsiteY0" fmla="*/ 7228 h 18464"/>
                  <a:gd name="connsiteX1" fmla="*/ 11098 w 18307"/>
                  <a:gd name="connsiteY1" fmla="*/ 231 h 18464"/>
                  <a:gd name="connsiteX2" fmla="*/ 18095 w 18307"/>
                  <a:gd name="connsiteY2" fmla="*/ 11236 h 18464"/>
                  <a:gd name="connsiteX3" fmla="*/ 7210 w 18307"/>
                  <a:gd name="connsiteY3" fmla="*/ 18233 h 18464"/>
                  <a:gd name="connsiteX4" fmla="*/ 213 w 18307"/>
                  <a:gd name="connsiteY4" fmla="*/ 7228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64">
                    <a:moveTo>
                      <a:pt x="213" y="7228"/>
                    </a:moveTo>
                    <a:cubicBezTo>
                      <a:pt x="1289" y="2264"/>
                      <a:pt x="6194" y="-905"/>
                      <a:pt x="11098" y="231"/>
                    </a:cubicBezTo>
                    <a:cubicBezTo>
                      <a:pt x="16062" y="1308"/>
                      <a:pt x="19172" y="6272"/>
                      <a:pt x="18095" y="11236"/>
                    </a:cubicBezTo>
                    <a:cubicBezTo>
                      <a:pt x="17019" y="16200"/>
                      <a:pt x="12114" y="19369"/>
                      <a:pt x="7210" y="18233"/>
                    </a:cubicBezTo>
                    <a:cubicBezTo>
                      <a:pt x="2246" y="17156"/>
                      <a:pt x="-864" y="12192"/>
                      <a:pt x="213" y="7228"/>
                    </a:cubicBezTo>
                    <a:close/>
                  </a:path>
                </a:pathLst>
              </a:custGeom>
              <a:grpFill/>
              <a:ln w="5978" cap="flat">
                <a:noFill/>
                <a:prstDash val="solid"/>
                <a:miter/>
              </a:ln>
            </p:spPr>
            <p:txBody>
              <a:bodyPr rtlCol="0" anchor="ctr"/>
              <a:lstStyle/>
              <a:p>
                <a:endParaRPr lang="en-GB"/>
              </a:p>
            </p:txBody>
          </p:sp>
          <p:sp>
            <p:nvSpPr>
              <p:cNvPr id="4025" name="Vrije vorm: vorm 4024">
                <a:extLst>
                  <a:ext uri="{FF2B5EF4-FFF2-40B4-BE49-F238E27FC236}">
                    <a16:creationId xmlns:a16="http://schemas.microsoft.com/office/drawing/2014/main" id="{46D875FA-CBFE-4D1D-81E7-47B4460444FB}"/>
                  </a:ext>
                </a:extLst>
              </p:cNvPr>
              <p:cNvSpPr/>
              <p:nvPr/>
            </p:nvSpPr>
            <p:spPr>
              <a:xfrm>
                <a:off x="6421071" y="1672019"/>
                <a:ext cx="18302" cy="18445"/>
              </a:xfrm>
              <a:custGeom>
                <a:avLst/>
                <a:gdLst>
                  <a:gd name="connsiteX0" fmla="*/ 210 w 18302"/>
                  <a:gd name="connsiteY0" fmla="*/ 7228 h 18445"/>
                  <a:gd name="connsiteX1" fmla="*/ 7207 w 18302"/>
                  <a:gd name="connsiteY1" fmla="*/ 18233 h 18445"/>
                  <a:gd name="connsiteX2" fmla="*/ 18092 w 18302"/>
                  <a:gd name="connsiteY2" fmla="*/ 11236 h 18445"/>
                  <a:gd name="connsiteX3" fmla="*/ 11095 w 18302"/>
                  <a:gd name="connsiteY3" fmla="*/ 231 h 18445"/>
                  <a:gd name="connsiteX4" fmla="*/ 210 w 18302"/>
                  <a:gd name="connsiteY4" fmla="*/ 72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45">
                    <a:moveTo>
                      <a:pt x="210" y="7228"/>
                    </a:moveTo>
                    <a:cubicBezTo>
                      <a:pt x="-866" y="12192"/>
                      <a:pt x="2303" y="17097"/>
                      <a:pt x="7207" y="18233"/>
                    </a:cubicBezTo>
                    <a:cubicBezTo>
                      <a:pt x="12172" y="19309"/>
                      <a:pt x="17016" y="16200"/>
                      <a:pt x="18092" y="11236"/>
                    </a:cubicBezTo>
                    <a:cubicBezTo>
                      <a:pt x="19169" y="6272"/>
                      <a:pt x="15999" y="1367"/>
                      <a:pt x="11095" y="231"/>
                    </a:cubicBezTo>
                    <a:cubicBezTo>
                      <a:pt x="6131" y="-905"/>
                      <a:pt x="1287" y="2264"/>
                      <a:pt x="210" y="7228"/>
                    </a:cubicBezTo>
                    <a:close/>
                  </a:path>
                </a:pathLst>
              </a:custGeom>
              <a:grpFill/>
              <a:ln w="5978" cap="flat">
                <a:noFill/>
                <a:prstDash val="solid"/>
                <a:miter/>
              </a:ln>
            </p:spPr>
            <p:txBody>
              <a:bodyPr rtlCol="0" anchor="ctr"/>
              <a:lstStyle/>
              <a:p>
                <a:endParaRPr lang="en-GB"/>
              </a:p>
            </p:txBody>
          </p:sp>
        </p:grpSp>
        <p:grpSp>
          <p:nvGrpSpPr>
            <p:cNvPr id="455" name="Graphic 3">
              <a:extLst>
                <a:ext uri="{FF2B5EF4-FFF2-40B4-BE49-F238E27FC236}">
                  <a16:creationId xmlns:a16="http://schemas.microsoft.com/office/drawing/2014/main" id="{FB6035A1-0305-4CB6-9FBF-F54D4BC43B64}"/>
                </a:ext>
              </a:extLst>
            </p:cNvPr>
            <p:cNvGrpSpPr/>
            <p:nvPr/>
          </p:nvGrpSpPr>
          <p:grpSpPr>
            <a:xfrm>
              <a:off x="7390825" y="4625787"/>
              <a:ext cx="172167" cy="157795"/>
              <a:chOff x="7390825" y="4625787"/>
              <a:chExt cx="172167" cy="157795"/>
            </a:xfrm>
            <a:grpFill/>
          </p:grpSpPr>
          <p:sp>
            <p:nvSpPr>
              <p:cNvPr id="4020" name="Vrije vorm: vorm 4019">
                <a:extLst>
                  <a:ext uri="{FF2B5EF4-FFF2-40B4-BE49-F238E27FC236}">
                    <a16:creationId xmlns:a16="http://schemas.microsoft.com/office/drawing/2014/main" id="{807661DC-60FE-49E8-BFBC-457218E4459B}"/>
                  </a:ext>
                </a:extLst>
              </p:cNvPr>
              <p:cNvSpPr/>
              <p:nvPr/>
            </p:nvSpPr>
            <p:spPr>
              <a:xfrm>
                <a:off x="7398591" y="4633544"/>
                <a:ext cx="156575" cy="142221"/>
              </a:xfrm>
              <a:custGeom>
                <a:avLst/>
                <a:gdLst>
                  <a:gd name="connsiteX0" fmla="*/ 156576 w 156575"/>
                  <a:gd name="connsiteY0" fmla="*/ 139949 h 142221"/>
                  <a:gd name="connsiteX1" fmla="*/ 154542 w 156575"/>
                  <a:gd name="connsiteY1" fmla="*/ 142222 h 142221"/>
                  <a:gd name="connsiteX2" fmla="*/ 0 w 156575"/>
                  <a:gd name="connsiteY2" fmla="*/ 2273 h 142221"/>
                  <a:gd name="connsiteX3" fmla="*/ 2033 w 156575"/>
                  <a:gd name="connsiteY3" fmla="*/ 0 h 142221"/>
                </a:gdLst>
                <a:ahLst/>
                <a:cxnLst>
                  <a:cxn ang="0">
                    <a:pos x="connsiteX0" y="connsiteY0"/>
                  </a:cxn>
                  <a:cxn ang="0">
                    <a:pos x="connsiteX1" y="connsiteY1"/>
                  </a:cxn>
                  <a:cxn ang="0">
                    <a:pos x="connsiteX2" y="connsiteY2"/>
                  </a:cxn>
                  <a:cxn ang="0">
                    <a:pos x="connsiteX3" y="connsiteY3"/>
                  </a:cxn>
                </a:cxnLst>
                <a:rect l="l" t="t" r="r" b="b"/>
                <a:pathLst>
                  <a:path w="156575" h="142221">
                    <a:moveTo>
                      <a:pt x="156576" y="139949"/>
                    </a:moveTo>
                    <a:lnTo>
                      <a:pt x="154542" y="142222"/>
                    </a:lnTo>
                    <a:lnTo>
                      <a:pt x="0" y="2273"/>
                    </a:lnTo>
                    <a:lnTo>
                      <a:pt x="2033" y="0"/>
                    </a:lnTo>
                    <a:close/>
                  </a:path>
                </a:pathLst>
              </a:custGeom>
              <a:grpFill/>
              <a:ln w="5978" cap="flat">
                <a:noFill/>
                <a:prstDash val="solid"/>
                <a:miter/>
              </a:ln>
            </p:spPr>
            <p:txBody>
              <a:bodyPr rtlCol="0" anchor="ctr"/>
              <a:lstStyle/>
              <a:p>
                <a:endParaRPr lang="en-GB"/>
              </a:p>
            </p:txBody>
          </p:sp>
          <p:sp>
            <p:nvSpPr>
              <p:cNvPr id="4021" name="Vrije vorm: vorm 4020">
                <a:extLst>
                  <a:ext uri="{FF2B5EF4-FFF2-40B4-BE49-F238E27FC236}">
                    <a16:creationId xmlns:a16="http://schemas.microsoft.com/office/drawing/2014/main" id="{B7D35408-279C-4A76-B4A9-BC1195372AA2}"/>
                  </a:ext>
                </a:extLst>
              </p:cNvPr>
              <p:cNvSpPr/>
              <p:nvPr/>
            </p:nvSpPr>
            <p:spPr>
              <a:xfrm>
                <a:off x="7544709" y="4765117"/>
                <a:ext cx="18283" cy="18465"/>
              </a:xfrm>
              <a:custGeom>
                <a:avLst/>
                <a:gdLst>
                  <a:gd name="connsiteX0" fmla="*/ 15242 w 18283"/>
                  <a:gd name="connsiteY0" fmla="*/ 2395 h 18465"/>
                  <a:gd name="connsiteX1" fmla="*/ 15959 w 18283"/>
                  <a:gd name="connsiteY1" fmla="*/ 15433 h 18465"/>
                  <a:gd name="connsiteX2" fmla="*/ 3042 w 18283"/>
                  <a:gd name="connsiteY2" fmla="*/ 16091 h 18465"/>
                  <a:gd name="connsiteX3" fmla="*/ 2323 w 18283"/>
                  <a:gd name="connsiteY3" fmla="*/ 3053 h 18465"/>
                  <a:gd name="connsiteX4" fmla="*/ 15242 w 18283"/>
                  <a:gd name="connsiteY4" fmla="*/ 2395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65">
                    <a:moveTo>
                      <a:pt x="15242" y="2395"/>
                    </a:moveTo>
                    <a:cubicBezTo>
                      <a:pt x="19010" y="5804"/>
                      <a:pt x="19309" y="11606"/>
                      <a:pt x="15959" y="15433"/>
                    </a:cubicBezTo>
                    <a:cubicBezTo>
                      <a:pt x="12611" y="19201"/>
                      <a:pt x="6809" y="19500"/>
                      <a:pt x="3042" y="16091"/>
                    </a:cubicBezTo>
                    <a:cubicBezTo>
                      <a:pt x="-726" y="12682"/>
                      <a:pt x="-1026" y="6881"/>
                      <a:pt x="2323" y="3053"/>
                    </a:cubicBezTo>
                    <a:cubicBezTo>
                      <a:pt x="5673" y="-775"/>
                      <a:pt x="11474" y="-1014"/>
                      <a:pt x="15242" y="2395"/>
                    </a:cubicBezTo>
                    <a:close/>
                  </a:path>
                </a:pathLst>
              </a:custGeom>
              <a:grpFill/>
              <a:ln w="5978" cap="flat">
                <a:noFill/>
                <a:prstDash val="solid"/>
                <a:miter/>
              </a:ln>
            </p:spPr>
            <p:txBody>
              <a:bodyPr rtlCol="0" anchor="ctr"/>
              <a:lstStyle/>
              <a:p>
                <a:endParaRPr lang="en-GB"/>
              </a:p>
            </p:txBody>
          </p:sp>
          <p:sp>
            <p:nvSpPr>
              <p:cNvPr id="4022" name="Vrije vorm: vorm 4021">
                <a:extLst>
                  <a:ext uri="{FF2B5EF4-FFF2-40B4-BE49-F238E27FC236}">
                    <a16:creationId xmlns:a16="http://schemas.microsoft.com/office/drawing/2014/main" id="{68A91C57-41C7-467B-8912-B12E48A1C064}"/>
                  </a:ext>
                </a:extLst>
              </p:cNvPr>
              <p:cNvSpPr/>
              <p:nvPr/>
            </p:nvSpPr>
            <p:spPr>
              <a:xfrm>
                <a:off x="7390825" y="4625787"/>
                <a:ext cx="18283" cy="18444"/>
              </a:xfrm>
              <a:custGeom>
                <a:avLst/>
                <a:gdLst>
                  <a:gd name="connsiteX0" fmla="*/ 15242 w 18283"/>
                  <a:gd name="connsiteY0" fmla="*/ 2374 h 18444"/>
                  <a:gd name="connsiteX1" fmla="*/ 2324 w 18283"/>
                  <a:gd name="connsiteY1" fmla="*/ 3032 h 18444"/>
                  <a:gd name="connsiteX2" fmla="*/ 3041 w 18283"/>
                  <a:gd name="connsiteY2" fmla="*/ 16070 h 18444"/>
                  <a:gd name="connsiteX3" fmla="*/ 15960 w 18283"/>
                  <a:gd name="connsiteY3" fmla="*/ 1541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1474" y="-1035"/>
                      <a:pt x="5673" y="-736"/>
                      <a:pt x="2324" y="3032"/>
                    </a:cubicBezTo>
                    <a:cubicBezTo>
                      <a:pt x="-1025" y="6800"/>
                      <a:pt x="-727" y="12601"/>
                      <a:pt x="3041" y="16070"/>
                    </a:cubicBezTo>
                    <a:cubicBezTo>
                      <a:pt x="6809" y="19479"/>
                      <a:pt x="12611" y="19180"/>
                      <a:pt x="15960" y="15412"/>
                    </a:cubicBezTo>
                    <a:cubicBezTo>
                      <a:pt x="19309" y="11585"/>
                      <a:pt x="19010" y="5783"/>
                      <a:pt x="15242" y="2374"/>
                    </a:cubicBezTo>
                    <a:close/>
                  </a:path>
                </a:pathLst>
              </a:custGeom>
              <a:grpFill/>
              <a:ln w="5978" cap="flat">
                <a:noFill/>
                <a:prstDash val="solid"/>
                <a:miter/>
              </a:ln>
            </p:spPr>
            <p:txBody>
              <a:bodyPr rtlCol="0" anchor="ctr"/>
              <a:lstStyle/>
              <a:p>
                <a:endParaRPr lang="en-GB"/>
              </a:p>
            </p:txBody>
          </p:sp>
        </p:grpSp>
        <p:grpSp>
          <p:nvGrpSpPr>
            <p:cNvPr id="456" name="Graphic 3">
              <a:extLst>
                <a:ext uri="{FF2B5EF4-FFF2-40B4-BE49-F238E27FC236}">
                  <a16:creationId xmlns:a16="http://schemas.microsoft.com/office/drawing/2014/main" id="{E4B55A1B-686B-48D8-A96A-9B313C098573}"/>
                </a:ext>
              </a:extLst>
            </p:cNvPr>
            <p:cNvGrpSpPr/>
            <p:nvPr/>
          </p:nvGrpSpPr>
          <p:grpSpPr>
            <a:xfrm>
              <a:off x="6371374" y="1484578"/>
              <a:ext cx="107590" cy="293408"/>
              <a:chOff x="6371374" y="1484578"/>
              <a:chExt cx="107590" cy="293408"/>
            </a:xfrm>
            <a:grpFill/>
          </p:grpSpPr>
          <p:sp>
            <p:nvSpPr>
              <p:cNvPr id="4017" name="Vrije vorm: vorm 4016">
                <a:extLst>
                  <a:ext uri="{FF2B5EF4-FFF2-40B4-BE49-F238E27FC236}">
                    <a16:creationId xmlns:a16="http://schemas.microsoft.com/office/drawing/2014/main" id="{2F9E15E8-4503-46B0-B034-DD60DD2A15AB}"/>
                  </a:ext>
                </a:extLst>
              </p:cNvPr>
              <p:cNvSpPr/>
              <p:nvPr/>
            </p:nvSpPr>
            <p:spPr>
              <a:xfrm>
                <a:off x="6378938" y="1492948"/>
                <a:ext cx="92402" cy="276727"/>
              </a:xfrm>
              <a:custGeom>
                <a:avLst/>
                <a:gdLst>
                  <a:gd name="connsiteX0" fmla="*/ 92402 w 92402"/>
                  <a:gd name="connsiteY0" fmla="*/ 957 h 276727"/>
                  <a:gd name="connsiteX1" fmla="*/ 2871 w 92402"/>
                  <a:gd name="connsiteY1" fmla="*/ 276728 h 276727"/>
                  <a:gd name="connsiteX2" fmla="*/ 0 w 92402"/>
                  <a:gd name="connsiteY2" fmla="*/ 275771 h 276727"/>
                  <a:gd name="connsiteX3" fmla="*/ 89531 w 92402"/>
                  <a:gd name="connsiteY3" fmla="*/ 0 h 276727"/>
                </a:gdLst>
                <a:ahLst/>
                <a:cxnLst>
                  <a:cxn ang="0">
                    <a:pos x="connsiteX0" y="connsiteY0"/>
                  </a:cxn>
                  <a:cxn ang="0">
                    <a:pos x="connsiteX1" y="connsiteY1"/>
                  </a:cxn>
                  <a:cxn ang="0">
                    <a:pos x="connsiteX2" y="connsiteY2"/>
                  </a:cxn>
                  <a:cxn ang="0">
                    <a:pos x="connsiteX3" y="connsiteY3"/>
                  </a:cxn>
                </a:cxnLst>
                <a:rect l="l" t="t" r="r" b="b"/>
                <a:pathLst>
                  <a:path w="92402" h="276727">
                    <a:moveTo>
                      <a:pt x="92402" y="957"/>
                    </a:moveTo>
                    <a:lnTo>
                      <a:pt x="2871" y="276728"/>
                    </a:lnTo>
                    <a:lnTo>
                      <a:pt x="0" y="275771"/>
                    </a:lnTo>
                    <a:lnTo>
                      <a:pt x="89531" y="0"/>
                    </a:lnTo>
                    <a:close/>
                  </a:path>
                </a:pathLst>
              </a:custGeom>
              <a:grpFill/>
              <a:ln w="5978" cap="flat">
                <a:noFill/>
                <a:prstDash val="solid"/>
                <a:miter/>
              </a:ln>
            </p:spPr>
            <p:txBody>
              <a:bodyPr rtlCol="0" anchor="ctr"/>
              <a:lstStyle/>
              <a:p>
                <a:endParaRPr lang="en-GB"/>
              </a:p>
            </p:txBody>
          </p:sp>
          <p:sp>
            <p:nvSpPr>
              <p:cNvPr id="4018" name="Vrije vorm: vorm 4017">
                <a:extLst>
                  <a:ext uri="{FF2B5EF4-FFF2-40B4-BE49-F238E27FC236}">
                    <a16:creationId xmlns:a16="http://schemas.microsoft.com/office/drawing/2014/main" id="{06525208-D696-48DE-BC9B-1D152F9A1E8A}"/>
                  </a:ext>
                </a:extLst>
              </p:cNvPr>
              <p:cNvSpPr/>
              <p:nvPr/>
            </p:nvSpPr>
            <p:spPr>
              <a:xfrm>
                <a:off x="6371374" y="1759511"/>
                <a:ext cx="18298" cy="18474"/>
              </a:xfrm>
              <a:custGeom>
                <a:avLst/>
                <a:gdLst>
                  <a:gd name="connsiteX0" fmla="*/ 17851 w 18298"/>
                  <a:gd name="connsiteY0" fmla="*/ 12138 h 18474"/>
                  <a:gd name="connsiteX1" fmla="*/ 6308 w 18298"/>
                  <a:gd name="connsiteY1" fmla="*/ 17999 h 18474"/>
                  <a:gd name="connsiteX2" fmla="*/ 447 w 18298"/>
                  <a:gd name="connsiteY2" fmla="*/ 6337 h 18474"/>
                  <a:gd name="connsiteX3" fmla="*/ 11990 w 18298"/>
                  <a:gd name="connsiteY3" fmla="*/ 476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6296" y="16982"/>
                      <a:pt x="11093" y="19614"/>
                      <a:pt x="6308" y="17999"/>
                    </a:cubicBezTo>
                    <a:cubicBezTo>
                      <a:pt x="1524" y="16384"/>
                      <a:pt x="-1108" y="11181"/>
                      <a:pt x="447" y="6337"/>
                    </a:cubicBezTo>
                    <a:cubicBezTo>
                      <a:pt x="2002" y="1492"/>
                      <a:pt x="7205" y="-1139"/>
                      <a:pt x="11990" y="476"/>
                    </a:cubicBezTo>
                    <a:cubicBezTo>
                      <a:pt x="16774" y="2090"/>
                      <a:pt x="19406" y="7294"/>
                      <a:pt x="17851" y="12138"/>
                    </a:cubicBezTo>
                    <a:close/>
                  </a:path>
                </a:pathLst>
              </a:custGeom>
              <a:grpFill/>
              <a:ln w="5978" cap="flat">
                <a:noFill/>
                <a:prstDash val="solid"/>
                <a:miter/>
              </a:ln>
            </p:spPr>
            <p:txBody>
              <a:bodyPr rtlCol="0" anchor="ctr"/>
              <a:lstStyle/>
              <a:p>
                <a:endParaRPr lang="en-GB"/>
              </a:p>
            </p:txBody>
          </p:sp>
          <p:sp>
            <p:nvSpPr>
              <p:cNvPr id="4019" name="Vrije vorm: vorm 4018">
                <a:extLst>
                  <a:ext uri="{FF2B5EF4-FFF2-40B4-BE49-F238E27FC236}">
                    <a16:creationId xmlns:a16="http://schemas.microsoft.com/office/drawing/2014/main" id="{54FFC527-4452-477F-9780-9E9982048C5E}"/>
                  </a:ext>
                </a:extLst>
              </p:cNvPr>
              <p:cNvSpPr/>
              <p:nvPr/>
            </p:nvSpPr>
            <p:spPr>
              <a:xfrm>
                <a:off x="6460666" y="1484578"/>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8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4" y="2090"/>
                      <a:pt x="11990" y="476"/>
                    </a:cubicBezTo>
                    <a:cubicBezTo>
                      <a:pt x="7205" y="-1139"/>
                      <a:pt x="2002" y="1492"/>
                      <a:pt x="447" y="6337"/>
                    </a:cubicBezTo>
                    <a:cubicBezTo>
                      <a:pt x="-1108" y="11181"/>
                      <a:pt x="1524" y="16384"/>
                      <a:pt x="6308" y="17999"/>
                    </a:cubicBezTo>
                    <a:cubicBezTo>
                      <a:pt x="11093" y="19614"/>
                      <a:pt x="16236" y="16982"/>
                      <a:pt x="17851" y="12138"/>
                    </a:cubicBezTo>
                    <a:close/>
                  </a:path>
                </a:pathLst>
              </a:custGeom>
              <a:grpFill/>
              <a:ln w="5978" cap="flat">
                <a:noFill/>
                <a:prstDash val="solid"/>
                <a:miter/>
              </a:ln>
            </p:spPr>
            <p:txBody>
              <a:bodyPr rtlCol="0" anchor="ctr"/>
              <a:lstStyle/>
              <a:p>
                <a:endParaRPr lang="en-GB"/>
              </a:p>
            </p:txBody>
          </p:sp>
        </p:grpSp>
        <p:grpSp>
          <p:nvGrpSpPr>
            <p:cNvPr id="457" name="Graphic 3">
              <a:extLst>
                <a:ext uri="{FF2B5EF4-FFF2-40B4-BE49-F238E27FC236}">
                  <a16:creationId xmlns:a16="http://schemas.microsoft.com/office/drawing/2014/main" id="{FA011854-E9B3-4467-B0A0-A4A3BEE09981}"/>
                </a:ext>
              </a:extLst>
            </p:cNvPr>
            <p:cNvGrpSpPr/>
            <p:nvPr/>
          </p:nvGrpSpPr>
          <p:grpSpPr>
            <a:xfrm>
              <a:off x="7428974" y="4808271"/>
              <a:ext cx="156873" cy="158668"/>
              <a:chOff x="7428974" y="4808271"/>
              <a:chExt cx="156873" cy="158668"/>
            </a:xfrm>
            <a:grpFill/>
          </p:grpSpPr>
          <p:sp>
            <p:nvSpPr>
              <p:cNvPr id="4014" name="Vrije vorm: vorm 4013">
                <a:extLst>
                  <a:ext uri="{FF2B5EF4-FFF2-40B4-BE49-F238E27FC236}">
                    <a16:creationId xmlns:a16="http://schemas.microsoft.com/office/drawing/2014/main" id="{A61B724A-17EF-4CA4-BFCE-207E3522F6DD}"/>
                  </a:ext>
                </a:extLst>
              </p:cNvPr>
              <p:cNvSpPr/>
              <p:nvPr/>
            </p:nvSpPr>
            <p:spPr>
              <a:xfrm>
                <a:off x="7436748" y="4816016"/>
                <a:ext cx="141324" cy="143118"/>
              </a:xfrm>
              <a:custGeom>
                <a:avLst/>
                <a:gdLst>
                  <a:gd name="connsiteX0" fmla="*/ 141325 w 141324"/>
                  <a:gd name="connsiteY0" fmla="*/ 140966 h 143118"/>
                  <a:gd name="connsiteX1" fmla="*/ 139172 w 141324"/>
                  <a:gd name="connsiteY1" fmla="*/ 143119 h 143118"/>
                  <a:gd name="connsiteX2" fmla="*/ 0 w 141324"/>
                  <a:gd name="connsiteY2" fmla="*/ 2153 h 143118"/>
                  <a:gd name="connsiteX3" fmla="*/ 2153 w 141324"/>
                  <a:gd name="connsiteY3" fmla="*/ 0 h 143118"/>
                </a:gdLst>
                <a:ahLst/>
                <a:cxnLst>
                  <a:cxn ang="0">
                    <a:pos x="connsiteX0" y="connsiteY0"/>
                  </a:cxn>
                  <a:cxn ang="0">
                    <a:pos x="connsiteX1" y="connsiteY1"/>
                  </a:cxn>
                  <a:cxn ang="0">
                    <a:pos x="connsiteX2" y="connsiteY2"/>
                  </a:cxn>
                  <a:cxn ang="0">
                    <a:pos x="connsiteX3" y="connsiteY3"/>
                  </a:cxn>
                </a:cxnLst>
                <a:rect l="l" t="t" r="r" b="b"/>
                <a:pathLst>
                  <a:path w="141324" h="143118">
                    <a:moveTo>
                      <a:pt x="141325" y="140966"/>
                    </a:moveTo>
                    <a:lnTo>
                      <a:pt x="139172" y="143119"/>
                    </a:lnTo>
                    <a:lnTo>
                      <a:pt x="0" y="2153"/>
                    </a:lnTo>
                    <a:lnTo>
                      <a:pt x="2153" y="0"/>
                    </a:lnTo>
                    <a:close/>
                  </a:path>
                </a:pathLst>
              </a:custGeom>
              <a:grpFill/>
              <a:ln w="5978" cap="flat">
                <a:noFill/>
                <a:prstDash val="solid"/>
                <a:miter/>
              </a:ln>
            </p:spPr>
            <p:txBody>
              <a:bodyPr rtlCol="0" anchor="ctr"/>
              <a:lstStyle/>
              <a:p>
                <a:endParaRPr lang="en-GB"/>
              </a:p>
            </p:txBody>
          </p:sp>
          <p:sp>
            <p:nvSpPr>
              <p:cNvPr id="4015" name="Vrije vorm: vorm 4014">
                <a:extLst>
                  <a:ext uri="{FF2B5EF4-FFF2-40B4-BE49-F238E27FC236}">
                    <a16:creationId xmlns:a16="http://schemas.microsoft.com/office/drawing/2014/main" id="{21133545-6370-426E-A356-808F0C5EEE19}"/>
                  </a:ext>
                </a:extLst>
              </p:cNvPr>
              <p:cNvSpPr/>
              <p:nvPr/>
            </p:nvSpPr>
            <p:spPr>
              <a:xfrm>
                <a:off x="7567487" y="4948519"/>
                <a:ext cx="18360" cy="18421"/>
              </a:xfrm>
              <a:custGeom>
                <a:avLst/>
                <a:gdLst>
                  <a:gd name="connsiteX0" fmla="*/ 15669 w 18360"/>
                  <a:gd name="connsiteY0" fmla="*/ 2721 h 18421"/>
                  <a:gd name="connsiteX1" fmla="*/ 15669 w 18360"/>
                  <a:gd name="connsiteY1" fmla="*/ 15760 h 18421"/>
                  <a:gd name="connsiteX2" fmla="*/ 2692 w 18360"/>
                  <a:gd name="connsiteY2" fmla="*/ 15700 h 18421"/>
                  <a:gd name="connsiteX3" fmla="*/ 2692 w 18360"/>
                  <a:gd name="connsiteY3" fmla="*/ 2662 h 18421"/>
                  <a:gd name="connsiteX4" fmla="*/ 15669 w 18360"/>
                  <a:gd name="connsiteY4" fmla="*/ 27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15669" y="2721"/>
                    </a:moveTo>
                    <a:cubicBezTo>
                      <a:pt x="19258" y="6310"/>
                      <a:pt x="19258" y="12171"/>
                      <a:pt x="15669" y="15760"/>
                    </a:cubicBezTo>
                    <a:cubicBezTo>
                      <a:pt x="12081" y="19348"/>
                      <a:pt x="6280" y="19288"/>
                      <a:pt x="2692" y="15700"/>
                    </a:cubicBezTo>
                    <a:cubicBezTo>
                      <a:pt x="-897" y="12111"/>
                      <a:pt x="-897" y="6250"/>
                      <a:pt x="2692" y="2662"/>
                    </a:cubicBezTo>
                    <a:cubicBezTo>
                      <a:pt x="6280" y="-927"/>
                      <a:pt x="12081" y="-867"/>
                      <a:pt x="15669" y="2721"/>
                    </a:cubicBezTo>
                    <a:close/>
                  </a:path>
                </a:pathLst>
              </a:custGeom>
              <a:grpFill/>
              <a:ln w="5978" cap="flat">
                <a:noFill/>
                <a:prstDash val="solid"/>
                <a:miter/>
              </a:ln>
            </p:spPr>
            <p:txBody>
              <a:bodyPr rtlCol="0" anchor="ctr"/>
              <a:lstStyle/>
              <a:p>
                <a:endParaRPr lang="en-GB"/>
              </a:p>
            </p:txBody>
          </p:sp>
          <p:sp>
            <p:nvSpPr>
              <p:cNvPr id="4016" name="Vrije vorm: vorm 4015">
                <a:extLst>
                  <a:ext uri="{FF2B5EF4-FFF2-40B4-BE49-F238E27FC236}">
                    <a16:creationId xmlns:a16="http://schemas.microsoft.com/office/drawing/2014/main" id="{8898119D-A4BD-403C-8E9E-503FB54F885F}"/>
                  </a:ext>
                </a:extLst>
              </p:cNvPr>
              <p:cNvSpPr/>
              <p:nvPr/>
            </p:nvSpPr>
            <p:spPr>
              <a:xfrm>
                <a:off x="7428974" y="4808271"/>
                <a:ext cx="18315" cy="18421"/>
              </a:xfrm>
              <a:custGeom>
                <a:avLst/>
                <a:gdLst>
                  <a:gd name="connsiteX0" fmla="*/ 15669 w 18315"/>
                  <a:gd name="connsiteY0" fmla="*/ 2722 h 18421"/>
                  <a:gd name="connsiteX1" fmla="*/ 2691 w 18315"/>
                  <a:gd name="connsiteY1" fmla="*/ 2662 h 18421"/>
                  <a:gd name="connsiteX2" fmla="*/ 2691 w 18315"/>
                  <a:gd name="connsiteY2" fmla="*/ 15700 h 18421"/>
                  <a:gd name="connsiteX3" fmla="*/ 15669 w 18315"/>
                  <a:gd name="connsiteY3" fmla="*/ 15760 h 18421"/>
                  <a:gd name="connsiteX4" fmla="*/ 15669 w 18315"/>
                  <a:gd name="connsiteY4" fmla="*/ 272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1">
                    <a:moveTo>
                      <a:pt x="15669" y="2722"/>
                    </a:moveTo>
                    <a:cubicBezTo>
                      <a:pt x="12081" y="-867"/>
                      <a:pt x="6280" y="-927"/>
                      <a:pt x="2691" y="2662"/>
                    </a:cubicBezTo>
                    <a:cubicBezTo>
                      <a:pt x="-897" y="6250"/>
                      <a:pt x="-897" y="12052"/>
                      <a:pt x="2691" y="15700"/>
                    </a:cubicBezTo>
                    <a:cubicBezTo>
                      <a:pt x="6280" y="19288"/>
                      <a:pt x="12081" y="19348"/>
                      <a:pt x="15669" y="15760"/>
                    </a:cubicBezTo>
                    <a:cubicBezTo>
                      <a:pt x="19198" y="12171"/>
                      <a:pt x="19198" y="6310"/>
                      <a:pt x="15669" y="2722"/>
                    </a:cubicBezTo>
                    <a:close/>
                  </a:path>
                </a:pathLst>
              </a:custGeom>
              <a:grpFill/>
              <a:ln w="5978" cap="flat">
                <a:noFill/>
                <a:prstDash val="solid"/>
                <a:miter/>
              </a:ln>
            </p:spPr>
            <p:txBody>
              <a:bodyPr rtlCol="0" anchor="ctr"/>
              <a:lstStyle/>
              <a:p>
                <a:endParaRPr lang="en-GB"/>
              </a:p>
            </p:txBody>
          </p:sp>
        </p:grpSp>
        <p:grpSp>
          <p:nvGrpSpPr>
            <p:cNvPr id="458" name="Graphic 3">
              <a:extLst>
                <a:ext uri="{FF2B5EF4-FFF2-40B4-BE49-F238E27FC236}">
                  <a16:creationId xmlns:a16="http://schemas.microsoft.com/office/drawing/2014/main" id="{DFC7BC39-1503-4C50-9F95-0EA5066D2B44}"/>
                </a:ext>
              </a:extLst>
            </p:cNvPr>
            <p:cNvGrpSpPr/>
            <p:nvPr/>
          </p:nvGrpSpPr>
          <p:grpSpPr>
            <a:xfrm>
              <a:off x="6367848" y="1467502"/>
              <a:ext cx="40840" cy="145147"/>
              <a:chOff x="6367848" y="1467502"/>
              <a:chExt cx="40840" cy="145147"/>
            </a:xfrm>
            <a:grpFill/>
          </p:grpSpPr>
          <p:sp>
            <p:nvSpPr>
              <p:cNvPr id="4011" name="Vrije vorm: vorm 4010">
                <a:extLst>
                  <a:ext uri="{FF2B5EF4-FFF2-40B4-BE49-F238E27FC236}">
                    <a16:creationId xmlns:a16="http://schemas.microsoft.com/office/drawing/2014/main" id="{5C79947A-A027-4995-AF11-B1E2255DB0E9}"/>
                  </a:ext>
                </a:extLst>
              </p:cNvPr>
              <p:cNvSpPr/>
              <p:nvPr/>
            </p:nvSpPr>
            <p:spPr>
              <a:xfrm>
                <a:off x="6375469" y="1476022"/>
                <a:ext cx="25597" cy="128107"/>
              </a:xfrm>
              <a:custGeom>
                <a:avLst/>
                <a:gdLst>
                  <a:gd name="connsiteX0" fmla="*/ 25598 w 25597"/>
                  <a:gd name="connsiteY0" fmla="*/ 538 h 128107"/>
                  <a:gd name="connsiteX1" fmla="*/ 2990 w 25597"/>
                  <a:gd name="connsiteY1" fmla="*/ 128107 h 128107"/>
                  <a:gd name="connsiteX2" fmla="*/ 0 w 25597"/>
                  <a:gd name="connsiteY2" fmla="*/ 127569 h 128107"/>
                  <a:gd name="connsiteX3" fmla="*/ 22607 w 25597"/>
                  <a:gd name="connsiteY3" fmla="*/ 0 h 128107"/>
                </a:gdLst>
                <a:ahLst/>
                <a:cxnLst>
                  <a:cxn ang="0">
                    <a:pos x="connsiteX0" y="connsiteY0"/>
                  </a:cxn>
                  <a:cxn ang="0">
                    <a:pos x="connsiteX1" y="connsiteY1"/>
                  </a:cxn>
                  <a:cxn ang="0">
                    <a:pos x="connsiteX2" y="connsiteY2"/>
                  </a:cxn>
                  <a:cxn ang="0">
                    <a:pos x="connsiteX3" y="connsiteY3"/>
                  </a:cxn>
                </a:cxnLst>
                <a:rect l="l" t="t" r="r" b="b"/>
                <a:pathLst>
                  <a:path w="25597" h="128107">
                    <a:moveTo>
                      <a:pt x="25598" y="538"/>
                    </a:moveTo>
                    <a:lnTo>
                      <a:pt x="2990" y="128107"/>
                    </a:lnTo>
                    <a:lnTo>
                      <a:pt x="0" y="127569"/>
                    </a:lnTo>
                    <a:lnTo>
                      <a:pt x="22607" y="0"/>
                    </a:lnTo>
                    <a:close/>
                  </a:path>
                </a:pathLst>
              </a:custGeom>
              <a:grpFill/>
              <a:ln w="5978" cap="flat">
                <a:noFill/>
                <a:prstDash val="solid"/>
                <a:miter/>
              </a:ln>
            </p:spPr>
            <p:txBody>
              <a:bodyPr rtlCol="0" anchor="ctr"/>
              <a:lstStyle/>
              <a:p>
                <a:endParaRPr lang="en-GB"/>
              </a:p>
            </p:txBody>
          </p:sp>
          <p:sp>
            <p:nvSpPr>
              <p:cNvPr id="4012" name="Vrije vorm: vorm 4011">
                <a:extLst>
                  <a:ext uri="{FF2B5EF4-FFF2-40B4-BE49-F238E27FC236}">
                    <a16:creationId xmlns:a16="http://schemas.microsoft.com/office/drawing/2014/main" id="{8F72D80E-120E-4C69-9A10-60DE1E597F75}"/>
                  </a:ext>
                </a:extLst>
              </p:cNvPr>
              <p:cNvSpPr/>
              <p:nvPr/>
            </p:nvSpPr>
            <p:spPr>
              <a:xfrm>
                <a:off x="6390335" y="1467502"/>
                <a:ext cx="18352" cy="18416"/>
              </a:xfrm>
              <a:custGeom>
                <a:avLst/>
                <a:gdLst>
                  <a:gd name="connsiteX0" fmla="*/ 145 w 18352"/>
                  <a:gd name="connsiteY0" fmla="*/ 7563 h 18416"/>
                  <a:gd name="connsiteX1" fmla="*/ 10791 w 18352"/>
                  <a:gd name="connsiteY1" fmla="*/ 147 h 18416"/>
                  <a:gd name="connsiteX2" fmla="*/ 18207 w 18352"/>
                  <a:gd name="connsiteY2" fmla="*/ 10853 h 18416"/>
                  <a:gd name="connsiteX3" fmla="*/ 7561 w 18352"/>
                  <a:gd name="connsiteY3" fmla="*/ 18269 h 18416"/>
                  <a:gd name="connsiteX4" fmla="*/ 145 w 18352"/>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6">
                    <a:moveTo>
                      <a:pt x="145" y="7563"/>
                    </a:moveTo>
                    <a:cubicBezTo>
                      <a:pt x="1043" y="2540"/>
                      <a:pt x="5767" y="-750"/>
                      <a:pt x="10791" y="147"/>
                    </a:cubicBezTo>
                    <a:cubicBezTo>
                      <a:pt x="15755" y="1044"/>
                      <a:pt x="19104" y="5889"/>
                      <a:pt x="18207" y="10853"/>
                    </a:cubicBezTo>
                    <a:cubicBezTo>
                      <a:pt x="17310" y="15877"/>
                      <a:pt x="12585" y="19166"/>
                      <a:pt x="7561" y="18269"/>
                    </a:cubicBezTo>
                    <a:cubicBezTo>
                      <a:pt x="2597" y="17372"/>
                      <a:pt x="-752" y="12587"/>
                      <a:pt x="145" y="7563"/>
                    </a:cubicBezTo>
                    <a:close/>
                  </a:path>
                </a:pathLst>
              </a:custGeom>
              <a:grpFill/>
              <a:ln w="5978" cap="flat">
                <a:noFill/>
                <a:prstDash val="solid"/>
                <a:miter/>
              </a:ln>
            </p:spPr>
            <p:txBody>
              <a:bodyPr rtlCol="0" anchor="ctr"/>
              <a:lstStyle/>
              <a:p>
                <a:endParaRPr lang="en-GB"/>
              </a:p>
            </p:txBody>
          </p:sp>
          <p:sp>
            <p:nvSpPr>
              <p:cNvPr id="4013" name="Vrije vorm: vorm 4012">
                <a:extLst>
                  <a:ext uri="{FF2B5EF4-FFF2-40B4-BE49-F238E27FC236}">
                    <a16:creationId xmlns:a16="http://schemas.microsoft.com/office/drawing/2014/main" id="{DFC1DEBB-40CF-439E-AAEC-1DA7A79B5FAE}"/>
                  </a:ext>
                </a:extLst>
              </p:cNvPr>
              <p:cNvSpPr/>
              <p:nvPr/>
            </p:nvSpPr>
            <p:spPr>
              <a:xfrm>
                <a:off x="6367848" y="1594234"/>
                <a:ext cx="18352" cy="18416"/>
              </a:xfrm>
              <a:custGeom>
                <a:avLst/>
                <a:gdLst>
                  <a:gd name="connsiteX0" fmla="*/ 145 w 18352"/>
                  <a:gd name="connsiteY0" fmla="*/ 7563 h 18416"/>
                  <a:gd name="connsiteX1" fmla="*/ 7561 w 18352"/>
                  <a:gd name="connsiteY1" fmla="*/ 18269 h 18416"/>
                  <a:gd name="connsiteX2" fmla="*/ 18207 w 18352"/>
                  <a:gd name="connsiteY2" fmla="*/ 10853 h 18416"/>
                  <a:gd name="connsiteX3" fmla="*/ 10791 w 18352"/>
                  <a:gd name="connsiteY3" fmla="*/ 147 h 18416"/>
                  <a:gd name="connsiteX4" fmla="*/ 145 w 18352"/>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6">
                    <a:moveTo>
                      <a:pt x="145" y="7563"/>
                    </a:moveTo>
                    <a:cubicBezTo>
                      <a:pt x="-752" y="12587"/>
                      <a:pt x="2598" y="17372"/>
                      <a:pt x="7561" y="18269"/>
                    </a:cubicBezTo>
                    <a:cubicBezTo>
                      <a:pt x="12525" y="19166"/>
                      <a:pt x="17310" y="15877"/>
                      <a:pt x="18207" y="10853"/>
                    </a:cubicBezTo>
                    <a:cubicBezTo>
                      <a:pt x="19104" y="5829"/>
                      <a:pt x="15755" y="1044"/>
                      <a:pt x="10791" y="147"/>
                    </a:cubicBezTo>
                    <a:cubicBezTo>
                      <a:pt x="5827" y="-750"/>
                      <a:pt x="1043" y="2540"/>
                      <a:pt x="145" y="7563"/>
                    </a:cubicBezTo>
                    <a:close/>
                  </a:path>
                </a:pathLst>
              </a:custGeom>
              <a:grpFill/>
              <a:ln w="5978" cap="flat">
                <a:noFill/>
                <a:prstDash val="solid"/>
                <a:miter/>
              </a:ln>
            </p:spPr>
            <p:txBody>
              <a:bodyPr rtlCol="0" anchor="ctr"/>
              <a:lstStyle/>
              <a:p>
                <a:endParaRPr lang="en-GB"/>
              </a:p>
            </p:txBody>
          </p:sp>
        </p:grpSp>
        <p:grpSp>
          <p:nvGrpSpPr>
            <p:cNvPr id="459" name="Graphic 3">
              <a:extLst>
                <a:ext uri="{FF2B5EF4-FFF2-40B4-BE49-F238E27FC236}">
                  <a16:creationId xmlns:a16="http://schemas.microsoft.com/office/drawing/2014/main" id="{E242F214-B79F-4CF9-B70E-CEFF893F358D}"/>
                </a:ext>
              </a:extLst>
            </p:cNvPr>
            <p:cNvGrpSpPr/>
            <p:nvPr/>
          </p:nvGrpSpPr>
          <p:grpSpPr>
            <a:xfrm>
              <a:off x="7345764" y="4499868"/>
              <a:ext cx="133045" cy="114843"/>
              <a:chOff x="7345764" y="4499868"/>
              <a:chExt cx="133045" cy="114843"/>
            </a:xfrm>
            <a:grpFill/>
          </p:grpSpPr>
          <p:sp>
            <p:nvSpPr>
              <p:cNvPr id="4008" name="Vrije vorm: vorm 4007">
                <a:extLst>
                  <a:ext uri="{FF2B5EF4-FFF2-40B4-BE49-F238E27FC236}">
                    <a16:creationId xmlns:a16="http://schemas.microsoft.com/office/drawing/2014/main" id="{DEDD9C46-86EE-4A72-A4D8-CF2C09D30038}"/>
                  </a:ext>
                </a:extLst>
              </p:cNvPr>
              <p:cNvSpPr/>
              <p:nvPr/>
            </p:nvSpPr>
            <p:spPr>
              <a:xfrm>
                <a:off x="7353616" y="4507650"/>
                <a:ext cx="117401" cy="99280"/>
              </a:xfrm>
              <a:custGeom>
                <a:avLst/>
                <a:gdLst>
                  <a:gd name="connsiteX0" fmla="*/ 117402 w 117401"/>
                  <a:gd name="connsiteY0" fmla="*/ 96948 h 99280"/>
                  <a:gd name="connsiteX1" fmla="*/ 115428 w 117401"/>
                  <a:gd name="connsiteY1" fmla="*/ 99280 h 99280"/>
                  <a:gd name="connsiteX2" fmla="*/ 0 w 117401"/>
                  <a:gd name="connsiteY2" fmla="*/ 2333 h 99280"/>
                  <a:gd name="connsiteX3" fmla="*/ 1914 w 117401"/>
                  <a:gd name="connsiteY3" fmla="*/ 0 h 99280"/>
                </a:gdLst>
                <a:ahLst/>
                <a:cxnLst>
                  <a:cxn ang="0">
                    <a:pos x="connsiteX0" y="connsiteY0"/>
                  </a:cxn>
                  <a:cxn ang="0">
                    <a:pos x="connsiteX1" y="connsiteY1"/>
                  </a:cxn>
                  <a:cxn ang="0">
                    <a:pos x="connsiteX2" y="connsiteY2"/>
                  </a:cxn>
                  <a:cxn ang="0">
                    <a:pos x="connsiteX3" y="connsiteY3"/>
                  </a:cxn>
                </a:cxnLst>
                <a:rect l="l" t="t" r="r" b="b"/>
                <a:pathLst>
                  <a:path w="117401" h="99280">
                    <a:moveTo>
                      <a:pt x="117402" y="96948"/>
                    </a:moveTo>
                    <a:lnTo>
                      <a:pt x="115428" y="99280"/>
                    </a:lnTo>
                    <a:lnTo>
                      <a:pt x="0" y="2333"/>
                    </a:lnTo>
                    <a:lnTo>
                      <a:pt x="1914" y="0"/>
                    </a:lnTo>
                    <a:close/>
                  </a:path>
                </a:pathLst>
              </a:custGeom>
              <a:grpFill/>
              <a:ln w="5978" cap="flat">
                <a:noFill/>
                <a:prstDash val="solid"/>
                <a:miter/>
              </a:ln>
            </p:spPr>
            <p:txBody>
              <a:bodyPr rtlCol="0" anchor="ctr"/>
              <a:lstStyle/>
              <a:p>
                <a:endParaRPr lang="en-GB"/>
              </a:p>
            </p:txBody>
          </p:sp>
          <p:sp>
            <p:nvSpPr>
              <p:cNvPr id="4009" name="Vrije vorm: vorm 4008">
                <a:extLst>
                  <a:ext uri="{FF2B5EF4-FFF2-40B4-BE49-F238E27FC236}">
                    <a16:creationId xmlns:a16="http://schemas.microsoft.com/office/drawing/2014/main" id="{FFA666E1-3E93-41AE-A63D-BD4F7FEEB90E}"/>
                  </a:ext>
                </a:extLst>
              </p:cNvPr>
              <p:cNvSpPr/>
              <p:nvPr/>
            </p:nvSpPr>
            <p:spPr>
              <a:xfrm>
                <a:off x="7460475" y="4596278"/>
                <a:ext cx="18335" cy="18433"/>
              </a:xfrm>
              <a:custGeom>
                <a:avLst/>
                <a:gdLst>
                  <a:gd name="connsiteX0" fmla="*/ 15029 w 18335"/>
                  <a:gd name="connsiteY0" fmla="*/ 2160 h 18433"/>
                  <a:gd name="connsiteX1" fmla="*/ 16225 w 18335"/>
                  <a:gd name="connsiteY1" fmla="*/ 15138 h 18433"/>
                  <a:gd name="connsiteX2" fmla="*/ 3307 w 18335"/>
                  <a:gd name="connsiteY2" fmla="*/ 16274 h 18433"/>
                  <a:gd name="connsiteX3" fmla="*/ 2110 w 18335"/>
                  <a:gd name="connsiteY3" fmla="*/ 3296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8916" y="5449"/>
                      <a:pt x="19454" y="11250"/>
                      <a:pt x="16225" y="15138"/>
                    </a:cubicBezTo>
                    <a:cubicBezTo>
                      <a:pt x="12995" y="19025"/>
                      <a:pt x="7194" y="19564"/>
                      <a:pt x="3307" y="16274"/>
                    </a:cubicBezTo>
                    <a:cubicBezTo>
                      <a:pt x="-581" y="12985"/>
                      <a:pt x="-1119" y="7184"/>
                      <a:pt x="2110" y="3296"/>
                    </a:cubicBezTo>
                    <a:cubicBezTo>
                      <a:pt x="5400" y="-591"/>
                      <a:pt x="11141" y="-1130"/>
                      <a:pt x="15029" y="2160"/>
                    </a:cubicBezTo>
                    <a:close/>
                  </a:path>
                </a:pathLst>
              </a:custGeom>
              <a:grpFill/>
              <a:ln w="5978" cap="flat">
                <a:noFill/>
                <a:prstDash val="solid"/>
                <a:miter/>
              </a:ln>
            </p:spPr>
            <p:txBody>
              <a:bodyPr rtlCol="0" anchor="ctr"/>
              <a:lstStyle/>
              <a:p>
                <a:endParaRPr lang="en-GB"/>
              </a:p>
            </p:txBody>
          </p:sp>
          <p:sp>
            <p:nvSpPr>
              <p:cNvPr id="4010" name="Vrije vorm: vorm 4009">
                <a:extLst>
                  <a:ext uri="{FF2B5EF4-FFF2-40B4-BE49-F238E27FC236}">
                    <a16:creationId xmlns:a16="http://schemas.microsoft.com/office/drawing/2014/main" id="{40F86E14-CE4A-4BE3-B8D7-033164F899F0}"/>
                  </a:ext>
                </a:extLst>
              </p:cNvPr>
              <p:cNvSpPr/>
              <p:nvPr/>
            </p:nvSpPr>
            <p:spPr>
              <a:xfrm>
                <a:off x="7345764" y="4499868"/>
                <a:ext cx="18335" cy="18433"/>
              </a:xfrm>
              <a:custGeom>
                <a:avLst/>
                <a:gdLst>
                  <a:gd name="connsiteX0" fmla="*/ 15029 w 18335"/>
                  <a:gd name="connsiteY0" fmla="*/ 2160 h 18433"/>
                  <a:gd name="connsiteX1" fmla="*/ 2111 w 18335"/>
                  <a:gd name="connsiteY1" fmla="*/ 3296 h 18433"/>
                  <a:gd name="connsiteX2" fmla="*/ 3306 w 18335"/>
                  <a:gd name="connsiteY2" fmla="*/ 16274 h 18433"/>
                  <a:gd name="connsiteX3" fmla="*/ 16225 w 18335"/>
                  <a:gd name="connsiteY3" fmla="*/ 15138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1142" y="-1130"/>
                      <a:pt x="5340" y="-591"/>
                      <a:pt x="2111" y="3296"/>
                    </a:cubicBezTo>
                    <a:cubicBezTo>
                      <a:pt x="-1119" y="7184"/>
                      <a:pt x="-581" y="12985"/>
                      <a:pt x="3306" y="16274"/>
                    </a:cubicBezTo>
                    <a:cubicBezTo>
                      <a:pt x="7194" y="19564"/>
                      <a:pt x="12995" y="19025"/>
                      <a:pt x="16225" y="15138"/>
                    </a:cubicBezTo>
                    <a:cubicBezTo>
                      <a:pt x="19455" y="11250"/>
                      <a:pt x="18916" y="5449"/>
                      <a:pt x="15029" y="2160"/>
                    </a:cubicBezTo>
                    <a:close/>
                  </a:path>
                </a:pathLst>
              </a:custGeom>
              <a:grpFill/>
              <a:ln w="5978" cap="flat">
                <a:noFill/>
                <a:prstDash val="solid"/>
                <a:miter/>
              </a:ln>
            </p:spPr>
            <p:txBody>
              <a:bodyPr rtlCol="0" anchor="ctr"/>
              <a:lstStyle/>
              <a:p>
                <a:endParaRPr lang="en-GB"/>
              </a:p>
            </p:txBody>
          </p:sp>
        </p:grpSp>
        <p:grpSp>
          <p:nvGrpSpPr>
            <p:cNvPr id="460" name="Graphic 3">
              <a:extLst>
                <a:ext uri="{FF2B5EF4-FFF2-40B4-BE49-F238E27FC236}">
                  <a16:creationId xmlns:a16="http://schemas.microsoft.com/office/drawing/2014/main" id="{2DEF7BB0-3445-4012-B996-1CF667C88E91}"/>
                </a:ext>
              </a:extLst>
            </p:cNvPr>
            <p:cNvGrpSpPr/>
            <p:nvPr/>
          </p:nvGrpSpPr>
          <p:grpSpPr>
            <a:xfrm>
              <a:off x="6432647" y="1678569"/>
              <a:ext cx="39110" cy="106736"/>
              <a:chOff x="6432647" y="1678569"/>
              <a:chExt cx="39110" cy="106736"/>
            </a:xfrm>
            <a:grpFill/>
          </p:grpSpPr>
          <p:sp>
            <p:nvSpPr>
              <p:cNvPr id="4005" name="Vrije vorm: vorm 4004">
                <a:extLst>
                  <a:ext uri="{FF2B5EF4-FFF2-40B4-BE49-F238E27FC236}">
                    <a16:creationId xmlns:a16="http://schemas.microsoft.com/office/drawing/2014/main" id="{B1801FDF-5395-4C14-BD4D-ABF2F839E0EA}"/>
                  </a:ext>
                </a:extLst>
              </p:cNvPr>
              <p:cNvSpPr/>
              <p:nvPr/>
            </p:nvSpPr>
            <p:spPr>
              <a:xfrm>
                <a:off x="6440240" y="1687022"/>
                <a:ext cx="23922" cy="89830"/>
              </a:xfrm>
              <a:custGeom>
                <a:avLst/>
                <a:gdLst>
                  <a:gd name="connsiteX0" fmla="*/ 23923 w 23922"/>
                  <a:gd name="connsiteY0" fmla="*/ 718 h 89830"/>
                  <a:gd name="connsiteX1" fmla="*/ 2930 w 23922"/>
                  <a:gd name="connsiteY1" fmla="*/ 89830 h 89830"/>
                  <a:gd name="connsiteX2" fmla="*/ 0 w 23922"/>
                  <a:gd name="connsiteY2" fmla="*/ 89113 h 89830"/>
                  <a:gd name="connsiteX3" fmla="*/ 20992 w 23922"/>
                  <a:gd name="connsiteY3" fmla="*/ 0 h 89830"/>
                </a:gdLst>
                <a:ahLst/>
                <a:cxnLst>
                  <a:cxn ang="0">
                    <a:pos x="connsiteX0" y="connsiteY0"/>
                  </a:cxn>
                  <a:cxn ang="0">
                    <a:pos x="connsiteX1" y="connsiteY1"/>
                  </a:cxn>
                  <a:cxn ang="0">
                    <a:pos x="connsiteX2" y="connsiteY2"/>
                  </a:cxn>
                  <a:cxn ang="0">
                    <a:pos x="connsiteX3" y="connsiteY3"/>
                  </a:cxn>
                </a:cxnLst>
                <a:rect l="l" t="t" r="r" b="b"/>
                <a:pathLst>
                  <a:path w="23922" h="89830">
                    <a:moveTo>
                      <a:pt x="23923" y="718"/>
                    </a:moveTo>
                    <a:lnTo>
                      <a:pt x="2930" y="89830"/>
                    </a:lnTo>
                    <a:lnTo>
                      <a:pt x="0" y="89113"/>
                    </a:lnTo>
                    <a:lnTo>
                      <a:pt x="20992" y="0"/>
                    </a:lnTo>
                    <a:close/>
                  </a:path>
                </a:pathLst>
              </a:custGeom>
              <a:grpFill/>
              <a:ln w="5978" cap="flat">
                <a:noFill/>
                <a:prstDash val="solid"/>
                <a:miter/>
              </a:ln>
            </p:spPr>
            <p:txBody>
              <a:bodyPr rtlCol="0" anchor="ctr"/>
              <a:lstStyle/>
              <a:p>
                <a:endParaRPr lang="en-GB"/>
              </a:p>
            </p:txBody>
          </p:sp>
          <p:sp>
            <p:nvSpPr>
              <p:cNvPr id="4006" name="Vrije vorm: vorm 4005">
                <a:extLst>
                  <a:ext uri="{FF2B5EF4-FFF2-40B4-BE49-F238E27FC236}">
                    <a16:creationId xmlns:a16="http://schemas.microsoft.com/office/drawing/2014/main" id="{1B7ECDEF-7548-4EA3-B06F-9D2600DF7E99}"/>
                  </a:ext>
                </a:extLst>
              </p:cNvPr>
              <p:cNvSpPr/>
              <p:nvPr/>
            </p:nvSpPr>
            <p:spPr>
              <a:xfrm>
                <a:off x="6453437" y="1678569"/>
                <a:ext cx="18319" cy="18461"/>
              </a:xfrm>
              <a:custGeom>
                <a:avLst/>
                <a:gdLst>
                  <a:gd name="connsiteX0" fmla="*/ 260 w 18319"/>
                  <a:gd name="connsiteY0" fmla="*/ 7078 h 18461"/>
                  <a:gd name="connsiteX1" fmla="*/ 11264 w 18319"/>
                  <a:gd name="connsiteY1" fmla="*/ 260 h 18461"/>
                  <a:gd name="connsiteX2" fmla="*/ 18082 w 18319"/>
                  <a:gd name="connsiteY2" fmla="*/ 11384 h 18461"/>
                  <a:gd name="connsiteX3" fmla="*/ 7078 w 18319"/>
                  <a:gd name="connsiteY3" fmla="*/ 18202 h 18461"/>
                  <a:gd name="connsiteX4" fmla="*/ 260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60" y="7078"/>
                    </a:moveTo>
                    <a:cubicBezTo>
                      <a:pt x="1456" y="2114"/>
                      <a:pt x="6360" y="-936"/>
                      <a:pt x="11264" y="260"/>
                    </a:cubicBezTo>
                    <a:cubicBezTo>
                      <a:pt x="16168" y="1456"/>
                      <a:pt x="19218" y="6420"/>
                      <a:pt x="18082" y="11384"/>
                    </a:cubicBezTo>
                    <a:cubicBezTo>
                      <a:pt x="16886" y="16348"/>
                      <a:pt x="11982" y="19398"/>
                      <a:pt x="7078" y="18202"/>
                    </a:cubicBezTo>
                    <a:cubicBezTo>
                      <a:pt x="2114" y="17006"/>
                      <a:pt x="-937" y="12042"/>
                      <a:pt x="260" y="7078"/>
                    </a:cubicBezTo>
                    <a:close/>
                  </a:path>
                </a:pathLst>
              </a:custGeom>
              <a:grpFill/>
              <a:ln w="5978" cap="flat">
                <a:noFill/>
                <a:prstDash val="solid"/>
                <a:miter/>
              </a:ln>
            </p:spPr>
            <p:txBody>
              <a:bodyPr rtlCol="0" anchor="ctr"/>
              <a:lstStyle/>
              <a:p>
                <a:endParaRPr lang="en-GB"/>
              </a:p>
            </p:txBody>
          </p:sp>
          <p:sp>
            <p:nvSpPr>
              <p:cNvPr id="4007" name="Vrije vorm: vorm 4006">
                <a:extLst>
                  <a:ext uri="{FF2B5EF4-FFF2-40B4-BE49-F238E27FC236}">
                    <a16:creationId xmlns:a16="http://schemas.microsoft.com/office/drawing/2014/main" id="{9488B018-E4E9-49E2-BC53-E882727BFBEE}"/>
                  </a:ext>
                </a:extLst>
              </p:cNvPr>
              <p:cNvSpPr/>
              <p:nvPr/>
            </p:nvSpPr>
            <p:spPr>
              <a:xfrm>
                <a:off x="6432647" y="1766844"/>
                <a:ext cx="18319" cy="18461"/>
              </a:xfrm>
              <a:custGeom>
                <a:avLst/>
                <a:gdLst>
                  <a:gd name="connsiteX0" fmla="*/ 238 w 18319"/>
                  <a:gd name="connsiteY0" fmla="*/ 7078 h 18461"/>
                  <a:gd name="connsiteX1" fmla="*/ 7055 w 18319"/>
                  <a:gd name="connsiteY1" fmla="*/ 18202 h 18461"/>
                  <a:gd name="connsiteX2" fmla="*/ 18060 w 18319"/>
                  <a:gd name="connsiteY2" fmla="*/ 11384 h 18461"/>
                  <a:gd name="connsiteX3" fmla="*/ 11242 w 18319"/>
                  <a:gd name="connsiteY3" fmla="*/ 260 h 18461"/>
                  <a:gd name="connsiteX4" fmla="*/ 238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38" y="7078"/>
                    </a:moveTo>
                    <a:cubicBezTo>
                      <a:pt x="-899" y="12042"/>
                      <a:pt x="2151" y="17006"/>
                      <a:pt x="7055" y="18202"/>
                    </a:cubicBezTo>
                    <a:cubicBezTo>
                      <a:pt x="11960" y="19398"/>
                      <a:pt x="16924" y="16348"/>
                      <a:pt x="18060" y="11384"/>
                    </a:cubicBezTo>
                    <a:cubicBezTo>
                      <a:pt x="19256" y="6420"/>
                      <a:pt x="16206" y="1456"/>
                      <a:pt x="11242" y="260"/>
                    </a:cubicBezTo>
                    <a:cubicBezTo>
                      <a:pt x="6338" y="-937"/>
                      <a:pt x="1433" y="2114"/>
                      <a:pt x="238" y="7078"/>
                    </a:cubicBezTo>
                    <a:close/>
                  </a:path>
                </a:pathLst>
              </a:custGeom>
              <a:grpFill/>
              <a:ln w="5978" cap="flat">
                <a:noFill/>
                <a:prstDash val="solid"/>
                <a:miter/>
              </a:ln>
            </p:spPr>
            <p:txBody>
              <a:bodyPr rtlCol="0" anchor="ctr"/>
              <a:lstStyle/>
              <a:p>
                <a:endParaRPr lang="en-GB"/>
              </a:p>
            </p:txBody>
          </p:sp>
        </p:grpSp>
        <p:grpSp>
          <p:nvGrpSpPr>
            <p:cNvPr id="461" name="Graphic 3">
              <a:extLst>
                <a:ext uri="{FF2B5EF4-FFF2-40B4-BE49-F238E27FC236}">
                  <a16:creationId xmlns:a16="http://schemas.microsoft.com/office/drawing/2014/main" id="{578F9D3C-8621-455D-A732-10BFF3536DB7}"/>
                </a:ext>
              </a:extLst>
            </p:cNvPr>
            <p:cNvGrpSpPr/>
            <p:nvPr/>
          </p:nvGrpSpPr>
          <p:grpSpPr>
            <a:xfrm>
              <a:off x="6340460" y="1463055"/>
              <a:ext cx="105543" cy="309958"/>
              <a:chOff x="6340460" y="1463055"/>
              <a:chExt cx="105543" cy="309958"/>
            </a:xfrm>
            <a:grpFill/>
          </p:grpSpPr>
          <p:sp>
            <p:nvSpPr>
              <p:cNvPr id="4002" name="Vrije vorm: vorm 4001">
                <a:extLst>
                  <a:ext uri="{FF2B5EF4-FFF2-40B4-BE49-F238E27FC236}">
                    <a16:creationId xmlns:a16="http://schemas.microsoft.com/office/drawing/2014/main" id="{9D13D2A8-B2BD-4538-B625-E095089D266E}"/>
                  </a:ext>
                </a:extLst>
              </p:cNvPr>
              <p:cNvSpPr/>
              <p:nvPr/>
            </p:nvSpPr>
            <p:spPr>
              <a:xfrm>
                <a:off x="6348018" y="1471357"/>
                <a:ext cx="90368" cy="293354"/>
              </a:xfrm>
              <a:custGeom>
                <a:avLst/>
                <a:gdLst>
                  <a:gd name="connsiteX0" fmla="*/ 90369 w 90368"/>
                  <a:gd name="connsiteY0" fmla="*/ 897 h 293354"/>
                  <a:gd name="connsiteX1" fmla="*/ 2930 w 90368"/>
                  <a:gd name="connsiteY1" fmla="*/ 293354 h 293354"/>
                  <a:gd name="connsiteX2" fmla="*/ 0 w 90368"/>
                  <a:gd name="connsiteY2" fmla="*/ 292457 h 293354"/>
                  <a:gd name="connsiteX3" fmla="*/ 87498 w 90368"/>
                  <a:gd name="connsiteY3" fmla="*/ 0 h 293354"/>
                </a:gdLst>
                <a:ahLst/>
                <a:cxnLst>
                  <a:cxn ang="0">
                    <a:pos x="connsiteX0" y="connsiteY0"/>
                  </a:cxn>
                  <a:cxn ang="0">
                    <a:pos x="connsiteX1" y="connsiteY1"/>
                  </a:cxn>
                  <a:cxn ang="0">
                    <a:pos x="connsiteX2" y="connsiteY2"/>
                  </a:cxn>
                  <a:cxn ang="0">
                    <a:pos x="connsiteX3" y="connsiteY3"/>
                  </a:cxn>
                </a:cxnLst>
                <a:rect l="l" t="t" r="r" b="b"/>
                <a:pathLst>
                  <a:path w="90368" h="293354">
                    <a:moveTo>
                      <a:pt x="90369" y="897"/>
                    </a:moveTo>
                    <a:lnTo>
                      <a:pt x="2930" y="293354"/>
                    </a:lnTo>
                    <a:lnTo>
                      <a:pt x="0" y="292457"/>
                    </a:lnTo>
                    <a:lnTo>
                      <a:pt x="87498" y="0"/>
                    </a:lnTo>
                    <a:close/>
                  </a:path>
                </a:pathLst>
              </a:custGeom>
              <a:grpFill/>
              <a:ln w="5978" cap="flat">
                <a:noFill/>
                <a:prstDash val="solid"/>
                <a:miter/>
              </a:ln>
            </p:spPr>
            <p:txBody>
              <a:bodyPr rtlCol="0" anchor="ctr"/>
              <a:lstStyle/>
              <a:p>
                <a:endParaRPr lang="en-GB"/>
              </a:p>
            </p:txBody>
          </p:sp>
          <p:sp>
            <p:nvSpPr>
              <p:cNvPr id="4003" name="Vrije vorm: vorm 4002">
                <a:extLst>
                  <a:ext uri="{FF2B5EF4-FFF2-40B4-BE49-F238E27FC236}">
                    <a16:creationId xmlns:a16="http://schemas.microsoft.com/office/drawing/2014/main" id="{304E9412-513B-465B-A2DF-D90E4F18D368}"/>
                  </a:ext>
                </a:extLst>
              </p:cNvPr>
              <p:cNvSpPr/>
              <p:nvPr/>
            </p:nvSpPr>
            <p:spPr>
              <a:xfrm>
                <a:off x="6340460" y="1754616"/>
                <a:ext cx="18344" cy="18398"/>
              </a:xfrm>
              <a:custGeom>
                <a:avLst/>
                <a:gdLst>
                  <a:gd name="connsiteX0" fmla="*/ 17964 w 18344"/>
                  <a:gd name="connsiteY0" fmla="*/ 11890 h 18398"/>
                  <a:gd name="connsiteX1" fmla="*/ 6540 w 18344"/>
                  <a:gd name="connsiteY1" fmla="*/ 17991 h 18398"/>
                  <a:gd name="connsiteX2" fmla="*/ 380 w 18344"/>
                  <a:gd name="connsiteY2" fmla="*/ 6508 h 18398"/>
                  <a:gd name="connsiteX3" fmla="*/ 11803 w 18344"/>
                  <a:gd name="connsiteY3" fmla="*/ 407 h 18398"/>
                  <a:gd name="connsiteX4" fmla="*/ 17964 w 18344"/>
                  <a:gd name="connsiteY4" fmla="*/ 1189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98">
                    <a:moveTo>
                      <a:pt x="17964" y="11890"/>
                    </a:moveTo>
                    <a:cubicBezTo>
                      <a:pt x="16528" y="16735"/>
                      <a:pt x="11385" y="19486"/>
                      <a:pt x="6540" y="17991"/>
                    </a:cubicBezTo>
                    <a:cubicBezTo>
                      <a:pt x="1696" y="16496"/>
                      <a:pt x="-1055" y="11352"/>
                      <a:pt x="380" y="6508"/>
                    </a:cubicBezTo>
                    <a:cubicBezTo>
                      <a:pt x="1816" y="1663"/>
                      <a:pt x="6959" y="-1088"/>
                      <a:pt x="11803" y="407"/>
                    </a:cubicBezTo>
                    <a:cubicBezTo>
                      <a:pt x="16648" y="1903"/>
                      <a:pt x="19399" y="7046"/>
                      <a:pt x="17964" y="11890"/>
                    </a:cubicBezTo>
                    <a:close/>
                  </a:path>
                </a:pathLst>
              </a:custGeom>
              <a:grpFill/>
              <a:ln w="5978" cap="flat">
                <a:noFill/>
                <a:prstDash val="solid"/>
                <a:miter/>
              </a:ln>
            </p:spPr>
            <p:txBody>
              <a:bodyPr rtlCol="0" anchor="ctr"/>
              <a:lstStyle/>
              <a:p>
                <a:endParaRPr lang="en-GB"/>
              </a:p>
            </p:txBody>
          </p:sp>
          <p:sp>
            <p:nvSpPr>
              <p:cNvPr id="4004" name="Vrije vorm: vorm 4003">
                <a:extLst>
                  <a:ext uri="{FF2B5EF4-FFF2-40B4-BE49-F238E27FC236}">
                    <a16:creationId xmlns:a16="http://schemas.microsoft.com/office/drawing/2014/main" id="{50D84246-5278-40DD-A037-A23C24810DE1}"/>
                  </a:ext>
                </a:extLst>
              </p:cNvPr>
              <p:cNvSpPr/>
              <p:nvPr/>
            </p:nvSpPr>
            <p:spPr>
              <a:xfrm>
                <a:off x="6427659" y="1463055"/>
                <a:ext cx="18344" cy="18398"/>
              </a:xfrm>
              <a:custGeom>
                <a:avLst/>
                <a:gdLst>
                  <a:gd name="connsiteX0" fmla="*/ 17964 w 18344"/>
                  <a:gd name="connsiteY0" fmla="*/ 11890 h 18398"/>
                  <a:gd name="connsiteX1" fmla="*/ 11804 w 18344"/>
                  <a:gd name="connsiteY1" fmla="*/ 407 h 18398"/>
                  <a:gd name="connsiteX2" fmla="*/ 381 w 18344"/>
                  <a:gd name="connsiteY2" fmla="*/ 6508 h 18398"/>
                  <a:gd name="connsiteX3" fmla="*/ 6540 w 18344"/>
                  <a:gd name="connsiteY3" fmla="*/ 17991 h 18398"/>
                  <a:gd name="connsiteX4" fmla="*/ 17964 w 18344"/>
                  <a:gd name="connsiteY4" fmla="*/ 1189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98">
                    <a:moveTo>
                      <a:pt x="17964" y="11890"/>
                    </a:moveTo>
                    <a:cubicBezTo>
                      <a:pt x="19399" y="7046"/>
                      <a:pt x="16648" y="1903"/>
                      <a:pt x="11804" y="407"/>
                    </a:cubicBezTo>
                    <a:cubicBezTo>
                      <a:pt x="6959" y="-1088"/>
                      <a:pt x="1816" y="1663"/>
                      <a:pt x="381" y="6508"/>
                    </a:cubicBezTo>
                    <a:cubicBezTo>
                      <a:pt x="-1055" y="11352"/>
                      <a:pt x="1696" y="16496"/>
                      <a:pt x="6540" y="17991"/>
                    </a:cubicBezTo>
                    <a:cubicBezTo>
                      <a:pt x="11385" y="19486"/>
                      <a:pt x="16469" y="16735"/>
                      <a:pt x="17964" y="11890"/>
                    </a:cubicBezTo>
                    <a:close/>
                  </a:path>
                </a:pathLst>
              </a:custGeom>
              <a:grpFill/>
              <a:ln w="5978" cap="flat">
                <a:noFill/>
                <a:prstDash val="solid"/>
                <a:miter/>
              </a:ln>
            </p:spPr>
            <p:txBody>
              <a:bodyPr rtlCol="0" anchor="ctr"/>
              <a:lstStyle/>
              <a:p>
                <a:endParaRPr lang="en-GB"/>
              </a:p>
            </p:txBody>
          </p:sp>
        </p:grpSp>
        <p:grpSp>
          <p:nvGrpSpPr>
            <p:cNvPr id="462" name="Graphic 3">
              <a:extLst>
                <a:ext uri="{FF2B5EF4-FFF2-40B4-BE49-F238E27FC236}">
                  <a16:creationId xmlns:a16="http://schemas.microsoft.com/office/drawing/2014/main" id="{AFF68BC1-342D-4C93-8075-D20A86AB4B92}"/>
                </a:ext>
              </a:extLst>
            </p:cNvPr>
            <p:cNvGrpSpPr/>
            <p:nvPr/>
          </p:nvGrpSpPr>
          <p:grpSpPr>
            <a:xfrm>
              <a:off x="6386964" y="1597562"/>
              <a:ext cx="33468" cy="95328"/>
              <a:chOff x="6386964" y="1597562"/>
              <a:chExt cx="33468" cy="95328"/>
            </a:xfrm>
            <a:grpFill/>
          </p:grpSpPr>
          <p:sp>
            <p:nvSpPr>
              <p:cNvPr id="3999" name="Vrije vorm: vorm 3998">
                <a:extLst>
                  <a:ext uri="{FF2B5EF4-FFF2-40B4-BE49-F238E27FC236}">
                    <a16:creationId xmlns:a16="http://schemas.microsoft.com/office/drawing/2014/main" id="{A55DEE1D-0BAA-4100-832B-30F753D3DADF}"/>
                  </a:ext>
                </a:extLst>
              </p:cNvPr>
              <p:cNvSpPr/>
              <p:nvPr/>
            </p:nvSpPr>
            <p:spPr>
              <a:xfrm>
                <a:off x="6394548" y="1606043"/>
                <a:ext cx="18300" cy="78347"/>
              </a:xfrm>
              <a:custGeom>
                <a:avLst/>
                <a:gdLst>
                  <a:gd name="connsiteX0" fmla="*/ 18301 w 18300"/>
                  <a:gd name="connsiteY0" fmla="*/ 598 h 78347"/>
                  <a:gd name="connsiteX1" fmla="*/ 2990 w 18300"/>
                  <a:gd name="connsiteY1" fmla="*/ 78347 h 78347"/>
                  <a:gd name="connsiteX2" fmla="*/ 0 w 18300"/>
                  <a:gd name="connsiteY2" fmla="*/ 77749 h 78347"/>
                  <a:gd name="connsiteX3" fmla="*/ 15311 w 18300"/>
                  <a:gd name="connsiteY3" fmla="*/ 0 h 78347"/>
                </a:gdLst>
                <a:ahLst/>
                <a:cxnLst>
                  <a:cxn ang="0">
                    <a:pos x="connsiteX0" y="connsiteY0"/>
                  </a:cxn>
                  <a:cxn ang="0">
                    <a:pos x="connsiteX1" y="connsiteY1"/>
                  </a:cxn>
                  <a:cxn ang="0">
                    <a:pos x="connsiteX2" y="connsiteY2"/>
                  </a:cxn>
                  <a:cxn ang="0">
                    <a:pos x="connsiteX3" y="connsiteY3"/>
                  </a:cxn>
                </a:cxnLst>
                <a:rect l="l" t="t" r="r" b="b"/>
                <a:pathLst>
                  <a:path w="18300" h="78347">
                    <a:moveTo>
                      <a:pt x="18301" y="598"/>
                    </a:moveTo>
                    <a:lnTo>
                      <a:pt x="2990" y="78347"/>
                    </a:lnTo>
                    <a:lnTo>
                      <a:pt x="0" y="77749"/>
                    </a:lnTo>
                    <a:lnTo>
                      <a:pt x="15311" y="0"/>
                    </a:lnTo>
                    <a:close/>
                  </a:path>
                </a:pathLst>
              </a:custGeom>
              <a:grpFill/>
              <a:ln w="5978" cap="flat">
                <a:noFill/>
                <a:prstDash val="solid"/>
                <a:miter/>
              </a:ln>
            </p:spPr>
            <p:txBody>
              <a:bodyPr rtlCol="0" anchor="ctr"/>
              <a:lstStyle/>
              <a:p>
                <a:endParaRPr lang="en-GB"/>
              </a:p>
            </p:txBody>
          </p:sp>
          <p:sp>
            <p:nvSpPr>
              <p:cNvPr id="4000" name="Vrije vorm: vorm 3999">
                <a:extLst>
                  <a:ext uri="{FF2B5EF4-FFF2-40B4-BE49-F238E27FC236}">
                    <a16:creationId xmlns:a16="http://schemas.microsoft.com/office/drawing/2014/main" id="{58687C68-82BD-4086-B1FD-9BBF5F249821}"/>
                  </a:ext>
                </a:extLst>
              </p:cNvPr>
              <p:cNvSpPr/>
              <p:nvPr/>
            </p:nvSpPr>
            <p:spPr>
              <a:xfrm>
                <a:off x="6402076" y="1597562"/>
                <a:ext cx="18356" cy="18397"/>
              </a:xfrm>
              <a:custGeom>
                <a:avLst/>
                <a:gdLst>
                  <a:gd name="connsiteX0" fmla="*/ 187 w 18356"/>
                  <a:gd name="connsiteY0" fmla="*/ 7405 h 18397"/>
                  <a:gd name="connsiteX1" fmla="*/ 10952 w 18356"/>
                  <a:gd name="connsiteY1" fmla="*/ 168 h 18397"/>
                  <a:gd name="connsiteX2" fmla="*/ 18189 w 18356"/>
                  <a:gd name="connsiteY2" fmla="*/ 10993 h 18397"/>
                  <a:gd name="connsiteX3" fmla="*/ 7424 w 18356"/>
                  <a:gd name="connsiteY3" fmla="*/ 18230 h 18397"/>
                  <a:gd name="connsiteX4" fmla="*/ 187 w 18356"/>
                  <a:gd name="connsiteY4" fmla="*/ 7405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87" y="7405"/>
                    </a:moveTo>
                    <a:cubicBezTo>
                      <a:pt x="1144" y="2441"/>
                      <a:pt x="5988" y="-789"/>
                      <a:pt x="10952" y="168"/>
                    </a:cubicBezTo>
                    <a:cubicBezTo>
                      <a:pt x="15916" y="1185"/>
                      <a:pt x="19146" y="6029"/>
                      <a:pt x="18189" y="10993"/>
                    </a:cubicBezTo>
                    <a:cubicBezTo>
                      <a:pt x="17232" y="15957"/>
                      <a:pt x="12388" y="19187"/>
                      <a:pt x="7424" y="18230"/>
                    </a:cubicBezTo>
                    <a:cubicBezTo>
                      <a:pt x="2400" y="17273"/>
                      <a:pt x="-830" y="12369"/>
                      <a:pt x="187" y="7405"/>
                    </a:cubicBezTo>
                    <a:close/>
                  </a:path>
                </a:pathLst>
              </a:custGeom>
              <a:grpFill/>
              <a:ln w="5978" cap="flat">
                <a:noFill/>
                <a:prstDash val="solid"/>
                <a:miter/>
              </a:ln>
            </p:spPr>
            <p:txBody>
              <a:bodyPr rtlCol="0" anchor="ctr"/>
              <a:lstStyle/>
              <a:p>
                <a:endParaRPr lang="en-GB"/>
              </a:p>
            </p:txBody>
          </p:sp>
          <p:sp>
            <p:nvSpPr>
              <p:cNvPr id="4001" name="Vrije vorm: vorm 4000">
                <a:extLst>
                  <a:ext uri="{FF2B5EF4-FFF2-40B4-BE49-F238E27FC236}">
                    <a16:creationId xmlns:a16="http://schemas.microsoft.com/office/drawing/2014/main" id="{851AF6C4-CD79-4E9E-AE4C-DF2F15AB6DC9}"/>
                  </a:ext>
                </a:extLst>
              </p:cNvPr>
              <p:cNvSpPr/>
              <p:nvPr/>
            </p:nvSpPr>
            <p:spPr>
              <a:xfrm>
                <a:off x="6386964" y="1674435"/>
                <a:ext cx="18337" cy="18455"/>
              </a:xfrm>
              <a:custGeom>
                <a:avLst/>
                <a:gdLst>
                  <a:gd name="connsiteX0" fmla="*/ 168 w 18337"/>
                  <a:gd name="connsiteY0" fmla="*/ 7384 h 18455"/>
                  <a:gd name="connsiteX1" fmla="*/ 7405 w 18337"/>
                  <a:gd name="connsiteY1" fmla="*/ 18269 h 18455"/>
                  <a:gd name="connsiteX2" fmla="*/ 18170 w 18337"/>
                  <a:gd name="connsiteY2" fmla="*/ 11032 h 18455"/>
                  <a:gd name="connsiteX3" fmla="*/ 10933 w 18337"/>
                  <a:gd name="connsiteY3" fmla="*/ 207 h 18455"/>
                  <a:gd name="connsiteX4" fmla="*/ 168 w 18337"/>
                  <a:gd name="connsiteY4" fmla="*/ 7384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5">
                    <a:moveTo>
                      <a:pt x="168" y="7384"/>
                    </a:moveTo>
                    <a:cubicBezTo>
                      <a:pt x="-789" y="12348"/>
                      <a:pt x="2441" y="17252"/>
                      <a:pt x="7405" y="18269"/>
                    </a:cubicBezTo>
                    <a:cubicBezTo>
                      <a:pt x="12368" y="19286"/>
                      <a:pt x="17213" y="16056"/>
                      <a:pt x="18170" y="11032"/>
                    </a:cubicBezTo>
                    <a:cubicBezTo>
                      <a:pt x="19127" y="6068"/>
                      <a:pt x="15897" y="1164"/>
                      <a:pt x="10933" y="207"/>
                    </a:cubicBezTo>
                    <a:cubicBezTo>
                      <a:pt x="5969" y="-870"/>
                      <a:pt x="1125" y="2360"/>
                      <a:pt x="168" y="7384"/>
                    </a:cubicBezTo>
                    <a:close/>
                  </a:path>
                </a:pathLst>
              </a:custGeom>
              <a:grpFill/>
              <a:ln w="5978" cap="flat">
                <a:noFill/>
                <a:prstDash val="solid"/>
                <a:miter/>
              </a:ln>
            </p:spPr>
            <p:txBody>
              <a:bodyPr rtlCol="0" anchor="ctr"/>
              <a:lstStyle/>
              <a:p>
                <a:endParaRPr lang="en-GB"/>
              </a:p>
            </p:txBody>
          </p:sp>
        </p:grpSp>
        <p:grpSp>
          <p:nvGrpSpPr>
            <p:cNvPr id="463" name="Graphic 3">
              <a:extLst>
                <a:ext uri="{FF2B5EF4-FFF2-40B4-BE49-F238E27FC236}">
                  <a16:creationId xmlns:a16="http://schemas.microsoft.com/office/drawing/2014/main" id="{29DC5D97-0AAE-462E-8BF8-C7322CFD6D38}"/>
                </a:ext>
              </a:extLst>
            </p:cNvPr>
            <p:cNvGrpSpPr/>
            <p:nvPr/>
          </p:nvGrpSpPr>
          <p:grpSpPr>
            <a:xfrm>
              <a:off x="7409235" y="4840482"/>
              <a:ext cx="210165" cy="220058"/>
              <a:chOff x="7409235" y="4840482"/>
              <a:chExt cx="210165" cy="220058"/>
            </a:xfrm>
            <a:grpFill/>
          </p:grpSpPr>
          <p:sp>
            <p:nvSpPr>
              <p:cNvPr id="3996" name="Vrije vorm: vorm 3995">
                <a:extLst>
                  <a:ext uri="{FF2B5EF4-FFF2-40B4-BE49-F238E27FC236}">
                    <a16:creationId xmlns:a16="http://schemas.microsoft.com/office/drawing/2014/main" id="{72C3EB5F-F0E9-4CDF-8775-F03B78C0C31C}"/>
                  </a:ext>
                </a:extLst>
              </p:cNvPr>
              <p:cNvSpPr/>
              <p:nvPr/>
            </p:nvSpPr>
            <p:spPr>
              <a:xfrm>
                <a:off x="7417012" y="4848312"/>
                <a:ext cx="194612" cy="204421"/>
              </a:xfrm>
              <a:custGeom>
                <a:avLst/>
                <a:gdLst>
                  <a:gd name="connsiteX0" fmla="*/ 194613 w 194612"/>
                  <a:gd name="connsiteY0" fmla="*/ 202268 h 204421"/>
                  <a:gd name="connsiteX1" fmla="*/ 192460 w 194612"/>
                  <a:gd name="connsiteY1" fmla="*/ 204421 h 204421"/>
                  <a:gd name="connsiteX2" fmla="*/ 0 w 194612"/>
                  <a:gd name="connsiteY2" fmla="*/ 2153 h 204421"/>
                  <a:gd name="connsiteX3" fmla="*/ 2154 w 194612"/>
                  <a:gd name="connsiteY3" fmla="*/ 0 h 204421"/>
                </a:gdLst>
                <a:ahLst/>
                <a:cxnLst>
                  <a:cxn ang="0">
                    <a:pos x="connsiteX0" y="connsiteY0"/>
                  </a:cxn>
                  <a:cxn ang="0">
                    <a:pos x="connsiteX1" y="connsiteY1"/>
                  </a:cxn>
                  <a:cxn ang="0">
                    <a:pos x="connsiteX2" y="connsiteY2"/>
                  </a:cxn>
                  <a:cxn ang="0">
                    <a:pos x="connsiteX3" y="connsiteY3"/>
                  </a:cxn>
                </a:cxnLst>
                <a:rect l="l" t="t" r="r" b="b"/>
                <a:pathLst>
                  <a:path w="194612" h="204421">
                    <a:moveTo>
                      <a:pt x="194613" y="202268"/>
                    </a:moveTo>
                    <a:lnTo>
                      <a:pt x="192460" y="204421"/>
                    </a:lnTo>
                    <a:lnTo>
                      <a:pt x="0" y="2153"/>
                    </a:lnTo>
                    <a:lnTo>
                      <a:pt x="2154" y="0"/>
                    </a:lnTo>
                    <a:close/>
                  </a:path>
                </a:pathLst>
              </a:custGeom>
              <a:grpFill/>
              <a:ln w="5978" cap="flat">
                <a:noFill/>
                <a:prstDash val="solid"/>
                <a:miter/>
              </a:ln>
            </p:spPr>
            <p:txBody>
              <a:bodyPr rtlCol="0" anchor="ctr"/>
              <a:lstStyle/>
              <a:p>
                <a:endParaRPr lang="en-GB"/>
              </a:p>
            </p:txBody>
          </p:sp>
          <p:sp>
            <p:nvSpPr>
              <p:cNvPr id="3997" name="Vrije vorm: vorm 3996">
                <a:extLst>
                  <a:ext uri="{FF2B5EF4-FFF2-40B4-BE49-F238E27FC236}">
                    <a16:creationId xmlns:a16="http://schemas.microsoft.com/office/drawing/2014/main" id="{C4EF3A06-0397-4E0E-836B-1B6C85E775EF}"/>
                  </a:ext>
                </a:extLst>
              </p:cNvPr>
              <p:cNvSpPr/>
              <p:nvPr/>
            </p:nvSpPr>
            <p:spPr>
              <a:xfrm>
                <a:off x="7601037" y="5042114"/>
                <a:ext cx="18364" cy="18426"/>
              </a:xfrm>
              <a:custGeom>
                <a:avLst/>
                <a:gdLst>
                  <a:gd name="connsiteX0" fmla="*/ 15791 w 18364"/>
                  <a:gd name="connsiteY0" fmla="*/ 2844 h 18426"/>
                  <a:gd name="connsiteX1" fmla="*/ 15551 w 18364"/>
                  <a:gd name="connsiteY1" fmla="*/ 15882 h 18426"/>
                  <a:gd name="connsiteX2" fmla="*/ 2574 w 18364"/>
                  <a:gd name="connsiteY2" fmla="*/ 15583 h 18426"/>
                  <a:gd name="connsiteX3" fmla="*/ 2812 w 18364"/>
                  <a:gd name="connsiteY3" fmla="*/ 2545 h 18426"/>
                  <a:gd name="connsiteX4" fmla="*/ 15791 w 18364"/>
                  <a:gd name="connsiteY4" fmla="*/ 284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15791" y="2844"/>
                    </a:moveTo>
                    <a:cubicBezTo>
                      <a:pt x="19319" y="6552"/>
                      <a:pt x="19200" y="12353"/>
                      <a:pt x="15551" y="15882"/>
                    </a:cubicBezTo>
                    <a:cubicBezTo>
                      <a:pt x="11903" y="19410"/>
                      <a:pt x="6102" y="19231"/>
                      <a:pt x="2574" y="15583"/>
                    </a:cubicBezTo>
                    <a:cubicBezTo>
                      <a:pt x="-955" y="11875"/>
                      <a:pt x="-836" y="6073"/>
                      <a:pt x="2812" y="2545"/>
                    </a:cubicBezTo>
                    <a:cubicBezTo>
                      <a:pt x="6521" y="-984"/>
                      <a:pt x="12322" y="-804"/>
                      <a:pt x="15791" y="2844"/>
                    </a:cubicBezTo>
                    <a:close/>
                  </a:path>
                </a:pathLst>
              </a:custGeom>
              <a:grpFill/>
              <a:ln w="5978" cap="flat">
                <a:noFill/>
                <a:prstDash val="solid"/>
                <a:miter/>
              </a:ln>
            </p:spPr>
            <p:txBody>
              <a:bodyPr rtlCol="0" anchor="ctr"/>
              <a:lstStyle/>
              <a:p>
                <a:endParaRPr lang="en-GB"/>
              </a:p>
            </p:txBody>
          </p:sp>
          <p:sp>
            <p:nvSpPr>
              <p:cNvPr id="3998" name="Vrije vorm: vorm 3997">
                <a:extLst>
                  <a:ext uri="{FF2B5EF4-FFF2-40B4-BE49-F238E27FC236}">
                    <a16:creationId xmlns:a16="http://schemas.microsoft.com/office/drawing/2014/main" id="{C07F64A6-4AF8-416D-84D8-BC6A5478E736}"/>
                  </a:ext>
                </a:extLst>
              </p:cNvPr>
              <p:cNvSpPr/>
              <p:nvPr/>
            </p:nvSpPr>
            <p:spPr>
              <a:xfrm>
                <a:off x="7409235" y="4840482"/>
                <a:ext cx="18319" cy="18470"/>
              </a:xfrm>
              <a:custGeom>
                <a:avLst/>
                <a:gdLst>
                  <a:gd name="connsiteX0" fmla="*/ 15791 w 18319"/>
                  <a:gd name="connsiteY0" fmla="*/ 2866 h 18470"/>
                  <a:gd name="connsiteX1" fmla="*/ 2813 w 18319"/>
                  <a:gd name="connsiteY1" fmla="*/ 2567 h 18470"/>
                  <a:gd name="connsiteX2" fmla="*/ 2573 w 18319"/>
                  <a:gd name="connsiteY2" fmla="*/ 15605 h 18470"/>
                  <a:gd name="connsiteX3" fmla="*/ 15552 w 18319"/>
                  <a:gd name="connsiteY3" fmla="*/ 15903 h 18470"/>
                  <a:gd name="connsiteX4" fmla="*/ 15791 w 18319"/>
                  <a:gd name="connsiteY4" fmla="*/ 286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5791" y="2866"/>
                    </a:moveTo>
                    <a:cubicBezTo>
                      <a:pt x="12262" y="-842"/>
                      <a:pt x="6461" y="-962"/>
                      <a:pt x="2813" y="2567"/>
                    </a:cubicBezTo>
                    <a:cubicBezTo>
                      <a:pt x="-836" y="6095"/>
                      <a:pt x="-955" y="11897"/>
                      <a:pt x="2573" y="15605"/>
                    </a:cubicBezTo>
                    <a:cubicBezTo>
                      <a:pt x="6102" y="19313"/>
                      <a:pt x="11903" y="19432"/>
                      <a:pt x="15552" y="15903"/>
                    </a:cubicBezTo>
                    <a:cubicBezTo>
                      <a:pt x="19140" y="12435"/>
                      <a:pt x="19260" y="6574"/>
                      <a:pt x="15791" y="2866"/>
                    </a:cubicBezTo>
                    <a:close/>
                  </a:path>
                </a:pathLst>
              </a:custGeom>
              <a:grpFill/>
              <a:ln w="5978" cap="flat">
                <a:noFill/>
                <a:prstDash val="solid"/>
                <a:miter/>
              </a:ln>
            </p:spPr>
            <p:txBody>
              <a:bodyPr rtlCol="0" anchor="ctr"/>
              <a:lstStyle/>
              <a:p>
                <a:endParaRPr lang="en-GB"/>
              </a:p>
            </p:txBody>
          </p:sp>
        </p:grpSp>
        <p:grpSp>
          <p:nvGrpSpPr>
            <p:cNvPr id="464" name="Graphic 3">
              <a:extLst>
                <a:ext uri="{FF2B5EF4-FFF2-40B4-BE49-F238E27FC236}">
                  <a16:creationId xmlns:a16="http://schemas.microsoft.com/office/drawing/2014/main" id="{921D8EC4-5652-4677-9D13-6541E3335AC6}"/>
                </a:ext>
              </a:extLst>
            </p:cNvPr>
            <p:cNvGrpSpPr/>
            <p:nvPr/>
          </p:nvGrpSpPr>
          <p:grpSpPr>
            <a:xfrm>
              <a:off x="7323052" y="4521951"/>
              <a:ext cx="130384" cy="116130"/>
              <a:chOff x="7323052" y="4521951"/>
              <a:chExt cx="130384" cy="116130"/>
            </a:xfrm>
            <a:grpFill/>
          </p:grpSpPr>
          <p:sp>
            <p:nvSpPr>
              <p:cNvPr id="3993" name="Vrije vorm: vorm 3992">
                <a:extLst>
                  <a:ext uri="{FF2B5EF4-FFF2-40B4-BE49-F238E27FC236}">
                    <a16:creationId xmlns:a16="http://schemas.microsoft.com/office/drawing/2014/main" id="{330583F0-33D2-455F-A6F2-353211F85300}"/>
                  </a:ext>
                </a:extLst>
              </p:cNvPr>
              <p:cNvSpPr/>
              <p:nvPr/>
            </p:nvSpPr>
            <p:spPr>
              <a:xfrm>
                <a:off x="7330890" y="4529719"/>
                <a:ext cx="114709" cy="100655"/>
              </a:xfrm>
              <a:custGeom>
                <a:avLst/>
                <a:gdLst>
                  <a:gd name="connsiteX0" fmla="*/ 114710 w 114709"/>
                  <a:gd name="connsiteY0" fmla="*/ 98323 h 100655"/>
                  <a:gd name="connsiteX1" fmla="*/ 112736 w 114709"/>
                  <a:gd name="connsiteY1" fmla="*/ 100656 h 100655"/>
                  <a:gd name="connsiteX2" fmla="*/ 0 w 114709"/>
                  <a:gd name="connsiteY2" fmla="*/ 2273 h 100655"/>
                  <a:gd name="connsiteX3" fmla="*/ 1973 w 114709"/>
                  <a:gd name="connsiteY3" fmla="*/ 0 h 100655"/>
                </a:gdLst>
                <a:ahLst/>
                <a:cxnLst>
                  <a:cxn ang="0">
                    <a:pos x="connsiteX0" y="connsiteY0"/>
                  </a:cxn>
                  <a:cxn ang="0">
                    <a:pos x="connsiteX1" y="connsiteY1"/>
                  </a:cxn>
                  <a:cxn ang="0">
                    <a:pos x="connsiteX2" y="connsiteY2"/>
                  </a:cxn>
                  <a:cxn ang="0">
                    <a:pos x="connsiteX3" y="connsiteY3"/>
                  </a:cxn>
                </a:cxnLst>
                <a:rect l="l" t="t" r="r" b="b"/>
                <a:pathLst>
                  <a:path w="114709" h="100655">
                    <a:moveTo>
                      <a:pt x="114710" y="98323"/>
                    </a:moveTo>
                    <a:lnTo>
                      <a:pt x="112736" y="100656"/>
                    </a:lnTo>
                    <a:lnTo>
                      <a:pt x="0" y="2273"/>
                    </a:lnTo>
                    <a:lnTo>
                      <a:pt x="1973" y="0"/>
                    </a:lnTo>
                    <a:close/>
                  </a:path>
                </a:pathLst>
              </a:custGeom>
              <a:grpFill/>
              <a:ln w="5978" cap="flat">
                <a:noFill/>
                <a:prstDash val="solid"/>
                <a:miter/>
              </a:ln>
            </p:spPr>
            <p:txBody>
              <a:bodyPr rtlCol="0" anchor="ctr"/>
              <a:lstStyle/>
              <a:p>
                <a:endParaRPr lang="en-GB"/>
              </a:p>
            </p:txBody>
          </p:sp>
          <p:sp>
            <p:nvSpPr>
              <p:cNvPr id="3994" name="Vrije vorm: vorm 3993">
                <a:extLst>
                  <a:ext uri="{FF2B5EF4-FFF2-40B4-BE49-F238E27FC236}">
                    <a16:creationId xmlns:a16="http://schemas.microsoft.com/office/drawing/2014/main" id="{188F6EC9-61D0-4705-8B29-23790D79FFEB}"/>
                  </a:ext>
                </a:extLst>
              </p:cNvPr>
              <p:cNvSpPr/>
              <p:nvPr/>
            </p:nvSpPr>
            <p:spPr>
              <a:xfrm>
                <a:off x="7435131" y="4619676"/>
                <a:ext cx="18305" cy="18405"/>
              </a:xfrm>
              <a:custGeom>
                <a:avLst/>
                <a:gdLst>
                  <a:gd name="connsiteX0" fmla="*/ 15134 w 18305"/>
                  <a:gd name="connsiteY0" fmla="*/ 2265 h 18405"/>
                  <a:gd name="connsiteX1" fmla="*/ 16091 w 18305"/>
                  <a:gd name="connsiteY1" fmla="*/ 15244 h 18405"/>
                  <a:gd name="connsiteX2" fmla="*/ 3172 w 18305"/>
                  <a:gd name="connsiteY2" fmla="*/ 16141 h 18405"/>
                  <a:gd name="connsiteX3" fmla="*/ 2215 w 18305"/>
                  <a:gd name="connsiteY3" fmla="*/ 3163 h 18405"/>
                  <a:gd name="connsiteX4" fmla="*/ 15134 w 18305"/>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5134" y="2265"/>
                    </a:moveTo>
                    <a:cubicBezTo>
                      <a:pt x="18961" y="5615"/>
                      <a:pt x="19380" y="11416"/>
                      <a:pt x="16091" y="15244"/>
                    </a:cubicBezTo>
                    <a:cubicBezTo>
                      <a:pt x="12801" y="19071"/>
                      <a:pt x="7000" y="19490"/>
                      <a:pt x="3172" y="16141"/>
                    </a:cubicBezTo>
                    <a:cubicBezTo>
                      <a:pt x="-656" y="12791"/>
                      <a:pt x="-1074" y="6990"/>
                      <a:pt x="2215" y="3163"/>
                    </a:cubicBezTo>
                    <a:cubicBezTo>
                      <a:pt x="5505" y="-665"/>
                      <a:pt x="11306" y="-1084"/>
                      <a:pt x="15134" y="2265"/>
                    </a:cubicBezTo>
                    <a:close/>
                  </a:path>
                </a:pathLst>
              </a:custGeom>
              <a:grpFill/>
              <a:ln w="5978" cap="flat">
                <a:noFill/>
                <a:prstDash val="solid"/>
                <a:miter/>
              </a:ln>
            </p:spPr>
            <p:txBody>
              <a:bodyPr rtlCol="0" anchor="ctr"/>
              <a:lstStyle/>
              <a:p>
                <a:endParaRPr lang="en-GB"/>
              </a:p>
            </p:txBody>
          </p:sp>
          <p:sp>
            <p:nvSpPr>
              <p:cNvPr id="3995" name="Vrije vorm: vorm 3994">
                <a:extLst>
                  <a:ext uri="{FF2B5EF4-FFF2-40B4-BE49-F238E27FC236}">
                    <a16:creationId xmlns:a16="http://schemas.microsoft.com/office/drawing/2014/main" id="{098BEAAF-BD0B-4519-84E8-CE8DC762EA7D}"/>
                  </a:ext>
                </a:extLst>
              </p:cNvPr>
              <p:cNvSpPr/>
              <p:nvPr/>
            </p:nvSpPr>
            <p:spPr>
              <a:xfrm>
                <a:off x="7323052" y="4521951"/>
                <a:ext cx="18326" cy="18405"/>
              </a:xfrm>
              <a:custGeom>
                <a:avLst/>
                <a:gdLst>
                  <a:gd name="connsiteX0" fmla="*/ 15134 w 18326"/>
                  <a:gd name="connsiteY0" fmla="*/ 2265 h 18405"/>
                  <a:gd name="connsiteX1" fmla="*/ 2215 w 18326"/>
                  <a:gd name="connsiteY1" fmla="*/ 3162 h 18405"/>
                  <a:gd name="connsiteX2" fmla="*/ 3172 w 18326"/>
                  <a:gd name="connsiteY2" fmla="*/ 16141 h 18405"/>
                  <a:gd name="connsiteX3" fmla="*/ 16091 w 18326"/>
                  <a:gd name="connsiteY3" fmla="*/ 15243 h 18405"/>
                  <a:gd name="connsiteX4" fmla="*/ 15134 w 18326"/>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05">
                    <a:moveTo>
                      <a:pt x="15134" y="2265"/>
                    </a:moveTo>
                    <a:cubicBezTo>
                      <a:pt x="11306" y="-1084"/>
                      <a:pt x="5505" y="-665"/>
                      <a:pt x="2215" y="3162"/>
                    </a:cubicBezTo>
                    <a:cubicBezTo>
                      <a:pt x="-1074" y="6990"/>
                      <a:pt x="-656" y="12791"/>
                      <a:pt x="3172" y="16141"/>
                    </a:cubicBezTo>
                    <a:cubicBezTo>
                      <a:pt x="7000" y="19490"/>
                      <a:pt x="12801" y="19071"/>
                      <a:pt x="16091" y="15243"/>
                    </a:cubicBezTo>
                    <a:cubicBezTo>
                      <a:pt x="19380" y="11416"/>
                      <a:pt x="19021" y="5615"/>
                      <a:pt x="15134" y="2265"/>
                    </a:cubicBezTo>
                    <a:close/>
                  </a:path>
                </a:pathLst>
              </a:custGeom>
              <a:grpFill/>
              <a:ln w="5978" cap="flat">
                <a:noFill/>
                <a:prstDash val="solid"/>
                <a:miter/>
              </a:ln>
            </p:spPr>
            <p:txBody>
              <a:bodyPr rtlCol="0" anchor="ctr"/>
              <a:lstStyle/>
              <a:p>
                <a:endParaRPr lang="en-GB"/>
              </a:p>
            </p:txBody>
          </p:sp>
        </p:grpSp>
        <p:grpSp>
          <p:nvGrpSpPr>
            <p:cNvPr id="465" name="Graphic 3">
              <a:extLst>
                <a:ext uri="{FF2B5EF4-FFF2-40B4-BE49-F238E27FC236}">
                  <a16:creationId xmlns:a16="http://schemas.microsoft.com/office/drawing/2014/main" id="{3420E6B8-7120-454E-8EB8-548024D03176}"/>
                </a:ext>
              </a:extLst>
            </p:cNvPr>
            <p:cNvGrpSpPr/>
            <p:nvPr/>
          </p:nvGrpSpPr>
          <p:grpSpPr>
            <a:xfrm>
              <a:off x="6401275" y="1690039"/>
              <a:ext cx="34213" cy="91930"/>
              <a:chOff x="6401275" y="1690039"/>
              <a:chExt cx="34213" cy="91930"/>
            </a:xfrm>
            <a:grpFill/>
          </p:grpSpPr>
          <p:sp>
            <p:nvSpPr>
              <p:cNvPr id="3990" name="Vrije vorm: vorm 3989">
                <a:extLst>
                  <a:ext uri="{FF2B5EF4-FFF2-40B4-BE49-F238E27FC236}">
                    <a16:creationId xmlns:a16="http://schemas.microsoft.com/office/drawing/2014/main" id="{4274B771-F814-4E3E-BB4B-1B7289BF53F1}"/>
                  </a:ext>
                </a:extLst>
              </p:cNvPr>
              <p:cNvSpPr/>
              <p:nvPr/>
            </p:nvSpPr>
            <p:spPr>
              <a:xfrm>
                <a:off x="6408842" y="1698445"/>
                <a:ext cx="19078" cy="75117"/>
              </a:xfrm>
              <a:custGeom>
                <a:avLst/>
                <a:gdLst>
                  <a:gd name="connsiteX0" fmla="*/ 19079 w 19078"/>
                  <a:gd name="connsiteY0" fmla="*/ 658 h 75117"/>
                  <a:gd name="connsiteX1" fmla="*/ 2990 w 19078"/>
                  <a:gd name="connsiteY1" fmla="*/ 75118 h 75117"/>
                  <a:gd name="connsiteX2" fmla="*/ 0 w 19078"/>
                  <a:gd name="connsiteY2" fmla="*/ 74460 h 75117"/>
                  <a:gd name="connsiteX3" fmla="*/ 16088 w 19078"/>
                  <a:gd name="connsiteY3" fmla="*/ 0 h 75117"/>
                </a:gdLst>
                <a:ahLst/>
                <a:cxnLst>
                  <a:cxn ang="0">
                    <a:pos x="connsiteX0" y="connsiteY0"/>
                  </a:cxn>
                  <a:cxn ang="0">
                    <a:pos x="connsiteX1" y="connsiteY1"/>
                  </a:cxn>
                  <a:cxn ang="0">
                    <a:pos x="connsiteX2" y="connsiteY2"/>
                  </a:cxn>
                  <a:cxn ang="0">
                    <a:pos x="connsiteX3" y="connsiteY3"/>
                  </a:cxn>
                </a:cxnLst>
                <a:rect l="l" t="t" r="r" b="b"/>
                <a:pathLst>
                  <a:path w="19078" h="75117">
                    <a:moveTo>
                      <a:pt x="19079" y="658"/>
                    </a:moveTo>
                    <a:lnTo>
                      <a:pt x="2990" y="75118"/>
                    </a:lnTo>
                    <a:lnTo>
                      <a:pt x="0" y="74460"/>
                    </a:lnTo>
                    <a:lnTo>
                      <a:pt x="16088" y="0"/>
                    </a:lnTo>
                    <a:close/>
                  </a:path>
                </a:pathLst>
              </a:custGeom>
              <a:grpFill/>
              <a:ln w="5978" cap="flat">
                <a:noFill/>
                <a:prstDash val="solid"/>
                <a:miter/>
              </a:ln>
            </p:spPr>
            <p:txBody>
              <a:bodyPr rtlCol="0" anchor="ctr"/>
              <a:lstStyle/>
              <a:p>
                <a:endParaRPr lang="en-GB"/>
              </a:p>
            </p:txBody>
          </p:sp>
          <p:sp>
            <p:nvSpPr>
              <p:cNvPr id="3991" name="Vrije vorm: vorm 3990">
                <a:extLst>
                  <a:ext uri="{FF2B5EF4-FFF2-40B4-BE49-F238E27FC236}">
                    <a16:creationId xmlns:a16="http://schemas.microsoft.com/office/drawing/2014/main" id="{483F75AF-3CCF-4202-AE44-FBB8E6503EA0}"/>
                  </a:ext>
                </a:extLst>
              </p:cNvPr>
              <p:cNvSpPr/>
              <p:nvPr/>
            </p:nvSpPr>
            <p:spPr>
              <a:xfrm>
                <a:off x="6417181" y="1690039"/>
                <a:ext cx="18307" cy="18445"/>
              </a:xfrm>
              <a:custGeom>
                <a:avLst/>
                <a:gdLst>
                  <a:gd name="connsiteX0" fmla="*/ 213 w 18307"/>
                  <a:gd name="connsiteY0" fmla="*/ 7210 h 18445"/>
                  <a:gd name="connsiteX1" fmla="*/ 11098 w 18307"/>
                  <a:gd name="connsiteY1" fmla="*/ 213 h 18445"/>
                  <a:gd name="connsiteX2" fmla="*/ 18095 w 18307"/>
                  <a:gd name="connsiteY2" fmla="*/ 11217 h 18445"/>
                  <a:gd name="connsiteX3" fmla="*/ 7210 w 18307"/>
                  <a:gd name="connsiteY3" fmla="*/ 18215 h 18445"/>
                  <a:gd name="connsiteX4" fmla="*/ 213 w 18307"/>
                  <a:gd name="connsiteY4" fmla="*/ 721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45">
                    <a:moveTo>
                      <a:pt x="213" y="7210"/>
                    </a:moveTo>
                    <a:cubicBezTo>
                      <a:pt x="1289" y="2246"/>
                      <a:pt x="6194" y="-864"/>
                      <a:pt x="11098" y="213"/>
                    </a:cubicBezTo>
                    <a:cubicBezTo>
                      <a:pt x="16062" y="1289"/>
                      <a:pt x="19172" y="6253"/>
                      <a:pt x="18095" y="11217"/>
                    </a:cubicBezTo>
                    <a:cubicBezTo>
                      <a:pt x="17019" y="16181"/>
                      <a:pt x="12114" y="19351"/>
                      <a:pt x="7210" y="18215"/>
                    </a:cubicBezTo>
                    <a:cubicBezTo>
                      <a:pt x="2246" y="17078"/>
                      <a:pt x="-864" y="12174"/>
                      <a:pt x="213" y="7210"/>
                    </a:cubicBezTo>
                    <a:close/>
                  </a:path>
                </a:pathLst>
              </a:custGeom>
              <a:grpFill/>
              <a:ln w="5978" cap="flat">
                <a:noFill/>
                <a:prstDash val="solid"/>
                <a:miter/>
              </a:ln>
            </p:spPr>
            <p:txBody>
              <a:bodyPr rtlCol="0" anchor="ctr"/>
              <a:lstStyle/>
              <a:p>
                <a:endParaRPr lang="en-GB"/>
              </a:p>
            </p:txBody>
          </p:sp>
          <p:sp>
            <p:nvSpPr>
              <p:cNvPr id="3992" name="Vrije vorm: vorm 3991">
                <a:extLst>
                  <a:ext uri="{FF2B5EF4-FFF2-40B4-BE49-F238E27FC236}">
                    <a16:creationId xmlns:a16="http://schemas.microsoft.com/office/drawing/2014/main" id="{A3E400AD-2615-48A7-A1A7-0E9A92C611BB}"/>
                  </a:ext>
                </a:extLst>
              </p:cNvPr>
              <p:cNvSpPr/>
              <p:nvPr/>
            </p:nvSpPr>
            <p:spPr>
              <a:xfrm>
                <a:off x="6401275" y="1763542"/>
                <a:ext cx="18302" cy="18427"/>
              </a:xfrm>
              <a:custGeom>
                <a:avLst/>
                <a:gdLst>
                  <a:gd name="connsiteX0" fmla="*/ 210 w 18302"/>
                  <a:gd name="connsiteY0" fmla="*/ 7210 h 18427"/>
                  <a:gd name="connsiteX1" fmla="*/ 7208 w 18302"/>
                  <a:gd name="connsiteY1" fmla="*/ 18215 h 18427"/>
                  <a:gd name="connsiteX2" fmla="*/ 18093 w 18302"/>
                  <a:gd name="connsiteY2" fmla="*/ 11217 h 18427"/>
                  <a:gd name="connsiteX3" fmla="*/ 11095 w 18302"/>
                  <a:gd name="connsiteY3" fmla="*/ 213 h 18427"/>
                  <a:gd name="connsiteX4" fmla="*/ 210 w 18302"/>
                  <a:gd name="connsiteY4" fmla="*/ 7210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7">
                    <a:moveTo>
                      <a:pt x="210" y="7210"/>
                    </a:moveTo>
                    <a:cubicBezTo>
                      <a:pt x="-867" y="12174"/>
                      <a:pt x="2303" y="17079"/>
                      <a:pt x="7208" y="18215"/>
                    </a:cubicBezTo>
                    <a:cubicBezTo>
                      <a:pt x="12172" y="19291"/>
                      <a:pt x="17016" y="16181"/>
                      <a:pt x="18093" y="11217"/>
                    </a:cubicBezTo>
                    <a:cubicBezTo>
                      <a:pt x="19169" y="6253"/>
                      <a:pt x="15999" y="1349"/>
                      <a:pt x="11095" y="213"/>
                    </a:cubicBezTo>
                    <a:cubicBezTo>
                      <a:pt x="6191" y="-864"/>
                      <a:pt x="1287" y="2246"/>
                      <a:pt x="210" y="7210"/>
                    </a:cubicBezTo>
                    <a:close/>
                  </a:path>
                </a:pathLst>
              </a:custGeom>
              <a:grpFill/>
              <a:ln w="5978" cap="flat">
                <a:noFill/>
                <a:prstDash val="solid"/>
                <a:miter/>
              </a:ln>
            </p:spPr>
            <p:txBody>
              <a:bodyPr rtlCol="0" anchor="ctr"/>
              <a:lstStyle/>
              <a:p>
                <a:endParaRPr lang="en-GB"/>
              </a:p>
            </p:txBody>
          </p:sp>
        </p:grpSp>
        <p:grpSp>
          <p:nvGrpSpPr>
            <p:cNvPr id="466" name="Graphic 3">
              <a:extLst>
                <a:ext uri="{FF2B5EF4-FFF2-40B4-BE49-F238E27FC236}">
                  <a16:creationId xmlns:a16="http://schemas.microsoft.com/office/drawing/2014/main" id="{00200ECC-FC79-44EE-A5E0-4B952816D8B7}"/>
                </a:ext>
              </a:extLst>
            </p:cNvPr>
            <p:cNvGrpSpPr/>
            <p:nvPr/>
          </p:nvGrpSpPr>
          <p:grpSpPr>
            <a:xfrm>
              <a:off x="7267425" y="4557069"/>
              <a:ext cx="343350" cy="377287"/>
              <a:chOff x="7267425" y="4557069"/>
              <a:chExt cx="343350" cy="377287"/>
            </a:xfrm>
            <a:grpFill/>
          </p:grpSpPr>
          <p:sp>
            <p:nvSpPr>
              <p:cNvPr id="3987" name="Vrije vorm: vorm 3986">
                <a:extLst>
                  <a:ext uri="{FF2B5EF4-FFF2-40B4-BE49-F238E27FC236}">
                    <a16:creationId xmlns:a16="http://schemas.microsoft.com/office/drawing/2014/main" id="{AD9AF432-EC24-433E-9354-ED70AB700060}"/>
                  </a:ext>
                </a:extLst>
              </p:cNvPr>
              <p:cNvSpPr/>
              <p:nvPr/>
            </p:nvSpPr>
            <p:spPr>
              <a:xfrm>
                <a:off x="7275149" y="4564945"/>
                <a:ext cx="327923" cy="361534"/>
              </a:xfrm>
              <a:custGeom>
                <a:avLst/>
                <a:gdLst>
                  <a:gd name="connsiteX0" fmla="*/ 327923 w 327923"/>
                  <a:gd name="connsiteY0" fmla="*/ 359501 h 361534"/>
                  <a:gd name="connsiteX1" fmla="*/ 325651 w 327923"/>
                  <a:gd name="connsiteY1" fmla="*/ 361535 h 361534"/>
                  <a:gd name="connsiteX2" fmla="*/ 0 w 327923"/>
                  <a:gd name="connsiteY2" fmla="*/ 2033 h 361534"/>
                  <a:gd name="connsiteX3" fmla="*/ 2273 w 327923"/>
                  <a:gd name="connsiteY3" fmla="*/ 0 h 361534"/>
                </a:gdLst>
                <a:ahLst/>
                <a:cxnLst>
                  <a:cxn ang="0">
                    <a:pos x="connsiteX0" y="connsiteY0"/>
                  </a:cxn>
                  <a:cxn ang="0">
                    <a:pos x="connsiteX1" y="connsiteY1"/>
                  </a:cxn>
                  <a:cxn ang="0">
                    <a:pos x="connsiteX2" y="connsiteY2"/>
                  </a:cxn>
                  <a:cxn ang="0">
                    <a:pos x="connsiteX3" y="connsiteY3"/>
                  </a:cxn>
                </a:cxnLst>
                <a:rect l="l" t="t" r="r" b="b"/>
                <a:pathLst>
                  <a:path w="327923" h="361534">
                    <a:moveTo>
                      <a:pt x="327923" y="359501"/>
                    </a:moveTo>
                    <a:lnTo>
                      <a:pt x="325651" y="361535"/>
                    </a:lnTo>
                    <a:lnTo>
                      <a:pt x="0" y="2033"/>
                    </a:lnTo>
                    <a:lnTo>
                      <a:pt x="2273" y="0"/>
                    </a:lnTo>
                    <a:close/>
                  </a:path>
                </a:pathLst>
              </a:custGeom>
              <a:grpFill/>
              <a:ln w="5978" cap="flat">
                <a:noFill/>
                <a:prstDash val="solid"/>
                <a:miter/>
              </a:ln>
            </p:spPr>
            <p:txBody>
              <a:bodyPr rtlCol="0" anchor="ctr"/>
              <a:lstStyle/>
              <a:p>
                <a:endParaRPr lang="en-GB"/>
              </a:p>
            </p:txBody>
          </p:sp>
          <p:sp>
            <p:nvSpPr>
              <p:cNvPr id="3988" name="Vrije vorm: vorm 3987">
                <a:extLst>
                  <a:ext uri="{FF2B5EF4-FFF2-40B4-BE49-F238E27FC236}">
                    <a16:creationId xmlns:a16="http://schemas.microsoft.com/office/drawing/2014/main" id="{137D3E08-3020-4131-A8FE-F50663BDBB36}"/>
                  </a:ext>
                </a:extLst>
              </p:cNvPr>
              <p:cNvSpPr/>
              <p:nvPr/>
            </p:nvSpPr>
            <p:spPr>
              <a:xfrm>
                <a:off x="7267425" y="4557069"/>
                <a:ext cx="18319" cy="18444"/>
              </a:xfrm>
              <a:custGeom>
                <a:avLst/>
                <a:gdLst>
                  <a:gd name="connsiteX0" fmla="*/ 2401 w 18319"/>
                  <a:gd name="connsiteY0" fmla="*/ 15412 h 18444"/>
                  <a:gd name="connsiteX1" fmla="*/ 2999 w 18319"/>
                  <a:gd name="connsiteY1" fmla="*/ 2374 h 18444"/>
                  <a:gd name="connsiteX2" fmla="*/ 15918 w 18319"/>
                  <a:gd name="connsiteY2" fmla="*/ 3032 h 18444"/>
                  <a:gd name="connsiteX3" fmla="*/ 15320 w 18319"/>
                  <a:gd name="connsiteY3" fmla="*/ 16070 h 18444"/>
                  <a:gd name="connsiteX4" fmla="*/ 2401 w 18319"/>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2401" y="15412"/>
                    </a:moveTo>
                    <a:cubicBezTo>
                      <a:pt x="-1008" y="11644"/>
                      <a:pt x="-768" y="5843"/>
                      <a:pt x="2999" y="2374"/>
                    </a:cubicBezTo>
                    <a:cubicBezTo>
                      <a:pt x="6708" y="-1035"/>
                      <a:pt x="12509" y="-736"/>
                      <a:pt x="15918" y="3032"/>
                    </a:cubicBezTo>
                    <a:cubicBezTo>
                      <a:pt x="19327" y="6800"/>
                      <a:pt x="19088" y="12601"/>
                      <a:pt x="15320" y="16070"/>
                    </a:cubicBezTo>
                    <a:cubicBezTo>
                      <a:pt x="11612" y="19479"/>
                      <a:pt x="5811" y="19180"/>
                      <a:pt x="2401" y="15412"/>
                    </a:cubicBezTo>
                    <a:close/>
                  </a:path>
                </a:pathLst>
              </a:custGeom>
              <a:grpFill/>
              <a:ln w="5978" cap="flat">
                <a:noFill/>
                <a:prstDash val="solid"/>
                <a:miter/>
              </a:ln>
            </p:spPr>
            <p:txBody>
              <a:bodyPr rtlCol="0" anchor="ctr"/>
              <a:lstStyle/>
              <a:p>
                <a:endParaRPr lang="en-GB"/>
              </a:p>
            </p:txBody>
          </p:sp>
          <p:sp>
            <p:nvSpPr>
              <p:cNvPr id="3989" name="Vrije vorm: vorm 3988">
                <a:extLst>
                  <a:ext uri="{FF2B5EF4-FFF2-40B4-BE49-F238E27FC236}">
                    <a16:creationId xmlns:a16="http://schemas.microsoft.com/office/drawing/2014/main" id="{FAB7B720-F4A4-4FA0-A73E-1F7FC0C7403A}"/>
                  </a:ext>
                </a:extLst>
              </p:cNvPr>
              <p:cNvSpPr/>
              <p:nvPr/>
            </p:nvSpPr>
            <p:spPr>
              <a:xfrm>
                <a:off x="7592471" y="4915912"/>
                <a:ext cx="18304" cy="18444"/>
              </a:xfrm>
              <a:custGeom>
                <a:avLst/>
                <a:gdLst>
                  <a:gd name="connsiteX0" fmla="*/ 2407 w 18304"/>
                  <a:gd name="connsiteY0" fmla="*/ 15412 h 18444"/>
                  <a:gd name="connsiteX1" fmla="*/ 15326 w 18304"/>
                  <a:gd name="connsiteY1" fmla="*/ 16070 h 18444"/>
                  <a:gd name="connsiteX2" fmla="*/ 15924 w 18304"/>
                  <a:gd name="connsiteY2" fmla="*/ 3032 h 18444"/>
                  <a:gd name="connsiteX3" fmla="*/ 2946 w 18304"/>
                  <a:gd name="connsiteY3" fmla="*/ 2374 h 18444"/>
                  <a:gd name="connsiteX4" fmla="*/ 2407 w 18304"/>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44">
                    <a:moveTo>
                      <a:pt x="2407" y="15412"/>
                    </a:moveTo>
                    <a:cubicBezTo>
                      <a:pt x="5817" y="19180"/>
                      <a:pt x="11618" y="19479"/>
                      <a:pt x="15326" y="16070"/>
                    </a:cubicBezTo>
                    <a:cubicBezTo>
                      <a:pt x="19034" y="12661"/>
                      <a:pt x="19333" y="6800"/>
                      <a:pt x="15924" y="3032"/>
                    </a:cubicBezTo>
                    <a:cubicBezTo>
                      <a:pt x="12515" y="-736"/>
                      <a:pt x="6714" y="-1035"/>
                      <a:pt x="2946" y="2374"/>
                    </a:cubicBezTo>
                    <a:cubicBezTo>
                      <a:pt x="-762" y="5783"/>
                      <a:pt x="-1001" y="11644"/>
                      <a:pt x="2407" y="15412"/>
                    </a:cubicBezTo>
                    <a:close/>
                  </a:path>
                </a:pathLst>
              </a:custGeom>
              <a:grpFill/>
              <a:ln w="5978" cap="flat">
                <a:noFill/>
                <a:prstDash val="solid"/>
                <a:miter/>
              </a:ln>
            </p:spPr>
            <p:txBody>
              <a:bodyPr rtlCol="0" anchor="ctr"/>
              <a:lstStyle/>
              <a:p>
                <a:endParaRPr lang="en-GB"/>
              </a:p>
            </p:txBody>
          </p:sp>
        </p:grpSp>
        <p:grpSp>
          <p:nvGrpSpPr>
            <p:cNvPr id="467" name="Graphic 3">
              <a:extLst>
                <a:ext uri="{FF2B5EF4-FFF2-40B4-BE49-F238E27FC236}">
                  <a16:creationId xmlns:a16="http://schemas.microsoft.com/office/drawing/2014/main" id="{7656D1EF-F0BD-4700-8564-569DED1FD4FF}"/>
                </a:ext>
              </a:extLst>
            </p:cNvPr>
            <p:cNvGrpSpPr/>
            <p:nvPr/>
          </p:nvGrpSpPr>
          <p:grpSpPr>
            <a:xfrm>
              <a:off x="7331301" y="4616166"/>
              <a:ext cx="173490" cy="164239"/>
              <a:chOff x="7331301" y="4616166"/>
              <a:chExt cx="173490" cy="164239"/>
            </a:xfrm>
            <a:grpFill/>
          </p:grpSpPr>
          <p:sp>
            <p:nvSpPr>
              <p:cNvPr id="3984" name="Vrije vorm: vorm 3983">
                <a:extLst>
                  <a:ext uri="{FF2B5EF4-FFF2-40B4-BE49-F238E27FC236}">
                    <a16:creationId xmlns:a16="http://schemas.microsoft.com/office/drawing/2014/main" id="{7871D253-1F94-4E65-AF24-68DE932D0744}"/>
                  </a:ext>
                </a:extLst>
              </p:cNvPr>
              <p:cNvSpPr/>
              <p:nvPr/>
            </p:nvSpPr>
            <p:spPr>
              <a:xfrm>
                <a:off x="7339143" y="4623915"/>
                <a:ext cx="157890" cy="148680"/>
              </a:xfrm>
              <a:custGeom>
                <a:avLst/>
                <a:gdLst>
                  <a:gd name="connsiteX0" fmla="*/ 157890 w 157890"/>
                  <a:gd name="connsiteY0" fmla="*/ 146468 h 148680"/>
                  <a:gd name="connsiteX1" fmla="*/ 155797 w 157890"/>
                  <a:gd name="connsiteY1" fmla="*/ 148681 h 148680"/>
                  <a:gd name="connsiteX2" fmla="*/ 0 w 157890"/>
                  <a:gd name="connsiteY2" fmla="*/ 2213 h 148680"/>
                  <a:gd name="connsiteX3" fmla="*/ 2093 w 157890"/>
                  <a:gd name="connsiteY3" fmla="*/ 0 h 148680"/>
                </a:gdLst>
                <a:ahLst/>
                <a:cxnLst>
                  <a:cxn ang="0">
                    <a:pos x="connsiteX0" y="connsiteY0"/>
                  </a:cxn>
                  <a:cxn ang="0">
                    <a:pos x="connsiteX1" y="connsiteY1"/>
                  </a:cxn>
                  <a:cxn ang="0">
                    <a:pos x="connsiteX2" y="connsiteY2"/>
                  </a:cxn>
                  <a:cxn ang="0">
                    <a:pos x="connsiteX3" y="connsiteY3"/>
                  </a:cxn>
                </a:cxnLst>
                <a:rect l="l" t="t" r="r" b="b"/>
                <a:pathLst>
                  <a:path w="157890" h="148680">
                    <a:moveTo>
                      <a:pt x="157890" y="146468"/>
                    </a:moveTo>
                    <a:lnTo>
                      <a:pt x="155797" y="148681"/>
                    </a:lnTo>
                    <a:lnTo>
                      <a:pt x="0" y="2213"/>
                    </a:lnTo>
                    <a:lnTo>
                      <a:pt x="2093" y="0"/>
                    </a:lnTo>
                    <a:close/>
                  </a:path>
                </a:pathLst>
              </a:custGeom>
              <a:grpFill/>
              <a:ln w="5978" cap="flat">
                <a:noFill/>
                <a:prstDash val="solid"/>
                <a:miter/>
              </a:ln>
            </p:spPr>
            <p:txBody>
              <a:bodyPr rtlCol="0" anchor="ctr"/>
              <a:lstStyle/>
              <a:p>
                <a:endParaRPr lang="en-GB"/>
              </a:p>
            </p:txBody>
          </p:sp>
          <p:sp>
            <p:nvSpPr>
              <p:cNvPr id="3985" name="Vrije vorm: vorm 3984">
                <a:extLst>
                  <a:ext uri="{FF2B5EF4-FFF2-40B4-BE49-F238E27FC236}">
                    <a16:creationId xmlns:a16="http://schemas.microsoft.com/office/drawing/2014/main" id="{935FC139-AAF6-4E52-8B50-46A8A879FA48}"/>
                  </a:ext>
                </a:extLst>
              </p:cNvPr>
              <p:cNvSpPr/>
              <p:nvPr/>
            </p:nvSpPr>
            <p:spPr>
              <a:xfrm>
                <a:off x="7486465" y="4761975"/>
                <a:ext cx="18327" cy="18429"/>
              </a:xfrm>
              <a:custGeom>
                <a:avLst/>
                <a:gdLst>
                  <a:gd name="connsiteX0" fmla="*/ 15413 w 18327"/>
                  <a:gd name="connsiteY0" fmla="*/ 2487 h 18429"/>
                  <a:gd name="connsiteX1" fmla="*/ 15892 w 18327"/>
                  <a:gd name="connsiteY1" fmla="*/ 15525 h 18429"/>
                  <a:gd name="connsiteX2" fmla="*/ 2914 w 18327"/>
                  <a:gd name="connsiteY2" fmla="*/ 15943 h 18429"/>
                  <a:gd name="connsiteX3" fmla="*/ 2435 w 18327"/>
                  <a:gd name="connsiteY3" fmla="*/ 2905 h 18429"/>
                  <a:gd name="connsiteX4" fmla="*/ 15413 w 18327"/>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5413" y="2487"/>
                    </a:moveTo>
                    <a:cubicBezTo>
                      <a:pt x="19121" y="5956"/>
                      <a:pt x="19301" y="11817"/>
                      <a:pt x="15892" y="15525"/>
                    </a:cubicBezTo>
                    <a:cubicBezTo>
                      <a:pt x="12423" y="19233"/>
                      <a:pt x="6622" y="19412"/>
                      <a:pt x="2914" y="15943"/>
                    </a:cubicBezTo>
                    <a:cubicBezTo>
                      <a:pt x="-794" y="12474"/>
                      <a:pt x="-974" y="6613"/>
                      <a:pt x="2435" y="2905"/>
                    </a:cubicBezTo>
                    <a:cubicBezTo>
                      <a:pt x="5904" y="-803"/>
                      <a:pt x="11705" y="-982"/>
                      <a:pt x="15413" y="2487"/>
                    </a:cubicBezTo>
                    <a:close/>
                  </a:path>
                </a:pathLst>
              </a:custGeom>
              <a:grpFill/>
              <a:ln w="5978" cap="flat">
                <a:noFill/>
                <a:prstDash val="solid"/>
                <a:miter/>
              </a:ln>
            </p:spPr>
            <p:txBody>
              <a:bodyPr rtlCol="0" anchor="ctr"/>
              <a:lstStyle/>
              <a:p>
                <a:endParaRPr lang="en-GB"/>
              </a:p>
            </p:txBody>
          </p:sp>
          <p:sp>
            <p:nvSpPr>
              <p:cNvPr id="3986" name="Vrije vorm: vorm 3985">
                <a:extLst>
                  <a:ext uri="{FF2B5EF4-FFF2-40B4-BE49-F238E27FC236}">
                    <a16:creationId xmlns:a16="http://schemas.microsoft.com/office/drawing/2014/main" id="{BB82E276-B69E-4889-B939-926434BACF8F}"/>
                  </a:ext>
                </a:extLst>
              </p:cNvPr>
              <p:cNvSpPr/>
              <p:nvPr/>
            </p:nvSpPr>
            <p:spPr>
              <a:xfrm>
                <a:off x="7331301" y="4616166"/>
                <a:ext cx="18374" cy="18429"/>
              </a:xfrm>
              <a:custGeom>
                <a:avLst/>
                <a:gdLst>
                  <a:gd name="connsiteX0" fmla="*/ 15437 w 18374"/>
                  <a:gd name="connsiteY0" fmla="*/ 2487 h 18429"/>
                  <a:gd name="connsiteX1" fmla="*/ 2459 w 18374"/>
                  <a:gd name="connsiteY1" fmla="*/ 2905 h 18429"/>
                  <a:gd name="connsiteX2" fmla="*/ 2937 w 18374"/>
                  <a:gd name="connsiteY2" fmla="*/ 15943 h 18429"/>
                  <a:gd name="connsiteX3" fmla="*/ 15916 w 18374"/>
                  <a:gd name="connsiteY3" fmla="*/ 15524 h 18429"/>
                  <a:gd name="connsiteX4" fmla="*/ 15437 w 18374"/>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9">
                    <a:moveTo>
                      <a:pt x="15437" y="2487"/>
                    </a:moveTo>
                    <a:cubicBezTo>
                      <a:pt x="11729" y="-982"/>
                      <a:pt x="5928" y="-803"/>
                      <a:pt x="2459" y="2905"/>
                    </a:cubicBezTo>
                    <a:cubicBezTo>
                      <a:pt x="-1010" y="6613"/>
                      <a:pt x="-771" y="12415"/>
                      <a:pt x="2937" y="15943"/>
                    </a:cubicBezTo>
                    <a:cubicBezTo>
                      <a:pt x="6645" y="19412"/>
                      <a:pt x="12446" y="19232"/>
                      <a:pt x="15916" y="15524"/>
                    </a:cubicBezTo>
                    <a:cubicBezTo>
                      <a:pt x="19384" y="11757"/>
                      <a:pt x="19145" y="5955"/>
                      <a:pt x="15437" y="2487"/>
                    </a:cubicBezTo>
                    <a:close/>
                  </a:path>
                </a:pathLst>
              </a:custGeom>
              <a:grpFill/>
              <a:ln w="5978" cap="flat">
                <a:noFill/>
                <a:prstDash val="solid"/>
                <a:miter/>
              </a:ln>
            </p:spPr>
            <p:txBody>
              <a:bodyPr rtlCol="0" anchor="ctr"/>
              <a:lstStyle/>
              <a:p>
                <a:endParaRPr lang="en-GB"/>
              </a:p>
            </p:txBody>
          </p:sp>
        </p:grpSp>
        <p:grpSp>
          <p:nvGrpSpPr>
            <p:cNvPr id="468" name="Graphic 3">
              <a:extLst>
                <a:ext uri="{FF2B5EF4-FFF2-40B4-BE49-F238E27FC236}">
                  <a16:creationId xmlns:a16="http://schemas.microsoft.com/office/drawing/2014/main" id="{8108CF53-D44A-47F0-BB1C-BD6998784873}"/>
                </a:ext>
              </a:extLst>
            </p:cNvPr>
            <p:cNvGrpSpPr/>
            <p:nvPr/>
          </p:nvGrpSpPr>
          <p:grpSpPr>
            <a:xfrm>
              <a:off x="7364853" y="4846458"/>
              <a:ext cx="282638" cy="306730"/>
              <a:chOff x="7364853" y="4846458"/>
              <a:chExt cx="282638" cy="306730"/>
            </a:xfrm>
            <a:grpFill/>
          </p:grpSpPr>
          <p:sp>
            <p:nvSpPr>
              <p:cNvPr id="3981" name="Vrije vorm: vorm 3980">
                <a:extLst>
                  <a:ext uri="{FF2B5EF4-FFF2-40B4-BE49-F238E27FC236}">
                    <a16:creationId xmlns:a16="http://schemas.microsoft.com/office/drawing/2014/main" id="{10B8DB03-BF01-4871-B5EF-A21AC0F529F2}"/>
                  </a:ext>
                </a:extLst>
              </p:cNvPr>
              <p:cNvSpPr/>
              <p:nvPr/>
            </p:nvSpPr>
            <p:spPr>
              <a:xfrm>
                <a:off x="7372635" y="4854293"/>
                <a:ext cx="267098" cy="291021"/>
              </a:xfrm>
              <a:custGeom>
                <a:avLst/>
                <a:gdLst>
                  <a:gd name="connsiteX0" fmla="*/ 267099 w 267098"/>
                  <a:gd name="connsiteY0" fmla="*/ 288929 h 291021"/>
                  <a:gd name="connsiteX1" fmla="*/ 264886 w 267098"/>
                  <a:gd name="connsiteY1" fmla="*/ 291022 h 291021"/>
                  <a:gd name="connsiteX2" fmla="*/ 0 w 267098"/>
                  <a:gd name="connsiteY2" fmla="*/ 2093 h 291021"/>
                  <a:gd name="connsiteX3" fmla="*/ 2213 w 267098"/>
                  <a:gd name="connsiteY3" fmla="*/ 0 h 291021"/>
                </a:gdLst>
                <a:ahLst/>
                <a:cxnLst>
                  <a:cxn ang="0">
                    <a:pos x="connsiteX0" y="connsiteY0"/>
                  </a:cxn>
                  <a:cxn ang="0">
                    <a:pos x="connsiteX1" y="connsiteY1"/>
                  </a:cxn>
                  <a:cxn ang="0">
                    <a:pos x="connsiteX2" y="connsiteY2"/>
                  </a:cxn>
                  <a:cxn ang="0">
                    <a:pos x="connsiteX3" y="connsiteY3"/>
                  </a:cxn>
                </a:cxnLst>
                <a:rect l="l" t="t" r="r" b="b"/>
                <a:pathLst>
                  <a:path w="267098" h="291021">
                    <a:moveTo>
                      <a:pt x="267099" y="288929"/>
                    </a:moveTo>
                    <a:lnTo>
                      <a:pt x="264886" y="291022"/>
                    </a:lnTo>
                    <a:lnTo>
                      <a:pt x="0" y="2093"/>
                    </a:lnTo>
                    <a:lnTo>
                      <a:pt x="2213" y="0"/>
                    </a:lnTo>
                    <a:close/>
                  </a:path>
                </a:pathLst>
              </a:custGeom>
              <a:grpFill/>
              <a:ln w="5978" cap="flat">
                <a:noFill/>
                <a:prstDash val="solid"/>
                <a:miter/>
              </a:ln>
            </p:spPr>
            <p:txBody>
              <a:bodyPr rtlCol="0" anchor="ctr"/>
              <a:lstStyle/>
              <a:p>
                <a:endParaRPr lang="en-GB"/>
              </a:p>
            </p:txBody>
          </p:sp>
          <p:sp>
            <p:nvSpPr>
              <p:cNvPr id="3982" name="Vrije vorm: vorm 3981">
                <a:extLst>
                  <a:ext uri="{FF2B5EF4-FFF2-40B4-BE49-F238E27FC236}">
                    <a16:creationId xmlns:a16="http://schemas.microsoft.com/office/drawing/2014/main" id="{C1B30CAC-2DF6-49F6-9761-7EDD61DC880B}"/>
                  </a:ext>
                </a:extLst>
              </p:cNvPr>
              <p:cNvSpPr/>
              <p:nvPr/>
            </p:nvSpPr>
            <p:spPr>
              <a:xfrm>
                <a:off x="7629165" y="5134728"/>
                <a:ext cx="18327" cy="18459"/>
              </a:xfrm>
              <a:custGeom>
                <a:avLst/>
                <a:gdLst>
                  <a:gd name="connsiteX0" fmla="*/ 15892 w 18327"/>
                  <a:gd name="connsiteY0" fmla="*/ 2991 h 18459"/>
                  <a:gd name="connsiteX1" fmla="*/ 15413 w 18327"/>
                  <a:gd name="connsiteY1" fmla="*/ 16029 h 18459"/>
                  <a:gd name="connsiteX2" fmla="*/ 2435 w 18327"/>
                  <a:gd name="connsiteY2" fmla="*/ 15490 h 18459"/>
                  <a:gd name="connsiteX3" fmla="*/ 2914 w 18327"/>
                  <a:gd name="connsiteY3" fmla="*/ 2452 h 18459"/>
                  <a:gd name="connsiteX4" fmla="*/ 15892 w 18327"/>
                  <a:gd name="connsiteY4" fmla="*/ 2991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59">
                    <a:moveTo>
                      <a:pt x="15892" y="2991"/>
                    </a:moveTo>
                    <a:cubicBezTo>
                      <a:pt x="19301" y="6759"/>
                      <a:pt x="19121" y="12560"/>
                      <a:pt x="15413" y="16029"/>
                    </a:cubicBezTo>
                    <a:cubicBezTo>
                      <a:pt x="11705" y="19497"/>
                      <a:pt x="5904" y="19198"/>
                      <a:pt x="2435" y="15490"/>
                    </a:cubicBezTo>
                    <a:cubicBezTo>
                      <a:pt x="-974" y="11722"/>
                      <a:pt x="-794" y="5921"/>
                      <a:pt x="2914" y="2452"/>
                    </a:cubicBezTo>
                    <a:cubicBezTo>
                      <a:pt x="6622" y="-1016"/>
                      <a:pt x="12423" y="-777"/>
                      <a:pt x="15892" y="2991"/>
                    </a:cubicBezTo>
                    <a:close/>
                  </a:path>
                </a:pathLst>
              </a:custGeom>
              <a:grpFill/>
              <a:ln w="5978" cap="flat">
                <a:noFill/>
                <a:prstDash val="solid"/>
                <a:miter/>
              </a:ln>
            </p:spPr>
            <p:txBody>
              <a:bodyPr rtlCol="0" anchor="ctr"/>
              <a:lstStyle/>
              <a:p>
                <a:endParaRPr lang="en-GB"/>
              </a:p>
            </p:txBody>
          </p:sp>
          <p:sp>
            <p:nvSpPr>
              <p:cNvPr id="3983" name="Vrije vorm: vorm 3982">
                <a:extLst>
                  <a:ext uri="{FF2B5EF4-FFF2-40B4-BE49-F238E27FC236}">
                    <a16:creationId xmlns:a16="http://schemas.microsoft.com/office/drawing/2014/main" id="{4149D71C-CF3B-4984-995A-247774714E28}"/>
                  </a:ext>
                </a:extLst>
              </p:cNvPr>
              <p:cNvSpPr/>
              <p:nvPr/>
            </p:nvSpPr>
            <p:spPr>
              <a:xfrm>
                <a:off x="7364853" y="4846458"/>
                <a:ext cx="18374" cy="18481"/>
              </a:xfrm>
              <a:custGeom>
                <a:avLst/>
                <a:gdLst>
                  <a:gd name="connsiteX0" fmla="*/ 15915 w 18374"/>
                  <a:gd name="connsiteY0" fmla="*/ 2991 h 18481"/>
                  <a:gd name="connsiteX1" fmla="*/ 2937 w 18374"/>
                  <a:gd name="connsiteY1" fmla="*/ 2452 h 18481"/>
                  <a:gd name="connsiteX2" fmla="*/ 2459 w 18374"/>
                  <a:gd name="connsiteY2" fmla="*/ 15490 h 18481"/>
                  <a:gd name="connsiteX3" fmla="*/ 15437 w 18374"/>
                  <a:gd name="connsiteY3" fmla="*/ 16029 h 18481"/>
                  <a:gd name="connsiteX4" fmla="*/ 15915 w 18374"/>
                  <a:gd name="connsiteY4" fmla="*/ 2991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81">
                    <a:moveTo>
                      <a:pt x="15915" y="2991"/>
                    </a:moveTo>
                    <a:cubicBezTo>
                      <a:pt x="12506" y="-777"/>
                      <a:pt x="6705" y="-1016"/>
                      <a:pt x="2937" y="2452"/>
                    </a:cubicBezTo>
                    <a:cubicBezTo>
                      <a:pt x="-771" y="5921"/>
                      <a:pt x="-1010" y="11722"/>
                      <a:pt x="2459" y="15490"/>
                    </a:cubicBezTo>
                    <a:cubicBezTo>
                      <a:pt x="5868" y="19258"/>
                      <a:pt x="11669" y="19498"/>
                      <a:pt x="15437" y="16029"/>
                    </a:cubicBezTo>
                    <a:cubicBezTo>
                      <a:pt x="19145" y="12560"/>
                      <a:pt x="19384" y="6759"/>
                      <a:pt x="15915" y="2991"/>
                    </a:cubicBezTo>
                    <a:close/>
                  </a:path>
                </a:pathLst>
              </a:custGeom>
              <a:grpFill/>
              <a:ln w="5978" cap="flat">
                <a:noFill/>
                <a:prstDash val="solid"/>
                <a:miter/>
              </a:ln>
            </p:spPr>
            <p:txBody>
              <a:bodyPr rtlCol="0" anchor="ctr"/>
              <a:lstStyle/>
              <a:p>
                <a:endParaRPr lang="en-GB"/>
              </a:p>
            </p:txBody>
          </p:sp>
        </p:grpSp>
        <p:grpSp>
          <p:nvGrpSpPr>
            <p:cNvPr id="469" name="Graphic 3">
              <a:extLst>
                <a:ext uri="{FF2B5EF4-FFF2-40B4-BE49-F238E27FC236}">
                  <a16:creationId xmlns:a16="http://schemas.microsoft.com/office/drawing/2014/main" id="{F84C57CD-7D9F-4C64-923A-22085FFAB01A}"/>
                </a:ext>
              </a:extLst>
            </p:cNvPr>
            <p:cNvGrpSpPr/>
            <p:nvPr/>
          </p:nvGrpSpPr>
          <p:grpSpPr>
            <a:xfrm>
              <a:off x="7348770" y="4678967"/>
              <a:ext cx="113457" cy="111183"/>
              <a:chOff x="7348770" y="4678967"/>
              <a:chExt cx="113457" cy="111183"/>
            </a:xfrm>
            <a:grpFill/>
          </p:grpSpPr>
          <p:sp>
            <p:nvSpPr>
              <p:cNvPr id="3978" name="Vrije vorm: vorm 3977">
                <a:extLst>
                  <a:ext uri="{FF2B5EF4-FFF2-40B4-BE49-F238E27FC236}">
                    <a16:creationId xmlns:a16="http://schemas.microsoft.com/office/drawing/2014/main" id="{36C5C5C1-DDA0-4FA2-9917-34A839B2DD5D}"/>
                  </a:ext>
                </a:extLst>
              </p:cNvPr>
              <p:cNvSpPr/>
              <p:nvPr/>
            </p:nvSpPr>
            <p:spPr>
              <a:xfrm>
                <a:off x="7356547" y="4686713"/>
                <a:ext cx="97904" cy="95631"/>
              </a:xfrm>
              <a:custGeom>
                <a:avLst/>
                <a:gdLst>
                  <a:gd name="connsiteX0" fmla="*/ 97904 w 97904"/>
                  <a:gd name="connsiteY0" fmla="*/ 93479 h 95631"/>
                  <a:gd name="connsiteX1" fmla="*/ 95811 w 97904"/>
                  <a:gd name="connsiteY1" fmla="*/ 95632 h 95631"/>
                  <a:gd name="connsiteX2" fmla="*/ 0 w 97904"/>
                  <a:gd name="connsiteY2" fmla="*/ 2213 h 95631"/>
                  <a:gd name="connsiteX3" fmla="*/ 2093 w 97904"/>
                  <a:gd name="connsiteY3" fmla="*/ 0 h 95631"/>
                </a:gdLst>
                <a:ahLst/>
                <a:cxnLst>
                  <a:cxn ang="0">
                    <a:pos x="connsiteX0" y="connsiteY0"/>
                  </a:cxn>
                  <a:cxn ang="0">
                    <a:pos x="connsiteX1" y="connsiteY1"/>
                  </a:cxn>
                  <a:cxn ang="0">
                    <a:pos x="connsiteX2" y="connsiteY2"/>
                  </a:cxn>
                  <a:cxn ang="0">
                    <a:pos x="connsiteX3" y="connsiteY3"/>
                  </a:cxn>
                </a:cxnLst>
                <a:rect l="l" t="t" r="r" b="b"/>
                <a:pathLst>
                  <a:path w="97904" h="95631">
                    <a:moveTo>
                      <a:pt x="97904" y="93479"/>
                    </a:moveTo>
                    <a:lnTo>
                      <a:pt x="95811" y="95632"/>
                    </a:lnTo>
                    <a:lnTo>
                      <a:pt x="0" y="2213"/>
                    </a:lnTo>
                    <a:lnTo>
                      <a:pt x="2093" y="0"/>
                    </a:lnTo>
                    <a:close/>
                  </a:path>
                </a:pathLst>
              </a:custGeom>
              <a:grpFill/>
              <a:ln w="5978" cap="flat">
                <a:noFill/>
                <a:prstDash val="solid"/>
                <a:miter/>
              </a:ln>
            </p:spPr>
            <p:txBody>
              <a:bodyPr rtlCol="0" anchor="ctr"/>
              <a:lstStyle/>
              <a:p>
                <a:endParaRPr lang="en-GB"/>
              </a:p>
            </p:txBody>
          </p:sp>
          <p:sp>
            <p:nvSpPr>
              <p:cNvPr id="3979" name="Vrije vorm: vorm 3978">
                <a:extLst>
                  <a:ext uri="{FF2B5EF4-FFF2-40B4-BE49-F238E27FC236}">
                    <a16:creationId xmlns:a16="http://schemas.microsoft.com/office/drawing/2014/main" id="{2D3AD3F7-527E-4F91-888A-D30493ACF5B6}"/>
                  </a:ext>
                </a:extLst>
              </p:cNvPr>
              <p:cNvSpPr/>
              <p:nvPr/>
            </p:nvSpPr>
            <p:spPr>
              <a:xfrm>
                <a:off x="7443887" y="4771728"/>
                <a:ext cx="18341" cy="18422"/>
              </a:xfrm>
              <a:custGeom>
                <a:avLst/>
                <a:gdLst>
                  <a:gd name="connsiteX0" fmla="*/ 15529 w 18341"/>
                  <a:gd name="connsiteY0" fmla="*/ 2602 h 18422"/>
                  <a:gd name="connsiteX1" fmla="*/ 15767 w 18341"/>
                  <a:gd name="connsiteY1" fmla="*/ 15640 h 18422"/>
                  <a:gd name="connsiteX2" fmla="*/ 2790 w 18341"/>
                  <a:gd name="connsiteY2" fmla="*/ 15820 h 18422"/>
                  <a:gd name="connsiteX3" fmla="*/ 2550 w 18341"/>
                  <a:gd name="connsiteY3" fmla="*/ 2782 h 18422"/>
                  <a:gd name="connsiteX4" fmla="*/ 15529 w 18341"/>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2">
                    <a:moveTo>
                      <a:pt x="15529" y="2602"/>
                    </a:moveTo>
                    <a:cubicBezTo>
                      <a:pt x="19177" y="6131"/>
                      <a:pt x="19297" y="11992"/>
                      <a:pt x="15767" y="15640"/>
                    </a:cubicBezTo>
                    <a:cubicBezTo>
                      <a:pt x="12239" y="19289"/>
                      <a:pt x="6438" y="19348"/>
                      <a:pt x="2790" y="15820"/>
                    </a:cubicBezTo>
                    <a:cubicBezTo>
                      <a:pt x="-858" y="12291"/>
                      <a:pt x="-918" y="6430"/>
                      <a:pt x="2550" y="2782"/>
                    </a:cubicBezTo>
                    <a:cubicBezTo>
                      <a:pt x="6139" y="-866"/>
                      <a:pt x="11940" y="-926"/>
                      <a:pt x="15529" y="2602"/>
                    </a:cubicBezTo>
                    <a:close/>
                  </a:path>
                </a:pathLst>
              </a:custGeom>
              <a:grpFill/>
              <a:ln w="5978" cap="flat">
                <a:noFill/>
                <a:prstDash val="solid"/>
                <a:miter/>
              </a:ln>
            </p:spPr>
            <p:txBody>
              <a:bodyPr rtlCol="0" anchor="ctr"/>
              <a:lstStyle/>
              <a:p>
                <a:endParaRPr lang="en-GB"/>
              </a:p>
            </p:txBody>
          </p:sp>
          <p:sp>
            <p:nvSpPr>
              <p:cNvPr id="3980" name="Vrije vorm: vorm 3979">
                <a:extLst>
                  <a:ext uri="{FF2B5EF4-FFF2-40B4-BE49-F238E27FC236}">
                    <a16:creationId xmlns:a16="http://schemas.microsoft.com/office/drawing/2014/main" id="{9D5B611D-D2D3-4204-9EF5-3F5CAE121BA4}"/>
                  </a:ext>
                </a:extLst>
              </p:cNvPr>
              <p:cNvSpPr/>
              <p:nvPr/>
            </p:nvSpPr>
            <p:spPr>
              <a:xfrm>
                <a:off x="7348770" y="4678967"/>
                <a:ext cx="18319" cy="18422"/>
              </a:xfrm>
              <a:custGeom>
                <a:avLst/>
                <a:gdLst>
                  <a:gd name="connsiteX0" fmla="*/ 15552 w 18319"/>
                  <a:gd name="connsiteY0" fmla="*/ 2602 h 18422"/>
                  <a:gd name="connsiteX1" fmla="*/ 2573 w 18319"/>
                  <a:gd name="connsiteY1" fmla="*/ 2782 h 18422"/>
                  <a:gd name="connsiteX2" fmla="*/ 2813 w 18319"/>
                  <a:gd name="connsiteY2" fmla="*/ 15820 h 18422"/>
                  <a:gd name="connsiteX3" fmla="*/ 15791 w 18319"/>
                  <a:gd name="connsiteY3" fmla="*/ 15640 h 18422"/>
                  <a:gd name="connsiteX4" fmla="*/ 15552 w 18319"/>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2">
                    <a:moveTo>
                      <a:pt x="15552" y="2602"/>
                    </a:moveTo>
                    <a:cubicBezTo>
                      <a:pt x="11903" y="-926"/>
                      <a:pt x="6102" y="-866"/>
                      <a:pt x="2573" y="2782"/>
                    </a:cubicBezTo>
                    <a:cubicBezTo>
                      <a:pt x="-955" y="6430"/>
                      <a:pt x="-836" y="12231"/>
                      <a:pt x="2813" y="15820"/>
                    </a:cubicBezTo>
                    <a:cubicBezTo>
                      <a:pt x="6461" y="19348"/>
                      <a:pt x="12262" y="19289"/>
                      <a:pt x="15791" y="15640"/>
                    </a:cubicBezTo>
                    <a:cubicBezTo>
                      <a:pt x="19260" y="11932"/>
                      <a:pt x="19140" y="6131"/>
                      <a:pt x="15552" y="2602"/>
                    </a:cubicBezTo>
                    <a:close/>
                  </a:path>
                </a:pathLst>
              </a:custGeom>
              <a:grpFill/>
              <a:ln w="5978" cap="flat">
                <a:noFill/>
                <a:prstDash val="solid"/>
                <a:miter/>
              </a:ln>
            </p:spPr>
            <p:txBody>
              <a:bodyPr rtlCol="0" anchor="ctr"/>
              <a:lstStyle/>
              <a:p>
                <a:endParaRPr lang="en-GB"/>
              </a:p>
            </p:txBody>
          </p:sp>
        </p:grpSp>
        <p:grpSp>
          <p:nvGrpSpPr>
            <p:cNvPr id="470" name="Graphic 3">
              <a:extLst>
                <a:ext uri="{FF2B5EF4-FFF2-40B4-BE49-F238E27FC236}">
                  <a16:creationId xmlns:a16="http://schemas.microsoft.com/office/drawing/2014/main" id="{1F349759-E939-48C8-A906-227F71CFC761}"/>
                </a:ext>
              </a:extLst>
            </p:cNvPr>
            <p:cNvGrpSpPr/>
            <p:nvPr/>
          </p:nvGrpSpPr>
          <p:grpSpPr>
            <a:xfrm>
              <a:off x="6310148" y="1467279"/>
              <a:ext cx="97607" cy="298047"/>
              <a:chOff x="6310148" y="1467279"/>
              <a:chExt cx="97607" cy="298047"/>
            </a:xfrm>
            <a:grpFill/>
          </p:grpSpPr>
          <p:sp>
            <p:nvSpPr>
              <p:cNvPr id="3975" name="Vrije vorm: vorm 3974">
                <a:extLst>
                  <a:ext uri="{FF2B5EF4-FFF2-40B4-BE49-F238E27FC236}">
                    <a16:creationId xmlns:a16="http://schemas.microsoft.com/office/drawing/2014/main" id="{67408FE9-87BA-4EE8-8865-9ED91BAA93AA}"/>
                  </a:ext>
                </a:extLst>
              </p:cNvPr>
              <p:cNvSpPr/>
              <p:nvPr/>
            </p:nvSpPr>
            <p:spPr>
              <a:xfrm>
                <a:off x="6317695" y="1475664"/>
                <a:ext cx="82533" cy="281333"/>
              </a:xfrm>
              <a:custGeom>
                <a:avLst/>
                <a:gdLst>
                  <a:gd name="connsiteX0" fmla="*/ 82534 w 82533"/>
                  <a:gd name="connsiteY0" fmla="*/ 837 h 281333"/>
                  <a:gd name="connsiteX1" fmla="*/ 2930 w 82533"/>
                  <a:gd name="connsiteY1" fmla="*/ 281333 h 281333"/>
                  <a:gd name="connsiteX2" fmla="*/ 0 w 82533"/>
                  <a:gd name="connsiteY2" fmla="*/ 280496 h 281333"/>
                  <a:gd name="connsiteX3" fmla="*/ 79603 w 82533"/>
                  <a:gd name="connsiteY3" fmla="*/ 0 h 281333"/>
                </a:gdLst>
                <a:ahLst/>
                <a:cxnLst>
                  <a:cxn ang="0">
                    <a:pos x="connsiteX0" y="connsiteY0"/>
                  </a:cxn>
                  <a:cxn ang="0">
                    <a:pos x="connsiteX1" y="connsiteY1"/>
                  </a:cxn>
                  <a:cxn ang="0">
                    <a:pos x="connsiteX2" y="connsiteY2"/>
                  </a:cxn>
                  <a:cxn ang="0">
                    <a:pos x="connsiteX3" y="connsiteY3"/>
                  </a:cxn>
                </a:cxnLst>
                <a:rect l="l" t="t" r="r" b="b"/>
                <a:pathLst>
                  <a:path w="82533" h="281333">
                    <a:moveTo>
                      <a:pt x="82534" y="837"/>
                    </a:moveTo>
                    <a:lnTo>
                      <a:pt x="2930" y="281333"/>
                    </a:lnTo>
                    <a:lnTo>
                      <a:pt x="0" y="280496"/>
                    </a:lnTo>
                    <a:lnTo>
                      <a:pt x="79603" y="0"/>
                    </a:lnTo>
                    <a:close/>
                  </a:path>
                </a:pathLst>
              </a:custGeom>
              <a:grpFill/>
              <a:ln w="5978" cap="flat">
                <a:noFill/>
                <a:prstDash val="solid"/>
                <a:miter/>
              </a:ln>
            </p:spPr>
            <p:txBody>
              <a:bodyPr rtlCol="0" anchor="ctr"/>
              <a:lstStyle/>
              <a:p>
                <a:endParaRPr lang="en-GB"/>
              </a:p>
            </p:txBody>
          </p:sp>
          <p:sp>
            <p:nvSpPr>
              <p:cNvPr id="3976" name="Vrije vorm: vorm 3975">
                <a:extLst>
                  <a:ext uri="{FF2B5EF4-FFF2-40B4-BE49-F238E27FC236}">
                    <a16:creationId xmlns:a16="http://schemas.microsoft.com/office/drawing/2014/main" id="{0EBC3255-5E13-47FF-95B9-BD5A43CA6E29}"/>
                  </a:ext>
                </a:extLst>
              </p:cNvPr>
              <p:cNvSpPr/>
              <p:nvPr/>
            </p:nvSpPr>
            <p:spPr>
              <a:xfrm>
                <a:off x="6310148" y="1746873"/>
                <a:ext cx="18302" cy="18453"/>
              </a:xfrm>
              <a:custGeom>
                <a:avLst/>
                <a:gdLst>
                  <a:gd name="connsiteX0" fmla="*/ 17954 w 18302"/>
                  <a:gd name="connsiteY0" fmla="*/ 11798 h 18453"/>
                  <a:gd name="connsiteX1" fmla="*/ 6650 w 18302"/>
                  <a:gd name="connsiteY1" fmla="*/ 18078 h 18453"/>
                  <a:gd name="connsiteX2" fmla="*/ 370 w 18302"/>
                  <a:gd name="connsiteY2" fmla="*/ 6655 h 18453"/>
                  <a:gd name="connsiteX3" fmla="*/ 11674 w 18302"/>
                  <a:gd name="connsiteY3" fmla="*/ 375 h 18453"/>
                  <a:gd name="connsiteX4" fmla="*/ 17954 w 18302"/>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53">
                    <a:moveTo>
                      <a:pt x="17954" y="11798"/>
                    </a:moveTo>
                    <a:cubicBezTo>
                      <a:pt x="16578" y="16702"/>
                      <a:pt x="11494" y="19513"/>
                      <a:pt x="6650" y="18078"/>
                    </a:cubicBezTo>
                    <a:cubicBezTo>
                      <a:pt x="1806" y="16643"/>
                      <a:pt x="-1065" y="11559"/>
                      <a:pt x="370" y="6655"/>
                    </a:cubicBezTo>
                    <a:cubicBezTo>
                      <a:pt x="1746" y="1751"/>
                      <a:pt x="6830" y="-1060"/>
                      <a:pt x="11674" y="375"/>
                    </a:cubicBezTo>
                    <a:cubicBezTo>
                      <a:pt x="16518" y="1810"/>
                      <a:pt x="19329" y="6954"/>
                      <a:pt x="17954" y="11798"/>
                    </a:cubicBezTo>
                    <a:close/>
                  </a:path>
                </a:pathLst>
              </a:custGeom>
              <a:grpFill/>
              <a:ln w="5978" cap="flat">
                <a:noFill/>
                <a:prstDash val="solid"/>
                <a:miter/>
              </a:ln>
            </p:spPr>
            <p:txBody>
              <a:bodyPr rtlCol="0" anchor="ctr"/>
              <a:lstStyle/>
              <a:p>
                <a:endParaRPr lang="en-GB"/>
              </a:p>
            </p:txBody>
          </p:sp>
          <p:sp>
            <p:nvSpPr>
              <p:cNvPr id="3977" name="Vrije vorm: vorm 3976">
                <a:extLst>
                  <a:ext uri="{FF2B5EF4-FFF2-40B4-BE49-F238E27FC236}">
                    <a16:creationId xmlns:a16="http://schemas.microsoft.com/office/drawing/2014/main" id="{1759ADAD-7FA6-4000-9D37-59CA0D83978C}"/>
                  </a:ext>
                </a:extLst>
              </p:cNvPr>
              <p:cNvSpPr/>
              <p:nvPr/>
            </p:nvSpPr>
            <p:spPr>
              <a:xfrm>
                <a:off x="6389474" y="1467279"/>
                <a:ext cx="18281" cy="18448"/>
              </a:xfrm>
              <a:custGeom>
                <a:avLst/>
                <a:gdLst>
                  <a:gd name="connsiteX0" fmla="*/ 17933 w 18281"/>
                  <a:gd name="connsiteY0" fmla="*/ 11794 h 18448"/>
                  <a:gd name="connsiteX1" fmla="*/ 11653 w 18281"/>
                  <a:gd name="connsiteY1" fmla="*/ 370 h 18448"/>
                  <a:gd name="connsiteX2" fmla="*/ 349 w 18281"/>
                  <a:gd name="connsiteY2" fmla="*/ 6650 h 18448"/>
                  <a:gd name="connsiteX3" fmla="*/ 6629 w 18281"/>
                  <a:gd name="connsiteY3" fmla="*/ 18073 h 18448"/>
                  <a:gd name="connsiteX4" fmla="*/ 17933 w 18281"/>
                  <a:gd name="connsiteY4" fmla="*/ 11794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48">
                    <a:moveTo>
                      <a:pt x="17933" y="11794"/>
                    </a:moveTo>
                    <a:cubicBezTo>
                      <a:pt x="19308" y="6889"/>
                      <a:pt x="16497" y="1806"/>
                      <a:pt x="11653" y="370"/>
                    </a:cubicBezTo>
                    <a:cubicBezTo>
                      <a:pt x="6809" y="-1065"/>
                      <a:pt x="1725" y="1806"/>
                      <a:pt x="349" y="6650"/>
                    </a:cubicBezTo>
                    <a:cubicBezTo>
                      <a:pt x="-1027" y="11554"/>
                      <a:pt x="1785" y="16638"/>
                      <a:pt x="6629" y="18073"/>
                    </a:cubicBezTo>
                    <a:cubicBezTo>
                      <a:pt x="11473" y="19509"/>
                      <a:pt x="16557" y="16698"/>
                      <a:pt x="17933" y="11794"/>
                    </a:cubicBezTo>
                    <a:close/>
                  </a:path>
                </a:pathLst>
              </a:custGeom>
              <a:grpFill/>
              <a:ln w="5978" cap="flat">
                <a:noFill/>
                <a:prstDash val="solid"/>
                <a:miter/>
              </a:ln>
            </p:spPr>
            <p:txBody>
              <a:bodyPr rtlCol="0" anchor="ctr"/>
              <a:lstStyle/>
              <a:p>
                <a:endParaRPr lang="en-GB"/>
              </a:p>
            </p:txBody>
          </p:sp>
        </p:grpSp>
        <p:grpSp>
          <p:nvGrpSpPr>
            <p:cNvPr id="471" name="Graphic 3">
              <a:extLst>
                <a:ext uri="{FF2B5EF4-FFF2-40B4-BE49-F238E27FC236}">
                  <a16:creationId xmlns:a16="http://schemas.microsoft.com/office/drawing/2014/main" id="{C968C45D-697B-495E-BF77-5BD539032F50}"/>
                </a:ext>
              </a:extLst>
            </p:cNvPr>
            <p:cNvGrpSpPr/>
            <p:nvPr/>
          </p:nvGrpSpPr>
          <p:grpSpPr>
            <a:xfrm>
              <a:off x="6333434" y="1485644"/>
              <a:ext cx="35284" cy="125608"/>
              <a:chOff x="6333434" y="1485644"/>
              <a:chExt cx="35284" cy="125608"/>
            </a:xfrm>
            <a:grpFill/>
          </p:grpSpPr>
          <p:sp>
            <p:nvSpPr>
              <p:cNvPr id="3972" name="Vrije vorm: vorm 3971">
                <a:extLst>
                  <a:ext uri="{FF2B5EF4-FFF2-40B4-BE49-F238E27FC236}">
                    <a16:creationId xmlns:a16="http://schemas.microsoft.com/office/drawing/2014/main" id="{11CDCE03-5929-4847-9D56-7A5046A17F8C}"/>
                  </a:ext>
                </a:extLst>
              </p:cNvPr>
              <p:cNvSpPr/>
              <p:nvPr/>
            </p:nvSpPr>
            <p:spPr>
              <a:xfrm>
                <a:off x="6341020" y="1494144"/>
                <a:ext cx="20155" cy="108609"/>
              </a:xfrm>
              <a:custGeom>
                <a:avLst/>
                <a:gdLst>
                  <a:gd name="connsiteX0" fmla="*/ 20155 w 20155"/>
                  <a:gd name="connsiteY0" fmla="*/ 478 h 108609"/>
                  <a:gd name="connsiteX1" fmla="*/ 2990 w 20155"/>
                  <a:gd name="connsiteY1" fmla="*/ 108610 h 108609"/>
                  <a:gd name="connsiteX2" fmla="*/ 0 w 20155"/>
                  <a:gd name="connsiteY2" fmla="*/ 108131 h 108609"/>
                  <a:gd name="connsiteX3" fmla="*/ 17105 w 20155"/>
                  <a:gd name="connsiteY3" fmla="*/ 0 h 108609"/>
                </a:gdLst>
                <a:ahLst/>
                <a:cxnLst>
                  <a:cxn ang="0">
                    <a:pos x="connsiteX0" y="connsiteY0"/>
                  </a:cxn>
                  <a:cxn ang="0">
                    <a:pos x="connsiteX1" y="connsiteY1"/>
                  </a:cxn>
                  <a:cxn ang="0">
                    <a:pos x="connsiteX2" y="connsiteY2"/>
                  </a:cxn>
                  <a:cxn ang="0">
                    <a:pos x="connsiteX3" y="connsiteY3"/>
                  </a:cxn>
                </a:cxnLst>
                <a:rect l="l" t="t" r="r" b="b"/>
                <a:pathLst>
                  <a:path w="20155" h="108609">
                    <a:moveTo>
                      <a:pt x="20155" y="478"/>
                    </a:moveTo>
                    <a:lnTo>
                      <a:pt x="2990" y="108610"/>
                    </a:lnTo>
                    <a:lnTo>
                      <a:pt x="0" y="108131"/>
                    </a:lnTo>
                    <a:lnTo>
                      <a:pt x="17105" y="0"/>
                    </a:lnTo>
                    <a:close/>
                  </a:path>
                </a:pathLst>
              </a:custGeom>
              <a:grpFill/>
              <a:ln w="5978" cap="flat">
                <a:noFill/>
                <a:prstDash val="solid"/>
                <a:miter/>
              </a:ln>
            </p:spPr>
            <p:txBody>
              <a:bodyPr rtlCol="0" anchor="ctr"/>
              <a:lstStyle/>
              <a:p>
                <a:endParaRPr lang="en-GB"/>
              </a:p>
            </p:txBody>
          </p:sp>
          <p:sp>
            <p:nvSpPr>
              <p:cNvPr id="3973" name="Vrije vorm: vorm 3972">
                <a:extLst>
                  <a:ext uri="{FF2B5EF4-FFF2-40B4-BE49-F238E27FC236}">
                    <a16:creationId xmlns:a16="http://schemas.microsoft.com/office/drawing/2014/main" id="{F3112713-9E64-441F-8923-4D56C2301D03}"/>
                  </a:ext>
                </a:extLst>
              </p:cNvPr>
              <p:cNvSpPr/>
              <p:nvPr/>
            </p:nvSpPr>
            <p:spPr>
              <a:xfrm>
                <a:off x="6350419" y="1485644"/>
                <a:ext cx="18298" cy="18434"/>
              </a:xfrm>
              <a:custGeom>
                <a:avLst/>
                <a:gdLst>
                  <a:gd name="connsiteX0" fmla="*/ 111 w 18298"/>
                  <a:gd name="connsiteY0" fmla="*/ 7722 h 18434"/>
                  <a:gd name="connsiteX1" fmla="*/ 10577 w 18298"/>
                  <a:gd name="connsiteY1" fmla="*/ 126 h 18434"/>
                  <a:gd name="connsiteX2" fmla="*/ 18172 w 18298"/>
                  <a:gd name="connsiteY2" fmla="*/ 10712 h 18434"/>
                  <a:gd name="connsiteX3" fmla="*/ 7706 w 18298"/>
                  <a:gd name="connsiteY3" fmla="*/ 18308 h 18434"/>
                  <a:gd name="connsiteX4" fmla="*/ 111 w 1829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4">
                    <a:moveTo>
                      <a:pt x="111" y="7722"/>
                    </a:moveTo>
                    <a:cubicBezTo>
                      <a:pt x="888" y="2698"/>
                      <a:pt x="5613" y="-711"/>
                      <a:pt x="10577" y="126"/>
                    </a:cubicBezTo>
                    <a:cubicBezTo>
                      <a:pt x="15600" y="964"/>
                      <a:pt x="19009" y="5689"/>
                      <a:pt x="18172" y="10712"/>
                    </a:cubicBezTo>
                    <a:cubicBezTo>
                      <a:pt x="17395" y="15736"/>
                      <a:pt x="12670" y="19145"/>
                      <a:pt x="7706" y="18308"/>
                    </a:cubicBezTo>
                    <a:cubicBezTo>
                      <a:pt x="2742" y="17471"/>
                      <a:pt x="-667" y="12746"/>
                      <a:pt x="111" y="7722"/>
                    </a:cubicBezTo>
                    <a:close/>
                  </a:path>
                </a:pathLst>
              </a:custGeom>
              <a:grpFill/>
              <a:ln w="5978" cap="flat">
                <a:noFill/>
                <a:prstDash val="solid"/>
                <a:miter/>
              </a:ln>
            </p:spPr>
            <p:txBody>
              <a:bodyPr rtlCol="0" anchor="ctr"/>
              <a:lstStyle/>
              <a:p>
                <a:endParaRPr lang="en-GB"/>
              </a:p>
            </p:txBody>
          </p:sp>
          <p:sp>
            <p:nvSpPr>
              <p:cNvPr id="3974" name="Vrije vorm: vorm 3973">
                <a:extLst>
                  <a:ext uri="{FF2B5EF4-FFF2-40B4-BE49-F238E27FC236}">
                    <a16:creationId xmlns:a16="http://schemas.microsoft.com/office/drawing/2014/main" id="{C69BD105-788F-46B7-93BE-82D455511DDB}"/>
                  </a:ext>
                </a:extLst>
              </p:cNvPr>
              <p:cNvSpPr/>
              <p:nvPr/>
            </p:nvSpPr>
            <p:spPr>
              <a:xfrm>
                <a:off x="6333434" y="1592819"/>
                <a:ext cx="18282" cy="18434"/>
              </a:xfrm>
              <a:custGeom>
                <a:avLst/>
                <a:gdLst>
                  <a:gd name="connsiteX0" fmla="*/ 111 w 18282"/>
                  <a:gd name="connsiteY0" fmla="*/ 7722 h 18434"/>
                  <a:gd name="connsiteX1" fmla="*/ 7706 w 18282"/>
                  <a:gd name="connsiteY1" fmla="*/ 18308 h 18434"/>
                  <a:gd name="connsiteX2" fmla="*/ 18172 w 18282"/>
                  <a:gd name="connsiteY2" fmla="*/ 10712 h 18434"/>
                  <a:gd name="connsiteX3" fmla="*/ 10577 w 18282"/>
                  <a:gd name="connsiteY3" fmla="*/ 126 h 18434"/>
                  <a:gd name="connsiteX4" fmla="*/ 111 w 18282"/>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34">
                    <a:moveTo>
                      <a:pt x="111" y="7722"/>
                    </a:moveTo>
                    <a:cubicBezTo>
                      <a:pt x="-667" y="12746"/>
                      <a:pt x="2742" y="17471"/>
                      <a:pt x="7706" y="18308"/>
                    </a:cubicBezTo>
                    <a:cubicBezTo>
                      <a:pt x="12730" y="19145"/>
                      <a:pt x="17395" y="15736"/>
                      <a:pt x="18172" y="10712"/>
                    </a:cubicBezTo>
                    <a:cubicBezTo>
                      <a:pt x="18950" y="5689"/>
                      <a:pt x="15541" y="964"/>
                      <a:pt x="10577" y="126"/>
                    </a:cubicBezTo>
                    <a:cubicBezTo>
                      <a:pt x="5613" y="-711"/>
                      <a:pt x="888" y="2698"/>
                      <a:pt x="111" y="7722"/>
                    </a:cubicBezTo>
                    <a:close/>
                  </a:path>
                </a:pathLst>
              </a:custGeom>
              <a:grpFill/>
              <a:ln w="5978" cap="flat">
                <a:noFill/>
                <a:prstDash val="solid"/>
                <a:miter/>
              </a:ln>
            </p:spPr>
            <p:txBody>
              <a:bodyPr rtlCol="0" anchor="ctr"/>
              <a:lstStyle/>
              <a:p>
                <a:endParaRPr lang="en-GB"/>
              </a:p>
            </p:txBody>
          </p:sp>
        </p:grpSp>
        <p:grpSp>
          <p:nvGrpSpPr>
            <p:cNvPr id="472" name="Graphic 3">
              <a:extLst>
                <a:ext uri="{FF2B5EF4-FFF2-40B4-BE49-F238E27FC236}">
                  <a16:creationId xmlns:a16="http://schemas.microsoft.com/office/drawing/2014/main" id="{C94A2DD8-EBB1-4C2F-8B62-E6D21FE51ABA}"/>
                </a:ext>
              </a:extLst>
            </p:cNvPr>
            <p:cNvGrpSpPr/>
            <p:nvPr/>
          </p:nvGrpSpPr>
          <p:grpSpPr>
            <a:xfrm>
              <a:off x="7256910" y="4590371"/>
              <a:ext cx="329375" cy="376172"/>
              <a:chOff x="7256910" y="4590371"/>
              <a:chExt cx="329375" cy="376172"/>
            </a:xfrm>
            <a:grpFill/>
          </p:grpSpPr>
          <p:sp>
            <p:nvSpPr>
              <p:cNvPr id="3969" name="Vrije vorm: vorm 3968">
                <a:extLst>
                  <a:ext uri="{FF2B5EF4-FFF2-40B4-BE49-F238E27FC236}">
                    <a16:creationId xmlns:a16="http://schemas.microsoft.com/office/drawing/2014/main" id="{80E11311-985D-4084-BF85-97CD65201B7A}"/>
                  </a:ext>
                </a:extLst>
              </p:cNvPr>
              <p:cNvSpPr/>
              <p:nvPr/>
            </p:nvSpPr>
            <p:spPr>
              <a:xfrm>
                <a:off x="7264623" y="4598198"/>
                <a:ext cx="313928" cy="360517"/>
              </a:xfrm>
              <a:custGeom>
                <a:avLst/>
                <a:gdLst>
                  <a:gd name="connsiteX0" fmla="*/ 313928 w 313928"/>
                  <a:gd name="connsiteY0" fmla="*/ 358484 h 360517"/>
                  <a:gd name="connsiteX1" fmla="*/ 311655 w 313928"/>
                  <a:gd name="connsiteY1" fmla="*/ 360518 h 360517"/>
                  <a:gd name="connsiteX2" fmla="*/ 0 w 313928"/>
                  <a:gd name="connsiteY2" fmla="*/ 2034 h 360517"/>
                  <a:gd name="connsiteX3" fmla="*/ 2273 w 313928"/>
                  <a:gd name="connsiteY3" fmla="*/ 0 h 360517"/>
                </a:gdLst>
                <a:ahLst/>
                <a:cxnLst>
                  <a:cxn ang="0">
                    <a:pos x="connsiteX0" y="connsiteY0"/>
                  </a:cxn>
                  <a:cxn ang="0">
                    <a:pos x="connsiteX1" y="connsiteY1"/>
                  </a:cxn>
                  <a:cxn ang="0">
                    <a:pos x="connsiteX2" y="connsiteY2"/>
                  </a:cxn>
                  <a:cxn ang="0">
                    <a:pos x="connsiteX3" y="connsiteY3"/>
                  </a:cxn>
                </a:cxnLst>
                <a:rect l="l" t="t" r="r" b="b"/>
                <a:pathLst>
                  <a:path w="313928" h="360517">
                    <a:moveTo>
                      <a:pt x="313928" y="358484"/>
                    </a:moveTo>
                    <a:lnTo>
                      <a:pt x="311655" y="360518"/>
                    </a:lnTo>
                    <a:lnTo>
                      <a:pt x="0" y="2034"/>
                    </a:lnTo>
                    <a:lnTo>
                      <a:pt x="2273" y="0"/>
                    </a:lnTo>
                    <a:close/>
                  </a:path>
                </a:pathLst>
              </a:custGeom>
              <a:grpFill/>
              <a:ln w="5978" cap="flat">
                <a:noFill/>
                <a:prstDash val="solid"/>
                <a:miter/>
              </a:ln>
            </p:spPr>
            <p:txBody>
              <a:bodyPr rtlCol="0" anchor="ctr"/>
              <a:lstStyle/>
              <a:p>
                <a:endParaRPr lang="en-GB"/>
              </a:p>
            </p:txBody>
          </p:sp>
          <p:sp>
            <p:nvSpPr>
              <p:cNvPr id="3970" name="Vrije vorm: vorm 3969">
                <a:extLst>
                  <a:ext uri="{FF2B5EF4-FFF2-40B4-BE49-F238E27FC236}">
                    <a16:creationId xmlns:a16="http://schemas.microsoft.com/office/drawing/2014/main" id="{CF607022-84BF-4144-BC54-660CC1D79C47}"/>
                  </a:ext>
                </a:extLst>
              </p:cNvPr>
              <p:cNvSpPr/>
              <p:nvPr/>
            </p:nvSpPr>
            <p:spPr>
              <a:xfrm>
                <a:off x="7256910" y="4590371"/>
                <a:ext cx="18297" cy="18405"/>
              </a:xfrm>
              <a:custGeom>
                <a:avLst/>
                <a:gdLst>
                  <a:gd name="connsiteX0" fmla="*/ 2271 w 18297"/>
                  <a:gd name="connsiteY0" fmla="*/ 15243 h 18405"/>
                  <a:gd name="connsiteX1" fmla="*/ 3108 w 18297"/>
                  <a:gd name="connsiteY1" fmla="*/ 2265 h 18405"/>
                  <a:gd name="connsiteX2" fmla="*/ 16027 w 18297"/>
                  <a:gd name="connsiteY2" fmla="*/ 3162 h 18405"/>
                  <a:gd name="connsiteX3" fmla="*/ 15189 w 18297"/>
                  <a:gd name="connsiteY3" fmla="*/ 16141 h 18405"/>
                  <a:gd name="connsiteX4" fmla="*/ 2271 w 18297"/>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2271" y="15243"/>
                    </a:moveTo>
                    <a:cubicBezTo>
                      <a:pt x="-1078" y="11416"/>
                      <a:pt x="-660" y="5615"/>
                      <a:pt x="3108" y="2265"/>
                    </a:cubicBezTo>
                    <a:cubicBezTo>
                      <a:pt x="6936" y="-1084"/>
                      <a:pt x="12678" y="-665"/>
                      <a:pt x="16027" y="3162"/>
                    </a:cubicBezTo>
                    <a:cubicBezTo>
                      <a:pt x="19376" y="6990"/>
                      <a:pt x="18957" y="12791"/>
                      <a:pt x="15189" y="16141"/>
                    </a:cubicBezTo>
                    <a:cubicBezTo>
                      <a:pt x="11362" y="19490"/>
                      <a:pt x="5620" y="19071"/>
                      <a:pt x="2271" y="15243"/>
                    </a:cubicBezTo>
                    <a:close/>
                  </a:path>
                </a:pathLst>
              </a:custGeom>
              <a:grpFill/>
              <a:ln w="5978" cap="flat">
                <a:noFill/>
                <a:prstDash val="solid"/>
                <a:miter/>
              </a:ln>
            </p:spPr>
            <p:txBody>
              <a:bodyPr rtlCol="0" anchor="ctr"/>
              <a:lstStyle/>
              <a:p>
                <a:endParaRPr lang="en-GB"/>
              </a:p>
            </p:txBody>
          </p:sp>
          <p:sp>
            <p:nvSpPr>
              <p:cNvPr id="3971" name="Vrije vorm: vorm 3970">
                <a:extLst>
                  <a:ext uri="{FF2B5EF4-FFF2-40B4-BE49-F238E27FC236}">
                    <a16:creationId xmlns:a16="http://schemas.microsoft.com/office/drawing/2014/main" id="{9A132759-1BFD-4AA6-8727-769F6E013E68}"/>
                  </a:ext>
                </a:extLst>
              </p:cNvPr>
              <p:cNvSpPr/>
              <p:nvPr/>
            </p:nvSpPr>
            <p:spPr>
              <a:xfrm>
                <a:off x="7567946" y="4948138"/>
                <a:ext cx="18338" cy="18405"/>
              </a:xfrm>
              <a:custGeom>
                <a:avLst/>
                <a:gdLst>
                  <a:gd name="connsiteX0" fmla="*/ 2291 w 18338"/>
                  <a:gd name="connsiteY0" fmla="*/ 15243 h 18405"/>
                  <a:gd name="connsiteX1" fmla="*/ 15210 w 18338"/>
                  <a:gd name="connsiteY1" fmla="*/ 16141 h 18405"/>
                  <a:gd name="connsiteX2" fmla="*/ 16047 w 18338"/>
                  <a:gd name="connsiteY2" fmla="*/ 3162 h 18405"/>
                  <a:gd name="connsiteX3" fmla="*/ 3129 w 18338"/>
                  <a:gd name="connsiteY3" fmla="*/ 2265 h 18405"/>
                  <a:gd name="connsiteX4" fmla="*/ 2291 w 18338"/>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5">
                    <a:moveTo>
                      <a:pt x="2291" y="15243"/>
                    </a:moveTo>
                    <a:cubicBezTo>
                      <a:pt x="5641" y="19071"/>
                      <a:pt x="11442" y="19490"/>
                      <a:pt x="15210" y="16141"/>
                    </a:cubicBezTo>
                    <a:cubicBezTo>
                      <a:pt x="19038" y="12791"/>
                      <a:pt x="19397" y="6990"/>
                      <a:pt x="16047" y="3162"/>
                    </a:cubicBezTo>
                    <a:cubicBezTo>
                      <a:pt x="12698" y="-665"/>
                      <a:pt x="6896" y="-1084"/>
                      <a:pt x="3129" y="2265"/>
                    </a:cubicBezTo>
                    <a:cubicBezTo>
                      <a:pt x="-699" y="5615"/>
                      <a:pt x="-1058" y="11416"/>
                      <a:pt x="2291" y="15243"/>
                    </a:cubicBezTo>
                    <a:close/>
                  </a:path>
                </a:pathLst>
              </a:custGeom>
              <a:grpFill/>
              <a:ln w="5978" cap="flat">
                <a:noFill/>
                <a:prstDash val="solid"/>
                <a:miter/>
              </a:ln>
            </p:spPr>
            <p:txBody>
              <a:bodyPr rtlCol="0" anchor="ctr"/>
              <a:lstStyle/>
              <a:p>
                <a:endParaRPr lang="en-GB"/>
              </a:p>
            </p:txBody>
          </p:sp>
        </p:grpSp>
        <p:grpSp>
          <p:nvGrpSpPr>
            <p:cNvPr id="473" name="Graphic 3">
              <a:extLst>
                <a:ext uri="{FF2B5EF4-FFF2-40B4-BE49-F238E27FC236}">
                  <a16:creationId xmlns:a16="http://schemas.microsoft.com/office/drawing/2014/main" id="{7CB1CD84-6EFE-4F5C-A03B-C5779464DC3B}"/>
                </a:ext>
              </a:extLst>
            </p:cNvPr>
            <p:cNvGrpSpPr/>
            <p:nvPr/>
          </p:nvGrpSpPr>
          <p:grpSpPr>
            <a:xfrm>
              <a:off x="6370277" y="1692476"/>
              <a:ext cx="31495" cy="85221"/>
              <a:chOff x="6370277" y="1692476"/>
              <a:chExt cx="31495" cy="85221"/>
            </a:xfrm>
            <a:grpFill/>
          </p:grpSpPr>
          <p:sp>
            <p:nvSpPr>
              <p:cNvPr id="3966" name="Vrije vorm: vorm 3965">
                <a:extLst>
                  <a:ext uri="{FF2B5EF4-FFF2-40B4-BE49-F238E27FC236}">
                    <a16:creationId xmlns:a16="http://schemas.microsoft.com/office/drawing/2014/main" id="{BCDED9BE-22A2-4169-837D-084939EB1D8E}"/>
                  </a:ext>
                </a:extLst>
              </p:cNvPr>
              <p:cNvSpPr/>
              <p:nvPr/>
            </p:nvSpPr>
            <p:spPr>
              <a:xfrm>
                <a:off x="6377861" y="1700957"/>
                <a:ext cx="16267" cy="68299"/>
              </a:xfrm>
              <a:custGeom>
                <a:avLst/>
                <a:gdLst>
                  <a:gd name="connsiteX0" fmla="*/ 16267 w 16267"/>
                  <a:gd name="connsiteY0" fmla="*/ 598 h 68299"/>
                  <a:gd name="connsiteX1" fmla="*/ 2990 w 16267"/>
                  <a:gd name="connsiteY1" fmla="*/ 68300 h 68299"/>
                  <a:gd name="connsiteX2" fmla="*/ 0 w 16267"/>
                  <a:gd name="connsiteY2" fmla="*/ 67702 h 68299"/>
                  <a:gd name="connsiteX3" fmla="*/ 13277 w 16267"/>
                  <a:gd name="connsiteY3" fmla="*/ 0 h 68299"/>
                </a:gdLst>
                <a:ahLst/>
                <a:cxnLst>
                  <a:cxn ang="0">
                    <a:pos x="connsiteX0" y="connsiteY0"/>
                  </a:cxn>
                  <a:cxn ang="0">
                    <a:pos x="connsiteX1" y="connsiteY1"/>
                  </a:cxn>
                  <a:cxn ang="0">
                    <a:pos x="connsiteX2" y="connsiteY2"/>
                  </a:cxn>
                  <a:cxn ang="0">
                    <a:pos x="connsiteX3" y="connsiteY3"/>
                  </a:cxn>
                </a:cxnLst>
                <a:rect l="l" t="t" r="r" b="b"/>
                <a:pathLst>
                  <a:path w="16267" h="68299">
                    <a:moveTo>
                      <a:pt x="16267" y="598"/>
                    </a:moveTo>
                    <a:lnTo>
                      <a:pt x="2990" y="68300"/>
                    </a:lnTo>
                    <a:lnTo>
                      <a:pt x="0" y="67702"/>
                    </a:lnTo>
                    <a:lnTo>
                      <a:pt x="13277" y="0"/>
                    </a:lnTo>
                    <a:close/>
                  </a:path>
                </a:pathLst>
              </a:custGeom>
              <a:grpFill/>
              <a:ln w="5978" cap="flat">
                <a:noFill/>
                <a:prstDash val="solid"/>
                <a:miter/>
              </a:ln>
            </p:spPr>
            <p:txBody>
              <a:bodyPr rtlCol="0" anchor="ctr"/>
              <a:lstStyle/>
              <a:p>
                <a:endParaRPr lang="en-GB"/>
              </a:p>
            </p:txBody>
          </p:sp>
          <p:sp>
            <p:nvSpPr>
              <p:cNvPr id="3967" name="Vrije vorm: vorm 3966">
                <a:extLst>
                  <a:ext uri="{FF2B5EF4-FFF2-40B4-BE49-F238E27FC236}">
                    <a16:creationId xmlns:a16="http://schemas.microsoft.com/office/drawing/2014/main" id="{277FBFE5-545A-479C-B7F9-2988A0CD20FB}"/>
                  </a:ext>
                </a:extLst>
              </p:cNvPr>
              <p:cNvSpPr/>
              <p:nvPr/>
            </p:nvSpPr>
            <p:spPr>
              <a:xfrm>
                <a:off x="6383416" y="1692476"/>
                <a:ext cx="18356" cy="18397"/>
              </a:xfrm>
              <a:custGeom>
                <a:avLst/>
                <a:gdLst>
                  <a:gd name="connsiteX0" fmla="*/ 187 w 18356"/>
                  <a:gd name="connsiteY0" fmla="*/ 7405 h 18397"/>
                  <a:gd name="connsiteX1" fmla="*/ 10953 w 18356"/>
                  <a:gd name="connsiteY1" fmla="*/ 168 h 18397"/>
                  <a:gd name="connsiteX2" fmla="*/ 18189 w 18356"/>
                  <a:gd name="connsiteY2" fmla="*/ 10993 h 18397"/>
                  <a:gd name="connsiteX3" fmla="*/ 7424 w 18356"/>
                  <a:gd name="connsiteY3" fmla="*/ 18230 h 18397"/>
                  <a:gd name="connsiteX4" fmla="*/ 187 w 18356"/>
                  <a:gd name="connsiteY4" fmla="*/ 7405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87" y="7405"/>
                    </a:moveTo>
                    <a:cubicBezTo>
                      <a:pt x="1144" y="2441"/>
                      <a:pt x="5988" y="-789"/>
                      <a:pt x="10953" y="168"/>
                    </a:cubicBezTo>
                    <a:cubicBezTo>
                      <a:pt x="15916" y="1185"/>
                      <a:pt x="19146" y="6029"/>
                      <a:pt x="18189" y="10993"/>
                    </a:cubicBezTo>
                    <a:cubicBezTo>
                      <a:pt x="17232" y="15957"/>
                      <a:pt x="12388" y="19187"/>
                      <a:pt x="7424" y="18230"/>
                    </a:cubicBezTo>
                    <a:cubicBezTo>
                      <a:pt x="2400" y="17213"/>
                      <a:pt x="-830" y="12369"/>
                      <a:pt x="187" y="7405"/>
                    </a:cubicBezTo>
                    <a:close/>
                  </a:path>
                </a:pathLst>
              </a:custGeom>
              <a:grpFill/>
              <a:ln w="5978" cap="flat">
                <a:noFill/>
                <a:prstDash val="solid"/>
                <a:miter/>
              </a:ln>
            </p:spPr>
            <p:txBody>
              <a:bodyPr rtlCol="0" anchor="ctr"/>
              <a:lstStyle/>
              <a:p>
                <a:endParaRPr lang="en-GB"/>
              </a:p>
            </p:txBody>
          </p:sp>
          <p:sp>
            <p:nvSpPr>
              <p:cNvPr id="3968" name="Vrije vorm: vorm 3967">
                <a:extLst>
                  <a:ext uri="{FF2B5EF4-FFF2-40B4-BE49-F238E27FC236}">
                    <a16:creationId xmlns:a16="http://schemas.microsoft.com/office/drawing/2014/main" id="{F6301CCE-042F-4551-86E5-37628EF4F39B}"/>
                  </a:ext>
                </a:extLst>
              </p:cNvPr>
              <p:cNvSpPr/>
              <p:nvPr/>
            </p:nvSpPr>
            <p:spPr>
              <a:xfrm>
                <a:off x="6370277" y="1759262"/>
                <a:ext cx="18337" cy="18435"/>
              </a:xfrm>
              <a:custGeom>
                <a:avLst/>
                <a:gdLst>
                  <a:gd name="connsiteX0" fmla="*/ 168 w 18337"/>
                  <a:gd name="connsiteY0" fmla="*/ 7424 h 18435"/>
                  <a:gd name="connsiteX1" fmla="*/ 7404 w 18337"/>
                  <a:gd name="connsiteY1" fmla="*/ 18249 h 18435"/>
                  <a:gd name="connsiteX2" fmla="*/ 18170 w 18337"/>
                  <a:gd name="connsiteY2" fmla="*/ 11012 h 18435"/>
                  <a:gd name="connsiteX3" fmla="*/ 10933 w 18337"/>
                  <a:gd name="connsiteY3" fmla="*/ 187 h 18435"/>
                  <a:gd name="connsiteX4" fmla="*/ 168 w 18337"/>
                  <a:gd name="connsiteY4" fmla="*/ 742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5">
                    <a:moveTo>
                      <a:pt x="168" y="7424"/>
                    </a:moveTo>
                    <a:cubicBezTo>
                      <a:pt x="-789" y="12388"/>
                      <a:pt x="2441" y="17292"/>
                      <a:pt x="7404" y="18249"/>
                    </a:cubicBezTo>
                    <a:cubicBezTo>
                      <a:pt x="12368" y="19266"/>
                      <a:pt x="17213" y="16036"/>
                      <a:pt x="18170" y="11012"/>
                    </a:cubicBezTo>
                    <a:cubicBezTo>
                      <a:pt x="19127" y="6048"/>
                      <a:pt x="15897" y="1144"/>
                      <a:pt x="10933" y="187"/>
                    </a:cubicBezTo>
                    <a:cubicBezTo>
                      <a:pt x="5969" y="-830"/>
                      <a:pt x="1125" y="2400"/>
                      <a:pt x="168" y="7424"/>
                    </a:cubicBezTo>
                    <a:close/>
                  </a:path>
                </a:pathLst>
              </a:custGeom>
              <a:grpFill/>
              <a:ln w="5978" cap="flat">
                <a:noFill/>
                <a:prstDash val="solid"/>
                <a:miter/>
              </a:ln>
            </p:spPr>
            <p:txBody>
              <a:bodyPr rtlCol="0" anchor="ctr"/>
              <a:lstStyle/>
              <a:p>
                <a:endParaRPr lang="en-GB"/>
              </a:p>
            </p:txBody>
          </p:sp>
        </p:grpSp>
        <p:grpSp>
          <p:nvGrpSpPr>
            <p:cNvPr id="474" name="Graphic 3">
              <a:extLst>
                <a:ext uri="{FF2B5EF4-FFF2-40B4-BE49-F238E27FC236}">
                  <a16:creationId xmlns:a16="http://schemas.microsoft.com/office/drawing/2014/main" id="{F262DEE1-A9D5-4F5D-8C7E-39EAD14F5458}"/>
                </a:ext>
              </a:extLst>
            </p:cNvPr>
            <p:cNvGrpSpPr/>
            <p:nvPr/>
          </p:nvGrpSpPr>
          <p:grpSpPr>
            <a:xfrm>
              <a:off x="6357142" y="1612355"/>
              <a:ext cx="25828" cy="60520"/>
              <a:chOff x="6357142" y="1612355"/>
              <a:chExt cx="25828" cy="60520"/>
            </a:xfrm>
            <a:grpFill/>
          </p:grpSpPr>
          <p:sp>
            <p:nvSpPr>
              <p:cNvPr id="3963" name="Vrije vorm: vorm 3962">
                <a:extLst>
                  <a:ext uri="{FF2B5EF4-FFF2-40B4-BE49-F238E27FC236}">
                    <a16:creationId xmlns:a16="http://schemas.microsoft.com/office/drawing/2014/main" id="{C35011C9-B564-4A64-85E9-E334ADAD339F}"/>
                  </a:ext>
                </a:extLst>
              </p:cNvPr>
              <p:cNvSpPr/>
              <p:nvPr/>
            </p:nvSpPr>
            <p:spPr>
              <a:xfrm>
                <a:off x="6364764" y="1620816"/>
                <a:ext cx="10645" cy="43599"/>
              </a:xfrm>
              <a:custGeom>
                <a:avLst/>
                <a:gdLst>
                  <a:gd name="connsiteX0" fmla="*/ 10645 w 10645"/>
                  <a:gd name="connsiteY0" fmla="*/ 598 h 43599"/>
                  <a:gd name="connsiteX1" fmla="*/ 2990 w 10645"/>
                  <a:gd name="connsiteY1" fmla="*/ 43599 h 43599"/>
                  <a:gd name="connsiteX2" fmla="*/ 0 w 10645"/>
                  <a:gd name="connsiteY2" fmla="*/ 43061 h 43599"/>
                  <a:gd name="connsiteX3" fmla="*/ 7655 w 10645"/>
                  <a:gd name="connsiteY3" fmla="*/ 0 h 43599"/>
                </a:gdLst>
                <a:ahLst/>
                <a:cxnLst>
                  <a:cxn ang="0">
                    <a:pos x="connsiteX0" y="connsiteY0"/>
                  </a:cxn>
                  <a:cxn ang="0">
                    <a:pos x="connsiteX1" y="connsiteY1"/>
                  </a:cxn>
                  <a:cxn ang="0">
                    <a:pos x="connsiteX2" y="connsiteY2"/>
                  </a:cxn>
                  <a:cxn ang="0">
                    <a:pos x="connsiteX3" y="connsiteY3"/>
                  </a:cxn>
                </a:cxnLst>
                <a:rect l="l" t="t" r="r" b="b"/>
                <a:pathLst>
                  <a:path w="10645" h="43599">
                    <a:moveTo>
                      <a:pt x="10645" y="598"/>
                    </a:moveTo>
                    <a:lnTo>
                      <a:pt x="2990" y="43599"/>
                    </a:lnTo>
                    <a:lnTo>
                      <a:pt x="0" y="43061"/>
                    </a:lnTo>
                    <a:lnTo>
                      <a:pt x="7655" y="0"/>
                    </a:lnTo>
                    <a:close/>
                  </a:path>
                </a:pathLst>
              </a:custGeom>
              <a:grpFill/>
              <a:ln w="5978" cap="flat">
                <a:noFill/>
                <a:prstDash val="solid"/>
                <a:miter/>
              </a:ln>
            </p:spPr>
            <p:txBody>
              <a:bodyPr rtlCol="0" anchor="ctr"/>
              <a:lstStyle/>
              <a:p>
                <a:endParaRPr lang="en-GB"/>
              </a:p>
            </p:txBody>
          </p:sp>
          <p:sp>
            <p:nvSpPr>
              <p:cNvPr id="3964" name="Vrije vorm: vorm 3963">
                <a:extLst>
                  <a:ext uri="{FF2B5EF4-FFF2-40B4-BE49-F238E27FC236}">
                    <a16:creationId xmlns:a16="http://schemas.microsoft.com/office/drawing/2014/main" id="{32DEA7B4-67A8-465A-8CFC-6B55DBB9D05B}"/>
                  </a:ext>
                </a:extLst>
              </p:cNvPr>
              <p:cNvSpPr/>
              <p:nvPr/>
            </p:nvSpPr>
            <p:spPr>
              <a:xfrm>
                <a:off x="6364634" y="1612355"/>
                <a:ext cx="18337" cy="18416"/>
              </a:xfrm>
              <a:custGeom>
                <a:avLst/>
                <a:gdLst>
                  <a:gd name="connsiteX0" fmla="*/ 130 w 18337"/>
                  <a:gd name="connsiteY0" fmla="*/ 7563 h 18416"/>
                  <a:gd name="connsiteX1" fmla="*/ 10776 w 18337"/>
                  <a:gd name="connsiteY1" fmla="*/ 147 h 18416"/>
                  <a:gd name="connsiteX2" fmla="*/ 18192 w 18337"/>
                  <a:gd name="connsiteY2" fmla="*/ 10853 h 18416"/>
                  <a:gd name="connsiteX3" fmla="*/ 7546 w 18337"/>
                  <a:gd name="connsiteY3" fmla="*/ 18269 h 18416"/>
                  <a:gd name="connsiteX4" fmla="*/ 130 w 18337"/>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6">
                    <a:moveTo>
                      <a:pt x="130" y="7563"/>
                    </a:moveTo>
                    <a:cubicBezTo>
                      <a:pt x="1027" y="2540"/>
                      <a:pt x="5752" y="-750"/>
                      <a:pt x="10776" y="147"/>
                    </a:cubicBezTo>
                    <a:cubicBezTo>
                      <a:pt x="15740" y="1044"/>
                      <a:pt x="19089" y="5889"/>
                      <a:pt x="18192" y="10853"/>
                    </a:cubicBezTo>
                    <a:cubicBezTo>
                      <a:pt x="17295" y="15877"/>
                      <a:pt x="12570" y="19166"/>
                      <a:pt x="7546" y="18269"/>
                    </a:cubicBezTo>
                    <a:cubicBezTo>
                      <a:pt x="2582" y="17372"/>
                      <a:pt x="-707" y="12527"/>
                      <a:pt x="130" y="7563"/>
                    </a:cubicBezTo>
                    <a:close/>
                  </a:path>
                </a:pathLst>
              </a:custGeom>
              <a:grpFill/>
              <a:ln w="5978" cap="flat">
                <a:noFill/>
                <a:prstDash val="solid"/>
                <a:miter/>
              </a:ln>
            </p:spPr>
            <p:txBody>
              <a:bodyPr rtlCol="0" anchor="ctr"/>
              <a:lstStyle/>
              <a:p>
                <a:endParaRPr lang="en-GB"/>
              </a:p>
            </p:txBody>
          </p:sp>
          <p:sp>
            <p:nvSpPr>
              <p:cNvPr id="3965" name="Vrije vorm: vorm 3964">
                <a:extLst>
                  <a:ext uri="{FF2B5EF4-FFF2-40B4-BE49-F238E27FC236}">
                    <a16:creationId xmlns:a16="http://schemas.microsoft.com/office/drawing/2014/main" id="{C5CFA67F-66C6-41D6-A290-14E9CAD82122}"/>
                  </a:ext>
                </a:extLst>
              </p:cNvPr>
              <p:cNvSpPr/>
              <p:nvPr/>
            </p:nvSpPr>
            <p:spPr>
              <a:xfrm>
                <a:off x="6357142" y="1654461"/>
                <a:ext cx="18352" cy="18414"/>
              </a:xfrm>
              <a:custGeom>
                <a:avLst/>
                <a:gdLst>
                  <a:gd name="connsiteX0" fmla="*/ 145 w 18352"/>
                  <a:gd name="connsiteY0" fmla="*/ 7562 h 18414"/>
                  <a:gd name="connsiteX1" fmla="*/ 7561 w 18352"/>
                  <a:gd name="connsiteY1" fmla="*/ 18267 h 18414"/>
                  <a:gd name="connsiteX2" fmla="*/ 18207 w 18352"/>
                  <a:gd name="connsiteY2" fmla="*/ 10851 h 18414"/>
                  <a:gd name="connsiteX3" fmla="*/ 10791 w 18352"/>
                  <a:gd name="connsiteY3" fmla="*/ 145 h 18414"/>
                  <a:gd name="connsiteX4" fmla="*/ 145 w 18352"/>
                  <a:gd name="connsiteY4" fmla="*/ 756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145" y="7562"/>
                    </a:moveTo>
                    <a:cubicBezTo>
                      <a:pt x="-752" y="12585"/>
                      <a:pt x="2597" y="17370"/>
                      <a:pt x="7561" y="18267"/>
                    </a:cubicBezTo>
                    <a:cubicBezTo>
                      <a:pt x="12526" y="19164"/>
                      <a:pt x="17310" y="15875"/>
                      <a:pt x="18207" y="10851"/>
                    </a:cubicBezTo>
                    <a:cubicBezTo>
                      <a:pt x="19104" y="5827"/>
                      <a:pt x="15755" y="1043"/>
                      <a:pt x="10791" y="145"/>
                    </a:cubicBezTo>
                    <a:cubicBezTo>
                      <a:pt x="5827" y="-752"/>
                      <a:pt x="1042" y="2598"/>
                      <a:pt x="145" y="7562"/>
                    </a:cubicBezTo>
                    <a:close/>
                  </a:path>
                </a:pathLst>
              </a:custGeom>
              <a:grpFill/>
              <a:ln w="5978" cap="flat">
                <a:noFill/>
                <a:prstDash val="solid"/>
                <a:miter/>
              </a:ln>
            </p:spPr>
            <p:txBody>
              <a:bodyPr rtlCol="0" anchor="ctr"/>
              <a:lstStyle/>
              <a:p>
                <a:endParaRPr lang="en-GB"/>
              </a:p>
            </p:txBody>
          </p:sp>
        </p:grpSp>
        <p:grpSp>
          <p:nvGrpSpPr>
            <p:cNvPr id="475" name="Graphic 3">
              <a:extLst>
                <a:ext uri="{FF2B5EF4-FFF2-40B4-BE49-F238E27FC236}">
                  <a16:creationId xmlns:a16="http://schemas.microsoft.com/office/drawing/2014/main" id="{5563A5EA-BE75-4164-B534-39018A7C617C}"/>
                </a:ext>
              </a:extLst>
            </p:cNvPr>
            <p:cNvGrpSpPr/>
            <p:nvPr/>
          </p:nvGrpSpPr>
          <p:grpSpPr>
            <a:xfrm>
              <a:off x="6283480" y="1393291"/>
              <a:ext cx="23574" cy="61684"/>
              <a:chOff x="6283480" y="1393291"/>
              <a:chExt cx="23574" cy="61684"/>
            </a:xfrm>
            <a:grpFill/>
          </p:grpSpPr>
          <p:sp>
            <p:nvSpPr>
              <p:cNvPr id="3960" name="Vrije vorm: vorm 3959">
                <a:extLst>
                  <a:ext uri="{FF2B5EF4-FFF2-40B4-BE49-F238E27FC236}">
                    <a16:creationId xmlns:a16="http://schemas.microsoft.com/office/drawing/2014/main" id="{9530D176-EC52-4A07-88D1-3D8BD7BC7EF5}"/>
                  </a:ext>
                </a:extLst>
              </p:cNvPr>
              <p:cNvSpPr/>
              <p:nvPr/>
            </p:nvSpPr>
            <p:spPr>
              <a:xfrm>
                <a:off x="6291141" y="1401861"/>
                <a:ext cx="8372" cy="44496"/>
              </a:xfrm>
              <a:custGeom>
                <a:avLst/>
                <a:gdLst>
                  <a:gd name="connsiteX0" fmla="*/ 8373 w 8372"/>
                  <a:gd name="connsiteY0" fmla="*/ 359 h 44496"/>
                  <a:gd name="connsiteX1" fmla="*/ 3050 w 8372"/>
                  <a:gd name="connsiteY1" fmla="*/ 44497 h 44496"/>
                  <a:gd name="connsiteX2" fmla="*/ 0 w 8372"/>
                  <a:gd name="connsiteY2" fmla="*/ 44138 h 44496"/>
                  <a:gd name="connsiteX3" fmla="*/ 5323 w 8372"/>
                  <a:gd name="connsiteY3" fmla="*/ 0 h 44496"/>
                </a:gdLst>
                <a:ahLst/>
                <a:cxnLst>
                  <a:cxn ang="0">
                    <a:pos x="connsiteX0" y="connsiteY0"/>
                  </a:cxn>
                  <a:cxn ang="0">
                    <a:pos x="connsiteX1" y="connsiteY1"/>
                  </a:cxn>
                  <a:cxn ang="0">
                    <a:pos x="connsiteX2" y="connsiteY2"/>
                  </a:cxn>
                  <a:cxn ang="0">
                    <a:pos x="connsiteX3" y="connsiteY3"/>
                  </a:cxn>
                </a:cxnLst>
                <a:rect l="l" t="t" r="r" b="b"/>
                <a:pathLst>
                  <a:path w="8372" h="44496">
                    <a:moveTo>
                      <a:pt x="8373" y="359"/>
                    </a:moveTo>
                    <a:lnTo>
                      <a:pt x="3050" y="44497"/>
                    </a:lnTo>
                    <a:lnTo>
                      <a:pt x="0" y="44138"/>
                    </a:lnTo>
                    <a:lnTo>
                      <a:pt x="5323" y="0"/>
                    </a:lnTo>
                    <a:close/>
                  </a:path>
                </a:pathLst>
              </a:custGeom>
              <a:grpFill/>
              <a:ln w="5978" cap="flat">
                <a:noFill/>
                <a:prstDash val="solid"/>
                <a:miter/>
              </a:ln>
            </p:spPr>
            <p:txBody>
              <a:bodyPr rtlCol="0" anchor="ctr"/>
              <a:lstStyle/>
              <a:p>
                <a:endParaRPr lang="en-GB"/>
              </a:p>
            </p:txBody>
          </p:sp>
          <p:sp>
            <p:nvSpPr>
              <p:cNvPr id="3961" name="Vrije vorm: vorm 3960">
                <a:extLst>
                  <a:ext uri="{FF2B5EF4-FFF2-40B4-BE49-F238E27FC236}">
                    <a16:creationId xmlns:a16="http://schemas.microsoft.com/office/drawing/2014/main" id="{1C6FF741-80C7-468F-81C2-D0CAD8D3F121}"/>
                  </a:ext>
                </a:extLst>
              </p:cNvPr>
              <p:cNvSpPr/>
              <p:nvPr/>
            </p:nvSpPr>
            <p:spPr>
              <a:xfrm>
                <a:off x="6283480" y="1436544"/>
                <a:ext cx="18384" cy="18431"/>
              </a:xfrm>
              <a:custGeom>
                <a:avLst/>
                <a:gdLst>
                  <a:gd name="connsiteX0" fmla="*/ 18306 w 18384"/>
                  <a:gd name="connsiteY0" fmla="*/ 10352 h 18431"/>
                  <a:gd name="connsiteX1" fmla="*/ 8079 w 18384"/>
                  <a:gd name="connsiteY1" fmla="*/ 18366 h 18431"/>
                  <a:gd name="connsiteX2" fmla="*/ 65 w 18384"/>
                  <a:gd name="connsiteY2" fmla="*/ 8079 h 18431"/>
                  <a:gd name="connsiteX3" fmla="*/ 10292 w 18384"/>
                  <a:gd name="connsiteY3" fmla="*/ 65 h 18431"/>
                  <a:gd name="connsiteX4" fmla="*/ 18306 w 18384"/>
                  <a:gd name="connsiteY4" fmla="*/ 1035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31">
                    <a:moveTo>
                      <a:pt x="18306" y="10352"/>
                    </a:moveTo>
                    <a:cubicBezTo>
                      <a:pt x="17708" y="15376"/>
                      <a:pt x="13103" y="18964"/>
                      <a:pt x="8079" y="18366"/>
                    </a:cubicBezTo>
                    <a:cubicBezTo>
                      <a:pt x="3055" y="17708"/>
                      <a:pt x="-533" y="13103"/>
                      <a:pt x="65" y="8079"/>
                    </a:cubicBezTo>
                    <a:cubicBezTo>
                      <a:pt x="663" y="3055"/>
                      <a:pt x="5268" y="-533"/>
                      <a:pt x="10292" y="65"/>
                    </a:cubicBezTo>
                    <a:cubicBezTo>
                      <a:pt x="15376" y="663"/>
                      <a:pt x="18964" y="5268"/>
                      <a:pt x="18306" y="10352"/>
                    </a:cubicBezTo>
                    <a:close/>
                  </a:path>
                </a:pathLst>
              </a:custGeom>
              <a:grpFill/>
              <a:ln w="5978" cap="flat">
                <a:noFill/>
                <a:prstDash val="solid"/>
                <a:miter/>
              </a:ln>
            </p:spPr>
            <p:txBody>
              <a:bodyPr rtlCol="0" anchor="ctr"/>
              <a:lstStyle/>
              <a:p>
                <a:endParaRPr lang="en-GB"/>
              </a:p>
            </p:txBody>
          </p:sp>
          <p:sp>
            <p:nvSpPr>
              <p:cNvPr id="3962" name="Vrije vorm: vorm 3961">
                <a:extLst>
                  <a:ext uri="{FF2B5EF4-FFF2-40B4-BE49-F238E27FC236}">
                    <a16:creationId xmlns:a16="http://schemas.microsoft.com/office/drawing/2014/main" id="{E38F1789-238F-4EC4-B671-33C9D682325C}"/>
                  </a:ext>
                </a:extLst>
              </p:cNvPr>
              <p:cNvSpPr/>
              <p:nvPr/>
            </p:nvSpPr>
            <p:spPr>
              <a:xfrm>
                <a:off x="6288683" y="1393291"/>
                <a:ext cx="18371" cy="18443"/>
              </a:xfrm>
              <a:custGeom>
                <a:avLst/>
                <a:gdLst>
                  <a:gd name="connsiteX0" fmla="*/ 18306 w 18371"/>
                  <a:gd name="connsiteY0" fmla="*/ 10365 h 18443"/>
                  <a:gd name="connsiteX1" fmla="*/ 10292 w 18371"/>
                  <a:gd name="connsiteY1" fmla="*/ 78 h 18443"/>
                  <a:gd name="connsiteX2" fmla="*/ 65 w 18371"/>
                  <a:gd name="connsiteY2" fmla="*/ 8092 h 18443"/>
                  <a:gd name="connsiteX3" fmla="*/ 8079 w 18371"/>
                  <a:gd name="connsiteY3" fmla="*/ 18379 h 18443"/>
                  <a:gd name="connsiteX4" fmla="*/ 18306 w 18371"/>
                  <a:gd name="connsiteY4" fmla="*/ 1036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3">
                    <a:moveTo>
                      <a:pt x="18306" y="10365"/>
                    </a:moveTo>
                    <a:cubicBezTo>
                      <a:pt x="18905" y="5341"/>
                      <a:pt x="15316" y="736"/>
                      <a:pt x="10292" y="78"/>
                    </a:cubicBezTo>
                    <a:cubicBezTo>
                      <a:pt x="5268" y="-580"/>
                      <a:pt x="723" y="3008"/>
                      <a:pt x="65" y="8092"/>
                    </a:cubicBezTo>
                    <a:cubicBezTo>
                      <a:pt x="-533" y="13116"/>
                      <a:pt x="3055" y="17721"/>
                      <a:pt x="8079" y="18379"/>
                    </a:cubicBezTo>
                    <a:cubicBezTo>
                      <a:pt x="13163" y="18977"/>
                      <a:pt x="17708" y="15388"/>
                      <a:pt x="18306" y="10365"/>
                    </a:cubicBezTo>
                    <a:close/>
                  </a:path>
                </a:pathLst>
              </a:custGeom>
              <a:grpFill/>
              <a:ln w="5978" cap="flat">
                <a:noFill/>
                <a:prstDash val="solid"/>
                <a:miter/>
              </a:ln>
            </p:spPr>
            <p:txBody>
              <a:bodyPr rtlCol="0" anchor="ctr"/>
              <a:lstStyle/>
              <a:p>
                <a:endParaRPr lang="en-GB"/>
              </a:p>
            </p:txBody>
          </p:sp>
        </p:grpSp>
        <p:grpSp>
          <p:nvGrpSpPr>
            <p:cNvPr id="476" name="Graphic 3">
              <a:extLst>
                <a:ext uri="{FF2B5EF4-FFF2-40B4-BE49-F238E27FC236}">
                  <a16:creationId xmlns:a16="http://schemas.microsoft.com/office/drawing/2014/main" id="{6FA6E4B1-0FE9-4438-8963-287A1DB679B0}"/>
                </a:ext>
              </a:extLst>
            </p:cNvPr>
            <p:cNvGrpSpPr/>
            <p:nvPr/>
          </p:nvGrpSpPr>
          <p:grpSpPr>
            <a:xfrm>
              <a:off x="7238724" y="4616562"/>
              <a:ext cx="381036" cy="443643"/>
              <a:chOff x="7238724" y="4616562"/>
              <a:chExt cx="381036" cy="443643"/>
            </a:xfrm>
            <a:grpFill/>
          </p:grpSpPr>
          <p:sp>
            <p:nvSpPr>
              <p:cNvPr id="3957" name="Vrije vorm: vorm 3956">
                <a:extLst>
                  <a:ext uri="{FF2B5EF4-FFF2-40B4-BE49-F238E27FC236}">
                    <a16:creationId xmlns:a16="http://schemas.microsoft.com/office/drawing/2014/main" id="{476FD9D4-47F5-401B-9624-561B782947CA}"/>
                  </a:ext>
                </a:extLst>
              </p:cNvPr>
              <p:cNvSpPr/>
              <p:nvPr/>
            </p:nvSpPr>
            <p:spPr>
              <a:xfrm>
                <a:off x="7246442" y="4624394"/>
                <a:ext cx="365601" cy="427920"/>
              </a:xfrm>
              <a:custGeom>
                <a:avLst/>
                <a:gdLst>
                  <a:gd name="connsiteX0" fmla="*/ 365602 w 365601"/>
                  <a:gd name="connsiteY0" fmla="*/ 425947 h 427920"/>
                  <a:gd name="connsiteX1" fmla="*/ 363329 w 365601"/>
                  <a:gd name="connsiteY1" fmla="*/ 427921 h 427920"/>
                  <a:gd name="connsiteX2" fmla="*/ 0 w 365601"/>
                  <a:gd name="connsiteY2" fmla="*/ 1974 h 427920"/>
                  <a:gd name="connsiteX3" fmla="*/ 2273 w 365601"/>
                  <a:gd name="connsiteY3" fmla="*/ 0 h 427920"/>
                </a:gdLst>
                <a:ahLst/>
                <a:cxnLst>
                  <a:cxn ang="0">
                    <a:pos x="connsiteX0" y="connsiteY0"/>
                  </a:cxn>
                  <a:cxn ang="0">
                    <a:pos x="connsiteX1" y="connsiteY1"/>
                  </a:cxn>
                  <a:cxn ang="0">
                    <a:pos x="connsiteX2" y="connsiteY2"/>
                  </a:cxn>
                  <a:cxn ang="0">
                    <a:pos x="connsiteX3" y="connsiteY3"/>
                  </a:cxn>
                </a:cxnLst>
                <a:rect l="l" t="t" r="r" b="b"/>
                <a:pathLst>
                  <a:path w="365601" h="427920">
                    <a:moveTo>
                      <a:pt x="365602" y="425947"/>
                    </a:moveTo>
                    <a:lnTo>
                      <a:pt x="363329" y="427921"/>
                    </a:lnTo>
                    <a:lnTo>
                      <a:pt x="0" y="1974"/>
                    </a:lnTo>
                    <a:lnTo>
                      <a:pt x="2273" y="0"/>
                    </a:lnTo>
                    <a:close/>
                  </a:path>
                </a:pathLst>
              </a:custGeom>
              <a:grpFill/>
              <a:ln w="5978" cap="flat">
                <a:noFill/>
                <a:prstDash val="solid"/>
                <a:miter/>
              </a:ln>
            </p:spPr>
            <p:txBody>
              <a:bodyPr rtlCol="0" anchor="ctr"/>
              <a:lstStyle/>
              <a:p>
                <a:endParaRPr lang="en-GB"/>
              </a:p>
            </p:txBody>
          </p:sp>
          <p:sp>
            <p:nvSpPr>
              <p:cNvPr id="3958" name="Vrije vorm: vorm 3957">
                <a:extLst>
                  <a:ext uri="{FF2B5EF4-FFF2-40B4-BE49-F238E27FC236}">
                    <a16:creationId xmlns:a16="http://schemas.microsoft.com/office/drawing/2014/main" id="{5FCE9F02-10EC-499B-B96D-9A39625525B5}"/>
                  </a:ext>
                </a:extLst>
              </p:cNvPr>
              <p:cNvSpPr/>
              <p:nvPr/>
            </p:nvSpPr>
            <p:spPr>
              <a:xfrm>
                <a:off x="7238724" y="4616562"/>
                <a:ext cx="18306" cy="18394"/>
              </a:xfrm>
              <a:custGeom>
                <a:avLst/>
                <a:gdLst>
                  <a:gd name="connsiteX0" fmla="*/ 2215 w 18306"/>
                  <a:gd name="connsiteY0" fmla="*/ 15188 h 18394"/>
                  <a:gd name="connsiteX1" fmla="*/ 3173 w 18306"/>
                  <a:gd name="connsiteY1" fmla="*/ 2210 h 18394"/>
                  <a:gd name="connsiteX2" fmla="*/ 16090 w 18306"/>
                  <a:gd name="connsiteY2" fmla="*/ 3226 h 18394"/>
                  <a:gd name="connsiteX3" fmla="*/ 15134 w 18306"/>
                  <a:gd name="connsiteY3" fmla="*/ 16204 h 18394"/>
                  <a:gd name="connsiteX4" fmla="*/ 2215 w 18306"/>
                  <a:gd name="connsiteY4" fmla="*/ 151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4">
                    <a:moveTo>
                      <a:pt x="2215" y="15188"/>
                    </a:moveTo>
                    <a:cubicBezTo>
                      <a:pt x="-1074" y="11301"/>
                      <a:pt x="-655" y="5499"/>
                      <a:pt x="3173" y="2210"/>
                    </a:cubicBezTo>
                    <a:cubicBezTo>
                      <a:pt x="7000" y="-1080"/>
                      <a:pt x="12801" y="-661"/>
                      <a:pt x="16090" y="3226"/>
                    </a:cubicBezTo>
                    <a:cubicBezTo>
                      <a:pt x="19380" y="7114"/>
                      <a:pt x="18962" y="12915"/>
                      <a:pt x="15134" y="16204"/>
                    </a:cubicBezTo>
                    <a:cubicBezTo>
                      <a:pt x="11306" y="19494"/>
                      <a:pt x="5505" y="19016"/>
                      <a:pt x="2215" y="15188"/>
                    </a:cubicBezTo>
                    <a:close/>
                  </a:path>
                </a:pathLst>
              </a:custGeom>
              <a:grpFill/>
              <a:ln w="5978" cap="flat">
                <a:noFill/>
                <a:prstDash val="solid"/>
                <a:miter/>
              </a:ln>
            </p:spPr>
            <p:txBody>
              <a:bodyPr rtlCol="0" anchor="ctr"/>
              <a:lstStyle/>
              <a:p>
                <a:endParaRPr lang="en-GB"/>
              </a:p>
            </p:txBody>
          </p:sp>
          <p:sp>
            <p:nvSpPr>
              <p:cNvPr id="3959" name="Vrije vorm: vorm 3958">
                <a:extLst>
                  <a:ext uri="{FF2B5EF4-FFF2-40B4-BE49-F238E27FC236}">
                    <a16:creationId xmlns:a16="http://schemas.microsoft.com/office/drawing/2014/main" id="{B4421F10-2C60-4B12-A76C-BE9E59463B24}"/>
                  </a:ext>
                </a:extLst>
              </p:cNvPr>
              <p:cNvSpPr/>
              <p:nvPr/>
            </p:nvSpPr>
            <p:spPr>
              <a:xfrm>
                <a:off x="7601455" y="5041791"/>
                <a:ext cx="18305" cy="18414"/>
              </a:xfrm>
              <a:custGeom>
                <a:avLst/>
                <a:gdLst>
                  <a:gd name="connsiteX0" fmla="*/ 2215 w 18305"/>
                  <a:gd name="connsiteY0" fmla="*/ 15188 h 18414"/>
                  <a:gd name="connsiteX1" fmla="*/ 15133 w 18305"/>
                  <a:gd name="connsiteY1" fmla="*/ 16205 h 18414"/>
                  <a:gd name="connsiteX2" fmla="*/ 16090 w 18305"/>
                  <a:gd name="connsiteY2" fmla="*/ 3227 h 18414"/>
                  <a:gd name="connsiteX3" fmla="*/ 3172 w 18305"/>
                  <a:gd name="connsiteY3" fmla="*/ 2210 h 18414"/>
                  <a:gd name="connsiteX4" fmla="*/ 2215 w 18305"/>
                  <a:gd name="connsiteY4" fmla="*/ 1518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14">
                    <a:moveTo>
                      <a:pt x="2215" y="15188"/>
                    </a:moveTo>
                    <a:cubicBezTo>
                      <a:pt x="5504" y="19075"/>
                      <a:pt x="11306" y="19494"/>
                      <a:pt x="15133" y="16205"/>
                    </a:cubicBezTo>
                    <a:cubicBezTo>
                      <a:pt x="18961" y="12915"/>
                      <a:pt x="19380" y="7114"/>
                      <a:pt x="16090" y="3227"/>
                    </a:cubicBezTo>
                    <a:cubicBezTo>
                      <a:pt x="12801" y="-661"/>
                      <a:pt x="7000" y="-1080"/>
                      <a:pt x="3172" y="2210"/>
                    </a:cubicBezTo>
                    <a:cubicBezTo>
                      <a:pt x="-655" y="5499"/>
                      <a:pt x="-1074" y="11301"/>
                      <a:pt x="2215" y="15188"/>
                    </a:cubicBezTo>
                    <a:close/>
                  </a:path>
                </a:pathLst>
              </a:custGeom>
              <a:grpFill/>
              <a:ln w="5978" cap="flat">
                <a:noFill/>
                <a:prstDash val="solid"/>
                <a:miter/>
              </a:ln>
            </p:spPr>
            <p:txBody>
              <a:bodyPr rtlCol="0" anchor="ctr"/>
              <a:lstStyle/>
              <a:p>
                <a:endParaRPr lang="en-GB"/>
              </a:p>
            </p:txBody>
          </p:sp>
        </p:grpSp>
        <p:grpSp>
          <p:nvGrpSpPr>
            <p:cNvPr id="477" name="Graphic 3">
              <a:extLst>
                <a:ext uri="{FF2B5EF4-FFF2-40B4-BE49-F238E27FC236}">
                  <a16:creationId xmlns:a16="http://schemas.microsoft.com/office/drawing/2014/main" id="{BFC47BEF-4374-4E4E-9AF3-2319A18F0654}"/>
                </a:ext>
              </a:extLst>
            </p:cNvPr>
            <p:cNvGrpSpPr/>
            <p:nvPr/>
          </p:nvGrpSpPr>
          <p:grpSpPr>
            <a:xfrm>
              <a:off x="6304505" y="1483271"/>
              <a:ext cx="28102" cy="88297"/>
              <a:chOff x="6304505" y="1483271"/>
              <a:chExt cx="28102" cy="88297"/>
            </a:xfrm>
            <a:grpFill/>
          </p:grpSpPr>
          <p:sp>
            <p:nvSpPr>
              <p:cNvPr id="3954" name="Vrije vorm: vorm 3953">
                <a:extLst>
                  <a:ext uri="{FF2B5EF4-FFF2-40B4-BE49-F238E27FC236}">
                    <a16:creationId xmlns:a16="http://schemas.microsoft.com/office/drawing/2014/main" id="{0BDC7835-01FA-4AB9-AEB5-4E9C2C88A44F}"/>
                  </a:ext>
                </a:extLst>
              </p:cNvPr>
              <p:cNvSpPr/>
              <p:nvPr/>
            </p:nvSpPr>
            <p:spPr>
              <a:xfrm>
                <a:off x="6312074" y="1491812"/>
                <a:ext cx="12918" cy="71230"/>
              </a:xfrm>
              <a:custGeom>
                <a:avLst/>
                <a:gdLst>
                  <a:gd name="connsiteX0" fmla="*/ 12918 w 12918"/>
                  <a:gd name="connsiteY0" fmla="*/ 419 h 71230"/>
                  <a:gd name="connsiteX1" fmla="*/ 3050 w 12918"/>
                  <a:gd name="connsiteY1" fmla="*/ 71230 h 71230"/>
                  <a:gd name="connsiteX2" fmla="*/ 0 w 12918"/>
                  <a:gd name="connsiteY2" fmla="*/ 70812 h 71230"/>
                  <a:gd name="connsiteX3" fmla="*/ 9868 w 12918"/>
                  <a:gd name="connsiteY3" fmla="*/ 0 h 71230"/>
                </a:gdLst>
                <a:ahLst/>
                <a:cxnLst>
                  <a:cxn ang="0">
                    <a:pos x="connsiteX0" y="connsiteY0"/>
                  </a:cxn>
                  <a:cxn ang="0">
                    <a:pos x="connsiteX1" y="connsiteY1"/>
                  </a:cxn>
                  <a:cxn ang="0">
                    <a:pos x="connsiteX2" y="connsiteY2"/>
                  </a:cxn>
                  <a:cxn ang="0">
                    <a:pos x="connsiteX3" y="connsiteY3"/>
                  </a:cxn>
                </a:cxnLst>
                <a:rect l="l" t="t" r="r" b="b"/>
                <a:pathLst>
                  <a:path w="12918" h="71230">
                    <a:moveTo>
                      <a:pt x="12918" y="419"/>
                    </a:moveTo>
                    <a:lnTo>
                      <a:pt x="3050" y="71230"/>
                    </a:lnTo>
                    <a:lnTo>
                      <a:pt x="0" y="70812"/>
                    </a:lnTo>
                    <a:lnTo>
                      <a:pt x="9868" y="0"/>
                    </a:lnTo>
                    <a:close/>
                  </a:path>
                </a:pathLst>
              </a:custGeom>
              <a:grpFill/>
              <a:ln w="5978" cap="flat">
                <a:noFill/>
                <a:prstDash val="solid"/>
                <a:miter/>
              </a:ln>
            </p:spPr>
            <p:txBody>
              <a:bodyPr rtlCol="0" anchor="ctr"/>
              <a:lstStyle/>
              <a:p>
                <a:endParaRPr lang="en-GB"/>
              </a:p>
            </p:txBody>
          </p:sp>
          <p:sp>
            <p:nvSpPr>
              <p:cNvPr id="3955" name="Vrije vorm: vorm 3954">
                <a:extLst>
                  <a:ext uri="{FF2B5EF4-FFF2-40B4-BE49-F238E27FC236}">
                    <a16:creationId xmlns:a16="http://schemas.microsoft.com/office/drawing/2014/main" id="{BFD91E7C-A5BC-45E2-80A0-B6FE5F85357C}"/>
                  </a:ext>
                </a:extLst>
              </p:cNvPr>
              <p:cNvSpPr/>
              <p:nvPr/>
            </p:nvSpPr>
            <p:spPr>
              <a:xfrm>
                <a:off x="6314254" y="1483271"/>
                <a:ext cx="18353" cy="18396"/>
              </a:xfrm>
              <a:custGeom>
                <a:avLst/>
                <a:gdLst>
                  <a:gd name="connsiteX0" fmla="*/ 93 w 18353"/>
                  <a:gd name="connsiteY0" fmla="*/ 7882 h 18396"/>
                  <a:gd name="connsiteX1" fmla="*/ 10439 w 18353"/>
                  <a:gd name="connsiteY1" fmla="*/ 107 h 18396"/>
                  <a:gd name="connsiteX2" fmla="*/ 18274 w 18353"/>
                  <a:gd name="connsiteY2" fmla="*/ 10514 h 18396"/>
                  <a:gd name="connsiteX3" fmla="*/ 7927 w 18353"/>
                  <a:gd name="connsiteY3" fmla="*/ 18289 h 18396"/>
                  <a:gd name="connsiteX4" fmla="*/ 93 w 18353"/>
                  <a:gd name="connsiteY4" fmla="*/ 788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396">
                    <a:moveTo>
                      <a:pt x="93" y="7882"/>
                    </a:moveTo>
                    <a:cubicBezTo>
                      <a:pt x="810" y="2859"/>
                      <a:pt x="5415" y="-670"/>
                      <a:pt x="10439" y="107"/>
                    </a:cubicBezTo>
                    <a:cubicBezTo>
                      <a:pt x="15463" y="825"/>
                      <a:pt x="18932" y="5490"/>
                      <a:pt x="18274" y="10514"/>
                    </a:cubicBezTo>
                    <a:cubicBezTo>
                      <a:pt x="17556" y="15538"/>
                      <a:pt x="12951" y="19066"/>
                      <a:pt x="7927" y="18289"/>
                    </a:cubicBezTo>
                    <a:cubicBezTo>
                      <a:pt x="2903" y="17631"/>
                      <a:pt x="-625" y="12966"/>
                      <a:pt x="93" y="7882"/>
                    </a:cubicBezTo>
                    <a:close/>
                  </a:path>
                </a:pathLst>
              </a:custGeom>
              <a:grpFill/>
              <a:ln w="5978" cap="flat">
                <a:noFill/>
                <a:prstDash val="solid"/>
                <a:miter/>
              </a:ln>
            </p:spPr>
            <p:txBody>
              <a:bodyPr rtlCol="0" anchor="ctr"/>
              <a:lstStyle/>
              <a:p>
                <a:endParaRPr lang="en-GB"/>
              </a:p>
            </p:txBody>
          </p:sp>
          <p:sp>
            <p:nvSpPr>
              <p:cNvPr id="3956" name="Vrije vorm: vorm 3955">
                <a:extLst>
                  <a:ext uri="{FF2B5EF4-FFF2-40B4-BE49-F238E27FC236}">
                    <a16:creationId xmlns:a16="http://schemas.microsoft.com/office/drawing/2014/main" id="{425E620A-4AA4-43E5-9E93-AF381E4A07F9}"/>
                  </a:ext>
                </a:extLst>
              </p:cNvPr>
              <p:cNvSpPr/>
              <p:nvPr/>
            </p:nvSpPr>
            <p:spPr>
              <a:xfrm>
                <a:off x="6304505" y="1553186"/>
                <a:ext cx="18366" cy="18382"/>
              </a:xfrm>
              <a:custGeom>
                <a:avLst/>
                <a:gdLst>
                  <a:gd name="connsiteX0" fmla="*/ 93 w 18366"/>
                  <a:gd name="connsiteY0" fmla="*/ 7882 h 18382"/>
                  <a:gd name="connsiteX1" fmla="*/ 7927 w 18366"/>
                  <a:gd name="connsiteY1" fmla="*/ 18289 h 18382"/>
                  <a:gd name="connsiteX2" fmla="*/ 18274 w 18366"/>
                  <a:gd name="connsiteY2" fmla="*/ 10514 h 18382"/>
                  <a:gd name="connsiteX3" fmla="*/ 10439 w 18366"/>
                  <a:gd name="connsiteY3" fmla="*/ 107 h 18382"/>
                  <a:gd name="connsiteX4" fmla="*/ 93 w 18366"/>
                  <a:gd name="connsiteY4" fmla="*/ 7882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382">
                    <a:moveTo>
                      <a:pt x="93" y="7882"/>
                    </a:moveTo>
                    <a:cubicBezTo>
                      <a:pt x="-625" y="12906"/>
                      <a:pt x="2903" y="17571"/>
                      <a:pt x="7927" y="18289"/>
                    </a:cubicBezTo>
                    <a:cubicBezTo>
                      <a:pt x="12951" y="19006"/>
                      <a:pt x="17556" y="15538"/>
                      <a:pt x="18274" y="10514"/>
                    </a:cubicBezTo>
                    <a:cubicBezTo>
                      <a:pt x="18992" y="5490"/>
                      <a:pt x="15463" y="825"/>
                      <a:pt x="10439" y="107"/>
                    </a:cubicBezTo>
                    <a:cubicBezTo>
                      <a:pt x="5416" y="-670"/>
                      <a:pt x="810" y="2859"/>
                      <a:pt x="93" y="7882"/>
                    </a:cubicBezTo>
                    <a:close/>
                  </a:path>
                </a:pathLst>
              </a:custGeom>
              <a:grpFill/>
              <a:ln w="5978" cap="flat">
                <a:noFill/>
                <a:prstDash val="solid"/>
                <a:miter/>
              </a:ln>
            </p:spPr>
            <p:txBody>
              <a:bodyPr rtlCol="0" anchor="ctr"/>
              <a:lstStyle/>
              <a:p>
                <a:endParaRPr lang="en-GB"/>
              </a:p>
            </p:txBody>
          </p:sp>
        </p:grpSp>
        <p:grpSp>
          <p:nvGrpSpPr>
            <p:cNvPr id="478" name="Graphic 3">
              <a:extLst>
                <a:ext uri="{FF2B5EF4-FFF2-40B4-BE49-F238E27FC236}">
                  <a16:creationId xmlns:a16="http://schemas.microsoft.com/office/drawing/2014/main" id="{6439A9EA-1018-4E25-A6D2-959799FD97C4}"/>
                </a:ext>
              </a:extLst>
            </p:cNvPr>
            <p:cNvGrpSpPr/>
            <p:nvPr/>
          </p:nvGrpSpPr>
          <p:grpSpPr>
            <a:xfrm>
              <a:off x="7216556" y="4638890"/>
              <a:ext cx="431233" cy="513977"/>
              <a:chOff x="7216556" y="4638890"/>
              <a:chExt cx="431233" cy="513977"/>
            </a:xfrm>
            <a:grpFill/>
          </p:grpSpPr>
          <p:sp>
            <p:nvSpPr>
              <p:cNvPr id="3951" name="Vrije vorm: vorm 3950">
                <a:extLst>
                  <a:ext uri="{FF2B5EF4-FFF2-40B4-BE49-F238E27FC236}">
                    <a16:creationId xmlns:a16="http://schemas.microsoft.com/office/drawing/2014/main" id="{3F9CF8E8-DD9F-4965-8CC1-17D3F8CE3DCC}"/>
                  </a:ext>
                </a:extLst>
              </p:cNvPr>
              <p:cNvSpPr/>
              <p:nvPr/>
            </p:nvSpPr>
            <p:spPr>
              <a:xfrm>
                <a:off x="7224253" y="4646762"/>
                <a:ext cx="415839" cy="498194"/>
              </a:xfrm>
              <a:custGeom>
                <a:avLst/>
                <a:gdLst>
                  <a:gd name="connsiteX0" fmla="*/ 415840 w 415839"/>
                  <a:gd name="connsiteY0" fmla="*/ 496221 h 498194"/>
                  <a:gd name="connsiteX1" fmla="*/ 413507 w 415839"/>
                  <a:gd name="connsiteY1" fmla="*/ 498194 h 498194"/>
                  <a:gd name="connsiteX2" fmla="*/ 0 w 415839"/>
                  <a:gd name="connsiteY2" fmla="*/ 1974 h 498194"/>
                  <a:gd name="connsiteX3" fmla="*/ 2333 w 415839"/>
                  <a:gd name="connsiteY3" fmla="*/ 0 h 498194"/>
                </a:gdLst>
                <a:ahLst/>
                <a:cxnLst>
                  <a:cxn ang="0">
                    <a:pos x="connsiteX0" y="connsiteY0"/>
                  </a:cxn>
                  <a:cxn ang="0">
                    <a:pos x="connsiteX1" y="connsiteY1"/>
                  </a:cxn>
                  <a:cxn ang="0">
                    <a:pos x="connsiteX2" y="connsiteY2"/>
                  </a:cxn>
                  <a:cxn ang="0">
                    <a:pos x="connsiteX3" y="connsiteY3"/>
                  </a:cxn>
                </a:cxnLst>
                <a:rect l="l" t="t" r="r" b="b"/>
                <a:pathLst>
                  <a:path w="415839" h="498194">
                    <a:moveTo>
                      <a:pt x="415840" y="496221"/>
                    </a:moveTo>
                    <a:lnTo>
                      <a:pt x="413507" y="498194"/>
                    </a:lnTo>
                    <a:lnTo>
                      <a:pt x="0" y="1974"/>
                    </a:lnTo>
                    <a:lnTo>
                      <a:pt x="2333" y="0"/>
                    </a:lnTo>
                    <a:close/>
                  </a:path>
                </a:pathLst>
              </a:custGeom>
              <a:grpFill/>
              <a:ln w="5978" cap="flat">
                <a:noFill/>
                <a:prstDash val="solid"/>
                <a:miter/>
              </a:ln>
            </p:spPr>
            <p:txBody>
              <a:bodyPr rtlCol="0" anchor="ctr"/>
              <a:lstStyle/>
              <a:p>
                <a:endParaRPr lang="en-GB"/>
              </a:p>
            </p:txBody>
          </p:sp>
          <p:sp>
            <p:nvSpPr>
              <p:cNvPr id="3952" name="Vrije vorm: vorm 3951">
                <a:extLst>
                  <a:ext uri="{FF2B5EF4-FFF2-40B4-BE49-F238E27FC236}">
                    <a16:creationId xmlns:a16="http://schemas.microsoft.com/office/drawing/2014/main" id="{ACF0051E-02BF-4704-87C6-2B8D7CCA4F52}"/>
                  </a:ext>
                </a:extLst>
              </p:cNvPr>
              <p:cNvSpPr/>
              <p:nvPr/>
            </p:nvSpPr>
            <p:spPr>
              <a:xfrm>
                <a:off x="7216556" y="4638890"/>
                <a:ext cx="18324" cy="18433"/>
              </a:xfrm>
              <a:custGeom>
                <a:avLst/>
                <a:gdLst>
                  <a:gd name="connsiteX0" fmla="*/ 2135 w 18324"/>
                  <a:gd name="connsiteY0" fmla="*/ 15108 h 18433"/>
                  <a:gd name="connsiteX1" fmla="*/ 3271 w 18324"/>
                  <a:gd name="connsiteY1" fmla="*/ 2130 h 18433"/>
                  <a:gd name="connsiteX2" fmla="*/ 16190 w 18324"/>
                  <a:gd name="connsiteY2" fmla="*/ 3326 h 18433"/>
                  <a:gd name="connsiteX3" fmla="*/ 15053 w 18324"/>
                  <a:gd name="connsiteY3" fmla="*/ 16304 h 18433"/>
                  <a:gd name="connsiteX4" fmla="*/ 2135 w 18324"/>
                  <a:gd name="connsiteY4" fmla="*/ 15108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3">
                    <a:moveTo>
                      <a:pt x="2135" y="15108"/>
                    </a:moveTo>
                    <a:cubicBezTo>
                      <a:pt x="-1095" y="11221"/>
                      <a:pt x="-616" y="5360"/>
                      <a:pt x="3271" y="2130"/>
                    </a:cubicBezTo>
                    <a:cubicBezTo>
                      <a:pt x="7159" y="-1100"/>
                      <a:pt x="12900" y="-621"/>
                      <a:pt x="16190" y="3326"/>
                    </a:cubicBezTo>
                    <a:cubicBezTo>
                      <a:pt x="19420" y="7214"/>
                      <a:pt x="18941" y="13015"/>
                      <a:pt x="15053" y="16304"/>
                    </a:cubicBezTo>
                    <a:cubicBezTo>
                      <a:pt x="11166" y="19534"/>
                      <a:pt x="5424" y="19055"/>
                      <a:pt x="2135" y="15108"/>
                    </a:cubicBezTo>
                    <a:close/>
                  </a:path>
                </a:pathLst>
              </a:custGeom>
              <a:grpFill/>
              <a:ln w="5978" cap="flat">
                <a:noFill/>
                <a:prstDash val="solid"/>
                <a:miter/>
              </a:ln>
            </p:spPr>
            <p:txBody>
              <a:bodyPr rtlCol="0" anchor="ctr"/>
              <a:lstStyle/>
              <a:p>
                <a:endParaRPr lang="en-GB"/>
              </a:p>
            </p:txBody>
          </p:sp>
          <p:sp>
            <p:nvSpPr>
              <p:cNvPr id="3953" name="Vrije vorm: vorm 3952">
                <a:extLst>
                  <a:ext uri="{FF2B5EF4-FFF2-40B4-BE49-F238E27FC236}">
                    <a16:creationId xmlns:a16="http://schemas.microsoft.com/office/drawing/2014/main" id="{C27B1FE7-9795-4FB7-A47D-2662BB6216BD}"/>
                  </a:ext>
                </a:extLst>
              </p:cNvPr>
              <p:cNvSpPr/>
              <p:nvPr/>
            </p:nvSpPr>
            <p:spPr>
              <a:xfrm>
                <a:off x="7629465" y="5134472"/>
                <a:ext cx="18324" cy="18395"/>
              </a:xfrm>
              <a:custGeom>
                <a:avLst/>
                <a:gdLst>
                  <a:gd name="connsiteX0" fmla="*/ 2135 w 18324"/>
                  <a:gd name="connsiteY0" fmla="*/ 15089 h 18395"/>
                  <a:gd name="connsiteX1" fmla="*/ 15053 w 18324"/>
                  <a:gd name="connsiteY1" fmla="*/ 16285 h 18395"/>
                  <a:gd name="connsiteX2" fmla="*/ 16190 w 18324"/>
                  <a:gd name="connsiteY2" fmla="*/ 3306 h 18395"/>
                  <a:gd name="connsiteX3" fmla="*/ 3271 w 18324"/>
                  <a:gd name="connsiteY3" fmla="*/ 2111 h 18395"/>
                  <a:gd name="connsiteX4" fmla="*/ 2135 w 18324"/>
                  <a:gd name="connsiteY4" fmla="*/ 15089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5">
                    <a:moveTo>
                      <a:pt x="2135" y="15089"/>
                    </a:moveTo>
                    <a:cubicBezTo>
                      <a:pt x="5365" y="18976"/>
                      <a:pt x="11166" y="19514"/>
                      <a:pt x="15053" y="16285"/>
                    </a:cubicBezTo>
                    <a:cubicBezTo>
                      <a:pt x="18941" y="13055"/>
                      <a:pt x="19419" y="7194"/>
                      <a:pt x="16190" y="3306"/>
                    </a:cubicBezTo>
                    <a:cubicBezTo>
                      <a:pt x="12960" y="-581"/>
                      <a:pt x="7159" y="-1119"/>
                      <a:pt x="3271" y="2111"/>
                    </a:cubicBezTo>
                    <a:cubicBezTo>
                      <a:pt x="-616" y="5340"/>
                      <a:pt x="-1094" y="11141"/>
                      <a:pt x="2135" y="15089"/>
                    </a:cubicBezTo>
                    <a:close/>
                  </a:path>
                </a:pathLst>
              </a:custGeom>
              <a:grpFill/>
              <a:ln w="5978" cap="flat">
                <a:noFill/>
                <a:prstDash val="solid"/>
                <a:miter/>
              </a:ln>
            </p:spPr>
            <p:txBody>
              <a:bodyPr rtlCol="0" anchor="ctr"/>
              <a:lstStyle/>
              <a:p>
                <a:endParaRPr lang="en-GB"/>
              </a:p>
            </p:txBody>
          </p:sp>
        </p:grpSp>
        <p:grpSp>
          <p:nvGrpSpPr>
            <p:cNvPr id="479" name="Graphic 3">
              <a:extLst>
                <a:ext uri="{FF2B5EF4-FFF2-40B4-BE49-F238E27FC236}">
                  <a16:creationId xmlns:a16="http://schemas.microsoft.com/office/drawing/2014/main" id="{54DCBC8B-F1D0-46ED-91D2-85D7083969C4}"/>
                </a:ext>
              </a:extLst>
            </p:cNvPr>
            <p:cNvGrpSpPr/>
            <p:nvPr/>
          </p:nvGrpSpPr>
          <p:grpSpPr>
            <a:xfrm>
              <a:off x="7297622" y="4541399"/>
              <a:ext cx="97850" cy="90452"/>
              <a:chOff x="7297622" y="4541399"/>
              <a:chExt cx="97850" cy="90452"/>
            </a:xfrm>
            <a:grpFill/>
          </p:grpSpPr>
          <p:sp>
            <p:nvSpPr>
              <p:cNvPr id="3948" name="Vrije vorm: vorm 3947">
                <a:extLst>
                  <a:ext uri="{FF2B5EF4-FFF2-40B4-BE49-F238E27FC236}">
                    <a16:creationId xmlns:a16="http://schemas.microsoft.com/office/drawing/2014/main" id="{3D173218-BEAE-4A08-8810-02BA6F6BF2AD}"/>
                  </a:ext>
                </a:extLst>
              </p:cNvPr>
              <p:cNvSpPr/>
              <p:nvPr/>
            </p:nvSpPr>
            <p:spPr>
              <a:xfrm>
                <a:off x="7305412" y="4549156"/>
                <a:ext cx="82234" cy="74878"/>
              </a:xfrm>
              <a:custGeom>
                <a:avLst/>
                <a:gdLst>
                  <a:gd name="connsiteX0" fmla="*/ 82235 w 82234"/>
                  <a:gd name="connsiteY0" fmla="*/ 72606 h 74878"/>
                  <a:gd name="connsiteX1" fmla="*/ 80201 w 82234"/>
                  <a:gd name="connsiteY1" fmla="*/ 74879 h 74878"/>
                  <a:gd name="connsiteX2" fmla="*/ 0 w 82234"/>
                  <a:gd name="connsiteY2" fmla="*/ 2273 h 74878"/>
                  <a:gd name="connsiteX3" fmla="*/ 2033 w 82234"/>
                  <a:gd name="connsiteY3" fmla="*/ 0 h 74878"/>
                </a:gdLst>
                <a:ahLst/>
                <a:cxnLst>
                  <a:cxn ang="0">
                    <a:pos x="connsiteX0" y="connsiteY0"/>
                  </a:cxn>
                  <a:cxn ang="0">
                    <a:pos x="connsiteX1" y="connsiteY1"/>
                  </a:cxn>
                  <a:cxn ang="0">
                    <a:pos x="connsiteX2" y="connsiteY2"/>
                  </a:cxn>
                  <a:cxn ang="0">
                    <a:pos x="connsiteX3" y="connsiteY3"/>
                  </a:cxn>
                </a:cxnLst>
                <a:rect l="l" t="t" r="r" b="b"/>
                <a:pathLst>
                  <a:path w="82234" h="74878">
                    <a:moveTo>
                      <a:pt x="82235" y="72606"/>
                    </a:moveTo>
                    <a:lnTo>
                      <a:pt x="80201" y="74879"/>
                    </a:lnTo>
                    <a:lnTo>
                      <a:pt x="0" y="2273"/>
                    </a:lnTo>
                    <a:lnTo>
                      <a:pt x="2033" y="0"/>
                    </a:lnTo>
                    <a:close/>
                  </a:path>
                </a:pathLst>
              </a:custGeom>
              <a:grpFill/>
              <a:ln w="5978" cap="flat">
                <a:noFill/>
                <a:prstDash val="solid"/>
                <a:miter/>
              </a:ln>
            </p:spPr>
            <p:txBody>
              <a:bodyPr rtlCol="0" anchor="ctr"/>
              <a:lstStyle/>
              <a:p>
                <a:endParaRPr lang="en-GB"/>
              </a:p>
            </p:txBody>
          </p:sp>
          <p:sp>
            <p:nvSpPr>
              <p:cNvPr id="3949" name="Vrije vorm: vorm 3948">
                <a:extLst>
                  <a:ext uri="{FF2B5EF4-FFF2-40B4-BE49-F238E27FC236}">
                    <a16:creationId xmlns:a16="http://schemas.microsoft.com/office/drawing/2014/main" id="{8D62244F-616D-41E8-9B33-0E187D45B8CC}"/>
                  </a:ext>
                </a:extLst>
              </p:cNvPr>
              <p:cNvSpPr/>
              <p:nvPr/>
            </p:nvSpPr>
            <p:spPr>
              <a:xfrm>
                <a:off x="7377189" y="4613386"/>
                <a:ext cx="18283" cy="18465"/>
              </a:xfrm>
              <a:custGeom>
                <a:avLst/>
                <a:gdLst>
                  <a:gd name="connsiteX0" fmla="*/ 15242 w 18283"/>
                  <a:gd name="connsiteY0" fmla="*/ 2395 h 18465"/>
                  <a:gd name="connsiteX1" fmla="*/ 15959 w 18283"/>
                  <a:gd name="connsiteY1" fmla="*/ 15433 h 18465"/>
                  <a:gd name="connsiteX2" fmla="*/ 3041 w 18283"/>
                  <a:gd name="connsiteY2" fmla="*/ 16091 h 18465"/>
                  <a:gd name="connsiteX3" fmla="*/ 2324 w 18283"/>
                  <a:gd name="connsiteY3" fmla="*/ 3053 h 18465"/>
                  <a:gd name="connsiteX4" fmla="*/ 15242 w 18283"/>
                  <a:gd name="connsiteY4" fmla="*/ 2395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65">
                    <a:moveTo>
                      <a:pt x="15242" y="2395"/>
                    </a:moveTo>
                    <a:cubicBezTo>
                      <a:pt x="19010" y="5804"/>
                      <a:pt x="19309" y="11606"/>
                      <a:pt x="15959" y="15433"/>
                    </a:cubicBezTo>
                    <a:cubicBezTo>
                      <a:pt x="12610" y="19201"/>
                      <a:pt x="6809" y="19500"/>
                      <a:pt x="3041" y="16091"/>
                    </a:cubicBezTo>
                    <a:cubicBezTo>
                      <a:pt x="-726" y="12682"/>
                      <a:pt x="-1026" y="6881"/>
                      <a:pt x="2324" y="3053"/>
                    </a:cubicBezTo>
                    <a:cubicBezTo>
                      <a:pt x="5673" y="-775"/>
                      <a:pt x="11474" y="-1014"/>
                      <a:pt x="15242" y="2395"/>
                    </a:cubicBezTo>
                    <a:close/>
                  </a:path>
                </a:pathLst>
              </a:custGeom>
              <a:grpFill/>
              <a:ln w="5978" cap="flat">
                <a:noFill/>
                <a:prstDash val="solid"/>
                <a:miter/>
              </a:ln>
            </p:spPr>
            <p:txBody>
              <a:bodyPr rtlCol="0" anchor="ctr"/>
              <a:lstStyle/>
              <a:p>
                <a:endParaRPr lang="en-GB"/>
              </a:p>
            </p:txBody>
          </p:sp>
          <p:sp>
            <p:nvSpPr>
              <p:cNvPr id="3950" name="Vrije vorm: vorm 3949">
                <a:extLst>
                  <a:ext uri="{FF2B5EF4-FFF2-40B4-BE49-F238E27FC236}">
                    <a16:creationId xmlns:a16="http://schemas.microsoft.com/office/drawing/2014/main" id="{C839EFA9-33FF-43C9-9CDA-4D299F5D9E1A}"/>
                  </a:ext>
                </a:extLst>
              </p:cNvPr>
              <p:cNvSpPr/>
              <p:nvPr/>
            </p:nvSpPr>
            <p:spPr>
              <a:xfrm>
                <a:off x="7297622" y="4541399"/>
                <a:ext cx="18331" cy="18444"/>
              </a:xfrm>
              <a:custGeom>
                <a:avLst/>
                <a:gdLst>
                  <a:gd name="connsiteX0" fmla="*/ 15266 w 18331"/>
                  <a:gd name="connsiteY0" fmla="*/ 2374 h 18444"/>
                  <a:gd name="connsiteX1" fmla="*/ 2347 w 18331"/>
                  <a:gd name="connsiteY1" fmla="*/ 3032 h 18444"/>
                  <a:gd name="connsiteX2" fmla="*/ 3065 w 18331"/>
                  <a:gd name="connsiteY2" fmla="*/ 16070 h 18444"/>
                  <a:gd name="connsiteX3" fmla="*/ 15984 w 18331"/>
                  <a:gd name="connsiteY3" fmla="*/ 15412 h 18444"/>
                  <a:gd name="connsiteX4" fmla="*/ 15266 w 18331"/>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44">
                    <a:moveTo>
                      <a:pt x="15266" y="2374"/>
                    </a:moveTo>
                    <a:cubicBezTo>
                      <a:pt x="11498" y="-1035"/>
                      <a:pt x="5696" y="-736"/>
                      <a:pt x="2347" y="3032"/>
                    </a:cubicBezTo>
                    <a:cubicBezTo>
                      <a:pt x="-1061" y="6800"/>
                      <a:pt x="-703" y="12661"/>
                      <a:pt x="3065" y="16070"/>
                    </a:cubicBezTo>
                    <a:cubicBezTo>
                      <a:pt x="6833" y="19479"/>
                      <a:pt x="12634" y="19180"/>
                      <a:pt x="15984" y="15412"/>
                    </a:cubicBezTo>
                    <a:cubicBezTo>
                      <a:pt x="19392" y="11585"/>
                      <a:pt x="19034" y="5783"/>
                      <a:pt x="15266" y="2374"/>
                    </a:cubicBezTo>
                    <a:close/>
                  </a:path>
                </a:pathLst>
              </a:custGeom>
              <a:grpFill/>
              <a:ln w="5978" cap="flat">
                <a:noFill/>
                <a:prstDash val="solid"/>
                <a:miter/>
              </a:ln>
            </p:spPr>
            <p:txBody>
              <a:bodyPr rtlCol="0" anchor="ctr"/>
              <a:lstStyle/>
              <a:p>
                <a:endParaRPr lang="en-GB"/>
              </a:p>
            </p:txBody>
          </p:sp>
        </p:grpSp>
        <p:grpSp>
          <p:nvGrpSpPr>
            <p:cNvPr id="480" name="Graphic 3">
              <a:extLst>
                <a:ext uri="{FF2B5EF4-FFF2-40B4-BE49-F238E27FC236}">
                  <a16:creationId xmlns:a16="http://schemas.microsoft.com/office/drawing/2014/main" id="{57FD51A4-5BD1-461A-BB41-8CD4E795E4B6}"/>
                </a:ext>
              </a:extLst>
            </p:cNvPr>
            <p:cNvGrpSpPr/>
            <p:nvPr/>
          </p:nvGrpSpPr>
          <p:grpSpPr>
            <a:xfrm>
              <a:off x="6330084" y="1611000"/>
              <a:ext cx="18777" cy="21424"/>
              <a:chOff x="6330084" y="1611000"/>
              <a:chExt cx="18777" cy="21424"/>
            </a:xfrm>
            <a:grpFill/>
          </p:grpSpPr>
          <p:sp>
            <p:nvSpPr>
              <p:cNvPr id="3945" name="Vrije vorm: vorm 3944">
                <a:extLst>
                  <a:ext uri="{FF2B5EF4-FFF2-40B4-BE49-F238E27FC236}">
                    <a16:creationId xmlns:a16="http://schemas.microsoft.com/office/drawing/2014/main" id="{4AC27B1D-377F-4077-97C5-B2D4CCCAFA09}"/>
                  </a:ext>
                </a:extLst>
              </p:cNvPr>
              <p:cNvSpPr/>
              <p:nvPr/>
            </p:nvSpPr>
            <p:spPr>
              <a:xfrm>
                <a:off x="6337671" y="1619560"/>
                <a:ext cx="3648" cy="4306"/>
              </a:xfrm>
              <a:custGeom>
                <a:avLst/>
                <a:gdLst>
                  <a:gd name="connsiteX0" fmla="*/ 3649 w 3648"/>
                  <a:gd name="connsiteY0" fmla="*/ 478 h 4306"/>
                  <a:gd name="connsiteX1" fmla="*/ 2990 w 3648"/>
                  <a:gd name="connsiteY1" fmla="*/ 4306 h 4306"/>
                  <a:gd name="connsiteX2" fmla="*/ 0 w 3648"/>
                  <a:gd name="connsiteY2" fmla="*/ 3828 h 4306"/>
                  <a:gd name="connsiteX3" fmla="*/ 598 w 3648"/>
                  <a:gd name="connsiteY3" fmla="*/ 0 h 4306"/>
                </a:gdLst>
                <a:ahLst/>
                <a:cxnLst>
                  <a:cxn ang="0">
                    <a:pos x="connsiteX0" y="connsiteY0"/>
                  </a:cxn>
                  <a:cxn ang="0">
                    <a:pos x="connsiteX1" y="connsiteY1"/>
                  </a:cxn>
                  <a:cxn ang="0">
                    <a:pos x="connsiteX2" y="connsiteY2"/>
                  </a:cxn>
                  <a:cxn ang="0">
                    <a:pos x="connsiteX3" y="connsiteY3"/>
                  </a:cxn>
                </a:cxnLst>
                <a:rect l="l" t="t" r="r" b="b"/>
                <a:pathLst>
                  <a:path w="3648" h="4306">
                    <a:moveTo>
                      <a:pt x="3649" y="478"/>
                    </a:moveTo>
                    <a:lnTo>
                      <a:pt x="2990" y="4306"/>
                    </a:lnTo>
                    <a:lnTo>
                      <a:pt x="0" y="3828"/>
                    </a:lnTo>
                    <a:lnTo>
                      <a:pt x="598" y="0"/>
                    </a:lnTo>
                    <a:close/>
                  </a:path>
                </a:pathLst>
              </a:custGeom>
              <a:grpFill/>
              <a:ln w="5978" cap="flat">
                <a:noFill/>
                <a:prstDash val="solid"/>
                <a:miter/>
              </a:ln>
            </p:spPr>
            <p:txBody>
              <a:bodyPr rtlCol="0" anchor="ctr"/>
              <a:lstStyle/>
              <a:p>
                <a:endParaRPr lang="en-GB"/>
              </a:p>
            </p:txBody>
          </p:sp>
          <p:sp>
            <p:nvSpPr>
              <p:cNvPr id="3946" name="Vrije vorm: vorm 3945">
                <a:extLst>
                  <a:ext uri="{FF2B5EF4-FFF2-40B4-BE49-F238E27FC236}">
                    <a16:creationId xmlns:a16="http://schemas.microsoft.com/office/drawing/2014/main" id="{6A688215-37A2-4E4B-BA6E-DCFE9E0C6B2B}"/>
                  </a:ext>
                </a:extLst>
              </p:cNvPr>
              <p:cNvSpPr/>
              <p:nvPr/>
            </p:nvSpPr>
            <p:spPr>
              <a:xfrm>
                <a:off x="6330563" y="1611000"/>
                <a:ext cx="18298" cy="18434"/>
              </a:xfrm>
              <a:custGeom>
                <a:avLst/>
                <a:gdLst>
                  <a:gd name="connsiteX0" fmla="*/ 111 w 18298"/>
                  <a:gd name="connsiteY0" fmla="*/ 7722 h 18434"/>
                  <a:gd name="connsiteX1" fmla="*/ 10577 w 18298"/>
                  <a:gd name="connsiteY1" fmla="*/ 126 h 18434"/>
                  <a:gd name="connsiteX2" fmla="*/ 18172 w 18298"/>
                  <a:gd name="connsiteY2" fmla="*/ 10712 h 18434"/>
                  <a:gd name="connsiteX3" fmla="*/ 7706 w 18298"/>
                  <a:gd name="connsiteY3" fmla="*/ 18308 h 18434"/>
                  <a:gd name="connsiteX4" fmla="*/ 111 w 1829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4">
                    <a:moveTo>
                      <a:pt x="111" y="7722"/>
                    </a:moveTo>
                    <a:cubicBezTo>
                      <a:pt x="888" y="2698"/>
                      <a:pt x="5613" y="-711"/>
                      <a:pt x="10577" y="126"/>
                    </a:cubicBezTo>
                    <a:cubicBezTo>
                      <a:pt x="15601" y="964"/>
                      <a:pt x="19009" y="5688"/>
                      <a:pt x="18172" y="10712"/>
                    </a:cubicBezTo>
                    <a:cubicBezTo>
                      <a:pt x="17395" y="15736"/>
                      <a:pt x="12670" y="19145"/>
                      <a:pt x="7706" y="18308"/>
                    </a:cubicBezTo>
                    <a:cubicBezTo>
                      <a:pt x="2742" y="17530"/>
                      <a:pt x="-667" y="12746"/>
                      <a:pt x="111" y="7722"/>
                    </a:cubicBezTo>
                    <a:close/>
                  </a:path>
                </a:pathLst>
              </a:custGeom>
              <a:grpFill/>
              <a:ln w="5978" cap="flat">
                <a:noFill/>
                <a:prstDash val="solid"/>
                <a:miter/>
              </a:ln>
            </p:spPr>
            <p:txBody>
              <a:bodyPr rtlCol="0" anchor="ctr"/>
              <a:lstStyle/>
              <a:p>
                <a:endParaRPr lang="en-GB"/>
              </a:p>
            </p:txBody>
          </p:sp>
          <p:sp>
            <p:nvSpPr>
              <p:cNvPr id="3947" name="Vrije vorm: vorm 3946">
                <a:extLst>
                  <a:ext uri="{FF2B5EF4-FFF2-40B4-BE49-F238E27FC236}">
                    <a16:creationId xmlns:a16="http://schemas.microsoft.com/office/drawing/2014/main" id="{46BABD70-40B3-4A38-ACAB-26A5CACB2692}"/>
                  </a:ext>
                </a:extLst>
              </p:cNvPr>
              <p:cNvSpPr/>
              <p:nvPr/>
            </p:nvSpPr>
            <p:spPr>
              <a:xfrm>
                <a:off x="6330084" y="1613991"/>
                <a:ext cx="18282" cy="18434"/>
              </a:xfrm>
              <a:custGeom>
                <a:avLst/>
                <a:gdLst>
                  <a:gd name="connsiteX0" fmla="*/ 111 w 18282"/>
                  <a:gd name="connsiteY0" fmla="*/ 7722 h 18434"/>
                  <a:gd name="connsiteX1" fmla="*/ 7706 w 18282"/>
                  <a:gd name="connsiteY1" fmla="*/ 18308 h 18434"/>
                  <a:gd name="connsiteX2" fmla="*/ 18172 w 18282"/>
                  <a:gd name="connsiteY2" fmla="*/ 10712 h 18434"/>
                  <a:gd name="connsiteX3" fmla="*/ 10577 w 18282"/>
                  <a:gd name="connsiteY3" fmla="*/ 126 h 18434"/>
                  <a:gd name="connsiteX4" fmla="*/ 111 w 18282"/>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34">
                    <a:moveTo>
                      <a:pt x="111" y="7722"/>
                    </a:moveTo>
                    <a:cubicBezTo>
                      <a:pt x="-667" y="12746"/>
                      <a:pt x="2742" y="17471"/>
                      <a:pt x="7706" y="18308"/>
                    </a:cubicBezTo>
                    <a:cubicBezTo>
                      <a:pt x="12730" y="19145"/>
                      <a:pt x="17395" y="15736"/>
                      <a:pt x="18172" y="10712"/>
                    </a:cubicBezTo>
                    <a:cubicBezTo>
                      <a:pt x="18950" y="5688"/>
                      <a:pt x="15541" y="964"/>
                      <a:pt x="10577" y="126"/>
                    </a:cubicBezTo>
                    <a:cubicBezTo>
                      <a:pt x="5613" y="-711"/>
                      <a:pt x="888" y="2698"/>
                      <a:pt x="111" y="7722"/>
                    </a:cubicBezTo>
                    <a:close/>
                  </a:path>
                </a:pathLst>
              </a:custGeom>
              <a:grpFill/>
              <a:ln w="5978" cap="flat">
                <a:noFill/>
                <a:prstDash val="solid"/>
                <a:miter/>
              </a:ln>
            </p:spPr>
            <p:txBody>
              <a:bodyPr rtlCol="0" anchor="ctr"/>
              <a:lstStyle/>
              <a:p>
                <a:endParaRPr lang="en-GB"/>
              </a:p>
            </p:txBody>
          </p:sp>
        </p:grpSp>
        <p:grpSp>
          <p:nvGrpSpPr>
            <p:cNvPr id="481" name="Graphic 3">
              <a:extLst>
                <a:ext uri="{FF2B5EF4-FFF2-40B4-BE49-F238E27FC236}">
                  <a16:creationId xmlns:a16="http://schemas.microsoft.com/office/drawing/2014/main" id="{ED982405-2188-43C9-9250-ABFD0E4C0979}"/>
                </a:ext>
              </a:extLst>
            </p:cNvPr>
            <p:cNvGrpSpPr/>
            <p:nvPr/>
          </p:nvGrpSpPr>
          <p:grpSpPr>
            <a:xfrm>
              <a:off x="7339861" y="4718082"/>
              <a:ext cx="94495" cy="95512"/>
              <a:chOff x="7339861" y="4718082"/>
              <a:chExt cx="94495" cy="95512"/>
            </a:xfrm>
            <a:grpFill/>
          </p:grpSpPr>
          <p:sp>
            <p:nvSpPr>
              <p:cNvPr id="3942" name="Vrije vorm: vorm 3941">
                <a:extLst>
                  <a:ext uri="{FF2B5EF4-FFF2-40B4-BE49-F238E27FC236}">
                    <a16:creationId xmlns:a16="http://schemas.microsoft.com/office/drawing/2014/main" id="{1CC6DEA1-606D-48C7-A2C5-703176B037AD}"/>
                  </a:ext>
                </a:extLst>
              </p:cNvPr>
              <p:cNvSpPr/>
              <p:nvPr/>
            </p:nvSpPr>
            <p:spPr>
              <a:xfrm>
                <a:off x="7347635" y="4725827"/>
                <a:ext cx="78945" cy="79902"/>
              </a:xfrm>
              <a:custGeom>
                <a:avLst/>
                <a:gdLst>
                  <a:gd name="connsiteX0" fmla="*/ 78946 w 78945"/>
                  <a:gd name="connsiteY0" fmla="*/ 77749 h 79902"/>
                  <a:gd name="connsiteX1" fmla="*/ 76792 w 78945"/>
                  <a:gd name="connsiteY1" fmla="*/ 79902 h 79902"/>
                  <a:gd name="connsiteX2" fmla="*/ 0 w 78945"/>
                  <a:gd name="connsiteY2" fmla="*/ 2153 h 79902"/>
                  <a:gd name="connsiteX3" fmla="*/ 2213 w 78945"/>
                  <a:gd name="connsiteY3" fmla="*/ 0 h 79902"/>
                </a:gdLst>
                <a:ahLst/>
                <a:cxnLst>
                  <a:cxn ang="0">
                    <a:pos x="connsiteX0" y="connsiteY0"/>
                  </a:cxn>
                  <a:cxn ang="0">
                    <a:pos x="connsiteX1" y="connsiteY1"/>
                  </a:cxn>
                  <a:cxn ang="0">
                    <a:pos x="connsiteX2" y="connsiteY2"/>
                  </a:cxn>
                  <a:cxn ang="0">
                    <a:pos x="connsiteX3" y="connsiteY3"/>
                  </a:cxn>
                </a:cxnLst>
                <a:rect l="l" t="t" r="r" b="b"/>
                <a:pathLst>
                  <a:path w="78945" h="79902">
                    <a:moveTo>
                      <a:pt x="78946" y="77749"/>
                    </a:moveTo>
                    <a:lnTo>
                      <a:pt x="76792" y="79902"/>
                    </a:lnTo>
                    <a:lnTo>
                      <a:pt x="0" y="2153"/>
                    </a:lnTo>
                    <a:lnTo>
                      <a:pt x="2213" y="0"/>
                    </a:lnTo>
                    <a:close/>
                  </a:path>
                </a:pathLst>
              </a:custGeom>
              <a:grpFill/>
              <a:ln w="5978" cap="flat">
                <a:noFill/>
                <a:prstDash val="solid"/>
                <a:miter/>
              </a:ln>
            </p:spPr>
            <p:txBody>
              <a:bodyPr rtlCol="0" anchor="ctr"/>
              <a:lstStyle/>
              <a:p>
                <a:endParaRPr lang="en-GB"/>
              </a:p>
            </p:txBody>
          </p:sp>
          <p:sp>
            <p:nvSpPr>
              <p:cNvPr id="3943" name="Vrije vorm: vorm 3942">
                <a:extLst>
                  <a:ext uri="{FF2B5EF4-FFF2-40B4-BE49-F238E27FC236}">
                    <a16:creationId xmlns:a16="http://schemas.microsoft.com/office/drawing/2014/main" id="{1A297B27-F26F-4108-804D-AC4A845F806C}"/>
                  </a:ext>
                </a:extLst>
              </p:cNvPr>
              <p:cNvSpPr/>
              <p:nvPr/>
            </p:nvSpPr>
            <p:spPr>
              <a:xfrm>
                <a:off x="7415995" y="4795151"/>
                <a:ext cx="18360" cy="18443"/>
              </a:xfrm>
              <a:custGeom>
                <a:avLst/>
                <a:gdLst>
                  <a:gd name="connsiteX0" fmla="*/ 15670 w 18360"/>
                  <a:gd name="connsiteY0" fmla="*/ 2744 h 18443"/>
                  <a:gd name="connsiteX1" fmla="*/ 15670 w 18360"/>
                  <a:gd name="connsiteY1" fmla="*/ 15782 h 18443"/>
                  <a:gd name="connsiteX2" fmla="*/ 2691 w 18360"/>
                  <a:gd name="connsiteY2" fmla="*/ 15722 h 18443"/>
                  <a:gd name="connsiteX3" fmla="*/ 2691 w 18360"/>
                  <a:gd name="connsiteY3" fmla="*/ 2684 h 18443"/>
                  <a:gd name="connsiteX4" fmla="*/ 15670 w 18360"/>
                  <a:gd name="connsiteY4" fmla="*/ 274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43">
                    <a:moveTo>
                      <a:pt x="15670" y="2744"/>
                    </a:moveTo>
                    <a:cubicBezTo>
                      <a:pt x="19258" y="6392"/>
                      <a:pt x="19258" y="12193"/>
                      <a:pt x="15670" y="15782"/>
                    </a:cubicBezTo>
                    <a:cubicBezTo>
                      <a:pt x="12081" y="19370"/>
                      <a:pt x="6280" y="19310"/>
                      <a:pt x="2691" y="15722"/>
                    </a:cubicBezTo>
                    <a:cubicBezTo>
                      <a:pt x="-897" y="12134"/>
                      <a:pt x="-897" y="6272"/>
                      <a:pt x="2691" y="2684"/>
                    </a:cubicBezTo>
                    <a:cubicBezTo>
                      <a:pt x="6339" y="-905"/>
                      <a:pt x="12141" y="-905"/>
                      <a:pt x="15670" y="2744"/>
                    </a:cubicBezTo>
                    <a:close/>
                  </a:path>
                </a:pathLst>
              </a:custGeom>
              <a:grpFill/>
              <a:ln w="5978" cap="flat">
                <a:noFill/>
                <a:prstDash val="solid"/>
                <a:miter/>
              </a:ln>
            </p:spPr>
            <p:txBody>
              <a:bodyPr rtlCol="0" anchor="ctr"/>
              <a:lstStyle/>
              <a:p>
                <a:endParaRPr lang="en-GB"/>
              </a:p>
            </p:txBody>
          </p:sp>
          <p:sp>
            <p:nvSpPr>
              <p:cNvPr id="3944" name="Vrije vorm: vorm 3943">
                <a:extLst>
                  <a:ext uri="{FF2B5EF4-FFF2-40B4-BE49-F238E27FC236}">
                    <a16:creationId xmlns:a16="http://schemas.microsoft.com/office/drawing/2014/main" id="{3FD76247-463C-469C-820A-ACFF1BF26A26}"/>
                  </a:ext>
                </a:extLst>
              </p:cNvPr>
              <p:cNvSpPr/>
              <p:nvPr/>
            </p:nvSpPr>
            <p:spPr>
              <a:xfrm>
                <a:off x="7339861" y="4718082"/>
                <a:ext cx="18360" cy="18420"/>
              </a:xfrm>
              <a:custGeom>
                <a:avLst/>
                <a:gdLst>
                  <a:gd name="connsiteX0" fmla="*/ 15670 w 18360"/>
                  <a:gd name="connsiteY0" fmla="*/ 2721 h 18420"/>
                  <a:gd name="connsiteX1" fmla="*/ 2691 w 18360"/>
                  <a:gd name="connsiteY1" fmla="*/ 2661 h 18420"/>
                  <a:gd name="connsiteX2" fmla="*/ 2691 w 18360"/>
                  <a:gd name="connsiteY2" fmla="*/ 15699 h 18420"/>
                  <a:gd name="connsiteX3" fmla="*/ 15670 w 18360"/>
                  <a:gd name="connsiteY3" fmla="*/ 15759 h 18420"/>
                  <a:gd name="connsiteX4" fmla="*/ 15670 w 18360"/>
                  <a:gd name="connsiteY4" fmla="*/ 27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15670" y="2721"/>
                    </a:moveTo>
                    <a:cubicBezTo>
                      <a:pt x="12081" y="-867"/>
                      <a:pt x="6280" y="-927"/>
                      <a:pt x="2691" y="2661"/>
                    </a:cubicBezTo>
                    <a:cubicBezTo>
                      <a:pt x="-897" y="6250"/>
                      <a:pt x="-897" y="12051"/>
                      <a:pt x="2691" y="15699"/>
                    </a:cubicBezTo>
                    <a:cubicBezTo>
                      <a:pt x="6280" y="19288"/>
                      <a:pt x="12081" y="19348"/>
                      <a:pt x="15670" y="15759"/>
                    </a:cubicBezTo>
                    <a:cubicBezTo>
                      <a:pt x="19258" y="12171"/>
                      <a:pt x="19258" y="6310"/>
                      <a:pt x="15670" y="2721"/>
                    </a:cubicBezTo>
                    <a:close/>
                  </a:path>
                </a:pathLst>
              </a:custGeom>
              <a:grpFill/>
              <a:ln w="5978" cap="flat">
                <a:noFill/>
                <a:prstDash val="solid"/>
                <a:miter/>
              </a:ln>
            </p:spPr>
            <p:txBody>
              <a:bodyPr rtlCol="0" anchor="ctr"/>
              <a:lstStyle/>
              <a:p>
                <a:endParaRPr lang="en-GB"/>
              </a:p>
            </p:txBody>
          </p:sp>
        </p:grpSp>
        <p:grpSp>
          <p:nvGrpSpPr>
            <p:cNvPr id="482" name="Graphic 3">
              <a:extLst>
                <a:ext uri="{FF2B5EF4-FFF2-40B4-BE49-F238E27FC236}">
                  <a16:creationId xmlns:a16="http://schemas.microsoft.com/office/drawing/2014/main" id="{E69B3763-169B-4A24-A4C1-89C169F06156}"/>
                </a:ext>
              </a:extLst>
            </p:cNvPr>
            <p:cNvGrpSpPr/>
            <p:nvPr/>
          </p:nvGrpSpPr>
          <p:grpSpPr>
            <a:xfrm>
              <a:off x="6246473" y="1409404"/>
              <a:ext cx="21086" cy="45439"/>
              <a:chOff x="6246473" y="1409404"/>
              <a:chExt cx="21086" cy="45439"/>
            </a:xfrm>
            <a:grpFill/>
          </p:grpSpPr>
          <p:sp>
            <p:nvSpPr>
              <p:cNvPr id="3939" name="Vrije vorm: vorm 3938">
                <a:extLst>
                  <a:ext uri="{FF2B5EF4-FFF2-40B4-BE49-F238E27FC236}">
                    <a16:creationId xmlns:a16="http://schemas.microsoft.com/office/drawing/2014/main" id="{332CBFC0-DCB7-4FCB-B6F6-89D45D6FEBA5}"/>
                  </a:ext>
                </a:extLst>
              </p:cNvPr>
              <p:cNvSpPr/>
              <p:nvPr/>
            </p:nvSpPr>
            <p:spPr>
              <a:xfrm>
                <a:off x="6254120" y="1418009"/>
                <a:ext cx="5860" cy="28229"/>
              </a:xfrm>
              <a:custGeom>
                <a:avLst/>
                <a:gdLst>
                  <a:gd name="connsiteX0" fmla="*/ 5861 w 5860"/>
                  <a:gd name="connsiteY0" fmla="*/ 299 h 28229"/>
                  <a:gd name="connsiteX1" fmla="*/ 2990 w 5860"/>
                  <a:gd name="connsiteY1" fmla="*/ 28229 h 28229"/>
                  <a:gd name="connsiteX2" fmla="*/ 0 w 5860"/>
                  <a:gd name="connsiteY2" fmla="*/ 27930 h 28229"/>
                  <a:gd name="connsiteX3" fmla="*/ 2811 w 5860"/>
                  <a:gd name="connsiteY3" fmla="*/ 0 h 28229"/>
                </a:gdLst>
                <a:ahLst/>
                <a:cxnLst>
                  <a:cxn ang="0">
                    <a:pos x="connsiteX0" y="connsiteY0"/>
                  </a:cxn>
                  <a:cxn ang="0">
                    <a:pos x="connsiteX1" y="connsiteY1"/>
                  </a:cxn>
                  <a:cxn ang="0">
                    <a:pos x="connsiteX2" y="connsiteY2"/>
                  </a:cxn>
                  <a:cxn ang="0">
                    <a:pos x="connsiteX3" y="connsiteY3"/>
                  </a:cxn>
                </a:cxnLst>
                <a:rect l="l" t="t" r="r" b="b"/>
                <a:pathLst>
                  <a:path w="5860" h="28229">
                    <a:moveTo>
                      <a:pt x="5861" y="299"/>
                    </a:moveTo>
                    <a:lnTo>
                      <a:pt x="2990" y="28229"/>
                    </a:lnTo>
                    <a:lnTo>
                      <a:pt x="0" y="27930"/>
                    </a:lnTo>
                    <a:lnTo>
                      <a:pt x="2811" y="0"/>
                    </a:lnTo>
                    <a:close/>
                  </a:path>
                </a:pathLst>
              </a:custGeom>
              <a:grpFill/>
              <a:ln w="5978" cap="flat">
                <a:noFill/>
                <a:prstDash val="solid"/>
                <a:miter/>
              </a:ln>
            </p:spPr>
            <p:txBody>
              <a:bodyPr rtlCol="0" anchor="ctr"/>
              <a:lstStyle/>
              <a:p>
                <a:endParaRPr lang="en-GB"/>
              </a:p>
            </p:txBody>
          </p:sp>
          <p:sp>
            <p:nvSpPr>
              <p:cNvPr id="3940" name="Vrije vorm: vorm 3939">
                <a:extLst>
                  <a:ext uri="{FF2B5EF4-FFF2-40B4-BE49-F238E27FC236}">
                    <a16:creationId xmlns:a16="http://schemas.microsoft.com/office/drawing/2014/main" id="{0179B5AB-AE2E-4B10-AE6B-57FF469F0423}"/>
                  </a:ext>
                </a:extLst>
              </p:cNvPr>
              <p:cNvSpPr/>
              <p:nvPr/>
            </p:nvSpPr>
            <p:spPr>
              <a:xfrm>
                <a:off x="6249234" y="1409404"/>
                <a:ext cx="18325" cy="18406"/>
              </a:xfrm>
              <a:custGeom>
                <a:avLst/>
                <a:gdLst>
                  <a:gd name="connsiteX0" fmla="*/ 42 w 18325"/>
                  <a:gd name="connsiteY0" fmla="*/ 8246 h 18406"/>
                  <a:gd name="connsiteX1" fmla="*/ 10090 w 18325"/>
                  <a:gd name="connsiteY1" fmla="*/ 53 h 18406"/>
                  <a:gd name="connsiteX2" fmla="*/ 18283 w 18325"/>
                  <a:gd name="connsiteY2" fmla="*/ 10160 h 18406"/>
                  <a:gd name="connsiteX3" fmla="*/ 8236 w 18325"/>
                  <a:gd name="connsiteY3" fmla="*/ 18354 h 18406"/>
                  <a:gd name="connsiteX4" fmla="*/ 42 w 1832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6">
                    <a:moveTo>
                      <a:pt x="42" y="8246"/>
                    </a:moveTo>
                    <a:cubicBezTo>
                      <a:pt x="580" y="3163"/>
                      <a:pt x="5066" y="-486"/>
                      <a:pt x="10090" y="53"/>
                    </a:cubicBezTo>
                    <a:cubicBezTo>
                      <a:pt x="15113" y="591"/>
                      <a:pt x="18762" y="5136"/>
                      <a:pt x="18283" y="10160"/>
                    </a:cubicBezTo>
                    <a:cubicBezTo>
                      <a:pt x="17745" y="15244"/>
                      <a:pt x="13259" y="18892"/>
                      <a:pt x="8236" y="18354"/>
                    </a:cubicBezTo>
                    <a:cubicBezTo>
                      <a:pt x="3212" y="17815"/>
                      <a:pt x="-436" y="13270"/>
                      <a:pt x="42" y="8246"/>
                    </a:cubicBezTo>
                    <a:close/>
                  </a:path>
                </a:pathLst>
              </a:custGeom>
              <a:grpFill/>
              <a:ln w="5978" cap="flat">
                <a:noFill/>
                <a:prstDash val="solid"/>
                <a:miter/>
              </a:ln>
            </p:spPr>
            <p:txBody>
              <a:bodyPr rtlCol="0" anchor="ctr"/>
              <a:lstStyle/>
              <a:p>
                <a:endParaRPr lang="en-GB"/>
              </a:p>
            </p:txBody>
          </p:sp>
          <p:sp>
            <p:nvSpPr>
              <p:cNvPr id="3941" name="Vrije vorm: vorm 3940">
                <a:extLst>
                  <a:ext uri="{FF2B5EF4-FFF2-40B4-BE49-F238E27FC236}">
                    <a16:creationId xmlns:a16="http://schemas.microsoft.com/office/drawing/2014/main" id="{AA9B3728-A1B6-472A-9FC5-4EA492CB3F32}"/>
                  </a:ext>
                </a:extLst>
              </p:cNvPr>
              <p:cNvSpPr/>
              <p:nvPr/>
            </p:nvSpPr>
            <p:spPr>
              <a:xfrm>
                <a:off x="6246473" y="1436437"/>
                <a:ext cx="18345" cy="18406"/>
              </a:xfrm>
              <a:custGeom>
                <a:avLst/>
                <a:gdLst>
                  <a:gd name="connsiteX0" fmla="*/ 52 w 18345"/>
                  <a:gd name="connsiteY0" fmla="*/ 8246 h 18406"/>
                  <a:gd name="connsiteX1" fmla="*/ 8245 w 18345"/>
                  <a:gd name="connsiteY1" fmla="*/ 18354 h 18406"/>
                  <a:gd name="connsiteX2" fmla="*/ 18293 w 18345"/>
                  <a:gd name="connsiteY2" fmla="*/ 10160 h 18406"/>
                  <a:gd name="connsiteX3" fmla="*/ 10099 w 18345"/>
                  <a:gd name="connsiteY3" fmla="*/ 53 h 18406"/>
                  <a:gd name="connsiteX4" fmla="*/ 52 w 1834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6">
                    <a:moveTo>
                      <a:pt x="52" y="8246"/>
                    </a:moveTo>
                    <a:cubicBezTo>
                      <a:pt x="-486" y="13330"/>
                      <a:pt x="3222" y="17815"/>
                      <a:pt x="8245" y="18354"/>
                    </a:cubicBezTo>
                    <a:cubicBezTo>
                      <a:pt x="13269" y="18892"/>
                      <a:pt x="17755" y="15244"/>
                      <a:pt x="18293" y="10160"/>
                    </a:cubicBezTo>
                    <a:cubicBezTo>
                      <a:pt x="18831" y="5076"/>
                      <a:pt x="15123" y="591"/>
                      <a:pt x="10099" y="53"/>
                    </a:cubicBezTo>
                    <a:cubicBezTo>
                      <a:pt x="5076" y="-486"/>
                      <a:pt x="590" y="3163"/>
                      <a:pt x="52" y="8246"/>
                    </a:cubicBezTo>
                    <a:close/>
                  </a:path>
                </a:pathLst>
              </a:custGeom>
              <a:grpFill/>
              <a:ln w="5978" cap="flat">
                <a:noFill/>
                <a:prstDash val="solid"/>
                <a:miter/>
              </a:ln>
            </p:spPr>
            <p:txBody>
              <a:bodyPr rtlCol="0" anchor="ctr"/>
              <a:lstStyle/>
              <a:p>
                <a:endParaRPr lang="en-GB"/>
              </a:p>
            </p:txBody>
          </p:sp>
        </p:grpSp>
        <p:grpSp>
          <p:nvGrpSpPr>
            <p:cNvPr id="483" name="Graphic 3">
              <a:extLst>
                <a:ext uri="{FF2B5EF4-FFF2-40B4-BE49-F238E27FC236}">
                  <a16:creationId xmlns:a16="http://schemas.microsoft.com/office/drawing/2014/main" id="{1C8573DD-402F-4FE9-A3AB-8481E14B6E51}"/>
                </a:ext>
              </a:extLst>
            </p:cNvPr>
            <p:cNvGrpSpPr/>
            <p:nvPr/>
          </p:nvGrpSpPr>
          <p:grpSpPr>
            <a:xfrm>
              <a:off x="6294876" y="1571427"/>
              <a:ext cx="25411" cy="69278"/>
              <a:chOff x="6294876" y="1571427"/>
              <a:chExt cx="25411" cy="69278"/>
            </a:xfrm>
            <a:grpFill/>
          </p:grpSpPr>
          <p:sp>
            <p:nvSpPr>
              <p:cNvPr id="3936" name="Vrije vorm: vorm 3935">
                <a:extLst>
                  <a:ext uri="{FF2B5EF4-FFF2-40B4-BE49-F238E27FC236}">
                    <a16:creationId xmlns:a16="http://schemas.microsoft.com/office/drawing/2014/main" id="{11BA12EC-5146-4A49-A22F-AD511B8301F9}"/>
                  </a:ext>
                </a:extLst>
              </p:cNvPr>
              <p:cNvSpPr/>
              <p:nvPr/>
            </p:nvSpPr>
            <p:spPr>
              <a:xfrm>
                <a:off x="6302445" y="1579967"/>
                <a:ext cx="10286" cy="52211"/>
              </a:xfrm>
              <a:custGeom>
                <a:avLst/>
                <a:gdLst>
                  <a:gd name="connsiteX0" fmla="*/ 10287 w 10286"/>
                  <a:gd name="connsiteY0" fmla="*/ 419 h 52211"/>
                  <a:gd name="connsiteX1" fmla="*/ 3050 w 10286"/>
                  <a:gd name="connsiteY1" fmla="*/ 52212 h 52211"/>
                  <a:gd name="connsiteX2" fmla="*/ 0 w 10286"/>
                  <a:gd name="connsiteY2" fmla="*/ 51793 h 52211"/>
                  <a:gd name="connsiteX3" fmla="*/ 7236 w 10286"/>
                  <a:gd name="connsiteY3" fmla="*/ 0 h 52211"/>
                </a:gdLst>
                <a:ahLst/>
                <a:cxnLst>
                  <a:cxn ang="0">
                    <a:pos x="connsiteX0" y="connsiteY0"/>
                  </a:cxn>
                  <a:cxn ang="0">
                    <a:pos x="connsiteX1" y="connsiteY1"/>
                  </a:cxn>
                  <a:cxn ang="0">
                    <a:pos x="connsiteX2" y="connsiteY2"/>
                  </a:cxn>
                  <a:cxn ang="0">
                    <a:pos x="connsiteX3" y="connsiteY3"/>
                  </a:cxn>
                </a:cxnLst>
                <a:rect l="l" t="t" r="r" b="b"/>
                <a:pathLst>
                  <a:path w="10286" h="52211">
                    <a:moveTo>
                      <a:pt x="10287" y="419"/>
                    </a:moveTo>
                    <a:lnTo>
                      <a:pt x="3050" y="52212"/>
                    </a:lnTo>
                    <a:lnTo>
                      <a:pt x="0" y="51793"/>
                    </a:lnTo>
                    <a:lnTo>
                      <a:pt x="7236" y="0"/>
                    </a:lnTo>
                    <a:close/>
                  </a:path>
                </a:pathLst>
              </a:custGeom>
              <a:grpFill/>
              <a:ln w="5978" cap="flat">
                <a:noFill/>
                <a:prstDash val="solid"/>
                <a:miter/>
              </a:ln>
            </p:spPr>
            <p:txBody>
              <a:bodyPr rtlCol="0" anchor="ctr"/>
              <a:lstStyle/>
              <a:p>
                <a:endParaRPr lang="en-GB"/>
              </a:p>
            </p:txBody>
          </p:sp>
          <p:sp>
            <p:nvSpPr>
              <p:cNvPr id="3937" name="Vrije vorm: vorm 3936">
                <a:extLst>
                  <a:ext uri="{FF2B5EF4-FFF2-40B4-BE49-F238E27FC236}">
                    <a16:creationId xmlns:a16="http://schemas.microsoft.com/office/drawing/2014/main" id="{390B859C-15BC-4A65-AF48-4ED7D99AA044}"/>
                  </a:ext>
                </a:extLst>
              </p:cNvPr>
              <p:cNvSpPr/>
              <p:nvPr/>
            </p:nvSpPr>
            <p:spPr>
              <a:xfrm>
                <a:off x="6301946" y="1571427"/>
                <a:ext cx="18341" cy="18396"/>
              </a:xfrm>
              <a:custGeom>
                <a:avLst/>
                <a:gdLst>
                  <a:gd name="connsiteX0" fmla="*/ 80 w 18341"/>
                  <a:gd name="connsiteY0" fmla="*/ 7882 h 18396"/>
                  <a:gd name="connsiteX1" fmla="*/ 10427 w 18341"/>
                  <a:gd name="connsiteY1" fmla="*/ 107 h 18396"/>
                  <a:gd name="connsiteX2" fmla="*/ 18261 w 18341"/>
                  <a:gd name="connsiteY2" fmla="*/ 10514 h 18396"/>
                  <a:gd name="connsiteX3" fmla="*/ 7915 w 18341"/>
                  <a:gd name="connsiteY3" fmla="*/ 18289 h 18396"/>
                  <a:gd name="connsiteX4" fmla="*/ 80 w 18341"/>
                  <a:gd name="connsiteY4" fmla="*/ 788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6">
                    <a:moveTo>
                      <a:pt x="80" y="7882"/>
                    </a:moveTo>
                    <a:cubicBezTo>
                      <a:pt x="798" y="2859"/>
                      <a:pt x="5403" y="-670"/>
                      <a:pt x="10427" y="107"/>
                    </a:cubicBezTo>
                    <a:cubicBezTo>
                      <a:pt x="15451" y="825"/>
                      <a:pt x="18919" y="5490"/>
                      <a:pt x="18261" y="10514"/>
                    </a:cubicBezTo>
                    <a:cubicBezTo>
                      <a:pt x="17544" y="15538"/>
                      <a:pt x="12938" y="19066"/>
                      <a:pt x="7915" y="18289"/>
                    </a:cubicBezTo>
                    <a:cubicBezTo>
                      <a:pt x="2891" y="17571"/>
                      <a:pt x="-578" y="12906"/>
                      <a:pt x="80" y="7882"/>
                    </a:cubicBezTo>
                    <a:close/>
                  </a:path>
                </a:pathLst>
              </a:custGeom>
              <a:grpFill/>
              <a:ln w="5978" cap="flat">
                <a:noFill/>
                <a:prstDash val="solid"/>
                <a:miter/>
              </a:ln>
            </p:spPr>
            <p:txBody>
              <a:bodyPr rtlCol="0" anchor="ctr"/>
              <a:lstStyle/>
              <a:p>
                <a:endParaRPr lang="en-GB"/>
              </a:p>
            </p:txBody>
          </p:sp>
          <p:sp>
            <p:nvSpPr>
              <p:cNvPr id="3938" name="Vrije vorm: vorm 3937">
                <a:extLst>
                  <a:ext uri="{FF2B5EF4-FFF2-40B4-BE49-F238E27FC236}">
                    <a16:creationId xmlns:a16="http://schemas.microsoft.com/office/drawing/2014/main" id="{DE81A2C6-4F12-4F67-B569-9314912B8FDA}"/>
                  </a:ext>
                </a:extLst>
              </p:cNvPr>
              <p:cNvSpPr/>
              <p:nvPr/>
            </p:nvSpPr>
            <p:spPr>
              <a:xfrm>
                <a:off x="6294876" y="1622323"/>
                <a:ext cx="18366" cy="18382"/>
              </a:xfrm>
              <a:custGeom>
                <a:avLst/>
                <a:gdLst>
                  <a:gd name="connsiteX0" fmla="*/ 93 w 18366"/>
                  <a:gd name="connsiteY0" fmla="*/ 7882 h 18382"/>
                  <a:gd name="connsiteX1" fmla="*/ 7928 w 18366"/>
                  <a:gd name="connsiteY1" fmla="*/ 18289 h 18382"/>
                  <a:gd name="connsiteX2" fmla="*/ 18274 w 18366"/>
                  <a:gd name="connsiteY2" fmla="*/ 10514 h 18382"/>
                  <a:gd name="connsiteX3" fmla="*/ 10439 w 18366"/>
                  <a:gd name="connsiteY3" fmla="*/ 107 h 18382"/>
                  <a:gd name="connsiteX4" fmla="*/ 93 w 18366"/>
                  <a:gd name="connsiteY4" fmla="*/ 7882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382">
                    <a:moveTo>
                      <a:pt x="93" y="7882"/>
                    </a:moveTo>
                    <a:cubicBezTo>
                      <a:pt x="-625" y="12906"/>
                      <a:pt x="2904" y="17571"/>
                      <a:pt x="7928" y="18289"/>
                    </a:cubicBezTo>
                    <a:cubicBezTo>
                      <a:pt x="12951" y="19006"/>
                      <a:pt x="17556" y="15538"/>
                      <a:pt x="18274" y="10514"/>
                    </a:cubicBezTo>
                    <a:cubicBezTo>
                      <a:pt x="18992" y="5490"/>
                      <a:pt x="15463" y="825"/>
                      <a:pt x="10439" y="107"/>
                    </a:cubicBezTo>
                    <a:cubicBezTo>
                      <a:pt x="5415" y="-670"/>
                      <a:pt x="810" y="2859"/>
                      <a:pt x="93" y="7882"/>
                    </a:cubicBezTo>
                    <a:close/>
                  </a:path>
                </a:pathLst>
              </a:custGeom>
              <a:grpFill/>
              <a:ln w="5978" cap="flat">
                <a:noFill/>
                <a:prstDash val="solid"/>
                <a:miter/>
              </a:ln>
            </p:spPr>
            <p:txBody>
              <a:bodyPr rtlCol="0" anchor="ctr"/>
              <a:lstStyle/>
              <a:p>
                <a:endParaRPr lang="en-GB"/>
              </a:p>
            </p:txBody>
          </p:sp>
        </p:grpSp>
        <p:grpSp>
          <p:nvGrpSpPr>
            <p:cNvPr id="484" name="Graphic 3">
              <a:extLst>
                <a:ext uri="{FF2B5EF4-FFF2-40B4-BE49-F238E27FC236}">
                  <a16:creationId xmlns:a16="http://schemas.microsoft.com/office/drawing/2014/main" id="{AFFA061F-8D45-4725-A4D2-654FECF33949}"/>
                </a:ext>
              </a:extLst>
            </p:cNvPr>
            <p:cNvGrpSpPr/>
            <p:nvPr/>
          </p:nvGrpSpPr>
          <p:grpSpPr>
            <a:xfrm>
              <a:off x="6279673" y="1485367"/>
              <a:ext cx="88101" cy="273170"/>
              <a:chOff x="6279673" y="1485367"/>
              <a:chExt cx="88101" cy="273170"/>
            </a:xfrm>
            <a:grpFill/>
          </p:grpSpPr>
          <p:sp>
            <p:nvSpPr>
              <p:cNvPr id="3933" name="Vrije vorm: vorm 3932">
                <a:extLst>
                  <a:ext uri="{FF2B5EF4-FFF2-40B4-BE49-F238E27FC236}">
                    <a16:creationId xmlns:a16="http://schemas.microsoft.com/office/drawing/2014/main" id="{016D8D43-5A79-458E-A5A5-81E045E39E81}"/>
                  </a:ext>
                </a:extLst>
              </p:cNvPr>
              <p:cNvSpPr/>
              <p:nvPr/>
            </p:nvSpPr>
            <p:spPr>
              <a:xfrm>
                <a:off x="6287194" y="1493785"/>
                <a:ext cx="72964" cy="256393"/>
              </a:xfrm>
              <a:custGeom>
                <a:avLst/>
                <a:gdLst>
                  <a:gd name="connsiteX0" fmla="*/ 72965 w 72964"/>
                  <a:gd name="connsiteY0" fmla="*/ 837 h 256393"/>
                  <a:gd name="connsiteX1" fmla="*/ 2990 w 72964"/>
                  <a:gd name="connsiteY1" fmla="*/ 256394 h 256393"/>
                  <a:gd name="connsiteX2" fmla="*/ 0 w 72964"/>
                  <a:gd name="connsiteY2" fmla="*/ 255556 h 256393"/>
                  <a:gd name="connsiteX3" fmla="*/ 70034 w 72964"/>
                  <a:gd name="connsiteY3" fmla="*/ 0 h 256393"/>
                </a:gdLst>
                <a:ahLst/>
                <a:cxnLst>
                  <a:cxn ang="0">
                    <a:pos x="connsiteX0" y="connsiteY0"/>
                  </a:cxn>
                  <a:cxn ang="0">
                    <a:pos x="connsiteX1" y="connsiteY1"/>
                  </a:cxn>
                  <a:cxn ang="0">
                    <a:pos x="connsiteX2" y="connsiteY2"/>
                  </a:cxn>
                  <a:cxn ang="0">
                    <a:pos x="connsiteX3" y="connsiteY3"/>
                  </a:cxn>
                </a:cxnLst>
                <a:rect l="l" t="t" r="r" b="b"/>
                <a:pathLst>
                  <a:path w="72964" h="256393">
                    <a:moveTo>
                      <a:pt x="72965" y="837"/>
                    </a:moveTo>
                    <a:lnTo>
                      <a:pt x="2990" y="256394"/>
                    </a:lnTo>
                    <a:lnTo>
                      <a:pt x="0" y="255556"/>
                    </a:lnTo>
                    <a:lnTo>
                      <a:pt x="70034" y="0"/>
                    </a:lnTo>
                    <a:close/>
                  </a:path>
                </a:pathLst>
              </a:custGeom>
              <a:grpFill/>
              <a:ln w="5978" cap="flat">
                <a:noFill/>
                <a:prstDash val="solid"/>
                <a:miter/>
              </a:ln>
            </p:spPr>
            <p:txBody>
              <a:bodyPr rtlCol="0" anchor="ctr"/>
              <a:lstStyle/>
              <a:p>
                <a:endParaRPr lang="en-GB"/>
              </a:p>
            </p:txBody>
          </p:sp>
          <p:sp>
            <p:nvSpPr>
              <p:cNvPr id="3934" name="Vrije vorm: vorm 3933">
                <a:extLst>
                  <a:ext uri="{FF2B5EF4-FFF2-40B4-BE49-F238E27FC236}">
                    <a16:creationId xmlns:a16="http://schemas.microsoft.com/office/drawing/2014/main" id="{E3F8C81F-7FBA-4B0D-A2C1-CE5BDB766B9F}"/>
                  </a:ext>
                </a:extLst>
              </p:cNvPr>
              <p:cNvSpPr/>
              <p:nvPr/>
            </p:nvSpPr>
            <p:spPr>
              <a:xfrm>
                <a:off x="6279673" y="1740086"/>
                <a:ext cx="18306" cy="18451"/>
              </a:xfrm>
              <a:custGeom>
                <a:avLst/>
                <a:gdLst>
                  <a:gd name="connsiteX0" fmla="*/ 17987 w 18306"/>
                  <a:gd name="connsiteY0" fmla="*/ 11708 h 18451"/>
                  <a:gd name="connsiteX1" fmla="*/ 6743 w 18306"/>
                  <a:gd name="connsiteY1" fmla="*/ 18107 h 18451"/>
                  <a:gd name="connsiteX2" fmla="*/ 344 w 18306"/>
                  <a:gd name="connsiteY2" fmla="*/ 6744 h 18451"/>
                  <a:gd name="connsiteX3" fmla="*/ 11588 w 18306"/>
                  <a:gd name="connsiteY3" fmla="*/ 344 h 18451"/>
                  <a:gd name="connsiteX4" fmla="*/ 17987 w 18306"/>
                  <a:gd name="connsiteY4" fmla="*/ 1170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51">
                    <a:moveTo>
                      <a:pt x="17987" y="11708"/>
                    </a:moveTo>
                    <a:cubicBezTo>
                      <a:pt x="16672" y="16612"/>
                      <a:pt x="11588" y="19483"/>
                      <a:pt x="6743" y="18107"/>
                    </a:cubicBezTo>
                    <a:cubicBezTo>
                      <a:pt x="1840" y="16731"/>
                      <a:pt x="-1031" y="11648"/>
                      <a:pt x="344" y="6744"/>
                    </a:cubicBezTo>
                    <a:cubicBezTo>
                      <a:pt x="1660" y="1839"/>
                      <a:pt x="6743" y="-1031"/>
                      <a:pt x="11588" y="344"/>
                    </a:cubicBezTo>
                    <a:cubicBezTo>
                      <a:pt x="16433" y="1720"/>
                      <a:pt x="19303" y="6803"/>
                      <a:pt x="17987" y="11708"/>
                    </a:cubicBezTo>
                    <a:close/>
                  </a:path>
                </a:pathLst>
              </a:custGeom>
              <a:grpFill/>
              <a:ln w="5978" cap="flat">
                <a:noFill/>
                <a:prstDash val="solid"/>
                <a:miter/>
              </a:ln>
            </p:spPr>
            <p:txBody>
              <a:bodyPr rtlCol="0" anchor="ctr"/>
              <a:lstStyle/>
              <a:p>
                <a:endParaRPr lang="en-GB"/>
              </a:p>
            </p:txBody>
          </p:sp>
          <p:sp>
            <p:nvSpPr>
              <p:cNvPr id="3935" name="Vrije vorm: vorm 3934">
                <a:extLst>
                  <a:ext uri="{FF2B5EF4-FFF2-40B4-BE49-F238E27FC236}">
                    <a16:creationId xmlns:a16="http://schemas.microsoft.com/office/drawing/2014/main" id="{3F717B59-DE1B-432D-8690-A9837BB54063}"/>
                  </a:ext>
                </a:extLst>
              </p:cNvPr>
              <p:cNvSpPr/>
              <p:nvPr/>
            </p:nvSpPr>
            <p:spPr>
              <a:xfrm>
                <a:off x="6349492" y="1485367"/>
                <a:ext cx="18281" cy="18451"/>
              </a:xfrm>
              <a:custGeom>
                <a:avLst/>
                <a:gdLst>
                  <a:gd name="connsiteX0" fmla="*/ 17963 w 18281"/>
                  <a:gd name="connsiteY0" fmla="*/ 11708 h 18451"/>
                  <a:gd name="connsiteX1" fmla="*/ 11563 w 18281"/>
                  <a:gd name="connsiteY1" fmla="*/ 344 h 18451"/>
                  <a:gd name="connsiteX2" fmla="*/ 319 w 18281"/>
                  <a:gd name="connsiteY2" fmla="*/ 6744 h 18451"/>
                  <a:gd name="connsiteX3" fmla="*/ 6719 w 18281"/>
                  <a:gd name="connsiteY3" fmla="*/ 18107 h 18451"/>
                  <a:gd name="connsiteX4" fmla="*/ 17963 w 18281"/>
                  <a:gd name="connsiteY4" fmla="*/ 1170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1">
                    <a:moveTo>
                      <a:pt x="17963" y="11708"/>
                    </a:moveTo>
                    <a:cubicBezTo>
                      <a:pt x="19278" y="6803"/>
                      <a:pt x="16408" y="1720"/>
                      <a:pt x="11563" y="344"/>
                    </a:cubicBezTo>
                    <a:cubicBezTo>
                      <a:pt x="6659" y="-1031"/>
                      <a:pt x="1635" y="1839"/>
                      <a:pt x="319" y="6744"/>
                    </a:cubicBezTo>
                    <a:cubicBezTo>
                      <a:pt x="-997" y="11648"/>
                      <a:pt x="1874" y="16731"/>
                      <a:pt x="6719" y="18107"/>
                    </a:cubicBezTo>
                    <a:cubicBezTo>
                      <a:pt x="11563" y="19483"/>
                      <a:pt x="16587" y="16612"/>
                      <a:pt x="17963" y="11708"/>
                    </a:cubicBezTo>
                    <a:close/>
                  </a:path>
                </a:pathLst>
              </a:custGeom>
              <a:grpFill/>
              <a:ln w="5978" cap="flat">
                <a:noFill/>
                <a:prstDash val="solid"/>
                <a:miter/>
              </a:ln>
            </p:spPr>
            <p:txBody>
              <a:bodyPr rtlCol="0" anchor="ctr"/>
              <a:lstStyle/>
              <a:p>
                <a:endParaRPr lang="en-GB"/>
              </a:p>
            </p:txBody>
          </p:sp>
        </p:grpSp>
        <p:grpSp>
          <p:nvGrpSpPr>
            <p:cNvPr id="485" name="Graphic 3">
              <a:extLst>
                <a:ext uri="{FF2B5EF4-FFF2-40B4-BE49-F238E27FC236}">
                  <a16:creationId xmlns:a16="http://schemas.microsoft.com/office/drawing/2014/main" id="{ED6F6DB0-FB09-461C-8E47-38AC4D38F8ED}"/>
                </a:ext>
              </a:extLst>
            </p:cNvPr>
            <p:cNvGrpSpPr/>
            <p:nvPr/>
          </p:nvGrpSpPr>
          <p:grpSpPr>
            <a:xfrm>
              <a:off x="6339439" y="1672581"/>
              <a:ext cx="32825" cy="100172"/>
              <a:chOff x="6339439" y="1672581"/>
              <a:chExt cx="32825" cy="100172"/>
            </a:xfrm>
            <a:grpFill/>
          </p:grpSpPr>
          <p:sp>
            <p:nvSpPr>
              <p:cNvPr id="3930" name="Vrije vorm: vorm 3929">
                <a:extLst>
                  <a:ext uri="{FF2B5EF4-FFF2-40B4-BE49-F238E27FC236}">
                    <a16:creationId xmlns:a16="http://schemas.microsoft.com/office/drawing/2014/main" id="{068DB05D-0F45-4CE7-86B0-AEAA6E440376}"/>
                  </a:ext>
                </a:extLst>
              </p:cNvPr>
              <p:cNvSpPr/>
              <p:nvPr/>
            </p:nvSpPr>
            <p:spPr>
              <a:xfrm>
                <a:off x="6347001" y="1681101"/>
                <a:ext cx="17703" cy="83191"/>
              </a:xfrm>
              <a:custGeom>
                <a:avLst/>
                <a:gdLst>
                  <a:gd name="connsiteX0" fmla="*/ 17703 w 17703"/>
                  <a:gd name="connsiteY0" fmla="*/ 538 h 83191"/>
                  <a:gd name="connsiteX1" fmla="*/ 3050 w 17703"/>
                  <a:gd name="connsiteY1" fmla="*/ 83192 h 83191"/>
                  <a:gd name="connsiteX2" fmla="*/ 0 w 17703"/>
                  <a:gd name="connsiteY2" fmla="*/ 82654 h 83191"/>
                  <a:gd name="connsiteX3" fmla="*/ 14713 w 17703"/>
                  <a:gd name="connsiteY3" fmla="*/ 0 h 83191"/>
                </a:gdLst>
                <a:ahLst/>
                <a:cxnLst>
                  <a:cxn ang="0">
                    <a:pos x="connsiteX0" y="connsiteY0"/>
                  </a:cxn>
                  <a:cxn ang="0">
                    <a:pos x="connsiteX1" y="connsiteY1"/>
                  </a:cxn>
                  <a:cxn ang="0">
                    <a:pos x="connsiteX2" y="connsiteY2"/>
                  </a:cxn>
                  <a:cxn ang="0">
                    <a:pos x="connsiteX3" y="connsiteY3"/>
                  </a:cxn>
                </a:cxnLst>
                <a:rect l="l" t="t" r="r" b="b"/>
                <a:pathLst>
                  <a:path w="17703" h="83191">
                    <a:moveTo>
                      <a:pt x="17703" y="538"/>
                    </a:moveTo>
                    <a:lnTo>
                      <a:pt x="3050" y="83192"/>
                    </a:lnTo>
                    <a:lnTo>
                      <a:pt x="0" y="82654"/>
                    </a:lnTo>
                    <a:lnTo>
                      <a:pt x="14713" y="0"/>
                    </a:lnTo>
                    <a:close/>
                  </a:path>
                </a:pathLst>
              </a:custGeom>
              <a:grpFill/>
              <a:ln w="5978" cap="flat">
                <a:noFill/>
                <a:prstDash val="solid"/>
                <a:miter/>
              </a:ln>
            </p:spPr>
            <p:txBody>
              <a:bodyPr rtlCol="0" anchor="ctr"/>
              <a:lstStyle/>
              <a:p>
                <a:endParaRPr lang="en-GB"/>
              </a:p>
            </p:txBody>
          </p:sp>
          <p:sp>
            <p:nvSpPr>
              <p:cNvPr id="3931" name="Vrije vorm: vorm 3930">
                <a:extLst>
                  <a:ext uri="{FF2B5EF4-FFF2-40B4-BE49-F238E27FC236}">
                    <a16:creationId xmlns:a16="http://schemas.microsoft.com/office/drawing/2014/main" id="{A828E6AC-8A49-4A6A-AE6D-283BA6D55605}"/>
                  </a:ext>
                </a:extLst>
              </p:cNvPr>
              <p:cNvSpPr/>
              <p:nvPr/>
            </p:nvSpPr>
            <p:spPr>
              <a:xfrm>
                <a:off x="6353928" y="1672581"/>
                <a:ext cx="18337" cy="18416"/>
              </a:xfrm>
              <a:custGeom>
                <a:avLst/>
                <a:gdLst>
                  <a:gd name="connsiteX0" fmla="*/ 130 w 18337"/>
                  <a:gd name="connsiteY0" fmla="*/ 7563 h 18416"/>
                  <a:gd name="connsiteX1" fmla="*/ 10776 w 18337"/>
                  <a:gd name="connsiteY1" fmla="*/ 147 h 18416"/>
                  <a:gd name="connsiteX2" fmla="*/ 18192 w 18337"/>
                  <a:gd name="connsiteY2" fmla="*/ 10853 h 18416"/>
                  <a:gd name="connsiteX3" fmla="*/ 7546 w 18337"/>
                  <a:gd name="connsiteY3" fmla="*/ 18269 h 18416"/>
                  <a:gd name="connsiteX4" fmla="*/ 130 w 18337"/>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6">
                    <a:moveTo>
                      <a:pt x="130" y="7563"/>
                    </a:moveTo>
                    <a:cubicBezTo>
                      <a:pt x="1027" y="2540"/>
                      <a:pt x="5752" y="-750"/>
                      <a:pt x="10776" y="147"/>
                    </a:cubicBezTo>
                    <a:cubicBezTo>
                      <a:pt x="15740" y="1044"/>
                      <a:pt x="19089" y="5829"/>
                      <a:pt x="18192" y="10853"/>
                    </a:cubicBezTo>
                    <a:cubicBezTo>
                      <a:pt x="17295" y="15877"/>
                      <a:pt x="12570" y="19166"/>
                      <a:pt x="7546" y="18269"/>
                    </a:cubicBezTo>
                    <a:cubicBezTo>
                      <a:pt x="2582" y="17372"/>
                      <a:pt x="-707" y="12587"/>
                      <a:pt x="130" y="7563"/>
                    </a:cubicBezTo>
                    <a:close/>
                  </a:path>
                </a:pathLst>
              </a:custGeom>
              <a:grpFill/>
              <a:ln w="5978" cap="flat">
                <a:noFill/>
                <a:prstDash val="solid"/>
                <a:miter/>
              </a:ln>
            </p:spPr>
            <p:txBody>
              <a:bodyPr rtlCol="0" anchor="ctr"/>
              <a:lstStyle/>
              <a:p>
                <a:endParaRPr lang="en-GB"/>
              </a:p>
            </p:txBody>
          </p:sp>
          <p:sp>
            <p:nvSpPr>
              <p:cNvPr id="3932" name="Vrije vorm: vorm 3931">
                <a:extLst>
                  <a:ext uri="{FF2B5EF4-FFF2-40B4-BE49-F238E27FC236}">
                    <a16:creationId xmlns:a16="http://schemas.microsoft.com/office/drawing/2014/main" id="{6346807B-28C7-490C-9875-09C7D3F15745}"/>
                  </a:ext>
                </a:extLst>
              </p:cNvPr>
              <p:cNvSpPr/>
              <p:nvPr/>
            </p:nvSpPr>
            <p:spPr>
              <a:xfrm>
                <a:off x="6339439" y="1754339"/>
                <a:ext cx="18352" cy="18414"/>
              </a:xfrm>
              <a:custGeom>
                <a:avLst/>
                <a:gdLst>
                  <a:gd name="connsiteX0" fmla="*/ 145 w 18352"/>
                  <a:gd name="connsiteY0" fmla="*/ 7561 h 18414"/>
                  <a:gd name="connsiteX1" fmla="*/ 7561 w 18352"/>
                  <a:gd name="connsiteY1" fmla="*/ 18267 h 18414"/>
                  <a:gd name="connsiteX2" fmla="*/ 18207 w 18352"/>
                  <a:gd name="connsiteY2" fmla="*/ 10851 h 18414"/>
                  <a:gd name="connsiteX3" fmla="*/ 10791 w 18352"/>
                  <a:gd name="connsiteY3" fmla="*/ 145 h 18414"/>
                  <a:gd name="connsiteX4" fmla="*/ 145 w 18352"/>
                  <a:gd name="connsiteY4" fmla="*/ 7561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145" y="7561"/>
                    </a:moveTo>
                    <a:cubicBezTo>
                      <a:pt x="-752" y="12585"/>
                      <a:pt x="2598" y="17370"/>
                      <a:pt x="7561" y="18267"/>
                    </a:cubicBezTo>
                    <a:cubicBezTo>
                      <a:pt x="12525" y="19164"/>
                      <a:pt x="17310" y="15875"/>
                      <a:pt x="18207" y="10851"/>
                    </a:cubicBezTo>
                    <a:cubicBezTo>
                      <a:pt x="19104" y="5827"/>
                      <a:pt x="15755" y="1043"/>
                      <a:pt x="10791" y="145"/>
                    </a:cubicBezTo>
                    <a:cubicBezTo>
                      <a:pt x="5827" y="-752"/>
                      <a:pt x="1043" y="2597"/>
                      <a:pt x="145" y="7561"/>
                    </a:cubicBezTo>
                    <a:close/>
                  </a:path>
                </a:pathLst>
              </a:custGeom>
              <a:grpFill/>
              <a:ln w="5978" cap="flat">
                <a:noFill/>
                <a:prstDash val="solid"/>
                <a:miter/>
              </a:ln>
            </p:spPr>
            <p:txBody>
              <a:bodyPr rtlCol="0" anchor="ctr"/>
              <a:lstStyle/>
              <a:p>
                <a:endParaRPr lang="en-GB"/>
              </a:p>
            </p:txBody>
          </p:sp>
        </p:grpSp>
        <p:grpSp>
          <p:nvGrpSpPr>
            <p:cNvPr id="486" name="Graphic 3">
              <a:extLst>
                <a:ext uri="{FF2B5EF4-FFF2-40B4-BE49-F238E27FC236}">
                  <a16:creationId xmlns:a16="http://schemas.microsoft.com/office/drawing/2014/main" id="{B696530B-1564-4873-B8DF-0662B981A3D0}"/>
                </a:ext>
              </a:extLst>
            </p:cNvPr>
            <p:cNvGrpSpPr/>
            <p:nvPr/>
          </p:nvGrpSpPr>
          <p:grpSpPr>
            <a:xfrm>
              <a:off x="7257444" y="4589854"/>
              <a:ext cx="96449" cy="94616"/>
              <a:chOff x="7257444" y="4589854"/>
              <a:chExt cx="96449" cy="94616"/>
            </a:xfrm>
            <a:grpFill/>
          </p:grpSpPr>
          <p:sp>
            <p:nvSpPr>
              <p:cNvPr id="3927" name="Vrije vorm: vorm 3926">
                <a:extLst>
                  <a:ext uri="{FF2B5EF4-FFF2-40B4-BE49-F238E27FC236}">
                    <a16:creationId xmlns:a16="http://schemas.microsoft.com/office/drawing/2014/main" id="{1DB7848A-0109-46B8-AAB5-DAA6B3CD7588}"/>
                  </a:ext>
                </a:extLst>
              </p:cNvPr>
              <p:cNvSpPr/>
              <p:nvPr/>
            </p:nvSpPr>
            <p:spPr>
              <a:xfrm>
                <a:off x="7265221" y="4597600"/>
                <a:ext cx="80919" cy="79124"/>
              </a:xfrm>
              <a:custGeom>
                <a:avLst/>
                <a:gdLst>
                  <a:gd name="connsiteX0" fmla="*/ 80919 w 80919"/>
                  <a:gd name="connsiteY0" fmla="*/ 76912 h 79124"/>
                  <a:gd name="connsiteX1" fmla="*/ 78826 w 80919"/>
                  <a:gd name="connsiteY1" fmla="*/ 79125 h 79124"/>
                  <a:gd name="connsiteX2" fmla="*/ 0 w 80919"/>
                  <a:gd name="connsiteY2" fmla="*/ 2213 h 79124"/>
                  <a:gd name="connsiteX3" fmla="*/ 2094 w 80919"/>
                  <a:gd name="connsiteY3" fmla="*/ 0 h 79124"/>
                </a:gdLst>
                <a:ahLst/>
                <a:cxnLst>
                  <a:cxn ang="0">
                    <a:pos x="connsiteX0" y="connsiteY0"/>
                  </a:cxn>
                  <a:cxn ang="0">
                    <a:pos x="connsiteX1" y="connsiteY1"/>
                  </a:cxn>
                  <a:cxn ang="0">
                    <a:pos x="connsiteX2" y="connsiteY2"/>
                  </a:cxn>
                  <a:cxn ang="0">
                    <a:pos x="connsiteX3" y="connsiteY3"/>
                  </a:cxn>
                </a:cxnLst>
                <a:rect l="l" t="t" r="r" b="b"/>
                <a:pathLst>
                  <a:path w="80919" h="79124">
                    <a:moveTo>
                      <a:pt x="80919" y="76912"/>
                    </a:moveTo>
                    <a:lnTo>
                      <a:pt x="78826" y="79125"/>
                    </a:lnTo>
                    <a:lnTo>
                      <a:pt x="0" y="2213"/>
                    </a:lnTo>
                    <a:lnTo>
                      <a:pt x="2094" y="0"/>
                    </a:lnTo>
                    <a:close/>
                  </a:path>
                </a:pathLst>
              </a:custGeom>
              <a:grpFill/>
              <a:ln w="5978" cap="flat">
                <a:noFill/>
                <a:prstDash val="solid"/>
                <a:miter/>
              </a:ln>
            </p:spPr>
            <p:txBody>
              <a:bodyPr rtlCol="0" anchor="ctr"/>
              <a:lstStyle/>
              <a:p>
                <a:endParaRPr lang="en-GB"/>
              </a:p>
            </p:txBody>
          </p:sp>
          <p:sp>
            <p:nvSpPr>
              <p:cNvPr id="3928" name="Vrije vorm: vorm 3927">
                <a:extLst>
                  <a:ext uri="{FF2B5EF4-FFF2-40B4-BE49-F238E27FC236}">
                    <a16:creationId xmlns:a16="http://schemas.microsoft.com/office/drawing/2014/main" id="{33238BEA-6690-4862-9124-1352ED8136C9}"/>
                  </a:ext>
                </a:extLst>
              </p:cNvPr>
              <p:cNvSpPr/>
              <p:nvPr/>
            </p:nvSpPr>
            <p:spPr>
              <a:xfrm>
                <a:off x="7335576" y="4666049"/>
                <a:ext cx="18318" cy="18422"/>
              </a:xfrm>
              <a:custGeom>
                <a:avLst/>
                <a:gdLst>
                  <a:gd name="connsiteX0" fmla="*/ 15529 w 18318"/>
                  <a:gd name="connsiteY0" fmla="*/ 2602 h 18422"/>
                  <a:gd name="connsiteX1" fmla="*/ 15768 w 18318"/>
                  <a:gd name="connsiteY1" fmla="*/ 15640 h 18422"/>
                  <a:gd name="connsiteX2" fmla="*/ 2790 w 18318"/>
                  <a:gd name="connsiteY2" fmla="*/ 15820 h 18422"/>
                  <a:gd name="connsiteX3" fmla="*/ 2550 w 18318"/>
                  <a:gd name="connsiteY3" fmla="*/ 2782 h 18422"/>
                  <a:gd name="connsiteX4" fmla="*/ 15529 w 18318"/>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2">
                    <a:moveTo>
                      <a:pt x="15529" y="2602"/>
                    </a:moveTo>
                    <a:cubicBezTo>
                      <a:pt x="19177" y="6131"/>
                      <a:pt x="19237" y="11992"/>
                      <a:pt x="15768" y="15640"/>
                    </a:cubicBezTo>
                    <a:cubicBezTo>
                      <a:pt x="12239" y="19289"/>
                      <a:pt x="6438" y="19348"/>
                      <a:pt x="2790" y="15820"/>
                    </a:cubicBezTo>
                    <a:cubicBezTo>
                      <a:pt x="-859" y="12291"/>
                      <a:pt x="-918" y="6430"/>
                      <a:pt x="2550" y="2782"/>
                    </a:cubicBezTo>
                    <a:cubicBezTo>
                      <a:pt x="6079" y="-866"/>
                      <a:pt x="11880" y="-926"/>
                      <a:pt x="15529" y="2602"/>
                    </a:cubicBezTo>
                    <a:close/>
                  </a:path>
                </a:pathLst>
              </a:custGeom>
              <a:grpFill/>
              <a:ln w="5978" cap="flat">
                <a:noFill/>
                <a:prstDash val="solid"/>
                <a:miter/>
              </a:ln>
            </p:spPr>
            <p:txBody>
              <a:bodyPr rtlCol="0" anchor="ctr"/>
              <a:lstStyle/>
              <a:p>
                <a:endParaRPr lang="en-GB"/>
              </a:p>
            </p:txBody>
          </p:sp>
          <p:sp>
            <p:nvSpPr>
              <p:cNvPr id="3929" name="Vrije vorm: vorm 3928">
                <a:extLst>
                  <a:ext uri="{FF2B5EF4-FFF2-40B4-BE49-F238E27FC236}">
                    <a16:creationId xmlns:a16="http://schemas.microsoft.com/office/drawing/2014/main" id="{66E14ADF-7F1A-46DE-8770-34FC2CF65614}"/>
                  </a:ext>
                </a:extLst>
              </p:cNvPr>
              <p:cNvSpPr/>
              <p:nvPr/>
            </p:nvSpPr>
            <p:spPr>
              <a:xfrm>
                <a:off x="7257444" y="4589854"/>
                <a:ext cx="18319" cy="18422"/>
              </a:xfrm>
              <a:custGeom>
                <a:avLst/>
                <a:gdLst>
                  <a:gd name="connsiteX0" fmla="*/ 15552 w 18319"/>
                  <a:gd name="connsiteY0" fmla="*/ 2602 h 18422"/>
                  <a:gd name="connsiteX1" fmla="*/ 2573 w 18319"/>
                  <a:gd name="connsiteY1" fmla="*/ 2782 h 18422"/>
                  <a:gd name="connsiteX2" fmla="*/ 2813 w 18319"/>
                  <a:gd name="connsiteY2" fmla="*/ 15820 h 18422"/>
                  <a:gd name="connsiteX3" fmla="*/ 15791 w 18319"/>
                  <a:gd name="connsiteY3" fmla="*/ 15640 h 18422"/>
                  <a:gd name="connsiteX4" fmla="*/ 15552 w 18319"/>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2">
                    <a:moveTo>
                      <a:pt x="15552" y="2602"/>
                    </a:moveTo>
                    <a:cubicBezTo>
                      <a:pt x="11903" y="-926"/>
                      <a:pt x="6102" y="-866"/>
                      <a:pt x="2573" y="2782"/>
                    </a:cubicBezTo>
                    <a:cubicBezTo>
                      <a:pt x="-955" y="6430"/>
                      <a:pt x="-836" y="12231"/>
                      <a:pt x="2813" y="15820"/>
                    </a:cubicBezTo>
                    <a:cubicBezTo>
                      <a:pt x="6461" y="19348"/>
                      <a:pt x="12262" y="19289"/>
                      <a:pt x="15791" y="15640"/>
                    </a:cubicBezTo>
                    <a:cubicBezTo>
                      <a:pt x="19260" y="11992"/>
                      <a:pt x="19140" y="6131"/>
                      <a:pt x="15552" y="2602"/>
                    </a:cubicBezTo>
                    <a:close/>
                  </a:path>
                </a:pathLst>
              </a:custGeom>
              <a:grpFill/>
              <a:ln w="5978" cap="flat">
                <a:noFill/>
                <a:prstDash val="solid"/>
                <a:miter/>
              </a:ln>
            </p:spPr>
            <p:txBody>
              <a:bodyPr rtlCol="0" anchor="ctr"/>
              <a:lstStyle/>
              <a:p>
                <a:endParaRPr lang="en-GB"/>
              </a:p>
            </p:txBody>
          </p:sp>
        </p:grpSp>
        <p:grpSp>
          <p:nvGrpSpPr>
            <p:cNvPr id="487" name="Graphic 3">
              <a:extLst>
                <a:ext uri="{FF2B5EF4-FFF2-40B4-BE49-F238E27FC236}">
                  <a16:creationId xmlns:a16="http://schemas.microsoft.com/office/drawing/2014/main" id="{FBA582F7-C406-48B2-86C9-18005AF1E718}"/>
                </a:ext>
              </a:extLst>
            </p:cNvPr>
            <p:cNvGrpSpPr/>
            <p:nvPr/>
          </p:nvGrpSpPr>
          <p:grpSpPr>
            <a:xfrm>
              <a:off x="7314381" y="4740784"/>
              <a:ext cx="100539" cy="104809"/>
              <a:chOff x="7314381" y="4740784"/>
              <a:chExt cx="100539" cy="104809"/>
            </a:xfrm>
            <a:grpFill/>
          </p:grpSpPr>
          <p:sp>
            <p:nvSpPr>
              <p:cNvPr id="3924" name="Vrije vorm: vorm 3923">
                <a:extLst>
                  <a:ext uri="{FF2B5EF4-FFF2-40B4-BE49-F238E27FC236}">
                    <a16:creationId xmlns:a16="http://schemas.microsoft.com/office/drawing/2014/main" id="{2E6E2AE2-F7C5-4E82-BB16-A6B6EDB0E3C0}"/>
                  </a:ext>
                </a:extLst>
              </p:cNvPr>
              <p:cNvSpPr/>
              <p:nvPr/>
            </p:nvSpPr>
            <p:spPr>
              <a:xfrm>
                <a:off x="7322098" y="4748613"/>
                <a:ext cx="85046" cy="89172"/>
              </a:xfrm>
              <a:custGeom>
                <a:avLst/>
                <a:gdLst>
                  <a:gd name="connsiteX0" fmla="*/ 85046 w 85046"/>
                  <a:gd name="connsiteY0" fmla="*/ 87079 h 89172"/>
                  <a:gd name="connsiteX1" fmla="*/ 82834 w 85046"/>
                  <a:gd name="connsiteY1" fmla="*/ 89172 h 89172"/>
                  <a:gd name="connsiteX2" fmla="*/ 0 w 85046"/>
                  <a:gd name="connsiteY2" fmla="*/ 2153 h 89172"/>
                  <a:gd name="connsiteX3" fmla="*/ 2213 w 85046"/>
                  <a:gd name="connsiteY3" fmla="*/ 0 h 89172"/>
                </a:gdLst>
                <a:ahLst/>
                <a:cxnLst>
                  <a:cxn ang="0">
                    <a:pos x="connsiteX0" y="connsiteY0"/>
                  </a:cxn>
                  <a:cxn ang="0">
                    <a:pos x="connsiteX1" y="connsiteY1"/>
                  </a:cxn>
                  <a:cxn ang="0">
                    <a:pos x="connsiteX2" y="connsiteY2"/>
                  </a:cxn>
                  <a:cxn ang="0">
                    <a:pos x="connsiteX3" y="connsiteY3"/>
                  </a:cxn>
                </a:cxnLst>
                <a:rect l="l" t="t" r="r" b="b"/>
                <a:pathLst>
                  <a:path w="85046" h="89172">
                    <a:moveTo>
                      <a:pt x="85046" y="87079"/>
                    </a:moveTo>
                    <a:lnTo>
                      <a:pt x="82834" y="89172"/>
                    </a:lnTo>
                    <a:lnTo>
                      <a:pt x="0" y="2153"/>
                    </a:lnTo>
                    <a:lnTo>
                      <a:pt x="2213" y="0"/>
                    </a:lnTo>
                    <a:close/>
                  </a:path>
                </a:pathLst>
              </a:custGeom>
              <a:grpFill/>
              <a:ln w="5978" cap="flat">
                <a:noFill/>
                <a:prstDash val="solid"/>
                <a:miter/>
              </a:ln>
            </p:spPr>
            <p:txBody>
              <a:bodyPr rtlCol="0" anchor="ctr"/>
              <a:lstStyle/>
              <a:p>
                <a:endParaRPr lang="en-GB"/>
              </a:p>
            </p:txBody>
          </p:sp>
          <p:sp>
            <p:nvSpPr>
              <p:cNvPr id="3925" name="Vrije vorm: vorm 3924">
                <a:extLst>
                  <a:ext uri="{FF2B5EF4-FFF2-40B4-BE49-F238E27FC236}">
                    <a16:creationId xmlns:a16="http://schemas.microsoft.com/office/drawing/2014/main" id="{3B450E1D-E607-4350-A37F-067D4CAC5B0C}"/>
                  </a:ext>
                </a:extLst>
              </p:cNvPr>
              <p:cNvSpPr/>
              <p:nvPr/>
            </p:nvSpPr>
            <p:spPr>
              <a:xfrm>
                <a:off x="7396556" y="4827167"/>
                <a:ext cx="18364" cy="18426"/>
              </a:xfrm>
              <a:custGeom>
                <a:avLst/>
                <a:gdLst>
                  <a:gd name="connsiteX0" fmla="*/ 15791 w 18364"/>
                  <a:gd name="connsiteY0" fmla="*/ 2844 h 18426"/>
                  <a:gd name="connsiteX1" fmla="*/ 15552 w 18364"/>
                  <a:gd name="connsiteY1" fmla="*/ 15882 h 18426"/>
                  <a:gd name="connsiteX2" fmla="*/ 2573 w 18364"/>
                  <a:gd name="connsiteY2" fmla="*/ 15583 h 18426"/>
                  <a:gd name="connsiteX3" fmla="*/ 2813 w 18364"/>
                  <a:gd name="connsiteY3" fmla="*/ 2545 h 18426"/>
                  <a:gd name="connsiteX4" fmla="*/ 15791 w 18364"/>
                  <a:gd name="connsiteY4" fmla="*/ 284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15791" y="2844"/>
                    </a:moveTo>
                    <a:cubicBezTo>
                      <a:pt x="19319" y="6552"/>
                      <a:pt x="19200" y="12353"/>
                      <a:pt x="15552" y="15882"/>
                    </a:cubicBezTo>
                    <a:cubicBezTo>
                      <a:pt x="11903" y="19410"/>
                      <a:pt x="6102" y="19231"/>
                      <a:pt x="2573" y="15583"/>
                    </a:cubicBezTo>
                    <a:cubicBezTo>
                      <a:pt x="-955" y="11875"/>
                      <a:pt x="-836" y="6073"/>
                      <a:pt x="2813" y="2545"/>
                    </a:cubicBezTo>
                    <a:cubicBezTo>
                      <a:pt x="6461" y="-984"/>
                      <a:pt x="12262" y="-804"/>
                      <a:pt x="15791" y="2844"/>
                    </a:cubicBezTo>
                    <a:close/>
                  </a:path>
                </a:pathLst>
              </a:custGeom>
              <a:grpFill/>
              <a:ln w="5978" cap="flat">
                <a:noFill/>
                <a:prstDash val="solid"/>
                <a:miter/>
              </a:ln>
            </p:spPr>
            <p:txBody>
              <a:bodyPr rtlCol="0" anchor="ctr"/>
              <a:lstStyle/>
              <a:p>
                <a:endParaRPr lang="en-GB"/>
              </a:p>
            </p:txBody>
          </p:sp>
          <p:sp>
            <p:nvSpPr>
              <p:cNvPr id="3926" name="Vrije vorm: vorm 3925">
                <a:extLst>
                  <a:ext uri="{FF2B5EF4-FFF2-40B4-BE49-F238E27FC236}">
                    <a16:creationId xmlns:a16="http://schemas.microsoft.com/office/drawing/2014/main" id="{96F06D23-8015-4136-BFCF-CDA845245D2F}"/>
                  </a:ext>
                </a:extLst>
              </p:cNvPr>
              <p:cNvSpPr/>
              <p:nvPr/>
            </p:nvSpPr>
            <p:spPr>
              <a:xfrm>
                <a:off x="7314381" y="4740784"/>
                <a:ext cx="18319" cy="18470"/>
              </a:xfrm>
              <a:custGeom>
                <a:avLst/>
                <a:gdLst>
                  <a:gd name="connsiteX0" fmla="*/ 15791 w 18319"/>
                  <a:gd name="connsiteY0" fmla="*/ 2866 h 18470"/>
                  <a:gd name="connsiteX1" fmla="*/ 2813 w 18319"/>
                  <a:gd name="connsiteY1" fmla="*/ 2567 h 18470"/>
                  <a:gd name="connsiteX2" fmla="*/ 2573 w 18319"/>
                  <a:gd name="connsiteY2" fmla="*/ 15605 h 18470"/>
                  <a:gd name="connsiteX3" fmla="*/ 15552 w 18319"/>
                  <a:gd name="connsiteY3" fmla="*/ 15903 h 18470"/>
                  <a:gd name="connsiteX4" fmla="*/ 15791 w 18319"/>
                  <a:gd name="connsiteY4" fmla="*/ 286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5791" y="2866"/>
                    </a:moveTo>
                    <a:cubicBezTo>
                      <a:pt x="12262" y="-842"/>
                      <a:pt x="6461" y="-962"/>
                      <a:pt x="2813" y="2567"/>
                    </a:cubicBezTo>
                    <a:cubicBezTo>
                      <a:pt x="-836" y="6095"/>
                      <a:pt x="-955" y="11897"/>
                      <a:pt x="2573" y="15605"/>
                    </a:cubicBezTo>
                    <a:cubicBezTo>
                      <a:pt x="6102" y="19313"/>
                      <a:pt x="11903" y="19432"/>
                      <a:pt x="15552" y="15903"/>
                    </a:cubicBezTo>
                    <a:cubicBezTo>
                      <a:pt x="19140" y="12375"/>
                      <a:pt x="19260" y="6574"/>
                      <a:pt x="15791" y="2866"/>
                    </a:cubicBezTo>
                    <a:close/>
                  </a:path>
                </a:pathLst>
              </a:custGeom>
              <a:grpFill/>
              <a:ln w="5978" cap="flat">
                <a:noFill/>
                <a:prstDash val="solid"/>
                <a:miter/>
              </a:ln>
            </p:spPr>
            <p:txBody>
              <a:bodyPr rtlCol="0" anchor="ctr"/>
              <a:lstStyle/>
              <a:p>
                <a:endParaRPr lang="en-GB"/>
              </a:p>
            </p:txBody>
          </p:sp>
        </p:grpSp>
        <p:grpSp>
          <p:nvGrpSpPr>
            <p:cNvPr id="488" name="Graphic 3">
              <a:extLst>
                <a:ext uri="{FF2B5EF4-FFF2-40B4-BE49-F238E27FC236}">
                  <a16:creationId xmlns:a16="http://schemas.microsoft.com/office/drawing/2014/main" id="{2CF32E71-150E-4AA4-8B29-45650101ACB9}"/>
                </a:ext>
              </a:extLst>
            </p:cNvPr>
            <p:cNvGrpSpPr/>
            <p:nvPr/>
          </p:nvGrpSpPr>
          <p:grpSpPr>
            <a:xfrm>
              <a:off x="7267906" y="4556538"/>
              <a:ext cx="68349" cy="65438"/>
              <a:chOff x="7267906" y="4556538"/>
              <a:chExt cx="68349" cy="65438"/>
            </a:xfrm>
            <a:grpFill/>
          </p:grpSpPr>
          <p:sp>
            <p:nvSpPr>
              <p:cNvPr id="3921" name="Vrije vorm: vorm 3920">
                <a:extLst>
                  <a:ext uri="{FF2B5EF4-FFF2-40B4-BE49-F238E27FC236}">
                    <a16:creationId xmlns:a16="http://schemas.microsoft.com/office/drawing/2014/main" id="{E661F096-725D-43C8-A514-284636FB4E9E}"/>
                  </a:ext>
                </a:extLst>
              </p:cNvPr>
              <p:cNvSpPr/>
              <p:nvPr/>
            </p:nvSpPr>
            <p:spPr>
              <a:xfrm>
                <a:off x="7275747" y="4564347"/>
                <a:ext cx="52690" cy="49819"/>
              </a:xfrm>
              <a:custGeom>
                <a:avLst/>
                <a:gdLst>
                  <a:gd name="connsiteX0" fmla="*/ 52691 w 52690"/>
                  <a:gd name="connsiteY0" fmla="*/ 47606 h 49819"/>
                  <a:gd name="connsiteX1" fmla="*/ 50657 w 52690"/>
                  <a:gd name="connsiteY1" fmla="*/ 49819 h 49819"/>
                  <a:gd name="connsiteX2" fmla="*/ 0 w 52690"/>
                  <a:gd name="connsiteY2" fmla="*/ 2213 h 49819"/>
                  <a:gd name="connsiteX3" fmla="*/ 2034 w 52690"/>
                  <a:gd name="connsiteY3" fmla="*/ 0 h 49819"/>
                </a:gdLst>
                <a:ahLst/>
                <a:cxnLst>
                  <a:cxn ang="0">
                    <a:pos x="connsiteX0" y="connsiteY0"/>
                  </a:cxn>
                  <a:cxn ang="0">
                    <a:pos x="connsiteX1" y="connsiteY1"/>
                  </a:cxn>
                  <a:cxn ang="0">
                    <a:pos x="connsiteX2" y="connsiteY2"/>
                  </a:cxn>
                  <a:cxn ang="0">
                    <a:pos x="connsiteX3" y="connsiteY3"/>
                  </a:cxn>
                </a:cxnLst>
                <a:rect l="l" t="t" r="r" b="b"/>
                <a:pathLst>
                  <a:path w="52690" h="49819">
                    <a:moveTo>
                      <a:pt x="52691" y="47606"/>
                    </a:moveTo>
                    <a:lnTo>
                      <a:pt x="50657" y="49819"/>
                    </a:lnTo>
                    <a:lnTo>
                      <a:pt x="0" y="2213"/>
                    </a:lnTo>
                    <a:lnTo>
                      <a:pt x="2034" y="0"/>
                    </a:lnTo>
                    <a:close/>
                  </a:path>
                </a:pathLst>
              </a:custGeom>
              <a:grpFill/>
              <a:ln w="5978" cap="flat">
                <a:noFill/>
                <a:prstDash val="solid"/>
                <a:miter/>
              </a:ln>
            </p:spPr>
            <p:txBody>
              <a:bodyPr rtlCol="0" anchor="ctr"/>
              <a:lstStyle/>
              <a:p>
                <a:endParaRPr lang="en-GB"/>
              </a:p>
            </p:txBody>
          </p:sp>
          <p:sp>
            <p:nvSpPr>
              <p:cNvPr id="3922" name="Vrije vorm: vorm 3921">
                <a:extLst>
                  <a:ext uri="{FF2B5EF4-FFF2-40B4-BE49-F238E27FC236}">
                    <a16:creationId xmlns:a16="http://schemas.microsoft.com/office/drawing/2014/main" id="{5758E04C-6DB2-4DD7-A229-6B45D9695F10}"/>
                  </a:ext>
                </a:extLst>
              </p:cNvPr>
              <p:cNvSpPr/>
              <p:nvPr/>
            </p:nvSpPr>
            <p:spPr>
              <a:xfrm>
                <a:off x="7317928" y="4603546"/>
                <a:ext cx="18327" cy="18429"/>
              </a:xfrm>
              <a:custGeom>
                <a:avLst/>
                <a:gdLst>
                  <a:gd name="connsiteX0" fmla="*/ 15413 w 18327"/>
                  <a:gd name="connsiteY0" fmla="*/ 2487 h 18429"/>
                  <a:gd name="connsiteX1" fmla="*/ 15892 w 18327"/>
                  <a:gd name="connsiteY1" fmla="*/ 15525 h 18429"/>
                  <a:gd name="connsiteX2" fmla="*/ 2914 w 18327"/>
                  <a:gd name="connsiteY2" fmla="*/ 15943 h 18429"/>
                  <a:gd name="connsiteX3" fmla="*/ 2436 w 18327"/>
                  <a:gd name="connsiteY3" fmla="*/ 2905 h 18429"/>
                  <a:gd name="connsiteX4" fmla="*/ 15413 w 18327"/>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5413" y="2487"/>
                    </a:moveTo>
                    <a:cubicBezTo>
                      <a:pt x="19121" y="5956"/>
                      <a:pt x="19301" y="11817"/>
                      <a:pt x="15892" y="15525"/>
                    </a:cubicBezTo>
                    <a:cubicBezTo>
                      <a:pt x="12423" y="19233"/>
                      <a:pt x="6622" y="19412"/>
                      <a:pt x="2914" y="15943"/>
                    </a:cubicBezTo>
                    <a:cubicBezTo>
                      <a:pt x="-794" y="12474"/>
                      <a:pt x="-974" y="6613"/>
                      <a:pt x="2436" y="2905"/>
                    </a:cubicBezTo>
                    <a:cubicBezTo>
                      <a:pt x="5904" y="-803"/>
                      <a:pt x="11705" y="-982"/>
                      <a:pt x="15413" y="2487"/>
                    </a:cubicBezTo>
                    <a:close/>
                  </a:path>
                </a:pathLst>
              </a:custGeom>
              <a:grpFill/>
              <a:ln w="5978" cap="flat">
                <a:noFill/>
                <a:prstDash val="solid"/>
                <a:miter/>
              </a:ln>
            </p:spPr>
            <p:txBody>
              <a:bodyPr rtlCol="0" anchor="ctr"/>
              <a:lstStyle/>
              <a:p>
                <a:endParaRPr lang="en-GB"/>
              </a:p>
            </p:txBody>
          </p:sp>
          <p:sp>
            <p:nvSpPr>
              <p:cNvPr id="3923" name="Vrije vorm: vorm 3922">
                <a:extLst>
                  <a:ext uri="{FF2B5EF4-FFF2-40B4-BE49-F238E27FC236}">
                    <a16:creationId xmlns:a16="http://schemas.microsoft.com/office/drawing/2014/main" id="{1A58AAE5-A061-4C48-8FDF-086BFE14A8A4}"/>
                  </a:ext>
                </a:extLst>
              </p:cNvPr>
              <p:cNvSpPr/>
              <p:nvPr/>
            </p:nvSpPr>
            <p:spPr>
              <a:xfrm>
                <a:off x="7267906" y="4556538"/>
                <a:ext cx="18374" cy="18429"/>
              </a:xfrm>
              <a:custGeom>
                <a:avLst/>
                <a:gdLst>
                  <a:gd name="connsiteX0" fmla="*/ 15437 w 18374"/>
                  <a:gd name="connsiteY0" fmla="*/ 2487 h 18429"/>
                  <a:gd name="connsiteX1" fmla="*/ 2459 w 18374"/>
                  <a:gd name="connsiteY1" fmla="*/ 2905 h 18429"/>
                  <a:gd name="connsiteX2" fmla="*/ 2937 w 18374"/>
                  <a:gd name="connsiteY2" fmla="*/ 15943 h 18429"/>
                  <a:gd name="connsiteX3" fmla="*/ 15916 w 18374"/>
                  <a:gd name="connsiteY3" fmla="*/ 15525 h 18429"/>
                  <a:gd name="connsiteX4" fmla="*/ 15437 w 18374"/>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9">
                    <a:moveTo>
                      <a:pt x="15437" y="2487"/>
                    </a:moveTo>
                    <a:cubicBezTo>
                      <a:pt x="11729" y="-982"/>
                      <a:pt x="5928" y="-803"/>
                      <a:pt x="2459" y="2905"/>
                    </a:cubicBezTo>
                    <a:cubicBezTo>
                      <a:pt x="-1010" y="6613"/>
                      <a:pt x="-771" y="12474"/>
                      <a:pt x="2937" y="15943"/>
                    </a:cubicBezTo>
                    <a:cubicBezTo>
                      <a:pt x="6645" y="19412"/>
                      <a:pt x="12446" y="19233"/>
                      <a:pt x="15916" y="15525"/>
                    </a:cubicBezTo>
                    <a:cubicBezTo>
                      <a:pt x="19384" y="11817"/>
                      <a:pt x="19145" y="6015"/>
                      <a:pt x="15437" y="2487"/>
                    </a:cubicBezTo>
                    <a:close/>
                  </a:path>
                </a:pathLst>
              </a:custGeom>
              <a:grpFill/>
              <a:ln w="5978" cap="flat">
                <a:noFill/>
                <a:prstDash val="solid"/>
                <a:miter/>
              </a:ln>
            </p:spPr>
            <p:txBody>
              <a:bodyPr rtlCol="0" anchor="ctr"/>
              <a:lstStyle/>
              <a:p>
                <a:endParaRPr lang="en-GB"/>
              </a:p>
            </p:txBody>
          </p:sp>
        </p:grpSp>
        <p:grpSp>
          <p:nvGrpSpPr>
            <p:cNvPr id="489" name="Graphic 3">
              <a:extLst>
                <a:ext uri="{FF2B5EF4-FFF2-40B4-BE49-F238E27FC236}">
                  <a16:creationId xmlns:a16="http://schemas.microsoft.com/office/drawing/2014/main" id="{BD183FC4-2289-4E1C-9B33-665DF3FDE57C}"/>
                </a:ext>
              </a:extLst>
            </p:cNvPr>
            <p:cNvGrpSpPr/>
            <p:nvPr/>
          </p:nvGrpSpPr>
          <p:grpSpPr>
            <a:xfrm>
              <a:off x="6309092" y="1632172"/>
              <a:ext cx="36420" cy="132965"/>
              <a:chOff x="6309092" y="1632172"/>
              <a:chExt cx="36420" cy="132965"/>
            </a:xfrm>
            <a:grpFill/>
          </p:grpSpPr>
          <p:sp>
            <p:nvSpPr>
              <p:cNvPr id="3918" name="Vrije vorm: vorm 3917">
                <a:extLst>
                  <a:ext uri="{FF2B5EF4-FFF2-40B4-BE49-F238E27FC236}">
                    <a16:creationId xmlns:a16="http://schemas.microsoft.com/office/drawing/2014/main" id="{786A8D14-223A-4B3D-BE6C-B9D1B9CD3E4A}"/>
                  </a:ext>
                </a:extLst>
              </p:cNvPr>
              <p:cNvSpPr/>
              <p:nvPr/>
            </p:nvSpPr>
            <p:spPr>
              <a:xfrm>
                <a:off x="6316678" y="1640672"/>
                <a:ext cx="21291" cy="115906"/>
              </a:xfrm>
              <a:custGeom>
                <a:avLst/>
                <a:gdLst>
                  <a:gd name="connsiteX0" fmla="*/ 21292 w 21291"/>
                  <a:gd name="connsiteY0" fmla="*/ 478 h 115906"/>
                  <a:gd name="connsiteX1" fmla="*/ 2990 w 21291"/>
                  <a:gd name="connsiteY1" fmla="*/ 115906 h 115906"/>
                  <a:gd name="connsiteX2" fmla="*/ 0 w 21291"/>
                  <a:gd name="connsiteY2" fmla="*/ 115428 h 115906"/>
                  <a:gd name="connsiteX3" fmla="*/ 18241 w 21291"/>
                  <a:gd name="connsiteY3" fmla="*/ 0 h 115906"/>
                </a:gdLst>
                <a:ahLst/>
                <a:cxnLst>
                  <a:cxn ang="0">
                    <a:pos x="connsiteX0" y="connsiteY0"/>
                  </a:cxn>
                  <a:cxn ang="0">
                    <a:pos x="connsiteX1" y="connsiteY1"/>
                  </a:cxn>
                  <a:cxn ang="0">
                    <a:pos x="connsiteX2" y="connsiteY2"/>
                  </a:cxn>
                  <a:cxn ang="0">
                    <a:pos x="connsiteX3" y="connsiteY3"/>
                  </a:cxn>
                </a:cxnLst>
                <a:rect l="l" t="t" r="r" b="b"/>
                <a:pathLst>
                  <a:path w="21291" h="115906">
                    <a:moveTo>
                      <a:pt x="21292" y="478"/>
                    </a:moveTo>
                    <a:lnTo>
                      <a:pt x="2990" y="115906"/>
                    </a:lnTo>
                    <a:lnTo>
                      <a:pt x="0" y="115428"/>
                    </a:lnTo>
                    <a:lnTo>
                      <a:pt x="18241" y="0"/>
                    </a:lnTo>
                    <a:close/>
                  </a:path>
                </a:pathLst>
              </a:custGeom>
              <a:grpFill/>
              <a:ln w="5978" cap="flat">
                <a:noFill/>
                <a:prstDash val="solid"/>
                <a:miter/>
              </a:ln>
            </p:spPr>
            <p:txBody>
              <a:bodyPr rtlCol="0" anchor="ctr"/>
              <a:lstStyle/>
              <a:p>
                <a:endParaRPr lang="en-GB"/>
              </a:p>
            </p:txBody>
          </p:sp>
          <p:sp>
            <p:nvSpPr>
              <p:cNvPr id="3919" name="Vrije vorm: vorm 3918">
                <a:extLst>
                  <a:ext uri="{FF2B5EF4-FFF2-40B4-BE49-F238E27FC236}">
                    <a16:creationId xmlns:a16="http://schemas.microsoft.com/office/drawing/2014/main" id="{A9C0D924-17CA-49FD-A799-49C309C874B3}"/>
                  </a:ext>
                </a:extLst>
              </p:cNvPr>
              <p:cNvSpPr/>
              <p:nvPr/>
            </p:nvSpPr>
            <p:spPr>
              <a:xfrm>
                <a:off x="6327214" y="1632172"/>
                <a:ext cx="18298" cy="18434"/>
              </a:xfrm>
              <a:custGeom>
                <a:avLst/>
                <a:gdLst>
                  <a:gd name="connsiteX0" fmla="*/ 111 w 18298"/>
                  <a:gd name="connsiteY0" fmla="*/ 7722 h 18434"/>
                  <a:gd name="connsiteX1" fmla="*/ 10577 w 18298"/>
                  <a:gd name="connsiteY1" fmla="*/ 126 h 18434"/>
                  <a:gd name="connsiteX2" fmla="*/ 18172 w 18298"/>
                  <a:gd name="connsiteY2" fmla="*/ 10712 h 18434"/>
                  <a:gd name="connsiteX3" fmla="*/ 7706 w 18298"/>
                  <a:gd name="connsiteY3" fmla="*/ 18308 h 18434"/>
                  <a:gd name="connsiteX4" fmla="*/ 111 w 1829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4">
                    <a:moveTo>
                      <a:pt x="111" y="7722"/>
                    </a:moveTo>
                    <a:cubicBezTo>
                      <a:pt x="888" y="2698"/>
                      <a:pt x="5613" y="-711"/>
                      <a:pt x="10577" y="126"/>
                    </a:cubicBezTo>
                    <a:cubicBezTo>
                      <a:pt x="15601" y="964"/>
                      <a:pt x="19009" y="5689"/>
                      <a:pt x="18172" y="10712"/>
                    </a:cubicBezTo>
                    <a:cubicBezTo>
                      <a:pt x="17395" y="15736"/>
                      <a:pt x="12670" y="19145"/>
                      <a:pt x="7706" y="18308"/>
                    </a:cubicBezTo>
                    <a:cubicBezTo>
                      <a:pt x="2742" y="17471"/>
                      <a:pt x="-667" y="12746"/>
                      <a:pt x="111" y="7722"/>
                    </a:cubicBezTo>
                    <a:close/>
                  </a:path>
                </a:pathLst>
              </a:custGeom>
              <a:grpFill/>
              <a:ln w="5978" cap="flat">
                <a:noFill/>
                <a:prstDash val="solid"/>
                <a:miter/>
              </a:ln>
            </p:spPr>
            <p:txBody>
              <a:bodyPr rtlCol="0" anchor="ctr"/>
              <a:lstStyle/>
              <a:p>
                <a:endParaRPr lang="en-GB"/>
              </a:p>
            </p:txBody>
          </p:sp>
          <p:sp>
            <p:nvSpPr>
              <p:cNvPr id="3920" name="Vrije vorm: vorm 3919">
                <a:extLst>
                  <a:ext uri="{FF2B5EF4-FFF2-40B4-BE49-F238E27FC236}">
                    <a16:creationId xmlns:a16="http://schemas.microsoft.com/office/drawing/2014/main" id="{97D8FEEF-0F14-49CF-BEDB-3589CAB77E72}"/>
                  </a:ext>
                </a:extLst>
              </p:cNvPr>
              <p:cNvSpPr/>
              <p:nvPr/>
            </p:nvSpPr>
            <p:spPr>
              <a:xfrm>
                <a:off x="6309092" y="1746703"/>
                <a:ext cx="18282" cy="18434"/>
              </a:xfrm>
              <a:custGeom>
                <a:avLst/>
                <a:gdLst>
                  <a:gd name="connsiteX0" fmla="*/ 110 w 18282"/>
                  <a:gd name="connsiteY0" fmla="*/ 7722 h 18434"/>
                  <a:gd name="connsiteX1" fmla="*/ 7706 w 18282"/>
                  <a:gd name="connsiteY1" fmla="*/ 18308 h 18434"/>
                  <a:gd name="connsiteX2" fmla="*/ 18172 w 18282"/>
                  <a:gd name="connsiteY2" fmla="*/ 10712 h 18434"/>
                  <a:gd name="connsiteX3" fmla="*/ 10577 w 18282"/>
                  <a:gd name="connsiteY3" fmla="*/ 126 h 18434"/>
                  <a:gd name="connsiteX4" fmla="*/ 110 w 18282"/>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34">
                    <a:moveTo>
                      <a:pt x="110" y="7722"/>
                    </a:moveTo>
                    <a:cubicBezTo>
                      <a:pt x="-667" y="12746"/>
                      <a:pt x="2742" y="17471"/>
                      <a:pt x="7706" y="18308"/>
                    </a:cubicBezTo>
                    <a:cubicBezTo>
                      <a:pt x="12730" y="19145"/>
                      <a:pt x="17395" y="15736"/>
                      <a:pt x="18172" y="10712"/>
                    </a:cubicBezTo>
                    <a:cubicBezTo>
                      <a:pt x="18950" y="5689"/>
                      <a:pt x="15541" y="964"/>
                      <a:pt x="10577" y="126"/>
                    </a:cubicBezTo>
                    <a:cubicBezTo>
                      <a:pt x="5613" y="-711"/>
                      <a:pt x="888" y="2698"/>
                      <a:pt x="110" y="7722"/>
                    </a:cubicBezTo>
                    <a:close/>
                  </a:path>
                </a:pathLst>
              </a:custGeom>
              <a:grpFill/>
              <a:ln w="5978" cap="flat">
                <a:noFill/>
                <a:prstDash val="solid"/>
                <a:miter/>
              </a:ln>
            </p:spPr>
            <p:txBody>
              <a:bodyPr rtlCol="0" anchor="ctr"/>
              <a:lstStyle/>
              <a:p>
                <a:endParaRPr lang="en-GB"/>
              </a:p>
            </p:txBody>
          </p:sp>
        </p:grpSp>
        <p:grpSp>
          <p:nvGrpSpPr>
            <p:cNvPr id="490" name="Graphic 3">
              <a:extLst>
                <a:ext uri="{FF2B5EF4-FFF2-40B4-BE49-F238E27FC236}">
                  <a16:creationId xmlns:a16="http://schemas.microsoft.com/office/drawing/2014/main" id="{EA52E30F-134D-43D8-A3AF-B21B53129638}"/>
                </a:ext>
              </a:extLst>
            </p:cNvPr>
            <p:cNvGrpSpPr/>
            <p:nvPr/>
          </p:nvGrpSpPr>
          <p:grpSpPr>
            <a:xfrm>
              <a:off x="6259079" y="1393244"/>
              <a:ext cx="48035" cy="264670"/>
              <a:chOff x="6259079" y="1393244"/>
              <a:chExt cx="48035" cy="264670"/>
            </a:xfrm>
            <a:grpFill/>
          </p:grpSpPr>
          <p:sp>
            <p:nvSpPr>
              <p:cNvPr id="3915" name="Vrije vorm: vorm 3914">
                <a:extLst>
                  <a:ext uri="{FF2B5EF4-FFF2-40B4-BE49-F238E27FC236}">
                    <a16:creationId xmlns:a16="http://schemas.microsoft.com/office/drawing/2014/main" id="{AB58EBDF-EDDF-4475-AA09-64D388639E8C}"/>
                  </a:ext>
                </a:extLst>
              </p:cNvPr>
              <p:cNvSpPr/>
              <p:nvPr/>
            </p:nvSpPr>
            <p:spPr>
              <a:xfrm>
                <a:off x="6266680" y="1401861"/>
                <a:ext cx="32834" cy="247482"/>
              </a:xfrm>
              <a:custGeom>
                <a:avLst/>
                <a:gdLst>
                  <a:gd name="connsiteX0" fmla="*/ 32834 w 32834"/>
                  <a:gd name="connsiteY0" fmla="*/ 359 h 247482"/>
                  <a:gd name="connsiteX1" fmla="*/ 3050 w 32834"/>
                  <a:gd name="connsiteY1" fmla="*/ 247482 h 247482"/>
                  <a:gd name="connsiteX2" fmla="*/ 0 w 32834"/>
                  <a:gd name="connsiteY2" fmla="*/ 247123 h 247482"/>
                  <a:gd name="connsiteX3" fmla="*/ 29784 w 32834"/>
                  <a:gd name="connsiteY3" fmla="*/ 0 h 247482"/>
                </a:gdLst>
                <a:ahLst/>
                <a:cxnLst>
                  <a:cxn ang="0">
                    <a:pos x="connsiteX0" y="connsiteY0"/>
                  </a:cxn>
                  <a:cxn ang="0">
                    <a:pos x="connsiteX1" y="connsiteY1"/>
                  </a:cxn>
                  <a:cxn ang="0">
                    <a:pos x="connsiteX2" y="connsiteY2"/>
                  </a:cxn>
                  <a:cxn ang="0">
                    <a:pos x="connsiteX3" y="connsiteY3"/>
                  </a:cxn>
                </a:cxnLst>
                <a:rect l="l" t="t" r="r" b="b"/>
                <a:pathLst>
                  <a:path w="32834" h="247482">
                    <a:moveTo>
                      <a:pt x="32834" y="359"/>
                    </a:moveTo>
                    <a:lnTo>
                      <a:pt x="3050" y="247482"/>
                    </a:lnTo>
                    <a:lnTo>
                      <a:pt x="0" y="247123"/>
                    </a:lnTo>
                    <a:lnTo>
                      <a:pt x="29784" y="0"/>
                    </a:lnTo>
                    <a:close/>
                  </a:path>
                </a:pathLst>
              </a:custGeom>
              <a:grpFill/>
              <a:ln w="5978" cap="flat">
                <a:noFill/>
                <a:prstDash val="solid"/>
                <a:miter/>
              </a:ln>
            </p:spPr>
            <p:txBody>
              <a:bodyPr rtlCol="0" anchor="ctr"/>
              <a:lstStyle/>
              <a:p>
                <a:endParaRPr lang="en-GB"/>
              </a:p>
            </p:txBody>
          </p:sp>
          <p:sp>
            <p:nvSpPr>
              <p:cNvPr id="3916" name="Vrije vorm: vorm 3915">
                <a:extLst>
                  <a:ext uri="{FF2B5EF4-FFF2-40B4-BE49-F238E27FC236}">
                    <a16:creationId xmlns:a16="http://schemas.microsoft.com/office/drawing/2014/main" id="{00CF298B-4719-4A6A-9880-28D57E8F8061}"/>
                  </a:ext>
                </a:extLst>
              </p:cNvPr>
              <p:cNvSpPr/>
              <p:nvPr/>
            </p:nvSpPr>
            <p:spPr>
              <a:xfrm>
                <a:off x="6288743" y="1393244"/>
                <a:ext cx="18371" cy="18431"/>
              </a:xfrm>
              <a:custGeom>
                <a:avLst/>
                <a:gdLst>
                  <a:gd name="connsiteX0" fmla="*/ 65 w 18371"/>
                  <a:gd name="connsiteY0" fmla="*/ 8079 h 18431"/>
                  <a:gd name="connsiteX1" fmla="*/ 10292 w 18371"/>
                  <a:gd name="connsiteY1" fmla="*/ 65 h 18431"/>
                  <a:gd name="connsiteX2" fmla="*/ 18306 w 18371"/>
                  <a:gd name="connsiteY2" fmla="*/ 10352 h 18431"/>
                  <a:gd name="connsiteX3" fmla="*/ 8079 w 18371"/>
                  <a:gd name="connsiteY3" fmla="*/ 18366 h 18431"/>
                  <a:gd name="connsiteX4" fmla="*/ 65 w 18371"/>
                  <a:gd name="connsiteY4" fmla="*/ 807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31">
                    <a:moveTo>
                      <a:pt x="65" y="8079"/>
                    </a:moveTo>
                    <a:cubicBezTo>
                      <a:pt x="663" y="3055"/>
                      <a:pt x="5268" y="-533"/>
                      <a:pt x="10292" y="65"/>
                    </a:cubicBezTo>
                    <a:cubicBezTo>
                      <a:pt x="15316" y="723"/>
                      <a:pt x="18905" y="5328"/>
                      <a:pt x="18306" y="10352"/>
                    </a:cubicBezTo>
                    <a:cubicBezTo>
                      <a:pt x="17708" y="15376"/>
                      <a:pt x="13103" y="18964"/>
                      <a:pt x="8079" y="18366"/>
                    </a:cubicBezTo>
                    <a:cubicBezTo>
                      <a:pt x="3055" y="17768"/>
                      <a:pt x="-533" y="13163"/>
                      <a:pt x="65" y="8079"/>
                    </a:cubicBezTo>
                    <a:close/>
                  </a:path>
                </a:pathLst>
              </a:custGeom>
              <a:grpFill/>
              <a:ln w="5978" cap="flat">
                <a:noFill/>
                <a:prstDash val="solid"/>
                <a:miter/>
              </a:ln>
            </p:spPr>
            <p:txBody>
              <a:bodyPr rtlCol="0" anchor="ctr"/>
              <a:lstStyle/>
              <a:p>
                <a:endParaRPr lang="en-GB"/>
              </a:p>
            </p:txBody>
          </p:sp>
          <p:sp>
            <p:nvSpPr>
              <p:cNvPr id="3917" name="Vrije vorm: vorm 3916">
                <a:extLst>
                  <a:ext uri="{FF2B5EF4-FFF2-40B4-BE49-F238E27FC236}">
                    <a16:creationId xmlns:a16="http://schemas.microsoft.com/office/drawing/2014/main" id="{77D5F510-BB05-453E-9CC0-F797339DB02B}"/>
                  </a:ext>
                </a:extLst>
              </p:cNvPr>
              <p:cNvSpPr/>
              <p:nvPr/>
            </p:nvSpPr>
            <p:spPr>
              <a:xfrm>
                <a:off x="6259079" y="1639470"/>
                <a:ext cx="18371" cy="18443"/>
              </a:xfrm>
              <a:custGeom>
                <a:avLst/>
                <a:gdLst>
                  <a:gd name="connsiteX0" fmla="*/ 65 w 18371"/>
                  <a:gd name="connsiteY0" fmla="*/ 8079 h 18443"/>
                  <a:gd name="connsiteX1" fmla="*/ 8079 w 18371"/>
                  <a:gd name="connsiteY1" fmla="*/ 18366 h 18443"/>
                  <a:gd name="connsiteX2" fmla="*/ 18307 w 18371"/>
                  <a:gd name="connsiteY2" fmla="*/ 10352 h 18443"/>
                  <a:gd name="connsiteX3" fmla="*/ 10292 w 18371"/>
                  <a:gd name="connsiteY3" fmla="*/ 65 h 18443"/>
                  <a:gd name="connsiteX4" fmla="*/ 65 w 18371"/>
                  <a:gd name="connsiteY4" fmla="*/ 807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3">
                    <a:moveTo>
                      <a:pt x="65" y="8079"/>
                    </a:moveTo>
                    <a:cubicBezTo>
                      <a:pt x="-533" y="13103"/>
                      <a:pt x="3055" y="17708"/>
                      <a:pt x="8079" y="18366"/>
                    </a:cubicBezTo>
                    <a:cubicBezTo>
                      <a:pt x="13103" y="19024"/>
                      <a:pt x="17648" y="15436"/>
                      <a:pt x="18307" y="10352"/>
                    </a:cubicBezTo>
                    <a:cubicBezTo>
                      <a:pt x="18905" y="5328"/>
                      <a:pt x="15316" y="723"/>
                      <a:pt x="10292" y="65"/>
                    </a:cubicBezTo>
                    <a:cubicBezTo>
                      <a:pt x="5268" y="-533"/>
                      <a:pt x="663" y="3055"/>
                      <a:pt x="65" y="8079"/>
                    </a:cubicBezTo>
                    <a:close/>
                  </a:path>
                </a:pathLst>
              </a:custGeom>
              <a:grpFill/>
              <a:ln w="5978" cap="flat">
                <a:noFill/>
                <a:prstDash val="solid"/>
                <a:miter/>
              </a:ln>
            </p:spPr>
            <p:txBody>
              <a:bodyPr rtlCol="0" anchor="ctr"/>
              <a:lstStyle/>
              <a:p>
                <a:endParaRPr lang="en-GB"/>
              </a:p>
            </p:txBody>
          </p:sp>
        </p:grpSp>
        <p:grpSp>
          <p:nvGrpSpPr>
            <p:cNvPr id="491" name="Graphic 3">
              <a:extLst>
                <a:ext uri="{FF2B5EF4-FFF2-40B4-BE49-F238E27FC236}">
                  <a16:creationId xmlns:a16="http://schemas.microsoft.com/office/drawing/2014/main" id="{238D3CCA-CAC6-49CE-8760-9BECEE57D7C2}"/>
                </a:ext>
              </a:extLst>
            </p:cNvPr>
            <p:cNvGrpSpPr/>
            <p:nvPr/>
          </p:nvGrpSpPr>
          <p:grpSpPr>
            <a:xfrm>
              <a:off x="7288880" y="4815110"/>
              <a:ext cx="324110" cy="364618"/>
              <a:chOff x="7288880" y="4815110"/>
              <a:chExt cx="324110" cy="364618"/>
            </a:xfrm>
            <a:grpFill/>
          </p:grpSpPr>
          <p:sp>
            <p:nvSpPr>
              <p:cNvPr id="3912" name="Vrije vorm: vorm 3911">
                <a:extLst>
                  <a:ext uri="{FF2B5EF4-FFF2-40B4-BE49-F238E27FC236}">
                    <a16:creationId xmlns:a16="http://schemas.microsoft.com/office/drawing/2014/main" id="{A7F46826-0BEE-46D8-AD6B-0AA8EAEC3AA9}"/>
                  </a:ext>
                </a:extLst>
              </p:cNvPr>
              <p:cNvSpPr/>
              <p:nvPr/>
            </p:nvSpPr>
            <p:spPr>
              <a:xfrm>
                <a:off x="7296620" y="4823014"/>
                <a:ext cx="308665" cy="348915"/>
              </a:xfrm>
              <a:custGeom>
                <a:avLst/>
                <a:gdLst>
                  <a:gd name="connsiteX0" fmla="*/ 308666 w 308665"/>
                  <a:gd name="connsiteY0" fmla="*/ 346882 h 348915"/>
                  <a:gd name="connsiteX1" fmla="*/ 306393 w 308665"/>
                  <a:gd name="connsiteY1" fmla="*/ 348915 h 348915"/>
                  <a:gd name="connsiteX2" fmla="*/ 0 w 308665"/>
                  <a:gd name="connsiteY2" fmla="*/ 2033 h 348915"/>
                  <a:gd name="connsiteX3" fmla="*/ 2273 w 308665"/>
                  <a:gd name="connsiteY3" fmla="*/ 0 h 348915"/>
                </a:gdLst>
                <a:ahLst/>
                <a:cxnLst>
                  <a:cxn ang="0">
                    <a:pos x="connsiteX0" y="connsiteY0"/>
                  </a:cxn>
                  <a:cxn ang="0">
                    <a:pos x="connsiteX1" y="connsiteY1"/>
                  </a:cxn>
                  <a:cxn ang="0">
                    <a:pos x="connsiteX2" y="connsiteY2"/>
                  </a:cxn>
                  <a:cxn ang="0">
                    <a:pos x="connsiteX3" y="connsiteY3"/>
                  </a:cxn>
                </a:cxnLst>
                <a:rect l="l" t="t" r="r" b="b"/>
                <a:pathLst>
                  <a:path w="308665" h="348915">
                    <a:moveTo>
                      <a:pt x="308666" y="346882"/>
                    </a:moveTo>
                    <a:lnTo>
                      <a:pt x="306393" y="348915"/>
                    </a:lnTo>
                    <a:lnTo>
                      <a:pt x="0" y="2033"/>
                    </a:lnTo>
                    <a:lnTo>
                      <a:pt x="2273" y="0"/>
                    </a:lnTo>
                    <a:close/>
                  </a:path>
                </a:pathLst>
              </a:custGeom>
              <a:grpFill/>
              <a:ln w="5978" cap="flat">
                <a:noFill/>
                <a:prstDash val="solid"/>
                <a:miter/>
              </a:ln>
            </p:spPr>
            <p:txBody>
              <a:bodyPr rtlCol="0" anchor="ctr"/>
              <a:lstStyle/>
              <a:p>
                <a:endParaRPr lang="en-GB"/>
              </a:p>
            </p:txBody>
          </p:sp>
          <p:sp>
            <p:nvSpPr>
              <p:cNvPr id="3913" name="Vrije vorm: vorm 3912">
                <a:extLst>
                  <a:ext uri="{FF2B5EF4-FFF2-40B4-BE49-F238E27FC236}">
                    <a16:creationId xmlns:a16="http://schemas.microsoft.com/office/drawing/2014/main" id="{DA96A4B9-772D-4FF0-BAB1-8056C984B0B9}"/>
                  </a:ext>
                </a:extLst>
              </p:cNvPr>
              <p:cNvSpPr/>
              <p:nvPr/>
            </p:nvSpPr>
            <p:spPr>
              <a:xfrm>
                <a:off x="7594714" y="5161333"/>
                <a:ext cx="18277" cy="18394"/>
              </a:xfrm>
              <a:custGeom>
                <a:avLst/>
                <a:gdLst>
                  <a:gd name="connsiteX0" fmla="*/ 15953 w 18277"/>
                  <a:gd name="connsiteY0" fmla="*/ 3119 h 18394"/>
                  <a:gd name="connsiteX1" fmla="*/ 15236 w 18277"/>
                  <a:gd name="connsiteY1" fmla="*/ 16097 h 18394"/>
                  <a:gd name="connsiteX2" fmla="*/ 2318 w 18277"/>
                  <a:gd name="connsiteY2" fmla="*/ 15320 h 18394"/>
                  <a:gd name="connsiteX3" fmla="*/ 3095 w 18277"/>
                  <a:gd name="connsiteY3" fmla="*/ 2342 h 18394"/>
                  <a:gd name="connsiteX4" fmla="*/ 15953 w 18277"/>
                  <a:gd name="connsiteY4" fmla="*/ 311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394">
                    <a:moveTo>
                      <a:pt x="15953" y="3119"/>
                    </a:moveTo>
                    <a:cubicBezTo>
                      <a:pt x="19303" y="6947"/>
                      <a:pt x="19004" y="12748"/>
                      <a:pt x="15236" y="16097"/>
                    </a:cubicBezTo>
                    <a:cubicBezTo>
                      <a:pt x="11468" y="19447"/>
                      <a:pt x="5667" y="19088"/>
                      <a:pt x="2318" y="15320"/>
                    </a:cubicBezTo>
                    <a:cubicBezTo>
                      <a:pt x="-1032" y="11492"/>
                      <a:pt x="-732" y="5691"/>
                      <a:pt x="3095" y="2342"/>
                    </a:cubicBezTo>
                    <a:cubicBezTo>
                      <a:pt x="6803" y="-1067"/>
                      <a:pt x="12605" y="-708"/>
                      <a:pt x="15953" y="3119"/>
                    </a:cubicBezTo>
                    <a:close/>
                  </a:path>
                </a:pathLst>
              </a:custGeom>
              <a:grpFill/>
              <a:ln w="5978" cap="flat">
                <a:noFill/>
                <a:prstDash val="solid"/>
                <a:miter/>
              </a:ln>
            </p:spPr>
            <p:txBody>
              <a:bodyPr rtlCol="0" anchor="ctr"/>
              <a:lstStyle/>
              <a:p>
                <a:endParaRPr lang="en-GB"/>
              </a:p>
            </p:txBody>
          </p:sp>
          <p:sp>
            <p:nvSpPr>
              <p:cNvPr id="3914" name="Vrije vorm: vorm 3913">
                <a:extLst>
                  <a:ext uri="{FF2B5EF4-FFF2-40B4-BE49-F238E27FC236}">
                    <a16:creationId xmlns:a16="http://schemas.microsoft.com/office/drawing/2014/main" id="{38BCCC7C-305F-415D-9380-0609BBADB4DF}"/>
                  </a:ext>
                </a:extLst>
              </p:cNvPr>
              <p:cNvSpPr/>
              <p:nvPr/>
            </p:nvSpPr>
            <p:spPr>
              <a:xfrm>
                <a:off x="7288880" y="4815110"/>
                <a:ext cx="18334" cy="18438"/>
              </a:xfrm>
              <a:custGeom>
                <a:avLst/>
                <a:gdLst>
                  <a:gd name="connsiteX0" fmla="*/ 15993 w 18334"/>
                  <a:gd name="connsiteY0" fmla="*/ 3119 h 18438"/>
                  <a:gd name="connsiteX1" fmla="*/ 3075 w 18334"/>
                  <a:gd name="connsiteY1" fmla="*/ 2341 h 18438"/>
                  <a:gd name="connsiteX2" fmla="*/ 2297 w 18334"/>
                  <a:gd name="connsiteY2" fmla="*/ 15320 h 18438"/>
                  <a:gd name="connsiteX3" fmla="*/ 15215 w 18334"/>
                  <a:gd name="connsiteY3" fmla="*/ 16097 h 18438"/>
                  <a:gd name="connsiteX4" fmla="*/ 15993 w 18334"/>
                  <a:gd name="connsiteY4" fmla="*/ 311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8">
                    <a:moveTo>
                      <a:pt x="15993" y="3119"/>
                    </a:moveTo>
                    <a:cubicBezTo>
                      <a:pt x="12644" y="-708"/>
                      <a:pt x="6843" y="-1067"/>
                      <a:pt x="3075" y="2341"/>
                    </a:cubicBezTo>
                    <a:cubicBezTo>
                      <a:pt x="-693" y="5691"/>
                      <a:pt x="-1052" y="11552"/>
                      <a:pt x="2297" y="15320"/>
                    </a:cubicBezTo>
                    <a:cubicBezTo>
                      <a:pt x="5646" y="19147"/>
                      <a:pt x="11447" y="19506"/>
                      <a:pt x="15215" y="16097"/>
                    </a:cubicBezTo>
                    <a:cubicBezTo>
                      <a:pt x="19043" y="12748"/>
                      <a:pt x="19402" y="6947"/>
                      <a:pt x="15993" y="3119"/>
                    </a:cubicBezTo>
                    <a:close/>
                  </a:path>
                </a:pathLst>
              </a:custGeom>
              <a:grpFill/>
              <a:ln w="5978" cap="flat">
                <a:noFill/>
                <a:prstDash val="solid"/>
                <a:miter/>
              </a:ln>
            </p:spPr>
            <p:txBody>
              <a:bodyPr rtlCol="0" anchor="ctr"/>
              <a:lstStyle/>
              <a:p>
                <a:endParaRPr lang="en-GB"/>
              </a:p>
            </p:txBody>
          </p:sp>
        </p:grpSp>
        <p:grpSp>
          <p:nvGrpSpPr>
            <p:cNvPr id="492" name="Graphic 3">
              <a:extLst>
                <a:ext uri="{FF2B5EF4-FFF2-40B4-BE49-F238E27FC236}">
                  <a16:creationId xmlns:a16="http://schemas.microsoft.com/office/drawing/2014/main" id="{E7FA0548-59BB-450C-92F6-FD885025997D}"/>
                </a:ext>
              </a:extLst>
            </p:cNvPr>
            <p:cNvGrpSpPr/>
            <p:nvPr/>
          </p:nvGrpSpPr>
          <p:grpSpPr>
            <a:xfrm>
              <a:off x="7192317" y="4659088"/>
              <a:ext cx="421040" cy="520411"/>
              <a:chOff x="7192317" y="4659088"/>
              <a:chExt cx="421040" cy="520411"/>
            </a:xfrm>
            <a:grpFill/>
          </p:grpSpPr>
          <p:sp>
            <p:nvSpPr>
              <p:cNvPr id="3909" name="Vrije vorm: vorm 3908">
                <a:extLst>
                  <a:ext uri="{FF2B5EF4-FFF2-40B4-BE49-F238E27FC236}">
                    <a16:creationId xmlns:a16="http://schemas.microsoft.com/office/drawing/2014/main" id="{9086AA2A-0D89-4A8F-990D-0C413E3039E5}"/>
                  </a:ext>
                </a:extLst>
              </p:cNvPr>
              <p:cNvSpPr/>
              <p:nvPr/>
            </p:nvSpPr>
            <p:spPr>
              <a:xfrm>
                <a:off x="7200032" y="4667036"/>
                <a:ext cx="405612" cy="504533"/>
              </a:xfrm>
              <a:custGeom>
                <a:avLst/>
                <a:gdLst>
                  <a:gd name="connsiteX0" fmla="*/ 405612 w 405612"/>
                  <a:gd name="connsiteY0" fmla="*/ 502620 h 504533"/>
                  <a:gd name="connsiteX1" fmla="*/ 403220 w 405612"/>
                  <a:gd name="connsiteY1" fmla="*/ 504534 h 504533"/>
                  <a:gd name="connsiteX2" fmla="*/ 0 w 405612"/>
                  <a:gd name="connsiteY2" fmla="*/ 1914 h 504533"/>
                  <a:gd name="connsiteX3" fmla="*/ 2333 w 405612"/>
                  <a:gd name="connsiteY3" fmla="*/ 0 h 504533"/>
                </a:gdLst>
                <a:ahLst/>
                <a:cxnLst>
                  <a:cxn ang="0">
                    <a:pos x="connsiteX0" y="connsiteY0"/>
                  </a:cxn>
                  <a:cxn ang="0">
                    <a:pos x="connsiteX1" y="connsiteY1"/>
                  </a:cxn>
                  <a:cxn ang="0">
                    <a:pos x="connsiteX2" y="connsiteY2"/>
                  </a:cxn>
                  <a:cxn ang="0">
                    <a:pos x="connsiteX3" y="connsiteY3"/>
                  </a:cxn>
                </a:cxnLst>
                <a:rect l="l" t="t" r="r" b="b"/>
                <a:pathLst>
                  <a:path w="405612" h="504533">
                    <a:moveTo>
                      <a:pt x="405612" y="502620"/>
                    </a:moveTo>
                    <a:lnTo>
                      <a:pt x="403220" y="504534"/>
                    </a:lnTo>
                    <a:lnTo>
                      <a:pt x="0" y="1914"/>
                    </a:lnTo>
                    <a:lnTo>
                      <a:pt x="2333" y="0"/>
                    </a:lnTo>
                    <a:close/>
                  </a:path>
                </a:pathLst>
              </a:custGeom>
              <a:grpFill/>
              <a:ln w="5978" cap="flat">
                <a:noFill/>
                <a:prstDash val="solid"/>
                <a:miter/>
              </a:ln>
            </p:spPr>
            <p:txBody>
              <a:bodyPr rtlCol="0" anchor="ctr"/>
              <a:lstStyle/>
              <a:p>
                <a:endParaRPr lang="en-GB"/>
              </a:p>
            </p:txBody>
          </p:sp>
          <p:sp>
            <p:nvSpPr>
              <p:cNvPr id="3910" name="Vrije vorm: vorm 3909">
                <a:extLst>
                  <a:ext uri="{FF2B5EF4-FFF2-40B4-BE49-F238E27FC236}">
                    <a16:creationId xmlns:a16="http://schemas.microsoft.com/office/drawing/2014/main" id="{B9C30CFE-748D-432B-98BF-51FEE855A115}"/>
                  </a:ext>
                </a:extLst>
              </p:cNvPr>
              <p:cNvSpPr/>
              <p:nvPr/>
            </p:nvSpPr>
            <p:spPr>
              <a:xfrm>
                <a:off x="7192317" y="4659088"/>
                <a:ext cx="18358" cy="18468"/>
              </a:xfrm>
              <a:custGeom>
                <a:avLst/>
                <a:gdLst>
                  <a:gd name="connsiteX0" fmla="*/ 2032 w 18358"/>
                  <a:gd name="connsiteY0" fmla="*/ 15006 h 18468"/>
                  <a:gd name="connsiteX1" fmla="*/ 3408 w 18358"/>
                  <a:gd name="connsiteY1" fmla="*/ 2028 h 18468"/>
                  <a:gd name="connsiteX2" fmla="*/ 16326 w 18358"/>
                  <a:gd name="connsiteY2" fmla="*/ 3463 h 18468"/>
                  <a:gd name="connsiteX3" fmla="*/ 14951 w 18358"/>
                  <a:gd name="connsiteY3" fmla="*/ 16441 h 18468"/>
                  <a:gd name="connsiteX4" fmla="*/ 2032 w 18358"/>
                  <a:gd name="connsiteY4" fmla="*/ 1500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68">
                    <a:moveTo>
                      <a:pt x="2032" y="15006"/>
                    </a:moveTo>
                    <a:cubicBezTo>
                      <a:pt x="-1138" y="11058"/>
                      <a:pt x="-539" y="5257"/>
                      <a:pt x="3408" y="2028"/>
                    </a:cubicBezTo>
                    <a:cubicBezTo>
                      <a:pt x="7355" y="-1142"/>
                      <a:pt x="13096" y="-544"/>
                      <a:pt x="16326" y="3463"/>
                    </a:cubicBezTo>
                    <a:cubicBezTo>
                      <a:pt x="19496" y="7410"/>
                      <a:pt x="18898" y="13212"/>
                      <a:pt x="14951" y="16441"/>
                    </a:cubicBezTo>
                    <a:cubicBezTo>
                      <a:pt x="11003" y="19611"/>
                      <a:pt x="5262" y="19013"/>
                      <a:pt x="2032" y="15006"/>
                    </a:cubicBezTo>
                    <a:close/>
                  </a:path>
                </a:pathLst>
              </a:custGeom>
              <a:grpFill/>
              <a:ln w="5978" cap="flat">
                <a:noFill/>
                <a:prstDash val="solid"/>
                <a:miter/>
              </a:ln>
            </p:spPr>
            <p:txBody>
              <a:bodyPr rtlCol="0" anchor="ctr"/>
              <a:lstStyle/>
              <a:p>
                <a:endParaRPr lang="en-GB"/>
              </a:p>
            </p:txBody>
          </p:sp>
          <p:sp>
            <p:nvSpPr>
              <p:cNvPr id="3911" name="Vrije vorm: vorm 3910">
                <a:extLst>
                  <a:ext uri="{FF2B5EF4-FFF2-40B4-BE49-F238E27FC236}">
                    <a16:creationId xmlns:a16="http://schemas.microsoft.com/office/drawing/2014/main" id="{FE5B76D5-8AF4-4A24-8FD7-E8F0AB9E0FF5}"/>
                  </a:ext>
                </a:extLst>
              </p:cNvPr>
              <p:cNvSpPr/>
              <p:nvPr/>
            </p:nvSpPr>
            <p:spPr>
              <a:xfrm>
                <a:off x="7594999" y="5161068"/>
                <a:ext cx="18358" cy="18431"/>
              </a:xfrm>
              <a:custGeom>
                <a:avLst/>
                <a:gdLst>
                  <a:gd name="connsiteX0" fmla="*/ 2032 w 18358"/>
                  <a:gd name="connsiteY0" fmla="*/ 14987 h 18431"/>
                  <a:gd name="connsiteX1" fmla="*/ 14950 w 18358"/>
                  <a:gd name="connsiteY1" fmla="*/ 16422 h 18431"/>
                  <a:gd name="connsiteX2" fmla="*/ 16326 w 18358"/>
                  <a:gd name="connsiteY2" fmla="*/ 3444 h 18431"/>
                  <a:gd name="connsiteX3" fmla="*/ 3408 w 18358"/>
                  <a:gd name="connsiteY3" fmla="*/ 2009 h 18431"/>
                  <a:gd name="connsiteX4" fmla="*/ 2032 w 18358"/>
                  <a:gd name="connsiteY4" fmla="*/ 14987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31">
                    <a:moveTo>
                      <a:pt x="2032" y="14987"/>
                    </a:moveTo>
                    <a:cubicBezTo>
                      <a:pt x="5202" y="18934"/>
                      <a:pt x="11004" y="19592"/>
                      <a:pt x="14950" y="16422"/>
                    </a:cubicBezTo>
                    <a:cubicBezTo>
                      <a:pt x="18898" y="13253"/>
                      <a:pt x="19496" y="7451"/>
                      <a:pt x="16326" y="3444"/>
                    </a:cubicBezTo>
                    <a:cubicBezTo>
                      <a:pt x="13157" y="-503"/>
                      <a:pt x="7355" y="-1161"/>
                      <a:pt x="3408" y="2009"/>
                    </a:cubicBezTo>
                    <a:cubicBezTo>
                      <a:pt x="-540" y="5178"/>
                      <a:pt x="-1137" y="10980"/>
                      <a:pt x="2032" y="14987"/>
                    </a:cubicBezTo>
                    <a:close/>
                  </a:path>
                </a:pathLst>
              </a:custGeom>
              <a:grpFill/>
              <a:ln w="5978" cap="flat">
                <a:noFill/>
                <a:prstDash val="solid"/>
                <a:miter/>
              </a:ln>
            </p:spPr>
            <p:txBody>
              <a:bodyPr rtlCol="0" anchor="ctr"/>
              <a:lstStyle/>
              <a:p>
                <a:endParaRPr lang="en-GB"/>
              </a:p>
            </p:txBody>
          </p:sp>
        </p:grpSp>
        <p:grpSp>
          <p:nvGrpSpPr>
            <p:cNvPr id="493" name="Graphic 3">
              <a:extLst>
                <a:ext uri="{FF2B5EF4-FFF2-40B4-BE49-F238E27FC236}">
                  <a16:creationId xmlns:a16="http://schemas.microsoft.com/office/drawing/2014/main" id="{5F7EE865-1744-4181-A7B4-A2C4B9150490}"/>
                </a:ext>
              </a:extLst>
            </p:cNvPr>
            <p:cNvGrpSpPr/>
            <p:nvPr/>
          </p:nvGrpSpPr>
          <p:grpSpPr>
            <a:xfrm>
              <a:off x="6248686" y="1483088"/>
              <a:ext cx="82875" cy="271169"/>
              <a:chOff x="6248686" y="1483088"/>
              <a:chExt cx="82875" cy="271169"/>
            </a:xfrm>
            <a:grpFill/>
          </p:grpSpPr>
          <p:sp>
            <p:nvSpPr>
              <p:cNvPr id="3906" name="Vrije vorm: vorm 3905">
                <a:extLst>
                  <a:ext uri="{FF2B5EF4-FFF2-40B4-BE49-F238E27FC236}">
                    <a16:creationId xmlns:a16="http://schemas.microsoft.com/office/drawing/2014/main" id="{C5379E1A-0E61-4D0A-AAA1-39ACC24E232E}"/>
                  </a:ext>
                </a:extLst>
              </p:cNvPr>
              <p:cNvSpPr/>
              <p:nvPr/>
            </p:nvSpPr>
            <p:spPr>
              <a:xfrm>
                <a:off x="6256273" y="1491453"/>
                <a:ext cx="67701" cy="254419"/>
              </a:xfrm>
              <a:custGeom>
                <a:avLst/>
                <a:gdLst>
                  <a:gd name="connsiteX0" fmla="*/ 67702 w 67701"/>
                  <a:gd name="connsiteY0" fmla="*/ 777 h 254419"/>
                  <a:gd name="connsiteX1" fmla="*/ 2930 w 67701"/>
                  <a:gd name="connsiteY1" fmla="*/ 254420 h 254419"/>
                  <a:gd name="connsiteX2" fmla="*/ 0 w 67701"/>
                  <a:gd name="connsiteY2" fmla="*/ 253642 h 254419"/>
                  <a:gd name="connsiteX3" fmla="*/ 64771 w 67701"/>
                  <a:gd name="connsiteY3" fmla="*/ 0 h 254419"/>
                </a:gdLst>
                <a:ahLst/>
                <a:cxnLst>
                  <a:cxn ang="0">
                    <a:pos x="connsiteX0" y="connsiteY0"/>
                  </a:cxn>
                  <a:cxn ang="0">
                    <a:pos x="connsiteX1" y="connsiteY1"/>
                  </a:cxn>
                  <a:cxn ang="0">
                    <a:pos x="connsiteX2" y="connsiteY2"/>
                  </a:cxn>
                  <a:cxn ang="0">
                    <a:pos x="connsiteX3" y="connsiteY3"/>
                  </a:cxn>
                </a:cxnLst>
                <a:rect l="l" t="t" r="r" b="b"/>
                <a:pathLst>
                  <a:path w="67701" h="254419">
                    <a:moveTo>
                      <a:pt x="67702" y="777"/>
                    </a:moveTo>
                    <a:lnTo>
                      <a:pt x="2930" y="254420"/>
                    </a:lnTo>
                    <a:lnTo>
                      <a:pt x="0" y="253642"/>
                    </a:lnTo>
                    <a:lnTo>
                      <a:pt x="64771" y="0"/>
                    </a:lnTo>
                    <a:close/>
                  </a:path>
                </a:pathLst>
              </a:custGeom>
              <a:grpFill/>
              <a:ln w="5978" cap="flat">
                <a:noFill/>
                <a:prstDash val="solid"/>
                <a:miter/>
              </a:ln>
            </p:spPr>
            <p:txBody>
              <a:bodyPr rtlCol="0" anchor="ctr"/>
              <a:lstStyle/>
              <a:p>
                <a:endParaRPr lang="en-GB"/>
              </a:p>
            </p:txBody>
          </p:sp>
          <p:sp>
            <p:nvSpPr>
              <p:cNvPr id="3907" name="Vrije vorm: vorm 3906">
                <a:extLst>
                  <a:ext uri="{FF2B5EF4-FFF2-40B4-BE49-F238E27FC236}">
                    <a16:creationId xmlns:a16="http://schemas.microsoft.com/office/drawing/2014/main" id="{468436AF-BE2B-42CD-9C93-DFB37C64F5EA}"/>
                  </a:ext>
                </a:extLst>
              </p:cNvPr>
              <p:cNvSpPr/>
              <p:nvPr/>
            </p:nvSpPr>
            <p:spPr>
              <a:xfrm>
                <a:off x="6248686" y="1735813"/>
                <a:ext cx="18339" cy="18443"/>
              </a:xfrm>
              <a:custGeom>
                <a:avLst/>
                <a:gdLst>
                  <a:gd name="connsiteX0" fmla="*/ 18053 w 18339"/>
                  <a:gd name="connsiteY0" fmla="*/ 11554 h 18443"/>
                  <a:gd name="connsiteX1" fmla="*/ 6869 w 18339"/>
                  <a:gd name="connsiteY1" fmla="*/ 18133 h 18443"/>
                  <a:gd name="connsiteX2" fmla="*/ 291 w 18339"/>
                  <a:gd name="connsiteY2" fmla="*/ 6889 h 18443"/>
                  <a:gd name="connsiteX3" fmla="*/ 11415 w 18339"/>
                  <a:gd name="connsiteY3" fmla="*/ 311 h 18443"/>
                  <a:gd name="connsiteX4" fmla="*/ 18053 w 18339"/>
                  <a:gd name="connsiteY4" fmla="*/ 1155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3">
                    <a:moveTo>
                      <a:pt x="18053" y="11554"/>
                    </a:moveTo>
                    <a:cubicBezTo>
                      <a:pt x="16797" y="16459"/>
                      <a:pt x="11773" y="19449"/>
                      <a:pt x="6869" y="18133"/>
                    </a:cubicBezTo>
                    <a:cubicBezTo>
                      <a:pt x="1965" y="16877"/>
                      <a:pt x="-965" y="11794"/>
                      <a:pt x="291" y="6889"/>
                    </a:cubicBezTo>
                    <a:cubicBezTo>
                      <a:pt x="1546" y="1985"/>
                      <a:pt x="6570" y="-1005"/>
                      <a:pt x="11415" y="311"/>
                    </a:cubicBezTo>
                    <a:cubicBezTo>
                      <a:pt x="16319" y="1567"/>
                      <a:pt x="19309" y="6590"/>
                      <a:pt x="18053" y="11554"/>
                    </a:cubicBezTo>
                    <a:close/>
                  </a:path>
                </a:pathLst>
              </a:custGeom>
              <a:grpFill/>
              <a:ln w="5978" cap="flat">
                <a:noFill/>
                <a:prstDash val="solid"/>
                <a:miter/>
              </a:ln>
            </p:spPr>
            <p:txBody>
              <a:bodyPr rtlCol="0" anchor="ctr"/>
              <a:lstStyle/>
              <a:p>
                <a:endParaRPr lang="en-GB"/>
              </a:p>
            </p:txBody>
          </p:sp>
          <p:sp>
            <p:nvSpPr>
              <p:cNvPr id="3908" name="Vrije vorm: vorm 3907">
                <a:extLst>
                  <a:ext uri="{FF2B5EF4-FFF2-40B4-BE49-F238E27FC236}">
                    <a16:creationId xmlns:a16="http://schemas.microsoft.com/office/drawing/2014/main" id="{C05EA309-5F80-4CFE-95DE-A55B1130B268}"/>
                  </a:ext>
                </a:extLst>
              </p:cNvPr>
              <p:cNvSpPr/>
              <p:nvPr/>
            </p:nvSpPr>
            <p:spPr>
              <a:xfrm>
                <a:off x="6313278" y="1483088"/>
                <a:ext cx="18283" cy="18403"/>
              </a:xfrm>
              <a:custGeom>
                <a:avLst/>
                <a:gdLst>
                  <a:gd name="connsiteX0" fmla="*/ 17993 w 18283"/>
                  <a:gd name="connsiteY0" fmla="*/ 11534 h 18403"/>
                  <a:gd name="connsiteX1" fmla="*/ 11415 w 18283"/>
                  <a:gd name="connsiteY1" fmla="*/ 291 h 18403"/>
                  <a:gd name="connsiteX2" fmla="*/ 291 w 18283"/>
                  <a:gd name="connsiteY2" fmla="*/ 6869 h 18403"/>
                  <a:gd name="connsiteX3" fmla="*/ 6869 w 18283"/>
                  <a:gd name="connsiteY3" fmla="*/ 18113 h 18403"/>
                  <a:gd name="connsiteX4" fmla="*/ 17993 w 18283"/>
                  <a:gd name="connsiteY4" fmla="*/ 11534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03">
                    <a:moveTo>
                      <a:pt x="17993" y="11534"/>
                    </a:moveTo>
                    <a:cubicBezTo>
                      <a:pt x="19249" y="6630"/>
                      <a:pt x="16319" y="1606"/>
                      <a:pt x="11415" y="291"/>
                    </a:cubicBezTo>
                    <a:cubicBezTo>
                      <a:pt x="6510" y="-965"/>
                      <a:pt x="1546" y="1965"/>
                      <a:pt x="291" y="6869"/>
                    </a:cubicBezTo>
                    <a:cubicBezTo>
                      <a:pt x="-965" y="11774"/>
                      <a:pt x="1965" y="16797"/>
                      <a:pt x="6869" y="18113"/>
                    </a:cubicBezTo>
                    <a:cubicBezTo>
                      <a:pt x="11773" y="19369"/>
                      <a:pt x="16738" y="16439"/>
                      <a:pt x="17993" y="11534"/>
                    </a:cubicBezTo>
                    <a:close/>
                  </a:path>
                </a:pathLst>
              </a:custGeom>
              <a:grpFill/>
              <a:ln w="5978" cap="flat">
                <a:noFill/>
                <a:prstDash val="solid"/>
                <a:miter/>
              </a:ln>
            </p:spPr>
            <p:txBody>
              <a:bodyPr rtlCol="0" anchor="ctr"/>
              <a:lstStyle/>
              <a:p>
                <a:endParaRPr lang="en-GB"/>
              </a:p>
            </p:txBody>
          </p:sp>
        </p:grpSp>
        <p:grpSp>
          <p:nvGrpSpPr>
            <p:cNvPr id="494" name="Graphic 3">
              <a:extLst>
                <a:ext uri="{FF2B5EF4-FFF2-40B4-BE49-F238E27FC236}">
                  <a16:creationId xmlns:a16="http://schemas.microsoft.com/office/drawing/2014/main" id="{E3A99BBF-3950-4E1F-9B4B-B0F7E418F203}"/>
                </a:ext>
              </a:extLst>
            </p:cNvPr>
            <p:cNvGrpSpPr/>
            <p:nvPr/>
          </p:nvGrpSpPr>
          <p:grpSpPr>
            <a:xfrm>
              <a:off x="7251070" y="4824427"/>
              <a:ext cx="318866" cy="371700"/>
              <a:chOff x="7251070" y="4824427"/>
              <a:chExt cx="318866" cy="371700"/>
            </a:xfrm>
            <a:grpFill/>
          </p:grpSpPr>
          <p:sp>
            <p:nvSpPr>
              <p:cNvPr id="3903" name="Vrije vorm: vorm 3902">
                <a:extLst>
                  <a:ext uri="{FF2B5EF4-FFF2-40B4-BE49-F238E27FC236}">
                    <a16:creationId xmlns:a16="http://schemas.microsoft.com/office/drawing/2014/main" id="{634791C2-C523-45A8-9736-E48BA3FC617D}"/>
                  </a:ext>
                </a:extLst>
              </p:cNvPr>
              <p:cNvSpPr/>
              <p:nvPr/>
            </p:nvSpPr>
            <p:spPr>
              <a:xfrm>
                <a:off x="7258762" y="4832343"/>
                <a:ext cx="303461" cy="355912"/>
              </a:xfrm>
              <a:custGeom>
                <a:avLst/>
                <a:gdLst>
                  <a:gd name="connsiteX0" fmla="*/ 303462 w 303461"/>
                  <a:gd name="connsiteY0" fmla="*/ 353939 h 355912"/>
                  <a:gd name="connsiteX1" fmla="*/ 301129 w 303461"/>
                  <a:gd name="connsiteY1" fmla="*/ 355912 h 355912"/>
                  <a:gd name="connsiteX2" fmla="*/ 0 w 303461"/>
                  <a:gd name="connsiteY2" fmla="*/ 1973 h 355912"/>
                  <a:gd name="connsiteX3" fmla="*/ 2333 w 303461"/>
                  <a:gd name="connsiteY3" fmla="*/ 0 h 355912"/>
                </a:gdLst>
                <a:ahLst/>
                <a:cxnLst>
                  <a:cxn ang="0">
                    <a:pos x="connsiteX0" y="connsiteY0"/>
                  </a:cxn>
                  <a:cxn ang="0">
                    <a:pos x="connsiteX1" y="connsiteY1"/>
                  </a:cxn>
                  <a:cxn ang="0">
                    <a:pos x="connsiteX2" y="connsiteY2"/>
                  </a:cxn>
                  <a:cxn ang="0">
                    <a:pos x="connsiteX3" y="connsiteY3"/>
                  </a:cxn>
                </a:cxnLst>
                <a:rect l="l" t="t" r="r" b="b"/>
                <a:pathLst>
                  <a:path w="303461" h="355912">
                    <a:moveTo>
                      <a:pt x="303462" y="353939"/>
                    </a:moveTo>
                    <a:lnTo>
                      <a:pt x="301129" y="355912"/>
                    </a:lnTo>
                    <a:lnTo>
                      <a:pt x="0" y="1973"/>
                    </a:lnTo>
                    <a:lnTo>
                      <a:pt x="2333" y="0"/>
                    </a:lnTo>
                    <a:close/>
                  </a:path>
                </a:pathLst>
              </a:custGeom>
              <a:grpFill/>
              <a:ln w="5978" cap="flat">
                <a:noFill/>
                <a:prstDash val="solid"/>
                <a:miter/>
              </a:ln>
            </p:spPr>
            <p:txBody>
              <a:bodyPr rtlCol="0" anchor="ctr"/>
              <a:lstStyle/>
              <a:p>
                <a:endParaRPr lang="en-GB"/>
              </a:p>
            </p:txBody>
          </p:sp>
          <p:sp>
            <p:nvSpPr>
              <p:cNvPr id="3904" name="Vrije vorm: vorm 3903">
                <a:extLst>
                  <a:ext uri="{FF2B5EF4-FFF2-40B4-BE49-F238E27FC236}">
                    <a16:creationId xmlns:a16="http://schemas.microsoft.com/office/drawing/2014/main" id="{3C382906-66B7-4714-BC8A-67FE6267A460}"/>
                  </a:ext>
                </a:extLst>
              </p:cNvPr>
              <p:cNvSpPr/>
              <p:nvPr/>
            </p:nvSpPr>
            <p:spPr>
              <a:xfrm>
                <a:off x="7551581" y="5177709"/>
                <a:ext cx="18354" cy="18419"/>
              </a:xfrm>
              <a:custGeom>
                <a:avLst/>
                <a:gdLst>
                  <a:gd name="connsiteX0" fmla="*/ 16145 w 18354"/>
                  <a:gd name="connsiteY0" fmla="*/ 3251 h 18419"/>
                  <a:gd name="connsiteX1" fmla="*/ 15128 w 18354"/>
                  <a:gd name="connsiteY1" fmla="*/ 16229 h 18419"/>
                  <a:gd name="connsiteX2" fmla="*/ 2210 w 18354"/>
                  <a:gd name="connsiteY2" fmla="*/ 15212 h 18419"/>
                  <a:gd name="connsiteX3" fmla="*/ 3227 w 18354"/>
                  <a:gd name="connsiteY3" fmla="*/ 2234 h 18419"/>
                  <a:gd name="connsiteX4" fmla="*/ 16145 w 18354"/>
                  <a:gd name="connsiteY4" fmla="*/ 325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9">
                    <a:moveTo>
                      <a:pt x="16145" y="3251"/>
                    </a:moveTo>
                    <a:cubicBezTo>
                      <a:pt x="19434" y="7139"/>
                      <a:pt x="19016" y="12940"/>
                      <a:pt x="15128" y="16229"/>
                    </a:cubicBezTo>
                    <a:cubicBezTo>
                      <a:pt x="11300" y="19518"/>
                      <a:pt x="5499" y="19040"/>
                      <a:pt x="2210" y="15212"/>
                    </a:cubicBezTo>
                    <a:cubicBezTo>
                      <a:pt x="-1079" y="11325"/>
                      <a:pt x="-661" y="5524"/>
                      <a:pt x="3227" y="2234"/>
                    </a:cubicBezTo>
                    <a:cubicBezTo>
                      <a:pt x="7054" y="-1115"/>
                      <a:pt x="12855" y="-637"/>
                      <a:pt x="16145" y="3251"/>
                    </a:cubicBezTo>
                    <a:close/>
                  </a:path>
                </a:pathLst>
              </a:custGeom>
              <a:grpFill/>
              <a:ln w="5978" cap="flat">
                <a:noFill/>
                <a:prstDash val="solid"/>
                <a:miter/>
              </a:ln>
            </p:spPr>
            <p:txBody>
              <a:bodyPr rtlCol="0" anchor="ctr"/>
              <a:lstStyle/>
              <a:p>
                <a:endParaRPr lang="en-GB"/>
              </a:p>
            </p:txBody>
          </p:sp>
          <p:sp>
            <p:nvSpPr>
              <p:cNvPr id="3905" name="Vrije vorm: vorm 3904">
                <a:extLst>
                  <a:ext uri="{FF2B5EF4-FFF2-40B4-BE49-F238E27FC236}">
                    <a16:creationId xmlns:a16="http://schemas.microsoft.com/office/drawing/2014/main" id="{16686957-CA41-4B66-B87F-614EA7568DDE}"/>
                  </a:ext>
                </a:extLst>
              </p:cNvPr>
              <p:cNvSpPr/>
              <p:nvPr/>
            </p:nvSpPr>
            <p:spPr>
              <a:xfrm>
                <a:off x="7251070" y="4824427"/>
                <a:ext cx="18334" cy="18463"/>
              </a:xfrm>
              <a:custGeom>
                <a:avLst/>
                <a:gdLst>
                  <a:gd name="connsiteX0" fmla="*/ 16125 w 18334"/>
                  <a:gd name="connsiteY0" fmla="*/ 3251 h 18463"/>
                  <a:gd name="connsiteX1" fmla="*/ 3207 w 18334"/>
                  <a:gd name="connsiteY1" fmla="*/ 2234 h 18463"/>
                  <a:gd name="connsiteX2" fmla="*/ 2190 w 18334"/>
                  <a:gd name="connsiteY2" fmla="*/ 15212 h 18463"/>
                  <a:gd name="connsiteX3" fmla="*/ 15108 w 18334"/>
                  <a:gd name="connsiteY3" fmla="*/ 16229 h 18463"/>
                  <a:gd name="connsiteX4" fmla="*/ 16125 w 18334"/>
                  <a:gd name="connsiteY4" fmla="*/ 32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3">
                    <a:moveTo>
                      <a:pt x="16125" y="3251"/>
                    </a:moveTo>
                    <a:cubicBezTo>
                      <a:pt x="12836" y="-637"/>
                      <a:pt x="7034" y="-1115"/>
                      <a:pt x="3207" y="2234"/>
                    </a:cubicBezTo>
                    <a:cubicBezTo>
                      <a:pt x="-621" y="5524"/>
                      <a:pt x="-1099" y="11325"/>
                      <a:pt x="2190" y="15212"/>
                    </a:cubicBezTo>
                    <a:cubicBezTo>
                      <a:pt x="5479" y="19100"/>
                      <a:pt x="11280" y="19578"/>
                      <a:pt x="15108" y="16229"/>
                    </a:cubicBezTo>
                    <a:cubicBezTo>
                      <a:pt x="18996" y="12940"/>
                      <a:pt x="19414" y="7139"/>
                      <a:pt x="16125" y="3251"/>
                    </a:cubicBezTo>
                    <a:close/>
                  </a:path>
                </a:pathLst>
              </a:custGeom>
              <a:grpFill/>
              <a:ln w="5978" cap="flat">
                <a:noFill/>
                <a:prstDash val="solid"/>
                <a:miter/>
              </a:ln>
            </p:spPr>
            <p:txBody>
              <a:bodyPr rtlCol="0" anchor="ctr"/>
              <a:lstStyle/>
              <a:p>
                <a:endParaRPr lang="en-GB"/>
              </a:p>
            </p:txBody>
          </p:sp>
        </p:grpSp>
        <p:grpSp>
          <p:nvGrpSpPr>
            <p:cNvPr id="495" name="Graphic 3">
              <a:extLst>
                <a:ext uri="{FF2B5EF4-FFF2-40B4-BE49-F238E27FC236}">
                  <a16:creationId xmlns:a16="http://schemas.microsoft.com/office/drawing/2014/main" id="{71781C4B-35A8-4325-9A2F-A5F6C63BD725}"/>
                </a:ext>
              </a:extLst>
            </p:cNvPr>
            <p:cNvGrpSpPr/>
            <p:nvPr/>
          </p:nvGrpSpPr>
          <p:grpSpPr>
            <a:xfrm>
              <a:off x="6278489" y="1640564"/>
              <a:ext cx="32123" cy="117722"/>
              <a:chOff x="6278489" y="1640564"/>
              <a:chExt cx="32123" cy="117722"/>
            </a:xfrm>
            <a:grpFill/>
          </p:grpSpPr>
          <p:sp>
            <p:nvSpPr>
              <p:cNvPr id="3900" name="Vrije vorm: vorm 3899">
                <a:extLst>
                  <a:ext uri="{FF2B5EF4-FFF2-40B4-BE49-F238E27FC236}">
                    <a16:creationId xmlns:a16="http://schemas.microsoft.com/office/drawing/2014/main" id="{14E1DBB1-6B30-44E8-999A-27C9E58C164A}"/>
                  </a:ext>
                </a:extLst>
              </p:cNvPr>
              <p:cNvSpPr/>
              <p:nvPr/>
            </p:nvSpPr>
            <p:spPr>
              <a:xfrm>
                <a:off x="6286057" y="1649104"/>
                <a:ext cx="16985" cy="100655"/>
              </a:xfrm>
              <a:custGeom>
                <a:avLst/>
                <a:gdLst>
                  <a:gd name="connsiteX0" fmla="*/ 16985 w 16985"/>
                  <a:gd name="connsiteY0" fmla="*/ 419 h 100655"/>
                  <a:gd name="connsiteX1" fmla="*/ 3050 w 16985"/>
                  <a:gd name="connsiteY1" fmla="*/ 100656 h 100655"/>
                  <a:gd name="connsiteX2" fmla="*/ 0 w 16985"/>
                  <a:gd name="connsiteY2" fmla="*/ 100237 h 100655"/>
                  <a:gd name="connsiteX3" fmla="*/ 13995 w 16985"/>
                  <a:gd name="connsiteY3" fmla="*/ 0 h 100655"/>
                </a:gdLst>
                <a:ahLst/>
                <a:cxnLst>
                  <a:cxn ang="0">
                    <a:pos x="connsiteX0" y="connsiteY0"/>
                  </a:cxn>
                  <a:cxn ang="0">
                    <a:pos x="connsiteX1" y="connsiteY1"/>
                  </a:cxn>
                  <a:cxn ang="0">
                    <a:pos x="connsiteX2" y="connsiteY2"/>
                  </a:cxn>
                  <a:cxn ang="0">
                    <a:pos x="connsiteX3" y="connsiteY3"/>
                  </a:cxn>
                </a:cxnLst>
                <a:rect l="l" t="t" r="r" b="b"/>
                <a:pathLst>
                  <a:path w="16985" h="100655">
                    <a:moveTo>
                      <a:pt x="16985" y="419"/>
                    </a:moveTo>
                    <a:lnTo>
                      <a:pt x="3050" y="100656"/>
                    </a:lnTo>
                    <a:lnTo>
                      <a:pt x="0" y="100237"/>
                    </a:lnTo>
                    <a:lnTo>
                      <a:pt x="13995" y="0"/>
                    </a:lnTo>
                    <a:close/>
                  </a:path>
                </a:pathLst>
              </a:custGeom>
              <a:grpFill/>
              <a:ln w="5978" cap="flat">
                <a:noFill/>
                <a:prstDash val="solid"/>
                <a:miter/>
              </a:ln>
            </p:spPr>
            <p:txBody>
              <a:bodyPr rtlCol="0" anchor="ctr"/>
              <a:lstStyle/>
              <a:p>
                <a:endParaRPr lang="en-GB"/>
              </a:p>
            </p:txBody>
          </p:sp>
          <p:sp>
            <p:nvSpPr>
              <p:cNvPr id="3901" name="Vrije vorm: vorm 3900">
                <a:extLst>
                  <a:ext uri="{FF2B5EF4-FFF2-40B4-BE49-F238E27FC236}">
                    <a16:creationId xmlns:a16="http://schemas.microsoft.com/office/drawing/2014/main" id="{25C0186A-8515-4DC4-9646-7E01A9712730}"/>
                  </a:ext>
                </a:extLst>
              </p:cNvPr>
              <p:cNvSpPr/>
              <p:nvPr/>
            </p:nvSpPr>
            <p:spPr>
              <a:xfrm>
                <a:off x="6292317" y="1640564"/>
                <a:ext cx="18295" cy="18396"/>
              </a:xfrm>
              <a:custGeom>
                <a:avLst/>
                <a:gdLst>
                  <a:gd name="connsiteX0" fmla="*/ 80 w 18295"/>
                  <a:gd name="connsiteY0" fmla="*/ 7882 h 18396"/>
                  <a:gd name="connsiteX1" fmla="*/ 10427 w 18295"/>
                  <a:gd name="connsiteY1" fmla="*/ 107 h 18396"/>
                  <a:gd name="connsiteX2" fmla="*/ 18202 w 18295"/>
                  <a:gd name="connsiteY2" fmla="*/ 10514 h 18396"/>
                  <a:gd name="connsiteX3" fmla="*/ 7855 w 18295"/>
                  <a:gd name="connsiteY3" fmla="*/ 18289 h 18396"/>
                  <a:gd name="connsiteX4" fmla="*/ 80 w 18295"/>
                  <a:gd name="connsiteY4" fmla="*/ 788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396">
                    <a:moveTo>
                      <a:pt x="80" y="7882"/>
                    </a:moveTo>
                    <a:cubicBezTo>
                      <a:pt x="798" y="2859"/>
                      <a:pt x="5403" y="-670"/>
                      <a:pt x="10427" y="107"/>
                    </a:cubicBezTo>
                    <a:cubicBezTo>
                      <a:pt x="15451" y="825"/>
                      <a:pt x="18919" y="5490"/>
                      <a:pt x="18202" y="10514"/>
                    </a:cubicBezTo>
                    <a:cubicBezTo>
                      <a:pt x="17484" y="15538"/>
                      <a:pt x="12879" y="19066"/>
                      <a:pt x="7855" y="18289"/>
                    </a:cubicBezTo>
                    <a:cubicBezTo>
                      <a:pt x="2891" y="17571"/>
                      <a:pt x="-578" y="12906"/>
                      <a:pt x="80" y="7882"/>
                    </a:cubicBezTo>
                    <a:close/>
                  </a:path>
                </a:pathLst>
              </a:custGeom>
              <a:grpFill/>
              <a:ln w="5978" cap="flat">
                <a:noFill/>
                <a:prstDash val="solid"/>
                <a:miter/>
              </a:ln>
            </p:spPr>
            <p:txBody>
              <a:bodyPr rtlCol="0" anchor="ctr"/>
              <a:lstStyle/>
              <a:p>
                <a:endParaRPr lang="en-GB"/>
              </a:p>
            </p:txBody>
          </p:sp>
          <p:sp>
            <p:nvSpPr>
              <p:cNvPr id="3902" name="Vrije vorm: vorm 3901">
                <a:extLst>
                  <a:ext uri="{FF2B5EF4-FFF2-40B4-BE49-F238E27FC236}">
                    <a16:creationId xmlns:a16="http://schemas.microsoft.com/office/drawing/2014/main" id="{A3D58F6A-E81A-4C12-A9CB-AAFDC611A29A}"/>
                  </a:ext>
                </a:extLst>
              </p:cNvPr>
              <p:cNvSpPr/>
              <p:nvPr/>
            </p:nvSpPr>
            <p:spPr>
              <a:xfrm>
                <a:off x="6278489" y="1739903"/>
                <a:ext cx="18367" cy="18384"/>
              </a:xfrm>
              <a:custGeom>
                <a:avLst/>
                <a:gdLst>
                  <a:gd name="connsiteX0" fmla="*/ 93 w 18367"/>
                  <a:gd name="connsiteY0" fmla="*/ 7884 h 18384"/>
                  <a:gd name="connsiteX1" fmla="*/ 7927 w 18367"/>
                  <a:gd name="connsiteY1" fmla="*/ 18290 h 18384"/>
                  <a:gd name="connsiteX2" fmla="*/ 18274 w 18367"/>
                  <a:gd name="connsiteY2" fmla="*/ 10515 h 18384"/>
                  <a:gd name="connsiteX3" fmla="*/ 10499 w 18367"/>
                  <a:gd name="connsiteY3" fmla="*/ 109 h 18384"/>
                  <a:gd name="connsiteX4" fmla="*/ 93 w 18367"/>
                  <a:gd name="connsiteY4" fmla="*/ 7884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384">
                    <a:moveTo>
                      <a:pt x="93" y="7884"/>
                    </a:moveTo>
                    <a:cubicBezTo>
                      <a:pt x="-625" y="12908"/>
                      <a:pt x="2904" y="17573"/>
                      <a:pt x="7927" y="18290"/>
                    </a:cubicBezTo>
                    <a:cubicBezTo>
                      <a:pt x="12951" y="19008"/>
                      <a:pt x="17557" y="15539"/>
                      <a:pt x="18274" y="10515"/>
                    </a:cubicBezTo>
                    <a:cubicBezTo>
                      <a:pt x="18992" y="5492"/>
                      <a:pt x="15463" y="827"/>
                      <a:pt x="10499" y="109"/>
                    </a:cubicBezTo>
                    <a:cubicBezTo>
                      <a:pt x="5416" y="-669"/>
                      <a:pt x="810" y="2800"/>
                      <a:pt x="93" y="7884"/>
                    </a:cubicBezTo>
                    <a:close/>
                  </a:path>
                </a:pathLst>
              </a:custGeom>
              <a:grpFill/>
              <a:ln w="5978" cap="flat">
                <a:noFill/>
                <a:prstDash val="solid"/>
                <a:miter/>
              </a:ln>
            </p:spPr>
            <p:txBody>
              <a:bodyPr rtlCol="0" anchor="ctr"/>
              <a:lstStyle/>
              <a:p>
                <a:endParaRPr lang="en-GB"/>
              </a:p>
            </p:txBody>
          </p:sp>
        </p:grpSp>
        <p:grpSp>
          <p:nvGrpSpPr>
            <p:cNvPr id="496" name="Graphic 3">
              <a:extLst>
                <a:ext uri="{FF2B5EF4-FFF2-40B4-BE49-F238E27FC236}">
                  <a16:creationId xmlns:a16="http://schemas.microsoft.com/office/drawing/2014/main" id="{86AC4A57-DB40-4E5C-B8D2-51B0E93F731D}"/>
                </a:ext>
              </a:extLst>
            </p:cNvPr>
            <p:cNvGrpSpPr/>
            <p:nvPr/>
          </p:nvGrpSpPr>
          <p:grpSpPr>
            <a:xfrm>
              <a:off x="7239205" y="4616088"/>
              <a:ext cx="106098" cy="107316"/>
              <a:chOff x="7239205" y="4616088"/>
              <a:chExt cx="106098" cy="107316"/>
            </a:xfrm>
            <a:grpFill/>
          </p:grpSpPr>
          <p:sp>
            <p:nvSpPr>
              <p:cNvPr id="3897" name="Vrije vorm: vorm 3896">
                <a:extLst>
                  <a:ext uri="{FF2B5EF4-FFF2-40B4-BE49-F238E27FC236}">
                    <a16:creationId xmlns:a16="http://schemas.microsoft.com/office/drawing/2014/main" id="{0566AD6F-7BC1-4588-98F7-03D7BB2F2F7A}"/>
                  </a:ext>
                </a:extLst>
              </p:cNvPr>
              <p:cNvSpPr/>
              <p:nvPr/>
            </p:nvSpPr>
            <p:spPr>
              <a:xfrm>
                <a:off x="7246980" y="4623915"/>
                <a:ext cx="90548" cy="91624"/>
              </a:xfrm>
              <a:custGeom>
                <a:avLst/>
                <a:gdLst>
                  <a:gd name="connsiteX0" fmla="*/ 90548 w 90548"/>
                  <a:gd name="connsiteY0" fmla="*/ 89472 h 91624"/>
                  <a:gd name="connsiteX1" fmla="*/ 88395 w 90548"/>
                  <a:gd name="connsiteY1" fmla="*/ 91625 h 91624"/>
                  <a:gd name="connsiteX2" fmla="*/ 0 w 90548"/>
                  <a:gd name="connsiteY2" fmla="*/ 2153 h 91624"/>
                  <a:gd name="connsiteX3" fmla="*/ 2153 w 90548"/>
                  <a:gd name="connsiteY3" fmla="*/ 0 h 91624"/>
                </a:gdLst>
                <a:ahLst/>
                <a:cxnLst>
                  <a:cxn ang="0">
                    <a:pos x="connsiteX0" y="connsiteY0"/>
                  </a:cxn>
                  <a:cxn ang="0">
                    <a:pos x="connsiteX1" y="connsiteY1"/>
                  </a:cxn>
                  <a:cxn ang="0">
                    <a:pos x="connsiteX2" y="connsiteY2"/>
                  </a:cxn>
                  <a:cxn ang="0">
                    <a:pos x="connsiteX3" y="connsiteY3"/>
                  </a:cxn>
                </a:cxnLst>
                <a:rect l="l" t="t" r="r" b="b"/>
                <a:pathLst>
                  <a:path w="90548" h="91624">
                    <a:moveTo>
                      <a:pt x="90548" y="89472"/>
                    </a:moveTo>
                    <a:lnTo>
                      <a:pt x="88395" y="91625"/>
                    </a:lnTo>
                    <a:lnTo>
                      <a:pt x="0" y="2153"/>
                    </a:lnTo>
                    <a:lnTo>
                      <a:pt x="2153" y="0"/>
                    </a:lnTo>
                    <a:close/>
                  </a:path>
                </a:pathLst>
              </a:custGeom>
              <a:grpFill/>
              <a:ln w="5978" cap="flat">
                <a:noFill/>
                <a:prstDash val="solid"/>
                <a:miter/>
              </a:ln>
            </p:spPr>
            <p:txBody>
              <a:bodyPr rtlCol="0" anchor="ctr"/>
              <a:lstStyle/>
              <a:p>
                <a:endParaRPr lang="en-GB"/>
              </a:p>
            </p:txBody>
          </p:sp>
          <p:sp>
            <p:nvSpPr>
              <p:cNvPr id="3898" name="Vrije vorm: vorm 3897">
                <a:extLst>
                  <a:ext uri="{FF2B5EF4-FFF2-40B4-BE49-F238E27FC236}">
                    <a16:creationId xmlns:a16="http://schemas.microsoft.com/office/drawing/2014/main" id="{4472C507-E1B7-4E48-A7E5-50D6966ED67D}"/>
                  </a:ext>
                </a:extLst>
              </p:cNvPr>
              <p:cNvSpPr/>
              <p:nvPr/>
            </p:nvSpPr>
            <p:spPr>
              <a:xfrm>
                <a:off x="7326942" y="4704961"/>
                <a:ext cx="18360" cy="18443"/>
              </a:xfrm>
              <a:custGeom>
                <a:avLst/>
                <a:gdLst>
                  <a:gd name="connsiteX0" fmla="*/ 15670 w 18360"/>
                  <a:gd name="connsiteY0" fmla="*/ 2744 h 18443"/>
                  <a:gd name="connsiteX1" fmla="*/ 15670 w 18360"/>
                  <a:gd name="connsiteY1" fmla="*/ 15782 h 18443"/>
                  <a:gd name="connsiteX2" fmla="*/ 2691 w 18360"/>
                  <a:gd name="connsiteY2" fmla="*/ 15722 h 18443"/>
                  <a:gd name="connsiteX3" fmla="*/ 2691 w 18360"/>
                  <a:gd name="connsiteY3" fmla="*/ 2684 h 18443"/>
                  <a:gd name="connsiteX4" fmla="*/ 15670 w 18360"/>
                  <a:gd name="connsiteY4" fmla="*/ 274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43">
                    <a:moveTo>
                      <a:pt x="15670" y="2744"/>
                    </a:moveTo>
                    <a:cubicBezTo>
                      <a:pt x="19258" y="6392"/>
                      <a:pt x="19258" y="12193"/>
                      <a:pt x="15670" y="15782"/>
                    </a:cubicBezTo>
                    <a:cubicBezTo>
                      <a:pt x="12081" y="19370"/>
                      <a:pt x="6280" y="19310"/>
                      <a:pt x="2691" y="15722"/>
                    </a:cubicBezTo>
                    <a:cubicBezTo>
                      <a:pt x="-897" y="12133"/>
                      <a:pt x="-897" y="6272"/>
                      <a:pt x="2691" y="2684"/>
                    </a:cubicBezTo>
                    <a:cubicBezTo>
                      <a:pt x="6280" y="-905"/>
                      <a:pt x="12081" y="-905"/>
                      <a:pt x="15670" y="2744"/>
                    </a:cubicBezTo>
                    <a:close/>
                  </a:path>
                </a:pathLst>
              </a:custGeom>
              <a:grpFill/>
              <a:ln w="5978" cap="flat">
                <a:noFill/>
                <a:prstDash val="solid"/>
                <a:miter/>
              </a:ln>
            </p:spPr>
            <p:txBody>
              <a:bodyPr rtlCol="0" anchor="ctr"/>
              <a:lstStyle/>
              <a:p>
                <a:endParaRPr lang="en-GB"/>
              </a:p>
            </p:txBody>
          </p:sp>
          <p:sp>
            <p:nvSpPr>
              <p:cNvPr id="3899" name="Vrije vorm: vorm 3898">
                <a:extLst>
                  <a:ext uri="{FF2B5EF4-FFF2-40B4-BE49-F238E27FC236}">
                    <a16:creationId xmlns:a16="http://schemas.microsoft.com/office/drawing/2014/main" id="{FD003990-D791-49DB-B3CD-459882D29EE4}"/>
                  </a:ext>
                </a:extLst>
              </p:cNvPr>
              <p:cNvSpPr/>
              <p:nvPr/>
            </p:nvSpPr>
            <p:spPr>
              <a:xfrm>
                <a:off x="7239205" y="4616088"/>
                <a:ext cx="18316" cy="18443"/>
              </a:xfrm>
              <a:custGeom>
                <a:avLst/>
                <a:gdLst>
                  <a:gd name="connsiteX0" fmla="*/ 15669 w 18316"/>
                  <a:gd name="connsiteY0" fmla="*/ 2744 h 18443"/>
                  <a:gd name="connsiteX1" fmla="*/ 2692 w 18316"/>
                  <a:gd name="connsiteY1" fmla="*/ 2684 h 18443"/>
                  <a:gd name="connsiteX2" fmla="*/ 2692 w 18316"/>
                  <a:gd name="connsiteY2" fmla="*/ 15722 h 18443"/>
                  <a:gd name="connsiteX3" fmla="*/ 15669 w 18316"/>
                  <a:gd name="connsiteY3" fmla="*/ 15782 h 18443"/>
                  <a:gd name="connsiteX4" fmla="*/ 15669 w 18316"/>
                  <a:gd name="connsiteY4" fmla="*/ 274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3">
                    <a:moveTo>
                      <a:pt x="15669" y="2744"/>
                    </a:moveTo>
                    <a:cubicBezTo>
                      <a:pt x="12081" y="-905"/>
                      <a:pt x="6280" y="-905"/>
                      <a:pt x="2692" y="2684"/>
                    </a:cubicBezTo>
                    <a:cubicBezTo>
                      <a:pt x="-897" y="6272"/>
                      <a:pt x="-897" y="12074"/>
                      <a:pt x="2692" y="15722"/>
                    </a:cubicBezTo>
                    <a:cubicBezTo>
                      <a:pt x="6280" y="19310"/>
                      <a:pt x="12081" y="19370"/>
                      <a:pt x="15669" y="15782"/>
                    </a:cubicBezTo>
                    <a:cubicBezTo>
                      <a:pt x="19199" y="12193"/>
                      <a:pt x="19199" y="6332"/>
                      <a:pt x="15669" y="2744"/>
                    </a:cubicBezTo>
                    <a:close/>
                  </a:path>
                </a:pathLst>
              </a:custGeom>
              <a:grpFill/>
              <a:ln w="5978" cap="flat">
                <a:noFill/>
                <a:prstDash val="solid"/>
                <a:miter/>
              </a:ln>
            </p:spPr>
            <p:txBody>
              <a:bodyPr rtlCol="0" anchor="ctr"/>
              <a:lstStyle/>
              <a:p>
                <a:endParaRPr lang="en-GB"/>
              </a:p>
            </p:txBody>
          </p:sp>
        </p:grpSp>
        <p:grpSp>
          <p:nvGrpSpPr>
            <p:cNvPr id="497" name="Graphic 3">
              <a:extLst>
                <a:ext uri="{FF2B5EF4-FFF2-40B4-BE49-F238E27FC236}">
                  <a16:creationId xmlns:a16="http://schemas.microsoft.com/office/drawing/2014/main" id="{B0BE3736-023F-4414-8907-EACEF42951D8}"/>
                </a:ext>
              </a:extLst>
            </p:cNvPr>
            <p:cNvGrpSpPr/>
            <p:nvPr/>
          </p:nvGrpSpPr>
          <p:grpSpPr>
            <a:xfrm>
              <a:off x="7294639" y="4769844"/>
              <a:ext cx="76124" cy="81496"/>
              <a:chOff x="7294639" y="4769844"/>
              <a:chExt cx="76124" cy="81496"/>
            </a:xfrm>
            <a:grpFill/>
          </p:grpSpPr>
          <p:sp>
            <p:nvSpPr>
              <p:cNvPr id="3894" name="Vrije vorm: vorm 3893">
                <a:extLst>
                  <a:ext uri="{FF2B5EF4-FFF2-40B4-BE49-F238E27FC236}">
                    <a16:creationId xmlns:a16="http://schemas.microsoft.com/office/drawing/2014/main" id="{93B4A972-5426-4207-AC58-B9A6C971283E}"/>
                  </a:ext>
                </a:extLst>
              </p:cNvPr>
              <p:cNvSpPr/>
              <p:nvPr/>
            </p:nvSpPr>
            <p:spPr>
              <a:xfrm>
                <a:off x="7302362" y="4777680"/>
                <a:ext cx="60704" cy="65787"/>
              </a:xfrm>
              <a:custGeom>
                <a:avLst/>
                <a:gdLst>
                  <a:gd name="connsiteX0" fmla="*/ 60704 w 60704"/>
                  <a:gd name="connsiteY0" fmla="*/ 63754 h 65787"/>
                  <a:gd name="connsiteX1" fmla="*/ 58432 w 60704"/>
                  <a:gd name="connsiteY1" fmla="*/ 65788 h 65787"/>
                  <a:gd name="connsiteX2" fmla="*/ 0 w 60704"/>
                  <a:gd name="connsiteY2" fmla="*/ 2093 h 65787"/>
                  <a:gd name="connsiteX3" fmla="*/ 2273 w 60704"/>
                  <a:gd name="connsiteY3" fmla="*/ 0 h 65787"/>
                </a:gdLst>
                <a:ahLst/>
                <a:cxnLst>
                  <a:cxn ang="0">
                    <a:pos x="connsiteX0" y="connsiteY0"/>
                  </a:cxn>
                  <a:cxn ang="0">
                    <a:pos x="connsiteX1" y="connsiteY1"/>
                  </a:cxn>
                  <a:cxn ang="0">
                    <a:pos x="connsiteX2" y="connsiteY2"/>
                  </a:cxn>
                  <a:cxn ang="0">
                    <a:pos x="connsiteX3" y="connsiteY3"/>
                  </a:cxn>
                </a:cxnLst>
                <a:rect l="l" t="t" r="r" b="b"/>
                <a:pathLst>
                  <a:path w="60704" h="65787">
                    <a:moveTo>
                      <a:pt x="60704" y="63754"/>
                    </a:moveTo>
                    <a:lnTo>
                      <a:pt x="58432" y="65788"/>
                    </a:lnTo>
                    <a:lnTo>
                      <a:pt x="0" y="2093"/>
                    </a:lnTo>
                    <a:lnTo>
                      <a:pt x="2273" y="0"/>
                    </a:lnTo>
                    <a:close/>
                  </a:path>
                </a:pathLst>
              </a:custGeom>
              <a:grpFill/>
              <a:ln w="5978" cap="flat">
                <a:noFill/>
                <a:prstDash val="solid"/>
                <a:miter/>
              </a:ln>
            </p:spPr>
            <p:txBody>
              <a:bodyPr rtlCol="0" anchor="ctr"/>
              <a:lstStyle/>
              <a:p>
                <a:endParaRPr lang="en-GB"/>
              </a:p>
            </p:txBody>
          </p:sp>
          <p:sp>
            <p:nvSpPr>
              <p:cNvPr id="3895" name="Vrije vorm: vorm 3894">
                <a:extLst>
                  <a:ext uri="{FF2B5EF4-FFF2-40B4-BE49-F238E27FC236}">
                    <a16:creationId xmlns:a16="http://schemas.microsoft.com/office/drawing/2014/main" id="{F4EBFFD1-7905-4EDC-8545-57BAD96E3F5B}"/>
                  </a:ext>
                </a:extLst>
              </p:cNvPr>
              <p:cNvSpPr/>
              <p:nvPr/>
            </p:nvSpPr>
            <p:spPr>
              <a:xfrm>
                <a:off x="7352437" y="4832881"/>
                <a:ext cx="18327" cy="18460"/>
              </a:xfrm>
              <a:custGeom>
                <a:avLst/>
                <a:gdLst>
                  <a:gd name="connsiteX0" fmla="*/ 15892 w 18327"/>
                  <a:gd name="connsiteY0" fmla="*/ 2991 h 18460"/>
                  <a:gd name="connsiteX1" fmla="*/ 15413 w 18327"/>
                  <a:gd name="connsiteY1" fmla="*/ 16029 h 18460"/>
                  <a:gd name="connsiteX2" fmla="*/ 2436 w 18327"/>
                  <a:gd name="connsiteY2" fmla="*/ 15491 h 18460"/>
                  <a:gd name="connsiteX3" fmla="*/ 2914 w 18327"/>
                  <a:gd name="connsiteY3" fmla="*/ 2453 h 18460"/>
                  <a:gd name="connsiteX4" fmla="*/ 15892 w 18327"/>
                  <a:gd name="connsiteY4" fmla="*/ 2991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0">
                    <a:moveTo>
                      <a:pt x="15892" y="2991"/>
                    </a:moveTo>
                    <a:cubicBezTo>
                      <a:pt x="19301" y="6759"/>
                      <a:pt x="19121" y="12560"/>
                      <a:pt x="15413" y="16029"/>
                    </a:cubicBezTo>
                    <a:cubicBezTo>
                      <a:pt x="11705" y="19498"/>
                      <a:pt x="5904" y="19199"/>
                      <a:pt x="2436" y="15491"/>
                    </a:cubicBezTo>
                    <a:cubicBezTo>
                      <a:pt x="-974" y="11723"/>
                      <a:pt x="-794" y="5921"/>
                      <a:pt x="2914" y="2453"/>
                    </a:cubicBezTo>
                    <a:cubicBezTo>
                      <a:pt x="6682" y="-1016"/>
                      <a:pt x="12483" y="-777"/>
                      <a:pt x="15892" y="2991"/>
                    </a:cubicBezTo>
                    <a:close/>
                  </a:path>
                </a:pathLst>
              </a:custGeom>
              <a:grpFill/>
              <a:ln w="5978" cap="flat">
                <a:noFill/>
                <a:prstDash val="solid"/>
                <a:miter/>
              </a:ln>
            </p:spPr>
            <p:txBody>
              <a:bodyPr rtlCol="0" anchor="ctr"/>
              <a:lstStyle/>
              <a:p>
                <a:endParaRPr lang="en-GB"/>
              </a:p>
            </p:txBody>
          </p:sp>
          <p:sp>
            <p:nvSpPr>
              <p:cNvPr id="3896" name="Vrije vorm: vorm 3895">
                <a:extLst>
                  <a:ext uri="{FF2B5EF4-FFF2-40B4-BE49-F238E27FC236}">
                    <a16:creationId xmlns:a16="http://schemas.microsoft.com/office/drawing/2014/main" id="{C33828D1-3267-4D89-A021-3371A51F5FA8}"/>
                  </a:ext>
                </a:extLst>
              </p:cNvPr>
              <p:cNvSpPr/>
              <p:nvPr/>
            </p:nvSpPr>
            <p:spPr>
              <a:xfrm>
                <a:off x="7294639" y="4769844"/>
                <a:ext cx="18372" cy="18481"/>
              </a:xfrm>
              <a:custGeom>
                <a:avLst/>
                <a:gdLst>
                  <a:gd name="connsiteX0" fmla="*/ 15916 w 18372"/>
                  <a:gd name="connsiteY0" fmla="*/ 2991 h 18481"/>
                  <a:gd name="connsiteX1" fmla="*/ 2937 w 18372"/>
                  <a:gd name="connsiteY1" fmla="*/ 2452 h 18481"/>
                  <a:gd name="connsiteX2" fmla="*/ 2459 w 18372"/>
                  <a:gd name="connsiteY2" fmla="*/ 15490 h 18481"/>
                  <a:gd name="connsiteX3" fmla="*/ 15437 w 18372"/>
                  <a:gd name="connsiteY3" fmla="*/ 16029 h 18481"/>
                  <a:gd name="connsiteX4" fmla="*/ 15916 w 18372"/>
                  <a:gd name="connsiteY4" fmla="*/ 2991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81">
                    <a:moveTo>
                      <a:pt x="15916" y="2991"/>
                    </a:moveTo>
                    <a:cubicBezTo>
                      <a:pt x="12506" y="-777"/>
                      <a:pt x="6705" y="-1016"/>
                      <a:pt x="2937" y="2452"/>
                    </a:cubicBezTo>
                    <a:cubicBezTo>
                      <a:pt x="-771" y="5921"/>
                      <a:pt x="-1010" y="11722"/>
                      <a:pt x="2459" y="15490"/>
                    </a:cubicBezTo>
                    <a:cubicBezTo>
                      <a:pt x="5868" y="19258"/>
                      <a:pt x="11669" y="19498"/>
                      <a:pt x="15437" y="16029"/>
                    </a:cubicBezTo>
                    <a:cubicBezTo>
                      <a:pt x="19205" y="12560"/>
                      <a:pt x="19324" y="6759"/>
                      <a:pt x="15916" y="2991"/>
                    </a:cubicBezTo>
                    <a:close/>
                  </a:path>
                </a:pathLst>
              </a:custGeom>
              <a:grpFill/>
              <a:ln w="5978" cap="flat">
                <a:noFill/>
                <a:prstDash val="solid"/>
                <a:miter/>
              </a:ln>
            </p:spPr>
            <p:txBody>
              <a:bodyPr rtlCol="0" anchor="ctr"/>
              <a:lstStyle/>
              <a:p>
                <a:endParaRPr lang="en-GB"/>
              </a:p>
            </p:txBody>
          </p:sp>
        </p:grpSp>
        <p:grpSp>
          <p:nvGrpSpPr>
            <p:cNvPr id="498" name="Graphic 3">
              <a:extLst>
                <a:ext uri="{FF2B5EF4-FFF2-40B4-BE49-F238E27FC236}">
                  <a16:creationId xmlns:a16="http://schemas.microsoft.com/office/drawing/2014/main" id="{763B66F2-32CD-4293-BBF5-51B30DEC3F19}"/>
                </a:ext>
              </a:extLst>
            </p:cNvPr>
            <p:cNvGrpSpPr/>
            <p:nvPr/>
          </p:nvGrpSpPr>
          <p:grpSpPr>
            <a:xfrm>
              <a:off x="7167417" y="4678523"/>
              <a:ext cx="402839" cy="517325"/>
              <a:chOff x="7167417" y="4678523"/>
              <a:chExt cx="402839" cy="517325"/>
            </a:xfrm>
            <a:grpFill/>
          </p:grpSpPr>
          <p:sp>
            <p:nvSpPr>
              <p:cNvPr id="3891" name="Vrije vorm: vorm 3890">
                <a:extLst>
                  <a:ext uri="{FF2B5EF4-FFF2-40B4-BE49-F238E27FC236}">
                    <a16:creationId xmlns:a16="http://schemas.microsoft.com/office/drawing/2014/main" id="{B3A8F673-D108-4E81-8433-8DD91B471B78}"/>
                  </a:ext>
                </a:extLst>
              </p:cNvPr>
              <p:cNvSpPr/>
              <p:nvPr/>
            </p:nvSpPr>
            <p:spPr>
              <a:xfrm>
                <a:off x="7175092" y="4686414"/>
                <a:ext cx="387491" cy="501543"/>
              </a:xfrm>
              <a:custGeom>
                <a:avLst/>
                <a:gdLst>
                  <a:gd name="connsiteX0" fmla="*/ 387491 w 387491"/>
                  <a:gd name="connsiteY0" fmla="*/ 499629 h 501543"/>
                  <a:gd name="connsiteX1" fmla="*/ 385099 w 387491"/>
                  <a:gd name="connsiteY1" fmla="*/ 501543 h 501543"/>
                  <a:gd name="connsiteX2" fmla="*/ 0 w 387491"/>
                  <a:gd name="connsiteY2" fmla="*/ 1854 h 501543"/>
                  <a:gd name="connsiteX3" fmla="*/ 2392 w 387491"/>
                  <a:gd name="connsiteY3" fmla="*/ 0 h 501543"/>
                </a:gdLst>
                <a:ahLst/>
                <a:cxnLst>
                  <a:cxn ang="0">
                    <a:pos x="connsiteX0" y="connsiteY0"/>
                  </a:cxn>
                  <a:cxn ang="0">
                    <a:pos x="connsiteX1" y="connsiteY1"/>
                  </a:cxn>
                  <a:cxn ang="0">
                    <a:pos x="connsiteX2" y="connsiteY2"/>
                  </a:cxn>
                  <a:cxn ang="0">
                    <a:pos x="connsiteX3" y="connsiteY3"/>
                  </a:cxn>
                </a:cxnLst>
                <a:rect l="l" t="t" r="r" b="b"/>
                <a:pathLst>
                  <a:path w="387491" h="501543">
                    <a:moveTo>
                      <a:pt x="387491" y="499629"/>
                    </a:moveTo>
                    <a:lnTo>
                      <a:pt x="385099" y="501543"/>
                    </a:lnTo>
                    <a:lnTo>
                      <a:pt x="0" y="1854"/>
                    </a:lnTo>
                    <a:lnTo>
                      <a:pt x="2392" y="0"/>
                    </a:lnTo>
                    <a:close/>
                  </a:path>
                </a:pathLst>
              </a:custGeom>
              <a:grpFill/>
              <a:ln w="5978" cap="flat">
                <a:noFill/>
                <a:prstDash val="solid"/>
                <a:miter/>
              </a:ln>
            </p:spPr>
            <p:txBody>
              <a:bodyPr rtlCol="0" anchor="ctr"/>
              <a:lstStyle/>
              <a:p>
                <a:endParaRPr lang="en-GB"/>
              </a:p>
            </p:txBody>
          </p:sp>
          <p:sp>
            <p:nvSpPr>
              <p:cNvPr id="3892" name="Vrije vorm: vorm 3891">
                <a:extLst>
                  <a:ext uri="{FF2B5EF4-FFF2-40B4-BE49-F238E27FC236}">
                    <a16:creationId xmlns:a16="http://schemas.microsoft.com/office/drawing/2014/main" id="{F61DB58E-6D6D-4682-9E94-67A28C5E7912}"/>
                  </a:ext>
                </a:extLst>
              </p:cNvPr>
              <p:cNvSpPr/>
              <p:nvPr/>
            </p:nvSpPr>
            <p:spPr>
              <a:xfrm>
                <a:off x="7167417" y="4678523"/>
                <a:ext cx="18338" cy="18413"/>
              </a:xfrm>
              <a:custGeom>
                <a:avLst/>
                <a:gdLst>
                  <a:gd name="connsiteX0" fmla="*/ 1933 w 18338"/>
                  <a:gd name="connsiteY0" fmla="*/ 14829 h 18413"/>
                  <a:gd name="connsiteX1" fmla="*/ 3548 w 18338"/>
                  <a:gd name="connsiteY1" fmla="*/ 1910 h 18413"/>
                  <a:gd name="connsiteX2" fmla="*/ 16406 w 18338"/>
                  <a:gd name="connsiteY2" fmla="*/ 3585 h 18413"/>
                  <a:gd name="connsiteX3" fmla="*/ 14791 w 18338"/>
                  <a:gd name="connsiteY3" fmla="*/ 16503 h 18413"/>
                  <a:gd name="connsiteX4" fmla="*/ 1933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3" y="14829"/>
                    </a:moveTo>
                    <a:cubicBezTo>
                      <a:pt x="-1177" y="10822"/>
                      <a:pt x="-459" y="5021"/>
                      <a:pt x="3548" y="1910"/>
                    </a:cubicBezTo>
                    <a:cubicBezTo>
                      <a:pt x="7554" y="-1200"/>
                      <a:pt x="13296" y="-422"/>
                      <a:pt x="16406" y="3585"/>
                    </a:cubicBezTo>
                    <a:cubicBezTo>
                      <a:pt x="19516" y="7592"/>
                      <a:pt x="18798" y="13393"/>
                      <a:pt x="14791" y="16503"/>
                    </a:cubicBezTo>
                    <a:cubicBezTo>
                      <a:pt x="10784" y="19614"/>
                      <a:pt x="5043" y="18836"/>
                      <a:pt x="1933" y="14829"/>
                    </a:cubicBezTo>
                    <a:close/>
                  </a:path>
                </a:pathLst>
              </a:custGeom>
              <a:grpFill/>
              <a:ln w="5978" cap="flat">
                <a:noFill/>
                <a:prstDash val="solid"/>
                <a:miter/>
              </a:ln>
            </p:spPr>
            <p:txBody>
              <a:bodyPr rtlCol="0" anchor="ctr"/>
              <a:lstStyle/>
              <a:p>
                <a:endParaRPr lang="en-GB"/>
              </a:p>
            </p:txBody>
          </p:sp>
          <p:sp>
            <p:nvSpPr>
              <p:cNvPr id="3893" name="Vrije vorm: vorm 3892">
                <a:extLst>
                  <a:ext uri="{FF2B5EF4-FFF2-40B4-BE49-F238E27FC236}">
                    <a16:creationId xmlns:a16="http://schemas.microsoft.com/office/drawing/2014/main" id="{DA2A4A64-3B39-46E0-87EB-4706774AF9EF}"/>
                  </a:ext>
                </a:extLst>
              </p:cNvPr>
              <p:cNvSpPr/>
              <p:nvPr/>
            </p:nvSpPr>
            <p:spPr>
              <a:xfrm>
                <a:off x="7551918" y="5177434"/>
                <a:ext cx="18338" cy="18413"/>
              </a:xfrm>
              <a:custGeom>
                <a:avLst/>
                <a:gdLst>
                  <a:gd name="connsiteX0" fmla="*/ 1932 w 18338"/>
                  <a:gd name="connsiteY0" fmla="*/ 14829 h 18413"/>
                  <a:gd name="connsiteX1" fmla="*/ 14791 w 18338"/>
                  <a:gd name="connsiteY1" fmla="*/ 16503 h 18413"/>
                  <a:gd name="connsiteX2" fmla="*/ 16406 w 18338"/>
                  <a:gd name="connsiteY2" fmla="*/ 3585 h 18413"/>
                  <a:gd name="connsiteX3" fmla="*/ 3547 w 18338"/>
                  <a:gd name="connsiteY3" fmla="*/ 1910 h 18413"/>
                  <a:gd name="connsiteX4" fmla="*/ 1932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2" y="14829"/>
                    </a:moveTo>
                    <a:cubicBezTo>
                      <a:pt x="5043" y="18836"/>
                      <a:pt x="10785" y="19613"/>
                      <a:pt x="14791" y="16503"/>
                    </a:cubicBezTo>
                    <a:cubicBezTo>
                      <a:pt x="18798" y="13394"/>
                      <a:pt x="19516" y="7592"/>
                      <a:pt x="16406" y="3585"/>
                    </a:cubicBezTo>
                    <a:cubicBezTo>
                      <a:pt x="13296" y="-422"/>
                      <a:pt x="7555" y="-1199"/>
                      <a:pt x="3547" y="1910"/>
                    </a:cubicBezTo>
                    <a:cubicBezTo>
                      <a:pt x="-459" y="5020"/>
                      <a:pt x="-1177" y="10762"/>
                      <a:pt x="1932" y="14829"/>
                    </a:cubicBezTo>
                    <a:close/>
                  </a:path>
                </a:pathLst>
              </a:custGeom>
              <a:grpFill/>
              <a:ln w="5978" cap="flat">
                <a:noFill/>
                <a:prstDash val="solid"/>
                <a:miter/>
              </a:ln>
            </p:spPr>
            <p:txBody>
              <a:bodyPr rtlCol="0" anchor="ctr"/>
              <a:lstStyle/>
              <a:p>
                <a:endParaRPr lang="en-GB"/>
              </a:p>
            </p:txBody>
          </p:sp>
        </p:grpSp>
        <p:grpSp>
          <p:nvGrpSpPr>
            <p:cNvPr id="499" name="Graphic 3">
              <a:extLst>
                <a:ext uri="{FF2B5EF4-FFF2-40B4-BE49-F238E27FC236}">
                  <a16:creationId xmlns:a16="http://schemas.microsoft.com/office/drawing/2014/main" id="{FFDAFD04-B52F-469D-ABD7-734EDC0DF6C7}"/>
                </a:ext>
              </a:extLst>
            </p:cNvPr>
            <p:cNvGrpSpPr/>
            <p:nvPr/>
          </p:nvGrpSpPr>
          <p:grpSpPr>
            <a:xfrm>
              <a:off x="6203312" y="1478263"/>
              <a:ext cx="21115" cy="52455"/>
              <a:chOff x="6203312" y="1478263"/>
              <a:chExt cx="21115" cy="52455"/>
            </a:xfrm>
            <a:grpFill/>
          </p:grpSpPr>
          <p:sp>
            <p:nvSpPr>
              <p:cNvPr id="3888" name="Vrije vorm: vorm 3887">
                <a:extLst>
                  <a:ext uri="{FF2B5EF4-FFF2-40B4-BE49-F238E27FC236}">
                    <a16:creationId xmlns:a16="http://schemas.microsoft.com/office/drawing/2014/main" id="{C53E6D28-EB36-43A6-B7E5-5E1EB8F36328}"/>
                  </a:ext>
                </a:extLst>
              </p:cNvPr>
              <p:cNvSpPr/>
              <p:nvPr/>
            </p:nvSpPr>
            <p:spPr>
              <a:xfrm>
                <a:off x="6210880" y="1486907"/>
                <a:ext cx="5980" cy="35166"/>
              </a:xfrm>
              <a:custGeom>
                <a:avLst/>
                <a:gdLst>
                  <a:gd name="connsiteX0" fmla="*/ 5981 w 5980"/>
                  <a:gd name="connsiteY0" fmla="*/ 239 h 35166"/>
                  <a:gd name="connsiteX1" fmla="*/ 3050 w 5980"/>
                  <a:gd name="connsiteY1" fmla="*/ 35167 h 35166"/>
                  <a:gd name="connsiteX2" fmla="*/ 0 w 5980"/>
                  <a:gd name="connsiteY2" fmla="*/ 34927 h 35166"/>
                  <a:gd name="connsiteX3" fmla="*/ 2930 w 5980"/>
                  <a:gd name="connsiteY3" fmla="*/ 0 h 35166"/>
                </a:gdLst>
                <a:ahLst/>
                <a:cxnLst>
                  <a:cxn ang="0">
                    <a:pos x="connsiteX0" y="connsiteY0"/>
                  </a:cxn>
                  <a:cxn ang="0">
                    <a:pos x="connsiteX1" y="connsiteY1"/>
                  </a:cxn>
                  <a:cxn ang="0">
                    <a:pos x="connsiteX2" y="connsiteY2"/>
                  </a:cxn>
                  <a:cxn ang="0">
                    <a:pos x="connsiteX3" y="connsiteY3"/>
                  </a:cxn>
                </a:cxnLst>
                <a:rect l="l" t="t" r="r" b="b"/>
                <a:pathLst>
                  <a:path w="5980" h="35166">
                    <a:moveTo>
                      <a:pt x="5981" y="239"/>
                    </a:moveTo>
                    <a:lnTo>
                      <a:pt x="3050" y="35167"/>
                    </a:lnTo>
                    <a:lnTo>
                      <a:pt x="0" y="34927"/>
                    </a:lnTo>
                    <a:lnTo>
                      <a:pt x="2930" y="0"/>
                    </a:lnTo>
                    <a:close/>
                  </a:path>
                </a:pathLst>
              </a:custGeom>
              <a:grpFill/>
              <a:ln w="5978" cap="flat">
                <a:noFill/>
                <a:prstDash val="solid"/>
                <a:miter/>
              </a:ln>
            </p:spPr>
            <p:txBody>
              <a:bodyPr rtlCol="0" anchor="ctr"/>
              <a:lstStyle/>
              <a:p>
                <a:endParaRPr lang="en-GB"/>
              </a:p>
            </p:txBody>
          </p:sp>
          <p:sp>
            <p:nvSpPr>
              <p:cNvPr id="3889" name="Vrije vorm: vorm 3888">
                <a:extLst>
                  <a:ext uri="{FF2B5EF4-FFF2-40B4-BE49-F238E27FC236}">
                    <a16:creationId xmlns:a16="http://schemas.microsoft.com/office/drawing/2014/main" id="{D2E67EB8-C832-499B-AF54-02C905107B0D}"/>
                  </a:ext>
                </a:extLst>
              </p:cNvPr>
              <p:cNvSpPr/>
              <p:nvPr/>
            </p:nvSpPr>
            <p:spPr>
              <a:xfrm>
                <a:off x="6206123" y="1478263"/>
                <a:ext cx="18304" cy="18425"/>
              </a:xfrm>
              <a:custGeom>
                <a:avLst/>
                <a:gdLst>
                  <a:gd name="connsiteX0" fmla="*/ 32 w 18304"/>
                  <a:gd name="connsiteY0" fmla="*/ 8405 h 18425"/>
                  <a:gd name="connsiteX1" fmla="*/ 9900 w 18304"/>
                  <a:gd name="connsiteY1" fmla="*/ 32 h 18425"/>
                  <a:gd name="connsiteX2" fmla="*/ 18273 w 18304"/>
                  <a:gd name="connsiteY2" fmla="*/ 10020 h 18425"/>
                  <a:gd name="connsiteX3" fmla="*/ 8405 w 18304"/>
                  <a:gd name="connsiteY3" fmla="*/ 18393 h 18425"/>
                  <a:gd name="connsiteX4" fmla="*/ 32 w 1830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32" y="8405"/>
                    </a:moveTo>
                    <a:cubicBezTo>
                      <a:pt x="450" y="3322"/>
                      <a:pt x="4876" y="-386"/>
                      <a:pt x="9900" y="32"/>
                    </a:cubicBezTo>
                    <a:cubicBezTo>
                      <a:pt x="14924" y="451"/>
                      <a:pt x="18692" y="4936"/>
                      <a:pt x="18273" y="10020"/>
                    </a:cubicBezTo>
                    <a:cubicBezTo>
                      <a:pt x="17854" y="15104"/>
                      <a:pt x="13429" y="18812"/>
                      <a:pt x="8405" y="18393"/>
                    </a:cubicBezTo>
                    <a:cubicBezTo>
                      <a:pt x="3381" y="17974"/>
                      <a:pt x="-387" y="13489"/>
                      <a:pt x="32" y="8405"/>
                    </a:cubicBezTo>
                    <a:close/>
                  </a:path>
                </a:pathLst>
              </a:custGeom>
              <a:grpFill/>
              <a:ln w="5978" cap="flat">
                <a:noFill/>
                <a:prstDash val="solid"/>
                <a:miter/>
              </a:ln>
            </p:spPr>
            <p:txBody>
              <a:bodyPr rtlCol="0" anchor="ctr"/>
              <a:lstStyle/>
              <a:p>
                <a:endParaRPr lang="en-GB"/>
              </a:p>
            </p:txBody>
          </p:sp>
          <p:sp>
            <p:nvSpPr>
              <p:cNvPr id="3890" name="Vrije vorm: vorm 3889">
                <a:extLst>
                  <a:ext uri="{FF2B5EF4-FFF2-40B4-BE49-F238E27FC236}">
                    <a16:creationId xmlns:a16="http://schemas.microsoft.com/office/drawing/2014/main" id="{DFBAB166-1FBC-4BBD-8CEF-2E9955EEE647}"/>
                  </a:ext>
                </a:extLst>
              </p:cNvPr>
              <p:cNvSpPr/>
              <p:nvPr/>
            </p:nvSpPr>
            <p:spPr>
              <a:xfrm>
                <a:off x="6203312" y="1512284"/>
                <a:ext cx="18304" cy="18433"/>
              </a:xfrm>
              <a:custGeom>
                <a:avLst/>
                <a:gdLst>
                  <a:gd name="connsiteX0" fmla="*/ 32 w 18304"/>
                  <a:gd name="connsiteY0" fmla="*/ 8414 h 18433"/>
                  <a:gd name="connsiteX1" fmla="*/ 8405 w 18304"/>
                  <a:gd name="connsiteY1" fmla="*/ 18402 h 18433"/>
                  <a:gd name="connsiteX2" fmla="*/ 18273 w 18304"/>
                  <a:gd name="connsiteY2" fmla="*/ 10029 h 18433"/>
                  <a:gd name="connsiteX3" fmla="*/ 9900 w 18304"/>
                  <a:gd name="connsiteY3" fmla="*/ 41 h 18433"/>
                  <a:gd name="connsiteX4" fmla="*/ 32 w 18304"/>
                  <a:gd name="connsiteY4" fmla="*/ 8414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3">
                    <a:moveTo>
                      <a:pt x="32" y="8414"/>
                    </a:moveTo>
                    <a:cubicBezTo>
                      <a:pt x="-387" y="13498"/>
                      <a:pt x="3381" y="17923"/>
                      <a:pt x="8405" y="18402"/>
                    </a:cubicBezTo>
                    <a:cubicBezTo>
                      <a:pt x="13429" y="18820"/>
                      <a:pt x="17854" y="15112"/>
                      <a:pt x="18273" y="10029"/>
                    </a:cubicBezTo>
                    <a:cubicBezTo>
                      <a:pt x="18692" y="4945"/>
                      <a:pt x="14924" y="519"/>
                      <a:pt x="9900" y="41"/>
                    </a:cubicBezTo>
                    <a:cubicBezTo>
                      <a:pt x="4876" y="-437"/>
                      <a:pt x="450" y="3330"/>
                      <a:pt x="32" y="8414"/>
                    </a:cubicBezTo>
                    <a:close/>
                  </a:path>
                </a:pathLst>
              </a:custGeom>
              <a:grpFill/>
              <a:ln w="5978" cap="flat">
                <a:noFill/>
                <a:prstDash val="solid"/>
                <a:miter/>
              </a:ln>
            </p:spPr>
            <p:txBody>
              <a:bodyPr rtlCol="0" anchor="ctr"/>
              <a:lstStyle/>
              <a:p>
                <a:endParaRPr lang="en-GB"/>
              </a:p>
            </p:txBody>
          </p:sp>
        </p:grpSp>
        <p:grpSp>
          <p:nvGrpSpPr>
            <p:cNvPr id="500" name="Graphic 3">
              <a:extLst>
                <a:ext uri="{FF2B5EF4-FFF2-40B4-BE49-F238E27FC236}">
                  <a16:creationId xmlns:a16="http://schemas.microsoft.com/office/drawing/2014/main" id="{E8F6DE0D-5343-4F54-B71F-588596194520}"/>
                </a:ext>
              </a:extLst>
            </p:cNvPr>
            <p:cNvGrpSpPr/>
            <p:nvPr/>
          </p:nvGrpSpPr>
          <p:grpSpPr>
            <a:xfrm>
              <a:off x="6217520" y="1454613"/>
              <a:ext cx="81211" cy="296718"/>
              <a:chOff x="6217520" y="1454613"/>
              <a:chExt cx="81211" cy="296718"/>
            </a:xfrm>
            <a:grpFill/>
          </p:grpSpPr>
          <p:sp>
            <p:nvSpPr>
              <p:cNvPr id="3885" name="Vrije vorm: vorm 3884">
                <a:extLst>
                  <a:ext uri="{FF2B5EF4-FFF2-40B4-BE49-F238E27FC236}">
                    <a16:creationId xmlns:a16="http://schemas.microsoft.com/office/drawing/2014/main" id="{A5FBB4B1-EF2B-4AF5-B7C4-0EFAF4EFCA54}"/>
                  </a:ext>
                </a:extLst>
              </p:cNvPr>
              <p:cNvSpPr/>
              <p:nvPr/>
            </p:nvSpPr>
            <p:spPr>
              <a:xfrm>
                <a:off x="6225054" y="1463044"/>
                <a:ext cx="66086" cy="279897"/>
              </a:xfrm>
              <a:custGeom>
                <a:avLst/>
                <a:gdLst>
                  <a:gd name="connsiteX0" fmla="*/ 66087 w 66086"/>
                  <a:gd name="connsiteY0" fmla="*/ 718 h 279897"/>
                  <a:gd name="connsiteX1" fmla="*/ 2930 w 66086"/>
                  <a:gd name="connsiteY1" fmla="*/ 279898 h 279897"/>
                  <a:gd name="connsiteX2" fmla="*/ 0 w 66086"/>
                  <a:gd name="connsiteY2" fmla="*/ 279180 h 279897"/>
                  <a:gd name="connsiteX3" fmla="*/ 63156 w 66086"/>
                  <a:gd name="connsiteY3" fmla="*/ 0 h 279897"/>
                </a:gdLst>
                <a:ahLst/>
                <a:cxnLst>
                  <a:cxn ang="0">
                    <a:pos x="connsiteX0" y="connsiteY0"/>
                  </a:cxn>
                  <a:cxn ang="0">
                    <a:pos x="connsiteX1" y="connsiteY1"/>
                  </a:cxn>
                  <a:cxn ang="0">
                    <a:pos x="connsiteX2" y="connsiteY2"/>
                  </a:cxn>
                  <a:cxn ang="0">
                    <a:pos x="connsiteX3" y="connsiteY3"/>
                  </a:cxn>
                </a:cxnLst>
                <a:rect l="l" t="t" r="r" b="b"/>
                <a:pathLst>
                  <a:path w="66086" h="279897">
                    <a:moveTo>
                      <a:pt x="66087" y="718"/>
                    </a:moveTo>
                    <a:lnTo>
                      <a:pt x="2930" y="279898"/>
                    </a:lnTo>
                    <a:lnTo>
                      <a:pt x="0" y="279180"/>
                    </a:lnTo>
                    <a:lnTo>
                      <a:pt x="63156" y="0"/>
                    </a:lnTo>
                    <a:close/>
                  </a:path>
                </a:pathLst>
              </a:custGeom>
              <a:grpFill/>
              <a:ln w="5978" cap="flat">
                <a:noFill/>
                <a:prstDash val="solid"/>
                <a:miter/>
              </a:ln>
            </p:spPr>
            <p:txBody>
              <a:bodyPr rtlCol="0" anchor="ctr"/>
              <a:lstStyle/>
              <a:p>
                <a:endParaRPr lang="en-GB"/>
              </a:p>
            </p:txBody>
          </p:sp>
          <p:sp>
            <p:nvSpPr>
              <p:cNvPr id="3886" name="Vrije vorm: vorm 3885">
                <a:extLst>
                  <a:ext uri="{FF2B5EF4-FFF2-40B4-BE49-F238E27FC236}">
                    <a16:creationId xmlns:a16="http://schemas.microsoft.com/office/drawing/2014/main" id="{F53C72D2-52A8-432D-B092-81C9E433484A}"/>
                  </a:ext>
                </a:extLst>
              </p:cNvPr>
              <p:cNvSpPr/>
              <p:nvPr/>
            </p:nvSpPr>
            <p:spPr>
              <a:xfrm>
                <a:off x="6217520" y="1732877"/>
                <a:ext cx="18275" cy="18454"/>
              </a:xfrm>
              <a:custGeom>
                <a:avLst/>
                <a:gdLst>
                  <a:gd name="connsiteX0" fmla="*/ 18060 w 18275"/>
                  <a:gd name="connsiteY0" fmla="*/ 11321 h 18454"/>
                  <a:gd name="connsiteX1" fmla="*/ 7115 w 18275"/>
                  <a:gd name="connsiteY1" fmla="*/ 18198 h 18454"/>
                  <a:gd name="connsiteX2" fmla="*/ 237 w 18275"/>
                  <a:gd name="connsiteY2" fmla="*/ 7134 h 18454"/>
                  <a:gd name="connsiteX3" fmla="*/ 11182 w 18275"/>
                  <a:gd name="connsiteY3" fmla="*/ 256 h 18454"/>
                  <a:gd name="connsiteX4" fmla="*/ 18060 w 18275"/>
                  <a:gd name="connsiteY4" fmla="*/ 1132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54">
                    <a:moveTo>
                      <a:pt x="18060" y="11321"/>
                    </a:moveTo>
                    <a:cubicBezTo>
                      <a:pt x="16923" y="16285"/>
                      <a:pt x="12020" y="19394"/>
                      <a:pt x="7115" y="18198"/>
                    </a:cubicBezTo>
                    <a:cubicBezTo>
                      <a:pt x="2151" y="17062"/>
                      <a:pt x="-899" y="12098"/>
                      <a:pt x="237" y="7134"/>
                    </a:cubicBezTo>
                    <a:cubicBezTo>
                      <a:pt x="1374" y="2170"/>
                      <a:pt x="6278" y="-940"/>
                      <a:pt x="11182" y="256"/>
                    </a:cubicBezTo>
                    <a:cubicBezTo>
                      <a:pt x="16086" y="1452"/>
                      <a:pt x="19137" y="6416"/>
                      <a:pt x="18060" y="11321"/>
                    </a:cubicBezTo>
                    <a:close/>
                  </a:path>
                </a:pathLst>
              </a:custGeom>
              <a:grpFill/>
              <a:ln w="5978" cap="flat">
                <a:noFill/>
                <a:prstDash val="solid"/>
                <a:miter/>
              </a:ln>
            </p:spPr>
            <p:txBody>
              <a:bodyPr rtlCol="0" anchor="ctr"/>
              <a:lstStyle/>
              <a:p>
                <a:endParaRPr lang="en-GB"/>
              </a:p>
            </p:txBody>
          </p:sp>
          <p:sp>
            <p:nvSpPr>
              <p:cNvPr id="3887" name="Vrije vorm: vorm 3886">
                <a:extLst>
                  <a:ext uri="{FF2B5EF4-FFF2-40B4-BE49-F238E27FC236}">
                    <a16:creationId xmlns:a16="http://schemas.microsoft.com/office/drawing/2014/main" id="{98A189AA-0153-4CE1-A664-946F1BD1ED3C}"/>
                  </a:ext>
                </a:extLst>
              </p:cNvPr>
              <p:cNvSpPr/>
              <p:nvPr/>
            </p:nvSpPr>
            <p:spPr>
              <a:xfrm>
                <a:off x="6280440" y="1454613"/>
                <a:ext cx="18291" cy="18435"/>
              </a:xfrm>
              <a:custGeom>
                <a:avLst/>
                <a:gdLst>
                  <a:gd name="connsiteX0" fmla="*/ 18057 w 18291"/>
                  <a:gd name="connsiteY0" fmla="*/ 11302 h 18435"/>
                  <a:gd name="connsiteX1" fmla="*/ 11179 w 18291"/>
                  <a:gd name="connsiteY1" fmla="*/ 237 h 18435"/>
                  <a:gd name="connsiteX2" fmla="*/ 234 w 18291"/>
                  <a:gd name="connsiteY2" fmla="*/ 7115 h 18435"/>
                  <a:gd name="connsiteX3" fmla="*/ 7112 w 18291"/>
                  <a:gd name="connsiteY3" fmla="*/ 18180 h 18435"/>
                  <a:gd name="connsiteX4" fmla="*/ 18057 w 18291"/>
                  <a:gd name="connsiteY4" fmla="*/ 1130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35">
                    <a:moveTo>
                      <a:pt x="18057" y="11302"/>
                    </a:moveTo>
                    <a:cubicBezTo>
                      <a:pt x="19193" y="6338"/>
                      <a:pt x="16083" y="1374"/>
                      <a:pt x="11179" y="237"/>
                    </a:cubicBezTo>
                    <a:cubicBezTo>
                      <a:pt x="6215" y="-899"/>
                      <a:pt x="1311" y="2151"/>
                      <a:pt x="234" y="7115"/>
                    </a:cubicBezTo>
                    <a:cubicBezTo>
                      <a:pt x="-902" y="12079"/>
                      <a:pt x="2208" y="17043"/>
                      <a:pt x="7112" y="18180"/>
                    </a:cubicBezTo>
                    <a:cubicBezTo>
                      <a:pt x="12016" y="19376"/>
                      <a:pt x="16980" y="16266"/>
                      <a:pt x="18057" y="11302"/>
                    </a:cubicBezTo>
                    <a:close/>
                  </a:path>
                </a:pathLst>
              </a:custGeom>
              <a:grpFill/>
              <a:ln w="5978" cap="flat">
                <a:noFill/>
                <a:prstDash val="solid"/>
                <a:miter/>
              </a:ln>
            </p:spPr>
            <p:txBody>
              <a:bodyPr rtlCol="0" anchor="ctr"/>
              <a:lstStyle/>
              <a:p>
                <a:endParaRPr lang="en-GB"/>
              </a:p>
            </p:txBody>
          </p:sp>
        </p:grpSp>
        <p:grpSp>
          <p:nvGrpSpPr>
            <p:cNvPr id="501" name="Graphic 3">
              <a:extLst>
                <a:ext uri="{FF2B5EF4-FFF2-40B4-BE49-F238E27FC236}">
                  <a16:creationId xmlns:a16="http://schemas.microsoft.com/office/drawing/2014/main" id="{0D36B5D3-84EA-48C7-918D-52324F8C4CD3}"/>
                </a:ext>
              </a:extLst>
            </p:cNvPr>
            <p:cNvGrpSpPr/>
            <p:nvPr/>
          </p:nvGrpSpPr>
          <p:grpSpPr>
            <a:xfrm>
              <a:off x="6224643" y="1454738"/>
              <a:ext cx="38310" cy="214693"/>
              <a:chOff x="6224643" y="1454738"/>
              <a:chExt cx="38310" cy="214693"/>
            </a:xfrm>
            <a:grpFill/>
          </p:grpSpPr>
          <p:sp>
            <p:nvSpPr>
              <p:cNvPr id="3882" name="Vrije vorm: vorm 3881">
                <a:extLst>
                  <a:ext uri="{FF2B5EF4-FFF2-40B4-BE49-F238E27FC236}">
                    <a16:creationId xmlns:a16="http://schemas.microsoft.com/office/drawing/2014/main" id="{F407731B-0366-4BB6-8240-AAD2A79FFC63}"/>
                  </a:ext>
                </a:extLst>
              </p:cNvPr>
              <p:cNvSpPr/>
              <p:nvPr/>
            </p:nvSpPr>
            <p:spPr>
              <a:xfrm>
                <a:off x="6232291" y="1463343"/>
                <a:ext cx="23085" cy="197543"/>
              </a:xfrm>
              <a:custGeom>
                <a:avLst/>
                <a:gdLst>
                  <a:gd name="connsiteX0" fmla="*/ 23086 w 23085"/>
                  <a:gd name="connsiteY0" fmla="*/ 359 h 197543"/>
                  <a:gd name="connsiteX1" fmla="*/ 2990 w 23085"/>
                  <a:gd name="connsiteY1" fmla="*/ 197543 h 197543"/>
                  <a:gd name="connsiteX2" fmla="*/ 0 w 23085"/>
                  <a:gd name="connsiteY2" fmla="*/ 197244 h 197543"/>
                  <a:gd name="connsiteX3" fmla="*/ 20036 w 23085"/>
                  <a:gd name="connsiteY3" fmla="*/ 0 h 197543"/>
                </a:gdLst>
                <a:ahLst/>
                <a:cxnLst>
                  <a:cxn ang="0">
                    <a:pos x="connsiteX0" y="connsiteY0"/>
                  </a:cxn>
                  <a:cxn ang="0">
                    <a:pos x="connsiteX1" y="connsiteY1"/>
                  </a:cxn>
                  <a:cxn ang="0">
                    <a:pos x="connsiteX2" y="connsiteY2"/>
                  </a:cxn>
                  <a:cxn ang="0">
                    <a:pos x="connsiteX3" y="connsiteY3"/>
                  </a:cxn>
                </a:cxnLst>
                <a:rect l="l" t="t" r="r" b="b"/>
                <a:pathLst>
                  <a:path w="23085" h="197543">
                    <a:moveTo>
                      <a:pt x="23086" y="359"/>
                    </a:moveTo>
                    <a:lnTo>
                      <a:pt x="2990" y="197543"/>
                    </a:lnTo>
                    <a:lnTo>
                      <a:pt x="0" y="197244"/>
                    </a:lnTo>
                    <a:lnTo>
                      <a:pt x="20036" y="0"/>
                    </a:lnTo>
                    <a:close/>
                  </a:path>
                </a:pathLst>
              </a:custGeom>
              <a:grpFill/>
              <a:ln w="5978" cap="flat">
                <a:noFill/>
                <a:prstDash val="solid"/>
                <a:miter/>
              </a:ln>
            </p:spPr>
            <p:txBody>
              <a:bodyPr rtlCol="0" anchor="ctr"/>
              <a:lstStyle/>
              <a:p>
                <a:endParaRPr lang="en-GB"/>
              </a:p>
            </p:txBody>
          </p:sp>
          <p:sp>
            <p:nvSpPr>
              <p:cNvPr id="3883" name="Vrije vorm: vorm 3882">
                <a:extLst>
                  <a:ext uri="{FF2B5EF4-FFF2-40B4-BE49-F238E27FC236}">
                    <a16:creationId xmlns:a16="http://schemas.microsoft.com/office/drawing/2014/main" id="{9B624F09-B44D-494B-8BB4-2C9C3AC6A6E1}"/>
                  </a:ext>
                </a:extLst>
              </p:cNvPr>
              <p:cNvSpPr/>
              <p:nvPr/>
            </p:nvSpPr>
            <p:spPr>
              <a:xfrm>
                <a:off x="6244628" y="1454738"/>
                <a:ext cx="18325" cy="18406"/>
              </a:xfrm>
              <a:custGeom>
                <a:avLst/>
                <a:gdLst>
                  <a:gd name="connsiteX0" fmla="*/ 42 w 18325"/>
                  <a:gd name="connsiteY0" fmla="*/ 8246 h 18406"/>
                  <a:gd name="connsiteX1" fmla="*/ 10090 w 18325"/>
                  <a:gd name="connsiteY1" fmla="*/ 53 h 18406"/>
                  <a:gd name="connsiteX2" fmla="*/ 18283 w 18325"/>
                  <a:gd name="connsiteY2" fmla="*/ 10160 h 18406"/>
                  <a:gd name="connsiteX3" fmla="*/ 8236 w 18325"/>
                  <a:gd name="connsiteY3" fmla="*/ 18354 h 18406"/>
                  <a:gd name="connsiteX4" fmla="*/ 42 w 1832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6">
                    <a:moveTo>
                      <a:pt x="42" y="8246"/>
                    </a:moveTo>
                    <a:cubicBezTo>
                      <a:pt x="581" y="3163"/>
                      <a:pt x="5066" y="-486"/>
                      <a:pt x="10090" y="53"/>
                    </a:cubicBezTo>
                    <a:cubicBezTo>
                      <a:pt x="15114" y="591"/>
                      <a:pt x="18762" y="5136"/>
                      <a:pt x="18283" y="10160"/>
                    </a:cubicBezTo>
                    <a:cubicBezTo>
                      <a:pt x="17745" y="15244"/>
                      <a:pt x="13260" y="18892"/>
                      <a:pt x="8236" y="18354"/>
                    </a:cubicBezTo>
                    <a:cubicBezTo>
                      <a:pt x="3212" y="17875"/>
                      <a:pt x="-436" y="13330"/>
                      <a:pt x="42" y="8246"/>
                    </a:cubicBezTo>
                    <a:close/>
                  </a:path>
                </a:pathLst>
              </a:custGeom>
              <a:grpFill/>
              <a:ln w="5978" cap="flat">
                <a:noFill/>
                <a:prstDash val="solid"/>
                <a:miter/>
              </a:ln>
            </p:spPr>
            <p:txBody>
              <a:bodyPr rtlCol="0" anchor="ctr"/>
              <a:lstStyle/>
              <a:p>
                <a:endParaRPr lang="en-GB"/>
              </a:p>
            </p:txBody>
          </p:sp>
          <p:sp>
            <p:nvSpPr>
              <p:cNvPr id="3884" name="Vrije vorm: vorm 3883">
                <a:extLst>
                  <a:ext uri="{FF2B5EF4-FFF2-40B4-BE49-F238E27FC236}">
                    <a16:creationId xmlns:a16="http://schemas.microsoft.com/office/drawing/2014/main" id="{0DBFECA1-B6AB-401D-9871-63F2159ACA74}"/>
                  </a:ext>
                </a:extLst>
              </p:cNvPr>
              <p:cNvSpPr/>
              <p:nvPr/>
            </p:nvSpPr>
            <p:spPr>
              <a:xfrm>
                <a:off x="6224643" y="1651036"/>
                <a:ext cx="18345" cy="18395"/>
              </a:xfrm>
              <a:custGeom>
                <a:avLst/>
                <a:gdLst>
                  <a:gd name="connsiteX0" fmla="*/ 52 w 18345"/>
                  <a:gd name="connsiteY0" fmla="*/ 8236 h 18395"/>
                  <a:gd name="connsiteX1" fmla="*/ 8246 w 18345"/>
                  <a:gd name="connsiteY1" fmla="*/ 18343 h 18395"/>
                  <a:gd name="connsiteX2" fmla="*/ 18293 w 18345"/>
                  <a:gd name="connsiteY2" fmla="*/ 10150 h 18395"/>
                  <a:gd name="connsiteX3" fmla="*/ 10100 w 18345"/>
                  <a:gd name="connsiteY3" fmla="*/ 42 h 18395"/>
                  <a:gd name="connsiteX4" fmla="*/ 52 w 18345"/>
                  <a:gd name="connsiteY4" fmla="*/ 8236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395">
                    <a:moveTo>
                      <a:pt x="52" y="8236"/>
                    </a:moveTo>
                    <a:cubicBezTo>
                      <a:pt x="-486" y="13319"/>
                      <a:pt x="3222" y="17805"/>
                      <a:pt x="8246" y="18343"/>
                    </a:cubicBezTo>
                    <a:cubicBezTo>
                      <a:pt x="13269" y="18881"/>
                      <a:pt x="17755" y="15233"/>
                      <a:pt x="18293" y="10150"/>
                    </a:cubicBezTo>
                    <a:cubicBezTo>
                      <a:pt x="18831" y="5066"/>
                      <a:pt x="15123" y="580"/>
                      <a:pt x="10100" y="42"/>
                    </a:cubicBezTo>
                    <a:cubicBezTo>
                      <a:pt x="5076" y="-436"/>
                      <a:pt x="590" y="3212"/>
                      <a:pt x="52" y="8236"/>
                    </a:cubicBezTo>
                    <a:close/>
                  </a:path>
                </a:pathLst>
              </a:custGeom>
              <a:grpFill/>
              <a:ln w="5978" cap="flat">
                <a:noFill/>
                <a:prstDash val="solid"/>
                <a:miter/>
              </a:ln>
            </p:spPr>
            <p:txBody>
              <a:bodyPr rtlCol="0" anchor="ctr"/>
              <a:lstStyle/>
              <a:p>
                <a:endParaRPr lang="en-GB"/>
              </a:p>
            </p:txBody>
          </p:sp>
        </p:grpSp>
        <p:grpSp>
          <p:nvGrpSpPr>
            <p:cNvPr id="502" name="Graphic 3">
              <a:extLst>
                <a:ext uri="{FF2B5EF4-FFF2-40B4-BE49-F238E27FC236}">
                  <a16:creationId xmlns:a16="http://schemas.microsoft.com/office/drawing/2014/main" id="{8785206E-8FA1-4002-AC8D-A89AA340A5B6}"/>
                </a:ext>
              </a:extLst>
            </p:cNvPr>
            <p:cNvGrpSpPr/>
            <p:nvPr/>
          </p:nvGrpSpPr>
          <p:grpSpPr>
            <a:xfrm>
              <a:off x="7217015" y="4638513"/>
              <a:ext cx="102991" cy="107381"/>
              <a:chOff x="7217015" y="4638513"/>
              <a:chExt cx="102991" cy="107381"/>
            </a:xfrm>
            <a:grpFill/>
          </p:grpSpPr>
          <p:sp>
            <p:nvSpPr>
              <p:cNvPr id="3879" name="Vrije vorm: vorm 3878">
                <a:extLst>
                  <a:ext uri="{FF2B5EF4-FFF2-40B4-BE49-F238E27FC236}">
                    <a16:creationId xmlns:a16="http://schemas.microsoft.com/office/drawing/2014/main" id="{EFC523E1-F2BF-4BA5-90B8-D74EFAED27CE}"/>
                  </a:ext>
                </a:extLst>
              </p:cNvPr>
              <p:cNvSpPr/>
              <p:nvPr/>
            </p:nvSpPr>
            <p:spPr>
              <a:xfrm>
                <a:off x="7224792" y="4646343"/>
                <a:ext cx="87438" cy="91744"/>
              </a:xfrm>
              <a:custGeom>
                <a:avLst/>
                <a:gdLst>
                  <a:gd name="connsiteX0" fmla="*/ 87438 w 87438"/>
                  <a:gd name="connsiteY0" fmla="*/ 89591 h 91744"/>
                  <a:gd name="connsiteX1" fmla="*/ 85284 w 87438"/>
                  <a:gd name="connsiteY1" fmla="*/ 91744 h 91744"/>
                  <a:gd name="connsiteX2" fmla="*/ 0 w 87438"/>
                  <a:gd name="connsiteY2" fmla="*/ 2093 h 91744"/>
                  <a:gd name="connsiteX3" fmla="*/ 2153 w 87438"/>
                  <a:gd name="connsiteY3" fmla="*/ 0 h 91744"/>
                </a:gdLst>
                <a:ahLst/>
                <a:cxnLst>
                  <a:cxn ang="0">
                    <a:pos x="connsiteX0" y="connsiteY0"/>
                  </a:cxn>
                  <a:cxn ang="0">
                    <a:pos x="connsiteX1" y="connsiteY1"/>
                  </a:cxn>
                  <a:cxn ang="0">
                    <a:pos x="connsiteX2" y="connsiteY2"/>
                  </a:cxn>
                  <a:cxn ang="0">
                    <a:pos x="connsiteX3" y="connsiteY3"/>
                  </a:cxn>
                </a:cxnLst>
                <a:rect l="l" t="t" r="r" b="b"/>
                <a:pathLst>
                  <a:path w="87438" h="91744">
                    <a:moveTo>
                      <a:pt x="87438" y="89591"/>
                    </a:moveTo>
                    <a:lnTo>
                      <a:pt x="85284" y="91744"/>
                    </a:lnTo>
                    <a:lnTo>
                      <a:pt x="0" y="2093"/>
                    </a:lnTo>
                    <a:lnTo>
                      <a:pt x="2153" y="0"/>
                    </a:lnTo>
                    <a:close/>
                  </a:path>
                </a:pathLst>
              </a:custGeom>
              <a:grpFill/>
              <a:ln w="5978" cap="flat">
                <a:noFill/>
                <a:prstDash val="solid"/>
                <a:miter/>
              </a:ln>
            </p:spPr>
            <p:txBody>
              <a:bodyPr rtlCol="0" anchor="ctr"/>
              <a:lstStyle/>
              <a:p>
                <a:endParaRPr lang="en-GB"/>
              </a:p>
            </p:txBody>
          </p:sp>
          <p:sp>
            <p:nvSpPr>
              <p:cNvPr id="3880" name="Vrije vorm: vorm 3879">
                <a:extLst>
                  <a:ext uri="{FF2B5EF4-FFF2-40B4-BE49-F238E27FC236}">
                    <a16:creationId xmlns:a16="http://schemas.microsoft.com/office/drawing/2014/main" id="{4FA244E8-E1AC-4A6E-935A-F366DE209925}"/>
                  </a:ext>
                </a:extLst>
              </p:cNvPr>
              <p:cNvSpPr/>
              <p:nvPr/>
            </p:nvSpPr>
            <p:spPr>
              <a:xfrm>
                <a:off x="7301642" y="4727468"/>
                <a:ext cx="18364" cy="18426"/>
              </a:xfrm>
              <a:custGeom>
                <a:avLst/>
                <a:gdLst>
                  <a:gd name="connsiteX0" fmla="*/ 15791 w 18364"/>
                  <a:gd name="connsiteY0" fmla="*/ 2844 h 18426"/>
                  <a:gd name="connsiteX1" fmla="*/ 15552 w 18364"/>
                  <a:gd name="connsiteY1" fmla="*/ 15882 h 18426"/>
                  <a:gd name="connsiteX2" fmla="*/ 2573 w 18364"/>
                  <a:gd name="connsiteY2" fmla="*/ 15583 h 18426"/>
                  <a:gd name="connsiteX3" fmla="*/ 2813 w 18364"/>
                  <a:gd name="connsiteY3" fmla="*/ 2545 h 18426"/>
                  <a:gd name="connsiteX4" fmla="*/ 15791 w 18364"/>
                  <a:gd name="connsiteY4" fmla="*/ 284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15791" y="2844"/>
                    </a:moveTo>
                    <a:cubicBezTo>
                      <a:pt x="19319" y="6552"/>
                      <a:pt x="19200" y="12353"/>
                      <a:pt x="15552" y="15882"/>
                    </a:cubicBezTo>
                    <a:cubicBezTo>
                      <a:pt x="11903" y="19410"/>
                      <a:pt x="6102" y="19231"/>
                      <a:pt x="2573" y="15583"/>
                    </a:cubicBezTo>
                    <a:cubicBezTo>
                      <a:pt x="-955" y="11875"/>
                      <a:pt x="-836" y="6073"/>
                      <a:pt x="2813" y="2545"/>
                    </a:cubicBezTo>
                    <a:cubicBezTo>
                      <a:pt x="6521" y="-984"/>
                      <a:pt x="12322" y="-805"/>
                      <a:pt x="15791" y="2844"/>
                    </a:cubicBezTo>
                    <a:close/>
                  </a:path>
                </a:pathLst>
              </a:custGeom>
              <a:grpFill/>
              <a:ln w="5978" cap="flat">
                <a:noFill/>
                <a:prstDash val="solid"/>
                <a:miter/>
              </a:ln>
            </p:spPr>
            <p:txBody>
              <a:bodyPr rtlCol="0" anchor="ctr"/>
              <a:lstStyle/>
              <a:p>
                <a:endParaRPr lang="en-GB"/>
              </a:p>
            </p:txBody>
          </p:sp>
          <p:sp>
            <p:nvSpPr>
              <p:cNvPr id="3881" name="Vrije vorm: vorm 3880">
                <a:extLst>
                  <a:ext uri="{FF2B5EF4-FFF2-40B4-BE49-F238E27FC236}">
                    <a16:creationId xmlns:a16="http://schemas.microsoft.com/office/drawing/2014/main" id="{9A9F5C9A-5FDE-40D5-963B-4FED791B38A7}"/>
                  </a:ext>
                </a:extLst>
              </p:cNvPr>
              <p:cNvSpPr/>
              <p:nvPr/>
            </p:nvSpPr>
            <p:spPr>
              <a:xfrm>
                <a:off x="7217015" y="4638513"/>
                <a:ext cx="18319" cy="18469"/>
              </a:xfrm>
              <a:custGeom>
                <a:avLst/>
                <a:gdLst>
                  <a:gd name="connsiteX0" fmla="*/ 15791 w 18319"/>
                  <a:gd name="connsiteY0" fmla="*/ 2865 h 18469"/>
                  <a:gd name="connsiteX1" fmla="*/ 2813 w 18319"/>
                  <a:gd name="connsiteY1" fmla="*/ 2566 h 18469"/>
                  <a:gd name="connsiteX2" fmla="*/ 2573 w 18319"/>
                  <a:gd name="connsiteY2" fmla="*/ 15604 h 18469"/>
                  <a:gd name="connsiteX3" fmla="*/ 15552 w 18319"/>
                  <a:gd name="connsiteY3" fmla="*/ 15904 h 18469"/>
                  <a:gd name="connsiteX4" fmla="*/ 15791 w 18319"/>
                  <a:gd name="connsiteY4" fmla="*/ 2865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9">
                    <a:moveTo>
                      <a:pt x="15791" y="2865"/>
                    </a:moveTo>
                    <a:cubicBezTo>
                      <a:pt x="12263" y="-843"/>
                      <a:pt x="6461" y="-962"/>
                      <a:pt x="2813" y="2566"/>
                    </a:cubicBezTo>
                    <a:cubicBezTo>
                      <a:pt x="-836" y="6095"/>
                      <a:pt x="-955" y="11896"/>
                      <a:pt x="2573" y="15604"/>
                    </a:cubicBezTo>
                    <a:cubicBezTo>
                      <a:pt x="6102" y="19312"/>
                      <a:pt x="11903" y="19432"/>
                      <a:pt x="15552" y="15904"/>
                    </a:cubicBezTo>
                    <a:cubicBezTo>
                      <a:pt x="19140" y="12375"/>
                      <a:pt x="19260" y="6514"/>
                      <a:pt x="15791" y="2865"/>
                    </a:cubicBezTo>
                    <a:close/>
                  </a:path>
                </a:pathLst>
              </a:custGeom>
              <a:grpFill/>
              <a:ln w="5978" cap="flat">
                <a:noFill/>
                <a:prstDash val="solid"/>
                <a:miter/>
              </a:ln>
            </p:spPr>
            <p:txBody>
              <a:bodyPr rtlCol="0" anchor="ctr"/>
              <a:lstStyle/>
              <a:p>
                <a:endParaRPr lang="en-GB"/>
              </a:p>
            </p:txBody>
          </p:sp>
        </p:grpSp>
        <p:grpSp>
          <p:nvGrpSpPr>
            <p:cNvPr id="503" name="Graphic 3">
              <a:extLst>
                <a:ext uri="{FF2B5EF4-FFF2-40B4-BE49-F238E27FC236}">
                  <a16:creationId xmlns:a16="http://schemas.microsoft.com/office/drawing/2014/main" id="{1057E320-9906-4649-97B3-E92374850AD7}"/>
                </a:ext>
              </a:extLst>
            </p:cNvPr>
            <p:cNvGrpSpPr/>
            <p:nvPr/>
          </p:nvGrpSpPr>
          <p:grpSpPr>
            <a:xfrm>
              <a:off x="6186191" y="1409272"/>
              <a:ext cx="80597" cy="339954"/>
              <a:chOff x="6186191" y="1409272"/>
              <a:chExt cx="80597" cy="339954"/>
            </a:xfrm>
            <a:grpFill/>
          </p:grpSpPr>
          <p:sp>
            <p:nvSpPr>
              <p:cNvPr id="3876" name="Vrije vorm: vorm 3875">
                <a:extLst>
                  <a:ext uri="{FF2B5EF4-FFF2-40B4-BE49-F238E27FC236}">
                    <a16:creationId xmlns:a16="http://schemas.microsoft.com/office/drawing/2014/main" id="{5744EC39-6321-4C34-917D-A6EE87FD451C}"/>
                  </a:ext>
                </a:extLst>
              </p:cNvPr>
              <p:cNvSpPr/>
              <p:nvPr/>
            </p:nvSpPr>
            <p:spPr>
              <a:xfrm>
                <a:off x="6193775" y="1417710"/>
                <a:ext cx="65369" cy="323018"/>
              </a:xfrm>
              <a:custGeom>
                <a:avLst/>
                <a:gdLst>
                  <a:gd name="connsiteX0" fmla="*/ 65369 w 65369"/>
                  <a:gd name="connsiteY0" fmla="*/ 598 h 323018"/>
                  <a:gd name="connsiteX1" fmla="*/ 2990 w 65369"/>
                  <a:gd name="connsiteY1" fmla="*/ 323019 h 323018"/>
                  <a:gd name="connsiteX2" fmla="*/ 0 w 65369"/>
                  <a:gd name="connsiteY2" fmla="*/ 322421 h 323018"/>
                  <a:gd name="connsiteX3" fmla="*/ 62439 w 65369"/>
                  <a:gd name="connsiteY3" fmla="*/ 0 h 323018"/>
                </a:gdLst>
                <a:ahLst/>
                <a:cxnLst>
                  <a:cxn ang="0">
                    <a:pos x="connsiteX0" y="connsiteY0"/>
                  </a:cxn>
                  <a:cxn ang="0">
                    <a:pos x="connsiteX1" y="connsiteY1"/>
                  </a:cxn>
                  <a:cxn ang="0">
                    <a:pos x="connsiteX2" y="connsiteY2"/>
                  </a:cxn>
                  <a:cxn ang="0">
                    <a:pos x="connsiteX3" y="connsiteY3"/>
                  </a:cxn>
                </a:cxnLst>
                <a:rect l="l" t="t" r="r" b="b"/>
                <a:pathLst>
                  <a:path w="65369" h="323018">
                    <a:moveTo>
                      <a:pt x="65369" y="598"/>
                    </a:moveTo>
                    <a:lnTo>
                      <a:pt x="2990" y="323019"/>
                    </a:lnTo>
                    <a:lnTo>
                      <a:pt x="0" y="322421"/>
                    </a:lnTo>
                    <a:lnTo>
                      <a:pt x="62439" y="0"/>
                    </a:lnTo>
                    <a:close/>
                  </a:path>
                </a:pathLst>
              </a:custGeom>
              <a:grpFill/>
              <a:ln w="5978" cap="flat">
                <a:noFill/>
                <a:prstDash val="solid"/>
                <a:miter/>
              </a:ln>
            </p:spPr>
            <p:txBody>
              <a:bodyPr rtlCol="0" anchor="ctr"/>
              <a:lstStyle/>
              <a:p>
                <a:endParaRPr lang="en-GB"/>
              </a:p>
            </p:txBody>
          </p:sp>
          <p:sp>
            <p:nvSpPr>
              <p:cNvPr id="3877" name="Vrije vorm: vorm 3876">
                <a:extLst>
                  <a:ext uri="{FF2B5EF4-FFF2-40B4-BE49-F238E27FC236}">
                    <a16:creationId xmlns:a16="http://schemas.microsoft.com/office/drawing/2014/main" id="{186334F8-0736-43EA-92BC-709B99170941}"/>
                  </a:ext>
                </a:extLst>
              </p:cNvPr>
              <p:cNvSpPr/>
              <p:nvPr/>
            </p:nvSpPr>
            <p:spPr>
              <a:xfrm>
                <a:off x="6186191" y="1730796"/>
                <a:ext cx="18335" cy="18431"/>
              </a:xfrm>
              <a:custGeom>
                <a:avLst/>
                <a:gdLst>
                  <a:gd name="connsiteX0" fmla="*/ 18170 w 18335"/>
                  <a:gd name="connsiteY0" fmla="*/ 11010 h 18431"/>
                  <a:gd name="connsiteX1" fmla="*/ 7405 w 18335"/>
                  <a:gd name="connsiteY1" fmla="*/ 18246 h 18431"/>
                  <a:gd name="connsiteX2" fmla="*/ 168 w 18335"/>
                  <a:gd name="connsiteY2" fmla="*/ 7421 h 18431"/>
                  <a:gd name="connsiteX3" fmla="*/ 10933 w 18335"/>
                  <a:gd name="connsiteY3" fmla="*/ 185 h 18431"/>
                  <a:gd name="connsiteX4" fmla="*/ 18170 w 18335"/>
                  <a:gd name="connsiteY4" fmla="*/ 1101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1">
                    <a:moveTo>
                      <a:pt x="18170" y="11010"/>
                    </a:moveTo>
                    <a:cubicBezTo>
                      <a:pt x="17213" y="15974"/>
                      <a:pt x="12368" y="19263"/>
                      <a:pt x="7405" y="18246"/>
                    </a:cubicBezTo>
                    <a:cubicBezTo>
                      <a:pt x="2441" y="17230"/>
                      <a:pt x="-789" y="12385"/>
                      <a:pt x="168" y="7421"/>
                    </a:cubicBezTo>
                    <a:cubicBezTo>
                      <a:pt x="1125" y="2457"/>
                      <a:pt x="5969" y="-832"/>
                      <a:pt x="10933" y="185"/>
                    </a:cubicBezTo>
                    <a:cubicBezTo>
                      <a:pt x="15837" y="1142"/>
                      <a:pt x="19127" y="5986"/>
                      <a:pt x="18170" y="11010"/>
                    </a:cubicBezTo>
                    <a:close/>
                  </a:path>
                </a:pathLst>
              </a:custGeom>
              <a:grpFill/>
              <a:ln w="5978" cap="flat">
                <a:noFill/>
                <a:prstDash val="solid"/>
                <a:miter/>
              </a:ln>
            </p:spPr>
            <p:txBody>
              <a:bodyPr rtlCol="0" anchor="ctr"/>
              <a:lstStyle/>
              <a:p>
                <a:endParaRPr lang="en-GB"/>
              </a:p>
            </p:txBody>
          </p:sp>
          <p:sp>
            <p:nvSpPr>
              <p:cNvPr id="3878" name="Vrije vorm: vorm 3877">
                <a:extLst>
                  <a:ext uri="{FF2B5EF4-FFF2-40B4-BE49-F238E27FC236}">
                    <a16:creationId xmlns:a16="http://schemas.microsoft.com/office/drawing/2014/main" id="{74006024-D8E6-4ED7-B1B5-E0E81B6EC226}"/>
                  </a:ext>
                </a:extLst>
              </p:cNvPr>
              <p:cNvSpPr/>
              <p:nvPr/>
            </p:nvSpPr>
            <p:spPr>
              <a:xfrm>
                <a:off x="6248450" y="1409272"/>
                <a:ext cx="18337" cy="18431"/>
              </a:xfrm>
              <a:custGeom>
                <a:avLst/>
                <a:gdLst>
                  <a:gd name="connsiteX0" fmla="*/ 18170 w 18337"/>
                  <a:gd name="connsiteY0" fmla="*/ 11010 h 18431"/>
                  <a:gd name="connsiteX1" fmla="*/ 10933 w 18337"/>
                  <a:gd name="connsiteY1" fmla="*/ 185 h 18431"/>
                  <a:gd name="connsiteX2" fmla="*/ 168 w 18337"/>
                  <a:gd name="connsiteY2" fmla="*/ 7421 h 18431"/>
                  <a:gd name="connsiteX3" fmla="*/ 7404 w 18337"/>
                  <a:gd name="connsiteY3" fmla="*/ 18246 h 18431"/>
                  <a:gd name="connsiteX4" fmla="*/ 18170 w 18337"/>
                  <a:gd name="connsiteY4" fmla="*/ 1101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1">
                    <a:moveTo>
                      <a:pt x="18170" y="11010"/>
                    </a:moveTo>
                    <a:cubicBezTo>
                      <a:pt x="19127" y="6046"/>
                      <a:pt x="15897" y="1142"/>
                      <a:pt x="10933" y="185"/>
                    </a:cubicBezTo>
                    <a:cubicBezTo>
                      <a:pt x="5969" y="-832"/>
                      <a:pt x="1125" y="2457"/>
                      <a:pt x="168" y="7421"/>
                    </a:cubicBezTo>
                    <a:cubicBezTo>
                      <a:pt x="-789" y="12385"/>
                      <a:pt x="2440" y="17289"/>
                      <a:pt x="7404" y="18246"/>
                    </a:cubicBezTo>
                    <a:cubicBezTo>
                      <a:pt x="12369" y="19263"/>
                      <a:pt x="17153" y="15974"/>
                      <a:pt x="18170" y="11010"/>
                    </a:cubicBezTo>
                    <a:close/>
                  </a:path>
                </a:pathLst>
              </a:custGeom>
              <a:grpFill/>
              <a:ln w="5978" cap="flat">
                <a:noFill/>
                <a:prstDash val="solid"/>
                <a:miter/>
              </a:ln>
            </p:spPr>
            <p:txBody>
              <a:bodyPr rtlCol="0" anchor="ctr"/>
              <a:lstStyle/>
              <a:p>
                <a:endParaRPr lang="en-GB"/>
              </a:p>
            </p:txBody>
          </p:sp>
        </p:grpSp>
        <p:grpSp>
          <p:nvGrpSpPr>
            <p:cNvPr id="504" name="Graphic 3">
              <a:extLst>
                <a:ext uri="{FF2B5EF4-FFF2-40B4-BE49-F238E27FC236}">
                  <a16:creationId xmlns:a16="http://schemas.microsoft.com/office/drawing/2014/main" id="{990A176C-E1AC-4F4A-9A48-16EED6E1341D}"/>
                </a:ext>
              </a:extLst>
            </p:cNvPr>
            <p:cNvGrpSpPr/>
            <p:nvPr/>
          </p:nvGrpSpPr>
          <p:grpSpPr>
            <a:xfrm>
              <a:off x="6165828" y="1375164"/>
              <a:ext cx="29278" cy="188439"/>
              <a:chOff x="6165828" y="1375164"/>
              <a:chExt cx="29278" cy="188439"/>
            </a:xfrm>
            <a:grpFill/>
          </p:grpSpPr>
          <p:sp>
            <p:nvSpPr>
              <p:cNvPr id="3873" name="Vrije vorm: vorm 3872">
                <a:extLst>
                  <a:ext uri="{FF2B5EF4-FFF2-40B4-BE49-F238E27FC236}">
                    <a16:creationId xmlns:a16="http://schemas.microsoft.com/office/drawing/2014/main" id="{8CBD74B5-100D-4AA8-9D93-E62DA49FF3E5}"/>
                  </a:ext>
                </a:extLst>
              </p:cNvPr>
              <p:cNvSpPr/>
              <p:nvPr/>
            </p:nvSpPr>
            <p:spPr>
              <a:xfrm>
                <a:off x="6173440" y="1383800"/>
                <a:ext cx="14054" cy="171168"/>
              </a:xfrm>
              <a:custGeom>
                <a:avLst/>
                <a:gdLst>
                  <a:gd name="connsiteX0" fmla="*/ 14055 w 14054"/>
                  <a:gd name="connsiteY0" fmla="*/ 239 h 171168"/>
                  <a:gd name="connsiteX1" fmla="*/ 3050 w 14054"/>
                  <a:gd name="connsiteY1" fmla="*/ 171168 h 171168"/>
                  <a:gd name="connsiteX2" fmla="*/ 0 w 14054"/>
                  <a:gd name="connsiteY2" fmla="*/ 170929 h 171168"/>
                  <a:gd name="connsiteX3" fmla="*/ 11004 w 14054"/>
                  <a:gd name="connsiteY3" fmla="*/ 0 h 171168"/>
                </a:gdLst>
                <a:ahLst/>
                <a:cxnLst>
                  <a:cxn ang="0">
                    <a:pos x="connsiteX0" y="connsiteY0"/>
                  </a:cxn>
                  <a:cxn ang="0">
                    <a:pos x="connsiteX1" y="connsiteY1"/>
                  </a:cxn>
                  <a:cxn ang="0">
                    <a:pos x="connsiteX2" y="connsiteY2"/>
                  </a:cxn>
                  <a:cxn ang="0">
                    <a:pos x="connsiteX3" y="connsiteY3"/>
                  </a:cxn>
                </a:cxnLst>
                <a:rect l="l" t="t" r="r" b="b"/>
                <a:pathLst>
                  <a:path w="14054" h="171168">
                    <a:moveTo>
                      <a:pt x="14055" y="239"/>
                    </a:moveTo>
                    <a:lnTo>
                      <a:pt x="3050" y="171168"/>
                    </a:lnTo>
                    <a:lnTo>
                      <a:pt x="0" y="170929"/>
                    </a:lnTo>
                    <a:lnTo>
                      <a:pt x="11004" y="0"/>
                    </a:lnTo>
                    <a:close/>
                  </a:path>
                </a:pathLst>
              </a:custGeom>
              <a:grpFill/>
              <a:ln w="5978" cap="flat">
                <a:noFill/>
                <a:prstDash val="solid"/>
                <a:miter/>
              </a:ln>
            </p:spPr>
            <p:txBody>
              <a:bodyPr rtlCol="0" anchor="ctr"/>
              <a:lstStyle/>
              <a:p>
                <a:endParaRPr lang="en-GB"/>
              </a:p>
            </p:txBody>
          </p:sp>
          <p:sp>
            <p:nvSpPr>
              <p:cNvPr id="3874" name="Vrije vorm: vorm 3873">
                <a:extLst>
                  <a:ext uri="{FF2B5EF4-FFF2-40B4-BE49-F238E27FC236}">
                    <a16:creationId xmlns:a16="http://schemas.microsoft.com/office/drawing/2014/main" id="{031B871C-CF17-4AD0-9CBF-107A6E63EFAC}"/>
                  </a:ext>
                </a:extLst>
              </p:cNvPr>
              <p:cNvSpPr/>
              <p:nvPr/>
            </p:nvSpPr>
            <p:spPr>
              <a:xfrm>
                <a:off x="6176766" y="1375164"/>
                <a:ext cx="18340" cy="18407"/>
              </a:xfrm>
              <a:custGeom>
                <a:avLst/>
                <a:gdLst>
                  <a:gd name="connsiteX0" fmla="*/ 23 w 18340"/>
                  <a:gd name="connsiteY0" fmla="*/ 8576 h 18407"/>
                  <a:gd name="connsiteX1" fmla="*/ 9772 w 18340"/>
                  <a:gd name="connsiteY1" fmla="*/ 23 h 18407"/>
                  <a:gd name="connsiteX2" fmla="*/ 18324 w 18340"/>
                  <a:gd name="connsiteY2" fmla="*/ 9832 h 18407"/>
                  <a:gd name="connsiteX3" fmla="*/ 8576 w 18340"/>
                  <a:gd name="connsiteY3" fmla="*/ 18384 h 18407"/>
                  <a:gd name="connsiteX4" fmla="*/ 23 w 18340"/>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7">
                    <a:moveTo>
                      <a:pt x="23" y="8576"/>
                    </a:moveTo>
                    <a:cubicBezTo>
                      <a:pt x="322" y="3492"/>
                      <a:pt x="4688" y="-336"/>
                      <a:pt x="9772" y="23"/>
                    </a:cubicBezTo>
                    <a:cubicBezTo>
                      <a:pt x="14796" y="382"/>
                      <a:pt x="18623" y="4748"/>
                      <a:pt x="18324" y="9832"/>
                    </a:cubicBezTo>
                    <a:cubicBezTo>
                      <a:pt x="18025" y="14915"/>
                      <a:pt x="13659" y="18743"/>
                      <a:pt x="8576" y="18384"/>
                    </a:cubicBezTo>
                    <a:cubicBezTo>
                      <a:pt x="3492" y="18025"/>
                      <a:pt x="-336" y="13659"/>
                      <a:pt x="23" y="8576"/>
                    </a:cubicBezTo>
                    <a:close/>
                  </a:path>
                </a:pathLst>
              </a:custGeom>
              <a:grpFill/>
              <a:ln w="5978" cap="flat">
                <a:noFill/>
                <a:prstDash val="solid"/>
                <a:miter/>
              </a:ln>
            </p:spPr>
            <p:txBody>
              <a:bodyPr rtlCol="0" anchor="ctr"/>
              <a:lstStyle/>
              <a:p>
                <a:endParaRPr lang="en-GB"/>
              </a:p>
            </p:txBody>
          </p:sp>
          <p:sp>
            <p:nvSpPr>
              <p:cNvPr id="3875" name="Vrije vorm: vorm 3874">
                <a:extLst>
                  <a:ext uri="{FF2B5EF4-FFF2-40B4-BE49-F238E27FC236}">
                    <a16:creationId xmlns:a16="http://schemas.microsoft.com/office/drawing/2014/main" id="{18F201E6-4085-401B-9BD1-9F95AB44F77A}"/>
                  </a:ext>
                </a:extLst>
              </p:cNvPr>
              <p:cNvSpPr/>
              <p:nvPr/>
            </p:nvSpPr>
            <p:spPr>
              <a:xfrm>
                <a:off x="6165828" y="1545196"/>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3" y="18743"/>
                      <a:pt x="17959" y="14915"/>
                      <a:pt x="18317" y="9832"/>
                    </a:cubicBezTo>
                    <a:cubicBezTo>
                      <a:pt x="18616" y="4748"/>
                      <a:pt x="14789" y="382"/>
                      <a:pt x="9765" y="23"/>
                    </a:cubicBezTo>
                    <a:cubicBezTo>
                      <a:pt x="4682" y="-336"/>
                      <a:pt x="315" y="3492"/>
                      <a:pt x="16" y="8576"/>
                    </a:cubicBezTo>
                    <a:close/>
                  </a:path>
                </a:pathLst>
              </a:custGeom>
              <a:grpFill/>
              <a:ln w="5978" cap="flat">
                <a:noFill/>
                <a:prstDash val="solid"/>
                <a:miter/>
              </a:ln>
            </p:spPr>
            <p:txBody>
              <a:bodyPr rtlCol="0" anchor="ctr"/>
              <a:lstStyle/>
              <a:p>
                <a:endParaRPr lang="en-GB"/>
              </a:p>
            </p:txBody>
          </p:sp>
        </p:grpSp>
        <p:grpSp>
          <p:nvGrpSpPr>
            <p:cNvPr id="505" name="Graphic 3">
              <a:extLst>
                <a:ext uri="{FF2B5EF4-FFF2-40B4-BE49-F238E27FC236}">
                  <a16:creationId xmlns:a16="http://schemas.microsoft.com/office/drawing/2014/main" id="{1F30DB1D-00C6-4285-84C3-2EF270AF0590}"/>
                </a:ext>
              </a:extLst>
            </p:cNvPr>
            <p:cNvGrpSpPr/>
            <p:nvPr/>
          </p:nvGrpSpPr>
          <p:grpSpPr>
            <a:xfrm>
              <a:off x="7285289" y="4920667"/>
              <a:ext cx="222522" cy="267697"/>
              <a:chOff x="7285289" y="4920667"/>
              <a:chExt cx="222522" cy="267697"/>
            </a:xfrm>
            <a:grpFill/>
          </p:grpSpPr>
          <p:sp>
            <p:nvSpPr>
              <p:cNvPr id="3870" name="Vrije vorm: vorm 3869">
                <a:extLst>
                  <a:ext uri="{FF2B5EF4-FFF2-40B4-BE49-F238E27FC236}">
                    <a16:creationId xmlns:a16="http://schemas.microsoft.com/office/drawing/2014/main" id="{306CDFF4-ACDD-4517-B883-866FFFF89C4D}"/>
                  </a:ext>
                </a:extLst>
              </p:cNvPr>
              <p:cNvSpPr/>
              <p:nvPr/>
            </p:nvSpPr>
            <p:spPr>
              <a:xfrm>
                <a:off x="7292971" y="4928573"/>
                <a:ext cx="207112" cy="251848"/>
              </a:xfrm>
              <a:custGeom>
                <a:avLst/>
                <a:gdLst>
                  <a:gd name="connsiteX0" fmla="*/ 207112 w 207112"/>
                  <a:gd name="connsiteY0" fmla="*/ 249934 h 251848"/>
                  <a:gd name="connsiteX1" fmla="*/ 204780 w 207112"/>
                  <a:gd name="connsiteY1" fmla="*/ 251848 h 251848"/>
                  <a:gd name="connsiteX2" fmla="*/ 0 w 207112"/>
                  <a:gd name="connsiteY2" fmla="*/ 1914 h 251848"/>
                  <a:gd name="connsiteX3" fmla="*/ 2333 w 207112"/>
                  <a:gd name="connsiteY3" fmla="*/ 0 h 251848"/>
                </a:gdLst>
                <a:ahLst/>
                <a:cxnLst>
                  <a:cxn ang="0">
                    <a:pos x="connsiteX0" y="connsiteY0"/>
                  </a:cxn>
                  <a:cxn ang="0">
                    <a:pos x="connsiteX1" y="connsiteY1"/>
                  </a:cxn>
                  <a:cxn ang="0">
                    <a:pos x="connsiteX2" y="connsiteY2"/>
                  </a:cxn>
                  <a:cxn ang="0">
                    <a:pos x="connsiteX3" y="connsiteY3"/>
                  </a:cxn>
                </a:cxnLst>
                <a:rect l="l" t="t" r="r" b="b"/>
                <a:pathLst>
                  <a:path w="207112" h="251848">
                    <a:moveTo>
                      <a:pt x="207112" y="249934"/>
                    </a:moveTo>
                    <a:lnTo>
                      <a:pt x="204780" y="251848"/>
                    </a:lnTo>
                    <a:lnTo>
                      <a:pt x="0" y="1914"/>
                    </a:lnTo>
                    <a:lnTo>
                      <a:pt x="2333" y="0"/>
                    </a:lnTo>
                    <a:close/>
                  </a:path>
                </a:pathLst>
              </a:custGeom>
              <a:grpFill/>
              <a:ln w="5978" cap="flat">
                <a:noFill/>
                <a:prstDash val="solid"/>
                <a:miter/>
              </a:ln>
            </p:spPr>
            <p:txBody>
              <a:bodyPr rtlCol="0" anchor="ctr"/>
              <a:lstStyle/>
              <a:p>
                <a:endParaRPr lang="en-GB"/>
              </a:p>
            </p:txBody>
          </p:sp>
          <p:sp>
            <p:nvSpPr>
              <p:cNvPr id="3871" name="Vrije vorm: vorm 3870">
                <a:extLst>
                  <a:ext uri="{FF2B5EF4-FFF2-40B4-BE49-F238E27FC236}">
                    <a16:creationId xmlns:a16="http://schemas.microsoft.com/office/drawing/2014/main" id="{53F16F12-6A10-4902-A6A2-D242A748689E}"/>
                  </a:ext>
                </a:extLst>
              </p:cNvPr>
              <p:cNvSpPr/>
              <p:nvPr/>
            </p:nvSpPr>
            <p:spPr>
              <a:xfrm>
                <a:off x="7489426" y="5169907"/>
                <a:ext cx="18384" cy="18456"/>
              </a:xfrm>
              <a:custGeom>
                <a:avLst/>
                <a:gdLst>
                  <a:gd name="connsiteX0" fmla="*/ 16280 w 18384"/>
                  <a:gd name="connsiteY0" fmla="*/ 3397 h 18456"/>
                  <a:gd name="connsiteX1" fmla="*/ 15023 w 18384"/>
                  <a:gd name="connsiteY1" fmla="*/ 16375 h 18456"/>
                  <a:gd name="connsiteX2" fmla="*/ 2106 w 18384"/>
                  <a:gd name="connsiteY2" fmla="*/ 15059 h 18456"/>
                  <a:gd name="connsiteX3" fmla="*/ 3361 w 18384"/>
                  <a:gd name="connsiteY3" fmla="*/ 2081 h 18456"/>
                  <a:gd name="connsiteX4" fmla="*/ 16280 w 18384"/>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56">
                    <a:moveTo>
                      <a:pt x="16280" y="3397"/>
                    </a:moveTo>
                    <a:cubicBezTo>
                      <a:pt x="19509" y="7344"/>
                      <a:pt x="18971" y="13145"/>
                      <a:pt x="15023" y="16375"/>
                    </a:cubicBezTo>
                    <a:cubicBezTo>
                      <a:pt x="11137" y="19605"/>
                      <a:pt x="5335" y="19007"/>
                      <a:pt x="2106" y="15059"/>
                    </a:cubicBezTo>
                    <a:cubicBezTo>
                      <a:pt x="-1124" y="11112"/>
                      <a:pt x="-586" y="5311"/>
                      <a:pt x="3361" y="2081"/>
                    </a:cubicBezTo>
                    <a:cubicBezTo>
                      <a:pt x="7249" y="-1148"/>
                      <a:pt x="13050" y="-550"/>
                      <a:pt x="16280" y="3397"/>
                    </a:cubicBezTo>
                    <a:close/>
                  </a:path>
                </a:pathLst>
              </a:custGeom>
              <a:grpFill/>
              <a:ln w="5978" cap="flat">
                <a:noFill/>
                <a:prstDash val="solid"/>
                <a:miter/>
              </a:ln>
            </p:spPr>
            <p:txBody>
              <a:bodyPr rtlCol="0" anchor="ctr"/>
              <a:lstStyle/>
              <a:p>
                <a:endParaRPr lang="en-GB"/>
              </a:p>
            </p:txBody>
          </p:sp>
          <p:sp>
            <p:nvSpPr>
              <p:cNvPr id="3872" name="Vrije vorm: vorm 3871">
                <a:extLst>
                  <a:ext uri="{FF2B5EF4-FFF2-40B4-BE49-F238E27FC236}">
                    <a16:creationId xmlns:a16="http://schemas.microsoft.com/office/drawing/2014/main" id="{735FDBB2-EF2C-4B07-8167-320074BC048F}"/>
                  </a:ext>
                </a:extLst>
              </p:cNvPr>
              <p:cNvSpPr/>
              <p:nvPr/>
            </p:nvSpPr>
            <p:spPr>
              <a:xfrm>
                <a:off x="7285289" y="4920667"/>
                <a:ext cx="18341" cy="18455"/>
              </a:xfrm>
              <a:custGeom>
                <a:avLst/>
                <a:gdLst>
                  <a:gd name="connsiteX0" fmla="*/ 16236 w 18341"/>
                  <a:gd name="connsiteY0" fmla="*/ 3361 h 18455"/>
                  <a:gd name="connsiteX1" fmla="*/ 3317 w 18341"/>
                  <a:gd name="connsiteY1" fmla="*/ 2105 h 18455"/>
                  <a:gd name="connsiteX2" fmla="*/ 2061 w 18341"/>
                  <a:gd name="connsiteY2" fmla="*/ 15084 h 18455"/>
                  <a:gd name="connsiteX3" fmla="*/ 14980 w 18341"/>
                  <a:gd name="connsiteY3" fmla="*/ 16399 h 18455"/>
                  <a:gd name="connsiteX4" fmla="*/ 16236 w 18341"/>
                  <a:gd name="connsiteY4" fmla="*/ 3361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5">
                    <a:moveTo>
                      <a:pt x="16236" y="3361"/>
                    </a:moveTo>
                    <a:cubicBezTo>
                      <a:pt x="13006" y="-586"/>
                      <a:pt x="7205" y="-1124"/>
                      <a:pt x="3317" y="2105"/>
                    </a:cubicBezTo>
                    <a:cubicBezTo>
                      <a:pt x="-571" y="5335"/>
                      <a:pt x="-1109" y="11136"/>
                      <a:pt x="2061" y="15084"/>
                    </a:cubicBezTo>
                    <a:cubicBezTo>
                      <a:pt x="5291" y="19031"/>
                      <a:pt x="11092" y="19569"/>
                      <a:pt x="14980" y="16399"/>
                    </a:cubicBezTo>
                    <a:cubicBezTo>
                      <a:pt x="18927" y="13110"/>
                      <a:pt x="19465" y="7309"/>
                      <a:pt x="16236" y="3361"/>
                    </a:cubicBezTo>
                    <a:close/>
                  </a:path>
                </a:pathLst>
              </a:custGeom>
              <a:grpFill/>
              <a:ln w="5978" cap="flat">
                <a:noFill/>
                <a:prstDash val="solid"/>
                <a:miter/>
              </a:ln>
            </p:spPr>
            <p:txBody>
              <a:bodyPr rtlCol="0" anchor="ctr"/>
              <a:lstStyle/>
              <a:p>
                <a:endParaRPr lang="en-GB"/>
              </a:p>
            </p:txBody>
          </p:sp>
        </p:grpSp>
        <p:grpSp>
          <p:nvGrpSpPr>
            <p:cNvPr id="506" name="Graphic 3">
              <a:extLst>
                <a:ext uri="{FF2B5EF4-FFF2-40B4-BE49-F238E27FC236}">
                  <a16:creationId xmlns:a16="http://schemas.microsoft.com/office/drawing/2014/main" id="{006C7506-D3CF-489E-B786-E892B8523885}"/>
                </a:ext>
              </a:extLst>
            </p:cNvPr>
            <p:cNvGrpSpPr/>
            <p:nvPr/>
          </p:nvGrpSpPr>
          <p:grpSpPr>
            <a:xfrm>
              <a:off x="6247536" y="1657771"/>
              <a:ext cx="27701" cy="96253"/>
              <a:chOff x="6247536" y="1657771"/>
              <a:chExt cx="27701" cy="96253"/>
            </a:xfrm>
            <a:grpFill/>
          </p:grpSpPr>
          <p:sp>
            <p:nvSpPr>
              <p:cNvPr id="3867" name="Vrije vorm: vorm 3866">
                <a:extLst>
                  <a:ext uri="{FF2B5EF4-FFF2-40B4-BE49-F238E27FC236}">
                    <a16:creationId xmlns:a16="http://schemas.microsoft.com/office/drawing/2014/main" id="{FA07DD5A-D76A-4FA9-9794-C2AC930E282D}"/>
                  </a:ext>
                </a:extLst>
              </p:cNvPr>
              <p:cNvSpPr/>
              <p:nvPr/>
            </p:nvSpPr>
            <p:spPr>
              <a:xfrm>
                <a:off x="6255077" y="1666329"/>
                <a:ext cx="12559" cy="79124"/>
              </a:xfrm>
              <a:custGeom>
                <a:avLst/>
                <a:gdLst>
                  <a:gd name="connsiteX0" fmla="*/ 12560 w 12559"/>
                  <a:gd name="connsiteY0" fmla="*/ 419 h 79124"/>
                  <a:gd name="connsiteX1" fmla="*/ 3050 w 12559"/>
                  <a:gd name="connsiteY1" fmla="*/ 79125 h 79124"/>
                  <a:gd name="connsiteX2" fmla="*/ 0 w 12559"/>
                  <a:gd name="connsiteY2" fmla="*/ 78706 h 79124"/>
                  <a:gd name="connsiteX3" fmla="*/ 9510 w 12559"/>
                  <a:gd name="connsiteY3" fmla="*/ 0 h 79124"/>
                </a:gdLst>
                <a:ahLst/>
                <a:cxnLst>
                  <a:cxn ang="0">
                    <a:pos x="connsiteX0" y="connsiteY0"/>
                  </a:cxn>
                  <a:cxn ang="0">
                    <a:pos x="connsiteX1" y="connsiteY1"/>
                  </a:cxn>
                  <a:cxn ang="0">
                    <a:pos x="connsiteX2" y="connsiteY2"/>
                  </a:cxn>
                  <a:cxn ang="0">
                    <a:pos x="connsiteX3" y="connsiteY3"/>
                  </a:cxn>
                </a:cxnLst>
                <a:rect l="l" t="t" r="r" b="b"/>
                <a:pathLst>
                  <a:path w="12559" h="79124">
                    <a:moveTo>
                      <a:pt x="12560" y="419"/>
                    </a:moveTo>
                    <a:lnTo>
                      <a:pt x="3050" y="79125"/>
                    </a:lnTo>
                    <a:lnTo>
                      <a:pt x="0" y="78706"/>
                    </a:lnTo>
                    <a:lnTo>
                      <a:pt x="9510" y="0"/>
                    </a:lnTo>
                    <a:close/>
                  </a:path>
                </a:pathLst>
              </a:custGeom>
              <a:grpFill/>
              <a:ln w="5978" cap="flat">
                <a:noFill/>
                <a:prstDash val="solid"/>
                <a:miter/>
              </a:ln>
            </p:spPr>
            <p:txBody>
              <a:bodyPr rtlCol="0" anchor="ctr"/>
              <a:lstStyle/>
              <a:p>
                <a:endParaRPr lang="en-GB"/>
              </a:p>
            </p:txBody>
          </p:sp>
          <p:sp>
            <p:nvSpPr>
              <p:cNvPr id="3868" name="Vrije vorm: vorm 3867">
                <a:extLst>
                  <a:ext uri="{FF2B5EF4-FFF2-40B4-BE49-F238E27FC236}">
                    <a16:creationId xmlns:a16="http://schemas.microsoft.com/office/drawing/2014/main" id="{76D7D7B3-1360-418A-9106-FFBD5C6D7203}"/>
                  </a:ext>
                </a:extLst>
              </p:cNvPr>
              <p:cNvSpPr/>
              <p:nvPr/>
            </p:nvSpPr>
            <p:spPr>
              <a:xfrm>
                <a:off x="6256866" y="1657771"/>
                <a:ext cx="18371" cy="18431"/>
              </a:xfrm>
              <a:custGeom>
                <a:avLst/>
                <a:gdLst>
                  <a:gd name="connsiteX0" fmla="*/ 65 w 18371"/>
                  <a:gd name="connsiteY0" fmla="*/ 8079 h 18431"/>
                  <a:gd name="connsiteX1" fmla="*/ 10292 w 18371"/>
                  <a:gd name="connsiteY1" fmla="*/ 65 h 18431"/>
                  <a:gd name="connsiteX2" fmla="*/ 18307 w 18371"/>
                  <a:gd name="connsiteY2" fmla="*/ 10352 h 18431"/>
                  <a:gd name="connsiteX3" fmla="*/ 8079 w 18371"/>
                  <a:gd name="connsiteY3" fmla="*/ 18366 h 18431"/>
                  <a:gd name="connsiteX4" fmla="*/ 65 w 18371"/>
                  <a:gd name="connsiteY4" fmla="*/ 807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31">
                    <a:moveTo>
                      <a:pt x="65" y="8079"/>
                    </a:moveTo>
                    <a:cubicBezTo>
                      <a:pt x="663" y="3055"/>
                      <a:pt x="5268" y="-533"/>
                      <a:pt x="10292" y="65"/>
                    </a:cubicBezTo>
                    <a:cubicBezTo>
                      <a:pt x="15316" y="723"/>
                      <a:pt x="18905" y="5328"/>
                      <a:pt x="18307" y="10352"/>
                    </a:cubicBezTo>
                    <a:cubicBezTo>
                      <a:pt x="17708" y="15376"/>
                      <a:pt x="13103" y="18964"/>
                      <a:pt x="8079" y="18366"/>
                    </a:cubicBezTo>
                    <a:cubicBezTo>
                      <a:pt x="3055" y="17708"/>
                      <a:pt x="-533" y="13103"/>
                      <a:pt x="65" y="8079"/>
                    </a:cubicBezTo>
                    <a:close/>
                  </a:path>
                </a:pathLst>
              </a:custGeom>
              <a:grpFill/>
              <a:ln w="5978" cap="flat">
                <a:noFill/>
                <a:prstDash val="solid"/>
                <a:miter/>
              </a:ln>
            </p:spPr>
            <p:txBody>
              <a:bodyPr rtlCol="0" anchor="ctr"/>
              <a:lstStyle/>
              <a:p>
                <a:endParaRPr lang="en-GB"/>
              </a:p>
            </p:txBody>
          </p:sp>
          <p:sp>
            <p:nvSpPr>
              <p:cNvPr id="3869" name="Vrije vorm: vorm 3868">
                <a:extLst>
                  <a:ext uri="{FF2B5EF4-FFF2-40B4-BE49-F238E27FC236}">
                    <a16:creationId xmlns:a16="http://schemas.microsoft.com/office/drawing/2014/main" id="{C9E77473-196C-421A-9287-83E7DF9C3D1D}"/>
                  </a:ext>
                </a:extLst>
              </p:cNvPr>
              <p:cNvSpPr/>
              <p:nvPr/>
            </p:nvSpPr>
            <p:spPr>
              <a:xfrm>
                <a:off x="6247536" y="1735579"/>
                <a:ext cx="18371" cy="18444"/>
              </a:xfrm>
              <a:custGeom>
                <a:avLst/>
                <a:gdLst>
                  <a:gd name="connsiteX0" fmla="*/ 65 w 18371"/>
                  <a:gd name="connsiteY0" fmla="*/ 8080 h 18444"/>
                  <a:gd name="connsiteX1" fmla="*/ 8079 w 18371"/>
                  <a:gd name="connsiteY1" fmla="*/ 18367 h 18444"/>
                  <a:gd name="connsiteX2" fmla="*/ 18306 w 18371"/>
                  <a:gd name="connsiteY2" fmla="*/ 10353 h 18444"/>
                  <a:gd name="connsiteX3" fmla="*/ 10292 w 18371"/>
                  <a:gd name="connsiteY3" fmla="*/ 66 h 18444"/>
                  <a:gd name="connsiteX4" fmla="*/ 65 w 18371"/>
                  <a:gd name="connsiteY4" fmla="*/ 808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4">
                    <a:moveTo>
                      <a:pt x="65" y="8080"/>
                    </a:moveTo>
                    <a:cubicBezTo>
                      <a:pt x="-533" y="13104"/>
                      <a:pt x="3055" y="17709"/>
                      <a:pt x="8079" y="18367"/>
                    </a:cubicBezTo>
                    <a:cubicBezTo>
                      <a:pt x="13103" y="19025"/>
                      <a:pt x="17648" y="15437"/>
                      <a:pt x="18306" y="10353"/>
                    </a:cubicBezTo>
                    <a:cubicBezTo>
                      <a:pt x="18905" y="5329"/>
                      <a:pt x="15316" y="724"/>
                      <a:pt x="10292" y="66"/>
                    </a:cubicBezTo>
                    <a:cubicBezTo>
                      <a:pt x="5209" y="-532"/>
                      <a:pt x="663" y="2997"/>
                      <a:pt x="65" y="8080"/>
                    </a:cubicBezTo>
                    <a:close/>
                  </a:path>
                </a:pathLst>
              </a:custGeom>
              <a:grpFill/>
              <a:ln w="5978" cap="flat">
                <a:noFill/>
                <a:prstDash val="solid"/>
                <a:miter/>
              </a:ln>
            </p:spPr>
            <p:txBody>
              <a:bodyPr rtlCol="0" anchor="ctr"/>
              <a:lstStyle/>
              <a:p>
                <a:endParaRPr lang="en-GB"/>
              </a:p>
            </p:txBody>
          </p:sp>
        </p:grpSp>
        <p:grpSp>
          <p:nvGrpSpPr>
            <p:cNvPr id="507" name="Graphic 3">
              <a:extLst>
                <a:ext uri="{FF2B5EF4-FFF2-40B4-BE49-F238E27FC236}">
                  <a16:creationId xmlns:a16="http://schemas.microsoft.com/office/drawing/2014/main" id="{66D8C855-4BA0-418E-948D-B9E812580B20}"/>
                </a:ext>
              </a:extLst>
            </p:cNvPr>
            <p:cNvGrpSpPr/>
            <p:nvPr/>
          </p:nvGrpSpPr>
          <p:grpSpPr>
            <a:xfrm>
              <a:off x="6134017" y="1292165"/>
              <a:ext cx="26993" cy="209106"/>
              <a:chOff x="6134017" y="1292165"/>
              <a:chExt cx="26993" cy="209106"/>
            </a:xfrm>
            <a:grpFill/>
          </p:grpSpPr>
          <p:sp>
            <p:nvSpPr>
              <p:cNvPr id="3864" name="Vrije vorm: vorm 3863">
                <a:extLst>
                  <a:ext uri="{FF2B5EF4-FFF2-40B4-BE49-F238E27FC236}">
                    <a16:creationId xmlns:a16="http://schemas.microsoft.com/office/drawing/2014/main" id="{77EB3C8E-BA39-4E53-A09B-DC40673D3521}"/>
                  </a:ext>
                </a:extLst>
              </p:cNvPr>
              <p:cNvSpPr/>
              <p:nvPr/>
            </p:nvSpPr>
            <p:spPr>
              <a:xfrm>
                <a:off x="6141623" y="1300847"/>
                <a:ext cx="11781" cy="191741"/>
              </a:xfrm>
              <a:custGeom>
                <a:avLst/>
                <a:gdLst>
                  <a:gd name="connsiteX0" fmla="*/ 11782 w 11781"/>
                  <a:gd name="connsiteY0" fmla="*/ 120 h 191741"/>
                  <a:gd name="connsiteX1" fmla="*/ 3050 w 11781"/>
                  <a:gd name="connsiteY1" fmla="*/ 191742 h 191741"/>
                  <a:gd name="connsiteX2" fmla="*/ 0 w 11781"/>
                  <a:gd name="connsiteY2" fmla="*/ 191622 h 191741"/>
                  <a:gd name="connsiteX3" fmla="*/ 8791 w 11781"/>
                  <a:gd name="connsiteY3" fmla="*/ 0 h 191741"/>
                </a:gdLst>
                <a:ahLst/>
                <a:cxnLst>
                  <a:cxn ang="0">
                    <a:pos x="connsiteX0" y="connsiteY0"/>
                  </a:cxn>
                  <a:cxn ang="0">
                    <a:pos x="connsiteX1" y="connsiteY1"/>
                  </a:cxn>
                  <a:cxn ang="0">
                    <a:pos x="connsiteX2" y="connsiteY2"/>
                  </a:cxn>
                  <a:cxn ang="0">
                    <a:pos x="connsiteX3" y="connsiteY3"/>
                  </a:cxn>
                </a:cxnLst>
                <a:rect l="l" t="t" r="r" b="b"/>
                <a:pathLst>
                  <a:path w="11781" h="191741">
                    <a:moveTo>
                      <a:pt x="11782" y="120"/>
                    </a:moveTo>
                    <a:lnTo>
                      <a:pt x="3050" y="191742"/>
                    </a:lnTo>
                    <a:lnTo>
                      <a:pt x="0" y="191622"/>
                    </a:lnTo>
                    <a:lnTo>
                      <a:pt x="8791" y="0"/>
                    </a:lnTo>
                    <a:close/>
                  </a:path>
                </a:pathLst>
              </a:custGeom>
              <a:grpFill/>
              <a:ln w="5978" cap="flat">
                <a:noFill/>
                <a:prstDash val="solid"/>
                <a:miter/>
              </a:ln>
            </p:spPr>
            <p:txBody>
              <a:bodyPr rtlCol="0" anchor="ctr"/>
              <a:lstStyle/>
              <a:p>
                <a:endParaRPr lang="en-GB"/>
              </a:p>
            </p:txBody>
          </p:sp>
          <p:sp>
            <p:nvSpPr>
              <p:cNvPr id="3865" name="Vrije vorm: vorm 3864">
                <a:extLst>
                  <a:ext uri="{FF2B5EF4-FFF2-40B4-BE49-F238E27FC236}">
                    <a16:creationId xmlns:a16="http://schemas.microsoft.com/office/drawing/2014/main" id="{9599A11B-FE5C-4E10-97E2-A253E54AC234}"/>
                  </a:ext>
                </a:extLst>
              </p:cNvPr>
              <p:cNvSpPr/>
              <p:nvPr/>
            </p:nvSpPr>
            <p:spPr>
              <a:xfrm>
                <a:off x="6142693" y="1292165"/>
                <a:ext cx="18317" cy="18441"/>
              </a:xfrm>
              <a:custGeom>
                <a:avLst/>
                <a:gdLst>
                  <a:gd name="connsiteX0" fmla="*/ 6 w 18317"/>
                  <a:gd name="connsiteY0" fmla="*/ 8742 h 18441"/>
                  <a:gd name="connsiteX1" fmla="*/ 9575 w 18317"/>
                  <a:gd name="connsiteY1" fmla="*/ 10 h 18441"/>
                  <a:gd name="connsiteX2" fmla="*/ 18307 w 18317"/>
                  <a:gd name="connsiteY2" fmla="*/ 9699 h 18441"/>
                  <a:gd name="connsiteX3" fmla="*/ 8738 w 18317"/>
                  <a:gd name="connsiteY3" fmla="*/ 18431 h 18441"/>
                  <a:gd name="connsiteX4" fmla="*/ 6 w 18317"/>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1">
                    <a:moveTo>
                      <a:pt x="6" y="8742"/>
                    </a:moveTo>
                    <a:cubicBezTo>
                      <a:pt x="245" y="3659"/>
                      <a:pt x="4551" y="-229"/>
                      <a:pt x="9575" y="10"/>
                    </a:cubicBezTo>
                    <a:cubicBezTo>
                      <a:pt x="14659" y="250"/>
                      <a:pt x="18546" y="4616"/>
                      <a:pt x="18307" y="9699"/>
                    </a:cubicBezTo>
                    <a:cubicBezTo>
                      <a:pt x="18068" y="14783"/>
                      <a:pt x="13762" y="18670"/>
                      <a:pt x="8738" y="18431"/>
                    </a:cubicBezTo>
                    <a:cubicBezTo>
                      <a:pt x="3714" y="18132"/>
                      <a:pt x="-174" y="13826"/>
                      <a:pt x="6" y="8742"/>
                    </a:cubicBezTo>
                    <a:close/>
                  </a:path>
                </a:pathLst>
              </a:custGeom>
              <a:grpFill/>
              <a:ln w="5978" cap="flat">
                <a:noFill/>
                <a:prstDash val="solid"/>
                <a:miter/>
              </a:ln>
            </p:spPr>
            <p:txBody>
              <a:bodyPr rtlCol="0" anchor="ctr"/>
              <a:lstStyle/>
              <a:p>
                <a:endParaRPr lang="en-GB"/>
              </a:p>
            </p:txBody>
          </p:sp>
          <p:sp>
            <p:nvSpPr>
              <p:cNvPr id="3866" name="Vrije vorm: vorm 3865">
                <a:extLst>
                  <a:ext uri="{FF2B5EF4-FFF2-40B4-BE49-F238E27FC236}">
                    <a16:creationId xmlns:a16="http://schemas.microsoft.com/office/drawing/2014/main" id="{4FB2A34C-895C-49F7-8561-A3D039926EB7}"/>
                  </a:ext>
                </a:extLst>
              </p:cNvPr>
              <p:cNvSpPr/>
              <p:nvPr/>
            </p:nvSpPr>
            <p:spPr>
              <a:xfrm>
                <a:off x="6134017" y="1482830"/>
                <a:ext cx="18321" cy="18441"/>
              </a:xfrm>
              <a:custGeom>
                <a:avLst/>
                <a:gdLst>
                  <a:gd name="connsiteX0" fmla="*/ 10 w 18321"/>
                  <a:gd name="connsiteY0" fmla="*/ 8742 h 18441"/>
                  <a:gd name="connsiteX1" fmla="*/ 8742 w 18321"/>
                  <a:gd name="connsiteY1" fmla="*/ 18431 h 18441"/>
                  <a:gd name="connsiteX2" fmla="*/ 18311 w 18321"/>
                  <a:gd name="connsiteY2" fmla="*/ 9699 h 18441"/>
                  <a:gd name="connsiteX3" fmla="*/ 9580 w 18321"/>
                  <a:gd name="connsiteY3" fmla="*/ 10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29" y="13826"/>
                      <a:pt x="3718" y="18132"/>
                      <a:pt x="8742" y="18431"/>
                    </a:cubicBezTo>
                    <a:cubicBezTo>
                      <a:pt x="13826" y="18670"/>
                      <a:pt x="18072" y="14783"/>
                      <a:pt x="18311" y="9699"/>
                    </a:cubicBezTo>
                    <a:cubicBezTo>
                      <a:pt x="18551" y="4616"/>
                      <a:pt x="14603" y="309"/>
                      <a:pt x="9580" y="10"/>
                    </a:cubicBezTo>
                    <a:cubicBezTo>
                      <a:pt x="4496" y="-229"/>
                      <a:pt x="249" y="3659"/>
                      <a:pt x="10" y="8742"/>
                    </a:cubicBezTo>
                    <a:close/>
                  </a:path>
                </a:pathLst>
              </a:custGeom>
              <a:grpFill/>
              <a:ln w="5978" cap="flat">
                <a:noFill/>
                <a:prstDash val="solid"/>
                <a:miter/>
              </a:ln>
            </p:spPr>
            <p:txBody>
              <a:bodyPr rtlCol="0" anchor="ctr"/>
              <a:lstStyle/>
              <a:p>
                <a:endParaRPr lang="en-GB"/>
              </a:p>
            </p:txBody>
          </p:sp>
        </p:grpSp>
        <p:grpSp>
          <p:nvGrpSpPr>
            <p:cNvPr id="508" name="Graphic 3">
              <a:extLst>
                <a:ext uri="{FF2B5EF4-FFF2-40B4-BE49-F238E27FC236}">
                  <a16:creationId xmlns:a16="http://schemas.microsoft.com/office/drawing/2014/main" id="{2C32B43D-AE2D-4E3B-AF7B-11566FA9C9DC}"/>
                </a:ext>
              </a:extLst>
            </p:cNvPr>
            <p:cNvGrpSpPr/>
            <p:nvPr/>
          </p:nvGrpSpPr>
          <p:grpSpPr>
            <a:xfrm>
              <a:off x="7192788" y="4658723"/>
              <a:ext cx="107762" cy="116005"/>
              <a:chOff x="7192788" y="4658723"/>
              <a:chExt cx="107762" cy="116005"/>
            </a:xfrm>
            <a:grpFill/>
          </p:grpSpPr>
          <p:sp>
            <p:nvSpPr>
              <p:cNvPr id="3861" name="Vrije vorm: vorm 3860">
                <a:extLst>
                  <a:ext uri="{FF2B5EF4-FFF2-40B4-BE49-F238E27FC236}">
                    <a16:creationId xmlns:a16="http://schemas.microsoft.com/office/drawing/2014/main" id="{48EA1A19-C261-456D-ACFB-727A30626B45}"/>
                  </a:ext>
                </a:extLst>
              </p:cNvPr>
              <p:cNvSpPr/>
              <p:nvPr/>
            </p:nvSpPr>
            <p:spPr>
              <a:xfrm>
                <a:off x="7200510" y="4666558"/>
                <a:ext cx="92282" cy="100296"/>
              </a:xfrm>
              <a:custGeom>
                <a:avLst/>
                <a:gdLst>
                  <a:gd name="connsiteX0" fmla="*/ 92283 w 92282"/>
                  <a:gd name="connsiteY0" fmla="*/ 98203 h 100296"/>
                  <a:gd name="connsiteX1" fmla="*/ 90070 w 92282"/>
                  <a:gd name="connsiteY1" fmla="*/ 100297 h 100296"/>
                  <a:gd name="connsiteX2" fmla="*/ 0 w 92282"/>
                  <a:gd name="connsiteY2" fmla="*/ 2093 h 100296"/>
                  <a:gd name="connsiteX3" fmla="*/ 2273 w 92282"/>
                  <a:gd name="connsiteY3" fmla="*/ 0 h 100296"/>
                </a:gdLst>
                <a:ahLst/>
                <a:cxnLst>
                  <a:cxn ang="0">
                    <a:pos x="connsiteX0" y="connsiteY0"/>
                  </a:cxn>
                  <a:cxn ang="0">
                    <a:pos x="connsiteX1" y="connsiteY1"/>
                  </a:cxn>
                  <a:cxn ang="0">
                    <a:pos x="connsiteX2" y="connsiteY2"/>
                  </a:cxn>
                  <a:cxn ang="0">
                    <a:pos x="connsiteX3" y="connsiteY3"/>
                  </a:cxn>
                </a:cxnLst>
                <a:rect l="l" t="t" r="r" b="b"/>
                <a:pathLst>
                  <a:path w="92282" h="100296">
                    <a:moveTo>
                      <a:pt x="92283" y="98203"/>
                    </a:moveTo>
                    <a:lnTo>
                      <a:pt x="90070" y="100297"/>
                    </a:lnTo>
                    <a:lnTo>
                      <a:pt x="0" y="2093"/>
                    </a:lnTo>
                    <a:lnTo>
                      <a:pt x="2273" y="0"/>
                    </a:lnTo>
                    <a:close/>
                  </a:path>
                </a:pathLst>
              </a:custGeom>
              <a:grpFill/>
              <a:ln w="5978" cap="flat">
                <a:noFill/>
                <a:prstDash val="solid"/>
                <a:miter/>
              </a:ln>
            </p:spPr>
            <p:txBody>
              <a:bodyPr rtlCol="0" anchor="ctr"/>
              <a:lstStyle/>
              <a:p>
                <a:endParaRPr lang="en-GB"/>
              </a:p>
            </p:txBody>
          </p:sp>
          <p:sp>
            <p:nvSpPr>
              <p:cNvPr id="3862" name="Vrije vorm: vorm 3861">
                <a:extLst>
                  <a:ext uri="{FF2B5EF4-FFF2-40B4-BE49-F238E27FC236}">
                    <a16:creationId xmlns:a16="http://schemas.microsoft.com/office/drawing/2014/main" id="{CE47CFE4-1FA5-4014-934E-AA24E69F826F}"/>
                  </a:ext>
                </a:extLst>
              </p:cNvPr>
              <p:cNvSpPr/>
              <p:nvPr/>
            </p:nvSpPr>
            <p:spPr>
              <a:xfrm>
                <a:off x="7282223" y="4756268"/>
                <a:ext cx="18327" cy="18460"/>
              </a:xfrm>
              <a:custGeom>
                <a:avLst/>
                <a:gdLst>
                  <a:gd name="connsiteX0" fmla="*/ 15892 w 18327"/>
                  <a:gd name="connsiteY0" fmla="*/ 2991 h 18460"/>
                  <a:gd name="connsiteX1" fmla="*/ 15413 w 18327"/>
                  <a:gd name="connsiteY1" fmla="*/ 16029 h 18460"/>
                  <a:gd name="connsiteX2" fmla="*/ 2435 w 18327"/>
                  <a:gd name="connsiteY2" fmla="*/ 15491 h 18460"/>
                  <a:gd name="connsiteX3" fmla="*/ 2914 w 18327"/>
                  <a:gd name="connsiteY3" fmla="*/ 2453 h 18460"/>
                  <a:gd name="connsiteX4" fmla="*/ 15892 w 18327"/>
                  <a:gd name="connsiteY4" fmla="*/ 2991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0">
                    <a:moveTo>
                      <a:pt x="15892" y="2991"/>
                    </a:moveTo>
                    <a:cubicBezTo>
                      <a:pt x="19301" y="6759"/>
                      <a:pt x="19121" y="12560"/>
                      <a:pt x="15413" y="16029"/>
                    </a:cubicBezTo>
                    <a:cubicBezTo>
                      <a:pt x="11705" y="19498"/>
                      <a:pt x="5904" y="19199"/>
                      <a:pt x="2435" y="15491"/>
                    </a:cubicBezTo>
                    <a:cubicBezTo>
                      <a:pt x="-974" y="11723"/>
                      <a:pt x="-794" y="5921"/>
                      <a:pt x="2914" y="2453"/>
                    </a:cubicBezTo>
                    <a:cubicBezTo>
                      <a:pt x="6622" y="-1016"/>
                      <a:pt x="12423" y="-777"/>
                      <a:pt x="15892" y="2991"/>
                    </a:cubicBezTo>
                    <a:close/>
                  </a:path>
                </a:pathLst>
              </a:custGeom>
              <a:grpFill/>
              <a:ln w="5978" cap="flat">
                <a:noFill/>
                <a:prstDash val="solid"/>
                <a:miter/>
              </a:ln>
            </p:spPr>
            <p:txBody>
              <a:bodyPr rtlCol="0" anchor="ctr"/>
              <a:lstStyle/>
              <a:p>
                <a:endParaRPr lang="en-GB"/>
              </a:p>
            </p:txBody>
          </p:sp>
          <p:sp>
            <p:nvSpPr>
              <p:cNvPr id="3863" name="Vrije vorm: vorm 3862">
                <a:extLst>
                  <a:ext uri="{FF2B5EF4-FFF2-40B4-BE49-F238E27FC236}">
                    <a16:creationId xmlns:a16="http://schemas.microsoft.com/office/drawing/2014/main" id="{C4130F83-21B8-44FE-BC76-762C6AD1B22F}"/>
                  </a:ext>
                </a:extLst>
              </p:cNvPr>
              <p:cNvSpPr/>
              <p:nvPr/>
            </p:nvSpPr>
            <p:spPr>
              <a:xfrm>
                <a:off x="7192788" y="4658723"/>
                <a:ext cx="18329" cy="18481"/>
              </a:xfrm>
              <a:custGeom>
                <a:avLst/>
                <a:gdLst>
                  <a:gd name="connsiteX0" fmla="*/ 15915 w 18329"/>
                  <a:gd name="connsiteY0" fmla="*/ 2991 h 18481"/>
                  <a:gd name="connsiteX1" fmla="*/ 2937 w 18329"/>
                  <a:gd name="connsiteY1" fmla="*/ 2452 h 18481"/>
                  <a:gd name="connsiteX2" fmla="*/ 2459 w 18329"/>
                  <a:gd name="connsiteY2" fmla="*/ 15491 h 18481"/>
                  <a:gd name="connsiteX3" fmla="*/ 15437 w 18329"/>
                  <a:gd name="connsiteY3" fmla="*/ 16029 h 18481"/>
                  <a:gd name="connsiteX4" fmla="*/ 15915 w 18329"/>
                  <a:gd name="connsiteY4" fmla="*/ 2991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81">
                    <a:moveTo>
                      <a:pt x="15915" y="2991"/>
                    </a:moveTo>
                    <a:cubicBezTo>
                      <a:pt x="12507" y="-777"/>
                      <a:pt x="6705" y="-1016"/>
                      <a:pt x="2937" y="2452"/>
                    </a:cubicBezTo>
                    <a:cubicBezTo>
                      <a:pt x="-771" y="5921"/>
                      <a:pt x="-1010" y="11723"/>
                      <a:pt x="2459" y="15491"/>
                    </a:cubicBezTo>
                    <a:cubicBezTo>
                      <a:pt x="5868" y="19258"/>
                      <a:pt x="11669" y="19498"/>
                      <a:pt x="15437" y="16029"/>
                    </a:cubicBezTo>
                    <a:cubicBezTo>
                      <a:pt x="19085" y="12560"/>
                      <a:pt x="19324" y="6759"/>
                      <a:pt x="15915" y="2991"/>
                    </a:cubicBezTo>
                    <a:close/>
                  </a:path>
                </a:pathLst>
              </a:custGeom>
              <a:grpFill/>
              <a:ln w="5978" cap="flat">
                <a:noFill/>
                <a:prstDash val="solid"/>
                <a:miter/>
              </a:ln>
            </p:spPr>
            <p:txBody>
              <a:bodyPr rtlCol="0" anchor="ctr"/>
              <a:lstStyle/>
              <a:p>
                <a:endParaRPr lang="en-GB"/>
              </a:p>
            </p:txBody>
          </p:sp>
        </p:grpSp>
        <p:grpSp>
          <p:nvGrpSpPr>
            <p:cNvPr id="509" name="Graphic 3">
              <a:extLst>
                <a:ext uri="{FF2B5EF4-FFF2-40B4-BE49-F238E27FC236}">
                  <a16:creationId xmlns:a16="http://schemas.microsoft.com/office/drawing/2014/main" id="{B6D8758B-B47A-4B25-AC6A-97893B7DC5EA}"/>
                </a:ext>
              </a:extLst>
            </p:cNvPr>
            <p:cNvGrpSpPr/>
            <p:nvPr/>
          </p:nvGrpSpPr>
          <p:grpSpPr>
            <a:xfrm>
              <a:off x="7278011" y="4802840"/>
              <a:ext cx="29159" cy="30742"/>
              <a:chOff x="7278011" y="4802840"/>
              <a:chExt cx="29159" cy="30742"/>
            </a:xfrm>
            <a:grpFill/>
          </p:grpSpPr>
          <p:sp>
            <p:nvSpPr>
              <p:cNvPr id="3859" name="Vrije vorm: vorm 3858">
                <a:extLst>
                  <a:ext uri="{FF2B5EF4-FFF2-40B4-BE49-F238E27FC236}">
                    <a16:creationId xmlns:a16="http://schemas.microsoft.com/office/drawing/2014/main" id="{AAE229A0-6439-4B38-99CE-4B7668FF38C7}"/>
                  </a:ext>
                </a:extLst>
              </p:cNvPr>
              <p:cNvSpPr/>
              <p:nvPr/>
            </p:nvSpPr>
            <p:spPr>
              <a:xfrm>
                <a:off x="7288880" y="4815160"/>
                <a:ext cx="18289" cy="18422"/>
              </a:xfrm>
              <a:custGeom>
                <a:avLst/>
                <a:gdLst>
                  <a:gd name="connsiteX0" fmla="*/ 2297 w 18289"/>
                  <a:gd name="connsiteY0" fmla="*/ 15270 h 18422"/>
                  <a:gd name="connsiteX1" fmla="*/ 3075 w 18289"/>
                  <a:gd name="connsiteY1" fmla="*/ 2291 h 18422"/>
                  <a:gd name="connsiteX2" fmla="*/ 15993 w 18289"/>
                  <a:gd name="connsiteY2" fmla="*/ 3129 h 18422"/>
                  <a:gd name="connsiteX3" fmla="*/ 15215 w 18289"/>
                  <a:gd name="connsiteY3" fmla="*/ 16107 h 18422"/>
                  <a:gd name="connsiteX4" fmla="*/ 2297 w 18289"/>
                  <a:gd name="connsiteY4" fmla="*/ 15270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22">
                    <a:moveTo>
                      <a:pt x="2297" y="15270"/>
                    </a:moveTo>
                    <a:cubicBezTo>
                      <a:pt x="-1052" y="11442"/>
                      <a:pt x="-693" y="5641"/>
                      <a:pt x="3075" y="2291"/>
                    </a:cubicBezTo>
                    <a:cubicBezTo>
                      <a:pt x="6843" y="-1058"/>
                      <a:pt x="12644" y="-699"/>
                      <a:pt x="15993" y="3129"/>
                    </a:cubicBezTo>
                    <a:cubicBezTo>
                      <a:pt x="19342" y="6956"/>
                      <a:pt x="18983" y="12758"/>
                      <a:pt x="15215" y="16107"/>
                    </a:cubicBezTo>
                    <a:cubicBezTo>
                      <a:pt x="11447" y="19516"/>
                      <a:pt x="5646" y="19097"/>
                      <a:pt x="2297" y="15270"/>
                    </a:cubicBezTo>
                    <a:close/>
                  </a:path>
                </a:pathLst>
              </a:custGeom>
              <a:grpFill/>
              <a:ln w="5978" cap="flat">
                <a:noFill/>
                <a:prstDash val="solid"/>
                <a:miter/>
              </a:ln>
            </p:spPr>
            <p:txBody>
              <a:bodyPr rtlCol="0" anchor="ctr"/>
              <a:lstStyle/>
              <a:p>
                <a:endParaRPr lang="en-GB"/>
              </a:p>
            </p:txBody>
          </p:sp>
          <p:sp>
            <p:nvSpPr>
              <p:cNvPr id="3860" name="Vrije vorm: vorm 3859">
                <a:extLst>
                  <a:ext uri="{FF2B5EF4-FFF2-40B4-BE49-F238E27FC236}">
                    <a16:creationId xmlns:a16="http://schemas.microsoft.com/office/drawing/2014/main" id="{81075A28-041E-4D80-8ECA-FDB9E03FF58C}"/>
                  </a:ext>
                </a:extLst>
              </p:cNvPr>
              <p:cNvSpPr/>
              <p:nvPr/>
            </p:nvSpPr>
            <p:spPr>
              <a:xfrm>
                <a:off x="7278011" y="4802840"/>
                <a:ext cx="18334" cy="18398"/>
              </a:xfrm>
              <a:custGeom>
                <a:avLst/>
                <a:gdLst>
                  <a:gd name="connsiteX0" fmla="*/ 2342 w 18334"/>
                  <a:gd name="connsiteY0" fmla="*/ 15270 h 18398"/>
                  <a:gd name="connsiteX1" fmla="*/ 15260 w 18334"/>
                  <a:gd name="connsiteY1" fmla="*/ 16107 h 18398"/>
                  <a:gd name="connsiteX2" fmla="*/ 16038 w 18334"/>
                  <a:gd name="connsiteY2" fmla="*/ 3129 h 18398"/>
                  <a:gd name="connsiteX3" fmla="*/ 3119 w 18334"/>
                  <a:gd name="connsiteY3" fmla="*/ 2291 h 18398"/>
                  <a:gd name="connsiteX4" fmla="*/ 2342 w 18334"/>
                  <a:gd name="connsiteY4" fmla="*/ 1527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98">
                    <a:moveTo>
                      <a:pt x="2342" y="15270"/>
                    </a:moveTo>
                    <a:cubicBezTo>
                      <a:pt x="5691" y="19097"/>
                      <a:pt x="11492" y="19456"/>
                      <a:pt x="15260" y="16107"/>
                    </a:cubicBezTo>
                    <a:cubicBezTo>
                      <a:pt x="19028" y="12758"/>
                      <a:pt x="19387" y="6897"/>
                      <a:pt x="16038" y="3129"/>
                    </a:cubicBezTo>
                    <a:cubicBezTo>
                      <a:pt x="12688" y="-699"/>
                      <a:pt x="6887" y="-1058"/>
                      <a:pt x="3119" y="2291"/>
                    </a:cubicBezTo>
                    <a:cubicBezTo>
                      <a:pt x="-709" y="5581"/>
                      <a:pt x="-1067" y="11442"/>
                      <a:pt x="2342" y="15270"/>
                    </a:cubicBezTo>
                    <a:close/>
                  </a:path>
                </a:pathLst>
              </a:custGeom>
              <a:grpFill/>
              <a:ln w="5978" cap="flat">
                <a:noFill/>
                <a:prstDash val="solid"/>
                <a:miter/>
              </a:ln>
            </p:spPr>
            <p:txBody>
              <a:bodyPr rtlCol="0" anchor="ctr"/>
              <a:lstStyle/>
              <a:p>
                <a:endParaRPr lang="en-GB"/>
              </a:p>
            </p:txBody>
          </p:sp>
        </p:grpSp>
        <p:grpSp>
          <p:nvGrpSpPr>
            <p:cNvPr id="510" name="Graphic 3">
              <a:extLst>
                <a:ext uri="{FF2B5EF4-FFF2-40B4-BE49-F238E27FC236}">
                  <a16:creationId xmlns:a16="http://schemas.microsoft.com/office/drawing/2014/main" id="{B8942030-FE54-49A3-B227-6876D7824BDF}"/>
                </a:ext>
              </a:extLst>
            </p:cNvPr>
            <p:cNvGrpSpPr/>
            <p:nvPr/>
          </p:nvGrpSpPr>
          <p:grpSpPr>
            <a:xfrm>
              <a:off x="7139631" y="4694496"/>
              <a:ext cx="368522" cy="493554"/>
              <a:chOff x="7139631" y="4694496"/>
              <a:chExt cx="368522" cy="493554"/>
            </a:xfrm>
            <a:grpFill/>
          </p:grpSpPr>
          <p:sp>
            <p:nvSpPr>
              <p:cNvPr id="3856" name="Vrije vorm: vorm 3855">
                <a:extLst>
                  <a:ext uri="{FF2B5EF4-FFF2-40B4-BE49-F238E27FC236}">
                    <a16:creationId xmlns:a16="http://schemas.microsoft.com/office/drawing/2014/main" id="{B82B7C2D-7F57-4A14-8518-84FB82CCA298}"/>
                  </a:ext>
                </a:extLst>
              </p:cNvPr>
              <p:cNvSpPr/>
              <p:nvPr/>
            </p:nvSpPr>
            <p:spPr>
              <a:xfrm>
                <a:off x="7147281" y="4702382"/>
                <a:ext cx="353221" cy="477740"/>
              </a:xfrm>
              <a:custGeom>
                <a:avLst/>
                <a:gdLst>
                  <a:gd name="connsiteX0" fmla="*/ 353222 w 353221"/>
                  <a:gd name="connsiteY0" fmla="*/ 475886 h 477740"/>
                  <a:gd name="connsiteX1" fmla="*/ 350770 w 353221"/>
                  <a:gd name="connsiteY1" fmla="*/ 477740 h 477740"/>
                  <a:gd name="connsiteX2" fmla="*/ 0 w 353221"/>
                  <a:gd name="connsiteY2" fmla="*/ 1794 h 477740"/>
                  <a:gd name="connsiteX3" fmla="*/ 2452 w 353221"/>
                  <a:gd name="connsiteY3" fmla="*/ 0 h 477740"/>
                </a:gdLst>
                <a:ahLst/>
                <a:cxnLst>
                  <a:cxn ang="0">
                    <a:pos x="connsiteX0" y="connsiteY0"/>
                  </a:cxn>
                  <a:cxn ang="0">
                    <a:pos x="connsiteX1" y="connsiteY1"/>
                  </a:cxn>
                  <a:cxn ang="0">
                    <a:pos x="connsiteX2" y="connsiteY2"/>
                  </a:cxn>
                  <a:cxn ang="0">
                    <a:pos x="connsiteX3" y="connsiteY3"/>
                  </a:cxn>
                </a:cxnLst>
                <a:rect l="l" t="t" r="r" b="b"/>
                <a:pathLst>
                  <a:path w="353221" h="477740">
                    <a:moveTo>
                      <a:pt x="353222" y="475886"/>
                    </a:moveTo>
                    <a:lnTo>
                      <a:pt x="350770" y="477740"/>
                    </a:lnTo>
                    <a:lnTo>
                      <a:pt x="0" y="1794"/>
                    </a:lnTo>
                    <a:lnTo>
                      <a:pt x="2452" y="0"/>
                    </a:lnTo>
                    <a:close/>
                  </a:path>
                </a:pathLst>
              </a:custGeom>
              <a:grpFill/>
              <a:ln w="5978" cap="flat">
                <a:noFill/>
                <a:prstDash val="solid"/>
                <a:miter/>
              </a:ln>
            </p:spPr>
            <p:txBody>
              <a:bodyPr rtlCol="0" anchor="ctr"/>
              <a:lstStyle/>
              <a:p>
                <a:endParaRPr lang="en-GB"/>
              </a:p>
            </p:txBody>
          </p:sp>
          <p:sp>
            <p:nvSpPr>
              <p:cNvPr id="3857" name="Vrije vorm: vorm 3856">
                <a:extLst>
                  <a:ext uri="{FF2B5EF4-FFF2-40B4-BE49-F238E27FC236}">
                    <a16:creationId xmlns:a16="http://schemas.microsoft.com/office/drawing/2014/main" id="{2E0D62C0-43AB-4AA1-A411-4E76FE14F42F}"/>
                  </a:ext>
                </a:extLst>
              </p:cNvPr>
              <p:cNvSpPr/>
              <p:nvPr/>
            </p:nvSpPr>
            <p:spPr>
              <a:xfrm>
                <a:off x="7139631" y="4694496"/>
                <a:ext cx="18291" cy="18386"/>
              </a:xfrm>
              <a:custGeom>
                <a:avLst/>
                <a:gdLst>
                  <a:gd name="connsiteX0" fmla="*/ 1790 w 18291"/>
                  <a:gd name="connsiteY0" fmla="*/ 14644 h 18386"/>
                  <a:gd name="connsiteX1" fmla="*/ 3703 w 18291"/>
                  <a:gd name="connsiteY1" fmla="*/ 1786 h 18386"/>
                  <a:gd name="connsiteX2" fmla="*/ 16502 w 18291"/>
                  <a:gd name="connsiteY2" fmla="*/ 3759 h 18386"/>
                  <a:gd name="connsiteX3" fmla="*/ 14588 w 18291"/>
                  <a:gd name="connsiteY3" fmla="*/ 16618 h 18386"/>
                  <a:gd name="connsiteX4" fmla="*/ 1790 w 18291"/>
                  <a:gd name="connsiteY4" fmla="*/ 14644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386">
                    <a:moveTo>
                      <a:pt x="1790" y="14644"/>
                    </a:moveTo>
                    <a:cubicBezTo>
                      <a:pt x="-1201" y="10517"/>
                      <a:pt x="-363" y="4776"/>
                      <a:pt x="3703" y="1786"/>
                    </a:cubicBezTo>
                    <a:cubicBezTo>
                      <a:pt x="7770" y="-1205"/>
                      <a:pt x="13512" y="-368"/>
                      <a:pt x="16502" y="3759"/>
                    </a:cubicBezTo>
                    <a:cubicBezTo>
                      <a:pt x="19492" y="7826"/>
                      <a:pt x="18655" y="13627"/>
                      <a:pt x="14588" y="16618"/>
                    </a:cubicBezTo>
                    <a:cubicBezTo>
                      <a:pt x="10581" y="19608"/>
                      <a:pt x="4840" y="18711"/>
                      <a:pt x="1790" y="14644"/>
                    </a:cubicBezTo>
                    <a:close/>
                  </a:path>
                </a:pathLst>
              </a:custGeom>
              <a:grpFill/>
              <a:ln w="5978" cap="flat">
                <a:noFill/>
                <a:prstDash val="solid"/>
                <a:miter/>
              </a:ln>
            </p:spPr>
            <p:txBody>
              <a:bodyPr rtlCol="0" anchor="ctr"/>
              <a:lstStyle/>
              <a:p>
                <a:endParaRPr lang="en-GB"/>
              </a:p>
            </p:txBody>
          </p:sp>
          <p:sp>
            <p:nvSpPr>
              <p:cNvPr id="3858" name="Vrije vorm: vorm 3857">
                <a:extLst>
                  <a:ext uri="{FF2B5EF4-FFF2-40B4-BE49-F238E27FC236}">
                    <a16:creationId xmlns:a16="http://schemas.microsoft.com/office/drawing/2014/main" id="{D1EB8FF9-9EF3-4F18-A935-365107D9EAEE}"/>
                  </a:ext>
                </a:extLst>
              </p:cNvPr>
              <p:cNvSpPr/>
              <p:nvPr/>
            </p:nvSpPr>
            <p:spPr>
              <a:xfrm>
                <a:off x="7489836" y="5169682"/>
                <a:ext cx="18317" cy="18369"/>
              </a:xfrm>
              <a:custGeom>
                <a:avLst/>
                <a:gdLst>
                  <a:gd name="connsiteX0" fmla="*/ 1816 w 18317"/>
                  <a:gd name="connsiteY0" fmla="*/ 14627 h 18369"/>
                  <a:gd name="connsiteX1" fmla="*/ 14614 w 18317"/>
                  <a:gd name="connsiteY1" fmla="*/ 16601 h 18369"/>
                  <a:gd name="connsiteX2" fmla="*/ 16528 w 18317"/>
                  <a:gd name="connsiteY2" fmla="*/ 3742 h 18369"/>
                  <a:gd name="connsiteX3" fmla="*/ 3729 w 18317"/>
                  <a:gd name="connsiteY3" fmla="*/ 1768 h 18369"/>
                  <a:gd name="connsiteX4" fmla="*/ 1816 w 18317"/>
                  <a:gd name="connsiteY4" fmla="*/ 14627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69">
                    <a:moveTo>
                      <a:pt x="1816" y="14627"/>
                    </a:moveTo>
                    <a:cubicBezTo>
                      <a:pt x="4806" y="18694"/>
                      <a:pt x="10547" y="19591"/>
                      <a:pt x="14614" y="16601"/>
                    </a:cubicBezTo>
                    <a:cubicBezTo>
                      <a:pt x="18681" y="13610"/>
                      <a:pt x="19518" y="7809"/>
                      <a:pt x="16528" y="3742"/>
                    </a:cubicBezTo>
                    <a:cubicBezTo>
                      <a:pt x="13538" y="-325"/>
                      <a:pt x="7796" y="-1222"/>
                      <a:pt x="3729" y="1768"/>
                    </a:cubicBezTo>
                    <a:cubicBezTo>
                      <a:pt x="-338" y="4759"/>
                      <a:pt x="-1235" y="10500"/>
                      <a:pt x="1816" y="14627"/>
                    </a:cubicBezTo>
                    <a:close/>
                  </a:path>
                </a:pathLst>
              </a:custGeom>
              <a:grpFill/>
              <a:ln w="5978" cap="flat">
                <a:noFill/>
                <a:prstDash val="solid"/>
                <a:miter/>
              </a:ln>
            </p:spPr>
            <p:txBody>
              <a:bodyPr rtlCol="0" anchor="ctr"/>
              <a:lstStyle/>
              <a:p>
                <a:endParaRPr lang="en-GB"/>
              </a:p>
            </p:txBody>
          </p:sp>
        </p:grpSp>
        <p:grpSp>
          <p:nvGrpSpPr>
            <p:cNvPr id="511" name="Graphic 3">
              <a:extLst>
                <a:ext uri="{FF2B5EF4-FFF2-40B4-BE49-F238E27FC236}">
                  <a16:creationId xmlns:a16="http://schemas.microsoft.com/office/drawing/2014/main" id="{2FDA1706-DBE4-47E4-BED8-7787B35130F4}"/>
                </a:ext>
              </a:extLst>
            </p:cNvPr>
            <p:cNvGrpSpPr/>
            <p:nvPr/>
          </p:nvGrpSpPr>
          <p:grpSpPr>
            <a:xfrm>
              <a:off x="6193265" y="1530654"/>
              <a:ext cx="26797" cy="121054"/>
              <a:chOff x="6193265" y="1530654"/>
              <a:chExt cx="26797" cy="121054"/>
            </a:xfrm>
            <a:grpFill/>
          </p:grpSpPr>
          <p:sp>
            <p:nvSpPr>
              <p:cNvPr id="3853" name="Vrije vorm: vorm 3852">
                <a:extLst>
                  <a:ext uri="{FF2B5EF4-FFF2-40B4-BE49-F238E27FC236}">
                    <a16:creationId xmlns:a16="http://schemas.microsoft.com/office/drawing/2014/main" id="{D5F9F782-D014-43DF-9D68-CEE1969E3D33}"/>
                  </a:ext>
                </a:extLst>
              </p:cNvPr>
              <p:cNvSpPr/>
              <p:nvPr/>
            </p:nvSpPr>
            <p:spPr>
              <a:xfrm>
                <a:off x="6200892" y="1539239"/>
                <a:ext cx="11602" cy="103885"/>
              </a:xfrm>
              <a:custGeom>
                <a:avLst/>
                <a:gdLst>
                  <a:gd name="connsiteX0" fmla="*/ 11603 w 11602"/>
                  <a:gd name="connsiteY0" fmla="*/ 299 h 103885"/>
                  <a:gd name="connsiteX1" fmla="*/ 2990 w 11602"/>
                  <a:gd name="connsiteY1" fmla="*/ 103885 h 103885"/>
                  <a:gd name="connsiteX2" fmla="*/ 0 w 11602"/>
                  <a:gd name="connsiteY2" fmla="*/ 103586 h 103885"/>
                  <a:gd name="connsiteX3" fmla="*/ 8552 w 11602"/>
                  <a:gd name="connsiteY3" fmla="*/ 0 h 103885"/>
                </a:gdLst>
                <a:ahLst/>
                <a:cxnLst>
                  <a:cxn ang="0">
                    <a:pos x="connsiteX0" y="connsiteY0"/>
                  </a:cxn>
                  <a:cxn ang="0">
                    <a:pos x="connsiteX1" y="connsiteY1"/>
                  </a:cxn>
                  <a:cxn ang="0">
                    <a:pos x="connsiteX2" y="connsiteY2"/>
                  </a:cxn>
                  <a:cxn ang="0">
                    <a:pos x="connsiteX3" y="connsiteY3"/>
                  </a:cxn>
                </a:cxnLst>
                <a:rect l="l" t="t" r="r" b="b"/>
                <a:pathLst>
                  <a:path w="11602" h="103885">
                    <a:moveTo>
                      <a:pt x="11603" y="299"/>
                    </a:moveTo>
                    <a:lnTo>
                      <a:pt x="2990" y="103885"/>
                    </a:lnTo>
                    <a:lnTo>
                      <a:pt x="0" y="103586"/>
                    </a:lnTo>
                    <a:lnTo>
                      <a:pt x="8552" y="0"/>
                    </a:lnTo>
                    <a:close/>
                  </a:path>
                </a:pathLst>
              </a:custGeom>
              <a:grpFill/>
              <a:ln w="5978" cap="flat">
                <a:noFill/>
                <a:prstDash val="solid"/>
                <a:miter/>
              </a:ln>
            </p:spPr>
            <p:txBody>
              <a:bodyPr rtlCol="0" anchor="ctr"/>
              <a:lstStyle/>
              <a:p>
                <a:endParaRPr lang="en-GB"/>
              </a:p>
            </p:txBody>
          </p:sp>
          <p:sp>
            <p:nvSpPr>
              <p:cNvPr id="3854" name="Vrije vorm: vorm 3853">
                <a:extLst>
                  <a:ext uri="{FF2B5EF4-FFF2-40B4-BE49-F238E27FC236}">
                    <a16:creationId xmlns:a16="http://schemas.microsoft.com/office/drawing/2014/main" id="{9894FD17-D96C-438E-A693-BAE8887CE389}"/>
                  </a:ext>
                </a:extLst>
              </p:cNvPr>
              <p:cNvSpPr/>
              <p:nvPr/>
            </p:nvSpPr>
            <p:spPr>
              <a:xfrm>
                <a:off x="6201757" y="1530654"/>
                <a:ext cx="18304" cy="18425"/>
              </a:xfrm>
              <a:custGeom>
                <a:avLst/>
                <a:gdLst>
                  <a:gd name="connsiteX0" fmla="*/ 32 w 18304"/>
                  <a:gd name="connsiteY0" fmla="*/ 8405 h 18425"/>
                  <a:gd name="connsiteX1" fmla="*/ 9900 w 18304"/>
                  <a:gd name="connsiteY1" fmla="*/ 32 h 18425"/>
                  <a:gd name="connsiteX2" fmla="*/ 18273 w 18304"/>
                  <a:gd name="connsiteY2" fmla="*/ 10020 h 18425"/>
                  <a:gd name="connsiteX3" fmla="*/ 8405 w 18304"/>
                  <a:gd name="connsiteY3" fmla="*/ 18393 h 18425"/>
                  <a:gd name="connsiteX4" fmla="*/ 32 w 1830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32" y="8405"/>
                    </a:moveTo>
                    <a:cubicBezTo>
                      <a:pt x="450" y="3322"/>
                      <a:pt x="4876" y="-386"/>
                      <a:pt x="9900" y="32"/>
                    </a:cubicBezTo>
                    <a:cubicBezTo>
                      <a:pt x="14924" y="451"/>
                      <a:pt x="18692" y="4936"/>
                      <a:pt x="18273" y="10020"/>
                    </a:cubicBezTo>
                    <a:cubicBezTo>
                      <a:pt x="17854" y="15104"/>
                      <a:pt x="13429" y="18812"/>
                      <a:pt x="8405" y="18393"/>
                    </a:cubicBezTo>
                    <a:cubicBezTo>
                      <a:pt x="3381" y="17915"/>
                      <a:pt x="-387" y="13429"/>
                      <a:pt x="32" y="8405"/>
                    </a:cubicBezTo>
                    <a:close/>
                  </a:path>
                </a:pathLst>
              </a:custGeom>
              <a:grpFill/>
              <a:ln w="5978" cap="flat">
                <a:noFill/>
                <a:prstDash val="solid"/>
                <a:miter/>
              </a:ln>
            </p:spPr>
            <p:txBody>
              <a:bodyPr rtlCol="0" anchor="ctr"/>
              <a:lstStyle/>
              <a:p>
                <a:endParaRPr lang="en-GB"/>
              </a:p>
            </p:txBody>
          </p:sp>
          <p:sp>
            <p:nvSpPr>
              <p:cNvPr id="3855" name="Vrije vorm: vorm 3854">
                <a:extLst>
                  <a:ext uri="{FF2B5EF4-FFF2-40B4-BE49-F238E27FC236}">
                    <a16:creationId xmlns:a16="http://schemas.microsoft.com/office/drawing/2014/main" id="{58AABADC-9DEC-4B74-BB60-483F8A0F3615}"/>
                  </a:ext>
                </a:extLst>
              </p:cNvPr>
              <p:cNvSpPr/>
              <p:nvPr/>
            </p:nvSpPr>
            <p:spPr>
              <a:xfrm>
                <a:off x="6193265" y="1633284"/>
                <a:ext cx="18304" cy="18424"/>
              </a:xfrm>
              <a:custGeom>
                <a:avLst/>
                <a:gdLst>
                  <a:gd name="connsiteX0" fmla="*/ 32 w 18304"/>
                  <a:gd name="connsiteY0" fmla="*/ 8405 h 18424"/>
                  <a:gd name="connsiteX1" fmla="*/ 8405 w 18304"/>
                  <a:gd name="connsiteY1" fmla="*/ 18393 h 18424"/>
                  <a:gd name="connsiteX2" fmla="*/ 18273 w 18304"/>
                  <a:gd name="connsiteY2" fmla="*/ 10020 h 18424"/>
                  <a:gd name="connsiteX3" fmla="*/ 9900 w 18304"/>
                  <a:gd name="connsiteY3" fmla="*/ 32 h 18424"/>
                  <a:gd name="connsiteX4" fmla="*/ 32 w 18304"/>
                  <a:gd name="connsiteY4" fmla="*/ 8405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4">
                    <a:moveTo>
                      <a:pt x="32" y="8405"/>
                    </a:moveTo>
                    <a:cubicBezTo>
                      <a:pt x="-387" y="13488"/>
                      <a:pt x="3381" y="17914"/>
                      <a:pt x="8405" y="18393"/>
                    </a:cubicBezTo>
                    <a:cubicBezTo>
                      <a:pt x="13429" y="18811"/>
                      <a:pt x="17854" y="15103"/>
                      <a:pt x="18273" y="10020"/>
                    </a:cubicBezTo>
                    <a:cubicBezTo>
                      <a:pt x="18692" y="4936"/>
                      <a:pt x="14924" y="510"/>
                      <a:pt x="9900" y="32"/>
                    </a:cubicBezTo>
                    <a:cubicBezTo>
                      <a:pt x="4876" y="-387"/>
                      <a:pt x="450" y="3381"/>
                      <a:pt x="32" y="8405"/>
                    </a:cubicBezTo>
                    <a:close/>
                  </a:path>
                </a:pathLst>
              </a:custGeom>
              <a:grpFill/>
              <a:ln w="5978" cap="flat">
                <a:noFill/>
                <a:prstDash val="solid"/>
                <a:miter/>
              </a:ln>
            </p:spPr>
            <p:txBody>
              <a:bodyPr rtlCol="0" anchor="ctr"/>
              <a:lstStyle/>
              <a:p>
                <a:endParaRPr lang="en-GB"/>
              </a:p>
            </p:txBody>
          </p:sp>
        </p:grpSp>
        <p:grpSp>
          <p:nvGrpSpPr>
            <p:cNvPr id="512" name="Graphic 3">
              <a:extLst>
                <a:ext uri="{FF2B5EF4-FFF2-40B4-BE49-F238E27FC236}">
                  <a16:creationId xmlns:a16="http://schemas.microsoft.com/office/drawing/2014/main" id="{DF2DAA3C-D787-4616-B420-4F429735090C}"/>
                </a:ext>
              </a:extLst>
            </p:cNvPr>
            <p:cNvGrpSpPr/>
            <p:nvPr/>
          </p:nvGrpSpPr>
          <p:grpSpPr>
            <a:xfrm>
              <a:off x="6099337" y="1280985"/>
              <a:ext cx="22672" cy="179851"/>
              <a:chOff x="6099337" y="1280985"/>
              <a:chExt cx="22672" cy="179851"/>
            </a:xfrm>
            <a:grpFill/>
          </p:grpSpPr>
          <p:sp>
            <p:nvSpPr>
              <p:cNvPr id="3850" name="Vrije vorm: vorm 3849">
                <a:extLst>
                  <a:ext uri="{FF2B5EF4-FFF2-40B4-BE49-F238E27FC236}">
                    <a16:creationId xmlns:a16="http://schemas.microsoft.com/office/drawing/2014/main" id="{7EDC7274-6BBC-41AE-BBA9-3600A22E2D68}"/>
                  </a:ext>
                </a:extLst>
              </p:cNvPr>
              <p:cNvSpPr/>
              <p:nvPr/>
            </p:nvSpPr>
            <p:spPr>
              <a:xfrm>
                <a:off x="6106935" y="1289663"/>
                <a:ext cx="7475" cy="162496"/>
              </a:xfrm>
              <a:custGeom>
                <a:avLst/>
                <a:gdLst>
                  <a:gd name="connsiteX0" fmla="*/ 7476 w 7475"/>
                  <a:gd name="connsiteY0" fmla="*/ 120 h 162496"/>
                  <a:gd name="connsiteX1" fmla="*/ 3050 w 7475"/>
                  <a:gd name="connsiteY1" fmla="*/ 162496 h 162496"/>
                  <a:gd name="connsiteX2" fmla="*/ 0 w 7475"/>
                  <a:gd name="connsiteY2" fmla="*/ 162377 h 162496"/>
                  <a:gd name="connsiteX3" fmla="*/ 4426 w 7475"/>
                  <a:gd name="connsiteY3" fmla="*/ 0 h 162496"/>
                </a:gdLst>
                <a:ahLst/>
                <a:cxnLst>
                  <a:cxn ang="0">
                    <a:pos x="connsiteX0" y="connsiteY0"/>
                  </a:cxn>
                  <a:cxn ang="0">
                    <a:pos x="connsiteX1" y="connsiteY1"/>
                  </a:cxn>
                  <a:cxn ang="0">
                    <a:pos x="connsiteX2" y="connsiteY2"/>
                  </a:cxn>
                  <a:cxn ang="0">
                    <a:pos x="connsiteX3" y="connsiteY3"/>
                  </a:cxn>
                </a:cxnLst>
                <a:rect l="l" t="t" r="r" b="b"/>
                <a:pathLst>
                  <a:path w="7475" h="162496">
                    <a:moveTo>
                      <a:pt x="7476" y="120"/>
                    </a:moveTo>
                    <a:lnTo>
                      <a:pt x="3050" y="162496"/>
                    </a:lnTo>
                    <a:lnTo>
                      <a:pt x="0" y="162377"/>
                    </a:lnTo>
                    <a:lnTo>
                      <a:pt x="4426" y="0"/>
                    </a:lnTo>
                    <a:close/>
                  </a:path>
                </a:pathLst>
              </a:custGeom>
              <a:grpFill/>
              <a:ln w="5978" cap="flat">
                <a:noFill/>
                <a:prstDash val="solid"/>
                <a:miter/>
              </a:ln>
            </p:spPr>
            <p:txBody>
              <a:bodyPr rtlCol="0" anchor="ctr"/>
              <a:lstStyle/>
              <a:p>
                <a:endParaRPr lang="en-GB"/>
              </a:p>
            </p:txBody>
          </p:sp>
          <p:sp>
            <p:nvSpPr>
              <p:cNvPr id="3851" name="Vrije vorm: vorm 3850">
                <a:extLst>
                  <a:ext uri="{FF2B5EF4-FFF2-40B4-BE49-F238E27FC236}">
                    <a16:creationId xmlns:a16="http://schemas.microsoft.com/office/drawing/2014/main" id="{440AAA5A-3912-45CB-8590-4A72C6AE80A0}"/>
                  </a:ext>
                </a:extLst>
              </p:cNvPr>
              <p:cNvSpPr/>
              <p:nvPr/>
            </p:nvSpPr>
            <p:spPr>
              <a:xfrm>
                <a:off x="6103702" y="1280985"/>
                <a:ext cx="18306" cy="18432"/>
              </a:xfrm>
              <a:custGeom>
                <a:avLst/>
                <a:gdLst>
                  <a:gd name="connsiteX0" fmla="*/ 3 w 18306"/>
                  <a:gd name="connsiteY0" fmla="*/ 8917 h 18432"/>
                  <a:gd name="connsiteX1" fmla="*/ 9392 w 18306"/>
                  <a:gd name="connsiteY1" fmla="*/ 6 h 18432"/>
                  <a:gd name="connsiteX2" fmla="*/ 18304 w 18306"/>
                  <a:gd name="connsiteY2" fmla="*/ 9515 h 18432"/>
                  <a:gd name="connsiteX3" fmla="*/ 8914 w 18306"/>
                  <a:gd name="connsiteY3" fmla="*/ 1842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22" y="3833"/>
                      <a:pt x="4369" y="-174"/>
                      <a:pt x="9392" y="6"/>
                    </a:cubicBezTo>
                    <a:cubicBezTo>
                      <a:pt x="14476" y="185"/>
                      <a:pt x="18423" y="4432"/>
                      <a:pt x="18304" y="9515"/>
                    </a:cubicBezTo>
                    <a:cubicBezTo>
                      <a:pt x="18184" y="14599"/>
                      <a:pt x="13938" y="18606"/>
                      <a:pt x="8914" y="18426"/>
                    </a:cubicBezTo>
                    <a:cubicBezTo>
                      <a:pt x="3890" y="18247"/>
                      <a:pt x="-117" y="14001"/>
                      <a:pt x="3" y="8917"/>
                    </a:cubicBezTo>
                    <a:close/>
                  </a:path>
                </a:pathLst>
              </a:custGeom>
              <a:grpFill/>
              <a:ln w="5978" cap="flat">
                <a:noFill/>
                <a:prstDash val="solid"/>
                <a:miter/>
              </a:ln>
            </p:spPr>
            <p:txBody>
              <a:bodyPr rtlCol="0" anchor="ctr"/>
              <a:lstStyle/>
              <a:p>
                <a:endParaRPr lang="en-GB"/>
              </a:p>
            </p:txBody>
          </p:sp>
          <p:sp>
            <p:nvSpPr>
              <p:cNvPr id="3852" name="Vrije vorm: vorm 3851">
                <a:extLst>
                  <a:ext uri="{FF2B5EF4-FFF2-40B4-BE49-F238E27FC236}">
                    <a16:creationId xmlns:a16="http://schemas.microsoft.com/office/drawing/2014/main" id="{056B1532-02F5-4C47-8051-14A236DF2A82}"/>
                  </a:ext>
                </a:extLst>
              </p:cNvPr>
              <p:cNvSpPr/>
              <p:nvPr/>
            </p:nvSpPr>
            <p:spPr>
              <a:xfrm>
                <a:off x="6099337" y="1442408"/>
                <a:ext cx="18306" cy="18429"/>
              </a:xfrm>
              <a:custGeom>
                <a:avLst/>
                <a:gdLst>
                  <a:gd name="connsiteX0" fmla="*/ 3 w 18306"/>
                  <a:gd name="connsiteY0" fmla="*/ 8914 h 18429"/>
                  <a:gd name="connsiteX1" fmla="*/ 8914 w 18306"/>
                  <a:gd name="connsiteY1" fmla="*/ 18423 h 18429"/>
                  <a:gd name="connsiteX2" fmla="*/ 18304 w 18306"/>
                  <a:gd name="connsiteY2" fmla="*/ 9512 h 18429"/>
                  <a:gd name="connsiteX3" fmla="*/ 9392 w 18306"/>
                  <a:gd name="connsiteY3" fmla="*/ 3 h 18429"/>
                  <a:gd name="connsiteX4" fmla="*/ 3 w 18306"/>
                  <a:gd name="connsiteY4" fmla="*/ 891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9">
                    <a:moveTo>
                      <a:pt x="3" y="8914"/>
                    </a:moveTo>
                    <a:cubicBezTo>
                      <a:pt x="-117" y="13998"/>
                      <a:pt x="3830" y="18244"/>
                      <a:pt x="8914" y="18423"/>
                    </a:cubicBezTo>
                    <a:cubicBezTo>
                      <a:pt x="13997" y="18603"/>
                      <a:pt x="18184" y="14596"/>
                      <a:pt x="18304" y="9512"/>
                    </a:cubicBezTo>
                    <a:cubicBezTo>
                      <a:pt x="18423" y="4428"/>
                      <a:pt x="14476" y="182"/>
                      <a:pt x="9392" y="3"/>
                    </a:cubicBezTo>
                    <a:cubicBezTo>
                      <a:pt x="4368" y="-117"/>
                      <a:pt x="122" y="3830"/>
                      <a:pt x="3" y="8914"/>
                    </a:cubicBezTo>
                    <a:close/>
                  </a:path>
                </a:pathLst>
              </a:custGeom>
              <a:grpFill/>
              <a:ln w="5978" cap="flat">
                <a:noFill/>
                <a:prstDash val="solid"/>
                <a:miter/>
              </a:ln>
            </p:spPr>
            <p:txBody>
              <a:bodyPr rtlCol="0" anchor="ctr"/>
              <a:lstStyle/>
              <a:p>
                <a:endParaRPr lang="en-GB"/>
              </a:p>
            </p:txBody>
          </p:sp>
        </p:grpSp>
        <p:grpSp>
          <p:nvGrpSpPr>
            <p:cNvPr id="513" name="Graphic 3">
              <a:extLst>
                <a:ext uri="{FF2B5EF4-FFF2-40B4-BE49-F238E27FC236}">
                  <a16:creationId xmlns:a16="http://schemas.microsoft.com/office/drawing/2014/main" id="{A3BEC209-7296-44D4-BE66-1474DBE238BE}"/>
                </a:ext>
              </a:extLst>
            </p:cNvPr>
            <p:cNvGrpSpPr/>
            <p:nvPr/>
          </p:nvGrpSpPr>
          <p:grpSpPr>
            <a:xfrm>
              <a:off x="6155191" y="1478108"/>
              <a:ext cx="68255" cy="269566"/>
              <a:chOff x="6155191" y="1478108"/>
              <a:chExt cx="68255" cy="269566"/>
            </a:xfrm>
            <a:grpFill/>
          </p:grpSpPr>
          <p:sp>
            <p:nvSpPr>
              <p:cNvPr id="3847" name="Vrije vorm: vorm 3846">
                <a:extLst>
                  <a:ext uri="{FF2B5EF4-FFF2-40B4-BE49-F238E27FC236}">
                    <a16:creationId xmlns:a16="http://schemas.microsoft.com/office/drawing/2014/main" id="{D8DCB4B5-FF69-4A8E-99A1-E2AE0794BACA}"/>
                  </a:ext>
                </a:extLst>
              </p:cNvPr>
              <p:cNvSpPr/>
              <p:nvPr/>
            </p:nvSpPr>
            <p:spPr>
              <a:xfrm>
                <a:off x="6162735" y="1486608"/>
                <a:ext cx="53108" cy="252625"/>
              </a:xfrm>
              <a:custGeom>
                <a:avLst/>
                <a:gdLst>
                  <a:gd name="connsiteX0" fmla="*/ 53109 w 53108"/>
                  <a:gd name="connsiteY0" fmla="*/ 598 h 252625"/>
                  <a:gd name="connsiteX1" fmla="*/ 2990 w 53108"/>
                  <a:gd name="connsiteY1" fmla="*/ 252626 h 252625"/>
                  <a:gd name="connsiteX2" fmla="*/ 0 w 53108"/>
                  <a:gd name="connsiteY2" fmla="*/ 252028 h 252625"/>
                  <a:gd name="connsiteX3" fmla="*/ 50118 w 53108"/>
                  <a:gd name="connsiteY3" fmla="*/ 0 h 252625"/>
                </a:gdLst>
                <a:ahLst/>
                <a:cxnLst>
                  <a:cxn ang="0">
                    <a:pos x="connsiteX0" y="connsiteY0"/>
                  </a:cxn>
                  <a:cxn ang="0">
                    <a:pos x="connsiteX1" y="connsiteY1"/>
                  </a:cxn>
                  <a:cxn ang="0">
                    <a:pos x="connsiteX2" y="connsiteY2"/>
                  </a:cxn>
                  <a:cxn ang="0">
                    <a:pos x="connsiteX3" y="connsiteY3"/>
                  </a:cxn>
                </a:cxnLst>
                <a:rect l="l" t="t" r="r" b="b"/>
                <a:pathLst>
                  <a:path w="53108" h="252625">
                    <a:moveTo>
                      <a:pt x="53109" y="598"/>
                    </a:moveTo>
                    <a:lnTo>
                      <a:pt x="2990" y="252626"/>
                    </a:lnTo>
                    <a:lnTo>
                      <a:pt x="0" y="252028"/>
                    </a:lnTo>
                    <a:lnTo>
                      <a:pt x="50118" y="0"/>
                    </a:lnTo>
                    <a:close/>
                  </a:path>
                </a:pathLst>
              </a:custGeom>
              <a:grpFill/>
              <a:ln w="5978" cap="flat">
                <a:noFill/>
                <a:prstDash val="solid"/>
                <a:miter/>
              </a:ln>
            </p:spPr>
            <p:txBody>
              <a:bodyPr rtlCol="0" anchor="ctr"/>
              <a:lstStyle/>
              <a:p>
                <a:endParaRPr lang="en-GB"/>
              </a:p>
            </p:txBody>
          </p:sp>
          <p:sp>
            <p:nvSpPr>
              <p:cNvPr id="3848" name="Vrije vorm: vorm 3847">
                <a:extLst>
                  <a:ext uri="{FF2B5EF4-FFF2-40B4-BE49-F238E27FC236}">
                    <a16:creationId xmlns:a16="http://schemas.microsoft.com/office/drawing/2014/main" id="{EDB9AB59-E515-47AE-9982-6468A445CB52}"/>
                  </a:ext>
                </a:extLst>
              </p:cNvPr>
              <p:cNvSpPr/>
              <p:nvPr/>
            </p:nvSpPr>
            <p:spPr>
              <a:xfrm>
                <a:off x="6155191" y="1729238"/>
                <a:ext cx="18316" cy="18436"/>
              </a:xfrm>
              <a:custGeom>
                <a:avLst/>
                <a:gdLst>
                  <a:gd name="connsiteX0" fmla="*/ 18129 w 18316"/>
                  <a:gd name="connsiteY0" fmla="*/ 11072 h 18436"/>
                  <a:gd name="connsiteX1" fmla="*/ 7364 w 18316"/>
                  <a:gd name="connsiteY1" fmla="*/ 18249 h 18436"/>
                  <a:gd name="connsiteX2" fmla="*/ 187 w 18316"/>
                  <a:gd name="connsiteY2" fmla="*/ 7364 h 18436"/>
                  <a:gd name="connsiteX3" fmla="*/ 10952 w 18316"/>
                  <a:gd name="connsiteY3" fmla="*/ 187 h 18436"/>
                  <a:gd name="connsiteX4" fmla="*/ 18129 w 18316"/>
                  <a:gd name="connsiteY4" fmla="*/ 1107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18129" y="11072"/>
                    </a:moveTo>
                    <a:cubicBezTo>
                      <a:pt x="17113" y="16036"/>
                      <a:pt x="12328" y="19266"/>
                      <a:pt x="7364" y="18249"/>
                    </a:cubicBezTo>
                    <a:cubicBezTo>
                      <a:pt x="2400" y="17232"/>
                      <a:pt x="-830" y="12388"/>
                      <a:pt x="187" y="7364"/>
                    </a:cubicBezTo>
                    <a:cubicBezTo>
                      <a:pt x="1204" y="2400"/>
                      <a:pt x="5988" y="-830"/>
                      <a:pt x="10952" y="187"/>
                    </a:cubicBezTo>
                    <a:cubicBezTo>
                      <a:pt x="15916" y="1204"/>
                      <a:pt x="19146" y="6108"/>
                      <a:pt x="18129" y="11072"/>
                    </a:cubicBezTo>
                    <a:close/>
                  </a:path>
                </a:pathLst>
              </a:custGeom>
              <a:grpFill/>
              <a:ln w="5978" cap="flat">
                <a:noFill/>
                <a:prstDash val="solid"/>
                <a:miter/>
              </a:ln>
            </p:spPr>
            <p:txBody>
              <a:bodyPr rtlCol="0" anchor="ctr"/>
              <a:lstStyle/>
              <a:p>
                <a:endParaRPr lang="en-GB"/>
              </a:p>
            </p:txBody>
          </p:sp>
          <p:sp>
            <p:nvSpPr>
              <p:cNvPr id="3849" name="Vrije vorm: vorm 3848">
                <a:extLst>
                  <a:ext uri="{FF2B5EF4-FFF2-40B4-BE49-F238E27FC236}">
                    <a16:creationId xmlns:a16="http://schemas.microsoft.com/office/drawing/2014/main" id="{CA8F5E77-F966-47EC-A024-8D1FECE6E248}"/>
                  </a:ext>
                </a:extLst>
              </p:cNvPr>
              <p:cNvSpPr/>
              <p:nvPr/>
            </p:nvSpPr>
            <p:spPr>
              <a:xfrm>
                <a:off x="6205130" y="1478108"/>
                <a:ext cx="18316" cy="18436"/>
              </a:xfrm>
              <a:custGeom>
                <a:avLst/>
                <a:gdLst>
                  <a:gd name="connsiteX0" fmla="*/ 18129 w 18316"/>
                  <a:gd name="connsiteY0" fmla="*/ 11072 h 18436"/>
                  <a:gd name="connsiteX1" fmla="*/ 10953 w 18316"/>
                  <a:gd name="connsiteY1" fmla="*/ 187 h 18436"/>
                  <a:gd name="connsiteX2" fmla="*/ 187 w 18316"/>
                  <a:gd name="connsiteY2" fmla="*/ 7364 h 18436"/>
                  <a:gd name="connsiteX3" fmla="*/ 7364 w 18316"/>
                  <a:gd name="connsiteY3" fmla="*/ 18249 h 18436"/>
                  <a:gd name="connsiteX4" fmla="*/ 18129 w 18316"/>
                  <a:gd name="connsiteY4" fmla="*/ 1107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18129" y="11072"/>
                    </a:moveTo>
                    <a:cubicBezTo>
                      <a:pt x="19146" y="6108"/>
                      <a:pt x="15916" y="1204"/>
                      <a:pt x="10953" y="187"/>
                    </a:cubicBezTo>
                    <a:cubicBezTo>
                      <a:pt x="5989" y="-830"/>
                      <a:pt x="1144" y="2400"/>
                      <a:pt x="187" y="7364"/>
                    </a:cubicBezTo>
                    <a:cubicBezTo>
                      <a:pt x="-830" y="12328"/>
                      <a:pt x="2400" y="17232"/>
                      <a:pt x="7364" y="18249"/>
                    </a:cubicBezTo>
                    <a:cubicBezTo>
                      <a:pt x="12328" y="19266"/>
                      <a:pt x="17113" y="16036"/>
                      <a:pt x="18129" y="11072"/>
                    </a:cubicBezTo>
                    <a:close/>
                  </a:path>
                </a:pathLst>
              </a:custGeom>
              <a:grpFill/>
              <a:ln w="5978" cap="flat">
                <a:noFill/>
                <a:prstDash val="solid"/>
                <a:miter/>
              </a:ln>
            </p:spPr>
            <p:txBody>
              <a:bodyPr rtlCol="0" anchor="ctr"/>
              <a:lstStyle/>
              <a:p>
                <a:endParaRPr lang="en-GB"/>
              </a:p>
            </p:txBody>
          </p:sp>
        </p:grpSp>
        <p:grpSp>
          <p:nvGrpSpPr>
            <p:cNvPr id="514" name="Graphic 3">
              <a:extLst>
                <a:ext uri="{FF2B5EF4-FFF2-40B4-BE49-F238E27FC236}">
                  <a16:creationId xmlns:a16="http://schemas.microsoft.com/office/drawing/2014/main" id="{185D8887-893F-4FA1-90DD-07E20E97EB51}"/>
                </a:ext>
              </a:extLst>
            </p:cNvPr>
            <p:cNvGrpSpPr/>
            <p:nvPr/>
          </p:nvGrpSpPr>
          <p:grpSpPr>
            <a:xfrm>
              <a:off x="6216330" y="1669386"/>
              <a:ext cx="24794" cy="81742"/>
              <a:chOff x="6216330" y="1669386"/>
              <a:chExt cx="24794" cy="81742"/>
            </a:xfrm>
            <a:grpFill/>
          </p:grpSpPr>
          <p:sp>
            <p:nvSpPr>
              <p:cNvPr id="3844" name="Vrije vorm: vorm 3843">
                <a:extLst>
                  <a:ext uri="{FF2B5EF4-FFF2-40B4-BE49-F238E27FC236}">
                    <a16:creationId xmlns:a16="http://schemas.microsoft.com/office/drawing/2014/main" id="{BAF80530-1033-4E15-8924-BF7A91FD5E50}"/>
                  </a:ext>
                </a:extLst>
              </p:cNvPr>
              <p:cNvSpPr/>
              <p:nvPr/>
            </p:nvSpPr>
            <p:spPr>
              <a:xfrm>
                <a:off x="6223977" y="1677991"/>
                <a:ext cx="9569" cy="64591"/>
              </a:xfrm>
              <a:custGeom>
                <a:avLst/>
                <a:gdLst>
                  <a:gd name="connsiteX0" fmla="*/ 9569 w 9569"/>
                  <a:gd name="connsiteY0" fmla="*/ 299 h 64591"/>
                  <a:gd name="connsiteX1" fmla="*/ 2990 w 9569"/>
                  <a:gd name="connsiteY1" fmla="*/ 64592 h 64591"/>
                  <a:gd name="connsiteX2" fmla="*/ 0 w 9569"/>
                  <a:gd name="connsiteY2" fmla="*/ 64293 h 64591"/>
                  <a:gd name="connsiteX3" fmla="*/ 6519 w 9569"/>
                  <a:gd name="connsiteY3" fmla="*/ 0 h 64591"/>
                </a:gdLst>
                <a:ahLst/>
                <a:cxnLst>
                  <a:cxn ang="0">
                    <a:pos x="connsiteX0" y="connsiteY0"/>
                  </a:cxn>
                  <a:cxn ang="0">
                    <a:pos x="connsiteX1" y="connsiteY1"/>
                  </a:cxn>
                  <a:cxn ang="0">
                    <a:pos x="connsiteX2" y="connsiteY2"/>
                  </a:cxn>
                  <a:cxn ang="0">
                    <a:pos x="connsiteX3" y="connsiteY3"/>
                  </a:cxn>
                </a:cxnLst>
                <a:rect l="l" t="t" r="r" b="b"/>
                <a:pathLst>
                  <a:path w="9569" h="64591">
                    <a:moveTo>
                      <a:pt x="9569" y="299"/>
                    </a:moveTo>
                    <a:lnTo>
                      <a:pt x="2990" y="64592"/>
                    </a:lnTo>
                    <a:lnTo>
                      <a:pt x="0" y="64293"/>
                    </a:lnTo>
                    <a:lnTo>
                      <a:pt x="6519" y="0"/>
                    </a:lnTo>
                    <a:close/>
                  </a:path>
                </a:pathLst>
              </a:custGeom>
              <a:grpFill/>
              <a:ln w="5978" cap="flat">
                <a:noFill/>
                <a:prstDash val="solid"/>
                <a:miter/>
              </a:ln>
            </p:spPr>
            <p:txBody>
              <a:bodyPr rtlCol="0" anchor="ctr"/>
              <a:lstStyle/>
              <a:p>
                <a:endParaRPr lang="en-GB"/>
              </a:p>
            </p:txBody>
          </p:sp>
          <p:sp>
            <p:nvSpPr>
              <p:cNvPr id="3845" name="Vrije vorm: vorm 3844">
                <a:extLst>
                  <a:ext uri="{FF2B5EF4-FFF2-40B4-BE49-F238E27FC236}">
                    <a16:creationId xmlns:a16="http://schemas.microsoft.com/office/drawing/2014/main" id="{B83E8638-370A-4DAB-AC1B-09C005F705D7}"/>
                  </a:ext>
                </a:extLst>
              </p:cNvPr>
              <p:cNvSpPr/>
              <p:nvPr/>
            </p:nvSpPr>
            <p:spPr>
              <a:xfrm>
                <a:off x="6222799" y="1669386"/>
                <a:ext cx="18325" cy="18406"/>
              </a:xfrm>
              <a:custGeom>
                <a:avLst/>
                <a:gdLst>
                  <a:gd name="connsiteX0" fmla="*/ 42 w 18325"/>
                  <a:gd name="connsiteY0" fmla="*/ 8246 h 18406"/>
                  <a:gd name="connsiteX1" fmla="*/ 10090 w 18325"/>
                  <a:gd name="connsiteY1" fmla="*/ 53 h 18406"/>
                  <a:gd name="connsiteX2" fmla="*/ 18283 w 18325"/>
                  <a:gd name="connsiteY2" fmla="*/ 10160 h 18406"/>
                  <a:gd name="connsiteX3" fmla="*/ 8236 w 18325"/>
                  <a:gd name="connsiteY3" fmla="*/ 18354 h 18406"/>
                  <a:gd name="connsiteX4" fmla="*/ 42 w 1832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6">
                    <a:moveTo>
                      <a:pt x="42" y="8246"/>
                    </a:moveTo>
                    <a:cubicBezTo>
                      <a:pt x="580" y="3163"/>
                      <a:pt x="5066" y="-486"/>
                      <a:pt x="10090" y="53"/>
                    </a:cubicBezTo>
                    <a:cubicBezTo>
                      <a:pt x="15113" y="591"/>
                      <a:pt x="18762" y="5136"/>
                      <a:pt x="18283" y="10160"/>
                    </a:cubicBezTo>
                    <a:cubicBezTo>
                      <a:pt x="17745" y="15244"/>
                      <a:pt x="13259" y="18892"/>
                      <a:pt x="8236" y="18354"/>
                    </a:cubicBezTo>
                    <a:cubicBezTo>
                      <a:pt x="3212" y="17815"/>
                      <a:pt x="-436" y="13270"/>
                      <a:pt x="42" y="8246"/>
                    </a:cubicBezTo>
                    <a:close/>
                  </a:path>
                </a:pathLst>
              </a:custGeom>
              <a:grpFill/>
              <a:ln w="5978" cap="flat">
                <a:noFill/>
                <a:prstDash val="solid"/>
                <a:miter/>
              </a:ln>
            </p:spPr>
            <p:txBody>
              <a:bodyPr rtlCol="0" anchor="ctr"/>
              <a:lstStyle/>
              <a:p>
                <a:endParaRPr lang="en-GB"/>
              </a:p>
            </p:txBody>
          </p:sp>
          <p:sp>
            <p:nvSpPr>
              <p:cNvPr id="3846" name="Vrije vorm: vorm 3845">
                <a:extLst>
                  <a:ext uri="{FF2B5EF4-FFF2-40B4-BE49-F238E27FC236}">
                    <a16:creationId xmlns:a16="http://schemas.microsoft.com/office/drawing/2014/main" id="{ECB46709-D7A7-4B07-BB96-A61D5E7FF03F}"/>
                  </a:ext>
                </a:extLst>
              </p:cNvPr>
              <p:cNvSpPr/>
              <p:nvPr/>
            </p:nvSpPr>
            <p:spPr>
              <a:xfrm>
                <a:off x="6216330" y="1732723"/>
                <a:ext cx="18345" cy="18405"/>
              </a:xfrm>
              <a:custGeom>
                <a:avLst/>
                <a:gdLst>
                  <a:gd name="connsiteX0" fmla="*/ 52 w 18345"/>
                  <a:gd name="connsiteY0" fmla="*/ 8246 h 18405"/>
                  <a:gd name="connsiteX1" fmla="*/ 8246 w 18345"/>
                  <a:gd name="connsiteY1" fmla="*/ 18353 h 18405"/>
                  <a:gd name="connsiteX2" fmla="*/ 18293 w 18345"/>
                  <a:gd name="connsiteY2" fmla="*/ 10159 h 18405"/>
                  <a:gd name="connsiteX3" fmla="*/ 10100 w 18345"/>
                  <a:gd name="connsiteY3" fmla="*/ 52 h 18405"/>
                  <a:gd name="connsiteX4" fmla="*/ 52 w 18345"/>
                  <a:gd name="connsiteY4" fmla="*/ 8246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5">
                    <a:moveTo>
                      <a:pt x="52" y="8246"/>
                    </a:moveTo>
                    <a:cubicBezTo>
                      <a:pt x="-486" y="13329"/>
                      <a:pt x="3222" y="17815"/>
                      <a:pt x="8246" y="18353"/>
                    </a:cubicBezTo>
                    <a:cubicBezTo>
                      <a:pt x="13269" y="18891"/>
                      <a:pt x="17755" y="15243"/>
                      <a:pt x="18293" y="10159"/>
                    </a:cubicBezTo>
                    <a:cubicBezTo>
                      <a:pt x="18832" y="5076"/>
                      <a:pt x="15123" y="590"/>
                      <a:pt x="10100" y="52"/>
                    </a:cubicBezTo>
                    <a:cubicBezTo>
                      <a:pt x="5076" y="-486"/>
                      <a:pt x="590" y="3222"/>
                      <a:pt x="52" y="8246"/>
                    </a:cubicBezTo>
                    <a:close/>
                  </a:path>
                </a:pathLst>
              </a:custGeom>
              <a:grpFill/>
              <a:ln w="5978" cap="flat">
                <a:noFill/>
                <a:prstDash val="solid"/>
                <a:miter/>
              </a:ln>
            </p:spPr>
            <p:txBody>
              <a:bodyPr rtlCol="0" anchor="ctr"/>
              <a:lstStyle/>
              <a:p>
                <a:endParaRPr lang="en-GB"/>
              </a:p>
            </p:txBody>
          </p:sp>
        </p:grpSp>
        <p:grpSp>
          <p:nvGrpSpPr>
            <p:cNvPr id="515" name="Graphic 3">
              <a:extLst>
                <a:ext uri="{FF2B5EF4-FFF2-40B4-BE49-F238E27FC236}">
                  <a16:creationId xmlns:a16="http://schemas.microsoft.com/office/drawing/2014/main" id="{C46FCF07-36A2-4267-A114-9911DD5C9730}"/>
                </a:ext>
              </a:extLst>
            </p:cNvPr>
            <p:cNvGrpSpPr/>
            <p:nvPr/>
          </p:nvGrpSpPr>
          <p:grpSpPr>
            <a:xfrm>
              <a:off x="6160446" y="1563557"/>
              <a:ext cx="22520" cy="83597"/>
              <a:chOff x="6160446" y="1563557"/>
              <a:chExt cx="22520" cy="83597"/>
            </a:xfrm>
            <a:grpFill/>
          </p:grpSpPr>
          <p:sp>
            <p:nvSpPr>
              <p:cNvPr id="3841" name="Vrije vorm: vorm 3840">
                <a:extLst>
                  <a:ext uri="{FF2B5EF4-FFF2-40B4-BE49-F238E27FC236}">
                    <a16:creationId xmlns:a16="http://schemas.microsoft.com/office/drawing/2014/main" id="{7F483FDD-2D34-42CB-91B2-E9EFD10A9E8D}"/>
                  </a:ext>
                </a:extLst>
              </p:cNvPr>
              <p:cNvSpPr/>
              <p:nvPr/>
            </p:nvSpPr>
            <p:spPr>
              <a:xfrm>
                <a:off x="6168058" y="1572192"/>
                <a:ext cx="7296" cy="66326"/>
              </a:xfrm>
              <a:custGeom>
                <a:avLst/>
                <a:gdLst>
                  <a:gd name="connsiteX0" fmla="*/ 7297 w 7296"/>
                  <a:gd name="connsiteY0" fmla="*/ 239 h 66326"/>
                  <a:gd name="connsiteX1" fmla="*/ 3050 w 7296"/>
                  <a:gd name="connsiteY1" fmla="*/ 66326 h 66326"/>
                  <a:gd name="connsiteX2" fmla="*/ 0 w 7296"/>
                  <a:gd name="connsiteY2" fmla="*/ 66147 h 66326"/>
                  <a:gd name="connsiteX3" fmla="*/ 4246 w 7296"/>
                  <a:gd name="connsiteY3" fmla="*/ 0 h 66326"/>
                </a:gdLst>
                <a:ahLst/>
                <a:cxnLst>
                  <a:cxn ang="0">
                    <a:pos x="connsiteX0" y="connsiteY0"/>
                  </a:cxn>
                  <a:cxn ang="0">
                    <a:pos x="connsiteX1" y="connsiteY1"/>
                  </a:cxn>
                  <a:cxn ang="0">
                    <a:pos x="connsiteX2" y="connsiteY2"/>
                  </a:cxn>
                  <a:cxn ang="0">
                    <a:pos x="connsiteX3" y="connsiteY3"/>
                  </a:cxn>
                </a:cxnLst>
                <a:rect l="l" t="t" r="r" b="b"/>
                <a:pathLst>
                  <a:path w="7296" h="66326">
                    <a:moveTo>
                      <a:pt x="7297" y="239"/>
                    </a:moveTo>
                    <a:lnTo>
                      <a:pt x="3050" y="66326"/>
                    </a:lnTo>
                    <a:lnTo>
                      <a:pt x="0" y="66147"/>
                    </a:lnTo>
                    <a:lnTo>
                      <a:pt x="4246" y="0"/>
                    </a:lnTo>
                    <a:close/>
                  </a:path>
                </a:pathLst>
              </a:custGeom>
              <a:grpFill/>
              <a:ln w="5978" cap="flat">
                <a:noFill/>
                <a:prstDash val="solid"/>
                <a:miter/>
              </a:ln>
            </p:spPr>
            <p:txBody>
              <a:bodyPr rtlCol="0" anchor="ctr"/>
              <a:lstStyle/>
              <a:p>
                <a:endParaRPr lang="en-GB"/>
              </a:p>
            </p:txBody>
          </p:sp>
          <p:sp>
            <p:nvSpPr>
              <p:cNvPr id="3842" name="Vrije vorm: vorm 3841">
                <a:extLst>
                  <a:ext uri="{FF2B5EF4-FFF2-40B4-BE49-F238E27FC236}">
                    <a16:creationId xmlns:a16="http://schemas.microsoft.com/office/drawing/2014/main" id="{573A401E-047E-4DEB-A3D0-3C761BBD4AC4}"/>
                  </a:ext>
                </a:extLst>
              </p:cNvPr>
              <p:cNvSpPr/>
              <p:nvPr/>
            </p:nvSpPr>
            <p:spPr>
              <a:xfrm>
                <a:off x="6164632" y="1563557"/>
                <a:ext cx="18333" cy="18407"/>
              </a:xfrm>
              <a:custGeom>
                <a:avLst/>
                <a:gdLst>
                  <a:gd name="connsiteX0" fmla="*/ 16 w 18333"/>
                  <a:gd name="connsiteY0" fmla="*/ 8576 h 18407"/>
                  <a:gd name="connsiteX1" fmla="*/ 9765 w 18333"/>
                  <a:gd name="connsiteY1" fmla="*/ 23 h 18407"/>
                  <a:gd name="connsiteX2" fmla="*/ 18317 w 18333"/>
                  <a:gd name="connsiteY2" fmla="*/ 9832 h 18407"/>
                  <a:gd name="connsiteX3" fmla="*/ 8569 w 18333"/>
                  <a:gd name="connsiteY3" fmla="*/ 18384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315" y="3492"/>
                      <a:pt x="4682" y="-336"/>
                      <a:pt x="9765" y="23"/>
                    </a:cubicBezTo>
                    <a:cubicBezTo>
                      <a:pt x="14789" y="382"/>
                      <a:pt x="18616" y="4748"/>
                      <a:pt x="18317" y="9832"/>
                    </a:cubicBezTo>
                    <a:cubicBezTo>
                      <a:pt x="18018" y="14915"/>
                      <a:pt x="13653" y="18743"/>
                      <a:pt x="8569" y="18384"/>
                    </a:cubicBezTo>
                    <a:cubicBezTo>
                      <a:pt x="3545" y="18085"/>
                      <a:pt x="-283" y="13659"/>
                      <a:pt x="16" y="8576"/>
                    </a:cubicBezTo>
                    <a:close/>
                  </a:path>
                </a:pathLst>
              </a:custGeom>
              <a:grpFill/>
              <a:ln w="5978" cap="flat">
                <a:noFill/>
                <a:prstDash val="solid"/>
                <a:miter/>
              </a:ln>
            </p:spPr>
            <p:txBody>
              <a:bodyPr rtlCol="0" anchor="ctr"/>
              <a:lstStyle/>
              <a:p>
                <a:endParaRPr lang="en-GB"/>
              </a:p>
            </p:txBody>
          </p:sp>
          <p:sp>
            <p:nvSpPr>
              <p:cNvPr id="3843" name="Vrije vorm: vorm 3842">
                <a:extLst>
                  <a:ext uri="{FF2B5EF4-FFF2-40B4-BE49-F238E27FC236}">
                    <a16:creationId xmlns:a16="http://schemas.microsoft.com/office/drawing/2014/main" id="{92EA8941-31C2-4F01-A073-368BB516851D}"/>
                  </a:ext>
                </a:extLst>
              </p:cNvPr>
              <p:cNvSpPr/>
              <p:nvPr/>
            </p:nvSpPr>
            <p:spPr>
              <a:xfrm>
                <a:off x="6160446" y="1628747"/>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3" y="18743"/>
                      <a:pt x="17959" y="14915"/>
                      <a:pt x="18317" y="9832"/>
                    </a:cubicBezTo>
                    <a:cubicBezTo>
                      <a:pt x="18617" y="4748"/>
                      <a:pt x="14789" y="382"/>
                      <a:pt x="9765" y="23"/>
                    </a:cubicBezTo>
                    <a:cubicBezTo>
                      <a:pt x="4682" y="-336"/>
                      <a:pt x="316" y="3492"/>
                      <a:pt x="16" y="8576"/>
                    </a:cubicBezTo>
                    <a:close/>
                  </a:path>
                </a:pathLst>
              </a:custGeom>
              <a:grpFill/>
              <a:ln w="5978" cap="flat">
                <a:noFill/>
                <a:prstDash val="solid"/>
                <a:miter/>
              </a:ln>
            </p:spPr>
            <p:txBody>
              <a:bodyPr rtlCol="0" anchor="ctr"/>
              <a:lstStyle/>
              <a:p>
                <a:endParaRPr lang="en-GB"/>
              </a:p>
            </p:txBody>
          </p:sp>
        </p:grpSp>
        <p:grpSp>
          <p:nvGrpSpPr>
            <p:cNvPr id="516" name="Graphic 3">
              <a:extLst>
                <a:ext uri="{FF2B5EF4-FFF2-40B4-BE49-F238E27FC236}">
                  <a16:creationId xmlns:a16="http://schemas.microsoft.com/office/drawing/2014/main" id="{C51B66CB-3325-45D2-B5FF-2F1C19036665}"/>
                </a:ext>
              </a:extLst>
            </p:cNvPr>
            <p:cNvGrpSpPr/>
            <p:nvPr/>
          </p:nvGrpSpPr>
          <p:grpSpPr>
            <a:xfrm>
              <a:off x="6123765" y="1375019"/>
              <a:ext cx="70583" cy="371261"/>
              <a:chOff x="6123765" y="1375019"/>
              <a:chExt cx="70583" cy="371261"/>
            </a:xfrm>
            <a:grpFill/>
          </p:grpSpPr>
          <p:sp>
            <p:nvSpPr>
              <p:cNvPr id="3838" name="Vrije vorm: vorm 3837">
                <a:extLst>
                  <a:ext uri="{FF2B5EF4-FFF2-40B4-BE49-F238E27FC236}">
                    <a16:creationId xmlns:a16="http://schemas.microsoft.com/office/drawing/2014/main" id="{C77A2AAE-9527-415B-B3AB-D103C0723956}"/>
                  </a:ext>
                </a:extLst>
              </p:cNvPr>
              <p:cNvSpPr/>
              <p:nvPr/>
            </p:nvSpPr>
            <p:spPr>
              <a:xfrm>
                <a:off x="6131336" y="1383620"/>
                <a:ext cx="55381" cy="354118"/>
              </a:xfrm>
              <a:custGeom>
                <a:avLst/>
                <a:gdLst>
                  <a:gd name="connsiteX0" fmla="*/ 55382 w 55381"/>
                  <a:gd name="connsiteY0" fmla="*/ 419 h 354118"/>
                  <a:gd name="connsiteX1" fmla="*/ 2990 w 55381"/>
                  <a:gd name="connsiteY1" fmla="*/ 354119 h 354118"/>
                  <a:gd name="connsiteX2" fmla="*/ 0 w 55381"/>
                  <a:gd name="connsiteY2" fmla="*/ 353640 h 354118"/>
                  <a:gd name="connsiteX3" fmla="*/ 52391 w 55381"/>
                  <a:gd name="connsiteY3" fmla="*/ 0 h 354118"/>
                </a:gdLst>
                <a:ahLst/>
                <a:cxnLst>
                  <a:cxn ang="0">
                    <a:pos x="connsiteX0" y="connsiteY0"/>
                  </a:cxn>
                  <a:cxn ang="0">
                    <a:pos x="connsiteX1" y="connsiteY1"/>
                  </a:cxn>
                  <a:cxn ang="0">
                    <a:pos x="connsiteX2" y="connsiteY2"/>
                  </a:cxn>
                  <a:cxn ang="0">
                    <a:pos x="connsiteX3" y="connsiteY3"/>
                  </a:cxn>
                </a:cxnLst>
                <a:rect l="l" t="t" r="r" b="b"/>
                <a:pathLst>
                  <a:path w="55381" h="354118">
                    <a:moveTo>
                      <a:pt x="55382" y="419"/>
                    </a:moveTo>
                    <a:lnTo>
                      <a:pt x="2990" y="354119"/>
                    </a:lnTo>
                    <a:lnTo>
                      <a:pt x="0" y="353640"/>
                    </a:lnTo>
                    <a:lnTo>
                      <a:pt x="52391" y="0"/>
                    </a:lnTo>
                    <a:close/>
                  </a:path>
                </a:pathLst>
              </a:custGeom>
              <a:grpFill/>
              <a:ln w="5978" cap="flat">
                <a:noFill/>
                <a:prstDash val="solid"/>
                <a:miter/>
              </a:ln>
            </p:spPr>
            <p:txBody>
              <a:bodyPr rtlCol="0" anchor="ctr"/>
              <a:lstStyle/>
              <a:p>
                <a:endParaRPr lang="en-GB"/>
              </a:p>
            </p:txBody>
          </p:sp>
          <p:sp>
            <p:nvSpPr>
              <p:cNvPr id="3839" name="Vrije vorm: vorm 3838">
                <a:extLst>
                  <a:ext uri="{FF2B5EF4-FFF2-40B4-BE49-F238E27FC236}">
                    <a16:creationId xmlns:a16="http://schemas.microsoft.com/office/drawing/2014/main" id="{B723CD24-C61D-4183-87D5-163D06C1486D}"/>
                  </a:ext>
                </a:extLst>
              </p:cNvPr>
              <p:cNvSpPr/>
              <p:nvPr/>
            </p:nvSpPr>
            <p:spPr>
              <a:xfrm>
                <a:off x="6123765" y="1727821"/>
                <a:ext cx="18311" cy="18459"/>
              </a:xfrm>
              <a:custGeom>
                <a:avLst/>
                <a:gdLst>
                  <a:gd name="connsiteX0" fmla="*/ 18217 w 18311"/>
                  <a:gd name="connsiteY0" fmla="*/ 10635 h 18459"/>
                  <a:gd name="connsiteX1" fmla="*/ 7811 w 18311"/>
                  <a:gd name="connsiteY1" fmla="*/ 18350 h 18459"/>
                  <a:gd name="connsiteX2" fmla="*/ 95 w 18311"/>
                  <a:gd name="connsiteY2" fmla="*/ 7824 h 18459"/>
                  <a:gd name="connsiteX3" fmla="*/ 10502 w 18311"/>
                  <a:gd name="connsiteY3" fmla="*/ 109 h 18459"/>
                  <a:gd name="connsiteX4" fmla="*/ 18217 w 18311"/>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9">
                    <a:moveTo>
                      <a:pt x="18217" y="10635"/>
                    </a:moveTo>
                    <a:cubicBezTo>
                      <a:pt x="17499" y="15659"/>
                      <a:pt x="12834" y="19128"/>
                      <a:pt x="7811" y="18350"/>
                    </a:cubicBezTo>
                    <a:cubicBezTo>
                      <a:pt x="2787" y="17573"/>
                      <a:pt x="-622" y="12908"/>
                      <a:pt x="95" y="7824"/>
                    </a:cubicBezTo>
                    <a:cubicBezTo>
                      <a:pt x="813" y="2800"/>
                      <a:pt x="5478" y="-669"/>
                      <a:pt x="10502" y="109"/>
                    </a:cubicBezTo>
                    <a:cubicBezTo>
                      <a:pt x="15466" y="886"/>
                      <a:pt x="18935" y="5611"/>
                      <a:pt x="18217" y="10635"/>
                    </a:cubicBezTo>
                    <a:close/>
                  </a:path>
                </a:pathLst>
              </a:custGeom>
              <a:grpFill/>
              <a:ln w="5978" cap="flat">
                <a:noFill/>
                <a:prstDash val="solid"/>
                <a:miter/>
              </a:ln>
            </p:spPr>
            <p:txBody>
              <a:bodyPr rtlCol="0" anchor="ctr"/>
              <a:lstStyle/>
              <a:p>
                <a:endParaRPr lang="en-GB"/>
              </a:p>
            </p:txBody>
          </p:sp>
          <p:sp>
            <p:nvSpPr>
              <p:cNvPr id="3840" name="Vrije vorm: vorm 3839">
                <a:extLst>
                  <a:ext uri="{FF2B5EF4-FFF2-40B4-BE49-F238E27FC236}">
                    <a16:creationId xmlns:a16="http://schemas.microsoft.com/office/drawing/2014/main" id="{9FBEF8B6-2B22-42E8-8E9D-3DE063DE6564}"/>
                  </a:ext>
                </a:extLst>
              </p:cNvPr>
              <p:cNvSpPr/>
              <p:nvPr/>
            </p:nvSpPr>
            <p:spPr>
              <a:xfrm>
                <a:off x="6176036" y="1375019"/>
                <a:ext cx="18312" cy="18460"/>
              </a:xfrm>
              <a:custGeom>
                <a:avLst/>
                <a:gdLst>
                  <a:gd name="connsiteX0" fmla="*/ 18217 w 18312"/>
                  <a:gd name="connsiteY0" fmla="*/ 10635 h 18460"/>
                  <a:gd name="connsiteX1" fmla="*/ 10502 w 18312"/>
                  <a:gd name="connsiteY1" fmla="*/ 109 h 18460"/>
                  <a:gd name="connsiteX2" fmla="*/ 95 w 18312"/>
                  <a:gd name="connsiteY2" fmla="*/ 7824 h 18460"/>
                  <a:gd name="connsiteX3" fmla="*/ 7811 w 18312"/>
                  <a:gd name="connsiteY3" fmla="*/ 18350 h 18460"/>
                  <a:gd name="connsiteX4" fmla="*/ 18217 w 18312"/>
                  <a:gd name="connsiteY4" fmla="*/ 10635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60">
                    <a:moveTo>
                      <a:pt x="18217" y="10635"/>
                    </a:moveTo>
                    <a:cubicBezTo>
                      <a:pt x="18935" y="5611"/>
                      <a:pt x="15526" y="886"/>
                      <a:pt x="10502" y="109"/>
                    </a:cubicBezTo>
                    <a:cubicBezTo>
                      <a:pt x="5478" y="-669"/>
                      <a:pt x="813" y="2800"/>
                      <a:pt x="95" y="7824"/>
                    </a:cubicBezTo>
                    <a:cubicBezTo>
                      <a:pt x="-622" y="12848"/>
                      <a:pt x="2787" y="17573"/>
                      <a:pt x="7811" y="18350"/>
                    </a:cubicBezTo>
                    <a:cubicBezTo>
                      <a:pt x="12775" y="19128"/>
                      <a:pt x="17440" y="15719"/>
                      <a:pt x="18217" y="10635"/>
                    </a:cubicBezTo>
                    <a:close/>
                  </a:path>
                </a:pathLst>
              </a:custGeom>
              <a:grpFill/>
              <a:ln w="5978" cap="flat">
                <a:noFill/>
                <a:prstDash val="solid"/>
                <a:miter/>
              </a:ln>
            </p:spPr>
            <p:txBody>
              <a:bodyPr rtlCol="0" anchor="ctr"/>
              <a:lstStyle/>
              <a:p>
                <a:endParaRPr lang="en-GB"/>
              </a:p>
            </p:txBody>
          </p:sp>
        </p:grpSp>
        <p:grpSp>
          <p:nvGrpSpPr>
            <p:cNvPr id="517" name="Graphic 3">
              <a:extLst>
                <a:ext uri="{FF2B5EF4-FFF2-40B4-BE49-F238E27FC236}">
                  <a16:creationId xmlns:a16="http://schemas.microsoft.com/office/drawing/2014/main" id="{B56F6D5A-6D60-4C20-8379-5165501696FC}"/>
                </a:ext>
              </a:extLst>
            </p:cNvPr>
            <p:cNvGrpSpPr/>
            <p:nvPr/>
          </p:nvGrpSpPr>
          <p:grpSpPr>
            <a:xfrm>
              <a:off x="7167900" y="4678091"/>
              <a:ext cx="128412" cy="143092"/>
              <a:chOff x="7167900" y="4678091"/>
              <a:chExt cx="128412" cy="143092"/>
            </a:xfrm>
            <a:grpFill/>
          </p:grpSpPr>
          <p:sp>
            <p:nvSpPr>
              <p:cNvPr id="3835" name="Vrije vorm: vorm 3834">
                <a:extLst>
                  <a:ext uri="{FF2B5EF4-FFF2-40B4-BE49-F238E27FC236}">
                    <a16:creationId xmlns:a16="http://schemas.microsoft.com/office/drawing/2014/main" id="{8434C679-A786-4245-ACAA-EF3C6850DC31}"/>
                  </a:ext>
                </a:extLst>
              </p:cNvPr>
              <p:cNvSpPr/>
              <p:nvPr/>
            </p:nvSpPr>
            <p:spPr>
              <a:xfrm>
                <a:off x="7175630" y="4685935"/>
                <a:ext cx="112975" cy="127449"/>
              </a:xfrm>
              <a:custGeom>
                <a:avLst/>
                <a:gdLst>
                  <a:gd name="connsiteX0" fmla="*/ 112976 w 112975"/>
                  <a:gd name="connsiteY0" fmla="*/ 125416 h 127449"/>
                  <a:gd name="connsiteX1" fmla="*/ 110703 w 112975"/>
                  <a:gd name="connsiteY1" fmla="*/ 127449 h 127449"/>
                  <a:gd name="connsiteX2" fmla="*/ 0 w 112975"/>
                  <a:gd name="connsiteY2" fmla="*/ 2034 h 127449"/>
                  <a:gd name="connsiteX3" fmla="*/ 2273 w 112975"/>
                  <a:gd name="connsiteY3" fmla="*/ 0 h 127449"/>
                </a:gdLst>
                <a:ahLst/>
                <a:cxnLst>
                  <a:cxn ang="0">
                    <a:pos x="connsiteX0" y="connsiteY0"/>
                  </a:cxn>
                  <a:cxn ang="0">
                    <a:pos x="connsiteX1" y="connsiteY1"/>
                  </a:cxn>
                  <a:cxn ang="0">
                    <a:pos x="connsiteX2" y="connsiteY2"/>
                  </a:cxn>
                  <a:cxn ang="0">
                    <a:pos x="connsiteX3" y="connsiteY3"/>
                  </a:cxn>
                </a:cxnLst>
                <a:rect l="l" t="t" r="r" b="b"/>
                <a:pathLst>
                  <a:path w="112975" h="127449">
                    <a:moveTo>
                      <a:pt x="112976" y="125416"/>
                    </a:moveTo>
                    <a:lnTo>
                      <a:pt x="110703" y="127449"/>
                    </a:lnTo>
                    <a:lnTo>
                      <a:pt x="0" y="2034"/>
                    </a:lnTo>
                    <a:lnTo>
                      <a:pt x="2273" y="0"/>
                    </a:lnTo>
                    <a:close/>
                  </a:path>
                </a:pathLst>
              </a:custGeom>
              <a:grpFill/>
              <a:ln w="5978" cap="flat">
                <a:noFill/>
                <a:prstDash val="solid"/>
                <a:miter/>
              </a:ln>
            </p:spPr>
            <p:txBody>
              <a:bodyPr rtlCol="0" anchor="ctr"/>
              <a:lstStyle/>
              <a:p>
                <a:endParaRPr lang="en-GB"/>
              </a:p>
            </p:txBody>
          </p:sp>
          <p:sp>
            <p:nvSpPr>
              <p:cNvPr id="3836" name="Vrije vorm: vorm 3835">
                <a:extLst>
                  <a:ext uri="{FF2B5EF4-FFF2-40B4-BE49-F238E27FC236}">
                    <a16:creationId xmlns:a16="http://schemas.microsoft.com/office/drawing/2014/main" id="{00BEE20E-0EBB-4682-8746-9EDCC759106A}"/>
                  </a:ext>
                </a:extLst>
              </p:cNvPr>
              <p:cNvSpPr/>
              <p:nvPr/>
            </p:nvSpPr>
            <p:spPr>
              <a:xfrm>
                <a:off x="7278035" y="4802789"/>
                <a:ext cx="18277" cy="18394"/>
              </a:xfrm>
              <a:custGeom>
                <a:avLst/>
                <a:gdLst>
                  <a:gd name="connsiteX0" fmla="*/ 15954 w 18277"/>
                  <a:gd name="connsiteY0" fmla="*/ 3119 h 18394"/>
                  <a:gd name="connsiteX1" fmla="*/ 15236 w 18277"/>
                  <a:gd name="connsiteY1" fmla="*/ 16098 h 18394"/>
                  <a:gd name="connsiteX2" fmla="*/ 2318 w 18277"/>
                  <a:gd name="connsiteY2" fmla="*/ 15320 h 18394"/>
                  <a:gd name="connsiteX3" fmla="*/ 3095 w 18277"/>
                  <a:gd name="connsiteY3" fmla="*/ 2342 h 18394"/>
                  <a:gd name="connsiteX4" fmla="*/ 15954 w 18277"/>
                  <a:gd name="connsiteY4" fmla="*/ 311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394">
                    <a:moveTo>
                      <a:pt x="15954" y="3119"/>
                    </a:moveTo>
                    <a:cubicBezTo>
                      <a:pt x="19303" y="6947"/>
                      <a:pt x="19004" y="12748"/>
                      <a:pt x="15236" y="16098"/>
                    </a:cubicBezTo>
                    <a:cubicBezTo>
                      <a:pt x="11468" y="19447"/>
                      <a:pt x="5667" y="19088"/>
                      <a:pt x="2318" y="15320"/>
                    </a:cubicBezTo>
                    <a:cubicBezTo>
                      <a:pt x="-1031" y="11492"/>
                      <a:pt x="-733" y="5691"/>
                      <a:pt x="3095" y="2342"/>
                    </a:cubicBezTo>
                    <a:cubicBezTo>
                      <a:pt x="6803" y="-1067"/>
                      <a:pt x="12604" y="-708"/>
                      <a:pt x="15954" y="3119"/>
                    </a:cubicBezTo>
                    <a:close/>
                  </a:path>
                </a:pathLst>
              </a:custGeom>
              <a:grpFill/>
              <a:ln w="5978" cap="flat">
                <a:noFill/>
                <a:prstDash val="solid"/>
                <a:miter/>
              </a:ln>
            </p:spPr>
            <p:txBody>
              <a:bodyPr rtlCol="0" anchor="ctr"/>
              <a:lstStyle/>
              <a:p>
                <a:endParaRPr lang="en-GB"/>
              </a:p>
            </p:txBody>
          </p:sp>
          <p:sp>
            <p:nvSpPr>
              <p:cNvPr id="3837" name="Vrije vorm: vorm 3836">
                <a:extLst>
                  <a:ext uri="{FF2B5EF4-FFF2-40B4-BE49-F238E27FC236}">
                    <a16:creationId xmlns:a16="http://schemas.microsoft.com/office/drawing/2014/main" id="{52109176-77C3-43DA-80C7-25CAA7A7ECC8}"/>
                  </a:ext>
                </a:extLst>
              </p:cNvPr>
              <p:cNvSpPr/>
              <p:nvPr/>
            </p:nvSpPr>
            <p:spPr>
              <a:xfrm>
                <a:off x="7167900" y="4678091"/>
                <a:ext cx="18307" cy="18439"/>
              </a:xfrm>
              <a:custGeom>
                <a:avLst/>
                <a:gdLst>
                  <a:gd name="connsiteX0" fmla="*/ 15983 w 18307"/>
                  <a:gd name="connsiteY0" fmla="*/ 3119 h 18439"/>
                  <a:gd name="connsiteX1" fmla="*/ 3066 w 18307"/>
                  <a:gd name="connsiteY1" fmla="*/ 2342 h 18439"/>
                  <a:gd name="connsiteX2" fmla="*/ 2347 w 18307"/>
                  <a:gd name="connsiteY2" fmla="*/ 15320 h 18439"/>
                  <a:gd name="connsiteX3" fmla="*/ 15266 w 18307"/>
                  <a:gd name="connsiteY3" fmla="*/ 16097 h 18439"/>
                  <a:gd name="connsiteX4" fmla="*/ 15983 w 18307"/>
                  <a:gd name="connsiteY4" fmla="*/ 3119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9">
                    <a:moveTo>
                      <a:pt x="15983" y="3119"/>
                    </a:moveTo>
                    <a:cubicBezTo>
                      <a:pt x="12635" y="-708"/>
                      <a:pt x="6833" y="-1067"/>
                      <a:pt x="3066" y="2342"/>
                    </a:cubicBezTo>
                    <a:cubicBezTo>
                      <a:pt x="-702" y="5691"/>
                      <a:pt x="-1062" y="11552"/>
                      <a:pt x="2347" y="15320"/>
                    </a:cubicBezTo>
                    <a:cubicBezTo>
                      <a:pt x="5697" y="19148"/>
                      <a:pt x="11498" y="19506"/>
                      <a:pt x="15266" y="16097"/>
                    </a:cubicBezTo>
                    <a:cubicBezTo>
                      <a:pt x="19034" y="12748"/>
                      <a:pt x="19333" y="6947"/>
                      <a:pt x="15983" y="3119"/>
                    </a:cubicBezTo>
                    <a:close/>
                  </a:path>
                </a:pathLst>
              </a:custGeom>
              <a:grpFill/>
              <a:ln w="5978" cap="flat">
                <a:noFill/>
                <a:prstDash val="solid"/>
                <a:miter/>
              </a:ln>
            </p:spPr>
            <p:txBody>
              <a:bodyPr rtlCol="0" anchor="ctr"/>
              <a:lstStyle/>
              <a:p>
                <a:endParaRPr lang="en-GB"/>
              </a:p>
            </p:txBody>
          </p:sp>
        </p:grpSp>
        <p:grpSp>
          <p:nvGrpSpPr>
            <p:cNvPr id="518" name="Graphic 3">
              <a:extLst>
                <a:ext uri="{FF2B5EF4-FFF2-40B4-BE49-F238E27FC236}">
                  <a16:creationId xmlns:a16="http://schemas.microsoft.com/office/drawing/2014/main" id="{4C17DCBA-87DD-439E-8453-528F94D534AA}"/>
                </a:ext>
              </a:extLst>
            </p:cNvPr>
            <p:cNvGrpSpPr/>
            <p:nvPr/>
          </p:nvGrpSpPr>
          <p:grpSpPr>
            <a:xfrm>
              <a:off x="7247063" y="4819703"/>
              <a:ext cx="22341" cy="23188"/>
              <a:chOff x="7247063" y="4819703"/>
              <a:chExt cx="22341" cy="23188"/>
            </a:xfrm>
            <a:grpFill/>
          </p:grpSpPr>
          <p:sp>
            <p:nvSpPr>
              <p:cNvPr id="3833" name="Vrije vorm: vorm 3832">
                <a:extLst>
                  <a:ext uri="{FF2B5EF4-FFF2-40B4-BE49-F238E27FC236}">
                    <a16:creationId xmlns:a16="http://schemas.microsoft.com/office/drawing/2014/main" id="{7D755599-31F6-4002-9DC1-AADD770D239C}"/>
                  </a:ext>
                </a:extLst>
              </p:cNvPr>
              <p:cNvSpPr/>
              <p:nvPr/>
            </p:nvSpPr>
            <p:spPr>
              <a:xfrm>
                <a:off x="7251050" y="4824472"/>
                <a:ext cx="18354" cy="18419"/>
              </a:xfrm>
              <a:custGeom>
                <a:avLst/>
                <a:gdLst>
                  <a:gd name="connsiteX0" fmla="*/ 2210 w 18354"/>
                  <a:gd name="connsiteY0" fmla="*/ 15168 h 18419"/>
                  <a:gd name="connsiteX1" fmla="*/ 3227 w 18354"/>
                  <a:gd name="connsiteY1" fmla="*/ 2190 h 18419"/>
                  <a:gd name="connsiteX2" fmla="*/ 16145 w 18354"/>
                  <a:gd name="connsiteY2" fmla="*/ 3207 h 18419"/>
                  <a:gd name="connsiteX3" fmla="*/ 15128 w 18354"/>
                  <a:gd name="connsiteY3" fmla="*/ 16185 h 18419"/>
                  <a:gd name="connsiteX4" fmla="*/ 2210 w 18354"/>
                  <a:gd name="connsiteY4" fmla="*/ 15168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9">
                    <a:moveTo>
                      <a:pt x="2210" y="15168"/>
                    </a:moveTo>
                    <a:cubicBezTo>
                      <a:pt x="-1079" y="11280"/>
                      <a:pt x="-661" y="5479"/>
                      <a:pt x="3227" y="2190"/>
                    </a:cubicBezTo>
                    <a:cubicBezTo>
                      <a:pt x="7054" y="-1099"/>
                      <a:pt x="12855" y="-621"/>
                      <a:pt x="16145" y="3207"/>
                    </a:cubicBezTo>
                    <a:cubicBezTo>
                      <a:pt x="19434" y="7094"/>
                      <a:pt x="19016" y="12895"/>
                      <a:pt x="15128" y="16185"/>
                    </a:cubicBezTo>
                    <a:cubicBezTo>
                      <a:pt x="11300" y="19534"/>
                      <a:pt x="5559" y="19056"/>
                      <a:pt x="2210" y="15168"/>
                    </a:cubicBezTo>
                    <a:close/>
                  </a:path>
                </a:pathLst>
              </a:custGeom>
              <a:grpFill/>
              <a:ln w="5978" cap="flat">
                <a:noFill/>
                <a:prstDash val="solid"/>
                <a:miter/>
              </a:ln>
            </p:spPr>
            <p:txBody>
              <a:bodyPr rtlCol="0" anchor="ctr"/>
              <a:lstStyle/>
              <a:p>
                <a:endParaRPr lang="en-GB"/>
              </a:p>
            </p:txBody>
          </p:sp>
          <p:sp>
            <p:nvSpPr>
              <p:cNvPr id="3834" name="Vrije vorm: vorm 3833">
                <a:extLst>
                  <a:ext uri="{FF2B5EF4-FFF2-40B4-BE49-F238E27FC236}">
                    <a16:creationId xmlns:a16="http://schemas.microsoft.com/office/drawing/2014/main" id="{32C90674-1064-4B78-803F-923C3818D86A}"/>
                  </a:ext>
                </a:extLst>
              </p:cNvPr>
              <p:cNvSpPr/>
              <p:nvPr/>
            </p:nvSpPr>
            <p:spPr>
              <a:xfrm>
                <a:off x="7247063" y="4819703"/>
                <a:ext cx="18314" cy="18463"/>
              </a:xfrm>
              <a:custGeom>
                <a:avLst/>
                <a:gdLst>
                  <a:gd name="connsiteX0" fmla="*/ 2190 w 18314"/>
                  <a:gd name="connsiteY0" fmla="*/ 15213 h 18463"/>
                  <a:gd name="connsiteX1" fmla="*/ 15109 w 18314"/>
                  <a:gd name="connsiteY1" fmla="*/ 16229 h 18463"/>
                  <a:gd name="connsiteX2" fmla="*/ 16125 w 18314"/>
                  <a:gd name="connsiteY2" fmla="*/ 3251 h 18463"/>
                  <a:gd name="connsiteX3" fmla="*/ 3206 w 18314"/>
                  <a:gd name="connsiteY3" fmla="*/ 2234 h 18463"/>
                  <a:gd name="connsiteX4" fmla="*/ 2190 w 18314"/>
                  <a:gd name="connsiteY4" fmla="*/ 15213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63">
                    <a:moveTo>
                      <a:pt x="2190" y="15213"/>
                    </a:moveTo>
                    <a:cubicBezTo>
                      <a:pt x="5479" y="19100"/>
                      <a:pt x="11281" y="19578"/>
                      <a:pt x="15109" y="16229"/>
                    </a:cubicBezTo>
                    <a:cubicBezTo>
                      <a:pt x="18936" y="12940"/>
                      <a:pt x="19415" y="7138"/>
                      <a:pt x="16125" y="3251"/>
                    </a:cubicBezTo>
                    <a:cubicBezTo>
                      <a:pt x="12836" y="-636"/>
                      <a:pt x="7034" y="-1115"/>
                      <a:pt x="3206" y="2234"/>
                    </a:cubicBezTo>
                    <a:cubicBezTo>
                      <a:pt x="-621" y="5524"/>
                      <a:pt x="-1100" y="11325"/>
                      <a:pt x="2190" y="15213"/>
                    </a:cubicBezTo>
                    <a:close/>
                  </a:path>
                </a:pathLst>
              </a:custGeom>
              <a:grpFill/>
              <a:ln w="5978" cap="flat">
                <a:noFill/>
                <a:prstDash val="solid"/>
                <a:miter/>
              </a:ln>
            </p:spPr>
            <p:txBody>
              <a:bodyPr rtlCol="0" anchor="ctr"/>
              <a:lstStyle/>
              <a:p>
                <a:endParaRPr lang="en-GB"/>
              </a:p>
            </p:txBody>
          </p:sp>
        </p:grpSp>
        <p:grpSp>
          <p:nvGrpSpPr>
            <p:cNvPr id="519" name="Graphic 3">
              <a:extLst>
                <a:ext uri="{FF2B5EF4-FFF2-40B4-BE49-F238E27FC236}">
                  <a16:creationId xmlns:a16="http://schemas.microsoft.com/office/drawing/2014/main" id="{4EFE12D6-42A0-444B-A156-7612120716DA}"/>
                </a:ext>
              </a:extLst>
            </p:cNvPr>
            <p:cNvGrpSpPr/>
            <p:nvPr/>
          </p:nvGrpSpPr>
          <p:grpSpPr>
            <a:xfrm>
              <a:off x="7289277" y="4984272"/>
              <a:ext cx="101868" cy="124303"/>
              <a:chOff x="7289277" y="4984272"/>
              <a:chExt cx="101868" cy="124303"/>
            </a:xfrm>
            <a:grpFill/>
          </p:grpSpPr>
          <p:sp>
            <p:nvSpPr>
              <p:cNvPr id="3830" name="Vrije vorm: vorm 3829">
                <a:extLst>
                  <a:ext uri="{FF2B5EF4-FFF2-40B4-BE49-F238E27FC236}">
                    <a16:creationId xmlns:a16="http://schemas.microsoft.com/office/drawing/2014/main" id="{F8EE3DDE-EB32-4EB1-B7E9-CF5EA6BFA7E2}"/>
                  </a:ext>
                </a:extLst>
              </p:cNvPr>
              <p:cNvSpPr/>
              <p:nvPr/>
            </p:nvSpPr>
            <p:spPr>
              <a:xfrm>
                <a:off x="7296979" y="4992208"/>
                <a:ext cx="86481" cy="108490"/>
              </a:xfrm>
              <a:custGeom>
                <a:avLst/>
                <a:gdLst>
                  <a:gd name="connsiteX0" fmla="*/ 86481 w 86481"/>
                  <a:gd name="connsiteY0" fmla="*/ 106636 h 108490"/>
                  <a:gd name="connsiteX1" fmla="*/ 84089 w 86481"/>
                  <a:gd name="connsiteY1" fmla="*/ 108490 h 108490"/>
                  <a:gd name="connsiteX2" fmla="*/ 0 w 86481"/>
                  <a:gd name="connsiteY2" fmla="*/ 1914 h 108490"/>
                  <a:gd name="connsiteX3" fmla="*/ 2333 w 86481"/>
                  <a:gd name="connsiteY3" fmla="*/ 0 h 108490"/>
                </a:gdLst>
                <a:ahLst/>
                <a:cxnLst>
                  <a:cxn ang="0">
                    <a:pos x="connsiteX0" y="connsiteY0"/>
                  </a:cxn>
                  <a:cxn ang="0">
                    <a:pos x="connsiteX1" y="connsiteY1"/>
                  </a:cxn>
                  <a:cxn ang="0">
                    <a:pos x="connsiteX2" y="connsiteY2"/>
                  </a:cxn>
                  <a:cxn ang="0">
                    <a:pos x="connsiteX3" y="connsiteY3"/>
                  </a:cxn>
                </a:cxnLst>
                <a:rect l="l" t="t" r="r" b="b"/>
                <a:pathLst>
                  <a:path w="86481" h="108490">
                    <a:moveTo>
                      <a:pt x="86481" y="106636"/>
                    </a:moveTo>
                    <a:lnTo>
                      <a:pt x="84089" y="108490"/>
                    </a:lnTo>
                    <a:lnTo>
                      <a:pt x="0" y="1914"/>
                    </a:lnTo>
                    <a:lnTo>
                      <a:pt x="2333" y="0"/>
                    </a:lnTo>
                    <a:close/>
                  </a:path>
                </a:pathLst>
              </a:custGeom>
              <a:grpFill/>
              <a:ln w="5978" cap="flat">
                <a:noFill/>
                <a:prstDash val="solid"/>
                <a:miter/>
              </a:ln>
            </p:spPr>
            <p:txBody>
              <a:bodyPr rtlCol="0" anchor="ctr"/>
              <a:lstStyle/>
              <a:p>
                <a:endParaRPr lang="en-GB"/>
              </a:p>
            </p:txBody>
          </p:sp>
          <p:sp>
            <p:nvSpPr>
              <p:cNvPr id="3831" name="Vrije vorm: vorm 3830">
                <a:extLst>
                  <a:ext uri="{FF2B5EF4-FFF2-40B4-BE49-F238E27FC236}">
                    <a16:creationId xmlns:a16="http://schemas.microsoft.com/office/drawing/2014/main" id="{CD198406-6876-48E5-98B8-F0C137CA01D7}"/>
                  </a:ext>
                </a:extLst>
              </p:cNvPr>
              <p:cNvSpPr/>
              <p:nvPr/>
            </p:nvSpPr>
            <p:spPr>
              <a:xfrm>
                <a:off x="7372809" y="5090190"/>
                <a:ext cx="18336" cy="18384"/>
              </a:xfrm>
              <a:custGeom>
                <a:avLst/>
                <a:gdLst>
                  <a:gd name="connsiteX0" fmla="*/ 16333 w 18336"/>
                  <a:gd name="connsiteY0" fmla="*/ 3511 h 18384"/>
                  <a:gd name="connsiteX1" fmla="*/ 14838 w 18336"/>
                  <a:gd name="connsiteY1" fmla="*/ 16429 h 18384"/>
                  <a:gd name="connsiteX2" fmla="*/ 1979 w 18336"/>
                  <a:gd name="connsiteY2" fmla="*/ 14874 h 18384"/>
                  <a:gd name="connsiteX3" fmla="*/ 3474 w 18336"/>
                  <a:gd name="connsiteY3" fmla="*/ 1956 h 18384"/>
                  <a:gd name="connsiteX4" fmla="*/ 16333 w 18336"/>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84">
                    <a:moveTo>
                      <a:pt x="16333" y="3511"/>
                    </a:moveTo>
                    <a:cubicBezTo>
                      <a:pt x="19502" y="7518"/>
                      <a:pt x="18844" y="13319"/>
                      <a:pt x="14838" y="16429"/>
                    </a:cubicBezTo>
                    <a:cubicBezTo>
                      <a:pt x="10830" y="19539"/>
                      <a:pt x="5089" y="18881"/>
                      <a:pt x="1979" y="14874"/>
                    </a:cubicBezTo>
                    <a:cubicBezTo>
                      <a:pt x="-1131" y="10867"/>
                      <a:pt x="-533" y="5066"/>
                      <a:pt x="3474" y="1956"/>
                    </a:cubicBezTo>
                    <a:cubicBezTo>
                      <a:pt x="7482" y="-1154"/>
                      <a:pt x="13163" y="-496"/>
                      <a:pt x="16333" y="3511"/>
                    </a:cubicBezTo>
                    <a:close/>
                  </a:path>
                </a:pathLst>
              </a:custGeom>
              <a:grpFill/>
              <a:ln w="5978" cap="flat">
                <a:noFill/>
                <a:prstDash val="solid"/>
                <a:miter/>
              </a:ln>
            </p:spPr>
            <p:txBody>
              <a:bodyPr rtlCol="0" anchor="ctr"/>
              <a:lstStyle/>
              <a:p>
                <a:endParaRPr lang="en-GB"/>
              </a:p>
            </p:txBody>
          </p:sp>
          <p:sp>
            <p:nvSpPr>
              <p:cNvPr id="3832" name="Vrije vorm: vorm 3831">
                <a:extLst>
                  <a:ext uri="{FF2B5EF4-FFF2-40B4-BE49-F238E27FC236}">
                    <a16:creationId xmlns:a16="http://schemas.microsoft.com/office/drawing/2014/main" id="{F6D32721-DFF6-4C95-83D7-02C5DCD5F2B2}"/>
                  </a:ext>
                </a:extLst>
              </p:cNvPr>
              <p:cNvSpPr/>
              <p:nvPr/>
            </p:nvSpPr>
            <p:spPr>
              <a:xfrm>
                <a:off x="7289277" y="4984272"/>
                <a:ext cx="18317" cy="18384"/>
              </a:xfrm>
              <a:custGeom>
                <a:avLst/>
                <a:gdLst>
                  <a:gd name="connsiteX0" fmla="*/ 16314 w 18317"/>
                  <a:gd name="connsiteY0" fmla="*/ 3511 h 18384"/>
                  <a:gd name="connsiteX1" fmla="*/ 3456 w 18317"/>
                  <a:gd name="connsiteY1" fmla="*/ 1956 h 18384"/>
                  <a:gd name="connsiteX2" fmla="*/ 1960 w 18317"/>
                  <a:gd name="connsiteY2" fmla="*/ 14874 h 18384"/>
                  <a:gd name="connsiteX3" fmla="*/ 14818 w 18317"/>
                  <a:gd name="connsiteY3" fmla="*/ 16429 h 18384"/>
                  <a:gd name="connsiteX4" fmla="*/ 16314 w 18317"/>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84">
                    <a:moveTo>
                      <a:pt x="16314" y="3511"/>
                    </a:moveTo>
                    <a:cubicBezTo>
                      <a:pt x="13144" y="-496"/>
                      <a:pt x="7402" y="-1154"/>
                      <a:pt x="3456" y="1956"/>
                    </a:cubicBezTo>
                    <a:cubicBezTo>
                      <a:pt x="-492" y="5125"/>
                      <a:pt x="-1150" y="10927"/>
                      <a:pt x="1960" y="14874"/>
                    </a:cubicBezTo>
                    <a:cubicBezTo>
                      <a:pt x="5130" y="18881"/>
                      <a:pt x="10872" y="19539"/>
                      <a:pt x="14818" y="16429"/>
                    </a:cubicBezTo>
                    <a:cubicBezTo>
                      <a:pt x="18826" y="13319"/>
                      <a:pt x="19483" y="7518"/>
                      <a:pt x="16314" y="3511"/>
                    </a:cubicBezTo>
                    <a:close/>
                  </a:path>
                </a:pathLst>
              </a:custGeom>
              <a:grpFill/>
              <a:ln w="5978" cap="flat">
                <a:noFill/>
                <a:prstDash val="solid"/>
                <a:miter/>
              </a:ln>
            </p:spPr>
            <p:txBody>
              <a:bodyPr rtlCol="0" anchor="ctr"/>
              <a:lstStyle/>
              <a:p>
                <a:endParaRPr lang="en-GB"/>
              </a:p>
            </p:txBody>
          </p:sp>
        </p:grpSp>
        <p:grpSp>
          <p:nvGrpSpPr>
            <p:cNvPr id="520" name="Graphic 3">
              <a:extLst>
                <a:ext uri="{FF2B5EF4-FFF2-40B4-BE49-F238E27FC236}">
                  <a16:creationId xmlns:a16="http://schemas.microsoft.com/office/drawing/2014/main" id="{3D9EBF1C-F716-4778-B4B9-722B6337AD6B}"/>
                </a:ext>
              </a:extLst>
            </p:cNvPr>
            <p:cNvGrpSpPr/>
            <p:nvPr/>
          </p:nvGrpSpPr>
          <p:grpSpPr>
            <a:xfrm>
              <a:off x="6092408" y="1292110"/>
              <a:ext cx="67998" cy="452331"/>
              <a:chOff x="6092408" y="1292110"/>
              <a:chExt cx="67998" cy="452331"/>
            </a:xfrm>
            <a:grpFill/>
          </p:grpSpPr>
          <p:sp>
            <p:nvSpPr>
              <p:cNvPr id="3827" name="Vrije vorm: vorm 3826">
                <a:extLst>
                  <a:ext uri="{FF2B5EF4-FFF2-40B4-BE49-F238E27FC236}">
                    <a16:creationId xmlns:a16="http://schemas.microsoft.com/office/drawing/2014/main" id="{2E88FCC1-C1A3-4A46-B1C5-FDF10E9734F6}"/>
                  </a:ext>
                </a:extLst>
              </p:cNvPr>
              <p:cNvSpPr/>
              <p:nvPr/>
            </p:nvSpPr>
            <p:spPr>
              <a:xfrm>
                <a:off x="6100057" y="1300668"/>
                <a:ext cx="52750" cy="435157"/>
              </a:xfrm>
              <a:custGeom>
                <a:avLst/>
                <a:gdLst>
                  <a:gd name="connsiteX0" fmla="*/ 52750 w 52750"/>
                  <a:gd name="connsiteY0" fmla="*/ 359 h 435157"/>
                  <a:gd name="connsiteX1" fmla="*/ 2990 w 52750"/>
                  <a:gd name="connsiteY1" fmla="*/ 435157 h 435157"/>
                  <a:gd name="connsiteX2" fmla="*/ 0 w 52750"/>
                  <a:gd name="connsiteY2" fmla="*/ 434798 h 435157"/>
                  <a:gd name="connsiteX3" fmla="*/ 49760 w 52750"/>
                  <a:gd name="connsiteY3" fmla="*/ 0 h 435157"/>
                </a:gdLst>
                <a:ahLst/>
                <a:cxnLst>
                  <a:cxn ang="0">
                    <a:pos x="connsiteX0" y="connsiteY0"/>
                  </a:cxn>
                  <a:cxn ang="0">
                    <a:pos x="connsiteX1" y="connsiteY1"/>
                  </a:cxn>
                  <a:cxn ang="0">
                    <a:pos x="connsiteX2" y="connsiteY2"/>
                  </a:cxn>
                  <a:cxn ang="0">
                    <a:pos x="connsiteX3" y="connsiteY3"/>
                  </a:cxn>
                </a:cxnLst>
                <a:rect l="l" t="t" r="r" b="b"/>
                <a:pathLst>
                  <a:path w="52750" h="435157">
                    <a:moveTo>
                      <a:pt x="52750" y="359"/>
                    </a:moveTo>
                    <a:lnTo>
                      <a:pt x="2990" y="435157"/>
                    </a:lnTo>
                    <a:lnTo>
                      <a:pt x="0" y="434798"/>
                    </a:lnTo>
                    <a:lnTo>
                      <a:pt x="49760" y="0"/>
                    </a:lnTo>
                    <a:close/>
                  </a:path>
                </a:pathLst>
              </a:custGeom>
              <a:grpFill/>
              <a:ln w="5978" cap="flat">
                <a:noFill/>
                <a:prstDash val="solid"/>
                <a:miter/>
              </a:ln>
            </p:spPr>
            <p:txBody>
              <a:bodyPr rtlCol="0" anchor="ctr"/>
              <a:lstStyle/>
              <a:p>
                <a:endParaRPr lang="en-GB"/>
              </a:p>
            </p:txBody>
          </p:sp>
          <p:sp>
            <p:nvSpPr>
              <p:cNvPr id="3828" name="Vrije vorm: vorm 3827">
                <a:extLst>
                  <a:ext uri="{FF2B5EF4-FFF2-40B4-BE49-F238E27FC236}">
                    <a16:creationId xmlns:a16="http://schemas.microsoft.com/office/drawing/2014/main" id="{05E198B9-BCC5-471B-9743-AA24A600D3E4}"/>
                  </a:ext>
                </a:extLst>
              </p:cNvPr>
              <p:cNvSpPr/>
              <p:nvPr/>
            </p:nvSpPr>
            <p:spPr>
              <a:xfrm>
                <a:off x="6092408" y="1726012"/>
                <a:ext cx="18359" cy="18429"/>
              </a:xfrm>
              <a:custGeom>
                <a:avLst/>
                <a:gdLst>
                  <a:gd name="connsiteX0" fmla="*/ 18295 w 18359"/>
                  <a:gd name="connsiteY0" fmla="*/ 10291 h 18429"/>
                  <a:gd name="connsiteX1" fmla="*/ 8128 w 18359"/>
                  <a:gd name="connsiteY1" fmla="*/ 18365 h 18429"/>
                  <a:gd name="connsiteX2" fmla="*/ 53 w 18359"/>
                  <a:gd name="connsiteY2" fmla="*/ 8138 h 18429"/>
                  <a:gd name="connsiteX3" fmla="*/ 10221 w 18359"/>
                  <a:gd name="connsiteY3" fmla="*/ 64 h 18429"/>
                  <a:gd name="connsiteX4" fmla="*/ 18295 w 18359"/>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29">
                    <a:moveTo>
                      <a:pt x="18295" y="10291"/>
                    </a:moveTo>
                    <a:cubicBezTo>
                      <a:pt x="17697" y="15315"/>
                      <a:pt x="13151" y="18963"/>
                      <a:pt x="8128" y="18365"/>
                    </a:cubicBezTo>
                    <a:cubicBezTo>
                      <a:pt x="3104" y="17767"/>
                      <a:pt x="-485" y="13162"/>
                      <a:pt x="53" y="8138"/>
                    </a:cubicBezTo>
                    <a:cubicBezTo>
                      <a:pt x="652" y="3114"/>
                      <a:pt x="5197" y="-534"/>
                      <a:pt x="10221" y="64"/>
                    </a:cubicBezTo>
                    <a:cubicBezTo>
                      <a:pt x="15245" y="602"/>
                      <a:pt x="18893" y="5208"/>
                      <a:pt x="18295" y="10291"/>
                    </a:cubicBezTo>
                    <a:close/>
                  </a:path>
                </a:pathLst>
              </a:custGeom>
              <a:grpFill/>
              <a:ln w="5978" cap="flat">
                <a:noFill/>
                <a:prstDash val="solid"/>
                <a:miter/>
              </a:ln>
            </p:spPr>
            <p:txBody>
              <a:bodyPr rtlCol="0" anchor="ctr"/>
              <a:lstStyle/>
              <a:p>
                <a:endParaRPr lang="en-GB"/>
              </a:p>
            </p:txBody>
          </p:sp>
          <p:sp>
            <p:nvSpPr>
              <p:cNvPr id="3829" name="Vrije vorm: vorm 3828">
                <a:extLst>
                  <a:ext uri="{FF2B5EF4-FFF2-40B4-BE49-F238E27FC236}">
                    <a16:creationId xmlns:a16="http://schemas.microsoft.com/office/drawing/2014/main" id="{F753A609-64C7-469E-A608-B7698DFBF76E}"/>
                  </a:ext>
                </a:extLst>
              </p:cNvPr>
              <p:cNvSpPr/>
              <p:nvPr/>
            </p:nvSpPr>
            <p:spPr>
              <a:xfrm>
                <a:off x="6142037" y="1292110"/>
                <a:ext cx="18369" cy="18430"/>
              </a:xfrm>
              <a:custGeom>
                <a:avLst/>
                <a:gdLst>
                  <a:gd name="connsiteX0" fmla="*/ 18305 w 18369"/>
                  <a:gd name="connsiteY0" fmla="*/ 10292 h 18430"/>
                  <a:gd name="connsiteX1" fmla="*/ 10231 w 18369"/>
                  <a:gd name="connsiteY1" fmla="*/ 65 h 18430"/>
                  <a:gd name="connsiteX2" fmla="*/ 64 w 18369"/>
                  <a:gd name="connsiteY2" fmla="*/ 8139 h 18430"/>
                  <a:gd name="connsiteX3" fmla="*/ 8138 w 18369"/>
                  <a:gd name="connsiteY3" fmla="*/ 18366 h 18430"/>
                  <a:gd name="connsiteX4" fmla="*/ 18305 w 18369"/>
                  <a:gd name="connsiteY4" fmla="*/ 1029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30">
                    <a:moveTo>
                      <a:pt x="18305" y="10292"/>
                    </a:moveTo>
                    <a:cubicBezTo>
                      <a:pt x="18903" y="5268"/>
                      <a:pt x="15255" y="663"/>
                      <a:pt x="10231" y="65"/>
                    </a:cubicBezTo>
                    <a:cubicBezTo>
                      <a:pt x="5208" y="-533"/>
                      <a:pt x="662" y="3055"/>
                      <a:pt x="64" y="8139"/>
                    </a:cubicBezTo>
                    <a:cubicBezTo>
                      <a:pt x="-534" y="13163"/>
                      <a:pt x="3114" y="17768"/>
                      <a:pt x="8138" y="18366"/>
                    </a:cubicBezTo>
                    <a:cubicBezTo>
                      <a:pt x="13222" y="18964"/>
                      <a:pt x="17767" y="15316"/>
                      <a:pt x="18305" y="10292"/>
                    </a:cubicBezTo>
                    <a:close/>
                  </a:path>
                </a:pathLst>
              </a:custGeom>
              <a:grpFill/>
              <a:ln w="5978" cap="flat">
                <a:noFill/>
                <a:prstDash val="solid"/>
                <a:miter/>
              </a:ln>
            </p:spPr>
            <p:txBody>
              <a:bodyPr rtlCol="0" anchor="ctr"/>
              <a:lstStyle/>
              <a:p>
                <a:endParaRPr lang="en-GB"/>
              </a:p>
            </p:txBody>
          </p:sp>
        </p:grpSp>
        <p:grpSp>
          <p:nvGrpSpPr>
            <p:cNvPr id="521" name="Graphic 3">
              <a:extLst>
                <a:ext uri="{FF2B5EF4-FFF2-40B4-BE49-F238E27FC236}">
                  <a16:creationId xmlns:a16="http://schemas.microsoft.com/office/drawing/2014/main" id="{E4D9B980-7B57-4BFF-BB73-95C4500BA20A}"/>
                </a:ext>
              </a:extLst>
            </p:cNvPr>
            <p:cNvGrpSpPr/>
            <p:nvPr/>
          </p:nvGrpSpPr>
          <p:grpSpPr>
            <a:xfrm>
              <a:off x="6185190" y="1651644"/>
              <a:ext cx="24823" cy="97430"/>
              <a:chOff x="6185190" y="1651644"/>
              <a:chExt cx="24823" cy="97430"/>
            </a:xfrm>
            <a:grpFill/>
          </p:grpSpPr>
          <p:sp>
            <p:nvSpPr>
              <p:cNvPr id="3824" name="Vrije vorm: vorm 3823">
                <a:extLst>
                  <a:ext uri="{FF2B5EF4-FFF2-40B4-BE49-F238E27FC236}">
                    <a16:creationId xmlns:a16="http://schemas.microsoft.com/office/drawing/2014/main" id="{6C5D9C06-154E-4311-AE0A-AB21FC8237B0}"/>
                  </a:ext>
                </a:extLst>
              </p:cNvPr>
              <p:cNvSpPr/>
              <p:nvPr/>
            </p:nvSpPr>
            <p:spPr>
              <a:xfrm>
                <a:off x="6192818" y="1660288"/>
                <a:ext cx="9628" cy="80141"/>
              </a:xfrm>
              <a:custGeom>
                <a:avLst/>
                <a:gdLst>
                  <a:gd name="connsiteX0" fmla="*/ 9629 w 9628"/>
                  <a:gd name="connsiteY0" fmla="*/ 239 h 80141"/>
                  <a:gd name="connsiteX1" fmla="*/ 2990 w 9628"/>
                  <a:gd name="connsiteY1" fmla="*/ 80142 h 80141"/>
                  <a:gd name="connsiteX2" fmla="*/ 0 w 9628"/>
                  <a:gd name="connsiteY2" fmla="*/ 79902 h 80141"/>
                  <a:gd name="connsiteX3" fmla="*/ 6579 w 9628"/>
                  <a:gd name="connsiteY3" fmla="*/ 0 h 80141"/>
                </a:gdLst>
                <a:ahLst/>
                <a:cxnLst>
                  <a:cxn ang="0">
                    <a:pos x="connsiteX0" y="connsiteY0"/>
                  </a:cxn>
                  <a:cxn ang="0">
                    <a:pos x="connsiteX1" y="connsiteY1"/>
                  </a:cxn>
                  <a:cxn ang="0">
                    <a:pos x="connsiteX2" y="connsiteY2"/>
                  </a:cxn>
                  <a:cxn ang="0">
                    <a:pos x="connsiteX3" y="connsiteY3"/>
                  </a:cxn>
                </a:cxnLst>
                <a:rect l="l" t="t" r="r" b="b"/>
                <a:pathLst>
                  <a:path w="9628" h="80141">
                    <a:moveTo>
                      <a:pt x="9629" y="239"/>
                    </a:moveTo>
                    <a:lnTo>
                      <a:pt x="2990" y="80142"/>
                    </a:lnTo>
                    <a:lnTo>
                      <a:pt x="0" y="79902"/>
                    </a:lnTo>
                    <a:lnTo>
                      <a:pt x="6579" y="0"/>
                    </a:lnTo>
                    <a:close/>
                  </a:path>
                </a:pathLst>
              </a:custGeom>
              <a:grpFill/>
              <a:ln w="5978" cap="flat">
                <a:noFill/>
                <a:prstDash val="solid"/>
                <a:miter/>
              </a:ln>
            </p:spPr>
            <p:txBody>
              <a:bodyPr rtlCol="0" anchor="ctr"/>
              <a:lstStyle/>
              <a:p>
                <a:endParaRPr lang="en-GB"/>
              </a:p>
            </p:txBody>
          </p:sp>
          <p:sp>
            <p:nvSpPr>
              <p:cNvPr id="3825" name="Vrije vorm: vorm 3824">
                <a:extLst>
                  <a:ext uri="{FF2B5EF4-FFF2-40B4-BE49-F238E27FC236}">
                    <a16:creationId xmlns:a16="http://schemas.microsoft.com/office/drawing/2014/main" id="{5064D4EF-3362-4719-8222-59CA652226F3}"/>
                  </a:ext>
                </a:extLst>
              </p:cNvPr>
              <p:cNvSpPr/>
              <p:nvPr/>
            </p:nvSpPr>
            <p:spPr>
              <a:xfrm>
                <a:off x="6191710" y="1651644"/>
                <a:ext cx="18304" cy="18425"/>
              </a:xfrm>
              <a:custGeom>
                <a:avLst/>
                <a:gdLst>
                  <a:gd name="connsiteX0" fmla="*/ 32 w 18304"/>
                  <a:gd name="connsiteY0" fmla="*/ 8405 h 18425"/>
                  <a:gd name="connsiteX1" fmla="*/ 9900 w 18304"/>
                  <a:gd name="connsiteY1" fmla="*/ 32 h 18425"/>
                  <a:gd name="connsiteX2" fmla="*/ 18273 w 18304"/>
                  <a:gd name="connsiteY2" fmla="*/ 10020 h 18425"/>
                  <a:gd name="connsiteX3" fmla="*/ 8405 w 18304"/>
                  <a:gd name="connsiteY3" fmla="*/ 18393 h 18425"/>
                  <a:gd name="connsiteX4" fmla="*/ 32 w 1830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32" y="8405"/>
                    </a:moveTo>
                    <a:cubicBezTo>
                      <a:pt x="450" y="3322"/>
                      <a:pt x="4876" y="-386"/>
                      <a:pt x="9900" y="32"/>
                    </a:cubicBezTo>
                    <a:cubicBezTo>
                      <a:pt x="14924" y="451"/>
                      <a:pt x="18692" y="4936"/>
                      <a:pt x="18273" y="10020"/>
                    </a:cubicBezTo>
                    <a:cubicBezTo>
                      <a:pt x="17854" y="15104"/>
                      <a:pt x="13429" y="18812"/>
                      <a:pt x="8405" y="18393"/>
                    </a:cubicBezTo>
                    <a:cubicBezTo>
                      <a:pt x="3381" y="17974"/>
                      <a:pt x="-387" y="13489"/>
                      <a:pt x="32" y="8405"/>
                    </a:cubicBezTo>
                    <a:close/>
                  </a:path>
                </a:pathLst>
              </a:custGeom>
              <a:grpFill/>
              <a:ln w="5978" cap="flat">
                <a:noFill/>
                <a:prstDash val="solid"/>
                <a:miter/>
              </a:ln>
            </p:spPr>
            <p:txBody>
              <a:bodyPr rtlCol="0" anchor="ctr"/>
              <a:lstStyle/>
              <a:p>
                <a:endParaRPr lang="en-GB"/>
              </a:p>
            </p:txBody>
          </p:sp>
          <p:sp>
            <p:nvSpPr>
              <p:cNvPr id="3826" name="Vrije vorm: vorm 3825">
                <a:extLst>
                  <a:ext uri="{FF2B5EF4-FFF2-40B4-BE49-F238E27FC236}">
                    <a16:creationId xmlns:a16="http://schemas.microsoft.com/office/drawing/2014/main" id="{98CC9FBC-1A9A-4F4D-AD30-600194B655E7}"/>
                  </a:ext>
                </a:extLst>
              </p:cNvPr>
              <p:cNvSpPr/>
              <p:nvPr/>
            </p:nvSpPr>
            <p:spPr>
              <a:xfrm>
                <a:off x="6185190" y="1730641"/>
                <a:ext cx="18304" cy="18434"/>
              </a:xfrm>
              <a:custGeom>
                <a:avLst/>
                <a:gdLst>
                  <a:gd name="connsiteX0" fmla="*/ 32 w 18304"/>
                  <a:gd name="connsiteY0" fmla="*/ 8414 h 18434"/>
                  <a:gd name="connsiteX1" fmla="*/ 8405 w 18304"/>
                  <a:gd name="connsiteY1" fmla="*/ 18402 h 18434"/>
                  <a:gd name="connsiteX2" fmla="*/ 18273 w 18304"/>
                  <a:gd name="connsiteY2" fmla="*/ 10029 h 18434"/>
                  <a:gd name="connsiteX3" fmla="*/ 9900 w 18304"/>
                  <a:gd name="connsiteY3" fmla="*/ 41 h 18434"/>
                  <a:gd name="connsiteX4" fmla="*/ 32 w 18304"/>
                  <a:gd name="connsiteY4" fmla="*/ 841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4">
                    <a:moveTo>
                      <a:pt x="32" y="8414"/>
                    </a:moveTo>
                    <a:cubicBezTo>
                      <a:pt x="-387" y="13498"/>
                      <a:pt x="3381" y="17923"/>
                      <a:pt x="8405" y="18402"/>
                    </a:cubicBezTo>
                    <a:cubicBezTo>
                      <a:pt x="13429" y="18820"/>
                      <a:pt x="17854" y="15112"/>
                      <a:pt x="18273" y="10029"/>
                    </a:cubicBezTo>
                    <a:cubicBezTo>
                      <a:pt x="18692" y="4945"/>
                      <a:pt x="14924" y="519"/>
                      <a:pt x="9900" y="41"/>
                    </a:cubicBezTo>
                    <a:cubicBezTo>
                      <a:pt x="4876" y="-437"/>
                      <a:pt x="450" y="3330"/>
                      <a:pt x="32" y="8414"/>
                    </a:cubicBezTo>
                    <a:close/>
                  </a:path>
                </a:pathLst>
              </a:custGeom>
              <a:grpFill/>
              <a:ln w="5978" cap="flat">
                <a:noFill/>
                <a:prstDash val="solid"/>
                <a:miter/>
              </a:ln>
            </p:spPr>
            <p:txBody>
              <a:bodyPr rtlCol="0" anchor="ctr"/>
              <a:lstStyle/>
              <a:p>
                <a:endParaRPr lang="en-GB"/>
              </a:p>
            </p:txBody>
          </p:sp>
        </p:grpSp>
        <p:grpSp>
          <p:nvGrpSpPr>
            <p:cNvPr id="522" name="Graphic 3">
              <a:extLst>
                <a:ext uri="{FF2B5EF4-FFF2-40B4-BE49-F238E27FC236}">
                  <a16:creationId xmlns:a16="http://schemas.microsoft.com/office/drawing/2014/main" id="{6D56FEE2-C72D-4CAC-87A6-D58433D176E5}"/>
                </a:ext>
              </a:extLst>
            </p:cNvPr>
            <p:cNvGrpSpPr/>
            <p:nvPr/>
          </p:nvGrpSpPr>
          <p:grpSpPr>
            <a:xfrm>
              <a:off x="7214178" y="4833875"/>
              <a:ext cx="77789" cy="90977"/>
              <a:chOff x="7214178" y="4833875"/>
              <a:chExt cx="77789" cy="90977"/>
            </a:xfrm>
            <a:grpFill/>
          </p:grpSpPr>
          <p:sp>
            <p:nvSpPr>
              <p:cNvPr id="3821" name="Vrije vorm: vorm 3820">
                <a:extLst>
                  <a:ext uri="{FF2B5EF4-FFF2-40B4-BE49-F238E27FC236}">
                    <a16:creationId xmlns:a16="http://schemas.microsoft.com/office/drawing/2014/main" id="{E851DE31-3841-410A-A46B-B6284226E0E1}"/>
                  </a:ext>
                </a:extLst>
              </p:cNvPr>
              <p:cNvSpPr/>
              <p:nvPr/>
            </p:nvSpPr>
            <p:spPr>
              <a:xfrm>
                <a:off x="7221920" y="4841793"/>
                <a:ext cx="62319" cy="75177"/>
              </a:xfrm>
              <a:custGeom>
                <a:avLst/>
                <a:gdLst>
                  <a:gd name="connsiteX0" fmla="*/ 62319 w 62319"/>
                  <a:gd name="connsiteY0" fmla="*/ 73204 h 75177"/>
                  <a:gd name="connsiteX1" fmla="*/ 59987 w 62319"/>
                  <a:gd name="connsiteY1" fmla="*/ 75178 h 75177"/>
                  <a:gd name="connsiteX2" fmla="*/ 0 w 62319"/>
                  <a:gd name="connsiteY2" fmla="*/ 1914 h 75177"/>
                  <a:gd name="connsiteX3" fmla="*/ 2333 w 62319"/>
                  <a:gd name="connsiteY3" fmla="*/ 0 h 75177"/>
                </a:gdLst>
                <a:ahLst/>
                <a:cxnLst>
                  <a:cxn ang="0">
                    <a:pos x="connsiteX0" y="connsiteY0"/>
                  </a:cxn>
                  <a:cxn ang="0">
                    <a:pos x="connsiteX1" y="connsiteY1"/>
                  </a:cxn>
                  <a:cxn ang="0">
                    <a:pos x="connsiteX2" y="connsiteY2"/>
                  </a:cxn>
                  <a:cxn ang="0">
                    <a:pos x="connsiteX3" y="connsiteY3"/>
                  </a:cxn>
                </a:cxnLst>
                <a:rect l="l" t="t" r="r" b="b"/>
                <a:pathLst>
                  <a:path w="62319" h="75177">
                    <a:moveTo>
                      <a:pt x="62319" y="73204"/>
                    </a:moveTo>
                    <a:lnTo>
                      <a:pt x="59987" y="75178"/>
                    </a:lnTo>
                    <a:lnTo>
                      <a:pt x="0" y="1914"/>
                    </a:lnTo>
                    <a:lnTo>
                      <a:pt x="2333" y="0"/>
                    </a:lnTo>
                    <a:close/>
                  </a:path>
                </a:pathLst>
              </a:custGeom>
              <a:grpFill/>
              <a:ln w="5978" cap="flat">
                <a:noFill/>
                <a:prstDash val="solid"/>
                <a:miter/>
              </a:ln>
            </p:spPr>
            <p:txBody>
              <a:bodyPr rtlCol="0" anchor="ctr"/>
              <a:lstStyle/>
              <a:p>
                <a:endParaRPr lang="en-GB"/>
              </a:p>
            </p:txBody>
          </p:sp>
          <p:sp>
            <p:nvSpPr>
              <p:cNvPr id="3822" name="Vrije vorm: vorm 3821">
                <a:extLst>
                  <a:ext uri="{FF2B5EF4-FFF2-40B4-BE49-F238E27FC236}">
                    <a16:creationId xmlns:a16="http://schemas.microsoft.com/office/drawing/2014/main" id="{82F7A91D-859C-480D-A236-5688CCD070DB}"/>
                  </a:ext>
                </a:extLst>
              </p:cNvPr>
              <p:cNvSpPr/>
              <p:nvPr/>
            </p:nvSpPr>
            <p:spPr>
              <a:xfrm>
                <a:off x="7273582" y="4906397"/>
                <a:ext cx="18384" cy="18456"/>
              </a:xfrm>
              <a:custGeom>
                <a:avLst/>
                <a:gdLst>
                  <a:gd name="connsiteX0" fmla="*/ 16279 w 18384"/>
                  <a:gd name="connsiteY0" fmla="*/ 3397 h 18456"/>
                  <a:gd name="connsiteX1" fmla="*/ 15024 w 18384"/>
                  <a:gd name="connsiteY1" fmla="*/ 16375 h 18456"/>
                  <a:gd name="connsiteX2" fmla="*/ 2105 w 18384"/>
                  <a:gd name="connsiteY2" fmla="*/ 15059 h 18456"/>
                  <a:gd name="connsiteX3" fmla="*/ 3361 w 18384"/>
                  <a:gd name="connsiteY3" fmla="*/ 2081 h 18456"/>
                  <a:gd name="connsiteX4" fmla="*/ 16279 w 18384"/>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56">
                    <a:moveTo>
                      <a:pt x="16279" y="3397"/>
                    </a:moveTo>
                    <a:cubicBezTo>
                      <a:pt x="19509" y="7344"/>
                      <a:pt x="18971" y="13145"/>
                      <a:pt x="15024" y="16375"/>
                    </a:cubicBezTo>
                    <a:cubicBezTo>
                      <a:pt x="11136" y="19605"/>
                      <a:pt x="5335" y="19007"/>
                      <a:pt x="2105" y="15059"/>
                    </a:cubicBezTo>
                    <a:cubicBezTo>
                      <a:pt x="-1124" y="11112"/>
                      <a:pt x="-586" y="5311"/>
                      <a:pt x="3361" y="2081"/>
                    </a:cubicBezTo>
                    <a:cubicBezTo>
                      <a:pt x="7249" y="-1148"/>
                      <a:pt x="13050" y="-550"/>
                      <a:pt x="16279" y="3397"/>
                    </a:cubicBezTo>
                    <a:close/>
                  </a:path>
                </a:pathLst>
              </a:custGeom>
              <a:grpFill/>
              <a:ln w="5978" cap="flat">
                <a:noFill/>
                <a:prstDash val="solid"/>
                <a:miter/>
              </a:ln>
            </p:spPr>
            <p:txBody>
              <a:bodyPr rtlCol="0" anchor="ctr"/>
              <a:lstStyle/>
              <a:p>
                <a:endParaRPr lang="en-GB"/>
              </a:p>
            </p:txBody>
          </p:sp>
          <p:sp>
            <p:nvSpPr>
              <p:cNvPr id="3823" name="Vrije vorm: vorm 3822">
                <a:extLst>
                  <a:ext uri="{FF2B5EF4-FFF2-40B4-BE49-F238E27FC236}">
                    <a16:creationId xmlns:a16="http://schemas.microsoft.com/office/drawing/2014/main" id="{4D5F208F-5F52-4EE8-B9AA-B8CD1D9DA32D}"/>
                  </a:ext>
                </a:extLst>
              </p:cNvPr>
              <p:cNvSpPr/>
              <p:nvPr/>
            </p:nvSpPr>
            <p:spPr>
              <a:xfrm>
                <a:off x="7214178" y="4833875"/>
                <a:ext cx="18341" cy="18406"/>
              </a:xfrm>
              <a:custGeom>
                <a:avLst/>
                <a:gdLst>
                  <a:gd name="connsiteX0" fmla="*/ 16236 w 18341"/>
                  <a:gd name="connsiteY0" fmla="*/ 3372 h 18406"/>
                  <a:gd name="connsiteX1" fmla="*/ 3317 w 18341"/>
                  <a:gd name="connsiteY1" fmla="*/ 2056 h 18406"/>
                  <a:gd name="connsiteX2" fmla="*/ 2061 w 18341"/>
                  <a:gd name="connsiteY2" fmla="*/ 15034 h 18406"/>
                  <a:gd name="connsiteX3" fmla="*/ 14980 w 18341"/>
                  <a:gd name="connsiteY3" fmla="*/ 16350 h 18406"/>
                  <a:gd name="connsiteX4" fmla="*/ 16236 w 18341"/>
                  <a:gd name="connsiteY4" fmla="*/ 3372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6">
                    <a:moveTo>
                      <a:pt x="16236" y="3372"/>
                    </a:moveTo>
                    <a:cubicBezTo>
                      <a:pt x="13006" y="-575"/>
                      <a:pt x="7205" y="-1114"/>
                      <a:pt x="3317" y="2056"/>
                    </a:cubicBezTo>
                    <a:cubicBezTo>
                      <a:pt x="-571" y="5286"/>
                      <a:pt x="-1109" y="11087"/>
                      <a:pt x="2061" y="15034"/>
                    </a:cubicBezTo>
                    <a:cubicBezTo>
                      <a:pt x="5291" y="18982"/>
                      <a:pt x="11092" y="19520"/>
                      <a:pt x="14980" y="16350"/>
                    </a:cubicBezTo>
                    <a:cubicBezTo>
                      <a:pt x="18927" y="13120"/>
                      <a:pt x="19465" y="7319"/>
                      <a:pt x="16236" y="3372"/>
                    </a:cubicBezTo>
                    <a:close/>
                  </a:path>
                </a:pathLst>
              </a:custGeom>
              <a:grpFill/>
              <a:ln w="5978" cap="flat">
                <a:noFill/>
                <a:prstDash val="solid"/>
                <a:miter/>
              </a:ln>
            </p:spPr>
            <p:txBody>
              <a:bodyPr rtlCol="0" anchor="ctr"/>
              <a:lstStyle/>
              <a:p>
                <a:endParaRPr lang="en-GB"/>
              </a:p>
            </p:txBody>
          </p:sp>
        </p:grpSp>
        <p:grpSp>
          <p:nvGrpSpPr>
            <p:cNvPr id="523" name="Graphic 3">
              <a:extLst>
                <a:ext uri="{FF2B5EF4-FFF2-40B4-BE49-F238E27FC236}">
                  <a16:creationId xmlns:a16="http://schemas.microsoft.com/office/drawing/2014/main" id="{FF8A31AD-58A2-403F-AB59-C622A57C291A}"/>
                </a:ext>
              </a:extLst>
            </p:cNvPr>
            <p:cNvGrpSpPr/>
            <p:nvPr/>
          </p:nvGrpSpPr>
          <p:grpSpPr>
            <a:xfrm>
              <a:off x="6063035" y="1266697"/>
              <a:ext cx="19677" cy="173860"/>
              <a:chOff x="6063035" y="1266697"/>
              <a:chExt cx="19677" cy="173860"/>
            </a:xfrm>
            <a:grpFill/>
          </p:grpSpPr>
          <p:sp>
            <p:nvSpPr>
              <p:cNvPr id="3818" name="Vrije vorm: vorm 3817">
                <a:extLst>
                  <a:ext uri="{FF2B5EF4-FFF2-40B4-BE49-F238E27FC236}">
                    <a16:creationId xmlns:a16="http://schemas.microsoft.com/office/drawing/2014/main" id="{8848FE32-E5D0-4D75-A46D-8AEBF7F7EEBF}"/>
                  </a:ext>
                </a:extLst>
              </p:cNvPr>
              <p:cNvSpPr/>
              <p:nvPr/>
            </p:nvSpPr>
            <p:spPr>
              <a:xfrm>
                <a:off x="6070692" y="1275429"/>
                <a:ext cx="4365" cy="156395"/>
              </a:xfrm>
              <a:custGeom>
                <a:avLst/>
                <a:gdLst>
                  <a:gd name="connsiteX0" fmla="*/ 4366 w 4365"/>
                  <a:gd name="connsiteY0" fmla="*/ 0 h 156395"/>
                  <a:gd name="connsiteX1" fmla="*/ 2990 w 4365"/>
                  <a:gd name="connsiteY1" fmla="*/ 156396 h 156395"/>
                  <a:gd name="connsiteX2" fmla="*/ 0 w 4365"/>
                  <a:gd name="connsiteY2" fmla="*/ 156396 h 156395"/>
                  <a:gd name="connsiteX3" fmla="*/ 1316 w 4365"/>
                  <a:gd name="connsiteY3" fmla="*/ 0 h 156395"/>
                </a:gdLst>
                <a:ahLst/>
                <a:cxnLst>
                  <a:cxn ang="0">
                    <a:pos x="connsiteX0" y="connsiteY0"/>
                  </a:cxn>
                  <a:cxn ang="0">
                    <a:pos x="connsiteX1" y="connsiteY1"/>
                  </a:cxn>
                  <a:cxn ang="0">
                    <a:pos x="connsiteX2" y="connsiteY2"/>
                  </a:cxn>
                  <a:cxn ang="0">
                    <a:pos x="connsiteX3" y="connsiteY3"/>
                  </a:cxn>
                </a:cxnLst>
                <a:rect l="l" t="t" r="r" b="b"/>
                <a:pathLst>
                  <a:path w="4365" h="156395">
                    <a:moveTo>
                      <a:pt x="4366" y="0"/>
                    </a:moveTo>
                    <a:lnTo>
                      <a:pt x="2990" y="156396"/>
                    </a:lnTo>
                    <a:lnTo>
                      <a:pt x="0" y="156396"/>
                    </a:lnTo>
                    <a:lnTo>
                      <a:pt x="1316" y="0"/>
                    </a:lnTo>
                    <a:close/>
                  </a:path>
                </a:pathLst>
              </a:custGeom>
              <a:grpFill/>
              <a:ln w="5978" cap="flat">
                <a:noFill/>
                <a:prstDash val="solid"/>
                <a:miter/>
              </a:ln>
            </p:spPr>
            <p:txBody>
              <a:bodyPr rtlCol="0" anchor="ctr"/>
              <a:lstStyle/>
              <a:p>
                <a:endParaRPr lang="en-GB"/>
              </a:p>
            </p:txBody>
          </p:sp>
          <p:sp>
            <p:nvSpPr>
              <p:cNvPr id="3819" name="Vrije vorm: vorm 3818">
                <a:extLst>
                  <a:ext uri="{FF2B5EF4-FFF2-40B4-BE49-F238E27FC236}">
                    <a16:creationId xmlns:a16="http://schemas.microsoft.com/office/drawing/2014/main" id="{AC3F6793-8D9D-4DC4-BBCC-2756D8735901}"/>
                  </a:ext>
                </a:extLst>
              </p:cNvPr>
              <p:cNvSpPr/>
              <p:nvPr/>
            </p:nvSpPr>
            <p:spPr>
              <a:xfrm>
                <a:off x="6064352" y="1266697"/>
                <a:ext cx="18361" cy="18421"/>
              </a:xfrm>
              <a:custGeom>
                <a:avLst/>
                <a:gdLst>
                  <a:gd name="connsiteX0" fmla="*/ 0 w 18361"/>
                  <a:gd name="connsiteY0" fmla="*/ 9091 h 18421"/>
                  <a:gd name="connsiteX1" fmla="*/ 9270 w 18361"/>
                  <a:gd name="connsiteY1" fmla="*/ 1 h 18421"/>
                  <a:gd name="connsiteX2" fmla="*/ 18360 w 18361"/>
                  <a:gd name="connsiteY2" fmla="*/ 9331 h 18421"/>
                  <a:gd name="connsiteX3" fmla="*/ 9090 w 18361"/>
                  <a:gd name="connsiteY3" fmla="*/ 18421 h 18421"/>
                  <a:gd name="connsiteX4" fmla="*/ 0 w 18361"/>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0" y="9091"/>
                    </a:moveTo>
                    <a:cubicBezTo>
                      <a:pt x="60" y="4008"/>
                      <a:pt x="4186" y="-59"/>
                      <a:pt x="9270" y="1"/>
                    </a:cubicBezTo>
                    <a:cubicBezTo>
                      <a:pt x="14354" y="60"/>
                      <a:pt x="18420" y="4247"/>
                      <a:pt x="18360" y="9331"/>
                    </a:cubicBezTo>
                    <a:cubicBezTo>
                      <a:pt x="18301" y="14414"/>
                      <a:pt x="14174" y="18481"/>
                      <a:pt x="9090" y="18421"/>
                    </a:cubicBezTo>
                    <a:cubicBezTo>
                      <a:pt x="4067" y="18361"/>
                      <a:pt x="0" y="14175"/>
                      <a:pt x="0" y="9091"/>
                    </a:cubicBezTo>
                    <a:close/>
                  </a:path>
                </a:pathLst>
              </a:custGeom>
              <a:grpFill/>
              <a:ln w="5978" cap="flat">
                <a:noFill/>
                <a:prstDash val="solid"/>
                <a:miter/>
              </a:ln>
            </p:spPr>
            <p:txBody>
              <a:bodyPr rtlCol="0" anchor="ctr"/>
              <a:lstStyle/>
              <a:p>
                <a:endParaRPr lang="en-GB"/>
              </a:p>
            </p:txBody>
          </p:sp>
          <p:sp>
            <p:nvSpPr>
              <p:cNvPr id="3820" name="Vrije vorm: vorm 3819">
                <a:extLst>
                  <a:ext uri="{FF2B5EF4-FFF2-40B4-BE49-F238E27FC236}">
                    <a16:creationId xmlns:a16="http://schemas.microsoft.com/office/drawing/2014/main" id="{F3D7DE4D-FC99-4944-AF2B-111A53B2193B}"/>
                  </a:ext>
                </a:extLst>
              </p:cNvPr>
              <p:cNvSpPr/>
              <p:nvPr/>
            </p:nvSpPr>
            <p:spPr>
              <a:xfrm>
                <a:off x="6063035" y="1422135"/>
                <a:ext cx="18362" cy="18421"/>
              </a:xfrm>
              <a:custGeom>
                <a:avLst/>
                <a:gdLst>
                  <a:gd name="connsiteX0" fmla="*/ 1 w 18362"/>
                  <a:gd name="connsiteY0" fmla="*/ 9091 h 18421"/>
                  <a:gd name="connsiteX1" fmla="*/ 9091 w 18362"/>
                  <a:gd name="connsiteY1" fmla="*/ 18421 h 18421"/>
                  <a:gd name="connsiteX2" fmla="*/ 18362 w 18362"/>
                  <a:gd name="connsiteY2" fmla="*/ 9331 h 18421"/>
                  <a:gd name="connsiteX3" fmla="*/ 9271 w 18362"/>
                  <a:gd name="connsiteY3" fmla="*/ 1 h 18421"/>
                  <a:gd name="connsiteX4" fmla="*/ 1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091"/>
                    </a:moveTo>
                    <a:cubicBezTo>
                      <a:pt x="-59" y="14175"/>
                      <a:pt x="4008" y="18361"/>
                      <a:pt x="9091" y="18421"/>
                    </a:cubicBezTo>
                    <a:cubicBezTo>
                      <a:pt x="14175" y="18481"/>
                      <a:pt x="18302" y="14414"/>
                      <a:pt x="18362" y="9331"/>
                    </a:cubicBezTo>
                    <a:cubicBezTo>
                      <a:pt x="18421" y="4247"/>
                      <a:pt x="14355" y="60"/>
                      <a:pt x="9271" y="1"/>
                    </a:cubicBezTo>
                    <a:cubicBezTo>
                      <a:pt x="4187" y="-59"/>
                      <a:pt x="61" y="4008"/>
                      <a:pt x="1" y="9091"/>
                    </a:cubicBezTo>
                    <a:close/>
                  </a:path>
                </a:pathLst>
              </a:custGeom>
              <a:grpFill/>
              <a:ln w="5978" cap="flat">
                <a:noFill/>
                <a:prstDash val="solid"/>
                <a:miter/>
              </a:ln>
            </p:spPr>
            <p:txBody>
              <a:bodyPr rtlCol="0" anchor="ctr"/>
              <a:lstStyle/>
              <a:p>
                <a:endParaRPr lang="en-GB"/>
              </a:p>
            </p:txBody>
          </p:sp>
        </p:grpSp>
        <p:grpSp>
          <p:nvGrpSpPr>
            <p:cNvPr id="524" name="Graphic 3">
              <a:extLst>
                <a:ext uri="{FF2B5EF4-FFF2-40B4-BE49-F238E27FC236}">
                  <a16:creationId xmlns:a16="http://schemas.microsoft.com/office/drawing/2014/main" id="{57BA5412-2B9C-483E-B7CB-03EF6762E1A9}"/>
                </a:ext>
              </a:extLst>
            </p:cNvPr>
            <p:cNvGrpSpPr/>
            <p:nvPr/>
          </p:nvGrpSpPr>
          <p:grpSpPr>
            <a:xfrm>
              <a:off x="6127498" y="1501251"/>
              <a:ext cx="24003" cy="142302"/>
              <a:chOff x="6127498" y="1501251"/>
              <a:chExt cx="24003" cy="142302"/>
            </a:xfrm>
            <a:grpFill/>
          </p:grpSpPr>
          <p:sp>
            <p:nvSpPr>
              <p:cNvPr id="3815" name="Vrije vorm: vorm 3814">
                <a:extLst>
                  <a:ext uri="{FF2B5EF4-FFF2-40B4-BE49-F238E27FC236}">
                    <a16:creationId xmlns:a16="http://schemas.microsoft.com/office/drawing/2014/main" id="{07C9A060-FF57-46BD-A221-DA2E3BD575E5}"/>
                  </a:ext>
                </a:extLst>
              </p:cNvPr>
              <p:cNvSpPr/>
              <p:nvPr/>
            </p:nvSpPr>
            <p:spPr>
              <a:xfrm>
                <a:off x="6135104" y="1509933"/>
                <a:ext cx="8731" cy="124937"/>
              </a:xfrm>
              <a:custGeom>
                <a:avLst/>
                <a:gdLst>
                  <a:gd name="connsiteX0" fmla="*/ 8732 w 8731"/>
                  <a:gd name="connsiteY0" fmla="*/ 120 h 124937"/>
                  <a:gd name="connsiteX1" fmla="*/ 3050 w 8731"/>
                  <a:gd name="connsiteY1" fmla="*/ 124937 h 124937"/>
                  <a:gd name="connsiteX2" fmla="*/ 0 w 8731"/>
                  <a:gd name="connsiteY2" fmla="*/ 124758 h 124937"/>
                  <a:gd name="connsiteX3" fmla="*/ 5742 w 8731"/>
                  <a:gd name="connsiteY3" fmla="*/ 0 h 124937"/>
                </a:gdLst>
                <a:ahLst/>
                <a:cxnLst>
                  <a:cxn ang="0">
                    <a:pos x="connsiteX0" y="connsiteY0"/>
                  </a:cxn>
                  <a:cxn ang="0">
                    <a:pos x="connsiteX1" y="connsiteY1"/>
                  </a:cxn>
                  <a:cxn ang="0">
                    <a:pos x="connsiteX2" y="connsiteY2"/>
                  </a:cxn>
                  <a:cxn ang="0">
                    <a:pos x="connsiteX3" y="connsiteY3"/>
                  </a:cxn>
                </a:cxnLst>
                <a:rect l="l" t="t" r="r" b="b"/>
                <a:pathLst>
                  <a:path w="8731" h="124937">
                    <a:moveTo>
                      <a:pt x="8732" y="120"/>
                    </a:moveTo>
                    <a:lnTo>
                      <a:pt x="3050" y="124937"/>
                    </a:lnTo>
                    <a:lnTo>
                      <a:pt x="0" y="124758"/>
                    </a:lnTo>
                    <a:lnTo>
                      <a:pt x="5742" y="0"/>
                    </a:lnTo>
                    <a:close/>
                  </a:path>
                </a:pathLst>
              </a:custGeom>
              <a:grpFill/>
              <a:ln w="5978" cap="flat">
                <a:noFill/>
                <a:prstDash val="solid"/>
                <a:miter/>
              </a:ln>
            </p:spPr>
            <p:txBody>
              <a:bodyPr rtlCol="0" anchor="ctr"/>
              <a:lstStyle/>
              <a:p>
                <a:endParaRPr lang="en-GB"/>
              </a:p>
            </p:txBody>
          </p:sp>
          <p:sp>
            <p:nvSpPr>
              <p:cNvPr id="3816" name="Vrije vorm: vorm 3815">
                <a:extLst>
                  <a:ext uri="{FF2B5EF4-FFF2-40B4-BE49-F238E27FC236}">
                    <a16:creationId xmlns:a16="http://schemas.microsoft.com/office/drawing/2014/main" id="{AF994455-9238-4B6F-8AC2-726452DC6196}"/>
                  </a:ext>
                </a:extLst>
              </p:cNvPr>
              <p:cNvSpPr/>
              <p:nvPr/>
            </p:nvSpPr>
            <p:spPr>
              <a:xfrm>
                <a:off x="6133179" y="1501251"/>
                <a:ext cx="18321" cy="18441"/>
              </a:xfrm>
              <a:custGeom>
                <a:avLst/>
                <a:gdLst>
                  <a:gd name="connsiteX0" fmla="*/ 10 w 18321"/>
                  <a:gd name="connsiteY0" fmla="*/ 8742 h 18441"/>
                  <a:gd name="connsiteX1" fmla="*/ 9580 w 18321"/>
                  <a:gd name="connsiteY1" fmla="*/ 10 h 18441"/>
                  <a:gd name="connsiteX2" fmla="*/ 18311 w 18321"/>
                  <a:gd name="connsiteY2" fmla="*/ 9699 h 18441"/>
                  <a:gd name="connsiteX3" fmla="*/ 8742 w 18321"/>
                  <a:gd name="connsiteY3" fmla="*/ 18431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50" y="3659"/>
                      <a:pt x="4556" y="-229"/>
                      <a:pt x="9580" y="10"/>
                    </a:cubicBezTo>
                    <a:cubicBezTo>
                      <a:pt x="14663" y="250"/>
                      <a:pt x="18551" y="4616"/>
                      <a:pt x="18311" y="9699"/>
                    </a:cubicBezTo>
                    <a:cubicBezTo>
                      <a:pt x="18072" y="14783"/>
                      <a:pt x="13766" y="18670"/>
                      <a:pt x="8742" y="18431"/>
                    </a:cubicBezTo>
                    <a:cubicBezTo>
                      <a:pt x="3659" y="18132"/>
                      <a:pt x="-229" y="13826"/>
                      <a:pt x="10" y="8742"/>
                    </a:cubicBezTo>
                    <a:close/>
                  </a:path>
                </a:pathLst>
              </a:custGeom>
              <a:grpFill/>
              <a:ln w="5978" cap="flat">
                <a:noFill/>
                <a:prstDash val="solid"/>
                <a:miter/>
              </a:ln>
            </p:spPr>
            <p:txBody>
              <a:bodyPr rtlCol="0" anchor="ctr"/>
              <a:lstStyle/>
              <a:p>
                <a:endParaRPr lang="en-GB"/>
              </a:p>
            </p:txBody>
          </p:sp>
          <p:sp>
            <p:nvSpPr>
              <p:cNvPr id="3817" name="Vrije vorm: vorm 3816">
                <a:extLst>
                  <a:ext uri="{FF2B5EF4-FFF2-40B4-BE49-F238E27FC236}">
                    <a16:creationId xmlns:a16="http://schemas.microsoft.com/office/drawing/2014/main" id="{030D3C09-0793-43FC-BAE3-61AC565473D0}"/>
                  </a:ext>
                </a:extLst>
              </p:cNvPr>
              <p:cNvSpPr/>
              <p:nvPr/>
            </p:nvSpPr>
            <p:spPr>
              <a:xfrm>
                <a:off x="6127498" y="1625106"/>
                <a:ext cx="18321" cy="18447"/>
              </a:xfrm>
              <a:custGeom>
                <a:avLst/>
                <a:gdLst>
                  <a:gd name="connsiteX0" fmla="*/ 10 w 18321"/>
                  <a:gd name="connsiteY0" fmla="*/ 8748 h 18447"/>
                  <a:gd name="connsiteX1" fmla="*/ 8742 w 18321"/>
                  <a:gd name="connsiteY1" fmla="*/ 18437 h 18447"/>
                  <a:gd name="connsiteX2" fmla="*/ 18311 w 18321"/>
                  <a:gd name="connsiteY2" fmla="*/ 9705 h 18447"/>
                  <a:gd name="connsiteX3" fmla="*/ 9579 w 18321"/>
                  <a:gd name="connsiteY3" fmla="*/ 16 h 18447"/>
                  <a:gd name="connsiteX4" fmla="*/ 10 w 18321"/>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7">
                    <a:moveTo>
                      <a:pt x="10" y="8748"/>
                    </a:moveTo>
                    <a:cubicBezTo>
                      <a:pt x="-229" y="13831"/>
                      <a:pt x="3718" y="18138"/>
                      <a:pt x="8742" y="18437"/>
                    </a:cubicBezTo>
                    <a:cubicBezTo>
                      <a:pt x="13826" y="18676"/>
                      <a:pt x="18072" y="14788"/>
                      <a:pt x="18311" y="9705"/>
                    </a:cubicBezTo>
                    <a:cubicBezTo>
                      <a:pt x="18550" y="4621"/>
                      <a:pt x="14663" y="315"/>
                      <a:pt x="9579" y="16"/>
                    </a:cubicBezTo>
                    <a:cubicBezTo>
                      <a:pt x="4496" y="-283"/>
                      <a:pt x="249" y="3664"/>
                      <a:pt x="10" y="8748"/>
                    </a:cubicBezTo>
                    <a:close/>
                  </a:path>
                </a:pathLst>
              </a:custGeom>
              <a:grpFill/>
              <a:ln w="5978" cap="flat">
                <a:noFill/>
                <a:prstDash val="solid"/>
                <a:miter/>
              </a:ln>
            </p:spPr>
            <p:txBody>
              <a:bodyPr rtlCol="0" anchor="ctr"/>
              <a:lstStyle/>
              <a:p>
                <a:endParaRPr lang="en-GB"/>
              </a:p>
            </p:txBody>
          </p:sp>
        </p:grpSp>
        <p:grpSp>
          <p:nvGrpSpPr>
            <p:cNvPr id="525" name="Graphic 3">
              <a:extLst>
                <a:ext uri="{FF2B5EF4-FFF2-40B4-BE49-F238E27FC236}">
                  <a16:creationId xmlns:a16="http://schemas.microsoft.com/office/drawing/2014/main" id="{24C11403-AAAC-41D9-BF43-ADFBC793D22D}"/>
                </a:ext>
              </a:extLst>
            </p:cNvPr>
            <p:cNvGrpSpPr/>
            <p:nvPr/>
          </p:nvGrpSpPr>
          <p:grpSpPr>
            <a:xfrm>
              <a:off x="6094671" y="1460826"/>
              <a:ext cx="22492" cy="172196"/>
              <a:chOff x="6094671" y="1460826"/>
              <a:chExt cx="22492" cy="172196"/>
            </a:xfrm>
            <a:grpFill/>
          </p:grpSpPr>
          <p:sp>
            <p:nvSpPr>
              <p:cNvPr id="3812" name="Vrije vorm: vorm 3811">
                <a:extLst>
                  <a:ext uri="{FF2B5EF4-FFF2-40B4-BE49-F238E27FC236}">
                    <a16:creationId xmlns:a16="http://schemas.microsoft.com/office/drawing/2014/main" id="{31F69057-8D82-4FB6-9BB4-B332735AC3A5}"/>
                  </a:ext>
                </a:extLst>
              </p:cNvPr>
              <p:cNvSpPr/>
              <p:nvPr/>
            </p:nvSpPr>
            <p:spPr>
              <a:xfrm>
                <a:off x="6102270" y="1469563"/>
                <a:ext cx="7236" cy="154721"/>
              </a:xfrm>
              <a:custGeom>
                <a:avLst/>
                <a:gdLst>
                  <a:gd name="connsiteX0" fmla="*/ 7237 w 7236"/>
                  <a:gd name="connsiteY0" fmla="*/ 60 h 154721"/>
                  <a:gd name="connsiteX1" fmla="*/ 3050 w 7236"/>
                  <a:gd name="connsiteY1" fmla="*/ 154721 h 154721"/>
                  <a:gd name="connsiteX2" fmla="*/ 0 w 7236"/>
                  <a:gd name="connsiteY2" fmla="*/ 154602 h 154721"/>
                  <a:gd name="connsiteX3" fmla="*/ 4187 w 7236"/>
                  <a:gd name="connsiteY3" fmla="*/ 0 h 154721"/>
                </a:gdLst>
                <a:ahLst/>
                <a:cxnLst>
                  <a:cxn ang="0">
                    <a:pos x="connsiteX0" y="connsiteY0"/>
                  </a:cxn>
                  <a:cxn ang="0">
                    <a:pos x="connsiteX1" y="connsiteY1"/>
                  </a:cxn>
                  <a:cxn ang="0">
                    <a:pos x="connsiteX2" y="connsiteY2"/>
                  </a:cxn>
                  <a:cxn ang="0">
                    <a:pos x="connsiteX3" y="connsiteY3"/>
                  </a:cxn>
                </a:cxnLst>
                <a:rect l="l" t="t" r="r" b="b"/>
                <a:pathLst>
                  <a:path w="7236" h="154721">
                    <a:moveTo>
                      <a:pt x="7237" y="60"/>
                    </a:moveTo>
                    <a:lnTo>
                      <a:pt x="3050" y="154721"/>
                    </a:lnTo>
                    <a:lnTo>
                      <a:pt x="0" y="154602"/>
                    </a:lnTo>
                    <a:lnTo>
                      <a:pt x="4187" y="0"/>
                    </a:lnTo>
                    <a:close/>
                  </a:path>
                </a:pathLst>
              </a:custGeom>
              <a:grpFill/>
              <a:ln w="5978" cap="flat">
                <a:noFill/>
                <a:prstDash val="solid"/>
                <a:miter/>
              </a:ln>
            </p:spPr>
            <p:txBody>
              <a:bodyPr rtlCol="0" anchor="ctr"/>
              <a:lstStyle/>
              <a:p>
                <a:endParaRPr lang="en-GB"/>
              </a:p>
            </p:txBody>
          </p:sp>
          <p:sp>
            <p:nvSpPr>
              <p:cNvPr id="3813" name="Vrije vorm: vorm 3812">
                <a:extLst>
                  <a:ext uri="{FF2B5EF4-FFF2-40B4-BE49-F238E27FC236}">
                    <a16:creationId xmlns:a16="http://schemas.microsoft.com/office/drawing/2014/main" id="{117C9DAB-3D21-4EBE-8348-450CD04FD25F}"/>
                  </a:ext>
                </a:extLst>
              </p:cNvPr>
              <p:cNvSpPr/>
              <p:nvPr/>
            </p:nvSpPr>
            <p:spPr>
              <a:xfrm>
                <a:off x="6098855" y="1460826"/>
                <a:ext cx="18309" cy="18432"/>
              </a:xfrm>
              <a:custGeom>
                <a:avLst/>
                <a:gdLst>
                  <a:gd name="connsiteX0" fmla="*/ 6 w 18309"/>
                  <a:gd name="connsiteY0" fmla="*/ 8917 h 18432"/>
                  <a:gd name="connsiteX1" fmla="*/ 9396 w 18309"/>
                  <a:gd name="connsiteY1" fmla="*/ 6 h 18432"/>
                  <a:gd name="connsiteX2" fmla="*/ 18307 w 18309"/>
                  <a:gd name="connsiteY2" fmla="*/ 9515 h 18432"/>
                  <a:gd name="connsiteX3" fmla="*/ 8917 w 18309"/>
                  <a:gd name="connsiteY3" fmla="*/ 18426 h 18432"/>
                  <a:gd name="connsiteX4" fmla="*/ 6 w 18309"/>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2">
                    <a:moveTo>
                      <a:pt x="6" y="8917"/>
                    </a:moveTo>
                    <a:cubicBezTo>
                      <a:pt x="126" y="3833"/>
                      <a:pt x="4372" y="-174"/>
                      <a:pt x="9396" y="6"/>
                    </a:cubicBezTo>
                    <a:cubicBezTo>
                      <a:pt x="14479" y="185"/>
                      <a:pt x="18427" y="4432"/>
                      <a:pt x="18307" y="9515"/>
                    </a:cubicBezTo>
                    <a:cubicBezTo>
                      <a:pt x="18187" y="14599"/>
                      <a:pt x="13941" y="18606"/>
                      <a:pt x="8917" y="18426"/>
                    </a:cubicBezTo>
                    <a:cubicBezTo>
                      <a:pt x="3834" y="18247"/>
                      <a:pt x="-173" y="14001"/>
                      <a:pt x="6" y="8917"/>
                    </a:cubicBezTo>
                    <a:close/>
                  </a:path>
                </a:pathLst>
              </a:custGeom>
              <a:grpFill/>
              <a:ln w="5978" cap="flat">
                <a:noFill/>
                <a:prstDash val="solid"/>
                <a:miter/>
              </a:ln>
            </p:spPr>
            <p:txBody>
              <a:bodyPr rtlCol="0" anchor="ctr"/>
              <a:lstStyle/>
              <a:p>
                <a:endParaRPr lang="en-GB"/>
              </a:p>
            </p:txBody>
          </p:sp>
          <p:sp>
            <p:nvSpPr>
              <p:cNvPr id="3814" name="Vrije vorm: vorm 3813">
                <a:extLst>
                  <a:ext uri="{FF2B5EF4-FFF2-40B4-BE49-F238E27FC236}">
                    <a16:creationId xmlns:a16="http://schemas.microsoft.com/office/drawing/2014/main" id="{56CA2BD4-31E8-4927-BDF1-CE77B19BC1F4}"/>
                  </a:ext>
                </a:extLst>
              </p:cNvPr>
              <p:cNvSpPr/>
              <p:nvPr/>
            </p:nvSpPr>
            <p:spPr>
              <a:xfrm>
                <a:off x="6094671" y="1614590"/>
                <a:ext cx="18306" cy="18432"/>
              </a:xfrm>
              <a:custGeom>
                <a:avLst/>
                <a:gdLst>
                  <a:gd name="connsiteX0" fmla="*/ 3 w 18306"/>
                  <a:gd name="connsiteY0" fmla="*/ 8917 h 18432"/>
                  <a:gd name="connsiteX1" fmla="*/ 8914 w 18306"/>
                  <a:gd name="connsiteY1" fmla="*/ 18426 h 18432"/>
                  <a:gd name="connsiteX2" fmla="*/ 18304 w 18306"/>
                  <a:gd name="connsiteY2" fmla="*/ 9515 h 18432"/>
                  <a:gd name="connsiteX3" fmla="*/ 9392 w 18306"/>
                  <a:gd name="connsiteY3" fmla="*/ 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17" y="14001"/>
                      <a:pt x="3830" y="18247"/>
                      <a:pt x="8914" y="18426"/>
                    </a:cubicBezTo>
                    <a:cubicBezTo>
                      <a:pt x="13998" y="18606"/>
                      <a:pt x="18184" y="14599"/>
                      <a:pt x="18304" y="9515"/>
                    </a:cubicBezTo>
                    <a:cubicBezTo>
                      <a:pt x="18423" y="4431"/>
                      <a:pt x="14476" y="185"/>
                      <a:pt x="9392" y="6"/>
                    </a:cubicBezTo>
                    <a:cubicBezTo>
                      <a:pt x="4369" y="-174"/>
                      <a:pt x="122" y="3833"/>
                      <a:pt x="3" y="8917"/>
                    </a:cubicBezTo>
                    <a:close/>
                  </a:path>
                </a:pathLst>
              </a:custGeom>
              <a:grpFill/>
              <a:ln w="5978" cap="flat">
                <a:noFill/>
                <a:prstDash val="solid"/>
                <a:miter/>
              </a:ln>
            </p:spPr>
            <p:txBody>
              <a:bodyPr rtlCol="0" anchor="ctr"/>
              <a:lstStyle/>
              <a:p>
                <a:endParaRPr lang="en-GB"/>
              </a:p>
            </p:txBody>
          </p:sp>
        </p:grpSp>
        <p:grpSp>
          <p:nvGrpSpPr>
            <p:cNvPr id="526" name="Graphic 3">
              <a:extLst>
                <a:ext uri="{FF2B5EF4-FFF2-40B4-BE49-F238E27FC236}">
                  <a16:creationId xmlns:a16="http://schemas.microsoft.com/office/drawing/2014/main" id="{42C9B158-2DA7-41CC-979B-851FE7D68A68}"/>
                </a:ext>
              </a:extLst>
            </p:cNvPr>
            <p:cNvGrpSpPr/>
            <p:nvPr/>
          </p:nvGrpSpPr>
          <p:grpSpPr>
            <a:xfrm>
              <a:off x="7140127" y="4694048"/>
              <a:ext cx="125270" cy="144073"/>
              <a:chOff x="7140127" y="4694048"/>
              <a:chExt cx="125270" cy="144073"/>
            </a:xfrm>
            <a:grpFill/>
          </p:grpSpPr>
          <p:sp>
            <p:nvSpPr>
              <p:cNvPr id="3809" name="Vrije vorm: vorm 3808">
                <a:extLst>
                  <a:ext uri="{FF2B5EF4-FFF2-40B4-BE49-F238E27FC236}">
                    <a16:creationId xmlns:a16="http://schemas.microsoft.com/office/drawing/2014/main" id="{720CDF2A-0ED9-4464-8F73-4689D8A1F61C}"/>
                  </a:ext>
                </a:extLst>
              </p:cNvPr>
              <p:cNvSpPr/>
              <p:nvPr/>
            </p:nvSpPr>
            <p:spPr>
              <a:xfrm>
                <a:off x="7147819" y="4701904"/>
                <a:ext cx="109866" cy="128405"/>
              </a:xfrm>
              <a:custGeom>
                <a:avLst/>
                <a:gdLst>
                  <a:gd name="connsiteX0" fmla="*/ 109867 w 109866"/>
                  <a:gd name="connsiteY0" fmla="*/ 126372 h 128405"/>
                  <a:gd name="connsiteX1" fmla="*/ 107534 w 109866"/>
                  <a:gd name="connsiteY1" fmla="*/ 128406 h 128405"/>
                  <a:gd name="connsiteX2" fmla="*/ 0 w 109866"/>
                  <a:gd name="connsiteY2" fmla="*/ 1973 h 128405"/>
                  <a:gd name="connsiteX3" fmla="*/ 2333 w 109866"/>
                  <a:gd name="connsiteY3" fmla="*/ 0 h 128405"/>
                </a:gdLst>
                <a:ahLst/>
                <a:cxnLst>
                  <a:cxn ang="0">
                    <a:pos x="connsiteX0" y="connsiteY0"/>
                  </a:cxn>
                  <a:cxn ang="0">
                    <a:pos x="connsiteX1" y="connsiteY1"/>
                  </a:cxn>
                  <a:cxn ang="0">
                    <a:pos x="connsiteX2" y="connsiteY2"/>
                  </a:cxn>
                  <a:cxn ang="0">
                    <a:pos x="connsiteX3" y="connsiteY3"/>
                  </a:cxn>
                </a:cxnLst>
                <a:rect l="l" t="t" r="r" b="b"/>
                <a:pathLst>
                  <a:path w="109866" h="128405">
                    <a:moveTo>
                      <a:pt x="109867" y="126372"/>
                    </a:moveTo>
                    <a:lnTo>
                      <a:pt x="107534" y="128406"/>
                    </a:lnTo>
                    <a:lnTo>
                      <a:pt x="0" y="1973"/>
                    </a:lnTo>
                    <a:lnTo>
                      <a:pt x="2333" y="0"/>
                    </a:lnTo>
                    <a:close/>
                  </a:path>
                </a:pathLst>
              </a:custGeom>
              <a:grpFill/>
              <a:ln w="5978" cap="flat">
                <a:noFill/>
                <a:prstDash val="solid"/>
                <a:miter/>
              </a:ln>
            </p:spPr>
            <p:txBody>
              <a:bodyPr rtlCol="0" anchor="ctr"/>
              <a:lstStyle/>
              <a:p>
                <a:endParaRPr lang="en-GB"/>
              </a:p>
            </p:txBody>
          </p:sp>
          <p:sp>
            <p:nvSpPr>
              <p:cNvPr id="3810" name="Vrije vorm: vorm 3809">
                <a:extLst>
                  <a:ext uri="{FF2B5EF4-FFF2-40B4-BE49-F238E27FC236}">
                    <a16:creationId xmlns:a16="http://schemas.microsoft.com/office/drawing/2014/main" id="{9F40F8D6-70BA-410F-8121-BE98C550606D}"/>
                  </a:ext>
                </a:extLst>
              </p:cNvPr>
              <p:cNvSpPr/>
              <p:nvPr/>
            </p:nvSpPr>
            <p:spPr>
              <a:xfrm>
                <a:off x="7247037" y="4819747"/>
                <a:ext cx="18360" cy="18374"/>
              </a:xfrm>
              <a:custGeom>
                <a:avLst/>
                <a:gdLst>
                  <a:gd name="connsiteX0" fmla="*/ 16150 w 18360"/>
                  <a:gd name="connsiteY0" fmla="*/ 3207 h 18374"/>
                  <a:gd name="connsiteX1" fmla="*/ 15134 w 18360"/>
                  <a:gd name="connsiteY1" fmla="*/ 16185 h 18374"/>
                  <a:gd name="connsiteX2" fmla="*/ 2215 w 18360"/>
                  <a:gd name="connsiteY2" fmla="*/ 15168 h 18374"/>
                  <a:gd name="connsiteX3" fmla="*/ 3173 w 18360"/>
                  <a:gd name="connsiteY3" fmla="*/ 2190 h 18374"/>
                  <a:gd name="connsiteX4" fmla="*/ 16150 w 18360"/>
                  <a:gd name="connsiteY4" fmla="*/ 3207 h 1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374">
                    <a:moveTo>
                      <a:pt x="16150" y="3207"/>
                    </a:moveTo>
                    <a:cubicBezTo>
                      <a:pt x="19440" y="7094"/>
                      <a:pt x="19021" y="12896"/>
                      <a:pt x="15134" y="16185"/>
                    </a:cubicBezTo>
                    <a:cubicBezTo>
                      <a:pt x="11306" y="19474"/>
                      <a:pt x="5504" y="18996"/>
                      <a:pt x="2215" y="15168"/>
                    </a:cubicBezTo>
                    <a:cubicBezTo>
                      <a:pt x="-1074" y="11281"/>
                      <a:pt x="-655" y="5480"/>
                      <a:pt x="3173" y="2190"/>
                    </a:cubicBezTo>
                    <a:cubicBezTo>
                      <a:pt x="7059" y="-1100"/>
                      <a:pt x="12861" y="-621"/>
                      <a:pt x="16150" y="3207"/>
                    </a:cubicBezTo>
                    <a:close/>
                  </a:path>
                </a:pathLst>
              </a:custGeom>
              <a:grpFill/>
              <a:ln w="5978" cap="flat">
                <a:noFill/>
                <a:prstDash val="solid"/>
                <a:miter/>
              </a:ln>
            </p:spPr>
            <p:txBody>
              <a:bodyPr rtlCol="0" anchor="ctr"/>
              <a:lstStyle/>
              <a:p>
                <a:endParaRPr lang="en-GB"/>
              </a:p>
            </p:txBody>
          </p:sp>
          <p:sp>
            <p:nvSpPr>
              <p:cNvPr id="3811" name="Vrije vorm: vorm 3810">
                <a:extLst>
                  <a:ext uri="{FF2B5EF4-FFF2-40B4-BE49-F238E27FC236}">
                    <a16:creationId xmlns:a16="http://schemas.microsoft.com/office/drawing/2014/main" id="{5B3D3B34-224A-480C-93A9-1B058CC50FED}"/>
                  </a:ext>
                </a:extLst>
              </p:cNvPr>
              <p:cNvSpPr/>
              <p:nvPr/>
            </p:nvSpPr>
            <p:spPr>
              <a:xfrm>
                <a:off x="7140127" y="4694048"/>
                <a:ext cx="18334" cy="18463"/>
              </a:xfrm>
              <a:custGeom>
                <a:avLst/>
                <a:gdLst>
                  <a:gd name="connsiteX0" fmla="*/ 16125 w 18334"/>
                  <a:gd name="connsiteY0" fmla="*/ 3251 h 18463"/>
                  <a:gd name="connsiteX1" fmla="*/ 3206 w 18334"/>
                  <a:gd name="connsiteY1" fmla="*/ 2234 h 18463"/>
                  <a:gd name="connsiteX2" fmla="*/ 2190 w 18334"/>
                  <a:gd name="connsiteY2" fmla="*/ 15212 h 18463"/>
                  <a:gd name="connsiteX3" fmla="*/ 15109 w 18334"/>
                  <a:gd name="connsiteY3" fmla="*/ 16229 h 18463"/>
                  <a:gd name="connsiteX4" fmla="*/ 16125 w 18334"/>
                  <a:gd name="connsiteY4" fmla="*/ 32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3">
                    <a:moveTo>
                      <a:pt x="16125" y="3251"/>
                    </a:moveTo>
                    <a:cubicBezTo>
                      <a:pt x="12836" y="-637"/>
                      <a:pt x="7034" y="-1115"/>
                      <a:pt x="3206" y="2234"/>
                    </a:cubicBezTo>
                    <a:cubicBezTo>
                      <a:pt x="-621" y="5524"/>
                      <a:pt x="-1100" y="11325"/>
                      <a:pt x="2190" y="15212"/>
                    </a:cubicBezTo>
                    <a:cubicBezTo>
                      <a:pt x="5479" y="19100"/>
                      <a:pt x="11281" y="19578"/>
                      <a:pt x="15109" y="16229"/>
                    </a:cubicBezTo>
                    <a:cubicBezTo>
                      <a:pt x="18995" y="12940"/>
                      <a:pt x="19415" y="7079"/>
                      <a:pt x="16125" y="3251"/>
                    </a:cubicBezTo>
                    <a:close/>
                  </a:path>
                </a:pathLst>
              </a:custGeom>
              <a:grpFill/>
              <a:ln w="5978" cap="flat">
                <a:noFill/>
                <a:prstDash val="solid"/>
                <a:miter/>
              </a:ln>
            </p:spPr>
            <p:txBody>
              <a:bodyPr rtlCol="0" anchor="ctr"/>
              <a:lstStyle/>
              <a:p>
                <a:endParaRPr lang="en-GB"/>
              </a:p>
            </p:txBody>
          </p:sp>
        </p:grpSp>
        <p:grpSp>
          <p:nvGrpSpPr>
            <p:cNvPr id="527" name="Graphic 3">
              <a:extLst>
                <a:ext uri="{FF2B5EF4-FFF2-40B4-BE49-F238E27FC236}">
                  <a16:creationId xmlns:a16="http://schemas.microsoft.com/office/drawing/2014/main" id="{4569EFCA-DBB8-4C86-927F-A4C8432E3BD6}"/>
                </a:ext>
              </a:extLst>
            </p:cNvPr>
            <p:cNvGrpSpPr/>
            <p:nvPr/>
          </p:nvGrpSpPr>
          <p:grpSpPr>
            <a:xfrm>
              <a:off x="7110423" y="4708473"/>
              <a:ext cx="281153" cy="399800"/>
              <a:chOff x="7110423" y="4708473"/>
              <a:chExt cx="281153" cy="399800"/>
            </a:xfrm>
            <a:grpFill/>
          </p:grpSpPr>
          <p:sp>
            <p:nvSpPr>
              <p:cNvPr id="3806" name="Vrije vorm: vorm 3805">
                <a:extLst>
                  <a:ext uri="{FF2B5EF4-FFF2-40B4-BE49-F238E27FC236}">
                    <a16:creationId xmlns:a16="http://schemas.microsoft.com/office/drawing/2014/main" id="{6A4EC290-BE57-4776-9740-171590EB9975}"/>
                  </a:ext>
                </a:extLst>
              </p:cNvPr>
              <p:cNvSpPr/>
              <p:nvPr/>
            </p:nvSpPr>
            <p:spPr>
              <a:xfrm>
                <a:off x="7118095" y="4716437"/>
                <a:ext cx="265843" cy="383902"/>
              </a:xfrm>
              <a:custGeom>
                <a:avLst/>
                <a:gdLst>
                  <a:gd name="connsiteX0" fmla="*/ 265844 w 265843"/>
                  <a:gd name="connsiteY0" fmla="*/ 382108 h 383902"/>
                  <a:gd name="connsiteX1" fmla="*/ 263331 w 265843"/>
                  <a:gd name="connsiteY1" fmla="*/ 383903 h 383902"/>
                  <a:gd name="connsiteX2" fmla="*/ 0 w 265843"/>
                  <a:gd name="connsiteY2" fmla="*/ 1734 h 383902"/>
                  <a:gd name="connsiteX3" fmla="*/ 2512 w 265843"/>
                  <a:gd name="connsiteY3" fmla="*/ 0 h 383902"/>
                </a:gdLst>
                <a:ahLst/>
                <a:cxnLst>
                  <a:cxn ang="0">
                    <a:pos x="connsiteX0" y="connsiteY0"/>
                  </a:cxn>
                  <a:cxn ang="0">
                    <a:pos x="connsiteX1" y="connsiteY1"/>
                  </a:cxn>
                  <a:cxn ang="0">
                    <a:pos x="connsiteX2" y="connsiteY2"/>
                  </a:cxn>
                  <a:cxn ang="0">
                    <a:pos x="connsiteX3" y="connsiteY3"/>
                  </a:cxn>
                </a:cxnLst>
                <a:rect l="l" t="t" r="r" b="b"/>
                <a:pathLst>
                  <a:path w="265843" h="383902">
                    <a:moveTo>
                      <a:pt x="265844" y="382108"/>
                    </a:moveTo>
                    <a:lnTo>
                      <a:pt x="263331" y="383903"/>
                    </a:lnTo>
                    <a:lnTo>
                      <a:pt x="0" y="1734"/>
                    </a:lnTo>
                    <a:lnTo>
                      <a:pt x="2512" y="0"/>
                    </a:lnTo>
                    <a:close/>
                  </a:path>
                </a:pathLst>
              </a:custGeom>
              <a:grpFill/>
              <a:ln w="5978" cap="flat">
                <a:noFill/>
                <a:prstDash val="solid"/>
                <a:miter/>
              </a:ln>
            </p:spPr>
            <p:txBody>
              <a:bodyPr rtlCol="0" anchor="ctr"/>
              <a:lstStyle/>
              <a:p>
                <a:endParaRPr lang="en-GB"/>
              </a:p>
            </p:txBody>
          </p:sp>
          <p:sp>
            <p:nvSpPr>
              <p:cNvPr id="3807" name="Vrije vorm: vorm 3806">
                <a:extLst>
                  <a:ext uri="{FF2B5EF4-FFF2-40B4-BE49-F238E27FC236}">
                    <a16:creationId xmlns:a16="http://schemas.microsoft.com/office/drawing/2014/main" id="{E01AF56D-2BE9-4338-950F-0B6899D6C1F8}"/>
                  </a:ext>
                </a:extLst>
              </p:cNvPr>
              <p:cNvSpPr/>
              <p:nvPr/>
            </p:nvSpPr>
            <p:spPr>
              <a:xfrm>
                <a:off x="7110423" y="4708473"/>
                <a:ext cx="18274" cy="18424"/>
              </a:xfrm>
              <a:custGeom>
                <a:avLst/>
                <a:gdLst>
                  <a:gd name="connsiteX0" fmla="*/ 1631 w 18274"/>
                  <a:gd name="connsiteY0" fmla="*/ 14423 h 18424"/>
                  <a:gd name="connsiteX1" fmla="*/ 3904 w 18274"/>
                  <a:gd name="connsiteY1" fmla="*/ 1625 h 18424"/>
                  <a:gd name="connsiteX2" fmla="*/ 16643 w 18274"/>
                  <a:gd name="connsiteY2" fmla="*/ 4017 h 18424"/>
                  <a:gd name="connsiteX3" fmla="*/ 14370 w 18274"/>
                  <a:gd name="connsiteY3" fmla="*/ 16816 h 18424"/>
                  <a:gd name="connsiteX4" fmla="*/ 1631 w 18274"/>
                  <a:gd name="connsiteY4" fmla="*/ 1442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24">
                    <a:moveTo>
                      <a:pt x="1631" y="14423"/>
                    </a:moveTo>
                    <a:cubicBezTo>
                      <a:pt x="-1239" y="10237"/>
                      <a:pt x="-222" y="4495"/>
                      <a:pt x="3904" y="1625"/>
                    </a:cubicBezTo>
                    <a:cubicBezTo>
                      <a:pt x="8031" y="-1246"/>
                      <a:pt x="13772" y="-229"/>
                      <a:pt x="16643" y="4017"/>
                    </a:cubicBezTo>
                    <a:cubicBezTo>
                      <a:pt x="19514" y="8203"/>
                      <a:pt x="18497" y="13945"/>
                      <a:pt x="14370" y="16816"/>
                    </a:cubicBezTo>
                    <a:cubicBezTo>
                      <a:pt x="10244" y="19686"/>
                      <a:pt x="4562" y="18610"/>
                      <a:pt x="1631" y="14423"/>
                    </a:cubicBezTo>
                    <a:close/>
                  </a:path>
                </a:pathLst>
              </a:custGeom>
              <a:grpFill/>
              <a:ln w="5978" cap="flat">
                <a:noFill/>
                <a:prstDash val="solid"/>
                <a:miter/>
              </a:ln>
            </p:spPr>
            <p:txBody>
              <a:bodyPr rtlCol="0" anchor="ctr"/>
              <a:lstStyle/>
              <a:p>
                <a:endParaRPr lang="en-GB"/>
              </a:p>
            </p:txBody>
          </p:sp>
          <p:sp>
            <p:nvSpPr>
              <p:cNvPr id="3808" name="Vrije vorm: vorm 3807">
                <a:extLst>
                  <a:ext uri="{FF2B5EF4-FFF2-40B4-BE49-F238E27FC236}">
                    <a16:creationId xmlns:a16="http://schemas.microsoft.com/office/drawing/2014/main" id="{177BC451-882F-4378-8B21-DE74A464A480}"/>
                  </a:ext>
                </a:extLst>
              </p:cNvPr>
              <p:cNvSpPr/>
              <p:nvPr/>
            </p:nvSpPr>
            <p:spPr>
              <a:xfrm>
                <a:off x="7373276" y="5089834"/>
                <a:ext cx="18300" cy="18439"/>
              </a:xfrm>
              <a:custGeom>
                <a:avLst/>
                <a:gdLst>
                  <a:gd name="connsiteX0" fmla="*/ 1631 w 18300"/>
                  <a:gd name="connsiteY0" fmla="*/ 14453 h 18439"/>
                  <a:gd name="connsiteX1" fmla="*/ 14370 w 18300"/>
                  <a:gd name="connsiteY1" fmla="*/ 16786 h 18439"/>
                  <a:gd name="connsiteX2" fmla="*/ 16643 w 18300"/>
                  <a:gd name="connsiteY2" fmla="*/ 3987 h 18439"/>
                  <a:gd name="connsiteX3" fmla="*/ 3904 w 18300"/>
                  <a:gd name="connsiteY3" fmla="*/ 1654 h 18439"/>
                  <a:gd name="connsiteX4" fmla="*/ 1631 w 18300"/>
                  <a:gd name="connsiteY4" fmla="*/ 14453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39">
                    <a:moveTo>
                      <a:pt x="1631" y="14453"/>
                    </a:moveTo>
                    <a:cubicBezTo>
                      <a:pt x="4502" y="18640"/>
                      <a:pt x="10243" y="19716"/>
                      <a:pt x="14370" y="16786"/>
                    </a:cubicBezTo>
                    <a:cubicBezTo>
                      <a:pt x="18497" y="13915"/>
                      <a:pt x="19574" y="8173"/>
                      <a:pt x="16643" y="3987"/>
                    </a:cubicBezTo>
                    <a:cubicBezTo>
                      <a:pt x="13772" y="-200"/>
                      <a:pt x="8031" y="-1276"/>
                      <a:pt x="3904" y="1654"/>
                    </a:cubicBezTo>
                    <a:cubicBezTo>
                      <a:pt x="-223" y="4525"/>
                      <a:pt x="-1239" y="10266"/>
                      <a:pt x="1631" y="14453"/>
                    </a:cubicBezTo>
                    <a:close/>
                  </a:path>
                </a:pathLst>
              </a:custGeom>
              <a:grpFill/>
              <a:ln w="5978" cap="flat">
                <a:noFill/>
                <a:prstDash val="solid"/>
                <a:miter/>
              </a:ln>
            </p:spPr>
            <p:txBody>
              <a:bodyPr rtlCol="0" anchor="ctr"/>
              <a:lstStyle/>
              <a:p>
                <a:endParaRPr lang="en-GB"/>
              </a:p>
            </p:txBody>
          </p:sp>
        </p:grpSp>
        <p:grpSp>
          <p:nvGrpSpPr>
            <p:cNvPr id="528" name="Graphic 3">
              <a:extLst>
                <a:ext uri="{FF2B5EF4-FFF2-40B4-BE49-F238E27FC236}">
                  <a16:creationId xmlns:a16="http://schemas.microsoft.com/office/drawing/2014/main" id="{617A5DA0-95A1-4BBA-A300-B262B63276BC}"/>
                </a:ext>
              </a:extLst>
            </p:cNvPr>
            <p:cNvGrpSpPr/>
            <p:nvPr/>
          </p:nvGrpSpPr>
          <p:grpSpPr>
            <a:xfrm>
              <a:off x="7196038" y="4866093"/>
              <a:ext cx="100134" cy="122175"/>
              <a:chOff x="7196038" y="4866093"/>
              <a:chExt cx="100134" cy="122175"/>
            </a:xfrm>
            <a:grpFill/>
          </p:grpSpPr>
          <p:sp>
            <p:nvSpPr>
              <p:cNvPr id="3803" name="Vrije vorm: vorm 3802">
                <a:extLst>
                  <a:ext uri="{FF2B5EF4-FFF2-40B4-BE49-F238E27FC236}">
                    <a16:creationId xmlns:a16="http://schemas.microsoft.com/office/drawing/2014/main" id="{C8A3E56A-0CFE-41F6-AEA3-AAE652AC2A62}"/>
                  </a:ext>
                </a:extLst>
              </p:cNvPr>
              <p:cNvSpPr/>
              <p:nvPr/>
            </p:nvSpPr>
            <p:spPr>
              <a:xfrm>
                <a:off x="7203740" y="4873969"/>
                <a:ext cx="84746" cy="106397"/>
              </a:xfrm>
              <a:custGeom>
                <a:avLst/>
                <a:gdLst>
                  <a:gd name="connsiteX0" fmla="*/ 84746 w 84746"/>
                  <a:gd name="connsiteY0" fmla="*/ 104483 h 106397"/>
                  <a:gd name="connsiteX1" fmla="*/ 82355 w 84746"/>
                  <a:gd name="connsiteY1" fmla="*/ 106397 h 106397"/>
                  <a:gd name="connsiteX2" fmla="*/ 0 w 84746"/>
                  <a:gd name="connsiteY2" fmla="*/ 1914 h 106397"/>
                  <a:gd name="connsiteX3" fmla="*/ 2392 w 84746"/>
                  <a:gd name="connsiteY3" fmla="*/ 0 h 106397"/>
                </a:gdLst>
                <a:ahLst/>
                <a:cxnLst>
                  <a:cxn ang="0">
                    <a:pos x="connsiteX0" y="connsiteY0"/>
                  </a:cxn>
                  <a:cxn ang="0">
                    <a:pos x="connsiteX1" y="connsiteY1"/>
                  </a:cxn>
                  <a:cxn ang="0">
                    <a:pos x="connsiteX2" y="connsiteY2"/>
                  </a:cxn>
                  <a:cxn ang="0">
                    <a:pos x="connsiteX3" y="connsiteY3"/>
                  </a:cxn>
                </a:cxnLst>
                <a:rect l="l" t="t" r="r" b="b"/>
                <a:pathLst>
                  <a:path w="84746" h="106397">
                    <a:moveTo>
                      <a:pt x="84746" y="104483"/>
                    </a:moveTo>
                    <a:lnTo>
                      <a:pt x="82355" y="106397"/>
                    </a:lnTo>
                    <a:lnTo>
                      <a:pt x="0" y="1914"/>
                    </a:lnTo>
                    <a:lnTo>
                      <a:pt x="2392" y="0"/>
                    </a:lnTo>
                    <a:close/>
                  </a:path>
                </a:pathLst>
              </a:custGeom>
              <a:grpFill/>
              <a:ln w="5978" cap="flat">
                <a:noFill/>
                <a:prstDash val="solid"/>
                <a:miter/>
              </a:ln>
            </p:spPr>
            <p:txBody>
              <a:bodyPr rtlCol="0" anchor="ctr"/>
              <a:lstStyle/>
              <a:p>
                <a:endParaRPr lang="en-GB"/>
              </a:p>
            </p:txBody>
          </p:sp>
          <p:sp>
            <p:nvSpPr>
              <p:cNvPr id="3804" name="Vrije vorm: vorm 3803">
                <a:extLst>
                  <a:ext uri="{FF2B5EF4-FFF2-40B4-BE49-F238E27FC236}">
                    <a16:creationId xmlns:a16="http://schemas.microsoft.com/office/drawing/2014/main" id="{04BE5357-7DAE-43A4-966A-74DAF9D57F26}"/>
                  </a:ext>
                </a:extLst>
              </p:cNvPr>
              <p:cNvSpPr/>
              <p:nvPr/>
            </p:nvSpPr>
            <p:spPr>
              <a:xfrm>
                <a:off x="7277810" y="4969833"/>
                <a:ext cx="18361" cy="18435"/>
              </a:xfrm>
              <a:custGeom>
                <a:avLst/>
                <a:gdLst>
                  <a:gd name="connsiteX0" fmla="*/ 16358 w 18361"/>
                  <a:gd name="connsiteY0" fmla="*/ 3536 h 18435"/>
                  <a:gd name="connsiteX1" fmla="*/ 14863 w 18361"/>
                  <a:gd name="connsiteY1" fmla="*/ 16454 h 18435"/>
                  <a:gd name="connsiteX2" fmla="*/ 2004 w 18361"/>
                  <a:gd name="connsiteY2" fmla="*/ 14899 h 18435"/>
                  <a:gd name="connsiteX3" fmla="*/ 3499 w 18361"/>
                  <a:gd name="connsiteY3" fmla="*/ 1981 h 18435"/>
                  <a:gd name="connsiteX4" fmla="*/ 16358 w 18361"/>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35">
                    <a:moveTo>
                      <a:pt x="16358" y="3536"/>
                    </a:moveTo>
                    <a:cubicBezTo>
                      <a:pt x="19527" y="7543"/>
                      <a:pt x="18870" y="13344"/>
                      <a:pt x="14863" y="16454"/>
                    </a:cubicBezTo>
                    <a:cubicBezTo>
                      <a:pt x="10915" y="19624"/>
                      <a:pt x="5114" y="18906"/>
                      <a:pt x="2004" y="14899"/>
                    </a:cubicBezTo>
                    <a:cubicBezTo>
                      <a:pt x="-1166" y="10892"/>
                      <a:pt x="-508" y="5091"/>
                      <a:pt x="3499" y="1981"/>
                    </a:cubicBezTo>
                    <a:cubicBezTo>
                      <a:pt x="7447" y="-1189"/>
                      <a:pt x="13248" y="-471"/>
                      <a:pt x="16358" y="3536"/>
                    </a:cubicBezTo>
                    <a:close/>
                  </a:path>
                </a:pathLst>
              </a:custGeom>
              <a:grpFill/>
              <a:ln w="5978" cap="flat">
                <a:noFill/>
                <a:prstDash val="solid"/>
                <a:miter/>
              </a:ln>
            </p:spPr>
            <p:txBody>
              <a:bodyPr rtlCol="0" anchor="ctr"/>
              <a:lstStyle/>
              <a:p>
                <a:endParaRPr lang="en-GB"/>
              </a:p>
            </p:txBody>
          </p:sp>
          <p:sp>
            <p:nvSpPr>
              <p:cNvPr id="3805" name="Vrije vorm: vorm 3804">
                <a:extLst>
                  <a:ext uri="{FF2B5EF4-FFF2-40B4-BE49-F238E27FC236}">
                    <a16:creationId xmlns:a16="http://schemas.microsoft.com/office/drawing/2014/main" id="{C88DCD10-7842-4F6A-BE7E-BB1B93E31CA2}"/>
                  </a:ext>
                </a:extLst>
              </p:cNvPr>
              <p:cNvSpPr/>
              <p:nvPr/>
            </p:nvSpPr>
            <p:spPr>
              <a:xfrm>
                <a:off x="7196038" y="4866093"/>
                <a:ext cx="18299" cy="18384"/>
              </a:xfrm>
              <a:custGeom>
                <a:avLst/>
                <a:gdLst>
                  <a:gd name="connsiteX0" fmla="*/ 16314 w 18299"/>
                  <a:gd name="connsiteY0" fmla="*/ 3511 h 18384"/>
                  <a:gd name="connsiteX1" fmla="*/ 3455 w 18299"/>
                  <a:gd name="connsiteY1" fmla="*/ 1956 h 18384"/>
                  <a:gd name="connsiteX2" fmla="*/ 1960 w 18299"/>
                  <a:gd name="connsiteY2" fmla="*/ 14874 h 18384"/>
                  <a:gd name="connsiteX3" fmla="*/ 14819 w 18299"/>
                  <a:gd name="connsiteY3" fmla="*/ 16429 h 18384"/>
                  <a:gd name="connsiteX4" fmla="*/ 16314 w 18299"/>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84">
                    <a:moveTo>
                      <a:pt x="16314" y="3511"/>
                    </a:moveTo>
                    <a:cubicBezTo>
                      <a:pt x="13144" y="-496"/>
                      <a:pt x="7402" y="-1154"/>
                      <a:pt x="3455" y="1956"/>
                    </a:cubicBezTo>
                    <a:cubicBezTo>
                      <a:pt x="-492" y="5126"/>
                      <a:pt x="-1150" y="10927"/>
                      <a:pt x="1960" y="14874"/>
                    </a:cubicBezTo>
                    <a:cubicBezTo>
                      <a:pt x="5130" y="18881"/>
                      <a:pt x="10871" y="19539"/>
                      <a:pt x="14819" y="16429"/>
                    </a:cubicBezTo>
                    <a:cubicBezTo>
                      <a:pt x="18766" y="13319"/>
                      <a:pt x="19484" y="7458"/>
                      <a:pt x="16314" y="3511"/>
                    </a:cubicBezTo>
                    <a:close/>
                  </a:path>
                </a:pathLst>
              </a:custGeom>
              <a:grpFill/>
              <a:ln w="5978" cap="flat">
                <a:noFill/>
                <a:prstDash val="solid"/>
                <a:miter/>
              </a:ln>
            </p:spPr>
            <p:txBody>
              <a:bodyPr rtlCol="0" anchor="ctr"/>
              <a:lstStyle/>
              <a:p>
                <a:endParaRPr lang="en-GB"/>
              </a:p>
            </p:txBody>
          </p:sp>
        </p:grpSp>
        <p:grpSp>
          <p:nvGrpSpPr>
            <p:cNvPr id="529" name="Graphic 3">
              <a:extLst>
                <a:ext uri="{FF2B5EF4-FFF2-40B4-BE49-F238E27FC236}">
                  <a16:creationId xmlns:a16="http://schemas.microsoft.com/office/drawing/2014/main" id="{61D49486-D019-4EBE-AAA1-292A86845B0A}"/>
                </a:ext>
              </a:extLst>
            </p:cNvPr>
            <p:cNvGrpSpPr/>
            <p:nvPr/>
          </p:nvGrpSpPr>
          <p:grpSpPr>
            <a:xfrm>
              <a:off x="7232199" y="4970733"/>
              <a:ext cx="89327" cy="111908"/>
              <a:chOff x="7232199" y="4970733"/>
              <a:chExt cx="89327" cy="111908"/>
            </a:xfrm>
            <a:grpFill/>
          </p:grpSpPr>
          <p:sp>
            <p:nvSpPr>
              <p:cNvPr id="3800" name="Vrije vorm: vorm 3799">
                <a:extLst>
                  <a:ext uri="{FF2B5EF4-FFF2-40B4-BE49-F238E27FC236}">
                    <a16:creationId xmlns:a16="http://schemas.microsoft.com/office/drawing/2014/main" id="{9149A600-EE6F-4714-838F-967BCB2E4D17}"/>
                  </a:ext>
                </a:extLst>
              </p:cNvPr>
              <p:cNvSpPr/>
              <p:nvPr/>
            </p:nvSpPr>
            <p:spPr>
              <a:xfrm>
                <a:off x="7239922" y="4978632"/>
                <a:ext cx="73921" cy="96110"/>
              </a:xfrm>
              <a:custGeom>
                <a:avLst/>
                <a:gdLst>
                  <a:gd name="connsiteX0" fmla="*/ 73922 w 73921"/>
                  <a:gd name="connsiteY0" fmla="*/ 94256 h 96110"/>
                  <a:gd name="connsiteX1" fmla="*/ 71470 w 73921"/>
                  <a:gd name="connsiteY1" fmla="*/ 96110 h 96110"/>
                  <a:gd name="connsiteX2" fmla="*/ 0 w 73921"/>
                  <a:gd name="connsiteY2" fmla="*/ 1854 h 96110"/>
                  <a:gd name="connsiteX3" fmla="*/ 2392 w 73921"/>
                  <a:gd name="connsiteY3" fmla="*/ 0 h 96110"/>
                </a:gdLst>
                <a:ahLst/>
                <a:cxnLst>
                  <a:cxn ang="0">
                    <a:pos x="connsiteX0" y="connsiteY0"/>
                  </a:cxn>
                  <a:cxn ang="0">
                    <a:pos x="connsiteX1" y="connsiteY1"/>
                  </a:cxn>
                  <a:cxn ang="0">
                    <a:pos x="connsiteX2" y="connsiteY2"/>
                  </a:cxn>
                  <a:cxn ang="0">
                    <a:pos x="connsiteX3" y="connsiteY3"/>
                  </a:cxn>
                </a:cxnLst>
                <a:rect l="l" t="t" r="r" b="b"/>
                <a:pathLst>
                  <a:path w="73921" h="96110">
                    <a:moveTo>
                      <a:pt x="73922" y="94256"/>
                    </a:moveTo>
                    <a:lnTo>
                      <a:pt x="71470" y="96110"/>
                    </a:lnTo>
                    <a:lnTo>
                      <a:pt x="0" y="1854"/>
                    </a:lnTo>
                    <a:lnTo>
                      <a:pt x="2392" y="0"/>
                    </a:lnTo>
                    <a:close/>
                  </a:path>
                </a:pathLst>
              </a:custGeom>
              <a:grpFill/>
              <a:ln w="5978" cap="flat">
                <a:noFill/>
                <a:prstDash val="solid"/>
                <a:miter/>
              </a:ln>
            </p:spPr>
            <p:txBody>
              <a:bodyPr rtlCol="0" anchor="ctr"/>
              <a:lstStyle/>
              <a:p>
                <a:endParaRPr lang="en-GB"/>
              </a:p>
            </p:txBody>
          </p:sp>
          <p:sp>
            <p:nvSpPr>
              <p:cNvPr id="3801" name="Vrije vorm: vorm 3800">
                <a:extLst>
                  <a:ext uri="{FF2B5EF4-FFF2-40B4-BE49-F238E27FC236}">
                    <a16:creationId xmlns:a16="http://schemas.microsoft.com/office/drawing/2014/main" id="{4C1EE72F-7C0E-4D92-968B-8DF546693016}"/>
                  </a:ext>
                </a:extLst>
              </p:cNvPr>
              <p:cNvSpPr/>
              <p:nvPr/>
            </p:nvSpPr>
            <p:spPr>
              <a:xfrm>
                <a:off x="7303172" y="5064211"/>
                <a:ext cx="18354" cy="18429"/>
              </a:xfrm>
              <a:custGeom>
                <a:avLst/>
                <a:gdLst>
                  <a:gd name="connsiteX0" fmla="*/ 16474 w 18354"/>
                  <a:gd name="connsiteY0" fmla="*/ 3653 h 18429"/>
                  <a:gd name="connsiteX1" fmla="*/ 14739 w 18354"/>
                  <a:gd name="connsiteY1" fmla="*/ 16571 h 18429"/>
                  <a:gd name="connsiteX2" fmla="*/ 1881 w 18354"/>
                  <a:gd name="connsiteY2" fmla="*/ 14777 h 18429"/>
                  <a:gd name="connsiteX3" fmla="*/ 3615 w 18354"/>
                  <a:gd name="connsiteY3" fmla="*/ 1859 h 18429"/>
                  <a:gd name="connsiteX4" fmla="*/ 16474 w 18354"/>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29">
                    <a:moveTo>
                      <a:pt x="16474" y="3653"/>
                    </a:moveTo>
                    <a:cubicBezTo>
                      <a:pt x="19524" y="7720"/>
                      <a:pt x="18807" y="13461"/>
                      <a:pt x="14739" y="16571"/>
                    </a:cubicBezTo>
                    <a:cubicBezTo>
                      <a:pt x="10732" y="19621"/>
                      <a:pt x="4991" y="18844"/>
                      <a:pt x="1881" y="14777"/>
                    </a:cubicBezTo>
                    <a:cubicBezTo>
                      <a:pt x="-1170" y="10710"/>
                      <a:pt x="-452" y="4969"/>
                      <a:pt x="3615" y="1859"/>
                    </a:cubicBezTo>
                    <a:cubicBezTo>
                      <a:pt x="7622" y="-1192"/>
                      <a:pt x="13364" y="-414"/>
                      <a:pt x="16474" y="3653"/>
                    </a:cubicBezTo>
                    <a:close/>
                  </a:path>
                </a:pathLst>
              </a:custGeom>
              <a:grpFill/>
              <a:ln w="5978" cap="flat">
                <a:noFill/>
                <a:prstDash val="solid"/>
                <a:miter/>
              </a:ln>
            </p:spPr>
            <p:txBody>
              <a:bodyPr rtlCol="0" anchor="ctr"/>
              <a:lstStyle/>
              <a:p>
                <a:endParaRPr lang="en-GB"/>
              </a:p>
            </p:txBody>
          </p:sp>
          <p:sp>
            <p:nvSpPr>
              <p:cNvPr id="3802" name="Vrije vorm: vorm 3801">
                <a:extLst>
                  <a:ext uri="{FF2B5EF4-FFF2-40B4-BE49-F238E27FC236}">
                    <a16:creationId xmlns:a16="http://schemas.microsoft.com/office/drawing/2014/main" id="{09699063-3052-4152-B671-FE2C1F7984A1}"/>
                  </a:ext>
                </a:extLst>
              </p:cNvPr>
              <p:cNvSpPr/>
              <p:nvPr/>
            </p:nvSpPr>
            <p:spPr>
              <a:xfrm>
                <a:off x="7232199" y="4970733"/>
                <a:ext cx="18361" cy="18429"/>
              </a:xfrm>
              <a:custGeom>
                <a:avLst/>
                <a:gdLst>
                  <a:gd name="connsiteX0" fmla="*/ 16456 w 18361"/>
                  <a:gd name="connsiteY0" fmla="*/ 3653 h 18429"/>
                  <a:gd name="connsiteX1" fmla="*/ 3597 w 18361"/>
                  <a:gd name="connsiteY1" fmla="*/ 1858 h 18429"/>
                  <a:gd name="connsiteX2" fmla="*/ 1863 w 18361"/>
                  <a:gd name="connsiteY2" fmla="*/ 14777 h 18429"/>
                  <a:gd name="connsiteX3" fmla="*/ 14721 w 18361"/>
                  <a:gd name="connsiteY3" fmla="*/ 16571 h 18429"/>
                  <a:gd name="connsiteX4" fmla="*/ 16456 w 18361"/>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9">
                    <a:moveTo>
                      <a:pt x="16456" y="3653"/>
                    </a:moveTo>
                    <a:cubicBezTo>
                      <a:pt x="13406" y="-414"/>
                      <a:pt x="7604" y="-1191"/>
                      <a:pt x="3597" y="1858"/>
                    </a:cubicBezTo>
                    <a:cubicBezTo>
                      <a:pt x="-410" y="4909"/>
                      <a:pt x="-1188" y="10710"/>
                      <a:pt x="1863" y="14777"/>
                    </a:cubicBezTo>
                    <a:cubicBezTo>
                      <a:pt x="4913" y="18844"/>
                      <a:pt x="10714" y="19621"/>
                      <a:pt x="14721" y="16571"/>
                    </a:cubicBezTo>
                    <a:cubicBezTo>
                      <a:pt x="18788" y="13461"/>
                      <a:pt x="19565" y="7720"/>
                      <a:pt x="16456" y="3653"/>
                    </a:cubicBezTo>
                    <a:close/>
                  </a:path>
                </a:pathLst>
              </a:custGeom>
              <a:grpFill/>
              <a:ln w="5978" cap="flat">
                <a:noFill/>
                <a:prstDash val="solid"/>
                <a:miter/>
              </a:ln>
            </p:spPr>
            <p:txBody>
              <a:bodyPr rtlCol="0" anchor="ctr"/>
              <a:lstStyle/>
              <a:p>
                <a:endParaRPr lang="en-GB"/>
              </a:p>
            </p:txBody>
          </p:sp>
        </p:grpSp>
        <p:grpSp>
          <p:nvGrpSpPr>
            <p:cNvPr id="530" name="Graphic 3">
              <a:extLst>
                <a:ext uri="{FF2B5EF4-FFF2-40B4-BE49-F238E27FC236}">
                  <a16:creationId xmlns:a16="http://schemas.microsoft.com/office/drawing/2014/main" id="{6959D872-B224-47C6-8A4D-29D5E17BC682}"/>
                </a:ext>
              </a:extLst>
            </p:cNvPr>
            <p:cNvGrpSpPr/>
            <p:nvPr/>
          </p:nvGrpSpPr>
          <p:grpSpPr>
            <a:xfrm>
              <a:off x="6153987" y="1647167"/>
              <a:ext cx="23596" cy="100343"/>
              <a:chOff x="6153987" y="1647167"/>
              <a:chExt cx="23596" cy="100343"/>
            </a:xfrm>
            <a:grpFill/>
          </p:grpSpPr>
          <p:sp>
            <p:nvSpPr>
              <p:cNvPr id="3797" name="Vrije vorm: vorm 3796">
                <a:extLst>
                  <a:ext uri="{FF2B5EF4-FFF2-40B4-BE49-F238E27FC236}">
                    <a16:creationId xmlns:a16="http://schemas.microsoft.com/office/drawing/2014/main" id="{A575E1FC-BE7B-459F-8CB0-DBEB4C673586}"/>
                  </a:ext>
                </a:extLst>
              </p:cNvPr>
              <p:cNvSpPr/>
              <p:nvPr/>
            </p:nvSpPr>
            <p:spPr>
              <a:xfrm>
                <a:off x="6161598" y="1655803"/>
                <a:ext cx="8373" cy="83072"/>
              </a:xfrm>
              <a:custGeom>
                <a:avLst/>
                <a:gdLst>
                  <a:gd name="connsiteX0" fmla="*/ 8373 w 8373"/>
                  <a:gd name="connsiteY0" fmla="*/ 179 h 83072"/>
                  <a:gd name="connsiteX1" fmla="*/ 3050 w 8373"/>
                  <a:gd name="connsiteY1" fmla="*/ 83072 h 83072"/>
                  <a:gd name="connsiteX2" fmla="*/ 0 w 8373"/>
                  <a:gd name="connsiteY2" fmla="*/ 82893 h 83072"/>
                  <a:gd name="connsiteX3" fmla="*/ 5323 w 8373"/>
                  <a:gd name="connsiteY3" fmla="*/ 0 h 83072"/>
                </a:gdLst>
                <a:ahLst/>
                <a:cxnLst>
                  <a:cxn ang="0">
                    <a:pos x="connsiteX0" y="connsiteY0"/>
                  </a:cxn>
                  <a:cxn ang="0">
                    <a:pos x="connsiteX1" y="connsiteY1"/>
                  </a:cxn>
                  <a:cxn ang="0">
                    <a:pos x="connsiteX2" y="connsiteY2"/>
                  </a:cxn>
                  <a:cxn ang="0">
                    <a:pos x="connsiteX3" y="connsiteY3"/>
                  </a:cxn>
                </a:cxnLst>
                <a:rect l="l" t="t" r="r" b="b"/>
                <a:pathLst>
                  <a:path w="8373" h="83072">
                    <a:moveTo>
                      <a:pt x="8373" y="179"/>
                    </a:moveTo>
                    <a:lnTo>
                      <a:pt x="3050" y="83072"/>
                    </a:lnTo>
                    <a:lnTo>
                      <a:pt x="0" y="82893"/>
                    </a:lnTo>
                    <a:lnTo>
                      <a:pt x="5323" y="0"/>
                    </a:lnTo>
                    <a:close/>
                  </a:path>
                </a:pathLst>
              </a:custGeom>
              <a:grpFill/>
              <a:ln w="5978" cap="flat">
                <a:noFill/>
                <a:prstDash val="solid"/>
                <a:miter/>
              </a:ln>
            </p:spPr>
            <p:txBody>
              <a:bodyPr rtlCol="0" anchor="ctr"/>
              <a:lstStyle/>
              <a:p>
                <a:endParaRPr lang="en-GB"/>
              </a:p>
            </p:txBody>
          </p:sp>
          <p:sp>
            <p:nvSpPr>
              <p:cNvPr id="3798" name="Vrije vorm: vorm 3797">
                <a:extLst>
                  <a:ext uri="{FF2B5EF4-FFF2-40B4-BE49-F238E27FC236}">
                    <a16:creationId xmlns:a16="http://schemas.microsoft.com/office/drawing/2014/main" id="{45D2F15E-E45D-4B66-A276-3E65DCBFA886}"/>
                  </a:ext>
                </a:extLst>
              </p:cNvPr>
              <p:cNvSpPr/>
              <p:nvPr/>
            </p:nvSpPr>
            <p:spPr>
              <a:xfrm>
                <a:off x="6159250" y="1647167"/>
                <a:ext cx="18333" cy="18407"/>
              </a:xfrm>
              <a:custGeom>
                <a:avLst/>
                <a:gdLst>
                  <a:gd name="connsiteX0" fmla="*/ 16 w 18333"/>
                  <a:gd name="connsiteY0" fmla="*/ 8576 h 18407"/>
                  <a:gd name="connsiteX1" fmla="*/ 9765 w 18333"/>
                  <a:gd name="connsiteY1" fmla="*/ 23 h 18407"/>
                  <a:gd name="connsiteX2" fmla="*/ 18317 w 18333"/>
                  <a:gd name="connsiteY2" fmla="*/ 9832 h 18407"/>
                  <a:gd name="connsiteX3" fmla="*/ 8569 w 18333"/>
                  <a:gd name="connsiteY3" fmla="*/ 18384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315" y="3492"/>
                      <a:pt x="4681" y="-336"/>
                      <a:pt x="9765" y="23"/>
                    </a:cubicBezTo>
                    <a:cubicBezTo>
                      <a:pt x="14789" y="382"/>
                      <a:pt x="18616" y="4748"/>
                      <a:pt x="18317" y="9832"/>
                    </a:cubicBezTo>
                    <a:cubicBezTo>
                      <a:pt x="18018" y="14915"/>
                      <a:pt x="13652" y="18743"/>
                      <a:pt x="8569" y="18384"/>
                    </a:cubicBezTo>
                    <a:cubicBezTo>
                      <a:pt x="3545" y="18025"/>
                      <a:pt x="-283" y="13659"/>
                      <a:pt x="16" y="8576"/>
                    </a:cubicBezTo>
                    <a:close/>
                  </a:path>
                </a:pathLst>
              </a:custGeom>
              <a:grpFill/>
              <a:ln w="5978" cap="flat">
                <a:noFill/>
                <a:prstDash val="solid"/>
                <a:miter/>
              </a:ln>
            </p:spPr>
            <p:txBody>
              <a:bodyPr rtlCol="0" anchor="ctr"/>
              <a:lstStyle/>
              <a:p>
                <a:endParaRPr lang="en-GB"/>
              </a:p>
            </p:txBody>
          </p:sp>
          <p:sp>
            <p:nvSpPr>
              <p:cNvPr id="3799" name="Vrije vorm: vorm 3798">
                <a:extLst>
                  <a:ext uri="{FF2B5EF4-FFF2-40B4-BE49-F238E27FC236}">
                    <a16:creationId xmlns:a16="http://schemas.microsoft.com/office/drawing/2014/main" id="{4BDCB9C3-C91E-48E4-82EC-A7DCD256674D}"/>
                  </a:ext>
                </a:extLst>
              </p:cNvPr>
              <p:cNvSpPr/>
              <p:nvPr/>
            </p:nvSpPr>
            <p:spPr>
              <a:xfrm>
                <a:off x="6153987" y="1729103"/>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2" y="18743"/>
                      <a:pt x="17959" y="14915"/>
                      <a:pt x="18317" y="9832"/>
                    </a:cubicBezTo>
                    <a:cubicBezTo>
                      <a:pt x="18616" y="4748"/>
                      <a:pt x="14789" y="382"/>
                      <a:pt x="9765" y="23"/>
                    </a:cubicBezTo>
                    <a:cubicBezTo>
                      <a:pt x="4681" y="-336"/>
                      <a:pt x="315" y="3492"/>
                      <a:pt x="16" y="8576"/>
                    </a:cubicBezTo>
                    <a:close/>
                  </a:path>
                </a:pathLst>
              </a:custGeom>
              <a:grpFill/>
              <a:ln w="5978" cap="flat">
                <a:noFill/>
                <a:prstDash val="solid"/>
                <a:miter/>
              </a:ln>
            </p:spPr>
            <p:txBody>
              <a:bodyPr rtlCol="0" anchor="ctr"/>
              <a:lstStyle/>
              <a:p>
                <a:endParaRPr lang="en-GB"/>
              </a:p>
            </p:txBody>
          </p:sp>
        </p:grpSp>
        <p:grpSp>
          <p:nvGrpSpPr>
            <p:cNvPr id="531" name="Graphic 3">
              <a:extLst>
                <a:ext uri="{FF2B5EF4-FFF2-40B4-BE49-F238E27FC236}">
                  <a16:creationId xmlns:a16="http://schemas.microsoft.com/office/drawing/2014/main" id="{098C9B39-5BA1-4627-A749-470450DBD231}"/>
                </a:ext>
              </a:extLst>
            </p:cNvPr>
            <p:cNvGrpSpPr/>
            <p:nvPr/>
          </p:nvGrpSpPr>
          <p:grpSpPr>
            <a:xfrm>
              <a:off x="6061200" y="1281009"/>
              <a:ext cx="60249" cy="461736"/>
              <a:chOff x="6061200" y="1281009"/>
              <a:chExt cx="60249" cy="461736"/>
            </a:xfrm>
            <a:grpFill/>
          </p:grpSpPr>
          <p:sp>
            <p:nvSpPr>
              <p:cNvPr id="3794" name="Vrije vorm: vorm 3793">
                <a:extLst>
                  <a:ext uri="{FF2B5EF4-FFF2-40B4-BE49-F238E27FC236}">
                    <a16:creationId xmlns:a16="http://schemas.microsoft.com/office/drawing/2014/main" id="{0D896C47-25D6-49DC-A175-B9B9650D6BA7}"/>
                  </a:ext>
                </a:extLst>
              </p:cNvPr>
              <p:cNvSpPr/>
              <p:nvPr/>
            </p:nvSpPr>
            <p:spPr>
              <a:xfrm>
                <a:off x="6068838" y="1289544"/>
                <a:ext cx="44974" cy="444606"/>
              </a:xfrm>
              <a:custGeom>
                <a:avLst/>
                <a:gdLst>
                  <a:gd name="connsiteX0" fmla="*/ 44975 w 44974"/>
                  <a:gd name="connsiteY0" fmla="*/ 299 h 444606"/>
                  <a:gd name="connsiteX1" fmla="*/ 3050 w 44974"/>
                  <a:gd name="connsiteY1" fmla="*/ 444607 h 444606"/>
                  <a:gd name="connsiteX2" fmla="*/ 0 w 44974"/>
                  <a:gd name="connsiteY2" fmla="*/ 444308 h 444606"/>
                  <a:gd name="connsiteX3" fmla="*/ 41925 w 44974"/>
                  <a:gd name="connsiteY3" fmla="*/ 0 h 444606"/>
                </a:gdLst>
                <a:ahLst/>
                <a:cxnLst>
                  <a:cxn ang="0">
                    <a:pos x="connsiteX0" y="connsiteY0"/>
                  </a:cxn>
                  <a:cxn ang="0">
                    <a:pos x="connsiteX1" y="connsiteY1"/>
                  </a:cxn>
                  <a:cxn ang="0">
                    <a:pos x="connsiteX2" y="connsiteY2"/>
                  </a:cxn>
                  <a:cxn ang="0">
                    <a:pos x="connsiteX3" y="connsiteY3"/>
                  </a:cxn>
                </a:cxnLst>
                <a:rect l="l" t="t" r="r" b="b"/>
                <a:pathLst>
                  <a:path w="44974" h="444606">
                    <a:moveTo>
                      <a:pt x="44975" y="299"/>
                    </a:moveTo>
                    <a:lnTo>
                      <a:pt x="3050" y="444607"/>
                    </a:lnTo>
                    <a:lnTo>
                      <a:pt x="0" y="444308"/>
                    </a:lnTo>
                    <a:lnTo>
                      <a:pt x="41925" y="0"/>
                    </a:lnTo>
                    <a:close/>
                  </a:path>
                </a:pathLst>
              </a:custGeom>
              <a:grpFill/>
              <a:ln w="5978" cap="flat">
                <a:noFill/>
                <a:prstDash val="solid"/>
                <a:miter/>
              </a:ln>
            </p:spPr>
            <p:txBody>
              <a:bodyPr rtlCol="0" anchor="ctr"/>
              <a:lstStyle/>
              <a:p>
                <a:endParaRPr lang="en-GB"/>
              </a:p>
            </p:txBody>
          </p:sp>
          <p:sp>
            <p:nvSpPr>
              <p:cNvPr id="3795" name="Vrije vorm: vorm 3794">
                <a:extLst>
                  <a:ext uri="{FF2B5EF4-FFF2-40B4-BE49-F238E27FC236}">
                    <a16:creationId xmlns:a16="http://schemas.microsoft.com/office/drawing/2014/main" id="{81C26FDB-54FB-4AFE-B1AF-2E255D866985}"/>
                  </a:ext>
                </a:extLst>
              </p:cNvPr>
              <p:cNvSpPr/>
              <p:nvPr/>
            </p:nvSpPr>
            <p:spPr>
              <a:xfrm>
                <a:off x="6061200" y="1724360"/>
                <a:ext cx="18324" cy="18385"/>
              </a:xfrm>
              <a:custGeom>
                <a:avLst/>
                <a:gdLst>
                  <a:gd name="connsiteX0" fmla="*/ 18283 w 18324"/>
                  <a:gd name="connsiteY0" fmla="*/ 10090 h 18385"/>
                  <a:gd name="connsiteX1" fmla="*/ 8295 w 18324"/>
                  <a:gd name="connsiteY1" fmla="*/ 18343 h 18385"/>
                  <a:gd name="connsiteX2" fmla="*/ 42 w 18324"/>
                  <a:gd name="connsiteY2" fmla="*/ 8296 h 18385"/>
                  <a:gd name="connsiteX3" fmla="*/ 10029 w 18324"/>
                  <a:gd name="connsiteY3" fmla="*/ 42 h 18385"/>
                  <a:gd name="connsiteX4" fmla="*/ 18283 w 18324"/>
                  <a:gd name="connsiteY4" fmla="*/ 10090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5">
                    <a:moveTo>
                      <a:pt x="18283" y="10090"/>
                    </a:moveTo>
                    <a:cubicBezTo>
                      <a:pt x="17804" y="15173"/>
                      <a:pt x="13319" y="18822"/>
                      <a:pt x="8295" y="18343"/>
                    </a:cubicBezTo>
                    <a:cubicBezTo>
                      <a:pt x="3271" y="17865"/>
                      <a:pt x="-437" y="13319"/>
                      <a:pt x="42" y="8296"/>
                    </a:cubicBezTo>
                    <a:cubicBezTo>
                      <a:pt x="520" y="3212"/>
                      <a:pt x="5006" y="-436"/>
                      <a:pt x="10029" y="42"/>
                    </a:cubicBezTo>
                    <a:cubicBezTo>
                      <a:pt x="15113" y="461"/>
                      <a:pt x="18761" y="5006"/>
                      <a:pt x="18283" y="10090"/>
                    </a:cubicBezTo>
                    <a:close/>
                  </a:path>
                </a:pathLst>
              </a:custGeom>
              <a:grpFill/>
              <a:ln w="5978" cap="flat">
                <a:noFill/>
                <a:prstDash val="solid"/>
                <a:miter/>
              </a:ln>
            </p:spPr>
            <p:txBody>
              <a:bodyPr rtlCol="0" anchor="ctr"/>
              <a:lstStyle/>
              <a:p>
                <a:endParaRPr lang="en-GB"/>
              </a:p>
            </p:txBody>
          </p:sp>
          <p:sp>
            <p:nvSpPr>
              <p:cNvPr id="3796" name="Vrije vorm: vorm 3795">
                <a:extLst>
                  <a:ext uri="{FF2B5EF4-FFF2-40B4-BE49-F238E27FC236}">
                    <a16:creationId xmlns:a16="http://schemas.microsoft.com/office/drawing/2014/main" id="{3F767908-4036-4F7E-AEFD-71AD4073246A}"/>
                  </a:ext>
                </a:extLst>
              </p:cNvPr>
              <p:cNvSpPr/>
              <p:nvPr/>
            </p:nvSpPr>
            <p:spPr>
              <a:xfrm>
                <a:off x="6103125" y="1281009"/>
                <a:ext cx="18324" cy="18384"/>
              </a:xfrm>
              <a:custGeom>
                <a:avLst/>
                <a:gdLst>
                  <a:gd name="connsiteX0" fmla="*/ 18283 w 18324"/>
                  <a:gd name="connsiteY0" fmla="*/ 10090 h 18384"/>
                  <a:gd name="connsiteX1" fmla="*/ 10029 w 18324"/>
                  <a:gd name="connsiteY1" fmla="*/ 42 h 18384"/>
                  <a:gd name="connsiteX2" fmla="*/ 42 w 18324"/>
                  <a:gd name="connsiteY2" fmla="*/ 8296 h 18384"/>
                  <a:gd name="connsiteX3" fmla="*/ 8295 w 18324"/>
                  <a:gd name="connsiteY3" fmla="*/ 18343 h 18384"/>
                  <a:gd name="connsiteX4" fmla="*/ 18283 w 18324"/>
                  <a:gd name="connsiteY4" fmla="*/ 10090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18283" y="10090"/>
                    </a:moveTo>
                    <a:cubicBezTo>
                      <a:pt x="18761" y="5006"/>
                      <a:pt x="15053" y="521"/>
                      <a:pt x="10029" y="42"/>
                    </a:cubicBezTo>
                    <a:cubicBezTo>
                      <a:pt x="5005" y="-436"/>
                      <a:pt x="520" y="3212"/>
                      <a:pt x="42" y="8296"/>
                    </a:cubicBezTo>
                    <a:cubicBezTo>
                      <a:pt x="-437" y="13379"/>
                      <a:pt x="3271" y="17865"/>
                      <a:pt x="8295" y="18343"/>
                    </a:cubicBezTo>
                    <a:cubicBezTo>
                      <a:pt x="13319" y="18822"/>
                      <a:pt x="17804" y="15114"/>
                      <a:pt x="18283" y="10090"/>
                    </a:cubicBezTo>
                    <a:close/>
                  </a:path>
                </a:pathLst>
              </a:custGeom>
              <a:grpFill/>
              <a:ln w="5978" cap="flat">
                <a:noFill/>
                <a:prstDash val="solid"/>
                <a:miter/>
              </a:ln>
            </p:spPr>
            <p:txBody>
              <a:bodyPr rtlCol="0" anchor="ctr"/>
              <a:lstStyle/>
              <a:p>
                <a:endParaRPr lang="en-GB"/>
              </a:p>
            </p:txBody>
          </p:sp>
        </p:grpSp>
        <p:grpSp>
          <p:nvGrpSpPr>
            <p:cNvPr id="532" name="Graphic 3">
              <a:extLst>
                <a:ext uri="{FF2B5EF4-FFF2-40B4-BE49-F238E27FC236}">
                  <a16:creationId xmlns:a16="http://schemas.microsoft.com/office/drawing/2014/main" id="{8863FFEE-8F6E-4522-8F90-ABDAB8A5CDF1}"/>
                </a:ext>
              </a:extLst>
            </p:cNvPr>
            <p:cNvGrpSpPr/>
            <p:nvPr/>
          </p:nvGrpSpPr>
          <p:grpSpPr>
            <a:xfrm>
              <a:off x="6061480" y="1440556"/>
              <a:ext cx="19737" cy="178645"/>
              <a:chOff x="6061480" y="1440556"/>
              <a:chExt cx="19737" cy="178645"/>
            </a:xfrm>
            <a:grpFill/>
          </p:grpSpPr>
          <p:sp>
            <p:nvSpPr>
              <p:cNvPr id="3791" name="Vrije vorm: vorm 3790">
                <a:extLst>
                  <a:ext uri="{FF2B5EF4-FFF2-40B4-BE49-F238E27FC236}">
                    <a16:creationId xmlns:a16="http://schemas.microsoft.com/office/drawing/2014/main" id="{A65B1F97-38C0-4175-BBCD-1A36DAE5FB85}"/>
                  </a:ext>
                </a:extLst>
              </p:cNvPr>
              <p:cNvSpPr/>
              <p:nvPr/>
            </p:nvSpPr>
            <p:spPr>
              <a:xfrm>
                <a:off x="6069137" y="1449289"/>
                <a:ext cx="4425" cy="161180"/>
              </a:xfrm>
              <a:custGeom>
                <a:avLst/>
                <a:gdLst>
                  <a:gd name="connsiteX0" fmla="*/ 4426 w 4425"/>
                  <a:gd name="connsiteY0" fmla="*/ 60 h 161180"/>
                  <a:gd name="connsiteX1" fmla="*/ 3050 w 4425"/>
                  <a:gd name="connsiteY1" fmla="*/ 161180 h 161180"/>
                  <a:gd name="connsiteX2" fmla="*/ 0 w 4425"/>
                  <a:gd name="connsiteY2" fmla="*/ 161121 h 161180"/>
                  <a:gd name="connsiteX3" fmla="*/ 1375 w 4425"/>
                  <a:gd name="connsiteY3" fmla="*/ 0 h 161180"/>
                </a:gdLst>
                <a:ahLst/>
                <a:cxnLst>
                  <a:cxn ang="0">
                    <a:pos x="connsiteX0" y="connsiteY0"/>
                  </a:cxn>
                  <a:cxn ang="0">
                    <a:pos x="connsiteX1" y="connsiteY1"/>
                  </a:cxn>
                  <a:cxn ang="0">
                    <a:pos x="connsiteX2" y="connsiteY2"/>
                  </a:cxn>
                  <a:cxn ang="0">
                    <a:pos x="connsiteX3" y="connsiteY3"/>
                  </a:cxn>
                </a:cxnLst>
                <a:rect l="l" t="t" r="r" b="b"/>
                <a:pathLst>
                  <a:path w="4425" h="161180">
                    <a:moveTo>
                      <a:pt x="4426" y="60"/>
                    </a:moveTo>
                    <a:lnTo>
                      <a:pt x="3050" y="161180"/>
                    </a:lnTo>
                    <a:lnTo>
                      <a:pt x="0" y="161121"/>
                    </a:lnTo>
                    <a:lnTo>
                      <a:pt x="1375" y="0"/>
                    </a:lnTo>
                    <a:close/>
                  </a:path>
                </a:pathLst>
              </a:custGeom>
              <a:grpFill/>
              <a:ln w="5978" cap="flat">
                <a:noFill/>
                <a:prstDash val="solid"/>
                <a:miter/>
              </a:ln>
            </p:spPr>
            <p:txBody>
              <a:bodyPr rtlCol="0" anchor="ctr"/>
              <a:lstStyle/>
              <a:p>
                <a:endParaRPr lang="en-GB"/>
              </a:p>
            </p:txBody>
          </p:sp>
          <p:sp>
            <p:nvSpPr>
              <p:cNvPr id="3792" name="Vrije vorm: vorm 3791">
                <a:extLst>
                  <a:ext uri="{FF2B5EF4-FFF2-40B4-BE49-F238E27FC236}">
                    <a16:creationId xmlns:a16="http://schemas.microsoft.com/office/drawing/2014/main" id="{01BE2C37-6E72-4A00-95B2-C19FBA58B065}"/>
                  </a:ext>
                </a:extLst>
              </p:cNvPr>
              <p:cNvSpPr/>
              <p:nvPr/>
            </p:nvSpPr>
            <p:spPr>
              <a:xfrm>
                <a:off x="6062856" y="1440556"/>
                <a:ext cx="18361" cy="18421"/>
              </a:xfrm>
              <a:custGeom>
                <a:avLst/>
                <a:gdLst>
                  <a:gd name="connsiteX0" fmla="*/ 1 w 18361"/>
                  <a:gd name="connsiteY0" fmla="*/ 9091 h 18421"/>
                  <a:gd name="connsiteX1" fmla="*/ 9271 w 18361"/>
                  <a:gd name="connsiteY1" fmla="*/ 1 h 18421"/>
                  <a:gd name="connsiteX2" fmla="*/ 18361 w 18361"/>
                  <a:gd name="connsiteY2" fmla="*/ 9331 h 18421"/>
                  <a:gd name="connsiteX3" fmla="*/ 9091 w 18361"/>
                  <a:gd name="connsiteY3" fmla="*/ 18421 h 18421"/>
                  <a:gd name="connsiteX4" fmla="*/ 1 w 18361"/>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1" y="9091"/>
                    </a:moveTo>
                    <a:cubicBezTo>
                      <a:pt x="60" y="4008"/>
                      <a:pt x="4187" y="-59"/>
                      <a:pt x="9271" y="1"/>
                    </a:cubicBezTo>
                    <a:cubicBezTo>
                      <a:pt x="14354" y="60"/>
                      <a:pt x="18421" y="4247"/>
                      <a:pt x="18361" y="9331"/>
                    </a:cubicBezTo>
                    <a:cubicBezTo>
                      <a:pt x="18302" y="14414"/>
                      <a:pt x="14175" y="18481"/>
                      <a:pt x="9091" y="18421"/>
                    </a:cubicBezTo>
                    <a:cubicBezTo>
                      <a:pt x="4067" y="18361"/>
                      <a:pt x="-59" y="14235"/>
                      <a:pt x="1" y="9091"/>
                    </a:cubicBezTo>
                    <a:close/>
                  </a:path>
                </a:pathLst>
              </a:custGeom>
              <a:grpFill/>
              <a:ln w="5978" cap="flat">
                <a:noFill/>
                <a:prstDash val="solid"/>
                <a:miter/>
              </a:ln>
            </p:spPr>
            <p:txBody>
              <a:bodyPr rtlCol="0" anchor="ctr"/>
              <a:lstStyle/>
              <a:p>
                <a:endParaRPr lang="en-GB"/>
              </a:p>
            </p:txBody>
          </p:sp>
          <p:sp>
            <p:nvSpPr>
              <p:cNvPr id="3793" name="Vrije vorm: vorm 3792">
                <a:extLst>
                  <a:ext uri="{FF2B5EF4-FFF2-40B4-BE49-F238E27FC236}">
                    <a16:creationId xmlns:a16="http://schemas.microsoft.com/office/drawing/2014/main" id="{0D3E5110-C450-4E49-ABD0-56449B990F5A}"/>
                  </a:ext>
                </a:extLst>
              </p:cNvPr>
              <p:cNvSpPr/>
              <p:nvPr/>
            </p:nvSpPr>
            <p:spPr>
              <a:xfrm>
                <a:off x="6061480" y="1600780"/>
                <a:ext cx="18362" cy="18421"/>
              </a:xfrm>
              <a:custGeom>
                <a:avLst/>
                <a:gdLst>
                  <a:gd name="connsiteX0" fmla="*/ 1 w 18362"/>
                  <a:gd name="connsiteY0" fmla="*/ 9091 h 18421"/>
                  <a:gd name="connsiteX1" fmla="*/ 9091 w 18362"/>
                  <a:gd name="connsiteY1" fmla="*/ 18421 h 18421"/>
                  <a:gd name="connsiteX2" fmla="*/ 18362 w 18362"/>
                  <a:gd name="connsiteY2" fmla="*/ 9331 h 18421"/>
                  <a:gd name="connsiteX3" fmla="*/ 9271 w 18362"/>
                  <a:gd name="connsiteY3" fmla="*/ 1 h 18421"/>
                  <a:gd name="connsiteX4" fmla="*/ 1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091"/>
                    </a:moveTo>
                    <a:cubicBezTo>
                      <a:pt x="-59" y="14175"/>
                      <a:pt x="4008" y="18362"/>
                      <a:pt x="9091" y="18421"/>
                    </a:cubicBezTo>
                    <a:cubicBezTo>
                      <a:pt x="14175" y="18481"/>
                      <a:pt x="18302" y="14414"/>
                      <a:pt x="18362" y="9331"/>
                    </a:cubicBezTo>
                    <a:cubicBezTo>
                      <a:pt x="18421" y="4247"/>
                      <a:pt x="14355" y="61"/>
                      <a:pt x="9271" y="1"/>
                    </a:cubicBezTo>
                    <a:cubicBezTo>
                      <a:pt x="4187" y="-59"/>
                      <a:pt x="61" y="4008"/>
                      <a:pt x="1" y="9091"/>
                    </a:cubicBezTo>
                    <a:close/>
                  </a:path>
                </a:pathLst>
              </a:custGeom>
              <a:grpFill/>
              <a:ln w="5978" cap="flat">
                <a:noFill/>
                <a:prstDash val="solid"/>
                <a:miter/>
              </a:ln>
            </p:spPr>
            <p:txBody>
              <a:bodyPr rtlCol="0" anchor="ctr"/>
              <a:lstStyle/>
              <a:p>
                <a:endParaRPr lang="en-GB"/>
              </a:p>
            </p:txBody>
          </p:sp>
        </p:grpSp>
        <p:grpSp>
          <p:nvGrpSpPr>
            <p:cNvPr id="533" name="Graphic 3">
              <a:extLst>
                <a:ext uri="{FF2B5EF4-FFF2-40B4-BE49-F238E27FC236}">
                  <a16:creationId xmlns:a16="http://schemas.microsoft.com/office/drawing/2014/main" id="{624CA216-4D94-4A6E-A4E9-721A2EF776DE}"/>
                </a:ext>
              </a:extLst>
            </p:cNvPr>
            <p:cNvGrpSpPr/>
            <p:nvPr/>
          </p:nvGrpSpPr>
          <p:grpSpPr>
            <a:xfrm>
              <a:off x="7111070" y="4707981"/>
              <a:ext cx="109786" cy="130096"/>
              <a:chOff x="7111070" y="4707981"/>
              <a:chExt cx="109786" cy="130096"/>
            </a:xfrm>
            <a:grpFill/>
          </p:grpSpPr>
          <p:sp>
            <p:nvSpPr>
              <p:cNvPr id="3788" name="Vrije vorm: vorm 3787">
                <a:extLst>
                  <a:ext uri="{FF2B5EF4-FFF2-40B4-BE49-F238E27FC236}">
                    <a16:creationId xmlns:a16="http://schemas.microsoft.com/office/drawing/2014/main" id="{CECE14C2-EBB7-424E-AFB7-6CDB3A7DCD1F}"/>
                  </a:ext>
                </a:extLst>
              </p:cNvPr>
              <p:cNvSpPr/>
              <p:nvPr/>
            </p:nvSpPr>
            <p:spPr>
              <a:xfrm>
                <a:off x="7118753" y="4715899"/>
                <a:ext cx="94435" cy="114291"/>
              </a:xfrm>
              <a:custGeom>
                <a:avLst/>
                <a:gdLst>
                  <a:gd name="connsiteX0" fmla="*/ 94436 w 94435"/>
                  <a:gd name="connsiteY0" fmla="*/ 112378 h 114291"/>
                  <a:gd name="connsiteX1" fmla="*/ 92043 w 94435"/>
                  <a:gd name="connsiteY1" fmla="*/ 114291 h 114291"/>
                  <a:gd name="connsiteX2" fmla="*/ 0 w 94435"/>
                  <a:gd name="connsiteY2" fmla="*/ 1914 h 114291"/>
                  <a:gd name="connsiteX3" fmla="*/ 2333 w 94435"/>
                  <a:gd name="connsiteY3" fmla="*/ 0 h 114291"/>
                </a:gdLst>
                <a:ahLst/>
                <a:cxnLst>
                  <a:cxn ang="0">
                    <a:pos x="connsiteX0" y="connsiteY0"/>
                  </a:cxn>
                  <a:cxn ang="0">
                    <a:pos x="connsiteX1" y="connsiteY1"/>
                  </a:cxn>
                  <a:cxn ang="0">
                    <a:pos x="connsiteX2" y="connsiteY2"/>
                  </a:cxn>
                  <a:cxn ang="0">
                    <a:pos x="connsiteX3" y="connsiteY3"/>
                  </a:cxn>
                </a:cxnLst>
                <a:rect l="l" t="t" r="r" b="b"/>
                <a:pathLst>
                  <a:path w="94435" h="114291">
                    <a:moveTo>
                      <a:pt x="94436" y="112378"/>
                    </a:moveTo>
                    <a:lnTo>
                      <a:pt x="92043" y="114291"/>
                    </a:lnTo>
                    <a:lnTo>
                      <a:pt x="0" y="1914"/>
                    </a:lnTo>
                    <a:lnTo>
                      <a:pt x="2333" y="0"/>
                    </a:lnTo>
                    <a:close/>
                  </a:path>
                </a:pathLst>
              </a:custGeom>
              <a:grpFill/>
              <a:ln w="5978" cap="flat">
                <a:noFill/>
                <a:prstDash val="solid"/>
                <a:miter/>
              </a:ln>
            </p:spPr>
            <p:txBody>
              <a:bodyPr rtlCol="0" anchor="ctr"/>
              <a:lstStyle/>
              <a:p>
                <a:endParaRPr lang="en-GB"/>
              </a:p>
            </p:txBody>
          </p:sp>
          <p:sp>
            <p:nvSpPr>
              <p:cNvPr id="3789" name="Vrije vorm: vorm 3788">
                <a:extLst>
                  <a:ext uri="{FF2B5EF4-FFF2-40B4-BE49-F238E27FC236}">
                    <a16:creationId xmlns:a16="http://schemas.microsoft.com/office/drawing/2014/main" id="{52FCE6E7-8558-447E-9DD7-4FDC5CF90C95}"/>
                  </a:ext>
                </a:extLst>
              </p:cNvPr>
              <p:cNvSpPr/>
              <p:nvPr/>
            </p:nvSpPr>
            <p:spPr>
              <a:xfrm>
                <a:off x="7202466" y="4819652"/>
                <a:ext cx="18389" cy="18425"/>
              </a:xfrm>
              <a:custGeom>
                <a:avLst/>
                <a:gdLst>
                  <a:gd name="connsiteX0" fmla="*/ 16285 w 18389"/>
                  <a:gd name="connsiteY0" fmla="*/ 3361 h 18425"/>
                  <a:gd name="connsiteX1" fmla="*/ 15028 w 18389"/>
                  <a:gd name="connsiteY1" fmla="*/ 16339 h 18425"/>
                  <a:gd name="connsiteX2" fmla="*/ 2111 w 18389"/>
                  <a:gd name="connsiteY2" fmla="*/ 15083 h 18425"/>
                  <a:gd name="connsiteX3" fmla="*/ 3306 w 18389"/>
                  <a:gd name="connsiteY3" fmla="*/ 2105 h 18425"/>
                  <a:gd name="connsiteX4" fmla="*/ 16285 w 18389"/>
                  <a:gd name="connsiteY4" fmla="*/ 3361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9" h="18425">
                    <a:moveTo>
                      <a:pt x="16285" y="3361"/>
                    </a:moveTo>
                    <a:cubicBezTo>
                      <a:pt x="19514" y="7308"/>
                      <a:pt x="18976" y="13110"/>
                      <a:pt x="15028" y="16339"/>
                    </a:cubicBezTo>
                    <a:cubicBezTo>
                      <a:pt x="11141" y="19569"/>
                      <a:pt x="5340" y="18971"/>
                      <a:pt x="2111" y="15083"/>
                    </a:cubicBezTo>
                    <a:cubicBezTo>
                      <a:pt x="-1119" y="11136"/>
                      <a:pt x="-581" y="5335"/>
                      <a:pt x="3306" y="2105"/>
                    </a:cubicBezTo>
                    <a:cubicBezTo>
                      <a:pt x="7314" y="-1124"/>
                      <a:pt x="13055" y="-586"/>
                      <a:pt x="16285" y="3361"/>
                    </a:cubicBezTo>
                    <a:close/>
                  </a:path>
                </a:pathLst>
              </a:custGeom>
              <a:grpFill/>
              <a:ln w="5978" cap="flat">
                <a:noFill/>
                <a:prstDash val="solid"/>
                <a:miter/>
              </a:ln>
            </p:spPr>
            <p:txBody>
              <a:bodyPr rtlCol="0" anchor="ctr"/>
              <a:lstStyle/>
              <a:p>
                <a:endParaRPr lang="en-GB"/>
              </a:p>
            </p:txBody>
          </p:sp>
          <p:sp>
            <p:nvSpPr>
              <p:cNvPr id="3790" name="Vrije vorm: vorm 3789">
                <a:extLst>
                  <a:ext uri="{FF2B5EF4-FFF2-40B4-BE49-F238E27FC236}">
                    <a16:creationId xmlns:a16="http://schemas.microsoft.com/office/drawing/2014/main" id="{801647B7-D464-449D-8158-83B8C55EF916}"/>
                  </a:ext>
                </a:extLst>
              </p:cNvPr>
              <p:cNvSpPr/>
              <p:nvPr/>
            </p:nvSpPr>
            <p:spPr>
              <a:xfrm>
                <a:off x="7111070" y="4707981"/>
                <a:ext cx="18321" cy="18395"/>
              </a:xfrm>
              <a:custGeom>
                <a:avLst/>
                <a:gdLst>
                  <a:gd name="connsiteX0" fmla="*/ 16236 w 18321"/>
                  <a:gd name="connsiteY0" fmla="*/ 3372 h 18395"/>
                  <a:gd name="connsiteX1" fmla="*/ 3317 w 18321"/>
                  <a:gd name="connsiteY1" fmla="*/ 2056 h 18395"/>
                  <a:gd name="connsiteX2" fmla="*/ 2061 w 18321"/>
                  <a:gd name="connsiteY2" fmla="*/ 15034 h 18395"/>
                  <a:gd name="connsiteX3" fmla="*/ 14980 w 18321"/>
                  <a:gd name="connsiteY3" fmla="*/ 16290 h 18395"/>
                  <a:gd name="connsiteX4" fmla="*/ 16236 w 18321"/>
                  <a:gd name="connsiteY4" fmla="*/ 3372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95">
                    <a:moveTo>
                      <a:pt x="16236" y="3372"/>
                    </a:moveTo>
                    <a:cubicBezTo>
                      <a:pt x="13006" y="-575"/>
                      <a:pt x="7265" y="-1114"/>
                      <a:pt x="3317" y="2056"/>
                    </a:cubicBezTo>
                    <a:cubicBezTo>
                      <a:pt x="-571" y="5286"/>
                      <a:pt x="-1109" y="11087"/>
                      <a:pt x="2061" y="15034"/>
                    </a:cubicBezTo>
                    <a:cubicBezTo>
                      <a:pt x="5291" y="18981"/>
                      <a:pt x="11032" y="19520"/>
                      <a:pt x="14980" y="16290"/>
                    </a:cubicBezTo>
                    <a:cubicBezTo>
                      <a:pt x="18867" y="13120"/>
                      <a:pt x="19465" y="7319"/>
                      <a:pt x="16236" y="3372"/>
                    </a:cubicBezTo>
                    <a:close/>
                  </a:path>
                </a:pathLst>
              </a:custGeom>
              <a:grpFill/>
              <a:ln w="5978" cap="flat">
                <a:noFill/>
                <a:prstDash val="solid"/>
                <a:miter/>
              </a:ln>
            </p:spPr>
            <p:txBody>
              <a:bodyPr rtlCol="0" anchor="ctr"/>
              <a:lstStyle/>
              <a:p>
                <a:endParaRPr lang="en-GB"/>
              </a:p>
            </p:txBody>
          </p:sp>
        </p:grpSp>
        <p:grpSp>
          <p:nvGrpSpPr>
            <p:cNvPr id="534" name="Graphic 3">
              <a:extLst>
                <a:ext uri="{FF2B5EF4-FFF2-40B4-BE49-F238E27FC236}">
                  <a16:creationId xmlns:a16="http://schemas.microsoft.com/office/drawing/2014/main" id="{06F07A23-5461-4A1F-97C4-ADF5C2754044}"/>
                </a:ext>
              </a:extLst>
            </p:cNvPr>
            <p:cNvGrpSpPr/>
            <p:nvPr/>
          </p:nvGrpSpPr>
          <p:grpSpPr>
            <a:xfrm>
              <a:off x="6024460" y="1247977"/>
              <a:ext cx="20216" cy="206754"/>
              <a:chOff x="6024460" y="1247977"/>
              <a:chExt cx="20216" cy="206754"/>
            </a:xfrm>
            <a:grpFill/>
          </p:grpSpPr>
          <p:sp>
            <p:nvSpPr>
              <p:cNvPr id="3785" name="Vrije vorm: vorm 3784">
                <a:extLst>
                  <a:ext uri="{FF2B5EF4-FFF2-40B4-BE49-F238E27FC236}">
                    <a16:creationId xmlns:a16="http://schemas.microsoft.com/office/drawing/2014/main" id="{5BBC8853-589C-4969-A8A3-E9DDB2CBB47F}"/>
                  </a:ext>
                </a:extLst>
              </p:cNvPr>
              <p:cNvSpPr/>
              <p:nvPr/>
            </p:nvSpPr>
            <p:spPr>
              <a:xfrm>
                <a:off x="6032116" y="1256709"/>
                <a:ext cx="4904" cy="189289"/>
              </a:xfrm>
              <a:custGeom>
                <a:avLst/>
                <a:gdLst>
                  <a:gd name="connsiteX0" fmla="*/ 3050 w 4904"/>
                  <a:gd name="connsiteY0" fmla="*/ 0 h 189289"/>
                  <a:gd name="connsiteX1" fmla="*/ 4904 w 4904"/>
                  <a:gd name="connsiteY1" fmla="*/ 189290 h 189289"/>
                  <a:gd name="connsiteX2" fmla="*/ 1854 w 4904"/>
                  <a:gd name="connsiteY2" fmla="*/ 189290 h 189289"/>
                  <a:gd name="connsiteX3" fmla="*/ 0 w 4904"/>
                  <a:gd name="connsiteY3" fmla="*/ 0 h 189289"/>
                </a:gdLst>
                <a:ahLst/>
                <a:cxnLst>
                  <a:cxn ang="0">
                    <a:pos x="connsiteX0" y="connsiteY0"/>
                  </a:cxn>
                  <a:cxn ang="0">
                    <a:pos x="connsiteX1" y="connsiteY1"/>
                  </a:cxn>
                  <a:cxn ang="0">
                    <a:pos x="connsiteX2" y="connsiteY2"/>
                  </a:cxn>
                  <a:cxn ang="0">
                    <a:pos x="connsiteX3" y="connsiteY3"/>
                  </a:cxn>
                </a:cxnLst>
                <a:rect l="l" t="t" r="r" b="b"/>
                <a:pathLst>
                  <a:path w="4904" h="189289">
                    <a:moveTo>
                      <a:pt x="3050" y="0"/>
                    </a:moveTo>
                    <a:lnTo>
                      <a:pt x="4904" y="189290"/>
                    </a:lnTo>
                    <a:lnTo>
                      <a:pt x="1854" y="189290"/>
                    </a:lnTo>
                    <a:lnTo>
                      <a:pt x="0" y="0"/>
                    </a:lnTo>
                    <a:close/>
                  </a:path>
                </a:pathLst>
              </a:custGeom>
              <a:grpFill/>
              <a:ln w="5978" cap="flat">
                <a:noFill/>
                <a:prstDash val="solid"/>
                <a:miter/>
              </a:ln>
            </p:spPr>
            <p:txBody>
              <a:bodyPr rtlCol="0" anchor="ctr"/>
              <a:lstStyle/>
              <a:p>
                <a:endParaRPr lang="en-GB"/>
              </a:p>
            </p:txBody>
          </p:sp>
          <p:sp>
            <p:nvSpPr>
              <p:cNvPr id="3786" name="Vrije vorm: vorm 3785">
                <a:extLst>
                  <a:ext uri="{FF2B5EF4-FFF2-40B4-BE49-F238E27FC236}">
                    <a16:creationId xmlns:a16="http://schemas.microsoft.com/office/drawing/2014/main" id="{60B1F58F-A352-4644-8C00-BFB8E44DAE69}"/>
                  </a:ext>
                </a:extLst>
              </p:cNvPr>
              <p:cNvSpPr/>
              <p:nvPr/>
            </p:nvSpPr>
            <p:spPr>
              <a:xfrm>
                <a:off x="6024460" y="1247977"/>
                <a:ext cx="18362" cy="18421"/>
              </a:xfrm>
              <a:custGeom>
                <a:avLst/>
                <a:gdLst>
                  <a:gd name="connsiteX0" fmla="*/ 1 w 18362"/>
                  <a:gd name="connsiteY0" fmla="*/ 9271 h 18421"/>
                  <a:gd name="connsiteX1" fmla="*/ 9091 w 18362"/>
                  <a:gd name="connsiteY1" fmla="*/ 1 h 18421"/>
                  <a:gd name="connsiteX2" fmla="*/ 18362 w 18362"/>
                  <a:gd name="connsiteY2" fmla="*/ 9151 h 18421"/>
                  <a:gd name="connsiteX3" fmla="*/ 9271 w 18362"/>
                  <a:gd name="connsiteY3" fmla="*/ 1842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59" y="4187"/>
                      <a:pt x="4008" y="60"/>
                      <a:pt x="9091" y="1"/>
                    </a:cubicBezTo>
                    <a:cubicBezTo>
                      <a:pt x="14175" y="-59"/>
                      <a:pt x="18302" y="4068"/>
                      <a:pt x="18362" y="9151"/>
                    </a:cubicBezTo>
                    <a:cubicBezTo>
                      <a:pt x="18421" y="14235"/>
                      <a:pt x="14355" y="18361"/>
                      <a:pt x="9271" y="18421"/>
                    </a:cubicBezTo>
                    <a:cubicBezTo>
                      <a:pt x="4187" y="18481"/>
                      <a:pt x="61" y="14354"/>
                      <a:pt x="1" y="9271"/>
                    </a:cubicBezTo>
                    <a:close/>
                  </a:path>
                </a:pathLst>
              </a:custGeom>
              <a:grpFill/>
              <a:ln w="5978" cap="flat">
                <a:noFill/>
                <a:prstDash val="solid"/>
                <a:miter/>
              </a:ln>
            </p:spPr>
            <p:txBody>
              <a:bodyPr rtlCol="0" anchor="ctr"/>
              <a:lstStyle/>
              <a:p>
                <a:endParaRPr lang="en-GB"/>
              </a:p>
            </p:txBody>
          </p:sp>
          <p:sp>
            <p:nvSpPr>
              <p:cNvPr id="3787" name="Vrije vorm: vorm 3786">
                <a:extLst>
                  <a:ext uri="{FF2B5EF4-FFF2-40B4-BE49-F238E27FC236}">
                    <a16:creationId xmlns:a16="http://schemas.microsoft.com/office/drawing/2014/main" id="{82602ECB-717A-4B04-9375-4E6A1EB03FE6}"/>
                  </a:ext>
                </a:extLst>
              </p:cNvPr>
              <p:cNvSpPr/>
              <p:nvPr/>
            </p:nvSpPr>
            <p:spPr>
              <a:xfrm>
                <a:off x="6026314" y="1436310"/>
                <a:ext cx="18361" cy="18421"/>
              </a:xfrm>
              <a:custGeom>
                <a:avLst/>
                <a:gdLst>
                  <a:gd name="connsiteX0" fmla="*/ 0 w 18361"/>
                  <a:gd name="connsiteY0" fmla="*/ 9271 h 18421"/>
                  <a:gd name="connsiteX1" fmla="*/ 9270 w 18361"/>
                  <a:gd name="connsiteY1" fmla="*/ 18421 h 18421"/>
                  <a:gd name="connsiteX2" fmla="*/ 18361 w 18361"/>
                  <a:gd name="connsiteY2" fmla="*/ 9151 h 18421"/>
                  <a:gd name="connsiteX3" fmla="*/ 9091 w 18361"/>
                  <a:gd name="connsiteY3" fmla="*/ 1 h 18421"/>
                  <a:gd name="connsiteX4" fmla="*/ 0 w 18361"/>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0" y="9271"/>
                    </a:moveTo>
                    <a:cubicBezTo>
                      <a:pt x="60" y="14354"/>
                      <a:pt x="4187" y="18481"/>
                      <a:pt x="9270" y="18421"/>
                    </a:cubicBezTo>
                    <a:cubicBezTo>
                      <a:pt x="14354" y="18421"/>
                      <a:pt x="18421" y="14235"/>
                      <a:pt x="18361" y="9151"/>
                    </a:cubicBezTo>
                    <a:cubicBezTo>
                      <a:pt x="18301" y="4068"/>
                      <a:pt x="14174" y="-59"/>
                      <a:pt x="9091" y="1"/>
                    </a:cubicBezTo>
                    <a:cubicBezTo>
                      <a:pt x="4067" y="60"/>
                      <a:pt x="0" y="4187"/>
                      <a:pt x="0" y="9271"/>
                    </a:cubicBezTo>
                    <a:close/>
                  </a:path>
                </a:pathLst>
              </a:custGeom>
              <a:grpFill/>
              <a:ln w="5978" cap="flat">
                <a:noFill/>
                <a:prstDash val="solid"/>
                <a:miter/>
              </a:ln>
            </p:spPr>
            <p:txBody>
              <a:bodyPr rtlCol="0" anchor="ctr"/>
              <a:lstStyle/>
              <a:p>
                <a:endParaRPr lang="en-GB"/>
              </a:p>
            </p:txBody>
          </p:sp>
        </p:grpSp>
        <p:grpSp>
          <p:nvGrpSpPr>
            <p:cNvPr id="535" name="Graphic 3">
              <a:extLst>
                <a:ext uri="{FF2B5EF4-FFF2-40B4-BE49-F238E27FC236}">
                  <a16:creationId xmlns:a16="http://schemas.microsoft.com/office/drawing/2014/main" id="{EA5A909C-8B03-4F17-8110-460BE3996254}"/>
                </a:ext>
              </a:extLst>
            </p:cNvPr>
            <p:cNvGrpSpPr/>
            <p:nvPr/>
          </p:nvGrpSpPr>
          <p:grpSpPr>
            <a:xfrm>
              <a:off x="6122773" y="1643532"/>
              <a:ext cx="22209" cy="102650"/>
              <a:chOff x="6122773" y="1643532"/>
              <a:chExt cx="22209" cy="102650"/>
            </a:xfrm>
            <a:grpFill/>
          </p:grpSpPr>
          <p:sp>
            <p:nvSpPr>
              <p:cNvPr id="3782" name="Vrije vorm: vorm 3781">
                <a:extLst>
                  <a:ext uri="{FF2B5EF4-FFF2-40B4-BE49-F238E27FC236}">
                    <a16:creationId xmlns:a16="http://schemas.microsoft.com/office/drawing/2014/main" id="{01AF7659-FCE2-420F-9208-1CA3D3C65E0A}"/>
                  </a:ext>
                </a:extLst>
              </p:cNvPr>
              <p:cNvSpPr/>
              <p:nvPr/>
            </p:nvSpPr>
            <p:spPr>
              <a:xfrm>
                <a:off x="6130439" y="1652155"/>
                <a:ext cx="6937" cy="85344"/>
              </a:xfrm>
              <a:custGeom>
                <a:avLst/>
                <a:gdLst>
                  <a:gd name="connsiteX0" fmla="*/ 6937 w 6937"/>
                  <a:gd name="connsiteY0" fmla="*/ 179 h 85344"/>
                  <a:gd name="connsiteX1" fmla="*/ 2990 w 6937"/>
                  <a:gd name="connsiteY1" fmla="*/ 85345 h 85344"/>
                  <a:gd name="connsiteX2" fmla="*/ 0 w 6937"/>
                  <a:gd name="connsiteY2" fmla="*/ 85165 h 85344"/>
                  <a:gd name="connsiteX3" fmla="*/ 3887 w 6937"/>
                  <a:gd name="connsiteY3" fmla="*/ 0 h 85344"/>
                </a:gdLst>
                <a:ahLst/>
                <a:cxnLst>
                  <a:cxn ang="0">
                    <a:pos x="connsiteX0" y="connsiteY0"/>
                  </a:cxn>
                  <a:cxn ang="0">
                    <a:pos x="connsiteX1" y="connsiteY1"/>
                  </a:cxn>
                  <a:cxn ang="0">
                    <a:pos x="connsiteX2" y="connsiteY2"/>
                  </a:cxn>
                  <a:cxn ang="0">
                    <a:pos x="connsiteX3" y="connsiteY3"/>
                  </a:cxn>
                </a:cxnLst>
                <a:rect l="l" t="t" r="r" b="b"/>
                <a:pathLst>
                  <a:path w="6937" h="85344">
                    <a:moveTo>
                      <a:pt x="6937" y="179"/>
                    </a:moveTo>
                    <a:lnTo>
                      <a:pt x="2990" y="85345"/>
                    </a:lnTo>
                    <a:lnTo>
                      <a:pt x="0" y="85165"/>
                    </a:lnTo>
                    <a:lnTo>
                      <a:pt x="3887" y="0"/>
                    </a:lnTo>
                    <a:close/>
                  </a:path>
                </a:pathLst>
              </a:custGeom>
              <a:grpFill/>
              <a:ln w="5978" cap="flat">
                <a:noFill/>
                <a:prstDash val="solid"/>
                <a:miter/>
              </a:ln>
            </p:spPr>
            <p:txBody>
              <a:bodyPr rtlCol="0" anchor="ctr"/>
              <a:lstStyle/>
              <a:p>
                <a:endParaRPr lang="en-GB"/>
              </a:p>
            </p:txBody>
          </p:sp>
          <p:sp>
            <p:nvSpPr>
              <p:cNvPr id="3783" name="Vrije vorm: vorm 3782">
                <a:extLst>
                  <a:ext uri="{FF2B5EF4-FFF2-40B4-BE49-F238E27FC236}">
                    <a16:creationId xmlns:a16="http://schemas.microsoft.com/office/drawing/2014/main" id="{FD550DAD-107B-49B8-B714-4E4364C6CA19}"/>
                  </a:ext>
                </a:extLst>
              </p:cNvPr>
              <p:cNvSpPr/>
              <p:nvPr/>
            </p:nvSpPr>
            <p:spPr>
              <a:xfrm>
                <a:off x="6126661" y="1643532"/>
                <a:ext cx="18321" cy="18441"/>
              </a:xfrm>
              <a:custGeom>
                <a:avLst/>
                <a:gdLst>
                  <a:gd name="connsiteX0" fmla="*/ 10 w 18321"/>
                  <a:gd name="connsiteY0" fmla="*/ 8742 h 18441"/>
                  <a:gd name="connsiteX1" fmla="*/ 9580 w 18321"/>
                  <a:gd name="connsiteY1" fmla="*/ 10 h 18441"/>
                  <a:gd name="connsiteX2" fmla="*/ 18311 w 18321"/>
                  <a:gd name="connsiteY2" fmla="*/ 9699 h 18441"/>
                  <a:gd name="connsiteX3" fmla="*/ 8742 w 18321"/>
                  <a:gd name="connsiteY3" fmla="*/ 18431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50" y="3659"/>
                      <a:pt x="4556" y="-229"/>
                      <a:pt x="9580" y="10"/>
                    </a:cubicBezTo>
                    <a:cubicBezTo>
                      <a:pt x="14663" y="250"/>
                      <a:pt x="18551" y="4616"/>
                      <a:pt x="18311" y="9699"/>
                    </a:cubicBezTo>
                    <a:cubicBezTo>
                      <a:pt x="18072" y="14783"/>
                      <a:pt x="13766" y="18670"/>
                      <a:pt x="8742" y="18431"/>
                    </a:cubicBezTo>
                    <a:cubicBezTo>
                      <a:pt x="3659" y="18132"/>
                      <a:pt x="-229" y="13826"/>
                      <a:pt x="10" y="8742"/>
                    </a:cubicBezTo>
                    <a:close/>
                  </a:path>
                </a:pathLst>
              </a:custGeom>
              <a:grpFill/>
              <a:ln w="5978" cap="flat">
                <a:noFill/>
                <a:prstDash val="solid"/>
                <a:miter/>
              </a:ln>
            </p:spPr>
            <p:txBody>
              <a:bodyPr rtlCol="0" anchor="ctr"/>
              <a:lstStyle/>
              <a:p>
                <a:endParaRPr lang="en-GB"/>
              </a:p>
            </p:txBody>
          </p:sp>
          <p:sp>
            <p:nvSpPr>
              <p:cNvPr id="3784" name="Vrije vorm: vorm 3783">
                <a:extLst>
                  <a:ext uri="{FF2B5EF4-FFF2-40B4-BE49-F238E27FC236}">
                    <a16:creationId xmlns:a16="http://schemas.microsoft.com/office/drawing/2014/main" id="{F39CF41F-B2EB-42EF-855D-4575C67B01E0}"/>
                  </a:ext>
                </a:extLst>
              </p:cNvPr>
              <p:cNvSpPr/>
              <p:nvPr/>
            </p:nvSpPr>
            <p:spPr>
              <a:xfrm>
                <a:off x="6122773" y="1727741"/>
                <a:ext cx="18321" cy="18441"/>
              </a:xfrm>
              <a:custGeom>
                <a:avLst/>
                <a:gdLst>
                  <a:gd name="connsiteX0" fmla="*/ 10 w 18321"/>
                  <a:gd name="connsiteY0" fmla="*/ 8742 h 18441"/>
                  <a:gd name="connsiteX1" fmla="*/ 8742 w 18321"/>
                  <a:gd name="connsiteY1" fmla="*/ 18431 h 18441"/>
                  <a:gd name="connsiteX2" fmla="*/ 18311 w 18321"/>
                  <a:gd name="connsiteY2" fmla="*/ 9699 h 18441"/>
                  <a:gd name="connsiteX3" fmla="*/ 9580 w 18321"/>
                  <a:gd name="connsiteY3" fmla="*/ 10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29" y="13826"/>
                      <a:pt x="3718" y="18132"/>
                      <a:pt x="8742" y="18431"/>
                    </a:cubicBezTo>
                    <a:cubicBezTo>
                      <a:pt x="13826" y="18670"/>
                      <a:pt x="18072" y="14783"/>
                      <a:pt x="18311" y="9699"/>
                    </a:cubicBezTo>
                    <a:cubicBezTo>
                      <a:pt x="18551" y="4616"/>
                      <a:pt x="14603" y="309"/>
                      <a:pt x="9580" y="10"/>
                    </a:cubicBezTo>
                    <a:cubicBezTo>
                      <a:pt x="4556" y="-229"/>
                      <a:pt x="250" y="3659"/>
                      <a:pt x="10" y="8742"/>
                    </a:cubicBezTo>
                    <a:close/>
                  </a:path>
                </a:pathLst>
              </a:custGeom>
              <a:grpFill/>
              <a:ln w="5978" cap="flat">
                <a:noFill/>
                <a:prstDash val="solid"/>
                <a:miter/>
              </a:ln>
            </p:spPr>
            <p:txBody>
              <a:bodyPr rtlCol="0" anchor="ctr"/>
              <a:lstStyle/>
              <a:p>
                <a:endParaRPr lang="en-GB"/>
              </a:p>
            </p:txBody>
          </p:sp>
        </p:grpSp>
        <p:grpSp>
          <p:nvGrpSpPr>
            <p:cNvPr id="536" name="Graphic 3">
              <a:extLst>
                <a:ext uri="{FF2B5EF4-FFF2-40B4-BE49-F238E27FC236}">
                  <a16:creationId xmlns:a16="http://schemas.microsoft.com/office/drawing/2014/main" id="{E7D2B30A-17A9-4CC6-9B8C-D586CFF63AE5}"/>
                </a:ext>
              </a:extLst>
            </p:cNvPr>
            <p:cNvGrpSpPr/>
            <p:nvPr/>
          </p:nvGrpSpPr>
          <p:grpSpPr>
            <a:xfrm>
              <a:off x="7086112" y="4728059"/>
              <a:ext cx="235953" cy="354184"/>
              <a:chOff x="7086112" y="4728059"/>
              <a:chExt cx="235953" cy="354184"/>
            </a:xfrm>
            <a:grpFill/>
          </p:grpSpPr>
          <p:sp>
            <p:nvSpPr>
              <p:cNvPr id="3779" name="Vrije vorm: vorm 3778">
                <a:extLst>
                  <a:ext uri="{FF2B5EF4-FFF2-40B4-BE49-F238E27FC236}">
                    <a16:creationId xmlns:a16="http://schemas.microsoft.com/office/drawing/2014/main" id="{5899F112-9157-4338-AFE8-5E1DA4240E96}"/>
                  </a:ext>
                </a:extLst>
              </p:cNvPr>
              <p:cNvSpPr/>
              <p:nvPr/>
            </p:nvSpPr>
            <p:spPr>
              <a:xfrm>
                <a:off x="7093694" y="4736054"/>
                <a:ext cx="220748" cy="338209"/>
              </a:xfrm>
              <a:custGeom>
                <a:avLst/>
                <a:gdLst>
                  <a:gd name="connsiteX0" fmla="*/ 220749 w 220748"/>
                  <a:gd name="connsiteY0" fmla="*/ 336535 h 338209"/>
                  <a:gd name="connsiteX1" fmla="*/ 218177 w 220748"/>
                  <a:gd name="connsiteY1" fmla="*/ 338210 h 338209"/>
                  <a:gd name="connsiteX2" fmla="*/ 0 w 220748"/>
                  <a:gd name="connsiteY2" fmla="*/ 1615 h 338209"/>
                  <a:gd name="connsiteX3" fmla="*/ 2571 w 220748"/>
                  <a:gd name="connsiteY3" fmla="*/ 0 h 338209"/>
                </a:gdLst>
                <a:ahLst/>
                <a:cxnLst>
                  <a:cxn ang="0">
                    <a:pos x="connsiteX0" y="connsiteY0"/>
                  </a:cxn>
                  <a:cxn ang="0">
                    <a:pos x="connsiteX1" y="connsiteY1"/>
                  </a:cxn>
                  <a:cxn ang="0">
                    <a:pos x="connsiteX2" y="connsiteY2"/>
                  </a:cxn>
                  <a:cxn ang="0">
                    <a:pos x="connsiteX3" y="connsiteY3"/>
                  </a:cxn>
                </a:cxnLst>
                <a:rect l="l" t="t" r="r" b="b"/>
                <a:pathLst>
                  <a:path w="220748" h="338209">
                    <a:moveTo>
                      <a:pt x="220749" y="336535"/>
                    </a:moveTo>
                    <a:lnTo>
                      <a:pt x="218177" y="338210"/>
                    </a:lnTo>
                    <a:lnTo>
                      <a:pt x="0" y="1615"/>
                    </a:lnTo>
                    <a:lnTo>
                      <a:pt x="2571" y="0"/>
                    </a:lnTo>
                    <a:close/>
                  </a:path>
                </a:pathLst>
              </a:custGeom>
              <a:grpFill/>
              <a:ln w="5978" cap="flat">
                <a:noFill/>
                <a:prstDash val="solid"/>
                <a:miter/>
              </a:ln>
            </p:spPr>
            <p:txBody>
              <a:bodyPr rtlCol="0" anchor="ctr"/>
              <a:lstStyle/>
              <a:p>
                <a:endParaRPr lang="en-GB"/>
              </a:p>
            </p:txBody>
          </p:sp>
          <p:sp>
            <p:nvSpPr>
              <p:cNvPr id="3780" name="Vrije vorm: vorm 3779">
                <a:extLst>
                  <a:ext uri="{FF2B5EF4-FFF2-40B4-BE49-F238E27FC236}">
                    <a16:creationId xmlns:a16="http://schemas.microsoft.com/office/drawing/2014/main" id="{C339430D-2380-4B60-AC2B-8FAE5B755931}"/>
                  </a:ext>
                </a:extLst>
              </p:cNvPr>
              <p:cNvSpPr/>
              <p:nvPr/>
            </p:nvSpPr>
            <p:spPr>
              <a:xfrm>
                <a:off x="7086112" y="4728059"/>
                <a:ext cx="18273" cy="18426"/>
              </a:xfrm>
              <a:custGeom>
                <a:avLst/>
                <a:gdLst>
                  <a:gd name="connsiteX0" fmla="*/ 1481 w 18273"/>
                  <a:gd name="connsiteY0" fmla="*/ 14215 h 18426"/>
                  <a:gd name="connsiteX1" fmla="*/ 4113 w 18273"/>
                  <a:gd name="connsiteY1" fmla="*/ 1476 h 18426"/>
                  <a:gd name="connsiteX2" fmla="*/ 16792 w 18273"/>
                  <a:gd name="connsiteY2" fmla="*/ 4227 h 18426"/>
                  <a:gd name="connsiteX3" fmla="*/ 14160 w 18273"/>
                  <a:gd name="connsiteY3" fmla="*/ 16966 h 18426"/>
                  <a:gd name="connsiteX4" fmla="*/ 1481 w 18273"/>
                  <a:gd name="connsiteY4" fmla="*/ 142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26">
                    <a:moveTo>
                      <a:pt x="1481" y="14215"/>
                    </a:moveTo>
                    <a:cubicBezTo>
                      <a:pt x="-1270" y="9968"/>
                      <a:pt x="-74" y="4227"/>
                      <a:pt x="4113" y="1476"/>
                    </a:cubicBezTo>
                    <a:cubicBezTo>
                      <a:pt x="8359" y="-1276"/>
                      <a:pt x="14041" y="-79"/>
                      <a:pt x="16792" y="4227"/>
                    </a:cubicBezTo>
                    <a:cubicBezTo>
                      <a:pt x="19543" y="8533"/>
                      <a:pt x="18347" y="14215"/>
                      <a:pt x="14160" y="16966"/>
                    </a:cubicBezTo>
                    <a:cubicBezTo>
                      <a:pt x="9974" y="19717"/>
                      <a:pt x="4232" y="18461"/>
                      <a:pt x="1481" y="14215"/>
                    </a:cubicBezTo>
                    <a:close/>
                  </a:path>
                </a:pathLst>
              </a:custGeom>
              <a:grpFill/>
              <a:ln w="5978" cap="flat">
                <a:noFill/>
                <a:prstDash val="solid"/>
                <a:miter/>
              </a:ln>
            </p:spPr>
            <p:txBody>
              <a:bodyPr rtlCol="0" anchor="ctr"/>
              <a:lstStyle/>
              <a:p>
                <a:endParaRPr lang="en-GB"/>
              </a:p>
            </p:txBody>
          </p:sp>
          <p:sp>
            <p:nvSpPr>
              <p:cNvPr id="3781" name="Vrije vorm: vorm 3780">
                <a:extLst>
                  <a:ext uri="{FF2B5EF4-FFF2-40B4-BE49-F238E27FC236}">
                    <a16:creationId xmlns:a16="http://schemas.microsoft.com/office/drawing/2014/main" id="{1ABE281D-2F59-4B45-9D6E-4C6D6A9E9884}"/>
                  </a:ext>
                </a:extLst>
              </p:cNvPr>
              <p:cNvSpPr/>
              <p:nvPr/>
            </p:nvSpPr>
            <p:spPr>
              <a:xfrm>
                <a:off x="7303736" y="5063832"/>
                <a:ext cx="18330" cy="18411"/>
              </a:xfrm>
              <a:custGeom>
                <a:avLst/>
                <a:gdLst>
                  <a:gd name="connsiteX0" fmla="*/ 1497 w 18330"/>
                  <a:gd name="connsiteY0" fmla="*/ 14200 h 18411"/>
                  <a:gd name="connsiteX1" fmla="*/ 14176 w 18330"/>
                  <a:gd name="connsiteY1" fmla="*/ 16951 h 18411"/>
                  <a:gd name="connsiteX2" fmla="*/ 16807 w 18330"/>
                  <a:gd name="connsiteY2" fmla="*/ 4212 h 18411"/>
                  <a:gd name="connsiteX3" fmla="*/ 4128 w 18330"/>
                  <a:gd name="connsiteY3" fmla="*/ 1461 h 18411"/>
                  <a:gd name="connsiteX4" fmla="*/ 1497 w 18330"/>
                  <a:gd name="connsiteY4" fmla="*/ 1420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11">
                    <a:moveTo>
                      <a:pt x="1497" y="14200"/>
                    </a:moveTo>
                    <a:cubicBezTo>
                      <a:pt x="4247" y="18446"/>
                      <a:pt x="9930" y="19702"/>
                      <a:pt x="14176" y="16951"/>
                    </a:cubicBezTo>
                    <a:cubicBezTo>
                      <a:pt x="18422" y="14200"/>
                      <a:pt x="19618" y="8458"/>
                      <a:pt x="16807" y="4212"/>
                    </a:cubicBezTo>
                    <a:cubicBezTo>
                      <a:pt x="14056" y="-35"/>
                      <a:pt x="8375" y="-1290"/>
                      <a:pt x="4128" y="1461"/>
                    </a:cubicBezTo>
                    <a:cubicBezTo>
                      <a:pt x="-118" y="4212"/>
                      <a:pt x="-1254" y="9953"/>
                      <a:pt x="1497" y="14200"/>
                    </a:cubicBezTo>
                    <a:close/>
                  </a:path>
                </a:pathLst>
              </a:custGeom>
              <a:grpFill/>
              <a:ln w="5978" cap="flat">
                <a:noFill/>
                <a:prstDash val="solid"/>
                <a:miter/>
              </a:ln>
            </p:spPr>
            <p:txBody>
              <a:bodyPr rtlCol="0" anchor="ctr"/>
              <a:lstStyle/>
              <a:p>
                <a:endParaRPr lang="en-GB"/>
              </a:p>
            </p:txBody>
          </p:sp>
        </p:grpSp>
        <p:grpSp>
          <p:nvGrpSpPr>
            <p:cNvPr id="537" name="Graphic 3">
              <a:extLst>
                <a:ext uri="{FF2B5EF4-FFF2-40B4-BE49-F238E27FC236}">
                  <a16:creationId xmlns:a16="http://schemas.microsoft.com/office/drawing/2014/main" id="{DEC40A7B-83BD-492B-92C3-3460481F7560}"/>
                </a:ext>
              </a:extLst>
            </p:cNvPr>
            <p:cNvGrpSpPr/>
            <p:nvPr/>
          </p:nvGrpSpPr>
          <p:grpSpPr>
            <a:xfrm>
              <a:off x="6091622" y="1633010"/>
              <a:ext cx="20818" cy="111372"/>
              <a:chOff x="6091622" y="1633010"/>
              <a:chExt cx="20818" cy="111372"/>
            </a:xfrm>
            <a:grpFill/>
          </p:grpSpPr>
          <p:sp>
            <p:nvSpPr>
              <p:cNvPr id="3776" name="Vrije vorm: vorm 3775">
                <a:extLst>
                  <a:ext uri="{FF2B5EF4-FFF2-40B4-BE49-F238E27FC236}">
                    <a16:creationId xmlns:a16="http://schemas.microsoft.com/office/drawing/2014/main" id="{70C2260E-A186-4E87-AA6B-6497BFA9404A}"/>
                  </a:ext>
                </a:extLst>
              </p:cNvPr>
              <p:cNvSpPr/>
              <p:nvPr/>
            </p:nvSpPr>
            <p:spPr>
              <a:xfrm>
                <a:off x="6099279" y="1641688"/>
                <a:ext cx="5562" cy="93957"/>
              </a:xfrm>
              <a:custGeom>
                <a:avLst/>
                <a:gdLst>
                  <a:gd name="connsiteX0" fmla="*/ 5562 w 5562"/>
                  <a:gd name="connsiteY0" fmla="*/ 120 h 93957"/>
                  <a:gd name="connsiteX1" fmla="*/ 3050 w 5562"/>
                  <a:gd name="connsiteY1" fmla="*/ 93957 h 93957"/>
                  <a:gd name="connsiteX2" fmla="*/ 0 w 5562"/>
                  <a:gd name="connsiteY2" fmla="*/ 93837 h 93957"/>
                  <a:gd name="connsiteX3" fmla="*/ 2512 w 5562"/>
                  <a:gd name="connsiteY3" fmla="*/ 0 h 93957"/>
                </a:gdLst>
                <a:ahLst/>
                <a:cxnLst>
                  <a:cxn ang="0">
                    <a:pos x="connsiteX0" y="connsiteY0"/>
                  </a:cxn>
                  <a:cxn ang="0">
                    <a:pos x="connsiteX1" y="connsiteY1"/>
                  </a:cxn>
                  <a:cxn ang="0">
                    <a:pos x="connsiteX2" y="connsiteY2"/>
                  </a:cxn>
                  <a:cxn ang="0">
                    <a:pos x="connsiteX3" y="connsiteY3"/>
                  </a:cxn>
                </a:cxnLst>
                <a:rect l="l" t="t" r="r" b="b"/>
                <a:pathLst>
                  <a:path w="5562" h="93957">
                    <a:moveTo>
                      <a:pt x="5562" y="120"/>
                    </a:moveTo>
                    <a:lnTo>
                      <a:pt x="3050" y="93957"/>
                    </a:lnTo>
                    <a:lnTo>
                      <a:pt x="0" y="93837"/>
                    </a:lnTo>
                    <a:lnTo>
                      <a:pt x="2512" y="0"/>
                    </a:lnTo>
                    <a:close/>
                  </a:path>
                </a:pathLst>
              </a:custGeom>
              <a:grpFill/>
              <a:ln w="5978" cap="flat">
                <a:noFill/>
                <a:prstDash val="solid"/>
                <a:miter/>
              </a:ln>
            </p:spPr>
            <p:txBody>
              <a:bodyPr rtlCol="0" anchor="ctr"/>
              <a:lstStyle/>
              <a:p>
                <a:endParaRPr lang="en-GB"/>
              </a:p>
            </p:txBody>
          </p:sp>
          <p:sp>
            <p:nvSpPr>
              <p:cNvPr id="3777" name="Vrije vorm: vorm 3776">
                <a:extLst>
                  <a:ext uri="{FF2B5EF4-FFF2-40B4-BE49-F238E27FC236}">
                    <a16:creationId xmlns:a16="http://schemas.microsoft.com/office/drawing/2014/main" id="{48874180-B8DA-4BD5-B090-CE61BE6D3E4B}"/>
                  </a:ext>
                </a:extLst>
              </p:cNvPr>
              <p:cNvSpPr/>
              <p:nvPr/>
            </p:nvSpPr>
            <p:spPr>
              <a:xfrm>
                <a:off x="6094133" y="1633010"/>
                <a:ext cx="18306" cy="18432"/>
              </a:xfrm>
              <a:custGeom>
                <a:avLst/>
                <a:gdLst>
                  <a:gd name="connsiteX0" fmla="*/ 3 w 18306"/>
                  <a:gd name="connsiteY0" fmla="*/ 8917 h 18432"/>
                  <a:gd name="connsiteX1" fmla="*/ 9392 w 18306"/>
                  <a:gd name="connsiteY1" fmla="*/ 6 h 18432"/>
                  <a:gd name="connsiteX2" fmla="*/ 18304 w 18306"/>
                  <a:gd name="connsiteY2" fmla="*/ 9515 h 18432"/>
                  <a:gd name="connsiteX3" fmla="*/ 8914 w 18306"/>
                  <a:gd name="connsiteY3" fmla="*/ 1842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22" y="3833"/>
                      <a:pt x="4368" y="-174"/>
                      <a:pt x="9392" y="6"/>
                    </a:cubicBezTo>
                    <a:cubicBezTo>
                      <a:pt x="14476" y="185"/>
                      <a:pt x="18423" y="4432"/>
                      <a:pt x="18304" y="9515"/>
                    </a:cubicBezTo>
                    <a:cubicBezTo>
                      <a:pt x="18184" y="14599"/>
                      <a:pt x="13938" y="18606"/>
                      <a:pt x="8914" y="18426"/>
                    </a:cubicBezTo>
                    <a:cubicBezTo>
                      <a:pt x="3890" y="18247"/>
                      <a:pt x="-117" y="14001"/>
                      <a:pt x="3" y="8917"/>
                    </a:cubicBezTo>
                    <a:close/>
                  </a:path>
                </a:pathLst>
              </a:custGeom>
              <a:grpFill/>
              <a:ln w="5978" cap="flat">
                <a:noFill/>
                <a:prstDash val="solid"/>
                <a:miter/>
              </a:ln>
            </p:spPr>
            <p:txBody>
              <a:bodyPr rtlCol="0" anchor="ctr"/>
              <a:lstStyle/>
              <a:p>
                <a:endParaRPr lang="en-GB"/>
              </a:p>
            </p:txBody>
          </p:sp>
          <p:sp>
            <p:nvSpPr>
              <p:cNvPr id="3778" name="Vrije vorm: vorm 3777">
                <a:extLst>
                  <a:ext uri="{FF2B5EF4-FFF2-40B4-BE49-F238E27FC236}">
                    <a16:creationId xmlns:a16="http://schemas.microsoft.com/office/drawing/2014/main" id="{584AC038-DC37-44C5-B4AD-8D439485BA78}"/>
                  </a:ext>
                </a:extLst>
              </p:cNvPr>
              <p:cNvSpPr/>
              <p:nvPr/>
            </p:nvSpPr>
            <p:spPr>
              <a:xfrm>
                <a:off x="6091622" y="1725951"/>
                <a:ext cx="18306" cy="18432"/>
              </a:xfrm>
              <a:custGeom>
                <a:avLst/>
                <a:gdLst>
                  <a:gd name="connsiteX0" fmla="*/ 3 w 18306"/>
                  <a:gd name="connsiteY0" fmla="*/ 8917 h 18432"/>
                  <a:gd name="connsiteX1" fmla="*/ 8914 w 18306"/>
                  <a:gd name="connsiteY1" fmla="*/ 18427 h 18432"/>
                  <a:gd name="connsiteX2" fmla="*/ 18304 w 18306"/>
                  <a:gd name="connsiteY2" fmla="*/ 9515 h 18432"/>
                  <a:gd name="connsiteX3" fmla="*/ 9392 w 18306"/>
                  <a:gd name="connsiteY3" fmla="*/ 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17" y="14001"/>
                      <a:pt x="3830" y="18247"/>
                      <a:pt x="8914" y="18427"/>
                    </a:cubicBezTo>
                    <a:cubicBezTo>
                      <a:pt x="13997" y="18606"/>
                      <a:pt x="18184" y="14599"/>
                      <a:pt x="18304" y="9515"/>
                    </a:cubicBezTo>
                    <a:cubicBezTo>
                      <a:pt x="18423" y="4432"/>
                      <a:pt x="14476" y="185"/>
                      <a:pt x="9392" y="6"/>
                    </a:cubicBezTo>
                    <a:cubicBezTo>
                      <a:pt x="4368" y="-174"/>
                      <a:pt x="182" y="3774"/>
                      <a:pt x="3" y="8917"/>
                    </a:cubicBezTo>
                    <a:close/>
                  </a:path>
                </a:pathLst>
              </a:custGeom>
              <a:grpFill/>
              <a:ln w="5978" cap="flat">
                <a:noFill/>
                <a:prstDash val="solid"/>
                <a:miter/>
              </a:ln>
            </p:spPr>
            <p:txBody>
              <a:bodyPr rtlCol="0" anchor="ctr"/>
              <a:lstStyle/>
              <a:p>
                <a:endParaRPr lang="en-GB"/>
              </a:p>
            </p:txBody>
          </p:sp>
        </p:grpSp>
        <p:grpSp>
          <p:nvGrpSpPr>
            <p:cNvPr id="538" name="Graphic 3">
              <a:extLst>
                <a:ext uri="{FF2B5EF4-FFF2-40B4-BE49-F238E27FC236}">
                  <a16:creationId xmlns:a16="http://schemas.microsoft.com/office/drawing/2014/main" id="{39F91989-0B05-4BDF-8966-5700FC6168E8}"/>
                </a:ext>
              </a:extLst>
            </p:cNvPr>
            <p:cNvGrpSpPr/>
            <p:nvPr/>
          </p:nvGrpSpPr>
          <p:grpSpPr>
            <a:xfrm>
              <a:off x="6029999" y="1266606"/>
              <a:ext cx="52079" cy="477675"/>
              <a:chOff x="6029999" y="1266606"/>
              <a:chExt cx="52079" cy="477675"/>
            </a:xfrm>
            <a:grpFill/>
          </p:grpSpPr>
          <p:sp>
            <p:nvSpPr>
              <p:cNvPr id="3773" name="Vrije vorm: vorm 3772">
                <a:extLst>
                  <a:ext uri="{FF2B5EF4-FFF2-40B4-BE49-F238E27FC236}">
                    <a16:creationId xmlns:a16="http://schemas.microsoft.com/office/drawing/2014/main" id="{F5E5E677-558E-4FD7-9E18-C2821F28B85B}"/>
                  </a:ext>
                </a:extLst>
              </p:cNvPr>
              <p:cNvSpPr/>
              <p:nvPr/>
            </p:nvSpPr>
            <p:spPr>
              <a:xfrm>
                <a:off x="6037618" y="1275309"/>
                <a:ext cx="36900" cy="460276"/>
              </a:xfrm>
              <a:custGeom>
                <a:avLst/>
                <a:gdLst>
                  <a:gd name="connsiteX0" fmla="*/ 36901 w 36900"/>
                  <a:gd name="connsiteY0" fmla="*/ 239 h 460276"/>
                  <a:gd name="connsiteX1" fmla="*/ 3050 w 36900"/>
                  <a:gd name="connsiteY1" fmla="*/ 460276 h 460276"/>
                  <a:gd name="connsiteX2" fmla="*/ 0 w 36900"/>
                  <a:gd name="connsiteY2" fmla="*/ 460097 h 460276"/>
                  <a:gd name="connsiteX3" fmla="*/ 33851 w 36900"/>
                  <a:gd name="connsiteY3" fmla="*/ 0 h 460276"/>
                </a:gdLst>
                <a:ahLst/>
                <a:cxnLst>
                  <a:cxn ang="0">
                    <a:pos x="connsiteX0" y="connsiteY0"/>
                  </a:cxn>
                  <a:cxn ang="0">
                    <a:pos x="connsiteX1" y="connsiteY1"/>
                  </a:cxn>
                  <a:cxn ang="0">
                    <a:pos x="connsiteX2" y="connsiteY2"/>
                  </a:cxn>
                  <a:cxn ang="0">
                    <a:pos x="connsiteX3" y="connsiteY3"/>
                  </a:cxn>
                </a:cxnLst>
                <a:rect l="l" t="t" r="r" b="b"/>
                <a:pathLst>
                  <a:path w="36900" h="460276">
                    <a:moveTo>
                      <a:pt x="36901" y="239"/>
                    </a:moveTo>
                    <a:lnTo>
                      <a:pt x="3050" y="460276"/>
                    </a:lnTo>
                    <a:lnTo>
                      <a:pt x="0" y="460097"/>
                    </a:lnTo>
                    <a:lnTo>
                      <a:pt x="33851" y="0"/>
                    </a:lnTo>
                    <a:close/>
                  </a:path>
                </a:pathLst>
              </a:custGeom>
              <a:grpFill/>
              <a:ln w="5978" cap="flat">
                <a:noFill/>
                <a:prstDash val="solid"/>
                <a:miter/>
              </a:ln>
            </p:spPr>
            <p:txBody>
              <a:bodyPr rtlCol="0" anchor="ctr"/>
              <a:lstStyle/>
              <a:p>
                <a:endParaRPr lang="en-GB"/>
              </a:p>
            </p:txBody>
          </p:sp>
          <p:sp>
            <p:nvSpPr>
              <p:cNvPr id="3774" name="Vrije vorm: vorm 3773">
                <a:extLst>
                  <a:ext uri="{FF2B5EF4-FFF2-40B4-BE49-F238E27FC236}">
                    <a16:creationId xmlns:a16="http://schemas.microsoft.com/office/drawing/2014/main" id="{04FFBC22-C7F8-450F-A488-4EA29FB0AAC0}"/>
                  </a:ext>
                </a:extLst>
              </p:cNvPr>
              <p:cNvSpPr/>
              <p:nvPr/>
            </p:nvSpPr>
            <p:spPr>
              <a:xfrm>
                <a:off x="6029999" y="1725813"/>
                <a:ext cx="18347" cy="18467"/>
              </a:xfrm>
              <a:custGeom>
                <a:avLst/>
                <a:gdLst>
                  <a:gd name="connsiteX0" fmla="*/ 18324 w 18347"/>
                  <a:gd name="connsiteY0" fmla="*/ 9952 h 18467"/>
                  <a:gd name="connsiteX1" fmla="*/ 8516 w 18347"/>
                  <a:gd name="connsiteY1" fmla="*/ 18444 h 18467"/>
                  <a:gd name="connsiteX2" fmla="*/ 23 w 18347"/>
                  <a:gd name="connsiteY2" fmla="*/ 8516 h 18467"/>
                  <a:gd name="connsiteX3" fmla="*/ 9832 w 18347"/>
                  <a:gd name="connsiteY3" fmla="*/ 24 h 18467"/>
                  <a:gd name="connsiteX4" fmla="*/ 18324 w 18347"/>
                  <a:gd name="connsiteY4" fmla="*/ 995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67">
                    <a:moveTo>
                      <a:pt x="18324" y="9952"/>
                    </a:moveTo>
                    <a:cubicBezTo>
                      <a:pt x="17965" y="15035"/>
                      <a:pt x="13540" y="18803"/>
                      <a:pt x="8516" y="18444"/>
                    </a:cubicBezTo>
                    <a:cubicBezTo>
                      <a:pt x="3492" y="18026"/>
                      <a:pt x="-336" y="13600"/>
                      <a:pt x="23" y="8516"/>
                    </a:cubicBezTo>
                    <a:cubicBezTo>
                      <a:pt x="382" y="3433"/>
                      <a:pt x="4808" y="-335"/>
                      <a:pt x="9832" y="24"/>
                    </a:cubicBezTo>
                    <a:cubicBezTo>
                      <a:pt x="14856" y="442"/>
                      <a:pt x="18683" y="4868"/>
                      <a:pt x="18324" y="9952"/>
                    </a:cubicBezTo>
                    <a:close/>
                  </a:path>
                </a:pathLst>
              </a:custGeom>
              <a:grpFill/>
              <a:ln w="5978" cap="flat">
                <a:noFill/>
                <a:prstDash val="solid"/>
                <a:miter/>
              </a:ln>
            </p:spPr>
            <p:txBody>
              <a:bodyPr rtlCol="0" anchor="ctr"/>
              <a:lstStyle/>
              <a:p>
                <a:endParaRPr lang="en-GB"/>
              </a:p>
            </p:txBody>
          </p:sp>
          <p:sp>
            <p:nvSpPr>
              <p:cNvPr id="3775" name="Vrije vorm: vorm 3774">
                <a:extLst>
                  <a:ext uri="{FF2B5EF4-FFF2-40B4-BE49-F238E27FC236}">
                    <a16:creationId xmlns:a16="http://schemas.microsoft.com/office/drawing/2014/main" id="{FFE7DD56-A0A0-4C12-A412-3ABB8222616A}"/>
                  </a:ext>
                </a:extLst>
              </p:cNvPr>
              <p:cNvSpPr/>
              <p:nvPr/>
            </p:nvSpPr>
            <p:spPr>
              <a:xfrm>
                <a:off x="6063730" y="1266606"/>
                <a:ext cx="18348" cy="18483"/>
              </a:xfrm>
              <a:custGeom>
                <a:avLst/>
                <a:gdLst>
                  <a:gd name="connsiteX0" fmla="*/ 18325 w 18348"/>
                  <a:gd name="connsiteY0" fmla="*/ 9959 h 18483"/>
                  <a:gd name="connsiteX1" fmla="*/ 9832 w 18348"/>
                  <a:gd name="connsiteY1" fmla="*/ 31 h 18483"/>
                  <a:gd name="connsiteX2" fmla="*/ 24 w 18348"/>
                  <a:gd name="connsiteY2" fmla="*/ 8524 h 18483"/>
                  <a:gd name="connsiteX3" fmla="*/ 8516 w 18348"/>
                  <a:gd name="connsiteY3" fmla="*/ 18452 h 18483"/>
                  <a:gd name="connsiteX4" fmla="*/ 18325 w 18348"/>
                  <a:gd name="connsiteY4" fmla="*/ 9959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83">
                    <a:moveTo>
                      <a:pt x="18325" y="9959"/>
                    </a:moveTo>
                    <a:cubicBezTo>
                      <a:pt x="18683" y="4876"/>
                      <a:pt x="14916" y="450"/>
                      <a:pt x="9832" y="31"/>
                    </a:cubicBezTo>
                    <a:cubicBezTo>
                      <a:pt x="4808" y="-387"/>
                      <a:pt x="382" y="3440"/>
                      <a:pt x="24" y="8524"/>
                    </a:cubicBezTo>
                    <a:cubicBezTo>
                      <a:pt x="-335" y="13608"/>
                      <a:pt x="3433" y="18033"/>
                      <a:pt x="8516" y="18452"/>
                    </a:cubicBezTo>
                    <a:cubicBezTo>
                      <a:pt x="13600" y="18871"/>
                      <a:pt x="17966" y="15043"/>
                      <a:pt x="18325" y="9959"/>
                    </a:cubicBezTo>
                    <a:close/>
                  </a:path>
                </a:pathLst>
              </a:custGeom>
              <a:grpFill/>
              <a:ln w="5978" cap="flat">
                <a:noFill/>
                <a:prstDash val="solid"/>
                <a:miter/>
              </a:ln>
            </p:spPr>
            <p:txBody>
              <a:bodyPr rtlCol="0" anchor="ctr"/>
              <a:lstStyle/>
              <a:p>
                <a:endParaRPr lang="en-GB"/>
              </a:p>
            </p:txBody>
          </p:sp>
        </p:grpSp>
        <p:grpSp>
          <p:nvGrpSpPr>
            <p:cNvPr id="539" name="Graphic 3">
              <a:extLst>
                <a:ext uri="{FF2B5EF4-FFF2-40B4-BE49-F238E27FC236}">
                  <a16:creationId xmlns:a16="http://schemas.microsoft.com/office/drawing/2014/main" id="{39E2D91E-72A8-478F-BEB1-60ACABE53B59}"/>
                </a:ext>
              </a:extLst>
            </p:cNvPr>
            <p:cNvGrpSpPr/>
            <p:nvPr/>
          </p:nvGrpSpPr>
          <p:grpSpPr>
            <a:xfrm>
              <a:off x="7086770" y="4727519"/>
              <a:ext cx="116222" cy="142510"/>
              <a:chOff x="7086770" y="4727519"/>
              <a:chExt cx="116222" cy="142510"/>
            </a:xfrm>
            <a:grpFill/>
          </p:grpSpPr>
          <p:sp>
            <p:nvSpPr>
              <p:cNvPr id="3770" name="Vrije vorm: vorm 3769">
                <a:extLst>
                  <a:ext uri="{FF2B5EF4-FFF2-40B4-BE49-F238E27FC236}">
                    <a16:creationId xmlns:a16="http://schemas.microsoft.com/office/drawing/2014/main" id="{94A4DB96-2443-46CA-B3C7-E02D7F4E766B}"/>
                  </a:ext>
                </a:extLst>
              </p:cNvPr>
              <p:cNvSpPr/>
              <p:nvPr/>
            </p:nvSpPr>
            <p:spPr>
              <a:xfrm>
                <a:off x="7094472" y="4735456"/>
                <a:ext cx="100775" cy="126671"/>
              </a:xfrm>
              <a:custGeom>
                <a:avLst/>
                <a:gdLst>
                  <a:gd name="connsiteX0" fmla="*/ 100775 w 100775"/>
                  <a:gd name="connsiteY0" fmla="*/ 124758 h 126671"/>
                  <a:gd name="connsiteX1" fmla="*/ 98383 w 100775"/>
                  <a:gd name="connsiteY1" fmla="*/ 126672 h 126671"/>
                  <a:gd name="connsiteX2" fmla="*/ 0 w 100775"/>
                  <a:gd name="connsiteY2" fmla="*/ 1854 h 126671"/>
                  <a:gd name="connsiteX3" fmla="*/ 2392 w 100775"/>
                  <a:gd name="connsiteY3" fmla="*/ 0 h 126671"/>
                </a:gdLst>
                <a:ahLst/>
                <a:cxnLst>
                  <a:cxn ang="0">
                    <a:pos x="connsiteX0" y="connsiteY0"/>
                  </a:cxn>
                  <a:cxn ang="0">
                    <a:pos x="connsiteX1" y="connsiteY1"/>
                  </a:cxn>
                  <a:cxn ang="0">
                    <a:pos x="connsiteX2" y="connsiteY2"/>
                  </a:cxn>
                  <a:cxn ang="0">
                    <a:pos x="connsiteX3" y="connsiteY3"/>
                  </a:cxn>
                </a:cxnLst>
                <a:rect l="l" t="t" r="r" b="b"/>
                <a:pathLst>
                  <a:path w="100775" h="126671">
                    <a:moveTo>
                      <a:pt x="100775" y="124758"/>
                    </a:moveTo>
                    <a:lnTo>
                      <a:pt x="98383" y="126672"/>
                    </a:lnTo>
                    <a:lnTo>
                      <a:pt x="0" y="1854"/>
                    </a:lnTo>
                    <a:lnTo>
                      <a:pt x="2392" y="0"/>
                    </a:lnTo>
                    <a:close/>
                  </a:path>
                </a:pathLst>
              </a:custGeom>
              <a:grpFill/>
              <a:ln w="5978" cap="flat">
                <a:noFill/>
                <a:prstDash val="solid"/>
                <a:miter/>
              </a:ln>
            </p:spPr>
            <p:txBody>
              <a:bodyPr rtlCol="0" anchor="ctr"/>
              <a:lstStyle/>
              <a:p>
                <a:endParaRPr lang="en-GB"/>
              </a:p>
            </p:txBody>
          </p:sp>
          <p:sp>
            <p:nvSpPr>
              <p:cNvPr id="3771" name="Vrije vorm: vorm 3770">
                <a:extLst>
                  <a:ext uri="{FF2B5EF4-FFF2-40B4-BE49-F238E27FC236}">
                    <a16:creationId xmlns:a16="http://schemas.microsoft.com/office/drawing/2014/main" id="{83131DCE-B4C3-489C-B6C7-6854533653E1}"/>
                  </a:ext>
                </a:extLst>
              </p:cNvPr>
              <p:cNvSpPr/>
              <p:nvPr/>
            </p:nvSpPr>
            <p:spPr>
              <a:xfrm>
                <a:off x="7184631" y="4851619"/>
                <a:ext cx="18361" cy="18410"/>
              </a:xfrm>
              <a:custGeom>
                <a:avLst/>
                <a:gdLst>
                  <a:gd name="connsiteX0" fmla="*/ 16357 w 18361"/>
                  <a:gd name="connsiteY0" fmla="*/ 3511 h 18410"/>
                  <a:gd name="connsiteX1" fmla="*/ 14862 w 18361"/>
                  <a:gd name="connsiteY1" fmla="*/ 16429 h 18410"/>
                  <a:gd name="connsiteX2" fmla="*/ 2004 w 18361"/>
                  <a:gd name="connsiteY2" fmla="*/ 14874 h 18410"/>
                  <a:gd name="connsiteX3" fmla="*/ 3499 w 18361"/>
                  <a:gd name="connsiteY3" fmla="*/ 1956 h 18410"/>
                  <a:gd name="connsiteX4" fmla="*/ 16357 w 18361"/>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0">
                    <a:moveTo>
                      <a:pt x="16357" y="3511"/>
                    </a:moveTo>
                    <a:cubicBezTo>
                      <a:pt x="19527" y="7518"/>
                      <a:pt x="18870" y="13319"/>
                      <a:pt x="14862" y="16429"/>
                    </a:cubicBezTo>
                    <a:cubicBezTo>
                      <a:pt x="10915" y="19599"/>
                      <a:pt x="5114" y="18881"/>
                      <a:pt x="2004" y="14874"/>
                    </a:cubicBezTo>
                    <a:cubicBezTo>
                      <a:pt x="-1166" y="10867"/>
                      <a:pt x="-508" y="5066"/>
                      <a:pt x="3499" y="1956"/>
                    </a:cubicBezTo>
                    <a:cubicBezTo>
                      <a:pt x="7446" y="-1154"/>
                      <a:pt x="13188" y="-496"/>
                      <a:pt x="16357" y="3511"/>
                    </a:cubicBezTo>
                    <a:close/>
                  </a:path>
                </a:pathLst>
              </a:custGeom>
              <a:grpFill/>
              <a:ln w="5978" cap="flat">
                <a:noFill/>
                <a:prstDash val="solid"/>
                <a:miter/>
              </a:ln>
            </p:spPr>
            <p:txBody>
              <a:bodyPr rtlCol="0" anchor="ctr"/>
              <a:lstStyle/>
              <a:p>
                <a:endParaRPr lang="en-GB"/>
              </a:p>
            </p:txBody>
          </p:sp>
          <p:sp>
            <p:nvSpPr>
              <p:cNvPr id="3772" name="Vrije vorm: vorm 3771">
                <a:extLst>
                  <a:ext uri="{FF2B5EF4-FFF2-40B4-BE49-F238E27FC236}">
                    <a16:creationId xmlns:a16="http://schemas.microsoft.com/office/drawing/2014/main" id="{C6317D13-B747-4259-9ED2-74E84EF68EFE}"/>
                  </a:ext>
                </a:extLst>
              </p:cNvPr>
              <p:cNvSpPr/>
              <p:nvPr/>
            </p:nvSpPr>
            <p:spPr>
              <a:xfrm>
                <a:off x="7086770" y="4727519"/>
                <a:ext cx="18317" cy="18366"/>
              </a:xfrm>
              <a:custGeom>
                <a:avLst/>
                <a:gdLst>
                  <a:gd name="connsiteX0" fmla="*/ 16314 w 18317"/>
                  <a:gd name="connsiteY0" fmla="*/ 3511 h 18366"/>
                  <a:gd name="connsiteX1" fmla="*/ 3456 w 18317"/>
                  <a:gd name="connsiteY1" fmla="*/ 1956 h 18366"/>
                  <a:gd name="connsiteX2" fmla="*/ 1960 w 18317"/>
                  <a:gd name="connsiteY2" fmla="*/ 14874 h 18366"/>
                  <a:gd name="connsiteX3" fmla="*/ 14818 w 18317"/>
                  <a:gd name="connsiteY3" fmla="*/ 16429 h 18366"/>
                  <a:gd name="connsiteX4" fmla="*/ 16314 w 18317"/>
                  <a:gd name="connsiteY4" fmla="*/ 3511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66">
                    <a:moveTo>
                      <a:pt x="16314" y="3511"/>
                    </a:moveTo>
                    <a:cubicBezTo>
                      <a:pt x="13144" y="-496"/>
                      <a:pt x="7402" y="-1154"/>
                      <a:pt x="3456" y="1956"/>
                    </a:cubicBezTo>
                    <a:cubicBezTo>
                      <a:pt x="-492" y="5066"/>
                      <a:pt x="-1150" y="10927"/>
                      <a:pt x="1960" y="14874"/>
                    </a:cubicBezTo>
                    <a:cubicBezTo>
                      <a:pt x="5070" y="18821"/>
                      <a:pt x="10872" y="19539"/>
                      <a:pt x="14818" y="16429"/>
                    </a:cubicBezTo>
                    <a:cubicBezTo>
                      <a:pt x="18826" y="13319"/>
                      <a:pt x="19483" y="7518"/>
                      <a:pt x="16314" y="3511"/>
                    </a:cubicBezTo>
                    <a:close/>
                  </a:path>
                </a:pathLst>
              </a:custGeom>
              <a:grpFill/>
              <a:ln w="5978" cap="flat">
                <a:noFill/>
                <a:prstDash val="solid"/>
                <a:miter/>
              </a:ln>
            </p:spPr>
            <p:txBody>
              <a:bodyPr rtlCol="0" anchor="ctr"/>
              <a:lstStyle/>
              <a:p>
                <a:endParaRPr lang="en-GB"/>
              </a:p>
            </p:txBody>
          </p:sp>
        </p:grpSp>
        <p:grpSp>
          <p:nvGrpSpPr>
            <p:cNvPr id="540" name="Graphic 3">
              <a:extLst>
                <a:ext uri="{FF2B5EF4-FFF2-40B4-BE49-F238E27FC236}">
                  <a16:creationId xmlns:a16="http://schemas.microsoft.com/office/drawing/2014/main" id="{2273B860-E16B-4D27-AA3E-1BC2D4D8D2C3}"/>
                </a:ext>
              </a:extLst>
            </p:cNvPr>
            <p:cNvGrpSpPr/>
            <p:nvPr/>
          </p:nvGrpSpPr>
          <p:grpSpPr>
            <a:xfrm>
              <a:off x="7154091" y="4867864"/>
              <a:ext cx="85319" cy="106585"/>
              <a:chOff x="7154091" y="4867864"/>
              <a:chExt cx="85319" cy="106585"/>
            </a:xfrm>
            <a:grpFill/>
          </p:grpSpPr>
          <p:sp>
            <p:nvSpPr>
              <p:cNvPr id="3767" name="Vrije vorm: vorm 3766">
                <a:extLst>
                  <a:ext uri="{FF2B5EF4-FFF2-40B4-BE49-F238E27FC236}">
                    <a16:creationId xmlns:a16="http://schemas.microsoft.com/office/drawing/2014/main" id="{A8411188-E987-4198-AF9F-D10298EC1D36}"/>
                  </a:ext>
                </a:extLst>
              </p:cNvPr>
              <p:cNvSpPr/>
              <p:nvPr/>
            </p:nvSpPr>
            <p:spPr>
              <a:xfrm>
                <a:off x="7161815" y="4875763"/>
                <a:ext cx="69914" cy="90787"/>
              </a:xfrm>
              <a:custGeom>
                <a:avLst/>
                <a:gdLst>
                  <a:gd name="connsiteX0" fmla="*/ 69914 w 69914"/>
                  <a:gd name="connsiteY0" fmla="*/ 88933 h 90787"/>
                  <a:gd name="connsiteX1" fmla="*/ 67522 w 69914"/>
                  <a:gd name="connsiteY1" fmla="*/ 90788 h 90787"/>
                  <a:gd name="connsiteX2" fmla="*/ 0 w 69914"/>
                  <a:gd name="connsiteY2" fmla="*/ 1854 h 90787"/>
                  <a:gd name="connsiteX3" fmla="*/ 2392 w 69914"/>
                  <a:gd name="connsiteY3" fmla="*/ 0 h 90787"/>
                </a:gdLst>
                <a:ahLst/>
                <a:cxnLst>
                  <a:cxn ang="0">
                    <a:pos x="connsiteX0" y="connsiteY0"/>
                  </a:cxn>
                  <a:cxn ang="0">
                    <a:pos x="connsiteX1" y="connsiteY1"/>
                  </a:cxn>
                  <a:cxn ang="0">
                    <a:pos x="connsiteX2" y="connsiteY2"/>
                  </a:cxn>
                  <a:cxn ang="0">
                    <a:pos x="connsiteX3" y="connsiteY3"/>
                  </a:cxn>
                </a:cxnLst>
                <a:rect l="l" t="t" r="r" b="b"/>
                <a:pathLst>
                  <a:path w="69914" h="90787">
                    <a:moveTo>
                      <a:pt x="69914" y="88933"/>
                    </a:moveTo>
                    <a:lnTo>
                      <a:pt x="67522" y="90788"/>
                    </a:lnTo>
                    <a:lnTo>
                      <a:pt x="0" y="1854"/>
                    </a:lnTo>
                    <a:lnTo>
                      <a:pt x="2392" y="0"/>
                    </a:lnTo>
                    <a:close/>
                  </a:path>
                </a:pathLst>
              </a:custGeom>
              <a:grpFill/>
              <a:ln w="5978" cap="flat">
                <a:noFill/>
                <a:prstDash val="solid"/>
                <a:miter/>
              </a:ln>
            </p:spPr>
            <p:txBody>
              <a:bodyPr rtlCol="0" anchor="ctr"/>
              <a:lstStyle/>
              <a:p>
                <a:endParaRPr lang="en-GB"/>
              </a:p>
            </p:txBody>
          </p:sp>
          <p:sp>
            <p:nvSpPr>
              <p:cNvPr id="3768" name="Vrije vorm: vorm 3767">
                <a:extLst>
                  <a:ext uri="{FF2B5EF4-FFF2-40B4-BE49-F238E27FC236}">
                    <a16:creationId xmlns:a16="http://schemas.microsoft.com/office/drawing/2014/main" id="{E1B32682-E6A3-4E96-9C32-9F7789734E16}"/>
                  </a:ext>
                </a:extLst>
              </p:cNvPr>
              <p:cNvSpPr/>
              <p:nvPr/>
            </p:nvSpPr>
            <p:spPr>
              <a:xfrm>
                <a:off x="7221057" y="4956038"/>
                <a:ext cx="18353" cy="18411"/>
              </a:xfrm>
              <a:custGeom>
                <a:avLst/>
                <a:gdLst>
                  <a:gd name="connsiteX0" fmla="*/ 16473 w 18353"/>
                  <a:gd name="connsiteY0" fmla="*/ 3635 h 18411"/>
                  <a:gd name="connsiteX1" fmla="*/ 14739 w 18353"/>
                  <a:gd name="connsiteY1" fmla="*/ 16553 h 18411"/>
                  <a:gd name="connsiteX2" fmla="*/ 1881 w 18353"/>
                  <a:gd name="connsiteY2" fmla="*/ 14759 h 18411"/>
                  <a:gd name="connsiteX3" fmla="*/ 3615 w 18353"/>
                  <a:gd name="connsiteY3" fmla="*/ 1841 h 18411"/>
                  <a:gd name="connsiteX4" fmla="*/ 16473 w 18353"/>
                  <a:gd name="connsiteY4" fmla="*/ 3635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1">
                    <a:moveTo>
                      <a:pt x="16473" y="3635"/>
                    </a:moveTo>
                    <a:cubicBezTo>
                      <a:pt x="19524" y="7702"/>
                      <a:pt x="18806" y="13443"/>
                      <a:pt x="14739" y="16553"/>
                    </a:cubicBezTo>
                    <a:cubicBezTo>
                      <a:pt x="10732" y="19603"/>
                      <a:pt x="4991" y="18826"/>
                      <a:pt x="1881" y="14759"/>
                    </a:cubicBezTo>
                    <a:cubicBezTo>
                      <a:pt x="-1170" y="10692"/>
                      <a:pt x="-452" y="4951"/>
                      <a:pt x="3615" y="1841"/>
                    </a:cubicBezTo>
                    <a:cubicBezTo>
                      <a:pt x="7622" y="-1209"/>
                      <a:pt x="13424" y="-372"/>
                      <a:pt x="16473" y="3635"/>
                    </a:cubicBezTo>
                    <a:close/>
                  </a:path>
                </a:pathLst>
              </a:custGeom>
              <a:grpFill/>
              <a:ln w="5978" cap="flat">
                <a:noFill/>
                <a:prstDash val="solid"/>
                <a:miter/>
              </a:ln>
            </p:spPr>
            <p:txBody>
              <a:bodyPr rtlCol="0" anchor="ctr"/>
              <a:lstStyle/>
              <a:p>
                <a:endParaRPr lang="en-GB"/>
              </a:p>
            </p:txBody>
          </p:sp>
          <p:sp>
            <p:nvSpPr>
              <p:cNvPr id="3769" name="Vrije vorm: vorm 3768">
                <a:extLst>
                  <a:ext uri="{FF2B5EF4-FFF2-40B4-BE49-F238E27FC236}">
                    <a16:creationId xmlns:a16="http://schemas.microsoft.com/office/drawing/2014/main" id="{94D2975A-91D7-44BD-A3CC-669CBEEFDAB2}"/>
                  </a:ext>
                </a:extLst>
              </p:cNvPr>
              <p:cNvSpPr/>
              <p:nvPr/>
            </p:nvSpPr>
            <p:spPr>
              <a:xfrm>
                <a:off x="7154091" y="4867864"/>
                <a:ext cx="18361" cy="18429"/>
              </a:xfrm>
              <a:custGeom>
                <a:avLst/>
                <a:gdLst>
                  <a:gd name="connsiteX0" fmla="*/ 16455 w 18361"/>
                  <a:gd name="connsiteY0" fmla="*/ 3653 h 18429"/>
                  <a:gd name="connsiteX1" fmla="*/ 3597 w 18361"/>
                  <a:gd name="connsiteY1" fmla="*/ 1859 h 18429"/>
                  <a:gd name="connsiteX2" fmla="*/ 1863 w 18361"/>
                  <a:gd name="connsiteY2" fmla="*/ 14777 h 18429"/>
                  <a:gd name="connsiteX3" fmla="*/ 14721 w 18361"/>
                  <a:gd name="connsiteY3" fmla="*/ 16571 h 18429"/>
                  <a:gd name="connsiteX4" fmla="*/ 16455 w 18361"/>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9">
                    <a:moveTo>
                      <a:pt x="16455" y="3653"/>
                    </a:moveTo>
                    <a:cubicBezTo>
                      <a:pt x="13405" y="-414"/>
                      <a:pt x="7604" y="-1192"/>
                      <a:pt x="3597" y="1859"/>
                    </a:cubicBezTo>
                    <a:cubicBezTo>
                      <a:pt x="-410" y="4908"/>
                      <a:pt x="-1187" y="10710"/>
                      <a:pt x="1863" y="14777"/>
                    </a:cubicBezTo>
                    <a:cubicBezTo>
                      <a:pt x="4913" y="18844"/>
                      <a:pt x="10714" y="19621"/>
                      <a:pt x="14721" y="16571"/>
                    </a:cubicBezTo>
                    <a:cubicBezTo>
                      <a:pt x="18788" y="13461"/>
                      <a:pt x="19565" y="7660"/>
                      <a:pt x="16455" y="3653"/>
                    </a:cubicBezTo>
                    <a:close/>
                  </a:path>
                </a:pathLst>
              </a:custGeom>
              <a:grpFill/>
              <a:ln w="5978" cap="flat">
                <a:noFill/>
                <a:prstDash val="solid"/>
                <a:miter/>
              </a:ln>
            </p:spPr>
            <p:txBody>
              <a:bodyPr rtlCol="0" anchor="ctr"/>
              <a:lstStyle/>
              <a:p>
                <a:endParaRPr lang="en-GB"/>
              </a:p>
            </p:txBody>
          </p:sp>
        </p:grpSp>
        <p:grpSp>
          <p:nvGrpSpPr>
            <p:cNvPr id="541" name="Graphic 3">
              <a:extLst>
                <a:ext uri="{FF2B5EF4-FFF2-40B4-BE49-F238E27FC236}">
                  <a16:creationId xmlns:a16="http://schemas.microsoft.com/office/drawing/2014/main" id="{238EBF2B-8728-421F-9199-A533E8197629}"/>
                </a:ext>
              </a:extLst>
            </p:cNvPr>
            <p:cNvGrpSpPr/>
            <p:nvPr/>
          </p:nvGrpSpPr>
          <p:grpSpPr>
            <a:xfrm>
              <a:off x="7176732" y="4956413"/>
              <a:ext cx="143502" cy="189888"/>
              <a:chOff x="7176732" y="4956413"/>
              <a:chExt cx="143502" cy="189888"/>
            </a:xfrm>
            <a:grpFill/>
          </p:grpSpPr>
          <p:sp>
            <p:nvSpPr>
              <p:cNvPr id="3764" name="Vrije vorm: vorm 3763">
                <a:extLst>
                  <a:ext uri="{FF2B5EF4-FFF2-40B4-BE49-F238E27FC236}">
                    <a16:creationId xmlns:a16="http://schemas.microsoft.com/office/drawing/2014/main" id="{FC14EA7F-68A5-4994-97B7-DF6ED604006B}"/>
                  </a:ext>
                </a:extLst>
              </p:cNvPr>
              <p:cNvSpPr/>
              <p:nvPr/>
            </p:nvSpPr>
            <p:spPr>
              <a:xfrm>
                <a:off x="7184422" y="4964398"/>
                <a:ext cx="128166" cy="173979"/>
              </a:xfrm>
              <a:custGeom>
                <a:avLst/>
                <a:gdLst>
                  <a:gd name="connsiteX0" fmla="*/ 128166 w 128166"/>
                  <a:gd name="connsiteY0" fmla="*/ 172185 h 173979"/>
                  <a:gd name="connsiteX1" fmla="*/ 125714 w 128166"/>
                  <a:gd name="connsiteY1" fmla="*/ 173979 h 173979"/>
                  <a:gd name="connsiteX2" fmla="*/ 0 w 128166"/>
                  <a:gd name="connsiteY2" fmla="*/ 1794 h 173979"/>
                  <a:gd name="connsiteX3" fmla="*/ 2452 w 128166"/>
                  <a:gd name="connsiteY3" fmla="*/ 0 h 173979"/>
                </a:gdLst>
                <a:ahLst/>
                <a:cxnLst>
                  <a:cxn ang="0">
                    <a:pos x="connsiteX0" y="connsiteY0"/>
                  </a:cxn>
                  <a:cxn ang="0">
                    <a:pos x="connsiteX1" y="connsiteY1"/>
                  </a:cxn>
                  <a:cxn ang="0">
                    <a:pos x="connsiteX2" y="connsiteY2"/>
                  </a:cxn>
                  <a:cxn ang="0">
                    <a:pos x="connsiteX3" y="connsiteY3"/>
                  </a:cxn>
                </a:cxnLst>
                <a:rect l="l" t="t" r="r" b="b"/>
                <a:pathLst>
                  <a:path w="128166" h="173979">
                    <a:moveTo>
                      <a:pt x="128166" y="172185"/>
                    </a:moveTo>
                    <a:lnTo>
                      <a:pt x="125714" y="173979"/>
                    </a:lnTo>
                    <a:lnTo>
                      <a:pt x="0" y="1794"/>
                    </a:lnTo>
                    <a:lnTo>
                      <a:pt x="2452" y="0"/>
                    </a:lnTo>
                    <a:close/>
                  </a:path>
                </a:pathLst>
              </a:custGeom>
              <a:grpFill/>
              <a:ln w="5978" cap="flat">
                <a:noFill/>
                <a:prstDash val="solid"/>
                <a:miter/>
              </a:ln>
            </p:spPr>
            <p:txBody>
              <a:bodyPr rtlCol="0" anchor="ctr"/>
              <a:lstStyle/>
              <a:p>
                <a:endParaRPr lang="en-GB"/>
              </a:p>
            </p:txBody>
          </p:sp>
          <p:sp>
            <p:nvSpPr>
              <p:cNvPr id="3765" name="Vrije vorm: vorm 3764">
                <a:extLst>
                  <a:ext uri="{FF2B5EF4-FFF2-40B4-BE49-F238E27FC236}">
                    <a16:creationId xmlns:a16="http://schemas.microsoft.com/office/drawing/2014/main" id="{DC7887A0-C2A2-4168-B2AF-B1A633A67636}"/>
                  </a:ext>
                </a:extLst>
              </p:cNvPr>
              <p:cNvSpPr/>
              <p:nvPr/>
            </p:nvSpPr>
            <p:spPr>
              <a:xfrm>
                <a:off x="7301892" y="5127880"/>
                <a:ext cx="18343" cy="18421"/>
              </a:xfrm>
              <a:custGeom>
                <a:avLst/>
                <a:gdLst>
                  <a:gd name="connsiteX0" fmla="*/ 16558 w 18343"/>
                  <a:gd name="connsiteY0" fmla="*/ 3798 h 18421"/>
                  <a:gd name="connsiteX1" fmla="*/ 14584 w 18343"/>
                  <a:gd name="connsiteY1" fmla="*/ 16656 h 18421"/>
                  <a:gd name="connsiteX2" fmla="*/ 1786 w 18343"/>
                  <a:gd name="connsiteY2" fmla="*/ 14623 h 18421"/>
                  <a:gd name="connsiteX3" fmla="*/ 3759 w 18343"/>
                  <a:gd name="connsiteY3" fmla="*/ 1765 h 18421"/>
                  <a:gd name="connsiteX4" fmla="*/ 16558 w 1834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1">
                    <a:moveTo>
                      <a:pt x="16558" y="3798"/>
                    </a:moveTo>
                    <a:cubicBezTo>
                      <a:pt x="19548" y="7925"/>
                      <a:pt x="18711" y="13666"/>
                      <a:pt x="14584" y="16656"/>
                    </a:cubicBezTo>
                    <a:cubicBezTo>
                      <a:pt x="10457" y="19647"/>
                      <a:pt x="4776" y="18750"/>
                      <a:pt x="1786" y="14623"/>
                    </a:cubicBezTo>
                    <a:cubicBezTo>
                      <a:pt x="-1205" y="10497"/>
                      <a:pt x="-367" y="4755"/>
                      <a:pt x="3759" y="1765"/>
                    </a:cubicBezTo>
                    <a:cubicBezTo>
                      <a:pt x="7826" y="-1226"/>
                      <a:pt x="13567" y="-329"/>
                      <a:pt x="16558" y="3798"/>
                    </a:cubicBezTo>
                    <a:close/>
                  </a:path>
                </a:pathLst>
              </a:custGeom>
              <a:grpFill/>
              <a:ln w="5978" cap="flat">
                <a:noFill/>
                <a:prstDash val="solid"/>
                <a:miter/>
              </a:ln>
            </p:spPr>
            <p:txBody>
              <a:bodyPr rtlCol="0" anchor="ctr"/>
              <a:lstStyle/>
              <a:p>
                <a:endParaRPr lang="en-GB"/>
              </a:p>
            </p:txBody>
          </p:sp>
          <p:sp>
            <p:nvSpPr>
              <p:cNvPr id="3766" name="Vrije vorm: vorm 3765">
                <a:extLst>
                  <a:ext uri="{FF2B5EF4-FFF2-40B4-BE49-F238E27FC236}">
                    <a16:creationId xmlns:a16="http://schemas.microsoft.com/office/drawing/2014/main" id="{549DC6F0-A82E-4657-9A84-F2E637945875}"/>
                  </a:ext>
                </a:extLst>
              </p:cNvPr>
              <p:cNvSpPr/>
              <p:nvPr/>
            </p:nvSpPr>
            <p:spPr>
              <a:xfrm>
                <a:off x="7176732" y="4956413"/>
                <a:ext cx="18326" cy="18421"/>
              </a:xfrm>
              <a:custGeom>
                <a:avLst/>
                <a:gdLst>
                  <a:gd name="connsiteX0" fmla="*/ 16541 w 18326"/>
                  <a:gd name="connsiteY0" fmla="*/ 3798 h 18421"/>
                  <a:gd name="connsiteX1" fmla="*/ 3742 w 18326"/>
                  <a:gd name="connsiteY1" fmla="*/ 1765 h 18421"/>
                  <a:gd name="connsiteX2" fmla="*/ 1768 w 18326"/>
                  <a:gd name="connsiteY2" fmla="*/ 14623 h 18421"/>
                  <a:gd name="connsiteX3" fmla="*/ 14567 w 18326"/>
                  <a:gd name="connsiteY3" fmla="*/ 16657 h 18421"/>
                  <a:gd name="connsiteX4" fmla="*/ 16541 w 18326"/>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1">
                    <a:moveTo>
                      <a:pt x="16541" y="3798"/>
                    </a:moveTo>
                    <a:cubicBezTo>
                      <a:pt x="13551" y="-329"/>
                      <a:pt x="7809" y="-1226"/>
                      <a:pt x="3742" y="1765"/>
                    </a:cubicBezTo>
                    <a:cubicBezTo>
                      <a:pt x="-325" y="4755"/>
                      <a:pt x="-1222" y="10556"/>
                      <a:pt x="1768" y="14623"/>
                    </a:cubicBezTo>
                    <a:cubicBezTo>
                      <a:pt x="4759" y="18750"/>
                      <a:pt x="10501" y="19647"/>
                      <a:pt x="14567" y="16657"/>
                    </a:cubicBezTo>
                    <a:cubicBezTo>
                      <a:pt x="18694" y="13666"/>
                      <a:pt x="19532" y="7925"/>
                      <a:pt x="16541" y="3798"/>
                    </a:cubicBezTo>
                    <a:close/>
                  </a:path>
                </a:pathLst>
              </a:custGeom>
              <a:grpFill/>
              <a:ln w="5978" cap="flat">
                <a:noFill/>
                <a:prstDash val="solid"/>
                <a:miter/>
              </a:ln>
            </p:spPr>
            <p:txBody>
              <a:bodyPr rtlCol="0" anchor="ctr"/>
              <a:lstStyle/>
              <a:p>
                <a:endParaRPr lang="en-GB"/>
              </a:p>
            </p:txBody>
          </p:sp>
        </p:grpSp>
        <p:grpSp>
          <p:nvGrpSpPr>
            <p:cNvPr id="542" name="Graphic 3">
              <a:extLst>
                <a:ext uri="{FF2B5EF4-FFF2-40B4-BE49-F238E27FC236}">
                  <a16:creationId xmlns:a16="http://schemas.microsoft.com/office/drawing/2014/main" id="{33EE762F-B845-48F2-98CB-77EA88F6CAB5}"/>
                </a:ext>
              </a:extLst>
            </p:cNvPr>
            <p:cNvGrpSpPr/>
            <p:nvPr/>
          </p:nvGrpSpPr>
          <p:grpSpPr>
            <a:xfrm>
              <a:off x="5984746" y="1259757"/>
              <a:ext cx="23928" cy="213217"/>
              <a:chOff x="5984746" y="1259757"/>
              <a:chExt cx="23928" cy="213217"/>
            </a:xfrm>
            <a:grpFill/>
          </p:grpSpPr>
          <p:sp>
            <p:nvSpPr>
              <p:cNvPr id="3761" name="Vrije vorm: vorm 3760">
                <a:extLst>
                  <a:ext uri="{FF2B5EF4-FFF2-40B4-BE49-F238E27FC236}">
                    <a16:creationId xmlns:a16="http://schemas.microsoft.com/office/drawing/2014/main" id="{0F9F8315-45C0-43AE-9773-AF6856380E30}"/>
                  </a:ext>
                </a:extLst>
              </p:cNvPr>
              <p:cNvSpPr/>
              <p:nvPr/>
            </p:nvSpPr>
            <p:spPr>
              <a:xfrm>
                <a:off x="5992344" y="1268432"/>
                <a:ext cx="8672" cy="195868"/>
              </a:xfrm>
              <a:custGeom>
                <a:avLst/>
                <a:gdLst>
                  <a:gd name="connsiteX0" fmla="*/ 3050 w 8672"/>
                  <a:gd name="connsiteY0" fmla="*/ 0 h 195868"/>
                  <a:gd name="connsiteX1" fmla="*/ 8672 w 8672"/>
                  <a:gd name="connsiteY1" fmla="*/ 195749 h 195868"/>
                  <a:gd name="connsiteX2" fmla="*/ 5622 w 8672"/>
                  <a:gd name="connsiteY2" fmla="*/ 195869 h 195868"/>
                  <a:gd name="connsiteX3" fmla="*/ 0 w 8672"/>
                  <a:gd name="connsiteY3" fmla="*/ 120 h 195868"/>
                </a:gdLst>
                <a:ahLst/>
                <a:cxnLst>
                  <a:cxn ang="0">
                    <a:pos x="connsiteX0" y="connsiteY0"/>
                  </a:cxn>
                  <a:cxn ang="0">
                    <a:pos x="connsiteX1" y="connsiteY1"/>
                  </a:cxn>
                  <a:cxn ang="0">
                    <a:pos x="connsiteX2" y="connsiteY2"/>
                  </a:cxn>
                  <a:cxn ang="0">
                    <a:pos x="connsiteX3" y="connsiteY3"/>
                  </a:cxn>
                </a:cxnLst>
                <a:rect l="l" t="t" r="r" b="b"/>
                <a:pathLst>
                  <a:path w="8672" h="195868">
                    <a:moveTo>
                      <a:pt x="3050" y="0"/>
                    </a:moveTo>
                    <a:lnTo>
                      <a:pt x="8672" y="195749"/>
                    </a:lnTo>
                    <a:lnTo>
                      <a:pt x="5622" y="195869"/>
                    </a:lnTo>
                    <a:lnTo>
                      <a:pt x="0" y="120"/>
                    </a:lnTo>
                    <a:close/>
                  </a:path>
                </a:pathLst>
              </a:custGeom>
              <a:grpFill/>
              <a:ln w="5978" cap="flat">
                <a:noFill/>
                <a:prstDash val="solid"/>
                <a:miter/>
              </a:ln>
            </p:spPr>
            <p:txBody>
              <a:bodyPr rtlCol="0" anchor="ctr"/>
              <a:lstStyle/>
              <a:p>
                <a:endParaRPr lang="en-GB"/>
              </a:p>
            </p:txBody>
          </p:sp>
          <p:sp>
            <p:nvSpPr>
              <p:cNvPr id="3762" name="Vrije vorm: vorm 3761">
                <a:extLst>
                  <a:ext uri="{FF2B5EF4-FFF2-40B4-BE49-F238E27FC236}">
                    <a16:creationId xmlns:a16="http://schemas.microsoft.com/office/drawing/2014/main" id="{D9734D0C-BA43-4934-8074-5D73E03BE1C2}"/>
                  </a:ext>
                </a:extLst>
              </p:cNvPr>
              <p:cNvSpPr/>
              <p:nvPr/>
            </p:nvSpPr>
            <p:spPr>
              <a:xfrm>
                <a:off x="5984746" y="1259757"/>
                <a:ext cx="18366" cy="18425"/>
              </a:xfrm>
              <a:custGeom>
                <a:avLst/>
                <a:gdLst>
                  <a:gd name="connsiteX0" fmla="*/ 3 w 18366"/>
                  <a:gd name="connsiteY0" fmla="*/ 9452 h 18425"/>
                  <a:gd name="connsiteX1" fmla="*/ 8914 w 18366"/>
                  <a:gd name="connsiteY1" fmla="*/ 3 h 18425"/>
                  <a:gd name="connsiteX2" fmla="*/ 18363 w 18366"/>
                  <a:gd name="connsiteY2" fmla="*/ 8974 h 18425"/>
                  <a:gd name="connsiteX3" fmla="*/ 9452 w 18366"/>
                  <a:gd name="connsiteY3" fmla="*/ 1842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17" y="4369"/>
                      <a:pt x="3830" y="122"/>
                      <a:pt x="8914" y="3"/>
                    </a:cubicBezTo>
                    <a:cubicBezTo>
                      <a:pt x="13998" y="-117"/>
                      <a:pt x="18184" y="3890"/>
                      <a:pt x="18363" y="8974"/>
                    </a:cubicBezTo>
                    <a:cubicBezTo>
                      <a:pt x="18483" y="14057"/>
                      <a:pt x="14536" y="18304"/>
                      <a:pt x="9452" y="18423"/>
                    </a:cubicBezTo>
                    <a:cubicBezTo>
                      <a:pt x="4369" y="18543"/>
                      <a:pt x="122" y="14536"/>
                      <a:pt x="3" y="9452"/>
                    </a:cubicBezTo>
                    <a:close/>
                  </a:path>
                </a:pathLst>
              </a:custGeom>
              <a:grpFill/>
              <a:ln w="5978" cap="flat">
                <a:noFill/>
                <a:prstDash val="solid"/>
                <a:miter/>
              </a:ln>
            </p:spPr>
            <p:txBody>
              <a:bodyPr rtlCol="0" anchor="ctr"/>
              <a:lstStyle/>
              <a:p>
                <a:endParaRPr lang="en-GB"/>
              </a:p>
            </p:txBody>
          </p:sp>
          <p:sp>
            <p:nvSpPr>
              <p:cNvPr id="3763" name="Vrije vorm: vorm 3762">
                <a:extLst>
                  <a:ext uri="{FF2B5EF4-FFF2-40B4-BE49-F238E27FC236}">
                    <a16:creationId xmlns:a16="http://schemas.microsoft.com/office/drawing/2014/main" id="{DBE181C8-297B-4CA7-AD02-8423E48D1407}"/>
                  </a:ext>
                </a:extLst>
              </p:cNvPr>
              <p:cNvSpPr/>
              <p:nvPr/>
            </p:nvSpPr>
            <p:spPr>
              <a:xfrm>
                <a:off x="5990305" y="1454549"/>
                <a:ext cx="18368" cy="18425"/>
              </a:xfrm>
              <a:custGeom>
                <a:avLst/>
                <a:gdLst>
                  <a:gd name="connsiteX0" fmla="*/ 6 w 18368"/>
                  <a:gd name="connsiteY0" fmla="*/ 9452 h 18425"/>
                  <a:gd name="connsiteX1" fmla="*/ 9455 w 18368"/>
                  <a:gd name="connsiteY1" fmla="*/ 18423 h 18425"/>
                  <a:gd name="connsiteX2" fmla="*/ 18366 w 18368"/>
                  <a:gd name="connsiteY2" fmla="*/ 8974 h 18425"/>
                  <a:gd name="connsiteX3" fmla="*/ 8917 w 18368"/>
                  <a:gd name="connsiteY3" fmla="*/ 3 h 18425"/>
                  <a:gd name="connsiteX4" fmla="*/ 6 w 18368"/>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5">
                    <a:moveTo>
                      <a:pt x="6" y="9452"/>
                    </a:moveTo>
                    <a:cubicBezTo>
                      <a:pt x="125" y="14536"/>
                      <a:pt x="4372" y="18543"/>
                      <a:pt x="9455" y="18423"/>
                    </a:cubicBezTo>
                    <a:cubicBezTo>
                      <a:pt x="14539" y="18304"/>
                      <a:pt x="18486" y="14057"/>
                      <a:pt x="18366" y="8974"/>
                    </a:cubicBezTo>
                    <a:cubicBezTo>
                      <a:pt x="18247" y="3890"/>
                      <a:pt x="14000" y="-117"/>
                      <a:pt x="8917" y="3"/>
                    </a:cubicBezTo>
                    <a:cubicBezTo>
                      <a:pt x="3833" y="182"/>
                      <a:pt x="-174" y="4369"/>
                      <a:pt x="6" y="9452"/>
                    </a:cubicBezTo>
                    <a:close/>
                  </a:path>
                </a:pathLst>
              </a:custGeom>
              <a:grpFill/>
              <a:ln w="5978" cap="flat">
                <a:noFill/>
                <a:prstDash val="solid"/>
                <a:miter/>
              </a:ln>
            </p:spPr>
            <p:txBody>
              <a:bodyPr rtlCol="0" anchor="ctr"/>
              <a:lstStyle/>
              <a:p>
                <a:endParaRPr lang="en-GB"/>
              </a:p>
            </p:txBody>
          </p:sp>
        </p:grpSp>
        <p:grpSp>
          <p:nvGrpSpPr>
            <p:cNvPr id="543" name="Graphic 3">
              <a:extLst>
                <a:ext uri="{FF2B5EF4-FFF2-40B4-BE49-F238E27FC236}">
                  <a16:creationId xmlns:a16="http://schemas.microsoft.com/office/drawing/2014/main" id="{801C098F-8632-458A-9AEC-705680CBAB6C}"/>
                </a:ext>
              </a:extLst>
            </p:cNvPr>
            <p:cNvGrpSpPr/>
            <p:nvPr/>
          </p:nvGrpSpPr>
          <p:grpSpPr>
            <a:xfrm>
              <a:off x="7065364" y="4752163"/>
              <a:ext cx="255399" cy="393787"/>
              <a:chOff x="7065364" y="4752163"/>
              <a:chExt cx="255399" cy="393787"/>
            </a:xfrm>
            <a:grpFill/>
          </p:grpSpPr>
          <p:sp>
            <p:nvSpPr>
              <p:cNvPr id="3758" name="Vrije vorm: vorm 3757">
                <a:extLst>
                  <a:ext uri="{FF2B5EF4-FFF2-40B4-BE49-F238E27FC236}">
                    <a16:creationId xmlns:a16="http://schemas.microsoft.com/office/drawing/2014/main" id="{6FDBBCE6-B5EA-4289-A57F-10B5A98B58F4}"/>
                  </a:ext>
                </a:extLst>
              </p:cNvPr>
              <p:cNvSpPr/>
              <p:nvPr/>
            </p:nvSpPr>
            <p:spPr>
              <a:xfrm>
                <a:off x="7072941" y="4760156"/>
                <a:ext cx="240185" cy="377802"/>
              </a:xfrm>
              <a:custGeom>
                <a:avLst/>
                <a:gdLst>
                  <a:gd name="connsiteX0" fmla="*/ 240185 w 240185"/>
                  <a:gd name="connsiteY0" fmla="*/ 376187 h 377802"/>
                  <a:gd name="connsiteX1" fmla="*/ 237614 w 240185"/>
                  <a:gd name="connsiteY1" fmla="*/ 377802 h 377802"/>
                  <a:gd name="connsiteX2" fmla="*/ 0 w 240185"/>
                  <a:gd name="connsiteY2" fmla="*/ 1674 h 377802"/>
                  <a:gd name="connsiteX3" fmla="*/ 2571 w 240185"/>
                  <a:gd name="connsiteY3" fmla="*/ 0 h 377802"/>
                </a:gdLst>
                <a:ahLst/>
                <a:cxnLst>
                  <a:cxn ang="0">
                    <a:pos x="connsiteX0" y="connsiteY0"/>
                  </a:cxn>
                  <a:cxn ang="0">
                    <a:pos x="connsiteX1" y="connsiteY1"/>
                  </a:cxn>
                  <a:cxn ang="0">
                    <a:pos x="connsiteX2" y="connsiteY2"/>
                  </a:cxn>
                  <a:cxn ang="0">
                    <a:pos x="connsiteX3" y="connsiteY3"/>
                  </a:cxn>
                </a:cxnLst>
                <a:rect l="l" t="t" r="r" b="b"/>
                <a:pathLst>
                  <a:path w="240185" h="377802">
                    <a:moveTo>
                      <a:pt x="240185" y="376187"/>
                    </a:moveTo>
                    <a:lnTo>
                      <a:pt x="237614" y="377802"/>
                    </a:lnTo>
                    <a:lnTo>
                      <a:pt x="0" y="1674"/>
                    </a:lnTo>
                    <a:lnTo>
                      <a:pt x="2571" y="0"/>
                    </a:lnTo>
                    <a:close/>
                  </a:path>
                </a:pathLst>
              </a:custGeom>
              <a:grpFill/>
              <a:ln w="5978" cap="flat">
                <a:noFill/>
                <a:prstDash val="solid"/>
                <a:miter/>
              </a:ln>
            </p:spPr>
            <p:txBody>
              <a:bodyPr rtlCol="0" anchor="ctr"/>
              <a:lstStyle/>
              <a:p>
                <a:endParaRPr lang="en-GB"/>
              </a:p>
            </p:txBody>
          </p:sp>
          <p:sp>
            <p:nvSpPr>
              <p:cNvPr id="3759" name="Vrije vorm: vorm 3758">
                <a:extLst>
                  <a:ext uri="{FF2B5EF4-FFF2-40B4-BE49-F238E27FC236}">
                    <a16:creationId xmlns:a16="http://schemas.microsoft.com/office/drawing/2014/main" id="{6D51C5BA-30D9-4A88-9EF3-5E3A37F40561}"/>
                  </a:ext>
                </a:extLst>
              </p:cNvPr>
              <p:cNvSpPr/>
              <p:nvPr/>
            </p:nvSpPr>
            <p:spPr>
              <a:xfrm>
                <a:off x="7065364" y="4752163"/>
                <a:ext cx="18323" cy="18395"/>
              </a:xfrm>
              <a:custGeom>
                <a:avLst/>
                <a:gdLst>
                  <a:gd name="connsiteX0" fmla="*/ 1417 w 18323"/>
                  <a:gd name="connsiteY0" fmla="*/ 14153 h 18395"/>
                  <a:gd name="connsiteX1" fmla="*/ 4228 w 18323"/>
                  <a:gd name="connsiteY1" fmla="*/ 1414 h 18395"/>
                  <a:gd name="connsiteX2" fmla="*/ 16907 w 18323"/>
                  <a:gd name="connsiteY2" fmla="*/ 4285 h 18395"/>
                  <a:gd name="connsiteX3" fmla="*/ 14096 w 18323"/>
                  <a:gd name="connsiteY3" fmla="*/ 16964 h 18395"/>
                  <a:gd name="connsiteX4" fmla="*/ 1417 w 18323"/>
                  <a:gd name="connsiteY4" fmla="*/ 14153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95">
                    <a:moveTo>
                      <a:pt x="1417" y="14153"/>
                    </a:moveTo>
                    <a:cubicBezTo>
                      <a:pt x="-1275" y="9847"/>
                      <a:pt x="-18" y="4165"/>
                      <a:pt x="4228" y="1414"/>
                    </a:cubicBezTo>
                    <a:cubicBezTo>
                      <a:pt x="8474" y="-1277"/>
                      <a:pt x="14156" y="-21"/>
                      <a:pt x="16907" y="4285"/>
                    </a:cubicBezTo>
                    <a:cubicBezTo>
                      <a:pt x="19599" y="8591"/>
                      <a:pt x="18342" y="14273"/>
                      <a:pt x="14096" y="16964"/>
                    </a:cubicBezTo>
                    <a:cubicBezTo>
                      <a:pt x="9850" y="19655"/>
                      <a:pt x="4108" y="18459"/>
                      <a:pt x="1417" y="14153"/>
                    </a:cubicBezTo>
                    <a:close/>
                  </a:path>
                </a:pathLst>
              </a:custGeom>
              <a:grpFill/>
              <a:ln w="5978" cap="flat">
                <a:noFill/>
                <a:prstDash val="solid"/>
                <a:miter/>
              </a:ln>
            </p:spPr>
            <p:txBody>
              <a:bodyPr rtlCol="0" anchor="ctr"/>
              <a:lstStyle/>
              <a:p>
                <a:endParaRPr lang="en-GB"/>
              </a:p>
            </p:txBody>
          </p:sp>
          <p:sp>
            <p:nvSpPr>
              <p:cNvPr id="3760" name="Vrije vorm: vorm 3759">
                <a:extLst>
                  <a:ext uri="{FF2B5EF4-FFF2-40B4-BE49-F238E27FC236}">
                    <a16:creationId xmlns:a16="http://schemas.microsoft.com/office/drawing/2014/main" id="{96B205DB-BE75-40E7-89AF-457BE9F7243F}"/>
                  </a:ext>
                </a:extLst>
              </p:cNvPr>
              <p:cNvSpPr/>
              <p:nvPr/>
            </p:nvSpPr>
            <p:spPr>
              <a:xfrm>
                <a:off x="7302440" y="5127573"/>
                <a:ext cx="18323" cy="18377"/>
              </a:xfrm>
              <a:custGeom>
                <a:avLst/>
                <a:gdLst>
                  <a:gd name="connsiteX0" fmla="*/ 1417 w 18323"/>
                  <a:gd name="connsiteY0" fmla="*/ 14093 h 18377"/>
                  <a:gd name="connsiteX1" fmla="*/ 14096 w 18323"/>
                  <a:gd name="connsiteY1" fmla="*/ 16964 h 18377"/>
                  <a:gd name="connsiteX2" fmla="*/ 16907 w 18323"/>
                  <a:gd name="connsiteY2" fmla="*/ 4285 h 18377"/>
                  <a:gd name="connsiteX3" fmla="*/ 4228 w 18323"/>
                  <a:gd name="connsiteY3" fmla="*/ 1414 h 18377"/>
                  <a:gd name="connsiteX4" fmla="*/ 1417 w 18323"/>
                  <a:gd name="connsiteY4" fmla="*/ 14093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77">
                    <a:moveTo>
                      <a:pt x="1417" y="14093"/>
                    </a:moveTo>
                    <a:cubicBezTo>
                      <a:pt x="4108" y="18399"/>
                      <a:pt x="9790" y="19655"/>
                      <a:pt x="14096" y="16964"/>
                    </a:cubicBezTo>
                    <a:cubicBezTo>
                      <a:pt x="18342" y="14273"/>
                      <a:pt x="19598" y="8531"/>
                      <a:pt x="16907" y="4285"/>
                    </a:cubicBezTo>
                    <a:cubicBezTo>
                      <a:pt x="14216" y="-21"/>
                      <a:pt x="8534" y="-1277"/>
                      <a:pt x="4228" y="1414"/>
                    </a:cubicBezTo>
                    <a:cubicBezTo>
                      <a:pt x="-18" y="4105"/>
                      <a:pt x="-1275" y="9787"/>
                      <a:pt x="1417" y="14093"/>
                    </a:cubicBezTo>
                    <a:close/>
                  </a:path>
                </a:pathLst>
              </a:custGeom>
              <a:grpFill/>
              <a:ln w="5978" cap="flat">
                <a:noFill/>
                <a:prstDash val="solid"/>
                <a:miter/>
              </a:ln>
            </p:spPr>
            <p:txBody>
              <a:bodyPr rtlCol="0" anchor="ctr"/>
              <a:lstStyle/>
              <a:p>
                <a:endParaRPr lang="en-GB"/>
              </a:p>
            </p:txBody>
          </p:sp>
        </p:grpSp>
        <p:grpSp>
          <p:nvGrpSpPr>
            <p:cNvPr id="544" name="Graphic 3">
              <a:extLst>
                <a:ext uri="{FF2B5EF4-FFF2-40B4-BE49-F238E27FC236}">
                  <a16:creationId xmlns:a16="http://schemas.microsoft.com/office/drawing/2014/main" id="{B9323806-1AC3-4913-819C-CE6887339747}"/>
                </a:ext>
              </a:extLst>
            </p:cNvPr>
            <p:cNvGrpSpPr/>
            <p:nvPr/>
          </p:nvGrpSpPr>
          <p:grpSpPr>
            <a:xfrm>
              <a:off x="6026553" y="1454731"/>
              <a:ext cx="19916" cy="175714"/>
              <a:chOff x="6026553" y="1454731"/>
              <a:chExt cx="19916" cy="175714"/>
            </a:xfrm>
            <a:grpFill/>
          </p:grpSpPr>
          <p:sp>
            <p:nvSpPr>
              <p:cNvPr id="3755" name="Vrije vorm: vorm 3754">
                <a:extLst>
                  <a:ext uri="{FF2B5EF4-FFF2-40B4-BE49-F238E27FC236}">
                    <a16:creationId xmlns:a16="http://schemas.microsoft.com/office/drawing/2014/main" id="{4702B2E7-74B5-47B2-81F1-E36D73003251}"/>
                  </a:ext>
                </a:extLst>
              </p:cNvPr>
              <p:cNvSpPr/>
              <p:nvPr/>
            </p:nvSpPr>
            <p:spPr>
              <a:xfrm>
                <a:off x="6034149" y="1463523"/>
                <a:ext cx="4605" cy="158190"/>
              </a:xfrm>
              <a:custGeom>
                <a:avLst/>
                <a:gdLst>
                  <a:gd name="connsiteX0" fmla="*/ 3050 w 4605"/>
                  <a:gd name="connsiteY0" fmla="*/ 0 h 158190"/>
                  <a:gd name="connsiteX1" fmla="*/ 4605 w 4605"/>
                  <a:gd name="connsiteY1" fmla="*/ 158190 h 158190"/>
                  <a:gd name="connsiteX2" fmla="*/ 1615 w 4605"/>
                  <a:gd name="connsiteY2" fmla="*/ 158190 h 158190"/>
                  <a:gd name="connsiteX3" fmla="*/ 0 w 4605"/>
                  <a:gd name="connsiteY3" fmla="*/ 0 h 158190"/>
                </a:gdLst>
                <a:ahLst/>
                <a:cxnLst>
                  <a:cxn ang="0">
                    <a:pos x="connsiteX0" y="connsiteY0"/>
                  </a:cxn>
                  <a:cxn ang="0">
                    <a:pos x="connsiteX1" y="connsiteY1"/>
                  </a:cxn>
                  <a:cxn ang="0">
                    <a:pos x="connsiteX2" y="connsiteY2"/>
                  </a:cxn>
                  <a:cxn ang="0">
                    <a:pos x="connsiteX3" y="connsiteY3"/>
                  </a:cxn>
                </a:cxnLst>
                <a:rect l="l" t="t" r="r" b="b"/>
                <a:pathLst>
                  <a:path w="4605" h="158190">
                    <a:moveTo>
                      <a:pt x="3050" y="0"/>
                    </a:moveTo>
                    <a:lnTo>
                      <a:pt x="4605" y="158190"/>
                    </a:lnTo>
                    <a:lnTo>
                      <a:pt x="1615" y="158190"/>
                    </a:lnTo>
                    <a:lnTo>
                      <a:pt x="0" y="0"/>
                    </a:lnTo>
                    <a:close/>
                  </a:path>
                </a:pathLst>
              </a:custGeom>
              <a:grpFill/>
              <a:ln w="5978" cap="flat">
                <a:noFill/>
                <a:prstDash val="solid"/>
                <a:miter/>
              </a:ln>
            </p:spPr>
            <p:txBody>
              <a:bodyPr rtlCol="0" anchor="ctr"/>
              <a:lstStyle/>
              <a:p>
                <a:endParaRPr lang="en-GB"/>
              </a:p>
            </p:txBody>
          </p:sp>
          <p:sp>
            <p:nvSpPr>
              <p:cNvPr id="3756" name="Vrije vorm: vorm 3755">
                <a:extLst>
                  <a:ext uri="{FF2B5EF4-FFF2-40B4-BE49-F238E27FC236}">
                    <a16:creationId xmlns:a16="http://schemas.microsoft.com/office/drawing/2014/main" id="{28B2CBA5-15F6-46A0-B569-045B84EBBE3F}"/>
                  </a:ext>
                </a:extLst>
              </p:cNvPr>
              <p:cNvSpPr/>
              <p:nvPr/>
            </p:nvSpPr>
            <p:spPr>
              <a:xfrm>
                <a:off x="6026553" y="1454731"/>
                <a:ext cx="18362" cy="18421"/>
              </a:xfrm>
              <a:custGeom>
                <a:avLst/>
                <a:gdLst>
                  <a:gd name="connsiteX0" fmla="*/ 1 w 18362"/>
                  <a:gd name="connsiteY0" fmla="*/ 9270 h 18421"/>
                  <a:gd name="connsiteX1" fmla="*/ 9091 w 18362"/>
                  <a:gd name="connsiteY1" fmla="*/ 0 h 18421"/>
                  <a:gd name="connsiteX2" fmla="*/ 18362 w 18362"/>
                  <a:gd name="connsiteY2" fmla="*/ 9151 h 18421"/>
                  <a:gd name="connsiteX3" fmla="*/ 9271 w 18362"/>
                  <a:gd name="connsiteY3" fmla="*/ 18421 h 18421"/>
                  <a:gd name="connsiteX4" fmla="*/ 1 w 18362"/>
                  <a:gd name="connsiteY4" fmla="*/ 927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0"/>
                    </a:moveTo>
                    <a:cubicBezTo>
                      <a:pt x="-59" y="4187"/>
                      <a:pt x="4008" y="60"/>
                      <a:pt x="9091" y="0"/>
                    </a:cubicBezTo>
                    <a:cubicBezTo>
                      <a:pt x="14175" y="0"/>
                      <a:pt x="18302" y="4067"/>
                      <a:pt x="18362" y="9151"/>
                    </a:cubicBezTo>
                    <a:cubicBezTo>
                      <a:pt x="18421" y="14234"/>
                      <a:pt x="14354" y="18361"/>
                      <a:pt x="9271" y="18421"/>
                    </a:cubicBezTo>
                    <a:cubicBezTo>
                      <a:pt x="4187" y="18480"/>
                      <a:pt x="1" y="14414"/>
                      <a:pt x="1" y="9270"/>
                    </a:cubicBezTo>
                    <a:close/>
                  </a:path>
                </a:pathLst>
              </a:custGeom>
              <a:grpFill/>
              <a:ln w="5978" cap="flat">
                <a:noFill/>
                <a:prstDash val="solid"/>
                <a:miter/>
              </a:ln>
            </p:spPr>
            <p:txBody>
              <a:bodyPr rtlCol="0" anchor="ctr"/>
              <a:lstStyle/>
              <a:p>
                <a:endParaRPr lang="en-GB"/>
              </a:p>
            </p:txBody>
          </p:sp>
          <p:sp>
            <p:nvSpPr>
              <p:cNvPr id="3757" name="Vrije vorm: vorm 3756">
                <a:extLst>
                  <a:ext uri="{FF2B5EF4-FFF2-40B4-BE49-F238E27FC236}">
                    <a16:creationId xmlns:a16="http://schemas.microsoft.com/office/drawing/2014/main" id="{5A14D198-D81A-442D-923C-2E2D1004FA98}"/>
                  </a:ext>
                </a:extLst>
              </p:cNvPr>
              <p:cNvSpPr/>
              <p:nvPr/>
            </p:nvSpPr>
            <p:spPr>
              <a:xfrm>
                <a:off x="6028108" y="1612023"/>
                <a:ext cx="18362" cy="18421"/>
              </a:xfrm>
              <a:custGeom>
                <a:avLst/>
                <a:gdLst>
                  <a:gd name="connsiteX0" fmla="*/ 1 w 18362"/>
                  <a:gd name="connsiteY0" fmla="*/ 9271 h 18421"/>
                  <a:gd name="connsiteX1" fmla="*/ 9271 w 18362"/>
                  <a:gd name="connsiteY1" fmla="*/ 18421 h 18421"/>
                  <a:gd name="connsiteX2" fmla="*/ 18362 w 18362"/>
                  <a:gd name="connsiteY2" fmla="*/ 9151 h 18421"/>
                  <a:gd name="connsiteX3" fmla="*/ 9091 w 18362"/>
                  <a:gd name="connsiteY3" fmla="*/ 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61" y="14354"/>
                      <a:pt x="4187" y="18481"/>
                      <a:pt x="9271" y="18421"/>
                    </a:cubicBezTo>
                    <a:cubicBezTo>
                      <a:pt x="14355" y="18362"/>
                      <a:pt x="18421" y="14235"/>
                      <a:pt x="18362" y="9151"/>
                    </a:cubicBezTo>
                    <a:cubicBezTo>
                      <a:pt x="18302" y="4068"/>
                      <a:pt x="14175" y="-59"/>
                      <a:pt x="9091" y="1"/>
                    </a:cubicBezTo>
                    <a:cubicBezTo>
                      <a:pt x="4008" y="1"/>
                      <a:pt x="-59" y="4187"/>
                      <a:pt x="1" y="9271"/>
                    </a:cubicBezTo>
                    <a:close/>
                  </a:path>
                </a:pathLst>
              </a:custGeom>
              <a:grpFill/>
              <a:ln w="5978" cap="flat">
                <a:noFill/>
                <a:prstDash val="solid"/>
                <a:miter/>
              </a:ln>
            </p:spPr>
            <p:txBody>
              <a:bodyPr rtlCol="0" anchor="ctr"/>
              <a:lstStyle/>
              <a:p>
                <a:endParaRPr lang="en-GB"/>
              </a:p>
            </p:txBody>
          </p:sp>
        </p:grpSp>
        <p:grpSp>
          <p:nvGrpSpPr>
            <p:cNvPr id="545" name="Graphic 3">
              <a:extLst>
                <a:ext uri="{FF2B5EF4-FFF2-40B4-BE49-F238E27FC236}">
                  <a16:creationId xmlns:a16="http://schemas.microsoft.com/office/drawing/2014/main" id="{14D7671C-1372-4064-9620-D510FEA0C766}"/>
                </a:ext>
              </a:extLst>
            </p:cNvPr>
            <p:cNvGrpSpPr/>
            <p:nvPr/>
          </p:nvGrpSpPr>
          <p:grpSpPr>
            <a:xfrm>
              <a:off x="6060404" y="1619200"/>
              <a:ext cx="19318" cy="123503"/>
              <a:chOff x="6060404" y="1619200"/>
              <a:chExt cx="19318" cy="123503"/>
            </a:xfrm>
            <a:grpFill/>
          </p:grpSpPr>
          <p:sp>
            <p:nvSpPr>
              <p:cNvPr id="3752" name="Vrije vorm: vorm 3751">
                <a:extLst>
                  <a:ext uri="{FF2B5EF4-FFF2-40B4-BE49-F238E27FC236}">
                    <a16:creationId xmlns:a16="http://schemas.microsoft.com/office/drawing/2014/main" id="{F1536D28-02B4-46DA-8DF9-959B092DC89E}"/>
                  </a:ext>
                </a:extLst>
              </p:cNvPr>
              <p:cNvSpPr/>
              <p:nvPr/>
            </p:nvSpPr>
            <p:spPr>
              <a:xfrm>
                <a:off x="6068060" y="1627933"/>
                <a:ext cx="3947" cy="106038"/>
              </a:xfrm>
              <a:custGeom>
                <a:avLst/>
                <a:gdLst>
                  <a:gd name="connsiteX0" fmla="*/ 3947 w 3947"/>
                  <a:gd name="connsiteY0" fmla="*/ 0 h 106038"/>
                  <a:gd name="connsiteX1" fmla="*/ 3050 w 3947"/>
                  <a:gd name="connsiteY1" fmla="*/ 106038 h 106038"/>
                  <a:gd name="connsiteX2" fmla="*/ 0 w 3947"/>
                  <a:gd name="connsiteY2" fmla="*/ 105978 h 106038"/>
                  <a:gd name="connsiteX3" fmla="*/ 897 w 3947"/>
                  <a:gd name="connsiteY3" fmla="*/ 0 h 106038"/>
                </a:gdLst>
                <a:ahLst/>
                <a:cxnLst>
                  <a:cxn ang="0">
                    <a:pos x="connsiteX0" y="connsiteY0"/>
                  </a:cxn>
                  <a:cxn ang="0">
                    <a:pos x="connsiteX1" y="connsiteY1"/>
                  </a:cxn>
                  <a:cxn ang="0">
                    <a:pos x="connsiteX2" y="connsiteY2"/>
                  </a:cxn>
                  <a:cxn ang="0">
                    <a:pos x="connsiteX3" y="connsiteY3"/>
                  </a:cxn>
                </a:cxnLst>
                <a:rect l="l" t="t" r="r" b="b"/>
                <a:pathLst>
                  <a:path w="3947" h="106038">
                    <a:moveTo>
                      <a:pt x="3947" y="0"/>
                    </a:moveTo>
                    <a:lnTo>
                      <a:pt x="3050" y="106038"/>
                    </a:lnTo>
                    <a:lnTo>
                      <a:pt x="0" y="105978"/>
                    </a:lnTo>
                    <a:lnTo>
                      <a:pt x="897" y="0"/>
                    </a:lnTo>
                    <a:close/>
                  </a:path>
                </a:pathLst>
              </a:custGeom>
              <a:grpFill/>
              <a:ln w="5978" cap="flat">
                <a:noFill/>
                <a:prstDash val="solid"/>
                <a:miter/>
              </a:ln>
            </p:spPr>
            <p:txBody>
              <a:bodyPr rtlCol="0" anchor="ctr"/>
              <a:lstStyle/>
              <a:p>
                <a:endParaRPr lang="en-GB"/>
              </a:p>
            </p:txBody>
          </p:sp>
          <p:sp>
            <p:nvSpPr>
              <p:cNvPr id="3753" name="Vrije vorm: vorm 3752">
                <a:extLst>
                  <a:ext uri="{FF2B5EF4-FFF2-40B4-BE49-F238E27FC236}">
                    <a16:creationId xmlns:a16="http://schemas.microsoft.com/office/drawing/2014/main" id="{2C33C638-7583-47A9-AF59-E0F6D6396BAE}"/>
                  </a:ext>
                </a:extLst>
              </p:cNvPr>
              <p:cNvSpPr/>
              <p:nvPr/>
            </p:nvSpPr>
            <p:spPr>
              <a:xfrm>
                <a:off x="6061361" y="1619200"/>
                <a:ext cx="18361" cy="18421"/>
              </a:xfrm>
              <a:custGeom>
                <a:avLst/>
                <a:gdLst>
                  <a:gd name="connsiteX0" fmla="*/ 1 w 18361"/>
                  <a:gd name="connsiteY0" fmla="*/ 9091 h 18421"/>
                  <a:gd name="connsiteX1" fmla="*/ 9271 w 18361"/>
                  <a:gd name="connsiteY1" fmla="*/ 1 h 18421"/>
                  <a:gd name="connsiteX2" fmla="*/ 18361 w 18361"/>
                  <a:gd name="connsiteY2" fmla="*/ 9331 h 18421"/>
                  <a:gd name="connsiteX3" fmla="*/ 9091 w 18361"/>
                  <a:gd name="connsiteY3" fmla="*/ 18421 h 18421"/>
                  <a:gd name="connsiteX4" fmla="*/ 1 w 18361"/>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1" y="9091"/>
                    </a:moveTo>
                    <a:cubicBezTo>
                      <a:pt x="60" y="4008"/>
                      <a:pt x="4187" y="-59"/>
                      <a:pt x="9271" y="1"/>
                    </a:cubicBezTo>
                    <a:cubicBezTo>
                      <a:pt x="14354" y="61"/>
                      <a:pt x="18421" y="4247"/>
                      <a:pt x="18361" y="9331"/>
                    </a:cubicBezTo>
                    <a:cubicBezTo>
                      <a:pt x="18302" y="14414"/>
                      <a:pt x="14175" y="18481"/>
                      <a:pt x="9091" y="18421"/>
                    </a:cubicBezTo>
                    <a:cubicBezTo>
                      <a:pt x="4008" y="18362"/>
                      <a:pt x="-59" y="14175"/>
                      <a:pt x="1" y="9091"/>
                    </a:cubicBezTo>
                    <a:close/>
                  </a:path>
                </a:pathLst>
              </a:custGeom>
              <a:grpFill/>
              <a:ln w="5978" cap="flat">
                <a:noFill/>
                <a:prstDash val="solid"/>
                <a:miter/>
              </a:ln>
            </p:spPr>
            <p:txBody>
              <a:bodyPr rtlCol="0" anchor="ctr"/>
              <a:lstStyle/>
              <a:p>
                <a:endParaRPr lang="en-GB"/>
              </a:p>
            </p:txBody>
          </p:sp>
          <p:sp>
            <p:nvSpPr>
              <p:cNvPr id="3754" name="Vrije vorm: vorm 3753">
                <a:extLst>
                  <a:ext uri="{FF2B5EF4-FFF2-40B4-BE49-F238E27FC236}">
                    <a16:creationId xmlns:a16="http://schemas.microsoft.com/office/drawing/2014/main" id="{8E6226F7-6AD1-483D-ADCB-8B9C4D29FDD0}"/>
                  </a:ext>
                </a:extLst>
              </p:cNvPr>
              <p:cNvSpPr/>
              <p:nvPr/>
            </p:nvSpPr>
            <p:spPr>
              <a:xfrm>
                <a:off x="6060404" y="1724282"/>
                <a:ext cx="18362" cy="18421"/>
              </a:xfrm>
              <a:custGeom>
                <a:avLst/>
                <a:gdLst>
                  <a:gd name="connsiteX0" fmla="*/ 1 w 18362"/>
                  <a:gd name="connsiteY0" fmla="*/ 9091 h 18421"/>
                  <a:gd name="connsiteX1" fmla="*/ 9091 w 18362"/>
                  <a:gd name="connsiteY1" fmla="*/ 18421 h 18421"/>
                  <a:gd name="connsiteX2" fmla="*/ 18362 w 18362"/>
                  <a:gd name="connsiteY2" fmla="*/ 9331 h 18421"/>
                  <a:gd name="connsiteX3" fmla="*/ 9271 w 18362"/>
                  <a:gd name="connsiteY3" fmla="*/ 1 h 18421"/>
                  <a:gd name="connsiteX4" fmla="*/ 1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091"/>
                    </a:moveTo>
                    <a:cubicBezTo>
                      <a:pt x="-59" y="14175"/>
                      <a:pt x="4008" y="18361"/>
                      <a:pt x="9091" y="18421"/>
                    </a:cubicBezTo>
                    <a:cubicBezTo>
                      <a:pt x="14175" y="18481"/>
                      <a:pt x="18302" y="14414"/>
                      <a:pt x="18362" y="9331"/>
                    </a:cubicBezTo>
                    <a:cubicBezTo>
                      <a:pt x="18421" y="4247"/>
                      <a:pt x="14355" y="60"/>
                      <a:pt x="9271" y="1"/>
                    </a:cubicBezTo>
                    <a:cubicBezTo>
                      <a:pt x="4187" y="-59"/>
                      <a:pt x="61" y="4008"/>
                      <a:pt x="1" y="9091"/>
                    </a:cubicBezTo>
                    <a:close/>
                  </a:path>
                </a:pathLst>
              </a:custGeom>
              <a:grpFill/>
              <a:ln w="5978" cap="flat">
                <a:noFill/>
                <a:prstDash val="solid"/>
                <a:miter/>
              </a:ln>
            </p:spPr>
            <p:txBody>
              <a:bodyPr rtlCol="0" anchor="ctr"/>
              <a:lstStyle/>
              <a:p>
                <a:endParaRPr lang="en-GB"/>
              </a:p>
            </p:txBody>
          </p:sp>
        </p:grpSp>
        <p:grpSp>
          <p:nvGrpSpPr>
            <p:cNvPr id="546" name="Graphic 3">
              <a:extLst>
                <a:ext uri="{FF2B5EF4-FFF2-40B4-BE49-F238E27FC236}">
                  <a16:creationId xmlns:a16="http://schemas.microsoft.com/office/drawing/2014/main" id="{C5836F52-B9FF-4DDB-BEB8-7B1E30D2021A}"/>
                </a:ext>
              </a:extLst>
            </p:cNvPr>
            <p:cNvGrpSpPr/>
            <p:nvPr/>
          </p:nvGrpSpPr>
          <p:grpSpPr>
            <a:xfrm>
              <a:off x="5998793" y="1247902"/>
              <a:ext cx="43441" cy="497030"/>
              <a:chOff x="5998793" y="1247902"/>
              <a:chExt cx="43441" cy="497030"/>
            </a:xfrm>
            <a:grpFill/>
          </p:grpSpPr>
          <p:sp>
            <p:nvSpPr>
              <p:cNvPr id="3749" name="Vrije vorm: vorm 3748">
                <a:extLst>
                  <a:ext uri="{FF2B5EF4-FFF2-40B4-BE49-F238E27FC236}">
                    <a16:creationId xmlns:a16="http://schemas.microsoft.com/office/drawing/2014/main" id="{95420BF9-51C6-4521-B39B-5767E98F277C}"/>
                  </a:ext>
                </a:extLst>
              </p:cNvPr>
              <p:cNvSpPr/>
              <p:nvPr/>
            </p:nvSpPr>
            <p:spPr>
              <a:xfrm>
                <a:off x="6006399" y="1256650"/>
                <a:ext cx="28228" cy="479653"/>
              </a:xfrm>
              <a:custGeom>
                <a:avLst/>
                <a:gdLst>
                  <a:gd name="connsiteX0" fmla="*/ 28229 w 28228"/>
                  <a:gd name="connsiteY0" fmla="*/ 179 h 479653"/>
                  <a:gd name="connsiteX1" fmla="*/ 3050 w 28228"/>
                  <a:gd name="connsiteY1" fmla="*/ 479654 h 479653"/>
                  <a:gd name="connsiteX2" fmla="*/ 0 w 28228"/>
                  <a:gd name="connsiteY2" fmla="*/ 479474 h 479653"/>
                  <a:gd name="connsiteX3" fmla="*/ 25179 w 28228"/>
                  <a:gd name="connsiteY3" fmla="*/ 0 h 479653"/>
                </a:gdLst>
                <a:ahLst/>
                <a:cxnLst>
                  <a:cxn ang="0">
                    <a:pos x="connsiteX0" y="connsiteY0"/>
                  </a:cxn>
                  <a:cxn ang="0">
                    <a:pos x="connsiteX1" y="connsiteY1"/>
                  </a:cxn>
                  <a:cxn ang="0">
                    <a:pos x="connsiteX2" y="connsiteY2"/>
                  </a:cxn>
                  <a:cxn ang="0">
                    <a:pos x="connsiteX3" y="connsiteY3"/>
                  </a:cxn>
                </a:cxnLst>
                <a:rect l="l" t="t" r="r" b="b"/>
                <a:pathLst>
                  <a:path w="28228" h="479653">
                    <a:moveTo>
                      <a:pt x="28229" y="179"/>
                    </a:moveTo>
                    <a:lnTo>
                      <a:pt x="3050" y="479654"/>
                    </a:lnTo>
                    <a:lnTo>
                      <a:pt x="0" y="479474"/>
                    </a:lnTo>
                    <a:lnTo>
                      <a:pt x="25179" y="0"/>
                    </a:lnTo>
                    <a:close/>
                  </a:path>
                </a:pathLst>
              </a:custGeom>
              <a:grpFill/>
              <a:ln w="5978" cap="flat">
                <a:noFill/>
                <a:prstDash val="solid"/>
                <a:miter/>
              </a:ln>
            </p:spPr>
            <p:txBody>
              <a:bodyPr rtlCol="0" anchor="ctr"/>
              <a:lstStyle/>
              <a:p>
                <a:endParaRPr lang="en-GB"/>
              </a:p>
            </p:txBody>
          </p:sp>
          <p:sp>
            <p:nvSpPr>
              <p:cNvPr id="3750" name="Vrije vorm: vorm 3749">
                <a:extLst>
                  <a:ext uri="{FF2B5EF4-FFF2-40B4-BE49-F238E27FC236}">
                    <a16:creationId xmlns:a16="http://schemas.microsoft.com/office/drawing/2014/main" id="{7909405A-3DFF-4EE9-8F2B-418F305D4D63}"/>
                  </a:ext>
                </a:extLst>
              </p:cNvPr>
              <p:cNvSpPr/>
              <p:nvPr/>
            </p:nvSpPr>
            <p:spPr>
              <a:xfrm>
                <a:off x="5998793" y="1726479"/>
                <a:ext cx="18322" cy="18452"/>
              </a:xfrm>
              <a:custGeom>
                <a:avLst/>
                <a:gdLst>
                  <a:gd name="connsiteX0" fmla="*/ 18312 w 18322"/>
                  <a:gd name="connsiteY0" fmla="*/ 9765 h 18452"/>
                  <a:gd name="connsiteX1" fmla="*/ 8683 w 18322"/>
                  <a:gd name="connsiteY1" fmla="*/ 18437 h 18452"/>
                  <a:gd name="connsiteX2" fmla="*/ 11 w 18322"/>
                  <a:gd name="connsiteY2" fmla="*/ 8688 h 18452"/>
                  <a:gd name="connsiteX3" fmla="*/ 9639 w 18322"/>
                  <a:gd name="connsiteY3" fmla="*/ 16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073" y="14848"/>
                      <a:pt x="13706" y="18736"/>
                      <a:pt x="8683" y="18437"/>
                    </a:cubicBezTo>
                    <a:cubicBezTo>
                      <a:pt x="3599" y="18138"/>
                      <a:pt x="-228" y="13772"/>
                      <a:pt x="11" y="8688"/>
                    </a:cubicBezTo>
                    <a:cubicBezTo>
                      <a:pt x="250" y="3605"/>
                      <a:pt x="4616" y="-283"/>
                      <a:pt x="9639" y="16"/>
                    </a:cubicBezTo>
                    <a:cubicBezTo>
                      <a:pt x="14723" y="375"/>
                      <a:pt x="18551" y="4741"/>
                      <a:pt x="18312" y="9765"/>
                    </a:cubicBezTo>
                    <a:close/>
                  </a:path>
                </a:pathLst>
              </a:custGeom>
              <a:grpFill/>
              <a:ln w="5978" cap="flat">
                <a:noFill/>
                <a:prstDash val="solid"/>
                <a:miter/>
              </a:ln>
            </p:spPr>
            <p:txBody>
              <a:bodyPr rtlCol="0" anchor="ctr"/>
              <a:lstStyle/>
              <a:p>
                <a:endParaRPr lang="en-GB"/>
              </a:p>
            </p:txBody>
          </p:sp>
          <p:sp>
            <p:nvSpPr>
              <p:cNvPr id="3751" name="Vrije vorm: vorm 3750">
                <a:extLst>
                  <a:ext uri="{FF2B5EF4-FFF2-40B4-BE49-F238E27FC236}">
                    <a16:creationId xmlns:a16="http://schemas.microsoft.com/office/drawing/2014/main" id="{25FD513A-27A8-4536-B201-B6F7E091CC4A}"/>
                  </a:ext>
                </a:extLst>
              </p:cNvPr>
              <p:cNvSpPr/>
              <p:nvPr/>
            </p:nvSpPr>
            <p:spPr>
              <a:xfrm>
                <a:off x="6023912" y="1247902"/>
                <a:ext cx="18322" cy="18452"/>
              </a:xfrm>
              <a:custGeom>
                <a:avLst/>
                <a:gdLst>
                  <a:gd name="connsiteX0" fmla="*/ 18312 w 18322"/>
                  <a:gd name="connsiteY0" fmla="*/ 9765 h 18452"/>
                  <a:gd name="connsiteX1" fmla="*/ 9640 w 18322"/>
                  <a:gd name="connsiteY1" fmla="*/ 16 h 18452"/>
                  <a:gd name="connsiteX2" fmla="*/ 11 w 18322"/>
                  <a:gd name="connsiteY2" fmla="*/ 8688 h 18452"/>
                  <a:gd name="connsiteX3" fmla="*/ 8682 w 18322"/>
                  <a:gd name="connsiteY3" fmla="*/ 18437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551" y="4681"/>
                      <a:pt x="14723" y="315"/>
                      <a:pt x="9640" y="16"/>
                    </a:cubicBezTo>
                    <a:cubicBezTo>
                      <a:pt x="4556" y="-283"/>
                      <a:pt x="250" y="3605"/>
                      <a:pt x="11" y="8688"/>
                    </a:cubicBezTo>
                    <a:cubicBezTo>
                      <a:pt x="-229" y="13772"/>
                      <a:pt x="3599" y="18138"/>
                      <a:pt x="8682" y="18437"/>
                    </a:cubicBezTo>
                    <a:cubicBezTo>
                      <a:pt x="13706" y="18736"/>
                      <a:pt x="18013" y="14848"/>
                      <a:pt x="18312" y="9765"/>
                    </a:cubicBezTo>
                    <a:close/>
                  </a:path>
                </a:pathLst>
              </a:custGeom>
              <a:grpFill/>
              <a:ln w="5978" cap="flat">
                <a:noFill/>
                <a:prstDash val="solid"/>
                <a:miter/>
              </a:ln>
            </p:spPr>
            <p:txBody>
              <a:bodyPr rtlCol="0" anchor="ctr"/>
              <a:lstStyle/>
              <a:p>
                <a:endParaRPr lang="en-GB"/>
              </a:p>
            </p:txBody>
          </p:sp>
        </p:grpSp>
        <p:grpSp>
          <p:nvGrpSpPr>
            <p:cNvPr id="547" name="Graphic 3">
              <a:extLst>
                <a:ext uri="{FF2B5EF4-FFF2-40B4-BE49-F238E27FC236}">
                  <a16:creationId xmlns:a16="http://schemas.microsoft.com/office/drawing/2014/main" id="{142E6E95-7E0B-418F-A281-58C78C2C7D05}"/>
                </a:ext>
              </a:extLst>
            </p:cNvPr>
            <p:cNvGrpSpPr/>
            <p:nvPr/>
          </p:nvGrpSpPr>
          <p:grpSpPr>
            <a:xfrm>
              <a:off x="7065995" y="4751719"/>
              <a:ext cx="95308" cy="119862"/>
              <a:chOff x="7065995" y="4751719"/>
              <a:chExt cx="95308" cy="119862"/>
            </a:xfrm>
            <a:grpFill/>
          </p:grpSpPr>
          <p:sp>
            <p:nvSpPr>
              <p:cNvPr id="3746" name="Vrije vorm: vorm 3745">
                <a:extLst>
                  <a:ext uri="{FF2B5EF4-FFF2-40B4-BE49-F238E27FC236}">
                    <a16:creationId xmlns:a16="http://schemas.microsoft.com/office/drawing/2014/main" id="{1C7BC87B-43DB-4033-96C4-24BA65F03859}"/>
                  </a:ext>
                </a:extLst>
              </p:cNvPr>
              <p:cNvSpPr/>
              <p:nvPr/>
            </p:nvSpPr>
            <p:spPr>
              <a:xfrm>
                <a:off x="7073659" y="4759618"/>
                <a:ext cx="79962" cy="104064"/>
              </a:xfrm>
              <a:custGeom>
                <a:avLst/>
                <a:gdLst>
                  <a:gd name="connsiteX0" fmla="*/ 79962 w 79962"/>
                  <a:gd name="connsiteY0" fmla="*/ 102211 h 104064"/>
                  <a:gd name="connsiteX1" fmla="*/ 77570 w 79962"/>
                  <a:gd name="connsiteY1" fmla="*/ 104065 h 104064"/>
                  <a:gd name="connsiteX2" fmla="*/ 0 w 79962"/>
                  <a:gd name="connsiteY2" fmla="*/ 1854 h 104064"/>
                  <a:gd name="connsiteX3" fmla="*/ 2392 w 79962"/>
                  <a:gd name="connsiteY3" fmla="*/ 0 h 104064"/>
                </a:gdLst>
                <a:ahLst/>
                <a:cxnLst>
                  <a:cxn ang="0">
                    <a:pos x="connsiteX0" y="connsiteY0"/>
                  </a:cxn>
                  <a:cxn ang="0">
                    <a:pos x="connsiteX1" y="connsiteY1"/>
                  </a:cxn>
                  <a:cxn ang="0">
                    <a:pos x="connsiteX2" y="connsiteY2"/>
                  </a:cxn>
                  <a:cxn ang="0">
                    <a:pos x="connsiteX3" y="connsiteY3"/>
                  </a:cxn>
                </a:cxnLst>
                <a:rect l="l" t="t" r="r" b="b"/>
                <a:pathLst>
                  <a:path w="79962" h="104064">
                    <a:moveTo>
                      <a:pt x="79962" y="102211"/>
                    </a:moveTo>
                    <a:lnTo>
                      <a:pt x="77570" y="104065"/>
                    </a:lnTo>
                    <a:lnTo>
                      <a:pt x="0" y="1854"/>
                    </a:lnTo>
                    <a:lnTo>
                      <a:pt x="2392" y="0"/>
                    </a:lnTo>
                    <a:close/>
                  </a:path>
                </a:pathLst>
              </a:custGeom>
              <a:grpFill/>
              <a:ln w="5978" cap="flat">
                <a:noFill/>
                <a:prstDash val="solid"/>
                <a:miter/>
              </a:ln>
            </p:spPr>
            <p:txBody>
              <a:bodyPr rtlCol="0" anchor="ctr"/>
              <a:lstStyle/>
              <a:p>
                <a:endParaRPr lang="en-GB"/>
              </a:p>
            </p:txBody>
          </p:sp>
          <p:sp>
            <p:nvSpPr>
              <p:cNvPr id="3747" name="Vrije vorm: vorm 3746">
                <a:extLst>
                  <a:ext uri="{FF2B5EF4-FFF2-40B4-BE49-F238E27FC236}">
                    <a16:creationId xmlns:a16="http://schemas.microsoft.com/office/drawing/2014/main" id="{7F6C006F-7DB0-4141-8AE9-D70D599AD21F}"/>
                  </a:ext>
                </a:extLst>
              </p:cNvPr>
              <p:cNvSpPr/>
              <p:nvPr/>
            </p:nvSpPr>
            <p:spPr>
              <a:xfrm>
                <a:off x="7142949" y="4853152"/>
                <a:ext cx="18354" cy="18429"/>
              </a:xfrm>
              <a:custGeom>
                <a:avLst/>
                <a:gdLst>
                  <a:gd name="connsiteX0" fmla="*/ 16473 w 18354"/>
                  <a:gd name="connsiteY0" fmla="*/ 3653 h 18429"/>
                  <a:gd name="connsiteX1" fmla="*/ 14739 w 18354"/>
                  <a:gd name="connsiteY1" fmla="*/ 16571 h 18429"/>
                  <a:gd name="connsiteX2" fmla="*/ 1880 w 18354"/>
                  <a:gd name="connsiteY2" fmla="*/ 14777 h 18429"/>
                  <a:gd name="connsiteX3" fmla="*/ 3615 w 18354"/>
                  <a:gd name="connsiteY3" fmla="*/ 1859 h 18429"/>
                  <a:gd name="connsiteX4" fmla="*/ 16473 w 18354"/>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29">
                    <a:moveTo>
                      <a:pt x="16473" y="3653"/>
                    </a:moveTo>
                    <a:cubicBezTo>
                      <a:pt x="19524" y="7720"/>
                      <a:pt x="18806" y="13461"/>
                      <a:pt x="14739" y="16571"/>
                    </a:cubicBezTo>
                    <a:cubicBezTo>
                      <a:pt x="10732" y="19621"/>
                      <a:pt x="4990" y="18844"/>
                      <a:pt x="1880" y="14777"/>
                    </a:cubicBezTo>
                    <a:cubicBezTo>
                      <a:pt x="-1169" y="10710"/>
                      <a:pt x="-452" y="4969"/>
                      <a:pt x="3615" y="1859"/>
                    </a:cubicBezTo>
                    <a:cubicBezTo>
                      <a:pt x="7622" y="-1192"/>
                      <a:pt x="13423" y="-414"/>
                      <a:pt x="16473" y="3653"/>
                    </a:cubicBezTo>
                    <a:close/>
                  </a:path>
                </a:pathLst>
              </a:custGeom>
              <a:grpFill/>
              <a:ln w="5978" cap="flat">
                <a:noFill/>
                <a:prstDash val="solid"/>
                <a:miter/>
              </a:ln>
            </p:spPr>
            <p:txBody>
              <a:bodyPr rtlCol="0" anchor="ctr"/>
              <a:lstStyle/>
              <a:p>
                <a:endParaRPr lang="en-GB"/>
              </a:p>
            </p:txBody>
          </p:sp>
          <p:sp>
            <p:nvSpPr>
              <p:cNvPr id="3748" name="Vrije vorm: vorm 3747">
                <a:extLst>
                  <a:ext uri="{FF2B5EF4-FFF2-40B4-BE49-F238E27FC236}">
                    <a16:creationId xmlns:a16="http://schemas.microsoft.com/office/drawing/2014/main" id="{304AFE81-00B1-4291-AF0E-47CF44965D9E}"/>
                  </a:ext>
                </a:extLst>
              </p:cNvPr>
              <p:cNvSpPr/>
              <p:nvPr/>
            </p:nvSpPr>
            <p:spPr>
              <a:xfrm>
                <a:off x="7065995" y="4751719"/>
                <a:ext cx="18318" cy="18429"/>
              </a:xfrm>
              <a:custGeom>
                <a:avLst/>
                <a:gdLst>
                  <a:gd name="connsiteX0" fmla="*/ 16456 w 18318"/>
                  <a:gd name="connsiteY0" fmla="*/ 3653 h 18429"/>
                  <a:gd name="connsiteX1" fmla="*/ 3597 w 18318"/>
                  <a:gd name="connsiteY1" fmla="*/ 1859 h 18429"/>
                  <a:gd name="connsiteX2" fmla="*/ 1862 w 18318"/>
                  <a:gd name="connsiteY2" fmla="*/ 14777 h 18429"/>
                  <a:gd name="connsiteX3" fmla="*/ 14721 w 18318"/>
                  <a:gd name="connsiteY3" fmla="*/ 16571 h 18429"/>
                  <a:gd name="connsiteX4" fmla="*/ 16456 w 18318"/>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9">
                    <a:moveTo>
                      <a:pt x="16456" y="3653"/>
                    </a:moveTo>
                    <a:cubicBezTo>
                      <a:pt x="13405" y="-414"/>
                      <a:pt x="7604" y="-1192"/>
                      <a:pt x="3597" y="1859"/>
                    </a:cubicBezTo>
                    <a:cubicBezTo>
                      <a:pt x="-410" y="4909"/>
                      <a:pt x="-1187" y="10710"/>
                      <a:pt x="1862" y="14777"/>
                    </a:cubicBezTo>
                    <a:cubicBezTo>
                      <a:pt x="4913" y="18844"/>
                      <a:pt x="10714" y="19621"/>
                      <a:pt x="14721" y="16571"/>
                    </a:cubicBezTo>
                    <a:cubicBezTo>
                      <a:pt x="18728" y="13461"/>
                      <a:pt x="19506" y="7720"/>
                      <a:pt x="16456" y="3653"/>
                    </a:cubicBezTo>
                    <a:close/>
                  </a:path>
                </a:pathLst>
              </a:custGeom>
              <a:grpFill/>
              <a:ln w="5978" cap="flat">
                <a:noFill/>
                <a:prstDash val="solid"/>
                <a:miter/>
              </a:ln>
            </p:spPr>
            <p:txBody>
              <a:bodyPr rtlCol="0" anchor="ctr"/>
              <a:lstStyle/>
              <a:p>
                <a:endParaRPr lang="en-GB"/>
              </a:p>
            </p:txBody>
          </p:sp>
        </p:grpSp>
        <p:grpSp>
          <p:nvGrpSpPr>
            <p:cNvPr id="548" name="Graphic 3">
              <a:extLst>
                <a:ext uri="{FF2B5EF4-FFF2-40B4-BE49-F238E27FC236}">
                  <a16:creationId xmlns:a16="http://schemas.microsoft.com/office/drawing/2014/main" id="{4608D394-E6B3-41BD-A005-E603EF074A56}"/>
                </a:ext>
              </a:extLst>
            </p:cNvPr>
            <p:cNvGrpSpPr/>
            <p:nvPr/>
          </p:nvGrpSpPr>
          <p:grpSpPr>
            <a:xfrm>
              <a:off x="7101854" y="4853904"/>
              <a:ext cx="82319" cy="106038"/>
              <a:chOff x="7101854" y="4853904"/>
              <a:chExt cx="82319" cy="106038"/>
            </a:xfrm>
            <a:grpFill/>
          </p:grpSpPr>
          <p:sp>
            <p:nvSpPr>
              <p:cNvPr id="3743" name="Vrije vorm: vorm 3742">
                <a:extLst>
                  <a:ext uri="{FF2B5EF4-FFF2-40B4-BE49-F238E27FC236}">
                    <a16:creationId xmlns:a16="http://schemas.microsoft.com/office/drawing/2014/main" id="{928D52FB-8FF3-4B8D-A069-3956B2B0A7DA}"/>
                  </a:ext>
                </a:extLst>
              </p:cNvPr>
              <p:cNvSpPr/>
              <p:nvPr/>
            </p:nvSpPr>
            <p:spPr>
              <a:xfrm>
                <a:off x="7109543" y="4861888"/>
                <a:ext cx="66983" cy="90129"/>
              </a:xfrm>
              <a:custGeom>
                <a:avLst/>
                <a:gdLst>
                  <a:gd name="connsiteX0" fmla="*/ 66984 w 66983"/>
                  <a:gd name="connsiteY0" fmla="*/ 88335 h 90129"/>
                  <a:gd name="connsiteX1" fmla="*/ 64531 w 66983"/>
                  <a:gd name="connsiteY1" fmla="*/ 90129 h 90129"/>
                  <a:gd name="connsiteX2" fmla="*/ 0 w 66983"/>
                  <a:gd name="connsiteY2" fmla="*/ 1794 h 90129"/>
                  <a:gd name="connsiteX3" fmla="*/ 2452 w 66983"/>
                  <a:gd name="connsiteY3" fmla="*/ 0 h 90129"/>
                </a:gdLst>
                <a:ahLst/>
                <a:cxnLst>
                  <a:cxn ang="0">
                    <a:pos x="connsiteX0" y="connsiteY0"/>
                  </a:cxn>
                  <a:cxn ang="0">
                    <a:pos x="connsiteX1" y="connsiteY1"/>
                  </a:cxn>
                  <a:cxn ang="0">
                    <a:pos x="connsiteX2" y="connsiteY2"/>
                  </a:cxn>
                  <a:cxn ang="0">
                    <a:pos x="connsiteX3" y="connsiteY3"/>
                  </a:cxn>
                </a:cxnLst>
                <a:rect l="l" t="t" r="r" b="b"/>
                <a:pathLst>
                  <a:path w="66983" h="90129">
                    <a:moveTo>
                      <a:pt x="66984" y="88335"/>
                    </a:moveTo>
                    <a:lnTo>
                      <a:pt x="64531" y="90129"/>
                    </a:lnTo>
                    <a:lnTo>
                      <a:pt x="0" y="1794"/>
                    </a:lnTo>
                    <a:lnTo>
                      <a:pt x="2452" y="0"/>
                    </a:lnTo>
                    <a:close/>
                  </a:path>
                </a:pathLst>
              </a:custGeom>
              <a:grpFill/>
              <a:ln w="5978" cap="flat">
                <a:noFill/>
                <a:prstDash val="solid"/>
                <a:miter/>
              </a:ln>
            </p:spPr>
            <p:txBody>
              <a:bodyPr rtlCol="0" anchor="ctr"/>
              <a:lstStyle/>
              <a:p>
                <a:endParaRPr lang="en-GB"/>
              </a:p>
            </p:txBody>
          </p:sp>
          <p:sp>
            <p:nvSpPr>
              <p:cNvPr id="3744" name="Vrije vorm: vorm 3743">
                <a:extLst>
                  <a:ext uri="{FF2B5EF4-FFF2-40B4-BE49-F238E27FC236}">
                    <a16:creationId xmlns:a16="http://schemas.microsoft.com/office/drawing/2014/main" id="{C99650E7-C521-4CBE-89E9-14659563CB7E}"/>
                  </a:ext>
                </a:extLst>
              </p:cNvPr>
              <p:cNvSpPr/>
              <p:nvPr/>
            </p:nvSpPr>
            <p:spPr>
              <a:xfrm>
                <a:off x="7165830" y="4941564"/>
                <a:ext cx="18343" cy="18378"/>
              </a:xfrm>
              <a:custGeom>
                <a:avLst/>
                <a:gdLst>
                  <a:gd name="connsiteX0" fmla="*/ 16558 w 18343"/>
                  <a:gd name="connsiteY0" fmla="*/ 3755 h 18378"/>
                  <a:gd name="connsiteX1" fmla="*/ 14584 w 18343"/>
                  <a:gd name="connsiteY1" fmla="*/ 16614 h 18378"/>
                  <a:gd name="connsiteX2" fmla="*/ 1786 w 18343"/>
                  <a:gd name="connsiteY2" fmla="*/ 14580 h 18378"/>
                  <a:gd name="connsiteX3" fmla="*/ 3759 w 18343"/>
                  <a:gd name="connsiteY3" fmla="*/ 1722 h 18378"/>
                  <a:gd name="connsiteX4" fmla="*/ 16558 w 18343"/>
                  <a:gd name="connsiteY4" fmla="*/ 3755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8">
                    <a:moveTo>
                      <a:pt x="16558" y="3755"/>
                    </a:moveTo>
                    <a:cubicBezTo>
                      <a:pt x="19548" y="7882"/>
                      <a:pt x="18711" y="13623"/>
                      <a:pt x="14584" y="16614"/>
                    </a:cubicBezTo>
                    <a:cubicBezTo>
                      <a:pt x="10517" y="19604"/>
                      <a:pt x="4776" y="18707"/>
                      <a:pt x="1786" y="14580"/>
                    </a:cubicBezTo>
                    <a:cubicBezTo>
                      <a:pt x="-1205" y="10453"/>
                      <a:pt x="-367" y="4712"/>
                      <a:pt x="3759" y="1722"/>
                    </a:cubicBezTo>
                    <a:cubicBezTo>
                      <a:pt x="7826" y="-1209"/>
                      <a:pt x="13567" y="-312"/>
                      <a:pt x="16558" y="3755"/>
                    </a:cubicBezTo>
                    <a:close/>
                  </a:path>
                </a:pathLst>
              </a:custGeom>
              <a:grpFill/>
              <a:ln w="5978" cap="flat">
                <a:noFill/>
                <a:prstDash val="solid"/>
                <a:miter/>
              </a:ln>
            </p:spPr>
            <p:txBody>
              <a:bodyPr rtlCol="0" anchor="ctr"/>
              <a:lstStyle/>
              <a:p>
                <a:endParaRPr lang="en-GB"/>
              </a:p>
            </p:txBody>
          </p:sp>
          <p:sp>
            <p:nvSpPr>
              <p:cNvPr id="3745" name="Vrije vorm: vorm 3744">
                <a:extLst>
                  <a:ext uri="{FF2B5EF4-FFF2-40B4-BE49-F238E27FC236}">
                    <a16:creationId xmlns:a16="http://schemas.microsoft.com/office/drawing/2014/main" id="{34B99986-8959-4213-8C15-3A425EBD47C4}"/>
                  </a:ext>
                </a:extLst>
              </p:cNvPr>
              <p:cNvSpPr/>
              <p:nvPr/>
            </p:nvSpPr>
            <p:spPr>
              <a:xfrm>
                <a:off x="7101854" y="4853904"/>
                <a:ext cx="18352" cy="18421"/>
              </a:xfrm>
              <a:custGeom>
                <a:avLst/>
                <a:gdLst>
                  <a:gd name="connsiteX0" fmla="*/ 16541 w 18352"/>
                  <a:gd name="connsiteY0" fmla="*/ 3798 h 18421"/>
                  <a:gd name="connsiteX1" fmla="*/ 3742 w 18352"/>
                  <a:gd name="connsiteY1" fmla="*/ 1765 h 18421"/>
                  <a:gd name="connsiteX2" fmla="*/ 1769 w 18352"/>
                  <a:gd name="connsiteY2" fmla="*/ 14623 h 18421"/>
                  <a:gd name="connsiteX3" fmla="*/ 14567 w 18352"/>
                  <a:gd name="connsiteY3" fmla="*/ 16656 h 18421"/>
                  <a:gd name="connsiteX4" fmla="*/ 16541 w 18352"/>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21">
                    <a:moveTo>
                      <a:pt x="16541" y="3798"/>
                    </a:moveTo>
                    <a:cubicBezTo>
                      <a:pt x="13550" y="-329"/>
                      <a:pt x="7809" y="-1226"/>
                      <a:pt x="3742" y="1765"/>
                    </a:cubicBezTo>
                    <a:cubicBezTo>
                      <a:pt x="-325" y="4755"/>
                      <a:pt x="-1222" y="10556"/>
                      <a:pt x="1769" y="14623"/>
                    </a:cubicBezTo>
                    <a:cubicBezTo>
                      <a:pt x="4759" y="18750"/>
                      <a:pt x="10500" y="19647"/>
                      <a:pt x="14567" y="16656"/>
                    </a:cubicBezTo>
                    <a:cubicBezTo>
                      <a:pt x="18694" y="13666"/>
                      <a:pt x="19591" y="7925"/>
                      <a:pt x="16541" y="3798"/>
                    </a:cubicBezTo>
                    <a:close/>
                  </a:path>
                </a:pathLst>
              </a:custGeom>
              <a:grpFill/>
              <a:ln w="5978" cap="flat">
                <a:noFill/>
                <a:prstDash val="solid"/>
                <a:miter/>
              </a:ln>
            </p:spPr>
            <p:txBody>
              <a:bodyPr rtlCol="0" anchor="ctr"/>
              <a:lstStyle/>
              <a:p>
                <a:endParaRPr lang="en-GB"/>
              </a:p>
            </p:txBody>
          </p:sp>
        </p:grpSp>
        <p:grpSp>
          <p:nvGrpSpPr>
            <p:cNvPr id="549" name="Graphic 3">
              <a:extLst>
                <a:ext uri="{FF2B5EF4-FFF2-40B4-BE49-F238E27FC236}">
                  <a16:creationId xmlns:a16="http://schemas.microsoft.com/office/drawing/2014/main" id="{83C53D6E-153D-4A66-9D15-D9129EF024FD}"/>
                </a:ext>
              </a:extLst>
            </p:cNvPr>
            <p:cNvGrpSpPr/>
            <p:nvPr/>
          </p:nvGrpSpPr>
          <p:grpSpPr>
            <a:xfrm>
              <a:off x="7044136" y="4776163"/>
              <a:ext cx="261220" cy="416580"/>
              <a:chOff x="7044136" y="4776163"/>
              <a:chExt cx="261220" cy="416580"/>
            </a:xfrm>
            <a:grpFill/>
          </p:grpSpPr>
          <p:sp>
            <p:nvSpPr>
              <p:cNvPr id="3740" name="Vrije vorm: vorm 3739">
                <a:extLst>
                  <a:ext uri="{FF2B5EF4-FFF2-40B4-BE49-F238E27FC236}">
                    <a16:creationId xmlns:a16="http://schemas.microsoft.com/office/drawing/2014/main" id="{808A5D4B-1E06-4069-9AAB-D57C7B78EFF8}"/>
                  </a:ext>
                </a:extLst>
              </p:cNvPr>
              <p:cNvSpPr/>
              <p:nvPr/>
            </p:nvSpPr>
            <p:spPr>
              <a:xfrm>
                <a:off x="7051769" y="4784198"/>
                <a:ext cx="245927" cy="400529"/>
              </a:xfrm>
              <a:custGeom>
                <a:avLst/>
                <a:gdLst>
                  <a:gd name="connsiteX0" fmla="*/ 245927 w 245927"/>
                  <a:gd name="connsiteY0" fmla="*/ 398914 h 400529"/>
                  <a:gd name="connsiteX1" fmla="*/ 243355 w 245927"/>
                  <a:gd name="connsiteY1" fmla="*/ 400529 h 400529"/>
                  <a:gd name="connsiteX2" fmla="*/ 0 w 245927"/>
                  <a:gd name="connsiteY2" fmla="*/ 1615 h 400529"/>
                  <a:gd name="connsiteX3" fmla="*/ 2631 w 245927"/>
                  <a:gd name="connsiteY3" fmla="*/ 0 h 400529"/>
                </a:gdLst>
                <a:ahLst/>
                <a:cxnLst>
                  <a:cxn ang="0">
                    <a:pos x="connsiteX0" y="connsiteY0"/>
                  </a:cxn>
                  <a:cxn ang="0">
                    <a:pos x="connsiteX1" y="connsiteY1"/>
                  </a:cxn>
                  <a:cxn ang="0">
                    <a:pos x="connsiteX2" y="connsiteY2"/>
                  </a:cxn>
                  <a:cxn ang="0">
                    <a:pos x="connsiteX3" y="connsiteY3"/>
                  </a:cxn>
                </a:cxnLst>
                <a:rect l="l" t="t" r="r" b="b"/>
                <a:pathLst>
                  <a:path w="245927" h="400529">
                    <a:moveTo>
                      <a:pt x="245927" y="398914"/>
                    </a:moveTo>
                    <a:lnTo>
                      <a:pt x="243355" y="400529"/>
                    </a:lnTo>
                    <a:lnTo>
                      <a:pt x="0" y="1615"/>
                    </a:lnTo>
                    <a:lnTo>
                      <a:pt x="2631" y="0"/>
                    </a:lnTo>
                    <a:close/>
                  </a:path>
                </a:pathLst>
              </a:custGeom>
              <a:grpFill/>
              <a:ln w="5978" cap="flat">
                <a:noFill/>
                <a:prstDash val="solid"/>
                <a:miter/>
              </a:ln>
            </p:spPr>
            <p:txBody>
              <a:bodyPr rtlCol="0" anchor="ctr"/>
              <a:lstStyle/>
              <a:p>
                <a:endParaRPr lang="en-GB"/>
              </a:p>
            </p:txBody>
          </p:sp>
          <p:sp>
            <p:nvSpPr>
              <p:cNvPr id="3741" name="Vrije vorm: vorm 3740">
                <a:extLst>
                  <a:ext uri="{FF2B5EF4-FFF2-40B4-BE49-F238E27FC236}">
                    <a16:creationId xmlns:a16="http://schemas.microsoft.com/office/drawing/2014/main" id="{B8828A92-3787-405C-A438-C2722DAD23FD}"/>
                  </a:ext>
                </a:extLst>
              </p:cNvPr>
              <p:cNvSpPr/>
              <p:nvPr/>
            </p:nvSpPr>
            <p:spPr>
              <a:xfrm>
                <a:off x="7044136" y="4776163"/>
                <a:ext cx="18343" cy="18443"/>
              </a:xfrm>
              <a:custGeom>
                <a:avLst/>
                <a:gdLst>
                  <a:gd name="connsiteX0" fmla="*/ 1353 w 18343"/>
                  <a:gd name="connsiteY0" fmla="*/ 14016 h 18443"/>
                  <a:gd name="connsiteX1" fmla="*/ 4344 w 18343"/>
                  <a:gd name="connsiteY1" fmla="*/ 1337 h 18443"/>
                  <a:gd name="connsiteX2" fmla="*/ 16963 w 18343"/>
                  <a:gd name="connsiteY2" fmla="*/ 4387 h 18443"/>
                  <a:gd name="connsiteX3" fmla="*/ 13973 w 18343"/>
                  <a:gd name="connsiteY3" fmla="*/ 17066 h 18443"/>
                  <a:gd name="connsiteX4" fmla="*/ 1353 w 18343"/>
                  <a:gd name="connsiteY4" fmla="*/ 14016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3">
                    <a:moveTo>
                      <a:pt x="1353" y="14016"/>
                    </a:moveTo>
                    <a:cubicBezTo>
                      <a:pt x="-1278" y="9650"/>
                      <a:pt x="38" y="4028"/>
                      <a:pt x="4344" y="1337"/>
                    </a:cubicBezTo>
                    <a:cubicBezTo>
                      <a:pt x="8650" y="-1295"/>
                      <a:pt x="14272" y="81"/>
                      <a:pt x="16963" y="4387"/>
                    </a:cubicBezTo>
                    <a:cubicBezTo>
                      <a:pt x="19655" y="8693"/>
                      <a:pt x="18279" y="14375"/>
                      <a:pt x="13973" y="17066"/>
                    </a:cubicBezTo>
                    <a:cubicBezTo>
                      <a:pt x="9667" y="19758"/>
                      <a:pt x="4045" y="18382"/>
                      <a:pt x="1353" y="14016"/>
                    </a:cubicBezTo>
                    <a:close/>
                  </a:path>
                </a:pathLst>
              </a:custGeom>
              <a:grpFill/>
              <a:ln w="5978" cap="flat">
                <a:noFill/>
                <a:prstDash val="solid"/>
                <a:miter/>
              </a:ln>
            </p:spPr>
            <p:txBody>
              <a:bodyPr rtlCol="0" anchor="ctr"/>
              <a:lstStyle/>
              <a:p>
                <a:endParaRPr lang="en-GB"/>
              </a:p>
            </p:txBody>
          </p:sp>
          <p:sp>
            <p:nvSpPr>
              <p:cNvPr id="3742" name="Vrije vorm: vorm 3741">
                <a:extLst>
                  <a:ext uri="{FF2B5EF4-FFF2-40B4-BE49-F238E27FC236}">
                    <a16:creationId xmlns:a16="http://schemas.microsoft.com/office/drawing/2014/main" id="{8DE50A5D-7220-4725-B627-3CF0822D322F}"/>
                  </a:ext>
                </a:extLst>
              </p:cNvPr>
              <p:cNvSpPr/>
              <p:nvPr/>
            </p:nvSpPr>
            <p:spPr>
              <a:xfrm>
                <a:off x="7287013" y="5174259"/>
                <a:ext cx="18343" cy="18484"/>
              </a:xfrm>
              <a:custGeom>
                <a:avLst/>
                <a:gdLst>
                  <a:gd name="connsiteX0" fmla="*/ 1353 w 18343"/>
                  <a:gd name="connsiteY0" fmla="*/ 14057 h 18484"/>
                  <a:gd name="connsiteX1" fmla="*/ 13973 w 18343"/>
                  <a:gd name="connsiteY1" fmla="*/ 17107 h 18484"/>
                  <a:gd name="connsiteX2" fmla="*/ 16964 w 18343"/>
                  <a:gd name="connsiteY2" fmla="*/ 4428 h 18484"/>
                  <a:gd name="connsiteX3" fmla="*/ 4344 w 18343"/>
                  <a:gd name="connsiteY3" fmla="*/ 1378 h 18484"/>
                  <a:gd name="connsiteX4" fmla="*/ 1353 w 18343"/>
                  <a:gd name="connsiteY4" fmla="*/ 14057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1353" y="14057"/>
                    </a:moveTo>
                    <a:cubicBezTo>
                      <a:pt x="3985" y="18423"/>
                      <a:pt x="9667" y="19798"/>
                      <a:pt x="13973" y="17107"/>
                    </a:cubicBezTo>
                    <a:cubicBezTo>
                      <a:pt x="18279" y="14475"/>
                      <a:pt x="19655" y="8794"/>
                      <a:pt x="16964" y="4428"/>
                    </a:cubicBezTo>
                    <a:cubicBezTo>
                      <a:pt x="14332" y="62"/>
                      <a:pt x="8650" y="-1314"/>
                      <a:pt x="4344" y="1378"/>
                    </a:cubicBezTo>
                    <a:cubicBezTo>
                      <a:pt x="38" y="4069"/>
                      <a:pt x="-1278" y="9751"/>
                      <a:pt x="1353" y="14057"/>
                    </a:cubicBezTo>
                    <a:close/>
                  </a:path>
                </a:pathLst>
              </a:custGeom>
              <a:grpFill/>
              <a:ln w="5978" cap="flat">
                <a:noFill/>
                <a:prstDash val="solid"/>
                <a:miter/>
              </a:ln>
            </p:spPr>
            <p:txBody>
              <a:bodyPr rtlCol="0" anchor="ctr"/>
              <a:lstStyle/>
              <a:p>
                <a:endParaRPr lang="en-GB"/>
              </a:p>
            </p:txBody>
          </p:sp>
        </p:grpSp>
        <p:grpSp>
          <p:nvGrpSpPr>
            <p:cNvPr id="550" name="Graphic 3">
              <a:extLst>
                <a:ext uri="{FF2B5EF4-FFF2-40B4-BE49-F238E27FC236}">
                  <a16:creationId xmlns:a16="http://schemas.microsoft.com/office/drawing/2014/main" id="{0B6FE75E-94F2-4D23-8305-106CADA73694}"/>
                </a:ext>
              </a:extLst>
            </p:cNvPr>
            <p:cNvGrpSpPr/>
            <p:nvPr/>
          </p:nvGrpSpPr>
          <p:grpSpPr>
            <a:xfrm>
              <a:off x="7111181" y="4925011"/>
              <a:ext cx="193651" cy="268088"/>
              <a:chOff x="7111181" y="4925011"/>
              <a:chExt cx="193651" cy="268088"/>
            </a:xfrm>
            <a:grpFill/>
          </p:grpSpPr>
          <p:sp>
            <p:nvSpPr>
              <p:cNvPr id="3737" name="Vrije vorm: vorm 3736">
                <a:extLst>
                  <a:ext uri="{FF2B5EF4-FFF2-40B4-BE49-F238E27FC236}">
                    <a16:creationId xmlns:a16="http://schemas.microsoft.com/office/drawing/2014/main" id="{3EEEDE60-19C4-4735-BE11-59550274C457}"/>
                  </a:ext>
                </a:extLst>
              </p:cNvPr>
              <p:cNvSpPr/>
              <p:nvPr/>
            </p:nvSpPr>
            <p:spPr>
              <a:xfrm>
                <a:off x="7118873" y="4932939"/>
                <a:ext cx="178285" cy="252207"/>
              </a:xfrm>
              <a:custGeom>
                <a:avLst/>
                <a:gdLst>
                  <a:gd name="connsiteX0" fmla="*/ 178286 w 178285"/>
                  <a:gd name="connsiteY0" fmla="*/ 250413 h 252207"/>
                  <a:gd name="connsiteX1" fmla="*/ 175833 w 178285"/>
                  <a:gd name="connsiteY1" fmla="*/ 252207 h 252207"/>
                  <a:gd name="connsiteX2" fmla="*/ 0 w 178285"/>
                  <a:gd name="connsiteY2" fmla="*/ 1795 h 252207"/>
                  <a:gd name="connsiteX3" fmla="*/ 2512 w 178285"/>
                  <a:gd name="connsiteY3" fmla="*/ 0 h 252207"/>
                </a:gdLst>
                <a:ahLst/>
                <a:cxnLst>
                  <a:cxn ang="0">
                    <a:pos x="connsiteX0" y="connsiteY0"/>
                  </a:cxn>
                  <a:cxn ang="0">
                    <a:pos x="connsiteX1" y="connsiteY1"/>
                  </a:cxn>
                  <a:cxn ang="0">
                    <a:pos x="connsiteX2" y="connsiteY2"/>
                  </a:cxn>
                  <a:cxn ang="0">
                    <a:pos x="connsiteX3" y="connsiteY3"/>
                  </a:cxn>
                </a:cxnLst>
                <a:rect l="l" t="t" r="r" b="b"/>
                <a:pathLst>
                  <a:path w="178285" h="252207">
                    <a:moveTo>
                      <a:pt x="178286" y="250413"/>
                    </a:moveTo>
                    <a:lnTo>
                      <a:pt x="175833" y="252207"/>
                    </a:lnTo>
                    <a:lnTo>
                      <a:pt x="0" y="1795"/>
                    </a:lnTo>
                    <a:lnTo>
                      <a:pt x="2512" y="0"/>
                    </a:lnTo>
                    <a:close/>
                  </a:path>
                </a:pathLst>
              </a:custGeom>
              <a:grpFill/>
              <a:ln w="5978" cap="flat">
                <a:noFill/>
                <a:prstDash val="solid"/>
                <a:miter/>
              </a:ln>
            </p:spPr>
            <p:txBody>
              <a:bodyPr rtlCol="0" anchor="ctr"/>
              <a:lstStyle/>
              <a:p>
                <a:endParaRPr lang="en-GB"/>
              </a:p>
            </p:txBody>
          </p:sp>
          <p:sp>
            <p:nvSpPr>
              <p:cNvPr id="3738" name="Vrije vorm: vorm 3737">
                <a:extLst>
                  <a:ext uri="{FF2B5EF4-FFF2-40B4-BE49-F238E27FC236}">
                    <a16:creationId xmlns:a16="http://schemas.microsoft.com/office/drawing/2014/main" id="{AD8B43F7-F6D3-4331-810E-1D6D1F6CA6E4}"/>
                  </a:ext>
                </a:extLst>
              </p:cNvPr>
              <p:cNvSpPr/>
              <p:nvPr/>
            </p:nvSpPr>
            <p:spPr>
              <a:xfrm>
                <a:off x="7286433" y="5174663"/>
                <a:ext cx="18399" cy="18436"/>
              </a:xfrm>
              <a:custGeom>
                <a:avLst/>
                <a:gdLst>
                  <a:gd name="connsiteX0" fmla="*/ 16706 w 18399"/>
                  <a:gd name="connsiteY0" fmla="*/ 3904 h 18436"/>
                  <a:gd name="connsiteX1" fmla="*/ 14493 w 18399"/>
                  <a:gd name="connsiteY1" fmla="*/ 16763 h 18436"/>
                  <a:gd name="connsiteX2" fmla="*/ 1694 w 18399"/>
                  <a:gd name="connsiteY2" fmla="*/ 14490 h 18436"/>
                  <a:gd name="connsiteX3" fmla="*/ 3907 w 18399"/>
                  <a:gd name="connsiteY3" fmla="*/ 1631 h 18436"/>
                  <a:gd name="connsiteX4" fmla="*/ 16706 w 18399"/>
                  <a:gd name="connsiteY4" fmla="*/ 390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36">
                    <a:moveTo>
                      <a:pt x="16706" y="3904"/>
                    </a:moveTo>
                    <a:cubicBezTo>
                      <a:pt x="19636" y="8091"/>
                      <a:pt x="18679" y="13832"/>
                      <a:pt x="14493" y="16763"/>
                    </a:cubicBezTo>
                    <a:cubicBezTo>
                      <a:pt x="10366" y="19693"/>
                      <a:pt x="4625" y="18677"/>
                      <a:pt x="1694" y="14490"/>
                    </a:cubicBezTo>
                    <a:cubicBezTo>
                      <a:pt x="-1236" y="10303"/>
                      <a:pt x="-280" y="4562"/>
                      <a:pt x="3907" y="1631"/>
                    </a:cubicBezTo>
                    <a:cubicBezTo>
                      <a:pt x="8093" y="-1239"/>
                      <a:pt x="13775" y="-223"/>
                      <a:pt x="16706" y="3904"/>
                    </a:cubicBezTo>
                    <a:close/>
                  </a:path>
                </a:pathLst>
              </a:custGeom>
              <a:grpFill/>
              <a:ln w="5978" cap="flat">
                <a:noFill/>
                <a:prstDash val="solid"/>
                <a:miter/>
              </a:ln>
            </p:spPr>
            <p:txBody>
              <a:bodyPr rtlCol="0" anchor="ctr"/>
              <a:lstStyle/>
              <a:p>
                <a:endParaRPr lang="en-GB"/>
              </a:p>
            </p:txBody>
          </p:sp>
          <p:sp>
            <p:nvSpPr>
              <p:cNvPr id="3739" name="Vrije vorm: vorm 3738">
                <a:extLst>
                  <a:ext uri="{FF2B5EF4-FFF2-40B4-BE49-F238E27FC236}">
                    <a16:creationId xmlns:a16="http://schemas.microsoft.com/office/drawing/2014/main" id="{98F360B0-3987-4BD5-A3CC-FDFEA98D3A9A}"/>
                  </a:ext>
                </a:extLst>
              </p:cNvPr>
              <p:cNvSpPr/>
              <p:nvPr/>
            </p:nvSpPr>
            <p:spPr>
              <a:xfrm>
                <a:off x="7111181" y="4925011"/>
                <a:ext cx="18356" cy="18426"/>
              </a:xfrm>
              <a:custGeom>
                <a:avLst/>
                <a:gdLst>
                  <a:gd name="connsiteX0" fmla="*/ 16663 w 18356"/>
                  <a:gd name="connsiteY0" fmla="*/ 3920 h 18426"/>
                  <a:gd name="connsiteX1" fmla="*/ 3864 w 18356"/>
                  <a:gd name="connsiteY1" fmla="*/ 1648 h 18426"/>
                  <a:gd name="connsiteX2" fmla="*/ 1651 w 18356"/>
                  <a:gd name="connsiteY2" fmla="*/ 14506 h 18426"/>
                  <a:gd name="connsiteX3" fmla="*/ 14450 w 18356"/>
                  <a:gd name="connsiteY3" fmla="*/ 16779 h 18426"/>
                  <a:gd name="connsiteX4" fmla="*/ 16663 w 18356"/>
                  <a:gd name="connsiteY4" fmla="*/ 392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6">
                    <a:moveTo>
                      <a:pt x="16663" y="3920"/>
                    </a:moveTo>
                    <a:cubicBezTo>
                      <a:pt x="13732" y="-266"/>
                      <a:pt x="7991" y="-1223"/>
                      <a:pt x="3864" y="1648"/>
                    </a:cubicBezTo>
                    <a:cubicBezTo>
                      <a:pt x="-262" y="4578"/>
                      <a:pt x="-1219" y="10320"/>
                      <a:pt x="1651" y="14506"/>
                    </a:cubicBezTo>
                    <a:cubicBezTo>
                      <a:pt x="4582" y="18693"/>
                      <a:pt x="10324" y="19650"/>
                      <a:pt x="14450" y="16779"/>
                    </a:cubicBezTo>
                    <a:cubicBezTo>
                      <a:pt x="18637" y="13849"/>
                      <a:pt x="19593" y="8107"/>
                      <a:pt x="16663" y="3920"/>
                    </a:cubicBezTo>
                    <a:close/>
                  </a:path>
                </a:pathLst>
              </a:custGeom>
              <a:grpFill/>
              <a:ln w="5978" cap="flat">
                <a:noFill/>
                <a:prstDash val="solid"/>
                <a:miter/>
              </a:ln>
            </p:spPr>
            <p:txBody>
              <a:bodyPr rtlCol="0" anchor="ctr"/>
              <a:lstStyle/>
              <a:p>
                <a:endParaRPr lang="en-GB"/>
              </a:p>
            </p:txBody>
          </p:sp>
        </p:grpSp>
        <p:grpSp>
          <p:nvGrpSpPr>
            <p:cNvPr id="551" name="Graphic 3">
              <a:extLst>
                <a:ext uri="{FF2B5EF4-FFF2-40B4-BE49-F238E27FC236}">
                  <a16:creationId xmlns:a16="http://schemas.microsoft.com/office/drawing/2014/main" id="{89D5160C-F345-4AEF-98E3-B37930C30DB5}"/>
                </a:ext>
              </a:extLst>
            </p:cNvPr>
            <p:cNvGrpSpPr/>
            <p:nvPr/>
          </p:nvGrpSpPr>
          <p:grpSpPr>
            <a:xfrm>
              <a:off x="7111269" y="4986521"/>
              <a:ext cx="172287" cy="246561"/>
              <a:chOff x="7111269" y="4986521"/>
              <a:chExt cx="172287" cy="246561"/>
            </a:xfrm>
            <a:grpFill/>
          </p:grpSpPr>
          <p:sp>
            <p:nvSpPr>
              <p:cNvPr id="3734" name="Vrije vorm: vorm 3733">
                <a:extLst>
                  <a:ext uri="{FF2B5EF4-FFF2-40B4-BE49-F238E27FC236}">
                    <a16:creationId xmlns:a16="http://schemas.microsoft.com/office/drawing/2014/main" id="{28DB708B-4E25-49F4-A6C5-11A51526415D}"/>
                  </a:ext>
                </a:extLst>
              </p:cNvPr>
              <p:cNvSpPr/>
              <p:nvPr/>
            </p:nvSpPr>
            <p:spPr>
              <a:xfrm>
                <a:off x="7118933" y="4994481"/>
                <a:ext cx="156993" cy="230616"/>
              </a:xfrm>
              <a:custGeom>
                <a:avLst/>
                <a:gdLst>
                  <a:gd name="connsiteX0" fmla="*/ 156994 w 156993"/>
                  <a:gd name="connsiteY0" fmla="*/ 228882 h 230616"/>
                  <a:gd name="connsiteX1" fmla="*/ 154423 w 156993"/>
                  <a:gd name="connsiteY1" fmla="*/ 230617 h 230616"/>
                  <a:gd name="connsiteX2" fmla="*/ 0 w 156993"/>
                  <a:gd name="connsiteY2" fmla="*/ 1734 h 230616"/>
                  <a:gd name="connsiteX3" fmla="*/ 2512 w 156993"/>
                  <a:gd name="connsiteY3" fmla="*/ 0 h 230616"/>
                </a:gdLst>
                <a:ahLst/>
                <a:cxnLst>
                  <a:cxn ang="0">
                    <a:pos x="connsiteX0" y="connsiteY0"/>
                  </a:cxn>
                  <a:cxn ang="0">
                    <a:pos x="connsiteX1" y="connsiteY1"/>
                  </a:cxn>
                  <a:cxn ang="0">
                    <a:pos x="connsiteX2" y="connsiteY2"/>
                  </a:cxn>
                  <a:cxn ang="0">
                    <a:pos x="connsiteX3" y="connsiteY3"/>
                  </a:cxn>
                </a:cxnLst>
                <a:rect l="l" t="t" r="r" b="b"/>
                <a:pathLst>
                  <a:path w="156993" h="230616">
                    <a:moveTo>
                      <a:pt x="156994" y="228882"/>
                    </a:moveTo>
                    <a:lnTo>
                      <a:pt x="154423" y="230617"/>
                    </a:lnTo>
                    <a:lnTo>
                      <a:pt x="0" y="1734"/>
                    </a:lnTo>
                    <a:lnTo>
                      <a:pt x="2512" y="0"/>
                    </a:lnTo>
                    <a:close/>
                  </a:path>
                </a:pathLst>
              </a:custGeom>
              <a:grpFill/>
              <a:ln w="5978" cap="flat">
                <a:noFill/>
                <a:prstDash val="solid"/>
                <a:miter/>
              </a:ln>
            </p:spPr>
            <p:txBody>
              <a:bodyPr rtlCol="0" anchor="ctr"/>
              <a:lstStyle/>
              <a:p>
                <a:endParaRPr lang="en-GB"/>
              </a:p>
            </p:txBody>
          </p:sp>
          <p:sp>
            <p:nvSpPr>
              <p:cNvPr id="3735" name="Vrije vorm: vorm 3734">
                <a:extLst>
                  <a:ext uri="{FF2B5EF4-FFF2-40B4-BE49-F238E27FC236}">
                    <a16:creationId xmlns:a16="http://schemas.microsoft.com/office/drawing/2014/main" id="{5BA4FBBA-D03D-49FF-802C-D2D9154A0EFF}"/>
                  </a:ext>
                </a:extLst>
              </p:cNvPr>
              <p:cNvSpPr/>
              <p:nvPr/>
            </p:nvSpPr>
            <p:spPr>
              <a:xfrm>
                <a:off x="7265187" y="5214642"/>
                <a:ext cx="18370" cy="18441"/>
              </a:xfrm>
              <a:custGeom>
                <a:avLst/>
                <a:gdLst>
                  <a:gd name="connsiteX0" fmla="*/ 16781 w 18370"/>
                  <a:gd name="connsiteY0" fmla="*/ 4056 h 18441"/>
                  <a:gd name="connsiteX1" fmla="*/ 14328 w 18370"/>
                  <a:gd name="connsiteY1" fmla="*/ 16855 h 18441"/>
                  <a:gd name="connsiteX2" fmla="*/ 1589 w 18370"/>
                  <a:gd name="connsiteY2" fmla="*/ 14343 h 18441"/>
                  <a:gd name="connsiteX3" fmla="*/ 4042 w 18370"/>
                  <a:gd name="connsiteY3" fmla="*/ 1545 h 18441"/>
                  <a:gd name="connsiteX4" fmla="*/ 16781 w 18370"/>
                  <a:gd name="connsiteY4" fmla="*/ 405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41">
                    <a:moveTo>
                      <a:pt x="16781" y="4056"/>
                    </a:moveTo>
                    <a:cubicBezTo>
                      <a:pt x="19651" y="8303"/>
                      <a:pt x="18515" y="13984"/>
                      <a:pt x="14328" y="16855"/>
                    </a:cubicBezTo>
                    <a:cubicBezTo>
                      <a:pt x="10142" y="19726"/>
                      <a:pt x="4461" y="18590"/>
                      <a:pt x="1589" y="14343"/>
                    </a:cubicBezTo>
                    <a:cubicBezTo>
                      <a:pt x="-1281" y="10097"/>
                      <a:pt x="-145" y="4415"/>
                      <a:pt x="4042" y="1545"/>
                    </a:cubicBezTo>
                    <a:cubicBezTo>
                      <a:pt x="8228" y="-1267"/>
                      <a:pt x="13910" y="-130"/>
                      <a:pt x="16781" y="4056"/>
                    </a:cubicBezTo>
                    <a:close/>
                  </a:path>
                </a:pathLst>
              </a:custGeom>
              <a:grpFill/>
              <a:ln w="5978" cap="flat">
                <a:noFill/>
                <a:prstDash val="solid"/>
                <a:miter/>
              </a:ln>
            </p:spPr>
            <p:txBody>
              <a:bodyPr rtlCol="0" anchor="ctr"/>
              <a:lstStyle/>
              <a:p>
                <a:endParaRPr lang="en-GB"/>
              </a:p>
            </p:txBody>
          </p:sp>
          <p:sp>
            <p:nvSpPr>
              <p:cNvPr id="3736" name="Vrije vorm: vorm 3735">
                <a:extLst>
                  <a:ext uri="{FF2B5EF4-FFF2-40B4-BE49-F238E27FC236}">
                    <a16:creationId xmlns:a16="http://schemas.microsoft.com/office/drawing/2014/main" id="{87EFE632-16AE-41A9-89E2-BA5480A51238}"/>
                  </a:ext>
                </a:extLst>
              </p:cNvPr>
              <p:cNvSpPr/>
              <p:nvPr/>
            </p:nvSpPr>
            <p:spPr>
              <a:xfrm>
                <a:off x="7111269" y="4986521"/>
                <a:ext cx="18317" cy="18430"/>
              </a:xfrm>
              <a:custGeom>
                <a:avLst/>
                <a:gdLst>
                  <a:gd name="connsiteX0" fmla="*/ 16754 w 18317"/>
                  <a:gd name="connsiteY0" fmla="*/ 4072 h 18430"/>
                  <a:gd name="connsiteX1" fmla="*/ 4015 w 18317"/>
                  <a:gd name="connsiteY1" fmla="*/ 1560 h 18430"/>
                  <a:gd name="connsiteX2" fmla="*/ 1563 w 18317"/>
                  <a:gd name="connsiteY2" fmla="*/ 14359 h 18430"/>
                  <a:gd name="connsiteX3" fmla="*/ 14302 w 18317"/>
                  <a:gd name="connsiteY3" fmla="*/ 16871 h 18430"/>
                  <a:gd name="connsiteX4" fmla="*/ 16754 w 18317"/>
                  <a:gd name="connsiteY4" fmla="*/ 407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30">
                    <a:moveTo>
                      <a:pt x="16754" y="4072"/>
                    </a:moveTo>
                    <a:cubicBezTo>
                      <a:pt x="13884" y="-174"/>
                      <a:pt x="8202" y="-1251"/>
                      <a:pt x="4015" y="1560"/>
                    </a:cubicBezTo>
                    <a:cubicBezTo>
                      <a:pt x="-171" y="4431"/>
                      <a:pt x="-1248" y="10113"/>
                      <a:pt x="1563" y="14359"/>
                    </a:cubicBezTo>
                    <a:cubicBezTo>
                      <a:pt x="4434" y="18605"/>
                      <a:pt x="10116" y="19682"/>
                      <a:pt x="14302" y="16871"/>
                    </a:cubicBezTo>
                    <a:cubicBezTo>
                      <a:pt x="18489" y="14000"/>
                      <a:pt x="19565" y="8259"/>
                      <a:pt x="16754" y="4072"/>
                    </a:cubicBezTo>
                    <a:close/>
                  </a:path>
                </a:pathLst>
              </a:custGeom>
              <a:grpFill/>
              <a:ln w="5978" cap="flat">
                <a:noFill/>
                <a:prstDash val="solid"/>
                <a:miter/>
              </a:ln>
            </p:spPr>
            <p:txBody>
              <a:bodyPr rtlCol="0" anchor="ctr"/>
              <a:lstStyle/>
              <a:p>
                <a:endParaRPr lang="en-GB"/>
              </a:p>
            </p:txBody>
          </p:sp>
        </p:grpSp>
        <p:grpSp>
          <p:nvGrpSpPr>
            <p:cNvPr id="552" name="Graphic 3">
              <a:extLst>
                <a:ext uri="{FF2B5EF4-FFF2-40B4-BE49-F238E27FC236}">
                  <a16:creationId xmlns:a16="http://schemas.microsoft.com/office/drawing/2014/main" id="{132E2F7D-9D16-4E0C-A6CB-AFB40AE399B7}"/>
                </a:ext>
              </a:extLst>
            </p:cNvPr>
            <p:cNvGrpSpPr/>
            <p:nvPr/>
          </p:nvGrpSpPr>
          <p:grpSpPr>
            <a:xfrm>
              <a:off x="5967458" y="1259754"/>
              <a:ext cx="34998" cy="483313"/>
              <a:chOff x="5967458" y="1259754"/>
              <a:chExt cx="34998" cy="483313"/>
            </a:xfrm>
            <a:grpFill/>
          </p:grpSpPr>
          <p:sp>
            <p:nvSpPr>
              <p:cNvPr id="3731" name="Vrije vorm: vorm 3730">
                <a:extLst>
                  <a:ext uri="{FF2B5EF4-FFF2-40B4-BE49-F238E27FC236}">
                    <a16:creationId xmlns:a16="http://schemas.microsoft.com/office/drawing/2014/main" id="{FA370265-22EB-4911-800A-3D6E28C91DB6}"/>
                  </a:ext>
                </a:extLst>
              </p:cNvPr>
              <p:cNvSpPr/>
              <p:nvPr/>
            </p:nvSpPr>
            <p:spPr>
              <a:xfrm>
                <a:off x="5975119" y="1268432"/>
                <a:ext cx="19736" cy="465958"/>
              </a:xfrm>
              <a:custGeom>
                <a:avLst/>
                <a:gdLst>
                  <a:gd name="connsiteX0" fmla="*/ 19736 w 19736"/>
                  <a:gd name="connsiteY0" fmla="*/ 120 h 465958"/>
                  <a:gd name="connsiteX1" fmla="*/ 3050 w 19736"/>
                  <a:gd name="connsiteY1" fmla="*/ 465958 h 465958"/>
                  <a:gd name="connsiteX2" fmla="*/ 0 w 19736"/>
                  <a:gd name="connsiteY2" fmla="*/ 465779 h 465958"/>
                  <a:gd name="connsiteX3" fmla="*/ 16686 w 19736"/>
                  <a:gd name="connsiteY3" fmla="*/ 0 h 465958"/>
                </a:gdLst>
                <a:ahLst/>
                <a:cxnLst>
                  <a:cxn ang="0">
                    <a:pos x="connsiteX0" y="connsiteY0"/>
                  </a:cxn>
                  <a:cxn ang="0">
                    <a:pos x="connsiteX1" y="connsiteY1"/>
                  </a:cxn>
                  <a:cxn ang="0">
                    <a:pos x="connsiteX2" y="connsiteY2"/>
                  </a:cxn>
                  <a:cxn ang="0">
                    <a:pos x="connsiteX3" y="connsiteY3"/>
                  </a:cxn>
                </a:cxnLst>
                <a:rect l="l" t="t" r="r" b="b"/>
                <a:pathLst>
                  <a:path w="19736" h="465958">
                    <a:moveTo>
                      <a:pt x="19736" y="120"/>
                    </a:moveTo>
                    <a:lnTo>
                      <a:pt x="3050" y="465958"/>
                    </a:lnTo>
                    <a:lnTo>
                      <a:pt x="0" y="465779"/>
                    </a:lnTo>
                    <a:lnTo>
                      <a:pt x="16686" y="0"/>
                    </a:lnTo>
                    <a:close/>
                  </a:path>
                </a:pathLst>
              </a:custGeom>
              <a:grpFill/>
              <a:ln w="5978" cap="flat">
                <a:noFill/>
                <a:prstDash val="solid"/>
                <a:miter/>
              </a:ln>
            </p:spPr>
            <p:txBody>
              <a:bodyPr rtlCol="0" anchor="ctr"/>
              <a:lstStyle/>
              <a:p>
                <a:endParaRPr lang="en-GB"/>
              </a:p>
            </p:txBody>
          </p:sp>
          <p:sp>
            <p:nvSpPr>
              <p:cNvPr id="3732" name="Vrije vorm: vorm 3731">
                <a:extLst>
                  <a:ext uri="{FF2B5EF4-FFF2-40B4-BE49-F238E27FC236}">
                    <a16:creationId xmlns:a16="http://schemas.microsoft.com/office/drawing/2014/main" id="{BE44179E-4CE8-4851-91C1-081C445B8C8C}"/>
                  </a:ext>
                </a:extLst>
              </p:cNvPr>
              <p:cNvSpPr/>
              <p:nvPr/>
            </p:nvSpPr>
            <p:spPr>
              <a:xfrm>
                <a:off x="5967458" y="1724635"/>
                <a:ext cx="18372" cy="18432"/>
              </a:xfrm>
              <a:custGeom>
                <a:avLst/>
                <a:gdLst>
                  <a:gd name="connsiteX0" fmla="*/ 18367 w 18372"/>
                  <a:gd name="connsiteY0" fmla="*/ 9575 h 18432"/>
                  <a:gd name="connsiteX1" fmla="*/ 8857 w 18372"/>
                  <a:gd name="connsiteY1" fmla="*/ 18427 h 18432"/>
                  <a:gd name="connsiteX2" fmla="*/ 6 w 18372"/>
                  <a:gd name="connsiteY2" fmla="*/ 8857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7" y="14659"/>
                      <a:pt x="13941" y="18606"/>
                      <a:pt x="8857" y="18427"/>
                    </a:cubicBezTo>
                    <a:cubicBezTo>
                      <a:pt x="3774" y="18247"/>
                      <a:pt x="-174" y="13941"/>
                      <a:pt x="6" y="8857"/>
                    </a:cubicBezTo>
                    <a:cubicBezTo>
                      <a:pt x="185" y="3774"/>
                      <a:pt x="4432" y="-174"/>
                      <a:pt x="9515" y="6"/>
                    </a:cubicBezTo>
                    <a:cubicBezTo>
                      <a:pt x="14599" y="185"/>
                      <a:pt x="18546" y="4491"/>
                      <a:pt x="18367" y="9575"/>
                    </a:cubicBezTo>
                    <a:close/>
                  </a:path>
                </a:pathLst>
              </a:custGeom>
              <a:grpFill/>
              <a:ln w="5978" cap="flat">
                <a:noFill/>
                <a:prstDash val="solid"/>
                <a:miter/>
              </a:ln>
            </p:spPr>
            <p:txBody>
              <a:bodyPr rtlCol="0" anchor="ctr"/>
              <a:lstStyle/>
              <a:p>
                <a:endParaRPr lang="en-GB"/>
              </a:p>
            </p:txBody>
          </p:sp>
          <p:sp>
            <p:nvSpPr>
              <p:cNvPr id="3733" name="Vrije vorm: vorm 3732">
                <a:extLst>
                  <a:ext uri="{FF2B5EF4-FFF2-40B4-BE49-F238E27FC236}">
                    <a16:creationId xmlns:a16="http://schemas.microsoft.com/office/drawing/2014/main" id="{8AAC0BCC-EFA4-4E58-A825-1A175165FACC}"/>
                  </a:ext>
                </a:extLst>
              </p:cNvPr>
              <p:cNvSpPr/>
              <p:nvPr/>
            </p:nvSpPr>
            <p:spPr>
              <a:xfrm>
                <a:off x="5984085" y="1259754"/>
                <a:ext cx="18372" cy="18432"/>
              </a:xfrm>
              <a:custGeom>
                <a:avLst/>
                <a:gdLst>
                  <a:gd name="connsiteX0" fmla="*/ 18367 w 18372"/>
                  <a:gd name="connsiteY0" fmla="*/ 9575 h 18432"/>
                  <a:gd name="connsiteX1" fmla="*/ 9515 w 18372"/>
                  <a:gd name="connsiteY1" fmla="*/ 6 h 18432"/>
                  <a:gd name="connsiteX2" fmla="*/ 6 w 18372"/>
                  <a:gd name="connsiteY2" fmla="*/ 8857 h 18432"/>
                  <a:gd name="connsiteX3" fmla="*/ 8858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4"/>
                      <a:pt x="185" y="3774"/>
                      <a:pt x="6" y="8857"/>
                    </a:cubicBezTo>
                    <a:cubicBezTo>
                      <a:pt x="-173" y="13941"/>
                      <a:pt x="3774" y="18247"/>
                      <a:pt x="8858" y="18427"/>
                    </a:cubicBezTo>
                    <a:cubicBezTo>
                      <a:pt x="13941" y="18606"/>
                      <a:pt x="18188" y="14659"/>
                      <a:pt x="18367" y="9575"/>
                    </a:cubicBezTo>
                    <a:close/>
                  </a:path>
                </a:pathLst>
              </a:custGeom>
              <a:grpFill/>
              <a:ln w="5978" cap="flat">
                <a:noFill/>
                <a:prstDash val="solid"/>
                <a:miter/>
              </a:ln>
            </p:spPr>
            <p:txBody>
              <a:bodyPr rtlCol="0" anchor="ctr"/>
              <a:lstStyle/>
              <a:p>
                <a:endParaRPr lang="en-GB"/>
              </a:p>
            </p:txBody>
          </p:sp>
        </p:grpSp>
        <p:grpSp>
          <p:nvGrpSpPr>
            <p:cNvPr id="553" name="Graphic 3">
              <a:extLst>
                <a:ext uri="{FF2B5EF4-FFF2-40B4-BE49-F238E27FC236}">
                  <a16:creationId xmlns:a16="http://schemas.microsoft.com/office/drawing/2014/main" id="{12E7D127-6498-4FC4-8296-8B0AC6866A00}"/>
                </a:ext>
              </a:extLst>
            </p:cNvPr>
            <p:cNvGrpSpPr/>
            <p:nvPr/>
          </p:nvGrpSpPr>
          <p:grpSpPr>
            <a:xfrm>
              <a:off x="5990786" y="1472970"/>
              <a:ext cx="22791" cy="173206"/>
              <a:chOff x="5990786" y="1472970"/>
              <a:chExt cx="22791" cy="173206"/>
            </a:xfrm>
            <a:grpFill/>
          </p:grpSpPr>
          <p:sp>
            <p:nvSpPr>
              <p:cNvPr id="3728" name="Vrije vorm: vorm 3727">
                <a:extLst>
                  <a:ext uri="{FF2B5EF4-FFF2-40B4-BE49-F238E27FC236}">
                    <a16:creationId xmlns:a16="http://schemas.microsoft.com/office/drawing/2014/main" id="{5A13F604-C917-48EA-BB67-02979723BC03}"/>
                  </a:ext>
                </a:extLst>
              </p:cNvPr>
              <p:cNvSpPr/>
              <p:nvPr/>
            </p:nvSpPr>
            <p:spPr>
              <a:xfrm>
                <a:off x="5998444" y="1481704"/>
                <a:ext cx="7475" cy="155797"/>
              </a:xfrm>
              <a:custGeom>
                <a:avLst/>
                <a:gdLst>
                  <a:gd name="connsiteX0" fmla="*/ 3050 w 7475"/>
                  <a:gd name="connsiteY0" fmla="*/ 0 h 155797"/>
                  <a:gd name="connsiteX1" fmla="*/ 7476 w 7475"/>
                  <a:gd name="connsiteY1" fmla="*/ 155678 h 155797"/>
                  <a:gd name="connsiteX2" fmla="*/ 4426 w 7475"/>
                  <a:gd name="connsiteY2" fmla="*/ 155798 h 155797"/>
                  <a:gd name="connsiteX3" fmla="*/ 0 w 7475"/>
                  <a:gd name="connsiteY3" fmla="*/ 60 h 155797"/>
                </a:gdLst>
                <a:ahLst/>
                <a:cxnLst>
                  <a:cxn ang="0">
                    <a:pos x="connsiteX0" y="connsiteY0"/>
                  </a:cxn>
                  <a:cxn ang="0">
                    <a:pos x="connsiteX1" y="connsiteY1"/>
                  </a:cxn>
                  <a:cxn ang="0">
                    <a:pos x="connsiteX2" y="connsiteY2"/>
                  </a:cxn>
                  <a:cxn ang="0">
                    <a:pos x="connsiteX3" y="connsiteY3"/>
                  </a:cxn>
                </a:cxnLst>
                <a:rect l="l" t="t" r="r" b="b"/>
                <a:pathLst>
                  <a:path w="7475" h="155797">
                    <a:moveTo>
                      <a:pt x="3050" y="0"/>
                    </a:moveTo>
                    <a:lnTo>
                      <a:pt x="7476" y="155678"/>
                    </a:lnTo>
                    <a:lnTo>
                      <a:pt x="4426" y="155798"/>
                    </a:lnTo>
                    <a:lnTo>
                      <a:pt x="0" y="60"/>
                    </a:lnTo>
                    <a:close/>
                  </a:path>
                </a:pathLst>
              </a:custGeom>
              <a:grpFill/>
              <a:ln w="5978" cap="flat">
                <a:noFill/>
                <a:prstDash val="solid"/>
                <a:miter/>
              </a:ln>
            </p:spPr>
            <p:txBody>
              <a:bodyPr rtlCol="0" anchor="ctr"/>
              <a:lstStyle/>
              <a:p>
                <a:endParaRPr lang="en-GB"/>
              </a:p>
            </p:txBody>
          </p:sp>
          <p:sp>
            <p:nvSpPr>
              <p:cNvPr id="3729" name="Vrije vorm: vorm 3728">
                <a:extLst>
                  <a:ext uri="{FF2B5EF4-FFF2-40B4-BE49-F238E27FC236}">
                    <a16:creationId xmlns:a16="http://schemas.microsoft.com/office/drawing/2014/main" id="{97FA0D6B-FDCA-45AD-AC09-B185C418385A}"/>
                  </a:ext>
                </a:extLst>
              </p:cNvPr>
              <p:cNvSpPr/>
              <p:nvPr/>
            </p:nvSpPr>
            <p:spPr>
              <a:xfrm>
                <a:off x="5990786" y="1472970"/>
                <a:ext cx="18366" cy="18425"/>
              </a:xfrm>
              <a:custGeom>
                <a:avLst/>
                <a:gdLst>
                  <a:gd name="connsiteX0" fmla="*/ 3 w 18366"/>
                  <a:gd name="connsiteY0" fmla="*/ 9452 h 18425"/>
                  <a:gd name="connsiteX1" fmla="*/ 8914 w 18366"/>
                  <a:gd name="connsiteY1" fmla="*/ 3 h 18425"/>
                  <a:gd name="connsiteX2" fmla="*/ 18363 w 18366"/>
                  <a:gd name="connsiteY2" fmla="*/ 8974 h 18425"/>
                  <a:gd name="connsiteX3" fmla="*/ 9452 w 18366"/>
                  <a:gd name="connsiteY3" fmla="*/ 1842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17" y="4369"/>
                      <a:pt x="3830" y="122"/>
                      <a:pt x="8914" y="3"/>
                    </a:cubicBezTo>
                    <a:cubicBezTo>
                      <a:pt x="13998" y="-117"/>
                      <a:pt x="18184" y="3890"/>
                      <a:pt x="18363" y="8974"/>
                    </a:cubicBezTo>
                    <a:cubicBezTo>
                      <a:pt x="18483" y="14057"/>
                      <a:pt x="14536" y="18304"/>
                      <a:pt x="9452" y="18423"/>
                    </a:cubicBezTo>
                    <a:cubicBezTo>
                      <a:pt x="4369" y="18543"/>
                      <a:pt x="182" y="14536"/>
                      <a:pt x="3" y="9452"/>
                    </a:cubicBezTo>
                    <a:close/>
                  </a:path>
                </a:pathLst>
              </a:custGeom>
              <a:grpFill/>
              <a:ln w="5978" cap="flat">
                <a:noFill/>
                <a:prstDash val="solid"/>
                <a:miter/>
              </a:ln>
            </p:spPr>
            <p:txBody>
              <a:bodyPr rtlCol="0" anchor="ctr"/>
              <a:lstStyle/>
              <a:p>
                <a:endParaRPr lang="en-GB"/>
              </a:p>
            </p:txBody>
          </p:sp>
          <p:sp>
            <p:nvSpPr>
              <p:cNvPr id="3730" name="Vrije vorm: vorm 3729">
                <a:extLst>
                  <a:ext uri="{FF2B5EF4-FFF2-40B4-BE49-F238E27FC236}">
                    <a16:creationId xmlns:a16="http://schemas.microsoft.com/office/drawing/2014/main" id="{4E5F5DC7-9EB8-47F8-AE09-044CC6EA39B5}"/>
                  </a:ext>
                </a:extLst>
              </p:cNvPr>
              <p:cNvSpPr/>
              <p:nvPr/>
            </p:nvSpPr>
            <p:spPr>
              <a:xfrm>
                <a:off x="5995212" y="1627751"/>
                <a:ext cx="18366" cy="18425"/>
              </a:xfrm>
              <a:custGeom>
                <a:avLst/>
                <a:gdLst>
                  <a:gd name="connsiteX0" fmla="*/ 3 w 18366"/>
                  <a:gd name="connsiteY0" fmla="*/ 9452 h 18425"/>
                  <a:gd name="connsiteX1" fmla="*/ 9452 w 18366"/>
                  <a:gd name="connsiteY1" fmla="*/ 18423 h 18425"/>
                  <a:gd name="connsiteX2" fmla="*/ 18363 w 18366"/>
                  <a:gd name="connsiteY2" fmla="*/ 8974 h 18425"/>
                  <a:gd name="connsiteX3" fmla="*/ 8914 w 18366"/>
                  <a:gd name="connsiteY3" fmla="*/ 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22" y="14536"/>
                      <a:pt x="4369" y="18543"/>
                      <a:pt x="9452" y="18423"/>
                    </a:cubicBezTo>
                    <a:cubicBezTo>
                      <a:pt x="14536" y="18304"/>
                      <a:pt x="18483" y="14057"/>
                      <a:pt x="18363" y="8974"/>
                    </a:cubicBezTo>
                    <a:cubicBezTo>
                      <a:pt x="18244" y="3890"/>
                      <a:pt x="13998" y="-117"/>
                      <a:pt x="8914" y="3"/>
                    </a:cubicBezTo>
                    <a:cubicBezTo>
                      <a:pt x="3890" y="122"/>
                      <a:pt x="-117" y="4369"/>
                      <a:pt x="3" y="9452"/>
                    </a:cubicBezTo>
                    <a:close/>
                  </a:path>
                </a:pathLst>
              </a:custGeom>
              <a:grpFill/>
              <a:ln w="5978" cap="flat">
                <a:noFill/>
                <a:prstDash val="solid"/>
                <a:miter/>
              </a:ln>
            </p:spPr>
            <p:txBody>
              <a:bodyPr rtlCol="0" anchor="ctr"/>
              <a:lstStyle/>
              <a:p>
                <a:endParaRPr lang="en-GB"/>
              </a:p>
            </p:txBody>
          </p:sp>
        </p:grpSp>
        <p:grpSp>
          <p:nvGrpSpPr>
            <p:cNvPr id="554" name="Graphic 3">
              <a:extLst>
                <a:ext uri="{FF2B5EF4-FFF2-40B4-BE49-F238E27FC236}">
                  <a16:creationId xmlns:a16="http://schemas.microsoft.com/office/drawing/2014/main" id="{2393419A-FE4A-49D7-9BFF-CB11E52ECD61}"/>
                </a:ext>
              </a:extLst>
            </p:cNvPr>
            <p:cNvGrpSpPr/>
            <p:nvPr/>
          </p:nvGrpSpPr>
          <p:grpSpPr>
            <a:xfrm>
              <a:off x="6028288" y="1630444"/>
              <a:ext cx="19318" cy="113754"/>
              <a:chOff x="6028288" y="1630444"/>
              <a:chExt cx="19318" cy="113754"/>
            </a:xfrm>
            <a:grpFill/>
          </p:grpSpPr>
          <p:sp>
            <p:nvSpPr>
              <p:cNvPr id="3725" name="Vrije vorm: vorm 3724">
                <a:extLst>
                  <a:ext uri="{FF2B5EF4-FFF2-40B4-BE49-F238E27FC236}">
                    <a16:creationId xmlns:a16="http://schemas.microsoft.com/office/drawing/2014/main" id="{773F0F1C-F2D8-400F-A979-F7EEF9018018}"/>
                  </a:ext>
                </a:extLst>
              </p:cNvPr>
              <p:cNvSpPr/>
              <p:nvPr/>
            </p:nvSpPr>
            <p:spPr>
              <a:xfrm>
                <a:off x="6035884" y="1639176"/>
                <a:ext cx="4006" cy="96289"/>
              </a:xfrm>
              <a:custGeom>
                <a:avLst/>
                <a:gdLst>
                  <a:gd name="connsiteX0" fmla="*/ 3050 w 4006"/>
                  <a:gd name="connsiteY0" fmla="*/ 0 h 96289"/>
                  <a:gd name="connsiteX1" fmla="*/ 4007 w 4006"/>
                  <a:gd name="connsiteY1" fmla="*/ 96290 h 96289"/>
                  <a:gd name="connsiteX2" fmla="*/ 1017 w 4006"/>
                  <a:gd name="connsiteY2" fmla="*/ 96290 h 96289"/>
                  <a:gd name="connsiteX3" fmla="*/ 0 w 4006"/>
                  <a:gd name="connsiteY3" fmla="*/ 60 h 96289"/>
                </a:gdLst>
                <a:ahLst/>
                <a:cxnLst>
                  <a:cxn ang="0">
                    <a:pos x="connsiteX0" y="connsiteY0"/>
                  </a:cxn>
                  <a:cxn ang="0">
                    <a:pos x="connsiteX1" y="connsiteY1"/>
                  </a:cxn>
                  <a:cxn ang="0">
                    <a:pos x="connsiteX2" y="connsiteY2"/>
                  </a:cxn>
                  <a:cxn ang="0">
                    <a:pos x="connsiteX3" y="connsiteY3"/>
                  </a:cxn>
                </a:cxnLst>
                <a:rect l="l" t="t" r="r" b="b"/>
                <a:pathLst>
                  <a:path w="4006" h="96289">
                    <a:moveTo>
                      <a:pt x="3050" y="0"/>
                    </a:moveTo>
                    <a:lnTo>
                      <a:pt x="4007" y="96290"/>
                    </a:lnTo>
                    <a:lnTo>
                      <a:pt x="1017" y="96290"/>
                    </a:lnTo>
                    <a:lnTo>
                      <a:pt x="0" y="60"/>
                    </a:lnTo>
                    <a:close/>
                  </a:path>
                </a:pathLst>
              </a:custGeom>
              <a:grpFill/>
              <a:ln w="5978" cap="flat">
                <a:noFill/>
                <a:prstDash val="solid"/>
                <a:miter/>
              </a:ln>
            </p:spPr>
            <p:txBody>
              <a:bodyPr rtlCol="0" anchor="ctr"/>
              <a:lstStyle/>
              <a:p>
                <a:endParaRPr lang="en-GB"/>
              </a:p>
            </p:txBody>
          </p:sp>
          <p:sp>
            <p:nvSpPr>
              <p:cNvPr id="3726" name="Vrije vorm: vorm 3725">
                <a:extLst>
                  <a:ext uri="{FF2B5EF4-FFF2-40B4-BE49-F238E27FC236}">
                    <a16:creationId xmlns:a16="http://schemas.microsoft.com/office/drawing/2014/main" id="{517F48FC-4AB1-4F95-95E0-46A1528CE08A}"/>
                  </a:ext>
                </a:extLst>
              </p:cNvPr>
              <p:cNvSpPr/>
              <p:nvPr/>
            </p:nvSpPr>
            <p:spPr>
              <a:xfrm>
                <a:off x="6028288" y="1630444"/>
                <a:ext cx="18362" cy="18421"/>
              </a:xfrm>
              <a:custGeom>
                <a:avLst/>
                <a:gdLst>
                  <a:gd name="connsiteX0" fmla="*/ 1 w 18362"/>
                  <a:gd name="connsiteY0" fmla="*/ 9271 h 18421"/>
                  <a:gd name="connsiteX1" fmla="*/ 9091 w 18362"/>
                  <a:gd name="connsiteY1" fmla="*/ 1 h 18421"/>
                  <a:gd name="connsiteX2" fmla="*/ 18362 w 18362"/>
                  <a:gd name="connsiteY2" fmla="*/ 9151 h 18421"/>
                  <a:gd name="connsiteX3" fmla="*/ 9271 w 18362"/>
                  <a:gd name="connsiteY3" fmla="*/ 1842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59" y="4187"/>
                      <a:pt x="4008" y="60"/>
                      <a:pt x="9091" y="1"/>
                    </a:cubicBezTo>
                    <a:cubicBezTo>
                      <a:pt x="14175" y="-59"/>
                      <a:pt x="18302" y="4067"/>
                      <a:pt x="18362" y="9151"/>
                    </a:cubicBezTo>
                    <a:cubicBezTo>
                      <a:pt x="18421" y="14235"/>
                      <a:pt x="14355" y="18361"/>
                      <a:pt x="9271" y="18421"/>
                    </a:cubicBezTo>
                    <a:cubicBezTo>
                      <a:pt x="4187" y="18481"/>
                      <a:pt x="61" y="14354"/>
                      <a:pt x="1" y="9271"/>
                    </a:cubicBezTo>
                    <a:close/>
                  </a:path>
                </a:pathLst>
              </a:custGeom>
              <a:grpFill/>
              <a:ln w="5978" cap="flat">
                <a:noFill/>
                <a:prstDash val="solid"/>
                <a:miter/>
              </a:ln>
            </p:spPr>
            <p:txBody>
              <a:bodyPr rtlCol="0" anchor="ctr"/>
              <a:lstStyle/>
              <a:p>
                <a:endParaRPr lang="en-GB"/>
              </a:p>
            </p:txBody>
          </p:sp>
          <p:sp>
            <p:nvSpPr>
              <p:cNvPr id="3727" name="Vrije vorm: vorm 3726">
                <a:extLst>
                  <a:ext uri="{FF2B5EF4-FFF2-40B4-BE49-F238E27FC236}">
                    <a16:creationId xmlns:a16="http://schemas.microsoft.com/office/drawing/2014/main" id="{88472D3A-8864-462C-99CB-B595E92325C3}"/>
                  </a:ext>
                </a:extLst>
              </p:cNvPr>
              <p:cNvSpPr/>
              <p:nvPr/>
            </p:nvSpPr>
            <p:spPr>
              <a:xfrm>
                <a:off x="6029244" y="1725777"/>
                <a:ext cx="18362" cy="18421"/>
              </a:xfrm>
              <a:custGeom>
                <a:avLst/>
                <a:gdLst>
                  <a:gd name="connsiteX0" fmla="*/ 1 w 18362"/>
                  <a:gd name="connsiteY0" fmla="*/ 9271 h 18421"/>
                  <a:gd name="connsiteX1" fmla="*/ 9271 w 18362"/>
                  <a:gd name="connsiteY1" fmla="*/ 18421 h 18421"/>
                  <a:gd name="connsiteX2" fmla="*/ 18362 w 18362"/>
                  <a:gd name="connsiteY2" fmla="*/ 9151 h 18421"/>
                  <a:gd name="connsiteX3" fmla="*/ 9091 w 18362"/>
                  <a:gd name="connsiteY3" fmla="*/ 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61" y="14354"/>
                      <a:pt x="4187" y="18481"/>
                      <a:pt x="9271" y="18421"/>
                    </a:cubicBezTo>
                    <a:cubicBezTo>
                      <a:pt x="14355" y="18361"/>
                      <a:pt x="18421" y="14235"/>
                      <a:pt x="18362" y="9151"/>
                    </a:cubicBezTo>
                    <a:cubicBezTo>
                      <a:pt x="18302" y="4067"/>
                      <a:pt x="14175" y="-59"/>
                      <a:pt x="9091" y="1"/>
                    </a:cubicBezTo>
                    <a:cubicBezTo>
                      <a:pt x="4008" y="60"/>
                      <a:pt x="-59" y="4187"/>
                      <a:pt x="1" y="9271"/>
                    </a:cubicBezTo>
                    <a:close/>
                  </a:path>
                </a:pathLst>
              </a:custGeom>
              <a:grpFill/>
              <a:ln w="5978" cap="flat">
                <a:noFill/>
                <a:prstDash val="solid"/>
                <a:miter/>
              </a:ln>
            </p:spPr>
            <p:txBody>
              <a:bodyPr rtlCol="0" anchor="ctr"/>
              <a:lstStyle/>
              <a:p>
                <a:endParaRPr lang="en-GB"/>
              </a:p>
            </p:txBody>
          </p:sp>
        </p:grpSp>
        <p:grpSp>
          <p:nvGrpSpPr>
            <p:cNvPr id="555" name="Graphic 3">
              <a:extLst>
                <a:ext uri="{FF2B5EF4-FFF2-40B4-BE49-F238E27FC236}">
                  <a16:creationId xmlns:a16="http://schemas.microsoft.com/office/drawing/2014/main" id="{BF6CE61C-B589-498A-AFC0-E233EB8EF85A}"/>
                </a:ext>
              </a:extLst>
            </p:cNvPr>
            <p:cNvGrpSpPr/>
            <p:nvPr/>
          </p:nvGrpSpPr>
          <p:grpSpPr>
            <a:xfrm>
              <a:off x="5952861" y="1430140"/>
              <a:ext cx="22269" cy="101932"/>
              <a:chOff x="5952861" y="1430140"/>
              <a:chExt cx="22269" cy="101932"/>
            </a:xfrm>
            <a:grpFill/>
          </p:grpSpPr>
          <p:sp>
            <p:nvSpPr>
              <p:cNvPr id="3722" name="Vrije vorm: vorm 3721">
                <a:extLst>
                  <a:ext uri="{FF2B5EF4-FFF2-40B4-BE49-F238E27FC236}">
                    <a16:creationId xmlns:a16="http://schemas.microsoft.com/office/drawing/2014/main" id="{AE576C0E-15A9-410A-AFEA-D0B64042EAC4}"/>
                  </a:ext>
                </a:extLst>
              </p:cNvPr>
              <p:cNvSpPr/>
              <p:nvPr/>
            </p:nvSpPr>
            <p:spPr>
              <a:xfrm>
                <a:off x="5960467" y="1438822"/>
                <a:ext cx="7057" cy="84567"/>
              </a:xfrm>
              <a:custGeom>
                <a:avLst/>
                <a:gdLst>
                  <a:gd name="connsiteX0" fmla="*/ 3050 w 7057"/>
                  <a:gd name="connsiteY0" fmla="*/ 0 h 84567"/>
                  <a:gd name="connsiteX1" fmla="*/ 7058 w 7057"/>
                  <a:gd name="connsiteY1" fmla="*/ 84448 h 84567"/>
                  <a:gd name="connsiteX2" fmla="*/ 4007 w 7057"/>
                  <a:gd name="connsiteY2" fmla="*/ 84567 h 84567"/>
                  <a:gd name="connsiteX3" fmla="*/ 0 w 7057"/>
                  <a:gd name="connsiteY3" fmla="*/ 179 h 84567"/>
                </a:gdLst>
                <a:ahLst/>
                <a:cxnLst>
                  <a:cxn ang="0">
                    <a:pos x="connsiteX0" y="connsiteY0"/>
                  </a:cxn>
                  <a:cxn ang="0">
                    <a:pos x="connsiteX1" y="connsiteY1"/>
                  </a:cxn>
                  <a:cxn ang="0">
                    <a:pos x="connsiteX2" y="connsiteY2"/>
                  </a:cxn>
                  <a:cxn ang="0">
                    <a:pos x="connsiteX3" y="connsiteY3"/>
                  </a:cxn>
                </a:cxnLst>
                <a:rect l="l" t="t" r="r" b="b"/>
                <a:pathLst>
                  <a:path w="7057" h="84567">
                    <a:moveTo>
                      <a:pt x="3050" y="0"/>
                    </a:moveTo>
                    <a:lnTo>
                      <a:pt x="7058" y="84448"/>
                    </a:lnTo>
                    <a:lnTo>
                      <a:pt x="4007" y="84567"/>
                    </a:lnTo>
                    <a:lnTo>
                      <a:pt x="0" y="179"/>
                    </a:lnTo>
                    <a:close/>
                  </a:path>
                </a:pathLst>
              </a:custGeom>
              <a:grpFill/>
              <a:ln w="5978" cap="flat">
                <a:noFill/>
                <a:prstDash val="solid"/>
                <a:miter/>
              </a:ln>
            </p:spPr>
            <p:txBody>
              <a:bodyPr rtlCol="0" anchor="ctr"/>
              <a:lstStyle/>
              <a:p>
                <a:endParaRPr lang="en-GB"/>
              </a:p>
            </p:txBody>
          </p:sp>
          <p:sp>
            <p:nvSpPr>
              <p:cNvPr id="3723" name="Vrije vorm: vorm 3722">
                <a:extLst>
                  <a:ext uri="{FF2B5EF4-FFF2-40B4-BE49-F238E27FC236}">
                    <a16:creationId xmlns:a16="http://schemas.microsoft.com/office/drawing/2014/main" id="{383956B5-9014-4FD5-B188-690190502713}"/>
                  </a:ext>
                </a:extLst>
              </p:cNvPr>
              <p:cNvSpPr/>
              <p:nvPr/>
            </p:nvSpPr>
            <p:spPr>
              <a:xfrm>
                <a:off x="5952861" y="1430140"/>
                <a:ext cx="18321" cy="18441"/>
              </a:xfrm>
              <a:custGeom>
                <a:avLst/>
                <a:gdLst>
                  <a:gd name="connsiteX0" fmla="*/ 10 w 18321"/>
                  <a:gd name="connsiteY0" fmla="*/ 9639 h 18441"/>
                  <a:gd name="connsiteX1" fmla="*/ 8742 w 18321"/>
                  <a:gd name="connsiteY1" fmla="*/ 10 h 18441"/>
                  <a:gd name="connsiteX2" fmla="*/ 18311 w 18321"/>
                  <a:gd name="connsiteY2" fmla="*/ 8802 h 18441"/>
                  <a:gd name="connsiteX3" fmla="*/ 9580 w 18321"/>
                  <a:gd name="connsiteY3" fmla="*/ 18431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29" y="4556"/>
                      <a:pt x="3659" y="250"/>
                      <a:pt x="8742" y="10"/>
                    </a:cubicBezTo>
                    <a:cubicBezTo>
                      <a:pt x="13826" y="-229"/>
                      <a:pt x="18072" y="3718"/>
                      <a:pt x="18311" y="8802"/>
                    </a:cubicBezTo>
                    <a:cubicBezTo>
                      <a:pt x="18551" y="13886"/>
                      <a:pt x="14663" y="18192"/>
                      <a:pt x="9580" y="18431"/>
                    </a:cubicBezTo>
                    <a:cubicBezTo>
                      <a:pt x="4556" y="18670"/>
                      <a:pt x="250" y="14723"/>
                      <a:pt x="10" y="9639"/>
                    </a:cubicBezTo>
                    <a:close/>
                  </a:path>
                </a:pathLst>
              </a:custGeom>
              <a:grpFill/>
              <a:ln w="5978" cap="flat">
                <a:noFill/>
                <a:prstDash val="solid"/>
                <a:miter/>
              </a:ln>
            </p:spPr>
            <p:txBody>
              <a:bodyPr rtlCol="0" anchor="ctr"/>
              <a:lstStyle/>
              <a:p>
                <a:endParaRPr lang="en-GB"/>
              </a:p>
            </p:txBody>
          </p:sp>
          <p:sp>
            <p:nvSpPr>
              <p:cNvPr id="3724" name="Vrije vorm: vorm 3723">
                <a:extLst>
                  <a:ext uri="{FF2B5EF4-FFF2-40B4-BE49-F238E27FC236}">
                    <a16:creationId xmlns:a16="http://schemas.microsoft.com/office/drawing/2014/main" id="{99A28216-7186-49F0-8BE1-DE37B9EF0759}"/>
                  </a:ext>
                </a:extLst>
              </p:cNvPr>
              <p:cNvSpPr/>
              <p:nvPr/>
            </p:nvSpPr>
            <p:spPr>
              <a:xfrm>
                <a:off x="5956808" y="1513631"/>
                <a:ext cx="18321" cy="18441"/>
              </a:xfrm>
              <a:custGeom>
                <a:avLst/>
                <a:gdLst>
                  <a:gd name="connsiteX0" fmla="*/ 10 w 18321"/>
                  <a:gd name="connsiteY0" fmla="*/ 9639 h 18441"/>
                  <a:gd name="connsiteX1" fmla="*/ 9580 w 18321"/>
                  <a:gd name="connsiteY1" fmla="*/ 18431 h 18441"/>
                  <a:gd name="connsiteX2" fmla="*/ 18311 w 18321"/>
                  <a:gd name="connsiteY2" fmla="*/ 8802 h 18441"/>
                  <a:gd name="connsiteX3" fmla="*/ 8742 w 18321"/>
                  <a:gd name="connsiteY3" fmla="*/ 10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50" y="14723"/>
                      <a:pt x="4556" y="18670"/>
                      <a:pt x="9580" y="18431"/>
                    </a:cubicBezTo>
                    <a:cubicBezTo>
                      <a:pt x="14663" y="18192"/>
                      <a:pt x="18551" y="13886"/>
                      <a:pt x="18311" y="8802"/>
                    </a:cubicBezTo>
                    <a:cubicBezTo>
                      <a:pt x="18072" y="3718"/>
                      <a:pt x="13766" y="-229"/>
                      <a:pt x="8742" y="10"/>
                    </a:cubicBezTo>
                    <a:cubicBezTo>
                      <a:pt x="3659" y="250"/>
                      <a:pt x="-229" y="4556"/>
                      <a:pt x="10" y="9639"/>
                    </a:cubicBezTo>
                    <a:close/>
                  </a:path>
                </a:pathLst>
              </a:custGeom>
              <a:grpFill/>
              <a:ln w="5978" cap="flat">
                <a:noFill/>
                <a:prstDash val="solid"/>
                <a:miter/>
              </a:ln>
            </p:spPr>
            <p:txBody>
              <a:bodyPr rtlCol="0" anchor="ctr"/>
              <a:lstStyle/>
              <a:p>
                <a:endParaRPr lang="en-GB"/>
              </a:p>
            </p:txBody>
          </p:sp>
        </p:grpSp>
        <p:grpSp>
          <p:nvGrpSpPr>
            <p:cNvPr id="556" name="Graphic 3">
              <a:extLst>
                <a:ext uri="{FF2B5EF4-FFF2-40B4-BE49-F238E27FC236}">
                  <a16:creationId xmlns:a16="http://schemas.microsoft.com/office/drawing/2014/main" id="{37F235EE-9CC8-4B15-A9D9-45D19A62B266}"/>
                </a:ext>
              </a:extLst>
            </p:cNvPr>
            <p:cNvGrpSpPr/>
            <p:nvPr/>
          </p:nvGrpSpPr>
          <p:grpSpPr>
            <a:xfrm>
              <a:off x="7020589" y="4797232"/>
              <a:ext cx="263431" cy="435525"/>
              <a:chOff x="7020589" y="4797232"/>
              <a:chExt cx="263431" cy="435525"/>
            </a:xfrm>
            <a:grpFill/>
          </p:grpSpPr>
          <p:sp>
            <p:nvSpPr>
              <p:cNvPr id="3719" name="Vrije vorm: vorm 3718">
                <a:extLst>
                  <a:ext uri="{FF2B5EF4-FFF2-40B4-BE49-F238E27FC236}">
                    <a16:creationId xmlns:a16="http://schemas.microsoft.com/office/drawing/2014/main" id="{1856F713-E4FF-482A-AC1F-34B3D0824A83}"/>
                  </a:ext>
                </a:extLst>
              </p:cNvPr>
              <p:cNvSpPr/>
              <p:nvPr/>
            </p:nvSpPr>
            <p:spPr>
              <a:xfrm>
                <a:off x="7028205" y="4805251"/>
                <a:ext cx="248199" cy="419487"/>
              </a:xfrm>
              <a:custGeom>
                <a:avLst/>
                <a:gdLst>
                  <a:gd name="connsiteX0" fmla="*/ 248200 w 248199"/>
                  <a:gd name="connsiteY0" fmla="*/ 417933 h 419487"/>
                  <a:gd name="connsiteX1" fmla="*/ 245569 w 248199"/>
                  <a:gd name="connsiteY1" fmla="*/ 419488 h 419487"/>
                  <a:gd name="connsiteX2" fmla="*/ 0 w 248199"/>
                  <a:gd name="connsiteY2" fmla="*/ 1555 h 419487"/>
                  <a:gd name="connsiteX3" fmla="*/ 2632 w 248199"/>
                  <a:gd name="connsiteY3" fmla="*/ 0 h 419487"/>
                </a:gdLst>
                <a:ahLst/>
                <a:cxnLst>
                  <a:cxn ang="0">
                    <a:pos x="connsiteX0" y="connsiteY0"/>
                  </a:cxn>
                  <a:cxn ang="0">
                    <a:pos x="connsiteX1" y="connsiteY1"/>
                  </a:cxn>
                  <a:cxn ang="0">
                    <a:pos x="connsiteX2" y="connsiteY2"/>
                  </a:cxn>
                  <a:cxn ang="0">
                    <a:pos x="connsiteX3" y="connsiteY3"/>
                  </a:cxn>
                </a:cxnLst>
                <a:rect l="l" t="t" r="r" b="b"/>
                <a:pathLst>
                  <a:path w="248199" h="419487">
                    <a:moveTo>
                      <a:pt x="248200" y="417933"/>
                    </a:moveTo>
                    <a:lnTo>
                      <a:pt x="245569" y="419488"/>
                    </a:lnTo>
                    <a:lnTo>
                      <a:pt x="0" y="1555"/>
                    </a:lnTo>
                    <a:lnTo>
                      <a:pt x="2632" y="0"/>
                    </a:lnTo>
                    <a:close/>
                  </a:path>
                </a:pathLst>
              </a:custGeom>
              <a:grpFill/>
              <a:ln w="5978" cap="flat">
                <a:noFill/>
                <a:prstDash val="solid"/>
                <a:miter/>
              </a:ln>
            </p:spPr>
            <p:txBody>
              <a:bodyPr rtlCol="0" anchor="ctr"/>
              <a:lstStyle/>
              <a:p>
                <a:endParaRPr lang="en-GB"/>
              </a:p>
            </p:txBody>
          </p:sp>
          <p:sp>
            <p:nvSpPr>
              <p:cNvPr id="3720" name="Vrije vorm: vorm 3719">
                <a:extLst>
                  <a:ext uri="{FF2B5EF4-FFF2-40B4-BE49-F238E27FC236}">
                    <a16:creationId xmlns:a16="http://schemas.microsoft.com/office/drawing/2014/main" id="{A772B014-904A-40D2-B300-1F342825FAE5}"/>
                  </a:ext>
                </a:extLst>
              </p:cNvPr>
              <p:cNvSpPr/>
              <p:nvPr/>
            </p:nvSpPr>
            <p:spPr>
              <a:xfrm>
                <a:off x="7020589" y="4797232"/>
                <a:ext cx="18341" cy="18429"/>
              </a:xfrm>
              <a:custGeom>
                <a:avLst/>
                <a:gdLst>
                  <a:gd name="connsiteX0" fmla="*/ 1276 w 18341"/>
                  <a:gd name="connsiteY0" fmla="*/ 13880 h 18429"/>
                  <a:gd name="connsiteX1" fmla="*/ 4506 w 18341"/>
                  <a:gd name="connsiteY1" fmla="*/ 1260 h 18429"/>
                  <a:gd name="connsiteX2" fmla="*/ 17065 w 18341"/>
                  <a:gd name="connsiteY2" fmla="*/ 4550 h 18429"/>
                  <a:gd name="connsiteX3" fmla="*/ 13836 w 18341"/>
                  <a:gd name="connsiteY3" fmla="*/ 17169 h 18429"/>
                  <a:gd name="connsiteX4" fmla="*/ 1276 w 18341"/>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276" y="13880"/>
                    </a:moveTo>
                    <a:cubicBezTo>
                      <a:pt x="-1296" y="9514"/>
                      <a:pt x="139" y="3832"/>
                      <a:pt x="4506" y="1260"/>
                    </a:cubicBezTo>
                    <a:cubicBezTo>
                      <a:pt x="8872" y="-1311"/>
                      <a:pt x="14493" y="184"/>
                      <a:pt x="17065" y="4550"/>
                    </a:cubicBezTo>
                    <a:cubicBezTo>
                      <a:pt x="19637" y="8916"/>
                      <a:pt x="18201" y="14597"/>
                      <a:pt x="13836" y="17169"/>
                    </a:cubicBezTo>
                    <a:cubicBezTo>
                      <a:pt x="9470" y="19741"/>
                      <a:pt x="3848" y="18246"/>
                      <a:pt x="1276" y="13880"/>
                    </a:cubicBezTo>
                    <a:close/>
                  </a:path>
                </a:pathLst>
              </a:custGeom>
              <a:grpFill/>
              <a:ln w="5978" cap="flat">
                <a:noFill/>
                <a:prstDash val="solid"/>
                <a:miter/>
              </a:ln>
            </p:spPr>
            <p:txBody>
              <a:bodyPr rtlCol="0" anchor="ctr"/>
              <a:lstStyle/>
              <a:p>
                <a:endParaRPr lang="en-GB"/>
              </a:p>
            </p:txBody>
          </p:sp>
          <p:sp>
            <p:nvSpPr>
              <p:cNvPr id="3721" name="Vrije vorm: vorm 3720">
                <a:extLst>
                  <a:ext uri="{FF2B5EF4-FFF2-40B4-BE49-F238E27FC236}">
                    <a16:creationId xmlns:a16="http://schemas.microsoft.com/office/drawing/2014/main" id="{1AB2EE95-CC2A-450E-A678-D7F1AC6DD799}"/>
                  </a:ext>
                </a:extLst>
              </p:cNvPr>
              <p:cNvSpPr/>
              <p:nvPr/>
            </p:nvSpPr>
            <p:spPr>
              <a:xfrm>
                <a:off x="7265680" y="5214327"/>
                <a:ext cx="18340" cy="18429"/>
              </a:xfrm>
              <a:custGeom>
                <a:avLst/>
                <a:gdLst>
                  <a:gd name="connsiteX0" fmla="*/ 1276 w 18340"/>
                  <a:gd name="connsiteY0" fmla="*/ 13880 h 18429"/>
                  <a:gd name="connsiteX1" fmla="*/ 13835 w 18340"/>
                  <a:gd name="connsiteY1" fmla="*/ 17169 h 18429"/>
                  <a:gd name="connsiteX2" fmla="*/ 17065 w 18340"/>
                  <a:gd name="connsiteY2" fmla="*/ 4550 h 18429"/>
                  <a:gd name="connsiteX3" fmla="*/ 4506 w 18340"/>
                  <a:gd name="connsiteY3" fmla="*/ 1260 h 18429"/>
                  <a:gd name="connsiteX4" fmla="*/ 1276 w 18340"/>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9">
                    <a:moveTo>
                      <a:pt x="1276" y="13880"/>
                    </a:moveTo>
                    <a:cubicBezTo>
                      <a:pt x="3848" y="18246"/>
                      <a:pt x="9469" y="19741"/>
                      <a:pt x="13835" y="17169"/>
                    </a:cubicBezTo>
                    <a:cubicBezTo>
                      <a:pt x="18201" y="14598"/>
                      <a:pt x="19637" y="8976"/>
                      <a:pt x="17065" y="4550"/>
                    </a:cubicBezTo>
                    <a:cubicBezTo>
                      <a:pt x="14493" y="184"/>
                      <a:pt x="8871" y="-1311"/>
                      <a:pt x="4506" y="1260"/>
                    </a:cubicBezTo>
                    <a:cubicBezTo>
                      <a:pt x="140" y="3832"/>
                      <a:pt x="-1296" y="9514"/>
                      <a:pt x="1276" y="13880"/>
                    </a:cubicBezTo>
                    <a:close/>
                  </a:path>
                </a:pathLst>
              </a:custGeom>
              <a:grpFill/>
              <a:ln w="5978" cap="flat">
                <a:noFill/>
                <a:prstDash val="solid"/>
                <a:miter/>
              </a:ln>
            </p:spPr>
            <p:txBody>
              <a:bodyPr rtlCol="0" anchor="ctr"/>
              <a:lstStyle/>
              <a:p>
                <a:endParaRPr lang="en-GB"/>
              </a:p>
            </p:txBody>
          </p:sp>
        </p:grpSp>
        <p:grpSp>
          <p:nvGrpSpPr>
            <p:cNvPr id="557" name="Graphic 3">
              <a:extLst>
                <a:ext uri="{FF2B5EF4-FFF2-40B4-BE49-F238E27FC236}">
                  <a16:creationId xmlns:a16="http://schemas.microsoft.com/office/drawing/2014/main" id="{65283CE8-4F8C-49C1-AE19-08C05BBD5FD7}"/>
                </a:ext>
              </a:extLst>
            </p:cNvPr>
            <p:cNvGrpSpPr/>
            <p:nvPr/>
          </p:nvGrpSpPr>
          <p:grpSpPr>
            <a:xfrm>
              <a:off x="7044798" y="4775735"/>
              <a:ext cx="64557" cy="81697"/>
              <a:chOff x="7044798" y="4775735"/>
              <a:chExt cx="64557" cy="81697"/>
            </a:xfrm>
            <a:grpFill/>
          </p:grpSpPr>
          <p:sp>
            <p:nvSpPr>
              <p:cNvPr id="3716" name="Vrije vorm: vorm 3715">
                <a:extLst>
                  <a:ext uri="{FF2B5EF4-FFF2-40B4-BE49-F238E27FC236}">
                    <a16:creationId xmlns:a16="http://schemas.microsoft.com/office/drawing/2014/main" id="{7DAF8FEF-8C00-45AC-98CE-9A7F270F9E51}"/>
                  </a:ext>
                </a:extLst>
              </p:cNvPr>
              <p:cNvSpPr/>
              <p:nvPr/>
            </p:nvSpPr>
            <p:spPr>
              <a:xfrm>
                <a:off x="7052487" y="4783660"/>
                <a:ext cx="49161" cy="65847"/>
              </a:xfrm>
              <a:custGeom>
                <a:avLst/>
                <a:gdLst>
                  <a:gd name="connsiteX0" fmla="*/ 49161 w 49161"/>
                  <a:gd name="connsiteY0" fmla="*/ 64053 h 65847"/>
                  <a:gd name="connsiteX1" fmla="*/ 46710 w 49161"/>
                  <a:gd name="connsiteY1" fmla="*/ 65848 h 65847"/>
                  <a:gd name="connsiteX2" fmla="*/ 0 w 49161"/>
                  <a:gd name="connsiteY2" fmla="*/ 1854 h 65847"/>
                  <a:gd name="connsiteX3" fmla="*/ 2452 w 49161"/>
                  <a:gd name="connsiteY3" fmla="*/ 0 h 65847"/>
                </a:gdLst>
                <a:ahLst/>
                <a:cxnLst>
                  <a:cxn ang="0">
                    <a:pos x="connsiteX0" y="connsiteY0"/>
                  </a:cxn>
                  <a:cxn ang="0">
                    <a:pos x="connsiteX1" y="connsiteY1"/>
                  </a:cxn>
                  <a:cxn ang="0">
                    <a:pos x="connsiteX2" y="connsiteY2"/>
                  </a:cxn>
                  <a:cxn ang="0">
                    <a:pos x="connsiteX3" y="connsiteY3"/>
                  </a:cxn>
                </a:cxnLst>
                <a:rect l="l" t="t" r="r" b="b"/>
                <a:pathLst>
                  <a:path w="49161" h="65847">
                    <a:moveTo>
                      <a:pt x="49161" y="64053"/>
                    </a:moveTo>
                    <a:lnTo>
                      <a:pt x="46710" y="65848"/>
                    </a:lnTo>
                    <a:lnTo>
                      <a:pt x="0" y="1854"/>
                    </a:lnTo>
                    <a:lnTo>
                      <a:pt x="2452" y="0"/>
                    </a:lnTo>
                    <a:close/>
                  </a:path>
                </a:pathLst>
              </a:custGeom>
              <a:grpFill/>
              <a:ln w="5978" cap="flat">
                <a:noFill/>
                <a:prstDash val="solid"/>
                <a:miter/>
              </a:ln>
            </p:spPr>
            <p:txBody>
              <a:bodyPr rtlCol="0" anchor="ctr"/>
              <a:lstStyle/>
              <a:p>
                <a:endParaRPr lang="en-GB"/>
              </a:p>
            </p:txBody>
          </p:sp>
          <p:sp>
            <p:nvSpPr>
              <p:cNvPr id="3717" name="Vrije vorm: vorm 3716">
                <a:extLst>
                  <a:ext uri="{FF2B5EF4-FFF2-40B4-BE49-F238E27FC236}">
                    <a16:creationId xmlns:a16="http://schemas.microsoft.com/office/drawing/2014/main" id="{93F4CAFC-7364-465B-9C85-2A4FA51BA489}"/>
                  </a:ext>
                </a:extLst>
              </p:cNvPr>
              <p:cNvSpPr/>
              <p:nvPr/>
            </p:nvSpPr>
            <p:spPr>
              <a:xfrm>
                <a:off x="7091011" y="4839012"/>
                <a:ext cx="18343" cy="18421"/>
              </a:xfrm>
              <a:custGeom>
                <a:avLst/>
                <a:gdLst>
                  <a:gd name="connsiteX0" fmla="*/ 16558 w 18343"/>
                  <a:gd name="connsiteY0" fmla="*/ 3798 h 18421"/>
                  <a:gd name="connsiteX1" fmla="*/ 14584 w 18343"/>
                  <a:gd name="connsiteY1" fmla="*/ 16656 h 18421"/>
                  <a:gd name="connsiteX2" fmla="*/ 1786 w 18343"/>
                  <a:gd name="connsiteY2" fmla="*/ 14623 h 18421"/>
                  <a:gd name="connsiteX3" fmla="*/ 3759 w 18343"/>
                  <a:gd name="connsiteY3" fmla="*/ 1765 h 18421"/>
                  <a:gd name="connsiteX4" fmla="*/ 16558 w 1834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1">
                    <a:moveTo>
                      <a:pt x="16558" y="3798"/>
                    </a:moveTo>
                    <a:cubicBezTo>
                      <a:pt x="19548" y="7925"/>
                      <a:pt x="18711" y="13666"/>
                      <a:pt x="14584" y="16656"/>
                    </a:cubicBezTo>
                    <a:cubicBezTo>
                      <a:pt x="10517" y="19647"/>
                      <a:pt x="4776" y="18750"/>
                      <a:pt x="1786" y="14623"/>
                    </a:cubicBezTo>
                    <a:cubicBezTo>
                      <a:pt x="-1205" y="10497"/>
                      <a:pt x="-367" y="4755"/>
                      <a:pt x="3759" y="1765"/>
                    </a:cubicBezTo>
                    <a:cubicBezTo>
                      <a:pt x="7826" y="-1226"/>
                      <a:pt x="13567" y="-329"/>
                      <a:pt x="16558" y="3798"/>
                    </a:cubicBezTo>
                    <a:close/>
                  </a:path>
                </a:pathLst>
              </a:custGeom>
              <a:grpFill/>
              <a:ln w="5978" cap="flat">
                <a:noFill/>
                <a:prstDash val="solid"/>
                <a:miter/>
              </a:ln>
            </p:spPr>
            <p:txBody>
              <a:bodyPr rtlCol="0" anchor="ctr"/>
              <a:lstStyle/>
              <a:p>
                <a:endParaRPr lang="en-GB"/>
              </a:p>
            </p:txBody>
          </p:sp>
          <p:sp>
            <p:nvSpPr>
              <p:cNvPr id="3718" name="Vrije vorm: vorm 3717">
                <a:extLst>
                  <a:ext uri="{FF2B5EF4-FFF2-40B4-BE49-F238E27FC236}">
                    <a16:creationId xmlns:a16="http://schemas.microsoft.com/office/drawing/2014/main" id="{55419CA2-2255-4F86-BBA2-428FB168BCDA}"/>
                  </a:ext>
                </a:extLst>
              </p:cNvPr>
              <p:cNvSpPr/>
              <p:nvPr/>
            </p:nvSpPr>
            <p:spPr>
              <a:xfrm>
                <a:off x="7044798" y="4775735"/>
                <a:ext cx="18326" cy="18421"/>
              </a:xfrm>
              <a:custGeom>
                <a:avLst/>
                <a:gdLst>
                  <a:gd name="connsiteX0" fmla="*/ 16541 w 18326"/>
                  <a:gd name="connsiteY0" fmla="*/ 3798 h 18421"/>
                  <a:gd name="connsiteX1" fmla="*/ 3742 w 18326"/>
                  <a:gd name="connsiteY1" fmla="*/ 1765 h 18421"/>
                  <a:gd name="connsiteX2" fmla="*/ 1768 w 18326"/>
                  <a:gd name="connsiteY2" fmla="*/ 14623 h 18421"/>
                  <a:gd name="connsiteX3" fmla="*/ 14567 w 18326"/>
                  <a:gd name="connsiteY3" fmla="*/ 16656 h 18421"/>
                  <a:gd name="connsiteX4" fmla="*/ 16541 w 18326"/>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1">
                    <a:moveTo>
                      <a:pt x="16541" y="3798"/>
                    </a:moveTo>
                    <a:cubicBezTo>
                      <a:pt x="13550" y="-329"/>
                      <a:pt x="7809" y="-1226"/>
                      <a:pt x="3742" y="1765"/>
                    </a:cubicBezTo>
                    <a:cubicBezTo>
                      <a:pt x="-325" y="4755"/>
                      <a:pt x="-1222" y="10556"/>
                      <a:pt x="1768" y="14623"/>
                    </a:cubicBezTo>
                    <a:cubicBezTo>
                      <a:pt x="4759" y="18750"/>
                      <a:pt x="10500" y="19647"/>
                      <a:pt x="14567" y="16656"/>
                    </a:cubicBezTo>
                    <a:cubicBezTo>
                      <a:pt x="18694" y="13666"/>
                      <a:pt x="19531" y="7925"/>
                      <a:pt x="16541" y="3798"/>
                    </a:cubicBezTo>
                    <a:close/>
                  </a:path>
                </a:pathLst>
              </a:custGeom>
              <a:grpFill/>
              <a:ln w="5978" cap="flat">
                <a:noFill/>
                <a:prstDash val="solid"/>
                <a:miter/>
              </a:ln>
            </p:spPr>
            <p:txBody>
              <a:bodyPr rtlCol="0" anchor="ctr"/>
              <a:lstStyle/>
              <a:p>
                <a:endParaRPr lang="en-GB"/>
              </a:p>
            </p:txBody>
          </p:sp>
        </p:grpSp>
        <p:grpSp>
          <p:nvGrpSpPr>
            <p:cNvPr id="558" name="Graphic 3">
              <a:extLst>
                <a:ext uri="{FF2B5EF4-FFF2-40B4-BE49-F238E27FC236}">
                  <a16:creationId xmlns:a16="http://schemas.microsoft.com/office/drawing/2014/main" id="{4FA15DE6-FF18-4E4A-A497-D24021B92F6E}"/>
                </a:ext>
              </a:extLst>
            </p:cNvPr>
            <p:cNvGrpSpPr/>
            <p:nvPr/>
          </p:nvGrpSpPr>
          <p:grpSpPr>
            <a:xfrm>
              <a:off x="7106210" y="5043677"/>
              <a:ext cx="163482" cy="242284"/>
              <a:chOff x="7106210" y="5043677"/>
              <a:chExt cx="163482" cy="242284"/>
            </a:xfrm>
            <a:grpFill/>
          </p:grpSpPr>
          <p:sp>
            <p:nvSpPr>
              <p:cNvPr id="3713" name="Vrije vorm: vorm 3712">
                <a:extLst>
                  <a:ext uri="{FF2B5EF4-FFF2-40B4-BE49-F238E27FC236}">
                    <a16:creationId xmlns:a16="http://schemas.microsoft.com/office/drawing/2014/main" id="{EA3FF2AB-9AE7-4F91-86A0-C7C813147B73}"/>
                  </a:ext>
                </a:extLst>
              </p:cNvPr>
              <p:cNvSpPr/>
              <p:nvPr/>
            </p:nvSpPr>
            <p:spPr>
              <a:xfrm>
                <a:off x="7113909" y="5051656"/>
                <a:ext cx="148142" cy="226370"/>
              </a:xfrm>
              <a:custGeom>
                <a:avLst/>
                <a:gdLst>
                  <a:gd name="connsiteX0" fmla="*/ 148143 w 148142"/>
                  <a:gd name="connsiteY0" fmla="*/ 224696 h 226370"/>
                  <a:gd name="connsiteX1" fmla="*/ 145571 w 148142"/>
                  <a:gd name="connsiteY1" fmla="*/ 226370 h 226370"/>
                  <a:gd name="connsiteX2" fmla="*/ 0 w 148142"/>
                  <a:gd name="connsiteY2" fmla="*/ 1674 h 226370"/>
                  <a:gd name="connsiteX3" fmla="*/ 2511 w 148142"/>
                  <a:gd name="connsiteY3" fmla="*/ 0 h 226370"/>
                </a:gdLst>
                <a:ahLst/>
                <a:cxnLst>
                  <a:cxn ang="0">
                    <a:pos x="connsiteX0" y="connsiteY0"/>
                  </a:cxn>
                  <a:cxn ang="0">
                    <a:pos x="connsiteX1" y="connsiteY1"/>
                  </a:cxn>
                  <a:cxn ang="0">
                    <a:pos x="connsiteX2" y="connsiteY2"/>
                  </a:cxn>
                  <a:cxn ang="0">
                    <a:pos x="connsiteX3" y="connsiteY3"/>
                  </a:cxn>
                </a:cxnLst>
                <a:rect l="l" t="t" r="r" b="b"/>
                <a:pathLst>
                  <a:path w="148142" h="226370">
                    <a:moveTo>
                      <a:pt x="148143" y="224696"/>
                    </a:moveTo>
                    <a:lnTo>
                      <a:pt x="145571" y="226370"/>
                    </a:lnTo>
                    <a:lnTo>
                      <a:pt x="0" y="1674"/>
                    </a:lnTo>
                    <a:lnTo>
                      <a:pt x="2511" y="0"/>
                    </a:lnTo>
                    <a:close/>
                  </a:path>
                </a:pathLst>
              </a:custGeom>
              <a:grpFill/>
              <a:ln w="5978" cap="flat">
                <a:noFill/>
                <a:prstDash val="solid"/>
                <a:miter/>
              </a:ln>
            </p:spPr>
            <p:txBody>
              <a:bodyPr rtlCol="0" anchor="ctr"/>
              <a:lstStyle/>
              <a:p>
                <a:endParaRPr lang="en-GB"/>
              </a:p>
            </p:txBody>
          </p:sp>
          <p:sp>
            <p:nvSpPr>
              <p:cNvPr id="3714" name="Vrije vorm: vorm 3713">
                <a:extLst>
                  <a:ext uri="{FF2B5EF4-FFF2-40B4-BE49-F238E27FC236}">
                    <a16:creationId xmlns:a16="http://schemas.microsoft.com/office/drawing/2014/main" id="{F066CA4E-F52E-48B1-BCEC-A7C8AE83B815}"/>
                  </a:ext>
                </a:extLst>
              </p:cNvPr>
              <p:cNvSpPr/>
              <p:nvPr/>
            </p:nvSpPr>
            <p:spPr>
              <a:xfrm>
                <a:off x="7251420" y="5267535"/>
                <a:ext cx="18273" cy="18426"/>
              </a:xfrm>
              <a:custGeom>
                <a:avLst/>
                <a:gdLst>
                  <a:gd name="connsiteX0" fmla="*/ 16792 w 18273"/>
                  <a:gd name="connsiteY0" fmla="*/ 4212 h 18426"/>
                  <a:gd name="connsiteX1" fmla="*/ 14160 w 18273"/>
                  <a:gd name="connsiteY1" fmla="*/ 16951 h 18426"/>
                  <a:gd name="connsiteX2" fmla="*/ 1481 w 18273"/>
                  <a:gd name="connsiteY2" fmla="*/ 14200 h 18426"/>
                  <a:gd name="connsiteX3" fmla="*/ 4112 w 18273"/>
                  <a:gd name="connsiteY3" fmla="*/ 1461 h 18426"/>
                  <a:gd name="connsiteX4" fmla="*/ 16792 w 18273"/>
                  <a:gd name="connsiteY4" fmla="*/ 421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26">
                    <a:moveTo>
                      <a:pt x="16792" y="4212"/>
                    </a:moveTo>
                    <a:cubicBezTo>
                      <a:pt x="19543" y="8458"/>
                      <a:pt x="18347" y="14200"/>
                      <a:pt x="14160" y="16951"/>
                    </a:cubicBezTo>
                    <a:cubicBezTo>
                      <a:pt x="9914" y="19702"/>
                      <a:pt x="4232" y="18506"/>
                      <a:pt x="1481" y="14200"/>
                    </a:cubicBezTo>
                    <a:cubicBezTo>
                      <a:pt x="-1270" y="9953"/>
                      <a:pt x="-74" y="4212"/>
                      <a:pt x="4112" y="1461"/>
                    </a:cubicBezTo>
                    <a:cubicBezTo>
                      <a:pt x="8299" y="-1290"/>
                      <a:pt x="14041" y="-35"/>
                      <a:pt x="16792" y="4212"/>
                    </a:cubicBezTo>
                    <a:close/>
                  </a:path>
                </a:pathLst>
              </a:custGeom>
              <a:grpFill/>
              <a:ln w="5978" cap="flat">
                <a:noFill/>
                <a:prstDash val="solid"/>
                <a:miter/>
              </a:ln>
            </p:spPr>
            <p:txBody>
              <a:bodyPr rtlCol="0" anchor="ctr"/>
              <a:lstStyle/>
              <a:p>
                <a:endParaRPr lang="en-GB"/>
              </a:p>
            </p:txBody>
          </p:sp>
          <p:sp>
            <p:nvSpPr>
              <p:cNvPr id="3715" name="Vrije vorm: vorm 3714">
                <a:extLst>
                  <a:ext uri="{FF2B5EF4-FFF2-40B4-BE49-F238E27FC236}">
                    <a16:creationId xmlns:a16="http://schemas.microsoft.com/office/drawing/2014/main" id="{4A11684E-89A5-4499-88E2-2B93619C8C48}"/>
                  </a:ext>
                </a:extLst>
              </p:cNvPr>
              <p:cNvSpPr/>
              <p:nvPr/>
            </p:nvSpPr>
            <p:spPr>
              <a:xfrm>
                <a:off x="7106210" y="5043677"/>
                <a:ext cx="18369" cy="18411"/>
              </a:xfrm>
              <a:custGeom>
                <a:avLst/>
                <a:gdLst>
                  <a:gd name="connsiteX0" fmla="*/ 16849 w 18369"/>
                  <a:gd name="connsiteY0" fmla="*/ 4212 h 18411"/>
                  <a:gd name="connsiteX1" fmla="*/ 4170 w 18369"/>
                  <a:gd name="connsiteY1" fmla="*/ 1461 h 18411"/>
                  <a:gd name="connsiteX2" fmla="*/ 1478 w 18369"/>
                  <a:gd name="connsiteY2" fmla="*/ 14200 h 18411"/>
                  <a:gd name="connsiteX3" fmla="*/ 14158 w 18369"/>
                  <a:gd name="connsiteY3" fmla="*/ 16951 h 18411"/>
                  <a:gd name="connsiteX4" fmla="*/ 16849 w 18369"/>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1">
                    <a:moveTo>
                      <a:pt x="16849" y="4212"/>
                    </a:moveTo>
                    <a:cubicBezTo>
                      <a:pt x="14098" y="-35"/>
                      <a:pt x="8416" y="-1290"/>
                      <a:pt x="4170" y="1461"/>
                    </a:cubicBezTo>
                    <a:cubicBezTo>
                      <a:pt x="-77" y="4212"/>
                      <a:pt x="-1272" y="9953"/>
                      <a:pt x="1478" y="14200"/>
                    </a:cubicBezTo>
                    <a:cubicBezTo>
                      <a:pt x="4229" y="18446"/>
                      <a:pt x="9911" y="19702"/>
                      <a:pt x="14158" y="16951"/>
                    </a:cubicBezTo>
                    <a:cubicBezTo>
                      <a:pt x="18463" y="14200"/>
                      <a:pt x="19660" y="8458"/>
                      <a:pt x="16849" y="4212"/>
                    </a:cubicBezTo>
                    <a:close/>
                  </a:path>
                </a:pathLst>
              </a:custGeom>
              <a:grpFill/>
              <a:ln w="5978" cap="flat">
                <a:noFill/>
                <a:prstDash val="solid"/>
                <a:miter/>
              </a:ln>
            </p:spPr>
            <p:txBody>
              <a:bodyPr rtlCol="0" anchor="ctr"/>
              <a:lstStyle/>
              <a:p>
                <a:endParaRPr lang="en-GB"/>
              </a:p>
            </p:txBody>
          </p:sp>
        </p:grpSp>
        <p:grpSp>
          <p:nvGrpSpPr>
            <p:cNvPr id="559" name="Graphic 3">
              <a:extLst>
                <a:ext uri="{FF2B5EF4-FFF2-40B4-BE49-F238E27FC236}">
                  <a16:creationId xmlns:a16="http://schemas.microsoft.com/office/drawing/2014/main" id="{C5701AD1-877A-471E-A409-6C49DFAF7A07}"/>
                </a:ext>
              </a:extLst>
            </p:cNvPr>
            <p:cNvGrpSpPr/>
            <p:nvPr/>
          </p:nvGrpSpPr>
          <p:grpSpPr>
            <a:xfrm>
              <a:off x="7060943" y="4853422"/>
              <a:ext cx="58009" cy="74970"/>
              <a:chOff x="7060943" y="4853422"/>
              <a:chExt cx="58009" cy="74970"/>
            </a:xfrm>
            <a:grpFill/>
          </p:grpSpPr>
          <p:sp>
            <p:nvSpPr>
              <p:cNvPr id="3710" name="Vrije vorm: vorm 3709">
                <a:extLst>
                  <a:ext uri="{FF2B5EF4-FFF2-40B4-BE49-F238E27FC236}">
                    <a16:creationId xmlns:a16="http://schemas.microsoft.com/office/drawing/2014/main" id="{57F4B219-954F-42C6-859B-5081849A1A97}"/>
                  </a:ext>
                </a:extLst>
              </p:cNvPr>
              <p:cNvSpPr/>
              <p:nvPr/>
            </p:nvSpPr>
            <p:spPr>
              <a:xfrm>
                <a:off x="7068635" y="4861410"/>
                <a:ext cx="42642" cy="58969"/>
              </a:xfrm>
              <a:custGeom>
                <a:avLst/>
                <a:gdLst>
                  <a:gd name="connsiteX0" fmla="*/ 42643 w 42642"/>
                  <a:gd name="connsiteY0" fmla="*/ 57236 h 58969"/>
                  <a:gd name="connsiteX1" fmla="*/ 40191 w 42642"/>
                  <a:gd name="connsiteY1" fmla="*/ 58970 h 58969"/>
                  <a:gd name="connsiteX2" fmla="*/ 0 w 42642"/>
                  <a:gd name="connsiteY2" fmla="*/ 1734 h 58969"/>
                  <a:gd name="connsiteX3" fmla="*/ 2452 w 42642"/>
                  <a:gd name="connsiteY3" fmla="*/ 0 h 58969"/>
                </a:gdLst>
                <a:ahLst/>
                <a:cxnLst>
                  <a:cxn ang="0">
                    <a:pos x="connsiteX0" y="connsiteY0"/>
                  </a:cxn>
                  <a:cxn ang="0">
                    <a:pos x="connsiteX1" y="connsiteY1"/>
                  </a:cxn>
                  <a:cxn ang="0">
                    <a:pos x="connsiteX2" y="connsiteY2"/>
                  </a:cxn>
                  <a:cxn ang="0">
                    <a:pos x="connsiteX3" y="connsiteY3"/>
                  </a:cxn>
                </a:cxnLst>
                <a:rect l="l" t="t" r="r" b="b"/>
                <a:pathLst>
                  <a:path w="42642" h="58969">
                    <a:moveTo>
                      <a:pt x="42643" y="57236"/>
                    </a:moveTo>
                    <a:lnTo>
                      <a:pt x="40191" y="58970"/>
                    </a:lnTo>
                    <a:lnTo>
                      <a:pt x="0" y="1734"/>
                    </a:lnTo>
                    <a:lnTo>
                      <a:pt x="2452" y="0"/>
                    </a:lnTo>
                    <a:close/>
                  </a:path>
                </a:pathLst>
              </a:custGeom>
              <a:grpFill/>
              <a:ln w="5978" cap="flat">
                <a:noFill/>
                <a:prstDash val="solid"/>
                <a:miter/>
              </a:ln>
            </p:spPr>
            <p:txBody>
              <a:bodyPr rtlCol="0" anchor="ctr"/>
              <a:lstStyle/>
              <a:p>
                <a:endParaRPr lang="en-GB"/>
              </a:p>
            </p:txBody>
          </p:sp>
          <p:sp>
            <p:nvSpPr>
              <p:cNvPr id="3711" name="Vrije vorm: vorm 3710">
                <a:extLst>
                  <a:ext uri="{FF2B5EF4-FFF2-40B4-BE49-F238E27FC236}">
                    <a16:creationId xmlns:a16="http://schemas.microsoft.com/office/drawing/2014/main" id="{B31E0816-7248-4A18-B468-5A7E4930773A}"/>
                  </a:ext>
                </a:extLst>
              </p:cNvPr>
              <p:cNvSpPr/>
              <p:nvPr/>
            </p:nvSpPr>
            <p:spPr>
              <a:xfrm>
                <a:off x="7100552" y="4909914"/>
                <a:ext cx="18399" cy="18479"/>
              </a:xfrm>
              <a:custGeom>
                <a:avLst/>
                <a:gdLst>
                  <a:gd name="connsiteX0" fmla="*/ 16705 w 18399"/>
                  <a:gd name="connsiteY0" fmla="*/ 3946 h 18479"/>
                  <a:gd name="connsiteX1" fmla="*/ 14493 w 18399"/>
                  <a:gd name="connsiteY1" fmla="*/ 16805 h 18479"/>
                  <a:gd name="connsiteX2" fmla="*/ 1694 w 18399"/>
                  <a:gd name="connsiteY2" fmla="*/ 14532 h 18479"/>
                  <a:gd name="connsiteX3" fmla="*/ 3907 w 18399"/>
                  <a:gd name="connsiteY3" fmla="*/ 1674 h 18479"/>
                  <a:gd name="connsiteX4" fmla="*/ 16705 w 18399"/>
                  <a:gd name="connsiteY4" fmla="*/ 3946 h 1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79">
                    <a:moveTo>
                      <a:pt x="16705" y="3946"/>
                    </a:moveTo>
                    <a:cubicBezTo>
                      <a:pt x="19636" y="8133"/>
                      <a:pt x="18680" y="13875"/>
                      <a:pt x="14493" y="16805"/>
                    </a:cubicBezTo>
                    <a:cubicBezTo>
                      <a:pt x="10366" y="19736"/>
                      <a:pt x="4625" y="18719"/>
                      <a:pt x="1694" y="14532"/>
                    </a:cubicBezTo>
                    <a:cubicBezTo>
                      <a:pt x="-1237" y="10346"/>
                      <a:pt x="-280" y="4605"/>
                      <a:pt x="3907" y="1674"/>
                    </a:cubicBezTo>
                    <a:cubicBezTo>
                      <a:pt x="8094" y="-1257"/>
                      <a:pt x="13775" y="-240"/>
                      <a:pt x="16705" y="3946"/>
                    </a:cubicBezTo>
                    <a:close/>
                  </a:path>
                </a:pathLst>
              </a:custGeom>
              <a:grpFill/>
              <a:ln w="5978" cap="flat">
                <a:noFill/>
                <a:prstDash val="solid"/>
                <a:miter/>
              </a:ln>
            </p:spPr>
            <p:txBody>
              <a:bodyPr rtlCol="0" anchor="ctr"/>
              <a:lstStyle/>
              <a:p>
                <a:endParaRPr lang="en-GB"/>
              </a:p>
            </p:txBody>
          </p:sp>
          <p:sp>
            <p:nvSpPr>
              <p:cNvPr id="3712" name="Vrije vorm: vorm 3711">
                <a:extLst>
                  <a:ext uri="{FF2B5EF4-FFF2-40B4-BE49-F238E27FC236}">
                    <a16:creationId xmlns:a16="http://schemas.microsoft.com/office/drawing/2014/main" id="{B51C7BC5-C52D-4465-B845-F5E68F59D596}"/>
                  </a:ext>
                </a:extLst>
              </p:cNvPr>
              <p:cNvSpPr/>
              <p:nvPr/>
            </p:nvSpPr>
            <p:spPr>
              <a:xfrm>
                <a:off x="7060943" y="4853422"/>
                <a:ext cx="18356" cy="18426"/>
              </a:xfrm>
              <a:custGeom>
                <a:avLst/>
                <a:gdLst>
                  <a:gd name="connsiteX0" fmla="*/ 16663 w 18356"/>
                  <a:gd name="connsiteY0" fmla="*/ 3921 h 18426"/>
                  <a:gd name="connsiteX1" fmla="*/ 3865 w 18356"/>
                  <a:gd name="connsiteY1" fmla="*/ 1648 h 18426"/>
                  <a:gd name="connsiteX2" fmla="*/ 1651 w 18356"/>
                  <a:gd name="connsiteY2" fmla="*/ 14506 h 18426"/>
                  <a:gd name="connsiteX3" fmla="*/ 14450 w 18356"/>
                  <a:gd name="connsiteY3" fmla="*/ 16779 h 18426"/>
                  <a:gd name="connsiteX4" fmla="*/ 16663 w 18356"/>
                  <a:gd name="connsiteY4" fmla="*/ 3921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6">
                    <a:moveTo>
                      <a:pt x="16663" y="3921"/>
                    </a:moveTo>
                    <a:cubicBezTo>
                      <a:pt x="13732" y="-266"/>
                      <a:pt x="7991" y="-1223"/>
                      <a:pt x="3865" y="1648"/>
                    </a:cubicBezTo>
                    <a:cubicBezTo>
                      <a:pt x="-262" y="4578"/>
                      <a:pt x="-1220" y="10320"/>
                      <a:pt x="1651" y="14506"/>
                    </a:cubicBezTo>
                    <a:cubicBezTo>
                      <a:pt x="4522" y="18693"/>
                      <a:pt x="10324" y="19650"/>
                      <a:pt x="14450" y="16779"/>
                    </a:cubicBezTo>
                    <a:cubicBezTo>
                      <a:pt x="18637" y="13848"/>
                      <a:pt x="19593" y="8107"/>
                      <a:pt x="16663" y="3921"/>
                    </a:cubicBezTo>
                    <a:close/>
                  </a:path>
                </a:pathLst>
              </a:custGeom>
              <a:grpFill/>
              <a:ln w="5978" cap="flat">
                <a:noFill/>
                <a:prstDash val="solid"/>
                <a:miter/>
              </a:ln>
            </p:spPr>
            <p:txBody>
              <a:bodyPr rtlCol="0" anchor="ctr"/>
              <a:lstStyle/>
              <a:p>
                <a:endParaRPr lang="en-GB"/>
              </a:p>
            </p:txBody>
          </p:sp>
        </p:grpSp>
        <p:grpSp>
          <p:nvGrpSpPr>
            <p:cNvPr id="560" name="Graphic 3">
              <a:extLst>
                <a:ext uri="{FF2B5EF4-FFF2-40B4-BE49-F238E27FC236}">
                  <a16:creationId xmlns:a16="http://schemas.microsoft.com/office/drawing/2014/main" id="{23E1800D-A112-41A6-8945-3CC3699A5B01}"/>
                </a:ext>
              </a:extLst>
            </p:cNvPr>
            <p:cNvGrpSpPr/>
            <p:nvPr/>
          </p:nvGrpSpPr>
          <p:grpSpPr>
            <a:xfrm>
              <a:off x="5957645" y="1532051"/>
              <a:ext cx="22807" cy="113594"/>
              <a:chOff x="5957645" y="1532051"/>
              <a:chExt cx="22807" cy="113594"/>
            </a:xfrm>
            <a:grpFill/>
          </p:grpSpPr>
          <p:sp>
            <p:nvSpPr>
              <p:cNvPr id="3707" name="Vrije vorm: vorm 3706">
                <a:extLst>
                  <a:ext uri="{FF2B5EF4-FFF2-40B4-BE49-F238E27FC236}">
                    <a16:creationId xmlns:a16="http://schemas.microsoft.com/office/drawing/2014/main" id="{35297B01-BBD4-4C28-8C08-E5D7B96D9506}"/>
                  </a:ext>
                </a:extLst>
              </p:cNvPr>
              <p:cNvSpPr/>
              <p:nvPr/>
            </p:nvSpPr>
            <p:spPr>
              <a:xfrm>
                <a:off x="5965311" y="1540794"/>
                <a:ext cx="7535" cy="96170"/>
              </a:xfrm>
              <a:custGeom>
                <a:avLst/>
                <a:gdLst>
                  <a:gd name="connsiteX0" fmla="*/ 2990 w 7535"/>
                  <a:gd name="connsiteY0" fmla="*/ 0 h 96170"/>
                  <a:gd name="connsiteX1" fmla="*/ 7536 w 7535"/>
                  <a:gd name="connsiteY1" fmla="*/ 96050 h 96170"/>
                  <a:gd name="connsiteX2" fmla="*/ 4486 w 7535"/>
                  <a:gd name="connsiteY2" fmla="*/ 96170 h 96170"/>
                  <a:gd name="connsiteX3" fmla="*/ 0 w 7535"/>
                  <a:gd name="connsiteY3" fmla="*/ 120 h 96170"/>
                </a:gdLst>
                <a:ahLst/>
                <a:cxnLst>
                  <a:cxn ang="0">
                    <a:pos x="connsiteX0" y="connsiteY0"/>
                  </a:cxn>
                  <a:cxn ang="0">
                    <a:pos x="connsiteX1" y="connsiteY1"/>
                  </a:cxn>
                  <a:cxn ang="0">
                    <a:pos x="connsiteX2" y="connsiteY2"/>
                  </a:cxn>
                  <a:cxn ang="0">
                    <a:pos x="connsiteX3" y="connsiteY3"/>
                  </a:cxn>
                </a:cxnLst>
                <a:rect l="l" t="t" r="r" b="b"/>
                <a:pathLst>
                  <a:path w="7535" h="96170">
                    <a:moveTo>
                      <a:pt x="2990" y="0"/>
                    </a:moveTo>
                    <a:lnTo>
                      <a:pt x="7536" y="96050"/>
                    </a:lnTo>
                    <a:lnTo>
                      <a:pt x="4486" y="96170"/>
                    </a:lnTo>
                    <a:lnTo>
                      <a:pt x="0" y="120"/>
                    </a:lnTo>
                    <a:close/>
                  </a:path>
                </a:pathLst>
              </a:custGeom>
              <a:grpFill/>
              <a:ln w="5978" cap="flat">
                <a:noFill/>
                <a:prstDash val="solid"/>
                <a:miter/>
              </a:ln>
            </p:spPr>
            <p:txBody>
              <a:bodyPr rtlCol="0" anchor="ctr"/>
              <a:lstStyle/>
              <a:p>
                <a:endParaRPr lang="en-GB"/>
              </a:p>
            </p:txBody>
          </p:sp>
          <p:sp>
            <p:nvSpPr>
              <p:cNvPr id="3708" name="Vrije vorm: vorm 3707">
                <a:extLst>
                  <a:ext uri="{FF2B5EF4-FFF2-40B4-BE49-F238E27FC236}">
                    <a16:creationId xmlns:a16="http://schemas.microsoft.com/office/drawing/2014/main" id="{412FD8C8-D484-4BA3-84F3-2C1DEA301EF9}"/>
                  </a:ext>
                </a:extLst>
              </p:cNvPr>
              <p:cNvSpPr/>
              <p:nvPr/>
            </p:nvSpPr>
            <p:spPr>
              <a:xfrm>
                <a:off x="5957645" y="1532051"/>
                <a:ext cx="18321" cy="18441"/>
              </a:xfrm>
              <a:custGeom>
                <a:avLst/>
                <a:gdLst>
                  <a:gd name="connsiteX0" fmla="*/ 10 w 18321"/>
                  <a:gd name="connsiteY0" fmla="*/ 9639 h 18441"/>
                  <a:gd name="connsiteX1" fmla="*/ 8742 w 18321"/>
                  <a:gd name="connsiteY1" fmla="*/ 10 h 18441"/>
                  <a:gd name="connsiteX2" fmla="*/ 18311 w 18321"/>
                  <a:gd name="connsiteY2" fmla="*/ 8802 h 18441"/>
                  <a:gd name="connsiteX3" fmla="*/ 9579 w 18321"/>
                  <a:gd name="connsiteY3" fmla="*/ 18431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29" y="4556"/>
                      <a:pt x="3659" y="250"/>
                      <a:pt x="8742" y="10"/>
                    </a:cubicBezTo>
                    <a:cubicBezTo>
                      <a:pt x="13826" y="-229"/>
                      <a:pt x="18072" y="3718"/>
                      <a:pt x="18311" y="8802"/>
                    </a:cubicBezTo>
                    <a:cubicBezTo>
                      <a:pt x="18551" y="13886"/>
                      <a:pt x="14663" y="18192"/>
                      <a:pt x="9579" y="18431"/>
                    </a:cubicBezTo>
                    <a:cubicBezTo>
                      <a:pt x="4556" y="18670"/>
                      <a:pt x="250" y="14723"/>
                      <a:pt x="10" y="9639"/>
                    </a:cubicBezTo>
                    <a:close/>
                  </a:path>
                </a:pathLst>
              </a:custGeom>
              <a:grpFill/>
              <a:ln w="5978" cap="flat">
                <a:noFill/>
                <a:prstDash val="solid"/>
                <a:miter/>
              </a:ln>
            </p:spPr>
            <p:txBody>
              <a:bodyPr rtlCol="0" anchor="ctr"/>
              <a:lstStyle/>
              <a:p>
                <a:endParaRPr lang="en-GB"/>
              </a:p>
            </p:txBody>
          </p:sp>
          <p:sp>
            <p:nvSpPr>
              <p:cNvPr id="3709" name="Vrije vorm: vorm 3708">
                <a:extLst>
                  <a:ext uri="{FF2B5EF4-FFF2-40B4-BE49-F238E27FC236}">
                    <a16:creationId xmlns:a16="http://schemas.microsoft.com/office/drawing/2014/main" id="{6C7B297B-4088-49AF-A98E-1EE057C48C98}"/>
                  </a:ext>
                </a:extLst>
              </p:cNvPr>
              <p:cNvSpPr/>
              <p:nvPr/>
            </p:nvSpPr>
            <p:spPr>
              <a:xfrm>
                <a:off x="5962131" y="1627205"/>
                <a:ext cx="18321" cy="18441"/>
              </a:xfrm>
              <a:custGeom>
                <a:avLst/>
                <a:gdLst>
                  <a:gd name="connsiteX0" fmla="*/ 10 w 18321"/>
                  <a:gd name="connsiteY0" fmla="*/ 9639 h 18441"/>
                  <a:gd name="connsiteX1" fmla="*/ 9579 w 18321"/>
                  <a:gd name="connsiteY1" fmla="*/ 18431 h 18441"/>
                  <a:gd name="connsiteX2" fmla="*/ 18311 w 18321"/>
                  <a:gd name="connsiteY2" fmla="*/ 8802 h 18441"/>
                  <a:gd name="connsiteX3" fmla="*/ 8742 w 18321"/>
                  <a:gd name="connsiteY3" fmla="*/ 10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49" y="14723"/>
                      <a:pt x="4556" y="18670"/>
                      <a:pt x="9579" y="18431"/>
                    </a:cubicBezTo>
                    <a:cubicBezTo>
                      <a:pt x="14663" y="18192"/>
                      <a:pt x="18550" y="13886"/>
                      <a:pt x="18311" y="8802"/>
                    </a:cubicBezTo>
                    <a:cubicBezTo>
                      <a:pt x="18072" y="3718"/>
                      <a:pt x="13766" y="-229"/>
                      <a:pt x="8742" y="10"/>
                    </a:cubicBezTo>
                    <a:cubicBezTo>
                      <a:pt x="3718" y="250"/>
                      <a:pt x="-229" y="4556"/>
                      <a:pt x="10" y="9639"/>
                    </a:cubicBezTo>
                    <a:close/>
                  </a:path>
                </a:pathLst>
              </a:custGeom>
              <a:grpFill/>
              <a:ln w="5978" cap="flat">
                <a:noFill/>
                <a:prstDash val="solid"/>
                <a:miter/>
              </a:ln>
            </p:spPr>
            <p:txBody>
              <a:bodyPr rtlCol="0" anchor="ctr"/>
              <a:lstStyle/>
              <a:p>
                <a:endParaRPr lang="en-GB"/>
              </a:p>
            </p:txBody>
          </p:sp>
        </p:grpSp>
        <p:grpSp>
          <p:nvGrpSpPr>
            <p:cNvPr id="561" name="Graphic 3">
              <a:extLst>
                <a:ext uri="{FF2B5EF4-FFF2-40B4-BE49-F238E27FC236}">
                  <a16:creationId xmlns:a16="http://schemas.microsoft.com/office/drawing/2014/main" id="{DEA32474-A5B7-4FE7-AFD5-601420B0ED6B}"/>
                </a:ext>
              </a:extLst>
            </p:cNvPr>
            <p:cNvGrpSpPr/>
            <p:nvPr/>
          </p:nvGrpSpPr>
          <p:grpSpPr>
            <a:xfrm>
              <a:off x="5914631" y="1407766"/>
              <a:ext cx="26833" cy="148414"/>
              <a:chOff x="5914631" y="1407766"/>
              <a:chExt cx="26833" cy="148414"/>
            </a:xfrm>
            <a:grpFill/>
          </p:grpSpPr>
          <p:sp>
            <p:nvSpPr>
              <p:cNvPr id="3704" name="Vrije vorm: vorm 3703">
                <a:extLst>
                  <a:ext uri="{FF2B5EF4-FFF2-40B4-BE49-F238E27FC236}">
                    <a16:creationId xmlns:a16="http://schemas.microsoft.com/office/drawing/2014/main" id="{D24D4986-796E-478A-9BF5-B73CB60E0CF7}"/>
                  </a:ext>
                </a:extLst>
              </p:cNvPr>
              <p:cNvSpPr/>
              <p:nvPr/>
            </p:nvSpPr>
            <p:spPr>
              <a:xfrm>
                <a:off x="5922250" y="1416395"/>
                <a:ext cx="11602" cy="131097"/>
              </a:xfrm>
              <a:custGeom>
                <a:avLst/>
                <a:gdLst>
                  <a:gd name="connsiteX0" fmla="*/ 2990 w 11602"/>
                  <a:gd name="connsiteY0" fmla="*/ 0 h 131097"/>
                  <a:gd name="connsiteX1" fmla="*/ 11603 w 11602"/>
                  <a:gd name="connsiteY1" fmla="*/ 130918 h 131097"/>
                  <a:gd name="connsiteX2" fmla="*/ 8552 w 11602"/>
                  <a:gd name="connsiteY2" fmla="*/ 131097 h 131097"/>
                  <a:gd name="connsiteX3" fmla="*/ 0 w 11602"/>
                  <a:gd name="connsiteY3" fmla="*/ 179 h 131097"/>
                </a:gdLst>
                <a:ahLst/>
                <a:cxnLst>
                  <a:cxn ang="0">
                    <a:pos x="connsiteX0" y="connsiteY0"/>
                  </a:cxn>
                  <a:cxn ang="0">
                    <a:pos x="connsiteX1" y="connsiteY1"/>
                  </a:cxn>
                  <a:cxn ang="0">
                    <a:pos x="connsiteX2" y="connsiteY2"/>
                  </a:cxn>
                  <a:cxn ang="0">
                    <a:pos x="connsiteX3" y="connsiteY3"/>
                  </a:cxn>
                </a:cxnLst>
                <a:rect l="l" t="t" r="r" b="b"/>
                <a:pathLst>
                  <a:path w="11602" h="131097">
                    <a:moveTo>
                      <a:pt x="2990" y="0"/>
                    </a:moveTo>
                    <a:lnTo>
                      <a:pt x="11603" y="130918"/>
                    </a:lnTo>
                    <a:lnTo>
                      <a:pt x="8552" y="131097"/>
                    </a:lnTo>
                    <a:lnTo>
                      <a:pt x="0" y="179"/>
                    </a:lnTo>
                    <a:close/>
                  </a:path>
                </a:pathLst>
              </a:custGeom>
              <a:grpFill/>
              <a:ln w="5978" cap="flat">
                <a:noFill/>
                <a:prstDash val="solid"/>
                <a:miter/>
              </a:ln>
            </p:spPr>
            <p:txBody>
              <a:bodyPr rtlCol="0" anchor="ctr"/>
              <a:lstStyle/>
              <a:p>
                <a:endParaRPr lang="en-GB"/>
              </a:p>
            </p:txBody>
          </p:sp>
          <p:sp>
            <p:nvSpPr>
              <p:cNvPr id="3705" name="Vrije vorm: vorm 3704">
                <a:extLst>
                  <a:ext uri="{FF2B5EF4-FFF2-40B4-BE49-F238E27FC236}">
                    <a16:creationId xmlns:a16="http://schemas.microsoft.com/office/drawing/2014/main" id="{86F4296E-DF9D-418F-B299-54B477B1E122}"/>
                  </a:ext>
                </a:extLst>
              </p:cNvPr>
              <p:cNvSpPr/>
              <p:nvPr/>
            </p:nvSpPr>
            <p:spPr>
              <a:xfrm>
                <a:off x="5914631" y="1407766"/>
                <a:ext cx="18347" cy="18393"/>
              </a:xfrm>
              <a:custGeom>
                <a:avLst/>
                <a:gdLst>
                  <a:gd name="connsiteX0" fmla="*/ 23 w 18347"/>
                  <a:gd name="connsiteY0" fmla="*/ 9765 h 18393"/>
                  <a:gd name="connsiteX1" fmla="*/ 8576 w 18347"/>
                  <a:gd name="connsiteY1" fmla="*/ 16 h 18393"/>
                  <a:gd name="connsiteX2" fmla="*/ 18324 w 18347"/>
                  <a:gd name="connsiteY2" fmla="*/ 8629 h 18393"/>
                  <a:gd name="connsiteX3" fmla="*/ 9772 w 18347"/>
                  <a:gd name="connsiteY3" fmla="*/ 18377 h 18393"/>
                  <a:gd name="connsiteX4" fmla="*/ 23 w 18347"/>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393">
                    <a:moveTo>
                      <a:pt x="23" y="9765"/>
                    </a:moveTo>
                    <a:cubicBezTo>
                      <a:pt x="-336" y="4681"/>
                      <a:pt x="3492" y="315"/>
                      <a:pt x="8576" y="16"/>
                    </a:cubicBezTo>
                    <a:cubicBezTo>
                      <a:pt x="13600" y="-283"/>
                      <a:pt x="17965" y="3545"/>
                      <a:pt x="18324" y="8629"/>
                    </a:cubicBezTo>
                    <a:cubicBezTo>
                      <a:pt x="18683" y="13712"/>
                      <a:pt x="14855" y="18078"/>
                      <a:pt x="9772" y="18377"/>
                    </a:cubicBezTo>
                    <a:cubicBezTo>
                      <a:pt x="4688" y="18676"/>
                      <a:pt x="322" y="14849"/>
                      <a:pt x="23" y="9765"/>
                    </a:cubicBezTo>
                    <a:close/>
                  </a:path>
                </a:pathLst>
              </a:custGeom>
              <a:grpFill/>
              <a:ln w="5978" cap="flat">
                <a:noFill/>
                <a:prstDash val="solid"/>
                <a:miter/>
              </a:ln>
            </p:spPr>
            <p:txBody>
              <a:bodyPr rtlCol="0" anchor="ctr"/>
              <a:lstStyle/>
              <a:p>
                <a:endParaRPr lang="en-GB"/>
              </a:p>
            </p:txBody>
          </p:sp>
          <p:sp>
            <p:nvSpPr>
              <p:cNvPr id="3706" name="Vrije vorm: vorm 3705">
                <a:extLst>
                  <a:ext uri="{FF2B5EF4-FFF2-40B4-BE49-F238E27FC236}">
                    <a16:creationId xmlns:a16="http://schemas.microsoft.com/office/drawing/2014/main" id="{AB0C8E44-7FE7-4A28-81CD-AA3FFF802C34}"/>
                  </a:ext>
                </a:extLst>
              </p:cNvPr>
              <p:cNvSpPr/>
              <p:nvPr/>
            </p:nvSpPr>
            <p:spPr>
              <a:xfrm>
                <a:off x="5923131" y="1537787"/>
                <a:ext cx="18333" cy="18393"/>
              </a:xfrm>
              <a:custGeom>
                <a:avLst/>
                <a:gdLst>
                  <a:gd name="connsiteX0" fmla="*/ 16 w 18333"/>
                  <a:gd name="connsiteY0" fmla="*/ 9765 h 18393"/>
                  <a:gd name="connsiteX1" fmla="*/ 9765 w 18333"/>
                  <a:gd name="connsiteY1" fmla="*/ 18377 h 18393"/>
                  <a:gd name="connsiteX2" fmla="*/ 18317 w 18333"/>
                  <a:gd name="connsiteY2" fmla="*/ 8629 h 18393"/>
                  <a:gd name="connsiteX3" fmla="*/ 8569 w 18333"/>
                  <a:gd name="connsiteY3" fmla="*/ 16 h 18393"/>
                  <a:gd name="connsiteX4" fmla="*/ 16 w 18333"/>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6" y="9765"/>
                    </a:moveTo>
                    <a:cubicBezTo>
                      <a:pt x="375" y="14849"/>
                      <a:pt x="4741" y="18676"/>
                      <a:pt x="9765" y="18377"/>
                    </a:cubicBezTo>
                    <a:cubicBezTo>
                      <a:pt x="14789" y="18078"/>
                      <a:pt x="18617" y="13712"/>
                      <a:pt x="18317" y="8629"/>
                    </a:cubicBezTo>
                    <a:cubicBezTo>
                      <a:pt x="17959" y="3545"/>
                      <a:pt x="13593" y="-283"/>
                      <a:pt x="8569" y="16"/>
                    </a:cubicBezTo>
                    <a:cubicBezTo>
                      <a:pt x="3545" y="315"/>
                      <a:pt x="-283" y="4681"/>
                      <a:pt x="16" y="9765"/>
                    </a:cubicBezTo>
                    <a:close/>
                  </a:path>
                </a:pathLst>
              </a:custGeom>
              <a:grpFill/>
              <a:ln w="5978" cap="flat">
                <a:noFill/>
                <a:prstDash val="solid"/>
                <a:miter/>
              </a:ln>
            </p:spPr>
            <p:txBody>
              <a:bodyPr rtlCol="0" anchor="ctr"/>
              <a:lstStyle/>
              <a:p>
                <a:endParaRPr lang="en-GB"/>
              </a:p>
            </p:txBody>
          </p:sp>
        </p:grpSp>
        <p:grpSp>
          <p:nvGrpSpPr>
            <p:cNvPr id="562" name="Graphic 3">
              <a:extLst>
                <a:ext uri="{FF2B5EF4-FFF2-40B4-BE49-F238E27FC236}">
                  <a16:creationId xmlns:a16="http://schemas.microsoft.com/office/drawing/2014/main" id="{28778F56-EDA3-4CCB-8ED6-35A8831782DA}"/>
                </a:ext>
              </a:extLst>
            </p:cNvPr>
            <p:cNvGrpSpPr/>
            <p:nvPr/>
          </p:nvGrpSpPr>
          <p:grpSpPr>
            <a:xfrm>
              <a:off x="5995750" y="1646171"/>
              <a:ext cx="20638" cy="98746"/>
              <a:chOff x="5995750" y="1646171"/>
              <a:chExt cx="20638" cy="98746"/>
            </a:xfrm>
            <a:grpFill/>
          </p:grpSpPr>
          <p:sp>
            <p:nvSpPr>
              <p:cNvPr id="3701" name="Vrije vorm: vorm 3700">
                <a:extLst>
                  <a:ext uri="{FF2B5EF4-FFF2-40B4-BE49-F238E27FC236}">
                    <a16:creationId xmlns:a16="http://schemas.microsoft.com/office/drawing/2014/main" id="{5C87CD9A-8578-48B6-9604-DECC9124BA7E}"/>
                  </a:ext>
                </a:extLst>
              </p:cNvPr>
              <p:cNvSpPr/>
              <p:nvPr/>
            </p:nvSpPr>
            <p:spPr>
              <a:xfrm>
                <a:off x="6003409" y="1654906"/>
                <a:ext cx="5322" cy="81337"/>
              </a:xfrm>
              <a:custGeom>
                <a:avLst/>
                <a:gdLst>
                  <a:gd name="connsiteX0" fmla="*/ 2990 w 5322"/>
                  <a:gd name="connsiteY0" fmla="*/ 0 h 81337"/>
                  <a:gd name="connsiteX1" fmla="*/ 5323 w 5322"/>
                  <a:gd name="connsiteY1" fmla="*/ 81278 h 81337"/>
                  <a:gd name="connsiteX2" fmla="*/ 2272 w 5322"/>
                  <a:gd name="connsiteY2" fmla="*/ 81338 h 81337"/>
                  <a:gd name="connsiteX3" fmla="*/ 0 w 5322"/>
                  <a:gd name="connsiteY3" fmla="*/ 60 h 81337"/>
                </a:gdLst>
                <a:ahLst/>
                <a:cxnLst>
                  <a:cxn ang="0">
                    <a:pos x="connsiteX0" y="connsiteY0"/>
                  </a:cxn>
                  <a:cxn ang="0">
                    <a:pos x="connsiteX1" y="connsiteY1"/>
                  </a:cxn>
                  <a:cxn ang="0">
                    <a:pos x="connsiteX2" y="connsiteY2"/>
                  </a:cxn>
                  <a:cxn ang="0">
                    <a:pos x="connsiteX3" y="connsiteY3"/>
                  </a:cxn>
                </a:cxnLst>
                <a:rect l="l" t="t" r="r" b="b"/>
                <a:pathLst>
                  <a:path w="5322" h="81337">
                    <a:moveTo>
                      <a:pt x="2990" y="0"/>
                    </a:moveTo>
                    <a:lnTo>
                      <a:pt x="5323" y="81278"/>
                    </a:lnTo>
                    <a:lnTo>
                      <a:pt x="2272" y="81338"/>
                    </a:lnTo>
                    <a:lnTo>
                      <a:pt x="0" y="60"/>
                    </a:lnTo>
                    <a:close/>
                  </a:path>
                </a:pathLst>
              </a:custGeom>
              <a:grpFill/>
              <a:ln w="5978" cap="flat">
                <a:noFill/>
                <a:prstDash val="solid"/>
                <a:miter/>
              </a:ln>
            </p:spPr>
            <p:txBody>
              <a:bodyPr rtlCol="0" anchor="ctr"/>
              <a:lstStyle/>
              <a:p>
                <a:endParaRPr lang="en-GB"/>
              </a:p>
            </p:txBody>
          </p:sp>
          <p:sp>
            <p:nvSpPr>
              <p:cNvPr id="3702" name="Vrije vorm: vorm 3701">
                <a:extLst>
                  <a:ext uri="{FF2B5EF4-FFF2-40B4-BE49-F238E27FC236}">
                    <a16:creationId xmlns:a16="http://schemas.microsoft.com/office/drawing/2014/main" id="{F3876676-EB9C-4943-9884-75859A42AD97}"/>
                  </a:ext>
                </a:extLst>
              </p:cNvPr>
              <p:cNvSpPr/>
              <p:nvPr/>
            </p:nvSpPr>
            <p:spPr>
              <a:xfrm>
                <a:off x="5995750" y="1646171"/>
                <a:ext cx="18366" cy="18425"/>
              </a:xfrm>
              <a:custGeom>
                <a:avLst/>
                <a:gdLst>
                  <a:gd name="connsiteX0" fmla="*/ 3 w 18366"/>
                  <a:gd name="connsiteY0" fmla="*/ 9452 h 18425"/>
                  <a:gd name="connsiteX1" fmla="*/ 8914 w 18366"/>
                  <a:gd name="connsiteY1" fmla="*/ 3 h 18425"/>
                  <a:gd name="connsiteX2" fmla="*/ 18364 w 18366"/>
                  <a:gd name="connsiteY2" fmla="*/ 8974 h 18425"/>
                  <a:gd name="connsiteX3" fmla="*/ 9452 w 18366"/>
                  <a:gd name="connsiteY3" fmla="*/ 1842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17" y="4369"/>
                      <a:pt x="3830" y="122"/>
                      <a:pt x="8914" y="3"/>
                    </a:cubicBezTo>
                    <a:cubicBezTo>
                      <a:pt x="13998" y="-117"/>
                      <a:pt x="18184" y="3890"/>
                      <a:pt x="18364" y="8974"/>
                    </a:cubicBezTo>
                    <a:cubicBezTo>
                      <a:pt x="18483" y="14057"/>
                      <a:pt x="14536" y="18304"/>
                      <a:pt x="9452" y="18423"/>
                    </a:cubicBezTo>
                    <a:cubicBezTo>
                      <a:pt x="4368" y="18543"/>
                      <a:pt x="182" y="14536"/>
                      <a:pt x="3" y="9452"/>
                    </a:cubicBezTo>
                    <a:close/>
                  </a:path>
                </a:pathLst>
              </a:custGeom>
              <a:grpFill/>
              <a:ln w="5978" cap="flat">
                <a:noFill/>
                <a:prstDash val="solid"/>
                <a:miter/>
              </a:ln>
            </p:spPr>
            <p:txBody>
              <a:bodyPr rtlCol="0" anchor="ctr"/>
              <a:lstStyle/>
              <a:p>
                <a:endParaRPr lang="en-GB"/>
              </a:p>
            </p:txBody>
          </p:sp>
          <p:sp>
            <p:nvSpPr>
              <p:cNvPr id="3703" name="Vrije vorm: vorm 3702">
                <a:extLst>
                  <a:ext uri="{FF2B5EF4-FFF2-40B4-BE49-F238E27FC236}">
                    <a16:creationId xmlns:a16="http://schemas.microsoft.com/office/drawing/2014/main" id="{116802D1-9044-45FE-8758-75EC5551F60F}"/>
                  </a:ext>
                </a:extLst>
              </p:cNvPr>
              <p:cNvSpPr/>
              <p:nvPr/>
            </p:nvSpPr>
            <p:spPr>
              <a:xfrm>
                <a:off x="5998023" y="1726492"/>
                <a:ext cx="18366" cy="18425"/>
              </a:xfrm>
              <a:custGeom>
                <a:avLst/>
                <a:gdLst>
                  <a:gd name="connsiteX0" fmla="*/ 3 w 18366"/>
                  <a:gd name="connsiteY0" fmla="*/ 9452 h 18425"/>
                  <a:gd name="connsiteX1" fmla="*/ 9452 w 18366"/>
                  <a:gd name="connsiteY1" fmla="*/ 18423 h 18425"/>
                  <a:gd name="connsiteX2" fmla="*/ 18363 w 18366"/>
                  <a:gd name="connsiteY2" fmla="*/ 8974 h 18425"/>
                  <a:gd name="connsiteX3" fmla="*/ 8914 w 18366"/>
                  <a:gd name="connsiteY3" fmla="*/ 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22" y="14536"/>
                      <a:pt x="4368" y="18543"/>
                      <a:pt x="9452" y="18423"/>
                    </a:cubicBezTo>
                    <a:cubicBezTo>
                      <a:pt x="14536" y="18304"/>
                      <a:pt x="18483" y="14057"/>
                      <a:pt x="18363" y="8974"/>
                    </a:cubicBezTo>
                    <a:cubicBezTo>
                      <a:pt x="18244" y="3890"/>
                      <a:pt x="13998" y="-117"/>
                      <a:pt x="8914" y="3"/>
                    </a:cubicBezTo>
                    <a:cubicBezTo>
                      <a:pt x="3890" y="182"/>
                      <a:pt x="-117" y="4369"/>
                      <a:pt x="3" y="9452"/>
                    </a:cubicBezTo>
                    <a:close/>
                  </a:path>
                </a:pathLst>
              </a:custGeom>
              <a:grpFill/>
              <a:ln w="5978" cap="flat">
                <a:noFill/>
                <a:prstDash val="solid"/>
                <a:miter/>
              </a:ln>
            </p:spPr>
            <p:txBody>
              <a:bodyPr rtlCol="0" anchor="ctr"/>
              <a:lstStyle/>
              <a:p>
                <a:endParaRPr lang="en-GB"/>
              </a:p>
            </p:txBody>
          </p:sp>
        </p:grpSp>
        <p:grpSp>
          <p:nvGrpSpPr>
            <p:cNvPr id="563" name="Graphic 3">
              <a:extLst>
                <a:ext uri="{FF2B5EF4-FFF2-40B4-BE49-F238E27FC236}">
                  <a16:creationId xmlns:a16="http://schemas.microsoft.com/office/drawing/2014/main" id="{04F929A9-8EA7-49E3-9E64-F83D8D016F71}"/>
                </a:ext>
              </a:extLst>
            </p:cNvPr>
            <p:cNvGrpSpPr/>
            <p:nvPr/>
          </p:nvGrpSpPr>
          <p:grpSpPr>
            <a:xfrm>
              <a:off x="7021231" y="4796845"/>
              <a:ext cx="47483" cy="59959"/>
              <a:chOff x="7021231" y="4796845"/>
              <a:chExt cx="47483" cy="59959"/>
            </a:xfrm>
            <a:grpFill/>
          </p:grpSpPr>
          <p:sp>
            <p:nvSpPr>
              <p:cNvPr id="3698" name="Vrije vorm: vorm 3697">
                <a:extLst>
                  <a:ext uri="{FF2B5EF4-FFF2-40B4-BE49-F238E27FC236}">
                    <a16:creationId xmlns:a16="http://schemas.microsoft.com/office/drawing/2014/main" id="{1FA171B3-F58A-47AC-8130-5AC541E720EC}"/>
                  </a:ext>
                </a:extLst>
              </p:cNvPr>
              <p:cNvSpPr/>
              <p:nvPr/>
            </p:nvSpPr>
            <p:spPr>
              <a:xfrm>
                <a:off x="7028863" y="4804772"/>
                <a:ext cx="32176" cy="44018"/>
              </a:xfrm>
              <a:custGeom>
                <a:avLst/>
                <a:gdLst>
                  <a:gd name="connsiteX0" fmla="*/ 32176 w 32176"/>
                  <a:gd name="connsiteY0" fmla="*/ 42284 h 44018"/>
                  <a:gd name="connsiteX1" fmla="*/ 29724 w 32176"/>
                  <a:gd name="connsiteY1" fmla="*/ 44018 h 44018"/>
                  <a:gd name="connsiteX2" fmla="*/ 0 w 32176"/>
                  <a:gd name="connsiteY2" fmla="*/ 1795 h 44018"/>
                  <a:gd name="connsiteX3" fmla="*/ 2511 w 32176"/>
                  <a:gd name="connsiteY3" fmla="*/ 0 h 44018"/>
                </a:gdLst>
                <a:ahLst/>
                <a:cxnLst>
                  <a:cxn ang="0">
                    <a:pos x="connsiteX0" y="connsiteY0"/>
                  </a:cxn>
                  <a:cxn ang="0">
                    <a:pos x="connsiteX1" y="connsiteY1"/>
                  </a:cxn>
                  <a:cxn ang="0">
                    <a:pos x="connsiteX2" y="connsiteY2"/>
                  </a:cxn>
                  <a:cxn ang="0">
                    <a:pos x="connsiteX3" y="connsiteY3"/>
                  </a:cxn>
                </a:cxnLst>
                <a:rect l="l" t="t" r="r" b="b"/>
                <a:pathLst>
                  <a:path w="32176" h="44018">
                    <a:moveTo>
                      <a:pt x="32176" y="42284"/>
                    </a:moveTo>
                    <a:lnTo>
                      <a:pt x="29724" y="44018"/>
                    </a:lnTo>
                    <a:lnTo>
                      <a:pt x="0" y="1795"/>
                    </a:lnTo>
                    <a:lnTo>
                      <a:pt x="2511" y="0"/>
                    </a:lnTo>
                    <a:close/>
                  </a:path>
                </a:pathLst>
              </a:custGeom>
              <a:grpFill/>
              <a:ln w="5978" cap="flat">
                <a:noFill/>
                <a:prstDash val="solid"/>
                <a:miter/>
              </a:ln>
            </p:spPr>
            <p:txBody>
              <a:bodyPr rtlCol="0" anchor="ctr"/>
              <a:lstStyle/>
              <a:p>
                <a:endParaRPr lang="en-GB"/>
              </a:p>
            </p:txBody>
          </p:sp>
          <p:sp>
            <p:nvSpPr>
              <p:cNvPr id="3699" name="Vrije vorm: vorm 3698">
                <a:extLst>
                  <a:ext uri="{FF2B5EF4-FFF2-40B4-BE49-F238E27FC236}">
                    <a16:creationId xmlns:a16="http://schemas.microsoft.com/office/drawing/2014/main" id="{B33E4C3B-88D2-4281-A601-8EBF45AB8D70}"/>
                  </a:ext>
                </a:extLst>
              </p:cNvPr>
              <p:cNvSpPr/>
              <p:nvPr/>
            </p:nvSpPr>
            <p:spPr>
              <a:xfrm>
                <a:off x="7050315" y="4838351"/>
                <a:ext cx="18399" cy="18452"/>
              </a:xfrm>
              <a:custGeom>
                <a:avLst/>
                <a:gdLst>
                  <a:gd name="connsiteX0" fmla="*/ 16706 w 18399"/>
                  <a:gd name="connsiteY0" fmla="*/ 3920 h 18452"/>
                  <a:gd name="connsiteX1" fmla="*/ 14493 w 18399"/>
                  <a:gd name="connsiteY1" fmla="*/ 16779 h 18452"/>
                  <a:gd name="connsiteX2" fmla="*/ 1694 w 18399"/>
                  <a:gd name="connsiteY2" fmla="*/ 14506 h 18452"/>
                  <a:gd name="connsiteX3" fmla="*/ 3907 w 18399"/>
                  <a:gd name="connsiteY3" fmla="*/ 1648 h 18452"/>
                  <a:gd name="connsiteX4" fmla="*/ 16706 w 18399"/>
                  <a:gd name="connsiteY4" fmla="*/ 3920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52">
                    <a:moveTo>
                      <a:pt x="16706" y="3920"/>
                    </a:moveTo>
                    <a:cubicBezTo>
                      <a:pt x="19636" y="8107"/>
                      <a:pt x="18679" y="13848"/>
                      <a:pt x="14493" y="16779"/>
                    </a:cubicBezTo>
                    <a:cubicBezTo>
                      <a:pt x="10366" y="19710"/>
                      <a:pt x="4625" y="18693"/>
                      <a:pt x="1694" y="14506"/>
                    </a:cubicBezTo>
                    <a:cubicBezTo>
                      <a:pt x="-1236" y="10320"/>
                      <a:pt x="-280" y="4578"/>
                      <a:pt x="3907" y="1648"/>
                    </a:cubicBezTo>
                    <a:cubicBezTo>
                      <a:pt x="8033" y="-1223"/>
                      <a:pt x="13774" y="-266"/>
                      <a:pt x="16706" y="3920"/>
                    </a:cubicBezTo>
                    <a:close/>
                  </a:path>
                </a:pathLst>
              </a:custGeom>
              <a:grpFill/>
              <a:ln w="5978" cap="flat">
                <a:noFill/>
                <a:prstDash val="solid"/>
                <a:miter/>
              </a:ln>
            </p:spPr>
            <p:txBody>
              <a:bodyPr rtlCol="0" anchor="ctr"/>
              <a:lstStyle/>
              <a:p>
                <a:endParaRPr lang="en-GB"/>
              </a:p>
            </p:txBody>
          </p:sp>
          <p:sp>
            <p:nvSpPr>
              <p:cNvPr id="3700" name="Vrije vorm: vorm 3699">
                <a:extLst>
                  <a:ext uri="{FF2B5EF4-FFF2-40B4-BE49-F238E27FC236}">
                    <a16:creationId xmlns:a16="http://schemas.microsoft.com/office/drawing/2014/main" id="{5715CFF8-45C3-4416-A802-E11E3EA3EF8B}"/>
                  </a:ext>
                </a:extLst>
              </p:cNvPr>
              <p:cNvSpPr/>
              <p:nvPr/>
            </p:nvSpPr>
            <p:spPr>
              <a:xfrm>
                <a:off x="7021231" y="4796845"/>
                <a:ext cx="18314" cy="18426"/>
              </a:xfrm>
              <a:custGeom>
                <a:avLst/>
                <a:gdLst>
                  <a:gd name="connsiteX0" fmla="*/ 16663 w 18314"/>
                  <a:gd name="connsiteY0" fmla="*/ 3920 h 18426"/>
                  <a:gd name="connsiteX1" fmla="*/ 3865 w 18314"/>
                  <a:gd name="connsiteY1" fmla="*/ 1648 h 18426"/>
                  <a:gd name="connsiteX2" fmla="*/ 1652 w 18314"/>
                  <a:gd name="connsiteY2" fmla="*/ 14506 h 18426"/>
                  <a:gd name="connsiteX3" fmla="*/ 14450 w 18314"/>
                  <a:gd name="connsiteY3" fmla="*/ 16779 h 18426"/>
                  <a:gd name="connsiteX4" fmla="*/ 16663 w 18314"/>
                  <a:gd name="connsiteY4" fmla="*/ 392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26">
                    <a:moveTo>
                      <a:pt x="16663" y="3920"/>
                    </a:moveTo>
                    <a:cubicBezTo>
                      <a:pt x="13732" y="-266"/>
                      <a:pt x="7991" y="-1223"/>
                      <a:pt x="3865" y="1648"/>
                    </a:cubicBezTo>
                    <a:cubicBezTo>
                      <a:pt x="-263" y="4578"/>
                      <a:pt x="-1220" y="10320"/>
                      <a:pt x="1652" y="14506"/>
                    </a:cubicBezTo>
                    <a:cubicBezTo>
                      <a:pt x="4582" y="18693"/>
                      <a:pt x="10323" y="19650"/>
                      <a:pt x="14450" y="16779"/>
                    </a:cubicBezTo>
                    <a:cubicBezTo>
                      <a:pt x="18577" y="13848"/>
                      <a:pt x="19534" y="8047"/>
                      <a:pt x="16663" y="3920"/>
                    </a:cubicBezTo>
                    <a:close/>
                  </a:path>
                </a:pathLst>
              </a:custGeom>
              <a:grpFill/>
              <a:ln w="5978" cap="flat">
                <a:noFill/>
                <a:prstDash val="solid"/>
                <a:miter/>
              </a:ln>
            </p:spPr>
            <p:txBody>
              <a:bodyPr rtlCol="0" anchor="ctr"/>
              <a:lstStyle/>
              <a:p>
                <a:endParaRPr lang="en-GB"/>
              </a:p>
            </p:txBody>
          </p:sp>
        </p:grpSp>
        <p:grpSp>
          <p:nvGrpSpPr>
            <p:cNvPr id="564" name="Graphic 3">
              <a:extLst>
                <a:ext uri="{FF2B5EF4-FFF2-40B4-BE49-F238E27FC236}">
                  <a16:creationId xmlns:a16="http://schemas.microsoft.com/office/drawing/2014/main" id="{563937BC-30CE-4C0C-ABBA-3FBCBB41C911}"/>
                </a:ext>
              </a:extLst>
            </p:cNvPr>
            <p:cNvGrpSpPr/>
            <p:nvPr/>
          </p:nvGrpSpPr>
          <p:grpSpPr>
            <a:xfrm>
              <a:off x="7050220" y="4896033"/>
              <a:ext cx="69105" cy="93634"/>
              <a:chOff x="7050220" y="4896033"/>
              <a:chExt cx="69105" cy="93634"/>
            </a:xfrm>
            <a:grpFill/>
          </p:grpSpPr>
          <p:sp>
            <p:nvSpPr>
              <p:cNvPr id="3695" name="Vrije vorm: vorm 3694">
                <a:extLst>
                  <a:ext uri="{FF2B5EF4-FFF2-40B4-BE49-F238E27FC236}">
                    <a16:creationId xmlns:a16="http://schemas.microsoft.com/office/drawing/2014/main" id="{A500B238-26EE-47B0-B6E2-9D91D38BBA2C}"/>
                  </a:ext>
                </a:extLst>
              </p:cNvPr>
              <p:cNvSpPr/>
              <p:nvPr/>
            </p:nvSpPr>
            <p:spPr>
              <a:xfrm>
                <a:off x="7057870" y="4904052"/>
                <a:ext cx="53766" cy="77629"/>
              </a:xfrm>
              <a:custGeom>
                <a:avLst/>
                <a:gdLst>
                  <a:gd name="connsiteX0" fmla="*/ 53767 w 53766"/>
                  <a:gd name="connsiteY0" fmla="*/ 75955 h 77629"/>
                  <a:gd name="connsiteX1" fmla="*/ 51254 w 53766"/>
                  <a:gd name="connsiteY1" fmla="*/ 77630 h 77629"/>
                  <a:gd name="connsiteX2" fmla="*/ 0 w 53766"/>
                  <a:gd name="connsiteY2" fmla="*/ 1674 h 77629"/>
                  <a:gd name="connsiteX3" fmla="*/ 2511 w 53766"/>
                  <a:gd name="connsiteY3" fmla="*/ 0 h 77629"/>
                </a:gdLst>
                <a:ahLst/>
                <a:cxnLst>
                  <a:cxn ang="0">
                    <a:pos x="connsiteX0" y="connsiteY0"/>
                  </a:cxn>
                  <a:cxn ang="0">
                    <a:pos x="connsiteX1" y="connsiteY1"/>
                  </a:cxn>
                  <a:cxn ang="0">
                    <a:pos x="connsiteX2" y="connsiteY2"/>
                  </a:cxn>
                  <a:cxn ang="0">
                    <a:pos x="connsiteX3" y="connsiteY3"/>
                  </a:cxn>
                </a:cxnLst>
                <a:rect l="l" t="t" r="r" b="b"/>
                <a:pathLst>
                  <a:path w="53766" h="77629">
                    <a:moveTo>
                      <a:pt x="53767" y="75955"/>
                    </a:moveTo>
                    <a:lnTo>
                      <a:pt x="51254" y="77630"/>
                    </a:lnTo>
                    <a:lnTo>
                      <a:pt x="0" y="1674"/>
                    </a:lnTo>
                    <a:lnTo>
                      <a:pt x="2511" y="0"/>
                    </a:lnTo>
                    <a:close/>
                  </a:path>
                </a:pathLst>
              </a:custGeom>
              <a:grpFill/>
              <a:ln w="5978" cap="flat">
                <a:noFill/>
                <a:prstDash val="solid"/>
                <a:miter/>
              </a:ln>
            </p:spPr>
            <p:txBody>
              <a:bodyPr rtlCol="0" anchor="ctr"/>
              <a:lstStyle/>
              <a:p>
                <a:endParaRPr lang="en-GB"/>
              </a:p>
            </p:txBody>
          </p:sp>
          <p:sp>
            <p:nvSpPr>
              <p:cNvPr id="3696" name="Vrije vorm: vorm 3695">
                <a:extLst>
                  <a:ext uri="{FF2B5EF4-FFF2-40B4-BE49-F238E27FC236}">
                    <a16:creationId xmlns:a16="http://schemas.microsoft.com/office/drawing/2014/main" id="{E5E5A434-7862-4462-AB62-FECCFFBEF85F}"/>
                  </a:ext>
                </a:extLst>
              </p:cNvPr>
              <p:cNvSpPr/>
              <p:nvPr/>
            </p:nvSpPr>
            <p:spPr>
              <a:xfrm>
                <a:off x="7100956" y="4971226"/>
                <a:ext cx="18370" cy="18441"/>
              </a:xfrm>
              <a:custGeom>
                <a:avLst/>
                <a:gdLst>
                  <a:gd name="connsiteX0" fmla="*/ 16781 w 18370"/>
                  <a:gd name="connsiteY0" fmla="*/ 4056 h 18441"/>
                  <a:gd name="connsiteX1" fmla="*/ 14329 w 18370"/>
                  <a:gd name="connsiteY1" fmla="*/ 16855 h 18441"/>
                  <a:gd name="connsiteX2" fmla="*/ 1590 w 18370"/>
                  <a:gd name="connsiteY2" fmla="*/ 14343 h 18441"/>
                  <a:gd name="connsiteX3" fmla="*/ 4042 w 18370"/>
                  <a:gd name="connsiteY3" fmla="*/ 1545 h 18441"/>
                  <a:gd name="connsiteX4" fmla="*/ 16781 w 18370"/>
                  <a:gd name="connsiteY4" fmla="*/ 405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41">
                    <a:moveTo>
                      <a:pt x="16781" y="4056"/>
                    </a:moveTo>
                    <a:cubicBezTo>
                      <a:pt x="19651" y="8303"/>
                      <a:pt x="18515" y="13985"/>
                      <a:pt x="14329" y="16855"/>
                    </a:cubicBezTo>
                    <a:cubicBezTo>
                      <a:pt x="10142" y="19726"/>
                      <a:pt x="4460" y="18590"/>
                      <a:pt x="1590" y="14343"/>
                    </a:cubicBezTo>
                    <a:cubicBezTo>
                      <a:pt x="-1281" y="10097"/>
                      <a:pt x="-145" y="4415"/>
                      <a:pt x="4042" y="1545"/>
                    </a:cubicBezTo>
                    <a:cubicBezTo>
                      <a:pt x="8228" y="-1267"/>
                      <a:pt x="13910" y="-130"/>
                      <a:pt x="16781" y="4056"/>
                    </a:cubicBezTo>
                    <a:close/>
                  </a:path>
                </a:pathLst>
              </a:custGeom>
              <a:grpFill/>
              <a:ln w="5978" cap="flat">
                <a:noFill/>
                <a:prstDash val="solid"/>
                <a:miter/>
              </a:ln>
            </p:spPr>
            <p:txBody>
              <a:bodyPr rtlCol="0" anchor="ctr"/>
              <a:lstStyle/>
              <a:p>
                <a:endParaRPr lang="en-GB"/>
              </a:p>
            </p:txBody>
          </p:sp>
          <p:sp>
            <p:nvSpPr>
              <p:cNvPr id="3697" name="Vrije vorm: vorm 3696">
                <a:extLst>
                  <a:ext uri="{FF2B5EF4-FFF2-40B4-BE49-F238E27FC236}">
                    <a16:creationId xmlns:a16="http://schemas.microsoft.com/office/drawing/2014/main" id="{D43A92D1-B52D-4337-B642-BB708375EF74}"/>
                  </a:ext>
                </a:extLst>
              </p:cNvPr>
              <p:cNvSpPr/>
              <p:nvPr/>
            </p:nvSpPr>
            <p:spPr>
              <a:xfrm>
                <a:off x="7050220" y="4896033"/>
                <a:ext cx="18332" cy="18430"/>
              </a:xfrm>
              <a:custGeom>
                <a:avLst/>
                <a:gdLst>
                  <a:gd name="connsiteX0" fmla="*/ 16740 w 18332"/>
                  <a:gd name="connsiteY0" fmla="*/ 4072 h 18430"/>
                  <a:gd name="connsiteX1" fmla="*/ 4001 w 18332"/>
                  <a:gd name="connsiteY1" fmla="*/ 1560 h 18430"/>
                  <a:gd name="connsiteX2" fmla="*/ 1609 w 18332"/>
                  <a:gd name="connsiteY2" fmla="*/ 14359 h 18430"/>
                  <a:gd name="connsiteX3" fmla="*/ 14348 w 18332"/>
                  <a:gd name="connsiteY3" fmla="*/ 16871 h 18430"/>
                  <a:gd name="connsiteX4" fmla="*/ 16740 w 18332"/>
                  <a:gd name="connsiteY4" fmla="*/ 407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30">
                    <a:moveTo>
                      <a:pt x="16740" y="4072"/>
                    </a:moveTo>
                    <a:cubicBezTo>
                      <a:pt x="13869" y="-174"/>
                      <a:pt x="8187" y="-1251"/>
                      <a:pt x="4001" y="1560"/>
                    </a:cubicBezTo>
                    <a:cubicBezTo>
                      <a:pt x="-186" y="4431"/>
                      <a:pt x="-1262" y="10112"/>
                      <a:pt x="1609" y="14359"/>
                    </a:cubicBezTo>
                    <a:cubicBezTo>
                      <a:pt x="4479" y="18605"/>
                      <a:pt x="10161" y="19682"/>
                      <a:pt x="14348" y="16871"/>
                    </a:cubicBezTo>
                    <a:cubicBezTo>
                      <a:pt x="18474" y="14000"/>
                      <a:pt x="19611" y="8318"/>
                      <a:pt x="16740" y="4072"/>
                    </a:cubicBezTo>
                    <a:close/>
                  </a:path>
                </a:pathLst>
              </a:custGeom>
              <a:grpFill/>
              <a:ln w="5978" cap="flat">
                <a:noFill/>
                <a:prstDash val="solid"/>
                <a:miter/>
              </a:ln>
            </p:spPr>
            <p:txBody>
              <a:bodyPr rtlCol="0" anchor="ctr"/>
              <a:lstStyle/>
              <a:p>
                <a:endParaRPr lang="en-GB"/>
              </a:p>
            </p:txBody>
          </p:sp>
        </p:grpSp>
        <p:grpSp>
          <p:nvGrpSpPr>
            <p:cNvPr id="565" name="Graphic 3">
              <a:extLst>
                <a:ext uri="{FF2B5EF4-FFF2-40B4-BE49-F238E27FC236}">
                  <a16:creationId xmlns:a16="http://schemas.microsoft.com/office/drawing/2014/main" id="{AB934E80-B630-440F-B215-876FA5D74375}"/>
                </a:ext>
              </a:extLst>
            </p:cNvPr>
            <p:cNvGrpSpPr/>
            <p:nvPr/>
          </p:nvGrpSpPr>
          <p:grpSpPr>
            <a:xfrm>
              <a:off x="6996966" y="4818403"/>
              <a:ext cx="273166" cy="467284"/>
              <a:chOff x="6996966" y="4818403"/>
              <a:chExt cx="273166" cy="467284"/>
            </a:xfrm>
            <a:grpFill/>
          </p:grpSpPr>
          <p:sp>
            <p:nvSpPr>
              <p:cNvPr id="3692" name="Vrije vorm: vorm 3691">
                <a:extLst>
                  <a:ext uri="{FF2B5EF4-FFF2-40B4-BE49-F238E27FC236}">
                    <a16:creationId xmlns:a16="http://schemas.microsoft.com/office/drawing/2014/main" id="{7DCC689D-5066-4472-8A99-02F69E916B26}"/>
                  </a:ext>
                </a:extLst>
              </p:cNvPr>
              <p:cNvSpPr/>
              <p:nvPr/>
            </p:nvSpPr>
            <p:spPr>
              <a:xfrm>
                <a:off x="7004581" y="4826422"/>
                <a:ext cx="257948" cy="451245"/>
              </a:xfrm>
              <a:custGeom>
                <a:avLst/>
                <a:gdLst>
                  <a:gd name="connsiteX0" fmla="*/ 257949 w 257948"/>
                  <a:gd name="connsiteY0" fmla="*/ 449750 h 451245"/>
                  <a:gd name="connsiteX1" fmla="*/ 255317 w 257948"/>
                  <a:gd name="connsiteY1" fmla="*/ 451246 h 451245"/>
                  <a:gd name="connsiteX2" fmla="*/ 0 w 257948"/>
                  <a:gd name="connsiteY2" fmla="*/ 1555 h 451245"/>
                  <a:gd name="connsiteX3" fmla="*/ 2632 w 257948"/>
                  <a:gd name="connsiteY3" fmla="*/ 0 h 451245"/>
                </a:gdLst>
                <a:ahLst/>
                <a:cxnLst>
                  <a:cxn ang="0">
                    <a:pos x="connsiteX0" y="connsiteY0"/>
                  </a:cxn>
                  <a:cxn ang="0">
                    <a:pos x="connsiteX1" y="connsiteY1"/>
                  </a:cxn>
                  <a:cxn ang="0">
                    <a:pos x="connsiteX2" y="connsiteY2"/>
                  </a:cxn>
                  <a:cxn ang="0">
                    <a:pos x="connsiteX3" y="connsiteY3"/>
                  </a:cxn>
                </a:cxnLst>
                <a:rect l="l" t="t" r="r" b="b"/>
                <a:pathLst>
                  <a:path w="257948" h="451245">
                    <a:moveTo>
                      <a:pt x="257949" y="449750"/>
                    </a:moveTo>
                    <a:lnTo>
                      <a:pt x="255317" y="451246"/>
                    </a:lnTo>
                    <a:lnTo>
                      <a:pt x="0" y="1555"/>
                    </a:lnTo>
                    <a:lnTo>
                      <a:pt x="2632" y="0"/>
                    </a:lnTo>
                    <a:close/>
                  </a:path>
                </a:pathLst>
              </a:custGeom>
              <a:grpFill/>
              <a:ln w="5978" cap="flat">
                <a:noFill/>
                <a:prstDash val="solid"/>
                <a:miter/>
              </a:ln>
            </p:spPr>
            <p:txBody>
              <a:bodyPr rtlCol="0" anchor="ctr"/>
              <a:lstStyle/>
              <a:p>
                <a:endParaRPr lang="en-GB"/>
              </a:p>
            </p:txBody>
          </p:sp>
          <p:sp>
            <p:nvSpPr>
              <p:cNvPr id="3693" name="Vrije vorm: vorm 3692">
                <a:extLst>
                  <a:ext uri="{FF2B5EF4-FFF2-40B4-BE49-F238E27FC236}">
                    <a16:creationId xmlns:a16="http://schemas.microsoft.com/office/drawing/2014/main" id="{470BCCBB-93B5-4C01-AEC8-376BCB819209}"/>
                  </a:ext>
                </a:extLst>
              </p:cNvPr>
              <p:cNvSpPr/>
              <p:nvPr/>
            </p:nvSpPr>
            <p:spPr>
              <a:xfrm>
                <a:off x="6996966" y="4818403"/>
                <a:ext cx="18341" cy="18431"/>
              </a:xfrm>
              <a:custGeom>
                <a:avLst/>
                <a:gdLst>
                  <a:gd name="connsiteX0" fmla="*/ 1217 w 18341"/>
                  <a:gd name="connsiteY0" fmla="*/ 13761 h 18431"/>
                  <a:gd name="connsiteX1" fmla="*/ 4625 w 18341"/>
                  <a:gd name="connsiteY1" fmla="*/ 1202 h 18431"/>
                  <a:gd name="connsiteX2" fmla="*/ 17125 w 18341"/>
                  <a:gd name="connsiteY2" fmla="*/ 4670 h 18431"/>
                  <a:gd name="connsiteX3" fmla="*/ 13716 w 18341"/>
                  <a:gd name="connsiteY3" fmla="*/ 17230 h 18431"/>
                  <a:gd name="connsiteX4" fmla="*/ 1217 w 18341"/>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1">
                    <a:moveTo>
                      <a:pt x="1217" y="13761"/>
                    </a:moveTo>
                    <a:cubicBezTo>
                      <a:pt x="-1296" y="9335"/>
                      <a:pt x="200" y="3713"/>
                      <a:pt x="4625" y="1202"/>
                    </a:cubicBezTo>
                    <a:cubicBezTo>
                      <a:pt x="8991" y="-1311"/>
                      <a:pt x="14613" y="245"/>
                      <a:pt x="17125" y="4670"/>
                    </a:cubicBezTo>
                    <a:cubicBezTo>
                      <a:pt x="19637" y="9096"/>
                      <a:pt x="18142" y="14718"/>
                      <a:pt x="13716" y="17230"/>
                    </a:cubicBezTo>
                    <a:cubicBezTo>
                      <a:pt x="9290" y="19742"/>
                      <a:pt x="3728" y="18187"/>
                      <a:pt x="1217" y="13761"/>
                    </a:cubicBezTo>
                    <a:close/>
                  </a:path>
                </a:pathLst>
              </a:custGeom>
              <a:grpFill/>
              <a:ln w="5978" cap="flat">
                <a:noFill/>
                <a:prstDash val="solid"/>
                <a:miter/>
              </a:ln>
            </p:spPr>
            <p:txBody>
              <a:bodyPr rtlCol="0" anchor="ctr"/>
              <a:lstStyle/>
              <a:p>
                <a:endParaRPr lang="en-GB"/>
              </a:p>
            </p:txBody>
          </p:sp>
          <p:sp>
            <p:nvSpPr>
              <p:cNvPr id="3694" name="Vrije vorm: vorm 3693">
                <a:extLst>
                  <a:ext uri="{FF2B5EF4-FFF2-40B4-BE49-F238E27FC236}">
                    <a16:creationId xmlns:a16="http://schemas.microsoft.com/office/drawing/2014/main" id="{D10A0D0C-2603-4716-B0B7-60632D1E1BDB}"/>
                  </a:ext>
                </a:extLst>
              </p:cNvPr>
              <p:cNvSpPr/>
              <p:nvPr/>
            </p:nvSpPr>
            <p:spPr>
              <a:xfrm>
                <a:off x="7251817" y="5267256"/>
                <a:ext cx="18315" cy="18431"/>
              </a:xfrm>
              <a:custGeom>
                <a:avLst/>
                <a:gdLst>
                  <a:gd name="connsiteX0" fmla="*/ 1204 w 18315"/>
                  <a:gd name="connsiteY0" fmla="*/ 13761 h 18431"/>
                  <a:gd name="connsiteX1" fmla="*/ 13703 w 18315"/>
                  <a:gd name="connsiteY1" fmla="*/ 17230 h 18431"/>
                  <a:gd name="connsiteX2" fmla="*/ 17112 w 18315"/>
                  <a:gd name="connsiteY2" fmla="*/ 4670 h 18431"/>
                  <a:gd name="connsiteX3" fmla="*/ 4612 w 18315"/>
                  <a:gd name="connsiteY3" fmla="*/ 1201 h 18431"/>
                  <a:gd name="connsiteX4" fmla="*/ 1204 w 18315"/>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204" y="13761"/>
                    </a:moveTo>
                    <a:cubicBezTo>
                      <a:pt x="3715" y="18187"/>
                      <a:pt x="9337" y="19742"/>
                      <a:pt x="13703" y="17230"/>
                    </a:cubicBezTo>
                    <a:cubicBezTo>
                      <a:pt x="18069" y="14718"/>
                      <a:pt x="19624" y="9096"/>
                      <a:pt x="17112" y="4670"/>
                    </a:cubicBezTo>
                    <a:cubicBezTo>
                      <a:pt x="14600" y="244"/>
                      <a:pt x="8978" y="-1310"/>
                      <a:pt x="4612" y="1201"/>
                    </a:cubicBezTo>
                    <a:cubicBezTo>
                      <a:pt x="247" y="3713"/>
                      <a:pt x="-1308" y="9335"/>
                      <a:pt x="1204" y="13761"/>
                    </a:cubicBezTo>
                    <a:close/>
                  </a:path>
                </a:pathLst>
              </a:custGeom>
              <a:grpFill/>
              <a:ln w="5978" cap="flat">
                <a:noFill/>
                <a:prstDash val="solid"/>
                <a:miter/>
              </a:ln>
            </p:spPr>
            <p:txBody>
              <a:bodyPr rtlCol="0" anchor="ctr"/>
              <a:lstStyle/>
              <a:p>
                <a:endParaRPr lang="en-GB"/>
              </a:p>
            </p:txBody>
          </p:sp>
        </p:grpSp>
        <p:grpSp>
          <p:nvGrpSpPr>
            <p:cNvPr id="566" name="Graphic 3">
              <a:extLst>
                <a:ext uri="{FF2B5EF4-FFF2-40B4-BE49-F238E27FC236}">
                  <a16:creationId xmlns:a16="http://schemas.microsoft.com/office/drawing/2014/main" id="{A58486DD-F90C-446B-8841-BADC16F765B2}"/>
                </a:ext>
              </a:extLst>
            </p:cNvPr>
            <p:cNvGrpSpPr/>
            <p:nvPr/>
          </p:nvGrpSpPr>
          <p:grpSpPr>
            <a:xfrm>
              <a:off x="7088452" y="5083496"/>
              <a:ext cx="142164" cy="217455"/>
              <a:chOff x="7088452" y="5083496"/>
              <a:chExt cx="142164" cy="217455"/>
            </a:xfrm>
            <a:grpFill/>
          </p:grpSpPr>
          <p:sp>
            <p:nvSpPr>
              <p:cNvPr id="3689" name="Vrije vorm: vorm 3688">
                <a:extLst>
                  <a:ext uri="{FF2B5EF4-FFF2-40B4-BE49-F238E27FC236}">
                    <a16:creationId xmlns:a16="http://schemas.microsoft.com/office/drawing/2014/main" id="{9CD3ED02-22CE-4767-8703-93551CA10415}"/>
                  </a:ext>
                </a:extLst>
              </p:cNvPr>
              <p:cNvSpPr/>
              <p:nvPr/>
            </p:nvSpPr>
            <p:spPr>
              <a:xfrm>
                <a:off x="7096087" y="5091488"/>
                <a:ext cx="126910" cy="201490"/>
              </a:xfrm>
              <a:custGeom>
                <a:avLst/>
                <a:gdLst>
                  <a:gd name="connsiteX0" fmla="*/ 126911 w 126910"/>
                  <a:gd name="connsiteY0" fmla="*/ 199876 h 201490"/>
                  <a:gd name="connsiteX1" fmla="*/ 124339 w 126910"/>
                  <a:gd name="connsiteY1" fmla="*/ 201491 h 201490"/>
                  <a:gd name="connsiteX2" fmla="*/ 0 w 126910"/>
                  <a:gd name="connsiteY2" fmla="*/ 1615 h 201490"/>
                  <a:gd name="connsiteX3" fmla="*/ 2571 w 126910"/>
                  <a:gd name="connsiteY3" fmla="*/ 0 h 201490"/>
                </a:gdLst>
                <a:ahLst/>
                <a:cxnLst>
                  <a:cxn ang="0">
                    <a:pos x="connsiteX0" y="connsiteY0"/>
                  </a:cxn>
                  <a:cxn ang="0">
                    <a:pos x="connsiteX1" y="connsiteY1"/>
                  </a:cxn>
                  <a:cxn ang="0">
                    <a:pos x="connsiteX2" y="connsiteY2"/>
                  </a:cxn>
                  <a:cxn ang="0">
                    <a:pos x="connsiteX3" y="connsiteY3"/>
                  </a:cxn>
                </a:cxnLst>
                <a:rect l="l" t="t" r="r" b="b"/>
                <a:pathLst>
                  <a:path w="126910" h="201490">
                    <a:moveTo>
                      <a:pt x="126911" y="199876"/>
                    </a:moveTo>
                    <a:lnTo>
                      <a:pt x="124339" y="201491"/>
                    </a:lnTo>
                    <a:lnTo>
                      <a:pt x="0" y="1615"/>
                    </a:lnTo>
                    <a:lnTo>
                      <a:pt x="2571" y="0"/>
                    </a:lnTo>
                    <a:close/>
                  </a:path>
                </a:pathLst>
              </a:custGeom>
              <a:grpFill/>
              <a:ln w="5978" cap="flat">
                <a:noFill/>
                <a:prstDash val="solid"/>
                <a:miter/>
              </a:ln>
            </p:spPr>
            <p:txBody>
              <a:bodyPr rtlCol="0" anchor="ctr"/>
              <a:lstStyle/>
              <a:p>
                <a:endParaRPr lang="en-GB"/>
              </a:p>
            </p:txBody>
          </p:sp>
          <p:sp>
            <p:nvSpPr>
              <p:cNvPr id="3690" name="Vrije vorm: vorm 3689">
                <a:extLst>
                  <a:ext uri="{FF2B5EF4-FFF2-40B4-BE49-F238E27FC236}">
                    <a16:creationId xmlns:a16="http://schemas.microsoft.com/office/drawing/2014/main" id="{A155456B-15C0-4B32-BCCF-73BEAC709A02}"/>
                  </a:ext>
                </a:extLst>
              </p:cNvPr>
              <p:cNvSpPr/>
              <p:nvPr/>
            </p:nvSpPr>
            <p:spPr>
              <a:xfrm>
                <a:off x="7212328" y="5282534"/>
                <a:ext cx="18289" cy="18417"/>
              </a:xfrm>
              <a:custGeom>
                <a:avLst/>
                <a:gdLst>
                  <a:gd name="connsiteX0" fmla="*/ 16890 w 18289"/>
                  <a:gd name="connsiteY0" fmla="*/ 4344 h 18417"/>
                  <a:gd name="connsiteX1" fmla="*/ 14019 w 18289"/>
                  <a:gd name="connsiteY1" fmla="*/ 17023 h 18417"/>
                  <a:gd name="connsiteX2" fmla="*/ 1399 w 18289"/>
                  <a:gd name="connsiteY2" fmla="*/ 14033 h 18417"/>
                  <a:gd name="connsiteX3" fmla="*/ 4270 w 18289"/>
                  <a:gd name="connsiteY3" fmla="*/ 1354 h 18417"/>
                  <a:gd name="connsiteX4" fmla="*/ 16890 w 18289"/>
                  <a:gd name="connsiteY4" fmla="*/ 4344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17">
                    <a:moveTo>
                      <a:pt x="16890" y="4344"/>
                    </a:moveTo>
                    <a:cubicBezTo>
                      <a:pt x="19581" y="8650"/>
                      <a:pt x="18265" y="14332"/>
                      <a:pt x="14019" y="17023"/>
                    </a:cubicBezTo>
                    <a:cubicBezTo>
                      <a:pt x="9713" y="19714"/>
                      <a:pt x="4091" y="18399"/>
                      <a:pt x="1399" y="14033"/>
                    </a:cubicBezTo>
                    <a:cubicBezTo>
                      <a:pt x="-1292" y="9726"/>
                      <a:pt x="24" y="4045"/>
                      <a:pt x="4270" y="1354"/>
                    </a:cubicBezTo>
                    <a:cubicBezTo>
                      <a:pt x="8577" y="-1278"/>
                      <a:pt x="14198" y="38"/>
                      <a:pt x="16890" y="4344"/>
                    </a:cubicBezTo>
                    <a:close/>
                  </a:path>
                </a:pathLst>
              </a:custGeom>
              <a:grpFill/>
              <a:ln w="5978" cap="flat">
                <a:noFill/>
                <a:prstDash val="solid"/>
                <a:miter/>
              </a:ln>
            </p:spPr>
            <p:txBody>
              <a:bodyPr rtlCol="0" anchor="ctr"/>
              <a:lstStyle/>
              <a:p>
                <a:endParaRPr lang="en-GB"/>
              </a:p>
            </p:txBody>
          </p:sp>
          <p:sp>
            <p:nvSpPr>
              <p:cNvPr id="3691" name="Vrije vorm: vorm 3690">
                <a:extLst>
                  <a:ext uri="{FF2B5EF4-FFF2-40B4-BE49-F238E27FC236}">
                    <a16:creationId xmlns:a16="http://schemas.microsoft.com/office/drawing/2014/main" id="{9306B7BC-1B7A-4BD8-ACA5-F6201D6BB2B0}"/>
                  </a:ext>
                </a:extLst>
              </p:cNvPr>
              <p:cNvSpPr/>
              <p:nvPr/>
            </p:nvSpPr>
            <p:spPr>
              <a:xfrm>
                <a:off x="7088452" y="5083496"/>
                <a:ext cx="18317" cy="18376"/>
              </a:xfrm>
              <a:custGeom>
                <a:avLst/>
                <a:gdLst>
                  <a:gd name="connsiteX0" fmla="*/ 16904 w 18317"/>
                  <a:gd name="connsiteY0" fmla="*/ 4344 h 18376"/>
                  <a:gd name="connsiteX1" fmla="*/ 4285 w 18317"/>
                  <a:gd name="connsiteY1" fmla="*/ 1354 h 18376"/>
                  <a:gd name="connsiteX2" fmla="*/ 1414 w 18317"/>
                  <a:gd name="connsiteY2" fmla="*/ 14033 h 18376"/>
                  <a:gd name="connsiteX3" fmla="*/ 14033 w 18317"/>
                  <a:gd name="connsiteY3" fmla="*/ 17023 h 18376"/>
                  <a:gd name="connsiteX4" fmla="*/ 16904 w 18317"/>
                  <a:gd name="connsiteY4" fmla="*/ 4344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76">
                    <a:moveTo>
                      <a:pt x="16904" y="4344"/>
                    </a:moveTo>
                    <a:cubicBezTo>
                      <a:pt x="14213" y="38"/>
                      <a:pt x="8531" y="-1278"/>
                      <a:pt x="4285" y="1354"/>
                    </a:cubicBezTo>
                    <a:cubicBezTo>
                      <a:pt x="-21" y="4045"/>
                      <a:pt x="-1277" y="9727"/>
                      <a:pt x="1414" y="14033"/>
                    </a:cubicBezTo>
                    <a:cubicBezTo>
                      <a:pt x="4105" y="18339"/>
                      <a:pt x="9787" y="19654"/>
                      <a:pt x="14033" y="17023"/>
                    </a:cubicBezTo>
                    <a:cubicBezTo>
                      <a:pt x="18339" y="14332"/>
                      <a:pt x="19596" y="8650"/>
                      <a:pt x="16904" y="4344"/>
                    </a:cubicBezTo>
                    <a:close/>
                  </a:path>
                </a:pathLst>
              </a:custGeom>
              <a:grpFill/>
              <a:ln w="5978" cap="flat">
                <a:noFill/>
                <a:prstDash val="solid"/>
                <a:miter/>
              </a:ln>
            </p:spPr>
            <p:txBody>
              <a:bodyPr rtlCol="0" anchor="ctr"/>
              <a:lstStyle/>
              <a:p>
                <a:endParaRPr lang="en-GB"/>
              </a:p>
            </p:txBody>
          </p:sp>
        </p:grpSp>
        <p:grpSp>
          <p:nvGrpSpPr>
            <p:cNvPr id="567" name="Graphic 3">
              <a:extLst>
                <a:ext uri="{FF2B5EF4-FFF2-40B4-BE49-F238E27FC236}">
                  <a16:creationId xmlns:a16="http://schemas.microsoft.com/office/drawing/2014/main" id="{916383EA-18F3-4482-AE2F-36BD2541D78E}"/>
                </a:ext>
              </a:extLst>
            </p:cNvPr>
            <p:cNvGrpSpPr/>
            <p:nvPr/>
          </p:nvGrpSpPr>
          <p:grpSpPr>
            <a:xfrm>
              <a:off x="5866418" y="1278029"/>
              <a:ext cx="35230" cy="219077"/>
              <a:chOff x="5866418" y="1278029"/>
              <a:chExt cx="35230" cy="219077"/>
            </a:xfrm>
            <a:grpFill/>
          </p:grpSpPr>
          <p:sp>
            <p:nvSpPr>
              <p:cNvPr id="3686" name="Vrije vorm: vorm 3685">
                <a:extLst>
                  <a:ext uri="{FF2B5EF4-FFF2-40B4-BE49-F238E27FC236}">
                    <a16:creationId xmlns:a16="http://schemas.microsoft.com/office/drawing/2014/main" id="{BFB98CDC-2B75-4A78-91BA-83D448156A3A}"/>
                  </a:ext>
                </a:extLst>
              </p:cNvPr>
              <p:cNvSpPr/>
              <p:nvPr/>
            </p:nvSpPr>
            <p:spPr>
              <a:xfrm>
                <a:off x="5873986" y="1286613"/>
                <a:ext cx="20035" cy="201909"/>
              </a:xfrm>
              <a:custGeom>
                <a:avLst/>
                <a:gdLst>
                  <a:gd name="connsiteX0" fmla="*/ 3050 w 20035"/>
                  <a:gd name="connsiteY0" fmla="*/ 0 h 201909"/>
                  <a:gd name="connsiteX1" fmla="*/ 20035 w 20035"/>
                  <a:gd name="connsiteY1" fmla="*/ 201610 h 201909"/>
                  <a:gd name="connsiteX2" fmla="*/ 16985 w 20035"/>
                  <a:gd name="connsiteY2" fmla="*/ 201909 h 201909"/>
                  <a:gd name="connsiteX3" fmla="*/ 0 w 20035"/>
                  <a:gd name="connsiteY3" fmla="*/ 299 h 201909"/>
                </a:gdLst>
                <a:ahLst/>
                <a:cxnLst>
                  <a:cxn ang="0">
                    <a:pos x="connsiteX0" y="connsiteY0"/>
                  </a:cxn>
                  <a:cxn ang="0">
                    <a:pos x="connsiteX1" y="connsiteY1"/>
                  </a:cxn>
                  <a:cxn ang="0">
                    <a:pos x="connsiteX2" y="connsiteY2"/>
                  </a:cxn>
                  <a:cxn ang="0">
                    <a:pos x="connsiteX3" y="connsiteY3"/>
                  </a:cxn>
                </a:cxnLst>
                <a:rect l="l" t="t" r="r" b="b"/>
                <a:pathLst>
                  <a:path w="20035" h="201909">
                    <a:moveTo>
                      <a:pt x="3050" y="0"/>
                    </a:moveTo>
                    <a:lnTo>
                      <a:pt x="20035" y="201610"/>
                    </a:lnTo>
                    <a:lnTo>
                      <a:pt x="16985" y="201909"/>
                    </a:lnTo>
                    <a:lnTo>
                      <a:pt x="0" y="299"/>
                    </a:lnTo>
                    <a:close/>
                  </a:path>
                </a:pathLst>
              </a:custGeom>
              <a:grpFill/>
              <a:ln w="5978" cap="flat">
                <a:noFill/>
                <a:prstDash val="solid"/>
                <a:miter/>
              </a:ln>
            </p:spPr>
            <p:txBody>
              <a:bodyPr rtlCol="0" anchor="ctr"/>
              <a:lstStyle/>
              <a:p>
                <a:endParaRPr lang="en-GB"/>
              </a:p>
            </p:txBody>
          </p:sp>
          <p:sp>
            <p:nvSpPr>
              <p:cNvPr id="3687" name="Vrije vorm: vorm 3686">
                <a:extLst>
                  <a:ext uri="{FF2B5EF4-FFF2-40B4-BE49-F238E27FC236}">
                    <a16:creationId xmlns:a16="http://schemas.microsoft.com/office/drawing/2014/main" id="{B0929D75-247F-480B-B84C-DD340FD97B80}"/>
                  </a:ext>
                </a:extLst>
              </p:cNvPr>
              <p:cNvSpPr/>
              <p:nvPr/>
            </p:nvSpPr>
            <p:spPr>
              <a:xfrm>
                <a:off x="5866418" y="1278029"/>
                <a:ext cx="18365" cy="18423"/>
              </a:xfrm>
              <a:custGeom>
                <a:avLst/>
                <a:gdLst>
                  <a:gd name="connsiteX0" fmla="*/ 32 w 18365"/>
                  <a:gd name="connsiteY0" fmla="*/ 9960 h 18423"/>
                  <a:gd name="connsiteX1" fmla="*/ 8405 w 18365"/>
                  <a:gd name="connsiteY1" fmla="*/ 32 h 18423"/>
                  <a:gd name="connsiteX2" fmla="*/ 18333 w 18365"/>
                  <a:gd name="connsiteY2" fmla="*/ 8465 h 18423"/>
                  <a:gd name="connsiteX3" fmla="*/ 9960 w 18365"/>
                  <a:gd name="connsiteY3" fmla="*/ 18393 h 18423"/>
                  <a:gd name="connsiteX4" fmla="*/ 32 w 18365"/>
                  <a:gd name="connsiteY4" fmla="*/ 9960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3">
                    <a:moveTo>
                      <a:pt x="32" y="9960"/>
                    </a:moveTo>
                    <a:cubicBezTo>
                      <a:pt x="-386" y="4876"/>
                      <a:pt x="3322" y="450"/>
                      <a:pt x="8405" y="32"/>
                    </a:cubicBezTo>
                    <a:cubicBezTo>
                      <a:pt x="13429" y="-387"/>
                      <a:pt x="17855" y="3381"/>
                      <a:pt x="18333" y="8465"/>
                    </a:cubicBezTo>
                    <a:cubicBezTo>
                      <a:pt x="18752" y="13548"/>
                      <a:pt x="15044" y="17974"/>
                      <a:pt x="9960" y="18393"/>
                    </a:cubicBezTo>
                    <a:cubicBezTo>
                      <a:pt x="4877" y="18811"/>
                      <a:pt x="451" y="14984"/>
                      <a:pt x="32" y="9960"/>
                    </a:cubicBezTo>
                    <a:close/>
                  </a:path>
                </a:pathLst>
              </a:custGeom>
              <a:grpFill/>
              <a:ln w="5978" cap="flat">
                <a:noFill/>
                <a:prstDash val="solid"/>
                <a:miter/>
              </a:ln>
            </p:spPr>
            <p:txBody>
              <a:bodyPr rtlCol="0" anchor="ctr"/>
              <a:lstStyle/>
              <a:p>
                <a:endParaRPr lang="en-GB"/>
              </a:p>
            </p:txBody>
          </p:sp>
          <p:sp>
            <p:nvSpPr>
              <p:cNvPr id="3688" name="Vrije vorm: vorm 3687">
                <a:extLst>
                  <a:ext uri="{FF2B5EF4-FFF2-40B4-BE49-F238E27FC236}">
                    <a16:creationId xmlns:a16="http://schemas.microsoft.com/office/drawing/2014/main" id="{CB97EE11-77E1-4C97-9758-66A7424F610A}"/>
                  </a:ext>
                </a:extLst>
              </p:cNvPr>
              <p:cNvSpPr/>
              <p:nvPr/>
            </p:nvSpPr>
            <p:spPr>
              <a:xfrm>
                <a:off x="5883284" y="1478682"/>
                <a:ext cx="18364" cy="18424"/>
              </a:xfrm>
              <a:custGeom>
                <a:avLst/>
                <a:gdLst>
                  <a:gd name="connsiteX0" fmla="*/ 32 w 18364"/>
                  <a:gd name="connsiteY0" fmla="*/ 9960 h 18424"/>
                  <a:gd name="connsiteX1" fmla="*/ 9960 w 18364"/>
                  <a:gd name="connsiteY1" fmla="*/ 18393 h 18424"/>
                  <a:gd name="connsiteX2" fmla="*/ 18333 w 18364"/>
                  <a:gd name="connsiteY2" fmla="*/ 8465 h 18424"/>
                  <a:gd name="connsiteX3" fmla="*/ 8405 w 18364"/>
                  <a:gd name="connsiteY3" fmla="*/ 32 h 18424"/>
                  <a:gd name="connsiteX4" fmla="*/ 32 w 18364"/>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32" y="9960"/>
                    </a:moveTo>
                    <a:cubicBezTo>
                      <a:pt x="450" y="15043"/>
                      <a:pt x="4876" y="18811"/>
                      <a:pt x="9960" y="18393"/>
                    </a:cubicBezTo>
                    <a:cubicBezTo>
                      <a:pt x="14984" y="17974"/>
                      <a:pt x="18751" y="13548"/>
                      <a:pt x="18333" y="8465"/>
                    </a:cubicBezTo>
                    <a:cubicBezTo>
                      <a:pt x="17914" y="3381"/>
                      <a:pt x="13488" y="-387"/>
                      <a:pt x="8405" y="32"/>
                    </a:cubicBezTo>
                    <a:cubicBezTo>
                      <a:pt x="3381" y="450"/>
                      <a:pt x="-387" y="4876"/>
                      <a:pt x="32" y="9960"/>
                    </a:cubicBezTo>
                    <a:close/>
                  </a:path>
                </a:pathLst>
              </a:custGeom>
              <a:grpFill/>
              <a:ln w="5978" cap="flat">
                <a:noFill/>
                <a:prstDash val="solid"/>
                <a:miter/>
              </a:ln>
            </p:spPr>
            <p:txBody>
              <a:bodyPr rtlCol="0" anchor="ctr"/>
              <a:lstStyle/>
              <a:p>
                <a:endParaRPr lang="en-GB"/>
              </a:p>
            </p:txBody>
          </p:sp>
        </p:grpSp>
        <p:grpSp>
          <p:nvGrpSpPr>
            <p:cNvPr id="568" name="Graphic 3">
              <a:extLst>
                <a:ext uri="{FF2B5EF4-FFF2-40B4-BE49-F238E27FC236}">
                  <a16:creationId xmlns:a16="http://schemas.microsoft.com/office/drawing/2014/main" id="{8DAFC986-6360-4BFF-AB94-3219A53AD1FE}"/>
                </a:ext>
              </a:extLst>
            </p:cNvPr>
            <p:cNvGrpSpPr/>
            <p:nvPr/>
          </p:nvGrpSpPr>
          <p:grpSpPr>
            <a:xfrm>
              <a:off x="5807487" y="1092915"/>
              <a:ext cx="49375" cy="319394"/>
              <a:chOff x="5807487" y="1092915"/>
              <a:chExt cx="49375" cy="319394"/>
            </a:xfrm>
            <a:grpFill/>
          </p:grpSpPr>
          <p:sp>
            <p:nvSpPr>
              <p:cNvPr id="3683" name="Vrije vorm: vorm 3682">
                <a:extLst>
                  <a:ext uri="{FF2B5EF4-FFF2-40B4-BE49-F238E27FC236}">
                    <a16:creationId xmlns:a16="http://schemas.microsoft.com/office/drawing/2014/main" id="{C141D522-6E65-4E09-A8E8-4B059981888B}"/>
                  </a:ext>
                </a:extLst>
              </p:cNvPr>
              <p:cNvSpPr/>
              <p:nvPr/>
            </p:nvSpPr>
            <p:spPr>
              <a:xfrm>
                <a:off x="5815135" y="1101569"/>
                <a:ext cx="34090" cy="302146"/>
              </a:xfrm>
              <a:custGeom>
                <a:avLst/>
                <a:gdLst>
                  <a:gd name="connsiteX0" fmla="*/ 2990 w 34090"/>
                  <a:gd name="connsiteY0" fmla="*/ 0 h 302146"/>
                  <a:gd name="connsiteX1" fmla="*/ 34090 w 34090"/>
                  <a:gd name="connsiteY1" fmla="*/ 301847 h 302146"/>
                  <a:gd name="connsiteX2" fmla="*/ 31100 w 34090"/>
                  <a:gd name="connsiteY2" fmla="*/ 302146 h 302146"/>
                  <a:gd name="connsiteX3" fmla="*/ 0 w 34090"/>
                  <a:gd name="connsiteY3" fmla="*/ 299 h 302146"/>
                </a:gdLst>
                <a:ahLst/>
                <a:cxnLst>
                  <a:cxn ang="0">
                    <a:pos x="connsiteX0" y="connsiteY0"/>
                  </a:cxn>
                  <a:cxn ang="0">
                    <a:pos x="connsiteX1" y="connsiteY1"/>
                  </a:cxn>
                  <a:cxn ang="0">
                    <a:pos x="connsiteX2" y="connsiteY2"/>
                  </a:cxn>
                  <a:cxn ang="0">
                    <a:pos x="connsiteX3" y="connsiteY3"/>
                  </a:cxn>
                </a:cxnLst>
                <a:rect l="l" t="t" r="r" b="b"/>
                <a:pathLst>
                  <a:path w="34090" h="302146">
                    <a:moveTo>
                      <a:pt x="2990" y="0"/>
                    </a:moveTo>
                    <a:lnTo>
                      <a:pt x="34090" y="301847"/>
                    </a:lnTo>
                    <a:lnTo>
                      <a:pt x="31100" y="302146"/>
                    </a:lnTo>
                    <a:lnTo>
                      <a:pt x="0" y="299"/>
                    </a:lnTo>
                    <a:close/>
                  </a:path>
                </a:pathLst>
              </a:custGeom>
              <a:grpFill/>
              <a:ln w="5978" cap="flat">
                <a:noFill/>
                <a:prstDash val="solid"/>
                <a:miter/>
              </a:ln>
            </p:spPr>
            <p:txBody>
              <a:bodyPr rtlCol="0" anchor="ctr"/>
              <a:lstStyle/>
              <a:p>
                <a:endParaRPr lang="en-GB"/>
              </a:p>
            </p:txBody>
          </p:sp>
          <p:sp>
            <p:nvSpPr>
              <p:cNvPr id="3684" name="Vrije vorm: vorm 3683">
                <a:extLst>
                  <a:ext uri="{FF2B5EF4-FFF2-40B4-BE49-F238E27FC236}">
                    <a16:creationId xmlns:a16="http://schemas.microsoft.com/office/drawing/2014/main" id="{A19435C2-4A67-43E1-8145-694BABA1389D}"/>
                  </a:ext>
                </a:extLst>
              </p:cNvPr>
              <p:cNvSpPr/>
              <p:nvPr/>
            </p:nvSpPr>
            <p:spPr>
              <a:xfrm>
                <a:off x="5807487" y="1092915"/>
                <a:ext cx="18346" cy="18454"/>
              </a:xfrm>
              <a:custGeom>
                <a:avLst/>
                <a:gdLst>
                  <a:gd name="connsiteX0" fmla="*/ 53 w 18346"/>
                  <a:gd name="connsiteY0" fmla="*/ 10150 h 18454"/>
                  <a:gd name="connsiteX1" fmla="*/ 8246 w 18346"/>
                  <a:gd name="connsiteY1" fmla="*/ 42 h 18454"/>
                  <a:gd name="connsiteX2" fmla="*/ 18294 w 18346"/>
                  <a:gd name="connsiteY2" fmla="*/ 8296 h 18454"/>
                  <a:gd name="connsiteX3" fmla="*/ 10100 w 18346"/>
                  <a:gd name="connsiteY3" fmla="*/ 18403 h 18454"/>
                  <a:gd name="connsiteX4" fmla="*/ 53 w 18346"/>
                  <a:gd name="connsiteY4" fmla="*/ 10150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4">
                    <a:moveTo>
                      <a:pt x="53" y="10150"/>
                    </a:moveTo>
                    <a:cubicBezTo>
                      <a:pt x="-486" y="5066"/>
                      <a:pt x="3162" y="580"/>
                      <a:pt x="8246" y="42"/>
                    </a:cubicBezTo>
                    <a:cubicBezTo>
                      <a:pt x="13270" y="-436"/>
                      <a:pt x="17755" y="3212"/>
                      <a:pt x="18294" y="8296"/>
                    </a:cubicBezTo>
                    <a:cubicBezTo>
                      <a:pt x="18832" y="13379"/>
                      <a:pt x="15184" y="17865"/>
                      <a:pt x="10100" y="18403"/>
                    </a:cubicBezTo>
                    <a:cubicBezTo>
                      <a:pt x="5076" y="18941"/>
                      <a:pt x="591" y="15233"/>
                      <a:pt x="53" y="10150"/>
                    </a:cubicBezTo>
                    <a:close/>
                  </a:path>
                </a:pathLst>
              </a:custGeom>
              <a:grpFill/>
              <a:ln w="5978" cap="flat">
                <a:noFill/>
                <a:prstDash val="solid"/>
                <a:miter/>
              </a:ln>
            </p:spPr>
            <p:txBody>
              <a:bodyPr rtlCol="0" anchor="ctr"/>
              <a:lstStyle/>
              <a:p>
                <a:endParaRPr lang="en-GB"/>
              </a:p>
            </p:txBody>
          </p:sp>
          <p:sp>
            <p:nvSpPr>
              <p:cNvPr id="3685" name="Vrije vorm: vorm 3684">
                <a:extLst>
                  <a:ext uri="{FF2B5EF4-FFF2-40B4-BE49-F238E27FC236}">
                    <a16:creationId xmlns:a16="http://schemas.microsoft.com/office/drawing/2014/main" id="{2C667A1E-D04A-4F7A-BE40-FE0CEA697349}"/>
                  </a:ext>
                </a:extLst>
              </p:cNvPr>
              <p:cNvSpPr/>
              <p:nvPr/>
            </p:nvSpPr>
            <p:spPr>
              <a:xfrm>
                <a:off x="5838527" y="1393865"/>
                <a:ext cx="18335" cy="18445"/>
              </a:xfrm>
              <a:custGeom>
                <a:avLst/>
                <a:gdLst>
                  <a:gd name="connsiteX0" fmla="*/ 53 w 18335"/>
                  <a:gd name="connsiteY0" fmla="*/ 10150 h 18445"/>
                  <a:gd name="connsiteX1" fmla="*/ 10100 w 18335"/>
                  <a:gd name="connsiteY1" fmla="*/ 18403 h 18445"/>
                  <a:gd name="connsiteX2" fmla="*/ 18294 w 18335"/>
                  <a:gd name="connsiteY2" fmla="*/ 8296 h 18445"/>
                  <a:gd name="connsiteX3" fmla="*/ 8246 w 18335"/>
                  <a:gd name="connsiteY3" fmla="*/ 42 h 18445"/>
                  <a:gd name="connsiteX4" fmla="*/ 53 w 18335"/>
                  <a:gd name="connsiteY4" fmla="*/ 1015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5">
                    <a:moveTo>
                      <a:pt x="53" y="10150"/>
                    </a:moveTo>
                    <a:cubicBezTo>
                      <a:pt x="591" y="15233"/>
                      <a:pt x="5076" y="18881"/>
                      <a:pt x="10100" y="18403"/>
                    </a:cubicBezTo>
                    <a:cubicBezTo>
                      <a:pt x="15124" y="17925"/>
                      <a:pt x="18772" y="13379"/>
                      <a:pt x="18294" y="8296"/>
                    </a:cubicBezTo>
                    <a:cubicBezTo>
                      <a:pt x="17755" y="3212"/>
                      <a:pt x="13270" y="-436"/>
                      <a:pt x="8246" y="42"/>
                    </a:cubicBezTo>
                    <a:cubicBezTo>
                      <a:pt x="3162" y="580"/>
                      <a:pt x="-486" y="5126"/>
                      <a:pt x="53" y="10150"/>
                    </a:cubicBezTo>
                    <a:close/>
                  </a:path>
                </a:pathLst>
              </a:custGeom>
              <a:grpFill/>
              <a:ln w="5978" cap="flat">
                <a:noFill/>
                <a:prstDash val="solid"/>
                <a:miter/>
              </a:ln>
            </p:spPr>
            <p:txBody>
              <a:bodyPr rtlCol="0" anchor="ctr"/>
              <a:lstStyle/>
              <a:p>
                <a:endParaRPr lang="en-GB"/>
              </a:p>
            </p:txBody>
          </p:sp>
        </p:grpSp>
        <p:grpSp>
          <p:nvGrpSpPr>
            <p:cNvPr id="569" name="Graphic 3">
              <a:extLst>
                <a:ext uri="{FF2B5EF4-FFF2-40B4-BE49-F238E27FC236}">
                  <a16:creationId xmlns:a16="http://schemas.microsoft.com/office/drawing/2014/main" id="{C70E474A-8AAA-47EE-913B-26607FE1DCAA}"/>
                </a:ext>
              </a:extLst>
            </p:cNvPr>
            <p:cNvGrpSpPr/>
            <p:nvPr/>
          </p:nvGrpSpPr>
          <p:grpSpPr>
            <a:xfrm>
              <a:off x="5936414" y="1430134"/>
              <a:ext cx="33872" cy="311269"/>
              <a:chOff x="5936414" y="1430134"/>
              <a:chExt cx="33872" cy="311269"/>
            </a:xfrm>
            <a:grpFill/>
          </p:grpSpPr>
          <p:sp>
            <p:nvSpPr>
              <p:cNvPr id="3680" name="Vrije vorm: vorm 3679">
                <a:extLst>
                  <a:ext uri="{FF2B5EF4-FFF2-40B4-BE49-F238E27FC236}">
                    <a16:creationId xmlns:a16="http://schemas.microsoft.com/office/drawing/2014/main" id="{900625E1-5692-4FF9-9542-D5E6F3F130F1}"/>
                  </a:ext>
                </a:extLst>
              </p:cNvPr>
              <p:cNvSpPr/>
              <p:nvPr/>
            </p:nvSpPr>
            <p:spPr>
              <a:xfrm>
                <a:off x="5944020" y="1438822"/>
                <a:ext cx="18660" cy="293892"/>
              </a:xfrm>
              <a:custGeom>
                <a:avLst/>
                <a:gdLst>
                  <a:gd name="connsiteX0" fmla="*/ 18660 w 18660"/>
                  <a:gd name="connsiteY0" fmla="*/ 179 h 293892"/>
                  <a:gd name="connsiteX1" fmla="*/ 3050 w 18660"/>
                  <a:gd name="connsiteY1" fmla="*/ 293893 h 293892"/>
                  <a:gd name="connsiteX2" fmla="*/ 0 w 18660"/>
                  <a:gd name="connsiteY2" fmla="*/ 293713 h 293892"/>
                  <a:gd name="connsiteX3" fmla="*/ 15610 w 18660"/>
                  <a:gd name="connsiteY3" fmla="*/ 0 h 293892"/>
                </a:gdLst>
                <a:ahLst/>
                <a:cxnLst>
                  <a:cxn ang="0">
                    <a:pos x="connsiteX0" y="connsiteY0"/>
                  </a:cxn>
                  <a:cxn ang="0">
                    <a:pos x="connsiteX1" y="connsiteY1"/>
                  </a:cxn>
                  <a:cxn ang="0">
                    <a:pos x="connsiteX2" y="connsiteY2"/>
                  </a:cxn>
                  <a:cxn ang="0">
                    <a:pos x="connsiteX3" y="connsiteY3"/>
                  </a:cxn>
                </a:cxnLst>
                <a:rect l="l" t="t" r="r" b="b"/>
                <a:pathLst>
                  <a:path w="18660" h="293892">
                    <a:moveTo>
                      <a:pt x="18660" y="179"/>
                    </a:moveTo>
                    <a:lnTo>
                      <a:pt x="3050" y="293893"/>
                    </a:lnTo>
                    <a:lnTo>
                      <a:pt x="0" y="293713"/>
                    </a:lnTo>
                    <a:lnTo>
                      <a:pt x="15610" y="0"/>
                    </a:lnTo>
                    <a:close/>
                  </a:path>
                </a:pathLst>
              </a:custGeom>
              <a:grpFill/>
              <a:ln w="5978" cap="flat">
                <a:noFill/>
                <a:prstDash val="solid"/>
                <a:miter/>
              </a:ln>
            </p:spPr>
            <p:txBody>
              <a:bodyPr rtlCol="0" anchor="ctr"/>
              <a:lstStyle/>
              <a:p>
                <a:endParaRPr lang="en-GB"/>
              </a:p>
            </p:txBody>
          </p:sp>
          <p:sp>
            <p:nvSpPr>
              <p:cNvPr id="3681" name="Vrije vorm: vorm 3680">
                <a:extLst>
                  <a:ext uri="{FF2B5EF4-FFF2-40B4-BE49-F238E27FC236}">
                    <a16:creationId xmlns:a16="http://schemas.microsoft.com/office/drawing/2014/main" id="{5EF22C2C-F05D-45FF-8511-827504CF4BCD}"/>
                  </a:ext>
                </a:extLst>
              </p:cNvPr>
              <p:cNvSpPr/>
              <p:nvPr/>
            </p:nvSpPr>
            <p:spPr>
              <a:xfrm>
                <a:off x="5936414" y="1722950"/>
                <a:ext cx="18322" cy="18452"/>
              </a:xfrm>
              <a:custGeom>
                <a:avLst/>
                <a:gdLst>
                  <a:gd name="connsiteX0" fmla="*/ 18312 w 18322"/>
                  <a:gd name="connsiteY0" fmla="*/ 9765 h 18452"/>
                  <a:gd name="connsiteX1" fmla="*/ 8683 w 18322"/>
                  <a:gd name="connsiteY1" fmla="*/ 18437 h 18452"/>
                  <a:gd name="connsiteX2" fmla="*/ 11 w 18322"/>
                  <a:gd name="connsiteY2" fmla="*/ 8688 h 18452"/>
                  <a:gd name="connsiteX3" fmla="*/ 9640 w 18322"/>
                  <a:gd name="connsiteY3" fmla="*/ 16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072" y="14848"/>
                      <a:pt x="13706" y="18736"/>
                      <a:pt x="8683" y="18437"/>
                    </a:cubicBezTo>
                    <a:cubicBezTo>
                      <a:pt x="3599" y="18138"/>
                      <a:pt x="-229" y="13772"/>
                      <a:pt x="11" y="8688"/>
                    </a:cubicBezTo>
                    <a:cubicBezTo>
                      <a:pt x="310" y="3605"/>
                      <a:pt x="4616" y="-283"/>
                      <a:pt x="9640" y="16"/>
                    </a:cubicBezTo>
                    <a:cubicBezTo>
                      <a:pt x="14663" y="315"/>
                      <a:pt x="18551" y="4681"/>
                      <a:pt x="18312" y="9765"/>
                    </a:cubicBezTo>
                    <a:close/>
                  </a:path>
                </a:pathLst>
              </a:custGeom>
              <a:grpFill/>
              <a:ln w="5978" cap="flat">
                <a:noFill/>
                <a:prstDash val="solid"/>
                <a:miter/>
              </a:ln>
            </p:spPr>
            <p:txBody>
              <a:bodyPr rtlCol="0" anchor="ctr"/>
              <a:lstStyle/>
              <a:p>
                <a:endParaRPr lang="en-GB"/>
              </a:p>
            </p:txBody>
          </p:sp>
          <p:sp>
            <p:nvSpPr>
              <p:cNvPr id="3682" name="Vrije vorm: vorm 3681">
                <a:extLst>
                  <a:ext uri="{FF2B5EF4-FFF2-40B4-BE49-F238E27FC236}">
                    <a16:creationId xmlns:a16="http://schemas.microsoft.com/office/drawing/2014/main" id="{E14D5646-67C6-4A4D-A779-5FA822A72CB7}"/>
                  </a:ext>
                </a:extLst>
              </p:cNvPr>
              <p:cNvSpPr/>
              <p:nvPr/>
            </p:nvSpPr>
            <p:spPr>
              <a:xfrm>
                <a:off x="5951963" y="1430134"/>
                <a:ext cx="18322" cy="18452"/>
              </a:xfrm>
              <a:custGeom>
                <a:avLst/>
                <a:gdLst>
                  <a:gd name="connsiteX0" fmla="*/ 18312 w 18322"/>
                  <a:gd name="connsiteY0" fmla="*/ 9765 h 18452"/>
                  <a:gd name="connsiteX1" fmla="*/ 9639 w 18322"/>
                  <a:gd name="connsiteY1" fmla="*/ 16 h 18452"/>
                  <a:gd name="connsiteX2" fmla="*/ 11 w 18322"/>
                  <a:gd name="connsiteY2" fmla="*/ 8688 h 18452"/>
                  <a:gd name="connsiteX3" fmla="*/ 8683 w 18322"/>
                  <a:gd name="connsiteY3" fmla="*/ 18437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551" y="4681"/>
                      <a:pt x="14723" y="315"/>
                      <a:pt x="9639" y="16"/>
                    </a:cubicBezTo>
                    <a:cubicBezTo>
                      <a:pt x="4556" y="-283"/>
                      <a:pt x="250" y="3605"/>
                      <a:pt x="11" y="8688"/>
                    </a:cubicBezTo>
                    <a:cubicBezTo>
                      <a:pt x="-228" y="13772"/>
                      <a:pt x="3599" y="18138"/>
                      <a:pt x="8683" y="18437"/>
                    </a:cubicBezTo>
                    <a:cubicBezTo>
                      <a:pt x="13707" y="18736"/>
                      <a:pt x="18013" y="14848"/>
                      <a:pt x="18312" y="9765"/>
                    </a:cubicBezTo>
                    <a:close/>
                  </a:path>
                </a:pathLst>
              </a:custGeom>
              <a:grpFill/>
              <a:ln w="5978" cap="flat">
                <a:noFill/>
                <a:prstDash val="solid"/>
                <a:miter/>
              </a:ln>
            </p:spPr>
            <p:txBody>
              <a:bodyPr rtlCol="0" anchor="ctr"/>
              <a:lstStyle/>
              <a:p>
                <a:endParaRPr lang="en-GB"/>
              </a:p>
            </p:txBody>
          </p:sp>
        </p:grpSp>
        <p:grpSp>
          <p:nvGrpSpPr>
            <p:cNvPr id="570" name="Graphic 3">
              <a:extLst>
                <a:ext uri="{FF2B5EF4-FFF2-40B4-BE49-F238E27FC236}">
                  <a16:creationId xmlns:a16="http://schemas.microsoft.com/office/drawing/2014/main" id="{07C7CB0D-050E-4FDE-9C42-CFED4E807F43}"/>
                </a:ext>
              </a:extLst>
            </p:cNvPr>
            <p:cNvGrpSpPr/>
            <p:nvPr/>
          </p:nvGrpSpPr>
          <p:grpSpPr>
            <a:xfrm>
              <a:off x="5963028" y="1645625"/>
              <a:ext cx="22029" cy="97386"/>
              <a:chOff x="5963028" y="1645625"/>
              <a:chExt cx="22029" cy="97386"/>
            </a:xfrm>
            <a:grpFill/>
          </p:grpSpPr>
          <p:sp>
            <p:nvSpPr>
              <p:cNvPr id="3677" name="Vrije vorm: vorm 3676">
                <a:extLst>
                  <a:ext uri="{FF2B5EF4-FFF2-40B4-BE49-F238E27FC236}">
                    <a16:creationId xmlns:a16="http://schemas.microsoft.com/office/drawing/2014/main" id="{78F198F2-7759-4359-A8CC-17F8E05079B5}"/>
                  </a:ext>
                </a:extLst>
              </p:cNvPr>
              <p:cNvSpPr/>
              <p:nvPr/>
            </p:nvSpPr>
            <p:spPr>
              <a:xfrm>
                <a:off x="5970634" y="1654308"/>
                <a:ext cx="6818" cy="80081"/>
              </a:xfrm>
              <a:custGeom>
                <a:avLst/>
                <a:gdLst>
                  <a:gd name="connsiteX0" fmla="*/ 3050 w 6818"/>
                  <a:gd name="connsiteY0" fmla="*/ 0 h 80081"/>
                  <a:gd name="connsiteX1" fmla="*/ 6818 w 6818"/>
                  <a:gd name="connsiteY1" fmla="*/ 79902 h 80081"/>
                  <a:gd name="connsiteX2" fmla="*/ 3768 w 6818"/>
                  <a:gd name="connsiteY2" fmla="*/ 80082 h 80081"/>
                  <a:gd name="connsiteX3" fmla="*/ 0 w 6818"/>
                  <a:gd name="connsiteY3" fmla="*/ 120 h 80081"/>
                </a:gdLst>
                <a:ahLst/>
                <a:cxnLst>
                  <a:cxn ang="0">
                    <a:pos x="connsiteX0" y="connsiteY0"/>
                  </a:cxn>
                  <a:cxn ang="0">
                    <a:pos x="connsiteX1" y="connsiteY1"/>
                  </a:cxn>
                  <a:cxn ang="0">
                    <a:pos x="connsiteX2" y="connsiteY2"/>
                  </a:cxn>
                  <a:cxn ang="0">
                    <a:pos x="connsiteX3" y="connsiteY3"/>
                  </a:cxn>
                </a:cxnLst>
                <a:rect l="l" t="t" r="r" b="b"/>
                <a:pathLst>
                  <a:path w="6818" h="80081">
                    <a:moveTo>
                      <a:pt x="3050" y="0"/>
                    </a:moveTo>
                    <a:lnTo>
                      <a:pt x="6818" y="79902"/>
                    </a:lnTo>
                    <a:lnTo>
                      <a:pt x="3768" y="80082"/>
                    </a:lnTo>
                    <a:lnTo>
                      <a:pt x="0" y="120"/>
                    </a:lnTo>
                    <a:close/>
                  </a:path>
                </a:pathLst>
              </a:custGeom>
              <a:grpFill/>
              <a:ln w="5978" cap="flat">
                <a:noFill/>
                <a:prstDash val="solid"/>
                <a:miter/>
              </a:ln>
            </p:spPr>
            <p:txBody>
              <a:bodyPr rtlCol="0" anchor="ctr"/>
              <a:lstStyle/>
              <a:p>
                <a:endParaRPr lang="en-GB"/>
              </a:p>
            </p:txBody>
          </p:sp>
          <p:sp>
            <p:nvSpPr>
              <p:cNvPr id="3678" name="Vrije vorm: vorm 3677">
                <a:extLst>
                  <a:ext uri="{FF2B5EF4-FFF2-40B4-BE49-F238E27FC236}">
                    <a16:creationId xmlns:a16="http://schemas.microsoft.com/office/drawing/2014/main" id="{8D604000-DF7D-497D-B8A7-472320B4A105}"/>
                  </a:ext>
                </a:extLst>
              </p:cNvPr>
              <p:cNvSpPr/>
              <p:nvPr/>
            </p:nvSpPr>
            <p:spPr>
              <a:xfrm>
                <a:off x="5963028" y="1645625"/>
                <a:ext cx="18321" cy="18436"/>
              </a:xfrm>
              <a:custGeom>
                <a:avLst/>
                <a:gdLst>
                  <a:gd name="connsiteX0" fmla="*/ 10 w 18321"/>
                  <a:gd name="connsiteY0" fmla="*/ 9639 h 18436"/>
                  <a:gd name="connsiteX1" fmla="*/ 8742 w 18321"/>
                  <a:gd name="connsiteY1" fmla="*/ 10 h 18436"/>
                  <a:gd name="connsiteX2" fmla="*/ 18311 w 18321"/>
                  <a:gd name="connsiteY2" fmla="*/ 8802 h 18436"/>
                  <a:gd name="connsiteX3" fmla="*/ 9580 w 18321"/>
                  <a:gd name="connsiteY3" fmla="*/ 18431 h 18436"/>
                  <a:gd name="connsiteX4" fmla="*/ 10 w 18321"/>
                  <a:gd name="connsiteY4" fmla="*/ 963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0" y="9639"/>
                    </a:moveTo>
                    <a:cubicBezTo>
                      <a:pt x="-229" y="4556"/>
                      <a:pt x="3659" y="250"/>
                      <a:pt x="8742" y="10"/>
                    </a:cubicBezTo>
                    <a:cubicBezTo>
                      <a:pt x="13826" y="-229"/>
                      <a:pt x="18072" y="3718"/>
                      <a:pt x="18311" y="8802"/>
                    </a:cubicBezTo>
                    <a:cubicBezTo>
                      <a:pt x="18551" y="13886"/>
                      <a:pt x="14663" y="18192"/>
                      <a:pt x="9580" y="18431"/>
                    </a:cubicBezTo>
                    <a:cubicBezTo>
                      <a:pt x="4496" y="18610"/>
                      <a:pt x="250" y="14723"/>
                      <a:pt x="10" y="9639"/>
                    </a:cubicBezTo>
                    <a:close/>
                  </a:path>
                </a:pathLst>
              </a:custGeom>
              <a:grpFill/>
              <a:ln w="5978" cap="flat">
                <a:noFill/>
                <a:prstDash val="solid"/>
                <a:miter/>
              </a:ln>
            </p:spPr>
            <p:txBody>
              <a:bodyPr rtlCol="0" anchor="ctr"/>
              <a:lstStyle/>
              <a:p>
                <a:endParaRPr lang="en-GB"/>
              </a:p>
            </p:txBody>
          </p:sp>
          <p:sp>
            <p:nvSpPr>
              <p:cNvPr id="3679" name="Vrije vorm: vorm 3678">
                <a:extLst>
                  <a:ext uri="{FF2B5EF4-FFF2-40B4-BE49-F238E27FC236}">
                    <a16:creationId xmlns:a16="http://schemas.microsoft.com/office/drawing/2014/main" id="{A38985EB-4873-491B-AABD-D05F411A815E}"/>
                  </a:ext>
                </a:extLst>
              </p:cNvPr>
              <p:cNvSpPr/>
              <p:nvPr/>
            </p:nvSpPr>
            <p:spPr>
              <a:xfrm>
                <a:off x="5966736" y="1724571"/>
                <a:ext cx="18321" cy="18441"/>
              </a:xfrm>
              <a:custGeom>
                <a:avLst/>
                <a:gdLst>
                  <a:gd name="connsiteX0" fmla="*/ 10 w 18321"/>
                  <a:gd name="connsiteY0" fmla="*/ 9639 h 18441"/>
                  <a:gd name="connsiteX1" fmla="*/ 9580 w 18321"/>
                  <a:gd name="connsiteY1" fmla="*/ 18431 h 18441"/>
                  <a:gd name="connsiteX2" fmla="*/ 18311 w 18321"/>
                  <a:gd name="connsiteY2" fmla="*/ 8802 h 18441"/>
                  <a:gd name="connsiteX3" fmla="*/ 8742 w 18321"/>
                  <a:gd name="connsiteY3" fmla="*/ 10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50" y="14723"/>
                      <a:pt x="4556" y="18670"/>
                      <a:pt x="9580" y="18431"/>
                    </a:cubicBezTo>
                    <a:cubicBezTo>
                      <a:pt x="14663" y="18192"/>
                      <a:pt x="18551" y="13886"/>
                      <a:pt x="18311" y="8802"/>
                    </a:cubicBezTo>
                    <a:cubicBezTo>
                      <a:pt x="18072" y="3718"/>
                      <a:pt x="13766" y="-229"/>
                      <a:pt x="8742" y="10"/>
                    </a:cubicBezTo>
                    <a:cubicBezTo>
                      <a:pt x="3659" y="309"/>
                      <a:pt x="-229" y="4556"/>
                      <a:pt x="10" y="9639"/>
                    </a:cubicBezTo>
                    <a:close/>
                  </a:path>
                </a:pathLst>
              </a:custGeom>
              <a:grpFill/>
              <a:ln w="5978" cap="flat">
                <a:noFill/>
                <a:prstDash val="solid"/>
                <a:miter/>
              </a:ln>
            </p:spPr>
            <p:txBody>
              <a:bodyPr rtlCol="0" anchor="ctr"/>
              <a:lstStyle/>
              <a:p>
                <a:endParaRPr lang="en-GB"/>
              </a:p>
            </p:txBody>
          </p:sp>
        </p:grpSp>
        <p:grpSp>
          <p:nvGrpSpPr>
            <p:cNvPr id="571" name="Graphic 3">
              <a:extLst>
                <a:ext uri="{FF2B5EF4-FFF2-40B4-BE49-F238E27FC236}">
                  <a16:creationId xmlns:a16="http://schemas.microsoft.com/office/drawing/2014/main" id="{C2D87CC3-31D4-4BEA-85FD-93D4755908C6}"/>
                </a:ext>
              </a:extLst>
            </p:cNvPr>
            <p:cNvGrpSpPr/>
            <p:nvPr/>
          </p:nvGrpSpPr>
          <p:grpSpPr>
            <a:xfrm>
              <a:off x="5924380" y="1556148"/>
              <a:ext cx="21211" cy="62292"/>
              <a:chOff x="5924380" y="1556148"/>
              <a:chExt cx="21211" cy="62292"/>
            </a:xfrm>
            <a:grpFill/>
          </p:grpSpPr>
          <p:sp>
            <p:nvSpPr>
              <p:cNvPr id="3674" name="Vrije vorm: vorm 3673">
                <a:extLst>
                  <a:ext uri="{FF2B5EF4-FFF2-40B4-BE49-F238E27FC236}">
                    <a16:creationId xmlns:a16="http://schemas.microsoft.com/office/drawing/2014/main" id="{A206D277-FAD7-448C-9B5D-6D01CC1ED65F}"/>
                  </a:ext>
                </a:extLst>
              </p:cNvPr>
              <p:cNvSpPr/>
              <p:nvPr/>
            </p:nvSpPr>
            <p:spPr>
              <a:xfrm>
                <a:off x="5931999" y="1564776"/>
                <a:ext cx="5980" cy="44974"/>
              </a:xfrm>
              <a:custGeom>
                <a:avLst/>
                <a:gdLst>
                  <a:gd name="connsiteX0" fmla="*/ 2990 w 5980"/>
                  <a:gd name="connsiteY0" fmla="*/ 0 h 44974"/>
                  <a:gd name="connsiteX1" fmla="*/ 5981 w 5980"/>
                  <a:gd name="connsiteY1" fmla="*/ 44796 h 44974"/>
                  <a:gd name="connsiteX2" fmla="*/ 2930 w 5980"/>
                  <a:gd name="connsiteY2" fmla="*/ 44975 h 44974"/>
                  <a:gd name="connsiteX3" fmla="*/ 0 w 5980"/>
                  <a:gd name="connsiteY3" fmla="*/ 239 h 44974"/>
                </a:gdLst>
                <a:ahLst/>
                <a:cxnLst>
                  <a:cxn ang="0">
                    <a:pos x="connsiteX0" y="connsiteY0"/>
                  </a:cxn>
                  <a:cxn ang="0">
                    <a:pos x="connsiteX1" y="connsiteY1"/>
                  </a:cxn>
                  <a:cxn ang="0">
                    <a:pos x="connsiteX2" y="connsiteY2"/>
                  </a:cxn>
                  <a:cxn ang="0">
                    <a:pos x="connsiteX3" y="connsiteY3"/>
                  </a:cxn>
                </a:cxnLst>
                <a:rect l="l" t="t" r="r" b="b"/>
                <a:pathLst>
                  <a:path w="5980" h="44974">
                    <a:moveTo>
                      <a:pt x="2990" y="0"/>
                    </a:moveTo>
                    <a:lnTo>
                      <a:pt x="5981" y="44796"/>
                    </a:lnTo>
                    <a:lnTo>
                      <a:pt x="2930" y="44975"/>
                    </a:lnTo>
                    <a:lnTo>
                      <a:pt x="0" y="239"/>
                    </a:lnTo>
                    <a:close/>
                  </a:path>
                </a:pathLst>
              </a:custGeom>
              <a:grpFill/>
              <a:ln w="5978" cap="flat">
                <a:noFill/>
                <a:prstDash val="solid"/>
                <a:miter/>
              </a:ln>
            </p:spPr>
            <p:txBody>
              <a:bodyPr rtlCol="0" anchor="ctr"/>
              <a:lstStyle/>
              <a:p>
                <a:endParaRPr lang="en-GB"/>
              </a:p>
            </p:txBody>
          </p:sp>
          <p:sp>
            <p:nvSpPr>
              <p:cNvPr id="3675" name="Vrije vorm: vorm 3674">
                <a:extLst>
                  <a:ext uri="{FF2B5EF4-FFF2-40B4-BE49-F238E27FC236}">
                    <a16:creationId xmlns:a16="http://schemas.microsoft.com/office/drawing/2014/main" id="{88BF150E-D5F8-4621-BF82-31E9CB4A24EB}"/>
                  </a:ext>
                </a:extLst>
              </p:cNvPr>
              <p:cNvSpPr/>
              <p:nvPr/>
            </p:nvSpPr>
            <p:spPr>
              <a:xfrm>
                <a:off x="5924380" y="1556148"/>
                <a:ext cx="18347" cy="18400"/>
              </a:xfrm>
              <a:custGeom>
                <a:avLst/>
                <a:gdLst>
                  <a:gd name="connsiteX0" fmla="*/ 23 w 18347"/>
                  <a:gd name="connsiteY0" fmla="*/ 9765 h 18400"/>
                  <a:gd name="connsiteX1" fmla="*/ 8576 w 18347"/>
                  <a:gd name="connsiteY1" fmla="*/ 16 h 18400"/>
                  <a:gd name="connsiteX2" fmla="*/ 18324 w 18347"/>
                  <a:gd name="connsiteY2" fmla="*/ 8629 h 18400"/>
                  <a:gd name="connsiteX3" fmla="*/ 9772 w 18347"/>
                  <a:gd name="connsiteY3" fmla="*/ 18377 h 18400"/>
                  <a:gd name="connsiteX4" fmla="*/ 23 w 18347"/>
                  <a:gd name="connsiteY4" fmla="*/ 976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23" y="9765"/>
                    </a:moveTo>
                    <a:cubicBezTo>
                      <a:pt x="-336" y="4681"/>
                      <a:pt x="3492" y="315"/>
                      <a:pt x="8576" y="16"/>
                    </a:cubicBezTo>
                    <a:cubicBezTo>
                      <a:pt x="13600" y="-283"/>
                      <a:pt x="17965" y="3545"/>
                      <a:pt x="18324" y="8629"/>
                    </a:cubicBezTo>
                    <a:cubicBezTo>
                      <a:pt x="18683" y="13712"/>
                      <a:pt x="14855" y="18078"/>
                      <a:pt x="9772" y="18377"/>
                    </a:cubicBezTo>
                    <a:cubicBezTo>
                      <a:pt x="4688" y="18736"/>
                      <a:pt x="322" y="14849"/>
                      <a:pt x="23" y="9765"/>
                    </a:cubicBezTo>
                    <a:close/>
                  </a:path>
                </a:pathLst>
              </a:custGeom>
              <a:grpFill/>
              <a:ln w="5978" cap="flat">
                <a:noFill/>
                <a:prstDash val="solid"/>
                <a:miter/>
              </a:ln>
            </p:spPr>
            <p:txBody>
              <a:bodyPr rtlCol="0" anchor="ctr"/>
              <a:lstStyle/>
              <a:p>
                <a:endParaRPr lang="en-GB"/>
              </a:p>
            </p:txBody>
          </p:sp>
          <p:sp>
            <p:nvSpPr>
              <p:cNvPr id="3676" name="Vrije vorm: vorm 3675">
                <a:extLst>
                  <a:ext uri="{FF2B5EF4-FFF2-40B4-BE49-F238E27FC236}">
                    <a16:creationId xmlns:a16="http://schemas.microsoft.com/office/drawing/2014/main" id="{3829A73C-F80C-44B4-89E8-892F2DE8D3BA}"/>
                  </a:ext>
                </a:extLst>
              </p:cNvPr>
              <p:cNvSpPr/>
              <p:nvPr/>
            </p:nvSpPr>
            <p:spPr>
              <a:xfrm>
                <a:off x="5927250" y="1600046"/>
                <a:ext cx="18340" cy="18393"/>
              </a:xfrm>
              <a:custGeom>
                <a:avLst/>
                <a:gdLst>
                  <a:gd name="connsiteX0" fmla="*/ 23 w 18340"/>
                  <a:gd name="connsiteY0" fmla="*/ 9765 h 18393"/>
                  <a:gd name="connsiteX1" fmla="*/ 9772 w 18340"/>
                  <a:gd name="connsiteY1" fmla="*/ 18377 h 18393"/>
                  <a:gd name="connsiteX2" fmla="*/ 18324 w 18340"/>
                  <a:gd name="connsiteY2" fmla="*/ 8629 h 18393"/>
                  <a:gd name="connsiteX3" fmla="*/ 8576 w 18340"/>
                  <a:gd name="connsiteY3" fmla="*/ 16 h 18393"/>
                  <a:gd name="connsiteX4" fmla="*/ 23 w 18340"/>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23" y="9765"/>
                    </a:moveTo>
                    <a:cubicBezTo>
                      <a:pt x="382" y="14849"/>
                      <a:pt x="4748" y="18676"/>
                      <a:pt x="9772" y="18377"/>
                    </a:cubicBezTo>
                    <a:cubicBezTo>
                      <a:pt x="14796" y="18078"/>
                      <a:pt x="18623" y="13712"/>
                      <a:pt x="18324" y="8629"/>
                    </a:cubicBezTo>
                    <a:cubicBezTo>
                      <a:pt x="17965" y="3545"/>
                      <a:pt x="13600" y="-283"/>
                      <a:pt x="8576" y="16"/>
                    </a:cubicBezTo>
                    <a:cubicBezTo>
                      <a:pt x="3492" y="315"/>
                      <a:pt x="-336" y="4681"/>
                      <a:pt x="23" y="9765"/>
                    </a:cubicBezTo>
                    <a:close/>
                  </a:path>
                </a:pathLst>
              </a:custGeom>
              <a:grpFill/>
              <a:ln w="5978" cap="flat">
                <a:noFill/>
                <a:prstDash val="solid"/>
                <a:miter/>
              </a:ln>
            </p:spPr>
            <p:txBody>
              <a:bodyPr rtlCol="0" anchor="ctr"/>
              <a:lstStyle/>
              <a:p>
                <a:endParaRPr lang="en-GB"/>
              </a:p>
            </p:txBody>
          </p:sp>
        </p:grpSp>
        <p:grpSp>
          <p:nvGrpSpPr>
            <p:cNvPr id="572" name="Graphic 3">
              <a:extLst>
                <a:ext uri="{FF2B5EF4-FFF2-40B4-BE49-F238E27FC236}">
                  <a16:creationId xmlns:a16="http://schemas.microsoft.com/office/drawing/2014/main" id="{9DF36171-7690-46CB-98B1-E5C7D2FE096E}"/>
                </a:ext>
              </a:extLst>
            </p:cNvPr>
            <p:cNvGrpSpPr/>
            <p:nvPr/>
          </p:nvGrpSpPr>
          <p:grpSpPr>
            <a:xfrm>
              <a:off x="6969778" y="4834469"/>
              <a:ext cx="261348" cy="466217"/>
              <a:chOff x="6969778" y="4834469"/>
              <a:chExt cx="261348" cy="466217"/>
            </a:xfrm>
            <a:grpFill/>
          </p:grpSpPr>
          <p:sp>
            <p:nvSpPr>
              <p:cNvPr id="3671" name="Vrije vorm: vorm 3670">
                <a:extLst>
                  <a:ext uri="{FF2B5EF4-FFF2-40B4-BE49-F238E27FC236}">
                    <a16:creationId xmlns:a16="http://schemas.microsoft.com/office/drawing/2014/main" id="{04FE1DBB-24B5-44E8-A568-BD27755CE891}"/>
                  </a:ext>
                </a:extLst>
              </p:cNvPr>
              <p:cNvSpPr/>
              <p:nvPr/>
            </p:nvSpPr>
            <p:spPr>
              <a:xfrm>
                <a:off x="6977429" y="4842570"/>
                <a:ext cx="246047" cy="450049"/>
              </a:xfrm>
              <a:custGeom>
                <a:avLst/>
                <a:gdLst>
                  <a:gd name="connsiteX0" fmla="*/ 246047 w 246047"/>
                  <a:gd name="connsiteY0" fmla="*/ 448614 h 450049"/>
                  <a:gd name="connsiteX1" fmla="*/ 243416 w 246047"/>
                  <a:gd name="connsiteY1" fmla="*/ 450049 h 450049"/>
                  <a:gd name="connsiteX2" fmla="*/ 0 w 246047"/>
                  <a:gd name="connsiteY2" fmla="*/ 1435 h 450049"/>
                  <a:gd name="connsiteX3" fmla="*/ 2692 w 246047"/>
                  <a:gd name="connsiteY3" fmla="*/ 0 h 450049"/>
                </a:gdLst>
                <a:ahLst/>
                <a:cxnLst>
                  <a:cxn ang="0">
                    <a:pos x="connsiteX0" y="connsiteY0"/>
                  </a:cxn>
                  <a:cxn ang="0">
                    <a:pos x="connsiteX1" y="connsiteY1"/>
                  </a:cxn>
                  <a:cxn ang="0">
                    <a:pos x="connsiteX2" y="connsiteY2"/>
                  </a:cxn>
                  <a:cxn ang="0">
                    <a:pos x="connsiteX3" y="connsiteY3"/>
                  </a:cxn>
                </a:cxnLst>
                <a:rect l="l" t="t" r="r" b="b"/>
                <a:pathLst>
                  <a:path w="246047" h="450049">
                    <a:moveTo>
                      <a:pt x="246047" y="448614"/>
                    </a:moveTo>
                    <a:lnTo>
                      <a:pt x="243416" y="450049"/>
                    </a:lnTo>
                    <a:lnTo>
                      <a:pt x="0" y="1435"/>
                    </a:lnTo>
                    <a:lnTo>
                      <a:pt x="2692" y="0"/>
                    </a:lnTo>
                    <a:close/>
                  </a:path>
                </a:pathLst>
              </a:custGeom>
              <a:grpFill/>
              <a:ln w="5978" cap="flat">
                <a:noFill/>
                <a:prstDash val="solid"/>
                <a:miter/>
              </a:ln>
            </p:spPr>
            <p:txBody>
              <a:bodyPr rtlCol="0" anchor="ctr"/>
              <a:lstStyle/>
              <a:p>
                <a:endParaRPr lang="en-GB"/>
              </a:p>
            </p:txBody>
          </p:sp>
          <p:sp>
            <p:nvSpPr>
              <p:cNvPr id="3672" name="Vrije vorm: vorm 3671">
                <a:extLst>
                  <a:ext uri="{FF2B5EF4-FFF2-40B4-BE49-F238E27FC236}">
                    <a16:creationId xmlns:a16="http://schemas.microsoft.com/office/drawing/2014/main" id="{8C434EDD-F266-4360-9A0F-EF9E641A393B}"/>
                  </a:ext>
                </a:extLst>
              </p:cNvPr>
              <p:cNvSpPr/>
              <p:nvPr/>
            </p:nvSpPr>
            <p:spPr>
              <a:xfrm>
                <a:off x="6969778" y="4834469"/>
                <a:ext cx="18352" cy="18441"/>
              </a:xfrm>
              <a:custGeom>
                <a:avLst/>
                <a:gdLst>
                  <a:gd name="connsiteX0" fmla="*/ 1132 w 18352"/>
                  <a:gd name="connsiteY0" fmla="*/ 13603 h 18441"/>
                  <a:gd name="connsiteX1" fmla="*/ 4780 w 18352"/>
                  <a:gd name="connsiteY1" fmla="*/ 1104 h 18441"/>
                  <a:gd name="connsiteX2" fmla="*/ 17220 w 18352"/>
                  <a:gd name="connsiteY2" fmla="*/ 4812 h 18441"/>
                  <a:gd name="connsiteX3" fmla="*/ 13572 w 18352"/>
                  <a:gd name="connsiteY3" fmla="*/ 17311 h 18441"/>
                  <a:gd name="connsiteX4" fmla="*/ 1132 w 18352"/>
                  <a:gd name="connsiteY4" fmla="*/ 13603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41">
                    <a:moveTo>
                      <a:pt x="1132" y="13603"/>
                    </a:moveTo>
                    <a:cubicBezTo>
                      <a:pt x="-1320" y="9118"/>
                      <a:pt x="354" y="3556"/>
                      <a:pt x="4780" y="1104"/>
                    </a:cubicBezTo>
                    <a:cubicBezTo>
                      <a:pt x="9206" y="-1289"/>
                      <a:pt x="14768" y="326"/>
                      <a:pt x="17220" y="4812"/>
                    </a:cubicBezTo>
                    <a:cubicBezTo>
                      <a:pt x="19672" y="9297"/>
                      <a:pt x="17998" y="14859"/>
                      <a:pt x="13572" y="17311"/>
                    </a:cubicBezTo>
                    <a:cubicBezTo>
                      <a:pt x="9146" y="19763"/>
                      <a:pt x="3584" y="18089"/>
                      <a:pt x="1132" y="13603"/>
                    </a:cubicBezTo>
                    <a:close/>
                  </a:path>
                </a:pathLst>
              </a:custGeom>
              <a:grpFill/>
              <a:ln w="5978" cap="flat">
                <a:noFill/>
                <a:prstDash val="solid"/>
                <a:miter/>
              </a:ln>
            </p:spPr>
            <p:txBody>
              <a:bodyPr rtlCol="0" anchor="ctr"/>
              <a:lstStyle/>
              <a:p>
                <a:endParaRPr lang="en-GB"/>
              </a:p>
            </p:txBody>
          </p:sp>
          <p:sp>
            <p:nvSpPr>
              <p:cNvPr id="3673" name="Vrije vorm: vorm 3672">
                <a:extLst>
                  <a:ext uri="{FF2B5EF4-FFF2-40B4-BE49-F238E27FC236}">
                    <a16:creationId xmlns:a16="http://schemas.microsoft.com/office/drawing/2014/main" id="{9DFF922C-B45D-462E-BFDA-BAD38B2FF175}"/>
                  </a:ext>
                </a:extLst>
              </p:cNvPr>
              <p:cNvSpPr/>
              <p:nvPr/>
            </p:nvSpPr>
            <p:spPr>
              <a:xfrm>
                <a:off x="7212762" y="5282220"/>
                <a:ext cx="18364" cy="18467"/>
              </a:xfrm>
              <a:custGeom>
                <a:avLst/>
                <a:gdLst>
                  <a:gd name="connsiteX0" fmla="*/ 1144 w 18364"/>
                  <a:gd name="connsiteY0" fmla="*/ 13630 h 18467"/>
                  <a:gd name="connsiteX1" fmla="*/ 13584 w 18364"/>
                  <a:gd name="connsiteY1" fmla="*/ 17338 h 18467"/>
                  <a:gd name="connsiteX2" fmla="*/ 17233 w 18364"/>
                  <a:gd name="connsiteY2" fmla="*/ 4838 h 18467"/>
                  <a:gd name="connsiteX3" fmla="*/ 4792 w 18364"/>
                  <a:gd name="connsiteY3" fmla="*/ 1130 h 18467"/>
                  <a:gd name="connsiteX4" fmla="*/ 1144 w 18364"/>
                  <a:gd name="connsiteY4" fmla="*/ 136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67">
                    <a:moveTo>
                      <a:pt x="1144" y="13630"/>
                    </a:moveTo>
                    <a:cubicBezTo>
                      <a:pt x="3596" y="18115"/>
                      <a:pt x="9158" y="19790"/>
                      <a:pt x="13584" y="17338"/>
                    </a:cubicBezTo>
                    <a:cubicBezTo>
                      <a:pt x="18010" y="14886"/>
                      <a:pt x="19684" y="9323"/>
                      <a:pt x="17233" y="4838"/>
                    </a:cubicBezTo>
                    <a:cubicBezTo>
                      <a:pt x="14780" y="352"/>
                      <a:pt x="9218" y="-1322"/>
                      <a:pt x="4792" y="1130"/>
                    </a:cubicBezTo>
                    <a:cubicBezTo>
                      <a:pt x="307" y="3582"/>
                      <a:pt x="-1308" y="9204"/>
                      <a:pt x="1144" y="13630"/>
                    </a:cubicBezTo>
                    <a:close/>
                  </a:path>
                </a:pathLst>
              </a:custGeom>
              <a:grpFill/>
              <a:ln w="5978" cap="flat">
                <a:noFill/>
                <a:prstDash val="solid"/>
                <a:miter/>
              </a:ln>
            </p:spPr>
            <p:txBody>
              <a:bodyPr rtlCol="0" anchor="ctr"/>
              <a:lstStyle/>
              <a:p>
                <a:endParaRPr lang="en-GB"/>
              </a:p>
            </p:txBody>
          </p:sp>
        </p:grpSp>
        <p:grpSp>
          <p:nvGrpSpPr>
            <p:cNvPr id="573" name="Graphic 3">
              <a:extLst>
                <a:ext uri="{FF2B5EF4-FFF2-40B4-BE49-F238E27FC236}">
                  <a16:creationId xmlns:a16="http://schemas.microsoft.com/office/drawing/2014/main" id="{8643EEE0-B78A-4D24-B1AF-191D9CBA04A9}"/>
                </a:ext>
              </a:extLst>
            </p:cNvPr>
            <p:cNvGrpSpPr/>
            <p:nvPr/>
          </p:nvGrpSpPr>
          <p:grpSpPr>
            <a:xfrm>
              <a:off x="7049035" y="4955461"/>
              <a:ext cx="65518" cy="91151"/>
              <a:chOff x="7049035" y="4955461"/>
              <a:chExt cx="65518" cy="91151"/>
            </a:xfrm>
            <a:grpFill/>
          </p:grpSpPr>
          <p:sp>
            <p:nvSpPr>
              <p:cNvPr id="3668" name="Vrije vorm: vorm 3667">
                <a:extLst>
                  <a:ext uri="{FF2B5EF4-FFF2-40B4-BE49-F238E27FC236}">
                    <a16:creationId xmlns:a16="http://schemas.microsoft.com/office/drawing/2014/main" id="{B27FA27A-4335-4172-A5A8-388B59E4500E}"/>
                  </a:ext>
                </a:extLst>
              </p:cNvPr>
              <p:cNvSpPr/>
              <p:nvPr/>
            </p:nvSpPr>
            <p:spPr>
              <a:xfrm>
                <a:off x="7056673" y="4963441"/>
                <a:ext cx="50238" cy="75177"/>
              </a:xfrm>
              <a:custGeom>
                <a:avLst/>
                <a:gdLst>
                  <a:gd name="connsiteX0" fmla="*/ 50238 w 50238"/>
                  <a:gd name="connsiteY0" fmla="*/ 73563 h 75177"/>
                  <a:gd name="connsiteX1" fmla="*/ 47667 w 50238"/>
                  <a:gd name="connsiteY1" fmla="*/ 75178 h 75177"/>
                  <a:gd name="connsiteX2" fmla="*/ 0 w 50238"/>
                  <a:gd name="connsiteY2" fmla="*/ 1674 h 75177"/>
                  <a:gd name="connsiteX3" fmla="*/ 2572 w 50238"/>
                  <a:gd name="connsiteY3" fmla="*/ 0 h 75177"/>
                </a:gdLst>
                <a:ahLst/>
                <a:cxnLst>
                  <a:cxn ang="0">
                    <a:pos x="connsiteX0" y="connsiteY0"/>
                  </a:cxn>
                  <a:cxn ang="0">
                    <a:pos x="connsiteX1" y="connsiteY1"/>
                  </a:cxn>
                  <a:cxn ang="0">
                    <a:pos x="connsiteX2" y="connsiteY2"/>
                  </a:cxn>
                  <a:cxn ang="0">
                    <a:pos x="connsiteX3" y="connsiteY3"/>
                  </a:cxn>
                </a:cxnLst>
                <a:rect l="l" t="t" r="r" b="b"/>
                <a:pathLst>
                  <a:path w="50238" h="75177">
                    <a:moveTo>
                      <a:pt x="50238" y="73563"/>
                    </a:moveTo>
                    <a:lnTo>
                      <a:pt x="47667" y="75178"/>
                    </a:lnTo>
                    <a:lnTo>
                      <a:pt x="0" y="1674"/>
                    </a:lnTo>
                    <a:lnTo>
                      <a:pt x="2572" y="0"/>
                    </a:lnTo>
                    <a:close/>
                  </a:path>
                </a:pathLst>
              </a:custGeom>
              <a:grpFill/>
              <a:ln w="5978" cap="flat">
                <a:noFill/>
                <a:prstDash val="solid"/>
                <a:miter/>
              </a:ln>
            </p:spPr>
            <p:txBody>
              <a:bodyPr rtlCol="0" anchor="ctr"/>
              <a:lstStyle/>
              <a:p>
                <a:endParaRPr lang="en-GB"/>
              </a:p>
            </p:txBody>
          </p:sp>
          <p:sp>
            <p:nvSpPr>
              <p:cNvPr id="3669" name="Vrije vorm: vorm 3668">
                <a:extLst>
                  <a:ext uri="{FF2B5EF4-FFF2-40B4-BE49-F238E27FC236}">
                    <a16:creationId xmlns:a16="http://schemas.microsoft.com/office/drawing/2014/main" id="{B69D35BA-13B9-4F62-93A3-154F508C6277}"/>
                  </a:ext>
                </a:extLst>
              </p:cNvPr>
              <p:cNvSpPr/>
              <p:nvPr/>
            </p:nvSpPr>
            <p:spPr>
              <a:xfrm>
                <a:off x="7096282" y="5028213"/>
                <a:ext cx="18270" cy="18399"/>
              </a:xfrm>
              <a:custGeom>
                <a:avLst/>
                <a:gdLst>
                  <a:gd name="connsiteX0" fmla="*/ 16789 w 18270"/>
                  <a:gd name="connsiteY0" fmla="*/ 4185 h 18399"/>
                  <a:gd name="connsiteX1" fmla="*/ 14157 w 18270"/>
                  <a:gd name="connsiteY1" fmla="*/ 16924 h 18399"/>
                  <a:gd name="connsiteX2" fmla="*/ 1478 w 18270"/>
                  <a:gd name="connsiteY2" fmla="*/ 14173 h 18399"/>
                  <a:gd name="connsiteX3" fmla="*/ 4170 w 18270"/>
                  <a:gd name="connsiteY3" fmla="*/ 1434 h 18399"/>
                  <a:gd name="connsiteX4" fmla="*/ 16789 w 18270"/>
                  <a:gd name="connsiteY4" fmla="*/ 4185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0" h="18399">
                    <a:moveTo>
                      <a:pt x="16789" y="4185"/>
                    </a:moveTo>
                    <a:cubicBezTo>
                      <a:pt x="19540" y="8432"/>
                      <a:pt x="18344" y="14173"/>
                      <a:pt x="14157" y="16924"/>
                    </a:cubicBezTo>
                    <a:cubicBezTo>
                      <a:pt x="9911" y="19675"/>
                      <a:pt x="4230" y="18479"/>
                      <a:pt x="1478" y="14173"/>
                    </a:cubicBezTo>
                    <a:cubicBezTo>
                      <a:pt x="-1273" y="9927"/>
                      <a:pt x="-76" y="4185"/>
                      <a:pt x="4170" y="1434"/>
                    </a:cubicBezTo>
                    <a:cubicBezTo>
                      <a:pt x="8296" y="-1257"/>
                      <a:pt x="13978" y="-61"/>
                      <a:pt x="16789" y="4185"/>
                    </a:cubicBezTo>
                    <a:close/>
                  </a:path>
                </a:pathLst>
              </a:custGeom>
              <a:grpFill/>
              <a:ln w="5978" cap="flat">
                <a:noFill/>
                <a:prstDash val="solid"/>
                <a:miter/>
              </a:ln>
            </p:spPr>
            <p:txBody>
              <a:bodyPr rtlCol="0" anchor="ctr"/>
              <a:lstStyle/>
              <a:p>
                <a:endParaRPr lang="en-GB"/>
              </a:p>
            </p:txBody>
          </p:sp>
          <p:sp>
            <p:nvSpPr>
              <p:cNvPr id="3670" name="Vrije vorm: vorm 3669">
                <a:extLst>
                  <a:ext uri="{FF2B5EF4-FFF2-40B4-BE49-F238E27FC236}">
                    <a16:creationId xmlns:a16="http://schemas.microsoft.com/office/drawing/2014/main" id="{CE772C38-1A4F-47EA-AB37-EA56F29B47A5}"/>
                  </a:ext>
                </a:extLst>
              </p:cNvPr>
              <p:cNvSpPr/>
              <p:nvPr/>
            </p:nvSpPr>
            <p:spPr>
              <a:xfrm>
                <a:off x="7049035" y="4955461"/>
                <a:ext cx="18368" cy="18411"/>
              </a:xfrm>
              <a:custGeom>
                <a:avLst/>
                <a:gdLst>
                  <a:gd name="connsiteX0" fmla="*/ 16849 w 18368"/>
                  <a:gd name="connsiteY0" fmla="*/ 4212 h 18411"/>
                  <a:gd name="connsiteX1" fmla="*/ 4170 w 18368"/>
                  <a:gd name="connsiteY1" fmla="*/ 1461 h 18411"/>
                  <a:gd name="connsiteX2" fmla="*/ 1479 w 18368"/>
                  <a:gd name="connsiteY2" fmla="*/ 14200 h 18411"/>
                  <a:gd name="connsiteX3" fmla="*/ 14158 w 18368"/>
                  <a:gd name="connsiteY3" fmla="*/ 16951 h 18411"/>
                  <a:gd name="connsiteX4" fmla="*/ 16849 w 18368"/>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11">
                    <a:moveTo>
                      <a:pt x="16849" y="4212"/>
                    </a:moveTo>
                    <a:cubicBezTo>
                      <a:pt x="14098" y="-35"/>
                      <a:pt x="8416" y="-1290"/>
                      <a:pt x="4170" y="1461"/>
                    </a:cubicBezTo>
                    <a:cubicBezTo>
                      <a:pt x="-76" y="4212"/>
                      <a:pt x="-1273" y="9953"/>
                      <a:pt x="1479" y="14200"/>
                    </a:cubicBezTo>
                    <a:cubicBezTo>
                      <a:pt x="4230" y="18446"/>
                      <a:pt x="9911" y="19702"/>
                      <a:pt x="14158" y="16951"/>
                    </a:cubicBezTo>
                    <a:cubicBezTo>
                      <a:pt x="18464" y="14200"/>
                      <a:pt x="19660" y="8458"/>
                      <a:pt x="16849" y="4212"/>
                    </a:cubicBezTo>
                    <a:close/>
                  </a:path>
                </a:pathLst>
              </a:custGeom>
              <a:grpFill/>
              <a:ln w="5978" cap="flat">
                <a:noFill/>
                <a:prstDash val="solid"/>
                <a:miter/>
              </a:ln>
            </p:spPr>
            <p:txBody>
              <a:bodyPr rtlCol="0" anchor="ctr"/>
              <a:lstStyle/>
              <a:p>
                <a:endParaRPr lang="en-GB"/>
              </a:p>
            </p:txBody>
          </p:sp>
        </p:grpSp>
        <p:grpSp>
          <p:nvGrpSpPr>
            <p:cNvPr id="574" name="Graphic 3">
              <a:extLst>
                <a:ext uri="{FF2B5EF4-FFF2-40B4-BE49-F238E27FC236}">
                  <a16:creationId xmlns:a16="http://schemas.microsoft.com/office/drawing/2014/main" id="{0C23C0DB-5016-49CF-A998-B84AF3CEE23C}"/>
                </a:ext>
              </a:extLst>
            </p:cNvPr>
            <p:cNvGrpSpPr/>
            <p:nvPr/>
          </p:nvGrpSpPr>
          <p:grpSpPr>
            <a:xfrm>
              <a:off x="6997516" y="4817984"/>
              <a:ext cx="60747" cy="81254"/>
              <a:chOff x="6997516" y="4817984"/>
              <a:chExt cx="60747" cy="81254"/>
            </a:xfrm>
            <a:grpFill/>
          </p:grpSpPr>
          <p:sp>
            <p:nvSpPr>
              <p:cNvPr id="3665" name="Vrije vorm: vorm 3664">
                <a:extLst>
                  <a:ext uri="{FF2B5EF4-FFF2-40B4-BE49-F238E27FC236}">
                    <a16:creationId xmlns:a16="http://schemas.microsoft.com/office/drawing/2014/main" id="{03505982-2455-48F8-A605-C0D0986DADAC}"/>
                  </a:ext>
                </a:extLst>
              </p:cNvPr>
              <p:cNvSpPr/>
              <p:nvPr/>
            </p:nvSpPr>
            <p:spPr>
              <a:xfrm>
                <a:off x="7005179" y="4826004"/>
                <a:ext cx="45394" cy="65249"/>
              </a:xfrm>
              <a:custGeom>
                <a:avLst/>
                <a:gdLst>
                  <a:gd name="connsiteX0" fmla="*/ 45394 w 45394"/>
                  <a:gd name="connsiteY0" fmla="*/ 63515 h 65249"/>
                  <a:gd name="connsiteX1" fmla="*/ 42882 w 45394"/>
                  <a:gd name="connsiteY1" fmla="*/ 65250 h 65249"/>
                  <a:gd name="connsiteX2" fmla="*/ 0 w 45394"/>
                  <a:gd name="connsiteY2" fmla="*/ 1674 h 65249"/>
                  <a:gd name="connsiteX3" fmla="*/ 2572 w 45394"/>
                  <a:gd name="connsiteY3" fmla="*/ 0 h 65249"/>
                </a:gdLst>
                <a:ahLst/>
                <a:cxnLst>
                  <a:cxn ang="0">
                    <a:pos x="connsiteX0" y="connsiteY0"/>
                  </a:cxn>
                  <a:cxn ang="0">
                    <a:pos x="connsiteX1" y="connsiteY1"/>
                  </a:cxn>
                  <a:cxn ang="0">
                    <a:pos x="connsiteX2" y="connsiteY2"/>
                  </a:cxn>
                  <a:cxn ang="0">
                    <a:pos x="connsiteX3" y="connsiteY3"/>
                  </a:cxn>
                </a:cxnLst>
                <a:rect l="l" t="t" r="r" b="b"/>
                <a:pathLst>
                  <a:path w="45394" h="65249">
                    <a:moveTo>
                      <a:pt x="45394" y="63515"/>
                    </a:moveTo>
                    <a:lnTo>
                      <a:pt x="42882" y="65250"/>
                    </a:lnTo>
                    <a:lnTo>
                      <a:pt x="0" y="1674"/>
                    </a:lnTo>
                    <a:lnTo>
                      <a:pt x="2572" y="0"/>
                    </a:lnTo>
                    <a:close/>
                  </a:path>
                </a:pathLst>
              </a:custGeom>
              <a:grpFill/>
              <a:ln w="5978" cap="flat">
                <a:noFill/>
                <a:prstDash val="solid"/>
                <a:miter/>
              </a:ln>
            </p:spPr>
            <p:txBody>
              <a:bodyPr rtlCol="0" anchor="ctr"/>
              <a:lstStyle/>
              <a:p>
                <a:endParaRPr lang="en-GB"/>
              </a:p>
            </p:txBody>
          </p:sp>
          <p:sp>
            <p:nvSpPr>
              <p:cNvPr id="3666" name="Vrije vorm: vorm 3665">
                <a:extLst>
                  <a:ext uri="{FF2B5EF4-FFF2-40B4-BE49-F238E27FC236}">
                    <a16:creationId xmlns:a16="http://schemas.microsoft.com/office/drawing/2014/main" id="{A2D7977D-850A-4C38-AC3F-F4C00D7B0266}"/>
                  </a:ext>
                </a:extLst>
              </p:cNvPr>
              <p:cNvSpPr/>
              <p:nvPr/>
            </p:nvSpPr>
            <p:spPr>
              <a:xfrm>
                <a:off x="7039893" y="4880782"/>
                <a:ext cx="18370" cy="18457"/>
              </a:xfrm>
              <a:custGeom>
                <a:avLst/>
                <a:gdLst>
                  <a:gd name="connsiteX0" fmla="*/ 16780 w 18370"/>
                  <a:gd name="connsiteY0" fmla="*/ 4072 h 18457"/>
                  <a:gd name="connsiteX1" fmla="*/ 14329 w 18370"/>
                  <a:gd name="connsiteY1" fmla="*/ 16871 h 18457"/>
                  <a:gd name="connsiteX2" fmla="*/ 1590 w 18370"/>
                  <a:gd name="connsiteY2" fmla="*/ 14359 h 18457"/>
                  <a:gd name="connsiteX3" fmla="*/ 4041 w 18370"/>
                  <a:gd name="connsiteY3" fmla="*/ 1560 h 18457"/>
                  <a:gd name="connsiteX4" fmla="*/ 16780 w 18370"/>
                  <a:gd name="connsiteY4" fmla="*/ 407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57">
                    <a:moveTo>
                      <a:pt x="16780" y="4072"/>
                    </a:moveTo>
                    <a:cubicBezTo>
                      <a:pt x="19652" y="8319"/>
                      <a:pt x="18515" y="14000"/>
                      <a:pt x="14329" y="16871"/>
                    </a:cubicBezTo>
                    <a:cubicBezTo>
                      <a:pt x="10142" y="19742"/>
                      <a:pt x="4460" y="18605"/>
                      <a:pt x="1590" y="14359"/>
                    </a:cubicBezTo>
                    <a:cubicBezTo>
                      <a:pt x="-1281" y="10113"/>
                      <a:pt x="-145" y="4431"/>
                      <a:pt x="4041" y="1560"/>
                    </a:cubicBezTo>
                    <a:cubicBezTo>
                      <a:pt x="8228" y="-1251"/>
                      <a:pt x="13910" y="-174"/>
                      <a:pt x="16780" y="4072"/>
                    </a:cubicBezTo>
                    <a:close/>
                  </a:path>
                </a:pathLst>
              </a:custGeom>
              <a:grpFill/>
              <a:ln w="5978" cap="flat">
                <a:noFill/>
                <a:prstDash val="solid"/>
                <a:miter/>
              </a:ln>
            </p:spPr>
            <p:txBody>
              <a:bodyPr rtlCol="0" anchor="ctr"/>
              <a:lstStyle/>
              <a:p>
                <a:endParaRPr lang="en-GB"/>
              </a:p>
            </p:txBody>
          </p:sp>
          <p:sp>
            <p:nvSpPr>
              <p:cNvPr id="3667" name="Vrije vorm: vorm 3666">
                <a:extLst>
                  <a:ext uri="{FF2B5EF4-FFF2-40B4-BE49-F238E27FC236}">
                    <a16:creationId xmlns:a16="http://schemas.microsoft.com/office/drawing/2014/main" id="{2747E9A6-CE98-4C29-92C7-D19A1816209A}"/>
                  </a:ext>
                </a:extLst>
              </p:cNvPr>
              <p:cNvSpPr/>
              <p:nvPr/>
            </p:nvSpPr>
            <p:spPr>
              <a:xfrm>
                <a:off x="6997516" y="4817984"/>
                <a:ext cx="18359" cy="18430"/>
              </a:xfrm>
              <a:custGeom>
                <a:avLst/>
                <a:gdLst>
                  <a:gd name="connsiteX0" fmla="*/ 16754 w 18359"/>
                  <a:gd name="connsiteY0" fmla="*/ 4072 h 18430"/>
                  <a:gd name="connsiteX1" fmla="*/ 4015 w 18359"/>
                  <a:gd name="connsiteY1" fmla="*/ 1560 h 18430"/>
                  <a:gd name="connsiteX2" fmla="*/ 1563 w 18359"/>
                  <a:gd name="connsiteY2" fmla="*/ 14359 h 18430"/>
                  <a:gd name="connsiteX3" fmla="*/ 14302 w 18359"/>
                  <a:gd name="connsiteY3" fmla="*/ 16871 h 18430"/>
                  <a:gd name="connsiteX4" fmla="*/ 16754 w 18359"/>
                  <a:gd name="connsiteY4" fmla="*/ 407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30">
                    <a:moveTo>
                      <a:pt x="16754" y="4072"/>
                    </a:moveTo>
                    <a:cubicBezTo>
                      <a:pt x="13884" y="-174"/>
                      <a:pt x="8202" y="-1251"/>
                      <a:pt x="4015" y="1560"/>
                    </a:cubicBezTo>
                    <a:cubicBezTo>
                      <a:pt x="-171" y="4431"/>
                      <a:pt x="-1248" y="10113"/>
                      <a:pt x="1563" y="14359"/>
                    </a:cubicBezTo>
                    <a:cubicBezTo>
                      <a:pt x="4434" y="18605"/>
                      <a:pt x="10116" y="19682"/>
                      <a:pt x="14302" y="16871"/>
                    </a:cubicBezTo>
                    <a:cubicBezTo>
                      <a:pt x="18549" y="14000"/>
                      <a:pt x="19625" y="8319"/>
                      <a:pt x="16754" y="4072"/>
                    </a:cubicBezTo>
                    <a:close/>
                  </a:path>
                </a:pathLst>
              </a:custGeom>
              <a:grpFill/>
              <a:ln w="5978" cap="flat">
                <a:noFill/>
                <a:prstDash val="solid"/>
                <a:miter/>
              </a:ln>
            </p:spPr>
            <p:txBody>
              <a:bodyPr rtlCol="0" anchor="ctr"/>
              <a:lstStyle/>
              <a:p>
                <a:endParaRPr lang="en-GB"/>
              </a:p>
            </p:txBody>
          </p:sp>
        </p:grpSp>
        <p:grpSp>
          <p:nvGrpSpPr>
            <p:cNvPr id="575" name="Graphic 3">
              <a:extLst>
                <a:ext uri="{FF2B5EF4-FFF2-40B4-BE49-F238E27FC236}">
                  <a16:creationId xmlns:a16="http://schemas.microsoft.com/office/drawing/2014/main" id="{E9719AD6-3418-4322-8161-9DBC06CCC7B3}"/>
                </a:ext>
              </a:extLst>
            </p:cNvPr>
            <p:cNvGrpSpPr/>
            <p:nvPr/>
          </p:nvGrpSpPr>
          <p:grpSpPr>
            <a:xfrm>
              <a:off x="5905023" y="1407717"/>
              <a:ext cx="27037" cy="334154"/>
              <a:chOff x="5905023" y="1407717"/>
              <a:chExt cx="27037" cy="334154"/>
            </a:xfrm>
            <a:grpFill/>
          </p:grpSpPr>
          <p:sp>
            <p:nvSpPr>
              <p:cNvPr id="3662" name="Vrije vorm: vorm 3661">
                <a:extLst>
                  <a:ext uri="{FF2B5EF4-FFF2-40B4-BE49-F238E27FC236}">
                    <a16:creationId xmlns:a16="http://schemas.microsoft.com/office/drawing/2014/main" id="{9E9F55FD-CE2A-47F2-82CC-B46D8B7B96D3}"/>
                  </a:ext>
                </a:extLst>
              </p:cNvPr>
              <p:cNvSpPr/>
              <p:nvPr/>
            </p:nvSpPr>
            <p:spPr>
              <a:xfrm>
                <a:off x="5912621" y="1416454"/>
                <a:ext cx="11842" cy="316738"/>
              </a:xfrm>
              <a:custGeom>
                <a:avLst/>
                <a:gdLst>
                  <a:gd name="connsiteX0" fmla="*/ 11842 w 11842"/>
                  <a:gd name="connsiteY0" fmla="*/ 60 h 316738"/>
                  <a:gd name="connsiteX1" fmla="*/ 3050 w 11842"/>
                  <a:gd name="connsiteY1" fmla="*/ 316739 h 316738"/>
                  <a:gd name="connsiteX2" fmla="*/ 0 w 11842"/>
                  <a:gd name="connsiteY2" fmla="*/ 316619 h 316738"/>
                  <a:gd name="connsiteX3" fmla="*/ 8792 w 11842"/>
                  <a:gd name="connsiteY3" fmla="*/ 0 h 316738"/>
                </a:gdLst>
                <a:ahLst/>
                <a:cxnLst>
                  <a:cxn ang="0">
                    <a:pos x="connsiteX0" y="connsiteY0"/>
                  </a:cxn>
                  <a:cxn ang="0">
                    <a:pos x="connsiteX1" y="connsiteY1"/>
                  </a:cxn>
                  <a:cxn ang="0">
                    <a:pos x="connsiteX2" y="connsiteY2"/>
                  </a:cxn>
                  <a:cxn ang="0">
                    <a:pos x="connsiteX3" y="connsiteY3"/>
                  </a:cxn>
                </a:cxnLst>
                <a:rect l="l" t="t" r="r" b="b"/>
                <a:pathLst>
                  <a:path w="11842" h="316738">
                    <a:moveTo>
                      <a:pt x="11842" y="60"/>
                    </a:moveTo>
                    <a:lnTo>
                      <a:pt x="3050" y="316739"/>
                    </a:lnTo>
                    <a:lnTo>
                      <a:pt x="0" y="316619"/>
                    </a:lnTo>
                    <a:lnTo>
                      <a:pt x="8792" y="0"/>
                    </a:lnTo>
                    <a:close/>
                  </a:path>
                </a:pathLst>
              </a:custGeom>
              <a:grpFill/>
              <a:ln w="5978" cap="flat">
                <a:noFill/>
                <a:prstDash val="solid"/>
                <a:miter/>
              </a:ln>
            </p:spPr>
            <p:txBody>
              <a:bodyPr rtlCol="0" anchor="ctr"/>
              <a:lstStyle/>
              <a:p>
                <a:endParaRPr lang="en-GB"/>
              </a:p>
            </p:txBody>
          </p:sp>
          <p:sp>
            <p:nvSpPr>
              <p:cNvPr id="3663" name="Vrije vorm: vorm 3662">
                <a:extLst>
                  <a:ext uri="{FF2B5EF4-FFF2-40B4-BE49-F238E27FC236}">
                    <a16:creationId xmlns:a16="http://schemas.microsoft.com/office/drawing/2014/main" id="{B62E2761-D102-447F-896D-7DE09E020215}"/>
                  </a:ext>
                </a:extLst>
              </p:cNvPr>
              <p:cNvSpPr/>
              <p:nvPr/>
            </p:nvSpPr>
            <p:spPr>
              <a:xfrm>
                <a:off x="5905023" y="1723439"/>
                <a:ext cx="18306" cy="18432"/>
              </a:xfrm>
              <a:custGeom>
                <a:avLst/>
                <a:gdLst>
                  <a:gd name="connsiteX0" fmla="*/ 18304 w 18306"/>
                  <a:gd name="connsiteY0" fmla="*/ 9515 h 18432"/>
                  <a:gd name="connsiteX1" fmla="*/ 8914 w 18306"/>
                  <a:gd name="connsiteY1" fmla="*/ 18426 h 18432"/>
                  <a:gd name="connsiteX2" fmla="*/ 3 w 18306"/>
                  <a:gd name="connsiteY2" fmla="*/ 8917 h 18432"/>
                  <a:gd name="connsiteX3" fmla="*/ 9392 w 18306"/>
                  <a:gd name="connsiteY3" fmla="*/ 6 h 18432"/>
                  <a:gd name="connsiteX4" fmla="*/ 18304 w 18306"/>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18304" y="9515"/>
                    </a:moveTo>
                    <a:cubicBezTo>
                      <a:pt x="18184" y="14599"/>
                      <a:pt x="13937" y="18606"/>
                      <a:pt x="8914" y="18426"/>
                    </a:cubicBezTo>
                    <a:cubicBezTo>
                      <a:pt x="3830" y="18247"/>
                      <a:pt x="-117" y="14001"/>
                      <a:pt x="3" y="8917"/>
                    </a:cubicBezTo>
                    <a:cubicBezTo>
                      <a:pt x="122" y="3833"/>
                      <a:pt x="4368" y="-174"/>
                      <a:pt x="9392" y="6"/>
                    </a:cubicBezTo>
                    <a:cubicBezTo>
                      <a:pt x="14416" y="185"/>
                      <a:pt x="18423" y="4431"/>
                      <a:pt x="18304" y="9515"/>
                    </a:cubicBezTo>
                    <a:close/>
                  </a:path>
                </a:pathLst>
              </a:custGeom>
              <a:grpFill/>
              <a:ln w="5978" cap="flat">
                <a:noFill/>
                <a:prstDash val="solid"/>
                <a:miter/>
              </a:ln>
            </p:spPr>
            <p:txBody>
              <a:bodyPr rtlCol="0" anchor="ctr"/>
              <a:lstStyle/>
              <a:p>
                <a:endParaRPr lang="en-GB"/>
              </a:p>
            </p:txBody>
          </p:sp>
          <p:sp>
            <p:nvSpPr>
              <p:cNvPr id="3664" name="Vrije vorm: vorm 3663">
                <a:extLst>
                  <a:ext uri="{FF2B5EF4-FFF2-40B4-BE49-F238E27FC236}">
                    <a16:creationId xmlns:a16="http://schemas.microsoft.com/office/drawing/2014/main" id="{A7F970A2-741B-4EB2-9F92-0683FC943DFD}"/>
                  </a:ext>
                </a:extLst>
              </p:cNvPr>
              <p:cNvSpPr/>
              <p:nvPr/>
            </p:nvSpPr>
            <p:spPr>
              <a:xfrm>
                <a:off x="5913755" y="1407717"/>
                <a:ext cx="18306" cy="18432"/>
              </a:xfrm>
              <a:custGeom>
                <a:avLst/>
                <a:gdLst>
                  <a:gd name="connsiteX0" fmla="*/ 18304 w 18306"/>
                  <a:gd name="connsiteY0" fmla="*/ 9515 h 18432"/>
                  <a:gd name="connsiteX1" fmla="*/ 9392 w 18306"/>
                  <a:gd name="connsiteY1" fmla="*/ 6 h 18432"/>
                  <a:gd name="connsiteX2" fmla="*/ 3 w 18306"/>
                  <a:gd name="connsiteY2" fmla="*/ 8917 h 18432"/>
                  <a:gd name="connsiteX3" fmla="*/ 8914 w 18306"/>
                  <a:gd name="connsiteY3" fmla="*/ 18426 h 18432"/>
                  <a:gd name="connsiteX4" fmla="*/ 18304 w 18306"/>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18304" y="9515"/>
                    </a:moveTo>
                    <a:cubicBezTo>
                      <a:pt x="18423" y="4432"/>
                      <a:pt x="14476" y="185"/>
                      <a:pt x="9392" y="6"/>
                    </a:cubicBezTo>
                    <a:cubicBezTo>
                      <a:pt x="4309" y="-174"/>
                      <a:pt x="122" y="3833"/>
                      <a:pt x="3" y="8917"/>
                    </a:cubicBezTo>
                    <a:cubicBezTo>
                      <a:pt x="-117" y="14001"/>
                      <a:pt x="3830" y="18247"/>
                      <a:pt x="8914" y="18426"/>
                    </a:cubicBezTo>
                    <a:cubicBezTo>
                      <a:pt x="13938" y="18606"/>
                      <a:pt x="18184" y="14599"/>
                      <a:pt x="18304" y="9515"/>
                    </a:cubicBezTo>
                    <a:close/>
                  </a:path>
                </a:pathLst>
              </a:custGeom>
              <a:grpFill/>
              <a:ln w="5978" cap="flat">
                <a:noFill/>
                <a:prstDash val="solid"/>
                <a:miter/>
              </a:ln>
            </p:spPr>
            <p:txBody>
              <a:bodyPr rtlCol="0" anchor="ctr"/>
              <a:lstStyle/>
              <a:p>
                <a:endParaRPr lang="en-GB"/>
              </a:p>
            </p:txBody>
          </p:sp>
        </p:grpSp>
        <p:grpSp>
          <p:nvGrpSpPr>
            <p:cNvPr id="576" name="Graphic 3">
              <a:extLst>
                <a:ext uri="{FF2B5EF4-FFF2-40B4-BE49-F238E27FC236}">
                  <a16:creationId xmlns:a16="http://schemas.microsoft.com/office/drawing/2014/main" id="{BFE21453-CCC2-491B-9161-096FD8AE2183}"/>
                </a:ext>
              </a:extLst>
            </p:cNvPr>
            <p:cNvGrpSpPr/>
            <p:nvPr/>
          </p:nvGrpSpPr>
          <p:grpSpPr>
            <a:xfrm>
              <a:off x="5884838" y="1497043"/>
              <a:ext cx="25422" cy="101975"/>
              <a:chOff x="5884838" y="1497043"/>
              <a:chExt cx="25422" cy="101975"/>
            </a:xfrm>
            <a:grpFill/>
          </p:grpSpPr>
          <p:sp>
            <p:nvSpPr>
              <p:cNvPr id="3659" name="Vrije vorm: vorm 3658">
                <a:extLst>
                  <a:ext uri="{FF2B5EF4-FFF2-40B4-BE49-F238E27FC236}">
                    <a16:creationId xmlns:a16="http://schemas.microsoft.com/office/drawing/2014/main" id="{EA02110E-A497-4100-A174-3F7FB1CA8B4F}"/>
                  </a:ext>
                </a:extLst>
              </p:cNvPr>
              <p:cNvSpPr/>
              <p:nvPr/>
            </p:nvSpPr>
            <p:spPr>
              <a:xfrm>
                <a:off x="5892466" y="1505687"/>
                <a:ext cx="10167" cy="84687"/>
              </a:xfrm>
              <a:custGeom>
                <a:avLst/>
                <a:gdLst>
                  <a:gd name="connsiteX0" fmla="*/ 3050 w 10167"/>
                  <a:gd name="connsiteY0" fmla="*/ 0 h 84687"/>
                  <a:gd name="connsiteX1" fmla="*/ 10167 w 10167"/>
                  <a:gd name="connsiteY1" fmla="*/ 84448 h 84687"/>
                  <a:gd name="connsiteX2" fmla="*/ 7117 w 10167"/>
                  <a:gd name="connsiteY2" fmla="*/ 84687 h 84687"/>
                  <a:gd name="connsiteX3" fmla="*/ 0 w 10167"/>
                  <a:gd name="connsiteY3" fmla="*/ 239 h 84687"/>
                </a:gdLst>
                <a:ahLst/>
                <a:cxnLst>
                  <a:cxn ang="0">
                    <a:pos x="connsiteX0" y="connsiteY0"/>
                  </a:cxn>
                  <a:cxn ang="0">
                    <a:pos x="connsiteX1" y="connsiteY1"/>
                  </a:cxn>
                  <a:cxn ang="0">
                    <a:pos x="connsiteX2" y="connsiteY2"/>
                  </a:cxn>
                  <a:cxn ang="0">
                    <a:pos x="connsiteX3" y="connsiteY3"/>
                  </a:cxn>
                </a:cxnLst>
                <a:rect l="l" t="t" r="r" b="b"/>
                <a:pathLst>
                  <a:path w="10167" h="84687">
                    <a:moveTo>
                      <a:pt x="3050" y="0"/>
                    </a:moveTo>
                    <a:lnTo>
                      <a:pt x="10167" y="84448"/>
                    </a:lnTo>
                    <a:lnTo>
                      <a:pt x="7117" y="84687"/>
                    </a:lnTo>
                    <a:lnTo>
                      <a:pt x="0" y="239"/>
                    </a:lnTo>
                    <a:close/>
                  </a:path>
                </a:pathLst>
              </a:custGeom>
              <a:grpFill/>
              <a:ln w="5978" cap="flat">
                <a:noFill/>
                <a:prstDash val="solid"/>
                <a:miter/>
              </a:ln>
            </p:spPr>
            <p:txBody>
              <a:bodyPr rtlCol="0" anchor="ctr"/>
              <a:lstStyle/>
              <a:p>
                <a:endParaRPr lang="en-GB"/>
              </a:p>
            </p:txBody>
          </p:sp>
          <p:sp>
            <p:nvSpPr>
              <p:cNvPr id="3660" name="Vrije vorm: vorm 3659">
                <a:extLst>
                  <a:ext uri="{FF2B5EF4-FFF2-40B4-BE49-F238E27FC236}">
                    <a16:creationId xmlns:a16="http://schemas.microsoft.com/office/drawing/2014/main" id="{9D31873E-4140-4BFE-8D1D-0EA6123EC710}"/>
                  </a:ext>
                </a:extLst>
              </p:cNvPr>
              <p:cNvSpPr/>
              <p:nvPr/>
            </p:nvSpPr>
            <p:spPr>
              <a:xfrm>
                <a:off x="5884838" y="1497043"/>
                <a:ext cx="18365" cy="18424"/>
              </a:xfrm>
              <a:custGeom>
                <a:avLst/>
                <a:gdLst>
                  <a:gd name="connsiteX0" fmla="*/ 32 w 18365"/>
                  <a:gd name="connsiteY0" fmla="*/ 9960 h 18424"/>
                  <a:gd name="connsiteX1" fmla="*/ 8405 w 18365"/>
                  <a:gd name="connsiteY1" fmla="*/ 32 h 18424"/>
                  <a:gd name="connsiteX2" fmla="*/ 18333 w 18365"/>
                  <a:gd name="connsiteY2" fmla="*/ 8465 h 18424"/>
                  <a:gd name="connsiteX3" fmla="*/ 9960 w 18365"/>
                  <a:gd name="connsiteY3" fmla="*/ 18393 h 18424"/>
                  <a:gd name="connsiteX4" fmla="*/ 32 w 18365"/>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4">
                    <a:moveTo>
                      <a:pt x="32" y="9960"/>
                    </a:moveTo>
                    <a:cubicBezTo>
                      <a:pt x="-386" y="4876"/>
                      <a:pt x="3322" y="450"/>
                      <a:pt x="8405" y="32"/>
                    </a:cubicBezTo>
                    <a:cubicBezTo>
                      <a:pt x="13429" y="-387"/>
                      <a:pt x="17855" y="3381"/>
                      <a:pt x="18333" y="8465"/>
                    </a:cubicBezTo>
                    <a:cubicBezTo>
                      <a:pt x="18752" y="13548"/>
                      <a:pt x="15044" y="17974"/>
                      <a:pt x="9960" y="18393"/>
                    </a:cubicBezTo>
                    <a:cubicBezTo>
                      <a:pt x="4936" y="18811"/>
                      <a:pt x="451" y="15043"/>
                      <a:pt x="32" y="9960"/>
                    </a:cubicBezTo>
                    <a:close/>
                  </a:path>
                </a:pathLst>
              </a:custGeom>
              <a:grpFill/>
              <a:ln w="5978" cap="flat">
                <a:noFill/>
                <a:prstDash val="solid"/>
                <a:miter/>
              </a:ln>
            </p:spPr>
            <p:txBody>
              <a:bodyPr rtlCol="0" anchor="ctr"/>
              <a:lstStyle/>
              <a:p>
                <a:endParaRPr lang="en-GB"/>
              </a:p>
            </p:txBody>
          </p:sp>
          <p:sp>
            <p:nvSpPr>
              <p:cNvPr id="3661" name="Vrije vorm: vorm 3660">
                <a:extLst>
                  <a:ext uri="{FF2B5EF4-FFF2-40B4-BE49-F238E27FC236}">
                    <a16:creationId xmlns:a16="http://schemas.microsoft.com/office/drawing/2014/main" id="{F54E4E4E-D826-4272-BF8C-CC5E525EA1C0}"/>
                  </a:ext>
                </a:extLst>
              </p:cNvPr>
              <p:cNvSpPr/>
              <p:nvPr/>
            </p:nvSpPr>
            <p:spPr>
              <a:xfrm>
                <a:off x="5891896" y="1580593"/>
                <a:ext cx="18364" cy="18424"/>
              </a:xfrm>
              <a:custGeom>
                <a:avLst/>
                <a:gdLst>
                  <a:gd name="connsiteX0" fmla="*/ 32 w 18364"/>
                  <a:gd name="connsiteY0" fmla="*/ 9960 h 18424"/>
                  <a:gd name="connsiteX1" fmla="*/ 9960 w 18364"/>
                  <a:gd name="connsiteY1" fmla="*/ 18393 h 18424"/>
                  <a:gd name="connsiteX2" fmla="*/ 18333 w 18364"/>
                  <a:gd name="connsiteY2" fmla="*/ 8465 h 18424"/>
                  <a:gd name="connsiteX3" fmla="*/ 8405 w 18364"/>
                  <a:gd name="connsiteY3" fmla="*/ 32 h 18424"/>
                  <a:gd name="connsiteX4" fmla="*/ 32 w 18364"/>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32" y="9960"/>
                    </a:moveTo>
                    <a:cubicBezTo>
                      <a:pt x="450" y="15043"/>
                      <a:pt x="4876" y="18811"/>
                      <a:pt x="9960" y="18393"/>
                    </a:cubicBezTo>
                    <a:cubicBezTo>
                      <a:pt x="14984" y="17974"/>
                      <a:pt x="18751" y="13548"/>
                      <a:pt x="18333" y="8465"/>
                    </a:cubicBezTo>
                    <a:cubicBezTo>
                      <a:pt x="17914" y="3381"/>
                      <a:pt x="13488" y="-387"/>
                      <a:pt x="8405" y="32"/>
                    </a:cubicBezTo>
                    <a:cubicBezTo>
                      <a:pt x="3381" y="450"/>
                      <a:pt x="-387" y="4876"/>
                      <a:pt x="32" y="9960"/>
                    </a:cubicBezTo>
                    <a:close/>
                  </a:path>
                </a:pathLst>
              </a:custGeom>
              <a:grpFill/>
              <a:ln w="5978" cap="flat">
                <a:noFill/>
                <a:prstDash val="solid"/>
                <a:miter/>
              </a:ln>
            </p:spPr>
            <p:txBody>
              <a:bodyPr rtlCol="0" anchor="ctr"/>
              <a:lstStyle/>
              <a:p>
                <a:endParaRPr lang="en-GB"/>
              </a:p>
            </p:txBody>
          </p:sp>
        </p:grpSp>
        <p:grpSp>
          <p:nvGrpSpPr>
            <p:cNvPr id="577" name="Graphic 3">
              <a:extLst>
                <a:ext uri="{FF2B5EF4-FFF2-40B4-BE49-F238E27FC236}">
                  <a16:creationId xmlns:a16="http://schemas.microsoft.com/office/drawing/2014/main" id="{89C3F372-B981-411A-B7A8-1DFB9001F5CF}"/>
                </a:ext>
              </a:extLst>
            </p:cNvPr>
            <p:cNvGrpSpPr/>
            <p:nvPr/>
          </p:nvGrpSpPr>
          <p:grpSpPr>
            <a:xfrm>
              <a:off x="7013574" y="4963104"/>
              <a:ext cx="83493" cy="123139"/>
              <a:chOff x="7013574" y="4963104"/>
              <a:chExt cx="83493" cy="123139"/>
            </a:xfrm>
            <a:grpFill/>
          </p:grpSpPr>
          <p:sp>
            <p:nvSpPr>
              <p:cNvPr id="3656" name="Vrije vorm: vorm 3655">
                <a:extLst>
                  <a:ext uri="{FF2B5EF4-FFF2-40B4-BE49-F238E27FC236}">
                    <a16:creationId xmlns:a16="http://schemas.microsoft.com/office/drawing/2014/main" id="{77B25DE9-C954-48AD-9B92-0A9083B5D367}"/>
                  </a:ext>
                </a:extLst>
              </p:cNvPr>
              <p:cNvSpPr/>
              <p:nvPr/>
            </p:nvSpPr>
            <p:spPr>
              <a:xfrm>
                <a:off x="7021208" y="4971156"/>
                <a:ext cx="68180" cy="107114"/>
              </a:xfrm>
              <a:custGeom>
                <a:avLst/>
                <a:gdLst>
                  <a:gd name="connsiteX0" fmla="*/ 68180 w 68180"/>
                  <a:gd name="connsiteY0" fmla="*/ 105500 h 107114"/>
                  <a:gd name="connsiteX1" fmla="*/ 65608 w 68180"/>
                  <a:gd name="connsiteY1" fmla="*/ 107115 h 107114"/>
                  <a:gd name="connsiteX2" fmla="*/ 0 w 68180"/>
                  <a:gd name="connsiteY2" fmla="*/ 1615 h 107114"/>
                  <a:gd name="connsiteX3" fmla="*/ 2571 w 68180"/>
                  <a:gd name="connsiteY3" fmla="*/ 0 h 107114"/>
                </a:gdLst>
                <a:ahLst/>
                <a:cxnLst>
                  <a:cxn ang="0">
                    <a:pos x="connsiteX0" y="connsiteY0"/>
                  </a:cxn>
                  <a:cxn ang="0">
                    <a:pos x="connsiteX1" y="connsiteY1"/>
                  </a:cxn>
                  <a:cxn ang="0">
                    <a:pos x="connsiteX2" y="connsiteY2"/>
                  </a:cxn>
                  <a:cxn ang="0">
                    <a:pos x="connsiteX3" y="connsiteY3"/>
                  </a:cxn>
                </a:cxnLst>
                <a:rect l="l" t="t" r="r" b="b"/>
                <a:pathLst>
                  <a:path w="68180" h="107114">
                    <a:moveTo>
                      <a:pt x="68180" y="105500"/>
                    </a:moveTo>
                    <a:lnTo>
                      <a:pt x="65608" y="107115"/>
                    </a:lnTo>
                    <a:lnTo>
                      <a:pt x="0" y="1615"/>
                    </a:lnTo>
                    <a:lnTo>
                      <a:pt x="2571" y="0"/>
                    </a:lnTo>
                    <a:close/>
                  </a:path>
                </a:pathLst>
              </a:custGeom>
              <a:grpFill/>
              <a:ln w="5978" cap="flat">
                <a:noFill/>
                <a:prstDash val="solid"/>
                <a:miter/>
              </a:ln>
            </p:spPr>
            <p:txBody>
              <a:bodyPr rtlCol="0" anchor="ctr"/>
              <a:lstStyle/>
              <a:p>
                <a:endParaRPr lang="en-GB"/>
              </a:p>
            </p:txBody>
          </p:sp>
          <p:sp>
            <p:nvSpPr>
              <p:cNvPr id="3657" name="Vrije vorm: vorm 3656">
                <a:extLst>
                  <a:ext uri="{FF2B5EF4-FFF2-40B4-BE49-F238E27FC236}">
                    <a16:creationId xmlns:a16="http://schemas.microsoft.com/office/drawing/2014/main" id="{1945629C-27A7-4568-A8F1-5370AA8AE0A3}"/>
                  </a:ext>
                </a:extLst>
              </p:cNvPr>
              <p:cNvSpPr/>
              <p:nvPr/>
            </p:nvSpPr>
            <p:spPr>
              <a:xfrm>
                <a:off x="7078778" y="5067826"/>
                <a:ext cx="18288" cy="18417"/>
              </a:xfrm>
              <a:custGeom>
                <a:avLst/>
                <a:gdLst>
                  <a:gd name="connsiteX0" fmla="*/ 16889 w 18288"/>
                  <a:gd name="connsiteY0" fmla="*/ 4344 h 18417"/>
                  <a:gd name="connsiteX1" fmla="*/ 14019 w 18288"/>
                  <a:gd name="connsiteY1" fmla="*/ 17023 h 18417"/>
                  <a:gd name="connsiteX2" fmla="*/ 1399 w 18288"/>
                  <a:gd name="connsiteY2" fmla="*/ 14033 h 18417"/>
                  <a:gd name="connsiteX3" fmla="*/ 4270 w 18288"/>
                  <a:gd name="connsiteY3" fmla="*/ 1354 h 18417"/>
                  <a:gd name="connsiteX4" fmla="*/ 16889 w 18288"/>
                  <a:gd name="connsiteY4" fmla="*/ 4344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17">
                    <a:moveTo>
                      <a:pt x="16889" y="4344"/>
                    </a:moveTo>
                    <a:cubicBezTo>
                      <a:pt x="19581" y="8650"/>
                      <a:pt x="18265" y="14332"/>
                      <a:pt x="14019" y="17023"/>
                    </a:cubicBezTo>
                    <a:cubicBezTo>
                      <a:pt x="9713" y="19714"/>
                      <a:pt x="4090" y="18399"/>
                      <a:pt x="1399" y="14033"/>
                    </a:cubicBezTo>
                    <a:cubicBezTo>
                      <a:pt x="-1292" y="9727"/>
                      <a:pt x="24" y="4045"/>
                      <a:pt x="4270" y="1354"/>
                    </a:cubicBezTo>
                    <a:cubicBezTo>
                      <a:pt x="8516" y="-1278"/>
                      <a:pt x="14198" y="38"/>
                      <a:pt x="16889" y="4344"/>
                    </a:cubicBezTo>
                    <a:close/>
                  </a:path>
                </a:pathLst>
              </a:custGeom>
              <a:grpFill/>
              <a:ln w="5978" cap="flat">
                <a:noFill/>
                <a:prstDash val="solid"/>
                <a:miter/>
              </a:ln>
            </p:spPr>
            <p:txBody>
              <a:bodyPr rtlCol="0" anchor="ctr"/>
              <a:lstStyle/>
              <a:p>
                <a:endParaRPr lang="en-GB"/>
              </a:p>
            </p:txBody>
          </p:sp>
          <p:sp>
            <p:nvSpPr>
              <p:cNvPr id="3658" name="Vrije vorm: vorm 3657">
                <a:extLst>
                  <a:ext uri="{FF2B5EF4-FFF2-40B4-BE49-F238E27FC236}">
                    <a16:creationId xmlns:a16="http://schemas.microsoft.com/office/drawing/2014/main" id="{2AA8C2BA-C13E-4408-B834-B467213ABB13}"/>
                  </a:ext>
                </a:extLst>
              </p:cNvPr>
              <p:cNvSpPr/>
              <p:nvPr/>
            </p:nvSpPr>
            <p:spPr>
              <a:xfrm>
                <a:off x="7013574" y="4963104"/>
                <a:ext cx="18318" cy="18376"/>
              </a:xfrm>
              <a:custGeom>
                <a:avLst/>
                <a:gdLst>
                  <a:gd name="connsiteX0" fmla="*/ 16904 w 18318"/>
                  <a:gd name="connsiteY0" fmla="*/ 4344 h 18376"/>
                  <a:gd name="connsiteX1" fmla="*/ 4285 w 18318"/>
                  <a:gd name="connsiteY1" fmla="*/ 1354 h 18376"/>
                  <a:gd name="connsiteX2" fmla="*/ 1414 w 18318"/>
                  <a:gd name="connsiteY2" fmla="*/ 14033 h 18376"/>
                  <a:gd name="connsiteX3" fmla="*/ 14033 w 18318"/>
                  <a:gd name="connsiteY3" fmla="*/ 17023 h 18376"/>
                  <a:gd name="connsiteX4" fmla="*/ 16904 w 18318"/>
                  <a:gd name="connsiteY4" fmla="*/ 4344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76">
                    <a:moveTo>
                      <a:pt x="16904" y="4344"/>
                    </a:moveTo>
                    <a:cubicBezTo>
                      <a:pt x="14213" y="38"/>
                      <a:pt x="8531" y="-1278"/>
                      <a:pt x="4285" y="1354"/>
                    </a:cubicBezTo>
                    <a:cubicBezTo>
                      <a:pt x="-21" y="4045"/>
                      <a:pt x="-1277" y="9727"/>
                      <a:pt x="1414" y="14033"/>
                    </a:cubicBezTo>
                    <a:cubicBezTo>
                      <a:pt x="4106" y="18339"/>
                      <a:pt x="9787" y="19654"/>
                      <a:pt x="14033" y="17023"/>
                    </a:cubicBezTo>
                    <a:cubicBezTo>
                      <a:pt x="18340" y="14391"/>
                      <a:pt x="19596" y="8710"/>
                      <a:pt x="16904" y="4344"/>
                    </a:cubicBezTo>
                    <a:close/>
                  </a:path>
                </a:pathLst>
              </a:custGeom>
              <a:grpFill/>
              <a:ln w="5978" cap="flat">
                <a:noFill/>
                <a:prstDash val="solid"/>
                <a:miter/>
              </a:ln>
            </p:spPr>
            <p:txBody>
              <a:bodyPr rtlCol="0" anchor="ctr"/>
              <a:lstStyle/>
              <a:p>
                <a:endParaRPr lang="en-GB"/>
              </a:p>
            </p:txBody>
          </p:sp>
        </p:grpSp>
        <p:grpSp>
          <p:nvGrpSpPr>
            <p:cNvPr id="578" name="Graphic 3">
              <a:extLst>
                <a:ext uri="{FF2B5EF4-FFF2-40B4-BE49-F238E27FC236}">
                  <a16:creationId xmlns:a16="http://schemas.microsoft.com/office/drawing/2014/main" id="{320CFFBD-4A0B-4E85-8B88-C703721641EC}"/>
                </a:ext>
              </a:extLst>
            </p:cNvPr>
            <p:cNvGrpSpPr/>
            <p:nvPr/>
          </p:nvGrpSpPr>
          <p:grpSpPr>
            <a:xfrm>
              <a:off x="6970388" y="4834112"/>
              <a:ext cx="86988" cy="124285"/>
              <a:chOff x="6970388" y="4834112"/>
              <a:chExt cx="86988" cy="124285"/>
            </a:xfrm>
            <a:grpFill/>
          </p:grpSpPr>
          <p:sp>
            <p:nvSpPr>
              <p:cNvPr id="3653" name="Vrije vorm: vorm 3652">
                <a:extLst>
                  <a:ext uri="{FF2B5EF4-FFF2-40B4-BE49-F238E27FC236}">
                    <a16:creationId xmlns:a16="http://schemas.microsoft.com/office/drawing/2014/main" id="{8814621E-816B-4ECD-AA4D-7468362BF0BB}"/>
                  </a:ext>
                </a:extLst>
              </p:cNvPr>
              <p:cNvSpPr/>
              <p:nvPr/>
            </p:nvSpPr>
            <p:spPr>
              <a:xfrm>
                <a:off x="6978087" y="4842152"/>
                <a:ext cx="71648" cy="108251"/>
              </a:xfrm>
              <a:custGeom>
                <a:avLst/>
                <a:gdLst>
                  <a:gd name="connsiteX0" fmla="*/ 71649 w 71648"/>
                  <a:gd name="connsiteY0" fmla="*/ 106576 h 108251"/>
                  <a:gd name="connsiteX1" fmla="*/ 69077 w 71648"/>
                  <a:gd name="connsiteY1" fmla="*/ 108251 h 108251"/>
                  <a:gd name="connsiteX2" fmla="*/ 0 w 71648"/>
                  <a:gd name="connsiteY2" fmla="*/ 1615 h 108251"/>
                  <a:gd name="connsiteX3" fmla="*/ 2511 w 71648"/>
                  <a:gd name="connsiteY3" fmla="*/ 0 h 108251"/>
                </a:gdLst>
                <a:ahLst/>
                <a:cxnLst>
                  <a:cxn ang="0">
                    <a:pos x="connsiteX0" y="connsiteY0"/>
                  </a:cxn>
                  <a:cxn ang="0">
                    <a:pos x="connsiteX1" y="connsiteY1"/>
                  </a:cxn>
                  <a:cxn ang="0">
                    <a:pos x="connsiteX2" y="connsiteY2"/>
                  </a:cxn>
                  <a:cxn ang="0">
                    <a:pos x="connsiteX3" y="connsiteY3"/>
                  </a:cxn>
                </a:cxnLst>
                <a:rect l="l" t="t" r="r" b="b"/>
                <a:pathLst>
                  <a:path w="71648" h="108251">
                    <a:moveTo>
                      <a:pt x="71649" y="106576"/>
                    </a:moveTo>
                    <a:lnTo>
                      <a:pt x="69077" y="108251"/>
                    </a:lnTo>
                    <a:lnTo>
                      <a:pt x="0" y="1615"/>
                    </a:lnTo>
                    <a:lnTo>
                      <a:pt x="2511" y="0"/>
                    </a:lnTo>
                    <a:close/>
                  </a:path>
                </a:pathLst>
              </a:custGeom>
              <a:grpFill/>
              <a:ln w="5978" cap="flat">
                <a:noFill/>
                <a:prstDash val="solid"/>
                <a:miter/>
              </a:ln>
            </p:spPr>
            <p:txBody>
              <a:bodyPr rtlCol="0" anchor="ctr"/>
              <a:lstStyle/>
              <a:p>
                <a:endParaRPr lang="en-GB"/>
              </a:p>
            </p:txBody>
          </p:sp>
          <p:sp>
            <p:nvSpPr>
              <p:cNvPr id="3654" name="Vrije vorm: vorm 3653">
                <a:extLst>
                  <a:ext uri="{FF2B5EF4-FFF2-40B4-BE49-F238E27FC236}">
                    <a16:creationId xmlns:a16="http://schemas.microsoft.com/office/drawing/2014/main" id="{1BC568DA-9C8F-4076-8270-72EA0E2E879E}"/>
                  </a:ext>
                </a:extLst>
              </p:cNvPr>
              <p:cNvSpPr/>
              <p:nvPr/>
            </p:nvSpPr>
            <p:spPr>
              <a:xfrm>
                <a:off x="7039104" y="4939971"/>
                <a:ext cx="18273" cy="18426"/>
              </a:xfrm>
              <a:custGeom>
                <a:avLst/>
                <a:gdLst>
                  <a:gd name="connsiteX0" fmla="*/ 16792 w 18273"/>
                  <a:gd name="connsiteY0" fmla="*/ 4212 h 18426"/>
                  <a:gd name="connsiteX1" fmla="*/ 14160 w 18273"/>
                  <a:gd name="connsiteY1" fmla="*/ 16951 h 18426"/>
                  <a:gd name="connsiteX2" fmla="*/ 1481 w 18273"/>
                  <a:gd name="connsiteY2" fmla="*/ 14200 h 18426"/>
                  <a:gd name="connsiteX3" fmla="*/ 4112 w 18273"/>
                  <a:gd name="connsiteY3" fmla="*/ 1461 h 18426"/>
                  <a:gd name="connsiteX4" fmla="*/ 16792 w 18273"/>
                  <a:gd name="connsiteY4" fmla="*/ 421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26">
                    <a:moveTo>
                      <a:pt x="16792" y="4212"/>
                    </a:moveTo>
                    <a:cubicBezTo>
                      <a:pt x="19543" y="8458"/>
                      <a:pt x="18347" y="14200"/>
                      <a:pt x="14160" y="16951"/>
                    </a:cubicBezTo>
                    <a:cubicBezTo>
                      <a:pt x="9914" y="19702"/>
                      <a:pt x="4232" y="18506"/>
                      <a:pt x="1481" y="14200"/>
                    </a:cubicBezTo>
                    <a:cubicBezTo>
                      <a:pt x="-1270" y="9953"/>
                      <a:pt x="-74" y="4212"/>
                      <a:pt x="4112" y="1461"/>
                    </a:cubicBezTo>
                    <a:cubicBezTo>
                      <a:pt x="8299" y="-1290"/>
                      <a:pt x="13981" y="-34"/>
                      <a:pt x="16792" y="4212"/>
                    </a:cubicBezTo>
                    <a:close/>
                  </a:path>
                </a:pathLst>
              </a:custGeom>
              <a:grpFill/>
              <a:ln w="5978" cap="flat">
                <a:noFill/>
                <a:prstDash val="solid"/>
                <a:miter/>
              </a:ln>
            </p:spPr>
            <p:txBody>
              <a:bodyPr rtlCol="0" anchor="ctr"/>
              <a:lstStyle/>
              <a:p>
                <a:endParaRPr lang="en-GB"/>
              </a:p>
            </p:txBody>
          </p:sp>
          <p:sp>
            <p:nvSpPr>
              <p:cNvPr id="3655" name="Vrije vorm: vorm 3654">
                <a:extLst>
                  <a:ext uri="{FF2B5EF4-FFF2-40B4-BE49-F238E27FC236}">
                    <a16:creationId xmlns:a16="http://schemas.microsoft.com/office/drawing/2014/main" id="{19B1FDC5-C864-4FC5-9BC7-9E086C1110EC}"/>
                  </a:ext>
                </a:extLst>
              </p:cNvPr>
              <p:cNvSpPr/>
              <p:nvPr/>
            </p:nvSpPr>
            <p:spPr>
              <a:xfrm>
                <a:off x="6970388" y="4834112"/>
                <a:ext cx="18368" cy="18411"/>
              </a:xfrm>
              <a:custGeom>
                <a:avLst/>
                <a:gdLst>
                  <a:gd name="connsiteX0" fmla="*/ 16849 w 18368"/>
                  <a:gd name="connsiteY0" fmla="*/ 4212 h 18411"/>
                  <a:gd name="connsiteX1" fmla="*/ 4169 w 18368"/>
                  <a:gd name="connsiteY1" fmla="*/ 1461 h 18411"/>
                  <a:gd name="connsiteX2" fmla="*/ 1478 w 18368"/>
                  <a:gd name="connsiteY2" fmla="*/ 14200 h 18411"/>
                  <a:gd name="connsiteX3" fmla="*/ 14158 w 18368"/>
                  <a:gd name="connsiteY3" fmla="*/ 16951 h 18411"/>
                  <a:gd name="connsiteX4" fmla="*/ 16849 w 18368"/>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11">
                    <a:moveTo>
                      <a:pt x="16849" y="4212"/>
                    </a:moveTo>
                    <a:cubicBezTo>
                      <a:pt x="14098" y="-34"/>
                      <a:pt x="8416" y="-1291"/>
                      <a:pt x="4169" y="1461"/>
                    </a:cubicBezTo>
                    <a:cubicBezTo>
                      <a:pt x="-77" y="4212"/>
                      <a:pt x="-1272" y="9953"/>
                      <a:pt x="1478" y="14200"/>
                    </a:cubicBezTo>
                    <a:cubicBezTo>
                      <a:pt x="4229" y="18446"/>
                      <a:pt x="9911" y="19702"/>
                      <a:pt x="14158" y="16951"/>
                    </a:cubicBezTo>
                    <a:cubicBezTo>
                      <a:pt x="18463" y="14200"/>
                      <a:pt x="19660" y="8518"/>
                      <a:pt x="16849" y="4212"/>
                    </a:cubicBezTo>
                    <a:close/>
                  </a:path>
                </a:pathLst>
              </a:custGeom>
              <a:grpFill/>
              <a:ln w="5978" cap="flat">
                <a:noFill/>
                <a:prstDash val="solid"/>
                <a:miter/>
              </a:ln>
            </p:spPr>
            <p:txBody>
              <a:bodyPr rtlCol="0" anchor="ctr"/>
              <a:lstStyle/>
              <a:p>
                <a:endParaRPr lang="en-GB"/>
              </a:p>
            </p:txBody>
          </p:sp>
        </p:grpSp>
        <p:grpSp>
          <p:nvGrpSpPr>
            <p:cNvPr id="579" name="Graphic 3">
              <a:extLst>
                <a:ext uri="{FF2B5EF4-FFF2-40B4-BE49-F238E27FC236}">
                  <a16:creationId xmlns:a16="http://schemas.microsoft.com/office/drawing/2014/main" id="{2C6FA1E8-8406-4537-A4A3-D9927EFCA0DA}"/>
                </a:ext>
              </a:extLst>
            </p:cNvPr>
            <p:cNvGrpSpPr/>
            <p:nvPr/>
          </p:nvGrpSpPr>
          <p:grpSpPr>
            <a:xfrm>
              <a:off x="5776194" y="1192411"/>
              <a:ext cx="36207" cy="165376"/>
              <a:chOff x="5776194" y="1192411"/>
              <a:chExt cx="36207" cy="165376"/>
            </a:xfrm>
            <a:grpFill/>
          </p:grpSpPr>
          <p:sp>
            <p:nvSpPr>
              <p:cNvPr id="3650" name="Vrije vorm: vorm 3649">
                <a:extLst>
                  <a:ext uri="{FF2B5EF4-FFF2-40B4-BE49-F238E27FC236}">
                    <a16:creationId xmlns:a16="http://schemas.microsoft.com/office/drawing/2014/main" id="{51B3CBEF-E2DD-4B04-AE72-7DF0E07036DC}"/>
                  </a:ext>
                </a:extLst>
              </p:cNvPr>
              <p:cNvSpPr/>
              <p:nvPr/>
            </p:nvSpPr>
            <p:spPr>
              <a:xfrm>
                <a:off x="5783736" y="1200969"/>
                <a:ext cx="21052" cy="148262"/>
              </a:xfrm>
              <a:custGeom>
                <a:avLst/>
                <a:gdLst>
                  <a:gd name="connsiteX0" fmla="*/ 3050 w 21052"/>
                  <a:gd name="connsiteY0" fmla="*/ 0 h 148262"/>
                  <a:gd name="connsiteX1" fmla="*/ 21052 w 21052"/>
                  <a:gd name="connsiteY1" fmla="*/ 147903 h 148262"/>
                  <a:gd name="connsiteX2" fmla="*/ 18062 w 21052"/>
                  <a:gd name="connsiteY2" fmla="*/ 148262 h 148262"/>
                  <a:gd name="connsiteX3" fmla="*/ 0 w 21052"/>
                  <a:gd name="connsiteY3" fmla="*/ 359 h 148262"/>
                </a:gdLst>
                <a:ahLst/>
                <a:cxnLst>
                  <a:cxn ang="0">
                    <a:pos x="connsiteX0" y="connsiteY0"/>
                  </a:cxn>
                  <a:cxn ang="0">
                    <a:pos x="connsiteX1" y="connsiteY1"/>
                  </a:cxn>
                  <a:cxn ang="0">
                    <a:pos x="connsiteX2" y="connsiteY2"/>
                  </a:cxn>
                  <a:cxn ang="0">
                    <a:pos x="connsiteX3" y="connsiteY3"/>
                  </a:cxn>
                </a:cxnLst>
                <a:rect l="l" t="t" r="r" b="b"/>
                <a:pathLst>
                  <a:path w="21052" h="148262">
                    <a:moveTo>
                      <a:pt x="3050" y="0"/>
                    </a:moveTo>
                    <a:lnTo>
                      <a:pt x="21052" y="147903"/>
                    </a:lnTo>
                    <a:lnTo>
                      <a:pt x="18062" y="148262"/>
                    </a:lnTo>
                    <a:lnTo>
                      <a:pt x="0" y="359"/>
                    </a:lnTo>
                    <a:close/>
                  </a:path>
                </a:pathLst>
              </a:custGeom>
              <a:grpFill/>
              <a:ln w="5978" cap="flat">
                <a:noFill/>
                <a:prstDash val="solid"/>
                <a:miter/>
              </a:ln>
            </p:spPr>
            <p:txBody>
              <a:bodyPr rtlCol="0" anchor="ctr"/>
              <a:lstStyle/>
              <a:p>
                <a:endParaRPr lang="en-GB"/>
              </a:p>
            </p:txBody>
          </p:sp>
          <p:sp>
            <p:nvSpPr>
              <p:cNvPr id="3651" name="Vrije vorm: vorm 3650">
                <a:extLst>
                  <a:ext uri="{FF2B5EF4-FFF2-40B4-BE49-F238E27FC236}">
                    <a16:creationId xmlns:a16="http://schemas.microsoft.com/office/drawing/2014/main" id="{401EEAC5-0068-4F0A-877C-D058882CF420}"/>
                  </a:ext>
                </a:extLst>
              </p:cNvPr>
              <p:cNvSpPr/>
              <p:nvPr/>
            </p:nvSpPr>
            <p:spPr>
              <a:xfrm>
                <a:off x="5776194" y="1192411"/>
                <a:ext cx="18313" cy="18431"/>
              </a:xfrm>
              <a:custGeom>
                <a:avLst/>
                <a:gdLst>
                  <a:gd name="connsiteX0" fmla="*/ 66 w 18313"/>
                  <a:gd name="connsiteY0" fmla="*/ 10292 h 18431"/>
                  <a:gd name="connsiteX1" fmla="*/ 8020 w 18313"/>
                  <a:gd name="connsiteY1" fmla="*/ 65 h 18431"/>
                  <a:gd name="connsiteX2" fmla="*/ 18248 w 18313"/>
                  <a:gd name="connsiteY2" fmla="*/ 8139 h 18431"/>
                  <a:gd name="connsiteX3" fmla="*/ 10293 w 18313"/>
                  <a:gd name="connsiteY3" fmla="*/ 18366 h 18431"/>
                  <a:gd name="connsiteX4" fmla="*/ 66 w 18313"/>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66" y="10292"/>
                    </a:moveTo>
                    <a:cubicBezTo>
                      <a:pt x="-532" y="5268"/>
                      <a:pt x="2997" y="663"/>
                      <a:pt x="8020" y="65"/>
                    </a:cubicBezTo>
                    <a:cubicBezTo>
                      <a:pt x="13044" y="-533"/>
                      <a:pt x="17589" y="3055"/>
                      <a:pt x="18248" y="8139"/>
                    </a:cubicBezTo>
                    <a:cubicBezTo>
                      <a:pt x="18846" y="13163"/>
                      <a:pt x="15317" y="17768"/>
                      <a:pt x="10293" y="18366"/>
                    </a:cubicBezTo>
                    <a:cubicBezTo>
                      <a:pt x="5209" y="18964"/>
                      <a:pt x="664" y="15376"/>
                      <a:pt x="66" y="10292"/>
                    </a:cubicBezTo>
                    <a:close/>
                  </a:path>
                </a:pathLst>
              </a:custGeom>
              <a:grpFill/>
              <a:ln w="5978" cap="flat">
                <a:noFill/>
                <a:prstDash val="solid"/>
                <a:miter/>
              </a:ln>
            </p:spPr>
            <p:txBody>
              <a:bodyPr rtlCol="0" anchor="ctr"/>
              <a:lstStyle/>
              <a:p>
                <a:endParaRPr lang="en-GB"/>
              </a:p>
            </p:txBody>
          </p:sp>
          <p:sp>
            <p:nvSpPr>
              <p:cNvPr id="3652" name="Vrije vorm: vorm 3651">
                <a:extLst>
                  <a:ext uri="{FF2B5EF4-FFF2-40B4-BE49-F238E27FC236}">
                    <a16:creationId xmlns:a16="http://schemas.microsoft.com/office/drawing/2014/main" id="{15426CDE-ED04-4681-80CF-D9113AFDB9FD}"/>
                  </a:ext>
                </a:extLst>
              </p:cNvPr>
              <p:cNvSpPr/>
              <p:nvPr/>
            </p:nvSpPr>
            <p:spPr>
              <a:xfrm>
                <a:off x="5794077" y="1339358"/>
                <a:ext cx="18325" cy="18429"/>
              </a:xfrm>
              <a:custGeom>
                <a:avLst/>
                <a:gdLst>
                  <a:gd name="connsiteX0" fmla="*/ 66 w 18325"/>
                  <a:gd name="connsiteY0" fmla="*/ 10291 h 18429"/>
                  <a:gd name="connsiteX1" fmla="*/ 10293 w 18325"/>
                  <a:gd name="connsiteY1" fmla="*/ 18365 h 18429"/>
                  <a:gd name="connsiteX2" fmla="*/ 18248 w 18325"/>
                  <a:gd name="connsiteY2" fmla="*/ 8138 h 18429"/>
                  <a:gd name="connsiteX3" fmla="*/ 8020 w 18325"/>
                  <a:gd name="connsiteY3" fmla="*/ 64 h 18429"/>
                  <a:gd name="connsiteX4" fmla="*/ 66 w 18325"/>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9">
                    <a:moveTo>
                      <a:pt x="66" y="10291"/>
                    </a:moveTo>
                    <a:cubicBezTo>
                      <a:pt x="664" y="15315"/>
                      <a:pt x="5269" y="18963"/>
                      <a:pt x="10293" y="18365"/>
                    </a:cubicBezTo>
                    <a:cubicBezTo>
                      <a:pt x="15317" y="17767"/>
                      <a:pt x="18905" y="13162"/>
                      <a:pt x="18248" y="8138"/>
                    </a:cubicBezTo>
                    <a:cubicBezTo>
                      <a:pt x="17649" y="3114"/>
                      <a:pt x="13044" y="-534"/>
                      <a:pt x="8020" y="64"/>
                    </a:cubicBezTo>
                    <a:cubicBezTo>
                      <a:pt x="2997" y="662"/>
                      <a:pt x="-532" y="5267"/>
                      <a:pt x="66" y="10291"/>
                    </a:cubicBezTo>
                    <a:close/>
                  </a:path>
                </a:pathLst>
              </a:custGeom>
              <a:grpFill/>
              <a:ln w="5978" cap="flat">
                <a:noFill/>
                <a:prstDash val="solid"/>
                <a:miter/>
              </a:ln>
            </p:spPr>
            <p:txBody>
              <a:bodyPr rtlCol="0" anchor="ctr"/>
              <a:lstStyle/>
              <a:p>
                <a:endParaRPr lang="en-GB"/>
              </a:p>
            </p:txBody>
          </p:sp>
        </p:grpSp>
        <p:grpSp>
          <p:nvGrpSpPr>
            <p:cNvPr id="580" name="Graphic 3">
              <a:extLst>
                <a:ext uri="{FF2B5EF4-FFF2-40B4-BE49-F238E27FC236}">
                  <a16:creationId xmlns:a16="http://schemas.microsoft.com/office/drawing/2014/main" id="{16F13F82-E5C8-4347-A1DD-F47832C6471B}"/>
                </a:ext>
              </a:extLst>
            </p:cNvPr>
            <p:cNvGrpSpPr/>
            <p:nvPr/>
          </p:nvGrpSpPr>
          <p:grpSpPr>
            <a:xfrm>
              <a:off x="7041523" y="5076175"/>
              <a:ext cx="88239" cy="135648"/>
              <a:chOff x="7041523" y="5076175"/>
              <a:chExt cx="88239" cy="135648"/>
            </a:xfrm>
            <a:grpFill/>
          </p:grpSpPr>
          <p:sp>
            <p:nvSpPr>
              <p:cNvPr id="3647" name="Vrije vorm: vorm 3646">
                <a:extLst>
                  <a:ext uri="{FF2B5EF4-FFF2-40B4-BE49-F238E27FC236}">
                    <a16:creationId xmlns:a16="http://schemas.microsoft.com/office/drawing/2014/main" id="{39C2F602-4019-4E36-9BB6-3878EC61EEA0}"/>
                  </a:ext>
                </a:extLst>
              </p:cNvPr>
              <p:cNvSpPr/>
              <p:nvPr/>
            </p:nvSpPr>
            <p:spPr>
              <a:xfrm>
                <a:off x="7049137" y="5084251"/>
                <a:ext cx="73025" cy="119494"/>
              </a:xfrm>
              <a:custGeom>
                <a:avLst/>
                <a:gdLst>
                  <a:gd name="connsiteX0" fmla="*/ 73025 w 73025"/>
                  <a:gd name="connsiteY0" fmla="*/ 117940 h 119494"/>
                  <a:gd name="connsiteX1" fmla="*/ 70393 w 73025"/>
                  <a:gd name="connsiteY1" fmla="*/ 119495 h 119494"/>
                  <a:gd name="connsiteX2" fmla="*/ 0 w 73025"/>
                  <a:gd name="connsiteY2" fmla="*/ 1555 h 119494"/>
                  <a:gd name="connsiteX3" fmla="*/ 2632 w 73025"/>
                  <a:gd name="connsiteY3" fmla="*/ 0 h 119494"/>
                </a:gdLst>
                <a:ahLst/>
                <a:cxnLst>
                  <a:cxn ang="0">
                    <a:pos x="connsiteX0" y="connsiteY0"/>
                  </a:cxn>
                  <a:cxn ang="0">
                    <a:pos x="connsiteX1" y="connsiteY1"/>
                  </a:cxn>
                  <a:cxn ang="0">
                    <a:pos x="connsiteX2" y="connsiteY2"/>
                  </a:cxn>
                  <a:cxn ang="0">
                    <a:pos x="connsiteX3" y="connsiteY3"/>
                  </a:cxn>
                </a:cxnLst>
                <a:rect l="l" t="t" r="r" b="b"/>
                <a:pathLst>
                  <a:path w="73025" h="119494">
                    <a:moveTo>
                      <a:pt x="73025" y="117940"/>
                    </a:moveTo>
                    <a:lnTo>
                      <a:pt x="70393" y="119495"/>
                    </a:lnTo>
                    <a:lnTo>
                      <a:pt x="0" y="1555"/>
                    </a:lnTo>
                    <a:lnTo>
                      <a:pt x="2632" y="0"/>
                    </a:lnTo>
                    <a:close/>
                  </a:path>
                </a:pathLst>
              </a:custGeom>
              <a:grpFill/>
              <a:ln w="5978" cap="flat">
                <a:noFill/>
                <a:prstDash val="solid"/>
                <a:miter/>
              </a:ln>
            </p:spPr>
            <p:txBody>
              <a:bodyPr rtlCol="0" anchor="ctr"/>
              <a:lstStyle/>
              <a:p>
                <a:endParaRPr lang="en-GB"/>
              </a:p>
            </p:txBody>
          </p:sp>
          <p:sp>
            <p:nvSpPr>
              <p:cNvPr id="3648" name="Vrije vorm: vorm 3647">
                <a:extLst>
                  <a:ext uri="{FF2B5EF4-FFF2-40B4-BE49-F238E27FC236}">
                    <a16:creationId xmlns:a16="http://schemas.microsoft.com/office/drawing/2014/main" id="{E9A887AC-79DC-425D-856D-4E90157F158D}"/>
                  </a:ext>
                </a:extLst>
              </p:cNvPr>
              <p:cNvSpPr/>
              <p:nvPr/>
            </p:nvSpPr>
            <p:spPr>
              <a:xfrm>
                <a:off x="7111452" y="5193397"/>
                <a:ext cx="18311" cy="18426"/>
              </a:xfrm>
              <a:custGeom>
                <a:avLst/>
                <a:gdLst>
                  <a:gd name="connsiteX0" fmla="*/ 16990 w 18311"/>
                  <a:gd name="connsiteY0" fmla="*/ 4488 h 18426"/>
                  <a:gd name="connsiteX1" fmla="*/ 13881 w 18311"/>
                  <a:gd name="connsiteY1" fmla="*/ 17108 h 18426"/>
                  <a:gd name="connsiteX2" fmla="*/ 1321 w 18311"/>
                  <a:gd name="connsiteY2" fmla="*/ 13938 h 18426"/>
                  <a:gd name="connsiteX3" fmla="*/ 4431 w 18311"/>
                  <a:gd name="connsiteY3" fmla="*/ 1318 h 18426"/>
                  <a:gd name="connsiteX4" fmla="*/ 16990 w 18311"/>
                  <a:gd name="connsiteY4" fmla="*/ 448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6">
                    <a:moveTo>
                      <a:pt x="16990" y="4488"/>
                    </a:moveTo>
                    <a:cubicBezTo>
                      <a:pt x="19622" y="8854"/>
                      <a:pt x="18187" y="14536"/>
                      <a:pt x="13881" y="17108"/>
                    </a:cubicBezTo>
                    <a:cubicBezTo>
                      <a:pt x="9514" y="19739"/>
                      <a:pt x="3893" y="18304"/>
                      <a:pt x="1321" y="13938"/>
                    </a:cubicBezTo>
                    <a:cubicBezTo>
                      <a:pt x="-1311" y="9572"/>
                      <a:pt x="125" y="3890"/>
                      <a:pt x="4431" y="1318"/>
                    </a:cubicBezTo>
                    <a:cubicBezTo>
                      <a:pt x="8737" y="-1313"/>
                      <a:pt x="14359" y="122"/>
                      <a:pt x="16990" y="4488"/>
                    </a:cubicBezTo>
                    <a:close/>
                  </a:path>
                </a:pathLst>
              </a:custGeom>
              <a:grpFill/>
              <a:ln w="5978" cap="flat">
                <a:noFill/>
                <a:prstDash val="solid"/>
                <a:miter/>
              </a:ln>
            </p:spPr>
            <p:txBody>
              <a:bodyPr rtlCol="0" anchor="ctr"/>
              <a:lstStyle/>
              <a:p>
                <a:endParaRPr lang="en-GB"/>
              </a:p>
            </p:txBody>
          </p:sp>
          <p:sp>
            <p:nvSpPr>
              <p:cNvPr id="3649" name="Vrije vorm: vorm 3648">
                <a:extLst>
                  <a:ext uri="{FF2B5EF4-FFF2-40B4-BE49-F238E27FC236}">
                    <a16:creationId xmlns:a16="http://schemas.microsoft.com/office/drawing/2014/main" id="{3BF420D1-CF8D-4753-8615-037957E80DAC}"/>
                  </a:ext>
                </a:extLst>
              </p:cNvPr>
              <p:cNvSpPr/>
              <p:nvPr/>
            </p:nvSpPr>
            <p:spPr>
              <a:xfrm>
                <a:off x="7041523" y="5076175"/>
                <a:ext cx="18324" cy="18425"/>
              </a:xfrm>
              <a:custGeom>
                <a:avLst/>
                <a:gdLst>
                  <a:gd name="connsiteX0" fmla="*/ 17004 w 18324"/>
                  <a:gd name="connsiteY0" fmla="*/ 4488 h 18425"/>
                  <a:gd name="connsiteX1" fmla="*/ 4445 w 18324"/>
                  <a:gd name="connsiteY1" fmla="*/ 1318 h 18425"/>
                  <a:gd name="connsiteX2" fmla="*/ 1335 w 18324"/>
                  <a:gd name="connsiteY2" fmla="*/ 13938 h 18425"/>
                  <a:gd name="connsiteX3" fmla="*/ 13894 w 18324"/>
                  <a:gd name="connsiteY3" fmla="*/ 17107 h 18425"/>
                  <a:gd name="connsiteX4" fmla="*/ 17004 w 18324"/>
                  <a:gd name="connsiteY4" fmla="*/ 448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7004" y="4488"/>
                    </a:moveTo>
                    <a:cubicBezTo>
                      <a:pt x="14372" y="122"/>
                      <a:pt x="8751" y="-1313"/>
                      <a:pt x="4445" y="1318"/>
                    </a:cubicBezTo>
                    <a:cubicBezTo>
                      <a:pt x="79" y="3950"/>
                      <a:pt x="-1297" y="9572"/>
                      <a:pt x="1335" y="13938"/>
                    </a:cubicBezTo>
                    <a:cubicBezTo>
                      <a:pt x="3966" y="18303"/>
                      <a:pt x="9588" y="19739"/>
                      <a:pt x="13894" y="17107"/>
                    </a:cubicBezTo>
                    <a:cubicBezTo>
                      <a:pt x="18200" y="14536"/>
                      <a:pt x="19635" y="8914"/>
                      <a:pt x="17004" y="4488"/>
                    </a:cubicBezTo>
                    <a:close/>
                  </a:path>
                </a:pathLst>
              </a:custGeom>
              <a:grpFill/>
              <a:ln w="5978" cap="flat">
                <a:noFill/>
                <a:prstDash val="solid"/>
                <a:miter/>
              </a:ln>
            </p:spPr>
            <p:txBody>
              <a:bodyPr rtlCol="0" anchor="ctr"/>
              <a:lstStyle/>
              <a:p>
                <a:endParaRPr lang="en-GB"/>
              </a:p>
            </p:txBody>
          </p:sp>
        </p:grpSp>
        <p:grpSp>
          <p:nvGrpSpPr>
            <p:cNvPr id="581" name="Graphic 3">
              <a:extLst>
                <a:ext uri="{FF2B5EF4-FFF2-40B4-BE49-F238E27FC236}">
                  <a16:creationId xmlns:a16="http://schemas.microsoft.com/office/drawing/2014/main" id="{CFD8A539-E565-4E69-A6AC-703E385E56CD}"/>
                </a:ext>
              </a:extLst>
            </p:cNvPr>
            <p:cNvGrpSpPr/>
            <p:nvPr/>
          </p:nvGrpSpPr>
          <p:grpSpPr>
            <a:xfrm>
              <a:off x="5840381" y="1412226"/>
              <a:ext cx="34603" cy="175977"/>
              <a:chOff x="5840381" y="1412226"/>
              <a:chExt cx="34603" cy="175977"/>
            </a:xfrm>
            <a:grpFill/>
          </p:grpSpPr>
          <p:sp>
            <p:nvSpPr>
              <p:cNvPr id="3644" name="Vrije vorm: vorm 3643">
                <a:extLst>
                  <a:ext uri="{FF2B5EF4-FFF2-40B4-BE49-F238E27FC236}">
                    <a16:creationId xmlns:a16="http://schemas.microsoft.com/office/drawing/2014/main" id="{4C8BA775-72D8-424F-8FBA-5DD2A9DE09C3}"/>
                  </a:ext>
                </a:extLst>
              </p:cNvPr>
              <p:cNvSpPr/>
              <p:nvPr/>
            </p:nvSpPr>
            <p:spPr>
              <a:xfrm>
                <a:off x="5848029" y="1420880"/>
                <a:ext cx="19317" cy="158728"/>
              </a:xfrm>
              <a:custGeom>
                <a:avLst/>
                <a:gdLst>
                  <a:gd name="connsiteX0" fmla="*/ 2990 w 19317"/>
                  <a:gd name="connsiteY0" fmla="*/ 0 h 158728"/>
                  <a:gd name="connsiteX1" fmla="*/ 19318 w 19317"/>
                  <a:gd name="connsiteY1" fmla="*/ 158429 h 158728"/>
                  <a:gd name="connsiteX2" fmla="*/ 16268 w 19317"/>
                  <a:gd name="connsiteY2" fmla="*/ 158728 h 158728"/>
                  <a:gd name="connsiteX3" fmla="*/ 0 w 19317"/>
                  <a:gd name="connsiteY3" fmla="*/ 299 h 158728"/>
                </a:gdLst>
                <a:ahLst/>
                <a:cxnLst>
                  <a:cxn ang="0">
                    <a:pos x="connsiteX0" y="connsiteY0"/>
                  </a:cxn>
                  <a:cxn ang="0">
                    <a:pos x="connsiteX1" y="connsiteY1"/>
                  </a:cxn>
                  <a:cxn ang="0">
                    <a:pos x="connsiteX2" y="connsiteY2"/>
                  </a:cxn>
                  <a:cxn ang="0">
                    <a:pos x="connsiteX3" y="connsiteY3"/>
                  </a:cxn>
                </a:cxnLst>
                <a:rect l="l" t="t" r="r" b="b"/>
                <a:pathLst>
                  <a:path w="19317" h="158728">
                    <a:moveTo>
                      <a:pt x="2990" y="0"/>
                    </a:moveTo>
                    <a:lnTo>
                      <a:pt x="19318" y="158429"/>
                    </a:lnTo>
                    <a:lnTo>
                      <a:pt x="16268" y="158728"/>
                    </a:lnTo>
                    <a:lnTo>
                      <a:pt x="0" y="299"/>
                    </a:lnTo>
                    <a:close/>
                  </a:path>
                </a:pathLst>
              </a:custGeom>
              <a:grpFill/>
              <a:ln w="5978" cap="flat">
                <a:noFill/>
                <a:prstDash val="solid"/>
                <a:miter/>
              </a:ln>
            </p:spPr>
            <p:txBody>
              <a:bodyPr rtlCol="0" anchor="ctr"/>
              <a:lstStyle/>
              <a:p>
                <a:endParaRPr lang="en-GB"/>
              </a:p>
            </p:txBody>
          </p:sp>
          <p:sp>
            <p:nvSpPr>
              <p:cNvPr id="3645" name="Vrije vorm: vorm 3644">
                <a:extLst>
                  <a:ext uri="{FF2B5EF4-FFF2-40B4-BE49-F238E27FC236}">
                    <a16:creationId xmlns:a16="http://schemas.microsoft.com/office/drawing/2014/main" id="{EB4B97E7-A356-4F1A-AF1C-D1493D1B545D}"/>
                  </a:ext>
                </a:extLst>
              </p:cNvPr>
              <p:cNvSpPr/>
              <p:nvPr/>
            </p:nvSpPr>
            <p:spPr>
              <a:xfrm>
                <a:off x="5840381" y="1412226"/>
                <a:ext cx="18346" cy="18445"/>
              </a:xfrm>
              <a:custGeom>
                <a:avLst/>
                <a:gdLst>
                  <a:gd name="connsiteX0" fmla="*/ 53 w 18346"/>
                  <a:gd name="connsiteY0" fmla="*/ 10150 h 18445"/>
                  <a:gd name="connsiteX1" fmla="*/ 8246 w 18346"/>
                  <a:gd name="connsiteY1" fmla="*/ 42 h 18445"/>
                  <a:gd name="connsiteX2" fmla="*/ 18294 w 18346"/>
                  <a:gd name="connsiteY2" fmla="*/ 8296 h 18445"/>
                  <a:gd name="connsiteX3" fmla="*/ 10100 w 18346"/>
                  <a:gd name="connsiteY3" fmla="*/ 18403 h 18445"/>
                  <a:gd name="connsiteX4" fmla="*/ 53 w 18346"/>
                  <a:gd name="connsiteY4" fmla="*/ 1015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5">
                    <a:moveTo>
                      <a:pt x="53" y="10150"/>
                    </a:moveTo>
                    <a:cubicBezTo>
                      <a:pt x="-486" y="5066"/>
                      <a:pt x="3162" y="580"/>
                      <a:pt x="8246" y="42"/>
                    </a:cubicBezTo>
                    <a:cubicBezTo>
                      <a:pt x="13270" y="-436"/>
                      <a:pt x="17755" y="3212"/>
                      <a:pt x="18294" y="8296"/>
                    </a:cubicBezTo>
                    <a:cubicBezTo>
                      <a:pt x="18832" y="13379"/>
                      <a:pt x="15184" y="17865"/>
                      <a:pt x="10100" y="18403"/>
                    </a:cubicBezTo>
                    <a:cubicBezTo>
                      <a:pt x="5076" y="18881"/>
                      <a:pt x="591" y="15233"/>
                      <a:pt x="53" y="10150"/>
                    </a:cubicBezTo>
                    <a:close/>
                  </a:path>
                </a:pathLst>
              </a:custGeom>
              <a:grpFill/>
              <a:ln w="5978" cap="flat">
                <a:noFill/>
                <a:prstDash val="solid"/>
                <a:miter/>
              </a:ln>
            </p:spPr>
            <p:txBody>
              <a:bodyPr rtlCol="0" anchor="ctr"/>
              <a:lstStyle/>
              <a:p>
                <a:endParaRPr lang="en-GB"/>
              </a:p>
            </p:txBody>
          </p:sp>
          <p:sp>
            <p:nvSpPr>
              <p:cNvPr id="3646" name="Vrije vorm: vorm 3645">
                <a:extLst>
                  <a:ext uri="{FF2B5EF4-FFF2-40B4-BE49-F238E27FC236}">
                    <a16:creationId xmlns:a16="http://schemas.microsoft.com/office/drawing/2014/main" id="{511169C6-463B-4BF6-B6E2-285E4DBDF84F}"/>
                  </a:ext>
                </a:extLst>
              </p:cNvPr>
              <p:cNvSpPr/>
              <p:nvPr/>
            </p:nvSpPr>
            <p:spPr>
              <a:xfrm>
                <a:off x="5856649" y="1569758"/>
                <a:ext cx="18335" cy="18445"/>
              </a:xfrm>
              <a:custGeom>
                <a:avLst/>
                <a:gdLst>
                  <a:gd name="connsiteX0" fmla="*/ 53 w 18335"/>
                  <a:gd name="connsiteY0" fmla="*/ 10150 h 18445"/>
                  <a:gd name="connsiteX1" fmla="*/ 10100 w 18335"/>
                  <a:gd name="connsiteY1" fmla="*/ 18403 h 18445"/>
                  <a:gd name="connsiteX2" fmla="*/ 18294 w 18335"/>
                  <a:gd name="connsiteY2" fmla="*/ 8296 h 18445"/>
                  <a:gd name="connsiteX3" fmla="*/ 8246 w 18335"/>
                  <a:gd name="connsiteY3" fmla="*/ 42 h 18445"/>
                  <a:gd name="connsiteX4" fmla="*/ 53 w 18335"/>
                  <a:gd name="connsiteY4" fmla="*/ 1015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5">
                    <a:moveTo>
                      <a:pt x="53" y="10150"/>
                    </a:moveTo>
                    <a:cubicBezTo>
                      <a:pt x="591" y="15233"/>
                      <a:pt x="5077" y="18881"/>
                      <a:pt x="10100" y="18403"/>
                    </a:cubicBezTo>
                    <a:cubicBezTo>
                      <a:pt x="15124" y="17925"/>
                      <a:pt x="18772" y="13379"/>
                      <a:pt x="18294" y="8296"/>
                    </a:cubicBezTo>
                    <a:cubicBezTo>
                      <a:pt x="17756" y="3212"/>
                      <a:pt x="13270" y="-436"/>
                      <a:pt x="8246" y="42"/>
                    </a:cubicBezTo>
                    <a:cubicBezTo>
                      <a:pt x="3163" y="580"/>
                      <a:pt x="-486" y="5066"/>
                      <a:pt x="53" y="10150"/>
                    </a:cubicBezTo>
                    <a:close/>
                  </a:path>
                </a:pathLst>
              </a:custGeom>
              <a:grpFill/>
              <a:ln w="5978" cap="flat">
                <a:noFill/>
                <a:prstDash val="solid"/>
                <a:miter/>
              </a:ln>
            </p:spPr>
            <p:txBody>
              <a:bodyPr rtlCol="0" anchor="ctr"/>
              <a:lstStyle/>
              <a:p>
                <a:endParaRPr lang="en-GB"/>
              </a:p>
            </p:txBody>
          </p:sp>
        </p:grpSp>
        <p:grpSp>
          <p:nvGrpSpPr>
            <p:cNvPr id="582" name="Graphic 3">
              <a:extLst>
                <a:ext uri="{FF2B5EF4-FFF2-40B4-BE49-F238E27FC236}">
                  <a16:creationId xmlns:a16="http://schemas.microsoft.com/office/drawing/2014/main" id="{4A997375-FF45-4F80-94AE-9EB81F5952D6}"/>
                </a:ext>
              </a:extLst>
            </p:cNvPr>
            <p:cNvGrpSpPr/>
            <p:nvPr/>
          </p:nvGrpSpPr>
          <p:grpSpPr>
            <a:xfrm>
              <a:off x="5865732" y="1278060"/>
              <a:ext cx="26017" cy="465540"/>
              <a:chOff x="5865732" y="1278060"/>
              <a:chExt cx="26017" cy="465540"/>
            </a:xfrm>
            <a:grpFill/>
          </p:grpSpPr>
          <p:sp>
            <p:nvSpPr>
              <p:cNvPr id="3641" name="Vrije vorm: vorm 3640">
                <a:extLst>
                  <a:ext uri="{FF2B5EF4-FFF2-40B4-BE49-F238E27FC236}">
                    <a16:creationId xmlns:a16="http://schemas.microsoft.com/office/drawing/2014/main" id="{466B81F5-95FA-46A8-8B36-122199CA0E53}"/>
                  </a:ext>
                </a:extLst>
              </p:cNvPr>
              <p:cNvSpPr/>
              <p:nvPr/>
            </p:nvSpPr>
            <p:spPr>
              <a:xfrm>
                <a:off x="5873387" y="1286792"/>
                <a:ext cx="10705" cy="448075"/>
              </a:xfrm>
              <a:custGeom>
                <a:avLst/>
                <a:gdLst>
                  <a:gd name="connsiteX0" fmla="*/ 3050 w 10705"/>
                  <a:gd name="connsiteY0" fmla="*/ 0 h 448075"/>
                  <a:gd name="connsiteX1" fmla="*/ 10706 w 10705"/>
                  <a:gd name="connsiteY1" fmla="*/ 448076 h 448075"/>
                  <a:gd name="connsiteX2" fmla="*/ 7656 w 10705"/>
                  <a:gd name="connsiteY2" fmla="*/ 448076 h 448075"/>
                  <a:gd name="connsiteX3" fmla="*/ 0 w 10705"/>
                  <a:gd name="connsiteY3" fmla="*/ 0 h 448075"/>
                </a:gdLst>
                <a:ahLst/>
                <a:cxnLst>
                  <a:cxn ang="0">
                    <a:pos x="connsiteX0" y="connsiteY0"/>
                  </a:cxn>
                  <a:cxn ang="0">
                    <a:pos x="connsiteX1" y="connsiteY1"/>
                  </a:cxn>
                  <a:cxn ang="0">
                    <a:pos x="connsiteX2" y="connsiteY2"/>
                  </a:cxn>
                  <a:cxn ang="0">
                    <a:pos x="connsiteX3" y="connsiteY3"/>
                  </a:cxn>
                </a:cxnLst>
                <a:rect l="l" t="t" r="r" b="b"/>
                <a:pathLst>
                  <a:path w="10705" h="448075">
                    <a:moveTo>
                      <a:pt x="3050" y="0"/>
                    </a:moveTo>
                    <a:lnTo>
                      <a:pt x="10706" y="448076"/>
                    </a:lnTo>
                    <a:lnTo>
                      <a:pt x="7656" y="448076"/>
                    </a:lnTo>
                    <a:lnTo>
                      <a:pt x="0" y="0"/>
                    </a:lnTo>
                    <a:close/>
                  </a:path>
                </a:pathLst>
              </a:custGeom>
              <a:grpFill/>
              <a:ln w="5978" cap="flat">
                <a:noFill/>
                <a:prstDash val="solid"/>
                <a:miter/>
              </a:ln>
            </p:spPr>
            <p:txBody>
              <a:bodyPr rtlCol="0" anchor="ctr"/>
              <a:lstStyle/>
              <a:p>
                <a:endParaRPr lang="en-GB"/>
              </a:p>
            </p:txBody>
          </p:sp>
          <p:sp>
            <p:nvSpPr>
              <p:cNvPr id="3642" name="Vrije vorm: vorm 3641">
                <a:extLst>
                  <a:ext uri="{FF2B5EF4-FFF2-40B4-BE49-F238E27FC236}">
                    <a16:creationId xmlns:a16="http://schemas.microsoft.com/office/drawing/2014/main" id="{1FCCB632-5AE2-4553-9C43-57D3543DB916}"/>
                  </a:ext>
                </a:extLst>
              </p:cNvPr>
              <p:cNvSpPr/>
              <p:nvPr/>
            </p:nvSpPr>
            <p:spPr>
              <a:xfrm>
                <a:off x="5873387" y="1725179"/>
                <a:ext cx="18362" cy="18421"/>
              </a:xfrm>
              <a:custGeom>
                <a:avLst/>
                <a:gdLst>
                  <a:gd name="connsiteX0" fmla="*/ 18362 w 18362"/>
                  <a:gd name="connsiteY0" fmla="*/ 9091 h 18421"/>
                  <a:gd name="connsiteX1" fmla="*/ 9331 w 18362"/>
                  <a:gd name="connsiteY1" fmla="*/ 18421 h 18421"/>
                  <a:gd name="connsiteX2" fmla="*/ 1 w 18362"/>
                  <a:gd name="connsiteY2" fmla="*/ 9331 h 18421"/>
                  <a:gd name="connsiteX3" fmla="*/ 9032 w 18362"/>
                  <a:gd name="connsiteY3" fmla="*/ 1 h 18421"/>
                  <a:gd name="connsiteX4" fmla="*/ 18362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8362" y="9091"/>
                    </a:moveTo>
                    <a:cubicBezTo>
                      <a:pt x="18421" y="14175"/>
                      <a:pt x="14414" y="18362"/>
                      <a:pt x="9331" y="18421"/>
                    </a:cubicBezTo>
                    <a:cubicBezTo>
                      <a:pt x="4247" y="18481"/>
                      <a:pt x="120" y="14414"/>
                      <a:pt x="1" y="9331"/>
                    </a:cubicBezTo>
                    <a:cubicBezTo>
                      <a:pt x="-59" y="4247"/>
                      <a:pt x="3948" y="61"/>
                      <a:pt x="9032" y="1"/>
                    </a:cubicBezTo>
                    <a:cubicBezTo>
                      <a:pt x="14115" y="-59"/>
                      <a:pt x="18302" y="4008"/>
                      <a:pt x="18362" y="9091"/>
                    </a:cubicBezTo>
                    <a:close/>
                  </a:path>
                </a:pathLst>
              </a:custGeom>
              <a:grpFill/>
              <a:ln w="5978" cap="flat">
                <a:noFill/>
                <a:prstDash val="solid"/>
                <a:miter/>
              </a:ln>
            </p:spPr>
            <p:txBody>
              <a:bodyPr rtlCol="0" anchor="ctr"/>
              <a:lstStyle/>
              <a:p>
                <a:endParaRPr lang="en-GB"/>
              </a:p>
            </p:txBody>
          </p:sp>
          <p:sp>
            <p:nvSpPr>
              <p:cNvPr id="3643" name="Vrije vorm: vorm 3642">
                <a:extLst>
                  <a:ext uri="{FF2B5EF4-FFF2-40B4-BE49-F238E27FC236}">
                    <a16:creationId xmlns:a16="http://schemas.microsoft.com/office/drawing/2014/main" id="{B78322FE-5237-4834-974B-620D7D385496}"/>
                  </a:ext>
                </a:extLst>
              </p:cNvPr>
              <p:cNvSpPr/>
              <p:nvPr/>
            </p:nvSpPr>
            <p:spPr>
              <a:xfrm>
                <a:off x="5865732" y="1278060"/>
                <a:ext cx="18364" cy="18421"/>
              </a:xfrm>
              <a:custGeom>
                <a:avLst/>
                <a:gdLst>
                  <a:gd name="connsiteX0" fmla="*/ 18362 w 18364"/>
                  <a:gd name="connsiteY0" fmla="*/ 9091 h 18421"/>
                  <a:gd name="connsiteX1" fmla="*/ 9032 w 18364"/>
                  <a:gd name="connsiteY1" fmla="*/ 1 h 18421"/>
                  <a:gd name="connsiteX2" fmla="*/ 1 w 18364"/>
                  <a:gd name="connsiteY2" fmla="*/ 9331 h 18421"/>
                  <a:gd name="connsiteX3" fmla="*/ 9331 w 18364"/>
                  <a:gd name="connsiteY3" fmla="*/ 18421 h 18421"/>
                  <a:gd name="connsiteX4" fmla="*/ 18362 w 18364"/>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1">
                    <a:moveTo>
                      <a:pt x="18362" y="9091"/>
                    </a:moveTo>
                    <a:cubicBezTo>
                      <a:pt x="18302" y="4008"/>
                      <a:pt x="14115" y="-59"/>
                      <a:pt x="9032" y="1"/>
                    </a:cubicBezTo>
                    <a:cubicBezTo>
                      <a:pt x="3948" y="60"/>
                      <a:pt x="-59" y="4247"/>
                      <a:pt x="1" y="9331"/>
                    </a:cubicBezTo>
                    <a:cubicBezTo>
                      <a:pt x="61" y="14414"/>
                      <a:pt x="4247" y="18481"/>
                      <a:pt x="9331" y="18421"/>
                    </a:cubicBezTo>
                    <a:cubicBezTo>
                      <a:pt x="14414" y="18361"/>
                      <a:pt x="18481" y="14175"/>
                      <a:pt x="18362" y="9091"/>
                    </a:cubicBezTo>
                    <a:close/>
                  </a:path>
                </a:pathLst>
              </a:custGeom>
              <a:grpFill/>
              <a:ln w="5978" cap="flat">
                <a:noFill/>
                <a:prstDash val="solid"/>
                <a:miter/>
              </a:ln>
            </p:spPr>
            <p:txBody>
              <a:bodyPr rtlCol="0" anchor="ctr"/>
              <a:lstStyle/>
              <a:p>
                <a:endParaRPr lang="en-GB"/>
              </a:p>
            </p:txBody>
          </p:sp>
        </p:grpSp>
        <p:grpSp>
          <p:nvGrpSpPr>
            <p:cNvPr id="583" name="Graphic 3">
              <a:extLst>
                <a:ext uri="{FF2B5EF4-FFF2-40B4-BE49-F238E27FC236}">
                  <a16:creationId xmlns:a16="http://schemas.microsoft.com/office/drawing/2014/main" id="{1E53FFDF-D945-4C48-B267-4608AEEBC9FF}"/>
                </a:ext>
              </a:extLst>
            </p:cNvPr>
            <p:cNvGrpSpPr/>
            <p:nvPr/>
          </p:nvGrpSpPr>
          <p:grpSpPr>
            <a:xfrm>
              <a:off x="5928447" y="1618407"/>
              <a:ext cx="25218" cy="122996"/>
              <a:chOff x="5928447" y="1618407"/>
              <a:chExt cx="25218" cy="122996"/>
            </a:xfrm>
            <a:grpFill/>
          </p:grpSpPr>
          <p:sp>
            <p:nvSpPr>
              <p:cNvPr id="3638" name="Vrije vorm: vorm 3637">
                <a:extLst>
                  <a:ext uri="{FF2B5EF4-FFF2-40B4-BE49-F238E27FC236}">
                    <a16:creationId xmlns:a16="http://schemas.microsoft.com/office/drawing/2014/main" id="{2AF6F826-B55F-4AE5-A6A2-BE067F2DD97D}"/>
                  </a:ext>
                </a:extLst>
              </p:cNvPr>
              <p:cNvSpPr/>
              <p:nvPr/>
            </p:nvSpPr>
            <p:spPr>
              <a:xfrm>
                <a:off x="5936066" y="1627036"/>
                <a:ext cx="9927" cy="105679"/>
              </a:xfrm>
              <a:custGeom>
                <a:avLst/>
                <a:gdLst>
                  <a:gd name="connsiteX0" fmla="*/ 3050 w 9927"/>
                  <a:gd name="connsiteY0" fmla="*/ 0 h 105679"/>
                  <a:gd name="connsiteX1" fmla="*/ 9928 w 9927"/>
                  <a:gd name="connsiteY1" fmla="*/ 105500 h 105679"/>
                  <a:gd name="connsiteX2" fmla="*/ 6937 w 9927"/>
                  <a:gd name="connsiteY2" fmla="*/ 105679 h 105679"/>
                  <a:gd name="connsiteX3" fmla="*/ 0 w 9927"/>
                  <a:gd name="connsiteY3" fmla="*/ 179 h 105679"/>
                </a:gdLst>
                <a:ahLst/>
                <a:cxnLst>
                  <a:cxn ang="0">
                    <a:pos x="connsiteX0" y="connsiteY0"/>
                  </a:cxn>
                  <a:cxn ang="0">
                    <a:pos x="connsiteX1" y="connsiteY1"/>
                  </a:cxn>
                  <a:cxn ang="0">
                    <a:pos x="connsiteX2" y="connsiteY2"/>
                  </a:cxn>
                  <a:cxn ang="0">
                    <a:pos x="connsiteX3" y="connsiteY3"/>
                  </a:cxn>
                </a:cxnLst>
                <a:rect l="l" t="t" r="r" b="b"/>
                <a:pathLst>
                  <a:path w="9927" h="105679">
                    <a:moveTo>
                      <a:pt x="3050" y="0"/>
                    </a:moveTo>
                    <a:lnTo>
                      <a:pt x="9928" y="105500"/>
                    </a:lnTo>
                    <a:lnTo>
                      <a:pt x="6937" y="105679"/>
                    </a:lnTo>
                    <a:lnTo>
                      <a:pt x="0" y="179"/>
                    </a:lnTo>
                    <a:close/>
                  </a:path>
                </a:pathLst>
              </a:custGeom>
              <a:grpFill/>
              <a:ln w="5978" cap="flat">
                <a:noFill/>
                <a:prstDash val="solid"/>
                <a:miter/>
              </a:ln>
            </p:spPr>
            <p:txBody>
              <a:bodyPr rtlCol="0" anchor="ctr"/>
              <a:lstStyle/>
              <a:p>
                <a:endParaRPr lang="en-GB"/>
              </a:p>
            </p:txBody>
          </p:sp>
          <p:sp>
            <p:nvSpPr>
              <p:cNvPr id="3639" name="Vrije vorm: vorm 3638">
                <a:extLst>
                  <a:ext uri="{FF2B5EF4-FFF2-40B4-BE49-F238E27FC236}">
                    <a16:creationId xmlns:a16="http://schemas.microsoft.com/office/drawing/2014/main" id="{D377CA4E-D91E-4A40-B795-D412430AA605}"/>
                  </a:ext>
                </a:extLst>
              </p:cNvPr>
              <p:cNvSpPr/>
              <p:nvPr/>
            </p:nvSpPr>
            <p:spPr>
              <a:xfrm>
                <a:off x="5928447" y="1618407"/>
                <a:ext cx="18347" cy="18400"/>
              </a:xfrm>
              <a:custGeom>
                <a:avLst/>
                <a:gdLst>
                  <a:gd name="connsiteX0" fmla="*/ 23 w 18347"/>
                  <a:gd name="connsiteY0" fmla="*/ 9765 h 18400"/>
                  <a:gd name="connsiteX1" fmla="*/ 8576 w 18347"/>
                  <a:gd name="connsiteY1" fmla="*/ 16 h 18400"/>
                  <a:gd name="connsiteX2" fmla="*/ 18324 w 18347"/>
                  <a:gd name="connsiteY2" fmla="*/ 8629 h 18400"/>
                  <a:gd name="connsiteX3" fmla="*/ 9772 w 18347"/>
                  <a:gd name="connsiteY3" fmla="*/ 18377 h 18400"/>
                  <a:gd name="connsiteX4" fmla="*/ 23 w 18347"/>
                  <a:gd name="connsiteY4" fmla="*/ 976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23" y="9765"/>
                    </a:moveTo>
                    <a:cubicBezTo>
                      <a:pt x="-336" y="4681"/>
                      <a:pt x="3492" y="315"/>
                      <a:pt x="8576" y="16"/>
                    </a:cubicBezTo>
                    <a:cubicBezTo>
                      <a:pt x="13600" y="-283"/>
                      <a:pt x="17965" y="3545"/>
                      <a:pt x="18324" y="8629"/>
                    </a:cubicBezTo>
                    <a:cubicBezTo>
                      <a:pt x="18683" y="13712"/>
                      <a:pt x="14855" y="18078"/>
                      <a:pt x="9772" y="18377"/>
                    </a:cubicBezTo>
                    <a:cubicBezTo>
                      <a:pt x="4688" y="18736"/>
                      <a:pt x="382" y="14849"/>
                      <a:pt x="23" y="9765"/>
                    </a:cubicBezTo>
                    <a:close/>
                  </a:path>
                </a:pathLst>
              </a:custGeom>
              <a:grpFill/>
              <a:ln w="5978" cap="flat">
                <a:noFill/>
                <a:prstDash val="solid"/>
                <a:miter/>
              </a:ln>
            </p:spPr>
            <p:txBody>
              <a:bodyPr rtlCol="0" anchor="ctr"/>
              <a:lstStyle/>
              <a:p>
                <a:endParaRPr lang="en-GB"/>
              </a:p>
            </p:txBody>
          </p:sp>
          <p:sp>
            <p:nvSpPr>
              <p:cNvPr id="3640" name="Vrije vorm: vorm 3639">
                <a:extLst>
                  <a:ext uri="{FF2B5EF4-FFF2-40B4-BE49-F238E27FC236}">
                    <a16:creationId xmlns:a16="http://schemas.microsoft.com/office/drawing/2014/main" id="{68B974F7-CC70-421F-9A09-471AED020F01}"/>
                  </a:ext>
                </a:extLst>
              </p:cNvPr>
              <p:cNvSpPr/>
              <p:nvPr/>
            </p:nvSpPr>
            <p:spPr>
              <a:xfrm>
                <a:off x="5935325" y="1723010"/>
                <a:ext cx="18340" cy="18393"/>
              </a:xfrm>
              <a:custGeom>
                <a:avLst/>
                <a:gdLst>
                  <a:gd name="connsiteX0" fmla="*/ 23 w 18340"/>
                  <a:gd name="connsiteY0" fmla="*/ 9765 h 18393"/>
                  <a:gd name="connsiteX1" fmla="*/ 9772 w 18340"/>
                  <a:gd name="connsiteY1" fmla="*/ 18377 h 18393"/>
                  <a:gd name="connsiteX2" fmla="*/ 18324 w 18340"/>
                  <a:gd name="connsiteY2" fmla="*/ 8629 h 18393"/>
                  <a:gd name="connsiteX3" fmla="*/ 8576 w 18340"/>
                  <a:gd name="connsiteY3" fmla="*/ 16 h 18393"/>
                  <a:gd name="connsiteX4" fmla="*/ 23 w 18340"/>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23" y="9765"/>
                    </a:moveTo>
                    <a:cubicBezTo>
                      <a:pt x="382" y="14849"/>
                      <a:pt x="4748" y="18676"/>
                      <a:pt x="9772" y="18377"/>
                    </a:cubicBezTo>
                    <a:cubicBezTo>
                      <a:pt x="14796" y="18078"/>
                      <a:pt x="18623" y="13712"/>
                      <a:pt x="18324" y="8629"/>
                    </a:cubicBezTo>
                    <a:cubicBezTo>
                      <a:pt x="17965" y="3545"/>
                      <a:pt x="13599" y="-283"/>
                      <a:pt x="8576" y="16"/>
                    </a:cubicBezTo>
                    <a:cubicBezTo>
                      <a:pt x="3492" y="256"/>
                      <a:pt x="-336" y="4681"/>
                      <a:pt x="23" y="9765"/>
                    </a:cubicBezTo>
                    <a:close/>
                  </a:path>
                </a:pathLst>
              </a:custGeom>
              <a:grpFill/>
              <a:ln w="5978" cap="flat">
                <a:noFill/>
                <a:prstDash val="solid"/>
                <a:miter/>
              </a:ln>
            </p:spPr>
            <p:txBody>
              <a:bodyPr rtlCol="0" anchor="ctr"/>
              <a:lstStyle/>
              <a:p>
                <a:endParaRPr lang="en-GB"/>
              </a:p>
            </p:txBody>
          </p:sp>
        </p:grpSp>
        <p:grpSp>
          <p:nvGrpSpPr>
            <p:cNvPr id="584" name="Graphic 3">
              <a:extLst>
                <a:ext uri="{FF2B5EF4-FFF2-40B4-BE49-F238E27FC236}">
                  <a16:creationId xmlns:a16="http://schemas.microsoft.com/office/drawing/2014/main" id="{6E9E0A70-9799-4B88-B74C-F5B48AFB3967}"/>
                </a:ext>
              </a:extLst>
            </p:cNvPr>
            <p:cNvGrpSpPr/>
            <p:nvPr/>
          </p:nvGrpSpPr>
          <p:grpSpPr>
            <a:xfrm>
              <a:off x="6942487" y="4850582"/>
              <a:ext cx="187916" cy="360881"/>
              <a:chOff x="6942487" y="4850582"/>
              <a:chExt cx="187916" cy="360881"/>
            </a:xfrm>
            <a:grpFill/>
          </p:grpSpPr>
          <p:sp>
            <p:nvSpPr>
              <p:cNvPr id="3635" name="Vrije vorm: vorm 3634">
                <a:extLst>
                  <a:ext uri="{FF2B5EF4-FFF2-40B4-BE49-F238E27FC236}">
                    <a16:creationId xmlns:a16="http://schemas.microsoft.com/office/drawing/2014/main" id="{2D9F64F6-2EA2-4E23-8996-EE5EB1F4720E}"/>
                  </a:ext>
                </a:extLst>
              </p:cNvPr>
              <p:cNvSpPr/>
              <p:nvPr/>
            </p:nvSpPr>
            <p:spPr>
              <a:xfrm>
                <a:off x="6950097" y="4858658"/>
                <a:ext cx="172723" cy="344668"/>
              </a:xfrm>
              <a:custGeom>
                <a:avLst/>
                <a:gdLst>
                  <a:gd name="connsiteX0" fmla="*/ 172723 w 172723"/>
                  <a:gd name="connsiteY0" fmla="*/ 343294 h 344668"/>
                  <a:gd name="connsiteX1" fmla="*/ 169972 w 172723"/>
                  <a:gd name="connsiteY1" fmla="*/ 344669 h 344668"/>
                  <a:gd name="connsiteX2" fmla="*/ 0 w 172723"/>
                  <a:gd name="connsiteY2" fmla="*/ 1375 h 344668"/>
                  <a:gd name="connsiteX3" fmla="*/ 2691 w 172723"/>
                  <a:gd name="connsiteY3" fmla="*/ 0 h 344668"/>
                </a:gdLst>
                <a:ahLst/>
                <a:cxnLst>
                  <a:cxn ang="0">
                    <a:pos x="connsiteX0" y="connsiteY0"/>
                  </a:cxn>
                  <a:cxn ang="0">
                    <a:pos x="connsiteX1" y="connsiteY1"/>
                  </a:cxn>
                  <a:cxn ang="0">
                    <a:pos x="connsiteX2" y="connsiteY2"/>
                  </a:cxn>
                  <a:cxn ang="0">
                    <a:pos x="connsiteX3" y="connsiteY3"/>
                  </a:cxn>
                </a:cxnLst>
                <a:rect l="l" t="t" r="r" b="b"/>
                <a:pathLst>
                  <a:path w="172723" h="344668">
                    <a:moveTo>
                      <a:pt x="172723" y="343294"/>
                    </a:moveTo>
                    <a:lnTo>
                      <a:pt x="169972" y="344669"/>
                    </a:lnTo>
                    <a:lnTo>
                      <a:pt x="0" y="1375"/>
                    </a:lnTo>
                    <a:lnTo>
                      <a:pt x="2691" y="0"/>
                    </a:lnTo>
                    <a:close/>
                  </a:path>
                </a:pathLst>
              </a:custGeom>
              <a:grpFill/>
              <a:ln w="5978" cap="flat">
                <a:noFill/>
                <a:prstDash val="solid"/>
                <a:miter/>
              </a:ln>
            </p:spPr>
            <p:txBody>
              <a:bodyPr rtlCol="0" anchor="ctr"/>
              <a:lstStyle/>
              <a:p>
                <a:endParaRPr lang="en-GB"/>
              </a:p>
            </p:txBody>
          </p:sp>
          <p:sp>
            <p:nvSpPr>
              <p:cNvPr id="3636" name="Vrije vorm: vorm 3635">
                <a:extLst>
                  <a:ext uri="{FF2B5EF4-FFF2-40B4-BE49-F238E27FC236}">
                    <a16:creationId xmlns:a16="http://schemas.microsoft.com/office/drawing/2014/main" id="{869FD681-2C37-49F1-A60B-6B67781D8522}"/>
                  </a:ext>
                </a:extLst>
              </p:cNvPr>
              <p:cNvSpPr/>
              <p:nvPr/>
            </p:nvSpPr>
            <p:spPr>
              <a:xfrm>
                <a:off x="6942487" y="4850582"/>
                <a:ext cx="18389" cy="18398"/>
              </a:xfrm>
              <a:custGeom>
                <a:avLst/>
                <a:gdLst>
                  <a:gd name="connsiteX0" fmla="*/ 971 w 18389"/>
                  <a:gd name="connsiteY0" fmla="*/ 13279 h 18398"/>
                  <a:gd name="connsiteX1" fmla="*/ 5098 w 18389"/>
                  <a:gd name="connsiteY1" fmla="*/ 959 h 18398"/>
                  <a:gd name="connsiteX2" fmla="*/ 17418 w 18389"/>
                  <a:gd name="connsiteY2" fmla="*/ 5146 h 18398"/>
                  <a:gd name="connsiteX3" fmla="*/ 13291 w 18389"/>
                  <a:gd name="connsiteY3" fmla="*/ 17466 h 18398"/>
                  <a:gd name="connsiteX4" fmla="*/ 971 w 18389"/>
                  <a:gd name="connsiteY4" fmla="*/ 1327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9" h="18398">
                    <a:moveTo>
                      <a:pt x="971" y="13279"/>
                    </a:moveTo>
                    <a:cubicBezTo>
                      <a:pt x="-1302" y="8734"/>
                      <a:pt x="552" y="3172"/>
                      <a:pt x="5098" y="959"/>
                    </a:cubicBezTo>
                    <a:cubicBezTo>
                      <a:pt x="9643" y="-1314"/>
                      <a:pt x="15145" y="600"/>
                      <a:pt x="17418" y="5146"/>
                    </a:cubicBezTo>
                    <a:cubicBezTo>
                      <a:pt x="19691" y="9691"/>
                      <a:pt x="17836" y="15253"/>
                      <a:pt x="13291" y="17466"/>
                    </a:cubicBezTo>
                    <a:cubicBezTo>
                      <a:pt x="8746" y="19679"/>
                      <a:pt x="3244" y="17825"/>
                      <a:pt x="971" y="13279"/>
                    </a:cubicBezTo>
                    <a:close/>
                  </a:path>
                </a:pathLst>
              </a:custGeom>
              <a:grpFill/>
              <a:ln w="5978" cap="flat">
                <a:noFill/>
                <a:prstDash val="solid"/>
                <a:miter/>
              </a:ln>
            </p:spPr>
            <p:txBody>
              <a:bodyPr rtlCol="0" anchor="ctr"/>
              <a:lstStyle/>
              <a:p>
                <a:endParaRPr lang="en-GB"/>
              </a:p>
            </p:txBody>
          </p:sp>
          <p:sp>
            <p:nvSpPr>
              <p:cNvPr id="3637" name="Vrije vorm: vorm 3636">
                <a:extLst>
                  <a:ext uri="{FF2B5EF4-FFF2-40B4-BE49-F238E27FC236}">
                    <a16:creationId xmlns:a16="http://schemas.microsoft.com/office/drawing/2014/main" id="{401EF243-290B-4BD9-964C-3B1A4362F459}"/>
                  </a:ext>
                </a:extLst>
              </p:cNvPr>
              <p:cNvSpPr/>
              <p:nvPr/>
            </p:nvSpPr>
            <p:spPr>
              <a:xfrm>
                <a:off x="7112041" y="5193039"/>
                <a:ext cx="18362" cy="18424"/>
              </a:xfrm>
              <a:custGeom>
                <a:avLst/>
                <a:gdLst>
                  <a:gd name="connsiteX0" fmla="*/ 971 w 18362"/>
                  <a:gd name="connsiteY0" fmla="*/ 13279 h 18424"/>
                  <a:gd name="connsiteX1" fmla="*/ 13292 w 18362"/>
                  <a:gd name="connsiteY1" fmla="*/ 17466 h 18424"/>
                  <a:gd name="connsiteX2" fmla="*/ 17418 w 18362"/>
                  <a:gd name="connsiteY2" fmla="*/ 5146 h 18424"/>
                  <a:gd name="connsiteX3" fmla="*/ 5098 w 18362"/>
                  <a:gd name="connsiteY3" fmla="*/ 959 h 18424"/>
                  <a:gd name="connsiteX4" fmla="*/ 971 w 18362"/>
                  <a:gd name="connsiteY4" fmla="*/ 1327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971" y="13279"/>
                    </a:moveTo>
                    <a:cubicBezTo>
                      <a:pt x="3244" y="17825"/>
                      <a:pt x="8746" y="19739"/>
                      <a:pt x="13292" y="17466"/>
                    </a:cubicBezTo>
                    <a:cubicBezTo>
                      <a:pt x="17836" y="15193"/>
                      <a:pt x="19631" y="9691"/>
                      <a:pt x="17418" y="5146"/>
                    </a:cubicBezTo>
                    <a:cubicBezTo>
                      <a:pt x="15145" y="600"/>
                      <a:pt x="9643" y="-1314"/>
                      <a:pt x="5098" y="959"/>
                    </a:cubicBezTo>
                    <a:cubicBezTo>
                      <a:pt x="553" y="3172"/>
                      <a:pt x="-1302" y="8734"/>
                      <a:pt x="971" y="13279"/>
                    </a:cubicBezTo>
                    <a:close/>
                  </a:path>
                </a:pathLst>
              </a:custGeom>
              <a:grpFill/>
              <a:ln w="5978" cap="flat">
                <a:noFill/>
                <a:prstDash val="solid"/>
                <a:miter/>
              </a:ln>
            </p:spPr>
            <p:txBody>
              <a:bodyPr rtlCol="0" anchor="ctr"/>
              <a:lstStyle/>
              <a:p>
                <a:endParaRPr lang="en-GB"/>
              </a:p>
            </p:txBody>
          </p:sp>
        </p:grpSp>
        <p:grpSp>
          <p:nvGrpSpPr>
            <p:cNvPr id="585" name="Graphic 3">
              <a:extLst>
                <a:ext uri="{FF2B5EF4-FFF2-40B4-BE49-F238E27FC236}">
                  <a16:creationId xmlns:a16="http://schemas.microsoft.com/office/drawing/2014/main" id="{3F4DABA6-3239-4756-BA8F-FD7788F17C9D}"/>
                </a:ext>
              </a:extLst>
            </p:cNvPr>
            <p:cNvGrpSpPr/>
            <p:nvPr/>
          </p:nvGrpSpPr>
          <p:grpSpPr>
            <a:xfrm>
              <a:off x="5807051" y="1093007"/>
              <a:ext cx="53254" cy="653354"/>
              <a:chOff x="5807051" y="1093007"/>
              <a:chExt cx="53254" cy="653354"/>
            </a:xfrm>
            <a:grpFill/>
          </p:grpSpPr>
          <p:sp>
            <p:nvSpPr>
              <p:cNvPr id="3632" name="Vrije vorm: vorm 3631">
                <a:extLst>
                  <a:ext uri="{FF2B5EF4-FFF2-40B4-BE49-F238E27FC236}">
                    <a16:creationId xmlns:a16="http://schemas.microsoft.com/office/drawing/2014/main" id="{2C42B4B7-AF8E-4DCD-ADCC-C29D01D4B970}"/>
                  </a:ext>
                </a:extLst>
              </p:cNvPr>
              <p:cNvSpPr/>
              <p:nvPr/>
            </p:nvSpPr>
            <p:spPr>
              <a:xfrm>
                <a:off x="5814657" y="1101689"/>
                <a:ext cx="38037" cy="635989"/>
              </a:xfrm>
              <a:custGeom>
                <a:avLst/>
                <a:gdLst>
                  <a:gd name="connsiteX0" fmla="*/ 3050 w 38037"/>
                  <a:gd name="connsiteY0" fmla="*/ 0 h 635989"/>
                  <a:gd name="connsiteX1" fmla="*/ 38037 w 38037"/>
                  <a:gd name="connsiteY1" fmla="*/ 635810 h 635989"/>
                  <a:gd name="connsiteX2" fmla="*/ 34987 w 38037"/>
                  <a:gd name="connsiteY2" fmla="*/ 635990 h 635989"/>
                  <a:gd name="connsiteX3" fmla="*/ 0 w 38037"/>
                  <a:gd name="connsiteY3" fmla="*/ 120 h 635989"/>
                </a:gdLst>
                <a:ahLst/>
                <a:cxnLst>
                  <a:cxn ang="0">
                    <a:pos x="connsiteX0" y="connsiteY0"/>
                  </a:cxn>
                  <a:cxn ang="0">
                    <a:pos x="connsiteX1" y="connsiteY1"/>
                  </a:cxn>
                  <a:cxn ang="0">
                    <a:pos x="connsiteX2" y="connsiteY2"/>
                  </a:cxn>
                  <a:cxn ang="0">
                    <a:pos x="connsiteX3" y="connsiteY3"/>
                  </a:cxn>
                </a:cxnLst>
                <a:rect l="l" t="t" r="r" b="b"/>
                <a:pathLst>
                  <a:path w="38037" h="635989">
                    <a:moveTo>
                      <a:pt x="3050" y="0"/>
                    </a:moveTo>
                    <a:lnTo>
                      <a:pt x="38037" y="635810"/>
                    </a:lnTo>
                    <a:lnTo>
                      <a:pt x="34987" y="635990"/>
                    </a:lnTo>
                    <a:lnTo>
                      <a:pt x="0" y="120"/>
                    </a:lnTo>
                    <a:close/>
                  </a:path>
                </a:pathLst>
              </a:custGeom>
              <a:grpFill/>
              <a:ln w="5978" cap="flat">
                <a:noFill/>
                <a:prstDash val="solid"/>
                <a:miter/>
              </a:ln>
            </p:spPr>
            <p:txBody>
              <a:bodyPr rtlCol="0" anchor="ctr"/>
              <a:lstStyle/>
              <a:p>
                <a:endParaRPr lang="en-GB"/>
              </a:p>
            </p:txBody>
          </p:sp>
          <p:sp>
            <p:nvSpPr>
              <p:cNvPr id="3633" name="Vrije vorm: vorm 3632">
                <a:extLst>
                  <a:ext uri="{FF2B5EF4-FFF2-40B4-BE49-F238E27FC236}">
                    <a16:creationId xmlns:a16="http://schemas.microsoft.com/office/drawing/2014/main" id="{19F966EF-E4F7-4D42-8513-335353200EEC}"/>
                  </a:ext>
                </a:extLst>
              </p:cNvPr>
              <p:cNvSpPr/>
              <p:nvPr/>
            </p:nvSpPr>
            <p:spPr>
              <a:xfrm>
                <a:off x="5841972" y="1727914"/>
                <a:ext cx="18333" cy="18447"/>
              </a:xfrm>
              <a:custGeom>
                <a:avLst/>
                <a:gdLst>
                  <a:gd name="connsiteX0" fmla="*/ 18317 w 18333"/>
                  <a:gd name="connsiteY0" fmla="*/ 8748 h 18447"/>
                  <a:gd name="connsiteX1" fmla="*/ 9645 w 18333"/>
                  <a:gd name="connsiteY1" fmla="*/ 18437 h 18447"/>
                  <a:gd name="connsiteX2" fmla="*/ 16 w 18333"/>
                  <a:gd name="connsiteY2" fmla="*/ 9705 h 18447"/>
                  <a:gd name="connsiteX3" fmla="*/ 8688 w 18333"/>
                  <a:gd name="connsiteY3" fmla="*/ 16 h 18447"/>
                  <a:gd name="connsiteX4" fmla="*/ 18317 w 18333"/>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8748"/>
                    </a:moveTo>
                    <a:cubicBezTo>
                      <a:pt x="18616" y="13831"/>
                      <a:pt x="14729" y="18138"/>
                      <a:pt x="9645" y="18437"/>
                    </a:cubicBezTo>
                    <a:cubicBezTo>
                      <a:pt x="4621" y="18676"/>
                      <a:pt x="256" y="14788"/>
                      <a:pt x="16" y="9705"/>
                    </a:cubicBezTo>
                    <a:cubicBezTo>
                      <a:pt x="-283" y="4621"/>
                      <a:pt x="3605" y="315"/>
                      <a:pt x="8688" y="16"/>
                    </a:cubicBezTo>
                    <a:cubicBezTo>
                      <a:pt x="13772" y="-283"/>
                      <a:pt x="18078" y="3664"/>
                      <a:pt x="18317" y="8748"/>
                    </a:cubicBezTo>
                    <a:close/>
                  </a:path>
                </a:pathLst>
              </a:custGeom>
              <a:grpFill/>
              <a:ln w="5978" cap="flat">
                <a:noFill/>
                <a:prstDash val="solid"/>
                <a:miter/>
              </a:ln>
            </p:spPr>
            <p:txBody>
              <a:bodyPr rtlCol="0" anchor="ctr"/>
              <a:lstStyle/>
              <a:p>
                <a:endParaRPr lang="en-GB"/>
              </a:p>
            </p:txBody>
          </p:sp>
          <p:sp>
            <p:nvSpPr>
              <p:cNvPr id="3634" name="Vrije vorm: vorm 3633">
                <a:extLst>
                  <a:ext uri="{FF2B5EF4-FFF2-40B4-BE49-F238E27FC236}">
                    <a16:creationId xmlns:a16="http://schemas.microsoft.com/office/drawing/2014/main" id="{5EB9F76A-6274-453D-AE63-EA691AE42C9A}"/>
                  </a:ext>
                </a:extLst>
              </p:cNvPr>
              <p:cNvSpPr/>
              <p:nvPr/>
            </p:nvSpPr>
            <p:spPr>
              <a:xfrm>
                <a:off x="5807051" y="1093007"/>
                <a:ext cx="18327" cy="18441"/>
              </a:xfrm>
              <a:custGeom>
                <a:avLst/>
                <a:gdLst>
                  <a:gd name="connsiteX0" fmla="*/ 18311 w 18327"/>
                  <a:gd name="connsiteY0" fmla="*/ 8742 h 18441"/>
                  <a:gd name="connsiteX1" fmla="*/ 8683 w 18327"/>
                  <a:gd name="connsiteY1" fmla="*/ 10 h 18441"/>
                  <a:gd name="connsiteX2" fmla="*/ 10 w 18327"/>
                  <a:gd name="connsiteY2" fmla="*/ 9699 h 18441"/>
                  <a:gd name="connsiteX3" fmla="*/ 9639 w 18327"/>
                  <a:gd name="connsiteY3" fmla="*/ 18431 h 18441"/>
                  <a:gd name="connsiteX4" fmla="*/ 18311 w 18327"/>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18311" y="8742"/>
                    </a:moveTo>
                    <a:cubicBezTo>
                      <a:pt x="18013" y="3659"/>
                      <a:pt x="13706" y="-229"/>
                      <a:pt x="8683" y="10"/>
                    </a:cubicBezTo>
                    <a:cubicBezTo>
                      <a:pt x="3659" y="250"/>
                      <a:pt x="-229" y="4616"/>
                      <a:pt x="10" y="9699"/>
                    </a:cubicBezTo>
                    <a:cubicBezTo>
                      <a:pt x="309" y="14783"/>
                      <a:pt x="4616" y="18670"/>
                      <a:pt x="9639" y="18431"/>
                    </a:cubicBezTo>
                    <a:cubicBezTo>
                      <a:pt x="14723" y="18132"/>
                      <a:pt x="18610" y="13826"/>
                      <a:pt x="18311" y="8742"/>
                    </a:cubicBezTo>
                    <a:close/>
                  </a:path>
                </a:pathLst>
              </a:custGeom>
              <a:grpFill/>
              <a:ln w="5978" cap="flat">
                <a:noFill/>
                <a:prstDash val="solid"/>
                <a:miter/>
              </a:ln>
            </p:spPr>
            <p:txBody>
              <a:bodyPr rtlCol="0" anchor="ctr"/>
              <a:lstStyle/>
              <a:p>
                <a:endParaRPr lang="en-GB"/>
              </a:p>
            </p:txBody>
          </p:sp>
        </p:grpSp>
        <p:grpSp>
          <p:nvGrpSpPr>
            <p:cNvPr id="586" name="Graphic 3">
              <a:extLst>
                <a:ext uri="{FF2B5EF4-FFF2-40B4-BE49-F238E27FC236}">
                  <a16:creationId xmlns:a16="http://schemas.microsoft.com/office/drawing/2014/main" id="{154E5433-E809-4644-9454-BAE9CEBC5939}"/>
                </a:ext>
              </a:extLst>
            </p:cNvPr>
            <p:cNvGrpSpPr/>
            <p:nvPr/>
          </p:nvGrpSpPr>
          <p:grpSpPr>
            <a:xfrm>
              <a:off x="5893451" y="1598954"/>
              <a:ext cx="28891" cy="142942"/>
              <a:chOff x="5893451" y="1598954"/>
              <a:chExt cx="28891" cy="142942"/>
            </a:xfrm>
            <a:grpFill/>
          </p:grpSpPr>
          <p:sp>
            <p:nvSpPr>
              <p:cNvPr id="3629" name="Vrije vorm: vorm 3628">
                <a:extLst>
                  <a:ext uri="{FF2B5EF4-FFF2-40B4-BE49-F238E27FC236}">
                    <a16:creationId xmlns:a16="http://schemas.microsoft.com/office/drawing/2014/main" id="{902D0D18-9EC6-4752-8042-2A8A67A038AC}"/>
                  </a:ext>
                </a:extLst>
              </p:cNvPr>
              <p:cNvSpPr/>
              <p:nvPr/>
            </p:nvSpPr>
            <p:spPr>
              <a:xfrm>
                <a:off x="5901078" y="1607598"/>
                <a:ext cx="13576" cy="125655"/>
              </a:xfrm>
              <a:custGeom>
                <a:avLst/>
                <a:gdLst>
                  <a:gd name="connsiteX0" fmla="*/ 3050 w 13576"/>
                  <a:gd name="connsiteY0" fmla="*/ 0 h 125655"/>
                  <a:gd name="connsiteX1" fmla="*/ 13576 w 13576"/>
                  <a:gd name="connsiteY1" fmla="*/ 125416 h 125655"/>
                  <a:gd name="connsiteX2" fmla="*/ 10526 w 13576"/>
                  <a:gd name="connsiteY2" fmla="*/ 125655 h 125655"/>
                  <a:gd name="connsiteX3" fmla="*/ 0 w 13576"/>
                  <a:gd name="connsiteY3" fmla="*/ 239 h 125655"/>
                </a:gdLst>
                <a:ahLst/>
                <a:cxnLst>
                  <a:cxn ang="0">
                    <a:pos x="connsiteX0" y="connsiteY0"/>
                  </a:cxn>
                  <a:cxn ang="0">
                    <a:pos x="connsiteX1" y="connsiteY1"/>
                  </a:cxn>
                  <a:cxn ang="0">
                    <a:pos x="connsiteX2" y="connsiteY2"/>
                  </a:cxn>
                  <a:cxn ang="0">
                    <a:pos x="connsiteX3" y="connsiteY3"/>
                  </a:cxn>
                </a:cxnLst>
                <a:rect l="l" t="t" r="r" b="b"/>
                <a:pathLst>
                  <a:path w="13576" h="125655">
                    <a:moveTo>
                      <a:pt x="3050" y="0"/>
                    </a:moveTo>
                    <a:lnTo>
                      <a:pt x="13576" y="125416"/>
                    </a:lnTo>
                    <a:lnTo>
                      <a:pt x="10526" y="125655"/>
                    </a:lnTo>
                    <a:lnTo>
                      <a:pt x="0" y="239"/>
                    </a:lnTo>
                    <a:close/>
                  </a:path>
                </a:pathLst>
              </a:custGeom>
              <a:grpFill/>
              <a:ln w="5978" cap="flat">
                <a:noFill/>
                <a:prstDash val="solid"/>
                <a:miter/>
              </a:ln>
            </p:spPr>
            <p:txBody>
              <a:bodyPr rtlCol="0" anchor="ctr"/>
              <a:lstStyle/>
              <a:p>
                <a:endParaRPr lang="en-GB"/>
              </a:p>
            </p:txBody>
          </p:sp>
          <p:sp>
            <p:nvSpPr>
              <p:cNvPr id="3630" name="Vrije vorm: vorm 3629">
                <a:extLst>
                  <a:ext uri="{FF2B5EF4-FFF2-40B4-BE49-F238E27FC236}">
                    <a16:creationId xmlns:a16="http://schemas.microsoft.com/office/drawing/2014/main" id="{41FFD874-0F50-46D5-91D5-139AF533EADF}"/>
                  </a:ext>
                </a:extLst>
              </p:cNvPr>
              <p:cNvSpPr/>
              <p:nvPr/>
            </p:nvSpPr>
            <p:spPr>
              <a:xfrm>
                <a:off x="5893451" y="1598954"/>
                <a:ext cx="18365" cy="18424"/>
              </a:xfrm>
              <a:custGeom>
                <a:avLst/>
                <a:gdLst>
                  <a:gd name="connsiteX0" fmla="*/ 32 w 18365"/>
                  <a:gd name="connsiteY0" fmla="*/ 9960 h 18424"/>
                  <a:gd name="connsiteX1" fmla="*/ 8405 w 18365"/>
                  <a:gd name="connsiteY1" fmla="*/ 32 h 18424"/>
                  <a:gd name="connsiteX2" fmla="*/ 18333 w 18365"/>
                  <a:gd name="connsiteY2" fmla="*/ 8465 h 18424"/>
                  <a:gd name="connsiteX3" fmla="*/ 9960 w 18365"/>
                  <a:gd name="connsiteY3" fmla="*/ 18393 h 18424"/>
                  <a:gd name="connsiteX4" fmla="*/ 32 w 18365"/>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4">
                    <a:moveTo>
                      <a:pt x="32" y="9960"/>
                    </a:moveTo>
                    <a:cubicBezTo>
                      <a:pt x="-386" y="4876"/>
                      <a:pt x="3322" y="450"/>
                      <a:pt x="8405" y="32"/>
                    </a:cubicBezTo>
                    <a:cubicBezTo>
                      <a:pt x="13429" y="-387"/>
                      <a:pt x="17855" y="3381"/>
                      <a:pt x="18333" y="8465"/>
                    </a:cubicBezTo>
                    <a:cubicBezTo>
                      <a:pt x="18752" y="13548"/>
                      <a:pt x="15044" y="17974"/>
                      <a:pt x="9960" y="18393"/>
                    </a:cubicBezTo>
                    <a:cubicBezTo>
                      <a:pt x="4877" y="18811"/>
                      <a:pt x="451" y="15043"/>
                      <a:pt x="32" y="9960"/>
                    </a:cubicBezTo>
                    <a:close/>
                  </a:path>
                </a:pathLst>
              </a:custGeom>
              <a:grpFill/>
              <a:ln w="5978" cap="flat">
                <a:noFill/>
                <a:prstDash val="solid"/>
                <a:miter/>
              </a:ln>
            </p:spPr>
            <p:txBody>
              <a:bodyPr rtlCol="0" anchor="ctr"/>
              <a:lstStyle/>
              <a:p>
                <a:endParaRPr lang="en-GB"/>
              </a:p>
            </p:txBody>
          </p:sp>
          <p:sp>
            <p:nvSpPr>
              <p:cNvPr id="3631" name="Vrije vorm: vorm 3630">
                <a:extLst>
                  <a:ext uri="{FF2B5EF4-FFF2-40B4-BE49-F238E27FC236}">
                    <a16:creationId xmlns:a16="http://schemas.microsoft.com/office/drawing/2014/main" id="{C1A02021-743B-4A57-92D6-F5AD5FADA7B9}"/>
                  </a:ext>
                </a:extLst>
              </p:cNvPr>
              <p:cNvSpPr/>
              <p:nvPr/>
            </p:nvSpPr>
            <p:spPr>
              <a:xfrm>
                <a:off x="5903968" y="1723473"/>
                <a:ext cx="18374" cy="18424"/>
              </a:xfrm>
              <a:custGeom>
                <a:avLst/>
                <a:gdLst>
                  <a:gd name="connsiteX0" fmla="*/ 41 w 18374"/>
                  <a:gd name="connsiteY0" fmla="*/ 9960 h 18424"/>
                  <a:gd name="connsiteX1" fmla="*/ 9969 w 18374"/>
                  <a:gd name="connsiteY1" fmla="*/ 18393 h 18424"/>
                  <a:gd name="connsiteX2" fmla="*/ 18342 w 18374"/>
                  <a:gd name="connsiteY2" fmla="*/ 8465 h 18424"/>
                  <a:gd name="connsiteX3" fmla="*/ 8414 w 18374"/>
                  <a:gd name="connsiteY3" fmla="*/ 32 h 18424"/>
                  <a:gd name="connsiteX4" fmla="*/ 41 w 18374"/>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4">
                    <a:moveTo>
                      <a:pt x="41" y="9960"/>
                    </a:moveTo>
                    <a:cubicBezTo>
                      <a:pt x="460" y="15043"/>
                      <a:pt x="4886" y="18811"/>
                      <a:pt x="9969" y="18393"/>
                    </a:cubicBezTo>
                    <a:cubicBezTo>
                      <a:pt x="14993" y="17974"/>
                      <a:pt x="18761" y="13548"/>
                      <a:pt x="18342" y="8465"/>
                    </a:cubicBezTo>
                    <a:cubicBezTo>
                      <a:pt x="17924" y="3381"/>
                      <a:pt x="13498" y="-387"/>
                      <a:pt x="8414" y="32"/>
                    </a:cubicBezTo>
                    <a:cubicBezTo>
                      <a:pt x="3331" y="450"/>
                      <a:pt x="-437" y="4876"/>
                      <a:pt x="41" y="9960"/>
                    </a:cubicBezTo>
                    <a:close/>
                  </a:path>
                </a:pathLst>
              </a:custGeom>
              <a:grpFill/>
              <a:ln w="5978" cap="flat">
                <a:noFill/>
                <a:prstDash val="solid"/>
                <a:miter/>
              </a:ln>
            </p:spPr>
            <p:txBody>
              <a:bodyPr rtlCol="0" anchor="ctr"/>
              <a:lstStyle/>
              <a:p>
                <a:endParaRPr lang="en-GB"/>
              </a:p>
            </p:txBody>
          </p:sp>
        </p:grpSp>
        <p:grpSp>
          <p:nvGrpSpPr>
            <p:cNvPr id="587" name="Graphic 3">
              <a:extLst>
                <a:ext uri="{FF2B5EF4-FFF2-40B4-BE49-F238E27FC236}">
                  <a16:creationId xmlns:a16="http://schemas.microsoft.com/office/drawing/2014/main" id="{81F1CC90-E3AB-4F50-B8C4-5DB5DCDFCFF0}"/>
                </a:ext>
              </a:extLst>
            </p:cNvPr>
            <p:cNvGrpSpPr/>
            <p:nvPr/>
          </p:nvGrpSpPr>
          <p:grpSpPr>
            <a:xfrm>
              <a:off x="6976752" y="4967684"/>
              <a:ext cx="73646" cy="111127"/>
              <a:chOff x="6976752" y="4967684"/>
              <a:chExt cx="73646" cy="111127"/>
            </a:xfrm>
            <a:grpFill/>
          </p:grpSpPr>
          <p:sp>
            <p:nvSpPr>
              <p:cNvPr id="3626" name="Vrije vorm: vorm 3625">
                <a:extLst>
                  <a:ext uri="{FF2B5EF4-FFF2-40B4-BE49-F238E27FC236}">
                    <a16:creationId xmlns:a16="http://schemas.microsoft.com/office/drawing/2014/main" id="{5E4960A7-1E15-425A-99B2-FD664FC0E76F}"/>
                  </a:ext>
                </a:extLst>
              </p:cNvPr>
              <p:cNvSpPr/>
              <p:nvPr/>
            </p:nvSpPr>
            <p:spPr>
              <a:xfrm>
                <a:off x="6984366" y="4975701"/>
                <a:ext cx="58431" cy="95033"/>
              </a:xfrm>
              <a:custGeom>
                <a:avLst/>
                <a:gdLst>
                  <a:gd name="connsiteX0" fmla="*/ 58432 w 58431"/>
                  <a:gd name="connsiteY0" fmla="*/ 93479 h 95033"/>
                  <a:gd name="connsiteX1" fmla="*/ 55800 w 58431"/>
                  <a:gd name="connsiteY1" fmla="*/ 95034 h 95033"/>
                  <a:gd name="connsiteX2" fmla="*/ 0 w 58431"/>
                  <a:gd name="connsiteY2" fmla="*/ 1555 h 95033"/>
                  <a:gd name="connsiteX3" fmla="*/ 2632 w 58431"/>
                  <a:gd name="connsiteY3" fmla="*/ 0 h 95033"/>
                </a:gdLst>
                <a:ahLst/>
                <a:cxnLst>
                  <a:cxn ang="0">
                    <a:pos x="connsiteX0" y="connsiteY0"/>
                  </a:cxn>
                  <a:cxn ang="0">
                    <a:pos x="connsiteX1" y="connsiteY1"/>
                  </a:cxn>
                  <a:cxn ang="0">
                    <a:pos x="connsiteX2" y="connsiteY2"/>
                  </a:cxn>
                  <a:cxn ang="0">
                    <a:pos x="connsiteX3" y="connsiteY3"/>
                  </a:cxn>
                </a:cxnLst>
                <a:rect l="l" t="t" r="r" b="b"/>
                <a:pathLst>
                  <a:path w="58431" h="95033">
                    <a:moveTo>
                      <a:pt x="58432" y="93479"/>
                    </a:moveTo>
                    <a:lnTo>
                      <a:pt x="55800" y="95034"/>
                    </a:lnTo>
                    <a:lnTo>
                      <a:pt x="0" y="1555"/>
                    </a:lnTo>
                    <a:lnTo>
                      <a:pt x="2632" y="0"/>
                    </a:lnTo>
                    <a:close/>
                  </a:path>
                </a:pathLst>
              </a:custGeom>
              <a:grpFill/>
              <a:ln w="5978" cap="flat">
                <a:noFill/>
                <a:prstDash val="solid"/>
                <a:miter/>
              </a:ln>
            </p:spPr>
            <p:txBody>
              <a:bodyPr rtlCol="0" anchor="ctr"/>
              <a:lstStyle/>
              <a:p>
                <a:endParaRPr lang="en-GB"/>
              </a:p>
            </p:txBody>
          </p:sp>
          <p:sp>
            <p:nvSpPr>
              <p:cNvPr id="3627" name="Vrije vorm: vorm 3626">
                <a:extLst>
                  <a:ext uri="{FF2B5EF4-FFF2-40B4-BE49-F238E27FC236}">
                    <a16:creationId xmlns:a16="http://schemas.microsoft.com/office/drawing/2014/main" id="{536A678A-F52F-4E35-A8A2-CC477B0214B1}"/>
                  </a:ext>
                </a:extLst>
              </p:cNvPr>
              <p:cNvSpPr/>
              <p:nvPr/>
            </p:nvSpPr>
            <p:spPr>
              <a:xfrm>
                <a:off x="7032088" y="5060386"/>
                <a:ext cx="18311" cy="18426"/>
              </a:xfrm>
              <a:custGeom>
                <a:avLst/>
                <a:gdLst>
                  <a:gd name="connsiteX0" fmla="*/ 16991 w 18311"/>
                  <a:gd name="connsiteY0" fmla="*/ 4488 h 18426"/>
                  <a:gd name="connsiteX1" fmla="*/ 13880 w 18311"/>
                  <a:gd name="connsiteY1" fmla="*/ 17108 h 18426"/>
                  <a:gd name="connsiteX2" fmla="*/ 1321 w 18311"/>
                  <a:gd name="connsiteY2" fmla="*/ 13938 h 18426"/>
                  <a:gd name="connsiteX3" fmla="*/ 4430 w 18311"/>
                  <a:gd name="connsiteY3" fmla="*/ 1318 h 18426"/>
                  <a:gd name="connsiteX4" fmla="*/ 16991 w 18311"/>
                  <a:gd name="connsiteY4" fmla="*/ 448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6">
                    <a:moveTo>
                      <a:pt x="16991" y="4488"/>
                    </a:moveTo>
                    <a:cubicBezTo>
                      <a:pt x="19622" y="8854"/>
                      <a:pt x="18186" y="14536"/>
                      <a:pt x="13880" y="17108"/>
                    </a:cubicBezTo>
                    <a:cubicBezTo>
                      <a:pt x="9515" y="19739"/>
                      <a:pt x="3892" y="18304"/>
                      <a:pt x="1321" y="13938"/>
                    </a:cubicBezTo>
                    <a:cubicBezTo>
                      <a:pt x="-1311" y="9572"/>
                      <a:pt x="124" y="3890"/>
                      <a:pt x="4430" y="1318"/>
                    </a:cubicBezTo>
                    <a:cubicBezTo>
                      <a:pt x="8737" y="-1313"/>
                      <a:pt x="14418" y="122"/>
                      <a:pt x="16991" y="4488"/>
                    </a:cubicBezTo>
                    <a:close/>
                  </a:path>
                </a:pathLst>
              </a:custGeom>
              <a:grpFill/>
              <a:ln w="5978" cap="flat">
                <a:noFill/>
                <a:prstDash val="solid"/>
                <a:miter/>
              </a:ln>
            </p:spPr>
            <p:txBody>
              <a:bodyPr rtlCol="0" anchor="ctr"/>
              <a:lstStyle/>
              <a:p>
                <a:endParaRPr lang="en-GB"/>
              </a:p>
            </p:txBody>
          </p:sp>
          <p:sp>
            <p:nvSpPr>
              <p:cNvPr id="3628" name="Vrije vorm: vorm 3627">
                <a:extLst>
                  <a:ext uri="{FF2B5EF4-FFF2-40B4-BE49-F238E27FC236}">
                    <a16:creationId xmlns:a16="http://schemas.microsoft.com/office/drawing/2014/main" id="{90AA412B-AB9D-47E2-9326-23AD4A6DE88F}"/>
                  </a:ext>
                </a:extLst>
              </p:cNvPr>
              <p:cNvSpPr/>
              <p:nvPr/>
            </p:nvSpPr>
            <p:spPr>
              <a:xfrm>
                <a:off x="6976752" y="4967684"/>
                <a:ext cx="18338" cy="18426"/>
              </a:xfrm>
              <a:custGeom>
                <a:avLst/>
                <a:gdLst>
                  <a:gd name="connsiteX0" fmla="*/ 17004 w 18338"/>
                  <a:gd name="connsiteY0" fmla="*/ 4488 h 18426"/>
                  <a:gd name="connsiteX1" fmla="*/ 4444 w 18338"/>
                  <a:gd name="connsiteY1" fmla="*/ 1318 h 18426"/>
                  <a:gd name="connsiteX2" fmla="*/ 1335 w 18338"/>
                  <a:gd name="connsiteY2" fmla="*/ 13938 h 18426"/>
                  <a:gd name="connsiteX3" fmla="*/ 13894 w 18338"/>
                  <a:gd name="connsiteY3" fmla="*/ 17108 h 18426"/>
                  <a:gd name="connsiteX4" fmla="*/ 17004 w 18338"/>
                  <a:gd name="connsiteY4" fmla="*/ 448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6">
                    <a:moveTo>
                      <a:pt x="17004" y="4488"/>
                    </a:moveTo>
                    <a:cubicBezTo>
                      <a:pt x="14372" y="122"/>
                      <a:pt x="8751" y="-1313"/>
                      <a:pt x="4444" y="1318"/>
                    </a:cubicBezTo>
                    <a:cubicBezTo>
                      <a:pt x="78" y="3950"/>
                      <a:pt x="-1297" y="9572"/>
                      <a:pt x="1335" y="13938"/>
                    </a:cubicBezTo>
                    <a:cubicBezTo>
                      <a:pt x="3966" y="18304"/>
                      <a:pt x="9588" y="19739"/>
                      <a:pt x="13894" y="17108"/>
                    </a:cubicBezTo>
                    <a:cubicBezTo>
                      <a:pt x="18260" y="14536"/>
                      <a:pt x="19636" y="8854"/>
                      <a:pt x="17004" y="4488"/>
                    </a:cubicBezTo>
                    <a:close/>
                  </a:path>
                </a:pathLst>
              </a:custGeom>
              <a:grpFill/>
              <a:ln w="5978" cap="flat">
                <a:noFill/>
                <a:prstDash val="solid"/>
                <a:miter/>
              </a:ln>
            </p:spPr>
            <p:txBody>
              <a:bodyPr rtlCol="0" anchor="ctr"/>
              <a:lstStyle/>
              <a:p>
                <a:endParaRPr lang="en-GB"/>
              </a:p>
            </p:txBody>
          </p:sp>
        </p:grpSp>
        <p:grpSp>
          <p:nvGrpSpPr>
            <p:cNvPr id="588" name="Graphic 3">
              <a:extLst>
                <a:ext uri="{FF2B5EF4-FFF2-40B4-BE49-F238E27FC236}">
                  <a16:creationId xmlns:a16="http://schemas.microsoft.com/office/drawing/2014/main" id="{1D5E942B-676F-4F5D-A7AE-A1F2F7A4A33F}"/>
                </a:ext>
              </a:extLst>
            </p:cNvPr>
            <p:cNvGrpSpPr/>
            <p:nvPr/>
          </p:nvGrpSpPr>
          <p:grpSpPr>
            <a:xfrm>
              <a:off x="6943300" y="4850128"/>
              <a:ext cx="78828" cy="115783"/>
              <a:chOff x="6943300" y="4850128"/>
              <a:chExt cx="78828" cy="115783"/>
            </a:xfrm>
            <a:grpFill/>
          </p:grpSpPr>
          <p:sp>
            <p:nvSpPr>
              <p:cNvPr id="3623" name="Vrije vorm: vorm 3622">
                <a:extLst>
                  <a:ext uri="{FF2B5EF4-FFF2-40B4-BE49-F238E27FC236}">
                    <a16:creationId xmlns:a16="http://schemas.microsoft.com/office/drawing/2014/main" id="{6C4A4B97-72D6-4AD0-BADB-6C7D196E4D14}"/>
                  </a:ext>
                </a:extLst>
              </p:cNvPr>
              <p:cNvSpPr/>
              <p:nvPr/>
            </p:nvSpPr>
            <p:spPr>
              <a:xfrm>
                <a:off x="6950874" y="4858120"/>
                <a:ext cx="63634" cy="99758"/>
              </a:xfrm>
              <a:custGeom>
                <a:avLst/>
                <a:gdLst>
                  <a:gd name="connsiteX0" fmla="*/ 63635 w 63634"/>
                  <a:gd name="connsiteY0" fmla="*/ 98143 h 99758"/>
                  <a:gd name="connsiteX1" fmla="*/ 61063 w 63634"/>
                  <a:gd name="connsiteY1" fmla="*/ 99758 h 99758"/>
                  <a:gd name="connsiteX2" fmla="*/ 0 w 63634"/>
                  <a:gd name="connsiteY2" fmla="*/ 1615 h 99758"/>
                  <a:gd name="connsiteX3" fmla="*/ 2571 w 63634"/>
                  <a:gd name="connsiteY3" fmla="*/ 0 h 99758"/>
                </a:gdLst>
                <a:ahLst/>
                <a:cxnLst>
                  <a:cxn ang="0">
                    <a:pos x="connsiteX0" y="connsiteY0"/>
                  </a:cxn>
                  <a:cxn ang="0">
                    <a:pos x="connsiteX1" y="connsiteY1"/>
                  </a:cxn>
                  <a:cxn ang="0">
                    <a:pos x="connsiteX2" y="connsiteY2"/>
                  </a:cxn>
                  <a:cxn ang="0">
                    <a:pos x="connsiteX3" y="connsiteY3"/>
                  </a:cxn>
                </a:cxnLst>
                <a:rect l="l" t="t" r="r" b="b"/>
                <a:pathLst>
                  <a:path w="63634" h="99758">
                    <a:moveTo>
                      <a:pt x="63635" y="98143"/>
                    </a:moveTo>
                    <a:lnTo>
                      <a:pt x="61063" y="99758"/>
                    </a:lnTo>
                    <a:lnTo>
                      <a:pt x="0" y="1615"/>
                    </a:lnTo>
                    <a:lnTo>
                      <a:pt x="2571" y="0"/>
                    </a:lnTo>
                    <a:close/>
                  </a:path>
                </a:pathLst>
              </a:custGeom>
              <a:grpFill/>
              <a:ln w="5978" cap="flat">
                <a:noFill/>
                <a:prstDash val="solid"/>
                <a:miter/>
              </a:ln>
            </p:spPr>
            <p:txBody>
              <a:bodyPr rtlCol="0" anchor="ctr"/>
              <a:lstStyle/>
              <a:p>
                <a:endParaRPr lang="en-GB"/>
              </a:p>
            </p:txBody>
          </p:sp>
          <p:sp>
            <p:nvSpPr>
              <p:cNvPr id="3624" name="Vrije vorm: vorm 3623">
                <a:extLst>
                  <a:ext uri="{FF2B5EF4-FFF2-40B4-BE49-F238E27FC236}">
                    <a16:creationId xmlns:a16="http://schemas.microsoft.com/office/drawing/2014/main" id="{F50720CC-EE58-410B-940B-3CDCF093A289}"/>
                  </a:ext>
                </a:extLst>
              </p:cNvPr>
              <p:cNvSpPr/>
              <p:nvPr/>
            </p:nvSpPr>
            <p:spPr>
              <a:xfrm>
                <a:off x="7003840" y="4947454"/>
                <a:ext cx="18289" cy="18458"/>
              </a:xfrm>
              <a:custGeom>
                <a:avLst/>
                <a:gdLst>
                  <a:gd name="connsiteX0" fmla="*/ 16889 w 18289"/>
                  <a:gd name="connsiteY0" fmla="*/ 4385 h 18458"/>
                  <a:gd name="connsiteX1" fmla="*/ 14019 w 18289"/>
                  <a:gd name="connsiteY1" fmla="*/ 17064 h 18458"/>
                  <a:gd name="connsiteX2" fmla="*/ 1399 w 18289"/>
                  <a:gd name="connsiteY2" fmla="*/ 14073 h 18458"/>
                  <a:gd name="connsiteX3" fmla="*/ 4270 w 18289"/>
                  <a:gd name="connsiteY3" fmla="*/ 1394 h 18458"/>
                  <a:gd name="connsiteX4" fmla="*/ 16889 w 18289"/>
                  <a:gd name="connsiteY4" fmla="*/ 438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8">
                    <a:moveTo>
                      <a:pt x="16889" y="4385"/>
                    </a:moveTo>
                    <a:cubicBezTo>
                      <a:pt x="19581" y="8691"/>
                      <a:pt x="18265" y="14372"/>
                      <a:pt x="14019" y="17064"/>
                    </a:cubicBezTo>
                    <a:cubicBezTo>
                      <a:pt x="9713" y="19755"/>
                      <a:pt x="4091" y="18439"/>
                      <a:pt x="1399" y="14073"/>
                    </a:cubicBezTo>
                    <a:cubicBezTo>
                      <a:pt x="-1292" y="9767"/>
                      <a:pt x="24" y="4086"/>
                      <a:pt x="4270" y="1394"/>
                    </a:cubicBezTo>
                    <a:cubicBezTo>
                      <a:pt x="8577" y="-1297"/>
                      <a:pt x="14258" y="19"/>
                      <a:pt x="16889" y="4385"/>
                    </a:cubicBezTo>
                    <a:close/>
                  </a:path>
                </a:pathLst>
              </a:custGeom>
              <a:grpFill/>
              <a:ln w="5978" cap="flat">
                <a:noFill/>
                <a:prstDash val="solid"/>
                <a:miter/>
              </a:ln>
            </p:spPr>
            <p:txBody>
              <a:bodyPr rtlCol="0" anchor="ctr"/>
              <a:lstStyle/>
              <a:p>
                <a:endParaRPr lang="en-GB"/>
              </a:p>
            </p:txBody>
          </p:sp>
          <p:sp>
            <p:nvSpPr>
              <p:cNvPr id="3625" name="Vrije vorm: vorm 3624">
                <a:extLst>
                  <a:ext uri="{FF2B5EF4-FFF2-40B4-BE49-F238E27FC236}">
                    <a16:creationId xmlns:a16="http://schemas.microsoft.com/office/drawing/2014/main" id="{8071BBC3-E174-4759-8945-540A4A92F93D}"/>
                  </a:ext>
                </a:extLst>
              </p:cNvPr>
              <p:cNvSpPr/>
              <p:nvPr/>
            </p:nvSpPr>
            <p:spPr>
              <a:xfrm>
                <a:off x="6943300" y="4850128"/>
                <a:ext cx="18303" cy="18376"/>
              </a:xfrm>
              <a:custGeom>
                <a:avLst/>
                <a:gdLst>
                  <a:gd name="connsiteX0" fmla="*/ 16904 w 18303"/>
                  <a:gd name="connsiteY0" fmla="*/ 4344 h 18376"/>
                  <a:gd name="connsiteX1" fmla="*/ 4285 w 18303"/>
                  <a:gd name="connsiteY1" fmla="*/ 1354 h 18376"/>
                  <a:gd name="connsiteX2" fmla="*/ 1414 w 18303"/>
                  <a:gd name="connsiteY2" fmla="*/ 14033 h 18376"/>
                  <a:gd name="connsiteX3" fmla="*/ 14033 w 18303"/>
                  <a:gd name="connsiteY3" fmla="*/ 17023 h 18376"/>
                  <a:gd name="connsiteX4" fmla="*/ 16904 w 18303"/>
                  <a:gd name="connsiteY4" fmla="*/ 4344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76">
                    <a:moveTo>
                      <a:pt x="16904" y="4344"/>
                    </a:moveTo>
                    <a:cubicBezTo>
                      <a:pt x="14213" y="38"/>
                      <a:pt x="8531" y="-1278"/>
                      <a:pt x="4285" y="1354"/>
                    </a:cubicBezTo>
                    <a:cubicBezTo>
                      <a:pt x="-21" y="4045"/>
                      <a:pt x="-1277" y="9727"/>
                      <a:pt x="1414" y="14033"/>
                    </a:cubicBezTo>
                    <a:cubicBezTo>
                      <a:pt x="4106" y="18339"/>
                      <a:pt x="9787" y="19654"/>
                      <a:pt x="14033" y="17023"/>
                    </a:cubicBezTo>
                    <a:cubicBezTo>
                      <a:pt x="18280" y="14332"/>
                      <a:pt x="19596" y="8650"/>
                      <a:pt x="16904" y="4344"/>
                    </a:cubicBezTo>
                    <a:close/>
                  </a:path>
                </a:pathLst>
              </a:custGeom>
              <a:grpFill/>
              <a:ln w="5978" cap="flat">
                <a:noFill/>
                <a:prstDash val="solid"/>
                <a:miter/>
              </a:ln>
            </p:spPr>
            <p:txBody>
              <a:bodyPr rtlCol="0" anchor="ctr"/>
              <a:lstStyle/>
              <a:p>
                <a:endParaRPr lang="en-GB"/>
              </a:p>
            </p:txBody>
          </p:sp>
        </p:grpSp>
        <p:grpSp>
          <p:nvGrpSpPr>
            <p:cNvPr id="589" name="Graphic 3">
              <a:extLst>
                <a:ext uri="{FF2B5EF4-FFF2-40B4-BE49-F238E27FC236}">
                  <a16:creationId xmlns:a16="http://schemas.microsoft.com/office/drawing/2014/main" id="{640155A8-CDAE-41F0-A9A1-BFEED6DD742F}"/>
                </a:ext>
              </a:extLst>
            </p:cNvPr>
            <p:cNvGrpSpPr/>
            <p:nvPr/>
          </p:nvGrpSpPr>
          <p:grpSpPr>
            <a:xfrm>
              <a:off x="5796290" y="1357659"/>
              <a:ext cx="42893" cy="219741"/>
              <a:chOff x="5796290" y="1357659"/>
              <a:chExt cx="42893" cy="219741"/>
            </a:xfrm>
            <a:grpFill/>
          </p:grpSpPr>
          <p:sp>
            <p:nvSpPr>
              <p:cNvPr id="3620" name="Vrije vorm: vorm 3619">
                <a:extLst>
                  <a:ext uri="{FF2B5EF4-FFF2-40B4-BE49-F238E27FC236}">
                    <a16:creationId xmlns:a16="http://schemas.microsoft.com/office/drawing/2014/main" id="{9029220C-D38B-48AF-A5C4-0550EF1EB4F3}"/>
                  </a:ext>
                </a:extLst>
              </p:cNvPr>
              <p:cNvSpPr/>
              <p:nvPr/>
            </p:nvSpPr>
            <p:spPr>
              <a:xfrm>
                <a:off x="5803891" y="1366216"/>
                <a:ext cx="27630" cy="202626"/>
              </a:xfrm>
              <a:custGeom>
                <a:avLst/>
                <a:gdLst>
                  <a:gd name="connsiteX0" fmla="*/ 3050 w 27630"/>
                  <a:gd name="connsiteY0" fmla="*/ 0 h 202626"/>
                  <a:gd name="connsiteX1" fmla="*/ 27631 w 27630"/>
                  <a:gd name="connsiteY1" fmla="*/ 202268 h 202626"/>
                  <a:gd name="connsiteX2" fmla="*/ 24641 w 27630"/>
                  <a:gd name="connsiteY2" fmla="*/ 202627 h 202626"/>
                  <a:gd name="connsiteX3" fmla="*/ 0 w 27630"/>
                  <a:gd name="connsiteY3" fmla="*/ 419 h 202626"/>
                </a:gdLst>
                <a:ahLst/>
                <a:cxnLst>
                  <a:cxn ang="0">
                    <a:pos x="connsiteX0" y="connsiteY0"/>
                  </a:cxn>
                  <a:cxn ang="0">
                    <a:pos x="connsiteX1" y="connsiteY1"/>
                  </a:cxn>
                  <a:cxn ang="0">
                    <a:pos x="connsiteX2" y="connsiteY2"/>
                  </a:cxn>
                  <a:cxn ang="0">
                    <a:pos x="connsiteX3" y="connsiteY3"/>
                  </a:cxn>
                </a:cxnLst>
                <a:rect l="l" t="t" r="r" b="b"/>
                <a:pathLst>
                  <a:path w="27630" h="202626">
                    <a:moveTo>
                      <a:pt x="3050" y="0"/>
                    </a:moveTo>
                    <a:lnTo>
                      <a:pt x="27631" y="202268"/>
                    </a:lnTo>
                    <a:lnTo>
                      <a:pt x="24641" y="202627"/>
                    </a:lnTo>
                    <a:lnTo>
                      <a:pt x="0" y="419"/>
                    </a:lnTo>
                    <a:close/>
                  </a:path>
                </a:pathLst>
              </a:custGeom>
              <a:grpFill/>
              <a:ln w="5978" cap="flat">
                <a:noFill/>
                <a:prstDash val="solid"/>
                <a:miter/>
              </a:ln>
            </p:spPr>
            <p:txBody>
              <a:bodyPr rtlCol="0" anchor="ctr"/>
              <a:lstStyle/>
              <a:p>
                <a:endParaRPr lang="en-GB"/>
              </a:p>
            </p:txBody>
          </p:sp>
          <p:sp>
            <p:nvSpPr>
              <p:cNvPr id="3621" name="Vrije vorm: vorm 3620">
                <a:extLst>
                  <a:ext uri="{FF2B5EF4-FFF2-40B4-BE49-F238E27FC236}">
                    <a16:creationId xmlns:a16="http://schemas.microsoft.com/office/drawing/2014/main" id="{4C6EC543-5E0F-4BD3-8512-0A723805B006}"/>
                  </a:ext>
                </a:extLst>
              </p:cNvPr>
              <p:cNvSpPr/>
              <p:nvPr/>
            </p:nvSpPr>
            <p:spPr>
              <a:xfrm>
                <a:off x="5796290" y="1357659"/>
                <a:ext cx="18312" cy="18431"/>
              </a:xfrm>
              <a:custGeom>
                <a:avLst/>
                <a:gdLst>
                  <a:gd name="connsiteX0" fmla="*/ 66 w 18312"/>
                  <a:gd name="connsiteY0" fmla="*/ 10292 h 18431"/>
                  <a:gd name="connsiteX1" fmla="*/ 8020 w 18312"/>
                  <a:gd name="connsiteY1" fmla="*/ 65 h 18431"/>
                  <a:gd name="connsiteX2" fmla="*/ 18248 w 18312"/>
                  <a:gd name="connsiteY2" fmla="*/ 8139 h 18431"/>
                  <a:gd name="connsiteX3" fmla="*/ 10293 w 18312"/>
                  <a:gd name="connsiteY3" fmla="*/ 18366 h 18431"/>
                  <a:gd name="connsiteX4" fmla="*/ 66 w 18312"/>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1">
                    <a:moveTo>
                      <a:pt x="66" y="10292"/>
                    </a:moveTo>
                    <a:cubicBezTo>
                      <a:pt x="-532" y="5268"/>
                      <a:pt x="2997" y="663"/>
                      <a:pt x="8020" y="65"/>
                    </a:cubicBezTo>
                    <a:cubicBezTo>
                      <a:pt x="13044" y="-533"/>
                      <a:pt x="17590" y="3055"/>
                      <a:pt x="18248" y="8139"/>
                    </a:cubicBezTo>
                    <a:cubicBezTo>
                      <a:pt x="18846" y="13163"/>
                      <a:pt x="15257" y="17768"/>
                      <a:pt x="10293" y="18366"/>
                    </a:cubicBezTo>
                    <a:cubicBezTo>
                      <a:pt x="5270" y="18964"/>
                      <a:pt x="724" y="15376"/>
                      <a:pt x="66" y="10292"/>
                    </a:cubicBezTo>
                    <a:close/>
                  </a:path>
                </a:pathLst>
              </a:custGeom>
              <a:grpFill/>
              <a:ln w="5978" cap="flat">
                <a:noFill/>
                <a:prstDash val="solid"/>
                <a:miter/>
              </a:ln>
            </p:spPr>
            <p:txBody>
              <a:bodyPr rtlCol="0" anchor="ctr"/>
              <a:lstStyle/>
              <a:p>
                <a:endParaRPr lang="en-GB"/>
              </a:p>
            </p:txBody>
          </p:sp>
          <p:sp>
            <p:nvSpPr>
              <p:cNvPr id="3622" name="Vrije vorm: vorm 3621">
                <a:extLst>
                  <a:ext uri="{FF2B5EF4-FFF2-40B4-BE49-F238E27FC236}">
                    <a16:creationId xmlns:a16="http://schemas.microsoft.com/office/drawing/2014/main" id="{6489C2B3-F6BC-44CA-90CA-2A0EF2E32DBF}"/>
                  </a:ext>
                </a:extLst>
              </p:cNvPr>
              <p:cNvSpPr/>
              <p:nvPr/>
            </p:nvSpPr>
            <p:spPr>
              <a:xfrm>
                <a:off x="5820812" y="1558971"/>
                <a:ext cx="18371" cy="18429"/>
              </a:xfrm>
              <a:custGeom>
                <a:avLst/>
                <a:gdLst>
                  <a:gd name="connsiteX0" fmla="*/ 65 w 18371"/>
                  <a:gd name="connsiteY0" fmla="*/ 10291 h 18429"/>
                  <a:gd name="connsiteX1" fmla="*/ 10292 w 18371"/>
                  <a:gd name="connsiteY1" fmla="*/ 18365 h 18429"/>
                  <a:gd name="connsiteX2" fmla="*/ 18306 w 18371"/>
                  <a:gd name="connsiteY2" fmla="*/ 8138 h 18429"/>
                  <a:gd name="connsiteX3" fmla="*/ 8079 w 18371"/>
                  <a:gd name="connsiteY3" fmla="*/ 64 h 18429"/>
                  <a:gd name="connsiteX4" fmla="*/ 65 w 18371"/>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29">
                    <a:moveTo>
                      <a:pt x="65" y="10291"/>
                    </a:moveTo>
                    <a:cubicBezTo>
                      <a:pt x="663" y="15315"/>
                      <a:pt x="5268" y="18963"/>
                      <a:pt x="10292" y="18365"/>
                    </a:cubicBezTo>
                    <a:cubicBezTo>
                      <a:pt x="15316" y="17767"/>
                      <a:pt x="18904" y="13162"/>
                      <a:pt x="18306" y="8138"/>
                    </a:cubicBezTo>
                    <a:cubicBezTo>
                      <a:pt x="17708" y="3114"/>
                      <a:pt x="13103" y="-534"/>
                      <a:pt x="8079" y="64"/>
                    </a:cubicBezTo>
                    <a:cubicBezTo>
                      <a:pt x="3056" y="662"/>
                      <a:pt x="-533" y="5267"/>
                      <a:pt x="65" y="10291"/>
                    </a:cubicBezTo>
                    <a:close/>
                  </a:path>
                </a:pathLst>
              </a:custGeom>
              <a:grpFill/>
              <a:ln w="5978" cap="flat">
                <a:noFill/>
                <a:prstDash val="solid"/>
                <a:miter/>
              </a:ln>
            </p:spPr>
            <p:txBody>
              <a:bodyPr rtlCol="0" anchor="ctr"/>
              <a:lstStyle/>
              <a:p>
                <a:endParaRPr lang="en-GB"/>
              </a:p>
            </p:txBody>
          </p:sp>
        </p:grpSp>
        <p:grpSp>
          <p:nvGrpSpPr>
            <p:cNvPr id="590" name="Graphic 3">
              <a:extLst>
                <a:ext uri="{FF2B5EF4-FFF2-40B4-BE49-F238E27FC236}">
                  <a16:creationId xmlns:a16="http://schemas.microsoft.com/office/drawing/2014/main" id="{0CBA5E59-B1CF-4181-8AFF-FF8FD4874603}"/>
                </a:ext>
              </a:extLst>
            </p:cNvPr>
            <p:cNvGrpSpPr/>
            <p:nvPr/>
          </p:nvGrpSpPr>
          <p:grpSpPr>
            <a:xfrm>
              <a:off x="5758597" y="1364151"/>
              <a:ext cx="20567" cy="34990"/>
              <a:chOff x="5758597" y="1364151"/>
              <a:chExt cx="20567" cy="34990"/>
            </a:xfrm>
            <a:grpFill/>
          </p:grpSpPr>
          <p:sp>
            <p:nvSpPr>
              <p:cNvPr id="3618" name="Vrije vorm: vorm 3617">
                <a:extLst>
                  <a:ext uri="{FF2B5EF4-FFF2-40B4-BE49-F238E27FC236}">
                    <a16:creationId xmlns:a16="http://schemas.microsoft.com/office/drawing/2014/main" id="{71298661-A510-4A25-A643-5EC18EBF9344}"/>
                  </a:ext>
                </a:extLst>
              </p:cNvPr>
              <p:cNvSpPr/>
              <p:nvPr/>
            </p:nvSpPr>
            <p:spPr>
              <a:xfrm>
                <a:off x="5758597" y="1364151"/>
                <a:ext cx="18341" cy="18411"/>
              </a:xfrm>
              <a:custGeom>
                <a:avLst/>
                <a:gdLst>
                  <a:gd name="connsiteX0" fmla="*/ 18262 w 18341"/>
                  <a:gd name="connsiteY0" fmla="*/ 7986 h 18411"/>
                  <a:gd name="connsiteX1" fmla="*/ 10427 w 18341"/>
                  <a:gd name="connsiteY1" fmla="*/ 18333 h 18411"/>
                  <a:gd name="connsiteX2" fmla="*/ 80 w 18341"/>
                  <a:gd name="connsiteY2" fmla="*/ 10438 h 18411"/>
                  <a:gd name="connsiteX3" fmla="*/ 7915 w 18341"/>
                  <a:gd name="connsiteY3" fmla="*/ 91 h 18411"/>
                  <a:gd name="connsiteX4" fmla="*/ 18262 w 18341"/>
                  <a:gd name="connsiteY4" fmla="*/ 7986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11">
                    <a:moveTo>
                      <a:pt x="18262" y="7986"/>
                    </a:moveTo>
                    <a:cubicBezTo>
                      <a:pt x="18919" y="13010"/>
                      <a:pt x="15450" y="17675"/>
                      <a:pt x="10427" y="18333"/>
                    </a:cubicBezTo>
                    <a:cubicBezTo>
                      <a:pt x="5403" y="18991"/>
                      <a:pt x="798" y="15462"/>
                      <a:pt x="80" y="10438"/>
                    </a:cubicBezTo>
                    <a:cubicBezTo>
                      <a:pt x="-578" y="5414"/>
                      <a:pt x="2891" y="749"/>
                      <a:pt x="7915" y="91"/>
                    </a:cubicBezTo>
                    <a:cubicBezTo>
                      <a:pt x="12939" y="-626"/>
                      <a:pt x="17544" y="2962"/>
                      <a:pt x="18262" y="7986"/>
                    </a:cubicBezTo>
                    <a:close/>
                  </a:path>
                </a:pathLst>
              </a:custGeom>
              <a:grpFill/>
              <a:ln w="5978" cap="flat">
                <a:noFill/>
                <a:prstDash val="solid"/>
                <a:miter/>
              </a:ln>
            </p:spPr>
            <p:txBody>
              <a:bodyPr rtlCol="0" anchor="ctr"/>
              <a:lstStyle/>
              <a:p>
                <a:endParaRPr lang="en-GB"/>
              </a:p>
            </p:txBody>
          </p:sp>
          <p:sp>
            <p:nvSpPr>
              <p:cNvPr id="3619" name="Vrije vorm: vorm 3618">
                <a:extLst>
                  <a:ext uri="{FF2B5EF4-FFF2-40B4-BE49-F238E27FC236}">
                    <a16:creationId xmlns:a16="http://schemas.microsoft.com/office/drawing/2014/main" id="{EBDB3FCF-AD1B-4E44-B850-19516347CC2B}"/>
                  </a:ext>
                </a:extLst>
              </p:cNvPr>
              <p:cNvSpPr/>
              <p:nvPr/>
            </p:nvSpPr>
            <p:spPr>
              <a:xfrm>
                <a:off x="5760797" y="1380718"/>
                <a:ext cx="18367" cy="18424"/>
              </a:xfrm>
              <a:custGeom>
                <a:avLst/>
                <a:gdLst>
                  <a:gd name="connsiteX0" fmla="*/ 18274 w 18367"/>
                  <a:gd name="connsiteY0" fmla="*/ 7986 h 18424"/>
                  <a:gd name="connsiteX1" fmla="*/ 7927 w 18367"/>
                  <a:gd name="connsiteY1" fmla="*/ 91 h 18424"/>
                  <a:gd name="connsiteX2" fmla="*/ 93 w 18367"/>
                  <a:gd name="connsiteY2" fmla="*/ 10438 h 18424"/>
                  <a:gd name="connsiteX3" fmla="*/ 10440 w 18367"/>
                  <a:gd name="connsiteY3" fmla="*/ 18333 h 18424"/>
                  <a:gd name="connsiteX4" fmla="*/ 18274 w 18367"/>
                  <a:gd name="connsiteY4" fmla="*/ 7986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24">
                    <a:moveTo>
                      <a:pt x="18274" y="7986"/>
                    </a:moveTo>
                    <a:cubicBezTo>
                      <a:pt x="17616" y="2962"/>
                      <a:pt x="12951" y="-626"/>
                      <a:pt x="7927" y="91"/>
                    </a:cubicBezTo>
                    <a:cubicBezTo>
                      <a:pt x="2904" y="749"/>
                      <a:pt x="-625" y="5414"/>
                      <a:pt x="93" y="10438"/>
                    </a:cubicBezTo>
                    <a:cubicBezTo>
                      <a:pt x="751" y="15462"/>
                      <a:pt x="5416" y="19050"/>
                      <a:pt x="10440" y="18333"/>
                    </a:cubicBezTo>
                    <a:cubicBezTo>
                      <a:pt x="15463" y="17675"/>
                      <a:pt x="18992" y="13070"/>
                      <a:pt x="18274" y="7986"/>
                    </a:cubicBezTo>
                    <a:close/>
                  </a:path>
                </a:pathLst>
              </a:custGeom>
              <a:grpFill/>
              <a:ln w="5978" cap="flat">
                <a:noFill/>
                <a:prstDash val="solid"/>
                <a:miter/>
              </a:ln>
            </p:spPr>
            <p:txBody>
              <a:bodyPr rtlCol="0" anchor="ctr"/>
              <a:lstStyle/>
              <a:p>
                <a:endParaRPr lang="en-GB"/>
              </a:p>
            </p:txBody>
          </p:sp>
        </p:grpSp>
        <p:grpSp>
          <p:nvGrpSpPr>
            <p:cNvPr id="591" name="Graphic 3">
              <a:extLst>
                <a:ext uri="{FF2B5EF4-FFF2-40B4-BE49-F238E27FC236}">
                  <a16:creationId xmlns:a16="http://schemas.microsoft.com/office/drawing/2014/main" id="{9D05DA87-913C-422D-92DF-2C80BC7A3B24}"/>
                </a:ext>
              </a:extLst>
            </p:cNvPr>
            <p:cNvGrpSpPr/>
            <p:nvPr/>
          </p:nvGrpSpPr>
          <p:grpSpPr>
            <a:xfrm>
              <a:off x="5858503" y="1588119"/>
              <a:ext cx="32450" cy="155523"/>
              <a:chOff x="5858503" y="1588119"/>
              <a:chExt cx="32450" cy="155523"/>
            </a:xfrm>
            <a:grpFill/>
          </p:grpSpPr>
          <p:sp>
            <p:nvSpPr>
              <p:cNvPr id="3615" name="Vrije vorm: vorm 3614">
                <a:extLst>
                  <a:ext uri="{FF2B5EF4-FFF2-40B4-BE49-F238E27FC236}">
                    <a16:creationId xmlns:a16="http://schemas.microsoft.com/office/drawing/2014/main" id="{EC30255E-A22F-42D6-81FC-5C4233E4ACF7}"/>
                  </a:ext>
                </a:extLst>
              </p:cNvPr>
              <p:cNvSpPr/>
              <p:nvPr/>
            </p:nvSpPr>
            <p:spPr>
              <a:xfrm>
                <a:off x="5866091" y="1596713"/>
                <a:ext cx="17284" cy="138334"/>
              </a:xfrm>
              <a:custGeom>
                <a:avLst/>
                <a:gdLst>
                  <a:gd name="connsiteX0" fmla="*/ 3050 w 17284"/>
                  <a:gd name="connsiteY0" fmla="*/ 0 h 138334"/>
                  <a:gd name="connsiteX1" fmla="*/ 17284 w 17284"/>
                  <a:gd name="connsiteY1" fmla="*/ 138035 h 138334"/>
                  <a:gd name="connsiteX2" fmla="*/ 14234 w 17284"/>
                  <a:gd name="connsiteY2" fmla="*/ 138334 h 138334"/>
                  <a:gd name="connsiteX3" fmla="*/ 0 w 17284"/>
                  <a:gd name="connsiteY3" fmla="*/ 299 h 138334"/>
                </a:gdLst>
                <a:ahLst/>
                <a:cxnLst>
                  <a:cxn ang="0">
                    <a:pos x="connsiteX0" y="connsiteY0"/>
                  </a:cxn>
                  <a:cxn ang="0">
                    <a:pos x="connsiteX1" y="connsiteY1"/>
                  </a:cxn>
                  <a:cxn ang="0">
                    <a:pos x="connsiteX2" y="connsiteY2"/>
                  </a:cxn>
                  <a:cxn ang="0">
                    <a:pos x="connsiteX3" y="connsiteY3"/>
                  </a:cxn>
                </a:cxnLst>
                <a:rect l="l" t="t" r="r" b="b"/>
                <a:pathLst>
                  <a:path w="17284" h="138334">
                    <a:moveTo>
                      <a:pt x="3050" y="0"/>
                    </a:moveTo>
                    <a:lnTo>
                      <a:pt x="17284" y="138035"/>
                    </a:lnTo>
                    <a:lnTo>
                      <a:pt x="14234" y="138334"/>
                    </a:lnTo>
                    <a:lnTo>
                      <a:pt x="0" y="299"/>
                    </a:lnTo>
                    <a:close/>
                  </a:path>
                </a:pathLst>
              </a:custGeom>
              <a:grpFill/>
              <a:ln w="5978" cap="flat">
                <a:noFill/>
                <a:prstDash val="solid"/>
                <a:miter/>
              </a:ln>
            </p:spPr>
            <p:txBody>
              <a:bodyPr rtlCol="0" anchor="ctr"/>
              <a:lstStyle/>
              <a:p>
                <a:endParaRPr lang="en-GB"/>
              </a:p>
            </p:txBody>
          </p:sp>
          <p:sp>
            <p:nvSpPr>
              <p:cNvPr id="3616" name="Vrije vorm: vorm 3615">
                <a:extLst>
                  <a:ext uri="{FF2B5EF4-FFF2-40B4-BE49-F238E27FC236}">
                    <a16:creationId xmlns:a16="http://schemas.microsoft.com/office/drawing/2014/main" id="{15B39CC9-9C3F-4EBE-AF56-D12880ACBACA}"/>
                  </a:ext>
                </a:extLst>
              </p:cNvPr>
              <p:cNvSpPr/>
              <p:nvPr/>
            </p:nvSpPr>
            <p:spPr>
              <a:xfrm>
                <a:off x="5858503" y="1588119"/>
                <a:ext cx="18346" cy="18444"/>
              </a:xfrm>
              <a:custGeom>
                <a:avLst/>
                <a:gdLst>
                  <a:gd name="connsiteX0" fmla="*/ 53 w 18346"/>
                  <a:gd name="connsiteY0" fmla="*/ 10150 h 18444"/>
                  <a:gd name="connsiteX1" fmla="*/ 8246 w 18346"/>
                  <a:gd name="connsiteY1" fmla="*/ 42 h 18444"/>
                  <a:gd name="connsiteX2" fmla="*/ 18294 w 18346"/>
                  <a:gd name="connsiteY2" fmla="*/ 8296 h 18444"/>
                  <a:gd name="connsiteX3" fmla="*/ 10100 w 18346"/>
                  <a:gd name="connsiteY3" fmla="*/ 18403 h 18444"/>
                  <a:gd name="connsiteX4" fmla="*/ 53 w 18346"/>
                  <a:gd name="connsiteY4" fmla="*/ 1015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53" y="10150"/>
                    </a:moveTo>
                    <a:cubicBezTo>
                      <a:pt x="-485" y="5066"/>
                      <a:pt x="3163" y="580"/>
                      <a:pt x="8246" y="42"/>
                    </a:cubicBezTo>
                    <a:cubicBezTo>
                      <a:pt x="13270" y="-436"/>
                      <a:pt x="17756" y="3212"/>
                      <a:pt x="18294" y="8296"/>
                    </a:cubicBezTo>
                    <a:cubicBezTo>
                      <a:pt x="18832" y="13379"/>
                      <a:pt x="15184" y="17865"/>
                      <a:pt x="10100" y="18403"/>
                    </a:cubicBezTo>
                    <a:cubicBezTo>
                      <a:pt x="5077" y="18881"/>
                      <a:pt x="591" y="15173"/>
                      <a:pt x="53" y="10150"/>
                    </a:cubicBezTo>
                    <a:close/>
                  </a:path>
                </a:pathLst>
              </a:custGeom>
              <a:grpFill/>
              <a:ln w="5978" cap="flat">
                <a:noFill/>
                <a:prstDash val="solid"/>
                <a:miter/>
              </a:ln>
            </p:spPr>
            <p:txBody>
              <a:bodyPr rtlCol="0" anchor="ctr"/>
              <a:lstStyle/>
              <a:p>
                <a:endParaRPr lang="en-GB"/>
              </a:p>
            </p:txBody>
          </p:sp>
          <p:sp>
            <p:nvSpPr>
              <p:cNvPr id="3617" name="Vrije vorm: vorm 3616">
                <a:extLst>
                  <a:ext uri="{FF2B5EF4-FFF2-40B4-BE49-F238E27FC236}">
                    <a16:creationId xmlns:a16="http://schemas.microsoft.com/office/drawing/2014/main" id="{65BDB5CD-9F65-49D3-A5D8-01B0409306D4}"/>
                  </a:ext>
                </a:extLst>
              </p:cNvPr>
              <p:cNvSpPr/>
              <p:nvPr/>
            </p:nvSpPr>
            <p:spPr>
              <a:xfrm>
                <a:off x="5872628" y="1725197"/>
                <a:ext cx="18325" cy="18445"/>
              </a:xfrm>
              <a:custGeom>
                <a:avLst/>
                <a:gdLst>
                  <a:gd name="connsiteX0" fmla="*/ 42 w 18325"/>
                  <a:gd name="connsiteY0" fmla="*/ 10149 h 18445"/>
                  <a:gd name="connsiteX1" fmla="*/ 10090 w 18325"/>
                  <a:gd name="connsiteY1" fmla="*/ 18403 h 18445"/>
                  <a:gd name="connsiteX2" fmla="*/ 18284 w 18325"/>
                  <a:gd name="connsiteY2" fmla="*/ 8295 h 18445"/>
                  <a:gd name="connsiteX3" fmla="*/ 8236 w 18325"/>
                  <a:gd name="connsiteY3" fmla="*/ 42 h 18445"/>
                  <a:gd name="connsiteX4" fmla="*/ 42 w 18325"/>
                  <a:gd name="connsiteY4" fmla="*/ 10149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45">
                    <a:moveTo>
                      <a:pt x="42" y="10149"/>
                    </a:moveTo>
                    <a:cubicBezTo>
                      <a:pt x="581" y="15233"/>
                      <a:pt x="5066" y="18881"/>
                      <a:pt x="10090" y="18403"/>
                    </a:cubicBezTo>
                    <a:cubicBezTo>
                      <a:pt x="15114" y="17924"/>
                      <a:pt x="18762" y="13379"/>
                      <a:pt x="18284" y="8295"/>
                    </a:cubicBezTo>
                    <a:cubicBezTo>
                      <a:pt x="17745" y="3212"/>
                      <a:pt x="13260" y="-436"/>
                      <a:pt x="8236" y="42"/>
                    </a:cubicBezTo>
                    <a:cubicBezTo>
                      <a:pt x="3212" y="580"/>
                      <a:pt x="-436" y="5126"/>
                      <a:pt x="42" y="10149"/>
                    </a:cubicBezTo>
                    <a:close/>
                  </a:path>
                </a:pathLst>
              </a:custGeom>
              <a:grpFill/>
              <a:ln w="5978" cap="flat">
                <a:noFill/>
                <a:prstDash val="solid"/>
                <a:miter/>
              </a:ln>
            </p:spPr>
            <p:txBody>
              <a:bodyPr rtlCol="0" anchor="ctr"/>
              <a:lstStyle/>
              <a:p>
                <a:endParaRPr lang="en-GB"/>
              </a:p>
            </p:txBody>
          </p:sp>
        </p:grpSp>
        <p:grpSp>
          <p:nvGrpSpPr>
            <p:cNvPr id="592" name="Graphic 3">
              <a:extLst>
                <a:ext uri="{FF2B5EF4-FFF2-40B4-BE49-F238E27FC236}">
                  <a16:creationId xmlns:a16="http://schemas.microsoft.com/office/drawing/2014/main" id="{C47319F5-F712-4915-AE10-E0ECD84ED257}"/>
                </a:ext>
              </a:extLst>
            </p:cNvPr>
            <p:cNvGrpSpPr/>
            <p:nvPr/>
          </p:nvGrpSpPr>
          <p:grpSpPr>
            <a:xfrm>
              <a:off x="6913476" y="4861646"/>
              <a:ext cx="72151" cy="108615"/>
              <a:chOff x="6913476" y="4861646"/>
              <a:chExt cx="72151" cy="108615"/>
            </a:xfrm>
            <a:grpFill/>
          </p:grpSpPr>
          <p:sp>
            <p:nvSpPr>
              <p:cNvPr id="3612" name="Vrije vorm: vorm 3611">
                <a:extLst>
                  <a:ext uri="{FF2B5EF4-FFF2-40B4-BE49-F238E27FC236}">
                    <a16:creationId xmlns:a16="http://schemas.microsoft.com/office/drawing/2014/main" id="{73446041-323D-49A5-9DAA-EFF1A0CE7B1A}"/>
                  </a:ext>
                </a:extLst>
              </p:cNvPr>
              <p:cNvSpPr/>
              <p:nvPr/>
            </p:nvSpPr>
            <p:spPr>
              <a:xfrm>
                <a:off x="6921091" y="4869663"/>
                <a:ext cx="56936" cy="92581"/>
              </a:xfrm>
              <a:custGeom>
                <a:avLst/>
                <a:gdLst>
                  <a:gd name="connsiteX0" fmla="*/ 56937 w 56936"/>
                  <a:gd name="connsiteY0" fmla="*/ 91026 h 92581"/>
                  <a:gd name="connsiteX1" fmla="*/ 54305 w 56936"/>
                  <a:gd name="connsiteY1" fmla="*/ 92581 h 92581"/>
                  <a:gd name="connsiteX2" fmla="*/ 0 w 56936"/>
                  <a:gd name="connsiteY2" fmla="*/ 1555 h 92581"/>
                  <a:gd name="connsiteX3" fmla="*/ 2631 w 56936"/>
                  <a:gd name="connsiteY3" fmla="*/ 0 h 92581"/>
                </a:gdLst>
                <a:ahLst/>
                <a:cxnLst>
                  <a:cxn ang="0">
                    <a:pos x="connsiteX0" y="connsiteY0"/>
                  </a:cxn>
                  <a:cxn ang="0">
                    <a:pos x="connsiteX1" y="connsiteY1"/>
                  </a:cxn>
                  <a:cxn ang="0">
                    <a:pos x="connsiteX2" y="connsiteY2"/>
                  </a:cxn>
                  <a:cxn ang="0">
                    <a:pos x="connsiteX3" y="connsiteY3"/>
                  </a:cxn>
                </a:cxnLst>
                <a:rect l="l" t="t" r="r" b="b"/>
                <a:pathLst>
                  <a:path w="56936" h="92581">
                    <a:moveTo>
                      <a:pt x="56937" y="91026"/>
                    </a:moveTo>
                    <a:lnTo>
                      <a:pt x="54305" y="92581"/>
                    </a:lnTo>
                    <a:lnTo>
                      <a:pt x="0" y="1555"/>
                    </a:lnTo>
                    <a:lnTo>
                      <a:pt x="2631" y="0"/>
                    </a:lnTo>
                    <a:close/>
                  </a:path>
                </a:pathLst>
              </a:custGeom>
              <a:grpFill/>
              <a:ln w="5978" cap="flat">
                <a:noFill/>
                <a:prstDash val="solid"/>
                <a:miter/>
              </a:ln>
            </p:spPr>
            <p:txBody>
              <a:bodyPr rtlCol="0" anchor="ctr"/>
              <a:lstStyle/>
              <a:p>
                <a:endParaRPr lang="en-GB"/>
              </a:p>
            </p:txBody>
          </p:sp>
          <p:sp>
            <p:nvSpPr>
              <p:cNvPr id="3613" name="Vrije vorm: vorm 3612">
                <a:extLst>
                  <a:ext uri="{FF2B5EF4-FFF2-40B4-BE49-F238E27FC236}">
                    <a16:creationId xmlns:a16="http://schemas.microsoft.com/office/drawing/2014/main" id="{6F137229-C0EF-4504-AA52-FD10BCFE7E04}"/>
                  </a:ext>
                </a:extLst>
              </p:cNvPr>
              <p:cNvSpPr/>
              <p:nvPr/>
            </p:nvSpPr>
            <p:spPr>
              <a:xfrm>
                <a:off x="6967316" y="4951835"/>
                <a:ext cx="18311" cy="18425"/>
              </a:xfrm>
              <a:custGeom>
                <a:avLst/>
                <a:gdLst>
                  <a:gd name="connsiteX0" fmla="*/ 16990 w 18311"/>
                  <a:gd name="connsiteY0" fmla="*/ 4488 h 18425"/>
                  <a:gd name="connsiteX1" fmla="*/ 13880 w 18311"/>
                  <a:gd name="connsiteY1" fmla="*/ 17108 h 18425"/>
                  <a:gd name="connsiteX2" fmla="*/ 1321 w 18311"/>
                  <a:gd name="connsiteY2" fmla="*/ 13938 h 18425"/>
                  <a:gd name="connsiteX3" fmla="*/ 4431 w 18311"/>
                  <a:gd name="connsiteY3" fmla="*/ 1318 h 18425"/>
                  <a:gd name="connsiteX4" fmla="*/ 16990 w 18311"/>
                  <a:gd name="connsiteY4" fmla="*/ 448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5">
                    <a:moveTo>
                      <a:pt x="16990" y="4488"/>
                    </a:moveTo>
                    <a:cubicBezTo>
                      <a:pt x="19622" y="8854"/>
                      <a:pt x="18187" y="14536"/>
                      <a:pt x="13880" y="17108"/>
                    </a:cubicBezTo>
                    <a:cubicBezTo>
                      <a:pt x="9514" y="19739"/>
                      <a:pt x="3893" y="18304"/>
                      <a:pt x="1321" y="13938"/>
                    </a:cubicBezTo>
                    <a:cubicBezTo>
                      <a:pt x="-1311" y="9572"/>
                      <a:pt x="125" y="3890"/>
                      <a:pt x="4431" y="1318"/>
                    </a:cubicBezTo>
                    <a:cubicBezTo>
                      <a:pt x="8796" y="-1313"/>
                      <a:pt x="14419" y="122"/>
                      <a:pt x="16990" y="4488"/>
                    </a:cubicBezTo>
                    <a:close/>
                  </a:path>
                </a:pathLst>
              </a:custGeom>
              <a:grpFill/>
              <a:ln w="5978" cap="flat">
                <a:noFill/>
                <a:prstDash val="solid"/>
                <a:miter/>
              </a:ln>
            </p:spPr>
            <p:txBody>
              <a:bodyPr rtlCol="0" anchor="ctr"/>
              <a:lstStyle/>
              <a:p>
                <a:endParaRPr lang="en-GB"/>
              </a:p>
            </p:txBody>
          </p:sp>
          <p:sp>
            <p:nvSpPr>
              <p:cNvPr id="3614" name="Vrije vorm: vorm 3613">
                <a:extLst>
                  <a:ext uri="{FF2B5EF4-FFF2-40B4-BE49-F238E27FC236}">
                    <a16:creationId xmlns:a16="http://schemas.microsoft.com/office/drawing/2014/main" id="{89791272-7D59-4942-889D-C93F66B3864E}"/>
                  </a:ext>
                </a:extLst>
              </p:cNvPr>
              <p:cNvSpPr/>
              <p:nvPr/>
            </p:nvSpPr>
            <p:spPr>
              <a:xfrm>
                <a:off x="6913476" y="4861646"/>
                <a:ext cx="18324" cy="18425"/>
              </a:xfrm>
              <a:custGeom>
                <a:avLst/>
                <a:gdLst>
                  <a:gd name="connsiteX0" fmla="*/ 17004 w 18324"/>
                  <a:gd name="connsiteY0" fmla="*/ 4488 h 18425"/>
                  <a:gd name="connsiteX1" fmla="*/ 4444 w 18324"/>
                  <a:gd name="connsiteY1" fmla="*/ 1318 h 18425"/>
                  <a:gd name="connsiteX2" fmla="*/ 1334 w 18324"/>
                  <a:gd name="connsiteY2" fmla="*/ 13938 h 18425"/>
                  <a:gd name="connsiteX3" fmla="*/ 13894 w 18324"/>
                  <a:gd name="connsiteY3" fmla="*/ 17107 h 18425"/>
                  <a:gd name="connsiteX4" fmla="*/ 17004 w 18324"/>
                  <a:gd name="connsiteY4" fmla="*/ 448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7004" y="4488"/>
                    </a:moveTo>
                    <a:cubicBezTo>
                      <a:pt x="14373" y="122"/>
                      <a:pt x="8750" y="-1313"/>
                      <a:pt x="4444" y="1318"/>
                    </a:cubicBezTo>
                    <a:cubicBezTo>
                      <a:pt x="79" y="3950"/>
                      <a:pt x="-1297" y="9572"/>
                      <a:pt x="1334" y="13938"/>
                    </a:cubicBezTo>
                    <a:cubicBezTo>
                      <a:pt x="3966" y="18303"/>
                      <a:pt x="9588" y="19739"/>
                      <a:pt x="13894" y="17107"/>
                    </a:cubicBezTo>
                    <a:cubicBezTo>
                      <a:pt x="18200" y="14476"/>
                      <a:pt x="19636" y="8854"/>
                      <a:pt x="17004" y="4488"/>
                    </a:cubicBezTo>
                    <a:close/>
                  </a:path>
                </a:pathLst>
              </a:custGeom>
              <a:grpFill/>
              <a:ln w="5978" cap="flat">
                <a:noFill/>
                <a:prstDash val="solid"/>
                <a:miter/>
              </a:ln>
            </p:spPr>
            <p:txBody>
              <a:bodyPr rtlCol="0" anchor="ctr"/>
              <a:lstStyle/>
              <a:p>
                <a:endParaRPr lang="en-GB"/>
              </a:p>
            </p:txBody>
          </p:sp>
        </p:grpSp>
        <p:grpSp>
          <p:nvGrpSpPr>
            <p:cNvPr id="593" name="Graphic 3">
              <a:extLst>
                <a:ext uri="{FF2B5EF4-FFF2-40B4-BE49-F238E27FC236}">
                  <a16:creationId xmlns:a16="http://schemas.microsoft.com/office/drawing/2014/main" id="{70D96C41-16F1-4735-B544-81623C2959E9}"/>
                </a:ext>
              </a:extLst>
            </p:cNvPr>
            <p:cNvGrpSpPr/>
            <p:nvPr/>
          </p:nvGrpSpPr>
          <p:grpSpPr>
            <a:xfrm>
              <a:off x="5775646" y="1192460"/>
              <a:ext cx="55062" cy="567782"/>
              <a:chOff x="5775646" y="1192460"/>
              <a:chExt cx="55062" cy="567782"/>
            </a:xfrm>
            <a:grpFill/>
          </p:grpSpPr>
          <p:sp>
            <p:nvSpPr>
              <p:cNvPr id="3609" name="Vrije vorm: vorm 3608">
                <a:extLst>
                  <a:ext uri="{FF2B5EF4-FFF2-40B4-BE49-F238E27FC236}">
                    <a16:creationId xmlns:a16="http://schemas.microsoft.com/office/drawing/2014/main" id="{F7C64A2F-4A79-4F8B-BA91-A2FD7A9A1353}"/>
                  </a:ext>
                </a:extLst>
              </p:cNvPr>
              <p:cNvSpPr/>
              <p:nvPr/>
            </p:nvSpPr>
            <p:spPr>
              <a:xfrm>
                <a:off x="5783258" y="1201148"/>
                <a:ext cx="39831" cy="550465"/>
              </a:xfrm>
              <a:custGeom>
                <a:avLst/>
                <a:gdLst>
                  <a:gd name="connsiteX0" fmla="*/ 3050 w 39831"/>
                  <a:gd name="connsiteY0" fmla="*/ 0 h 550465"/>
                  <a:gd name="connsiteX1" fmla="*/ 39831 w 39831"/>
                  <a:gd name="connsiteY1" fmla="*/ 550286 h 550465"/>
                  <a:gd name="connsiteX2" fmla="*/ 36781 w 39831"/>
                  <a:gd name="connsiteY2" fmla="*/ 550466 h 550465"/>
                  <a:gd name="connsiteX3" fmla="*/ 0 w 39831"/>
                  <a:gd name="connsiteY3" fmla="*/ 179 h 550465"/>
                </a:gdLst>
                <a:ahLst/>
                <a:cxnLst>
                  <a:cxn ang="0">
                    <a:pos x="connsiteX0" y="connsiteY0"/>
                  </a:cxn>
                  <a:cxn ang="0">
                    <a:pos x="connsiteX1" y="connsiteY1"/>
                  </a:cxn>
                  <a:cxn ang="0">
                    <a:pos x="connsiteX2" y="connsiteY2"/>
                  </a:cxn>
                  <a:cxn ang="0">
                    <a:pos x="connsiteX3" y="connsiteY3"/>
                  </a:cxn>
                </a:cxnLst>
                <a:rect l="l" t="t" r="r" b="b"/>
                <a:pathLst>
                  <a:path w="39831" h="550465">
                    <a:moveTo>
                      <a:pt x="3050" y="0"/>
                    </a:moveTo>
                    <a:lnTo>
                      <a:pt x="39831" y="550286"/>
                    </a:lnTo>
                    <a:lnTo>
                      <a:pt x="36781" y="550466"/>
                    </a:lnTo>
                    <a:lnTo>
                      <a:pt x="0" y="179"/>
                    </a:lnTo>
                    <a:close/>
                  </a:path>
                </a:pathLst>
              </a:custGeom>
              <a:grpFill/>
              <a:ln w="5978" cap="flat">
                <a:noFill/>
                <a:prstDash val="solid"/>
                <a:miter/>
              </a:ln>
            </p:spPr>
            <p:txBody>
              <a:bodyPr rtlCol="0" anchor="ctr"/>
              <a:lstStyle/>
              <a:p>
                <a:endParaRPr lang="en-GB"/>
              </a:p>
            </p:txBody>
          </p:sp>
          <p:sp>
            <p:nvSpPr>
              <p:cNvPr id="3610" name="Vrije vorm: vorm 3609">
                <a:extLst>
                  <a:ext uri="{FF2B5EF4-FFF2-40B4-BE49-F238E27FC236}">
                    <a16:creationId xmlns:a16="http://schemas.microsoft.com/office/drawing/2014/main" id="{2BC7C9EA-1A00-4A63-BE48-28F8296AA001}"/>
                  </a:ext>
                </a:extLst>
              </p:cNvPr>
              <p:cNvSpPr/>
              <p:nvPr/>
            </p:nvSpPr>
            <p:spPr>
              <a:xfrm>
                <a:off x="5812361" y="1741843"/>
                <a:ext cx="18347" cy="18400"/>
              </a:xfrm>
              <a:custGeom>
                <a:avLst/>
                <a:gdLst>
                  <a:gd name="connsiteX0" fmla="*/ 18324 w 18347"/>
                  <a:gd name="connsiteY0" fmla="*/ 8635 h 18400"/>
                  <a:gd name="connsiteX1" fmla="*/ 9772 w 18347"/>
                  <a:gd name="connsiteY1" fmla="*/ 18384 h 18400"/>
                  <a:gd name="connsiteX2" fmla="*/ 23 w 18347"/>
                  <a:gd name="connsiteY2" fmla="*/ 9772 h 18400"/>
                  <a:gd name="connsiteX3" fmla="*/ 8576 w 18347"/>
                  <a:gd name="connsiteY3" fmla="*/ 23 h 18400"/>
                  <a:gd name="connsiteX4" fmla="*/ 18324 w 18347"/>
                  <a:gd name="connsiteY4" fmla="*/ 863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18324" y="8635"/>
                    </a:moveTo>
                    <a:cubicBezTo>
                      <a:pt x="18683" y="13719"/>
                      <a:pt x="14855" y="18085"/>
                      <a:pt x="9772" y="18384"/>
                    </a:cubicBezTo>
                    <a:cubicBezTo>
                      <a:pt x="4748" y="18683"/>
                      <a:pt x="382" y="14855"/>
                      <a:pt x="23" y="9772"/>
                    </a:cubicBezTo>
                    <a:cubicBezTo>
                      <a:pt x="-336" y="4688"/>
                      <a:pt x="3492" y="322"/>
                      <a:pt x="8576" y="23"/>
                    </a:cubicBezTo>
                    <a:cubicBezTo>
                      <a:pt x="13599" y="-336"/>
                      <a:pt x="17965" y="3552"/>
                      <a:pt x="18324" y="8635"/>
                    </a:cubicBezTo>
                    <a:close/>
                  </a:path>
                </a:pathLst>
              </a:custGeom>
              <a:grpFill/>
              <a:ln w="5978" cap="flat">
                <a:noFill/>
                <a:prstDash val="solid"/>
                <a:miter/>
              </a:ln>
            </p:spPr>
            <p:txBody>
              <a:bodyPr rtlCol="0" anchor="ctr"/>
              <a:lstStyle/>
              <a:p>
                <a:endParaRPr lang="en-GB"/>
              </a:p>
            </p:txBody>
          </p:sp>
          <p:sp>
            <p:nvSpPr>
              <p:cNvPr id="3611" name="Vrije vorm: vorm 3610">
                <a:extLst>
                  <a:ext uri="{FF2B5EF4-FFF2-40B4-BE49-F238E27FC236}">
                    <a16:creationId xmlns:a16="http://schemas.microsoft.com/office/drawing/2014/main" id="{31204F70-B14E-4D3D-99AD-C0C8555A80DD}"/>
                  </a:ext>
                </a:extLst>
              </p:cNvPr>
              <p:cNvSpPr/>
              <p:nvPr/>
            </p:nvSpPr>
            <p:spPr>
              <a:xfrm>
                <a:off x="5775646" y="1192460"/>
                <a:ext cx="18340" cy="18393"/>
              </a:xfrm>
              <a:custGeom>
                <a:avLst/>
                <a:gdLst>
                  <a:gd name="connsiteX0" fmla="*/ 18317 w 18340"/>
                  <a:gd name="connsiteY0" fmla="*/ 8629 h 18393"/>
                  <a:gd name="connsiteX1" fmla="*/ 8569 w 18340"/>
                  <a:gd name="connsiteY1" fmla="*/ 16 h 18393"/>
                  <a:gd name="connsiteX2" fmla="*/ 16 w 18340"/>
                  <a:gd name="connsiteY2" fmla="*/ 9765 h 18393"/>
                  <a:gd name="connsiteX3" fmla="*/ 9765 w 18340"/>
                  <a:gd name="connsiteY3" fmla="*/ 18377 h 18393"/>
                  <a:gd name="connsiteX4" fmla="*/ 18317 w 18340"/>
                  <a:gd name="connsiteY4" fmla="*/ 8629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18317" y="8629"/>
                    </a:moveTo>
                    <a:cubicBezTo>
                      <a:pt x="17959" y="3545"/>
                      <a:pt x="13593" y="-283"/>
                      <a:pt x="8569" y="16"/>
                    </a:cubicBezTo>
                    <a:cubicBezTo>
                      <a:pt x="3545" y="315"/>
                      <a:pt x="-283" y="4741"/>
                      <a:pt x="16" y="9765"/>
                    </a:cubicBezTo>
                    <a:cubicBezTo>
                      <a:pt x="375" y="14849"/>
                      <a:pt x="4741" y="18676"/>
                      <a:pt x="9765" y="18377"/>
                    </a:cubicBezTo>
                    <a:cubicBezTo>
                      <a:pt x="14848" y="18078"/>
                      <a:pt x="18676" y="13712"/>
                      <a:pt x="18317" y="8629"/>
                    </a:cubicBezTo>
                    <a:close/>
                  </a:path>
                </a:pathLst>
              </a:custGeom>
              <a:grpFill/>
              <a:ln w="5978" cap="flat">
                <a:noFill/>
                <a:prstDash val="solid"/>
                <a:miter/>
              </a:ln>
            </p:spPr>
            <p:txBody>
              <a:bodyPr rtlCol="0" anchor="ctr"/>
              <a:lstStyle/>
              <a:p>
                <a:endParaRPr lang="en-GB"/>
              </a:p>
            </p:txBody>
          </p:sp>
        </p:grpSp>
        <p:grpSp>
          <p:nvGrpSpPr>
            <p:cNvPr id="594" name="Graphic 3">
              <a:extLst>
                <a:ext uri="{FF2B5EF4-FFF2-40B4-BE49-F238E27FC236}">
                  <a16:creationId xmlns:a16="http://schemas.microsoft.com/office/drawing/2014/main" id="{A9709FB4-2FA4-4447-8FEA-C6A9CD01D320}"/>
                </a:ext>
              </a:extLst>
            </p:cNvPr>
            <p:cNvGrpSpPr/>
            <p:nvPr/>
          </p:nvGrpSpPr>
          <p:grpSpPr>
            <a:xfrm>
              <a:off x="6976901" y="5035701"/>
              <a:ext cx="60895" cy="92934"/>
              <a:chOff x="6976901" y="5035701"/>
              <a:chExt cx="60895" cy="92934"/>
            </a:xfrm>
            <a:grpFill/>
          </p:grpSpPr>
          <p:sp>
            <p:nvSpPr>
              <p:cNvPr id="3606" name="Vrije vorm: vorm 3605">
                <a:extLst>
                  <a:ext uri="{FF2B5EF4-FFF2-40B4-BE49-F238E27FC236}">
                    <a16:creationId xmlns:a16="http://schemas.microsoft.com/office/drawing/2014/main" id="{E97D65BE-E103-47EC-826F-392A19A944AA}"/>
                  </a:ext>
                </a:extLst>
              </p:cNvPr>
              <p:cNvSpPr/>
              <p:nvPr/>
            </p:nvSpPr>
            <p:spPr>
              <a:xfrm>
                <a:off x="6984486" y="5043762"/>
                <a:ext cx="45692" cy="76792"/>
              </a:xfrm>
              <a:custGeom>
                <a:avLst/>
                <a:gdLst>
                  <a:gd name="connsiteX0" fmla="*/ 45693 w 45692"/>
                  <a:gd name="connsiteY0" fmla="*/ 75297 h 76792"/>
                  <a:gd name="connsiteX1" fmla="*/ 43061 w 45692"/>
                  <a:gd name="connsiteY1" fmla="*/ 76793 h 76792"/>
                  <a:gd name="connsiteX2" fmla="*/ 0 w 45692"/>
                  <a:gd name="connsiteY2" fmla="*/ 1495 h 76792"/>
                  <a:gd name="connsiteX3" fmla="*/ 2631 w 45692"/>
                  <a:gd name="connsiteY3" fmla="*/ 0 h 76792"/>
                </a:gdLst>
                <a:ahLst/>
                <a:cxnLst>
                  <a:cxn ang="0">
                    <a:pos x="connsiteX0" y="connsiteY0"/>
                  </a:cxn>
                  <a:cxn ang="0">
                    <a:pos x="connsiteX1" y="connsiteY1"/>
                  </a:cxn>
                  <a:cxn ang="0">
                    <a:pos x="connsiteX2" y="connsiteY2"/>
                  </a:cxn>
                  <a:cxn ang="0">
                    <a:pos x="connsiteX3" y="connsiteY3"/>
                  </a:cxn>
                </a:cxnLst>
                <a:rect l="l" t="t" r="r" b="b"/>
                <a:pathLst>
                  <a:path w="45692" h="76792">
                    <a:moveTo>
                      <a:pt x="45693" y="75297"/>
                    </a:moveTo>
                    <a:lnTo>
                      <a:pt x="43061" y="76793"/>
                    </a:lnTo>
                    <a:lnTo>
                      <a:pt x="0" y="1495"/>
                    </a:lnTo>
                    <a:lnTo>
                      <a:pt x="2631" y="0"/>
                    </a:lnTo>
                    <a:close/>
                  </a:path>
                </a:pathLst>
              </a:custGeom>
              <a:grpFill/>
              <a:ln w="5978" cap="flat">
                <a:noFill/>
                <a:prstDash val="solid"/>
                <a:miter/>
              </a:ln>
            </p:spPr>
            <p:txBody>
              <a:bodyPr rtlCol="0" anchor="ctr"/>
              <a:lstStyle/>
              <a:p>
                <a:endParaRPr lang="en-GB"/>
              </a:p>
            </p:txBody>
          </p:sp>
          <p:sp>
            <p:nvSpPr>
              <p:cNvPr id="3607" name="Vrije vorm: vorm 3606">
                <a:extLst>
                  <a:ext uri="{FF2B5EF4-FFF2-40B4-BE49-F238E27FC236}">
                    <a16:creationId xmlns:a16="http://schemas.microsoft.com/office/drawing/2014/main" id="{009AD185-F9F9-43B0-964E-E3CB9A4E71CE}"/>
                  </a:ext>
                </a:extLst>
              </p:cNvPr>
              <p:cNvSpPr/>
              <p:nvPr/>
            </p:nvSpPr>
            <p:spPr>
              <a:xfrm>
                <a:off x="7019511" y="5110221"/>
                <a:ext cx="18285" cy="18414"/>
              </a:xfrm>
              <a:custGeom>
                <a:avLst/>
                <a:gdLst>
                  <a:gd name="connsiteX0" fmla="*/ 17067 w 18285"/>
                  <a:gd name="connsiteY0" fmla="*/ 4652 h 18414"/>
                  <a:gd name="connsiteX1" fmla="*/ 13718 w 18285"/>
                  <a:gd name="connsiteY1" fmla="*/ 17211 h 18414"/>
                  <a:gd name="connsiteX2" fmla="*/ 1218 w 18285"/>
                  <a:gd name="connsiteY2" fmla="*/ 13802 h 18414"/>
                  <a:gd name="connsiteX3" fmla="*/ 4568 w 18285"/>
                  <a:gd name="connsiteY3" fmla="*/ 1243 h 18414"/>
                  <a:gd name="connsiteX4" fmla="*/ 17067 w 18285"/>
                  <a:gd name="connsiteY4" fmla="*/ 465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14">
                    <a:moveTo>
                      <a:pt x="17067" y="4652"/>
                    </a:moveTo>
                    <a:cubicBezTo>
                      <a:pt x="19579" y="9078"/>
                      <a:pt x="18084" y="14700"/>
                      <a:pt x="13718" y="17211"/>
                    </a:cubicBezTo>
                    <a:cubicBezTo>
                      <a:pt x="9353" y="19723"/>
                      <a:pt x="3730" y="18168"/>
                      <a:pt x="1218" y="13802"/>
                    </a:cubicBezTo>
                    <a:cubicBezTo>
                      <a:pt x="-1293" y="9377"/>
                      <a:pt x="202" y="3755"/>
                      <a:pt x="4568" y="1243"/>
                    </a:cubicBezTo>
                    <a:cubicBezTo>
                      <a:pt x="8934" y="-1329"/>
                      <a:pt x="14556" y="226"/>
                      <a:pt x="17067" y="4652"/>
                    </a:cubicBezTo>
                    <a:close/>
                  </a:path>
                </a:pathLst>
              </a:custGeom>
              <a:grpFill/>
              <a:ln w="5978" cap="flat">
                <a:noFill/>
                <a:prstDash val="solid"/>
                <a:miter/>
              </a:ln>
            </p:spPr>
            <p:txBody>
              <a:bodyPr rtlCol="0" anchor="ctr"/>
              <a:lstStyle/>
              <a:p>
                <a:endParaRPr lang="en-GB"/>
              </a:p>
            </p:txBody>
          </p:sp>
          <p:sp>
            <p:nvSpPr>
              <p:cNvPr id="3608" name="Vrije vorm: vorm 3607">
                <a:extLst>
                  <a:ext uri="{FF2B5EF4-FFF2-40B4-BE49-F238E27FC236}">
                    <a16:creationId xmlns:a16="http://schemas.microsoft.com/office/drawing/2014/main" id="{06116166-3FF4-4493-8819-101773F9304B}"/>
                  </a:ext>
                </a:extLst>
              </p:cNvPr>
              <p:cNvSpPr/>
              <p:nvPr/>
            </p:nvSpPr>
            <p:spPr>
              <a:xfrm>
                <a:off x="6976901" y="5035701"/>
                <a:ext cx="18312" cy="18454"/>
              </a:xfrm>
              <a:custGeom>
                <a:avLst/>
                <a:gdLst>
                  <a:gd name="connsiteX0" fmla="*/ 17094 w 18312"/>
                  <a:gd name="connsiteY0" fmla="*/ 4652 h 18454"/>
                  <a:gd name="connsiteX1" fmla="*/ 4594 w 18312"/>
                  <a:gd name="connsiteY1" fmla="*/ 1243 h 18454"/>
                  <a:gd name="connsiteX2" fmla="*/ 1245 w 18312"/>
                  <a:gd name="connsiteY2" fmla="*/ 13803 h 18454"/>
                  <a:gd name="connsiteX3" fmla="*/ 13745 w 18312"/>
                  <a:gd name="connsiteY3" fmla="*/ 17211 h 18454"/>
                  <a:gd name="connsiteX4" fmla="*/ 17094 w 18312"/>
                  <a:gd name="connsiteY4" fmla="*/ 46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4">
                    <a:moveTo>
                      <a:pt x="17094" y="4652"/>
                    </a:moveTo>
                    <a:cubicBezTo>
                      <a:pt x="14582" y="226"/>
                      <a:pt x="8960" y="-1329"/>
                      <a:pt x="4594" y="1243"/>
                    </a:cubicBezTo>
                    <a:cubicBezTo>
                      <a:pt x="229" y="3755"/>
                      <a:pt x="-1326" y="9377"/>
                      <a:pt x="1245" y="13803"/>
                    </a:cubicBezTo>
                    <a:cubicBezTo>
                      <a:pt x="3757" y="18228"/>
                      <a:pt x="9379" y="19783"/>
                      <a:pt x="13745" y="17211"/>
                    </a:cubicBezTo>
                    <a:cubicBezTo>
                      <a:pt x="18111" y="14700"/>
                      <a:pt x="19606" y="9078"/>
                      <a:pt x="17094" y="4652"/>
                    </a:cubicBezTo>
                    <a:close/>
                  </a:path>
                </a:pathLst>
              </a:custGeom>
              <a:grpFill/>
              <a:ln w="5978" cap="flat">
                <a:noFill/>
                <a:prstDash val="solid"/>
                <a:miter/>
              </a:ln>
            </p:spPr>
            <p:txBody>
              <a:bodyPr rtlCol="0" anchor="ctr"/>
              <a:lstStyle/>
              <a:p>
                <a:endParaRPr lang="en-GB"/>
              </a:p>
            </p:txBody>
          </p:sp>
        </p:grpSp>
        <p:grpSp>
          <p:nvGrpSpPr>
            <p:cNvPr id="595" name="Graphic 3">
              <a:extLst>
                <a:ext uri="{FF2B5EF4-FFF2-40B4-BE49-F238E27FC236}">
                  <a16:creationId xmlns:a16="http://schemas.microsoft.com/office/drawing/2014/main" id="{E003F2D9-96E8-4D33-A827-203EF24F85B0}"/>
                </a:ext>
              </a:extLst>
            </p:cNvPr>
            <p:cNvGrpSpPr/>
            <p:nvPr/>
          </p:nvGrpSpPr>
          <p:grpSpPr>
            <a:xfrm>
              <a:off x="6912419" y="4862138"/>
              <a:ext cx="126311" cy="266060"/>
              <a:chOff x="6912419" y="4862138"/>
              <a:chExt cx="126311" cy="266060"/>
            </a:xfrm>
            <a:grpFill/>
          </p:grpSpPr>
          <p:sp>
            <p:nvSpPr>
              <p:cNvPr id="3603" name="Vrije vorm: vorm 3602">
                <a:extLst>
                  <a:ext uri="{FF2B5EF4-FFF2-40B4-BE49-F238E27FC236}">
                    <a16:creationId xmlns:a16="http://schemas.microsoft.com/office/drawing/2014/main" id="{DD0B4CA8-094A-47AC-92AF-ABD2E1BDE586}"/>
                  </a:ext>
                </a:extLst>
              </p:cNvPr>
              <p:cNvSpPr/>
              <p:nvPr/>
            </p:nvSpPr>
            <p:spPr>
              <a:xfrm>
                <a:off x="6919951" y="4870436"/>
                <a:ext cx="111160" cy="249660"/>
              </a:xfrm>
              <a:custGeom>
                <a:avLst/>
                <a:gdLst>
                  <a:gd name="connsiteX0" fmla="*/ 0 w 111160"/>
                  <a:gd name="connsiteY0" fmla="*/ 1219 h 249660"/>
                  <a:gd name="connsiteX1" fmla="*/ 2796 w 111160"/>
                  <a:gd name="connsiteY1" fmla="*/ 0 h 249660"/>
                  <a:gd name="connsiteX2" fmla="*/ 111160 w 111160"/>
                  <a:gd name="connsiteY2" fmla="*/ 248441 h 249660"/>
                  <a:gd name="connsiteX3" fmla="*/ 108364 w 111160"/>
                  <a:gd name="connsiteY3" fmla="*/ 249660 h 249660"/>
                </a:gdLst>
                <a:ahLst/>
                <a:cxnLst>
                  <a:cxn ang="0">
                    <a:pos x="connsiteX0" y="connsiteY0"/>
                  </a:cxn>
                  <a:cxn ang="0">
                    <a:pos x="connsiteX1" y="connsiteY1"/>
                  </a:cxn>
                  <a:cxn ang="0">
                    <a:pos x="connsiteX2" y="connsiteY2"/>
                  </a:cxn>
                  <a:cxn ang="0">
                    <a:pos x="connsiteX3" y="connsiteY3"/>
                  </a:cxn>
                </a:cxnLst>
                <a:rect l="l" t="t" r="r" b="b"/>
                <a:pathLst>
                  <a:path w="111160" h="249660">
                    <a:moveTo>
                      <a:pt x="0" y="1219"/>
                    </a:moveTo>
                    <a:lnTo>
                      <a:pt x="2796" y="0"/>
                    </a:lnTo>
                    <a:lnTo>
                      <a:pt x="111160" y="248441"/>
                    </a:lnTo>
                    <a:lnTo>
                      <a:pt x="108364" y="249660"/>
                    </a:lnTo>
                    <a:close/>
                  </a:path>
                </a:pathLst>
              </a:custGeom>
              <a:grpFill/>
              <a:ln w="5978" cap="flat">
                <a:noFill/>
                <a:prstDash val="solid"/>
                <a:miter/>
              </a:ln>
            </p:spPr>
            <p:txBody>
              <a:bodyPr rtlCol="0" anchor="ctr"/>
              <a:lstStyle/>
              <a:p>
                <a:endParaRPr lang="en-GB"/>
              </a:p>
            </p:txBody>
          </p:sp>
          <p:sp>
            <p:nvSpPr>
              <p:cNvPr id="3604" name="Vrije vorm: vorm 3603">
                <a:extLst>
                  <a:ext uri="{FF2B5EF4-FFF2-40B4-BE49-F238E27FC236}">
                    <a16:creationId xmlns:a16="http://schemas.microsoft.com/office/drawing/2014/main" id="{76953BC1-9BD2-4DA3-9ECC-3FB038A7DFC7}"/>
                  </a:ext>
                </a:extLst>
              </p:cNvPr>
              <p:cNvSpPr/>
              <p:nvPr/>
            </p:nvSpPr>
            <p:spPr>
              <a:xfrm>
                <a:off x="6912419" y="4862138"/>
                <a:ext cx="18359" cy="18458"/>
              </a:xfrm>
              <a:custGeom>
                <a:avLst/>
                <a:gdLst>
                  <a:gd name="connsiteX0" fmla="*/ 776 w 18359"/>
                  <a:gd name="connsiteY0" fmla="*/ 12907 h 18458"/>
                  <a:gd name="connsiteX1" fmla="*/ 5501 w 18359"/>
                  <a:gd name="connsiteY1" fmla="*/ 767 h 18458"/>
                  <a:gd name="connsiteX2" fmla="*/ 17583 w 18359"/>
                  <a:gd name="connsiteY2" fmla="*/ 5551 h 18458"/>
                  <a:gd name="connsiteX3" fmla="*/ 12858 w 18359"/>
                  <a:gd name="connsiteY3" fmla="*/ 17692 h 18458"/>
                  <a:gd name="connsiteX4" fmla="*/ 776 w 18359"/>
                  <a:gd name="connsiteY4" fmla="*/ 12907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58">
                    <a:moveTo>
                      <a:pt x="776" y="12907"/>
                    </a:moveTo>
                    <a:cubicBezTo>
                      <a:pt x="-1257" y="8243"/>
                      <a:pt x="836" y="2800"/>
                      <a:pt x="5501" y="767"/>
                    </a:cubicBezTo>
                    <a:cubicBezTo>
                      <a:pt x="10107" y="-1267"/>
                      <a:pt x="15549" y="886"/>
                      <a:pt x="17583" y="5551"/>
                    </a:cubicBezTo>
                    <a:cubicBezTo>
                      <a:pt x="19616" y="10216"/>
                      <a:pt x="17523" y="15659"/>
                      <a:pt x="12858" y="17692"/>
                    </a:cubicBezTo>
                    <a:cubicBezTo>
                      <a:pt x="8252" y="19726"/>
                      <a:pt x="2810" y="17573"/>
                      <a:pt x="776" y="12907"/>
                    </a:cubicBezTo>
                    <a:close/>
                  </a:path>
                </a:pathLst>
              </a:custGeom>
              <a:grpFill/>
              <a:ln w="5978" cap="flat">
                <a:noFill/>
                <a:prstDash val="solid"/>
                <a:miter/>
              </a:ln>
            </p:spPr>
            <p:txBody>
              <a:bodyPr rtlCol="0" anchor="ctr"/>
              <a:lstStyle/>
              <a:p>
                <a:endParaRPr lang="en-GB"/>
              </a:p>
            </p:txBody>
          </p:sp>
          <p:sp>
            <p:nvSpPr>
              <p:cNvPr id="3605" name="Vrije vorm: vorm 3604">
                <a:extLst>
                  <a:ext uri="{FF2B5EF4-FFF2-40B4-BE49-F238E27FC236}">
                    <a16:creationId xmlns:a16="http://schemas.microsoft.com/office/drawing/2014/main" id="{53D6363D-0C29-4F18-BEB6-FD8F5F9CFC59}"/>
                  </a:ext>
                </a:extLst>
              </p:cNvPr>
              <p:cNvSpPr/>
              <p:nvPr/>
            </p:nvSpPr>
            <p:spPr>
              <a:xfrm>
                <a:off x="7020371" y="5109740"/>
                <a:ext cx="18358" cy="18458"/>
              </a:xfrm>
              <a:custGeom>
                <a:avLst/>
                <a:gdLst>
                  <a:gd name="connsiteX0" fmla="*/ 776 w 18358"/>
                  <a:gd name="connsiteY0" fmla="*/ 12908 h 18458"/>
                  <a:gd name="connsiteX1" fmla="*/ 12858 w 18358"/>
                  <a:gd name="connsiteY1" fmla="*/ 17692 h 18458"/>
                  <a:gd name="connsiteX2" fmla="*/ 17582 w 18358"/>
                  <a:gd name="connsiteY2" fmla="*/ 5551 h 18458"/>
                  <a:gd name="connsiteX3" fmla="*/ 5501 w 18358"/>
                  <a:gd name="connsiteY3" fmla="*/ 767 h 18458"/>
                  <a:gd name="connsiteX4" fmla="*/ 776 w 18358"/>
                  <a:gd name="connsiteY4" fmla="*/ 12908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58">
                    <a:moveTo>
                      <a:pt x="776" y="12908"/>
                    </a:moveTo>
                    <a:cubicBezTo>
                      <a:pt x="2810" y="17572"/>
                      <a:pt x="8192" y="19726"/>
                      <a:pt x="12858" y="17692"/>
                    </a:cubicBezTo>
                    <a:cubicBezTo>
                      <a:pt x="17523" y="15659"/>
                      <a:pt x="19616" y="10216"/>
                      <a:pt x="17582" y="5551"/>
                    </a:cubicBezTo>
                    <a:cubicBezTo>
                      <a:pt x="15549" y="886"/>
                      <a:pt x="10166" y="-1267"/>
                      <a:pt x="5501" y="767"/>
                    </a:cubicBezTo>
                    <a:cubicBezTo>
                      <a:pt x="836" y="2800"/>
                      <a:pt x="-1257" y="8242"/>
                      <a:pt x="776" y="12908"/>
                    </a:cubicBezTo>
                    <a:close/>
                  </a:path>
                </a:pathLst>
              </a:custGeom>
              <a:grpFill/>
              <a:ln w="5978" cap="flat">
                <a:noFill/>
                <a:prstDash val="solid"/>
                <a:miter/>
              </a:ln>
            </p:spPr>
            <p:txBody>
              <a:bodyPr rtlCol="0" anchor="ctr"/>
              <a:lstStyle/>
              <a:p>
                <a:endParaRPr lang="en-GB"/>
              </a:p>
            </p:txBody>
          </p:sp>
        </p:grpSp>
        <p:grpSp>
          <p:nvGrpSpPr>
            <p:cNvPr id="596" name="Graphic 3">
              <a:extLst>
                <a:ext uri="{FF2B5EF4-FFF2-40B4-BE49-F238E27FC236}">
                  <a16:creationId xmlns:a16="http://schemas.microsoft.com/office/drawing/2014/main" id="{F55CB92A-FF17-4702-80D4-718B1C3894A8}"/>
                </a:ext>
              </a:extLst>
            </p:cNvPr>
            <p:cNvGrpSpPr/>
            <p:nvPr/>
          </p:nvGrpSpPr>
          <p:grpSpPr>
            <a:xfrm>
              <a:off x="5676570" y="1092907"/>
              <a:ext cx="35091" cy="123318"/>
              <a:chOff x="5676570" y="1092907"/>
              <a:chExt cx="35091" cy="123318"/>
            </a:xfrm>
            <a:grpFill/>
          </p:grpSpPr>
          <p:sp>
            <p:nvSpPr>
              <p:cNvPr id="3600" name="Vrije vorm: vorm 3599">
                <a:extLst>
                  <a:ext uri="{FF2B5EF4-FFF2-40B4-BE49-F238E27FC236}">
                    <a16:creationId xmlns:a16="http://schemas.microsoft.com/office/drawing/2014/main" id="{2B573B2F-DFA6-4FEF-9634-0A1ABC765437}"/>
                  </a:ext>
                </a:extLst>
              </p:cNvPr>
              <p:cNvSpPr/>
              <p:nvPr/>
            </p:nvSpPr>
            <p:spPr>
              <a:xfrm>
                <a:off x="5684158" y="1101450"/>
                <a:ext cx="19856" cy="106277"/>
              </a:xfrm>
              <a:custGeom>
                <a:avLst/>
                <a:gdLst>
                  <a:gd name="connsiteX0" fmla="*/ 2990 w 19856"/>
                  <a:gd name="connsiteY0" fmla="*/ 0 h 106277"/>
                  <a:gd name="connsiteX1" fmla="*/ 19856 w 19856"/>
                  <a:gd name="connsiteY1" fmla="*/ 105799 h 106277"/>
                  <a:gd name="connsiteX2" fmla="*/ 16866 w 19856"/>
                  <a:gd name="connsiteY2" fmla="*/ 106277 h 106277"/>
                  <a:gd name="connsiteX3" fmla="*/ 0 w 19856"/>
                  <a:gd name="connsiteY3" fmla="*/ 419 h 106277"/>
                </a:gdLst>
                <a:ahLst/>
                <a:cxnLst>
                  <a:cxn ang="0">
                    <a:pos x="connsiteX0" y="connsiteY0"/>
                  </a:cxn>
                  <a:cxn ang="0">
                    <a:pos x="connsiteX1" y="connsiteY1"/>
                  </a:cxn>
                  <a:cxn ang="0">
                    <a:pos x="connsiteX2" y="connsiteY2"/>
                  </a:cxn>
                  <a:cxn ang="0">
                    <a:pos x="connsiteX3" y="connsiteY3"/>
                  </a:cxn>
                </a:cxnLst>
                <a:rect l="l" t="t" r="r" b="b"/>
                <a:pathLst>
                  <a:path w="19856" h="106277">
                    <a:moveTo>
                      <a:pt x="2990" y="0"/>
                    </a:moveTo>
                    <a:lnTo>
                      <a:pt x="19856" y="105799"/>
                    </a:lnTo>
                    <a:lnTo>
                      <a:pt x="16866" y="106277"/>
                    </a:lnTo>
                    <a:lnTo>
                      <a:pt x="0" y="419"/>
                    </a:lnTo>
                    <a:close/>
                  </a:path>
                </a:pathLst>
              </a:custGeom>
              <a:grpFill/>
              <a:ln w="5978" cap="flat">
                <a:noFill/>
                <a:prstDash val="solid"/>
                <a:miter/>
              </a:ln>
            </p:spPr>
            <p:txBody>
              <a:bodyPr rtlCol="0" anchor="ctr"/>
              <a:lstStyle/>
              <a:p>
                <a:endParaRPr lang="en-GB"/>
              </a:p>
            </p:txBody>
          </p:sp>
          <p:sp>
            <p:nvSpPr>
              <p:cNvPr id="3601" name="Vrije vorm: vorm 3600">
                <a:extLst>
                  <a:ext uri="{FF2B5EF4-FFF2-40B4-BE49-F238E27FC236}">
                    <a16:creationId xmlns:a16="http://schemas.microsoft.com/office/drawing/2014/main" id="{4451C2FA-A7AE-4B53-8B51-E7FDABF39254}"/>
                  </a:ext>
                </a:extLst>
              </p:cNvPr>
              <p:cNvSpPr/>
              <p:nvPr/>
            </p:nvSpPr>
            <p:spPr>
              <a:xfrm>
                <a:off x="5676570" y="1092907"/>
                <a:ext cx="18345" cy="18402"/>
              </a:xfrm>
              <a:custGeom>
                <a:avLst/>
                <a:gdLst>
                  <a:gd name="connsiteX0" fmla="*/ 112 w 18345"/>
                  <a:gd name="connsiteY0" fmla="*/ 10637 h 18402"/>
                  <a:gd name="connsiteX1" fmla="*/ 7707 w 18345"/>
                  <a:gd name="connsiteY1" fmla="*/ 110 h 18402"/>
                  <a:gd name="connsiteX2" fmla="*/ 18233 w 18345"/>
                  <a:gd name="connsiteY2" fmla="*/ 7766 h 18402"/>
                  <a:gd name="connsiteX3" fmla="*/ 10638 w 18345"/>
                  <a:gd name="connsiteY3" fmla="*/ 18292 h 18402"/>
                  <a:gd name="connsiteX4" fmla="*/ 112 w 18345"/>
                  <a:gd name="connsiteY4" fmla="*/ 10637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2">
                    <a:moveTo>
                      <a:pt x="112" y="10637"/>
                    </a:moveTo>
                    <a:cubicBezTo>
                      <a:pt x="-666" y="5613"/>
                      <a:pt x="2684" y="888"/>
                      <a:pt x="7707" y="110"/>
                    </a:cubicBezTo>
                    <a:cubicBezTo>
                      <a:pt x="12731" y="-667"/>
                      <a:pt x="17396" y="2742"/>
                      <a:pt x="18233" y="7766"/>
                    </a:cubicBezTo>
                    <a:cubicBezTo>
                      <a:pt x="19011" y="12790"/>
                      <a:pt x="15662" y="17514"/>
                      <a:pt x="10638" y="18292"/>
                    </a:cubicBezTo>
                    <a:cubicBezTo>
                      <a:pt x="5614" y="19069"/>
                      <a:pt x="890" y="15660"/>
                      <a:pt x="112" y="10637"/>
                    </a:cubicBezTo>
                    <a:close/>
                  </a:path>
                </a:pathLst>
              </a:custGeom>
              <a:grpFill/>
              <a:ln w="5978" cap="flat">
                <a:noFill/>
                <a:prstDash val="solid"/>
                <a:miter/>
              </a:ln>
            </p:spPr>
            <p:txBody>
              <a:bodyPr rtlCol="0" anchor="ctr"/>
              <a:lstStyle/>
              <a:p>
                <a:endParaRPr lang="en-GB"/>
              </a:p>
            </p:txBody>
          </p:sp>
          <p:sp>
            <p:nvSpPr>
              <p:cNvPr id="3602" name="Vrije vorm: vorm 3601">
                <a:extLst>
                  <a:ext uri="{FF2B5EF4-FFF2-40B4-BE49-F238E27FC236}">
                    <a16:creationId xmlns:a16="http://schemas.microsoft.com/office/drawing/2014/main" id="{B6D93D91-925B-4DCA-92EC-1D01D6421298}"/>
                  </a:ext>
                </a:extLst>
              </p:cNvPr>
              <p:cNvSpPr/>
              <p:nvPr/>
            </p:nvSpPr>
            <p:spPr>
              <a:xfrm>
                <a:off x="5693301" y="1197794"/>
                <a:ext cx="18359" cy="18430"/>
              </a:xfrm>
              <a:custGeom>
                <a:avLst/>
                <a:gdLst>
                  <a:gd name="connsiteX0" fmla="*/ 126 w 18359"/>
                  <a:gd name="connsiteY0" fmla="*/ 10651 h 18430"/>
                  <a:gd name="connsiteX1" fmla="*/ 10653 w 18359"/>
                  <a:gd name="connsiteY1" fmla="*/ 18306 h 18430"/>
                  <a:gd name="connsiteX2" fmla="*/ 18248 w 18359"/>
                  <a:gd name="connsiteY2" fmla="*/ 7780 h 18430"/>
                  <a:gd name="connsiteX3" fmla="*/ 7722 w 18359"/>
                  <a:gd name="connsiteY3" fmla="*/ 125 h 18430"/>
                  <a:gd name="connsiteX4" fmla="*/ 126 w 18359"/>
                  <a:gd name="connsiteY4" fmla="*/ 1065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30">
                    <a:moveTo>
                      <a:pt x="126" y="10651"/>
                    </a:moveTo>
                    <a:cubicBezTo>
                      <a:pt x="904" y="15675"/>
                      <a:pt x="5629" y="19143"/>
                      <a:pt x="10653" y="18306"/>
                    </a:cubicBezTo>
                    <a:cubicBezTo>
                      <a:pt x="15676" y="17529"/>
                      <a:pt x="19025" y="12804"/>
                      <a:pt x="18248" y="7780"/>
                    </a:cubicBezTo>
                    <a:cubicBezTo>
                      <a:pt x="17470" y="2756"/>
                      <a:pt x="12746" y="-713"/>
                      <a:pt x="7722" y="125"/>
                    </a:cubicBezTo>
                    <a:cubicBezTo>
                      <a:pt x="2698" y="902"/>
                      <a:pt x="-711" y="5627"/>
                      <a:pt x="126" y="10651"/>
                    </a:cubicBezTo>
                    <a:close/>
                  </a:path>
                </a:pathLst>
              </a:custGeom>
              <a:grpFill/>
              <a:ln w="5978" cap="flat">
                <a:noFill/>
                <a:prstDash val="solid"/>
                <a:miter/>
              </a:ln>
            </p:spPr>
            <p:txBody>
              <a:bodyPr rtlCol="0" anchor="ctr"/>
              <a:lstStyle/>
              <a:p>
                <a:endParaRPr lang="en-GB"/>
              </a:p>
            </p:txBody>
          </p:sp>
        </p:grpSp>
        <p:grpSp>
          <p:nvGrpSpPr>
            <p:cNvPr id="597" name="Graphic 3">
              <a:extLst>
                <a:ext uri="{FF2B5EF4-FFF2-40B4-BE49-F238E27FC236}">
                  <a16:creationId xmlns:a16="http://schemas.microsoft.com/office/drawing/2014/main" id="{8840D0F4-98A9-4450-8F09-3F9C347A0BB1}"/>
                </a:ext>
              </a:extLst>
            </p:cNvPr>
            <p:cNvGrpSpPr/>
            <p:nvPr/>
          </p:nvGrpSpPr>
          <p:grpSpPr>
            <a:xfrm>
              <a:off x="6938445" y="4968418"/>
              <a:ext cx="47618" cy="69669"/>
              <a:chOff x="6938445" y="4968418"/>
              <a:chExt cx="47618" cy="69669"/>
            </a:xfrm>
            <a:grpFill/>
          </p:grpSpPr>
          <p:sp>
            <p:nvSpPr>
              <p:cNvPr id="3597" name="Vrije vorm: vorm 3596">
                <a:extLst>
                  <a:ext uri="{FF2B5EF4-FFF2-40B4-BE49-F238E27FC236}">
                    <a16:creationId xmlns:a16="http://schemas.microsoft.com/office/drawing/2014/main" id="{746D9A05-6A10-45C0-B0EF-94ADA0F75AD2}"/>
                  </a:ext>
                </a:extLst>
              </p:cNvPr>
              <p:cNvSpPr/>
              <p:nvPr/>
            </p:nvSpPr>
            <p:spPr>
              <a:xfrm>
                <a:off x="6946030" y="4976479"/>
                <a:ext cx="32415" cy="53587"/>
              </a:xfrm>
              <a:custGeom>
                <a:avLst/>
                <a:gdLst>
                  <a:gd name="connsiteX0" fmla="*/ 32416 w 32415"/>
                  <a:gd name="connsiteY0" fmla="*/ 52092 h 53587"/>
                  <a:gd name="connsiteX1" fmla="*/ 29785 w 32415"/>
                  <a:gd name="connsiteY1" fmla="*/ 53587 h 53587"/>
                  <a:gd name="connsiteX2" fmla="*/ 0 w 32415"/>
                  <a:gd name="connsiteY2" fmla="*/ 1495 h 53587"/>
                  <a:gd name="connsiteX3" fmla="*/ 2632 w 32415"/>
                  <a:gd name="connsiteY3" fmla="*/ 0 h 53587"/>
                </a:gdLst>
                <a:ahLst/>
                <a:cxnLst>
                  <a:cxn ang="0">
                    <a:pos x="connsiteX0" y="connsiteY0"/>
                  </a:cxn>
                  <a:cxn ang="0">
                    <a:pos x="connsiteX1" y="connsiteY1"/>
                  </a:cxn>
                  <a:cxn ang="0">
                    <a:pos x="connsiteX2" y="connsiteY2"/>
                  </a:cxn>
                  <a:cxn ang="0">
                    <a:pos x="connsiteX3" y="connsiteY3"/>
                  </a:cxn>
                </a:cxnLst>
                <a:rect l="l" t="t" r="r" b="b"/>
                <a:pathLst>
                  <a:path w="32415" h="53587">
                    <a:moveTo>
                      <a:pt x="32416" y="52092"/>
                    </a:moveTo>
                    <a:lnTo>
                      <a:pt x="29785" y="53587"/>
                    </a:lnTo>
                    <a:lnTo>
                      <a:pt x="0" y="1495"/>
                    </a:lnTo>
                    <a:lnTo>
                      <a:pt x="2632" y="0"/>
                    </a:lnTo>
                    <a:close/>
                  </a:path>
                </a:pathLst>
              </a:custGeom>
              <a:grpFill/>
              <a:ln w="5978" cap="flat">
                <a:noFill/>
                <a:prstDash val="solid"/>
                <a:miter/>
              </a:ln>
            </p:spPr>
            <p:txBody>
              <a:bodyPr rtlCol="0" anchor="ctr"/>
              <a:lstStyle/>
              <a:p>
                <a:endParaRPr lang="en-GB"/>
              </a:p>
            </p:txBody>
          </p:sp>
          <p:sp>
            <p:nvSpPr>
              <p:cNvPr id="3598" name="Vrije vorm: vorm 3597">
                <a:extLst>
                  <a:ext uri="{FF2B5EF4-FFF2-40B4-BE49-F238E27FC236}">
                    <a16:creationId xmlns:a16="http://schemas.microsoft.com/office/drawing/2014/main" id="{7AF69177-1576-4FFC-955C-24913C7412C2}"/>
                  </a:ext>
                </a:extLst>
              </p:cNvPr>
              <p:cNvSpPr/>
              <p:nvPr/>
            </p:nvSpPr>
            <p:spPr>
              <a:xfrm>
                <a:off x="6967777" y="5019699"/>
                <a:ext cx="18285" cy="18388"/>
              </a:xfrm>
              <a:custGeom>
                <a:avLst/>
                <a:gdLst>
                  <a:gd name="connsiteX0" fmla="*/ 17067 w 18285"/>
                  <a:gd name="connsiteY0" fmla="*/ 4625 h 18388"/>
                  <a:gd name="connsiteX1" fmla="*/ 13718 w 18285"/>
                  <a:gd name="connsiteY1" fmla="*/ 17185 h 18388"/>
                  <a:gd name="connsiteX2" fmla="*/ 1219 w 18285"/>
                  <a:gd name="connsiteY2" fmla="*/ 13776 h 18388"/>
                  <a:gd name="connsiteX3" fmla="*/ 4568 w 18285"/>
                  <a:gd name="connsiteY3" fmla="*/ 1216 h 18388"/>
                  <a:gd name="connsiteX4" fmla="*/ 17067 w 18285"/>
                  <a:gd name="connsiteY4" fmla="*/ 4625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388">
                    <a:moveTo>
                      <a:pt x="17067" y="4625"/>
                    </a:moveTo>
                    <a:cubicBezTo>
                      <a:pt x="19579" y="9051"/>
                      <a:pt x="18084" y="14673"/>
                      <a:pt x="13718" y="17185"/>
                    </a:cubicBezTo>
                    <a:cubicBezTo>
                      <a:pt x="9352" y="19697"/>
                      <a:pt x="3730" y="18142"/>
                      <a:pt x="1219" y="13776"/>
                    </a:cubicBezTo>
                    <a:cubicBezTo>
                      <a:pt x="-1293" y="9350"/>
                      <a:pt x="202" y="3728"/>
                      <a:pt x="4568" y="1216"/>
                    </a:cubicBezTo>
                    <a:cubicBezTo>
                      <a:pt x="8933" y="-1295"/>
                      <a:pt x="14556" y="200"/>
                      <a:pt x="17067" y="4625"/>
                    </a:cubicBezTo>
                    <a:close/>
                  </a:path>
                </a:pathLst>
              </a:custGeom>
              <a:grpFill/>
              <a:ln w="5978" cap="flat">
                <a:noFill/>
                <a:prstDash val="solid"/>
                <a:miter/>
              </a:ln>
            </p:spPr>
            <p:txBody>
              <a:bodyPr rtlCol="0" anchor="ctr"/>
              <a:lstStyle/>
              <a:p>
                <a:endParaRPr lang="en-GB"/>
              </a:p>
            </p:txBody>
          </p:sp>
          <p:sp>
            <p:nvSpPr>
              <p:cNvPr id="3599" name="Vrije vorm: vorm 3598">
                <a:extLst>
                  <a:ext uri="{FF2B5EF4-FFF2-40B4-BE49-F238E27FC236}">
                    <a16:creationId xmlns:a16="http://schemas.microsoft.com/office/drawing/2014/main" id="{06B310AA-005A-4492-B20C-CD28468E9567}"/>
                  </a:ext>
                </a:extLst>
              </p:cNvPr>
              <p:cNvSpPr/>
              <p:nvPr/>
            </p:nvSpPr>
            <p:spPr>
              <a:xfrm>
                <a:off x="6938445" y="4968418"/>
                <a:ext cx="18312" cy="18454"/>
              </a:xfrm>
              <a:custGeom>
                <a:avLst/>
                <a:gdLst>
                  <a:gd name="connsiteX0" fmla="*/ 17094 w 18312"/>
                  <a:gd name="connsiteY0" fmla="*/ 4652 h 18454"/>
                  <a:gd name="connsiteX1" fmla="*/ 4594 w 18312"/>
                  <a:gd name="connsiteY1" fmla="*/ 1243 h 18454"/>
                  <a:gd name="connsiteX2" fmla="*/ 1245 w 18312"/>
                  <a:gd name="connsiteY2" fmla="*/ 13803 h 18454"/>
                  <a:gd name="connsiteX3" fmla="*/ 13745 w 18312"/>
                  <a:gd name="connsiteY3" fmla="*/ 17211 h 18454"/>
                  <a:gd name="connsiteX4" fmla="*/ 17094 w 18312"/>
                  <a:gd name="connsiteY4" fmla="*/ 46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4">
                    <a:moveTo>
                      <a:pt x="17094" y="4652"/>
                    </a:moveTo>
                    <a:cubicBezTo>
                      <a:pt x="14582" y="226"/>
                      <a:pt x="8961" y="-1329"/>
                      <a:pt x="4594" y="1243"/>
                    </a:cubicBezTo>
                    <a:cubicBezTo>
                      <a:pt x="228" y="3755"/>
                      <a:pt x="-1327" y="9377"/>
                      <a:pt x="1245" y="13803"/>
                    </a:cubicBezTo>
                    <a:cubicBezTo>
                      <a:pt x="3757" y="18228"/>
                      <a:pt x="9379" y="19783"/>
                      <a:pt x="13745" y="17211"/>
                    </a:cubicBezTo>
                    <a:cubicBezTo>
                      <a:pt x="18111" y="14640"/>
                      <a:pt x="19606" y="9078"/>
                      <a:pt x="17094" y="4652"/>
                    </a:cubicBezTo>
                    <a:close/>
                  </a:path>
                </a:pathLst>
              </a:custGeom>
              <a:grpFill/>
              <a:ln w="5978" cap="flat">
                <a:noFill/>
                <a:prstDash val="solid"/>
                <a:miter/>
              </a:ln>
            </p:spPr>
            <p:txBody>
              <a:bodyPr rtlCol="0" anchor="ctr"/>
              <a:lstStyle/>
              <a:p>
                <a:endParaRPr lang="en-GB"/>
              </a:p>
            </p:txBody>
          </p:sp>
        </p:grpSp>
        <p:grpSp>
          <p:nvGrpSpPr>
            <p:cNvPr id="598" name="Graphic 3">
              <a:extLst>
                <a:ext uri="{FF2B5EF4-FFF2-40B4-BE49-F238E27FC236}">
                  <a16:creationId xmlns:a16="http://schemas.microsoft.com/office/drawing/2014/main" id="{D8D39C49-7CB9-4096-A8C8-973CBFDD06F9}"/>
                </a:ext>
              </a:extLst>
            </p:cNvPr>
            <p:cNvGrpSpPr/>
            <p:nvPr/>
          </p:nvGrpSpPr>
          <p:grpSpPr>
            <a:xfrm>
              <a:off x="5823024" y="1577271"/>
              <a:ext cx="36685" cy="169144"/>
              <a:chOff x="5823024" y="1577271"/>
              <a:chExt cx="36685" cy="169144"/>
            </a:xfrm>
            <a:grpFill/>
          </p:grpSpPr>
          <p:sp>
            <p:nvSpPr>
              <p:cNvPr id="3594" name="Vrije vorm: vorm 3593">
                <a:extLst>
                  <a:ext uri="{FF2B5EF4-FFF2-40B4-BE49-F238E27FC236}">
                    <a16:creationId xmlns:a16="http://schemas.microsoft.com/office/drawing/2014/main" id="{EA30CC34-F862-4397-AD25-F3EAF8A655B6}"/>
                  </a:ext>
                </a:extLst>
              </p:cNvPr>
              <p:cNvSpPr/>
              <p:nvPr/>
            </p:nvSpPr>
            <p:spPr>
              <a:xfrm>
                <a:off x="5830625" y="1585888"/>
                <a:ext cx="21530" cy="151910"/>
              </a:xfrm>
              <a:custGeom>
                <a:avLst/>
                <a:gdLst>
                  <a:gd name="connsiteX0" fmla="*/ 3050 w 21530"/>
                  <a:gd name="connsiteY0" fmla="*/ 0 h 151910"/>
                  <a:gd name="connsiteX1" fmla="*/ 21530 w 21530"/>
                  <a:gd name="connsiteY1" fmla="*/ 151551 h 151910"/>
                  <a:gd name="connsiteX2" fmla="*/ 18480 w 21530"/>
                  <a:gd name="connsiteY2" fmla="*/ 151910 h 151910"/>
                  <a:gd name="connsiteX3" fmla="*/ 0 w 21530"/>
                  <a:gd name="connsiteY3" fmla="*/ 359 h 151910"/>
                </a:gdLst>
                <a:ahLst/>
                <a:cxnLst>
                  <a:cxn ang="0">
                    <a:pos x="connsiteX0" y="connsiteY0"/>
                  </a:cxn>
                  <a:cxn ang="0">
                    <a:pos x="connsiteX1" y="connsiteY1"/>
                  </a:cxn>
                  <a:cxn ang="0">
                    <a:pos x="connsiteX2" y="connsiteY2"/>
                  </a:cxn>
                  <a:cxn ang="0">
                    <a:pos x="connsiteX3" y="connsiteY3"/>
                  </a:cxn>
                </a:cxnLst>
                <a:rect l="l" t="t" r="r" b="b"/>
                <a:pathLst>
                  <a:path w="21530" h="151910">
                    <a:moveTo>
                      <a:pt x="3050" y="0"/>
                    </a:moveTo>
                    <a:lnTo>
                      <a:pt x="21530" y="151551"/>
                    </a:lnTo>
                    <a:lnTo>
                      <a:pt x="18480" y="151910"/>
                    </a:lnTo>
                    <a:lnTo>
                      <a:pt x="0" y="359"/>
                    </a:lnTo>
                    <a:close/>
                  </a:path>
                </a:pathLst>
              </a:custGeom>
              <a:grpFill/>
              <a:ln w="5978" cap="flat">
                <a:noFill/>
                <a:prstDash val="solid"/>
                <a:miter/>
              </a:ln>
            </p:spPr>
            <p:txBody>
              <a:bodyPr rtlCol="0" anchor="ctr"/>
              <a:lstStyle/>
              <a:p>
                <a:endParaRPr lang="en-GB"/>
              </a:p>
            </p:txBody>
          </p:sp>
          <p:sp>
            <p:nvSpPr>
              <p:cNvPr id="3595" name="Vrije vorm: vorm 3594">
                <a:extLst>
                  <a:ext uri="{FF2B5EF4-FFF2-40B4-BE49-F238E27FC236}">
                    <a16:creationId xmlns:a16="http://schemas.microsoft.com/office/drawing/2014/main" id="{026C564F-E331-44F1-8FD1-FDACD9C07005}"/>
                  </a:ext>
                </a:extLst>
              </p:cNvPr>
              <p:cNvSpPr/>
              <p:nvPr/>
            </p:nvSpPr>
            <p:spPr>
              <a:xfrm>
                <a:off x="5823024" y="1577271"/>
                <a:ext cx="18313" cy="18431"/>
              </a:xfrm>
              <a:custGeom>
                <a:avLst/>
                <a:gdLst>
                  <a:gd name="connsiteX0" fmla="*/ 66 w 18313"/>
                  <a:gd name="connsiteY0" fmla="*/ 10292 h 18431"/>
                  <a:gd name="connsiteX1" fmla="*/ 8020 w 18313"/>
                  <a:gd name="connsiteY1" fmla="*/ 65 h 18431"/>
                  <a:gd name="connsiteX2" fmla="*/ 18247 w 18313"/>
                  <a:gd name="connsiteY2" fmla="*/ 8139 h 18431"/>
                  <a:gd name="connsiteX3" fmla="*/ 10293 w 18313"/>
                  <a:gd name="connsiteY3" fmla="*/ 18366 h 18431"/>
                  <a:gd name="connsiteX4" fmla="*/ 66 w 18313"/>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66" y="10292"/>
                    </a:moveTo>
                    <a:cubicBezTo>
                      <a:pt x="-532" y="5268"/>
                      <a:pt x="2997" y="663"/>
                      <a:pt x="8020" y="65"/>
                    </a:cubicBezTo>
                    <a:cubicBezTo>
                      <a:pt x="13044" y="-533"/>
                      <a:pt x="17589" y="3055"/>
                      <a:pt x="18247" y="8139"/>
                    </a:cubicBezTo>
                    <a:cubicBezTo>
                      <a:pt x="18846" y="13163"/>
                      <a:pt x="15317" y="17768"/>
                      <a:pt x="10293" y="18366"/>
                    </a:cubicBezTo>
                    <a:cubicBezTo>
                      <a:pt x="5269" y="18964"/>
                      <a:pt x="724" y="15376"/>
                      <a:pt x="66" y="10292"/>
                    </a:cubicBezTo>
                    <a:close/>
                  </a:path>
                </a:pathLst>
              </a:custGeom>
              <a:grpFill/>
              <a:ln w="5978" cap="flat">
                <a:noFill/>
                <a:prstDash val="solid"/>
                <a:miter/>
              </a:ln>
            </p:spPr>
            <p:txBody>
              <a:bodyPr rtlCol="0" anchor="ctr"/>
              <a:lstStyle/>
              <a:p>
                <a:endParaRPr lang="en-GB"/>
              </a:p>
            </p:txBody>
          </p:sp>
          <p:sp>
            <p:nvSpPr>
              <p:cNvPr id="3596" name="Vrije vorm: vorm 3595">
                <a:extLst>
                  <a:ext uri="{FF2B5EF4-FFF2-40B4-BE49-F238E27FC236}">
                    <a16:creationId xmlns:a16="http://schemas.microsoft.com/office/drawing/2014/main" id="{2B32FA56-015A-427D-BABC-67CCE2E548AF}"/>
                  </a:ext>
                </a:extLst>
              </p:cNvPr>
              <p:cNvSpPr/>
              <p:nvPr/>
            </p:nvSpPr>
            <p:spPr>
              <a:xfrm>
                <a:off x="5841385" y="1727986"/>
                <a:ext cx="18324" cy="18429"/>
              </a:xfrm>
              <a:custGeom>
                <a:avLst/>
                <a:gdLst>
                  <a:gd name="connsiteX0" fmla="*/ 65 w 18324"/>
                  <a:gd name="connsiteY0" fmla="*/ 10291 h 18429"/>
                  <a:gd name="connsiteX1" fmla="*/ 10292 w 18324"/>
                  <a:gd name="connsiteY1" fmla="*/ 18365 h 18429"/>
                  <a:gd name="connsiteX2" fmla="*/ 18246 w 18324"/>
                  <a:gd name="connsiteY2" fmla="*/ 8138 h 18429"/>
                  <a:gd name="connsiteX3" fmla="*/ 8020 w 18324"/>
                  <a:gd name="connsiteY3" fmla="*/ 64 h 18429"/>
                  <a:gd name="connsiteX4" fmla="*/ 65 w 18324"/>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9">
                    <a:moveTo>
                      <a:pt x="65" y="10291"/>
                    </a:moveTo>
                    <a:cubicBezTo>
                      <a:pt x="663" y="15315"/>
                      <a:pt x="5268" y="18963"/>
                      <a:pt x="10292" y="18365"/>
                    </a:cubicBezTo>
                    <a:cubicBezTo>
                      <a:pt x="15316" y="17767"/>
                      <a:pt x="18904" y="13162"/>
                      <a:pt x="18246" y="8138"/>
                    </a:cubicBezTo>
                    <a:cubicBezTo>
                      <a:pt x="17649" y="3114"/>
                      <a:pt x="13043" y="-534"/>
                      <a:pt x="8020" y="64"/>
                    </a:cubicBezTo>
                    <a:cubicBezTo>
                      <a:pt x="3056" y="662"/>
                      <a:pt x="-533" y="5208"/>
                      <a:pt x="65" y="10291"/>
                    </a:cubicBezTo>
                    <a:close/>
                  </a:path>
                </a:pathLst>
              </a:custGeom>
              <a:grpFill/>
              <a:ln w="5978" cap="flat">
                <a:noFill/>
                <a:prstDash val="solid"/>
                <a:miter/>
              </a:ln>
            </p:spPr>
            <p:txBody>
              <a:bodyPr rtlCol="0" anchor="ctr"/>
              <a:lstStyle/>
              <a:p>
                <a:endParaRPr lang="en-GB"/>
              </a:p>
            </p:txBody>
          </p:sp>
        </p:grpSp>
        <p:grpSp>
          <p:nvGrpSpPr>
            <p:cNvPr id="599" name="Graphic 3">
              <a:extLst>
                <a:ext uri="{FF2B5EF4-FFF2-40B4-BE49-F238E27FC236}">
                  <a16:creationId xmlns:a16="http://schemas.microsoft.com/office/drawing/2014/main" id="{953428AC-6547-48D2-ACEE-1394BBD12C41}"/>
                </a:ext>
              </a:extLst>
            </p:cNvPr>
            <p:cNvGrpSpPr/>
            <p:nvPr/>
          </p:nvGrpSpPr>
          <p:grpSpPr>
            <a:xfrm>
              <a:off x="5760917" y="1380717"/>
              <a:ext cx="42769" cy="192750"/>
              <a:chOff x="5760917" y="1380717"/>
              <a:chExt cx="42769" cy="192750"/>
            </a:xfrm>
            <a:grpFill/>
          </p:grpSpPr>
          <p:sp>
            <p:nvSpPr>
              <p:cNvPr id="3591" name="Vrije vorm: vorm 3590">
                <a:extLst>
                  <a:ext uri="{FF2B5EF4-FFF2-40B4-BE49-F238E27FC236}">
                    <a16:creationId xmlns:a16="http://schemas.microsoft.com/office/drawing/2014/main" id="{CCC73A96-0846-4A9A-B8DD-6E0D16A2025D}"/>
                  </a:ext>
                </a:extLst>
              </p:cNvPr>
              <p:cNvSpPr/>
              <p:nvPr/>
            </p:nvSpPr>
            <p:spPr>
              <a:xfrm>
                <a:off x="5768690" y="1389517"/>
                <a:ext cx="27646" cy="175618"/>
              </a:xfrm>
              <a:custGeom>
                <a:avLst/>
                <a:gdLst>
                  <a:gd name="connsiteX0" fmla="*/ 0 w 27646"/>
                  <a:gd name="connsiteY0" fmla="*/ 425 h 175618"/>
                  <a:gd name="connsiteX1" fmla="*/ 3021 w 27646"/>
                  <a:gd name="connsiteY1" fmla="*/ 0 h 175618"/>
                  <a:gd name="connsiteX2" fmla="*/ 27646 w 27646"/>
                  <a:gd name="connsiteY2" fmla="*/ 175194 h 175618"/>
                  <a:gd name="connsiteX3" fmla="*/ 24626 w 27646"/>
                  <a:gd name="connsiteY3" fmla="*/ 175618 h 175618"/>
                </a:gdLst>
                <a:ahLst/>
                <a:cxnLst>
                  <a:cxn ang="0">
                    <a:pos x="connsiteX0" y="connsiteY0"/>
                  </a:cxn>
                  <a:cxn ang="0">
                    <a:pos x="connsiteX1" y="connsiteY1"/>
                  </a:cxn>
                  <a:cxn ang="0">
                    <a:pos x="connsiteX2" y="connsiteY2"/>
                  </a:cxn>
                  <a:cxn ang="0">
                    <a:pos x="connsiteX3" y="connsiteY3"/>
                  </a:cxn>
                </a:cxnLst>
                <a:rect l="l" t="t" r="r" b="b"/>
                <a:pathLst>
                  <a:path w="27646" h="175618">
                    <a:moveTo>
                      <a:pt x="0" y="425"/>
                    </a:moveTo>
                    <a:lnTo>
                      <a:pt x="3021" y="0"/>
                    </a:lnTo>
                    <a:lnTo>
                      <a:pt x="27646" y="175194"/>
                    </a:lnTo>
                    <a:lnTo>
                      <a:pt x="24626" y="175618"/>
                    </a:lnTo>
                    <a:close/>
                  </a:path>
                </a:pathLst>
              </a:custGeom>
              <a:grpFill/>
              <a:ln w="5978" cap="flat">
                <a:noFill/>
                <a:prstDash val="solid"/>
                <a:miter/>
              </a:ln>
            </p:spPr>
            <p:txBody>
              <a:bodyPr rtlCol="0" anchor="ctr"/>
              <a:lstStyle/>
              <a:p>
                <a:endParaRPr lang="en-GB"/>
              </a:p>
            </p:txBody>
          </p:sp>
          <p:sp>
            <p:nvSpPr>
              <p:cNvPr id="3592" name="Vrije vorm: vorm 3591">
                <a:extLst>
                  <a:ext uri="{FF2B5EF4-FFF2-40B4-BE49-F238E27FC236}">
                    <a16:creationId xmlns:a16="http://schemas.microsoft.com/office/drawing/2014/main" id="{941E187B-E930-456C-825E-F93C29093078}"/>
                  </a:ext>
                </a:extLst>
              </p:cNvPr>
              <p:cNvSpPr/>
              <p:nvPr/>
            </p:nvSpPr>
            <p:spPr>
              <a:xfrm>
                <a:off x="5760917" y="1380717"/>
                <a:ext cx="18308" cy="18472"/>
              </a:xfrm>
              <a:custGeom>
                <a:avLst/>
                <a:gdLst>
                  <a:gd name="connsiteX0" fmla="*/ 93 w 18308"/>
                  <a:gd name="connsiteY0" fmla="*/ 10499 h 18472"/>
                  <a:gd name="connsiteX1" fmla="*/ 7868 w 18308"/>
                  <a:gd name="connsiteY1" fmla="*/ 93 h 18472"/>
                  <a:gd name="connsiteX2" fmla="*/ 18215 w 18308"/>
                  <a:gd name="connsiteY2" fmla="*/ 7987 h 18472"/>
                  <a:gd name="connsiteX3" fmla="*/ 10439 w 18308"/>
                  <a:gd name="connsiteY3" fmla="*/ 18394 h 18472"/>
                  <a:gd name="connsiteX4" fmla="*/ 93 w 18308"/>
                  <a:gd name="connsiteY4" fmla="*/ 10499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72">
                    <a:moveTo>
                      <a:pt x="93" y="10499"/>
                    </a:moveTo>
                    <a:cubicBezTo>
                      <a:pt x="-625" y="5475"/>
                      <a:pt x="2904" y="810"/>
                      <a:pt x="7868" y="93"/>
                    </a:cubicBezTo>
                    <a:cubicBezTo>
                      <a:pt x="12892" y="-625"/>
                      <a:pt x="17496" y="2904"/>
                      <a:pt x="18215" y="7987"/>
                    </a:cubicBezTo>
                    <a:cubicBezTo>
                      <a:pt x="18932" y="13011"/>
                      <a:pt x="15463" y="17676"/>
                      <a:pt x="10439" y="18394"/>
                    </a:cubicBezTo>
                    <a:cubicBezTo>
                      <a:pt x="5416" y="19052"/>
                      <a:pt x="751" y="15523"/>
                      <a:pt x="93" y="10499"/>
                    </a:cubicBezTo>
                    <a:close/>
                  </a:path>
                </a:pathLst>
              </a:custGeom>
              <a:grpFill/>
              <a:ln w="5978" cap="flat">
                <a:noFill/>
                <a:prstDash val="solid"/>
                <a:miter/>
              </a:ln>
            </p:spPr>
            <p:txBody>
              <a:bodyPr rtlCol="0" anchor="ctr"/>
              <a:lstStyle/>
              <a:p>
                <a:endParaRPr lang="en-GB"/>
              </a:p>
            </p:txBody>
          </p:sp>
          <p:sp>
            <p:nvSpPr>
              <p:cNvPr id="3593" name="Vrije vorm: vorm 3592">
                <a:extLst>
                  <a:ext uri="{FF2B5EF4-FFF2-40B4-BE49-F238E27FC236}">
                    <a16:creationId xmlns:a16="http://schemas.microsoft.com/office/drawing/2014/main" id="{1B1CACC9-C64F-424B-966E-80D356F3A329}"/>
                  </a:ext>
                </a:extLst>
              </p:cNvPr>
              <p:cNvSpPr/>
              <p:nvPr/>
            </p:nvSpPr>
            <p:spPr>
              <a:xfrm>
                <a:off x="5785378" y="1555009"/>
                <a:ext cx="18308" cy="18458"/>
              </a:xfrm>
              <a:custGeom>
                <a:avLst/>
                <a:gdLst>
                  <a:gd name="connsiteX0" fmla="*/ 93 w 18308"/>
                  <a:gd name="connsiteY0" fmla="*/ 10485 h 18458"/>
                  <a:gd name="connsiteX1" fmla="*/ 10439 w 18308"/>
                  <a:gd name="connsiteY1" fmla="*/ 18380 h 18458"/>
                  <a:gd name="connsiteX2" fmla="*/ 18214 w 18308"/>
                  <a:gd name="connsiteY2" fmla="*/ 7973 h 18458"/>
                  <a:gd name="connsiteX3" fmla="*/ 7868 w 18308"/>
                  <a:gd name="connsiteY3" fmla="*/ 79 h 18458"/>
                  <a:gd name="connsiteX4" fmla="*/ 93 w 18308"/>
                  <a:gd name="connsiteY4" fmla="*/ 1048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8">
                    <a:moveTo>
                      <a:pt x="93" y="10485"/>
                    </a:moveTo>
                    <a:cubicBezTo>
                      <a:pt x="810" y="15509"/>
                      <a:pt x="5415" y="19038"/>
                      <a:pt x="10439" y="18380"/>
                    </a:cubicBezTo>
                    <a:cubicBezTo>
                      <a:pt x="15463" y="17662"/>
                      <a:pt x="18932" y="13057"/>
                      <a:pt x="18214" y="7973"/>
                    </a:cubicBezTo>
                    <a:cubicBezTo>
                      <a:pt x="17496" y="2950"/>
                      <a:pt x="12891" y="-579"/>
                      <a:pt x="7868" y="79"/>
                    </a:cubicBezTo>
                    <a:cubicBezTo>
                      <a:pt x="2904" y="797"/>
                      <a:pt x="-625" y="5402"/>
                      <a:pt x="93" y="10485"/>
                    </a:cubicBezTo>
                    <a:close/>
                  </a:path>
                </a:pathLst>
              </a:custGeom>
              <a:grpFill/>
              <a:ln w="5978" cap="flat">
                <a:noFill/>
                <a:prstDash val="solid"/>
                <a:miter/>
              </a:ln>
            </p:spPr>
            <p:txBody>
              <a:bodyPr rtlCol="0" anchor="ctr"/>
              <a:lstStyle/>
              <a:p>
                <a:endParaRPr lang="en-GB"/>
              </a:p>
            </p:txBody>
          </p:sp>
        </p:grpSp>
        <p:grpSp>
          <p:nvGrpSpPr>
            <p:cNvPr id="600" name="Graphic 3">
              <a:extLst>
                <a:ext uri="{FF2B5EF4-FFF2-40B4-BE49-F238E27FC236}">
                  <a16:creationId xmlns:a16="http://schemas.microsoft.com/office/drawing/2014/main" id="{37A02C6B-2DF9-47F0-A54A-4EEE577C00B9}"/>
                </a:ext>
              </a:extLst>
            </p:cNvPr>
            <p:cNvGrpSpPr/>
            <p:nvPr/>
          </p:nvGrpSpPr>
          <p:grpSpPr>
            <a:xfrm>
              <a:off x="6885695" y="4876255"/>
              <a:ext cx="61912" cy="94549"/>
              <a:chOff x="6885695" y="4876255"/>
              <a:chExt cx="61912" cy="94549"/>
            </a:xfrm>
            <a:grpFill/>
          </p:grpSpPr>
          <p:sp>
            <p:nvSpPr>
              <p:cNvPr id="3588" name="Vrije vorm: vorm 3587">
                <a:extLst>
                  <a:ext uri="{FF2B5EF4-FFF2-40B4-BE49-F238E27FC236}">
                    <a16:creationId xmlns:a16="http://schemas.microsoft.com/office/drawing/2014/main" id="{9493CD1F-E0F4-4070-AAA3-84555A136B17}"/>
                  </a:ext>
                </a:extLst>
              </p:cNvPr>
              <p:cNvSpPr/>
              <p:nvPr/>
            </p:nvSpPr>
            <p:spPr>
              <a:xfrm>
                <a:off x="6893340" y="4884316"/>
                <a:ext cx="46649" cy="78467"/>
              </a:xfrm>
              <a:custGeom>
                <a:avLst/>
                <a:gdLst>
                  <a:gd name="connsiteX0" fmla="*/ 46649 w 46649"/>
                  <a:gd name="connsiteY0" fmla="*/ 76972 h 78467"/>
                  <a:gd name="connsiteX1" fmla="*/ 44018 w 46649"/>
                  <a:gd name="connsiteY1" fmla="*/ 78467 h 78467"/>
                  <a:gd name="connsiteX2" fmla="*/ 0 w 46649"/>
                  <a:gd name="connsiteY2" fmla="*/ 1495 h 78467"/>
                  <a:gd name="connsiteX3" fmla="*/ 2631 w 46649"/>
                  <a:gd name="connsiteY3" fmla="*/ 0 h 78467"/>
                </a:gdLst>
                <a:ahLst/>
                <a:cxnLst>
                  <a:cxn ang="0">
                    <a:pos x="connsiteX0" y="connsiteY0"/>
                  </a:cxn>
                  <a:cxn ang="0">
                    <a:pos x="connsiteX1" y="connsiteY1"/>
                  </a:cxn>
                  <a:cxn ang="0">
                    <a:pos x="connsiteX2" y="connsiteY2"/>
                  </a:cxn>
                  <a:cxn ang="0">
                    <a:pos x="connsiteX3" y="connsiteY3"/>
                  </a:cxn>
                </a:cxnLst>
                <a:rect l="l" t="t" r="r" b="b"/>
                <a:pathLst>
                  <a:path w="46649" h="78467">
                    <a:moveTo>
                      <a:pt x="46649" y="76972"/>
                    </a:moveTo>
                    <a:lnTo>
                      <a:pt x="44018" y="78467"/>
                    </a:lnTo>
                    <a:lnTo>
                      <a:pt x="0" y="1495"/>
                    </a:lnTo>
                    <a:lnTo>
                      <a:pt x="2631" y="0"/>
                    </a:lnTo>
                    <a:close/>
                  </a:path>
                </a:pathLst>
              </a:custGeom>
              <a:grpFill/>
              <a:ln w="5978" cap="flat">
                <a:noFill/>
                <a:prstDash val="solid"/>
                <a:miter/>
              </a:ln>
            </p:spPr>
            <p:txBody>
              <a:bodyPr rtlCol="0" anchor="ctr"/>
              <a:lstStyle/>
              <a:p>
                <a:endParaRPr lang="en-GB"/>
              </a:p>
            </p:txBody>
          </p:sp>
          <p:sp>
            <p:nvSpPr>
              <p:cNvPr id="3589" name="Vrije vorm: vorm 3588">
                <a:extLst>
                  <a:ext uri="{FF2B5EF4-FFF2-40B4-BE49-F238E27FC236}">
                    <a16:creationId xmlns:a16="http://schemas.microsoft.com/office/drawing/2014/main" id="{562A6EB7-D10A-41E8-849F-0A332B88605A}"/>
                  </a:ext>
                </a:extLst>
              </p:cNvPr>
              <p:cNvSpPr/>
              <p:nvPr/>
            </p:nvSpPr>
            <p:spPr>
              <a:xfrm>
                <a:off x="6929321" y="4952429"/>
                <a:ext cx="18286" cy="18375"/>
              </a:xfrm>
              <a:custGeom>
                <a:avLst/>
                <a:gdLst>
                  <a:gd name="connsiteX0" fmla="*/ 17068 w 18286"/>
                  <a:gd name="connsiteY0" fmla="*/ 4612 h 18375"/>
                  <a:gd name="connsiteX1" fmla="*/ 13718 w 18286"/>
                  <a:gd name="connsiteY1" fmla="*/ 17172 h 18375"/>
                  <a:gd name="connsiteX2" fmla="*/ 1219 w 18286"/>
                  <a:gd name="connsiteY2" fmla="*/ 13763 h 18375"/>
                  <a:gd name="connsiteX3" fmla="*/ 4568 w 18286"/>
                  <a:gd name="connsiteY3" fmla="*/ 1203 h 18375"/>
                  <a:gd name="connsiteX4" fmla="*/ 17068 w 18286"/>
                  <a:gd name="connsiteY4" fmla="*/ 4612 h 18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375">
                    <a:moveTo>
                      <a:pt x="17068" y="4612"/>
                    </a:moveTo>
                    <a:cubicBezTo>
                      <a:pt x="19580" y="9038"/>
                      <a:pt x="18085" y="14660"/>
                      <a:pt x="13718" y="17172"/>
                    </a:cubicBezTo>
                    <a:cubicBezTo>
                      <a:pt x="9352" y="19684"/>
                      <a:pt x="3731" y="18129"/>
                      <a:pt x="1219" y="13763"/>
                    </a:cubicBezTo>
                    <a:cubicBezTo>
                      <a:pt x="-1293" y="9397"/>
                      <a:pt x="202" y="3715"/>
                      <a:pt x="4568" y="1203"/>
                    </a:cubicBezTo>
                    <a:cubicBezTo>
                      <a:pt x="8934" y="-1308"/>
                      <a:pt x="14496" y="247"/>
                      <a:pt x="17068" y="4612"/>
                    </a:cubicBezTo>
                    <a:close/>
                  </a:path>
                </a:pathLst>
              </a:custGeom>
              <a:grpFill/>
              <a:ln w="5978" cap="flat">
                <a:noFill/>
                <a:prstDash val="solid"/>
                <a:miter/>
              </a:ln>
            </p:spPr>
            <p:txBody>
              <a:bodyPr rtlCol="0" anchor="ctr"/>
              <a:lstStyle/>
              <a:p>
                <a:endParaRPr lang="en-GB"/>
              </a:p>
            </p:txBody>
          </p:sp>
          <p:sp>
            <p:nvSpPr>
              <p:cNvPr id="3590" name="Vrije vorm: vorm 3589">
                <a:extLst>
                  <a:ext uri="{FF2B5EF4-FFF2-40B4-BE49-F238E27FC236}">
                    <a16:creationId xmlns:a16="http://schemas.microsoft.com/office/drawing/2014/main" id="{246CAA3C-7393-4A93-B26A-5540A5CDD825}"/>
                  </a:ext>
                </a:extLst>
              </p:cNvPr>
              <p:cNvSpPr/>
              <p:nvPr/>
            </p:nvSpPr>
            <p:spPr>
              <a:xfrm>
                <a:off x="6885695" y="4876255"/>
                <a:ext cx="18339" cy="18454"/>
              </a:xfrm>
              <a:custGeom>
                <a:avLst/>
                <a:gdLst>
                  <a:gd name="connsiteX0" fmla="*/ 17094 w 18339"/>
                  <a:gd name="connsiteY0" fmla="*/ 4652 h 18454"/>
                  <a:gd name="connsiteX1" fmla="*/ 4594 w 18339"/>
                  <a:gd name="connsiteY1" fmla="*/ 1243 h 18454"/>
                  <a:gd name="connsiteX2" fmla="*/ 1245 w 18339"/>
                  <a:gd name="connsiteY2" fmla="*/ 13802 h 18454"/>
                  <a:gd name="connsiteX3" fmla="*/ 13745 w 18339"/>
                  <a:gd name="connsiteY3" fmla="*/ 17211 h 18454"/>
                  <a:gd name="connsiteX4" fmla="*/ 17094 w 18339"/>
                  <a:gd name="connsiteY4" fmla="*/ 46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4">
                    <a:moveTo>
                      <a:pt x="17094" y="4652"/>
                    </a:moveTo>
                    <a:cubicBezTo>
                      <a:pt x="14582" y="226"/>
                      <a:pt x="8960" y="-1329"/>
                      <a:pt x="4594" y="1243"/>
                    </a:cubicBezTo>
                    <a:cubicBezTo>
                      <a:pt x="229" y="3755"/>
                      <a:pt x="-1326" y="9377"/>
                      <a:pt x="1245" y="13802"/>
                    </a:cubicBezTo>
                    <a:cubicBezTo>
                      <a:pt x="3757" y="18228"/>
                      <a:pt x="9379" y="19783"/>
                      <a:pt x="13745" y="17211"/>
                    </a:cubicBezTo>
                    <a:cubicBezTo>
                      <a:pt x="18111" y="14700"/>
                      <a:pt x="19666" y="9078"/>
                      <a:pt x="17094" y="4652"/>
                    </a:cubicBezTo>
                    <a:close/>
                  </a:path>
                </a:pathLst>
              </a:custGeom>
              <a:grpFill/>
              <a:ln w="5978" cap="flat">
                <a:noFill/>
                <a:prstDash val="solid"/>
                <a:miter/>
              </a:ln>
            </p:spPr>
            <p:txBody>
              <a:bodyPr rtlCol="0" anchor="ctr"/>
              <a:lstStyle/>
              <a:p>
                <a:endParaRPr lang="en-GB"/>
              </a:p>
            </p:txBody>
          </p:sp>
        </p:grpSp>
        <p:grpSp>
          <p:nvGrpSpPr>
            <p:cNvPr id="601" name="Graphic 3">
              <a:extLst>
                <a:ext uri="{FF2B5EF4-FFF2-40B4-BE49-F238E27FC236}">
                  <a16:creationId xmlns:a16="http://schemas.microsoft.com/office/drawing/2014/main" id="{AEDC410D-3F91-4CEA-B157-1E8FC349E5C8}"/>
                </a:ext>
              </a:extLst>
            </p:cNvPr>
            <p:cNvGrpSpPr/>
            <p:nvPr/>
          </p:nvGrpSpPr>
          <p:grpSpPr>
            <a:xfrm>
              <a:off x="5629049" y="1074152"/>
              <a:ext cx="37791" cy="127081"/>
              <a:chOff x="5629049" y="1074152"/>
              <a:chExt cx="37791" cy="127081"/>
            </a:xfrm>
            <a:grpFill/>
          </p:grpSpPr>
          <p:sp>
            <p:nvSpPr>
              <p:cNvPr id="3585" name="Vrije vorm: vorm 3584">
                <a:extLst>
                  <a:ext uri="{FF2B5EF4-FFF2-40B4-BE49-F238E27FC236}">
                    <a16:creationId xmlns:a16="http://schemas.microsoft.com/office/drawing/2014/main" id="{24D8F2FE-D21F-43B7-BFB5-B0FBFBB5A5D6}"/>
                  </a:ext>
                </a:extLst>
              </p:cNvPr>
              <p:cNvSpPr/>
              <p:nvPr/>
            </p:nvSpPr>
            <p:spPr>
              <a:xfrm>
                <a:off x="5636671" y="1082670"/>
                <a:ext cx="22547" cy="110045"/>
              </a:xfrm>
              <a:custGeom>
                <a:avLst/>
                <a:gdLst>
                  <a:gd name="connsiteX0" fmla="*/ 2990 w 22547"/>
                  <a:gd name="connsiteY0" fmla="*/ 0 h 110045"/>
                  <a:gd name="connsiteX1" fmla="*/ 22547 w 22547"/>
                  <a:gd name="connsiteY1" fmla="*/ 109507 h 110045"/>
                  <a:gd name="connsiteX2" fmla="*/ 19557 w 22547"/>
                  <a:gd name="connsiteY2" fmla="*/ 110045 h 110045"/>
                  <a:gd name="connsiteX3" fmla="*/ 0 w 22547"/>
                  <a:gd name="connsiteY3" fmla="*/ 478 h 110045"/>
                </a:gdLst>
                <a:ahLst/>
                <a:cxnLst>
                  <a:cxn ang="0">
                    <a:pos x="connsiteX0" y="connsiteY0"/>
                  </a:cxn>
                  <a:cxn ang="0">
                    <a:pos x="connsiteX1" y="connsiteY1"/>
                  </a:cxn>
                  <a:cxn ang="0">
                    <a:pos x="connsiteX2" y="connsiteY2"/>
                  </a:cxn>
                  <a:cxn ang="0">
                    <a:pos x="connsiteX3" y="connsiteY3"/>
                  </a:cxn>
                </a:cxnLst>
                <a:rect l="l" t="t" r="r" b="b"/>
                <a:pathLst>
                  <a:path w="22547" h="110045">
                    <a:moveTo>
                      <a:pt x="2990" y="0"/>
                    </a:moveTo>
                    <a:lnTo>
                      <a:pt x="22547" y="109507"/>
                    </a:lnTo>
                    <a:lnTo>
                      <a:pt x="19557" y="110045"/>
                    </a:lnTo>
                    <a:lnTo>
                      <a:pt x="0" y="478"/>
                    </a:lnTo>
                    <a:close/>
                  </a:path>
                </a:pathLst>
              </a:custGeom>
              <a:grpFill/>
              <a:ln w="5978" cap="flat">
                <a:noFill/>
                <a:prstDash val="solid"/>
                <a:miter/>
              </a:ln>
            </p:spPr>
            <p:txBody>
              <a:bodyPr rtlCol="0" anchor="ctr"/>
              <a:lstStyle/>
              <a:p>
                <a:endParaRPr lang="en-GB"/>
              </a:p>
            </p:txBody>
          </p:sp>
          <p:sp>
            <p:nvSpPr>
              <p:cNvPr id="3586" name="Vrije vorm: vorm 3585">
                <a:extLst>
                  <a:ext uri="{FF2B5EF4-FFF2-40B4-BE49-F238E27FC236}">
                    <a16:creationId xmlns:a16="http://schemas.microsoft.com/office/drawing/2014/main" id="{C694F73D-916F-4394-9769-030B194515CB}"/>
                  </a:ext>
                </a:extLst>
              </p:cNvPr>
              <p:cNvSpPr/>
              <p:nvPr/>
            </p:nvSpPr>
            <p:spPr>
              <a:xfrm>
                <a:off x="5648485" y="1182822"/>
                <a:ext cx="18356" cy="18412"/>
              </a:xfrm>
              <a:custGeom>
                <a:avLst/>
                <a:gdLst>
                  <a:gd name="connsiteX0" fmla="*/ 18209 w 18356"/>
                  <a:gd name="connsiteY0" fmla="*/ 7621 h 18412"/>
                  <a:gd name="connsiteX1" fmla="*/ 10793 w 18356"/>
                  <a:gd name="connsiteY1" fmla="*/ 18267 h 18412"/>
                  <a:gd name="connsiteX2" fmla="*/ 147 w 18356"/>
                  <a:gd name="connsiteY2" fmla="*/ 10791 h 18412"/>
                  <a:gd name="connsiteX3" fmla="*/ 7563 w 18356"/>
                  <a:gd name="connsiteY3" fmla="*/ 145 h 18412"/>
                  <a:gd name="connsiteX4" fmla="*/ 18209 w 18356"/>
                  <a:gd name="connsiteY4" fmla="*/ 762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2">
                    <a:moveTo>
                      <a:pt x="18209" y="7621"/>
                    </a:moveTo>
                    <a:cubicBezTo>
                      <a:pt x="19106" y="12645"/>
                      <a:pt x="15817" y="17430"/>
                      <a:pt x="10793" y="18267"/>
                    </a:cubicBezTo>
                    <a:cubicBezTo>
                      <a:pt x="5829" y="19164"/>
                      <a:pt x="1044" y="15815"/>
                      <a:pt x="147" y="10791"/>
                    </a:cubicBezTo>
                    <a:cubicBezTo>
                      <a:pt x="-750" y="5767"/>
                      <a:pt x="2539" y="983"/>
                      <a:pt x="7563" y="145"/>
                    </a:cubicBezTo>
                    <a:cubicBezTo>
                      <a:pt x="12528" y="-752"/>
                      <a:pt x="17312" y="2597"/>
                      <a:pt x="18209" y="7621"/>
                    </a:cubicBezTo>
                    <a:close/>
                  </a:path>
                </a:pathLst>
              </a:custGeom>
              <a:grpFill/>
              <a:ln w="5978" cap="flat">
                <a:noFill/>
                <a:prstDash val="solid"/>
                <a:miter/>
              </a:ln>
            </p:spPr>
            <p:txBody>
              <a:bodyPr rtlCol="0" anchor="ctr"/>
              <a:lstStyle/>
              <a:p>
                <a:endParaRPr lang="en-GB"/>
              </a:p>
            </p:txBody>
          </p:sp>
          <p:sp>
            <p:nvSpPr>
              <p:cNvPr id="3587" name="Vrije vorm: vorm 3586">
                <a:extLst>
                  <a:ext uri="{FF2B5EF4-FFF2-40B4-BE49-F238E27FC236}">
                    <a16:creationId xmlns:a16="http://schemas.microsoft.com/office/drawing/2014/main" id="{90183F04-CA08-4A5C-915C-9BF141F831C6}"/>
                  </a:ext>
                </a:extLst>
              </p:cNvPr>
              <p:cNvSpPr/>
              <p:nvPr/>
            </p:nvSpPr>
            <p:spPr>
              <a:xfrm>
                <a:off x="5629049" y="1074152"/>
                <a:ext cx="18354" cy="18412"/>
              </a:xfrm>
              <a:custGeom>
                <a:avLst/>
                <a:gdLst>
                  <a:gd name="connsiteX0" fmla="*/ 18207 w 18354"/>
                  <a:gd name="connsiteY0" fmla="*/ 7621 h 18412"/>
                  <a:gd name="connsiteX1" fmla="*/ 7561 w 18354"/>
                  <a:gd name="connsiteY1" fmla="*/ 145 h 18412"/>
                  <a:gd name="connsiteX2" fmla="*/ 145 w 18354"/>
                  <a:gd name="connsiteY2" fmla="*/ 10791 h 18412"/>
                  <a:gd name="connsiteX3" fmla="*/ 10791 w 18354"/>
                  <a:gd name="connsiteY3" fmla="*/ 18267 h 18412"/>
                  <a:gd name="connsiteX4" fmla="*/ 18207 w 18354"/>
                  <a:gd name="connsiteY4" fmla="*/ 762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8207" y="7621"/>
                    </a:moveTo>
                    <a:cubicBezTo>
                      <a:pt x="17310" y="2597"/>
                      <a:pt x="12526" y="-752"/>
                      <a:pt x="7561" y="145"/>
                    </a:cubicBezTo>
                    <a:cubicBezTo>
                      <a:pt x="2597" y="1042"/>
                      <a:pt x="-752" y="5827"/>
                      <a:pt x="145" y="10791"/>
                    </a:cubicBezTo>
                    <a:cubicBezTo>
                      <a:pt x="1042" y="15815"/>
                      <a:pt x="5827" y="19164"/>
                      <a:pt x="10791" y="18267"/>
                    </a:cubicBezTo>
                    <a:cubicBezTo>
                      <a:pt x="15815" y="17430"/>
                      <a:pt x="19104" y="12645"/>
                      <a:pt x="18207" y="7621"/>
                    </a:cubicBezTo>
                    <a:close/>
                  </a:path>
                </a:pathLst>
              </a:custGeom>
              <a:grpFill/>
              <a:ln w="5978" cap="flat">
                <a:noFill/>
                <a:prstDash val="solid"/>
                <a:miter/>
              </a:ln>
            </p:spPr>
            <p:txBody>
              <a:bodyPr rtlCol="0" anchor="ctr"/>
              <a:lstStyle/>
              <a:p>
                <a:endParaRPr lang="en-GB"/>
              </a:p>
            </p:txBody>
          </p:sp>
        </p:grpSp>
        <p:grpSp>
          <p:nvGrpSpPr>
            <p:cNvPr id="602" name="Graphic 3">
              <a:extLst>
                <a:ext uri="{FF2B5EF4-FFF2-40B4-BE49-F238E27FC236}">
                  <a16:creationId xmlns:a16="http://schemas.microsoft.com/office/drawing/2014/main" id="{25F9CB89-D127-45E9-AFEB-89BA8D38F430}"/>
                </a:ext>
              </a:extLst>
            </p:cNvPr>
            <p:cNvGrpSpPr/>
            <p:nvPr/>
          </p:nvGrpSpPr>
          <p:grpSpPr>
            <a:xfrm>
              <a:off x="5696186" y="1215990"/>
              <a:ext cx="75700" cy="377798"/>
              <a:chOff x="5696186" y="1215990"/>
              <a:chExt cx="75700" cy="377798"/>
            </a:xfrm>
            <a:grpFill/>
          </p:grpSpPr>
          <p:sp>
            <p:nvSpPr>
              <p:cNvPr id="3582" name="Vrije vorm: vorm 3581">
                <a:extLst>
                  <a:ext uri="{FF2B5EF4-FFF2-40B4-BE49-F238E27FC236}">
                    <a16:creationId xmlns:a16="http://schemas.microsoft.com/office/drawing/2014/main" id="{7A29960D-83CA-4CCC-92A2-2A408952D191}"/>
                  </a:ext>
                </a:extLst>
              </p:cNvPr>
              <p:cNvSpPr/>
              <p:nvPr/>
            </p:nvSpPr>
            <p:spPr>
              <a:xfrm>
                <a:off x="5703774" y="1224533"/>
                <a:ext cx="60524" cy="360697"/>
              </a:xfrm>
              <a:custGeom>
                <a:avLst/>
                <a:gdLst>
                  <a:gd name="connsiteX0" fmla="*/ 3050 w 60524"/>
                  <a:gd name="connsiteY0" fmla="*/ 0 h 360697"/>
                  <a:gd name="connsiteX1" fmla="*/ 60525 w 60524"/>
                  <a:gd name="connsiteY1" fmla="*/ 360219 h 360697"/>
                  <a:gd name="connsiteX2" fmla="*/ 57475 w 60524"/>
                  <a:gd name="connsiteY2" fmla="*/ 360697 h 360697"/>
                  <a:gd name="connsiteX3" fmla="*/ 0 w 60524"/>
                  <a:gd name="connsiteY3" fmla="*/ 478 h 360697"/>
                </a:gdLst>
                <a:ahLst/>
                <a:cxnLst>
                  <a:cxn ang="0">
                    <a:pos x="connsiteX0" y="connsiteY0"/>
                  </a:cxn>
                  <a:cxn ang="0">
                    <a:pos x="connsiteX1" y="connsiteY1"/>
                  </a:cxn>
                  <a:cxn ang="0">
                    <a:pos x="connsiteX2" y="connsiteY2"/>
                  </a:cxn>
                  <a:cxn ang="0">
                    <a:pos x="connsiteX3" y="connsiteY3"/>
                  </a:cxn>
                </a:cxnLst>
                <a:rect l="l" t="t" r="r" b="b"/>
                <a:pathLst>
                  <a:path w="60524" h="360697">
                    <a:moveTo>
                      <a:pt x="3050" y="0"/>
                    </a:moveTo>
                    <a:lnTo>
                      <a:pt x="60525" y="360219"/>
                    </a:lnTo>
                    <a:lnTo>
                      <a:pt x="57475" y="360697"/>
                    </a:lnTo>
                    <a:lnTo>
                      <a:pt x="0" y="478"/>
                    </a:lnTo>
                    <a:close/>
                  </a:path>
                </a:pathLst>
              </a:custGeom>
              <a:grpFill/>
              <a:ln w="5978" cap="flat">
                <a:noFill/>
                <a:prstDash val="solid"/>
                <a:miter/>
              </a:ln>
            </p:spPr>
            <p:txBody>
              <a:bodyPr rtlCol="0" anchor="ctr"/>
              <a:lstStyle/>
              <a:p>
                <a:endParaRPr lang="en-GB"/>
              </a:p>
            </p:txBody>
          </p:sp>
          <p:sp>
            <p:nvSpPr>
              <p:cNvPr id="3583" name="Vrije vorm: vorm 3582">
                <a:extLst>
                  <a:ext uri="{FF2B5EF4-FFF2-40B4-BE49-F238E27FC236}">
                    <a16:creationId xmlns:a16="http://schemas.microsoft.com/office/drawing/2014/main" id="{7BA70F70-516F-4854-9F10-1987872457E9}"/>
                  </a:ext>
                </a:extLst>
              </p:cNvPr>
              <p:cNvSpPr/>
              <p:nvPr/>
            </p:nvSpPr>
            <p:spPr>
              <a:xfrm>
                <a:off x="5696186" y="1215990"/>
                <a:ext cx="18345" cy="18416"/>
              </a:xfrm>
              <a:custGeom>
                <a:avLst/>
                <a:gdLst>
                  <a:gd name="connsiteX0" fmla="*/ 112 w 18345"/>
                  <a:gd name="connsiteY0" fmla="*/ 10636 h 18416"/>
                  <a:gd name="connsiteX1" fmla="*/ 7708 w 18345"/>
                  <a:gd name="connsiteY1" fmla="*/ 110 h 18416"/>
                  <a:gd name="connsiteX2" fmla="*/ 18234 w 18345"/>
                  <a:gd name="connsiteY2" fmla="*/ 7766 h 18416"/>
                  <a:gd name="connsiteX3" fmla="*/ 10638 w 18345"/>
                  <a:gd name="connsiteY3" fmla="*/ 18292 h 18416"/>
                  <a:gd name="connsiteX4" fmla="*/ 112 w 18345"/>
                  <a:gd name="connsiteY4" fmla="*/ 10636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16">
                    <a:moveTo>
                      <a:pt x="112" y="10636"/>
                    </a:moveTo>
                    <a:cubicBezTo>
                      <a:pt x="-666" y="5613"/>
                      <a:pt x="2684" y="888"/>
                      <a:pt x="7708" y="110"/>
                    </a:cubicBezTo>
                    <a:cubicBezTo>
                      <a:pt x="12731" y="-667"/>
                      <a:pt x="17396" y="2742"/>
                      <a:pt x="18234" y="7766"/>
                    </a:cubicBezTo>
                    <a:cubicBezTo>
                      <a:pt x="19011" y="12790"/>
                      <a:pt x="15662" y="17514"/>
                      <a:pt x="10638" y="18292"/>
                    </a:cubicBezTo>
                    <a:cubicBezTo>
                      <a:pt x="5614" y="19129"/>
                      <a:pt x="949" y="15660"/>
                      <a:pt x="112" y="10636"/>
                    </a:cubicBezTo>
                    <a:close/>
                  </a:path>
                </a:pathLst>
              </a:custGeom>
              <a:grpFill/>
              <a:ln w="5978" cap="flat">
                <a:noFill/>
                <a:prstDash val="solid"/>
                <a:miter/>
              </a:ln>
            </p:spPr>
            <p:txBody>
              <a:bodyPr rtlCol="0" anchor="ctr"/>
              <a:lstStyle/>
              <a:p>
                <a:endParaRPr lang="en-GB"/>
              </a:p>
            </p:txBody>
          </p:sp>
          <p:sp>
            <p:nvSpPr>
              <p:cNvPr id="3584" name="Vrije vorm: vorm 3583">
                <a:extLst>
                  <a:ext uri="{FF2B5EF4-FFF2-40B4-BE49-F238E27FC236}">
                    <a16:creationId xmlns:a16="http://schemas.microsoft.com/office/drawing/2014/main" id="{7989D0EE-C566-4E6E-B1F3-C3956B3FCDCD}"/>
                  </a:ext>
                </a:extLst>
              </p:cNvPr>
              <p:cNvSpPr/>
              <p:nvPr/>
            </p:nvSpPr>
            <p:spPr>
              <a:xfrm>
                <a:off x="5753543" y="1575357"/>
                <a:ext cx="18343" cy="18430"/>
              </a:xfrm>
              <a:custGeom>
                <a:avLst/>
                <a:gdLst>
                  <a:gd name="connsiteX0" fmla="*/ 111 w 18343"/>
                  <a:gd name="connsiteY0" fmla="*/ 10651 h 18430"/>
                  <a:gd name="connsiteX1" fmla="*/ 10637 w 18343"/>
                  <a:gd name="connsiteY1" fmla="*/ 18306 h 18430"/>
                  <a:gd name="connsiteX2" fmla="*/ 18232 w 18343"/>
                  <a:gd name="connsiteY2" fmla="*/ 7780 h 18430"/>
                  <a:gd name="connsiteX3" fmla="*/ 7706 w 18343"/>
                  <a:gd name="connsiteY3" fmla="*/ 125 h 18430"/>
                  <a:gd name="connsiteX4" fmla="*/ 111 w 18343"/>
                  <a:gd name="connsiteY4" fmla="*/ 1065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30">
                    <a:moveTo>
                      <a:pt x="111" y="10651"/>
                    </a:moveTo>
                    <a:cubicBezTo>
                      <a:pt x="888" y="15675"/>
                      <a:pt x="5613" y="19144"/>
                      <a:pt x="10637" y="18306"/>
                    </a:cubicBezTo>
                    <a:cubicBezTo>
                      <a:pt x="15660" y="17469"/>
                      <a:pt x="19009" y="12804"/>
                      <a:pt x="18232" y="7780"/>
                    </a:cubicBezTo>
                    <a:cubicBezTo>
                      <a:pt x="17454" y="2756"/>
                      <a:pt x="12730" y="-713"/>
                      <a:pt x="7706" y="125"/>
                    </a:cubicBezTo>
                    <a:cubicBezTo>
                      <a:pt x="2742" y="902"/>
                      <a:pt x="-667" y="5627"/>
                      <a:pt x="111" y="10651"/>
                    </a:cubicBezTo>
                    <a:close/>
                  </a:path>
                </a:pathLst>
              </a:custGeom>
              <a:grpFill/>
              <a:ln w="5978" cap="flat">
                <a:noFill/>
                <a:prstDash val="solid"/>
                <a:miter/>
              </a:ln>
            </p:spPr>
            <p:txBody>
              <a:bodyPr rtlCol="0" anchor="ctr"/>
              <a:lstStyle/>
              <a:p>
                <a:endParaRPr lang="en-GB"/>
              </a:p>
            </p:txBody>
          </p:sp>
        </p:grpSp>
        <p:grpSp>
          <p:nvGrpSpPr>
            <p:cNvPr id="603" name="Graphic 3">
              <a:extLst>
                <a:ext uri="{FF2B5EF4-FFF2-40B4-BE49-F238E27FC236}">
                  <a16:creationId xmlns:a16="http://schemas.microsoft.com/office/drawing/2014/main" id="{5FF6FE7E-6C49-4044-8C7A-55944CC2E345}"/>
                </a:ext>
              </a:extLst>
            </p:cNvPr>
            <p:cNvGrpSpPr/>
            <p:nvPr/>
          </p:nvGrpSpPr>
          <p:grpSpPr>
            <a:xfrm>
              <a:off x="5760336" y="1382473"/>
              <a:ext cx="38727" cy="375914"/>
              <a:chOff x="5760336" y="1382473"/>
              <a:chExt cx="38727" cy="375914"/>
            </a:xfrm>
            <a:grpFill/>
          </p:grpSpPr>
          <p:sp>
            <p:nvSpPr>
              <p:cNvPr id="3579" name="Vrije vorm: vorm 3578">
                <a:extLst>
                  <a:ext uri="{FF2B5EF4-FFF2-40B4-BE49-F238E27FC236}">
                    <a16:creationId xmlns:a16="http://schemas.microsoft.com/office/drawing/2014/main" id="{3284FFDC-7993-4534-8AE2-A706AC4B31BB}"/>
                  </a:ext>
                </a:extLst>
              </p:cNvPr>
              <p:cNvSpPr/>
              <p:nvPr/>
            </p:nvSpPr>
            <p:spPr>
              <a:xfrm>
                <a:off x="5768007" y="1391156"/>
                <a:ext cx="23444" cy="358544"/>
              </a:xfrm>
              <a:custGeom>
                <a:avLst/>
                <a:gdLst>
                  <a:gd name="connsiteX0" fmla="*/ 2990 w 23444"/>
                  <a:gd name="connsiteY0" fmla="*/ 0 h 358544"/>
                  <a:gd name="connsiteX1" fmla="*/ 23445 w 23444"/>
                  <a:gd name="connsiteY1" fmla="*/ 358365 h 358544"/>
                  <a:gd name="connsiteX2" fmla="*/ 20394 w 23444"/>
                  <a:gd name="connsiteY2" fmla="*/ 358544 h 358544"/>
                  <a:gd name="connsiteX3" fmla="*/ 0 w 23444"/>
                  <a:gd name="connsiteY3" fmla="*/ 179 h 358544"/>
                </a:gdLst>
                <a:ahLst/>
                <a:cxnLst>
                  <a:cxn ang="0">
                    <a:pos x="connsiteX0" y="connsiteY0"/>
                  </a:cxn>
                  <a:cxn ang="0">
                    <a:pos x="connsiteX1" y="connsiteY1"/>
                  </a:cxn>
                  <a:cxn ang="0">
                    <a:pos x="connsiteX2" y="connsiteY2"/>
                  </a:cxn>
                  <a:cxn ang="0">
                    <a:pos x="connsiteX3" y="connsiteY3"/>
                  </a:cxn>
                </a:cxnLst>
                <a:rect l="l" t="t" r="r" b="b"/>
                <a:pathLst>
                  <a:path w="23444" h="358544">
                    <a:moveTo>
                      <a:pt x="2990" y="0"/>
                    </a:moveTo>
                    <a:lnTo>
                      <a:pt x="23445" y="358365"/>
                    </a:lnTo>
                    <a:lnTo>
                      <a:pt x="20394" y="358544"/>
                    </a:lnTo>
                    <a:lnTo>
                      <a:pt x="0" y="179"/>
                    </a:lnTo>
                    <a:close/>
                  </a:path>
                </a:pathLst>
              </a:custGeom>
              <a:grpFill/>
              <a:ln w="5978" cap="flat">
                <a:noFill/>
                <a:prstDash val="solid"/>
                <a:miter/>
              </a:ln>
            </p:spPr>
            <p:txBody>
              <a:bodyPr rtlCol="0" anchor="ctr"/>
              <a:lstStyle/>
              <a:p>
                <a:endParaRPr lang="en-GB"/>
              </a:p>
            </p:txBody>
          </p:sp>
          <p:sp>
            <p:nvSpPr>
              <p:cNvPr id="3580" name="Vrije vorm: vorm 3579">
                <a:extLst>
                  <a:ext uri="{FF2B5EF4-FFF2-40B4-BE49-F238E27FC236}">
                    <a16:creationId xmlns:a16="http://schemas.microsoft.com/office/drawing/2014/main" id="{8180070D-E112-414A-9D56-37B38E383A2C}"/>
                  </a:ext>
                </a:extLst>
              </p:cNvPr>
              <p:cNvSpPr/>
              <p:nvPr/>
            </p:nvSpPr>
            <p:spPr>
              <a:xfrm>
                <a:off x="5780730" y="1739936"/>
                <a:ext cx="18333" cy="18452"/>
              </a:xfrm>
              <a:custGeom>
                <a:avLst/>
                <a:gdLst>
                  <a:gd name="connsiteX0" fmla="*/ 18317 w 18333"/>
                  <a:gd name="connsiteY0" fmla="*/ 8748 h 18452"/>
                  <a:gd name="connsiteX1" fmla="*/ 9705 w 18333"/>
                  <a:gd name="connsiteY1" fmla="*/ 18437 h 18452"/>
                  <a:gd name="connsiteX2" fmla="*/ 16 w 18333"/>
                  <a:gd name="connsiteY2" fmla="*/ 9705 h 18452"/>
                  <a:gd name="connsiteX3" fmla="*/ 8628 w 18333"/>
                  <a:gd name="connsiteY3" fmla="*/ 16 h 18452"/>
                  <a:gd name="connsiteX4" fmla="*/ 18317 w 18333"/>
                  <a:gd name="connsiteY4" fmla="*/ 874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317" y="8748"/>
                    </a:moveTo>
                    <a:cubicBezTo>
                      <a:pt x="18616" y="13831"/>
                      <a:pt x="14729" y="18138"/>
                      <a:pt x="9705" y="18437"/>
                    </a:cubicBezTo>
                    <a:cubicBezTo>
                      <a:pt x="4681" y="18736"/>
                      <a:pt x="315" y="14788"/>
                      <a:pt x="16" y="9705"/>
                    </a:cubicBezTo>
                    <a:cubicBezTo>
                      <a:pt x="-283" y="4621"/>
                      <a:pt x="3605" y="315"/>
                      <a:pt x="8628" y="16"/>
                    </a:cubicBezTo>
                    <a:cubicBezTo>
                      <a:pt x="13712" y="-283"/>
                      <a:pt x="18018" y="3664"/>
                      <a:pt x="18317" y="8748"/>
                    </a:cubicBezTo>
                    <a:close/>
                  </a:path>
                </a:pathLst>
              </a:custGeom>
              <a:grpFill/>
              <a:ln w="5978" cap="flat">
                <a:noFill/>
                <a:prstDash val="solid"/>
                <a:miter/>
              </a:ln>
            </p:spPr>
            <p:txBody>
              <a:bodyPr rtlCol="0" anchor="ctr"/>
              <a:lstStyle/>
              <a:p>
                <a:endParaRPr lang="en-GB"/>
              </a:p>
            </p:txBody>
          </p:sp>
          <p:sp>
            <p:nvSpPr>
              <p:cNvPr id="3581" name="Vrije vorm: vorm 3580">
                <a:extLst>
                  <a:ext uri="{FF2B5EF4-FFF2-40B4-BE49-F238E27FC236}">
                    <a16:creationId xmlns:a16="http://schemas.microsoft.com/office/drawing/2014/main" id="{B7E9C045-E441-49AE-AD3B-C3727AB50CE0}"/>
                  </a:ext>
                </a:extLst>
              </p:cNvPr>
              <p:cNvSpPr/>
              <p:nvPr/>
            </p:nvSpPr>
            <p:spPr>
              <a:xfrm>
                <a:off x="5760336" y="1382473"/>
                <a:ext cx="18333" cy="18441"/>
              </a:xfrm>
              <a:custGeom>
                <a:avLst/>
                <a:gdLst>
                  <a:gd name="connsiteX0" fmla="*/ 18317 w 18333"/>
                  <a:gd name="connsiteY0" fmla="*/ 8742 h 18441"/>
                  <a:gd name="connsiteX1" fmla="*/ 8628 w 18333"/>
                  <a:gd name="connsiteY1" fmla="*/ 10 h 18441"/>
                  <a:gd name="connsiteX2" fmla="*/ 16 w 18333"/>
                  <a:gd name="connsiteY2" fmla="*/ 9699 h 18441"/>
                  <a:gd name="connsiteX3" fmla="*/ 9705 w 18333"/>
                  <a:gd name="connsiteY3" fmla="*/ 18431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018" y="3659"/>
                      <a:pt x="13712" y="-229"/>
                      <a:pt x="8628" y="10"/>
                    </a:cubicBezTo>
                    <a:cubicBezTo>
                      <a:pt x="3604" y="309"/>
                      <a:pt x="-283" y="4616"/>
                      <a:pt x="16" y="9699"/>
                    </a:cubicBezTo>
                    <a:cubicBezTo>
                      <a:pt x="315" y="14783"/>
                      <a:pt x="4621" y="18670"/>
                      <a:pt x="9705" y="18431"/>
                    </a:cubicBezTo>
                    <a:cubicBezTo>
                      <a:pt x="14788" y="18132"/>
                      <a:pt x="18616" y="13826"/>
                      <a:pt x="18317" y="8742"/>
                    </a:cubicBezTo>
                    <a:close/>
                  </a:path>
                </a:pathLst>
              </a:custGeom>
              <a:grpFill/>
              <a:ln w="5978" cap="flat">
                <a:noFill/>
                <a:prstDash val="solid"/>
                <a:miter/>
              </a:ln>
            </p:spPr>
            <p:txBody>
              <a:bodyPr rtlCol="0" anchor="ctr"/>
              <a:lstStyle/>
              <a:p>
                <a:endParaRPr lang="en-GB"/>
              </a:p>
            </p:txBody>
          </p:sp>
        </p:grpSp>
        <p:grpSp>
          <p:nvGrpSpPr>
            <p:cNvPr id="604" name="Graphic 3">
              <a:extLst>
                <a:ext uri="{FF2B5EF4-FFF2-40B4-BE49-F238E27FC236}">
                  <a16:creationId xmlns:a16="http://schemas.microsoft.com/office/drawing/2014/main" id="{99349340-442B-4495-9895-7FAAE27D6786}"/>
                </a:ext>
              </a:extLst>
            </p:cNvPr>
            <p:cNvGrpSpPr/>
            <p:nvPr/>
          </p:nvGrpSpPr>
          <p:grpSpPr>
            <a:xfrm>
              <a:off x="6884509" y="4876802"/>
              <a:ext cx="101280" cy="230002"/>
              <a:chOff x="6884509" y="4876802"/>
              <a:chExt cx="101280" cy="230002"/>
            </a:xfrm>
            <a:grpFill/>
          </p:grpSpPr>
          <p:sp>
            <p:nvSpPr>
              <p:cNvPr id="3576" name="Vrije vorm: vorm 3575">
                <a:extLst>
                  <a:ext uri="{FF2B5EF4-FFF2-40B4-BE49-F238E27FC236}">
                    <a16:creationId xmlns:a16="http://schemas.microsoft.com/office/drawing/2014/main" id="{BA0A8042-F8EF-4DE3-AFFF-255A9022628C}"/>
                  </a:ext>
                </a:extLst>
              </p:cNvPr>
              <p:cNvSpPr/>
              <p:nvPr/>
            </p:nvSpPr>
            <p:spPr>
              <a:xfrm>
                <a:off x="6892121" y="4884962"/>
                <a:ext cx="86166" cy="213456"/>
              </a:xfrm>
              <a:custGeom>
                <a:avLst/>
                <a:gdLst>
                  <a:gd name="connsiteX0" fmla="*/ 0 w 86166"/>
                  <a:gd name="connsiteY0" fmla="*/ 1114 h 213456"/>
                  <a:gd name="connsiteX1" fmla="*/ 2839 w 86166"/>
                  <a:gd name="connsiteY1" fmla="*/ 0 h 213456"/>
                  <a:gd name="connsiteX2" fmla="*/ 86166 w 86166"/>
                  <a:gd name="connsiteY2" fmla="*/ 212343 h 213456"/>
                  <a:gd name="connsiteX3" fmla="*/ 83327 w 86166"/>
                  <a:gd name="connsiteY3" fmla="*/ 213457 h 213456"/>
                </a:gdLst>
                <a:ahLst/>
                <a:cxnLst>
                  <a:cxn ang="0">
                    <a:pos x="connsiteX0" y="connsiteY0"/>
                  </a:cxn>
                  <a:cxn ang="0">
                    <a:pos x="connsiteX1" y="connsiteY1"/>
                  </a:cxn>
                  <a:cxn ang="0">
                    <a:pos x="connsiteX2" y="connsiteY2"/>
                  </a:cxn>
                  <a:cxn ang="0">
                    <a:pos x="connsiteX3" y="connsiteY3"/>
                  </a:cxn>
                </a:cxnLst>
                <a:rect l="l" t="t" r="r" b="b"/>
                <a:pathLst>
                  <a:path w="86166" h="213456">
                    <a:moveTo>
                      <a:pt x="0" y="1114"/>
                    </a:moveTo>
                    <a:lnTo>
                      <a:pt x="2839" y="0"/>
                    </a:lnTo>
                    <a:lnTo>
                      <a:pt x="86166" y="212343"/>
                    </a:lnTo>
                    <a:lnTo>
                      <a:pt x="83327" y="213457"/>
                    </a:lnTo>
                    <a:close/>
                  </a:path>
                </a:pathLst>
              </a:custGeom>
              <a:grpFill/>
              <a:ln w="5978" cap="flat">
                <a:noFill/>
                <a:prstDash val="solid"/>
                <a:miter/>
              </a:ln>
            </p:spPr>
            <p:txBody>
              <a:bodyPr rtlCol="0" anchor="ctr"/>
              <a:lstStyle/>
              <a:p>
                <a:endParaRPr lang="en-GB"/>
              </a:p>
            </p:txBody>
          </p:sp>
          <p:sp>
            <p:nvSpPr>
              <p:cNvPr id="3577" name="Vrije vorm: vorm 3576">
                <a:extLst>
                  <a:ext uri="{FF2B5EF4-FFF2-40B4-BE49-F238E27FC236}">
                    <a16:creationId xmlns:a16="http://schemas.microsoft.com/office/drawing/2014/main" id="{B2A771A6-2F35-4764-AAD9-B05560363AA4}"/>
                  </a:ext>
                </a:extLst>
              </p:cNvPr>
              <p:cNvSpPr/>
              <p:nvPr/>
            </p:nvSpPr>
            <p:spPr>
              <a:xfrm>
                <a:off x="6884509" y="4876802"/>
                <a:ext cx="18320" cy="18437"/>
              </a:xfrm>
              <a:custGeom>
                <a:avLst/>
                <a:gdLst>
                  <a:gd name="connsiteX0" fmla="*/ 638 w 18320"/>
                  <a:gd name="connsiteY0" fmla="*/ 12597 h 18437"/>
                  <a:gd name="connsiteX1" fmla="*/ 5781 w 18320"/>
                  <a:gd name="connsiteY1" fmla="*/ 636 h 18437"/>
                  <a:gd name="connsiteX2" fmla="*/ 17683 w 18320"/>
                  <a:gd name="connsiteY2" fmla="*/ 5899 h 18437"/>
                  <a:gd name="connsiteX3" fmla="*/ 12539 w 18320"/>
                  <a:gd name="connsiteY3" fmla="*/ 17801 h 18437"/>
                  <a:gd name="connsiteX4" fmla="*/ 638 w 18320"/>
                  <a:gd name="connsiteY4" fmla="*/ 12597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7">
                    <a:moveTo>
                      <a:pt x="638" y="12597"/>
                    </a:moveTo>
                    <a:cubicBezTo>
                      <a:pt x="-1217" y="7873"/>
                      <a:pt x="1116" y="2490"/>
                      <a:pt x="5781" y="636"/>
                    </a:cubicBezTo>
                    <a:cubicBezTo>
                      <a:pt x="10506" y="-1218"/>
                      <a:pt x="15829" y="1115"/>
                      <a:pt x="17683" y="5899"/>
                    </a:cubicBezTo>
                    <a:cubicBezTo>
                      <a:pt x="19537" y="10624"/>
                      <a:pt x="17204" y="16007"/>
                      <a:pt x="12539" y="17801"/>
                    </a:cubicBezTo>
                    <a:cubicBezTo>
                      <a:pt x="7814" y="19655"/>
                      <a:pt x="2491" y="17322"/>
                      <a:pt x="638" y="12597"/>
                    </a:cubicBezTo>
                    <a:close/>
                  </a:path>
                </a:pathLst>
              </a:custGeom>
              <a:grpFill/>
              <a:ln w="5978" cap="flat">
                <a:noFill/>
                <a:prstDash val="solid"/>
                <a:miter/>
              </a:ln>
            </p:spPr>
            <p:txBody>
              <a:bodyPr rtlCol="0" anchor="ctr"/>
              <a:lstStyle/>
              <a:p>
                <a:endParaRPr lang="en-GB"/>
              </a:p>
            </p:txBody>
          </p:sp>
          <p:sp>
            <p:nvSpPr>
              <p:cNvPr id="3578" name="Vrije vorm: vorm 3577">
                <a:extLst>
                  <a:ext uri="{FF2B5EF4-FFF2-40B4-BE49-F238E27FC236}">
                    <a16:creationId xmlns:a16="http://schemas.microsoft.com/office/drawing/2014/main" id="{BE501748-D06F-47C7-BFD7-ED620C8AC8CD}"/>
                  </a:ext>
                </a:extLst>
              </p:cNvPr>
              <p:cNvSpPr/>
              <p:nvPr/>
            </p:nvSpPr>
            <p:spPr>
              <a:xfrm>
                <a:off x="6967454" y="5088399"/>
                <a:ext cx="18335" cy="18405"/>
              </a:xfrm>
              <a:custGeom>
                <a:avLst/>
                <a:gdLst>
                  <a:gd name="connsiteX0" fmla="*/ 645 w 18335"/>
                  <a:gd name="connsiteY0" fmla="*/ 12538 h 18405"/>
                  <a:gd name="connsiteX1" fmla="*/ 12547 w 18335"/>
                  <a:gd name="connsiteY1" fmla="*/ 17801 h 18405"/>
                  <a:gd name="connsiteX2" fmla="*/ 17690 w 18335"/>
                  <a:gd name="connsiteY2" fmla="*/ 5840 h 18405"/>
                  <a:gd name="connsiteX3" fmla="*/ 5789 w 18335"/>
                  <a:gd name="connsiteY3" fmla="*/ 637 h 18405"/>
                  <a:gd name="connsiteX4" fmla="*/ 645 w 18335"/>
                  <a:gd name="connsiteY4" fmla="*/ 12538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05">
                    <a:moveTo>
                      <a:pt x="645" y="12538"/>
                    </a:moveTo>
                    <a:cubicBezTo>
                      <a:pt x="2499" y="17263"/>
                      <a:pt x="7822" y="19596"/>
                      <a:pt x="12547" y="17801"/>
                    </a:cubicBezTo>
                    <a:cubicBezTo>
                      <a:pt x="17272" y="15947"/>
                      <a:pt x="19545" y="10624"/>
                      <a:pt x="17690" y="5840"/>
                    </a:cubicBezTo>
                    <a:cubicBezTo>
                      <a:pt x="15837" y="1115"/>
                      <a:pt x="10514" y="-1217"/>
                      <a:pt x="5789" y="637"/>
                    </a:cubicBezTo>
                    <a:cubicBezTo>
                      <a:pt x="1064" y="2431"/>
                      <a:pt x="-1209" y="7814"/>
                      <a:pt x="645" y="12538"/>
                    </a:cubicBezTo>
                    <a:close/>
                  </a:path>
                </a:pathLst>
              </a:custGeom>
              <a:grpFill/>
              <a:ln w="5978" cap="flat">
                <a:noFill/>
                <a:prstDash val="solid"/>
                <a:miter/>
              </a:ln>
            </p:spPr>
            <p:txBody>
              <a:bodyPr rtlCol="0" anchor="ctr"/>
              <a:lstStyle/>
              <a:p>
                <a:endParaRPr lang="en-GB"/>
              </a:p>
            </p:txBody>
          </p:sp>
        </p:grpSp>
        <p:grpSp>
          <p:nvGrpSpPr>
            <p:cNvPr id="605" name="Graphic 3">
              <a:extLst>
                <a:ext uri="{FF2B5EF4-FFF2-40B4-BE49-F238E27FC236}">
                  <a16:creationId xmlns:a16="http://schemas.microsoft.com/office/drawing/2014/main" id="{14F5E1AF-FD9F-4452-8DBF-D766AB741A0C}"/>
                </a:ext>
              </a:extLst>
            </p:cNvPr>
            <p:cNvGrpSpPr/>
            <p:nvPr/>
          </p:nvGrpSpPr>
          <p:grpSpPr>
            <a:xfrm>
              <a:off x="6944585" y="5049077"/>
              <a:ext cx="40149" cy="58195"/>
              <a:chOff x="6944585" y="5049077"/>
              <a:chExt cx="40149" cy="58195"/>
            </a:xfrm>
            <a:grpFill/>
          </p:grpSpPr>
          <p:sp>
            <p:nvSpPr>
              <p:cNvPr id="3573" name="Vrije vorm: vorm 3572">
                <a:extLst>
                  <a:ext uri="{FF2B5EF4-FFF2-40B4-BE49-F238E27FC236}">
                    <a16:creationId xmlns:a16="http://schemas.microsoft.com/office/drawing/2014/main" id="{BA14CACC-1618-4353-AEA1-F561BA051D1C}"/>
                  </a:ext>
                </a:extLst>
              </p:cNvPr>
              <p:cNvSpPr/>
              <p:nvPr/>
            </p:nvSpPr>
            <p:spPr>
              <a:xfrm>
                <a:off x="6952190" y="5057159"/>
                <a:ext cx="24880" cy="42044"/>
              </a:xfrm>
              <a:custGeom>
                <a:avLst/>
                <a:gdLst>
                  <a:gd name="connsiteX0" fmla="*/ 24880 w 24880"/>
                  <a:gd name="connsiteY0" fmla="*/ 40609 h 42044"/>
                  <a:gd name="connsiteX1" fmla="*/ 22248 w 24880"/>
                  <a:gd name="connsiteY1" fmla="*/ 42045 h 42044"/>
                  <a:gd name="connsiteX2" fmla="*/ 0 w 24880"/>
                  <a:gd name="connsiteY2" fmla="*/ 1495 h 42044"/>
                  <a:gd name="connsiteX3" fmla="*/ 2692 w 24880"/>
                  <a:gd name="connsiteY3" fmla="*/ 0 h 42044"/>
                </a:gdLst>
                <a:ahLst/>
                <a:cxnLst>
                  <a:cxn ang="0">
                    <a:pos x="connsiteX0" y="connsiteY0"/>
                  </a:cxn>
                  <a:cxn ang="0">
                    <a:pos x="connsiteX1" y="connsiteY1"/>
                  </a:cxn>
                  <a:cxn ang="0">
                    <a:pos x="connsiteX2" y="connsiteY2"/>
                  </a:cxn>
                  <a:cxn ang="0">
                    <a:pos x="connsiteX3" y="connsiteY3"/>
                  </a:cxn>
                </a:cxnLst>
                <a:rect l="l" t="t" r="r" b="b"/>
                <a:pathLst>
                  <a:path w="24880" h="42044">
                    <a:moveTo>
                      <a:pt x="24880" y="40609"/>
                    </a:moveTo>
                    <a:lnTo>
                      <a:pt x="22248" y="42045"/>
                    </a:lnTo>
                    <a:lnTo>
                      <a:pt x="0" y="1495"/>
                    </a:lnTo>
                    <a:lnTo>
                      <a:pt x="2692" y="0"/>
                    </a:lnTo>
                    <a:close/>
                  </a:path>
                </a:pathLst>
              </a:custGeom>
              <a:grpFill/>
              <a:ln w="5978" cap="flat">
                <a:noFill/>
                <a:prstDash val="solid"/>
                <a:miter/>
              </a:ln>
            </p:spPr>
            <p:txBody>
              <a:bodyPr rtlCol="0" anchor="ctr"/>
              <a:lstStyle/>
              <a:p>
                <a:endParaRPr lang="en-GB"/>
              </a:p>
            </p:txBody>
          </p:sp>
          <p:sp>
            <p:nvSpPr>
              <p:cNvPr id="3574" name="Vrije vorm: vorm 3573">
                <a:extLst>
                  <a:ext uri="{FF2B5EF4-FFF2-40B4-BE49-F238E27FC236}">
                    <a16:creationId xmlns:a16="http://schemas.microsoft.com/office/drawing/2014/main" id="{F0A2D3FE-E7F4-4DE8-8B31-5BA7755C4C39}"/>
                  </a:ext>
                </a:extLst>
              </p:cNvPr>
              <p:cNvSpPr/>
              <p:nvPr/>
            </p:nvSpPr>
            <p:spPr>
              <a:xfrm>
                <a:off x="6966415" y="5088861"/>
                <a:ext cx="18319" cy="18411"/>
              </a:xfrm>
              <a:custGeom>
                <a:avLst/>
                <a:gdLst>
                  <a:gd name="connsiteX0" fmla="*/ 17174 w 18319"/>
                  <a:gd name="connsiteY0" fmla="*/ 4780 h 18411"/>
                  <a:gd name="connsiteX1" fmla="*/ 13586 w 18319"/>
                  <a:gd name="connsiteY1" fmla="*/ 17280 h 18411"/>
                  <a:gd name="connsiteX2" fmla="*/ 1146 w 18319"/>
                  <a:gd name="connsiteY2" fmla="*/ 13632 h 18411"/>
                  <a:gd name="connsiteX3" fmla="*/ 4734 w 18319"/>
                  <a:gd name="connsiteY3" fmla="*/ 1132 h 18411"/>
                  <a:gd name="connsiteX4" fmla="*/ 17174 w 18319"/>
                  <a:gd name="connsiteY4" fmla="*/ 478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1">
                    <a:moveTo>
                      <a:pt x="17174" y="4780"/>
                    </a:moveTo>
                    <a:cubicBezTo>
                      <a:pt x="19626" y="9266"/>
                      <a:pt x="18011" y="14828"/>
                      <a:pt x="13586" y="17280"/>
                    </a:cubicBezTo>
                    <a:cubicBezTo>
                      <a:pt x="9160" y="19732"/>
                      <a:pt x="3598" y="18057"/>
                      <a:pt x="1146" y="13632"/>
                    </a:cubicBezTo>
                    <a:cubicBezTo>
                      <a:pt x="-1306" y="9146"/>
                      <a:pt x="309" y="3584"/>
                      <a:pt x="4734" y="1132"/>
                    </a:cubicBezTo>
                    <a:cubicBezTo>
                      <a:pt x="9160" y="-1320"/>
                      <a:pt x="14722" y="354"/>
                      <a:pt x="17174" y="4780"/>
                    </a:cubicBezTo>
                    <a:close/>
                  </a:path>
                </a:pathLst>
              </a:custGeom>
              <a:grpFill/>
              <a:ln w="5978" cap="flat">
                <a:noFill/>
                <a:prstDash val="solid"/>
                <a:miter/>
              </a:ln>
            </p:spPr>
            <p:txBody>
              <a:bodyPr rtlCol="0" anchor="ctr"/>
              <a:lstStyle/>
              <a:p>
                <a:endParaRPr lang="en-GB"/>
              </a:p>
            </p:txBody>
          </p:sp>
          <p:sp>
            <p:nvSpPr>
              <p:cNvPr id="3575" name="Vrije vorm: vorm 3574">
                <a:extLst>
                  <a:ext uri="{FF2B5EF4-FFF2-40B4-BE49-F238E27FC236}">
                    <a16:creationId xmlns:a16="http://schemas.microsoft.com/office/drawing/2014/main" id="{EA583C4A-B35E-48ED-A2EA-0E65BC9AE6C5}"/>
                  </a:ext>
                </a:extLst>
              </p:cNvPr>
              <p:cNvSpPr/>
              <p:nvPr/>
            </p:nvSpPr>
            <p:spPr>
              <a:xfrm>
                <a:off x="6944585" y="5049077"/>
                <a:ext cx="18319" cy="18435"/>
              </a:xfrm>
              <a:custGeom>
                <a:avLst/>
                <a:gdLst>
                  <a:gd name="connsiteX0" fmla="*/ 17174 w 18319"/>
                  <a:gd name="connsiteY0" fmla="*/ 4792 h 18435"/>
                  <a:gd name="connsiteX1" fmla="*/ 4734 w 18319"/>
                  <a:gd name="connsiteY1" fmla="*/ 1144 h 18435"/>
                  <a:gd name="connsiteX2" fmla="*/ 1146 w 18319"/>
                  <a:gd name="connsiteY2" fmla="*/ 13644 h 18435"/>
                  <a:gd name="connsiteX3" fmla="*/ 13586 w 18319"/>
                  <a:gd name="connsiteY3" fmla="*/ 17292 h 18435"/>
                  <a:gd name="connsiteX4" fmla="*/ 17174 w 18319"/>
                  <a:gd name="connsiteY4" fmla="*/ 479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35">
                    <a:moveTo>
                      <a:pt x="17174" y="4792"/>
                    </a:moveTo>
                    <a:cubicBezTo>
                      <a:pt x="14722" y="307"/>
                      <a:pt x="9160" y="-1308"/>
                      <a:pt x="4734" y="1144"/>
                    </a:cubicBezTo>
                    <a:cubicBezTo>
                      <a:pt x="309" y="3596"/>
                      <a:pt x="-1306" y="9158"/>
                      <a:pt x="1146" y="13644"/>
                    </a:cubicBezTo>
                    <a:cubicBezTo>
                      <a:pt x="3598" y="18129"/>
                      <a:pt x="9160" y="19744"/>
                      <a:pt x="13586" y="17292"/>
                    </a:cubicBezTo>
                    <a:cubicBezTo>
                      <a:pt x="18011" y="14840"/>
                      <a:pt x="19626" y="9278"/>
                      <a:pt x="17174" y="4792"/>
                    </a:cubicBezTo>
                    <a:close/>
                  </a:path>
                </a:pathLst>
              </a:custGeom>
              <a:grpFill/>
              <a:ln w="5978" cap="flat">
                <a:noFill/>
                <a:prstDash val="solid"/>
                <a:miter/>
              </a:ln>
            </p:spPr>
            <p:txBody>
              <a:bodyPr rtlCol="0" anchor="ctr"/>
              <a:lstStyle/>
              <a:p>
                <a:endParaRPr lang="en-GB"/>
              </a:p>
            </p:txBody>
          </p:sp>
        </p:grpSp>
        <p:grpSp>
          <p:nvGrpSpPr>
            <p:cNvPr id="606" name="Graphic 3">
              <a:extLst>
                <a:ext uri="{FF2B5EF4-FFF2-40B4-BE49-F238E27FC236}">
                  <a16:creationId xmlns:a16="http://schemas.microsoft.com/office/drawing/2014/main" id="{FC4A1472-B636-4D31-8764-4BBAB8BC914C}"/>
                </a:ext>
              </a:extLst>
            </p:cNvPr>
            <p:cNvGrpSpPr/>
            <p:nvPr/>
          </p:nvGrpSpPr>
          <p:grpSpPr>
            <a:xfrm>
              <a:off x="5787949" y="1573236"/>
              <a:ext cx="42053" cy="187128"/>
              <a:chOff x="5787949" y="1573236"/>
              <a:chExt cx="42053" cy="187128"/>
            </a:xfrm>
            <a:grpFill/>
          </p:grpSpPr>
          <p:sp>
            <p:nvSpPr>
              <p:cNvPr id="3570" name="Vrije vorm: vorm 3569">
                <a:extLst>
                  <a:ext uri="{FF2B5EF4-FFF2-40B4-BE49-F238E27FC236}">
                    <a16:creationId xmlns:a16="http://schemas.microsoft.com/office/drawing/2014/main" id="{7DAE3487-DC21-4934-BD1E-5C9F1CD0480E}"/>
                  </a:ext>
                </a:extLst>
              </p:cNvPr>
              <p:cNvSpPr/>
              <p:nvPr/>
            </p:nvSpPr>
            <p:spPr>
              <a:xfrm>
                <a:off x="5795828" y="1581640"/>
                <a:ext cx="26872" cy="169992"/>
              </a:xfrm>
              <a:custGeom>
                <a:avLst/>
                <a:gdLst>
                  <a:gd name="connsiteX0" fmla="*/ 0 w 26872"/>
                  <a:gd name="connsiteY0" fmla="*/ 425 h 169992"/>
                  <a:gd name="connsiteX1" fmla="*/ 3021 w 26872"/>
                  <a:gd name="connsiteY1" fmla="*/ 0 h 169992"/>
                  <a:gd name="connsiteX2" fmla="*/ 26873 w 26872"/>
                  <a:gd name="connsiteY2" fmla="*/ 169567 h 169992"/>
                  <a:gd name="connsiteX3" fmla="*/ 23852 w 26872"/>
                  <a:gd name="connsiteY3" fmla="*/ 169992 h 169992"/>
                </a:gdLst>
                <a:ahLst/>
                <a:cxnLst>
                  <a:cxn ang="0">
                    <a:pos x="connsiteX0" y="connsiteY0"/>
                  </a:cxn>
                  <a:cxn ang="0">
                    <a:pos x="connsiteX1" y="connsiteY1"/>
                  </a:cxn>
                  <a:cxn ang="0">
                    <a:pos x="connsiteX2" y="connsiteY2"/>
                  </a:cxn>
                  <a:cxn ang="0">
                    <a:pos x="connsiteX3" y="connsiteY3"/>
                  </a:cxn>
                </a:cxnLst>
                <a:rect l="l" t="t" r="r" b="b"/>
                <a:pathLst>
                  <a:path w="26872" h="169992">
                    <a:moveTo>
                      <a:pt x="0" y="425"/>
                    </a:moveTo>
                    <a:lnTo>
                      <a:pt x="3021" y="0"/>
                    </a:lnTo>
                    <a:lnTo>
                      <a:pt x="26873" y="169567"/>
                    </a:lnTo>
                    <a:lnTo>
                      <a:pt x="23852" y="169992"/>
                    </a:lnTo>
                    <a:close/>
                  </a:path>
                </a:pathLst>
              </a:custGeom>
              <a:grpFill/>
              <a:ln w="5978" cap="flat">
                <a:noFill/>
                <a:prstDash val="solid"/>
                <a:miter/>
              </a:ln>
            </p:spPr>
            <p:txBody>
              <a:bodyPr rtlCol="0" anchor="ctr"/>
              <a:lstStyle/>
              <a:p>
                <a:endParaRPr lang="en-GB"/>
              </a:p>
            </p:txBody>
          </p:sp>
          <p:sp>
            <p:nvSpPr>
              <p:cNvPr id="3571" name="Vrije vorm: vorm 3570">
                <a:extLst>
                  <a:ext uri="{FF2B5EF4-FFF2-40B4-BE49-F238E27FC236}">
                    <a16:creationId xmlns:a16="http://schemas.microsoft.com/office/drawing/2014/main" id="{E892E94C-E8CC-4450-A616-E82A0DA1FE74}"/>
                  </a:ext>
                </a:extLst>
              </p:cNvPr>
              <p:cNvSpPr/>
              <p:nvPr/>
            </p:nvSpPr>
            <p:spPr>
              <a:xfrm>
                <a:off x="5787949" y="1573236"/>
                <a:ext cx="18309" cy="18472"/>
              </a:xfrm>
              <a:custGeom>
                <a:avLst/>
                <a:gdLst>
                  <a:gd name="connsiteX0" fmla="*/ 94 w 18309"/>
                  <a:gd name="connsiteY0" fmla="*/ 10499 h 18472"/>
                  <a:gd name="connsiteX1" fmla="*/ 7869 w 18309"/>
                  <a:gd name="connsiteY1" fmla="*/ 93 h 18472"/>
                  <a:gd name="connsiteX2" fmla="*/ 18215 w 18309"/>
                  <a:gd name="connsiteY2" fmla="*/ 7987 h 18472"/>
                  <a:gd name="connsiteX3" fmla="*/ 10441 w 18309"/>
                  <a:gd name="connsiteY3" fmla="*/ 18394 h 18472"/>
                  <a:gd name="connsiteX4" fmla="*/ 94 w 18309"/>
                  <a:gd name="connsiteY4" fmla="*/ 10499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72">
                    <a:moveTo>
                      <a:pt x="94" y="10499"/>
                    </a:moveTo>
                    <a:cubicBezTo>
                      <a:pt x="-624" y="5475"/>
                      <a:pt x="2845" y="810"/>
                      <a:pt x="7869" y="93"/>
                    </a:cubicBezTo>
                    <a:cubicBezTo>
                      <a:pt x="12892" y="-625"/>
                      <a:pt x="17498" y="2904"/>
                      <a:pt x="18215" y="7987"/>
                    </a:cubicBezTo>
                    <a:cubicBezTo>
                      <a:pt x="18933" y="13011"/>
                      <a:pt x="15465" y="17676"/>
                      <a:pt x="10441" y="18394"/>
                    </a:cubicBezTo>
                    <a:cubicBezTo>
                      <a:pt x="5476" y="19052"/>
                      <a:pt x="812" y="15523"/>
                      <a:pt x="94" y="10499"/>
                    </a:cubicBezTo>
                    <a:close/>
                  </a:path>
                </a:pathLst>
              </a:custGeom>
              <a:grpFill/>
              <a:ln w="5978" cap="flat">
                <a:noFill/>
                <a:prstDash val="solid"/>
                <a:miter/>
              </a:ln>
            </p:spPr>
            <p:txBody>
              <a:bodyPr rtlCol="0" anchor="ctr"/>
              <a:lstStyle/>
              <a:p>
                <a:endParaRPr lang="en-GB"/>
              </a:p>
            </p:txBody>
          </p:sp>
          <p:sp>
            <p:nvSpPr>
              <p:cNvPr id="3572" name="Vrije vorm: vorm 3571">
                <a:extLst>
                  <a:ext uri="{FF2B5EF4-FFF2-40B4-BE49-F238E27FC236}">
                    <a16:creationId xmlns:a16="http://schemas.microsoft.com/office/drawing/2014/main" id="{0D56C2F0-4C8A-4EFA-88CC-61A09B6FB836}"/>
                  </a:ext>
                </a:extLst>
              </p:cNvPr>
              <p:cNvSpPr/>
              <p:nvPr/>
            </p:nvSpPr>
            <p:spPr>
              <a:xfrm>
                <a:off x="5811692" y="1741905"/>
                <a:ext cx="18309" cy="18459"/>
              </a:xfrm>
              <a:custGeom>
                <a:avLst/>
                <a:gdLst>
                  <a:gd name="connsiteX0" fmla="*/ 94 w 18309"/>
                  <a:gd name="connsiteY0" fmla="*/ 10486 h 18459"/>
                  <a:gd name="connsiteX1" fmla="*/ 10441 w 18309"/>
                  <a:gd name="connsiteY1" fmla="*/ 18381 h 18459"/>
                  <a:gd name="connsiteX2" fmla="*/ 18216 w 18309"/>
                  <a:gd name="connsiteY2" fmla="*/ 7975 h 18459"/>
                  <a:gd name="connsiteX3" fmla="*/ 7869 w 18309"/>
                  <a:gd name="connsiteY3" fmla="*/ 80 h 18459"/>
                  <a:gd name="connsiteX4" fmla="*/ 94 w 18309"/>
                  <a:gd name="connsiteY4" fmla="*/ 10486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59">
                    <a:moveTo>
                      <a:pt x="94" y="10486"/>
                    </a:moveTo>
                    <a:cubicBezTo>
                      <a:pt x="812" y="15510"/>
                      <a:pt x="5417" y="19039"/>
                      <a:pt x="10441" y="18381"/>
                    </a:cubicBezTo>
                    <a:cubicBezTo>
                      <a:pt x="15464" y="17663"/>
                      <a:pt x="18933" y="13058"/>
                      <a:pt x="18216" y="7975"/>
                    </a:cubicBezTo>
                    <a:cubicBezTo>
                      <a:pt x="17498" y="2891"/>
                      <a:pt x="12893" y="-578"/>
                      <a:pt x="7869" y="80"/>
                    </a:cubicBezTo>
                    <a:cubicBezTo>
                      <a:pt x="2845" y="798"/>
                      <a:pt x="-624" y="5403"/>
                      <a:pt x="94" y="10486"/>
                    </a:cubicBezTo>
                    <a:close/>
                  </a:path>
                </a:pathLst>
              </a:custGeom>
              <a:grpFill/>
              <a:ln w="5978" cap="flat">
                <a:noFill/>
                <a:prstDash val="solid"/>
                <a:miter/>
              </a:ln>
            </p:spPr>
            <p:txBody>
              <a:bodyPr rtlCol="0" anchor="ctr"/>
              <a:lstStyle/>
              <a:p>
                <a:endParaRPr lang="en-GB"/>
              </a:p>
            </p:txBody>
          </p:sp>
        </p:grpSp>
        <p:grpSp>
          <p:nvGrpSpPr>
            <p:cNvPr id="607" name="Graphic 3">
              <a:extLst>
                <a:ext uri="{FF2B5EF4-FFF2-40B4-BE49-F238E27FC236}">
                  <a16:creationId xmlns:a16="http://schemas.microsoft.com/office/drawing/2014/main" id="{E9893063-B887-410F-AD02-E6DAAAED1F47}"/>
                </a:ext>
              </a:extLst>
            </p:cNvPr>
            <p:cNvGrpSpPr/>
            <p:nvPr/>
          </p:nvGrpSpPr>
          <p:grpSpPr>
            <a:xfrm>
              <a:off x="6899132" y="4966005"/>
              <a:ext cx="54921" cy="85348"/>
              <a:chOff x="6899132" y="4966005"/>
              <a:chExt cx="54921" cy="85348"/>
            </a:xfrm>
            <a:grpFill/>
          </p:grpSpPr>
          <p:sp>
            <p:nvSpPr>
              <p:cNvPr id="3567" name="Vrije vorm: vorm 3566">
                <a:extLst>
                  <a:ext uri="{FF2B5EF4-FFF2-40B4-BE49-F238E27FC236}">
                    <a16:creationId xmlns:a16="http://schemas.microsoft.com/office/drawing/2014/main" id="{C71F44FD-A9E4-41D4-9CBD-1131A19209A2}"/>
                  </a:ext>
                </a:extLst>
              </p:cNvPr>
              <p:cNvSpPr/>
              <p:nvPr/>
            </p:nvSpPr>
            <p:spPr>
              <a:xfrm>
                <a:off x="6906737" y="4974086"/>
                <a:ext cx="39712" cy="69196"/>
              </a:xfrm>
              <a:custGeom>
                <a:avLst/>
                <a:gdLst>
                  <a:gd name="connsiteX0" fmla="*/ 39712 w 39712"/>
                  <a:gd name="connsiteY0" fmla="*/ 67702 h 69196"/>
                  <a:gd name="connsiteX1" fmla="*/ 37080 w 39712"/>
                  <a:gd name="connsiteY1" fmla="*/ 69197 h 69196"/>
                  <a:gd name="connsiteX2" fmla="*/ 0 w 39712"/>
                  <a:gd name="connsiteY2" fmla="*/ 1436 h 69196"/>
                  <a:gd name="connsiteX3" fmla="*/ 2631 w 39712"/>
                  <a:gd name="connsiteY3" fmla="*/ 0 h 69196"/>
                </a:gdLst>
                <a:ahLst/>
                <a:cxnLst>
                  <a:cxn ang="0">
                    <a:pos x="connsiteX0" y="connsiteY0"/>
                  </a:cxn>
                  <a:cxn ang="0">
                    <a:pos x="connsiteX1" y="connsiteY1"/>
                  </a:cxn>
                  <a:cxn ang="0">
                    <a:pos x="connsiteX2" y="connsiteY2"/>
                  </a:cxn>
                  <a:cxn ang="0">
                    <a:pos x="connsiteX3" y="connsiteY3"/>
                  </a:cxn>
                </a:cxnLst>
                <a:rect l="l" t="t" r="r" b="b"/>
                <a:pathLst>
                  <a:path w="39712" h="69196">
                    <a:moveTo>
                      <a:pt x="39712" y="67702"/>
                    </a:moveTo>
                    <a:lnTo>
                      <a:pt x="37080" y="69197"/>
                    </a:lnTo>
                    <a:lnTo>
                      <a:pt x="0" y="1436"/>
                    </a:lnTo>
                    <a:lnTo>
                      <a:pt x="2631" y="0"/>
                    </a:lnTo>
                    <a:close/>
                  </a:path>
                </a:pathLst>
              </a:custGeom>
              <a:grpFill/>
              <a:ln w="5978" cap="flat">
                <a:noFill/>
                <a:prstDash val="solid"/>
                <a:miter/>
              </a:ln>
            </p:spPr>
            <p:txBody>
              <a:bodyPr rtlCol="0" anchor="ctr"/>
              <a:lstStyle/>
              <a:p>
                <a:endParaRPr lang="en-GB"/>
              </a:p>
            </p:txBody>
          </p:sp>
          <p:sp>
            <p:nvSpPr>
              <p:cNvPr id="3568" name="Vrije vorm: vorm 3567">
                <a:extLst>
                  <a:ext uri="{FF2B5EF4-FFF2-40B4-BE49-F238E27FC236}">
                    <a16:creationId xmlns:a16="http://schemas.microsoft.com/office/drawing/2014/main" id="{AB2608B4-2610-4853-BE46-88F59B764E2A}"/>
                  </a:ext>
                </a:extLst>
              </p:cNvPr>
              <p:cNvSpPr/>
              <p:nvPr/>
            </p:nvSpPr>
            <p:spPr>
              <a:xfrm>
                <a:off x="6935734" y="5032929"/>
                <a:ext cx="18319" cy="18423"/>
              </a:xfrm>
              <a:custGeom>
                <a:avLst/>
                <a:gdLst>
                  <a:gd name="connsiteX0" fmla="*/ 17174 w 18319"/>
                  <a:gd name="connsiteY0" fmla="*/ 4792 h 18423"/>
                  <a:gd name="connsiteX1" fmla="*/ 13586 w 18319"/>
                  <a:gd name="connsiteY1" fmla="*/ 17292 h 18423"/>
                  <a:gd name="connsiteX2" fmla="*/ 1146 w 18319"/>
                  <a:gd name="connsiteY2" fmla="*/ 13644 h 18423"/>
                  <a:gd name="connsiteX3" fmla="*/ 4734 w 18319"/>
                  <a:gd name="connsiteY3" fmla="*/ 1144 h 18423"/>
                  <a:gd name="connsiteX4" fmla="*/ 17174 w 18319"/>
                  <a:gd name="connsiteY4" fmla="*/ 47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3">
                    <a:moveTo>
                      <a:pt x="17174" y="4792"/>
                    </a:moveTo>
                    <a:cubicBezTo>
                      <a:pt x="19626" y="9278"/>
                      <a:pt x="18011" y="14840"/>
                      <a:pt x="13586" y="17292"/>
                    </a:cubicBezTo>
                    <a:cubicBezTo>
                      <a:pt x="9160" y="19744"/>
                      <a:pt x="3598" y="18070"/>
                      <a:pt x="1146" y="13644"/>
                    </a:cubicBezTo>
                    <a:cubicBezTo>
                      <a:pt x="-1306" y="9158"/>
                      <a:pt x="309" y="3596"/>
                      <a:pt x="4734" y="1144"/>
                    </a:cubicBezTo>
                    <a:cubicBezTo>
                      <a:pt x="9160" y="-1308"/>
                      <a:pt x="14722" y="307"/>
                      <a:pt x="17174" y="4792"/>
                    </a:cubicBezTo>
                    <a:close/>
                  </a:path>
                </a:pathLst>
              </a:custGeom>
              <a:grpFill/>
              <a:ln w="5978" cap="flat">
                <a:noFill/>
                <a:prstDash val="solid"/>
                <a:miter/>
              </a:ln>
            </p:spPr>
            <p:txBody>
              <a:bodyPr rtlCol="0" anchor="ctr"/>
              <a:lstStyle/>
              <a:p>
                <a:endParaRPr lang="en-GB"/>
              </a:p>
            </p:txBody>
          </p:sp>
          <p:sp>
            <p:nvSpPr>
              <p:cNvPr id="3569" name="Vrije vorm: vorm 3568">
                <a:extLst>
                  <a:ext uri="{FF2B5EF4-FFF2-40B4-BE49-F238E27FC236}">
                    <a16:creationId xmlns:a16="http://schemas.microsoft.com/office/drawing/2014/main" id="{6890D734-5D29-4D89-924F-4B664AD751A4}"/>
                  </a:ext>
                </a:extLst>
              </p:cNvPr>
              <p:cNvSpPr/>
              <p:nvPr/>
            </p:nvSpPr>
            <p:spPr>
              <a:xfrm>
                <a:off x="6899132" y="4966005"/>
                <a:ext cx="18319" cy="18436"/>
              </a:xfrm>
              <a:custGeom>
                <a:avLst/>
                <a:gdLst>
                  <a:gd name="connsiteX0" fmla="*/ 17174 w 18319"/>
                  <a:gd name="connsiteY0" fmla="*/ 4792 h 18436"/>
                  <a:gd name="connsiteX1" fmla="*/ 4734 w 18319"/>
                  <a:gd name="connsiteY1" fmla="*/ 1144 h 18436"/>
                  <a:gd name="connsiteX2" fmla="*/ 1146 w 18319"/>
                  <a:gd name="connsiteY2" fmla="*/ 13644 h 18436"/>
                  <a:gd name="connsiteX3" fmla="*/ 13586 w 18319"/>
                  <a:gd name="connsiteY3" fmla="*/ 17292 h 18436"/>
                  <a:gd name="connsiteX4" fmla="*/ 17174 w 18319"/>
                  <a:gd name="connsiteY4" fmla="*/ 47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36">
                    <a:moveTo>
                      <a:pt x="17174" y="4792"/>
                    </a:moveTo>
                    <a:cubicBezTo>
                      <a:pt x="14722" y="307"/>
                      <a:pt x="9160" y="-1308"/>
                      <a:pt x="4734" y="1144"/>
                    </a:cubicBezTo>
                    <a:cubicBezTo>
                      <a:pt x="309" y="3596"/>
                      <a:pt x="-1306" y="9158"/>
                      <a:pt x="1146" y="13644"/>
                    </a:cubicBezTo>
                    <a:cubicBezTo>
                      <a:pt x="3598" y="18129"/>
                      <a:pt x="9160" y="19744"/>
                      <a:pt x="13586" y="17292"/>
                    </a:cubicBezTo>
                    <a:cubicBezTo>
                      <a:pt x="18011" y="14840"/>
                      <a:pt x="19626" y="9278"/>
                      <a:pt x="17174" y="4792"/>
                    </a:cubicBezTo>
                    <a:close/>
                  </a:path>
                </a:pathLst>
              </a:custGeom>
              <a:grpFill/>
              <a:ln w="5978" cap="flat">
                <a:noFill/>
                <a:prstDash val="solid"/>
                <a:miter/>
              </a:ln>
            </p:spPr>
            <p:txBody>
              <a:bodyPr rtlCol="0" anchor="ctr"/>
              <a:lstStyle/>
              <a:p>
                <a:endParaRPr lang="en-GB"/>
              </a:p>
            </p:txBody>
          </p:sp>
        </p:grpSp>
        <p:grpSp>
          <p:nvGrpSpPr>
            <p:cNvPr id="608" name="Graphic 3">
              <a:extLst>
                <a:ext uri="{FF2B5EF4-FFF2-40B4-BE49-F238E27FC236}">
                  <a16:creationId xmlns:a16="http://schemas.microsoft.com/office/drawing/2014/main" id="{C1894B41-59E6-4111-BFE4-4A1BA447F497}"/>
                </a:ext>
              </a:extLst>
            </p:cNvPr>
            <p:cNvGrpSpPr/>
            <p:nvPr/>
          </p:nvGrpSpPr>
          <p:grpSpPr>
            <a:xfrm>
              <a:off x="6856528" y="4890395"/>
              <a:ext cx="135788" cy="306194"/>
              <a:chOff x="6856528" y="4890395"/>
              <a:chExt cx="135788" cy="306194"/>
            </a:xfrm>
            <a:grpFill/>
          </p:grpSpPr>
          <p:sp>
            <p:nvSpPr>
              <p:cNvPr id="3564" name="Vrije vorm: vorm 3563">
                <a:extLst>
                  <a:ext uri="{FF2B5EF4-FFF2-40B4-BE49-F238E27FC236}">
                    <a16:creationId xmlns:a16="http://schemas.microsoft.com/office/drawing/2014/main" id="{3B609624-5D83-418A-99AA-2A8968F26BD3}"/>
                  </a:ext>
                </a:extLst>
              </p:cNvPr>
              <p:cNvSpPr/>
              <p:nvPr/>
            </p:nvSpPr>
            <p:spPr>
              <a:xfrm>
                <a:off x="6864269" y="4899017"/>
                <a:ext cx="120838" cy="289678"/>
              </a:xfrm>
              <a:custGeom>
                <a:avLst/>
                <a:gdLst>
                  <a:gd name="connsiteX0" fmla="*/ 0 w 120838"/>
                  <a:gd name="connsiteY0" fmla="*/ 1155 h 289678"/>
                  <a:gd name="connsiteX1" fmla="*/ 2823 w 120838"/>
                  <a:gd name="connsiteY1" fmla="*/ 0 h 289678"/>
                  <a:gd name="connsiteX2" fmla="*/ 120839 w 120838"/>
                  <a:gd name="connsiteY2" fmla="*/ 288524 h 289678"/>
                  <a:gd name="connsiteX3" fmla="*/ 118015 w 120838"/>
                  <a:gd name="connsiteY3" fmla="*/ 289679 h 289678"/>
                </a:gdLst>
                <a:ahLst/>
                <a:cxnLst>
                  <a:cxn ang="0">
                    <a:pos x="connsiteX0" y="connsiteY0"/>
                  </a:cxn>
                  <a:cxn ang="0">
                    <a:pos x="connsiteX1" y="connsiteY1"/>
                  </a:cxn>
                  <a:cxn ang="0">
                    <a:pos x="connsiteX2" y="connsiteY2"/>
                  </a:cxn>
                  <a:cxn ang="0">
                    <a:pos x="connsiteX3" y="connsiteY3"/>
                  </a:cxn>
                </a:cxnLst>
                <a:rect l="l" t="t" r="r" b="b"/>
                <a:pathLst>
                  <a:path w="120838" h="289678">
                    <a:moveTo>
                      <a:pt x="0" y="1155"/>
                    </a:moveTo>
                    <a:lnTo>
                      <a:pt x="2823" y="0"/>
                    </a:lnTo>
                    <a:lnTo>
                      <a:pt x="120839" y="288524"/>
                    </a:lnTo>
                    <a:lnTo>
                      <a:pt x="118015" y="289679"/>
                    </a:lnTo>
                    <a:close/>
                  </a:path>
                </a:pathLst>
              </a:custGeom>
              <a:grpFill/>
              <a:ln w="5978" cap="flat">
                <a:noFill/>
                <a:prstDash val="solid"/>
                <a:miter/>
              </a:ln>
            </p:spPr>
            <p:txBody>
              <a:bodyPr rtlCol="0" anchor="ctr"/>
              <a:lstStyle/>
              <a:p>
                <a:endParaRPr lang="en-GB"/>
              </a:p>
            </p:txBody>
          </p:sp>
          <p:sp>
            <p:nvSpPr>
              <p:cNvPr id="3565" name="Vrije vorm: vorm 3564">
                <a:extLst>
                  <a:ext uri="{FF2B5EF4-FFF2-40B4-BE49-F238E27FC236}">
                    <a16:creationId xmlns:a16="http://schemas.microsoft.com/office/drawing/2014/main" id="{AF51D0F1-9A3D-473B-ABEB-7160C900B8BE}"/>
                  </a:ext>
                </a:extLst>
              </p:cNvPr>
              <p:cNvSpPr/>
              <p:nvPr/>
            </p:nvSpPr>
            <p:spPr>
              <a:xfrm>
                <a:off x="6856528" y="4890395"/>
                <a:ext cx="18301" cy="18462"/>
              </a:xfrm>
              <a:custGeom>
                <a:avLst/>
                <a:gdLst>
                  <a:gd name="connsiteX0" fmla="*/ 688 w 18301"/>
                  <a:gd name="connsiteY0" fmla="*/ 12700 h 18462"/>
                  <a:gd name="connsiteX1" fmla="*/ 5652 w 18301"/>
                  <a:gd name="connsiteY1" fmla="*/ 678 h 18462"/>
                  <a:gd name="connsiteX2" fmla="*/ 17614 w 18301"/>
                  <a:gd name="connsiteY2" fmla="*/ 5762 h 18462"/>
                  <a:gd name="connsiteX3" fmla="*/ 12649 w 18301"/>
                  <a:gd name="connsiteY3" fmla="*/ 17784 h 18462"/>
                  <a:gd name="connsiteX4" fmla="*/ 688 w 18301"/>
                  <a:gd name="connsiteY4" fmla="*/ 1270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2">
                    <a:moveTo>
                      <a:pt x="688" y="12700"/>
                    </a:moveTo>
                    <a:cubicBezTo>
                      <a:pt x="-1226" y="7975"/>
                      <a:pt x="987" y="2592"/>
                      <a:pt x="5652" y="678"/>
                    </a:cubicBezTo>
                    <a:cubicBezTo>
                      <a:pt x="10317" y="-1235"/>
                      <a:pt x="15700" y="1037"/>
                      <a:pt x="17614" y="5762"/>
                    </a:cubicBezTo>
                    <a:cubicBezTo>
                      <a:pt x="19527" y="10487"/>
                      <a:pt x="17315" y="15870"/>
                      <a:pt x="12649" y="17784"/>
                    </a:cubicBezTo>
                    <a:cubicBezTo>
                      <a:pt x="7984" y="19697"/>
                      <a:pt x="2602" y="17425"/>
                      <a:pt x="688" y="12700"/>
                    </a:cubicBezTo>
                    <a:close/>
                  </a:path>
                </a:pathLst>
              </a:custGeom>
              <a:grpFill/>
              <a:ln w="5978" cap="flat">
                <a:noFill/>
                <a:prstDash val="solid"/>
                <a:miter/>
              </a:ln>
            </p:spPr>
            <p:txBody>
              <a:bodyPr rtlCol="0" anchor="ctr"/>
              <a:lstStyle/>
              <a:p>
                <a:endParaRPr lang="en-GB"/>
              </a:p>
            </p:txBody>
          </p:sp>
          <p:sp>
            <p:nvSpPr>
              <p:cNvPr id="3566" name="Vrije vorm: vorm 3565">
                <a:extLst>
                  <a:ext uri="{FF2B5EF4-FFF2-40B4-BE49-F238E27FC236}">
                    <a16:creationId xmlns:a16="http://schemas.microsoft.com/office/drawing/2014/main" id="{90B4E575-9515-4CD1-A8B2-882ADB27BFA0}"/>
                  </a:ext>
                </a:extLst>
              </p:cNvPr>
              <p:cNvSpPr/>
              <p:nvPr/>
            </p:nvSpPr>
            <p:spPr>
              <a:xfrm>
                <a:off x="6973998" y="5178128"/>
                <a:ext cx="18318" cy="18461"/>
              </a:xfrm>
              <a:custGeom>
                <a:avLst/>
                <a:gdLst>
                  <a:gd name="connsiteX0" fmla="*/ 680 w 18318"/>
                  <a:gd name="connsiteY0" fmla="*/ 12700 h 18461"/>
                  <a:gd name="connsiteX1" fmla="*/ 12641 w 18318"/>
                  <a:gd name="connsiteY1" fmla="*/ 17783 h 18461"/>
                  <a:gd name="connsiteX2" fmla="*/ 17605 w 18318"/>
                  <a:gd name="connsiteY2" fmla="*/ 5762 h 18461"/>
                  <a:gd name="connsiteX3" fmla="*/ 5644 w 18318"/>
                  <a:gd name="connsiteY3" fmla="*/ 679 h 18461"/>
                  <a:gd name="connsiteX4" fmla="*/ 680 w 18318"/>
                  <a:gd name="connsiteY4" fmla="*/ 1270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61">
                    <a:moveTo>
                      <a:pt x="680" y="12700"/>
                    </a:moveTo>
                    <a:cubicBezTo>
                      <a:pt x="2594" y="17424"/>
                      <a:pt x="7976" y="19697"/>
                      <a:pt x="12641" y="17783"/>
                    </a:cubicBezTo>
                    <a:cubicBezTo>
                      <a:pt x="17307" y="15869"/>
                      <a:pt x="19579" y="10487"/>
                      <a:pt x="17605" y="5762"/>
                    </a:cubicBezTo>
                    <a:cubicBezTo>
                      <a:pt x="15692" y="1037"/>
                      <a:pt x="10309" y="-1235"/>
                      <a:pt x="5644" y="679"/>
                    </a:cubicBezTo>
                    <a:cubicBezTo>
                      <a:pt x="1039" y="2592"/>
                      <a:pt x="-1234" y="7975"/>
                      <a:pt x="680" y="12700"/>
                    </a:cubicBezTo>
                    <a:close/>
                  </a:path>
                </a:pathLst>
              </a:custGeom>
              <a:grpFill/>
              <a:ln w="5978" cap="flat">
                <a:noFill/>
                <a:prstDash val="solid"/>
                <a:miter/>
              </a:ln>
            </p:spPr>
            <p:txBody>
              <a:bodyPr rtlCol="0" anchor="ctr"/>
              <a:lstStyle/>
              <a:p>
                <a:endParaRPr lang="en-GB"/>
              </a:p>
            </p:txBody>
          </p:sp>
        </p:grpSp>
        <p:grpSp>
          <p:nvGrpSpPr>
            <p:cNvPr id="609" name="Graphic 3">
              <a:extLst>
                <a:ext uri="{FF2B5EF4-FFF2-40B4-BE49-F238E27FC236}">
                  <a16:creationId xmlns:a16="http://schemas.microsoft.com/office/drawing/2014/main" id="{86E93204-9797-45D7-9593-22D2AFC012FA}"/>
                </a:ext>
              </a:extLst>
            </p:cNvPr>
            <p:cNvGrpSpPr/>
            <p:nvPr/>
          </p:nvGrpSpPr>
          <p:grpSpPr>
            <a:xfrm>
              <a:off x="6936222" y="5107829"/>
              <a:ext cx="55294" cy="89119"/>
              <a:chOff x="6936222" y="5107829"/>
              <a:chExt cx="55294" cy="89119"/>
            </a:xfrm>
            <a:grpFill/>
          </p:grpSpPr>
          <p:sp>
            <p:nvSpPr>
              <p:cNvPr id="3561" name="Vrije vorm: vorm 3560">
                <a:extLst>
                  <a:ext uri="{FF2B5EF4-FFF2-40B4-BE49-F238E27FC236}">
                    <a16:creationId xmlns:a16="http://schemas.microsoft.com/office/drawing/2014/main" id="{1A1E179A-7EA7-412F-BC19-B43782C21BDD}"/>
                  </a:ext>
                </a:extLst>
              </p:cNvPr>
              <p:cNvSpPr/>
              <p:nvPr/>
            </p:nvSpPr>
            <p:spPr>
              <a:xfrm>
                <a:off x="6943817" y="5115889"/>
                <a:ext cx="40131" cy="72964"/>
              </a:xfrm>
              <a:custGeom>
                <a:avLst/>
                <a:gdLst>
                  <a:gd name="connsiteX0" fmla="*/ 40131 w 40131"/>
                  <a:gd name="connsiteY0" fmla="*/ 71530 h 72964"/>
                  <a:gd name="connsiteX1" fmla="*/ 37439 w 40131"/>
                  <a:gd name="connsiteY1" fmla="*/ 72965 h 72964"/>
                  <a:gd name="connsiteX2" fmla="*/ 0 w 40131"/>
                  <a:gd name="connsiteY2" fmla="*/ 1435 h 72964"/>
                  <a:gd name="connsiteX3" fmla="*/ 2692 w 40131"/>
                  <a:gd name="connsiteY3" fmla="*/ 0 h 72964"/>
                </a:gdLst>
                <a:ahLst/>
                <a:cxnLst>
                  <a:cxn ang="0">
                    <a:pos x="connsiteX0" y="connsiteY0"/>
                  </a:cxn>
                  <a:cxn ang="0">
                    <a:pos x="connsiteX1" y="connsiteY1"/>
                  </a:cxn>
                  <a:cxn ang="0">
                    <a:pos x="connsiteX2" y="connsiteY2"/>
                  </a:cxn>
                  <a:cxn ang="0">
                    <a:pos x="connsiteX3" y="connsiteY3"/>
                  </a:cxn>
                </a:cxnLst>
                <a:rect l="l" t="t" r="r" b="b"/>
                <a:pathLst>
                  <a:path w="40131" h="72964">
                    <a:moveTo>
                      <a:pt x="40131" y="71530"/>
                    </a:moveTo>
                    <a:lnTo>
                      <a:pt x="37439" y="72965"/>
                    </a:lnTo>
                    <a:lnTo>
                      <a:pt x="0" y="1435"/>
                    </a:lnTo>
                    <a:lnTo>
                      <a:pt x="2692" y="0"/>
                    </a:lnTo>
                    <a:close/>
                  </a:path>
                </a:pathLst>
              </a:custGeom>
              <a:grpFill/>
              <a:ln w="5978" cap="flat">
                <a:noFill/>
                <a:prstDash val="solid"/>
                <a:miter/>
              </a:ln>
            </p:spPr>
            <p:txBody>
              <a:bodyPr rtlCol="0" anchor="ctr"/>
              <a:lstStyle/>
              <a:p>
                <a:endParaRPr lang="en-GB"/>
              </a:p>
            </p:txBody>
          </p:sp>
          <p:sp>
            <p:nvSpPr>
              <p:cNvPr id="3562" name="Vrije vorm: vorm 3561">
                <a:extLst>
                  <a:ext uri="{FF2B5EF4-FFF2-40B4-BE49-F238E27FC236}">
                    <a16:creationId xmlns:a16="http://schemas.microsoft.com/office/drawing/2014/main" id="{739DF00A-B1C5-4916-A0E8-FB5D3B19A610}"/>
                  </a:ext>
                </a:extLst>
              </p:cNvPr>
              <p:cNvSpPr/>
              <p:nvPr/>
            </p:nvSpPr>
            <p:spPr>
              <a:xfrm>
                <a:off x="6973209" y="5178509"/>
                <a:ext cx="18307" cy="18438"/>
              </a:xfrm>
              <a:custGeom>
                <a:avLst/>
                <a:gdLst>
                  <a:gd name="connsiteX0" fmla="*/ 17257 w 18307"/>
                  <a:gd name="connsiteY0" fmla="*/ 4962 h 18438"/>
                  <a:gd name="connsiteX1" fmla="*/ 13430 w 18307"/>
                  <a:gd name="connsiteY1" fmla="*/ 17402 h 18438"/>
                  <a:gd name="connsiteX2" fmla="*/ 1050 w 18307"/>
                  <a:gd name="connsiteY2" fmla="*/ 13514 h 18438"/>
                  <a:gd name="connsiteX3" fmla="*/ 4878 w 18307"/>
                  <a:gd name="connsiteY3" fmla="*/ 1075 h 18438"/>
                  <a:gd name="connsiteX4" fmla="*/ 17257 w 18307"/>
                  <a:gd name="connsiteY4" fmla="*/ 496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17257" y="4962"/>
                    </a:moveTo>
                    <a:cubicBezTo>
                      <a:pt x="19590" y="9448"/>
                      <a:pt x="17915" y="15010"/>
                      <a:pt x="13430" y="17402"/>
                    </a:cubicBezTo>
                    <a:cubicBezTo>
                      <a:pt x="8944" y="19735"/>
                      <a:pt x="3382" y="18000"/>
                      <a:pt x="1050" y="13514"/>
                    </a:cubicBezTo>
                    <a:cubicBezTo>
                      <a:pt x="-1283" y="9029"/>
                      <a:pt x="392" y="3467"/>
                      <a:pt x="4878" y="1075"/>
                    </a:cubicBezTo>
                    <a:cubicBezTo>
                      <a:pt x="9363" y="-1318"/>
                      <a:pt x="14925" y="417"/>
                      <a:pt x="17257" y="4962"/>
                    </a:cubicBezTo>
                    <a:close/>
                  </a:path>
                </a:pathLst>
              </a:custGeom>
              <a:grpFill/>
              <a:ln w="5978" cap="flat">
                <a:noFill/>
                <a:prstDash val="solid"/>
                <a:miter/>
              </a:ln>
            </p:spPr>
            <p:txBody>
              <a:bodyPr rtlCol="0" anchor="ctr"/>
              <a:lstStyle/>
              <a:p>
                <a:endParaRPr lang="en-GB"/>
              </a:p>
            </p:txBody>
          </p:sp>
          <p:sp>
            <p:nvSpPr>
              <p:cNvPr id="3563" name="Vrije vorm: vorm 3562">
                <a:extLst>
                  <a:ext uri="{FF2B5EF4-FFF2-40B4-BE49-F238E27FC236}">
                    <a16:creationId xmlns:a16="http://schemas.microsoft.com/office/drawing/2014/main" id="{C5AB06BA-0CBE-4C77-88AB-7A0473FCC3A6}"/>
                  </a:ext>
                </a:extLst>
              </p:cNvPr>
              <p:cNvSpPr/>
              <p:nvPr/>
            </p:nvSpPr>
            <p:spPr>
              <a:xfrm>
                <a:off x="6936222" y="5107829"/>
                <a:ext cx="18322" cy="18453"/>
              </a:xfrm>
              <a:custGeom>
                <a:avLst/>
                <a:gdLst>
                  <a:gd name="connsiteX0" fmla="*/ 17284 w 18322"/>
                  <a:gd name="connsiteY0" fmla="*/ 4950 h 18453"/>
                  <a:gd name="connsiteX1" fmla="*/ 4904 w 18322"/>
                  <a:gd name="connsiteY1" fmla="*/ 1063 h 18453"/>
                  <a:gd name="connsiteX2" fmla="*/ 1076 w 18322"/>
                  <a:gd name="connsiteY2" fmla="*/ 13503 h 18453"/>
                  <a:gd name="connsiteX3" fmla="*/ 13457 w 18322"/>
                  <a:gd name="connsiteY3" fmla="*/ 17390 h 18453"/>
                  <a:gd name="connsiteX4" fmla="*/ 17284 w 18322"/>
                  <a:gd name="connsiteY4" fmla="*/ 4950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7284" y="4950"/>
                    </a:moveTo>
                    <a:cubicBezTo>
                      <a:pt x="14952" y="465"/>
                      <a:pt x="9390" y="-1329"/>
                      <a:pt x="4904" y="1063"/>
                    </a:cubicBezTo>
                    <a:cubicBezTo>
                      <a:pt x="419" y="3395"/>
                      <a:pt x="-1316" y="8958"/>
                      <a:pt x="1076" y="13503"/>
                    </a:cubicBezTo>
                    <a:cubicBezTo>
                      <a:pt x="3409" y="17988"/>
                      <a:pt x="8971" y="19783"/>
                      <a:pt x="13457" y="17390"/>
                    </a:cubicBezTo>
                    <a:cubicBezTo>
                      <a:pt x="17883" y="14998"/>
                      <a:pt x="19616" y="9436"/>
                      <a:pt x="17284" y="4950"/>
                    </a:cubicBezTo>
                    <a:close/>
                  </a:path>
                </a:pathLst>
              </a:custGeom>
              <a:grpFill/>
              <a:ln w="5978" cap="flat">
                <a:noFill/>
                <a:prstDash val="solid"/>
                <a:miter/>
              </a:ln>
            </p:spPr>
            <p:txBody>
              <a:bodyPr rtlCol="0" anchor="ctr"/>
              <a:lstStyle/>
              <a:p>
                <a:endParaRPr lang="en-GB"/>
              </a:p>
            </p:txBody>
          </p:sp>
        </p:grpSp>
        <p:grpSp>
          <p:nvGrpSpPr>
            <p:cNvPr id="610" name="Graphic 3">
              <a:extLst>
                <a:ext uri="{FF2B5EF4-FFF2-40B4-BE49-F238E27FC236}">
                  <a16:creationId xmlns:a16="http://schemas.microsoft.com/office/drawing/2014/main" id="{230250D4-090F-4293-8349-39E16B0EECF8}"/>
                </a:ext>
              </a:extLst>
            </p:cNvPr>
            <p:cNvGrpSpPr/>
            <p:nvPr/>
          </p:nvGrpSpPr>
          <p:grpSpPr>
            <a:xfrm>
              <a:off x="5629107" y="1074152"/>
              <a:ext cx="123495" cy="607094"/>
              <a:chOff x="5629107" y="1074152"/>
              <a:chExt cx="123495" cy="607094"/>
            </a:xfrm>
            <a:grpFill/>
          </p:grpSpPr>
          <p:sp>
            <p:nvSpPr>
              <p:cNvPr id="3558" name="Vrije vorm: vorm 3557">
                <a:extLst>
                  <a:ext uri="{FF2B5EF4-FFF2-40B4-BE49-F238E27FC236}">
                    <a16:creationId xmlns:a16="http://schemas.microsoft.com/office/drawing/2014/main" id="{E3BB4426-F3E7-487B-B814-54D91F1B39D4}"/>
                  </a:ext>
                </a:extLst>
              </p:cNvPr>
              <p:cNvSpPr/>
              <p:nvPr/>
            </p:nvSpPr>
            <p:spPr>
              <a:xfrm>
                <a:off x="5636671" y="1082670"/>
                <a:ext cx="108310" cy="590057"/>
              </a:xfrm>
              <a:custGeom>
                <a:avLst/>
                <a:gdLst>
                  <a:gd name="connsiteX0" fmla="*/ 2990 w 108310"/>
                  <a:gd name="connsiteY0" fmla="*/ 0 h 590057"/>
                  <a:gd name="connsiteX1" fmla="*/ 108311 w 108310"/>
                  <a:gd name="connsiteY1" fmla="*/ 589580 h 590057"/>
                  <a:gd name="connsiteX2" fmla="*/ 105320 w 108310"/>
                  <a:gd name="connsiteY2" fmla="*/ 590058 h 590057"/>
                  <a:gd name="connsiteX3" fmla="*/ 0 w 108310"/>
                  <a:gd name="connsiteY3" fmla="*/ 478 h 590057"/>
                </a:gdLst>
                <a:ahLst/>
                <a:cxnLst>
                  <a:cxn ang="0">
                    <a:pos x="connsiteX0" y="connsiteY0"/>
                  </a:cxn>
                  <a:cxn ang="0">
                    <a:pos x="connsiteX1" y="connsiteY1"/>
                  </a:cxn>
                  <a:cxn ang="0">
                    <a:pos x="connsiteX2" y="connsiteY2"/>
                  </a:cxn>
                  <a:cxn ang="0">
                    <a:pos x="connsiteX3" y="connsiteY3"/>
                  </a:cxn>
                </a:cxnLst>
                <a:rect l="l" t="t" r="r" b="b"/>
                <a:pathLst>
                  <a:path w="108310" h="590057">
                    <a:moveTo>
                      <a:pt x="2990" y="0"/>
                    </a:moveTo>
                    <a:lnTo>
                      <a:pt x="108311" y="589580"/>
                    </a:lnTo>
                    <a:lnTo>
                      <a:pt x="105320" y="590058"/>
                    </a:lnTo>
                    <a:lnTo>
                      <a:pt x="0" y="478"/>
                    </a:lnTo>
                    <a:close/>
                  </a:path>
                </a:pathLst>
              </a:custGeom>
              <a:grpFill/>
              <a:ln w="5978" cap="flat">
                <a:noFill/>
                <a:prstDash val="solid"/>
                <a:miter/>
              </a:ln>
            </p:spPr>
            <p:txBody>
              <a:bodyPr rtlCol="0" anchor="ctr"/>
              <a:lstStyle/>
              <a:p>
                <a:endParaRPr lang="en-GB"/>
              </a:p>
            </p:txBody>
          </p:sp>
          <p:sp>
            <p:nvSpPr>
              <p:cNvPr id="3559" name="Vrije vorm: vorm 3558">
                <a:extLst>
                  <a:ext uri="{FF2B5EF4-FFF2-40B4-BE49-F238E27FC236}">
                    <a16:creationId xmlns:a16="http://schemas.microsoft.com/office/drawing/2014/main" id="{FE929F68-D9B3-4B66-BD3B-C81E980E1256}"/>
                  </a:ext>
                </a:extLst>
              </p:cNvPr>
              <p:cNvSpPr/>
              <p:nvPr/>
            </p:nvSpPr>
            <p:spPr>
              <a:xfrm>
                <a:off x="5629107" y="1074152"/>
                <a:ext cx="18356" cy="18412"/>
              </a:xfrm>
              <a:custGeom>
                <a:avLst/>
                <a:gdLst>
                  <a:gd name="connsiteX0" fmla="*/ 147 w 18356"/>
                  <a:gd name="connsiteY0" fmla="*/ 10791 h 18412"/>
                  <a:gd name="connsiteX1" fmla="*/ 7563 w 18356"/>
                  <a:gd name="connsiteY1" fmla="*/ 145 h 18412"/>
                  <a:gd name="connsiteX2" fmla="*/ 18209 w 18356"/>
                  <a:gd name="connsiteY2" fmla="*/ 7621 h 18412"/>
                  <a:gd name="connsiteX3" fmla="*/ 10793 w 18356"/>
                  <a:gd name="connsiteY3" fmla="*/ 18267 h 18412"/>
                  <a:gd name="connsiteX4" fmla="*/ 147 w 18356"/>
                  <a:gd name="connsiteY4" fmla="*/ 1079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2">
                    <a:moveTo>
                      <a:pt x="147" y="10791"/>
                    </a:moveTo>
                    <a:cubicBezTo>
                      <a:pt x="-750" y="5767"/>
                      <a:pt x="2539" y="983"/>
                      <a:pt x="7563" y="145"/>
                    </a:cubicBezTo>
                    <a:cubicBezTo>
                      <a:pt x="12527" y="-752"/>
                      <a:pt x="17312" y="2597"/>
                      <a:pt x="18209" y="7621"/>
                    </a:cubicBezTo>
                    <a:cubicBezTo>
                      <a:pt x="19106" y="12645"/>
                      <a:pt x="15817" y="17430"/>
                      <a:pt x="10793" y="18267"/>
                    </a:cubicBezTo>
                    <a:cubicBezTo>
                      <a:pt x="5769" y="19164"/>
                      <a:pt x="984" y="15815"/>
                      <a:pt x="147" y="10791"/>
                    </a:cubicBezTo>
                    <a:close/>
                  </a:path>
                </a:pathLst>
              </a:custGeom>
              <a:grpFill/>
              <a:ln w="5978" cap="flat">
                <a:noFill/>
                <a:prstDash val="solid"/>
                <a:miter/>
              </a:ln>
            </p:spPr>
            <p:txBody>
              <a:bodyPr rtlCol="0" anchor="ctr"/>
              <a:lstStyle/>
              <a:p>
                <a:endParaRPr lang="en-GB"/>
              </a:p>
            </p:txBody>
          </p:sp>
          <p:sp>
            <p:nvSpPr>
              <p:cNvPr id="3560" name="Vrije vorm: vorm 3559">
                <a:extLst>
                  <a:ext uri="{FF2B5EF4-FFF2-40B4-BE49-F238E27FC236}">
                    <a16:creationId xmlns:a16="http://schemas.microsoft.com/office/drawing/2014/main" id="{07E751B6-43EF-485E-BF9C-2E466DD35A14}"/>
                  </a:ext>
                </a:extLst>
              </p:cNvPr>
              <p:cNvSpPr/>
              <p:nvPr/>
            </p:nvSpPr>
            <p:spPr>
              <a:xfrm>
                <a:off x="5734248" y="1662834"/>
                <a:ext cx="18354" cy="18412"/>
              </a:xfrm>
              <a:custGeom>
                <a:avLst/>
                <a:gdLst>
                  <a:gd name="connsiteX0" fmla="*/ 147 w 18354"/>
                  <a:gd name="connsiteY0" fmla="*/ 10791 h 18412"/>
                  <a:gd name="connsiteX1" fmla="*/ 10793 w 18354"/>
                  <a:gd name="connsiteY1" fmla="*/ 18267 h 18412"/>
                  <a:gd name="connsiteX2" fmla="*/ 18209 w 18354"/>
                  <a:gd name="connsiteY2" fmla="*/ 7621 h 18412"/>
                  <a:gd name="connsiteX3" fmla="*/ 7563 w 18354"/>
                  <a:gd name="connsiteY3" fmla="*/ 145 h 18412"/>
                  <a:gd name="connsiteX4" fmla="*/ 147 w 18354"/>
                  <a:gd name="connsiteY4" fmla="*/ 1079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47" y="10791"/>
                    </a:moveTo>
                    <a:cubicBezTo>
                      <a:pt x="1045" y="15815"/>
                      <a:pt x="5829" y="19164"/>
                      <a:pt x="10793" y="18267"/>
                    </a:cubicBezTo>
                    <a:cubicBezTo>
                      <a:pt x="15757" y="17370"/>
                      <a:pt x="19106" y="12585"/>
                      <a:pt x="18209" y="7621"/>
                    </a:cubicBezTo>
                    <a:cubicBezTo>
                      <a:pt x="17312" y="2597"/>
                      <a:pt x="12527" y="-752"/>
                      <a:pt x="7563" y="145"/>
                    </a:cubicBezTo>
                    <a:cubicBezTo>
                      <a:pt x="2540" y="983"/>
                      <a:pt x="-750" y="5767"/>
                      <a:pt x="147" y="10791"/>
                    </a:cubicBezTo>
                    <a:close/>
                  </a:path>
                </a:pathLst>
              </a:custGeom>
              <a:grpFill/>
              <a:ln w="5978" cap="flat">
                <a:noFill/>
                <a:prstDash val="solid"/>
                <a:miter/>
              </a:ln>
            </p:spPr>
            <p:txBody>
              <a:bodyPr rtlCol="0" anchor="ctr"/>
              <a:lstStyle/>
              <a:p>
                <a:endParaRPr lang="en-GB"/>
              </a:p>
            </p:txBody>
          </p:sp>
        </p:grpSp>
        <p:grpSp>
          <p:nvGrpSpPr>
            <p:cNvPr id="611" name="Graphic 3">
              <a:extLst>
                <a:ext uri="{FF2B5EF4-FFF2-40B4-BE49-F238E27FC236}">
                  <a16:creationId xmlns:a16="http://schemas.microsoft.com/office/drawing/2014/main" id="{5A4BADE3-E427-4443-A731-0293A10F39CB}"/>
                </a:ext>
              </a:extLst>
            </p:cNvPr>
            <p:cNvGrpSpPr/>
            <p:nvPr/>
          </p:nvGrpSpPr>
          <p:grpSpPr>
            <a:xfrm>
              <a:off x="5676139" y="1092905"/>
              <a:ext cx="90366" cy="662888"/>
              <a:chOff x="5676139" y="1092905"/>
              <a:chExt cx="90366" cy="662888"/>
            </a:xfrm>
            <a:grpFill/>
          </p:grpSpPr>
          <p:sp>
            <p:nvSpPr>
              <p:cNvPr id="3555" name="Vrije vorm: vorm 3554">
                <a:extLst>
                  <a:ext uri="{FF2B5EF4-FFF2-40B4-BE49-F238E27FC236}">
                    <a16:creationId xmlns:a16="http://schemas.microsoft.com/office/drawing/2014/main" id="{A71AC03A-6647-4521-9959-202F6F4D60BE}"/>
                  </a:ext>
                </a:extLst>
              </p:cNvPr>
              <p:cNvSpPr/>
              <p:nvPr/>
            </p:nvSpPr>
            <p:spPr>
              <a:xfrm>
                <a:off x="5683739" y="1101569"/>
                <a:ext cx="75177" cy="645618"/>
              </a:xfrm>
              <a:custGeom>
                <a:avLst/>
                <a:gdLst>
                  <a:gd name="connsiteX0" fmla="*/ 2990 w 75177"/>
                  <a:gd name="connsiteY0" fmla="*/ 0 h 645618"/>
                  <a:gd name="connsiteX1" fmla="*/ 75178 w 75177"/>
                  <a:gd name="connsiteY1" fmla="*/ 645260 h 645618"/>
                  <a:gd name="connsiteX2" fmla="*/ 72128 w 75177"/>
                  <a:gd name="connsiteY2" fmla="*/ 645619 h 645618"/>
                  <a:gd name="connsiteX3" fmla="*/ 0 w 75177"/>
                  <a:gd name="connsiteY3" fmla="*/ 299 h 645618"/>
                </a:gdLst>
                <a:ahLst/>
                <a:cxnLst>
                  <a:cxn ang="0">
                    <a:pos x="connsiteX0" y="connsiteY0"/>
                  </a:cxn>
                  <a:cxn ang="0">
                    <a:pos x="connsiteX1" y="connsiteY1"/>
                  </a:cxn>
                  <a:cxn ang="0">
                    <a:pos x="connsiteX2" y="connsiteY2"/>
                  </a:cxn>
                  <a:cxn ang="0">
                    <a:pos x="connsiteX3" y="connsiteY3"/>
                  </a:cxn>
                </a:cxnLst>
                <a:rect l="l" t="t" r="r" b="b"/>
                <a:pathLst>
                  <a:path w="75177" h="645618">
                    <a:moveTo>
                      <a:pt x="2990" y="0"/>
                    </a:moveTo>
                    <a:lnTo>
                      <a:pt x="75178" y="645260"/>
                    </a:lnTo>
                    <a:lnTo>
                      <a:pt x="72128" y="645619"/>
                    </a:lnTo>
                    <a:lnTo>
                      <a:pt x="0" y="299"/>
                    </a:lnTo>
                    <a:close/>
                  </a:path>
                </a:pathLst>
              </a:custGeom>
              <a:grpFill/>
              <a:ln w="5978" cap="flat">
                <a:noFill/>
                <a:prstDash val="solid"/>
                <a:miter/>
              </a:ln>
            </p:spPr>
            <p:txBody>
              <a:bodyPr rtlCol="0" anchor="ctr"/>
              <a:lstStyle/>
              <a:p>
                <a:endParaRPr lang="en-GB"/>
              </a:p>
            </p:txBody>
          </p:sp>
          <p:sp>
            <p:nvSpPr>
              <p:cNvPr id="3556" name="Vrije vorm: vorm 3555">
                <a:extLst>
                  <a:ext uri="{FF2B5EF4-FFF2-40B4-BE49-F238E27FC236}">
                    <a16:creationId xmlns:a16="http://schemas.microsoft.com/office/drawing/2014/main" id="{92B82D09-67CE-4F90-860E-CA4B710C698E}"/>
                  </a:ext>
                </a:extLst>
              </p:cNvPr>
              <p:cNvSpPr/>
              <p:nvPr/>
            </p:nvSpPr>
            <p:spPr>
              <a:xfrm>
                <a:off x="5748217" y="1737327"/>
                <a:ext cx="18288" cy="18466"/>
              </a:xfrm>
              <a:custGeom>
                <a:avLst/>
                <a:gdLst>
                  <a:gd name="connsiteX0" fmla="*/ 18235 w 18288"/>
                  <a:gd name="connsiteY0" fmla="*/ 8246 h 18466"/>
                  <a:gd name="connsiteX1" fmla="*/ 10161 w 18288"/>
                  <a:gd name="connsiteY1" fmla="*/ 18413 h 18466"/>
                  <a:gd name="connsiteX2" fmla="*/ 53 w 18288"/>
                  <a:gd name="connsiteY2" fmla="*/ 10220 h 18466"/>
                  <a:gd name="connsiteX3" fmla="*/ 8128 w 18288"/>
                  <a:gd name="connsiteY3" fmla="*/ 53 h 18466"/>
                  <a:gd name="connsiteX4" fmla="*/ 18235 w 18288"/>
                  <a:gd name="connsiteY4" fmla="*/ 82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6">
                    <a:moveTo>
                      <a:pt x="18235" y="8246"/>
                    </a:moveTo>
                    <a:cubicBezTo>
                      <a:pt x="18773" y="13330"/>
                      <a:pt x="15185" y="17875"/>
                      <a:pt x="10161" y="18413"/>
                    </a:cubicBezTo>
                    <a:cubicBezTo>
                      <a:pt x="5137" y="18952"/>
                      <a:pt x="592" y="15303"/>
                      <a:pt x="53" y="10220"/>
                    </a:cubicBezTo>
                    <a:cubicBezTo>
                      <a:pt x="-485" y="5136"/>
                      <a:pt x="3104" y="591"/>
                      <a:pt x="8128" y="53"/>
                    </a:cubicBezTo>
                    <a:cubicBezTo>
                      <a:pt x="13091" y="-486"/>
                      <a:pt x="17637" y="3163"/>
                      <a:pt x="18235" y="8246"/>
                    </a:cubicBezTo>
                    <a:close/>
                  </a:path>
                </a:pathLst>
              </a:custGeom>
              <a:grpFill/>
              <a:ln w="5978" cap="flat">
                <a:noFill/>
                <a:prstDash val="solid"/>
                <a:miter/>
              </a:ln>
            </p:spPr>
            <p:txBody>
              <a:bodyPr rtlCol="0" anchor="ctr"/>
              <a:lstStyle/>
              <a:p>
                <a:endParaRPr lang="en-GB"/>
              </a:p>
            </p:txBody>
          </p:sp>
          <p:sp>
            <p:nvSpPr>
              <p:cNvPr id="3557" name="Vrije vorm: vorm 3556">
                <a:extLst>
                  <a:ext uri="{FF2B5EF4-FFF2-40B4-BE49-F238E27FC236}">
                    <a16:creationId xmlns:a16="http://schemas.microsoft.com/office/drawing/2014/main" id="{3FADEA22-AE21-4D00-817C-38BE1A2A0B78}"/>
                  </a:ext>
                </a:extLst>
              </p:cNvPr>
              <p:cNvSpPr/>
              <p:nvPr/>
            </p:nvSpPr>
            <p:spPr>
              <a:xfrm>
                <a:off x="5676139" y="1092905"/>
                <a:ext cx="18309" cy="18466"/>
              </a:xfrm>
              <a:custGeom>
                <a:avLst/>
                <a:gdLst>
                  <a:gd name="connsiteX0" fmla="*/ 18245 w 18309"/>
                  <a:gd name="connsiteY0" fmla="*/ 8246 h 18466"/>
                  <a:gd name="connsiteX1" fmla="*/ 8138 w 18309"/>
                  <a:gd name="connsiteY1" fmla="*/ 53 h 18466"/>
                  <a:gd name="connsiteX2" fmla="*/ 64 w 18309"/>
                  <a:gd name="connsiteY2" fmla="*/ 10220 h 18466"/>
                  <a:gd name="connsiteX3" fmla="*/ 10172 w 18309"/>
                  <a:gd name="connsiteY3" fmla="*/ 18413 h 18466"/>
                  <a:gd name="connsiteX4" fmla="*/ 18245 w 18309"/>
                  <a:gd name="connsiteY4" fmla="*/ 82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6">
                    <a:moveTo>
                      <a:pt x="18245" y="8246"/>
                    </a:moveTo>
                    <a:cubicBezTo>
                      <a:pt x="17707" y="3163"/>
                      <a:pt x="13162" y="-486"/>
                      <a:pt x="8138" y="53"/>
                    </a:cubicBezTo>
                    <a:cubicBezTo>
                      <a:pt x="3114" y="591"/>
                      <a:pt x="-534" y="5136"/>
                      <a:pt x="64" y="10220"/>
                    </a:cubicBezTo>
                    <a:cubicBezTo>
                      <a:pt x="602" y="15304"/>
                      <a:pt x="5148" y="18952"/>
                      <a:pt x="10172" y="18413"/>
                    </a:cubicBezTo>
                    <a:cubicBezTo>
                      <a:pt x="15195" y="17875"/>
                      <a:pt x="18844" y="13330"/>
                      <a:pt x="18245" y="8246"/>
                    </a:cubicBezTo>
                    <a:close/>
                  </a:path>
                </a:pathLst>
              </a:custGeom>
              <a:grpFill/>
              <a:ln w="5978" cap="flat">
                <a:noFill/>
                <a:prstDash val="solid"/>
                <a:miter/>
              </a:ln>
            </p:spPr>
            <p:txBody>
              <a:bodyPr rtlCol="0" anchor="ctr"/>
              <a:lstStyle/>
              <a:p>
                <a:endParaRPr lang="en-GB"/>
              </a:p>
            </p:txBody>
          </p:sp>
        </p:grpSp>
        <p:grpSp>
          <p:nvGrpSpPr>
            <p:cNvPr id="612" name="Graphic 3">
              <a:extLst>
                <a:ext uri="{FF2B5EF4-FFF2-40B4-BE49-F238E27FC236}">
                  <a16:creationId xmlns:a16="http://schemas.microsoft.com/office/drawing/2014/main" id="{D5A9CABD-D139-4D99-B0D7-568993C3356A}"/>
                </a:ext>
              </a:extLst>
            </p:cNvPr>
            <p:cNvGrpSpPr/>
            <p:nvPr/>
          </p:nvGrpSpPr>
          <p:grpSpPr>
            <a:xfrm>
              <a:off x="5604666" y="1177060"/>
              <a:ext cx="20512" cy="29636"/>
              <a:chOff x="5604666" y="1177060"/>
              <a:chExt cx="20512" cy="29636"/>
            </a:xfrm>
            <a:grpFill/>
          </p:grpSpPr>
          <p:sp>
            <p:nvSpPr>
              <p:cNvPr id="3553" name="Vrije vorm: vorm 3552">
                <a:extLst>
                  <a:ext uri="{FF2B5EF4-FFF2-40B4-BE49-F238E27FC236}">
                    <a16:creationId xmlns:a16="http://schemas.microsoft.com/office/drawing/2014/main" id="{F3DC00BA-D3DC-40B9-90DC-64EEEDC79FB8}"/>
                  </a:ext>
                </a:extLst>
              </p:cNvPr>
              <p:cNvSpPr/>
              <p:nvPr/>
            </p:nvSpPr>
            <p:spPr>
              <a:xfrm>
                <a:off x="5606879" y="1188225"/>
                <a:ext cx="18299" cy="18471"/>
              </a:xfrm>
              <a:custGeom>
                <a:avLst/>
                <a:gdLst>
                  <a:gd name="connsiteX0" fmla="*/ 187 w 18299"/>
                  <a:gd name="connsiteY0" fmla="*/ 11010 h 18471"/>
                  <a:gd name="connsiteX1" fmla="*/ 7364 w 18299"/>
                  <a:gd name="connsiteY1" fmla="*/ 185 h 18471"/>
                  <a:gd name="connsiteX2" fmla="*/ 18129 w 18299"/>
                  <a:gd name="connsiteY2" fmla="*/ 7481 h 18471"/>
                  <a:gd name="connsiteX3" fmla="*/ 10952 w 18299"/>
                  <a:gd name="connsiteY3" fmla="*/ 18306 h 18471"/>
                  <a:gd name="connsiteX4" fmla="*/ 187 w 18299"/>
                  <a:gd name="connsiteY4" fmla="*/ 11010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71">
                    <a:moveTo>
                      <a:pt x="187" y="11010"/>
                    </a:moveTo>
                    <a:cubicBezTo>
                      <a:pt x="-830" y="6046"/>
                      <a:pt x="2400" y="1201"/>
                      <a:pt x="7364" y="185"/>
                    </a:cubicBezTo>
                    <a:cubicBezTo>
                      <a:pt x="12328" y="-832"/>
                      <a:pt x="17172" y="2457"/>
                      <a:pt x="18129" y="7481"/>
                    </a:cubicBezTo>
                    <a:cubicBezTo>
                      <a:pt x="19086" y="12505"/>
                      <a:pt x="15916" y="17289"/>
                      <a:pt x="10952" y="18306"/>
                    </a:cubicBezTo>
                    <a:cubicBezTo>
                      <a:pt x="5988" y="19263"/>
                      <a:pt x="1144" y="15974"/>
                      <a:pt x="187" y="11010"/>
                    </a:cubicBezTo>
                    <a:close/>
                  </a:path>
                </a:pathLst>
              </a:custGeom>
              <a:grpFill/>
              <a:ln w="5978" cap="flat">
                <a:noFill/>
                <a:prstDash val="solid"/>
                <a:miter/>
              </a:ln>
            </p:spPr>
            <p:txBody>
              <a:bodyPr rtlCol="0" anchor="ctr"/>
              <a:lstStyle/>
              <a:p>
                <a:endParaRPr lang="en-GB"/>
              </a:p>
            </p:txBody>
          </p:sp>
          <p:sp>
            <p:nvSpPr>
              <p:cNvPr id="3554" name="Vrije vorm: vorm 3553">
                <a:extLst>
                  <a:ext uri="{FF2B5EF4-FFF2-40B4-BE49-F238E27FC236}">
                    <a16:creationId xmlns:a16="http://schemas.microsoft.com/office/drawing/2014/main" id="{EBD0B915-316C-413F-B7E0-F0D28A81D119}"/>
                  </a:ext>
                </a:extLst>
              </p:cNvPr>
              <p:cNvSpPr/>
              <p:nvPr/>
            </p:nvSpPr>
            <p:spPr>
              <a:xfrm>
                <a:off x="5604666" y="1177060"/>
                <a:ext cx="18316" cy="18452"/>
              </a:xfrm>
              <a:custGeom>
                <a:avLst/>
                <a:gdLst>
                  <a:gd name="connsiteX0" fmla="*/ 187 w 18316"/>
                  <a:gd name="connsiteY0" fmla="*/ 10991 h 18452"/>
                  <a:gd name="connsiteX1" fmla="*/ 10952 w 18316"/>
                  <a:gd name="connsiteY1" fmla="*/ 18287 h 18452"/>
                  <a:gd name="connsiteX2" fmla="*/ 18129 w 18316"/>
                  <a:gd name="connsiteY2" fmla="*/ 7462 h 18452"/>
                  <a:gd name="connsiteX3" fmla="*/ 7364 w 18316"/>
                  <a:gd name="connsiteY3" fmla="*/ 166 h 18452"/>
                  <a:gd name="connsiteX4" fmla="*/ 187 w 18316"/>
                  <a:gd name="connsiteY4" fmla="*/ 1099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2">
                    <a:moveTo>
                      <a:pt x="187" y="10991"/>
                    </a:moveTo>
                    <a:cubicBezTo>
                      <a:pt x="1144" y="15955"/>
                      <a:pt x="5988" y="19244"/>
                      <a:pt x="10952" y="18287"/>
                    </a:cubicBezTo>
                    <a:cubicBezTo>
                      <a:pt x="15916" y="17330"/>
                      <a:pt x="19146" y="12486"/>
                      <a:pt x="18129" y="7462"/>
                    </a:cubicBezTo>
                    <a:cubicBezTo>
                      <a:pt x="17172" y="2498"/>
                      <a:pt x="12328" y="-791"/>
                      <a:pt x="7364" y="166"/>
                    </a:cubicBezTo>
                    <a:cubicBezTo>
                      <a:pt x="2400" y="1182"/>
                      <a:pt x="-830" y="6027"/>
                      <a:pt x="187" y="10991"/>
                    </a:cubicBezTo>
                    <a:close/>
                  </a:path>
                </a:pathLst>
              </a:custGeom>
              <a:grpFill/>
              <a:ln w="5978" cap="flat">
                <a:noFill/>
                <a:prstDash val="solid"/>
                <a:miter/>
              </a:ln>
            </p:spPr>
            <p:txBody>
              <a:bodyPr rtlCol="0" anchor="ctr"/>
              <a:lstStyle/>
              <a:p>
                <a:endParaRPr lang="en-GB"/>
              </a:p>
            </p:txBody>
          </p:sp>
        </p:grpSp>
        <p:grpSp>
          <p:nvGrpSpPr>
            <p:cNvPr id="613" name="Graphic 3">
              <a:extLst>
                <a:ext uri="{FF2B5EF4-FFF2-40B4-BE49-F238E27FC236}">
                  <a16:creationId xmlns:a16="http://schemas.microsoft.com/office/drawing/2014/main" id="{D954CF97-3FD3-411F-970F-A51B64F77B55}"/>
                </a:ext>
              </a:extLst>
            </p:cNvPr>
            <p:cNvGrpSpPr/>
            <p:nvPr/>
          </p:nvGrpSpPr>
          <p:grpSpPr>
            <a:xfrm>
              <a:off x="6857506" y="4889990"/>
              <a:ext cx="51094" cy="78290"/>
              <a:chOff x="6857506" y="4889990"/>
              <a:chExt cx="51094" cy="78290"/>
            </a:xfrm>
            <a:grpFill/>
          </p:grpSpPr>
          <p:sp>
            <p:nvSpPr>
              <p:cNvPr id="3550" name="Vrije vorm: vorm 3549">
                <a:extLst>
                  <a:ext uri="{FF2B5EF4-FFF2-40B4-BE49-F238E27FC236}">
                    <a16:creationId xmlns:a16="http://schemas.microsoft.com/office/drawing/2014/main" id="{20632D33-FDB4-4C2D-B64C-6F2745B9AF0A}"/>
                  </a:ext>
                </a:extLst>
              </p:cNvPr>
              <p:cNvSpPr/>
              <p:nvPr/>
            </p:nvSpPr>
            <p:spPr>
              <a:xfrm>
                <a:off x="6865051" y="4898072"/>
                <a:ext cx="35944" cy="62139"/>
              </a:xfrm>
              <a:custGeom>
                <a:avLst/>
                <a:gdLst>
                  <a:gd name="connsiteX0" fmla="*/ 35944 w 35944"/>
                  <a:gd name="connsiteY0" fmla="*/ 60644 h 62139"/>
                  <a:gd name="connsiteX1" fmla="*/ 33252 w 35944"/>
                  <a:gd name="connsiteY1" fmla="*/ 62139 h 62139"/>
                  <a:gd name="connsiteX2" fmla="*/ 0 w 35944"/>
                  <a:gd name="connsiteY2" fmla="*/ 1435 h 62139"/>
                  <a:gd name="connsiteX3" fmla="*/ 2691 w 35944"/>
                  <a:gd name="connsiteY3" fmla="*/ 0 h 62139"/>
                </a:gdLst>
                <a:ahLst/>
                <a:cxnLst>
                  <a:cxn ang="0">
                    <a:pos x="connsiteX0" y="connsiteY0"/>
                  </a:cxn>
                  <a:cxn ang="0">
                    <a:pos x="connsiteX1" y="connsiteY1"/>
                  </a:cxn>
                  <a:cxn ang="0">
                    <a:pos x="connsiteX2" y="connsiteY2"/>
                  </a:cxn>
                  <a:cxn ang="0">
                    <a:pos x="connsiteX3" y="connsiteY3"/>
                  </a:cxn>
                </a:cxnLst>
                <a:rect l="l" t="t" r="r" b="b"/>
                <a:pathLst>
                  <a:path w="35944" h="62139">
                    <a:moveTo>
                      <a:pt x="35944" y="60644"/>
                    </a:moveTo>
                    <a:lnTo>
                      <a:pt x="33252" y="62139"/>
                    </a:lnTo>
                    <a:lnTo>
                      <a:pt x="0" y="1435"/>
                    </a:lnTo>
                    <a:lnTo>
                      <a:pt x="2691" y="0"/>
                    </a:lnTo>
                    <a:close/>
                  </a:path>
                </a:pathLst>
              </a:custGeom>
              <a:grpFill/>
              <a:ln w="5978" cap="flat">
                <a:noFill/>
                <a:prstDash val="solid"/>
                <a:miter/>
              </a:ln>
            </p:spPr>
            <p:txBody>
              <a:bodyPr rtlCol="0" anchor="ctr"/>
              <a:lstStyle/>
              <a:p>
                <a:endParaRPr lang="en-GB"/>
              </a:p>
            </p:txBody>
          </p:sp>
          <p:sp>
            <p:nvSpPr>
              <p:cNvPr id="3551" name="Vrije vorm: vorm 3550">
                <a:extLst>
                  <a:ext uri="{FF2B5EF4-FFF2-40B4-BE49-F238E27FC236}">
                    <a16:creationId xmlns:a16="http://schemas.microsoft.com/office/drawing/2014/main" id="{32566E7F-5EC5-4F9F-84A2-5F534C362597}"/>
                  </a:ext>
                </a:extLst>
              </p:cNvPr>
              <p:cNvSpPr/>
              <p:nvPr/>
            </p:nvSpPr>
            <p:spPr>
              <a:xfrm>
                <a:off x="6890280" y="4949857"/>
                <a:ext cx="18320" cy="18423"/>
              </a:xfrm>
              <a:custGeom>
                <a:avLst/>
                <a:gdLst>
                  <a:gd name="connsiteX0" fmla="*/ 17174 w 18320"/>
                  <a:gd name="connsiteY0" fmla="*/ 4792 h 18423"/>
                  <a:gd name="connsiteX1" fmla="*/ 13586 w 18320"/>
                  <a:gd name="connsiteY1" fmla="*/ 17292 h 18423"/>
                  <a:gd name="connsiteX2" fmla="*/ 1146 w 18320"/>
                  <a:gd name="connsiteY2" fmla="*/ 13644 h 18423"/>
                  <a:gd name="connsiteX3" fmla="*/ 4735 w 18320"/>
                  <a:gd name="connsiteY3" fmla="*/ 1144 h 18423"/>
                  <a:gd name="connsiteX4" fmla="*/ 17174 w 18320"/>
                  <a:gd name="connsiteY4" fmla="*/ 47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17174" y="4792"/>
                    </a:moveTo>
                    <a:cubicBezTo>
                      <a:pt x="19626" y="9278"/>
                      <a:pt x="18012" y="14840"/>
                      <a:pt x="13586" y="17292"/>
                    </a:cubicBezTo>
                    <a:cubicBezTo>
                      <a:pt x="9160" y="19744"/>
                      <a:pt x="3598" y="18070"/>
                      <a:pt x="1146" y="13644"/>
                    </a:cubicBezTo>
                    <a:cubicBezTo>
                      <a:pt x="-1306" y="9158"/>
                      <a:pt x="309" y="3596"/>
                      <a:pt x="4735" y="1144"/>
                    </a:cubicBezTo>
                    <a:cubicBezTo>
                      <a:pt x="9160" y="-1308"/>
                      <a:pt x="14722" y="307"/>
                      <a:pt x="17174" y="4792"/>
                    </a:cubicBezTo>
                    <a:close/>
                  </a:path>
                </a:pathLst>
              </a:custGeom>
              <a:grpFill/>
              <a:ln w="5978" cap="flat">
                <a:noFill/>
                <a:prstDash val="solid"/>
                <a:miter/>
              </a:ln>
            </p:spPr>
            <p:txBody>
              <a:bodyPr rtlCol="0" anchor="ctr"/>
              <a:lstStyle/>
              <a:p>
                <a:endParaRPr lang="en-GB"/>
              </a:p>
            </p:txBody>
          </p:sp>
          <p:sp>
            <p:nvSpPr>
              <p:cNvPr id="3552" name="Vrije vorm: vorm 3551">
                <a:extLst>
                  <a:ext uri="{FF2B5EF4-FFF2-40B4-BE49-F238E27FC236}">
                    <a16:creationId xmlns:a16="http://schemas.microsoft.com/office/drawing/2014/main" id="{121B0080-AEE7-4F0D-8006-E132027DFC6E}"/>
                  </a:ext>
                </a:extLst>
              </p:cNvPr>
              <p:cNvSpPr/>
              <p:nvPr/>
            </p:nvSpPr>
            <p:spPr>
              <a:xfrm>
                <a:off x="6857506" y="4889990"/>
                <a:ext cx="18293" cy="18436"/>
              </a:xfrm>
              <a:custGeom>
                <a:avLst/>
                <a:gdLst>
                  <a:gd name="connsiteX0" fmla="*/ 17174 w 18293"/>
                  <a:gd name="connsiteY0" fmla="*/ 4792 h 18436"/>
                  <a:gd name="connsiteX1" fmla="*/ 4734 w 18293"/>
                  <a:gd name="connsiteY1" fmla="*/ 1144 h 18436"/>
                  <a:gd name="connsiteX2" fmla="*/ 1146 w 18293"/>
                  <a:gd name="connsiteY2" fmla="*/ 13644 h 18436"/>
                  <a:gd name="connsiteX3" fmla="*/ 13586 w 18293"/>
                  <a:gd name="connsiteY3" fmla="*/ 17292 h 18436"/>
                  <a:gd name="connsiteX4" fmla="*/ 17174 w 18293"/>
                  <a:gd name="connsiteY4" fmla="*/ 47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36">
                    <a:moveTo>
                      <a:pt x="17174" y="4792"/>
                    </a:moveTo>
                    <a:cubicBezTo>
                      <a:pt x="14722" y="307"/>
                      <a:pt x="9160" y="-1308"/>
                      <a:pt x="4734" y="1144"/>
                    </a:cubicBezTo>
                    <a:cubicBezTo>
                      <a:pt x="308" y="3596"/>
                      <a:pt x="-1306" y="9158"/>
                      <a:pt x="1146" y="13644"/>
                    </a:cubicBezTo>
                    <a:cubicBezTo>
                      <a:pt x="3598" y="18129"/>
                      <a:pt x="9160" y="19744"/>
                      <a:pt x="13586" y="17292"/>
                    </a:cubicBezTo>
                    <a:cubicBezTo>
                      <a:pt x="18012" y="14840"/>
                      <a:pt x="19567" y="9218"/>
                      <a:pt x="17174" y="4792"/>
                    </a:cubicBezTo>
                    <a:close/>
                  </a:path>
                </a:pathLst>
              </a:custGeom>
              <a:grpFill/>
              <a:ln w="5978" cap="flat">
                <a:noFill/>
                <a:prstDash val="solid"/>
                <a:miter/>
              </a:ln>
            </p:spPr>
            <p:txBody>
              <a:bodyPr rtlCol="0" anchor="ctr"/>
              <a:lstStyle/>
              <a:p>
                <a:endParaRPr lang="en-GB"/>
              </a:p>
            </p:txBody>
          </p:sp>
        </p:grpSp>
        <p:grpSp>
          <p:nvGrpSpPr>
            <p:cNvPr id="614" name="Graphic 3">
              <a:extLst>
                <a:ext uri="{FF2B5EF4-FFF2-40B4-BE49-F238E27FC236}">
                  <a16:creationId xmlns:a16="http://schemas.microsoft.com/office/drawing/2014/main" id="{D5F6875D-E6C2-461A-B034-027DFBAE19CC}"/>
                </a:ext>
              </a:extLst>
            </p:cNvPr>
            <p:cNvGrpSpPr/>
            <p:nvPr/>
          </p:nvGrpSpPr>
          <p:grpSpPr>
            <a:xfrm>
              <a:off x="6875517" y="4991863"/>
              <a:ext cx="70486" cy="118065"/>
              <a:chOff x="6875517" y="4991863"/>
              <a:chExt cx="70486" cy="118065"/>
            </a:xfrm>
            <a:grpFill/>
          </p:grpSpPr>
          <p:sp>
            <p:nvSpPr>
              <p:cNvPr id="3547" name="Vrije vorm: vorm 3546">
                <a:extLst>
                  <a:ext uri="{FF2B5EF4-FFF2-40B4-BE49-F238E27FC236}">
                    <a16:creationId xmlns:a16="http://schemas.microsoft.com/office/drawing/2014/main" id="{A53913C4-E14B-4772-B902-44ACADF88D7F}"/>
                  </a:ext>
                </a:extLst>
              </p:cNvPr>
              <p:cNvSpPr/>
              <p:nvPr/>
            </p:nvSpPr>
            <p:spPr>
              <a:xfrm>
                <a:off x="6883113" y="4999983"/>
                <a:ext cx="55261" cy="101851"/>
              </a:xfrm>
              <a:custGeom>
                <a:avLst/>
                <a:gdLst>
                  <a:gd name="connsiteX0" fmla="*/ 55262 w 55261"/>
                  <a:gd name="connsiteY0" fmla="*/ 100416 h 101851"/>
                  <a:gd name="connsiteX1" fmla="*/ 52570 w 55261"/>
                  <a:gd name="connsiteY1" fmla="*/ 101852 h 101851"/>
                  <a:gd name="connsiteX2" fmla="*/ 0 w 55261"/>
                  <a:gd name="connsiteY2" fmla="*/ 1435 h 101851"/>
                  <a:gd name="connsiteX3" fmla="*/ 2691 w 55261"/>
                  <a:gd name="connsiteY3" fmla="*/ 0 h 101851"/>
                </a:gdLst>
                <a:ahLst/>
                <a:cxnLst>
                  <a:cxn ang="0">
                    <a:pos x="connsiteX0" y="connsiteY0"/>
                  </a:cxn>
                  <a:cxn ang="0">
                    <a:pos x="connsiteX1" y="connsiteY1"/>
                  </a:cxn>
                  <a:cxn ang="0">
                    <a:pos x="connsiteX2" y="connsiteY2"/>
                  </a:cxn>
                  <a:cxn ang="0">
                    <a:pos x="connsiteX3" y="connsiteY3"/>
                  </a:cxn>
                </a:cxnLst>
                <a:rect l="l" t="t" r="r" b="b"/>
                <a:pathLst>
                  <a:path w="55261" h="101851">
                    <a:moveTo>
                      <a:pt x="55262" y="100416"/>
                    </a:moveTo>
                    <a:lnTo>
                      <a:pt x="52570" y="101852"/>
                    </a:lnTo>
                    <a:lnTo>
                      <a:pt x="0" y="1435"/>
                    </a:lnTo>
                    <a:lnTo>
                      <a:pt x="2691" y="0"/>
                    </a:lnTo>
                    <a:close/>
                  </a:path>
                </a:pathLst>
              </a:custGeom>
              <a:grpFill/>
              <a:ln w="5978" cap="flat">
                <a:noFill/>
                <a:prstDash val="solid"/>
                <a:miter/>
              </a:ln>
            </p:spPr>
            <p:txBody>
              <a:bodyPr rtlCol="0" anchor="ctr"/>
              <a:lstStyle/>
              <a:p>
                <a:endParaRPr lang="en-GB"/>
              </a:p>
            </p:txBody>
          </p:sp>
          <p:sp>
            <p:nvSpPr>
              <p:cNvPr id="3548" name="Vrije vorm: vorm 3547">
                <a:extLst>
                  <a:ext uri="{FF2B5EF4-FFF2-40B4-BE49-F238E27FC236}">
                    <a16:creationId xmlns:a16="http://schemas.microsoft.com/office/drawing/2014/main" id="{5AC6454A-8219-4B8F-B70D-69A4DC95C2F0}"/>
                  </a:ext>
                </a:extLst>
              </p:cNvPr>
              <p:cNvSpPr/>
              <p:nvPr/>
            </p:nvSpPr>
            <p:spPr>
              <a:xfrm>
                <a:off x="6927696" y="5091490"/>
                <a:ext cx="18307" cy="18438"/>
              </a:xfrm>
              <a:custGeom>
                <a:avLst/>
                <a:gdLst>
                  <a:gd name="connsiteX0" fmla="*/ 17258 w 18307"/>
                  <a:gd name="connsiteY0" fmla="*/ 4962 h 18438"/>
                  <a:gd name="connsiteX1" fmla="*/ 13430 w 18307"/>
                  <a:gd name="connsiteY1" fmla="*/ 17402 h 18438"/>
                  <a:gd name="connsiteX2" fmla="*/ 1050 w 18307"/>
                  <a:gd name="connsiteY2" fmla="*/ 13515 h 18438"/>
                  <a:gd name="connsiteX3" fmla="*/ 4877 w 18307"/>
                  <a:gd name="connsiteY3" fmla="*/ 1075 h 18438"/>
                  <a:gd name="connsiteX4" fmla="*/ 17258 w 18307"/>
                  <a:gd name="connsiteY4" fmla="*/ 496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17258" y="4962"/>
                    </a:moveTo>
                    <a:cubicBezTo>
                      <a:pt x="19590" y="9448"/>
                      <a:pt x="17915" y="15010"/>
                      <a:pt x="13430" y="17402"/>
                    </a:cubicBezTo>
                    <a:cubicBezTo>
                      <a:pt x="8944" y="19734"/>
                      <a:pt x="3382" y="18000"/>
                      <a:pt x="1050" y="13515"/>
                    </a:cubicBezTo>
                    <a:cubicBezTo>
                      <a:pt x="-1283" y="9029"/>
                      <a:pt x="392" y="3467"/>
                      <a:pt x="4877" y="1075"/>
                    </a:cubicBezTo>
                    <a:cubicBezTo>
                      <a:pt x="9303" y="-1318"/>
                      <a:pt x="14865" y="417"/>
                      <a:pt x="17258" y="4962"/>
                    </a:cubicBezTo>
                    <a:close/>
                  </a:path>
                </a:pathLst>
              </a:custGeom>
              <a:grpFill/>
              <a:ln w="5978" cap="flat">
                <a:noFill/>
                <a:prstDash val="solid"/>
                <a:miter/>
              </a:ln>
            </p:spPr>
            <p:txBody>
              <a:bodyPr rtlCol="0" anchor="ctr"/>
              <a:lstStyle/>
              <a:p>
                <a:endParaRPr lang="en-GB"/>
              </a:p>
            </p:txBody>
          </p:sp>
          <p:sp>
            <p:nvSpPr>
              <p:cNvPr id="3549" name="Vrije vorm: vorm 3548">
                <a:extLst>
                  <a:ext uri="{FF2B5EF4-FFF2-40B4-BE49-F238E27FC236}">
                    <a16:creationId xmlns:a16="http://schemas.microsoft.com/office/drawing/2014/main" id="{BD621ACD-3230-49B9-B732-6DB4E32C39FE}"/>
                  </a:ext>
                </a:extLst>
              </p:cNvPr>
              <p:cNvSpPr/>
              <p:nvPr/>
            </p:nvSpPr>
            <p:spPr>
              <a:xfrm>
                <a:off x="6875517" y="4991863"/>
                <a:ext cx="18322" cy="18453"/>
              </a:xfrm>
              <a:custGeom>
                <a:avLst/>
                <a:gdLst>
                  <a:gd name="connsiteX0" fmla="*/ 17285 w 18322"/>
                  <a:gd name="connsiteY0" fmla="*/ 4951 h 18453"/>
                  <a:gd name="connsiteX1" fmla="*/ 4904 w 18322"/>
                  <a:gd name="connsiteY1" fmla="*/ 1063 h 18453"/>
                  <a:gd name="connsiteX2" fmla="*/ 1076 w 18322"/>
                  <a:gd name="connsiteY2" fmla="*/ 13503 h 18453"/>
                  <a:gd name="connsiteX3" fmla="*/ 13457 w 18322"/>
                  <a:gd name="connsiteY3" fmla="*/ 17390 h 18453"/>
                  <a:gd name="connsiteX4" fmla="*/ 17285 w 18322"/>
                  <a:gd name="connsiteY4" fmla="*/ 495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7285" y="4951"/>
                    </a:moveTo>
                    <a:cubicBezTo>
                      <a:pt x="14952" y="465"/>
                      <a:pt x="9390" y="-1329"/>
                      <a:pt x="4904" y="1063"/>
                    </a:cubicBezTo>
                    <a:cubicBezTo>
                      <a:pt x="419" y="3396"/>
                      <a:pt x="-1316" y="8958"/>
                      <a:pt x="1076" y="13503"/>
                    </a:cubicBezTo>
                    <a:cubicBezTo>
                      <a:pt x="3409" y="17989"/>
                      <a:pt x="8971" y="19783"/>
                      <a:pt x="13457" y="17390"/>
                    </a:cubicBezTo>
                    <a:cubicBezTo>
                      <a:pt x="17883" y="15058"/>
                      <a:pt x="19616" y="9496"/>
                      <a:pt x="17285" y="4951"/>
                    </a:cubicBezTo>
                    <a:close/>
                  </a:path>
                </a:pathLst>
              </a:custGeom>
              <a:grpFill/>
              <a:ln w="5978" cap="flat">
                <a:noFill/>
                <a:prstDash val="solid"/>
                <a:miter/>
              </a:ln>
            </p:spPr>
            <p:txBody>
              <a:bodyPr rtlCol="0" anchor="ctr"/>
              <a:lstStyle/>
              <a:p>
                <a:endParaRPr lang="en-GB"/>
              </a:p>
            </p:txBody>
          </p:sp>
        </p:grpSp>
        <p:grpSp>
          <p:nvGrpSpPr>
            <p:cNvPr id="615" name="Graphic 3">
              <a:extLst>
                <a:ext uri="{FF2B5EF4-FFF2-40B4-BE49-F238E27FC236}">
                  <a16:creationId xmlns:a16="http://schemas.microsoft.com/office/drawing/2014/main" id="{8A9FB1DE-8BFF-43D9-B965-1916824301A4}"/>
                </a:ext>
              </a:extLst>
            </p:cNvPr>
            <p:cNvGrpSpPr/>
            <p:nvPr/>
          </p:nvGrpSpPr>
          <p:grpSpPr>
            <a:xfrm>
              <a:off x="6828000" y="4902954"/>
              <a:ext cx="169434" cy="387028"/>
              <a:chOff x="6828000" y="4902954"/>
              <a:chExt cx="169434" cy="387028"/>
            </a:xfrm>
            <a:grpFill/>
          </p:grpSpPr>
          <p:sp>
            <p:nvSpPr>
              <p:cNvPr id="3544" name="Vrije vorm: vorm 3543">
                <a:extLst>
                  <a:ext uri="{FF2B5EF4-FFF2-40B4-BE49-F238E27FC236}">
                    <a16:creationId xmlns:a16="http://schemas.microsoft.com/office/drawing/2014/main" id="{80176387-A781-4AF5-BE74-D153D755E5AF}"/>
                  </a:ext>
                </a:extLst>
              </p:cNvPr>
              <p:cNvSpPr/>
              <p:nvPr/>
            </p:nvSpPr>
            <p:spPr>
              <a:xfrm>
                <a:off x="6835373" y="4910830"/>
                <a:ext cx="154505" cy="370486"/>
              </a:xfrm>
              <a:custGeom>
                <a:avLst/>
                <a:gdLst>
                  <a:gd name="connsiteX0" fmla="*/ 0 w 154505"/>
                  <a:gd name="connsiteY0" fmla="*/ 1159 h 370486"/>
                  <a:gd name="connsiteX1" fmla="*/ 2821 w 154505"/>
                  <a:gd name="connsiteY1" fmla="*/ 0 h 370486"/>
                  <a:gd name="connsiteX2" fmla="*/ 154505 w 154505"/>
                  <a:gd name="connsiteY2" fmla="*/ 369327 h 370486"/>
                  <a:gd name="connsiteX3" fmla="*/ 151684 w 154505"/>
                  <a:gd name="connsiteY3" fmla="*/ 370486 h 370486"/>
                </a:gdLst>
                <a:ahLst/>
                <a:cxnLst>
                  <a:cxn ang="0">
                    <a:pos x="connsiteX0" y="connsiteY0"/>
                  </a:cxn>
                  <a:cxn ang="0">
                    <a:pos x="connsiteX1" y="connsiteY1"/>
                  </a:cxn>
                  <a:cxn ang="0">
                    <a:pos x="connsiteX2" y="connsiteY2"/>
                  </a:cxn>
                  <a:cxn ang="0">
                    <a:pos x="connsiteX3" y="connsiteY3"/>
                  </a:cxn>
                </a:cxnLst>
                <a:rect l="l" t="t" r="r" b="b"/>
                <a:pathLst>
                  <a:path w="154505" h="370486">
                    <a:moveTo>
                      <a:pt x="0" y="1159"/>
                    </a:moveTo>
                    <a:lnTo>
                      <a:pt x="2821" y="0"/>
                    </a:lnTo>
                    <a:lnTo>
                      <a:pt x="154505" y="369327"/>
                    </a:lnTo>
                    <a:lnTo>
                      <a:pt x="151684" y="370486"/>
                    </a:lnTo>
                    <a:close/>
                  </a:path>
                </a:pathLst>
              </a:custGeom>
              <a:grpFill/>
              <a:ln w="5978" cap="flat">
                <a:noFill/>
                <a:prstDash val="solid"/>
                <a:miter/>
              </a:ln>
            </p:spPr>
            <p:txBody>
              <a:bodyPr rtlCol="0" anchor="ctr"/>
              <a:lstStyle/>
              <a:p>
                <a:endParaRPr lang="en-GB"/>
              </a:p>
            </p:txBody>
          </p:sp>
          <p:sp>
            <p:nvSpPr>
              <p:cNvPr id="3545" name="Vrije vorm: vorm 3544">
                <a:extLst>
                  <a:ext uri="{FF2B5EF4-FFF2-40B4-BE49-F238E27FC236}">
                    <a16:creationId xmlns:a16="http://schemas.microsoft.com/office/drawing/2014/main" id="{AF957197-0452-456E-93E2-A266819FBF9D}"/>
                  </a:ext>
                </a:extLst>
              </p:cNvPr>
              <p:cNvSpPr/>
              <p:nvPr/>
            </p:nvSpPr>
            <p:spPr>
              <a:xfrm>
                <a:off x="6828000" y="4902954"/>
                <a:ext cx="18301" cy="18436"/>
              </a:xfrm>
              <a:custGeom>
                <a:avLst/>
                <a:gdLst>
                  <a:gd name="connsiteX0" fmla="*/ 688 w 18301"/>
                  <a:gd name="connsiteY0" fmla="*/ 12701 h 18436"/>
                  <a:gd name="connsiteX1" fmla="*/ 5652 w 18301"/>
                  <a:gd name="connsiteY1" fmla="*/ 679 h 18436"/>
                  <a:gd name="connsiteX2" fmla="*/ 17614 w 18301"/>
                  <a:gd name="connsiteY2" fmla="*/ 5703 h 18436"/>
                  <a:gd name="connsiteX3" fmla="*/ 12649 w 18301"/>
                  <a:gd name="connsiteY3" fmla="*/ 17724 h 18436"/>
                  <a:gd name="connsiteX4" fmla="*/ 688 w 18301"/>
                  <a:gd name="connsiteY4" fmla="*/ 127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6">
                    <a:moveTo>
                      <a:pt x="688" y="12701"/>
                    </a:moveTo>
                    <a:cubicBezTo>
                      <a:pt x="-1226" y="7976"/>
                      <a:pt x="987" y="2593"/>
                      <a:pt x="5652" y="679"/>
                    </a:cubicBezTo>
                    <a:cubicBezTo>
                      <a:pt x="10317" y="-1235"/>
                      <a:pt x="15700" y="1038"/>
                      <a:pt x="17614" y="5703"/>
                    </a:cubicBezTo>
                    <a:cubicBezTo>
                      <a:pt x="19527" y="10428"/>
                      <a:pt x="17314" y="15810"/>
                      <a:pt x="12649" y="17724"/>
                    </a:cubicBezTo>
                    <a:cubicBezTo>
                      <a:pt x="7985" y="19698"/>
                      <a:pt x="2602" y="17425"/>
                      <a:pt x="688" y="12701"/>
                    </a:cubicBezTo>
                    <a:close/>
                  </a:path>
                </a:pathLst>
              </a:custGeom>
              <a:grpFill/>
              <a:ln w="5978" cap="flat">
                <a:noFill/>
                <a:prstDash val="solid"/>
                <a:miter/>
              </a:ln>
            </p:spPr>
            <p:txBody>
              <a:bodyPr rtlCol="0" anchor="ctr"/>
              <a:lstStyle/>
              <a:p>
                <a:endParaRPr lang="en-GB"/>
              </a:p>
            </p:txBody>
          </p:sp>
          <p:sp>
            <p:nvSpPr>
              <p:cNvPr id="3546" name="Vrije vorm: vorm 3545">
                <a:extLst>
                  <a:ext uri="{FF2B5EF4-FFF2-40B4-BE49-F238E27FC236}">
                    <a16:creationId xmlns:a16="http://schemas.microsoft.com/office/drawing/2014/main" id="{0294D27F-4F89-4D24-802C-3BA5AF42072A}"/>
                  </a:ext>
                </a:extLst>
              </p:cNvPr>
              <p:cNvSpPr/>
              <p:nvPr/>
            </p:nvSpPr>
            <p:spPr>
              <a:xfrm>
                <a:off x="6979133" y="5271513"/>
                <a:ext cx="18301" cy="18469"/>
              </a:xfrm>
              <a:custGeom>
                <a:avLst/>
                <a:gdLst>
                  <a:gd name="connsiteX0" fmla="*/ 688 w 18301"/>
                  <a:gd name="connsiteY0" fmla="*/ 12734 h 18469"/>
                  <a:gd name="connsiteX1" fmla="*/ 12649 w 18301"/>
                  <a:gd name="connsiteY1" fmla="*/ 17757 h 18469"/>
                  <a:gd name="connsiteX2" fmla="*/ 17614 w 18301"/>
                  <a:gd name="connsiteY2" fmla="*/ 5736 h 18469"/>
                  <a:gd name="connsiteX3" fmla="*/ 5652 w 18301"/>
                  <a:gd name="connsiteY3" fmla="*/ 712 h 18469"/>
                  <a:gd name="connsiteX4" fmla="*/ 688 w 18301"/>
                  <a:gd name="connsiteY4" fmla="*/ 12734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9">
                    <a:moveTo>
                      <a:pt x="688" y="12734"/>
                    </a:moveTo>
                    <a:cubicBezTo>
                      <a:pt x="2602" y="17458"/>
                      <a:pt x="7984" y="19731"/>
                      <a:pt x="12649" y="17757"/>
                    </a:cubicBezTo>
                    <a:cubicBezTo>
                      <a:pt x="17315" y="15843"/>
                      <a:pt x="19527" y="10461"/>
                      <a:pt x="17614" y="5736"/>
                    </a:cubicBezTo>
                    <a:cubicBezTo>
                      <a:pt x="15700" y="1011"/>
                      <a:pt x="10317" y="-1261"/>
                      <a:pt x="5652" y="712"/>
                    </a:cubicBezTo>
                    <a:cubicBezTo>
                      <a:pt x="987" y="2626"/>
                      <a:pt x="-1226" y="8009"/>
                      <a:pt x="688" y="12734"/>
                    </a:cubicBezTo>
                    <a:close/>
                  </a:path>
                </a:pathLst>
              </a:custGeom>
              <a:grpFill/>
              <a:ln w="5978" cap="flat">
                <a:noFill/>
                <a:prstDash val="solid"/>
                <a:miter/>
              </a:ln>
            </p:spPr>
            <p:txBody>
              <a:bodyPr rtlCol="0" anchor="ctr"/>
              <a:lstStyle/>
              <a:p>
                <a:endParaRPr lang="en-GB"/>
              </a:p>
            </p:txBody>
          </p:sp>
        </p:grpSp>
        <p:grpSp>
          <p:nvGrpSpPr>
            <p:cNvPr id="616" name="Graphic 3">
              <a:extLst>
                <a:ext uri="{FF2B5EF4-FFF2-40B4-BE49-F238E27FC236}">
                  <a16:creationId xmlns:a16="http://schemas.microsoft.com/office/drawing/2014/main" id="{7CFD283E-B7B0-4CA3-83C2-FF4A16292D64}"/>
                </a:ext>
              </a:extLst>
            </p:cNvPr>
            <p:cNvGrpSpPr/>
            <p:nvPr/>
          </p:nvGrpSpPr>
          <p:grpSpPr>
            <a:xfrm>
              <a:off x="6919150" y="5153195"/>
              <a:ext cx="77682" cy="137046"/>
              <a:chOff x="6919150" y="5153195"/>
              <a:chExt cx="77682" cy="137046"/>
            </a:xfrm>
            <a:grpFill/>
          </p:grpSpPr>
          <p:sp>
            <p:nvSpPr>
              <p:cNvPr id="3541" name="Vrije vorm: vorm 3540">
                <a:extLst>
                  <a:ext uri="{FF2B5EF4-FFF2-40B4-BE49-F238E27FC236}">
                    <a16:creationId xmlns:a16="http://schemas.microsoft.com/office/drawing/2014/main" id="{39032886-87B7-47B9-A49E-EBC3C91639CD}"/>
                  </a:ext>
                </a:extLst>
              </p:cNvPr>
              <p:cNvSpPr/>
              <p:nvPr/>
            </p:nvSpPr>
            <p:spPr>
              <a:xfrm>
                <a:off x="6926562" y="5160999"/>
                <a:ext cx="62557" cy="120759"/>
              </a:xfrm>
              <a:custGeom>
                <a:avLst/>
                <a:gdLst>
                  <a:gd name="connsiteX0" fmla="*/ 0 w 62557"/>
                  <a:gd name="connsiteY0" fmla="*/ 1367 h 120759"/>
                  <a:gd name="connsiteX1" fmla="*/ 2727 w 62557"/>
                  <a:gd name="connsiteY1" fmla="*/ 0 h 120759"/>
                  <a:gd name="connsiteX2" fmla="*/ 62557 w 62557"/>
                  <a:gd name="connsiteY2" fmla="*/ 119394 h 120759"/>
                  <a:gd name="connsiteX3" fmla="*/ 59830 w 62557"/>
                  <a:gd name="connsiteY3" fmla="*/ 120760 h 120759"/>
                </a:gdLst>
                <a:ahLst/>
                <a:cxnLst>
                  <a:cxn ang="0">
                    <a:pos x="connsiteX0" y="connsiteY0"/>
                  </a:cxn>
                  <a:cxn ang="0">
                    <a:pos x="connsiteX1" y="connsiteY1"/>
                  </a:cxn>
                  <a:cxn ang="0">
                    <a:pos x="connsiteX2" y="connsiteY2"/>
                  </a:cxn>
                  <a:cxn ang="0">
                    <a:pos x="connsiteX3" y="connsiteY3"/>
                  </a:cxn>
                </a:cxnLst>
                <a:rect l="l" t="t" r="r" b="b"/>
                <a:pathLst>
                  <a:path w="62557" h="120759">
                    <a:moveTo>
                      <a:pt x="0" y="1367"/>
                    </a:moveTo>
                    <a:lnTo>
                      <a:pt x="2727" y="0"/>
                    </a:lnTo>
                    <a:lnTo>
                      <a:pt x="62557" y="119394"/>
                    </a:lnTo>
                    <a:lnTo>
                      <a:pt x="59830" y="120760"/>
                    </a:lnTo>
                    <a:close/>
                  </a:path>
                </a:pathLst>
              </a:custGeom>
              <a:grpFill/>
              <a:ln w="5978" cap="flat">
                <a:noFill/>
                <a:prstDash val="solid"/>
                <a:miter/>
              </a:ln>
            </p:spPr>
            <p:txBody>
              <a:bodyPr rtlCol="0" anchor="ctr"/>
              <a:lstStyle/>
              <a:p>
                <a:endParaRPr lang="en-GB"/>
              </a:p>
            </p:txBody>
          </p:sp>
          <p:sp>
            <p:nvSpPr>
              <p:cNvPr id="3542" name="Vrije vorm: vorm 3541">
                <a:extLst>
                  <a:ext uri="{FF2B5EF4-FFF2-40B4-BE49-F238E27FC236}">
                    <a16:creationId xmlns:a16="http://schemas.microsoft.com/office/drawing/2014/main" id="{9E169934-9301-49D4-B1CE-A797722BFFBC}"/>
                  </a:ext>
                </a:extLst>
              </p:cNvPr>
              <p:cNvSpPr/>
              <p:nvPr/>
            </p:nvSpPr>
            <p:spPr>
              <a:xfrm>
                <a:off x="6978479" y="5271792"/>
                <a:ext cx="18353" cy="18449"/>
              </a:xfrm>
              <a:custGeom>
                <a:avLst/>
                <a:gdLst>
                  <a:gd name="connsiteX0" fmla="*/ 17371 w 18353"/>
                  <a:gd name="connsiteY0" fmla="*/ 5098 h 18449"/>
                  <a:gd name="connsiteX1" fmla="*/ 13303 w 18353"/>
                  <a:gd name="connsiteY1" fmla="*/ 17478 h 18449"/>
                  <a:gd name="connsiteX2" fmla="*/ 983 w 18353"/>
                  <a:gd name="connsiteY2" fmla="*/ 13351 h 18449"/>
                  <a:gd name="connsiteX3" fmla="*/ 5050 w 18353"/>
                  <a:gd name="connsiteY3" fmla="*/ 971 h 18449"/>
                  <a:gd name="connsiteX4" fmla="*/ 17371 w 18353"/>
                  <a:gd name="connsiteY4" fmla="*/ 509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9">
                    <a:moveTo>
                      <a:pt x="17371" y="5098"/>
                    </a:moveTo>
                    <a:cubicBezTo>
                      <a:pt x="19643" y="9643"/>
                      <a:pt x="17849" y="15205"/>
                      <a:pt x="13303" y="17478"/>
                    </a:cubicBezTo>
                    <a:cubicBezTo>
                      <a:pt x="8758" y="19751"/>
                      <a:pt x="3256" y="17897"/>
                      <a:pt x="983" y="13351"/>
                    </a:cubicBezTo>
                    <a:cubicBezTo>
                      <a:pt x="-1289" y="8806"/>
                      <a:pt x="505" y="3244"/>
                      <a:pt x="5050" y="971"/>
                    </a:cubicBezTo>
                    <a:cubicBezTo>
                      <a:pt x="9595" y="-1302"/>
                      <a:pt x="15098" y="552"/>
                      <a:pt x="17371" y="5098"/>
                    </a:cubicBezTo>
                    <a:close/>
                  </a:path>
                </a:pathLst>
              </a:custGeom>
              <a:grpFill/>
              <a:ln w="5978" cap="flat">
                <a:noFill/>
                <a:prstDash val="solid"/>
                <a:miter/>
              </a:ln>
            </p:spPr>
            <p:txBody>
              <a:bodyPr rtlCol="0" anchor="ctr"/>
              <a:lstStyle/>
              <a:p>
                <a:endParaRPr lang="en-GB"/>
              </a:p>
            </p:txBody>
          </p:sp>
          <p:sp>
            <p:nvSpPr>
              <p:cNvPr id="3543" name="Vrije vorm: vorm 3542">
                <a:extLst>
                  <a:ext uri="{FF2B5EF4-FFF2-40B4-BE49-F238E27FC236}">
                    <a16:creationId xmlns:a16="http://schemas.microsoft.com/office/drawing/2014/main" id="{D123FC2E-AE4C-440C-9C04-BE0B734CC64B}"/>
                  </a:ext>
                </a:extLst>
              </p:cNvPr>
              <p:cNvSpPr/>
              <p:nvPr/>
            </p:nvSpPr>
            <p:spPr>
              <a:xfrm>
                <a:off x="6919150" y="5153195"/>
                <a:ext cx="18343" cy="18448"/>
              </a:xfrm>
              <a:custGeom>
                <a:avLst/>
                <a:gdLst>
                  <a:gd name="connsiteX0" fmla="*/ 17370 w 18343"/>
                  <a:gd name="connsiteY0" fmla="*/ 5098 h 18448"/>
                  <a:gd name="connsiteX1" fmla="*/ 5051 w 18343"/>
                  <a:gd name="connsiteY1" fmla="*/ 971 h 18448"/>
                  <a:gd name="connsiteX2" fmla="*/ 983 w 18343"/>
                  <a:gd name="connsiteY2" fmla="*/ 13351 h 18448"/>
                  <a:gd name="connsiteX3" fmla="*/ 13304 w 18343"/>
                  <a:gd name="connsiteY3" fmla="*/ 17478 h 18448"/>
                  <a:gd name="connsiteX4" fmla="*/ 17370 w 18343"/>
                  <a:gd name="connsiteY4" fmla="*/ 50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8">
                    <a:moveTo>
                      <a:pt x="17370" y="5098"/>
                    </a:moveTo>
                    <a:cubicBezTo>
                      <a:pt x="15098" y="552"/>
                      <a:pt x="9596" y="-1302"/>
                      <a:pt x="5051" y="971"/>
                    </a:cubicBezTo>
                    <a:cubicBezTo>
                      <a:pt x="505" y="3244"/>
                      <a:pt x="-1289" y="8746"/>
                      <a:pt x="983" y="13351"/>
                    </a:cubicBezTo>
                    <a:cubicBezTo>
                      <a:pt x="3256" y="17896"/>
                      <a:pt x="8759" y="19750"/>
                      <a:pt x="13304" y="17478"/>
                    </a:cubicBezTo>
                    <a:cubicBezTo>
                      <a:pt x="17790" y="15145"/>
                      <a:pt x="19643" y="9643"/>
                      <a:pt x="17370" y="5098"/>
                    </a:cubicBezTo>
                    <a:close/>
                  </a:path>
                </a:pathLst>
              </a:custGeom>
              <a:grpFill/>
              <a:ln w="5978" cap="flat">
                <a:noFill/>
                <a:prstDash val="solid"/>
                <a:miter/>
              </a:ln>
            </p:spPr>
            <p:txBody>
              <a:bodyPr rtlCol="0" anchor="ctr"/>
              <a:lstStyle/>
              <a:p>
                <a:endParaRPr lang="en-GB"/>
              </a:p>
            </p:txBody>
          </p:sp>
        </p:grpSp>
        <p:grpSp>
          <p:nvGrpSpPr>
            <p:cNvPr id="617" name="Graphic 3">
              <a:extLst>
                <a:ext uri="{FF2B5EF4-FFF2-40B4-BE49-F238E27FC236}">
                  <a16:creationId xmlns:a16="http://schemas.microsoft.com/office/drawing/2014/main" id="{41BF0245-9E06-40EB-AE95-E0F226990E9D}"/>
                </a:ext>
              </a:extLst>
            </p:cNvPr>
            <p:cNvGrpSpPr/>
            <p:nvPr/>
          </p:nvGrpSpPr>
          <p:grpSpPr>
            <a:xfrm>
              <a:off x="5756472" y="1593553"/>
              <a:ext cx="41670" cy="164884"/>
              <a:chOff x="5756472" y="1593553"/>
              <a:chExt cx="41670" cy="164884"/>
            </a:xfrm>
            <a:grpFill/>
          </p:grpSpPr>
          <p:sp>
            <p:nvSpPr>
              <p:cNvPr id="3538" name="Vrije vorm: vorm 3537">
                <a:extLst>
                  <a:ext uri="{FF2B5EF4-FFF2-40B4-BE49-F238E27FC236}">
                    <a16:creationId xmlns:a16="http://schemas.microsoft.com/office/drawing/2014/main" id="{64B8B5BF-1ACB-4C45-A36E-74A93B7362DC}"/>
                  </a:ext>
                </a:extLst>
              </p:cNvPr>
              <p:cNvSpPr/>
              <p:nvPr/>
            </p:nvSpPr>
            <p:spPr>
              <a:xfrm>
                <a:off x="5764060" y="1602096"/>
                <a:ext cx="26494" cy="147843"/>
              </a:xfrm>
              <a:custGeom>
                <a:avLst/>
                <a:gdLst>
                  <a:gd name="connsiteX0" fmla="*/ 2990 w 26494"/>
                  <a:gd name="connsiteY0" fmla="*/ 0 h 147843"/>
                  <a:gd name="connsiteX1" fmla="*/ 26495 w 26494"/>
                  <a:gd name="connsiteY1" fmla="*/ 147365 h 147843"/>
                  <a:gd name="connsiteX2" fmla="*/ 23504 w 26494"/>
                  <a:gd name="connsiteY2" fmla="*/ 147843 h 147843"/>
                  <a:gd name="connsiteX3" fmla="*/ 0 w 26494"/>
                  <a:gd name="connsiteY3" fmla="*/ 478 h 147843"/>
                </a:gdLst>
                <a:ahLst/>
                <a:cxnLst>
                  <a:cxn ang="0">
                    <a:pos x="connsiteX0" y="connsiteY0"/>
                  </a:cxn>
                  <a:cxn ang="0">
                    <a:pos x="connsiteX1" y="connsiteY1"/>
                  </a:cxn>
                  <a:cxn ang="0">
                    <a:pos x="connsiteX2" y="connsiteY2"/>
                  </a:cxn>
                  <a:cxn ang="0">
                    <a:pos x="connsiteX3" y="connsiteY3"/>
                  </a:cxn>
                </a:cxnLst>
                <a:rect l="l" t="t" r="r" b="b"/>
                <a:pathLst>
                  <a:path w="26494" h="147843">
                    <a:moveTo>
                      <a:pt x="2990" y="0"/>
                    </a:moveTo>
                    <a:lnTo>
                      <a:pt x="26495" y="147365"/>
                    </a:lnTo>
                    <a:lnTo>
                      <a:pt x="23504" y="147843"/>
                    </a:lnTo>
                    <a:lnTo>
                      <a:pt x="0" y="478"/>
                    </a:lnTo>
                    <a:close/>
                  </a:path>
                </a:pathLst>
              </a:custGeom>
              <a:grpFill/>
              <a:ln w="5978" cap="flat">
                <a:noFill/>
                <a:prstDash val="solid"/>
                <a:miter/>
              </a:ln>
            </p:spPr>
            <p:txBody>
              <a:bodyPr rtlCol="0" anchor="ctr"/>
              <a:lstStyle/>
              <a:p>
                <a:endParaRPr lang="en-GB"/>
              </a:p>
            </p:txBody>
          </p:sp>
          <p:sp>
            <p:nvSpPr>
              <p:cNvPr id="3539" name="Vrije vorm: vorm 3538">
                <a:extLst>
                  <a:ext uri="{FF2B5EF4-FFF2-40B4-BE49-F238E27FC236}">
                    <a16:creationId xmlns:a16="http://schemas.microsoft.com/office/drawing/2014/main" id="{9C39FBAD-1549-46D4-83E4-834BB8B84CDB}"/>
                  </a:ext>
                </a:extLst>
              </p:cNvPr>
              <p:cNvSpPr/>
              <p:nvPr/>
            </p:nvSpPr>
            <p:spPr>
              <a:xfrm>
                <a:off x="5756472" y="1593553"/>
                <a:ext cx="18343" cy="18416"/>
              </a:xfrm>
              <a:custGeom>
                <a:avLst/>
                <a:gdLst>
                  <a:gd name="connsiteX0" fmla="*/ 112 w 18343"/>
                  <a:gd name="connsiteY0" fmla="*/ 10636 h 18416"/>
                  <a:gd name="connsiteX1" fmla="*/ 7708 w 18343"/>
                  <a:gd name="connsiteY1" fmla="*/ 110 h 18416"/>
                  <a:gd name="connsiteX2" fmla="*/ 18233 w 18343"/>
                  <a:gd name="connsiteY2" fmla="*/ 7766 h 18416"/>
                  <a:gd name="connsiteX3" fmla="*/ 10638 w 18343"/>
                  <a:gd name="connsiteY3" fmla="*/ 18292 h 18416"/>
                  <a:gd name="connsiteX4" fmla="*/ 112 w 18343"/>
                  <a:gd name="connsiteY4" fmla="*/ 10636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6">
                    <a:moveTo>
                      <a:pt x="112" y="10636"/>
                    </a:moveTo>
                    <a:cubicBezTo>
                      <a:pt x="-666" y="5613"/>
                      <a:pt x="2684" y="888"/>
                      <a:pt x="7708" y="110"/>
                    </a:cubicBezTo>
                    <a:cubicBezTo>
                      <a:pt x="12731" y="-667"/>
                      <a:pt x="17396" y="2742"/>
                      <a:pt x="18233" y="7766"/>
                    </a:cubicBezTo>
                    <a:cubicBezTo>
                      <a:pt x="19011" y="12790"/>
                      <a:pt x="15602" y="17514"/>
                      <a:pt x="10638" y="18292"/>
                    </a:cubicBezTo>
                    <a:cubicBezTo>
                      <a:pt x="5614" y="19129"/>
                      <a:pt x="890" y="15660"/>
                      <a:pt x="112" y="10636"/>
                    </a:cubicBezTo>
                    <a:close/>
                  </a:path>
                </a:pathLst>
              </a:custGeom>
              <a:grpFill/>
              <a:ln w="5978" cap="flat">
                <a:noFill/>
                <a:prstDash val="solid"/>
                <a:miter/>
              </a:ln>
            </p:spPr>
            <p:txBody>
              <a:bodyPr rtlCol="0" anchor="ctr"/>
              <a:lstStyle/>
              <a:p>
                <a:endParaRPr lang="en-GB"/>
              </a:p>
            </p:txBody>
          </p:sp>
          <p:sp>
            <p:nvSpPr>
              <p:cNvPr id="3540" name="Vrije vorm: vorm 3539">
                <a:extLst>
                  <a:ext uri="{FF2B5EF4-FFF2-40B4-BE49-F238E27FC236}">
                    <a16:creationId xmlns:a16="http://schemas.microsoft.com/office/drawing/2014/main" id="{EFBC1623-F8A3-417E-90A8-50327CD7F7DC}"/>
                  </a:ext>
                </a:extLst>
              </p:cNvPr>
              <p:cNvSpPr/>
              <p:nvPr/>
            </p:nvSpPr>
            <p:spPr>
              <a:xfrm>
                <a:off x="5779798" y="1740006"/>
                <a:ext cx="18344" cy="18430"/>
              </a:xfrm>
              <a:custGeom>
                <a:avLst/>
                <a:gdLst>
                  <a:gd name="connsiteX0" fmla="*/ 110 w 18344"/>
                  <a:gd name="connsiteY0" fmla="*/ 10651 h 18430"/>
                  <a:gd name="connsiteX1" fmla="*/ 10637 w 18344"/>
                  <a:gd name="connsiteY1" fmla="*/ 18306 h 18430"/>
                  <a:gd name="connsiteX2" fmla="*/ 18232 w 18344"/>
                  <a:gd name="connsiteY2" fmla="*/ 7780 h 18430"/>
                  <a:gd name="connsiteX3" fmla="*/ 7706 w 18344"/>
                  <a:gd name="connsiteY3" fmla="*/ 125 h 18430"/>
                  <a:gd name="connsiteX4" fmla="*/ 110 w 18344"/>
                  <a:gd name="connsiteY4" fmla="*/ 1065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30">
                    <a:moveTo>
                      <a:pt x="110" y="10651"/>
                    </a:moveTo>
                    <a:cubicBezTo>
                      <a:pt x="888" y="15675"/>
                      <a:pt x="5613" y="19144"/>
                      <a:pt x="10637" y="18306"/>
                    </a:cubicBezTo>
                    <a:cubicBezTo>
                      <a:pt x="15661" y="17529"/>
                      <a:pt x="19010" y="12804"/>
                      <a:pt x="18232" y="7780"/>
                    </a:cubicBezTo>
                    <a:cubicBezTo>
                      <a:pt x="17455" y="2756"/>
                      <a:pt x="12730" y="-713"/>
                      <a:pt x="7706" y="125"/>
                    </a:cubicBezTo>
                    <a:cubicBezTo>
                      <a:pt x="2742" y="902"/>
                      <a:pt x="-667" y="5627"/>
                      <a:pt x="110" y="10651"/>
                    </a:cubicBezTo>
                    <a:close/>
                  </a:path>
                </a:pathLst>
              </a:custGeom>
              <a:grpFill/>
              <a:ln w="5978" cap="flat">
                <a:noFill/>
                <a:prstDash val="solid"/>
                <a:miter/>
              </a:ln>
            </p:spPr>
            <p:txBody>
              <a:bodyPr rtlCol="0" anchor="ctr"/>
              <a:lstStyle/>
              <a:p>
                <a:endParaRPr lang="en-GB"/>
              </a:p>
            </p:txBody>
          </p:sp>
        </p:grpSp>
        <p:grpSp>
          <p:nvGrpSpPr>
            <p:cNvPr id="618" name="Graphic 3">
              <a:extLst>
                <a:ext uri="{FF2B5EF4-FFF2-40B4-BE49-F238E27FC236}">
                  <a16:creationId xmlns:a16="http://schemas.microsoft.com/office/drawing/2014/main" id="{4176038C-1185-4985-9437-40ABB6C7C700}"/>
                </a:ext>
              </a:extLst>
            </p:cNvPr>
            <p:cNvGrpSpPr/>
            <p:nvPr/>
          </p:nvGrpSpPr>
          <p:grpSpPr>
            <a:xfrm>
              <a:off x="5545850" y="1104828"/>
              <a:ext cx="23750" cy="43421"/>
              <a:chOff x="5545850" y="1104828"/>
              <a:chExt cx="23750" cy="43421"/>
            </a:xfrm>
            <a:grpFill/>
          </p:grpSpPr>
          <p:sp>
            <p:nvSpPr>
              <p:cNvPr id="3535" name="Vrije vorm: vorm 3534">
                <a:extLst>
                  <a:ext uri="{FF2B5EF4-FFF2-40B4-BE49-F238E27FC236}">
                    <a16:creationId xmlns:a16="http://schemas.microsoft.com/office/drawing/2014/main" id="{6A4B81DD-F191-4E13-B064-BCAA0CDB93EC}"/>
                  </a:ext>
                </a:extLst>
              </p:cNvPr>
              <p:cNvSpPr/>
              <p:nvPr/>
            </p:nvSpPr>
            <p:spPr>
              <a:xfrm>
                <a:off x="5553479" y="1113292"/>
                <a:ext cx="8552" cy="26494"/>
              </a:xfrm>
              <a:custGeom>
                <a:avLst/>
                <a:gdLst>
                  <a:gd name="connsiteX0" fmla="*/ 2930 w 8552"/>
                  <a:gd name="connsiteY0" fmla="*/ 0 h 26494"/>
                  <a:gd name="connsiteX1" fmla="*/ 8552 w 8552"/>
                  <a:gd name="connsiteY1" fmla="*/ 25897 h 26494"/>
                  <a:gd name="connsiteX2" fmla="*/ 5622 w 8552"/>
                  <a:gd name="connsiteY2" fmla="*/ 26495 h 26494"/>
                  <a:gd name="connsiteX3" fmla="*/ 0 w 8552"/>
                  <a:gd name="connsiteY3" fmla="*/ 598 h 26494"/>
                </a:gdLst>
                <a:ahLst/>
                <a:cxnLst>
                  <a:cxn ang="0">
                    <a:pos x="connsiteX0" y="connsiteY0"/>
                  </a:cxn>
                  <a:cxn ang="0">
                    <a:pos x="connsiteX1" y="connsiteY1"/>
                  </a:cxn>
                  <a:cxn ang="0">
                    <a:pos x="connsiteX2" y="connsiteY2"/>
                  </a:cxn>
                  <a:cxn ang="0">
                    <a:pos x="connsiteX3" y="connsiteY3"/>
                  </a:cxn>
                </a:cxnLst>
                <a:rect l="l" t="t" r="r" b="b"/>
                <a:pathLst>
                  <a:path w="8552" h="26494">
                    <a:moveTo>
                      <a:pt x="2930" y="0"/>
                    </a:moveTo>
                    <a:lnTo>
                      <a:pt x="8552" y="25897"/>
                    </a:lnTo>
                    <a:lnTo>
                      <a:pt x="5622" y="26495"/>
                    </a:lnTo>
                    <a:lnTo>
                      <a:pt x="0" y="598"/>
                    </a:lnTo>
                    <a:close/>
                  </a:path>
                </a:pathLst>
              </a:custGeom>
              <a:grpFill/>
              <a:ln w="5978" cap="flat">
                <a:noFill/>
                <a:prstDash val="solid"/>
                <a:miter/>
              </a:ln>
            </p:spPr>
            <p:txBody>
              <a:bodyPr rtlCol="0" anchor="ctr"/>
              <a:lstStyle/>
              <a:p>
                <a:endParaRPr lang="en-GB"/>
              </a:p>
            </p:txBody>
          </p:sp>
          <p:sp>
            <p:nvSpPr>
              <p:cNvPr id="3536" name="Vrije vorm: vorm 3535">
                <a:extLst>
                  <a:ext uri="{FF2B5EF4-FFF2-40B4-BE49-F238E27FC236}">
                    <a16:creationId xmlns:a16="http://schemas.microsoft.com/office/drawing/2014/main" id="{7A07D969-B083-4290-8998-5EA1521A1150}"/>
                  </a:ext>
                </a:extLst>
              </p:cNvPr>
              <p:cNvSpPr/>
              <p:nvPr/>
            </p:nvSpPr>
            <p:spPr>
              <a:xfrm>
                <a:off x="5545850" y="1104828"/>
                <a:ext cx="18307" cy="18421"/>
              </a:xfrm>
              <a:custGeom>
                <a:avLst/>
                <a:gdLst>
                  <a:gd name="connsiteX0" fmla="*/ 213 w 18307"/>
                  <a:gd name="connsiteY0" fmla="*/ 11155 h 18421"/>
                  <a:gd name="connsiteX1" fmla="*/ 7210 w 18307"/>
                  <a:gd name="connsiteY1" fmla="*/ 210 h 18421"/>
                  <a:gd name="connsiteX2" fmla="*/ 18095 w 18307"/>
                  <a:gd name="connsiteY2" fmla="*/ 7267 h 18421"/>
                  <a:gd name="connsiteX3" fmla="*/ 11098 w 18307"/>
                  <a:gd name="connsiteY3" fmla="*/ 18212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864" y="6191"/>
                      <a:pt x="2246" y="1287"/>
                      <a:pt x="7210" y="210"/>
                    </a:cubicBezTo>
                    <a:cubicBezTo>
                      <a:pt x="12174" y="-867"/>
                      <a:pt x="17019" y="2303"/>
                      <a:pt x="18095" y="7267"/>
                    </a:cubicBezTo>
                    <a:cubicBezTo>
                      <a:pt x="19172" y="12231"/>
                      <a:pt x="16062" y="17135"/>
                      <a:pt x="11098" y="18212"/>
                    </a:cubicBezTo>
                    <a:cubicBezTo>
                      <a:pt x="6194" y="19288"/>
                      <a:pt x="1349" y="16119"/>
                      <a:pt x="213" y="11155"/>
                    </a:cubicBezTo>
                    <a:close/>
                  </a:path>
                </a:pathLst>
              </a:custGeom>
              <a:grpFill/>
              <a:ln w="5978" cap="flat">
                <a:noFill/>
                <a:prstDash val="solid"/>
                <a:miter/>
              </a:ln>
            </p:spPr>
            <p:txBody>
              <a:bodyPr rtlCol="0" anchor="ctr"/>
              <a:lstStyle/>
              <a:p>
                <a:endParaRPr lang="en-GB"/>
              </a:p>
            </p:txBody>
          </p:sp>
          <p:sp>
            <p:nvSpPr>
              <p:cNvPr id="3537" name="Vrije vorm: vorm 3536">
                <a:extLst>
                  <a:ext uri="{FF2B5EF4-FFF2-40B4-BE49-F238E27FC236}">
                    <a16:creationId xmlns:a16="http://schemas.microsoft.com/office/drawing/2014/main" id="{21B09680-091B-4E3D-8428-82D9A14B8F74}"/>
                  </a:ext>
                </a:extLst>
              </p:cNvPr>
              <p:cNvSpPr/>
              <p:nvPr/>
            </p:nvSpPr>
            <p:spPr>
              <a:xfrm>
                <a:off x="5551295" y="1129828"/>
                <a:ext cx="18305" cy="18421"/>
              </a:xfrm>
              <a:custGeom>
                <a:avLst/>
                <a:gdLst>
                  <a:gd name="connsiteX0" fmla="*/ 210 w 18305"/>
                  <a:gd name="connsiteY0" fmla="*/ 11155 h 18421"/>
                  <a:gd name="connsiteX1" fmla="*/ 11095 w 18305"/>
                  <a:gd name="connsiteY1" fmla="*/ 18212 h 18421"/>
                  <a:gd name="connsiteX2" fmla="*/ 18093 w 18305"/>
                  <a:gd name="connsiteY2" fmla="*/ 7267 h 18421"/>
                  <a:gd name="connsiteX3" fmla="*/ 7208 w 18305"/>
                  <a:gd name="connsiteY3" fmla="*/ 210 h 18421"/>
                  <a:gd name="connsiteX4" fmla="*/ 210 w 18305"/>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21">
                    <a:moveTo>
                      <a:pt x="210" y="11155"/>
                    </a:moveTo>
                    <a:cubicBezTo>
                      <a:pt x="1287" y="16119"/>
                      <a:pt x="6191" y="19288"/>
                      <a:pt x="11095" y="18212"/>
                    </a:cubicBezTo>
                    <a:cubicBezTo>
                      <a:pt x="16059" y="17135"/>
                      <a:pt x="19169" y="12231"/>
                      <a:pt x="18093" y="7267"/>
                    </a:cubicBezTo>
                    <a:cubicBezTo>
                      <a:pt x="17016" y="2303"/>
                      <a:pt x="12112" y="-867"/>
                      <a:pt x="7208" y="210"/>
                    </a:cubicBezTo>
                    <a:cubicBezTo>
                      <a:pt x="2303" y="1287"/>
                      <a:pt x="-867" y="6131"/>
                      <a:pt x="210" y="11155"/>
                    </a:cubicBezTo>
                    <a:close/>
                  </a:path>
                </a:pathLst>
              </a:custGeom>
              <a:grpFill/>
              <a:ln w="5978" cap="flat">
                <a:noFill/>
                <a:prstDash val="solid"/>
                <a:miter/>
              </a:ln>
            </p:spPr>
            <p:txBody>
              <a:bodyPr rtlCol="0" anchor="ctr"/>
              <a:lstStyle/>
              <a:p>
                <a:endParaRPr lang="en-GB"/>
              </a:p>
            </p:txBody>
          </p:sp>
        </p:grpSp>
        <p:grpSp>
          <p:nvGrpSpPr>
            <p:cNvPr id="619" name="Graphic 3">
              <a:extLst>
                <a:ext uri="{FF2B5EF4-FFF2-40B4-BE49-F238E27FC236}">
                  <a16:creationId xmlns:a16="http://schemas.microsoft.com/office/drawing/2014/main" id="{F2EDC22B-9E18-4C62-980F-10860DA6C5DC}"/>
                </a:ext>
              </a:extLst>
            </p:cNvPr>
            <p:cNvGrpSpPr/>
            <p:nvPr/>
          </p:nvGrpSpPr>
          <p:grpSpPr>
            <a:xfrm>
              <a:off x="5608254" y="1195179"/>
              <a:ext cx="91161" cy="386628"/>
              <a:chOff x="5608254" y="1195179"/>
              <a:chExt cx="91161" cy="386628"/>
            </a:xfrm>
            <a:grpFill/>
          </p:grpSpPr>
          <p:sp>
            <p:nvSpPr>
              <p:cNvPr id="3532" name="Vrije vorm: vorm 3531">
                <a:extLst>
                  <a:ext uri="{FF2B5EF4-FFF2-40B4-BE49-F238E27FC236}">
                    <a16:creationId xmlns:a16="http://schemas.microsoft.com/office/drawing/2014/main" id="{2F8B8327-0A5F-4C84-A4CC-6BBE7CCAB706}"/>
                  </a:ext>
                </a:extLst>
              </p:cNvPr>
              <p:cNvSpPr/>
              <p:nvPr/>
            </p:nvSpPr>
            <p:spPr>
              <a:xfrm>
                <a:off x="5615930" y="1203431"/>
                <a:ext cx="76021" cy="369690"/>
              </a:xfrm>
              <a:custGeom>
                <a:avLst/>
                <a:gdLst>
                  <a:gd name="connsiteX0" fmla="*/ 0 w 76021"/>
                  <a:gd name="connsiteY0" fmla="*/ 592 h 369690"/>
                  <a:gd name="connsiteX1" fmla="*/ 2992 w 76021"/>
                  <a:gd name="connsiteY1" fmla="*/ 0 h 369690"/>
                  <a:gd name="connsiteX2" fmla="*/ 76022 w 76021"/>
                  <a:gd name="connsiteY2" fmla="*/ 369098 h 369690"/>
                  <a:gd name="connsiteX3" fmla="*/ 73030 w 76021"/>
                  <a:gd name="connsiteY3" fmla="*/ 369691 h 369690"/>
                </a:gdLst>
                <a:ahLst/>
                <a:cxnLst>
                  <a:cxn ang="0">
                    <a:pos x="connsiteX0" y="connsiteY0"/>
                  </a:cxn>
                  <a:cxn ang="0">
                    <a:pos x="connsiteX1" y="connsiteY1"/>
                  </a:cxn>
                  <a:cxn ang="0">
                    <a:pos x="connsiteX2" y="connsiteY2"/>
                  </a:cxn>
                  <a:cxn ang="0">
                    <a:pos x="connsiteX3" y="connsiteY3"/>
                  </a:cxn>
                </a:cxnLst>
                <a:rect l="l" t="t" r="r" b="b"/>
                <a:pathLst>
                  <a:path w="76021" h="369690">
                    <a:moveTo>
                      <a:pt x="0" y="592"/>
                    </a:moveTo>
                    <a:lnTo>
                      <a:pt x="2992" y="0"/>
                    </a:lnTo>
                    <a:lnTo>
                      <a:pt x="76022" y="369098"/>
                    </a:lnTo>
                    <a:lnTo>
                      <a:pt x="73030" y="369691"/>
                    </a:lnTo>
                    <a:close/>
                  </a:path>
                </a:pathLst>
              </a:custGeom>
              <a:grpFill/>
              <a:ln w="5978" cap="flat">
                <a:noFill/>
                <a:prstDash val="solid"/>
                <a:miter/>
              </a:ln>
            </p:spPr>
            <p:txBody>
              <a:bodyPr rtlCol="0" anchor="ctr"/>
              <a:lstStyle/>
              <a:p>
                <a:endParaRPr lang="en-GB"/>
              </a:p>
            </p:txBody>
          </p:sp>
          <p:sp>
            <p:nvSpPr>
              <p:cNvPr id="3533" name="Vrije vorm: vorm 3532">
                <a:extLst>
                  <a:ext uri="{FF2B5EF4-FFF2-40B4-BE49-F238E27FC236}">
                    <a16:creationId xmlns:a16="http://schemas.microsoft.com/office/drawing/2014/main" id="{96C2AE73-84AB-49D4-8857-BCA91FB1AF82}"/>
                  </a:ext>
                </a:extLst>
              </p:cNvPr>
              <p:cNvSpPr/>
              <p:nvPr/>
            </p:nvSpPr>
            <p:spPr>
              <a:xfrm>
                <a:off x="5608254" y="1195179"/>
                <a:ext cx="18316" cy="18455"/>
              </a:xfrm>
              <a:custGeom>
                <a:avLst/>
                <a:gdLst>
                  <a:gd name="connsiteX0" fmla="*/ 187 w 18316"/>
                  <a:gd name="connsiteY0" fmla="*/ 10993 h 18455"/>
                  <a:gd name="connsiteX1" fmla="*/ 7364 w 18316"/>
                  <a:gd name="connsiteY1" fmla="*/ 168 h 18455"/>
                  <a:gd name="connsiteX2" fmla="*/ 18129 w 18316"/>
                  <a:gd name="connsiteY2" fmla="*/ 7464 h 18455"/>
                  <a:gd name="connsiteX3" fmla="*/ 10952 w 18316"/>
                  <a:gd name="connsiteY3" fmla="*/ 18289 h 18455"/>
                  <a:gd name="connsiteX4" fmla="*/ 187 w 18316"/>
                  <a:gd name="connsiteY4" fmla="*/ 10993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5">
                    <a:moveTo>
                      <a:pt x="187" y="10993"/>
                    </a:moveTo>
                    <a:cubicBezTo>
                      <a:pt x="-830" y="6029"/>
                      <a:pt x="2400" y="1185"/>
                      <a:pt x="7364" y="168"/>
                    </a:cubicBezTo>
                    <a:cubicBezTo>
                      <a:pt x="12328" y="-789"/>
                      <a:pt x="17173" y="2440"/>
                      <a:pt x="18129" y="7464"/>
                    </a:cubicBezTo>
                    <a:cubicBezTo>
                      <a:pt x="19146" y="12428"/>
                      <a:pt x="15916" y="17273"/>
                      <a:pt x="10952" y="18289"/>
                    </a:cubicBezTo>
                    <a:cubicBezTo>
                      <a:pt x="5989" y="19246"/>
                      <a:pt x="1144" y="15957"/>
                      <a:pt x="187" y="10993"/>
                    </a:cubicBezTo>
                    <a:close/>
                  </a:path>
                </a:pathLst>
              </a:custGeom>
              <a:grpFill/>
              <a:ln w="5978" cap="flat">
                <a:noFill/>
                <a:prstDash val="solid"/>
                <a:miter/>
              </a:ln>
            </p:spPr>
            <p:txBody>
              <a:bodyPr rtlCol="0" anchor="ctr"/>
              <a:lstStyle/>
              <a:p>
                <a:endParaRPr lang="en-GB"/>
              </a:p>
            </p:txBody>
          </p:sp>
          <p:sp>
            <p:nvSpPr>
              <p:cNvPr id="3534" name="Vrije vorm: vorm 3533">
                <a:extLst>
                  <a:ext uri="{FF2B5EF4-FFF2-40B4-BE49-F238E27FC236}">
                    <a16:creationId xmlns:a16="http://schemas.microsoft.com/office/drawing/2014/main" id="{003F7DBB-452B-438F-B5B3-8BCFDF3902A2}"/>
                  </a:ext>
                </a:extLst>
              </p:cNvPr>
              <p:cNvSpPr/>
              <p:nvPr/>
            </p:nvSpPr>
            <p:spPr>
              <a:xfrm>
                <a:off x="5681099" y="1563355"/>
                <a:ext cx="18316" cy="18452"/>
              </a:xfrm>
              <a:custGeom>
                <a:avLst/>
                <a:gdLst>
                  <a:gd name="connsiteX0" fmla="*/ 187 w 18316"/>
                  <a:gd name="connsiteY0" fmla="*/ 10991 h 18452"/>
                  <a:gd name="connsiteX1" fmla="*/ 10953 w 18316"/>
                  <a:gd name="connsiteY1" fmla="*/ 18287 h 18452"/>
                  <a:gd name="connsiteX2" fmla="*/ 18129 w 18316"/>
                  <a:gd name="connsiteY2" fmla="*/ 7462 h 18452"/>
                  <a:gd name="connsiteX3" fmla="*/ 7364 w 18316"/>
                  <a:gd name="connsiteY3" fmla="*/ 166 h 18452"/>
                  <a:gd name="connsiteX4" fmla="*/ 187 w 18316"/>
                  <a:gd name="connsiteY4" fmla="*/ 1099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2">
                    <a:moveTo>
                      <a:pt x="187" y="10991"/>
                    </a:moveTo>
                    <a:cubicBezTo>
                      <a:pt x="1204" y="15955"/>
                      <a:pt x="5989" y="19244"/>
                      <a:pt x="10953" y="18287"/>
                    </a:cubicBezTo>
                    <a:cubicBezTo>
                      <a:pt x="15916" y="17330"/>
                      <a:pt x="19146" y="12486"/>
                      <a:pt x="18129" y="7462"/>
                    </a:cubicBezTo>
                    <a:cubicBezTo>
                      <a:pt x="17113" y="2498"/>
                      <a:pt x="12328" y="-791"/>
                      <a:pt x="7364" y="166"/>
                    </a:cubicBezTo>
                    <a:cubicBezTo>
                      <a:pt x="2400" y="1182"/>
                      <a:pt x="-830" y="6027"/>
                      <a:pt x="187" y="10991"/>
                    </a:cubicBezTo>
                    <a:close/>
                  </a:path>
                </a:pathLst>
              </a:custGeom>
              <a:grpFill/>
              <a:ln w="5978" cap="flat">
                <a:noFill/>
                <a:prstDash val="solid"/>
                <a:miter/>
              </a:ln>
            </p:spPr>
            <p:txBody>
              <a:bodyPr rtlCol="0" anchor="ctr"/>
              <a:lstStyle/>
              <a:p>
                <a:endParaRPr lang="en-GB"/>
              </a:p>
            </p:txBody>
          </p:sp>
        </p:grpSp>
        <p:grpSp>
          <p:nvGrpSpPr>
            <p:cNvPr id="620" name="Graphic 3">
              <a:extLst>
                <a:ext uri="{FF2B5EF4-FFF2-40B4-BE49-F238E27FC236}">
                  <a16:creationId xmlns:a16="http://schemas.microsoft.com/office/drawing/2014/main" id="{EC0858EB-3B6E-4FA6-80DD-990AD5C52479}"/>
                </a:ext>
              </a:extLst>
            </p:cNvPr>
            <p:cNvGrpSpPr/>
            <p:nvPr/>
          </p:nvGrpSpPr>
          <p:grpSpPr>
            <a:xfrm>
              <a:off x="5651139" y="1201024"/>
              <a:ext cx="82544" cy="550535"/>
              <a:chOff x="5651139" y="1201024"/>
              <a:chExt cx="82544" cy="550535"/>
            </a:xfrm>
            <a:grpFill/>
          </p:grpSpPr>
          <p:sp>
            <p:nvSpPr>
              <p:cNvPr id="3529" name="Vrije vorm: vorm 3528">
                <a:extLst>
                  <a:ext uri="{FF2B5EF4-FFF2-40B4-BE49-F238E27FC236}">
                    <a16:creationId xmlns:a16="http://schemas.microsoft.com/office/drawing/2014/main" id="{37113411-BFA7-4A89-8D20-0BFE9FDE65BD}"/>
                  </a:ext>
                </a:extLst>
              </p:cNvPr>
              <p:cNvSpPr/>
              <p:nvPr/>
            </p:nvSpPr>
            <p:spPr>
              <a:xfrm>
                <a:off x="5658743" y="1209659"/>
                <a:ext cx="67293" cy="533388"/>
              </a:xfrm>
              <a:custGeom>
                <a:avLst/>
                <a:gdLst>
                  <a:gd name="connsiteX0" fmla="*/ 0 w 67293"/>
                  <a:gd name="connsiteY0" fmla="*/ 365 h 533388"/>
                  <a:gd name="connsiteX1" fmla="*/ 3028 w 67293"/>
                  <a:gd name="connsiteY1" fmla="*/ 0 h 533388"/>
                  <a:gd name="connsiteX2" fmla="*/ 67294 w 67293"/>
                  <a:gd name="connsiteY2" fmla="*/ 533024 h 533388"/>
                  <a:gd name="connsiteX3" fmla="*/ 64266 w 67293"/>
                  <a:gd name="connsiteY3" fmla="*/ 533389 h 533388"/>
                </a:gdLst>
                <a:ahLst/>
                <a:cxnLst>
                  <a:cxn ang="0">
                    <a:pos x="connsiteX0" y="connsiteY0"/>
                  </a:cxn>
                  <a:cxn ang="0">
                    <a:pos x="connsiteX1" y="connsiteY1"/>
                  </a:cxn>
                  <a:cxn ang="0">
                    <a:pos x="connsiteX2" y="connsiteY2"/>
                  </a:cxn>
                  <a:cxn ang="0">
                    <a:pos x="connsiteX3" y="connsiteY3"/>
                  </a:cxn>
                </a:cxnLst>
                <a:rect l="l" t="t" r="r" b="b"/>
                <a:pathLst>
                  <a:path w="67293" h="533388">
                    <a:moveTo>
                      <a:pt x="0" y="365"/>
                    </a:moveTo>
                    <a:lnTo>
                      <a:pt x="3028" y="0"/>
                    </a:lnTo>
                    <a:lnTo>
                      <a:pt x="67294" y="533024"/>
                    </a:lnTo>
                    <a:lnTo>
                      <a:pt x="64266" y="533389"/>
                    </a:lnTo>
                    <a:close/>
                  </a:path>
                </a:pathLst>
              </a:custGeom>
              <a:grpFill/>
              <a:ln w="5978" cap="flat">
                <a:noFill/>
                <a:prstDash val="solid"/>
                <a:miter/>
              </a:ln>
            </p:spPr>
            <p:txBody>
              <a:bodyPr rtlCol="0" anchor="ctr"/>
              <a:lstStyle/>
              <a:p>
                <a:endParaRPr lang="en-GB"/>
              </a:p>
            </p:txBody>
          </p:sp>
          <p:sp>
            <p:nvSpPr>
              <p:cNvPr id="3530" name="Vrije vorm: vorm 3529">
                <a:extLst>
                  <a:ext uri="{FF2B5EF4-FFF2-40B4-BE49-F238E27FC236}">
                    <a16:creationId xmlns:a16="http://schemas.microsoft.com/office/drawing/2014/main" id="{41D595B5-D348-4A6F-8FAA-26F4FBB7B309}"/>
                  </a:ext>
                </a:extLst>
              </p:cNvPr>
              <p:cNvSpPr/>
              <p:nvPr/>
            </p:nvSpPr>
            <p:spPr>
              <a:xfrm>
                <a:off x="5715312" y="1733128"/>
                <a:ext cx="18371" cy="18430"/>
              </a:xfrm>
              <a:custGeom>
                <a:avLst/>
                <a:gdLst>
                  <a:gd name="connsiteX0" fmla="*/ 18306 w 18371"/>
                  <a:gd name="connsiteY0" fmla="*/ 8139 h 18430"/>
                  <a:gd name="connsiteX1" fmla="*/ 10292 w 18371"/>
                  <a:gd name="connsiteY1" fmla="*/ 18366 h 18430"/>
                  <a:gd name="connsiteX2" fmla="*/ 65 w 18371"/>
                  <a:gd name="connsiteY2" fmla="*/ 10292 h 18430"/>
                  <a:gd name="connsiteX3" fmla="*/ 8079 w 18371"/>
                  <a:gd name="connsiteY3" fmla="*/ 65 h 18430"/>
                  <a:gd name="connsiteX4" fmla="*/ 18306 w 18371"/>
                  <a:gd name="connsiteY4" fmla="*/ 8139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30">
                    <a:moveTo>
                      <a:pt x="18306" y="8139"/>
                    </a:moveTo>
                    <a:cubicBezTo>
                      <a:pt x="18905" y="13163"/>
                      <a:pt x="15316" y="17768"/>
                      <a:pt x="10292" y="18366"/>
                    </a:cubicBezTo>
                    <a:cubicBezTo>
                      <a:pt x="5268" y="18964"/>
                      <a:pt x="723" y="15316"/>
                      <a:pt x="65" y="10292"/>
                    </a:cubicBezTo>
                    <a:cubicBezTo>
                      <a:pt x="-533" y="5268"/>
                      <a:pt x="3055" y="663"/>
                      <a:pt x="8079" y="65"/>
                    </a:cubicBezTo>
                    <a:cubicBezTo>
                      <a:pt x="13163" y="-533"/>
                      <a:pt x="17708" y="3055"/>
                      <a:pt x="18306" y="8139"/>
                    </a:cubicBezTo>
                    <a:close/>
                  </a:path>
                </a:pathLst>
              </a:custGeom>
              <a:grpFill/>
              <a:ln w="5978" cap="flat">
                <a:noFill/>
                <a:prstDash val="solid"/>
                <a:miter/>
              </a:ln>
            </p:spPr>
            <p:txBody>
              <a:bodyPr rtlCol="0" anchor="ctr"/>
              <a:lstStyle/>
              <a:p>
                <a:endParaRPr lang="en-GB"/>
              </a:p>
            </p:txBody>
          </p:sp>
          <p:sp>
            <p:nvSpPr>
              <p:cNvPr id="3531" name="Vrije vorm: vorm 3530">
                <a:extLst>
                  <a:ext uri="{FF2B5EF4-FFF2-40B4-BE49-F238E27FC236}">
                    <a16:creationId xmlns:a16="http://schemas.microsoft.com/office/drawing/2014/main" id="{7B5AF072-E594-48C5-92ED-8D30BB2BB006}"/>
                  </a:ext>
                </a:extLst>
              </p:cNvPr>
              <p:cNvSpPr/>
              <p:nvPr/>
            </p:nvSpPr>
            <p:spPr>
              <a:xfrm>
                <a:off x="5651139" y="1201024"/>
                <a:ext cx="18384" cy="18430"/>
              </a:xfrm>
              <a:custGeom>
                <a:avLst/>
                <a:gdLst>
                  <a:gd name="connsiteX0" fmla="*/ 18306 w 18384"/>
                  <a:gd name="connsiteY0" fmla="*/ 8139 h 18430"/>
                  <a:gd name="connsiteX1" fmla="*/ 8079 w 18384"/>
                  <a:gd name="connsiteY1" fmla="*/ 65 h 18430"/>
                  <a:gd name="connsiteX2" fmla="*/ 65 w 18384"/>
                  <a:gd name="connsiteY2" fmla="*/ 10292 h 18430"/>
                  <a:gd name="connsiteX3" fmla="*/ 10292 w 18384"/>
                  <a:gd name="connsiteY3" fmla="*/ 18366 h 18430"/>
                  <a:gd name="connsiteX4" fmla="*/ 18306 w 18384"/>
                  <a:gd name="connsiteY4" fmla="*/ 8139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30">
                    <a:moveTo>
                      <a:pt x="18306" y="8139"/>
                    </a:moveTo>
                    <a:cubicBezTo>
                      <a:pt x="17708" y="3055"/>
                      <a:pt x="13103" y="-533"/>
                      <a:pt x="8079" y="65"/>
                    </a:cubicBezTo>
                    <a:cubicBezTo>
                      <a:pt x="3056" y="663"/>
                      <a:pt x="-533" y="5209"/>
                      <a:pt x="65" y="10292"/>
                    </a:cubicBezTo>
                    <a:cubicBezTo>
                      <a:pt x="663" y="15316"/>
                      <a:pt x="5268" y="18964"/>
                      <a:pt x="10292" y="18366"/>
                    </a:cubicBezTo>
                    <a:cubicBezTo>
                      <a:pt x="15376" y="17768"/>
                      <a:pt x="18964" y="13223"/>
                      <a:pt x="18306" y="8139"/>
                    </a:cubicBezTo>
                    <a:close/>
                  </a:path>
                </a:pathLst>
              </a:custGeom>
              <a:grpFill/>
              <a:ln w="5978" cap="flat">
                <a:noFill/>
                <a:prstDash val="solid"/>
                <a:miter/>
              </a:ln>
            </p:spPr>
            <p:txBody>
              <a:bodyPr rtlCol="0" anchor="ctr"/>
              <a:lstStyle/>
              <a:p>
                <a:endParaRPr lang="en-GB"/>
              </a:p>
            </p:txBody>
          </p:sp>
        </p:grpSp>
        <p:grpSp>
          <p:nvGrpSpPr>
            <p:cNvPr id="621" name="Graphic 3">
              <a:extLst>
                <a:ext uri="{FF2B5EF4-FFF2-40B4-BE49-F238E27FC236}">
                  <a16:creationId xmlns:a16="http://schemas.microsoft.com/office/drawing/2014/main" id="{DDB2AC56-32BF-4217-9B4E-5C235289B8B3}"/>
                </a:ext>
              </a:extLst>
            </p:cNvPr>
            <p:cNvGrpSpPr/>
            <p:nvPr/>
          </p:nvGrpSpPr>
          <p:grpSpPr>
            <a:xfrm>
              <a:off x="6828748" y="4902630"/>
              <a:ext cx="56550" cy="91332"/>
              <a:chOff x="6828748" y="4902630"/>
              <a:chExt cx="56550" cy="91332"/>
            </a:xfrm>
            <a:grpFill/>
          </p:grpSpPr>
          <p:sp>
            <p:nvSpPr>
              <p:cNvPr id="3526" name="Vrije vorm: vorm 3525">
                <a:extLst>
                  <a:ext uri="{FF2B5EF4-FFF2-40B4-BE49-F238E27FC236}">
                    <a16:creationId xmlns:a16="http://schemas.microsoft.com/office/drawing/2014/main" id="{78573D08-EEDC-45F3-8AAE-07ACF8E86F04}"/>
                  </a:ext>
                </a:extLst>
              </p:cNvPr>
              <p:cNvSpPr/>
              <p:nvPr/>
            </p:nvSpPr>
            <p:spPr>
              <a:xfrm>
                <a:off x="6836343" y="4910691"/>
                <a:ext cx="41326" cy="75177"/>
              </a:xfrm>
              <a:custGeom>
                <a:avLst/>
                <a:gdLst>
                  <a:gd name="connsiteX0" fmla="*/ 41327 w 41326"/>
                  <a:gd name="connsiteY0" fmla="*/ 73802 h 75177"/>
                  <a:gd name="connsiteX1" fmla="*/ 38635 w 41326"/>
                  <a:gd name="connsiteY1" fmla="*/ 75178 h 75177"/>
                  <a:gd name="connsiteX2" fmla="*/ 0 w 41326"/>
                  <a:gd name="connsiteY2" fmla="*/ 1435 h 75177"/>
                  <a:gd name="connsiteX3" fmla="*/ 2692 w 41326"/>
                  <a:gd name="connsiteY3" fmla="*/ 0 h 75177"/>
                </a:gdLst>
                <a:ahLst/>
                <a:cxnLst>
                  <a:cxn ang="0">
                    <a:pos x="connsiteX0" y="connsiteY0"/>
                  </a:cxn>
                  <a:cxn ang="0">
                    <a:pos x="connsiteX1" y="connsiteY1"/>
                  </a:cxn>
                  <a:cxn ang="0">
                    <a:pos x="connsiteX2" y="connsiteY2"/>
                  </a:cxn>
                  <a:cxn ang="0">
                    <a:pos x="connsiteX3" y="connsiteY3"/>
                  </a:cxn>
                </a:cxnLst>
                <a:rect l="l" t="t" r="r" b="b"/>
                <a:pathLst>
                  <a:path w="41326" h="75177">
                    <a:moveTo>
                      <a:pt x="41327" y="73802"/>
                    </a:moveTo>
                    <a:lnTo>
                      <a:pt x="38635" y="75178"/>
                    </a:lnTo>
                    <a:lnTo>
                      <a:pt x="0" y="1435"/>
                    </a:lnTo>
                    <a:lnTo>
                      <a:pt x="2692" y="0"/>
                    </a:lnTo>
                    <a:close/>
                  </a:path>
                </a:pathLst>
              </a:custGeom>
              <a:grpFill/>
              <a:ln w="5978" cap="flat">
                <a:noFill/>
                <a:prstDash val="solid"/>
                <a:miter/>
              </a:ln>
            </p:spPr>
            <p:txBody>
              <a:bodyPr rtlCol="0" anchor="ctr"/>
              <a:lstStyle/>
              <a:p>
                <a:endParaRPr lang="en-GB"/>
              </a:p>
            </p:txBody>
          </p:sp>
          <p:sp>
            <p:nvSpPr>
              <p:cNvPr id="3527" name="Vrije vorm: vorm 3526">
                <a:extLst>
                  <a:ext uri="{FF2B5EF4-FFF2-40B4-BE49-F238E27FC236}">
                    <a16:creationId xmlns:a16="http://schemas.microsoft.com/office/drawing/2014/main" id="{7CD54FF7-EC4C-4EF8-9B9A-B687FE1B4F0E}"/>
                  </a:ext>
                </a:extLst>
              </p:cNvPr>
              <p:cNvSpPr/>
              <p:nvPr/>
            </p:nvSpPr>
            <p:spPr>
              <a:xfrm>
                <a:off x="6866992" y="4975562"/>
                <a:ext cx="18307" cy="18400"/>
              </a:xfrm>
              <a:custGeom>
                <a:avLst/>
                <a:gdLst>
                  <a:gd name="connsiteX0" fmla="*/ 17257 w 18307"/>
                  <a:gd name="connsiteY0" fmla="*/ 4924 h 18400"/>
                  <a:gd name="connsiteX1" fmla="*/ 13430 w 18307"/>
                  <a:gd name="connsiteY1" fmla="*/ 17364 h 18400"/>
                  <a:gd name="connsiteX2" fmla="*/ 1050 w 18307"/>
                  <a:gd name="connsiteY2" fmla="*/ 13476 h 18400"/>
                  <a:gd name="connsiteX3" fmla="*/ 4878 w 18307"/>
                  <a:gd name="connsiteY3" fmla="*/ 1037 h 18400"/>
                  <a:gd name="connsiteX4" fmla="*/ 17257 w 18307"/>
                  <a:gd name="connsiteY4" fmla="*/ 492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00">
                    <a:moveTo>
                      <a:pt x="17257" y="4924"/>
                    </a:moveTo>
                    <a:cubicBezTo>
                      <a:pt x="19590" y="9410"/>
                      <a:pt x="17915" y="14972"/>
                      <a:pt x="13430" y="17364"/>
                    </a:cubicBezTo>
                    <a:cubicBezTo>
                      <a:pt x="8944" y="19697"/>
                      <a:pt x="3382" y="17962"/>
                      <a:pt x="1050" y="13476"/>
                    </a:cubicBezTo>
                    <a:cubicBezTo>
                      <a:pt x="-1283" y="8991"/>
                      <a:pt x="392" y="3429"/>
                      <a:pt x="4878" y="1037"/>
                    </a:cubicBezTo>
                    <a:cubicBezTo>
                      <a:pt x="9303" y="-1296"/>
                      <a:pt x="14865" y="439"/>
                      <a:pt x="17257" y="4924"/>
                    </a:cubicBezTo>
                    <a:close/>
                  </a:path>
                </a:pathLst>
              </a:custGeom>
              <a:grpFill/>
              <a:ln w="5978" cap="flat">
                <a:noFill/>
                <a:prstDash val="solid"/>
                <a:miter/>
              </a:ln>
            </p:spPr>
            <p:txBody>
              <a:bodyPr rtlCol="0" anchor="ctr"/>
              <a:lstStyle/>
              <a:p>
                <a:endParaRPr lang="en-GB"/>
              </a:p>
            </p:txBody>
          </p:sp>
          <p:sp>
            <p:nvSpPr>
              <p:cNvPr id="3528" name="Vrije vorm: vorm 3527">
                <a:extLst>
                  <a:ext uri="{FF2B5EF4-FFF2-40B4-BE49-F238E27FC236}">
                    <a16:creationId xmlns:a16="http://schemas.microsoft.com/office/drawing/2014/main" id="{A03BB0D7-2A1E-417C-8354-62275E6CC9CB}"/>
                  </a:ext>
                </a:extLst>
              </p:cNvPr>
              <p:cNvSpPr/>
              <p:nvPr/>
            </p:nvSpPr>
            <p:spPr>
              <a:xfrm>
                <a:off x="6828748" y="4902630"/>
                <a:ext cx="18333" cy="18453"/>
              </a:xfrm>
              <a:custGeom>
                <a:avLst/>
                <a:gdLst>
                  <a:gd name="connsiteX0" fmla="*/ 17284 w 18333"/>
                  <a:gd name="connsiteY0" fmla="*/ 4950 h 18453"/>
                  <a:gd name="connsiteX1" fmla="*/ 4904 w 18333"/>
                  <a:gd name="connsiteY1" fmla="*/ 1063 h 18453"/>
                  <a:gd name="connsiteX2" fmla="*/ 1076 w 18333"/>
                  <a:gd name="connsiteY2" fmla="*/ 13503 h 18453"/>
                  <a:gd name="connsiteX3" fmla="*/ 13456 w 18333"/>
                  <a:gd name="connsiteY3" fmla="*/ 17390 h 18453"/>
                  <a:gd name="connsiteX4" fmla="*/ 17284 w 18333"/>
                  <a:gd name="connsiteY4" fmla="*/ 4950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17284" y="4950"/>
                    </a:moveTo>
                    <a:cubicBezTo>
                      <a:pt x="14892" y="465"/>
                      <a:pt x="9390" y="-1329"/>
                      <a:pt x="4904" y="1063"/>
                    </a:cubicBezTo>
                    <a:cubicBezTo>
                      <a:pt x="418" y="3395"/>
                      <a:pt x="-1316" y="8958"/>
                      <a:pt x="1076" y="13503"/>
                    </a:cubicBezTo>
                    <a:cubicBezTo>
                      <a:pt x="3409" y="17988"/>
                      <a:pt x="8971" y="19783"/>
                      <a:pt x="13456" y="17390"/>
                    </a:cubicBezTo>
                    <a:cubicBezTo>
                      <a:pt x="17942" y="14998"/>
                      <a:pt x="19617" y="9436"/>
                      <a:pt x="17284" y="4950"/>
                    </a:cubicBezTo>
                    <a:close/>
                  </a:path>
                </a:pathLst>
              </a:custGeom>
              <a:grpFill/>
              <a:ln w="5978" cap="flat">
                <a:noFill/>
                <a:prstDash val="solid"/>
                <a:miter/>
              </a:ln>
            </p:spPr>
            <p:txBody>
              <a:bodyPr rtlCol="0" anchor="ctr"/>
              <a:lstStyle/>
              <a:p>
                <a:endParaRPr lang="en-GB"/>
              </a:p>
            </p:txBody>
          </p:sp>
        </p:grpSp>
        <p:grpSp>
          <p:nvGrpSpPr>
            <p:cNvPr id="622" name="Graphic 3">
              <a:extLst>
                <a:ext uri="{FF2B5EF4-FFF2-40B4-BE49-F238E27FC236}">
                  <a16:creationId xmlns:a16="http://schemas.microsoft.com/office/drawing/2014/main" id="{5F49FEF7-A8BC-4FCD-B924-5398E063B01B}"/>
                </a:ext>
              </a:extLst>
            </p:cNvPr>
            <p:cNvGrpSpPr/>
            <p:nvPr/>
          </p:nvGrpSpPr>
          <p:grpSpPr>
            <a:xfrm>
              <a:off x="5737478" y="1681016"/>
              <a:ext cx="28461" cy="74810"/>
              <a:chOff x="5737478" y="1681016"/>
              <a:chExt cx="28461" cy="74810"/>
            </a:xfrm>
            <a:grpFill/>
          </p:grpSpPr>
          <p:sp>
            <p:nvSpPr>
              <p:cNvPr id="3523" name="Vrije vorm: vorm 3522">
                <a:extLst>
                  <a:ext uri="{FF2B5EF4-FFF2-40B4-BE49-F238E27FC236}">
                    <a16:creationId xmlns:a16="http://schemas.microsoft.com/office/drawing/2014/main" id="{7A34F75D-C574-4121-996F-89CA890D326A}"/>
                  </a:ext>
                </a:extLst>
              </p:cNvPr>
              <p:cNvSpPr/>
              <p:nvPr/>
            </p:nvSpPr>
            <p:spPr>
              <a:xfrm>
                <a:off x="5745101" y="1689474"/>
                <a:ext cx="13217" cy="57893"/>
              </a:xfrm>
              <a:custGeom>
                <a:avLst/>
                <a:gdLst>
                  <a:gd name="connsiteX0" fmla="*/ 2990 w 13217"/>
                  <a:gd name="connsiteY0" fmla="*/ 0 h 57893"/>
                  <a:gd name="connsiteX1" fmla="*/ 13217 w 13217"/>
                  <a:gd name="connsiteY1" fmla="*/ 57355 h 57893"/>
                  <a:gd name="connsiteX2" fmla="*/ 10227 w 13217"/>
                  <a:gd name="connsiteY2" fmla="*/ 57893 h 57893"/>
                  <a:gd name="connsiteX3" fmla="*/ 0 w 13217"/>
                  <a:gd name="connsiteY3" fmla="*/ 538 h 57893"/>
                </a:gdLst>
                <a:ahLst/>
                <a:cxnLst>
                  <a:cxn ang="0">
                    <a:pos x="connsiteX0" y="connsiteY0"/>
                  </a:cxn>
                  <a:cxn ang="0">
                    <a:pos x="connsiteX1" y="connsiteY1"/>
                  </a:cxn>
                  <a:cxn ang="0">
                    <a:pos x="connsiteX2" y="connsiteY2"/>
                  </a:cxn>
                  <a:cxn ang="0">
                    <a:pos x="connsiteX3" y="connsiteY3"/>
                  </a:cxn>
                </a:cxnLst>
                <a:rect l="l" t="t" r="r" b="b"/>
                <a:pathLst>
                  <a:path w="13217" h="57893">
                    <a:moveTo>
                      <a:pt x="2990" y="0"/>
                    </a:moveTo>
                    <a:lnTo>
                      <a:pt x="13217" y="57355"/>
                    </a:lnTo>
                    <a:lnTo>
                      <a:pt x="10227" y="57893"/>
                    </a:lnTo>
                    <a:lnTo>
                      <a:pt x="0" y="538"/>
                    </a:lnTo>
                    <a:close/>
                  </a:path>
                </a:pathLst>
              </a:custGeom>
              <a:grpFill/>
              <a:ln w="5978" cap="flat">
                <a:noFill/>
                <a:prstDash val="solid"/>
                <a:miter/>
              </a:ln>
            </p:spPr>
            <p:txBody>
              <a:bodyPr rtlCol="0" anchor="ctr"/>
              <a:lstStyle/>
              <a:p>
                <a:endParaRPr lang="en-GB"/>
              </a:p>
            </p:txBody>
          </p:sp>
          <p:sp>
            <p:nvSpPr>
              <p:cNvPr id="3524" name="Vrije vorm: vorm 3523">
                <a:extLst>
                  <a:ext uri="{FF2B5EF4-FFF2-40B4-BE49-F238E27FC236}">
                    <a16:creationId xmlns:a16="http://schemas.microsoft.com/office/drawing/2014/main" id="{04633B8A-9FBB-4FA8-84CE-9FA78AC471FC}"/>
                  </a:ext>
                </a:extLst>
              </p:cNvPr>
              <p:cNvSpPr/>
              <p:nvPr/>
            </p:nvSpPr>
            <p:spPr>
              <a:xfrm>
                <a:off x="5737478" y="1681016"/>
                <a:ext cx="18356" cy="18395"/>
              </a:xfrm>
              <a:custGeom>
                <a:avLst/>
                <a:gdLst>
                  <a:gd name="connsiteX0" fmla="*/ 147 w 18356"/>
                  <a:gd name="connsiteY0" fmla="*/ 10791 h 18395"/>
                  <a:gd name="connsiteX1" fmla="*/ 7563 w 18356"/>
                  <a:gd name="connsiteY1" fmla="*/ 145 h 18395"/>
                  <a:gd name="connsiteX2" fmla="*/ 18209 w 18356"/>
                  <a:gd name="connsiteY2" fmla="*/ 7621 h 18395"/>
                  <a:gd name="connsiteX3" fmla="*/ 10793 w 18356"/>
                  <a:gd name="connsiteY3" fmla="*/ 18267 h 18395"/>
                  <a:gd name="connsiteX4" fmla="*/ 147 w 18356"/>
                  <a:gd name="connsiteY4" fmla="*/ 1079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5">
                    <a:moveTo>
                      <a:pt x="147" y="10791"/>
                    </a:moveTo>
                    <a:cubicBezTo>
                      <a:pt x="-750" y="5767"/>
                      <a:pt x="2539" y="983"/>
                      <a:pt x="7563" y="145"/>
                    </a:cubicBezTo>
                    <a:cubicBezTo>
                      <a:pt x="12527" y="-752"/>
                      <a:pt x="17312" y="2597"/>
                      <a:pt x="18209" y="7621"/>
                    </a:cubicBezTo>
                    <a:cubicBezTo>
                      <a:pt x="19106" y="12645"/>
                      <a:pt x="15817" y="17430"/>
                      <a:pt x="10793" y="18267"/>
                    </a:cubicBezTo>
                    <a:cubicBezTo>
                      <a:pt x="5829" y="19104"/>
                      <a:pt x="1044" y="15755"/>
                      <a:pt x="147" y="10791"/>
                    </a:cubicBezTo>
                    <a:close/>
                  </a:path>
                </a:pathLst>
              </a:custGeom>
              <a:grpFill/>
              <a:ln w="5978" cap="flat">
                <a:noFill/>
                <a:prstDash val="solid"/>
                <a:miter/>
              </a:ln>
            </p:spPr>
            <p:txBody>
              <a:bodyPr rtlCol="0" anchor="ctr"/>
              <a:lstStyle/>
              <a:p>
                <a:endParaRPr lang="en-GB"/>
              </a:p>
            </p:txBody>
          </p:sp>
          <p:sp>
            <p:nvSpPr>
              <p:cNvPr id="3525" name="Vrije vorm: vorm 3524">
                <a:extLst>
                  <a:ext uri="{FF2B5EF4-FFF2-40B4-BE49-F238E27FC236}">
                    <a16:creationId xmlns:a16="http://schemas.microsoft.com/office/drawing/2014/main" id="{EBADA285-C0A4-467A-94B7-CC5FE9B84705}"/>
                  </a:ext>
                </a:extLst>
              </p:cNvPr>
              <p:cNvSpPr/>
              <p:nvPr/>
            </p:nvSpPr>
            <p:spPr>
              <a:xfrm>
                <a:off x="5747585" y="1737414"/>
                <a:ext cx="18354" cy="18412"/>
              </a:xfrm>
              <a:custGeom>
                <a:avLst/>
                <a:gdLst>
                  <a:gd name="connsiteX0" fmla="*/ 147 w 18354"/>
                  <a:gd name="connsiteY0" fmla="*/ 10791 h 18412"/>
                  <a:gd name="connsiteX1" fmla="*/ 10793 w 18354"/>
                  <a:gd name="connsiteY1" fmla="*/ 18267 h 18412"/>
                  <a:gd name="connsiteX2" fmla="*/ 18209 w 18354"/>
                  <a:gd name="connsiteY2" fmla="*/ 7621 h 18412"/>
                  <a:gd name="connsiteX3" fmla="*/ 7563 w 18354"/>
                  <a:gd name="connsiteY3" fmla="*/ 145 h 18412"/>
                  <a:gd name="connsiteX4" fmla="*/ 147 w 18354"/>
                  <a:gd name="connsiteY4" fmla="*/ 1079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47" y="10791"/>
                    </a:moveTo>
                    <a:cubicBezTo>
                      <a:pt x="1044" y="15815"/>
                      <a:pt x="5829" y="19164"/>
                      <a:pt x="10793" y="18267"/>
                    </a:cubicBezTo>
                    <a:cubicBezTo>
                      <a:pt x="15757" y="17370"/>
                      <a:pt x="19106" y="12585"/>
                      <a:pt x="18209" y="7621"/>
                    </a:cubicBezTo>
                    <a:cubicBezTo>
                      <a:pt x="17312" y="2597"/>
                      <a:pt x="12527" y="-752"/>
                      <a:pt x="7563" y="145"/>
                    </a:cubicBezTo>
                    <a:cubicBezTo>
                      <a:pt x="2539" y="1042"/>
                      <a:pt x="-750" y="5827"/>
                      <a:pt x="147" y="10791"/>
                    </a:cubicBezTo>
                    <a:close/>
                  </a:path>
                </a:pathLst>
              </a:custGeom>
              <a:grpFill/>
              <a:ln w="5978" cap="flat">
                <a:noFill/>
                <a:prstDash val="solid"/>
                <a:miter/>
              </a:ln>
            </p:spPr>
            <p:txBody>
              <a:bodyPr rtlCol="0" anchor="ctr"/>
              <a:lstStyle/>
              <a:p>
                <a:endParaRPr lang="en-GB"/>
              </a:p>
            </p:txBody>
          </p:sp>
        </p:grpSp>
        <p:grpSp>
          <p:nvGrpSpPr>
            <p:cNvPr id="623" name="Graphic 3">
              <a:extLst>
                <a:ext uri="{FF2B5EF4-FFF2-40B4-BE49-F238E27FC236}">
                  <a16:creationId xmlns:a16="http://schemas.microsoft.com/office/drawing/2014/main" id="{F4D2E6C7-BCE8-47AE-BC07-B3E15E6A9812}"/>
                </a:ext>
              </a:extLst>
            </p:cNvPr>
            <p:cNvGrpSpPr/>
            <p:nvPr/>
          </p:nvGrpSpPr>
          <p:grpSpPr>
            <a:xfrm>
              <a:off x="6856950" y="5028856"/>
              <a:ext cx="72300" cy="126281"/>
              <a:chOff x="6856950" y="5028856"/>
              <a:chExt cx="72300" cy="126281"/>
            </a:xfrm>
            <a:grpFill/>
          </p:grpSpPr>
          <p:sp>
            <p:nvSpPr>
              <p:cNvPr id="3520" name="Vrije vorm: vorm 3519">
                <a:extLst>
                  <a:ext uri="{FF2B5EF4-FFF2-40B4-BE49-F238E27FC236}">
                    <a16:creationId xmlns:a16="http://schemas.microsoft.com/office/drawing/2014/main" id="{1D9B3AC1-9CB5-4CA5-B2B2-35B588871AE4}"/>
                  </a:ext>
                </a:extLst>
              </p:cNvPr>
              <p:cNvSpPr/>
              <p:nvPr/>
            </p:nvSpPr>
            <p:spPr>
              <a:xfrm>
                <a:off x="6864550" y="5037159"/>
                <a:ext cx="57207" cy="110001"/>
              </a:xfrm>
              <a:custGeom>
                <a:avLst/>
                <a:gdLst>
                  <a:gd name="connsiteX0" fmla="*/ 0 w 57207"/>
                  <a:gd name="connsiteY0" fmla="*/ 1368 h 110001"/>
                  <a:gd name="connsiteX1" fmla="*/ 2726 w 57207"/>
                  <a:gd name="connsiteY1" fmla="*/ 0 h 110001"/>
                  <a:gd name="connsiteX2" fmla="*/ 57208 w 57207"/>
                  <a:gd name="connsiteY2" fmla="*/ 108634 h 110001"/>
                  <a:gd name="connsiteX3" fmla="*/ 54481 w 57207"/>
                  <a:gd name="connsiteY3" fmla="*/ 110002 h 110001"/>
                </a:gdLst>
                <a:ahLst/>
                <a:cxnLst>
                  <a:cxn ang="0">
                    <a:pos x="connsiteX0" y="connsiteY0"/>
                  </a:cxn>
                  <a:cxn ang="0">
                    <a:pos x="connsiteX1" y="connsiteY1"/>
                  </a:cxn>
                  <a:cxn ang="0">
                    <a:pos x="connsiteX2" y="connsiteY2"/>
                  </a:cxn>
                  <a:cxn ang="0">
                    <a:pos x="connsiteX3" y="connsiteY3"/>
                  </a:cxn>
                </a:cxnLst>
                <a:rect l="l" t="t" r="r" b="b"/>
                <a:pathLst>
                  <a:path w="57207" h="110001">
                    <a:moveTo>
                      <a:pt x="0" y="1368"/>
                    </a:moveTo>
                    <a:lnTo>
                      <a:pt x="2726" y="0"/>
                    </a:lnTo>
                    <a:lnTo>
                      <a:pt x="57208" y="108634"/>
                    </a:lnTo>
                    <a:lnTo>
                      <a:pt x="54481" y="110002"/>
                    </a:lnTo>
                    <a:close/>
                  </a:path>
                </a:pathLst>
              </a:custGeom>
              <a:grpFill/>
              <a:ln w="5978" cap="flat">
                <a:noFill/>
                <a:prstDash val="solid"/>
                <a:miter/>
              </a:ln>
            </p:spPr>
            <p:txBody>
              <a:bodyPr rtlCol="0" anchor="ctr"/>
              <a:lstStyle/>
              <a:p>
                <a:endParaRPr lang="en-GB"/>
              </a:p>
            </p:txBody>
          </p:sp>
          <p:sp>
            <p:nvSpPr>
              <p:cNvPr id="3521" name="Vrije vorm: vorm 3520">
                <a:extLst>
                  <a:ext uri="{FF2B5EF4-FFF2-40B4-BE49-F238E27FC236}">
                    <a16:creationId xmlns:a16="http://schemas.microsoft.com/office/drawing/2014/main" id="{F8F84100-624A-417A-BB0E-A5D48DAD9922}"/>
                  </a:ext>
                </a:extLst>
              </p:cNvPr>
              <p:cNvSpPr/>
              <p:nvPr/>
            </p:nvSpPr>
            <p:spPr>
              <a:xfrm>
                <a:off x="6910897" y="5136688"/>
                <a:ext cx="18353" cy="18448"/>
              </a:xfrm>
              <a:custGeom>
                <a:avLst/>
                <a:gdLst>
                  <a:gd name="connsiteX0" fmla="*/ 17370 w 18353"/>
                  <a:gd name="connsiteY0" fmla="*/ 5098 h 18448"/>
                  <a:gd name="connsiteX1" fmla="*/ 13304 w 18353"/>
                  <a:gd name="connsiteY1" fmla="*/ 17478 h 18448"/>
                  <a:gd name="connsiteX2" fmla="*/ 983 w 18353"/>
                  <a:gd name="connsiteY2" fmla="*/ 13351 h 18448"/>
                  <a:gd name="connsiteX3" fmla="*/ 5051 w 18353"/>
                  <a:gd name="connsiteY3" fmla="*/ 971 h 18448"/>
                  <a:gd name="connsiteX4" fmla="*/ 17370 w 18353"/>
                  <a:gd name="connsiteY4" fmla="*/ 50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8">
                    <a:moveTo>
                      <a:pt x="17370" y="5098"/>
                    </a:moveTo>
                    <a:cubicBezTo>
                      <a:pt x="19643" y="9643"/>
                      <a:pt x="17849" y="15205"/>
                      <a:pt x="13304" y="17478"/>
                    </a:cubicBezTo>
                    <a:cubicBezTo>
                      <a:pt x="8759" y="19751"/>
                      <a:pt x="3256" y="17896"/>
                      <a:pt x="983" y="13351"/>
                    </a:cubicBezTo>
                    <a:cubicBezTo>
                      <a:pt x="-1289" y="8806"/>
                      <a:pt x="505" y="3244"/>
                      <a:pt x="5051" y="971"/>
                    </a:cubicBezTo>
                    <a:cubicBezTo>
                      <a:pt x="9596" y="-1302"/>
                      <a:pt x="15098" y="552"/>
                      <a:pt x="17370" y="5098"/>
                    </a:cubicBezTo>
                    <a:close/>
                  </a:path>
                </a:pathLst>
              </a:custGeom>
              <a:grpFill/>
              <a:ln w="5978" cap="flat">
                <a:noFill/>
                <a:prstDash val="solid"/>
                <a:miter/>
              </a:ln>
            </p:spPr>
            <p:txBody>
              <a:bodyPr rtlCol="0" anchor="ctr"/>
              <a:lstStyle/>
              <a:p>
                <a:endParaRPr lang="en-GB"/>
              </a:p>
            </p:txBody>
          </p:sp>
          <p:sp>
            <p:nvSpPr>
              <p:cNvPr id="3522" name="Vrije vorm: vorm 3521">
                <a:extLst>
                  <a:ext uri="{FF2B5EF4-FFF2-40B4-BE49-F238E27FC236}">
                    <a16:creationId xmlns:a16="http://schemas.microsoft.com/office/drawing/2014/main" id="{BDEA32A3-9E88-4AA3-8BE2-5BABF526259B}"/>
                  </a:ext>
                </a:extLst>
              </p:cNvPr>
              <p:cNvSpPr/>
              <p:nvPr/>
            </p:nvSpPr>
            <p:spPr>
              <a:xfrm>
                <a:off x="6856950" y="5028856"/>
                <a:ext cx="18343" cy="18449"/>
              </a:xfrm>
              <a:custGeom>
                <a:avLst/>
                <a:gdLst>
                  <a:gd name="connsiteX0" fmla="*/ 17370 w 18343"/>
                  <a:gd name="connsiteY0" fmla="*/ 5098 h 18449"/>
                  <a:gd name="connsiteX1" fmla="*/ 5051 w 18343"/>
                  <a:gd name="connsiteY1" fmla="*/ 971 h 18449"/>
                  <a:gd name="connsiteX2" fmla="*/ 983 w 18343"/>
                  <a:gd name="connsiteY2" fmla="*/ 13351 h 18449"/>
                  <a:gd name="connsiteX3" fmla="*/ 13304 w 18343"/>
                  <a:gd name="connsiteY3" fmla="*/ 17478 h 18449"/>
                  <a:gd name="connsiteX4" fmla="*/ 17370 w 18343"/>
                  <a:gd name="connsiteY4" fmla="*/ 509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9">
                    <a:moveTo>
                      <a:pt x="17370" y="5098"/>
                    </a:moveTo>
                    <a:cubicBezTo>
                      <a:pt x="15098" y="552"/>
                      <a:pt x="9596" y="-1302"/>
                      <a:pt x="5051" y="971"/>
                    </a:cubicBezTo>
                    <a:cubicBezTo>
                      <a:pt x="505" y="3244"/>
                      <a:pt x="-1289" y="8746"/>
                      <a:pt x="983" y="13351"/>
                    </a:cubicBezTo>
                    <a:cubicBezTo>
                      <a:pt x="3256" y="17897"/>
                      <a:pt x="8759" y="19751"/>
                      <a:pt x="13304" y="17478"/>
                    </a:cubicBezTo>
                    <a:cubicBezTo>
                      <a:pt x="17790" y="15145"/>
                      <a:pt x="19643" y="9643"/>
                      <a:pt x="17370" y="5098"/>
                    </a:cubicBezTo>
                    <a:close/>
                  </a:path>
                </a:pathLst>
              </a:custGeom>
              <a:grpFill/>
              <a:ln w="5978" cap="flat">
                <a:noFill/>
                <a:prstDash val="solid"/>
                <a:miter/>
              </a:ln>
            </p:spPr>
            <p:txBody>
              <a:bodyPr rtlCol="0" anchor="ctr"/>
              <a:lstStyle/>
              <a:p>
                <a:endParaRPr lang="en-GB"/>
              </a:p>
            </p:txBody>
          </p:sp>
        </p:grpSp>
        <p:grpSp>
          <p:nvGrpSpPr>
            <p:cNvPr id="624" name="Graphic 3">
              <a:extLst>
                <a:ext uri="{FF2B5EF4-FFF2-40B4-BE49-F238E27FC236}">
                  <a16:creationId xmlns:a16="http://schemas.microsoft.com/office/drawing/2014/main" id="{2F1CD9CB-C39D-4177-9A11-E66C5EBFB397}"/>
                </a:ext>
              </a:extLst>
            </p:cNvPr>
            <p:cNvGrpSpPr/>
            <p:nvPr/>
          </p:nvGrpSpPr>
          <p:grpSpPr>
            <a:xfrm>
              <a:off x="6798618" y="4914061"/>
              <a:ext cx="176346" cy="418548"/>
              <a:chOff x="6798618" y="4914061"/>
              <a:chExt cx="176346" cy="418548"/>
            </a:xfrm>
            <a:grpFill/>
          </p:grpSpPr>
          <p:sp>
            <p:nvSpPr>
              <p:cNvPr id="3517" name="Vrije vorm: vorm 3516">
                <a:extLst>
                  <a:ext uri="{FF2B5EF4-FFF2-40B4-BE49-F238E27FC236}">
                    <a16:creationId xmlns:a16="http://schemas.microsoft.com/office/drawing/2014/main" id="{0E6A3E10-92B3-4B44-9DCF-E02CC44FFF19}"/>
                  </a:ext>
                </a:extLst>
              </p:cNvPr>
              <p:cNvSpPr/>
              <p:nvPr/>
            </p:nvSpPr>
            <p:spPr>
              <a:xfrm>
                <a:off x="6806081" y="4922490"/>
                <a:ext cx="161047" cy="402119"/>
              </a:xfrm>
              <a:custGeom>
                <a:avLst/>
                <a:gdLst>
                  <a:gd name="connsiteX0" fmla="*/ 0 w 161047"/>
                  <a:gd name="connsiteY0" fmla="*/ 1119 h 402119"/>
                  <a:gd name="connsiteX1" fmla="*/ 2838 w 161047"/>
                  <a:gd name="connsiteY1" fmla="*/ 0 h 402119"/>
                  <a:gd name="connsiteX2" fmla="*/ 161048 w 161047"/>
                  <a:gd name="connsiteY2" fmla="*/ 401000 h 402119"/>
                  <a:gd name="connsiteX3" fmla="*/ 158211 w 161047"/>
                  <a:gd name="connsiteY3" fmla="*/ 402120 h 402119"/>
                </a:gdLst>
                <a:ahLst/>
                <a:cxnLst>
                  <a:cxn ang="0">
                    <a:pos x="connsiteX0" y="connsiteY0"/>
                  </a:cxn>
                  <a:cxn ang="0">
                    <a:pos x="connsiteX1" y="connsiteY1"/>
                  </a:cxn>
                  <a:cxn ang="0">
                    <a:pos x="connsiteX2" y="connsiteY2"/>
                  </a:cxn>
                  <a:cxn ang="0">
                    <a:pos x="connsiteX3" y="connsiteY3"/>
                  </a:cxn>
                </a:cxnLst>
                <a:rect l="l" t="t" r="r" b="b"/>
                <a:pathLst>
                  <a:path w="161047" h="402119">
                    <a:moveTo>
                      <a:pt x="0" y="1119"/>
                    </a:moveTo>
                    <a:lnTo>
                      <a:pt x="2838" y="0"/>
                    </a:lnTo>
                    <a:lnTo>
                      <a:pt x="161048" y="401000"/>
                    </a:lnTo>
                    <a:lnTo>
                      <a:pt x="158211" y="402120"/>
                    </a:lnTo>
                    <a:close/>
                  </a:path>
                </a:pathLst>
              </a:custGeom>
              <a:grpFill/>
              <a:ln w="5978" cap="flat">
                <a:noFill/>
                <a:prstDash val="solid"/>
                <a:miter/>
              </a:ln>
            </p:spPr>
            <p:txBody>
              <a:bodyPr rtlCol="0" anchor="ctr"/>
              <a:lstStyle/>
              <a:p>
                <a:endParaRPr lang="en-GB"/>
              </a:p>
            </p:txBody>
          </p:sp>
          <p:sp>
            <p:nvSpPr>
              <p:cNvPr id="3518" name="Vrije vorm: vorm 3517">
                <a:extLst>
                  <a:ext uri="{FF2B5EF4-FFF2-40B4-BE49-F238E27FC236}">
                    <a16:creationId xmlns:a16="http://schemas.microsoft.com/office/drawing/2014/main" id="{FA8039BF-544C-4CAD-AC74-A857B081140A}"/>
                  </a:ext>
                </a:extLst>
              </p:cNvPr>
              <p:cNvSpPr/>
              <p:nvPr/>
            </p:nvSpPr>
            <p:spPr>
              <a:xfrm>
                <a:off x="6798618" y="4914061"/>
                <a:ext cx="18335" cy="18445"/>
              </a:xfrm>
              <a:custGeom>
                <a:avLst/>
                <a:gdLst>
                  <a:gd name="connsiteX0" fmla="*/ 645 w 18335"/>
                  <a:gd name="connsiteY0" fmla="*/ 12598 h 18445"/>
                  <a:gd name="connsiteX1" fmla="*/ 5789 w 18335"/>
                  <a:gd name="connsiteY1" fmla="*/ 637 h 18445"/>
                  <a:gd name="connsiteX2" fmla="*/ 17690 w 18335"/>
                  <a:gd name="connsiteY2" fmla="*/ 5840 h 18445"/>
                  <a:gd name="connsiteX3" fmla="*/ 12547 w 18335"/>
                  <a:gd name="connsiteY3" fmla="*/ 17801 h 18445"/>
                  <a:gd name="connsiteX4" fmla="*/ 645 w 18335"/>
                  <a:gd name="connsiteY4" fmla="*/ 1259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5">
                    <a:moveTo>
                      <a:pt x="645" y="12598"/>
                    </a:moveTo>
                    <a:cubicBezTo>
                      <a:pt x="-1209" y="7874"/>
                      <a:pt x="1064" y="2491"/>
                      <a:pt x="5789" y="637"/>
                    </a:cubicBezTo>
                    <a:cubicBezTo>
                      <a:pt x="10513" y="-1217"/>
                      <a:pt x="15836" y="1115"/>
                      <a:pt x="17690" y="5840"/>
                    </a:cubicBezTo>
                    <a:cubicBezTo>
                      <a:pt x="19544" y="10565"/>
                      <a:pt x="17272" y="15947"/>
                      <a:pt x="12547" y="17801"/>
                    </a:cubicBezTo>
                    <a:cubicBezTo>
                      <a:pt x="7882" y="19655"/>
                      <a:pt x="2559" y="17383"/>
                      <a:pt x="645" y="12598"/>
                    </a:cubicBezTo>
                    <a:close/>
                  </a:path>
                </a:pathLst>
              </a:custGeom>
              <a:grpFill/>
              <a:ln w="5978" cap="flat">
                <a:noFill/>
                <a:prstDash val="solid"/>
                <a:miter/>
              </a:ln>
            </p:spPr>
            <p:txBody>
              <a:bodyPr rtlCol="0" anchor="ctr"/>
              <a:lstStyle/>
              <a:p>
                <a:endParaRPr lang="en-GB"/>
              </a:p>
            </p:txBody>
          </p:sp>
          <p:sp>
            <p:nvSpPr>
              <p:cNvPr id="3519" name="Vrije vorm: vorm 3518">
                <a:extLst>
                  <a:ext uri="{FF2B5EF4-FFF2-40B4-BE49-F238E27FC236}">
                    <a16:creationId xmlns:a16="http://schemas.microsoft.com/office/drawing/2014/main" id="{62C45BA8-1589-4F4C-98B4-DD6BE584FF44}"/>
                  </a:ext>
                </a:extLst>
              </p:cNvPr>
              <p:cNvSpPr/>
              <p:nvPr/>
            </p:nvSpPr>
            <p:spPr>
              <a:xfrm>
                <a:off x="6956629" y="5314171"/>
                <a:ext cx="18335" cy="18438"/>
              </a:xfrm>
              <a:custGeom>
                <a:avLst/>
                <a:gdLst>
                  <a:gd name="connsiteX0" fmla="*/ 645 w 18335"/>
                  <a:gd name="connsiteY0" fmla="*/ 12598 h 18438"/>
                  <a:gd name="connsiteX1" fmla="*/ 12547 w 18335"/>
                  <a:gd name="connsiteY1" fmla="*/ 17801 h 18438"/>
                  <a:gd name="connsiteX2" fmla="*/ 17691 w 18335"/>
                  <a:gd name="connsiteY2" fmla="*/ 5840 h 18438"/>
                  <a:gd name="connsiteX3" fmla="*/ 5788 w 18335"/>
                  <a:gd name="connsiteY3" fmla="*/ 637 h 18438"/>
                  <a:gd name="connsiteX4" fmla="*/ 645 w 18335"/>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645" y="12598"/>
                    </a:moveTo>
                    <a:cubicBezTo>
                      <a:pt x="2499" y="17323"/>
                      <a:pt x="7822" y="19655"/>
                      <a:pt x="12547" y="17801"/>
                    </a:cubicBezTo>
                    <a:cubicBezTo>
                      <a:pt x="17272" y="15947"/>
                      <a:pt x="19544" y="10565"/>
                      <a:pt x="17691" y="5840"/>
                    </a:cubicBezTo>
                    <a:cubicBezTo>
                      <a:pt x="15836" y="1115"/>
                      <a:pt x="10513" y="-1217"/>
                      <a:pt x="5788" y="637"/>
                    </a:cubicBezTo>
                    <a:cubicBezTo>
                      <a:pt x="1064" y="2491"/>
                      <a:pt x="-1209" y="7814"/>
                      <a:pt x="645" y="12598"/>
                    </a:cubicBezTo>
                    <a:close/>
                  </a:path>
                </a:pathLst>
              </a:custGeom>
              <a:grpFill/>
              <a:ln w="5978" cap="flat">
                <a:noFill/>
                <a:prstDash val="solid"/>
                <a:miter/>
              </a:ln>
            </p:spPr>
            <p:txBody>
              <a:bodyPr rtlCol="0" anchor="ctr"/>
              <a:lstStyle/>
              <a:p>
                <a:endParaRPr lang="en-GB"/>
              </a:p>
            </p:txBody>
          </p:sp>
        </p:grpSp>
        <p:grpSp>
          <p:nvGrpSpPr>
            <p:cNvPr id="625" name="Graphic 3">
              <a:extLst>
                <a:ext uri="{FF2B5EF4-FFF2-40B4-BE49-F238E27FC236}">
                  <a16:creationId xmlns:a16="http://schemas.microsoft.com/office/drawing/2014/main" id="{C799840A-1E96-46E9-9332-198BE3586333}"/>
                </a:ext>
              </a:extLst>
            </p:cNvPr>
            <p:cNvGrpSpPr/>
            <p:nvPr/>
          </p:nvGrpSpPr>
          <p:grpSpPr>
            <a:xfrm>
              <a:off x="6898915" y="5194730"/>
              <a:ext cx="75486" cy="138065"/>
              <a:chOff x="6898915" y="5194730"/>
              <a:chExt cx="75486" cy="138065"/>
            </a:xfrm>
            <a:grpFill/>
          </p:grpSpPr>
          <p:sp>
            <p:nvSpPr>
              <p:cNvPr id="3514" name="Vrije vorm: vorm 3513">
                <a:extLst>
                  <a:ext uri="{FF2B5EF4-FFF2-40B4-BE49-F238E27FC236}">
                    <a16:creationId xmlns:a16="http://schemas.microsoft.com/office/drawing/2014/main" id="{1CBE47AC-CC1E-4191-AEEA-99B8C438587A}"/>
                  </a:ext>
                </a:extLst>
              </p:cNvPr>
              <p:cNvSpPr/>
              <p:nvPr/>
            </p:nvSpPr>
            <p:spPr>
              <a:xfrm>
                <a:off x="6906497" y="5202849"/>
                <a:ext cx="60286" cy="121827"/>
              </a:xfrm>
              <a:custGeom>
                <a:avLst/>
                <a:gdLst>
                  <a:gd name="connsiteX0" fmla="*/ 60286 w 60286"/>
                  <a:gd name="connsiteY0" fmla="*/ 120512 h 121827"/>
                  <a:gd name="connsiteX1" fmla="*/ 57535 w 60286"/>
                  <a:gd name="connsiteY1" fmla="*/ 121827 h 121827"/>
                  <a:gd name="connsiteX2" fmla="*/ 0 w 60286"/>
                  <a:gd name="connsiteY2" fmla="*/ 1316 h 121827"/>
                  <a:gd name="connsiteX3" fmla="*/ 2752 w 60286"/>
                  <a:gd name="connsiteY3" fmla="*/ 0 h 121827"/>
                </a:gdLst>
                <a:ahLst/>
                <a:cxnLst>
                  <a:cxn ang="0">
                    <a:pos x="connsiteX0" y="connsiteY0"/>
                  </a:cxn>
                  <a:cxn ang="0">
                    <a:pos x="connsiteX1" y="connsiteY1"/>
                  </a:cxn>
                  <a:cxn ang="0">
                    <a:pos x="connsiteX2" y="connsiteY2"/>
                  </a:cxn>
                  <a:cxn ang="0">
                    <a:pos x="connsiteX3" y="connsiteY3"/>
                  </a:cxn>
                </a:cxnLst>
                <a:rect l="l" t="t" r="r" b="b"/>
                <a:pathLst>
                  <a:path w="60286" h="121827">
                    <a:moveTo>
                      <a:pt x="60286" y="120512"/>
                    </a:moveTo>
                    <a:lnTo>
                      <a:pt x="57535" y="121827"/>
                    </a:lnTo>
                    <a:lnTo>
                      <a:pt x="0" y="1316"/>
                    </a:lnTo>
                    <a:lnTo>
                      <a:pt x="2752" y="0"/>
                    </a:lnTo>
                    <a:close/>
                  </a:path>
                </a:pathLst>
              </a:custGeom>
              <a:grpFill/>
              <a:ln w="5978" cap="flat">
                <a:noFill/>
                <a:prstDash val="solid"/>
                <a:miter/>
              </a:ln>
            </p:spPr>
            <p:txBody>
              <a:bodyPr rtlCol="0" anchor="ctr"/>
              <a:lstStyle/>
              <a:p>
                <a:endParaRPr lang="en-GB"/>
              </a:p>
            </p:txBody>
          </p:sp>
          <p:sp>
            <p:nvSpPr>
              <p:cNvPr id="3515" name="Vrije vorm: vorm 3514">
                <a:extLst>
                  <a:ext uri="{FF2B5EF4-FFF2-40B4-BE49-F238E27FC236}">
                    <a16:creationId xmlns:a16="http://schemas.microsoft.com/office/drawing/2014/main" id="{420F1BEF-7CCE-4078-9E39-B5A19884F82E}"/>
                  </a:ext>
                </a:extLst>
              </p:cNvPr>
              <p:cNvSpPr/>
              <p:nvPr/>
            </p:nvSpPr>
            <p:spPr>
              <a:xfrm>
                <a:off x="6955995" y="5314404"/>
                <a:ext cx="18406" cy="18390"/>
              </a:xfrm>
              <a:custGeom>
                <a:avLst/>
                <a:gdLst>
                  <a:gd name="connsiteX0" fmla="*/ 17487 w 18406"/>
                  <a:gd name="connsiteY0" fmla="*/ 5248 h 18390"/>
                  <a:gd name="connsiteX1" fmla="*/ 13180 w 18406"/>
                  <a:gd name="connsiteY1" fmla="*/ 17509 h 18390"/>
                  <a:gd name="connsiteX2" fmla="*/ 920 w 18406"/>
                  <a:gd name="connsiteY2" fmla="*/ 13143 h 18390"/>
                  <a:gd name="connsiteX3" fmla="*/ 5226 w 18406"/>
                  <a:gd name="connsiteY3" fmla="*/ 882 h 18390"/>
                  <a:gd name="connsiteX4" fmla="*/ 17487 w 18406"/>
                  <a:gd name="connsiteY4" fmla="*/ 5248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6" h="18390">
                    <a:moveTo>
                      <a:pt x="17487" y="5248"/>
                    </a:moveTo>
                    <a:cubicBezTo>
                      <a:pt x="19699" y="9854"/>
                      <a:pt x="17785" y="15356"/>
                      <a:pt x="13180" y="17509"/>
                    </a:cubicBezTo>
                    <a:cubicBezTo>
                      <a:pt x="8575" y="19662"/>
                      <a:pt x="3133" y="17748"/>
                      <a:pt x="920" y="13143"/>
                    </a:cubicBezTo>
                    <a:cubicBezTo>
                      <a:pt x="-1293" y="8538"/>
                      <a:pt x="620" y="3035"/>
                      <a:pt x="5226" y="882"/>
                    </a:cubicBezTo>
                    <a:cubicBezTo>
                      <a:pt x="9831" y="-1271"/>
                      <a:pt x="15274" y="643"/>
                      <a:pt x="17487" y="5248"/>
                    </a:cubicBezTo>
                    <a:close/>
                  </a:path>
                </a:pathLst>
              </a:custGeom>
              <a:grpFill/>
              <a:ln w="5978" cap="flat">
                <a:noFill/>
                <a:prstDash val="solid"/>
                <a:miter/>
              </a:ln>
            </p:spPr>
            <p:txBody>
              <a:bodyPr rtlCol="0" anchor="ctr"/>
              <a:lstStyle/>
              <a:p>
                <a:endParaRPr lang="en-GB"/>
              </a:p>
            </p:txBody>
          </p:sp>
          <p:sp>
            <p:nvSpPr>
              <p:cNvPr id="3516" name="Vrije vorm: vorm 3515">
                <a:extLst>
                  <a:ext uri="{FF2B5EF4-FFF2-40B4-BE49-F238E27FC236}">
                    <a16:creationId xmlns:a16="http://schemas.microsoft.com/office/drawing/2014/main" id="{6A98C1C2-3BB8-49B6-ABC2-F43B188AB5C7}"/>
                  </a:ext>
                </a:extLst>
              </p:cNvPr>
              <p:cNvSpPr/>
              <p:nvPr/>
            </p:nvSpPr>
            <p:spPr>
              <a:xfrm>
                <a:off x="6898915" y="5194730"/>
                <a:ext cx="18333" cy="18390"/>
              </a:xfrm>
              <a:custGeom>
                <a:avLst/>
                <a:gdLst>
                  <a:gd name="connsiteX0" fmla="*/ 17450 w 18333"/>
                  <a:gd name="connsiteY0" fmla="*/ 5248 h 18390"/>
                  <a:gd name="connsiteX1" fmla="*/ 5189 w 18333"/>
                  <a:gd name="connsiteY1" fmla="*/ 882 h 18390"/>
                  <a:gd name="connsiteX2" fmla="*/ 883 w 18333"/>
                  <a:gd name="connsiteY2" fmla="*/ 13143 h 18390"/>
                  <a:gd name="connsiteX3" fmla="*/ 13144 w 18333"/>
                  <a:gd name="connsiteY3" fmla="*/ 17509 h 18390"/>
                  <a:gd name="connsiteX4" fmla="*/ 17450 w 18333"/>
                  <a:gd name="connsiteY4" fmla="*/ 5248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0">
                    <a:moveTo>
                      <a:pt x="17450" y="5248"/>
                    </a:moveTo>
                    <a:cubicBezTo>
                      <a:pt x="15237" y="643"/>
                      <a:pt x="9795" y="-1271"/>
                      <a:pt x="5189" y="882"/>
                    </a:cubicBezTo>
                    <a:cubicBezTo>
                      <a:pt x="645" y="3095"/>
                      <a:pt x="-1270" y="8538"/>
                      <a:pt x="883" y="13143"/>
                    </a:cubicBezTo>
                    <a:cubicBezTo>
                      <a:pt x="3096" y="17748"/>
                      <a:pt x="8539" y="19662"/>
                      <a:pt x="13144" y="17509"/>
                    </a:cubicBezTo>
                    <a:cubicBezTo>
                      <a:pt x="17690" y="15296"/>
                      <a:pt x="19603" y="9854"/>
                      <a:pt x="17450" y="5248"/>
                    </a:cubicBezTo>
                    <a:close/>
                  </a:path>
                </a:pathLst>
              </a:custGeom>
              <a:grpFill/>
              <a:ln w="5978" cap="flat">
                <a:noFill/>
                <a:prstDash val="solid"/>
                <a:miter/>
              </a:ln>
            </p:spPr>
            <p:txBody>
              <a:bodyPr rtlCol="0" anchor="ctr"/>
              <a:lstStyle/>
              <a:p>
                <a:endParaRPr lang="en-GB"/>
              </a:p>
            </p:txBody>
          </p:sp>
        </p:grpSp>
        <p:grpSp>
          <p:nvGrpSpPr>
            <p:cNvPr id="626" name="Graphic 3">
              <a:extLst>
                <a:ext uri="{FF2B5EF4-FFF2-40B4-BE49-F238E27FC236}">
                  <a16:creationId xmlns:a16="http://schemas.microsoft.com/office/drawing/2014/main" id="{547CB78E-283D-443C-87F2-23AE5750A3F5}"/>
                </a:ext>
              </a:extLst>
            </p:cNvPr>
            <p:cNvGrpSpPr/>
            <p:nvPr/>
          </p:nvGrpSpPr>
          <p:grpSpPr>
            <a:xfrm>
              <a:off x="5555239" y="1147830"/>
              <a:ext cx="100243" cy="395745"/>
              <a:chOff x="5555239" y="1147830"/>
              <a:chExt cx="100243" cy="395745"/>
            </a:xfrm>
            <a:grpFill/>
          </p:grpSpPr>
          <p:sp>
            <p:nvSpPr>
              <p:cNvPr id="3511" name="Vrije vorm: vorm 3510">
                <a:extLst>
                  <a:ext uri="{FF2B5EF4-FFF2-40B4-BE49-F238E27FC236}">
                    <a16:creationId xmlns:a16="http://schemas.microsoft.com/office/drawing/2014/main" id="{2246E6C0-EC15-45AA-A94E-454017C60547}"/>
                  </a:ext>
                </a:extLst>
              </p:cNvPr>
              <p:cNvSpPr/>
              <p:nvPr/>
            </p:nvSpPr>
            <p:spPr>
              <a:xfrm>
                <a:off x="5562808" y="1156293"/>
                <a:ext cx="85105" cy="378878"/>
              </a:xfrm>
              <a:custGeom>
                <a:avLst/>
                <a:gdLst>
                  <a:gd name="connsiteX0" fmla="*/ 2990 w 85105"/>
                  <a:gd name="connsiteY0" fmla="*/ 0 h 378878"/>
                  <a:gd name="connsiteX1" fmla="*/ 85106 w 85105"/>
                  <a:gd name="connsiteY1" fmla="*/ 378221 h 378878"/>
                  <a:gd name="connsiteX2" fmla="*/ 82116 w 85105"/>
                  <a:gd name="connsiteY2" fmla="*/ 378879 h 378878"/>
                  <a:gd name="connsiteX3" fmla="*/ 0 w 85105"/>
                  <a:gd name="connsiteY3" fmla="*/ 598 h 378878"/>
                </a:gdLst>
                <a:ahLst/>
                <a:cxnLst>
                  <a:cxn ang="0">
                    <a:pos x="connsiteX0" y="connsiteY0"/>
                  </a:cxn>
                  <a:cxn ang="0">
                    <a:pos x="connsiteX1" y="connsiteY1"/>
                  </a:cxn>
                  <a:cxn ang="0">
                    <a:pos x="connsiteX2" y="connsiteY2"/>
                  </a:cxn>
                  <a:cxn ang="0">
                    <a:pos x="connsiteX3" y="connsiteY3"/>
                  </a:cxn>
                </a:cxnLst>
                <a:rect l="l" t="t" r="r" b="b"/>
                <a:pathLst>
                  <a:path w="85105" h="378878">
                    <a:moveTo>
                      <a:pt x="2990" y="0"/>
                    </a:moveTo>
                    <a:lnTo>
                      <a:pt x="85106" y="378221"/>
                    </a:lnTo>
                    <a:lnTo>
                      <a:pt x="82116" y="378879"/>
                    </a:lnTo>
                    <a:lnTo>
                      <a:pt x="0" y="598"/>
                    </a:lnTo>
                    <a:close/>
                  </a:path>
                </a:pathLst>
              </a:custGeom>
              <a:grpFill/>
              <a:ln w="5978" cap="flat">
                <a:noFill/>
                <a:prstDash val="solid"/>
                <a:miter/>
              </a:ln>
            </p:spPr>
            <p:txBody>
              <a:bodyPr rtlCol="0" anchor="ctr"/>
              <a:lstStyle/>
              <a:p>
                <a:endParaRPr lang="en-GB"/>
              </a:p>
            </p:txBody>
          </p:sp>
          <p:sp>
            <p:nvSpPr>
              <p:cNvPr id="3512" name="Vrije vorm: vorm 3511">
                <a:extLst>
                  <a:ext uri="{FF2B5EF4-FFF2-40B4-BE49-F238E27FC236}">
                    <a16:creationId xmlns:a16="http://schemas.microsoft.com/office/drawing/2014/main" id="{D82251A6-9DF7-418E-94BD-E89F84CEC545}"/>
                  </a:ext>
                </a:extLst>
              </p:cNvPr>
              <p:cNvSpPr/>
              <p:nvPr/>
            </p:nvSpPr>
            <p:spPr>
              <a:xfrm>
                <a:off x="5555239" y="1147830"/>
                <a:ext cx="18307" cy="18421"/>
              </a:xfrm>
              <a:custGeom>
                <a:avLst/>
                <a:gdLst>
                  <a:gd name="connsiteX0" fmla="*/ 213 w 18307"/>
                  <a:gd name="connsiteY0" fmla="*/ 11155 h 18421"/>
                  <a:gd name="connsiteX1" fmla="*/ 7210 w 18307"/>
                  <a:gd name="connsiteY1" fmla="*/ 210 h 18421"/>
                  <a:gd name="connsiteX2" fmla="*/ 18095 w 18307"/>
                  <a:gd name="connsiteY2" fmla="*/ 7267 h 18421"/>
                  <a:gd name="connsiteX3" fmla="*/ 11098 w 18307"/>
                  <a:gd name="connsiteY3" fmla="*/ 18212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864" y="6191"/>
                      <a:pt x="2246" y="1287"/>
                      <a:pt x="7210" y="210"/>
                    </a:cubicBezTo>
                    <a:cubicBezTo>
                      <a:pt x="12174" y="-867"/>
                      <a:pt x="17019" y="2303"/>
                      <a:pt x="18095" y="7267"/>
                    </a:cubicBezTo>
                    <a:cubicBezTo>
                      <a:pt x="19172" y="12231"/>
                      <a:pt x="16062" y="17135"/>
                      <a:pt x="11098" y="18212"/>
                    </a:cubicBezTo>
                    <a:cubicBezTo>
                      <a:pt x="6134" y="19288"/>
                      <a:pt x="1289" y="16119"/>
                      <a:pt x="213" y="11155"/>
                    </a:cubicBezTo>
                    <a:close/>
                  </a:path>
                </a:pathLst>
              </a:custGeom>
              <a:grpFill/>
              <a:ln w="5978" cap="flat">
                <a:noFill/>
                <a:prstDash val="solid"/>
                <a:miter/>
              </a:ln>
            </p:spPr>
            <p:txBody>
              <a:bodyPr rtlCol="0" anchor="ctr"/>
              <a:lstStyle/>
              <a:p>
                <a:endParaRPr lang="en-GB"/>
              </a:p>
            </p:txBody>
          </p:sp>
          <p:sp>
            <p:nvSpPr>
              <p:cNvPr id="3513" name="Vrije vorm: vorm 3512">
                <a:extLst>
                  <a:ext uri="{FF2B5EF4-FFF2-40B4-BE49-F238E27FC236}">
                    <a16:creationId xmlns:a16="http://schemas.microsoft.com/office/drawing/2014/main" id="{30793D10-88F8-4098-A005-9AAD572BFCC3}"/>
                  </a:ext>
                </a:extLst>
              </p:cNvPr>
              <p:cNvSpPr/>
              <p:nvPr/>
            </p:nvSpPr>
            <p:spPr>
              <a:xfrm>
                <a:off x="5637175" y="1525153"/>
                <a:ext cx="18307" cy="18421"/>
              </a:xfrm>
              <a:custGeom>
                <a:avLst/>
                <a:gdLst>
                  <a:gd name="connsiteX0" fmla="*/ 213 w 18307"/>
                  <a:gd name="connsiteY0" fmla="*/ 11155 h 18421"/>
                  <a:gd name="connsiteX1" fmla="*/ 11098 w 18307"/>
                  <a:gd name="connsiteY1" fmla="*/ 18212 h 18421"/>
                  <a:gd name="connsiteX2" fmla="*/ 18095 w 18307"/>
                  <a:gd name="connsiteY2" fmla="*/ 7267 h 18421"/>
                  <a:gd name="connsiteX3" fmla="*/ 7210 w 18307"/>
                  <a:gd name="connsiteY3" fmla="*/ 210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1289" y="16119"/>
                      <a:pt x="6194" y="19288"/>
                      <a:pt x="11098" y="18212"/>
                    </a:cubicBezTo>
                    <a:cubicBezTo>
                      <a:pt x="16062" y="17135"/>
                      <a:pt x="19172" y="12231"/>
                      <a:pt x="18095" y="7267"/>
                    </a:cubicBezTo>
                    <a:cubicBezTo>
                      <a:pt x="17019" y="2303"/>
                      <a:pt x="12114" y="-867"/>
                      <a:pt x="7210" y="210"/>
                    </a:cubicBezTo>
                    <a:cubicBezTo>
                      <a:pt x="2246" y="1287"/>
                      <a:pt x="-864" y="6191"/>
                      <a:pt x="213" y="11155"/>
                    </a:cubicBezTo>
                    <a:close/>
                  </a:path>
                </a:pathLst>
              </a:custGeom>
              <a:grpFill/>
              <a:ln w="5978" cap="flat">
                <a:noFill/>
                <a:prstDash val="solid"/>
                <a:miter/>
              </a:ln>
            </p:spPr>
            <p:txBody>
              <a:bodyPr rtlCol="0" anchor="ctr"/>
              <a:lstStyle/>
              <a:p>
                <a:endParaRPr lang="en-GB"/>
              </a:p>
            </p:txBody>
          </p:sp>
        </p:grpSp>
        <p:grpSp>
          <p:nvGrpSpPr>
            <p:cNvPr id="627" name="Graphic 3">
              <a:extLst>
                <a:ext uri="{FF2B5EF4-FFF2-40B4-BE49-F238E27FC236}">
                  <a16:creationId xmlns:a16="http://schemas.microsoft.com/office/drawing/2014/main" id="{06C2056C-3FFF-4524-93EF-77DF8B95A55A}"/>
                </a:ext>
              </a:extLst>
            </p:cNvPr>
            <p:cNvGrpSpPr/>
            <p:nvPr/>
          </p:nvGrpSpPr>
          <p:grpSpPr>
            <a:xfrm>
              <a:off x="5606328" y="1188331"/>
              <a:ext cx="92156" cy="549845"/>
              <a:chOff x="5606328" y="1188331"/>
              <a:chExt cx="92156" cy="549845"/>
            </a:xfrm>
            <a:grpFill/>
          </p:grpSpPr>
          <p:sp>
            <p:nvSpPr>
              <p:cNvPr id="3508" name="Vrije vorm: vorm 3507">
                <a:extLst>
                  <a:ext uri="{FF2B5EF4-FFF2-40B4-BE49-F238E27FC236}">
                    <a16:creationId xmlns:a16="http://schemas.microsoft.com/office/drawing/2014/main" id="{28C3BD77-7F2D-47CD-B495-7B12511FB87A}"/>
                  </a:ext>
                </a:extLst>
              </p:cNvPr>
              <p:cNvSpPr/>
              <p:nvPr/>
            </p:nvSpPr>
            <p:spPr>
              <a:xfrm>
                <a:off x="5613944" y="1196902"/>
                <a:ext cx="76912" cy="532762"/>
              </a:xfrm>
              <a:custGeom>
                <a:avLst/>
                <a:gdLst>
                  <a:gd name="connsiteX0" fmla="*/ 3050 w 76912"/>
                  <a:gd name="connsiteY0" fmla="*/ 0 h 532762"/>
                  <a:gd name="connsiteX1" fmla="*/ 76912 w 76912"/>
                  <a:gd name="connsiteY1" fmla="*/ 532344 h 532762"/>
                  <a:gd name="connsiteX2" fmla="*/ 73922 w 76912"/>
                  <a:gd name="connsiteY2" fmla="*/ 532763 h 532762"/>
                  <a:gd name="connsiteX3" fmla="*/ 0 w 76912"/>
                  <a:gd name="connsiteY3" fmla="*/ 419 h 532762"/>
                </a:gdLst>
                <a:ahLst/>
                <a:cxnLst>
                  <a:cxn ang="0">
                    <a:pos x="connsiteX0" y="connsiteY0"/>
                  </a:cxn>
                  <a:cxn ang="0">
                    <a:pos x="connsiteX1" y="connsiteY1"/>
                  </a:cxn>
                  <a:cxn ang="0">
                    <a:pos x="connsiteX2" y="connsiteY2"/>
                  </a:cxn>
                  <a:cxn ang="0">
                    <a:pos x="connsiteX3" y="connsiteY3"/>
                  </a:cxn>
                </a:cxnLst>
                <a:rect l="l" t="t" r="r" b="b"/>
                <a:pathLst>
                  <a:path w="76912" h="532762">
                    <a:moveTo>
                      <a:pt x="3050" y="0"/>
                    </a:moveTo>
                    <a:lnTo>
                      <a:pt x="76912" y="532344"/>
                    </a:lnTo>
                    <a:lnTo>
                      <a:pt x="73922" y="532763"/>
                    </a:lnTo>
                    <a:lnTo>
                      <a:pt x="0" y="419"/>
                    </a:lnTo>
                    <a:close/>
                  </a:path>
                </a:pathLst>
              </a:custGeom>
              <a:grpFill/>
              <a:ln w="5978" cap="flat">
                <a:noFill/>
                <a:prstDash val="solid"/>
                <a:miter/>
              </a:ln>
            </p:spPr>
            <p:txBody>
              <a:bodyPr rtlCol="0" anchor="ctr"/>
              <a:lstStyle/>
              <a:p>
                <a:endParaRPr lang="en-GB"/>
              </a:p>
            </p:txBody>
          </p:sp>
          <p:sp>
            <p:nvSpPr>
              <p:cNvPr id="3509" name="Vrije vorm: vorm 3508">
                <a:extLst>
                  <a:ext uri="{FF2B5EF4-FFF2-40B4-BE49-F238E27FC236}">
                    <a16:creationId xmlns:a16="http://schemas.microsoft.com/office/drawing/2014/main" id="{DAFC706A-677F-407C-B98D-91E736B5A499}"/>
                  </a:ext>
                </a:extLst>
              </p:cNvPr>
              <p:cNvSpPr/>
              <p:nvPr/>
            </p:nvSpPr>
            <p:spPr>
              <a:xfrm>
                <a:off x="5680117" y="1719777"/>
                <a:ext cx="18367" cy="18399"/>
              </a:xfrm>
              <a:custGeom>
                <a:avLst/>
                <a:gdLst>
                  <a:gd name="connsiteX0" fmla="*/ 18274 w 18367"/>
                  <a:gd name="connsiteY0" fmla="*/ 7973 h 18399"/>
                  <a:gd name="connsiteX1" fmla="*/ 10440 w 18367"/>
                  <a:gd name="connsiteY1" fmla="*/ 18320 h 18399"/>
                  <a:gd name="connsiteX2" fmla="*/ 93 w 18367"/>
                  <a:gd name="connsiteY2" fmla="*/ 10426 h 18399"/>
                  <a:gd name="connsiteX3" fmla="*/ 7927 w 18367"/>
                  <a:gd name="connsiteY3" fmla="*/ 79 h 18399"/>
                  <a:gd name="connsiteX4" fmla="*/ 18274 w 18367"/>
                  <a:gd name="connsiteY4" fmla="*/ 797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399">
                    <a:moveTo>
                      <a:pt x="18274" y="7973"/>
                    </a:moveTo>
                    <a:cubicBezTo>
                      <a:pt x="18992" y="12997"/>
                      <a:pt x="15463" y="17662"/>
                      <a:pt x="10440" y="18320"/>
                    </a:cubicBezTo>
                    <a:cubicBezTo>
                      <a:pt x="5416" y="18978"/>
                      <a:pt x="810" y="15449"/>
                      <a:pt x="93" y="10426"/>
                    </a:cubicBezTo>
                    <a:cubicBezTo>
                      <a:pt x="-625" y="5402"/>
                      <a:pt x="2904" y="737"/>
                      <a:pt x="7927" y="79"/>
                    </a:cubicBezTo>
                    <a:cubicBezTo>
                      <a:pt x="12951" y="-579"/>
                      <a:pt x="17556" y="2950"/>
                      <a:pt x="18274" y="7973"/>
                    </a:cubicBezTo>
                    <a:close/>
                  </a:path>
                </a:pathLst>
              </a:custGeom>
              <a:grpFill/>
              <a:ln w="5978" cap="flat">
                <a:noFill/>
                <a:prstDash val="solid"/>
                <a:miter/>
              </a:ln>
            </p:spPr>
            <p:txBody>
              <a:bodyPr rtlCol="0" anchor="ctr"/>
              <a:lstStyle/>
              <a:p>
                <a:endParaRPr lang="en-GB"/>
              </a:p>
            </p:txBody>
          </p:sp>
          <p:sp>
            <p:nvSpPr>
              <p:cNvPr id="3510" name="Vrije vorm: vorm 3509">
                <a:extLst>
                  <a:ext uri="{FF2B5EF4-FFF2-40B4-BE49-F238E27FC236}">
                    <a16:creationId xmlns:a16="http://schemas.microsoft.com/office/drawing/2014/main" id="{A8123B2A-8F4A-487A-B39E-AC8548C863A3}"/>
                  </a:ext>
                </a:extLst>
              </p:cNvPr>
              <p:cNvSpPr/>
              <p:nvPr/>
            </p:nvSpPr>
            <p:spPr>
              <a:xfrm>
                <a:off x="5606328" y="1188331"/>
                <a:ext cx="18355" cy="18399"/>
              </a:xfrm>
              <a:custGeom>
                <a:avLst/>
                <a:gdLst>
                  <a:gd name="connsiteX0" fmla="*/ 18261 w 18355"/>
                  <a:gd name="connsiteY0" fmla="*/ 7973 h 18399"/>
                  <a:gd name="connsiteX1" fmla="*/ 7915 w 18355"/>
                  <a:gd name="connsiteY1" fmla="*/ 79 h 18399"/>
                  <a:gd name="connsiteX2" fmla="*/ 80 w 18355"/>
                  <a:gd name="connsiteY2" fmla="*/ 10426 h 18399"/>
                  <a:gd name="connsiteX3" fmla="*/ 10427 w 18355"/>
                  <a:gd name="connsiteY3" fmla="*/ 18320 h 18399"/>
                  <a:gd name="connsiteX4" fmla="*/ 18261 w 18355"/>
                  <a:gd name="connsiteY4" fmla="*/ 797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399">
                    <a:moveTo>
                      <a:pt x="18261" y="7973"/>
                    </a:moveTo>
                    <a:cubicBezTo>
                      <a:pt x="17544" y="2950"/>
                      <a:pt x="12938" y="-579"/>
                      <a:pt x="7915" y="79"/>
                    </a:cubicBezTo>
                    <a:cubicBezTo>
                      <a:pt x="2891" y="737"/>
                      <a:pt x="-578" y="5402"/>
                      <a:pt x="80" y="10426"/>
                    </a:cubicBezTo>
                    <a:cubicBezTo>
                      <a:pt x="798" y="15449"/>
                      <a:pt x="5403" y="18978"/>
                      <a:pt x="10427" y="18320"/>
                    </a:cubicBezTo>
                    <a:cubicBezTo>
                      <a:pt x="15510" y="17662"/>
                      <a:pt x="18979" y="13057"/>
                      <a:pt x="18261" y="7973"/>
                    </a:cubicBezTo>
                    <a:close/>
                  </a:path>
                </a:pathLst>
              </a:custGeom>
              <a:grpFill/>
              <a:ln w="5978" cap="flat">
                <a:noFill/>
                <a:prstDash val="solid"/>
                <a:miter/>
              </a:ln>
            </p:spPr>
            <p:txBody>
              <a:bodyPr rtlCol="0" anchor="ctr"/>
              <a:lstStyle/>
              <a:p>
                <a:endParaRPr lang="en-GB"/>
              </a:p>
            </p:txBody>
          </p:sp>
        </p:grpSp>
        <p:grpSp>
          <p:nvGrpSpPr>
            <p:cNvPr id="628" name="Graphic 3">
              <a:extLst>
                <a:ext uri="{FF2B5EF4-FFF2-40B4-BE49-F238E27FC236}">
                  <a16:creationId xmlns:a16="http://schemas.microsoft.com/office/drawing/2014/main" id="{63C36051-9D5C-44FE-BC3D-94935900E5AD}"/>
                </a:ext>
              </a:extLst>
            </p:cNvPr>
            <p:cNvGrpSpPr/>
            <p:nvPr/>
          </p:nvGrpSpPr>
          <p:grpSpPr>
            <a:xfrm>
              <a:off x="6799356" y="4913787"/>
              <a:ext cx="67694" cy="117011"/>
              <a:chOff x="6799356" y="4913787"/>
              <a:chExt cx="67694" cy="117011"/>
            </a:xfrm>
            <a:grpFill/>
          </p:grpSpPr>
          <p:sp>
            <p:nvSpPr>
              <p:cNvPr id="3505" name="Vrije vorm: vorm 3504">
                <a:extLst>
                  <a:ext uri="{FF2B5EF4-FFF2-40B4-BE49-F238E27FC236}">
                    <a16:creationId xmlns:a16="http://schemas.microsoft.com/office/drawing/2014/main" id="{5E04E23A-3065-4324-B472-A4240F3A229C}"/>
                  </a:ext>
                </a:extLst>
              </p:cNvPr>
              <p:cNvSpPr/>
              <p:nvPr/>
            </p:nvSpPr>
            <p:spPr>
              <a:xfrm>
                <a:off x="6807052" y="4921705"/>
                <a:ext cx="52569" cy="100752"/>
              </a:xfrm>
              <a:custGeom>
                <a:avLst/>
                <a:gdLst>
                  <a:gd name="connsiteX0" fmla="*/ 0 w 52569"/>
                  <a:gd name="connsiteY0" fmla="*/ 1368 h 100752"/>
                  <a:gd name="connsiteX1" fmla="*/ 2726 w 52569"/>
                  <a:gd name="connsiteY1" fmla="*/ 0 h 100752"/>
                  <a:gd name="connsiteX2" fmla="*/ 52569 w 52569"/>
                  <a:gd name="connsiteY2" fmla="*/ 99385 h 100752"/>
                  <a:gd name="connsiteX3" fmla="*/ 49843 w 52569"/>
                  <a:gd name="connsiteY3" fmla="*/ 100753 h 100752"/>
                </a:gdLst>
                <a:ahLst/>
                <a:cxnLst>
                  <a:cxn ang="0">
                    <a:pos x="connsiteX0" y="connsiteY0"/>
                  </a:cxn>
                  <a:cxn ang="0">
                    <a:pos x="connsiteX1" y="connsiteY1"/>
                  </a:cxn>
                  <a:cxn ang="0">
                    <a:pos x="connsiteX2" y="connsiteY2"/>
                  </a:cxn>
                  <a:cxn ang="0">
                    <a:pos x="connsiteX3" y="connsiteY3"/>
                  </a:cxn>
                </a:cxnLst>
                <a:rect l="l" t="t" r="r" b="b"/>
                <a:pathLst>
                  <a:path w="52569" h="100752">
                    <a:moveTo>
                      <a:pt x="0" y="1368"/>
                    </a:moveTo>
                    <a:lnTo>
                      <a:pt x="2726" y="0"/>
                    </a:lnTo>
                    <a:lnTo>
                      <a:pt x="52569" y="99385"/>
                    </a:lnTo>
                    <a:lnTo>
                      <a:pt x="49843" y="100753"/>
                    </a:lnTo>
                    <a:close/>
                  </a:path>
                </a:pathLst>
              </a:custGeom>
              <a:grpFill/>
              <a:ln w="5978" cap="flat">
                <a:noFill/>
                <a:prstDash val="solid"/>
                <a:miter/>
              </a:ln>
            </p:spPr>
            <p:txBody>
              <a:bodyPr rtlCol="0" anchor="ctr"/>
              <a:lstStyle/>
              <a:p>
                <a:endParaRPr lang="en-GB"/>
              </a:p>
            </p:txBody>
          </p:sp>
          <p:sp>
            <p:nvSpPr>
              <p:cNvPr id="3506" name="Vrije vorm: vorm 3505">
                <a:extLst>
                  <a:ext uri="{FF2B5EF4-FFF2-40B4-BE49-F238E27FC236}">
                    <a16:creationId xmlns:a16="http://schemas.microsoft.com/office/drawing/2014/main" id="{7AF37476-A3D4-4CC5-A15A-408673C264F0}"/>
                  </a:ext>
                </a:extLst>
              </p:cNvPr>
              <p:cNvSpPr/>
              <p:nvPr/>
            </p:nvSpPr>
            <p:spPr>
              <a:xfrm>
                <a:off x="6848697" y="5012349"/>
                <a:ext cx="18353" cy="18448"/>
              </a:xfrm>
              <a:custGeom>
                <a:avLst/>
                <a:gdLst>
                  <a:gd name="connsiteX0" fmla="*/ 17370 w 18353"/>
                  <a:gd name="connsiteY0" fmla="*/ 5098 h 18448"/>
                  <a:gd name="connsiteX1" fmla="*/ 13304 w 18353"/>
                  <a:gd name="connsiteY1" fmla="*/ 17478 h 18448"/>
                  <a:gd name="connsiteX2" fmla="*/ 983 w 18353"/>
                  <a:gd name="connsiteY2" fmla="*/ 13351 h 18448"/>
                  <a:gd name="connsiteX3" fmla="*/ 5051 w 18353"/>
                  <a:gd name="connsiteY3" fmla="*/ 971 h 18448"/>
                  <a:gd name="connsiteX4" fmla="*/ 17370 w 18353"/>
                  <a:gd name="connsiteY4" fmla="*/ 50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8">
                    <a:moveTo>
                      <a:pt x="17370" y="5098"/>
                    </a:moveTo>
                    <a:cubicBezTo>
                      <a:pt x="19643" y="9643"/>
                      <a:pt x="17849" y="15205"/>
                      <a:pt x="13304" y="17478"/>
                    </a:cubicBezTo>
                    <a:cubicBezTo>
                      <a:pt x="8759" y="19751"/>
                      <a:pt x="3256" y="17897"/>
                      <a:pt x="983" y="13351"/>
                    </a:cubicBezTo>
                    <a:cubicBezTo>
                      <a:pt x="-1289" y="8806"/>
                      <a:pt x="505" y="3244"/>
                      <a:pt x="5051" y="971"/>
                    </a:cubicBezTo>
                    <a:cubicBezTo>
                      <a:pt x="9596" y="-1302"/>
                      <a:pt x="15098" y="553"/>
                      <a:pt x="17370" y="5098"/>
                    </a:cubicBezTo>
                    <a:close/>
                  </a:path>
                </a:pathLst>
              </a:custGeom>
              <a:grpFill/>
              <a:ln w="5978" cap="flat">
                <a:noFill/>
                <a:prstDash val="solid"/>
                <a:miter/>
              </a:ln>
            </p:spPr>
            <p:txBody>
              <a:bodyPr rtlCol="0" anchor="ctr"/>
              <a:lstStyle/>
              <a:p>
                <a:endParaRPr lang="en-GB"/>
              </a:p>
            </p:txBody>
          </p:sp>
          <p:sp>
            <p:nvSpPr>
              <p:cNvPr id="3507" name="Vrije vorm: vorm 3506">
                <a:extLst>
                  <a:ext uri="{FF2B5EF4-FFF2-40B4-BE49-F238E27FC236}">
                    <a16:creationId xmlns:a16="http://schemas.microsoft.com/office/drawing/2014/main" id="{7250E5E8-6AA1-49DA-90F9-412CF2C47B78}"/>
                  </a:ext>
                </a:extLst>
              </p:cNvPr>
              <p:cNvSpPr/>
              <p:nvPr/>
            </p:nvSpPr>
            <p:spPr>
              <a:xfrm>
                <a:off x="6799356" y="4913787"/>
                <a:ext cx="18353" cy="18449"/>
              </a:xfrm>
              <a:custGeom>
                <a:avLst/>
                <a:gdLst>
                  <a:gd name="connsiteX0" fmla="*/ 17371 w 18353"/>
                  <a:gd name="connsiteY0" fmla="*/ 5098 h 18449"/>
                  <a:gd name="connsiteX1" fmla="*/ 5050 w 18353"/>
                  <a:gd name="connsiteY1" fmla="*/ 971 h 18449"/>
                  <a:gd name="connsiteX2" fmla="*/ 983 w 18353"/>
                  <a:gd name="connsiteY2" fmla="*/ 13351 h 18449"/>
                  <a:gd name="connsiteX3" fmla="*/ 13304 w 18353"/>
                  <a:gd name="connsiteY3" fmla="*/ 17478 h 18449"/>
                  <a:gd name="connsiteX4" fmla="*/ 17371 w 18353"/>
                  <a:gd name="connsiteY4" fmla="*/ 509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9">
                    <a:moveTo>
                      <a:pt x="17371" y="5098"/>
                    </a:moveTo>
                    <a:cubicBezTo>
                      <a:pt x="15098" y="552"/>
                      <a:pt x="9596" y="-1302"/>
                      <a:pt x="5050" y="971"/>
                    </a:cubicBezTo>
                    <a:cubicBezTo>
                      <a:pt x="505" y="3244"/>
                      <a:pt x="-1289" y="8806"/>
                      <a:pt x="983" y="13351"/>
                    </a:cubicBezTo>
                    <a:cubicBezTo>
                      <a:pt x="3256" y="17897"/>
                      <a:pt x="8758" y="19751"/>
                      <a:pt x="13304" y="17478"/>
                    </a:cubicBezTo>
                    <a:cubicBezTo>
                      <a:pt x="17849" y="15145"/>
                      <a:pt x="19643" y="9643"/>
                      <a:pt x="17371" y="5098"/>
                    </a:cubicBezTo>
                    <a:close/>
                  </a:path>
                </a:pathLst>
              </a:custGeom>
              <a:grpFill/>
              <a:ln w="5978" cap="flat">
                <a:noFill/>
                <a:prstDash val="solid"/>
                <a:miter/>
              </a:ln>
            </p:spPr>
            <p:txBody>
              <a:bodyPr rtlCol="0" anchor="ctr"/>
              <a:lstStyle/>
              <a:p>
                <a:endParaRPr lang="en-GB"/>
              </a:p>
            </p:txBody>
          </p:sp>
        </p:grpSp>
        <p:grpSp>
          <p:nvGrpSpPr>
            <p:cNvPr id="629" name="Graphic 3">
              <a:extLst>
                <a:ext uri="{FF2B5EF4-FFF2-40B4-BE49-F238E27FC236}">
                  <a16:creationId xmlns:a16="http://schemas.microsoft.com/office/drawing/2014/main" id="{4381BF15-6099-4E1D-A4DC-3A9149AC25F0}"/>
                </a:ext>
              </a:extLst>
            </p:cNvPr>
            <p:cNvGrpSpPr/>
            <p:nvPr/>
          </p:nvGrpSpPr>
          <p:grpSpPr>
            <a:xfrm>
              <a:off x="5684705" y="1581474"/>
              <a:ext cx="48263" cy="170185"/>
              <a:chOff x="5684705" y="1581474"/>
              <a:chExt cx="48263" cy="170185"/>
            </a:xfrm>
            <a:grpFill/>
          </p:grpSpPr>
          <p:sp>
            <p:nvSpPr>
              <p:cNvPr id="3502" name="Vrije vorm: vorm 3501">
                <a:extLst>
                  <a:ext uri="{FF2B5EF4-FFF2-40B4-BE49-F238E27FC236}">
                    <a16:creationId xmlns:a16="http://schemas.microsoft.com/office/drawing/2014/main" id="{7F3AD1EF-617F-46FE-B5BF-6D253F105465}"/>
                  </a:ext>
                </a:extLst>
              </p:cNvPr>
              <p:cNvSpPr/>
              <p:nvPr/>
            </p:nvSpPr>
            <p:spPr>
              <a:xfrm>
                <a:off x="5692321" y="1589749"/>
                <a:ext cx="33197" cy="153253"/>
              </a:xfrm>
              <a:custGeom>
                <a:avLst/>
                <a:gdLst>
                  <a:gd name="connsiteX0" fmla="*/ 0 w 33197"/>
                  <a:gd name="connsiteY0" fmla="*/ 592 h 153253"/>
                  <a:gd name="connsiteX1" fmla="*/ 2992 w 33197"/>
                  <a:gd name="connsiteY1" fmla="*/ 0 h 153253"/>
                  <a:gd name="connsiteX2" fmla="*/ 33198 w 33197"/>
                  <a:gd name="connsiteY2" fmla="*/ 152662 h 153253"/>
                  <a:gd name="connsiteX3" fmla="*/ 30206 w 33197"/>
                  <a:gd name="connsiteY3" fmla="*/ 153254 h 153253"/>
                </a:gdLst>
                <a:ahLst/>
                <a:cxnLst>
                  <a:cxn ang="0">
                    <a:pos x="connsiteX0" y="connsiteY0"/>
                  </a:cxn>
                  <a:cxn ang="0">
                    <a:pos x="connsiteX1" y="connsiteY1"/>
                  </a:cxn>
                  <a:cxn ang="0">
                    <a:pos x="connsiteX2" y="connsiteY2"/>
                  </a:cxn>
                  <a:cxn ang="0">
                    <a:pos x="connsiteX3" y="connsiteY3"/>
                  </a:cxn>
                </a:cxnLst>
                <a:rect l="l" t="t" r="r" b="b"/>
                <a:pathLst>
                  <a:path w="33197" h="153253">
                    <a:moveTo>
                      <a:pt x="0" y="592"/>
                    </a:moveTo>
                    <a:lnTo>
                      <a:pt x="2992" y="0"/>
                    </a:lnTo>
                    <a:lnTo>
                      <a:pt x="33198" y="152662"/>
                    </a:lnTo>
                    <a:lnTo>
                      <a:pt x="30206" y="153254"/>
                    </a:lnTo>
                    <a:close/>
                  </a:path>
                </a:pathLst>
              </a:custGeom>
              <a:grpFill/>
              <a:ln w="5978" cap="flat">
                <a:noFill/>
                <a:prstDash val="solid"/>
                <a:miter/>
              </a:ln>
            </p:spPr>
            <p:txBody>
              <a:bodyPr rtlCol="0" anchor="ctr"/>
              <a:lstStyle/>
              <a:p>
                <a:endParaRPr lang="en-GB"/>
              </a:p>
            </p:txBody>
          </p:sp>
          <p:sp>
            <p:nvSpPr>
              <p:cNvPr id="3503" name="Vrije vorm: vorm 3502">
                <a:extLst>
                  <a:ext uri="{FF2B5EF4-FFF2-40B4-BE49-F238E27FC236}">
                    <a16:creationId xmlns:a16="http://schemas.microsoft.com/office/drawing/2014/main" id="{A57A90F9-07A3-442B-AE21-AE89C5B0766A}"/>
                  </a:ext>
                </a:extLst>
              </p:cNvPr>
              <p:cNvSpPr/>
              <p:nvPr/>
            </p:nvSpPr>
            <p:spPr>
              <a:xfrm>
                <a:off x="5684705" y="1581474"/>
                <a:ext cx="18282" cy="18455"/>
              </a:xfrm>
              <a:custGeom>
                <a:avLst/>
                <a:gdLst>
                  <a:gd name="connsiteX0" fmla="*/ 170 w 18282"/>
                  <a:gd name="connsiteY0" fmla="*/ 10993 h 18455"/>
                  <a:gd name="connsiteX1" fmla="*/ 7347 w 18282"/>
                  <a:gd name="connsiteY1" fmla="*/ 168 h 18455"/>
                  <a:gd name="connsiteX2" fmla="*/ 18112 w 18282"/>
                  <a:gd name="connsiteY2" fmla="*/ 7464 h 18455"/>
                  <a:gd name="connsiteX3" fmla="*/ 10936 w 18282"/>
                  <a:gd name="connsiteY3" fmla="*/ 18289 h 18455"/>
                  <a:gd name="connsiteX4" fmla="*/ 170 w 18282"/>
                  <a:gd name="connsiteY4" fmla="*/ 10993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55">
                    <a:moveTo>
                      <a:pt x="170" y="10993"/>
                    </a:moveTo>
                    <a:cubicBezTo>
                      <a:pt x="-787" y="6029"/>
                      <a:pt x="2383" y="1185"/>
                      <a:pt x="7347" y="168"/>
                    </a:cubicBezTo>
                    <a:cubicBezTo>
                      <a:pt x="12311" y="-789"/>
                      <a:pt x="17155" y="2441"/>
                      <a:pt x="18112" y="7464"/>
                    </a:cubicBezTo>
                    <a:cubicBezTo>
                      <a:pt x="19069" y="12428"/>
                      <a:pt x="15900" y="17273"/>
                      <a:pt x="10936" y="18289"/>
                    </a:cubicBezTo>
                    <a:cubicBezTo>
                      <a:pt x="5971" y="19246"/>
                      <a:pt x="1127" y="15957"/>
                      <a:pt x="170" y="10993"/>
                    </a:cubicBezTo>
                    <a:close/>
                  </a:path>
                </a:pathLst>
              </a:custGeom>
              <a:grpFill/>
              <a:ln w="5978" cap="flat">
                <a:noFill/>
                <a:prstDash val="solid"/>
                <a:miter/>
              </a:ln>
            </p:spPr>
            <p:txBody>
              <a:bodyPr rtlCol="0" anchor="ctr"/>
              <a:lstStyle/>
              <a:p>
                <a:endParaRPr lang="en-GB"/>
              </a:p>
            </p:txBody>
          </p:sp>
          <p:sp>
            <p:nvSpPr>
              <p:cNvPr id="3504" name="Vrije vorm: vorm 3503">
                <a:extLst>
                  <a:ext uri="{FF2B5EF4-FFF2-40B4-BE49-F238E27FC236}">
                    <a16:creationId xmlns:a16="http://schemas.microsoft.com/office/drawing/2014/main" id="{CD83BAB3-7612-4ADB-883D-5C07BAA76B51}"/>
                  </a:ext>
                </a:extLst>
              </p:cNvPr>
              <p:cNvSpPr/>
              <p:nvPr/>
            </p:nvSpPr>
            <p:spPr>
              <a:xfrm>
                <a:off x="5714671" y="1733207"/>
                <a:ext cx="18297" cy="18452"/>
              </a:xfrm>
              <a:custGeom>
                <a:avLst/>
                <a:gdLst>
                  <a:gd name="connsiteX0" fmla="*/ 168 w 18297"/>
                  <a:gd name="connsiteY0" fmla="*/ 10991 h 18452"/>
                  <a:gd name="connsiteX1" fmla="*/ 10933 w 18297"/>
                  <a:gd name="connsiteY1" fmla="*/ 18287 h 18452"/>
                  <a:gd name="connsiteX2" fmla="*/ 18110 w 18297"/>
                  <a:gd name="connsiteY2" fmla="*/ 7462 h 18452"/>
                  <a:gd name="connsiteX3" fmla="*/ 7345 w 18297"/>
                  <a:gd name="connsiteY3" fmla="*/ 166 h 18452"/>
                  <a:gd name="connsiteX4" fmla="*/ 168 w 18297"/>
                  <a:gd name="connsiteY4" fmla="*/ 1099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52">
                    <a:moveTo>
                      <a:pt x="168" y="10991"/>
                    </a:moveTo>
                    <a:cubicBezTo>
                      <a:pt x="1185" y="15955"/>
                      <a:pt x="5969" y="19244"/>
                      <a:pt x="10933" y="18287"/>
                    </a:cubicBezTo>
                    <a:cubicBezTo>
                      <a:pt x="15897" y="17330"/>
                      <a:pt x="19127" y="12486"/>
                      <a:pt x="18110" y="7462"/>
                    </a:cubicBezTo>
                    <a:cubicBezTo>
                      <a:pt x="17153" y="2498"/>
                      <a:pt x="12309" y="-791"/>
                      <a:pt x="7345" y="166"/>
                    </a:cubicBezTo>
                    <a:cubicBezTo>
                      <a:pt x="2440" y="1182"/>
                      <a:pt x="-789" y="5967"/>
                      <a:pt x="168" y="10991"/>
                    </a:cubicBezTo>
                    <a:close/>
                  </a:path>
                </a:pathLst>
              </a:custGeom>
              <a:grpFill/>
              <a:ln w="5978" cap="flat">
                <a:noFill/>
                <a:prstDash val="solid"/>
                <a:miter/>
              </a:ln>
            </p:spPr>
            <p:txBody>
              <a:bodyPr rtlCol="0" anchor="ctr"/>
              <a:lstStyle/>
              <a:p>
                <a:endParaRPr lang="en-GB"/>
              </a:p>
            </p:txBody>
          </p:sp>
        </p:grpSp>
        <p:grpSp>
          <p:nvGrpSpPr>
            <p:cNvPr id="630" name="Graphic 3">
              <a:extLst>
                <a:ext uri="{FF2B5EF4-FFF2-40B4-BE49-F238E27FC236}">
                  <a16:creationId xmlns:a16="http://schemas.microsoft.com/office/drawing/2014/main" id="{53EEE2DD-79AC-4D4C-A05A-4ADD83F252FA}"/>
                </a:ext>
              </a:extLst>
            </p:cNvPr>
            <p:cNvGrpSpPr/>
            <p:nvPr/>
          </p:nvGrpSpPr>
          <p:grpSpPr>
            <a:xfrm>
              <a:off x="6835400" y="5061719"/>
              <a:ext cx="73930" cy="134801"/>
              <a:chOff x="6835400" y="5061719"/>
              <a:chExt cx="73930" cy="134801"/>
            </a:xfrm>
            <a:grpFill/>
          </p:grpSpPr>
          <p:sp>
            <p:nvSpPr>
              <p:cNvPr id="3499" name="Vrije vorm: vorm 3498">
                <a:extLst>
                  <a:ext uri="{FF2B5EF4-FFF2-40B4-BE49-F238E27FC236}">
                    <a16:creationId xmlns:a16="http://schemas.microsoft.com/office/drawing/2014/main" id="{A0A6AC8A-2F72-4A29-A6BB-81B1F156C02F}"/>
                  </a:ext>
                </a:extLst>
              </p:cNvPr>
              <p:cNvSpPr/>
              <p:nvPr/>
            </p:nvSpPr>
            <p:spPr>
              <a:xfrm>
                <a:off x="6842993" y="5069930"/>
                <a:ext cx="58919" cy="118384"/>
              </a:xfrm>
              <a:custGeom>
                <a:avLst/>
                <a:gdLst>
                  <a:gd name="connsiteX0" fmla="*/ 0 w 58919"/>
                  <a:gd name="connsiteY0" fmla="*/ 1319 h 118384"/>
                  <a:gd name="connsiteX1" fmla="*/ 2750 w 58919"/>
                  <a:gd name="connsiteY1" fmla="*/ 0 h 118384"/>
                  <a:gd name="connsiteX2" fmla="*/ 58920 w 58919"/>
                  <a:gd name="connsiteY2" fmla="*/ 117065 h 118384"/>
                  <a:gd name="connsiteX3" fmla="*/ 56169 w 58919"/>
                  <a:gd name="connsiteY3" fmla="*/ 118385 h 118384"/>
                </a:gdLst>
                <a:ahLst/>
                <a:cxnLst>
                  <a:cxn ang="0">
                    <a:pos x="connsiteX0" y="connsiteY0"/>
                  </a:cxn>
                  <a:cxn ang="0">
                    <a:pos x="connsiteX1" y="connsiteY1"/>
                  </a:cxn>
                  <a:cxn ang="0">
                    <a:pos x="connsiteX2" y="connsiteY2"/>
                  </a:cxn>
                  <a:cxn ang="0">
                    <a:pos x="connsiteX3" y="connsiteY3"/>
                  </a:cxn>
                </a:cxnLst>
                <a:rect l="l" t="t" r="r" b="b"/>
                <a:pathLst>
                  <a:path w="58919" h="118384">
                    <a:moveTo>
                      <a:pt x="0" y="1319"/>
                    </a:moveTo>
                    <a:lnTo>
                      <a:pt x="2750" y="0"/>
                    </a:lnTo>
                    <a:lnTo>
                      <a:pt x="58920" y="117065"/>
                    </a:lnTo>
                    <a:lnTo>
                      <a:pt x="56169" y="118385"/>
                    </a:lnTo>
                    <a:close/>
                  </a:path>
                </a:pathLst>
              </a:custGeom>
              <a:grpFill/>
              <a:ln w="5978" cap="flat">
                <a:noFill/>
                <a:prstDash val="solid"/>
                <a:miter/>
              </a:ln>
            </p:spPr>
            <p:txBody>
              <a:bodyPr rtlCol="0" anchor="ctr"/>
              <a:lstStyle/>
              <a:p>
                <a:endParaRPr lang="en-GB"/>
              </a:p>
            </p:txBody>
          </p:sp>
          <p:sp>
            <p:nvSpPr>
              <p:cNvPr id="3500" name="Vrije vorm: vorm 3499">
                <a:extLst>
                  <a:ext uri="{FF2B5EF4-FFF2-40B4-BE49-F238E27FC236}">
                    <a16:creationId xmlns:a16="http://schemas.microsoft.com/office/drawing/2014/main" id="{83BEA4F5-2CBB-48FD-BF80-2AEC948F6575}"/>
                  </a:ext>
                </a:extLst>
              </p:cNvPr>
              <p:cNvSpPr/>
              <p:nvPr/>
            </p:nvSpPr>
            <p:spPr>
              <a:xfrm>
                <a:off x="6890925" y="5178078"/>
                <a:ext cx="18406" cy="18443"/>
              </a:xfrm>
              <a:custGeom>
                <a:avLst/>
                <a:gdLst>
                  <a:gd name="connsiteX0" fmla="*/ 17487 w 18406"/>
                  <a:gd name="connsiteY0" fmla="*/ 5274 h 18443"/>
                  <a:gd name="connsiteX1" fmla="*/ 13180 w 18406"/>
                  <a:gd name="connsiteY1" fmla="*/ 17535 h 18443"/>
                  <a:gd name="connsiteX2" fmla="*/ 920 w 18406"/>
                  <a:gd name="connsiteY2" fmla="*/ 13169 h 18443"/>
                  <a:gd name="connsiteX3" fmla="*/ 5226 w 18406"/>
                  <a:gd name="connsiteY3" fmla="*/ 908 h 18443"/>
                  <a:gd name="connsiteX4" fmla="*/ 17487 w 18406"/>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6" h="18443">
                    <a:moveTo>
                      <a:pt x="17487" y="5274"/>
                    </a:moveTo>
                    <a:cubicBezTo>
                      <a:pt x="19699" y="9879"/>
                      <a:pt x="17785" y="15381"/>
                      <a:pt x="13180" y="17535"/>
                    </a:cubicBezTo>
                    <a:cubicBezTo>
                      <a:pt x="8635" y="19748"/>
                      <a:pt x="3133" y="17774"/>
                      <a:pt x="920" y="13169"/>
                    </a:cubicBezTo>
                    <a:cubicBezTo>
                      <a:pt x="-1293" y="8564"/>
                      <a:pt x="620" y="3061"/>
                      <a:pt x="5226" y="908"/>
                    </a:cubicBezTo>
                    <a:cubicBezTo>
                      <a:pt x="9831" y="-1305"/>
                      <a:pt x="15274" y="669"/>
                      <a:pt x="17487" y="5274"/>
                    </a:cubicBezTo>
                    <a:close/>
                  </a:path>
                </a:pathLst>
              </a:custGeom>
              <a:grpFill/>
              <a:ln w="5978" cap="flat">
                <a:noFill/>
                <a:prstDash val="solid"/>
                <a:miter/>
              </a:ln>
            </p:spPr>
            <p:txBody>
              <a:bodyPr rtlCol="0" anchor="ctr"/>
              <a:lstStyle/>
              <a:p>
                <a:endParaRPr lang="en-GB"/>
              </a:p>
            </p:txBody>
          </p:sp>
          <p:sp>
            <p:nvSpPr>
              <p:cNvPr id="3501" name="Vrije vorm: vorm 3500">
                <a:extLst>
                  <a:ext uri="{FF2B5EF4-FFF2-40B4-BE49-F238E27FC236}">
                    <a16:creationId xmlns:a16="http://schemas.microsoft.com/office/drawing/2014/main" id="{16CD9641-0536-4544-BEDB-A90EFBEA90E4}"/>
                  </a:ext>
                </a:extLst>
              </p:cNvPr>
              <p:cNvSpPr/>
              <p:nvPr/>
            </p:nvSpPr>
            <p:spPr>
              <a:xfrm>
                <a:off x="6835400" y="5061719"/>
                <a:ext cx="18369" cy="18390"/>
              </a:xfrm>
              <a:custGeom>
                <a:avLst/>
                <a:gdLst>
                  <a:gd name="connsiteX0" fmla="*/ 17450 w 18369"/>
                  <a:gd name="connsiteY0" fmla="*/ 5248 h 18390"/>
                  <a:gd name="connsiteX1" fmla="*/ 5189 w 18369"/>
                  <a:gd name="connsiteY1" fmla="*/ 882 h 18390"/>
                  <a:gd name="connsiteX2" fmla="*/ 883 w 18369"/>
                  <a:gd name="connsiteY2" fmla="*/ 13143 h 18390"/>
                  <a:gd name="connsiteX3" fmla="*/ 13144 w 18369"/>
                  <a:gd name="connsiteY3" fmla="*/ 17509 h 18390"/>
                  <a:gd name="connsiteX4" fmla="*/ 17450 w 18369"/>
                  <a:gd name="connsiteY4" fmla="*/ 5248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0">
                    <a:moveTo>
                      <a:pt x="17450" y="5248"/>
                    </a:moveTo>
                    <a:cubicBezTo>
                      <a:pt x="15237" y="643"/>
                      <a:pt x="9795" y="-1271"/>
                      <a:pt x="5189" y="882"/>
                    </a:cubicBezTo>
                    <a:cubicBezTo>
                      <a:pt x="645" y="3095"/>
                      <a:pt x="-1270" y="8538"/>
                      <a:pt x="883" y="13143"/>
                    </a:cubicBezTo>
                    <a:cubicBezTo>
                      <a:pt x="3036" y="17748"/>
                      <a:pt x="8539" y="19662"/>
                      <a:pt x="13144" y="17509"/>
                    </a:cubicBezTo>
                    <a:cubicBezTo>
                      <a:pt x="17750" y="15356"/>
                      <a:pt x="19663" y="9854"/>
                      <a:pt x="17450" y="5248"/>
                    </a:cubicBezTo>
                    <a:close/>
                  </a:path>
                </a:pathLst>
              </a:custGeom>
              <a:grpFill/>
              <a:ln w="5978" cap="flat">
                <a:noFill/>
                <a:prstDash val="solid"/>
                <a:miter/>
              </a:ln>
            </p:spPr>
            <p:txBody>
              <a:bodyPr rtlCol="0" anchor="ctr"/>
              <a:lstStyle/>
              <a:p>
                <a:endParaRPr lang="en-GB"/>
              </a:p>
            </p:txBody>
          </p:sp>
        </p:grpSp>
        <p:grpSp>
          <p:nvGrpSpPr>
            <p:cNvPr id="631" name="Graphic 3">
              <a:extLst>
                <a:ext uri="{FF2B5EF4-FFF2-40B4-BE49-F238E27FC236}">
                  <a16:creationId xmlns:a16="http://schemas.microsoft.com/office/drawing/2014/main" id="{179E29DB-0388-4910-A30D-234F267B3C1F}"/>
                </a:ext>
              </a:extLst>
            </p:cNvPr>
            <p:cNvGrpSpPr/>
            <p:nvPr/>
          </p:nvGrpSpPr>
          <p:grpSpPr>
            <a:xfrm>
              <a:off x="6878365" y="5238099"/>
              <a:ext cx="57185" cy="103906"/>
              <a:chOff x="6878365" y="5238099"/>
              <a:chExt cx="57185" cy="103906"/>
            </a:xfrm>
            <a:grpFill/>
          </p:grpSpPr>
          <p:sp>
            <p:nvSpPr>
              <p:cNvPr id="3496" name="Vrije vorm: vorm 3495">
                <a:extLst>
                  <a:ext uri="{FF2B5EF4-FFF2-40B4-BE49-F238E27FC236}">
                    <a16:creationId xmlns:a16="http://schemas.microsoft.com/office/drawing/2014/main" id="{B79677A8-E6ED-4464-B6C0-551EF2599ABE}"/>
                  </a:ext>
                </a:extLst>
              </p:cNvPr>
              <p:cNvSpPr/>
              <p:nvPr/>
            </p:nvSpPr>
            <p:spPr>
              <a:xfrm>
                <a:off x="6886038" y="5245967"/>
                <a:ext cx="42058" cy="87536"/>
              </a:xfrm>
              <a:custGeom>
                <a:avLst/>
                <a:gdLst>
                  <a:gd name="connsiteX0" fmla="*/ 0 w 42058"/>
                  <a:gd name="connsiteY0" fmla="*/ 1264 h 87536"/>
                  <a:gd name="connsiteX1" fmla="*/ 2776 w 42058"/>
                  <a:gd name="connsiteY1" fmla="*/ 0 h 87536"/>
                  <a:gd name="connsiteX2" fmla="*/ 42059 w 42058"/>
                  <a:gd name="connsiteY2" fmla="*/ 86272 h 87536"/>
                  <a:gd name="connsiteX3" fmla="*/ 39283 w 42058"/>
                  <a:gd name="connsiteY3" fmla="*/ 87536 h 87536"/>
                </a:gdLst>
                <a:ahLst/>
                <a:cxnLst>
                  <a:cxn ang="0">
                    <a:pos x="connsiteX0" y="connsiteY0"/>
                  </a:cxn>
                  <a:cxn ang="0">
                    <a:pos x="connsiteX1" y="connsiteY1"/>
                  </a:cxn>
                  <a:cxn ang="0">
                    <a:pos x="connsiteX2" y="connsiteY2"/>
                  </a:cxn>
                  <a:cxn ang="0">
                    <a:pos x="connsiteX3" y="connsiteY3"/>
                  </a:cxn>
                </a:cxnLst>
                <a:rect l="l" t="t" r="r" b="b"/>
                <a:pathLst>
                  <a:path w="42058" h="87536">
                    <a:moveTo>
                      <a:pt x="0" y="1264"/>
                    </a:moveTo>
                    <a:lnTo>
                      <a:pt x="2776" y="0"/>
                    </a:lnTo>
                    <a:lnTo>
                      <a:pt x="42059" y="86272"/>
                    </a:lnTo>
                    <a:lnTo>
                      <a:pt x="39283" y="87536"/>
                    </a:lnTo>
                    <a:close/>
                  </a:path>
                </a:pathLst>
              </a:custGeom>
              <a:grpFill/>
              <a:ln w="5978" cap="flat">
                <a:noFill/>
                <a:prstDash val="solid"/>
                <a:miter/>
              </a:ln>
            </p:spPr>
            <p:txBody>
              <a:bodyPr rtlCol="0" anchor="ctr"/>
              <a:lstStyle/>
              <a:p>
                <a:endParaRPr lang="en-GB"/>
              </a:p>
            </p:txBody>
          </p:sp>
          <p:sp>
            <p:nvSpPr>
              <p:cNvPr id="3497" name="Vrije vorm: vorm 3496">
                <a:extLst>
                  <a:ext uri="{FF2B5EF4-FFF2-40B4-BE49-F238E27FC236}">
                    <a16:creationId xmlns:a16="http://schemas.microsoft.com/office/drawing/2014/main" id="{F0F76FCF-65F6-45A4-B6D4-4E4993E7E2D7}"/>
                  </a:ext>
                </a:extLst>
              </p:cNvPr>
              <p:cNvSpPr/>
              <p:nvPr/>
            </p:nvSpPr>
            <p:spPr>
              <a:xfrm>
                <a:off x="6917217" y="5323555"/>
                <a:ext cx="18333" cy="18451"/>
              </a:xfrm>
              <a:custGeom>
                <a:avLst/>
                <a:gdLst>
                  <a:gd name="connsiteX0" fmla="*/ 17510 w 18333"/>
                  <a:gd name="connsiteY0" fmla="*/ 5428 h 18451"/>
                  <a:gd name="connsiteX1" fmla="*/ 12965 w 18333"/>
                  <a:gd name="connsiteY1" fmla="*/ 17628 h 18451"/>
                  <a:gd name="connsiteX2" fmla="*/ 824 w 18333"/>
                  <a:gd name="connsiteY2" fmla="*/ 13023 h 18451"/>
                  <a:gd name="connsiteX3" fmla="*/ 5369 w 18333"/>
                  <a:gd name="connsiteY3" fmla="*/ 823 h 18451"/>
                  <a:gd name="connsiteX4" fmla="*/ 17510 w 18333"/>
                  <a:gd name="connsiteY4" fmla="*/ 542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1">
                    <a:moveTo>
                      <a:pt x="17510" y="5428"/>
                    </a:moveTo>
                    <a:cubicBezTo>
                      <a:pt x="19603" y="10033"/>
                      <a:pt x="17569" y="15535"/>
                      <a:pt x="12965" y="17628"/>
                    </a:cubicBezTo>
                    <a:cubicBezTo>
                      <a:pt x="8359" y="19722"/>
                      <a:pt x="2917" y="17688"/>
                      <a:pt x="824" y="13023"/>
                    </a:cubicBezTo>
                    <a:cubicBezTo>
                      <a:pt x="-1269" y="8358"/>
                      <a:pt x="764" y="2916"/>
                      <a:pt x="5369" y="823"/>
                    </a:cubicBezTo>
                    <a:cubicBezTo>
                      <a:pt x="9974" y="-1271"/>
                      <a:pt x="15416" y="763"/>
                      <a:pt x="17510" y="5428"/>
                    </a:cubicBezTo>
                    <a:close/>
                  </a:path>
                </a:pathLst>
              </a:custGeom>
              <a:grpFill/>
              <a:ln w="5978" cap="flat">
                <a:noFill/>
                <a:prstDash val="solid"/>
                <a:miter/>
              </a:ln>
            </p:spPr>
            <p:txBody>
              <a:bodyPr rtlCol="0" anchor="ctr"/>
              <a:lstStyle/>
              <a:p>
                <a:endParaRPr lang="en-GB"/>
              </a:p>
            </p:txBody>
          </p:sp>
          <p:sp>
            <p:nvSpPr>
              <p:cNvPr id="3498" name="Vrije vorm: vorm 3497">
                <a:extLst>
                  <a:ext uri="{FF2B5EF4-FFF2-40B4-BE49-F238E27FC236}">
                    <a16:creationId xmlns:a16="http://schemas.microsoft.com/office/drawing/2014/main" id="{5E0BF1C1-6AC3-4983-BBF5-5ABA325179AA}"/>
                  </a:ext>
                </a:extLst>
              </p:cNvPr>
              <p:cNvSpPr/>
              <p:nvPr/>
            </p:nvSpPr>
            <p:spPr>
              <a:xfrm>
                <a:off x="6878365" y="5238099"/>
                <a:ext cx="18320" cy="18432"/>
              </a:xfrm>
              <a:custGeom>
                <a:avLst/>
                <a:gdLst>
                  <a:gd name="connsiteX0" fmla="*/ 17487 w 18320"/>
                  <a:gd name="connsiteY0" fmla="*/ 5419 h 18432"/>
                  <a:gd name="connsiteX1" fmla="*/ 5346 w 18320"/>
                  <a:gd name="connsiteY1" fmla="*/ 813 h 18432"/>
                  <a:gd name="connsiteX2" fmla="*/ 860 w 18320"/>
                  <a:gd name="connsiteY2" fmla="*/ 13014 h 18432"/>
                  <a:gd name="connsiteX3" fmla="*/ 13001 w 18320"/>
                  <a:gd name="connsiteY3" fmla="*/ 17619 h 18432"/>
                  <a:gd name="connsiteX4" fmla="*/ 17487 w 18320"/>
                  <a:gd name="connsiteY4" fmla="*/ 5419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2">
                    <a:moveTo>
                      <a:pt x="17487" y="5419"/>
                    </a:moveTo>
                    <a:cubicBezTo>
                      <a:pt x="15393" y="813"/>
                      <a:pt x="9951" y="-1280"/>
                      <a:pt x="5346" y="813"/>
                    </a:cubicBezTo>
                    <a:cubicBezTo>
                      <a:pt x="740" y="2907"/>
                      <a:pt x="-1293" y="8349"/>
                      <a:pt x="860" y="13014"/>
                    </a:cubicBezTo>
                    <a:cubicBezTo>
                      <a:pt x="2953" y="17619"/>
                      <a:pt x="8396" y="19712"/>
                      <a:pt x="13001" y="17619"/>
                    </a:cubicBezTo>
                    <a:cubicBezTo>
                      <a:pt x="17606" y="15526"/>
                      <a:pt x="19580" y="10083"/>
                      <a:pt x="17487" y="5419"/>
                    </a:cubicBezTo>
                    <a:close/>
                  </a:path>
                </a:pathLst>
              </a:custGeom>
              <a:grpFill/>
              <a:ln w="5978" cap="flat">
                <a:noFill/>
                <a:prstDash val="solid"/>
                <a:miter/>
              </a:ln>
            </p:spPr>
            <p:txBody>
              <a:bodyPr rtlCol="0" anchor="ctr"/>
              <a:lstStyle/>
              <a:p>
                <a:endParaRPr lang="en-GB"/>
              </a:p>
            </p:txBody>
          </p:sp>
        </p:grpSp>
        <p:grpSp>
          <p:nvGrpSpPr>
            <p:cNvPr id="632" name="Graphic 3">
              <a:extLst>
                <a:ext uri="{FF2B5EF4-FFF2-40B4-BE49-F238E27FC236}">
                  <a16:creationId xmlns:a16="http://schemas.microsoft.com/office/drawing/2014/main" id="{3F96AB96-C1DE-4642-862B-7C1F8639ACB9}"/>
                </a:ext>
              </a:extLst>
            </p:cNvPr>
            <p:cNvGrpSpPr/>
            <p:nvPr/>
          </p:nvGrpSpPr>
          <p:grpSpPr>
            <a:xfrm>
              <a:off x="6769721" y="4926011"/>
              <a:ext cx="166407" cy="415735"/>
              <a:chOff x="6769721" y="4926011"/>
              <a:chExt cx="166407" cy="415735"/>
            </a:xfrm>
            <a:grpFill/>
          </p:grpSpPr>
          <p:sp>
            <p:nvSpPr>
              <p:cNvPr id="3493" name="Vrije vorm: vorm 3492">
                <a:extLst>
                  <a:ext uri="{FF2B5EF4-FFF2-40B4-BE49-F238E27FC236}">
                    <a16:creationId xmlns:a16="http://schemas.microsoft.com/office/drawing/2014/main" id="{454D68CB-6148-4C02-A545-954F2AC05F4B}"/>
                  </a:ext>
                </a:extLst>
              </p:cNvPr>
              <p:cNvSpPr/>
              <p:nvPr/>
            </p:nvSpPr>
            <p:spPr>
              <a:xfrm>
                <a:off x="6777135" y="4934536"/>
                <a:ext cx="151286" cy="399225"/>
              </a:xfrm>
              <a:custGeom>
                <a:avLst/>
                <a:gdLst>
                  <a:gd name="connsiteX0" fmla="*/ 0 w 151286"/>
                  <a:gd name="connsiteY0" fmla="*/ 1065 h 399225"/>
                  <a:gd name="connsiteX1" fmla="*/ 2858 w 151286"/>
                  <a:gd name="connsiteY1" fmla="*/ 0 h 399225"/>
                  <a:gd name="connsiteX2" fmla="*/ 151286 w 151286"/>
                  <a:gd name="connsiteY2" fmla="*/ 398159 h 399225"/>
                  <a:gd name="connsiteX3" fmla="*/ 148428 w 151286"/>
                  <a:gd name="connsiteY3" fmla="*/ 399225 h 399225"/>
                </a:gdLst>
                <a:ahLst/>
                <a:cxnLst>
                  <a:cxn ang="0">
                    <a:pos x="connsiteX0" y="connsiteY0"/>
                  </a:cxn>
                  <a:cxn ang="0">
                    <a:pos x="connsiteX1" y="connsiteY1"/>
                  </a:cxn>
                  <a:cxn ang="0">
                    <a:pos x="connsiteX2" y="connsiteY2"/>
                  </a:cxn>
                  <a:cxn ang="0">
                    <a:pos x="connsiteX3" y="connsiteY3"/>
                  </a:cxn>
                </a:cxnLst>
                <a:rect l="l" t="t" r="r" b="b"/>
                <a:pathLst>
                  <a:path w="151286" h="399225">
                    <a:moveTo>
                      <a:pt x="0" y="1065"/>
                    </a:moveTo>
                    <a:lnTo>
                      <a:pt x="2858" y="0"/>
                    </a:lnTo>
                    <a:lnTo>
                      <a:pt x="151286" y="398159"/>
                    </a:lnTo>
                    <a:lnTo>
                      <a:pt x="148428" y="399225"/>
                    </a:lnTo>
                    <a:close/>
                  </a:path>
                </a:pathLst>
              </a:custGeom>
              <a:grpFill/>
              <a:ln w="5978" cap="flat">
                <a:noFill/>
                <a:prstDash val="solid"/>
                <a:miter/>
              </a:ln>
            </p:spPr>
            <p:txBody>
              <a:bodyPr rtlCol="0" anchor="ctr"/>
              <a:lstStyle/>
              <a:p>
                <a:endParaRPr lang="en-GB"/>
              </a:p>
            </p:txBody>
          </p:sp>
          <p:sp>
            <p:nvSpPr>
              <p:cNvPr id="3494" name="Vrije vorm: vorm 3493">
                <a:extLst>
                  <a:ext uri="{FF2B5EF4-FFF2-40B4-BE49-F238E27FC236}">
                    <a16:creationId xmlns:a16="http://schemas.microsoft.com/office/drawing/2014/main" id="{407DB59A-B585-4366-AD92-04A0F0D239EA}"/>
                  </a:ext>
                </a:extLst>
              </p:cNvPr>
              <p:cNvSpPr/>
              <p:nvPr/>
            </p:nvSpPr>
            <p:spPr>
              <a:xfrm>
                <a:off x="6769721" y="4926011"/>
                <a:ext cx="18356" cy="18429"/>
              </a:xfrm>
              <a:custGeom>
                <a:avLst/>
                <a:gdLst>
                  <a:gd name="connsiteX0" fmla="*/ 596 w 18356"/>
                  <a:gd name="connsiteY0" fmla="*/ 12430 h 18429"/>
                  <a:gd name="connsiteX1" fmla="*/ 5978 w 18356"/>
                  <a:gd name="connsiteY1" fmla="*/ 588 h 18429"/>
                  <a:gd name="connsiteX2" fmla="*/ 17760 w 18356"/>
                  <a:gd name="connsiteY2" fmla="*/ 6031 h 18429"/>
                  <a:gd name="connsiteX3" fmla="*/ 12378 w 18356"/>
                  <a:gd name="connsiteY3" fmla="*/ 17872 h 18429"/>
                  <a:gd name="connsiteX4" fmla="*/ 596 w 18356"/>
                  <a:gd name="connsiteY4" fmla="*/ 1243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9">
                    <a:moveTo>
                      <a:pt x="596" y="12430"/>
                    </a:moveTo>
                    <a:cubicBezTo>
                      <a:pt x="-1198" y="7646"/>
                      <a:pt x="1194" y="2383"/>
                      <a:pt x="5978" y="588"/>
                    </a:cubicBezTo>
                    <a:cubicBezTo>
                      <a:pt x="10703" y="-1206"/>
                      <a:pt x="16026" y="1246"/>
                      <a:pt x="17760" y="6031"/>
                    </a:cubicBezTo>
                    <a:cubicBezTo>
                      <a:pt x="19554" y="10815"/>
                      <a:pt x="17162" y="16078"/>
                      <a:pt x="12378" y="17872"/>
                    </a:cubicBezTo>
                    <a:cubicBezTo>
                      <a:pt x="7653" y="19607"/>
                      <a:pt x="2390" y="17155"/>
                      <a:pt x="596" y="12430"/>
                    </a:cubicBezTo>
                    <a:close/>
                  </a:path>
                </a:pathLst>
              </a:custGeom>
              <a:grpFill/>
              <a:ln w="5978" cap="flat">
                <a:noFill/>
                <a:prstDash val="solid"/>
                <a:miter/>
              </a:ln>
            </p:spPr>
            <p:txBody>
              <a:bodyPr rtlCol="0" anchor="ctr"/>
              <a:lstStyle/>
              <a:p>
                <a:endParaRPr lang="en-GB"/>
              </a:p>
            </p:txBody>
          </p:sp>
          <p:sp>
            <p:nvSpPr>
              <p:cNvPr id="3495" name="Vrije vorm: vorm 3494">
                <a:extLst>
                  <a:ext uri="{FF2B5EF4-FFF2-40B4-BE49-F238E27FC236}">
                    <a16:creationId xmlns:a16="http://schemas.microsoft.com/office/drawing/2014/main" id="{386CDEBA-34F9-477C-8690-56494D179939}"/>
                  </a:ext>
                </a:extLst>
              </p:cNvPr>
              <p:cNvSpPr/>
              <p:nvPr/>
            </p:nvSpPr>
            <p:spPr>
              <a:xfrm>
                <a:off x="6917810" y="5323335"/>
                <a:ext cx="18317" cy="18412"/>
              </a:xfrm>
              <a:custGeom>
                <a:avLst/>
                <a:gdLst>
                  <a:gd name="connsiteX0" fmla="*/ 589 w 18317"/>
                  <a:gd name="connsiteY0" fmla="*/ 12406 h 18412"/>
                  <a:gd name="connsiteX1" fmla="*/ 12371 w 18317"/>
                  <a:gd name="connsiteY1" fmla="*/ 17848 h 18412"/>
                  <a:gd name="connsiteX2" fmla="*/ 17753 w 18317"/>
                  <a:gd name="connsiteY2" fmla="*/ 6006 h 18412"/>
                  <a:gd name="connsiteX3" fmla="*/ 5971 w 18317"/>
                  <a:gd name="connsiteY3" fmla="*/ 564 h 18412"/>
                  <a:gd name="connsiteX4" fmla="*/ 589 w 18317"/>
                  <a:gd name="connsiteY4" fmla="*/ 12406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12">
                    <a:moveTo>
                      <a:pt x="589" y="12406"/>
                    </a:moveTo>
                    <a:cubicBezTo>
                      <a:pt x="2383" y="17190"/>
                      <a:pt x="7646" y="19583"/>
                      <a:pt x="12371" y="17848"/>
                    </a:cubicBezTo>
                    <a:cubicBezTo>
                      <a:pt x="17095" y="16054"/>
                      <a:pt x="19488" y="10791"/>
                      <a:pt x="17753" y="6006"/>
                    </a:cubicBezTo>
                    <a:cubicBezTo>
                      <a:pt x="15959" y="1222"/>
                      <a:pt x="10696" y="-1171"/>
                      <a:pt x="5971" y="564"/>
                    </a:cubicBezTo>
                    <a:cubicBezTo>
                      <a:pt x="1246" y="2298"/>
                      <a:pt x="-1205" y="7621"/>
                      <a:pt x="589" y="12406"/>
                    </a:cubicBezTo>
                    <a:close/>
                  </a:path>
                </a:pathLst>
              </a:custGeom>
              <a:grpFill/>
              <a:ln w="5978" cap="flat">
                <a:noFill/>
                <a:prstDash val="solid"/>
                <a:miter/>
              </a:ln>
            </p:spPr>
            <p:txBody>
              <a:bodyPr rtlCol="0" anchor="ctr"/>
              <a:lstStyle/>
              <a:p>
                <a:endParaRPr lang="en-GB"/>
              </a:p>
            </p:txBody>
          </p:sp>
        </p:grpSp>
        <p:grpSp>
          <p:nvGrpSpPr>
            <p:cNvPr id="633" name="Graphic 3">
              <a:extLst>
                <a:ext uri="{FF2B5EF4-FFF2-40B4-BE49-F238E27FC236}">
                  <a16:creationId xmlns:a16="http://schemas.microsoft.com/office/drawing/2014/main" id="{DBCB7432-1B4D-43CA-B283-121C806B03F1}"/>
                </a:ext>
              </a:extLst>
            </p:cNvPr>
            <p:cNvGrpSpPr/>
            <p:nvPr/>
          </p:nvGrpSpPr>
          <p:grpSpPr>
            <a:xfrm>
              <a:off x="6770450" y="4925717"/>
              <a:ext cx="75366" cy="137792"/>
              <a:chOff x="6770450" y="4925717"/>
              <a:chExt cx="75366" cy="137792"/>
            </a:xfrm>
            <a:grpFill/>
          </p:grpSpPr>
          <p:sp>
            <p:nvSpPr>
              <p:cNvPr id="3490" name="Vrije vorm: vorm 3489">
                <a:extLst>
                  <a:ext uri="{FF2B5EF4-FFF2-40B4-BE49-F238E27FC236}">
                    <a16:creationId xmlns:a16="http://schemas.microsoft.com/office/drawing/2014/main" id="{7DF17C0B-4E17-44DE-8FDF-6B079BB11BBD}"/>
                  </a:ext>
                </a:extLst>
              </p:cNvPr>
              <p:cNvSpPr/>
              <p:nvPr/>
            </p:nvSpPr>
            <p:spPr>
              <a:xfrm>
                <a:off x="6778091" y="4933836"/>
                <a:ext cx="60166" cy="121528"/>
              </a:xfrm>
              <a:custGeom>
                <a:avLst/>
                <a:gdLst>
                  <a:gd name="connsiteX0" fmla="*/ 60166 w 60166"/>
                  <a:gd name="connsiteY0" fmla="*/ 120212 h 121528"/>
                  <a:gd name="connsiteX1" fmla="*/ 57415 w 60166"/>
                  <a:gd name="connsiteY1" fmla="*/ 121528 h 121528"/>
                  <a:gd name="connsiteX2" fmla="*/ 0 w 60166"/>
                  <a:gd name="connsiteY2" fmla="*/ 1316 h 121528"/>
                  <a:gd name="connsiteX3" fmla="*/ 2751 w 60166"/>
                  <a:gd name="connsiteY3" fmla="*/ 0 h 121528"/>
                </a:gdLst>
                <a:ahLst/>
                <a:cxnLst>
                  <a:cxn ang="0">
                    <a:pos x="connsiteX0" y="connsiteY0"/>
                  </a:cxn>
                  <a:cxn ang="0">
                    <a:pos x="connsiteX1" y="connsiteY1"/>
                  </a:cxn>
                  <a:cxn ang="0">
                    <a:pos x="connsiteX2" y="connsiteY2"/>
                  </a:cxn>
                  <a:cxn ang="0">
                    <a:pos x="connsiteX3" y="connsiteY3"/>
                  </a:cxn>
                </a:cxnLst>
                <a:rect l="l" t="t" r="r" b="b"/>
                <a:pathLst>
                  <a:path w="60166" h="121528">
                    <a:moveTo>
                      <a:pt x="60166" y="120212"/>
                    </a:moveTo>
                    <a:lnTo>
                      <a:pt x="57415" y="121528"/>
                    </a:lnTo>
                    <a:lnTo>
                      <a:pt x="0" y="1316"/>
                    </a:lnTo>
                    <a:lnTo>
                      <a:pt x="2751" y="0"/>
                    </a:lnTo>
                    <a:close/>
                  </a:path>
                </a:pathLst>
              </a:custGeom>
              <a:grpFill/>
              <a:ln w="5978" cap="flat">
                <a:noFill/>
                <a:prstDash val="solid"/>
                <a:miter/>
              </a:ln>
            </p:spPr>
            <p:txBody>
              <a:bodyPr rtlCol="0" anchor="ctr"/>
              <a:lstStyle/>
              <a:p>
                <a:endParaRPr lang="en-GB"/>
              </a:p>
            </p:txBody>
          </p:sp>
          <p:sp>
            <p:nvSpPr>
              <p:cNvPr id="3491" name="Vrije vorm: vorm 3490">
                <a:extLst>
                  <a:ext uri="{FF2B5EF4-FFF2-40B4-BE49-F238E27FC236}">
                    <a16:creationId xmlns:a16="http://schemas.microsoft.com/office/drawing/2014/main" id="{1CDBA6F4-D540-4F9B-A809-381FFD43B834}"/>
                  </a:ext>
                </a:extLst>
              </p:cNvPr>
              <p:cNvSpPr/>
              <p:nvPr/>
            </p:nvSpPr>
            <p:spPr>
              <a:xfrm>
                <a:off x="6827496" y="5045066"/>
                <a:ext cx="18320" cy="18443"/>
              </a:xfrm>
              <a:custGeom>
                <a:avLst/>
                <a:gdLst>
                  <a:gd name="connsiteX0" fmla="*/ 17401 w 18320"/>
                  <a:gd name="connsiteY0" fmla="*/ 5274 h 18443"/>
                  <a:gd name="connsiteX1" fmla="*/ 13094 w 18320"/>
                  <a:gd name="connsiteY1" fmla="*/ 17535 h 18443"/>
                  <a:gd name="connsiteX2" fmla="*/ 894 w 18320"/>
                  <a:gd name="connsiteY2" fmla="*/ 13169 h 18443"/>
                  <a:gd name="connsiteX3" fmla="*/ 5200 w 18320"/>
                  <a:gd name="connsiteY3" fmla="*/ 908 h 18443"/>
                  <a:gd name="connsiteX4" fmla="*/ 17401 w 18320"/>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43">
                    <a:moveTo>
                      <a:pt x="17401" y="5274"/>
                    </a:moveTo>
                    <a:cubicBezTo>
                      <a:pt x="19614" y="9879"/>
                      <a:pt x="17699" y="15382"/>
                      <a:pt x="13094" y="17535"/>
                    </a:cubicBezTo>
                    <a:cubicBezTo>
                      <a:pt x="8549" y="19748"/>
                      <a:pt x="3047" y="17774"/>
                      <a:pt x="894" y="13169"/>
                    </a:cubicBezTo>
                    <a:cubicBezTo>
                      <a:pt x="-1259" y="8564"/>
                      <a:pt x="595" y="3061"/>
                      <a:pt x="5200" y="908"/>
                    </a:cubicBezTo>
                    <a:cubicBezTo>
                      <a:pt x="9745" y="-1305"/>
                      <a:pt x="15248" y="669"/>
                      <a:pt x="17401" y="5274"/>
                    </a:cubicBezTo>
                    <a:close/>
                  </a:path>
                </a:pathLst>
              </a:custGeom>
              <a:grpFill/>
              <a:ln w="5978" cap="flat">
                <a:noFill/>
                <a:prstDash val="solid"/>
                <a:miter/>
              </a:ln>
            </p:spPr>
            <p:txBody>
              <a:bodyPr rtlCol="0" anchor="ctr"/>
              <a:lstStyle/>
              <a:p>
                <a:endParaRPr lang="en-GB"/>
              </a:p>
            </p:txBody>
          </p:sp>
          <p:sp>
            <p:nvSpPr>
              <p:cNvPr id="3492" name="Vrije vorm: vorm 3491">
                <a:extLst>
                  <a:ext uri="{FF2B5EF4-FFF2-40B4-BE49-F238E27FC236}">
                    <a16:creationId xmlns:a16="http://schemas.microsoft.com/office/drawing/2014/main" id="{61F243BC-E94C-40E6-8646-C513FC79D08A}"/>
                  </a:ext>
                </a:extLst>
              </p:cNvPr>
              <p:cNvSpPr/>
              <p:nvPr/>
            </p:nvSpPr>
            <p:spPr>
              <a:xfrm>
                <a:off x="6770450" y="4925717"/>
                <a:ext cx="18369" cy="18391"/>
              </a:xfrm>
              <a:custGeom>
                <a:avLst/>
                <a:gdLst>
                  <a:gd name="connsiteX0" fmla="*/ 17450 w 18369"/>
                  <a:gd name="connsiteY0" fmla="*/ 5248 h 18391"/>
                  <a:gd name="connsiteX1" fmla="*/ 5190 w 18369"/>
                  <a:gd name="connsiteY1" fmla="*/ 882 h 18391"/>
                  <a:gd name="connsiteX2" fmla="*/ 884 w 18369"/>
                  <a:gd name="connsiteY2" fmla="*/ 13143 h 18391"/>
                  <a:gd name="connsiteX3" fmla="*/ 13144 w 18369"/>
                  <a:gd name="connsiteY3" fmla="*/ 17509 h 18391"/>
                  <a:gd name="connsiteX4" fmla="*/ 17450 w 18369"/>
                  <a:gd name="connsiteY4" fmla="*/ 5248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1">
                    <a:moveTo>
                      <a:pt x="17450" y="5248"/>
                    </a:moveTo>
                    <a:cubicBezTo>
                      <a:pt x="15237" y="643"/>
                      <a:pt x="9795" y="-1271"/>
                      <a:pt x="5190" y="882"/>
                    </a:cubicBezTo>
                    <a:cubicBezTo>
                      <a:pt x="644" y="3095"/>
                      <a:pt x="-1269" y="8538"/>
                      <a:pt x="884" y="13143"/>
                    </a:cubicBezTo>
                    <a:cubicBezTo>
                      <a:pt x="3096" y="17748"/>
                      <a:pt x="8539" y="19662"/>
                      <a:pt x="13144" y="17509"/>
                    </a:cubicBezTo>
                    <a:cubicBezTo>
                      <a:pt x="17749" y="15296"/>
                      <a:pt x="19663" y="9794"/>
                      <a:pt x="17450" y="5248"/>
                    </a:cubicBezTo>
                    <a:close/>
                  </a:path>
                </a:pathLst>
              </a:custGeom>
              <a:grpFill/>
              <a:ln w="5978" cap="flat">
                <a:noFill/>
                <a:prstDash val="solid"/>
                <a:miter/>
              </a:ln>
            </p:spPr>
            <p:txBody>
              <a:bodyPr rtlCol="0" anchor="ctr"/>
              <a:lstStyle/>
              <a:p>
                <a:endParaRPr lang="en-GB"/>
              </a:p>
            </p:txBody>
          </p:sp>
        </p:grpSp>
        <p:grpSp>
          <p:nvGrpSpPr>
            <p:cNvPr id="634" name="Graphic 3">
              <a:extLst>
                <a:ext uri="{FF2B5EF4-FFF2-40B4-BE49-F238E27FC236}">
                  <a16:creationId xmlns:a16="http://schemas.microsoft.com/office/drawing/2014/main" id="{3041DF03-A8D8-4017-AACD-40005D35D7F4}"/>
                </a:ext>
              </a:extLst>
            </p:cNvPr>
            <p:cNvGrpSpPr/>
            <p:nvPr/>
          </p:nvGrpSpPr>
          <p:grpSpPr>
            <a:xfrm>
              <a:off x="5545457" y="1104912"/>
              <a:ext cx="122082" cy="641804"/>
              <a:chOff x="5545457" y="1104912"/>
              <a:chExt cx="122082" cy="641804"/>
            </a:xfrm>
            <a:grpFill/>
          </p:grpSpPr>
          <p:sp>
            <p:nvSpPr>
              <p:cNvPr id="3487" name="Vrije vorm: vorm 3486">
                <a:extLst>
                  <a:ext uri="{FF2B5EF4-FFF2-40B4-BE49-F238E27FC236}">
                    <a16:creationId xmlns:a16="http://schemas.microsoft.com/office/drawing/2014/main" id="{B6EBEAC0-6532-4F67-90A8-BA111BB5048F}"/>
                  </a:ext>
                </a:extLst>
              </p:cNvPr>
              <p:cNvSpPr/>
              <p:nvPr/>
            </p:nvSpPr>
            <p:spPr>
              <a:xfrm>
                <a:off x="5553000" y="1113411"/>
                <a:ext cx="106934" cy="624746"/>
              </a:xfrm>
              <a:custGeom>
                <a:avLst/>
                <a:gdLst>
                  <a:gd name="connsiteX0" fmla="*/ 3050 w 106934"/>
                  <a:gd name="connsiteY0" fmla="*/ 0 h 624746"/>
                  <a:gd name="connsiteX1" fmla="*/ 106935 w 106934"/>
                  <a:gd name="connsiteY1" fmla="*/ 624268 h 624746"/>
                  <a:gd name="connsiteX2" fmla="*/ 103885 w 106934"/>
                  <a:gd name="connsiteY2" fmla="*/ 624746 h 624746"/>
                  <a:gd name="connsiteX3" fmla="*/ 0 w 106934"/>
                  <a:gd name="connsiteY3" fmla="*/ 478 h 624746"/>
                </a:gdLst>
                <a:ahLst/>
                <a:cxnLst>
                  <a:cxn ang="0">
                    <a:pos x="connsiteX0" y="connsiteY0"/>
                  </a:cxn>
                  <a:cxn ang="0">
                    <a:pos x="connsiteX1" y="connsiteY1"/>
                  </a:cxn>
                  <a:cxn ang="0">
                    <a:pos x="connsiteX2" y="connsiteY2"/>
                  </a:cxn>
                  <a:cxn ang="0">
                    <a:pos x="connsiteX3" y="connsiteY3"/>
                  </a:cxn>
                </a:cxnLst>
                <a:rect l="l" t="t" r="r" b="b"/>
                <a:pathLst>
                  <a:path w="106934" h="624746">
                    <a:moveTo>
                      <a:pt x="3050" y="0"/>
                    </a:moveTo>
                    <a:lnTo>
                      <a:pt x="106935" y="624268"/>
                    </a:lnTo>
                    <a:lnTo>
                      <a:pt x="103885" y="624746"/>
                    </a:lnTo>
                    <a:lnTo>
                      <a:pt x="0" y="478"/>
                    </a:lnTo>
                    <a:close/>
                  </a:path>
                </a:pathLst>
              </a:custGeom>
              <a:grpFill/>
              <a:ln w="5978" cap="flat">
                <a:noFill/>
                <a:prstDash val="solid"/>
                <a:miter/>
              </a:ln>
            </p:spPr>
            <p:txBody>
              <a:bodyPr rtlCol="0" anchor="ctr"/>
              <a:lstStyle/>
              <a:p>
                <a:endParaRPr lang="en-GB"/>
              </a:p>
            </p:txBody>
          </p:sp>
          <p:sp>
            <p:nvSpPr>
              <p:cNvPr id="3488" name="Vrije vorm: vorm 3487">
                <a:extLst>
                  <a:ext uri="{FF2B5EF4-FFF2-40B4-BE49-F238E27FC236}">
                    <a16:creationId xmlns:a16="http://schemas.microsoft.com/office/drawing/2014/main" id="{203A377C-BC69-4FB6-A9E2-2C1D66970814}"/>
                  </a:ext>
                </a:extLst>
              </p:cNvPr>
              <p:cNvSpPr/>
              <p:nvPr/>
            </p:nvSpPr>
            <p:spPr>
              <a:xfrm>
                <a:off x="5649221" y="1728282"/>
                <a:ext cx="18318" cy="18434"/>
              </a:xfrm>
              <a:custGeom>
                <a:avLst/>
                <a:gdLst>
                  <a:gd name="connsiteX0" fmla="*/ 18190 w 18318"/>
                  <a:gd name="connsiteY0" fmla="*/ 7722 h 18434"/>
                  <a:gd name="connsiteX1" fmla="*/ 10654 w 18318"/>
                  <a:gd name="connsiteY1" fmla="*/ 18308 h 18434"/>
                  <a:gd name="connsiteX2" fmla="*/ 128 w 18318"/>
                  <a:gd name="connsiteY2" fmla="*/ 10712 h 18434"/>
                  <a:gd name="connsiteX3" fmla="*/ 766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7" y="12746"/>
                      <a:pt x="15678" y="17471"/>
                      <a:pt x="10654" y="18308"/>
                    </a:cubicBezTo>
                    <a:cubicBezTo>
                      <a:pt x="5690" y="19145"/>
                      <a:pt x="966" y="15736"/>
                      <a:pt x="128" y="10712"/>
                    </a:cubicBezTo>
                    <a:cubicBezTo>
                      <a:pt x="-709" y="5688"/>
                      <a:pt x="2640" y="964"/>
                      <a:pt x="7664" y="126"/>
                    </a:cubicBezTo>
                    <a:cubicBezTo>
                      <a:pt x="12628" y="-711"/>
                      <a:pt x="17353" y="2698"/>
                      <a:pt x="18190" y="7722"/>
                    </a:cubicBezTo>
                    <a:close/>
                  </a:path>
                </a:pathLst>
              </a:custGeom>
              <a:grpFill/>
              <a:ln w="5978" cap="flat">
                <a:noFill/>
                <a:prstDash val="solid"/>
                <a:miter/>
              </a:ln>
            </p:spPr>
            <p:txBody>
              <a:bodyPr rtlCol="0" anchor="ctr"/>
              <a:lstStyle/>
              <a:p>
                <a:endParaRPr lang="en-GB"/>
              </a:p>
            </p:txBody>
          </p:sp>
          <p:sp>
            <p:nvSpPr>
              <p:cNvPr id="3489" name="Vrije vorm: vorm 3488">
                <a:extLst>
                  <a:ext uri="{FF2B5EF4-FFF2-40B4-BE49-F238E27FC236}">
                    <a16:creationId xmlns:a16="http://schemas.microsoft.com/office/drawing/2014/main" id="{4588F8B4-9A23-49C6-B9E0-0DF5FECB9B1E}"/>
                  </a:ext>
                </a:extLst>
              </p:cNvPr>
              <p:cNvSpPr/>
              <p:nvPr/>
            </p:nvSpPr>
            <p:spPr>
              <a:xfrm>
                <a:off x="5545457" y="1104912"/>
                <a:ext cx="18316" cy="18434"/>
              </a:xfrm>
              <a:custGeom>
                <a:avLst/>
                <a:gdLst>
                  <a:gd name="connsiteX0" fmla="*/ 18188 w 18316"/>
                  <a:gd name="connsiteY0" fmla="*/ 7722 h 18434"/>
                  <a:gd name="connsiteX1" fmla="*/ 7662 w 18316"/>
                  <a:gd name="connsiteY1" fmla="*/ 126 h 18434"/>
                  <a:gd name="connsiteX2" fmla="*/ 126 w 18316"/>
                  <a:gd name="connsiteY2" fmla="*/ 10712 h 18434"/>
                  <a:gd name="connsiteX3" fmla="*/ 10653 w 18316"/>
                  <a:gd name="connsiteY3" fmla="*/ 18308 h 18434"/>
                  <a:gd name="connsiteX4" fmla="*/ 18188 w 18316"/>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4">
                    <a:moveTo>
                      <a:pt x="18188" y="7722"/>
                    </a:moveTo>
                    <a:cubicBezTo>
                      <a:pt x="17351" y="2698"/>
                      <a:pt x="12626" y="-711"/>
                      <a:pt x="7662" y="126"/>
                    </a:cubicBezTo>
                    <a:cubicBezTo>
                      <a:pt x="2698" y="964"/>
                      <a:pt x="-711" y="5689"/>
                      <a:pt x="126" y="10712"/>
                    </a:cubicBezTo>
                    <a:cubicBezTo>
                      <a:pt x="964" y="15736"/>
                      <a:pt x="5688" y="19145"/>
                      <a:pt x="10653" y="18308"/>
                    </a:cubicBezTo>
                    <a:cubicBezTo>
                      <a:pt x="15677" y="17471"/>
                      <a:pt x="19026" y="12746"/>
                      <a:pt x="18188" y="7722"/>
                    </a:cubicBezTo>
                    <a:close/>
                  </a:path>
                </a:pathLst>
              </a:custGeom>
              <a:grpFill/>
              <a:ln w="5978" cap="flat">
                <a:noFill/>
                <a:prstDash val="solid"/>
                <a:miter/>
              </a:ln>
            </p:spPr>
            <p:txBody>
              <a:bodyPr rtlCol="0" anchor="ctr"/>
              <a:lstStyle/>
              <a:p>
                <a:endParaRPr lang="en-GB"/>
              </a:p>
            </p:txBody>
          </p:sp>
        </p:grpSp>
        <p:grpSp>
          <p:nvGrpSpPr>
            <p:cNvPr id="635" name="Graphic 3">
              <a:extLst>
                <a:ext uri="{FF2B5EF4-FFF2-40B4-BE49-F238E27FC236}">
                  <a16:creationId xmlns:a16="http://schemas.microsoft.com/office/drawing/2014/main" id="{D51DC71D-C9AE-4151-9603-CCA61CBEE3E3}"/>
                </a:ext>
              </a:extLst>
            </p:cNvPr>
            <p:cNvGrpSpPr/>
            <p:nvPr/>
          </p:nvGrpSpPr>
          <p:grpSpPr>
            <a:xfrm>
              <a:off x="5510397" y="1144573"/>
              <a:ext cx="23642" cy="40605"/>
              <a:chOff x="5510397" y="1144573"/>
              <a:chExt cx="23642" cy="40605"/>
            </a:xfrm>
            <a:grpFill/>
          </p:grpSpPr>
          <p:sp>
            <p:nvSpPr>
              <p:cNvPr id="3484" name="Vrije vorm: vorm 3483">
                <a:extLst>
                  <a:ext uri="{FF2B5EF4-FFF2-40B4-BE49-F238E27FC236}">
                    <a16:creationId xmlns:a16="http://schemas.microsoft.com/office/drawing/2014/main" id="{E9B8BC26-1CF4-400F-8962-81F6EDEFAD18}"/>
                  </a:ext>
                </a:extLst>
              </p:cNvPr>
              <p:cNvSpPr/>
              <p:nvPr/>
            </p:nvSpPr>
            <p:spPr>
              <a:xfrm>
                <a:off x="5518013" y="1153004"/>
                <a:ext cx="8433" cy="23803"/>
              </a:xfrm>
              <a:custGeom>
                <a:avLst/>
                <a:gdLst>
                  <a:gd name="connsiteX0" fmla="*/ 2930 w 8433"/>
                  <a:gd name="connsiteY0" fmla="*/ 0 h 23803"/>
                  <a:gd name="connsiteX1" fmla="*/ 8433 w 8433"/>
                  <a:gd name="connsiteY1" fmla="*/ 23086 h 23803"/>
                  <a:gd name="connsiteX2" fmla="*/ 5443 w 8433"/>
                  <a:gd name="connsiteY2" fmla="*/ 23803 h 23803"/>
                  <a:gd name="connsiteX3" fmla="*/ 0 w 8433"/>
                  <a:gd name="connsiteY3" fmla="*/ 658 h 23803"/>
                </a:gdLst>
                <a:ahLst/>
                <a:cxnLst>
                  <a:cxn ang="0">
                    <a:pos x="connsiteX0" y="connsiteY0"/>
                  </a:cxn>
                  <a:cxn ang="0">
                    <a:pos x="connsiteX1" y="connsiteY1"/>
                  </a:cxn>
                  <a:cxn ang="0">
                    <a:pos x="connsiteX2" y="connsiteY2"/>
                  </a:cxn>
                  <a:cxn ang="0">
                    <a:pos x="connsiteX3" y="connsiteY3"/>
                  </a:cxn>
                </a:cxnLst>
                <a:rect l="l" t="t" r="r" b="b"/>
                <a:pathLst>
                  <a:path w="8433" h="23803">
                    <a:moveTo>
                      <a:pt x="2930" y="0"/>
                    </a:moveTo>
                    <a:lnTo>
                      <a:pt x="8433" y="23086"/>
                    </a:lnTo>
                    <a:lnTo>
                      <a:pt x="5443" y="23803"/>
                    </a:lnTo>
                    <a:lnTo>
                      <a:pt x="0" y="658"/>
                    </a:lnTo>
                    <a:close/>
                  </a:path>
                </a:pathLst>
              </a:custGeom>
              <a:grpFill/>
              <a:ln w="5978" cap="flat">
                <a:noFill/>
                <a:prstDash val="solid"/>
                <a:miter/>
              </a:ln>
            </p:spPr>
            <p:txBody>
              <a:bodyPr rtlCol="0" anchor="ctr"/>
              <a:lstStyle/>
              <a:p>
                <a:endParaRPr lang="en-GB"/>
              </a:p>
            </p:txBody>
          </p:sp>
          <p:sp>
            <p:nvSpPr>
              <p:cNvPr id="3485" name="Vrije vorm: vorm 3484">
                <a:extLst>
                  <a:ext uri="{FF2B5EF4-FFF2-40B4-BE49-F238E27FC236}">
                    <a16:creationId xmlns:a16="http://schemas.microsoft.com/office/drawing/2014/main" id="{9AA0A4C5-BBF4-4DF3-B3C7-6C7C0FAD72B7}"/>
                  </a:ext>
                </a:extLst>
              </p:cNvPr>
              <p:cNvSpPr/>
              <p:nvPr/>
            </p:nvSpPr>
            <p:spPr>
              <a:xfrm>
                <a:off x="5510397" y="1144573"/>
                <a:ext cx="18401" cy="18416"/>
              </a:xfrm>
              <a:custGeom>
                <a:avLst/>
                <a:gdLst>
                  <a:gd name="connsiteX0" fmla="*/ 260 w 18401"/>
                  <a:gd name="connsiteY0" fmla="*/ 11302 h 18416"/>
                  <a:gd name="connsiteX1" fmla="*/ 7078 w 18401"/>
                  <a:gd name="connsiteY1" fmla="*/ 237 h 18416"/>
                  <a:gd name="connsiteX2" fmla="*/ 18142 w 18401"/>
                  <a:gd name="connsiteY2" fmla="*/ 7115 h 18416"/>
                  <a:gd name="connsiteX3" fmla="*/ 11324 w 18401"/>
                  <a:gd name="connsiteY3" fmla="*/ 18180 h 18416"/>
                  <a:gd name="connsiteX4" fmla="*/ 260 w 18401"/>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16">
                    <a:moveTo>
                      <a:pt x="260" y="11302"/>
                    </a:moveTo>
                    <a:cubicBezTo>
                      <a:pt x="-937" y="6338"/>
                      <a:pt x="2114" y="1374"/>
                      <a:pt x="7078" y="237"/>
                    </a:cubicBezTo>
                    <a:cubicBezTo>
                      <a:pt x="11982" y="-899"/>
                      <a:pt x="16946" y="2151"/>
                      <a:pt x="18142" y="7115"/>
                    </a:cubicBezTo>
                    <a:cubicBezTo>
                      <a:pt x="19338" y="12079"/>
                      <a:pt x="16288" y="17043"/>
                      <a:pt x="11324" y="18180"/>
                    </a:cubicBezTo>
                    <a:cubicBezTo>
                      <a:pt x="6420" y="19316"/>
                      <a:pt x="1456" y="16266"/>
                      <a:pt x="260" y="11302"/>
                    </a:cubicBezTo>
                    <a:close/>
                  </a:path>
                </a:pathLst>
              </a:custGeom>
              <a:grpFill/>
              <a:ln w="5978" cap="flat">
                <a:noFill/>
                <a:prstDash val="solid"/>
                <a:miter/>
              </a:ln>
            </p:spPr>
            <p:txBody>
              <a:bodyPr rtlCol="0" anchor="ctr"/>
              <a:lstStyle/>
              <a:p>
                <a:endParaRPr lang="en-GB"/>
              </a:p>
            </p:txBody>
          </p:sp>
          <p:sp>
            <p:nvSpPr>
              <p:cNvPr id="3486" name="Vrije vorm: vorm 3485">
                <a:extLst>
                  <a:ext uri="{FF2B5EF4-FFF2-40B4-BE49-F238E27FC236}">
                    <a16:creationId xmlns:a16="http://schemas.microsoft.com/office/drawing/2014/main" id="{726ED0AE-A260-46B7-9877-4D32BF9A1F3D}"/>
                  </a:ext>
                </a:extLst>
              </p:cNvPr>
              <p:cNvSpPr/>
              <p:nvPr/>
            </p:nvSpPr>
            <p:spPr>
              <a:xfrm>
                <a:off x="5515679" y="1166761"/>
                <a:ext cx="18360" cy="18416"/>
              </a:xfrm>
              <a:custGeom>
                <a:avLst/>
                <a:gdLst>
                  <a:gd name="connsiteX0" fmla="*/ 241 w 18360"/>
                  <a:gd name="connsiteY0" fmla="*/ 11302 h 18416"/>
                  <a:gd name="connsiteX1" fmla="*/ 11305 w 18360"/>
                  <a:gd name="connsiteY1" fmla="*/ 18180 h 18416"/>
                  <a:gd name="connsiteX2" fmla="*/ 18123 w 18360"/>
                  <a:gd name="connsiteY2" fmla="*/ 7115 h 18416"/>
                  <a:gd name="connsiteX3" fmla="*/ 7058 w 18360"/>
                  <a:gd name="connsiteY3" fmla="*/ 237 h 18416"/>
                  <a:gd name="connsiteX4" fmla="*/ 241 w 18360"/>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6">
                    <a:moveTo>
                      <a:pt x="241" y="11302"/>
                    </a:moveTo>
                    <a:cubicBezTo>
                      <a:pt x="1437" y="16266"/>
                      <a:pt x="6341" y="19316"/>
                      <a:pt x="11305" y="18180"/>
                    </a:cubicBezTo>
                    <a:cubicBezTo>
                      <a:pt x="16209" y="17043"/>
                      <a:pt x="19259" y="12079"/>
                      <a:pt x="18123" y="7115"/>
                    </a:cubicBezTo>
                    <a:cubicBezTo>
                      <a:pt x="16927" y="2151"/>
                      <a:pt x="12022" y="-899"/>
                      <a:pt x="7058" y="237"/>
                    </a:cubicBezTo>
                    <a:cubicBezTo>
                      <a:pt x="2095" y="1433"/>
                      <a:pt x="-896" y="6397"/>
                      <a:pt x="241" y="11302"/>
                    </a:cubicBezTo>
                    <a:close/>
                  </a:path>
                </a:pathLst>
              </a:custGeom>
              <a:grpFill/>
              <a:ln w="5978" cap="flat">
                <a:noFill/>
                <a:prstDash val="solid"/>
                <a:miter/>
              </a:ln>
            </p:spPr>
            <p:txBody>
              <a:bodyPr rtlCol="0" anchor="ctr"/>
              <a:lstStyle/>
              <a:p>
                <a:endParaRPr lang="en-GB"/>
              </a:p>
            </p:txBody>
          </p:sp>
        </p:grpSp>
        <p:grpSp>
          <p:nvGrpSpPr>
            <p:cNvPr id="636" name="Graphic 3">
              <a:extLst>
                <a:ext uri="{FF2B5EF4-FFF2-40B4-BE49-F238E27FC236}">
                  <a16:creationId xmlns:a16="http://schemas.microsoft.com/office/drawing/2014/main" id="{6FA92808-0DB9-4BC8-BCD9-B9087C4755A9}"/>
                </a:ext>
              </a:extLst>
            </p:cNvPr>
            <p:cNvGrpSpPr/>
            <p:nvPr/>
          </p:nvGrpSpPr>
          <p:grpSpPr>
            <a:xfrm>
              <a:off x="6809623" y="5086957"/>
              <a:ext cx="79456" cy="152778"/>
              <a:chOff x="6809623" y="5086957"/>
              <a:chExt cx="79456" cy="152778"/>
            </a:xfrm>
            <a:grpFill/>
          </p:grpSpPr>
          <p:sp>
            <p:nvSpPr>
              <p:cNvPr id="3481" name="Vrije vorm: vorm 3480">
                <a:extLst>
                  <a:ext uri="{FF2B5EF4-FFF2-40B4-BE49-F238E27FC236}">
                    <a16:creationId xmlns:a16="http://schemas.microsoft.com/office/drawing/2014/main" id="{D6764FA2-98ED-4E21-AE65-14AAC70DB593}"/>
                  </a:ext>
                </a:extLst>
              </p:cNvPr>
              <p:cNvSpPr/>
              <p:nvPr/>
            </p:nvSpPr>
            <p:spPr>
              <a:xfrm>
                <a:off x="6817293" y="5094795"/>
                <a:ext cx="64339" cy="136469"/>
              </a:xfrm>
              <a:custGeom>
                <a:avLst/>
                <a:gdLst>
                  <a:gd name="connsiteX0" fmla="*/ 0 w 64339"/>
                  <a:gd name="connsiteY0" fmla="*/ 1264 h 136469"/>
                  <a:gd name="connsiteX1" fmla="*/ 2776 w 64339"/>
                  <a:gd name="connsiteY1" fmla="*/ 0 h 136469"/>
                  <a:gd name="connsiteX2" fmla="*/ 64340 w 64339"/>
                  <a:gd name="connsiteY2" fmla="*/ 135206 h 136469"/>
                  <a:gd name="connsiteX3" fmla="*/ 61564 w 64339"/>
                  <a:gd name="connsiteY3" fmla="*/ 136470 h 136469"/>
                </a:gdLst>
                <a:ahLst/>
                <a:cxnLst>
                  <a:cxn ang="0">
                    <a:pos x="connsiteX0" y="connsiteY0"/>
                  </a:cxn>
                  <a:cxn ang="0">
                    <a:pos x="connsiteX1" y="connsiteY1"/>
                  </a:cxn>
                  <a:cxn ang="0">
                    <a:pos x="connsiteX2" y="connsiteY2"/>
                  </a:cxn>
                  <a:cxn ang="0">
                    <a:pos x="connsiteX3" y="connsiteY3"/>
                  </a:cxn>
                </a:cxnLst>
                <a:rect l="l" t="t" r="r" b="b"/>
                <a:pathLst>
                  <a:path w="64339" h="136469">
                    <a:moveTo>
                      <a:pt x="0" y="1264"/>
                    </a:moveTo>
                    <a:lnTo>
                      <a:pt x="2776" y="0"/>
                    </a:lnTo>
                    <a:lnTo>
                      <a:pt x="64340" y="135206"/>
                    </a:lnTo>
                    <a:lnTo>
                      <a:pt x="61564" y="136470"/>
                    </a:lnTo>
                    <a:close/>
                  </a:path>
                </a:pathLst>
              </a:custGeom>
              <a:grpFill/>
              <a:ln w="5978" cap="flat">
                <a:noFill/>
                <a:prstDash val="solid"/>
                <a:miter/>
              </a:ln>
            </p:spPr>
            <p:txBody>
              <a:bodyPr rtlCol="0" anchor="ctr"/>
              <a:lstStyle/>
              <a:p>
                <a:endParaRPr lang="en-GB"/>
              </a:p>
            </p:txBody>
          </p:sp>
          <p:sp>
            <p:nvSpPr>
              <p:cNvPr id="3482" name="Vrije vorm: vorm 3481">
                <a:extLst>
                  <a:ext uri="{FF2B5EF4-FFF2-40B4-BE49-F238E27FC236}">
                    <a16:creationId xmlns:a16="http://schemas.microsoft.com/office/drawing/2014/main" id="{9D52F066-0127-4E5C-8EC1-0015EC0E6549}"/>
                  </a:ext>
                </a:extLst>
              </p:cNvPr>
              <p:cNvSpPr/>
              <p:nvPr/>
            </p:nvSpPr>
            <p:spPr>
              <a:xfrm>
                <a:off x="6870746" y="5221319"/>
                <a:ext cx="18333" cy="18416"/>
              </a:xfrm>
              <a:custGeom>
                <a:avLst/>
                <a:gdLst>
                  <a:gd name="connsiteX0" fmla="*/ 17510 w 18333"/>
                  <a:gd name="connsiteY0" fmla="*/ 5393 h 18416"/>
                  <a:gd name="connsiteX1" fmla="*/ 12965 w 18333"/>
                  <a:gd name="connsiteY1" fmla="*/ 17594 h 18416"/>
                  <a:gd name="connsiteX2" fmla="*/ 824 w 18333"/>
                  <a:gd name="connsiteY2" fmla="*/ 12988 h 18416"/>
                  <a:gd name="connsiteX3" fmla="*/ 5369 w 18333"/>
                  <a:gd name="connsiteY3" fmla="*/ 788 h 18416"/>
                  <a:gd name="connsiteX4" fmla="*/ 17510 w 18333"/>
                  <a:gd name="connsiteY4" fmla="*/ 539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17510" y="5393"/>
                    </a:moveTo>
                    <a:cubicBezTo>
                      <a:pt x="19603" y="9998"/>
                      <a:pt x="17570" y="15500"/>
                      <a:pt x="12965" y="17594"/>
                    </a:cubicBezTo>
                    <a:cubicBezTo>
                      <a:pt x="8359" y="19687"/>
                      <a:pt x="2917" y="17653"/>
                      <a:pt x="824" y="12988"/>
                    </a:cubicBezTo>
                    <a:cubicBezTo>
                      <a:pt x="-1269" y="8383"/>
                      <a:pt x="764" y="2881"/>
                      <a:pt x="5369" y="788"/>
                    </a:cubicBezTo>
                    <a:cubicBezTo>
                      <a:pt x="9914" y="-1246"/>
                      <a:pt x="15357" y="788"/>
                      <a:pt x="17510" y="5393"/>
                    </a:cubicBezTo>
                    <a:close/>
                  </a:path>
                </a:pathLst>
              </a:custGeom>
              <a:grpFill/>
              <a:ln w="5978" cap="flat">
                <a:noFill/>
                <a:prstDash val="solid"/>
                <a:miter/>
              </a:ln>
            </p:spPr>
            <p:txBody>
              <a:bodyPr rtlCol="0" anchor="ctr"/>
              <a:lstStyle/>
              <a:p>
                <a:endParaRPr lang="en-GB"/>
              </a:p>
            </p:txBody>
          </p:sp>
          <p:sp>
            <p:nvSpPr>
              <p:cNvPr id="3483" name="Vrije vorm: vorm 3482">
                <a:extLst>
                  <a:ext uri="{FF2B5EF4-FFF2-40B4-BE49-F238E27FC236}">
                    <a16:creationId xmlns:a16="http://schemas.microsoft.com/office/drawing/2014/main" id="{3EF0BA3F-80C5-44E6-9A16-AEAE889CF026}"/>
                  </a:ext>
                </a:extLst>
              </p:cNvPr>
              <p:cNvSpPr/>
              <p:nvPr/>
            </p:nvSpPr>
            <p:spPr>
              <a:xfrm>
                <a:off x="6809623" y="5086957"/>
                <a:ext cx="18333" cy="18441"/>
              </a:xfrm>
              <a:custGeom>
                <a:avLst/>
                <a:gdLst>
                  <a:gd name="connsiteX0" fmla="*/ 17510 w 18333"/>
                  <a:gd name="connsiteY0" fmla="*/ 5428 h 18441"/>
                  <a:gd name="connsiteX1" fmla="*/ 5369 w 18333"/>
                  <a:gd name="connsiteY1" fmla="*/ 823 h 18441"/>
                  <a:gd name="connsiteX2" fmla="*/ 824 w 18333"/>
                  <a:gd name="connsiteY2" fmla="*/ 13023 h 18441"/>
                  <a:gd name="connsiteX3" fmla="*/ 12965 w 18333"/>
                  <a:gd name="connsiteY3" fmla="*/ 17628 h 18441"/>
                  <a:gd name="connsiteX4" fmla="*/ 17510 w 18333"/>
                  <a:gd name="connsiteY4" fmla="*/ 542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7510" y="5428"/>
                    </a:moveTo>
                    <a:cubicBezTo>
                      <a:pt x="15416" y="763"/>
                      <a:pt x="9974" y="-1271"/>
                      <a:pt x="5369" y="823"/>
                    </a:cubicBezTo>
                    <a:cubicBezTo>
                      <a:pt x="764" y="2916"/>
                      <a:pt x="-1270" y="8358"/>
                      <a:pt x="824" y="13023"/>
                    </a:cubicBezTo>
                    <a:cubicBezTo>
                      <a:pt x="2917" y="17628"/>
                      <a:pt x="8359" y="19722"/>
                      <a:pt x="12965" y="17628"/>
                    </a:cubicBezTo>
                    <a:cubicBezTo>
                      <a:pt x="17570" y="15535"/>
                      <a:pt x="19603" y="10033"/>
                      <a:pt x="17510" y="5428"/>
                    </a:cubicBezTo>
                    <a:close/>
                  </a:path>
                </a:pathLst>
              </a:custGeom>
              <a:grpFill/>
              <a:ln w="5978" cap="flat">
                <a:noFill/>
                <a:prstDash val="solid"/>
                <a:miter/>
              </a:ln>
            </p:spPr>
            <p:txBody>
              <a:bodyPr rtlCol="0" anchor="ctr"/>
              <a:lstStyle/>
              <a:p>
                <a:endParaRPr lang="en-GB"/>
              </a:p>
            </p:txBody>
          </p:sp>
        </p:grpSp>
        <p:grpSp>
          <p:nvGrpSpPr>
            <p:cNvPr id="637" name="Graphic 3">
              <a:extLst>
                <a:ext uri="{FF2B5EF4-FFF2-40B4-BE49-F238E27FC236}">
                  <a16:creationId xmlns:a16="http://schemas.microsoft.com/office/drawing/2014/main" id="{31D80C7F-9AA1-45D7-97D2-EA378C266EDC}"/>
                </a:ext>
              </a:extLst>
            </p:cNvPr>
            <p:cNvGrpSpPr/>
            <p:nvPr/>
          </p:nvGrpSpPr>
          <p:grpSpPr>
            <a:xfrm>
              <a:off x="5641063" y="1543215"/>
              <a:ext cx="56704" cy="195092"/>
              <a:chOff x="5641063" y="1543215"/>
              <a:chExt cx="56704" cy="195092"/>
            </a:xfrm>
            <a:grpFill/>
          </p:grpSpPr>
          <p:sp>
            <p:nvSpPr>
              <p:cNvPr id="3478" name="Vrije vorm: vorm 3477">
                <a:extLst>
                  <a:ext uri="{FF2B5EF4-FFF2-40B4-BE49-F238E27FC236}">
                    <a16:creationId xmlns:a16="http://schemas.microsoft.com/office/drawing/2014/main" id="{5A954707-03C9-4DCA-BA40-3C2F7FCDBA0E}"/>
                  </a:ext>
                </a:extLst>
              </p:cNvPr>
              <p:cNvSpPr/>
              <p:nvPr/>
            </p:nvSpPr>
            <p:spPr>
              <a:xfrm>
                <a:off x="5648632" y="1551619"/>
                <a:ext cx="41565" cy="178285"/>
              </a:xfrm>
              <a:custGeom>
                <a:avLst/>
                <a:gdLst>
                  <a:gd name="connsiteX0" fmla="*/ 2990 w 41565"/>
                  <a:gd name="connsiteY0" fmla="*/ 0 h 178285"/>
                  <a:gd name="connsiteX1" fmla="*/ 41566 w 41565"/>
                  <a:gd name="connsiteY1" fmla="*/ 177628 h 178285"/>
                  <a:gd name="connsiteX2" fmla="*/ 38575 w 41565"/>
                  <a:gd name="connsiteY2" fmla="*/ 178285 h 178285"/>
                  <a:gd name="connsiteX3" fmla="*/ 0 w 41565"/>
                  <a:gd name="connsiteY3" fmla="*/ 658 h 178285"/>
                </a:gdLst>
                <a:ahLst/>
                <a:cxnLst>
                  <a:cxn ang="0">
                    <a:pos x="connsiteX0" y="connsiteY0"/>
                  </a:cxn>
                  <a:cxn ang="0">
                    <a:pos x="connsiteX1" y="connsiteY1"/>
                  </a:cxn>
                  <a:cxn ang="0">
                    <a:pos x="connsiteX2" y="connsiteY2"/>
                  </a:cxn>
                  <a:cxn ang="0">
                    <a:pos x="connsiteX3" y="connsiteY3"/>
                  </a:cxn>
                </a:cxnLst>
                <a:rect l="l" t="t" r="r" b="b"/>
                <a:pathLst>
                  <a:path w="41565" h="178285">
                    <a:moveTo>
                      <a:pt x="2990" y="0"/>
                    </a:moveTo>
                    <a:lnTo>
                      <a:pt x="41566" y="177628"/>
                    </a:lnTo>
                    <a:lnTo>
                      <a:pt x="38575" y="178285"/>
                    </a:lnTo>
                    <a:lnTo>
                      <a:pt x="0" y="658"/>
                    </a:lnTo>
                    <a:close/>
                  </a:path>
                </a:pathLst>
              </a:custGeom>
              <a:grpFill/>
              <a:ln w="5978" cap="flat">
                <a:noFill/>
                <a:prstDash val="solid"/>
                <a:miter/>
              </a:ln>
            </p:spPr>
            <p:txBody>
              <a:bodyPr rtlCol="0" anchor="ctr"/>
              <a:lstStyle/>
              <a:p>
                <a:endParaRPr lang="en-GB"/>
              </a:p>
            </p:txBody>
          </p:sp>
          <p:sp>
            <p:nvSpPr>
              <p:cNvPr id="3479" name="Vrije vorm: vorm 3478">
                <a:extLst>
                  <a:ext uri="{FF2B5EF4-FFF2-40B4-BE49-F238E27FC236}">
                    <a16:creationId xmlns:a16="http://schemas.microsoft.com/office/drawing/2014/main" id="{80A5EAC3-9658-4DE8-A1BC-FE8688D51930}"/>
                  </a:ext>
                </a:extLst>
              </p:cNvPr>
              <p:cNvSpPr/>
              <p:nvPr/>
            </p:nvSpPr>
            <p:spPr>
              <a:xfrm>
                <a:off x="5641063" y="1543215"/>
                <a:ext cx="18308" cy="18421"/>
              </a:xfrm>
              <a:custGeom>
                <a:avLst/>
                <a:gdLst>
                  <a:gd name="connsiteX0" fmla="*/ 213 w 18308"/>
                  <a:gd name="connsiteY0" fmla="*/ 11155 h 18421"/>
                  <a:gd name="connsiteX1" fmla="*/ 7211 w 18308"/>
                  <a:gd name="connsiteY1" fmla="*/ 210 h 18421"/>
                  <a:gd name="connsiteX2" fmla="*/ 18096 w 18308"/>
                  <a:gd name="connsiteY2" fmla="*/ 7267 h 18421"/>
                  <a:gd name="connsiteX3" fmla="*/ 11098 w 18308"/>
                  <a:gd name="connsiteY3" fmla="*/ 18212 h 18421"/>
                  <a:gd name="connsiteX4" fmla="*/ 213 w 18308"/>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213" y="11155"/>
                    </a:moveTo>
                    <a:cubicBezTo>
                      <a:pt x="-864" y="6191"/>
                      <a:pt x="2246" y="1287"/>
                      <a:pt x="7211" y="210"/>
                    </a:cubicBezTo>
                    <a:cubicBezTo>
                      <a:pt x="12174" y="-867"/>
                      <a:pt x="17019" y="2303"/>
                      <a:pt x="18096" y="7267"/>
                    </a:cubicBezTo>
                    <a:cubicBezTo>
                      <a:pt x="19172" y="12231"/>
                      <a:pt x="16062" y="17135"/>
                      <a:pt x="11098" y="18212"/>
                    </a:cubicBezTo>
                    <a:cubicBezTo>
                      <a:pt x="6194" y="19288"/>
                      <a:pt x="1289" y="16119"/>
                      <a:pt x="213" y="11155"/>
                    </a:cubicBezTo>
                    <a:close/>
                  </a:path>
                </a:pathLst>
              </a:custGeom>
              <a:grpFill/>
              <a:ln w="5978" cap="flat">
                <a:noFill/>
                <a:prstDash val="solid"/>
                <a:miter/>
              </a:ln>
            </p:spPr>
            <p:txBody>
              <a:bodyPr rtlCol="0" anchor="ctr"/>
              <a:lstStyle/>
              <a:p>
                <a:endParaRPr lang="en-GB"/>
              </a:p>
            </p:txBody>
          </p:sp>
          <p:sp>
            <p:nvSpPr>
              <p:cNvPr id="3480" name="Vrije vorm: vorm 3479">
                <a:extLst>
                  <a:ext uri="{FF2B5EF4-FFF2-40B4-BE49-F238E27FC236}">
                    <a16:creationId xmlns:a16="http://schemas.microsoft.com/office/drawing/2014/main" id="{202698F1-8145-4519-8089-9413337C7974}"/>
                  </a:ext>
                </a:extLst>
              </p:cNvPr>
              <p:cNvSpPr/>
              <p:nvPr/>
            </p:nvSpPr>
            <p:spPr>
              <a:xfrm>
                <a:off x="5679459" y="1719886"/>
                <a:ext cx="18307" cy="18421"/>
              </a:xfrm>
              <a:custGeom>
                <a:avLst/>
                <a:gdLst>
                  <a:gd name="connsiteX0" fmla="*/ 213 w 18307"/>
                  <a:gd name="connsiteY0" fmla="*/ 11155 h 18421"/>
                  <a:gd name="connsiteX1" fmla="*/ 11098 w 18307"/>
                  <a:gd name="connsiteY1" fmla="*/ 18212 h 18421"/>
                  <a:gd name="connsiteX2" fmla="*/ 18095 w 18307"/>
                  <a:gd name="connsiteY2" fmla="*/ 7267 h 18421"/>
                  <a:gd name="connsiteX3" fmla="*/ 7210 w 18307"/>
                  <a:gd name="connsiteY3" fmla="*/ 210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1289" y="16119"/>
                      <a:pt x="6194" y="19288"/>
                      <a:pt x="11098" y="18212"/>
                    </a:cubicBezTo>
                    <a:cubicBezTo>
                      <a:pt x="16062" y="17135"/>
                      <a:pt x="19172" y="12231"/>
                      <a:pt x="18095" y="7267"/>
                    </a:cubicBezTo>
                    <a:cubicBezTo>
                      <a:pt x="17019" y="2303"/>
                      <a:pt x="12114" y="-867"/>
                      <a:pt x="7210" y="210"/>
                    </a:cubicBezTo>
                    <a:cubicBezTo>
                      <a:pt x="2246" y="1286"/>
                      <a:pt x="-864" y="6191"/>
                      <a:pt x="213" y="11155"/>
                    </a:cubicBezTo>
                    <a:close/>
                  </a:path>
                </a:pathLst>
              </a:custGeom>
              <a:grpFill/>
              <a:ln w="5978" cap="flat">
                <a:noFill/>
                <a:prstDash val="solid"/>
                <a:miter/>
              </a:ln>
            </p:spPr>
            <p:txBody>
              <a:bodyPr rtlCol="0" anchor="ctr"/>
              <a:lstStyle/>
              <a:p>
                <a:endParaRPr lang="en-GB"/>
              </a:p>
            </p:txBody>
          </p:sp>
        </p:grpSp>
        <p:grpSp>
          <p:nvGrpSpPr>
            <p:cNvPr id="638" name="Graphic 3">
              <a:extLst>
                <a:ext uri="{FF2B5EF4-FFF2-40B4-BE49-F238E27FC236}">
                  <a16:creationId xmlns:a16="http://schemas.microsoft.com/office/drawing/2014/main" id="{893BEA65-8481-4DBC-BFA5-B1FF26B5B941}"/>
                </a:ext>
              </a:extLst>
            </p:cNvPr>
            <p:cNvGrpSpPr/>
            <p:nvPr/>
          </p:nvGrpSpPr>
          <p:grpSpPr>
            <a:xfrm>
              <a:off x="5519906" y="1184763"/>
              <a:ext cx="69813" cy="235696"/>
              <a:chOff x="5519906" y="1184763"/>
              <a:chExt cx="69813" cy="235696"/>
            </a:xfrm>
            <a:grpFill/>
          </p:grpSpPr>
          <p:sp>
            <p:nvSpPr>
              <p:cNvPr id="3475" name="Vrije vorm: vorm 3474">
                <a:extLst>
                  <a:ext uri="{FF2B5EF4-FFF2-40B4-BE49-F238E27FC236}">
                    <a16:creationId xmlns:a16="http://schemas.microsoft.com/office/drawing/2014/main" id="{4C298FAB-C0C0-441A-8A4A-453435FCA488}"/>
                  </a:ext>
                </a:extLst>
              </p:cNvPr>
              <p:cNvSpPr/>
              <p:nvPr/>
            </p:nvSpPr>
            <p:spPr>
              <a:xfrm>
                <a:off x="5527522" y="1193134"/>
                <a:ext cx="54604" cy="218954"/>
              </a:xfrm>
              <a:custGeom>
                <a:avLst/>
                <a:gdLst>
                  <a:gd name="connsiteX0" fmla="*/ 2930 w 54604"/>
                  <a:gd name="connsiteY0" fmla="*/ 0 h 218954"/>
                  <a:gd name="connsiteX1" fmla="*/ 54604 w 54604"/>
                  <a:gd name="connsiteY1" fmla="*/ 218237 h 218954"/>
                  <a:gd name="connsiteX2" fmla="*/ 51614 w 54604"/>
                  <a:gd name="connsiteY2" fmla="*/ 218954 h 218954"/>
                  <a:gd name="connsiteX3" fmla="*/ 0 w 54604"/>
                  <a:gd name="connsiteY3" fmla="*/ 718 h 218954"/>
                </a:gdLst>
                <a:ahLst/>
                <a:cxnLst>
                  <a:cxn ang="0">
                    <a:pos x="connsiteX0" y="connsiteY0"/>
                  </a:cxn>
                  <a:cxn ang="0">
                    <a:pos x="connsiteX1" y="connsiteY1"/>
                  </a:cxn>
                  <a:cxn ang="0">
                    <a:pos x="connsiteX2" y="connsiteY2"/>
                  </a:cxn>
                  <a:cxn ang="0">
                    <a:pos x="connsiteX3" y="connsiteY3"/>
                  </a:cxn>
                </a:cxnLst>
                <a:rect l="l" t="t" r="r" b="b"/>
                <a:pathLst>
                  <a:path w="54604" h="218954">
                    <a:moveTo>
                      <a:pt x="2930" y="0"/>
                    </a:moveTo>
                    <a:lnTo>
                      <a:pt x="54604" y="218237"/>
                    </a:lnTo>
                    <a:lnTo>
                      <a:pt x="51614" y="218954"/>
                    </a:lnTo>
                    <a:lnTo>
                      <a:pt x="0" y="718"/>
                    </a:lnTo>
                    <a:close/>
                  </a:path>
                </a:pathLst>
              </a:custGeom>
              <a:grpFill/>
              <a:ln w="5978" cap="flat">
                <a:noFill/>
                <a:prstDash val="solid"/>
                <a:miter/>
              </a:ln>
            </p:spPr>
            <p:txBody>
              <a:bodyPr rtlCol="0" anchor="ctr"/>
              <a:lstStyle/>
              <a:p>
                <a:endParaRPr lang="en-GB"/>
              </a:p>
            </p:txBody>
          </p:sp>
          <p:sp>
            <p:nvSpPr>
              <p:cNvPr id="3476" name="Vrije vorm: vorm 3475">
                <a:extLst>
                  <a:ext uri="{FF2B5EF4-FFF2-40B4-BE49-F238E27FC236}">
                    <a16:creationId xmlns:a16="http://schemas.microsoft.com/office/drawing/2014/main" id="{087D54C3-9291-4539-BFAF-DAE81D94B802}"/>
                  </a:ext>
                </a:extLst>
              </p:cNvPr>
              <p:cNvSpPr/>
              <p:nvPr/>
            </p:nvSpPr>
            <p:spPr>
              <a:xfrm>
                <a:off x="5519906" y="1184763"/>
                <a:ext cx="18401" cy="18413"/>
              </a:xfrm>
              <a:custGeom>
                <a:avLst/>
                <a:gdLst>
                  <a:gd name="connsiteX0" fmla="*/ 260 w 18401"/>
                  <a:gd name="connsiteY0" fmla="*/ 11302 h 18413"/>
                  <a:gd name="connsiteX1" fmla="*/ 7078 w 18401"/>
                  <a:gd name="connsiteY1" fmla="*/ 237 h 18413"/>
                  <a:gd name="connsiteX2" fmla="*/ 18142 w 18401"/>
                  <a:gd name="connsiteY2" fmla="*/ 7115 h 18413"/>
                  <a:gd name="connsiteX3" fmla="*/ 11324 w 18401"/>
                  <a:gd name="connsiteY3" fmla="*/ 18180 h 18413"/>
                  <a:gd name="connsiteX4" fmla="*/ 260 w 18401"/>
                  <a:gd name="connsiteY4" fmla="*/ 11302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13">
                    <a:moveTo>
                      <a:pt x="260" y="11302"/>
                    </a:moveTo>
                    <a:cubicBezTo>
                      <a:pt x="-936" y="6338"/>
                      <a:pt x="2114" y="1374"/>
                      <a:pt x="7078" y="237"/>
                    </a:cubicBezTo>
                    <a:cubicBezTo>
                      <a:pt x="11982" y="-899"/>
                      <a:pt x="16946" y="2151"/>
                      <a:pt x="18142" y="7115"/>
                    </a:cubicBezTo>
                    <a:cubicBezTo>
                      <a:pt x="19338" y="12079"/>
                      <a:pt x="16288" y="17043"/>
                      <a:pt x="11324" y="18180"/>
                    </a:cubicBezTo>
                    <a:cubicBezTo>
                      <a:pt x="6360" y="19316"/>
                      <a:pt x="1456" y="16206"/>
                      <a:pt x="260" y="11302"/>
                    </a:cubicBezTo>
                    <a:close/>
                  </a:path>
                </a:pathLst>
              </a:custGeom>
              <a:grpFill/>
              <a:ln w="5978" cap="flat">
                <a:noFill/>
                <a:prstDash val="solid"/>
                <a:miter/>
              </a:ln>
            </p:spPr>
            <p:txBody>
              <a:bodyPr rtlCol="0" anchor="ctr"/>
              <a:lstStyle/>
              <a:p>
                <a:endParaRPr lang="en-GB"/>
              </a:p>
            </p:txBody>
          </p:sp>
          <p:sp>
            <p:nvSpPr>
              <p:cNvPr id="3477" name="Vrije vorm: vorm 3476">
                <a:extLst>
                  <a:ext uri="{FF2B5EF4-FFF2-40B4-BE49-F238E27FC236}">
                    <a16:creationId xmlns:a16="http://schemas.microsoft.com/office/drawing/2014/main" id="{34F4E889-4641-45A8-AA95-FB449460EEF5}"/>
                  </a:ext>
                </a:extLst>
              </p:cNvPr>
              <p:cNvSpPr/>
              <p:nvPr/>
            </p:nvSpPr>
            <p:spPr>
              <a:xfrm>
                <a:off x="5571360" y="1402043"/>
                <a:ext cx="18360" cy="18416"/>
              </a:xfrm>
              <a:custGeom>
                <a:avLst/>
                <a:gdLst>
                  <a:gd name="connsiteX0" fmla="*/ 241 w 18360"/>
                  <a:gd name="connsiteY0" fmla="*/ 11302 h 18416"/>
                  <a:gd name="connsiteX1" fmla="*/ 11305 w 18360"/>
                  <a:gd name="connsiteY1" fmla="*/ 18180 h 18416"/>
                  <a:gd name="connsiteX2" fmla="*/ 18123 w 18360"/>
                  <a:gd name="connsiteY2" fmla="*/ 7115 h 18416"/>
                  <a:gd name="connsiteX3" fmla="*/ 7059 w 18360"/>
                  <a:gd name="connsiteY3" fmla="*/ 237 h 18416"/>
                  <a:gd name="connsiteX4" fmla="*/ 241 w 18360"/>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6">
                    <a:moveTo>
                      <a:pt x="241" y="11302"/>
                    </a:moveTo>
                    <a:cubicBezTo>
                      <a:pt x="1437" y="16266"/>
                      <a:pt x="6341" y="19316"/>
                      <a:pt x="11305" y="18180"/>
                    </a:cubicBezTo>
                    <a:cubicBezTo>
                      <a:pt x="16209" y="17043"/>
                      <a:pt x="19259" y="12079"/>
                      <a:pt x="18123" y="7115"/>
                    </a:cubicBezTo>
                    <a:cubicBezTo>
                      <a:pt x="16927" y="2151"/>
                      <a:pt x="12022" y="-899"/>
                      <a:pt x="7059" y="237"/>
                    </a:cubicBezTo>
                    <a:cubicBezTo>
                      <a:pt x="2095" y="1433"/>
                      <a:pt x="-896" y="6397"/>
                      <a:pt x="241" y="11302"/>
                    </a:cubicBezTo>
                    <a:close/>
                  </a:path>
                </a:pathLst>
              </a:custGeom>
              <a:grpFill/>
              <a:ln w="5978" cap="flat">
                <a:noFill/>
                <a:prstDash val="solid"/>
                <a:miter/>
              </a:ln>
            </p:spPr>
            <p:txBody>
              <a:bodyPr rtlCol="0" anchor="ctr"/>
              <a:lstStyle/>
              <a:p>
                <a:endParaRPr lang="en-GB"/>
              </a:p>
            </p:txBody>
          </p:sp>
        </p:grpSp>
        <p:grpSp>
          <p:nvGrpSpPr>
            <p:cNvPr id="639" name="Graphic 3">
              <a:extLst>
                <a:ext uri="{FF2B5EF4-FFF2-40B4-BE49-F238E27FC236}">
                  <a16:creationId xmlns:a16="http://schemas.microsoft.com/office/drawing/2014/main" id="{8EEF94A9-1BB1-4523-A064-4B3AC8F0A5AE}"/>
                </a:ext>
              </a:extLst>
            </p:cNvPr>
            <p:cNvGrpSpPr/>
            <p:nvPr/>
          </p:nvGrpSpPr>
          <p:grpSpPr>
            <a:xfrm>
              <a:off x="6840411" y="5244222"/>
              <a:ext cx="56208" cy="105921"/>
              <a:chOff x="6840411" y="5244222"/>
              <a:chExt cx="56208" cy="105921"/>
            </a:xfrm>
            <a:grpFill/>
          </p:grpSpPr>
          <p:sp>
            <p:nvSpPr>
              <p:cNvPr id="3472" name="Vrije vorm: vorm 3471">
                <a:extLst>
                  <a:ext uri="{FF2B5EF4-FFF2-40B4-BE49-F238E27FC236}">
                    <a16:creationId xmlns:a16="http://schemas.microsoft.com/office/drawing/2014/main" id="{CDB0C184-0E3D-437B-8350-8AB0C9AF060E}"/>
                  </a:ext>
                </a:extLst>
              </p:cNvPr>
              <p:cNvSpPr/>
              <p:nvPr/>
            </p:nvSpPr>
            <p:spPr>
              <a:xfrm>
                <a:off x="6848006" y="5252429"/>
                <a:ext cx="41027" cy="89531"/>
              </a:xfrm>
              <a:custGeom>
                <a:avLst/>
                <a:gdLst>
                  <a:gd name="connsiteX0" fmla="*/ 41028 w 41027"/>
                  <a:gd name="connsiteY0" fmla="*/ 88276 h 89531"/>
                  <a:gd name="connsiteX1" fmla="*/ 38216 w 41027"/>
                  <a:gd name="connsiteY1" fmla="*/ 89531 h 89531"/>
                  <a:gd name="connsiteX2" fmla="*/ 0 w 41027"/>
                  <a:gd name="connsiteY2" fmla="*/ 1196 h 89531"/>
                  <a:gd name="connsiteX3" fmla="*/ 2811 w 41027"/>
                  <a:gd name="connsiteY3" fmla="*/ 0 h 89531"/>
                </a:gdLst>
                <a:ahLst/>
                <a:cxnLst>
                  <a:cxn ang="0">
                    <a:pos x="connsiteX0" y="connsiteY0"/>
                  </a:cxn>
                  <a:cxn ang="0">
                    <a:pos x="connsiteX1" y="connsiteY1"/>
                  </a:cxn>
                  <a:cxn ang="0">
                    <a:pos x="connsiteX2" y="connsiteY2"/>
                  </a:cxn>
                  <a:cxn ang="0">
                    <a:pos x="connsiteX3" y="connsiteY3"/>
                  </a:cxn>
                </a:cxnLst>
                <a:rect l="l" t="t" r="r" b="b"/>
                <a:pathLst>
                  <a:path w="41027" h="89531">
                    <a:moveTo>
                      <a:pt x="41028" y="88276"/>
                    </a:moveTo>
                    <a:lnTo>
                      <a:pt x="38216" y="89531"/>
                    </a:lnTo>
                    <a:lnTo>
                      <a:pt x="0" y="1196"/>
                    </a:lnTo>
                    <a:lnTo>
                      <a:pt x="2811" y="0"/>
                    </a:lnTo>
                    <a:close/>
                  </a:path>
                </a:pathLst>
              </a:custGeom>
              <a:grpFill/>
              <a:ln w="5978" cap="flat">
                <a:noFill/>
                <a:prstDash val="solid"/>
                <a:miter/>
              </a:ln>
            </p:spPr>
            <p:txBody>
              <a:bodyPr rtlCol="0" anchor="ctr"/>
              <a:lstStyle/>
              <a:p>
                <a:endParaRPr lang="en-GB"/>
              </a:p>
            </p:txBody>
          </p:sp>
          <p:sp>
            <p:nvSpPr>
              <p:cNvPr id="3473" name="Vrije vorm: vorm 3472">
                <a:extLst>
                  <a:ext uri="{FF2B5EF4-FFF2-40B4-BE49-F238E27FC236}">
                    <a16:creationId xmlns:a16="http://schemas.microsoft.com/office/drawing/2014/main" id="{7A6E4C2F-C1FC-4D8A-B653-469A0A9274E0}"/>
                  </a:ext>
                </a:extLst>
              </p:cNvPr>
              <p:cNvSpPr/>
              <p:nvPr/>
            </p:nvSpPr>
            <p:spPr>
              <a:xfrm>
                <a:off x="6878278" y="5331710"/>
                <a:ext cx="18341" cy="18433"/>
              </a:xfrm>
              <a:custGeom>
                <a:avLst/>
                <a:gdLst>
                  <a:gd name="connsiteX0" fmla="*/ 17574 w 18341"/>
                  <a:gd name="connsiteY0" fmla="*/ 5586 h 18433"/>
                  <a:gd name="connsiteX1" fmla="*/ 12849 w 18341"/>
                  <a:gd name="connsiteY1" fmla="*/ 17667 h 18433"/>
                  <a:gd name="connsiteX2" fmla="*/ 768 w 18341"/>
                  <a:gd name="connsiteY2" fmla="*/ 12882 h 18433"/>
                  <a:gd name="connsiteX3" fmla="*/ 5493 w 18341"/>
                  <a:gd name="connsiteY3" fmla="*/ 801 h 18433"/>
                  <a:gd name="connsiteX4" fmla="*/ 17574 w 18341"/>
                  <a:gd name="connsiteY4" fmla="*/ 5586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3">
                    <a:moveTo>
                      <a:pt x="17574" y="5586"/>
                    </a:moveTo>
                    <a:cubicBezTo>
                      <a:pt x="19607" y="10251"/>
                      <a:pt x="17454" y="15693"/>
                      <a:pt x="12849" y="17667"/>
                    </a:cubicBezTo>
                    <a:cubicBezTo>
                      <a:pt x="8184" y="19700"/>
                      <a:pt x="2801" y="17547"/>
                      <a:pt x="768" y="12882"/>
                    </a:cubicBezTo>
                    <a:cubicBezTo>
                      <a:pt x="-1266" y="8217"/>
                      <a:pt x="887" y="2775"/>
                      <a:pt x="5493" y="801"/>
                    </a:cubicBezTo>
                    <a:cubicBezTo>
                      <a:pt x="10157" y="-1292"/>
                      <a:pt x="15540" y="861"/>
                      <a:pt x="17574" y="5586"/>
                    </a:cubicBezTo>
                    <a:close/>
                  </a:path>
                </a:pathLst>
              </a:custGeom>
              <a:grpFill/>
              <a:ln w="5978" cap="flat">
                <a:noFill/>
                <a:prstDash val="solid"/>
                <a:miter/>
              </a:ln>
            </p:spPr>
            <p:txBody>
              <a:bodyPr rtlCol="0" anchor="ctr"/>
              <a:lstStyle/>
              <a:p>
                <a:endParaRPr lang="en-GB"/>
              </a:p>
            </p:txBody>
          </p:sp>
          <p:sp>
            <p:nvSpPr>
              <p:cNvPr id="3474" name="Vrije vorm: vorm 3473">
                <a:extLst>
                  <a:ext uri="{FF2B5EF4-FFF2-40B4-BE49-F238E27FC236}">
                    <a16:creationId xmlns:a16="http://schemas.microsoft.com/office/drawing/2014/main" id="{FD09B3A1-CD12-48A3-B1F8-1224C7840356}"/>
                  </a:ext>
                </a:extLst>
              </p:cNvPr>
              <p:cNvSpPr/>
              <p:nvPr/>
            </p:nvSpPr>
            <p:spPr>
              <a:xfrm>
                <a:off x="6840411" y="5244222"/>
                <a:ext cx="18358" cy="18388"/>
              </a:xfrm>
              <a:custGeom>
                <a:avLst/>
                <a:gdLst>
                  <a:gd name="connsiteX0" fmla="*/ 17582 w 18358"/>
                  <a:gd name="connsiteY0" fmla="*/ 5576 h 18388"/>
                  <a:gd name="connsiteX1" fmla="*/ 5501 w 18358"/>
                  <a:gd name="connsiteY1" fmla="*/ 732 h 18388"/>
                  <a:gd name="connsiteX2" fmla="*/ 777 w 18358"/>
                  <a:gd name="connsiteY2" fmla="*/ 12813 h 18388"/>
                  <a:gd name="connsiteX3" fmla="*/ 12857 w 18358"/>
                  <a:gd name="connsiteY3" fmla="*/ 17657 h 18388"/>
                  <a:gd name="connsiteX4" fmla="*/ 17582 w 18358"/>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388">
                    <a:moveTo>
                      <a:pt x="17582" y="5576"/>
                    </a:moveTo>
                    <a:cubicBezTo>
                      <a:pt x="15549" y="911"/>
                      <a:pt x="10166" y="-1242"/>
                      <a:pt x="5501" y="732"/>
                    </a:cubicBezTo>
                    <a:cubicBezTo>
                      <a:pt x="837" y="2765"/>
                      <a:pt x="-1257" y="8148"/>
                      <a:pt x="777" y="12813"/>
                    </a:cubicBezTo>
                    <a:cubicBezTo>
                      <a:pt x="2810" y="17478"/>
                      <a:pt x="8193" y="19631"/>
                      <a:pt x="12857" y="17657"/>
                    </a:cubicBezTo>
                    <a:cubicBezTo>
                      <a:pt x="17522" y="15684"/>
                      <a:pt x="19615" y="10241"/>
                      <a:pt x="17582" y="5576"/>
                    </a:cubicBezTo>
                    <a:close/>
                  </a:path>
                </a:pathLst>
              </a:custGeom>
              <a:grpFill/>
              <a:ln w="5978" cap="flat">
                <a:noFill/>
                <a:prstDash val="solid"/>
                <a:miter/>
              </a:ln>
            </p:spPr>
            <p:txBody>
              <a:bodyPr rtlCol="0" anchor="ctr"/>
              <a:lstStyle/>
              <a:p>
                <a:endParaRPr lang="en-GB"/>
              </a:p>
            </p:txBody>
          </p:sp>
        </p:grpSp>
        <p:grpSp>
          <p:nvGrpSpPr>
            <p:cNvPr id="640" name="Graphic 3">
              <a:extLst>
                <a:ext uri="{FF2B5EF4-FFF2-40B4-BE49-F238E27FC236}">
                  <a16:creationId xmlns:a16="http://schemas.microsoft.com/office/drawing/2014/main" id="{E9D495A3-E572-43CF-8A35-B8C078C63D7A}"/>
                </a:ext>
              </a:extLst>
            </p:cNvPr>
            <p:cNvGrpSpPr/>
            <p:nvPr/>
          </p:nvGrpSpPr>
          <p:grpSpPr>
            <a:xfrm>
              <a:off x="6741449" y="4939059"/>
              <a:ext cx="155758" cy="410829"/>
              <a:chOff x="6741449" y="4939059"/>
              <a:chExt cx="155758" cy="410829"/>
            </a:xfrm>
            <a:grpFill/>
          </p:grpSpPr>
          <p:sp>
            <p:nvSpPr>
              <p:cNvPr id="3469" name="Vrije vorm: vorm 3468">
                <a:extLst>
                  <a:ext uri="{FF2B5EF4-FFF2-40B4-BE49-F238E27FC236}">
                    <a16:creationId xmlns:a16="http://schemas.microsoft.com/office/drawing/2014/main" id="{88182E01-6FA0-47A3-A776-D14F2FC590B4}"/>
                  </a:ext>
                </a:extLst>
              </p:cNvPr>
              <p:cNvSpPr/>
              <p:nvPr/>
            </p:nvSpPr>
            <p:spPr>
              <a:xfrm>
                <a:off x="6749304" y="4947142"/>
                <a:ext cx="140632" cy="394267"/>
              </a:xfrm>
              <a:custGeom>
                <a:avLst/>
                <a:gdLst>
                  <a:gd name="connsiteX0" fmla="*/ 0 w 140632"/>
                  <a:gd name="connsiteY0" fmla="*/ 1008 h 394267"/>
                  <a:gd name="connsiteX1" fmla="*/ 2879 w 140632"/>
                  <a:gd name="connsiteY1" fmla="*/ 0 h 394267"/>
                  <a:gd name="connsiteX2" fmla="*/ 140632 w 140632"/>
                  <a:gd name="connsiteY2" fmla="*/ 393260 h 394267"/>
                  <a:gd name="connsiteX3" fmla="*/ 137753 w 140632"/>
                  <a:gd name="connsiteY3" fmla="*/ 394268 h 394267"/>
                </a:gdLst>
                <a:ahLst/>
                <a:cxnLst>
                  <a:cxn ang="0">
                    <a:pos x="connsiteX0" y="connsiteY0"/>
                  </a:cxn>
                  <a:cxn ang="0">
                    <a:pos x="connsiteX1" y="connsiteY1"/>
                  </a:cxn>
                  <a:cxn ang="0">
                    <a:pos x="connsiteX2" y="connsiteY2"/>
                  </a:cxn>
                  <a:cxn ang="0">
                    <a:pos x="connsiteX3" y="connsiteY3"/>
                  </a:cxn>
                </a:cxnLst>
                <a:rect l="l" t="t" r="r" b="b"/>
                <a:pathLst>
                  <a:path w="140632" h="394267">
                    <a:moveTo>
                      <a:pt x="0" y="1008"/>
                    </a:moveTo>
                    <a:lnTo>
                      <a:pt x="2879" y="0"/>
                    </a:lnTo>
                    <a:lnTo>
                      <a:pt x="140632" y="393260"/>
                    </a:lnTo>
                    <a:lnTo>
                      <a:pt x="137753" y="394268"/>
                    </a:lnTo>
                    <a:close/>
                  </a:path>
                </a:pathLst>
              </a:custGeom>
              <a:grpFill/>
              <a:ln w="5978" cap="flat">
                <a:noFill/>
                <a:prstDash val="solid"/>
                <a:miter/>
              </a:ln>
            </p:spPr>
            <p:txBody>
              <a:bodyPr rtlCol="0" anchor="ctr"/>
              <a:lstStyle/>
              <a:p>
                <a:endParaRPr lang="en-GB"/>
              </a:p>
            </p:txBody>
          </p:sp>
          <p:sp>
            <p:nvSpPr>
              <p:cNvPr id="3470" name="Vrije vorm: vorm 3469">
                <a:extLst>
                  <a:ext uri="{FF2B5EF4-FFF2-40B4-BE49-F238E27FC236}">
                    <a16:creationId xmlns:a16="http://schemas.microsoft.com/office/drawing/2014/main" id="{643BDC04-B640-4D7C-925C-D6F1E63ED03B}"/>
                  </a:ext>
                </a:extLst>
              </p:cNvPr>
              <p:cNvSpPr/>
              <p:nvPr/>
            </p:nvSpPr>
            <p:spPr>
              <a:xfrm>
                <a:off x="6741449" y="4939059"/>
                <a:ext cx="18381" cy="18440"/>
              </a:xfrm>
              <a:custGeom>
                <a:avLst/>
                <a:gdLst>
                  <a:gd name="connsiteX0" fmla="*/ 519 w 18381"/>
                  <a:gd name="connsiteY0" fmla="*/ 12240 h 18440"/>
                  <a:gd name="connsiteX1" fmla="*/ 6141 w 18381"/>
                  <a:gd name="connsiteY1" fmla="*/ 518 h 18440"/>
                  <a:gd name="connsiteX2" fmla="*/ 17863 w 18381"/>
                  <a:gd name="connsiteY2" fmla="*/ 6200 h 18440"/>
                  <a:gd name="connsiteX3" fmla="*/ 12241 w 18381"/>
                  <a:gd name="connsiteY3" fmla="*/ 17922 h 18440"/>
                  <a:gd name="connsiteX4" fmla="*/ 519 w 18381"/>
                  <a:gd name="connsiteY4" fmla="*/ 12240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0">
                    <a:moveTo>
                      <a:pt x="519" y="12240"/>
                    </a:moveTo>
                    <a:cubicBezTo>
                      <a:pt x="-1156" y="7456"/>
                      <a:pt x="1356" y="2193"/>
                      <a:pt x="6141" y="518"/>
                    </a:cubicBezTo>
                    <a:cubicBezTo>
                      <a:pt x="10925" y="-1156"/>
                      <a:pt x="16129" y="1355"/>
                      <a:pt x="17863" y="6200"/>
                    </a:cubicBezTo>
                    <a:cubicBezTo>
                      <a:pt x="19538" y="10985"/>
                      <a:pt x="17026" y="16248"/>
                      <a:pt x="12241" y="17922"/>
                    </a:cubicBezTo>
                    <a:cubicBezTo>
                      <a:pt x="7456" y="19597"/>
                      <a:pt x="2193" y="17085"/>
                      <a:pt x="519" y="12240"/>
                    </a:cubicBezTo>
                    <a:close/>
                  </a:path>
                </a:pathLst>
              </a:custGeom>
              <a:grpFill/>
              <a:ln w="5978" cap="flat">
                <a:noFill/>
                <a:prstDash val="solid"/>
                <a:miter/>
              </a:ln>
            </p:spPr>
            <p:txBody>
              <a:bodyPr rtlCol="0" anchor="ctr"/>
              <a:lstStyle/>
              <a:p>
                <a:endParaRPr lang="en-GB"/>
              </a:p>
            </p:txBody>
          </p:sp>
          <p:sp>
            <p:nvSpPr>
              <p:cNvPr id="3471" name="Vrije vorm: vorm 3470">
                <a:extLst>
                  <a:ext uri="{FF2B5EF4-FFF2-40B4-BE49-F238E27FC236}">
                    <a16:creationId xmlns:a16="http://schemas.microsoft.com/office/drawing/2014/main" id="{FEA4CB51-22A8-4E69-8900-A06D64843300}"/>
                  </a:ext>
                </a:extLst>
              </p:cNvPr>
              <p:cNvSpPr/>
              <p:nvPr/>
            </p:nvSpPr>
            <p:spPr>
              <a:xfrm>
                <a:off x="6878886" y="5331461"/>
                <a:ext cx="18321" cy="18428"/>
              </a:xfrm>
              <a:custGeom>
                <a:avLst/>
                <a:gdLst>
                  <a:gd name="connsiteX0" fmla="*/ 519 w 18321"/>
                  <a:gd name="connsiteY0" fmla="*/ 12235 h 18428"/>
                  <a:gd name="connsiteX1" fmla="*/ 12181 w 18321"/>
                  <a:gd name="connsiteY1" fmla="*/ 17916 h 18428"/>
                  <a:gd name="connsiteX2" fmla="*/ 17803 w 18321"/>
                  <a:gd name="connsiteY2" fmla="*/ 6194 h 18428"/>
                  <a:gd name="connsiteX3" fmla="*/ 6141 w 18321"/>
                  <a:gd name="connsiteY3" fmla="*/ 512 h 18428"/>
                  <a:gd name="connsiteX4" fmla="*/ 519 w 18321"/>
                  <a:gd name="connsiteY4" fmla="*/ 1223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519" y="12235"/>
                    </a:moveTo>
                    <a:cubicBezTo>
                      <a:pt x="2193" y="17019"/>
                      <a:pt x="7456" y="19591"/>
                      <a:pt x="12181" y="17916"/>
                    </a:cubicBezTo>
                    <a:cubicBezTo>
                      <a:pt x="16966" y="16241"/>
                      <a:pt x="19477" y="10978"/>
                      <a:pt x="17803" y="6194"/>
                    </a:cubicBezTo>
                    <a:cubicBezTo>
                      <a:pt x="16129" y="1409"/>
                      <a:pt x="10866" y="-1163"/>
                      <a:pt x="6141" y="512"/>
                    </a:cubicBezTo>
                    <a:cubicBezTo>
                      <a:pt x="1356" y="2187"/>
                      <a:pt x="-1156" y="7450"/>
                      <a:pt x="519" y="12235"/>
                    </a:cubicBezTo>
                    <a:close/>
                  </a:path>
                </a:pathLst>
              </a:custGeom>
              <a:grpFill/>
              <a:ln w="5978" cap="flat">
                <a:noFill/>
                <a:prstDash val="solid"/>
                <a:miter/>
              </a:ln>
            </p:spPr>
            <p:txBody>
              <a:bodyPr rtlCol="0" anchor="ctr"/>
              <a:lstStyle/>
              <a:p>
                <a:endParaRPr lang="en-GB"/>
              </a:p>
            </p:txBody>
          </p:sp>
        </p:grpSp>
        <p:grpSp>
          <p:nvGrpSpPr>
            <p:cNvPr id="641" name="Graphic 3">
              <a:extLst>
                <a:ext uri="{FF2B5EF4-FFF2-40B4-BE49-F238E27FC236}">
                  <a16:creationId xmlns:a16="http://schemas.microsoft.com/office/drawing/2014/main" id="{E9C8895F-B892-4329-B12B-FAC12D2D2B06}"/>
                </a:ext>
              </a:extLst>
            </p:cNvPr>
            <p:cNvGrpSpPr/>
            <p:nvPr/>
          </p:nvGrpSpPr>
          <p:grpSpPr>
            <a:xfrm>
              <a:off x="6742244" y="4938764"/>
              <a:ext cx="78058" cy="149838"/>
              <a:chOff x="6742244" y="4938764"/>
              <a:chExt cx="78058" cy="149838"/>
            </a:xfrm>
            <a:grpFill/>
          </p:grpSpPr>
          <p:sp>
            <p:nvSpPr>
              <p:cNvPr id="3466" name="Vrije vorm: vorm 3465">
                <a:extLst>
                  <a:ext uri="{FF2B5EF4-FFF2-40B4-BE49-F238E27FC236}">
                    <a16:creationId xmlns:a16="http://schemas.microsoft.com/office/drawing/2014/main" id="{7F7CBC2A-FCC9-482F-BB7A-CA8FC1EC4E48}"/>
                  </a:ext>
                </a:extLst>
              </p:cNvPr>
              <p:cNvSpPr/>
              <p:nvPr/>
            </p:nvSpPr>
            <p:spPr>
              <a:xfrm>
                <a:off x="6749702" y="4946539"/>
                <a:ext cx="63062" cy="133434"/>
              </a:xfrm>
              <a:custGeom>
                <a:avLst/>
                <a:gdLst>
                  <a:gd name="connsiteX0" fmla="*/ 0 w 63062"/>
                  <a:gd name="connsiteY0" fmla="*/ 1266 h 133434"/>
                  <a:gd name="connsiteX1" fmla="*/ 2775 w 63062"/>
                  <a:gd name="connsiteY1" fmla="*/ 0 h 133434"/>
                  <a:gd name="connsiteX2" fmla="*/ 63063 w 63062"/>
                  <a:gd name="connsiteY2" fmla="*/ 132168 h 133434"/>
                  <a:gd name="connsiteX3" fmla="*/ 60288 w 63062"/>
                  <a:gd name="connsiteY3" fmla="*/ 133434 h 133434"/>
                </a:gdLst>
                <a:ahLst/>
                <a:cxnLst>
                  <a:cxn ang="0">
                    <a:pos x="connsiteX0" y="connsiteY0"/>
                  </a:cxn>
                  <a:cxn ang="0">
                    <a:pos x="connsiteX1" y="connsiteY1"/>
                  </a:cxn>
                  <a:cxn ang="0">
                    <a:pos x="connsiteX2" y="connsiteY2"/>
                  </a:cxn>
                  <a:cxn ang="0">
                    <a:pos x="connsiteX3" y="connsiteY3"/>
                  </a:cxn>
                </a:cxnLst>
                <a:rect l="l" t="t" r="r" b="b"/>
                <a:pathLst>
                  <a:path w="63062" h="133434">
                    <a:moveTo>
                      <a:pt x="0" y="1266"/>
                    </a:moveTo>
                    <a:lnTo>
                      <a:pt x="2775" y="0"/>
                    </a:lnTo>
                    <a:lnTo>
                      <a:pt x="63063" y="132168"/>
                    </a:lnTo>
                    <a:lnTo>
                      <a:pt x="60288" y="133434"/>
                    </a:lnTo>
                    <a:close/>
                  </a:path>
                </a:pathLst>
              </a:custGeom>
              <a:grpFill/>
              <a:ln w="5978" cap="flat">
                <a:noFill/>
                <a:prstDash val="solid"/>
                <a:miter/>
              </a:ln>
            </p:spPr>
            <p:txBody>
              <a:bodyPr rtlCol="0" anchor="ctr"/>
              <a:lstStyle/>
              <a:p>
                <a:endParaRPr lang="en-GB"/>
              </a:p>
            </p:txBody>
          </p:sp>
          <p:sp>
            <p:nvSpPr>
              <p:cNvPr id="3467" name="Vrije vorm: vorm 3466">
                <a:extLst>
                  <a:ext uri="{FF2B5EF4-FFF2-40B4-BE49-F238E27FC236}">
                    <a16:creationId xmlns:a16="http://schemas.microsoft.com/office/drawing/2014/main" id="{39CA643A-8D08-46AB-A291-9EEE27A7A426}"/>
                  </a:ext>
                </a:extLst>
              </p:cNvPr>
              <p:cNvSpPr/>
              <p:nvPr/>
            </p:nvSpPr>
            <p:spPr>
              <a:xfrm>
                <a:off x="6802028" y="5070161"/>
                <a:ext cx="18275" cy="18441"/>
              </a:xfrm>
              <a:custGeom>
                <a:avLst/>
                <a:gdLst>
                  <a:gd name="connsiteX0" fmla="*/ 17450 w 18275"/>
                  <a:gd name="connsiteY0" fmla="*/ 5419 h 18441"/>
                  <a:gd name="connsiteX1" fmla="*/ 12965 w 18275"/>
                  <a:gd name="connsiteY1" fmla="*/ 17619 h 18441"/>
                  <a:gd name="connsiteX2" fmla="*/ 824 w 18275"/>
                  <a:gd name="connsiteY2" fmla="*/ 13014 h 18441"/>
                  <a:gd name="connsiteX3" fmla="*/ 5369 w 18275"/>
                  <a:gd name="connsiteY3" fmla="*/ 813 h 18441"/>
                  <a:gd name="connsiteX4" fmla="*/ 17450 w 18275"/>
                  <a:gd name="connsiteY4" fmla="*/ 541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41">
                    <a:moveTo>
                      <a:pt x="17450" y="5419"/>
                    </a:moveTo>
                    <a:cubicBezTo>
                      <a:pt x="19544" y="10024"/>
                      <a:pt x="17510" y="15526"/>
                      <a:pt x="12965" y="17619"/>
                    </a:cubicBezTo>
                    <a:cubicBezTo>
                      <a:pt x="8360" y="19713"/>
                      <a:pt x="2917" y="17679"/>
                      <a:pt x="824" y="13014"/>
                    </a:cubicBezTo>
                    <a:cubicBezTo>
                      <a:pt x="-1270" y="8349"/>
                      <a:pt x="764" y="2907"/>
                      <a:pt x="5369" y="813"/>
                    </a:cubicBezTo>
                    <a:cubicBezTo>
                      <a:pt x="9915" y="-1280"/>
                      <a:pt x="15357" y="813"/>
                      <a:pt x="17450" y="5419"/>
                    </a:cubicBezTo>
                    <a:close/>
                  </a:path>
                </a:pathLst>
              </a:custGeom>
              <a:grpFill/>
              <a:ln w="5978" cap="flat">
                <a:noFill/>
                <a:prstDash val="solid"/>
                <a:miter/>
              </a:ln>
            </p:spPr>
            <p:txBody>
              <a:bodyPr rtlCol="0" anchor="ctr"/>
              <a:lstStyle/>
              <a:p>
                <a:endParaRPr lang="en-GB"/>
              </a:p>
            </p:txBody>
          </p:sp>
          <p:sp>
            <p:nvSpPr>
              <p:cNvPr id="3468" name="Vrije vorm: vorm 3467">
                <a:extLst>
                  <a:ext uri="{FF2B5EF4-FFF2-40B4-BE49-F238E27FC236}">
                    <a16:creationId xmlns:a16="http://schemas.microsoft.com/office/drawing/2014/main" id="{A095F0D5-1240-42A1-9C9E-0F92702757F4}"/>
                  </a:ext>
                </a:extLst>
              </p:cNvPr>
              <p:cNvSpPr/>
              <p:nvPr/>
            </p:nvSpPr>
            <p:spPr>
              <a:xfrm>
                <a:off x="6742244" y="4938764"/>
                <a:ext cx="18311" cy="18432"/>
              </a:xfrm>
              <a:custGeom>
                <a:avLst/>
                <a:gdLst>
                  <a:gd name="connsiteX0" fmla="*/ 17487 w 18311"/>
                  <a:gd name="connsiteY0" fmla="*/ 5418 h 18432"/>
                  <a:gd name="connsiteX1" fmla="*/ 5346 w 18311"/>
                  <a:gd name="connsiteY1" fmla="*/ 813 h 18432"/>
                  <a:gd name="connsiteX2" fmla="*/ 860 w 18311"/>
                  <a:gd name="connsiteY2" fmla="*/ 13014 h 18432"/>
                  <a:gd name="connsiteX3" fmla="*/ 13001 w 18311"/>
                  <a:gd name="connsiteY3" fmla="*/ 17619 h 18432"/>
                  <a:gd name="connsiteX4" fmla="*/ 17487 w 18311"/>
                  <a:gd name="connsiteY4" fmla="*/ 5418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2">
                    <a:moveTo>
                      <a:pt x="17487" y="5418"/>
                    </a:moveTo>
                    <a:cubicBezTo>
                      <a:pt x="15393" y="813"/>
                      <a:pt x="9951" y="-1280"/>
                      <a:pt x="5346" y="813"/>
                    </a:cubicBezTo>
                    <a:cubicBezTo>
                      <a:pt x="741" y="2907"/>
                      <a:pt x="-1293" y="8349"/>
                      <a:pt x="860" y="13014"/>
                    </a:cubicBezTo>
                    <a:cubicBezTo>
                      <a:pt x="2953" y="17619"/>
                      <a:pt x="8396" y="19712"/>
                      <a:pt x="13001" y="17619"/>
                    </a:cubicBezTo>
                    <a:cubicBezTo>
                      <a:pt x="17546" y="15526"/>
                      <a:pt x="19580" y="10083"/>
                      <a:pt x="17487" y="5418"/>
                    </a:cubicBezTo>
                    <a:close/>
                  </a:path>
                </a:pathLst>
              </a:custGeom>
              <a:grpFill/>
              <a:ln w="5978" cap="flat">
                <a:noFill/>
                <a:prstDash val="solid"/>
                <a:miter/>
              </a:ln>
            </p:spPr>
            <p:txBody>
              <a:bodyPr rtlCol="0" anchor="ctr"/>
              <a:lstStyle/>
              <a:p>
                <a:endParaRPr lang="en-GB"/>
              </a:p>
            </p:txBody>
          </p:sp>
        </p:grpSp>
        <p:grpSp>
          <p:nvGrpSpPr>
            <p:cNvPr id="642" name="Graphic 3">
              <a:extLst>
                <a:ext uri="{FF2B5EF4-FFF2-40B4-BE49-F238E27FC236}">
                  <a16:creationId xmlns:a16="http://schemas.microsoft.com/office/drawing/2014/main" id="{CA1C3AE0-7B7C-4F83-BE5C-EDB4DB62F317}"/>
                </a:ext>
              </a:extLst>
            </p:cNvPr>
            <p:cNvGrpSpPr/>
            <p:nvPr/>
          </p:nvGrpSpPr>
          <p:grpSpPr>
            <a:xfrm>
              <a:off x="6777494" y="5098795"/>
              <a:ext cx="73970" cy="146924"/>
              <a:chOff x="6777494" y="5098795"/>
              <a:chExt cx="73970" cy="146924"/>
            </a:xfrm>
            <a:grpFill/>
          </p:grpSpPr>
          <p:sp>
            <p:nvSpPr>
              <p:cNvPr id="3463" name="Vrije vorm: vorm 3462">
                <a:extLst>
                  <a:ext uri="{FF2B5EF4-FFF2-40B4-BE49-F238E27FC236}">
                    <a16:creationId xmlns:a16="http://schemas.microsoft.com/office/drawing/2014/main" id="{E9547273-E1C1-47B4-947B-7A282FC7CD2C}"/>
                  </a:ext>
                </a:extLst>
              </p:cNvPr>
              <p:cNvSpPr/>
              <p:nvPr/>
            </p:nvSpPr>
            <p:spPr>
              <a:xfrm>
                <a:off x="6785089" y="5106978"/>
                <a:ext cx="58790" cy="130559"/>
              </a:xfrm>
              <a:custGeom>
                <a:avLst/>
                <a:gdLst>
                  <a:gd name="connsiteX0" fmla="*/ 58791 w 58790"/>
                  <a:gd name="connsiteY0" fmla="*/ 129363 h 130559"/>
                  <a:gd name="connsiteX1" fmla="*/ 55980 w 58790"/>
                  <a:gd name="connsiteY1" fmla="*/ 130559 h 130559"/>
                  <a:gd name="connsiteX2" fmla="*/ 0 w 58790"/>
                  <a:gd name="connsiteY2" fmla="*/ 1196 h 130559"/>
                  <a:gd name="connsiteX3" fmla="*/ 2811 w 58790"/>
                  <a:gd name="connsiteY3" fmla="*/ 0 h 130559"/>
                </a:gdLst>
                <a:ahLst/>
                <a:cxnLst>
                  <a:cxn ang="0">
                    <a:pos x="connsiteX0" y="connsiteY0"/>
                  </a:cxn>
                  <a:cxn ang="0">
                    <a:pos x="connsiteX1" y="connsiteY1"/>
                  </a:cxn>
                  <a:cxn ang="0">
                    <a:pos x="connsiteX2" y="connsiteY2"/>
                  </a:cxn>
                  <a:cxn ang="0">
                    <a:pos x="connsiteX3" y="connsiteY3"/>
                  </a:cxn>
                </a:cxnLst>
                <a:rect l="l" t="t" r="r" b="b"/>
                <a:pathLst>
                  <a:path w="58790" h="130559">
                    <a:moveTo>
                      <a:pt x="58791" y="129363"/>
                    </a:moveTo>
                    <a:lnTo>
                      <a:pt x="55980" y="130559"/>
                    </a:lnTo>
                    <a:lnTo>
                      <a:pt x="0" y="1196"/>
                    </a:lnTo>
                    <a:lnTo>
                      <a:pt x="2811" y="0"/>
                    </a:lnTo>
                    <a:close/>
                  </a:path>
                </a:pathLst>
              </a:custGeom>
              <a:grpFill/>
              <a:ln w="5978" cap="flat">
                <a:noFill/>
                <a:prstDash val="solid"/>
                <a:miter/>
              </a:ln>
            </p:spPr>
            <p:txBody>
              <a:bodyPr rtlCol="0" anchor="ctr"/>
              <a:lstStyle/>
              <a:p>
                <a:endParaRPr lang="en-GB"/>
              </a:p>
            </p:txBody>
          </p:sp>
          <p:sp>
            <p:nvSpPr>
              <p:cNvPr id="3464" name="Vrije vorm: vorm 3463">
                <a:extLst>
                  <a:ext uri="{FF2B5EF4-FFF2-40B4-BE49-F238E27FC236}">
                    <a16:creationId xmlns:a16="http://schemas.microsoft.com/office/drawing/2014/main" id="{AEDCFD5B-CC92-42AF-B559-9F44DB702400}"/>
                  </a:ext>
                </a:extLst>
              </p:cNvPr>
              <p:cNvSpPr/>
              <p:nvPr/>
            </p:nvSpPr>
            <p:spPr>
              <a:xfrm>
                <a:off x="6833124" y="5227321"/>
                <a:ext cx="18341" cy="18398"/>
              </a:xfrm>
              <a:custGeom>
                <a:avLst/>
                <a:gdLst>
                  <a:gd name="connsiteX0" fmla="*/ 17574 w 18341"/>
                  <a:gd name="connsiteY0" fmla="*/ 5551 h 18398"/>
                  <a:gd name="connsiteX1" fmla="*/ 12849 w 18341"/>
                  <a:gd name="connsiteY1" fmla="*/ 17632 h 18398"/>
                  <a:gd name="connsiteX2" fmla="*/ 768 w 18341"/>
                  <a:gd name="connsiteY2" fmla="*/ 12848 h 18398"/>
                  <a:gd name="connsiteX3" fmla="*/ 5493 w 18341"/>
                  <a:gd name="connsiteY3" fmla="*/ 767 h 18398"/>
                  <a:gd name="connsiteX4" fmla="*/ 17574 w 18341"/>
                  <a:gd name="connsiteY4" fmla="*/ 555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8">
                    <a:moveTo>
                      <a:pt x="17574" y="5551"/>
                    </a:moveTo>
                    <a:cubicBezTo>
                      <a:pt x="19607" y="10216"/>
                      <a:pt x="17454" y="15659"/>
                      <a:pt x="12849" y="17632"/>
                    </a:cubicBezTo>
                    <a:cubicBezTo>
                      <a:pt x="8184" y="19666"/>
                      <a:pt x="2802" y="17513"/>
                      <a:pt x="768" y="12848"/>
                    </a:cubicBezTo>
                    <a:cubicBezTo>
                      <a:pt x="-1266" y="8183"/>
                      <a:pt x="887" y="2740"/>
                      <a:pt x="5493" y="767"/>
                    </a:cubicBezTo>
                    <a:cubicBezTo>
                      <a:pt x="10158" y="-1267"/>
                      <a:pt x="15541" y="886"/>
                      <a:pt x="17574" y="5551"/>
                    </a:cubicBezTo>
                    <a:close/>
                  </a:path>
                </a:pathLst>
              </a:custGeom>
              <a:grpFill/>
              <a:ln w="5978" cap="flat">
                <a:noFill/>
                <a:prstDash val="solid"/>
                <a:miter/>
              </a:ln>
            </p:spPr>
            <p:txBody>
              <a:bodyPr rtlCol="0" anchor="ctr"/>
              <a:lstStyle/>
              <a:p>
                <a:endParaRPr lang="en-GB"/>
              </a:p>
            </p:txBody>
          </p:sp>
          <p:sp>
            <p:nvSpPr>
              <p:cNvPr id="3465" name="Vrije vorm: vorm 3464">
                <a:extLst>
                  <a:ext uri="{FF2B5EF4-FFF2-40B4-BE49-F238E27FC236}">
                    <a16:creationId xmlns:a16="http://schemas.microsoft.com/office/drawing/2014/main" id="{86FFD20B-7B00-49D9-B609-57462D5CC729}"/>
                  </a:ext>
                </a:extLst>
              </p:cNvPr>
              <p:cNvSpPr/>
              <p:nvPr/>
            </p:nvSpPr>
            <p:spPr>
              <a:xfrm>
                <a:off x="6777494" y="5098795"/>
                <a:ext cx="18350" cy="18399"/>
              </a:xfrm>
              <a:custGeom>
                <a:avLst/>
                <a:gdLst>
                  <a:gd name="connsiteX0" fmla="*/ 17582 w 18350"/>
                  <a:gd name="connsiteY0" fmla="*/ 5551 h 18399"/>
                  <a:gd name="connsiteX1" fmla="*/ 5501 w 18350"/>
                  <a:gd name="connsiteY1" fmla="*/ 767 h 18399"/>
                  <a:gd name="connsiteX2" fmla="*/ 777 w 18350"/>
                  <a:gd name="connsiteY2" fmla="*/ 12848 h 18399"/>
                  <a:gd name="connsiteX3" fmla="*/ 12857 w 18350"/>
                  <a:gd name="connsiteY3" fmla="*/ 17632 h 18399"/>
                  <a:gd name="connsiteX4" fmla="*/ 17582 w 18350"/>
                  <a:gd name="connsiteY4" fmla="*/ 5551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99">
                    <a:moveTo>
                      <a:pt x="17582" y="5551"/>
                    </a:moveTo>
                    <a:cubicBezTo>
                      <a:pt x="15549" y="886"/>
                      <a:pt x="10166" y="-1267"/>
                      <a:pt x="5501" y="767"/>
                    </a:cubicBezTo>
                    <a:cubicBezTo>
                      <a:pt x="836" y="2800"/>
                      <a:pt x="-1257" y="8183"/>
                      <a:pt x="777" y="12848"/>
                    </a:cubicBezTo>
                    <a:cubicBezTo>
                      <a:pt x="2810" y="17513"/>
                      <a:pt x="8193" y="19666"/>
                      <a:pt x="12857" y="17632"/>
                    </a:cubicBezTo>
                    <a:cubicBezTo>
                      <a:pt x="17463" y="15659"/>
                      <a:pt x="19616" y="10216"/>
                      <a:pt x="17582" y="5551"/>
                    </a:cubicBezTo>
                    <a:close/>
                  </a:path>
                </a:pathLst>
              </a:custGeom>
              <a:grpFill/>
              <a:ln w="5978" cap="flat">
                <a:noFill/>
                <a:prstDash val="solid"/>
                <a:miter/>
              </a:ln>
            </p:spPr>
            <p:txBody>
              <a:bodyPr rtlCol="0" anchor="ctr"/>
              <a:lstStyle/>
              <a:p>
                <a:endParaRPr lang="en-GB"/>
              </a:p>
            </p:txBody>
          </p:sp>
        </p:grpSp>
        <p:grpSp>
          <p:nvGrpSpPr>
            <p:cNvPr id="643" name="Graphic 3">
              <a:extLst>
                <a:ext uri="{FF2B5EF4-FFF2-40B4-BE49-F238E27FC236}">
                  <a16:creationId xmlns:a16="http://schemas.microsoft.com/office/drawing/2014/main" id="{D1E86635-6092-407D-8F62-2166FB4ECBFF}"/>
                </a:ext>
              </a:extLst>
            </p:cNvPr>
            <p:cNvGrpSpPr/>
            <p:nvPr/>
          </p:nvGrpSpPr>
          <p:grpSpPr>
            <a:xfrm>
              <a:off x="5575587" y="1419985"/>
              <a:ext cx="91344" cy="326842"/>
              <a:chOff x="5575587" y="1419985"/>
              <a:chExt cx="91344" cy="326842"/>
            </a:xfrm>
            <a:grpFill/>
          </p:grpSpPr>
          <p:sp>
            <p:nvSpPr>
              <p:cNvPr id="3460" name="Vrije vorm: vorm 3459">
                <a:extLst>
                  <a:ext uri="{FF2B5EF4-FFF2-40B4-BE49-F238E27FC236}">
                    <a16:creationId xmlns:a16="http://schemas.microsoft.com/office/drawing/2014/main" id="{BCBF8699-E2F0-450F-A4DE-2FF57861A9EB}"/>
                  </a:ext>
                </a:extLst>
              </p:cNvPr>
              <p:cNvSpPr/>
              <p:nvPr/>
            </p:nvSpPr>
            <p:spPr>
              <a:xfrm>
                <a:off x="5583203" y="1428416"/>
                <a:ext cx="76134" cy="309980"/>
              </a:xfrm>
              <a:custGeom>
                <a:avLst/>
                <a:gdLst>
                  <a:gd name="connsiteX0" fmla="*/ 2930 w 76134"/>
                  <a:gd name="connsiteY0" fmla="*/ 0 h 309980"/>
                  <a:gd name="connsiteX1" fmla="*/ 76134 w 76134"/>
                  <a:gd name="connsiteY1" fmla="*/ 309263 h 309980"/>
                  <a:gd name="connsiteX2" fmla="*/ 73144 w 76134"/>
                  <a:gd name="connsiteY2" fmla="*/ 309981 h 309980"/>
                  <a:gd name="connsiteX3" fmla="*/ 0 w 76134"/>
                  <a:gd name="connsiteY3" fmla="*/ 718 h 309980"/>
                </a:gdLst>
                <a:ahLst/>
                <a:cxnLst>
                  <a:cxn ang="0">
                    <a:pos x="connsiteX0" y="connsiteY0"/>
                  </a:cxn>
                  <a:cxn ang="0">
                    <a:pos x="connsiteX1" y="connsiteY1"/>
                  </a:cxn>
                  <a:cxn ang="0">
                    <a:pos x="connsiteX2" y="connsiteY2"/>
                  </a:cxn>
                  <a:cxn ang="0">
                    <a:pos x="connsiteX3" y="connsiteY3"/>
                  </a:cxn>
                </a:cxnLst>
                <a:rect l="l" t="t" r="r" b="b"/>
                <a:pathLst>
                  <a:path w="76134" h="309980">
                    <a:moveTo>
                      <a:pt x="2930" y="0"/>
                    </a:moveTo>
                    <a:lnTo>
                      <a:pt x="76134" y="309263"/>
                    </a:lnTo>
                    <a:lnTo>
                      <a:pt x="73144" y="309981"/>
                    </a:lnTo>
                    <a:lnTo>
                      <a:pt x="0" y="718"/>
                    </a:lnTo>
                    <a:close/>
                  </a:path>
                </a:pathLst>
              </a:custGeom>
              <a:grpFill/>
              <a:ln w="5978" cap="flat">
                <a:noFill/>
                <a:prstDash val="solid"/>
                <a:miter/>
              </a:ln>
            </p:spPr>
            <p:txBody>
              <a:bodyPr rtlCol="0" anchor="ctr"/>
              <a:lstStyle/>
              <a:p>
                <a:endParaRPr lang="en-GB"/>
              </a:p>
            </p:txBody>
          </p:sp>
          <p:sp>
            <p:nvSpPr>
              <p:cNvPr id="3461" name="Vrije vorm: vorm 3460">
                <a:extLst>
                  <a:ext uri="{FF2B5EF4-FFF2-40B4-BE49-F238E27FC236}">
                    <a16:creationId xmlns:a16="http://schemas.microsoft.com/office/drawing/2014/main" id="{A8190144-D236-4F55-B708-02EFD3C57021}"/>
                  </a:ext>
                </a:extLst>
              </p:cNvPr>
              <p:cNvSpPr/>
              <p:nvPr/>
            </p:nvSpPr>
            <p:spPr>
              <a:xfrm>
                <a:off x="5575587" y="1419985"/>
                <a:ext cx="18401" cy="18435"/>
              </a:xfrm>
              <a:custGeom>
                <a:avLst/>
                <a:gdLst>
                  <a:gd name="connsiteX0" fmla="*/ 260 w 18401"/>
                  <a:gd name="connsiteY0" fmla="*/ 11302 h 18435"/>
                  <a:gd name="connsiteX1" fmla="*/ 7078 w 18401"/>
                  <a:gd name="connsiteY1" fmla="*/ 237 h 18435"/>
                  <a:gd name="connsiteX2" fmla="*/ 18142 w 18401"/>
                  <a:gd name="connsiteY2" fmla="*/ 7115 h 18435"/>
                  <a:gd name="connsiteX3" fmla="*/ 11324 w 18401"/>
                  <a:gd name="connsiteY3" fmla="*/ 18180 h 18435"/>
                  <a:gd name="connsiteX4" fmla="*/ 260 w 18401"/>
                  <a:gd name="connsiteY4" fmla="*/ 1130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35">
                    <a:moveTo>
                      <a:pt x="260" y="11302"/>
                    </a:moveTo>
                    <a:cubicBezTo>
                      <a:pt x="-936" y="6338"/>
                      <a:pt x="2114" y="1374"/>
                      <a:pt x="7078" y="237"/>
                    </a:cubicBezTo>
                    <a:cubicBezTo>
                      <a:pt x="11982" y="-899"/>
                      <a:pt x="16946" y="2151"/>
                      <a:pt x="18142" y="7115"/>
                    </a:cubicBezTo>
                    <a:cubicBezTo>
                      <a:pt x="19338" y="12079"/>
                      <a:pt x="16288" y="17043"/>
                      <a:pt x="11324" y="18180"/>
                    </a:cubicBezTo>
                    <a:cubicBezTo>
                      <a:pt x="6360" y="19376"/>
                      <a:pt x="1456" y="16266"/>
                      <a:pt x="260" y="11302"/>
                    </a:cubicBezTo>
                    <a:close/>
                  </a:path>
                </a:pathLst>
              </a:custGeom>
              <a:grpFill/>
              <a:ln w="5978" cap="flat">
                <a:noFill/>
                <a:prstDash val="solid"/>
                <a:miter/>
              </a:ln>
            </p:spPr>
            <p:txBody>
              <a:bodyPr rtlCol="0" anchor="ctr"/>
              <a:lstStyle/>
              <a:p>
                <a:endParaRPr lang="en-GB"/>
              </a:p>
            </p:txBody>
          </p:sp>
          <p:sp>
            <p:nvSpPr>
              <p:cNvPr id="3462" name="Vrije vorm: vorm 3461">
                <a:extLst>
                  <a:ext uri="{FF2B5EF4-FFF2-40B4-BE49-F238E27FC236}">
                    <a16:creationId xmlns:a16="http://schemas.microsoft.com/office/drawing/2014/main" id="{9149EC6B-1519-423C-8E87-5CCD1854C872}"/>
                  </a:ext>
                </a:extLst>
              </p:cNvPr>
              <p:cNvSpPr/>
              <p:nvPr/>
            </p:nvSpPr>
            <p:spPr>
              <a:xfrm>
                <a:off x="5648571" y="1728411"/>
                <a:ext cx="18360" cy="18416"/>
              </a:xfrm>
              <a:custGeom>
                <a:avLst/>
                <a:gdLst>
                  <a:gd name="connsiteX0" fmla="*/ 241 w 18360"/>
                  <a:gd name="connsiteY0" fmla="*/ 11302 h 18416"/>
                  <a:gd name="connsiteX1" fmla="*/ 11305 w 18360"/>
                  <a:gd name="connsiteY1" fmla="*/ 18180 h 18416"/>
                  <a:gd name="connsiteX2" fmla="*/ 18123 w 18360"/>
                  <a:gd name="connsiteY2" fmla="*/ 7115 h 18416"/>
                  <a:gd name="connsiteX3" fmla="*/ 7059 w 18360"/>
                  <a:gd name="connsiteY3" fmla="*/ 237 h 18416"/>
                  <a:gd name="connsiteX4" fmla="*/ 241 w 18360"/>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6">
                    <a:moveTo>
                      <a:pt x="241" y="11302"/>
                    </a:moveTo>
                    <a:cubicBezTo>
                      <a:pt x="1437" y="16266"/>
                      <a:pt x="6341" y="19316"/>
                      <a:pt x="11305" y="18180"/>
                    </a:cubicBezTo>
                    <a:cubicBezTo>
                      <a:pt x="16209" y="17043"/>
                      <a:pt x="19259" y="12079"/>
                      <a:pt x="18123" y="7115"/>
                    </a:cubicBezTo>
                    <a:cubicBezTo>
                      <a:pt x="16927" y="2151"/>
                      <a:pt x="12023" y="-899"/>
                      <a:pt x="7059" y="237"/>
                    </a:cubicBezTo>
                    <a:cubicBezTo>
                      <a:pt x="2095" y="1374"/>
                      <a:pt x="-896" y="6338"/>
                      <a:pt x="241" y="11302"/>
                    </a:cubicBezTo>
                    <a:close/>
                  </a:path>
                </a:pathLst>
              </a:custGeom>
              <a:grpFill/>
              <a:ln w="5978" cap="flat">
                <a:noFill/>
                <a:prstDash val="solid"/>
                <a:miter/>
              </a:ln>
            </p:spPr>
            <p:txBody>
              <a:bodyPr rtlCol="0" anchor="ctr"/>
              <a:lstStyle/>
              <a:p>
                <a:endParaRPr lang="en-GB"/>
              </a:p>
            </p:txBody>
          </p:sp>
        </p:grpSp>
        <p:grpSp>
          <p:nvGrpSpPr>
            <p:cNvPr id="644" name="Graphic 3">
              <a:extLst>
                <a:ext uri="{FF2B5EF4-FFF2-40B4-BE49-F238E27FC236}">
                  <a16:creationId xmlns:a16="http://schemas.microsoft.com/office/drawing/2014/main" id="{3CDD8B13-C956-47DC-B9C5-9F04B233EC0A}"/>
                </a:ext>
              </a:extLst>
            </p:cNvPr>
            <p:cNvGrpSpPr/>
            <p:nvPr/>
          </p:nvGrpSpPr>
          <p:grpSpPr>
            <a:xfrm>
              <a:off x="5509971" y="1144663"/>
              <a:ext cx="132068" cy="631440"/>
              <a:chOff x="5509971" y="1144663"/>
              <a:chExt cx="132068" cy="631440"/>
            </a:xfrm>
            <a:grpFill/>
          </p:grpSpPr>
          <p:sp>
            <p:nvSpPr>
              <p:cNvPr id="3457" name="Vrije vorm: vorm 3456">
                <a:extLst>
                  <a:ext uri="{FF2B5EF4-FFF2-40B4-BE49-F238E27FC236}">
                    <a16:creationId xmlns:a16="http://schemas.microsoft.com/office/drawing/2014/main" id="{F3058796-97F8-47B0-9F53-A844426849A7}"/>
                  </a:ext>
                </a:extLst>
              </p:cNvPr>
              <p:cNvSpPr/>
              <p:nvPr/>
            </p:nvSpPr>
            <p:spPr>
              <a:xfrm>
                <a:off x="5517594" y="1153123"/>
                <a:ext cx="116863" cy="614519"/>
              </a:xfrm>
              <a:custGeom>
                <a:avLst/>
                <a:gdLst>
                  <a:gd name="connsiteX0" fmla="*/ 2990 w 116863"/>
                  <a:gd name="connsiteY0" fmla="*/ 0 h 614519"/>
                  <a:gd name="connsiteX1" fmla="*/ 116864 w 116863"/>
                  <a:gd name="connsiteY1" fmla="*/ 613981 h 614519"/>
                  <a:gd name="connsiteX2" fmla="*/ 113873 w 116863"/>
                  <a:gd name="connsiteY2" fmla="*/ 614519 h 614519"/>
                  <a:gd name="connsiteX3" fmla="*/ 0 w 116863"/>
                  <a:gd name="connsiteY3" fmla="*/ 538 h 614519"/>
                </a:gdLst>
                <a:ahLst/>
                <a:cxnLst>
                  <a:cxn ang="0">
                    <a:pos x="connsiteX0" y="connsiteY0"/>
                  </a:cxn>
                  <a:cxn ang="0">
                    <a:pos x="connsiteX1" y="connsiteY1"/>
                  </a:cxn>
                  <a:cxn ang="0">
                    <a:pos x="connsiteX2" y="connsiteY2"/>
                  </a:cxn>
                  <a:cxn ang="0">
                    <a:pos x="connsiteX3" y="connsiteY3"/>
                  </a:cxn>
                </a:cxnLst>
                <a:rect l="l" t="t" r="r" b="b"/>
                <a:pathLst>
                  <a:path w="116863" h="614519">
                    <a:moveTo>
                      <a:pt x="2990" y="0"/>
                    </a:moveTo>
                    <a:lnTo>
                      <a:pt x="116864" y="613981"/>
                    </a:lnTo>
                    <a:lnTo>
                      <a:pt x="113873" y="614519"/>
                    </a:lnTo>
                    <a:lnTo>
                      <a:pt x="0" y="538"/>
                    </a:lnTo>
                    <a:close/>
                  </a:path>
                </a:pathLst>
              </a:custGeom>
              <a:grpFill/>
              <a:ln w="5978" cap="flat">
                <a:noFill/>
                <a:prstDash val="solid"/>
                <a:miter/>
              </a:ln>
            </p:spPr>
            <p:txBody>
              <a:bodyPr rtlCol="0" anchor="ctr"/>
              <a:lstStyle/>
              <a:p>
                <a:endParaRPr lang="en-GB"/>
              </a:p>
            </p:txBody>
          </p:sp>
          <p:sp>
            <p:nvSpPr>
              <p:cNvPr id="3458" name="Vrije vorm: vorm 3457">
                <a:extLst>
                  <a:ext uri="{FF2B5EF4-FFF2-40B4-BE49-F238E27FC236}">
                    <a16:creationId xmlns:a16="http://schemas.microsoft.com/office/drawing/2014/main" id="{3F24070B-E4D0-4035-BFE8-09324A501F3C}"/>
                  </a:ext>
                </a:extLst>
              </p:cNvPr>
              <p:cNvSpPr/>
              <p:nvPr/>
            </p:nvSpPr>
            <p:spPr>
              <a:xfrm>
                <a:off x="5623646" y="1757689"/>
                <a:ext cx="18392" cy="18414"/>
              </a:xfrm>
              <a:custGeom>
                <a:avLst/>
                <a:gdLst>
                  <a:gd name="connsiteX0" fmla="*/ 18227 w 18392"/>
                  <a:gd name="connsiteY0" fmla="*/ 7561 h 18414"/>
                  <a:gd name="connsiteX1" fmla="*/ 10871 w 18392"/>
                  <a:gd name="connsiteY1" fmla="*/ 18267 h 18414"/>
                  <a:gd name="connsiteX2" fmla="*/ 165 w 18392"/>
                  <a:gd name="connsiteY2" fmla="*/ 10851 h 18414"/>
                  <a:gd name="connsiteX3" fmla="*/ 7522 w 18392"/>
                  <a:gd name="connsiteY3" fmla="*/ 145 h 18414"/>
                  <a:gd name="connsiteX4" fmla="*/ 18227 w 18392"/>
                  <a:gd name="connsiteY4" fmla="*/ 7561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14">
                    <a:moveTo>
                      <a:pt x="18227" y="7561"/>
                    </a:moveTo>
                    <a:cubicBezTo>
                      <a:pt x="19184" y="12585"/>
                      <a:pt x="15895" y="17370"/>
                      <a:pt x="10871" y="18267"/>
                    </a:cubicBezTo>
                    <a:cubicBezTo>
                      <a:pt x="5907" y="19164"/>
                      <a:pt x="1123" y="15875"/>
                      <a:pt x="165" y="10851"/>
                    </a:cubicBezTo>
                    <a:cubicBezTo>
                      <a:pt x="-791" y="5827"/>
                      <a:pt x="2498" y="1043"/>
                      <a:pt x="7522" y="145"/>
                    </a:cubicBezTo>
                    <a:cubicBezTo>
                      <a:pt x="12546" y="-752"/>
                      <a:pt x="17330" y="2597"/>
                      <a:pt x="18227" y="7561"/>
                    </a:cubicBezTo>
                    <a:close/>
                  </a:path>
                </a:pathLst>
              </a:custGeom>
              <a:grpFill/>
              <a:ln w="5978" cap="flat">
                <a:noFill/>
                <a:prstDash val="solid"/>
                <a:miter/>
              </a:ln>
            </p:spPr>
            <p:txBody>
              <a:bodyPr rtlCol="0" anchor="ctr"/>
              <a:lstStyle/>
              <a:p>
                <a:endParaRPr lang="en-GB"/>
              </a:p>
            </p:txBody>
          </p:sp>
          <p:sp>
            <p:nvSpPr>
              <p:cNvPr id="3459" name="Vrije vorm: vorm 3458">
                <a:extLst>
                  <a:ext uri="{FF2B5EF4-FFF2-40B4-BE49-F238E27FC236}">
                    <a16:creationId xmlns:a16="http://schemas.microsoft.com/office/drawing/2014/main" id="{D319F4A2-C207-4C08-ADC9-3FF124B7E5BF}"/>
                  </a:ext>
                </a:extLst>
              </p:cNvPr>
              <p:cNvSpPr/>
              <p:nvPr/>
            </p:nvSpPr>
            <p:spPr>
              <a:xfrm>
                <a:off x="5509971" y="1144663"/>
                <a:ext cx="18356" cy="18416"/>
              </a:xfrm>
              <a:custGeom>
                <a:avLst/>
                <a:gdLst>
                  <a:gd name="connsiteX0" fmla="*/ 18209 w 18356"/>
                  <a:gd name="connsiteY0" fmla="*/ 7563 h 18416"/>
                  <a:gd name="connsiteX1" fmla="*/ 7504 w 18356"/>
                  <a:gd name="connsiteY1" fmla="*/ 147 h 18416"/>
                  <a:gd name="connsiteX2" fmla="*/ 147 w 18356"/>
                  <a:gd name="connsiteY2" fmla="*/ 10853 h 18416"/>
                  <a:gd name="connsiteX3" fmla="*/ 10853 w 18356"/>
                  <a:gd name="connsiteY3" fmla="*/ 18269 h 18416"/>
                  <a:gd name="connsiteX4" fmla="*/ 18209 w 18356"/>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6">
                    <a:moveTo>
                      <a:pt x="18209" y="7563"/>
                    </a:moveTo>
                    <a:cubicBezTo>
                      <a:pt x="17252" y="2540"/>
                      <a:pt x="12468" y="-750"/>
                      <a:pt x="7504" y="147"/>
                    </a:cubicBezTo>
                    <a:cubicBezTo>
                      <a:pt x="2540" y="1044"/>
                      <a:pt x="-750" y="5889"/>
                      <a:pt x="147" y="10853"/>
                    </a:cubicBezTo>
                    <a:cubicBezTo>
                      <a:pt x="1045" y="15877"/>
                      <a:pt x="5889" y="19166"/>
                      <a:pt x="10853" y="18269"/>
                    </a:cubicBezTo>
                    <a:cubicBezTo>
                      <a:pt x="15817" y="17372"/>
                      <a:pt x="19107" y="12527"/>
                      <a:pt x="18209" y="7563"/>
                    </a:cubicBezTo>
                    <a:close/>
                  </a:path>
                </a:pathLst>
              </a:custGeom>
              <a:grpFill/>
              <a:ln w="5978" cap="flat">
                <a:noFill/>
                <a:prstDash val="solid"/>
                <a:miter/>
              </a:ln>
            </p:spPr>
            <p:txBody>
              <a:bodyPr rtlCol="0" anchor="ctr"/>
              <a:lstStyle/>
              <a:p>
                <a:endParaRPr lang="en-GB"/>
              </a:p>
            </p:txBody>
          </p:sp>
        </p:grpSp>
        <p:grpSp>
          <p:nvGrpSpPr>
            <p:cNvPr id="645" name="Graphic 3">
              <a:extLst>
                <a:ext uri="{FF2B5EF4-FFF2-40B4-BE49-F238E27FC236}">
                  <a16:creationId xmlns:a16="http://schemas.microsoft.com/office/drawing/2014/main" id="{14F8A1C3-42E6-4767-9AB2-D39137A11572}"/>
                </a:ext>
              </a:extLst>
            </p:cNvPr>
            <p:cNvGrpSpPr/>
            <p:nvPr/>
          </p:nvGrpSpPr>
          <p:grpSpPr>
            <a:xfrm>
              <a:off x="5481001" y="1203434"/>
              <a:ext cx="29946" cy="63610"/>
              <a:chOff x="5481001" y="1203434"/>
              <a:chExt cx="29946" cy="63610"/>
            </a:xfrm>
            <a:grpFill/>
          </p:grpSpPr>
          <p:sp>
            <p:nvSpPr>
              <p:cNvPr id="3454" name="Vrije vorm: vorm 3453">
                <a:extLst>
                  <a:ext uri="{FF2B5EF4-FFF2-40B4-BE49-F238E27FC236}">
                    <a16:creationId xmlns:a16="http://schemas.microsoft.com/office/drawing/2014/main" id="{1120B2EB-DCE8-48A7-A814-857E7AEB43A3}"/>
                  </a:ext>
                </a:extLst>
              </p:cNvPr>
              <p:cNvSpPr/>
              <p:nvPr/>
            </p:nvSpPr>
            <p:spPr>
              <a:xfrm>
                <a:off x="5488644" y="1211642"/>
                <a:ext cx="14775" cy="46873"/>
              </a:xfrm>
              <a:custGeom>
                <a:avLst/>
                <a:gdLst>
                  <a:gd name="connsiteX0" fmla="*/ 0 w 14775"/>
                  <a:gd name="connsiteY0" fmla="*/ 757 h 46873"/>
                  <a:gd name="connsiteX1" fmla="*/ 2955 w 14775"/>
                  <a:gd name="connsiteY1" fmla="*/ 0 h 46873"/>
                  <a:gd name="connsiteX2" fmla="*/ 14775 w 14775"/>
                  <a:gd name="connsiteY2" fmla="*/ 46116 h 46873"/>
                  <a:gd name="connsiteX3" fmla="*/ 11821 w 14775"/>
                  <a:gd name="connsiteY3" fmla="*/ 46874 h 46873"/>
                </a:gdLst>
                <a:ahLst/>
                <a:cxnLst>
                  <a:cxn ang="0">
                    <a:pos x="connsiteX0" y="connsiteY0"/>
                  </a:cxn>
                  <a:cxn ang="0">
                    <a:pos x="connsiteX1" y="connsiteY1"/>
                  </a:cxn>
                  <a:cxn ang="0">
                    <a:pos x="connsiteX2" y="connsiteY2"/>
                  </a:cxn>
                  <a:cxn ang="0">
                    <a:pos x="connsiteX3" y="connsiteY3"/>
                  </a:cxn>
                </a:cxnLst>
                <a:rect l="l" t="t" r="r" b="b"/>
                <a:pathLst>
                  <a:path w="14775" h="46873">
                    <a:moveTo>
                      <a:pt x="0" y="757"/>
                    </a:moveTo>
                    <a:lnTo>
                      <a:pt x="2955" y="0"/>
                    </a:lnTo>
                    <a:lnTo>
                      <a:pt x="14775" y="46116"/>
                    </a:lnTo>
                    <a:lnTo>
                      <a:pt x="11821" y="46874"/>
                    </a:lnTo>
                    <a:close/>
                  </a:path>
                </a:pathLst>
              </a:custGeom>
              <a:grpFill/>
              <a:ln w="5978" cap="flat">
                <a:noFill/>
                <a:prstDash val="solid"/>
                <a:miter/>
              </a:ln>
            </p:spPr>
            <p:txBody>
              <a:bodyPr rtlCol="0" anchor="ctr"/>
              <a:lstStyle/>
              <a:p>
                <a:endParaRPr lang="en-GB"/>
              </a:p>
            </p:txBody>
          </p:sp>
          <p:sp>
            <p:nvSpPr>
              <p:cNvPr id="3455" name="Vrije vorm: vorm 3454">
                <a:extLst>
                  <a:ext uri="{FF2B5EF4-FFF2-40B4-BE49-F238E27FC236}">
                    <a16:creationId xmlns:a16="http://schemas.microsoft.com/office/drawing/2014/main" id="{704B1471-D319-4FF7-BED5-157B89F5632F}"/>
                  </a:ext>
                </a:extLst>
              </p:cNvPr>
              <p:cNvSpPr/>
              <p:nvPr/>
            </p:nvSpPr>
            <p:spPr>
              <a:xfrm>
                <a:off x="5492603" y="1248648"/>
                <a:ext cx="18343" cy="18395"/>
              </a:xfrm>
              <a:custGeom>
                <a:avLst/>
                <a:gdLst>
                  <a:gd name="connsiteX0" fmla="*/ 18053 w 18343"/>
                  <a:gd name="connsiteY0" fmla="*/ 6925 h 18395"/>
                  <a:gd name="connsiteX1" fmla="*/ 11474 w 18343"/>
                  <a:gd name="connsiteY1" fmla="*/ 18109 h 18395"/>
                  <a:gd name="connsiteX2" fmla="*/ 290 w 18343"/>
                  <a:gd name="connsiteY2" fmla="*/ 11471 h 18395"/>
                  <a:gd name="connsiteX3" fmla="*/ 6869 w 18343"/>
                  <a:gd name="connsiteY3" fmla="*/ 287 h 18395"/>
                  <a:gd name="connsiteX4" fmla="*/ 18053 w 18343"/>
                  <a:gd name="connsiteY4" fmla="*/ 6925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18053" y="6925"/>
                    </a:moveTo>
                    <a:cubicBezTo>
                      <a:pt x="19309" y="11829"/>
                      <a:pt x="16379" y="16853"/>
                      <a:pt x="11474" y="18109"/>
                    </a:cubicBezTo>
                    <a:cubicBezTo>
                      <a:pt x="6571" y="19365"/>
                      <a:pt x="1547" y="16375"/>
                      <a:pt x="290" y="11471"/>
                    </a:cubicBezTo>
                    <a:cubicBezTo>
                      <a:pt x="-965" y="6566"/>
                      <a:pt x="1965" y="1543"/>
                      <a:pt x="6869" y="287"/>
                    </a:cubicBezTo>
                    <a:cubicBezTo>
                      <a:pt x="11774" y="-969"/>
                      <a:pt x="16797" y="2021"/>
                      <a:pt x="18053" y="6925"/>
                    </a:cubicBezTo>
                    <a:close/>
                  </a:path>
                </a:pathLst>
              </a:custGeom>
              <a:grpFill/>
              <a:ln w="5978" cap="flat">
                <a:noFill/>
                <a:prstDash val="solid"/>
                <a:miter/>
              </a:ln>
            </p:spPr>
            <p:txBody>
              <a:bodyPr rtlCol="0" anchor="ctr"/>
              <a:lstStyle/>
              <a:p>
                <a:endParaRPr lang="en-GB"/>
              </a:p>
            </p:txBody>
          </p:sp>
          <p:sp>
            <p:nvSpPr>
              <p:cNvPr id="3456" name="Vrije vorm: vorm 3455">
                <a:extLst>
                  <a:ext uri="{FF2B5EF4-FFF2-40B4-BE49-F238E27FC236}">
                    <a16:creationId xmlns:a16="http://schemas.microsoft.com/office/drawing/2014/main" id="{6DC25708-9E8F-41F6-B268-D1A81B6B992E}"/>
                  </a:ext>
                </a:extLst>
              </p:cNvPr>
              <p:cNvSpPr/>
              <p:nvPr/>
            </p:nvSpPr>
            <p:spPr>
              <a:xfrm>
                <a:off x="5481001" y="1203434"/>
                <a:ext cx="18343" cy="18395"/>
              </a:xfrm>
              <a:custGeom>
                <a:avLst/>
                <a:gdLst>
                  <a:gd name="connsiteX0" fmla="*/ 18053 w 18343"/>
                  <a:gd name="connsiteY0" fmla="*/ 6925 h 18395"/>
                  <a:gd name="connsiteX1" fmla="*/ 6869 w 18343"/>
                  <a:gd name="connsiteY1" fmla="*/ 287 h 18395"/>
                  <a:gd name="connsiteX2" fmla="*/ 290 w 18343"/>
                  <a:gd name="connsiteY2" fmla="*/ 11471 h 18395"/>
                  <a:gd name="connsiteX3" fmla="*/ 11474 w 18343"/>
                  <a:gd name="connsiteY3" fmla="*/ 18109 h 18395"/>
                  <a:gd name="connsiteX4" fmla="*/ 18053 w 18343"/>
                  <a:gd name="connsiteY4" fmla="*/ 6925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18053" y="6925"/>
                    </a:moveTo>
                    <a:cubicBezTo>
                      <a:pt x="16797" y="2021"/>
                      <a:pt x="11774" y="-969"/>
                      <a:pt x="6869" y="287"/>
                    </a:cubicBezTo>
                    <a:cubicBezTo>
                      <a:pt x="1965" y="1543"/>
                      <a:pt x="-965" y="6566"/>
                      <a:pt x="290" y="11471"/>
                    </a:cubicBezTo>
                    <a:cubicBezTo>
                      <a:pt x="1547" y="16375"/>
                      <a:pt x="6571" y="19365"/>
                      <a:pt x="11474" y="18109"/>
                    </a:cubicBezTo>
                    <a:cubicBezTo>
                      <a:pt x="16379" y="16853"/>
                      <a:pt x="19309" y="11889"/>
                      <a:pt x="18053" y="6925"/>
                    </a:cubicBezTo>
                    <a:close/>
                  </a:path>
                </a:pathLst>
              </a:custGeom>
              <a:grpFill/>
              <a:ln w="5978" cap="flat">
                <a:noFill/>
                <a:prstDash val="solid"/>
                <a:miter/>
              </a:ln>
            </p:spPr>
            <p:txBody>
              <a:bodyPr rtlCol="0" anchor="ctr"/>
              <a:lstStyle/>
              <a:p>
                <a:endParaRPr lang="en-GB"/>
              </a:p>
            </p:txBody>
          </p:sp>
        </p:grpSp>
        <p:grpSp>
          <p:nvGrpSpPr>
            <p:cNvPr id="646" name="Graphic 3">
              <a:extLst>
                <a:ext uri="{FF2B5EF4-FFF2-40B4-BE49-F238E27FC236}">
                  <a16:creationId xmlns:a16="http://schemas.microsoft.com/office/drawing/2014/main" id="{93EA4076-4779-477B-9FBC-B2FA09945E55}"/>
                </a:ext>
              </a:extLst>
            </p:cNvPr>
            <p:cNvGrpSpPr/>
            <p:nvPr/>
          </p:nvGrpSpPr>
          <p:grpSpPr>
            <a:xfrm>
              <a:off x="5481061" y="1203434"/>
              <a:ext cx="76177" cy="244168"/>
              <a:chOff x="5481061" y="1203434"/>
              <a:chExt cx="76177" cy="244168"/>
            </a:xfrm>
            <a:grpFill/>
          </p:grpSpPr>
          <p:sp>
            <p:nvSpPr>
              <p:cNvPr id="3451" name="Vrije vorm: vorm 3450">
                <a:extLst>
                  <a:ext uri="{FF2B5EF4-FFF2-40B4-BE49-F238E27FC236}">
                    <a16:creationId xmlns:a16="http://schemas.microsoft.com/office/drawing/2014/main" id="{E286CE80-FBC1-450C-ACFC-C5DD5BFFDFBB}"/>
                  </a:ext>
                </a:extLst>
              </p:cNvPr>
              <p:cNvSpPr/>
              <p:nvPr/>
            </p:nvSpPr>
            <p:spPr>
              <a:xfrm>
                <a:off x="5488563" y="1211863"/>
                <a:ext cx="61039" cy="227457"/>
              </a:xfrm>
              <a:custGeom>
                <a:avLst/>
                <a:gdLst>
                  <a:gd name="connsiteX0" fmla="*/ 0 w 61039"/>
                  <a:gd name="connsiteY0" fmla="*/ 757 h 227457"/>
                  <a:gd name="connsiteX1" fmla="*/ 2955 w 61039"/>
                  <a:gd name="connsiteY1" fmla="*/ 0 h 227457"/>
                  <a:gd name="connsiteX2" fmla="*/ 61040 w 61039"/>
                  <a:gd name="connsiteY2" fmla="*/ 226701 h 227457"/>
                  <a:gd name="connsiteX3" fmla="*/ 58085 w 61039"/>
                  <a:gd name="connsiteY3" fmla="*/ 227458 h 227457"/>
                </a:gdLst>
                <a:ahLst/>
                <a:cxnLst>
                  <a:cxn ang="0">
                    <a:pos x="connsiteX0" y="connsiteY0"/>
                  </a:cxn>
                  <a:cxn ang="0">
                    <a:pos x="connsiteX1" y="connsiteY1"/>
                  </a:cxn>
                  <a:cxn ang="0">
                    <a:pos x="connsiteX2" y="connsiteY2"/>
                  </a:cxn>
                  <a:cxn ang="0">
                    <a:pos x="connsiteX3" y="connsiteY3"/>
                  </a:cxn>
                </a:cxnLst>
                <a:rect l="l" t="t" r="r" b="b"/>
                <a:pathLst>
                  <a:path w="61039" h="227457">
                    <a:moveTo>
                      <a:pt x="0" y="757"/>
                    </a:moveTo>
                    <a:lnTo>
                      <a:pt x="2955" y="0"/>
                    </a:lnTo>
                    <a:lnTo>
                      <a:pt x="61040" y="226701"/>
                    </a:lnTo>
                    <a:lnTo>
                      <a:pt x="58085" y="227458"/>
                    </a:lnTo>
                    <a:close/>
                  </a:path>
                </a:pathLst>
              </a:custGeom>
              <a:grpFill/>
              <a:ln w="5978" cap="flat">
                <a:noFill/>
                <a:prstDash val="solid"/>
                <a:miter/>
              </a:ln>
            </p:spPr>
            <p:txBody>
              <a:bodyPr rtlCol="0" anchor="ctr"/>
              <a:lstStyle/>
              <a:p>
                <a:endParaRPr lang="en-GB"/>
              </a:p>
            </p:txBody>
          </p:sp>
          <p:sp>
            <p:nvSpPr>
              <p:cNvPr id="3452" name="Vrije vorm: vorm 3451">
                <a:extLst>
                  <a:ext uri="{FF2B5EF4-FFF2-40B4-BE49-F238E27FC236}">
                    <a16:creationId xmlns:a16="http://schemas.microsoft.com/office/drawing/2014/main" id="{8973CC16-4ABA-4A76-A7AB-2FB4A19C0ED1}"/>
                  </a:ext>
                </a:extLst>
              </p:cNvPr>
              <p:cNvSpPr/>
              <p:nvPr/>
            </p:nvSpPr>
            <p:spPr>
              <a:xfrm>
                <a:off x="5481061" y="1203434"/>
                <a:ext cx="18343" cy="18395"/>
              </a:xfrm>
              <a:custGeom>
                <a:avLst/>
                <a:gdLst>
                  <a:gd name="connsiteX0" fmla="*/ 290 w 18343"/>
                  <a:gd name="connsiteY0" fmla="*/ 11471 h 18395"/>
                  <a:gd name="connsiteX1" fmla="*/ 6869 w 18343"/>
                  <a:gd name="connsiteY1" fmla="*/ 287 h 18395"/>
                  <a:gd name="connsiteX2" fmla="*/ 18053 w 18343"/>
                  <a:gd name="connsiteY2" fmla="*/ 6925 h 18395"/>
                  <a:gd name="connsiteX3" fmla="*/ 11474 w 18343"/>
                  <a:gd name="connsiteY3" fmla="*/ 18109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965" y="6566"/>
                      <a:pt x="1965" y="1543"/>
                      <a:pt x="6869" y="287"/>
                    </a:cubicBezTo>
                    <a:cubicBezTo>
                      <a:pt x="11773" y="-969"/>
                      <a:pt x="16797" y="2021"/>
                      <a:pt x="18053" y="6925"/>
                    </a:cubicBezTo>
                    <a:cubicBezTo>
                      <a:pt x="19309" y="11829"/>
                      <a:pt x="16379" y="16853"/>
                      <a:pt x="11474" y="18109"/>
                    </a:cubicBezTo>
                    <a:cubicBezTo>
                      <a:pt x="6511" y="19365"/>
                      <a:pt x="1547" y="16375"/>
                      <a:pt x="290" y="11471"/>
                    </a:cubicBezTo>
                    <a:close/>
                  </a:path>
                </a:pathLst>
              </a:custGeom>
              <a:grpFill/>
              <a:ln w="5978" cap="flat">
                <a:noFill/>
                <a:prstDash val="solid"/>
                <a:miter/>
              </a:ln>
            </p:spPr>
            <p:txBody>
              <a:bodyPr rtlCol="0" anchor="ctr"/>
              <a:lstStyle/>
              <a:p>
                <a:endParaRPr lang="en-GB"/>
              </a:p>
            </p:txBody>
          </p:sp>
          <p:sp>
            <p:nvSpPr>
              <p:cNvPr id="3453" name="Vrije vorm: vorm 3452">
                <a:extLst>
                  <a:ext uri="{FF2B5EF4-FFF2-40B4-BE49-F238E27FC236}">
                    <a16:creationId xmlns:a16="http://schemas.microsoft.com/office/drawing/2014/main" id="{605E9FE8-D558-4794-BCE8-88E722D8C092}"/>
                  </a:ext>
                </a:extLst>
              </p:cNvPr>
              <p:cNvSpPr/>
              <p:nvPr/>
            </p:nvSpPr>
            <p:spPr>
              <a:xfrm>
                <a:off x="5538894" y="1429206"/>
                <a:ext cx="18343" cy="18395"/>
              </a:xfrm>
              <a:custGeom>
                <a:avLst/>
                <a:gdLst>
                  <a:gd name="connsiteX0" fmla="*/ 290 w 18343"/>
                  <a:gd name="connsiteY0" fmla="*/ 11471 h 18395"/>
                  <a:gd name="connsiteX1" fmla="*/ 11475 w 18343"/>
                  <a:gd name="connsiteY1" fmla="*/ 18109 h 18395"/>
                  <a:gd name="connsiteX2" fmla="*/ 18053 w 18343"/>
                  <a:gd name="connsiteY2" fmla="*/ 6925 h 18395"/>
                  <a:gd name="connsiteX3" fmla="*/ 6869 w 18343"/>
                  <a:gd name="connsiteY3" fmla="*/ 287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1547" y="16375"/>
                      <a:pt x="6571" y="19365"/>
                      <a:pt x="11475" y="18109"/>
                    </a:cubicBezTo>
                    <a:cubicBezTo>
                      <a:pt x="16379" y="16853"/>
                      <a:pt x="19309" y="11829"/>
                      <a:pt x="18053" y="6925"/>
                    </a:cubicBezTo>
                    <a:cubicBezTo>
                      <a:pt x="16797" y="2021"/>
                      <a:pt x="11774" y="-969"/>
                      <a:pt x="6869" y="287"/>
                    </a:cubicBezTo>
                    <a:cubicBezTo>
                      <a:pt x="1965" y="1543"/>
                      <a:pt x="-965" y="6566"/>
                      <a:pt x="290" y="11471"/>
                    </a:cubicBezTo>
                    <a:close/>
                  </a:path>
                </a:pathLst>
              </a:custGeom>
              <a:grpFill/>
              <a:ln w="5978" cap="flat">
                <a:noFill/>
                <a:prstDash val="solid"/>
                <a:miter/>
              </a:ln>
            </p:spPr>
            <p:txBody>
              <a:bodyPr rtlCol="0" anchor="ctr"/>
              <a:lstStyle/>
              <a:p>
                <a:endParaRPr lang="en-GB"/>
              </a:p>
            </p:txBody>
          </p:sp>
        </p:grpSp>
        <p:grpSp>
          <p:nvGrpSpPr>
            <p:cNvPr id="647" name="Graphic 3">
              <a:extLst>
                <a:ext uri="{FF2B5EF4-FFF2-40B4-BE49-F238E27FC236}">
                  <a16:creationId xmlns:a16="http://schemas.microsoft.com/office/drawing/2014/main" id="{3AC1BDB3-4E43-4747-AFB4-BEA5BF0CE76A}"/>
                </a:ext>
              </a:extLst>
            </p:cNvPr>
            <p:cNvGrpSpPr/>
            <p:nvPr/>
          </p:nvGrpSpPr>
          <p:grpSpPr>
            <a:xfrm>
              <a:off x="6713919" y="4951849"/>
              <a:ext cx="74568" cy="148419"/>
              <a:chOff x="6713919" y="4951849"/>
              <a:chExt cx="74568" cy="148419"/>
            </a:xfrm>
            <a:grpFill/>
          </p:grpSpPr>
          <p:sp>
            <p:nvSpPr>
              <p:cNvPr id="3448" name="Vrije vorm: vorm 3447">
                <a:extLst>
                  <a:ext uri="{FF2B5EF4-FFF2-40B4-BE49-F238E27FC236}">
                    <a16:creationId xmlns:a16="http://schemas.microsoft.com/office/drawing/2014/main" id="{6952BA86-0DD9-462E-97FC-37FC8594BD67}"/>
                  </a:ext>
                </a:extLst>
              </p:cNvPr>
              <p:cNvSpPr/>
              <p:nvPr/>
            </p:nvSpPr>
            <p:spPr>
              <a:xfrm>
                <a:off x="6721514" y="4960032"/>
                <a:ext cx="59388" cy="132054"/>
              </a:xfrm>
              <a:custGeom>
                <a:avLst/>
                <a:gdLst>
                  <a:gd name="connsiteX0" fmla="*/ 59389 w 59388"/>
                  <a:gd name="connsiteY0" fmla="*/ 130858 h 132054"/>
                  <a:gd name="connsiteX1" fmla="*/ 56638 w 59388"/>
                  <a:gd name="connsiteY1" fmla="*/ 132054 h 132054"/>
                  <a:gd name="connsiteX2" fmla="*/ 0 w 59388"/>
                  <a:gd name="connsiteY2" fmla="*/ 1196 h 132054"/>
                  <a:gd name="connsiteX3" fmla="*/ 2811 w 59388"/>
                  <a:gd name="connsiteY3" fmla="*/ 0 h 132054"/>
                </a:gdLst>
                <a:ahLst/>
                <a:cxnLst>
                  <a:cxn ang="0">
                    <a:pos x="connsiteX0" y="connsiteY0"/>
                  </a:cxn>
                  <a:cxn ang="0">
                    <a:pos x="connsiteX1" y="connsiteY1"/>
                  </a:cxn>
                  <a:cxn ang="0">
                    <a:pos x="connsiteX2" y="connsiteY2"/>
                  </a:cxn>
                  <a:cxn ang="0">
                    <a:pos x="connsiteX3" y="connsiteY3"/>
                  </a:cxn>
                </a:cxnLst>
                <a:rect l="l" t="t" r="r" b="b"/>
                <a:pathLst>
                  <a:path w="59388" h="132054">
                    <a:moveTo>
                      <a:pt x="59389" y="130858"/>
                    </a:moveTo>
                    <a:lnTo>
                      <a:pt x="56638" y="132054"/>
                    </a:lnTo>
                    <a:lnTo>
                      <a:pt x="0" y="1196"/>
                    </a:lnTo>
                    <a:lnTo>
                      <a:pt x="2811" y="0"/>
                    </a:lnTo>
                    <a:close/>
                  </a:path>
                </a:pathLst>
              </a:custGeom>
              <a:grpFill/>
              <a:ln w="5978" cap="flat">
                <a:noFill/>
                <a:prstDash val="solid"/>
                <a:miter/>
              </a:ln>
            </p:spPr>
            <p:txBody>
              <a:bodyPr rtlCol="0" anchor="ctr"/>
              <a:lstStyle/>
              <a:p>
                <a:endParaRPr lang="en-GB"/>
              </a:p>
            </p:txBody>
          </p:sp>
          <p:sp>
            <p:nvSpPr>
              <p:cNvPr id="3449" name="Vrije vorm: vorm 3448">
                <a:extLst>
                  <a:ext uri="{FF2B5EF4-FFF2-40B4-BE49-F238E27FC236}">
                    <a16:creationId xmlns:a16="http://schemas.microsoft.com/office/drawing/2014/main" id="{D0E47816-290E-4E65-AC2D-E09D41378DE3}"/>
                  </a:ext>
                </a:extLst>
              </p:cNvPr>
              <p:cNvSpPr/>
              <p:nvPr/>
            </p:nvSpPr>
            <p:spPr>
              <a:xfrm>
                <a:off x="6770147" y="5081870"/>
                <a:ext cx="18341" cy="18398"/>
              </a:xfrm>
              <a:custGeom>
                <a:avLst/>
                <a:gdLst>
                  <a:gd name="connsiteX0" fmla="*/ 17573 w 18341"/>
                  <a:gd name="connsiteY0" fmla="*/ 5551 h 18398"/>
                  <a:gd name="connsiteX1" fmla="*/ 12849 w 18341"/>
                  <a:gd name="connsiteY1" fmla="*/ 17632 h 18398"/>
                  <a:gd name="connsiteX2" fmla="*/ 768 w 18341"/>
                  <a:gd name="connsiteY2" fmla="*/ 12848 h 18398"/>
                  <a:gd name="connsiteX3" fmla="*/ 5493 w 18341"/>
                  <a:gd name="connsiteY3" fmla="*/ 767 h 18398"/>
                  <a:gd name="connsiteX4" fmla="*/ 17573 w 18341"/>
                  <a:gd name="connsiteY4" fmla="*/ 555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8">
                    <a:moveTo>
                      <a:pt x="17573" y="5551"/>
                    </a:moveTo>
                    <a:cubicBezTo>
                      <a:pt x="19607" y="10216"/>
                      <a:pt x="17454" y="15659"/>
                      <a:pt x="12849" y="17632"/>
                    </a:cubicBezTo>
                    <a:cubicBezTo>
                      <a:pt x="8184" y="19666"/>
                      <a:pt x="2801" y="17513"/>
                      <a:pt x="768" y="12848"/>
                    </a:cubicBezTo>
                    <a:cubicBezTo>
                      <a:pt x="-1266" y="8183"/>
                      <a:pt x="887" y="2740"/>
                      <a:pt x="5493" y="767"/>
                    </a:cubicBezTo>
                    <a:cubicBezTo>
                      <a:pt x="10157" y="-1267"/>
                      <a:pt x="15600" y="886"/>
                      <a:pt x="17573" y="5551"/>
                    </a:cubicBezTo>
                    <a:close/>
                  </a:path>
                </a:pathLst>
              </a:custGeom>
              <a:grpFill/>
              <a:ln w="5978" cap="flat">
                <a:noFill/>
                <a:prstDash val="solid"/>
                <a:miter/>
              </a:ln>
            </p:spPr>
            <p:txBody>
              <a:bodyPr rtlCol="0" anchor="ctr"/>
              <a:lstStyle/>
              <a:p>
                <a:endParaRPr lang="en-GB"/>
              </a:p>
            </p:txBody>
          </p:sp>
          <p:sp>
            <p:nvSpPr>
              <p:cNvPr id="3450" name="Vrije vorm: vorm 3449">
                <a:extLst>
                  <a:ext uri="{FF2B5EF4-FFF2-40B4-BE49-F238E27FC236}">
                    <a16:creationId xmlns:a16="http://schemas.microsoft.com/office/drawing/2014/main" id="{018B690C-4E4E-450E-B489-2480B5895045}"/>
                  </a:ext>
                </a:extLst>
              </p:cNvPr>
              <p:cNvSpPr/>
              <p:nvPr/>
            </p:nvSpPr>
            <p:spPr>
              <a:xfrm>
                <a:off x="6713919" y="4951849"/>
                <a:ext cx="18358" cy="18399"/>
              </a:xfrm>
              <a:custGeom>
                <a:avLst/>
                <a:gdLst>
                  <a:gd name="connsiteX0" fmla="*/ 17582 w 18358"/>
                  <a:gd name="connsiteY0" fmla="*/ 5551 h 18399"/>
                  <a:gd name="connsiteX1" fmla="*/ 5501 w 18358"/>
                  <a:gd name="connsiteY1" fmla="*/ 767 h 18399"/>
                  <a:gd name="connsiteX2" fmla="*/ 777 w 18358"/>
                  <a:gd name="connsiteY2" fmla="*/ 12848 h 18399"/>
                  <a:gd name="connsiteX3" fmla="*/ 12857 w 18358"/>
                  <a:gd name="connsiteY3" fmla="*/ 17632 h 18399"/>
                  <a:gd name="connsiteX4" fmla="*/ 17582 w 18358"/>
                  <a:gd name="connsiteY4" fmla="*/ 5551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399">
                    <a:moveTo>
                      <a:pt x="17582" y="5551"/>
                    </a:moveTo>
                    <a:cubicBezTo>
                      <a:pt x="15549" y="886"/>
                      <a:pt x="10166" y="-1267"/>
                      <a:pt x="5501" y="767"/>
                    </a:cubicBezTo>
                    <a:cubicBezTo>
                      <a:pt x="836" y="2800"/>
                      <a:pt x="-1257" y="8183"/>
                      <a:pt x="777" y="12848"/>
                    </a:cubicBezTo>
                    <a:cubicBezTo>
                      <a:pt x="2810" y="17513"/>
                      <a:pt x="8193" y="19666"/>
                      <a:pt x="12857" y="17632"/>
                    </a:cubicBezTo>
                    <a:cubicBezTo>
                      <a:pt x="17523" y="15659"/>
                      <a:pt x="19616" y="10276"/>
                      <a:pt x="17582" y="5551"/>
                    </a:cubicBezTo>
                    <a:close/>
                  </a:path>
                </a:pathLst>
              </a:custGeom>
              <a:grpFill/>
              <a:ln w="5978" cap="flat">
                <a:noFill/>
                <a:prstDash val="solid"/>
                <a:miter/>
              </a:ln>
            </p:spPr>
            <p:txBody>
              <a:bodyPr rtlCol="0" anchor="ctr"/>
              <a:lstStyle/>
              <a:p>
                <a:endParaRPr lang="en-GB"/>
              </a:p>
            </p:txBody>
          </p:sp>
        </p:grpSp>
        <p:grpSp>
          <p:nvGrpSpPr>
            <p:cNvPr id="648" name="Graphic 3">
              <a:extLst>
                <a:ext uri="{FF2B5EF4-FFF2-40B4-BE49-F238E27FC236}">
                  <a16:creationId xmlns:a16="http://schemas.microsoft.com/office/drawing/2014/main" id="{472856E7-6C05-44B8-A526-EA4753AB97CB}"/>
                </a:ext>
              </a:extLst>
            </p:cNvPr>
            <p:cNvGrpSpPr/>
            <p:nvPr/>
          </p:nvGrpSpPr>
          <p:grpSpPr>
            <a:xfrm>
              <a:off x="6713203" y="4952080"/>
              <a:ext cx="153460" cy="425582"/>
              <a:chOff x="6713203" y="4952080"/>
              <a:chExt cx="153460" cy="425582"/>
            </a:xfrm>
            <a:grpFill/>
          </p:grpSpPr>
          <p:sp>
            <p:nvSpPr>
              <p:cNvPr id="3445" name="Vrije vorm: vorm 3444">
                <a:extLst>
                  <a:ext uri="{FF2B5EF4-FFF2-40B4-BE49-F238E27FC236}">
                    <a16:creationId xmlns:a16="http://schemas.microsoft.com/office/drawing/2014/main" id="{2F99D58C-7D57-43BF-8D88-19C422E7ABE3}"/>
                  </a:ext>
                </a:extLst>
              </p:cNvPr>
              <p:cNvSpPr/>
              <p:nvPr/>
            </p:nvSpPr>
            <p:spPr>
              <a:xfrm>
                <a:off x="6720816" y="4960453"/>
                <a:ext cx="138292" cy="408916"/>
              </a:xfrm>
              <a:custGeom>
                <a:avLst/>
                <a:gdLst>
                  <a:gd name="connsiteX0" fmla="*/ 0 w 138292"/>
                  <a:gd name="connsiteY0" fmla="*/ 961 h 408916"/>
                  <a:gd name="connsiteX1" fmla="*/ 2895 w 138292"/>
                  <a:gd name="connsiteY1" fmla="*/ 0 h 408916"/>
                  <a:gd name="connsiteX2" fmla="*/ 138293 w 138292"/>
                  <a:gd name="connsiteY2" fmla="*/ 407956 h 408916"/>
                  <a:gd name="connsiteX3" fmla="*/ 135398 w 138292"/>
                  <a:gd name="connsiteY3" fmla="*/ 408917 h 408916"/>
                </a:gdLst>
                <a:ahLst/>
                <a:cxnLst>
                  <a:cxn ang="0">
                    <a:pos x="connsiteX0" y="connsiteY0"/>
                  </a:cxn>
                  <a:cxn ang="0">
                    <a:pos x="connsiteX1" y="connsiteY1"/>
                  </a:cxn>
                  <a:cxn ang="0">
                    <a:pos x="connsiteX2" y="connsiteY2"/>
                  </a:cxn>
                  <a:cxn ang="0">
                    <a:pos x="connsiteX3" y="connsiteY3"/>
                  </a:cxn>
                </a:cxnLst>
                <a:rect l="l" t="t" r="r" b="b"/>
                <a:pathLst>
                  <a:path w="138292" h="408916">
                    <a:moveTo>
                      <a:pt x="0" y="961"/>
                    </a:moveTo>
                    <a:lnTo>
                      <a:pt x="2895" y="0"/>
                    </a:lnTo>
                    <a:lnTo>
                      <a:pt x="138293" y="407956"/>
                    </a:lnTo>
                    <a:lnTo>
                      <a:pt x="135398" y="408917"/>
                    </a:lnTo>
                    <a:close/>
                  </a:path>
                </a:pathLst>
              </a:custGeom>
              <a:grpFill/>
              <a:ln w="5978" cap="flat">
                <a:noFill/>
                <a:prstDash val="solid"/>
                <a:miter/>
              </a:ln>
            </p:spPr>
            <p:txBody>
              <a:bodyPr rtlCol="0" anchor="ctr"/>
              <a:lstStyle/>
              <a:p>
                <a:endParaRPr lang="en-GB"/>
              </a:p>
            </p:txBody>
          </p:sp>
          <p:sp>
            <p:nvSpPr>
              <p:cNvPr id="3446" name="Vrije vorm: vorm 3445">
                <a:extLst>
                  <a:ext uri="{FF2B5EF4-FFF2-40B4-BE49-F238E27FC236}">
                    <a16:creationId xmlns:a16="http://schemas.microsoft.com/office/drawing/2014/main" id="{9A4579A4-F1C2-48AE-A395-77B56A0C8295}"/>
                  </a:ext>
                </a:extLst>
              </p:cNvPr>
              <p:cNvSpPr/>
              <p:nvPr/>
            </p:nvSpPr>
            <p:spPr>
              <a:xfrm>
                <a:off x="6713203" y="4952080"/>
                <a:ext cx="18356" cy="18474"/>
              </a:xfrm>
              <a:custGeom>
                <a:avLst/>
                <a:gdLst>
                  <a:gd name="connsiteX0" fmla="*/ 476 w 18356"/>
                  <a:gd name="connsiteY0" fmla="*/ 12138 h 18474"/>
                  <a:gd name="connsiteX1" fmla="*/ 6277 w 18356"/>
                  <a:gd name="connsiteY1" fmla="*/ 476 h 18474"/>
                  <a:gd name="connsiteX2" fmla="*/ 17880 w 18356"/>
                  <a:gd name="connsiteY2" fmla="*/ 6337 h 18474"/>
                  <a:gd name="connsiteX3" fmla="*/ 12079 w 18356"/>
                  <a:gd name="connsiteY3" fmla="*/ 17999 h 18474"/>
                  <a:gd name="connsiteX4" fmla="*/ 476 w 18356"/>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74">
                    <a:moveTo>
                      <a:pt x="476" y="12138"/>
                    </a:moveTo>
                    <a:cubicBezTo>
                      <a:pt x="-1139" y="7294"/>
                      <a:pt x="1493" y="2091"/>
                      <a:pt x="6277" y="476"/>
                    </a:cubicBezTo>
                    <a:cubicBezTo>
                      <a:pt x="11062" y="-1139"/>
                      <a:pt x="16265" y="1492"/>
                      <a:pt x="17880" y="6337"/>
                    </a:cubicBezTo>
                    <a:cubicBezTo>
                      <a:pt x="19495" y="11181"/>
                      <a:pt x="16863" y="16384"/>
                      <a:pt x="12079" y="17999"/>
                    </a:cubicBezTo>
                    <a:cubicBezTo>
                      <a:pt x="7234" y="19614"/>
                      <a:pt x="2091" y="16982"/>
                      <a:pt x="476" y="12138"/>
                    </a:cubicBezTo>
                    <a:close/>
                  </a:path>
                </a:pathLst>
              </a:custGeom>
              <a:grpFill/>
              <a:ln w="5978" cap="flat">
                <a:noFill/>
                <a:prstDash val="solid"/>
                <a:miter/>
              </a:ln>
            </p:spPr>
            <p:txBody>
              <a:bodyPr rtlCol="0" anchor="ctr"/>
              <a:lstStyle/>
              <a:p>
                <a:endParaRPr lang="en-GB"/>
              </a:p>
            </p:txBody>
          </p:sp>
          <p:sp>
            <p:nvSpPr>
              <p:cNvPr id="3447" name="Vrije vorm: vorm 3446">
                <a:extLst>
                  <a:ext uri="{FF2B5EF4-FFF2-40B4-BE49-F238E27FC236}">
                    <a16:creationId xmlns:a16="http://schemas.microsoft.com/office/drawing/2014/main" id="{AADA398E-2F11-433A-A4C3-789B4CE54B03}"/>
                  </a:ext>
                </a:extLst>
              </p:cNvPr>
              <p:cNvSpPr/>
              <p:nvPr/>
            </p:nvSpPr>
            <p:spPr>
              <a:xfrm>
                <a:off x="6848302" y="5359188"/>
                <a:ext cx="18361" cy="18474"/>
              </a:xfrm>
              <a:custGeom>
                <a:avLst/>
                <a:gdLst>
                  <a:gd name="connsiteX0" fmla="*/ 482 w 18361"/>
                  <a:gd name="connsiteY0" fmla="*/ 12138 h 18474"/>
                  <a:gd name="connsiteX1" fmla="*/ 12085 w 18361"/>
                  <a:gd name="connsiteY1" fmla="*/ 17999 h 18474"/>
                  <a:gd name="connsiteX2" fmla="*/ 17886 w 18361"/>
                  <a:gd name="connsiteY2" fmla="*/ 6337 h 18474"/>
                  <a:gd name="connsiteX3" fmla="*/ 6283 w 18361"/>
                  <a:gd name="connsiteY3" fmla="*/ 476 h 18474"/>
                  <a:gd name="connsiteX4" fmla="*/ 482 w 18361"/>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74">
                    <a:moveTo>
                      <a:pt x="482" y="12138"/>
                    </a:moveTo>
                    <a:cubicBezTo>
                      <a:pt x="2097" y="16982"/>
                      <a:pt x="7300" y="19614"/>
                      <a:pt x="12085" y="17999"/>
                    </a:cubicBezTo>
                    <a:cubicBezTo>
                      <a:pt x="16869" y="16384"/>
                      <a:pt x="19501" y="11181"/>
                      <a:pt x="17886" y="6337"/>
                    </a:cubicBezTo>
                    <a:cubicBezTo>
                      <a:pt x="16271" y="1492"/>
                      <a:pt x="11068" y="-1139"/>
                      <a:pt x="6283" y="476"/>
                    </a:cubicBezTo>
                    <a:cubicBezTo>
                      <a:pt x="1439" y="2091"/>
                      <a:pt x="-1133" y="7294"/>
                      <a:pt x="482" y="12138"/>
                    </a:cubicBezTo>
                    <a:close/>
                  </a:path>
                </a:pathLst>
              </a:custGeom>
              <a:grpFill/>
              <a:ln w="5978" cap="flat">
                <a:noFill/>
                <a:prstDash val="solid"/>
                <a:miter/>
              </a:ln>
            </p:spPr>
            <p:txBody>
              <a:bodyPr rtlCol="0" anchor="ctr"/>
              <a:lstStyle/>
              <a:p>
                <a:endParaRPr lang="en-GB"/>
              </a:p>
            </p:txBody>
          </p:sp>
        </p:grpSp>
        <p:grpSp>
          <p:nvGrpSpPr>
            <p:cNvPr id="649" name="Graphic 3">
              <a:extLst>
                <a:ext uri="{FF2B5EF4-FFF2-40B4-BE49-F238E27FC236}">
                  <a16:creationId xmlns:a16="http://schemas.microsoft.com/office/drawing/2014/main" id="{5CE31022-1B9F-47A6-839F-EE02DE090F7C}"/>
                </a:ext>
              </a:extLst>
            </p:cNvPr>
            <p:cNvGrpSpPr/>
            <p:nvPr/>
          </p:nvGrpSpPr>
          <p:grpSpPr>
            <a:xfrm>
              <a:off x="5543499" y="1447088"/>
              <a:ext cx="97947" cy="329154"/>
              <a:chOff x="5543499" y="1447088"/>
              <a:chExt cx="97947" cy="329154"/>
            </a:xfrm>
            <a:grpFill/>
          </p:grpSpPr>
          <p:sp>
            <p:nvSpPr>
              <p:cNvPr id="3442" name="Vrije vorm: vorm 3441">
                <a:extLst>
                  <a:ext uri="{FF2B5EF4-FFF2-40B4-BE49-F238E27FC236}">
                    <a16:creationId xmlns:a16="http://schemas.microsoft.com/office/drawing/2014/main" id="{E1381848-7BB3-46EB-8E74-6C15FAFDDE97}"/>
                  </a:ext>
                </a:extLst>
              </p:cNvPr>
              <p:cNvSpPr/>
              <p:nvPr/>
            </p:nvSpPr>
            <p:spPr>
              <a:xfrm>
                <a:off x="5551105" y="1455397"/>
                <a:ext cx="82833" cy="312391"/>
              </a:xfrm>
              <a:custGeom>
                <a:avLst/>
                <a:gdLst>
                  <a:gd name="connsiteX0" fmla="*/ 0 w 82833"/>
                  <a:gd name="connsiteY0" fmla="*/ 757 h 312391"/>
                  <a:gd name="connsiteX1" fmla="*/ 2955 w 82833"/>
                  <a:gd name="connsiteY1" fmla="*/ 0 h 312391"/>
                  <a:gd name="connsiteX2" fmla="*/ 82834 w 82833"/>
                  <a:gd name="connsiteY2" fmla="*/ 311634 h 312391"/>
                  <a:gd name="connsiteX3" fmla="*/ 79879 w 82833"/>
                  <a:gd name="connsiteY3" fmla="*/ 312391 h 312391"/>
                </a:gdLst>
                <a:ahLst/>
                <a:cxnLst>
                  <a:cxn ang="0">
                    <a:pos x="connsiteX0" y="connsiteY0"/>
                  </a:cxn>
                  <a:cxn ang="0">
                    <a:pos x="connsiteX1" y="connsiteY1"/>
                  </a:cxn>
                  <a:cxn ang="0">
                    <a:pos x="connsiteX2" y="connsiteY2"/>
                  </a:cxn>
                  <a:cxn ang="0">
                    <a:pos x="connsiteX3" y="connsiteY3"/>
                  </a:cxn>
                </a:cxnLst>
                <a:rect l="l" t="t" r="r" b="b"/>
                <a:pathLst>
                  <a:path w="82833" h="312391">
                    <a:moveTo>
                      <a:pt x="0" y="757"/>
                    </a:moveTo>
                    <a:lnTo>
                      <a:pt x="2955" y="0"/>
                    </a:lnTo>
                    <a:lnTo>
                      <a:pt x="82834" y="311634"/>
                    </a:lnTo>
                    <a:lnTo>
                      <a:pt x="79879" y="312391"/>
                    </a:lnTo>
                    <a:close/>
                  </a:path>
                </a:pathLst>
              </a:custGeom>
              <a:grpFill/>
              <a:ln w="5978" cap="flat">
                <a:noFill/>
                <a:prstDash val="solid"/>
                <a:miter/>
              </a:ln>
            </p:spPr>
            <p:txBody>
              <a:bodyPr rtlCol="0" anchor="ctr"/>
              <a:lstStyle/>
              <a:p>
                <a:endParaRPr lang="en-GB"/>
              </a:p>
            </p:txBody>
          </p:sp>
          <p:sp>
            <p:nvSpPr>
              <p:cNvPr id="3443" name="Vrije vorm: vorm 3442">
                <a:extLst>
                  <a:ext uri="{FF2B5EF4-FFF2-40B4-BE49-F238E27FC236}">
                    <a16:creationId xmlns:a16="http://schemas.microsoft.com/office/drawing/2014/main" id="{B54A2E5C-DBC7-4534-817A-9D6ACA1D1BC9}"/>
                  </a:ext>
                </a:extLst>
              </p:cNvPr>
              <p:cNvSpPr/>
              <p:nvPr/>
            </p:nvSpPr>
            <p:spPr>
              <a:xfrm>
                <a:off x="5543499" y="1447088"/>
                <a:ext cx="18343" cy="18395"/>
              </a:xfrm>
              <a:custGeom>
                <a:avLst/>
                <a:gdLst>
                  <a:gd name="connsiteX0" fmla="*/ 290 w 18343"/>
                  <a:gd name="connsiteY0" fmla="*/ 11471 h 18395"/>
                  <a:gd name="connsiteX1" fmla="*/ 6869 w 18343"/>
                  <a:gd name="connsiteY1" fmla="*/ 287 h 18395"/>
                  <a:gd name="connsiteX2" fmla="*/ 18053 w 18343"/>
                  <a:gd name="connsiteY2" fmla="*/ 6925 h 18395"/>
                  <a:gd name="connsiteX3" fmla="*/ 11474 w 18343"/>
                  <a:gd name="connsiteY3" fmla="*/ 18109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965" y="6566"/>
                      <a:pt x="1965" y="1543"/>
                      <a:pt x="6869" y="287"/>
                    </a:cubicBezTo>
                    <a:cubicBezTo>
                      <a:pt x="11773" y="-969"/>
                      <a:pt x="16797" y="2021"/>
                      <a:pt x="18053" y="6925"/>
                    </a:cubicBezTo>
                    <a:cubicBezTo>
                      <a:pt x="19309" y="11829"/>
                      <a:pt x="16379" y="16853"/>
                      <a:pt x="11474" y="18109"/>
                    </a:cubicBezTo>
                    <a:cubicBezTo>
                      <a:pt x="6570" y="19365"/>
                      <a:pt x="1547" y="16375"/>
                      <a:pt x="290" y="11471"/>
                    </a:cubicBezTo>
                    <a:close/>
                  </a:path>
                </a:pathLst>
              </a:custGeom>
              <a:grpFill/>
              <a:ln w="5978" cap="flat">
                <a:noFill/>
                <a:prstDash val="solid"/>
                <a:miter/>
              </a:ln>
            </p:spPr>
            <p:txBody>
              <a:bodyPr rtlCol="0" anchor="ctr"/>
              <a:lstStyle/>
              <a:p>
                <a:endParaRPr lang="en-GB"/>
              </a:p>
            </p:txBody>
          </p:sp>
          <p:sp>
            <p:nvSpPr>
              <p:cNvPr id="3444" name="Vrije vorm: vorm 3443">
                <a:extLst>
                  <a:ext uri="{FF2B5EF4-FFF2-40B4-BE49-F238E27FC236}">
                    <a16:creationId xmlns:a16="http://schemas.microsoft.com/office/drawing/2014/main" id="{039A0AD1-88F0-45DB-AC0A-7317D57D5ABC}"/>
                  </a:ext>
                </a:extLst>
              </p:cNvPr>
              <p:cNvSpPr/>
              <p:nvPr/>
            </p:nvSpPr>
            <p:spPr>
              <a:xfrm>
                <a:off x="5623103" y="1757846"/>
                <a:ext cx="18343" cy="18395"/>
              </a:xfrm>
              <a:custGeom>
                <a:avLst/>
                <a:gdLst>
                  <a:gd name="connsiteX0" fmla="*/ 290 w 18343"/>
                  <a:gd name="connsiteY0" fmla="*/ 11471 h 18395"/>
                  <a:gd name="connsiteX1" fmla="*/ 11474 w 18343"/>
                  <a:gd name="connsiteY1" fmla="*/ 18109 h 18395"/>
                  <a:gd name="connsiteX2" fmla="*/ 18053 w 18343"/>
                  <a:gd name="connsiteY2" fmla="*/ 6925 h 18395"/>
                  <a:gd name="connsiteX3" fmla="*/ 6869 w 18343"/>
                  <a:gd name="connsiteY3" fmla="*/ 287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1547" y="16375"/>
                      <a:pt x="6570" y="19365"/>
                      <a:pt x="11474" y="18109"/>
                    </a:cubicBezTo>
                    <a:cubicBezTo>
                      <a:pt x="16379" y="16853"/>
                      <a:pt x="19309" y="11829"/>
                      <a:pt x="18053" y="6925"/>
                    </a:cubicBezTo>
                    <a:cubicBezTo>
                      <a:pt x="16797" y="2021"/>
                      <a:pt x="11773" y="-969"/>
                      <a:pt x="6869" y="287"/>
                    </a:cubicBezTo>
                    <a:cubicBezTo>
                      <a:pt x="1965" y="1543"/>
                      <a:pt x="-965" y="6566"/>
                      <a:pt x="290" y="11471"/>
                    </a:cubicBezTo>
                    <a:close/>
                  </a:path>
                </a:pathLst>
              </a:custGeom>
              <a:grpFill/>
              <a:ln w="5978" cap="flat">
                <a:noFill/>
                <a:prstDash val="solid"/>
                <a:miter/>
              </a:ln>
            </p:spPr>
            <p:txBody>
              <a:bodyPr rtlCol="0" anchor="ctr"/>
              <a:lstStyle/>
              <a:p>
                <a:endParaRPr lang="en-GB"/>
              </a:p>
            </p:txBody>
          </p:sp>
        </p:grpSp>
        <p:grpSp>
          <p:nvGrpSpPr>
            <p:cNvPr id="650" name="Graphic 3">
              <a:extLst>
                <a:ext uri="{FF2B5EF4-FFF2-40B4-BE49-F238E27FC236}">
                  <a16:creationId xmlns:a16="http://schemas.microsoft.com/office/drawing/2014/main" id="{6B424FBB-201E-4EA8-9A17-B563D96E4063}"/>
                </a:ext>
              </a:extLst>
            </p:cNvPr>
            <p:cNvGrpSpPr/>
            <p:nvPr/>
          </p:nvGrpSpPr>
          <p:grpSpPr>
            <a:xfrm>
              <a:off x="6799532" y="5242113"/>
              <a:ext cx="66506" cy="135753"/>
              <a:chOff x="6799532" y="5242113"/>
              <a:chExt cx="66506" cy="135753"/>
            </a:xfrm>
            <a:grpFill/>
          </p:grpSpPr>
          <p:sp>
            <p:nvSpPr>
              <p:cNvPr id="3439" name="Vrije vorm: vorm 3438">
                <a:extLst>
                  <a:ext uri="{FF2B5EF4-FFF2-40B4-BE49-F238E27FC236}">
                    <a16:creationId xmlns:a16="http://schemas.microsoft.com/office/drawing/2014/main" id="{FCB1AB64-673A-400C-B524-2614B975665C}"/>
                  </a:ext>
                </a:extLst>
              </p:cNvPr>
              <p:cNvSpPr/>
              <p:nvPr/>
            </p:nvSpPr>
            <p:spPr>
              <a:xfrm>
                <a:off x="6806995" y="5249917"/>
                <a:ext cx="51375" cy="119381"/>
              </a:xfrm>
              <a:custGeom>
                <a:avLst/>
                <a:gdLst>
                  <a:gd name="connsiteX0" fmla="*/ 0 w 51375"/>
                  <a:gd name="connsiteY0" fmla="*/ 1159 h 119381"/>
                  <a:gd name="connsiteX1" fmla="*/ 2822 w 51375"/>
                  <a:gd name="connsiteY1" fmla="*/ 0 h 119381"/>
                  <a:gd name="connsiteX2" fmla="*/ 51376 w 51375"/>
                  <a:gd name="connsiteY2" fmla="*/ 118222 h 119381"/>
                  <a:gd name="connsiteX3" fmla="*/ 48554 w 51375"/>
                  <a:gd name="connsiteY3" fmla="*/ 119381 h 119381"/>
                </a:gdLst>
                <a:ahLst/>
                <a:cxnLst>
                  <a:cxn ang="0">
                    <a:pos x="connsiteX0" y="connsiteY0"/>
                  </a:cxn>
                  <a:cxn ang="0">
                    <a:pos x="connsiteX1" y="connsiteY1"/>
                  </a:cxn>
                  <a:cxn ang="0">
                    <a:pos x="connsiteX2" y="connsiteY2"/>
                  </a:cxn>
                  <a:cxn ang="0">
                    <a:pos x="connsiteX3" y="connsiteY3"/>
                  </a:cxn>
                </a:cxnLst>
                <a:rect l="l" t="t" r="r" b="b"/>
                <a:pathLst>
                  <a:path w="51375" h="119381">
                    <a:moveTo>
                      <a:pt x="0" y="1159"/>
                    </a:moveTo>
                    <a:lnTo>
                      <a:pt x="2822" y="0"/>
                    </a:lnTo>
                    <a:lnTo>
                      <a:pt x="51376" y="118222"/>
                    </a:lnTo>
                    <a:lnTo>
                      <a:pt x="48554" y="119381"/>
                    </a:lnTo>
                    <a:close/>
                  </a:path>
                </a:pathLst>
              </a:custGeom>
              <a:grpFill/>
              <a:ln w="5978" cap="flat">
                <a:noFill/>
                <a:prstDash val="solid"/>
                <a:miter/>
              </a:ln>
            </p:spPr>
            <p:txBody>
              <a:bodyPr rtlCol="0" anchor="ctr"/>
              <a:lstStyle/>
              <a:p>
                <a:endParaRPr lang="en-GB"/>
              </a:p>
            </p:txBody>
          </p:sp>
          <p:sp>
            <p:nvSpPr>
              <p:cNvPr id="3440" name="Vrije vorm: vorm 3439">
                <a:extLst>
                  <a:ext uri="{FF2B5EF4-FFF2-40B4-BE49-F238E27FC236}">
                    <a16:creationId xmlns:a16="http://schemas.microsoft.com/office/drawing/2014/main" id="{FC932841-871B-493C-9218-274FADCB769B}"/>
                  </a:ext>
                </a:extLst>
              </p:cNvPr>
              <p:cNvSpPr/>
              <p:nvPr/>
            </p:nvSpPr>
            <p:spPr>
              <a:xfrm>
                <a:off x="6847737" y="5359463"/>
                <a:ext cx="18301" cy="18403"/>
              </a:xfrm>
              <a:custGeom>
                <a:avLst/>
                <a:gdLst>
                  <a:gd name="connsiteX0" fmla="*/ 17613 w 18301"/>
                  <a:gd name="connsiteY0" fmla="*/ 5703 h 18403"/>
                  <a:gd name="connsiteX1" fmla="*/ 12649 w 18301"/>
                  <a:gd name="connsiteY1" fmla="*/ 17724 h 18403"/>
                  <a:gd name="connsiteX2" fmla="*/ 688 w 18301"/>
                  <a:gd name="connsiteY2" fmla="*/ 12700 h 18403"/>
                  <a:gd name="connsiteX3" fmla="*/ 5652 w 18301"/>
                  <a:gd name="connsiteY3" fmla="*/ 679 h 18403"/>
                  <a:gd name="connsiteX4" fmla="*/ 17613 w 18301"/>
                  <a:gd name="connsiteY4" fmla="*/ 57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03">
                    <a:moveTo>
                      <a:pt x="17613" y="5703"/>
                    </a:moveTo>
                    <a:cubicBezTo>
                      <a:pt x="19527" y="10428"/>
                      <a:pt x="17315" y="15810"/>
                      <a:pt x="12649" y="17724"/>
                    </a:cubicBezTo>
                    <a:cubicBezTo>
                      <a:pt x="7984" y="19638"/>
                      <a:pt x="2602" y="17365"/>
                      <a:pt x="688" y="12700"/>
                    </a:cubicBezTo>
                    <a:cubicBezTo>
                      <a:pt x="-1225" y="7976"/>
                      <a:pt x="987" y="2593"/>
                      <a:pt x="5652" y="679"/>
                    </a:cubicBezTo>
                    <a:cubicBezTo>
                      <a:pt x="10317" y="-1235"/>
                      <a:pt x="15700" y="1038"/>
                      <a:pt x="17613" y="5703"/>
                    </a:cubicBezTo>
                    <a:close/>
                  </a:path>
                </a:pathLst>
              </a:custGeom>
              <a:grpFill/>
              <a:ln w="5978" cap="flat">
                <a:noFill/>
                <a:prstDash val="solid"/>
                <a:miter/>
              </a:ln>
            </p:spPr>
            <p:txBody>
              <a:bodyPr rtlCol="0" anchor="ctr"/>
              <a:lstStyle/>
              <a:p>
                <a:endParaRPr lang="en-GB"/>
              </a:p>
            </p:txBody>
          </p:sp>
          <p:sp>
            <p:nvSpPr>
              <p:cNvPr id="3441" name="Vrije vorm: vorm 3440">
                <a:extLst>
                  <a:ext uri="{FF2B5EF4-FFF2-40B4-BE49-F238E27FC236}">
                    <a16:creationId xmlns:a16="http://schemas.microsoft.com/office/drawing/2014/main" id="{D5054C72-D84C-4FAD-A1CC-38419A214FDE}"/>
                  </a:ext>
                </a:extLst>
              </p:cNvPr>
              <p:cNvSpPr/>
              <p:nvPr/>
            </p:nvSpPr>
            <p:spPr>
              <a:xfrm>
                <a:off x="6799532" y="5242113"/>
                <a:ext cx="18301" cy="18419"/>
              </a:xfrm>
              <a:custGeom>
                <a:avLst/>
                <a:gdLst>
                  <a:gd name="connsiteX0" fmla="*/ 17614 w 18301"/>
                  <a:gd name="connsiteY0" fmla="*/ 5711 h 18419"/>
                  <a:gd name="connsiteX1" fmla="*/ 5652 w 18301"/>
                  <a:gd name="connsiteY1" fmla="*/ 687 h 18419"/>
                  <a:gd name="connsiteX2" fmla="*/ 688 w 18301"/>
                  <a:gd name="connsiteY2" fmla="*/ 12708 h 18419"/>
                  <a:gd name="connsiteX3" fmla="*/ 12650 w 18301"/>
                  <a:gd name="connsiteY3" fmla="*/ 17732 h 18419"/>
                  <a:gd name="connsiteX4" fmla="*/ 17614 w 18301"/>
                  <a:gd name="connsiteY4" fmla="*/ 571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19">
                    <a:moveTo>
                      <a:pt x="17614" y="5711"/>
                    </a:moveTo>
                    <a:cubicBezTo>
                      <a:pt x="15700" y="986"/>
                      <a:pt x="10317" y="-1226"/>
                      <a:pt x="5652" y="687"/>
                    </a:cubicBezTo>
                    <a:cubicBezTo>
                      <a:pt x="987" y="2601"/>
                      <a:pt x="-1226" y="7984"/>
                      <a:pt x="688" y="12708"/>
                    </a:cubicBezTo>
                    <a:cubicBezTo>
                      <a:pt x="2602" y="17433"/>
                      <a:pt x="7985" y="19646"/>
                      <a:pt x="12650" y="17732"/>
                    </a:cubicBezTo>
                    <a:cubicBezTo>
                      <a:pt x="17314" y="15759"/>
                      <a:pt x="19527" y="10376"/>
                      <a:pt x="17614" y="5711"/>
                    </a:cubicBezTo>
                    <a:close/>
                  </a:path>
                </a:pathLst>
              </a:custGeom>
              <a:grpFill/>
              <a:ln w="5978" cap="flat">
                <a:noFill/>
                <a:prstDash val="solid"/>
                <a:miter/>
              </a:ln>
            </p:spPr>
            <p:txBody>
              <a:bodyPr rtlCol="0" anchor="ctr"/>
              <a:lstStyle/>
              <a:p>
                <a:endParaRPr lang="en-GB"/>
              </a:p>
            </p:txBody>
          </p:sp>
        </p:grpSp>
        <p:grpSp>
          <p:nvGrpSpPr>
            <p:cNvPr id="651" name="Graphic 3">
              <a:extLst>
                <a:ext uri="{FF2B5EF4-FFF2-40B4-BE49-F238E27FC236}">
                  <a16:creationId xmlns:a16="http://schemas.microsoft.com/office/drawing/2014/main" id="{84DC8059-0BE1-4B0E-9D74-C856F620443C}"/>
                </a:ext>
              </a:extLst>
            </p:cNvPr>
            <p:cNvGrpSpPr/>
            <p:nvPr/>
          </p:nvGrpSpPr>
          <p:grpSpPr>
            <a:xfrm>
              <a:off x="5489260" y="1391555"/>
              <a:ext cx="55690" cy="153565"/>
              <a:chOff x="5489260" y="1391555"/>
              <a:chExt cx="55690" cy="153565"/>
            </a:xfrm>
            <a:grpFill/>
          </p:grpSpPr>
          <p:sp>
            <p:nvSpPr>
              <p:cNvPr id="3436" name="Vrije vorm: vorm 3435">
                <a:extLst>
                  <a:ext uri="{FF2B5EF4-FFF2-40B4-BE49-F238E27FC236}">
                    <a16:creationId xmlns:a16="http://schemas.microsoft.com/office/drawing/2014/main" id="{76F25B51-5C47-420C-B877-7BEF85AFF048}"/>
                  </a:ext>
                </a:extLst>
              </p:cNvPr>
              <p:cNvSpPr/>
              <p:nvPr/>
            </p:nvSpPr>
            <p:spPr>
              <a:xfrm>
                <a:off x="5496710" y="1399629"/>
                <a:ext cx="40512" cy="136861"/>
              </a:xfrm>
              <a:custGeom>
                <a:avLst/>
                <a:gdLst>
                  <a:gd name="connsiteX0" fmla="*/ 0 w 40512"/>
                  <a:gd name="connsiteY0" fmla="*/ 812 h 136861"/>
                  <a:gd name="connsiteX1" fmla="*/ 2940 w 40512"/>
                  <a:gd name="connsiteY1" fmla="*/ 0 h 136861"/>
                  <a:gd name="connsiteX2" fmla="*/ 40513 w 40512"/>
                  <a:gd name="connsiteY2" fmla="*/ 136050 h 136861"/>
                  <a:gd name="connsiteX3" fmla="*/ 37573 w 40512"/>
                  <a:gd name="connsiteY3" fmla="*/ 136862 h 136861"/>
                </a:gdLst>
                <a:ahLst/>
                <a:cxnLst>
                  <a:cxn ang="0">
                    <a:pos x="connsiteX0" y="connsiteY0"/>
                  </a:cxn>
                  <a:cxn ang="0">
                    <a:pos x="connsiteX1" y="connsiteY1"/>
                  </a:cxn>
                  <a:cxn ang="0">
                    <a:pos x="connsiteX2" y="connsiteY2"/>
                  </a:cxn>
                  <a:cxn ang="0">
                    <a:pos x="connsiteX3" y="connsiteY3"/>
                  </a:cxn>
                </a:cxnLst>
                <a:rect l="l" t="t" r="r" b="b"/>
                <a:pathLst>
                  <a:path w="40512" h="136861">
                    <a:moveTo>
                      <a:pt x="0" y="812"/>
                    </a:moveTo>
                    <a:lnTo>
                      <a:pt x="2940" y="0"/>
                    </a:lnTo>
                    <a:lnTo>
                      <a:pt x="40513" y="136050"/>
                    </a:lnTo>
                    <a:lnTo>
                      <a:pt x="37573" y="136862"/>
                    </a:lnTo>
                    <a:close/>
                  </a:path>
                </a:pathLst>
              </a:custGeom>
              <a:grpFill/>
              <a:ln w="5978" cap="flat">
                <a:noFill/>
                <a:prstDash val="solid"/>
                <a:miter/>
              </a:ln>
            </p:spPr>
            <p:txBody>
              <a:bodyPr rtlCol="0" anchor="ctr"/>
              <a:lstStyle/>
              <a:p>
                <a:endParaRPr lang="en-GB"/>
              </a:p>
            </p:txBody>
          </p:sp>
          <p:sp>
            <p:nvSpPr>
              <p:cNvPr id="3437" name="Vrije vorm: vorm 3436">
                <a:extLst>
                  <a:ext uri="{FF2B5EF4-FFF2-40B4-BE49-F238E27FC236}">
                    <a16:creationId xmlns:a16="http://schemas.microsoft.com/office/drawing/2014/main" id="{F82E7C6C-938C-4D80-BDD9-5B5C949EE8B6}"/>
                  </a:ext>
                </a:extLst>
              </p:cNvPr>
              <p:cNvSpPr/>
              <p:nvPr/>
            </p:nvSpPr>
            <p:spPr>
              <a:xfrm>
                <a:off x="5489260" y="1391555"/>
                <a:ext cx="18391" cy="18400"/>
              </a:xfrm>
              <a:custGeom>
                <a:avLst/>
                <a:gdLst>
                  <a:gd name="connsiteX0" fmla="*/ 344 w 18391"/>
                  <a:gd name="connsiteY0" fmla="*/ 11623 h 18400"/>
                  <a:gd name="connsiteX1" fmla="*/ 6744 w 18391"/>
                  <a:gd name="connsiteY1" fmla="*/ 319 h 18400"/>
                  <a:gd name="connsiteX2" fmla="*/ 18047 w 18391"/>
                  <a:gd name="connsiteY2" fmla="*/ 6778 h 18400"/>
                  <a:gd name="connsiteX3" fmla="*/ 11648 w 18391"/>
                  <a:gd name="connsiteY3" fmla="*/ 18082 h 18400"/>
                  <a:gd name="connsiteX4" fmla="*/ 344 w 18391"/>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00">
                    <a:moveTo>
                      <a:pt x="344" y="11623"/>
                    </a:moveTo>
                    <a:cubicBezTo>
                      <a:pt x="-1031" y="6718"/>
                      <a:pt x="1839" y="1635"/>
                      <a:pt x="6744" y="319"/>
                    </a:cubicBezTo>
                    <a:cubicBezTo>
                      <a:pt x="11648" y="-997"/>
                      <a:pt x="16671" y="1874"/>
                      <a:pt x="18047" y="6778"/>
                    </a:cubicBezTo>
                    <a:cubicBezTo>
                      <a:pt x="19423" y="11682"/>
                      <a:pt x="16552" y="16766"/>
                      <a:pt x="11648" y="18082"/>
                    </a:cubicBezTo>
                    <a:cubicBezTo>
                      <a:pt x="6744" y="19398"/>
                      <a:pt x="1660" y="16527"/>
                      <a:pt x="344" y="11623"/>
                    </a:cubicBezTo>
                    <a:close/>
                  </a:path>
                </a:pathLst>
              </a:custGeom>
              <a:grpFill/>
              <a:ln w="5978" cap="flat">
                <a:noFill/>
                <a:prstDash val="solid"/>
                <a:miter/>
              </a:ln>
            </p:spPr>
            <p:txBody>
              <a:bodyPr rtlCol="0" anchor="ctr"/>
              <a:lstStyle/>
              <a:p>
                <a:endParaRPr lang="en-GB"/>
              </a:p>
            </p:txBody>
          </p:sp>
          <p:sp>
            <p:nvSpPr>
              <p:cNvPr id="3438" name="Vrije vorm: vorm 3437">
                <a:extLst>
                  <a:ext uri="{FF2B5EF4-FFF2-40B4-BE49-F238E27FC236}">
                    <a16:creationId xmlns:a16="http://schemas.microsoft.com/office/drawing/2014/main" id="{B9408B14-8E8A-4D07-B309-8D85330F2232}"/>
                  </a:ext>
                </a:extLst>
              </p:cNvPr>
              <p:cNvSpPr/>
              <p:nvPr/>
            </p:nvSpPr>
            <p:spPr>
              <a:xfrm>
                <a:off x="5526580" y="1526719"/>
                <a:ext cx="18370" cy="18400"/>
              </a:xfrm>
              <a:custGeom>
                <a:avLst/>
                <a:gdLst>
                  <a:gd name="connsiteX0" fmla="*/ 344 w 18370"/>
                  <a:gd name="connsiteY0" fmla="*/ 11623 h 18400"/>
                  <a:gd name="connsiteX1" fmla="*/ 11648 w 18370"/>
                  <a:gd name="connsiteY1" fmla="*/ 18082 h 18400"/>
                  <a:gd name="connsiteX2" fmla="*/ 18047 w 18370"/>
                  <a:gd name="connsiteY2" fmla="*/ 6778 h 18400"/>
                  <a:gd name="connsiteX3" fmla="*/ 6744 w 18370"/>
                  <a:gd name="connsiteY3" fmla="*/ 319 h 18400"/>
                  <a:gd name="connsiteX4" fmla="*/ 344 w 18370"/>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00">
                    <a:moveTo>
                      <a:pt x="344" y="11623"/>
                    </a:moveTo>
                    <a:cubicBezTo>
                      <a:pt x="1720" y="16527"/>
                      <a:pt x="6744" y="19398"/>
                      <a:pt x="11648" y="18082"/>
                    </a:cubicBezTo>
                    <a:cubicBezTo>
                      <a:pt x="16552" y="16766"/>
                      <a:pt x="19363" y="11682"/>
                      <a:pt x="18047" y="6778"/>
                    </a:cubicBezTo>
                    <a:cubicBezTo>
                      <a:pt x="16672" y="1874"/>
                      <a:pt x="11648" y="-997"/>
                      <a:pt x="6744" y="319"/>
                    </a:cubicBezTo>
                    <a:cubicBezTo>
                      <a:pt x="1839" y="1635"/>
                      <a:pt x="-1031" y="6718"/>
                      <a:pt x="344" y="11623"/>
                    </a:cubicBezTo>
                    <a:close/>
                  </a:path>
                </a:pathLst>
              </a:custGeom>
              <a:grpFill/>
              <a:ln w="5978" cap="flat">
                <a:noFill/>
                <a:prstDash val="solid"/>
                <a:miter/>
              </a:ln>
            </p:spPr>
            <p:txBody>
              <a:bodyPr rtlCol="0" anchor="ctr"/>
              <a:lstStyle/>
              <a:p>
                <a:endParaRPr lang="en-GB"/>
              </a:p>
            </p:txBody>
          </p:sp>
        </p:grpSp>
        <p:grpSp>
          <p:nvGrpSpPr>
            <p:cNvPr id="652" name="Graphic 3">
              <a:extLst>
                <a:ext uri="{FF2B5EF4-FFF2-40B4-BE49-F238E27FC236}">
                  <a16:creationId xmlns:a16="http://schemas.microsoft.com/office/drawing/2014/main" id="{9FA79B0B-C7D1-46C8-A7D6-787B8E25C80E}"/>
                </a:ext>
              </a:extLst>
            </p:cNvPr>
            <p:cNvGrpSpPr/>
            <p:nvPr/>
          </p:nvGrpSpPr>
          <p:grpSpPr>
            <a:xfrm>
              <a:off x="5452957" y="1260218"/>
              <a:ext cx="49709" cy="131974"/>
              <a:chOff x="5452957" y="1260218"/>
              <a:chExt cx="49709" cy="131974"/>
            </a:xfrm>
            <a:grpFill/>
          </p:grpSpPr>
          <p:sp>
            <p:nvSpPr>
              <p:cNvPr id="3433" name="Vrije vorm: vorm 3432">
                <a:extLst>
                  <a:ext uri="{FF2B5EF4-FFF2-40B4-BE49-F238E27FC236}">
                    <a16:creationId xmlns:a16="http://schemas.microsoft.com/office/drawing/2014/main" id="{EEFB1E75-E0A7-41A1-B756-7F0B24B42FFE}"/>
                  </a:ext>
                </a:extLst>
              </p:cNvPr>
              <p:cNvSpPr/>
              <p:nvPr/>
            </p:nvSpPr>
            <p:spPr>
              <a:xfrm>
                <a:off x="5460332" y="1268688"/>
                <a:ext cx="34546" cy="115300"/>
              </a:xfrm>
              <a:custGeom>
                <a:avLst/>
                <a:gdLst>
                  <a:gd name="connsiteX0" fmla="*/ 0 w 34546"/>
                  <a:gd name="connsiteY0" fmla="*/ 812 h 115300"/>
                  <a:gd name="connsiteX1" fmla="*/ 2940 w 34546"/>
                  <a:gd name="connsiteY1" fmla="*/ 0 h 115300"/>
                  <a:gd name="connsiteX2" fmla="*/ 34547 w 34546"/>
                  <a:gd name="connsiteY2" fmla="*/ 114489 h 115300"/>
                  <a:gd name="connsiteX3" fmla="*/ 31607 w 34546"/>
                  <a:gd name="connsiteY3" fmla="*/ 115301 h 115300"/>
                </a:gdLst>
                <a:ahLst/>
                <a:cxnLst>
                  <a:cxn ang="0">
                    <a:pos x="connsiteX0" y="connsiteY0"/>
                  </a:cxn>
                  <a:cxn ang="0">
                    <a:pos x="connsiteX1" y="connsiteY1"/>
                  </a:cxn>
                  <a:cxn ang="0">
                    <a:pos x="connsiteX2" y="connsiteY2"/>
                  </a:cxn>
                  <a:cxn ang="0">
                    <a:pos x="connsiteX3" y="connsiteY3"/>
                  </a:cxn>
                </a:cxnLst>
                <a:rect l="l" t="t" r="r" b="b"/>
                <a:pathLst>
                  <a:path w="34546" h="115300">
                    <a:moveTo>
                      <a:pt x="0" y="812"/>
                    </a:moveTo>
                    <a:lnTo>
                      <a:pt x="2940" y="0"/>
                    </a:lnTo>
                    <a:lnTo>
                      <a:pt x="34547" y="114489"/>
                    </a:lnTo>
                    <a:lnTo>
                      <a:pt x="31607" y="115301"/>
                    </a:lnTo>
                    <a:close/>
                  </a:path>
                </a:pathLst>
              </a:custGeom>
              <a:grpFill/>
              <a:ln w="5978" cap="flat">
                <a:noFill/>
                <a:prstDash val="solid"/>
                <a:miter/>
              </a:ln>
            </p:spPr>
            <p:txBody>
              <a:bodyPr rtlCol="0" anchor="ctr"/>
              <a:lstStyle/>
              <a:p>
                <a:endParaRPr lang="en-GB"/>
              </a:p>
            </p:txBody>
          </p:sp>
          <p:sp>
            <p:nvSpPr>
              <p:cNvPr id="3434" name="Vrije vorm: vorm 3433">
                <a:extLst>
                  <a:ext uri="{FF2B5EF4-FFF2-40B4-BE49-F238E27FC236}">
                    <a16:creationId xmlns:a16="http://schemas.microsoft.com/office/drawing/2014/main" id="{D7BBA524-1EE9-4A00-B806-5ACD6458B85F}"/>
                  </a:ext>
                </a:extLst>
              </p:cNvPr>
              <p:cNvSpPr/>
              <p:nvPr/>
            </p:nvSpPr>
            <p:spPr>
              <a:xfrm>
                <a:off x="5452957" y="1260218"/>
                <a:ext cx="18391" cy="18400"/>
              </a:xfrm>
              <a:custGeom>
                <a:avLst/>
                <a:gdLst>
                  <a:gd name="connsiteX0" fmla="*/ 344 w 18391"/>
                  <a:gd name="connsiteY0" fmla="*/ 11623 h 18400"/>
                  <a:gd name="connsiteX1" fmla="*/ 6744 w 18391"/>
                  <a:gd name="connsiteY1" fmla="*/ 319 h 18400"/>
                  <a:gd name="connsiteX2" fmla="*/ 18047 w 18391"/>
                  <a:gd name="connsiteY2" fmla="*/ 6778 h 18400"/>
                  <a:gd name="connsiteX3" fmla="*/ 11648 w 18391"/>
                  <a:gd name="connsiteY3" fmla="*/ 18082 h 18400"/>
                  <a:gd name="connsiteX4" fmla="*/ 344 w 18391"/>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00">
                    <a:moveTo>
                      <a:pt x="344" y="11623"/>
                    </a:moveTo>
                    <a:cubicBezTo>
                      <a:pt x="-1031" y="6718"/>
                      <a:pt x="1839" y="1635"/>
                      <a:pt x="6744" y="319"/>
                    </a:cubicBezTo>
                    <a:cubicBezTo>
                      <a:pt x="11648" y="-997"/>
                      <a:pt x="16672" y="1874"/>
                      <a:pt x="18047" y="6778"/>
                    </a:cubicBezTo>
                    <a:cubicBezTo>
                      <a:pt x="19423" y="11682"/>
                      <a:pt x="16552" y="16766"/>
                      <a:pt x="11648" y="18082"/>
                    </a:cubicBezTo>
                    <a:cubicBezTo>
                      <a:pt x="6744" y="19398"/>
                      <a:pt x="1720" y="16527"/>
                      <a:pt x="344" y="11623"/>
                    </a:cubicBezTo>
                    <a:close/>
                  </a:path>
                </a:pathLst>
              </a:custGeom>
              <a:grpFill/>
              <a:ln w="5978" cap="flat">
                <a:noFill/>
                <a:prstDash val="solid"/>
                <a:miter/>
              </a:ln>
            </p:spPr>
            <p:txBody>
              <a:bodyPr rtlCol="0" anchor="ctr"/>
              <a:lstStyle/>
              <a:p>
                <a:endParaRPr lang="en-GB"/>
              </a:p>
            </p:txBody>
          </p:sp>
          <p:sp>
            <p:nvSpPr>
              <p:cNvPr id="3435" name="Vrije vorm: vorm 3434">
                <a:extLst>
                  <a:ext uri="{FF2B5EF4-FFF2-40B4-BE49-F238E27FC236}">
                    <a16:creationId xmlns:a16="http://schemas.microsoft.com/office/drawing/2014/main" id="{B20B7C12-C8BE-440D-8FFD-FC1AB4D428E7}"/>
                  </a:ext>
                </a:extLst>
              </p:cNvPr>
              <p:cNvSpPr/>
              <p:nvPr/>
            </p:nvSpPr>
            <p:spPr>
              <a:xfrm>
                <a:off x="5484321" y="1373792"/>
                <a:ext cx="18345" cy="18400"/>
              </a:xfrm>
              <a:custGeom>
                <a:avLst/>
                <a:gdLst>
                  <a:gd name="connsiteX0" fmla="*/ 319 w 18345"/>
                  <a:gd name="connsiteY0" fmla="*/ 11623 h 18400"/>
                  <a:gd name="connsiteX1" fmla="*/ 11623 w 18345"/>
                  <a:gd name="connsiteY1" fmla="*/ 18082 h 18400"/>
                  <a:gd name="connsiteX2" fmla="*/ 18022 w 18345"/>
                  <a:gd name="connsiteY2" fmla="*/ 6778 h 18400"/>
                  <a:gd name="connsiteX3" fmla="*/ 6719 w 18345"/>
                  <a:gd name="connsiteY3" fmla="*/ 319 h 18400"/>
                  <a:gd name="connsiteX4" fmla="*/ 319 w 18345"/>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0">
                    <a:moveTo>
                      <a:pt x="319" y="11623"/>
                    </a:moveTo>
                    <a:cubicBezTo>
                      <a:pt x="1695" y="16527"/>
                      <a:pt x="6719" y="19398"/>
                      <a:pt x="11623" y="18082"/>
                    </a:cubicBezTo>
                    <a:cubicBezTo>
                      <a:pt x="16527" y="16766"/>
                      <a:pt x="19338" y="11682"/>
                      <a:pt x="18022" y="6778"/>
                    </a:cubicBezTo>
                    <a:cubicBezTo>
                      <a:pt x="16647" y="1874"/>
                      <a:pt x="11623" y="-997"/>
                      <a:pt x="6719" y="319"/>
                    </a:cubicBezTo>
                    <a:cubicBezTo>
                      <a:pt x="1874" y="1635"/>
                      <a:pt x="-996" y="6718"/>
                      <a:pt x="319" y="11623"/>
                    </a:cubicBezTo>
                    <a:close/>
                  </a:path>
                </a:pathLst>
              </a:custGeom>
              <a:grpFill/>
              <a:ln w="5978" cap="flat">
                <a:noFill/>
                <a:prstDash val="solid"/>
                <a:miter/>
              </a:ln>
            </p:spPr>
            <p:txBody>
              <a:bodyPr rtlCol="0" anchor="ctr"/>
              <a:lstStyle/>
              <a:p>
                <a:endParaRPr lang="en-GB"/>
              </a:p>
            </p:txBody>
          </p:sp>
        </p:grpSp>
        <p:grpSp>
          <p:nvGrpSpPr>
            <p:cNvPr id="653" name="Graphic 3">
              <a:extLst>
                <a:ext uri="{FF2B5EF4-FFF2-40B4-BE49-F238E27FC236}">
                  <a16:creationId xmlns:a16="http://schemas.microsoft.com/office/drawing/2014/main" id="{8B11DDD3-DDDC-4A9F-90DA-99B5F687C11C}"/>
                </a:ext>
              </a:extLst>
            </p:cNvPr>
            <p:cNvGrpSpPr/>
            <p:nvPr/>
          </p:nvGrpSpPr>
          <p:grpSpPr>
            <a:xfrm>
              <a:off x="5496673" y="1266589"/>
              <a:ext cx="117797" cy="527773"/>
              <a:chOff x="5496673" y="1266589"/>
              <a:chExt cx="117797" cy="527773"/>
            </a:xfrm>
            <a:grpFill/>
          </p:grpSpPr>
          <p:sp>
            <p:nvSpPr>
              <p:cNvPr id="3430" name="Vrije vorm: vorm 3429">
                <a:extLst>
                  <a:ext uri="{FF2B5EF4-FFF2-40B4-BE49-F238E27FC236}">
                    <a16:creationId xmlns:a16="http://schemas.microsoft.com/office/drawing/2014/main" id="{96461F77-5946-4BAA-919B-02A272187884}"/>
                  </a:ext>
                </a:extLst>
              </p:cNvPr>
              <p:cNvSpPr/>
              <p:nvPr/>
            </p:nvSpPr>
            <p:spPr>
              <a:xfrm>
                <a:off x="5504257" y="1275070"/>
                <a:ext cx="102629" cy="510873"/>
              </a:xfrm>
              <a:custGeom>
                <a:avLst/>
                <a:gdLst>
                  <a:gd name="connsiteX0" fmla="*/ 2990 w 102629"/>
                  <a:gd name="connsiteY0" fmla="*/ 0 h 510873"/>
                  <a:gd name="connsiteX1" fmla="*/ 102629 w 102629"/>
                  <a:gd name="connsiteY1" fmla="*/ 510275 h 510873"/>
                  <a:gd name="connsiteX2" fmla="*/ 99639 w 102629"/>
                  <a:gd name="connsiteY2" fmla="*/ 510873 h 510873"/>
                  <a:gd name="connsiteX3" fmla="*/ 0 w 102629"/>
                  <a:gd name="connsiteY3" fmla="*/ 598 h 510873"/>
                </a:gdLst>
                <a:ahLst/>
                <a:cxnLst>
                  <a:cxn ang="0">
                    <a:pos x="connsiteX0" y="connsiteY0"/>
                  </a:cxn>
                  <a:cxn ang="0">
                    <a:pos x="connsiteX1" y="connsiteY1"/>
                  </a:cxn>
                  <a:cxn ang="0">
                    <a:pos x="connsiteX2" y="connsiteY2"/>
                  </a:cxn>
                  <a:cxn ang="0">
                    <a:pos x="connsiteX3" y="connsiteY3"/>
                  </a:cxn>
                </a:cxnLst>
                <a:rect l="l" t="t" r="r" b="b"/>
                <a:pathLst>
                  <a:path w="102629" h="510873">
                    <a:moveTo>
                      <a:pt x="2990" y="0"/>
                    </a:moveTo>
                    <a:lnTo>
                      <a:pt x="102629" y="510275"/>
                    </a:lnTo>
                    <a:lnTo>
                      <a:pt x="99639" y="510873"/>
                    </a:lnTo>
                    <a:lnTo>
                      <a:pt x="0" y="598"/>
                    </a:lnTo>
                    <a:close/>
                  </a:path>
                </a:pathLst>
              </a:custGeom>
              <a:grpFill/>
              <a:ln w="5978" cap="flat">
                <a:noFill/>
                <a:prstDash val="solid"/>
                <a:miter/>
              </a:ln>
            </p:spPr>
            <p:txBody>
              <a:bodyPr rtlCol="0" anchor="ctr"/>
              <a:lstStyle/>
              <a:p>
                <a:endParaRPr lang="en-GB"/>
              </a:p>
            </p:txBody>
          </p:sp>
          <p:sp>
            <p:nvSpPr>
              <p:cNvPr id="3431" name="Vrije vorm: vorm 3430">
                <a:extLst>
                  <a:ext uri="{FF2B5EF4-FFF2-40B4-BE49-F238E27FC236}">
                    <a16:creationId xmlns:a16="http://schemas.microsoft.com/office/drawing/2014/main" id="{3C122F0F-D9D1-4C58-A65F-102675D6510E}"/>
                  </a:ext>
                </a:extLst>
              </p:cNvPr>
              <p:cNvSpPr/>
              <p:nvPr/>
            </p:nvSpPr>
            <p:spPr>
              <a:xfrm>
                <a:off x="5596133" y="1775967"/>
                <a:ext cx="18337" cy="18395"/>
              </a:xfrm>
              <a:custGeom>
                <a:avLst/>
                <a:gdLst>
                  <a:gd name="connsiteX0" fmla="*/ 18170 w 18337"/>
                  <a:gd name="connsiteY0" fmla="*/ 7464 h 18395"/>
                  <a:gd name="connsiteX1" fmla="*/ 10933 w 18337"/>
                  <a:gd name="connsiteY1" fmla="*/ 18230 h 18395"/>
                  <a:gd name="connsiteX2" fmla="*/ 168 w 18337"/>
                  <a:gd name="connsiteY2" fmla="*/ 10933 h 18395"/>
                  <a:gd name="connsiteX3" fmla="*/ 7404 w 18337"/>
                  <a:gd name="connsiteY3" fmla="*/ 168 h 18395"/>
                  <a:gd name="connsiteX4" fmla="*/ 18170 w 18337"/>
                  <a:gd name="connsiteY4" fmla="*/ 7464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395">
                    <a:moveTo>
                      <a:pt x="18170" y="7464"/>
                    </a:moveTo>
                    <a:cubicBezTo>
                      <a:pt x="19127" y="12488"/>
                      <a:pt x="15897" y="17273"/>
                      <a:pt x="10933" y="18230"/>
                    </a:cubicBezTo>
                    <a:cubicBezTo>
                      <a:pt x="5969" y="19186"/>
                      <a:pt x="1125" y="15897"/>
                      <a:pt x="168" y="10933"/>
                    </a:cubicBezTo>
                    <a:cubicBezTo>
                      <a:pt x="-789" y="5909"/>
                      <a:pt x="2441" y="1125"/>
                      <a:pt x="7404" y="168"/>
                    </a:cubicBezTo>
                    <a:cubicBezTo>
                      <a:pt x="12368" y="-789"/>
                      <a:pt x="17153" y="2441"/>
                      <a:pt x="18170" y="7464"/>
                    </a:cubicBezTo>
                    <a:close/>
                  </a:path>
                </a:pathLst>
              </a:custGeom>
              <a:grpFill/>
              <a:ln w="5978" cap="flat">
                <a:noFill/>
                <a:prstDash val="solid"/>
                <a:miter/>
              </a:ln>
            </p:spPr>
            <p:txBody>
              <a:bodyPr rtlCol="0" anchor="ctr"/>
              <a:lstStyle/>
              <a:p>
                <a:endParaRPr lang="en-GB"/>
              </a:p>
            </p:txBody>
          </p:sp>
          <p:sp>
            <p:nvSpPr>
              <p:cNvPr id="3432" name="Vrije vorm: vorm 3431">
                <a:extLst>
                  <a:ext uri="{FF2B5EF4-FFF2-40B4-BE49-F238E27FC236}">
                    <a16:creationId xmlns:a16="http://schemas.microsoft.com/office/drawing/2014/main" id="{DDABB2A8-91CC-4535-857C-09AADF3A838C}"/>
                  </a:ext>
                </a:extLst>
              </p:cNvPr>
              <p:cNvSpPr/>
              <p:nvPr/>
            </p:nvSpPr>
            <p:spPr>
              <a:xfrm>
                <a:off x="5496673" y="1266589"/>
                <a:ext cx="18337" cy="18397"/>
              </a:xfrm>
              <a:custGeom>
                <a:avLst/>
                <a:gdLst>
                  <a:gd name="connsiteX0" fmla="*/ 18170 w 18337"/>
                  <a:gd name="connsiteY0" fmla="*/ 7464 h 18397"/>
                  <a:gd name="connsiteX1" fmla="*/ 7404 w 18337"/>
                  <a:gd name="connsiteY1" fmla="*/ 168 h 18397"/>
                  <a:gd name="connsiteX2" fmla="*/ 168 w 18337"/>
                  <a:gd name="connsiteY2" fmla="*/ 10933 h 18397"/>
                  <a:gd name="connsiteX3" fmla="*/ 10933 w 18337"/>
                  <a:gd name="connsiteY3" fmla="*/ 18230 h 18397"/>
                  <a:gd name="connsiteX4" fmla="*/ 18170 w 18337"/>
                  <a:gd name="connsiteY4" fmla="*/ 7464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397">
                    <a:moveTo>
                      <a:pt x="18170" y="7464"/>
                    </a:moveTo>
                    <a:cubicBezTo>
                      <a:pt x="17213" y="2440"/>
                      <a:pt x="12368" y="-789"/>
                      <a:pt x="7404" y="168"/>
                    </a:cubicBezTo>
                    <a:cubicBezTo>
                      <a:pt x="2441" y="1125"/>
                      <a:pt x="-789" y="5969"/>
                      <a:pt x="168" y="10933"/>
                    </a:cubicBezTo>
                    <a:cubicBezTo>
                      <a:pt x="1125" y="15957"/>
                      <a:pt x="5969" y="19186"/>
                      <a:pt x="10933" y="18230"/>
                    </a:cubicBezTo>
                    <a:cubicBezTo>
                      <a:pt x="15897" y="17332"/>
                      <a:pt x="19127" y="12488"/>
                      <a:pt x="18170" y="7464"/>
                    </a:cubicBezTo>
                    <a:close/>
                  </a:path>
                </a:pathLst>
              </a:custGeom>
              <a:grpFill/>
              <a:ln w="5978" cap="flat">
                <a:noFill/>
                <a:prstDash val="solid"/>
                <a:miter/>
              </a:ln>
            </p:spPr>
            <p:txBody>
              <a:bodyPr rtlCol="0" anchor="ctr"/>
              <a:lstStyle/>
              <a:p>
                <a:endParaRPr lang="en-GB"/>
              </a:p>
            </p:txBody>
          </p:sp>
        </p:grpSp>
        <p:grpSp>
          <p:nvGrpSpPr>
            <p:cNvPr id="654" name="Graphic 3">
              <a:extLst>
                <a:ext uri="{FF2B5EF4-FFF2-40B4-BE49-F238E27FC236}">
                  <a16:creationId xmlns:a16="http://schemas.microsoft.com/office/drawing/2014/main" id="{E14516BF-B2CF-4444-8DDB-05FC9BA7CAB3}"/>
                </a:ext>
              </a:extLst>
            </p:cNvPr>
            <p:cNvGrpSpPr/>
            <p:nvPr/>
          </p:nvGrpSpPr>
          <p:grpSpPr>
            <a:xfrm>
              <a:off x="6742177" y="5102583"/>
              <a:ext cx="68599" cy="140896"/>
              <a:chOff x="6742177" y="5102583"/>
              <a:chExt cx="68599" cy="140896"/>
            </a:xfrm>
            <a:grpFill/>
          </p:grpSpPr>
          <p:sp>
            <p:nvSpPr>
              <p:cNvPr id="3427" name="Vrije vorm: vorm 3426">
                <a:extLst>
                  <a:ext uri="{FF2B5EF4-FFF2-40B4-BE49-F238E27FC236}">
                    <a16:creationId xmlns:a16="http://schemas.microsoft.com/office/drawing/2014/main" id="{08B4528C-3F63-433A-9244-F5FE371FD494}"/>
                  </a:ext>
                </a:extLst>
              </p:cNvPr>
              <p:cNvSpPr/>
              <p:nvPr/>
            </p:nvSpPr>
            <p:spPr>
              <a:xfrm>
                <a:off x="6749790" y="5110424"/>
                <a:ext cx="53505" cy="124458"/>
              </a:xfrm>
              <a:custGeom>
                <a:avLst/>
                <a:gdLst>
                  <a:gd name="connsiteX0" fmla="*/ 0 w 53505"/>
                  <a:gd name="connsiteY0" fmla="*/ 1160 h 124458"/>
                  <a:gd name="connsiteX1" fmla="*/ 2821 w 53505"/>
                  <a:gd name="connsiteY1" fmla="*/ 0 h 124458"/>
                  <a:gd name="connsiteX2" fmla="*/ 53506 w 53505"/>
                  <a:gd name="connsiteY2" fmla="*/ 123299 h 124458"/>
                  <a:gd name="connsiteX3" fmla="*/ 50684 w 53505"/>
                  <a:gd name="connsiteY3" fmla="*/ 124458 h 124458"/>
                </a:gdLst>
                <a:ahLst/>
                <a:cxnLst>
                  <a:cxn ang="0">
                    <a:pos x="connsiteX0" y="connsiteY0"/>
                  </a:cxn>
                  <a:cxn ang="0">
                    <a:pos x="connsiteX1" y="connsiteY1"/>
                  </a:cxn>
                  <a:cxn ang="0">
                    <a:pos x="connsiteX2" y="connsiteY2"/>
                  </a:cxn>
                  <a:cxn ang="0">
                    <a:pos x="connsiteX3" y="connsiteY3"/>
                  </a:cxn>
                </a:cxnLst>
                <a:rect l="l" t="t" r="r" b="b"/>
                <a:pathLst>
                  <a:path w="53505" h="124458">
                    <a:moveTo>
                      <a:pt x="0" y="1160"/>
                    </a:moveTo>
                    <a:lnTo>
                      <a:pt x="2821" y="0"/>
                    </a:lnTo>
                    <a:lnTo>
                      <a:pt x="53506" y="123299"/>
                    </a:lnTo>
                    <a:lnTo>
                      <a:pt x="50684" y="124458"/>
                    </a:lnTo>
                    <a:close/>
                  </a:path>
                </a:pathLst>
              </a:custGeom>
              <a:grpFill/>
              <a:ln w="5978" cap="flat">
                <a:noFill/>
                <a:prstDash val="solid"/>
                <a:miter/>
              </a:ln>
            </p:spPr>
            <p:txBody>
              <a:bodyPr rtlCol="0" anchor="ctr"/>
              <a:lstStyle/>
              <a:p>
                <a:endParaRPr lang="en-GB"/>
              </a:p>
            </p:txBody>
          </p:sp>
          <p:sp>
            <p:nvSpPr>
              <p:cNvPr id="3428" name="Vrije vorm: vorm 3427">
                <a:extLst>
                  <a:ext uri="{FF2B5EF4-FFF2-40B4-BE49-F238E27FC236}">
                    <a16:creationId xmlns:a16="http://schemas.microsoft.com/office/drawing/2014/main" id="{A476DEC6-2B59-4E2D-B0E5-18BCBD8857A9}"/>
                  </a:ext>
                </a:extLst>
              </p:cNvPr>
              <p:cNvSpPr/>
              <p:nvPr/>
            </p:nvSpPr>
            <p:spPr>
              <a:xfrm>
                <a:off x="6792475" y="5225043"/>
                <a:ext cx="18301" cy="18436"/>
              </a:xfrm>
              <a:custGeom>
                <a:avLst/>
                <a:gdLst>
                  <a:gd name="connsiteX0" fmla="*/ 17613 w 18301"/>
                  <a:gd name="connsiteY0" fmla="*/ 5736 h 18436"/>
                  <a:gd name="connsiteX1" fmla="*/ 12650 w 18301"/>
                  <a:gd name="connsiteY1" fmla="*/ 17757 h 18436"/>
                  <a:gd name="connsiteX2" fmla="*/ 688 w 18301"/>
                  <a:gd name="connsiteY2" fmla="*/ 12734 h 18436"/>
                  <a:gd name="connsiteX3" fmla="*/ 5652 w 18301"/>
                  <a:gd name="connsiteY3" fmla="*/ 712 h 18436"/>
                  <a:gd name="connsiteX4" fmla="*/ 17613 w 18301"/>
                  <a:gd name="connsiteY4" fmla="*/ 573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6">
                    <a:moveTo>
                      <a:pt x="17613" y="5736"/>
                    </a:moveTo>
                    <a:cubicBezTo>
                      <a:pt x="19527" y="10461"/>
                      <a:pt x="17314" y="15844"/>
                      <a:pt x="12650" y="17757"/>
                    </a:cubicBezTo>
                    <a:cubicBezTo>
                      <a:pt x="7985" y="19671"/>
                      <a:pt x="2602" y="17398"/>
                      <a:pt x="688" y="12734"/>
                    </a:cubicBezTo>
                    <a:cubicBezTo>
                      <a:pt x="-1226" y="8009"/>
                      <a:pt x="987" y="2626"/>
                      <a:pt x="5652" y="712"/>
                    </a:cubicBezTo>
                    <a:cubicBezTo>
                      <a:pt x="10317" y="-1261"/>
                      <a:pt x="15700" y="1011"/>
                      <a:pt x="17613" y="5736"/>
                    </a:cubicBezTo>
                    <a:close/>
                  </a:path>
                </a:pathLst>
              </a:custGeom>
              <a:grpFill/>
              <a:ln w="5978" cap="flat">
                <a:noFill/>
                <a:prstDash val="solid"/>
                <a:miter/>
              </a:ln>
            </p:spPr>
            <p:txBody>
              <a:bodyPr rtlCol="0" anchor="ctr"/>
              <a:lstStyle/>
              <a:p>
                <a:endParaRPr lang="en-GB"/>
              </a:p>
            </p:txBody>
          </p:sp>
          <p:sp>
            <p:nvSpPr>
              <p:cNvPr id="3429" name="Vrije vorm: vorm 3428">
                <a:extLst>
                  <a:ext uri="{FF2B5EF4-FFF2-40B4-BE49-F238E27FC236}">
                    <a16:creationId xmlns:a16="http://schemas.microsoft.com/office/drawing/2014/main" id="{36673F55-283A-4158-8D33-D69F105B029A}"/>
                  </a:ext>
                </a:extLst>
              </p:cNvPr>
              <p:cNvSpPr/>
              <p:nvPr/>
            </p:nvSpPr>
            <p:spPr>
              <a:xfrm>
                <a:off x="6742177" y="5102583"/>
                <a:ext cx="18327" cy="18419"/>
              </a:xfrm>
              <a:custGeom>
                <a:avLst/>
                <a:gdLst>
                  <a:gd name="connsiteX0" fmla="*/ 17614 w 18327"/>
                  <a:gd name="connsiteY0" fmla="*/ 5711 h 18419"/>
                  <a:gd name="connsiteX1" fmla="*/ 5652 w 18327"/>
                  <a:gd name="connsiteY1" fmla="*/ 687 h 18419"/>
                  <a:gd name="connsiteX2" fmla="*/ 688 w 18327"/>
                  <a:gd name="connsiteY2" fmla="*/ 12709 h 18419"/>
                  <a:gd name="connsiteX3" fmla="*/ 12650 w 18327"/>
                  <a:gd name="connsiteY3" fmla="*/ 17732 h 18419"/>
                  <a:gd name="connsiteX4" fmla="*/ 17614 w 18327"/>
                  <a:gd name="connsiteY4" fmla="*/ 571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7614" y="5711"/>
                    </a:moveTo>
                    <a:cubicBezTo>
                      <a:pt x="15700" y="986"/>
                      <a:pt x="10317" y="-1227"/>
                      <a:pt x="5652" y="687"/>
                    </a:cubicBezTo>
                    <a:cubicBezTo>
                      <a:pt x="987" y="2601"/>
                      <a:pt x="-1226" y="7984"/>
                      <a:pt x="688" y="12709"/>
                    </a:cubicBezTo>
                    <a:cubicBezTo>
                      <a:pt x="2602" y="17433"/>
                      <a:pt x="7985" y="19646"/>
                      <a:pt x="12650" y="17732"/>
                    </a:cubicBezTo>
                    <a:cubicBezTo>
                      <a:pt x="17315" y="15759"/>
                      <a:pt x="19587" y="10376"/>
                      <a:pt x="17614" y="5711"/>
                    </a:cubicBezTo>
                    <a:close/>
                  </a:path>
                </a:pathLst>
              </a:custGeom>
              <a:grpFill/>
              <a:ln w="5978" cap="flat">
                <a:noFill/>
                <a:prstDash val="solid"/>
                <a:miter/>
              </a:ln>
            </p:spPr>
            <p:txBody>
              <a:bodyPr rtlCol="0" anchor="ctr"/>
              <a:lstStyle/>
              <a:p>
                <a:endParaRPr lang="en-GB"/>
              </a:p>
            </p:txBody>
          </p:sp>
        </p:grpSp>
        <p:grpSp>
          <p:nvGrpSpPr>
            <p:cNvPr id="655" name="Graphic 3">
              <a:extLst>
                <a:ext uri="{FF2B5EF4-FFF2-40B4-BE49-F238E27FC236}">
                  <a16:creationId xmlns:a16="http://schemas.microsoft.com/office/drawing/2014/main" id="{CD30DB70-DEA8-44CC-A290-0DE5AF7219CF}"/>
                </a:ext>
              </a:extLst>
            </p:cNvPr>
            <p:cNvGrpSpPr/>
            <p:nvPr/>
          </p:nvGrpSpPr>
          <p:grpSpPr>
            <a:xfrm>
              <a:off x="6685061" y="4963591"/>
              <a:ext cx="68420" cy="140358"/>
              <a:chOff x="6685061" y="4963591"/>
              <a:chExt cx="68420" cy="140358"/>
            </a:xfrm>
            <a:grpFill/>
          </p:grpSpPr>
          <p:sp>
            <p:nvSpPr>
              <p:cNvPr id="3424" name="Vrije vorm: vorm 3423">
                <a:extLst>
                  <a:ext uri="{FF2B5EF4-FFF2-40B4-BE49-F238E27FC236}">
                    <a16:creationId xmlns:a16="http://schemas.microsoft.com/office/drawing/2014/main" id="{E565F42E-4187-42B1-96B0-B597C7B708C4}"/>
                  </a:ext>
                </a:extLst>
              </p:cNvPr>
              <p:cNvSpPr/>
              <p:nvPr/>
            </p:nvSpPr>
            <p:spPr>
              <a:xfrm>
                <a:off x="6692657" y="4971423"/>
                <a:ext cx="53301" cy="123960"/>
              </a:xfrm>
              <a:custGeom>
                <a:avLst/>
                <a:gdLst>
                  <a:gd name="connsiteX0" fmla="*/ 0 w 53301"/>
                  <a:gd name="connsiteY0" fmla="*/ 1159 h 123960"/>
                  <a:gd name="connsiteX1" fmla="*/ 2821 w 53301"/>
                  <a:gd name="connsiteY1" fmla="*/ 0 h 123960"/>
                  <a:gd name="connsiteX2" fmla="*/ 53301 w 53301"/>
                  <a:gd name="connsiteY2" fmla="*/ 122801 h 123960"/>
                  <a:gd name="connsiteX3" fmla="*/ 50480 w 53301"/>
                  <a:gd name="connsiteY3" fmla="*/ 123960 h 123960"/>
                </a:gdLst>
                <a:ahLst/>
                <a:cxnLst>
                  <a:cxn ang="0">
                    <a:pos x="connsiteX0" y="connsiteY0"/>
                  </a:cxn>
                  <a:cxn ang="0">
                    <a:pos x="connsiteX1" y="connsiteY1"/>
                  </a:cxn>
                  <a:cxn ang="0">
                    <a:pos x="connsiteX2" y="connsiteY2"/>
                  </a:cxn>
                  <a:cxn ang="0">
                    <a:pos x="connsiteX3" y="connsiteY3"/>
                  </a:cxn>
                </a:cxnLst>
                <a:rect l="l" t="t" r="r" b="b"/>
                <a:pathLst>
                  <a:path w="53301" h="123960">
                    <a:moveTo>
                      <a:pt x="0" y="1159"/>
                    </a:moveTo>
                    <a:lnTo>
                      <a:pt x="2821" y="0"/>
                    </a:lnTo>
                    <a:lnTo>
                      <a:pt x="53301" y="122801"/>
                    </a:lnTo>
                    <a:lnTo>
                      <a:pt x="50480" y="123960"/>
                    </a:lnTo>
                    <a:close/>
                  </a:path>
                </a:pathLst>
              </a:custGeom>
              <a:grpFill/>
              <a:ln w="5978" cap="flat">
                <a:noFill/>
                <a:prstDash val="solid"/>
                <a:miter/>
              </a:ln>
            </p:spPr>
            <p:txBody>
              <a:bodyPr rtlCol="0" anchor="ctr"/>
              <a:lstStyle/>
              <a:p>
                <a:endParaRPr lang="en-GB"/>
              </a:p>
            </p:txBody>
          </p:sp>
          <p:sp>
            <p:nvSpPr>
              <p:cNvPr id="3425" name="Vrije vorm: vorm 3424">
                <a:extLst>
                  <a:ext uri="{FF2B5EF4-FFF2-40B4-BE49-F238E27FC236}">
                    <a16:creationId xmlns:a16="http://schemas.microsoft.com/office/drawing/2014/main" id="{AFA0C630-3193-4BA5-8950-8AE1D34E6E7B}"/>
                  </a:ext>
                </a:extLst>
              </p:cNvPr>
              <p:cNvSpPr/>
              <p:nvPr/>
            </p:nvSpPr>
            <p:spPr>
              <a:xfrm>
                <a:off x="6735179" y="5085513"/>
                <a:ext cx="18301" cy="18436"/>
              </a:xfrm>
              <a:custGeom>
                <a:avLst/>
                <a:gdLst>
                  <a:gd name="connsiteX0" fmla="*/ 17614 w 18301"/>
                  <a:gd name="connsiteY0" fmla="*/ 5736 h 18436"/>
                  <a:gd name="connsiteX1" fmla="*/ 12650 w 18301"/>
                  <a:gd name="connsiteY1" fmla="*/ 17757 h 18436"/>
                  <a:gd name="connsiteX2" fmla="*/ 688 w 18301"/>
                  <a:gd name="connsiteY2" fmla="*/ 12734 h 18436"/>
                  <a:gd name="connsiteX3" fmla="*/ 5652 w 18301"/>
                  <a:gd name="connsiteY3" fmla="*/ 712 h 18436"/>
                  <a:gd name="connsiteX4" fmla="*/ 17614 w 18301"/>
                  <a:gd name="connsiteY4" fmla="*/ 573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6">
                    <a:moveTo>
                      <a:pt x="17614" y="5736"/>
                    </a:moveTo>
                    <a:cubicBezTo>
                      <a:pt x="19528" y="10461"/>
                      <a:pt x="17315" y="15844"/>
                      <a:pt x="12650" y="17757"/>
                    </a:cubicBezTo>
                    <a:cubicBezTo>
                      <a:pt x="7985" y="19671"/>
                      <a:pt x="2602" y="17399"/>
                      <a:pt x="688" y="12734"/>
                    </a:cubicBezTo>
                    <a:cubicBezTo>
                      <a:pt x="-1226" y="8009"/>
                      <a:pt x="987" y="2626"/>
                      <a:pt x="5652" y="712"/>
                    </a:cubicBezTo>
                    <a:cubicBezTo>
                      <a:pt x="10317" y="-1261"/>
                      <a:pt x="15700" y="1012"/>
                      <a:pt x="17614" y="5736"/>
                    </a:cubicBezTo>
                    <a:close/>
                  </a:path>
                </a:pathLst>
              </a:custGeom>
              <a:grpFill/>
              <a:ln w="5978" cap="flat">
                <a:noFill/>
                <a:prstDash val="solid"/>
                <a:miter/>
              </a:ln>
            </p:spPr>
            <p:txBody>
              <a:bodyPr rtlCol="0" anchor="ctr"/>
              <a:lstStyle/>
              <a:p>
                <a:endParaRPr lang="en-GB"/>
              </a:p>
            </p:txBody>
          </p:sp>
          <p:sp>
            <p:nvSpPr>
              <p:cNvPr id="3426" name="Vrije vorm: vorm 3425">
                <a:extLst>
                  <a:ext uri="{FF2B5EF4-FFF2-40B4-BE49-F238E27FC236}">
                    <a16:creationId xmlns:a16="http://schemas.microsoft.com/office/drawing/2014/main" id="{AED3D6AB-F97A-4B5C-9169-E833BC45BDDB}"/>
                  </a:ext>
                </a:extLst>
              </p:cNvPr>
              <p:cNvSpPr/>
              <p:nvPr/>
            </p:nvSpPr>
            <p:spPr>
              <a:xfrm>
                <a:off x="6685061" y="4963591"/>
                <a:ext cx="18335" cy="18419"/>
              </a:xfrm>
              <a:custGeom>
                <a:avLst/>
                <a:gdLst>
                  <a:gd name="connsiteX0" fmla="*/ 17614 w 18335"/>
                  <a:gd name="connsiteY0" fmla="*/ 5711 h 18419"/>
                  <a:gd name="connsiteX1" fmla="*/ 5652 w 18335"/>
                  <a:gd name="connsiteY1" fmla="*/ 687 h 18419"/>
                  <a:gd name="connsiteX2" fmla="*/ 688 w 18335"/>
                  <a:gd name="connsiteY2" fmla="*/ 12708 h 18419"/>
                  <a:gd name="connsiteX3" fmla="*/ 12650 w 18335"/>
                  <a:gd name="connsiteY3" fmla="*/ 17732 h 18419"/>
                  <a:gd name="connsiteX4" fmla="*/ 17614 w 18335"/>
                  <a:gd name="connsiteY4" fmla="*/ 571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19">
                    <a:moveTo>
                      <a:pt x="17614" y="5711"/>
                    </a:moveTo>
                    <a:cubicBezTo>
                      <a:pt x="15700" y="986"/>
                      <a:pt x="10317" y="-1227"/>
                      <a:pt x="5652" y="687"/>
                    </a:cubicBezTo>
                    <a:cubicBezTo>
                      <a:pt x="987" y="2601"/>
                      <a:pt x="-1226" y="7984"/>
                      <a:pt x="688" y="12708"/>
                    </a:cubicBezTo>
                    <a:cubicBezTo>
                      <a:pt x="2602" y="17433"/>
                      <a:pt x="7985" y="19646"/>
                      <a:pt x="12650" y="17732"/>
                    </a:cubicBezTo>
                    <a:cubicBezTo>
                      <a:pt x="17374" y="15759"/>
                      <a:pt x="19588" y="10376"/>
                      <a:pt x="17614" y="5711"/>
                    </a:cubicBezTo>
                    <a:close/>
                  </a:path>
                </a:pathLst>
              </a:custGeom>
              <a:grpFill/>
              <a:ln w="5978" cap="flat">
                <a:noFill/>
                <a:prstDash val="solid"/>
                <a:miter/>
              </a:ln>
            </p:spPr>
            <p:txBody>
              <a:bodyPr rtlCol="0" anchor="ctr"/>
              <a:lstStyle/>
              <a:p>
                <a:endParaRPr lang="en-GB"/>
              </a:p>
            </p:txBody>
          </p:sp>
        </p:grpSp>
        <p:grpSp>
          <p:nvGrpSpPr>
            <p:cNvPr id="656" name="Graphic 3">
              <a:extLst>
                <a:ext uri="{FF2B5EF4-FFF2-40B4-BE49-F238E27FC236}">
                  <a16:creationId xmlns:a16="http://schemas.microsoft.com/office/drawing/2014/main" id="{6214D51A-755D-4B5A-B056-8BFF0C2202E9}"/>
                </a:ext>
              </a:extLst>
            </p:cNvPr>
            <p:cNvGrpSpPr/>
            <p:nvPr/>
          </p:nvGrpSpPr>
          <p:grpSpPr>
            <a:xfrm>
              <a:off x="5531484" y="1544482"/>
              <a:ext cx="82304" cy="250034"/>
              <a:chOff x="5531484" y="1544482"/>
              <a:chExt cx="82304" cy="250034"/>
            </a:xfrm>
            <a:grpFill/>
          </p:grpSpPr>
          <p:sp>
            <p:nvSpPr>
              <p:cNvPr id="3421" name="Vrije vorm: vorm 3420">
                <a:extLst>
                  <a:ext uri="{FF2B5EF4-FFF2-40B4-BE49-F238E27FC236}">
                    <a16:creationId xmlns:a16="http://schemas.microsoft.com/office/drawing/2014/main" id="{CDF0D03E-C2C2-4ED0-90F5-AA1B6AB1C9E0}"/>
                  </a:ext>
                </a:extLst>
              </p:cNvPr>
              <p:cNvSpPr/>
              <p:nvPr/>
            </p:nvSpPr>
            <p:spPr>
              <a:xfrm>
                <a:off x="5538903" y="1552627"/>
                <a:ext cx="67164" cy="233364"/>
              </a:xfrm>
              <a:custGeom>
                <a:avLst/>
                <a:gdLst>
                  <a:gd name="connsiteX0" fmla="*/ 0 w 67164"/>
                  <a:gd name="connsiteY0" fmla="*/ 812 h 233364"/>
                  <a:gd name="connsiteX1" fmla="*/ 2940 w 67164"/>
                  <a:gd name="connsiteY1" fmla="*/ 0 h 233364"/>
                  <a:gd name="connsiteX2" fmla="*/ 67164 w 67164"/>
                  <a:gd name="connsiteY2" fmla="*/ 232553 h 233364"/>
                  <a:gd name="connsiteX3" fmla="*/ 64224 w 67164"/>
                  <a:gd name="connsiteY3" fmla="*/ 233365 h 233364"/>
                </a:gdLst>
                <a:ahLst/>
                <a:cxnLst>
                  <a:cxn ang="0">
                    <a:pos x="connsiteX0" y="connsiteY0"/>
                  </a:cxn>
                  <a:cxn ang="0">
                    <a:pos x="connsiteX1" y="connsiteY1"/>
                  </a:cxn>
                  <a:cxn ang="0">
                    <a:pos x="connsiteX2" y="connsiteY2"/>
                  </a:cxn>
                  <a:cxn ang="0">
                    <a:pos x="connsiteX3" y="connsiteY3"/>
                  </a:cxn>
                </a:cxnLst>
                <a:rect l="l" t="t" r="r" b="b"/>
                <a:pathLst>
                  <a:path w="67164" h="233364">
                    <a:moveTo>
                      <a:pt x="0" y="812"/>
                    </a:moveTo>
                    <a:lnTo>
                      <a:pt x="2940" y="0"/>
                    </a:lnTo>
                    <a:lnTo>
                      <a:pt x="67164" y="232553"/>
                    </a:lnTo>
                    <a:lnTo>
                      <a:pt x="64224" y="233365"/>
                    </a:lnTo>
                    <a:close/>
                  </a:path>
                </a:pathLst>
              </a:custGeom>
              <a:grpFill/>
              <a:ln w="5978" cap="flat">
                <a:noFill/>
                <a:prstDash val="solid"/>
                <a:miter/>
              </a:ln>
            </p:spPr>
            <p:txBody>
              <a:bodyPr rtlCol="0" anchor="ctr"/>
              <a:lstStyle/>
              <a:p>
                <a:endParaRPr lang="en-GB"/>
              </a:p>
            </p:txBody>
          </p:sp>
          <p:sp>
            <p:nvSpPr>
              <p:cNvPr id="3422" name="Vrije vorm: vorm 3421">
                <a:extLst>
                  <a:ext uri="{FF2B5EF4-FFF2-40B4-BE49-F238E27FC236}">
                    <a16:creationId xmlns:a16="http://schemas.microsoft.com/office/drawing/2014/main" id="{27DF5E4D-1278-4B0B-B973-14DA46AA2E33}"/>
                  </a:ext>
                </a:extLst>
              </p:cNvPr>
              <p:cNvSpPr/>
              <p:nvPr/>
            </p:nvSpPr>
            <p:spPr>
              <a:xfrm>
                <a:off x="5531484" y="1544482"/>
                <a:ext cx="18391" cy="18421"/>
              </a:xfrm>
              <a:custGeom>
                <a:avLst/>
                <a:gdLst>
                  <a:gd name="connsiteX0" fmla="*/ 344 w 18391"/>
                  <a:gd name="connsiteY0" fmla="*/ 11623 h 18421"/>
                  <a:gd name="connsiteX1" fmla="*/ 6744 w 18391"/>
                  <a:gd name="connsiteY1" fmla="*/ 319 h 18421"/>
                  <a:gd name="connsiteX2" fmla="*/ 18047 w 18391"/>
                  <a:gd name="connsiteY2" fmla="*/ 6778 h 18421"/>
                  <a:gd name="connsiteX3" fmla="*/ 11648 w 18391"/>
                  <a:gd name="connsiteY3" fmla="*/ 18082 h 18421"/>
                  <a:gd name="connsiteX4" fmla="*/ 344 w 18391"/>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21">
                    <a:moveTo>
                      <a:pt x="344" y="11623"/>
                    </a:moveTo>
                    <a:cubicBezTo>
                      <a:pt x="-1031" y="6718"/>
                      <a:pt x="1839" y="1635"/>
                      <a:pt x="6744" y="319"/>
                    </a:cubicBezTo>
                    <a:cubicBezTo>
                      <a:pt x="11648" y="-997"/>
                      <a:pt x="16671" y="1874"/>
                      <a:pt x="18047" y="6778"/>
                    </a:cubicBezTo>
                    <a:cubicBezTo>
                      <a:pt x="19423" y="11682"/>
                      <a:pt x="16552" y="16766"/>
                      <a:pt x="11648" y="18082"/>
                    </a:cubicBezTo>
                    <a:cubicBezTo>
                      <a:pt x="6744" y="19457"/>
                      <a:pt x="1660" y="16527"/>
                      <a:pt x="344" y="11623"/>
                    </a:cubicBezTo>
                    <a:close/>
                  </a:path>
                </a:pathLst>
              </a:custGeom>
              <a:grpFill/>
              <a:ln w="5978" cap="flat">
                <a:noFill/>
                <a:prstDash val="solid"/>
                <a:miter/>
              </a:ln>
            </p:spPr>
            <p:txBody>
              <a:bodyPr rtlCol="0" anchor="ctr"/>
              <a:lstStyle/>
              <a:p>
                <a:endParaRPr lang="en-GB"/>
              </a:p>
            </p:txBody>
          </p:sp>
          <p:sp>
            <p:nvSpPr>
              <p:cNvPr id="3423" name="Vrije vorm: vorm 3422">
                <a:extLst>
                  <a:ext uri="{FF2B5EF4-FFF2-40B4-BE49-F238E27FC236}">
                    <a16:creationId xmlns:a16="http://schemas.microsoft.com/office/drawing/2014/main" id="{67864ED3-E2CA-4693-B09A-1EE02C015348}"/>
                  </a:ext>
                </a:extLst>
              </p:cNvPr>
              <p:cNvSpPr/>
              <p:nvPr/>
            </p:nvSpPr>
            <p:spPr>
              <a:xfrm>
                <a:off x="5595418" y="1776115"/>
                <a:ext cx="18370" cy="18400"/>
              </a:xfrm>
              <a:custGeom>
                <a:avLst/>
                <a:gdLst>
                  <a:gd name="connsiteX0" fmla="*/ 344 w 18370"/>
                  <a:gd name="connsiteY0" fmla="*/ 11623 h 18400"/>
                  <a:gd name="connsiteX1" fmla="*/ 11648 w 18370"/>
                  <a:gd name="connsiteY1" fmla="*/ 18082 h 18400"/>
                  <a:gd name="connsiteX2" fmla="*/ 18047 w 18370"/>
                  <a:gd name="connsiteY2" fmla="*/ 6778 h 18400"/>
                  <a:gd name="connsiteX3" fmla="*/ 6744 w 18370"/>
                  <a:gd name="connsiteY3" fmla="*/ 319 h 18400"/>
                  <a:gd name="connsiteX4" fmla="*/ 344 w 18370"/>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00">
                    <a:moveTo>
                      <a:pt x="344" y="11623"/>
                    </a:moveTo>
                    <a:cubicBezTo>
                      <a:pt x="1720" y="16527"/>
                      <a:pt x="6744" y="19398"/>
                      <a:pt x="11648" y="18082"/>
                    </a:cubicBezTo>
                    <a:cubicBezTo>
                      <a:pt x="16552" y="16766"/>
                      <a:pt x="19363" y="11682"/>
                      <a:pt x="18047" y="6778"/>
                    </a:cubicBezTo>
                    <a:cubicBezTo>
                      <a:pt x="16671" y="1874"/>
                      <a:pt x="11648" y="-997"/>
                      <a:pt x="6744" y="319"/>
                    </a:cubicBezTo>
                    <a:cubicBezTo>
                      <a:pt x="1839" y="1695"/>
                      <a:pt x="-1031" y="6718"/>
                      <a:pt x="344" y="11623"/>
                    </a:cubicBezTo>
                    <a:close/>
                  </a:path>
                </a:pathLst>
              </a:custGeom>
              <a:grpFill/>
              <a:ln w="5978" cap="flat">
                <a:noFill/>
                <a:prstDash val="solid"/>
                <a:miter/>
              </a:ln>
            </p:spPr>
            <p:txBody>
              <a:bodyPr rtlCol="0" anchor="ctr"/>
              <a:lstStyle/>
              <a:p>
                <a:endParaRPr lang="en-GB"/>
              </a:p>
            </p:txBody>
          </p:sp>
        </p:grpSp>
        <p:grpSp>
          <p:nvGrpSpPr>
            <p:cNvPr id="657" name="Graphic 3">
              <a:extLst>
                <a:ext uri="{FF2B5EF4-FFF2-40B4-BE49-F238E27FC236}">
                  <a16:creationId xmlns:a16="http://schemas.microsoft.com/office/drawing/2014/main" id="{710817B2-C81C-42D7-8D8B-C663FAB40C3F}"/>
                </a:ext>
              </a:extLst>
            </p:cNvPr>
            <p:cNvGrpSpPr/>
            <p:nvPr/>
          </p:nvGrpSpPr>
          <p:grpSpPr>
            <a:xfrm>
              <a:off x="6684319" y="4963806"/>
              <a:ext cx="146245" cy="428979"/>
              <a:chOff x="6684319" y="4963806"/>
              <a:chExt cx="146245" cy="428979"/>
            </a:xfrm>
            <a:grpFill/>
          </p:grpSpPr>
          <p:sp>
            <p:nvSpPr>
              <p:cNvPr id="3418" name="Vrije vorm: vorm 3417">
                <a:extLst>
                  <a:ext uri="{FF2B5EF4-FFF2-40B4-BE49-F238E27FC236}">
                    <a16:creationId xmlns:a16="http://schemas.microsoft.com/office/drawing/2014/main" id="{08214C5E-5BF1-4C74-87AF-B4355B42AB7F}"/>
                  </a:ext>
                </a:extLst>
              </p:cNvPr>
              <p:cNvSpPr/>
              <p:nvPr/>
            </p:nvSpPr>
            <p:spPr>
              <a:xfrm>
                <a:off x="6691637" y="4972361"/>
                <a:ext cx="131108" cy="412298"/>
              </a:xfrm>
              <a:custGeom>
                <a:avLst/>
                <a:gdLst>
                  <a:gd name="connsiteX0" fmla="*/ 0 w 131108"/>
                  <a:gd name="connsiteY0" fmla="*/ 907 h 412298"/>
                  <a:gd name="connsiteX1" fmla="*/ 2912 w 131108"/>
                  <a:gd name="connsiteY1" fmla="*/ 0 h 412298"/>
                  <a:gd name="connsiteX2" fmla="*/ 131108 w 131108"/>
                  <a:gd name="connsiteY2" fmla="*/ 411391 h 412298"/>
                  <a:gd name="connsiteX3" fmla="*/ 128196 w 131108"/>
                  <a:gd name="connsiteY3" fmla="*/ 412298 h 412298"/>
                </a:gdLst>
                <a:ahLst/>
                <a:cxnLst>
                  <a:cxn ang="0">
                    <a:pos x="connsiteX0" y="connsiteY0"/>
                  </a:cxn>
                  <a:cxn ang="0">
                    <a:pos x="connsiteX1" y="connsiteY1"/>
                  </a:cxn>
                  <a:cxn ang="0">
                    <a:pos x="connsiteX2" y="connsiteY2"/>
                  </a:cxn>
                  <a:cxn ang="0">
                    <a:pos x="connsiteX3" y="connsiteY3"/>
                  </a:cxn>
                </a:cxnLst>
                <a:rect l="l" t="t" r="r" b="b"/>
                <a:pathLst>
                  <a:path w="131108" h="412298">
                    <a:moveTo>
                      <a:pt x="0" y="907"/>
                    </a:moveTo>
                    <a:lnTo>
                      <a:pt x="2912" y="0"/>
                    </a:lnTo>
                    <a:lnTo>
                      <a:pt x="131108" y="411391"/>
                    </a:lnTo>
                    <a:lnTo>
                      <a:pt x="128196" y="412298"/>
                    </a:lnTo>
                    <a:close/>
                  </a:path>
                </a:pathLst>
              </a:custGeom>
              <a:grpFill/>
              <a:ln w="5978" cap="flat">
                <a:noFill/>
                <a:prstDash val="solid"/>
                <a:miter/>
              </a:ln>
            </p:spPr>
            <p:txBody>
              <a:bodyPr rtlCol="0" anchor="ctr"/>
              <a:lstStyle/>
              <a:p>
                <a:endParaRPr lang="en-GB"/>
              </a:p>
            </p:txBody>
          </p:sp>
          <p:sp>
            <p:nvSpPr>
              <p:cNvPr id="3419" name="Vrije vorm: vorm 3418">
                <a:extLst>
                  <a:ext uri="{FF2B5EF4-FFF2-40B4-BE49-F238E27FC236}">
                    <a16:creationId xmlns:a16="http://schemas.microsoft.com/office/drawing/2014/main" id="{842CA8FE-6849-4F71-96F4-FE15269C9A5C}"/>
                  </a:ext>
                </a:extLst>
              </p:cNvPr>
              <p:cNvSpPr/>
              <p:nvPr/>
            </p:nvSpPr>
            <p:spPr>
              <a:xfrm>
                <a:off x="6684319" y="4963806"/>
                <a:ext cx="18290" cy="18463"/>
              </a:xfrm>
              <a:custGeom>
                <a:avLst/>
                <a:gdLst>
                  <a:gd name="connsiteX0" fmla="*/ 413 w 18290"/>
                  <a:gd name="connsiteY0" fmla="*/ 11955 h 18463"/>
                  <a:gd name="connsiteX1" fmla="*/ 6394 w 18290"/>
                  <a:gd name="connsiteY1" fmla="*/ 413 h 18463"/>
                  <a:gd name="connsiteX2" fmla="*/ 17877 w 18290"/>
                  <a:gd name="connsiteY2" fmla="*/ 6513 h 18463"/>
                  <a:gd name="connsiteX3" fmla="*/ 11896 w 18290"/>
                  <a:gd name="connsiteY3" fmla="*/ 18056 h 18463"/>
                  <a:gd name="connsiteX4" fmla="*/ 413 w 18290"/>
                  <a:gd name="connsiteY4" fmla="*/ 11955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63">
                    <a:moveTo>
                      <a:pt x="413" y="11955"/>
                    </a:moveTo>
                    <a:cubicBezTo>
                      <a:pt x="-1082" y="7111"/>
                      <a:pt x="1610" y="1908"/>
                      <a:pt x="6394" y="413"/>
                    </a:cubicBezTo>
                    <a:cubicBezTo>
                      <a:pt x="11238" y="-1083"/>
                      <a:pt x="16382" y="1609"/>
                      <a:pt x="17877" y="6513"/>
                    </a:cubicBezTo>
                    <a:cubicBezTo>
                      <a:pt x="19372" y="11357"/>
                      <a:pt x="16681" y="16561"/>
                      <a:pt x="11896" y="18056"/>
                    </a:cubicBezTo>
                    <a:cubicBezTo>
                      <a:pt x="7052" y="19551"/>
                      <a:pt x="1908" y="16800"/>
                      <a:pt x="413" y="11955"/>
                    </a:cubicBezTo>
                    <a:close/>
                  </a:path>
                </a:pathLst>
              </a:custGeom>
              <a:grpFill/>
              <a:ln w="5978" cap="flat">
                <a:noFill/>
                <a:prstDash val="solid"/>
                <a:miter/>
              </a:ln>
            </p:spPr>
            <p:txBody>
              <a:bodyPr rtlCol="0" anchor="ctr"/>
              <a:lstStyle/>
              <a:p>
                <a:endParaRPr lang="en-GB"/>
              </a:p>
            </p:txBody>
          </p:sp>
          <p:sp>
            <p:nvSpPr>
              <p:cNvPr id="3420" name="Vrije vorm: vorm 3419">
                <a:extLst>
                  <a:ext uri="{FF2B5EF4-FFF2-40B4-BE49-F238E27FC236}">
                    <a16:creationId xmlns:a16="http://schemas.microsoft.com/office/drawing/2014/main" id="{F5E321EE-3F3C-44F1-9110-F19F34AD4D26}"/>
                  </a:ext>
                </a:extLst>
              </p:cNvPr>
              <p:cNvSpPr/>
              <p:nvPr/>
            </p:nvSpPr>
            <p:spPr>
              <a:xfrm>
                <a:off x="6812247" y="5374328"/>
                <a:ext cx="18317" cy="18457"/>
              </a:xfrm>
              <a:custGeom>
                <a:avLst/>
                <a:gdLst>
                  <a:gd name="connsiteX0" fmla="*/ 413 w 18317"/>
                  <a:gd name="connsiteY0" fmla="*/ 11950 h 18457"/>
                  <a:gd name="connsiteX1" fmla="*/ 11896 w 18317"/>
                  <a:gd name="connsiteY1" fmla="*/ 18050 h 18457"/>
                  <a:gd name="connsiteX2" fmla="*/ 17877 w 18317"/>
                  <a:gd name="connsiteY2" fmla="*/ 6508 h 18457"/>
                  <a:gd name="connsiteX3" fmla="*/ 6394 w 18317"/>
                  <a:gd name="connsiteY3" fmla="*/ 407 h 18457"/>
                  <a:gd name="connsiteX4" fmla="*/ 413 w 18317"/>
                  <a:gd name="connsiteY4" fmla="*/ 1195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7">
                    <a:moveTo>
                      <a:pt x="413" y="11950"/>
                    </a:moveTo>
                    <a:cubicBezTo>
                      <a:pt x="1908" y="16795"/>
                      <a:pt x="7052" y="19546"/>
                      <a:pt x="11896" y="18050"/>
                    </a:cubicBezTo>
                    <a:cubicBezTo>
                      <a:pt x="16741" y="16555"/>
                      <a:pt x="19432" y="11412"/>
                      <a:pt x="17877" y="6508"/>
                    </a:cubicBezTo>
                    <a:cubicBezTo>
                      <a:pt x="16382" y="1663"/>
                      <a:pt x="11238" y="-1088"/>
                      <a:pt x="6394" y="407"/>
                    </a:cubicBezTo>
                    <a:cubicBezTo>
                      <a:pt x="1609" y="1962"/>
                      <a:pt x="-1082" y="7106"/>
                      <a:pt x="413" y="11950"/>
                    </a:cubicBezTo>
                    <a:close/>
                  </a:path>
                </a:pathLst>
              </a:custGeom>
              <a:grpFill/>
              <a:ln w="5978" cap="flat">
                <a:noFill/>
                <a:prstDash val="solid"/>
                <a:miter/>
              </a:ln>
            </p:spPr>
            <p:txBody>
              <a:bodyPr rtlCol="0" anchor="ctr"/>
              <a:lstStyle/>
              <a:p>
                <a:endParaRPr lang="en-GB"/>
              </a:p>
            </p:txBody>
          </p:sp>
        </p:grpSp>
        <p:grpSp>
          <p:nvGrpSpPr>
            <p:cNvPr id="658" name="Graphic 3">
              <a:extLst>
                <a:ext uri="{FF2B5EF4-FFF2-40B4-BE49-F238E27FC236}">
                  <a16:creationId xmlns:a16="http://schemas.microsoft.com/office/drawing/2014/main" id="{0472094E-11B1-461E-95D2-7F1121F90E01}"/>
                </a:ext>
              </a:extLst>
            </p:cNvPr>
            <p:cNvGrpSpPr/>
            <p:nvPr/>
          </p:nvGrpSpPr>
          <p:grpSpPr>
            <a:xfrm>
              <a:off x="6756881" y="5234038"/>
              <a:ext cx="73102" cy="158968"/>
              <a:chOff x="6756881" y="5234038"/>
              <a:chExt cx="73102" cy="158968"/>
            </a:xfrm>
            <a:grpFill/>
          </p:grpSpPr>
          <p:sp>
            <p:nvSpPr>
              <p:cNvPr id="3415" name="Vrije vorm: vorm 3414">
                <a:extLst>
                  <a:ext uri="{FF2B5EF4-FFF2-40B4-BE49-F238E27FC236}">
                    <a16:creationId xmlns:a16="http://schemas.microsoft.com/office/drawing/2014/main" id="{E8947061-8BAB-4F32-8692-EDDA907A9FD0}"/>
                  </a:ext>
                </a:extLst>
              </p:cNvPr>
              <p:cNvSpPr/>
              <p:nvPr/>
            </p:nvSpPr>
            <p:spPr>
              <a:xfrm>
                <a:off x="6764613" y="5242207"/>
                <a:ext cx="58040" cy="142446"/>
              </a:xfrm>
              <a:custGeom>
                <a:avLst/>
                <a:gdLst>
                  <a:gd name="connsiteX0" fmla="*/ 0 w 58040"/>
                  <a:gd name="connsiteY0" fmla="*/ 1110 h 142446"/>
                  <a:gd name="connsiteX1" fmla="*/ 2841 w 58040"/>
                  <a:gd name="connsiteY1" fmla="*/ 0 h 142446"/>
                  <a:gd name="connsiteX2" fmla="*/ 58041 w 58040"/>
                  <a:gd name="connsiteY2" fmla="*/ 141337 h 142446"/>
                  <a:gd name="connsiteX3" fmla="*/ 55200 w 58040"/>
                  <a:gd name="connsiteY3" fmla="*/ 142447 h 142446"/>
                </a:gdLst>
                <a:ahLst/>
                <a:cxnLst>
                  <a:cxn ang="0">
                    <a:pos x="connsiteX0" y="connsiteY0"/>
                  </a:cxn>
                  <a:cxn ang="0">
                    <a:pos x="connsiteX1" y="connsiteY1"/>
                  </a:cxn>
                  <a:cxn ang="0">
                    <a:pos x="connsiteX2" y="connsiteY2"/>
                  </a:cxn>
                  <a:cxn ang="0">
                    <a:pos x="connsiteX3" y="connsiteY3"/>
                  </a:cxn>
                </a:cxnLst>
                <a:rect l="l" t="t" r="r" b="b"/>
                <a:pathLst>
                  <a:path w="58040" h="142446">
                    <a:moveTo>
                      <a:pt x="0" y="1110"/>
                    </a:moveTo>
                    <a:lnTo>
                      <a:pt x="2841" y="0"/>
                    </a:lnTo>
                    <a:lnTo>
                      <a:pt x="58041" y="141337"/>
                    </a:lnTo>
                    <a:lnTo>
                      <a:pt x="55200" y="142447"/>
                    </a:lnTo>
                    <a:close/>
                  </a:path>
                </a:pathLst>
              </a:custGeom>
              <a:grpFill/>
              <a:ln w="5978" cap="flat">
                <a:noFill/>
                <a:prstDash val="solid"/>
                <a:miter/>
              </a:ln>
            </p:spPr>
            <p:txBody>
              <a:bodyPr rtlCol="0" anchor="ctr"/>
              <a:lstStyle/>
              <a:p>
                <a:endParaRPr lang="en-GB"/>
              </a:p>
            </p:txBody>
          </p:sp>
          <p:sp>
            <p:nvSpPr>
              <p:cNvPr id="3416" name="Vrije vorm: vorm 3415">
                <a:extLst>
                  <a:ext uri="{FF2B5EF4-FFF2-40B4-BE49-F238E27FC236}">
                    <a16:creationId xmlns:a16="http://schemas.microsoft.com/office/drawing/2014/main" id="{1A4C8DD5-ED50-40CE-A0BD-C61E503D1D74}"/>
                  </a:ext>
                </a:extLst>
              </p:cNvPr>
              <p:cNvSpPr/>
              <p:nvPr/>
            </p:nvSpPr>
            <p:spPr>
              <a:xfrm>
                <a:off x="6811605" y="5374577"/>
                <a:ext cx="18378" cy="18429"/>
              </a:xfrm>
              <a:custGeom>
                <a:avLst/>
                <a:gdLst>
                  <a:gd name="connsiteX0" fmla="*/ 17742 w 18378"/>
                  <a:gd name="connsiteY0" fmla="*/ 5899 h 18429"/>
                  <a:gd name="connsiteX1" fmla="*/ 12538 w 18378"/>
                  <a:gd name="connsiteY1" fmla="*/ 17801 h 18429"/>
                  <a:gd name="connsiteX2" fmla="*/ 637 w 18378"/>
                  <a:gd name="connsiteY2" fmla="*/ 12538 h 18429"/>
                  <a:gd name="connsiteX3" fmla="*/ 5840 w 18378"/>
                  <a:gd name="connsiteY3" fmla="*/ 636 h 18429"/>
                  <a:gd name="connsiteX4" fmla="*/ 17742 w 18378"/>
                  <a:gd name="connsiteY4" fmla="*/ 58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9">
                    <a:moveTo>
                      <a:pt x="17742" y="5899"/>
                    </a:moveTo>
                    <a:cubicBezTo>
                      <a:pt x="19596" y="10624"/>
                      <a:pt x="17263" y="16007"/>
                      <a:pt x="12538" y="17801"/>
                    </a:cubicBezTo>
                    <a:cubicBezTo>
                      <a:pt x="7814" y="19655"/>
                      <a:pt x="2491" y="17263"/>
                      <a:pt x="637" y="12538"/>
                    </a:cubicBezTo>
                    <a:cubicBezTo>
                      <a:pt x="-1217" y="7813"/>
                      <a:pt x="1115" y="2430"/>
                      <a:pt x="5840" y="636"/>
                    </a:cubicBezTo>
                    <a:cubicBezTo>
                      <a:pt x="10565" y="-1218"/>
                      <a:pt x="15888" y="1115"/>
                      <a:pt x="17742" y="5899"/>
                    </a:cubicBezTo>
                    <a:close/>
                  </a:path>
                </a:pathLst>
              </a:custGeom>
              <a:grpFill/>
              <a:ln w="5978" cap="flat">
                <a:noFill/>
                <a:prstDash val="solid"/>
                <a:miter/>
              </a:ln>
            </p:spPr>
            <p:txBody>
              <a:bodyPr rtlCol="0" anchor="ctr"/>
              <a:lstStyle/>
              <a:p>
                <a:endParaRPr lang="en-GB"/>
              </a:p>
            </p:txBody>
          </p:sp>
          <p:sp>
            <p:nvSpPr>
              <p:cNvPr id="3417" name="Vrije vorm: vorm 3416">
                <a:extLst>
                  <a:ext uri="{FF2B5EF4-FFF2-40B4-BE49-F238E27FC236}">
                    <a16:creationId xmlns:a16="http://schemas.microsoft.com/office/drawing/2014/main" id="{B101EE32-2AF9-4C8D-9509-1BCA190773CC}"/>
                  </a:ext>
                </a:extLst>
              </p:cNvPr>
              <p:cNvSpPr/>
              <p:nvPr/>
            </p:nvSpPr>
            <p:spPr>
              <a:xfrm>
                <a:off x="6756881" y="5234038"/>
                <a:ext cx="18378" cy="18421"/>
              </a:xfrm>
              <a:custGeom>
                <a:avLst/>
                <a:gdLst>
                  <a:gd name="connsiteX0" fmla="*/ 17742 w 18378"/>
                  <a:gd name="connsiteY0" fmla="*/ 5892 h 18421"/>
                  <a:gd name="connsiteX1" fmla="*/ 5840 w 18378"/>
                  <a:gd name="connsiteY1" fmla="*/ 629 h 18421"/>
                  <a:gd name="connsiteX2" fmla="*/ 637 w 18378"/>
                  <a:gd name="connsiteY2" fmla="*/ 12530 h 18421"/>
                  <a:gd name="connsiteX3" fmla="*/ 12538 w 18378"/>
                  <a:gd name="connsiteY3" fmla="*/ 17793 h 18421"/>
                  <a:gd name="connsiteX4" fmla="*/ 17742 w 18378"/>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1">
                    <a:moveTo>
                      <a:pt x="17742" y="5892"/>
                    </a:moveTo>
                    <a:cubicBezTo>
                      <a:pt x="15888" y="1167"/>
                      <a:pt x="10565" y="-1225"/>
                      <a:pt x="5840" y="629"/>
                    </a:cubicBezTo>
                    <a:cubicBezTo>
                      <a:pt x="1115" y="2483"/>
                      <a:pt x="-1217" y="7806"/>
                      <a:pt x="637" y="12530"/>
                    </a:cubicBezTo>
                    <a:cubicBezTo>
                      <a:pt x="2491" y="17255"/>
                      <a:pt x="7814" y="19647"/>
                      <a:pt x="12538" y="17793"/>
                    </a:cubicBezTo>
                    <a:cubicBezTo>
                      <a:pt x="17263" y="15939"/>
                      <a:pt x="19596" y="10617"/>
                      <a:pt x="17742" y="5892"/>
                    </a:cubicBezTo>
                    <a:close/>
                  </a:path>
                </a:pathLst>
              </a:custGeom>
              <a:grpFill/>
              <a:ln w="5978" cap="flat">
                <a:noFill/>
                <a:prstDash val="solid"/>
                <a:miter/>
              </a:ln>
            </p:spPr>
            <p:txBody>
              <a:bodyPr rtlCol="0" anchor="ctr"/>
              <a:lstStyle/>
              <a:p>
                <a:endParaRPr lang="en-GB"/>
              </a:p>
            </p:txBody>
          </p:sp>
        </p:grpSp>
        <p:grpSp>
          <p:nvGrpSpPr>
            <p:cNvPr id="659" name="Graphic 3">
              <a:extLst>
                <a:ext uri="{FF2B5EF4-FFF2-40B4-BE49-F238E27FC236}">
                  <a16:creationId xmlns:a16="http://schemas.microsoft.com/office/drawing/2014/main" id="{F9300A27-F478-4A74-9B43-535C8806BF3C}"/>
                </a:ext>
              </a:extLst>
            </p:cNvPr>
            <p:cNvGrpSpPr/>
            <p:nvPr/>
          </p:nvGrpSpPr>
          <p:grpSpPr>
            <a:xfrm>
              <a:off x="6708796" y="5110476"/>
              <a:ext cx="59764" cy="124818"/>
              <a:chOff x="6708796" y="5110476"/>
              <a:chExt cx="59764" cy="124818"/>
            </a:xfrm>
            <a:grpFill/>
          </p:grpSpPr>
          <p:sp>
            <p:nvSpPr>
              <p:cNvPr id="3412" name="Vrije vorm: vorm 3411">
                <a:extLst>
                  <a:ext uri="{FF2B5EF4-FFF2-40B4-BE49-F238E27FC236}">
                    <a16:creationId xmlns:a16="http://schemas.microsoft.com/office/drawing/2014/main" id="{AE5CC10B-4211-40B3-A108-BB87ACDAFCE0}"/>
                  </a:ext>
                </a:extLst>
              </p:cNvPr>
              <p:cNvSpPr/>
              <p:nvPr/>
            </p:nvSpPr>
            <p:spPr>
              <a:xfrm>
                <a:off x="6716487" y="5118474"/>
                <a:ext cx="44669" cy="108307"/>
              </a:xfrm>
              <a:custGeom>
                <a:avLst/>
                <a:gdLst>
                  <a:gd name="connsiteX0" fmla="*/ 0 w 44669"/>
                  <a:gd name="connsiteY0" fmla="*/ 1109 h 108307"/>
                  <a:gd name="connsiteX1" fmla="*/ 2842 w 44669"/>
                  <a:gd name="connsiteY1" fmla="*/ 0 h 108307"/>
                  <a:gd name="connsiteX2" fmla="*/ 44669 w 44669"/>
                  <a:gd name="connsiteY2" fmla="*/ 107198 h 108307"/>
                  <a:gd name="connsiteX3" fmla="*/ 41828 w 44669"/>
                  <a:gd name="connsiteY3" fmla="*/ 108307 h 108307"/>
                </a:gdLst>
                <a:ahLst/>
                <a:cxnLst>
                  <a:cxn ang="0">
                    <a:pos x="connsiteX0" y="connsiteY0"/>
                  </a:cxn>
                  <a:cxn ang="0">
                    <a:pos x="connsiteX1" y="connsiteY1"/>
                  </a:cxn>
                  <a:cxn ang="0">
                    <a:pos x="connsiteX2" y="connsiteY2"/>
                  </a:cxn>
                  <a:cxn ang="0">
                    <a:pos x="connsiteX3" y="connsiteY3"/>
                  </a:cxn>
                </a:cxnLst>
                <a:rect l="l" t="t" r="r" b="b"/>
                <a:pathLst>
                  <a:path w="44669" h="108307">
                    <a:moveTo>
                      <a:pt x="0" y="1109"/>
                    </a:moveTo>
                    <a:lnTo>
                      <a:pt x="2842" y="0"/>
                    </a:lnTo>
                    <a:lnTo>
                      <a:pt x="44669" y="107198"/>
                    </a:lnTo>
                    <a:lnTo>
                      <a:pt x="41828" y="108307"/>
                    </a:lnTo>
                    <a:close/>
                  </a:path>
                </a:pathLst>
              </a:custGeom>
              <a:grpFill/>
              <a:ln w="5978" cap="flat">
                <a:noFill/>
                <a:prstDash val="solid"/>
                <a:miter/>
              </a:ln>
            </p:spPr>
            <p:txBody>
              <a:bodyPr rtlCol="0" anchor="ctr"/>
              <a:lstStyle/>
              <a:p>
                <a:endParaRPr lang="en-GB"/>
              </a:p>
            </p:txBody>
          </p:sp>
          <p:sp>
            <p:nvSpPr>
              <p:cNvPr id="3413" name="Vrije vorm: vorm 3412">
                <a:extLst>
                  <a:ext uri="{FF2B5EF4-FFF2-40B4-BE49-F238E27FC236}">
                    <a16:creationId xmlns:a16="http://schemas.microsoft.com/office/drawing/2014/main" id="{8D99AFC1-834C-452C-92D2-557D42280C85}"/>
                  </a:ext>
                </a:extLst>
              </p:cNvPr>
              <p:cNvSpPr/>
              <p:nvPr/>
            </p:nvSpPr>
            <p:spPr>
              <a:xfrm>
                <a:off x="6750182" y="5216866"/>
                <a:ext cx="18378" cy="18429"/>
              </a:xfrm>
              <a:custGeom>
                <a:avLst/>
                <a:gdLst>
                  <a:gd name="connsiteX0" fmla="*/ 17742 w 18378"/>
                  <a:gd name="connsiteY0" fmla="*/ 5899 h 18429"/>
                  <a:gd name="connsiteX1" fmla="*/ 12538 w 18378"/>
                  <a:gd name="connsiteY1" fmla="*/ 17801 h 18429"/>
                  <a:gd name="connsiteX2" fmla="*/ 637 w 18378"/>
                  <a:gd name="connsiteY2" fmla="*/ 12538 h 18429"/>
                  <a:gd name="connsiteX3" fmla="*/ 5840 w 18378"/>
                  <a:gd name="connsiteY3" fmla="*/ 636 h 18429"/>
                  <a:gd name="connsiteX4" fmla="*/ 17742 w 18378"/>
                  <a:gd name="connsiteY4" fmla="*/ 58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9">
                    <a:moveTo>
                      <a:pt x="17742" y="5899"/>
                    </a:moveTo>
                    <a:cubicBezTo>
                      <a:pt x="19596" y="10624"/>
                      <a:pt x="17263" y="16007"/>
                      <a:pt x="12538" y="17801"/>
                    </a:cubicBezTo>
                    <a:cubicBezTo>
                      <a:pt x="7814" y="19655"/>
                      <a:pt x="2491" y="17263"/>
                      <a:pt x="637" y="12538"/>
                    </a:cubicBezTo>
                    <a:cubicBezTo>
                      <a:pt x="-1217" y="7813"/>
                      <a:pt x="1115" y="2430"/>
                      <a:pt x="5840" y="636"/>
                    </a:cubicBezTo>
                    <a:cubicBezTo>
                      <a:pt x="10625" y="-1218"/>
                      <a:pt x="15947" y="1115"/>
                      <a:pt x="17742" y="5899"/>
                    </a:cubicBezTo>
                    <a:close/>
                  </a:path>
                </a:pathLst>
              </a:custGeom>
              <a:grpFill/>
              <a:ln w="5978" cap="flat">
                <a:noFill/>
                <a:prstDash val="solid"/>
                <a:miter/>
              </a:ln>
            </p:spPr>
            <p:txBody>
              <a:bodyPr rtlCol="0" anchor="ctr"/>
              <a:lstStyle/>
              <a:p>
                <a:endParaRPr lang="en-GB"/>
              </a:p>
            </p:txBody>
          </p:sp>
          <p:sp>
            <p:nvSpPr>
              <p:cNvPr id="3414" name="Vrije vorm: vorm 3413">
                <a:extLst>
                  <a:ext uri="{FF2B5EF4-FFF2-40B4-BE49-F238E27FC236}">
                    <a16:creationId xmlns:a16="http://schemas.microsoft.com/office/drawing/2014/main" id="{D2D18025-0E6A-4256-AD4E-FFE4CD9DED29}"/>
                  </a:ext>
                </a:extLst>
              </p:cNvPr>
              <p:cNvSpPr/>
              <p:nvPr/>
            </p:nvSpPr>
            <p:spPr>
              <a:xfrm>
                <a:off x="6708796" y="5110476"/>
                <a:ext cx="18378" cy="18421"/>
              </a:xfrm>
              <a:custGeom>
                <a:avLst/>
                <a:gdLst>
                  <a:gd name="connsiteX0" fmla="*/ 17742 w 18378"/>
                  <a:gd name="connsiteY0" fmla="*/ 5892 h 18421"/>
                  <a:gd name="connsiteX1" fmla="*/ 5840 w 18378"/>
                  <a:gd name="connsiteY1" fmla="*/ 629 h 18421"/>
                  <a:gd name="connsiteX2" fmla="*/ 637 w 18378"/>
                  <a:gd name="connsiteY2" fmla="*/ 12530 h 18421"/>
                  <a:gd name="connsiteX3" fmla="*/ 12538 w 18378"/>
                  <a:gd name="connsiteY3" fmla="*/ 17793 h 18421"/>
                  <a:gd name="connsiteX4" fmla="*/ 17742 w 18378"/>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1">
                    <a:moveTo>
                      <a:pt x="17742" y="5892"/>
                    </a:moveTo>
                    <a:cubicBezTo>
                      <a:pt x="15888" y="1167"/>
                      <a:pt x="10565" y="-1225"/>
                      <a:pt x="5840" y="629"/>
                    </a:cubicBezTo>
                    <a:cubicBezTo>
                      <a:pt x="1115" y="2483"/>
                      <a:pt x="-1217" y="7806"/>
                      <a:pt x="637" y="12530"/>
                    </a:cubicBezTo>
                    <a:cubicBezTo>
                      <a:pt x="2491" y="17255"/>
                      <a:pt x="7814" y="19647"/>
                      <a:pt x="12538" y="17793"/>
                    </a:cubicBezTo>
                    <a:cubicBezTo>
                      <a:pt x="17263" y="15939"/>
                      <a:pt x="19596" y="10616"/>
                      <a:pt x="17742" y="5892"/>
                    </a:cubicBezTo>
                    <a:close/>
                  </a:path>
                </a:pathLst>
              </a:custGeom>
              <a:grpFill/>
              <a:ln w="5978" cap="flat">
                <a:noFill/>
                <a:prstDash val="solid"/>
                <a:miter/>
              </a:ln>
            </p:spPr>
            <p:txBody>
              <a:bodyPr rtlCol="0" anchor="ctr"/>
              <a:lstStyle/>
              <a:p>
                <a:endParaRPr lang="en-GB"/>
              </a:p>
            </p:txBody>
          </p:sp>
        </p:grpSp>
        <p:grpSp>
          <p:nvGrpSpPr>
            <p:cNvPr id="660" name="Graphic 3">
              <a:extLst>
                <a:ext uri="{FF2B5EF4-FFF2-40B4-BE49-F238E27FC236}">
                  <a16:creationId xmlns:a16="http://schemas.microsoft.com/office/drawing/2014/main" id="{3C64E17D-B0BE-4A5E-85C6-815C26268598}"/>
                </a:ext>
              </a:extLst>
            </p:cNvPr>
            <p:cNvGrpSpPr/>
            <p:nvPr/>
          </p:nvGrpSpPr>
          <p:grpSpPr>
            <a:xfrm>
              <a:off x="5452491" y="1260327"/>
              <a:ext cx="134393" cy="551483"/>
              <a:chOff x="5452491" y="1260327"/>
              <a:chExt cx="134393" cy="551483"/>
            </a:xfrm>
            <a:grpFill/>
          </p:grpSpPr>
          <p:sp>
            <p:nvSpPr>
              <p:cNvPr id="3409" name="Vrije vorm: vorm 3408">
                <a:extLst>
                  <a:ext uri="{FF2B5EF4-FFF2-40B4-BE49-F238E27FC236}">
                    <a16:creationId xmlns:a16="http://schemas.microsoft.com/office/drawing/2014/main" id="{2980E27A-3B61-4340-873A-35BA449B34BA}"/>
                  </a:ext>
                </a:extLst>
              </p:cNvPr>
              <p:cNvSpPr/>
              <p:nvPr/>
            </p:nvSpPr>
            <p:spPr>
              <a:xfrm>
                <a:off x="5460035" y="1268955"/>
                <a:ext cx="119212" cy="534593"/>
              </a:xfrm>
              <a:custGeom>
                <a:avLst/>
                <a:gdLst>
                  <a:gd name="connsiteX0" fmla="*/ 0 w 119212"/>
                  <a:gd name="connsiteY0" fmla="*/ 649 h 534593"/>
                  <a:gd name="connsiteX1" fmla="*/ 2981 w 119212"/>
                  <a:gd name="connsiteY1" fmla="*/ 0 h 534593"/>
                  <a:gd name="connsiteX2" fmla="*/ 119212 w 119212"/>
                  <a:gd name="connsiteY2" fmla="*/ 533945 h 534593"/>
                  <a:gd name="connsiteX3" fmla="*/ 116232 w 119212"/>
                  <a:gd name="connsiteY3" fmla="*/ 534593 h 534593"/>
                </a:gdLst>
                <a:ahLst/>
                <a:cxnLst>
                  <a:cxn ang="0">
                    <a:pos x="connsiteX0" y="connsiteY0"/>
                  </a:cxn>
                  <a:cxn ang="0">
                    <a:pos x="connsiteX1" y="connsiteY1"/>
                  </a:cxn>
                  <a:cxn ang="0">
                    <a:pos x="connsiteX2" y="connsiteY2"/>
                  </a:cxn>
                  <a:cxn ang="0">
                    <a:pos x="connsiteX3" y="connsiteY3"/>
                  </a:cxn>
                </a:cxnLst>
                <a:rect l="l" t="t" r="r" b="b"/>
                <a:pathLst>
                  <a:path w="119212" h="534593">
                    <a:moveTo>
                      <a:pt x="0" y="649"/>
                    </a:moveTo>
                    <a:lnTo>
                      <a:pt x="2981" y="0"/>
                    </a:lnTo>
                    <a:lnTo>
                      <a:pt x="119212" y="533945"/>
                    </a:lnTo>
                    <a:lnTo>
                      <a:pt x="116232" y="534593"/>
                    </a:lnTo>
                    <a:close/>
                  </a:path>
                </a:pathLst>
              </a:custGeom>
              <a:grpFill/>
              <a:ln w="5978" cap="flat">
                <a:noFill/>
                <a:prstDash val="solid"/>
                <a:miter/>
              </a:ln>
            </p:spPr>
            <p:txBody>
              <a:bodyPr rtlCol="0" anchor="ctr"/>
              <a:lstStyle/>
              <a:p>
                <a:endParaRPr lang="en-GB"/>
              </a:p>
            </p:txBody>
          </p:sp>
          <p:sp>
            <p:nvSpPr>
              <p:cNvPr id="3410" name="Vrije vorm: vorm 3409">
                <a:extLst>
                  <a:ext uri="{FF2B5EF4-FFF2-40B4-BE49-F238E27FC236}">
                    <a16:creationId xmlns:a16="http://schemas.microsoft.com/office/drawing/2014/main" id="{69D64202-8F5F-48AF-88AF-24DC60E3875A}"/>
                  </a:ext>
                </a:extLst>
              </p:cNvPr>
              <p:cNvSpPr/>
              <p:nvPr/>
            </p:nvSpPr>
            <p:spPr>
              <a:xfrm>
                <a:off x="5568576" y="1793389"/>
                <a:ext cx="18308" cy="18421"/>
              </a:xfrm>
              <a:custGeom>
                <a:avLst/>
                <a:gdLst>
                  <a:gd name="connsiteX0" fmla="*/ 18095 w 18308"/>
                  <a:gd name="connsiteY0" fmla="*/ 7267 h 18421"/>
                  <a:gd name="connsiteX1" fmla="*/ 11098 w 18308"/>
                  <a:gd name="connsiteY1" fmla="*/ 18212 h 18421"/>
                  <a:gd name="connsiteX2" fmla="*/ 213 w 18308"/>
                  <a:gd name="connsiteY2" fmla="*/ 11155 h 18421"/>
                  <a:gd name="connsiteX3" fmla="*/ 7211 w 18308"/>
                  <a:gd name="connsiteY3" fmla="*/ 210 h 18421"/>
                  <a:gd name="connsiteX4" fmla="*/ 18095 w 18308"/>
                  <a:gd name="connsiteY4" fmla="*/ 7267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18095" y="7267"/>
                    </a:moveTo>
                    <a:cubicBezTo>
                      <a:pt x="19172" y="12231"/>
                      <a:pt x="16062" y="17135"/>
                      <a:pt x="11098" y="18212"/>
                    </a:cubicBezTo>
                    <a:cubicBezTo>
                      <a:pt x="6134" y="19288"/>
                      <a:pt x="1289" y="16119"/>
                      <a:pt x="213" y="11155"/>
                    </a:cubicBezTo>
                    <a:cubicBezTo>
                      <a:pt x="-864" y="6191"/>
                      <a:pt x="2246" y="1286"/>
                      <a:pt x="7211" y="210"/>
                    </a:cubicBezTo>
                    <a:cubicBezTo>
                      <a:pt x="12114" y="-867"/>
                      <a:pt x="17019" y="2303"/>
                      <a:pt x="18095" y="7267"/>
                    </a:cubicBezTo>
                    <a:close/>
                  </a:path>
                </a:pathLst>
              </a:custGeom>
              <a:grpFill/>
              <a:ln w="5978" cap="flat">
                <a:noFill/>
                <a:prstDash val="solid"/>
                <a:miter/>
              </a:ln>
            </p:spPr>
            <p:txBody>
              <a:bodyPr rtlCol="0" anchor="ctr"/>
              <a:lstStyle/>
              <a:p>
                <a:endParaRPr lang="en-GB"/>
              </a:p>
            </p:txBody>
          </p:sp>
          <p:sp>
            <p:nvSpPr>
              <p:cNvPr id="3411" name="Vrije vorm: vorm 3410">
                <a:extLst>
                  <a:ext uri="{FF2B5EF4-FFF2-40B4-BE49-F238E27FC236}">
                    <a16:creationId xmlns:a16="http://schemas.microsoft.com/office/drawing/2014/main" id="{38642B43-F314-4A9E-B834-FD216DCAF992}"/>
                  </a:ext>
                </a:extLst>
              </p:cNvPr>
              <p:cNvSpPr/>
              <p:nvPr/>
            </p:nvSpPr>
            <p:spPr>
              <a:xfrm>
                <a:off x="5452491" y="1260327"/>
                <a:ext cx="18307" cy="18421"/>
              </a:xfrm>
              <a:custGeom>
                <a:avLst/>
                <a:gdLst>
                  <a:gd name="connsiteX0" fmla="*/ 18095 w 18307"/>
                  <a:gd name="connsiteY0" fmla="*/ 7267 h 18421"/>
                  <a:gd name="connsiteX1" fmla="*/ 7210 w 18307"/>
                  <a:gd name="connsiteY1" fmla="*/ 210 h 18421"/>
                  <a:gd name="connsiteX2" fmla="*/ 213 w 18307"/>
                  <a:gd name="connsiteY2" fmla="*/ 11155 h 18421"/>
                  <a:gd name="connsiteX3" fmla="*/ 11098 w 18307"/>
                  <a:gd name="connsiteY3" fmla="*/ 18212 h 18421"/>
                  <a:gd name="connsiteX4" fmla="*/ 18095 w 18307"/>
                  <a:gd name="connsiteY4" fmla="*/ 7267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18095" y="7267"/>
                    </a:moveTo>
                    <a:cubicBezTo>
                      <a:pt x="17019" y="2303"/>
                      <a:pt x="12114" y="-867"/>
                      <a:pt x="7210" y="210"/>
                    </a:cubicBezTo>
                    <a:cubicBezTo>
                      <a:pt x="2246" y="1287"/>
                      <a:pt x="-864" y="6191"/>
                      <a:pt x="213" y="11155"/>
                    </a:cubicBezTo>
                    <a:cubicBezTo>
                      <a:pt x="1289" y="16119"/>
                      <a:pt x="6194" y="19288"/>
                      <a:pt x="11098" y="18212"/>
                    </a:cubicBezTo>
                    <a:cubicBezTo>
                      <a:pt x="16062" y="17135"/>
                      <a:pt x="19172" y="12231"/>
                      <a:pt x="18095" y="7267"/>
                    </a:cubicBezTo>
                    <a:close/>
                  </a:path>
                </a:pathLst>
              </a:custGeom>
              <a:grpFill/>
              <a:ln w="5978" cap="flat">
                <a:noFill/>
                <a:prstDash val="solid"/>
                <a:miter/>
              </a:ln>
            </p:spPr>
            <p:txBody>
              <a:bodyPr rtlCol="0" anchor="ctr"/>
              <a:lstStyle/>
              <a:p>
                <a:endParaRPr lang="en-GB"/>
              </a:p>
            </p:txBody>
          </p:sp>
        </p:grpSp>
        <p:grpSp>
          <p:nvGrpSpPr>
            <p:cNvPr id="661" name="Graphic 3">
              <a:extLst>
                <a:ext uri="{FF2B5EF4-FFF2-40B4-BE49-F238E27FC236}">
                  <a16:creationId xmlns:a16="http://schemas.microsoft.com/office/drawing/2014/main" id="{97C9B767-7FC5-4764-8EDA-0D2468EC785B}"/>
                </a:ext>
              </a:extLst>
            </p:cNvPr>
            <p:cNvGrpSpPr/>
            <p:nvPr/>
          </p:nvGrpSpPr>
          <p:grpSpPr>
            <a:xfrm>
              <a:off x="5428819" y="1323976"/>
              <a:ext cx="21753" cy="29821"/>
              <a:chOff x="5428819" y="1323976"/>
              <a:chExt cx="21753" cy="29821"/>
            </a:xfrm>
            <a:grpFill/>
          </p:grpSpPr>
          <p:sp>
            <p:nvSpPr>
              <p:cNvPr id="3406" name="Vrije vorm: vorm 3405">
                <a:extLst>
                  <a:ext uri="{FF2B5EF4-FFF2-40B4-BE49-F238E27FC236}">
                    <a16:creationId xmlns:a16="http://schemas.microsoft.com/office/drawing/2014/main" id="{C46FEBC2-6BAC-4C6F-8BB7-F26A8B8797B3}"/>
                  </a:ext>
                </a:extLst>
              </p:cNvPr>
              <p:cNvSpPr/>
              <p:nvPr/>
            </p:nvSpPr>
            <p:spPr>
              <a:xfrm>
                <a:off x="5436428" y="1332418"/>
                <a:ext cx="6552" cy="13138"/>
              </a:xfrm>
              <a:custGeom>
                <a:avLst/>
                <a:gdLst>
                  <a:gd name="connsiteX0" fmla="*/ 0 w 6552"/>
                  <a:gd name="connsiteY0" fmla="*/ 864 h 13138"/>
                  <a:gd name="connsiteX1" fmla="*/ 2925 w 6552"/>
                  <a:gd name="connsiteY1" fmla="*/ 0 h 13138"/>
                  <a:gd name="connsiteX2" fmla="*/ 6552 w 6552"/>
                  <a:gd name="connsiteY2" fmla="*/ 12274 h 13138"/>
                  <a:gd name="connsiteX3" fmla="*/ 3627 w 6552"/>
                  <a:gd name="connsiteY3" fmla="*/ 13138 h 13138"/>
                </a:gdLst>
                <a:ahLst/>
                <a:cxnLst>
                  <a:cxn ang="0">
                    <a:pos x="connsiteX0" y="connsiteY0"/>
                  </a:cxn>
                  <a:cxn ang="0">
                    <a:pos x="connsiteX1" y="connsiteY1"/>
                  </a:cxn>
                  <a:cxn ang="0">
                    <a:pos x="connsiteX2" y="connsiteY2"/>
                  </a:cxn>
                  <a:cxn ang="0">
                    <a:pos x="connsiteX3" y="connsiteY3"/>
                  </a:cxn>
                </a:cxnLst>
                <a:rect l="l" t="t" r="r" b="b"/>
                <a:pathLst>
                  <a:path w="6552" h="13138">
                    <a:moveTo>
                      <a:pt x="0" y="864"/>
                    </a:moveTo>
                    <a:lnTo>
                      <a:pt x="2925" y="0"/>
                    </a:lnTo>
                    <a:lnTo>
                      <a:pt x="6552" y="12274"/>
                    </a:lnTo>
                    <a:lnTo>
                      <a:pt x="3627" y="13138"/>
                    </a:lnTo>
                    <a:close/>
                  </a:path>
                </a:pathLst>
              </a:custGeom>
              <a:grpFill/>
              <a:ln w="5978" cap="flat">
                <a:noFill/>
                <a:prstDash val="solid"/>
                <a:miter/>
              </a:ln>
            </p:spPr>
            <p:txBody>
              <a:bodyPr rtlCol="0" anchor="ctr"/>
              <a:lstStyle/>
              <a:p>
                <a:endParaRPr lang="en-GB"/>
              </a:p>
            </p:txBody>
          </p:sp>
          <p:sp>
            <p:nvSpPr>
              <p:cNvPr id="3407" name="Vrije vorm: vorm 3406">
                <a:extLst>
                  <a:ext uri="{FF2B5EF4-FFF2-40B4-BE49-F238E27FC236}">
                    <a16:creationId xmlns:a16="http://schemas.microsoft.com/office/drawing/2014/main" id="{078A2062-1066-4846-94CC-5C691E99C08E}"/>
                  </a:ext>
                </a:extLst>
              </p:cNvPr>
              <p:cNvSpPr/>
              <p:nvPr/>
            </p:nvSpPr>
            <p:spPr>
              <a:xfrm>
                <a:off x="5428819" y="1323976"/>
                <a:ext cx="18344" cy="18398"/>
              </a:xfrm>
              <a:custGeom>
                <a:avLst/>
                <a:gdLst>
                  <a:gd name="connsiteX0" fmla="*/ 380 w 18344"/>
                  <a:gd name="connsiteY0" fmla="*/ 11799 h 18398"/>
                  <a:gd name="connsiteX1" fmla="*/ 6540 w 18344"/>
                  <a:gd name="connsiteY1" fmla="*/ 375 h 18398"/>
                  <a:gd name="connsiteX2" fmla="*/ 17964 w 18344"/>
                  <a:gd name="connsiteY2" fmla="*/ 6595 h 18398"/>
                  <a:gd name="connsiteX3" fmla="*/ 11803 w 18344"/>
                  <a:gd name="connsiteY3" fmla="*/ 18018 h 18398"/>
                  <a:gd name="connsiteX4" fmla="*/ 380 w 18344"/>
                  <a:gd name="connsiteY4" fmla="*/ 1179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98">
                    <a:moveTo>
                      <a:pt x="380" y="11799"/>
                    </a:moveTo>
                    <a:cubicBezTo>
                      <a:pt x="-1055" y="6894"/>
                      <a:pt x="1696" y="1811"/>
                      <a:pt x="6540" y="375"/>
                    </a:cubicBezTo>
                    <a:cubicBezTo>
                      <a:pt x="11385" y="-1060"/>
                      <a:pt x="16469" y="1751"/>
                      <a:pt x="17964" y="6595"/>
                    </a:cubicBezTo>
                    <a:cubicBezTo>
                      <a:pt x="19399" y="11499"/>
                      <a:pt x="16648" y="16583"/>
                      <a:pt x="11803" y="18018"/>
                    </a:cubicBezTo>
                    <a:cubicBezTo>
                      <a:pt x="6959" y="19454"/>
                      <a:pt x="1816" y="16703"/>
                      <a:pt x="380" y="11799"/>
                    </a:cubicBezTo>
                    <a:close/>
                  </a:path>
                </a:pathLst>
              </a:custGeom>
              <a:grpFill/>
              <a:ln w="5978" cap="flat">
                <a:noFill/>
                <a:prstDash val="solid"/>
                <a:miter/>
              </a:ln>
            </p:spPr>
            <p:txBody>
              <a:bodyPr rtlCol="0" anchor="ctr"/>
              <a:lstStyle/>
              <a:p>
                <a:endParaRPr lang="en-GB"/>
              </a:p>
            </p:txBody>
          </p:sp>
          <p:sp>
            <p:nvSpPr>
              <p:cNvPr id="3408" name="Vrije vorm: vorm 3407">
                <a:extLst>
                  <a:ext uri="{FF2B5EF4-FFF2-40B4-BE49-F238E27FC236}">
                    <a16:creationId xmlns:a16="http://schemas.microsoft.com/office/drawing/2014/main" id="{0951EE4E-5AFF-4EDB-9E40-EFCC1CCDEBA2}"/>
                  </a:ext>
                </a:extLst>
              </p:cNvPr>
              <p:cNvSpPr/>
              <p:nvPr/>
            </p:nvSpPr>
            <p:spPr>
              <a:xfrm>
                <a:off x="5432228" y="1335394"/>
                <a:ext cx="18344" cy="18403"/>
              </a:xfrm>
              <a:custGeom>
                <a:avLst/>
                <a:gdLst>
                  <a:gd name="connsiteX0" fmla="*/ 381 w 18344"/>
                  <a:gd name="connsiteY0" fmla="*/ 11803 h 18403"/>
                  <a:gd name="connsiteX1" fmla="*/ 11804 w 18344"/>
                  <a:gd name="connsiteY1" fmla="*/ 18023 h 18403"/>
                  <a:gd name="connsiteX2" fmla="*/ 17964 w 18344"/>
                  <a:gd name="connsiteY2" fmla="*/ 6600 h 18403"/>
                  <a:gd name="connsiteX3" fmla="*/ 6540 w 18344"/>
                  <a:gd name="connsiteY3" fmla="*/ 380 h 18403"/>
                  <a:gd name="connsiteX4" fmla="*/ 381 w 18344"/>
                  <a:gd name="connsiteY4" fmla="*/ 118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3">
                    <a:moveTo>
                      <a:pt x="381" y="11803"/>
                    </a:moveTo>
                    <a:cubicBezTo>
                      <a:pt x="1816" y="16707"/>
                      <a:pt x="6899" y="19459"/>
                      <a:pt x="11804" y="18023"/>
                    </a:cubicBezTo>
                    <a:cubicBezTo>
                      <a:pt x="16648" y="16588"/>
                      <a:pt x="19399" y="11444"/>
                      <a:pt x="17964" y="6600"/>
                    </a:cubicBezTo>
                    <a:cubicBezTo>
                      <a:pt x="16528" y="1696"/>
                      <a:pt x="11445" y="-1055"/>
                      <a:pt x="6540" y="380"/>
                    </a:cubicBezTo>
                    <a:cubicBezTo>
                      <a:pt x="1696" y="1815"/>
                      <a:pt x="-1055" y="6899"/>
                      <a:pt x="381" y="11803"/>
                    </a:cubicBezTo>
                    <a:close/>
                  </a:path>
                </a:pathLst>
              </a:custGeom>
              <a:grpFill/>
              <a:ln w="5978" cap="flat">
                <a:noFill/>
                <a:prstDash val="solid"/>
                <a:miter/>
              </a:ln>
            </p:spPr>
            <p:txBody>
              <a:bodyPr rtlCol="0" anchor="ctr"/>
              <a:lstStyle/>
              <a:p>
                <a:endParaRPr lang="en-GB"/>
              </a:p>
            </p:txBody>
          </p:sp>
        </p:grpSp>
        <p:grpSp>
          <p:nvGrpSpPr>
            <p:cNvPr id="662" name="Graphic 3">
              <a:extLst>
                <a:ext uri="{FF2B5EF4-FFF2-40B4-BE49-F238E27FC236}">
                  <a16:creationId xmlns:a16="http://schemas.microsoft.com/office/drawing/2014/main" id="{F4B25375-F4FF-409C-A067-A1FCFE45053A}"/>
                </a:ext>
              </a:extLst>
            </p:cNvPr>
            <p:cNvGrpSpPr/>
            <p:nvPr/>
          </p:nvGrpSpPr>
          <p:grpSpPr>
            <a:xfrm>
              <a:off x="6656584" y="4976448"/>
              <a:ext cx="63891" cy="135285"/>
              <a:chOff x="6656584" y="4976448"/>
              <a:chExt cx="63891" cy="135285"/>
            </a:xfrm>
            <a:grpFill/>
          </p:grpSpPr>
          <p:sp>
            <p:nvSpPr>
              <p:cNvPr id="3403" name="Vrije vorm: vorm 3402">
                <a:extLst>
                  <a:ext uri="{FF2B5EF4-FFF2-40B4-BE49-F238E27FC236}">
                    <a16:creationId xmlns:a16="http://schemas.microsoft.com/office/drawing/2014/main" id="{DA654552-22A7-4139-8AB1-1C40F1C45601}"/>
                  </a:ext>
                </a:extLst>
              </p:cNvPr>
              <p:cNvSpPr/>
              <p:nvPr/>
            </p:nvSpPr>
            <p:spPr>
              <a:xfrm>
                <a:off x="6663836" y="4984792"/>
                <a:ext cx="48706" cy="118793"/>
              </a:xfrm>
              <a:custGeom>
                <a:avLst/>
                <a:gdLst>
                  <a:gd name="connsiteX0" fmla="*/ 0 w 48706"/>
                  <a:gd name="connsiteY0" fmla="*/ 1107 h 118793"/>
                  <a:gd name="connsiteX1" fmla="*/ 2842 w 48706"/>
                  <a:gd name="connsiteY1" fmla="*/ 0 h 118793"/>
                  <a:gd name="connsiteX2" fmla="*/ 48706 w 48706"/>
                  <a:gd name="connsiteY2" fmla="*/ 117686 h 118793"/>
                  <a:gd name="connsiteX3" fmla="*/ 45864 w 48706"/>
                  <a:gd name="connsiteY3" fmla="*/ 118793 h 118793"/>
                </a:gdLst>
                <a:ahLst/>
                <a:cxnLst>
                  <a:cxn ang="0">
                    <a:pos x="connsiteX0" y="connsiteY0"/>
                  </a:cxn>
                  <a:cxn ang="0">
                    <a:pos x="connsiteX1" y="connsiteY1"/>
                  </a:cxn>
                  <a:cxn ang="0">
                    <a:pos x="connsiteX2" y="connsiteY2"/>
                  </a:cxn>
                  <a:cxn ang="0">
                    <a:pos x="connsiteX3" y="connsiteY3"/>
                  </a:cxn>
                </a:cxnLst>
                <a:rect l="l" t="t" r="r" b="b"/>
                <a:pathLst>
                  <a:path w="48706" h="118793">
                    <a:moveTo>
                      <a:pt x="0" y="1107"/>
                    </a:moveTo>
                    <a:lnTo>
                      <a:pt x="2842" y="0"/>
                    </a:lnTo>
                    <a:lnTo>
                      <a:pt x="48706" y="117686"/>
                    </a:lnTo>
                    <a:lnTo>
                      <a:pt x="45864" y="118793"/>
                    </a:lnTo>
                    <a:close/>
                  </a:path>
                </a:pathLst>
              </a:custGeom>
              <a:grpFill/>
              <a:ln w="5978" cap="flat">
                <a:noFill/>
                <a:prstDash val="solid"/>
                <a:miter/>
              </a:ln>
            </p:spPr>
            <p:txBody>
              <a:bodyPr rtlCol="0" anchor="ctr"/>
              <a:lstStyle/>
              <a:p>
                <a:endParaRPr lang="en-GB"/>
              </a:p>
            </p:txBody>
          </p:sp>
          <p:sp>
            <p:nvSpPr>
              <p:cNvPr id="3404" name="Vrije vorm: vorm 3403">
                <a:extLst>
                  <a:ext uri="{FF2B5EF4-FFF2-40B4-BE49-F238E27FC236}">
                    <a16:creationId xmlns:a16="http://schemas.microsoft.com/office/drawing/2014/main" id="{005D57CE-5158-48D8-A068-32A523F00A87}"/>
                  </a:ext>
                </a:extLst>
              </p:cNvPr>
              <p:cNvSpPr/>
              <p:nvPr/>
            </p:nvSpPr>
            <p:spPr>
              <a:xfrm>
                <a:off x="6702097" y="5093304"/>
                <a:ext cx="18378" cy="18429"/>
              </a:xfrm>
              <a:custGeom>
                <a:avLst/>
                <a:gdLst>
                  <a:gd name="connsiteX0" fmla="*/ 17742 w 18378"/>
                  <a:gd name="connsiteY0" fmla="*/ 5899 h 18429"/>
                  <a:gd name="connsiteX1" fmla="*/ 12538 w 18378"/>
                  <a:gd name="connsiteY1" fmla="*/ 17801 h 18429"/>
                  <a:gd name="connsiteX2" fmla="*/ 637 w 18378"/>
                  <a:gd name="connsiteY2" fmla="*/ 12538 h 18429"/>
                  <a:gd name="connsiteX3" fmla="*/ 5840 w 18378"/>
                  <a:gd name="connsiteY3" fmla="*/ 636 h 18429"/>
                  <a:gd name="connsiteX4" fmla="*/ 17742 w 18378"/>
                  <a:gd name="connsiteY4" fmla="*/ 58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9">
                    <a:moveTo>
                      <a:pt x="17742" y="5899"/>
                    </a:moveTo>
                    <a:cubicBezTo>
                      <a:pt x="19596" y="10624"/>
                      <a:pt x="17263" y="16007"/>
                      <a:pt x="12538" y="17801"/>
                    </a:cubicBezTo>
                    <a:cubicBezTo>
                      <a:pt x="7813" y="19655"/>
                      <a:pt x="2491" y="17262"/>
                      <a:pt x="637" y="12538"/>
                    </a:cubicBezTo>
                    <a:cubicBezTo>
                      <a:pt x="-1217" y="7813"/>
                      <a:pt x="1115" y="2430"/>
                      <a:pt x="5840" y="636"/>
                    </a:cubicBezTo>
                    <a:cubicBezTo>
                      <a:pt x="10565" y="-1218"/>
                      <a:pt x="15888" y="1114"/>
                      <a:pt x="17742" y="5899"/>
                    </a:cubicBezTo>
                    <a:close/>
                  </a:path>
                </a:pathLst>
              </a:custGeom>
              <a:grpFill/>
              <a:ln w="5978" cap="flat">
                <a:noFill/>
                <a:prstDash val="solid"/>
                <a:miter/>
              </a:ln>
            </p:spPr>
            <p:txBody>
              <a:bodyPr rtlCol="0" anchor="ctr"/>
              <a:lstStyle/>
              <a:p>
                <a:endParaRPr lang="en-GB"/>
              </a:p>
            </p:txBody>
          </p:sp>
          <p:sp>
            <p:nvSpPr>
              <p:cNvPr id="3405" name="Vrije vorm: vorm 3404">
                <a:extLst>
                  <a:ext uri="{FF2B5EF4-FFF2-40B4-BE49-F238E27FC236}">
                    <a16:creationId xmlns:a16="http://schemas.microsoft.com/office/drawing/2014/main" id="{3355A3C1-6ADC-461C-9929-6A8DCF1AA40C}"/>
                  </a:ext>
                </a:extLst>
              </p:cNvPr>
              <p:cNvSpPr/>
              <p:nvPr/>
            </p:nvSpPr>
            <p:spPr>
              <a:xfrm>
                <a:off x="6656584" y="4976448"/>
                <a:ext cx="18378" cy="18421"/>
              </a:xfrm>
              <a:custGeom>
                <a:avLst/>
                <a:gdLst>
                  <a:gd name="connsiteX0" fmla="*/ 17742 w 18378"/>
                  <a:gd name="connsiteY0" fmla="*/ 5892 h 18421"/>
                  <a:gd name="connsiteX1" fmla="*/ 5840 w 18378"/>
                  <a:gd name="connsiteY1" fmla="*/ 629 h 18421"/>
                  <a:gd name="connsiteX2" fmla="*/ 637 w 18378"/>
                  <a:gd name="connsiteY2" fmla="*/ 12531 h 18421"/>
                  <a:gd name="connsiteX3" fmla="*/ 12539 w 18378"/>
                  <a:gd name="connsiteY3" fmla="*/ 17793 h 18421"/>
                  <a:gd name="connsiteX4" fmla="*/ 17742 w 18378"/>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1">
                    <a:moveTo>
                      <a:pt x="17742" y="5892"/>
                    </a:moveTo>
                    <a:cubicBezTo>
                      <a:pt x="15888" y="1167"/>
                      <a:pt x="10565" y="-1225"/>
                      <a:pt x="5840" y="629"/>
                    </a:cubicBezTo>
                    <a:cubicBezTo>
                      <a:pt x="1115" y="2483"/>
                      <a:pt x="-1217" y="7806"/>
                      <a:pt x="637" y="12531"/>
                    </a:cubicBezTo>
                    <a:cubicBezTo>
                      <a:pt x="2491" y="17255"/>
                      <a:pt x="7814" y="19647"/>
                      <a:pt x="12539" y="17793"/>
                    </a:cubicBezTo>
                    <a:cubicBezTo>
                      <a:pt x="17263" y="15939"/>
                      <a:pt x="19596" y="10617"/>
                      <a:pt x="17742" y="5892"/>
                    </a:cubicBezTo>
                    <a:close/>
                  </a:path>
                </a:pathLst>
              </a:custGeom>
              <a:grpFill/>
              <a:ln w="5978" cap="flat">
                <a:noFill/>
                <a:prstDash val="solid"/>
                <a:miter/>
              </a:ln>
            </p:spPr>
            <p:txBody>
              <a:bodyPr rtlCol="0" anchor="ctr"/>
              <a:lstStyle/>
              <a:p>
                <a:endParaRPr lang="en-GB"/>
              </a:p>
            </p:txBody>
          </p:sp>
        </p:grpSp>
        <p:grpSp>
          <p:nvGrpSpPr>
            <p:cNvPr id="663" name="Graphic 3">
              <a:extLst>
                <a:ext uri="{FF2B5EF4-FFF2-40B4-BE49-F238E27FC236}">
                  <a16:creationId xmlns:a16="http://schemas.microsoft.com/office/drawing/2014/main" id="{34727269-AE40-4382-AB7E-F38BA832654A}"/>
                </a:ext>
              </a:extLst>
            </p:cNvPr>
            <p:cNvGrpSpPr/>
            <p:nvPr/>
          </p:nvGrpSpPr>
          <p:grpSpPr>
            <a:xfrm>
              <a:off x="5437431" y="1353042"/>
              <a:ext cx="56022" cy="145608"/>
              <a:chOff x="5437431" y="1353042"/>
              <a:chExt cx="56022" cy="145608"/>
            </a:xfrm>
            <a:grpFill/>
          </p:grpSpPr>
          <p:sp>
            <p:nvSpPr>
              <p:cNvPr id="3400" name="Vrije vorm: vorm 3399">
                <a:extLst>
                  <a:ext uri="{FF2B5EF4-FFF2-40B4-BE49-F238E27FC236}">
                    <a16:creationId xmlns:a16="http://schemas.microsoft.com/office/drawing/2014/main" id="{90A2B8CB-D6F5-4A50-88C7-787F2C94C66D}"/>
                  </a:ext>
                </a:extLst>
              </p:cNvPr>
              <p:cNvSpPr/>
              <p:nvPr/>
            </p:nvSpPr>
            <p:spPr>
              <a:xfrm>
                <a:off x="5444988" y="1361372"/>
                <a:ext cx="40848" cy="128944"/>
              </a:xfrm>
              <a:custGeom>
                <a:avLst/>
                <a:gdLst>
                  <a:gd name="connsiteX0" fmla="*/ 2931 w 40848"/>
                  <a:gd name="connsiteY0" fmla="*/ 0 h 128944"/>
                  <a:gd name="connsiteX1" fmla="*/ 40848 w 40848"/>
                  <a:gd name="connsiteY1" fmla="*/ 128047 h 128944"/>
                  <a:gd name="connsiteX2" fmla="*/ 37978 w 40848"/>
                  <a:gd name="connsiteY2" fmla="*/ 128944 h 128944"/>
                  <a:gd name="connsiteX3" fmla="*/ 0 w 40848"/>
                  <a:gd name="connsiteY3" fmla="*/ 897 h 128944"/>
                </a:gdLst>
                <a:ahLst/>
                <a:cxnLst>
                  <a:cxn ang="0">
                    <a:pos x="connsiteX0" y="connsiteY0"/>
                  </a:cxn>
                  <a:cxn ang="0">
                    <a:pos x="connsiteX1" y="connsiteY1"/>
                  </a:cxn>
                  <a:cxn ang="0">
                    <a:pos x="connsiteX2" y="connsiteY2"/>
                  </a:cxn>
                  <a:cxn ang="0">
                    <a:pos x="connsiteX3" y="connsiteY3"/>
                  </a:cxn>
                </a:cxnLst>
                <a:rect l="l" t="t" r="r" b="b"/>
                <a:pathLst>
                  <a:path w="40848" h="128944">
                    <a:moveTo>
                      <a:pt x="2931" y="0"/>
                    </a:moveTo>
                    <a:lnTo>
                      <a:pt x="40848" y="128047"/>
                    </a:lnTo>
                    <a:lnTo>
                      <a:pt x="37978" y="128944"/>
                    </a:lnTo>
                    <a:lnTo>
                      <a:pt x="0" y="897"/>
                    </a:lnTo>
                    <a:close/>
                  </a:path>
                </a:pathLst>
              </a:custGeom>
              <a:grpFill/>
              <a:ln w="5978" cap="flat">
                <a:noFill/>
                <a:prstDash val="solid"/>
                <a:miter/>
              </a:ln>
            </p:spPr>
            <p:txBody>
              <a:bodyPr rtlCol="0" anchor="ctr"/>
              <a:lstStyle/>
              <a:p>
                <a:endParaRPr lang="en-GB"/>
              </a:p>
            </p:txBody>
          </p:sp>
          <p:sp>
            <p:nvSpPr>
              <p:cNvPr id="3401" name="Vrije vorm: vorm 3400">
                <a:extLst>
                  <a:ext uri="{FF2B5EF4-FFF2-40B4-BE49-F238E27FC236}">
                    <a16:creationId xmlns:a16="http://schemas.microsoft.com/office/drawing/2014/main" id="{6353500B-28A8-4C34-81B1-DD6091B9ADA6}"/>
                  </a:ext>
                </a:extLst>
              </p:cNvPr>
              <p:cNvSpPr/>
              <p:nvPr/>
            </p:nvSpPr>
            <p:spPr>
              <a:xfrm>
                <a:off x="5437431" y="1353042"/>
                <a:ext cx="18344" cy="18420"/>
              </a:xfrm>
              <a:custGeom>
                <a:avLst/>
                <a:gdLst>
                  <a:gd name="connsiteX0" fmla="*/ 380 w 18344"/>
                  <a:gd name="connsiteY0" fmla="*/ 11799 h 18420"/>
                  <a:gd name="connsiteX1" fmla="*/ 6540 w 18344"/>
                  <a:gd name="connsiteY1" fmla="*/ 375 h 18420"/>
                  <a:gd name="connsiteX2" fmla="*/ 17964 w 18344"/>
                  <a:gd name="connsiteY2" fmla="*/ 6595 h 18420"/>
                  <a:gd name="connsiteX3" fmla="*/ 11803 w 18344"/>
                  <a:gd name="connsiteY3" fmla="*/ 18018 h 18420"/>
                  <a:gd name="connsiteX4" fmla="*/ 380 w 18344"/>
                  <a:gd name="connsiteY4" fmla="*/ 1179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0">
                    <a:moveTo>
                      <a:pt x="380" y="11799"/>
                    </a:moveTo>
                    <a:cubicBezTo>
                      <a:pt x="-1055" y="6894"/>
                      <a:pt x="1696" y="1811"/>
                      <a:pt x="6540" y="375"/>
                    </a:cubicBezTo>
                    <a:cubicBezTo>
                      <a:pt x="11385" y="-1060"/>
                      <a:pt x="16469" y="1751"/>
                      <a:pt x="17964" y="6595"/>
                    </a:cubicBezTo>
                    <a:cubicBezTo>
                      <a:pt x="19399" y="11499"/>
                      <a:pt x="16648" y="16583"/>
                      <a:pt x="11803" y="18018"/>
                    </a:cubicBezTo>
                    <a:cubicBezTo>
                      <a:pt x="6959" y="19514"/>
                      <a:pt x="1816" y="16703"/>
                      <a:pt x="380" y="11799"/>
                    </a:cubicBezTo>
                    <a:close/>
                  </a:path>
                </a:pathLst>
              </a:custGeom>
              <a:grpFill/>
              <a:ln w="5978" cap="flat">
                <a:noFill/>
                <a:prstDash val="solid"/>
                <a:miter/>
              </a:ln>
            </p:spPr>
            <p:txBody>
              <a:bodyPr rtlCol="0" anchor="ctr"/>
              <a:lstStyle/>
              <a:p>
                <a:endParaRPr lang="en-GB"/>
              </a:p>
            </p:txBody>
          </p:sp>
          <p:sp>
            <p:nvSpPr>
              <p:cNvPr id="3402" name="Vrije vorm: vorm 3401">
                <a:extLst>
                  <a:ext uri="{FF2B5EF4-FFF2-40B4-BE49-F238E27FC236}">
                    <a16:creationId xmlns:a16="http://schemas.microsoft.com/office/drawing/2014/main" id="{B7BE06A8-A585-4566-A56F-A158BE420EF8}"/>
                  </a:ext>
                </a:extLst>
              </p:cNvPr>
              <p:cNvSpPr/>
              <p:nvPr/>
            </p:nvSpPr>
            <p:spPr>
              <a:xfrm>
                <a:off x="5475110" y="1480248"/>
                <a:ext cx="18344" cy="18403"/>
              </a:xfrm>
              <a:custGeom>
                <a:avLst/>
                <a:gdLst>
                  <a:gd name="connsiteX0" fmla="*/ 380 w 18344"/>
                  <a:gd name="connsiteY0" fmla="*/ 11803 h 18403"/>
                  <a:gd name="connsiteX1" fmla="*/ 11803 w 18344"/>
                  <a:gd name="connsiteY1" fmla="*/ 18023 h 18403"/>
                  <a:gd name="connsiteX2" fmla="*/ 17964 w 18344"/>
                  <a:gd name="connsiteY2" fmla="*/ 6600 h 18403"/>
                  <a:gd name="connsiteX3" fmla="*/ 6540 w 18344"/>
                  <a:gd name="connsiteY3" fmla="*/ 380 h 18403"/>
                  <a:gd name="connsiteX4" fmla="*/ 380 w 18344"/>
                  <a:gd name="connsiteY4" fmla="*/ 118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3">
                    <a:moveTo>
                      <a:pt x="380" y="11803"/>
                    </a:moveTo>
                    <a:cubicBezTo>
                      <a:pt x="1816" y="16707"/>
                      <a:pt x="6959" y="19459"/>
                      <a:pt x="11803" y="18023"/>
                    </a:cubicBezTo>
                    <a:cubicBezTo>
                      <a:pt x="16648" y="16588"/>
                      <a:pt x="19399" y="11444"/>
                      <a:pt x="17964" y="6600"/>
                    </a:cubicBezTo>
                    <a:cubicBezTo>
                      <a:pt x="16528" y="1696"/>
                      <a:pt x="11385" y="-1055"/>
                      <a:pt x="6540" y="380"/>
                    </a:cubicBezTo>
                    <a:cubicBezTo>
                      <a:pt x="1696" y="1756"/>
                      <a:pt x="-1055" y="6899"/>
                      <a:pt x="380" y="11803"/>
                    </a:cubicBezTo>
                    <a:close/>
                  </a:path>
                </a:pathLst>
              </a:custGeom>
              <a:grpFill/>
              <a:ln w="5978" cap="flat">
                <a:noFill/>
                <a:prstDash val="solid"/>
                <a:miter/>
              </a:ln>
            </p:spPr>
            <p:txBody>
              <a:bodyPr rtlCol="0" anchor="ctr"/>
              <a:lstStyle/>
              <a:p>
                <a:endParaRPr lang="en-GB"/>
              </a:p>
            </p:txBody>
          </p:sp>
        </p:grpSp>
        <p:grpSp>
          <p:nvGrpSpPr>
            <p:cNvPr id="664" name="Graphic 3">
              <a:extLst>
                <a:ext uri="{FF2B5EF4-FFF2-40B4-BE49-F238E27FC236}">
                  <a16:creationId xmlns:a16="http://schemas.microsoft.com/office/drawing/2014/main" id="{9D90EE60-BBBE-4276-9BC9-44C104D0D136}"/>
                </a:ext>
              </a:extLst>
            </p:cNvPr>
            <p:cNvGrpSpPr/>
            <p:nvPr/>
          </p:nvGrpSpPr>
          <p:grpSpPr>
            <a:xfrm>
              <a:off x="6655889" y="4976702"/>
              <a:ext cx="139264" cy="433036"/>
              <a:chOff x="6655889" y="4976702"/>
              <a:chExt cx="139264" cy="433036"/>
            </a:xfrm>
            <a:grpFill/>
          </p:grpSpPr>
          <p:sp>
            <p:nvSpPr>
              <p:cNvPr id="3397" name="Vrije vorm: vorm 3396">
                <a:extLst>
                  <a:ext uri="{FF2B5EF4-FFF2-40B4-BE49-F238E27FC236}">
                    <a16:creationId xmlns:a16="http://schemas.microsoft.com/office/drawing/2014/main" id="{BAA9BFC3-DD4F-4C1E-89E5-90ECEF47AD53}"/>
                  </a:ext>
                </a:extLst>
              </p:cNvPr>
              <p:cNvSpPr/>
              <p:nvPr/>
            </p:nvSpPr>
            <p:spPr>
              <a:xfrm>
                <a:off x="6663391" y="4985352"/>
                <a:ext cx="124119" cy="416365"/>
              </a:xfrm>
              <a:custGeom>
                <a:avLst/>
                <a:gdLst>
                  <a:gd name="connsiteX0" fmla="*/ 0 w 124119"/>
                  <a:gd name="connsiteY0" fmla="*/ 854 h 416365"/>
                  <a:gd name="connsiteX1" fmla="*/ 2928 w 124119"/>
                  <a:gd name="connsiteY1" fmla="*/ 0 h 416365"/>
                  <a:gd name="connsiteX2" fmla="*/ 124119 w 124119"/>
                  <a:gd name="connsiteY2" fmla="*/ 415512 h 416365"/>
                  <a:gd name="connsiteX3" fmla="*/ 121191 w 124119"/>
                  <a:gd name="connsiteY3" fmla="*/ 416366 h 416365"/>
                </a:gdLst>
                <a:ahLst/>
                <a:cxnLst>
                  <a:cxn ang="0">
                    <a:pos x="connsiteX0" y="connsiteY0"/>
                  </a:cxn>
                  <a:cxn ang="0">
                    <a:pos x="connsiteX1" y="connsiteY1"/>
                  </a:cxn>
                  <a:cxn ang="0">
                    <a:pos x="connsiteX2" y="connsiteY2"/>
                  </a:cxn>
                  <a:cxn ang="0">
                    <a:pos x="connsiteX3" y="connsiteY3"/>
                  </a:cxn>
                </a:cxnLst>
                <a:rect l="l" t="t" r="r" b="b"/>
                <a:pathLst>
                  <a:path w="124119" h="416365">
                    <a:moveTo>
                      <a:pt x="0" y="854"/>
                    </a:moveTo>
                    <a:lnTo>
                      <a:pt x="2928" y="0"/>
                    </a:lnTo>
                    <a:lnTo>
                      <a:pt x="124119" y="415512"/>
                    </a:lnTo>
                    <a:lnTo>
                      <a:pt x="121191" y="416366"/>
                    </a:lnTo>
                    <a:close/>
                  </a:path>
                </a:pathLst>
              </a:custGeom>
              <a:grpFill/>
              <a:ln w="5978" cap="flat">
                <a:noFill/>
                <a:prstDash val="solid"/>
                <a:miter/>
              </a:ln>
            </p:spPr>
            <p:txBody>
              <a:bodyPr rtlCol="0" anchor="ctr"/>
              <a:lstStyle/>
              <a:p>
                <a:endParaRPr lang="en-GB"/>
              </a:p>
            </p:txBody>
          </p:sp>
          <p:sp>
            <p:nvSpPr>
              <p:cNvPr id="3398" name="Vrije vorm: vorm 3397">
                <a:extLst>
                  <a:ext uri="{FF2B5EF4-FFF2-40B4-BE49-F238E27FC236}">
                    <a16:creationId xmlns:a16="http://schemas.microsoft.com/office/drawing/2014/main" id="{7791FDE7-69FC-4804-B707-FCF4C8F86832}"/>
                  </a:ext>
                </a:extLst>
              </p:cNvPr>
              <p:cNvSpPr/>
              <p:nvPr/>
            </p:nvSpPr>
            <p:spPr>
              <a:xfrm>
                <a:off x="6655889" y="4976702"/>
                <a:ext cx="18334" cy="18427"/>
              </a:xfrm>
              <a:custGeom>
                <a:avLst/>
                <a:gdLst>
                  <a:gd name="connsiteX0" fmla="*/ 375 w 18334"/>
                  <a:gd name="connsiteY0" fmla="*/ 11798 h 18427"/>
                  <a:gd name="connsiteX1" fmla="*/ 6595 w 18334"/>
                  <a:gd name="connsiteY1" fmla="*/ 375 h 18427"/>
                  <a:gd name="connsiteX2" fmla="*/ 17959 w 18334"/>
                  <a:gd name="connsiteY2" fmla="*/ 6655 h 18427"/>
                  <a:gd name="connsiteX3" fmla="*/ 11739 w 18334"/>
                  <a:gd name="connsiteY3" fmla="*/ 18078 h 18427"/>
                  <a:gd name="connsiteX4" fmla="*/ 375 w 18334"/>
                  <a:gd name="connsiteY4" fmla="*/ 1179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7">
                    <a:moveTo>
                      <a:pt x="375" y="11798"/>
                    </a:moveTo>
                    <a:cubicBezTo>
                      <a:pt x="-1060" y="6894"/>
                      <a:pt x="1751" y="1811"/>
                      <a:pt x="6595" y="375"/>
                    </a:cubicBezTo>
                    <a:cubicBezTo>
                      <a:pt x="11440" y="-1060"/>
                      <a:pt x="16523" y="1751"/>
                      <a:pt x="17959" y="6655"/>
                    </a:cubicBezTo>
                    <a:cubicBezTo>
                      <a:pt x="19394" y="11559"/>
                      <a:pt x="16583" y="16643"/>
                      <a:pt x="11739" y="18078"/>
                    </a:cubicBezTo>
                    <a:cubicBezTo>
                      <a:pt x="6894" y="19453"/>
                      <a:pt x="1811" y="16643"/>
                      <a:pt x="375" y="11798"/>
                    </a:cubicBezTo>
                    <a:close/>
                  </a:path>
                </a:pathLst>
              </a:custGeom>
              <a:grpFill/>
              <a:ln w="5978" cap="flat">
                <a:noFill/>
                <a:prstDash val="solid"/>
                <a:miter/>
              </a:ln>
            </p:spPr>
            <p:txBody>
              <a:bodyPr rtlCol="0" anchor="ctr"/>
              <a:lstStyle/>
              <a:p>
                <a:endParaRPr lang="en-GB"/>
              </a:p>
            </p:txBody>
          </p:sp>
          <p:sp>
            <p:nvSpPr>
              <p:cNvPr id="3399" name="Vrije vorm: vorm 3398">
                <a:extLst>
                  <a:ext uri="{FF2B5EF4-FFF2-40B4-BE49-F238E27FC236}">
                    <a16:creationId xmlns:a16="http://schemas.microsoft.com/office/drawing/2014/main" id="{56878248-21C8-4DFA-911B-8E7893BE82CD}"/>
                  </a:ext>
                </a:extLst>
              </p:cNvPr>
              <p:cNvSpPr/>
              <p:nvPr/>
            </p:nvSpPr>
            <p:spPr>
              <a:xfrm>
                <a:off x="6776819" y="5391285"/>
                <a:ext cx="18334" cy="18453"/>
              </a:xfrm>
              <a:custGeom>
                <a:avLst/>
                <a:gdLst>
                  <a:gd name="connsiteX0" fmla="*/ 375 w 18334"/>
                  <a:gd name="connsiteY0" fmla="*/ 11798 h 18453"/>
                  <a:gd name="connsiteX1" fmla="*/ 11739 w 18334"/>
                  <a:gd name="connsiteY1" fmla="*/ 18078 h 18453"/>
                  <a:gd name="connsiteX2" fmla="*/ 17959 w 18334"/>
                  <a:gd name="connsiteY2" fmla="*/ 6655 h 18453"/>
                  <a:gd name="connsiteX3" fmla="*/ 6595 w 18334"/>
                  <a:gd name="connsiteY3" fmla="*/ 375 h 18453"/>
                  <a:gd name="connsiteX4" fmla="*/ 375 w 18334"/>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3">
                    <a:moveTo>
                      <a:pt x="375" y="11798"/>
                    </a:moveTo>
                    <a:cubicBezTo>
                      <a:pt x="1811" y="16703"/>
                      <a:pt x="6894" y="19513"/>
                      <a:pt x="11739" y="18078"/>
                    </a:cubicBezTo>
                    <a:cubicBezTo>
                      <a:pt x="16583" y="16643"/>
                      <a:pt x="19394" y="11559"/>
                      <a:pt x="17959" y="6655"/>
                    </a:cubicBezTo>
                    <a:cubicBezTo>
                      <a:pt x="16523" y="1751"/>
                      <a:pt x="11440" y="-1060"/>
                      <a:pt x="6595" y="375"/>
                    </a:cubicBezTo>
                    <a:cubicBezTo>
                      <a:pt x="1751" y="1810"/>
                      <a:pt x="-1060" y="6894"/>
                      <a:pt x="375" y="11798"/>
                    </a:cubicBezTo>
                    <a:close/>
                  </a:path>
                </a:pathLst>
              </a:custGeom>
              <a:grpFill/>
              <a:ln w="5978" cap="flat">
                <a:noFill/>
                <a:prstDash val="solid"/>
                <a:miter/>
              </a:ln>
            </p:spPr>
            <p:txBody>
              <a:bodyPr rtlCol="0" anchor="ctr"/>
              <a:lstStyle/>
              <a:p>
                <a:endParaRPr lang="en-GB"/>
              </a:p>
            </p:txBody>
          </p:sp>
        </p:grpSp>
        <p:grpSp>
          <p:nvGrpSpPr>
            <p:cNvPr id="665" name="Graphic 3">
              <a:extLst>
                <a:ext uri="{FF2B5EF4-FFF2-40B4-BE49-F238E27FC236}">
                  <a16:creationId xmlns:a16="http://schemas.microsoft.com/office/drawing/2014/main" id="{B24C4AA6-176F-456A-9BFF-76E041FBEA02}"/>
                </a:ext>
              </a:extLst>
            </p:cNvPr>
            <p:cNvGrpSpPr/>
            <p:nvPr/>
          </p:nvGrpSpPr>
          <p:grpSpPr>
            <a:xfrm>
              <a:off x="5480373" y="1497895"/>
              <a:ext cx="105842" cy="314025"/>
              <a:chOff x="5480373" y="1497895"/>
              <a:chExt cx="105842" cy="314025"/>
            </a:xfrm>
            <a:grpFill/>
          </p:grpSpPr>
          <p:sp>
            <p:nvSpPr>
              <p:cNvPr id="3394" name="Vrije vorm: vorm 3393">
                <a:extLst>
                  <a:ext uri="{FF2B5EF4-FFF2-40B4-BE49-F238E27FC236}">
                    <a16:creationId xmlns:a16="http://schemas.microsoft.com/office/drawing/2014/main" id="{09C0FA92-9CAA-4F8A-AF89-EAD2ACF662F7}"/>
                  </a:ext>
                </a:extLst>
              </p:cNvPr>
              <p:cNvSpPr/>
              <p:nvPr/>
            </p:nvSpPr>
            <p:spPr>
              <a:xfrm>
                <a:off x="5487930" y="1506225"/>
                <a:ext cx="90727" cy="297361"/>
              </a:xfrm>
              <a:custGeom>
                <a:avLst/>
                <a:gdLst>
                  <a:gd name="connsiteX0" fmla="*/ 2930 w 90727"/>
                  <a:gd name="connsiteY0" fmla="*/ 0 h 297361"/>
                  <a:gd name="connsiteX1" fmla="*/ 90727 w 90727"/>
                  <a:gd name="connsiteY1" fmla="*/ 296524 h 297361"/>
                  <a:gd name="connsiteX2" fmla="*/ 87797 w 90727"/>
                  <a:gd name="connsiteY2" fmla="*/ 297361 h 297361"/>
                  <a:gd name="connsiteX3" fmla="*/ 0 w 90727"/>
                  <a:gd name="connsiteY3" fmla="*/ 897 h 297361"/>
                </a:gdLst>
                <a:ahLst/>
                <a:cxnLst>
                  <a:cxn ang="0">
                    <a:pos x="connsiteX0" y="connsiteY0"/>
                  </a:cxn>
                  <a:cxn ang="0">
                    <a:pos x="connsiteX1" y="connsiteY1"/>
                  </a:cxn>
                  <a:cxn ang="0">
                    <a:pos x="connsiteX2" y="connsiteY2"/>
                  </a:cxn>
                  <a:cxn ang="0">
                    <a:pos x="connsiteX3" y="connsiteY3"/>
                  </a:cxn>
                </a:cxnLst>
                <a:rect l="l" t="t" r="r" b="b"/>
                <a:pathLst>
                  <a:path w="90727" h="297361">
                    <a:moveTo>
                      <a:pt x="2930" y="0"/>
                    </a:moveTo>
                    <a:lnTo>
                      <a:pt x="90727" y="296524"/>
                    </a:lnTo>
                    <a:lnTo>
                      <a:pt x="87797" y="297361"/>
                    </a:lnTo>
                    <a:lnTo>
                      <a:pt x="0" y="897"/>
                    </a:lnTo>
                    <a:close/>
                  </a:path>
                </a:pathLst>
              </a:custGeom>
              <a:grpFill/>
              <a:ln w="5978" cap="flat">
                <a:noFill/>
                <a:prstDash val="solid"/>
                <a:miter/>
              </a:ln>
            </p:spPr>
            <p:txBody>
              <a:bodyPr rtlCol="0" anchor="ctr"/>
              <a:lstStyle/>
              <a:p>
                <a:endParaRPr lang="en-GB"/>
              </a:p>
            </p:txBody>
          </p:sp>
          <p:sp>
            <p:nvSpPr>
              <p:cNvPr id="3395" name="Vrije vorm: vorm 3394">
                <a:extLst>
                  <a:ext uri="{FF2B5EF4-FFF2-40B4-BE49-F238E27FC236}">
                    <a16:creationId xmlns:a16="http://schemas.microsoft.com/office/drawing/2014/main" id="{528B1ACD-FFD1-40A8-B20F-79A054296921}"/>
                  </a:ext>
                </a:extLst>
              </p:cNvPr>
              <p:cNvSpPr/>
              <p:nvPr/>
            </p:nvSpPr>
            <p:spPr>
              <a:xfrm>
                <a:off x="5480373" y="1497895"/>
                <a:ext cx="18344" cy="18420"/>
              </a:xfrm>
              <a:custGeom>
                <a:avLst/>
                <a:gdLst>
                  <a:gd name="connsiteX0" fmla="*/ 380 w 18344"/>
                  <a:gd name="connsiteY0" fmla="*/ 11799 h 18420"/>
                  <a:gd name="connsiteX1" fmla="*/ 6540 w 18344"/>
                  <a:gd name="connsiteY1" fmla="*/ 375 h 18420"/>
                  <a:gd name="connsiteX2" fmla="*/ 17964 w 18344"/>
                  <a:gd name="connsiteY2" fmla="*/ 6595 h 18420"/>
                  <a:gd name="connsiteX3" fmla="*/ 11803 w 18344"/>
                  <a:gd name="connsiteY3" fmla="*/ 18019 h 18420"/>
                  <a:gd name="connsiteX4" fmla="*/ 380 w 18344"/>
                  <a:gd name="connsiteY4" fmla="*/ 1179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0">
                    <a:moveTo>
                      <a:pt x="380" y="11799"/>
                    </a:moveTo>
                    <a:cubicBezTo>
                      <a:pt x="-1055" y="6894"/>
                      <a:pt x="1696" y="1811"/>
                      <a:pt x="6540" y="375"/>
                    </a:cubicBezTo>
                    <a:cubicBezTo>
                      <a:pt x="11385" y="-1060"/>
                      <a:pt x="16469" y="1751"/>
                      <a:pt x="17964" y="6595"/>
                    </a:cubicBezTo>
                    <a:cubicBezTo>
                      <a:pt x="19399" y="11499"/>
                      <a:pt x="16648" y="16583"/>
                      <a:pt x="11803" y="18019"/>
                    </a:cubicBezTo>
                    <a:cubicBezTo>
                      <a:pt x="6899" y="19514"/>
                      <a:pt x="1816" y="16703"/>
                      <a:pt x="380" y="11799"/>
                    </a:cubicBezTo>
                    <a:close/>
                  </a:path>
                </a:pathLst>
              </a:custGeom>
              <a:grpFill/>
              <a:ln w="5978" cap="flat">
                <a:noFill/>
                <a:prstDash val="solid"/>
                <a:miter/>
              </a:ln>
            </p:spPr>
            <p:txBody>
              <a:bodyPr rtlCol="0" anchor="ctr"/>
              <a:lstStyle/>
              <a:p>
                <a:endParaRPr lang="en-GB"/>
              </a:p>
            </p:txBody>
          </p:sp>
          <p:sp>
            <p:nvSpPr>
              <p:cNvPr id="3396" name="Vrije vorm: vorm 3395">
                <a:extLst>
                  <a:ext uri="{FF2B5EF4-FFF2-40B4-BE49-F238E27FC236}">
                    <a16:creationId xmlns:a16="http://schemas.microsoft.com/office/drawing/2014/main" id="{97FF645A-EEBA-4F0A-BB89-6E1326E16DDE}"/>
                  </a:ext>
                </a:extLst>
              </p:cNvPr>
              <p:cNvSpPr/>
              <p:nvPr/>
            </p:nvSpPr>
            <p:spPr>
              <a:xfrm>
                <a:off x="5567871" y="1793518"/>
                <a:ext cx="18344" cy="18403"/>
              </a:xfrm>
              <a:custGeom>
                <a:avLst/>
                <a:gdLst>
                  <a:gd name="connsiteX0" fmla="*/ 380 w 18344"/>
                  <a:gd name="connsiteY0" fmla="*/ 11803 h 18403"/>
                  <a:gd name="connsiteX1" fmla="*/ 11803 w 18344"/>
                  <a:gd name="connsiteY1" fmla="*/ 18023 h 18403"/>
                  <a:gd name="connsiteX2" fmla="*/ 17964 w 18344"/>
                  <a:gd name="connsiteY2" fmla="*/ 6600 h 18403"/>
                  <a:gd name="connsiteX3" fmla="*/ 6540 w 18344"/>
                  <a:gd name="connsiteY3" fmla="*/ 380 h 18403"/>
                  <a:gd name="connsiteX4" fmla="*/ 380 w 18344"/>
                  <a:gd name="connsiteY4" fmla="*/ 118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3">
                    <a:moveTo>
                      <a:pt x="380" y="11803"/>
                    </a:moveTo>
                    <a:cubicBezTo>
                      <a:pt x="1816" y="16707"/>
                      <a:pt x="6959" y="19459"/>
                      <a:pt x="11803" y="18023"/>
                    </a:cubicBezTo>
                    <a:cubicBezTo>
                      <a:pt x="16648" y="16588"/>
                      <a:pt x="19399" y="11444"/>
                      <a:pt x="17964" y="6600"/>
                    </a:cubicBezTo>
                    <a:cubicBezTo>
                      <a:pt x="16528" y="1696"/>
                      <a:pt x="11385" y="-1055"/>
                      <a:pt x="6540" y="380"/>
                    </a:cubicBezTo>
                    <a:cubicBezTo>
                      <a:pt x="1696" y="1815"/>
                      <a:pt x="-1055" y="6959"/>
                      <a:pt x="380" y="11803"/>
                    </a:cubicBezTo>
                    <a:close/>
                  </a:path>
                </a:pathLst>
              </a:custGeom>
              <a:grpFill/>
              <a:ln w="5978" cap="flat">
                <a:noFill/>
                <a:prstDash val="solid"/>
                <a:miter/>
              </a:ln>
            </p:spPr>
            <p:txBody>
              <a:bodyPr rtlCol="0" anchor="ctr"/>
              <a:lstStyle/>
              <a:p>
                <a:endParaRPr lang="en-GB"/>
              </a:p>
            </p:txBody>
          </p:sp>
        </p:grpSp>
        <p:grpSp>
          <p:nvGrpSpPr>
            <p:cNvPr id="666" name="Graphic 3">
              <a:extLst>
                <a:ext uri="{FF2B5EF4-FFF2-40B4-BE49-F238E27FC236}">
                  <a16:creationId xmlns:a16="http://schemas.microsoft.com/office/drawing/2014/main" id="{0585E98F-3870-4101-9DBD-EE56B3794443}"/>
                </a:ext>
              </a:extLst>
            </p:cNvPr>
            <p:cNvGrpSpPr/>
            <p:nvPr/>
          </p:nvGrpSpPr>
          <p:grpSpPr>
            <a:xfrm>
              <a:off x="5428247" y="1324117"/>
              <a:ext cx="128399" cy="495253"/>
              <a:chOff x="5428247" y="1324117"/>
              <a:chExt cx="128399" cy="495253"/>
            </a:xfrm>
            <a:grpFill/>
          </p:grpSpPr>
          <p:sp>
            <p:nvSpPr>
              <p:cNvPr id="3391" name="Vrije vorm: vorm 3390">
                <a:extLst>
                  <a:ext uri="{FF2B5EF4-FFF2-40B4-BE49-F238E27FC236}">
                    <a16:creationId xmlns:a16="http://schemas.microsoft.com/office/drawing/2014/main" id="{FA9B84BB-F26E-4561-A597-A2F79A3E6456}"/>
                  </a:ext>
                </a:extLst>
              </p:cNvPr>
              <p:cNvSpPr/>
              <p:nvPr/>
            </p:nvSpPr>
            <p:spPr>
              <a:xfrm>
                <a:off x="5435821" y="1332558"/>
                <a:ext cx="113191" cy="478433"/>
              </a:xfrm>
              <a:custGeom>
                <a:avLst/>
                <a:gdLst>
                  <a:gd name="connsiteX0" fmla="*/ 0 w 113191"/>
                  <a:gd name="connsiteY0" fmla="*/ 686 h 478433"/>
                  <a:gd name="connsiteX1" fmla="*/ 2972 w 113191"/>
                  <a:gd name="connsiteY1" fmla="*/ 0 h 478433"/>
                  <a:gd name="connsiteX2" fmla="*/ 113192 w 113191"/>
                  <a:gd name="connsiteY2" fmla="*/ 477748 h 478433"/>
                  <a:gd name="connsiteX3" fmla="*/ 110219 w 113191"/>
                  <a:gd name="connsiteY3" fmla="*/ 478434 h 478433"/>
                </a:gdLst>
                <a:ahLst/>
                <a:cxnLst>
                  <a:cxn ang="0">
                    <a:pos x="connsiteX0" y="connsiteY0"/>
                  </a:cxn>
                  <a:cxn ang="0">
                    <a:pos x="connsiteX1" y="connsiteY1"/>
                  </a:cxn>
                  <a:cxn ang="0">
                    <a:pos x="connsiteX2" y="connsiteY2"/>
                  </a:cxn>
                  <a:cxn ang="0">
                    <a:pos x="connsiteX3" y="connsiteY3"/>
                  </a:cxn>
                </a:cxnLst>
                <a:rect l="l" t="t" r="r" b="b"/>
                <a:pathLst>
                  <a:path w="113191" h="478433">
                    <a:moveTo>
                      <a:pt x="0" y="686"/>
                    </a:moveTo>
                    <a:lnTo>
                      <a:pt x="2972" y="0"/>
                    </a:lnTo>
                    <a:lnTo>
                      <a:pt x="113192" y="477748"/>
                    </a:lnTo>
                    <a:lnTo>
                      <a:pt x="110219" y="478434"/>
                    </a:lnTo>
                    <a:close/>
                  </a:path>
                </a:pathLst>
              </a:custGeom>
              <a:grpFill/>
              <a:ln w="5978" cap="flat">
                <a:noFill/>
                <a:prstDash val="solid"/>
                <a:miter/>
              </a:ln>
            </p:spPr>
            <p:txBody>
              <a:bodyPr rtlCol="0" anchor="ctr"/>
              <a:lstStyle/>
              <a:p>
                <a:endParaRPr lang="en-GB"/>
              </a:p>
            </p:txBody>
          </p:sp>
          <p:sp>
            <p:nvSpPr>
              <p:cNvPr id="3392" name="Vrije vorm: vorm 3391">
                <a:extLst>
                  <a:ext uri="{FF2B5EF4-FFF2-40B4-BE49-F238E27FC236}">
                    <a16:creationId xmlns:a16="http://schemas.microsoft.com/office/drawing/2014/main" id="{B40CFFAE-AE92-43FF-A26F-5F362C90211E}"/>
                  </a:ext>
                </a:extLst>
              </p:cNvPr>
              <p:cNvSpPr/>
              <p:nvPr/>
            </p:nvSpPr>
            <p:spPr>
              <a:xfrm>
                <a:off x="5538289" y="1800960"/>
                <a:ext cx="18357" cy="18410"/>
              </a:xfrm>
              <a:custGeom>
                <a:avLst/>
                <a:gdLst>
                  <a:gd name="connsiteX0" fmla="*/ 18120 w 18357"/>
                  <a:gd name="connsiteY0" fmla="*/ 7172 h 18410"/>
                  <a:gd name="connsiteX1" fmla="*/ 11242 w 18357"/>
                  <a:gd name="connsiteY1" fmla="*/ 18176 h 18410"/>
                  <a:gd name="connsiteX2" fmla="*/ 237 w 18357"/>
                  <a:gd name="connsiteY2" fmla="*/ 11239 h 18410"/>
                  <a:gd name="connsiteX3" fmla="*/ 7115 w 18357"/>
                  <a:gd name="connsiteY3" fmla="*/ 234 h 18410"/>
                  <a:gd name="connsiteX4" fmla="*/ 18120 w 18357"/>
                  <a:gd name="connsiteY4" fmla="*/ 7172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0">
                    <a:moveTo>
                      <a:pt x="18120" y="7172"/>
                    </a:moveTo>
                    <a:cubicBezTo>
                      <a:pt x="19256" y="12136"/>
                      <a:pt x="16206" y="17100"/>
                      <a:pt x="11242" y="18176"/>
                    </a:cubicBezTo>
                    <a:cubicBezTo>
                      <a:pt x="6338" y="19313"/>
                      <a:pt x="1374" y="16203"/>
                      <a:pt x="237" y="11239"/>
                    </a:cubicBezTo>
                    <a:cubicBezTo>
                      <a:pt x="-899" y="6275"/>
                      <a:pt x="2151" y="1371"/>
                      <a:pt x="7115" y="234"/>
                    </a:cubicBezTo>
                    <a:cubicBezTo>
                      <a:pt x="12020" y="-902"/>
                      <a:pt x="16983" y="2208"/>
                      <a:pt x="18120" y="7172"/>
                    </a:cubicBezTo>
                    <a:close/>
                  </a:path>
                </a:pathLst>
              </a:custGeom>
              <a:grpFill/>
              <a:ln w="5978" cap="flat">
                <a:noFill/>
                <a:prstDash val="solid"/>
                <a:miter/>
              </a:ln>
            </p:spPr>
            <p:txBody>
              <a:bodyPr rtlCol="0" anchor="ctr"/>
              <a:lstStyle/>
              <a:p>
                <a:endParaRPr lang="en-GB"/>
              </a:p>
            </p:txBody>
          </p:sp>
          <p:sp>
            <p:nvSpPr>
              <p:cNvPr id="3393" name="Vrije vorm: vorm 3392">
                <a:extLst>
                  <a:ext uri="{FF2B5EF4-FFF2-40B4-BE49-F238E27FC236}">
                    <a16:creationId xmlns:a16="http://schemas.microsoft.com/office/drawing/2014/main" id="{A34D33CB-88DB-494E-9ED4-A64B4F8ECB9F}"/>
                  </a:ext>
                </a:extLst>
              </p:cNvPr>
              <p:cNvSpPr/>
              <p:nvPr/>
            </p:nvSpPr>
            <p:spPr>
              <a:xfrm>
                <a:off x="5428247" y="1324117"/>
                <a:ext cx="18353" cy="18410"/>
              </a:xfrm>
              <a:custGeom>
                <a:avLst/>
                <a:gdLst>
                  <a:gd name="connsiteX0" fmla="*/ 18117 w 18353"/>
                  <a:gd name="connsiteY0" fmla="*/ 7172 h 18410"/>
                  <a:gd name="connsiteX1" fmla="*/ 7112 w 18353"/>
                  <a:gd name="connsiteY1" fmla="*/ 234 h 18410"/>
                  <a:gd name="connsiteX2" fmla="*/ 234 w 18353"/>
                  <a:gd name="connsiteY2" fmla="*/ 11239 h 18410"/>
                  <a:gd name="connsiteX3" fmla="*/ 11239 w 18353"/>
                  <a:gd name="connsiteY3" fmla="*/ 18176 h 18410"/>
                  <a:gd name="connsiteX4" fmla="*/ 18117 w 18353"/>
                  <a:gd name="connsiteY4" fmla="*/ 7172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0">
                    <a:moveTo>
                      <a:pt x="18117" y="7172"/>
                    </a:moveTo>
                    <a:cubicBezTo>
                      <a:pt x="16980" y="2208"/>
                      <a:pt x="12016" y="-902"/>
                      <a:pt x="7112" y="234"/>
                    </a:cubicBezTo>
                    <a:cubicBezTo>
                      <a:pt x="2208" y="1371"/>
                      <a:pt x="-902" y="6334"/>
                      <a:pt x="234" y="11239"/>
                    </a:cubicBezTo>
                    <a:cubicBezTo>
                      <a:pt x="1371" y="16203"/>
                      <a:pt x="6275" y="19313"/>
                      <a:pt x="11239" y="18176"/>
                    </a:cubicBezTo>
                    <a:cubicBezTo>
                      <a:pt x="16203" y="17040"/>
                      <a:pt x="19253" y="12136"/>
                      <a:pt x="18117" y="7172"/>
                    </a:cubicBezTo>
                    <a:close/>
                  </a:path>
                </a:pathLst>
              </a:custGeom>
              <a:grpFill/>
              <a:ln w="5978" cap="flat">
                <a:noFill/>
                <a:prstDash val="solid"/>
                <a:miter/>
              </a:ln>
            </p:spPr>
            <p:txBody>
              <a:bodyPr rtlCol="0" anchor="ctr"/>
              <a:lstStyle/>
              <a:p>
                <a:endParaRPr lang="en-GB"/>
              </a:p>
            </p:txBody>
          </p:sp>
        </p:grpSp>
        <p:grpSp>
          <p:nvGrpSpPr>
            <p:cNvPr id="667" name="Graphic 3">
              <a:extLst>
                <a:ext uri="{FF2B5EF4-FFF2-40B4-BE49-F238E27FC236}">
                  <a16:creationId xmlns:a16="http://schemas.microsoft.com/office/drawing/2014/main" id="{EF34BEB8-7C44-4C0D-973A-409F9D92FFDF}"/>
                </a:ext>
              </a:extLst>
            </p:cNvPr>
            <p:cNvGrpSpPr/>
            <p:nvPr/>
          </p:nvGrpSpPr>
          <p:grpSpPr>
            <a:xfrm>
              <a:off x="6717337" y="5231478"/>
              <a:ext cx="77228" cy="178441"/>
              <a:chOff x="6717337" y="5231478"/>
              <a:chExt cx="77228" cy="178441"/>
            </a:xfrm>
            <a:grpFill/>
          </p:grpSpPr>
          <p:sp>
            <p:nvSpPr>
              <p:cNvPr id="3388" name="Vrije vorm: vorm 3387">
                <a:extLst>
                  <a:ext uri="{FF2B5EF4-FFF2-40B4-BE49-F238E27FC236}">
                    <a16:creationId xmlns:a16="http://schemas.microsoft.com/office/drawing/2014/main" id="{A2AB2092-9604-484F-83CE-877F652AE43D}"/>
                  </a:ext>
                </a:extLst>
              </p:cNvPr>
              <p:cNvSpPr/>
              <p:nvPr/>
            </p:nvSpPr>
            <p:spPr>
              <a:xfrm>
                <a:off x="6725183" y="5239649"/>
                <a:ext cx="62015" cy="161935"/>
              </a:xfrm>
              <a:custGeom>
                <a:avLst/>
                <a:gdLst>
                  <a:gd name="connsiteX0" fmla="*/ 0 w 62015"/>
                  <a:gd name="connsiteY0" fmla="*/ 1053 h 161935"/>
                  <a:gd name="connsiteX1" fmla="*/ 2863 w 62015"/>
                  <a:gd name="connsiteY1" fmla="*/ 0 h 161935"/>
                  <a:gd name="connsiteX2" fmla="*/ 62015 w 62015"/>
                  <a:gd name="connsiteY2" fmla="*/ 160883 h 161935"/>
                  <a:gd name="connsiteX3" fmla="*/ 59152 w 62015"/>
                  <a:gd name="connsiteY3" fmla="*/ 161935 h 161935"/>
                </a:gdLst>
                <a:ahLst/>
                <a:cxnLst>
                  <a:cxn ang="0">
                    <a:pos x="connsiteX0" y="connsiteY0"/>
                  </a:cxn>
                  <a:cxn ang="0">
                    <a:pos x="connsiteX1" y="connsiteY1"/>
                  </a:cxn>
                  <a:cxn ang="0">
                    <a:pos x="connsiteX2" y="connsiteY2"/>
                  </a:cxn>
                  <a:cxn ang="0">
                    <a:pos x="connsiteX3" y="connsiteY3"/>
                  </a:cxn>
                </a:cxnLst>
                <a:rect l="l" t="t" r="r" b="b"/>
                <a:pathLst>
                  <a:path w="62015" h="161935">
                    <a:moveTo>
                      <a:pt x="0" y="1053"/>
                    </a:moveTo>
                    <a:lnTo>
                      <a:pt x="2863" y="0"/>
                    </a:lnTo>
                    <a:lnTo>
                      <a:pt x="62015" y="160883"/>
                    </a:lnTo>
                    <a:lnTo>
                      <a:pt x="59152" y="161935"/>
                    </a:lnTo>
                    <a:close/>
                  </a:path>
                </a:pathLst>
              </a:custGeom>
              <a:grpFill/>
              <a:ln w="5978" cap="flat">
                <a:noFill/>
                <a:prstDash val="solid"/>
                <a:miter/>
              </a:ln>
            </p:spPr>
            <p:txBody>
              <a:bodyPr rtlCol="0" anchor="ctr"/>
              <a:lstStyle/>
              <a:p>
                <a:endParaRPr lang="en-GB"/>
              </a:p>
            </p:txBody>
          </p:sp>
          <p:sp>
            <p:nvSpPr>
              <p:cNvPr id="3389" name="Vrije vorm: vorm 3388">
                <a:extLst>
                  <a:ext uri="{FF2B5EF4-FFF2-40B4-BE49-F238E27FC236}">
                    <a16:creationId xmlns:a16="http://schemas.microsoft.com/office/drawing/2014/main" id="{A2E2DFB1-D57C-4AFC-92DD-74D1A21ED4B3}"/>
                  </a:ext>
                </a:extLst>
              </p:cNvPr>
              <p:cNvSpPr/>
              <p:nvPr/>
            </p:nvSpPr>
            <p:spPr>
              <a:xfrm>
                <a:off x="6776271" y="5391493"/>
                <a:ext cx="18294" cy="18427"/>
              </a:xfrm>
              <a:custGeom>
                <a:avLst/>
                <a:gdLst>
                  <a:gd name="connsiteX0" fmla="*/ 17730 w 18294"/>
                  <a:gd name="connsiteY0" fmla="*/ 6029 h 18427"/>
                  <a:gd name="connsiteX1" fmla="*/ 12347 w 18294"/>
                  <a:gd name="connsiteY1" fmla="*/ 17870 h 18427"/>
                  <a:gd name="connsiteX2" fmla="*/ 565 w 18294"/>
                  <a:gd name="connsiteY2" fmla="*/ 12368 h 18427"/>
                  <a:gd name="connsiteX3" fmla="*/ 5947 w 18294"/>
                  <a:gd name="connsiteY3" fmla="*/ 526 h 18427"/>
                  <a:gd name="connsiteX4" fmla="*/ 17730 w 18294"/>
                  <a:gd name="connsiteY4" fmla="*/ 6029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7">
                    <a:moveTo>
                      <a:pt x="17730" y="6029"/>
                    </a:moveTo>
                    <a:cubicBezTo>
                      <a:pt x="19464" y="10813"/>
                      <a:pt x="17071" y="16076"/>
                      <a:pt x="12347" y="17870"/>
                    </a:cubicBezTo>
                    <a:cubicBezTo>
                      <a:pt x="7622" y="19605"/>
                      <a:pt x="2299" y="17153"/>
                      <a:pt x="565" y="12368"/>
                    </a:cubicBezTo>
                    <a:cubicBezTo>
                      <a:pt x="-1170" y="7583"/>
                      <a:pt x="1223" y="2320"/>
                      <a:pt x="5947" y="526"/>
                    </a:cubicBezTo>
                    <a:cubicBezTo>
                      <a:pt x="10672" y="-1148"/>
                      <a:pt x="15935" y="1304"/>
                      <a:pt x="17730" y="6029"/>
                    </a:cubicBezTo>
                    <a:close/>
                  </a:path>
                </a:pathLst>
              </a:custGeom>
              <a:grpFill/>
              <a:ln w="5978" cap="flat">
                <a:noFill/>
                <a:prstDash val="solid"/>
                <a:miter/>
              </a:ln>
            </p:spPr>
            <p:txBody>
              <a:bodyPr rtlCol="0" anchor="ctr"/>
              <a:lstStyle/>
              <a:p>
                <a:endParaRPr lang="en-GB"/>
              </a:p>
            </p:txBody>
          </p:sp>
          <p:sp>
            <p:nvSpPr>
              <p:cNvPr id="3390" name="Vrije vorm: vorm 3389">
                <a:extLst>
                  <a:ext uri="{FF2B5EF4-FFF2-40B4-BE49-F238E27FC236}">
                    <a16:creationId xmlns:a16="http://schemas.microsoft.com/office/drawing/2014/main" id="{C16B772F-1CA0-40AC-8A10-746D80B0515F}"/>
                  </a:ext>
                </a:extLst>
              </p:cNvPr>
              <p:cNvSpPr/>
              <p:nvPr/>
            </p:nvSpPr>
            <p:spPr>
              <a:xfrm>
                <a:off x="6717337" y="5231478"/>
                <a:ext cx="18317" cy="18457"/>
              </a:xfrm>
              <a:custGeom>
                <a:avLst/>
                <a:gdLst>
                  <a:gd name="connsiteX0" fmla="*/ 17753 w 18317"/>
                  <a:gd name="connsiteY0" fmla="*/ 6059 h 18457"/>
                  <a:gd name="connsiteX1" fmla="*/ 5971 w 18317"/>
                  <a:gd name="connsiteY1" fmla="*/ 557 h 18457"/>
                  <a:gd name="connsiteX2" fmla="*/ 589 w 18317"/>
                  <a:gd name="connsiteY2" fmla="*/ 12399 h 18457"/>
                  <a:gd name="connsiteX3" fmla="*/ 12371 w 18317"/>
                  <a:gd name="connsiteY3" fmla="*/ 17901 h 18457"/>
                  <a:gd name="connsiteX4" fmla="*/ 17753 w 18317"/>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7">
                    <a:moveTo>
                      <a:pt x="17753" y="6059"/>
                    </a:moveTo>
                    <a:cubicBezTo>
                      <a:pt x="16019" y="1274"/>
                      <a:pt x="10696" y="-1178"/>
                      <a:pt x="5971" y="557"/>
                    </a:cubicBezTo>
                    <a:cubicBezTo>
                      <a:pt x="1246" y="2291"/>
                      <a:pt x="-1205" y="7614"/>
                      <a:pt x="589" y="12399"/>
                    </a:cubicBezTo>
                    <a:cubicBezTo>
                      <a:pt x="2323" y="17183"/>
                      <a:pt x="7646" y="19635"/>
                      <a:pt x="12371" y="17901"/>
                    </a:cubicBezTo>
                    <a:cubicBezTo>
                      <a:pt x="17096" y="16107"/>
                      <a:pt x="19488" y="10844"/>
                      <a:pt x="17753" y="6059"/>
                    </a:cubicBezTo>
                    <a:close/>
                  </a:path>
                </a:pathLst>
              </a:custGeom>
              <a:grpFill/>
              <a:ln w="5978" cap="flat">
                <a:noFill/>
                <a:prstDash val="solid"/>
                <a:miter/>
              </a:ln>
            </p:spPr>
            <p:txBody>
              <a:bodyPr rtlCol="0" anchor="ctr"/>
              <a:lstStyle/>
              <a:p>
                <a:endParaRPr lang="en-GB"/>
              </a:p>
            </p:txBody>
          </p:sp>
        </p:grpSp>
        <p:grpSp>
          <p:nvGrpSpPr>
            <p:cNvPr id="668" name="Graphic 3">
              <a:extLst>
                <a:ext uri="{FF2B5EF4-FFF2-40B4-BE49-F238E27FC236}">
                  <a16:creationId xmlns:a16="http://schemas.microsoft.com/office/drawing/2014/main" id="{A2F87086-C94D-4859-ABE8-6E876A81CD49}"/>
                </a:ext>
              </a:extLst>
            </p:cNvPr>
            <p:cNvGrpSpPr/>
            <p:nvPr/>
          </p:nvGrpSpPr>
          <p:grpSpPr>
            <a:xfrm>
              <a:off x="6677624" y="5123706"/>
              <a:ext cx="51630" cy="108945"/>
              <a:chOff x="6677624" y="5123706"/>
              <a:chExt cx="51630" cy="108945"/>
            </a:xfrm>
            <a:grpFill/>
          </p:grpSpPr>
          <p:sp>
            <p:nvSpPr>
              <p:cNvPr id="3385" name="Vrije vorm: vorm 3384">
                <a:extLst>
                  <a:ext uri="{FF2B5EF4-FFF2-40B4-BE49-F238E27FC236}">
                    <a16:creationId xmlns:a16="http://schemas.microsoft.com/office/drawing/2014/main" id="{EC6153C4-8EAF-41C0-ACC2-C3734935441E}"/>
                  </a:ext>
                </a:extLst>
              </p:cNvPr>
              <p:cNvSpPr/>
              <p:nvPr/>
            </p:nvSpPr>
            <p:spPr>
              <a:xfrm>
                <a:off x="6685169" y="5132254"/>
                <a:ext cx="36433" cy="92384"/>
              </a:xfrm>
              <a:custGeom>
                <a:avLst/>
                <a:gdLst>
                  <a:gd name="connsiteX0" fmla="*/ 0 w 36433"/>
                  <a:gd name="connsiteY0" fmla="*/ 1052 h 92384"/>
                  <a:gd name="connsiteX1" fmla="*/ 2863 w 36433"/>
                  <a:gd name="connsiteY1" fmla="*/ 0 h 92384"/>
                  <a:gd name="connsiteX2" fmla="*/ 36434 w 36433"/>
                  <a:gd name="connsiteY2" fmla="*/ 91332 h 92384"/>
                  <a:gd name="connsiteX3" fmla="*/ 33571 w 36433"/>
                  <a:gd name="connsiteY3" fmla="*/ 92384 h 92384"/>
                </a:gdLst>
                <a:ahLst/>
                <a:cxnLst>
                  <a:cxn ang="0">
                    <a:pos x="connsiteX0" y="connsiteY0"/>
                  </a:cxn>
                  <a:cxn ang="0">
                    <a:pos x="connsiteX1" y="connsiteY1"/>
                  </a:cxn>
                  <a:cxn ang="0">
                    <a:pos x="connsiteX2" y="connsiteY2"/>
                  </a:cxn>
                  <a:cxn ang="0">
                    <a:pos x="connsiteX3" y="connsiteY3"/>
                  </a:cxn>
                </a:cxnLst>
                <a:rect l="l" t="t" r="r" b="b"/>
                <a:pathLst>
                  <a:path w="36433" h="92384">
                    <a:moveTo>
                      <a:pt x="0" y="1052"/>
                    </a:moveTo>
                    <a:lnTo>
                      <a:pt x="2863" y="0"/>
                    </a:lnTo>
                    <a:lnTo>
                      <a:pt x="36434" y="91332"/>
                    </a:lnTo>
                    <a:lnTo>
                      <a:pt x="33571" y="92384"/>
                    </a:lnTo>
                    <a:close/>
                  </a:path>
                </a:pathLst>
              </a:custGeom>
              <a:grpFill/>
              <a:ln w="5978" cap="flat">
                <a:noFill/>
                <a:prstDash val="solid"/>
                <a:miter/>
              </a:ln>
            </p:spPr>
            <p:txBody>
              <a:bodyPr rtlCol="0" anchor="ctr"/>
              <a:lstStyle/>
              <a:p>
                <a:endParaRPr lang="en-GB"/>
              </a:p>
            </p:txBody>
          </p:sp>
          <p:sp>
            <p:nvSpPr>
              <p:cNvPr id="3386" name="Vrije vorm: vorm 3385">
                <a:extLst>
                  <a:ext uri="{FF2B5EF4-FFF2-40B4-BE49-F238E27FC236}">
                    <a16:creationId xmlns:a16="http://schemas.microsoft.com/office/drawing/2014/main" id="{EBF4D62B-B4CD-4FA7-A26C-B09E4E7D8019}"/>
                  </a:ext>
                </a:extLst>
              </p:cNvPr>
              <p:cNvSpPr/>
              <p:nvPr/>
            </p:nvSpPr>
            <p:spPr>
              <a:xfrm>
                <a:off x="6710961" y="5214194"/>
                <a:ext cx="18293" cy="18457"/>
              </a:xfrm>
              <a:custGeom>
                <a:avLst/>
                <a:gdLst>
                  <a:gd name="connsiteX0" fmla="*/ 17729 w 18293"/>
                  <a:gd name="connsiteY0" fmla="*/ 6059 h 18457"/>
                  <a:gd name="connsiteX1" fmla="*/ 12347 w 18293"/>
                  <a:gd name="connsiteY1" fmla="*/ 17901 h 18457"/>
                  <a:gd name="connsiteX2" fmla="*/ 565 w 18293"/>
                  <a:gd name="connsiteY2" fmla="*/ 12398 h 18457"/>
                  <a:gd name="connsiteX3" fmla="*/ 5947 w 18293"/>
                  <a:gd name="connsiteY3" fmla="*/ 557 h 18457"/>
                  <a:gd name="connsiteX4" fmla="*/ 17729 w 18293"/>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57">
                    <a:moveTo>
                      <a:pt x="17729" y="6059"/>
                    </a:moveTo>
                    <a:cubicBezTo>
                      <a:pt x="19464" y="10843"/>
                      <a:pt x="17071" y="16106"/>
                      <a:pt x="12347" y="17901"/>
                    </a:cubicBezTo>
                    <a:cubicBezTo>
                      <a:pt x="7622" y="19635"/>
                      <a:pt x="2299" y="17183"/>
                      <a:pt x="565" y="12398"/>
                    </a:cubicBezTo>
                    <a:cubicBezTo>
                      <a:pt x="-1170" y="7614"/>
                      <a:pt x="1222" y="2351"/>
                      <a:pt x="5947" y="557"/>
                    </a:cubicBezTo>
                    <a:cubicBezTo>
                      <a:pt x="10732" y="-1178"/>
                      <a:pt x="15995" y="1274"/>
                      <a:pt x="17729" y="6059"/>
                    </a:cubicBezTo>
                    <a:close/>
                  </a:path>
                </a:pathLst>
              </a:custGeom>
              <a:grpFill/>
              <a:ln w="5978" cap="flat">
                <a:noFill/>
                <a:prstDash val="solid"/>
                <a:miter/>
              </a:ln>
            </p:spPr>
            <p:txBody>
              <a:bodyPr rtlCol="0" anchor="ctr"/>
              <a:lstStyle/>
              <a:p>
                <a:endParaRPr lang="en-GB"/>
              </a:p>
            </p:txBody>
          </p:sp>
          <p:sp>
            <p:nvSpPr>
              <p:cNvPr id="3387" name="Vrije vorm: vorm 3386">
                <a:extLst>
                  <a:ext uri="{FF2B5EF4-FFF2-40B4-BE49-F238E27FC236}">
                    <a16:creationId xmlns:a16="http://schemas.microsoft.com/office/drawing/2014/main" id="{A255D988-D71E-4B95-AB9B-88F2B6C59DDD}"/>
                  </a:ext>
                </a:extLst>
              </p:cNvPr>
              <p:cNvSpPr/>
              <p:nvPr/>
            </p:nvSpPr>
            <p:spPr>
              <a:xfrm>
                <a:off x="6677624" y="5123706"/>
                <a:ext cx="18342" cy="18457"/>
              </a:xfrm>
              <a:custGeom>
                <a:avLst/>
                <a:gdLst>
                  <a:gd name="connsiteX0" fmla="*/ 17753 w 18342"/>
                  <a:gd name="connsiteY0" fmla="*/ 6059 h 18457"/>
                  <a:gd name="connsiteX1" fmla="*/ 5971 w 18342"/>
                  <a:gd name="connsiteY1" fmla="*/ 557 h 18457"/>
                  <a:gd name="connsiteX2" fmla="*/ 589 w 18342"/>
                  <a:gd name="connsiteY2" fmla="*/ 12398 h 18457"/>
                  <a:gd name="connsiteX3" fmla="*/ 12371 w 18342"/>
                  <a:gd name="connsiteY3" fmla="*/ 17901 h 18457"/>
                  <a:gd name="connsiteX4" fmla="*/ 17753 w 18342"/>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57">
                    <a:moveTo>
                      <a:pt x="17753" y="6059"/>
                    </a:moveTo>
                    <a:cubicBezTo>
                      <a:pt x="16019" y="1274"/>
                      <a:pt x="10696" y="-1178"/>
                      <a:pt x="5971" y="557"/>
                    </a:cubicBezTo>
                    <a:cubicBezTo>
                      <a:pt x="1247" y="2291"/>
                      <a:pt x="-1205" y="7614"/>
                      <a:pt x="589" y="12398"/>
                    </a:cubicBezTo>
                    <a:cubicBezTo>
                      <a:pt x="2323" y="17183"/>
                      <a:pt x="7646" y="19635"/>
                      <a:pt x="12371" y="17901"/>
                    </a:cubicBezTo>
                    <a:cubicBezTo>
                      <a:pt x="17096" y="16106"/>
                      <a:pt x="19548" y="10843"/>
                      <a:pt x="17753" y="6059"/>
                    </a:cubicBezTo>
                    <a:close/>
                  </a:path>
                </a:pathLst>
              </a:custGeom>
              <a:grpFill/>
              <a:ln w="5978" cap="flat">
                <a:noFill/>
                <a:prstDash val="solid"/>
                <a:miter/>
              </a:ln>
            </p:spPr>
            <p:txBody>
              <a:bodyPr rtlCol="0" anchor="ctr"/>
              <a:lstStyle/>
              <a:p>
                <a:endParaRPr lang="en-GB"/>
              </a:p>
            </p:txBody>
          </p:sp>
        </p:grpSp>
        <p:grpSp>
          <p:nvGrpSpPr>
            <p:cNvPr id="669" name="Graphic 3">
              <a:extLst>
                <a:ext uri="{FF2B5EF4-FFF2-40B4-BE49-F238E27FC236}">
                  <a16:creationId xmlns:a16="http://schemas.microsoft.com/office/drawing/2014/main" id="{7990F7CC-29AC-422E-924D-4DAF95E8DB58}"/>
                </a:ext>
              </a:extLst>
            </p:cNvPr>
            <p:cNvGrpSpPr/>
            <p:nvPr/>
          </p:nvGrpSpPr>
          <p:grpSpPr>
            <a:xfrm>
              <a:off x="6627805" y="4988242"/>
              <a:ext cx="61797" cy="136636"/>
              <a:chOff x="6627805" y="4988242"/>
              <a:chExt cx="61797" cy="136636"/>
            </a:xfrm>
            <a:grpFill/>
          </p:grpSpPr>
          <p:sp>
            <p:nvSpPr>
              <p:cNvPr id="3382" name="Vrije vorm: vorm 3381">
                <a:extLst>
                  <a:ext uri="{FF2B5EF4-FFF2-40B4-BE49-F238E27FC236}">
                    <a16:creationId xmlns:a16="http://schemas.microsoft.com/office/drawing/2014/main" id="{BB3FFD13-75EF-41A0-AD02-75A69A58088C}"/>
                  </a:ext>
                </a:extLst>
              </p:cNvPr>
              <p:cNvSpPr/>
              <p:nvPr/>
            </p:nvSpPr>
            <p:spPr>
              <a:xfrm>
                <a:off x="6635702" y="4996551"/>
                <a:ext cx="46714" cy="120091"/>
              </a:xfrm>
              <a:custGeom>
                <a:avLst/>
                <a:gdLst>
                  <a:gd name="connsiteX0" fmla="*/ 0 w 46714"/>
                  <a:gd name="connsiteY0" fmla="*/ 1054 h 120091"/>
                  <a:gd name="connsiteX1" fmla="*/ 2862 w 46714"/>
                  <a:gd name="connsiteY1" fmla="*/ 0 h 120091"/>
                  <a:gd name="connsiteX2" fmla="*/ 46715 w 46714"/>
                  <a:gd name="connsiteY2" fmla="*/ 119037 h 120091"/>
                  <a:gd name="connsiteX3" fmla="*/ 43853 w 46714"/>
                  <a:gd name="connsiteY3" fmla="*/ 120091 h 120091"/>
                </a:gdLst>
                <a:ahLst/>
                <a:cxnLst>
                  <a:cxn ang="0">
                    <a:pos x="connsiteX0" y="connsiteY0"/>
                  </a:cxn>
                  <a:cxn ang="0">
                    <a:pos x="connsiteX1" y="connsiteY1"/>
                  </a:cxn>
                  <a:cxn ang="0">
                    <a:pos x="connsiteX2" y="connsiteY2"/>
                  </a:cxn>
                  <a:cxn ang="0">
                    <a:pos x="connsiteX3" y="connsiteY3"/>
                  </a:cxn>
                </a:cxnLst>
                <a:rect l="l" t="t" r="r" b="b"/>
                <a:pathLst>
                  <a:path w="46714" h="120091">
                    <a:moveTo>
                      <a:pt x="0" y="1054"/>
                    </a:moveTo>
                    <a:lnTo>
                      <a:pt x="2862" y="0"/>
                    </a:lnTo>
                    <a:lnTo>
                      <a:pt x="46715" y="119037"/>
                    </a:lnTo>
                    <a:lnTo>
                      <a:pt x="43853" y="120091"/>
                    </a:lnTo>
                    <a:close/>
                  </a:path>
                </a:pathLst>
              </a:custGeom>
              <a:grpFill/>
              <a:ln w="5978" cap="flat">
                <a:noFill/>
                <a:prstDash val="solid"/>
                <a:miter/>
              </a:ln>
            </p:spPr>
            <p:txBody>
              <a:bodyPr rtlCol="0" anchor="ctr"/>
              <a:lstStyle/>
              <a:p>
                <a:endParaRPr lang="en-GB"/>
              </a:p>
            </p:txBody>
          </p:sp>
          <p:sp>
            <p:nvSpPr>
              <p:cNvPr id="3383" name="Vrije vorm: vorm 3382">
                <a:extLst>
                  <a:ext uri="{FF2B5EF4-FFF2-40B4-BE49-F238E27FC236}">
                    <a16:creationId xmlns:a16="http://schemas.microsoft.com/office/drawing/2014/main" id="{C251EA86-BC60-473D-98EC-6125F31A9462}"/>
                  </a:ext>
                </a:extLst>
              </p:cNvPr>
              <p:cNvSpPr/>
              <p:nvPr/>
            </p:nvSpPr>
            <p:spPr>
              <a:xfrm>
                <a:off x="6671309" y="5106421"/>
                <a:ext cx="18293" cy="18457"/>
              </a:xfrm>
              <a:custGeom>
                <a:avLst/>
                <a:gdLst>
                  <a:gd name="connsiteX0" fmla="*/ 17729 w 18293"/>
                  <a:gd name="connsiteY0" fmla="*/ 6059 h 18457"/>
                  <a:gd name="connsiteX1" fmla="*/ 12347 w 18293"/>
                  <a:gd name="connsiteY1" fmla="*/ 17901 h 18457"/>
                  <a:gd name="connsiteX2" fmla="*/ 565 w 18293"/>
                  <a:gd name="connsiteY2" fmla="*/ 12398 h 18457"/>
                  <a:gd name="connsiteX3" fmla="*/ 5947 w 18293"/>
                  <a:gd name="connsiteY3" fmla="*/ 557 h 18457"/>
                  <a:gd name="connsiteX4" fmla="*/ 17729 w 18293"/>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57">
                    <a:moveTo>
                      <a:pt x="17729" y="6059"/>
                    </a:moveTo>
                    <a:cubicBezTo>
                      <a:pt x="19464" y="10843"/>
                      <a:pt x="17071" y="16106"/>
                      <a:pt x="12347" y="17901"/>
                    </a:cubicBezTo>
                    <a:cubicBezTo>
                      <a:pt x="7622" y="19635"/>
                      <a:pt x="2299" y="17183"/>
                      <a:pt x="565" y="12398"/>
                    </a:cubicBezTo>
                    <a:cubicBezTo>
                      <a:pt x="-1170" y="7614"/>
                      <a:pt x="1222" y="2351"/>
                      <a:pt x="5947" y="557"/>
                    </a:cubicBezTo>
                    <a:cubicBezTo>
                      <a:pt x="10672" y="-1178"/>
                      <a:pt x="15995" y="1274"/>
                      <a:pt x="17729" y="6059"/>
                    </a:cubicBezTo>
                    <a:close/>
                  </a:path>
                </a:pathLst>
              </a:custGeom>
              <a:grpFill/>
              <a:ln w="5978" cap="flat">
                <a:noFill/>
                <a:prstDash val="solid"/>
                <a:miter/>
              </a:ln>
            </p:spPr>
            <p:txBody>
              <a:bodyPr rtlCol="0" anchor="ctr"/>
              <a:lstStyle/>
              <a:p>
                <a:endParaRPr lang="en-GB"/>
              </a:p>
            </p:txBody>
          </p:sp>
          <p:sp>
            <p:nvSpPr>
              <p:cNvPr id="3384" name="Vrije vorm: vorm 3383">
                <a:extLst>
                  <a:ext uri="{FF2B5EF4-FFF2-40B4-BE49-F238E27FC236}">
                    <a16:creationId xmlns:a16="http://schemas.microsoft.com/office/drawing/2014/main" id="{5D38ED4A-FF2A-4639-B76D-A3C1CB9FA7BD}"/>
                  </a:ext>
                </a:extLst>
              </p:cNvPr>
              <p:cNvSpPr/>
              <p:nvPr/>
            </p:nvSpPr>
            <p:spPr>
              <a:xfrm>
                <a:off x="6627805" y="4988242"/>
                <a:ext cx="18311" cy="18457"/>
              </a:xfrm>
              <a:custGeom>
                <a:avLst/>
                <a:gdLst>
                  <a:gd name="connsiteX0" fmla="*/ 17753 w 18311"/>
                  <a:gd name="connsiteY0" fmla="*/ 6059 h 18457"/>
                  <a:gd name="connsiteX1" fmla="*/ 5971 w 18311"/>
                  <a:gd name="connsiteY1" fmla="*/ 557 h 18457"/>
                  <a:gd name="connsiteX2" fmla="*/ 589 w 18311"/>
                  <a:gd name="connsiteY2" fmla="*/ 12398 h 18457"/>
                  <a:gd name="connsiteX3" fmla="*/ 12371 w 18311"/>
                  <a:gd name="connsiteY3" fmla="*/ 17901 h 18457"/>
                  <a:gd name="connsiteX4" fmla="*/ 17753 w 18311"/>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7">
                    <a:moveTo>
                      <a:pt x="17753" y="6059"/>
                    </a:moveTo>
                    <a:cubicBezTo>
                      <a:pt x="16019" y="1274"/>
                      <a:pt x="10696" y="-1178"/>
                      <a:pt x="5971" y="557"/>
                    </a:cubicBezTo>
                    <a:cubicBezTo>
                      <a:pt x="1247" y="2291"/>
                      <a:pt x="-1206" y="7614"/>
                      <a:pt x="589" y="12398"/>
                    </a:cubicBezTo>
                    <a:cubicBezTo>
                      <a:pt x="2323" y="17183"/>
                      <a:pt x="7646" y="19635"/>
                      <a:pt x="12371" y="17901"/>
                    </a:cubicBezTo>
                    <a:cubicBezTo>
                      <a:pt x="17036" y="16106"/>
                      <a:pt x="19488" y="10843"/>
                      <a:pt x="17753" y="6059"/>
                    </a:cubicBezTo>
                    <a:close/>
                  </a:path>
                </a:pathLst>
              </a:custGeom>
              <a:grpFill/>
              <a:ln w="5978" cap="flat">
                <a:noFill/>
                <a:prstDash val="solid"/>
                <a:miter/>
              </a:ln>
            </p:spPr>
            <p:txBody>
              <a:bodyPr rtlCol="0" anchor="ctr"/>
              <a:lstStyle/>
              <a:p>
                <a:endParaRPr lang="en-GB"/>
              </a:p>
            </p:txBody>
          </p:sp>
        </p:grpSp>
        <p:grpSp>
          <p:nvGrpSpPr>
            <p:cNvPr id="670" name="Graphic 3">
              <a:extLst>
                <a:ext uri="{FF2B5EF4-FFF2-40B4-BE49-F238E27FC236}">
                  <a16:creationId xmlns:a16="http://schemas.microsoft.com/office/drawing/2014/main" id="{5531C3ED-2E7C-4D62-B41B-5ECF9CE522D6}"/>
                </a:ext>
              </a:extLst>
            </p:cNvPr>
            <p:cNvGrpSpPr/>
            <p:nvPr/>
          </p:nvGrpSpPr>
          <p:grpSpPr>
            <a:xfrm>
              <a:off x="6627033" y="4988480"/>
              <a:ext cx="142111" cy="465758"/>
              <a:chOff x="6627033" y="4988480"/>
              <a:chExt cx="142111" cy="465758"/>
            </a:xfrm>
            <a:grpFill/>
          </p:grpSpPr>
          <p:sp>
            <p:nvSpPr>
              <p:cNvPr id="3379" name="Vrije vorm: vorm 3378">
                <a:extLst>
                  <a:ext uri="{FF2B5EF4-FFF2-40B4-BE49-F238E27FC236}">
                    <a16:creationId xmlns:a16="http://schemas.microsoft.com/office/drawing/2014/main" id="{C7BF92C6-4B69-4B5F-9E2E-28EB52F11BB3}"/>
                  </a:ext>
                </a:extLst>
              </p:cNvPr>
              <p:cNvSpPr/>
              <p:nvPr/>
            </p:nvSpPr>
            <p:spPr>
              <a:xfrm>
                <a:off x="6634461" y="4997092"/>
                <a:ext cx="126925" cy="449038"/>
              </a:xfrm>
              <a:custGeom>
                <a:avLst/>
                <a:gdLst>
                  <a:gd name="connsiteX0" fmla="*/ 0 w 126925"/>
                  <a:gd name="connsiteY0" fmla="*/ 813 h 449038"/>
                  <a:gd name="connsiteX1" fmla="*/ 2940 w 126925"/>
                  <a:gd name="connsiteY1" fmla="*/ 0 h 449038"/>
                  <a:gd name="connsiteX2" fmla="*/ 126925 w 126925"/>
                  <a:gd name="connsiteY2" fmla="*/ 448226 h 449038"/>
                  <a:gd name="connsiteX3" fmla="*/ 123985 w 126925"/>
                  <a:gd name="connsiteY3" fmla="*/ 449039 h 449038"/>
                </a:gdLst>
                <a:ahLst/>
                <a:cxnLst>
                  <a:cxn ang="0">
                    <a:pos x="connsiteX0" y="connsiteY0"/>
                  </a:cxn>
                  <a:cxn ang="0">
                    <a:pos x="connsiteX1" y="connsiteY1"/>
                  </a:cxn>
                  <a:cxn ang="0">
                    <a:pos x="connsiteX2" y="connsiteY2"/>
                  </a:cxn>
                  <a:cxn ang="0">
                    <a:pos x="connsiteX3" y="connsiteY3"/>
                  </a:cxn>
                </a:cxnLst>
                <a:rect l="l" t="t" r="r" b="b"/>
                <a:pathLst>
                  <a:path w="126925" h="449038">
                    <a:moveTo>
                      <a:pt x="0" y="813"/>
                    </a:moveTo>
                    <a:lnTo>
                      <a:pt x="2940" y="0"/>
                    </a:lnTo>
                    <a:lnTo>
                      <a:pt x="126925" y="448226"/>
                    </a:lnTo>
                    <a:lnTo>
                      <a:pt x="123985" y="449039"/>
                    </a:lnTo>
                    <a:close/>
                  </a:path>
                </a:pathLst>
              </a:custGeom>
              <a:grpFill/>
              <a:ln w="5978" cap="flat">
                <a:noFill/>
                <a:prstDash val="solid"/>
                <a:miter/>
              </a:ln>
            </p:spPr>
            <p:txBody>
              <a:bodyPr rtlCol="0" anchor="ctr"/>
              <a:lstStyle/>
              <a:p>
                <a:endParaRPr lang="en-GB"/>
              </a:p>
            </p:txBody>
          </p:sp>
          <p:sp>
            <p:nvSpPr>
              <p:cNvPr id="3380" name="Vrije vorm: vorm 3379">
                <a:extLst>
                  <a:ext uri="{FF2B5EF4-FFF2-40B4-BE49-F238E27FC236}">
                    <a16:creationId xmlns:a16="http://schemas.microsoft.com/office/drawing/2014/main" id="{B077A602-A6DB-4CE3-8985-45200BD18684}"/>
                  </a:ext>
                </a:extLst>
              </p:cNvPr>
              <p:cNvSpPr/>
              <p:nvPr/>
            </p:nvSpPr>
            <p:spPr>
              <a:xfrm>
                <a:off x="6627033" y="4988480"/>
                <a:ext cx="18391" cy="18421"/>
              </a:xfrm>
              <a:custGeom>
                <a:avLst/>
                <a:gdLst>
                  <a:gd name="connsiteX0" fmla="*/ 344 w 18391"/>
                  <a:gd name="connsiteY0" fmla="*/ 11623 h 18421"/>
                  <a:gd name="connsiteX1" fmla="*/ 6744 w 18391"/>
                  <a:gd name="connsiteY1" fmla="*/ 319 h 18421"/>
                  <a:gd name="connsiteX2" fmla="*/ 18047 w 18391"/>
                  <a:gd name="connsiteY2" fmla="*/ 6778 h 18421"/>
                  <a:gd name="connsiteX3" fmla="*/ 11648 w 18391"/>
                  <a:gd name="connsiteY3" fmla="*/ 18082 h 18421"/>
                  <a:gd name="connsiteX4" fmla="*/ 344 w 18391"/>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21">
                    <a:moveTo>
                      <a:pt x="344" y="11623"/>
                    </a:moveTo>
                    <a:cubicBezTo>
                      <a:pt x="-1031" y="6718"/>
                      <a:pt x="1839" y="1635"/>
                      <a:pt x="6744" y="319"/>
                    </a:cubicBezTo>
                    <a:cubicBezTo>
                      <a:pt x="11648" y="-997"/>
                      <a:pt x="16672" y="1874"/>
                      <a:pt x="18047" y="6778"/>
                    </a:cubicBezTo>
                    <a:cubicBezTo>
                      <a:pt x="19423" y="11683"/>
                      <a:pt x="16552" y="16766"/>
                      <a:pt x="11648" y="18082"/>
                    </a:cubicBezTo>
                    <a:cubicBezTo>
                      <a:pt x="6744" y="19457"/>
                      <a:pt x="1720" y="16527"/>
                      <a:pt x="344" y="11623"/>
                    </a:cubicBezTo>
                    <a:close/>
                  </a:path>
                </a:pathLst>
              </a:custGeom>
              <a:grpFill/>
              <a:ln w="5978" cap="flat">
                <a:noFill/>
                <a:prstDash val="solid"/>
                <a:miter/>
              </a:ln>
            </p:spPr>
            <p:txBody>
              <a:bodyPr rtlCol="0" anchor="ctr"/>
              <a:lstStyle/>
              <a:p>
                <a:endParaRPr lang="en-GB"/>
              </a:p>
            </p:txBody>
          </p:sp>
          <p:sp>
            <p:nvSpPr>
              <p:cNvPr id="3381" name="Vrije vorm: vorm 3380">
                <a:extLst>
                  <a:ext uri="{FF2B5EF4-FFF2-40B4-BE49-F238E27FC236}">
                    <a16:creationId xmlns:a16="http://schemas.microsoft.com/office/drawing/2014/main" id="{339D241C-9FE2-46A1-9566-C57679CCEB1B}"/>
                  </a:ext>
                </a:extLst>
              </p:cNvPr>
              <p:cNvSpPr/>
              <p:nvPr/>
            </p:nvSpPr>
            <p:spPr>
              <a:xfrm>
                <a:off x="6750795" y="5435838"/>
                <a:ext cx="18349" cy="18400"/>
              </a:xfrm>
              <a:custGeom>
                <a:avLst/>
                <a:gdLst>
                  <a:gd name="connsiteX0" fmla="*/ 323 w 18349"/>
                  <a:gd name="connsiteY0" fmla="*/ 11623 h 18400"/>
                  <a:gd name="connsiteX1" fmla="*/ 11627 w 18349"/>
                  <a:gd name="connsiteY1" fmla="*/ 18082 h 18400"/>
                  <a:gd name="connsiteX2" fmla="*/ 18026 w 18349"/>
                  <a:gd name="connsiteY2" fmla="*/ 6778 h 18400"/>
                  <a:gd name="connsiteX3" fmla="*/ 6723 w 18349"/>
                  <a:gd name="connsiteY3" fmla="*/ 319 h 18400"/>
                  <a:gd name="connsiteX4" fmla="*/ 323 w 18349"/>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0">
                    <a:moveTo>
                      <a:pt x="323" y="11623"/>
                    </a:moveTo>
                    <a:cubicBezTo>
                      <a:pt x="1699" y="16527"/>
                      <a:pt x="6723" y="19398"/>
                      <a:pt x="11627" y="18082"/>
                    </a:cubicBezTo>
                    <a:cubicBezTo>
                      <a:pt x="16531" y="16766"/>
                      <a:pt x="19342" y="11683"/>
                      <a:pt x="18026" y="6778"/>
                    </a:cubicBezTo>
                    <a:cubicBezTo>
                      <a:pt x="16710" y="1874"/>
                      <a:pt x="11627" y="-997"/>
                      <a:pt x="6723" y="319"/>
                    </a:cubicBezTo>
                    <a:cubicBezTo>
                      <a:pt x="1819" y="1635"/>
                      <a:pt x="-992" y="6718"/>
                      <a:pt x="323" y="11623"/>
                    </a:cubicBezTo>
                    <a:close/>
                  </a:path>
                </a:pathLst>
              </a:custGeom>
              <a:grpFill/>
              <a:ln w="5978" cap="flat">
                <a:noFill/>
                <a:prstDash val="solid"/>
                <a:miter/>
              </a:ln>
            </p:spPr>
            <p:txBody>
              <a:bodyPr rtlCol="0" anchor="ctr"/>
              <a:lstStyle/>
              <a:p>
                <a:endParaRPr lang="en-GB"/>
              </a:p>
            </p:txBody>
          </p:sp>
        </p:grpSp>
        <p:grpSp>
          <p:nvGrpSpPr>
            <p:cNvPr id="671" name="Graphic 3">
              <a:extLst>
                <a:ext uri="{FF2B5EF4-FFF2-40B4-BE49-F238E27FC236}">
                  <a16:creationId xmlns:a16="http://schemas.microsoft.com/office/drawing/2014/main" id="{ED46F552-764F-42E7-8AFD-32ECC6B59253}"/>
                </a:ext>
              </a:extLst>
            </p:cNvPr>
            <p:cNvGrpSpPr/>
            <p:nvPr/>
          </p:nvGrpSpPr>
          <p:grpSpPr>
            <a:xfrm>
              <a:off x="6688400" y="5257898"/>
              <a:ext cx="80162" cy="196534"/>
              <a:chOff x="6688400" y="5257898"/>
              <a:chExt cx="80162" cy="196534"/>
            </a:xfrm>
            <a:grpFill/>
          </p:grpSpPr>
          <p:sp>
            <p:nvSpPr>
              <p:cNvPr id="3376" name="Vrije vorm: vorm 3375">
                <a:extLst>
                  <a:ext uri="{FF2B5EF4-FFF2-40B4-BE49-F238E27FC236}">
                    <a16:creationId xmlns:a16="http://schemas.microsoft.com/office/drawing/2014/main" id="{E8E59544-D8B4-45F4-9466-6099FA6E9622}"/>
                  </a:ext>
                </a:extLst>
              </p:cNvPr>
              <p:cNvSpPr/>
              <p:nvPr/>
            </p:nvSpPr>
            <p:spPr>
              <a:xfrm>
                <a:off x="6695747" y="5265916"/>
                <a:ext cx="65102" cy="179955"/>
              </a:xfrm>
              <a:custGeom>
                <a:avLst/>
                <a:gdLst>
                  <a:gd name="connsiteX0" fmla="*/ 0 w 65102"/>
                  <a:gd name="connsiteY0" fmla="*/ 1002 h 179955"/>
                  <a:gd name="connsiteX1" fmla="*/ 2881 w 65102"/>
                  <a:gd name="connsiteY1" fmla="*/ 0 h 179955"/>
                  <a:gd name="connsiteX2" fmla="*/ 65103 w 65102"/>
                  <a:gd name="connsiteY2" fmla="*/ 178954 h 179955"/>
                  <a:gd name="connsiteX3" fmla="*/ 62222 w 65102"/>
                  <a:gd name="connsiteY3" fmla="*/ 179955 h 179955"/>
                </a:gdLst>
                <a:ahLst/>
                <a:cxnLst>
                  <a:cxn ang="0">
                    <a:pos x="connsiteX0" y="connsiteY0"/>
                  </a:cxn>
                  <a:cxn ang="0">
                    <a:pos x="connsiteX1" y="connsiteY1"/>
                  </a:cxn>
                  <a:cxn ang="0">
                    <a:pos x="connsiteX2" y="connsiteY2"/>
                  </a:cxn>
                  <a:cxn ang="0">
                    <a:pos x="connsiteX3" y="connsiteY3"/>
                  </a:cxn>
                </a:cxnLst>
                <a:rect l="l" t="t" r="r" b="b"/>
                <a:pathLst>
                  <a:path w="65102" h="179955">
                    <a:moveTo>
                      <a:pt x="0" y="1002"/>
                    </a:moveTo>
                    <a:lnTo>
                      <a:pt x="2881" y="0"/>
                    </a:lnTo>
                    <a:lnTo>
                      <a:pt x="65103" y="178954"/>
                    </a:lnTo>
                    <a:lnTo>
                      <a:pt x="62222" y="179955"/>
                    </a:lnTo>
                    <a:close/>
                  </a:path>
                </a:pathLst>
              </a:custGeom>
              <a:grpFill/>
              <a:ln w="5978" cap="flat">
                <a:noFill/>
                <a:prstDash val="solid"/>
                <a:miter/>
              </a:ln>
            </p:spPr>
            <p:txBody>
              <a:bodyPr rtlCol="0" anchor="ctr"/>
              <a:lstStyle/>
              <a:p>
                <a:endParaRPr lang="en-GB"/>
              </a:p>
            </p:txBody>
          </p:sp>
          <p:sp>
            <p:nvSpPr>
              <p:cNvPr id="3377" name="Vrije vorm: vorm 3376">
                <a:extLst>
                  <a:ext uri="{FF2B5EF4-FFF2-40B4-BE49-F238E27FC236}">
                    <a16:creationId xmlns:a16="http://schemas.microsoft.com/office/drawing/2014/main" id="{DEC503CB-CEF3-4E98-891B-D30FF5890EC2}"/>
                  </a:ext>
                </a:extLst>
              </p:cNvPr>
              <p:cNvSpPr/>
              <p:nvPr/>
            </p:nvSpPr>
            <p:spPr>
              <a:xfrm>
                <a:off x="6750241" y="5436004"/>
                <a:ext cx="18321" cy="18428"/>
              </a:xfrm>
              <a:custGeom>
                <a:avLst/>
                <a:gdLst>
                  <a:gd name="connsiteX0" fmla="*/ 17803 w 18321"/>
                  <a:gd name="connsiteY0" fmla="*/ 6194 h 18428"/>
                  <a:gd name="connsiteX1" fmla="*/ 12181 w 18321"/>
                  <a:gd name="connsiteY1" fmla="*/ 17916 h 18428"/>
                  <a:gd name="connsiteX2" fmla="*/ 519 w 18321"/>
                  <a:gd name="connsiteY2" fmla="*/ 12234 h 18428"/>
                  <a:gd name="connsiteX3" fmla="*/ 6141 w 18321"/>
                  <a:gd name="connsiteY3" fmla="*/ 512 h 18428"/>
                  <a:gd name="connsiteX4" fmla="*/ 17803 w 18321"/>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7803" y="6194"/>
                    </a:moveTo>
                    <a:cubicBezTo>
                      <a:pt x="19478" y="10978"/>
                      <a:pt x="16966" y="16241"/>
                      <a:pt x="12181" y="17916"/>
                    </a:cubicBezTo>
                    <a:cubicBezTo>
                      <a:pt x="7397" y="19591"/>
                      <a:pt x="2194" y="17019"/>
                      <a:pt x="519" y="12234"/>
                    </a:cubicBezTo>
                    <a:cubicBezTo>
                      <a:pt x="-1156" y="7450"/>
                      <a:pt x="1356" y="2187"/>
                      <a:pt x="6141" y="512"/>
                    </a:cubicBezTo>
                    <a:cubicBezTo>
                      <a:pt x="10925" y="-1162"/>
                      <a:pt x="16128" y="1409"/>
                      <a:pt x="17803" y="6194"/>
                    </a:cubicBezTo>
                    <a:close/>
                  </a:path>
                </a:pathLst>
              </a:custGeom>
              <a:grpFill/>
              <a:ln w="5978" cap="flat">
                <a:noFill/>
                <a:prstDash val="solid"/>
                <a:miter/>
              </a:ln>
            </p:spPr>
            <p:txBody>
              <a:bodyPr rtlCol="0" anchor="ctr"/>
              <a:lstStyle/>
              <a:p>
                <a:endParaRPr lang="en-GB"/>
              </a:p>
            </p:txBody>
          </p:sp>
          <p:sp>
            <p:nvSpPr>
              <p:cNvPr id="3378" name="Vrije vorm: vorm 3377">
                <a:extLst>
                  <a:ext uri="{FF2B5EF4-FFF2-40B4-BE49-F238E27FC236}">
                    <a16:creationId xmlns:a16="http://schemas.microsoft.com/office/drawing/2014/main" id="{09CA30B7-0C02-4805-952B-EE760F508DC0}"/>
                  </a:ext>
                </a:extLst>
              </p:cNvPr>
              <p:cNvSpPr/>
              <p:nvPr/>
            </p:nvSpPr>
            <p:spPr>
              <a:xfrm>
                <a:off x="6688400" y="5257898"/>
                <a:ext cx="18321" cy="18428"/>
              </a:xfrm>
              <a:custGeom>
                <a:avLst/>
                <a:gdLst>
                  <a:gd name="connsiteX0" fmla="*/ 17803 w 18321"/>
                  <a:gd name="connsiteY0" fmla="*/ 6194 h 18428"/>
                  <a:gd name="connsiteX1" fmla="*/ 6141 w 18321"/>
                  <a:gd name="connsiteY1" fmla="*/ 512 h 18428"/>
                  <a:gd name="connsiteX2" fmla="*/ 519 w 18321"/>
                  <a:gd name="connsiteY2" fmla="*/ 12234 h 18428"/>
                  <a:gd name="connsiteX3" fmla="*/ 12181 w 18321"/>
                  <a:gd name="connsiteY3" fmla="*/ 17916 h 18428"/>
                  <a:gd name="connsiteX4" fmla="*/ 17803 w 18321"/>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7803" y="6194"/>
                    </a:moveTo>
                    <a:cubicBezTo>
                      <a:pt x="16129" y="1409"/>
                      <a:pt x="10925" y="-1163"/>
                      <a:pt x="6141" y="512"/>
                    </a:cubicBezTo>
                    <a:cubicBezTo>
                      <a:pt x="1356" y="2187"/>
                      <a:pt x="-1156" y="7390"/>
                      <a:pt x="519" y="12234"/>
                    </a:cubicBezTo>
                    <a:cubicBezTo>
                      <a:pt x="2193" y="17019"/>
                      <a:pt x="7397" y="19591"/>
                      <a:pt x="12181" y="17916"/>
                    </a:cubicBezTo>
                    <a:cubicBezTo>
                      <a:pt x="16966" y="16242"/>
                      <a:pt x="19478" y="11038"/>
                      <a:pt x="17803" y="6194"/>
                    </a:cubicBezTo>
                    <a:close/>
                  </a:path>
                </a:pathLst>
              </a:custGeom>
              <a:grpFill/>
              <a:ln w="5978" cap="flat">
                <a:noFill/>
                <a:prstDash val="solid"/>
                <a:miter/>
              </a:ln>
            </p:spPr>
            <p:txBody>
              <a:bodyPr rtlCol="0" anchor="ctr"/>
              <a:lstStyle/>
              <a:p>
                <a:endParaRPr lang="en-GB"/>
              </a:p>
            </p:txBody>
          </p:sp>
        </p:grpSp>
        <p:grpSp>
          <p:nvGrpSpPr>
            <p:cNvPr id="672" name="Graphic 3">
              <a:extLst>
                <a:ext uri="{FF2B5EF4-FFF2-40B4-BE49-F238E27FC236}">
                  <a16:creationId xmlns:a16="http://schemas.microsoft.com/office/drawing/2014/main" id="{6C47D993-60BC-4023-A657-7E7157031075}"/>
                </a:ext>
              </a:extLst>
            </p:cNvPr>
            <p:cNvGrpSpPr/>
            <p:nvPr/>
          </p:nvGrpSpPr>
          <p:grpSpPr>
            <a:xfrm>
              <a:off x="5494785" y="1665856"/>
              <a:ext cx="61173" cy="153752"/>
              <a:chOff x="5494785" y="1665856"/>
              <a:chExt cx="61173" cy="153752"/>
            </a:xfrm>
            <a:grpFill/>
          </p:grpSpPr>
          <p:sp>
            <p:nvSpPr>
              <p:cNvPr id="3373" name="Vrije vorm: vorm 3372">
                <a:extLst>
                  <a:ext uri="{FF2B5EF4-FFF2-40B4-BE49-F238E27FC236}">
                    <a16:creationId xmlns:a16="http://schemas.microsoft.com/office/drawing/2014/main" id="{ED842606-AB08-4772-BB32-0BA248F2DF80}"/>
                  </a:ext>
                </a:extLst>
              </p:cNvPr>
              <p:cNvSpPr/>
              <p:nvPr/>
            </p:nvSpPr>
            <p:spPr>
              <a:xfrm>
                <a:off x="5502343" y="1674164"/>
                <a:ext cx="45991" cy="137137"/>
              </a:xfrm>
              <a:custGeom>
                <a:avLst/>
                <a:gdLst>
                  <a:gd name="connsiteX0" fmla="*/ 2930 w 45991"/>
                  <a:gd name="connsiteY0" fmla="*/ 0 h 137137"/>
                  <a:gd name="connsiteX1" fmla="*/ 45992 w 45991"/>
                  <a:gd name="connsiteY1" fmla="*/ 136181 h 137137"/>
                  <a:gd name="connsiteX2" fmla="*/ 43121 w 45991"/>
                  <a:gd name="connsiteY2" fmla="*/ 137138 h 137137"/>
                  <a:gd name="connsiteX3" fmla="*/ 0 w 45991"/>
                  <a:gd name="connsiteY3" fmla="*/ 957 h 137137"/>
                </a:gdLst>
                <a:ahLst/>
                <a:cxnLst>
                  <a:cxn ang="0">
                    <a:pos x="connsiteX0" y="connsiteY0"/>
                  </a:cxn>
                  <a:cxn ang="0">
                    <a:pos x="connsiteX1" y="connsiteY1"/>
                  </a:cxn>
                  <a:cxn ang="0">
                    <a:pos x="connsiteX2" y="connsiteY2"/>
                  </a:cxn>
                  <a:cxn ang="0">
                    <a:pos x="connsiteX3" y="connsiteY3"/>
                  </a:cxn>
                </a:cxnLst>
                <a:rect l="l" t="t" r="r" b="b"/>
                <a:pathLst>
                  <a:path w="45991" h="137137">
                    <a:moveTo>
                      <a:pt x="2930" y="0"/>
                    </a:moveTo>
                    <a:lnTo>
                      <a:pt x="45992" y="136181"/>
                    </a:lnTo>
                    <a:lnTo>
                      <a:pt x="43121" y="137138"/>
                    </a:lnTo>
                    <a:lnTo>
                      <a:pt x="0" y="957"/>
                    </a:lnTo>
                    <a:close/>
                  </a:path>
                </a:pathLst>
              </a:custGeom>
              <a:grpFill/>
              <a:ln w="5978" cap="flat">
                <a:noFill/>
                <a:prstDash val="solid"/>
                <a:miter/>
              </a:ln>
            </p:spPr>
            <p:txBody>
              <a:bodyPr rtlCol="0" anchor="ctr"/>
              <a:lstStyle/>
              <a:p>
                <a:endParaRPr lang="en-GB"/>
              </a:p>
            </p:txBody>
          </p:sp>
          <p:sp>
            <p:nvSpPr>
              <p:cNvPr id="3374" name="Vrije vorm: vorm 3373">
                <a:extLst>
                  <a:ext uri="{FF2B5EF4-FFF2-40B4-BE49-F238E27FC236}">
                    <a16:creationId xmlns:a16="http://schemas.microsoft.com/office/drawing/2014/main" id="{AA21365D-FC24-4C19-9496-61A4F82D4877}"/>
                  </a:ext>
                </a:extLst>
              </p:cNvPr>
              <p:cNvSpPr/>
              <p:nvPr/>
            </p:nvSpPr>
            <p:spPr>
              <a:xfrm>
                <a:off x="5494785" y="1665856"/>
                <a:ext cx="18345" cy="18431"/>
              </a:xfrm>
              <a:custGeom>
                <a:avLst/>
                <a:gdLst>
                  <a:gd name="connsiteX0" fmla="*/ 441 w 18345"/>
                  <a:gd name="connsiteY0" fmla="*/ 11956 h 18431"/>
                  <a:gd name="connsiteX1" fmla="*/ 6362 w 18345"/>
                  <a:gd name="connsiteY1" fmla="*/ 413 h 18431"/>
                  <a:gd name="connsiteX2" fmla="*/ 17905 w 18345"/>
                  <a:gd name="connsiteY2" fmla="*/ 6453 h 18431"/>
                  <a:gd name="connsiteX3" fmla="*/ 11924 w 18345"/>
                  <a:gd name="connsiteY3" fmla="*/ 17996 h 18431"/>
                  <a:gd name="connsiteX4" fmla="*/ 441 w 18345"/>
                  <a:gd name="connsiteY4" fmla="*/ 11956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31">
                    <a:moveTo>
                      <a:pt x="441" y="11956"/>
                    </a:moveTo>
                    <a:cubicBezTo>
                      <a:pt x="-1114" y="7111"/>
                      <a:pt x="1578" y="1908"/>
                      <a:pt x="6362" y="413"/>
                    </a:cubicBezTo>
                    <a:cubicBezTo>
                      <a:pt x="11207" y="-1082"/>
                      <a:pt x="16350" y="1609"/>
                      <a:pt x="17905" y="6453"/>
                    </a:cubicBezTo>
                    <a:cubicBezTo>
                      <a:pt x="19460" y="11298"/>
                      <a:pt x="16769" y="16501"/>
                      <a:pt x="11924" y="17996"/>
                    </a:cubicBezTo>
                    <a:cubicBezTo>
                      <a:pt x="7140" y="19551"/>
                      <a:pt x="1996" y="16800"/>
                      <a:pt x="441" y="11956"/>
                    </a:cubicBezTo>
                    <a:close/>
                  </a:path>
                </a:pathLst>
              </a:custGeom>
              <a:grpFill/>
              <a:ln w="5978" cap="flat">
                <a:noFill/>
                <a:prstDash val="solid"/>
                <a:miter/>
              </a:ln>
            </p:spPr>
            <p:txBody>
              <a:bodyPr rtlCol="0" anchor="ctr"/>
              <a:lstStyle/>
              <a:p>
                <a:endParaRPr lang="en-GB"/>
              </a:p>
            </p:txBody>
          </p:sp>
          <p:sp>
            <p:nvSpPr>
              <p:cNvPr id="3375" name="Vrije vorm: vorm 3374">
                <a:extLst>
                  <a:ext uri="{FF2B5EF4-FFF2-40B4-BE49-F238E27FC236}">
                    <a16:creationId xmlns:a16="http://schemas.microsoft.com/office/drawing/2014/main" id="{AE0F2F07-1430-4A94-9461-1D6B5DB2FFDB}"/>
                  </a:ext>
                </a:extLst>
              </p:cNvPr>
              <p:cNvSpPr/>
              <p:nvPr/>
            </p:nvSpPr>
            <p:spPr>
              <a:xfrm>
                <a:off x="5537608" y="1801200"/>
                <a:ext cx="18351" cy="18409"/>
              </a:xfrm>
              <a:custGeom>
                <a:avLst/>
                <a:gdLst>
                  <a:gd name="connsiteX0" fmla="*/ 441 w 18351"/>
                  <a:gd name="connsiteY0" fmla="*/ 11956 h 18409"/>
                  <a:gd name="connsiteX1" fmla="*/ 11984 w 18351"/>
                  <a:gd name="connsiteY1" fmla="*/ 17996 h 18409"/>
                  <a:gd name="connsiteX2" fmla="*/ 17905 w 18351"/>
                  <a:gd name="connsiteY2" fmla="*/ 6453 h 18409"/>
                  <a:gd name="connsiteX3" fmla="*/ 6422 w 18351"/>
                  <a:gd name="connsiteY3" fmla="*/ 413 h 18409"/>
                  <a:gd name="connsiteX4" fmla="*/ 441 w 18351"/>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09">
                    <a:moveTo>
                      <a:pt x="441" y="11956"/>
                    </a:moveTo>
                    <a:cubicBezTo>
                      <a:pt x="1996" y="16800"/>
                      <a:pt x="7139" y="19491"/>
                      <a:pt x="11984" y="17996"/>
                    </a:cubicBezTo>
                    <a:cubicBezTo>
                      <a:pt x="16828" y="16441"/>
                      <a:pt x="19460" y="11298"/>
                      <a:pt x="17905" y="6453"/>
                    </a:cubicBezTo>
                    <a:cubicBezTo>
                      <a:pt x="16349" y="1609"/>
                      <a:pt x="11206" y="-1082"/>
                      <a:pt x="6422" y="413"/>
                    </a:cubicBezTo>
                    <a:cubicBezTo>
                      <a:pt x="1577" y="1908"/>
                      <a:pt x="-1114" y="7111"/>
                      <a:pt x="441" y="11956"/>
                    </a:cubicBezTo>
                    <a:close/>
                  </a:path>
                </a:pathLst>
              </a:custGeom>
              <a:grpFill/>
              <a:ln w="5978" cap="flat">
                <a:noFill/>
                <a:prstDash val="solid"/>
                <a:miter/>
              </a:ln>
            </p:spPr>
            <p:txBody>
              <a:bodyPr rtlCol="0" anchor="ctr"/>
              <a:lstStyle/>
              <a:p>
                <a:endParaRPr lang="en-GB"/>
              </a:p>
            </p:txBody>
          </p:sp>
        </p:grpSp>
        <p:grpSp>
          <p:nvGrpSpPr>
            <p:cNvPr id="673" name="Graphic 3">
              <a:extLst>
                <a:ext uri="{FF2B5EF4-FFF2-40B4-BE49-F238E27FC236}">
                  <a16:creationId xmlns:a16="http://schemas.microsoft.com/office/drawing/2014/main" id="{8AE18E1F-1A1A-4239-84B6-CD984F4756E5}"/>
                </a:ext>
              </a:extLst>
            </p:cNvPr>
            <p:cNvGrpSpPr/>
            <p:nvPr/>
          </p:nvGrpSpPr>
          <p:grpSpPr>
            <a:xfrm>
              <a:off x="5352145" y="1215149"/>
              <a:ext cx="155401" cy="451532"/>
              <a:chOff x="5352145" y="1215149"/>
              <a:chExt cx="155401" cy="451532"/>
            </a:xfrm>
            <a:grpFill/>
          </p:grpSpPr>
          <p:sp>
            <p:nvSpPr>
              <p:cNvPr id="3370" name="Vrije vorm: vorm 3369">
                <a:extLst>
                  <a:ext uri="{FF2B5EF4-FFF2-40B4-BE49-F238E27FC236}">
                    <a16:creationId xmlns:a16="http://schemas.microsoft.com/office/drawing/2014/main" id="{14894177-D11E-4D4F-998C-E62A1CBD6E39}"/>
                  </a:ext>
                </a:extLst>
              </p:cNvPr>
              <p:cNvSpPr/>
              <p:nvPr/>
            </p:nvSpPr>
            <p:spPr>
              <a:xfrm>
                <a:off x="5359715" y="1223247"/>
                <a:ext cx="140257" cy="434957"/>
              </a:xfrm>
              <a:custGeom>
                <a:avLst/>
                <a:gdLst>
                  <a:gd name="connsiteX0" fmla="*/ 0 w 140257"/>
                  <a:gd name="connsiteY0" fmla="*/ 920 h 434957"/>
                  <a:gd name="connsiteX1" fmla="*/ 2908 w 140257"/>
                  <a:gd name="connsiteY1" fmla="*/ 0 h 434957"/>
                  <a:gd name="connsiteX2" fmla="*/ 140258 w 140257"/>
                  <a:gd name="connsiteY2" fmla="*/ 434038 h 434957"/>
                  <a:gd name="connsiteX3" fmla="*/ 137350 w 140257"/>
                  <a:gd name="connsiteY3" fmla="*/ 434958 h 434957"/>
                </a:gdLst>
                <a:ahLst/>
                <a:cxnLst>
                  <a:cxn ang="0">
                    <a:pos x="connsiteX0" y="connsiteY0"/>
                  </a:cxn>
                  <a:cxn ang="0">
                    <a:pos x="connsiteX1" y="connsiteY1"/>
                  </a:cxn>
                  <a:cxn ang="0">
                    <a:pos x="connsiteX2" y="connsiteY2"/>
                  </a:cxn>
                  <a:cxn ang="0">
                    <a:pos x="connsiteX3" y="connsiteY3"/>
                  </a:cxn>
                </a:cxnLst>
                <a:rect l="l" t="t" r="r" b="b"/>
                <a:pathLst>
                  <a:path w="140257" h="434957">
                    <a:moveTo>
                      <a:pt x="0" y="920"/>
                    </a:moveTo>
                    <a:lnTo>
                      <a:pt x="2908" y="0"/>
                    </a:lnTo>
                    <a:lnTo>
                      <a:pt x="140258" y="434038"/>
                    </a:lnTo>
                    <a:lnTo>
                      <a:pt x="137350" y="434958"/>
                    </a:lnTo>
                    <a:close/>
                  </a:path>
                </a:pathLst>
              </a:custGeom>
              <a:grpFill/>
              <a:ln w="5978" cap="flat">
                <a:noFill/>
                <a:prstDash val="solid"/>
                <a:miter/>
              </a:ln>
            </p:spPr>
            <p:txBody>
              <a:bodyPr rtlCol="0" anchor="ctr"/>
              <a:lstStyle/>
              <a:p>
                <a:endParaRPr lang="en-GB"/>
              </a:p>
            </p:txBody>
          </p:sp>
          <p:sp>
            <p:nvSpPr>
              <p:cNvPr id="3371" name="Vrije vorm: vorm 3370">
                <a:extLst>
                  <a:ext uri="{FF2B5EF4-FFF2-40B4-BE49-F238E27FC236}">
                    <a16:creationId xmlns:a16="http://schemas.microsoft.com/office/drawing/2014/main" id="{E8745056-D8AE-4C50-B801-A85F0A9D4124}"/>
                  </a:ext>
                </a:extLst>
              </p:cNvPr>
              <p:cNvSpPr/>
              <p:nvPr/>
            </p:nvSpPr>
            <p:spPr>
              <a:xfrm>
                <a:off x="5352145" y="1215149"/>
                <a:ext cx="18405" cy="18409"/>
              </a:xfrm>
              <a:custGeom>
                <a:avLst/>
                <a:gdLst>
                  <a:gd name="connsiteX0" fmla="*/ 441 w 18405"/>
                  <a:gd name="connsiteY0" fmla="*/ 11956 h 18409"/>
                  <a:gd name="connsiteX1" fmla="*/ 6422 w 18405"/>
                  <a:gd name="connsiteY1" fmla="*/ 413 h 18409"/>
                  <a:gd name="connsiteX2" fmla="*/ 17964 w 18405"/>
                  <a:gd name="connsiteY2" fmla="*/ 6453 h 18409"/>
                  <a:gd name="connsiteX3" fmla="*/ 11984 w 18405"/>
                  <a:gd name="connsiteY3" fmla="*/ 17996 h 18409"/>
                  <a:gd name="connsiteX4" fmla="*/ 441 w 18405"/>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5" h="18409">
                    <a:moveTo>
                      <a:pt x="441" y="11956"/>
                    </a:moveTo>
                    <a:cubicBezTo>
                      <a:pt x="-1114" y="7111"/>
                      <a:pt x="1577" y="1908"/>
                      <a:pt x="6422" y="413"/>
                    </a:cubicBezTo>
                    <a:cubicBezTo>
                      <a:pt x="11266" y="-1082"/>
                      <a:pt x="16409" y="1609"/>
                      <a:pt x="17964" y="6453"/>
                    </a:cubicBezTo>
                    <a:cubicBezTo>
                      <a:pt x="19519" y="11298"/>
                      <a:pt x="16828" y="16501"/>
                      <a:pt x="11984" y="17996"/>
                    </a:cubicBezTo>
                    <a:cubicBezTo>
                      <a:pt x="7139" y="19491"/>
                      <a:pt x="1996" y="16800"/>
                      <a:pt x="441" y="11956"/>
                    </a:cubicBezTo>
                    <a:close/>
                  </a:path>
                </a:pathLst>
              </a:custGeom>
              <a:grpFill/>
              <a:ln w="5978" cap="flat">
                <a:noFill/>
                <a:prstDash val="solid"/>
                <a:miter/>
              </a:ln>
            </p:spPr>
            <p:txBody>
              <a:bodyPr rtlCol="0" anchor="ctr"/>
              <a:lstStyle/>
              <a:p>
                <a:endParaRPr lang="en-GB"/>
              </a:p>
            </p:txBody>
          </p:sp>
          <p:sp>
            <p:nvSpPr>
              <p:cNvPr id="3372" name="Vrije vorm: vorm 3371">
                <a:extLst>
                  <a:ext uri="{FF2B5EF4-FFF2-40B4-BE49-F238E27FC236}">
                    <a16:creationId xmlns:a16="http://schemas.microsoft.com/office/drawing/2014/main" id="{F48D9B91-F15A-491A-97CF-A0BFC43D8340}"/>
                  </a:ext>
                </a:extLst>
              </p:cNvPr>
              <p:cNvSpPr/>
              <p:nvPr/>
            </p:nvSpPr>
            <p:spPr>
              <a:xfrm>
                <a:off x="5489223" y="1648273"/>
                <a:ext cx="18322" cy="18409"/>
              </a:xfrm>
              <a:custGeom>
                <a:avLst/>
                <a:gdLst>
                  <a:gd name="connsiteX0" fmla="*/ 441 w 18322"/>
                  <a:gd name="connsiteY0" fmla="*/ 11956 h 18409"/>
                  <a:gd name="connsiteX1" fmla="*/ 11924 w 18322"/>
                  <a:gd name="connsiteY1" fmla="*/ 17996 h 18409"/>
                  <a:gd name="connsiteX2" fmla="*/ 17905 w 18322"/>
                  <a:gd name="connsiteY2" fmla="*/ 6453 h 18409"/>
                  <a:gd name="connsiteX3" fmla="*/ 6422 w 18322"/>
                  <a:gd name="connsiteY3" fmla="*/ 413 h 18409"/>
                  <a:gd name="connsiteX4" fmla="*/ 441 w 18322"/>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09">
                    <a:moveTo>
                      <a:pt x="441" y="11956"/>
                    </a:moveTo>
                    <a:cubicBezTo>
                      <a:pt x="1996" y="16800"/>
                      <a:pt x="7139" y="19491"/>
                      <a:pt x="11924" y="17996"/>
                    </a:cubicBezTo>
                    <a:cubicBezTo>
                      <a:pt x="16768" y="16501"/>
                      <a:pt x="19400" y="11298"/>
                      <a:pt x="17905" y="6453"/>
                    </a:cubicBezTo>
                    <a:cubicBezTo>
                      <a:pt x="16349" y="1609"/>
                      <a:pt x="11206" y="-1082"/>
                      <a:pt x="6422" y="413"/>
                    </a:cubicBezTo>
                    <a:cubicBezTo>
                      <a:pt x="1577" y="1968"/>
                      <a:pt x="-1114" y="7111"/>
                      <a:pt x="441" y="11956"/>
                    </a:cubicBezTo>
                    <a:close/>
                  </a:path>
                </a:pathLst>
              </a:custGeom>
              <a:grpFill/>
              <a:ln w="5978" cap="flat">
                <a:noFill/>
                <a:prstDash val="solid"/>
                <a:miter/>
              </a:ln>
            </p:spPr>
            <p:txBody>
              <a:bodyPr rtlCol="0" anchor="ctr"/>
              <a:lstStyle/>
              <a:p>
                <a:endParaRPr lang="en-GB"/>
              </a:p>
            </p:txBody>
          </p:sp>
        </p:grpSp>
        <p:grpSp>
          <p:nvGrpSpPr>
            <p:cNvPr id="674" name="Graphic 3">
              <a:extLst>
                <a:ext uri="{FF2B5EF4-FFF2-40B4-BE49-F238E27FC236}">
                  <a16:creationId xmlns:a16="http://schemas.microsoft.com/office/drawing/2014/main" id="{8FA7ECB3-B1B9-4FE9-829D-F2C0B3D06865}"/>
                </a:ext>
              </a:extLst>
            </p:cNvPr>
            <p:cNvGrpSpPr/>
            <p:nvPr/>
          </p:nvGrpSpPr>
          <p:grpSpPr>
            <a:xfrm>
              <a:off x="5352140" y="1215089"/>
              <a:ext cx="45683" cy="104830"/>
              <a:chOff x="5352140" y="1215089"/>
              <a:chExt cx="45683" cy="104830"/>
            </a:xfrm>
            <a:grpFill/>
          </p:grpSpPr>
          <p:sp>
            <p:nvSpPr>
              <p:cNvPr id="3367" name="Vrije vorm: vorm 3366">
                <a:extLst>
                  <a:ext uri="{FF2B5EF4-FFF2-40B4-BE49-F238E27FC236}">
                    <a16:creationId xmlns:a16="http://schemas.microsoft.com/office/drawing/2014/main" id="{0EBA4B1A-6BE3-42F0-AFDE-B51C2B15E1EA}"/>
                  </a:ext>
                </a:extLst>
              </p:cNvPr>
              <p:cNvSpPr/>
              <p:nvPr/>
            </p:nvSpPr>
            <p:spPr>
              <a:xfrm>
                <a:off x="5359740" y="1223579"/>
                <a:ext cx="30515" cy="88161"/>
              </a:xfrm>
              <a:custGeom>
                <a:avLst/>
                <a:gdLst>
                  <a:gd name="connsiteX0" fmla="*/ 0 w 30515"/>
                  <a:gd name="connsiteY0" fmla="*/ 920 h 88161"/>
                  <a:gd name="connsiteX1" fmla="*/ 2908 w 30515"/>
                  <a:gd name="connsiteY1" fmla="*/ 0 h 88161"/>
                  <a:gd name="connsiteX2" fmla="*/ 30515 w 30515"/>
                  <a:gd name="connsiteY2" fmla="*/ 87241 h 88161"/>
                  <a:gd name="connsiteX3" fmla="*/ 27607 w 30515"/>
                  <a:gd name="connsiteY3" fmla="*/ 88161 h 88161"/>
                </a:gdLst>
                <a:ahLst/>
                <a:cxnLst>
                  <a:cxn ang="0">
                    <a:pos x="connsiteX0" y="connsiteY0"/>
                  </a:cxn>
                  <a:cxn ang="0">
                    <a:pos x="connsiteX1" y="connsiteY1"/>
                  </a:cxn>
                  <a:cxn ang="0">
                    <a:pos x="connsiteX2" y="connsiteY2"/>
                  </a:cxn>
                  <a:cxn ang="0">
                    <a:pos x="connsiteX3" y="connsiteY3"/>
                  </a:cxn>
                </a:cxnLst>
                <a:rect l="l" t="t" r="r" b="b"/>
                <a:pathLst>
                  <a:path w="30515" h="88161">
                    <a:moveTo>
                      <a:pt x="0" y="920"/>
                    </a:moveTo>
                    <a:lnTo>
                      <a:pt x="2908" y="0"/>
                    </a:lnTo>
                    <a:lnTo>
                      <a:pt x="30515" y="87241"/>
                    </a:lnTo>
                    <a:lnTo>
                      <a:pt x="27607" y="88161"/>
                    </a:lnTo>
                    <a:close/>
                  </a:path>
                </a:pathLst>
              </a:custGeom>
              <a:grpFill/>
              <a:ln w="5978" cap="flat">
                <a:noFill/>
                <a:prstDash val="solid"/>
                <a:miter/>
              </a:ln>
            </p:spPr>
            <p:txBody>
              <a:bodyPr rtlCol="0" anchor="ctr"/>
              <a:lstStyle/>
              <a:p>
                <a:endParaRPr lang="en-GB"/>
              </a:p>
            </p:txBody>
          </p:sp>
          <p:sp>
            <p:nvSpPr>
              <p:cNvPr id="3368" name="Vrije vorm: vorm 3367">
                <a:extLst>
                  <a:ext uri="{FF2B5EF4-FFF2-40B4-BE49-F238E27FC236}">
                    <a16:creationId xmlns:a16="http://schemas.microsoft.com/office/drawing/2014/main" id="{9BC423EC-DC83-4FC7-89FE-CCC453CCFEE1}"/>
                  </a:ext>
                </a:extLst>
              </p:cNvPr>
              <p:cNvSpPr/>
              <p:nvPr/>
            </p:nvSpPr>
            <p:spPr>
              <a:xfrm>
                <a:off x="5379477" y="1301511"/>
                <a:ext cx="18345" cy="18409"/>
              </a:xfrm>
              <a:custGeom>
                <a:avLst/>
                <a:gdLst>
                  <a:gd name="connsiteX0" fmla="*/ 17905 w 18345"/>
                  <a:gd name="connsiteY0" fmla="*/ 6453 h 18409"/>
                  <a:gd name="connsiteX1" fmla="*/ 11984 w 18345"/>
                  <a:gd name="connsiteY1" fmla="*/ 17996 h 18409"/>
                  <a:gd name="connsiteX2" fmla="*/ 441 w 18345"/>
                  <a:gd name="connsiteY2" fmla="*/ 11956 h 18409"/>
                  <a:gd name="connsiteX3" fmla="*/ 6422 w 18345"/>
                  <a:gd name="connsiteY3" fmla="*/ 413 h 18409"/>
                  <a:gd name="connsiteX4" fmla="*/ 17905 w 18345"/>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9">
                    <a:moveTo>
                      <a:pt x="17905" y="6453"/>
                    </a:moveTo>
                    <a:cubicBezTo>
                      <a:pt x="19460" y="11298"/>
                      <a:pt x="16768" y="16501"/>
                      <a:pt x="11984" y="17996"/>
                    </a:cubicBezTo>
                    <a:cubicBezTo>
                      <a:pt x="7139" y="19491"/>
                      <a:pt x="1996" y="16800"/>
                      <a:pt x="441" y="11956"/>
                    </a:cubicBezTo>
                    <a:cubicBezTo>
                      <a:pt x="-1114" y="7111"/>
                      <a:pt x="1577" y="1908"/>
                      <a:pt x="6422" y="413"/>
                    </a:cubicBezTo>
                    <a:cubicBezTo>
                      <a:pt x="11206" y="-1082"/>
                      <a:pt x="16409" y="1609"/>
                      <a:pt x="17905" y="6453"/>
                    </a:cubicBezTo>
                    <a:close/>
                  </a:path>
                </a:pathLst>
              </a:custGeom>
              <a:grpFill/>
              <a:ln w="5978" cap="flat">
                <a:noFill/>
                <a:prstDash val="solid"/>
                <a:miter/>
              </a:ln>
            </p:spPr>
            <p:txBody>
              <a:bodyPr rtlCol="0" anchor="ctr"/>
              <a:lstStyle/>
              <a:p>
                <a:endParaRPr lang="en-GB"/>
              </a:p>
            </p:txBody>
          </p:sp>
          <p:sp>
            <p:nvSpPr>
              <p:cNvPr id="3369" name="Vrije vorm: vorm 3368">
                <a:extLst>
                  <a:ext uri="{FF2B5EF4-FFF2-40B4-BE49-F238E27FC236}">
                    <a16:creationId xmlns:a16="http://schemas.microsoft.com/office/drawing/2014/main" id="{619401D4-B1D5-4017-9C0D-1E90DDBD0AF0}"/>
                  </a:ext>
                </a:extLst>
              </p:cNvPr>
              <p:cNvSpPr/>
              <p:nvPr/>
            </p:nvSpPr>
            <p:spPr>
              <a:xfrm>
                <a:off x="5352140" y="1215089"/>
                <a:ext cx="18351" cy="18409"/>
              </a:xfrm>
              <a:custGeom>
                <a:avLst/>
                <a:gdLst>
                  <a:gd name="connsiteX0" fmla="*/ 17910 w 18351"/>
                  <a:gd name="connsiteY0" fmla="*/ 6453 h 18409"/>
                  <a:gd name="connsiteX1" fmla="*/ 6368 w 18351"/>
                  <a:gd name="connsiteY1" fmla="*/ 413 h 18409"/>
                  <a:gd name="connsiteX2" fmla="*/ 447 w 18351"/>
                  <a:gd name="connsiteY2" fmla="*/ 11956 h 18409"/>
                  <a:gd name="connsiteX3" fmla="*/ 11930 w 18351"/>
                  <a:gd name="connsiteY3" fmla="*/ 17996 h 18409"/>
                  <a:gd name="connsiteX4" fmla="*/ 17910 w 18351"/>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09">
                    <a:moveTo>
                      <a:pt x="17910" y="6453"/>
                    </a:moveTo>
                    <a:cubicBezTo>
                      <a:pt x="16355" y="1609"/>
                      <a:pt x="11212" y="-1082"/>
                      <a:pt x="6368" y="413"/>
                    </a:cubicBezTo>
                    <a:cubicBezTo>
                      <a:pt x="1523" y="1908"/>
                      <a:pt x="-1108" y="7111"/>
                      <a:pt x="447" y="11956"/>
                    </a:cubicBezTo>
                    <a:cubicBezTo>
                      <a:pt x="2002" y="16800"/>
                      <a:pt x="7145" y="19491"/>
                      <a:pt x="11930" y="17996"/>
                    </a:cubicBezTo>
                    <a:cubicBezTo>
                      <a:pt x="16774" y="16501"/>
                      <a:pt x="19465" y="11358"/>
                      <a:pt x="17910" y="6453"/>
                    </a:cubicBezTo>
                    <a:close/>
                  </a:path>
                </a:pathLst>
              </a:custGeom>
              <a:grpFill/>
              <a:ln w="5978" cap="flat">
                <a:noFill/>
                <a:prstDash val="solid"/>
                <a:miter/>
              </a:ln>
            </p:spPr>
            <p:txBody>
              <a:bodyPr rtlCol="0" anchor="ctr"/>
              <a:lstStyle/>
              <a:p>
                <a:endParaRPr lang="en-GB"/>
              </a:p>
            </p:txBody>
          </p:sp>
        </p:grpSp>
        <p:grpSp>
          <p:nvGrpSpPr>
            <p:cNvPr id="675" name="Graphic 3">
              <a:extLst>
                <a:ext uri="{FF2B5EF4-FFF2-40B4-BE49-F238E27FC236}">
                  <a16:creationId xmlns:a16="http://schemas.microsoft.com/office/drawing/2014/main" id="{1EC100F2-7901-4B55-BE2A-5FF0D809F27F}"/>
                </a:ext>
              </a:extLst>
            </p:cNvPr>
            <p:cNvGrpSpPr/>
            <p:nvPr/>
          </p:nvGrpSpPr>
          <p:grpSpPr>
            <a:xfrm>
              <a:off x="6647851" y="5141094"/>
              <a:ext cx="52830" cy="117827"/>
              <a:chOff x="6647851" y="5141094"/>
              <a:chExt cx="52830" cy="117827"/>
            </a:xfrm>
            <a:grpFill/>
          </p:grpSpPr>
          <p:sp>
            <p:nvSpPr>
              <p:cNvPr id="3364" name="Vrije vorm: vorm 3363">
                <a:extLst>
                  <a:ext uri="{FF2B5EF4-FFF2-40B4-BE49-F238E27FC236}">
                    <a16:creationId xmlns:a16="http://schemas.microsoft.com/office/drawing/2014/main" id="{7E8EB3E2-9A00-4F1D-8EBC-EBC9A66ECD28}"/>
                  </a:ext>
                </a:extLst>
              </p:cNvPr>
              <p:cNvSpPr/>
              <p:nvPr/>
            </p:nvSpPr>
            <p:spPr>
              <a:xfrm>
                <a:off x="6655080" y="5149499"/>
                <a:ext cx="37806" cy="101248"/>
              </a:xfrm>
              <a:custGeom>
                <a:avLst/>
                <a:gdLst>
                  <a:gd name="connsiteX0" fmla="*/ 0 w 37806"/>
                  <a:gd name="connsiteY0" fmla="*/ 1004 h 101248"/>
                  <a:gd name="connsiteX1" fmla="*/ 2880 w 37806"/>
                  <a:gd name="connsiteY1" fmla="*/ 0 h 101248"/>
                  <a:gd name="connsiteX2" fmla="*/ 37806 w 37806"/>
                  <a:gd name="connsiteY2" fmla="*/ 100245 h 101248"/>
                  <a:gd name="connsiteX3" fmla="*/ 34926 w 37806"/>
                  <a:gd name="connsiteY3" fmla="*/ 101248 h 101248"/>
                </a:gdLst>
                <a:ahLst/>
                <a:cxnLst>
                  <a:cxn ang="0">
                    <a:pos x="connsiteX0" y="connsiteY0"/>
                  </a:cxn>
                  <a:cxn ang="0">
                    <a:pos x="connsiteX1" y="connsiteY1"/>
                  </a:cxn>
                  <a:cxn ang="0">
                    <a:pos x="connsiteX2" y="connsiteY2"/>
                  </a:cxn>
                  <a:cxn ang="0">
                    <a:pos x="connsiteX3" y="connsiteY3"/>
                  </a:cxn>
                </a:cxnLst>
                <a:rect l="l" t="t" r="r" b="b"/>
                <a:pathLst>
                  <a:path w="37806" h="101248">
                    <a:moveTo>
                      <a:pt x="0" y="1004"/>
                    </a:moveTo>
                    <a:lnTo>
                      <a:pt x="2880" y="0"/>
                    </a:lnTo>
                    <a:lnTo>
                      <a:pt x="37806" y="100245"/>
                    </a:lnTo>
                    <a:lnTo>
                      <a:pt x="34926" y="101248"/>
                    </a:lnTo>
                    <a:close/>
                  </a:path>
                </a:pathLst>
              </a:custGeom>
              <a:grpFill/>
              <a:ln w="5978" cap="flat">
                <a:noFill/>
                <a:prstDash val="solid"/>
                <a:miter/>
              </a:ln>
            </p:spPr>
            <p:txBody>
              <a:bodyPr rtlCol="0" anchor="ctr"/>
              <a:lstStyle/>
              <a:p>
                <a:endParaRPr lang="en-GB"/>
              </a:p>
            </p:txBody>
          </p:sp>
          <p:sp>
            <p:nvSpPr>
              <p:cNvPr id="3365" name="Vrije vorm: vorm 3364">
                <a:extLst>
                  <a:ext uri="{FF2B5EF4-FFF2-40B4-BE49-F238E27FC236}">
                    <a16:creationId xmlns:a16="http://schemas.microsoft.com/office/drawing/2014/main" id="{A463BF83-833D-444E-B406-842F3C3C90FE}"/>
                  </a:ext>
                </a:extLst>
              </p:cNvPr>
              <p:cNvSpPr/>
              <p:nvPr/>
            </p:nvSpPr>
            <p:spPr>
              <a:xfrm>
                <a:off x="6682359" y="5240494"/>
                <a:ext cx="18322" cy="18428"/>
              </a:xfrm>
              <a:custGeom>
                <a:avLst/>
                <a:gdLst>
                  <a:gd name="connsiteX0" fmla="*/ 17803 w 18322"/>
                  <a:gd name="connsiteY0" fmla="*/ 6194 h 18428"/>
                  <a:gd name="connsiteX1" fmla="*/ 12181 w 18322"/>
                  <a:gd name="connsiteY1" fmla="*/ 17916 h 18428"/>
                  <a:gd name="connsiteX2" fmla="*/ 519 w 18322"/>
                  <a:gd name="connsiteY2" fmla="*/ 12234 h 18428"/>
                  <a:gd name="connsiteX3" fmla="*/ 6141 w 18322"/>
                  <a:gd name="connsiteY3" fmla="*/ 512 h 18428"/>
                  <a:gd name="connsiteX4" fmla="*/ 17803 w 18322"/>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17803" y="6194"/>
                    </a:moveTo>
                    <a:cubicBezTo>
                      <a:pt x="19478" y="10978"/>
                      <a:pt x="16966" y="16241"/>
                      <a:pt x="12181" y="17916"/>
                    </a:cubicBezTo>
                    <a:cubicBezTo>
                      <a:pt x="7397" y="19591"/>
                      <a:pt x="2193" y="17019"/>
                      <a:pt x="519" y="12234"/>
                    </a:cubicBezTo>
                    <a:cubicBezTo>
                      <a:pt x="-1156" y="7450"/>
                      <a:pt x="1356" y="2187"/>
                      <a:pt x="6141" y="512"/>
                    </a:cubicBezTo>
                    <a:cubicBezTo>
                      <a:pt x="10925" y="-1162"/>
                      <a:pt x="16129" y="1409"/>
                      <a:pt x="17803" y="6194"/>
                    </a:cubicBezTo>
                    <a:close/>
                  </a:path>
                </a:pathLst>
              </a:custGeom>
              <a:grpFill/>
              <a:ln w="5978" cap="flat">
                <a:noFill/>
                <a:prstDash val="solid"/>
                <a:miter/>
              </a:ln>
            </p:spPr>
            <p:txBody>
              <a:bodyPr rtlCol="0" anchor="ctr"/>
              <a:lstStyle/>
              <a:p>
                <a:endParaRPr lang="en-GB"/>
              </a:p>
            </p:txBody>
          </p:sp>
          <p:sp>
            <p:nvSpPr>
              <p:cNvPr id="3366" name="Vrije vorm: vorm 3365">
                <a:extLst>
                  <a:ext uri="{FF2B5EF4-FFF2-40B4-BE49-F238E27FC236}">
                    <a16:creationId xmlns:a16="http://schemas.microsoft.com/office/drawing/2014/main" id="{66719BD6-EE54-4130-93D3-3EBFEDE615D2}"/>
                  </a:ext>
                </a:extLst>
              </p:cNvPr>
              <p:cNvSpPr/>
              <p:nvPr/>
            </p:nvSpPr>
            <p:spPr>
              <a:xfrm>
                <a:off x="6647851" y="5141094"/>
                <a:ext cx="18321" cy="18428"/>
              </a:xfrm>
              <a:custGeom>
                <a:avLst/>
                <a:gdLst>
                  <a:gd name="connsiteX0" fmla="*/ 17803 w 18321"/>
                  <a:gd name="connsiteY0" fmla="*/ 6194 h 18428"/>
                  <a:gd name="connsiteX1" fmla="*/ 6141 w 18321"/>
                  <a:gd name="connsiteY1" fmla="*/ 512 h 18428"/>
                  <a:gd name="connsiteX2" fmla="*/ 519 w 18321"/>
                  <a:gd name="connsiteY2" fmla="*/ 12234 h 18428"/>
                  <a:gd name="connsiteX3" fmla="*/ 12181 w 18321"/>
                  <a:gd name="connsiteY3" fmla="*/ 17916 h 18428"/>
                  <a:gd name="connsiteX4" fmla="*/ 17803 w 18321"/>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7803" y="6194"/>
                    </a:moveTo>
                    <a:cubicBezTo>
                      <a:pt x="16128" y="1409"/>
                      <a:pt x="10925" y="-1162"/>
                      <a:pt x="6141" y="512"/>
                    </a:cubicBezTo>
                    <a:cubicBezTo>
                      <a:pt x="1356" y="2187"/>
                      <a:pt x="-1156" y="7390"/>
                      <a:pt x="519" y="12234"/>
                    </a:cubicBezTo>
                    <a:cubicBezTo>
                      <a:pt x="2194" y="17019"/>
                      <a:pt x="7397" y="19591"/>
                      <a:pt x="12181" y="17916"/>
                    </a:cubicBezTo>
                    <a:cubicBezTo>
                      <a:pt x="16966" y="16241"/>
                      <a:pt x="19478" y="11038"/>
                      <a:pt x="17803" y="6194"/>
                    </a:cubicBezTo>
                    <a:close/>
                  </a:path>
                </a:pathLst>
              </a:custGeom>
              <a:grpFill/>
              <a:ln w="5978" cap="flat">
                <a:noFill/>
                <a:prstDash val="solid"/>
                <a:miter/>
              </a:ln>
            </p:spPr>
            <p:txBody>
              <a:bodyPr rtlCol="0" anchor="ctr"/>
              <a:lstStyle/>
              <a:p>
                <a:endParaRPr lang="en-GB"/>
              </a:p>
            </p:txBody>
          </p:sp>
        </p:grpSp>
        <p:grpSp>
          <p:nvGrpSpPr>
            <p:cNvPr id="676" name="Graphic 3">
              <a:extLst>
                <a:ext uri="{FF2B5EF4-FFF2-40B4-BE49-F238E27FC236}">
                  <a16:creationId xmlns:a16="http://schemas.microsoft.com/office/drawing/2014/main" id="{A9637F16-8CF2-47FE-9E72-CF78B8FC4C77}"/>
                </a:ext>
              </a:extLst>
            </p:cNvPr>
            <p:cNvGrpSpPr/>
            <p:nvPr/>
          </p:nvGrpSpPr>
          <p:grpSpPr>
            <a:xfrm>
              <a:off x="6598211" y="4998215"/>
              <a:ext cx="61921" cy="143903"/>
              <a:chOff x="6598211" y="4998215"/>
              <a:chExt cx="61921" cy="143903"/>
            </a:xfrm>
            <a:grpFill/>
          </p:grpSpPr>
          <p:sp>
            <p:nvSpPr>
              <p:cNvPr id="3361" name="Vrije vorm: vorm 3360">
                <a:extLst>
                  <a:ext uri="{FF2B5EF4-FFF2-40B4-BE49-F238E27FC236}">
                    <a16:creationId xmlns:a16="http://schemas.microsoft.com/office/drawing/2014/main" id="{5015F8C5-F117-40C8-8825-4942E78D7057}"/>
                  </a:ext>
                </a:extLst>
              </p:cNvPr>
              <p:cNvSpPr/>
              <p:nvPr/>
            </p:nvSpPr>
            <p:spPr>
              <a:xfrm>
                <a:off x="6605546" y="5006206"/>
                <a:ext cx="46797" cy="127308"/>
              </a:xfrm>
              <a:custGeom>
                <a:avLst/>
                <a:gdLst>
                  <a:gd name="connsiteX0" fmla="*/ 0 w 46797"/>
                  <a:gd name="connsiteY0" fmla="*/ 1002 h 127308"/>
                  <a:gd name="connsiteX1" fmla="*/ 2881 w 46797"/>
                  <a:gd name="connsiteY1" fmla="*/ 0 h 127308"/>
                  <a:gd name="connsiteX2" fmla="*/ 46798 w 46797"/>
                  <a:gd name="connsiteY2" fmla="*/ 126307 h 127308"/>
                  <a:gd name="connsiteX3" fmla="*/ 43917 w 46797"/>
                  <a:gd name="connsiteY3" fmla="*/ 127308 h 127308"/>
                </a:gdLst>
                <a:ahLst/>
                <a:cxnLst>
                  <a:cxn ang="0">
                    <a:pos x="connsiteX0" y="connsiteY0"/>
                  </a:cxn>
                  <a:cxn ang="0">
                    <a:pos x="connsiteX1" y="connsiteY1"/>
                  </a:cxn>
                  <a:cxn ang="0">
                    <a:pos x="connsiteX2" y="connsiteY2"/>
                  </a:cxn>
                  <a:cxn ang="0">
                    <a:pos x="connsiteX3" y="connsiteY3"/>
                  </a:cxn>
                </a:cxnLst>
                <a:rect l="l" t="t" r="r" b="b"/>
                <a:pathLst>
                  <a:path w="46797" h="127308">
                    <a:moveTo>
                      <a:pt x="0" y="1002"/>
                    </a:moveTo>
                    <a:lnTo>
                      <a:pt x="2881" y="0"/>
                    </a:lnTo>
                    <a:lnTo>
                      <a:pt x="46798" y="126307"/>
                    </a:lnTo>
                    <a:lnTo>
                      <a:pt x="43917" y="127308"/>
                    </a:lnTo>
                    <a:close/>
                  </a:path>
                </a:pathLst>
              </a:custGeom>
              <a:grpFill/>
              <a:ln w="5978" cap="flat">
                <a:noFill/>
                <a:prstDash val="solid"/>
                <a:miter/>
              </a:ln>
            </p:spPr>
            <p:txBody>
              <a:bodyPr rtlCol="0" anchor="ctr"/>
              <a:lstStyle/>
              <a:p>
                <a:endParaRPr lang="en-GB"/>
              </a:p>
            </p:txBody>
          </p:sp>
          <p:sp>
            <p:nvSpPr>
              <p:cNvPr id="3362" name="Vrije vorm: vorm 3361">
                <a:extLst>
                  <a:ext uri="{FF2B5EF4-FFF2-40B4-BE49-F238E27FC236}">
                    <a16:creationId xmlns:a16="http://schemas.microsoft.com/office/drawing/2014/main" id="{A7D5FE7D-FEE8-4EC9-A502-BD30043D2629}"/>
                  </a:ext>
                </a:extLst>
              </p:cNvPr>
              <p:cNvSpPr/>
              <p:nvPr/>
            </p:nvSpPr>
            <p:spPr>
              <a:xfrm>
                <a:off x="6641810" y="5123690"/>
                <a:ext cx="18322" cy="18428"/>
              </a:xfrm>
              <a:custGeom>
                <a:avLst/>
                <a:gdLst>
                  <a:gd name="connsiteX0" fmla="*/ 17803 w 18322"/>
                  <a:gd name="connsiteY0" fmla="*/ 6194 h 18428"/>
                  <a:gd name="connsiteX1" fmla="*/ 12181 w 18322"/>
                  <a:gd name="connsiteY1" fmla="*/ 17916 h 18428"/>
                  <a:gd name="connsiteX2" fmla="*/ 519 w 18322"/>
                  <a:gd name="connsiteY2" fmla="*/ 12234 h 18428"/>
                  <a:gd name="connsiteX3" fmla="*/ 6141 w 18322"/>
                  <a:gd name="connsiteY3" fmla="*/ 512 h 18428"/>
                  <a:gd name="connsiteX4" fmla="*/ 17803 w 18322"/>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17803" y="6194"/>
                    </a:moveTo>
                    <a:cubicBezTo>
                      <a:pt x="19478" y="10978"/>
                      <a:pt x="16966" y="16242"/>
                      <a:pt x="12181" y="17916"/>
                    </a:cubicBezTo>
                    <a:cubicBezTo>
                      <a:pt x="7397" y="19591"/>
                      <a:pt x="2194" y="17019"/>
                      <a:pt x="519" y="12234"/>
                    </a:cubicBezTo>
                    <a:cubicBezTo>
                      <a:pt x="-1156" y="7450"/>
                      <a:pt x="1356" y="2187"/>
                      <a:pt x="6141" y="512"/>
                    </a:cubicBezTo>
                    <a:cubicBezTo>
                      <a:pt x="10866" y="-1163"/>
                      <a:pt x="16129" y="1409"/>
                      <a:pt x="17803" y="6194"/>
                    </a:cubicBezTo>
                    <a:close/>
                  </a:path>
                </a:pathLst>
              </a:custGeom>
              <a:grpFill/>
              <a:ln w="5978" cap="flat">
                <a:noFill/>
                <a:prstDash val="solid"/>
                <a:miter/>
              </a:ln>
            </p:spPr>
            <p:txBody>
              <a:bodyPr rtlCol="0" anchor="ctr"/>
              <a:lstStyle/>
              <a:p>
                <a:endParaRPr lang="en-GB"/>
              </a:p>
            </p:txBody>
          </p:sp>
          <p:sp>
            <p:nvSpPr>
              <p:cNvPr id="3363" name="Vrije vorm: vorm 3362">
                <a:extLst>
                  <a:ext uri="{FF2B5EF4-FFF2-40B4-BE49-F238E27FC236}">
                    <a16:creationId xmlns:a16="http://schemas.microsoft.com/office/drawing/2014/main" id="{886FD9F9-62DC-476C-998E-5E5FAB278321}"/>
                  </a:ext>
                </a:extLst>
              </p:cNvPr>
              <p:cNvSpPr/>
              <p:nvPr/>
            </p:nvSpPr>
            <p:spPr>
              <a:xfrm>
                <a:off x="6598211" y="4998215"/>
                <a:ext cx="18322" cy="18428"/>
              </a:xfrm>
              <a:custGeom>
                <a:avLst/>
                <a:gdLst>
                  <a:gd name="connsiteX0" fmla="*/ 17803 w 18322"/>
                  <a:gd name="connsiteY0" fmla="*/ 6194 h 18428"/>
                  <a:gd name="connsiteX1" fmla="*/ 6141 w 18322"/>
                  <a:gd name="connsiteY1" fmla="*/ 512 h 18428"/>
                  <a:gd name="connsiteX2" fmla="*/ 519 w 18322"/>
                  <a:gd name="connsiteY2" fmla="*/ 12234 h 18428"/>
                  <a:gd name="connsiteX3" fmla="*/ 12181 w 18322"/>
                  <a:gd name="connsiteY3" fmla="*/ 17916 h 18428"/>
                  <a:gd name="connsiteX4" fmla="*/ 17803 w 18322"/>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17803" y="6194"/>
                    </a:moveTo>
                    <a:cubicBezTo>
                      <a:pt x="16129" y="1409"/>
                      <a:pt x="10925" y="-1162"/>
                      <a:pt x="6141" y="512"/>
                    </a:cubicBezTo>
                    <a:cubicBezTo>
                      <a:pt x="1356" y="2187"/>
                      <a:pt x="-1156" y="7390"/>
                      <a:pt x="519" y="12234"/>
                    </a:cubicBezTo>
                    <a:cubicBezTo>
                      <a:pt x="2193" y="17019"/>
                      <a:pt x="7397" y="19591"/>
                      <a:pt x="12181" y="17916"/>
                    </a:cubicBezTo>
                    <a:cubicBezTo>
                      <a:pt x="16966" y="16241"/>
                      <a:pt x="19478" y="10978"/>
                      <a:pt x="17803" y="6194"/>
                    </a:cubicBezTo>
                    <a:close/>
                  </a:path>
                </a:pathLst>
              </a:custGeom>
              <a:grpFill/>
              <a:ln w="5978" cap="flat">
                <a:noFill/>
                <a:prstDash val="solid"/>
                <a:miter/>
              </a:ln>
            </p:spPr>
            <p:txBody>
              <a:bodyPr rtlCol="0" anchor="ctr"/>
              <a:lstStyle/>
              <a:p>
                <a:endParaRPr lang="en-GB"/>
              </a:p>
            </p:txBody>
          </p:sp>
        </p:grpSp>
        <p:grpSp>
          <p:nvGrpSpPr>
            <p:cNvPr id="677" name="Graphic 3">
              <a:extLst>
                <a:ext uri="{FF2B5EF4-FFF2-40B4-BE49-F238E27FC236}">
                  <a16:creationId xmlns:a16="http://schemas.microsoft.com/office/drawing/2014/main" id="{5180A97F-9E06-4E7B-B9F1-A171A73553FC}"/>
                </a:ext>
              </a:extLst>
            </p:cNvPr>
            <p:cNvGrpSpPr/>
            <p:nvPr/>
          </p:nvGrpSpPr>
          <p:grpSpPr>
            <a:xfrm>
              <a:off x="5384536" y="1319220"/>
              <a:ext cx="140821" cy="505162"/>
              <a:chOff x="5384536" y="1319220"/>
              <a:chExt cx="140821" cy="505162"/>
            </a:xfrm>
            <a:grpFill/>
          </p:grpSpPr>
          <p:sp>
            <p:nvSpPr>
              <p:cNvPr id="3358" name="Vrije vorm: vorm 3357">
                <a:extLst>
                  <a:ext uri="{FF2B5EF4-FFF2-40B4-BE49-F238E27FC236}">
                    <a16:creationId xmlns:a16="http://schemas.microsoft.com/office/drawing/2014/main" id="{DBE34682-32FD-4C89-9428-8A7B190D69DE}"/>
                  </a:ext>
                </a:extLst>
              </p:cNvPr>
              <p:cNvSpPr/>
              <p:nvPr/>
            </p:nvSpPr>
            <p:spPr>
              <a:xfrm>
                <a:off x="5392333" y="1327542"/>
                <a:ext cx="125691" cy="488359"/>
              </a:xfrm>
              <a:custGeom>
                <a:avLst/>
                <a:gdLst>
                  <a:gd name="connsiteX0" fmla="*/ 0 w 125691"/>
                  <a:gd name="connsiteY0" fmla="*/ 745 h 488359"/>
                  <a:gd name="connsiteX1" fmla="*/ 2958 w 125691"/>
                  <a:gd name="connsiteY1" fmla="*/ 0 h 488359"/>
                  <a:gd name="connsiteX2" fmla="*/ 125691 w 125691"/>
                  <a:gd name="connsiteY2" fmla="*/ 487615 h 488359"/>
                  <a:gd name="connsiteX3" fmla="*/ 122733 w 125691"/>
                  <a:gd name="connsiteY3" fmla="*/ 488359 h 488359"/>
                </a:gdLst>
                <a:ahLst/>
                <a:cxnLst>
                  <a:cxn ang="0">
                    <a:pos x="connsiteX0" y="connsiteY0"/>
                  </a:cxn>
                  <a:cxn ang="0">
                    <a:pos x="connsiteX1" y="connsiteY1"/>
                  </a:cxn>
                  <a:cxn ang="0">
                    <a:pos x="connsiteX2" y="connsiteY2"/>
                  </a:cxn>
                  <a:cxn ang="0">
                    <a:pos x="connsiteX3" y="connsiteY3"/>
                  </a:cxn>
                </a:cxnLst>
                <a:rect l="l" t="t" r="r" b="b"/>
                <a:pathLst>
                  <a:path w="125691" h="488359">
                    <a:moveTo>
                      <a:pt x="0" y="745"/>
                    </a:moveTo>
                    <a:lnTo>
                      <a:pt x="2958" y="0"/>
                    </a:lnTo>
                    <a:lnTo>
                      <a:pt x="125691" y="487615"/>
                    </a:lnTo>
                    <a:lnTo>
                      <a:pt x="122733" y="488359"/>
                    </a:lnTo>
                    <a:close/>
                  </a:path>
                </a:pathLst>
              </a:custGeom>
              <a:grpFill/>
              <a:ln w="5978" cap="flat">
                <a:noFill/>
                <a:prstDash val="solid"/>
                <a:miter/>
              </a:ln>
            </p:spPr>
            <p:txBody>
              <a:bodyPr rtlCol="0" anchor="ctr"/>
              <a:lstStyle/>
              <a:p>
                <a:endParaRPr lang="en-GB"/>
              </a:p>
            </p:txBody>
          </p:sp>
          <p:sp>
            <p:nvSpPr>
              <p:cNvPr id="3359" name="Vrije vorm: vorm 3358">
                <a:extLst>
                  <a:ext uri="{FF2B5EF4-FFF2-40B4-BE49-F238E27FC236}">
                    <a16:creationId xmlns:a16="http://schemas.microsoft.com/office/drawing/2014/main" id="{22D2C29F-0F8C-4577-8383-224936EBAA9B}"/>
                  </a:ext>
                </a:extLst>
              </p:cNvPr>
              <p:cNvSpPr/>
              <p:nvPr/>
            </p:nvSpPr>
            <p:spPr>
              <a:xfrm>
                <a:off x="5507021" y="1805932"/>
                <a:ext cx="18335" cy="18451"/>
              </a:xfrm>
              <a:custGeom>
                <a:avLst/>
                <a:gdLst>
                  <a:gd name="connsiteX0" fmla="*/ 18049 w 18335"/>
                  <a:gd name="connsiteY0" fmla="*/ 6985 h 18451"/>
                  <a:gd name="connsiteX1" fmla="*/ 11411 w 18335"/>
                  <a:gd name="connsiteY1" fmla="*/ 18169 h 18451"/>
                  <a:gd name="connsiteX2" fmla="*/ 287 w 18335"/>
                  <a:gd name="connsiteY2" fmla="*/ 11470 h 18451"/>
                  <a:gd name="connsiteX3" fmla="*/ 6925 w 18335"/>
                  <a:gd name="connsiteY3" fmla="*/ 286 h 18451"/>
                  <a:gd name="connsiteX4" fmla="*/ 18049 w 18335"/>
                  <a:gd name="connsiteY4" fmla="*/ 6985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1">
                    <a:moveTo>
                      <a:pt x="18049" y="6985"/>
                    </a:moveTo>
                    <a:cubicBezTo>
                      <a:pt x="19305" y="11949"/>
                      <a:pt x="16315" y="16913"/>
                      <a:pt x="11411" y="18169"/>
                    </a:cubicBezTo>
                    <a:cubicBezTo>
                      <a:pt x="6507" y="19425"/>
                      <a:pt x="1542" y="16375"/>
                      <a:pt x="287" y="11470"/>
                    </a:cubicBezTo>
                    <a:cubicBezTo>
                      <a:pt x="-969" y="6506"/>
                      <a:pt x="2021" y="1542"/>
                      <a:pt x="6925" y="286"/>
                    </a:cubicBezTo>
                    <a:cubicBezTo>
                      <a:pt x="11829" y="-970"/>
                      <a:pt x="16794" y="2021"/>
                      <a:pt x="18049" y="6985"/>
                    </a:cubicBezTo>
                    <a:close/>
                  </a:path>
                </a:pathLst>
              </a:custGeom>
              <a:grpFill/>
              <a:ln w="5978" cap="flat">
                <a:noFill/>
                <a:prstDash val="solid"/>
                <a:miter/>
              </a:ln>
            </p:spPr>
            <p:txBody>
              <a:bodyPr rtlCol="0" anchor="ctr"/>
              <a:lstStyle/>
              <a:p>
                <a:endParaRPr lang="en-GB"/>
              </a:p>
            </p:txBody>
          </p:sp>
          <p:sp>
            <p:nvSpPr>
              <p:cNvPr id="3360" name="Vrije vorm: vorm 3359">
                <a:extLst>
                  <a:ext uri="{FF2B5EF4-FFF2-40B4-BE49-F238E27FC236}">
                    <a16:creationId xmlns:a16="http://schemas.microsoft.com/office/drawing/2014/main" id="{09CF2C8F-B11F-4E94-BD6C-75116019A43C}"/>
                  </a:ext>
                </a:extLst>
              </p:cNvPr>
              <p:cNvSpPr/>
              <p:nvPr/>
            </p:nvSpPr>
            <p:spPr>
              <a:xfrm>
                <a:off x="5384536" y="1319220"/>
                <a:ext cx="18336" cy="18455"/>
              </a:xfrm>
              <a:custGeom>
                <a:avLst/>
                <a:gdLst>
                  <a:gd name="connsiteX0" fmla="*/ 18049 w 18336"/>
                  <a:gd name="connsiteY0" fmla="*/ 6985 h 18455"/>
                  <a:gd name="connsiteX1" fmla="*/ 6925 w 18336"/>
                  <a:gd name="connsiteY1" fmla="*/ 286 h 18455"/>
                  <a:gd name="connsiteX2" fmla="*/ 287 w 18336"/>
                  <a:gd name="connsiteY2" fmla="*/ 11470 h 18455"/>
                  <a:gd name="connsiteX3" fmla="*/ 11411 w 18336"/>
                  <a:gd name="connsiteY3" fmla="*/ 18169 h 18455"/>
                  <a:gd name="connsiteX4" fmla="*/ 18049 w 18336"/>
                  <a:gd name="connsiteY4" fmla="*/ 6985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5">
                    <a:moveTo>
                      <a:pt x="18049" y="6985"/>
                    </a:moveTo>
                    <a:cubicBezTo>
                      <a:pt x="16793" y="2021"/>
                      <a:pt x="11830" y="-970"/>
                      <a:pt x="6925" y="286"/>
                    </a:cubicBezTo>
                    <a:cubicBezTo>
                      <a:pt x="2021" y="1542"/>
                      <a:pt x="-969" y="6506"/>
                      <a:pt x="287" y="11470"/>
                    </a:cubicBezTo>
                    <a:cubicBezTo>
                      <a:pt x="1543" y="16434"/>
                      <a:pt x="6507" y="19425"/>
                      <a:pt x="11411" y="18169"/>
                    </a:cubicBezTo>
                    <a:cubicBezTo>
                      <a:pt x="16315" y="16913"/>
                      <a:pt x="19306" y="11949"/>
                      <a:pt x="18049" y="6985"/>
                    </a:cubicBezTo>
                    <a:close/>
                  </a:path>
                </a:pathLst>
              </a:custGeom>
              <a:grpFill/>
              <a:ln w="5978" cap="flat">
                <a:noFill/>
                <a:prstDash val="solid"/>
                <a:miter/>
              </a:ln>
            </p:spPr>
            <p:txBody>
              <a:bodyPr rtlCol="0" anchor="ctr"/>
              <a:lstStyle/>
              <a:p>
                <a:endParaRPr lang="en-GB"/>
              </a:p>
            </p:txBody>
          </p:sp>
        </p:grpSp>
        <p:grpSp>
          <p:nvGrpSpPr>
            <p:cNvPr id="678" name="Graphic 3">
              <a:extLst>
                <a:ext uri="{FF2B5EF4-FFF2-40B4-BE49-F238E27FC236}">
                  <a16:creationId xmlns:a16="http://schemas.microsoft.com/office/drawing/2014/main" id="{C61387CE-8993-41CB-A4EB-3BF4AF89E271}"/>
                </a:ext>
              </a:extLst>
            </p:cNvPr>
            <p:cNvGrpSpPr/>
            <p:nvPr/>
          </p:nvGrpSpPr>
          <p:grpSpPr>
            <a:xfrm>
              <a:off x="6597482" y="4998440"/>
              <a:ext cx="135984" cy="474665"/>
              <a:chOff x="6597482" y="4998440"/>
              <a:chExt cx="135984" cy="474665"/>
            </a:xfrm>
            <a:grpFill/>
          </p:grpSpPr>
          <p:sp>
            <p:nvSpPr>
              <p:cNvPr id="3355" name="Vrije vorm: vorm 3354">
                <a:extLst>
                  <a:ext uri="{FF2B5EF4-FFF2-40B4-BE49-F238E27FC236}">
                    <a16:creationId xmlns:a16="http://schemas.microsoft.com/office/drawing/2014/main" id="{D543EEDB-9396-481F-AFF8-E2A2B08533FF}"/>
                  </a:ext>
                </a:extLst>
              </p:cNvPr>
              <p:cNvSpPr/>
              <p:nvPr/>
            </p:nvSpPr>
            <p:spPr>
              <a:xfrm>
                <a:off x="6604995" y="5006411"/>
                <a:ext cx="120841" cy="457913"/>
              </a:xfrm>
              <a:custGeom>
                <a:avLst/>
                <a:gdLst>
                  <a:gd name="connsiteX0" fmla="*/ 0 w 120841"/>
                  <a:gd name="connsiteY0" fmla="*/ 762 h 457913"/>
                  <a:gd name="connsiteX1" fmla="*/ 2954 w 120841"/>
                  <a:gd name="connsiteY1" fmla="*/ 0 h 457913"/>
                  <a:gd name="connsiteX2" fmla="*/ 120842 w 120841"/>
                  <a:gd name="connsiteY2" fmla="*/ 457152 h 457913"/>
                  <a:gd name="connsiteX3" fmla="*/ 117888 w 120841"/>
                  <a:gd name="connsiteY3" fmla="*/ 457914 h 457913"/>
                </a:gdLst>
                <a:ahLst/>
                <a:cxnLst>
                  <a:cxn ang="0">
                    <a:pos x="connsiteX0" y="connsiteY0"/>
                  </a:cxn>
                  <a:cxn ang="0">
                    <a:pos x="connsiteX1" y="connsiteY1"/>
                  </a:cxn>
                  <a:cxn ang="0">
                    <a:pos x="connsiteX2" y="connsiteY2"/>
                  </a:cxn>
                  <a:cxn ang="0">
                    <a:pos x="connsiteX3" y="connsiteY3"/>
                  </a:cxn>
                </a:cxnLst>
                <a:rect l="l" t="t" r="r" b="b"/>
                <a:pathLst>
                  <a:path w="120841" h="457913">
                    <a:moveTo>
                      <a:pt x="0" y="762"/>
                    </a:moveTo>
                    <a:lnTo>
                      <a:pt x="2954" y="0"/>
                    </a:lnTo>
                    <a:lnTo>
                      <a:pt x="120842" y="457152"/>
                    </a:lnTo>
                    <a:lnTo>
                      <a:pt x="117888" y="457914"/>
                    </a:lnTo>
                    <a:close/>
                  </a:path>
                </a:pathLst>
              </a:custGeom>
              <a:grpFill/>
              <a:ln w="5978" cap="flat">
                <a:noFill/>
                <a:prstDash val="solid"/>
                <a:miter/>
              </a:ln>
            </p:spPr>
            <p:txBody>
              <a:bodyPr rtlCol="0" anchor="ctr"/>
              <a:lstStyle/>
              <a:p>
                <a:endParaRPr lang="en-GB"/>
              </a:p>
            </p:txBody>
          </p:sp>
          <p:sp>
            <p:nvSpPr>
              <p:cNvPr id="3356" name="Vrije vorm: vorm 3355">
                <a:extLst>
                  <a:ext uri="{FF2B5EF4-FFF2-40B4-BE49-F238E27FC236}">
                    <a16:creationId xmlns:a16="http://schemas.microsoft.com/office/drawing/2014/main" id="{B650F873-9175-434D-B63F-130E140C906C}"/>
                  </a:ext>
                </a:extLst>
              </p:cNvPr>
              <p:cNvSpPr/>
              <p:nvPr/>
            </p:nvSpPr>
            <p:spPr>
              <a:xfrm>
                <a:off x="6597482" y="4998440"/>
                <a:ext cx="18343" cy="18395"/>
              </a:xfrm>
              <a:custGeom>
                <a:avLst/>
                <a:gdLst>
                  <a:gd name="connsiteX0" fmla="*/ 290 w 18343"/>
                  <a:gd name="connsiteY0" fmla="*/ 11471 h 18395"/>
                  <a:gd name="connsiteX1" fmla="*/ 6869 w 18343"/>
                  <a:gd name="connsiteY1" fmla="*/ 287 h 18395"/>
                  <a:gd name="connsiteX2" fmla="*/ 18053 w 18343"/>
                  <a:gd name="connsiteY2" fmla="*/ 6925 h 18395"/>
                  <a:gd name="connsiteX3" fmla="*/ 11475 w 18343"/>
                  <a:gd name="connsiteY3" fmla="*/ 18109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965" y="6567"/>
                      <a:pt x="1965" y="1543"/>
                      <a:pt x="6869" y="287"/>
                    </a:cubicBezTo>
                    <a:cubicBezTo>
                      <a:pt x="11774" y="-969"/>
                      <a:pt x="16797" y="2021"/>
                      <a:pt x="18053" y="6925"/>
                    </a:cubicBezTo>
                    <a:cubicBezTo>
                      <a:pt x="19309" y="11830"/>
                      <a:pt x="16379" y="16853"/>
                      <a:pt x="11475" y="18109"/>
                    </a:cubicBezTo>
                    <a:cubicBezTo>
                      <a:pt x="6571" y="19365"/>
                      <a:pt x="1547" y="16375"/>
                      <a:pt x="290" y="11471"/>
                    </a:cubicBezTo>
                    <a:close/>
                  </a:path>
                </a:pathLst>
              </a:custGeom>
              <a:grpFill/>
              <a:ln w="5978" cap="flat">
                <a:noFill/>
                <a:prstDash val="solid"/>
                <a:miter/>
              </a:ln>
            </p:spPr>
            <p:txBody>
              <a:bodyPr rtlCol="0" anchor="ctr"/>
              <a:lstStyle/>
              <a:p>
                <a:endParaRPr lang="en-GB"/>
              </a:p>
            </p:txBody>
          </p:sp>
          <p:sp>
            <p:nvSpPr>
              <p:cNvPr id="3357" name="Vrije vorm: vorm 3356">
                <a:extLst>
                  <a:ext uri="{FF2B5EF4-FFF2-40B4-BE49-F238E27FC236}">
                    <a16:creationId xmlns:a16="http://schemas.microsoft.com/office/drawing/2014/main" id="{8DBBB63C-B186-4225-98F1-E3B7FDA64539}"/>
                  </a:ext>
                </a:extLst>
              </p:cNvPr>
              <p:cNvSpPr/>
              <p:nvPr/>
            </p:nvSpPr>
            <p:spPr>
              <a:xfrm>
                <a:off x="6715123" y="5454710"/>
                <a:ext cx="18343" cy="18395"/>
              </a:xfrm>
              <a:custGeom>
                <a:avLst/>
                <a:gdLst>
                  <a:gd name="connsiteX0" fmla="*/ 291 w 18343"/>
                  <a:gd name="connsiteY0" fmla="*/ 11471 h 18395"/>
                  <a:gd name="connsiteX1" fmla="*/ 11475 w 18343"/>
                  <a:gd name="connsiteY1" fmla="*/ 18109 h 18395"/>
                  <a:gd name="connsiteX2" fmla="*/ 18053 w 18343"/>
                  <a:gd name="connsiteY2" fmla="*/ 6925 h 18395"/>
                  <a:gd name="connsiteX3" fmla="*/ 6869 w 18343"/>
                  <a:gd name="connsiteY3" fmla="*/ 287 h 18395"/>
                  <a:gd name="connsiteX4" fmla="*/ 291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1" y="11471"/>
                    </a:moveTo>
                    <a:cubicBezTo>
                      <a:pt x="1546" y="16375"/>
                      <a:pt x="6570" y="19365"/>
                      <a:pt x="11475" y="18109"/>
                    </a:cubicBezTo>
                    <a:cubicBezTo>
                      <a:pt x="16379" y="16853"/>
                      <a:pt x="19309" y="11829"/>
                      <a:pt x="18053" y="6925"/>
                    </a:cubicBezTo>
                    <a:cubicBezTo>
                      <a:pt x="16797" y="2021"/>
                      <a:pt x="11773" y="-969"/>
                      <a:pt x="6869" y="287"/>
                    </a:cubicBezTo>
                    <a:cubicBezTo>
                      <a:pt x="1965" y="1542"/>
                      <a:pt x="-965" y="6566"/>
                      <a:pt x="291" y="11471"/>
                    </a:cubicBezTo>
                    <a:close/>
                  </a:path>
                </a:pathLst>
              </a:custGeom>
              <a:grpFill/>
              <a:ln w="5978" cap="flat">
                <a:noFill/>
                <a:prstDash val="solid"/>
                <a:miter/>
              </a:ln>
            </p:spPr>
            <p:txBody>
              <a:bodyPr rtlCol="0" anchor="ctr"/>
              <a:lstStyle/>
              <a:p>
                <a:endParaRPr lang="en-GB"/>
              </a:p>
            </p:txBody>
          </p:sp>
        </p:grpSp>
        <p:grpSp>
          <p:nvGrpSpPr>
            <p:cNvPr id="679" name="Graphic 3">
              <a:extLst>
                <a:ext uri="{FF2B5EF4-FFF2-40B4-BE49-F238E27FC236}">
                  <a16:creationId xmlns:a16="http://schemas.microsoft.com/office/drawing/2014/main" id="{132CE11C-B93B-49D5-88C1-BEFE9E2280F4}"/>
                </a:ext>
              </a:extLst>
            </p:cNvPr>
            <p:cNvGrpSpPr/>
            <p:nvPr/>
          </p:nvGrpSpPr>
          <p:grpSpPr>
            <a:xfrm>
              <a:off x="5488285" y="1752573"/>
              <a:ext cx="36370" cy="71949"/>
              <a:chOff x="5488285" y="1752573"/>
              <a:chExt cx="36370" cy="71949"/>
            </a:xfrm>
            <a:grpFill/>
          </p:grpSpPr>
          <p:sp>
            <p:nvSpPr>
              <p:cNvPr id="3352" name="Vrije vorm: vorm 3351">
                <a:extLst>
                  <a:ext uri="{FF2B5EF4-FFF2-40B4-BE49-F238E27FC236}">
                    <a16:creationId xmlns:a16="http://schemas.microsoft.com/office/drawing/2014/main" id="{E9C25563-EEAD-41AD-AF25-7B256EAC05B2}"/>
                  </a:ext>
                </a:extLst>
              </p:cNvPr>
              <p:cNvSpPr/>
              <p:nvPr/>
            </p:nvSpPr>
            <p:spPr>
              <a:xfrm>
                <a:off x="5496085" y="1760696"/>
                <a:ext cx="21223" cy="55386"/>
              </a:xfrm>
              <a:custGeom>
                <a:avLst/>
                <a:gdLst>
                  <a:gd name="connsiteX0" fmla="*/ 0 w 21223"/>
                  <a:gd name="connsiteY0" fmla="*/ 974 h 55386"/>
                  <a:gd name="connsiteX1" fmla="*/ 2891 w 21223"/>
                  <a:gd name="connsiteY1" fmla="*/ 0 h 55386"/>
                  <a:gd name="connsiteX2" fmla="*/ 21223 w 21223"/>
                  <a:gd name="connsiteY2" fmla="*/ 54412 h 55386"/>
                  <a:gd name="connsiteX3" fmla="*/ 18333 w 21223"/>
                  <a:gd name="connsiteY3" fmla="*/ 55386 h 55386"/>
                </a:gdLst>
                <a:ahLst/>
                <a:cxnLst>
                  <a:cxn ang="0">
                    <a:pos x="connsiteX0" y="connsiteY0"/>
                  </a:cxn>
                  <a:cxn ang="0">
                    <a:pos x="connsiteX1" y="connsiteY1"/>
                  </a:cxn>
                  <a:cxn ang="0">
                    <a:pos x="connsiteX2" y="connsiteY2"/>
                  </a:cxn>
                  <a:cxn ang="0">
                    <a:pos x="connsiteX3" y="connsiteY3"/>
                  </a:cxn>
                </a:cxnLst>
                <a:rect l="l" t="t" r="r" b="b"/>
                <a:pathLst>
                  <a:path w="21223" h="55386">
                    <a:moveTo>
                      <a:pt x="0" y="974"/>
                    </a:moveTo>
                    <a:lnTo>
                      <a:pt x="2891" y="0"/>
                    </a:lnTo>
                    <a:lnTo>
                      <a:pt x="21223" y="54412"/>
                    </a:lnTo>
                    <a:lnTo>
                      <a:pt x="18333" y="55386"/>
                    </a:lnTo>
                    <a:close/>
                  </a:path>
                </a:pathLst>
              </a:custGeom>
              <a:grpFill/>
              <a:ln w="5978" cap="flat">
                <a:noFill/>
                <a:prstDash val="solid"/>
                <a:miter/>
              </a:ln>
            </p:spPr>
            <p:txBody>
              <a:bodyPr rtlCol="0" anchor="ctr"/>
              <a:lstStyle/>
              <a:p>
                <a:endParaRPr lang="en-GB"/>
              </a:p>
            </p:txBody>
          </p:sp>
          <p:sp>
            <p:nvSpPr>
              <p:cNvPr id="3353" name="Vrije vorm: vorm 3352">
                <a:extLst>
                  <a:ext uri="{FF2B5EF4-FFF2-40B4-BE49-F238E27FC236}">
                    <a16:creationId xmlns:a16="http://schemas.microsoft.com/office/drawing/2014/main" id="{D74C7AD5-846F-46F1-9F35-EC3DCBB5A384}"/>
                  </a:ext>
                </a:extLst>
              </p:cNvPr>
              <p:cNvSpPr/>
              <p:nvPr/>
            </p:nvSpPr>
            <p:spPr>
              <a:xfrm>
                <a:off x="5488285" y="1752573"/>
                <a:ext cx="18308" cy="18444"/>
              </a:xfrm>
              <a:custGeom>
                <a:avLst/>
                <a:gdLst>
                  <a:gd name="connsiteX0" fmla="*/ 482 w 18308"/>
                  <a:gd name="connsiteY0" fmla="*/ 12138 h 18444"/>
                  <a:gd name="connsiteX1" fmla="*/ 6224 w 18308"/>
                  <a:gd name="connsiteY1" fmla="*/ 476 h 18444"/>
                  <a:gd name="connsiteX2" fmla="*/ 17826 w 18308"/>
                  <a:gd name="connsiteY2" fmla="*/ 6277 h 18444"/>
                  <a:gd name="connsiteX3" fmla="*/ 12085 w 18308"/>
                  <a:gd name="connsiteY3" fmla="*/ 17940 h 18444"/>
                  <a:gd name="connsiteX4" fmla="*/ 482 w 18308"/>
                  <a:gd name="connsiteY4" fmla="*/ 1213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4">
                    <a:moveTo>
                      <a:pt x="482" y="12138"/>
                    </a:moveTo>
                    <a:cubicBezTo>
                      <a:pt x="-1132" y="7294"/>
                      <a:pt x="1439" y="2091"/>
                      <a:pt x="6224" y="476"/>
                    </a:cubicBezTo>
                    <a:cubicBezTo>
                      <a:pt x="11008" y="-1139"/>
                      <a:pt x="16212" y="1493"/>
                      <a:pt x="17826" y="6277"/>
                    </a:cubicBezTo>
                    <a:cubicBezTo>
                      <a:pt x="19441" y="11122"/>
                      <a:pt x="16870" y="16325"/>
                      <a:pt x="12085" y="17940"/>
                    </a:cubicBezTo>
                    <a:cubicBezTo>
                      <a:pt x="7360" y="19614"/>
                      <a:pt x="2157" y="16983"/>
                      <a:pt x="482" y="12138"/>
                    </a:cubicBezTo>
                    <a:close/>
                  </a:path>
                </a:pathLst>
              </a:custGeom>
              <a:grpFill/>
              <a:ln w="5978" cap="flat">
                <a:noFill/>
                <a:prstDash val="solid"/>
                <a:miter/>
              </a:ln>
            </p:spPr>
            <p:txBody>
              <a:bodyPr rtlCol="0" anchor="ctr"/>
              <a:lstStyle/>
              <a:p>
                <a:endParaRPr lang="en-GB"/>
              </a:p>
            </p:txBody>
          </p:sp>
          <p:sp>
            <p:nvSpPr>
              <p:cNvPr id="3354" name="Vrije vorm: vorm 3353">
                <a:extLst>
                  <a:ext uri="{FF2B5EF4-FFF2-40B4-BE49-F238E27FC236}">
                    <a16:creationId xmlns:a16="http://schemas.microsoft.com/office/drawing/2014/main" id="{57F65372-CB31-4C9B-B4B8-00C510F0B722}"/>
                  </a:ext>
                </a:extLst>
              </p:cNvPr>
              <p:cNvSpPr/>
              <p:nvPr/>
            </p:nvSpPr>
            <p:spPr>
              <a:xfrm>
                <a:off x="5506347" y="1806095"/>
                <a:ext cx="18308" cy="18427"/>
              </a:xfrm>
              <a:custGeom>
                <a:avLst/>
                <a:gdLst>
                  <a:gd name="connsiteX0" fmla="*/ 482 w 18308"/>
                  <a:gd name="connsiteY0" fmla="*/ 12144 h 18427"/>
                  <a:gd name="connsiteX1" fmla="*/ 12085 w 18308"/>
                  <a:gd name="connsiteY1" fmla="*/ 17946 h 18427"/>
                  <a:gd name="connsiteX2" fmla="*/ 17827 w 18308"/>
                  <a:gd name="connsiteY2" fmla="*/ 6283 h 18427"/>
                  <a:gd name="connsiteX3" fmla="*/ 6224 w 18308"/>
                  <a:gd name="connsiteY3" fmla="*/ 482 h 18427"/>
                  <a:gd name="connsiteX4" fmla="*/ 482 w 18308"/>
                  <a:gd name="connsiteY4" fmla="*/ 1214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482" y="12144"/>
                    </a:moveTo>
                    <a:cubicBezTo>
                      <a:pt x="2097" y="16989"/>
                      <a:pt x="7301" y="19560"/>
                      <a:pt x="12085" y="17946"/>
                    </a:cubicBezTo>
                    <a:cubicBezTo>
                      <a:pt x="16870" y="16331"/>
                      <a:pt x="19441" y="11128"/>
                      <a:pt x="17827" y="6283"/>
                    </a:cubicBezTo>
                    <a:cubicBezTo>
                      <a:pt x="16212" y="1439"/>
                      <a:pt x="11009" y="-1133"/>
                      <a:pt x="6224" y="482"/>
                    </a:cubicBezTo>
                    <a:cubicBezTo>
                      <a:pt x="1439" y="2097"/>
                      <a:pt x="-1132" y="7360"/>
                      <a:pt x="482" y="12144"/>
                    </a:cubicBezTo>
                    <a:close/>
                  </a:path>
                </a:pathLst>
              </a:custGeom>
              <a:grpFill/>
              <a:ln w="5978" cap="flat">
                <a:noFill/>
                <a:prstDash val="solid"/>
                <a:miter/>
              </a:ln>
            </p:spPr>
            <p:txBody>
              <a:bodyPr rtlCol="0" anchor="ctr"/>
              <a:lstStyle/>
              <a:p>
                <a:endParaRPr lang="en-GB"/>
              </a:p>
            </p:txBody>
          </p:sp>
        </p:grpSp>
        <p:grpSp>
          <p:nvGrpSpPr>
            <p:cNvPr id="680" name="Graphic 3">
              <a:extLst>
                <a:ext uri="{FF2B5EF4-FFF2-40B4-BE49-F238E27FC236}">
                  <a16:creationId xmlns:a16="http://schemas.microsoft.com/office/drawing/2014/main" id="{8C9198C9-7B26-420A-BFC2-DE6C54A4C2BF}"/>
                </a:ext>
              </a:extLst>
            </p:cNvPr>
            <p:cNvGrpSpPr/>
            <p:nvPr/>
          </p:nvGrpSpPr>
          <p:grpSpPr>
            <a:xfrm>
              <a:off x="5401923" y="1496180"/>
              <a:ext cx="98809" cy="257351"/>
              <a:chOff x="5401923" y="1496180"/>
              <a:chExt cx="98809" cy="257351"/>
            </a:xfrm>
            <a:grpFill/>
          </p:grpSpPr>
          <p:sp>
            <p:nvSpPr>
              <p:cNvPr id="3349" name="Vrije vorm: vorm 3348">
                <a:extLst>
                  <a:ext uri="{FF2B5EF4-FFF2-40B4-BE49-F238E27FC236}">
                    <a16:creationId xmlns:a16="http://schemas.microsoft.com/office/drawing/2014/main" id="{FF878119-69AC-4809-8B5C-069697259238}"/>
                  </a:ext>
                </a:extLst>
              </p:cNvPr>
              <p:cNvSpPr/>
              <p:nvPr/>
            </p:nvSpPr>
            <p:spPr>
              <a:xfrm>
                <a:off x="5409710" y="1504367"/>
                <a:ext cx="83687" cy="240784"/>
              </a:xfrm>
              <a:custGeom>
                <a:avLst/>
                <a:gdLst>
                  <a:gd name="connsiteX0" fmla="*/ 0 w 83687"/>
                  <a:gd name="connsiteY0" fmla="*/ 974 h 240784"/>
                  <a:gd name="connsiteX1" fmla="*/ 2891 w 83687"/>
                  <a:gd name="connsiteY1" fmla="*/ 0 h 240784"/>
                  <a:gd name="connsiteX2" fmla="*/ 83688 w 83687"/>
                  <a:gd name="connsiteY2" fmla="*/ 239810 h 240784"/>
                  <a:gd name="connsiteX3" fmla="*/ 80797 w 83687"/>
                  <a:gd name="connsiteY3" fmla="*/ 240784 h 240784"/>
                </a:gdLst>
                <a:ahLst/>
                <a:cxnLst>
                  <a:cxn ang="0">
                    <a:pos x="connsiteX0" y="connsiteY0"/>
                  </a:cxn>
                  <a:cxn ang="0">
                    <a:pos x="connsiteX1" y="connsiteY1"/>
                  </a:cxn>
                  <a:cxn ang="0">
                    <a:pos x="connsiteX2" y="connsiteY2"/>
                  </a:cxn>
                  <a:cxn ang="0">
                    <a:pos x="connsiteX3" y="connsiteY3"/>
                  </a:cxn>
                </a:cxnLst>
                <a:rect l="l" t="t" r="r" b="b"/>
                <a:pathLst>
                  <a:path w="83687" h="240784">
                    <a:moveTo>
                      <a:pt x="0" y="974"/>
                    </a:moveTo>
                    <a:lnTo>
                      <a:pt x="2891" y="0"/>
                    </a:lnTo>
                    <a:lnTo>
                      <a:pt x="83688" y="239810"/>
                    </a:lnTo>
                    <a:lnTo>
                      <a:pt x="80797" y="240784"/>
                    </a:lnTo>
                    <a:close/>
                  </a:path>
                </a:pathLst>
              </a:custGeom>
              <a:grpFill/>
              <a:ln w="5978" cap="flat">
                <a:noFill/>
                <a:prstDash val="solid"/>
                <a:miter/>
              </a:ln>
            </p:spPr>
            <p:txBody>
              <a:bodyPr rtlCol="0" anchor="ctr"/>
              <a:lstStyle/>
              <a:p>
                <a:endParaRPr lang="en-GB"/>
              </a:p>
            </p:txBody>
          </p:sp>
          <p:sp>
            <p:nvSpPr>
              <p:cNvPr id="3350" name="Vrije vorm: vorm 3349">
                <a:extLst>
                  <a:ext uri="{FF2B5EF4-FFF2-40B4-BE49-F238E27FC236}">
                    <a16:creationId xmlns:a16="http://schemas.microsoft.com/office/drawing/2014/main" id="{DB6E8941-22A6-4990-9AF4-59F3195A13A1}"/>
                  </a:ext>
                </a:extLst>
              </p:cNvPr>
              <p:cNvSpPr/>
              <p:nvPr/>
            </p:nvSpPr>
            <p:spPr>
              <a:xfrm>
                <a:off x="5401923" y="1496180"/>
                <a:ext cx="18308" cy="18421"/>
              </a:xfrm>
              <a:custGeom>
                <a:avLst/>
                <a:gdLst>
                  <a:gd name="connsiteX0" fmla="*/ 482 w 18308"/>
                  <a:gd name="connsiteY0" fmla="*/ 12138 h 18421"/>
                  <a:gd name="connsiteX1" fmla="*/ 6224 w 18308"/>
                  <a:gd name="connsiteY1" fmla="*/ 476 h 18421"/>
                  <a:gd name="connsiteX2" fmla="*/ 17826 w 18308"/>
                  <a:gd name="connsiteY2" fmla="*/ 6277 h 18421"/>
                  <a:gd name="connsiteX3" fmla="*/ 12085 w 18308"/>
                  <a:gd name="connsiteY3" fmla="*/ 17940 h 18421"/>
                  <a:gd name="connsiteX4" fmla="*/ 482 w 18308"/>
                  <a:gd name="connsiteY4" fmla="*/ 1213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482" y="12138"/>
                    </a:moveTo>
                    <a:cubicBezTo>
                      <a:pt x="-1132" y="7294"/>
                      <a:pt x="1439" y="2091"/>
                      <a:pt x="6224" y="476"/>
                    </a:cubicBezTo>
                    <a:cubicBezTo>
                      <a:pt x="11008" y="-1139"/>
                      <a:pt x="16212" y="1493"/>
                      <a:pt x="17826" y="6277"/>
                    </a:cubicBezTo>
                    <a:cubicBezTo>
                      <a:pt x="19441" y="11122"/>
                      <a:pt x="16870" y="16325"/>
                      <a:pt x="12085" y="17940"/>
                    </a:cubicBezTo>
                    <a:cubicBezTo>
                      <a:pt x="7300" y="19555"/>
                      <a:pt x="2097" y="16983"/>
                      <a:pt x="482" y="12138"/>
                    </a:cubicBezTo>
                    <a:close/>
                  </a:path>
                </a:pathLst>
              </a:custGeom>
              <a:grpFill/>
              <a:ln w="5978" cap="flat">
                <a:noFill/>
                <a:prstDash val="solid"/>
                <a:miter/>
              </a:ln>
            </p:spPr>
            <p:txBody>
              <a:bodyPr rtlCol="0" anchor="ctr"/>
              <a:lstStyle/>
              <a:p>
                <a:endParaRPr lang="en-GB"/>
              </a:p>
            </p:txBody>
          </p:sp>
          <p:sp>
            <p:nvSpPr>
              <p:cNvPr id="3351" name="Vrije vorm: vorm 3350">
                <a:extLst>
                  <a:ext uri="{FF2B5EF4-FFF2-40B4-BE49-F238E27FC236}">
                    <a16:creationId xmlns:a16="http://schemas.microsoft.com/office/drawing/2014/main" id="{18DDA506-D400-4025-A189-15A318F67E10}"/>
                  </a:ext>
                </a:extLst>
              </p:cNvPr>
              <p:cNvSpPr/>
              <p:nvPr/>
            </p:nvSpPr>
            <p:spPr>
              <a:xfrm>
                <a:off x="5482424" y="1735104"/>
                <a:ext cx="18308" cy="18427"/>
              </a:xfrm>
              <a:custGeom>
                <a:avLst/>
                <a:gdLst>
                  <a:gd name="connsiteX0" fmla="*/ 482 w 18308"/>
                  <a:gd name="connsiteY0" fmla="*/ 12144 h 18427"/>
                  <a:gd name="connsiteX1" fmla="*/ 12085 w 18308"/>
                  <a:gd name="connsiteY1" fmla="*/ 17946 h 18427"/>
                  <a:gd name="connsiteX2" fmla="*/ 17827 w 18308"/>
                  <a:gd name="connsiteY2" fmla="*/ 6283 h 18427"/>
                  <a:gd name="connsiteX3" fmla="*/ 6224 w 18308"/>
                  <a:gd name="connsiteY3" fmla="*/ 482 h 18427"/>
                  <a:gd name="connsiteX4" fmla="*/ 482 w 18308"/>
                  <a:gd name="connsiteY4" fmla="*/ 1214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482" y="12144"/>
                    </a:moveTo>
                    <a:cubicBezTo>
                      <a:pt x="2097" y="16989"/>
                      <a:pt x="7301" y="19560"/>
                      <a:pt x="12085" y="17946"/>
                    </a:cubicBezTo>
                    <a:cubicBezTo>
                      <a:pt x="16870" y="16331"/>
                      <a:pt x="19441" y="11128"/>
                      <a:pt x="17827" y="6283"/>
                    </a:cubicBezTo>
                    <a:cubicBezTo>
                      <a:pt x="16212" y="1439"/>
                      <a:pt x="11009" y="-1133"/>
                      <a:pt x="6224" y="482"/>
                    </a:cubicBezTo>
                    <a:cubicBezTo>
                      <a:pt x="1439" y="2097"/>
                      <a:pt x="-1132" y="7360"/>
                      <a:pt x="482" y="12144"/>
                    </a:cubicBezTo>
                    <a:close/>
                  </a:path>
                </a:pathLst>
              </a:custGeom>
              <a:grpFill/>
              <a:ln w="5978" cap="flat">
                <a:noFill/>
                <a:prstDash val="solid"/>
                <a:miter/>
              </a:ln>
            </p:spPr>
            <p:txBody>
              <a:bodyPr rtlCol="0" anchor="ctr"/>
              <a:lstStyle/>
              <a:p>
                <a:endParaRPr lang="en-GB"/>
              </a:p>
            </p:txBody>
          </p:sp>
        </p:grpSp>
        <p:grpSp>
          <p:nvGrpSpPr>
            <p:cNvPr id="681" name="Graphic 3">
              <a:extLst>
                <a:ext uri="{FF2B5EF4-FFF2-40B4-BE49-F238E27FC236}">
                  <a16:creationId xmlns:a16="http://schemas.microsoft.com/office/drawing/2014/main" id="{229C3D9A-5920-4A64-A742-D8E6501753F9}"/>
                </a:ext>
              </a:extLst>
            </p:cNvPr>
            <p:cNvGrpSpPr/>
            <p:nvPr/>
          </p:nvGrpSpPr>
          <p:grpSpPr>
            <a:xfrm>
              <a:off x="5356470" y="1361315"/>
              <a:ext cx="57841" cy="135823"/>
              <a:chOff x="5356470" y="1361315"/>
              <a:chExt cx="57841" cy="135823"/>
            </a:xfrm>
            <a:grpFill/>
          </p:grpSpPr>
          <p:sp>
            <p:nvSpPr>
              <p:cNvPr id="3346" name="Vrije vorm: vorm 3345">
                <a:extLst>
                  <a:ext uri="{FF2B5EF4-FFF2-40B4-BE49-F238E27FC236}">
                    <a16:creationId xmlns:a16="http://schemas.microsoft.com/office/drawing/2014/main" id="{99FB6213-692A-49CB-8E84-3E6C7A6CCED0}"/>
                  </a:ext>
                </a:extLst>
              </p:cNvPr>
              <p:cNvSpPr/>
              <p:nvPr/>
            </p:nvSpPr>
            <p:spPr>
              <a:xfrm>
                <a:off x="5364285" y="1369542"/>
                <a:ext cx="42725" cy="119206"/>
              </a:xfrm>
              <a:custGeom>
                <a:avLst/>
                <a:gdLst>
                  <a:gd name="connsiteX0" fmla="*/ 0 w 42725"/>
                  <a:gd name="connsiteY0" fmla="*/ 974 h 119206"/>
                  <a:gd name="connsiteX1" fmla="*/ 2891 w 42725"/>
                  <a:gd name="connsiteY1" fmla="*/ 0 h 119206"/>
                  <a:gd name="connsiteX2" fmla="*/ 42726 w 42725"/>
                  <a:gd name="connsiteY2" fmla="*/ 118233 h 119206"/>
                  <a:gd name="connsiteX3" fmla="*/ 39835 w 42725"/>
                  <a:gd name="connsiteY3" fmla="*/ 119207 h 119206"/>
                </a:gdLst>
                <a:ahLst/>
                <a:cxnLst>
                  <a:cxn ang="0">
                    <a:pos x="connsiteX0" y="connsiteY0"/>
                  </a:cxn>
                  <a:cxn ang="0">
                    <a:pos x="connsiteX1" y="connsiteY1"/>
                  </a:cxn>
                  <a:cxn ang="0">
                    <a:pos x="connsiteX2" y="connsiteY2"/>
                  </a:cxn>
                  <a:cxn ang="0">
                    <a:pos x="connsiteX3" y="connsiteY3"/>
                  </a:cxn>
                </a:cxnLst>
                <a:rect l="l" t="t" r="r" b="b"/>
                <a:pathLst>
                  <a:path w="42725" h="119206">
                    <a:moveTo>
                      <a:pt x="0" y="974"/>
                    </a:moveTo>
                    <a:lnTo>
                      <a:pt x="2891" y="0"/>
                    </a:lnTo>
                    <a:lnTo>
                      <a:pt x="42726" y="118233"/>
                    </a:lnTo>
                    <a:lnTo>
                      <a:pt x="39835" y="119207"/>
                    </a:lnTo>
                    <a:close/>
                  </a:path>
                </a:pathLst>
              </a:custGeom>
              <a:grpFill/>
              <a:ln w="5978" cap="flat">
                <a:noFill/>
                <a:prstDash val="solid"/>
                <a:miter/>
              </a:ln>
            </p:spPr>
            <p:txBody>
              <a:bodyPr rtlCol="0" anchor="ctr"/>
              <a:lstStyle/>
              <a:p>
                <a:endParaRPr lang="en-GB"/>
              </a:p>
            </p:txBody>
          </p:sp>
          <p:sp>
            <p:nvSpPr>
              <p:cNvPr id="3347" name="Vrije vorm: vorm 3346">
                <a:extLst>
                  <a:ext uri="{FF2B5EF4-FFF2-40B4-BE49-F238E27FC236}">
                    <a16:creationId xmlns:a16="http://schemas.microsoft.com/office/drawing/2014/main" id="{57B81943-464E-49CE-90BD-1A941EE253A1}"/>
                  </a:ext>
                </a:extLst>
              </p:cNvPr>
              <p:cNvSpPr/>
              <p:nvPr/>
            </p:nvSpPr>
            <p:spPr>
              <a:xfrm>
                <a:off x="5356470" y="1361315"/>
                <a:ext cx="18308" cy="18444"/>
              </a:xfrm>
              <a:custGeom>
                <a:avLst/>
                <a:gdLst>
                  <a:gd name="connsiteX0" fmla="*/ 482 w 18308"/>
                  <a:gd name="connsiteY0" fmla="*/ 12138 h 18444"/>
                  <a:gd name="connsiteX1" fmla="*/ 6224 w 18308"/>
                  <a:gd name="connsiteY1" fmla="*/ 476 h 18444"/>
                  <a:gd name="connsiteX2" fmla="*/ 17827 w 18308"/>
                  <a:gd name="connsiteY2" fmla="*/ 6277 h 18444"/>
                  <a:gd name="connsiteX3" fmla="*/ 12085 w 18308"/>
                  <a:gd name="connsiteY3" fmla="*/ 17940 h 18444"/>
                  <a:gd name="connsiteX4" fmla="*/ 482 w 18308"/>
                  <a:gd name="connsiteY4" fmla="*/ 1213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4">
                    <a:moveTo>
                      <a:pt x="482" y="12138"/>
                    </a:moveTo>
                    <a:cubicBezTo>
                      <a:pt x="-1132" y="7294"/>
                      <a:pt x="1439" y="2091"/>
                      <a:pt x="6224" y="476"/>
                    </a:cubicBezTo>
                    <a:cubicBezTo>
                      <a:pt x="11009" y="-1139"/>
                      <a:pt x="16212" y="1493"/>
                      <a:pt x="17827" y="6277"/>
                    </a:cubicBezTo>
                    <a:cubicBezTo>
                      <a:pt x="19441" y="11122"/>
                      <a:pt x="16870" y="16325"/>
                      <a:pt x="12085" y="17940"/>
                    </a:cubicBezTo>
                    <a:cubicBezTo>
                      <a:pt x="7360" y="19614"/>
                      <a:pt x="2157" y="16983"/>
                      <a:pt x="482" y="12138"/>
                    </a:cubicBezTo>
                    <a:close/>
                  </a:path>
                </a:pathLst>
              </a:custGeom>
              <a:grpFill/>
              <a:ln w="5978" cap="flat">
                <a:noFill/>
                <a:prstDash val="solid"/>
                <a:miter/>
              </a:ln>
            </p:spPr>
            <p:txBody>
              <a:bodyPr rtlCol="0" anchor="ctr"/>
              <a:lstStyle/>
              <a:p>
                <a:endParaRPr lang="en-GB"/>
              </a:p>
            </p:txBody>
          </p:sp>
          <p:sp>
            <p:nvSpPr>
              <p:cNvPr id="3348" name="Vrije vorm: vorm 3347">
                <a:extLst>
                  <a:ext uri="{FF2B5EF4-FFF2-40B4-BE49-F238E27FC236}">
                    <a16:creationId xmlns:a16="http://schemas.microsoft.com/office/drawing/2014/main" id="{0FB64639-D719-49BF-8B47-3D899AD784AD}"/>
                  </a:ext>
                </a:extLst>
              </p:cNvPr>
              <p:cNvSpPr/>
              <p:nvPr/>
            </p:nvSpPr>
            <p:spPr>
              <a:xfrm>
                <a:off x="5396002" y="1478710"/>
                <a:ext cx="18308" cy="18427"/>
              </a:xfrm>
              <a:custGeom>
                <a:avLst/>
                <a:gdLst>
                  <a:gd name="connsiteX0" fmla="*/ 482 w 18308"/>
                  <a:gd name="connsiteY0" fmla="*/ 12144 h 18427"/>
                  <a:gd name="connsiteX1" fmla="*/ 12085 w 18308"/>
                  <a:gd name="connsiteY1" fmla="*/ 17946 h 18427"/>
                  <a:gd name="connsiteX2" fmla="*/ 17826 w 18308"/>
                  <a:gd name="connsiteY2" fmla="*/ 6283 h 18427"/>
                  <a:gd name="connsiteX3" fmla="*/ 6224 w 18308"/>
                  <a:gd name="connsiteY3" fmla="*/ 482 h 18427"/>
                  <a:gd name="connsiteX4" fmla="*/ 482 w 18308"/>
                  <a:gd name="connsiteY4" fmla="*/ 1214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482" y="12144"/>
                    </a:moveTo>
                    <a:cubicBezTo>
                      <a:pt x="2097" y="16989"/>
                      <a:pt x="7300" y="19560"/>
                      <a:pt x="12085" y="17946"/>
                    </a:cubicBezTo>
                    <a:cubicBezTo>
                      <a:pt x="16869" y="16331"/>
                      <a:pt x="19441" y="11128"/>
                      <a:pt x="17826" y="6283"/>
                    </a:cubicBezTo>
                    <a:cubicBezTo>
                      <a:pt x="16212" y="1439"/>
                      <a:pt x="11008" y="-1133"/>
                      <a:pt x="6224" y="482"/>
                    </a:cubicBezTo>
                    <a:cubicBezTo>
                      <a:pt x="1439" y="2097"/>
                      <a:pt x="-1132" y="7300"/>
                      <a:pt x="482" y="12144"/>
                    </a:cubicBezTo>
                    <a:close/>
                  </a:path>
                </a:pathLst>
              </a:custGeom>
              <a:grpFill/>
              <a:ln w="5978" cap="flat">
                <a:noFill/>
                <a:prstDash val="solid"/>
                <a:miter/>
              </a:ln>
            </p:spPr>
            <p:txBody>
              <a:bodyPr rtlCol="0" anchor="ctr"/>
              <a:lstStyle/>
              <a:p>
                <a:endParaRPr lang="en-GB"/>
              </a:p>
            </p:txBody>
          </p:sp>
        </p:grpSp>
        <p:grpSp>
          <p:nvGrpSpPr>
            <p:cNvPr id="682" name="Graphic 3">
              <a:extLst>
                <a:ext uri="{FF2B5EF4-FFF2-40B4-BE49-F238E27FC236}">
                  <a16:creationId xmlns:a16="http://schemas.microsoft.com/office/drawing/2014/main" id="{7A174677-3FCC-4D8D-AFA8-BF50C5B5A109}"/>
                </a:ext>
              </a:extLst>
            </p:cNvPr>
            <p:cNvGrpSpPr/>
            <p:nvPr/>
          </p:nvGrpSpPr>
          <p:grpSpPr>
            <a:xfrm>
              <a:off x="6675852" y="5336191"/>
              <a:ext cx="57058" cy="137074"/>
              <a:chOff x="6675852" y="5336191"/>
              <a:chExt cx="57058" cy="137074"/>
            </a:xfrm>
            <a:grpFill/>
          </p:grpSpPr>
          <p:sp>
            <p:nvSpPr>
              <p:cNvPr id="3343" name="Vrije vorm: vorm 3342">
                <a:extLst>
                  <a:ext uri="{FF2B5EF4-FFF2-40B4-BE49-F238E27FC236}">
                    <a16:creationId xmlns:a16="http://schemas.microsoft.com/office/drawing/2014/main" id="{CE1463F4-654C-44ED-B054-11D25076A4B6}"/>
                  </a:ext>
                </a:extLst>
              </p:cNvPr>
              <p:cNvSpPr/>
              <p:nvPr/>
            </p:nvSpPr>
            <p:spPr>
              <a:xfrm>
                <a:off x="6683697" y="5344304"/>
                <a:ext cx="41952" cy="120508"/>
              </a:xfrm>
              <a:custGeom>
                <a:avLst/>
                <a:gdLst>
                  <a:gd name="connsiteX0" fmla="*/ 0 w 41952"/>
                  <a:gd name="connsiteY0" fmla="*/ 947 h 120508"/>
                  <a:gd name="connsiteX1" fmla="*/ 2899 w 41952"/>
                  <a:gd name="connsiteY1" fmla="*/ 0 h 120508"/>
                  <a:gd name="connsiteX2" fmla="*/ 41952 w 41952"/>
                  <a:gd name="connsiteY2" fmla="*/ 119561 h 120508"/>
                  <a:gd name="connsiteX3" fmla="*/ 39053 w 41952"/>
                  <a:gd name="connsiteY3" fmla="*/ 120508 h 120508"/>
                </a:gdLst>
                <a:ahLst/>
                <a:cxnLst>
                  <a:cxn ang="0">
                    <a:pos x="connsiteX0" y="connsiteY0"/>
                  </a:cxn>
                  <a:cxn ang="0">
                    <a:pos x="connsiteX1" y="connsiteY1"/>
                  </a:cxn>
                  <a:cxn ang="0">
                    <a:pos x="connsiteX2" y="connsiteY2"/>
                  </a:cxn>
                  <a:cxn ang="0">
                    <a:pos x="connsiteX3" y="connsiteY3"/>
                  </a:cxn>
                </a:cxnLst>
                <a:rect l="l" t="t" r="r" b="b"/>
                <a:pathLst>
                  <a:path w="41952" h="120508">
                    <a:moveTo>
                      <a:pt x="0" y="947"/>
                    </a:moveTo>
                    <a:lnTo>
                      <a:pt x="2899" y="0"/>
                    </a:lnTo>
                    <a:lnTo>
                      <a:pt x="41952" y="119561"/>
                    </a:lnTo>
                    <a:lnTo>
                      <a:pt x="39053" y="120508"/>
                    </a:lnTo>
                    <a:close/>
                  </a:path>
                </a:pathLst>
              </a:custGeom>
              <a:grpFill/>
              <a:ln w="5978" cap="flat">
                <a:noFill/>
                <a:prstDash val="solid"/>
                <a:miter/>
              </a:ln>
            </p:spPr>
            <p:txBody>
              <a:bodyPr rtlCol="0" anchor="ctr"/>
              <a:lstStyle/>
              <a:p>
                <a:endParaRPr lang="en-GB"/>
              </a:p>
            </p:txBody>
          </p:sp>
          <p:sp>
            <p:nvSpPr>
              <p:cNvPr id="3344" name="Vrije vorm: vorm 3343">
                <a:extLst>
                  <a:ext uri="{FF2B5EF4-FFF2-40B4-BE49-F238E27FC236}">
                    <a16:creationId xmlns:a16="http://schemas.microsoft.com/office/drawing/2014/main" id="{E92F4BD2-B3A3-4FC7-98D8-011DF6819FCB}"/>
                  </a:ext>
                </a:extLst>
              </p:cNvPr>
              <p:cNvSpPr/>
              <p:nvPr/>
            </p:nvSpPr>
            <p:spPr>
              <a:xfrm>
                <a:off x="6714602" y="5454848"/>
                <a:ext cx="18309" cy="18416"/>
              </a:xfrm>
              <a:custGeom>
                <a:avLst/>
                <a:gdLst>
                  <a:gd name="connsiteX0" fmla="*/ 17856 w 18309"/>
                  <a:gd name="connsiteY0" fmla="*/ 6368 h 18416"/>
                  <a:gd name="connsiteX1" fmla="*/ 11995 w 18309"/>
                  <a:gd name="connsiteY1" fmla="*/ 17970 h 18416"/>
                  <a:gd name="connsiteX2" fmla="*/ 453 w 18309"/>
                  <a:gd name="connsiteY2" fmla="*/ 12049 h 18416"/>
                  <a:gd name="connsiteX3" fmla="*/ 6314 w 18309"/>
                  <a:gd name="connsiteY3" fmla="*/ 447 h 18416"/>
                  <a:gd name="connsiteX4" fmla="*/ 17856 w 18309"/>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16">
                    <a:moveTo>
                      <a:pt x="17856" y="6368"/>
                    </a:moveTo>
                    <a:cubicBezTo>
                      <a:pt x="19412" y="11212"/>
                      <a:pt x="16840" y="16415"/>
                      <a:pt x="11995" y="17970"/>
                    </a:cubicBezTo>
                    <a:cubicBezTo>
                      <a:pt x="7211" y="19525"/>
                      <a:pt x="2008" y="16894"/>
                      <a:pt x="453" y="12049"/>
                    </a:cubicBezTo>
                    <a:cubicBezTo>
                      <a:pt x="-1102" y="7205"/>
                      <a:pt x="1469" y="2002"/>
                      <a:pt x="6314" y="447"/>
                    </a:cubicBezTo>
                    <a:cubicBezTo>
                      <a:pt x="11098" y="-1108"/>
                      <a:pt x="16242" y="1523"/>
                      <a:pt x="17856" y="6368"/>
                    </a:cubicBezTo>
                    <a:close/>
                  </a:path>
                </a:pathLst>
              </a:custGeom>
              <a:grpFill/>
              <a:ln w="5978" cap="flat">
                <a:noFill/>
                <a:prstDash val="solid"/>
                <a:miter/>
              </a:ln>
            </p:spPr>
            <p:txBody>
              <a:bodyPr rtlCol="0" anchor="ctr"/>
              <a:lstStyle/>
              <a:p>
                <a:endParaRPr lang="en-GB"/>
              </a:p>
            </p:txBody>
          </p:sp>
          <p:sp>
            <p:nvSpPr>
              <p:cNvPr id="3345" name="Vrije vorm: vorm 3344">
                <a:extLst>
                  <a:ext uri="{FF2B5EF4-FFF2-40B4-BE49-F238E27FC236}">
                    <a16:creationId xmlns:a16="http://schemas.microsoft.com/office/drawing/2014/main" id="{387CB7A1-0D92-4686-B194-68B7335509F3}"/>
                  </a:ext>
                </a:extLst>
              </p:cNvPr>
              <p:cNvSpPr/>
              <p:nvPr/>
            </p:nvSpPr>
            <p:spPr>
              <a:xfrm>
                <a:off x="6675852" y="5336191"/>
                <a:ext cx="18298" cy="18416"/>
              </a:xfrm>
              <a:custGeom>
                <a:avLst/>
                <a:gdLst>
                  <a:gd name="connsiteX0" fmla="*/ 17851 w 18298"/>
                  <a:gd name="connsiteY0" fmla="*/ 6368 h 18416"/>
                  <a:gd name="connsiteX1" fmla="*/ 6308 w 18298"/>
                  <a:gd name="connsiteY1" fmla="*/ 447 h 18416"/>
                  <a:gd name="connsiteX2" fmla="*/ 447 w 18298"/>
                  <a:gd name="connsiteY2" fmla="*/ 12049 h 18416"/>
                  <a:gd name="connsiteX3" fmla="*/ 11990 w 18298"/>
                  <a:gd name="connsiteY3" fmla="*/ 17970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6296" y="1523"/>
                      <a:pt x="11093" y="-1108"/>
                      <a:pt x="6308" y="447"/>
                    </a:cubicBezTo>
                    <a:cubicBezTo>
                      <a:pt x="1524" y="2002"/>
                      <a:pt x="-1108" y="7205"/>
                      <a:pt x="447" y="12049"/>
                    </a:cubicBezTo>
                    <a:cubicBezTo>
                      <a:pt x="2002" y="16894"/>
                      <a:pt x="7205" y="19525"/>
                      <a:pt x="11990" y="17970"/>
                    </a:cubicBezTo>
                    <a:cubicBezTo>
                      <a:pt x="16775" y="16415"/>
                      <a:pt x="19406" y="11212"/>
                      <a:pt x="17851" y="6368"/>
                    </a:cubicBezTo>
                    <a:close/>
                  </a:path>
                </a:pathLst>
              </a:custGeom>
              <a:grpFill/>
              <a:ln w="5978" cap="flat">
                <a:noFill/>
                <a:prstDash val="solid"/>
                <a:miter/>
              </a:ln>
            </p:spPr>
            <p:txBody>
              <a:bodyPr rtlCol="0" anchor="ctr"/>
              <a:lstStyle/>
              <a:p>
                <a:endParaRPr lang="en-GB"/>
              </a:p>
            </p:txBody>
          </p:sp>
        </p:grpSp>
        <p:grpSp>
          <p:nvGrpSpPr>
            <p:cNvPr id="683" name="Graphic 3">
              <a:extLst>
                <a:ext uri="{FF2B5EF4-FFF2-40B4-BE49-F238E27FC236}">
                  <a16:creationId xmlns:a16="http://schemas.microsoft.com/office/drawing/2014/main" id="{D35D5B9D-1F53-4A2C-B166-8A0933691073}"/>
                </a:ext>
              </a:extLst>
            </p:cNvPr>
            <p:cNvGrpSpPr/>
            <p:nvPr/>
          </p:nvGrpSpPr>
          <p:grpSpPr>
            <a:xfrm>
              <a:off x="6615327" y="5150908"/>
              <a:ext cx="73087" cy="186176"/>
              <a:chOff x="6615327" y="5150908"/>
              <a:chExt cx="73087" cy="186176"/>
            </a:xfrm>
            <a:grpFill/>
          </p:grpSpPr>
          <p:sp>
            <p:nvSpPr>
              <p:cNvPr id="3340" name="Vrije vorm: vorm 3339">
                <a:extLst>
                  <a:ext uri="{FF2B5EF4-FFF2-40B4-BE49-F238E27FC236}">
                    <a16:creationId xmlns:a16="http://schemas.microsoft.com/office/drawing/2014/main" id="{4DF5F7AE-980F-4E1A-AF4A-678489CD64A1}"/>
                  </a:ext>
                </a:extLst>
              </p:cNvPr>
              <p:cNvSpPr/>
              <p:nvPr/>
            </p:nvSpPr>
            <p:spPr>
              <a:xfrm>
                <a:off x="6623038" y="5159321"/>
                <a:ext cx="57997" cy="169629"/>
              </a:xfrm>
              <a:custGeom>
                <a:avLst/>
                <a:gdLst>
                  <a:gd name="connsiteX0" fmla="*/ 0 w 57997"/>
                  <a:gd name="connsiteY0" fmla="*/ 947 h 169629"/>
                  <a:gd name="connsiteX1" fmla="*/ 2900 w 57997"/>
                  <a:gd name="connsiteY1" fmla="*/ 0 h 169629"/>
                  <a:gd name="connsiteX2" fmla="*/ 57997 w 57997"/>
                  <a:gd name="connsiteY2" fmla="*/ 168682 h 169629"/>
                  <a:gd name="connsiteX3" fmla="*/ 55098 w 57997"/>
                  <a:gd name="connsiteY3" fmla="*/ 169629 h 169629"/>
                </a:gdLst>
                <a:ahLst/>
                <a:cxnLst>
                  <a:cxn ang="0">
                    <a:pos x="connsiteX0" y="connsiteY0"/>
                  </a:cxn>
                  <a:cxn ang="0">
                    <a:pos x="connsiteX1" y="connsiteY1"/>
                  </a:cxn>
                  <a:cxn ang="0">
                    <a:pos x="connsiteX2" y="connsiteY2"/>
                  </a:cxn>
                  <a:cxn ang="0">
                    <a:pos x="connsiteX3" y="connsiteY3"/>
                  </a:cxn>
                </a:cxnLst>
                <a:rect l="l" t="t" r="r" b="b"/>
                <a:pathLst>
                  <a:path w="57997" h="169629">
                    <a:moveTo>
                      <a:pt x="0" y="947"/>
                    </a:moveTo>
                    <a:lnTo>
                      <a:pt x="2900" y="0"/>
                    </a:lnTo>
                    <a:lnTo>
                      <a:pt x="57997" y="168682"/>
                    </a:lnTo>
                    <a:lnTo>
                      <a:pt x="55098" y="169629"/>
                    </a:lnTo>
                    <a:close/>
                  </a:path>
                </a:pathLst>
              </a:custGeom>
              <a:grpFill/>
              <a:ln w="5978" cap="flat">
                <a:noFill/>
                <a:prstDash val="solid"/>
                <a:miter/>
              </a:ln>
            </p:spPr>
            <p:txBody>
              <a:bodyPr rtlCol="0" anchor="ctr"/>
              <a:lstStyle/>
              <a:p>
                <a:endParaRPr lang="en-GB"/>
              </a:p>
            </p:txBody>
          </p:sp>
          <p:sp>
            <p:nvSpPr>
              <p:cNvPr id="3341" name="Vrije vorm: vorm 3340">
                <a:extLst>
                  <a:ext uri="{FF2B5EF4-FFF2-40B4-BE49-F238E27FC236}">
                    <a16:creationId xmlns:a16="http://schemas.microsoft.com/office/drawing/2014/main" id="{E75E75A7-0260-4E65-AFCF-A78527194D53}"/>
                  </a:ext>
                </a:extLst>
              </p:cNvPr>
              <p:cNvSpPr/>
              <p:nvPr/>
            </p:nvSpPr>
            <p:spPr>
              <a:xfrm>
                <a:off x="6670105" y="5318667"/>
                <a:ext cx="18309" cy="18416"/>
              </a:xfrm>
              <a:custGeom>
                <a:avLst/>
                <a:gdLst>
                  <a:gd name="connsiteX0" fmla="*/ 17856 w 18309"/>
                  <a:gd name="connsiteY0" fmla="*/ 6368 h 18416"/>
                  <a:gd name="connsiteX1" fmla="*/ 11995 w 18309"/>
                  <a:gd name="connsiteY1" fmla="*/ 17970 h 18416"/>
                  <a:gd name="connsiteX2" fmla="*/ 453 w 18309"/>
                  <a:gd name="connsiteY2" fmla="*/ 12049 h 18416"/>
                  <a:gd name="connsiteX3" fmla="*/ 6314 w 18309"/>
                  <a:gd name="connsiteY3" fmla="*/ 447 h 18416"/>
                  <a:gd name="connsiteX4" fmla="*/ 17856 w 18309"/>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16">
                    <a:moveTo>
                      <a:pt x="17856" y="6368"/>
                    </a:moveTo>
                    <a:cubicBezTo>
                      <a:pt x="19412" y="11212"/>
                      <a:pt x="16840" y="16416"/>
                      <a:pt x="11995" y="17970"/>
                    </a:cubicBezTo>
                    <a:cubicBezTo>
                      <a:pt x="7211" y="19525"/>
                      <a:pt x="2008" y="16894"/>
                      <a:pt x="453" y="12049"/>
                    </a:cubicBezTo>
                    <a:cubicBezTo>
                      <a:pt x="-1102" y="7205"/>
                      <a:pt x="1469" y="2002"/>
                      <a:pt x="6314" y="447"/>
                    </a:cubicBezTo>
                    <a:cubicBezTo>
                      <a:pt x="11098" y="-1108"/>
                      <a:pt x="16301" y="1523"/>
                      <a:pt x="17856" y="6368"/>
                    </a:cubicBezTo>
                    <a:close/>
                  </a:path>
                </a:pathLst>
              </a:custGeom>
              <a:grpFill/>
              <a:ln w="5978" cap="flat">
                <a:noFill/>
                <a:prstDash val="solid"/>
                <a:miter/>
              </a:ln>
            </p:spPr>
            <p:txBody>
              <a:bodyPr rtlCol="0" anchor="ctr"/>
              <a:lstStyle/>
              <a:p>
                <a:endParaRPr lang="en-GB"/>
              </a:p>
            </p:txBody>
          </p:sp>
          <p:sp>
            <p:nvSpPr>
              <p:cNvPr id="3342" name="Vrije vorm: vorm 3341">
                <a:extLst>
                  <a:ext uri="{FF2B5EF4-FFF2-40B4-BE49-F238E27FC236}">
                    <a16:creationId xmlns:a16="http://schemas.microsoft.com/office/drawing/2014/main" id="{A21FCE64-2251-44FE-8EF4-8CA06585F077}"/>
                  </a:ext>
                </a:extLst>
              </p:cNvPr>
              <p:cNvSpPr/>
              <p:nvPr/>
            </p:nvSpPr>
            <p:spPr>
              <a:xfrm>
                <a:off x="6615327" y="5150908"/>
                <a:ext cx="18298" cy="18416"/>
              </a:xfrm>
              <a:custGeom>
                <a:avLst/>
                <a:gdLst>
                  <a:gd name="connsiteX0" fmla="*/ 17851 w 18298"/>
                  <a:gd name="connsiteY0" fmla="*/ 6368 h 18416"/>
                  <a:gd name="connsiteX1" fmla="*/ 6309 w 18298"/>
                  <a:gd name="connsiteY1" fmla="*/ 447 h 18416"/>
                  <a:gd name="connsiteX2" fmla="*/ 447 w 18298"/>
                  <a:gd name="connsiteY2" fmla="*/ 12049 h 18416"/>
                  <a:gd name="connsiteX3" fmla="*/ 11990 w 18298"/>
                  <a:gd name="connsiteY3" fmla="*/ 17970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6296" y="1523"/>
                      <a:pt x="11093" y="-1108"/>
                      <a:pt x="6309" y="447"/>
                    </a:cubicBezTo>
                    <a:cubicBezTo>
                      <a:pt x="1524" y="2002"/>
                      <a:pt x="-1108" y="7205"/>
                      <a:pt x="447" y="12049"/>
                    </a:cubicBezTo>
                    <a:cubicBezTo>
                      <a:pt x="2002" y="16894"/>
                      <a:pt x="7205" y="19525"/>
                      <a:pt x="11990" y="17970"/>
                    </a:cubicBezTo>
                    <a:cubicBezTo>
                      <a:pt x="16775" y="16356"/>
                      <a:pt x="19406" y="11212"/>
                      <a:pt x="17851" y="6368"/>
                    </a:cubicBezTo>
                    <a:close/>
                  </a:path>
                </a:pathLst>
              </a:custGeom>
              <a:grpFill/>
              <a:ln w="5978" cap="flat">
                <a:noFill/>
                <a:prstDash val="solid"/>
                <a:miter/>
              </a:ln>
            </p:spPr>
            <p:txBody>
              <a:bodyPr rtlCol="0" anchor="ctr"/>
              <a:lstStyle/>
              <a:p>
                <a:endParaRPr lang="en-GB"/>
              </a:p>
            </p:txBody>
          </p:sp>
        </p:grpSp>
        <p:grpSp>
          <p:nvGrpSpPr>
            <p:cNvPr id="684" name="Graphic 3">
              <a:extLst>
                <a:ext uri="{FF2B5EF4-FFF2-40B4-BE49-F238E27FC236}">
                  <a16:creationId xmlns:a16="http://schemas.microsoft.com/office/drawing/2014/main" id="{02F50096-7049-4D9C-98BB-A32BE1C11C60}"/>
                </a:ext>
              </a:extLst>
            </p:cNvPr>
            <p:cNvGrpSpPr/>
            <p:nvPr/>
          </p:nvGrpSpPr>
          <p:grpSpPr>
            <a:xfrm>
              <a:off x="6568618" y="5007849"/>
              <a:ext cx="59271" cy="143952"/>
              <a:chOff x="6568618" y="5007849"/>
              <a:chExt cx="59271" cy="143952"/>
            </a:xfrm>
            <a:grpFill/>
          </p:grpSpPr>
          <p:sp>
            <p:nvSpPr>
              <p:cNvPr id="3337" name="Vrije vorm: vorm 3336">
                <a:extLst>
                  <a:ext uri="{FF2B5EF4-FFF2-40B4-BE49-F238E27FC236}">
                    <a16:creationId xmlns:a16="http://schemas.microsoft.com/office/drawing/2014/main" id="{106E6ACD-F1D5-4F5B-A406-565E58F8BDD4}"/>
                  </a:ext>
                </a:extLst>
              </p:cNvPr>
              <p:cNvSpPr/>
              <p:nvPr/>
            </p:nvSpPr>
            <p:spPr>
              <a:xfrm>
                <a:off x="6576383" y="5016048"/>
                <a:ext cx="44180" cy="127330"/>
              </a:xfrm>
              <a:custGeom>
                <a:avLst/>
                <a:gdLst>
                  <a:gd name="connsiteX0" fmla="*/ 0 w 44180"/>
                  <a:gd name="connsiteY0" fmla="*/ 947 h 127330"/>
                  <a:gd name="connsiteX1" fmla="*/ 2899 w 44180"/>
                  <a:gd name="connsiteY1" fmla="*/ 0 h 127330"/>
                  <a:gd name="connsiteX2" fmla="*/ 44181 w 44180"/>
                  <a:gd name="connsiteY2" fmla="*/ 126383 h 127330"/>
                  <a:gd name="connsiteX3" fmla="*/ 41281 w 44180"/>
                  <a:gd name="connsiteY3" fmla="*/ 127331 h 127330"/>
                </a:gdLst>
                <a:ahLst/>
                <a:cxnLst>
                  <a:cxn ang="0">
                    <a:pos x="connsiteX0" y="connsiteY0"/>
                  </a:cxn>
                  <a:cxn ang="0">
                    <a:pos x="connsiteX1" y="connsiteY1"/>
                  </a:cxn>
                  <a:cxn ang="0">
                    <a:pos x="connsiteX2" y="connsiteY2"/>
                  </a:cxn>
                  <a:cxn ang="0">
                    <a:pos x="connsiteX3" y="connsiteY3"/>
                  </a:cxn>
                </a:cxnLst>
                <a:rect l="l" t="t" r="r" b="b"/>
                <a:pathLst>
                  <a:path w="44180" h="127330">
                    <a:moveTo>
                      <a:pt x="0" y="947"/>
                    </a:moveTo>
                    <a:lnTo>
                      <a:pt x="2899" y="0"/>
                    </a:lnTo>
                    <a:lnTo>
                      <a:pt x="44181" y="126383"/>
                    </a:lnTo>
                    <a:lnTo>
                      <a:pt x="41281" y="127331"/>
                    </a:lnTo>
                    <a:close/>
                  </a:path>
                </a:pathLst>
              </a:custGeom>
              <a:grpFill/>
              <a:ln w="5978" cap="flat">
                <a:noFill/>
                <a:prstDash val="solid"/>
                <a:miter/>
              </a:ln>
            </p:spPr>
            <p:txBody>
              <a:bodyPr rtlCol="0" anchor="ctr"/>
              <a:lstStyle/>
              <a:p>
                <a:endParaRPr lang="en-GB"/>
              </a:p>
            </p:txBody>
          </p:sp>
          <p:sp>
            <p:nvSpPr>
              <p:cNvPr id="3338" name="Vrije vorm: vorm 3337">
                <a:extLst>
                  <a:ext uri="{FF2B5EF4-FFF2-40B4-BE49-F238E27FC236}">
                    <a16:creationId xmlns:a16="http://schemas.microsoft.com/office/drawing/2014/main" id="{12807938-C1E9-4C53-95AA-86D0FE1A93B0}"/>
                  </a:ext>
                </a:extLst>
              </p:cNvPr>
              <p:cNvSpPr/>
              <p:nvPr/>
            </p:nvSpPr>
            <p:spPr>
              <a:xfrm>
                <a:off x="6609580" y="5133362"/>
                <a:ext cx="18309" cy="18439"/>
              </a:xfrm>
              <a:custGeom>
                <a:avLst/>
                <a:gdLst>
                  <a:gd name="connsiteX0" fmla="*/ 17856 w 18309"/>
                  <a:gd name="connsiteY0" fmla="*/ 6390 h 18439"/>
                  <a:gd name="connsiteX1" fmla="*/ 11995 w 18309"/>
                  <a:gd name="connsiteY1" fmla="*/ 17993 h 18439"/>
                  <a:gd name="connsiteX2" fmla="*/ 453 w 18309"/>
                  <a:gd name="connsiteY2" fmla="*/ 12072 h 18439"/>
                  <a:gd name="connsiteX3" fmla="*/ 6314 w 18309"/>
                  <a:gd name="connsiteY3" fmla="*/ 470 h 18439"/>
                  <a:gd name="connsiteX4" fmla="*/ 17856 w 18309"/>
                  <a:gd name="connsiteY4" fmla="*/ 639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9">
                    <a:moveTo>
                      <a:pt x="17856" y="6390"/>
                    </a:moveTo>
                    <a:cubicBezTo>
                      <a:pt x="19412" y="11235"/>
                      <a:pt x="16840" y="16438"/>
                      <a:pt x="11995" y="17993"/>
                    </a:cubicBezTo>
                    <a:cubicBezTo>
                      <a:pt x="7211" y="19548"/>
                      <a:pt x="2008" y="16916"/>
                      <a:pt x="453" y="12072"/>
                    </a:cubicBezTo>
                    <a:cubicBezTo>
                      <a:pt x="-1102" y="7228"/>
                      <a:pt x="1469" y="2025"/>
                      <a:pt x="6314" y="470"/>
                    </a:cubicBezTo>
                    <a:cubicBezTo>
                      <a:pt x="11098" y="-1145"/>
                      <a:pt x="16242" y="1546"/>
                      <a:pt x="17856" y="6390"/>
                    </a:cubicBezTo>
                    <a:close/>
                  </a:path>
                </a:pathLst>
              </a:custGeom>
              <a:grpFill/>
              <a:ln w="5978" cap="flat">
                <a:noFill/>
                <a:prstDash val="solid"/>
                <a:miter/>
              </a:ln>
            </p:spPr>
            <p:txBody>
              <a:bodyPr rtlCol="0" anchor="ctr"/>
              <a:lstStyle/>
              <a:p>
                <a:endParaRPr lang="en-GB"/>
              </a:p>
            </p:txBody>
          </p:sp>
          <p:sp>
            <p:nvSpPr>
              <p:cNvPr id="3339" name="Vrije vorm: vorm 3338">
                <a:extLst>
                  <a:ext uri="{FF2B5EF4-FFF2-40B4-BE49-F238E27FC236}">
                    <a16:creationId xmlns:a16="http://schemas.microsoft.com/office/drawing/2014/main" id="{0E5C930B-9F2D-4970-8A10-8BF1AE375258}"/>
                  </a:ext>
                </a:extLst>
              </p:cNvPr>
              <p:cNvSpPr/>
              <p:nvPr/>
            </p:nvSpPr>
            <p:spPr>
              <a:xfrm>
                <a:off x="6568618" y="5007849"/>
                <a:ext cx="18298" cy="18416"/>
              </a:xfrm>
              <a:custGeom>
                <a:avLst/>
                <a:gdLst>
                  <a:gd name="connsiteX0" fmla="*/ 17851 w 18298"/>
                  <a:gd name="connsiteY0" fmla="*/ 6368 h 18416"/>
                  <a:gd name="connsiteX1" fmla="*/ 6309 w 18298"/>
                  <a:gd name="connsiteY1" fmla="*/ 447 h 18416"/>
                  <a:gd name="connsiteX2" fmla="*/ 447 w 18298"/>
                  <a:gd name="connsiteY2" fmla="*/ 12049 h 18416"/>
                  <a:gd name="connsiteX3" fmla="*/ 11990 w 18298"/>
                  <a:gd name="connsiteY3" fmla="*/ 17970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6296" y="1523"/>
                      <a:pt x="11093" y="-1108"/>
                      <a:pt x="6309" y="447"/>
                    </a:cubicBezTo>
                    <a:cubicBezTo>
                      <a:pt x="1524" y="2002"/>
                      <a:pt x="-1108" y="7205"/>
                      <a:pt x="447" y="12049"/>
                    </a:cubicBezTo>
                    <a:cubicBezTo>
                      <a:pt x="2002" y="16894"/>
                      <a:pt x="7205" y="19525"/>
                      <a:pt x="11990" y="17970"/>
                    </a:cubicBezTo>
                    <a:cubicBezTo>
                      <a:pt x="16775" y="16415"/>
                      <a:pt x="19406" y="11212"/>
                      <a:pt x="17851" y="6368"/>
                    </a:cubicBezTo>
                    <a:close/>
                  </a:path>
                </a:pathLst>
              </a:custGeom>
              <a:grpFill/>
              <a:ln w="5978" cap="flat">
                <a:noFill/>
                <a:prstDash val="solid"/>
                <a:miter/>
              </a:ln>
            </p:spPr>
            <p:txBody>
              <a:bodyPr rtlCol="0" anchor="ctr"/>
              <a:lstStyle/>
              <a:p>
                <a:endParaRPr lang="en-GB"/>
              </a:p>
            </p:txBody>
          </p:sp>
        </p:grpSp>
        <p:grpSp>
          <p:nvGrpSpPr>
            <p:cNvPr id="685" name="Graphic 3">
              <a:extLst>
                <a:ext uri="{FF2B5EF4-FFF2-40B4-BE49-F238E27FC236}">
                  <a16:creationId xmlns:a16="http://schemas.microsoft.com/office/drawing/2014/main" id="{E2F61BA6-4F65-4BB0-B04D-3FC974F1EAAE}"/>
                </a:ext>
              </a:extLst>
            </p:cNvPr>
            <p:cNvGrpSpPr/>
            <p:nvPr/>
          </p:nvGrpSpPr>
          <p:grpSpPr>
            <a:xfrm>
              <a:off x="5457416" y="1762333"/>
              <a:ext cx="36392" cy="68895"/>
              <a:chOff x="5457416" y="1762333"/>
              <a:chExt cx="36392" cy="68895"/>
            </a:xfrm>
            <a:grpFill/>
          </p:grpSpPr>
          <p:sp>
            <p:nvSpPr>
              <p:cNvPr id="3334" name="Vrije vorm: vorm 3333">
                <a:extLst>
                  <a:ext uri="{FF2B5EF4-FFF2-40B4-BE49-F238E27FC236}">
                    <a16:creationId xmlns:a16="http://schemas.microsoft.com/office/drawing/2014/main" id="{876F9A8F-A9C5-43BB-840B-942E8BC11F27}"/>
                  </a:ext>
                </a:extLst>
              </p:cNvPr>
              <p:cNvSpPr/>
              <p:nvPr/>
            </p:nvSpPr>
            <p:spPr>
              <a:xfrm>
                <a:off x="5465196" y="1770578"/>
                <a:ext cx="21290" cy="52372"/>
              </a:xfrm>
              <a:custGeom>
                <a:avLst/>
                <a:gdLst>
                  <a:gd name="connsiteX0" fmla="*/ 0 w 21290"/>
                  <a:gd name="connsiteY0" fmla="*/ 1030 h 52372"/>
                  <a:gd name="connsiteX1" fmla="*/ 2871 w 21290"/>
                  <a:gd name="connsiteY1" fmla="*/ 0 h 52372"/>
                  <a:gd name="connsiteX2" fmla="*/ 21291 w 21290"/>
                  <a:gd name="connsiteY2" fmla="*/ 51342 h 52372"/>
                  <a:gd name="connsiteX3" fmla="*/ 18420 w 21290"/>
                  <a:gd name="connsiteY3" fmla="*/ 52372 h 52372"/>
                </a:gdLst>
                <a:ahLst/>
                <a:cxnLst>
                  <a:cxn ang="0">
                    <a:pos x="connsiteX0" y="connsiteY0"/>
                  </a:cxn>
                  <a:cxn ang="0">
                    <a:pos x="connsiteX1" y="connsiteY1"/>
                  </a:cxn>
                  <a:cxn ang="0">
                    <a:pos x="connsiteX2" y="connsiteY2"/>
                  </a:cxn>
                  <a:cxn ang="0">
                    <a:pos x="connsiteX3" y="connsiteY3"/>
                  </a:cxn>
                </a:cxnLst>
                <a:rect l="l" t="t" r="r" b="b"/>
                <a:pathLst>
                  <a:path w="21290" h="52372">
                    <a:moveTo>
                      <a:pt x="0" y="1030"/>
                    </a:moveTo>
                    <a:lnTo>
                      <a:pt x="2871" y="0"/>
                    </a:lnTo>
                    <a:lnTo>
                      <a:pt x="21291" y="51342"/>
                    </a:lnTo>
                    <a:lnTo>
                      <a:pt x="18420" y="52372"/>
                    </a:lnTo>
                    <a:close/>
                  </a:path>
                </a:pathLst>
              </a:custGeom>
              <a:grpFill/>
              <a:ln w="5978" cap="flat">
                <a:noFill/>
                <a:prstDash val="solid"/>
                <a:miter/>
              </a:ln>
            </p:spPr>
            <p:txBody>
              <a:bodyPr rtlCol="0" anchor="ctr"/>
              <a:lstStyle/>
              <a:p>
                <a:endParaRPr lang="en-GB"/>
              </a:p>
            </p:txBody>
          </p:sp>
          <p:sp>
            <p:nvSpPr>
              <p:cNvPr id="3335" name="Vrije vorm: vorm 3334">
                <a:extLst>
                  <a:ext uri="{FF2B5EF4-FFF2-40B4-BE49-F238E27FC236}">
                    <a16:creationId xmlns:a16="http://schemas.microsoft.com/office/drawing/2014/main" id="{81174377-2E96-4F1C-BF0D-5BAF6D1894B7}"/>
                  </a:ext>
                </a:extLst>
              </p:cNvPr>
              <p:cNvSpPr/>
              <p:nvPr/>
            </p:nvSpPr>
            <p:spPr>
              <a:xfrm>
                <a:off x="5457416" y="1762333"/>
                <a:ext cx="18324" cy="18447"/>
              </a:xfrm>
              <a:custGeom>
                <a:avLst/>
                <a:gdLst>
                  <a:gd name="connsiteX0" fmla="*/ 550 w 18324"/>
                  <a:gd name="connsiteY0" fmla="*/ 12307 h 18447"/>
                  <a:gd name="connsiteX1" fmla="*/ 6052 w 18324"/>
                  <a:gd name="connsiteY1" fmla="*/ 525 h 18447"/>
                  <a:gd name="connsiteX2" fmla="*/ 17775 w 18324"/>
                  <a:gd name="connsiteY2" fmla="*/ 6147 h 18447"/>
                  <a:gd name="connsiteX3" fmla="*/ 12272 w 18324"/>
                  <a:gd name="connsiteY3" fmla="*/ 17929 h 18447"/>
                  <a:gd name="connsiteX4" fmla="*/ 550 w 18324"/>
                  <a:gd name="connsiteY4" fmla="*/ 1230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7">
                    <a:moveTo>
                      <a:pt x="550" y="12307"/>
                    </a:moveTo>
                    <a:cubicBezTo>
                      <a:pt x="-1185" y="7523"/>
                      <a:pt x="1328" y="2260"/>
                      <a:pt x="6052" y="525"/>
                    </a:cubicBezTo>
                    <a:cubicBezTo>
                      <a:pt x="10837" y="-1149"/>
                      <a:pt x="16040" y="1303"/>
                      <a:pt x="17775" y="6147"/>
                    </a:cubicBezTo>
                    <a:cubicBezTo>
                      <a:pt x="19509" y="10932"/>
                      <a:pt x="16997" y="16195"/>
                      <a:pt x="12272" y="17929"/>
                    </a:cubicBezTo>
                    <a:cubicBezTo>
                      <a:pt x="7488" y="19604"/>
                      <a:pt x="2284" y="17092"/>
                      <a:pt x="550" y="12307"/>
                    </a:cubicBezTo>
                    <a:close/>
                  </a:path>
                </a:pathLst>
              </a:custGeom>
              <a:grpFill/>
              <a:ln w="5978" cap="flat">
                <a:noFill/>
                <a:prstDash val="solid"/>
                <a:miter/>
              </a:ln>
            </p:spPr>
            <p:txBody>
              <a:bodyPr rtlCol="0" anchor="ctr"/>
              <a:lstStyle/>
              <a:p>
                <a:endParaRPr lang="en-GB"/>
              </a:p>
            </p:txBody>
          </p:sp>
          <p:sp>
            <p:nvSpPr>
              <p:cNvPr id="3336" name="Vrije vorm: vorm 3335">
                <a:extLst>
                  <a:ext uri="{FF2B5EF4-FFF2-40B4-BE49-F238E27FC236}">
                    <a16:creationId xmlns:a16="http://schemas.microsoft.com/office/drawing/2014/main" id="{E977F259-0E4D-433E-92EB-0C3CEC74FD36}"/>
                  </a:ext>
                </a:extLst>
              </p:cNvPr>
              <p:cNvSpPr/>
              <p:nvPr/>
            </p:nvSpPr>
            <p:spPr>
              <a:xfrm>
                <a:off x="5475478" y="1812786"/>
                <a:ext cx="18331" cy="18443"/>
              </a:xfrm>
              <a:custGeom>
                <a:avLst/>
                <a:gdLst>
                  <a:gd name="connsiteX0" fmla="*/ 550 w 18331"/>
                  <a:gd name="connsiteY0" fmla="*/ 12332 h 18443"/>
                  <a:gd name="connsiteX1" fmla="*/ 12272 w 18331"/>
                  <a:gd name="connsiteY1" fmla="*/ 17894 h 18443"/>
                  <a:gd name="connsiteX2" fmla="*/ 17774 w 18331"/>
                  <a:gd name="connsiteY2" fmla="*/ 6112 h 18443"/>
                  <a:gd name="connsiteX3" fmla="*/ 6053 w 18331"/>
                  <a:gd name="connsiteY3" fmla="*/ 549 h 18443"/>
                  <a:gd name="connsiteX4" fmla="*/ 550 w 18331"/>
                  <a:gd name="connsiteY4" fmla="*/ 123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43">
                    <a:moveTo>
                      <a:pt x="550" y="12332"/>
                    </a:moveTo>
                    <a:cubicBezTo>
                      <a:pt x="2285" y="17116"/>
                      <a:pt x="7488" y="19628"/>
                      <a:pt x="12272" y="17894"/>
                    </a:cubicBezTo>
                    <a:cubicBezTo>
                      <a:pt x="17057" y="16219"/>
                      <a:pt x="19509" y="10896"/>
                      <a:pt x="17774" y="6112"/>
                    </a:cubicBezTo>
                    <a:cubicBezTo>
                      <a:pt x="16040" y="1327"/>
                      <a:pt x="10837" y="-1185"/>
                      <a:pt x="6053" y="549"/>
                    </a:cubicBezTo>
                    <a:cubicBezTo>
                      <a:pt x="1328" y="2284"/>
                      <a:pt x="-1184" y="7547"/>
                      <a:pt x="550" y="12332"/>
                    </a:cubicBezTo>
                    <a:close/>
                  </a:path>
                </a:pathLst>
              </a:custGeom>
              <a:grpFill/>
              <a:ln w="5978" cap="flat">
                <a:noFill/>
                <a:prstDash val="solid"/>
                <a:miter/>
              </a:ln>
            </p:spPr>
            <p:txBody>
              <a:bodyPr rtlCol="0" anchor="ctr"/>
              <a:lstStyle/>
              <a:p>
                <a:endParaRPr lang="en-GB"/>
              </a:p>
            </p:txBody>
          </p:sp>
        </p:grpSp>
        <p:grpSp>
          <p:nvGrpSpPr>
            <p:cNvPr id="686" name="Graphic 3">
              <a:extLst>
                <a:ext uri="{FF2B5EF4-FFF2-40B4-BE49-F238E27FC236}">
                  <a16:creationId xmlns:a16="http://schemas.microsoft.com/office/drawing/2014/main" id="{FDE3359C-925B-4786-8C92-9F7A47DFCA98}"/>
                </a:ext>
              </a:extLst>
            </p:cNvPr>
            <p:cNvGrpSpPr/>
            <p:nvPr/>
          </p:nvGrpSpPr>
          <p:grpSpPr>
            <a:xfrm>
              <a:off x="5388519" y="1569694"/>
              <a:ext cx="81009" cy="193742"/>
              <a:chOff x="5388519" y="1569694"/>
              <a:chExt cx="81009" cy="193742"/>
            </a:xfrm>
            <a:grpFill/>
          </p:grpSpPr>
          <p:sp>
            <p:nvSpPr>
              <p:cNvPr id="3331" name="Vrije vorm: vorm 3330">
                <a:extLst>
                  <a:ext uri="{FF2B5EF4-FFF2-40B4-BE49-F238E27FC236}">
                    <a16:creationId xmlns:a16="http://schemas.microsoft.com/office/drawing/2014/main" id="{DDF95B07-3A4B-40FE-91EA-4BFD63AB4324}"/>
                  </a:ext>
                </a:extLst>
              </p:cNvPr>
              <p:cNvSpPr/>
              <p:nvPr/>
            </p:nvSpPr>
            <p:spPr>
              <a:xfrm>
                <a:off x="5396126" y="1577994"/>
                <a:ext cx="65847" cy="177149"/>
              </a:xfrm>
              <a:custGeom>
                <a:avLst/>
                <a:gdLst>
                  <a:gd name="connsiteX0" fmla="*/ 65848 w 65847"/>
                  <a:gd name="connsiteY0" fmla="*/ 176132 h 177149"/>
                  <a:gd name="connsiteX1" fmla="*/ 62977 w 65847"/>
                  <a:gd name="connsiteY1" fmla="*/ 177149 h 177149"/>
                  <a:gd name="connsiteX2" fmla="*/ 0 w 65847"/>
                  <a:gd name="connsiteY2" fmla="*/ 1017 h 177149"/>
                  <a:gd name="connsiteX3" fmla="*/ 2871 w 65847"/>
                  <a:gd name="connsiteY3" fmla="*/ 0 h 177149"/>
                </a:gdLst>
                <a:ahLst/>
                <a:cxnLst>
                  <a:cxn ang="0">
                    <a:pos x="connsiteX0" y="connsiteY0"/>
                  </a:cxn>
                  <a:cxn ang="0">
                    <a:pos x="connsiteX1" y="connsiteY1"/>
                  </a:cxn>
                  <a:cxn ang="0">
                    <a:pos x="connsiteX2" y="connsiteY2"/>
                  </a:cxn>
                  <a:cxn ang="0">
                    <a:pos x="connsiteX3" y="connsiteY3"/>
                  </a:cxn>
                </a:cxnLst>
                <a:rect l="l" t="t" r="r" b="b"/>
                <a:pathLst>
                  <a:path w="65847" h="177149">
                    <a:moveTo>
                      <a:pt x="65848" y="176132"/>
                    </a:moveTo>
                    <a:lnTo>
                      <a:pt x="62977" y="177149"/>
                    </a:lnTo>
                    <a:lnTo>
                      <a:pt x="0" y="1017"/>
                    </a:lnTo>
                    <a:lnTo>
                      <a:pt x="2871" y="0"/>
                    </a:lnTo>
                    <a:close/>
                  </a:path>
                </a:pathLst>
              </a:custGeom>
              <a:grpFill/>
              <a:ln w="5978" cap="flat">
                <a:noFill/>
                <a:prstDash val="solid"/>
                <a:miter/>
              </a:ln>
            </p:spPr>
            <p:txBody>
              <a:bodyPr rtlCol="0" anchor="ctr"/>
              <a:lstStyle/>
              <a:p>
                <a:endParaRPr lang="en-GB"/>
              </a:p>
            </p:txBody>
          </p:sp>
          <p:sp>
            <p:nvSpPr>
              <p:cNvPr id="3332" name="Vrije vorm: vorm 3331">
                <a:extLst>
                  <a:ext uri="{FF2B5EF4-FFF2-40B4-BE49-F238E27FC236}">
                    <a16:creationId xmlns:a16="http://schemas.microsoft.com/office/drawing/2014/main" id="{54DE606F-93C8-49E8-8B2D-58087C6A1F9E}"/>
                  </a:ext>
                </a:extLst>
              </p:cNvPr>
              <p:cNvSpPr/>
              <p:nvPr/>
            </p:nvSpPr>
            <p:spPr>
              <a:xfrm>
                <a:off x="5388519" y="1569694"/>
                <a:ext cx="18324" cy="18454"/>
              </a:xfrm>
              <a:custGeom>
                <a:avLst/>
                <a:gdLst>
                  <a:gd name="connsiteX0" fmla="*/ 550 w 18324"/>
                  <a:gd name="connsiteY0" fmla="*/ 12307 h 18454"/>
                  <a:gd name="connsiteX1" fmla="*/ 6052 w 18324"/>
                  <a:gd name="connsiteY1" fmla="*/ 525 h 18454"/>
                  <a:gd name="connsiteX2" fmla="*/ 17775 w 18324"/>
                  <a:gd name="connsiteY2" fmla="*/ 6147 h 18454"/>
                  <a:gd name="connsiteX3" fmla="*/ 12272 w 18324"/>
                  <a:gd name="connsiteY3" fmla="*/ 17929 h 18454"/>
                  <a:gd name="connsiteX4" fmla="*/ 550 w 18324"/>
                  <a:gd name="connsiteY4" fmla="*/ 1230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4">
                    <a:moveTo>
                      <a:pt x="550" y="12307"/>
                    </a:moveTo>
                    <a:cubicBezTo>
                      <a:pt x="-1184" y="7523"/>
                      <a:pt x="1328" y="2260"/>
                      <a:pt x="6052" y="525"/>
                    </a:cubicBezTo>
                    <a:cubicBezTo>
                      <a:pt x="10837" y="-1149"/>
                      <a:pt x="16040" y="1303"/>
                      <a:pt x="17775" y="6147"/>
                    </a:cubicBezTo>
                    <a:cubicBezTo>
                      <a:pt x="19509" y="10932"/>
                      <a:pt x="16997" y="16195"/>
                      <a:pt x="12272" y="17929"/>
                    </a:cubicBezTo>
                    <a:cubicBezTo>
                      <a:pt x="7547" y="19604"/>
                      <a:pt x="2284" y="17152"/>
                      <a:pt x="550" y="12307"/>
                    </a:cubicBezTo>
                    <a:close/>
                  </a:path>
                </a:pathLst>
              </a:custGeom>
              <a:grpFill/>
              <a:ln w="5978" cap="flat">
                <a:noFill/>
                <a:prstDash val="solid"/>
                <a:miter/>
              </a:ln>
            </p:spPr>
            <p:txBody>
              <a:bodyPr rtlCol="0" anchor="ctr"/>
              <a:lstStyle/>
              <a:p>
                <a:endParaRPr lang="en-GB"/>
              </a:p>
            </p:txBody>
          </p:sp>
          <p:sp>
            <p:nvSpPr>
              <p:cNvPr id="3333" name="Vrije vorm: vorm 3332">
                <a:extLst>
                  <a:ext uri="{FF2B5EF4-FFF2-40B4-BE49-F238E27FC236}">
                    <a16:creationId xmlns:a16="http://schemas.microsoft.com/office/drawing/2014/main" id="{AEAEF684-A7F3-4EF0-9B20-1E6FC22AD731}"/>
                  </a:ext>
                </a:extLst>
              </p:cNvPr>
              <p:cNvSpPr/>
              <p:nvPr/>
            </p:nvSpPr>
            <p:spPr>
              <a:xfrm>
                <a:off x="5451220" y="1744995"/>
                <a:ext cx="18307" cy="18441"/>
              </a:xfrm>
              <a:custGeom>
                <a:avLst/>
                <a:gdLst>
                  <a:gd name="connsiteX0" fmla="*/ 526 w 18307"/>
                  <a:gd name="connsiteY0" fmla="*/ 12301 h 18441"/>
                  <a:gd name="connsiteX1" fmla="*/ 12249 w 18307"/>
                  <a:gd name="connsiteY1" fmla="*/ 17923 h 18441"/>
                  <a:gd name="connsiteX2" fmla="*/ 17751 w 18307"/>
                  <a:gd name="connsiteY2" fmla="*/ 6141 h 18441"/>
                  <a:gd name="connsiteX3" fmla="*/ 6029 w 18307"/>
                  <a:gd name="connsiteY3" fmla="*/ 519 h 18441"/>
                  <a:gd name="connsiteX4" fmla="*/ 526 w 18307"/>
                  <a:gd name="connsiteY4" fmla="*/ 1230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41">
                    <a:moveTo>
                      <a:pt x="526" y="12301"/>
                    </a:moveTo>
                    <a:cubicBezTo>
                      <a:pt x="2261" y="17085"/>
                      <a:pt x="7464" y="19597"/>
                      <a:pt x="12249" y="17923"/>
                    </a:cubicBezTo>
                    <a:cubicBezTo>
                      <a:pt x="17033" y="16248"/>
                      <a:pt x="19485" y="10925"/>
                      <a:pt x="17751" y="6141"/>
                    </a:cubicBezTo>
                    <a:cubicBezTo>
                      <a:pt x="16016" y="1356"/>
                      <a:pt x="10813" y="-1156"/>
                      <a:pt x="6029" y="519"/>
                    </a:cubicBezTo>
                    <a:cubicBezTo>
                      <a:pt x="1304" y="2193"/>
                      <a:pt x="-1148" y="7456"/>
                      <a:pt x="526" y="12301"/>
                    </a:cubicBezTo>
                    <a:close/>
                  </a:path>
                </a:pathLst>
              </a:custGeom>
              <a:grpFill/>
              <a:ln w="5978" cap="flat">
                <a:noFill/>
                <a:prstDash val="solid"/>
                <a:miter/>
              </a:ln>
            </p:spPr>
            <p:txBody>
              <a:bodyPr rtlCol="0" anchor="ctr"/>
              <a:lstStyle/>
              <a:p>
                <a:endParaRPr lang="en-GB"/>
              </a:p>
            </p:txBody>
          </p:sp>
        </p:grpSp>
        <p:grpSp>
          <p:nvGrpSpPr>
            <p:cNvPr id="687" name="Graphic 3">
              <a:extLst>
                <a:ext uri="{FF2B5EF4-FFF2-40B4-BE49-F238E27FC236}">
                  <a16:creationId xmlns:a16="http://schemas.microsoft.com/office/drawing/2014/main" id="{B428991B-46BB-43A7-8A47-017C7D1E4DD9}"/>
                </a:ext>
              </a:extLst>
            </p:cNvPr>
            <p:cNvGrpSpPr/>
            <p:nvPr/>
          </p:nvGrpSpPr>
          <p:grpSpPr>
            <a:xfrm>
              <a:off x="6567751" y="5008062"/>
              <a:ext cx="110098" cy="419417"/>
              <a:chOff x="6567751" y="5008062"/>
              <a:chExt cx="110098" cy="419417"/>
            </a:xfrm>
            <a:grpFill/>
          </p:grpSpPr>
          <p:sp>
            <p:nvSpPr>
              <p:cNvPr id="3328" name="Vrije vorm: vorm 3327">
                <a:extLst>
                  <a:ext uri="{FF2B5EF4-FFF2-40B4-BE49-F238E27FC236}">
                    <a16:creationId xmlns:a16="http://schemas.microsoft.com/office/drawing/2014/main" id="{AD4B2BB1-5EEC-4A1F-9933-6742C7ED3C30}"/>
                  </a:ext>
                </a:extLst>
              </p:cNvPr>
              <p:cNvSpPr/>
              <p:nvPr/>
            </p:nvSpPr>
            <p:spPr>
              <a:xfrm>
                <a:off x="6575435" y="5016340"/>
                <a:ext cx="94946" cy="402542"/>
              </a:xfrm>
              <a:custGeom>
                <a:avLst/>
                <a:gdLst>
                  <a:gd name="connsiteX0" fmla="*/ 0 w 94946"/>
                  <a:gd name="connsiteY0" fmla="*/ 681 h 402542"/>
                  <a:gd name="connsiteX1" fmla="*/ 2974 w 94946"/>
                  <a:gd name="connsiteY1" fmla="*/ 0 h 402542"/>
                  <a:gd name="connsiteX2" fmla="*/ 94947 w 94946"/>
                  <a:gd name="connsiteY2" fmla="*/ 401862 h 402542"/>
                  <a:gd name="connsiteX3" fmla="*/ 91973 w 94946"/>
                  <a:gd name="connsiteY3" fmla="*/ 402543 h 402542"/>
                </a:gdLst>
                <a:ahLst/>
                <a:cxnLst>
                  <a:cxn ang="0">
                    <a:pos x="connsiteX0" y="connsiteY0"/>
                  </a:cxn>
                  <a:cxn ang="0">
                    <a:pos x="connsiteX1" y="connsiteY1"/>
                  </a:cxn>
                  <a:cxn ang="0">
                    <a:pos x="connsiteX2" y="connsiteY2"/>
                  </a:cxn>
                  <a:cxn ang="0">
                    <a:pos x="connsiteX3" y="connsiteY3"/>
                  </a:cxn>
                </a:cxnLst>
                <a:rect l="l" t="t" r="r" b="b"/>
                <a:pathLst>
                  <a:path w="94946" h="402542">
                    <a:moveTo>
                      <a:pt x="0" y="681"/>
                    </a:moveTo>
                    <a:lnTo>
                      <a:pt x="2974" y="0"/>
                    </a:lnTo>
                    <a:lnTo>
                      <a:pt x="94947" y="401862"/>
                    </a:lnTo>
                    <a:lnTo>
                      <a:pt x="91973" y="402543"/>
                    </a:lnTo>
                    <a:close/>
                  </a:path>
                </a:pathLst>
              </a:custGeom>
              <a:grpFill/>
              <a:ln w="5978" cap="flat">
                <a:noFill/>
                <a:prstDash val="solid"/>
                <a:miter/>
              </a:ln>
            </p:spPr>
            <p:txBody>
              <a:bodyPr rtlCol="0" anchor="ctr"/>
              <a:lstStyle/>
              <a:p>
                <a:endParaRPr lang="en-GB"/>
              </a:p>
            </p:txBody>
          </p:sp>
          <p:sp>
            <p:nvSpPr>
              <p:cNvPr id="3329" name="Vrije vorm: vorm 3328">
                <a:extLst>
                  <a:ext uri="{FF2B5EF4-FFF2-40B4-BE49-F238E27FC236}">
                    <a16:creationId xmlns:a16="http://schemas.microsoft.com/office/drawing/2014/main" id="{16709AA7-EB4C-476C-94C1-6C81A9D4CE62}"/>
                  </a:ext>
                </a:extLst>
              </p:cNvPr>
              <p:cNvSpPr/>
              <p:nvPr/>
            </p:nvSpPr>
            <p:spPr>
              <a:xfrm>
                <a:off x="6567751" y="5008062"/>
                <a:ext cx="18353" cy="18429"/>
              </a:xfrm>
              <a:custGeom>
                <a:avLst/>
                <a:gdLst>
                  <a:gd name="connsiteX0" fmla="*/ 237 w 18353"/>
                  <a:gd name="connsiteY0" fmla="*/ 11238 h 18429"/>
                  <a:gd name="connsiteX1" fmla="*/ 7115 w 18353"/>
                  <a:gd name="connsiteY1" fmla="*/ 234 h 18429"/>
                  <a:gd name="connsiteX2" fmla="*/ 18120 w 18353"/>
                  <a:gd name="connsiteY2" fmla="*/ 7172 h 18429"/>
                  <a:gd name="connsiteX3" fmla="*/ 11242 w 18353"/>
                  <a:gd name="connsiteY3" fmla="*/ 18176 h 18429"/>
                  <a:gd name="connsiteX4" fmla="*/ 237 w 18353"/>
                  <a:gd name="connsiteY4" fmla="*/ 1123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9">
                    <a:moveTo>
                      <a:pt x="237" y="11238"/>
                    </a:moveTo>
                    <a:cubicBezTo>
                      <a:pt x="-899" y="6275"/>
                      <a:pt x="2151" y="1371"/>
                      <a:pt x="7115" y="234"/>
                    </a:cubicBezTo>
                    <a:cubicBezTo>
                      <a:pt x="12020" y="-902"/>
                      <a:pt x="16983" y="2208"/>
                      <a:pt x="18120" y="7172"/>
                    </a:cubicBezTo>
                    <a:cubicBezTo>
                      <a:pt x="19256" y="12136"/>
                      <a:pt x="16146" y="17040"/>
                      <a:pt x="11242" y="18176"/>
                    </a:cubicBezTo>
                    <a:cubicBezTo>
                      <a:pt x="6278" y="19373"/>
                      <a:pt x="1374" y="16203"/>
                      <a:pt x="237" y="11238"/>
                    </a:cubicBezTo>
                    <a:close/>
                  </a:path>
                </a:pathLst>
              </a:custGeom>
              <a:grpFill/>
              <a:ln w="5978" cap="flat">
                <a:noFill/>
                <a:prstDash val="solid"/>
                <a:miter/>
              </a:ln>
            </p:spPr>
            <p:txBody>
              <a:bodyPr rtlCol="0" anchor="ctr"/>
              <a:lstStyle/>
              <a:p>
                <a:endParaRPr lang="en-GB"/>
              </a:p>
            </p:txBody>
          </p:sp>
          <p:sp>
            <p:nvSpPr>
              <p:cNvPr id="3330" name="Vrije vorm: vorm 3329">
                <a:extLst>
                  <a:ext uri="{FF2B5EF4-FFF2-40B4-BE49-F238E27FC236}">
                    <a16:creationId xmlns:a16="http://schemas.microsoft.com/office/drawing/2014/main" id="{9626469A-8E49-4301-8712-6FEFC06D78D3}"/>
                  </a:ext>
                </a:extLst>
              </p:cNvPr>
              <p:cNvSpPr/>
              <p:nvPr/>
            </p:nvSpPr>
            <p:spPr>
              <a:xfrm>
                <a:off x="6659499" y="5409069"/>
                <a:ext cx="18350" cy="18410"/>
              </a:xfrm>
              <a:custGeom>
                <a:avLst/>
                <a:gdLst>
                  <a:gd name="connsiteX0" fmla="*/ 234 w 18350"/>
                  <a:gd name="connsiteY0" fmla="*/ 11239 h 18410"/>
                  <a:gd name="connsiteX1" fmla="*/ 11239 w 18350"/>
                  <a:gd name="connsiteY1" fmla="*/ 18176 h 18410"/>
                  <a:gd name="connsiteX2" fmla="*/ 18117 w 18350"/>
                  <a:gd name="connsiteY2" fmla="*/ 7172 h 18410"/>
                  <a:gd name="connsiteX3" fmla="*/ 7112 w 18350"/>
                  <a:gd name="connsiteY3" fmla="*/ 234 h 18410"/>
                  <a:gd name="connsiteX4" fmla="*/ 234 w 18350"/>
                  <a:gd name="connsiteY4" fmla="*/ 11239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0">
                    <a:moveTo>
                      <a:pt x="234" y="11239"/>
                    </a:moveTo>
                    <a:cubicBezTo>
                      <a:pt x="1371" y="16203"/>
                      <a:pt x="6275" y="19313"/>
                      <a:pt x="11239" y="18176"/>
                    </a:cubicBezTo>
                    <a:cubicBezTo>
                      <a:pt x="16143" y="17040"/>
                      <a:pt x="19253" y="12136"/>
                      <a:pt x="18117" y="7172"/>
                    </a:cubicBezTo>
                    <a:cubicBezTo>
                      <a:pt x="16980" y="2208"/>
                      <a:pt x="12076" y="-902"/>
                      <a:pt x="7112" y="234"/>
                    </a:cubicBezTo>
                    <a:cubicBezTo>
                      <a:pt x="2208" y="1311"/>
                      <a:pt x="-902" y="6275"/>
                      <a:pt x="234" y="11239"/>
                    </a:cubicBezTo>
                    <a:close/>
                  </a:path>
                </a:pathLst>
              </a:custGeom>
              <a:grpFill/>
              <a:ln w="5978" cap="flat">
                <a:noFill/>
                <a:prstDash val="solid"/>
                <a:miter/>
              </a:ln>
            </p:spPr>
            <p:txBody>
              <a:bodyPr rtlCol="0" anchor="ctr"/>
              <a:lstStyle/>
              <a:p>
                <a:endParaRPr lang="en-GB"/>
              </a:p>
            </p:txBody>
          </p:sp>
        </p:grpSp>
        <p:grpSp>
          <p:nvGrpSpPr>
            <p:cNvPr id="688" name="Graphic 3">
              <a:extLst>
                <a:ext uri="{FF2B5EF4-FFF2-40B4-BE49-F238E27FC236}">
                  <a16:creationId xmlns:a16="http://schemas.microsoft.com/office/drawing/2014/main" id="{E23BD293-D9AA-42FF-B6EE-D122A5A02678}"/>
                </a:ext>
              </a:extLst>
            </p:cNvPr>
            <p:cNvGrpSpPr/>
            <p:nvPr/>
          </p:nvGrpSpPr>
          <p:grpSpPr>
            <a:xfrm>
              <a:off x="5318664" y="1374399"/>
              <a:ext cx="81966" cy="196398"/>
              <a:chOff x="5318664" y="1374399"/>
              <a:chExt cx="81966" cy="196398"/>
            </a:xfrm>
            <a:grpFill/>
          </p:grpSpPr>
          <p:sp>
            <p:nvSpPr>
              <p:cNvPr id="3325" name="Vrije vorm: vorm 3324">
                <a:extLst>
                  <a:ext uri="{FF2B5EF4-FFF2-40B4-BE49-F238E27FC236}">
                    <a16:creationId xmlns:a16="http://schemas.microsoft.com/office/drawing/2014/main" id="{51E8C475-6C4B-4C14-A44E-AE0571F27D88}"/>
                  </a:ext>
                </a:extLst>
              </p:cNvPr>
              <p:cNvSpPr/>
              <p:nvPr/>
            </p:nvSpPr>
            <p:spPr>
              <a:xfrm>
                <a:off x="5326271" y="1382663"/>
                <a:ext cx="66804" cy="179840"/>
              </a:xfrm>
              <a:custGeom>
                <a:avLst/>
                <a:gdLst>
                  <a:gd name="connsiteX0" fmla="*/ 66805 w 66804"/>
                  <a:gd name="connsiteY0" fmla="*/ 178824 h 179840"/>
                  <a:gd name="connsiteX1" fmla="*/ 63934 w 66804"/>
                  <a:gd name="connsiteY1" fmla="*/ 179840 h 179840"/>
                  <a:gd name="connsiteX2" fmla="*/ 0 w 66804"/>
                  <a:gd name="connsiteY2" fmla="*/ 1017 h 179840"/>
                  <a:gd name="connsiteX3" fmla="*/ 2871 w 66804"/>
                  <a:gd name="connsiteY3" fmla="*/ 0 h 179840"/>
                </a:gdLst>
                <a:ahLst/>
                <a:cxnLst>
                  <a:cxn ang="0">
                    <a:pos x="connsiteX0" y="connsiteY0"/>
                  </a:cxn>
                  <a:cxn ang="0">
                    <a:pos x="connsiteX1" y="connsiteY1"/>
                  </a:cxn>
                  <a:cxn ang="0">
                    <a:pos x="connsiteX2" y="connsiteY2"/>
                  </a:cxn>
                  <a:cxn ang="0">
                    <a:pos x="connsiteX3" y="connsiteY3"/>
                  </a:cxn>
                </a:cxnLst>
                <a:rect l="l" t="t" r="r" b="b"/>
                <a:pathLst>
                  <a:path w="66804" h="179840">
                    <a:moveTo>
                      <a:pt x="66805" y="178824"/>
                    </a:moveTo>
                    <a:lnTo>
                      <a:pt x="63934" y="179840"/>
                    </a:lnTo>
                    <a:lnTo>
                      <a:pt x="0" y="1017"/>
                    </a:lnTo>
                    <a:lnTo>
                      <a:pt x="2871" y="0"/>
                    </a:lnTo>
                    <a:close/>
                  </a:path>
                </a:pathLst>
              </a:custGeom>
              <a:grpFill/>
              <a:ln w="5978" cap="flat">
                <a:noFill/>
                <a:prstDash val="solid"/>
                <a:miter/>
              </a:ln>
            </p:spPr>
            <p:txBody>
              <a:bodyPr rtlCol="0" anchor="ctr"/>
              <a:lstStyle/>
              <a:p>
                <a:endParaRPr lang="en-GB"/>
              </a:p>
            </p:txBody>
          </p:sp>
          <p:sp>
            <p:nvSpPr>
              <p:cNvPr id="3326" name="Vrije vorm: vorm 3325">
                <a:extLst>
                  <a:ext uri="{FF2B5EF4-FFF2-40B4-BE49-F238E27FC236}">
                    <a16:creationId xmlns:a16="http://schemas.microsoft.com/office/drawing/2014/main" id="{B2BCED86-2956-4EDC-AF39-7B7F70733C36}"/>
                  </a:ext>
                </a:extLst>
              </p:cNvPr>
              <p:cNvSpPr/>
              <p:nvPr/>
            </p:nvSpPr>
            <p:spPr>
              <a:xfrm>
                <a:off x="5318664" y="1374399"/>
                <a:ext cx="18324" cy="18471"/>
              </a:xfrm>
              <a:custGeom>
                <a:avLst/>
                <a:gdLst>
                  <a:gd name="connsiteX0" fmla="*/ 550 w 18324"/>
                  <a:gd name="connsiteY0" fmla="*/ 12331 h 18471"/>
                  <a:gd name="connsiteX1" fmla="*/ 6052 w 18324"/>
                  <a:gd name="connsiteY1" fmla="*/ 549 h 18471"/>
                  <a:gd name="connsiteX2" fmla="*/ 17775 w 18324"/>
                  <a:gd name="connsiteY2" fmla="*/ 6171 h 18471"/>
                  <a:gd name="connsiteX3" fmla="*/ 12272 w 18324"/>
                  <a:gd name="connsiteY3" fmla="*/ 17953 h 18471"/>
                  <a:gd name="connsiteX4" fmla="*/ 550 w 18324"/>
                  <a:gd name="connsiteY4" fmla="*/ 12331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71">
                    <a:moveTo>
                      <a:pt x="550" y="12331"/>
                    </a:moveTo>
                    <a:cubicBezTo>
                      <a:pt x="-1184" y="7546"/>
                      <a:pt x="1328" y="2283"/>
                      <a:pt x="6052" y="549"/>
                    </a:cubicBezTo>
                    <a:cubicBezTo>
                      <a:pt x="10837" y="-1186"/>
                      <a:pt x="16040" y="1326"/>
                      <a:pt x="17775" y="6171"/>
                    </a:cubicBezTo>
                    <a:cubicBezTo>
                      <a:pt x="19509" y="10955"/>
                      <a:pt x="16997" y="16218"/>
                      <a:pt x="12272" y="17953"/>
                    </a:cubicBezTo>
                    <a:cubicBezTo>
                      <a:pt x="7547" y="19627"/>
                      <a:pt x="2284" y="17115"/>
                      <a:pt x="550" y="12331"/>
                    </a:cubicBezTo>
                    <a:close/>
                  </a:path>
                </a:pathLst>
              </a:custGeom>
              <a:grpFill/>
              <a:ln w="5978" cap="flat">
                <a:noFill/>
                <a:prstDash val="solid"/>
                <a:miter/>
              </a:ln>
            </p:spPr>
            <p:txBody>
              <a:bodyPr rtlCol="0" anchor="ctr"/>
              <a:lstStyle/>
              <a:p>
                <a:endParaRPr lang="en-GB"/>
              </a:p>
            </p:txBody>
          </p:sp>
          <p:sp>
            <p:nvSpPr>
              <p:cNvPr id="3327" name="Vrije vorm: vorm 3326">
                <a:extLst>
                  <a:ext uri="{FF2B5EF4-FFF2-40B4-BE49-F238E27FC236}">
                    <a16:creationId xmlns:a16="http://schemas.microsoft.com/office/drawing/2014/main" id="{CA6B8A12-45FC-4769-A2A4-BE852279EEF6}"/>
                  </a:ext>
                </a:extLst>
              </p:cNvPr>
              <p:cNvSpPr/>
              <p:nvPr/>
            </p:nvSpPr>
            <p:spPr>
              <a:xfrm>
                <a:off x="5382322" y="1552356"/>
                <a:ext cx="18307" cy="18441"/>
              </a:xfrm>
              <a:custGeom>
                <a:avLst/>
                <a:gdLst>
                  <a:gd name="connsiteX0" fmla="*/ 526 w 18307"/>
                  <a:gd name="connsiteY0" fmla="*/ 12301 h 18441"/>
                  <a:gd name="connsiteX1" fmla="*/ 12248 w 18307"/>
                  <a:gd name="connsiteY1" fmla="*/ 17923 h 18441"/>
                  <a:gd name="connsiteX2" fmla="*/ 17751 w 18307"/>
                  <a:gd name="connsiteY2" fmla="*/ 6141 h 18441"/>
                  <a:gd name="connsiteX3" fmla="*/ 6029 w 18307"/>
                  <a:gd name="connsiteY3" fmla="*/ 519 h 18441"/>
                  <a:gd name="connsiteX4" fmla="*/ 526 w 18307"/>
                  <a:gd name="connsiteY4" fmla="*/ 1230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41">
                    <a:moveTo>
                      <a:pt x="526" y="12301"/>
                    </a:moveTo>
                    <a:cubicBezTo>
                      <a:pt x="2261" y="17085"/>
                      <a:pt x="7464" y="19597"/>
                      <a:pt x="12248" y="17923"/>
                    </a:cubicBezTo>
                    <a:cubicBezTo>
                      <a:pt x="17033" y="16248"/>
                      <a:pt x="19485" y="10925"/>
                      <a:pt x="17751" y="6141"/>
                    </a:cubicBezTo>
                    <a:cubicBezTo>
                      <a:pt x="16016" y="1356"/>
                      <a:pt x="10813" y="-1156"/>
                      <a:pt x="6029" y="519"/>
                    </a:cubicBezTo>
                    <a:cubicBezTo>
                      <a:pt x="1304" y="2253"/>
                      <a:pt x="-1148" y="7516"/>
                      <a:pt x="526" y="12301"/>
                    </a:cubicBezTo>
                    <a:close/>
                  </a:path>
                </a:pathLst>
              </a:custGeom>
              <a:grpFill/>
              <a:ln w="5978" cap="flat">
                <a:noFill/>
                <a:prstDash val="solid"/>
                <a:miter/>
              </a:ln>
            </p:spPr>
            <p:txBody>
              <a:bodyPr rtlCol="0" anchor="ctr"/>
              <a:lstStyle/>
              <a:p>
                <a:endParaRPr lang="en-GB"/>
              </a:p>
            </p:txBody>
          </p:sp>
        </p:grpSp>
        <p:grpSp>
          <p:nvGrpSpPr>
            <p:cNvPr id="689" name="Graphic 3">
              <a:extLst>
                <a:ext uri="{FF2B5EF4-FFF2-40B4-BE49-F238E27FC236}">
                  <a16:creationId xmlns:a16="http://schemas.microsoft.com/office/drawing/2014/main" id="{8A77FABE-DB70-4453-913D-42DD7BCEF774}"/>
                </a:ext>
              </a:extLst>
            </p:cNvPr>
            <p:cNvGrpSpPr/>
            <p:nvPr/>
          </p:nvGrpSpPr>
          <p:grpSpPr>
            <a:xfrm>
              <a:off x="6581989" y="5158152"/>
              <a:ext cx="23372" cy="34910"/>
              <a:chOff x="6581989" y="5158152"/>
              <a:chExt cx="23372" cy="34910"/>
            </a:xfrm>
            <a:grpFill/>
          </p:grpSpPr>
          <p:sp>
            <p:nvSpPr>
              <p:cNvPr id="3323" name="Vrije vorm: vorm 3322">
                <a:extLst>
                  <a:ext uri="{FF2B5EF4-FFF2-40B4-BE49-F238E27FC236}">
                    <a16:creationId xmlns:a16="http://schemas.microsoft.com/office/drawing/2014/main" id="{0AF47D5B-808D-4268-AD2C-F5848C5F666F}"/>
                  </a:ext>
                </a:extLst>
              </p:cNvPr>
              <p:cNvSpPr/>
              <p:nvPr/>
            </p:nvSpPr>
            <p:spPr>
              <a:xfrm>
                <a:off x="6581989" y="5158152"/>
                <a:ext cx="18349" cy="18430"/>
              </a:xfrm>
              <a:custGeom>
                <a:avLst/>
                <a:gdLst>
                  <a:gd name="connsiteX0" fmla="*/ 17936 w 18349"/>
                  <a:gd name="connsiteY0" fmla="*/ 6540 h 18430"/>
                  <a:gd name="connsiteX1" fmla="*/ 11896 w 18349"/>
                  <a:gd name="connsiteY1" fmla="*/ 18024 h 18430"/>
                  <a:gd name="connsiteX2" fmla="*/ 413 w 18349"/>
                  <a:gd name="connsiteY2" fmla="*/ 11863 h 18430"/>
                  <a:gd name="connsiteX3" fmla="*/ 6453 w 18349"/>
                  <a:gd name="connsiteY3" fmla="*/ 380 h 18430"/>
                  <a:gd name="connsiteX4" fmla="*/ 17936 w 18349"/>
                  <a:gd name="connsiteY4" fmla="*/ 654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0">
                    <a:moveTo>
                      <a:pt x="17936" y="6540"/>
                    </a:moveTo>
                    <a:cubicBezTo>
                      <a:pt x="19432" y="11385"/>
                      <a:pt x="16740" y="16528"/>
                      <a:pt x="11896" y="18024"/>
                    </a:cubicBezTo>
                    <a:cubicBezTo>
                      <a:pt x="7051" y="19519"/>
                      <a:pt x="1908" y="16767"/>
                      <a:pt x="413" y="11863"/>
                    </a:cubicBezTo>
                    <a:cubicBezTo>
                      <a:pt x="-1082" y="7019"/>
                      <a:pt x="1609" y="1876"/>
                      <a:pt x="6453" y="380"/>
                    </a:cubicBezTo>
                    <a:cubicBezTo>
                      <a:pt x="11298" y="-1055"/>
                      <a:pt x="16441" y="1696"/>
                      <a:pt x="17936" y="6540"/>
                    </a:cubicBezTo>
                    <a:close/>
                  </a:path>
                </a:pathLst>
              </a:custGeom>
              <a:grpFill/>
              <a:ln w="5978" cap="flat">
                <a:noFill/>
                <a:prstDash val="solid"/>
                <a:miter/>
              </a:ln>
            </p:spPr>
            <p:txBody>
              <a:bodyPr rtlCol="0" anchor="ctr"/>
              <a:lstStyle/>
              <a:p>
                <a:endParaRPr lang="en-GB"/>
              </a:p>
            </p:txBody>
          </p:sp>
          <p:sp>
            <p:nvSpPr>
              <p:cNvPr id="3324" name="Vrije vorm: vorm 3323">
                <a:extLst>
                  <a:ext uri="{FF2B5EF4-FFF2-40B4-BE49-F238E27FC236}">
                    <a16:creationId xmlns:a16="http://schemas.microsoft.com/office/drawing/2014/main" id="{3E067F9A-1C6B-4767-BBA3-DA353C0DBF58}"/>
                  </a:ext>
                </a:extLst>
              </p:cNvPr>
              <p:cNvSpPr/>
              <p:nvPr/>
            </p:nvSpPr>
            <p:spPr>
              <a:xfrm>
                <a:off x="6587013" y="5174658"/>
                <a:ext cx="18349" cy="18403"/>
              </a:xfrm>
              <a:custGeom>
                <a:avLst/>
                <a:gdLst>
                  <a:gd name="connsiteX0" fmla="*/ 17936 w 18349"/>
                  <a:gd name="connsiteY0" fmla="*/ 6540 h 18403"/>
                  <a:gd name="connsiteX1" fmla="*/ 6453 w 18349"/>
                  <a:gd name="connsiteY1" fmla="*/ 380 h 18403"/>
                  <a:gd name="connsiteX2" fmla="*/ 413 w 18349"/>
                  <a:gd name="connsiteY2" fmla="*/ 11863 h 18403"/>
                  <a:gd name="connsiteX3" fmla="*/ 11896 w 18349"/>
                  <a:gd name="connsiteY3" fmla="*/ 18024 h 18403"/>
                  <a:gd name="connsiteX4" fmla="*/ 17936 w 18349"/>
                  <a:gd name="connsiteY4" fmla="*/ 654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3">
                    <a:moveTo>
                      <a:pt x="17936" y="6540"/>
                    </a:moveTo>
                    <a:cubicBezTo>
                      <a:pt x="16441" y="1696"/>
                      <a:pt x="11298" y="-1055"/>
                      <a:pt x="6453" y="380"/>
                    </a:cubicBezTo>
                    <a:cubicBezTo>
                      <a:pt x="1609" y="1876"/>
                      <a:pt x="-1082" y="7019"/>
                      <a:pt x="413" y="11863"/>
                    </a:cubicBezTo>
                    <a:cubicBezTo>
                      <a:pt x="1908" y="16708"/>
                      <a:pt x="7051" y="19459"/>
                      <a:pt x="11896" y="18024"/>
                    </a:cubicBezTo>
                    <a:cubicBezTo>
                      <a:pt x="16740" y="16588"/>
                      <a:pt x="19432" y="11445"/>
                      <a:pt x="17936" y="6540"/>
                    </a:cubicBezTo>
                    <a:close/>
                  </a:path>
                </a:pathLst>
              </a:custGeom>
              <a:grpFill/>
              <a:ln w="5978" cap="flat">
                <a:noFill/>
                <a:prstDash val="solid"/>
                <a:miter/>
              </a:ln>
            </p:spPr>
            <p:txBody>
              <a:bodyPr rtlCol="0" anchor="ctr"/>
              <a:lstStyle/>
              <a:p>
                <a:endParaRPr lang="en-GB"/>
              </a:p>
            </p:txBody>
          </p:sp>
        </p:grpSp>
        <p:grpSp>
          <p:nvGrpSpPr>
            <p:cNvPr id="690" name="Graphic 3">
              <a:extLst>
                <a:ext uri="{FF2B5EF4-FFF2-40B4-BE49-F238E27FC236}">
                  <a16:creationId xmlns:a16="http://schemas.microsoft.com/office/drawing/2014/main" id="{937EAC12-A4D6-4EF0-B0CA-FC28EB12E5A5}"/>
                </a:ext>
              </a:extLst>
            </p:cNvPr>
            <p:cNvGrpSpPr/>
            <p:nvPr/>
          </p:nvGrpSpPr>
          <p:grpSpPr>
            <a:xfrm>
              <a:off x="6540005" y="5021133"/>
              <a:ext cx="59975" cy="154372"/>
              <a:chOff x="6540005" y="5021133"/>
              <a:chExt cx="59975" cy="154372"/>
            </a:xfrm>
            <a:grpFill/>
          </p:grpSpPr>
          <p:sp>
            <p:nvSpPr>
              <p:cNvPr id="3320" name="Vrije vorm: vorm 3319">
                <a:extLst>
                  <a:ext uri="{FF2B5EF4-FFF2-40B4-BE49-F238E27FC236}">
                    <a16:creationId xmlns:a16="http://schemas.microsoft.com/office/drawing/2014/main" id="{C2763D5B-136A-4ED7-A388-1BDF26EE3362}"/>
                  </a:ext>
                </a:extLst>
              </p:cNvPr>
              <p:cNvSpPr/>
              <p:nvPr/>
            </p:nvSpPr>
            <p:spPr>
              <a:xfrm>
                <a:off x="6547797" y="5029424"/>
                <a:ext cx="44804" cy="137685"/>
              </a:xfrm>
              <a:custGeom>
                <a:avLst/>
                <a:gdLst>
                  <a:gd name="connsiteX0" fmla="*/ 0 w 44804"/>
                  <a:gd name="connsiteY0" fmla="*/ 893 h 137685"/>
                  <a:gd name="connsiteX1" fmla="*/ 2917 w 44804"/>
                  <a:gd name="connsiteY1" fmla="*/ 0 h 137685"/>
                  <a:gd name="connsiteX2" fmla="*/ 44804 w 44804"/>
                  <a:gd name="connsiteY2" fmla="*/ 136793 h 137685"/>
                  <a:gd name="connsiteX3" fmla="*/ 41888 w 44804"/>
                  <a:gd name="connsiteY3" fmla="*/ 137686 h 137685"/>
                </a:gdLst>
                <a:ahLst/>
                <a:cxnLst>
                  <a:cxn ang="0">
                    <a:pos x="connsiteX0" y="connsiteY0"/>
                  </a:cxn>
                  <a:cxn ang="0">
                    <a:pos x="connsiteX1" y="connsiteY1"/>
                  </a:cxn>
                  <a:cxn ang="0">
                    <a:pos x="connsiteX2" y="connsiteY2"/>
                  </a:cxn>
                  <a:cxn ang="0">
                    <a:pos x="connsiteX3" y="connsiteY3"/>
                  </a:cxn>
                </a:cxnLst>
                <a:rect l="l" t="t" r="r" b="b"/>
                <a:pathLst>
                  <a:path w="44804" h="137685">
                    <a:moveTo>
                      <a:pt x="0" y="893"/>
                    </a:moveTo>
                    <a:lnTo>
                      <a:pt x="2917" y="0"/>
                    </a:lnTo>
                    <a:lnTo>
                      <a:pt x="44804" y="136793"/>
                    </a:lnTo>
                    <a:lnTo>
                      <a:pt x="41888" y="137686"/>
                    </a:lnTo>
                    <a:close/>
                  </a:path>
                </a:pathLst>
              </a:custGeom>
              <a:grpFill/>
              <a:ln w="5978" cap="flat">
                <a:noFill/>
                <a:prstDash val="solid"/>
                <a:miter/>
              </a:ln>
            </p:spPr>
            <p:txBody>
              <a:bodyPr rtlCol="0" anchor="ctr"/>
              <a:lstStyle/>
              <a:p>
                <a:endParaRPr lang="en-GB"/>
              </a:p>
            </p:txBody>
          </p:sp>
          <p:sp>
            <p:nvSpPr>
              <p:cNvPr id="3321" name="Vrije vorm: vorm 3320">
                <a:extLst>
                  <a:ext uri="{FF2B5EF4-FFF2-40B4-BE49-F238E27FC236}">
                    <a16:creationId xmlns:a16="http://schemas.microsoft.com/office/drawing/2014/main" id="{358CB01A-492D-4EB2-A019-EA9DB2EA8440}"/>
                  </a:ext>
                </a:extLst>
              </p:cNvPr>
              <p:cNvSpPr/>
              <p:nvPr/>
            </p:nvSpPr>
            <p:spPr>
              <a:xfrm>
                <a:off x="6581630" y="5157048"/>
                <a:ext cx="18349" cy="18457"/>
              </a:xfrm>
              <a:custGeom>
                <a:avLst/>
                <a:gdLst>
                  <a:gd name="connsiteX0" fmla="*/ 17936 w 18349"/>
                  <a:gd name="connsiteY0" fmla="*/ 6567 h 18457"/>
                  <a:gd name="connsiteX1" fmla="*/ 11896 w 18349"/>
                  <a:gd name="connsiteY1" fmla="*/ 18050 h 18457"/>
                  <a:gd name="connsiteX2" fmla="*/ 413 w 18349"/>
                  <a:gd name="connsiteY2" fmla="*/ 11890 h 18457"/>
                  <a:gd name="connsiteX3" fmla="*/ 6453 w 18349"/>
                  <a:gd name="connsiteY3" fmla="*/ 407 h 18457"/>
                  <a:gd name="connsiteX4" fmla="*/ 17936 w 18349"/>
                  <a:gd name="connsiteY4" fmla="*/ 6567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7">
                    <a:moveTo>
                      <a:pt x="17936" y="6567"/>
                    </a:moveTo>
                    <a:cubicBezTo>
                      <a:pt x="19432" y="11411"/>
                      <a:pt x="16740" y="16555"/>
                      <a:pt x="11896" y="18050"/>
                    </a:cubicBezTo>
                    <a:cubicBezTo>
                      <a:pt x="7051" y="19545"/>
                      <a:pt x="1908" y="16794"/>
                      <a:pt x="413" y="11890"/>
                    </a:cubicBezTo>
                    <a:cubicBezTo>
                      <a:pt x="-1082" y="7046"/>
                      <a:pt x="1609" y="1902"/>
                      <a:pt x="6453" y="407"/>
                    </a:cubicBezTo>
                    <a:cubicBezTo>
                      <a:pt x="11298" y="-1088"/>
                      <a:pt x="16441" y="1663"/>
                      <a:pt x="17936" y="6567"/>
                    </a:cubicBezTo>
                    <a:close/>
                  </a:path>
                </a:pathLst>
              </a:custGeom>
              <a:grpFill/>
              <a:ln w="5978" cap="flat">
                <a:noFill/>
                <a:prstDash val="solid"/>
                <a:miter/>
              </a:ln>
            </p:spPr>
            <p:txBody>
              <a:bodyPr rtlCol="0" anchor="ctr"/>
              <a:lstStyle/>
              <a:p>
                <a:endParaRPr lang="en-GB"/>
              </a:p>
            </p:txBody>
          </p:sp>
          <p:sp>
            <p:nvSpPr>
              <p:cNvPr id="3322" name="Vrije vorm: vorm 3321">
                <a:extLst>
                  <a:ext uri="{FF2B5EF4-FFF2-40B4-BE49-F238E27FC236}">
                    <a16:creationId xmlns:a16="http://schemas.microsoft.com/office/drawing/2014/main" id="{45043AC0-8565-460E-AEB2-78A040F2947F}"/>
                  </a:ext>
                </a:extLst>
              </p:cNvPr>
              <p:cNvSpPr/>
              <p:nvPr/>
            </p:nvSpPr>
            <p:spPr>
              <a:xfrm>
                <a:off x="6540005" y="5021133"/>
                <a:ext cx="18349" cy="18403"/>
              </a:xfrm>
              <a:custGeom>
                <a:avLst/>
                <a:gdLst>
                  <a:gd name="connsiteX0" fmla="*/ 17936 w 18349"/>
                  <a:gd name="connsiteY0" fmla="*/ 6541 h 18403"/>
                  <a:gd name="connsiteX1" fmla="*/ 6453 w 18349"/>
                  <a:gd name="connsiteY1" fmla="*/ 380 h 18403"/>
                  <a:gd name="connsiteX2" fmla="*/ 413 w 18349"/>
                  <a:gd name="connsiteY2" fmla="*/ 11864 h 18403"/>
                  <a:gd name="connsiteX3" fmla="*/ 11896 w 18349"/>
                  <a:gd name="connsiteY3" fmla="*/ 18024 h 18403"/>
                  <a:gd name="connsiteX4" fmla="*/ 17936 w 18349"/>
                  <a:gd name="connsiteY4" fmla="*/ 6541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3">
                    <a:moveTo>
                      <a:pt x="17936" y="6541"/>
                    </a:moveTo>
                    <a:cubicBezTo>
                      <a:pt x="16441" y="1696"/>
                      <a:pt x="11298" y="-1055"/>
                      <a:pt x="6453" y="380"/>
                    </a:cubicBezTo>
                    <a:cubicBezTo>
                      <a:pt x="1609" y="1876"/>
                      <a:pt x="-1082" y="7019"/>
                      <a:pt x="413" y="11864"/>
                    </a:cubicBezTo>
                    <a:cubicBezTo>
                      <a:pt x="1908" y="16708"/>
                      <a:pt x="7051" y="19459"/>
                      <a:pt x="11896" y="18024"/>
                    </a:cubicBezTo>
                    <a:cubicBezTo>
                      <a:pt x="16740" y="16588"/>
                      <a:pt x="19432" y="11445"/>
                      <a:pt x="17936" y="6541"/>
                    </a:cubicBezTo>
                    <a:close/>
                  </a:path>
                </a:pathLst>
              </a:custGeom>
              <a:grpFill/>
              <a:ln w="5978" cap="flat">
                <a:noFill/>
                <a:prstDash val="solid"/>
                <a:miter/>
              </a:ln>
            </p:spPr>
            <p:txBody>
              <a:bodyPr rtlCol="0" anchor="ctr"/>
              <a:lstStyle/>
              <a:p>
                <a:endParaRPr lang="en-GB"/>
              </a:p>
            </p:txBody>
          </p:sp>
        </p:grpSp>
        <p:grpSp>
          <p:nvGrpSpPr>
            <p:cNvPr id="691" name="Graphic 3">
              <a:extLst>
                <a:ext uri="{FF2B5EF4-FFF2-40B4-BE49-F238E27FC236}">
                  <a16:creationId xmlns:a16="http://schemas.microsoft.com/office/drawing/2014/main" id="{833CE2E0-E6CE-440E-854C-86752DAEA1CF}"/>
                </a:ext>
              </a:extLst>
            </p:cNvPr>
            <p:cNvGrpSpPr/>
            <p:nvPr/>
          </p:nvGrpSpPr>
          <p:grpSpPr>
            <a:xfrm>
              <a:off x="6587372" y="5175795"/>
              <a:ext cx="89818" cy="251858"/>
              <a:chOff x="6587372" y="5175795"/>
              <a:chExt cx="89818" cy="251858"/>
            </a:xfrm>
            <a:grpFill/>
          </p:grpSpPr>
          <p:sp>
            <p:nvSpPr>
              <p:cNvPr id="3317" name="Vrije vorm: vorm 3316">
                <a:extLst>
                  <a:ext uri="{FF2B5EF4-FFF2-40B4-BE49-F238E27FC236}">
                    <a16:creationId xmlns:a16="http://schemas.microsoft.com/office/drawing/2014/main" id="{B5C81239-0300-4AE0-AA9E-B5090F6181BB}"/>
                  </a:ext>
                </a:extLst>
              </p:cNvPr>
              <p:cNvSpPr/>
              <p:nvPr/>
            </p:nvSpPr>
            <p:spPr>
              <a:xfrm>
                <a:off x="6595116" y="5184326"/>
                <a:ext cx="74661" cy="235190"/>
              </a:xfrm>
              <a:custGeom>
                <a:avLst/>
                <a:gdLst>
                  <a:gd name="connsiteX0" fmla="*/ 0 w 74661"/>
                  <a:gd name="connsiteY0" fmla="*/ 893 h 235190"/>
                  <a:gd name="connsiteX1" fmla="*/ 2917 w 74661"/>
                  <a:gd name="connsiteY1" fmla="*/ 0 h 235190"/>
                  <a:gd name="connsiteX2" fmla="*/ 74661 w 74661"/>
                  <a:gd name="connsiteY2" fmla="*/ 234298 h 235190"/>
                  <a:gd name="connsiteX3" fmla="*/ 71745 w 74661"/>
                  <a:gd name="connsiteY3" fmla="*/ 235191 h 235190"/>
                </a:gdLst>
                <a:ahLst/>
                <a:cxnLst>
                  <a:cxn ang="0">
                    <a:pos x="connsiteX0" y="connsiteY0"/>
                  </a:cxn>
                  <a:cxn ang="0">
                    <a:pos x="connsiteX1" y="connsiteY1"/>
                  </a:cxn>
                  <a:cxn ang="0">
                    <a:pos x="connsiteX2" y="connsiteY2"/>
                  </a:cxn>
                  <a:cxn ang="0">
                    <a:pos x="connsiteX3" y="connsiteY3"/>
                  </a:cxn>
                </a:cxnLst>
                <a:rect l="l" t="t" r="r" b="b"/>
                <a:pathLst>
                  <a:path w="74661" h="235190">
                    <a:moveTo>
                      <a:pt x="0" y="893"/>
                    </a:moveTo>
                    <a:lnTo>
                      <a:pt x="2917" y="0"/>
                    </a:lnTo>
                    <a:lnTo>
                      <a:pt x="74661" y="234298"/>
                    </a:lnTo>
                    <a:lnTo>
                      <a:pt x="71745" y="235191"/>
                    </a:lnTo>
                    <a:close/>
                  </a:path>
                </a:pathLst>
              </a:custGeom>
              <a:grpFill/>
              <a:ln w="5978" cap="flat">
                <a:noFill/>
                <a:prstDash val="solid"/>
                <a:miter/>
              </a:ln>
            </p:spPr>
            <p:txBody>
              <a:bodyPr rtlCol="0" anchor="ctr"/>
              <a:lstStyle/>
              <a:p>
                <a:endParaRPr lang="en-GB"/>
              </a:p>
            </p:txBody>
          </p:sp>
          <p:sp>
            <p:nvSpPr>
              <p:cNvPr id="3318" name="Vrije vorm: vorm 3317">
                <a:extLst>
                  <a:ext uri="{FF2B5EF4-FFF2-40B4-BE49-F238E27FC236}">
                    <a16:creationId xmlns:a16="http://schemas.microsoft.com/office/drawing/2014/main" id="{286B440A-4073-4DAC-88F8-5ED49FE9014C}"/>
                  </a:ext>
                </a:extLst>
              </p:cNvPr>
              <p:cNvSpPr/>
              <p:nvPr/>
            </p:nvSpPr>
            <p:spPr>
              <a:xfrm>
                <a:off x="6658841" y="5409195"/>
                <a:ext cx="18349" cy="18457"/>
              </a:xfrm>
              <a:custGeom>
                <a:avLst/>
                <a:gdLst>
                  <a:gd name="connsiteX0" fmla="*/ 17936 w 18349"/>
                  <a:gd name="connsiteY0" fmla="*/ 6567 h 18457"/>
                  <a:gd name="connsiteX1" fmla="*/ 11896 w 18349"/>
                  <a:gd name="connsiteY1" fmla="*/ 18050 h 18457"/>
                  <a:gd name="connsiteX2" fmla="*/ 413 w 18349"/>
                  <a:gd name="connsiteY2" fmla="*/ 11890 h 18457"/>
                  <a:gd name="connsiteX3" fmla="*/ 6453 w 18349"/>
                  <a:gd name="connsiteY3" fmla="*/ 407 h 18457"/>
                  <a:gd name="connsiteX4" fmla="*/ 17936 w 18349"/>
                  <a:gd name="connsiteY4" fmla="*/ 6567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7">
                    <a:moveTo>
                      <a:pt x="17936" y="6567"/>
                    </a:moveTo>
                    <a:cubicBezTo>
                      <a:pt x="19432" y="11412"/>
                      <a:pt x="16740" y="16555"/>
                      <a:pt x="11896" y="18050"/>
                    </a:cubicBezTo>
                    <a:cubicBezTo>
                      <a:pt x="7051" y="19545"/>
                      <a:pt x="1908" y="16794"/>
                      <a:pt x="413" y="11890"/>
                    </a:cubicBezTo>
                    <a:cubicBezTo>
                      <a:pt x="-1082" y="7046"/>
                      <a:pt x="1609" y="1902"/>
                      <a:pt x="6453" y="407"/>
                    </a:cubicBezTo>
                    <a:cubicBezTo>
                      <a:pt x="11358" y="-1088"/>
                      <a:pt x="16441" y="1663"/>
                      <a:pt x="17936" y="6567"/>
                    </a:cubicBezTo>
                    <a:close/>
                  </a:path>
                </a:pathLst>
              </a:custGeom>
              <a:grpFill/>
              <a:ln w="5978" cap="flat">
                <a:noFill/>
                <a:prstDash val="solid"/>
                <a:miter/>
              </a:ln>
            </p:spPr>
            <p:txBody>
              <a:bodyPr rtlCol="0" anchor="ctr"/>
              <a:lstStyle/>
              <a:p>
                <a:endParaRPr lang="en-GB"/>
              </a:p>
            </p:txBody>
          </p:sp>
          <p:sp>
            <p:nvSpPr>
              <p:cNvPr id="3319" name="Vrije vorm: vorm 3318">
                <a:extLst>
                  <a:ext uri="{FF2B5EF4-FFF2-40B4-BE49-F238E27FC236}">
                    <a16:creationId xmlns:a16="http://schemas.microsoft.com/office/drawing/2014/main" id="{7A491EA0-0146-4C3F-BB47-420D85B484E6}"/>
                  </a:ext>
                </a:extLst>
              </p:cNvPr>
              <p:cNvSpPr/>
              <p:nvPr/>
            </p:nvSpPr>
            <p:spPr>
              <a:xfrm>
                <a:off x="6587372" y="5175795"/>
                <a:ext cx="18349" cy="18403"/>
              </a:xfrm>
              <a:custGeom>
                <a:avLst/>
                <a:gdLst>
                  <a:gd name="connsiteX0" fmla="*/ 17936 w 18349"/>
                  <a:gd name="connsiteY0" fmla="*/ 6540 h 18403"/>
                  <a:gd name="connsiteX1" fmla="*/ 6453 w 18349"/>
                  <a:gd name="connsiteY1" fmla="*/ 380 h 18403"/>
                  <a:gd name="connsiteX2" fmla="*/ 413 w 18349"/>
                  <a:gd name="connsiteY2" fmla="*/ 11863 h 18403"/>
                  <a:gd name="connsiteX3" fmla="*/ 11896 w 18349"/>
                  <a:gd name="connsiteY3" fmla="*/ 18024 h 18403"/>
                  <a:gd name="connsiteX4" fmla="*/ 17936 w 18349"/>
                  <a:gd name="connsiteY4" fmla="*/ 654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3">
                    <a:moveTo>
                      <a:pt x="17936" y="6540"/>
                    </a:moveTo>
                    <a:cubicBezTo>
                      <a:pt x="16441" y="1696"/>
                      <a:pt x="11298" y="-1055"/>
                      <a:pt x="6453" y="380"/>
                    </a:cubicBezTo>
                    <a:cubicBezTo>
                      <a:pt x="1609" y="1876"/>
                      <a:pt x="-1082" y="7019"/>
                      <a:pt x="413" y="11863"/>
                    </a:cubicBezTo>
                    <a:cubicBezTo>
                      <a:pt x="1908" y="16708"/>
                      <a:pt x="7051" y="19459"/>
                      <a:pt x="11896" y="18024"/>
                    </a:cubicBezTo>
                    <a:cubicBezTo>
                      <a:pt x="16741" y="16588"/>
                      <a:pt x="19432" y="11445"/>
                      <a:pt x="17936" y="6540"/>
                    </a:cubicBezTo>
                    <a:close/>
                  </a:path>
                </a:pathLst>
              </a:custGeom>
              <a:grpFill/>
              <a:ln w="5978" cap="flat">
                <a:noFill/>
                <a:prstDash val="solid"/>
                <a:miter/>
              </a:ln>
            </p:spPr>
            <p:txBody>
              <a:bodyPr rtlCol="0" anchor="ctr"/>
              <a:lstStyle/>
              <a:p>
                <a:endParaRPr lang="en-GB"/>
              </a:p>
            </p:txBody>
          </p:sp>
        </p:grpSp>
        <p:grpSp>
          <p:nvGrpSpPr>
            <p:cNvPr id="692" name="Graphic 3">
              <a:extLst>
                <a:ext uri="{FF2B5EF4-FFF2-40B4-BE49-F238E27FC236}">
                  <a16:creationId xmlns:a16="http://schemas.microsoft.com/office/drawing/2014/main" id="{52C8D11C-D1E1-4459-8F10-1C858596AE5D}"/>
                </a:ext>
              </a:extLst>
            </p:cNvPr>
            <p:cNvGrpSpPr/>
            <p:nvPr/>
          </p:nvGrpSpPr>
          <p:grpSpPr>
            <a:xfrm>
              <a:off x="5318087" y="1374599"/>
              <a:ext cx="144654" cy="461033"/>
              <a:chOff x="5318087" y="1374599"/>
              <a:chExt cx="144654" cy="461033"/>
            </a:xfrm>
            <a:grpFill/>
          </p:grpSpPr>
          <p:sp>
            <p:nvSpPr>
              <p:cNvPr id="3314" name="Vrije vorm: vorm 3313">
                <a:extLst>
                  <a:ext uri="{FF2B5EF4-FFF2-40B4-BE49-F238E27FC236}">
                    <a16:creationId xmlns:a16="http://schemas.microsoft.com/office/drawing/2014/main" id="{49216B3A-74EA-4814-A02B-403D864ADA1C}"/>
                  </a:ext>
                </a:extLst>
              </p:cNvPr>
              <p:cNvSpPr/>
              <p:nvPr/>
            </p:nvSpPr>
            <p:spPr>
              <a:xfrm>
                <a:off x="5325617" y="1383081"/>
                <a:ext cx="129479" cy="444301"/>
              </a:xfrm>
              <a:custGeom>
                <a:avLst/>
                <a:gdLst>
                  <a:gd name="connsiteX0" fmla="*/ 0 w 129479"/>
                  <a:gd name="connsiteY0" fmla="*/ 837 h 444301"/>
                  <a:gd name="connsiteX1" fmla="*/ 2933 w 129479"/>
                  <a:gd name="connsiteY1" fmla="*/ 0 h 444301"/>
                  <a:gd name="connsiteX2" fmla="*/ 129479 w 129479"/>
                  <a:gd name="connsiteY2" fmla="*/ 443464 h 444301"/>
                  <a:gd name="connsiteX3" fmla="*/ 126546 w 129479"/>
                  <a:gd name="connsiteY3" fmla="*/ 444301 h 444301"/>
                </a:gdLst>
                <a:ahLst/>
                <a:cxnLst>
                  <a:cxn ang="0">
                    <a:pos x="connsiteX0" y="connsiteY0"/>
                  </a:cxn>
                  <a:cxn ang="0">
                    <a:pos x="connsiteX1" y="connsiteY1"/>
                  </a:cxn>
                  <a:cxn ang="0">
                    <a:pos x="connsiteX2" y="connsiteY2"/>
                  </a:cxn>
                  <a:cxn ang="0">
                    <a:pos x="connsiteX3" y="connsiteY3"/>
                  </a:cxn>
                </a:cxnLst>
                <a:rect l="l" t="t" r="r" b="b"/>
                <a:pathLst>
                  <a:path w="129479" h="444301">
                    <a:moveTo>
                      <a:pt x="0" y="837"/>
                    </a:moveTo>
                    <a:lnTo>
                      <a:pt x="2933" y="0"/>
                    </a:lnTo>
                    <a:lnTo>
                      <a:pt x="129479" y="443464"/>
                    </a:lnTo>
                    <a:lnTo>
                      <a:pt x="126546" y="444301"/>
                    </a:lnTo>
                    <a:close/>
                  </a:path>
                </a:pathLst>
              </a:custGeom>
              <a:grpFill/>
              <a:ln w="5978" cap="flat">
                <a:noFill/>
                <a:prstDash val="solid"/>
                <a:miter/>
              </a:ln>
            </p:spPr>
            <p:txBody>
              <a:bodyPr rtlCol="0" anchor="ctr"/>
              <a:lstStyle/>
              <a:p>
                <a:endParaRPr lang="en-GB"/>
              </a:p>
            </p:txBody>
          </p:sp>
          <p:sp>
            <p:nvSpPr>
              <p:cNvPr id="3315" name="Vrije vorm: vorm 3314">
                <a:extLst>
                  <a:ext uri="{FF2B5EF4-FFF2-40B4-BE49-F238E27FC236}">
                    <a16:creationId xmlns:a16="http://schemas.microsoft.com/office/drawing/2014/main" id="{442331E5-F66B-4E64-B21C-F8B759B07963}"/>
                  </a:ext>
                </a:extLst>
              </p:cNvPr>
              <p:cNvSpPr/>
              <p:nvPr/>
            </p:nvSpPr>
            <p:spPr>
              <a:xfrm>
                <a:off x="5444400" y="1817211"/>
                <a:ext cx="18341" cy="18421"/>
              </a:xfrm>
              <a:custGeom>
                <a:avLst/>
                <a:gdLst>
                  <a:gd name="connsiteX0" fmla="*/ 17992 w 18341"/>
                  <a:gd name="connsiteY0" fmla="*/ 6710 h 18421"/>
                  <a:gd name="connsiteX1" fmla="*/ 11713 w 18341"/>
                  <a:gd name="connsiteY1" fmla="*/ 18073 h 18421"/>
                  <a:gd name="connsiteX2" fmla="*/ 349 w 18341"/>
                  <a:gd name="connsiteY2" fmla="*/ 11734 h 18421"/>
                  <a:gd name="connsiteX3" fmla="*/ 6629 w 18341"/>
                  <a:gd name="connsiteY3" fmla="*/ 370 h 18421"/>
                  <a:gd name="connsiteX4" fmla="*/ 17992 w 18341"/>
                  <a:gd name="connsiteY4" fmla="*/ 67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1">
                    <a:moveTo>
                      <a:pt x="17992" y="6710"/>
                    </a:moveTo>
                    <a:cubicBezTo>
                      <a:pt x="19368" y="11614"/>
                      <a:pt x="16557" y="16698"/>
                      <a:pt x="11713" y="18073"/>
                    </a:cubicBezTo>
                    <a:cubicBezTo>
                      <a:pt x="6868" y="19449"/>
                      <a:pt x="1784" y="16638"/>
                      <a:pt x="349" y="11734"/>
                    </a:cubicBezTo>
                    <a:cubicBezTo>
                      <a:pt x="-1026" y="6829"/>
                      <a:pt x="1784" y="1746"/>
                      <a:pt x="6629" y="370"/>
                    </a:cubicBezTo>
                    <a:cubicBezTo>
                      <a:pt x="11533" y="-1065"/>
                      <a:pt x="16617" y="1806"/>
                      <a:pt x="17992" y="6710"/>
                    </a:cubicBezTo>
                    <a:close/>
                  </a:path>
                </a:pathLst>
              </a:custGeom>
              <a:grpFill/>
              <a:ln w="5978" cap="flat">
                <a:noFill/>
                <a:prstDash val="solid"/>
                <a:miter/>
              </a:ln>
            </p:spPr>
            <p:txBody>
              <a:bodyPr rtlCol="0" anchor="ctr"/>
              <a:lstStyle/>
              <a:p>
                <a:endParaRPr lang="en-GB"/>
              </a:p>
            </p:txBody>
          </p:sp>
          <p:sp>
            <p:nvSpPr>
              <p:cNvPr id="3316" name="Vrije vorm: vorm 3315">
                <a:extLst>
                  <a:ext uri="{FF2B5EF4-FFF2-40B4-BE49-F238E27FC236}">
                    <a16:creationId xmlns:a16="http://schemas.microsoft.com/office/drawing/2014/main" id="{E3080626-C7BD-4BCC-B251-A2F1E9E92E9D}"/>
                  </a:ext>
                </a:extLst>
              </p:cNvPr>
              <p:cNvSpPr/>
              <p:nvPr/>
            </p:nvSpPr>
            <p:spPr>
              <a:xfrm>
                <a:off x="5318087" y="1374599"/>
                <a:ext cx="18341" cy="18400"/>
              </a:xfrm>
              <a:custGeom>
                <a:avLst/>
                <a:gdLst>
                  <a:gd name="connsiteX0" fmla="*/ 17992 w 18341"/>
                  <a:gd name="connsiteY0" fmla="*/ 6688 h 18400"/>
                  <a:gd name="connsiteX1" fmla="*/ 6629 w 18341"/>
                  <a:gd name="connsiteY1" fmla="*/ 349 h 18400"/>
                  <a:gd name="connsiteX2" fmla="*/ 349 w 18341"/>
                  <a:gd name="connsiteY2" fmla="*/ 11712 h 18400"/>
                  <a:gd name="connsiteX3" fmla="*/ 11713 w 18341"/>
                  <a:gd name="connsiteY3" fmla="*/ 18052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6617" y="1784"/>
                      <a:pt x="11533" y="-1027"/>
                      <a:pt x="6629" y="349"/>
                    </a:cubicBezTo>
                    <a:cubicBezTo>
                      <a:pt x="1784" y="1724"/>
                      <a:pt x="-1026" y="6808"/>
                      <a:pt x="349" y="11712"/>
                    </a:cubicBezTo>
                    <a:cubicBezTo>
                      <a:pt x="1725" y="16616"/>
                      <a:pt x="6808" y="19427"/>
                      <a:pt x="11713" y="18052"/>
                    </a:cubicBezTo>
                    <a:cubicBezTo>
                      <a:pt x="16557" y="16676"/>
                      <a:pt x="19368" y="11593"/>
                      <a:pt x="17992" y="6688"/>
                    </a:cubicBezTo>
                    <a:close/>
                  </a:path>
                </a:pathLst>
              </a:custGeom>
              <a:grpFill/>
              <a:ln w="5978" cap="flat">
                <a:noFill/>
                <a:prstDash val="solid"/>
                <a:miter/>
              </a:ln>
            </p:spPr>
            <p:txBody>
              <a:bodyPr rtlCol="0" anchor="ctr"/>
              <a:lstStyle/>
              <a:p>
                <a:endParaRPr lang="en-GB"/>
              </a:p>
            </p:txBody>
          </p:sp>
        </p:grpSp>
        <p:grpSp>
          <p:nvGrpSpPr>
            <p:cNvPr id="693" name="Graphic 3">
              <a:extLst>
                <a:ext uri="{FF2B5EF4-FFF2-40B4-BE49-F238E27FC236}">
                  <a16:creationId xmlns:a16="http://schemas.microsoft.com/office/drawing/2014/main" id="{24840B4D-9D46-46D4-A763-EE0A1C4FAADD}"/>
                </a:ext>
              </a:extLst>
            </p:cNvPr>
            <p:cNvGrpSpPr/>
            <p:nvPr/>
          </p:nvGrpSpPr>
          <p:grpSpPr>
            <a:xfrm>
              <a:off x="5420050" y="1754966"/>
              <a:ext cx="41981" cy="80914"/>
              <a:chOff x="5420050" y="1754966"/>
              <a:chExt cx="41981" cy="80914"/>
            </a:xfrm>
            <a:grpFill/>
          </p:grpSpPr>
          <p:sp>
            <p:nvSpPr>
              <p:cNvPr id="3311" name="Vrije vorm: vorm 3310">
                <a:extLst>
                  <a:ext uri="{FF2B5EF4-FFF2-40B4-BE49-F238E27FC236}">
                    <a16:creationId xmlns:a16="http://schemas.microsoft.com/office/drawing/2014/main" id="{4651CB34-4C51-49C8-A38D-FE7A360A4614}"/>
                  </a:ext>
                </a:extLst>
              </p:cNvPr>
              <p:cNvSpPr/>
              <p:nvPr/>
            </p:nvSpPr>
            <p:spPr>
              <a:xfrm>
                <a:off x="5427584" y="1763157"/>
                <a:ext cx="26853" cy="64472"/>
              </a:xfrm>
              <a:custGeom>
                <a:avLst/>
                <a:gdLst>
                  <a:gd name="connsiteX0" fmla="*/ 26853 w 26853"/>
                  <a:gd name="connsiteY0" fmla="*/ 63396 h 64472"/>
                  <a:gd name="connsiteX1" fmla="*/ 23983 w 26853"/>
                  <a:gd name="connsiteY1" fmla="*/ 64472 h 64472"/>
                  <a:gd name="connsiteX2" fmla="*/ 0 w 26853"/>
                  <a:gd name="connsiteY2" fmla="*/ 1076 h 64472"/>
                  <a:gd name="connsiteX3" fmla="*/ 2871 w 26853"/>
                  <a:gd name="connsiteY3" fmla="*/ 0 h 64472"/>
                </a:gdLst>
                <a:ahLst/>
                <a:cxnLst>
                  <a:cxn ang="0">
                    <a:pos x="connsiteX0" y="connsiteY0"/>
                  </a:cxn>
                  <a:cxn ang="0">
                    <a:pos x="connsiteX1" y="connsiteY1"/>
                  </a:cxn>
                  <a:cxn ang="0">
                    <a:pos x="connsiteX2" y="connsiteY2"/>
                  </a:cxn>
                  <a:cxn ang="0">
                    <a:pos x="connsiteX3" y="connsiteY3"/>
                  </a:cxn>
                </a:cxnLst>
                <a:rect l="l" t="t" r="r" b="b"/>
                <a:pathLst>
                  <a:path w="26853" h="64472">
                    <a:moveTo>
                      <a:pt x="26853" y="63396"/>
                    </a:moveTo>
                    <a:lnTo>
                      <a:pt x="23983" y="64472"/>
                    </a:lnTo>
                    <a:lnTo>
                      <a:pt x="0" y="1076"/>
                    </a:lnTo>
                    <a:lnTo>
                      <a:pt x="2871" y="0"/>
                    </a:lnTo>
                    <a:close/>
                  </a:path>
                </a:pathLst>
              </a:custGeom>
              <a:grpFill/>
              <a:ln w="5978" cap="flat">
                <a:noFill/>
                <a:prstDash val="solid"/>
                <a:miter/>
              </a:ln>
            </p:spPr>
            <p:txBody>
              <a:bodyPr rtlCol="0" anchor="ctr"/>
              <a:lstStyle/>
              <a:p>
                <a:endParaRPr lang="en-GB"/>
              </a:p>
            </p:txBody>
          </p:sp>
          <p:sp>
            <p:nvSpPr>
              <p:cNvPr id="3312" name="Vrije vorm: vorm 3311">
                <a:extLst>
                  <a:ext uri="{FF2B5EF4-FFF2-40B4-BE49-F238E27FC236}">
                    <a16:creationId xmlns:a16="http://schemas.microsoft.com/office/drawing/2014/main" id="{BFF12721-E49E-4354-9F84-2E1806A18B8F}"/>
                  </a:ext>
                </a:extLst>
              </p:cNvPr>
              <p:cNvSpPr/>
              <p:nvPr/>
            </p:nvSpPr>
            <p:spPr>
              <a:xfrm>
                <a:off x="5420050" y="1754966"/>
                <a:ext cx="18357" cy="18408"/>
              </a:xfrm>
              <a:custGeom>
                <a:avLst/>
                <a:gdLst>
                  <a:gd name="connsiteX0" fmla="*/ 597 w 18357"/>
                  <a:gd name="connsiteY0" fmla="*/ 12438 h 18408"/>
                  <a:gd name="connsiteX1" fmla="*/ 5919 w 18357"/>
                  <a:gd name="connsiteY1" fmla="*/ 596 h 18408"/>
                  <a:gd name="connsiteX2" fmla="*/ 17761 w 18357"/>
                  <a:gd name="connsiteY2" fmla="*/ 5978 h 18408"/>
                  <a:gd name="connsiteX3" fmla="*/ 12438 w 18357"/>
                  <a:gd name="connsiteY3" fmla="*/ 17820 h 18408"/>
                  <a:gd name="connsiteX4" fmla="*/ 597 w 18357"/>
                  <a:gd name="connsiteY4" fmla="*/ 12438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08">
                    <a:moveTo>
                      <a:pt x="597" y="12438"/>
                    </a:moveTo>
                    <a:cubicBezTo>
                      <a:pt x="-1198" y="7653"/>
                      <a:pt x="1194" y="2390"/>
                      <a:pt x="5919" y="596"/>
                    </a:cubicBezTo>
                    <a:cubicBezTo>
                      <a:pt x="10644" y="-1199"/>
                      <a:pt x="15967" y="1194"/>
                      <a:pt x="17761" y="5978"/>
                    </a:cubicBezTo>
                    <a:cubicBezTo>
                      <a:pt x="19555" y="10763"/>
                      <a:pt x="17163" y="16026"/>
                      <a:pt x="12438" y="17820"/>
                    </a:cubicBezTo>
                    <a:cubicBezTo>
                      <a:pt x="7654" y="19614"/>
                      <a:pt x="2391" y="17162"/>
                      <a:pt x="597" y="12438"/>
                    </a:cubicBezTo>
                    <a:close/>
                  </a:path>
                </a:pathLst>
              </a:custGeom>
              <a:grpFill/>
              <a:ln w="5978" cap="flat">
                <a:noFill/>
                <a:prstDash val="solid"/>
                <a:miter/>
              </a:ln>
            </p:spPr>
            <p:txBody>
              <a:bodyPr rtlCol="0" anchor="ctr"/>
              <a:lstStyle/>
              <a:p>
                <a:endParaRPr lang="en-GB"/>
              </a:p>
            </p:txBody>
          </p:sp>
          <p:sp>
            <p:nvSpPr>
              <p:cNvPr id="3313" name="Vrije vorm: vorm 3312">
                <a:extLst>
                  <a:ext uri="{FF2B5EF4-FFF2-40B4-BE49-F238E27FC236}">
                    <a16:creationId xmlns:a16="http://schemas.microsoft.com/office/drawing/2014/main" id="{EF86CD90-D378-43C5-89D1-5AFEA037AB93}"/>
                  </a:ext>
                </a:extLst>
              </p:cNvPr>
              <p:cNvSpPr/>
              <p:nvPr/>
            </p:nvSpPr>
            <p:spPr>
              <a:xfrm>
                <a:off x="5443674" y="1817464"/>
                <a:ext cx="18357" cy="18415"/>
              </a:xfrm>
              <a:custGeom>
                <a:avLst/>
                <a:gdLst>
                  <a:gd name="connsiteX0" fmla="*/ 596 w 18357"/>
                  <a:gd name="connsiteY0" fmla="*/ 12438 h 18415"/>
                  <a:gd name="connsiteX1" fmla="*/ 12438 w 18357"/>
                  <a:gd name="connsiteY1" fmla="*/ 17820 h 18415"/>
                  <a:gd name="connsiteX2" fmla="*/ 17761 w 18357"/>
                  <a:gd name="connsiteY2" fmla="*/ 5978 h 18415"/>
                  <a:gd name="connsiteX3" fmla="*/ 5919 w 18357"/>
                  <a:gd name="connsiteY3" fmla="*/ 596 h 18415"/>
                  <a:gd name="connsiteX4" fmla="*/ 596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6" y="12438"/>
                    </a:moveTo>
                    <a:cubicBezTo>
                      <a:pt x="2391" y="17222"/>
                      <a:pt x="7713" y="19614"/>
                      <a:pt x="12438" y="17820"/>
                    </a:cubicBezTo>
                    <a:cubicBezTo>
                      <a:pt x="17163" y="16026"/>
                      <a:pt x="19555" y="10703"/>
                      <a:pt x="17761" y="5978"/>
                    </a:cubicBezTo>
                    <a:cubicBezTo>
                      <a:pt x="15967" y="1194"/>
                      <a:pt x="10644" y="-1199"/>
                      <a:pt x="5919" y="596"/>
                    </a:cubicBezTo>
                    <a:cubicBezTo>
                      <a:pt x="1195" y="2330"/>
                      <a:pt x="-1198" y="7653"/>
                      <a:pt x="596" y="12438"/>
                    </a:cubicBezTo>
                    <a:close/>
                  </a:path>
                </a:pathLst>
              </a:custGeom>
              <a:grpFill/>
              <a:ln w="5978" cap="flat">
                <a:noFill/>
                <a:prstDash val="solid"/>
                <a:miter/>
              </a:ln>
            </p:spPr>
            <p:txBody>
              <a:bodyPr rtlCol="0" anchor="ctr"/>
              <a:lstStyle/>
              <a:p>
                <a:endParaRPr lang="en-GB"/>
              </a:p>
            </p:txBody>
          </p:sp>
        </p:grpSp>
        <p:grpSp>
          <p:nvGrpSpPr>
            <p:cNvPr id="694" name="Graphic 3">
              <a:extLst>
                <a:ext uri="{FF2B5EF4-FFF2-40B4-BE49-F238E27FC236}">
                  <a16:creationId xmlns:a16="http://schemas.microsoft.com/office/drawing/2014/main" id="{054C5D6E-ACFD-4F08-B7E8-EE98F970A800}"/>
                </a:ext>
              </a:extLst>
            </p:cNvPr>
            <p:cNvGrpSpPr/>
            <p:nvPr/>
          </p:nvGrpSpPr>
          <p:grpSpPr>
            <a:xfrm>
              <a:off x="5349657" y="1569085"/>
              <a:ext cx="82171" cy="187012"/>
              <a:chOff x="5349657" y="1569085"/>
              <a:chExt cx="82171" cy="187012"/>
            </a:xfrm>
            <a:grpFill/>
          </p:grpSpPr>
          <p:sp>
            <p:nvSpPr>
              <p:cNvPr id="3308" name="Vrije vorm: vorm 3307">
                <a:extLst>
                  <a:ext uri="{FF2B5EF4-FFF2-40B4-BE49-F238E27FC236}">
                    <a16:creationId xmlns:a16="http://schemas.microsoft.com/office/drawing/2014/main" id="{CE2130D8-48F7-4F79-870A-57A84EA387EF}"/>
                  </a:ext>
                </a:extLst>
              </p:cNvPr>
              <p:cNvSpPr/>
              <p:nvPr/>
            </p:nvSpPr>
            <p:spPr>
              <a:xfrm>
                <a:off x="5357191" y="1577276"/>
                <a:ext cx="67044" cy="170570"/>
              </a:xfrm>
              <a:custGeom>
                <a:avLst/>
                <a:gdLst>
                  <a:gd name="connsiteX0" fmla="*/ 67044 w 67044"/>
                  <a:gd name="connsiteY0" fmla="*/ 169494 h 170570"/>
                  <a:gd name="connsiteX1" fmla="*/ 64173 w 67044"/>
                  <a:gd name="connsiteY1" fmla="*/ 170570 h 170570"/>
                  <a:gd name="connsiteX2" fmla="*/ 0 w 67044"/>
                  <a:gd name="connsiteY2" fmla="*/ 1076 h 170570"/>
                  <a:gd name="connsiteX3" fmla="*/ 2871 w 67044"/>
                  <a:gd name="connsiteY3" fmla="*/ 0 h 170570"/>
                </a:gdLst>
                <a:ahLst/>
                <a:cxnLst>
                  <a:cxn ang="0">
                    <a:pos x="connsiteX0" y="connsiteY0"/>
                  </a:cxn>
                  <a:cxn ang="0">
                    <a:pos x="connsiteX1" y="connsiteY1"/>
                  </a:cxn>
                  <a:cxn ang="0">
                    <a:pos x="connsiteX2" y="connsiteY2"/>
                  </a:cxn>
                  <a:cxn ang="0">
                    <a:pos x="connsiteX3" y="connsiteY3"/>
                  </a:cxn>
                </a:cxnLst>
                <a:rect l="l" t="t" r="r" b="b"/>
                <a:pathLst>
                  <a:path w="67044" h="170570">
                    <a:moveTo>
                      <a:pt x="67044" y="169494"/>
                    </a:moveTo>
                    <a:lnTo>
                      <a:pt x="64173" y="170570"/>
                    </a:lnTo>
                    <a:lnTo>
                      <a:pt x="0" y="1076"/>
                    </a:lnTo>
                    <a:lnTo>
                      <a:pt x="2871" y="0"/>
                    </a:lnTo>
                    <a:close/>
                  </a:path>
                </a:pathLst>
              </a:custGeom>
              <a:grpFill/>
              <a:ln w="5978" cap="flat">
                <a:noFill/>
                <a:prstDash val="solid"/>
                <a:miter/>
              </a:ln>
            </p:spPr>
            <p:txBody>
              <a:bodyPr rtlCol="0" anchor="ctr"/>
              <a:lstStyle/>
              <a:p>
                <a:endParaRPr lang="en-GB"/>
              </a:p>
            </p:txBody>
          </p:sp>
          <p:sp>
            <p:nvSpPr>
              <p:cNvPr id="3309" name="Vrije vorm: vorm 3308">
                <a:extLst>
                  <a:ext uri="{FF2B5EF4-FFF2-40B4-BE49-F238E27FC236}">
                    <a16:creationId xmlns:a16="http://schemas.microsoft.com/office/drawing/2014/main" id="{3CF23C2E-ADBB-4393-A1FB-C34A15A319A9}"/>
                  </a:ext>
                </a:extLst>
              </p:cNvPr>
              <p:cNvSpPr/>
              <p:nvPr/>
            </p:nvSpPr>
            <p:spPr>
              <a:xfrm>
                <a:off x="5349657" y="1569085"/>
                <a:ext cx="18357" cy="18408"/>
              </a:xfrm>
              <a:custGeom>
                <a:avLst/>
                <a:gdLst>
                  <a:gd name="connsiteX0" fmla="*/ 596 w 18357"/>
                  <a:gd name="connsiteY0" fmla="*/ 12438 h 18408"/>
                  <a:gd name="connsiteX1" fmla="*/ 5919 w 18357"/>
                  <a:gd name="connsiteY1" fmla="*/ 596 h 18408"/>
                  <a:gd name="connsiteX2" fmla="*/ 17761 w 18357"/>
                  <a:gd name="connsiteY2" fmla="*/ 5978 h 18408"/>
                  <a:gd name="connsiteX3" fmla="*/ 12438 w 18357"/>
                  <a:gd name="connsiteY3" fmla="*/ 17820 h 18408"/>
                  <a:gd name="connsiteX4" fmla="*/ 596 w 18357"/>
                  <a:gd name="connsiteY4" fmla="*/ 12438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08">
                    <a:moveTo>
                      <a:pt x="596" y="12438"/>
                    </a:moveTo>
                    <a:cubicBezTo>
                      <a:pt x="-1198" y="7653"/>
                      <a:pt x="1194" y="2390"/>
                      <a:pt x="5919" y="596"/>
                    </a:cubicBezTo>
                    <a:cubicBezTo>
                      <a:pt x="10644" y="-1199"/>
                      <a:pt x="15967" y="1194"/>
                      <a:pt x="17761" y="5978"/>
                    </a:cubicBezTo>
                    <a:cubicBezTo>
                      <a:pt x="19555" y="10763"/>
                      <a:pt x="17163" y="16026"/>
                      <a:pt x="12438" y="17820"/>
                    </a:cubicBezTo>
                    <a:cubicBezTo>
                      <a:pt x="7654" y="19614"/>
                      <a:pt x="2391" y="17162"/>
                      <a:pt x="596" y="12438"/>
                    </a:cubicBezTo>
                    <a:close/>
                  </a:path>
                </a:pathLst>
              </a:custGeom>
              <a:grpFill/>
              <a:ln w="5978" cap="flat">
                <a:noFill/>
                <a:prstDash val="solid"/>
                <a:miter/>
              </a:ln>
            </p:spPr>
            <p:txBody>
              <a:bodyPr rtlCol="0" anchor="ctr"/>
              <a:lstStyle/>
              <a:p>
                <a:endParaRPr lang="en-GB"/>
              </a:p>
            </p:txBody>
          </p:sp>
          <p:sp>
            <p:nvSpPr>
              <p:cNvPr id="3310" name="Vrije vorm: vorm 3309">
                <a:extLst>
                  <a:ext uri="{FF2B5EF4-FFF2-40B4-BE49-F238E27FC236}">
                    <a16:creationId xmlns:a16="http://schemas.microsoft.com/office/drawing/2014/main" id="{26E2CC82-8745-438D-AF00-8E75FDB36F03}"/>
                  </a:ext>
                </a:extLst>
              </p:cNvPr>
              <p:cNvSpPr/>
              <p:nvPr/>
            </p:nvSpPr>
            <p:spPr>
              <a:xfrm>
                <a:off x="5413472" y="1737681"/>
                <a:ext cx="18357" cy="18415"/>
              </a:xfrm>
              <a:custGeom>
                <a:avLst/>
                <a:gdLst>
                  <a:gd name="connsiteX0" fmla="*/ 596 w 18357"/>
                  <a:gd name="connsiteY0" fmla="*/ 12438 h 18415"/>
                  <a:gd name="connsiteX1" fmla="*/ 12438 w 18357"/>
                  <a:gd name="connsiteY1" fmla="*/ 17820 h 18415"/>
                  <a:gd name="connsiteX2" fmla="*/ 17761 w 18357"/>
                  <a:gd name="connsiteY2" fmla="*/ 5978 h 18415"/>
                  <a:gd name="connsiteX3" fmla="*/ 5919 w 18357"/>
                  <a:gd name="connsiteY3" fmla="*/ 596 h 18415"/>
                  <a:gd name="connsiteX4" fmla="*/ 596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6" y="12438"/>
                    </a:moveTo>
                    <a:cubicBezTo>
                      <a:pt x="2390" y="17222"/>
                      <a:pt x="7713" y="19614"/>
                      <a:pt x="12438" y="17820"/>
                    </a:cubicBezTo>
                    <a:cubicBezTo>
                      <a:pt x="17163" y="16026"/>
                      <a:pt x="19555" y="10703"/>
                      <a:pt x="17761" y="5978"/>
                    </a:cubicBezTo>
                    <a:cubicBezTo>
                      <a:pt x="15967" y="1194"/>
                      <a:pt x="10644" y="-1199"/>
                      <a:pt x="5919" y="596"/>
                    </a:cubicBezTo>
                    <a:cubicBezTo>
                      <a:pt x="1195" y="2390"/>
                      <a:pt x="-1198" y="7713"/>
                      <a:pt x="596" y="12438"/>
                    </a:cubicBezTo>
                    <a:close/>
                  </a:path>
                </a:pathLst>
              </a:custGeom>
              <a:grpFill/>
              <a:ln w="5978" cap="flat">
                <a:noFill/>
                <a:prstDash val="solid"/>
                <a:miter/>
              </a:ln>
            </p:spPr>
            <p:txBody>
              <a:bodyPr rtlCol="0" anchor="ctr"/>
              <a:lstStyle/>
              <a:p>
                <a:endParaRPr lang="en-GB"/>
              </a:p>
            </p:txBody>
          </p:sp>
        </p:grpSp>
        <p:grpSp>
          <p:nvGrpSpPr>
            <p:cNvPr id="695" name="Graphic 3">
              <a:extLst>
                <a:ext uri="{FF2B5EF4-FFF2-40B4-BE49-F238E27FC236}">
                  <a16:creationId xmlns:a16="http://schemas.microsoft.com/office/drawing/2014/main" id="{2F0D2811-59AB-4633-9061-AE692CECD7FE}"/>
                </a:ext>
              </a:extLst>
            </p:cNvPr>
            <p:cNvGrpSpPr/>
            <p:nvPr/>
          </p:nvGrpSpPr>
          <p:grpSpPr>
            <a:xfrm>
              <a:off x="6539307" y="5021363"/>
              <a:ext cx="122394" cy="490898"/>
              <a:chOff x="6539307" y="5021363"/>
              <a:chExt cx="122394" cy="490898"/>
            </a:xfrm>
            <a:grpFill/>
          </p:grpSpPr>
          <p:sp>
            <p:nvSpPr>
              <p:cNvPr id="3305" name="Vrije vorm: vorm 3304">
                <a:extLst>
                  <a:ext uri="{FF2B5EF4-FFF2-40B4-BE49-F238E27FC236}">
                    <a16:creationId xmlns:a16="http://schemas.microsoft.com/office/drawing/2014/main" id="{693963B7-9FEF-4A2D-8E8E-025BD02BC4B1}"/>
                  </a:ext>
                </a:extLst>
              </p:cNvPr>
              <p:cNvSpPr/>
              <p:nvPr/>
            </p:nvSpPr>
            <p:spPr>
              <a:xfrm>
                <a:off x="6546877" y="5029767"/>
                <a:ext cx="107234" cy="474032"/>
              </a:xfrm>
              <a:custGeom>
                <a:avLst/>
                <a:gdLst>
                  <a:gd name="connsiteX0" fmla="*/ 2990 w 107234"/>
                  <a:gd name="connsiteY0" fmla="*/ 0 h 474032"/>
                  <a:gd name="connsiteX1" fmla="*/ 107234 w 107234"/>
                  <a:gd name="connsiteY1" fmla="*/ 473374 h 474032"/>
                  <a:gd name="connsiteX2" fmla="*/ 104244 w 107234"/>
                  <a:gd name="connsiteY2" fmla="*/ 474032 h 474032"/>
                  <a:gd name="connsiteX3" fmla="*/ 0 w 107234"/>
                  <a:gd name="connsiteY3" fmla="*/ 658 h 474032"/>
                </a:gdLst>
                <a:ahLst/>
                <a:cxnLst>
                  <a:cxn ang="0">
                    <a:pos x="connsiteX0" y="connsiteY0"/>
                  </a:cxn>
                  <a:cxn ang="0">
                    <a:pos x="connsiteX1" y="connsiteY1"/>
                  </a:cxn>
                  <a:cxn ang="0">
                    <a:pos x="connsiteX2" y="connsiteY2"/>
                  </a:cxn>
                  <a:cxn ang="0">
                    <a:pos x="connsiteX3" y="connsiteY3"/>
                  </a:cxn>
                </a:cxnLst>
                <a:rect l="l" t="t" r="r" b="b"/>
                <a:pathLst>
                  <a:path w="107234" h="474032">
                    <a:moveTo>
                      <a:pt x="2990" y="0"/>
                    </a:moveTo>
                    <a:lnTo>
                      <a:pt x="107234" y="473374"/>
                    </a:lnTo>
                    <a:lnTo>
                      <a:pt x="104244" y="474032"/>
                    </a:lnTo>
                    <a:lnTo>
                      <a:pt x="0" y="658"/>
                    </a:lnTo>
                    <a:close/>
                  </a:path>
                </a:pathLst>
              </a:custGeom>
              <a:grpFill/>
              <a:ln w="5978" cap="flat">
                <a:noFill/>
                <a:prstDash val="solid"/>
                <a:miter/>
              </a:ln>
            </p:spPr>
            <p:txBody>
              <a:bodyPr rtlCol="0" anchor="ctr"/>
              <a:lstStyle/>
              <a:p>
                <a:endParaRPr lang="en-GB"/>
              </a:p>
            </p:txBody>
          </p:sp>
          <p:sp>
            <p:nvSpPr>
              <p:cNvPr id="3306" name="Vrije vorm: vorm 3305">
                <a:extLst>
                  <a:ext uri="{FF2B5EF4-FFF2-40B4-BE49-F238E27FC236}">
                    <a16:creationId xmlns:a16="http://schemas.microsoft.com/office/drawing/2014/main" id="{DC0B3F45-FB0F-4758-8D88-A26DC270F4F8}"/>
                  </a:ext>
                </a:extLst>
              </p:cNvPr>
              <p:cNvSpPr/>
              <p:nvPr/>
            </p:nvSpPr>
            <p:spPr>
              <a:xfrm>
                <a:off x="6539307" y="5021363"/>
                <a:ext cx="18308" cy="18421"/>
              </a:xfrm>
              <a:custGeom>
                <a:avLst/>
                <a:gdLst>
                  <a:gd name="connsiteX0" fmla="*/ 213 w 18308"/>
                  <a:gd name="connsiteY0" fmla="*/ 11155 h 18421"/>
                  <a:gd name="connsiteX1" fmla="*/ 7151 w 18308"/>
                  <a:gd name="connsiteY1" fmla="*/ 210 h 18421"/>
                  <a:gd name="connsiteX2" fmla="*/ 18095 w 18308"/>
                  <a:gd name="connsiteY2" fmla="*/ 7267 h 18421"/>
                  <a:gd name="connsiteX3" fmla="*/ 11158 w 18308"/>
                  <a:gd name="connsiteY3" fmla="*/ 18212 h 18421"/>
                  <a:gd name="connsiteX4" fmla="*/ 213 w 18308"/>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213" y="11155"/>
                    </a:moveTo>
                    <a:cubicBezTo>
                      <a:pt x="-864" y="6191"/>
                      <a:pt x="2247" y="1286"/>
                      <a:pt x="7151" y="210"/>
                    </a:cubicBezTo>
                    <a:cubicBezTo>
                      <a:pt x="12115" y="-867"/>
                      <a:pt x="16959" y="2303"/>
                      <a:pt x="18095" y="7267"/>
                    </a:cubicBezTo>
                    <a:cubicBezTo>
                      <a:pt x="19172" y="12231"/>
                      <a:pt x="16062" y="17136"/>
                      <a:pt x="11158" y="18212"/>
                    </a:cubicBezTo>
                    <a:cubicBezTo>
                      <a:pt x="6194" y="19288"/>
                      <a:pt x="1349" y="16119"/>
                      <a:pt x="213" y="11155"/>
                    </a:cubicBezTo>
                    <a:close/>
                  </a:path>
                </a:pathLst>
              </a:custGeom>
              <a:grpFill/>
              <a:ln w="5978" cap="flat">
                <a:noFill/>
                <a:prstDash val="solid"/>
                <a:miter/>
              </a:ln>
            </p:spPr>
            <p:txBody>
              <a:bodyPr rtlCol="0" anchor="ctr"/>
              <a:lstStyle/>
              <a:p>
                <a:endParaRPr lang="en-GB"/>
              </a:p>
            </p:txBody>
          </p:sp>
          <p:sp>
            <p:nvSpPr>
              <p:cNvPr id="3307" name="Vrije vorm: vorm 3306">
                <a:extLst>
                  <a:ext uri="{FF2B5EF4-FFF2-40B4-BE49-F238E27FC236}">
                    <a16:creationId xmlns:a16="http://schemas.microsoft.com/office/drawing/2014/main" id="{912EDE4E-2DFB-4845-946D-EB3F2354D2A3}"/>
                  </a:ext>
                </a:extLst>
              </p:cNvPr>
              <p:cNvSpPr/>
              <p:nvPr/>
            </p:nvSpPr>
            <p:spPr>
              <a:xfrm>
                <a:off x="6643354" y="5493840"/>
                <a:ext cx="18347" cy="18421"/>
              </a:xfrm>
              <a:custGeom>
                <a:avLst/>
                <a:gdLst>
                  <a:gd name="connsiteX0" fmla="*/ 231 w 18347"/>
                  <a:gd name="connsiteY0" fmla="*/ 11155 h 18421"/>
                  <a:gd name="connsiteX1" fmla="*/ 11176 w 18347"/>
                  <a:gd name="connsiteY1" fmla="*/ 18212 h 18421"/>
                  <a:gd name="connsiteX2" fmla="*/ 18114 w 18347"/>
                  <a:gd name="connsiteY2" fmla="*/ 7267 h 18421"/>
                  <a:gd name="connsiteX3" fmla="*/ 7169 w 18347"/>
                  <a:gd name="connsiteY3" fmla="*/ 210 h 18421"/>
                  <a:gd name="connsiteX4" fmla="*/ 231 w 1834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21">
                    <a:moveTo>
                      <a:pt x="231" y="11155"/>
                    </a:moveTo>
                    <a:cubicBezTo>
                      <a:pt x="1308" y="16119"/>
                      <a:pt x="6212" y="19288"/>
                      <a:pt x="11176" y="18212"/>
                    </a:cubicBezTo>
                    <a:cubicBezTo>
                      <a:pt x="16140" y="17136"/>
                      <a:pt x="19250" y="12231"/>
                      <a:pt x="18114" y="7267"/>
                    </a:cubicBezTo>
                    <a:cubicBezTo>
                      <a:pt x="17037" y="2303"/>
                      <a:pt x="12133" y="-867"/>
                      <a:pt x="7169" y="210"/>
                    </a:cubicBezTo>
                    <a:cubicBezTo>
                      <a:pt x="2264" y="1286"/>
                      <a:pt x="-905" y="6191"/>
                      <a:pt x="231" y="11155"/>
                    </a:cubicBezTo>
                    <a:close/>
                  </a:path>
                </a:pathLst>
              </a:custGeom>
              <a:grpFill/>
              <a:ln w="5978" cap="flat">
                <a:noFill/>
                <a:prstDash val="solid"/>
                <a:miter/>
              </a:ln>
            </p:spPr>
            <p:txBody>
              <a:bodyPr rtlCol="0" anchor="ctr"/>
              <a:lstStyle/>
              <a:p>
                <a:endParaRPr lang="en-GB"/>
              </a:p>
            </p:txBody>
          </p:sp>
        </p:grpSp>
        <p:grpSp>
          <p:nvGrpSpPr>
            <p:cNvPr id="696" name="Graphic 3">
              <a:extLst>
                <a:ext uri="{FF2B5EF4-FFF2-40B4-BE49-F238E27FC236}">
                  <a16:creationId xmlns:a16="http://schemas.microsoft.com/office/drawing/2014/main" id="{EDB415FF-F6CB-4327-89E6-BD579886FE6C}"/>
                </a:ext>
              </a:extLst>
            </p:cNvPr>
            <p:cNvGrpSpPr/>
            <p:nvPr/>
          </p:nvGrpSpPr>
          <p:grpSpPr>
            <a:xfrm>
              <a:off x="6510643" y="5032050"/>
              <a:ext cx="36223" cy="80899"/>
              <a:chOff x="6510643" y="5032050"/>
              <a:chExt cx="36223" cy="80899"/>
            </a:xfrm>
            <a:grpFill/>
          </p:grpSpPr>
          <p:sp>
            <p:nvSpPr>
              <p:cNvPr id="3302" name="Vrije vorm: vorm 3301">
                <a:extLst>
                  <a:ext uri="{FF2B5EF4-FFF2-40B4-BE49-F238E27FC236}">
                    <a16:creationId xmlns:a16="http://schemas.microsoft.com/office/drawing/2014/main" id="{03302C35-2DA9-4284-B290-4F46B9A9EF86}"/>
                  </a:ext>
                </a:extLst>
              </p:cNvPr>
              <p:cNvSpPr/>
              <p:nvPr/>
            </p:nvSpPr>
            <p:spPr>
              <a:xfrm>
                <a:off x="6518591" y="5040410"/>
                <a:ext cx="21073" cy="64266"/>
              </a:xfrm>
              <a:custGeom>
                <a:avLst/>
                <a:gdLst>
                  <a:gd name="connsiteX0" fmla="*/ 0 w 21073"/>
                  <a:gd name="connsiteY0" fmla="*/ 839 h 64266"/>
                  <a:gd name="connsiteX1" fmla="*/ 2933 w 21073"/>
                  <a:gd name="connsiteY1" fmla="*/ 0 h 64266"/>
                  <a:gd name="connsiteX2" fmla="*/ 21074 w 21073"/>
                  <a:gd name="connsiteY2" fmla="*/ 63428 h 64266"/>
                  <a:gd name="connsiteX3" fmla="*/ 18141 w 21073"/>
                  <a:gd name="connsiteY3" fmla="*/ 64266 h 64266"/>
                </a:gdLst>
                <a:ahLst/>
                <a:cxnLst>
                  <a:cxn ang="0">
                    <a:pos x="connsiteX0" y="connsiteY0"/>
                  </a:cxn>
                  <a:cxn ang="0">
                    <a:pos x="connsiteX1" y="connsiteY1"/>
                  </a:cxn>
                  <a:cxn ang="0">
                    <a:pos x="connsiteX2" y="connsiteY2"/>
                  </a:cxn>
                  <a:cxn ang="0">
                    <a:pos x="connsiteX3" y="connsiteY3"/>
                  </a:cxn>
                </a:cxnLst>
                <a:rect l="l" t="t" r="r" b="b"/>
                <a:pathLst>
                  <a:path w="21073" h="64266">
                    <a:moveTo>
                      <a:pt x="0" y="839"/>
                    </a:moveTo>
                    <a:lnTo>
                      <a:pt x="2933" y="0"/>
                    </a:lnTo>
                    <a:lnTo>
                      <a:pt x="21074" y="63428"/>
                    </a:lnTo>
                    <a:lnTo>
                      <a:pt x="18141" y="64266"/>
                    </a:lnTo>
                    <a:close/>
                  </a:path>
                </a:pathLst>
              </a:custGeom>
              <a:grpFill/>
              <a:ln w="5978" cap="flat">
                <a:noFill/>
                <a:prstDash val="solid"/>
                <a:miter/>
              </a:ln>
            </p:spPr>
            <p:txBody>
              <a:bodyPr rtlCol="0" anchor="ctr"/>
              <a:lstStyle/>
              <a:p>
                <a:endParaRPr lang="en-GB"/>
              </a:p>
            </p:txBody>
          </p:sp>
          <p:sp>
            <p:nvSpPr>
              <p:cNvPr id="3303" name="Vrije vorm: vorm 3302">
                <a:extLst>
                  <a:ext uri="{FF2B5EF4-FFF2-40B4-BE49-F238E27FC236}">
                    <a16:creationId xmlns:a16="http://schemas.microsoft.com/office/drawing/2014/main" id="{EBE0E1C2-1AB7-4CEA-9061-8ED6F31F57EF}"/>
                  </a:ext>
                </a:extLst>
              </p:cNvPr>
              <p:cNvSpPr/>
              <p:nvPr/>
            </p:nvSpPr>
            <p:spPr>
              <a:xfrm>
                <a:off x="6528525" y="5094548"/>
                <a:ext cx="18341" cy="18400"/>
              </a:xfrm>
              <a:custGeom>
                <a:avLst/>
                <a:gdLst>
                  <a:gd name="connsiteX0" fmla="*/ 17992 w 18341"/>
                  <a:gd name="connsiteY0" fmla="*/ 6688 h 18400"/>
                  <a:gd name="connsiteX1" fmla="*/ 11712 w 18341"/>
                  <a:gd name="connsiteY1" fmla="*/ 18052 h 18400"/>
                  <a:gd name="connsiteX2" fmla="*/ 349 w 18341"/>
                  <a:gd name="connsiteY2" fmla="*/ 11712 h 18400"/>
                  <a:gd name="connsiteX3" fmla="*/ 6629 w 18341"/>
                  <a:gd name="connsiteY3" fmla="*/ 349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9368" y="11593"/>
                      <a:pt x="16557" y="16676"/>
                      <a:pt x="11712" y="18052"/>
                    </a:cubicBezTo>
                    <a:cubicBezTo>
                      <a:pt x="6868" y="19427"/>
                      <a:pt x="1785" y="16617"/>
                      <a:pt x="349" y="11712"/>
                    </a:cubicBezTo>
                    <a:cubicBezTo>
                      <a:pt x="-1027" y="6808"/>
                      <a:pt x="1785" y="1724"/>
                      <a:pt x="6629" y="349"/>
                    </a:cubicBezTo>
                    <a:cubicBezTo>
                      <a:pt x="11473" y="-1027"/>
                      <a:pt x="16557" y="1784"/>
                      <a:pt x="17992" y="6688"/>
                    </a:cubicBezTo>
                    <a:close/>
                  </a:path>
                </a:pathLst>
              </a:custGeom>
              <a:grpFill/>
              <a:ln w="5978" cap="flat">
                <a:noFill/>
                <a:prstDash val="solid"/>
                <a:miter/>
              </a:ln>
            </p:spPr>
            <p:txBody>
              <a:bodyPr rtlCol="0" anchor="ctr"/>
              <a:lstStyle/>
              <a:p>
                <a:endParaRPr lang="en-GB"/>
              </a:p>
            </p:txBody>
          </p:sp>
          <p:sp>
            <p:nvSpPr>
              <p:cNvPr id="3304" name="Vrije vorm: vorm 3303">
                <a:extLst>
                  <a:ext uri="{FF2B5EF4-FFF2-40B4-BE49-F238E27FC236}">
                    <a16:creationId xmlns:a16="http://schemas.microsoft.com/office/drawing/2014/main" id="{31E17BB2-3E1D-4317-899A-27C089EBE802}"/>
                  </a:ext>
                </a:extLst>
              </p:cNvPr>
              <p:cNvSpPr/>
              <p:nvPr/>
            </p:nvSpPr>
            <p:spPr>
              <a:xfrm>
                <a:off x="6510643" y="5032050"/>
                <a:ext cx="18345" cy="18400"/>
              </a:xfrm>
              <a:custGeom>
                <a:avLst/>
                <a:gdLst>
                  <a:gd name="connsiteX0" fmla="*/ 17992 w 18345"/>
                  <a:gd name="connsiteY0" fmla="*/ 6688 h 18400"/>
                  <a:gd name="connsiteX1" fmla="*/ 6629 w 18345"/>
                  <a:gd name="connsiteY1" fmla="*/ 349 h 18400"/>
                  <a:gd name="connsiteX2" fmla="*/ 349 w 18345"/>
                  <a:gd name="connsiteY2" fmla="*/ 11712 h 18400"/>
                  <a:gd name="connsiteX3" fmla="*/ 11712 w 18345"/>
                  <a:gd name="connsiteY3" fmla="*/ 18052 h 18400"/>
                  <a:gd name="connsiteX4" fmla="*/ 17992 w 18345"/>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0">
                    <a:moveTo>
                      <a:pt x="17992" y="6688"/>
                    </a:moveTo>
                    <a:cubicBezTo>
                      <a:pt x="16617" y="1785"/>
                      <a:pt x="11533" y="-1027"/>
                      <a:pt x="6629" y="349"/>
                    </a:cubicBezTo>
                    <a:cubicBezTo>
                      <a:pt x="1785" y="1725"/>
                      <a:pt x="-1027" y="6808"/>
                      <a:pt x="349" y="11712"/>
                    </a:cubicBezTo>
                    <a:cubicBezTo>
                      <a:pt x="1725" y="16617"/>
                      <a:pt x="6808" y="19427"/>
                      <a:pt x="11712" y="18052"/>
                    </a:cubicBezTo>
                    <a:cubicBezTo>
                      <a:pt x="16617" y="16676"/>
                      <a:pt x="19368" y="11593"/>
                      <a:pt x="17992" y="6688"/>
                    </a:cubicBezTo>
                    <a:close/>
                  </a:path>
                </a:pathLst>
              </a:custGeom>
              <a:grpFill/>
              <a:ln w="5978" cap="flat">
                <a:noFill/>
                <a:prstDash val="solid"/>
                <a:miter/>
              </a:ln>
            </p:spPr>
            <p:txBody>
              <a:bodyPr rtlCol="0" anchor="ctr"/>
              <a:lstStyle/>
              <a:p>
                <a:endParaRPr lang="en-GB"/>
              </a:p>
            </p:txBody>
          </p:sp>
        </p:grpSp>
        <p:grpSp>
          <p:nvGrpSpPr>
            <p:cNvPr id="697" name="Graphic 3">
              <a:extLst>
                <a:ext uri="{FF2B5EF4-FFF2-40B4-BE49-F238E27FC236}">
                  <a16:creationId xmlns:a16="http://schemas.microsoft.com/office/drawing/2014/main" id="{7C083E94-2180-4113-A2E2-ADB619719191}"/>
                </a:ext>
              </a:extLst>
            </p:cNvPr>
            <p:cNvGrpSpPr/>
            <p:nvPr/>
          </p:nvGrpSpPr>
          <p:grpSpPr>
            <a:xfrm>
              <a:off x="6533549" y="5112251"/>
              <a:ext cx="100277" cy="304697"/>
              <a:chOff x="6533549" y="5112251"/>
              <a:chExt cx="100277" cy="304697"/>
            </a:xfrm>
            <a:grpFill/>
          </p:grpSpPr>
          <p:sp>
            <p:nvSpPr>
              <p:cNvPr id="3299" name="Vrije vorm: vorm 3298">
                <a:extLst>
                  <a:ext uri="{FF2B5EF4-FFF2-40B4-BE49-F238E27FC236}">
                    <a16:creationId xmlns:a16="http://schemas.microsoft.com/office/drawing/2014/main" id="{F0C0A6E2-EC43-4295-B6B1-F9AE0908BB60}"/>
                  </a:ext>
                </a:extLst>
              </p:cNvPr>
              <p:cNvSpPr/>
              <p:nvPr/>
            </p:nvSpPr>
            <p:spPr>
              <a:xfrm>
                <a:off x="6541107" y="5120429"/>
                <a:ext cx="85098" cy="287987"/>
              </a:xfrm>
              <a:custGeom>
                <a:avLst/>
                <a:gdLst>
                  <a:gd name="connsiteX0" fmla="*/ 0 w 85098"/>
                  <a:gd name="connsiteY0" fmla="*/ 839 h 287987"/>
                  <a:gd name="connsiteX1" fmla="*/ 2932 w 85098"/>
                  <a:gd name="connsiteY1" fmla="*/ 0 h 287987"/>
                  <a:gd name="connsiteX2" fmla="*/ 85099 w 85098"/>
                  <a:gd name="connsiteY2" fmla="*/ 287148 h 287987"/>
                  <a:gd name="connsiteX3" fmla="*/ 82166 w 85098"/>
                  <a:gd name="connsiteY3" fmla="*/ 287988 h 287987"/>
                </a:gdLst>
                <a:ahLst/>
                <a:cxnLst>
                  <a:cxn ang="0">
                    <a:pos x="connsiteX0" y="connsiteY0"/>
                  </a:cxn>
                  <a:cxn ang="0">
                    <a:pos x="connsiteX1" y="connsiteY1"/>
                  </a:cxn>
                  <a:cxn ang="0">
                    <a:pos x="connsiteX2" y="connsiteY2"/>
                  </a:cxn>
                  <a:cxn ang="0">
                    <a:pos x="connsiteX3" y="connsiteY3"/>
                  </a:cxn>
                </a:cxnLst>
                <a:rect l="l" t="t" r="r" b="b"/>
                <a:pathLst>
                  <a:path w="85098" h="287987">
                    <a:moveTo>
                      <a:pt x="0" y="839"/>
                    </a:moveTo>
                    <a:lnTo>
                      <a:pt x="2932" y="0"/>
                    </a:lnTo>
                    <a:lnTo>
                      <a:pt x="85099" y="287148"/>
                    </a:lnTo>
                    <a:lnTo>
                      <a:pt x="82166" y="287988"/>
                    </a:lnTo>
                    <a:close/>
                  </a:path>
                </a:pathLst>
              </a:custGeom>
              <a:grpFill/>
              <a:ln w="5978" cap="flat">
                <a:noFill/>
                <a:prstDash val="solid"/>
                <a:miter/>
              </a:ln>
            </p:spPr>
            <p:txBody>
              <a:bodyPr rtlCol="0" anchor="ctr"/>
              <a:lstStyle/>
              <a:p>
                <a:endParaRPr lang="en-GB"/>
              </a:p>
            </p:txBody>
          </p:sp>
          <p:sp>
            <p:nvSpPr>
              <p:cNvPr id="3300" name="Vrije vorm: vorm 3299">
                <a:extLst>
                  <a:ext uri="{FF2B5EF4-FFF2-40B4-BE49-F238E27FC236}">
                    <a16:creationId xmlns:a16="http://schemas.microsoft.com/office/drawing/2014/main" id="{6379D723-9272-4418-B076-94F8D2026222}"/>
                  </a:ext>
                </a:extLst>
              </p:cNvPr>
              <p:cNvSpPr/>
              <p:nvPr/>
            </p:nvSpPr>
            <p:spPr>
              <a:xfrm>
                <a:off x="6615485" y="5398548"/>
                <a:ext cx="18341" cy="18400"/>
              </a:xfrm>
              <a:custGeom>
                <a:avLst/>
                <a:gdLst>
                  <a:gd name="connsiteX0" fmla="*/ 17992 w 18341"/>
                  <a:gd name="connsiteY0" fmla="*/ 6688 h 18400"/>
                  <a:gd name="connsiteX1" fmla="*/ 11713 w 18341"/>
                  <a:gd name="connsiteY1" fmla="*/ 18052 h 18400"/>
                  <a:gd name="connsiteX2" fmla="*/ 349 w 18341"/>
                  <a:gd name="connsiteY2" fmla="*/ 11712 h 18400"/>
                  <a:gd name="connsiteX3" fmla="*/ 6629 w 18341"/>
                  <a:gd name="connsiteY3" fmla="*/ 349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9368" y="11593"/>
                      <a:pt x="16557" y="16676"/>
                      <a:pt x="11713" y="18052"/>
                    </a:cubicBezTo>
                    <a:cubicBezTo>
                      <a:pt x="6868" y="19427"/>
                      <a:pt x="1784" y="16616"/>
                      <a:pt x="349" y="11712"/>
                    </a:cubicBezTo>
                    <a:cubicBezTo>
                      <a:pt x="-1026" y="6808"/>
                      <a:pt x="1784" y="1724"/>
                      <a:pt x="6629" y="349"/>
                    </a:cubicBezTo>
                    <a:cubicBezTo>
                      <a:pt x="11533" y="-1027"/>
                      <a:pt x="16557" y="1784"/>
                      <a:pt x="17992" y="6688"/>
                    </a:cubicBezTo>
                    <a:close/>
                  </a:path>
                </a:pathLst>
              </a:custGeom>
              <a:grpFill/>
              <a:ln w="5978" cap="flat">
                <a:noFill/>
                <a:prstDash val="solid"/>
                <a:miter/>
              </a:ln>
            </p:spPr>
            <p:txBody>
              <a:bodyPr rtlCol="0" anchor="ctr"/>
              <a:lstStyle/>
              <a:p>
                <a:endParaRPr lang="en-GB"/>
              </a:p>
            </p:txBody>
          </p:sp>
          <p:sp>
            <p:nvSpPr>
              <p:cNvPr id="3301" name="Vrije vorm: vorm 3300">
                <a:extLst>
                  <a:ext uri="{FF2B5EF4-FFF2-40B4-BE49-F238E27FC236}">
                    <a16:creationId xmlns:a16="http://schemas.microsoft.com/office/drawing/2014/main" id="{C81F4330-63EE-49AE-86BE-9CB5318CF61A}"/>
                  </a:ext>
                </a:extLst>
              </p:cNvPr>
              <p:cNvSpPr/>
              <p:nvPr/>
            </p:nvSpPr>
            <p:spPr>
              <a:xfrm>
                <a:off x="6533549" y="5112251"/>
                <a:ext cx="18367" cy="18400"/>
              </a:xfrm>
              <a:custGeom>
                <a:avLst/>
                <a:gdLst>
                  <a:gd name="connsiteX0" fmla="*/ 17992 w 18367"/>
                  <a:gd name="connsiteY0" fmla="*/ 6689 h 18400"/>
                  <a:gd name="connsiteX1" fmla="*/ 6629 w 18367"/>
                  <a:gd name="connsiteY1" fmla="*/ 349 h 18400"/>
                  <a:gd name="connsiteX2" fmla="*/ 349 w 18367"/>
                  <a:gd name="connsiteY2" fmla="*/ 11712 h 18400"/>
                  <a:gd name="connsiteX3" fmla="*/ 11713 w 18367"/>
                  <a:gd name="connsiteY3" fmla="*/ 18052 h 18400"/>
                  <a:gd name="connsiteX4" fmla="*/ 17992 w 18367"/>
                  <a:gd name="connsiteY4" fmla="*/ 668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00">
                    <a:moveTo>
                      <a:pt x="17992" y="6689"/>
                    </a:moveTo>
                    <a:cubicBezTo>
                      <a:pt x="16617" y="1784"/>
                      <a:pt x="11533" y="-1027"/>
                      <a:pt x="6629" y="349"/>
                    </a:cubicBezTo>
                    <a:cubicBezTo>
                      <a:pt x="1785" y="1724"/>
                      <a:pt x="-1026" y="6808"/>
                      <a:pt x="349" y="11712"/>
                    </a:cubicBezTo>
                    <a:cubicBezTo>
                      <a:pt x="1725" y="16616"/>
                      <a:pt x="6808" y="19427"/>
                      <a:pt x="11713" y="18052"/>
                    </a:cubicBezTo>
                    <a:cubicBezTo>
                      <a:pt x="16617" y="16676"/>
                      <a:pt x="19428" y="11593"/>
                      <a:pt x="17992" y="6689"/>
                    </a:cubicBezTo>
                    <a:close/>
                  </a:path>
                </a:pathLst>
              </a:custGeom>
              <a:grpFill/>
              <a:ln w="5978" cap="flat">
                <a:noFill/>
                <a:prstDash val="solid"/>
                <a:miter/>
              </a:ln>
            </p:spPr>
            <p:txBody>
              <a:bodyPr rtlCol="0" anchor="ctr"/>
              <a:lstStyle/>
              <a:p>
                <a:endParaRPr lang="en-GB"/>
              </a:p>
            </p:txBody>
          </p:sp>
        </p:grpSp>
        <p:grpSp>
          <p:nvGrpSpPr>
            <p:cNvPr id="698" name="Graphic 3">
              <a:extLst>
                <a:ext uri="{FF2B5EF4-FFF2-40B4-BE49-F238E27FC236}">
                  <a16:creationId xmlns:a16="http://schemas.microsoft.com/office/drawing/2014/main" id="{E4C4EB1A-1AFE-4F55-8E86-B9233255E030}"/>
                </a:ext>
              </a:extLst>
            </p:cNvPr>
            <p:cNvGrpSpPr/>
            <p:nvPr/>
          </p:nvGrpSpPr>
          <p:grpSpPr>
            <a:xfrm>
              <a:off x="5251035" y="1308744"/>
              <a:ext cx="110400" cy="261472"/>
              <a:chOff x="5251035" y="1308744"/>
              <a:chExt cx="110400" cy="261472"/>
            </a:xfrm>
            <a:grpFill/>
          </p:grpSpPr>
          <p:sp>
            <p:nvSpPr>
              <p:cNvPr id="3296" name="Vrije vorm: vorm 3295">
                <a:extLst>
                  <a:ext uri="{FF2B5EF4-FFF2-40B4-BE49-F238E27FC236}">
                    <a16:creationId xmlns:a16="http://schemas.microsoft.com/office/drawing/2014/main" id="{9032B292-1C75-421F-A8CC-F168220A5B79}"/>
                  </a:ext>
                </a:extLst>
              </p:cNvPr>
              <p:cNvSpPr/>
              <p:nvPr/>
            </p:nvSpPr>
            <p:spPr>
              <a:xfrm>
                <a:off x="5258629" y="1316995"/>
                <a:ext cx="95212" cy="244970"/>
              </a:xfrm>
              <a:custGeom>
                <a:avLst/>
                <a:gdLst>
                  <a:gd name="connsiteX0" fmla="*/ 95213 w 95212"/>
                  <a:gd name="connsiteY0" fmla="*/ 243894 h 244970"/>
                  <a:gd name="connsiteX1" fmla="*/ 92402 w 95212"/>
                  <a:gd name="connsiteY1" fmla="*/ 244970 h 244970"/>
                  <a:gd name="connsiteX2" fmla="*/ 0 w 95212"/>
                  <a:gd name="connsiteY2" fmla="*/ 1077 h 244970"/>
                  <a:gd name="connsiteX3" fmla="*/ 2871 w 95212"/>
                  <a:gd name="connsiteY3" fmla="*/ 0 h 244970"/>
                </a:gdLst>
                <a:ahLst/>
                <a:cxnLst>
                  <a:cxn ang="0">
                    <a:pos x="connsiteX0" y="connsiteY0"/>
                  </a:cxn>
                  <a:cxn ang="0">
                    <a:pos x="connsiteX1" y="connsiteY1"/>
                  </a:cxn>
                  <a:cxn ang="0">
                    <a:pos x="connsiteX2" y="connsiteY2"/>
                  </a:cxn>
                  <a:cxn ang="0">
                    <a:pos x="connsiteX3" y="connsiteY3"/>
                  </a:cxn>
                </a:cxnLst>
                <a:rect l="l" t="t" r="r" b="b"/>
                <a:pathLst>
                  <a:path w="95212" h="244970">
                    <a:moveTo>
                      <a:pt x="95213" y="243894"/>
                    </a:moveTo>
                    <a:lnTo>
                      <a:pt x="92402" y="244970"/>
                    </a:lnTo>
                    <a:lnTo>
                      <a:pt x="0" y="1077"/>
                    </a:lnTo>
                    <a:lnTo>
                      <a:pt x="2871" y="0"/>
                    </a:lnTo>
                    <a:close/>
                  </a:path>
                </a:pathLst>
              </a:custGeom>
              <a:grpFill/>
              <a:ln w="5978" cap="flat">
                <a:noFill/>
                <a:prstDash val="solid"/>
                <a:miter/>
              </a:ln>
            </p:spPr>
            <p:txBody>
              <a:bodyPr rtlCol="0" anchor="ctr"/>
              <a:lstStyle/>
              <a:p>
                <a:endParaRPr lang="en-GB"/>
              </a:p>
            </p:txBody>
          </p:sp>
          <p:sp>
            <p:nvSpPr>
              <p:cNvPr id="3297" name="Vrije vorm: vorm 3296">
                <a:extLst>
                  <a:ext uri="{FF2B5EF4-FFF2-40B4-BE49-F238E27FC236}">
                    <a16:creationId xmlns:a16="http://schemas.microsoft.com/office/drawing/2014/main" id="{2284D652-711D-4251-B4A6-E4F5892A8CFF}"/>
                  </a:ext>
                </a:extLst>
              </p:cNvPr>
              <p:cNvSpPr/>
              <p:nvPr/>
            </p:nvSpPr>
            <p:spPr>
              <a:xfrm>
                <a:off x="5251035" y="1308744"/>
                <a:ext cx="18357" cy="18415"/>
              </a:xfrm>
              <a:custGeom>
                <a:avLst/>
                <a:gdLst>
                  <a:gd name="connsiteX0" fmla="*/ 596 w 18357"/>
                  <a:gd name="connsiteY0" fmla="*/ 12438 h 18415"/>
                  <a:gd name="connsiteX1" fmla="*/ 5919 w 18357"/>
                  <a:gd name="connsiteY1" fmla="*/ 596 h 18415"/>
                  <a:gd name="connsiteX2" fmla="*/ 17761 w 18357"/>
                  <a:gd name="connsiteY2" fmla="*/ 5978 h 18415"/>
                  <a:gd name="connsiteX3" fmla="*/ 12438 w 18357"/>
                  <a:gd name="connsiteY3" fmla="*/ 17820 h 18415"/>
                  <a:gd name="connsiteX4" fmla="*/ 596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6" y="12438"/>
                    </a:moveTo>
                    <a:cubicBezTo>
                      <a:pt x="-1198" y="7653"/>
                      <a:pt x="1194" y="2390"/>
                      <a:pt x="5919" y="596"/>
                    </a:cubicBezTo>
                    <a:cubicBezTo>
                      <a:pt x="10644" y="-1198"/>
                      <a:pt x="15967" y="1194"/>
                      <a:pt x="17761" y="5978"/>
                    </a:cubicBezTo>
                    <a:cubicBezTo>
                      <a:pt x="19555" y="10763"/>
                      <a:pt x="17163" y="16026"/>
                      <a:pt x="12438" y="17820"/>
                    </a:cubicBezTo>
                    <a:cubicBezTo>
                      <a:pt x="7713" y="19614"/>
                      <a:pt x="2391" y="17222"/>
                      <a:pt x="596" y="12438"/>
                    </a:cubicBezTo>
                    <a:close/>
                  </a:path>
                </a:pathLst>
              </a:custGeom>
              <a:grpFill/>
              <a:ln w="5978" cap="flat">
                <a:noFill/>
                <a:prstDash val="solid"/>
                <a:miter/>
              </a:ln>
            </p:spPr>
            <p:txBody>
              <a:bodyPr rtlCol="0" anchor="ctr"/>
              <a:lstStyle/>
              <a:p>
                <a:endParaRPr lang="en-GB"/>
              </a:p>
            </p:txBody>
          </p:sp>
          <p:sp>
            <p:nvSpPr>
              <p:cNvPr id="3298" name="Vrije vorm: vorm 3297">
                <a:extLst>
                  <a:ext uri="{FF2B5EF4-FFF2-40B4-BE49-F238E27FC236}">
                    <a16:creationId xmlns:a16="http://schemas.microsoft.com/office/drawing/2014/main" id="{80CABBB4-7ABC-4FF8-922A-B67BD860E777}"/>
                  </a:ext>
                </a:extLst>
              </p:cNvPr>
              <p:cNvSpPr/>
              <p:nvPr/>
            </p:nvSpPr>
            <p:spPr>
              <a:xfrm>
                <a:off x="5343079" y="1551800"/>
                <a:ext cx="18357" cy="18415"/>
              </a:xfrm>
              <a:custGeom>
                <a:avLst/>
                <a:gdLst>
                  <a:gd name="connsiteX0" fmla="*/ 597 w 18357"/>
                  <a:gd name="connsiteY0" fmla="*/ 12438 h 18415"/>
                  <a:gd name="connsiteX1" fmla="*/ 12438 w 18357"/>
                  <a:gd name="connsiteY1" fmla="*/ 17820 h 18415"/>
                  <a:gd name="connsiteX2" fmla="*/ 17761 w 18357"/>
                  <a:gd name="connsiteY2" fmla="*/ 5978 h 18415"/>
                  <a:gd name="connsiteX3" fmla="*/ 5919 w 18357"/>
                  <a:gd name="connsiteY3" fmla="*/ 596 h 18415"/>
                  <a:gd name="connsiteX4" fmla="*/ 597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7" y="12438"/>
                    </a:moveTo>
                    <a:cubicBezTo>
                      <a:pt x="2391" y="17222"/>
                      <a:pt x="7713" y="19614"/>
                      <a:pt x="12438" y="17820"/>
                    </a:cubicBezTo>
                    <a:cubicBezTo>
                      <a:pt x="17163" y="16026"/>
                      <a:pt x="19555" y="10703"/>
                      <a:pt x="17761" y="5978"/>
                    </a:cubicBezTo>
                    <a:cubicBezTo>
                      <a:pt x="15967" y="1194"/>
                      <a:pt x="10644" y="-1199"/>
                      <a:pt x="5919" y="596"/>
                    </a:cubicBezTo>
                    <a:cubicBezTo>
                      <a:pt x="1194" y="2390"/>
                      <a:pt x="-1198" y="7713"/>
                      <a:pt x="597" y="12438"/>
                    </a:cubicBezTo>
                    <a:close/>
                  </a:path>
                </a:pathLst>
              </a:custGeom>
              <a:grpFill/>
              <a:ln w="5978" cap="flat">
                <a:noFill/>
                <a:prstDash val="solid"/>
                <a:miter/>
              </a:ln>
            </p:spPr>
            <p:txBody>
              <a:bodyPr rtlCol="0" anchor="ctr"/>
              <a:lstStyle/>
              <a:p>
                <a:endParaRPr lang="en-GB"/>
              </a:p>
            </p:txBody>
          </p:sp>
        </p:grpSp>
        <p:grpSp>
          <p:nvGrpSpPr>
            <p:cNvPr id="699" name="Graphic 3">
              <a:extLst>
                <a:ext uri="{FF2B5EF4-FFF2-40B4-BE49-F238E27FC236}">
                  <a16:creationId xmlns:a16="http://schemas.microsoft.com/office/drawing/2014/main" id="{5BD5DE6D-B6AC-4CD6-84FF-497D4E856875}"/>
                </a:ext>
              </a:extLst>
            </p:cNvPr>
            <p:cNvGrpSpPr/>
            <p:nvPr/>
          </p:nvGrpSpPr>
          <p:grpSpPr>
            <a:xfrm>
              <a:off x="5250555" y="1308927"/>
              <a:ext cx="182075" cy="536399"/>
              <a:chOff x="5250555" y="1308927"/>
              <a:chExt cx="182075" cy="536399"/>
            </a:xfrm>
            <a:grpFill/>
          </p:grpSpPr>
          <p:sp>
            <p:nvSpPr>
              <p:cNvPr id="3293" name="Vrije vorm: vorm 3292">
                <a:extLst>
                  <a:ext uri="{FF2B5EF4-FFF2-40B4-BE49-F238E27FC236}">
                    <a16:creationId xmlns:a16="http://schemas.microsoft.com/office/drawing/2014/main" id="{ED7D4422-1086-4D36-BD0B-8DDC7812A27E}"/>
                  </a:ext>
                </a:extLst>
              </p:cNvPr>
              <p:cNvSpPr/>
              <p:nvPr/>
            </p:nvSpPr>
            <p:spPr>
              <a:xfrm>
                <a:off x="5258143" y="1317118"/>
                <a:ext cx="166925" cy="519800"/>
              </a:xfrm>
              <a:custGeom>
                <a:avLst/>
                <a:gdLst>
                  <a:gd name="connsiteX0" fmla="*/ 0 w 166925"/>
                  <a:gd name="connsiteY0" fmla="*/ 919 h 519800"/>
                  <a:gd name="connsiteX1" fmla="*/ 2908 w 166925"/>
                  <a:gd name="connsiteY1" fmla="*/ 0 h 519800"/>
                  <a:gd name="connsiteX2" fmla="*/ 166926 w 166925"/>
                  <a:gd name="connsiteY2" fmla="*/ 518881 h 519800"/>
                  <a:gd name="connsiteX3" fmla="*/ 164018 w 166925"/>
                  <a:gd name="connsiteY3" fmla="*/ 519801 h 519800"/>
                </a:gdLst>
                <a:ahLst/>
                <a:cxnLst>
                  <a:cxn ang="0">
                    <a:pos x="connsiteX0" y="connsiteY0"/>
                  </a:cxn>
                  <a:cxn ang="0">
                    <a:pos x="connsiteX1" y="connsiteY1"/>
                  </a:cxn>
                  <a:cxn ang="0">
                    <a:pos x="connsiteX2" y="connsiteY2"/>
                  </a:cxn>
                  <a:cxn ang="0">
                    <a:pos x="connsiteX3" y="connsiteY3"/>
                  </a:cxn>
                </a:cxnLst>
                <a:rect l="l" t="t" r="r" b="b"/>
                <a:pathLst>
                  <a:path w="166925" h="519800">
                    <a:moveTo>
                      <a:pt x="0" y="919"/>
                    </a:moveTo>
                    <a:lnTo>
                      <a:pt x="2908" y="0"/>
                    </a:lnTo>
                    <a:lnTo>
                      <a:pt x="166926" y="518881"/>
                    </a:lnTo>
                    <a:lnTo>
                      <a:pt x="164018" y="519801"/>
                    </a:lnTo>
                    <a:close/>
                  </a:path>
                </a:pathLst>
              </a:custGeom>
              <a:grpFill/>
              <a:ln w="5978" cap="flat">
                <a:noFill/>
                <a:prstDash val="solid"/>
                <a:miter/>
              </a:ln>
            </p:spPr>
            <p:txBody>
              <a:bodyPr rtlCol="0" anchor="ctr"/>
              <a:lstStyle/>
              <a:p>
                <a:endParaRPr lang="en-GB"/>
              </a:p>
            </p:txBody>
          </p:sp>
          <p:sp>
            <p:nvSpPr>
              <p:cNvPr id="3294" name="Vrije vorm: vorm 3293">
                <a:extLst>
                  <a:ext uri="{FF2B5EF4-FFF2-40B4-BE49-F238E27FC236}">
                    <a16:creationId xmlns:a16="http://schemas.microsoft.com/office/drawing/2014/main" id="{E3A2A6AE-4B8D-481B-8FB4-2E4B3D965D0A}"/>
                  </a:ext>
                </a:extLst>
              </p:cNvPr>
              <p:cNvSpPr/>
              <p:nvPr/>
            </p:nvSpPr>
            <p:spPr>
              <a:xfrm>
                <a:off x="5414285" y="1826917"/>
                <a:ext cx="18345" cy="18409"/>
              </a:xfrm>
              <a:custGeom>
                <a:avLst/>
                <a:gdLst>
                  <a:gd name="connsiteX0" fmla="*/ 17905 w 18345"/>
                  <a:gd name="connsiteY0" fmla="*/ 6453 h 18409"/>
                  <a:gd name="connsiteX1" fmla="*/ 11924 w 18345"/>
                  <a:gd name="connsiteY1" fmla="*/ 17996 h 18409"/>
                  <a:gd name="connsiteX2" fmla="*/ 441 w 18345"/>
                  <a:gd name="connsiteY2" fmla="*/ 11956 h 18409"/>
                  <a:gd name="connsiteX3" fmla="*/ 6421 w 18345"/>
                  <a:gd name="connsiteY3" fmla="*/ 413 h 18409"/>
                  <a:gd name="connsiteX4" fmla="*/ 17905 w 18345"/>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9">
                    <a:moveTo>
                      <a:pt x="17905" y="6453"/>
                    </a:moveTo>
                    <a:cubicBezTo>
                      <a:pt x="19460" y="11298"/>
                      <a:pt x="16768" y="16501"/>
                      <a:pt x="11924" y="17996"/>
                    </a:cubicBezTo>
                    <a:cubicBezTo>
                      <a:pt x="7080" y="19491"/>
                      <a:pt x="1936" y="16800"/>
                      <a:pt x="441" y="11956"/>
                    </a:cubicBezTo>
                    <a:cubicBezTo>
                      <a:pt x="-1114" y="7111"/>
                      <a:pt x="1577" y="1908"/>
                      <a:pt x="6421" y="413"/>
                    </a:cubicBezTo>
                    <a:cubicBezTo>
                      <a:pt x="11206" y="-1082"/>
                      <a:pt x="16350" y="1609"/>
                      <a:pt x="17905" y="6453"/>
                    </a:cubicBezTo>
                    <a:close/>
                  </a:path>
                </a:pathLst>
              </a:custGeom>
              <a:grpFill/>
              <a:ln w="5978" cap="flat">
                <a:noFill/>
                <a:prstDash val="solid"/>
                <a:miter/>
              </a:ln>
            </p:spPr>
            <p:txBody>
              <a:bodyPr rtlCol="0" anchor="ctr"/>
              <a:lstStyle/>
              <a:p>
                <a:endParaRPr lang="en-GB"/>
              </a:p>
            </p:txBody>
          </p:sp>
          <p:sp>
            <p:nvSpPr>
              <p:cNvPr id="3295" name="Vrije vorm: vorm 3294">
                <a:extLst>
                  <a:ext uri="{FF2B5EF4-FFF2-40B4-BE49-F238E27FC236}">
                    <a16:creationId xmlns:a16="http://schemas.microsoft.com/office/drawing/2014/main" id="{8225D344-B668-4705-B22B-A942107E8D2F}"/>
                  </a:ext>
                </a:extLst>
              </p:cNvPr>
              <p:cNvSpPr/>
              <p:nvPr/>
            </p:nvSpPr>
            <p:spPr>
              <a:xfrm>
                <a:off x="5250555" y="1308927"/>
                <a:ext cx="18323" cy="18409"/>
              </a:xfrm>
              <a:custGeom>
                <a:avLst/>
                <a:gdLst>
                  <a:gd name="connsiteX0" fmla="*/ 17882 w 18323"/>
                  <a:gd name="connsiteY0" fmla="*/ 6453 h 18409"/>
                  <a:gd name="connsiteX1" fmla="*/ 6399 w 18323"/>
                  <a:gd name="connsiteY1" fmla="*/ 413 h 18409"/>
                  <a:gd name="connsiteX2" fmla="*/ 418 w 18323"/>
                  <a:gd name="connsiteY2" fmla="*/ 11956 h 18409"/>
                  <a:gd name="connsiteX3" fmla="*/ 11901 w 18323"/>
                  <a:gd name="connsiteY3" fmla="*/ 17996 h 18409"/>
                  <a:gd name="connsiteX4" fmla="*/ 17882 w 18323"/>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09">
                    <a:moveTo>
                      <a:pt x="17882" y="6453"/>
                    </a:moveTo>
                    <a:cubicBezTo>
                      <a:pt x="16327" y="1609"/>
                      <a:pt x="11184" y="-1082"/>
                      <a:pt x="6399" y="413"/>
                    </a:cubicBezTo>
                    <a:cubicBezTo>
                      <a:pt x="1554" y="1908"/>
                      <a:pt x="-1077" y="7111"/>
                      <a:pt x="418" y="11956"/>
                    </a:cubicBezTo>
                    <a:cubicBezTo>
                      <a:pt x="1973" y="16800"/>
                      <a:pt x="7117" y="19491"/>
                      <a:pt x="11901" y="17996"/>
                    </a:cubicBezTo>
                    <a:cubicBezTo>
                      <a:pt x="16746" y="16441"/>
                      <a:pt x="19437" y="11298"/>
                      <a:pt x="17882" y="6453"/>
                    </a:cubicBezTo>
                    <a:close/>
                  </a:path>
                </a:pathLst>
              </a:custGeom>
              <a:grpFill/>
              <a:ln w="5978" cap="flat">
                <a:noFill/>
                <a:prstDash val="solid"/>
                <a:miter/>
              </a:ln>
            </p:spPr>
            <p:txBody>
              <a:bodyPr rtlCol="0" anchor="ctr"/>
              <a:lstStyle/>
              <a:p>
                <a:endParaRPr lang="en-GB"/>
              </a:p>
            </p:txBody>
          </p:sp>
        </p:grpSp>
        <p:grpSp>
          <p:nvGrpSpPr>
            <p:cNvPr id="700" name="Graphic 3">
              <a:extLst>
                <a:ext uri="{FF2B5EF4-FFF2-40B4-BE49-F238E27FC236}">
                  <a16:creationId xmlns:a16="http://schemas.microsoft.com/office/drawing/2014/main" id="{157510CE-B4C4-48DA-89E6-15AFDDF384FF}"/>
                </a:ext>
              </a:extLst>
            </p:cNvPr>
            <p:cNvGrpSpPr/>
            <p:nvPr/>
          </p:nvGrpSpPr>
          <p:grpSpPr>
            <a:xfrm>
              <a:off x="6620569" y="5416311"/>
              <a:ext cx="40529" cy="96090"/>
              <a:chOff x="6620569" y="5416311"/>
              <a:chExt cx="40529" cy="96090"/>
            </a:xfrm>
            <a:grpFill/>
          </p:grpSpPr>
          <p:sp>
            <p:nvSpPr>
              <p:cNvPr id="3290" name="Vrije vorm: vorm 3289">
                <a:extLst>
                  <a:ext uri="{FF2B5EF4-FFF2-40B4-BE49-F238E27FC236}">
                    <a16:creationId xmlns:a16="http://schemas.microsoft.com/office/drawing/2014/main" id="{F54BE4B2-A9CA-4827-902A-BAF2C45CFA6E}"/>
                  </a:ext>
                </a:extLst>
              </p:cNvPr>
              <p:cNvSpPr/>
              <p:nvPr/>
            </p:nvSpPr>
            <p:spPr>
              <a:xfrm>
                <a:off x="6627810" y="5424636"/>
                <a:ext cx="25415" cy="79439"/>
              </a:xfrm>
              <a:custGeom>
                <a:avLst/>
                <a:gdLst>
                  <a:gd name="connsiteX0" fmla="*/ 0 w 25415"/>
                  <a:gd name="connsiteY0" fmla="*/ 839 h 79439"/>
                  <a:gd name="connsiteX1" fmla="*/ 2932 w 25415"/>
                  <a:gd name="connsiteY1" fmla="*/ 0 h 79439"/>
                  <a:gd name="connsiteX2" fmla="*/ 25415 w 25415"/>
                  <a:gd name="connsiteY2" fmla="*/ 78601 h 79439"/>
                  <a:gd name="connsiteX3" fmla="*/ 22483 w 25415"/>
                  <a:gd name="connsiteY3" fmla="*/ 79439 h 79439"/>
                </a:gdLst>
                <a:ahLst/>
                <a:cxnLst>
                  <a:cxn ang="0">
                    <a:pos x="connsiteX0" y="connsiteY0"/>
                  </a:cxn>
                  <a:cxn ang="0">
                    <a:pos x="connsiteX1" y="connsiteY1"/>
                  </a:cxn>
                  <a:cxn ang="0">
                    <a:pos x="connsiteX2" y="connsiteY2"/>
                  </a:cxn>
                  <a:cxn ang="0">
                    <a:pos x="connsiteX3" y="connsiteY3"/>
                  </a:cxn>
                </a:cxnLst>
                <a:rect l="l" t="t" r="r" b="b"/>
                <a:pathLst>
                  <a:path w="25415" h="79439">
                    <a:moveTo>
                      <a:pt x="0" y="839"/>
                    </a:moveTo>
                    <a:lnTo>
                      <a:pt x="2932" y="0"/>
                    </a:lnTo>
                    <a:lnTo>
                      <a:pt x="25415" y="78601"/>
                    </a:lnTo>
                    <a:lnTo>
                      <a:pt x="22483" y="79439"/>
                    </a:lnTo>
                    <a:close/>
                  </a:path>
                </a:pathLst>
              </a:custGeom>
              <a:grpFill/>
              <a:ln w="5978" cap="flat">
                <a:noFill/>
                <a:prstDash val="solid"/>
                <a:miter/>
              </a:ln>
            </p:spPr>
            <p:txBody>
              <a:bodyPr rtlCol="0" anchor="ctr"/>
              <a:lstStyle/>
              <a:p>
                <a:endParaRPr lang="en-GB"/>
              </a:p>
            </p:txBody>
          </p:sp>
          <p:sp>
            <p:nvSpPr>
              <p:cNvPr id="3291" name="Vrije vorm: vorm 3290">
                <a:extLst>
                  <a:ext uri="{FF2B5EF4-FFF2-40B4-BE49-F238E27FC236}">
                    <a16:creationId xmlns:a16="http://schemas.microsoft.com/office/drawing/2014/main" id="{559E4103-8F21-4BB5-9D36-A22246A4E5B5}"/>
                  </a:ext>
                </a:extLst>
              </p:cNvPr>
              <p:cNvSpPr/>
              <p:nvPr/>
            </p:nvSpPr>
            <p:spPr>
              <a:xfrm>
                <a:off x="6642757" y="5493979"/>
                <a:ext cx="18341" cy="18421"/>
              </a:xfrm>
              <a:custGeom>
                <a:avLst/>
                <a:gdLst>
                  <a:gd name="connsiteX0" fmla="*/ 17992 w 18341"/>
                  <a:gd name="connsiteY0" fmla="*/ 6710 h 18421"/>
                  <a:gd name="connsiteX1" fmla="*/ 11713 w 18341"/>
                  <a:gd name="connsiteY1" fmla="*/ 18073 h 18421"/>
                  <a:gd name="connsiteX2" fmla="*/ 349 w 18341"/>
                  <a:gd name="connsiteY2" fmla="*/ 11733 h 18421"/>
                  <a:gd name="connsiteX3" fmla="*/ 6629 w 18341"/>
                  <a:gd name="connsiteY3" fmla="*/ 370 h 18421"/>
                  <a:gd name="connsiteX4" fmla="*/ 17992 w 18341"/>
                  <a:gd name="connsiteY4" fmla="*/ 67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1">
                    <a:moveTo>
                      <a:pt x="17992" y="6710"/>
                    </a:moveTo>
                    <a:cubicBezTo>
                      <a:pt x="19368" y="11614"/>
                      <a:pt x="16557" y="16697"/>
                      <a:pt x="11713" y="18073"/>
                    </a:cubicBezTo>
                    <a:cubicBezTo>
                      <a:pt x="6868" y="19448"/>
                      <a:pt x="1784" y="16638"/>
                      <a:pt x="349" y="11733"/>
                    </a:cubicBezTo>
                    <a:cubicBezTo>
                      <a:pt x="-1026" y="6829"/>
                      <a:pt x="1784" y="1746"/>
                      <a:pt x="6629" y="370"/>
                    </a:cubicBezTo>
                    <a:cubicBezTo>
                      <a:pt x="11533" y="-1065"/>
                      <a:pt x="16617" y="1806"/>
                      <a:pt x="17992" y="6710"/>
                    </a:cubicBezTo>
                    <a:close/>
                  </a:path>
                </a:pathLst>
              </a:custGeom>
              <a:grpFill/>
              <a:ln w="5978" cap="flat">
                <a:noFill/>
                <a:prstDash val="solid"/>
                <a:miter/>
              </a:ln>
            </p:spPr>
            <p:txBody>
              <a:bodyPr rtlCol="0" anchor="ctr"/>
              <a:lstStyle/>
              <a:p>
                <a:endParaRPr lang="en-GB"/>
              </a:p>
            </p:txBody>
          </p:sp>
          <p:sp>
            <p:nvSpPr>
              <p:cNvPr id="3292" name="Vrije vorm: vorm 3291">
                <a:extLst>
                  <a:ext uri="{FF2B5EF4-FFF2-40B4-BE49-F238E27FC236}">
                    <a16:creationId xmlns:a16="http://schemas.microsoft.com/office/drawing/2014/main" id="{904A5DC5-67F2-4AA5-A41C-1FB7B1AA1D5D}"/>
                  </a:ext>
                </a:extLst>
              </p:cNvPr>
              <p:cNvSpPr/>
              <p:nvPr/>
            </p:nvSpPr>
            <p:spPr>
              <a:xfrm>
                <a:off x="6620569" y="5416311"/>
                <a:ext cx="18341" cy="18400"/>
              </a:xfrm>
              <a:custGeom>
                <a:avLst/>
                <a:gdLst>
                  <a:gd name="connsiteX0" fmla="*/ 17992 w 18341"/>
                  <a:gd name="connsiteY0" fmla="*/ 6688 h 18400"/>
                  <a:gd name="connsiteX1" fmla="*/ 6629 w 18341"/>
                  <a:gd name="connsiteY1" fmla="*/ 349 h 18400"/>
                  <a:gd name="connsiteX2" fmla="*/ 349 w 18341"/>
                  <a:gd name="connsiteY2" fmla="*/ 11712 h 18400"/>
                  <a:gd name="connsiteX3" fmla="*/ 11712 w 18341"/>
                  <a:gd name="connsiteY3" fmla="*/ 18052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6617" y="1785"/>
                      <a:pt x="11533" y="-1027"/>
                      <a:pt x="6629" y="349"/>
                    </a:cubicBezTo>
                    <a:cubicBezTo>
                      <a:pt x="1785" y="1725"/>
                      <a:pt x="-1027" y="6808"/>
                      <a:pt x="349" y="11712"/>
                    </a:cubicBezTo>
                    <a:cubicBezTo>
                      <a:pt x="1725" y="16617"/>
                      <a:pt x="6808" y="19427"/>
                      <a:pt x="11712" y="18052"/>
                    </a:cubicBezTo>
                    <a:cubicBezTo>
                      <a:pt x="16557" y="16676"/>
                      <a:pt x="19368" y="11533"/>
                      <a:pt x="17992" y="6688"/>
                    </a:cubicBezTo>
                    <a:close/>
                  </a:path>
                </a:pathLst>
              </a:custGeom>
              <a:grpFill/>
              <a:ln w="5978" cap="flat">
                <a:noFill/>
                <a:prstDash val="solid"/>
                <a:miter/>
              </a:ln>
            </p:spPr>
            <p:txBody>
              <a:bodyPr rtlCol="0" anchor="ctr"/>
              <a:lstStyle/>
              <a:p>
                <a:endParaRPr lang="en-GB"/>
              </a:p>
            </p:txBody>
          </p:sp>
        </p:grpSp>
        <p:grpSp>
          <p:nvGrpSpPr>
            <p:cNvPr id="701" name="Graphic 3">
              <a:extLst>
                <a:ext uri="{FF2B5EF4-FFF2-40B4-BE49-F238E27FC236}">
                  <a16:creationId xmlns:a16="http://schemas.microsoft.com/office/drawing/2014/main" id="{A6F4493A-CD62-4EA3-BA08-EAAAE27FE3E1}"/>
                </a:ext>
              </a:extLst>
            </p:cNvPr>
            <p:cNvGrpSpPr/>
            <p:nvPr/>
          </p:nvGrpSpPr>
          <p:grpSpPr>
            <a:xfrm>
              <a:off x="5397541" y="1786913"/>
              <a:ext cx="34397" cy="58670"/>
              <a:chOff x="5397541" y="1786913"/>
              <a:chExt cx="34397" cy="58670"/>
            </a:xfrm>
            <a:grpFill/>
          </p:grpSpPr>
          <p:sp>
            <p:nvSpPr>
              <p:cNvPr id="3287" name="Vrije vorm: vorm 3286">
                <a:extLst>
                  <a:ext uri="{FF2B5EF4-FFF2-40B4-BE49-F238E27FC236}">
                    <a16:creationId xmlns:a16="http://schemas.microsoft.com/office/drawing/2014/main" id="{8009B80B-D3A7-445A-A3B1-589FCFAD54BB}"/>
                  </a:ext>
                </a:extLst>
              </p:cNvPr>
              <p:cNvSpPr/>
              <p:nvPr/>
            </p:nvSpPr>
            <p:spPr>
              <a:xfrm>
                <a:off x="5405212" y="1794881"/>
                <a:ext cx="19269" cy="42288"/>
              </a:xfrm>
              <a:custGeom>
                <a:avLst/>
                <a:gdLst>
                  <a:gd name="connsiteX0" fmla="*/ 0 w 19269"/>
                  <a:gd name="connsiteY0" fmla="*/ 1131 h 42288"/>
                  <a:gd name="connsiteX1" fmla="*/ 2833 w 19269"/>
                  <a:gd name="connsiteY1" fmla="*/ 0 h 42288"/>
                  <a:gd name="connsiteX2" fmla="*/ 19270 w 19269"/>
                  <a:gd name="connsiteY2" fmla="*/ 41157 h 42288"/>
                  <a:gd name="connsiteX3" fmla="*/ 16437 w 19269"/>
                  <a:gd name="connsiteY3" fmla="*/ 42289 h 42288"/>
                </a:gdLst>
                <a:ahLst/>
                <a:cxnLst>
                  <a:cxn ang="0">
                    <a:pos x="connsiteX0" y="connsiteY0"/>
                  </a:cxn>
                  <a:cxn ang="0">
                    <a:pos x="connsiteX1" y="connsiteY1"/>
                  </a:cxn>
                  <a:cxn ang="0">
                    <a:pos x="connsiteX2" y="connsiteY2"/>
                  </a:cxn>
                  <a:cxn ang="0">
                    <a:pos x="connsiteX3" y="connsiteY3"/>
                  </a:cxn>
                </a:cxnLst>
                <a:rect l="l" t="t" r="r" b="b"/>
                <a:pathLst>
                  <a:path w="19269" h="42288">
                    <a:moveTo>
                      <a:pt x="0" y="1131"/>
                    </a:moveTo>
                    <a:lnTo>
                      <a:pt x="2833" y="0"/>
                    </a:lnTo>
                    <a:lnTo>
                      <a:pt x="19270" y="41157"/>
                    </a:lnTo>
                    <a:lnTo>
                      <a:pt x="16437" y="42289"/>
                    </a:lnTo>
                    <a:close/>
                  </a:path>
                </a:pathLst>
              </a:custGeom>
              <a:grpFill/>
              <a:ln w="5978" cap="flat">
                <a:noFill/>
                <a:prstDash val="solid"/>
                <a:miter/>
              </a:ln>
            </p:spPr>
            <p:txBody>
              <a:bodyPr rtlCol="0" anchor="ctr"/>
              <a:lstStyle/>
              <a:p>
                <a:endParaRPr lang="en-GB"/>
              </a:p>
            </p:txBody>
          </p:sp>
          <p:sp>
            <p:nvSpPr>
              <p:cNvPr id="3288" name="Vrije vorm: vorm 3287">
                <a:extLst>
                  <a:ext uri="{FF2B5EF4-FFF2-40B4-BE49-F238E27FC236}">
                    <a16:creationId xmlns:a16="http://schemas.microsoft.com/office/drawing/2014/main" id="{A991BF94-0CD2-4C18-BFA5-B47CE848D55E}"/>
                  </a:ext>
                </a:extLst>
              </p:cNvPr>
              <p:cNvSpPr/>
              <p:nvPr/>
            </p:nvSpPr>
            <p:spPr>
              <a:xfrm>
                <a:off x="5397541" y="1786913"/>
                <a:ext cx="18342" cy="18395"/>
              </a:xfrm>
              <a:custGeom>
                <a:avLst/>
                <a:gdLst>
                  <a:gd name="connsiteX0" fmla="*/ 679 w 18342"/>
                  <a:gd name="connsiteY0" fmla="*/ 12607 h 18395"/>
                  <a:gd name="connsiteX1" fmla="*/ 5762 w 18342"/>
                  <a:gd name="connsiteY1" fmla="*/ 645 h 18395"/>
                  <a:gd name="connsiteX2" fmla="*/ 17664 w 18342"/>
                  <a:gd name="connsiteY2" fmla="*/ 5789 h 18395"/>
                  <a:gd name="connsiteX3" fmla="*/ 12580 w 18342"/>
                  <a:gd name="connsiteY3" fmla="*/ 17750 h 18395"/>
                  <a:gd name="connsiteX4" fmla="*/ 679 w 18342"/>
                  <a:gd name="connsiteY4" fmla="*/ 1260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5">
                    <a:moveTo>
                      <a:pt x="679" y="12607"/>
                    </a:moveTo>
                    <a:cubicBezTo>
                      <a:pt x="-1235" y="7882"/>
                      <a:pt x="1037" y="2499"/>
                      <a:pt x="5762" y="645"/>
                    </a:cubicBezTo>
                    <a:cubicBezTo>
                      <a:pt x="10487" y="-1209"/>
                      <a:pt x="15810" y="1064"/>
                      <a:pt x="17664" y="5789"/>
                    </a:cubicBezTo>
                    <a:cubicBezTo>
                      <a:pt x="19577" y="10513"/>
                      <a:pt x="17305" y="15896"/>
                      <a:pt x="12580" y="17750"/>
                    </a:cubicBezTo>
                    <a:cubicBezTo>
                      <a:pt x="7915" y="19604"/>
                      <a:pt x="2533" y="17331"/>
                      <a:pt x="679" y="12607"/>
                    </a:cubicBezTo>
                    <a:close/>
                  </a:path>
                </a:pathLst>
              </a:custGeom>
              <a:grpFill/>
              <a:ln w="5978" cap="flat">
                <a:noFill/>
                <a:prstDash val="solid"/>
                <a:miter/>
              </a:ln>
            </p:spPr>
            <p:txBody>
              <a:bodyPr rtlCol="0" anchor="ctr"/>
              <a:lstStyle/>
              <a:p>
                <a:endParaRPr lang="en-GB"/>
              </a:p>
            </p:txBody>
          </p:sp>
          <p:sp>
            <p:nvSpPr>
              <p:cNvPr id="3289" name="Vrije vorm: vorm 3288">
                <a:extLst>
                  <a:ext uri="{FF2B5EF4-FFF2-40B4-BE49-F238E27FC236}">
                    <a16:creationId xmlns:a16="http://schemas.microsoft.com/office/drawing/2014/main" id="{63ABBC93-1E45-4A4A-982E-F196852B07E1}"/>
                  </a:ext>
                </a:extLst>
              </p:cNvPr>
              <p:cNvSpPr/>
              <p:nvPr/>
            </p:nvSpPr>
            <p:spPr>
              <a:xfrm>
                <a:off x="5413661" y="1827139"/>
                <a:ext cx="18276" cy="18444"/>
              </a:xfrm>
              <a:custGeom>
                <a:avLst/>
                <a:gdLst>
                  <a:gd name="connsiteX0" fmla="*/ 646 w 18276"/>
                  <a:gd name="connsiteY0" fmla="*/ 12631 h 18444"/>
                  <a:gd name="connsiteX1" fmla="*/ 12548 w 18276"/>
                  <a:gd name="connsiteY1" fmla="*/ 17775 h 18444"/>
                  <a:gd name="connsiteX2" fmla="*/ 17631 w 18276"/>
                  <a:gd name="connsiteY2" fmla="*/ 5813 h 18444"/>
                  <a:gd name="connsiteX3" fmla="*/ 5729 w 18276"/>
                  <a:gd name="connsiteY3" fmla="*/ 670 h 18444"/>
                  <a:gd name="connsiteX4" fmla="*/ 646 w 18276"/>
                  <a:gd name="connsiteY4" fmla="*/ 12631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 h="18444">
                    <a:moveTo>
                      <a:pt x="646" y="12631"/>
                    </a:moveTo>
                    <a:cubicBezTo>
                      <a:pt x="2559" y="17356"/>
                      <a:pt x="7882" y="19689"/>
                      <a:pt x="12548" y="17775"/>
                    </a:cubicBezTo>
                    <a:cubicBezTo>
                      <a:pt x="17212" y="15921"/>
                      <a:pt x="19485" y="10538"/>
                      <a:pt x="17631" y="5813"/>
                    </a:cubicBezTo>
                    <a:cubicBezTo>
                      <a:pt x="15717" y="1089"/>
                      <a:pt x="10394" y="-1244"/>
                      <a:pt x="5729" y="670"/>
                    </a:cubicBezTo>
                    <a:cubicBezTo>
                      <a:pt x="1064" y="2584"/>
                      <a:pt x="-1208" y="7907"/>
                      <a:pt x="646" y="12631"/>
                    </a:cubicBezTo>
                    <a:close/>
                  </a:path>
                </a:pathLst>
              </a:custGeom>
              <a:grpFill/>
              <a:ln w="5978" cap="flat">
                <a:noFill/>
                <a:prstDash val="solid"/>
                <a:miter/>
              </a:ln>
            </p:spPr>
            <p:txBody>
              <a:bodyPr rtlCol="0" anchor="ctr"/>
              <a:lstStyle/>
              <a:p>
                <a:endParaRPr lang="en-GB"/>
              </a:p>
            </p:txBody>
          </p:sp>
        </p:grpSp>
        <p:grpSp>
          <p:nvGrpSpPr>
            <p:cNvPr id="702" name="Graphic 3">
              <a:extLst>
                <a:ext uri="{FF2B5EF4-FFF2-40B4-BE49-F238E27FC236}">
                  <a16:creationId xmlns:a16="http://schemas.microsoft.com/office/drawing/2014/main" id="{5FF1ED28-7845-44D0-96DF-9256ED8CED97}"/>
                </a:ext>
              </a:extLst>
            </p:cNvPr>
            <p:cNvGrpSpPr/>
            <p:nvPr/>
          </p:nvGrpSpPr>
          <p:grpSpPr>
            <a:xfrm>
              <a:off x="5299457" y="1541763"/>
              <a:ext cx="109523" cy="246464"/>
              <a:chOff x="5299457" y="1541763"/>
              <a:chExt cx="109523" cy="246464"/>
            </a:xfrm>
            <a:grpFill/>
          </p:grpSpPr>
          <p:sp>
            <p:nvSpPr>
              <p:cNvPr id="3284" name="Vrije vorm: vorm 3283">
                <a:extLst>
                  <a:ext uri="{FF2B5EF4-FFF2-40B4-BE49-F238E27FC236}">
                    <a16:creationId xmlns:a16="http://schemas.microsoft.com/office/drawing/2014/main" id="{9DF7E152-847C-4B41-A078-5D492FC2AEAC}"/>
                  </a:ext>
                </a:extLst>
              </p:cNvPr>
              <p:cNvSpPr/>
              <p:nvPr/>
            </p:nvSpPr>
            <p:spPr>
              <a:xfrm>
                <a:off x="5307176" y="1549711"/>
                <a:ext cx="94268" cy="230079"/>
              </a:xfrm>
              <a:custGeom>
                <a:avLst/>
                <a:gdLst>
                  <a:gd name="connsiteX0" fmla="*/ 0 w 94268"/>
                  <a:gd name="connsiteY0" fmla="*/ 1131 h 230079"/>
                  <a:gd name="connsiteX1" fmla="*/ 2833 w 94268"/>
                  <a:gd name="connsiteY1" fmla="*/ 0 h 230079"/>
                  <a:gd name="connsiteX2" fmla="*/ 94269 w 94268"/>
                  <a:gd name="connsiteY2" fmla="*/ 228948 h 230079"/>
                  <a:gd name="connsiteX3" fmla="*/ 91436 w 94268"/>
                  <a:gd name="connsiteY3" fmla="*/ 230079 h 230079"/>
                </a:gdLst>
                <a:ahLst/>
                <a:cxnLst>
                  <a:cxn ang="0">
                    <a:pos x="connsiteX0" y="connsiteY0"/>
                  </a:cxn>
                  <a:cxn ang="0">
                    <a:pos x="connsiteX1" y="connsiteY1"/>
                  </a:cxn>
                  <a:cxn ang="0">
                    <a:pos x="connsiteX2" y="connsiteY2"/>
                  </a:cxn>
                  <a:cxn ang="0">
                    <a:pos x="connsiteX3" y="connsiteY3"/>
                  </a:cxn>
                </a:cxnLst>
                <a:rect l="l" t="t" r="r" b="b"/>
                <a:pathLst>
                  <a:path w="94268" h="230079">
                    <a:moveTo>
                      <a:pt x="0" y="1131"/>
                    </a:moveTo>
                    <a:lnTo>
                      <a:pt x="2833" y="0"/>
                    </a:lnTo>
                    <a:lnTo>
                      <a:pt x="94269" y="228948"/>
                    </a:lnTo>
                    <a:lnTo>
                      <a:pt x="91436" y="230079"/>
                    </a:lnTo>
                    <a:close/>
                  </a:path>
                </a:pathLst>
              </a:custGeom>
              <a:grpFill/>
              <a:ln w="5978" cap="flat">
                <a:noFill/>
                <a:prstDash val="solid"/>
                <a:miter/>
              </a:ln>
            </p:spPr>
            <p:txBody>
              <a:bodyPr rtlCol="0" anchor="ctr"/>
              <a:lstStyle/>
              <a:p>
                <a:endParaRPr lang="en-GB"/>
              </a:p>
            </p:txBody>
          </p:sp>
          <p:sp>
            <p:nvSpPr>
              <p:cNvPr id="3285" name="Vrije vorm: vorm 3284">
                <a:extLst>
                  <a:ext uri="{FF2B5EF4-FFF2-40B4-BE49-F238E27FC236}">
                    <a16:creationId xmlns:a16="http://schemas.microsoft.com/office/drawing/2014/main" id="{676EE2F1-7D6F-4E9C-952A-08F52D785BBA}"/>
                  </a:ext>
                </a:extLst>
              </p:cNvPr>
              <p:cNvSpPr/>
              <p:nvPr/>
            </p:nvSpPr>
            <p:spPr>
              <a:xfrm>
                <a:off x="5299457" y="1541763"/>
                <a:ext cx="18342" cy="18395"/>
              </a:xfrm>
              <a:custGeom>
                <a:avLst/>
                <a:gdLst>
                  <a:gd name="connsiteX0" fmla="*/ 679 w 18342"/>
                  <a:gd name="connsiteY0" fmla="*/ 12607 h 18395"/>
                  <a:gd name="connsiteX1" fmla="*/ 5762 w 18342"/>
                  <a:gd name="connsiteY1" fmla="*/ 645 h 18395"/>
                  <a:gd name="connsiteX2" fmla="*/ 17664 w 18342"/>
                  <a:gd name="connsiteY2" fmla="*/ 5789 h 18395"/>
                  <a:gd name="connsiteX3" fmla="*/ 12580 w 18342"/>
                  <a:gd name="connsiteY3" fmla="*/ 17750 h 18395"/>
                  <a:gd name="connsiteX4" fmla="*/ 679 w 18342"/>
                  <a:gd name="connsiteY4" fmla="*/ 1260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5">
                    <a:moveTo>
                      <a:pt x="679" y="12607"/>
                    </a:moveTo>
                    <a:cubicBezTo>
                      <a:pt x="-1235" y="7882"/>
                      <a:pt x="1037" y="2499"/>
                      <a:pt x="5762" y="645"/>
                    </a:cubicBezTo>
                    <a:cubicBezTo>
                      <a:pt x="10427" y="-1209"/>
                      <a:pt x="15810" y="1064"/>
                      <a:pt x="17664" y="5789"/>
                    </a:cubicBezTo>
                    <a:cubicBezTo>
                      <a:pt x="19577" y="10513"/>
                      <a:pt x="17305" y="15896"/>
                      <a:pt x="12580" y="17750"/>
                    </a:cubicBezTo>
                    <a:cubicBezTo>
                      <a:pt x="7915" y="19604"/>
                      <a:pt x="2592" y="17331"/>
                      <a:pt x="679" y="12607"/>
                    </a:cubicBezTo>
                    <a:close/>
                  </a:path>
                </a:pathLst>
              </a:custGeom>
              <a:grpFill/>
              <a:ln w="5978" cap="flat">
                <a:noFill/>
                <a:prstDash val="solid"/>
                <a:miter/>
              </a:ln>
            </p:spPr>
            <p:txBody>
              <a:bodyPr rtlCol="0" anchor="ctr"/>
              <a:lstStyle/>
              <a:p>
                <a:endParaRPr lang="en-GB"/>
              </a:p>
            </p:txBody>
          </p:sp>
          <p:sp>
            <p:nvSpPr>
              <p:cNvPr id="3286" name="Vrije vorm: vorm 3285">
                <a:extLst>
                  <a:ext uri="{FF2B5EF4-FFF2-40B4-BE49-F238E27FC236}">
                    <a16:creationId xmlns:a16="http://schemas.microsoft.com/office/drawing/2014/main" id="{E8B39777-9AB5-435D-A8B7-4006939BE4F4}"/>
                  </a:ext>
                </a:extLst>
              </p:cNvPr>
              <p:cNvSpPr/>
              <p:nvPr/>
            </p:nvSpPr>
            <p:spPr>
              <a:xfrm>
                <a:off x="5390695" y="1769783"/>
                <a:ext cx="18284" cy="18444"/>
              </a:xfrm>
              <a:custGeom>
                <a:avLst/>
                <a:gdLst>
                  <a:gd name="connsiteX0" fmla="*/ 646 w 18284"/>
                  <a:gd name="connsiteY0" fmla="*/ 12631 h 18444"/>
                  <a:gd name="connsiteX1" fmla="*/ 12547 w 18284"/>
                  <a:gd name="connsiteY1" fmla="*/ 17775 h 18444"/>
                  <a:gd name="connsiteX2" fmla="*/ 17631 w 18284"/>
                  <a:gd name="connsiteY2" fmla="*/ 5813 h 18444"/>
                  <a:gd name="connsiteX3" fmla="*/ 5729 w 18284"/>
                  <a:gd name="connsiteY3" fmla="*/ 670 h 18444"/>
                  <a:gd name="connsiteX4" fmla="*/ 646 w 18284"/>
                  <a:gd name="connsiteY4" fmla="*/ 12631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4">
                    <a:moveTo>
                      <a:pt x="646" y="12631"/>
                    </a:moveTo>
                    <a:cubicBezTo>
                      <a:pt x="2560" y="17356"/>
                      <a:pt x="7883" y="19689"/>
                      <a:pt x="12547" y="17775"/>
                    </a:cubicBezTo>
                    <a:cubicBezTo>
                      <a:pt x="17273" y="15921"/>
                      <a:pt x="19485" y="10538"/>
                      <a:pt x="17631" y="5813"/>
                    </a:cubicBezTo>
                    <a:cubicBezTo>
                      <a:pt x="15717" y="1089"/>
                      <a:pt x="10395" y="-1244"/>
                      <a:pt x="5729" y="670"/>
                    </a:cubicBezTo>
                    <a:cubicBezTo>
                      <a:pt x="1065" y="2524"/>
                      <a:pt x="-1208" y="7907"/>
                      <a:pt x="646" y="12631"/>
                    </a:cubicBezTo>
                    <a:close/>
                  </a:path>
                </a:pathLst>
              </a:custGeom>
              <a:grpFill/>
              <a:ln w="5978" cap="flat">
                <a:noFill/>
                <a:prstDash val="solid"/>
                <a:miter/>
              </a:ln>
            </p:spPr>
            <p:txBody>
              <a:bodyPr rtlCol="0" anchor="ctr"/>
              <a:lstStyle/>
              <a:p>
                <a:endParaRPr lang="en-GB"/>
              </a:p>
            </p:txBody>
          </p:sp>
        </p:grpSp>
        <p:grpSp>
          <p:nvGrpSpPr>
            <p:cNvPr id="703" name="Graphic 3">
              <a:extLst>
                <a:ext uri="{FF2B5EF4-FFF2-40B4-BE49-F238E27FC236}">
                  <a16:creationId xmlns:a16="http://schemas.microsoft.com/office/drawing/2014/main" id="{48223E20-030E-4F37-AFF2-FED22F1954AD}"/>
                </a:ext>
              </a:extLst>
            </p:cNvPr>
            <p:cNvGrpSpPr/>
            <p:nvPr/>
          </p:nvGrpSpPr>
          <p:grpSpPr>
            <a:xfrm>
              <a:off x="6480231" y="5039345"/>
              <a:ext cx="67079" cy="201617"/>
              <a:chOff x="6480231" y="5039345"/>
              <a:chExt cx="67079" cy="201617"/>
            </a:xfrm>
            <a:grpFill/>
          </p:grpSpPr>
          <p:sp>
            <p:nvSpPr>
              <p:cNvPr id="3281" name="Vrije vorm: vorm 3280">
                <a:extLst>
                  <a:ext uri="{FF2B5EF4-FFF2-40B4-BE49-F238E27FC236}">
                    <a16:creationId xmlns:a16="http://schemas.microsoft.com/office/drawing/2014/main" id="{7A6C7457-0D81-44BD-87E9-7CB77BF7EA87}"/>
                  </a:ext>
                </a:extLst>
              </p:cNvPr>
              <p:cNvSpPr/>
              <p:nvPr/>
            </p:nvSpPr>
            <p:spPr>
              <a:xfrm>
                <a:off x="6488016" y="5047938"/>
                <a:ext cx="51940" cy="184870"/>
              </a:xfrm>
              <a:custGeom>
                <a:avLst/>
                <a:gdLst>
                  <a:gd name="connsiteX0" fmla="*/ 0 w 51940"/>
                  <a:gd name="connsiteY0" fmla="*/ 785 h 184870"/>
                  <a:gd name="connsiteX1" fmla="*/ 2948 w 51940"/>
                  <a:gd name="connsiteY1" fmla="*/ 0 h 184870"/>
                  <a:gd name="connsiteX2" fmla="*/ 51941 w 51940"/>
                  <a:gd name="connsiteY2" fmla="*/ 184086 h 184870"/>
                  <a:gd name="connsiteX3" fmla="*/ 48993 w 51940"/>
                  <a:gd name="connsiteY3" fmla="*/ 184870 h 184870"/>
                </a:gdLst>
                <a:ahLst/>
                <a:cxnLst>
                  <a:cxn ang="0">
                    <a:pos x="connsiteX0" y="connsiteY0"/>
                  </a:cxn>
                  <a:cxn ang="0">
                    <a:pos x="connsiteX1" y="connsiteY1"/>
                  </a:cxn>
                  <a:cxn ang="0">
                    <a:pos x="connsiteX2" y="connsiteY2"/>
                  </a:cxn>
                  <a:cxn ang="0">
                    <a:pos x="connsiteX3" y="connsiteY3"/>
                  </a:cxn>
                </a:cxnLst>
                <a:rect l="l" t="t" r="r" b="b"/>
                <a:pathLst>
                  <a:path w="51940" h="184870">
                    <a:moveTo>
                      <a:pt x="0" y="785"/>
                    </a:moveTo>
                    <a:lnTo>
                      <a:pt x="2948" y="0"/>
                    </a:lnTo>
                    <a:lnTo>
                      <a:pt x="51941" y="184086"/>
                    </a:lnTo>
                    <a:lnTo>
                      <a:pt x="48993" y="184870"/>
                    </a:lnTo>
                    <a:close/>
                  </a:path>
                </a:pathLst>
              </a:custGeom>
              <a:grpFill/>
              <a:ln w="5978" cap="flat">
                <a:noFill/>
                <a:prstDash val="solid"/>
                <a:miter/>
              </a:ln>
            </p:spPr>
            <p:txBody>
              <a:bodyPr rtlCol="0" anchor="ctr"/>
              <a:lstStyle/>
              <a:p>
                <a:endParaRPr lang="en-GB"/>
              </a:p>
            </p:txBody>
          </p:sp>
          <p:sp>
            <p:nvSpPr>
              <p:cNvPr id="3282" name="Vrije vorm: vorm 3281">
                <a:extLst>
                  <a:ext uri="{FF2B5EF4-FFF2-40B4-BE49-F238E27FC236}">
                    <a16:creationId xmlns:a16="http://schemas.microsoft.com/office/drawing/2014/main" id="{FD90F5F0-0AFC-454E-935E-81996FD8DE09}"/>
                  </a:ext>
                </a:extLst>
              </p:cNvPr>
              <p:cNvSpPr/>
              <p:nvPr/>
            </p:nvSpPr>
            <p:spPr>
              <a:xfrm>
                <a:off x="6528978" y="5222534"/>
                <a:ext cx="18332" cy="18427"/>
              </a:xfrm>
              <a:custGeom>
                <a:avLst/>
                <a:gdLst>
                  <a:gd name="connsiteX0" fmla="*/ 18018 w 18332"/>
                  <a:gd name="connsiteY0" fmla="*/ 6869 h 18427"/>
                  <a:gd name="connsiteX1" fmla="*/ 11559 w 18332"/>
                  <a:gd name="connsiteY1" fmla="*/ 18113 h 18427"/>
                  <a:gd name="connsiteX2" fmla="*/ 315 w 18332"/>
                  <a:gd name="connsiteY2" fmla="*/ 11534 h 18427"/>
                  <a:gd name="connsiteX3" fmla="*/ 6774 w 18332"/>
                  <a:gd name="connsiteY3" fmla="*/ 291 h 18427"/>
                  <a:gd name="connsiteX4" fmla="*/ 18018 w 18332"/>
                  <a:gd name="connsiteY4" fmla="*/ 6869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7">
                    <a:moveTo>
                      <a:pt x="18018" y="6869"/>
                    </a:moveTo>
                    <a:cubicBezTo>
                      <a:pt x="19334" y="11773"/>
                      <a:pt x="16403" y="16857"/>
                      <a:pt x="11559" y="18113"/>
                    </a:cubicBezTo>
                    <a:cubicBezTo>
                      <a:pt x="6655" y="19429"/>
                      <a:pt x="1631" y="16498"/>
                      <a:pt x="315" y="11534"/>
                    </a:cubicBezTo>
                    <a:cubicBezTo>
                      <a:pt x="-1001" y="6630"/>
                      <a:pt x="1930" y="1547"/>
                      <a:pt x="6774" y="291"/>
                    </a:cubicBezTo>
                    <a:cubicBezTo>
                      <a:pt x="11678" y="-965"/>
                      <a:pt x="16702" y="1965"/>
                      <a:pt x="18018" y="6869"/>
                    </a:cubicBezTo>
                    <a:close/>
                  </a:path>
                </a:pathLst>
              </a:custGeom>
              <a:grpFill/>
              <a:ln w="5978" cap="flat">
                <a:noFill/>
                <a:prstDash val="solid"/>
                <a:miter/>
              </a:ln>
            </p:spPr>
            <p:txBody>
              <a:bodyPr rtlCol="0" anchor="ctr"/>
              <a:lstStyle/>
              <a:p>
                <a:endParaRPr lang="en-GB"/>
              </a:p>
            </p:txBody>
          </p:sp>
          <p:sp>
            <p:nvSpPr>
              <p:cNvPr id="3283" name="Vrije vorm: vorm 3282">
                <a:extLst>
                  <a:ext uri="{FF2B5EF4-FFF2-40B4-BE49-F238E27FC236}">
                    <a16:creationId xmlns:a16="http://schemas.microsoft.com/office/drawing/2014/main" id="{B51C60D6-0107-4239-B9D9-BADF21A1802E}"/>
                  </a:ext>
                </a:extLst>
              </p:cNvPr>
              <p:cNvSpPr/>
              <p:nvPr/>
            </p:nvSpPr>
            <p:spPr>
              <a:xfrm>
                <a:off x="6480231" y="5039345"/>
                <a:ext cx="18316" cy="18403"/>
              </a:xfrm>
              <a:custGeom>
                <a:avLst/>
                <a:gdLst>
                  <a:gd name="connsiteX0" fmla="*/ 18022 w 18316"/>
                  <a:gd name="connsiteY0" fmla="*/ 6869 h 18403"/>
                  <a:gd name="connsiteX1" fmla="*/ 6778 w 18316"/>
                  <a:gd name="connsiteY1" fmla="*/ 291 h 18403"/>
                  <a:gd name="connsiteX2" fmla="*/ 319 w 18316"/>
                  <a:gd name="connsiteY2" fmla="*/ 11534 h 18403"/>
                  <a:gd name="connsiteX3" fmla="*/ 11563 w 18316"/>
                  <a:gd name="connsiteY3" fmla="*/ 18113 h 18403"/>
                  <a:gd name="connsiteX4" fmla="*/ 18022 w 18316"/>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18022" y="6869"/>
                    </a:moveTo>
                    <a:cubicBezTo>
                      <a:pt x="16706" y="1965"/>
                      <a:pt x="11683" y="-966"/>
                      <a:pt x="6778" y="291"/>
                    </a:cubicBezTo>
                    <a:cubicBezTo>
                      <a:pt x="1874" y="1606"/>
                      <a:pt x="-997" y="6630"/>
                      <a:pt x="319" y="11534"/>
                    </a:cubicBezTo>
                    <a:cubicBezTo>
                      <a:pt x="1635" y="16439"/>
                      <a:pt x="6659" y="19369"/>
                      <a:pt x="11563" y="18113"/>
                    </a:cubicBezTo>
                    <a:cubicBezTo>
                      <a:pt x="16407" y="16857"/>
                      <a:pt x="19278" y="11773"/>
                      <a:pt x="18022" y="6869"/>
                    </a:cubicBezTo>
                    <a:close/>
                  </a:path>
                </a:pathLst>
              </a:custGeom>
              <a:grpFill/>
              <a:ln w="5978" cap="flat">
                <a:noFill/>
                <a:prstDash val="solid"/>
                <a:miter/>
              </a:ln>
            </p:spPr>
            <p:txBody>
              <a:bodyPr rtlCol="0" anchor="ctr"/>
              <a:lstStyle/>
              <a:p>
                <a:endParaRPr lang="en-GB"/>
              </a:p>
            </p:txBody>
          </p:sp>
        </p:grpSp>
        <p:grpSp>
          <p:nvGrpSpPr>
            <p:cNvPr id="704" name="Graphic 3">
              <a:extLst>
                <a:ext uri="{FF2B5EF4-FFF2-40B4-BE49-F238E27FC236}">
                  <a16:creationId xmlns:a16="http://schemas.microsoft.com/office/drawing/2014/main" id="{D3F99C1B-6564-43D2-96A6-8CEF568EBB2D}"/>
                </a:ext>
              </a:extLst>
            </p:cNvPr>
            <p:cNvGrpSpPr/>
            <p:nvPr/>
          </p:nvGrpSpPr>
          <p:grpSpPr>
            <a:xfrm>
              <a:off x="6509968" y="5032211"/>
              <a:ext cx="118914" cy="513278"/>
              <a:chOff x="6509968" y="5032211"/>
              <a:chExt cx="118914" cy="513278"/>
            </a:xfrm>
            <a:grpFill/>
          </p:grpSpPr>
          <p:sp>
            <p:nvSpPr>
              <p:cNvPr id="3278" name="Vrije vorm: vorm 3277">
                <a:extLst>
                  <a:ext uri="{FF2B5EF4-FFF2-40B4-BE49-F238E27FC236}">
                    <a16:creationId xmlns:a16="http://schemas.microsoft.com/office/drawing/2014/main" id="{82B5359A-BC09-4DBF-9758-A7C466D60EE4}"/>
                  </a:ext>
                </a:extLst>
              </p:cNvPr>
              <p:cNvSpPr/>
              <p:nvPr/>
            </p:nvSpPr>
            <p:spPr>
              <a:xfrm>
                <a:off x="6517511" y="5040652"/>
                <a:ext cx="103825" cy="496339"/>
              </a:xfrm>
              <a:custGeom>
                <a:avLst/>
                <a:gdLst>
                  <a:gd name="connsiteX0" fmla="*/ 2990 w 103825"/>
                  <a:gd name="connsiteY0" fmla="*/ 0 h 496339"/>
                  <a:gd name="connsiteX1" fmla="*/ 103825 w 103825"/>
                  <a:gd name="connsiteY1" fmla="*/ 495742 h 496339"/>
                  <a:gd name="connsiteX2" fmla="*/ 100835 w 103825"/>
                  <a:gd name="connsiteY2" fmla="*/ 496340 h 496339"/>
                  <a:gd name="connsiteX3" fmla="*/ 0 w 103825"/>
                  <a:gd name="connsiteY3" fmla="*/ 598 h 496339"/>
                </a:gdLst>
                <a:ahLst/>
                <a:cxnLst>
                  <a:cxn ang="0">
                    <a:pos x="connsiteX0" y="connsiteY0"/>
                  </a:cxn>
                  <a:cxn ang="0">
                    <a:pos x="connsiteX1" y="connsiteY1"/>
                  </a:cxn>
                  <a:cxn ang="0">
                    <a:pos x="connsiteX2" y="connsiteY2"/>
                  </a:cxn>
                  <a:cxn ang="0">
                    <a:pos x="connsiteX3" y="connsiteY3"/>
                  </a:cxn>
                </a:cxnLst>
                <a:rect l="l" t="t" r="r" b="b"/>
                <a:pathLst>
                  <a:path w="103825" h="496339">
                    <a:moveTo>
                      <a:pt x="2990" y="0"/>
                    </a:moveTo>
                    <a:lnTo>
                      <a:pt x="103825" y="495742"/>
                    </a:lnTo>
                    <a:lnTo>
                      <a:pt x="100835" y="496340"/>
                    </a:lnTo>
                    <a:lnTo>
                      <a:pt x="0" y="598"/>
                    </a:lnTo>
                    <a:close/>
                  </a:path>
                </a:pathLst>
              </a:custGeom>
              <a:grpFill/>
              <a:ln w="5978" cap="flat">
                <a:noFill/>
                <a:prstDash val="solid"/>
                <a:miter/>
              </a:ln>
            </p:spPr>
            <p:txBody>
              <a:bodyPr rtlCol="0" anchor="ctr"/>
              <a:lstStyle/>
              <a:p>
                <a:endParaRPr lang="en-GB"/>
              </a:p>
            </p:txBody>
          </p:sp>
          <p:sp>
            <p:nvSpPr>
              <p:cNvPr id="3279" name="Vrije vorm: vorm 3278">
                <a:extLst>
                  <a:ext uri="{FF2B5EF4-FFF2-40B4-BE49-F238E27FC236}">
                    <a16:creationId xmlns:a16="http://schemas.microsoft.com/office/drawing/2014/main" id="{B9E43071-8E40-4305-BBCC-8CCC165F9062}"/>
                  </a:ext>
                </a:extLst>
              </p:cNvPr>
              <p:cNvSpPr/>
              <p:nvPr/>
            </p:nvSpPr>
            <p:spPr>
              <a:xfrm>
                <a:off x="6509968" y="5032211"/>
                <a:ext cx="18319" cy="18416"/>
              </a:xfrm>
              <a:custGeom>
                <a:avLst/>
                <a:gdLst>
                  <a:gd name="connsiteX0" fmla="*/ 187 w 18319"/>
                  <a:gd name="connsiteY0" fmla="*/ 11012 h 18416"/>
                  <a:gd name="connsiteX1" fmla="*/ 7304 w 18319"/>
                  <a:gd name="connsiteY1" fmla="*/ 187 h 18416"/>
                  <a:gd name="connsiteX2" fmla="*/ 18129 w 18319"/>
                  <a:gd name="connsiteY2" fmla="*/ 7424 h 18416"/>
                  <a:gd name="connsiteX3" fmla="*/ 11012 w 18319"/>
                  <a:gd name="connsiteY3" fmla="*/ 18249 h 18416"/>
                  <a:gd name="connsiteX4" fmla="*/ 187 w 18319"/>
                  <a:gd name="connsiteY4" fmla="*/ 1101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6">
                    <a:moveTo>
                      <a:pt x="187" y="11012"/>
                    </a:moveTo>
                    <a:cubicBezTo>
                      <a:pt x="-829" y="6048"/>
                      <a:pt x="2400" y="1144"/>
                      <a:pt x="7304" y="187"/>
                    </a:cubicBezTo>
                    <a:cubicBezTo>
                      <a:pt x="12268" y="-830"/>
                      <a:pt x="17113" y="2400"/>
                      <a:pt x="18129" y="7424"/>
                    </a:cubicBezTo>
                    <a:cubicBezTo>
                      <a:pt x="19146" y="12388"/>
                      <a:pt x="15976" y="17292"/>
                      <a:pt x="11012" y="18249"/>
                    </a:cubicBezTo>
                    <a:cubicBezTo>
                      <a:pt x="6048" y="19206"/>
                      <a:pt x="1204" y="15976"/>
                      <a:pt x="187" y="11012"/>
                    </a:cubicBezTo>
                    <a:close/>
                  </a:path>
                </a:pathLst>
              </a:custGeom>
              <a:grpFill/>
              <a:ln w="5978" cap="flat">
                <a:noFill/>
                <a:prstDash val="solid"/>
                <a:miter/>
              </a:ln>
            </p:spPr>
            <p:txBody>
              <a:bodyPr rtlCol="0" anchor="ctr"/>
              <a:lstStyle/>
              <a:p>
                <a:endParaRPr lang="en-GB"/>
              </a:p>
            </p:txBody>
          </p:sp>
          <p:sp>
            <p:nvSpPr>
              <p:cNvPr id="3280" name="Vrije vorm: vorm 3279">
                <a:extLst>
                  <a:ext uri="{FF2B5EF4-FFF2-40B4-BE49-F238E27FC236}">
                    <a16:creationId xmlns:a16="http://schemas.microsoft.com/office/drawing/2014/main" id="{54C9149D-7158-428F-9AF2-44917C3BF8AF}"/>
                  </a:ext>
                </a:extLst>
              </p:cNvPr>
              <p:cNvSpPr/>
              <p:nvPr/>
            </p:nvSpPr>
            <p:spPr>
              <a:xfrm>
                <a:off x="6610563" y="5527076"/>
                <a:ext cx="18319" cy="18414"/>
              </a:xfrm>
              <a:custGeom>
                <a:avLst/>
                <a:gdLst>
                  <a:gd name="connsiteX0" fmla="*/ 187 w 18319"/>
                  <a:gd name="connsiteY0" fmla="*/ 10993 h 18414"/>
                  <a:gd name="connsiteX1" fmla="*/ 11012 w 18319"/>
                  <a:gd name="connsiteY1" fmla="*/ 18230 h 18414"/>
                  <a:gd name="connsiteX2" fmla="*/ 18129 w 18319"/>
                  <a:gd name="connsiteY2" fmla="*/ 7404 h 18414"/>
                  <a:gd name="connsiteX3" fmla="*/ 7304 w 18319"/>
                  <a:gd name="connsiteY3" fmla="*/ 168 h 18414"/>
                  <a:gd name="connsiteX4" fmla="*/ 187 w 18319"/>
                  <a:gd name="connsiteY4" fmla="*/ 1099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4">
                    <a:moveTo>
                      <a:pt x="187" y="10993"/>
                    </a:moveTo>
                    <a:cubicBezTo>
                      <a:pt x="1204" y="15957"/>
                      <a:pt x="6048" y="19246"/>
                      <a:pt x="11012" y="18230"/>
                    </a:cubicBezTo>
                    <a:cubicBezTo>
                      <a:pt x="15977" y="17213"/>
                      <a:pt x="19146" y="12369"/>
                      <a:pt x="18129" y="7404"/>
                    </a:cubicBezTo>
                    <a:cubicBezTo>
                      <a:pt x="17113" y="2440"/>
                      <a:pt x="12268" y="-789"/>
                      <a:pt x="7304" y="168"/>
                    </a:cubicBezTo>
                    <a:cubicBezTo>
                      <a:pt x="2400" y="1185"/>
                      <a:pt x="-830" y="6029"/>
                      <a:pt x="187" y="10993"/>
                    </a:cubicBezTo>
                    <a:close/>
                  </a:path>
                </a:pathLst>
              </a:custGeom>
              <a:grpFill/>
              <a:ln w="5978" cap="flat">
                <a:noFill/>
                <a:prstDash val="solid"/>
                <a:miter/>
              </a:ln>
            </p:spPr>
            <p:txBody>
              <a:bodyPr rtlCol="0" anchor="ctr"/>
              <a:lstStyle/>
              <a:p>
                <a:endParaRPr lang="en-GB"/>
              </a:p>
            </p:txBody>
          </p:sp>
        </p:grpSp>
        <p:grpSp>
          <p:nvGrpSpPr>
            <p:cNvPr id="705" name="Graphic 3">
              <a:extLst>
                <a:ext uri="{FF2B5EF4-FFF2-40B4-BE49-F238E27FC236}">
                  <a16:creationId xmlns:a16="http://schemas.microsoft.com/office/drawing/2014/main" id="{3ACC298D-F1E8-44E6-96C2-FF04A4FC710D}"/>
                </a:ext>
              </a:extLst>
            </p:cNvPr>
            <p:cNvGrpSpPr/>
            <p:nvPr/>
          </p:nvGrpSpPr>
          <p:grpSpPr>
            <a:xfrm>
              <a:off x="5246767" y="1410068"/>
              <a:ext cx="64206" cy="133010"/>
              <a:chOff x="5246767" y="1410068"/>
              <a:chExt cx="64206" cy="133010"/>
            </a:xfrm>
            <a:grpFill/>
          </p:grpSpPr>
          <p:sp>
            <p:nvSpPr>
              <p:cNvPr id="3275" name="Vrije vorm: vorm 3274">
                <a:extLst>
                  <a:ext uri="{FF2B5EF4-FFF2-40B4-BE49-F238E27FC236}">
                    <a16:creationId xmlns:a16="http://schemas.microsoft.com/office/drawing/2014/main" id="{9076761B-1C28-4ED1-8CE7-F69EFAE7ADD0}"/>
                  </a:ext>
                </a:extLst>
              </p:cNvPr>
              <p:cNvSpPr/>
              <p:nvPr/>
            </p:nvSpPr>
            <p:spPr>
              <a:xfrm>
                <a:off x="5254487" y="1418078"/>
                <a:ext cx="48927" cy="116549"/>
              </a:xfrm>
              <a:custGeom>
                <a:avLst/>
                <a:gdLst>
                  <a:gd name="connsiteX0" fmla="*/ 0 w 48927"/>
                  <a:gd name="connsiteY0" fmla="*/ 1131 h 116549"/>
                  <a:gd name="connsiteX1" fmla="*/ 2833 w 48927"/>
                  <a:gd name="connsiteY1" fmla="*/ 0 h 116549"/>
                  <a:gd name="connsiteX2" fmla="*/ 48928 w 48927"/>
                  <a:gd name="connsiteY2" fmla="*/ 115418 h 116549"/>
                  <a:gd name="connsiteX3" fmla="*/ 46095 w 48927"/>
                  <a:gd name="connsiteY3" fmla="*/ 116550 h 116549"/>
                </a:gdLst>
                <a:ahLst/>
                <a:cxnLst>
                  <a:cxn ang="0">
                    <a:pos x="connsiteX0" y="connsiteY0"/>
                  </a:cxn>
                  <a:cxn ang="0">
                    <a:pos x="connsiteX1" y="connsiteY1"/>
                  </a:cxn>
                  <a:cxn ang="0">
                    <a:pos x="connsiteX2" y="connsiteY2"/>
                  </a:cxn>
                  <a:cxn ang="0">
                    <a:pos x="connsiteX3" y="connsiteY3"/>
                  </a:cxn>
                </a:cxnLst>
                <a:rect l="l" t="t" r="r" b="b"/>
                <a:pathLst>
                  <a:path w="48927" h="116549">
                    <a:moveTo>
                      <a:pt x="0" y="1131"/>
                    </a:moveTo>
                    <a:lnTo>
                      <a:pt x="2833" y="0"/>
                    </a:lnTo>
                    <a:lnTo>
                      <a:pt x="48928" y="115418"/>
                    </a:lnTo>
                    <a:lnTo>
                      <a:pt x="46095" y="116550"/>
                    </a:lnTo>
                    <a:close/>
                  </a:path>
                </a:pathLst>
              </a:custGeom>
              <a:grpFill/>
              <a:ln w="5978" cap="flat">
                <a:noFill/>
                <a:prstDash val="solid"/>
                <a:miter/>
              </a:ln>
            </p:spPr>
            <p:txBody>
              <a:bodyPr rtlCol="0" anchor="ctr"/>
              <a:lstStyle/>
              <a:p>
                <a:endParaRPr lang="en-GB"/>
              </a:p>
            </p:txBody>
          </p:sp>
          <p:sp>
            <p:nvSpPr>
              <p:cNvPr id="3276" name="Vrije vorm: vorm 3275">
                <a:extLst>
                  <a:ext uri="{FF2B5EF4-FFF2-40B4-BE49-F238E27FC236}">
                    <a16:creationId xmlns:a16="http://schemas.microsoft.com/office/drawing/2014/main" id="{184268EC-A56F-475F-AA3E-82E4B5118F11}"/>
                  </a:ext>
                </a:extLst>
              </p:cNvPr>
              <p:cNvSpPr/>
              <p:nvPr/>
            </p:nvSpPr>
            <p:spPr>
              <a:xfrm>
                <a:off x="5246767" y="1410068"/>
                <a:ext cx="18342" cy="18419"/>
              </a:xfrm>
              <a:custGeom>
                <a:avLst/>
                <a:gdLst>
                  <a:gd name="connsiteX0" fmla="*/ 679 w 18342"/>
                  <a:gd name="connsiteY0" fmla="*/ 12607 h 18419"/>
                  <a:gd name="connsiteX1" fmla="*/ 5762 w 18342"/>
                  <a:gd name="connsiteY1" fmla="*/ 645 h 18419"/>
                  <a:gd name="connsiteX2" fmla="*/ 17664 w 18342"/>
                  <a:gd name="connsiteY2" fmla="*/ 5789 h 18419"/>
                  <a:gd name="connsiteX3" fmla="*/ 12580 w 18342"/>
                  <a:gd name="connsiteY3" fmla="*/ 17750 h 18419"/>
                  <a:gd name="connsiteX4" fmla="*/ 679 w 18342"/>
                  <a:gd name="connsiteY4" fmla="*/ 1260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9">
                    <a:moveTo>
                      <a:pt x="679" y="12607"/>
                    </a:moveTo>
                    <a:cubicBezTo>
                      <a:pt x="-1235" y="7882"/>
                      <a:pt x="1037" y="2499"/>
                      <a:pt x="5762" y="645"/>
                    </a:cubicBezTo>
                    <a:cubicBezTo>
                      <a:pt x="10427" y="-1209"/>
                      <a:pt x="15810" y="1064"/>
                      <a:pt x="17664" y="5789"/>
                    </a:cubicBezTo>
                    <a:cubicBezTo>
                      <a:pt x="19577" y="10513"/>
                      <a:pt x="17305" y="15896"/>
                      <a:pt x="12580" y="17750"/>
                    </a:cubicBezTo>
                    <a:cubicBezTo>
                      <a:pt x="7915" y="19664"/>
                      <a:pt x="2592" y="17331"/>
                      <a:pt x="679" y="12607"/>
                    </a:cubicBezTo>
                    <a:close/>
                  </a:path>
                </a:pathLst>
              </a:custGeom>
              <a:grpFill/>
              <a:ln w="5978" cap="flat">
                <a:noFill/>
                <a:prstDash val="solid"/>
                <a:miter/>
              </a:ln>
            </p:spPr>
            <p:txBody>
              <a:bodyPr rtlCol="0" anchor="ctr"/>
              <a:lstStyle/>
              <a:p>
                <a:endParaRPr lang="en-GB"/>
              </a:p>
            </p:txBody>
          </p:sp>
          <p:sp>
            <p:nvSpPr>
              <p:cNvPr id="3277" name="Vrije vorm: vorm 3276">
                <a:extLst>
                  <a:ext uri="{FF2B5EF4-FFF2-40B4-BE49-F238E27FC236}">
                    <a16:creationId xmlns:a16="http://schemas.microsoft.com/office/drawing/2014/main" id="{B106429D-E134-40C8-BD6E-7891C4B5139C}"/>
                  </a:ext>
                </a:extLst>
              </p:cNvPr>
              <p:cNvSpPr/>
              <p:nvPr/>
            </p:nvSpPr>
            <p:spPr>
              <a:xfrm>
                <a:off x="5292639" y="1524634"/>
                <a:ext cx="18334" cy="18444"/>
              </a:xfrm>
              <a:custGeom>
                <a:avLst/>
                <a:gdLst>
                  <a:gd name="connsiteX0" fmla="*/ 679 w 18334"/>
                  <a:gd name="connsiteY0" fmla="*/ 12631 h 18444"/>
                  <a:gd name="connsiteX1" fmla="*/ 12580 w 18334"/>
                  <a:gd name="connsiteY1" fmla="*/ 17775 h 18444"/>
                  <a:gd name="connsiteX2" fmla="*/ 17664 w 18334"/>
                  <a:gd name="connsiteY2" fmla="*/ 5813 h 18444"/>
                  <a:gd name="connsiteX3" fmla="*/ 5762 w 18334"/>
                  <a:gd name="connsiteY3" fmla="*/ 670 h 18444"/>
                  <a:gd name="connsiteX4" fmla="*/ 679 w 18334"/>
                  <a:gd name="connsiteY4" fmla="*/ 12631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4">
                    <a:moveTo>
                      <a:pt x="679" y="12631"/>
                    </a:moveTo>
                    <a:cubicBezTo>
                      <a:pt x="2592" y="17356"/>
                      <a:pt x="7915" y="19689"/>
                      <a:pt x="12580" y="17775"/>
                    </a:cubicBezTo>
                    <a:cubicBezTo>
                      <a:pt x="17245" y="15921"/>
                      <a:pt x="19578" y="10538"/>
                      <a:pt x="17664" y="5813"/>
                    </a:cubicBezTo>
                    <a:cubicBezTo>
                      <a:pt x="15750" y="1089"/>
                      <a:pt x="10427" y="-1244"/>
                      <a:pt x="5762" y="670"/>
                    </a:cubicBezTo>
                    <a:cubicBezTo>
                      <a:pt x="1037" y="2524"/>
                      <a:pt x="-1235" y="7847"/>
                      <a:pt x="679" y="12631"/>
                    </a:cubicBezTo>
                    <a:close/>
                  </a:path>
                </a:pathLst>
              </a:custGeom>
              <a:grpFill/>
              <a:ln w="5978" cap="flat">
                <a:noFill/>
                <a:prstDash val="solid"/>
                <a:miter/>
              </a:ln>
            </p:spPr>
            <p:txBody>
              <a:bodyPr rtlCol="0" anchor="ctr"/>
              <a:lstStyle/>
              <a:p>
                <a:endParaRPr lang="en-GB"/>
              </a:p>
            </p:txBody>
          </p:sp>
        </p:grpSp>
        <p:grpSp>
          <p:nvGrpSpPr>
            <p:cNvPr id="706" name="Graphic 3">
              <a:extLst>
                <a:ext uri="{FF2B5EF4-FFF2-40B4-BE49-F238E27FC236}">
                  <a16:creationId xmlns:a16="http://schemas.microsoft.com/office/drawing/2014/main" id="{3D2DCCFD-9835-44B3-8F2A-EFBBDFE91DC5}"/>
                </a:ext>
              </a:extLst>
            </p:cNvPr>
            <p:cNvGrpSpPr/>
            <p:nvPr/>
          </p:nvGrpSpPr>
          <p:grpSpPr>
            <a:xfrm>
              <a:off x="5246220" y="1410266"/>
              <a:ext cx="158247" cy="449208"/>
              <a:chOff x="5246220" y="1410266"/>
              <a:chExt cx="158247" cy="449208"/>
            </a:xfrm>
            <a:grpFill/>
          </p:grpSpPr>
          <p:sp>
            <p:nvSpPr>
              <p:cNvPr id="3272" name="Vrije vorm: vorm 3271">
                <a:extLst>
                  <a:ext uri="{FF2B5EF4-FFF2-40B4-BE49-F238E27FC236}">
                    <a16:creationId xmlns:a16="http://schemas.microsoft.com/office/drawing/2014/main" id="{05ED98E9-DED8-4514-92A6-8D44E2923A0E}"/>
                  </a:ext>
                </a:extLst>
              </p:cNvPr>
              <p:cNvSpPr/>
              <p:nvPr/>
            </p:nvSpPr>
            <p:spPr>
              <a:xfrm>
                <a:off x="5253826" y="1418615"/>
                <a:ext cx="143103" cy="432624"/>
              </a:xfrm>
              <a:custGeom>
                <a:avLst/>
                <a:gdLst>
                  <a:gd name="connsiteX0" fmla="*/ 0 w 143103"/>
                  <a:gd name="connsiteY0" fmla="*/ 942 h 432624"/>
                  <a:gd name="connsiteX1" fmla="*/ 2901 w 143103"/>
                  <a:gd name="connsiteY1" fmla="*/ 0 h 432624"/>
                  <a:gd name="connsiteX2" fmla="*/ 143104 w 143103"/>
                  <a:gd name="connsiteY2" fmla="*/ 431682 h 432624"/>
                  <a:gd name="connsiteX3" fmla="*/ 140203 w 143103"/>
                  <a:gd name="connsiteY3" fmla="*/ 432625 h 432624"/>
                </a:gdLst>
                <a:ahLst/>
                <a:cxnLst>
                  <a:cxn ang="0">
                    <a:pos x="connsiteX0" y="connsiteY0"/>
                  </a:cxn>
                  <a:cxn ang="0">
                    <a:pos x="connsiteX1" y="connsiteY1"/>
                  </a:cxn>
                  <a:cxn ang="0">
                    <a:pos x="connsiteX2" y="connsiteY2"/>
                  </a:cxn>
                  <a:cxn ang="0">
                    <a:pos x="connsiteX3" y="connsiteY3"/>
                  </a:cxn>
                </a:cxnLst>
                <a:rect l="l" t="t" r="r" b="b"/>
                <a:pathLst>
                  <a:path w="143103" h="432624">
                    <a:moveTo>
                      <a:pt x="0" y="942"/>
                    </a:moveTo>
                    <a:lnTo>
                      <a:pt x="2901" y="0"/>
                    </a:lnTo>
                    <a:lnTo>
                      <a:pt x="143104" y="431682"/>
                    </a:lnTo>
                    <a:lnTo>
                      <a:pt x="140203" y="432625"/>
                    </a:lnTo>
                    <a:close/>
                  </a:path>
                </a:pathLst>
              </a:custGeom>
              <a:grpFill/>
              <a:ln w="5978" cap="flat">
                <a:noFill/>
                <a:prstDash val="solid"/>
                <a:miter/>
              </a:ln>
            </p:spPr>
            <p:txBody>
              <a:bodyPr rtlCol="0" anchor="ctr"/>
              <a:lstStyle/>
              <a:p>
                <a:endParaRPr lang="en-GB"/>
              </a:p>
            </p:txBody>
          </p:sp>
          <p:sp>
            <p:nvSpPr>
              <p:cNvPr id="3273" name="Vrije vorm: vorm 3272">
                <a:extLst>
                  <a:ext uri="{FF2B5EF4-FFF2-40B4-BE49-F238E27FC236}">
                    <a16:creationId xmlns:a16="http://schemas.microsoft.com/office/drawing/2014/main" id="{2BA38BDD-9828-489A-BDEB-9B696296B403}"/>
                  </a:ext>
                </a:extLst>
              </p:cNvPr>
              <p:cNvSpPr/>
              <p:nvPr/>
            </p:nvSpPr>
            <p:spPr>
              <a:xfrm>
                <a:off x="5386169" y="1841058"/>
                <a:ext cx="18298" cy="18416"/>
              </a:xfrm>
              <a:custGeom>
                <a:avLst/>
                <a:gdLst>
                  <a:gd name="connsiteX0" fmla="*/ 17851 w 18298"/>
                  <a:gd name="connsiteY0" fmla="*/ 6368 h 18416"/>
                  <a:gd name="connsiteX1" fmla="*/ 11990 w 18298"/>
                  <a:gd name="connsiteY1" fmla="*/ 17970 h 18416"/>
                  <a:gd name="connsiteX2" fmla="*/ 447 w 18298"/>
                  <a:gd name="connsiteY2" fmla="*/ 12049 h 18416"/>
                  <a:gd name="connsiteX3" fmla="*/ 6308 w 18298"/>
                  <a:gd name="connsiteY3" fmla="*/ 447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9406" y="11212"/>
                      <a:pt x="16774" y="16415"/>
                      <a:pt x="11990" y="17970"/>
                    </a:cubicBezTo>
                    <a:cubicBezTo>
                      <a:pt x="7205" y="19525"/>
                      <a:pt x="2002" y="16894"/>
                      <a:pt x="447" y="12049"/>
                    </a:cubicBezTo>
                    <a:cubicBezTo>
                      <a:pt x="-1108" y="7205"/>
                      <a:pt x="1524" y="2002"/>
                      <a:pt x="6308" y="447"/>
                    </a:cubicBezTo>
                    <a:cubicBezTo>
                      <a:pt x="11093" y="-1108"/>
                      <a:pt x="16296" y="1523"/>
                      <a:pt x="17851" y="6368"/>
                    </a:cubicBezTo>
                    <a:close/>
                  </a:path>
                </a:pathLst>
              </a:custGeom>
              <a:grpFill/>
              <a:ln w="5978" cap="flat">
                <a:noFill/>
                <a:prstDash val="solid"/>
                <a:miter/>
              </a:ln>
            </p:spPr>
            <p:txBody>
              <a:bodyPr rtlCol="0" anchor="ctr"/>
              <a:lstStyle/>
              <a:p>
                <a:endParaRPr lang="en-GB"/>
              </a:p>
            </p:txBody>
          </p:sp>
          <p:sp>
            <p:nvSpPr>
              <p:cNvPr id="3274" name="Vrije vorm: vorm 3273">
                <a:extLst>
                  <a:ext uri="{FF2B5EF4-FFF2-40B4-BE49-F238E27FC236}">
                    <a16:creationId xmlns:a16="http://schemas.microsoft.com/office/drawing/2014/main" id="{C9489C5E-E527-45CF-B603-8EF764AC3D62}"/>
                  </a:ext>
                </a:extLst>
              </p:cNvPr>
              <p:cNvSpPr/>
              <p:nvPr/>
            </p:nvSpPr>
            <p:spPr>
              <a:xfrm>
                <a:off x="5246220" y="1410266"/>
                <a:ext cx="18326" cy="18416"/>
              </a:xfrm>
              <a:custGeom>
                <a:avLst/>
                <a:gdLst>
                  <a:gd name="connsiteX0" fmla="*/ 17851 w 18326"/>
                  <a:gd name="connsiteY0" fmla="*/ 6368 h 18416"/>
                  <a:gd name="connsiteX1" fmla="*/ 6308 w 18326"/>
                  <a:gd name="connsiteY1" fmla="*/ 447 h 18416"/>
                  <a:gd name="connsiteX2" fmla="*/ 447 w 18326"/>
                  <a:gd name="connsiteY2" fmla="*/ 12049 h 18416"/>
                  <a:gd name="connsiteX3" fmla="*/ 11990 w 18326"/>
                  <a:gd name="connsiteY3" fmla="*/ 17970 h 18416"/>
                  <a:gd name="connsiteX4" fmla="*/ 17851 w 18326"/>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6">
                    <a:moveTo>
                      <a:pt x="17851" y="6368"/>
                    </a:moveTo>
                    <a:cubicBezTo>
                      <a:pt x="16296" y="1523"/>
                      <a:pt x="11093" y="-1108"/>
                      <a:pt x="6308" y="447"/>
                    </a:cubicBezTo>
                    <a:cubicBezTo>
                      <a:pt x="1524" y="2002"/>
                      <a:pt x="-1108" y="7205"/>
                      <a:pt x="447" y="12049"/>
                    </a:cubicBezTo>
                    <a:cubicBezTo>
                      <a:pt x="2002" y="16894"/>
                      <a:pt x="7205" y="19525"/>
                      <a:pt x="11990" y="17970"/>
                    </a:cubicBezTo>
                    <a:cubicBezTo>
                      <a:pt x="16834" y="16415"/>
                      <a:pt x="19466" y="11212"/>
                      <a:pt x="17851" y="6368"/>
                    </a:cubicBezTo>
                    <a:close/>
                  </a:path>
                </a:pathLst>
              </a:custGeom>
              <a:grpFill/>
              <a:ln w="5978" cap="flat">
                <a:noFill/>
                <a:prstDash val="solid"/>
                <a:miter/>
              </a:ln>
            </p:spPr>
            <p:txBody>
              <a:bodyPr rtlCol="0" anchor="ctr"/>
              <a:lstStyle/>
              <a:p>
                <a:endParaRPr lang="en-GB"/>
              </a:p>
            </p:txBody>
          </p:sp>
        </p:grpSp>
        <p:grpSp>
          <p:nvGrpSpPr>
            <p:cNvPr id="707" name="Graphic 3">
              <a:extLst>
                <a:ext uri="{FF2B5EF4-FFF2-40B4-BE49-F238E27FC236}">
                  <a16:creationId xmlns:a16="http://schemas.microsoft.com/office/drawing/2014/main" id="{D7207A59-26B4-4B54-A754-2DE3D5EA0DBC}"/>
                </a:ext>
              </a:extLst>
            </p:cNvPr>
            <p:cNvGrpSpPr/>
            <p:nvPr/>
          </p:nvGrpSpPr>
          <p:grpSpPr>
            <a:xfrm>
              <a:off x="5352034" y="1762195"/>
              <a:ext cx="51701" cy="97554"/>
              <a:chOff x="5352034" y="1762195"/>
              <a:chExt cx="51701" cy="97554"/>
            </a:xfrm>
            <a:grpFill/>
          </p:grpSpPr>
          <p:sp>
            <p:nvSpPr>
              <p:cNvPr id="3269" name="Vrije vorm: vorm 3268">
                <a:extLst>
                  <a:ext uri="{FF2B5EF4-FFF2-40B4-BE49-F238E27FC236}">
                    <a16:creationId xmlns:a16="http://schemas.microsoft.com/office/drawing/2014/main" id="{BB05A071-A3E3-4093-97D4-E3F5F780CBCF}"/>
                  </a:ext>
                </a:extLst>
              </p:cNvPr>
              <p:cNvSpPr/>
              <p:nvPr/>
            </p:nvSpPr>
            <p:spPr>
              <a:xfrm>
                <a:off x="5359539" y="1770290"/>
                <a:ext cx="36593" cy="81120"/>
              </a:xfrm>
              <a:custGeom>
                <a:avLst/>
                <a:gdLst>
                  <a:gd name="connsiteX0" fmla="*/ 0 w 36593"/>
                  <a:gd name="connsiteY0" fmla="*/ 1187 h 81120"/>
                  <a:gd name="connsiteX1" fmla="*/ 2810 w 36593"/>
                  <a:gd name="connsiteY1" fmla="*/ 0 h 81120"/>
                  <a:gd name="connsiteX2" fmla="*/ 36593 w 36593"/>
                  <a:gd name="connsiteY2" fmla="*/ 79933 h 81120"/>
                  <a:gd name="connsiteX3" fmla="*/ 33784 w 36593"/>
                  <a:gd name="connsiteY3" fmla="*/ 81121 h 81120"/>
                </a:gdLst>
                <a:ahLst/>
                <a:cxnLst>
                  <a:cxn ang="0">
                    <a:pos x="connsiteX0" y="connsiteY0"/>
                  </a:cxn>
                  <a:cxn ang="0">
                    <a:pos x="connsiteX1" y="connsiteY1"/>
                  </a:cxn>
                  <a:cxn ang="0">
                    <a:pos x="connsiteX2" y="connsiteY2"/>
                  </a:cxn>
                  <a:cxn ang="0">
                    <a:pos x="connsiteX3" y="connsiteY3"/>
                  </a:cxn>
                </a:cxnLst>
                <a:rect l="l" t="t" r="r" b="b"/>
                <a:pathLst>
                  <a:path w="36593" h="81120">
                    <a:moveTo>
                      <a:pt x="0" y="1187"/>
                    </a:moveTo>
                    <a:lnTo>
                      <a:pt x="2810" y="0"/>
                    </a:lnTo>
                    <a:lnTo>
                      <a:pt x="36593" y="79933"/>
                    </a:lnTo>
                    <a:lnTo>
                      <a:pt x="33784" y="81121"/>
                    </a:lnTo>
                    <a:close/>
                  </a:path>
                </a:pathLst>
              </a:custGeom>
              <a:grpFill/>
              <a:ln w="5978" cap="flat">
                <a:noFill/>
                <a:prstDash val="solid"/>
                <a:miter/>
              </a:ln>
            </p:spPr>
            <p:txBody>
              <a:bodyPr rtlCol="0" anchor="ctr"/>
              <a:lstStyle/>
              <a:p>
                <a:endParaRPr lang="en-GB"/>
              </a:p>
            </p:txBody>
          </p:sp>
          <p:sp>
            <p:nvSpPr>
              <p:cNvPr id="3270" name="Vrije vorm: vorm 3269">
                <a:extLst>
                  <a:ext uri="{FF2B5EF4-FFF2-40B4-BE49-F238E27FC236}">
                    <a16:creationId xmlns:a16="http://schemas.microsoft.com/office/drawing/2014/main" id="{80AF3423-0A87-4CAC-ABE4-DC901F3E01C0}"/>
                  </a:ext>
                </a:extLst>
              </p:cNvPr>
              <p:cNvSpPr/>
              <p:nvPr/>
            </p:nvSpPr>
            <p:spPr>
              <a:xfrm>
                <a:off x="5352034" y="1762195"/>
                <a:ext cx="18329" cy="18430"/>
              </a:xfrm>
              <a:custGeom>
                <a:avLst/>
                <a:gdLst>
                  <a:gd name="connsiteX0" fmla="*/ 732 w 18329"/>
                  <a:gd name="connsiteY0" fmla="*/ 12803 h 18430"/>
                  <a:gd name="connsiteX1" fmla="*/ 5576 w 18329"/>
                  <a:gd name="connsiteY1" fmla="*/ 722 h 18430"/>
                  <a:gd name="connsiteX2" fmla="*/ 17597 w 18329"/>
                  <a:gd name="connsiteY2" fmla="*/ 5627 h 18430"/>
                  <a:gd name="connsiteX3" fmla="*/ 12753 w 18329"/>
                  <a:gd name="connsiteY3" fmla="*/ 17708 h 18430"/>
                  <a:gd name="connsiteX4" fmla="*/ 732 w 18329"/>
                  <a:gd name="connsiteY4" fmla="*/ 1280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0">
                    <a:moveTo>
                      <a:pt x="732" y="12803"/>
                    </a:moveTo>
                    <a:cubicBezTo>
                      <a:pt x="-1242" y="8139"/>
                      <a:pt x="911" y="2696"/>
                      <a:pt x="5576" y="722"/>
                    </a:cubicBezTo>
                    <a:cubicBezTo>
                      <a:pt x="10241" y="-1251"/>
                      <a:pt x="15624" y="962"/>
                      <a:pt x="17597" y="5627"/>
                    </a:cubicBezTo>
                    <a:cubicBezTo>
                      <a:pt x="19571" y="10292"/>
                      <a:pt x="17418" y="15734"/>
                      <a:pt x="12753" y="17708"/>
                    </a:cubicBezTo>
                    <a:cubicBezTo>
                      <a:pt x="8088" y="19681"/>
                      <a:pt x="2705" y="17468"/>
                      <a:pt x="732" y="12803"/>
                    </a:cubicBezTo>
                    <a:close/>
                  </a:path>
                </a:pathLst>
              </a:custGeom>
              <a:grpFill/>
              <a:ln w="5978" cap="flat">
                <a:noFill/>
                <a:prstDash val="solid"/>
                <a:miter/>
              </a:ln>
            </p:spPr>
            <p:txBody>
              <a:bodyPr rtlCol="0" anchor="ctr"/>
              <a:lstStyle/>
              <a:p>
                <a:endParaRPr lang="en-GB"/>
              </a:p>
            </p:txBody>
          </p:sp>
          <p:sp>
            <p:nvSpPr>
              <p:cNvPr id="3271" name="Vrije vorm: vorm 3270">
                <a:extLst>
                  <a:ext uri="{FF2B5EF4-FFF2-40B4-BE49-F238E27FC236}">
                    <a16:creationId xmlns:a16="http://schemas.microsoft.com/office/drawing/2014/main" id="{1D4B5B50-BD74-4488-96C8-F0FCF0439A09}"/>
                  </a:ext>
                </a:extLst>
              </p:cNvPr>
              <p:cNvSpPr/>
              <p:nvPr/>
            </p:nvSpPr>
            <p:spPr>
              <a:xfrm>
                <a:off x="5385406" y="1841320"/>
                <a:ext cx="18329" cy="18430"/>
              </a:xfrm>
              <a:custGeom>
                <a:avLst/>
                <a:gdLst>
                  <a:gd name="connsiteX0" fmla="*/ 732 w 18329"/>
                  <a:gd name="connsiteY0" fmla="*/ 12803 h 18430"/>
                  <a:gd name="connsiteX1" fmla="*/ 12753 w 18329"/>
                  <a:gd name="connsiteY1" fmla="*/ 17708 h 18430"/>
                  <a:gd name="connsiteX2" fmla="*/ 17597 w 18329"/>
                  <a:gd name="connsiteY2" fmla="*/ 5627 h 18430"/>
                  <a:gd name="connsiteX3" fmla="*/ 5576 w 18329"/>
                  <a:gd name="connsiteY3" fmla="*/ 722 h 18430"/>
                  <a:gd name="connsiteX4" fmla="*/ 732 w 18329"/>
                  <a:gd name="connsiteY4" fmla="*/ 1280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0">
                    <a:moveTo>
                      <a:pt x="732" y="12803"/>
                    </a:moveTo>
                    <a:cubicBezTo>
                      <a:pt x="2706" y="17468"/>
                      <a:pt x="8088" y="19681"/>
                      <a:pt x="12753" y="17708"/>
                    </a:cubicBezTo>
                    <a:cubicBezTo>
                      <a:pt x="17418" y="15734"/>
                      <a:pt x="19571" y="10351"/>
                      <a:pt x="17597" y="5627"/>
                    </a:cubicBezTo>
                    <a:cubicBezTo>
                      <a:pt x="15624" y="962"/>
                      <a:pt x="10241" y="-1251"/>
                      <a:pt x="5576" y="722"/>
                    </a:cubicBezTo>
                    <a:cubicBezTo>
                      <a:pt x="911" y="2696"/>
                      <a:pt x="-1242" y="8138"/>
                      <a:pt x="732" y="12803"/>
                    </a:cubicBezTo>
                    <a:close/>
                  </a:path>
                </a:pathLst>
              </a:custGeom>
              <a:grpFill/>
              <a:ln w="5978" cap="flat">
                <a:noFill/>
                <a:prstDash val="solid"/>
                <a:miter/>
              </a:ln>
            </p:spPr>
            <p:txBody>
              <a:bodyPr rtlCol="0" anchor="ctr"/>
              <a:lstStyle/>
              <a:p>
                <a:endParaRPr lang="en-GB"/>
              </a:p>
            </p:txBody>
          </p:sp>
        </p:grpSp>
        <p:grpSp>
          <p:nvGrpSpPr>
            <p:cNvPr id="708" name="Graphic 3">
              <a:extLst>
                <a:ext uri="{FF2B5EF4-FFF2-40B4-BE49-F238E27FC236}">
                  <a16:creationId xmlns:a16="http://schemas.microsoft.com/office/drawing/2014/main" id="{C90FD71B-8EC9-45E5-A244-57685D92D892}"/>
                </a:ext>
              </a:extLst>
            </p:cNvPr>
            <p:cNvGrpSpPr/>
            <p:nvPr/>
          </p:nvGrpSpPr>
          <p:grpSpPr>
            <a:xfrm>
              <a:off x="6533699" y="5240357"/>
              <a:ext cx="60560" cy="177096"/>
              <a:chOff x="6533699" y="5240357"/>
              <a:chExt cx="60560" cy="177096"/>
            </a:xfrm>
            <a:grpFill/>
          </p:grpSpPr>
          <p:sp>
            <p:nvSpPr>
              <p:cNvPr id="3266" name="Vrije vorm: vorm 3265">
                <a:extLst>
                  <a:ext uri="{FF2B5EF4-FFF2-40B4-BE49-F238E27FC236}">
                    <a16:creationId xmlns:a16="http://schemas.microsoft.com/office/drawing/2014/main" id="{6096EA6B-F3EA-4DED-B367-BB9E24EA08DB}"/>
                  </a:ext>
                </a:extLst>
              </p:cNvPr>
              <p:cNvSpPr/>
              <p:nvPr/>
            </p:nvSpPr>
            <p:spPr>
              <a:xfrm>
                <a:off x="6541251" y="5248309"/>
                <a:ext cx="45434" cy="160347"/>
              </a:xfrm>
              <a:custGeom>
                <a:avLst/>
                <a:gdLst>
                  <a:gd name="connsiteX0" fmla="*/ 0 w 45434"/>
                  <a:gd name="connsiteY0" fmla="*/ 785 h 160347"/>
                  <a:gd name="connsiteX1" fmla="*/ 2947 w 45434"/>
                  <a:gd name="connsiteY1" fmla="*/ 0 h 160347"/>
                  <a:gd name="connsiteX2" fmla="*/ 45435 w 45434"/>
                  <a:gd name="connsiteY2" fmla="*/ 159563 h 160347"/>
                  <a:gd name="connsiteX3" fmla="*/ 42487 w 45434"/>
                  <a:gd name="connsiteY3" fmla="*/ 160348 h 160347"/>
                </a:gdLst>
                <a:ahLst/>
                <a:cxnLst>
                  <a:cxn ang="0">
                    <a:pos x="connsiteX0" y="connsiteY0"/>
                  </a:cxn>
                  <a:cxn ang="0">
                    <a:pos x="connsiteX1" y="connsiteY1"/>
                  </a:cxn>
                  <a:cxn ang="0">
                    <a:pos x="connsiteX2" y="connsiteY2"/>
                  </a:cxn>
                  <a:cxn ang="0">
                    <a:pos x="connsiteX3" y="connsiteY3"/>
                  </a:cxn>
                </a:cxnLst>
                <a:rect l="l" t="t" r="r" b="b"/>
                <a:pathLst>
                  <a:path w="45434" h="160347">
                    <a:moveTo>
                      <a:pt x="0" y="785"/>
                    </a:moveTo>
                    <a:lnTo>
                      <a:pt x="2947" y="0"/>
                    </a:lnTo>
                    <a:lnTo>
                      <a:pt x="45435" y="159563"/>
                    </a:lnTo>
                    <a:lnTo>
                      <a:pt x="42487" y="160348"/>
                    </a:lnTo>
                    <a:close/>
                  </a:path>
                </a:pathLst>
              </a:custGeom>
              <a:grpFill/>
              <a:ln w="5978" cap="flat">
                <a:noFill/>
                <a:prstDash val="solid"/>
                <a:miter/>
              </a:ln>
            </p:spPr>
            <p:txBody>
              <a:bodyPr rtlCol="0" anchor="ctr"/>
              <a:lstStyle/>
              <a:p>
                <a:endParaRPr lang="en-GB"/>
              </a:p>
            </p:txBody>
          </p:sp>
          <p:sp>
            <p:nvSpPr>
              <p:cNvPr id="3267" name="Vrije vorm: vorm 3266">
                <a:extLst>
                  <a:ext uri="{FF2B5EF4-FFF2-40B4-BE49-F238E27FC236}">
                    <a16:creationId xmlns:a16="http://schemas.microsoft.com/office/drawing/2014/main" id="{42FDFDEB-B78A-400B-AA9B-B9B27BB8143C}"/>
                  </a:ext>
                </a:extLst>
              </p:cNvPr>
              <p:cNvSpPr/>
              <p:nvPr/>
            </p:nvSpPr>
            <p:spPr>
              <a:xfrm>
                <a:off x="6575927" y="5399025"/>
                <a:ext cx="18333" cy="18427"/>
              </a:xfrm>
              <a:custGeom>
                <a:avLst/>
                <a:gdLst>
                  <a:gd name="connsiteX0" fmla="*/ 18018 w 18333"/>
                  <a:gd name="connsiteY0" fmla="*/ 6869 h 18427"/>
                  <a:gd name="connsiteX1" fmla="*/ 11559 w 18333"/>
                  <a:gd name="connsiteY1" fmla="*/ 18113 h 18427"/>
                  <a:gd name="connsiteX2" fmla="*/ 315 w 18333"/>
                  <a:gd name="connsiteY2" fmla="*/ 11534 h 18427"/>
                  <a:gd name="connsiteX3" fmla="*/ 6774 w 18333"/>
                  <a:gd name="connsiteY3" fmla="*/ 291 h 18427"/>
                  <a:gd name="connsiteX4" fmla="*/ 18018 w 18333"/>
                  <a:gd name="connsiteY4" fmla="*/ 6869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27">
                    <a:moveTo>
                      <a:pt x="18018" y="6869"/>
                    </a:moveTo>
                    <a:cubicBezTo>
                      <a:pt x="19334" y="11773"/>
                      <a:pt x="16403" y="16857"/>
                      <a:pt x="11559" y="18113"/>
                    </a:cubicBezTo>
                    <a:cubicBezTo>
                      <a:pt x="6655" y="19429"/>
                      <a:pt x="1631" y="16498"/>
                      <a:pt x="315" y="11534"/>
                    </a:cubicBezTo>
                    <a:cubicBezTo>
                      <a:pt x="-1001" y="6630"/>
                      <a:pt x="1930" y="1546"/>
                      <a:pt x="6774" y="291"/>
                    </a:cubicBezTo>
                    <a:cubicBezTo>
                      <a:pt x="11679" y="-965"/>
                      <a:pt x="16702" y="1965"/>
                      <a:pt x="18018" y="6869"/>
                    </a:cubicBezTo>
                    <a:close/>
                  </a:path>
                </a:pathLst>
              </a:custGeom>
              <a:grpFill/>
              <a:ln w="5978" cap="flat">
                <a:noFill/>
                <a:prstDash val="solid"/>
                <a:miter/>
              </a:ln>
            </p:spPr>
            <p:txBody>
              <a:bodyPr rtlCol="0" anchor="ctr"/>
              <a:lstStyle/>
              <a:p>
                <a:endParaRPr lang="en-GB"/>
              </a:p>
            </p:txBody>
          </p:sp>
          <p:sp>
            <p:nvSpPr>
              <p:cNvPr id="3268" name="Vrije vorm: vorm 3267">
                <a:extLst>
                  <a:ext uri="{FF2B5EF4-FFF2-40B4-BE49-F238E27FC236}">
                    <a16:creationId xmlns:a16="http://schemas.microsoft.com/office/drawing/2014/main" id="{E54C68C7-639C-40B1-AE2B-7394890B2839}"/>
                  </a:ext>
                </a:extLst>
              </p:cNvPr>
              <p:cNvSpPr/>
              <p:nvPr/>
            </p:nvSpPr>
            <p:spPr>
              <a:xfrm>
                <a:off x="6533699" y="5240357"/>
                <a:ext cx="18341" cy="18403"/>
              </a:xfrm>
              <a:custGeom>
                <a:avLst/>
                <a:gdLst>
                  <a:gd name="connsiteX0" fmla="*/ 18022 w 18341"/>
                  <a:gd name="connsiteY0" fmla="*/ 6869 h 18403"/>
                  <a:gd name="connsiteX1" fmla="*/ 6778 w 18341"/>
                  <a:gd name="connsiteY1" fmla="*/ 290 h 18403"/>
                  <a:gd name="connsiteX2" fmla="*/ 319 w 18341"/>
                  <a:gd name="connsiteY2" fmla="*/ 11534 h 18403"/>
                  <a:gd name="connsiteX3" fmla="*/ 11563 w 18341"/>
                  <a:gd name="connsiteY3" fmla="*/ 18113 h 18403"/>
                  <a:gd name="connsiteX4" fmla="*/ 18022 w 18341"/>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3">
                    <a:moveTo>
                      <a:pt x="18022" y="6869"/>
                    </a:moveTo>
                    <a:cubicBezTo>
                      <a:pt x="16706" y="1965"/>
                      <a:pt x="11683" y="-965"/>
                      <a:pt x="6778" y="290"/>
                    </a:cubicBezTo>
                    <a:cubicBezTo>
                      <a:pt x="1874" y="1606"/>
                      <a:pt x="-997" y="6630"/>
                      <a:pt x="319" y="11534"/>
                    </a:cubicBezTo>
                    <a:cubicBezTo>
                      <a:pt x="1635" y="16438"/>
                      <a:pt x="6659" y="19369"/>
                      <a:pt x="11563" y="18113"/>
                    </a:cubicBezTo>
                    <a:cubicBezTo>
                      <a:pt x="16467" y="16857"/>
                      <a:pt x="19338" y="11833"/>
                      <a:pt x="18022" y="6869"/>
                    </a:cubicBezTo>
                    <a:close/>
                  </a:path>
                </a:pathLst>
              </a:custGeom>
              <a:grpFill/>
              <a:ln w="5978" cap="flat">
                <a:noFill/>
                <a:prstDash val="solid"/>
                <a:miter/>
              </a:ln>
            </p:spPr>
            <p:txBody>
              <a:bodyPr rtlCol="0" anchor="ctr"/>
              <a:lstStyle/>
              <a:p>
                <a:endParaRPr lang="en-GB"/>
              </a:p>
            </p:txBody>
          </p:sp>
        </p:grpSp>
        <p:grpSp>
          <p:nvGrpSpPr>
            <p:cNvPr id="709" name="Graphic 3">
              <a:extLst>
                <a:ext uri="{FF2B5EF4-FFF2-40B4-BE49-F238E27FC236}">
                  <a16:creationId xmlns:a16="http://schemas.microsoft.com/office/drawing/2014/main" id="{B7147423-F20B-4EA8-A739-10C9AC9E086D}"/>
                </a:ext>
              </a:extLst>
            </p:cNvPr>
            <p:cNvGrpSpPr/>
            <p:nvPr/>
          </p:nvGrpSpPr>
          <p:grpSpPr>
            <a:xfrm>
              <a:off x="6580707" y="5416848"/>
              <a:ext cx="47702" cy="128772"/>
              <a:chOff x="6580707" y="5416848"/>
              <a:chExt cx="47702" cy="128772"/>
            </a:xfrm>
            <a:grpFill/>
          </p:grpSpPr>
          <p:sp>
            <p:nvSpPr>
              <p:cNvPr id="3263" name="Vrije vorm: vorm 3262">
                <a:extLst>
                  <a:ext uri="{FF2B5EF4-FFF2-40B4-BE49-F238E27FC236}">
                    <a16:creationId xmlns:a16="http://schemas.microsoft.com/office/drawing/2014/main" id="{63BCA2CE-4AAD-406A-937A-2E502A39DB49}"/>
                  </a:ext>
                </a:extLst>
              </p:cNvPr>
              <p:cNvSpPr/>
              <p:nvPr/>
            </p:nvSpPr>
            <p:spPr>
              <a:xfrm>
                <a:off x="6588585" y="5425346"/>
                <a:ext cx="32543" cy="111987"/>
              </a:xfrm>
              <a:custGeom>
                <a:avLst/>
                <a:gdLst>
                  <a:gd name="connsiteX0" fmla="*/ 0 w 32543"/>
                  <a:gd name="connsiteY0" fmla="*/ 784 h 111987"/>
                  <a:gd name="connsiteX1" fmla="*/ 2948 w 32543"/>
                  <a:gd name="connsiteY1" fmla="*/ 0 h 111987"/>
                  <a:gd name="connsiteX2" fmla="*/ 32543 w 32543"/>
                  <a:gd name="connsiteY2" fmla="*/ 111203 h 111987"/>
                  <a:gd name="connsiteX3" fmla="*/ 29596 w 32543"/>
                  <a:gd name="connsiteY3" fmla="*/ 111987 h 111987"/>
                </a:gdLst>
                <a:ahLst/>
                <a:cxnLst>
                  <a:cxn ang="0">
                    <a:pos x="connsiteX0" y="connsiteY0"/>
                  </a:cxn>
                  <a:cxn ang="0">
                    <a:pos x="connsiteX1" y="connsiteY1"/>
                  </a:cxn>
                  <a:cxn ang="0">
                    <a:pos x="connsiteX2" y="connsiteY2"/>
                  </a:cxn>
                  <a:cxn ang="0">
                    <a:pos x="connsiteX3" y="connsiteY3"/>
                  </a:cxn>
                </a:cxnLst>
                <a:rect l="l" t="t" r="r" b="b"/>
                <a:pathLst>
                  <a:path w="32543" h="111987">
                    <a:moveTo>
                      <a:pt x="0" y="784"/>
                    </a:moveTo>
                    <a:lnTo>
                      <a:pt x="2948" y="0"/>
                    </a:lnTo>
                    <a:lnTo>
                      <a:pt x="32543" y="111203"/>
                    </a:lnTo>
                    <a:lnTo>
                      <a:pt x="29596" y="111987"/>
                    </a:lnTo>
                    <a:close/>
                  </a:path>
                </a:pathLst>
              </a:custGeom>
              <a:grpFill/>
              <a:ln w="5978" cap="flat">
                <a:noFill/>
                <a:prstDash val="solid"/>
                <a:miter/>
              </a:ln>
            </p:spPr>
            <p:txBody>
              <a:bodyPr rtlCol="0" anchor="ctr"/>
              <a:lstStyle/>
              <a:p>
                <a:endParaRPr lang="en-GB"/>
              </a:p>
            </p:txBody>
          </p:sp>
          <p:sp>
            <p:nvSpPr>
              <p:cNvPr id="3264" name="Vrije vorm: vorm 3263">
                <a:extLst>
                  <a:ext uri="{FF2B5EF4-FFF2-40B4-BE49-F238E27FC236}">
                    <a16:creationId xmlns:a16="http://schemas.microsoft.com/office/drawing/2014/main" id="{4C58A91A-1241-407A-A83B-4DD38F9EEB66}"/>
                  </a:ext>
                </a:extLst>
              </p:cNvPr>
              <p:cNvSpPr/>
              <p:nvPr/>
            </p:nvSpPr>
            <p:spPr>
              <a:xfrm>
                <a:off x="6610077" y="5527168"/>
                <a:ext cx="18332" cy="18451"/>
              </a:xfrm>
              <a:custGeom>
                <a:avLst/>
                <a:gdLst>
                  <a:gd name="connsiteX0" fmla="*/ 18018 w 18332"/>
                  <a:gd name="connsiteY0" fmla="*/ 6893 h 18451"/>
                  <a:gd name="connsiteX1" fmla="*/ 11559 w 18332"/>
                  <a:gd name="connsiteY1" fmla="*/ 18137 h 18451"/>
                  <a:gd name="connsiteX2" fmla="*/ 315 w 18332"/>
                  <a:gd name="connsiteY2" fmla="*/ 11558 h 18451"/>
                  <a:gd name="connsiteX3" fmla="*/ 6774 w 18332"/>
                  <a:gd name="connsiteY3" fmla="*/ 315 h 18451"/>
                  <a:gd name="connsiteX4" fmla="*/ 18018 w 18332"/>
                  <a:gd name="connsiteY4" fmla="*/ 6893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1">
                    <a:moveTo>
                      <a:pt x="18018" y="6893"/>
                    </a:moveTo>
                    <a:cubicBezTo>
                      <a:pt x="19334" y="11797"/>
                      <a:pt x="16403" y="16881"/>
                      <a:pt x="11559" y="18137"/>
                    </a:cubicBezTo>
                    <a:cubicBezTo>
                      <a:pt x="6655" y="19453"/>
                      <a:pt x="1631" y="16522"/>
                      <a:pt x="315" y="11558"/>
                    </a:cubicBezTo>
                    <a:cubicBezTo>
                      <a:pt x="-1001" y="6654"/>
                      <a:pt x="1930" y="1571"/>
                      <a:pt x="6774" y="315"/>
                    </a:cubicBezTo>
                    <a:cubicBezTo>
                      <a:pt x="11678" y="-1001"/>
                      <a:pt x="16702" y="1930"/>
                      <a:pt x="18018" y="6893"/>
                    </a:cubicBezTo>
                    <a:close/>
                  </a:path>
                </a:pathLst>
              </a:custGeom>
              <a:grpFill/>
              <a:ln w="5978" cap="flat">
                <a:noFill/>
                <a:prstDash val="solid"/>
                <a:miter/>
              </a:ln>
            </p:spPr>
            <p:txBody>
              <a:bodyPr rtlCol="0" anchor="ctr"/>
              <a:lstStyle/>
              <a:p>
                <a:endParaRPr lang="en-GB"/>
              </a:p>
            </p:txBody>
          </p:sp>
          <p:sp>
            <p:nvSpPr>
              <p:cNvPr id="3265" name="Vrije vorm: vorm 3264">
                <a:extLst>
                  <a:ext uri="{FF2B5EF4-FFF2-40B4-BE49-F238E27FC236}">
                    <a16:creationId xmlns:a16="http://schemas.microsoft.com/office/drawing/2014/main" id="{48596808-45D3-4247-B12C-1CE811D755AA}"/>
                  </a:ext>
                </a:extLst>
              </p:cNvPr>
              <p:cNvSpPr/>
              <p:nvPr/>
            </p:nvSpPr>
            <p:spPr>
              <a:xfrm>
                <a:off x="6580707" y="5416848"/>
                <a:ext cx="18337" cy="18403"/>
              </a:xfrm>
              <a:custGeom>
                <a:avLst/>
                <a:gdLst>
                  <a:gd name="connsiteX0" fmla="*/ 18022 w 18337"/>
                  <a:gd name="connsiteY0" fmla="*/ 6869 h 18403"/>
                  <a:gd name="connsiteX1" fmla="*/ 6778 w 18337"/>
                  <a:gd name="connsiteY1" fmla="*/ 291 h 18403"/>
                  <a:gd name="connsiteX2" fmla="*/ 319 w 18337"/>
                  <a:gd name="connsiteY2" fmla="*/ 11534 h 18403"/>
                  <a:gd name="connsiteX3" fmla="*/ 11563 w 18337"/>
                  <a:gd name="connsiteY3" fmla="*/ 18113 h 18403"/>
                  <a:gd name="connsiteX4" fmla="*/ 18022 w 18337"/>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03">
                    <a:moveTo>
                      <a:pt x="18022" y="6869"/>
                    </a:moveTo>
                    <a:cubicBezTo>
                      <a:pt x="16706" y="1965"/>
                      <a:pt x="11683" y="-966"/>
                      <a:pt x="6778" y="291"/>
                    </a:cubicBezTo>
                    <a:cubicBezTo>
                      <a:pt x="1874" y="1607"/>
                      <a:pt x="-997" y="6630"/>
                      <a:pt x="319" y="11534"/>
                    </a:cubicBezTo>
                    <a:cubicBezTo>
                      <a:pt x="1635" y="16439"/>
                      <a:pt x="6659" y="19369"/>
                      <a:pt x="11563" y="18113"/>
                    </a:cubicBezTo>
                    <a:cubicBezTo>
                      <a:pt x="16407" y="16857"/>
                      <a:pt x="19338" y="11773"/>
                      <a:pt x="18022" y="6869"/>
                    </a:cubicBezTo>
                    <a:close/>
                  </a:path>
                </a:pathLst>
              </a:custGeom>
              <a:grpFill/>
              <a:ln w="5978" cap="flat">
                <a:noFill/>
                <a:prstDash val="solid"/>
                <a:miter/>
              </a:ln>
            </p:spPr>
            <p:txBody>
              <a:bodyPr rtlCol="0" anchor="ctr"/>
              <a:lstStyle/>
              <a:p>
                <a:endParaRPr lang="en-GB"/>
              </a:p>
            </p:txBody>
          </p:sp>
        </p:grpSp>
        <p:grpSp>
          <p:nvGrpSpPr>
            <p:cNvPr id="710" name="Graphic 3">
              <a:extLst>
                <a:ext uri="{FF2B5EF4-FFF2-40B4-BE49-F238E27FC236}">
                  <a16:creationId xmlns:a16="http://schemas.microsoft.com/office/drawing/2014/main" id="{82103347-CF0D-4DF9-80FD-DA83B56B55F5}"/>
                </a:ext>
              </a:extLst>
            </p:cNvPr>
            <p:cNvGrpSpPr/>
            <p:nvPr/>
          </p:nvGrpSpPr>
          <p:grpSpPr>
            <a:xfrm>
              <a:off x="5224345" y="1459331"/>
              <a:ext cx="138840" cy="304308"/>
              <a:chOff x="5224345" y="1459331"/>
              <a:chExt cx="138840" cy="304308"/>
            </a:xfrm>
            <a:grpFill/>
          </p:grpSpPr>
          <p:sp>
            <p:nvSpPr>
              <p:cNvPr id="3260" name="Vrije vorm: vorm 3259">
                <a:extLst>
                  <a:ext uri="{FF2B5EF4-FFF2-40B4-BE49-F238E27FC236}">
                    <a16:creationId xmlns:a16="http://schemas.microsoft.com/office/drawing/2014/main" id="{EFDB5A63-C1D5-4808-9FB3-38CB14895DA4}"/>
                  </a:ext>
                </a:extLst>
              </p:cNvPr>
              <p:cNvSpPr/>
              <p:nvPr/>
            </p:nvSpPr>
            <p:spPr>
              <a:xfrm>
                <a:off x="5231997" y="1467527"/>
                <a:ext cx="123919" cy="287843"/>
              </a:xfrm>
              <a:custGeom>
                <a:avLst/>
                <a:gdLst>
                  <a:gd name="connsiteX0" fmla="*/ 0 w 123919"/>
                  <a:gd name="connsiteY0" fmla="*/ 1187 h 287843"/>
                  <a:gd name="connsiteX1" fmla="*/ 2810 w 123919"/>
                  <a:gd name="connsiteY1" fmla="*/ 0 h 287843"/>
                  <a:gd name="connsiteX2" fmla="*/ 123920 w 123919"/>
                  <a:gd name="connsiteY2" fmla="*/ 286656 h 287843"/>
                  <a:gd name="connsiteX3" fmla="*/ 121110 w 123919"/>
                  <a:gd name="connsiteY3" fmla="*/ 287843 h 287843"/>
                </a:gdLst>
                <a:ahLst/>
                <a:cxnLst>
                  <a:cxn ang="0">
                    <a:pos x="connsiteX0" y="connsiteY0"/>
                  </a:cxn>
                  <a:cxn ang="0">
                    <a:pos x="connsiteX1" y="connsiteY1"/>
                  </a:cxn>
                  <a:cxn ang="0">
                    <a:pos x="connsiteX2" y="connsiteY2"/>
                  </a:cxn>
                  <a:cxn ang="0">
                    <a:pos x="connsiteX3" y="connsiteY3"/>
                  </a:cxn>
                </a:cxnLst>
                <a:rect l="l" t="t" r="r" b="b"/>
                <a:pathLst>
                  <a:path w="123919" h="287843">
                    <a:moveTo>
                      <a:pt x="0" y="1187"/>
                    </a:moveTo>
                    <a:lnTo>
                      <a:pt x="2810" y="0"/>
                    </a:lnTo>
                    <a:lnTo>
                      <a:pt x="123920" y="286656"/>
                    </a:lnTo>
                    <a:lnTo>
                      <a:pt x="121110" y="287843"/>
                    </a:lnTo>
                    <a:close/>
                  </a:path>
                </a:pathLst>
              </a:custGeom>
              <a:grpFill/>
              <a:ln w="5978" cap="flat">
                <a:noFill/>
                <a:prstDash val="solid"/>
                <a:miter/>
              </a:ln>
            </p:spPr>
            <p:txBody>
              <a:bodyPr rtlCol="0" anchor="ctr"/>
              <a:lstStyle/>
              <a:p>
                <a:endParaRPr lang="en-GB"/>
              </a:p>
            </p:txBody>
          </p:sp>
          <p:sp>
            <p:nvSpPr>
              <p:cNvPr id="3261" name="Vrije vorm: vorm 3260">
                <a:extLst>
                  <a:ext uri="{FF2B5EF4-FFF2-40B4-BE49-F238E27FC236}">
                    <a16:creationId xmlns:a16="http://schemas.microsoft.com/office/drawing/2014/main" id="{AE743881-AB4F-4747-8A37-BE470D5180B6}"/>
                  </a:ext>
                </a:extLst>
              </p:cNvPr>
              <p:cNvSpPr/>
              <p:nvPr/>
            </p:nvSpPr>
            <p:spPr>
              <a:xfrm>
                <a:off x="5224345" y="1459331"/>
                <a:ext cx="18329" cy="18463"/>
              </a:xfrm>
              <a:custGeom>
                <a:avLst/>
                <a:gdLst>
                  <a:gd name="connsiteX0" fmla="*/ 732 w 18329"/>
                  <a:gd name="connsiteY0" fmla="*/ 12803 h 18463"/>
                  <a:gd name="connsiteX1" fmla="*/ 5576 w 18329"/>
                  <a:gd name="connsiteY1" fmla="*/ 722 h 18463"/>
                  <a:gd name="connsiteX2" fmla="*/ 17597 w 18329"/>
                  <a:gd name="connsiteY2" fmla="*/ 5627 h 18463"/>
                  <a:gd name="connsiteX3" fmla="*/ 12753 w 18329"/>
                  <a:gd name="connsiteY3" fmla="*/ 17708 h 18463"/>
                  <a:gd name="connsiteX4" fmla="*/ 732 w 18329"/>
                  <a:gd name="connsiteY4" fmla="*/ 12803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63">
                    <a:moveTo>
                      <a:pt x="732" y="12803"/>
                    </a:moveTo>
                    <a:cubicBezTo>
                      <a:pt x="-1242" y="8138"/>
                      <a:pt x="911" y="2696"/>
                      <a:pt x="5576" y="722"/>
                    </a:cubicBezTo>
                    <a:cubicBezTo>
                      <a:pt x="10241" y="-1251"/>
                      <a:pt x="15624" y="962"/>
                      <a:pt x="17597" y="5627"/>
                    </a:cubicBezTo>
                    <a:cubicBezTo>
                      <a:pt x="19571" y="10292"/>
                      <a:pt x="17418" y="15734"/>
                      <a:pt x="12753" y="17708"/>
                    </a:cubicBezTo>
                    <a:cubicBezTo>
                      <a:pt x="8088" y="19741"/>
                      <a:pt x="2706" y="17528"/>
                      <a:pt x="732" y="12803"/>
                    </a:cubicBezTo>
                    <a:close/>
                  </a:path>
                </a:pathLst>
              </a:custGeom>
              <a:grpFill/>
              <a:ln w="5978" cap="flat">
                <a:noFill/>
                <a:prstDash val="solid"/>
                <a:miter/>
              </a:ln>
            </p:spPr>
            <p:txBody>
              <a:bodyPr rtlCol="0" anchor="ctr"/>
              <a:lstStyle/>
              <a:p>
                <a:endParaRPr lang="en-GB"/>
              </a:p>
            </p:txBody>
          </p:sp>
          <p:sp>
            <p:nvSpPr>
              <p:cNvPr id="3262" name="Vrije vorm: vorm 3261">
                <a:extLst>
                  <a:ext uri="{FF2B5EF4-FFF2-40B4-BE49-F238E27FC236}">
                    <a16:creationId xmlns:a16="http://schemas.microsoft.com/office/drawing/2014/main" id="{7777BE7C-BCFC-4357-BA28-F439CA45917A}"/>
                  </a:ext>
                </a:extLst>
              </p:cNvPr>
              <p:cNvSpPr/>
              <p:nvPr/>
            </p:nvSpPr>
            <p:spPr>
              <a:xfrm>
                <a:off x="5344865" y="1745202"/>
                <a:ext cx="18320" cy="18438"/>
              </a:xfrm>
              <a:custGeom>
                <a:avLst/>
                <a:gdLst>
                  <a:gd name="connsiteX0" fmla="*/ 723 w 18320"/>
                  <a:gd name="connsiteY0" fmla="*/ 12812 h 18438"/>
                  <a:gd name="connsiteX1" fmla="*/ 12744 w 18320"/>
                  <a:gd name="connsiteY1" fmla="*/ 17716 h 18438"/>
                  <a:gd name="connsiteX2" fmla="*/ 17589 w 18320"/>
                  <a:gd name="connsiteY2" fmla="*/ 5635 h 18438"/>
                  <a:gd name="connsiteX3" fmla="*/ 5568 w 18320"/>
                  <a:gd name="connsiteY3" fmla="*/ 731 h 18438"/>
                  <a:gd name="connsiteX4" fmla="*/ 723 w 18320"/>
                  <a:gd name="connsiteY4" fmla="*/ 1281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8">
                    <a:moveTo>
                      <a:pt x="723" y="12812"/>
                    </a:moveTo>
                    <a:cubicBezTo>
                      <a:pt x="2697" y="17477"/>
                      <a:pt x="8080" y="19690"/>
                      <a:pt x="12744" y="17716"/>
                    </a:cubicBezTo>
                    <a:cubicBezTo>
                      <a:pt x="17410" y="15742"/>
                      <a:pt x="19563" y="10360"/>
                      <a:pt x="17589" y="5635"/>
                    </a:cubicBezTo>
                    <a:cubicBezTo>
                      <a:pt x="15615" y="910"/>
                      <a:pt x="10233" y="-1243"/>
                      <a:pt x="5568" y="731"/>
                    </a:cubicBezTo>
                    <a:cubicBezTo>
                      <a:pt x="963" y="2704"/>
                      <a:pt x="-1250" y="8147"/>
                      <a:pt x="723" y="12812"/>
                    </a:cubicBezTo>
                    <a:close/>
                  </a:path>
                </a:pathLst>
              </a:custGeom>
              <a:grpFill/>
              <a:ln w="5978" cap="flat">
                <a:noFill/>
                <a:prstDash val="solid"/>
                <a:miter/>
              </a:ln>
            </p:spPr>
            <p:txBody>
              <a:bodyPr rtlCol="0" anchor="ctr"/>
              <a:lstStyle/>
              <a:p>
                <a:endParaRPr lang="en-GB"/>
              </a:p>
            </p:txBody>
          </p:sp>
        </p:grpSp>
        <p:grpSp>
          <p:nvGrpSpPr>
            <p:cNvPr id="711" name="Graphic 3">
              <a:extLst>
                <a:ext uri="{FF2B5EF4-FFF2-40B4-BE49-F238E27FC236}">
                  <a16:creationId xmlns:a16="http://schemas.microsoft.com/office/drawing/2014/main" id="{6E284A41-8A38-4B45-A55C-9BEF4EDCC983}"/>
                </a:ext>
              </a:extLst>
            </p:cNvPr>
            <p:cNvGrpSpPr/>
            <p:nvPr/>
          </p:nvGrpSpPr>
          <p:grpSpPr>
            <a:xfrm>
              <a:off x="6448410" y="5041106"/>
              <a:ext cx="68168" cy="220553"/>
              <a:chOff x="6448410" y="5041106"/>
              <a:chExt cx="68168" cy="220553"/>
            </a:xfrm>
            <a:grpFill/>
          </p:grpSpPr>
          <p:sp>
            <p:nvSpPr>
              <p:cNvPr id="3257" name="Vrije vorm: vorm 3256">
                <a:extLst>
                  <a:ext uri="{FF2B5EF4-FFF2-40B4-BE49-F238E27FC236}">
                    <a16:creationId xmlns:a16="http://schemas.microsoft.com/office/drawing/2014/main" id="{CC251C2A-44AE-4D4A-B29A-B5ADB6135E86}"/>
                  </a:ext>
                </a:extLst>
              </p:cNvPr>
              <p:cNvSpPr/>
              <p:nvPr/>
            </p:nvSpPr>
            <p:spPr>
              <a:xfrm>
                <a:off x="6456360" y="5049601"/>
                <a:ext cx="52996" cy="203752"/>
              </a:xfrm>
              <a:custGeom>
                <a:avLst/>
                <a:gdLst>
                  <a:gd name="connsiteX0" fmla="*/ 0 w 52996"/>
                  <a:gd name="connsiteY0" fmla="*/ 730 h 203752"/>
                  <a:gd name="connsiteX1" fmla="*/ 2962 w 52996"/>
                  <a:gd name="connsiteY1" fmla="*/ 0 h 203752"/>
                  <a:gd name="connsiteX2" fmla="*/ 52996 w 52996"/>
                  <a:gd name="connsiteY2" fmla="*/ 203023 h 203752"/>
                  <a:gd name="connsiteX3" fmla="*/ 50034 w 52996"/>
                  <a:gd name="connsiteY3" fmla="*/ 203753 h 203752"/>
                </a:gdLst>
                <a:ahLst/>
                <a:cxnLst>
                  <a:cxn ang="0">
                    <a:pos x="connsiteX0" y="connsiteY0"/>
                  </a:cxn>
                  <a:cxn ang="0">
                    <a:pos x="connsiteX1" y="connsiteY1"/>
                  </a:cxn>
                  <a:cxn ang="0">
                    <a:pos x="connsiteX2" y="connsiteY2"/>
                  </a:cxn>
                  <a:cxn ang="0">
                    <a:pos x="connsiteX3" y="connsiteY3"/>
                  </a:cxn>
                </a:cxnLst>
                <a:rect l="l" t="t" r="r" b="b"/>
                <a:pathLst>
                  <a:path w="52996" h="203752">
                    <a:moveTo>
                      <a:pt x="0" y="730"/>
                    </a:moveTo>
                    <a:lnTo>
                      <a:pt x="2962" y="0"/>
                    </a:lnTo>
                    <a:lnTo>
                      <a:pt x="52996" y="203023"/>
                    </a:lnTo>
                    <a:lnTo>
                      <a:pt x="50034" y="203753"/>
                    </a:lnTo>
                    <a:close/>
                  </a:path>
                </a:pathLst>
              </a:custGeom>
              <a:grpFill/>
              <a:ln w="5978" cap="flat">
                <a:noFill/>
                <a:prstDash val="solid"/>
                <a:miter/>
              </a:ln>
            </p:spPr>
            <p:txBody>
              <a:bodyPr rtlCol="0" anchor="ctr"/>
              <a:lstStyle/>
              <a:p>
                <a:endParaRPr lang="en-GB"/>
              </a:p>
            </p:txBody>
          </p:sp>
          <p:sp>
            <p:nvSpPr>
              <p:cNvPr id="3258" name="Vrije vorm: vorm 3257">
                <a:extLst>
                  <a:ext uri="{FF2B5EF4-FFF2-40B4-BE49-F238E27FC236}">
                    <a16:creationId xmlns:a16="http://schemas.microsoft.com/office/drawing/2014/main" id="{2733A707-3F3D-4D59-9C38-CB77617464D3}"/>
                  </a:ext>
                </a:extLst>
              </p:cNvPr>
              <p:cNvSpPr/>
              <p:nvPr/>
            </p:nvSpPr>
            <p:spPr>
              <a:xfrm>
                <a:off x="6498229" y="5243235"/>
                <a:ext cx="18349" cy="18424"/>
              </a:xfrm>
              <a:custGeom>
                <a:avLst/>
                <a:gdLst>
                  <a:gd name="connsiteX0" fmla="*/ 18086 w 18349"/>
                  <a:gd name="connsiteY0" fmla="*/ 7041 h 18424"/>
                  <a:gd name="connsiteX1" fmla="*/ 11387 w 18349"/>
                  <a:gd name="connsiteY1" fmla="*/ 18165 h 18424"/>
                  <a:gd name="connsiteX2" fmla="*/ 263 w 18349"/>
                  <a:gd name="connsiteY2" fmla="*/ 11407 h 18424"/>
                  <a:gd name="connsiteX3" fmla="*/ 6962 w 18349"/>
                  <a:gd name="connsiteY3" fmla="*/ 283 h 18424"/>
                  <a:gd name="connsiteX4" fmla="*/ 18086 w 18349"/>
                  <a:gd name="connsiteY4" fmla="*/ 7041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4">
                    <a:moveTo>
                      <a:pt x="18086" y="7041"/>
                    </a:moveTo>
                    <a:cubicBezTo>
                      <a:pt x="19282" y="12005"/>
                      <a:pt x="16292" y="16969"/>
                      <a:pt x="11387" y="18165"/>
                    </a:cubicBezTo>
                    <a:cubicBezTo>
                      <a:pt x="6483" y="19361"/>
                      <a:pt x="1519" y="16311"/>
                      <a:pt x="263" y="11407"/>
                    </a:cubicBezTo>
                    <a:cubicBezTo>
                      <a:pt x="-933" y="6443"/>
                      <a:pt x="2058" y="1479"/>
                      <a:pt x="6962" y="283"/>
                    </a:cubicBezTo>
                    <a:cubicBezTo>
                      <a:pt x="11866" y="-973"/>
                      <a:pt x="16830" y="2077"/>
                      <a:pt x="18086" y="7041"/>
                    </a:cubicBezTo>
                    <a:close/>
                  </a:path>
                </a:pathLst>
              </a:custGeom>
              <a:grpFill/>
              <a:ln w="5978" cap="flat">
                <a:noFill/>
                <a:prstDash val="solid"/>
                <a:miter/>
              </a:ln>
            </p:spPr>
            <p:txBody>
              <a:bodyPr rtlCol="0" anchor="ctr"/>
              <a:lstStyle/>
              <a:p>
                <a:endParaRPr lang="en-GB"/>
              </a:p>
            </p:txBody>
          </p:sp>
          <p:sp>
            <p:nvSpPr>
              <p:cNvPr id="3259" name="Vrije vorm: vorm 3258">
                <a:extLst>
                  <a:ext uri="{FF2B5EF4-FFF2-40B4-BE49-F238E27FC236}">
                    <a16:creationId xmlns:a16="http://schemas.microsoft.com/office/drawing/2014/main" id="{F7A269FF-990D-4E66-B2E6-0CAB28AE2585}"/>
                  </a:ext>
                </a:extLst>
              </p:cNvPr>
              <p:cNvSpPr/>
              <p:nvPr/>
            </p:nvSpPr>
            <p:spPr>
              <a:xfrm>
                <a:off x="6448410" y="5041106"/>
                <a:ext cx="18349" cy="18408"/>
              </a:xfrm>
              <a:custGeom>
                <a:avLst/>
                <a:gdLst>
                  <a:gd name="connsiteX0" fmla="*/ 18086 w 18349"/>
                  <a:gd name="connsiteY0" fmla="*/ 7021 h 18408"/>
                  <a:gd name="connsiteX1" fmla="*/ 6962 w 18349"/>
                  <a:gd name="connsiteY1" fmla="*/ 263 h 18408"/>
                  <a:gd name="connsiteX2" fmla="*/ 263 w 18349"/>
                  <a:gd name="connsiteY2" fmla="*/ 11387 h 18408"/>
                  <a:gd name="connsiteX3" fmla="*/ 11388 w 18349"/>
                  <a:gd name="connsiteY3" fmla="*/ 18146 h 18408"/>
                  <a:gd name="connsiteX4" fmla="*/ 18086 w 1834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8086" y="7021"/>
                    </a:moveTo>
                    <a:cubicBezTo>
                      <a:pt x="16890" y="2058"/>
                      <a:pt x="11926" y="-933"/>
                      <a:pt x="6962" y="263"/>
                    </a:cubicBezTo>
                    <a:cubicBezTo>
                      <a:pt x="2058" y="1459"/>
                      <a:pt x="-933" y="6423"/>
                      <a:pt x="263" y="11387"/>
                    </a:cubicBezTo>
                    <a:cubicBezTo>
                      <a:pt x="1459" y="16351"/>
                      <a:pt x="6424" y="19342"/>
                      <a:pt x="11388" y="18146"/>
                    </a:cubicBezTo>
                    <a:cubicBezTo>
                      <a:pt x="16292" y="16949"/>
                      <a:pt x="19282" y="11926"/>
                      <a:pt x="18086" y="7021"/>
                    </a:cubicBezTo>
                    <a:close/>
                  </a:path>
                </a:pathLst>
              </a:custGeom>
              <a:grpFill/>
              <a:ln w="5978" cap="flat">
                <a:noFill/>
                <a:prstDash val="solid"/>
                <a:miter/>
              </a:ln>
            </p:spPr>
            <p:txBody>
              <a:bodyPr rtlCol="0" anchor="ctr"/>
              <a:lstStyle/>
              <a:p>
                <a:endParaRPr lang="en-GB"/>
              </a:p>
            </p:txBody>
          </p:sp>
        </p:grpSp>
        <p:grpSp>
          <p:nvGrpSpPr>
            <p:cNvPr id="712" name="Graphic 3">
              <a:extLst>
                <a:ext uri="{FF2B5EF4-FFF2-40B4-BE49-F238E27FC236}">
                  <a16:creationId xmlns:a16="http://schemas.microsoft.com/office/drawing/2014/main" id="{8CDF863C-65B7-4785-84B6-ABE01326B0C8}"/>
                </a:ext>
              </a:extLst>
            </p:cNvPr>
            <p:cNvGrpSpPr/>
            <p:nvPr/>
          </p:nvGrpSpPr>
          <p:grpSpPr>
            <a:xfrm>
              <a:off x="5236736" y="1490492"/>
              <a:ext cx="147193" cy="400176"/>
              <a:chOff x="5236736" y="1490492"/>
              <a:chExt cx="147193" cy="400176"/>
            </a:xfrm>
            <a:grpFill/>
          </p:grpSpPr>
          <p:sp>
            <p:nvSpPr>
              <p:cNvPr id="3254" name="Vrije vorm: vorm 3253">
                <a:extLst>
                  <a:ext uri="{FF2B5EF4-FFF2-40B4-BE49-F238E27FC236}">
                    <a16:creationId xmlns:a16="http://schemas.microsoft.com/office/drawing/2014/main" id="{83DBC35E-BBA3-4B56-9E9A-E68B872000B0}"/>
                  </a:ext>
                </a:extLst>
              </p:cNvPr>
              <p:cNvSpPr/>
              <p:nvPr/>
            </p:nvSpPr>
            <p:spPr>
              <a:xfrm>
                <a:off x="5244340" y="1498536"/>
                <a:ext cx="131749" cy="383671"/>
              </a:xfrm>
              <a:custGeom>
                <a:avLst/>
                <a:gdLst>
                  <a:gd name="connsiteX0" fmla="*/ 0 w 131749"/>
                  <a:gd name="connsiteY0" fmla="*/ 973 h 383671"/>
                  <a:gd name="connsiteX1" fmla="*/ 2891 w 131749"/>
                  <a:gd name="connsiteY1" fmla="*/ 0 h 383671"/>
                  <a:gd name="connsiteX2" fmla="*/ 131749 w 131749"/>
                  <a:gd name="connsiteY2" fmla="*/ 382699 h 383671"/>
                  <a:gd name="connsiteX3" fmla="*/ 128859 w 131749"/>
                  <a:gd name="connsiteY3" fmla="*/ 383672 h 383671"/>
                </a:gdLst>
                <a:ahLst/>
                <a:cxnLst>
                  <a:cxn ang="0">
                    <a:pos x="connsiteX0" y="connsiteY0"/>
                  </a:cxn>
                  <a:cxn ang="0">
                    <a:pos x="connsiteX1" y="connsiteY1"/>
                  </a:cxn>
                  <a:cxn ang="0">
                    <a:pos x="connsiteX2" y="connsiteY2"/>
                  </a:cxn>
                  <a:cxn ang="0">
                    <a:pos x="connsiteX3" y="connsiteY3"/>
                  </a:cxn>
                </a:cxnLst>
                <a:rect l="l" t="t" r="r" b="b"/>
                <a:pathLst>
                  <a:path w="131749" h="383671">
                    <a:moveTo>
                      <a:pt x="0" y="973"/>
                    </a:moveTo>
                    <a:lnTo>
                      <a:pt x="2891" y="0"/>
                    </a:lnTo>
                    <a:lnTo>
                      <a:pt x="131749" y="382699"/>
                    </a:lnTo>
                    <a:lnTo>
                      <a:pt x="128859" y="383672"/>
                    </a:lnTo>
                    <a:close/>
                  </a:path>
                </a:pathLst>
              </a:custGeom>
              <a:grpFill/>
              <a:ln w="5978" cap="flat">
                <a:noFill/>
                <a:prstDash val="solid"/>
                <a:miter/>
              </a:ln>
            </p:spPr>
            <p:txBody>
              <a:bodyPr rtlCol="0" anchor="ctr"/>
              <a:lstStyle/>
              <a:p>
                <a:endParaRPr lang="en-GB"/>
              </a:p>
            </p:txBody>
          </p:sp>
          <p:sp>
            <p:nvSpPr>
              <p:cNvPr id="3255" name="Vrije vorm: vorm 3254">
                <a:extLst>
                  <a:ext uri="{FF2B5EF4-FFF2-40B4-BE49-F238E27FC236}">
                    <a16:creationId xmlns:a16="http://schemas.microsoft.com/office/drawing/2014/main" id="{E5A47F5A-FBD0-4655-BE55-1CFD99FEEFCF}"/>
                  </a:ext>
                </a:extLst>
              </p:cNvPr>
              <p:cNvSpPr/>
              <p:nvPr/>
            </p:nvSpPr>
            <p:spPr>
              <a:xfrm>
                <a:off x="5365620" y="1872219"/>
                <a:ext cx="18308" cy="18450"/>
              </a:xfrm>
              <a:custGeom>
                <a:avLst/>
                <a:gdLst>
                  <a:gd name="connsiteX0" fmla="*/ 17826 w 18308"/>
                  <a:gd name="connsiteY0" fmla="*/ 6306 h 18450"/>
                  <a:gd name="connsiteX1" fmla="*/ 12085 w 18308"/>
                  <a:gd name="connsiteY1" fmla="*/ 17969 h 18450"/>
                  <a:gd name="connsiteX2" fmla="*/ 482 w 18308"/>
                  <a:gd name="connsiteY2" fmla="*/ 12167 h 18450"/>
                  <a:gd name="connsiteX3" fmla="*/ 6224 w 18308"/>
                  <a:gd name="connsiteY3" fmla="*/ 505 h 18450"/>
                  <a:gd name="connsiteX4" fmla="*/ 17826 w 18308"/>
                  <a:gd name="connsiteY4" fmla="*/ 630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0">
                    <a:moveTo>
                      <a:pt x="17826" y="6306"/>
                    </a:moveTo>
                    <a:cubicBezTo>
                      <a:pt x="19441" y="11151"/>
                      <a:pt x="16870" y="16354"/>
                      <a:pt x="12085" y="17969"/>
                    </a:cubicBezTo>
                    <a:cubicBezTo>
                      <a:pt x="7300" y="19584"/>
                      <a:pt x="2097" y="17012"/>
                      <a:pt x="482" y="12167"/>
                    </a:cubicBezTo>
                    <a:cubicBezTo>
                      <a:pt x="-1132" y="7323"/>
                      <a:pt x="1439" y="2120"/>
                      <a:pt x="6224" y="505"/>
                    </a:cubicBezTo>
                    <a:cubicBezTo>
                      <a:pt x="10949" y="-1170"/>
                      <a:pt x="16152" y="1462"/>
                      <a:pt x="17826" y="6306"/>
                    </a:cubicBezTo>
                    <a:close/>
                  </a:path>
                </a:pathLst>
              </a:custGeom>
              <a:grpFill/>
              <a:ln w="5978" cap="flat">
                <a:noFill/>
                <a:prstDash val="solid"/>
                <a:miter/>
              </a:ln>
            </p:spPr>
            <p:txBody>
              <a:bodyPr rtlCol="0" anchor="ctr"/>
              <a:lstStyle/>
              <a:p>
                <a:endParaRPr lang="en-GB"/>
              </a:p>
            </p:txBody>
          </p:sp>
          <p:sp>
            <p:nvSpPr>
              <p:cNvPr id="3256" name="Vrije vorm: vorm 3255">
                <a:extLst>
                  <a:ext uri="{FF2B5EF4-FFF2-40B4-BE49-F238E27FC236}">
                    <a16:creationId xmlns:a16="http://schemas.microsoft.com/office/drawing/2014/main" id="{793ACBD6-BBCD-4F45-A9D3-EB1B65B0131F}"/>
                  </a:ext>
                </a:extLst>
              </p:cNvPr>
              <p:cNvSpPr/>
              <p:nvPr/>
            </p:nvSpPr>
            <p:spPr>
              <a:xfrm>
                <a:off x="5236736" y="1490492"/>
                <a:ext cx="18308" cy="18427"/>
              </a:xfrm>
              <a:custGeom>
                <a:avLst/>
                <a:gdLst>
                  <a:gd name="connsiteX0" fmla="*/ 17826 w 18308"/>
                  <a:gd name="connsiteY0" fmla="*/ 6283 h 18427"/>
                  <a:gd name="connsiteX1" fmla="*/ 6224 w 18308"/>
                  <a:gd name="connsiteY1" fmla="*/ 482 h 18427"/>
                  <a:gd name="connsiteX2" fmla="*/ 482 w 18308"/>
                  <a:gd name="connsiteY2" fmla="*/ 12144 h 18427"/>
                  <a:gd name="connsiteX3" fmla="*/ 12085 w 18308"/>
                  <a:gd name="connsiteY3" fmla="*/ 17946 h 18427"/>
                  <a:gd name="connsiteX4" fmla="*/ 17826 w 18308"/>
                  <a:gd name="connsiteY4" fmla="*/ 6283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17826" y="6283"/>
                    </a:moveTo>
                    <a:cubicBezTo>
                      <a:pt x="16212" y="1439"/>
                      <a:pt x="11008" y="-1133"/>
                      <a:pt x="6224" y="482"/>
                    </a:cubicBezTo>
                    <a:cubicBezTo>
                      <a:pt x="1439" y="2097"/>
                      <a:pt x="-1132" y="7300"/>
                      <a:pt x="482" y="12144"/>
                    </a:cubicBezTo>
                    <a:cubicBezTo>
                      <a:pt x="2097" y="16989"/>
                      <a:pt x="7300" y="19560"/>
                      <a:pt x="12085" y="17946"/>
                    </a:cubicBezTo>
                    <a:cubicBezTo>
                      <a:pt x="16869" y="16331"/>
                      <a:pt x="19441" y="11068"/>
                      <a:pt x="17826" y="6283"/>
                    </a:cubicBezTo>
                    <a:close/>
                  </a:path>
                </a:pathLst>
              </a:custGeom>
              <a:grpFill/>
              <a:ln w="5978" cap="flat">
                <a:noFill/>
                <a:prstDash val="solid"/>
                <a:miter/>
              </a:ln>
            </p:spPr>
            <p:txBody>
              <a:bodyPr rtlCol="0" anchor="ctr"/>
              <a:lstStyle/>
              <a:p>
                <a:endParaRPr lang="en-GB"/>
              </a:p>
            </p:txBody>
          </p:sp>
        </p:grpSp>
        <p:grpSp>
          <p:nvGrpSpPr>
            <p:cNvPr id="713" name="Graphic 3">
              <a:extLst>
                <a:ext uri="{FF2B5EF4-FFF2-40B4-BE49-F238E27FC236}">
                  <a16:creationId xmlns:a16="http://schemas.microsoft.com/office/drawing/2014/main" id="{EDEB708E-375E-4CB4-83E1-BCF2654E3C36}"/>
                </a:ext>
              </a:extLst>
            </p:cNvPr>
            <p:cNvGrpSpPr/>
            <p:nvPr/>
          </p:nvGrpSpPr>
          <p:grpSpPr>
            <a:xfrm>
              <a:off x="5224345" y="1459391"/>
              <a:ext cx="24190" cy="32305"/>
              <a:chOff x="5224345" y="1459391"/>
              <a:chExt cx="24190" cy="32305"/>
            </a:xfrm>
            <a:grpFill/>
          </p:grpSpPr>
          <p:sp>
            <p:nvSpPr>
              <p:cNvPr id="3251" name="Vrije vorm: vorm 3250">
                <a:extLst>
                  <a:ext uri="{FF2B5EF4-FFF2-40B4-BE49-F238E27FC236}">
                    <a16:creationId xmlns:a16="http://schemas.microsoft.com/office/drawing/2014/main" id="{7C0E6280-F503-4384-BE3C-44BB2C1370AD}"/>
                  </a:ext>
                </a:extLst>
              </p:cNvPr>
              <p:cNvSpPr/>
              <p:nvPr/>
            </p:nvSpPr>
            <p:spPr>
              <a:xfrm>
                <a:off x="5231863" y="1467636"/>
                <a:ext cx="9026" cy="15896"/>
              </a:xfrm>
              <a:custGeom>
                <a:avLst/>
                <a:gdLst>
                  <a:gd name="connsiteX0" fmla="*/ 0 w 9026"/>
                  <a:gd name="connsiteY0" fmla="*/ 1187 h 15896"/>
                  <a:gd name="connsiteX1" fmla="*/ 2810 w 9026"/>
                  <a:gd name="connsiteY1" fmla="*/ 0 h 15896"/>
                  <a:gd name="connsiteX2" fmla="*/ 9026 w 9026"/>
                  <a:gd name="connsiteY2" fmla="*/ 14709 h 15896"/>
                  <a:gd name="connsiteX3" fmla="*/ 6217 w 9026"/>
                  <a:gd name="connsiteY3" fmla="*/ 15896 h 15896"/>
                </a:gdLst>
                <a:ahLst/>
                <a:cxnLst>
                  <a:cxn ang="0">
                    <a:pos x="connsiteX0" y="connsiteY0"/>
                  </a:cxn>
                  <a:cxn ang="0">
                    <a:pos x="connsiteX1" y="connsiteY1"/>
                  </a:cxn>
                  <a:cxn ang="0">
                    <a:pos x="connsiteX2" y="connsiteY2"/>
                  </a:cxn>
                  <a:cxn ang="0">
                    <a:pos x="connsiteX3" y="connsiteY3"/>
                  </a:cxn>
                </a:cxnLst>
                <a:rect l="l" t="t" r="r" b="b"/>
                <a:pathLst>
                  <a:path w="9026" h="15896">
                    <a:moveTo>
                      <a:pt x="0" y="1187"/>
                    </a:moveTo>
                    <a:lnTo>
                      <a:pt x="2810" y="0"/>
                    </a:lnTo>
                    <a:lnTo>
                      <a:pt x="9026" y="14709"/>
                    </a:lnTo>
                    <a:lnTo>
                      <a:pt x="6217" y="15896"/>
                    </a:lnTo>
                    <a:close/>
                  </a:path>
                </a:pathLst>
              </a:custGeom>
              <a:grpFill/>
              <a:ln w="5978" cap="flat">
                <a:noFill/>
                <a:prstDash val="solid"/>
                <a:miter/>
              </a:ln>
            </p:spPr>
            <p:txBody>
              <a:bodyPr rtlCol="0" anchor="ctr"/>
              <a:lstStyle/>
              <a:p>
                <a:endParaRPr lang="en-GB"/>
              </a:p>
            </p:txBody>
          </p:sp>
          <p:sp>
            <p:nvSpPr>
              <p:cNvPr id="3252" name="Vrije vorm: vorm 3251">
                <a:extLst>
                  <a:ext uri="{FF2B5EF4-FFF2-40B4-BE49-F238E27FC236}">
                    <a16:creationId xmlns:a16="http://schemas.microsoft.com/office/drawing/2014/main" id="{EE20D876-25D0-47B9-B037-1FE39C88A42B}"/>
                  </a:ext>
                </a:extLst>
              </p:cNvPr>
              <p:cNvSpPr/>
              <p:nvPr/>
            </p:nvSpPr>
            <p:spPr>
              <a:xfrm>
                <a:off x="5230206" y="1473267"/>
                <a:ext cx="18329" cy="18430"/>
              </a:xfrm>
              <a:custGeom>
                <a:avLst/>
                <a:gdLst>
                  <a:gd name="connsiteX0" fmla="*/ 17597 w 18329"/>
                  <a:gd name="connsiteY0" fmla="*/ 5627 h 18430"/>
                  <a:gd name="connsiteX1" fmla="*/ 12753 w 18329"/>
                  <a:gd name="connsiteY1" fmla="*/ 17708 h 18430"/>
                  <a:gd name="connsiteX2" fmla="*/ 732 w 18329"/>
                  <a:gd name="connsiteY2" fmla="*/ 12803 h 18430"/>
                  <a:gd name="connsiteX3" fmla="*/ 5576 w 18329"/>
                  <a:gd name="connsiteY3" fmla="*/ 722 h 18430"/>
                  <a:gd name="connsiteX4" fmla="*/ 17597 w 18329"/>
                  <a:gd name="connsiteY4" fmla="*/ 562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0">
                    <a:moveTo>
                      <a:pt x="17597" y="5627"/>
                    </a:moveTo>
                    <a:cubicBezTo>
                      <a:pt x="19571" y="10292"/>
                      <a:pt x="17418" y="15734"/>
                      <a:pt x="12753" y="17708"/>
                    </a:cubicBezTo>
                    <a:cubicBezTo>
                      <a:pt x="8088" y="19681"/>
                      <a:pt x="2705" y="17468"/>
                      <a:pt x="732" y="12803"/>
                    </a:cubicBezTo>
                    <a:cubicBezTo>
                      <a:pt x="-1242" y="8138"/>
                      <a:pt x="911" y="2696"/>
                      <a:pt x="5576" y="722"/>
                    </a:cubicBezTo>
                    <a:cubicBezTo>
                      <a:pt x="10241" y="-1251"/>
                      <a:pt x="15624" y="962"/>
                      <a:pt x="17597" y="5627"/>
                    </a:cubicBezTo>
                    <a:close/>
                  </a:path>
                </a:pathLst>
              </a:custGeom>
              <a:grpFill/>
              <a:ln w="5978" cap="flat">
                <a:noFill/>
                <a:prstDash val="solid"/>
                <a:miter/>
              </a:ln>
            </p:spPr>
            <p:txBody>
              <a:bodyPr rtlCol="0" anchor="ctr"/>
              <a:lstStyle/>
              <a:p>
                <a:endParaRPr lang="en-GB"/>
              </a:p>
            </p:txBody>
          </p:sp>
          <p:sp>
            <p:nvSpPr>
              <p:cNvPr id="3253" name="Vrije vorm: vorm 3252">
                <a:extLst>
                  <a:ext uri="{FF2B5EF4-FFF2-40B4-BE49-F238E27FC236}">
                    <a16:creationId xmlns:a16="http://schemas.microsoft.com/office/drawing/2014/main" id="{B938E22F-4C1C-48D4-9429-D484765FE7F9}"/>
                  </a:ext>
                </a:extLst>
              </p:cNvPr>
              <p:cNvSpPr/>
              <p:nvPr/>
            </p:nvSpPr>
            <p:spPr>
              <a:xfrm>
                <a:off x="5224345" y="1459391"/>
                <a:ext cx="18329" cy="18438"/>
              </a:xfrm>
              <a:custGeom>
                <a:avLst/>
                <a:gdLst>
                  <a:gd name="connsiteX0" fmla="*/ 17597 w 18329"/>
                  <a:gd name="connsiteY0" fmla="*/ 5627 h 18438"/>
                  <a:gd name="connsiteX1" fmla="*/ 5576 w 18329"/>
                  <a:gd name="connsiteY1" fmla="*/ 722 h 18438"/>
                  <a:gd name="connsiteX2" fmla="*/ 732 w 18329"/>
                  <a:gd name="connsiteY2" fmla="*/ 12803 h 18438"/>
                  <a:gd name="connsiteX3" fmla="*/ 12753 w 18329"/>
                  <a:gd name="connsiteY3" fmla="*/ 17708 h 18438"/>
                  <a:gd name="connsiteX4" fmla="*/ 17597 w 18329"/>
                  <a:gd name="connsiteY4" fmla="*/ 5627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8">
                    <a:moveTo>
                      <a:pt x="17597" y="5627"/>
                    </a:moveTo>
                    <a:cubicBezTo>
                      <a:pt x="15624" y="962"/>
                      <a:pt x="10241" y="-1251"/>
                      <a:pt x="5576" y="722"/>
                    </a:cubicBezTo>
                    <a:cubicBezTo>
                      <a:pt x="911" y="2696"/>
                      <a:pt x="-1242" y="8079"/>
                      <a:pt x="732" y="12803"/>
                    </a:cubicBezTo>
                    <a:cubicBezTo>
                      <a:pt x="2706" y="17528"/>
                      <a:pt x="8088" y="19681"/>
                      <a:pt x="12753" y="17708"/>
                    </a:cubicBezTo>
                    <a:cubicBezTo>
                      <a:pt x="17418" y="15734"/>
                      <a:pt x="19571" y="10292"/>
                      <a:pt x="17597" y="5627"/>
                    </a:cubicBezTo>
                    <a:close/>
                  </a:path>
                </a:pathLst>
              </a:custGeom>
              <a:grpFill/>
              <a:ln w="5978" cap="flat">
                <a:noFill/>
                <a:prstDash val="solid"/>
                <a:miter/>
              </a:ln>
            </p:spPr>
            <p:txBody>
              <a:bodyPr rtlCol="0" anchor="ctr"/>
              <a:lstStyle/>
              <a:p>
                <a:endParaRPr lang="en-GB"/>
              </a:p>
            </p:txBody>
          </p:sp>
        </p:grpSp>
        <p:grpSp>
          <p:nvGrpSpPr>
            <p:cNvPr id="714" name="Graphic 3">
              <a:extLst>
                <a:ext uri="{FF2B5EF4-FFF2-40B4-BE49-F238E27FC236}">
                  <a16:creationId xmlns:a16="http://schemas.microsoft.com/office/drawing/2014/main" id="{5A306FC1-97B1-4357-A579-8E366A1E1387}"/>
                </a:ext>
              </a:extLst>
            </p:cNvPr>
            <p:cNvGrpSpPr/>
            <p:nvPr/>
          </p:nvGrpSpPr>
          <p:grpSpPr>
            <a:xfrm>
              <a:off x="6479645" y="5039508"/>
              <a:ext cx="164846" cy="739648"/>
              <a:chOff x="6479645" y="5039508"/>
              <a:chExt cx="164846" cy="739648"/>
            </a:xfrm>
            <a:grpFill/>
          </p:grpSpPr>
          <p:sp>
            <p:nvSpPr>
              <p:cNvPr id="3248" name="Vrije vorm: vorm 3247">
                <a:extLst>
                  <a:ext uri="{FF2B5EF4-FFF2-40B4-BE49-F238E27FC236}">
                    <a16:creationId xmlns:a16="http://schemas.microsoft.com/office/drawing/2014/main" id="{ACC74E89-AB57-44A3-9563-F2300E0430A5}"/>
                  </a:ext>
                </a:extLst>
              </p:cNvPr>
              <p:cNvSpPr/>
              <p:nvPr/>
            </p:nvSpPr>
            <p:spPr>
              <a:xfrm>
                <a:off x="6487249" y="5047948"/>
                <a:ext cx="149637" cy="722710"/>
              </a:xfrm>
              <a:custGeom>
                <a:avLst/>
                <a:gdLst>
                  <a:gd name="connsiteX0" fmla="*/ 2990 w 149637"/>
                  <a:gd name="connsiteY0" fmla="*/ 0 h 722710"/>
                  <a:gd name="connsiteX1" fmla="*/ 149638 w 149637"/>
                  <a:gd name="connsiteY1" fmla="*/ 722112 h 722710"/>
                  <a:gd name="connsiteX2" fmla="*/ 146647 w 149637"/>
                  <a:gd name="connsiteY2" fmla="*/ 722710 h 722710"/>
                  <a:gd name="connsiteX3" fmla="*/ 0 w 149637"/>
                  <a:gd name="connsiteY3" fmla="*/ 598 h 722710"/>
                </a:gdLst>
                <a:ahLst/>
                <a:cxnLst>
                  <a:cxn ang="0">
                    <a:pos x="connsiteX0" y="connsiteY0"/>
                  </a:cxn>
                  <a:cxn ang="0">
                    <a:pos x="connsiteX1" y="connsiteY1"/>
                  </a:cxn>
                  <a:cxn ang="0">
                    <a:pos x="connsiteX2" y="connsiteY2"/>
                  </a:cxn>
                  <a:cxn ang="0">
                    <a:pos x="connsiteX3" y="connsiteY3"/>
                  </a:cxn>
                </a:cxnLst>
                <a:rect l="l" t="t" r="r" b="b"/>
                <a:pathLst>
                  <a:path w="149637" h="722710">
                    <a:moveTo>
                      <a:pt x="2990" y="0"/>
                    </a:moveTo>
                    <a:lnTo>
                      <a:pt x="149638" y="722112"/>
                    </a:lnTo>
                    <a:lnTo>
                      <a:pt x="146647" y="722710"/>
                    </a:lnTo>
                    <a:lnTo>
                      <a:pt x="0" y="598"/>
                    </a:lnTo>
                    <a:close/>
                  </a:path>
                </a:pathLst>
              </a:custGeom>
              <a:grpFill/>
              <a:ln w="5978" cap="flat">
                <a:noFill/>
                <a:prstDash val="solid"/>
                <a:miter/>
              </a:ln>
            </p:spPr>
            <p:txBody>
              <a:bodyPr rtlCol="0" anchor="ctr"/>
              <a:lstStyle/>
              <a:p>
                <a:endParaRPr lang="en-GB"/>
              </a:p>
            </p:txBody>
          </p:sp>
          <p:sp>
            <p:nvSpPr>
              <p:cNvPr id="3249" name="Vrije vorm: vorm 3248">
                <a:extLst>
                  <a:ext uri="{FF2B5EF4-FFF2-40B4-BE49-F238E27FC236}">
                    <a16:creationId xmlns:a16="http://schemas.microsoft.com/office/drawing/2014/main" id="{4A9DF3A2-E89F-485B-9F9F-AD70B598D53E}"/>
                  </a:ext>
                </a:extLst>
              </p:cNvPr>
              <p:cNvSpPr/>
              <p:nvPr/>
            </p:nvSpPr>
            <p:spPr>
              <a:xfrm>
                <a:off x="6479645" y="5039508"/>
                <a:ext cx="18316" cy="18416"/>
              </a:xfrm>
              <a:custGeom>
                <a:avLst/>
                <a:gdLst>
                  <a:gd name="connsiteX0" fmla="*/ 187 w 18316"/>
                  <a:gd name="connsiteY0" fmla="*/ 11012 h 18416"/>
                  <a:gd name="connsiteX1" fmla="*/ 7304 w 18316"/>
                  <a:gd name="connsiteY1" fmla="*/ 187 h 18416"/>
                  <a:gd name="connsiteX2" fmla="*/ 18129 w 18316"/>
                  <a:gd name="connsiteY2" fmla="*/ 7423 h 18416"/>
                  <a:gd name="connsiteX3" fmla="*/ 11012 w 18316"/>
                  <a:gd name="connsiteY3" fmla="*/ 18249 h 18416"/>
                  <a:gd name="connsiteX4" fmla="*/ 187 w 18316"/>
                  <a:gd name="connsiteY4" fmla="*/ 1101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16">
                    <a:moveTo>
                      <a:pt x="187" y="11012"/>
                    </a:moveTo>
                    <a:cubicBezTo>
                      <a:pt x="-829" y="6048"/>
                      <a:pt x="2400" y="1144"/>
                      <a:pt x="7304" y="187"/>
                    </a:cubicBezTo>
                    <a:cubicBezTo>
                      <a:pt x="12268" y="-830"/>
                      <a:pt x="17113" y="2400"/>
                      <a:pt x="18129" y="7423"/>
                    </a:cubicBezTo>
                    <a:cubicBezTo>
                      <a:pt x="19146" y="12388"/>
                      <a:pt x="15917" y="17292"/>
                      <a:pt x="11012" y="18249"/>
                    </a:cubicBezTo>
                    <a:cubicBezTo>
                      <a:pt x="6048" y="19206"/>
                      <a:pt x="1204" y="15976"/>
                      <a:pt x="187" y="11012"/>
                    </a:cubicBezTo>
                    <a:close/>
                  </a:path>
                </a:pathLst>
              </a:custGeom>
              <a:grpFill/>
              <a:ln w="5978" cap="flat">
                <a:noFill/>
                <a:prstDash val="solid"/>
                <a:miter/>
              </a:ln>
            </p:spPr>
            <p:txBody>
              <a:bodyPr rtlCol="0" anchor="ctr"/>
              <a:lstStyle/>
              <a:p>
                <a:endParaRPr lang="en-GB"/>
              </a:p>
            </p:txBody>
          </p:sp>
          <p:sp>
            <p:nvSpPr>
              <p:cNvPr id="3250" name="Vrije vorm: vorm 3249">
                <a:extLst>
                  <a:ext uri="{FF2B5EF4-FFF2-40B4-BE49-F238E27FC236}">
                    <a16:creationId xmlns:a16="http://schemas.microsoft.com/office/drawing/2014/main" id="{5CC92718-AAA3-413D-8838-5AA89861093C}"/>
                  </a:ext>
                </a:extLst>
              </p:cNvPr>
              <p:cNvSpPr/>
              <p:nvPr/>
            </p:nvSpPr>
            <p:spPr>
              <a:xfrm>
                <a:off x="6626171" y="5760725"/>
                <a:ext cx="18321" cy="18431"/>
              </a:xfrm>
              <a:custGeom>
                <a:avLst/>
                <a:gdLst>
                  <a:gd name="connsiteX0" fmla="*/ 190 w 18321"/>
                  <a:gd name="connsiteY0" fmla="*/ 11010 h 18431"/>
                  <a:gd name="connsiteX1" fmla="*/ 11015 w 18321"/>
                  <a:gd name="connsiteY1" fmla="*/ 18246 h 18431"/>
                  <a:gd name="connsiteX2" fmla="*/ 18132 w 18321"/>
                  <a:gd name="connsiteY2" fmla="*/ 7421 h 18431"/>
                  <a:gd name="connsiteX3" fmla="*/ 7307 w 18321"/>
                  <a:gd name="connsiteY3" fmla="*/ 185 h 18431"/>
                  <a:gd name="connsiteX4" fmla="*/ 190 w 18321"/>
                  <a:gd name="connsiteY4" fmla="*/ 1101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1">
                    <a:moveTo>
                      <a:pt x="190" y="11010"/>
                    </a:moveTo>
                    <a:cubicBezTo>
                      <a:pt x="1206" y="15974"/>
                      <a:pt x="6051" y="19263"/>
                      <a:pt x="11015" y="18246"/>
                    </a:cubicBezTo>
                    <a:cubicBezTo>
                      <a:pt x="15979" y="17230"/>
                      <a:pt x="19148" y="12386"/>
                      <a:pt x="18132" y="7421"/>
                    </a:cubicBezTo>
                    <a:cubicBezTo>
                      <a:pt x="17115" y="2457"/>
                      <a:pt x="12271" y="-832"/>
                      <a:pt x="7307" y="185"/>
                    </a:cubicBezTo>
                    <a:cubicBezTo>
                      <a:pt x="2343" y="1142"/>
                      <a:pt x="-827" y="5986"/>
                      <a:pt x="190" y="11010"/>
                    </a:cubicBezTo>
                    <a:close/>
                  </a:path>
                </a:pathLst>
              </a:custGeom>
              <a:grpFill/>
              <a:ln w="5978" cap="flat">
                <a:noFill/>
                <a:prstDash val="solid"/>
                <a:miter/>
              </a:ln>
            </p:spPr>
            <p:txBody>
              <a:bodyPr rtlCol="0" anchor="ctr"/>
              <a:lstStyle/>
              <a:p>
                <a:endParaRPr lang="en-GB"/>
              </a:p>
            </p:txBody>
          </p:sp>
        </p:grpSp>
        <p:grpSp>
          <p:nvGrpSpPr>
            <p:cNvPr id="715" name="Graphic 3">
              <a:extLst>
                <a:ext uri="{FF2B5EF4-FFF2-40B4-BE49-F238E27FC236}">
                  <a16:creationId xmlns:a16="http://schemas.microsoft.com/office/drawing/2014/main" id="{647589B2-0336-433A-B921-B50774F34631}"/>
                </a:ext>
              </a:extLst>
            </p:cNvPr>
            <p:cNvGrpSpPr/>
            <p:nvPr/>
          </p:nvGrpSpPr>
          <p:grpSpPr>
            <a:xfrm>
              <a:off x="5271691" y="1662801"/>
              <a:ext cx="111372" cy="228162"/>
              <a:chOff x="5271691" y="1662801"/>
              <a:chExt cx="111372" cy="228162"/>
            </a:xfrm>
            <a:grpFill/>
          </p:grpSpPr>
          <p:sp>
            <p:nvSpPr>
              <p:cNvPr id="3245" name="Vrije vorm: vorm 3244">
                <a:extLst>
                  <a:ext uri="{FF2B5EF4-FFF2-40B4-BE49-F238E27FC236}">
                    <a16:creationId xmlns:a16="http://schemas.microsoft.com/office/drawing/2014/main" id="{C149C2C3-3610-4E26-8E42-B8AEE84984C3}"/>
                  </a:ext>
                </a:extLst>
              </p:cNvPr>
              <p:cNvSpPr/>
              <p:nvPr/>
            </p:nvSpPr>
            <p:spPr>
              <a:xfrm>
                <a:off x="5279322" y="1670934"/>
                <a:ext cx="96229" cy="211837"/>
              </a:xfrm>
              <a:custGeom>
                <a:avLst/>
                <a:gdLst>
                  <a:gd name="connsiteX0" fmla="*/ 96230 w 96229"/>
                  <a:gd name="connsiteY0" fmla="*/ 210581 h 211837"/>
                  <a:gd name="connsiteX1" fmla="*/ 93419 w 96229"/>
                  <a:gd name="connsiteY1" fmla="*/ 211837 h 211837"/>
                  <a:gd name="connsiteX2" fmla="*/ 0 w 96229"/>
                  <a:gd name="connsiteY2" fmla="*/ 1256 h 211837"/>
                  <a:gd name="connsiteX3" fmla="*/ 2811 w 96229"/>
                  <a:gd name="connsiteY3" fmla="*/ 0 h 211837"/>
                </a:gdLst>
                <a:ahLst/>
                <a:cxnLst>
                  <a:cxn ang="0">
                    <a:pos x="connsiteX0" y="connsiteY0"/>
                  </a:cxn>
                  <a:cxn ang="0">
                    <a:pos x="connsiteX1" y="connsiteY1"/>
                  </a:cxn>
                  <a:cxn ang="0">
                    <a:pos x="connsiteX2" y="connsiteY2"/>
                  </a:cxn>
                  <a:cxn ang="0">
                    <a:pos x="connsiteX3" y="connsiteY3"/>
                  </a:cxn>
                </a:cxnLst>
                <a:rect l="l" t="t" r="r" b="b"/>
                <a:pathLst>
                  <a:path w="96229" h="211837">
                    <a:moveTo>
                      <a:pt x="96230" y="210581"/>
                    </a:moveTo>
                    <a:lnTo>
                      <a:pt x="93419" y="211837"/>
                    </a:lnTo>
                    <a:lnTo>
                      <a:pt x="0" y="1256"/>
                    </a:lnTo>
                    <a:lnTo>
                      <a:pt x="2811" y="0"/>
                    </a:lnTo>
                    <a:close/>
                  </a:path>
                </a:pathLst>
              </a:custGeom>
              <a:grpFill/>
              <a:ln w="5978" cap="flat">
                <a:noFill/>
                <a:prstDash val="solid"/>
                <a:miter/>
              </a:ln>
            </p:spPr>
            <p:txBody>
              <a:bodyPr rtlCol="0" anchor="ctr"/>
              <a:lstStyle/>
              <a:p>
                <a:endParaRPr lang="en-GB"/>
              </a:p>
            </p:txBody>
          </p:sp>
          <p:sp>
            <p:nvSpPr>
              <p:cNvPr id="3246" name="Vrije vorm: vorm 3245">
                <a:extLst>
                  <a:ext uri="{FF2B5EF4-FFF2-40B4-BE49-F238E27FC236}">
                    <a16:creationId xmlns:a16="http://schemas.microsoft.com/office/drawing/2014/main" id="{C620B848-5028-4B17-9BF7-CAB37787C885}"/>
                  </a:ext>
                </a:extLst>
              </p:cNvPr>
              <p:cNvSpPr/>
              <p:nvPr/>
            </p:nvSpPr>
            <p:spPr>
              <a:xfrm>
                <a:off x="5271691" y="1662801"/>
                <a:ext cx="18312" cy="18418"/>
              </a:xfrm>
              <a:custGeom>
                <a:avLst/>
                <a:gdLst>
                  <a:gd name="connsiteX0" fmla="*/ 813 w 18312"/>
                  <a:gd name="connsiteY0" fmla="*/ 12917 h 18418"/>
                  <a:gd name="connsiteX1" fmla="*/ 5419 w 18312"/>
                  <a:gd name="connsiteY1" fmla="*/ 777 h 18418"/>
                  <a:gd name="connsiteX2" fmla="*/ 17499 w 18312"/>
                  <a:gd name="connsiteY2" fmla="*/ 5501 h 18418"/>
                  <a:gd name="connsiteX3" fmla="*/ 12894 w 18312"/>
                  <a:gd name="connsiteY3" fmla="*/ 17642 h 18418"/>
                  <a:gd name="connsiteX4" fmla="*/ 813 w 18312"/>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18">
                    <a:moveTo>
                      <a:pt x="813" y="12917"/>
                    </a:moveTo>
                    <a:cubicBezTo>
                      <a:pt x="-1280" y="8252"/>
                      <a:pt x="813" y="2810"/>
                      <a:pt x="5419" y="777"/>
                    </a:cubicBezTo>
                    <a:cubicBezTo>
                      <a:pt x="10023" y="-1257"/>
                      <a:pt x="15466" y="836"/>
                      <a:pt x="17499" y="5501"/>
                    </a:cubicBezTo>
                    <a:cubicBezTo>
                      <a:pt x="19593" y="10166"/>
                      <a:pt x="17499" y="15609"/>
                      <a:pt x="12894" y="17642"/>
                    </a:cubicBezTo>
                    <a:cubicBezTo>
                      <a:pt x="8349" y="19676"/>
                      <a:pt x="2906" y="17582"/>
                      <a:pt x="813" y="12917"/>
                    </a:cubicBezTo>
                    <a:close/>
                  </a:path>
                </a:pathLst>
              </a:custGeom>
              <a:grpFill/>
              <a:ln w="5978" cap="flat">
                <a:noFill/>
                <a:prstDash val="solid"/>
                <a:miter/>
              </a:ln>
            </p:spPr>
            <p:txBody>
              <a:bodyPr rtlCol="0" anchor="ctr"/>
              <a:lstStyle/>
              <a:p>
                <a:endParaRPr lang="en-GB"/>
              </a:p>
            </p:txBody>
          </p:sp>
          <p:sp>
            <p:nvSpPr>
              <p:cNvPr id="3247" name="Vrije vorm: vorm 3246">
                <a:extLst>
                  <a:ext uri="{FF2B5EF4-FFF2-40B4-BE49-F238E27FC236}">
                    <a16:creationId xmlns:a16="http://schemas.microsoft.com/office/drawing/2014/main" id="{37BF78CB-D8A9-4BF9-92B0-A1A982CF0EDC}"/>
                  </a:ext>
                </a:extLst>
              </p:cNvPr>
              <p:cNvSpPr/>
              <p:nvPr/>
            </p:nvSpPr>
            <p:spPr>
              <a:xfrm>
                <a:off x="5364786" y="1872545"/>
                <a:ext cx="18278" cy="18418"/>
              </a:xfrm>
              <a:custGeom>
                <a:avLst/>
                <a:gdLst>
                  <a:gd name="connsiteX0" fmla="*/ 779 w 18278"/>
                  <a:gd name="connsiteY0" fmla="*/ 12917 h 18418"/>
                  <a:gd name="connsiteX1" fmla="*/ 12860 w 18278"/>
                  <a:gd name="connsiteY1" fmla="*/ 17642 h 18418"/>
                  <a:gd name="connsiteX2" fmla="*/ 17465 w 18278"/>
                  <a:gd name="connsiteY2" fmla="*/ 5501 h 18418"/>
                  <a:gd name="connsiteX3" fmla="*/ 5384 w 18278"/>
                  <a:gd name="connsiteY3" fmla="*/ 777 h 18418"/>
                  <a:gd name="connsiteX4" fmla="*/ 779 w 1827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8" h="18418">
                    <a:moveTo>
                      <a:pt x="779" y="12917"/>
                    </a:moveTo>
                    <a:cubicBezTo>
                      <a:pt x="2812" y="17582"/>
                      <a:pt x="8255" y="19676"/>
                      <a:pt x="12860" y="17642"/>
                    </a:cubicBezTo>
                    <a:cubicBezTo>
                      <a:pt x="17465" y="15609"/>
                      <a:pt x="19558" y="10166"/>
                      <a:pt x="17465" y="5501"/>
                    </a:cubicBezTo>
                    <a:cubicBezTo>
                      <a:pt x="15372" y="836"/>
                      <a:pt x="9989" y="-1257"/>
                      <a:pt x="5384" y="777"/>
                    </a:cubicBezTo>
                    <a:cubicBezTo>
                      <a:pt x="839" y="2810"/>
                      <a:pt x="-1255" y="8252"/>
                      <a:pt x="779" y="12917"/>
                    </a:cubicBezTo>
                    <a:close/>
                  </a:path>
                </a:pathLst>
              </a:custGeom>
              <a:grpFill/>
              <a:ln w="5978" cap="flat">
                <a:noFill/>
                <a:prstDash val="solid"/>
                <a:miter/>
              </a:ln>
            </p:spPr>
            <p:txBody>
              <a:bodyPr rtlCol="0" anchor="ctr"/>
              <a:lstStyle/>
              <a:p>
                <a:endParaRPr lang="en-GB"/>
              </a:p>
            </p:txBody>
          </p:sp>
        </p:grpSp>
        <p:grpSp>
          <p:nvGrpSpPr>
            <p:cNvPr id="716" name="Graphic 3">
              <a:extLst>
                <a:ext uri="{FF2B5EF4-FFF2-40B4-BE49-F238E27FC236}">
                  <a16:creationId xmlns:a16="http://schemas.microsoft.com/office/drawing/2014/main" id="{487F07ED-DAD8-498E-9AEB-F08C97B887B8}"/>
                </a:ext>
              </a:extLst>
            </p:cNvPr>
            <p:cNvGrpSpPr/>
            <p:nvPr/>
          </p:nvGrpSpPr>
          <p:grpSpPr>
            <a:xfrm>
              <a:off x="5258455" y="1635539"/>
              <a:ext cx="90118" cy="251885"/>
              <a:chOff x="5258455" y="1635539"/>
              <a:chExt cx="90118" cy="251885"/>
            </a:xfrm>
            <a:grpFill/>
          </p:grpSpPr>
          <p:sp>
            <p:nvSpPr>
              <p:cNvPr id="3242" name="Vrije vorm: vorm 3241">
                <a:extLst>
                  <a:ext uri="{FF2B5EF4-FFF2-40B4-BE49-F238E27FC236}">
                    <a16:creationId xmlns:a16="http://schemas.microsoft.com/office/drawing/2014/main" id="{4E335375-DE6B-4DF6-B814-4FAD69EA2C81}"/>
                  </a:ext>
                </a:extLst>
              </p:cNvPr>
              <p:cNvSpPr/>
              <p:nvPr/>
            </p:nvSpPr>
            <p:spPr>
              <a:xfrm>
                <a:off x="5266045" y="1643841"/>
                <a:ext cx="74938" cy="235221"/>
              </a:xfrm>
              <a:custGeom>
                <a:avLst/>
                <a:gdLst>
                  <a:gd name="connsiteX0" fmla="*/ 2871 w 74938"/>
                  <a:gd name="connsiteY0" fmla="*/ 0 h 235221"/>
                  <a:gd name="connsiteX1" fmla="*/ 74939 w 74938"/>
                  <a:gd name="connsiteY1" fmla="*/ 234384 h 235221"/>
                  <a:gd name="connsiteX2" fmla="*/ 72008 w 74938"/>
                  <a:gd name="connsiteY2" fmla="*/ 235222 h 235221"/>
                  <a:gd name="connsiteX3" fmla="*/ 0 w 74938"/>
                  <a:gd name="connsiteY3" fmla="*/ 897 h 235221"/>
                </a:gdLst>
                <a:ahLst/>
                <a:cxnLst>
                  <a:cxn ang="0">
                    <a:pos x="connsiteX0" y="connsiteY0"/>
                  </a:cxn>
                  <a:cxn ang="0">
                    <a:pos x="connsiteX1" y="connsiteY1"/>
                  </a:cxn>
                  <a:cxn ang="0">
                    <a:pos x="connsiteX2" y="connsiteY2"/>
                  </a:cxn>
                  <a:cxn ang="0">
                    <a:pos x="connsiteX3" y="connsiteY3"/>
                  </a:cxn>
                </a:cxnLst>
                <a:rect l="l" t="t" r="r" b="b"/>
                <a:pathLst>
                  <a:path w="74938" h="235221">
                    <a:moveTo>
                      <a:pt x="2871" y="0"/>
                    </a:moveTo>
                    <a:lnTo>
                      <a:pt x="74939" y="234384"/>
                    </a:lnTo>
                    <a:lnTo>
                      <a:pt x="72008" y="235222"/>
                    </a:lnTo>
                    <a:lnTo>
                      <a:pt x="0" y="897"/>
                    </a:lnTo>
                    <a:close/>
                  </a:path>
                </a:pathLst>
              </a:custGeom>
              <a:grpFill/>
              <a:ln w="5978" cap="flat">
                <a:noFill/>
                <a:prstDash val="solid"/>
                <a:miter/>
              </a:ln>
            </p:spPr>
            <p:txBody>
              <a:bodyPr rtlCol="0" anchor="ctr"/>
              <a:lstStyle/>
              <a:p>
                <a:endParaRPr lang="en-GB"/>
              </a:p>
            </p:txBody>
          </p:sp>
          <p:sp>
            <p:nvSpPr>
              <p:cNvPr id="3243" name="Vrije vorm: vorm 3242">
                <a:extLst>
                  <a:ext uri="{FF2B5EF4-FFF2-40B4-BE49-F238E27FC236}">
                    <a16:creationId xmlns:a16="http://schemas.microsoft.com/office/drawing/2014/main" id="{44EA8CA5-9956-4F8B-B3DE-505F012D718E}"/>
                  </a:ext>
                </a:extLst>
              </p:cNvPr>
              <p:cNvSpPr/>
              <p:nvPr/>
            </p:nvSpPr>
            <p:spPr>
              <a:xfrm>
                <a:off x="5330224" y="1868999"/>
                <a:ext cx="18349" cy="18425"/>
              </a:xfrm>
              <a:custGeom>
                <a:avLst/>
                <a:gdLst>
                  <a:gd name="connsiteX0" fmla="*/ 17937 w 18349"/>
                  <a:gd name="connsiteY0" fmla="*/ 6535 h 18425"/>
                  <a:gd name="connsiteX1" fmla="*/ 11896 w 18349"/>
                  <a:gd name="connsiteY1" fmla="*/ 18018 h 18425"/>
                  <a:gd name="connsiteX2" fmla="*/ 413 w 18349"/>
                  <a:gd name="connsiteY2" fmla="*/ 11918 h 18425"/>
                  <a:gd name="connsiteX3" fmla="*/ 6453 w 18349"/>
                  <a:gd name="connsiteY3" fmla="*/ 435 h 18425"/>
                  <a:gd name="connsiteX4" fmla="*/ 17937 w 18349"/>
                  <a:gd name="connsiteY4" fmla="*/ 653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5">
                    <a:moveTo>
                      <a:pt x="17937" y="6535"/>
                    </a:moveTo>
                    <a:cubicBezTo>
                      <a:pt x="19432" y="11379"/>
                      <a:pt x="16741" y="16523"/>
                      <a:pt x="11896" y="18018"/>
                    </a:cubicBezTo>
                    <a:cubicBezTo>
                      <a:pt x="7052" y="19513"/>
                      <a:pt x="1908" y="16762"/>
                      <a:pt x="413" y="11918"/>
                    </a:cubicBezTo>
                    <a:cubicBezTo>
                      <a:pt x="-1082" y="7073"/>
                      <a:pt x="1609" y="1930"/>
                      <a:pt x="6453" y="435"/>
                    </a:cubicBezTo>
                    <a:cubicBezTo>
                      <a:pt x="11298" y="-1120"/>
                      <a:pt x="16442" y="1631"/>
                      <a:pt x="17937" y="6535"/>
                    </a:cubicBezTo>
                    <a:close/>
                  </a:path>
                </a:pathLst>
              </a:custGeom>
              <a:grpFill/>
              <a:ln w="5978" cap="flat">
                <a:noFill/>
                <a:prstDash val="solid"/>
                <a:miter/>
              </a:ln>
            </p:spPr>
            <p:txBody>
              <a:bodyPr rtlCol="0" anchor="ctr"/>
              <a:lstStyle/>
              <a:p>
                <a:endParaRPr lang="en-GB"/>
              </a:p>
            </p:txBody>
          </p:sp>
          <p:sp>
            <p:nvSpPr>
              <p:cNvPr id="3244" name="Vrije vorm: vorm 3243">
                <a:extLst>
                  <a:ext uri="{FF2B5EF4-FFF2-40B4-BE49-F238E27FC236}">
                    <a16:creationId xmlns:a16="http://schemas.microsoft.com/office/drawing/2014/main" id="{F31D8F93-A415-44A3-B61A-9EC08FA87557}"/>
                  </a:ext>
                </a:extLst>
              </p:cNvPr>
              <p:cNvSpPr/>
              <p:nvPr/>
            </p:nvSpPr>
            <p:spPr>
              <a:xfrm>
                <a:off x="5258455" y="1635539"/>
                <a:ext cx="18349" cy="18398"/>
              </a:xfrm>
              <a:custGeom>
                <a:avLst/>
                <a:gdLst>
                  <a:gd name="connsiteX0" fmla="*/ 17937 w 18349"/>
                  <a:gd name="connsiteY0" fmla="*/ 6508 h 18398"/>
                  <a:gd name="connsiteX1" fmla="*/ 6453 w 18349"/>
                  <a:gd name="connsiteY1" fmla="*/ 407 h 18398"/>
                  <a:gd name="connsiteX2" fmla="*/ 413 w 18349"/>
                  <a:gd name="connsiteY2" fmla="*/ 11890 h 18398"/>
                  <a:gd name="connsiteX3" fmla="*/ 11896 w 18349"/>
                  <a:gd name="connsiteY3" fmla="*/ 17991 h 18398"/>
                  <a:gd name="connsiteX4" fmla="*/ 17937 w 18349"/>
                  <a:gd name="connsiteY4" fmla="*/ 6508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98">
                    <a:moveTo>
                      <a:pt x="17937" y="6508"/>
                    </a:moveTo>
                    <a:cubicBezTo>
                      <a:pt x="16442" y="1663"/>
                      <a:pt x="11298" y="-1088"/>
                      <a:pt x="6453" y="407"/>
                    </a:cubicBezTo>
                    <a:cubicBezTo>
                      <a:pt x="1609" y="1903"/>
                      <a:pt x="-1082" y="7046"/>
                      <a:pt x="413" y="11890"/>
                    </a:cubicBezTo>
                    <a:cubicBezTo>
                      <a:pt x="1908" y="16735"/>
                      <a:pt x="7052" y="19486"/>
                      <a:pt x="11896" y="17991"/>
                    </a:cubicBezTo>
                    <a:cubicBezTo>
                      <a:pt x="16741" y="16496"/>
                      <a:pt x="19432" y="11412"/>
                      <a:pt x="17937" y="6508"/>
                    </a:cubicBezTo>
                    <a:close/>
                  </a:path>
                </a:pathLst>
              </a:custGeom>
              <a:grpFill/>
              <a:ln w="5978" cap="flat">
                <a:noFill/>
                <a:prstDash val="solid"/>
                <a:miter/>
              </a:ln>
            </p:spPr>
            <p:txBody>
              <a:bodyPr rtlCol="0" anchor="ctr"/>
              <a:lstStyle/>
              <a:p>
                <a:endParaRPr lang="en-GB"/>
              </a:p>
            </p:txBody>
          </p:sp>
        </p:grpSp>
        <p:grpSp>
          <p:nvGrpSpPr>
            <p:cNvPr id="717" name="Graphic 3">
              <a:extLst>
                <a:ext uri="{FF2B5EF4-FFF2-40B4-BE49-F238E27FC236}">
                  <a16:creationId xmlns:a16="http://schemas.microsoft.com/office/drawing/2014/main" id="{029C1EDD-105C-4C53-AE62-323F72C3DD51}"/>
                </a:ext>
              </a:extLst>
            </p:cNvPr>
            <p:cNvGrpSpPr/>
            <p:nvPr/>
          </p:nvGrpSpPr>
          <p:grpSpPr>
            <a:xfrm>
              <a:off x="6419968" y="5056348"/>
              <a:ext cx="76366" cy="274480"/>
              <a:chOff x="6419968" y="5056348"/>
              <a:chExt cx="76366" cy="274480"/>
            </a:xfrm>
            <a:grpFill/>
          </p:grpSpPr>
          <p:sp>
            <p:nvSpPr>
              <p:cNvPr id="3239" name="Vrije vorm: vorm 3238">
                <a:extLst>
                  <a:ext uri="{FF2B5EF4-FFF2-40B4-BE49-F238E27FC236}">
                    <a16:creationId xmlns:a16="http://schemas.microsoft.com/office/drawing/2014/main" id="{DCBD029D-8432-4E14-AAFB-B8A40BC92BE9}"/>
                  </a:ext>
                </a:extLst>
              </p:cNvPr>
              <p:cNvSpPr/>
              <p:nvPr/>
            </p:nvSpPr>
            <p:spPr>
              <a:xfrm>
                <a:off x="6427218" y="5065005"/>
                <a:ext cx="61249" cy="257591"/>
              </a:xfrm>
              <a:custGeom>
                <a:avLst/>
                <a:gdLst>
                  <a:gd name="connsiteX0" fmla="*/ 0 w 61249"/>
                  <a:gd name="connsiteY0" fmla="*/ 675 h 257591"/>
                  <a:gd name="connsiteX1" fmla="*/ 2975 w 61249"/>
                  <a:gd name="connsiteY1" fmla="*/ 0 h 257591"/>
                  <a:gd name="connsiteX2" fmla="*/ 61250 w 61249"/>
                  <a:gd name="connsiteY2" fmla="*/ 256917 h 257591"/>
                  <a:gd name="connsiteX3" fmla="*/ 58275 w 61249"/>
                  <a:gd name="connsiteY3" fmla="*/ 257592 h 257591"/>
                </a:gdLst>
                <a:ahLst/>
                <a:cxnLst>
                  <a:cxn ang="0">
                    <a:pos x="connsiteX0" y="connsiteY0"/>
                  </a:cxn>
                  <a:cxn ang="0">
                    <a:pos x="connsiteX1" y="connsiteY1"/>
                  </a:cxn>
                  <a:cxn ang="0">
                    <a:pos x="connsiteX2" y="connsiteY2"/>
                  </a:cxn>
                  <a:cxn ang="0">
                    <a:pos x="connsiteX3" y="connsiteY3"/>
                  </a:cxn>
                </a:cxnLst>
                <a:rect l="l" t="t" r="r" b="b"/>
                <a:pathLst>
                  <a:path w="61249" h="257591">
                    <a:moveTo>
                      <a:pt x="0" y="675"/>
                    </a:moveTo>
                    <a:lnTo>
                      <a:pt x="2975" y="0"/>
                    </a:lnTo>
                    <a:lnTo>
                      <a:pt x="61250" y="256917"/>
                    </a:lnTo>
                    <a:lnTo>
                      <a:pt x="58275" y="257592"/>
                    </a:lnTo>
                    <a:close/>
                  </a:path>
                </a:pathLst>
              </a:custGeom>
              <a:grpFill/>
              <a:ln w="5978" cap="flat">
                <a:noFill/>
                <a:prstDash val="solid"/>
                <a:miter/>
              </a:ln>
            </p:spPr>
            <p:txBody>
              <a:bodyPr rtlCol="0" anchor="ctr"/>
              <a:lstStyle/>
              <a:p>
                <a:endParaRPr lang="en-GB"/>
              </a:p>
            </p:txBody>
          </p:sp>
          <p:sp>
            <p:nvSpPr>
              <p:cNvPr id="3240" name="Vrije vorm: vorm 3239">
                <a:extLst>
                  <a:ext uri="{FF2B5EF4-FFF2-40B4-BE49-F238E27FC236}">
                    <a16:creationId xmlns:a16="http://schemas.microsoft.com/office/drawing/2014/main" id="{ACFC6F49-6F91-41CB-A62F-C970F6A5972C}"/>
                  </a:ext>
                </a:extLst>
              </p:cNvPr>
              <p:cNvSpPr/>
              <p:nvPr/>
            </p:nvSpPr>
            <p:spPr>
              <a:xfrm>
                <a:off x="6477983" y="5312382"/>
                <a:ext cx="18350" cy="18445"/>
              </a:xfrm>
              <a:custGeom>
                <a:avLst/>
                <a:gdLst>
                  <a:gd name="connsiteX0" fmla="*/ 18117 w 18350"/>
                  <a:gd name="connsiteY0" fmla="*/ 7210 h 18445"/>
                  <a:gd name="connsiteX1" fmla="*/ 11239 w 18350"/>
                  <a:gd name="connsiteY1" fmla="*/ 18215 h 18445"/>
                  <a:gd name="connsiteX2" fmla="*/ 234 w 18350"/>
                  <a:gd name="connsiteY2" fmla="*/ 11217 h 18445"/>
                  <a:gd name="connsiteX3" fmla="*/ 7112 w 18350"/>
                  <a:gd name="connsiteY3" fmla="*/ 213 h 18445"/>
                  <a:gd name="connsiteX4" fmla="*/ 18117 w 18350"/>
                  <a:gd name="connsiteY4" fmla="*/ 721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45">
                    <a:moveTo>
                      <a:pt x="18117" y="7210"/>
                    </a:moveTo>
                    <a:cubicBezTo>
                      <a:pt x="19253" y="12174"/>
                      <a:pt x="16143" y="17079"/>
                      <a:pt x="11239" y="18215"/>
                    </a:cubicBezTo>
                    <a:cubicBezTo>
                      <a:pt x="6275" y="19351"/>
                      <a:pt x="1371" y="16181"/>
                      <a:pt x="234" y="11217"/>
                    </a:cubicBezTo>
                    <a:cubicBezTo>
                      <a:pt x="-902" y="6253"/>
                      <a:pt x="2208" y="1349"/>
                      <a:pt x="7112" y="213"/>
                    </a:cubicBezTo>
                    <a:cubicBezTo>
                      <a:pt x="12076" y="-864"/>
                      <a:pt x="17040" y="2246"/>
                      <a:pt x="18117" y="7210"/>
                    </a:cubicBezTo>
                    <a:close/>
                  </a:path>
                </a:pathLst>
              </a:custGeom>
              <a:grpFill/>
              <a:ln w="5978" cap="flat">
                <a:noFill/>
                <a:prstDash val="solid"/>
                <a:miter/>
              </a:ln>
            </p:spPr>
            <p:txBody>
              <a:bodyPr rtlCol="0" anchor="ctr"/>
              <a:lstStyle/>
              <a:p>
                <a:endParaRPr lang="en-GB"/>
              </a:p>
            </p:txBody>
          </p:sp>
          <p:sp>
            <p:nvSpPr>
              <p:cNvPr id="3241" name="Vrije vorm: vorm 3240">
                <a:extLst>
                  <a:ext uri="{FF2B5EF4-FFF2-40B4-BE49-F238E27FC236}">
                    <a16:creationId xmlns:a16="http://schemas.microsoft.com/office/drawing/2014/main" id="{3E1683AB-3799-4BF3-A625-D2B6D6954A1D}"/>
                  </a:ext>
                </a:extLst>
              </p:cNvPr>
              <p:cNvSpPr/>
              <p:nvPr/>
            </p:nvSpPr>
            <p:spPr>
              <a:xfrm>
                <a:off x="6419968" y="5056348"/>
                <a:ext cx="18294" cy="18427"/>
              </a:xfrm>
              <a:custGeom>
                <a:avLst/>
                <a:gdLst>
                  <a:gd name="connsiteX0" fmla="*/ 18060 w 18294"/>
                  <a:gd name="connsiteY0" fmla="*/ 7210 h 18427"/>
                  <a:gd name="connsiteX1" fmla="*/ 7115 w 18294"/>
                  <a:gd name="connsiteY1" fmla="*/ 213 h 18427"/>
                  <a:gd name="connsiteX2" fmla="*/ 237 w 18294"/>
                  <a:gd name="connsiteY2" fmla="*/ 11217 h 18427"/>
                  <a:gd name="connsiteX3" fmla="*/ 11182 w 18294"/>
                  <a:gd name="connsiteY3" fmla="*/ 18215 h 18427"/>
                  <a:gd name="connsiteX4" fmla="*/ 18060 w 18294"/>
                  <a:gd name="connsiteY4" fmla="*/ 7210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7">
                    <a:moveTo>
                      <a:pt x="18060" y="7210"/>
                    </a:moveTo>
                    <a:cubicBezTo>
                      <a:pt x="16923" y="2246"/>
                      <a:pt x="12019" y="-864"/>
                      <a:pt x="7115" y="213"/>
                    </a:cubicBezTo>
                    <a:cubicBezTo>
                      <a:pt x="2151" y="1349"/>
                      <a:pt x="-899" y="6253"/>
                      <a:pt x="237" y="11217"/>
                    </a:cubicBezTo>
                    <a:cubicBezTo>
                      <a:pt x="1373" y="16181"/>
                      <a:pt x="6278" y="19291"/>
                      <a:pt x="11182" y="18215"/>
                    </a:cubicBezTo>
                    <a:cubicBezTo>
                      <a:pt x="16086" y="17079"/>
                      <a:pt x="19196" y="12174"/>
                      <a:pt x="18060" y="7210"/>
                    </a:cubicBezTo>
                    <a:close/>
                  </a:path>
                </a:pathLst>
              </a:custGeom>
              <a:grpFill/>
              <a:ln w="5978" cap="flat">
                <a:noFill/>
                <a:prstDash val="solid"/>
                <a:miter/>
              </a:ln>
            </p:spPr>
            <p:txBody>
              <a:bodyPr rtlCol="0" anchor="ctr"/>
              <a:lstStyle/>
              <a:p>
                <a:endParaRPr lang="en-GB"/>
              </a:p>
            </p:txBody>
          </p:sp>
        </p:grpSp>
        <p:grpSp>
          <p:nvGrpSpPr>
            <p:cNvPr id="718" name="Graphic 3">
              <a:extLst>
                <a:ext uri="{FF2B5EF4-FFF2-40B4-BE49-F238E27FC236}">
                  <a16:creationId xmlns:a16="http://schemas.microsoft.com/office/drawing/2014/main" id="{9F05B92A-C132-4224-AB8A-7A16F13A9F06}"/>
                </a:ext>
              </a:extLst>
            </p:cNvPr>
            <p:cNvGrpSpPr/>
            <p:nvPr/>
          </p:nvGrpSpPr>
          <p:grpSpPr>
            <a:xfrm>
              <a:off x="6502655" y="5261137"/>
              <a:ext cx="104711" cy="368995"/>
              <a:chOff x="6502655" y="5261137"/>
              <a:chExt cx="104711" cy="368995"/>
            </a:xfrm>
            <a:grpFill/>
          </p:grpSpPr>
          <p:sp>
            <p:nvSpPr>
              <p:cNvPr id="3236" name="Vrije vorm: vorm 3235">
                <a:extLst>
                  <a:ext uri="{FF2B5EF4-FFF2-40B4-BE49-F238E27FC236}">
                    <a16:creationId xmlns:a16="http://schemas.microsoft.com/office/drawing/2014/main" id="{D5F6C728-1DB0-4CC1-B24E-007682D12AC1}"/>
                  </a:ext>
                </a:extLst>
              </p:cNvPr>
              <p:cNvSpPr/>
              <p:nvPr/>
            </p:nvSpPr>
            <p:spPr>
              <a:xfrm>
                <a:off x="6510648" y="5269581"/>
                <a:ext cx="89591" cy="352244"/>
              </a:xfrm>
              <a:custGeom>
                <a:avLst/>
                <a:gdLst>
                  <a:gd name="connsiteX0" fmla="*/ 0 w 89591"/>
                  <a:gd name="connsiteY0" fmla="*/ 730 h 352244"/>
                  <a:gd name="connsiteX1" fmla="*/ 2962 w 89591"/>
                  <a:gd name="connsiteY1" fmla="*/ 0 h 352244"/>
                  <a:gd name="connsiteX2" fmla="*/ 89592 w 89591"/>
                  <a:gd name="connsiteY2" fmla="*/ 351515 h 352244"/>
                  <a:gd name="connsiteX3" fmla="*/ 86630 w 89591"/>
                  <a:gd name="connsiteY3" fmla="*/ 352245 h 352244"/>
                </a:gdLst>
                <a:ahLst/>
                <a:cxnLst>
                  <a:cxn ang="0">
                    <a:pos x="connsiteX0" y="connsiteY0"/>
                  </a:cxn>
                  <a:cxn ang="0">
                    <a:pos x="connsiteX1" y="connsiteY1"/>
                  </a:cxn>
                  <a:cxn ang="0">
                    <a:pos x="connsiteX2" y="connsiteY2"/>
                  </a:cxn>
                  <a:cxn ang="0">
                    <a:pos x="connsiteX3" y="connsiteY3"/>
                  </a:cxn>
                </a:cxnLst>
                <a:rect l="l" t="t" r="r" b="b"/>
                <a:pathLst>
                  <a:path w="89591" h="352244">
                    <a:moveTo>
                      <a:pt x="0" y="730"/>
                    </a:moveTo>
                    <a:lnTo>
                      <a:pt x="2962" y="0"/>
                    </a:lnTo>
                    <a:lnTo>
                      <a:pt x="89592" y="351515"/>
                    </a:lnTo>
                    <a:lnTo>
                      <a:pt x="86630" y="352245"/>
                    </a:lnTo>
                    <a:close/>
                  </a:path>
                </a:pathLst>
              </a:custGeom>
              <a:grpFill/>
              <a:ln w="5978" cap="flat">
                <a:noFill/>
                <a:prstDash val="solid"/>
                <a:miter/>
              </a:ln>
            </p:spPr>
            <p:txBody>
              <a:bodyPr rtlCol="0" anchor="ctr"/>
              <a:lstStyle/>
              <a:p>
                <a:endParaRPr lang="en-GB"/>
              </a:p>
            </p:txBody>
          </p:sp>
          <p:sp>
            <p:nvSpPr>
              <p:cNvPr id="3237" name="Vrije vorm: vorm 3236">
                <a:extLst>
                  <a:ext uri="{FF2B5EF4-FFF2-40B4-BE49-F238E27FC236}">
                    <a16:creationId xmlns:a16="http://schemas.microsoft.com/office/drawing/2014/main" id="{F76EEA0C-7CE8-4C37-AC6F-B5EB1E53BA0B}"/>
                  </a:ext>
                </a:extLst>
              </p:cNvPr>
              <p:cNvSpPr/>
              <p:nvPr/>
            </p:nvSpPr>
            <p:spPr>
              <a:xfrm>
                <a:off x="6589016" y="5611727"/>
                <a:ext cx="18349" cy="18405"/>
              </a:xfrm>
              <a:custGeom>
                <a:avLst/>
                <a:gdLst>
                  <a:gd name="connsiteX0" fmla="*/ 18086 w 18349"/>
                  <a:gd name="connsiteY0" fmla="*/ 7021 h 18405"/>
                  <a:gd name="connsiteX1" fmla="*/ 11387 w 18349"/>
                  <a:gd name="connsiteY1" fmla="*/ 18145 h 18405"/>
                  <a:gd name="connsiteX2" fmla="*/ 263 w 18349"/>
                  <a:gd name="connsiteY2" fmla="*/ 11387 h 18405"/>
                  <a:gd name="connsiteX3" fmla="*/ 6962 w 18349"/>
                  <a:gd name="connsiteY3" fmla="*/ 263 h 18405"/>
                  <a:gd name="connsiteX4" fmla="*/ 18086 w 18349"/>
                  <a:gd name="connsiteY4" fmla="*/ 702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18086" y="7021"/>
                    </a:moveTo>
                    <a:cubicBezTo>
                      <a:pt x="19282" y="11985"/>
                      <a:pt x="16292" y="16949"/>
                      <a:pt x="11387" y="18145"/>
                    </a:cubicBezTo>
                    <a:cubicBezTo>
                      <a:pt x="6484" y="19342"/>
                      <a:pt x="1519" y="16291"/>
                      <a:pt x="263" y="11387"/>
                    </a:cubicBezTo>
                    <a:cubicBezTo>
                      <a:pt x="-933" y="6423"/>
                      <a:pt x="2058" y="1459"/>
                      <a:pt x="6962" y="263"/>
                    </a:cubicBezTo>
                    <a:cubicBezTo>
                      <a:pt x="11926" y="-933"/>
                      <a:pt x="16890" y="2057"/>
                      <a:pt x="18086" y="7021"/>
                    </a:cubicBezTo>
                    <a:close/>
                  </a:path>
                </a:pathLst>
              </a:custGeom>
              <a:grpFill/>
              <a:ln w="5978" cap="flat">
                <a:noFill/>
                <a:prstDash val="solid"/>
                <a:miter/>
              </a:ln>
            </p:spPr>
            <p:txBody>
              <a:bodyPr rtlCol="0" anchor="ctr"/>
              <a:lstStyle/>
              <a:p>
                <a:endParaRPr lang="en-GB"/>
              </a:p>
            </p:txBody>
          </p:sp>
          <p:sp>
            <p:nvSpPr>
              <p:cNvPr id="3238" name="Vrije vorm: vorm 3237">
                <a:extLst>
                  <a:ext uri="{FF2B5EF4-FFF2-40B4-BE49-F238E27FC236}">
                    <a16:creationId xmlns:a16="http://schemas.microsoft.com/office/drawing/2014/main" id="{ABE959AF-DF1E-4402-A318-A3CCDFAC8908}"/>
                  </a:ext>
                </a:extLst>
              </p:cNvPr>
              <p:cNvSpPr/>
              <p:nvPr/>
            </p:nvSpPr>
            <p:spPr>
              <a:xfrm>
                <a:off x="6502655" y="5261137"/>
                <a:ext cx="18349" cy="18408"/>
              </a:xfrm>
              <a:custGeom>
                <a:avLst/>
                <a:gdLst>
                  <a:gd name="connsiteX0" fmla="*/ 18086 w 18349"/>
                  <a:gd name="connsiteY0" fmla="*/ 7021 h 18408"/>
                  <a:gd name="connsiteX1" fmla="*/ 6962 w 18349"/>
                  <a:gd name="connsiteY1" fmla="*/ 263 h 18408"/>
                  <a:gd name="connsiteX2" fmla="*/ 263 w 18349"/>
                  <a:gd name="connsiteY2" fmla="*/ 11387 h 18408"/>
                  <a:gd name="connsiteX3" fmla="*/ 11387 w 18349"/>
                  <a:gd name="connsiteY3" fmla="*/ 18145 h 18408"/>
                  <a:gd name="connsiteX4" fmla="*/ 18086 w 1834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8086" y="7021"/>
                    </a:moveTo>
                    <a:cubicBezTo>
                      <a:pt x="16890" y="2057"/>
                      <a:pt x="11926" y="-933"/>
                      <a:pt x="6962" y="263"/>
                    </a:cubicBezTo>
                    <a:cubicBezTo>
                      <a:pt x="2058" y="1459"/>
                      <a:pt x="-933" y="6423"/>
                      <a:pt x="263" y="11387"/>
                    </a:cubicBezTo>
                    <a:cubicBezTo>
                      <a:pt x="1460" y="16351"/>
                      <a:pt x="6424" y="19342"/>
                      <a:pt x="11387" y="18145"/>
                    </a:cubicBezTo>
                    <a:cubicBezTo>
                      <a:pt x="16292" y="16949"/>
                      <a:pt x="19282" y="11985"/>
                      <a:pt x="18086" y="7021"/>
                    </a:cubicBezTo>
                    <a:close/>
                  </a:path>
                </a:pathLst>
              </a:custGeom>
              <a:grpFill/>
              <a:ln w="5978" cap="flat">
                <a:noFill/>
                <a:prstDash val="solid"/>
                <a:miter/>
              </a:ln>
            </p:spPr>
            <p:txBody>
              <a:bodyPr rtlCol="0" anchor="ctr"/>
              <a:lstStyle/>
              <a:p>
                <a:endParaRPr lang="en-GB"/>
              </a:p>
            </p:txBody>
          </p:sp>
        </p:grpSp>
        <p:grpSp>
          <p:nvGrpSpPr>
            <p:cNvPr id="719" name="Graphic 3">
              <a:extLst>
                <a:ext uri="{FF2B5EF4-FFF2-40B4-BE49-F238E27FC236}">
                  <a16:creationId xmlns:a16="http://schemas.microsoft.com/office/drawing/2014/main" id="{130572DA-F163-4C9C-B343-FD4FAB95CC8C}"/>
                </a:ext>
              </a:extLst>
            </p:cNvPr>
            <p:cNvGrpSpPr/>
            <p:nvPr/>
          </p:nvGrpSpPr>
          <p:grpSpPr>
            <a:xfrm>
              <a:off x="5188499" y="1475186"/>
              <a:ext cx="94028" cy="189168"/>
              <a:chOff x="5188499" y="1475186"/>
              <a:chExt cx="94028" cy="189168"/>
            </a:xfrm>
            <a:grpFill/>
          </p:grpSpPr>
          <p:sp>
            <p:nvSpPr>
              <p:cNvPr id="3233" name="Vrije vorm: vorm 3232">
                <a:extLst>
                  <a:ext uri="{FF2B5EF4-FFF2-40B4-BE49-F238E27FC236}">
                    <a16:creationId xmlns:a16="http://schemas.microsoft.com/office/drawing/2014/main" id="{BCE125B2-8317-4EF2-A8CE-9494971B7024}"/>
                  </a:ext>
                </a:extLst>
              </p:cNvPr>
              <p:cNvSpPr/>
              <p:nvPr/>
            </p:nvSpPr>
            <p:spPr>
              <a:xfrm>
                <a:off x="5196130" y="1483379"/>
                <a:ext cx="78885" cy="172783"/>
              </a:xfrm>
              <a:custGeom>
                <a:avLst/>
                <a:gdLst>
                  <a:gd name="connsiteX0" fmla="*/ 78886 w 78885"/>
                  <a:gd name="connsiteY0" fmla="*/ 171587 h 172783"/>
                  <a:gd name="connsiteX1" fmla="*/ 76075 w 78885"/>
                  <a:gd name="connsiteY1" fmla="*/ 172783 h 172783"/>
                  <a:gd name="connsiteX2" fmla="*/ 0 w 78885"/>
                  <a:gd name="connsiteY2" fmla="*/ 1196 h 172783"/>
                  <a:gd name="connsiteX3" fmla="*/ 2751 w 78885"/>
                  <a:gd name="connsiteY3" fmla="*/ 0 h 172783"/>
                </a:gdLst>
                <a:ahLst/>
                <a:cxnLst>
                  <a:cxn ang="0">
                    <a:pos x="connsiteX0" y="connsiteY0"/>
                  </a:cxn>
                  <a:cxn ang="0">
                    <a:pos x="connsiteX1" y="connsiteY1"/>
                  </a:cxn>
                  <a:cxn ang="0">
                    <a:pos x="connsiteX2" y="connsiteY2"/>
                  </a:cxn>
                  <a:cxn ang="0">
                    <a:pos x="connsiteX3" y="connsiteY3"/>
                  </a:cxn>
                </a:cxnLst>
                <a:rect l="l" t="t" r="r" b="b"/>
                <a:pathLst>
                  <a:path w="78885" h="172783">
                    <a:moveTo>
                      <a:pt x="78886" y="171587"/>
                    </a:moveTo>
                    <a:lnTo>
                      <a:pt x="76075" y="172783"/>
                    </a:lnTo>
                    <a:lnTo>
                      <a:pt x="0" y="1196"/>
                    </a:lnTo>
                    <a:lnTo>
                      <a:pt x="2751" y="0"/>
                    </a:lnTo>
                    <a:close/>
                  </a:path>
                </a:pathLst>
              </a:custGeom>
              <a:grpFill/>
              <a:ln w="5978" cap="flat">
                <a:noFill/>
                <a:prstDash val="solid"/>
                <a:miter/>
              </a:ln>
            </p:spPr>
            <p:txBody>
              <a:bodyPr rtlCol="0" anchor="ctr"/>
              <a:lstStyle/>
              <a:p>
                <a:endParaRPr lang="en-GB"/>
              </a:p>
            </p:txBody>
          </p:sp>
          <p:sp>
            <p:nvSpPr>
              <p:cNvPr id="3234" name="Vrije vorm: vorm 3233">
                <a:extLst>
                  <a:ext uri="{FF2B5EF4-FFF2-40B4-BE49-F238E27FC236}">
                    <a16:creationId xmlns:a16="http://schemas.microsoft.com/office/drawing/2014/main" id="{20A3E01C-87B5-4FCA-BF7A-B51241556CB2}"/>
                  </a:ext>
                </a:extLst>
              </p:cNvPr>
              <p:cNvSpPr/>
              <p:nvPr/>
            </p:nvSpPr>
            <p:spPr>
              <a:xfrm>
                <a:off x="5188499" y="1475186"/>
                <a:ext cx="18287" cy="18418"/>
              </a:xfrm>
              <a:custGeom>
                <a:avLst/>
                <a:gdLst>
                  <a:gd name="connsiteX0" fmla="*/ 813 w 18287"/>
                  <a:gd name="connsiteY0" fmla="*/ 12917 h 18418"/>
                  <a:gd name="connsiteX1" fmla="*/ 5419 w 18287"/>
                  <a:gd name="connsiteY1" fmla="*/ 777 h 18418"/>
                  <a:gd name="connsiteX2" fmla="*/ 17500 w 18287"/>
                  <a:gd name="connsiteY2" fmla="*/ 5501 h 18418"/>
                  <a:gd name="connsiteX3" fmla="*/ 12894 w 18287"/>
                  <a:gd name="connsiteY3" fmla="*/ 17642 h 18418"/>
                  <a:gd name="connsiteX4" fmla="*/ 813 w 18287"/>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8">
                    <a:moveTo>
                      <a:pt x="813" y="12917"/>
                    </a:moveTo>
                    <a:cubicBezTo>
                      <a:pt x="-1280" y="8252"/>
                      <a:pt x="813" y="2810"/>
                      <a:pt x="5419" y="777"/>
                    </a:cubicBezTo>
                    <a:cubicBezTo>
                      <a:pt x="10024" y="-1257"/>
                      <a:pt x="15466" y="836"/>
                      <a:pt x="17500" y="5501"/>
                    </a:cubicBezTo>
                    <a:cubicBezTo>
                      <a:pt x="19533" y="10166"/>
                      <a:pt x="17500" y="15609"/>
                      <a:pt x="12894" y="17642"/>
                    </a:cubicBezTo>
                    <a:cubicBezTo>
                      <a:pt x="8289" y="19676"/>
                      <a:pt x="2847" y="17582"/>
                      <a:pt x="813" y="12917"/>
                    </a:cubicBezTo>
                    <a:close/>
                  </a:path>
                </a:pathLst>
              </a:custGeom>
              <a:grpFill/>
              <a:ln w="5978" cap="flat">
                <a:noFill/>
                <a:prstDash val="solid"/>
                <a:miter/>
              </a:ln>
            </p:spPr>
            <p:txBody>
              <a:bodyPr rtlCol="0" anchor="ctr"/>
              <a:lstStyle/>
              <a:p>
                <a:endParaRPr lang="en-GB"/>
              </a:p>
            </p:txBody>
          </p:sp>
          <p:sp>
            <p:nvSpPr>
              <p:cNvPr id="3235" name="Vrije vorm: vorm 3234">
                <a:extLst>
                  <a:ext uri="{FF2B5EF4-FFF2-40B4-BE49-F238E27FC236}">
                    <a16:creationId xmlns:a16="http://schemas.microsoft.com/office/drawing/2014/main" id="{84BF90D0-B2ED-4C9A-A3DC-EDD02E7B648F}"/>
                  </a:ext>
                </a:extLst>
              </p:cNvPr>
              <p:cNvSpPr/>
              <p:nvPr/>
            </p:nvSpPr>
            <p:spPr>
              <a:xfrm>
                <a:off x="5264250" y="1645936"/>
                <a:ext cx="18278" cy="18418"/>
              </a:xfrm>
              <a:custGeom>
                <a:avLst/>
                <a:gdLst>
                  <a:gd name="connsiteX0" fmla="*/ 779 w 18278"/>
                  <a:gd name="connsiteY0" fmla="*/ 12917 h 18418"/>
                  <a:gd name="connsiteX1" fmla="*/ 12860 w 18278"/>
                  <a:gd name="connsiteY1" fmla="*/ 17642 h 18418"/>
                  <a:gd name="connsiteX2" fmla="*/ 17465 w 18278"/>
                  <a:gd name="connsiteY2" fmla="*/ 5501 h 18418"/>
                  <a:gd name="connsiteX3" fmla="*/ 5384 w 18278"/>
                  <a:gd name="connsiteY3" fmla="*/ 777 h 18418"/>
                  <a:gd name="connsiteX4" fmla="*/ 779 w 1827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8" h="18418">
                    <a:moveTo>
                      <a:pt x="779" y="12917"/>
                    </a:moveTo>
                    <a:cubicBezTo>
                      <a:pt x="2872" y="17582"/>
                      <a:pt x="8255" y="19676"/>
                      <a:pt x="12860" y="17642"/>
                    </a:cubicBezTo>
                    <a:cubicBezTo>
                      <a:pt x="17465" y="15609"/>
                      <a:pt x="19558" y="10166"/>
                      <a:pt x="17465" y="5501"/>
                    </a:cubicBezTo>
                    <a:cubicBezTo>
                      <a:pt x="15432" y="836"/>
                      <a:pt x="9989" y="-1257"/>
                      <a:pt x="5384" y="777"/>
                    </a:cubicBezTo>
                    <a:cubicBezTo>
                      <a:pt x="839" y="2810"/>
                      <a:pt x="-1255" y="8252"/>
                      <a:pt x="779" y="12917"/>
                    </a:cubicBezTo>
                    <a:close/>
                  </a:path>
                </a:pathLst>
              </a:custGeom>
              <a:grpFill/>
              <a:ln w="5978" cap="flat">
                <a:noFill/>
                <a:prstDash val="solid"/>
                <a:miter/>
              </a:ln>
            </p:spPr>
            <p:txBody>
              <a:bodyPr rtlCol="0" anchor="ctr"/>
              <a:lstStyle/>
              <a:p>
                <a:endParaRPr lang="en-GB"/>
              </a:p>
            </p:txBody>
          </p:sp>
        </p:grpSp>
        <p:grpSp>
          <p:nvGrpSpPr>
            <p:cNvPr id="720" name="Graphic 3">
              <a:extLst>
                <a:ext uri="{FF2B5EF4-FFF2-40B4-BE49-F238E27FC236}">
                  <a16:creationId xmlns:a16="http://schemas.microsoft.com/office/drawing/2014/main" id="{B5783E61-11BE-46CA-9B8F-8CEC4E037744}"/>
                </a:ext>
              </a:extLst>
            </p:cNvPr>
            <p:cNvGrpSpPr/>
            <p:nvPr/>
          </p:nvGrpSpPr>
          <p:grpSpPr>
            <a:xfrm>
              <a:off x="5188559" y="1475186"/>
              <a:ext cx="81768" cy="161537"/>
              <a:chOff x="5188559" y="1475186"/>
              <a:chExt cx="81768" cy="161537"/>
            </a:xfrm>
            <a:grpFill/>
          </p:grpSpPr>
          <p:sp>
            <p:nvSpPr>
              <p:cNvPr id="3230" name="Vrije vorm: vorm 3229">
                <a:extLst>
                  <a:ext uri="{FF2B5EF4-FFF2-40B4-BE49-F238E27FC236}">
                    <a16:creationId xmlns:a16="http://schemas.microsoft.com/office/drawing/2014/main" id="{AAF8231E-08A4-4268-AFF9-A2DFB7778938}"/>
                  </a:ext>
                </a:extLst>
              </p:cNvPr>
              <p:cNvSpPr/>
              <p:nvPr/>
            </p:nvSpPr>
            <p:spPr>
              <a:xfrm>
                <a:off x="5196130" y="1483379"/>
                <a:ext cx="66625" cy="145152"/>
              </a:xfrm>
              <a:custGeom>
                <a:avLst/>
                <a:gdLst>
                  <a:gd name="connsiteX0" fmla="*/ 66625 w 66625"/>
                  <a:gd name="connsiteY0" fmla="*/ 143956 h 145152"/>
                  <a:gd name="connsiteX1" fmla="*/ 63815 w 66625"/>
                  <a:gd name="connsiteY1" fmla="*/ 145152 h 145152"/>
                  <a:gd name="connsiteX2" fmla="*/ 0 w 66625"/>
                  <a:gd name="connsiteY2" fmla="*/ 1196 h 145152"/>
                  <a:gd name="connsiteX3" fmla="*/ 2751 w 66625"/>
                  <a:gd name="connsiteY3" fmla="*/ 0 h 145152"/>
                </a:gdLst>
                <a:ahLst/>
                <a:cxnLst>
                  <a:cxn ang="0">
                    <a:pos x="connsiteX0" y="connsiteY0"/>
                  </a:cxn>
                  <a:cxn ang="0">
                    <a:pos x="connsiteX1" y="connsiteY1"/>
                  </a:cxn>
                  <a:cxn ang="0">
                    <a:pos x="connsiteX2" y="connsiteY2"/>
                  </a:cxn>
                  <a:cxn ang="0">
                    <a:pos x="connsiteX3" y="connsiteY3"/>
                  </a:cxn>
                </a:cxnLst>
                <a:rect l="l" t="t" r="r" b="b"/>
                <a:pathLst>
                  <a:path w="66625" h="145152">
                    <a:moveTo>
                      <a:pt x="66625" y="143956"/>
                    </a:moveTo>
                    <a:lnTo>
                      <a:pt x="63815" y="145152"/>
                    </a:lnTo>
                    <a:lnTo>
                      <a:pt x="0" y="1196"/>
                    </a:lnTo>
                    <a:lnTo>
                      <a:pt x="2751" y="0"/>
                    </a:lnTo>
                    <a:close/>
                  </a:path>
                </a:pathLst>
              </a:custGeom>
              <a:grpFill/>
              <a:ln w="5978" cap="flat">
                <a:noFill/>
                <a:prstDash val="solid"/>
                <a:miter/>
              </a:ln>
            </p:spPr>
            <p:txBody>
              <a:bodyPr rtlCol="0" anchor="ctr"/>
              <a:lstStyle/>
              <a:p>
                <a:endParaRPr lang="en-GB"/>
              </a:p>
            </p:txBody>
          </p:sp>
          <p:sp>
            <p:nvSpPr>
              <p:cNvPr id="3231" name="Vrije vorm: vorm 3230">
                <a:extLst>
                  <a:ext uri="{FF2B5EF4-FFF2-40B4-BE49-F238E27FC236}">
                    <a16:creationId xmlns:a16="http://schemas.microsoft.com/office/drawing/2014/main" id="{B9590058-0C4F-48DF-A4F3-17D550AFBFE2}"/>
                  </a:ext>
                </a:extLst>
              </p:cNvPr>
              <p:cNvSpPr/>
              <p:nvPr/>
            </p:nvSpPr>
            <p:spPr>
              <a:xfrm>
                <a:off x="5252014" y="1618305"/>
                <a:ext cx="18312" cy="18418"/>
              </a:xfrm>
              <a:custGeom>
                <a:avLst/>
                <a:gdLst>
                  <a:gd name="connsiteX0" fmla="*/ 17500 w 18312"/>
                  <a:gd name="connsiteY0" fmla="*/ 5501 h 18418"/>
                  <a:gd name="connsiteX1" fmla="*/ 12894 w 18312"/>
                  <a:gd name="connsiteY1" fmla="*/ 17642 h 18418"/>
                  <a:gd name="connsiteX2" fmla="*/ 813 w 18312"/>
                  <a:gd name="connsiteY2" fmla="*/ 12917 h 18418"/>
                  <a:gd name="connsiteX3" fmla="*/ 5418 w 18312"/>
                  <a:gd name="connsiteY3" fmla="*/ 777 h 18418"/>
                  <a:gd name="connsiteX4" fmla="*/ 17500 w 18312"/>
                  <a:gd name="connsiteY4" fmla="*/ 550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18">
                    <a:moveTo>
                      <a:pt x="17500" y="5501"/>
                    </a:moveTo>
                    <a:cubicBezTo>
                      <a:pt x="19593" y="10166"/>
                      <a:pt x="17500" y="15609"/>
                      <a:pt x="12894" y="17642"/>
                    </a:cubicBezTo>
                    <a:cubicBezTo>
                      <a:pt x="8289" y="19676"/>
                      <a:pt x="2847" y="17582"/>
                      <a:pt x="813" y="12917"/>
                    </a:cubicBezTo>
                    <a:cubicBezTo>
                      <a:pt x="-1280" y="8252"/>
                      <a:pt x="813" y="2810"/>
                      <a:pt x="5418" y="777"/>
                    </a:cubicBezTo>
                    <a:cubicBezTo>
                      <a:pt x="10024" y="-1257"/>
                      <a:pt x="15466" y="836"/>
                      <a:pt x="17500" y="5501"/>
                    </a:cubicBezTo>
                    <a:close/>
                  </a:path>
                </a:pathLst>
              </a:custGeom>
              <a:grpFill/>
              <a:ln w="5978" cap="flat">
                <a:noFill/>
                <a:prstDash val="solid"/>
                <a:miter/>
              </a:ln>
            </p:spPr>
            <p:txBody>
              <a:bodyPr rtlCol="0" anchor="ctr"/>
              <a:lstStyle/>
              <a:p>
                <a:endParaRPr lang="en-GB"/>
              </a:p>
            </p:txBody>
          </p:sp>
          <p:sp>
            <p:nvSpPr>
              <p:cNvPr id="3232" name="Vrije vorm: vorm 3231">
                <a:extLst>
                  <a:ext uri="{FF2B5EF4-FFF2-40B4-BE49-F238E27FC236}">
                    <a16:creationId xmlns:a16="http://schemas.microsoft.com/office/drawing/2014/main" id="{BAD7CB92-E8D0-4EC8-9DD0-8049A131C360}"/>
                  </a:ext>
                </a:extLst>
              </p:cNvPr>
              <p:cNvSpPr/>
              <p:nvPr/>
            </p:nvSpPr>
            <p:spPr>
              <a:xfrm>
                <a:off x="5188559" y="1475186"/>
                <a:ext cx="18287" cy="18418"/>
              </a:xfrm>
              <a:custGeom>
                <a:avLst/>
                <a:gdLst>
                  <a:gd name="connsiteX0" fmla="*/ 17500 w 18287"/>
                  <a:gd name="connsiteY0" fmla="*/ 5501 h 18418"/>
                  <a:gd name="connsiteX1" fmla="*/ 5419 w 18287"/>
                  <a:gd name="connsiteY1" fmla="*/ 777 h 18418"/>
                  <a:gd name="connsiteX2" fmla="*/ 813 w 18287"/>
                  <a:gd name="connsiteY2" fmla="*/ 12917 h 18418"/>
                  <a:gd name="connsiteX3" fmla="*/ 12894 w 18287"/>
                  <a:gd name="connsiteY3" fmla="*/ 17642 h 18418"/>
                  <a:gd name="connsiteX4" fmla="*/ 17500 w 18287"/>
                  <a:gd name="connsiteY4" fmla="*/ 550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8">
                    <a:moveTo>
                      <a:pt x="17500" y="5501"/>
                    </a:moveTo>
                    <a:cubicBezTo>
                      <a:pt x="15406" y="836"/>
                      <a:pt x="10024" y="-1257"/>
                      <a:pt x="5419" y="777"/>
                    </a:cubicBezTo>
                    <a:cubicBezTo>
                      <a:pt x="813" y="2810"/>
                      <a:pt x="-1280" y="8252"/>
                      <a:pt x="813" y="12917"/>
                    </a:cubicBezTo>
                    <a:cubicBezTo>
                      <a:pt x="2847" y="17582"/>
                      <a:pt x="8289" y="19676"/>
                      <a:pt x="12894" y="17642"/>
                    </a:cubicBezTo>
                    <a:cubicBezTo>
                      <a:pt x="17500" y="15609"/>
                      <a:pt x="19533" y="10166"/>
                      <a:pt x="17500" y="5501"/>
                    </a:cubicBezTo>
                    <a:close/>
                  </a:path>
                </a:pathLst>
              </a:custGeom>
              <a:grpFill/>
              <a:ln w="5978" cap="flat">
                <a:noFill/>
                <a:prstDash val="solid"/>
                <a:miter/>
              </a:ln>
            </p:spPr>
            <p:txBody>
              <a:bodyPr rtlCol="0" anchor="ctr"/>
              <a:lstStyle/>
              <a:p>
                <a:endParaRPr lang="en-GB"/>
              </a:p>
            </p:txBody>
          </p:sp>
        </p:grpSp>
        <p:grpSp>
          <p:nvGrpSpPr>
            <p:cNvPr id="721" name="Graphic 3">
              <a:extLst>
                <a:ext uri="{FF2B5EF4-FFF2-40B4-BE49-F238E27FC236}">
                  <a16:creationId xmlns:a16="http://schemas.microsoft.com/office/drawing/2014/main" id="{9794B428-7863-4166-BF68-24080AC3B6DA}"/>
                </a:ext>
              </a:extLst>
            </p:cNvPr>
            <p:cNvGrpSpPr/>
            <p:nvPr/>
          </p:nvGrpSpPr>
          <p:grpSpPr>
            <a:xfrm>
              <a:off x="5205546" y="1604406"/>
              <a:ext cx="141870" cy="283472"/>
              <a:chOff x="5205546" y="1604406"/>
              <a:chExt cx="141870" cy="283472"/>
            </a:xfrm>
            <a:grpFill/>
          </p:grpSpPr>
          <p:sp>
            <p:nvSpPr>
              <p:cNvPr id="3227" name="Vrije vorm: vorm 3226">
                <a:extLst>
                  <a:ext uri="{FF2B5EF4-FFF2-40B4-BE49-F238E27FC236}">
                    <a16:creationId xmlns:a16="http://schemas.microsoft.com/office/drawing/2014/main" id="{313024F2-48DE-42B5-AE8D-7ACF5DE37E0D}"/>
                  </a:ext>
                </a:extLst>
              </p:cNvPr>
              <p:cNvSpPr/>
              <p:nvPr/>
            </p:nvSpPr>
            <p:spPr>
              <a:xfrm>
                <a:off x="5213116" y="1612562"/>
                <a:ext cx="126671" cy="267158"/>
              </a:xfrm>
              <a:custGeom>
                <a:avLst/>
                <a:gdLst>
                  <a:gd name="connsiteX0" fmla="*/ 126672 w 126671"/>
                  <a:gd name="connsiteY0" fmla="*/ 265843 h 267158"/>
                  <a:gd name="connsiteX1" fmla="*/ 123920 w 126671"/>
                  <a:gd name="connsiteY1" fmla="*/ 267159 h 267158"/>
                  <a:gd name="connsiteX2" fmla="*/ 0 w 126671"/>
                  <a:gd name="connsiteY2" fmla="*/ 1316 h 267158"/>
                  <a:gd name="connsiteX3" fmla="*/ 2751 w 126671"/>
                  <a:gd name="connsiteY3" fmla="*/ 0 h 267158"/>
                </a:gdLst>
                <a:ahLst/>
                <a:cxnLst>
                  <a:cxn ang="0">
                    <a:pos x="connsiteX0" y="connsiteY0"/>
                  </a:cxn>
                  <a:cxn ang="0">
                    <a:pos x="connsiteX1" y="connsiteY1"/>
                  </a:cxn>
                  <a:cxn ang="0">
                    <a:pos x="connsiteX2" y="connsiteY2"/>
                  </a:cxn>
                  <a:cxn ang="0">
                    <a:pos x="connsiteX3" y="connsiteY3"/>
                  </a:cxn>
                </a:cxnLst>
                <a:rect l="l" t="t" r="r" b="b"/>
                <a:pathLst>
                  <a:path w="126671" h="267158">
                    <a:moveTo>
                      <a:pt x="126672" y="265843"/>
                    </a:moveTo>
                    <a:lnTo>
                      <a:pt x="123920" y="267159"/>
                    </a:lnTo>
                    <a:lnTo>
                      <a:pt x="0" y="1316"/>
                    </a:lnTo>
                    <a:lnTo>
                      <a:pt x="2751" y="0"/>
                    </a:lnTo>
                    <a:close/>
                  </a:path>
                </a:pathLst>
              </a:custGeom>
              <a:grpFill/>
              <a:ln w="5978" cap="flat">
                <a:noFill/>
                <a:prstDash val="solid"/>
                <a:miter/>
              </a:ln>
            </p:spPr>
            <p:txBody>
              <a:bodyPr rtlCol="0" anchor="ctr"/>
              <a:lstStyle/>
              <a:p>
                <a:endParaRPr lang="en-GB"/>
              </a:p>
            </p:txBody>
          </p:sp>
          <p:sp>
            <p:nvSpPr>
              <p:cNvPr id="3228" name="Vrije vorm: vorm 3227">
                <a:extLst>
                  <a:ext uri="{FF2B5EF4-FFF2-40B4-BE49-F238E27FC236}">
                    <a16:creationId xmlns:a16="http://schemas.microsoft.com/office/drawing/2014/main" id="{43D089FD-EA21-4E48-8BEB-FC86076963AA}"/>
                  </a:ext>
                </a:extLst>
              </p:cNvPr>
              <p:cNvSpPr/>
              <p:nvPr/>
            </p:nvSpPr>
            <p:spPr>
              <a:xfrm>
                <a:off x="5205546" y="1604406"/>
                <a:ext cx="18368" cy="18466"/>
              </a:xfrm>
              <a:custGeom>
                <a:avLst/>
                <a:gdLst>
                  <a:gd name="connsiteX0" fmla="*/ 871 w 18368"/>
                  <a:gd name="connsiteY0" fmla="*/ 13121 h 18466"/>
                  <a:gd name="connsiteX1" fmla="*/ 5297 w 18368"/>
                  <a:gd name="connsiteY1" fmla="*/ 860 h 18466"/>
                  <a:gd name="connsiteX2" fmla="*/ 17497 w 18368"/>
                  <a:gd name="connsiteY2" fmla="*/ 5346 h 18466"/>
                  <a:gd name="connsiteX3" fmla="*/ 13072 w 18368"/>
                  <a:gd name="connsiteY3" fmla="*/ 17606 h 18466"/>
                  <a:gd name="connsiteX4" fmla="*/ 871 w 18368"/>
                  <a:gd name="connsiteY4" fmla="*/ 13121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871" y="13121"/>
                    </a:moveTo>
                    <a:cubicBezTo>
                      <a:pt x="-1282" y="8516"/>
                      <a:pt x="692" y="3013"/>
                      <a:pt x="5297" y="860"/>
                    </a:cubicBezTo>
                    <a:cubicBezTo>
                      <a:pt x="9902" y="-1293"/>
                      <a:pt x="15345" y="741"/>
                      <a:pt x="17497" y="5346"/>
                    </a:cubicBezTo>
                    <a:cubicBezTo>
                      <a:pt x="19650" y="9951"/>
                      <a:pt x="17677" y="15453"/>
                      <a:pt x="13072" y="17606"/>
                    </a:cubicBezTo>
                    <a:cubicBezTo>
                      <a:pt x="8467" y="19759"/>
                      <a:pt x="2964" y="17726"/>
                      <a:pt x="871" y="13121"/>
                    </a:cubicBezTo>
                    <a:close/>
                  </a:path>
                </a:pathLst>
              </a:custGeom>
              <a:grpFill/>
              <a:ln w="5978" cap="flat">
                <a:noFill/>
                <a:prstDash val="solid"/>
                <a:miter/>
              </a:ln>
            </p:spPr>
            <p:txBody>
              <a:bodyPr rtlCol="0" anchor="ctr"/>
              <a:lstStyle/>
              <a:p>
                <a:endParaRPr lang="en-GB"/>
              </a:p>
            </p:txBody>
          </p:sp>
          <p:sp>
            <p:nvSpPr>
              <p:cNvPr id="3229" name="Vrije vorm: vorm 3228">
                <a:extLst>
                  <a:ext uri="{FF2B5EF4-FFF2-40B4-BE49-F238E27FC236}">
                    <a16:creationId xmlns:a16="http://schemas.microsoft.com/office/drawing/2014/main" id="{7C387711-5BE0-4726-99FC-DD736BA29ECA}"/>
                  </a:ext>
                </a:extLst>
              </p:cNvPr>
              <p:cNvSpPr/>
              <p:nvPr/>
            </p:nvSpPr>
            <p:spPr>
              <a:xfrm>
                <a:off x="5329048" y="1869411"/>
                <a:ext cx="18368" cy="18466"/>
              </a:xfrm>
              <a:custGeom>
                <a:avLst/>
                <a:gdLst>
                  <a:gd name="connsiteX0" fmla="*/ 871 w 18368"/>
                  <a:gd name="connsiteY0" fmla="*/ 13121 h 18466"/>
                  <a:gd name="connsiteX1" fmla="*/ 13072 w 18368"/>
                  <a:gd name="connsiteY1" fmla="*/ 17606 h 18466"/>
                  <a:gd name="connsiteX2" fmla="*/ 17498 w 18368"/>
                  <a:gd name="connsiteY2" fmla="*/ 5346 h 18466"/>
                  <a:gd name="connsiteX3" fmla="*/ 5297 w 18368"/>
                  <a:gd name="connsiteY3" fmla="*/ 860 h 18466"/>
                  <a:gd name="connsiteX4" fmla="*/ 871 w 18368"/>
                  <a:gd name="connsiteY4" fmla="*/ 13121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871" y="13121"/>
                    </a:moveTo>
                    <a:cubicBezTo>
                      <a:pt x="3024" y="17726"/>
                      <a:pt x="8467" y="19759"/>
                      <a:pt x="13072" y="17606"/>
                    </a:cubicBezTo>
                    <a:cubicBezTo>
                      <a:pt x="17677" y="15453"/>
                      <a:pt x="19651" y="10011"/>
                      <a:pt x="17498" y="5346"/>
                    </a:cubicBezTo>
                    <a:cubicBezTo>
                      <a:pt x="15345" y="741"/>
                      <a:pt x="9902" y="-1293"/>
                      <a:pt x="5297" y="860"/>
                    </a:cubicBezTo>
                    <a:cubicBezTo>
                      <a:pt x="692" y="3013"/>
                      <a:pt x="-1282" y="8516"/>
                      <a:pt x="871" y="13121"/>
                    </a:cubicBezTo>
                    <a:close/>
                  </a:path>
                </a:pathLst>
              </a:custGeom>
              <a:grpFill/>
              <a:ln w="5978" cap="flat">
                <a:noFill/>
                <a:prstDash val="solid"/>
                <a:miter/>
              </a:ln>
            </p:spPr>
            <p:txBody>
              <a:bodyPr rtlCol="0" anchor="ctr"/>
              <a:lstStyle/>
              <a:p>
                <a:endParaRPr lang="en-GB"/>
              </a:p>
            </p:txBody>
          </p:sp>
        </p:grpSp>
        <p:grpSp>
          <p:nvGrpSpPr>
            <p:cNvPr id="722" name="Graphic 3">
              <a:extLst>
                <a:ext uri="{FF2B5EF4-FFF2-40B4-BE49-F238E27FC236}">
                  <a16:creationId xmlns:a16="http://schemas.microsoft.com/office/drawing/2014/main" id="{3B2D0D91-0645-43A0-B71F-879BC34B04AB}"/>
                </a:ext>
              </a:extLst>
            </p:cNvPr>
            <p:cNvGrpSpPr/>
            <p:nvPr/>
          </p:nvGrpSpPr>
          <p:grpSpPr>
            <a:xfrm>
              <a:off x="6447967" y="5041204"/>
              <a:ext cx="188309" cy="905333"/>
              <a:chOff x="6447967" y="5041204"/>
              <a:chExt cx="188309" cy="905333"/>
            </a:xfrm>
            <a:grpFill/>
          </p:grpSpPr>
          <p:sp>
            <p:nvSpPr>
              <p:cNvPr id="3224" name="Vrije vorm: vorm 3223">
                <a:extLst>
                  <a:ext uri="{FF2B5EF4-FFF2-40B4-BE49-F238E27FC236}">
                    <a16:creationId xmlns:a16="http://schemas.microsoft.com/office/drawing/2014/main" id="{4776FE2C-D764-43A3-8315-F38BF69EA3A1}"/>
                  </a:ext>
                </a:extLst>
              </p:cNvPr>
              <p:cNvSpPr/>
              <p:nvPr/>
            </p:nvSpPr>
            <p:spPr>
              <a:xfrm>
                <a:off x="6455551" y="5049683"/>
                <a:ext cx="173201" cy="888376"/>
              </a:xfrm>
              <a:custGeom>
                <a:avLst/>
                <a:gdLst>
                  <a:gd name="connsiteX0" fmla="*/ 2990 w 173201"/>
                  <a:gd name="connsiteY0" fmla="*/ 0 h 888376"/>
                  <a:gd name="connsiteX1" fmla="*/ 173202 w 173201"/>
                  <a:gd name="connsiteY1" fmla="*/ 887778 h 888376"/>
                  <a:gd name="connsiteX2" fmla="*/ 170211 w 173201"/>
                  <a:gd name="connsiteY2" fmla="*/ 888376 h 888376"/>
                  <a:gd name="connsiteX3" fmla="*/ 0 w 173201"/>
                  <a:gd name="connsiteY3" fmla="*/ 538 h 888376"/>
                </a:gdLst>
                <a:ahLst/>
                <a:cxnLst>
                  <a:cxn ang="0">
                    <a:pos x="connsiteX0" y="connsiteY0"/>
                  </a:cxn>
                  <a:cxn ang="0">
                    <a:pos x="connsiteX1" y="connsiteY1"/>
                  </a:cxn>
                  <a:cxn ang="0">
                    <a:pos x="connsiteX2" y="connsiteY2"/>
                  </a:cxn>
                  <a:cxn ang="0">
                    <a:pos x="connsiteX3" y="connsiteY3"/>
                  </a:cxn>
                </a:cxnLst>
                <a:rect l="l" t="t" r="r" b="b"/>
                <a:pathLst>
                  <a:path w="173201" h="888376">
                    <a:moveTo>
                      <a:pt x="2990" y="0"/>
                    </a:moveTo>
                    <a:lnTo>
                      <a:pt x="173202" y="887778"/>
                    </a:lnTo>
                    <a:lnTo>
                      <a:pt x="170211" y="888376"/>
                    </a:lnTo>
                    <a:lnTo>
                      <a:pt x="0" y="538"/>
                    </a:lnTo>
                    <a:close/>
                  </a:path>
                </a:pathLst>
              </a:custGeom>
              <a:grpFill/>
              <a:ln w="5978" cap="flat">
                <a:noFill/>
                <a:prstDash val="solid"/>
                <a:miter/>
              </a:ln>
            </p:spPr>
            <p:txBody>
              <a:bodyPr rtlCol="0" anchor="ctr"/>
              <a:lstStyle/>
              <a:p>
                <a:endParaRPr lang="en-GB"/>
              </a:p>
            </p:txBody>
          </p:sp>
          <p:sp>
            <p:nvSpPr>
              <p:cNvPr id="3225" name="Vrije vorm: vorm 3224">
                <a:extLst>
                  <a:ext uri="{FF2B5EF4-FFF2-40B4-BE49-F238E27FC236}">
                    <a16:creationId xmlns:a16="http://schemas.microsoft.com/office/drawing/2014/main" id="{1202D0D0-EF49-42A1-9A6F-3E7FE997131F}"/>
                  </a:ext>
                </a:extLst>
              </p:cNvPr>
              <p:cNvSpPr/>
              <p:nvPr/>
            </p:nvSpPr>
            <p:spPr>
              <a:xfrm>
                <a:off x="6447967" y="5041204"/>
                <a:ext cx="18277" cy="18434"/>
              </a:xfrm>
              <a:custGeom>
                <a:avLst/>
                <a:gdLst>
                  <a:gd name="connsiteX0" fmla="*/ 168 w 18277"/>
                  <a:gd name="connsiteY0" fmla="*/ 10931 h 18434"/>
                  <a:gd name="connsiteX1" fmla="*/ 7404 w 18277"/>
                  <a:gd name="connsiteY1" fmla="*/ 165 h 18434"/>
                  <a:gd name="connsiteX2" fmla="*/ 18110 w 18277"/>
                  <a:gd name="connsiteY2" fmla="*/ 7522 h 18434"/>
                  <a:gd name="connsiteX3" fmla="*/ 10873 w 18277"/>
                  <a:gd name="connsiteY3" fmla="*/ 18287 h 18434"/>
                  <a:gd name="connsiteX4" fmla="*/ 168 w 18277"/>
                  <a:gd name="connsiteY4" fmla="*/ 10931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34">
                    <a:moveTo>
                      <a:pt x="168" y="10931"/>
                    </a:moveTo>
                    <a:cubicBezTo>
                      <a:pt x="-789" y="5907"/>
                      <a:pt x="2441" y="1123"/>
                      <a:pt x="7404" y="165"/>
                    </a:cubicBezTo>
                    <a:cubicBezTo>
                      <a:pt x="12368" y="-791"/>
                      <a:pt x="17153" y="2498"/>
                      <a:pt x="18110" y="7522"/>
                    </a:cubicBezTo>
                    <a:cubicBezTo>
                      <a:pt x="19067" y="12546"/>
                      <a:pt x="15837" y="17330"/>
                      <a:pt x="10873" y="18287"/>
                    </a:cubicBezTo>
                    <a:cubicBezTo>
                      <a:pt x="5909" y="19184"/>
                      <a:pt x="1125" y="15895"/>
                      <a:pt x="168" y="10931"/>
                    </a:cubicBezTo>
                    <a:close/>
                  </a:path>
                </a:pathLst>
              </a:custGeom>
              <a:grpFill/>
              <a:ln w="5978" cap="flat">
                <a:noFill/>
                <a:prstDash val="solid"/>
                <a:miter/>
              </a:ln>
            </p:spPr>
            <p:txBody>
              <a:bodyPr rtlCol="0" anchor="ctr"/>
              <a:lstStyle/>
              <a:p>
                <a:endParaRPr lang="en-GB"/>
              </a:p>
            </p:txBody>
          </p:sp>
          <p:sp>
            <p:nvSpPr>
              <p:cNvPr id="3226" name="Vrije vorm: vorm 3225">
                <a:extLst>
                  <a:ext uri="{FF2B5EF4-FFF2-40B4-BE49-F238E27FC236}">
                    <a16:creationId xmlns:a16="http://schemas.microsoft.com/office/drawing/2014/main" id="{748AECAA-B6F8-46DA-8859-F5E1E5050879}"/>
                  </a:ext>
                </a:extLst>
              </p:cNvPr>
              <p:cNvSpPr/>
              <p:nvPr/>
            </p:nvSpPr>
            <p:spPr>
              <a:xfrm>
                <a:off x="6618001" y="5928085"/>
                <a:ext cx="18275" cy="18452"/>
              </a:xfrm>
              <a:custGeom>
                <a:avLst/>
                <a:gdLst>
                  <a:gd name="connsiteX0" fmla="*/ 166 w 18275"/>
                  <a:gd name="connsiteY0" fmla="*/ 10931 h 18452"/>
                  <a:gd name="connsiteX1" fmla="*/ 10871 w 18275"/>
                  <a:gd name="connsiteY1" fmla="*/ 18287 h 18452"/>
                  <a:gd name="connsiteX2" fmla="*/ 18108 w 18275"/>
                  <a:gd name="connsiteY2" fmla="*/ 7522 h 18452"/>
                  <a:gd name="connsiteX3" fmla="*/ 7403 w 18275"/>
                  <a:gd name="connsiteY3" fmla="*/ 166 h 18452"/>
                  <a:gd name="connsiteX4" fmla="*/ 166 w 18275"/>
                  <a:gd name="connsiteY4" fmla="*/ 1093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52">
                    <a:moveTo>
                      <a:pt x="166" y="10931"/>
                    </a:moveTo>
                    <a:cubicBezTo>
                      <a:pt x="1123" y="15954"/>
                      <a:pt x="5907" y="19244"/>
                      <a:pt x="10871" y="18287"/>
                    </a:cubicBezTo>
                    <a:cubicBezTo>
                      <a:pt x="15835" y="17330"/>
                      <a:pt x="19065" y="12546"/>
                      <a:pt x="18108" y="7522"/>
                    </a:cubicBezTo>
                    <a:cubicBezTo>
                      <a:pt x="17151" y="2498"/>
                      <a:pt x="12366" y="-792"/>
                      <a:pt x="7403" y="166"/>
                    </a:cubicBezTo>
                    <a:cubicBezTo>
                      <a:pt x="2498" y="1122"/>
                      <a:pt x="-791" y="5907"/>
                      <a:pt x="166" y="10931"/>
                    </a:cubicBezTo>
                    <a:close/>
                  </a:path>
                </a:pathLst>
              </a:custGeom>
              <a:grpFill/>
              <a:ln w="5978" cap="flat">
                <a:noFill/>
                <a:prstDash val="solid"/>
                <a:miter/>
              </a:ln>
            </p:spPr>
            <p:txBody>
              <a:bodyPr rtlCol="0" anchor="ctr"/>
              <a:lstStyle/>
              <a:p>
                <a:endParaRPr lang="en-GB"/>
              </a:p>
            </p:txBody>
          </p:sp>
        </p:grpSp>
        <p:grpSp>
          <p:nvGrpSpPr>
            <p:cNvPr id="723" name="Graphic 3">
              <a:extLst>
                <a:ext uri="{FF2B5EF4-FFF2-40B4-BE49-F238E27FC236}">
                  <a16:creationId xmlns:a16="http://schemas.microsoft.com/office/drawing/2014/main" id="{BC85C506-DB51-455D-9F18-24AF4F7BDA45}"/>
                </a:ext>
              </a:extLst>
            </p:cNvPr>
            <p:cNvGrpSpPr/>
            <p:nvPr/>
          </p:nvGrpSpPr>
          <p:grpSpPr>
            <a:xfrm>
              <a:off x="6593442" y="5629609"/>
              <a:ext cx="50645" cy="149562"/>
              <a:chOff x="6593442" y="5629609"/>
              <a:chExt cx="50645" cy="149562"/>
            </a:xfrm>
            <a:grpFill/>
          </p:grpSpPr>
          <p:sp>
            <p:nvSpPr>
              <p:cNvPr id="3221" name="Vrije vorm: vorm 3220">
                <a:extLst>
                  <a:ext uri="{FF2B5EF4-FFF2-40B4-BE49-F238E27FC236}">
                    <a16:creationId xmlns:a16="http://schemas.microsoft.com/office/drawing/2014/main" id="{72E0A3FE-A594-4A24-9F9F-28FB8D8D95FF}"/>
                  </a:ext>
                </a:extLst>
              </p:cNvPr>
              <p:cNvSpPr/>
              <p:nvPr/>
            </p:nvSpPr>
            <p:spPr>
              <a:xfrm>
                <a:off x="6601062" y="5638006"/>
                <a:ext cx="35465" cy="132772"/>
              </a:xfrm>
              <a:custGeom>
                <a:avLst/>
                <a:gdLst>
                  <a:gd name="connsiteX0" fmla="*/ 2930 w 35465"/>
                  <a:gd name="connsiteY0" fmla="*/ 0 h 132772"/>
                  <a:gd name="connsiteX1" fmla="*/ 35466 w 35465"/>
                  <a:gd name="connsiteY1" fmla="*/ 132054 h 132772"/>
                  <a:gd name="connsiteX2" fmla="*/ 32535 w 35465"/>
                  <a:gd name="connsiteY2" fmla="*/ 132772 h 132772"/>
                  <a:gd name="connsiteX3" fmla="*/ 0 w 35465"/>
                  <a:gd name="connsiteY3" fmla="*/ 718 h 132772"/>
                </a:gdLst>
                <a:ahLst/>
                <a:cxnLst>
                  <a:cxn ang="0">
                    <a:pos x="connsiteX0" y="connsiteY0"/>
                  </a:cxn>
                  <a:cxn ang="0">
                    <a:pos x="connsiteX1" y="connsiteY1"/>
                  </a:cxn>
                  <a:cxn ang="0">
                    <a:pos x="connsiteX2" y="connsiteY2"/>
                  </a:cxn>
                  <a:cxn ang="0">
                    <a:pos x="connsiteX3" y="connsiteY3"/>
                  </a:cxn>
                </a:cxnLst>
                <a:rect l="l" t="t" r="r" b="b"/>
                <a:pathLst>
                  <a:path w="35465" h="132772">
                    <a:moveTo>
                      <a:pt x="2930" y="0"/>
                    </a:moveTo>
                    <a:lnTo>
                      <a:pt x="35466" y="132054"/>
                    </a:lnTo>
                    <a:lnTo>
                      <a:pt x="32535" y="132772"/>
                    </a:lnTo>
                    <a:lnTo>
                      <a:pt x="0" y="718"/>
                    </a:lnTo>
                    <a:close/>
                  </a:path>
                </a:pathLst>
              </a:custGeom>
              <a:grpFill/>
              <a:ln w="5978" cap="flat">
                <a:noFill/>
                <a:prstDash val="solid"/>
                <a:miter/>
              </a:ln>
            </p:spPr>
            <p:txBody>
              <a:bodyPr rtlCol="0" anchor="ctr"/>
              <a:lstStyle/>
              <a:p>
                <a:endParaRPr lang="en-GB"/>
              </a:p>
            </p:txBody>
          </p:sp>
          <p:sp>
            <p:nvSpPr>
              <p:cNvPr id="3222" name="Vrije vorm: vorm 3221">
                <a:extLst>
                  <a:ext uri="{FF2B5EF4-FFF2-40B4-BE49-F238E27FC236}">
                    <a16:creationId xmlns:a16="http://schemas.microsoft.com/office/drawing/2014/main" id="{D7935B5F-0D95-44B6-9F60-F6386B3582E6}"/>
                  </a:ext>
                </a:extLst>
              </p:cNvPr>
              <p:cNvSpPr/>
              <p:nvPr/>
            </p:nvSpPr>
            <p:spPr>
              <a:xfrm>
                <a:off x="6625738" y="5760770"/>
                <a:ext cx="18349" cy="18401"/>
              </a:xfrm>
              <a:custGeom>
                <a:avLst/>
                <a:gdLst>
                  <a:gd name="connsiteX0" fmla="*/ 18086 w 18349"/>
                  <a:gd name="connsiteY0" fmla="*/ 7018 h 18401"/>
                  <a:gd name="connsiteX1" fmla="*/ 11387 w 18349"/>
                  <a:gd name="connsiteY1" fmla="*/ 18142 h 18401"/>
                  <a:gd name="connsiteX2" fmla="*/ 263 w 18349"/>
                  <a:gd name="connsiteY2" fmla="*/ 11384 h 18401"/>
                  <a:gd name="connsiteX3" fmla="*/ 6962 w 18349"/>
                  <a:gd name="connsiteY3" fmla="*/ 260 h 18401"/>
                  <a:gd name="connsiteX4" fmla="*/ 18086 w 18349"/>
                  <a:gd name="connsiteY4" fmla="*/ 7018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1">
                    <a:moveTo>
                      <a:pt x="18086" y="7018"/>
                    </a:moveTo>
                    <a:cubicBezTo>
                      <a:pt x="19282" y="11982"/>
                      <a:pt x="16292" y="16946"/>
                      <a:pt x="11387" y="18142"/>
                    </a:cubicBezTo>
                    <a:cubicBezTo>
                      <a:pt x="6483" y="19338"/>
                      <a:pt x="1519" y="16288"/>
                      <a:pt x="263" y="11384"/>
                    </a:cubicBezTo>
                    <a:cubicBezTo>
                      <a:pt x="-933" y="6420"/>
                      <a:pt x="2058" y="1456"/>
                      <a:pt x="6962" y="260"/>
                    </a:cubicBezTo>
                    <a:cubicBezTo>
                      <a:pt x="11926" y="-936"/>
                      <a:pt x="16890" y="2114"/>
                      <a:pt x="18086" y="7018"/>
                    </a:cubicBezTo>
                    <a:close/>
                  </a:path>
                </a:pathLst>
              </a:custGeom>
              <a:grpFill/>
              <a:ln w="5978" cap="flat">
                <a:noFill/>
                <a:prstDash val="solid"/>
                <a:miter/>
              </a:ln>
            </p:spPr>
            <p:txBody>
              <a:bodyPr rtlCol="0" anchor="ctr"/>
              <a:lstStyle/>
              <a:p>
                <a:endParaRPr lang="en-GB"/>
              </a:p>
            </p:txBody>
          </p:sp>
          <p:sp>
            <p:nvSpPr>
              <p:cNvPr id="3223" name="Vrije vorm: vorm 3222">
                <a:extLst>
                  <a:ext uri="{FF2B5EF4-FFF2-40B4-BE49-F238E27FC236}">
                    <a16:creationId xmlns:a16="http://schemas.microsoft.com/office/drawing/2014/main" id="{3025D4E1-F284-4062-BA80-BED569C1CE78}"/>
                  </a:ext>
                </a:extLst>
              </p:cNvPr>
              <p:cNvSpPr/>
              <p:nvPr/>
            </p:nvSpPr>
            <p:spPr>
              <a:xfrm>
                <a:off x="6593442" y="5629609"/>
                <a:ext cx="18349" cy="18408"/>
              </a:xfrm>
              <a:custGeom>
                <a:avLst/>
                <a:gdLst>
                  <a:gd name="connsiteX0" fmla="*/ 18086 w 18349"/>
                  <a:gd name="connsiteY0" fmla="*/ 7021 h 18408"/>
                  <a:gd name="connsiteX1" fmla="*/ 6962 w 18349"/>
                  <a:gd name="connsiteY1" fmla="*/ 263 h 18408"/>
                  <a:gd name="connsiteX2" fmla="*/ 263 w 18349"/>
                  <a:gd name="connsiteY2" fmla="*/ 11387 h 18408"/>
                  <a:gd name="connsiteX3" fmla="*/ 11388 w 18349"/>
                  <a:gd name="connsiteY3" fmla="*/ 18145 h 18408"/>
                  <a:gd name="connsiteX4" fmla="*/ 18086 w 1834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8086" y="7021"/>
                    </a:moveTo>
                    <a:cubicBezTo>
                      <a:pt x="16890" y="2057"/>
                      <a:pt x="11926" y="-933"/>
                      <a:pt x="6962" y="263"/>
                    </a:cubicBezTo>
                    <a:cubicBezTo>
                      <a:pt x="2058" y="1459"/>
                      <a:pt x="-933" y="6423"/>
                      <a:pt x="263" y="11387"/>
                    </a:cubicBezTo>
                    <a:cubicBezTo>
                      <a:pt x="1459" y="16351"/>
                      <a:pt x="6424" y="19342"/>
                      <a:pt x="11388" y="18145"/>
                    </a:cubicBezTo>
                    <a:cubicBezTo>
                      <a:pt x="16292" y="16949"/>
                      <a:pt x="19282" y="11986"/>
                      <a:pt x="18086" y="7021"/>
                    </a:cubicBezTo>
                    <a:close/>
                  </a:path>
                </a:pathLst>
              </a:custGeom>
              <a:grpFill/>
              <a:ln w="5978" cap="flat">
                <a:noFill/>
                <a:prstDash val="solid"/>
                <a:miter/>
              </a:ln>
            </p:spPr>
            <p:txBody>
              <a:bodyPr rtlCol="0" anchor="ctr"/>
              <a:lstStyle/>
              <a:p>
                <a:endParaRPr lang="en-GB"/>
              </a:p>
            </p:txBody>
          </p:sp>
        </p:grpSp>
        <p:grpSp>
          <p:nvGrpSpPr>
            <p:cNvPr id="724" name="Graphic 3">
              <a:extLst>
                <a:ext uri="{FF2B5EF4-FFF2-40B4-BE49-F238E27FC236}">
                  <a16:creationId xmlns:a16="http://schemas.microsoft.com/office/drawing/2014/main" id="{2517D5CF-9E9B-469B-90DC-4AB7E7F044BF}"/>
                </a:ext>
              </a:extLst>
            </p:cNvPr>
            <p:cNvGrpSpPr/>
            <p:nvPr/>
          </p:nvGrpSpPr>
          <p:grpSpPr>
            <a:xfrm>
              <a:off x="5195581" y="1585197"/>
              <a:ext cx="119553" cy="305867"/>
              <a:chOff x="5195581" y="1585197"/>
              <a:chExt cx="119553" cy="305867"/>
            </a:xfrm>
            <a:grpFill/>
          </p:grpSpPr>
          <p:sp>
            <p:nvSpPr>
              <p:cNvPr id="3218" name="Vrije vorm: vorm 3217">
                <a:extLst>
                  <a:ext uri="{FF2B5EF4-FFF2-40B4-BE49-F238E27FC236}">
                    <a16:creationId xmlns:a16="http://schemas.microsoft.com/office/drawing/2014/main" id="{F20EEAC2-07E4-4B3A-86F4-B9625D9D3121}"/>
                  </a:ext>
                </a:extLst>
              </p:cNvPr>
              <p:cNvSpPr/>
              <p:nvPr/>
            </p:nvSpPr>
            <p:spPr>
              <a:xfrm>
                <a:off x="5203188" y="1593544"/>
                <a:ext cx="104363" cy="289227"/>
              </a:xfrm>
              <a:custGeom>
                <a:avLst/>
                <a:gdLst>
                  <a:gd name="connsiteX0" fmla="*/ 104364 w 104363"/>
                  <a:gd name="connsiteY0" fmla="*/ 288271 h 289227"/>
                  <a:gd name="connsiteX1" fmla="*/ 101493 w 104363"/>
                  <a:gd name="connsiteY1" fmla="*/ 289228 h 289227"/>
                  <a:gd name="connsiteX2" fmla="*/ 0 w 104363"/>
                  <a:gd name="connsiteY2" fmla="*/ 1017 h 289227"/>
                  <a:gd name="connsiteX3" fmla="*/ 2871 w 104363"/>
                  <a:gd name="connsiteY3" fmla="*/ 0 h 289227"/>
                </a:gdLst>
                <a:ahLst/>
                <a:cxnLst>
                  <a:cxn ang="0">
                    <a:pos x="connsiteX0" y="connsiteY0"/>
                  </a:cxn>
                  <a:cxn ang="0">
                    <a:pos x="connsiteX1" y="connsiteY1"/>
                  </a:cxn>
                  <a:cxn ang="0">
                    <a:pos x="connsiteX2" y="connsiteY2"/>
                  </a:cxn>
                  <a:cxn ang="0">
                    <a:pos x="connsiteX3" y="connsiteY3"/>
                  </a:cxn>
                </a:cxnLst>
                <a:rect l="l" t="t" r="r" b="b"/>
                <a:pathLst>
                  <a:path w="104363" h="289227">
                    <a:moveTo>
                      <a:pt x="104364" y="288271"/>
                    </a:moveTo>
                    <a:lnTo>
                      <a:pt x="101493" y="289228"/>
                    </a:lnTo>
                    <a:lnTo>
                      <a:pt x="0" y="1017"/>
                    </a:lnTo>
                    <a:lnTo>
                      <a:pt x="2871" y="0"/>
                    </a:lnTo>
                    <a:close/>
                  </a:path>
                </a:pathLst>
              </a:custGeom>
              <a:grpFill/>
              <a:ln w="5978" cap="flat">
                <a:noFill/>
                <a:prstDash val="solid"/>
                <a:miter/>
              </a:ln>
            </p:spPr>
            <p:txBody>
              <a:bodyPr rtlCol="0" anchor="ctr"/>
              <a:lstStyle/>
              <a:p>
                <a:endParaRPr lang="en-GB"/>
              </a:p>
            </p:txBody>
          </p:sp>
          <p:sp>
            <p:nvSpPr>
              <p:cNvPr id="3219" name="Vrije vorm: vorm 3218">
                <a:extLst>
                  <a:ext uri="{FF2B5EF4-FFF2-40B4-BE49-F238E27FC236}">
                    <a16:creationId xmlns:a16="http://schemas.microsoft.com/office/drawing/2014/main" id="{E6DAC88C-56AC-4CAC-A549-623B80ABC3EB}"/>
                  </a:ext>
                </a:extLst>
              </p:cNvPr>
              <p:cNvSpPr/>
              <p:nvPr/>
            </p:nvSpPr>
            <p:spPr>
              <a:xfrm>
                <a:off x="5296799" y="1872630"/>
                <a:ext cx="18335" cy="18434"/>
              </a:xfrm>
              <a:custGeom>
                <a:avLst/>
                <a:gdLst>
                  <a:gd name="connsiteX0" fmla="*/ 17810 w 18335"/>
                  <a:gd name="connsiteY0" fmla="*/ 6194 h 18434"/>
                  <a:gd name="connsiteX1" fmla="*/ 12248 w 18335"/>
                  <a:gd name="connsiteY1" fmla="*/ 17916 h 18434"/>
                  <a:gd name="connsiteX2" fmla="*/ 526 w 18335"/>
                  <a:gd name="connsiteY2" fmla="*/ 12234 h 18434"/>
                  <a:gd name="connsiteX3" fmla="*/ 6088 w 18335"/>
                  <a:gd name="connsiteY3" fmla="*/ 512 h 18434"/>
                  <a:gd name="connsiteX4" fmla="*/ 17810 w 18335"/>
                  <a:gd name="connsiteY4" fmla="*/ 619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4">
                    <a:moveTo>
                      <a:pt x="17810" y="6194"/>
                    </a:moveTo>
                    <a:cubicBezTo>
                      <a:pt x="19485" y="10978"/>
                      <a:pt x="17032" y="16241"/>
                      <a:pt x="12248" y="17916"/>
                    </a:cubicBezTo>
                    <a:cubicBezTo>
                      <a:pt x="7463" y="19591"/>
                      <a:pt x="2260" y="17079"/>
                      <a:pt x="526" y="12234"/>
                    </a:cubicBezTo>
                    <a:cubicBezTo>
                      <a:pt x="-1149" y="7450"/>
                      <a:pt x="1303" y="2187"/>
                      <a:pt x="6088" y="512"/>
                    </a:cubicBezTo>
                    <a:cubicBezTo>
                      <a:pt x="10872" y="-1162"/>
                      <a:pt x="16076" y="1409"/>
                      <a:pt x="17810" y="6194"/>
                    </a:cubicBezTo>
                    <a:close/>
                  </a:path>
                </a:pathLst>
              </a:custGeom>
              <a:grpFill/>
              <a:ln w="5978" cap="flat">
                <a:noFill/>
                <a:prstDash val="solid"/>
                <a:miter/>
              </a:ln>
            </p:spPr>
            <p:txBody>
              <a:bodyPr rtlCol="0" anchor="ctr"/>
              <a:lstStyle/>
              <a:p>
                <a:endParaRPr lang="en-GB"/>
              </a:p>
            </p:txBody>
          </p:sp>
          <p:sp>
            <p:nvSpPr>
              <p:cNvPr id="3220" name="Vrije vorm: vorm 3219">
                <a:extLst>
                  <a:ext uri="{FF2B5EF4-FFF2-40B4-BE49-F238E27FC236}">
                    <a16:creationId xmlns:a16="http://schemas.microsoft.com/office/drawing/2014/main" id="{676E5205-0F20-4937-AEC4-3827C0638ACE}"/>
                  </a:ext>
                </a:extLst>
              </p:cNvPr>
              <p:cNvSpPr/>
              <p:nvPr/>
            </p:nvSpPr>
            <p:spPr>
              <a:xfrm>
                <a:off x="5195581" y="1585197"/>
                <a:ext cx="18353" cy="18428"/>
              </a:xfrm>
              <a:custGeom>
                <a:avLst/>
                <a:gdLst>
                  <a:gd name="connsiteX0" fmla="*/ 17834 w 18353"/>
                  <a:gd name="connsiteY0" fmla="*/ 6194 h 18428"/>
                  <a:gd name="connsiteX1" fmla="*/ 6111 w 18353"/>
                  <a:gd name="connsiteY1" fmla="*/ 512 h 18428"/>
                  <a:gd name="connsiteX2" fmla="*/ 549 w 18353"/>
                  <a:gd name="connsiteY2" fmla="*/ 12234 h 18428"/>
                  <a:gd name="connsiteX3" fmla="*/ 12272 w 18353"/>
                  <a:gd name="connsiteY3" fmla="*/ 17916 h 18428"/>
                  <a:gd name="connsiteX4" fmla="*/ 17834 w 18353"/>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8">
                    <a:moveTo>
                      <a:pt x="17834" y="6194"/>
                    </a:moveTo>
                    <a:cubicBezTo>
                      <a:pt x="16159" y="1409"/>
                      <a:pt x="10896" y="-1162"/>
                      <a:pt x="6111" y="512"/>
                    </a:cubicBezTo>
                    <a:cubicBezTo>
                      <a:pt x="1327" y="2187"/>
                      <a:pt x="-1185" y="7450"/>
                      <a:pt x="549" y="12234"/>
                    </a:cubicBezTo>
                    <a:cubicBezTo>
                      <a:pt x="2224" y="17019"/>
                      <a:pt x="7487" y="19591"/>
                      <a:pt x="12272" y="17916"/>
                    </a:cubicBezTo>
                    <a:cubicBezTo>
                      <a:pt x="16996" y="16301"/>
                      <a:pt x="19509" y="11038"/>
                      <a:pt x="17834" y="6194"/>
                    </a:cubicBezTo>
                    <a:close/>
                  </a:path>
                </a:pathLst>
              </a:custGeom>
              <a:grpFill/>
              <a:ln w="5978" cap="flat">
                <a:noFill/>
                <a:prstDash val="solid"/>
                <a:miter/>
              </a:ln>
            </p:spPr>
            <p:txBody>
              <a:bodyPr rtlCol="0" anchor="ctr"/>
              <a:lstStyle/>
              <a:p>
                <a:endParaRPr lang="en-GB"/>
              </a:p>
            </p:txBody>
          </p:sp>
        </p:grpSp>
        <p:grpSp>
          <p:nvGrpSpPr>
            <p:cNvPr id="725" name="Graphic 3">
              <a:extLst>
                <a:ext uri="{FF2B5EF4-FFF2-40B4-BE49-F238E27FC236}">
                  <a16:creationId xmlns:a16="http://schemas.microsoft.com/office/drawing/2014/main" id="{848728BE-FE80-476C-AC76-E23F258B4557}"/>
                </a:ext>
              </a:extLst>
            </p:cNvPr>
            <p:cNvGrpSpPr/>
            <p:nvPr/>
          </p:nvGrpSpPr>
          <p:grpSpPr>
            <a:xfrm>
              <a:off x="6419377" y="5056450"/>
              <a:ext cx="119238" cy="654211"/>
              <a:chOff x="6419377" y="5056450"/>
              <a:chExt cx="119238" cy="654211"/>
            </a:xfrm>
            <a:grpFill/>
          </p:grpSpPr>
          <p:sp>
            <p:nvSpPr>
              <p:cNvPr id="3215" name="Vrije vorm: vorm 3214">
                <a:extLst>
                  <a:ext uri="{FF2B5EF4-FFF2-40B4-BE49-F238E27FC236}">
                    <a16:creationId xmlns:a16="http://schemas.microsoft.com/office/drawing/2014/main" id="{6F58F4E5-7013-475A-A6FA-86E653D3EA84}"/>
                  </a:ext>
                </a:extLst>
              </p:cNvPr>
              <p:cNvSpPr/>
              <p:nvPr/>
            </p:nvSpPr>
            <p:spPr>
              <a:xfrm>
                <a:off x="6426963" y="5064993"/>
                <a:ext cx="104124" cy="637126"/>
              </a:xfrm>
              <a:custGeom>
                <a:avLst/>
                <a:gdLst>
                  <a:gd name="connsiteX0" fmla="*/ 2990 w 104124"/>
                  <a:gd name="connsiteY0" fmla="*/ 0 h 637126"/>
                  <a:gd name="connsiteX1" fmla="*/ 104125 w 104124"/>
                  <a:gd name="connsiteY1" fmla="*/ 636648 h 637126"/>
                  <a:gd name="connsiteX2" fmla="*/ 101074 w 104124"/>
                  <a:gd name="connsiteY2" fmla="*/ 637126 h 637126"/>
                  <a:gd name="connsiteX3" fmla="*/ 0 w 104124"/>
                  <a:gd name="connsiteY3" fmla="*/ 479 h 637126"/>
                </a:gdLst>
                <a:ahLst/>
                <a:cxnLst>
                  <a:cxn ang="0">
                    <a:pos x="connsiteX0" y="connsiteY0"/>
                  </a:cxn>
                  <a:cxn ang="0">
                    <a:pos x="connsiteX1" y="connsiteY1"/>
                  </a:cxn>
                  <a:cxn ang="0">
                    <a:pos x="connsiteX2" y="connsiteY2"/>
                  </a:cxn>
                  <a:cxn ang="0">
                    <a:pos x="connsiteX3" y="connsiteY3"/>
                  </a:cxn>
                </a:cxnLst>
                <a:rect l="l" t="t" r="r" b="b"/>
                <a:pathLst>
                  <a:path w="104124" h="637126">
                    <a:moveTo>
                      <a:pt x="2990" y="0"/>
                    </a:moveTo>
                    <a:lnTo>
                      <a:pt x="104125" y="636648"/>
                    </a:lnTo>
                    <a:lnTo>
                      <a:pt x="101074" y="637126"/>
                    </a:lnTo>
                    <a:lnTo>
                      <a:pt x="0" y="479"/>
                    </a:lnTo>
                    <a:close/>
                  </a:path>
                </a:pathLst>
              </a:custGeom>
              <a:grpFill/>
              <a:ln w="5978" cap="flat">
                <a:noFill/>
                <a:prstDash val="solid"/>
                <a:miter/>
              </a:ln>
            </p:spPr>
            <p:txBody>
              <a:bodyPr rtlCol="0" anchor="ctr"/>
              <a:lstStyle/>
              <a:p>
                <a:endParaRPr lang="en-GB"/>
              </a:p>
            </p:txBody>
          </p:sp>
          <p:sp>
            <p:nvSpPr>
              <p:cNvPr id="3216" name="Vrije vorm: vorm 3215">
                <a:extLst>
                  <a:ext uri="{FF2B5EF4-FFF2-40B4-BE49-F238E27FC236}">
                    <a16:creationId xmlns:a16="http://schemas.microsoft.com/office/drawing/2014/main" id="{B517E550-C797-477B-9083-65C8367BB34E}"/>
                  </a:ext>
                </a:extLst>
              </p:cNvPr>
              <p:cNvSpPr/>
              <p:nvPr/>
            </p:nvSpPr>
            <p:spPr>
              <a:xfrm>
                <a:off x="6419377" y="5056450"/>
                <a:ext cx="18282" cy="18460"/>
              </a:xfrm>
              <a:custGeom>
                <a:avLst/>
                <a:gdLst>
                  <a:gd name="connsiteX0" fmla="*/ 110 w 18282"/>
                  <a:gd name="connsiteY0" fmla="*/ 10637 h 18460"/>
                  <a:gd name="connsiteX1" fmla="*/ 7706 w 18282"/>
                  <a:gd name="connsiteY1" fmla="*/ 110 h 18460"/>
                  <a:gd name="connsiteX2" fmla="*/ 18172 w 18282"/>
                  <a:gd name="connsiteY2" fmla="*/ 7825 h 18460"/>
                  <a:gd name="connsiteX3" fmla="*/ 10577 w 18282"/>
                  <a:gd name="connsiteY3" fmla="*/ 18352 h 18460"/>
                  <a:gd name="connsiteX4" fmla="*/ 110 w 18282"/>
                  <a:gd name="connsiteY4" fmla="*/ 10637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60">
                    <a:moveTo>
                      <a:pt x="110" y="10637"/>
                    </a:moveTo>
                    <a:cubicBezTo>
                      <a:pt x="-667" y="5613"/>
                      <a:pt x="2742" y="888"/>
                      <a:pt x="7706" y="110"/>
                    </a:cubicBezTo>
                    <a:cubicBezTo>
                      <a:pt x="12730" y="-667"/>
                      <a:pt x="17395" y="2742"/>
                      <a:pt x="18172" y="7825"/>
                    </a:cubicBezTo>
                    <a:cubicBezTo>
                      <a:pt x="18950" y="12849"/>
                      <a:pt x="15541" y="17574"/>
                      <a:pt x="10577" y="18352"/>
                    </a:cubicBezTo>
                    <a:cubicBezTo>
                      <a:pt x="5613" y="19129"/>
                      <a:pt x="888" y="15660"/>
                      <a:pt x="110" y="10637"/>
                    </a:cubicBezTo>
                    <a:close/>
                  </a:path>
                </a:pathLst>
              </a:custGeom>
              <a:grpFill/>
              <a:ln w="5978" cap="flat">
                <a:noFill/>
                <a:prstDash val="solid"/>
                <a:miter/>
              </a:ln>
            </p:spPr>
            <p:txBody>
              <a:bodyPr rtlCol="0" anchor="ctr"/>
              <a:lstStyle/>
              <a:p>
                <a:endParaRPr lang="en-GB"/>
              </a:p>
            </p:txBody>
          </p:sp>
          <p:sp>
            <p:nvSpPr>
              <p:cNvPr id="3217" name="Vrije vorm: vorm 3216">
                <a:extLst>
                  <a:ext uri="{FF2B5EF4-FFF2-40B4-BE49-F238E27FC236}">
                    <a16:creationId xmlns:a16="http://schemas.microsoft.com/office/drawing/2014/main" id="{344DB176-5612-4BE2-B608-71A10932C6DA}"/>
                  </a:ext>
                </a:extLst>
              </p:cNvPr>
              <p:cNvSpPr/>
              <p:nvPr/>
            </p:nvSpPr>
            <p:spPr>
              <a:xfrm>
                <a:off x="6520331" y="5692246"/>
                <a:ext cx="18284" cy="18414"/>
              </a:xfrm>
              <a:custGeom>
                <a:avLst/>
                <a:gdLst>
                  <a:gd name="connsiteX0" fmla="*/ 111 w 18284"/>
                  <a:gd name="connsiteY0" fmla="*/ 10591 h 18414"/>
                  <a:gd name="connsiteX1" fmla="*/ 10577 w 18284"/>
                  <a:gd name="connsiteY1" fmla="*/ 18306 h 18414"/>
                  <a:gd name="connsiteX2" fmla="*/ 18172 w 18284"/>
                  <a:gd name="connsiteY2" fmla="*/ 7780 h 18414"/>
                  <a:gd name="connsiteX3" fmla="*/ 7706 w 18284"/>
                  <a:gd name="connsiteY3" fmla="*/ 125 h 18414"/>
                  <a:gd name="connsiteX4" fmla="*/ 111 w 18284"/>
                  <a:gd name="connsiteY4" fmla="*/ 10591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14">
                    <a:moveTo>
                      <a:pt x="111" y="10591"/>
                    </a:moveTo>
                    <a:cubicBezTo>
                      <a:pt x="888" y="15615"/>
                      <a:pt x="5613" y="19084"/>
                      <a:pt x="10577" y="18306"/>
                    </a:cubicBezTo>
                    <a:cubicBezTo>
                      <a:pt x="15601" y="17529"/>
                      <a:pt x="18950" y="12804"/>
                      <a:pt x="18172" y="7780"/>
                    </a:cubicBezTo>
                    <a:cubicBezTo>
                      <a:pt x="17395" y="2756"/>
                      <a:pt x="12670" y="-713"/>
                      <a:pt x="7706" y="125"/>
                    </a:cubicBezTo>
                    <a:cubicBezTo>
                      <a:pt x="2742" y="842"/>
                      <a:pt x="-667" y="5567"/>
                      <a:pt x="111" y="10591"/>
                    </a:cubicBezTo>
                    <a:close/>
                  </a:path>
                </a:pathLst>
              </a:custGeom>
              <a:grpFill/>
              <a:ln w="5978" cap="flat">
                <a:noFill/>
                <a:prstDash val="solid"/>
                <a:miter/>
              </a:ln>
            </p:spPr>
            <p:txBody>
              <a:bodyPr rtlCol="0" anchor="ctr"/>
              <a:lstStyle/>
              <a:p>
                <a:endParaRPr lang="en-GB"/>
              </a:p>
            </p:txBody>
          </p:sp>
        </p:grpSp>
        <p:grpSp>
          <p:nvGrpSpPr>
            <p:cNvPr id="726" name="Graphic 3">
              <a:extLst>
                <a:ext uri="{FF2B5EF4-FFF2-40B4-BE49-F238E27FC236}">
                  <a16:creationId xmlns:a16="http://schemas.microsoft.com/office/drawing/2014/main" id="{997CCB59-22E2-4B1E-B6E6-DADEEC2FBFEA}"/>
                </a:ext>
              </a:extLst>
            </p:cNvPr>
            <p:cNvGrpSpPr/>
            <p:nvPr/>
          </p:nvGrpSpPr>
          <p:grpSpPr>
            <a:xfrm>
              <a:off x="6482167" y="5330384"/>
              <a:ext cx="131449" cy="517178"/>
              <a:chOff x="6482167" y="5330384"/>
              <a:chExt cx="131449" cy="517178"/>
            </a:xfrm>
            <a:grpFill/>
          </p:grpSpPr>
          <p:sp>
            <p:nvSpPr>
              <p:cNvPr id="3212" name="Vrije vorm: vorm 3211">
                <a:extLst>
                  <a:ext uri="{FF2B5EF4-FFF2-40B4-BE49-F238E27FC236}">
                    <a16:creationId xmlns:a16="http://schemas.microsoft.com/office/drawing/2014/main" id="{D91FC61D-816A-47D8-96D2-76B00468D252}"/>
                  </a:ext>
                </a:extLst>
              </p:cNvPr>
              <p:cNvSpPr/>
              <p:nvPr/>
            </p:nvSpPr>
            <p:spPr>
              <a:xfrm>
                <a:off x="6489392" y="5338994"/>
                <a:ext cx="116310" cy="500336"/>
              </a:xfrm>
              <a:custGeom>
                <a:avLst/>
                <a:gdLst>
                  <a:gd name="connsiteX0" fmla="*/ 0 w 116310"/>
                  <a:gd name="connsiteY0" fmla="*/ 675 h 500336"/>
                  <a:gd name="connsiteX1" fmla="*/ 2975 w 116310"/>
                  <a:gd name="connsiteY1" fmla="*/ 0 h 500336"/>
                  <a:gd name="connsiteX2" fmla="*/ 116310 w 116310"/>
                  <a:gd name="connsiteY2" fmla="*/ 499662 h 500336"/>
                  <a:gd name="connsiteX3" fmla="*/ 113336 w 116310"/>
                  <a:gd name="connsiteY3" fmla="*/ 500336 h 500336"/>
                </a:gdLst>
                <a:ahLst/>
                <a:cxnLst>
                  <a:cxn ang="0">
                    <a:pos x="connsiteX0" y="connsiteY0"/>
                  </a:cxn>
                  <a:cxn ang="0">
                    <a:pos x="connsiteX1" y="connsiteY1"/>
                  </a:cxn>
                  <a:cxn ang="0">
                    <a:pos x="connsiteX2" y="connsiteY2"/>
                  </a:cxn>
                  <a:cxn ang="0">
                    <a:pos x="connsiteX3" y="connsiteY3"/>
                  </a:cxn>
                </a:cxnLst>
                <a:rect l="l" t="t" r="r" b="b"/>
                <a:pathLst>
                  <a:path w="116310" h="500336">
                    <a:moveTo>
                      <a:pt x="0" y="675"/>
                    </a:moveTo>
                    <a:lnTo>
                      <a:pt x="2975" y="0"/>
                    </a:lnTo>
                    <a:lnTo>
                      <a:pt x="116310" y="499662"/>
                    </a:lnTo>
                    <a:lnTo>
                      <a:pt x="113336" y="500336"/>
                    </a:lnTo>
                    <a:close/>
                  </a:path>
                </a:pathLst>
              </a:custGeom>
              <a:grpFill/>
              <a:ln w="5978" cap="flat">
                <a:noFill/>
                <a:prstDash val="solid"/>
                <a:miter/>
              </a:ln>
            </p:spPr>
            <p:txBody>
              <a:bodyPr rtlCol="0" anchor="ctr"/>
              <a:lstStyle/>
              <a:p>
                <a:endParaRPr lang="en-GB"/>
              </a:p>
            </p:txBody>
          </p:sp>
          <p:sp>
            <p:nvSpPr>
              <p:cNvPr id="3213" name="Vrije vorm: vorm 3212">
                <a:extLst>
                  <a:ext uri="{FF2B5EF4-FFF2-40B4-BE49-F238E27FC236}">
                    <a16:creationId xmlns:a16="http://schemas.microsoft.com/office/drawing/2014/main" id="{D43B6453-55E1-4A94-B9CD-269651FF0501}"/>
                  </a:ext>
                </a:extLst>
              </p:cNvPr>
              <p:cNvSpPr/>
              <p:nvPr/>
            </p:nvSpPr>
            <p:spPr>
              <a:xfrm>
                <a:off x="6595325" y="5829117"/>
                <a:ext cx="18291" cy="18445"/>
              </a:xfrm>
              <a:custGeom>
                <a:avLst/>
                <a:gdLst>
                  <a:gd name="connsiteX0" fmla="*/ 18057 w 18291"/>
                  <a:gd name="connsiteY0" fmla="*/ 7211 h 18445"/>
                  <a:gd name="connsiteX1" fmla="*/ 11179 w 18291"/>
                  <a:gd name="connsiteY1" fmla="*/ 18215 h 18445"/>
                  <a:gd name="connsiteX2" fmla="*/ 234 w 18291"/>
                  <a:gd name="connsiteY2" fmla="*/ 11218 h 18445"/>
                  <a:gd name="connsiteX3" fmla="*/ 7112 w 18291"/>
                  <a:gd name="connsiteY3" fmla="*/ 213 h 18445"/>
                  <a:gd name="connsiteX4" fmla="*/ 18057 w 18291"/>
                  <a:gd name="connsiteY4" fmla="*/ 721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8057" y="7211"/>
                    </a:moveTo>
                    <a:cubicBezTo>
                      <a:pt x="19193" y="12174"/>
                      <a:pt x="16083" y="17079"/>
                      <a:pt x="11179" y="18215"/>
                    </a:cubicBezTo>
                    <a:cubicBezTo>
                      <a:pt x="6215" y="19351"/>
                      <a:pt x="1311" y="16182"/>
                      <a:pt x="234" y="11218"/>
                    </a:cubicBezTo>
                    <a:cubicBezTo>
                      <a:pt x="-902" y="6253"/>
                      <a:pt x="2208" y="1349"/>
                      <a:pt x="7112" y="213"/>
                    </a:cubicBezTo>
                    <a:cubicBezTo>
                      <a:pt x="12017" y="-864"/>
                      <a:pt x="16921" y="2246"/>
                      <a:pt x="18057" y="7211"/>
                    </a:cubicBezTo>
                    <a:close/>
                  </a:path>
                </a:pathLst>
              </a:custGeom>
              <a:grpFill/>
              <a:ln w="5978" cap="flat">
                <a:noFill/>
                <a:prstDash val="solid"/>
                <a:miter/>
              </a:ln>
            </p:spPr>
            <p:txBody>
              <a:bodyPr rtlCol="0" anchor="ctr"/>
              <a:lstStyle/>
              <a:p>
                <a:endParaRPr lang="en-GB"/>
              </a:p>
            </p:txBody>
          </p:sp>
          <p:sp>
            <p:nvSpPr>
              <p:cNvPr id="3214" name="Vrije vorm: vorm 3213">
                <a:extLst>
                  <a:ext uri="{FF2B5EF4-FFF2-40B4-BE49-F238E27FC236}">
                    <a16:creationId xmlns:a16="http://schemas.microsoft.com/office/drawing/2014/main" id="{CEA75AB1-9A6B-45C1-9914-FD106B457897}"/>
                  </a:ext>
                </a:extLst>
              </p:cNvPr>
              <p:cNvSpPr/>
              <p:nvPr/>
            </p:nvSpPr>
            <p:spPr>
              <a:xfrm>
                <a:off x="6482167" y="5330384"/>
                <a:ext cx="18276" cy="18427"/>
              </a:xfrm>
              <a:custGeom>
                <a:avLst/>
                <a:gdLst>
                  <a:gd name="connsiteX0" fmla="*/ 18060 w 18276"/>
                  <a:gd name="connsiteY0" fmla="*/ 7210 h 18427"/>
                  <a:gd name="connsiteX1" fmla="*/ 7115 w 18276"/>
                  <a:gd name="connsiteY1" fmla="*/ 213 h 18427"/>
                  <a:gd name="connsiteX2" fmla="*/ 237 w 18276"/>
                  <a:gd name="connsiteY2" fmla="*/ 11217 h 18427"/>
                  <a:gd name="connsiteX3" fmla="*/ 11242 w 18276"/>
                  <a:gd name="connsiteY3" fmla="*/ 18215 h 18427"/>
                  <a:gd name="connsiteX4" fmla="*/ 18060 w 18276"/>
                  <a:gd name="connsiteY4" fmla="*/ 7210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 h="18427">
                    <a:moveTo>
                      <a:pt x="18060" y="7210"/>
                    </a:moveTo>
                    <a:cubicBezTo>
                      <a:pt x="16923" y="2246"/>
                      <a:pt x="12020" y="-864"/>
                      <a:pt x="7115" y="213"/>
                    </a:cubicBezTo>
                    <a:cubicBezTo>
                      <a:pt x="2151" y="1349"/>
                      <a:pt x="-899" y="6253"/>
                      <a:pt x="237" y="11217"/>
                    </a:cubicBezTo>
                    <a:cubicBezTo>
                      <a:pt x="1374" y="16181"/>
                      <a:pt x="6278" y="19291"/>
                      <a:pt x="11242" y="18215"/>
                    </a:cubicBezTo>
                    <a:cubicBezTo>
                      <a:pt x="16086" y="17078"/>
                      <a:pt x="19137" y="12115"/>
                      <a:pt x="18060" y="7210"/>
                    </a:cubicBezTo>
                    <a:close/>
                  </a:path>
                </a:pathLst>
              </a:custGeom>
              <a:grpFill/>
              <a:ln w="5978" cap="flat">
                <a:noFill/>
                <a:prstDash val="solid"/>
                <a:miter/>
              </a:ln>
            </p:spPr>
            <p:txBody>
              <a:bodyPr rtlCol="0" anchor="ctr"/>
              <a:lstStyle/>
              <a:p>
                <a:endParaRPr lang="en-GB"/>
              </a:p>
            </p:txBody>
          </p:sp>
        </p:grpSp>
        <p:grpSp>
          <p:nvGrpSpPr>
            <p:cNvPr id="727" name="Graphic 3">
              <a:extLst>
                <a:ext uri="{FF2B5EF4-FFF2-40B4-BE49-F238E27FC236}">
                  <a16:creationId xmlns:a16="http://schemas.microsoft.com/office/drawing/2014/main" id="{F3B3E750-0DFC-425E-BD26-1D0982D7E9FE}"/>
                </a:ext>
              </a:extLst>
            </p:cNvPr>
            <p:cNvGrpSpPr/>
            <p:nvPr/>
          </p:nvGrpSpPr>
          <p:grpSpPr>
            <a:xfrm>
              <a:off x="6390889" y="5070308"/>
              <a:ext cx="71251" cy="273633"/>
              <a:chOff x="6390889" y="5070308"/>
              <a:chExt cx="71251" cy="273633"/>
            </a:xfrm>
            <a:grpFill/>
          </p:grpSpPr>
          <p:sp>
            <p:nvSpPr>
              <p:cNvPr id="3209" name="Vrije vorm: vorm 3208">
                <a:extLst>
                  <a:ext uri="{FF2B5EF4-FFF2-40B4-BE49-F238E27FC236}">
                    <a16:creationId xmlns:a16="http://schemas.microsoft.com/office/drawing/2014/main" id="{0B669D4F-6C6F-4E6D-8DC5-74E5A8867A9B}"/>
                  </a:ext>
                </a:extLst>
              </p:cNvPr>
              <p:cNvSpPr/>
              <p:nvPr/>
            </p:nvSpPr>
            <p:spPr>
              <a:xfrm>
                <a:off x="6398435" y="5078749"/>
                <a:ext cx="56099" cy="256752"/>
              </a:xfrm>
              <a:custGeom>
                <a:avLst/>
                <a:gdLst>
                  <a:gd name="connsiteX0" fmla="*/ 2990 w 56099"/>
                  <a:gd name="connsiteY0" fmla="*/ 0 h 256752"/>
                  <a:gd name="connsiteX1" fmla="*/ 56099 w 56099"/>
                  <a:gd name="connsiteY1" fmla="*/ 256154 h 256752"/>
                  <a:gd name="connsiteX2" fmla="*/ 53169 w 56099"/>
                  <a:gd name="connsiteY2" fmla="*/ 256752 h 256752"/>
                  <a:gd name="connsiteX3" fmla="*/ 0 w 56099"/>
                  <a:gd name="connsiteY3" fmla="*/ 658 h 256752"/>
                </a:gdLst>
                <a:ahLst/>
                <a:cxnLst>
                  <a:cxn ang="0">
                    <a:pos x="connsiteX0" y="connsiteY0"/>
                  </a:cxn>
                  <a:cxn ang="0">
                    <a:pos x="connsiteX1" y="connsiteY1"/>
                  </a:cxn>
                  <a:cxn ang="0">
                    <a:pos x="connsiteX2" y="connsiteY2"/>
                  </a:cxn>
                  <a:cxn ang="0">
                    <a:pos x="connsiteX3" y="connsiteY3"/>
                  </a:cxn>
                </a:cxnLst>
                <a:rect l="l" t="t" r="r" b="b"/>
                <a:pathLst>
                  <a:path w="56099" h="256752">
                    <a:moveTo>
                      <a:pt x="2990" y="0"/>
                    </a:moveTo>
                    <a:lnTo>
                      <a:pt x="56099" y="256154"/>
                    </a:lnTo>
                    <a:lnTo>
                      <a:pt x="53169" y="256752"/>
                    </a:lnTo>
                    <a:lnTo>
                      <a:pt x="0" y="658"/>
                    </a:lnTo>
                    <a:close/>
                  </a:path>
                </a:pathLst>
              </a:custGeom>
              <a:grpFill/>
              <a:ln w="5978" cap="flat">
                <a:noFill/>
                <a:prstDash val="solid"/>
                <a:miter/>
              </a:ln>
            </p:spPr>
            <p:txBody>
              <a:bodyPr rtlCol="0" anchor="ctr"/>
              <a:lstStyle/>
              <a:p>
                <a:endParaRPr lang="en-GB"/>
              </a:p>
            </p:txBody>
          </p:sp>
          <p:sp>
            <p:nvSpPr>
              <p:cNvPr id="3210" name="Vrije vorm: vorm 3209">
                <a:extLst>
                  <a:ext uri="{FF2B5EF4-FFF2-40B4-BE49-F238E27FC236}">
                    <a16:creationId xmlns:a16="http://schemas.microsoft.com/office/drawing/2014/main" id="{34D68909-F703-4996-8DDF-3D4452F21178}"/>
                  </a:ext>
                </a:extLst>
              </p:cNvPr>
              <p:cNvSpPr/>
              <p:nvPr/>
            </p:nvSpPr>
            <p:spPr>
              <a:xfrm>
                <a:off x="6443819" y="5325506"/>
                <a:ext cx="18321" cy="18435"/>
              </a:xfrm>
              <a:custGeom>
                <a:avLst/>
                <a:gdLst>
                  <a:gd name="connsiteX0" fmla="*/ 18132 w 18321"/>
                  <a:gd name="connsiteY0" fmla="*/ 7364 h 18435"/>
                  <a:gd name="connsiteX1" fmla="*/ 11015 w 18321"/>
                  <a:gd name="connsiteY1" fmla="*/ 18249 h 18435"/>
                  <a:gd name="connsiteX2" fmla="*/ 190 w 18321"/>
                  <a:gd name="connsiteY2" fmla="*/ 11072 h 18435"/>
                  <a:gd name="connsiteX3" fmla="*/ 7307 w 18321"/>
                  <a:gd name="connsiteY3" fmla="*/ 187 h 18435"/>
                  <a:gd name="connsiteX4" fmla="*/ 18132 w 18321"/>
                  <a:gd name="connsiteY4" fmla="*/ 736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5">
                    <a:moveTo>
                      <a:pt x="18132" y="7364"/>
                    </a:moveTo>
                    <a:cubicBezTo>
                      <a:pt x="19148" y="12328"/>
                      <a:pt x="15979" y="17232"/>
                      <a:pt x="11015" y="18249"/>
                    </a:cubicBezTo>
                    <a:cubicBezTo>
                      <a:pt x="6051" y="19266"/>
                      <a:pt x="1206" y="16036"/>
                      <a:pt x="190" y="11072"/>
                    </a:cubicBezTo>
                    <a:cubicBezTo>
                      <a:pt x="-827" y="6108"/>
                      <a:pt x="2343" y="1204"/>
                      <a:pt x="7307" y="187"/>
                    </a:cubicBezTo>
                    <a:cubicBezTo>
                      <a:pt x="12211" y="-830"/>
                      <a:pt x="17115" y="2400"/>
                      <a:pt x="18132" y="7364"/>
                    </a:cubicBezTo>
                    <a:close/>
                  </a:path>
                </a:pathLst>
              </a:custGeom>
              <a:grpFill/>
              <a:ln w="5978" cap="flat">
                <a:noFill/>
                <a:prstDash val="solid"/>
                <a:miter/>
              </a:ln>
            </p:spPr>
            <p:txBody>
              <a:bodyPr rtlCol="0" anchor="ctr"/>
              <a:lstStyle/>
              <a:p>
                <a:endParaRPr lang="en-GB"/>
              </a:p>
            </p:txBody>
          </p:sp>
          <p:sp>
            <p:nvSpPr>
              <p:cNvPr id="3211" name="Vrije vorm: vorm 3210">
                <a:extLst>
                  <a:ext uri="{FF2B5EF4-FFF2-40B4-BE49-F238E27FC236}">
                    <a16:creationId xmlns:a16="http://schemas.microsoft.com/office/drawing/2014/main" id="{7537AC28-32BB-498E-9F23-69AD8F69B402}"/>
                  </a:ext>
                </a:extLst>
              </p:cNvPr>
              <p:cNvSpPr/>
              <p:nvPr/>
            </p:nvSpPr>
            <p:spPr>
              <a:xfrm>
                <a:off x="6390889" y="5070308"/>
                <a:ext cx="18321" cy="18436"/>
              </a:xfrm>
              <a:custGeom>
                <a:avLst/>
                <a:gdLst>
                  <a:gd name="connsiteX0" fmla="*/ 18132 w 18321"/>
                  <a:gd name="connsiteY0" fmla="*/ 7364 h 18436"/>
                  <a:gd name="connsiteX1" fmla="*/ 7307 w 18321"/>
                  <a:gd name="connsiteY1" fmla="*/ 187 h 18436"/>
                  <a:gd name="connsiteX2" fmla="*/ 190 w 18321"/>
                  <a:gd name="connsiteY2" fmla="*/ 11072 h 18436"/>
                  <a:gd name="connsiteX3" fmla="*/ 11015 w 18321"/>
                  <a:gd name="connsiteY3" fmla="*/ 18249 h 18436"/>
                  <a:gd name="connsiteX4" fmla="*/ 18132 w 18321"/>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8132" y="7364"/>
                    </a:moveTo>
                    <a:cubicBezTo>
                      <a:pt x="17115" y="2400"/>
                      <a:pt x="12211" y="-830"/>
                      <a:pt x="7307" y="187"/>
                    </a:cubicBezTo>
                    <a:cubicBezTo>
                      <a:pt x="2343" y="1204"/>
                      <a:pt x="-827" y="6048"/>
                      <a:pt x="190" y="11072"/>
                    </a:cubicBezTo>
                    <a:cubicBezTo>
                      <a:pt x="1207" y="16036"/>
                      <a:pt x="6051" y="19266"/>
                      <a:pt x="11015" y="18249"/>
                    </a:cubicBezTo>
                    <a:cubicBezTo>
                      <a:pt x="15979" y="17232"/>
                      <a:pt x="19149" y="12388"/>
                      <a:pt x="18132" y="7364"/>
                    </a:cubicBezTo>
                    <a:close/>
                  </a:path>
                </a:pathLst>
              </a:custGeom>
              <a:grpFill/>
              <a:ln w="5978" cap="flat">
                <a:noFill/>
                <a:prstDash val="solid"/>
                <a:miter/>
              </a:ln>
            </p:spPr>
            <p:txBody>
              <a:bodyPr rtlCol="0" anchor="ctr"/>
              <a:lstStyle/>
              <a:p>
                <a:endParaRPr lang="en-GB"/>
              </a:p>
            </p:txBody>
          </p:sp>
        </p:grpSp>
        <p:grpSp>
          <p:nvGrpSpPr>
            <p:cNvPr id="728" name="Graphic 3">
              <a:extLst>
                <a:ext uri="{FF2B5EF4-FFF2-40B4-BE49-F238E27FC236}">
                  <a16:creationId xmlns:a16="http://schemas.microsoft.com/office/drawing/2014/main" id="{E10F2DEC-824A-462C-832E-6E2F0D1C72B4}"/>
                </a:ext>
              </a:extLst>
            </p:cNvPr>
            <p:cNvGrpSpPr/>
            <p:nvPr/>
          </p:nvGrpSpPr>
          <p:grpSpPr>
            <a:xfrm>
              <a:off x="5147294" y="1479528"/>
              <a:ext cx="59695" cy="107100"/>
              <a:chOff x="5147294" y="1479528"/>
              <a:chExt cx="59695" cy="107100"/>
            </a:xfrm>
            <a:grpFill/>
          </p:grpSpPr>
          <p:sp>
            <p:nvSpPr>
              <p:cNvPr id="3206" name="Vrije vorm: vorm 3205">
                <a:extLst>
                  <a:ext uri="{FF2B5EF4-FFF2-40B4-BE49-F238E27FC236}">
                    <a16:creationId xmlns:a16="http://schemas.microsoft.com/office/drawing/2014/main" id="{E00F430E-45C5-49E5-8CB6-DC2C84F5E402}"/>
                  </a:ext>
                </a:extLst>
              </p:cNvPr>
              <p:cNvSpPr/>
              <p:nvPr/>
            </p:nvSpPr>
            <p:spPr>
              <a:xfrm>
                <a:off x="5154923" y="1487685"/>
                <a:ext cx="44437" cy="90787"/>
              </a:xfrm>
              <a:custGeom>
                <a:avLst/>
                <a:gdLst>
                  <a:gd name="connsiteX0" fmla="*/ 44437 w 44437"/>
                  <a:gd name="connsiteY0" fmla="*/ 89472 h 90787"/>
                  <a:gd name="connsiteX1" fmla="*/ 41686 w 44437"/>
                  <a:gd name="connsiteY1" fmla="*/ 90787 h 90787"/>
                  <a:gd name="connsiteX2" fmla="*/ 0 w 44437"/>
                  <a:gd name="connsiteY2" fmla="*/ 1316 h 90787"/>
                  <a:gd name="connsiteX3" fmla="*/ 2751 w 44437"/>
                  <a:gd name="connsiteY3" fmla="*/ 0 h 90787"/>
                </a:gdLst>
                <a:ahLst/>
                <a:cxnLst>
                  <a:cxn ang="0">
                    <a:pos x="connsiteX0" y="connsiteY0"/>
                  </a:cxn>
                  <a:cxn ang="0">
                    <a:pos x="connsiteX1" y="connsiteY1"/>
                  </a:cxn>
                  <a:cxn ang="0">
                    <a:pos x="connsiteX2" y="connsiteY2"/>
                  </a:cxn>
                  <a:cxn ang="0">
                    <a:pos x="connsiteX3" y="connsiteY3"/>
                  </a:cxn>
                </a:cxnLst>
                <a:rect l="l" t="t" r="r" b="b"/>
                <a:pathLst>
                  <a:path w="44437" h="90787">
                    <a:moveTo>
                      <a:pt x="44437" y="89472"/>
                    </a:moveTo>
                    <a:lnTo>
                      <a:pt x="41686" y="90787"/>
                    </a:lnTo>
                    <a:lnTo>
                      <a:pt x="0" y="1316"/>
                    </a:lnTo>
                    <a:lnTo>
                      <a:pt x="2751" y="0"/>
                    </a:lnTo>
                    <a:close/>
                  </a:path>
                </a:pathLst>
              </a:custGeom>
              <a:grpFill/>
              <a:ln w="5978" cap="flat">
                <a:noFill/>
                <a:prstDash val="solid"/>
                <a:miter/>
              </a:ln>
            </p:spPr>
            <p:txBody>
              <a:bodyPr rtlCol="0" anchor="ctr"/>
              <a:lstStyle/>
              <a:p>
                <a:endParaRPr lang="en-GB"/>
              </a:p>
            </p:txBody>
          </p:sp>
          <p:sp>
            <p:nvSpPr>
              <p:cNvPr id="3207" name="Vrije vorm: vorm 3206">
                <a:extLst>
                  <a:ext uri="{FF2B5EF4-FFF2-40B4-BE49-F238E27FC236}">
                    <a16:creationId xmlns:a16="http://schemas.microsoft.com/office/drawing/2014/main" id="{4CB4ED55-C27A-4D55-B74D-AB8498191199}"/>
                  </a:ext>
                </a:extLst>
              </p:cNvPr>
              <p:cNvSpPr/>
              <p:nvPr/>
            </p:nvSpPr>
            <p:spPr>
              <a:xfrm>
                <a:off x="5188621" y="1568188"/>
                <a:ext cx="18368" cy="18440"/>
              </a:xfrm>
              <a:custGeom>
                <a:avLst/>
                <a:gdLst>
                  <a:gd name="connsiteX0" fmla="*/ 17498 w 18368"/>
                  <a:gd name="connsiteY0" fmla="*/ 5320 h 18440"/>
                  <a:gd name="connsiteX1" fmla="*/ 13072 w 18368"/>
                  <a:gd name="connsiteY1" fmla="*/ 17580 h 18440"/>
                  <a:gd name="connsiteX2" fmla="*/ 871 w 18368"/>
                  <a:gd name="connsiteY2" fmla="*/ 13095 h 18440"/>
                  <a:gd name="connsiteX3" fmla="*/ 5297 w 18368"/>
                  <a:gd name="connsiteY3" fmla="*/ 834 h 18440"/>
                  <a:gd name="connsiteX4" fmla="*/ 17498 w 18368"/>
                  <a:gd name="connsiteY4" fmla="*/ 5320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0">
                    <a:moveTo>
                      <a:pt x="17498" y="5320"/>
                    </a:moveTo>
                    <a:cubicBezTo>
                      <a:pt x="19651" y="9925"/>
                      <a:pt x="17677" y="15427"/>
                      <a:pt x="13072" y="17580"/>
                    </a:cubicBezTo>
                    <a:cubicBezTo>
                      <a:pt x="8467" y="19733"/>
                      <a:pt x="3024" y="17700"/>
                      <a:pt x="871" y="13095"/>
                    </a:cubicBezTo>
                    <a:cubicBezTo>
                      <a:pt x="-1282" y="8490"/>
                      <a:pt x="692" y="2987"/>
                      <a:pt x="5297" y="834"/>
                    </a:cubicBezTo>
                    <a:cubicBezTo>
                      <a:pt x="9842" y="-1259"/>
                      <a:pt x="15344" y="715"/>
                      <a:pt x="17498" y="5320"/>
                    </a:cubicBezTo>
                    <a:close/>
                  </a:path>
                </a:pathLst>
              </a:custGeom>
              <a:grpFill/>
              <a:ln w="5978" cap="flat">
                <a:noFill/>
                <a:prstDash val="solid"/>
                <a:miter/>
              </a:ln>
            </p:spPr>
            <p:txBody>
              <a:bodyPr rtlCol="0" anchor="ctr"/>
              <a:lstStyle/>
              <a:p>
                <a:endParaRPr lang="en-GB"/>
              </a:p>
            </p:txBody>
          </p:sp>
          <p:sp>
            <p:nvSpPr>
              <p:cNvPr id="3208" name="Vrije vorm: vorm 3207">
                <a:extLst>
                  <a:ext uri="{FF2B5EF4-FFF2-40B4-BE49-F238E27FC236}">
                    <a16:creationId xmlns:a16="http://schemas.microsoft.com/office/drawing/2014/main" id="{814910C1-E7FD-4C8F-8829-170F32C0F075}"/>
                  </a:ext>
                </a:extLst>
              </p:cNvPr>
              <p:cNvSpPr/>
              <p:nvPr/>
            </p:nvSpPr>
            <p:spPr>
              <a:xfrm>
                <a:off x="5147294" y="1479528"/>
                <a:ext cx="18368" cy="18466"/>
              </a:xfrm>
              <a:custGeom>
                <a:avLst/>
                <a:gdLst>
                  <a:gd name="connsiteX0" fmla="*/ 17497 w 18368"/>
                  <a:gd name="connsiteY0" fmla="*/ 5346 h 18466"/>
                  <a:gd name="connsiteX1" fmla="*/ 5297 w 18368"/>
                  <a:gd name="connsiteY1" fmla="*/ 860 h 18466"/>
                  <a:gd name="connsiteX2" fmla="*/ 871 w 18368"/>
                  <a:gd name="connsiteY2" fmla="*/ 13121 h 18466"/>
                  <a:gd name="connsiteX3" fmla="*/ 13072 w 18368"/>
                  <a:gd name="connsiteY3" fmla="*/ 17606 h 18466"/>
                  <a:gd name="connsiteX4" fmla="*/ 17497 w 18368"/>
                  <a:gd name="connsiteY4" fmla="*/ 53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17497" y="5346"/>
                    </a:moveTo>
                    <a:cubicBezTo>
                      <a:pt x="15345" y="741"/>
                      <a:pt x="9902" y="-1293"/>
                      <a:pt x="5297" y="860"/>
                    </a:cubicBezTo>
                    <a:cubicBezTo>
                      <a:pt x="692" y="3013"/>
                      <a:pt x="-1282" y="8456"/>
                      <a:pt x="871" y="13121"/>
                    </a:cubicBezTo>
                    <a:cubicBezTo>
                      <a:pt x="3024" y="17726"/>
                      <a:pt x="8467" y="19759"/>
                      <a:pt x="13072" y="17606"/>
                    </a:cubicBezTo>
                    <a:cubicBezTo>
                      <a:pt x="17677" y="15453"/>
                      <a:pt x="19650" y="9951"/>
                      <a:pt x="17497" y="5346"/>
                    </a:cubicBezTo>
                    <a:close/>
                  </a:path>
                </a:pathLst>
              </a:custGeom>
              <a:grpFill/>
              <a:ln w="5978" cap="flat">
                <a:noFill/>
                <a:prstDash val="solid"/>
                <a:miter/>
              </a:ln>
            </p:spPr>
            <p:txBody>
              <a:bodyPr rtlCol="0" anchor="ctr"/>
              <a:lstStyle/>
              <a:p>
                <a:endParaRPr lang="en-GB"/>
              </a:p>
            </p:txBody>
          </p:sp>
        </p:grpSp>
        <p:grpSp>
          <p:nvGrpSpPr>
            <p:cNvPr id="729" name="Graphic 3">
              <a:extLst>
                <a:ext uri="{FF2B5EF4-FFF2-40B4-BE49-F238E27FC236}">
                  <a16:creationId xmlns:a16="http://schemas.microsoft.com/office/drawing/2014/main" id="{E828AF94-7184-47A9-AFCA-DEDB465AB6A9}"/>
                </a:ext>
              </a:extLst>
            </p:cNvPr>
            <p:cNvGrpSpPr/>
            <p:nvPr/>
          </p:nvGrpSpPr>
          <p:grpSpPr>
            <a:xfrm>
              <a:off x="5147354" y="1479528"/>
              <a:ext cx="68726" cy="126597"/>
              <a:chOff x="5147354" y="1479528"/>
              <a:chExt cx="68726" cy="126597"/>
            </a:xfrm>
            <a:grpFill/>
          </p:grpSpPr>
          <p:sp>
            <p:nvSpPr>
              <p:cNvPr id="3203" name="Vrije vorm: vorm 3202">
                <a:extLst>
                  <a:ext uri="{FF2B5EF4-FFF2-40B4-BE49-F238E27FC236}">
                    <a16:creationId xmlns:a16="http://schemas.microsoft.com/office/drawing/2014/main" id="{A97936BC-D0DD-4C81-A43B-33BED74A72BC}"/>
                  </a:ext>
                </a:extLst>
              </p:cNvPr>
              <p:cNvSpPr/>
              <p:nvPr/>
            </p:nvSpPr>
            <p:spPr>
              <a:xfrm>
                <a:off x="5154923" y="1487685"/>
                <a:ext cx="53527" cy="110284"/>
              </a:xfrm>
              <a:custGeom>
                <a:avLst/>
                <a:gdLst>
                  <a:gd name="connsiteX0" fmla="*/ 53528 w 53527"/>
                  <a:gd name="connsiteY0" fmla="*/ 109029 h 110284"/>
                  <a:gd name="connsiteX1" fmla="*/ 50777 w 53527"/>
                  <a:gd name="connsiteY1" fmla="*/ 110284 h 110284"/>
                  <a:gd name="connsiteX2" fmla="*/ 0 w 53527"/>
                  <a:gd name="connsiteY2" fmla="*/ 1316 h 110284"/>
                  <a:gd name="connsiteX3" fmla="*/ 2751 w 53527"/>
                  <a:gd name="connsiteY3" fmla="*/ 0 h 110284"/>
                </a:gdLst>
                <a:ahLst/>
                <a:cxnLst>
                  <a:cxn ang="0">
                    <a:pos x="connsiteX0" y="connsiteY0"/>
                  </a:cxn>
                  <a:cxn ang="0">
                    <a:pos x="connsiteX1" y="connsiteY1"/>
                  </a:cxn>
                  <a:cxn ang="0">
                    <a:pos x="connsiteX2" y="connsiteY2"/>
                  </a:cxn>
                  <a:cxn ang="0">
                    <a:pos x="connsiteX3" y="connsiteY3"/>
                  </a:cxn>
                </a:cxnLst>
                <a:rect l="l" t="t" r="r" b="b"/>
                <a:pathLst>
                  <a:path w="53527" h="110284">
                    <a:moveTo>
                      <a:pt x="53528" y="109029"/>
                    </a:moveTo>
                    <a:lnTo>
                      <a:pt x="50777" y="110284"/>
                    </a:lnTo>
                    <a:lnTo>
                      <a:pt x="0" y="1316"/>
                    </a:lnTo>
                    <a:lnTo>
                      <a:pt x="2751" y="0"/>
                    </a:lnTo>
                    <a:close/>
                  </a:path>
                </a:pathLst>
              </a:custGeom>
              <a:grpFill/>
              <a:ln w="5978" cap="flat">
                <a:noFill/>
                <a:prstDash val="solid"/>
                <a:miter/>
              </a:ln>
            </p:spPr>
            <p:txBody>
              <a:bodyPr rtlCol="0" anchor="ctr"/>
              <a:lstStyle/>
              <a:p>
                <a:endParaRPr lang="en-GB"/>
              </a:p>
            </p:txBody>
          </p:sp>
          <p:sp>
            <p:nvSpPr>
              <p:cNvPr id="3204" name="Vrije vorm: vorm 3203">
                <a:extLst>
                  <a:ext uri="{FF2B5EF4-FFF2-40B4-BE49-F238E27FC236}">
                    <a16:creationId xmlns:a16="http://schemas.microsoft.com/office/drawing/2014/main" id="{A950937E-A8BD-46FB-B017-F5DFB69243CD}"/>
                  </a:ext>
                </a:extLst>
              </p:cNvPr>
              <p:cNvSpPr/>
              <p:nvPr/>
            </p:nvSpPr>
            <p:spPr>
              <a:xfrm>
                <a:off x="5147354" y="1479528"/>
                <a:ext cx="18368" cy="18440"/>
              </a:xfrm>
              <a:custGeom>
                <a:avLst/>
                <a:gdLst>
                  <a:gd name="connsiteX0" fmla="*/ 871 w 18368"/>
                  <a:gd name="connsiteY0" fmla="*/ 13121 h 18440"/>
                  <a:gd name="connsiteX1" fmla="*/ 5297 w 18368"/>
                  <a:gd name="connsiteY1" fmla="*/ 860 h 18440"/>
                  <a:gd name="connsiteX2" fmla="*/ 17498 w 18368"/>
                  <a:gd name="connsiteY2" fmla="*/ 5346 h 18440"/>
                  <a:gd name="connsiteX3" fmla="*/ 13072 w 18368"/>
                  <a:gd name="connsiteY3" fmla="*/ 17606 h 18440"/>
                  <a:gd name="connsiteX4" fmla="*/ 871 w 18368"/>
                  <a:gd name="connsiteY4" fmla="*/ 13121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0">
                    <a:moveTo>
                      <a:pt x="871" y="13121"/>
                    </a:moveTo>
                    <a:cubicBezTo>
                      <a:pt x="-1282" y="8516"/>
                      <a:pt x="692" y="3013"/>
                      <a:pt x="5297" y="860"/>
                    </a:cubicBezTo>
                    <a:cubicBezTo>
                      <a:pt x="9902" y="-1293"/>
                      <a:pt x="15345" y="741"/>
                      <a:pt x="17498" y="5346"/>
                    </a:cubicBezTo>
                    <a:cubicBezTo>
                      <a:pt x="19651" y="9951"/>
                      <a:pt x="17677" y="15453"/>
                      <a:pt x="13072" y="17606"/>
                    </a:cubicBezTo>
                    <a:cubicBezTo>
                      <a:pt x="8467" y="19699"/>
                      <a:pt x="3024" y="17726"/>
                      <a:pt x="871" y="13121"/>
                    </a:cubicBezTo>
                    <a:close/>
                  </a:path>
                </a:pathLst>
              </a:custGeom>
              <a:grpFill/>
              <a:ln w="5978" cap="flat">
                <a:noFill/>
                <a:prstDash val="solid"/>
                <a:miter/>
              </a:ln>
            </p:spPr>
            <p:txBody>
              <a:bodyPr rtlCol="0" anchor="ctr"/>
              <a:lstStyle/>
              <a:p>
                <a:endParaRPr lang="en-GB"/>
              </a:p>
            </p:txBody>
          </p:sp>
          <p:sp>
            <p:nvSpPr>
              <p:cNvPr id="3205" name="Vrije vorm: vorm 3204">
                <a:extLst>
                  <a:ext uri="{FF2B5EF4-FFF2-40B4-BE49-F238E27FC236}">
                    <a16:creationId xmlns:a16="http://schemas.microsoft.com/office/drawing/2014/main" id="{EB9AD3A7-44CD-44FC-8192-7635BE7E7312}"/>
                  </a:ext>
                </a:extLst>
              </p:cNvPr>
              <p:cNvSpPr/>
              <p:nvPr/>
            </p:nvSpPr>
            <p:spPr>
              <a:xfrm>
                <a:off x="5197711" y="1587660"/>
                <a:ext cx="18368" cy="18466"/>
              </a:xfrm>
              <a:custGeom>
                <a:avLst/>
                <a:gdLst>
                  <a:gd name="connsiteX0" fmla="*/ 871 w 18368"/>
                  <a:gd name="connsiteY0" fmla="*/ 13121 h 18466"/>
                  <a:gd name="connsiteX1" fmla="*/ 13072 w 18368"/>
                  <a:gd name="connsiteY1" fmla="*/ 17606 h 18466"/>
                  <a:gd name="connsiteX2" fmla="*/ 17497 w 18368"/>
                  <a:gd name="connsiteY2" fmla="*/ 5346 h 18466"/>
                  <a:gd name="connsiteX3" fmla="*/ 5297 w 18368"/>
                  <a:gd name="connsiteY3" fmla="*/ 860 h 18466"/>
                  <a:gd name="connsiteX4" fmla="*/ 871 w 18368"/>
                  <a:gd name="connsiteY4" fmla="*/ 13121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871" y="13121"/>
                    </a:moveTo>
                    <a:cubicBezTo>
                      <a:pt x="3024" y="17726"/>
                      <a:pt x="8467" y="19759"/>
                      <a:pt x="13072" y="17606"/>
                    </a:cubicBezTo>
                    <a:cubicBezTo>
                      <a:pt x="17677" y="15453"/>
                      <a:pt x="19650" y="10011"/>
                      <a:pt x="17497" y="5346"/>
                    </a:cubicBezTo>
                    <a:cubicBezTo>
                      <a:pt x="15345" y="741"/>
                      <a:pt x="9902" y="-1293"/>
                      <a:pt x="5297" y="860"/>
                    </a:cubicBezTo>
                    <a:cubicBezTo>
                      <a:pt x="692" y="3013"/>
                      <a:pt x="-1282" y="8516"/>
                      <a:pt x="871" y="13121"/>
                    </a:cubicBezTo>
                    <a:close/>
                  </a:path>
                </a:pathLst>
              </a:custGeom>
              <a:grpFill/>
              <a:ln w="5978" cap="flat">
                <a:noFill/>
                <a:prstDash val="solid"/>
                <a:miter/>
              </a:ln>
            </p:spPr>
            <p:txBody>
              <a:bodyPr rtlCol="0" anchor="ctr"/>
              <a:lstStyle/>
              <a:p>
                <a:endParaRPr lang="en-GB"/>
              </a:p>
            </p:txBody>
          </p:sp>
        </p:grpSp>
        <p:grpSp>
          <p:nvGrpSpPr>
            <p:cNvPr id="730" name="Graphic 3">
              <a:extLst>
                <a:ext uri="{FF2B5EF4-FFF2-40B4-BE49-F238E27FC236}">
                  <a16:creationId xmlns:a16="http://schemas.microsoft.com/office/drawing/2014/main" id="{BDEEF018-8DFA-4D2B-B031-2EDB3FFE0F58}"/>
                </a:ext>
              </a:extLst>
            </p:cNvPr>
            <p:cNvGrpSpPr/>
            <p:nvPr/>
          </p:nvGrpSpPr>
          <p:grpSpPr>
            <a:xfrm>
              <a:off x="5146574" y="1567802"/>
              <a:ext cx="167531" cy="323664"/>
              <a:chOff x="5146574" y="1567802"/>
              <a:chExt cx="167531" cy="323664"/>
            </a:xfrm>
            <a:grpFill/>
          </p:grpSpPr>
          <p:sp>
            <p:nvSpPr>
              <p:cNvPr id="3200" name="Vrije vorm: vorm 3199">
                <a:extLst>
                  <a:ext uri="{FF2B5EF4-FFF2-40B4-BE49-F238E27FC236}">
                    <a16:creationId xmlns:a16="http://schemas.microsoft.com/office/drawing/2014/main" id="{A629E3A0-50D2-4698-ABE8-6FB4067B69AB}"/>
                  </a:ext>
                </a:extLst>
              </p:cNvPr>
              <p:cNvSpPr/>
              <p:nvPr/>
            </p:nvSpPr>
            <p:spPr>
              <a:xfrm>
                <a:off x="5154276" y="1575912"/>
                <a:ext cx="152622" cy="307343"/>
              </a:xfrm>
              <a:custGeom>
                <a:avLst/>
                <a:gdLst>
                  <a:gd name="connsiteX0" fmla="*/ 0 w 152622"/>
                  <a:gd name="connsiteY0" fmla="*/ 1342 h 307343"/>
                  <a:gd name="connsiteX1" fmla="*/ 2740 w 152622"/>
                  <a:gd name="connsiteY1" fmla="*/ 0 h 307343"/>
                  <a:gd name="connsiteX2" fmla="*/ 152623 w 152622"/>
                  <a:gd name="connsiteY2" fmla="*/ 306002 h 307343"/>
                  <a:gd name="connsiteX3" fmla="*/ 149884 w 152622"/>
                  <a:gd name="connsiteY3" fmla="*/ 307344 h 307343"/>
                </a:gdLst>
                <a:ahLst/>
                <a:cxnLst>
                  <a:cxn ang="0">
                    <a:pos x="connsiteX0" y="connsiteY0"/>
                  </a:cxn>
                  <a:cxn ang="0">
                    <a:pos x="connsiteX1" y="connsiteY1"/>
                  </a:cxn>
                  <a:cxn ang="0">
                    <a:pos x="connsiteX2" y="connsiteY2"/>
                  </a:cxn>
                  <a:cxn ang="0">
                    <a:pos x="connsiteX3" y="connsiteY3"/>
                  </a:cxn>
                </a:cxnLst>
                <a:rect l="l" t="t" r="r" b="b"/>
                <a:pathLst>
                  <a:path w="152622" h="307343">
                    <a:moveTo>
                      <a:pt x="0" y="1342"/>
                    </a:moveTo>
                    <a:lnTo>
                      <a:pt x="2740" y="0"/>
                    </a:lnTo>
                    <a:lnTo>
                      <a:pt x="152623" y="306002"/>
                    </a:lnTo>
                    <a:lnTo>
                      <a:pt x="149884" y="307344"/>
                    </a:lnTo>
                    <a:close/>
                  </a:path>
                </a:pathLst>
              </a:custGeom>
              <a:grpFill/>
              <a:ln w="5978" cap="flat">
                <a:noFill/>
                <a:prstDash val="solid"/>
                <a:miter/>
              </a:ln>
            </p:spPr>
            <p:txBody>
              <a:bodyPr rtlCol="0" anchor="ctr"/>
              <a:lstStyle/>
              <a:p>
                <a:endParaRPr lang="en-GB"/>
              </a:p>
            </p:txBody>
          </p:sp>
          <p:sp>
            <p:nvSpPr>
              <p:cNvPr id="3201" name="Vrije vorm: vorm 3200">
                <a:extLst>
                  <a:ext uri="{FF2B5EF4-FFF2-40B4-BE49-F238E27FC236}">
                    <a16:creationId xmlns:a16="http://schemas.microsoft.com/office/drawing/2014/main" id="{321C7AB4-1EAE-408A-B46E-0459498C7403}"/>
                  </a:ext>
                </a:extLst>
              </p:cNvPr>
              <p:cNvSpPr/>
              <p:nvPr/>
            </p:nvSpPr>
            <p:spPr>
              <a:xfrm>
                <a:off x="5146574" y="1567802"/>
                <a:ext cx="18312" cy="18408"/>
              </a:xfrm>
              <a:custGeom>
                <a:avLst/>
                <a:gdLst>
                  <a:gd name="connsiteX0" fmla="*/ 933 w 18312"/>
                  <a:gd name="connsiteY0" fmla="*/ 13241 h 18408"/>
                  <a:gd name="connsiteX1" fmla="*/ 5119 w 18312"/>
                  <a:gd name="connsiteY1" fmla="*/ 921 h 18408"/>
                  <a:gd name="connsiteX2" fmla="*/ 17380 w 18312"/>
                  <a:gd name="connsiteY2" fmla="*/ 5167 h 18408"/>
                  <a:gd name="connsiteX3" fmla="*/ 13194 w 18312"/>
                  <a:gd name="connsiteY3" fmla="*/ 17488 h 18408"/>
                  <a:gd name="connsiteX4" fmla="*/ 933 w 18312"/>
                  <a:gd name="connsiteY4" fmla="*/ 1324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8">
                    <a:moveTo>
                      <a:pt x="933" y="13241"/>
                    </a:moveTo>
                    <a:cubicBezTo>
                      <a:pt x="-1280" y="8696"/>
                      <a:pt x="574" y="3134"/>
                      <a:pt x="5119" y="921"/>
                    </a:cubicBezTo>
                    <a:cubicBezTo>
                      <a:pt x="9665" y="-1292"/>
                      <a:pt x="15167" y="622"/>
                      <a:pt x="17380" y="5167"/>
                    </a:cubicBezTo>
                    <a:cubicBezTo>
                      <a:pt x="19593" y="9713"/>
                      <a:pt x="17739" y="15275"/>
                      <a:pt x="13194" y="17488"/>
                    </a:cubicBezTo>
                    <a:cubicBezTo>
                      <a:pt x="8708" y="19701"/>
                      <a:pt x="3206" y="17787"/>
                      <a:pt x="933" y="13241"/>
                    </a:cubicBezTo>
                    <a:close/>
                  </a:path>
                </a:pathLst>
              </a:custGeom>
              <a:grpFill/>
              <a:ln w="5978" cap="flat">
                <a:noFill/>
                <a:prstDash val="solid"/>
                <a:miter/>
              </a:ln>
            </p:spPr>
            <p:txBody>
              <a:bodyPr rtlCol="0" anchor="ctr"/>
              <a:lstStyle/>
              <a:p>
                <a:endParaRPr lang="en-GB"/>
              </a:p>
            </p:txBody>
          </p:sp>
          <p:sp>
            <p:nvSpPr>
              <p:cNvPr id="3202" name="Vrije vorm: vorm 3201">
                <a:extLst>
                  <a:ext uri="{FF2B5EF4-FFF2-40B4-BE49-F238E27FC236}">
                    <a16:creationId xmlns:a16="http://schemas.microsoft.com/office/drawing/2014/main" id="{35492D8A-3194-40AF-982D-4E4BE020E7F3}"/>
                  </a:ext>
                </a:extLst>
              </p:cNvPr>
              <p:cNvSpPr/>
              <p:nvPr/>
            </p:nvSpPr>
            <p:spPr>
              <a:xfrm>
                <a:off x="5295793" y="1873059"/>
                <a:ext cx="18312" cy="18408"/>
              </a:xfrm>
              <a:custGeom>
                <a:avLst/>
                <a:gdLst>
                  <a:gd name="connsiteX0" fmla="*/ 933 w 18312"/>
                  <a:gd name="connsiteY0" fmla="*/ 13241 h 18408"/>
                  <a:gd name="connsiteX1" fmla="*/ 13193 w 18312"/>
                  <a:gd name="connsiteY1" fmla="*/ 17488 h 18408"/>
                  <a:gd name="connsiteX2" fmla="*/ 17380 w 18312"/>
                  <a:gd name="connsiteY2" fmla="*/ 5167 h 18408"/>
                  <a:gd name="connsiteX3" fmla="*/ 5119 w 18312"/>
                  <a:gd name="connsiteY3" fmla="*/ 921 h 18408"/>
                  <a:gd name="connsiteX4" fmla="*/ 933 w 18312"/>
                  <a:gd name="connsiteY4" fmla="*/ 1324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8">
                    <a:moveTo>
                      <a:pt x="933" y="13241"/>
                    </a:moveTo>
                    <a:cubicBezTo>
                      <a:pt x="3146" y="17787"/>
                      <a:pt x="8648" y="19701"/>
                      <a:pt x="13193" y="17488"/>
                    </a:cubicBezTo>
                    <a:cubicBezTo>
                      <a:pt x="17739" y="15275"/>
                      <a:pt x="19593" y="9773"/>
                      <a:pt x="17380" y="5167"/>
                    </a:cubicBezTo>
                    <a:cubicBezTo>
                      <a:pt x="15167" y="622"/>
                      <a:pt x="9665" y="-1292"/>
                      <a:pt x="5119" y="921"/>
                    </a:cubicBezTo>
                    <a:cubicBezTo>
                      <a:pt x="574" y="3134"/>
                      <a:pt x="-1280" y="8696"/>
                      <a:pt x="933" y="13241"/>
                    </a:cubicBezTo>
                    <a:close/>
                  </a:path>
                </a:pathLst>
              </a:custGeom>
              <a:grpFill/>
              <a:ln w="5978" cap="flat">
                <a:noFill/>
                <a:prstDash val="solid"/>
                <a:miter/>
              </a:ln>
            </p:spPr>
            <p:txBody>
              <a:bodyPr rtlCol="0" anchor="ctr"/>
              <a:lstStyle/>
              <a:p>
                <a:endParaRPr lang="en-GB"/>
              </a:p>
            </p:txBody>
          </p:sp>
        </p:grpSp>
        <p:grpSp>
          <p:nvGrpSpPr>
            <p:cNvPr id="731" name="Graphic 3">
              <a:extLst>
                <a:ext uri="{FF2B5EF4-FFF2-40B4-BE49-F238E27FC236}">
                  <a16:creationId xmlns:a16="http://schemas.microsoft.com/office/drawing/2014/main" id="{D19EA1B0-EFDD-43DF-A8CE-C7BCD63D94B3}"/>
                </a:ext>
              </a:extLst>
            </p:cNvPr>
            <p:cNvGrpSpPr/>
            <p:nvPr/>
          </p:nvGrpSpPr>
          <p:grpSpPr>
            <a:xfrm>
              <a:off x="6360112" y="5077029"/>
              <a:ext cx="60975" cy="244924"/>
              <a:chOff x="6360112" y="5077029"/>
              <a:chExt cx="60975" cy="244924"/>
            </a:xfrm>
            <a:grpFill/>
          </p:grpSpPr>
          <p:sp>
            <p:nvSpPr>
              <p:cNvPr id="3197" name="Vrije vorm: vorm 3196">
                <a:extLst>
                  <a:ext uri="{FF2B5EF4-FFF2-40B4-BE49-F238E27FC236}">
                    <a16:creationId xmlns:a16="http://schemas.microsoft.com/office/drawing/2014/main" id="{8C479F32-FD76-40B2-A795-C59678C5A4D3}"/>
                  </a:ext>
                </a:extLst>
              </p:cNvPr>
              <p:cNvSpPr/>
              <p:nvPr/>
            </p:nvSpPr>
            <p:spPr>
              <a:xfrm>
                <a:off x="6367567" y="5085195"/>
                <a:ext cx="45805" cy="227955"/>
              </a:xfrm>
              <a:custGeom>
                <a:avLst/>
                <a:gdLst>
                  <a:gd name="connsiteX0" fmla="*/ 0 w 45805"/>
                  <a:gd name="connsiteY0" fmla="*/ 564 h 227955"/>
                  <a:gd name="connsiteX1" fmla="*/ 2998 w 45805"/>
                  <a:gd name="connsiteY1" fmla="*/ 0 h 227955"/>
                  <a:gd name="connsiteX2" fmla="*/ 45805 w 45805"/>
                  <a:gd name="connsiteY2" fmla="*/ 227391 h 227955"/>
                  <a:gd name="connsiteX3" fmla="*/ 42808 w 45805"/>
                  <a:gd name="connsiteY3" fmla="*/ 227955 h 227955"/>
                </a:gdLst>
                <a:ahLst/>
                <a:cxnLst>
                  <a:cxn ang="0">
                    <a:pos x="connsiteX0" y="connsiteY0"/>
                  </a:cxn>
                  <a:cxn ang="0">
                    <a:pos x="connsiteX1" y="connsiteY1"/>
                  </a:cxn>
                  <a:cxn ang="0">
                    <a:pos x="connsiteX2" y="connsiteY2"/>
                  </a:cxn>
                  <a:cxn ang="0">
                    <a:pos x="connsiteX3" y="connsiteY3"/>
                  </a:cxn>
                </a:cxnLst>
                <a:rect l="l" t="t" r="r" b="b"/>
                <a:pathLst>
                  <a:path w="45805" h="227955">
                    <a:moveTo>
                      <a:pt x="0" y="564"/>
                    </a:moveTo>
                    <a:lnTo>
                      <a:pt x="2998" y="0"/>
                    </a:lnTo>
                    <a:lnTo>
                      <a:pt x="45805" y="227391"/>
                    </a:lnTo>
                    <a:lnTo>
                      <a:pt x="42808" y="227955"/>
                    </a:lnTo>
                    <a:close/>
                  </a:path>
                </a:pathLst>
              </a:custGeom>
              <a:grpFill/>
              <a:ln w="5978" cap="flat">
                <a:noFill/>
                <a:prstDash val="solid"/>
                <a:miter/>
              </a:ln>
            </p:spPr>
            <p:txBody>
              <a:bodyPr rtlCol="0" anchor="ctr"/>
              <a:lstStyle/>
              <a:p>
                <a:endParaRPr lang="en-GB"/>
              </a:p>
            </p:txBody>
          </p:sp>
          <p:sp>
            <p:nvSpPr>
              <p:cNvPr id="3198" name="Vrije vorm: vorm 3197">
                <a:extLst>
                  <a:ext uri="{FF2B5EF4-FFF2-40B4-BE49-F238E27FC236}">
                    <a16:creationId xmlns:a16="http://schemas.microsoft.com/office/drawing/2014/main" id="{0B027D82-385E-49D0-BFE3-107D4F2CDB05}"/>
                  </a:ext>
                </a:extLst>
              </p:cNvPr>
              <p:cNvSpPr/>
              <p:nvPr/>
            </p:nvSpPr>
            <p:spPr>
              <a:xfrm>
                <a:off x="6402755" y="5303561"/>
                <a:ext cx="18333" cy="18391"/>
              </a:xfrm>
              <a:custGeom>
                <a:avLst/>
                <a:gdLst>
                  <a:gd name="connsiteX0" fmla="*/ 18168 w 18333"/>
                  <a:gd name="connsiteY0" fmla="*/ 7479 h 18391"/>
                  <a:gd name="connsiteX1" fmla="*/ 10871 w 18333"/>
                  <a:gd name="connsiteY1" fmla="*/ 18244 h 18391"/>
                  <a:gd name="connsiteX2" fmla="*/ 166 w 18333"/>
                  <a:gd name="connsiteY2" fmla="*/ 10888 h 18391"/>
                  <a:gd name="connsiteX3" fmla="*/ 7462 w 18333"/>
                  <a:gd name="connsiteY3" fmla="*/ 182 h 18391"/>
                  <a:gd name="connsiteX4" fmla="*/ 18168 w 18333"/>
                  <a:gd name="connsiteY4" fmla="*/ 7479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1">
                    <a:moveTo>
                      <a:pt x="18168" y="7479"/>
                    </a:moveTo>
                    <a:cubicBezTo>
                      <a:pt x="19124" y="12502"/>
                      <a:pt x="15835" y="17287"/>
                      <a:pt x="10871" y="18244"/>
                    </a:cubicBezTo>
                    <a:cubicBezTo>
                      <a:pt x="5907" y="19141"/>
                      <a:pt x="1122" y="15852"/>
                      <a:pt x="166" y="10888"/>
                    </a:cubicBezTo>
                    <a:cubicBezTo>
                      <a:pt x="-791" y="5864"/>
                      <a:pt x="2498" y="1079"/>
                      <a:pt x="7462" y="182"/>
                    </a:cubicBezTo>
                    <a:cubicBezTo>
                      <a:pt x="12426" y="-834"/>
                      <a:pt x="17211" y="2515"/>
                      <a:pt x="18168" y="7479"/>
                    </a:cubicBezTo>
                    <a:close/>
                  </a:path>
                </a:pathLst>
              </a:custGeom>
              <a:grpFill/>
              <a:ln w="5978" cap="flat">
                <a:noFill/>
                <a:prstDash val="solid"/>
                <a:miter/>
              </a:ln>
            </p:spPr>
            <p:txBody>
              <a:bodyPr rtlCol="0" anchor="ctr"/>
              <a:lstStyle/>
              <a:p>
                <a:endParaRPr lang="en-GB"/>
              </a:p>
            </p:txBody>
          </p:sp>
          <p:sp>
            <p:nvSpPr>
              <p:cNvPr id="3199" name="Vrije vorm: vorm 3198">
                <a:extLst>
                  <a:ext uri="{FF2B5EF4-FFF2-40B4-BE49-F238E27FC236}">
                    <a16:creationId xmlns:a16="http://schemas.microsoft.com/office/drawing/2014/main" id="{941B7B28-207A-4EE4-BC37-12A4D606C641}"/>
                  </a:ext>
                </a:extLst>
              </p:cNvPr>
              <p:cNvSpPr/>
              <p:nvPr/>
            </p:nvSpPr>
            <p:spPr>
              <a:xfrm>
                <a:off x="6360112" y="5077029"/>
                <a:ext cx="18333" cy="18452"/>
              </a:xfrm>
              <a:custGeom>
                <a:avLst/>
                <a:gdLst>
                  <a:gd name="connsiteX0" fmla="*/ 18168 w 18333"/>
                  <a:gd name="connsiteY0" fmla="*/ 7522 h 18452"/>
                  <a:gd name="connsiteX1" fmla="*/ 7462 w 18333"/>
                  <a:gd name="connsiteY1" fmla="*/ 166 h 18452"/>
                  <a:gd name="connsiteX2" fmla="*/ 166 w 18333"/>
                  <a:gd name="connsiteY2" fmla="*/ 10931 h 18452"/>
                  <a:gd name="connsiteX3" fmla="*/ 10871 w 18333"/>
                  <a:gd name="connsiteY3" fmla="*/ 18287 h 18452"/>
                  <a:gd name="connsiteX4" fmla="*/ 18168 w 18333"/>
                  <a:gd name="connsiteY4" fmla="*/ 7522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168" y="7522"/>
                    </a:moveTo>
                    <a:cubicBezTo>
                      <a:pt x="17211" y="2498"/>
                      <a:pt x="12426" y="-792"/>
                      <a:pt x="7462" y="166"/>
                    </a:cubicBezTo>
                    <a:cubicBezTo>
                      <a:pt x="2498" y="1122"/>
                      <a:pt x="-791" y="5907"/>
                      <a:pt x="166" y="10931"/>
                    </a:cubicBezTo>
                    <a:cubicBezTo>
                      <a:pt x="1122" y="15954"/>
                      <a:pt x="5907" y="19244"/>
                      <a:pt x="10871" y="18287"/>
                    </a:cubicBezTo>
                    <a:cubicBezTo>
                      <a:pt x="15835" y="17330"/>
                      <a:pt x="19124" y="12545"/>
                      <a:pt x="18168" y="7522"/>
                    </a:cubicBezTo>
                    <a:close/>
                  </a:path>
                </a:pathLst>
              </a:custGeom>
              <a:grpFill/>
              <a:ln w="5978" cap="flat">
                <a:noFill/>
                <a:prstDash val="solid"/>
                <a:miter/>
              </a:ln>
            </p:spPr>
            <p:txBody>
              <a:bodyPr rtlCol="0" anchor="ctr"/>
              <a:lstStyle/>
              <a:p>
                <a:endParaRPr lang="en-GB"/>
              </a:p>
            </p:txBody>
          </p:sp>
        </p:grpSp>
        <p:grpSp>
          <p:nvGrpSpPr>
            <p:cNvPr id="732" name="Graphic 3">
              <a:extLst>
                <a:ext uri="{FF2B5EF4-FFF2-40B4-BE49-F238E27FC236}">
                  <a16:creationId xmlns:a16="http://schemas.microsoft.com/office/drawing/2014/main" id="{535CFEF5-F802-43C4-8CAA-2B5601FC3160}"/>
                </a:ext>
              </a:extLst>
            </p:cNvPr>
            <p:cNvGrpSpPr/>
            <p:nvPr/>
          </p:nvGrpSpPr>
          <p:grpSpPr>
            <a:xfrm>
              <a:off x="6447586" y="5343568"/>
              <a:ext cx="73045" cy="282245"/>
              <a:chOff x="6447586" y="5343568"/>
              <a:chExt cx="73045" cy="282245"/>
            </a:xfrm>
            <a:grpFill/>
          </p:grpSpPr>
          <p:sp>
            <p:nvSpPr>
              <p:cNvPr id="3194" name="Vrije vorm: vorm 3193">
                <a:extLst>
                  <a:ext uri="{FF2B5EF4-FFF2-40B4-BE49-F238E27FC236}">
                    <a16:creationId xmlns:a16="http://schemas.microsoft.com/office/drawing/2014/main" id="{6D47E876-845D-4A57-96D1-B1F5BA8FB374}"/>
                  </a:ext>
                </a:extLst>
              </p:cNvPr>
              <p:cNvSpPr/>
              <p:nvPr/>
            </p:nvSpPr>
            <p:spPr>
              <a:xfrm>
                <a:off x="6455132" y="5352008"/>
                <a:ext cx="57893" cy="265364"/>
              </a:xfrm>
              <a:custGeom>
                <a:avLst/>
                <a:gdLst>
                  <a:gd name="connsiteX0" fmla="*/ 2990 w 57893"/>
                  <a:gd name="connsiteY0" fmla="*/ 0 h 265364"/>
                  <a:gd name="connsiteX1" fmla="*/ 57893 w 57893"/>
                  <a:gd name="connsiteY1" fmla="*/ 264767 h 265364"/>
                  <a:gd name="connsiteX2" fmla="*/ 54903 w 57893"/>
                  <a:gd name="connsiteY2" fmla="*/ 265365 h 265364"/>
                  <a:gd name="connsiteX3" fmla="*/ 0 w 57893"/>
                  <a:gd name="connsiteY3" fmla="*/ 658 h 265364"/>
                </a:gdLst>
                <a:ahLst/>
                <a:cxnLst>
                  <a:cxn ang="0">
                    <a:pos x="connsiteX0" y="connsiteY0"/>
                  </a:cxn>
                  <a:cxn ang="0">
                    <a:pos x="connsiteX1" y="connsiteY1"/>
                  </a:cxn>
                  <a:cxn ang="0">
                    <a:pos x="connsiteX2" y="connsiteY2"/>
                  </a:cxn>
                  <a:cxn ang="0">
                    <a:pos x="connsiteX3" y="connsiteY3"/>
                  </a:cxn>
                </a:cxnLst>
                <a:rect l="l" t="t" r="r" b="b"/>
                <a:pathLst>
                  <a:path w="57893" h="265364">
                    <a:moveTo>
                      <a:pt x="2990" y="0"/>
                    </a:moveTo>
                    <a:lnTo>
                      <a:pt x="57893" y="264767"/>
                    </a:lnTo>
                    <a:lnTo>
                      <a:pt x="54903" y="265365"/>
                    </a:lnTo>
                    <a:lnTo>
                      <a:pt x="0" y="658"/>
                    </a:lnTo>
                    <a:close/>
                  </a:path>
                </a:pathLst>
              </a:custGeom>
              <a:grpFill/>
              <a:ln w="5978" cap="flat">
                <a:noFill/>
                <a:prstDash val="solid"/>
                <a:miter/>
              </a:ln>
            </p:spPr>
            <p:txBody>
              <a:bodyPr rtlCol="0" anchor="ctr"/>
              <a:lstStyle/>
              <a:p>
                <a:endParaRPr lang="en-GB"/>
              </a:p>
            </p:txBody>
          </p:sp>
          <p:sp>
            <p:nvSpPr>
              <p:cNvPr id="3195" name="Vrije vorm: vorm 3194">
                <a:extLst>
                  <a:ext uri="{FF2B5EF4-FFF2-40B4-BE49-F238E27FC236}">
                    <a16:creationId xmlns:a16="http://schemas.microsoft.com/office/drawing/2014/main" id="{B9BD7768-0C17-461F-A0BD-1E998E838D20}"/>
                  </a:ext>
                </a:extLst>
              </p:cNvPr>
              <p:cNvSpPr/>
              <p:nvPr/>
            </p:nvSpPr>
            <p:spPr>
              <a:xfrm>
                <a:off x="6502310" y="5607377"/>
                <a:ext cx="18321" cy="18435"/>
              </a:xfrm>
              <a:custGeom>
                <a:avLst/>
                <a:gdLst>
                  <a:gd name="connsiteX0" fmla="*/ 18132 w 18321"/>
                  <a:gd name="connsiteY0" fmla="*/ 7364 h 18435"/>
                  <a:gd name="connsiteX1" fmla="*/ 11015 w 18321"/>
                  <a:gd name="connsiteY1" fmla="*/ 18249 h 18435"/>
                  <a:gd name="connsiteX2" fmla="*/ 190 w 18321"/>
                  <a:gd name="connsiteY2" fmla="*/ 11072 h 18435"/>
                  <a:gd name="connsiteX3" fmla="*/ 7307 w 18321"/>
                  <a:gd name="connsiteY3" fmla="*/ 187 h 18435"/>
                  <a:gd name="connsiteX4" fmla="*/ 18132 w 18321"/>
                  <a:gd name="connsiteY4" fmla="*/ 736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5">
                    <a:moveTo>
                      <a:pt x="18132" y="7364"/>
                    </a:moveTo>
                    <a:cubicBezTo>
                      <a:pt x="19149" y="12328"/>
                      <a:pt x="15979" y="17232"/>
                      <a:pt x="11015" y="18249"/>
                    </a:cubicBezTo>
                    <a:cubicBezTo>
                      <a:pt x="6051" y="19266"/>
                      <a:pt x="1207" y="16036"/>
                      <a:pt x="190" y="11072"/>
                    </a:cubicBezTo>
                    <a:cubicBezTo>
                      <a:pt x="-827" y="6108"/>
                      <a:pt x="2343" y="1204"/>
                      <a:pt x="7307" y="187"/>
                    </a:cubicBezTo>
                    <a:cubicBezTo>
                      <a:pt x="12211" y="-830"/>
                      <a:pt x="17055" y="2400"/>
                      <a:pt x="18132" y="7364"/>
                    </a:cubicBezTo>
                    <a:close/>
                  </a:path>
                </a:pathLst>
              </a:custGeom>
              <a:grpFill/>
              <a:ln w="5978" cap="flat">
                <a:noFill/>
                <a:prstDash val="solid"/>
                <a:miter/>
              </a:ln>
            </p:spPr>
            <p:txBody>
              <a:bodyPr rtlCol="0" anchor="ctr"/>
              <a:lstStyle/>
              <a:p>
                <a:endParaRPr lang="en-GB"/>
              </a:p>
            </p:txBody>
          </p:sp>
          <p:sp>
            <p:nvSpPr>
              <p:cNvPr id="3196" name="Vrije vorm: vorm 3195">
                <a:extLst>
                  <a:ext uri="{FF2B5EF4-FFF2-40B4-BE49-F238E27FC236}">
                    <a16:creationId xmlns:a16="http://schemas.microsoft.com/office/drawing/2014/main" id="{0202CEAE-2479-4EC6-B6C5-2BB432DA936E}"/>
                  </a:ext>
                </a:extLst>
              </p:cNvPr>
              <p:cNvSpPr/>
              <p:nvPr/>
            </p:nvSpPr>
            <p:spPr>
              <a:xfrm>
                <a:off x="6447586" y="5343568"/>
                <a:ext cx="18321" cy="18436"/>
              </a:xfrm>
              <a:custGeom>
                <a:avLst/>
                <a:gdLst>
                  <a:gd name="connsiteX0" fmla="*/ 18132 w 18321"/>
                  <a:gd name="connsiteY0" fmla="*/ 7364 h 18436"/>
                  <a:gd name="connsiteX1" fmla="*/ 7307 w 18321"/>
                  <a:gd name="connsiteY1" fmla="*/ 187 h 18436"/>
                  <a:gd name="connsiteX2" fmla="*/ 190 w 18321"/>
                  <a:gd name="connsiteY2" fmla="*/ 11072 h 18436"/>
                  <a:gd name="connsiteX3" fmla="*/ 11015 w 18321"/>
                  <a:gd name="connsiteY3" fmla="*/ 18249 h 18436"/>
                  <a:gd name="connsiteX4" fmla="*/ 18132 w 18321"/>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8132" y="7364"/>
                    </a:moveTo>
                    <a:cubicBezTo>
                      <a:pt x="17115" y="2400"/>
                      <a:pt x="12271" y="-830"/>
                      <a:pt x="7307" y="187"/>
                    </a:cubicBezTo>
                    <a:cubicBezTo>
                      <a:pt x="2343" y="1204"/>
                      <a:pt x="-827" y="6048"/>
                      <a:pt x="190" y="11072"/>
                    </a:cubicBezTo>
                    <a:cubicBezTo>
                      <a:pt x="1206" y="16036"/>
                      <a:pt x="6051" y="19266"/>
                      <a:pt x="11015" y="18249"/>
                    </a:cubicBezTo>
                    <a:cubicBezTo>
                      <a:pt x="15979" y="17232"/>
                      <a:pt x="19149" y="12388"/>
                      <a:pt x="18132" y="7364"/>
                    </a:cubicBezTo>
                    <a:close/>
                  </a:path>
                </a:pathLst>
              </a:custGeom>
              <a:grpFill/>
              <a:ln w="5978" cap="flat">
                <a:noFill/>
                <a:prstDash val="solid"/>
                <a:miter/>
              </a:ln>
            </p:spPr>
            <p:txBody>
              <a:bodyPr rtlCol="0" anchor="ctr"/>
              <a:lstStyle/>
              <a:p>
                <a:endParaRPr lang="en-GB"/>
              </a:p>
            </p:txBody>
          </p:sp>
        </p:grpSp>
        <p:grpSp>
          <p:nvGrpSpPr>
            <p:cNvPr id="733" name="Graphic 3">
              <a:extLst>
                <a:ext uri="{FF2B5EF4-FFF2-40B4-BE49-F238E27FC236}">
                  <a16:creationId xmlns:a16="http://schemas.microsoft.com/office/drawing/2014/main" id="{DEAA552E-E2F6-4AF2-882E-B6BAF8E54888}"/>
                </a:ext>
              </a:extLst>
            </p:cNvPr>
            <p:cNvGrpSpPr/>
            <p:nvPr/>
          </p:nvGrpSpPr>
          <p:grpSpPr>
            <a:xfrm>
              <a:off x="5128741" y="1532920"/>
              <a:ext cx="155532" cy="367712"/>
              <a:chOff x="5128741" y="1532920"/>
              <a:chExt cx="155532" cy="367712"/>
            </a:xfrm>
            <a:grpFill/>
          </p:grpSpPr>
          <p:sp>
            <p:nvSpPr>
              <p:cNvPr id="3191" name="Vrije vorm: vorm 3190">
                <a:extLst>
                  <a:ext uri="{FF2B5EF4-FFF2-40B4-BE49-F238E27FC236}">
                    <a16:creationId xmlns:a16="http://schemas.microsoft.com/office/drawing/2014/main" id="{ED977C75-8AEA-4984-B52D-B53141FB8C9F}"/>
                  </a:ext>
                </a:extLst>
              </p:cNvPr>
              <p:cNvSpPr/>
              <p:nvPr/>
            </p:nvSpPr>
            <p:spPr>
              <a:xfrm>
                <a:off x="5136323" y="1541152"/>
                <a:ext cx="140367" cy="351247"/>
              </a:xfrm>
              <a:custGeom>
                <a:avLst/>
                <a:gdLst>
                  <a:gd name="connsiteX0" fmla="*/ 140368 w 140367"/>
                  <a:gd name="connsiteY0" fmla="*/ 350111 h 351247"/>
                  <a:gd name="connsiteX1" fmla="*/ 137557 w 140367"/>
                  <a:gd name="connsiteY1" fmla="*/ 351248 h 351247"/>
                  <a:gd name="connsiteX2" fmla="*/ 0 w 140367"/>
                  <a:gd name="connsiteY2" fmla="*/ 1077 h 351247"/>
                  <a:gd name="connsiteX3" fmla="*/ 2811 w 140367"/>
                  <a:gd name="connsiteY3" fmla="*/ 0 h 351247"/>
                </a:gdLst>
                <a:ahLst/>
                <a:cxnLst>
                  <a:cxn ang="0">
                    <a:pos x="connsiteX0" y="connsiteY0"/>
                  </a:cxn>
                  <a:cxn ang="0">
                    <a:pos x="connsiteX1" y="connsiteY1"/>
                  </a:cxn>
                  <a:cxn ang="0">
                    <a:pos x="connsiteX2" y="connsiteY2"/>
                  </a:cxn>
                  <a:cxn ang="0">
                    <a:pos x="connsiteX3" y="connsiteY3"/>
                  </a:cxn>
                </a:cxnLst>
                <a:rect l="l" t="t" r="r" b="b"/>
                <a:pathLst>
                  <a:path w="140367" h="351247">
                    <a:moveTo>
                      <a:pt x="140368" y="350111"/>
                    </a:moveTo>
                    <a:lnTo>
                      <a:pt x="137557" y="351248"/>
                    </a:lnTo>
                    <a:lnTo>
                      <a:pt x="0" y="1077"/>
                    </a:lnTo>
                    <a:lnTo>
                      <a:pt x="2811" y="0"/>
                    </a:lnTo>
                    <a:close/>
                  </a:path>
                </a:pathLst>
              </a:custGeom>
              <a:grpFill/>
              <a:ln w="5978" cap="flat">
                <a:noFill/>
                <a:prstDash val="solid"/>
                <a:miter/>
              </a:ln>
            </p:spPr>
            <p:txBody>
              <a:bodyPr rtlCol="0" anchor="ctr"/>
              <a:lstStyle/>
              <a:p>
                <a:endParaRPr lang="en-GB"/>
              </a:p>
            </p:txBody>
          </p:sp>
          <p:sp>
            <p:nvSpPr>
              <p:cNvPr id="3192" name="Vrije vorm: vorm 3191">
                <a:extLst>
                  <a:ext uri="{FF2B5EF4-FFF2-40B4-BE49-F238E27FC236}">
                    <a16:creationId xmlns:a16="http://schemas.microsoft.com/office/drawing/2014/main" id="{AA9F312D-0DDE-4487-84CC-2AD513D19C13}"/>
                  </a:ext>
                </a:extLst>
              </p:cNvPr>
              <p:cNvSpPr/>
              <p:nvPr/>
            </p:nvSpPr>
            <p:spPr>
              <a:xfrm>
                <a:off x="5265938" y="1882194"/>
                <a:ext cx="18335" cy="18438"/>
              </a:xfrm>
              <a:custGeom>
                <a:avLst/>
                <a:gdLst>
                  <a:gd name="connsiteX0" fmla="*/ 17690 w 18335"/>
                  <a:gd name="connsiteY0" fmla="*/ 5840 h 18438"/>
                  <a:gd name="connsiteX1" fmla="*/ 12547 w 18335"/>
                  <a:gd name="connsiteY1" fmla="*/ 17801 h 18438"/>
                  <a:gd name="connsiteX2" fmla="*/ 645 w 18335"/>
                  <a:gd name="connsiteY2" fmla="*/ 12598 h 18438"/>
                  <a:gd name="connsiteX3" fmla="*/ 5788 w 18335"/>
                  <a:gd name="connsiteY3" fmla="*/ 637 h 18438"/>
                  <a:gd name="connsiteX4" fmla="*/ 17690 w 18335"/>
                  <a:gd name="connsiteY4" fmla="*/ 5840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7690" y="5840"/>
                    </a:moveTo>
                    <a:cubicBezTo>
                      <a:pt x="19544" y="10565"/>
                      <a:pt x="17271" y="15947"/>
                      <a:pt x="12547" y="17801"/>
                    </a:cubicBezTo>
                    <a:cubicBezTo>
                      <a:pt x="7822" y="19656"/>
                      <a:pt x="2499" y="17323"/>
                      <a:pt x="645" y="12598"/>
                    </a:cubicBezTo>
                    <a:cubicBezTo>
                      <a:pt x="-1209" y="7874"/>
                      <a:pt x="1064" y="2491"/>
                      <a:pt x="5788" y="637"/>
                    </a:cubicBezTo>
                    <a:cubicBezTo>
                      <a:pt x="10513" y="-1217"/>
                      <a:pt x="15836" y="1115"/>
                      <a:pt x="17690" y="5840"/>
                    </a:cubicBezTo>
                    <a:close/>
                  </a:path>
                </a:pathLst>
              </a:custGeom>
              <a:grpFill/>
              <a:ln w="5978" cap="flat">
                <a:noFill/>
                <a:prstDash val="solid"/>
                <a:miter/>
              </a:ln>
            </p:spPr>
            <p:txBody>
              <a:bodyPr rtlCol="0" anchor="ctr"/>
              <a:lstStyle/>
              <a:p>
                <a:endParaRPr lang="en-GB"/>
              </a:p>
            </p:txBody>
          </p:sp>
          <p:sp>
            <p:nvSpPr>
              <p:cNvPr id="3193" name="Vrije vorm: vorm 3192">
                <a:extLst>
                  <a:ext uri="{FF2B5EF4-FFF2-40B4-BE49-F238E27FC236}">
                    <a16:creationId xmlns:a16="http://schemas.microsoft.com/office/drawing/2014/main" id="{CF37753D-F38F-4F34-8263-72509FE23A9C}"/>
                  </a:ext>
                </a:extLst>
              </p:cNvPr>
              <p:cNvSpPr/>
              <p:nvPr/>
            </p:nvSpPr>
            <p:spPr>
              <a:xfrm>
                <a:off x="5128741" y="1532920"/>
                <a:ext cx="18327" cy="18445"/>
              </a:xfrm>
              <a:custGeom>
                <a:avLst/>
                <a:gdLst>
                  <a:gd name="connsiteX0" fmla="*/ 17690 w 18327"/>
                  <a:gd name="connsiteY0" fmla="*/ 5840 h 18445"/>
                  <a:gd name="connsiteX1" fmla="*/ 5788 w 18327"/>
                  <a:gd name="connsiteY1" fmla="*/ 637 h 18445"/>
                  <a:gd name="connsiteX2" fmla="*/ 645 w 18327"/>
                  <a:gd name="connsiteY2" fmla="*/ 12598 h 18445"/>
                  <a:gd name="connsiteX3" fmla="*/ 12547 w 18327"/>
                  <a:gd name="connsiteY3" fmla="*/ 17801 h 18445"/>
                  <a:gd name="connsiteX4" fmla="*/ 17690 w 18327"/>
                  <a:gd name="connsiteY4" fmla="*/ 584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5">
                    <a:moveTo>
                      <a:pt x="17690" y="5840"/>
                    </a:moveTo>
                    <a:cubicBezTo>
                      <a:pt x="15836" y="1115"/>
                      <a:pt x="10513" y="-1217"/>
                      <a:pt x="5788" y="637"/>
                    </a:cubicBezTo>
                    <a:cubicBezTo>
                      <a:pt x="1064" y="2491"/>
                      <a:pt x="-1209" y="7814"/>
                      <a:pt x="645" y="12598"/>
                    </a:cubicBezTo>
                    <a:cubicBezTo>
                      <a:pt x="2499" y="17383"/>
                      <a:pt x="7822" y="19655"/>
                      <a:pt x="12547" y="17801"/>
                    </a:cubicBezTo>
                    <a:cubicBezTo>
                      <a:pt x="17211" y="15947"/>
                      <a:pt x="19544" y="10565"/>
                      <a:pt x="17690" y="5840"/>
                    </a:cubicBezTo>
                    <a:close/>
                  </a:path>
                </a:pathLst>
              </a:custGeom>
              <a:grpFill/>
              <a:ln w="5978" cap="flat">
                <a:noFill/>
                <a:prstDash val="solid"/>
                <a:miter/>
              </a:ln>
            </p:spPr>
            <p:txBody>
              <a:bodyPr rtlCol="0" anchor="ctr"/>
              <a:lstStyle/>
              <a:p>
                <a:endParaRPr lang="en-GB"/>
              </a:p>
            </p:txBody>
          </p:sp>
        </p:grpSp>
        <p:grpSp>
          <p:nvGrpSpPr>
            <p:cNvPr id="734" name="Graphic 3">
              <a:extLst>
                <a:ext uri="{FF2B5EF4-FFF2-40B4-BE49-F238E27FC236}">
                  <a16:creationId xmlns:a16="http://schemas.microsoft.com/office/drawing/2014/main" id="{57269C1D-90A1-4440-A1F0-72D68130A714}"/>
                </a:ext>
              </a:extLst>
            </p:cNvPr>
            <p:cNvGrpSpPr/>
            <p:nvPr/>
          </p:nvGrpSpPr>
          <p:grpSpPr>
            <a:xfrm>
              <a:off x="6599389" y="5847059"/>
              <a:ext cx="36654" cy="99544"/>
              <a:chOff x="6599389" y="5847059"/>
              <a:chExt cx="36654" cy="99544"/>
            </a:xfrm>
            <a:grpFill/>
          </p:grpSpPr>
          <p:sp>
            <p:nvSpPr>
              <p:cNvPr id="3188" name="Vrije vorm: vorm 3187">
                <a:extLst>
                  <a:ext uri="{FF2B5EF4-FFF2-40B4-BE49-F238E27FC236}">
                    <a16:creationId xmlns:a16="http://schemas.microsoft.com/office/drawing/2014/main" id="{42630B1A-C95E-4E21-8DED-5E89427A40AA}"/>
                  </a:ext>
                </a:extLst>
              </p:cNvPr>
              <p:cNvSpPr/>
              <p:nvPr/>
            </p:nvSpPr>
            <p:spPr>
              <a:xfrm>
                <a:off x="6606923" y="5855525"/>
                <a:ext cx="21530" cy="82653"/>
              </a:xfrm>
              <a:custGeom>
                <a:avLst/>
                <a:gdLst>
                  <a:gd name="connsiteX0" fmla="*/ 2930 w 21530"/>
                  <a:gd name="connsiteY0" fmla="*/ 0 h 82653"/>
                  <a:gd name="connsiteX1" fmla="*/ 21530 w 21530"/>
                  <a:gd name="connsiteY1" fmla="*/ 81936 h 82653"/>
                  <a:gd name="connsiteX2" fmla="*/ 18600 w 21530"/>
                  <a:gd name="connsiteY2" fmla="*/ 82654 h 82653"/>
                  <a:gd name="connsiteX3" fmla="*/ 0 w 21530"/>
                  <a:gd name="connsiteY3" fmla="*/ 658 h 82653"/>
                </a:gdLst>
                <a:ahLst/>
                <a:cxnLst>
                  <a:cxn ang="0">
                    <a:pos x="connsiteX0" y="connsiteY0"/>
                  </a:cxn>
                  <a:cxn ang="0">
                    <a:pos x="connsiteX1" y="connsiteY1"/>
                  </a:cxn>
                  <a:cxn ang="0">
                    <a:pos x="connsiteX2" y="connsiteY2"/>
                  </a:cxn>
                  <a:cxn ang="0">
                    <a:pos x="connsiteX3" y="connsiteY3"/>
                  </a:cxn>
                </a:cxnLst>
                <a:rect l="l" t="t" r="r" b="b"/>
                <a:pathLst>
                  <a:path w="21530" h="82653">
                    <a:moveTo>
                      <a:pt x="2930" y="0"/>
                    </a:moveTo>
                    <a:lnTo>
                      <a:pt x="21530" y="81936"/>
                    </a:lnTo>
                    <a:lnTo>
                      <a:pt x="18600" y="82654"/>
                    </a:lnTo>
                    <a:lnTo>
                      <a:pt x="0" y="658"/>
                    </a:lnTo>
                    <a:close/>
                  </a:path>
                </a:pathLst>
              </a:custGeom>
              <a:grpFill/>
              <a:ln w="5978" cap="flat">
                <a:noFill/>
                <a:prstDash val="solid"/>
                <a:miter/>
              </a:ln>
            </p:spPr>
            <p:txBody>
              <a:bodyPr rtlCol="0" anchor="ctr"/>
              <a:lstStyle/>
              <a:p>
                <a:endParaRPr lang="en-GB"/>
              </a:p>
            </p:txBody>
          </p:sp>
          <p:sp>
            <p:nvSpPr>
              <p:cNvPr id="3189" name="Vrije vorm: vorm 3188">
                <a:extLst>
                  <a:ext uri="{FF2B5EF4-FFF2-40B4-BE49-F238E27FC236}">
                    <a16:creationId xmlns:a16="http://schemas.microsoft.com/office/drawing/2014/main" id="{F726D31B-405A-4265-B736-D3EB13C1B6A8}"/>
                  </a:ext>
                </a:extLst>
              </p:cNvPr>
              <p:cNvSpPr/>
              <p:nvPr/>
            </p:nvSpPr>
            <p:spPr>
              <a:xfrm>
                <a:off x="6617753" y="5928157"/>
                <a:ext cx="18291" cy="18445"/>
              </a:xfrm>
              <a:custGeom>
                <a:avLst/>
                <a:gdLst>
                  <a:gd name="connsiteX0" fmla="*/ 18057 w 18291"/>
                  <a:gd name="connsiteY0" fmla="*/ 7211 h 18445"/>
                  <a:gd name="connsiteX1" fmla="*/ 11179 w 18291"/>
                  <a:gd name="connsiteY1" fmla="*/ 18215 h 18445"/>
                  <a:gd name="connsiteX2" fmla="*/ 234 w 18291"/>
                  <a:gd name="connsiteY2" fmla="*/ 11218 h 18445"/>
                  <a:gd name="connsiteX3" fmla="*/ 7112 w 18291"/>
                  <a:gd name="connsiteY3" fmla="*/ 213 h 18445"/>
                  <a:gd name="connsiteX4" fmla="*/ 18057 w 18291"/>
                  <a:gd name="connsiteY4" fmla="*/ 721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8057" y="7211"/>
                    </a:moveTo>
                    <a:cubicBezTo>
                      <a:pt x="19193" y="12174"/>
                      <a:pt x="16083" y="17079"/>
                      <a:pt x="11179" y="18215"/>
                    </a:cubicBezTo>
                    <a:cubicBezTo>
                      <a:pt x="6275" y="19351"/>
                      <a:pt x="1311" y="16182"/>
                      <a:pt x="234" y="11218"/>
                    </a:cubicBezTo>
                    <a:cubicBezTo>
                      <a:pt x="-902" y="6253"/>
                      <a:pt x="2208" y="1349"/>
                      <a:pt x="7112" y="213"/>
                    </a:cubicBezTo>
                    <a:cubicBezTo>
                      <a:pt x="12017" y="-864"/>
                      <a:pt x="16921" y="2246"/>
                      <a:pt x="18057" y="7211"/>
                    </a:cubicBezTo>
                    <a:close/>
                  </a:path>
                </a:pathLst>
              </a:custGeom>
              <a:grpFill/>
              <a:ln w="5978" cap="flat">
                <a:noFill/>
                <a:prstDash val="solid"/>
                <a:miter/>
              </a:ln>
            </p:spPr>
            <p:txBody>
              <a:bodyPr rtlCol="0" anchor="ctr"/>
              <a:lstStyle/>
              <a:p>
                <a:endParaRPr lang="en-GB"/>
              </a:p>
            </p:txBody>
          </p:sp>
          <p:sp>
            <p:nvSpPr>
              <p:cNvPr id="3190" name="Vrije vorm: vorm 3189">
                <a:extLst>
                  <a:ext uri="{FF2B5EF4-FFF2-40B4-BE49-F238E27FC236}">
                    <a16:creationId xmlns:a16="http://schemas.microsoft.com/office/drawing/2014/main" id="{918BC363-2FFD-401B-ADFB-CC1178FFB2FA}"/>
                  </a:ext>
                </a:extLst>
              </p:cNvPr>
              <p:cNvSpPr/>
              <p:nvPr/>
            </p:nvSpPr>
            <p:spPr>
              <a:xfrm>
                <a:off x="6599389" y="5847059"/>
                <a:ext cx="18294" cy="18427"/>
              </a:xfrm>
              <a:custGeom>
                <a:avLst/>
                <a:gdLst>
                  <a:gd name="connsiteX0" fmla="*/ 18060 w 18294"/>
                  <a:gd name="connsiteY0" fmla="*/ 7211 h 18427"/>
                  <a:gd name="connsiteX1" fmla="*/ 7115 w 18294"/>
                  <a:gd name="connsiteY1" fmla="*/ 213 h 18427"/>
                  <a:gd name="connsiteX2" fmla="*/ 237 w 18294"/>
                  <a:gd name="connsiteY2" fmla="*/ 11218 h 18427"/>
                  <a:gd name="connsiteX3" fmla="*/ 11242 w 18294"/>
                  <a:gd name="connsiteY3" fmla="*/ 18215 h 18427"/>
                  <a:gd name="connsiteX4" fmla="*/ 18060 w 18294"/>
                  <a:gd name="connsiteY4" fmla="*/ 7211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7">
                    <a:moveTo>
                      <a:pt x="18060" y="7211"/>
                    </a:moveTo>
                    <a:cubicBezTo>
                      <a:pt x="16923" y="2246"/>
                      <a:pt x="12019" y="-864"/>
                      <a:pt x="7115" y="213"/>
                    </a:cubicBezTo>
                    <a:cubicBezTo>
                      <a:pt x="2151" y="1349"/>
                      <a:pt x="-899" y="6253"/>
                      <a:pt x="237" y="11218"/>
                    </a:cubicBezTo>
                    <a:cubicBezTo>
                      <a:pt x="1373" y="16182"/>
                      <a:pt x="6278" y="19291"/>
                      <a:pt x="11242" y="18215"/>
                    </a:cubicBezTo>
                    <a:cubicBezTo>
                      <a:pt x="16086" y="17138"/>
                      <a:pt x="19196" y="12174"/>
                      <a:pt x="18060" y="7211"/>
                    </a:cubicBezTo>
                    <a:close/>
                  </a:path>
                </a:pathLst>
              </a:custGeom>
              <a:grpFill/>
              <a:ln w="5978" cap="flat">
                <a:noFill/>
                <a:prstDash val="solid"/>
                <a:miter/>
              </a:ln>
            </p:spPr>
            <p:txBody>
              <a:bodyPr rtlCol="0" anchor="ctr"/>
              <a:lstStyle/>
              <a:p>
                <a:endParaRPr lang="en-GB"/>
              </a:p>
            </p:txBody>
          </p:sp>
        </p:grpSp>
        <p:grpSp>
          <p:nvGrpSpPr>
            <p:cNvPr id="735" name="Graphic 3">
              <a:extLst>
                <a:ext uri="{FF2B5EF4-FFF2-40B4-BE49-F238E27FC236}">
                  <a16:creationId xmlns:a16="http://schemas.microsoft.com/office/drawing/2014/main" id="{6E4B5E28-683E-4472-BE1F-3BFF721E56BC}"/>
                </a:ext>
              </a:extLst>
            </p:cNvPr>
            <p:cNvGrpSpPr/>
            <p:nvPr/>
          </p:nvGrpSpPr>
          <p:grpSpPr>
            <a:xfrm>
              <a:off x="6390268" y="5070463"/>
              <a:ext cx="108079" cy="659785"/>
              <a:chOff x="6390268" y="5070463"/>
              <a:chExt cx="108079" cy="659785"/>
            </a:xfrm>
            <a:grpFill/>
          </p:grpSpPr>
          <p:sp>
            <p:nvSpPr>
              <p:cNvPr id="3185" name="Vrije vorm: vorm 3184">
                <a:extLst>
                  <a:ext uri="{FF2B5EF4-FFF2-40B4-BE49-F238E27FC236}">
                    <a16:creationId xmlns:a16="http://schemas.microsoft.com/office/drawing/2014/main" id="{8468A783-53BA-43A1-B215-E0B159657B4B}"/>
                  </a:ext>
                </a:extLst>
              </p:cNvPr>
              <p:cNvSpPr/>
              <p:nvPr/>
            </p:nvSpPr>
            <p:spPr>
              <a:xfrm>
                <a:off x="6397837" y="5078988"/>
                <a:ext cx="92940" cy="642688"/>
              </a:xfrm>
              <a:custGeom>
                <a:avLst/>
                <a:gdLst>
                  <a:gd name="connsiteX0" fmla="*/ 3050 w 92940"/>
                  <a:gd name="connsiteY0" fmla="*/ 0 h 642688"/>
                  <a:gd name="connsiteX1" fmla="*/ 92941 w 92940"/>
                  <a:gd name="connsiteY1" fmla="*/ 642269 h 642688"/>
                  <a:gd name="connsiteX2" fmla="*/ 89890 w 92940"/>
                  <a:gd name="connsiteY2" fmla="*/ 642688 h 642688"/>
                  <a:gd name="connsiteX3" fmla="*/ 0 w 92940"/>
                  <a:gd name="connsiteY3" fmla="*/ 419 h 642688"/>
                </a:gdLst>
                <a:ahLst/>
                <a:cxnLst>
                  <a:cxn ang="0">
                    <a:pos x="connsiteX0" y="connsiteY0"/>
                  </a:cxn>
                  <a:cxn ang="0">
                    <a:pos x="connsiteX1" y="connsiteY1"/>
                  </a:cxn>
                  <a:cxn ang="0">
                    <a:pos x="connsiteX2" y="connsiteY2"/>
                  </a:cxn>
                  <a:cxn ang="0">
                    <a:pos x="connsiteX3" y="connsiteY3"/>
                  </a:cxn>
                </a:cxnLst>
                <a:rect l="l" t="t" r="r" b="b"/>
                <a:pathLst>
                  <a:path w="92940" h="642688">
                    <a:moveTo>
                      <a:pt x="3050" y="0"/>
                    </a:moveTo>
                    <a:lnTo>
                      <a:pt x="92941" y="642269"/>
                    </a:lnTo>
                    <a:lnTo>
                      <a:pt x="89890" y="642688"/>
                    </a:lnTo>
                    <a:lnTo>
                      <a:pt x="0" y="419"/>
                    </a:lnTo>
                    <a:close/>
                  </a:path>
                </a:pathLst>
              </a:custGeom>
              <a:grpFill/>
              <a:ln w="5978" cap="flat">
                <a:noFill/>
                <a:prstDash val="solid"/>
                <a:miter/>
              </a:ln>
            </p:spPr>
            <p:txBody>
              <a:bodyPr rtlCol="0" anchor="ctr"/>
              <a:lstStyle/>
              <a:p>
                <a:endParaRPr lang="en-GB"/>
              </a:p>
            </p:txBody>
          </p:sp>
          <p:sp>
            <p:nvSpPr>
              <p:cNvPr id="3186" name="Vrije vorm: vorm 3185">
                <a:extLst>
                  <a:ext uri="{FF2B5EF4-FFF2-40B4-BE49-F238E27FC236}">
                    <a16:creationId xmlns:a16="http://schemas.microsoft.com/office/drawing/2014/main" id="{2639B442-4D8F-4976-AF74-984D73F1030F}"/>
                  </a:ext>
                </a:extLst>
              </p:cNvPr>
              <p:cNvSpPr/>
              <p:nvPr/>
            </p:nvSpPr>
            <p:spPr>
              <a:xfrm>
                <a:off x="6390268" y="5070463"/>
                <a:ext cx="18307" cy="18412"/>
              </a:xfrm>
              <a:custGeom>
                <a:avLst/>
                <a:gdLst>
                  <a:gd name="connsiteX0" fmla="*/ 93 w 18307"/>
                  <a:gd name="connsiteY0" fmla="*/ 10440 h 18412"/>
                  <a:gd name="connsiteX1" fmla="*/ 7868 w 18307"/>
                  <a:gd name="connsiteY1" fmla="*/ 93 h 18412"/>
                  <a:gd name="connsiteX2" fmla="*/ 18215 w 18307"/>
                  <a:gd name="connsiteY2" fmla="*/ 7987 h 18412"/>
                  <a:gd name="connsiteX3" fmla="*/ 10440 w 18307"/>
                  <a:gd name="connsiteY3" fmla="*/ 18334 h 18412"/>
                  <a:gd name="connsiteX4" fmla="*/ 93 w 18307"/>
                  <a:gd name="connsiteY4" fmla="*/ 10440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12">
                    <a:moveTo>
                      <a:pt x="93" y="10440"/>
                    </a:moveTo>
                    <a:cubicBezTo>
                      <a:pt x="-625" y="5416"/>
                      <a:pt x="2904" y="751"/>
                      <a:pt x="7868" y="93"/>
                    </a:cubicBezTo>
                    <a:cubicBezTo>
                      <a:pt x="12892" y="-625"/>
                      <a:pt x="17497" y="2904"/>
                      <a:pt x="18215" y="7987"/>
                    </a:cubicBezTo>
                    <a:cubicBezTo>
                      <a:pt x="18932" y="13011"/>
                      <a:pt x="15403" y="17676"/>
                      <a:pt x="10440" y="18334"/>
                    </a:cubicBezTo>
                    <a:cubicBezTo>
                      <a:pt x="5416" y="18992"/>
                      <a:pt x="810" y="15463"/>
                      <a:pt x="93" y="10440"/>
                    </a:cubicBezTo>
                    <a:close/>
                  </a:path>
                </a:pathLst>
              </a:custGeom>
              <a:grpFill/>
              <a:ln w="5978" cap="flat">
                <a:noFill/>
                <a:prstDash val="solid"/>
                <a:miter/>
              </a:ln>
            </p:spPr>
            <p:txBody>
              <a:bodyPr rtlCol="0" anchor="ctr"/>
              <a:lstStyle/>
              <a:p>
                <a:endParaRPr lang="en-GB"/>
              </a:p>
            </p:txBody>
          </p:sp>
          <p:sp>
            <p:nvSpPr>
              <p:cNvPr id="3187" name="Vrije vorm: vorm 3186">
                <a:extLst>
                  <a:ext uri="{FF2B5EF4-FFF2-40B4-BE49-F238E27FC236}">
                    <a16:creationId xmlns:a16="http://schemas.microsoft.com/office/drawing/2014/main" id="{B1B6A92A-EDC5-4732-A878-06BCB6904B02}"/>
                  </a:ext>
                </a:extLst>
              </p:cNvPr>
              <p:cNvSpPr/>
              <p:nvPr/>
            </p:nvSpPr>
            <p:spPr>
              <a:xfrm>
                <a:off x="6480038" y="5711849"/>
                <a:ext cx="18309" cy="18399"/>
              </a:xfrm>
              <a:custGeom>
                <a:avLst/>
                <a:gdLst>
                  <a:gd name="connsiteX0" fmla="*/ 94 w 18309"/>
                  <a:gd name="connsiteY0" fmla="*/ 10426 h 18399"/>
                  <a:gd name="connsiteX1" fmla="*/ 10441 w 18309"/>
                  <a:gd name="connsiteY1" fmla="*/ 18320 h 18399"/>
                  <a:gd name="connsiteX2" fmla="*/ 18216 w 18309"/>
                  <a:gd name="connsiteY2" fmla="*/ 7973 h 18399"/>
                  <a:gd name="connsiteX3" fmla="*/ 7869 w 18309"/>
                  <a:gd name="connsiteY3" fmla="*/ 79 h 18399"/>
                  <a:gd name="connsiteX4" fmla="*/ 94 w 18309"/>
                  <a:gd name="connsiteY4" fmla="*/ 10426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399">
                    <a:moveTo>
                      <a:pt x="94" y="10426"/>
                    </a:moveTo>
                    <a:cubicBezTo>
                      <a:pt x="812" y="15449"/>
                      <a:pt x="5417" y="18978"/>
                      <a:pt x="10441" y="18320"/>
                    </a:cubicBezTo>
                    <a:cubicBezTo>
                      <a:pt x="15464" y="17603"/>
                      <a:pt x="18933" y="12997"/>
                      <a:pt x="18216" y="7973"/>
                    </a:cubicBezTo>
                    <a:cubicBezTo>
                      <a:pt x="17498" y="2950"/>
                      <a:pt x="12893" y="-579"/>
                      <a:pt x="7869" y="79"/>
                    </a:cubicBezTo>
                    <a:cubicBezTo>
                      <a:pt x="2845" y="737"/>
                      <a:pt x="-624" y="5402"/>
                      <a:pt x="94" y="10426"/>
                    </a:cubicBezTo>
                    <a:close/>
                  </a:path>
                </a:pathLst>
              </a:custGeom>
              <a:grpFill/>
              <a:ln w="5978" cap="flat">
                <a:noFill/>
                <a:prstDash val="solid"/>
                <a:miter/>
              </a:ln>
            </p:spPr>
            <p:txBody>
              <a:bodyPr rtlCol="0" anchor="ctr"/>
              <a:lstStyle/>
              <a:p>
                <a:endParaRPr lang="en-GB"/>
              </a:p>
            </p:txBody>
          </p:sp>
        </p:grpSp>
        <p:grpSp>
          <p:nvGrpSpPr>
            <p:cNvPr id="736" name="Graphic 3">
              <a:extLst>
                <a:ext uri="{FF2B5EF4-FFF2-40B4-BE49-F238E27FC236}">
                  <a16:creationId xmlns:a16="http://schemas.microsoft.com/office/drawing/2014/main" id="{5F6CB240-6747-4DEF-9BF8-417B7E4088F4}"/>
                </a:ext>
              </a:extLst>
            </p:cNvPr>
            <p:cNvGrpSpPr/>
            <p:nvPr/>
          </p:nvGrpSpPr>
          <p:grpSpPr>
            <a:xfrm>
              <a:off x="5118852" y="1596827"/>
              <a:ext cx="164543" cy="304130"/>
              <a:chOff x="5118852" y="1596827"/>
              <a:chExt cx="164543" cy="304130"/>
            </a:xfrm>
            <a:grpFill/>
          </p:grpSpPr>
          <p:sp>
            <p:nvSpPr>
              <p:cNvPr id="3182" name="Vrije vorm: vorm 3181">
                <a:extLst>
                  <a:ext uri="{FF2B5EF4-FFF2-40B4-BE49-F238E27FC236}">
                    <a16:creationId xmlns:a16="http://schemas.microsoft.com/office/drawing/2014/main" id="{FA5840AC-A1F7-4F1F-B8F8-2C910766C06A}"/>
                  </a:ext>
                </a:extLst>
              </p:cNvPr>
              <p:cNvSpPr/>
              <p:nvPr/>
            </p:nvSpPr>
            <p:spPr>
              <a:xfrm>
                <a:off x="5126455" y="1604907"/>
                <a:ext cx="149398" cy="287971"/>
              </a:xfrm>
              <a:custGeom>
                <a:avLst/>
                <a:gdLst>
                  <a:gd name="connsiteX0" fmla="*/ 149398 w 149398"/>
                  <a:gd name="connsiteY0" fmla="*/ 286596 h 287971"/>
                  <a:gd name="connsiteX1" fmla="*/ 146647 w 149398"/>
                  <a:gd name="connsiteY1" fmla="*/ 287972 h 287971"/>
                  <a:gd name="connsiteX2" fmla="*/ 0 w 149398"/>
                  <a:gd name="connsiteY2" fmla="*/ 1435 h 287971"/>
                  <a:gd name="connsiteX3" fmla="*/ 2691 w 149398"/>
                  <a:gd name="connsiteY3" fmla="*/ 0 h 287971"/>
                </a:gdLst>
                <a:ahLst/>
                <a:cxnLst>
                  <a:cxn ang="0">
                    <a:pos x="connsiteX0" y="connsiteY0"/>
                  </a:cxn>
                  <a:cxn ang="0">
                    <a:pos x="connsiteX1" y="connsiteY1"/>
                  </a:cxn>
                  <a:cxn ang="0">
                    <a:pos x="connsiteX2" y="connsiteY2"/>
                  </a:cxn>
                  <a:cxn ang="0">
                    <a:pos x="connsiteX3" y="connsiteY3"/>
                  </a:cxn>
                </a:cxnLst>
                <a:rect l="l" t="t" r="r" b="b"/>
                <a:pathLst>
                  <a:path w="149398" h="287971">
                    <a:moveTo>
                      <a:pt x="149398" y="286596"/>
                    </a:moveTo>
                    <a:lnTo>
                      <a:pt x="146647" y="287972"/>
                    </a:lnTo>
                    <a:lnTo>
                      <a:pt x="0" y="1435"/>
                    </a:lnTo>
                    <a:lnTo>
                      <a:pt x="2691" y="0"/>
                    </a:lnTo>
                    <a:close/>
                  </a:path>
                </a:pathLst>
              </a:custGeom>
              <a:grpFill/>
              <a:ln w="5978" cap="flat">
                <a:noFill/>
                <a:prstDash val="solid"/>
                <a:miter/>
              </a:ln>
            </p:spPr>
            <p:txBody>
              <a:bodyPr rtlCol="0" anchor="ctr"/>
              <a:lstStyle/>
              <a:p>
                <a:endParaRPr lang="en-GB"/>
              </a:p>
            </p:txBody>
          </p:sp>
          <p:sp>
            <p:nvSpPr>
              <p:cNvPr id="3183" name="Vrije vorm: vorm 3182">
                <a:extLst>
                  <a:ext uri="{FF2B5EF4-FFF2-40B4-BE49-F238E27FC236}">
                    <a16:creationId xmlns:a16="http://schemas.microsoft.com/office/drawing/2014/main" id="{06F75916-55EF-43F6-A388-817319D11D02}"/>
                  </a:ext>
                </a:extLst>
              </p:cNvPr>
              <p:cNvSpPr/>
              <p:nvPr/>
            </p:nvSpPr>
            <p:spPr>
              <a:xfrm>
                <a:off x="5118852" y="1596827"/>
                <a:ext cx="18315" cy="18431"/>
              </a:xfrm>
              <a:custGeom>
                <a:avLst/>
                <a:gdLst>
                  <a:gd name="connsiteX0" fmla="*/ 1024 w 18315"/>
                  <a:gd name="connsiteY0" fmla="*/ 13402 h 18431"/>
                  <a:gd name="connsiteX1" fmla="*/ 4971 w 18315"/>
                  <a:gd name="connsiteY1" fmla="*/ 1022 h 18431"/>
                  <a:gd name="connsiteX2" fmla="*/ 17292 w 18315"/>
                  <a:gd name="connsiteY2" fmla="*/ 5029 h 18431"/>
                  <a:gd name="connsiteX3" fmla="*/ 13344 w 18315"/>
                  <a:gd name="connsiteY3" fmla="*/ 17409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1309" y="8857"/>
                      <a:pt x="486" y="3295"/>
                      <a:pt x="4971" y="1022"/>
                    </a:cubicBezTo>
                    <a:cubicBezTo>
                      <a:pt x="9457" y="-1310"/>
                      <a:pt x="15019" y="484"/>
                      <a:pt x="17292" y="5029"/>
                    </a:cubicBezTo>
                    <a:cubicBezTo>
                      <a:pt x="19624" y="9575"/>
                      <a:pt x="17830" y="15137"/>
                      <a:pt x="13344" y="17409"/>
                    </a:cubicBezTo>
                    <a:cubicBezTo>
                      <a:pt x="8859" y="19742"/>
                      <a:pt x="3297" y="17948"/>
                      <a:pt x="1024" y="13402"/>
                    </a:cubicBezTo>
                    <a:close/>
                  </a:path>
                </a:pathLst>
              </a:custGeom>
              <a:grpFill/>
              <a:ln w="5978" cap="flat">
                <a:noFill/>
                <a:prstDash val="solid"/>
                <a:miter/>
              </a:ln>
            </p:spPr>
            <p:txBody>
              <a:bodyPr rtlCol="0" anchor="ctr"/>
              <a:lstStyle/>
              <a:p>
                <a:endParaRPr lang="en-GB"/>
              </a:p>
            </p:txBody>
          </p:sp>
          <p:sp>
            <p:nvSpPr>
              <p:cNvPr id="3184" name="Vrije vorm: vorm 3183">
                <a:extLst>
                  <a:ext uri="{FF2B5EF4-FFF2-40B4-BE49-F238E27FC236}">
                    <a16:creationId xmlns:a16="http://schemas.microsoft.com/office/drawing/2014/main" id="{E3394C9E-C266-406A-BB93-FE2C4269CFD5}"/>
                  </a:ext>
                </a:extLst>
              </p:cNvPr>
              <p:cNvSpPr/>
              <p:nvPr/>
            </p:nvSpPr>
            <p:spPr>
              <a:xfrm>
                <a:off x="5265107" y="1882526"/>
                <a:ext cx="18288" cy="18431"/>
              </a:xfrm>
              <a:custGeom>
                <a:avLst/>
                <a:gdLst>
                  <a:gd name="connsiteX0" fmla="*/ 998 w 18288"/>
                  <a:gd name="connsiteY0" fmla="*/ 13402 h 18431"/>
                  <a:gd name="connsiteX1" fmla="*/ 13318 w 18288"/>
                  <a:gd name="connsiteY1" fmla="*/ 17409 h 18431"/>
                  <a:gd name="connsiteX2" fmla="*/ 17265 w 18288"/>
                  <a:gd name="connsiteY2" fmla="*/ 5029 h 18431"/>
                  <a:gd name="connsiteX3" fmla="*/ 4945 w 18288"/>
                  <a:gd name="connsiteY3" fmla="*/ 1022 h 18431"/>
                  <a:gd name="connsiteX4" fmla="*/ 998 w 18288"/>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31">
                    <a:moveTo>
                      <a:pt x="998" y="13402"/>
                    </a:moveTo>
                    <a:cubicBezTo>
                      <a:pt x="3330" y="17948"/>
                      <a:pt x="8832" y="19742"/>
                      <a:pt x="13318" y="17409"/>
                    </a:cubicBezTo>
                    <a:cubicBezTo>
                      <a:pt x="17803" y="15077"/>
                      <a:pt x="19597" y="9575"/>
                      <a:pt x="17265" y="5029"/>
                    </a:cubicBezTo>
                    <a:cubicBezTo>
                      <a:pt x="14933" y="484"/>
                      <a:pt x="9430" y="-1310"/>
                      <a:pt x="4945" y="1022"/>
                    </a:cubicBezTo>
                    <a:cubicBezTo>
                      <a:pt x="459" y="3355"/>
                      <a:pt x="-1275" y="8917"/>
                      <a:pt x="998" y="13402"/>
                    </a:cubicBezTo>
                    <a:close/>
                  </a:path>
                </a:pathLst>
              </a:custGeom>
              <a:grpFill/>
              <a:ln w="5978" cap="flat">
                <a:noFill/>
                <a:prstDash val="solid"/>
                <a:miter/>
              </a:ln>
            </p:spPr>
            <p:txBody>
              <a:bodyPr rtlCol="0" anchor="ctr"/>
              <a:lstStyle/>
              <a:p>
                <a:endParaRPr lang="en-GB"/>
              </a:p>
            </p:txBody>
          </p:sp>
        </p:grpSp>
        <p:grpSp>
          <p:nvGrpSpPr>
            <p:cNvPr id="737" name="Graphic 3">
              <a:extLst>
                <a:ext uri="{FF2B5EF4-FFF2-40B4-BE49-F238E27FC236}">
                  <a16:creationId xmlns:a16="http://schemas.microsoft.com/office/drawing/2014/main" id="{41A6044E-2863-49F7-A42F-BB6EF796866A}"/>
                </a:ext>
              </a:extLst>
            </p:cNvPr>
            <p:cNvGrpSpPr/>
            <p:nvPr/>
          </p:nvGrpSpPr>
          <p:grpSpPr>
            <a:xfrm>
              <a:off x="5103872" y="1480424"/>
              <a:ext cx="35776" cy="54064"/>
              <a:chOff x="5103872" y="1480424"/>
              <a:chExt cx="35776" cy="54064"/>
            </a:xfrm>
            <a:grpFill/>
          </p:grpSpPr>
          <p:sp>
            <p:nvSpPr>
              <p:cNvPr id="3179" name="Vrije vorm: vorm 3178">
                <a:extLst>
                  <a:ext uri="{FF2B5EF4-FFF2-40B4-BE49-F238E27FC236}">
                    <a16:creationId xmlns:a16="http://schemas.microsoft.com/office/drawing/2014/main" id="{5CD21B70-DAA1-439A-9CDC-9BEE2F169694}"/>
                  </a:ext>
                </a:extLst>
              </p:cNvPr>
              <p:cNvSpPr/>
              <p:nvPr/>
            </p:nvSpPr>
            <p:spPr>
              <a:xfrm>
                <a:off x="5111686" y="1488378"/>
                <a:ext cx="20579" cy="37823"/>
              </a:xfrm>
              <a:custGeom>
                <a:avLst/>
                <a:gdLst>
                  <a:gd name="connsiteX0" fmla="*/ 0 w 20579"/>
                  <a:gd name="connsiteY0" fmla="*/ 1340 h 37823"/>
                  <a:gd name="connsiteX1" fmla="*/ 2740 w 20579"/>
                  <a:gd name="connsiteY1" fmla="*/ 0 h 37823"/>
                  <a:gd name="connsiteX2" fmla="*/ 20580 w 20579"/>
                  <a:gd name="connsiteY2" fmla="*/ 36483 h 37823"/>
                  <a:gd name="connsiteX3" fmla="*/ 17839 w 20579"/>
                  <a:gd name="connsiteY3" fmla="*/ 37823 h 37823"/>
                </a:gdLst>
                <a:ahLst/>
                <a:cxnLst>
                  <a:cxn ang="0">
                    <a:pos x="connsiteX0" y="connsiteY0"/>
                  </a:cxn>
                  <a:cxn ang="0">
                    <a:pos x="connsiteX1" y="connsiteY1"/>
                  </a:cxn>
                  <a:cxn ang="0">
                    <a:pos x="connsiteX2" y="connsiteY2"/>
                  </a:cxn>
                  <a:cxn ang="0">
                    <a:pos x="connsiteX3" y="connsiteY3"/>
                  </a:cxn>
                </a:cxnLst>
                <a:rect l="l" t="t" r="r" b="b"/>
                <a:pathLst>
                  <a:path w="20579" h="37823">
                    <a:moveTo>
                      <a:pt x="0" y="1340"/>
                    </a:moveTo>
                    <a:lnTo>
                      <a:pt x="2740" y="0"/>
                    </a:lnTo>
                    <a:lnTo>
                      <a:pt x="20580" y="36483"/>
                    </a:lnTo>
                    <a:lnTo>
                      <a:pt x="17839" y="37823"/>
                    </a:lnTo>
                    <a:close/>
                  </a:path>
                </a:pathLst>
              </a:custGeom>
              <a:grpFill/>
              <a:ln w="5978" cap="flat">
                <a:noFill/>
                <a:prstDash val="solid"/>
                <a:miter/>
              </a:ln>
            </p:spPr>
            <p:txBody>
              <a:bodyPr rtlCol="0" anchor="ctr"/>
              <a:lstStyle/>
              <a:p>
                <a:endParaRPr lang="en-GB"/>
              </a:p>
            </p:txBody>
          </p:sp>
          <p:sp>
            <p:nvSpPr>
              <p:cNvPr id="3180" name="Vrije vorm: vorm 3179">
                <a:extLst>
                  <a:ext uri="{FF2B5EF4-FFF2-40B4-BE49-F238E27FC236}">
                    <a16:creationId xmlns:a16="http://schemas.microsoft.com/office/drawing/2014/main" id="{56EC275A-EE6C-4FE4-BAC0-B9A327325E8F}"/>
                  </a:ext>
                </a:extLst>
              </p:cNvPr>
              <p:cNvSpPr/>
              <p:nvPr/>
            </p:nvSpPr>
            <p:spPr>
              <a:xfrm>
                <a:off x="5121336" y="1516033"/>
                <a:ext cx="18312" cy="18455"/>
              </a:xfrm>
              <a:custGeom>
                <a:avLst/>
                <a:gdLst>
                  <a:gd name="connsiteX0" fmla="*/ 17380 w 18312"/>
                  <a:gd name="connsiteY0" fmla="*/ 5204 h 18455"/>
                  <a:gd name="connsiteX1" fmla="*/ 13193 w 18312"/>
                  <a:gd name="connsiteY1" fmla="*/ 17524 h 18455"/>
                  <a:gd name="connsiteX2" fmla="*/ 933 w 18312"/>
                  <a:gd name="connsiteY2" fmla="*/ 13278 h 18455"/>
                  <a:gd name="connsiteX3" fmla="*/ 5119 w 18312"/>
                  <a:gd name="connsiteY3" fmla="*/ 958 h 18455"/>
                  <a:gd name="connsiteX4" fmla="*/ 17380 w 18312"/>
                  <a:gd name="connsiteY4" fmla="*/ 5204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5">
                    <a:moveTo>
                      <a:pt x="17380" y="5204"/>
                    </a:moveTo>
                    <a:cubicBezTo>
                      <a:pt x="19593" y="9749"/>
                      <a:pt x="17739" y="15311"/>
                      <a:pt x="13193" y="17524"/>
                    </a:cubicBezTo>
                    <a:cubicBezTo>
                      <a:pt x="8648" y="19737"/>
                      <a:pt x="3146" y="17883"/>
                      <a:pt x="933" y="13278"/>
                    </a:cubicBezTo>
                    <a:cubicBezTo>
                      <a:pt x="-1280" y="8733"/>
                      <a:pt x="574" y="3170"/>
                      <a:pt x="5119" y="958"/>
                    </a:cubicBezTo>
                    <a:cubicBezTo>
                      <a:pt x="9605" y="-1315"/>
                      <a:pt x="15107" y="599"/>
                      <a:pt x="17380" y="5204"/>
                    </a:cubicBezTo>
                    <a:close/>
                  </a:path>
                </a:pathLst>
              </a:custGeom>
              <a:grpFill/>
              <a:ln w="5978" cap="flat">
                <a:noFill/>
                <a:prstDash val="solid"/>
                <a:miter/>
              </a:ln>
            </p:spPr>
            <p:txBody>
              <a:bodyPr rtlCol="0" anchor="ctr"/>
              <a:lstStyle/>
              <a:p>
                <a:endParaRPr lang="en-GB"/>
              </a:p>
            </p:txBody>
          </p:sp>
          <p:sp>
            <p:nvSpPr>
              <p:cNvPr id="3181" name="Vrije vorm: vorm 3180">
                <a:extLst>
                  <a:ext uri="{FF2B5EF4-FFF2-40B4-BE49-F238E27FC236}">
                    <a16:creationId xmlns:a16="http://schemas.microsoft.com/office/drawing/2014/main" id="{8D4E0297-0E45-41DA-A039-CFADC21C710B}"/>
                  </a:ext>
                </a:extLst>
              </p:cNvPr>
              <p:cNvSpPr/>
              <p:nvPr/>
            </p:nvSpPr>
            <p:spPr>
              <a:xfrm>
                <a:off x="5103872" y="1480424"/>
                <a:ext cx="18338" cy="18408"/>
              </a:xfrm>
              <a:custGeom>
                <a:avLst/>
                <a:gdLst>
                  <a:gd name="connsiteX0" fmla="*/ 17380 w 18338"/>
                  <a:gd name="connsiteY0" fmla="*/ 5167 h 18408"/>
                  <a:gd name="connsiteX1" fmla="*/ 5119 w 18338"/>
                  <a:gd name="connsiteY1" fmla="*/ 921 h 18408"/>
                  <a:gd name="connsiteX2" fmla="*/ 933 w 18338"/>
                  <a:gd name="connsiteY2" fmla="*/ 13241 h 18408"/>
                  <a:gd name="connsiteX3" fmla="*/ 13193 w 18338"/>
                  <a:gd name="connsiteY3" fmla="*/ 17488 h 18408"/>
                  <a:gd name="connsiteX4" fmla="*/ 17380 w 18338"/>
                  <a:gd name="connsiteY4" fmla="*/ 516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8">
                    <a:moveTo>
                      <a:pt x="17380" y="5167"/>
                    </a:moveTo>
                    <a:cubicBezTo>
                      <a:pt x="15167" y="622"/>
                      <a:pt x="9665" y="-1292"/>
                      <a:pt x="5119" y="921"/>
                    </a:cubicBezTo>
                    <a:cubicBezTo>
                      <a:pt x="574" y="3134"/>
                      <a:pt x="-1280" y="8636"/>
                      <a:pt x="933" y="13241"/>
                    </a:cubicBezTo>
                    <a:cubicBezTo>
                      <a:pt x="3146" y="17787"/>
                      <a:pt x="8648" y="19701"/>
                      <a:pt x="13193" y="17488"/>
                    </a:cubicBezTo>
                    <a:cubicBezTo>
                      <a:pt x="17739" y="15215"/>
                      <a:pt x="19652" y="9713"/>
                      <a:pt x="17380" y="5167"/>
                    </a:cubicBezTo>
                    <a:close/>
                  </a:path>
                </a:pathLst>
              </a:custGeom>
              <a:grpFill/>
              <a:ln w="5978" cap="flat">
                <a:noFill/>
                <a:prstDash val="solid"/>
                <a:miter/>
              </a:ln>
            </p:spPr>
            <p:txBody>
              <a:bodyPr rtlCol="0" anchor="ctr"/>
              <a:lstStyle/>
              <a:p>
                <a:endParaRPr lang="en-GB"/>
              </a:p>
            </p:txBody>
          </p:sp>
        </p:grpSp>
        <p:grpSp>
          <p:nvGrpSpPr>
            <p:cNvPr id="738" name="Graphic 3">
              <a:extLst>
                <a:ext uri="{FF2B5EF4-FFF2-40B4-BE49-F238E27FC236}">
                  <a16:creationId xmlns:a16="http://schemas.microsoft.com/office/drawing/2014/main" id="{ECE9E9E2-3F41-49E6-85A6-F41D605DF1D8}"/>
                </a:ext>
              </a:extLst>
            </p:cNvPr>
            <p:cNvGrpSpPr/>
            <p:nvPr/>
          </p:nvGrpSpPr>
          <p:grpSpPr>
            <a:xfrm>
              <a:off x="5103872" y="1480364"/>
              <a:ext cx="52941" cy="89280"/>
              <a:chOff x="5103872" y="1480364"/>
              <a:chExt cx="52941" cy="89280"/>
            </a:xfrm>
            <a:grpFill/>
          </p:grpSpPr>
          <p:sp>
            <p:nvSpPr>
              <p:cNvPr id="3176" name="Vrije vorm: vorm 3175">
                <a:extLst>
                  <a:ext uri="{FF2B5EF4-FFF2-40B4-BE49-F238E27FC236}">
                    <a16:creationId xmlns:a16="http://schemas.microsoft.com/office/drawing/2014/main" id="{9F5A0FDE-92B4-4E4D-A6D1-AC111EC46F09}"/>
                  </a:ext>
                </a:extLst>
              </p:cNvPr>
              <p:cNvSpPr/>
              <p:nvPr/>
            </p:nvSpPr>
            <p:spPr>
              <a:xfrm>
                <a:off x="5111656" y="1488447"/>
                <a:ext cx="37835" cy="72994"/>
              </a:xfrm>
              <a:custGeom>
                <a:avLst/>
                <a:gdLst>
                  <a:gd name="connsiteX0" fmla="*/ 0 w 37835"/>
                  <a:gd name="connsiteY0" fmla="*/ 1342 h 72994"/>
                  <a:gd name="connsiteX1" fmla="*/ 2739 w 37835"/>
                  <a:gd name="connsiteY1" fmla="*/ 0 h 72994"/>
                  <a:gd name="connsiteX2" fmla="*/ 37836 w 37835"/>
                  <a:gd name="connsiteY2" fmla="*/ 71653 h 72994"/>
                  <a:gd name="connsiteX3" fmla="*/ 35096 w 37835"/>
                  <a:gd name="connsiteY3" fmla="*/ 72995 h 72994"/>
                </a:gdLst>
                <a:ahLst/>
                <a:cxnLst>
                  <a:cxn ang="0">
                    <a:pos x="connsiteX0" y="connsiteY0"/>
                  </a:cxn>
                  <a:cxn ang="0">
                    <a:pos x="connsiteX1" y="connsiteY1"/>
                  </a:cxn>
                  <a:cxn ang="0">
                    <a:pos x="connsiteX2" y="connsiteY2"/>
                  </a:cxn>
                  <a:cxn ang="0">
                    <a:pos x="connsiteX3" y="connsiteY3"/>
                  </a:cxn>
                </a:cxnLst>
                <a:rect l="l" t="t" r="r" b="b"/>
                <a:pathLst>
                  <a:path w="37835" h="72994">
                    <a:moveTo>
                      <a:pt x="0" y="1342"/>
                    </a:moveTo>
                    <a:lnTo>
                      <a:pt x="2739" y="0"/>
                    </a:lnTo>
                    <a:lnTo>
                      <a:pt x="37836" y="71653"/>
                    </a:lnTo>
                    <a:lnTo>
                      <a:pt x="35096" y="72995"/>
                    </a:lnTo>
                    <a:close/>
                  </a:path>
                </a:pathLst>
              </a:custGeom>
              <a:grpFill/>
              <a:ln w="5978" cap="flat">
                <a:noFill/>
                <a:prstDash val="solid"/>
                <a:miter/>
              </a:ln>
            </p:spPr>
            <p:txBody>
              <a:bodyPr rtlCol="0" anchor="ctr"/>
              <a:lstStyle/>
              <a:p>
                <a:endParaRPr lang="en-GB"/>
              </a:p>
            </p:txBody>
          </p:sp>
          <p:sp>
            <p:nvSpPr>
              <p:cNvPr id="3177" name="Vrije vorm: vorm 3176">
                <a:extLst>
                  <a:ext uri="{FF2B5EF4-FFF2-40B4-BE49-F238E27FC236}">
                    <a16:creationId xmlns:a16="http://schemas.microsoft.com/office/drawing/2014/main" id="{BB87D5C8-1449-4517-B98E-B35CE9D97C96}"/>
                  </a:ext>
                </a:extLst>
              </p:cNvPr>
              <p:cNvSpPr/>
              <p:nvPr/>
            </p:nvSpPr>
            <p:spPr>
              <a:xfrm>
                <a:off x="5103872" y="1480364"/>
                <a:ext cx="18312" cy="18445"/>
              </a:xfrm>
              <a:custGeom>
                <a:avLst/>
                <a:gdLst>
                  <a:gd name="connsiteX0" fmla="*/ 933 w 18312"/>
                  <a:gd name="connsiteY0" fmla="*/ 13241 h 18445"/>
                  <a:gd name="connsiteX1" fmla="*/ 5119 w 18312"/>
                  <a:gd name="connsiteY1" fmla="*/ 921 h 18445"/>
                  <a:gd name="connsiteX2" fmla="*/ 17380 w 18312"/>
                  <a:gd name="connsiteY2" fmla="*/ 5167 h 18445"/>
                  <a:gd name="connsiteX3" fmla="*/ 13193 w 18312"/>
                  <a:gd name="connsiteY3" fmla="*/ 17488 h 18445"/>
                  <a:gd name="connsiteX4" fmla="*/ 933 w 18312"/>
                  <a:gd name="connsiteY4" fmla="*/ 1324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5">
                    <a:moveTo>
                      <a:pt x="933" y="13241"/>
                    </a:moveTo>
                    <a:cubicBezTo>
                      <a:pt x="-1280" y="8696"/>
                      <a:pt x="574" y="3134"/>
                      <a:pt x="5119" y="921"/>
                    </a:cubicBezTo>
                    <a:cubicBezTo>
                      <a:pt x="9665" y="-1292"/>
                      <a:pt x="15167" y="622"/>
                      <a:pt x="17380" y="5167"/>
                    </a:cubicBezTo>
                    <a:cubicBezTo>
                      <a:pt x="19593" y="9713"/>
                      <a:pt x="17739" y="15275"/>
                      <a:pt x="13193" y="17488"/>
                    </a:cubicBezTo>
                    <a:cubicBezTo>
                      <a:pt x="8708" y="19760"/>
                      <a:pt x="3205" y="17847"/>
                      <a:pt x="933" y="13241"/>
                    </a:cubicBezTo>
                    <a:close/>
                  </a:path>
                </a:pathLst>
              </a:custGeom>
              <a:grpFill/>
              <a:ln w="5978" cap="flat">
                <a:noFill/>
                <a:prstDash val="solid"/>
                <a:miter/>
              </a:ln>
            </p:spPr>
            <p:txBody>
              <a:bodyPr rtlCol="0" anchor="ctr"/>
              <a:lstStyle/>
              <a:p>
                <a:endParaRPr lang="en-GB"/>
              </a:p>
            </p:txBody>
          </p:sp>
          <p:sp>
            <p:nvSpPr>
              <p:cNvPr id="3178" name="Vrije vorm: vorm 3177">
                <a:extLst>
                  <a:ext uri="{FF2B5EF4-FFF2-40B4-BE49-F238E27FC236}">
                    <a16:creationId xmlns:a16="http://schemas.microsoft.com/office/drawing/2014/main" id="{6DCD3BD4-DC4C-4B38-85B2-FAD952CB956B}"/>
                  </a:ext>
                </a:extLst>
              </p:cNvPr>
              <p:cNvSpPr/>
              <p:nvPr/>
            </p:nvSpPr>
            <p:spPr>
              <a:xfrm>
                <a:off x="5138500" y="1551236"/>
                <a:ext cx="18312" cy="18408"/>
              </a:xfrm>
              <a:custGeom>
                <a:avLst/>
                <a:gdLst>
                  <a:gd name="connsiteX0" fmla="*/ 933 w 18312"/>
                  <a:gd name="connsiteY0" fmla="*/ 13241 h 18408"/>
                  <a:gd name="connsiteX1" fmla="*/ 13193 w 18312"/>
                  <a:gd name="connsiteY1" fmla="*/ 17488 h 18408"/>
                  <a:gd name="connsiteX2" fmla="*/ 17380 w 18312"/>
                  <a:gd name="connsiteY2" fmla="*/ 5167 h 18408"/>
                  <a:gd name="connsiteX3" fmla="*/ 5119 w 18312"/>
                  <a:gd name="connsiteY3" fmla="*/ 921 h 18408"/>
                  <a:gd name="connsiteX4" fmla="*/ 933 w 18312"/>
                  <a:gd name="connsiteY4" fmla="*/ 1324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8">
                    <a:moveTo>
                      <a:pt x="933" y="13241"/>
                    </a:moveTo>
                    <a:cubicBezTo>
                      <a:pt x="3146" y="17787"/>
                      <a:pt x="8648" y="19701"/>
                      <a:pt x="13193" y="17488"/>
                    </a:cubicBezTo>
                    <a:cubicBezTo>
                      <a:pt x="17739" y="15275"/>
                      <a:pt x="19593" y="9773"/>
                      <a:pt x="17380" y="5167"/>
                    </a:cubicBezTo>
                    <a:cubicBezTo>
                      <a:pt x="15167" y="622"/>
                      <a:pt x="9665" y="-1292"/>
                      <a:pt x="5119" y="921"/>
                    </a:cubicBezTo>
                    <a:cubicBezTo>
                      <a:pt x="574" y="3134"/>
                      <a:pt x="-1280" y="8636"/>
                      <a:pt x="933" y="13241"/>
                    </a:cubicBezTo>
                    <a:close/>
                  </a:path>
                </a:pathLst>
              </a:custGeom>
              <a:grpFill/>
              <a:ln w="5978" cap="flat">
                <a:noFill/>
                <a:prstDash val="solid"/>
                <a:miter/>
              </a:ln>
            </p:spPr>
            <p:txBody>
              <a:bodyPr rtlCol="0" anchor="ctr"/>
              <a:lstStyle/>
              <a:p>
                <a:endParaRPr lang="en-GB"/>
              </a:p>
            </p:txBody>
          </p:sp>
        </p:grpSp>
        <p:grpSp>
          <p:nvGrpSpPr>
            <p:cNvPr id="739" name="Graphic 3">
              <a:extLst>
                <a:ext uri="{FF2B5EF4-FFF2-40B4-BE49-F238E27FC236}">
                  <a16:creationId xmlns:a16="http://schemas.microsoft.com/office/drawing/2014/main" id="{4EA34175-FA2B-4282-9946-30A77B6D19C5}"/>
                </a:ext>
              </a:extLst>
            </p:cNvPr>
            <p:cNvGrpSpPr/>
            <p:nvPr/>
          </p:nvGrpSpPr>
          <p:grpSpPr>
            <a:xfrm>
              <a:off x="6506018" y="5625439"/>
              <a:ext cx="32196" cy="85300"/>
              <a:chOff x="6506018" y="5625439"/>
              <a:chExt cx="32196" cy="85300"/>
            </a:xfrm>
            <a:grpFill/>
          </p:grpSpPr>
          <p:sp>
            <p:nvSpPr>
              <p:cNvPr id="3173" name="Vrije vorm: vorm 3172">
                <a:extLst>
                  <a:ext uri="{FF2B5EF4-FFF2-40B4-BE49-F238E27FC236}">
                    <a16:creationId xmlns:a16="http://schemas.microsoft.com/office/drawing/2014/main" id="{BFF89BF0-C720-47FC-ACBB-71E74110A929}"/>
                  </a:ext>
                </a:extLst>
              </p:cNvPr>
              <p:cNvSpPr/>
              <p:nvPr/>
            </p:nvSpPr>
            <p:spPr>
              <a:xfrm>
                <a:off x="6513624" y="5633880"/>
                <a:ext cx="17044" cy="68419"/>
              </a:xfrm>
              <a:custGeom>
                <a:avLst/>
                <a:gdLst>
                  <a:gd name="connsiteX0" fmla="*/ 2990 w 17044"/>
                  <a:gd name="connsiteY0" fmla="*/ 0 h 68419"/>
                  <a:gd name="connsiteX1" fmla="*/ 17045 w 17044"/>
                  <a:gd name="connsiteY1" fmla="*/ 67762 h 68419"/>
                  <a:gd name="connsiteX2" fmla="*/ 14055 w 17044"/>
                  <a:gd name="connsiteY2" fmla="*/ 68419 h 68419"/>
                  <a:gd name="connsiteX3" fmla="*/ 0 w 17044"/>
                  <a:gd name="connsiteY3" fmla="*/ 658 h 68419"/>
                </a:gdLst>
                <a:ahLst/>
                <a:cxnLst>
                  <a:cxn ang="0">
                    <a:pos x="connsiteX0" y="connsiteY0"/>
                  </a:cxn>
                  <a:cxn ang="0">
                    <a:pos x="connsiteX1" y="connsiteY1"/>
                  </a:cxn>
                  <a:cxn ang="0">
                    <a:pos x="connsiteX2" y="connsiteY2"/>
                  </a:cxn>
                  <a:cxn ang="0">
                    <a:pos x="connsiteX3" y="connsiteY3"/>
                  </a:cxn>
                </a:cxnLst>
                <a:rect l="l" t="t" r="r" b="b"/>
                <a:pathLst>
                  <a:path w="17044" h="68419">
                    <a:moveTo>
                      <a:pt x="2990" y="0"/>
                    </a:moveTo>
                    <a:lnTo>
                      <a:pt x="17045" y="67762"/>
                    </a:lnTo>
                    <a:lnTo>
                      <a:pt x="14055" y="68419"/>
                    </a:lnTo>
                    <a:lnTo>
                      <a:pt x="0" y="658"/>
                    </a:lnTo>
                    <a:close/>
                  </a:path>
                </a:pathLst>
              </a:custGeom>
              <a:grpFill/>
              <a:ln w="5978" cap="flat">
                <a:noFill/>
                <a:prstDash val="solid"/>
                <a:miter/>
              </a:ln>
            </p:spPr>
            <p:txBody>
              <a:bodyPr rtlCol="0" anchor="ctr"/>
              <a:lstStyle/>
              <a:p>
                <a:endParaRPr lang="en-GB"/>
              </a:p>
            </p:txBody>
          </p:sp>
          <p:sp>
            <p:nvSpPr>
              <p:cNvPr id="3174" name="Vrije vorm: vorm 3173">
                <a:extLst>
                  <a:ext uri="{FF2B5EF4-FFF2-40B4-BE49-F238E27FC236}">
                    <a16:creationId xmlns:a16="http://schemas.microsoft.com/office/drawing/2014/main" id="{A86CDC55-AC97-48A5-A70F-2D605DB37866}"/>
                  </a:ext>
                </a:extLst>
              </p:cNvPr>
              <p:cNvSpPr/>
              <p:nvPr/>
            </p:nvSpPr>
            <p:spPr>
              <a:xfrm>
                <a:off x="6519893" y="5692303"/>
                <a:ext cx="18321" cy="18436"/>
              </a:xfrm>
              <a:custGeom>
                <a:avLst/>
                <a:gdLst>
                  <a:gd name="connsiteX0" fmla="*/ 18132 w 18321"/>
                  <a:gd name="connsiteY0" fmla="*/ 7364 h 18436"/>
                  <a:gd name="connsiteX1" fmla="*/ 11015 w 18321"/>
                  <a:gd name="connsiteY1" fmla="*/ 18249 h 18436"/>
                  <a:gd name="connsiteX2" fmla="*/ 190 w 18321"/>
                  <a:gd name="connsiteY2" fmla="*/ 11072 h 18436"/>
                  <a:gd name="connsiteX3" fmla="*/ 7307 w 18321"/>
                  <a:gd name="connsiteY3" fmla="*/ 187 h 18436"/>
                  <a:gd name="connsiteX4" fmla="*/ 18132 w 18321"/>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8132" y="7364"/>
                    </a:moveTo>
                    <a:cubicBezTo>
                      <a:pt x="19149" y="12328"/>
                      <a:pt x="15979" y="17232"/>
                      <a:pt x="11015" y="18249"/>
                    </a:cubicBezTo>
                    <a:cubicBezTo>
                      <a:pt x="6051" y="19266"/>
                      <a:pt x="1207" y="16036"/>
                      <a:pt x="190" y="11072"/>
                    </a:cubicBezTo>
                    <a:cubicBezTo>
                      <a:pt x="-827" y="6108"/>
                      <a:pt x="2343" y="1204"/>
                      <a:pt x="7307" y="187"/>
                    </a:cubicBezTo>
                    <a:cubicBezTo>
                      <a:pt x="12271" y="-830"/>
                      <a:pt x="17115" y="2400"/>
                      <a:pt x="18132" y="7364"/>
                    </a:cubicBezTo>
                    <a:close/>
                  </a:path>
                </a:pathLst>
              </a:custGeom>
              <a:grpFill/>
              <a:ln w="5978" cap="flat">
                <a:noFill/>
                <a:prstDash val="solid"/>
                <a:miter/>
              </a:ln>
            </p:spPr>
            <p:txBody>
              <a:bodyPr rtlCol="0" anchor="ctr"/>
              <a:lstStyle/>
              <a:p>
                <a:endParaRPr lang="en-GB"/>
              </a:p>
            </p:txBody>
          </p:sp>
          <p:sp>
            <p:nvSpPr>
              <p:cNvPr id="3175" name="Vrije vorm: vorm 3174">
                <a:extLst>
                  <a:ext uri="{FF2B5EF4-FFF2-40B4-BE49-F238E27FC236}">
                    <a16:creationId xmlns:a16="http://schemas.microsoft.com/office/drawing/2014/main" id="{3A7694E9-5785-4628-A746-6B3EBD087FE4}"/>
                  </a:ext>
                </a:extLst>
              </p:cNvPr>
              <p:cNvSpPr/>
              <p:nvPr/>
            </p:nvSpPr>
            <p:spPr>
              <a:xfrm>
                <a:off x="6506018" y="5625439"/>
                <a:ext cx="18339" cy="18436"/>
              </a:xfrm>
              <a:custGeom>
                <a:avLst/>
                <a:gdLst>
                  <a:gd name="connsiteX0" fmla="*/ 18132 w 18339"/>
                  <a:gd name="connsiteY0" fmla="*/ 7364 h 18436"/>
                  <a:gd name="connsiteX1" fmla="*/ 7307 w 18339"/>
                  <a:gd name="connsiteY1" fmla="*/ 187 h 18436"/>
                  <a:gd name="connsiteX2" fmla="*/ 190 w 18339"/>
                  <a:gd name="connsiteY2" fmla="*/ 11072 h 18436"/>
                  <a:gd name="connsiteX3" fmla="*/ 11015 w 18339"/>
                  <a:gd name="connsiteY3" fmla="*/ 18249 h 18436"/>
                  <a:gd name="connsiteX4" fmla="*/ 18132 w 18339"/>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36">
                    <a:moveTo>
                      <a:pt x="18132" y="7364"/>
                    </a:moveTo>
                    <a:cubicBezTo>
                      <a:pt x="17115" y="2400"/>
                      <a:pt x="12271" y="-830"/>
                      <a:pt x="7307" y="187"/>
                    </a:cubicBezTo>
                    <a:cubicBezTo>
                      <a:pt x="2343" y="1204"/>
                      <a:pt x="-827" y="6048"/>
                      <a:pt x="190" y="11072"/>
                    </a:cubicBezTo>
                    <a:cubicBezTo>
                      <a:pt x="1207" y="16036"/>
                      <a:pt x="6051" y="19266"/>
                      <a:pt x="11015" y="18249"/>
                    </a:cubicBezTo>
                    <a:cubicBezTo>
                      <a:pt x="15979" y="17232"/>
                      <a:pt x="19209" y="12328"/>
                      <a:pt x="18132" y="7364"/>
                    </a:cubicBezTo>
                    <a:close/>
                  </a:path>
                </a:pathLst>
              </a:custGeom>
              <a:grpFill/>
              <a:ln w="5978" cap="flat">
                <a:noFill/>
                <a:prstDash val="solid"/>
                <a:miter/>
              </a:ln>
            </p:spPr>
            <p:txBody>
              <a:bodyPr rtlCol="0" anchor="ctr"/>
              <a:lstStyle/>
              <a:p>
                <a:endParaRPr lang="en-GB"/>
              </a:p>
            </p:txBody>
          </p:sp>
        </p:grpSp>
        <p:grpSp>
          <p:nvGrpSpPr>
            <p:cNvPr id="740" name="Graphic 3">
              <a:extLst>
                <a:ext uri="{FF2B5EF4-FFF2-40B4-BE49-F238E27FC236}">
                  <a16:creationId xmlns:a16="http://schemas.microsoft.com/office/drawing/2014/main" id="{ED58C4E8-438D-40DC-B8D9-8B146B18430F}"/>
                </a:ext>
              </a:extLst>
            </p:cNvPr>
            <p:cNvGrpSpPr/>
            <p:nvPr/>
          </p:nvGrpSpPr>
          <p:grpSpPr>
            <a:xfrm>
              <a:off x="6328377" y="5078084"/>
              <a:ext cx="50749" cy="210176"/>
              <a:chOff x="6328377" y="5078084"/>
              <a:chExt cx="50749" cy="210176"/>
            </a:xfrm>
            <a:grpFill/>
          </p:grpSpPr>
          <p:sp>
            <p:nvSpPr>
              <p:cNvPr id="3170" name="Vrije vorm: vorm 3169">
                <a:extLst>
                  <a:ext uri="{FF2B5EF4-FFF2-40B4-BE49-F238E27FC236}">
                    <a16:creationId xmlns:a16="http://schemas.microsoft.com/office/drawing/2014/main" id="{B3CA5304-1DA6-4BA5-88BD-71E41BFE3307}"/>
                  </a:ext>
                </a:extLst>
              </p:cNvPr>
              <p:cNvSpPr/>
              <p:nvPr/>
            </p:nvSpPr>
            <p:spPr>
              <a:xfrm>
                <a:off x="6335996" y="5086644"/>
                <a:ext cx="35525" cy="193117"/>
              </a:xfrm>
              <a:custGeom>
                <a:avLst/>
                <a:gdLst>
                  <a:gd name="connsiteX0" fmla="*/ 2990 w 35525"/>
                  <a:gd name="connsiteY0" fmla="*/ 0 h 193117"/>
                  <a:gd name="connsiteX1" fmla="*/ 35526 w 35525"/>
                  <a:gd name="connsiteY1" fmla="*/ 192579 h 193117"/>
                  <a:gd name="connsiteX2" fmla="*/ 32535 w 35525"/>
                  <a:gd name="connsiteY2" fmla="*/ 193118 h 193117"/>
                  <a:gd name="connsiteX3" fmla="*/ 0 w 35525"/>
                  <a:gd name="connsiteY3" fmla="*/ 479 h 193117"/>
                </a:gdLst>
                <a:ahLst/>
                <a:cxnLst>
                  <a:cxn ang="0">
                    <a:pos x="connsiteX0" y="connsiteY0"/>
                  </a:cxn>
                  <a:cxn ang="0">
                    <a:pos x="connsiteX1" y="connsiteY1"/>
                  </a:cxn>
                  <a:cxn ang="0">
                    <a:pos x="connsiteX2" y="connsiteY2"/>
                  </a:cxn>
                  <a:cxn ang="0">
                    <a:pos x="connsiteX3" y="connsiteY3"/>
                  </a:cxn>
                </a:cxnLst>
                <a:rect l="l" t="t" r="r" b="b"/>
                <a:pathLst>
                  <a:path w="35525" h="193117">
                    <a:moveTo>
                      <a:pt x="2990" y="0"/>
                    </a:moveTo>
                    <a:lnTo>
                      <a:pt x="35526" y="192579"/>
                    </a:lnTo>
                    <a:lnTo>
                      <a:pt x="32535" y="193118"/>
                    </a:lnTo>
                    <a:lnTo>
                      <a:pt x="0" y="479"/>
                    </a:lnTo>
                    <a:close/>
                  </a:path>
                </a:pathLst>
              </a:custGeom>
              <a:grpFill/>
              <a:ln w="5978" cap="flat">
                <a:noFill/>
                <a:prstDash val="solid"/>
                <a:miter/>
              </a:ln>
            </p:spPr>
            <p:txBody>
              <a:bodyPr rtlCol="0" anchor="ctr"/>
              <a:lstStyle/>
              <a:p>
                <a:endParaRPr lang="en-GB"/>
              </a:p>
            </p:txBody>
          </p:sp>
          <p:sp>
            <p:nvSpPr>
              <p:cNvPr id="3171" name="Vrije vorm: vorm 3170">
                <a:extLst>
                  <a:ext uri="{FF2B5EF4-FFF2-40B4-BE49-F238E27FC236}">
                    <a16:creationId xmlns:a16="http://schemas.microsoft.com/office/drawing/2014/main" id="{7809CD37-0476-44B4-AD9F-5D6C11508298}"/>
                  </a:ext>
                </a:extLst>
              </p:cNvPr>
              <p:cNvSpPr/>
              <p:nvPr/>
            </p:nvSpPr>
            <p:spPr>
              <a:xfrm>
                <a:off x="6360808" y="5269826"/>
                <a:ext cx="18318" cy="18434"/>
              </a:xfrm>
              <a:custGeom>
                <a:avLst/>
                <a:gdLst>
                  <a:gd name="connsiteX0" fmla="*/ 18190 w 18318"/>
                  <a:gd name="connsiteY0" fmla="*/ 7722 h 18434"/>
                  <a:gd name="connsiteX1" fmla="*/ 10714 w 18318"/>
                  <a:gd name="connsiteY1" fmla="*/ 18308 h 18434"/>
                  <a:gd name="connsiteX2" fmla="*/ 128 w 18318"/>
                  <a:gd name="connsiteY2" fmla="*/ 10712 h 18434"/>
                  <a:gd name="connsiteX3" fmla="*/ 760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8" y="12746"/>
                      <a:pt x="15678" y="17470"/>
                      <a:pt x="10714" y="18308"/>
                    </a:cubicBezTo>
                    <a:cubicBezTo>
                      <a:pt x="5750" y="19145"/>
                      <a:pt x="966" y="15736"/>
                      <a:pt x="128" y="10712"/>
                    </a:cubicBezTo>
                    <a:cubicBezTo>
                      <a:pt x="-709" y="5689"/>
                      <a:pt x="2640" y="964"/>
                      <a:pt x="7604" y="126"/>
                    </a:cubicBezTo>
                    <a:cubicBezTo>
                      <a:pt x="12628" y="-711"/>
                      <a:pt x="17353" y="2698"/>
                      <a:pt x="18190" y="7722"/>
                    </a:cubicBezTo>
                    <a:close/>
                  </a:path>
                </a:pathLst>
              </a:custGeom>
              <a:grpFill/>
              <a:ln w="5978" cap="flat">
                <a:noFill/>
                <a:prstDash val="solid"/>
                <a:miter/>
              </a:ln>
            </p:spPr>
            <p:txBody>
              <a:bodyPr rtlCol="0" anchor="ctr"/>
              <a:lstStyle/>
              <a:p>
                <a:endParaRPr lang="en-GB"/>
              </a:p>
            </p:txBody>
          </p:sp>
          <p:sp>
            <p:nvSpPr>
              <p:cNvPr id="3172" name="Vrije vorm: vorm 3171">
                <a:extLst>
                  <a:ext uri="{FF2B5EF4-FFF2-40B4-BE49-F238E27FC236}">
                    <a16:creationId xmlns:a16="http://schemas.microsoft.com/office/drawing/2014/main" id="{CE4BE2F6-C2D6-4C31-AC20-CCDAC6EC86D9}"/>
                  </a:ext>
                </a:extLst>
              </p:cNvPr>
              <p:cNvSpPr/>
              <p:nvPr/>
            </p:nvSpPr>
            <p:spPr>
              <a:xfrm>
                <a:off x="6328377" y="5078084"/>
                <a:ext cx="18333" cy="18434"/>
              </a:xfrm>
              <a:custGeom>
                <a:avLst/>
                <a:gdLst>
                  <a:gd name="connsiteX0" fmla="*/ 18205 w 18333"/>
                  <a:gd name="connsiteY0" fmla="*/ 7722 h 18434"/>
                  <a:gd name="connsiteX1" fmla="*/ 7619 w 18333"/>
                  <a:gd name="connsiteY1" fmla="*/ 126 h 18434"/>
                  <a:gd name="connsiteX2" fmla="*/ 143 w 18333"/>
                  <a:gd name="connsiteY2" fmla="*/ 10712 h 18434"/>
                  <a:gd name="connsiteX3" fmla="*/ 10729 w 18333"/>
                  <a:gd name="connsiteY3" fmla="*/ 18308 h 18434"/>
                  <a:gd name="connsiteX4" fmla="*/ 18205 w 18333"/>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4">
                    <a:moveTo>
                      <a:pt x="18205" y="7722"/>
                    </a:moveTo>
                    <a:cubicBezTo>
                      <a:pt x="17368" y="2698"/>
                      <a:pt x="12643" y="-711"/>
                      <a:pt x="7619" y="126"/>
                    </a:cubicBezTo>
                    <a:cubicBezTo>
                      <a:pt x="2655" y="964"/>
                      <a:pt x="-754" y="5689"/>
                      <a:pt x="143" y="10712"/>
                    </a:cubicBezTo>
                    <a:cubicBezTo>
                      <a:pt x="981" y="15736"/>
                      <a:pt x="5706" y="19145"/>
                      <a:pt x="10729" y="18308"/>
                    </a:cubicBezTo>
                    <a:cubicBezTo>
                      <a:pt x="15693" y="17530"/>
                      <a:pt x="19042" y="12746"/>
                      <a:pt x="18205" y="7722"/>
                    </a:cubicBezTo>
                    <a:close/>
                  </a:path>
                </a:pathLst>
              </a:custGeom>
              <a:grpFill/>
              <a:ln w="5978" cap="flat">
                <a:noFill/>
                <a:prstDash val="solid"/>
                <a:miter/>
              </a:ln>
            </p:spPr>
            <p:txBody>
              <a:bodyPr rtlCol="0" anchor="ctr"/>
              <a:lstStyle/>
              <a:p>
                <a:endParaRPr lang="en-GB"/>
              </a:p>
            </p:txBody>
          </p:sp>
        </p:grpSp>
        <p:grpSp>
          <p:nvGrpSpPr>
            <p:cNvPr id="741" name="Graphic 3">
              <a:extLst>
                <a:ext uri="{FF2B5EF4-FFF2-40B4-BE49-F238E27FC236}">
                  <a16:creationId xmlns:a16="http://schemas.microsoft.com/office/drawing/2014/main" id="{B19BEA77-8FDA-4DF8-AE4F-E57AD78B7E6E}"/>
                </a:ext>
              </a:extLst>
            </p:cNvPr>
            <p:cNvGrpSpPr/>
            <p:nvPr/>
          </p:nvGrpSpPr>
          <p:grpSpPr>
            <a:xfrm>
              <a:off x="6406164" y="5321640"/>
              <a:ext cx="49014" cy="181588"/>
              <a:chOff x="6406164" y="5321640"/>
              <a:chExt cx="49014" cy="181588"/>
            </a:xfrm>
            <a:grpFill/>
          </p:grpSpPr>
          <p:sp>
            <p:nvSpPr>
              <p:cNvPr id="3167" name="Vrije vorm: vorm 3166">
                <a:extLst>
                  <a:ext uri="{FF2B5EF4-FFF2-40B4-BE49-F238E27FC236}">
                    <a16:creationId xmlns:a16="http://schemas.microsoft.com/office/drawing/2014/main" id="{E89AF57B-0929-475E-9D03-6BBA02D8F3AE}"/>
                  </a:ext>
                </a:extLst>
              </p:cNvPr>
              <p:cNvSpPr/>
              <p:nvPr/>
            </p:nvSpPr>
            <p:spPr>
              <a:xfrm>
                <a:off x="6413746" y="5330119"/>
                <a:ext cx="33850" cy="164589"/>
              </a:xfrm>
              <a:custGeom>
                <a:avLst/>
                <a:gdLst>
                  <a:gd name="connsiteX0" fmla="*/ 2990 w 33850"/>
                  <a:gd name="connsiteY0" fmla="*/ 0 h 164589"/>
                  <a:gd name="connsiteX1" fmla="*/ 33851 w 33850"/>
                  <a:gd name="connsiteY1" fmla="*/ 164051 h 164589"/>
                  <a:gd name="connsiteX2" fmla="*/ 30860 w 33850"/>
                  <a:gd name="connsiteY2" fmla="*/ 164590 h 164589"/>
                  <a:gd name="connsiteX3" fmla="*/ 0 w 33850"/>
                  <a:gd name="connsiteY3" fmla="*/ 538 h 164589"/>
                </a:gdLst>
                <a:ahLst/>
                <a:cxnLst>
                  <a:cxn ang="0">
                    <a:pos x="connsiteX0" y="connsiteY0"/>
                  </a:cxn>
                  <a:cxn ang="0">
                    <a:pos x="connsiteX1" y="connsiteY1"/>
                  </a:cxn>
                  <a:cxn ang="0">
                    <a:pos x="connsiteX2" y="connsiteY2"/>
                  </a:cxn>
                  <a:cxn ang="0">
                    <a:pos x="connsiteX3" y="connsiteY3"/>
                  </a:cxn>
                </a:cxnLst>
                <a:rect l="l" t="t" r="r" b="b"/>
                <a:pathLst>
                  <a:path w="33850" h="164589">
                    <a:moveTo>
                      <a:pt x="2990" y="0"/>
                    </a:moveTo>
                    <a:lnTo>
                      <a:pt x="33851" y="164051"/>
                    </a:lnTo>
                    <a:lnTo>
                      <a:pt x="30860" y="164590"/>
                    </a:lnTo>
                    <a:lnTo>
                      <a:pt x="0" y="538"/>
                    </a:lnTo>
                    <a:close/>
                  </a:path>
                </a:pathLst>
              </a:custGeom>
              <a:grpFill/>
              <a:ln w="5978" cap="flat">
                <a:noFill/>
                <a:prstDash val="solid"/>
                <a:miter/>
              </a:ln>
            </p:spPr>
            <p:txBody>
              <a:bodyPr rtlCol="0" anchor="ctr"/>
              <a:lstStyle/>
              <a:p>
                <a:endParaRPr lang="en-GB"/>
              </a:p>
            </p:txBody>
          </p:sp>
          <p:sp>
            <p:nvSpPr>
              <p:cNvPr id="3168" name="Vrije vorm: vorm 3167">
                <a:extLst>
                  <a:ext uri="{FF2B5EF4-FFF2-40B4-BE49-F238E27FC236}">
                    <a16:creationId xmlns:a16="http://schemas.microsoft.com/office/drawing/2014/main" id="{EEE8DF84-73AF-473E-BFA6-60C5F9841494}"/>
                  </a:ext>
                </a:extLst>
              </p:cNvPr>
              <p:cNvSpPr/>
              <p:nvPr/>
            </p:nvSpPr>
            <p:spPr>
              <a:xfrm>
                <a:off x="6436845" y="5484794"/>
                <a:ext cx="18333" cy="18434"/>
              </a:xfrm>
              <a:custGeom>
                <a:avLst/>
                <a:gdLst>
                  <a:gd name="connsiteX0" fmla="*/ 18167 w 18333"/>
                  <a:gd name="connsiteY0" fmla="*/ 7522 h 18434"/>
                  <a:gd name="connsiteX1" fmla="*/ 10871 w 18333"/>
                  <a:gd name="connsiteY1" fmla="*/ 18287 h 18434"/>
                  <a:gd name="connsiteX2" fmla="*/ 166 w 18333"/>
                  <a:gd name="connsiteY2" fmla="*/ 10931 h 18434"/>
                  <a:gd name="connsiteX3" fmla="*/ 7462 w 18333"/>
                  <a:gd name="connsiteY3" fmla="*/ 166 h 18434"/>
                  <a:gd name="connsiteX4" fmla="*/ 18167 w 18333"/>
                  <a:gd name="connsiteY4" fmla="*/ 75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4">
                    <a:moveTo>
                      <a:pt x="18167" y="7522"/>
                    </a:moveTo>
                    <a:cubicBezTo>
                      <a:pt x="19124" y="12546"/>
                      <a:pt x="15835" y="17330"/>
                      <a:pt x="10871" y="18287"/>
                    </a:cubicBezTo>
                    <a:cubicBezTo>
                      <a:pt x="5907" y="19184"/>
                      <a:pt x="1122" y="15895"/>
                      <a:pt x="166" y="10931"/>
                    </a:cubicBezTo>
                    <a:cubicBezTo>
                      <a:pt x="-791" y="5907"/>
                      <a:pt x="2498" y="1122"/>
                      <a:pt x="7462" y="166"/>
                    </a:cubicBezTo>
                    <a:cubicBezTo>
                      <a:pt x="12426" y="-792"/>
                      <a:pt x="17270" y="2498"/>
                      <a:pt x="18167" y="7522"/>
                    </a:cubicBezTo>
                    <a:close/>
                  </a:path>
                </a:pathLst>
              </a:custGeom>
              <a:grpFill/>
              <a:ln w="5978" cap="flat">
                <a:noFill/>
                <a:prstDash val="solid"/>
                <a:miter/>
              </a:ln>
            </p:spPr>
            <p:txBody>
              <a:bodyPr rtlCol="0" anchor="ctr"/>
              <a:lstStyle/>
              <a:p>
                <a:endParaRPr lang="en-GB"/>
              </a:p>
            </p:txBody>
          </p:sp>
          <p:sp>
            <p:nvSpPr>
              <p:cNvPr id="3169" name="Vrije vorm: vorm 3168">
                <a:extLst>
                  <a:ext uri="{FF2B5EF4-FFF2-40B4-BE49-F238E27FC236}">
                    <a16:creationId xmlns:a16="http://schemas.microsoft.com/office/drawing/2014/main" id="{BF7BA1BD-2AAC-43D5-85EF-2A421313C552}"/>
                  </a:ext>
                </a:extLst>
              </p:cNvPr>
              <p:cNvSpPr/>
              <p:nvPr/>
            </p:nvSpPr>
            <p:spPr>
              <a:xfrm>
                <a:off x="6406164" y="5321640"/>
                <a:ext cx="18333" cy="18392"/>
              </a:xfrm>
              <a:custGeom>
                <a:avLst/>
                <a:gdLst>
                  <a:gd name="connsiteX0" fmla="*/ 18167 w 18333"/>
                  <a:gd name="connsiteY0" fmla="*/ 7522 h 18392"/>
                  <a:gd name="connsiteX1" fmla="*/ 7462 w 18333"/>
                  <a:gd name="connsiteY1" fmla="*/ 165 h 18392"/>
                  <a:gd name="connsiteX2" fmla="*/ 166 w 18333"/>
                  <a:gd name="connsiteY2" fmla="*/ 10871 h 18392"/>
                  <a:gd name="connsiteX3" fmla="*/ 10871 w 18333"/>
                  <a:gd name="connsiteY3" fmla="*/ 18227 h 18392"/>
                  <a:gd name="connsiteX4" fmla="*/ 18167 w 18333"/>
                  <a:gd name="connsiteY4" fmla="*/ 7522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2">
                    <a:moveTo>
                      <a:pt x="18167" y="7522"/>
                    </a:moveTo>
                    <a:cubicBezTo>
                      <a:pt x="17211" y="2498"/>
                      <a:pt x="12426" y="-791"/>
                      <a:pt x="7462" y="165"/>
                    </a:cubicBezTo>
                    <a:cubicBezTo>
                      <a:pt x="2498" y="1063"/>
                      <a:pt x="-791" y="5907"/>
                      <a:pt x="166" y="10871"/>
                    </a:cubicBezTo>
                    <a:cubicBezTo>
                      <a:pt x="1122" y="15895"/>
                      <a:pt x="5907" y="19184"/>
                      <a:pt x="10871" y="18227"/>
                    </a:cubicBezTo>
                    <a:cubicBezTo>
                      <a:pt x="15835" y="17330"/>
                      <a:pt x="19124" y="12546"/>
                      <a:pt x="18167" y="7522"/>
                    </a:cubicBezTo>
                    <a:close/>
                  </a:path>
                </a:pathLst>
              </a:custGeom>
              <a:grpFill/>
              <a:ln w="5978" cap="flat">
                <a:noFill/>
                <a:prstDash val="solid"/>
                <a:miter/>
              </a:ln>
            </p:spPr>
            <p:txBody>
              <a:bodyPr rtlCol="0" anchor="ctr"/>
              <a:lstStyle/>
              <a:p>
                <a:endParaRPr lang="en-GB"/>
              </a:p>
            </p:txBody>
          </p:sp>
        </p:grpSp>
        <p:grpSp>
          <p:nvGrpSpPr>
            <p:cNvPr id="742" name="Graphic 3">
              <a:extLst>
                <a:ext uri="{FF2B5EF4-FFF2-40B4-BE49-F238E27FC236}">
                  <a16:creationId xmlns:a16="http://schemas.microsoft.com/office/drawing/2014/main" id="{353156CD-5A1A-4683-BACA-F6AE7385FAFB}"/>
                </a:ext>
              </a:extLst>
            </p:cNvPr>
            <p:cNvGrpSpPr/>
            <p:nvPr/>
          </p:nvGrpSpPr>
          <p:grpSpPr>
            <a:xfrm>
              <a:off x="6359542" y="5077058"/>
              <a:ext cx="107737" cy="730160"/>
              <a:chOff x="6359542" y="5077058"/>
              <a:chExt cx="107737" cy="730160"/>
            </a:xfrm>
            <a:grpFill/>
          </p:grpSpPr>
          <p:sp>
            <p:nvSpPr>
              <p:cNvPr id="3164" name="Vrije vorm: vorm 3163">
                <a:extLst>
                  <a:ext uri="{FF2B5EF4-FFF2-40B4-BE49-F238E27FC236}">
                    <a16:creationId xmlns:a16="http://schemas.microsoft.com/office/drawing/2014/main" id="{3DC5875A-FCD1-450B-96A6-482132DF37B1}"/>
                  </a:ext>
                </a:extLst>
              </p:cNvPr>
              <p:cNvSpPr/>
              <p:nvPr/>
            </p:nvSpPr>
            <p:spPr>
              <a:xfrm>
                <a:off x="6367156" y="5085687"/>
                <a:ext cx="92521" cy="712961"/>
              </a:xfrm>
              <a:custGeom>
                <a:avLst/>
                <a:gdLst>
                  <a:gd name="connsiteX0" fmla="*/ 3050 w 92521"/>
                  <a:gd name="connsiteY0" fmla="*/ 0 h 712961"/>
                  <a:gd name="connsiteX1" fmla="*/ 92522 w 92521"/>
                  <a:gd name="connsiteY1" fmla="*/ 712543 h 712961"/>
                  <a:gd name="connsiteX2" fmla="*/ 89532 w 92521"/>
                  <a:gd name="connsiteY2" fmla="*/ 712962 h 712961"/>
                  <a:gd name="connsiteX3" fmla="*/ 0 w 92521"/>
                  <a:gd name="connsiteY3" fmla="*/ 359 h 712961"/>
                </a:gdLst>
                <a:ahLst/>
                <a:cxnLst>
                  <a:cxn ang="0">
                    <a:pos x="connsiteX0" y="connsiteY0"/>
                  </a:cxn>
                  <a:cxn ang="0">
                    <a:pos x="connsiteX1" y="connsiteY1"/>
                  </a:cxn>
                  <a:cxn ang="0">
                    <a:pos x="connsiteX2" y="connsiteY2"/>
                  </a:cxn>
                  <a:cxn ang="0">
                    <a:pos x="connsiteX3" y="connsiteY3"/>
                  </a:cxn>
                </a:cxnLst>
                <a:rect l="l" t="t" r="r" b="b"/>
                <a:pathLst>
                  <a:path w="92521" h="712961">
                    <a:moveTo>
                      <a:pt x="3050" y="0"/>
                    </a:moveTo>
                    <a:lnTo>
                      <a:pt x="92522" y="712543"/>
                    </a:lnTo>
                    <a:lnTo>
                      <a:pt x="89532" y="712962"/>
                    </a:lnTo>
                    <a:lnTo>
                      <a:pt x="0" y="359"/>
                    </a:lnTo>
                    <a:close/>
                  </a:path>
                </a:pathLst>
              </a:custGeom>
              <a:grpFill/>
              <a:ln w="5978" cap="flat">
                <a:noFill/>
                <a:prstDash val="solid"/>
                <a:miter/>
              </a:ln>
            </p:spPr>
            <p:txBody>
              <a:bodyPr rtlCol="0" anchor="ctr"/>
              <a:lstStyle/>
              <a:p>
                <a:endParaRPr lang="en-GB"/>
              </a:p>
            </p:txBody>
          </p:sp>
          <p:sp>
            <p:nvSpPr>
              <p:cNvPr id="3165" name="Vrije vorm: vorm 3164">
                <a:extLst>
                  <a:ext uri="{FF2B5EF4-FFF2-40B4-BE49-F238E27FC236}">
                    <a16:creationId xmlns:a16="http://schemas.microsoft.com/office/drawing/2014/main" id="{21786C0C-999F-4D97-A754-208DB478B941}"/>
                  </a:ext>
                </a:extLst>
              </p:cNvPr>
              <p:cNvSpPr/>
              <p:nvPr/>
            </p:nvSpPr>
            <p:spPr>
              <a:xfrm>
                <a:off x="6359542" y="5077058"/>
                <a:ext cx="18336" cy="18455"/>
              </a:xfrm>
              <a:custGeom>
                <a:avLst/>
                <a:gdLst>
                  <a:gd name="connsiteX0" fmla="*/ 78 w 18336"/>
                  <a:gd name="connsiteY0" fmla="*/ 10363 h 18455"/>
                  <a:gd name="connsiteX1" fmla="*/ 8032 w 18336"/>
                  <a:gd name="connsiteY1" fmla="*/ 77 h 18455"/>
                  <a:gd name="connsiteX2" fmla="*/ 18259 w 18336"/>
                  <a:gd name="connsiteY2" fmla="*/ 8091 h 18455"/>
                  <a:gd name="connsiteX3" fmla="*/ 10305 w 18336"/>
                  <a:gd name="connsiteY3" fmla="*/ 18378 h 18455"/>
                  <a:gd name="connsiteX4" fmla="*/ 78 w 18336"/>
                  <a:gd name="connsiteY4" fmla="*/ 10363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5">
                    <a:moveTo>
                      <a:pt x="78" y="10363"/>
                    </a:moveTo>
                    <a:cubicBezTo>
                      <a:pt x="-580" y="5340"/>
                      <a:pt x="3008" y="735"/>
                      <a:pt x="8032" y="77"/>
                    </a:cubicBezTo>
                    <a:cubicBezTo>
                      <a:pt x="13056" y="-581"/>
                      <a:pt x="17661" y="3067"/>
                      <a:pt x="18259" y="8091"/>
                    </a:cubicBezTo>
                    <a:cubicBezTo>
                      <a:pt x="18917" y="13115"/>
                      <a:pt x="15329" y="17720"/>
                      <a:pt x="10305" y="18378"/>
                    </a:cubicBezTo>
                    <a:cubicBezTo>
                      <a:pt x="5281" y="19036"/>
                      <a:pt x="736" y="15447"/>
                      <a:pt x="78" y="10363"/>
                    </a:cubicBezTo>
                    <a:close/>
                  </a:path>
                </a:pathLst>
              </a:custGeom>
              <a:grpFill/>
              <a:ln w="5978" cap="flat">
                <a:noFill/>
                <a:prstDash val="solid"/>
                <a:miter/>
              </a:ln>
            </p:spPr>
            <p:txBody>
              <a:bodyPr rtlCol="0" anchor="ctr"/>
              <a:lstStyle/>
              <a:p>
                <a:endParaRPr lang="en-GB"/>
              </a:p>
            </p:txBody>
          </p:sp>
          <p:sp>
            <p:nvSpPr>
              <p:cNvPr id="3166" name="Vrije vorm: vorm 3165">
                <a:extLst>
                  <a:ext uri="{FF2B5EF4-FFF2-40B4-BE49-F238E27FC236}">
                    <a16:creationId xmlns:a16="http://schemas.microsoft.com/office/drawing/2014/main" id="{2265F691-884C-4797-A76D-4374A104C01D}"/>
                  </a:ext>
                </a:extLst>
              </p:cNvPr>
              <p:cNvSpPr/>
              <p:nvPr/>
            </p:nvSpPr>
            <p:spPr>
              <a:xfrm>
                <a:off x="6448954" y="5788762"/>
                <a:ext cx="18325" cy="18455"/>
              </a:xfrm>
              <a:custGeom>
                <a:avLst/>
                <a:gdLst>
                  <a:gd name="connsiteX0" fmla="*/ 78 w 18325"/>
                  <a:gd name="connsiteY0" fmla="*/ 10364 h 18455"/>
                  <a:gd name="connsiteX1" fmla="*/ 10305 w 18325"/>
                  <a:gd name="connsiteY1" fmla="*/ 18379 h 18455"/>
                  <a:gd name="connsiteX2" fmla="*/ 18259 w 18325"/>
                  <a:gd name="connsiteY2" fmla="*/ 8092 h 18455"/>
                  <a:gd name="connsiteX3" fmla="*/ 8032 w 18325"/>
                  <a:gd name="connsiteY3" fmla="*/ 78 h 18455"/>
                  <a:gd name="connsiteX4" fmla="*/ 78 w 18325"/>
                  <a:gd name="connsiteY4" fmla="*/ 10364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5">
                    <a:moveTo>
                      <a:pt x="78" y="10364"/>
                    </a:moveTo>
                    <a:cubicBezTo>
                      <a:pt x="736" y="15388"/>
                      <a:pt x="5281" y="19037"/>
                      <a:pt x="10305" y="18379"/>
                    </a:cubicBezTo>
                    <a:cubicBezTo>
                      <a:pt x="15329" y="17781"/>
                      <a:pt x="18857" y="13176"/>
                      <a:pt x="18259" y="8092"/>
                    </a:cubicBezTo>
                    <a:cubicBezTo>
                      <a:pt x="17661" y="3008"/>
                      <a:pt x="13056" y="-580"/>
                      <a:pt x="8032" y="78"/>
                    </a:cubicBezTo>
                    <a:cubicBezTo>
                      <a:pt x="3009" y="736"/>
                      <a:pt x="-580" y="5281"/>
                      <a:pt x="78" y="10364"/>
                    </a:cubicBezTo>
                    <a:close/>
                  </a:path>
                </a:pathLst>
              </a:custGeom>
              <a:grpFill/>
              <a:ln w="5978" cap="flat">
                <a:noFill/>
                <a:prstDash val="solid"/>
                <a:miter/>
              </a:ln>
            </p:spPr>
            <p:txBody>
              <a:bodyPr rtlCol="0" anchor="ctr"/>
              <a:lstStyle/>
              <a:p>
                <a:endParaRPr lang="en-GB"/>
              </a:p>
            </p:txBody>
          </p:sp>
        </p:grpSp>
        <p:grpSp>
          <p:nvGrpSpPr>
            <p:cNvPr id="743" name="Graphic 3">
              <a:extLst>
                <a:ext uri="{FF2B5EF4-FFF2-40B4-BE49-F238E27FC236}">
                  <a16:creationId xmlns:a16="http://schemas.microsoft.com/office/drawing/2014/main" id="{F47869BA-8EC9-4A98-AB83-85F6693A3E91}"/>
                </a:ext>
              </a:extLst>
            </p:cNvPr>
            <p:cNvGrpSpPr/>
            <p:nvPr/>
          </p:nvGrpSpPr>
          <p:grpSpPr>
            <a:xfrm>
              <a:off x="6363843" y="5288008"/>
              <a:ext cx="32687" cy="103001"/>
              <a:chOff x="6363843" y="5288008"/>
              <a:chExt cx="32687" cy="103001"/>
            </a:xfrm>
            <a:grpFill/>
          </p:grpSpPr>
          <p:sp>
            <p:nvSpPr>
              <p:cNvPr id="3161" name="Vrije vorm: vorm 3160">
                <a:extLst>
                  <a:ext uri="{FF2B5EF4-FFF2-40B4-BE49-F238E27FC236}">
                    <a16:creationId xmlns:a16="http://schemas.microsoft.com/office/drawing/2014/main" id="{3FDCD608-C02C-422D-84B1-ADFE5CE76098}"/>
                  </a:ext>
                </a:extLst>
              </p:cNvPr>
              <p:cNvSpPr/>
              <p:nvPr/>
            </p:nvSpPr>
            <p:spPr>
              <a:xfrm>
                <a:off x="6371462" y="5296507"/>
                <a:ext cx="17463" cy="86002"/>
              </a:xfrm>
              <a:custGeom>
                <a:avLst/>
                <a:gdLst>
                  <a:gd name="connsiteX0" fmla="*/ 2990 w 17463"/>
                  <a:gd name="connsiteY0" fmla="*/ 0 h 86002"/>
                  <a:gd name="connsiteX1" fmla="*/ 17464 w 17463"/>
                  <a:gd name="connsiteY1" fmla="*/ 85464 h 86002"/>
                  <a:gd name="connsiteX2" fmla="*/ 14473 w 17463"/>
                  <a:gd name="connsiteY2" fmla="*/ 86003 h 86002"/>
                  <a:gd name="connsiteX3" fmla="*/ 0 w 17463"/>
                  <a:gd name="connsiteY3" fmla="*/ 538 h 86002"/>
                </a:gdLst>
                <a:ahLst/>
                <a:cxnLst>
                  <a:cxn ang="0">
                    <a:pos x="connsiteX0" y="connsiteY0"/>
                  </a:cxn>
                  <a:cxn ang="0">
                    <a:pos x="connsiteX1" y="connsiteY1"/>
                  </a:cxn>
                  <a:cxn ang="0">
                    <a:pos x="connsiteX2" y="connsiteY2"/>
                  </a:cxn>
                  <a:cxn ang="0">
                    <a:pos x="connsiteX3" y="connsiteY3"/>
                  </a:cxn>
                </a:cxnLst>
                <a:rect l="l" t="t" r="r" b="b"/>
                <a:pathLst>
                  <a:path w="17463" h="86002">
                    <a:moveTo>
                      <a:pt x="2990" y="0"/>
                    </a:moveTo>
                    <a:lnTo>
                      <a:pt x="17464" y="85464"/>
                    </a:lnTo>
                    <a:lnTo>
                      <a:pt x="14473" y="86003"/>
                    </a:lnTo>
                    <a:lnTo>
                      <a:pt x="0" y="538"/>
                    </a:lnTo>
                    <a:close/>
                  </a:path>
                </a:pathLst>
              </a:custGeom>
              <a:grpFill/>
              <a:ln w="5978" cap="flat">
                <a:noFill/>
                <a:prstDash val="solid"/>
                <a:miter/>
              </a:ln>
            </p:spPr>
            <p:txBody>
              <a:bodyPr rtlCol="0" anchor="ctr"/>
              <a:lstStyle/>
              <a:p>
                <a:endParaRPr lang="en-GB"/>
              </a:p>
            </p:txBody>
          </p:sp>
          <p:sp>
            <p:nvSpPr>
              <p:cNvPr id="3162" name="Vrije vorm: vorm 3161">
                <a:extLst>
                  <a:ext uri="{FF2B5EF4-FFF2-40B4-BE49-F238E27FC236}">
                    <a16:creationId xmlns:a16="http://schemas.microsoft.com/office/drawing/2014/main" id="{0538D52A-D51E-493E-AA1D-C8E5E89AA765}"/>
                  </a:ext>
                </a:extLst>
              </p:cNvPr>
              <p:cNvSpPr/>
              <p:nvPr/>
            </p:nvSpPr>
            <p:spPr>
              <a:xfrm>
                <a:off x="6378212" y="5372575"/>
                <a:ext cx="18318" cy="18434"/>
              </a:xfrm>
              <a:custGeom>
                <a:avLst/>
                <a:gdLst>
                  <a:gd name="connsiteX0" fmla="*/ 18190 w 18318"/>
                  <a:gd name="connsiteY0" fmla="*/ 7722 h 18434"/>
                  <a:gd name="connsiteX1" fmla="*/ 10714 w 18318"/>
                  <a:gd name="connsiteY1" fmla="*/ 18308 h 18434"/>
                  <a:gd name="connsiteX2" fmla="*/ 128 w 18318"/>
                  <a:gd name="connsiteY2" fmla="*/ 10712 h 18434"/>
                  <a:gd name="connsiteX3" fmla="*/ 760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7" y="12746"/>
                      <a:pt x="15678" y="17471"/>
                      <a:pt x="10714" y="18308"/>
                    </a:cubicBezTo>
                    <a:cubicBezTo>
                      <a:pt x="5750" y="19145"/>
                      <a:pt x="965" y="15736"/>
                      <a:pt x="128" y="10712"/>
                    </a:cubicBezTo>
                    <a:cubicBezTo>
                      <a:pt x="-709" y="5689"/>
                      <a:pt x="2640" y="964"/>
                      <a:pt x="7604" y="126"/>
                    </a:cubicBezTo>
                    <a:cubicBezTo>
                      <a:pt x="12568" y="-711"/>
                      <a:pt x="17293" y="2698"/>
                      <a:pt x="18190" y="7722"/>
                    </a:cubicBezTo>
                    <a:close/>
                  </a:path>
                </a:pathLst>
              </a:custGeom>
              <a:grpFill/>
              <a:ln w="5978" cap="flat">
                <a:noFill/>
                <a:prstDash val="solid"/>
                <a:miter/>
              </a:ln>
            </p:spPr>
            <p:txBody>
              <a:bodyPr rtlCol="0" anchor="ctr"/>
              <a:lstStyle/>
              <a:p>
                <a:endParaRPr lang="en-GB"/>
              </a:p>
            </p:txBody>
          </p:sp>
          <p:sp>
            <p:nvSpPr>
              <p:cNvPr id="3163" name="Vrije vorm: vorm 3162">
                <a:extLst>
                  <a:ext uri="{FF2B5EF4-FFF2-40B4-BE49-F238E27FC236}">
                    <a16:creationId xmlns:a16="http://schemas.microsoft.com/office/drawing/2014/main" id="{AB464643-62A7-4CCE-AB8F-EA0E68B287D1}"/>
                  </a:ext>
                </a:extLst>
              </p:cNvPr>
              <p:cNvSpPr/>
              <p:nvPr/>
            </p:nvSpPr>
            <p:spPr>
              <a:xfrm>
                <a:off x="6363843" y="5288008"/>
                <a:ext cx="18350" cy="18434"/>
              </a:xfrm>
              <a:custGeom>
                <a:avLst/>
                <a:gdLst>
                  <a:gd name="connsiteX0" fmla="*/ 18205 w 18350"/>
                  <a:gd name="connsiteY0" fmla="*/ 7722 h 18434"/>
                  <a:gd name="connsiteX1" fmla="*/ 7619 w 18350"/>
                  <a:gd name="connsiteY1" fmla="*/ 126 h 18434"/>
                  <a:gd name="connsiteX2" fmla="*/ 143 w 18350"/>
                  <a:gd name="connsiteY2" fmla="*/ 10712 h 18434"/>
                  <a:gd name="connsiteX3" fmla="*/ 10729 w 18350"/>
                  <a:gd name="connsiteY3" fmla="*/ 18308 h 18434"/>
                  <a:gd name="connsiteX4" fmla="*/ 18205 w 18350"/>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4">
                    <a:moveTo>
                      <a:pt x="18205" y="7722"/>
                    </a:moveTo>
                    <a:cubicBezTo>
                      <a:pt x="17368" y="2698"/>
                      <a:pt x="12643" y="-711"/>
                      <a:pt x="7619" y="126"/>
                    </a:cubicBezTo>
                    <a:cubicBezTo>
                      <a:pt x="2655" y="964"/>
                      <a:pt x="-754" y="5689"/>
                      <a:pt x="143" y="10712"/>
                    </a:cubicBezTo>
                    <a:cubicBezTo>
                      <a:pt x="981" y="15736"/>
                      <a:pt x="5706" y="19145"/>
                      <a:pt x="10729" y="18308"/>
                    </a:cubicBezTo>
                    <a:cubicBezTo>
                      <a:pt x="15753" y="17471"/>
                      <a:pt x="19102" y="12746"/>
                      <a:pt x="18205" y="7722"/>
                    </a:cubicBezTo>
                    <a:close/>
                  </a:path>
                </a:pathLst>
              </a:custGeom>
              <a:grpFill/>
              <a:ln w="5978" cap="flat">
                <a:noFill/>
                <a:prstDash val="solid"/>
                <a:miter/>
              </a:ln>
            </p:spPr>
            <p:txBody>
              <a:bodyPr rtlCol="0" anchor="ctr"/>
              <a:lstStyle/>
              <a:p>
                <a:endParaRPr lang="en-GB"/>
              </a:p>
            </p:txBody>
          </p:sp>
        </p:grpSp>
        <p:grpSp>
          <p:nvGrpSpPr>
            <p:cNvPr id="744" name="Graphic 3">
              <a:extLst>
                <a:ext uri="{FF2B5EF4-FFF2-40B4-BE49-F238E27FC236}">
                  <a16:creationId xmlns:a16="http://schemas.microsoft.com/office/drawing/2014/main" id="{8E479509-06D8-442B-ADB6-5C66B2C6531B}"/>
                </a:ext>
              </a:extLst>
            </p:cNvPr>
            <p:cNvGrpSpPr/>
            <p:nvPr/>
          </p:nvGrpSpPr>
          <p:grpSpPr>
            <a:xfrm>
              <a:off x="5053945" y="1471463"/>
              <a:ext cx="197974" cy="436142"/>
              <a:chOff x="5053945" y="1471463"/>
              <a:chExt cx="197974" cy="436142"/>
            </a:xfrm>
            <a:grpFill/>
          </p:grpSpPr>
          <p:sp>
            <p:nvSpPr>
              <p:cNvPr id="3158" name="Vrije vorm: vorm 3157">
                <a:extLst>
                  <a:ext uri="{FF2B5EF4-FFF2-40B4-BE49-F238E27FC236}">
                    <a16:creationId xmlns:a16="http://schemas.microsoft.com/office/drawing/2014/main" id="{DF8C121E-DF8D-4336-9822-DF355641D5D1}"/>
                  </a:ext>
                </a:extLst>
              </p:cNvPr>
              <p:cNvSpPr/>
              <p:nvPr/>
            </p:nvSpPr>
            <p:spPr>
              <a:xfrm>
                <a:off x="5061564" y="1479671"/>
                <a:ext cx="182710" cy="419786"/>
              </a:xfrm>
              <a:custGeom>
                <a:avLst/>
                <a:gdLst>
                  <a:gd name="connsiteX0" fmla="*/ 182711 w 182710"/>
                  <a:gd name="connsiteY0" fmla="*/ 418591 h 419786"/>
                  <a:gd name="connsiteX1" fmla="*/ 179960 w 182710"/>
                  <a:gd name="connsiteY1" fmla="*/ 419787 h 419786"/>
                  <a:gd name="connsiteX2" fmla="*/ 0 w 182710"/>
                  <a:gd name="connsiteY2" fmla="*/ 1196 h 419786"/>
                  <a:gd name="connsiteX3" fmla="*/ 2811 w 182710"/>
                  <a:gd name="connsiteY3" fmla="*/ 0 h 419786"/>
                </a:gdLst>
                <a:ahLst/>
                <a:cxnLst>
                  <a:cxn ang="0">
                    <a:pos x="connsiteX0" y="connsiteY0"/>
                  </a:cxn>
                  <a:cxn ang="0">
                    <a:pos x="connsiteX1" y="connsiteY1"/>
                  </a:cxn>
                  <a:cxn ang="0">
                    <a:pos x="connsiteX2" y="connsiteY2"/>
                  </a:cxn>
                  <a:cxn ang="0">
                    <a:pos x="connsiteX3" y="connsiteY3"/>
                  </a:cxn>
                </a:cxnLst>
                <a:rect l="l" t="t" r="r" b="b"/>
                <a:pathLst>
                  <a:path w="182710" h="419786">
                    <a:moveTo>
                      <a:pt x="182711" y="418591"/>
                    </a:moveTo>
                    <a:lnTo>
                      <a:pt x="179960" y="419787"/>
                    </a:lnTo>
                    <a:lnTo>
                      <a:pt x="0" y="1196"/>
                    </a:lnTo>
                    <a:lnTo>
                      <a:pt x="2811" y="0"/>
                    </a:lnTo>
                    <a:close/>
                  </a:path>
                </a:pathLst>
              </a:custGeom>
              <a:grpFill/>
              <a:ln w="5978" cap="flat">
                <a:noFill/>
                <a:prstDash val="solid"/>
                <a:miter/>
              </a:ln>
            </p:spPr>
            <p:txBody>
              <a:bodyPr rtlCol="0" anchor="ctr"/>
              <a:lstStyle/>
              <a:p>
                <a:endParaRPr lang="en-GB"/>
              </a:p>
            </p:txBody>
          </p:sp>
          <p:sp>
            <p:nvSpPr>
              <p:cNvPr id="3159" name="Vrije vorm: vorm 3158">
                <a:extLst>
                  <a:ext uri="{FF2B5EF4-FFF2-40B4-BE49-F238E27FC236}">
                    <a16:creationId xmlns:a16="http://schemas.microsoft.com/office/drawing/2014/main" id="{C76689EC-D37A-4639-94F4-EFD0AF28F7E1}"/>
                  </a:ext>
                </a:extLst>
              </p:cNvPr>
              <p:cNvSpPr/>
              <p:nvPr/>
            </p:nvSpPr>
            <p:spPr>
              <a:xfrm>
                <a:off x="5233521" y="1889216"/>
                <a:ext cx="18398" cy="18388"/>
              </a:xfrm>
              <a:custGeom>
                <a:avLst/>
                <a:gdLst>
                  <a:gd name="connsiteX0" fmla="*/ 17632 w 18398"/>
                  <a:gd name="connsiteY0" fmla="*/ 5576 h 18388"/>
                  <a:gd name="connsiteX1" fmla="*/ 12848 w 18398"/>
                  <a:gd name="connsiteY1" fmla="*/ 17657 h 18388"/>
                  <a:gd name="connsiteX2" fmla="*/ 767 w 18398"/>
                  <a:gd name="connsiteY2" fmla="*/ 12813 h 18388"/>
                  <a:gd name="connsiteX3" fmla="*/ 5551 w 18398"/>
                  <a:gd name="connsiteY3" fmla="*/ 732 h 18388"/>
                  <a:gd name="connsiteX4" fmla="*/ 17632 w 18398"/>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388">
                    <a:moveTo>
                      <a:pt x="17632" y="5576"/>
                    </a:moveTo>
                    <a:cubicBezTo>
                      <a:pt x="19666" y="10241"/>
                      <a:pt x="17513" y="15684"/>
                      <a:pt x="12848" y="17657"/>
                    </a:cubicBezTo>
                    <a:cubicBezTo>
                      <a:pt x="8183" y="19631"/>
                      <a:pt x="2800" y="17478"/>
                      <a:pt x="767" y="12813"/>
                    </a:cubicBezTo>
                    <a:cubicBezTo>
                      <a:pt x="-1267" y="8148"/>
                      <a:pt x="886" y="2705"/>
                      <a:pt x="5551" y="732"/>
                    </a:cubicBezTo>
                    <a:cubicBezTo>
                      <a:pt x="10216" y="-1242"/>
                      <a:pt x="15599" y="911"/>
                      <a:pt x="17632" y="5576"/>
                    </a:cubicBezTo>
                    <a:close/>
                  </a:path>
                </a:pathLst>
              </a:custGeom>
              <a:grpFill/>
              <a:ln w="5978" cap="flat">
                <a:noFill/>
                <a:prstDash val="solid"/>
                <a:miter/>
              </a:ln>
            </p:spPr>
            <p:txBody>
              <a:bodyPr rtlCol="0" anchor="ctr"/>
              <a:lstStyle/>
              <a:p>
                <a:endParaRPr lang="en-GB"/>
              </a:p>
            </p:txBody>
          </p:sp>
          <p:sp>
            <p:nvSpPr>
              <p:cNvPr id="3160" name="Vrije vorm: vorm 3159">
                <a:extLst>
                  <a:ext uri="{FF2B5EF4-FFF2-40B4-BE49-F238E27FC236}">
                    <a16:creationId xmlns:a16="http://schemas.microsoft.com/office/drawing/2014/main" id="{C44A6446-F29B-41B4-8A26-63C6B3448C42}"/>
                  </a:ext>
                </a:extLst>
              </p:cNvPr>
              <p:cNvSpPr/>
              <p:nvPr/>
            </p:nvSpPr>
            <p:spPr>
              <a:xfrm>
                <a:off x="5053945" y="1471463"/>
                <a:ext cx="18348" cy="18388"/>
              </a:xfrm>
              <a:custGeom>
                <a:avLst/>
                <a:gdLst>
                  <a:gd name="connsiteX0" fmla="*/ 17607 w 18348"/>
                  <a:gd name="connsiteY0" fmla="*/ 5576 h 18388"/>
                  <a:gd name="connsiteX1" fmla="*/ 5526 w 18348"/>
                  <a:gd name="connsiteY1" fmla="*/ 732 h 18388"/>
                  <a:gd name="connsiteX2" fmla="*/ 741 w 18348"/>
                  <a:gd name="connsiteY2" fmla="*/ 12813 h 18388"/>
                  <a:gd name="connsiteX3" fmla="*/ 12822 w 18348"/>
                  <a:gd name="connsiteY3" fmla="*/ 17657 h 18388"/>
                  <a:gd name="connsiteX4" fmla="*/ 17607 w 18348"/>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88">
                    <a:moveTo>
                      <a:pt x="17607" y="5576"/>
                    </a:moveTo>
                    <a:cubicBezTo>
                      <a:pt x="15573" y="911"/>
                      <a:pt x="10191" y="-1242"/>
                      <a:pt x="5526" y="732"/>
                    </a:cubicBezTo>
                    <a:cubicBezTo>
                      <a:pt x="861" y="2705"/>
                      <a:pt x="-1232" y="8148"/>
                      <a:pt x="741" y="12813"/>
                    </a:cubicBezTo>
                    <a:cubicBezTo>
                      <a:pt x="2775" y="17478"/>
                      <a:pt x="8157" y="19631"/>
                      <a:pt x="12822" y="17657"/>
                    </a:cubicBezTo>
                    <a:cubicBezTo>
                      <a:pt x="17487" y="15684"/>
                      <a:pt x="19580" y="10241"/>
                      <a:pt x="17607" y="5576"/>
                    </a:cubicBezTo>
                    <a:close/>
                  </a:path>
                </a:pathLst>
              </a:custGeom>
              <a:grpFill/>
              <a:ln w="5978" cap="flat">
                <a:noFill/>
                <a:prstDash val="solid"/>
                <a:miter/>
              </a:ln>
            </p:spPr>
            <p:txBody>
              <a:bodyPr rtlCol="0" anchor="ctr"/>
              <a:lstStyle/>
              <a:p>
                <a:endParaRPr lang="en-GB"/>
              </a:p>
            </p:txBody>
          </p:sp>
        </p:grpSp>
        <p:grpSp>
          <p:nvGrpSpPr>
            <p:cNvPr id="745" name="Graphic 3">
              <a:extLst>
                <a:ext uri="{FF2B5EF4-FFF2-40B4-BE49-F238E27FC236}">
                  <a16:creationId xmlns:a16="http://schemas.microsoft.com/office/drawing/2014/main" id="{FA68F8A9-1C1C-439B-A2D5-39B6CC151C32}"/>
                </a:ext>
              </a:extLst>
            </p:cNvPr>
            <p:cNvGrpSpPr/>
            <p:nvPr/>
          </p:nvGrpSpPr>
          <p:grpSpPr>
            <a:xfrm>
              <a:off x="5067657" y="1496830"/>
              <a:ext cx="61077" cy="102042"/>
              <a:chOff x="5067657" y="1496830"/>
              <a:chExt cx="61077" cy="102042"/>
            </a:xfrm>
            <a:grpFill/>
          </p:grpSpPr>
          <p:sp>
            <p:nvSpPr>
              <p:cNvPr id="3155" name="Vrije vorm: vorm 3154">
                <a:extLst>
                  <a:ext uri="{FF2B5EF4-FFF2-40B4-BE49-F238E27FC236}">
                    <a16:creationId xmlns:a16="http://schemas.microsoft.com/office/drawing/2014/main" id="{102B1C8F-D3F7-486A-9DB6-AE5B4EB8387C}"/>
                  </a:ext>
                </a:extLst>
              </p:cNvPr>
              <p:cNvSpPr/>
              <p:nvPr/>
            </p:nvSpPr>
            <p:spPr>
              <a:xfrm>
                <a:off x="5075260" y="1504969"/>
                <a:ext cx="45931" cy="85763"/>
              </a:xfrm>
              <a:custGeom>
                <a:avLst/>
                <a:gdLst>
                  <a:gd name="connsiteX0" fmla="*/ 45932 w 45931"/>
                  <a:gd name="connsiteY0" fmla="*/ 84388 h 85763"/>
                  <a:gd name="connsiteX1" fmla="*/ 43181 w 45931"/>
                  <a:gd name="connsiteY1" fmla="*/ 85764 h 85763"/>
                  <a:gd name="connsiteX2" fmla="*/ 0 w 45931"/>
                  <a:gd name="connsiteY2" fmla="*/ 1376 h 85763"/>
                  <a:gd name="connsiteX3" fmla="*/ 2691 w 45931"/>
                  <a:gd name="connsiteY3" fmla="*/ 0 h 85763"/>
                </a:gdLst>
                <a:ahLst/>
                <a:cxnLst>
                  <a:cxn ang="0">
                    <a:pos x="connsiteX0" y="connsiteY0"/>
                  </a:cxn>
                  <a:cxn ang="0">
                    <a:pos x="connsiteX1" y="connsiteY1"/>
                  </a:cxn>
                  <a:cxn ang="0">
                    <a:pos x="connsiteX2" y="connsiteY2"/>
                  </a:cxn>
                  <a:cxn ang="0">
                    <a:pos x="connsiteX3" y="connsiteY3"/>
                  </a:cxn>
                </a:cxnLst>
                <a:rect l="l" t="t" r="r" b="b"/>
                <a:pathLst>
                  <a:path w="45931" h="85763">
                    <a:moveTo>
                      <a:pt x="45932" y="84388"/>
                    </a:moveTo>
                    <a:lnTo>
                      <a:pt x="43181" y="85764"/>
                    </a:lnTo>
                    <a:lnTo>
                      <a:pt x="0" y="1376"/>
                    </a:lnTo>
                    <a:lnTo>
                      <a:pt x="2691" y="0"/>
                    </a:lnTo>
                    <a:close/>
                  </a:path>
                </a:pathLst>
              </a:custGeom>
              <a:grpFill/>
              <a:ln w="5978" cap="flat">
                <a:noFill/>
                <a:prstDash val="solid"/>
                <a:miter/>
              </a:ln>
            </p:spPr>
            <p:txBody>
              <a:bodyPr rtlCol="0" anchor="ctr"/>
              <a:lstStyle/>
              <a:p>
                <a:endParaRPr lang="en-GB"/>
              </a:p>
            </p:txBody>
          </p:sp>
          <p:sp>
            <p:nvSpPr>
              <p:cNvPr id="3156" name="Vrije vorm: vorm 3155">
                <a:extLst>
                  <a:ext uri="{FF2B5EF4-FFF2-40B4-BE49-F238E27FC236}">
                    <a16:creationId xmlns:a16="http://schemas.microsoft.com/office/drawing/2014/main" id="{93981187-9DEF-4D28-8460-CBC998B40C7E}"/>
                  </a:ext>
                </a:extLst>
              </p:cNvPr>
              <p:cNvSpPr/>
              <p:nvPr/>
            </p:nvSpPr>
            <p:spPr>
              <a:xfrm>
                <a:off x="5067657" y="1496830"/>
                <a:ext cx="18315" cy="18431"/>
              </a:xfrm>
              <a:custGeom>
                <a:avLst/>
                <a:gdLst>
                  <a:gd name="connsiteX0" fmla="*/ 1024 w 18315"/>
                  <a:gd name="connsiteY0" fmla="*/ 13402 h 18431"/>
                  <a:gd name="connsiteX1" fmla="*/ 4971 w 18315"/>
                  <a:gd name="connsiteY1" fmla="*/ 1022 h 18431"/>
                  <a:gd name="connsiteX2" fmla="*/ 17292 w 18315"/>
                  <a:gd name="connsiteY2" fmla="*/ 5029 h 18431"/>
                  <a:gd name="connsiteX3" fmla="*/ 13344 w 18315"/>
                  <a:gd name="connsiteY3" fmla="*/ 17409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1309" y="8857"/>
                      <a:pt x="486" y="3295"/>
                      <a:pt x="4971" y="1022"/>
                    </a:cubicBezTo>
                    <a:cubicBezTo>
                      <a:pt x="9457" y="-1310"/>
                      <a:pt x="15019" y="484"/>
                      <a:pt x="17292" y="5029"/>
                    </a:cubicBezTo>
                    <a:cubicBezTo>
                      <a:pt x="19624" y="9575"/>
                      <a:pt x="17830" y="15137"/>
                      <a:pt x="13344" y="17409"/>
                    </a:cubicBezTo>
                    <a:cubicBezTo>
                      <a:pt x="8859" y="19742"/>
                      <a:pt x="3356" y="17948"/>
                      <a:pt x="1024" y="13402"/>
                    </a:cubicBezTo>
                    <a:close/>
                  </a:path>
                </a:pathLst>
              </a:custGeom>
              <a:grpFill/>
              <a:ln w="5978" cap="flat">
                <a:noFill/>
                <a:prstDash val="solid"/>
                <a:miter/>
              </a:ln>
            </p:spPr>
            <p:txBody>
              <a:bodyPr rtlCol="0" anchor="ctr"/>
              <a:lstStyle/>
              <a:p>
                <a:endParaRPr lang="en-GB"/>
              </a:p>
            </p:txBody>
          </p:sp>
          <p:sp>
            <p:nvSpPr>
              <p:cNvPr id="3157" name="Vrije vorm: vorm 3156">
                <a:extLst>
                  <a:ext uri="{FF2B5EF4-FFF2-40B4-BE49-F238E27FC236}">
                    <a16:creationId xmlns:a16="http://schemas.microsoft.com/office/drawing/2014/main" id="{5B16FF79-C17D-446C-8B64-9DD624EEF716}"/>
                  </a:ext>
                </a:extLst>
              </p:cNvPr>
              <p:cNvSpPr/>
              <p:nvPr/>
            </p:nvSpPr>
            <p:spPr>
              <a:xfrm>
                <a:off x="5110420" y="1580440"/>
                <a:ext cx="18315" cy="18431"/>
              </a:xfrm>
              <a:custGeom>
                <a:avLst/>
                <a:gdLst>
                  <a:gd name="connsiteX0" fmla="*/ 1024 w 18315"/>
                  <a:gd name="connsiteY0" fmla="*/ 13402 h 18431"/>
                  <a:gd name="connsiteX1" fmla="*/ 13344 w 18315"/>
                  <a:gd name="connsiteY1" fmla="*/ 17409 h 18431"/>
                  <a:gd name="connsiteX2" fmla="*/ 17291 w 18315"/>
                  <a:gd name="connsiteY2" fmla="*/ 5029 h 18431"/>
                  <a:gd name="connsiteX3" fmla="*/ 4971 w 18315"/>
                  <a:gd name="connsiteY3" fmla="*/ 1022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3356" y="17948"/>
                      <a:pt x="8859" y="19742"/>
                      <a:pt x="13344" y="17409"/>
                    </a:cubicBezTo>
                    <a:cubicBezTo>
                      <a:pt x="17830" y="15077"/>
                      <a:pt x="19624" y="9575"/>
                      <a:pt x="17291" y="5029"/>
                    </a:cubicBezTo>
                    <a:cubicBezTo>
                      <a:pt x="14959" y="484"/>
                      <a:pt x="9457" y="-1310"/>
                      <a:pt x="4971" y="1022"/>
                    </a:cubicBezTo>
                    <a:cubicBezTo>
                      <a:pt x="485" y="3295"/>
                      <a:pt x="-1309" y="8857"/>
                      <a:pt x="1024" y="13402"/>
                    </a:cubicBezTo>
                    <a:close/>
                  </a:path>
                </a:pathLst>
              </a:custGeom>
              <a:grpFill/>
              <a:ln w="5978" cap="flat">
                <a:noFill/>
                <a:prstDash val="solid"/>
                <a:miter/>
              </a:ln>
            </p:spPr>
            <p:txBody>
              <a:bodyPr rtlCol="0" anchor="ctr"/>
              <a:lstStyle/>
              <a:p>
                <a:endParaRPr lang="en-GB"/>
              </a:p>
            </p:txBody>
          </p:sp>
        </p:grpSp>
        <p:grpSp>
          <p:nvGrpSpPr>
            <p:cNvPr id="746" name="Graphic 3">
              <a:extLst>
                <a:ext uri="{FF2B5EF4-FFF2-40B4-BE49-F238E27FC236}">
                  <a16:creationId xmlns:a16="http://schemas.microsoft.com/office/drawing/2014/main" id="{19C90386-94E0-40AE-900A-651439F12EE6}"/>
                </a:ext>
              </a:extLst>
            </p:cNvPr>
            <p:cNvGrpSpPr/>
            <p:nvPr/>
          </p:nvGrpSpPr>
          <p:grpSpPr>
            <a:xfrm>
              <a:off x="6440254" y="5502916"/>
              <a:ext cx="57686" cy="227416"/>
              <a:chOff x="6440254" y="5502916"/>
              <a:chExt cx="57686" cy="227416"/>
            </a:xfrm>
            <a:grpFill/>
          </p:grpSpPr>
          <p:sp>
            <p:nvSpPr>
              <p:cNvPr id="3152" name="Vrije vorm: vorm 3151">
                <a:extLst>
                  <a:ext uri="{FF2B5EF4-FFF2-40B4-BE49-F238E27FC236}">
                    <a16:creationId xmlns:a16="http://schemas.microsoft.com/office/drawing/2014/main" id="{433D5784-5C7A-474A-AC40-5FF2B7BC9AB9}"/>
                  </a:ext>
                </a:extLst>
              </p:cNvPr>
              <p:cNvSpPr/>
              <p:nvPr/>
            </p:nvSpPr>
            <p:spPr>
              <a:xfrm>
                <a:off x="6447836" y="5511394"/>
                <a:ext cx="42522" cy="210401"/>
              </a:xfrm>
              <a:custGeom>
                <a:avLst/>
                <a:gdLst>
                  <a:gd name="connsiteX0" fmla="*/ 2990 w 42522"/>
                  <a:gd name="connsiteY0" fmla="*/ 0 h 210401"/>
                  <a:gd name="connsiteX1" fmla="*/ 42523 w 42522"/>
                  <a:gd name="connsiteY1" fmla="*/ 209863 h 210401"/>
                  <a:gd name="connsiteX2" fmla="*/ 39532 w 42522"/>
                  <a:gd name="connsiteY2" fmla="*/ 210402 h 210401"/>
                  <a:gd name="connsiteX3" fmla="*/ 0 w 42522"/>
                  <a:gd name="connsiteY3" fmla="*/ 538 h 210401"/>
                </a:gdLst>
                <a:ahLst/>
                <a:cxnLst>
                  <a:cxn ang="0">
                    <a:pos x="connsiteX0" y="connsiteY0"/>
                  </a:cxn>
                  <a:cxn ang="0">
                    <a:pos x="connsiteX1" y="connsiteY1"/>
                  </a:cxn>
                  <a:cxn ang="0">
                    <a:pos x="connsiteX2" y="connsiteY2"/>
                  </a:cxn>
                  <a:cxn ang="0">
                    <a:pos x="connsiteX3" y="connsiteY3"/>
                  </a:cxn>
                </a:cxnLst>
                <a:rect l="l" t="t" r="r" b="b"/>
                <a:pathLst>
                  <a:path w="42522" h="210401">
                    <a:moveTo>
                      <a:pt x="2990" y="0"/>
                    </a:moveTo>
                    <a:lnTo>
                      <a:pt x="42523" y="209863"/>
                    </a:lnTo>
                    <a:lnTo>
                      <a:pt x="39532" y="210402"/>
                    </a:lnTo>
                    <a:lnTo>
                      <a:pt x="0" y="538"/>
                    </a:lnTo>
                    <a:close/>
                  </a:path>
                </a:pathLst>
              </a:custGeom>
              <a:grpFill/>
              <a:ln w="5978" cap="flat">
                <a:noFill/>
                <a:prstDash val="solid"/>
                <a:miter/>
              </a:ln>
            </p:spPr>
            <p:txBody>
              <a:bodyPr rtlCol="0" anchor="ctr"/>
              <a:lstStyle/>
              <a:p>
                <a:endParaRPr lang="en-GB"/>
              </a:p>
            </p:txBody>
          </p:sp>
          <p:sp>
            <p:nvSpPr>
              <p:cNvPr id="3153" name="Vrije vorm: vorm 3152">
                <a:extLst>
                  <a:ext uri="{FF2B5EF4-FFF2-40B4-BE49-F238E27FC236}">
                    <a16:creationId xmlns:a16="http://schemas.microsoft.com/office/drawing/2014/main" id="{1DCAE312-42C8-41B8-AE52-9694DE10249A}"/>
                  </a:ext>
                </a:extLst>
              </p:cNvPr>
              <p:cNvSpPr/>
              <p:nvPr/>
            </p:nvSpPr>
            <p:spPr>
              <a:xfrm>
                <a:off x="6479607" y="5711882"/>
                <a:ext cx="18333" cy="18450"/>
              </a:xfrm>
              <a:custGeom>
                <a:avLst/>
                <a:gdLst>
                  <a:gd name="connsiteX0" fmla="*/ 18168 w 18333"/>
                  <a:gd name="connsiteY0" fmla="*/ 7522 h 18450"/>
                  <a:gd name="connsiteX1" fmla="*/ 10871 w 18333"/>
                  <a:gd name="connsiteY1" fmla="*/ 18287 h 18450"/>
                  <a:gd name="connsiteX2" fmla="*/ 166 w 18333"/>
                  <a:gd name="connsiteY2" fmla="*/ 10931 h 18450"/>
                  <a:gd name="connsiteX3" fmla="*/ 7462 w 18333"/>
                  <a:gd name="connsiteY3" fmla="*/ 165 h 18450"/>
                  <a:gd name="connsiteX4" fmla="*/ 18168 w 18333"/>
                  <a:gd name="connsiteY4" fmla="*/ 7522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0">
                    <a:moveTo>
                      <a:pt x="18168" y="7522"/>
                    </a:moveTo>
                    <a:cubicBezTo>
                      <a:pt x="19124" y="12546"/>
                      <a:pt x="15835" y="17330"/>
                      <a:pt x="10871" y="18287"/>
                    </a:cubicBezTo>
                    <a:cubicBezTo>
                      <a:pt x="5907" y="19244"/>
                      <a:pt x="1123" y="15895"/>
                      <a:pt x="166" y="10931"/>
                    </a:cubicBezTo>
                    <a:cubicBezTo>
                      <a:pt x="-791" y="5907"/>
                      <a:pt x="2498" y="1123"/>
                      <a:pt x="7462" y="165"/>
                    </a:cubicBezTo>
                    <a:cubicBezTo>
                      <a:pt x="12426" y="-791"/>
                      <a:pt x="17211" y="2498"/>
                      <a:pt x="18168" y="7522"/>
                    </a:cubicBezTo>
                    <a:close/>
                  </a:path>
                </a:pathLst>
              </a:custGeom>
              <a:grpFill/>
              <a:ln w="5978" cap="flat">
                <a:noFill/>
                <a:prstDash val="solid"/>
                <a:miter/>
              </a:ln>
            </p:spPr>
            <p:txBody>
              <a:bodyPr rtlCol="0" anchor="ctr"/>
              <a:lstStyle/>
              <a:p>
                <a:endParaRPr lang="en-GB"/>
              </a:p>
            </p:txBody>
          </p:sp>
          <p:sp>
            <p:nvSpPr>
              <p:cNvPr id="3154" name="Vrije vorm: vorm 3153">
                <a:extLst>
                  <a:ext uri="{FF2B5EF4-FFF2-40B4-BE49-F238E27FC236}">
                    <a16:creationId xmlns:a16="http://schemas.microsoft.com/office/drawing/2014/main" id="{47B48C77-B112-49EE-AD11-3B5F451CF533}"/>
                  </a:ext>
                </a:extLst>
              </p:cNvPr>
              <p:cNvSpPr/>
              <p:nvPr/>
            </p:nvSpPr>
            <p:spPr>
              <a:xfrm>
                <a:off x="6440254" y="5502916"/>
                <a:ext cx="18333" cy="18452"/>
              </a:xfrm>
              <a:custGeom>
                <a:avLst/>
                <a:gdLst>
                  <a:gd name="connsiteX0" fmla="*/ 18168 w 18333"/>
                  <a:gd name="connsiteY0" fmla="*/ 7522 h 18452"/>
                  <a:gd name="connsiteX1" fmla="*/ 7462 w 18333"/>
                  <a:gd name="connsiteY1" fmla="*/ 165 h 18452"/>
                  <a:gd name="connsiteX2" fmla="*/ 166 w 18333"/>
                  <a:gd name="connsiteY2" fmla="*/ 10931 h 18452"/>
                  <a:gd name="connsiteX3" fmla="*/ 10871 w 18333"/>
                  <a:gd name="connsiteY3" fmla="*/ 18287 h 18452"/>
                  <a:gd name="connsiteX4" fmla="*/ 18168 w 18333"/>
                  <a:gd name="connsiteY4" fmla="*/ 7522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168" y="7522"/>
                    </a:moveTo>
                    <a:cubicBezTo>
                      <a:pt x="17211" y="2498"/>
                      <a:pt x="12426" y="-791"/>
                      <a:pt x="7462" y="165"/>
                    </a:cubicBezTo>
                    <a:cubicBezTo>
                      <a:pt x="2498" y="1063"/>
                      <a:pt x="-791" y="5907"/>
                      <a:pt x="166" y="10931"/>
                    </a:cubicBezTo>
                    <a:cubicBezTo>
                      <a:pt x="1123" y="15955"/>
                      <a:pt x="5907" y="19244"/>
                      <a:pt x="10871" y="18287"/>
                    </a:cubicBezTo>
                    <a:cubicBezTo>
                      <a:pt x="15835" y="17330"/>
                      <a:pt x="19125" y="12486"/>
                      <a:pt x="18168" y="7522"/>
                    </a:cubicBezTo>
                    <a:close/>
                  </a:path>
                </a:pathLst>
              </a:custGeom>
              <a:grpFill/>
              <a:ln w="5978" cap="flat">
                <a:noFill/>
                <a:prstDash val="solid"/>
                <a:miter/>
              </a:ln>
            </p:spPr>
            <p:txBody>
              <a:bodyPr rtlCol="0" anchor="ctr"/>
              <a:lstStyle/>
              <a:p>
                <a:endParaRPr lang="en-GB"/>
              </a:p>
            </p:txBody>
          </p:sp>
        </p:grpSp>
        <p:grpSp>
          <p:nvGrpSpPr>
            <p:cNvPr id="747" name="Graphic 3">
              <a:extLst>
                <a:ext uri="{FF2B5EF4-FFF2-40B4-BE49-F238E27FC236}">
                  <a16:creationId xmlns:a16="http://schemas.microsoft.com/office/drawing/2014/main" id="{3EEAE8C9-E000-4600-9C1F-7C02814585DC}"/>
                </a:ext>
              </a:extLst>
            </p:cNvPr>
            <p:cNvGrpSpPr/>
            <p:nvPr/>
          </p:nvGrpSpPr>
          <p:grpSpPr>
            <a:xfrm>
              <a:off x="6296189" y="5074828"/>
              <a:ext cx="48647" cy="220577"/>
              <a:chOff x="6296189" y="5074828"/>
              <a:chExt cx="48647" cy="220577"/>
            </a:xfrm>
            <a:grpFill/>
          </p:grpSpPr>
          <p:sp>
            <p:nvSpPr>
              <p:cNvPr id="3149" name="Vrije vorm: vorm 3148">
                <a:extLst>
                  <a:ext uri="{FF2B5EF4-FFF2-40B4-BE49-F238E27FC236}">
                    <a16:creationId xmlns:a16="http://schemas.microsoft.com/office/drawing/2014/main" id="{3265BBEF-2C45-4F7A-A6BA-9680104F2B42}"/>
                  </a:ext>
                </a:extLst>
              </p:cNvPr>
              <p:cNvSpPr/>
              <p:nvPr/>
            </p:nvSpPr>
            <p:spPr>
              <a:xfrm>
                <a:off x="6303760" y="5083354"/>
                <a:ext cx="33491" cy="203464"/>
              </a:xfrm>
              <a:custGeom>
                <a:avLst/>
                <a:gdLst>
                  <a:gd name="connsiteX0" fmla="*/ 2990 w 33491"/>
                  <a:gd name="connsiteY0" fmla="*/ 0 h 203464"/>
                  <a:gd name="connsiteX1" fmla="*/ 33492 w 33491"/>
                  <a:gd name="connsiteY1" fmla="*/ 203046 h 203464"/>
                  <a:gd name="connsiteX2" fmla="*/ 30442 w 33491"/>
                  <a:gd name="connsiteY2" fmla="*/ 203464 h 203464"/>
                  <a:gd name="connsiteX3" fmla="*/ 0 w 33491"/>
                  <a:gd name="connsiteY3" fmla="*/ 419 h 203464"/>
                </a:gdLst>
                <a:ahLst/>
                <a:cxnLst>
                  <a:cxn ang="0">
                    <a:pos x="connsiteX0" y="connsiteY0"/>
                  </a:cxn>
                  <a:cxn ang="0">
                    <a:pos x="connsiteX1" y="connsiteY1"/>
                  </a:cxn>
                  <a:cxn ang="0">
                    <a:pos x="connsiteX2" y="connsiteY2"/>
                  </a:cxn>
                  <a:cxn ang="0">
                    <a:pos x="connsiteX3" y="connsiteY3"/>
                  </a:cxn>
                </a:cxnLst>
                <a:rect l="l" t="t" r="r" b="b"/>
                <a:pathLst>
                  <a:path w="33491" h="203464">
                    <a:moveTo>
                      <a:pt x="2990" y="0"/>
                    </a:moveTo>
                    <a:lnTo>
                      <a:pt x="33492" y="203046"/>
                    </a:lnTo>
                    <a:lnTo>
                      <a:pt x="30442" y="203464"/>
                    </a:lnTo>
                    <a:lnTo>
                      <a:pt x="0" y="419"/>
                    </a:lnTo>
                    <a:close/>
                  </a:path>
                </a:pathLst>
              </a:custGeom>
              <a:grpFill/>
              <a:ln w="5978" cap="flat">
                <a:noFill/>
                <a:prstDash val="solid"/>
                <a:miter/>
              </a:ln>
            </p:spPr>
            <p:txBody>
              <a:bodyPr rtlCol="0" anchor="ctr"/>
              <a:lstStyle/>
              <a:p>
                <a:endParaRPr lang="en-GB"/>
              </a:p>
            </p:txBody>
          </p:sp>
          <p:sp>
            <p:nvSpPr>
              <p:cNvPr id="3150" name="Vrije vorm: vorm 3149">
                <a:extLst>
                  <a:ext uri="{FF2B5EF4-FFF2-40B4-BE49-F238E27FC236}">
                    <a16:creationId xmlns:a16="http://schemas.microsoft.com/office/drawing/2014/main" id="{797B8AC6-901F-42CE-B0CC-92630FEEA750}"/>
                  </a:ext>
                </a:extLst>
              </p:cNvPr>
              <p:cNvSpPr/>
              <p:nvPr/>
            </p:nvSpPr>
            <p:spPr>
              <a:xfrm>
                <a:off x="6326498" y="5276961"/>
                <a:ext cx="18339" cy="18444"/>
              </a:xfrm>
              <a:custGeom>
                <a:avLst/>
                <a:gdLst>
                  <a:gd name="connsiteX0" fmla="*/ 18230 w 18339"/>
                  <a:gd name="connsiteY0" fmla="*/ 7884 h 18444"/>
                  <a:gd name="connsiteX1" fmla="*/ 10515 w 18339"/>
                  <a:gd name="connsiteY1" fmla="*/ 18350 h 18444"/>
                  <a:gd name="connsiteX2" fmla="*/ 109 w 18339"/>
                  <a:gd name="connsiteY2" fmla="*/ 10575 h 18444"/>
                  <a:gd name="connsiteX3" fmla="*/ 7824 w 18339"/>
                  <a:gd name="connsiteY3" fmla="*/ 109 h 18444"/>
                  <a:gd name="connsiteX4" fmla="*/ 18230 w 18339"/>
                  <a:gd name="connsiteY4" fmla="*/ 788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18230" y="7884"/>
                    </a:moveTo>
                    <a:cubicBezTo>
                      <a:pt x="19008" y="12908"/>
                      <a:pt x="15539" y="17572"/>
                      <a:pt x="10515" y="18350"/>
                    </a:cubicBezTo>
                    <a:cubicBezTo>
                      <a:pt x="5492" y="19068"/>
                      <a:pt x="827" y="15599"/>
                      <a:pt x="109" y="10575"/>
                    </a:cubicBezTo>
                    <a:cubicBezTo>
                      <a:pt x="-669" y="5551"/>
                      <a:pt x="2800" y="886"/>
                      <a:pt x="7824" y="109"/>
                    </a:cubicBezTo>
                    <a:cubicBezTo>
                      <a:pt x="12788" y="-669"/>
                      <a:pt x="17453" y="2800"/>
                      <a:pt x="18230" y="7884"/>
                    </a:cubicBezTo>
                    <a:close/>
                  </a:path>
                </a:pathLst>
              </a:custGeom>
              <a:grpFill/>
              <a:ln w="5978" cap="flat">
                <a:noFill/>
                <a:prstDash val="solid"/>
                <a:miter/>
              </a:ln>
            </p:spPr>
            <p:txBody>
              <a:bodyPr rtlCol="0" anchor="ctr"/>
              <a:lstStyle/>
              <a:p>
                <a:endParaRPr lang="en-GB"/>
              </a:p>
            </p:txBody>
          </p:sp>
          <p:sp>
            <p:nvSpPr>
              <p:cNvPr id="3151" name="Vrije vorm: vorm 3150">
                <a:extLst>
                  <a:ext uri="{FF2B5EF4-FFF2-40B4-BE49-F238E27FC236}">
                    <a16:creationId xmlns:a16="http://schemas.microsoft.com/office/drawing/2014/main" id="{48BE67A6-B385-4163-A083-6D202F6D8D85}"/>
                  </a:ext>
                </a:extLst>
              </p:cNvPr>
              <p:cNvSpPr/>
              <p:nvPr/>
            </p:nvSpPr>
            <p:spPr>
              <a:xfrm>
                <a:off x="6296189" y="5074828"/>
                <a:ext cx="18312" cy="18429"/>
              </a:xfrm>
              <a:custGeom>
                <a:avLst/>
                <a:gdLst>
                  <a:gd name="connsiteX0" fmla="*/ 18217 w 18312"/>
                  <a:gd name="connsiteY0" fmla="*/ 7869 h 18429"/>
                  <a:gd name="connsiteX1" fmla="*/ 7810 w 18312"/>
                  <a:gd name="connsiteY1" fmla="*/ 94 h 18429"/>
                  <a:gd name="connsiteX2" fmla="*/ 95 w 18312"/>
                  <a:gd name="connsiteY2" fmla="*/ 10560 h 18429"/>
                  <a:gd name="connsiteX3" fmla="*/ 10502 w 18312"/>
                  <a:gd name="connsiteY3" fmla="*/ 18335 h 18429"/>
                  <a:gd name="connsiteX4" fmla="*/ 18217 w 18312"/>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29">
                    <a:moveTo>
                      <a:pt x="18217" y="7869"/>
                    </a:moveTo>
                    <a:cubicBezTo>
                      <a:pt x="17440" y="2845"/>
                      <a:pt x="12774" y="-624"/>
                      <a:pt x="7810" y="94"/>
                    </a:cubicBezTo>
                    <a:cubicBezTo>
                      <a:pt x="2787" y="812"/>
                      <a:pt x="-622" y="5536"/>
                      <a:pt x="95" y="10560"/>
                    </a:cubicBezTo>
                    <a:cubicBezTo>
                      <a:pt x="873" y="15584"/>
                      <a:pt x="5538" y="19053"/>
                      <a:pt x="10502" y="18335"/>
                    </a:cubicBezTo>
                    <a:cubicBezTo>
                      <a:pt x="15526" y="17558"/>
                      <a:pt x="18935" y="12892"/>
                      <a:pt x="18217" y="7869"/>
                    </a:cubicBezTo>
                    <a:close/>
                  </a:path>
                </a:pathLst>
              </a:custGeom>
              <a:grpFill/>
              <a:ln w="5978" cap="flat">
                <a:noFill/>
                <a:prstDash val="solid"/>
                <a:miter/>
              </a:ln>
            </p:spPr>
            <p:txBody>
              <a:bodyPr rtlCol="0" anchor="ctr"/>
              <a:lstStyle/>
              <a:p>
                <a:endParaRPr lang="en-GB"/>
              </a:p>
            </p:txBody>
          </p:sp>
        </p:grpSp>
        <p:grpSp>
          <p:nvGrpSpPr>
            <p:cNvPr id="748" name="Graphic 3">
              <a:extLst>
                <a:ext uri="{FF2B5EF4-FFF2-40B4-BE49-F238E27FC236}">
                  <a16:creationId xmlns:a16="http://schemas.microsoft.com/office/drawing/2014/main" id="{DB6A7FBF-F887-46EF-A383-D644FCD1B382}"/>
                </a:ext>
              </a:extLst>
            </p:cNvPr>
            <p:cNvGrpSpPr/>
            <p:nvPr/>
          </p:nvGrpSpPr>
          <p:grpSpPr>
            <a:xfrm>
              <a:off x="5076023" y="1596700"/>
              <a:ext cx="175145" cy="311263"/>
              <a:chOff x="5076023" y="1596700"/>
              <a:chExt cx="175145" cy="311263"/>
            </a:xfrm>
            <a:grpFill/>
          </p:grpSpPr>
          <p:sp>
            <p:nvSpPr>
              <p:cNvPr id="3146" name="Vrije vorm: vorm 3145">
                <a:extLst>
                  <a:ext uri="{FF2B5EF4-FFF2-40B4-BE49-F238E27FC236}">
                    <a16:creationId xmlns:a16="http://schemas.microsoft.com/office/drawing/2014/main" id="{938D0F39-DA86-4262-BE36-7D1472D68E28}"/>
                  </a:ext>
                </a:extLst>
              </p:cNvPr>
              <p:cNvSpPr/>
              <p:nvPr/>
            </p:nvSpPr>
            <p:spPr>
              <a:xfrm>
                <a:off x="5083573" y="1604728"/>
                <a:ext cx="159984" cy="295148"/>
              </a:xfrm>
              <a:custGeom>
                <a:avLst/>
                <a:gdLst>
                  <a:gd name="connsiteX0" fmla="*/ 159984 w 159984"/>
                  <a:gd name="connsiteY0" fmla="*/ 293713 h 295148"/>
                  <a:gd name="connsiteX1" fmla="*/ 157293 w 159984"/>
                  <a:gd name="connsiteY1" fmla="*/ 295149 h 295148"/>
                  <a:gd name="connsiteX2" fmla="*/ 0 w 159984"/>
                  <a:gd name="connsiteY2" fmla="*/ 1495 h 295148"/>
                  <a:gd name="connsiteX3" fmla="*/ 2691 w 159984"/>
                  <a:gd name="connsiteY3" fmla="*/ 0 h 295148"/>
                </a:gdLst>
                <a:ahLst/>
                <a:cxnLst>
                  <a:cxn ang="0">
                    <a:pos x="connsiteX0" y="connsiteY0"/>
                  </a:cxn>
                  <a:cxn ang="0">
                    <a:pos x="connsiteX1" y="connsiteY1"/>
                  </a:cxn>
                  <a:cxn ang="0">
                    <a:pos x="connsiteX2" y="connsiteY2"/>
                  </a:cxn>
                  <a:cxn ang="0">
                    <a:pos x="connsiteX3" y="connsiteY3"/>
                  </a:cxn>
                </a:cxnLst>
                <a:rect l="l" t="t" r="r" b="b"/>
                <a:pathLst>
                  <a:path w="159984" h="295148">
                    <a:moveTo>
                      <a:pt x="159984" y="293713"/>
                    </a:moveTo>
                    <a:lnTo>
                      <a:pt x="157293" y="295149"/>
                    </a:lnTo>
                    <a:lnTo>
                      <a:pt x="0" y="1495"/>
                    </a:lnTo>
                    <a:lnTo>
                      <a:pt x="2691" y="0"/>
                    </a:lnTo>
                    <a:close/>
                  </a:path>
                </a:pathLst>
              </a:custGeom>
              <a:grpFill/>
              <a:ln w="5978" cap="flat">
                <a:noFill/>
                <a:prstDash val="solid"/>
                <a:miter/>
              </a:ln>
            </p:spPr>
            <p:txBody>
              <a:bodyPr rtlCol="0" anchor="ctr"/>
              <a:lstStyle/>
              <a:p>
                <a:endParaRPr lang="en-GB"/>
              </a:p>
            </p:txBody>
          </p:sp>
          <p:sp>
            <p:nvSpPr>
              <p:cNvPr id="3147" name="Vrije vorm: vorm 3146">
                <a:extLst>
                  <a:ext uri="{FF2B5EF4-FFF2-40B4-BE49-F238E27FC236}">
                    <a16:creationId xmlns:a16="http://schemas.microsoft.com/office/drawing/2014/main" id="{AF6FEF3D-7A75-4BF7-8DFB-D9CE2DA4198F}"/>
                  </a:ext>
                </a:extLst>
              </p:cNvPr>
              <p:cNvSpPr/>
              <p:nvPr/>
            </p:nvSpPr>
            <p:spPr>
              <a:xfrm>
                <a:off x="5076023" y="1596700"/>
                <a:ext cx="18330" cy="18387"/>
              </a:xfrm>
              <a:custGeom>
                <a:avLst/>
                <a:gdLst>
                  <a:gd name="connsiteX0" fmla="*/ 1092 w 18330"/>
                  <a:gd name="connsiteY0" fmla="*/ 13530 h 18387"/>
                  <a:gd name="connsiteX1" fmla="*/ 4800 w 18330"/>
                  <a:gd name="connsiteY1" fmla="*/ 1090 h 18387"/>
                  <a:gd name="connsiteX2" fmla="*/ 17239 w 18330"/>
                  <a:gd name="connsiteY2" fmla="*/ 4858 h 18387"/>
                  <a:gd name="connsiteX3" fmla="*/ 13531 w 18330"/>
                  <a:gd name="connsiteY3" fmla="*/ 17298 h 18387"/>
                  <a:gd name="connsiteX4" fmla="*/ 1092 w 18330"/>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387">
                    <a:moveTo>
                      <a:pt x="1092" y="13530"/>
                    </a:moveTo>
                    <a:cubicBezTo>
                      <a:pt x="-1301" y="9044"/>
                      <a:pt x="374" y="3482"/>
                      <a:pt x="4800" y="1090"/>
                    </a:cubicBezTo>
                    <a:cubicBezTo>
                      <a:pt x="9225" y="-1303"/>
                      <a:pt x="14787" y="372"/>
                      <a:pt x="17239" y="4858"/>
                    </a:cubicBezTo>
                    <a:cubicBezTo>
                      <a:pt x="19632" y="9343"/>
                      <a:pt x="17957" y="14905"/>
                      <a:pt x="13531" y="17298"/>
                    </a:cubicBezTo>
                    <a:cubicBezTo>
                      <a:pt x="9046" y="19690"/>
                      <a:pt x="3484" y="18015"/>
                      <a:pt x="1092" y="13530"/>
                    </a:cubicBezTo>
                    <a:close/>
                  </a:path>
                </a:pathLst>
              </a:custGeom>
              <a:grpFill/>
              <a:ln w="5978" cap="flat">
                <a:noFill/>
                <a:prstDash val="solid"/>
                <a:miter/>
              </a:ln>
            </p:spPr>
            <p:txBody>
              <a:bodyPr rtlCol="0" anchor="ctr"/>
              <a:lstStyle/>
              <a:p>
                <a:endParaRPr lang="en-GB"/>
              </a:p>
            </p:txBody>
          </p:sp>
          <p:sp>
            <p:nvSpPr>
              <p:cNvPr id="3148" name="Vrije vorm: vorm 3147">
                <a:extLst>
                  <a:ext uri="{FF2B5EF4-FFF2-40B4-BE49-F238E27FC236}">
                    <a16:creationId xmlns:a16="http://schemas.microsoft.com/office/drawing/2014/main" id="{ACB129F9-C021-48FA-B123-D3B6761061F6}"/>
                  </a:ext>
                </a:extLst>
              </p:cNvPr>
              <p:cNvSpPr/>
              <p:nvPr/>
            </p:nvSpPr>
            <p:spPr>
              <a:xfrm>
                <a:off x="5232837" y="1889576"/>
                <a:ext cx="18331" cy="18387"/>
              </a:xfrm>
              <a:custGeom>
                <a:avLst/>
                <a:gdLst>
                  <a:gd name="connsiteX0" fmla="*/ 1091 w 18331"/>
                  <a:gd name="connsiteY0" fmla="*/ 13530 h 18387"/>
                  <a:gd name="connsiteX1" fmla="*/ 13531 w 18331"/>
                  <a:gd name="connsiteY1" fmla="*/ 17298 h 18387"/>
                  <a:gd name="connsiteX2" fmla="*/ 17239 w 18331"/>
                  <a:gd name="connsiteY2" fmla="*/ 4858 h 18387"/>
                  <a:gd name="connsiteX3" fmla="*/ 4799 w 18331"/>
                  <a:gd name="connsiteY3" fmla="*/ 1090 h 18387"/>
                  <a:gd name="connsiteX4" fmla="*/ 1091 w 18331"/>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091" y="13530"/>
                    </a:moveTo>
                    <a:cubicBezTo>
                      <a:pt x="3484" y="18015"/>
                      <a:pt x="9046" y="19690"/>
                      <a:pt x="13531" y="17298"/>
                    </a:cubicBezTo>
                    <a:cubicBezTo>
                      <a:pt x="17957" y="14905"/>
                      <a:pt x="19632" y="9343"/>
                      <a:pt x="17239" y="4858"/>
                    </a:cubicBezTo>
                    <a:cubicBezTo>
                      <a:pt x="14847" y="372"/>
                      <a:pt x="9285" y="-1303"/>
                      <a:pt x="4799" y="1090"/>
                    </a:cubicBezTo>
                    <a:cubicBezTo>
                      <a:pt x="374" y="3482"/>
                      <a:pt x="-1301" y="9044"/>
                      <a:pt x="1091" y="13530"/>
                    </a:cubicBezTo>
                    <a:close/>
                  </a:path>
                </a:pathLst>
              </a:custGeom>
              <a:grpFill/>
              <a:ln w="5978" cap="flat">
                <a:noFill/>
                <a:prstDash val="solid"/>
                <a:miter/>
              </a:ln>
            </p:spPr>
            <p:txBody>
              <a:bodyPr rtlCol="0" anchor="ctr"/>
              <a:lstStyle/>
              <a:p>
                <a:endParaRPr lang="en-GB"/>
              </a:p>
            </p:txBody>
          </p:sp>
        </p:grpSp>
        <p:grpSp>
          <p:nvGrpSpPr>
            <p:cNvPr id="749" name="Graphic 3">
              <a:extLst>
                <a:ext uri="{FF2B5EF4-FFF2-40B4-BE49-F238E27FC236}">
                  <a16:creationId xmlns:a16="http://schemas.microsoft.com/office/drawing/2014/main" id="{07FC5E95-3EDA-4988-89D8-7A93B6C3A75C}"/>
                </a:ext>
              </a:extLst>
            </p:cNvPr>
            <p:cNvGrpSpPr/>
            <p:nvPr/>
          </p:nvGrpSpPr>
          <p:grpSpPr>
            <a:xfrm>
              <a:off x="5054500" y="1471173"/>
              <a:ext cx="23039" cy="27701"/>
              <a:chOff x="5054500" y="1471173"/>
              <a:chExt cx="23039" cy="27701"/>
            </a:xfrm>
            <a:grpFill/>
          </p:grpSpPr>
          <p:sp>
            <p:nvSpPr>
              <p:cNvPr id="3143" name="Vrije vorm: vorm 3142">
                <a:extLst>
                  <a:ext uri="{FF2B5EF4-FFF2-40B4-BE49-F238E27FC236}">
                    <a16:creationId xmlns:a16="http://schemas.microsoft.com/office/drawing/2014/main" id="{98DF5613-7CBA-433D-8F7B-7F5DC3AD885F}"/>
                  </a:ext>
                </a:extLst>
              </p:cNvPr>
              <p:cNvSpPr/>
              <p:nvPr/>
            </p:nvSpPr>
            <p:spPr>
              <a:xfrm>
                <a:off x="5062103" y="1479312"/>
                <a:ext cx="7894" cy="11423"/>
              </a:xfrm>
              <a:custGeom>
                <a:avLst/>
                <a:gdLst>
                  <a:gd name="connsiteX0" fmla="*/ 7895 w 7894"/>
                  <a:gd name="connsiteY0" fmla="*/ 10048 h 11423"/>
                  <a:gd name="connsiteX1" fmla="*/ 5143 w 7894"/>
                  <a:gd name="connsiteY1" fmla="*/ 11423 h 11423"/>
                  <a:gd name="connsiteX2" fmla="*/ 0 w 7894"/>
                  <a:gd name="connsiteY2" fmla="*/ 1376 h 11423"/>
                  <a:gd name="connsiteX3" fmla="*/ 2751 w 7894"/>
                  <a:gd name="connsiteY3" fmla="*/ 0 h 11423"/>
                </a:gdLst>
                <a:ahLst/>
                <a:cxnLst>
                  <a:cxn ang="0">
                    <a:pos x="connsiteX0" y="connsiteY0"/>
                  </a:cxn>
                  <a:cxn ang="0">
                    <a:pos x="connsiteX1" y="connsiteY1"/>
                  </a:cxn>
                  <a:cxn ang="0">
                    <a:pos x="connsiteX2" y="connsiteY2"/>
                  </a:cxn>
                  <a:cxn ang="0">
                    <a:pos x="connsiteX3" y="connsiteY3"/>
                  </a:cxn>
                </a:cxnLst>
                <a:rect l="l" t="t" r="r" b="b"/>
                <a:pathLst>
                  <a:path w="7894" h="11423">
                    <a:moveTo>
                      <a:pt x="7895" y="10048"/>
                    </a:moveTo>
                    <a:lnTo>
                      <a:pt x="5143" y="11423"/>
                    </a:lnTo>
                    <a:lnTo>
                      <a:pt x="0" y="1376"/>
                    </a:lnTo>
                    <a:lnTo>
                      <a:pt x="2751" y="0"/>
                    </a:lnTo>
                    <a:close/>
                  </a:path>
                </a:pathLst>
              </a:custGeom>
              <a:grpFill/>
              <a:ln w="5978" cap="flat">
                <a:noFill/>
                <a:prstDash val="solid"/>
                <a:miter/>
              </a:ln>
            </p:spPr>
            <p:txBody>
              <a:bodyPr rtlCol="0" anchor="ctr"/>
              <a:lstStyle/>
              <a:p>
                <a:endParaRPr lang="en-GB"/>
              </a:p>
            </p:txBody>
          </p:sp>
          <p:sp>
            <p:nvSpPr>
              <p:cNvPr id="3144" name="Vrije vorm: vorm 3143">
                <a:extLst>
                  <a:ext uri="{FF2B5EF4-FFF2-40B4-BE49-F238E27FC236}">
                    <a16:creationId xmlns:a16="http://schemas.microsoft.com/office/drawing/2014/main" id="{5E93A585-B3D7-48E8-91AF-36E2F39718E8}"/>
                  </a:ext>
                </a:extLst>
              </p:cNvPr>
              <p:cNvSpPr/>
              <p:nvPr/>
            </p:nvSpPr>
            <p:spPr>
              <a:xfrm>
                <a:off x="5054500" y="1471173"/>
                <a:ext cx="18315" cy="18431"/>
              </a:xfrm>
              <a:custGeom>
                <a:avLst/>
                <a:gdLst>
                  <a:gd name="connsiteX0" fmla="*/ 1024 w 18315"/>
                  <a:gd name="connsiteY0" fmla="*/ 13402 h 18431"/>
                  <a:gd name="connsiteX1" fmla="*/ 4971 w 18315"/>
                  <a:gd name="connsiteY1" fmla="*/ 1022 h 18431"/>
                  <a:gd name="connsiteX2" fmla="*/ 17291 w 18315"/>
                  <a:gd name="connsiteY2" fmla="*/ 5029 h 18431"/>
                  <a:gd name="connsiteX3" fmla="*/ 13344 w 18315"/>
                  <a:gd name="connsiteY3" fmla="*/ 17409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1309" y="8857"/>
                      <a:pt x="486" y="3295"/>
                      <a:pt x="4971" y="1022"/>
                    </a:cubicBezTo>
                    <a:cubicBezTo>
                      <a:pt x="9457" y="-1310"/>
                      <a:pt x="15019" y="484"/>
                      <a:pt x="17291" y="5029"/>
                    </a:cubicBezTo>
                    <a:cubicBezTo>
                      <a:pt x="19624" y="9575"/>
                      <a:pt x="17829" y="15137"/>
                      <a:pt x="13344" y="17409"/>
                    </a:cubicBezTo>
                    <a:cubicBezTo>
                      <a:pt x="8918" y="19742"/>
                      <a:pt x="3356" y="17948"/>
                      <a:pt x="1024" y="13402"/>
                    </a:cubicBezTo>
                    <a:close/>
                  </a:path>
                </a:pathLst>
              </a:custGeom>
              <a:grpFill/>
              <a:ln w="5978" cap="flat">
                <a:noFill/>
                <a:prstDash val="solid"/>
                <a:miter/>
              </a:ln>
            </p:spPr>
            <p:txBody>
              <a:bodyPr rtlCol="0" anchor="ctr"/>
              <a:lstStyle/>
              <a:p>
                <a:endParaRPr lang="en-GB"/>
              </a:p>
            </p:txBody>
          </p:sp>
          <p:sp>
            <p:nvSpPr>
              <p:cNvPr id="3145" name="Vrije vorm: vorm 3144">
                <a:extLst>
                  <a:ext uri="{FF2B5EF4-FFF2-40B4-BE49-F238E27FC236}">
                    <a16:creationId xmlns:a16="http://schemas.microsoft.com/office/drawing/2014/main" id="{971A1256-A0FE-45E7-A508-3570E3625ECA}"/>
                  </a:ext>
                </a:extLst>
              </p:cNvPr>
              <p:cNvSpPr/>
              <p:nvPr/>
            </p:nvSpPr>
            <p:spPr>
              <a:xfrm>
                <a:off x="5059251" y="1480443"/>
                <a:ext cx="18288" cy="18431"/>
              </a:xfrm>
              <a:custGeom>
                <a:avLst/>
                <a:gdLst>
                  <a:gd name="connsiteX0" fmla="*/ 998 w 18288"/>
                  <a:gd name="connsiteY0" fmla="*/ 13402 h 18431"/>
                  <a:gd name="connsiteX1" fmla="*/ 13318 w 18288"/>
                  <a:gd name="connsiteY1" fmla="*/ 17409 h 18431"/>
                  <a:gd name="connsiteX2" fmla="*/ 17265 w 18288"/>
                  <a:gd name="connsiteY2" fmla="*/ 5029 h 18431"/>
                  <a:gd name="connsiteX3" fmla="*/ 4945 w 18288"/>
                  <a:gd name="connsiteY3" fmla="*/ 1022 h 18431"/>
                  <a:gd name="connsiteX4" fmla="*/ 998 w 18288"/>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31">
                    <a:moveTo>
                      <a:pt x="998" y="13402"/>
                    </a:moveTo>
                    <a:cubicBezTo>
                      <a:pt x="3330" y="17948"/>
                      <a:pt x="8832" y="19742"/>
                      <a:pt x="13318" y="17409"/>
                    </a:cubicBezTo>
                    <a:cubicBezTo>
                      <a:pt x="17803" y="15077"/>
                      <a:pt x="19597" y="9575"/>
                      <a:pt x="17265" y="5029"/>
                    </a:cubicBezTo>
                    <a:cubicBezTo>
                      <a:pt x="14932" y="484"/>
                      <a:pt x="9430" y="-1310"/>
                      <a:pt x="4945" y="1022"/>
                    </a:cubicBezTo>
                    <a:cubicBezTo>
                      <a:pt x="459" y="3295"/>
                      <a:pt x="-1275" y="8857"/>
                      <a:pt x="998" y="13402"/>
                    </a:cubicBezTo>
                    <a:close/>
                  </a:path>
                </a:pathLst>
              </a:custGeom>
              <a:grpFill/>
              <a:ln w="5978" cap="flat">
                <a:noFill/>
                <a:prstDash val="solid"/>
                <a:miter/>
              </a:ln>
            </p:spPr>
            <p:txBody>
              <a:bodyPr rtlCol="0" anchor="ctr"/>
              <a:lstStyle/>
              <a:p>
                <a:endParaRPr lang="en-GB"/>
              </a:p>
            </p:txBody>
          </p:sp>
        </p:grpSp>
        <p:grpSp>
          <p:nvGrpSpPr>
            <p:cNvPr id="750" name="Graphic 3">
              <a:extLst>
                <a:ext uri="{FF2B5EF4-FFF2-40B4-BE49-F238E27FC236}">
                  <a16:creationId xmlns:a16="http://schemas.microsoft.com/office/drawing/2014/main" id="{5F23EF63-F573-4528-9606-4CC2D9DBE10E}"/>
                </a:ext>
              </a:extLst>
            </p:cNvPr>
            <p:cNvGrpSpPr/>
            <p:nvPr/>
          </p:nvGrpSpPr>
          <p:grpSpPr>
            <a:xfrm>
              <a:off x="6329262" y="5295157"/>
              <a:ext cx="23469" cy="52997"/>
              <a:chOff x="6329262" y="5295157"/>
              <a:chExt cx="23469" cy="52997"/>
            </a:xfrm>
            <a:grpFill/>
          </p:grpSpPr>
          <p:sp>
            <p:nvSpPr>
              <p:cNvPr id="3140" name="Vrije vorm: vorm 3139">
                <a:extLst>
                  <a:ext uri="{FF2B5EF4-FFF2-40B4-BE49-F238E27FC236}">
                    <a16:creationId xmlns:a16="http://schemas.microsoft.com/office/drawing/2014/main" id="{614664DB-C76D-4A1A-84F0-A1ABED38C0B9}"/>
                  </a:ext>
                </a:extLst>
              </p:cNvPr>
              <p:cNvSpPr/>
              <p:nvPr/>
            </p:nvSpPr>
            <p:spPr>
              <a:xfrm>
                <a:off x="6336834" y="5303684"/>
                <a:ext cx="8312" cy="35884"/>
              </a:xfrm>
              <a:custGeom>
                <a:avLst/>
                <a:gdLst>
                  <a:gd name="connsiteX0" fmla="*/ 2990 w 8312"/>
                  <a:gd name="connsiteY0" fmla="*/ 0 h 35884"/>
                  <a:gd name="connsiteX1" fmla="*/ 8313 w 8312"/>
                  <a:gd name="connsiteY1" fmla="*/ 35466 h 35884"/>
                  <a:gd name="connsiteX2" fmla="*/ 5323 w 8312"/>
                  <a:gd name="connsiteY2" fmla="*/ 35884 h 35884"/>
                  <a:gd name="connsiteX3" fmla="*/ 0 w 8312"/>
                  <a:gd name="connsiteY3" fmla="*/ 478 h 35884"/>
                </a:gdLst>
                <a:ahLst/>
                <a:cxnLst>
                  <a:cxn ang="0">
                    <a:pos x="connsiteX0" y="connsiteY0"/>
                  </a:cxn>
                  <a:cxn ang="0">
                    <a:pos x="connsiteX1" y="connsiteY1"/>
                  </a:cxn>
                  <a:cxn ang="0">
                    <a:pos x="connsiteX2" y="connsiteY2"/>
                  </a:cxn>
                  <a:cxn ang="0">
                    <a:pos x="connsiteX3" y="connsiteY3"/>
                  </a:cxn>
                </a:cxnLst>
                <a:rect l="l" t="t" r="r" b="b"/>
                <a:pathLst>
                  <a:path w="8312" h="35884">
                    <a:moveTo>
                      <a:pt x="2990" y="0"/>
                    </a:moveTo>
                    <a:lnTo>
                      <a:pt x="8313" y="35466"/>
                    </a:lnTo>
                    <a:lnTo>
                      <a:pt x="5323" y="35884"/>
                    </a:lnTo>
                    <a:lnTo>
                      <a:pt x="0" y="478"/>
                    </a:lnTo>
                    <a:close/>
                  </a:path>
                </a:pathLst>
              </a:custGeom>
              <a:grpFill/>
              <a:ln w="5978" cap="flat">
                <a:noFill/>
                <a:prstDash val="solid"/>
                <a:miter/>
              </a:ln>
            </p:spPr>
            <p:txBody>
              <a:bodyPr rtlCol="0" anchor="ctr"/>
              <a:lstStyle/>
              <a:p>
                <a:endParaRPr lang="en-GB"/>
              </a:p>
            </p:txBody>
          </p:sp>
          <p:sp>
            <p:nvSpPr>
              <p:cNvPr id="3141" name="Vrije vorm: vorm 3140">
                <a:extLst>
                  <a:ext uri="{FF2B5EF4-FFF2-40B4-BE49-F238E27FC236}">
                    <a16:creationId xmlns:a16="http://schemas.microsoft.com/office/drawing/2014/main" id="{8DF29618-EC59-4A2B-9DD4-36BCB67B2F91}"/>
                  </a:ext>
                </a:extLst>
              </p:cNvPr>
              <p:cNvSpPr/>
              <p:nvPr/>
            </p:nvSpPr>
            <p:spPr>
              <a:xfrm>
                <a:off x="6334392" y="5329711"/>
                <a:ext cx="18339" cy="18444"/>
              </a:xfrm>
              <a:custGeom>
                <a:avLst/>
                <a:gdLst>
                  <a:gd name="connsiteX0" fmla="*/ 18230 w 18339"/>
                  <a:gd name="connsiteY0" fmla="*/ 7884 h 18444"/>
                  <a:gd name="connsiteX1" fmla="*/ 10515 w 18339"/>
                  <a:gd name="connsiteY1" fmla="*/ 18350 h 18444"/>
                  <a:gd name="connsiteX2" fmla="*/ 109 w 18339"/>
                  <a:gd name="connsiteY2" fmla="*/ 10575 h 18444"/>
                  <a:gd name="connsiteX3" fmla="*/ 7824 w 18339"/>
                  <a:gd name="connsiteY3" fmla="*/ 109 h 18444"/>
                  <a:gd name="connsiteX4" fmla="*/ 18230 w 18339"/>
                  <a:gd name="connsiteY4" fmla="*/ 788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18230" y="7884"/>
                    </a:moveTo>
                    <a:cubicBezTo>
                      <a:pt x="19008" y="12907"/>
                      <a:pt x="15539" y="17572"/>
                      <a:pt x="10515" y="18350"/>
                    </a:cubicBezTo>
                    <a:cubicBezTo>
                      <a:pt x="5491" y="19068"/>
                      <a:pt x="827" y="15599"/>
                      <a:pt x="109" y="10575"/>
                    </a:cubicBezTo>
                    <a:cubicBezTo>
                      <a:pt x="-669" y="5551"/>
                      <a:pt x="2800" y="886"/>
                      <a:pt x="7824" y="109"/>
                    </a:cubicBezTo>
                    <a:cubicBezTo>
                      <a:pt x="12848" y="-669"/>
                      <a:pt x="17513" y="2800"/>
                      <a:pt x="18230" y="7884"/>
                    </a:cubicBezTo>
                    <a:close/>
                  </a:path>
                </a:pathLst>
              </a:custGeom>
              <a:grpFill/>
              <a:ln w="5978" cap="flat">
                <a:noFill/>
                <a:prstDash val="solid"/>
                <a:miter/>
              </a:ln>
            </p:spPr>
            <p:txBody>
              <a:bodyPr rtlCol="0" anchor="ctr"/>
              <a:lstStyle/>
              <a:p>
                <a:endParaRPr lang="en-GB"/>
              </a:p>
            </p:txBody>
          </p:sp>
          <p:sp>
            <p:nvSpPr>
              <p:cNvPr id="3142" name="Vrije vorm: vorm 3141">
                <a:extLst>
                  <a:ext uri="{FF2B5EF4-FFF2-40B4-BE49-F238E27FC236}">
                    <a16:creationId xmlns:a16="http://schemas.microsoft.com/office/drawing/2014/main" id="{23B73BE8-28DB-4092-93EB-A8ACC470A56C}"/>
                  </a:ext>
                </a:extLst>
              </p:cNvPr>
              <p:cNvSpPr/>
              <p:nvPr/>
            </p:nvSpPr>
            <p:spPr>
              <a:xfrm>
                <a:off x="6329262" y="5295157"/>
                <a:ext cx="18312" cy="18429"/>
              </a:xfrm>
              <a:custGeom>
                <a:avLst/>
                <a:gdLst>
                  <a:gd name="connsiteX0" fmla="*/ 18217 w 18312"/>
                  <a:gd name="connsiteY0" fmla="*/ 7869 h 18429"/>
                  <a:gd name="connsiteX1" fmla="*/ 7810 w 18312"/>
                  <a:gd name="connsiteY1" fmla="*/ 94 h 18429"/>
                  <a:gd name="connsiteX2" fmla="*/ 95 w 18312"/>
                  <a:gd name="connsiteY2" fmla="*/ 10560 h 18429"/>
                  <a:gd name="connsiteX3" fmla="*/ 10502 w 18312"/>
                  <a:gd name="connsiteY3" fmla="*/ 18335 h 18429"/>
                  <a:gd name="connsiteX4" fmla="*/ 18217 w 18312"/>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29">
                    <a:moveTo>
                      <a:pt x="18217" y="7869"/>
                    </a:moveTo>
                    <a:cubicBezTo>
                      <a:pt x="17439" y="2845"/>
                      <a:pt x="12775" y="-624"/>
                      <a:pt x="7810" y="94"/>
                    </a:cubicBezTo>
                    <a:cubicBezTo>
                      <a:pt x="2786" y="812"/>
                      <a:pt x="-623" y="5537"/>
                      <a:pt x="95" y="10560"/>
                    </a:cubicBezTo>
                    <a:cubicBezTo>
                      <a:pt x="873" y="15584"/>
                      <a:pt x="5538" y="19053"/>
                      <a:pt x="10502" y="18335"/>
                    </a:cubicBezTo>
                    <a:cubicBezTo>
                      <a:pt x="15525" y="17617"/>
                      <a:pt x="18934" y="12953"/>
                      <a:pt x="18217" y="7869"/>
                    </a:cubicBezTo>
                    <a:close/>
                  </a:path>
                </a:pathLst>
              </a:custGeom>
              <a:grpFill/>
              <a:ln w="5978" cap="flat">
                <a:noFill/>
                <a:prstDash val="solid"/>
                <a:miter/>
              </a:ln>
            </p:spPr>
            <p:txBody>
              <a:bodyPr rtlCol="0" anchor="ctr"/>
              <a:lstStyle/>
              <a:p>
                <a:endParaRPr lang="en-GB"/>
              </a:p>
            </p:txBody>
          </p:sp>
        </p:grpSp>
        <p:grpSp>
          <p:nvGrpSpPr>
            <p:cNvPr id="751" name="Graphic 3">
              <a:extLst>
                <a:ext uri="{FF2B5EF4-FFF2-40B4-BE49-F238E27FC236}">
                  <a16:creationId xmlns:a16="http://schemas.microsoft.com/office/drawing/2014/main" id="{4D749D85-54C7-4C0B-AD1A-A21ECE56DB75}"/>
                </a:ext>
              </a:extLst>
            </p:cNvPr>
            <p:cNvGrpSpPr/>
            <p:nvPr/>
          </p:nvGrpSpPr>
          <p:grpSpPr>
            <a:xfrm>
              <a:off x="6327761" y="5078169"/>
              <a:ext cx="74424" cy="596121"/>
              <a:chOff x="6327761" y="5078169"/>
              <a:chExt cx="74424" cy="596121"/>
            </a:xfrm>
            <a:grpFill/>
          </p:grpSpPr>
          <p:sp>
            <p:nvSpPr>
              <p:cNvPr id="3137" name="Vrije vorm: vorm 3136">
                <a:extLst>
                  <a:ext uri="{FF2B5EF4-FFF2-40B4-BE49-F238E27FC236}">
                    <a16:creationId xmlns:a16="http://schemas.microsoft.com/office/drawing/2014/main" id="{0B7D5658-85B9-4D84-8A35-B6B0B28C9C3F}"/>
                  </a:ext>
                </a:extLst>
              </p:cNvPr>
              <p:cNvSpPr/>
              <p:nvPr/>
            </p:nvSpPr>
            <p:spPr>
              <a:xfrm>
                <a:off x="6335339" y="5086823"/>
                <a:ext cx="59208" cy="578814"/>
              </a:xfrm>
              <a:custGeom>
                <a:avLst/>
                <a:gdLst>
                  <a:gd name="connsiteX0" fmla="*/ 3050 w 59208"/>
                  <a:gd name="connsiteY0" fmla="*/ 0 h 578814"/>
                  <a:gd name="connsiteX1" fmla="*/ 59209 w 59208"/>
                  <a:gd name="connsiteY1" fmla="*/ 578575 h 578814"/>
                  <a:gd name="connsiteX2" fmla="*/ 56219 w 59208"/>
                  <a:gd name="connsiteY2" fmla="*/ 578814 h 578814"/>
                  <a:gd name="connsiteX3" fmla="*/ 0 w 59208"/>
                  <a:gd name="connsiteY3" fmla="*/ 299 h 578814"/>
                </a:gdLst>
                <a:ahLst/>
                <a:cxnLst>
                  <a:cxn ang="0">
                    <a:pos x="connsiteX0" y="connsiteY0"/>
                  </a:cxn>
                  <a:cxn ang="0">
                    <a:pos x="connsiteX1" y="connsiteY1"/>
                  </a:cxn>
                  <a:cxn ang="0">
                    <a:pos x="connsiteX2" y="connsiteY2"/>
                  </a:cxn>
                  <a:cxn ang="0">
                    <a:pos x="connsiteX3" y="connsiteY3"/>
                  </a:cxn>
                </a:cxnLst>
                <a:rect l="l" t="t" r="r" b="b"/>
                <a:pathLst>
                  <a:path w="59208" h="578814">
                    <a:moveTo>
                      <a:pt x="3050" y="0"/>
                    </a:moveTo>
                    <a:lnTo>
                      <a:pt x="59209" y="578575"/>
                    </a:lnTo>
                    <a:lnTo>
                      <a:pt x="56219" y="578814"/>
                    </a:lnTo>
                    <a:lnTo>
                      <a:pt x="0" y="299"/>
                    </a:lnTo>
                    <a:close/>
                  </a:path>
                </a:pathLst>
              </a:custGeom>
              <a:grpFill/>
              <a:ln w="5978" cap="flat">
                <a:noFill/>
                <a:prstDash val="solid"/>
                <a:miter/>
              </a:ln>
            </p:spPr>
            <p:txBody>
              <a:bodyPr rtlCol="0" anchor="ctr"/>
              <a:lstStyle/>
              <a:p>
                <a:endParaRPr lang="en-GB"/>
              </a:p>
            </p:txBody>
          </p:sp>
          <p:sp>
            <p:nvSpPr>
              <p:cNvPr id="3138" name="Vrije vorm: vorm 3137">
                <a:extLst>
                  <a:ext uri="{FF2B5EF4-FFF2-40B4-BE49-F238E27FC236}">
                    <a16:creationId xmlns:a16="http://schemas.microsoft.com/office/drawing/2014/main" id="{C87788EE-1FDA-45F3-AB7E-013CB31E6F2A}"/>
                  </a:ext>
                </a:extLst>
              </p:cNvPr>
              <p:cNvSpPr/>
              <p:nvPr/>
            </p:nvSpPr>
            <p:spPr>
              <a:xfrm>
                <a:off x="6327761" y="5078169"/>
                <a:ext cx="18325" cy="18443"/>
              </a:xfrm>
              <a:custGeom>
                <a:avLst/>
                <a:gdLst>
                  <a:gd name="connsiteX0" fmla="*/ 42 w 18325"/>
                  <a:gd name="connsiteY0" fmla="*/ 10089 h 18443"/>
                  <a:gd name="connsiteX1" fmla="*/ 8296 w 18325"/>
                  <a:gd name="connsiteY1" fmla="*/ 42 h 18443"/>
                  <a:gd name="connsiteX2" fmla="*/ 18283 w 18325"/>
                  <a:gd name="connsiteY2" fmla="*/ 8355 h 18443"/>
                  <a:gd name="connsiteX3" fmla="*/ 10030 w 18325"/>
                  <a:gd name="connsiteY3" fmla="*/ 18402 h 18443"/>
                  <a:gd name="connsiteX4" fmla="*/ 42 w 18325"/>
                  <a:gd name="connsiteY4" fmla="*/ 100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43">
                    <a:moveTo>
                      <a:pt x="42" y="10089"/>
                    </a:moveTo>
                    <a:cubicBezTo>
                      <a:pt x="-436" y="5006"/>
                      <a:pt x="3212" y="520"/>
                      <a:pt x="8296" y="42"/>
                    </a:cubicBezTo>
                    <a:cubicBezTo>
                      <a:pt x="13319" y="-437"/>
                      <a:pt x="17805" y="3271"/>
                      <a:pt x="18283" y="8355"/>
                    </a:cubicBezTo>
                    <a:cubicBezTo>
                      <a:pt x="18762" y="13438"/>
                      <a:pt x="15113" y="17924"/>
                      <a:pt x="10030" y="18402"/>
                    </a:cubicBezTo>
                    <a:cubicBezTo>
                      <a:pt x="5006" y="18881"/>
                      <a:pt x="520" y="15173"/>
                      <a:pt x="42" y="10089"/>
                    </a:cubicBezTo>
                    <a:close/>
                  </a:path>
                </a:pathLst>
              </a:custGeom>
              <a:grpFill/>
              <a:ln w="5978" cap="flat">
                <a:noFill/>
                <a:prstDash val="solid"/>
                <a:miter/>
              </a:ln>
            </p:spPr>
            <p:txBody>
              <a:bodyPr rtlCol="0" anchor="ctr"/>
              <a:lstStyle/>
              <a:p>
                <a:endParaRPr lang="en-GB"/>
              </a:p>
            </p:txBody>
          </p:sp>
          <p:sp>
            <p:nvSpPr>
              <p:cNvPr id="3139" name="Vrije vorm: vorm 3138">
                <a:extLst>
                  <a:ext uri="{FF2B5EF4-FFF2-40B4-BE49-F238E27FC236}">
                    <a16:creationId xmlns:a16="http://schemas.microsoft.com/office/drawing/2014/main" id="{BE466E86-0327-4065-8AD5-DA3089C38227}"/>
                  </a:ext>
                </a:extLst>
              </p:cNvPr>
              <p:cNvSpPr/>
              <p:nvPr/>
            </p:nvSpPr>
            <p:spPr>
              <a:xfrm>
                <a:off x="6383860" y="5655847"/>
                <a:ext cx="18324" cy="18443"/>
              </a:xfrm>
              <a:custGeom>
                <a:avLst/>
                <a:gdLst>
                  <a:gd name="connsiteX0" fmla="*/ 42 w 18324"/>
                  <a:gd name="connsiteY0" fmla="*/ 10089 h 18443"/>
                  <a:gd name="connsiteX1" fmla="*/ 10030 w 18324"/>
                  <a:gd name="connsiteY1" fmla="*/ 18402 h 18443"/>
                  <a:gd name="connsiteX2" fmla="*/ 18283 w 18324"/>
                  <a:gd name="connsiteY2" fmla="*/ 8355 h 18443"/>
                  <a:gd name="connsiteX3" fmla="*/ 8296 w 18324"/>
                  <a:gd name="connsiteY3" fmla="*/ 42 h 18443"/>
                  <a:gd name="connsiteX4" fmla="*/ 42 w 18324"/>
                  <a:gd name="connsiteY4" fmla="*/ 100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3">
                    <a:moveTo>
                      <a:pt x="42" y="10089"/>
                    </a:moveTo>
                    <a:cubicBezTo>
                      <a:pt x="520" y="15173"/>
                      <a:pt x="5006" y="18881"/>
                      <a:pt x="10030" y="18402"/>
                    </a:cubicBezTo>
                    <a:cubicBezTo>
                      <a:pt x="15053" y="17924"/>
                      <a:pt x="18762" y="13439"/>
                      <a:pt x="18283" y="8355"/>
                    </a:cubicBezTo>
                    <a:cubicBezTo>
                      <a:pt x="17805" y="3271"/>
                      <a:pt x="13319" y="-437"/>
                      <a:pt x="8296" y="42"/>
                    </a:cubicBezTo>
                    <a:cubicBezTo>
                      <a:pt x="3212" y="520"/>
                      <a:pt x="-436" y="5006"/>
                      <a:pt x="42" y="10089"/>
                    </a:cubicBezTo>
                    <a:close/>
                  </a:path>
                </a:pathLst>
              </a:custGeom>
              <a:grpFill/>
              <a:ln w="5978" cap="flat">
                <a:noFill/>
                <a:prstDash val="solid"/>
                <a:miter/>
              </a:ln>
            </p:spPr>
            <p:txBody>
              <a:bodyPr rtlCol="0" anchor="ctr"/>
              <a:lstStyle/>
              <a:p>
                <a:endParaRPr lang="en-GB"/>
              </a:p>
            </p:txBody>
          </p:sp>
        </p:grpSp>
        <p:grpSp>
          <p:nvGrpSpPr>
            <p:cNvPr id="752" name="Graphic 3">
              <a:extLst>
                <a:ext uri="{FF2B5EF4-FFF2-40B4-BE49-F238E27FC236}">
                  <a16:creationId xmlns:a16="http://schemas.microsoft.com/office/drawing/2014/main" id="{AEEB9D09-F3AA-4D03-BE64-5FF9CD7D854F}"/>
                </a:ext>
              </a:extLst>
            </p:cNvPr>
            <p:cNvGrpSpPr/>
            <p:nvPr/>
          </p:nvGrpSpPr>
          <p:grpSpPr>
            <a:xfrm>
              <a:off x="5068487" y="1582645"/>
              <a:ext cx="25845" cy="32441"/>
              <a:chOff x="5068487" y="1582645"/>
              <a:chExt cx="25845" cy="32441"/>
            </a:xfrm>
            <a:grpFill/>
          </p:grpSpPr>
          <p:sp>
            <p:nvSpPr>
              <p:cNvPr id="3135" name="Vrije vorm: vorm 3134">
                <a:extLst>
                  <a:ext uri="{FF2B5EF4-FFF2-40B4-BE49-F238E27FC236}">
                    <a16:creationId xmlns:a16="http://schemas.microsoft.com/office/drawing/2014/main" id="{91264CC7-E80A-495B-8224-3BC8F9879BCC}"/>
                  </a:ext>
                </a:extLst>
              </p:cNvPr>
              <p:cNvSpPr/>
              <p:nvPr/>
            </p:nvSpPr>
            <p:spPr>
              <a:xfrm>
                <a:off x="5068487" y="1582645"/>
                <a:ext cx="18331" cy="18387"/>
              </a:xfrm>
              <a:custGeom>
                <a:avLst/>
                <a:gdLst>
                  <a:gd name="connsiteX0" fmla="*/ 17240 w 18331"/>
                  <a:gd name="connsiteY0" fmla="*/ 4858 h 18387"/>
                  <a:gd name="connsiteX1" fmla="*/ 13532 w 18331"/>
                  <a:gd name="connsiteY1" fmla="*/ 17298 h 18387"/>
                  <a:gd name="connsiteX2" fmla="*/ 1092 w 18331"/>
                  <a:gd name="connsiteY2" fmla="*/ 13530 h 18387"/>
                  <a:gd name="connsiteX3" fmla="*/ 4800 w 18331"/>
                  <a:gd name="connsiteY3" fmla="*/ 1090 h 18387"/>
                  <a:gd name="connsiteX4" fmla="*/ 17240 w 18331"/>
                  <a:gd name="connsiteY4" fmla="*/ 485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7240" y="4858"/>
                    </a:moveTo>
                    <a:cubicBezTo>
                      <a:pt x="19632" y="9343"/>
                      <a:pt x="17957" y="14905"/>
                      <a:pt x="13532" y="17298"/>
                    </a:cubicBezTo>
                    <a:cubicBezTo>
                      <a:pt x="9106" y="19690"/>
                      <a:pt x="3544" y="18015"/>
                      <a:pt x="1092" y="13530"/>
                    </a:cubicBezTo>
                    <a:cubicBezTo>
                      <a:pt x="-1301" y="9044"/>
                      <a:pt x="374" y="3482"/>
                      <a:pt x="4800" y="1090"/>
                    </a:cubicBezTo>
                    <a:cubicBezTo>
                      <a:pt x="9225" y="-1303"/>
                      <a:pt x="14787" y="372"/>
                      <a:pt x="17240" y="4858"/>
                    </a:cubicBezTo>
                    <a:close/>
                  </a:path>
                </a:pathLst>
              </a:custGeom>
              <a:grpFill/>
              <a:ln w="5978" cap="flat">
                <a:noFill/>
                <a:prstDash val="solid"/>
                <a:miter/>
              </a:ln>
            </p:spPr>
            <p:txBody>
              <a:bodyPr rtlCol="0" anchor="ctr"/>
              <a:lstStyle/>
              <a:p>
                <a:endParaRPr lang="en-GB"/>
              </a:p>
            </p:txBody>
          </p:sp>
          <p:sp>
            <p:nvSpPr>
              <p:cNvPr id="3136" name="Vrije vorm: vorm 3135">
                <a:extLst>
                  <a:ext uri="{FF2B5EF4-FFF2-40B4-BE49-F238E27FC236}">
                    <a16:creationId xmlns:a16="http://schemas.microsoft.com/office/drawing/2014/main" id="{2BA77545-A1D6-4341-96BD-D460D2256EC7}"/>
                  </a:ext>
                </a:extLst>
              </p:cNvPr>
              <p:cNvSpPr/>
              <p:nvPr/>
            </p:nvSpPr>
            <p:spPr>
              <a:xfrm>
                <a:off x="5075963" y="1596700"/>
                <a:ext cx="18369" cy="18387"/>
              </a:xfrm>
              <a:custGeom>
                <a:avLst/>
                <a:gdLst>
                  <a:gd name="connsiteX0" fmla="*/ 17240 w 18369"/>
                  <a:gd name="connsiteY0" fmla="*/ 4858 h 18387"/>
                  <a:gd name="connsiteX1" fmla="*/ 4800 w 18369"/>
                  <a:gd name="connsiteY1" fmla="*/ 1090 h 18387"/>
                  <a:gd name="connsiteX2" fmla="*/ 1092 w 18369"/>
                  <a:gd name="connsiteY2" fmla="*/ 13530 h 18387"/>
                  <a:gd name="connsiteX3" fmla="*/ 13532 w 18369"/>
                  <a:gd name="connsiteY3" fmla="*/ 17298 h 18387"/>
                  <a:gd name="connsiteX4" fmla="*/ 17240 w 18369"/>
                  <a:gd name="connsiteY4" fmla="*/ 485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87">
                    <a:moveTo>
                      <a:pt x="17240" y="4858"/>
                    </a:moveTo>
                    <a:cubicBezTo>
                      <a:pt x="14847" y="372"/>
                      <a:pt x="9285" y="-1303"/>
                      <a:pt x="4800" y="1090"/>
                    </a:cubicBezTo>
                    <a:cubicBezTo>
                      <a:pt x="374" y="3482"/>
                      <a:pt x="-1301" y="9044"/>
                      <a:pt x="1092" y="13530"/>
                    </a:cubicBezTo>
                    <a:cubicBezTo>
                      <a:pt x="3484" y="18015"/>
                      <a:pt x="9046" y="19690"/>
                      <a:pt x="13532" y="17298"/>
                    </a:cubicBezTo>
                    <a:cubicBezTo>
                      <a:pt x="18017" y="14905"/>
                      <a:pt x="19692" y="9343"/>
                      <a:pt x="17240" y="4858"/>
                    </a:cubicBezTo>
                    <a:close/>
                  </a:path>
                </a:pathLst>
              </a:custGeom>
              <a:grpFill/>
              <a:ln w="5978" cap="flat">
                <a:noFill/>
                <a:prstDash val="solid"/>
                <a:miter/>
              </a:ln>
            </p:spPr>
            <p:txBody>
              <a:bodyPr rtlCol="0" anchor="ctr"/>
              <a:lstStyle/>
              <a:p>
                <a:endParaRPr lang="en-GB"/>
              </a:p>
            </p:txBody>
          </p:sp>
        </p:grpSp>
        <p:grpSp>
          <p:nvGrpSpPr>
            <p:cNvPr id="753" name="Graphic 3">
              <a:extLst>
                <a:ext uri="{FF2B5EF4-FFF2-40B4-BE49-F238E27FC236}">
                  <a16:creationId xmlns:a16="http://schemas.microsoft.com/office/drawing/2014/main" id="{D061C37E-A011-4DD4-9200-D62B1D846EE7}"/>
                </a:ext>
              </a:extLst>
            </p:cNvPr>
            <p:cNvGrpSpPr/>
            <p:nvPr/>
          </p:nvGrpSpPr>
          <p:grpSpPr>
            <a:xfrm>
              <a:off x="6381246" y="5390697"/>
              <a:ext cx="85676" cy="416571"/>
              <a:chOff x="6381246" y="5390697"/>
              <a:chExt cx="85676" cy="416571"/>
            </a:xfrm>
            <a:grpFill/>
          </p:grpSpPr>
          <p:sp>
            <p:nvSpPr>
              <p:cNvPr id="3132" name="Vrije vorm: vorm 3131">
                <a:extLst>
                  <a:ext uri="{FF2B5EF4-FFF2-40B4-BE49-F238E27FC236}">
                    <a16:creationId xmlns:a16="http://schemas.microsoft.com/office/drawing/2014/main" id="{BB14CCDD-B3BB-4F54-9219-E0AD559FAFF4}"/>
                  </a:ext>
                </a:extLst>
              </p:cNvPr>
              <p:cNvSpPr/>
              <p:nvPr/>
            </p:nvSpPr>
            <p:spPr>
              <a:xfrm>
                <a:off x="6388806" y="5399256"/>
                <a:ext cx="70512" cy="399512"/>
              </a:xfrm>
              <a:custGeom>
                <a:avLst/>
                <a:gdLst>
                  <a:gd name="connsiteX0" fmla="*/ 3050 w 70512"/>
                  <a:gd name="connsiteY0" fmla="*/ 0 h 399512"/>
                  <a:gd name="connsiteX1" fmla="*/ 70513 w 70512"/>
                  <a:gd name="connsiteY1" fmla="*/ 398974 h 399512"/>
                  <a:gd name="connsiteX2" fmla="*/ 67522 w 70512"/>
                  <a:gd name="connsiteY2" fmla="*/ 399512 h 399512"/>
                  <a:gd name="connsiteX3" fmla="*/ 0 w 70512"/>
                  <a:gd name="connsiteY3" fmla="*/ 479 h 399512"/>
                </a:gdLst>
                <a:ahLst/>
                <a:cxnLst>
                  <a:cxn ang="0">
                    <a:pos x="connsiteX0" y="connsiteY0"/>
                  </a:cxn>
                  <a:cxn ang="0">
                    <a:pos x="connsiteX1" y="connsiteY1"/>
                  </a:cxn>
                  <a:cxn ang="0">
                    <a:pos x="connsiteX2" y="connsiteY2"/>
                  </a:cxn>
                  <a:cxn ang="0">
                    <a:pos x="connsiteX3" y="connsiteY3"/>
                  </a:cxn>
                </a:cxnLst>
                <a:rect l="l" t="t" r="r" b="b"/>
                <a:pathLst>
                  <a:path w="70512" h="399512">
                    <a:moveTo>
                      <a:pt x="3050" y="0"/>
                    </a:moveTo>
                    <a:lnTo>
                      <a:pt x="70513" y="398974"/>
                    </a:lnTo>
                    <a:lnTo>
                      <a:pt x="67522" y="399512"/>
                    </a:lnTo>
                    <a:lnTo>
                      <a:pt x="0" y="479"/>
                    </a:lnTo>
                    <a:close/>
                  </a:path>
                </a:pathLst>
              </a:custGeom>
              <a:grpFill/>
              <a:ln w="5978" cap="flat">
                <a:noFill/>
                <a:prstDash val="solid"/>
                <a:miter/>
              </a:ln>
            </p:spPr>
            <p:txBody>
              <a:bodyPr rtlCol="0" anchor="ctr"/>
              <a:lstStyle/>
              <a:p>
                <a:endParaRPr lang="en-GB"/>
              </a:p>
            </p:txBody>
          </p:sp>
          <p:sp>
            <p:nvSpPr>
              <p:cNvPr id="3133" name="Vrije vorm: vorm 3132">
                <a:extLst>
                  <a:ext uri="{FF2B5EF4-FFF2-40B4-BE49-F238E27FC236}">
                    <a16:creationId xmlns:a16="http://schemas.microsoft.com/office/drawing/2014/main" id="{B221D0AF-A2F4-42BF-897C-0028321C782A}"/>
                  </a:ext>
                </a:extLst>
              </p:cNvPr>
              <p:cNvSpPr/>
              <p:nvPr/>
            </p:nvSpPr>
            <p:spPr>
              <a:xfrm>
                <a:off x="6448605" y="5788833"/>
                <a:ext cx="18318" cy="18434"/>
              </a:xfrm>
              <a:custGeom>
                <a:avLst/>
                <a:gdLst>
                  <a:gd name="connsiteX0" fmla="*/ 18190 w 18318"/>
                  <a:gd name="connsiteY0" fmla="*/ 7722 h 18434"/>
                  <a:gd name="connsiteX1" fmla="*/ 10714 w 18318"/>
                  <a:gd name="connsiteY1" fmla="*/ 18308 h 18434"/>
                  <a:gd name="connsiteX2" fmla="*/ 128 w 18318"/>
                  <a:gd name="connsiteY2" fmla="*/ 10712 h 18434"/>
                  <a:gd name="connsiteX3" fmla="*/ 760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8" y="12746"/>
                      <a:pt x="15678" y="17471"/>
                      <a:pt x="10714" y="18308"/>
                    </a:cubicBezTo>
                    <a:cubicBezTo>
                      <a:pt x="5750" y="19145"/>
                      <a:pt x="966" y="15736"/>
                      <a:pt x="128" y="10712"/>
                    </a:cubicBezTo>
                    <a:cubicBezTo>
                      <a:pt x="-709" y="5688"/>
                      <a:pt x="2640" y="964"/>
                      <a:pt x="7604" y="126"/>
                    </a:cubicBezTo>
                    <a:cubicBezTo>
                      <a:pt x="12568" y="-711"/>
                      <a:pt x="17293" y="2698"/>
                      <a:pt x="18190" y="7722"/>
                    </a:cubicBezTo>
                    <a:close/>
                  </a:path>
                </a:pathLst>
              </a:custGeom>
              <a:grpFill/>
              <a:ln w="5978" cap="flat">
                <a:noFill/>
                <a:prstDash val="solid"/>
                <a:miter/>
              </a:ln>
            </p:spPr>
            <p:txBody>
              <a:bodyPr rtlCol="0" anchor="ctr"/>
              <a:lstStyle/>
              <a:p>
                <a:endParaRPr lang="en-GB"/>
              </a:p>
            </p:txBody>
          </p:sp>
          <p:sp>
            <p:nvSpPr>
              <p:cNvPr id="3134" name="Vrije vorm: vorm 3133">
                <a:extLst>
                  <a:ext uri="{FF2B5EF4-FFF2-40B4-BE49-F238E27FC236}">
                    <a16:creationId xmlns:a16="http://schemas.microsoft.com/office/drawing/2014/main" id="{3B5E396D-F9D2-4663-8DA0-E6CD89FE8C82}"/>
                  </a:ext>
                </a:extLst>
              </p:cNvPr>
              <p:cNvSpPr/>
              <p:nvPr/>
            </p:nvSpPr>
            <p:spPr>
              <a:xfrm>
                <a:off x="6381246" y="5390697"/>
                <a:ext cx="18333" cy="18434"/>
              </a:xfrm>
              <a:custGeom>
                <a:avLst/>
                <a:gdLst>
                  <a:gd name="connsiteX0" fmla="*/ 18205 w 18333"/>
                  <a:gd name="connsiteY0" fmla="*/ 7722 h 18434"/>
                  <a:gd name="connsiteX1" fmla="*/ 7619 w 18333"/>
                  <a:gd name="connsiteY1" fmla="*/ 126 h 18434"/>
                  <a:gd name="connsiteX2" fmla="*/ 143 w 18333"/>
                  <a:gd name="connsiteY2" fmla="*/ 10712 h 18434"/>
                  <a:gd name="connsiteX3" fmla="*/ 10729 w 18333"/>
                  <a:gd name="connsiteY3" fmla="*/ 18308 h 18434"/>
                  <a:gd name="connsiteX4" fmla="*/ 18205 w 18333"/>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4">
                    <a:moveTo>
                      <a:pt x="18205" y="7722"/>
                    </a:moveTo>
                    <a:cubicBezTo>
                      <a:pt x="17368" y="2698"/>
                      <a:pt x="12643" y="-711"/>
                      <a:pt x="7619" y="126"/>
                    </a:cubicBezTo>
                    <a:cubicBezTo>
                      <a:pt x="2656" y="964"/>
                      <a:pt x="-754" y="5689"/>
                      <a:pt x="143" y="10712"/>
                    </a:cubicBezTo>
                    <a:cubicBezTo>
                      <a:pt x="981" y="15736"/>
                      <a:pt x="5705" y="19145"/>
                      <a:pt x="10729" y="18308"/>
                    </a:cubicBezTo>
                    <a:cubicBezTo>
                      <a:pt x="15693" y="17530"/>
                      <a:pt x="19043" y="12746"/>
                      <a:pt x="18205" y="7722"/>
                    </a:cubicBezTo>
                    <a:close/>
                  </a:path>
                </a:pathLst>
              </a:custGeom>
              <a:grpFill/>
              <a:ln w="5978" cap="flat">
                <a:noFill/>
                <a:prstDash val="solid"/>
                <a:miter/>
              </a:ln>
            </p:spPr>
            <p:txBody>
              <a:bodyPr rtlCol="0" anchor="ctr"/>
              <a:lstStyle/>
              <a:p>
                <a:endParaRPr lang="en-GB"/>
              </a:p>
            </p:txBody>
          </p:sp>
        </p:grpSp>
        <p:grpSp>
          <p:nvGrpSpPr>
            <p:cNvPr id="754" name="Graphic 3">
              <a:extLst>
                <a:ext uri="{FF2B5EF4-FFF2-40B4-BE49-F238E27FC236}">
                  <a16:creationId xmlns:a16="http://schemas.microsoft.com/office/drawing/2014/main" id="{4E5B80C9-1B78-45F2-BCFE-4AF6989898C4}"/>
                </a:ext>
              </a:extLst>
            </p:cNvPr>
            <p:cNvGrpSpPr/>
            <p:nvPr/>
          </p:nvGrpSpPr>
          <p:grpSpPr>
            <a:xfrm>
              <a:off x="5021381" y="1577013"/>
              <a:ext cx="197242" cy="338104"/>
              <a:chOff x="5021381" y="1577013"/>
              <a:chExt cx="197242" cy="338104"/>
            </a:xfrm>
            <a:grpFill/>
          </p:grpSpPr>
          <p:sp>
            <p:nvSpPr>
              <p:cNvPr id="3129" name="Vrije vorm: vorm 3128">
                <a:extLst>
                  <a:ext uri="{FF2B5EF4-FFF2-40B4-BE49-F238E27FC236}">
                    <a16:creationId xmlns:a16="http://schemas.microsoft.com/office/drawing/2014/main" id="{0E029A1F-FC44-46CF-8E35-45D238EA3AD8}"/>
                  </a:ext>
                </a:extLst>
              </p:cNvPr>
              <p:cNvSpPr/>
              <p:nvPr/>
            </p:nvSpPr>
            <p:spPr>
              <a:xfrm>
                <a:off x="5028967" y="1585129"/>
                <a:ext cx="182405" cy="321794"/>
              </a:xfrm>
              <a:custGeom>
                <a:avLst/>
                <a:gdLst>
                  <a:gd name="connsiteX0" fmla="*/ 0 w 182405"/>
                  <a:gd name="connsiteY0" fmla="*/ 1493 h 321794"/>
                  <a:gd name="connsiteX1" fmla="*/ 2660 w 182405"/>
                  <a:gd name="connsiteY1" fmla="*/ 0 h 321794"/>
                  <a:gd name="connsiteX2" fmla="*/ 182405 w 182405"/>
                  <a:gd name="connsiteY2" fmla="*/ 320302 h 321794"/>
                  <a:gd name="connsiteX3" fmla="*/ 179745 w 182405"/>
                  <a:gd name="connsiteY3" fmla="*/ 321794 h 321794"/>
                </a:gdLst>
                <a:ahLst/>
                <a:cxnLst>
                  <a:cxn ang="0">
                    <a:pos x="connsiteX0" y="connsiteY0"/>
                  </a:cxn>
                  <a:cxn ang="0">
                    <a:pos x="connsiteX1" y="connsiteY1"/>
                  </a:cxn>
                  <a:cxn ang="0">
                    <a:pos x="connsiteX2" y="connsiteY2"/>
                  </a:cxn>
                  <a:cxn ang="0">
                    <a:pos x="connsiteX3" y="connsiteY3"/>
                  </a:cxn>
                </a:cxnLst>
                <a:rect l="l" t="t" r="r" b="b"/>
                <a:pathLst>
                  <a:path w="182405" h="321794">
                    <a:moveTo>
                      <a:pt x="0" y="1493"/>
                    </a:moveTo>
                    <a:lnTo>
                      <a:pt x="2660" y="0"/>
                    </a:lnTo>
                    <a:lnTo>
                      <a:pt x="182405" y="320302"/>
                    </a:lnTo>
                    <a:lnTo>
                      <a:pt x="179745" y="321794"/>
                    </a:lnTo>
                    <a:close/>
                  </a:path>
                </a:pathLst>
              </a:custGeom>
              <a:grpFill/>
              <a:ln w="5978" cap="flat">
                <a:noFill/>
                <a:prstDash val="solid"/>
                <a:miter/>
              </a:ln>
            </p:spPr>
            <p:txBody>
              <a:bodyPr rtlCol="0" anchor="ctr"/>
              <a:lstStyle/>
              <a:p>
                <a:endParaRPr lang="en-GB"/>
              </a:p>
            </p:txBody>
          </p:sp>
          <p:sp>
            <p:nvSpPr>
              <p:cNvPr id="3130" name="Vrije vorm: vorm 3129">
                <a:extLst>
                  <a:ext uri="{FF2B5EF4-FFF2-40B4-BE49-F238E27FC236}">
                    <a16:creationId xmlns:a16="http://schemas.microsoft.com/office/drawing/2014/main" id="{7474D6EB-30CB-47FC-8E6D-FCF5353202A0}"/>
                  </a:ext>
                </a:extLst>
              </p:cNvPr>
              <p:cNvSpPr/>
              <p:nvPr/>
            </p:nvSpPr>
            <p:spPr>
              <a:xfrm>
                <a:off x="5021381" y="1577013"/>
                <a:ext cx="18346" cy="18447"/>
              </a:xfrm>
              <a:custGeom>
                <a:avLst/>
                <a:gdLst>
                  <a:gd name="connsiteX0" fmla="*/ 1189 w 18346"/>
                  <a:gd name="connsiteY0" fmla="*/ 13720 h 18447"/>
                  <a:gd name="connsiteX1" fmla="*/ 4658 w 18346"/>
                  <a:gd name="connsiteY1" fmla="*/ 1160 h 18447"/>
                  <a:gd name="connsiteX2" fmla="*/ 17157 w 18346"/>
                  <a:gd name="connsiteY2" fmla="*/ 4689 h 18447"/>
                  <a:gd name="connsiteX3" fmla="*/ 13688 w 18346"/>
                  <a:gd name="connsiteY3" fmla="*/ 17248 h 18447"/>
                  <a:gd name="connsiteX4" fmla="*/ 1189 w 18346"/>
                  <a:gd name="connsiteY4" fmla="*/ 1372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7">
                    <a:moveTo>
                      <a:pt x="1189" y="13720"/>
                    </a:moveTo>
                    <a:cubicBezTo>
                      <a:pt x="-1323" y="9294"/>
                      <a:pt x="292" y="3672"/>
                      <a:pt x="4658" y="1160"/>
                    </a:cubicBezTo>
                    <a:cubicBezTo>
                      <a:pt x="9083" y="-1292"/>
                      <a:pt x="14646" y="263"/>
                      <a:pt x="17157" y="4689"/>
                    </a:cubicBezTo>
                    <a:cubicBezTo>
                      <a:pt x="19669" y="9115"/>
                      <a:pt x="18054" y="14736"/>
                      <a:pt x="13688" y="17248"/>
                    </a:cubicBezTo>
                    <a:cubicBezTo>
                      <a:pt x="9263" y="19760"/>
                      <a:pt x="3701" y="18205"/>
                      <a:pt x="1189" y="13720"/>
                    </a:cubicBezTo>
                    <a:close/>
                  </a:path>
                </a:pathLst>
              </a:custGeom>
              <a:grpFill/>
              <a:ln w="5978" cap="flat">
                <a:noFill/>
                <a:prstDash val="solid"/>
                <a:miter/>
              </a:ln>
            </p:spPr>
            <p:txBody>
              <a:bodyPr rtlCol="0" anchor="ctr"/>
              <a:lstStyle/>
              <a:p>
                <a:endParaRPr lang="en-GB"/>
              </a:p>
            </p:txBody>
          </p:sp>
          <p:sp>
            <p:nvSpPr>
              <p:cNvPr id="3131" name="Vrije vorm: vorm 3130">
                <a:extLst>
                  <a:ext uri="{FF2B5EF4-FFF2-40B4-BE49-F238E27FC236}">
                    <a16:creationId xmlns:a16="http://schemas.microsoft.com/office/drawing/2014/main" id="{6A0BC81F-9424-486B-AA7D-1BD1DEC27186}"/>
                  </a:ext>
                </a:extLst>
              </p:cNvPr>
              <p:cNvSpPr/>
              <p:nvPr/>
            </p:nvSpPr>
            <p:spPr>
              <a:xfrm>
                <a:off x="5200291" y="1896656"/>
                <a:ext cx="18332" cy="18461"/>
              </a:xfrm>
              <a:custGeom>
                <a:avLst/>
                <a:gdLst>
                  <a:gd name="connsiteX0" fmla="*/ 1162 w 18332"/>
                  <a:gd name="connsiteY0" fmla="*/ 13746 h 18461"/>
                  <a:gd name="connsiteX1" fmla="*/ 13662 w 18332"/>
                  <a:gd name="connsiteY1" fmla="*/ 17275 h 18461"/>
                  <a:gd name="connsiteX2" fmla="*/ 17131 w 18332"/>
                  <a:gd name="connsiteY2" fmla="*/ 4716 h 18461"/>
                  <a:gd name="connsiteX3" fmla="*/ 4631 w 18332"/>
                  <a:gd name="connsiteY3" fmla="*/ 1187 h 18461"/>
                  <a:gd name="connsiteX4" fmla="*/ 1162 w 18332"/>
                  <a:gd name="connsiteY4" fmla="*/ 1374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61">
                    <a:moveTo>
                      <a:pt x="1162" y="13746"/>
                    </a:moveTo>
                    <a:cubicBezTo>
                      <a:pt x="3674" y="18172"/>
                      <a:pt x="9236" y="19787"/>
                      <a:pt x="13662" y="17275"/>
                    </a:cubicBezTo>
                    <a:cubicBezTo>
                      <a:pt x="18088" y="14823"/>
                      <a:pt x="19643" y="9201"/>
                      <a:pt x="17131" y="4716"/>
                    </a:cubicBezTo>
                    <a:cubicBezTo>
                      <a:pt x="14619" y="290"/>
                      <a:pt x="9057" y="-1325"/>
                      <a:pt x="4631" y="1187"/>
                    </a:cubicBezTo>
                    <a:cubicBezTo>
                      <a:pt x="265" y="3699"/>
                      <a:pt x="-1290" y="9321"/>
                      <a:pt x="1162" y="13746"/>
                    </a:cubicBezTo>
                    <a:close/>
                  </a:path>
                </a:pathLst>
              </a:custGeom>
              <a:grpFill/>
              <a:ln w="5978" cap="flat">
                <a:noFill/>
                <a:prstDash val="solid"/>
                <a:miter/>
              </a:ln>
            </p:spPr>
            <p:txBody>
              <a:bodyPr rtlCol="0" anchor="ctr"/>
              <a:lstStyle/>
              <a:p>
                <a:endParaRPr lang="en-GB"/>
              </a:p>
            </p:txBody>
          </p:sp>
        </p:grpSp>
        <p:grpSp>
          <p:nvGrpSpPr>
            <p:cNvPr id="755" name="Graphic 3">
              <a:extLst>
                <a:ext uri="{FF2B5EF4-FFF2-40B4-BE49-F238E27FC236}">
                  <a16:creationId xmlns:a16="http://schemas.microsoft.com/office/drawing/2014/main" id="{1C348D47-A3D9-4A70-80E3-6C3265B8C04F}"/>
                </a:ext>
              </a:extLst>
            </p:cNvPr>
            <p:cNvGrpSpPr/>
            <p:nvPr/>
          </p:nvGrpSpPr>
          <p:grpSpPr>
            <a:xfrm>
              <a:off x="4917263" y="1301195"/>
              <a:ext cx="301905" cy="613704"/>
              <a:chOff x="4917263" y="1301195"/>
              <a:chExt cx="301905" cy="613704"/>
            </a:xfrm>
            <a:grpFill/>
          </p:grpSpPr>
          <p:sp>
            <p:nvSpPr>
              <p:cNvPr id="3126" name="Vrije vorm: vorm 3125">
                <a:extLst>
                  <a:ext uri="{FF2B5EF4-FFF2-40B4-BE49-F238E27FC236}">
                    <a16:creationId xmlns:a16="http://schemas.microsoft.com/office/drawing/2014/main" id="{3034A30B-F95B-414F-B949-D9889EBC63AA}"/>
                  </a:ext>
                </a:extLst>
              </p:cNvPr>
              <p:cNvSpPr/>
              <p:nvPr/>
            </p:nvSpPr>
            <p:spPr>
              <a:xfrm>
                <a:off x="4924845" y="1309340"/>
                <a:ext cx="286715" cy="597414"/>
              </a:xfrm>
              <a:custGeom>
                <a:avLst/>
                <a:gdLst>
                  <a:gd name="connsiteX0" fmla="*/ 286716 w 286715"/>
                  <a:gd name="connsiteY0" fmla="*/ 596099 h 597414"/>
                  <a:gd name="connsiteX1" fmla="*/ 283965 w 286715"/>
                  <a:gd name="connsiteY1" fmla="*/ 597414 h 597414"/>
                  <a:gd name="connsiteX2" fmla="*/ 0 w 286715"/>
                  <a:gd name="connsiteY2" fmla="*/ 1316 h 597414"/>
                  <a:gd name="connsiteX3" fmla="*/ 2751 w 286715"/>
                  <a:gd name="connsiteY3" fmla="*/ 0 h 597414"/>
                </a:gdLst>
                <a:ahLst/>
                <a:cxnLst>
                  <a:cxn ang="0">
                    <a:pos x="connsiteX0" y="connsiteY0"/>
                  </a:cxn>
                  <a:cxn ang="0">
                    <a:pos x="connsiteX1" y="connsiteY1"/>
                  </a:cxn>
                  <a:cxn ang="0">
                    <a:pos x="connsiteX2" y="connsiteY2"/>
                  </a:cxn>
                  <a:cxn ang="0">
                    <a:pos x="connsiteX3" y="connsiteY3"/>
                  </a:cxn>
                </a:cxnLst>
                <a:rect l="l" t="t" r="r" b="b"/>
                <a:pathLst>
                  <a:path w="286715" h="597414">
                    <a:moveTo>
                      <a:pt x="286716" y="596099"/>
                    </a:moveTo>
                    <a:lnTo>
                      <a:pt x="283965" y="597414"/>
                    </a:lnTo>
                    <a:lnTo>
                      <a:pt x="0" y="1316"/>
                    </a:lnTo>
                    <a:lnTo>
                      <a:pt x="2751" y="0"/>
                    </a:lnTo>
                    <a:close/>
                  </a:path>
                </a:pathLst>
              </a:custGeom>
              <a:grpFill/>
              <a:ln w="5978" cap="flat">
                <a:noFill/>
                <a:prstDash val="solid"/>
                <a:miter/>
              </a:ln>
            </p:spPr>
            <p:txBody>
              <a:bodyPr rtlCol="0" anchor="ctr"/>
              <a:lstStyle/>
              <a:p>
                <a:endParaRPr lang="en-GB"/>
              </a:p>
            </p:txBody>
          </p:sp>
          <p:sp>
            <p:nvSpPr>
              <p:cNvPr id="3127" name="Vrije vorm: vorm 3126">
                <a:extLst>
                  <a:ext uri="{FF2B5EF4-FFF2-40B4-BE49-F238E27FC236}">
                    <a16:creationId xmlns:a16="http://schemas.microsoft.com/office/drawing/2014/main" id="{A91529AD-4EDF-4260-8E6E-3E7312EDFF9A}"/>
                  </a:ext>
                </a:extLst>
              </p:cNvPr>
              <p:cNvSpPr/>
              <p:nvPr/>
            </p:nvSpPr>
            <p:spPr>
              <a:xfrm>
                <a:off x="5200843" y="1896456"/>
                <a:ext cx="18325" cy="18443"/>
              </a:xfrm>
              <a:custGeom>
                <a:avLst/>
                <a:gdLst>
                  <a:gd name="connsiteX0" fmla="*/ 17416 w 18325"/>
                  <a:gd name="connsiteY0" fmla="*/ 5274 h 18443"/>
                  <a:gd name="connsiteX1" fmla="*/ 13110 w 18325"/>
                  <a:gd name="connsiteY1" fmla="*/ 17535 h 18443"/>
                  <a:gd name="connsiteX2" fmla="*/ 910 w 18325"/>
                  <a:gd name="connsiteY2" fmla="*/ 13169 h 18443"/>
                  <a:gd name="connsiteX3" fmla="*/ 5216 w 18325"/>
                  <a:gd name="connsiteY3" fmla="*/ 908 h 18443"/>
                  <a:gd name="connsiteX4" fmla="*/ 17416 w 18325"/>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43">
                    <a:moveTo>
                      <a:pt x="17416" y="5274"/>
                    </a:moveTo>
                    <a:cubicBezTo>
                      <a:pt x="19629" y="9879"/>
                      <a:pt x="17656" y="15382"/>
                      <a:pt x="13110" y="17535"/>
                    </a:cubicBezTo>
                    <a:cubicBezTo>
                      <a:pt x="8565" y="19748"/>
                      <a:pt x="3063" y="17774"/>
                      <a:pt x="910" y="13169"/>
                    </a:cubicBezTo>
                    <a:cubicBezTo>
                      <a:pt x="-1303" y="8564"/>
                      <a:pt x="670" y="3061"/>
                      <a:pt x="5216" y="908"/>
                    </a:cubicBezTo>
                    <a:cubicBezTo>
                      <a:pt x="9761" y="-1305"/>
                      <a:pt x="15204" y="669"/>
                      <a:pt x="17416" y="5274"/>
                    </a:cubicBezTo>
                    <a:close/>
                  </a:path>
                </a:pathLst>
              </a:custGeom>
              <a:grpFill/>
              <a:ln w="5978" cap="flat">
                <a:noFill/>
                <a:prstDash val="solid"/>
                <a:miter/>
              </a:ln>
            </p:spPr>
            <p:txBody>
              <a:bodyPr rtlCol="0" anchor="ctr"/>
              <a:lstStyle/>
              <a:p>
                <a:endParaRPr lang="en-GB"/>
              </a:p>
            </p:txBody>
          </p:sp>
          <p:sp>
            <p:nvSpPr>
              <p:cNvPr id="3128" name="Vrije vorm: vorm 3127">
                <a:extLst>
                  <a:ext uri="{FF2B5EF4-FFF2-40B4-BE49-F238E27FC236}">
                    <a16:creationId xmlns:a16="http://schemas.microsoft.com/office/drawing/2014/main" id="{3AC3DCA1-57B9-41F8-B57A-CCC2DBFC7638}"/>
                  </a:ext>
                </a:extLst>
              </p:cNvPr>
              <p:cNvSpPr/>
              <p:nvPr/>
            </p:nvSpPr>
            <p:spPr>
              <a:xfrm>
                <a:off x="4917263" y="1301195"/>
                <a:ext cx="18310" cy="18443"/>
              </a:xfrm>
              <a:custGeom>
                <a:avLst/>
                <a:gdLst>
                  <a:gd name="connsiteX0" fmla="*/ 17390 w 18310"/>
                  <a:gd name="connsiteY0" fmla="*/ 5274 h 18443"/>
                  <a:gd name="connsiteX1" fmla="*/ 5189 w 18310"/>
                  <a:gd name="connsiteY1" fmla="*/ 908 h 18443"/>
                  <a:gd name="connsiteX2" fmla="*/ 884 w 18310"/>
                  <a:gd name="connsiteY2" fmla="*/ 13169 h 18443"/>
                  <a:gd name="connsiteX3" fmla="*/ 13084 w 18310"/>
                  <a:gd name="connsiteY3" fmla="*/ 17535 h 18443"/>
                  <a:gd name="connsiteX4" fmla="*/ 17390 w 18310"/>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43">
                    <a:moveTo>
                      <a:pt x="17390" y="5274"/>
                    </a:moveTo>
                    <a:cubicBezTo>
                      <a:pt x="15178" y="669"/>
                      <a:pt x="9735" y="-1305"/>
                      <a:pt x="5189" y="908"/>
                    </a:cubicBezTo>
                    <a:cubicBezTo>
                      <a:pt x="644" y="3121"/>
                      <a:pt x="-1269" y="8564"/>
                      <a:pt x="884" y="13169"/>
                    </a:cubicBezTo>
                    <a:cubicBezTo>
                      <a:pt x="3036" y="17774"/>
                      <a:pt x="8539" y="19748"/>
                      <a:pt x="13084" y="17535"/>
                    </a:cubicBezTo>
                    <a:cubicBezTo>
                      <a:pt x="17689" y="15322"/>
                      <a:pt x="19603" y="9820"/>
                      <a:pt x="17390" y="5274"/>
                    </a:cubicBezTo>
                    <a:close/>
                  </a:path>
                </a:pathLst>
              </a:custGeom>
              <a:grpFill/>
              <a:ln w="5978" cap="flat">
                <a:noFill/>
                <a:prstDash val="solid"/>
                <a:miter/>
              </a:ln>
            </p:spPr>
            <p:txBody>
              <a:bodyPr rtlCol="0" anchor="ctr"/>
              <a:lstStyle/>
              <a:p>
                <a:endParaRPr lang="en-GB"/>
              </a:p>
            </p:txBody>
          </p:sp>
        </p:grpSp>
        <p:grpSp>
          <p:nvGrpSpPr>
            <p:cNvPr id="756" name="Graphic 3">
              <a:extLst>
                <a:ext uri="{FF2B5EF4-FFF2-40B4-BE49-F238E27FC236}">
                  <a16:creationId xmlns:a16="http://schemas.microsoft.com/office/drawing/2014/main" id="{5B427334-DC18-4E9B-9021-1926219ADAAC}"/>
                </a:ext>
              </a:extLst>
            </p:cNvPr>
            <p:cNvGrpSpPr/>
            <p:nvPr/>
          </p:nvGrpSpPr>
          <p:grpSpPr>
            <a:xfrm>
              <a:off x="5115311" y="1814826"/>
              <a:ext cx="78387" cy="121297"/>
              <a:chOff x="5115311" y="1814826"/>
              <a:chExt cx="78387" cy="121297"/>
            </a:xfrm>
            <a:grpFill/>
          </p:grpSpPr>
          <p:sp>
            <p:nvSpPr>
              <p:cNvPr id="3123" name="Vrije vorm: vorm 3122">
                <a:extLst>
                  <a:ext uri="{FF2B5EF4-FFF2-40B4-BE49-F238E27FC236}">
                    <a16:creationId xmlns:a16="http://schemas.microsoft.com/office/drawing/2014/main" id="{51BCF32F-9847-4149-BBAE-A27B668B11A0}"/>
                  </a:ext>
                </a:extLst>
              </p:cNvPr>
              <p:cNvSpPr/>
              <p:nvPr/>
            </p:nvSpPr>
            <p:spPr>
              <a:xfrm>
                <a:off x="5122926" y="1822904"/>
                <a:ext cx="63156" cy="105200"/>
              </a:xfrm>
              <a:custGeom>
                <a:avLst/>
                <a:gdLst>
                  <a:gd name="connsiteX0" fmla="*/ 63156 w 63156"/>
                  <a:gd name="connsiteY0" fmla="*/ 103646 h 105200"/>
                  <a:gd name="connsiteX1" fmla="*/ 60525 w 63156"/>
                  <a:gd name="connsiteY1" fmla="*/ 105201 h 105200"/>
                  <a:gd name="connsiteX2" fmla="*/ 0 w 63156"/>
                  <a:gd name="connsiteY2" fmla="*/ 1555 h 105200"/>
                  <a:gd name="connsiteX3" fmla="*/ 2632 w 63156"/>
                  <a:gd name="connsiteY3" fmla="*/ 0 h 105200"/>
                </a:gdLst>
                <a:ahLst/>
                <a:cxnLst>
                  <a:cxn ang="0">
                    <a:pos x="connsiteX0" y="connsiteY0"/>
                  </a:cxn>
                  <a:cxn ang="0">
                    <a:pos x="connsiteX1" y="connsiteY1"/>
                  </a:cxn>
                  <a:cxn ang="0">
                    <a:pos x="connsiteX2" y="connsiteY2"/>
                  </a:cxn>
                  <a:cxn ang="0">
                    <a:pos x="connsiteX3" y="connsiteY3"/>
                  </a:cxn>
                </a:cxnLst>
                <a:rect l="l" t="t" r="r" b="b"/>
                <a:pathLst>
                  <a:path w="63156" h="105200">
                    <a:moveTo>
                      <a:pt x="63156" y="103646"/>
                    </a:moveTo>
                    <a:lnTo>
                      <a:pt x="60525" y="105201"/>
                    </a:lnTo>
                    <a:lnTo>
                      <a:pt x="0" y="1555"/>
                    </a:lnTo>
                    <a:lnTo>
                      <a:pt x="2632" y="0"/>
                    </a:lnTo>
                    <a:close/>
                  </a:path>
                </a:pathLst>
              </a:custGeom>
              <a:grpFill/>
              <a:ln w="5978" cap="flat">
                <a:noFill/>
                <a:prstDash val="solid"/>
                <a:miter/>
              </a:ln>
            </p:spPr>
            <p:txBody>
              <a:bodyPr rtlCol="0" anchor="ctr"/>
              <a:lstStyle/>
              <a:p>
                <a:endParaRPr lang="en-GB"/>
              </a:p>
            </p:txBody>
          </p:sp>
          <p:sp>
            <p:nvSpPr>
              <p:cNvPr id="3124" name="Vrije vorm: vorm 3123">
                <a:extLst>
                  <a:ext uri="{FF2B5EF4-FFF2-40B4-BE49-F238E27FC236}">
                    <a16:creationId xmlns:a16="http://schemas.microsoft.com/office/drawing/2014/main" id="{A9862B41-3557-4C1A-B9AF-6C9E707156F4}"/>
                  </a:ext>
                </a:extLst>
              </p:cNvPr>
              <p:cNvSpPr/>
              <p:nvPr/>
            </p:nvSpPr>
            <p:spPr>
              <a:xfrm>
                <a:off x="5115311" y="1814826"/>
                <a:ext cx="18341" cy="18469"/>
              </a:xfrm>
              <a:custGeom>
                <a:avLst/>
                <a:gdLst>
                  <a:gd name="connsiteX0" fmla="*/ 1276 w 18341"/>
                  <a:gd name="connsiteY0" fmla="*/ 13880 h 18469"/>
                  <a:gd name="connsiteX1" fmla="*/ 4505 w 18341"/>
                  <a:gd name="connsiteY1" fmla="*/ 1260 h 18469"/>
                  <a:gd name="connsiteX2" fmla="*/ 17065 w 18341"/>
                  <a:gd name="connsiteY2" fmla="*/ 4550 h 18469"/>
                  <a:gd name="connsiteX3" fmla="*/ 13835 w 18341"/>
                  <a:gd name="connsiteY3" fmla="*/ 17169 h 18469"/>
                  <a:gd name="connsiteX4" fmla="*/ 1276 w 18341"/>
                  <a:gd name="connsiteY4" fmla="*/ 13880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69">
                    <a:moveTo>
                      <a:pt x="1276" y="13880"/>
                    </a:moveTo>
                    <a:cubicBezTo>
                      <a:pt x="-1296" y="9514"/>
                      <a:pt x="140" y="3832"/>
                      <a:pt x="4505" y="1260"/>
                    </a:cubicBezTo>
                    <a:cubicBezTo>
                      <a:pt x="8872" y="-1311"/>
                      <a:pt x="14493" y="184"/>
                      <a:pt x="17065" y="4550"/>
                    </a:cubicBezTo>
                    <a:cubicBezTo>
                      <a:pt x="19637" y="8916"/>
                      <a:pt x="18202" y="14597"/>
                      <a:pt x="13835" y="17169"/>
                    </a:cubicBezTo>
                    <a:cubicBezTo>
                      <a:pt x="9470" y="19801"/>
                      <a:pt x="3848" y="18305"/>
                      <a:pt x="1276" y="13880"/>
                    </a:cubicBezTo>
                    <a:close/>
                  </a:path>
                </a:pathLst>
              </a:custGeom>
              <a:grpFill/>
              <a:ln w="5978" cap="flat">
                <a:noFill/>
                <a:prstDash val="solid"/>
                <a:miter/>
              </a:ln>
            </p:spPr>
            <p:txBody>
              <a:bodyPr rtlCol="0" anchor="ctr"/>
              <a:lstStyle/>
              <a:p>
                <a:endParaRPr lang="en-GB"/>
              </a:p>
            </p:txBody>
          </p:sp>
          <p:sp>
            <p:nvSpPr>
              <p:cNvPr id="3125" name="Vrije vorm: vorm 3124">
                <a:extLst>
                  <a:ext uri="{FF2B5EF4-FFF2-40B4-BE49-F238E27FC236}">
                    <a16:creationId xmlns:a16="http://schemas.microsoft.com/office/drawing/2014/main" id="{42C646BF-9B61-4B29-B41F-9A18AAA97C87}"/>
                  </a:ext>
                </a:extLst>
              </p:cNvPr>
              <p:cNvSpPr/>
              <p:nvPr/>
            </p:nvSpPr>
            <p:spPr>
              <a:xfrm>
                <a:off x="5175371" y="1917694"/>
                <a:ext cx="18327" cy="18429"/>
              </a:xfrm>
              <a:custGeom>
                <a:avLst/>
                <a:gdLst>
                  <a:gd name="connsiteX0" fmla="*/ 1263 w 18327"/>
                  <a:gd name="connsiteY0" fmla="*/ 13880 h 18429"/>
                  <a:gd name="connsiteX1" fmla="*/ 13822 w 18327"/>
                  <a:gd name="connsiteY1" fmla="*/ 17169 h 18429"/>
                  <a:gd name="connsiteX2" fmla="*/ 17052 w 18327"/>
                  <a:gd name="connsiteY2" fmla="*/ 4550 h 18429"/>
                  <a:gd name="connsiteX3" fmla="*/ 4492 w 18327"/>
                  <a:gd name="connsiteY3" fmla="*/ 1260 h 18429"/>
                  <a:gd name="connsiteX4" fmla="*/ 1263 w 18327"/>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263" y="13880"/>
                    </a:moveTo>
                    <a:cubicBezTo>
                      <a:pt x="3835" y="18246"/>
                      <a:pt x="9456" y="19741"/>
                      <a:pt x="13822" y="17169"/>
                    </a:cubicBezTo>
                    <a:cubicBezTo>
                      <a:pt x="18188" y="14597"/>
                      <a:pt x="19623" y="8976"/>
                      <a:pt x="17052" y="4550"/>
                    </a:cubicBezTo>
                    <a:cubicBezTo>
                      <a:pt x="14480" y="184"/>
                      <a:pt x="8858" y="-1311"/>
                      <a:pt x="4492" y="1260"/>
                    </a:cubicBezTo>
                    <a:cubicBezTo>
                      <a:pt x="186" y="3832"/>
                      <a:pt x="-1309" y="9514"/>
                      <a:pt x="1263" y="13880"/>
                    </a:cubicBezTo>
                    <a:close/>
                  </a:path>
                </a:pathLst>
              </a:custGeom>
              <a:grpFill/>
              <a:ln w="5978" cap="flat">
                <a:noFill/>
                <a:prstDash val="solid"/>
                <a:miter/>
              </a:ln>
            </p:spPr>
            <p:txBody>
              <a:bodyPr rtlCol="0" anchor="ctr"/>
              <a:lstStyle/>
              <a:p>
                <a:endParaRPr lang="en-GB"/>
              </a:p>
            </p:txBody>
          </p:sp>
        </p:grpSp>
        <p:grpSp>
          <p:nvGrpSpPr>
            <p:cNvPr id="757" name="Graphic 3">
              <a:extLst>
                <a:ext uri="{FF2B5EF4-FFF2-40B4-BE49-F238E27FC236}">
                  <a16:creationId xmlns:a16="http://schemas.microsoft.com/office/drawing/2014/main" id="{23BCF4F2-2248-4CA9-A4D9-5BC97DA0DAF0}"/>
                </a:ext>
              </a:extLst>
            </p:cNvPr>
            <p:cNvGrpSpPr/>
            <p:nvPr/>
          </p:nvGrpSpPr>
          <p:grpSpPr>
            <a:xfrm>
              <a:off x="6264567" y="5074186"/>
              <a:ext cx="60144" cy="336930"/>
              <a:chOff x="6264567" y="5074186"/>
              <a:chExt cx="60144" cy="336930"/>
            </a:xfrm>
            <a:grpFill/>
          </p:grpSpPr>
          <p:sp>
            <p:nvSpPr>
              <p:cNvPr id="3120" name="Vrije vorm: vorm 3119">
                <a:extLst>
                  <a:ext uri="{FF2B5EF4-FFF2-40B4-BE49-F238E27FC236}">
                    <a16:creationId xmlns:a16="http://schemas.microsoft.com/office/drawing/2014/main" id="{206BCCF1-6865-458D-BB1F-2FF64F5A19C1}"/>
                  </a:ext>
                </a:extLst>
              </p:cNvPr>
              <p:cNvSpPr/>
              <p:nvPr/>
            </p:nvSpPr>
            <p:spPr>
              <a:xfrm>
                <a:off x="6272182" y="5082756"/>
                <a:ext cx="44914" cy="319788"/>
              </a:xfrm>
              <a:custGeom>
                <a:avLst/>
                <a:gdLst>
                  <a:gd name="connsiteX0" fmla="*/ 2990 w 44914"/>
                  <a:gd name="connsiteY0" fmla="*/ 0 h 319788"/>
                  <a:gd name="connsiteX1" fmla="*/ 44915 w 44914"/>
                  <a:gd name="connsiteY1" fmla="*/ 319430 h 319788"/>
                  <a:gd name="connsiteX2" fmla="*/ 41865 w 44914"/>
                  <a:gd name="connsiteY2" fmla="*/ 319789 h 319788"/>
                  <a:gd name="connsiteX3" fmla="*/ 0 w 44914"/>
                  <a:gd name="connsiteY3" fmla="*/ 359 h 319788"/>
                </a:gdLst>
                <a:ahLst/>
                <a:cxnLst>
                  <a:cxn ang="0">
                    <a:pos x="connsiteX0" y="connsiteY0"/>
                  </a:cxn>
                  <a:cxn ang="0">
                    <a:pos x="connsiteX1" y="connsiteY1"/>
                  </a:cxn>
                  <a:cxn ang="0">
                    <a:pos x="connsiteX2" y="connsiteY2"/>
                  </a:cxn>
                  <a:cxn ang="0">
                    <a:pos x="connsiteX3" y="connsiteY3"/>
                  </a:cxn>
                </a:cxnLst>
                <a:rect l="l" t="t" r="r" b="b"/>
                <a:pathLst>
                  <a:path w="44914" h="319788">
                    <a:moveTo>
                      <a:pt x="2990" y="0"/>
                    </a:moveTo>
                    <a:lnTo>
                      <a:pt x="44915" y="319430"/>
                    </a:lnTo>
                    <a:lnTo>
                      <a:pt x="41865" y="319789"/>
                    </a:lnTo>
                    <a:lnTo>
                      <a:pt x="0" y="359"/>
                    </a:lnTo>
                    <a:close/>
                  </a:path>
                </a:pathLst>
              </a:custGeom>
              <a:grpFill/>
              <a:ln w="5978" cap="flat">
                <a:noFill/>
                <a:prstDash val="solid"/>
                <a:miter/>
              </a:ln>
            </p:spPr>
            <p:txBody>
              <a:bodyPr rtlCol="0" anchor="ctr"/>
              <a:lstStyle/>
              <a:p>
                <a:endParaRPr lang="en-GB"/>
              </a:p>
            </p:txBody>
          </p:sp>
          <p:sp>
            <p:nvSpPr>
              <p:cNvPr id="3121" name="Vrije vorm: vorm 3120">
                <a:extLst>
                  <a:ext uri="{FF2B5EF4-FFF2-40B4-BE49-F238E27FC236}">
                    <a16:creationId xmlns:a16="http://schemas.microsoft.com/office/drawing/2014/main" id="{510A3A66-1599-4746-95D2-13D9F9DD4FBA}"/>
                  </a:ext>
                </a:extLst>
              </p:cNvPr>
              <p:cNvSpPr/>
              <p:nvPr/>
            </p:nvSpPr>
            <p:spPr>
              <a:xfrm>
                <a:off x="6306373" y="5392718"/>
                <a:ext cx="18339" cy="18397"/>
              </a:xfrm>
              <a:custGeom>
                <a:avLst/>
                <a:gdLst>
                  <a:gd name="connsiteX0" fmla="*/ 18260 w 18339"/>
                  <a:gd name="connsiteY0" fmla="*/ 8033 h 18397"/>
                  <a:gd name="connsiteX1" fmla="*/ 10366 w 18339"/>
                  <a:gd name="connsiteY1" fmla="*/ 18320 h 18397"/>
                  <a:gd name="connsiteX2" fmla="*/ 79 w 18339"/>
                  <a:gd name="connsiteY2" fmla="*/ 10366 h 18397"/>
                  <a:gd name="connsiteX3" fmla="*/ 7973 w 18339"/>
                  <a:gd name="connsiteY3" fmla="*/ 79 h 18397"/>
                  <a:gd name="connsiteX4" fmla="*/ 18260 w 18339"/>
                  <a:gd name="connsiteY4" fmla="*/ 80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7">
                    <a:moveTo>
                      <a:pt x="18260" y="8033"/>
                    </a:moveTo>
                    <a:cubicBezTo>
                      <a:pt x="18918" y="13057"/>
                      <a:pt x="15390" y="17722"/>
                      <a:pt x="10366" y="18320"/>
                    </a:cubicBezTo>
                    <a:cubicBezTo>
                      <a:pt x="5342" y="18978"/>
                      <a:pt x="737" y="15389"/>
                      <a:pt x="79" y="10366"/>
                    </a:cubicBezTo>
                    <a:cubicBezTo>
                      <a:pt x="-579" y="5342"/>
                      <a:pt x="2950" y="677"/>
                      <a:pt x="7973" y="79"/>
                    </a:cubicBezTo>
                    <a:cubicBezTo>
                      <a:pt x="12937" y="-579"/>
                      <a:pt x="17602" y="2950"/>
                      <a:pt x="18260" y="8033"/>
                    </a:cubicBezTo>
                    <a:close/>
                  </a:path>
                </a:pathLst>
              </a:custGeom>
              <a:grpFill/>
              <a:ln w="5978" cap="flat">
                <a:noFill/>
                <a:prstDash val="solid"/>
                <a:miter/>
              </a:ln>
            </p:spPr>
            <p:txBody>
              <a:bodyPr rtlCol="0" anchor="ctr"/>
              <a:lstStyle/>
              <a:p>
                <a:endParaRPr lang="en-GB"/>
              </a:p>
            </p:txBody>
          </p:sp>
          <p:sp>
            <p:nvSpPr>
              <p:cNvPr id="3122" name="Vrije vorm: vorm 3121">
                <a:extLst>
                  <a:ext uri="{FF2B5EF4-FFF2-40B4-BE49-F238E27FC236}">
                    <a16:creationId xmlns:a16="http://schemas.microsoft.com/office/drawing/2014/main" id="{06479AB9-DD33-4272-9A04-8C70ED06AC1B}"/>
                  </a:ext>
                </a:extLst>
              </p:cNvPr>
              <p:cNvSpPr/>
              <p:nvPr/>
            </p:nvSpPr>
            <p:spPr>
              <a:xfrm>
                <a:off x="6264567" y="5074186"/>
                <a:ext cx="18339" cy="18397"/>
              </a:xfrm>
              <a:custGeom>
                <a:avLst/>
                <a:gdLst>
                  <a:gd name="connsiteX0" fmla="*/ 18260 w 18339"/>
                  <a:gd name="connsiteY0" fmla="*/ 8032 h 18397"/>
                  <a:gd name="connsiteX1" fmla="*/ 7974 w 18339"/>
                  <a:gd name="connsiteY1" fmla="*/ 78 h 18397"/>
                  <a:gd name="connsiteX2" fmla="*/ 79 w 18339"/>
                  <a:gd name="connsiteY2" fmla="*/ 10365 h 18397"/>
                  <a:gd name="connsiteX3" fmla="*/ 10366 w 18339"/>
                  <a:gd name="connsiteY3" fmla="*/ 18319 h 18397"/>
                  <a:gd name="connsiteX4" fmla="*/ 18260 w 18339"/>
                  <a:gd name="connsiteY4" fmla="*/ 803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7">
                    <a:moveTo>
                      <a:pt x="18260" y="8032"/>
                    </a:moveTo>
                    <a:cubicBezTo>
                      <a:pt x="17602" y="3009"/>
                      <a:pt x="12997" y="-580"/>
                      <a:pt x="7974" y="78"/>
                    </a:cubicBezTo>
                    <a:cubicBezTo>
                      <a:pt x="2950" y="736"/>
                      <a:pt x="-579" y="5341"/>
                      <a:pt x="79" y="10365"/>
                    </a:cubicBezTo>
                    <a:cubicBezTo>
                      <a:pt x="737" y="15388"/>
                      <a:pt x="5342" y="18977"/>
                      <a:pt x="10366" y="18319"/>
                    </a:cubicBezTo>
                    <a:cubicBezTo>
                      <a:pt x="15390" y="17721"/>
                      <a:pt x="18918" y="13056"/>
                      <a:pt x="18260" y="8032"/>
                    </a:cubicBezTo>
                    <a:close/>
                  </a:path>
                </a:pathLst>
              </a:custGeom>
              <a:grpFill/>
              <a:ln w="5978" cap="flat">
                <a:noFill/>
                <a:prstDash val="solid"/>
                <a:miter/>
              </a:ln>
            </p:spPr>
            <p:txBody>
              <a:bodyPr rtlCol="0" anchor="ctr"/>
              <a:lstStyle/>
              <a:p>
                <a:endParaRPr lang="en-GB"/>
              </a:p>
            </p:txBody>
          </p:sp>
        </p:grpSp>
        <p:grpSp>
          <p:nvGrpSpPr>
            <p:cNvPr id="758" name="Graphic 3">
              <a:extLst>
                <a:ext uri="{FF2B5EF4-FFF2-40B4-BE49-F238E27FC236}">
                  <a16:creationId xmlns:a16="http://schemas.microsoft.com/office/drawing/2014/main" id="{AC14B174-EF36-4614-87E7-001594535A5F}"/>
                </a:ext>
              </a:extLst>
            </p:cNvPr>
            <p:cNvGrpSpPr/>
            <p:nvPr/>
          </p:nvGrpSpPr>
          <p:grpSpPr>
            <a:xfrm>
              <a:off x="6295364" y="5074905"/>
              <a:ext cx="48364" cy="476456"/>
              <a:chOff x="6295364" y="5074905"/>
              <a:chExt cx="48364" cy="476456"/>
            </a:xfrm>
            <a:grpFill/>
          </p:grpSpPr>
          <p:sp>
            <p:nvSpPr>
              <p:cNvPr id="3117" name="Vrije vorm: vorm 3116">
                <a:extLst>
                  <a:ext uri="{FF2B5EF4-FFF2-40B4-BE49-F238E27FC236}">
                    <a16:creationId xmlns:a16="http://schemas.microsoft.com/office/drawing/2014/main" id="{546F6577-B6A6-47A2-B100-27A7F496ED53}"/>
                  </a:ext>
                </a:extLst>
              </p:cNvPr>
              <p:cNvSpPr/>
              <p:nvPr/>
            </p:nvSpPr>
            <p:spPr>
              <a:xfrm>
                <a:off x="6302983" y="5083534"/>
                <a:ext cx="33073" cy="459199"/>
              </a:xfrm>
              <a:custGeom>
                <a:avLst/>
                <a:gdLst>
                  <a:gd name="connsiteX0" fmla="*/ 3050 w 33073"/>
                  <a:gd name="connsiteY0" fmla="*/ 0 h 459199"/>
                  <a:gd name="connsiteX1" fmla="*/ 33074 w 33073"/>
                  <a:gd name="connsiteY1" fmla="*/ 459020 h 459199"/>
                  <a:gd name="connsiteX2" fmla="*/ 30083 w 33073"/>
                  <a:gd name="connsiteY2" fmla="*/ 459200 h 459199"/>
                  <a:gd name="connsiteX3" fmla="*/ 0 w 33073"/>
                  <a:gd name="connsiteY3" fmla="*/ 179 h 459199"/>
                </a:gdLst>
                <a:ahLst/>
                <a:cxnLst>
                  <a:cxn ang="0">
                    <a:pos x="connsiteX0" y="connsiteY0"/>
                  </a:cxn>
                  <a:cxn ang="0">
                    <a:pos x="connsiteX1" y="connsiteY1"/>
                  </a:cxn>
                  <a:cxn ang="0">
                    <a:pos x="connsiteX2" y="connsiteY2"/>
                  </a:cxn>
                  <a:cxn ang="0">
                    <a:pos x="connsiteX3" y="connsiteY3"/>
                  </a:cxn>
                </a:cxnLst>
                <a:rect l="l" t="t" r="r" b="b"/>
                <a:pathLst>
                  <a:path w="33073" h="459199">
                    <a:moveTo>
                      <a:pt x="3050" y="0"/>
                    </a:moveTo>
                    <a:lnTo>
                      <a:pt x="33074" y="459020"/>
                    </a:lnTo>
                    <a:lnTo>
                      <a:pt x="30083" y="459200"/>
                    </a:lnTo>
                    <a:lnTo>
                      <a:pt x="0" y="179"/>
                    </a:lnTo>
                    <a:close/>
                  </a:path>
                </a:pathLst>
              </a:custGeom>
              <a:grpFill/>
              <a:ln w="5978" cap="flat">
                <a:noFill/>
                <a:prstDash val="solid"/>
                <a:miter/>
              </a:ln>
            </p:spPr>
            <p:txBody>
              <a:bodyPr rtlCol="0" anchor="ctr"/>
              <a:lstStyle/>
              <a:p>
                <a:endParaRPr lang="en-GB"/>
              </a:p>
            </p:txBody>
          </p:sp>
          <p:sp>
            <p:nvSpPr>
              <p:cNvPr id="3118" name="Vrije vorm: vorm 3117">
                <a:extLst>
                  <a:ext uri="{FF2B5EF4-FFF2-40B4-BE49-F238E27FC236}">
                    <a16:creationId xmlns:a16="http://schemas.microsoft.com/office/drawing/2014/main" id="{C86E9774-35CA-4A42-A955-D955E45F6F0D}"/>
                  </a:ext>
                </a:extLst>
              </p:cNvPr>
              <p:cNvSpPr/>
              <p:nvPr/>
            </p:nvSpPr>
            <p:spPr>
              <a:xfrm>
                <a:off x="6295364" y="5074905"/>
                <a:ext cx="18347" cy="18399"/>
              </a:xfrm>
              <a:custGeom>
                <a:avLst/>
                <a:gdLst>
                  <a:gd name="connsiteX0" fmla="*/ 23 w 18347"/>
                  <a:gd name="connsiteY0" fmla="*/ 9765 h 18399"/>
                  <a:gd name="connsiteX1" fmla="*/ 8576 w 18347"/>
                  <a:gd name="connsiteY1" fmla="*/ 16 h 18399"/>
                  <a:gd name="connsiteX2" fmla="*/ 18324 w 18347"/>
                  <a:gd name="connsiteY2" fmla="*/ 8629 h 18399"/>
                  <a:gd name="connsiteX3" fmla="*/ 9772 w 18347"/>
                  <a:gd name="connsiteY3" fmla="*/ 18377 h 18399"/>
                  <a:gd name="connsiteX4" fmla="*/ 23 w 18347"/>
                  <a:gd name="connsiteY4" fmla="*/ 9765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399">
                    <a:moveTo>
                      <a:pt x="23" y="9765"/>
                    </a:moveTo>
                    <a:cubicBezTo>
                      <a:pt x="-336" y="4681"/>
                      <a:pt x="3492" y="315"/>
                      <a:pt x="8576" y="16"/>
                    </a:cubicBezTo>
                    <a:cubicBezTo>
                      <a:pt x="13600" y="-283"/>
                      <a:pt x="17965" y="3545"/>
                      <a:pt x="18324" y="8629"/>
                    </a:cubicBezTo>
                    <a:cubicBezTo>
                      <a:pt x="18683" y="13712"/>
                      <a:pt x="14856" y="18078"/>
                      <a:pt x="9772" y="18377"/>
                    </a:cubicBezTo>
                    <a:cubicBezTo>
                      <a:pt x="4748" y="18736"/>
                      <a:pt x="382" y="14848"/>
                      <a:pt x="23" y="9765"/>
                    </a:cubicBezTo>
                    <a:close/>
                  </a:path>
                </a:pathLst>
              </a:custGeom>
              <a:grpFill/>
              <a:ln w="5978" cap="flat">
                <a:noFill/>
                <a:prstDash val="solid"/>
                <a:miter/>
              </a:ln>
            </p:spPr>
            <p:txBody>
              <a:bodyPr rtlCol="0" anchor="ctr"/>
              <a:lstStyle/>
              <a:p>
                <a:endParaRPr lang="en-GB"/>
              </a:p>
            </p:txBody>
          </p:sp>
          <p:sp>
            <p:nvSpPr>
              <p:cNvPr id="3119" name="Vrije vorm: vorm 3118">
                <a:extLst>
                  <a:ext uri="{FF2B5EF4-FFF2-40B4-BE49-F238E27FC236}">
                    <a16:creationId xmlns:a16="http://schemas.microsoft.com/office/drawing/2014/main" id="{ACD99628-ADB3-4320-9790-60D7A64A3114}"/>
                  </a:ext>
                </a:extLst>
              </p:cNvPr>
              <p:cNvSpPr/>
              <p:nvPr/>
            </p:nvSpPr>
            <p:spPr>
              <a:xfrm>
                <a:off x="6325387" y="5532968"/>
                <a:ext cx="18340" cy="18393"/>
              </a:xfrm>
              <a:custGeom>
                <a:avLst/>
                <a:gdLst>
                  <a:gd name="connsiteX0" fmla="*/ 23 w 18340"/>
                  <a:gd name="connsiteY0" fmla="*/ 9765 h 18393"/>
                  <a:gd name="connsiteX1" fmla="*/ 9772 w 18340"/>
                  <a:gd name="connsiteY1" fmla="*/ 18377 h 18393"/>
                  <a:gd name="connsiteX2" fmla="*/ 18324 w 18340"/>
                  <a:gd name="connsiteY2" fmla="*/ 8629 h 18393"/>
                  <a:gd name="connsiteX3" fmla="*/ 8576 w 18340"/>
                  <a:gd name="connsiteY3" fmla="*/ 16 h 18393"/>
                  <a:gd name="connsiteX4" fmla="*/ 23 w 18340"/>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23" y="9765"/>
                    </a:moveTo>
                    <a:cubicBezTo>
                      <a:pt x="382" y="14848"/>
                      <a:pt x="4748" y="18676"/>
                      <a:pt x="9772" y="18377"/>
                    </a:cubicBezTo>
                    <a:cubicBezTo>
                      <a:pt x="14796" y="18078"/>
                      <a:pt x="18623" y="13712"/>
                      <a:pt x="18324" y="8629"/>
                    </a:cubicBezTo>
                    <a:cubicBezTo>
                      <a:pt x="17965" y="3545"/>
                      <a:pt x="13600" y="-283"/>
                      <a:pt x="8576" y="16"/>
                    </a:cubicBezTo>
                    <a:cubicBezTo>
                      <a:pt x="3492" y="315"/>
                      <a:pt x="-336" y="4682"/>
                      <a:pt x="23" y="9765"/>
                    </a:cubicBezTo>
                    <a:close/>
                  </a:path>
                </a:pathLst>
              </a:custGeom>
              <a:grpFill/>
              <a:ln w="5978" cap="flat">
                <a:noFill/>
                <a:prstDash val="solid"/>
                <a:miter/>
              </a:ln>
            </p:spPr>
            <p:txBody>
              <a:bodyPr rtlCol="0" anchor="ctr"/>
              <a:lstStyle/>
              <a:p>
                <a:endParaRPr lang="en-GB"/>
              </a:p>
            </p:txBody>
          </p:sp>
        </p:grpSp>
        <p:grpSp>
          <p:nvGrpSpPr>
            <p:cNvPr id="759" name="Graphic 3">
              <a:extLst>
                <a:ext uri="{FF2B5EF4-FFF2-40B4-BE49-F238E27FC236}">
                  <a16:creationId xmlns:a16="http://schemas.microsoft.com/office/drawing/2014/main" id="{2D801539-E9DB-427C-8D79-47148C83D8D5}"/>
                </a:ext>
              </a:extLst>
            </p:cNvPr>
            <p:cNvGrpSpPr/>
            <p:nvPr/>
          </p:nvGrpSpPr>
          <p:grpSpPr>
            <a:xfrm>
              <a:off x="4917653" y="1301013"/>
              <a:ext cx="169164" cy="300019"/>
              <a:chOff x="4917653" y="1301013"/>
              <a:chExt cx="169164" cy="300019"/>
            </a:xfrm>
            <a:grpFill/>
          </p:grpSpPr>
          <p:sp>
            <p:nvSpPr>
              <p:cNvPr id="3114" name="Vrije vorm: vorm 3113">
                <a:extLst>
                  <a:ext uri="{FF2B5EF4-FFF2-40B4-BE49-F238E27FC236}">
                    <a16:creationId xmlns:a16="http://schemas.microsoft.com/office/drawing/2014/main" id="{9497F05F-785E-46E0-85FC-505727531D4C}"/>
                  </a:ext>
                </a:extLst>
              </p:cNvPr>
              <p:cNvSpPr/>
              <p:nvPr/>
            </p:nvSpPr>
            <p:spPr>
              <a:xfrm>
                <a:off x="4925264" y="1309041"/>
                <a:ext cx="153943" cy="283964"/>
              </a:xfrm>
              <a:custGeom>
                <a:avLst/>
                <a:gdLst>
                  <a:gd name="connsiteX0" fmla="*/ 153944 w 153943"/>
                  <a:gd name="connsiteY0" fmla="*/ 282469 h 283964"/>
                  <a:gd name="connsiteX1" fmla="*/ 151252 w 153943"/>
                  <a:gd name="connsiteY1" fmla="*/ 283965 h 283964"/>
                  <a:gd name="connsiteX2" fmla="*/ 0 w 153943"/>
                  <a:gd name="connsiteY2" fmla="*/ 1495 h 283964"/>
                  <a:gd name="connsiteX3" fmla="*/ 2691 w 153943"/>
                  <a:gd name="connsiteY3" fmla="*/ 0 h 283964"/>
                </a:gdLst>
                <a:ahLst/>
                <a:cxnLst>
                  <a:cxn ang="0">
                    <a:pos x="connsiteX0" y="connsiteY0"/>
                  </a:cxn>
                  <a:cxn ang="0">
                    <a:pos x="connsiteX1" y="connsiteY1"/>
                  </a:cxn>
                  <a:cxn ang="0">
                    <a:pos x="connsiteX2" y="connsiteY2"/>
                  </a:cxn>
                  <a:cxn ang="0">
                    <a:pos x="connsiteX3" y="connsiteY3"/>
                  </a:cxn>
                </a:cxnLst>
                <a:rect l="l" t="t" r="r" b="b"/>
                <a:pathLst>
                  <a:path w="153943" h="283964">
                    <a:moveTo>
                      <a:pt x="153944" y="282469"/>
                    </a:moveTo>
                    <a:lnTo>
                      <a:pt x="151252" y="283965"/>
                    </a:lnTo>
                    <a:lnTo>
                      <a:pt x="0" y="1495"/>
                    </a:lnTo>
                    <a:lnTo>
                      <a:pt x="2691" y="0"/>
                    </a:lnTo>
                    <a:close/>
                  </a:path>
                </a:pathLst>
              </a:custGeom>
              <a:grpFill/>
              <a:ln w="5978" cap="flat">
                <a:noFill/>
                <a:prstDash val="solid"/>
                <a:miter/>
              </a:ln>
            </p:spPr>
            <p:txBody>
              <a:bodyPr rtlCol="0" anchor="ctr"/>
              <a:lstStyle/>
              <a:p>
                <a:endParaRPr lang="en-GB"/>
              </a:p>
            </p:txBody>
          </p:sp>
          <p:sp>
            <p:nvSpPr>
              <p:cNvPr id="3115" name="Vrije vorm: vorm 3114">
                <a:extLst>
                  <a:ext uri="{FF2B5EF4-FFF2-40B4-BE49-F238E27FC236}">
                    <a16:creationId xmlns:a16="http://schemas.microsoft.com/office/drawing/2014/main" id="{3EA81211-0136-4C1B-9836-1BCE8E5A5170}"/>
                  </a:ext>
                </a:extLst>
              </p:cNvPr>
              <p:cNvSpPr/>
              <p:nvPr/>
            </p:nvSpPr>
            <p:spPr>
              <a:xfrm>
                <a:off x="4917653" y="1301013"/>
                <a:ext cx="18331" cy="18387"/>
              </a:xfrm>
              <a:custGeom>
                <a:avLst/>
                <a:gdLst>
                  <a:gd name="connsiteX0" fmla="*/ 1091 w 18331"/>
                  <a:gd name="connsiteY0" fmla="*/ 13530 h 18387"/>
                  <a:gd name="connsiteX1" fmla="*/ 4799 w 18331"/>
                  <a:gd name="connsiteY1" fmla="*/ 1090 h 18387"/>
                  <a:gd name="connsiteX2" fmla="*/ 17239 w 18331"/>
                  <a:gd name="connsiteY2" fmla="*/ 4858 h 18387"/>
                  <a:gd name="connsiteX3" fmla="*/ 13531 w 18331"/>
                  <a:gd name="connsiteY3" fmla="*/ 17298 h 18387"/>
                  <a:gd name="connsiteX4" fmla="*/ 1091 w 18331"/>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091" y="13530"/>
                    </a:moveTo>
                    <a:cubicBezTo>
                      <a:pt x="-1301" y="9044"/>
                      <a:pt x="374" y="3482"/>
                      <a:pt x="4799" y="1090"/>
                    </a:cubicBezTo>
                    <a:cubicBezTo>
                      <a:pt x="9226" y="-1303"/>
                      <a:pt x="14788" y="372"/>
                      <a:pt x="17239" y="4858"/>
                    </a:cubicBezTo>
                    <a:cubicBezTo>
                      <a:pt x="19632" y="9343"/>
                      <a:pt x="17957" y="14905"/>
                      <a:pt x="13531" y="17298"/>
                    </a:cubicBezTo>
                    <a:cubicBezTo>
                      <a:pt x="9046" y="19690"/>
                      <a:pt x="3484" y="18015"/>
                      <a:pt x="1091" y="13530"/>
                    </a:cubicBezTo>
                    <a:close/>
                  </a:path>
                </a:pathLst>
              </a:custGeom>
              <a:grpFill/>
              <a:ln w="5978" cap="flat">
                <a:noFill/>
                <a:prstDash val="solid"/>
                <a:miter/>
              </a:ln>
            </p:spPr>
            <p:txBody>
              <a:bodyPr rtlCol="0" anchor="ctr"/>
              <a:lstStyle/>
              <a:p>
                <a:endParaRPr lang="en-GB"/>
              </a:p>
            </p:txBody>
          </p:sp>
          <p:sp>
            <p:nvSpPr>
              <p:cNvPr id="3116" name="Vrije vorm: vorm 3115">
                <a:extLst>
                  <a:ext uri="{FF2B5EF4-FFF2-40B4-BE49-F238E27FC236}">
                    <a16:creationId xmlns:a16="http://schemas.microsoft.com/office/drawing/2014/main" id="{56C014B3-FDED-48EB-B863-07F1B6231627}"/>
                  </a:ext>
                </a:extLst>
              </p:cNvPr>
              <p:cNvSpPr/>
              <p:nvPr/>
            </p:nvSpPr>
            <p:spPr>
              <a:xfrm>
                <a:off x="5068487" y="1582645"/>
                <a:ext cx="18331" cy="18387"/>
              </a:xfrm>
              <a:custGeom>
                <a:avLst/>
                <a:gdLst>
                  <a:gd name="connsiteX0" fmla="*/ 1092 w 18331"/>
                  <a:gd name="connsiteY0" fmla="*/ 13530 h 18387"/>
                  <a:gd name="connsiteX1" fmla="*/ 13532 w 18331"/>
                  <a:gd name="connsiteY1" fmla="*/ 17298 h 18387"/>
                  <a:gd name="connsiteX2" fmla="*/ 17240 w 18331"/>
                  <a:gd name="connsiteY2" fmla="*/ 4858 h 18387"/>
                  <a:gd name="connsiteX3" fmla="*/ 4800 w 18331"/>
                  <a:gd name="connsiteY3" fmla="*/ 1090 h 18387"/>
                  <a:gd name="connsiteX4" fmla="*/ 1092 w 18331"/>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092" y="13530"/>
                    </a:moveTo>
                    <a:cubicBezTo>
                      <a:pt x="3484" y="18015"/>
                      <a:pt x="9046" y="19690"/>
                      <a:pt x="13532" y="17298"/>
                    </a:cubicBezTo>
                    <a:cubicBezTo>
                      <a:pt x="17957" y="14905"/>
                      <a:pt x="19632" y="9343"/>
                      <a:pt x="17240" y="4858"/>
                    </a:cubicBezTo>
                    <a:cubicBezTo>
                      <a:pt x="14847" y="372"/>
                      <a:pt x="9285" y="-1303"/>
                      <a:pt x="4800" y="1090"/>
                    </a:cubicBezTo>
                    <a:cubicBezTo>
                      <a:pt x="374" y="3482"/>
                      <a:pt x="-1301" y="9044"/>
                      <a:pt x="1092" y="13530"/>
                    </a:cubicBezTo>
                    <a:close/>
                  </a:path>
                </a:pathLst>
              </a:custGeom>
              <a:grpFill/>
              <a:ln w="5978" cap="flat">
                <a:noFill/>
                <a:prstDash val="solid"/>
                <a:miter/>
              </a:ln>
            </p:spPr>
            <p:txBody>
              <a:bodyPr rtlCol="0" anchor="ctr"/>
              <a:lstStyle/>
              <a:p>
                <a:endParaRPr lang="en-GB"/>
              </a:p>
            </p:txBody>
          </p:sp>
        </p:grpSp>
        <p:grpSp>
          <p:nvGrpSpPr>
            <p:cNvPr id="760" name="Graphic 3">
              <a:extLst>
                <a:ext uri="{FF2B5EF4-FFF2-40B4-BE49-F238E27FC236}">
                  <a16:creationId xmlns:a16="http://schemas.microsoft.com/office/drawing/2014/main" id="{DB427291-1425-46B2-9F8D-79F5A63458B9}"/>
                </a:ext>
              </a:extLst>
            </p:cNvPr>
            <p:cNvGrpSpPr/>
            <p:nvPr/>
          </p:nvGrpSpPr>
          <p:grpSpPr>
            <a:xfrm>
              <a:off x="6337157" y="5347907"/>
              <a:ext cx="64556" cy="326436"/>
              <a:chOff x="6337157" y="5347907"/>
              <a:chExt cx="64556" cy="326436"/>
            </a:xfrm>
            <a:grpFill/>
          </p:grpSpPr>
          <p:sp>
            <p:nvSpPr>
              <p:cNvPr id="3111" name="Vrije vorm: vorm 3110">
                <a:extLst>
                  <a:ext uri="{FF2B5EF4-FFF2-40B4-BE49-F238E27FC236}">
                    <a16:creationId xmlns:a16="http://schemas.microsoft.com/office/drawing/2014/main" id="{75FD46D7-5967-4BD5-BD64-5422749AFF82}"/>
                  </a:ext>
                </a:extLst>
              </p:cNvPr>
              <p:cNvSpPr/>
              <p:nvPr/>
            </p:nvSpPr>
            <p:spPr>
              <a:xfrm>
                <a:off x="6344728" y="5356434"/>
                <a:ext cx="49400" cy="309382"/>
              </a:xfrm>
              <a:custGeom>
                <a:avLst/>
                <a:gdLst>
                  <a:gd name="connsiteX0" fmla="*/ 3050 w 49400"/>
                  <a:gd name="connsiteY0" fmla="*/ 0 h 309382"/>
                  <a:gd name="connsiteX1" fmla="*/ 49401 w 49400"/>
                  <a:gd name="connsiteY1" fmla="*/ 308904 h 309382"/>
                  <a:gd name="connsiteX2" fmla="*/ 46351 w 49400"/>
                  <a:gd name="connsiteY2" fmla="*/ 309383 h 309382"/>
                  <a:gd name="connsiteX3" fmla="*/ 0 w 49400"/>
                  <a:gd name="connsiteY3" fmla="*/ 479 h 309382"/>
                </a:gdLst>
                <a:ahLst/>
                <a:cxnLst>
                  <a:cxn ang="0">
                    <a:pos x="connsiteX0" y="connsiteY0"/>
                  </a:cxn>
                  <a:cxn ang="0">
                    <a:pos x="connsiteX1" y="connsiteY1"/>
                  </a:cxn>
                  <a:cxn ang="0">
                    <a:pos x="connsiteX2" y="connsiteY2"/>
                  </a:cxn>
                  <a:cxn ang="0">
                    <a:pos x="connsiteX3" y="connsiteY3"/>
                  </a:cxn>
                </a:cxnLst>
                <a:rect l="l" t="t" r="r" b="b"/>
                <a:pathLst>
                  <a:path w="49400" h="309382">
                    <a:moveTo>
                      <a:pt x="3050" y="0"/>
                    </a:moveTo>
                    <a:lnTo>
                      <a:pt x="49401" y="308904"/>
                    </a:lnTo>
                    <a:lnTo>
                      <a:pt x="46351" y="309383"/>
                    </a:lnTo>
                    <a:lnTo>
                      <a:pt x="0" y="479"/>
                    </a:lnTo>
                    <a:close/>
                  </a:path>
                </a:pathLst>
              </a:custGeom>
              <a:grpFill/>
              <a:ln w="5978" cap="flat">
                <a:noFill/>
                <a:prstDash val="solid"/>
                <a:miter/>
              </a:ln>
            </p:spPr>
            <p:txBody>
              <a:bodyPr rtlCol="0" anchor="ctr"/>
              <a:lstStyle/>
              <a:p>
                <a:endParaRPr lang="en-GB"/>
              </a:p>
            </p:txBody>
          </p:sp>
          <p:sp>
            <p:nvSpPr>
              <p:cNvPr id="3112" name="Vrije vorm: vorm 3111">
                <a:extLst>
                  <a:ext uri="{FF2B5EF4-FFF2-40B4-BE49-F238E27FC236}">
                    <a16:creationId xmlns:a16="http://schemas.microsoft.com/office/drawing/2014/main" id="{A0C0090D-376E-4B4A-9B3B-47512580275D}"/>
                  </a:ext>
                </a:extLst>
              </p:cNvPr>
              <p:cNvSpPr/>
              <p:nvPr/>
            </p:nvSpPr>
            <p:spPr>
              <a:xfrm>
                <a:off x="6383374" y="5655914"/>
                <a:ext cx="18339" cy="18429"/>
              </a:xfrm>
              <a:custGeom>
                <a:avLst/>
                <a:gdLst>
                  <a:gd name="connsiteX0" fmla="*/ 18230 w 18339"/>
                  <a:gd name="connsiteY0" fmla="*/ 7869 h 18429"/>
                  <a:gd name="connsiteX1" fmla="*/ 10515 w 18339"/>
                  <a:gd name="connsiteY1" fmla="*/ 18335 h 18429"/>
                  <a:gd name="connsiteX2" fmla="*/ 109 w 18339"/>
                  <a:gd name="connsiteY2" fmla="*/ 10560 h 18429"/>
                  <a:gd name="connsiteX3" fmla="*/ 7824 w 18339"/>
                  <a:gd name="connsiteY3" fmla="*/ 94 h 18429"/>
                  <a:gd name="connsiteX4" fmla="*/ 18230 w 18339"/>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18230" y="7869"/>
                    </a:moveTo>
                    <a:cubicBezTo>
                      <a:pt x="19008" y="12893"/>
                      <a:pt x="15539" y="17558"/>
                      <a:pt x="10515" y="18335"/>
                    </a:cubicBezTo>
                    <a:cubicBezTo>
                      <a:pt x="5491" y="19053"/>
                      <a:pt x="827" y="15584"/>
                      <a:pt x="109" y="10560"/>
                    </a:cubicBezTo>
                    <a:cubicBezTo>
                      <a:pt x="-669" y="5536"/>
                      <a:pt x="2800" y="872"/>
                      <a:pt x="7824" y="94"/>
                    </a:cubicBezTo>
                    <a:cubicBezTo>
                      <a:pt x="12788" y="-624"/>
                      <a:pt x="17453" y="2845"/>
                      <a:pt x="18230" y="7869"/>
                    </a:cubicBezTo>
                    <a:close/>
                  </a:path>
                </a:pathLst>
              </a:custGeom>
              <a:grpFill/>
              <a:ln w="5978" cap="flat">
                <a:noFill/>
                <a:prstDash val="solid"/>
                <a:miter/>
              </a:ln>
            </p:spPr>
            <p:txBody>
              <a:bodyPr rtlCol="0" anchor="ctr"/>
              <a:lstStyle/>
              <a:p>
                <a:endParaRPr lang="en-GB"/>
              </a:p>
            </p:txBody>
          </p:sp>
          <p:sp>
            <p:nvSpPr>
              <p:cNvPr id="3113" name="Vrije vorm: vorm 3112">
                <a:extLst>
                  <a:ext uri="{FF2B5EF4-FFF2-40B4-BE49-F238E27FC236}">
                    <a16:creationId xmlns:a16="http://schemas.microsoft.com/office/drawing/2014/main" id="{545BB9F4-3836-4D71-A111-3671FE7BD233}"/>
                  </a:ext>
                </a:extLst>
              </p:cNvPr>
              <p:cNvSpPr/>
              <p:nvPr/>
            </p:nvSpPr>
            <p:spPr>
              <a:xfrm>
                <a:off x="6337157" y="5347907"/>
                <a:ext cx="18326" cy="18429"/>
              </a:xfrm>
              <a:custGeom>
                <a:avLst/>
                <a:gdLst>
                  <a:gd name="connsiteX0" fmla="*/ 18217 w 18326"/>
                  <a:gd name="connsiteY0" fmla="*/ 7869 h 18429"/>
                  <a:gd name="connsiteX1" fmla="*/ 7811 w 18326"/>
                  <a:gd name="connsiteY1" fmla="*/ 94 h 18429"/>
                  <a:gd name="connsiteX2" fmla="*/ 95 w 18326"/>
                  <a:gd name="connsiteY2" fmla="*/ 10560 h 18429"/>
                  <a:gd name="connsiteX3" fmla="*/ 10502 w 18326"/>
                  <a:gd name="connsiteY3" fmla="*/ 18335 h 18429"/>
                  <a:gd name="connsiteX4" fmla="*/ 18217 w 18326"/>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8217" y="7869"/>
                    </a:moveTo>
                    <a:cubicBezTo>
                      <a:pt x="17440" y="2845"/>
                      <a:pt x="12775" y="-624"/>
                      <a:pt x="7811" y="94"/>
                    </a:cubicBezTo>
                    <a:cubicBezTo>
                      <a:pt x="2787" y="812"/>
                      <a:pt x="-622" y="5536"/>
                      <a:pt x="95" y="10560"/>
                    </a:cubicBezTo>
                    <a:cubicBezTo>
                      <a:pt x="873" y="15584"/>
                      <a:pt x="5538" y="19053"/>
                      <a:pt x="10502" y="18335"/>
                    </a:cubicBezTo>
                    <a:cubicBezTo>
                      <a:pt x="15526" y="17617"/>
                      <a:pt x="18995" y="12953"/>
                      <a:pt x="18217" y="7869"/>
                    </a:cubicBezTo>
                    <a:close/>
                  </a:path>
                </a:pathLst>
              </a:custGeom>
              <a:grpFill/>
              <a:ln w="5978" cap="flat">
                <a:noFill/>
                <a:prstDash val="solid"/>
                <a:miter/>
              </a:ln>
            </p:spPr>
            <p:txBody>
              <a:bodyPr rtlCol="0" anchor="ctr"/>
              <a:lstStyle/>
              <a:p>
                <a:endParaRPr lang="en-GB"/>
              </a:p>
            </p:txBody>
          </p:sp>
        </p:grpSp>
        <p:grpSp>
          <p:nvGrpSpPr>
            <p:cNvPr id="761" name="Graphic 3">
              <a:extLst>
                <a:ext uri="{FF2B5EF4-FFF2-40B4-BE49-F238E27FC236}">
                  <a16:creationId xmlns:a16="http://schemas.microsoft.com/office/drawing/2014/main" id="{6DA72DFD-E827-421A-841A-BAC7544FD0B5}"/>
                </a:ext>
              </a:extLst>
            </p:cNvPr>
            <p:cNvGrpSpPr/>
            <p:nvPr/>
          </p:nvGrpSpPr>
          <p:grpSpPr>
            <a:xfrm>
              <a:off x="5021368" y="1577046"/>
              <a:ext cx="74517" cy="118818"/>
              <a:chOff x="5021368" y="1577046"/>
              <a:chExt cx="74517" cy="118818"/>
            </a:xfrm>
            <a:grpFill/>
          </p:grpSpPr>
          <p:sp>
            <p:nvSpPr>
              <p:cNvPr id="3108" name="Vrije vorm: vorm 3107">
                <a:extLst>
                  <a:ext uri="{FF2B5EF4-FFF2-40B4-BE49-F238E27FC236}">
                    <a16:creationId xmlns:a16="http://schemas.microsoft.com/office/drawing/2014/main" id="{51AB5165-24F4-4476-912F-DA7FEAAE442E}"/>
                  </a:ext>
                </a:extLst>
              </p:cNvPr>
              <p:cNvSpPr/>
              <p:nvPr/>
            </p:nvSpPr>
            <p:spPr>
              <a:xfrm>
                <a:off x="5028812" y="1584966"/>
                <a:ext cx="59379" cy="102637"/>
              </a:xfrm>
              <a:custGeom>
                <a:avLst/>
                <a:gdLst>
                  <a:gd name="connsiteX0" fmla="*/ 0 w 59379"/>
                  <a:gd name="connsiteY0" fmla="*/ 1492 h 102637"/>
                  <a:gd name="connsiteX1" fmla="*/ 2660 w 59379"/>
                  <a:gd name="connsiteY1" fmla="*/ 0 h 102637"/>
                  <a:gd name="connsiteX2" fmla="*/ 59379 w 59379"/>
                  <a:gd name="connsiteY2" fmla="*/ 101146 h 102637"/>
                  <a:gd name="connsiteX3" fmla="*/ 56719 w 59379"/>
                  <a:gd name="connsiteY3" fmla="*/ 102638 h 102637"/>
                </a:gdLst>
                <a:ahLst/>
                <a:cxnLst>
                  <a:cxn ang="0">
                    <a:pos x="connsiteX0" y="connsiteY0"/>
                  </a:cxn>
                  <a:cxn ang="0">
                    <a:pos x="connsiteX1" y="connsiteY1"/>
                  </a:cxn>
                  <a:cxn ang="0">
                    <a:pos x="connsiteX2" y="connsiteY2"/>
                  </a:cxn>
                  <a:cxn ang="0">
                    <a:pos x="connsiteX3" y="connsiteY3"/>
                  </a:cxn>
                </a:cxnLst>
                <a:rect l="l" t="t" r="r" b="b"/>
                <a:pathLst>
                  <a:path w="59379" h="102637">
                    <a:moveTo>
                      <a:pt x="0" y="1492"/>
                    </a:moveTo>
                    <a:lnTo>
                      <a:pt x="2660" y="0"/>
                    </a:lnTo>
                    <a:lnTo>
                      <a:pt x="59379" y="101146"/>
                    </a:lnTo>
                    <a:lnTo>
                      <a:pt x="56719" y="102638"/>
                    </a:lnTo>
                    <a:close/>
                  </a:path>
                </a:pathLst>
              </a:custGeom>
              <a:grpFill/>
              <a:ln w="5978" cap="flat">
                <a:noFill/>
                <a:prstDash val="solid"/>
                <a:miter/>
              </a:ln>
            </p:spPr>
            <p:txBody>
              <a:bodyPr rtlCol="0" anchor="ctr"/>
              <a:lstStyle/>
              <a:p>
                <a:endParaRPr lang="en-GB"/>
              </a:p>
            </p:txBody>
          </p:sp>
          <p:sp>
            <p:nvSpPr>
              <p:cNvPr id="3109" name="Vrije vorm: vorm 3108">
                <a:extLst>
                  <a:ext uri="{FF2B5EF4-FFF2-40B4-BE49-F238E27FC236}">
                    <a16:creationId xmlns:a16="http://schemas.microsoft.com/office/drawing/2014/main" id="{E9ECE4CE-5751-418B-B821-BBBE5557D1D5}"/>
                  </a:ext>
                </a:extLst>
              </p:cNvPr>
              <p:cNvSpPr/>
              <p:nvPr/>
            </p:nvSpPr>
            <p:spPr>
              <a:xfrm>
                <a:off x="5077540" y="1677429"/>
                <a:ext cx="18346" cy="18435"/>
              </a:xfrm>
              <a:custGeom>
                <a:avLst/>
                <a:gdLst>
                  <a:gd name="connsiteX0" fmla="*/ 17158 w 18346"/>
                  <a:gd name="connsiteY0" fmla="*/ 4689 h 18435"/>
                  <a:gd name="connsiteX1" fmla="*/ 13689 w 18346"/>
                  <a:gd name="connsiteY1" fmla="*/ 17248 h 18435"/>
                  <a:gd name="connsiteX2" fmla="*/ 1189 w 18346"/>
                  <a:gd name="connsiteY2" fmla="*/ 13720 h 18435"/>
                  <a:gd name="connsiteX3" fmla="*/ 4658 w 18346"/>
                  <a:gd name="connsiteY3" fmla="*/ 1160 h 18435"/>
                  <a:gd name="connsiteX4" fmla="*/ 17158 w 18346"/>
                  <a:gd name="connsiteY4" fmla="*/ 4689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5">
                    <a:moveTo>
                      <a:pt x="17158" y="4689"/>
                    </a:moveTo>
                    <a:cubicBezTo>
                      <a:pt x="19669" y="9115"/>
                      <a:pt x="18054" y="14736"/>
                      <a:pt x="13689" y="17248"/>
                    </a:cubicBezTo>
                    <a:cubicBezTo>
                      <a:pt x="9263" y="19760"/>
                      <a:pt x="3701" y="18146"/>
                      <a:pt x="1189" y="13720"/>
                    </a:cubicBezTo>
                    <a:cubicBezTo>
                      <a:pt x="-1323" y="9294"/>
                      <a:pt x="292" y="3672"/>
                      <a:pt x="4658" y="1160"/>
                    </a:cubicBezTo>
                    <a:cubicBezTo>
                      <a:pt x="9083" y="-1292"/>
                      <a:pt x="14705" y="263"/>
                      <a:pt x="17158" y="4689"/>
                    </a:cubicBezTo>
                    <a:close/>
                  </a:path>
                </a:pathLst>
              </a:custGeom>
              <a:grpFill/>
              <a:ln w="5978" cap="flat">
                <a:noFill/>
                <a:prstDash val="solid"/>
                <a:miter/>
              </a:ln>
            </p:spPr>
            <p:txBody>
              <a:bodyPr rtlCol="0" anchor="ctr"/>
              <a:lstStyle/>
              <a:p>
                <a:endParaRPr lang="en-GB"/>
              </a:p>
            </p:txBody>
          </p:sp>
          <p:sp>
            <p:nvSpPr>
              <p:cNvPr id="3110" name="Vrije vorm: vorm 3109">
                <a:extLst>
                  <a:ext uri="{FF2B5EF4-FFF2-40B4-BE49-F238E27FC236}">
                    <a16:creationId xmlns:a16="http://schemas.microsoft.com/office/drawing/2014/main" id="{C9AA6AFE-5F4B-40A8-978D-CAAE22415B8D}"/>
                  </a:ext>
                </a:extLst>
              </p:cNvPr>
              <p:cNvSpPr/>
              <p:nvPr/>
            </p:nvSpPr>
            <p:spPr>
              <a:xfrm>
                <a:off x="5021368" y="1577046"/>
                <a:ext cx="18358" cy="18461"/>
              </a:xfrm>
              <a:custGeom>
                <a:avLst/>
                <a:gdLst>
                  <a:gd name="connsiteX0" fmla="*/ 17170 w 18358"/>
                  <a:gd name="connsiteY0" fmla="*/ 4715 h 18461"/>
                  <a:gd name="connsiteX1" fmla="*/ 4670 w 18358"/>
                  <a:gd name="connsiteY1" fmla="*/ 1187 h 18461"/>
                  <a:gd name="connsiteX2" fmla="*/ 1202 w 18358"/>
                  <a:gd name="connsiteY2" fmla="*/ 13746 h 18461"/>
                  <a:gd name="connsiteX3" fmla="*/ 13701 w 18358"/>
                  <a:gd name="connsiteY3" fmla="*/ 17275 h 18461"/>
                  <a:gd name="connsiteX4" fmla="*/ 17170 w 18358"/>
                  <a:gd name="connsiteY4" fmla="*/ 4715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61">
                    <a:moveTo>
                      <a:pt x="17170" y="4715"/>
                    </a:moveTo>
                    <a:cubicBezTo>
                      <a:pt x="14658" y="290"/>
                      <a:pt x="9096" y="-1325"/>
                      <a:pt x="4670" y="1187"/>
                    </a:cubicBezTo>
                    <a:cubicBezTo>
                      <a:pt x="245" y="3639"/>
                      <a:pt x="-1311" y="9261"/>
                      <a:pt x="1202" y="13746"/>
                    </a:cubicBezTo>
                    <a:cubicBezTo>
                      <a:pt x="3713" y="18172"/>
                      <a:pt x="9275" y="19787"/>
                      <a:pt x="13701" y="17275"/>
                    </a:cubicBezTo>
                    <a:cubicBezTo>
                      <a:pt x="18067" y="14763"/>
                      <a:pt x="19682" y="9141"/>
                      <a:pt x="17170" y="4715"/>
                    </a:cubicBezTo>
                    <a:close/>
                  </a:path>
                </a:pathLst>
              </a:custGeom>
              <a:grpFill/>
              <a:ln w="5978" cap="flat">
                <a:noFill/>
                <a:prstDash val="solid"/>
                <a:miter/>
              </a:ln>
            </p:spPr>
            <p:txBody>
              <a:bodyPr rtlCol="0" anchor="ctr"/>
              <a:lstStyle/>
              <a:p>
                <a:endParaRPr lang="en-GB"/>
              </a:p>
            </p:txBody>
          </p:sp>
        </p:grpSp>
        <p:grpSp>
          <p:nvGrpSpPr>
            <p:cNvPr id="762" name="Graphic 3">
              <a:extLst>
                <a:ext uri="{FF2B5EF4-FFF2-40B4-BE49-F238E27FC236}">
                  <a16:creationId xmlns:a16="http://schemas.microsoft.com/office/drawing/2014/main" id="{1D461CA8-E7D6-442D-8303-2263AE18735B}"/>
                </a:ext>
              </a:extLst>
            </p:cNvPr>
            <p:cNvGrpSpPr/>
            <p:nvPr/>
          </p:nvGrpSpPr>
          <p:grpSpPr>
            <a:xfrm>
              <a:off x="6234679" y="5086699"/>
              <a:ext cx="34039" cy="158665"/>
              <a:chOff x="6234679" y="5086699"/>
              <a:chExt cx="34039" cy="158665"/>
            </a:xfrm>
            <a:grpFill/>
          </p:grpSpPr>
          <p:sp>
            <p:nvSpPr>
              <p:cNvPr id="3105" name="Vrije vorm: vorm 3104">
                <a:extLst>
                  <a:ext uri="{FF2B5EF4-FFF2-40B4-BE49-F238E27FC236}">
                    <a16:creationId xmlns:a16="http://schemas.microsoft.com/office/drawing/2014/main" id="{FF3BA3FF-A003-48DE-9929-42E859B1FC35}"/>
                  </a:ext>
                </a:extLst>
              </p:cNvPr>
              <p:cNvSpPr/>
              <p:nvPr/>
            </p:nvSpPr>
            <p:spPr>
              <a:xfrm>
                <a:off x="6242219" y="5095256"/>
                <a:ext cx="18898" cy="141504"/>
              </a:xfrm>
              <a:custGeom>
                <a:avLst/>
                <a:gdLst>
                  <a:gd name="connsiteX0" fmla="*/ 3050 w 18898"/>
                  <a:gd name="connsiteY0" fmla="*/ 0 h 141504"/>
                  <a:gd name="connsiteX1" fmla="*/ 18899 w 18898"/>
                  <a:gd name="connsiteY1" fmla="*/ 141145 h 141504"/>
                  <a:gd name="connsiteX2" fmla="*/ 15849 w 18898"/>
                  <a:gd name="connsiteY2" fmla="*/ 141504 h 141504"/>
                  <a:gd name="connsiteX3" fmla="*/ 0 w 18898"/>
                  <a:gd name="connsiteY3" fmla="*/ 359 h 141504"/>
                </a:gdLst>
                <a:ahLst/>
                <a:cxnLst>
                  <a:cxn ang="0">
                    <a:pos x="connsiteX0" y="connsiteY0"/>
                  </a:cxn>
                  <a:cxn ang="0">
                    <a:pos x="connsiteX1" y="connsiteY1"/>
                  </a:cxn>
                  <a:cxn ang="0">
                    <a:pos x="connsiteX2" y="connsiteY2"/>
                  </a:cxn>
                  <a:cxn ang="0">
                    <a:pos x="connsiteX3" y="connsiteY3"/>
                  </a:cxn>
                </a:cxnLst>
                <a:rect l="l" t="t" r="r" b="b"/>
                <a:pathLst>
                  <a:path w="18898" h="141504">
                    <a:moveTo>
                      <a:pt x="3050" y="0"/>
                    </a:moveTo>
                    <a:lnTo>
                      <a:pt x="18899" y="141145"/>
                    </a:lnTo>
                    <a:lnTo>
                      <a:pt x="15849" y="141504"/>
                    </a:lnTo>
                    <a:lnTo>
                      <a:pt x="0" y="359"/>
                    </a:lnTo>
                    <a:close/>
                  </a:path>
                </a:pathLst>
              </a:custGeom>
              <a:grpFill/>
              <a:ln w="5978" cap="flat">
                <a:noFill/>
                <a:prstDash val="solid"/>
                <a:miter/>
              </a:ln>
            </p:spPr>
            <p:txBody>
              <a:bodyPr rtlCol="0" anchor="ctr"/>
              <a:lstStyle/>
              <a:p>
                <a:endParaRPr lang="en-GB"/>
              </a:p>
            </p:txBody>
          </p:sp>
          <p:sp>
            <p:nvSpPr>
              <p:cNvPr id="3106" name="Vrije vorm: vorm 3105">
                <a:extLst>
                  <a:ext uri="{FF2B5EF4-FFF2-40B4-BE49-F238E27FC236}">
                    <a16:creationId xmlns:a16="http://schemas.microsoft.com/office/drawing/2014/main" id="{DE8B7F7B-7A7A-4F83-9B93-E8C8C1345239}"/>
                  </a:ext>
                </a:extLst>
              </p:cNvPr>
              <p:cNvSpPr/>
              <p:nvPr/>
            </p:nvSpPr>
            <p:spPr>
              <a:xfrm>
                <a:off x="6250408" y="5226947"/>
                <a:ext cx="18309" cy="18417"/>
              </a:xfrm>
              <a:custGeom>
                <a:avLst/>
                <a:gdLst>
                  <a:gd name="connsiteX0" fmla="*/ 18246 w 18309"/>
                  <a:gd name="connsiteY0" fmla="*/ 8198 h 18417"/>
                  <a:gd name="connsiteX1" fmla="*/ 10172 w 18309"/>
                  <a:gd name="connsiteY1" fmla="*/ 18365 h 18417"/>
                  <a:gd name="connsiteX2" fmla="*/ 64 w 18309"/>
                  <a:gd name="connsiteY2" fmla="*/ 10232 h 18417"/>
                  <a:gd name="connsiteX3" fmla="*/ 8138 w 18309"/>
                  <a:gd name="connsiteY3" fmla="*/ 64 h 18417"/>
                  <a:gd name="connsiteX4" fmla="*/ 18246 w 18309"/>
                  <a:gd name="connsiteY4" fmla="*/ 8198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17">
                    <a:moveTo>
                      <a:pt x="18246" y="8198"/>
                    </a:moveTo>
                    <a:cubicBezTo>
                      <a:pt x="18843" y="13281"/>
                      <a:pt x="15195" y="17827"/>
                      <a:pt x="10172" y="18365"/>
                    </a:cubicBezTo>
                    <a:cubicBezTo>
                      <a:pt x="5148" y="18903"/>
                      <a:pt x="602" y="15255"/>
                      <a:pt x="64" y="10232"/>
                    </a:cubicBezTo>
                    <a:cubicBezTo>
                      <a:pt x="-534" y="5148"/>
                      <a:pt x="3114" y="602"/>
                      <a:pt x="8138" y="64"/>
                    </a:cubicBezTo>
                    <a:cubicBezTo>
                      <a:pt x="13162" y="-534"/>
                      <a:pt x="17707" y="3114"/>
                      <a:pt x="18246" y="8198"/>
                    </a:cubicBezTo>
                    <a:close/>
                  </a:path>
                </a:pathLst>
              </a:custGeom>
              <a:grpFill/>
              <a:ln w="5978" cap="flat">
                <a:noFill/>
                <a:prstDash val="solid"/>
                <a:miter/>
              </a:ln>
            </p:spPr>
            <p:txBody>
              <a:bodyPr rtlCol="0" anchor="ctr"/>
              <a:lstStyle/>
              <a:p>
                <a:endParaRPr lang="en-GB"/>
              </a:p>
            </p:txBody>
          </p:sp>
          <p:sp>
            <p:nvSpPr>
              <p:cNvPr id="3107" name="Vrije vorm: vorm 3106">
                <a:extLst>
                  <a:ext uri="{FF2B5EF4-FFF2-40B4-BE49-F238E27FC236}">
                    <a16:creationId xmlns:a16="http://schemas.microsoft.com/office/drawing/2014/main" id="{F2F30DF2-59AB-4B8F-AF3D-F412732D30A0}"/>
                  </a:ext>
                </a:extLst>
              </p:cNvPr>
              <p:cNvSpPr/>
              <p:nvPr/>
            </p:nvSpPr>
            <p:spPr>
              <a:xfrm>
                <a:off x="6234679" y="5086699"/>
                <a:ext cx="18298" cy="18429"/>
              </a:xfrm>
              <a:custGeom>
                <a:avLst/>
                <a:gdLst>
                  <a:gd name="connsiteX0" fmla="*/ 18246 w 18298"/>
                  <a:gd name="connsiteY0" fmla="*/ 8198 h 18429"/>
                  <a:gd name="connsiteX1" fmla="*/ 8138 w 18298"/>
                  <a:gd name="connsiteY1" fmla="*/ 64 h 18429"/>
                  <a:gd name="connsiteX2" fmla="*/ 64 w 18298"/>
                  <a:gd name="connsiteY2" fmla="*/ 10231 h 18429"/>
                  <a:gd name="connsiteX3" fmla="*/ 10172 w 18298"/>
                  <a:gd name="connsiteY3" fmla="*/ 18365 h 18429"/>
                  <a:gd name="connsiteX4" fmla="*/ 18246 w 18298"/>
                  <a:gd name="connsiteY4" fmla="*/ 819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9">
                    <a:moveTo>
                      <a:pt x="18246" y="8198"/>
                    </a:moveTo>
                    <a:cubicBezTo>
                      <a:pt x="17648" y="3114"/>
                      <a:pt x="13162" y="-534"/>
                      <a:pt x="8138" y="64"/>
                    </a:cubicBezTo>
                    <a:cubicBezTo>
                      <a:pt x="3114" y="602"/>
                      <a:pt x="-534" y="5148"/>
                      <a:pt x="64" y="10231"/>
                    </a:cubicBezTo>
                    <a:cubicBezTo>
                      <a:pt x="662" y="15315"/>
                      <a:pt x="5148" y="18963"/>
                      <a:pt x="10172" y="18365"/>
                    </a:cubicBezTo>
                    <a:cubicBezTo>
                      <a:pt x="15195" y="17827"/>
                      <a:pt x="18784" y="13282"/>
                      <a:pt x="18246" y="8198"/>
                    </a:cubicBezTo>
                    <a:close/>
                  </a:path>
                </a:pathLst>
              </a:custGeom>
              <a:grpFill/>
              <a:ln w="5978" cap="flat">
                <a:noFill/>
                <a:prstDash val="solid"/>
                <a:miter/>
              </a:ln>
            </p:spPr>
            <p:txBody>
              <a:bodyPr rtlCol="0" anchor="ctr"/>
              <a:lstStyle/>
              <a:p>
                <a:endParaRPr lang="en-GB"/>
              </a:p>
            </p:txBody>
          </p:sp>
        </p:grpSp>
        <p:grpSp>
          <p:nvGrpSpPr>
            <p:cNvPr id="763" name="Graphic 3">
              <a:extLst>
                <a:ext uri="{FF2B5EF4-FFF2-40B4-BE49-F238E27FC236}">
                  <a16:creationId xmlns:a16="http://schemas.microsoft.com/office/drawing/2014/main" id="{DA5F253B-0740-4190-95DD-85E7631096E9}"/>
                </a:ext>
              </a:extLst>
            </p:cNvPr>
            <p:cNvGrpSpPr/>
            <p:nvPr/>
          </p:nvGrpSpPr>
          <p:grpSpPr>
            <a:xfrm>
              <a:off x="5106938" y="1800592"/>
              <a:ext cx="26714" cy="32723"/>
              <a:chOff x="5106938" y="1800592"/>
              <a:chExt cx="26714" cy="32723"/>
            </a:xfrm>
            <a:grpFill/>
          </p:grpSpPr>
          <p:sp>
            <p:nvSpPr>
              <p:cNvPr id="3103" name="Vrije vorm: vorm 3102">
                <a:extLst>
                  <a:ext uri="{FF2B5EF4-FFF2-40B4-BE49-F238E27FC236}">
                    <a16:creationId xmlns:a16="http://schemas.microsoft.com/office/drawing/2014/main" id="{24B7E3D1-30A1-46C1-A343-88679DDBEE34}"/>
                  </a:ext>
                </a:extLst>
              </p:cNvPr>
              <p:cNvSpPr/>
              <p:nvPr/>
            </p:nvSpPr>
            <p:spPr>
              <a:xfrm>
                <a:off x="5106938" y="1800592"/>
                <a:ext cx="18341" cy="18429"/>
              </a:xfrm>
              <a:custGeom>
                <a:avLst/>
                <a:gdLst>
                  <a:gd name="connsiteX0" fmla="*/ 17065 w 18341"/>
                  <a:gd name="connsiteY0" fmla="*/ 4550 h 18429"/>
                  <a:gd name="connsiteX1" fmla="*/ 13836 w 18341"/>
                  <a:gd name="connsiteY1" fmla="*/ 17169 h 18429"/>
                  <a:gd name="connsiteX2" fmla="*/ 1276 w 18341"/>
                  <a:gd name="connsiteY2" fmla="*/ 13880 h 18429"/>
                  <a:gd name="connsiteX3" fmla="*/ 4506 w 18341"/>
                  <a:gd name="connsiteY3" fmla="*/ 1260 h 18429"/>
                  <a:gd name="connsiteX4" fmla="*/ 17065 w 18341"/>
                  <a:gd name="connsiteY4" fmla="*/ 455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7065" y="4550"/>
                    </a:moveTo>
                    <a:cubicBezTo>
                      <a:pt x="19637" y="8916"/>
                      <a:pt x="18201" y="14597"/>
                      <a:pt x="13836" y="17169"/>
                    </a:cubicBezTo>
                    <a:cubicBezTo>
                      <a:pt x="9470" y="19741"/>
                      <a:pt x="3848" y="18246"/>
                      <a:pt x="1276" y="13880"/>
                    </a:cubicBezTo>
                    <a:cubicBezTo>
                      <a:pt x="-1296" y="9514"/>
                      <a:pt x="140" y="3832"/>
                      <a:pt x="4506" y="1260"/>
                    </a:cubicBezTo>
                    <a:cubicBezTo>
                      <a:pt x="8872" y="-1311"/>
                      <a:pt x="14493" y="184"/>
                      <a:pt x="17065" y="4550"/>
                    </a:cubicBezTo>
                    <a:close/>
                  </a:path>
                </a:pathLst>
              </a:custGeom>
              <a:grpFill/>
              <a:ln w="5978" cap="flat">
                <a:noFill/>
                <a:prstDash val="solid"/>
                <a:miter/>
              </a:ln>
            </p:spPr>
            <p:txBody>
              <a:bodyPr rtlCol="0" anchor="ctr"/>
              <a:lstStyle/>
              <a:p>
                <a:endParaRPr lang="en-GB"/>
              </a:p>
            </p:txBody>
          </p:sp>
          <p:sp>
            <p:nvSpPr>
              <p:cNvPr id="3104" name="Vrije vorm: vorm 3103">
                <a:extLst>
                  <a:ext uri="{FF2B5EF4-FFF2-40B4-BE49-F238E27FC236}">
                    <a16:creationId xmlns:a16="http://schemas.microsoft.com/office/drawing/2014/main" id="{3E13BEEB-F7AC-4629-B9C8-D72EBD95346A}"/>
                  </a:ext>
                </a:extLst>
              </p:cNvPr>
              <p:cNvSpPr/>
              <p:nvPr/>
            </p:nvSpPr>
            <p:spPr>
              <a:xfrm>
                <a:off x="5115311" y="1814886"/>
                <a:ext cx="18341" cy="18429"/>
              </a:xfrm>
              <a:custGeom>
                <a:avLst/>
                <a:gdLst>
                  <a:gd name="connsiteX0" fmla="*/ 17065 w 18341"/>
                  <a:gd name="connsiteY0" fmla="*/ 4550 h 18429"/>
                  <a:gd name="connsiteX1" fmla="*/ 4505 w 18341"/>
                  <a:gd name="connsiteY1" fmla="*/ 1260 h 18429"/>
                  <a:gd name="connsiteX2" fmla="*/ 1276 w 18341"/>
                  <a:gd name="connsiteY2" fmla="*/ 13880 h 18429"/>
                  <a:gd name="connsiteX3" fmla="*/ 13835 w 18341"/>
                  <a:gd name="connsiteY3" fmla="*/ 17169 h 18429"/>
                  <a:gd name="connsiteX4" fmla="*/ 17065 w 18341"/>
                  <a:gd name="connsiteY4" fmla="*/ 455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7065" y="4550"/>
                    </a:moveTo>
                    <a:cubicBezTo>
                      <a:pt x="14493" y="184"/>
                      <a:pt x="8872" y="-1311"/>
                      <a:pt x="4505" y="1260"/>
                    </a:cubicBezTo>
                    <a:cubicBezTo>
                      <a:pt x="140" y="3832"/>
                      <a:pt x="-1296" y="9454"/>
                      <a:pt x="1276" y="13880"/>
                    </a:cubicBezTo>
                    <a:cubicBezTo>
                      <a:pt x="3848" y="18246"/>
                      <a:pt x="9470" y="19741"/>
                      <a:pt x="13835" y="17169"/>
                    </a:cubicBezTo>
                    <a:cubicBezTo>
                      <a:pt x="18202" y="14538"/>
                      <a:pt x="19637" y="8916"/>
                      <a:pt x="17065" y="4550"/>
                    </a:cubicBezTo>
                    <a:close/>
                  </a:path>
                </a:pathLst>
              </a:custGeom>
              <a:grpFill/>
              <a:ln w="5978" cap="flat">
                <a:noFill/>
                <a:prstDash val="solid"/>
                <a:miter/>
              </a:ln>
            </p:spPr>
            <p:txBody>
              <a:bodyPr rtlCol="0" anchor="ctr"/>
              <a:lstStyle/>
              <a:p>
                <a:endParaRPr lang="en-GB"/>
              </a:p>
            </p:txBody>
          </p:sp>
        </p:grpSp>
        <p:grpSp>
          <p:nvGrpSpPr>
            <p:cNvPr id="764" name="Graphic 3">
              <a:extLst>
                <a:ext uri="{FF2B5EF4-FFF2-40B4-BE49-F238E27FC236}">
                  <a16:creationId xmlns:a16="http://schemas.microsoft.com/office/drawing/2014/main" id="{FFFD4F4B-9868-4A37-A34B-D08B8EA3146C}"/>
                </a:ext>
              </a:extLst>
            </p:cNvPr>
            <p:cNvGrpSpPr/>
            <p:nvPr/>
          </p:nvGrpSpPr>
          <p:grpSpPr>
            <a:xfrm>
              <a:off x="6304279" y="5376810"/>
              <a:ext cx="20432" cy="34305"/>
              <a:chOff x="6304279" y="5376810"/>
              <a:chExt cx="20432" cy="34305"/>
            </a:xfrm>
            <a:grpFill/>
          </p:grpSpPr>
          <p:sp>
            <p:nvSpPr>
              <p:cNvPr id="3100" name="Vrije vorm: vorm 3099">
                <a:extLst>
                  <a:ext uri="{FF2B5EF4-FFF2-40B4-BE49-F238E27FC236}">
                    <a16:creationId xmlns:a16="http://schemas.microsoft.com/office/drawing/2014/main" id="{18AACF78-7FEB-475D-86E8-EC0CED278535}"/>
                  </a:ext>
                </a:extLst>
              </p:cNvPr>
              <p:cNvSpPr/>
              <p:nvPr/>
            </p:nvSpPr>
            <p:spPr>
              <a:xfrm>
                <a:off x="6311894" y="5385381"/>
                <a:ext cx="5203" cy="17164"/>
              </a:xfrm>
              <a:custGeom>
                <a:avLst/>
                <a:gdLst>
                  <a:gd name="connsiteX0" fmla="*/ 2990 w 5203"/>
                  <a:gd name="connsiteY0" fmla="*/ 0 h 17164"/>
                  <a:gd name="connsiteX1" fmla="*/ 5203 w 5203"/>
                  <a:gd name="connsiteY1" fmla="*/ 16806 h 17164"/>
                  <a:gd name="connsiteX2" fmla="*/ 2153 w 5203"/>
                  <a:gd name="connsiteY2" fmla="*/ 17165 h 17164"/>
                  <a:gd name="connsiteX3" fmla="*/ 0 w 5203"/>
                  <a:gd name="connsiteY3" fmla="*/ 359 h 17164"/>
                </a:gdLst>
                <a:ahLst/>
                <a:cxnLst>
                  <a:cxn ang="0">
                    <a:pos x="connsiteX0" y="connsiteY0"/>
                  </a:cxn>
                  <a:cxn ang="0">
                    <a:pos x="connsiteX1" y="connsiteY1"/>
                  </a:cxn>
                  <a:cxn ang="0">
                    <a:pos x="connsiteX2" y="connsiteY2"/>
                  </a:cxn>
                  <a:cxn ang="0">
                    <a:pos x="connsiteX3" y="connsiteY3"/>
                  </a:cxn>
                </a:cxnLst>
                <a:rect l="l" t="t" r="r" b="b"/>
                <a:pathLst>
                  <a:path w="5203" h="17164">
                    <a:moveTo>
                      <a:pt x="2990" y="0"/>
                    </a:moveTo>
                    <a:lnTo>
                      <a:pt x="5203" y="16806"/>
                    </a:lnTo>
                    <a:lnTo>
                      <a:pt x="2153" y="17165"/>
                    </a:lnTo>
                    <a:lnTo>
                      <a:pt x="0" y="359"/>
                    </a:lnTo>
                    <a:close/>
                  </a:path>
                </a:pathLst>
              </a:custGeom>
              <a:grpFill/>
              <a:ln w="5978" cap="flat">
                <a:noFill/>
                <a:prstDash val="solid"/>
                <a:miter/>
              </a:ln>
            </p:spPr>
            <p:txBody>
              <a:bodyPr rtlCol="0" anchor="ctr"/>
              <a:lstStyle/>
              <a:p>
                <a:endParaRPr lang="en-GB"/>
              </a:p>
            </p:txBody>
          </p:sp>
          <p:sp>
            <p:nvSpPr>
              <p:cNvPr id="3101" name="Vrije vorm: vorm 3100">
                <a:extLst>
                  <a:ext uri="{FF2B5EF4-FFF2-40B4-BE49-F238E27FC236}">
                    <a16:creationId xmlns:a16="http://schemas.microsoft.com/office/drawing/2014/main" id="{BB7CFABE-EE63-4CCE-801E-56B5E00FE316}"/>
                  </a:ext>
                </a:extLst>
              </p:cNvPr>
              <p:cNvSpPr/>
              <p:nvPr/>
            </p:nvSpPr>
            <p:spPr>
              <a:xfrm>
                <a:off x="6304279" y="5376810"/>
                <a:ext cx="18339" cy="18397"/>
              </a:xfrm>
              <a:custGeom>
                <a:avLst/>
                <a:gdLst>
                  <a:gd name="connsiteX0" fmla="*/ 79 w 18339"/>
                  <a:gd name="connsiteY0" fmla="*/ 10364 h 18397"/>
                  <a:gd name="connsiteX1" fmla="*/ 7973 w 18339"/>
                  <a:gd name="connsiteY1" fmla="*/ 78 h 18397"/>
                  <a:gd name="connsiteX2" fmla="*/ 18261 w 18339"/>
                  <a:gd name="connsiteY2" fmla="*/ 8032 h 18397"/>
                  <a:gd name="connsiteX3" fmla="*/ 10366 w 18339"/>
                  <a:gd name="connsiteY3" fmla="*/ 18319 h 18397"/>
                  <a:gd name="connsiteX4" fmla="*/ 79 w 18339"/>
                  <a:gd name="connsiteY4" fmla="*/ 10364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7">
                    <a:moveTo>
                      <a:pt x="79" y="10364"/>
                    </a:moveTo>
                    <a:cubicBezTo>
                      <a:pt x="-579" y="5341"/>
                      <a:pt x="2950" y="676"/>
                      <a:pt x="7973" y="78"/>
                    </a:cubicBezTo>
                    <a:cubicBezTo>
                      <a:pt x="12997" y="-580"/>
                      <a:pt x="17603" y="3008"/>
                      <a:pt x="18261" y="8032"/>
                    </a:cubicBezTo>
                    <a:cubicBezTo>
                      <a:pt x="18918" y="13056"/>
                      <a:pt x="15390" y="17721"/>
                      <a:pt x="10366" y="18319"/>
                    </a:cubicBezTo>
                    <a:cubicBezTo>
                      <a:pt x="5342" y="18977"/>
                      <a:pt x="737" y="15448"/>
                      <a:pt x="79" y="10364"/>
                    </a:cubicBezTo>
                    <a:close/>
                  </a:path>
                </a:pathLst>
              </a:custGeom>
              <a:grpFill/>
              <a:ln w="5978" cap="flat">
                <a:noFill/>
                <a:prstDash val="solid"/>
                <a:miter/>
              </a:ln>
            </p:spPr>
            <p:txBody>
              <a:bodyPr rtlCol="0" anchor="ctr"/>
              <a:lstStyle/>
              <a:p>
                <a:endParaRPr lang="en-GB"/>
              </a:p>
            </p:txBody>
          </p:sp>
          <p:sp>
            <p:nvSpPr>
              <p:cNvPr id="3102" name="Vrije vorm: vorm 3101">
                <a:extLst>
                  <a:ext uri="{FF2B5EF4-FFF2-40B4-BE49-F238E27FC236}">
                    <a16:creationId xmlns:a16="http://schemas.microsoft.com/office/drawing/2014/main" id="{06F5CBE9-5BDF-4E8A-8FE9-78C43E8EA6B5}"/>
                  </a:ext>
                </a:extLst>
              </p:cNvPr>
              <p:cNvSpPr/>
              <p:nvPr/>
            </p:nvSpPr>
            <p:spPr>
              <a:xfrm>
                <a:off x="6306373" y="5392719"/>
                <a:ext cx="18339" cy="18396"/>
              </a:xfrm>
              <a:custGeom>
                <a:avLst/>
                <a:gdLst>
                  <a:gd name="connsiteX0" fmla="*/ 79 w 18339"/>
                  <a:gd name="connsiteY0" fmla="*/ 10365 h 18396"/>
                  <a:gd name="connsiteX1" fmla="*/ 10366 w 18339"/>
                  <a:gd name="connsiteY1" fmla="*/ 18319 h 18396"/>
                  <a:gd name="connsiteX2" fmla="*/ 18260 w 18339"/>
                  <a:gd name="connsiteY2" fmla="*/ 8032 h 18396"/>
                  <a:gd name="connsiteX3" fmla="*/ 7973 w 18339"/>
                  <a:gd name="connsiteY3" fmla="*/ 78 h 18396"/>
                  <a:gd name="connsiteX4" fmla="*/ 79 w 18339"/>
                  <a:gd name="connsiteY4" fmla="*/ 10365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6">
                    <a:moveTo>
                      <a:pt x="79" y="10365"/>
                    </a:moveTo>
                    <a:cubicBezTo>
                      <a:pt x="737" y="15388"/>
                      <a:pt x="5342" y="18977"/>
                      <a:pt x="10366" y="18319"/>
                    </a:cubicBezTo>
                    <a:cubicBezTo>
                      <a:pt x="15390" y="17661"/>
                      <a:pt x="18918" y="13056"/>
                      <a:pt x="18260" y="8032"/>
                    </a:cubicBezTo>
                    <a:cubicBezTo>
                      <a:pt x="17602" y="3008"/>
                      <a:pt x="12997" y="-580"/>
                      <a:pt x="7973" y="78"/>
                    </a:cubicBezTo>
                    <a:cubicBezTo>
                      <a:pt x="2950" y="676"/>
                      <a:pt x="-579" y="5281"/>
                      <a:pt x="79" y="10365"/>
                    </a:cubicBezTo>
                    <a:close/>
                  </a:path>
                </a:pathLst>
              </a:custGeom>
              <a:grpFill/>
              <a:ln w="5978" cap="flat">
                <a:noFill/>
                <a:prstDash val="solid"/>
                <a:miter/>
              </a:ln>
            </p:spPr>
            <p:txBody>
              <a:bodyPr rtlCol="0" anchor="ctr"/>
              <a:lstStyle/>
              <a:p>
                <a:endParaRPr lang="en-GB"/>
              </a:p>
            </p:txBody>
          </p:sp>
        </p:grpSp>
        <p:grpSp>
          <p:nvGrpSpPr>
            <p:cNvPr id="765" name="Graphic 3">
              <a:extLst>
                <a:ext uri="{FF2B5EF4-FFF2-40B4-BE49-F238E27FC236}">
                  <a16:creationId xmlns:a16="http://schemas.microsoft.com/office/drawing/2014/main" id="{1994EEAD-4410-40CC-83DB-BAC4A1A05733}"/>
                </a:ext>
              </a:extLst>
            </p:cNvPr>
            <p:cNvGrpSpPr/>
            <p:nvPr/>
          </p:nvGrpSpPr>
          <p:grpSpPr>
            <a:xfrm>
              <a:off x="5127195" y="1900097"/>
              <a:ext cx="44837" cy="61938"/>
              <a:chOff x="5127195" y="1900097"/>
              <a:chExt cx="44837" cy="61938"/>
            </a:xfrm>
            <a:grpFill/>
          </p:grpSpPr>
          <p:sp>
            <p:nvSpPr>
              <p:cNvPr id="3097" name="Vrije vorm: vorm 3096">
                <a:extLst>
                  <a:ext uri="{FF2B5EF4-FFF2-40B4-BE49-F238E27FC236}">
                    <a16:creationId xmlns:a16="http://schemas.microsoft.com/office/drawing/2014/main" id="{06B5E72D-6B4D-40C1-9422-6A6E4CF64648}"/>
                  </a:ext>
                </a:extLst>
              </p:cNvPr>
              <p:cNvSpPr/>
              <p:nvPr/>
            </p:nvSpPr>
            <p:spPr>
              <a:xfrm>
                <a:off x="5134828" y="1908129"/>
                <a:ext cx="29544" cy="45812"/>
              </a:xfrm>
              <a:custGeom>
                <a:avLst/>
                <a:gdLst>
                  <a:gd name="connsiteX0" fmla="*/ 29545 w 29544"/>
                  <a:gd name="connsiteY0" fmla="*/ 44257 h 45812"/>
                  <a:gd name="connsiteX1" fmla="*/ 26973 w 29544"/>
                  <a:gd name="connsiteY1" fmla="*/ 45812 h 45812"/>
                  <a:gd name="connsiteX2" fmla="*/ 0 w 29544"/>
                  <a:gd name="connsiteY2" fmla="*/ 1615 h 45812"/>
                  <a:gd name="connsiteX3" fmla="*/ 2632 w 29544"/>
                  <a:gd name="connsiteY3" fmla="*/ 0 h 45812"/>
                </a:gdLst>
                <a:ahLst/>
                <a:cxnLst>
                  <a:cxn ang="0">
                    <a:pos x="connsiteX0" y="connsiteY0"/>
                  </a:cxn>
                  <a:cxn ang="0">
                    <a:pos x="connsiteX1" y="connsiteY1"/>
                  </a:cxn>
                  <a:cxn ang="0">
                    <a:pos x="connsiteX2" y="connsiteY2"/>
                  </a:cxn>
                  <a:cxn ang="0">
                    <a:pos x="connsiteX3" y="connsiteY3"/>
                  </a:cxn>
                </a:cxnLst>
                <a:rect l="l" t="t" r="r" b="b"/>
                <a:pathLst>
                  <a:path w="29544" h="45812">
                    <a:moveTo>
                      <a:pt x="29545" y="44257"/>
                    </a:moveTo>
                    <a:lnTo>
                      <a:pt x="26973" y="45812"/>
                    </a:lnTo>
                    <a:lnTo>
                      <a:pt x="0" y="1615"/>
                    </a:lnTo>
                    <a:lnTo>
                      <a:pt x="2632" y="0"/>
                    </a:lnTo>
                    <a:close/>
                  </a:path>
                </a:pathLst>
              </a:custGeom>
              <a:grpFill/>
              <a:ln w="5978" cap="flat">
                <a:noFill/>
                <a:prstDash val="solid"/>
                <a:miter/>
              </a:ln>
            </p:spPr>
            <p:txBody>
              <a:bodyPr rtlCol="0" anchor="ctr"/>
              <a:lstStyle/>
              <a:p>
                <a:endParaRPr lang="en-GB"/>
              </a:p>
            </p:txBody>
          </p:sp>
          <p:sp>
            <p:nvSpPr>
              <p:cNvPr id="3098" name="Vrije vorm: vorm 3097">
                <a:extLst>
                  <a:ext uri="{FF2B5EF4-FFF2-40B4-BE49-F238E27FC236}">
                    <a16:creationId xmlns:a16="http://schemas.microsoft.com/office/drawing/2014/main" id="{FC630B3C-0E6A-410C-ABFE-F424477868E5}"/>
                  </a:ext>
                </a:extLst>
              </p:cNvPr>
              <p:cNvSpPr/>
              <p:nvPr/>
            </p:nvSpPr>
            <p:spPr>
              <a:xfrm>
                <a:off x="5127195" y="1900097"/>
                <a:ext cx="18316" cy="18458"/>
              </a:xfrm>
              <a:custGeom>
                <a:avLst/>
                <a:gdLst>
                  <a:gd name="connsiteX0" fmla="*/ 1354 w 18316"/>
                  <a:gd name="connsiteY0" fmla="*/ 14014 h 18458"/>
                  <a:gd name="connsiteX1" fmla="*/ 4344 w 18316"/>
                  <a:gd name="connsiteY1" fmla="*/ 1335 h 18458"/>
                  <a:gd name="connsiteX2" fmla="*/ 16963 w 18316"/>
                  <a:gd name="connsiteY2" fmla="*/ 4445 h 18458"/>
                  <a:gd name="connsiteX3" fmla="*/ 13973 w 18316"/>
                  <a:gd name="connsiteY3" fmla="*/ 17124 h 18458"/>
                  <a:gd name="connsiteX4" fmla="*/ 1354 w 18316"/>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8">
                    <a:moveTo>
                      <a:pt x="1354" y="14014"/>
                    </a:moveTo>
                    <a:cubicBezTo>
                      <a:pt x="-1278" y="9648"/>
                      <a:pt x="38" y="4026"/>
                      <a:pt x="4344" y="1335"/>
                    </a:cubicBezTo>
                    <a:cubicBezTo>
                      <a:pt x="8650" y="-1297"/>
                      <a:pt x="14272" y="79"/>
                      <a:pt x="16963" y="4445"/>
                    </a:cubicBezTo>
                    <a:cubicBezTo>
                      <a:pt x="19595" y="8810"/>
                      <a:pt x="18279" y="14432"/>
                      <a:pt x="13973" y="17124"/>
                    </a:cubicBezTo>
                    <a:cubicBezTo>
                      <a:pt x="9667" y="19755"/>
                      <a:pt x="4045" y="18380"/>
                      <a:pt x="1354" y="14014"/>
                    </a:cubicBezTo>
                    <a:close/>
                  </a:path>
                </a:pathLst>
              </a:custGeom>
              <a:grpFill/>
              <a:ln w="5978" cap="flat">
                <a:noFill/>
                <a:prstDash val="solid"/>
                <a:miter/>
              </a:ln>
            </p:spPr>
            <p:txBody>
              <a:bodyPr rtlCol="0" anchor="ctr"/>
              <a:lstStyle/>
              <a:p>
                <a:endParaRPr lang="en-GB"/>
              </a:p>
            </p:txBody>
          </p:sp>
          <p:sp>
            <p:nvSpPr>
              <p:cNvPr id="3099" name="Vrije vorm: vorm 3098">
                <a:extLst>
                  <a:ext uri="{FF2B5EF4-FFF2-40B4-BE49-F238E27FC236}">
                    <a16:creationId xmlns:a16="http://schemas.microsoft.com/office/drawing/2014/main" id="{26463C17-275F-4A1F-90BF-29CAF87A7714}"/>
                  </a:ext>
                </a:extLst>
              </p:cNvPr>
              <p:cNvSpPr/>
              <p:nvPr/>
            </p:nvSpPr>
            <p:spPr>
              <a:xfrm>
                <a:off x="5153689" y="1943576"/>
                <a:ext cx="18343" cy="18458"/>
              </a:xfrm>
              <a:custGeom>
                <a:avLst/>
                <a:gdLst>
                  <a:gd name="connsiteX0" fmla="*/ 1354 w 18343"/>
                  <a:gd name="connsiteY0" fmla="*/ 14014 h 18458"/>
                  <a:gd name="connsiteX1" fmla="*/ 13973 w 18343"/>
                  <a:gd name="connsiteY1" fmla="*/ 17124 h 18458"/>
                  <a:gd name="connsiteX2" fmla="*/ 16963 w 18343"/>
                  <a:gd name="connsiteY2" fmla="*/ 4445 h 18458"/>
                  <a:gd name="connsiteX3" fmla="*/ 4344 w 18343"/>
                  <a:gd name="connsiteY3" fmla="*/ 1335 h 18458"/>
                  <a:gd name="connsiteX4" fmla="*/ 1354 w 18343"/>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354" y="14014"/>
                    </a:moveTo>
                    <a:cubicBezTo>
                      <a:pt x="3985" y="18380"/>
                      <a:pt x="9667" y="19755"/>
                      <a:pt x="13973" y="17124"/>
                    </a:cubicBezTo>
                    <a:cubicBezTo>
                      <a:pt x="18279" y="14492"/>
                      <a:pt x="19655" y="8810"/>
                      <a:pt x="16963" y="4445"/>
                    </a:cubicBezTo>
                    <a:cubicBezTo>
                      <a:pt x="14332" y="79"/>
                      <a:pt x="8650" y="-1297"/>
                      <a:pt x="4344" y="1335"/>
                    </a:cubicBezTo>
                    <a:cubicBezTo>
                      <a:pt x="38" y="3966"/>
                      <a:pt x="-1278" y="9648"/>
                      <a:pt x="1354" y="14014"/>
                    </a:cubicBezTo>
                    <a:close/>
                  </a:path>
                </a:pathLst>
              </a:custGeom>
              <a:grpFill/>
              <a:ln w="5978" cap="flat">
                <a:noFill/>
                <a:prstDash val="solid"/>
                <a:miter/>
              </a:ln>
            </p:spPr>
            <p:txBody>
              <a:bodyPr rtlCol="0" anchor="ctr"/>
              <a:lstStyle/>
              <a:p>
                <a:endParaRPr lang="en-GB"/>
              </a:p>
            </p:txBody>
          </p:sp>
        </p:grpSp>
        <p:grpSp>
          <p:nvGrpSpPr>
            <p:cNvPr id="766" name="Graphic 3">
              <a:extLst>
                <a:ext uri="{FF2B5EF4-FFF2-40B4-BE49-F238E27FC236}">
                  <a16:creationId xmlns:a16="http://schemas.microsoft.com/office/drawing/2014/main" id="{173A8BCD-6CAA-4F4A-A4B7-66E2D0F4F90C}"/>
                </a:ext>
              </a:extLst>
            </p:cNvPr>
            <p:cNvGrpSpPr/>
            <p:nvPr/>
          </p:nvGrpSpPr>
          <p:grpSpPr>
            <a:xfrm>
              <a:off x="6263743" y="5074198"/>
              <a:ext cx="35477" cy="436544"/>
              <a:chOff x="6263743" y="5074198"/>
              <a:chExt cx="35477" cy="436544"/>
            </a:xfrm>
            <a:grpFill/>
          </p:grpSpPr>
          <p:sp>
            <p:nvSpPr>
              <p:cNvPr id="3094" name="Vrije vorm: vorm 3093">
                <a:extLst>
                  <a:ext uri="{FF2B5EF4-FFF2-40B4-BE49-F238E27FC236}">
                    <a16:creationId xmlns:a16="http://schemas.microsoft.com/office/drawing/2014/main" id="{9166FA2A-53B4-4D14-B006-0965B03B2676}"/>
                  </a:ext>
                </a:extLst>
              </p:cNvPr>
              <p:cNvSpPr/>
              <p:nvPr/>
            </p:nvSpPr>
            <p:spPr>
              <a:xfrm>
                <a:off x="6271345" y="5082935"/>
                <a:ext cx="20214" cy="419129"/>
              </a:xfrm>
              <a:custGeom>
                <a:avLst/>
                <a:gdLst>
                  <a:gd name="connsiteX0" fmla="*/ 3050 w 20214"/>
                  <a:gd name="connsiteY0" fmla="*/ 0 h 419129"/>
                  <a:gd name="connsiteX1" fmla="*/ 20215 w 20214"/>
                  <a:gd name="connsiteY1" fmla="*/ 419009 h 419129"/>
                  <a:gd name="connsiteX2" fmla="*/ 17225 w 20214"/>
                  <a:gd name="connsiteY2" fmla="*/ 419129 h 419129"/>
                  <a:gd name="connsiteX3" fmla="*/ 0 w 20214"/>
                  <a:gd name="connsiteY3" fmla="*/ 120 h 419129"/>
                </a:gdLst>
                <a:ahLst/>
                <a:cxnLst>
                  <a:cxn ang="0">
                    <a:pos x="connsiteX0" y="connsiteY0"/>
                  </a:cxn>
                  <a:cxn ang="0">
                    <a:pos x="connsiteX1" y="connsiteY1"/>
                  </a:cxn>
                  <a:cxn ang="0">
                    <a:pos x="connsiteX2" y="connsiteY2"/>
                  </a:cxn>
                  <a:cxn ang="0">
                    <a:pos x="connsiteX3" y="connsiteY3"/>
                  </a:cxn>
                </a:cxnLst>
                <a:rect l="l" t="t" r="r" b="b"/>
                <a:pathLst>
                  <a:path w="20214" h="419129">
                    <a:moveTo>
                      <a:pt x="3050" y="0"/>
                    </a:moveTo>
                    <a:lnTo>
                      <a:pt x="20215" y="419009"/>
                    </a:lnTo>
                    <a:lnTo>
                      <a:pt x="17225" y="419129"/>
                    </a:lnTo>
                    <a:lnTo>
                      <a:pt x="0" y="120"/>
                    </a:lnTo>
                    <a:close/>
                  </a:path>
                </a:pathLst>
              </a:custGeom>
              <a:grpFill/>
              <a:ln w="5978" cap="flat">
                <a:noFill/>
                <a:prstDash val="solid"/>
                <a:miter/>
              </a:ln>
            </p:spPr>
            <p:txBody>
              <a:bodyPr rtlCol="0" anchor="ctr"/>
              <a:lstStyle/>
              <a:p>
                <a:endParaRPr lang="en-GB"/>
              </a:p>
            </p:txBody>
          </p:sp>
          <p:sp>
            <p:nvSpPr>
              <p:cNvPr id="3095" name="Vrije vorm: vorm 3094">
                <a:extLst>
                  <a:ext uri="{FF2B5EF4-FFF2-40B4-BE49-F238E27FC236}">
                    <a16:creationId xmlns:a16="http://schemas.microsoft.com/office/drawing/2014/main" id="{75FECFA1-E806-4F50-855A-C2A1405878B4}"/>
                  </a:ext>
                </a:extLst>
              </p:cNvPr>
              <p:cNvSpPr/>
              <p:nvPr/>
            </p:nvSpPr>
            <p:spPr>
              <a:xfrm>
                <a:off x="6263743" y="5074198"/>
                <a:ext cx="18312" cy="18436"/>
              </a:xfrm>
              <a:custGeom>
                <a:avLst/>
                <a:gdLst>
                  <a:gd name="connsiteX0" fmla="*/ 6 w 18312"/>
                  <a:gd name="connsiteY0" fmla="*/ 9575 h 18436"/>
                  <a:gd name="connsiteX1" fmla="*/ 8798 w 18312"/>
                  <a:gd name="connsiteY1" fmla="*/ 6 h 18436"/>
                  <a:gd name="connsiteX2" fmla="*/ 18307 w 18312"/>
                  <a:gd name="connsiteY2" fmla="*/ 8857 h 18436"/>
                  <a:gd name="connsiteX3" fmla="*/ 9515 w 18312"/>
                  <a:gd name="connsiteY3" fmla="*/ 18426 h 18436"/>
                  <a:gd name="connsiteX4" fmla="*/ 6 w 18312"/>
                  <a:gd name="connsiteY4" fmla="*/ 9575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6">
                    <a:moveTo>
                      <a:pt x="6" y="9575"/>
                    </a:moveTo>
                    <a:cubicBezTo>
                      <a:pt x="-173" y="4491"/>
                      <a:pt x="3714" y="185"/>
                      <a:pt x="8798" y="6"/>
                    </a:cubicBezTo>
                    <a:cubicBezTo>
                      <a:pt x="13881" y="-174"/>
                      <a:pt x="18128" y="3773"/>
                      <a:pt x="18307" y="8857"/>
                    </a:cubicBezTo>
                    <a:cubicBezTo>
                      <a:pt x="18487" y="13941"/>
                      <a:pt x="14599" y="18187"/>
                      <a:pt x="9515" y="18426"/>
                    </a:cubicBezTo>
                    <a:cubicBezTo>
                      <a:pt x="4491" y="18666"/>
                      <a:pt x="245" y="14658"/>
                      <a:pt x="6" y="9575"/>
                    </a:cubicBezTo>
                    <a:close/>
                  </a:path>
                </a:pathLst>
              </a:custGeom>
              <a:grpFill/>
              <a:ln w="5978" cap="flat">
                <a:noFill/>
                <a:prstDash val="solid"/>
                <a:miter/>
              </a:ln>
            </p:spPr>
            <p:txBody>
              <a:bodyPr rtlCol="0" anchor="ctr"/>
              <a:lstStyle/>
              <a:p>
                <a:endParaRPr lang="en-GB"/>
              </a:p>
            </p:txBody>
          </p:sp>
          <p:sp>
            <p:nvSpPr>
              <p:cNvPr id="3096" name="Vrije vorm: vorm 3095">
                <a:extLst>
                  <a:ext uri="{FF2B5EF4-FFF2-40B4-BE49-F238E27FC236}">
                    <a16:creationId xmlns:a16="http://schemas.microsoft.com/office/drawing/2014/main" id="{D86B71B0-9507-477A-BB6F-EA43FE7D5D9B}"/>
                  </a:ext>
                </a:extLst>
              </p:cNvPr>
              <p:cNvSpPr/>
              <p:nvPr/>
            </p:nvSpPr>
            <p:spPr>
              <a:xfrm>
                <a:off x="6280904" y="5492310"/>
                <a:ext cx="18317" cy="18432"/>
              </a:xfrm>
              <a:custGeom>
                <a:avLst/>
                <a:gdLst>
                  <a:gd name="connsiteX0" fmla="*/ 10 w 18317"/>
                  <a:gd name="connsiteY0" fmla="*/ 9575 h 18432"/>
                  <a:gd name="connsiteX1" fmla="*/ 9520 w 18317"/>
                  <a:gd name="connsiteY1" fmla="*/ 18427 h 18432"/>
                  <a:gd name="connsiteX2" fmla="*/ 18311 w 18317"/>
                  <a:gd name="connsiteY2" fmla="*/ 8857 h 18432"/>
                  <a:gd name="connsiteX3" fmla="*/ 8802 w 18317"/>
                  <a:gd name="connsiteY3" fmla="*/ 6 h 18432"/>
                  <a:gd name="connsiteX4" fmla="*/ 10 w 18317"/>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32">
                    <a:moveTo>
                      <a:pt x="10" y="9575"/>
                    </a:moveTo>
                    <a:cubicBezTo>
                      <a:pt x="250" y="14659"/>
                      <a:pt x="4496" y="18606"/>
                      <a:pt x="9520" y="18427"/>
                    </a:cubicBezTo>
                    <a:cubicBezTo>
                      <a:pt x="14603" y="18247"/>
                      <a:pt x="18491" y="13941"/>
                      <a:pt x="18311" y="8857"/>
                    </a:cubicBezTo>
                    <a:cubicBezTo>
                      <a:pt x="18132" y="3774"/>
                      <a:pt x="13826" y="-174"/>
                      <a:pt x="8802" y="6"/>
                    </a:cubicBezTo>
                    <a:cubicBezTo>
                      <a:pt x="3718" y="245"/>
                      <a:pt x="-229" y="4491"/>
                      <a:pt x="10" y="9575"/>
                    </a:cubicBezTo>
                    <a:close/>
                  </a:path>
                </a:pathLst>
              </a:custGeom>
              <a:grpFill/>
              <a:ln w="5978" cap="flat">
                <a:noFill/>
                <a:prstDash val="solid"/>
                <a:miter/>
              </a:ln>
            </p:spPr>
            <p:txBody>
              <a:bodyPr rtlCol="0" anchor="ctr"/>
              <a:lstStyle/>
              <a:p>
                <a:endParaRPr lang="en-GB"/>
              </a:p>
            </p:txBody>
          </p:sp>
        </p:grpSp>
        <p:grpSp>
          <p:nvGrpSpPr>
            <p:cNvPr id="767" name="Graphic 3">
              <a:extLst>
                <a:ext uri="{FF2B5EF4-FFF2-40B4-BE49-F238E27FC236}">
                  <a16:creationId xmlns:a16="http://schemas.microsoft.com/office/drawing/2014/main" id="{8674F6C8-8BCC-41BE-A3F4-B7CF1502161A}"/>
                </a:ext>
              </a:extLst>
            </p:cNvPr>
            <p:cNvGrpSpPr/>
            <p:nvPr/>
          </p:nvGrpSpPr>
          <p:grpSpPr>
            <a:xfrm>
              <a:off x="6304279" y="5376810"/>
              <a:ext cx="38793" cy="174613"/>
              <a:chOff x="6304279" y="5376810"/>
              <a:chExt cx="38793" cy="174613"/>
            </a:xfrm>
            <a:grpFill/>
          </p:grpSpPr>
          <p:sp>
            <p:nvSpPr>
              <p:cNvPr id="3091" name="Vrije vorm: vorm 3090">
                <a:extLst>
                  <a:ext uri="{FF2B5EF4-FFF2-40B4-BE49-F238E27FC236}">
                    <a16:creationId xmlns:a16="http://schemas.microsoft.com/office/drawing/2014/main" id="{5679CDB2-5ABC-496E-A1CD-9C24246C4EBF}"/>
                  </a:ext>
                </a:extLst>
              </p:cNvPr>
              <p:cNvSpPr/>
              <p:nvPr/>
            </p:nvSpPr>
            <p:spPr>
              <a:xfrm>
                <a:off x="6311894" y="5385381"/>
                <a:ext cx="23623" cy="157532"/>
              </a:xfrm>
              <a:custGeom>
                <a:avLst/>
                <a:gdLst>
                  <a:gd name="connsiteX0" fmla="*/ 2990 w 23623"/>
                  <a:gd name="connsiteY0" fmla="*/ 0 h 157532"/>
                  <a:gd name="connsiteX1" fmla="*/ 23624 w 23623"/>
                  <a:gd name="connsiteY1" fmla="*/ 157114 h 157532"/>
                  <a:gd name="connsiteX2" fmla="*/ 20574 w 23623"/>
                  <a:gd name="connsiteY2" fmla="*/ 157532 h 157532"/>
                  <a:gd name="connsiteX3" fmla="*/ 0 w 23623"/>
                  <a:gd name="connsiteY3" fmla="*/ 359 h 157532"/>
                </a:gdLst>
                <a:ahLst/>
                <a:cxnLst>
                  <a:cxn ang="0">
                    <a:pos x="connsiteX0" y="connsiteY0"/>
                  </a:cxn>
                  <a:cxn ang="0">
                    <a:pos x="connsiteX1" y="connsiteY1"/>
                  </a:cxn>
                  <a:cxn ang="0">
                    <a:pos x="connsiteX2" y="connsiteY2"/>
                  </a:cxn>
                  <a:cxn ang="0">
                    <a:pos x="connsiteX3" y="connsiteY3"/>
                  </a:cxn>
                </a:cxnLst>
                <a:rect l="l" t="t" r="r" b="b"/>
                <a:pathLst>
                  <a:path w="23623" h="157532">
                    <a:moveTo>
                      <a:pt x="2990" y="0"/>
                    </a:moveTo>
                    <a:lnTo>
                      <a:pt x="23624" y="157114"/>
                    </a:lnTo>
                    <a:lnTo>
                      <a:pt x="20574" y="157532"/>
                    </a:lnTo>
                    <a:lnTo>
                      <a:pt x="0" y="359"/>
                    </a:lnTo>
                    <a:close/>
                  </a:path>
                </a:pathLst>
              </a:custGeom>
              <a:grpFill/>
              <a:ln w="5978" cap="flat">
                <a:noFill/>
                <a:prstDash val="solid"/>
                <a:miter/>
              </a:ln>
            </p:spPr>
            <p:txBody>
              <a:bodyPr rtlCol="0" anchor="ctr"/>
              <a:lstStyle/>
              <a:p>
                <a:endParaRPr lang="en-GB"/>
              </a:p>
            </p:txBody>
          </p:sp>
          <p:sp>
            <p:nvSpPr>
              <p:cNvPr id="3092" name="Vrije vorm: vorm 3091">
                <a:extLst>
                  <a:ext uri="{FF2B5EF4-FFF2-40B4-BE49-F238E27FC236}">
                    <a16:creationId xmlns:a16="http://schemas.microsoft.com/office/drawing/2014/main" id="{CE631851-DBDF-47B0-B70D-1EF509811406}"/>
                  </a:ext>
                </a:extLst>
              </p:cNvPr>
              <p:cNvSpPr/>
              <p:nvPr/>
            </p:nvSpPr>
            <p:spPr>
              <a:xfrm>
                <a:off x="6324734" y="5533027"/>
                <a:ext cx="18339" cy="18396"/>
              </a:xfrm>
              <a:custGeom>
                <a:avLst/>
                <a:gdLst>
                  <a:gd name="connsiteX0" fmla="*/ 18260 w 18339"/>
                  <a:gd name="connsiteY0" fmla="*/ 8032 h 18396"/>
                  <a:gd name="connsiteX1" fmla="*/ 10366 w 18339"/>
                  <a:gd name="connsiteY1" fmla="*/ 18319 h 18396"/>
                  <a:gd name="connsiteX2" fmla="*/ 79 w 18339"/>
                  <a:gd name="connsiteY2" fmla="*/ 10364 h 18396"/>
                  <a:gd name="connsiteX3" fmla="*/ 7974 w 18339"/>
                  <a:gd name="connsiteY3" fmla="*/ 78 h 18396"/>
                  <a:gd name="connsiteX4" fmla="*/ 18260 w 18339"/>
                  <a:gd name="connsiteY4" fmla="*/ 803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6">
                    <a:moveTo>
                      <a:pt x="18260" y="8032"/>
                    </a:moveTo>
                    <a:cubicBezTo>
                      <a:pt x="18918" y="13056"/>
                      <a:pt x="15390" y="17721"/>
                      <a:pt x="10366" y="18319"/>
                    </a:cubicBezTo>
                    <a:cubicBezTo>
                      <a:pt x="5342" y="18977"/>
                      <a:pt x="737" y="15388"/>
                      <a:pt x="79" y="10364"/>
                    </a:cubicBezTo>
                    <a:cubicBezTo>
                      <a:pt x="-579" y="5341"/>
                      <a:pt x="2950" y="676"/>
                      <a:pt x="7974" y="78"/>
                    </a:cubicBezTo>
                    <a:cubicBezTo>
                      <a:pt x="12997" y="-580"/>
                      <a:pt x="17602" y="3008"/>
                      <a:pt x="18260" y="8032"/>
                    </a:cubicBezTo>
                    <a:close/>
                  </a:path>
                </a:pathLst>
              </a:custGeom>
              <a:grpFill/>
              <a:ln w="5978" cap="flat">
                <a:noFill/>
                <a:prstDash val="solid"/>
                <a:miter/>
              </a:ln>
            </p:spPr>
            <p:txBody>
              <a:bodyPr rtlCol="0" anchor="ctr"/>
              <a:lstStyle/>
              <a:p>
                <a:endParaRPr lang="en-GB"/>
              </a:p>
            </p:txBody>
          </p:sp>
          <p:sp>
            <p:nvSpPr>
              <p:cNvPr id="3093" name="Vrije vorm: vorm 3092">
                <a:extLst>
                  <a:ext uri="{FF2B5EF4-FFF2-40B4-BE49-F238E27FC236}">
                    <a16:creationId xmlns:a16="http://schemas.microsoft.com/office/drawing/2014/main" id="{B2450D74-B8A4-4562-A1DE-1A8C3713D89A}"/>
                  </a:ext>
                </a:extLst>
              </p:cNvPr>
              <p:cNvSpPr/>
              <p:nvPr/>
            </p:nvSpPr>
            <p:spPr>
              <a:xfrm>
                <a:off x="6304279" y="5376810"/>
                <a:ext cx="18339" cy="18396"/>
              </a:xfrm>
              <a:custGeom>
                <a:avLst/>
                <a:gdLst>
                  <a:gd name="connsiteX0" fmla="*/ 18261 w 18339"/>
                  <a:gd name="connsiteY0" fmla="*/ 8032 h 18396"/>
                  <a:gd name="connsiteX1" fmla="*/ 7973 w 18339"/>
                  <a:gd name="connsiteY1" fmla="*/ 78 h 18396"/>
                  <a:gd name="connsiteX2" fmla="*/ 79 w 18339"/>
                  <a:gd name="connsiteY2" fmla="*/ 10364 h 18396"/>
                  <a:gd name="connsiteX3" fmla="*/ 10366 w 18339"/>
                  <a:gd name="connsiteY3" fmla="*/ 18319 h 18396"/>
                  <a:gd name="connsiteX4" fmla="*/ 18261 w 18339"/>
                  <a:gd name="connsiteY4" fmla="*/ 803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6">
                    <a:moveTo>
                      <a:pt x="18261" y="8032"/>
                    </a:moveTo>
                    <a:cubicBezTo>
                      <a:pt x="17603" y="3008"/>
                      <a:pt x="12997" y="-580"/>
                      <a:pt x="7973" y="78"/>
                    </a:cubicBezTo>
                    <a:cubicBezTo>
                      <a:pt x="2950" y="736"/>
                      <a:pt x="-579" y="5341"/>
                      <a:pt x="79" y="10364"/>
                    </a:cubicBezTo>
                    <a:cubicBezTo>
                      <a:pt x="737" y="15388"/>
                      <a:pt x="5342" y="18977"/>
                      <a:pt x="10366" y="18319"/>
                    </a:cubicBezTo>
                    <a:cubicBezTo>
                      <a:pt x="15390" y="17721"/>
                      <a:pt x="18918" y="13116"/>
                      <a:pt x="18261" y="8032"/>
                    </a:cubicBezTo>
                    <a:close/>
                  </a:path>
                </a:pathLst>
              </a:custGeom>
              <a:grpFill/>
              <a:ln w="5978" cap="flat">
                <a:noFill/>
                <a:prstDash val="solid"/>
                <a:miter/>
              </a:ln>
            </p:spPr>
            <p:txBody>
              <a:bodyPr rtlCol="0" anchor="ctr"/>
              <a:lstStyle/>
              <a:p>
                <a:endParaRPr lang="en-GB"/>
              </a:p>
            </p:txBody>
          </p:sp>
        </p:grpSp>
        <p:grpSp>
          <p:nvGrpSpPr>
            <p:cNvPr id="768" name="Graphic 3">
              <a:extLst>
                <a:ext uri="{FF2B5EF4-FFF2-40B4-BE49-F238E27FC236}">
                  <a16:creationId xmlns:a16="http://schemas.microsoft.com/office/drawing/2014/main" id="{B04223E6-1269-4DEA-8376-A9FB64631BF5}"/>
                </a:ext>
              </a:extLst>
            </p:cNvPr>
            <p:cNvGrpSpPr/>
            <p:nvPr/>
          </p:nvGrpSpPr>
          <p:grpSpPr>
            <a:xfrm>
              <a:off x="6203841" y="5093190"/>
              <a:ext cx="28192" cy="124232"/>
              <a:chOff x="6203841" y="5093190"/>
              <a:chExt cx="28192" cy="124232"/>
            </a:xfrm>
            <a:grpFill/>
          </p:grpSpPr>
          <p:sp>
            <p:nvSpPr>
              <p:cNvPr id="3088" name="Vrije vorm: vorm 3087">
                <a:extLst>
                  <a:ext uri="{FF2B5EF4-FFF2-40B4-BE49-F238E27FC236}">
                    <a16:creationId xmlns:a16="http://schemas.microsoft.com/office/drawing/2014/main" id="{7E2D5695-6E21-4AAC-9C88-3D396FF29657}"/>
                  </a:ext>
                </a:extLst>
              </p:cNvPr>
              <p:cNvSpPr/>
              <p:nvPr/>
            </p:nvSpPr>
            <p:spPr>
              <a:xfrm>
                <a:off x="6211418" y="5101835"/>
                <a:ext cx="13037" cy="106994"/>
              </a:xfrm>
              <a:custGeom>
                <a:avLst/>
                <a:gdLst>
                  <a:gd name="connsiteX0" fmla="*/ 3050 w 13037"/>
                  <a:gd name="connsiteY0" fmla="*/ 0 h 106994"/>
                  <a:gd name="connsiteX1" fmla="*/ 13038 w 13037"/>
                  <a:gd name="connsiteY1" fmla="*/ 106696 h 106994"/>
                  <a:gd name="connsiteX2" fmla="*/ 9988 w 13037"/>
                  <a:gd name="connsiteY2" fmla="*/ 106995 h 106994"/>
                  <a:gd name="connsiteX3" fmla="*/ 0 w 13037"/>
                  <a:gd name="connsiteY3" fmla="*/ 239 h 106994"/>
                </a:gdLst>
                <a:ahLst/>
                <a:cxnLst>
                  <a:cxn ang="0">
                    <a:pos x="connsiteX0" y="connsiteY0"/>
                  </a:cxn>
                  <a:cxn ang="0">
                    <a:pos x="connsiteX1" y="connsiteY1"/>
                  </a:cxn>
                  <a:cxn ang="0">
                    <a:pos x="connsiteX2" y="connsiteY2"/>
                  </a:cxn>
                  <a:cxn ang="0">
                    <a:pos x="connsiteX3" y="connsiteY3"/>
                  </a:cxn>
                </a:cxnLst>
                <a:rect l="l" t="t" r="r" b="b"/>
                <a:pathLst>
                  <a:path w="13037" h="106994">
                    <a:moveTo>
                      <a:pt x="3050" y="0"/>
                    </a:moveTo>
                    <a:lnTo>
                      <a:pt x="13038" y="106696"/>
                    </a:lnTo>
                    <a:lnTo>
                      <a:pt x="9988" y="106995"/>
                    </a:lnTo>
                    <a:lnTo>
                      <a:pt x="0" y="239"/>
                    </a:lnTo>
                    <a:close/>
                  </a:path>
                </a:pathLst>
              </a:custGeom>
              <a:grpFill/>
              <a:ln w="5978" cap="flat">
                <a:noFill/>
                <a:prstDash val="solid"/>
                <a:miter/>
              </a:ln>
            </p:spPr>
            <p:txBody>
              <a:bodyPr rtlCol="0" anchor="ctr"/>
              <a:lstStyle/>
              <a:p>
                <a:endParaRPr lang="en-GB"/>
              </a:p>
            </p:txBody>
          </p:sp>
          <p:sp>
            <p:nvSpPr>
              <p:cNvPr id="3089" name="Vrije vorm: vorm 3088">
                <a:extLst>
                  <a:ext uri="{FF2B5EF4-FFF2-40B4-BE49-F238E27FC236}">
                    <a16:creationId xmlns:a16="http://schemas.microsoft.com/office/drawing/2014/main" id="{A8C00A9F-1047-412F-A1E4-2F691B807AE2}"/>
                  </a:ext>
                </a:extLst>
              </p:cNvPr>
              <p:cNvSpPr/>
              <p:nvPr/>
            </p:nvSpPr>
            <p:spPr>
              <a:xfrm>
                <a:off x="6213709" y="5198989"/>
                <a:ext cx="18324" cy="18433"/>
              </a:xfrm>
              <a:custGeom>
                <a:avLst/>
                <a:gdLst>
                  <a:gd name="connsiteX0" fmla="*/ 18283 w 18324"/>
                  <a:gd name="connsiteY0" fmla="*/ 8405 h 18433"/>
                  <a:gd name="connsiteX1" fmla="*/ 10029 w 18324"/>
                  <a:gd name="connsiteY1" fmla="*/ 18393 h 18433"/>
                  <a:gd name="connsiteX2" fmla="*/ 42 w 18324"/>
                  <a:gd name="connsiteY2" fmla="*/ 10020 h 18433"/>
                  <a:gd name="connsiteX3" fmla="*/ 8295 w 18324"/>
                  <a:gd name="connsiteY3" fmla="*/ 32 h 18433"/>
                  <a:gd name="connsiteX4" fmla="*/ 18283 w 18324"/>
                  <a:gd name="connsiteY4" fmla="*/ 8405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3">
                    <a:moveTo>
                      <a:pt x="18283" y="8405"/>
                    </a:moveTo>
                    <a:cubicBezTo>
                      <a:pt x="18761" y="13489"/>
                      <a:pt x="15053" y="17974"/>
                      <a:pt x="10029" y="18393"/>
                    </a:cubicBezTo>
                    <a:cubicBezTo>
                      <a:pt x="5006" y="18871"/>
                      <a:pt x="520" y="15103"/>
                      <a:pt x="42" y="10020"/>
                    </a:cubicBezTo>
                    <a:cubicBezTo>
                      <a:pt x="-437" y="4936"/>
                      <a:pt x="3271" y="451"/>
                      <a:pt x="8295" y="32"/>
                    </a:cubicBezTo>
                    <a:cubicBezTo>
                      <a:pt x="13319" y="-386"/>
                      <a:pt x="17804" y="3322"/>
                      <a:pt x="18283" y="8405"/>
                    </a:cubicBezTo>
                    <a:close/>
                  </a:path>
                </a:pathLst>
              </a:custGeom>
              <a:grpFill/>
              <a:ln w="5978" cap="flat">
                <a:noFill/>
                <a:prstDash val="solid"/>
                <a:miter/>
              </a:ln>
            </p:spPr>
            <p:txBody>
              <a:bodyPr rtlCol="0" anchor="ctr"/>
              <a:lstStyle/>
              <a:p>
                <a:endParaRPr lang="en-GB"/>
              </a:p>
            </p:txBody>
          </p:sp>
          <p:sp>
            <p:nvSpPr>
              <p:cNvPr id="3090" name="Vrije vorm: vorm 3089">
                <a:extLst>
                  <a:ext uri="{FF2B5EF4-FFF2-40B4-BE49-F238E27FC236}">
                    <a16:creationId xmlns:a16="http://schemas.microsoft.com/office/drawing/2014/main" id="{7B993678-CAC5-4667-860F-CE5FA4564118}"/>
                  </a:ext>
                </a:extLst>
              </p:cNvPr>
              <p:cNvSpPr/>
              <p:nvPr/>
            </p:nvSpPr>
            <p:spPr>
              <a:xfrm>
                <a:off x="6203841" y="5093190"/>
                <a:ext cx="18315" cy="18425"/>
              </a:xfrm>
              <a:custGeom>
                <a:avLst/>
                <a:gdLst>
                  <a:gd name="connsiteX0" fmla="*/ 18283 w 18315"/>
                  <a:gd name="connsiteY0" fmla="*/ 8405 h 18425"/>
                  <a:gd name="connsiteX1" fmla="*/ 8295 w 18315"/>
                  <a:gd name="connsiteY1" fmla="*/ 32 h 18425"/>
                  <a:gd name="connsiteX2" fmla="*/ 42 w 18315"/>
                  <a:gd name="connsiteY2" fmla="*/ 10020 h 18425"/>
                  <a:gd name="connsiteX3" fmla="*/ 10030 w 18315"/>
                  <a:gd name="connsiteY3" fmla="*/ 18393 h 18425"/>
                  <a:gd name="connsiteX4" fmla="*/ 18283 w 18315"/>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5">
                    <a:moveTo>
                      <a:pt x="18283" y="8405"/>
                    </a:moveTo>
                    <a:cubicBezTo>
                      <a:pt x="17804" y="3322"/>
                      <a:pt x="13319" y="-386"/>
                      <a:pt x="8295" y="32"/>
                    </a:cubicBezTo>
                    <a:cubicBezTo>
                      <a:pt x="3271" y="510"/>
                      <a:pt x="-437" y="4996"/>
                      <a:pt x="42" y="10020"/>
                    </a:cubicBezTo>
                    <a:cubicBezTo>
                      <a:pt x="520" y="15103"/>
                      <a:pt x="5006" y="18811"/>
                      <a:pt x="10030" y="18393"/>
                    </a:cubicBezTo>
                    <a:cubicBezTo>
                      <a:pt x="15053" y="17915"/>
                      <a:pt x="18701" y="13429"/>
                      <a:pt x="18283" y="8405"/>
                    </a:cubicBezTo>
                    <a:close/>
                  </a:path>
                </a:pathLst>
              </a:custGeom>
              <a:grpFill/>
              <a:ln w="5978" cap="flat">
                <a:noFill/>
                <a:prstDash val="solid"/>
                <a:miter/>
              </a:ln>
            </p:spPr>
            <p:txBody>
              <a:bodyPr rtlCol="0" anchor="ctr"/>
              <a:lstStyle/>
              <a:p>
                <a:endParaRPr lang="en-GB"/>
              </a:p>
            </p:txBody>
          </p:sp>
        </p:grpSp>
        <p:grpSp>
          <p:nvGrpSpPr>
            <p:cNvPr id="769" name="Graphic 3">
              <a:extLst>
                <a:ext uri="{FF2B5EF4-FFF2-40B4-BE49-F238E27FC236}">
                  <a16:creationId xmlns:a16="http://schemas.microsoft.com/office/drawing/2014/main" id="{C5C79847-5B0C-4ADE-B679-02ED1ACE2808}"/>
                </a:ext>
              </a:extLst>
            </p:cNvPr>
            <p:cNvGrpSpPr/>
            <p:nvPr/>
          </p:nvGrpSpPr>
          <p:grpSpPr>
            <a:xfrm>
              <a:off x="5050701" y="1774561"/>
              <a:ext cx="85267" cy="128264"/>
              <a:chOff x="5050701" y="1774561"/>
              <a:chExt cx="85267" cy="128264"/>
            </a:xfrm>
            <a:grpFill/>
          </p:grpSpPr>
          <p:sp>
            <p:nvSpPr>
              <p:cNvPr id="3085" name="Vrije vorm: vorm 3084">
                <a:extLst>
                  <a:ext uri="{FF2B5EF4-FFF2-40B4-BE49-F238E27FC236}">
                    <a16:creationId xmlns:a16="http://schemas.microsoft.com/office/drawing/2014/main" id="{89F7A8D6-D2F7-49D1-BAF3-3AD100718A9E}"/>
                  </a:ext>
                </a:extLst>
              </p:cNvPr>
              <p:cNvSpPr/>
              <p:nvPr/>
            </p:nvSpPr>
            <p:spPr>
              <a:xfrm>
                <a:off x="5058335" y="1782594"/>
                <a:ext cx="69974" cy="112198"/>
              </a:xfrm>
              <a:custGeom>
                <a:avLst/>
                <a:gdLst>
                  <a:gd name="connsiteX0" fmla="*/ 69975 w 69974"/>
                  <a:gd name="connsiteY0" fmla="*/ 110583 h 112198"/>
                  <a:gd name="connsiteX1" fmla="*/ 67403 w 69974"/>
                  <a:gd name="connsiteY1" fmla="*/ 112198 h 112198"/>
                  <a:gd name="connsiteX2" fmla="*/ 0 w 69974"/>
                  <a:gd name="connsiteY2" fmla="*/ 1555 h 112198"/>
                  <a:gd name="connsiteX3" fmla="*/ 2572 w 69974"/>
                  <a:gd name="connsiteY3" fmla="*/ 0 h 112198"/>
                </a:gdLst>
                <a:ahLst/>
                <a:cxnLst>
                  <a:cxn ang="0">
                    <a:pos x="connsiteX0" y="connsiteY0"/>
                  </a:cxn>
                  <a:cxn ang="0">
                    <a:pos x="connsiteX1" y="connsiteY1"/>
                  </a:cxn>
                  <a:cxn ang="0">
                    <a:pos x="connsiteX2" y="connsiteY2"/>
                  </a:cxn>
                  <a:cxn ang="0">
                    <a:pos x="connsiteX3" y="connsiteY3"/>
                  </a:cxn>
                </a:cxnLst>
                <a:rect l="l" t="t" r="r" b="b"/>
                <a:pathLst>
                  <a:path w="69974" h="112198">
                    <a:moveTo>
                      <a:pt x="69975" y="110583"/>
                    </a:moveTo>
                    <a:lnTo>
                      <a:pt x="67403" y="112198"/>
                    </a:lnTo>
                    <a:lnTo>
                      <a:pt x="0" y="1555"/>
                    </a:lnTo>
                    <a:lnTo>
                      <a:pt x="2572" y="0"/>
                    </a:lnTo>
                    <a:close/>
                  </a:path>
                </a:pathLst>
              </a:custGeom>
              <a:grpFill/>
              <a:ln w="5978" cap="flat">
                <a:noFill/>
                <a:prstDash val="solid"/>
                <a:miter/>
              </a:ln>
            </p:spPr>
            <p:txBody>
              <a:bodyPr rtlCol="0" anchor="ctr"/>
              <a:lstStyle/>
              <a:p>
                <a:endParaRPr lang="en-GB"/>
              </a:p>
            </p:txBody>
          </p:sp>
          <p:sp>
            <p:nvSpPr>
              <p:cNvPr id="3086" name="Vrije vorm: vorm 3085">
                <a:extLst>
                  <a:ext uri="{FF2B5EF4-FFF2-40B4-BE49-F238E27FC236}">
                    <a16:creationId xmlns:a16="http://schemas.microsoft.com/office/drawing/2014/main" id="{5E2476A4-766C-46C7-BF71-2799E1C38B7F}"/>
                  </a:ext>
                </a:extLst>
              </p:cNvPr>
              <p:cNvSpPr/>
              <p:nvPr/>
            </p:nvSpPr>
            <p:spPr>
              <a:xfrm>
                <a:off x="5050701" y="1774561"/>
                <a:ext cx="18316" cy="18417"/>
              </a:xfrm>
              <a:custGeom>
                <a:avLst/>
                <a:gdLst>
                  <a:gd name="connsiteX0" fmla="*/ 1354 w 18316"/>
                  <a:gd name="connsiteY0" fmla="*/ 14014 h 18417"/>
                  <a:gd name="connsiteX1" fmla="*/ 4344 w 18316"/>
                  <a:gd name="connsiteY1" fmla="*/ 1335 h 18417"/>
                  <a:gd name="connsiteX2" fmla="*/ 16963 w 18316"/>
                  <a:gd name="connsiteY2" fmla="*/ 4445 h 18417"/>
                  <a:gd name="connsiteX3" fmla="*/ 13973 w 18316"/>
                  <a:gd name="connsiteY3" fmla="*/ 17124 h 18417"/>
                  <a:gd name="connsiteX4" fmla="*/ 1354 w 18316"/>
                  <a:gd name="connsiteY4" fmla="*/ 14014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17">
                    <a:moveTo>
                      <a:pt x="1354" y="14014"/>
                    </a:moveTo>
                    <a:cubicBezTo>
                      <a:pt x="-1278" y="9648"/>
                      <a:pt x="38" y="4026"/>
                      <a:pt x="4344" y="1335"/>
                    </a:cubicBezTo>
                    <a:cubicBezTo>
                      <a:pt x="8650" y="-1297"/>
                      <a:pt x="14272" y="79"/>
                      <a:pt x="16963" y="4445"/>
                    </a:cubicBezTo>
                    <a:cubicBezTo>
                      <a:pt x="19595" y="8810"/>
                      <a:pt x="18279" y="14432"/>
                      <a:pt x="13973" y="17124"/>
                    </a:cubicBezTo>
                    <a:cubicBezTo>
                      <a:pt x="9667" y="19695"/>
                      <a:pt x="3985" y="18320"/>
                      <a:pt x="1354" y="14014"/>
                    </a:cubicBezTo>
                    <a:close/>
                  </a:path>
                </a:pathLst>
              </a:custGeom>
              <a:grpFill/>
              <a:ln w="5978" cap="flat">
                <a:noFill/>
                <a:prstDash val="solid"/>
                <a:miter/>
              </a:ln>
            </p:spPr>
            <p:txBody>
              <a:bodyPr rtlCol="0" anchor="ctr"/>
              <a:lstStyle/>
              <a:p>
                <a:endParaRPr lang="en-GB"/>
              </a:p>
            </p:txBody>
          </p:sp>
          <p:sp>
            <p:nvSpPr>
              <p:cNvPr id="3087" name="Vrije vorm: vorm 3086">
                <a:extLst>
                  <a:ext uri="{FF2B5EF4-FFF2-40B4-BE49-F238E27FC236}">
                    <a16:creationId xmlns:a16="http://schemas.microsoft.com/office/drawing/2014/main" id="{107DBFE0-AA37-4055-AD91-77D6D71080E3}"/>
                  </a:ext>
                </a:extLst>
              </p:cNvPr>
              <p:cNvSpPr/>
              <p:nvPr/>
            </p:nvSpPr>
            <p:spPr>
              <a:xfrm>
                <a:off x="5117626" y="1884367"/>
                <a:ext cx="18343" cy="18458"/>
              </a:xfrm>
              <a:custGeom>
                <a:avLst/>
                <a:gdLst>
                  <a:gd name="connsiteX0" fmla="*/ 1354 w 18343"/>
                  <a:gd name="connsiteY0" fmla="*/ 14014 h 18458"/>
                  <a:gd name="connsiteX1" fmla="*/ 13973 w 18343"/>
                  <a:gd name="connsiteY1" fmla="*/ 17124 h 18458"/>
                  <a:gd name="connsiteX2" fmla="*/ 16963 w 18343"/>
                  <a:gd name="connsiteY2" fmla="*/ 4445 h 18458"/>
                  <a:gd name="connsiteX3" fmla="*/ 4344 w 18343"/>
                  <a:gd name="connsiteY3" fmla="*/ 1335 h 18458"/>
                  <a:gd name="connsiteX4" fmla="*/ 1354 w 18343"/>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354" y="14014"/>
                    </a:moveTo>
                    <a:cubicBezTo>
                      <a:pt x="3985" y="18380"/>
                      <a:pt x="9667" y="19755"/>
                      <a:pt x="13973" y="17124"/>
                    </a:cubicBezTo>
                    <a:cubicBezTo>
                      <a:pt x="18279" y="14492"/>
                      <a:pt x="19655" y="8810"/>
                      <a:pt x="16963" y="4445"/>
                    </a:cubicBezTo>
                    <a:cubicBezTo>
                      <a:pt x="14332" y="79"/>
                      <a:pt x="8650" y="-1297"/>
                      <a:pt x="4344" y="1335"/>
                    </a:cubicBezTo>
                    <a:cubicBezTo>
                      <a:pt x="38" y="4026"/>
                      <a:pt x="-1278" y="9648"/>
                      <a:pt x="1354" y="14014"/>
                    </a:cubicBezTo>
                    <a:close/>
                  </a:path>
                </a:pathLst>
              </a:custGeom>
              <a:grpFill/>
              <a:ln w="5978" cap="flat">
                <a:noFill/>
                <a:prstDash val="solid"/>
                <a:miter/>
              </a:ln>
            </p:spPr>
            <p:txBody>
              <a:bodyPr rtlCol="0" anchor="ctr"/>
              <a:lstStyle/>
              <a:p>
                <a:endParaRPr lang="en-GB"/>
              </a:p>
            </p:txBody>
          </p:sp>
        </p:grpSp>
        <p:grpSp>
          <p:nvGrpSpPr>
            <p:cNvPr id="770" name="Graphic 3">
              <a:extLst>
                <a:ext uri="{FF2B5EF4-FFF2-40B4-BE49-F238E27FC236}">
                  <a16:creationId xmlns:a16="http://schemas.microsoft.com/office/drawing/2014/main" id="{8BEBE874-771B-4B2D-B584-798E37FA4301}"/>
                </a:ext>
              </a:extLst>
            </p:cNvPr>
            <p:cNvGrpSpPr/>
            <p:nvPr/>
          </p:nvGrpSpPr>
          <p:grpSpPr>
            <a:xfrm>
              <a:off x="6252501" y="5245248"/>
              <a:ext cx="44385" cy="250529"/>
              <a:chOff x="6252501" y="5245248"/>
              <a:chExt cx="44385" cy="250529"/>
            </a:xfrm>
            <a:grpFill/>
          </p:grpSpPr>
          <p:sp>
            <p:nvSpPr>
              <p:cNvPr id="3082" name="Vrije vorm: vorm 3081">
                <a:extLst>
                  <a:ext uri="{FF2B5EF4-FFF2-40B4-BE49-F238E27FC236}">
                    <a16:creationId xmlns:a16="http://schemas.microsoft.com/office/drawing/2014/main" id="{31CA092C-34A4-488B-AEBD-51033F7D1C39}"/>
                  </a:ext>
                </a:extLst>
              </p:cNvPr>
              <p:cNvSpPr/>
              <p:nvPr/>
            </p:nvSpPr>
            <p:spPr>
              <a:xfrm>
                <a:off x="6260041" y="5253805"/>
                <a:ext cx="29245" cy="233367"/>
              </a:xfrm>
              <a:custGeom>
                <a:avLst/>
                <a:gdLst>
                  <a:gd name="connsiteX0" fmla="*/ 3050 w 29245"/>
                  <a:gd name="connsiteY0" fmla="*/ 0 h 233367"/>
                  <a:gd name="connsiteX1" fmla="*/ 29246 w 29245"/>
                  <a:gd name="connsiteY1" fmla="*/ 233009 h 233367"/>
                  <a:gd name="connsiteX2" fmla="*/ 26196 w 29245"/>
                  <a:gd name="connsiteY2" fmla="*/ 233368 h 233367"/>
                  <a:gd name="connsiteX3" fmla="*/ 0 w 29245"/>
                  <a:gd name="connsiteY3" fmla="*/ 359 h 233367"/>
                </a:gdLst>
                <a:ahLst/>
                <a:cxnLst>
                  <a:cxn ang="0">
                    <a:pos x="connsiteX0" y="connsiteY0"/>
                  </a:cxn>
                  <a:cxn ang="0">
                    <a:pos x="connsiteX1" y="connsiteY1"/>
                  </a:cxn>
                  <a:cxn ang="0">
                    <a:pos x="connsiteX2" y="connsiteY2"/>
                  </a:cxn>
                  <a:cxn ang="0">
                    <a:pos x="connsiteX3" y="connsiteY3"/>
                  </a:cxn>
                </a:cxnLst>
                <a:rect l="l" t="t" r="r" b="b"/>
                <a:pathLst>
                  <a:path w="29245" h="233367">
                    <a:moveTo>
                      <a:pt x="3050" y="0"/>
                    </a:moveTo>
                    <a:lnTo>
                      <a:pt x="29246" y="233009"/>
                    </a:lnTo>
                    <a:lnTo>
                      <a:pt x="26196" y="233368"/>
                    </a:lnTo>
                    <a:lnTo>
                      <a:pt x="0" y="359"/>
                    </a:lnTo>
                    <a:close/>
                  </a:path>
                </a:pathLst>
              </a:custGeom>
              <a:grpFill/>
              <a:ln w="5978" cap="flat">
                <a:noFill/>
                <a:prstDash val="solid"/>
                <a:miter/>
              </a:ln>
            </p:spPr>
            <p:txBody>
              <a:bodyPr rtlCol="0" anchor="ctr"/>
              <a:lstStyle/>
              <a:p>
                <a:endParaRPr lang="en-GB"/>
              </a:p>
            </p:txBody>
          </p:sp>
          <p:sp>
            <p:nvSpPr>
              <p:cNvPr id="3083" name="Vrije vorm: vorm 3082">
                <a:extLst>
                  <a:ext uri="{FF2B5EF4-FFF2-40B4-BE49-F238E27FC236}">
                    <a16:creationId xmlns:a16="http://schemas.microsoft.com/office/drawing/2014/main" id="{E77F957F-BD5F-4EA9-A751-45F554738FEB}"/>
                  </a:ext>
                </a:extLst>
              </p:cNvPr>
              <p:cNvSpPr/>
              <p:nvPr/>
            </p:nvSpPr>
            <p:spPr>
              <a:xfrm>
                <a:off x="6278577" y="5477360"/>
                <a:ext cx="18310" cy="18417"/>
              </a:xfrm>
              <a:custGeom>
                <a:avLst/>
                <a:gdLst>
                  <a:gd name="connsiteX0" fmla="*/ 18246 w 18310"/>
                  <a:gd name="connsiteY0" fmla="*/ 8198 h 18417"/>
                  <a:gd name="connsiteX1" fmla="*/ 10172 w 18310"/>
                  <a:gd name="connsiteY1" fmla="*/ 18365 h 18417"/>
                  <a:gd name="connsiteX2" fmla="*/ 64 w 18310"/>
                  <a:gd name="connsiteY2" fmla="*/ 10232 h 18417"/>
                  <a:gd name="connsiteX3" fmla="*/ 8138 w 18310"/>
                  <a:gd name="connsiteY3" fmla="*/ 64 h 18417"/>
                  <a:gd name="connsiteX4" fmla="*/ 18246 w 18310"/>
                  <a:gd name="connsiteY4" fmla="*/ 8198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7">
                    <a:moveTo>
                      <a:pt x="18246" y="8198"/>
                    </a:moveTo>
                    <a:cubicBezTo>
                      <a:pt x="18844" y="13281"/>
                      <a:pt x="15196" y="17827"/>
                      <a:pt x="10172" y="18365"/>
                    </a:cubicBezTo>
                    <a:cubicBezTo>
                      <a:pt x="5148" y="18903"/>
                      <a:pt x="603" y="15255"/>
                      <a:pt x="64" y="10232"/>
                    </a:cubicBezTo>
                    <a:cubicBezTo>
                      <a:pt x="-534" y="5148"/>
                      <a:pt x="3114" y="602"/>
                      <a:pt x="8138" y="64"/>
                    </a:cubicBezTo>
                    <a:cubicBezTo>
                      <a:pt x="13102" y="-534"/>
                      <a:pt x="17648" y="3114"/>
                      <a:pt x="18246" y="8198"/>
                    </a:cubicBezTo>
                    <a:close/>
                  </a:path>
                </a:pathLst>
              </a:custGeom>
              <a:grpFill/>
              <a:ln w="5978" cap="flat">
                <a:noFill/>
                <a:prstDash val="solid"/>
                <a:miter/>
              </a:ln>
            </p:spPr>
            <p:txBody>
              <a:bodyPr rtlCol="0" anchor="ctr"/>
              <a:lstStyle/>
              <a:p>
                <a:endParaRPr lang="en-GB"/>
              </a:p>
            </p:txBody>
          </p:sp>
          <p:sp>
            <p:nvSpPr>
              <p:cNvPr id="3084" name="Vrije vorm: vorm 3083">
                <a:extLst>
                  <a:ext uri="{FF2B5EF4-FFF2-40B4-BE49-F238E27FC236}">
                    <a16:creationId xmlns:a16="http://schemas.microsoft.com/office/drawing/2014/main" id="{48BAA321-A027-454B-8526-5C8D6E29639F}"/>
                  </a:ext>
                </a:extLst>
              </p:cNvPr>
              <p:cNvSpPr/>
              <p:nvPr/>
            </p:nvSpPr>
            <p:spPr>
              <a:xfrm>
                <a:off x="6252501" y="5245248"/>
                <a:ext cx="18298" cy="18429"/>
              </a:xfrm>
              <a:custGeom>
                <a:avLst/>
                <a:gdLst>
                  <a:gd name="connsiteX0" fmla="*/ 18245 w 18298"/>
                  <a:gd name="connsiteY0" fmla="*/ 8198 h 18429"/>
                  <a:gd name="connsiteX1" fmla="*/ 8138 w 18298"/>
                  <a:gd name="connsiteY1" fmla="*/ 64 h 18429"/>
                  <a:gd name="connsiteX2" fmla="*/ 64 w 18298"/>
                  <a:gd name="connsiteY2" fmla="*/ 10232 h 18429"/>
                  <a:gd name="connsiteX3" fmla="*/ 10172 w 18298"/>
                  <a:gd name="connsiteY3" fmla="*/ 18365 h 18429"/>
                  <a:gd name="connsiteX4" fmla="*/ 18245 w 18298"/>
                  <a:gd name="connsiteY4" fmla="*/ 819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9">
                    <a:moveTo>
                      <a:pt x="18245" y="8198"/>
                    </a:moveTo>
                    <a:cubicBezTo>
                      <a:pt x="17648" y="3114"/>
                      <a:pt x="13162" y="-534"/>
                      <a:pt x="8138" y="64"/>
                    </a:cubicBezTo>
                    <a:cubicBezTo>
                      <a:pt x="3114" y="602"/>
                      <a:pt x="-534" y="5148"/>
                      <a:pt x="64" y="10232"/>
                    </a:cubicBezTo>
                    <a:cubicBezTo>
                      <a:pt x="662" y="15315"/>
                      <a:pt x="5148" y="18963"/>
                      <a:pt x="10172" y="18365"/>
                    </a:cubicBezTo>
                    <a:cubicBezTo>
                      <a:pt x="15196" y="17767"/>
                      <a:pt x="18784" y="13222"/>
                      <a:pt x="18245" y="8198"/>
                    </a:cubicBezTo>
                    <a:close/>
                  </a:path>
                </a:pathLst>
              </a:custGeom>
              <a:grpFill/>
              <a:ln w="5978" cap="flat">
                <a:noFill/>
                <a:prstDash val="solid"/>
                <a:miter/>
              </a:ln>
            </p:spPr>
            <p:txBody>
              <a:bodyPr rtlCol="0" anchor="ctr"/>
              <a:lstStyle/>
              <a:p>
                <a:endParaRPr lang="en-GB"/>
              </a:p>
            </p:txBody>
          </p:sp>
        </p:grpSp>
        <p:grpSp>
          <p:nvGrpSpPr>
            <p:cNvPr id="771" name="Graphic 3">
              <a:extLst>
                <a:ext uri="{FF2B5EF4-FFF2-40B4-BE49-F238E27FC236}">
                  <a16:creationId xmlns:a16="http://schemas.microsoft.com/office/drawing/2014/main" id="{426FBAF9-0826-43BF-8D25-1C71D51D3DC0}"/>
                </a:ext>
              </a:extLst>
            </p:cNvPr>
            <p:cNvGrpSpPr/>
            <p:nvPr/>
          </p:nvGrpSpPr>
          <p:grpSpPr>
            <a:xfrm>
              <a:off x="5003645" y="1766561"/>
              <a:ext cx="154114" cy="232215"/>
              <a:chOff x="5003645" y="1766561"/>
              <a:chExt cx="154114" cy="232215"/>
            </a:xfrm>
            <a:grpFill/>
          </p:grpSpPr>
          <p:sp>
            <p:nvSpPr>
              <p:cNvPr id="3079" name="Vrije vorm: vorm 3078">
                <a:extLst>
                  <a:ext uri="{FF2B5EF4-FFF2-40B4-BE49-F238E27FC236}">
                    <a16:creationId xmlns:a16="http://schemas.microsoft.com/office/drawing/2014/main" id="{7D16CBD8-8819-46A1-8DC9-AD0CAA7300F2}"/>
                  </a:ext>
                </a:extLst>
              </p:cNvPr>
              <p:cNvSpPr/>
              <p:nvPr/>
            </p:nvSpPr>
            <p:spPr>
              <a:xfrm>
                <a:off x="5011266" y="1774580"/>
                <a:ext cx="138812" cy="216203"/>
              </a:xfrm>
              <a:custGeom>
                <a:avLst/>
                <a:gdLst>
                  <a:gd name="connsiteX0" fmla="*/ 138812 w 138812"/>
                  <a:gd name="connsiteY0" fmla="*/ 214528 h 216203"/>
                  <a:gd name="connsiteX1" fmla="*/ 136241 w 138812"/>
                  <a:gd name="connsiteY1" fmla="*/ 216203 h 216203"/>
                  <a:gd name="connsiteX2" fmla="*/ 0 w 138812"/>
                  <a:gd name="connsiteY2" fmla="*/ 1615 h 216203"/>
                  <a:gd name="connsiteX3" fmla="*/ 2572 w 138812"/>
                  <a:gd name="connsiteY3" fmla="*/ 0 h 216203"/>
                </a:gdLst>
                <a:ahLst/>
                <a:cxnLst>
                  <a:cxn ang="0">
                    <a:pos x="connsiteX0" y="connsiteY0"/>
                  </a:cxn>
                  <a:cxn ang="0">
                    <a:pos x="connsiteX1" y="connsiteY1"/>
                  </a:cxn>
                  <a:cxn ang="0">
                    <a:pos x="connsiteX2" y="connsiteY2"/>
                  </a:cxn>
                  <a:cxn ang="0">
                    <a:pos x="connsiteX3" y="connsiteY3"/>
                  </a:cxn>
                </a:cxnLst>
                <a:rect l="l" t="t" r="r" b="b"/>
                <a:pathLst>
                  <a:path w="138812" h="216203">
                    <a:moveTo>
                      <a:pt x="138812" y="214528"/>
                    </a:moveTo>
                    <a:lnTo>
                      <a:pt x="136241" y="216203"/>
                    </a:lnTo>
                    <a:lnTo>
                      <a:pt x="0" y="1615"/>
                    </a:lnTo>
                    <a:lnTo>
                      <a:pt x="2572" y="0"/>
                    </a:lnTo>
                    <a:close/>
                  </a:path>
                </a:pathLst>
              </a:custGeom>
              <a:grpFill/>
              <a:ln w="5978" cap="flat">
                <a:noFill/>
                <a:prstDash val="solid"/>
                <a:miter/>
              </a:ln>
            </p:spPr>
            <p:txBody>
              <a:bodyPr rtlCol="0" anchor="ctr"/>
              <a:lstStyle/>
              <a:p>
                <a:endParaRPr lang="en-GB"/>
              </a:p>
            </p:txBody>
          </p:sp>
          <p:sp>
            <p:nvSpPr>
              <p:cNvPr id="3080" name="Vrije vorm: vorm 3079">
                <a:extLst>
                  <a:ext uri="{FF2B5EF4-FFF2-40B4-BE49-F238E27FC236}">
                    <a16:creationId xmlns:a16="http://schemas.microsoft.com/office/drawing/2014/main" id="{1AEA7D23-8726-484E-8C20-290B64A030FA}"/>
                  </a:ext>
                </a:extLst>
              </p:cNvPr>
              <p:cNvSpPr/>
              <p:nvPr/>
            </p:nvSpPr>
            <p:spPr>
              <a:xfrm>
                <a:off x="5003645" y="1766561"/>
                <a:ext cx="18351" cy="18464"/>
              </a:xfrm>
              <a:custGeom>
                <a:avLst/>
                <a:gdLst>
                  <a:gd name="connsiteX0" fmla="*/ 1461 w 18351"/>
                  <a:gd name="connsiteY0" fmla="*/ 14180 h 18464"/>
                  <a:gd name="connsiteX1" fmla="*/ 4212 w 18351"/>
                  <a:gd name="connsiteY1" fmla="*/ 1441 h 18464"/>
                  <a:gd name="connsiteX2" fmla="*/ 16891 w 18351"/>
                  <a:gd name="connsiteY2" fmla="*/ 4311 h 18464"/>
                  <a:gd name="connsiteX3" fmla="*/ 14140 w 18351"/>
                  <a:gd name="connsiteY3" fmla="*/ 17050 h 18464"/>
                  <a:gd name="connsiteX4" fmla="*/ 1461 w 18351"/>
                  <a:gd name="connsiteY4" fmla="*/ 14180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4">
                    <a:moveTo>
                      <a:pt x="1461" y="14180"/>
                    </a:moveTo>
                    <a:cubicBezTo>
                      <a:pt x="-1290" y="9873"/>
                      <a:pt x="-35" y="4192"/>
                      <a:pt x="4212" y="1441"/>
                    </a:cubicBezTo>
                    <a:cubicBezTo>
                      <a:pt x="8458" y="-1311"/>
                      <a:pt x="14140" y="5"/>
                      <a:pt x="16891" y="4311"/>
                    </a:cubicBezTo>
                    <a:cubicBezTo>
                      <a:pt x="19642" y="8617"/>
                      <a:pt x="18386" y="14299"/>
                      <a:pt x="14140" y="17050"/>
                    </a:cubicBezTo>
                    <a:cubicBezTo>
                      <a:pt x="9834" y="19742"/>
                      <a:pt x="4152" y="18486"/>
                      <a:pt x="1461" y="14180"/>
                    </a:cubicBezTo>
                    <a:close/>
                  </a:path>
                </a:pathLst>
              </a:custGeom>
              <a:grpFill/>
              <a:ln w="5978" cap="flat">
                <a:noFill/>
                <a:prstDash val="solid"/>
                <a:miter/>
              </a:ln>
            </p:spPr>
            <p:txBody>
              <a:bodyPr rtlCol="0" anchor="ctr"/>
              <a:lstStyle/>
              <a:p>
                <a:endParaRPr lang="en-GB"/>
              </a:p>
            </p:txBody>
          </p:sp>
          <p:sp>
            <p:nvSpPr>
              <p:cNvPr id="3081" name="Vrije vorm: vorm 3080">
                <a:extLst>
                  <a:ext uri="{FF2B5EF4-FFF2-40B4-BE49-F238E27FC236}">
                    <a16:creationId xmlns:a16="http://schemas.microsoft.com/office/drawing/2014/main" id="{0028D680-BBBC-41AE-8B89-8852EE245D68}"/>
                  </a:ext>
                </a:extLst>
              </p:cNvPr>
              <p:cNvSpPr/>
              <p:nvPr/>
            </p:nvSpPr>
            <p:spPr>
              <a:xfrm>
                <a:off x="5139408" y="1980338"/>
                <a:ext cx="18351" cy="18437"/>
              </a:xfrm>
              <a:custGeom>
                <a:avLst/>
                <a:gdLst>
                  <a:gd name="connsiteX0" fmla="*/ 1461 w 18351"/>
                  <a:gd name="connsiteY0" fmla="*/ 14153 h 18437"/>
                  <a:gd name="connsiteX1" fmla="*/ 14140 w 18351"/>
                  <a:gd name="connsiteY1" fmla="*/ 17024 h 18437"/>
                  <a:gd name="connsiteX2" fmla="*/ 16891 w 18351"/>
                  <a:gd name="connsiteY2" fmla="*/ 4285 h 18437"/>
                  <a:gd name="connsiteX3" fmla="*/ 4212 w 18351"/>
                  <a:gd name="connsiteY3" fmla="*/ 1414 h 18437"/>
                  <a:gd name="connsiteX4" fmla="*/ 1461 w 18351"/>
                  <a:gd name="connsiteY4" fmla="*/ 14153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37">
                    <a:moveTo>
                      <a:pt x="1461" y="14153"/>
                    </a:moveTo>
                    <a:cubicBezTo>
                      <a:pt x="4212" y="18459"/>
                      <a:pt x="9834" y="19715"/>
                      <a:pt x="14140" y="17024"/>
                    </a:cubicBezTo>
                    <a:cubicBezTo>
                      <a:pt x="18386" y="14273"/>
                      <a:pt x="19642" y="8591"/>
                      <a:pt x="16891" y="4285"/>
                    </a:cubicBezTo>
                    <a:cubicBezTo>
                      <a:pt x="14140" y="-21"/>
                      <a:pt x="8518" y="-1277"/>
                      <a:pt x="4212" y="1414"/>
                    </a:cubicBezTo>
                    <a:cubicBezTo>
                      <a:pt x="-34" y="4165"/>
                      <a:pt x="-1291" y="9847"/>
                      <a:pt x="1461" y="14153"/>
                    </a:cubicBezTo>
                    <a:close/>
                  </a:path>
                </a:pathLst>
              </a:custGeom>
              <a:grpFill/>
              <a:ln w="5978" cap="flat">
                <a:noFill/>
                <a:prstDash val="solid"/>
                <a:miter/>
              </a:ln>
            </p:spPr>
            <p:txBody>
              <a:bodyPr rtlCol="0" anchor="ctr"/>
              <a:lstStyle/>
              <a:p>
                <a:endParaRPr lang="en-GB"/>
              </a:p>
            </p:txBody>
          </p:sp>
        </p:grpSp>
        <p:grpSp>
          <p:nvGrpSpPr>
            <p:cNvPr id="772" name="Graphic 3">
              <a:extLst>
                <a:ext uri="{FF2B5EF4-FFF2-40B4-BE49-F238E27FC236}">
                  <a16:creationId xmlns:a16="http://schemas.microsoft.com/office/drawing/2014/main" id="{60DF2776-86E8-4F46-BAD6-B4BCDC531E30}"/>
                </a:ext>
              </a:extLst>
            </p:cNvPr>
            <p:cNvGrpSpPr/>
            <p:nvPr/>
          </p:nvGrpSpPr>
          <p:grpSpPr>
            <a:xfrm>
              <a:off x="4823757" y="1316616"/>
              <a:ext cx="348750" cy="645098"/>
              <a:chOff x="4823757" y="1316616"/>
              <a:chExt cx="348750" cy="645098"/>
            </a:xfrm>
            <a:grpFill/>
          </p:grpSpPr>
          <p:sp>
            <p:nvSpPr>
              <p:cNvPr id="3076" name="Vrije vorm: vorm 3075">
                <a:extLst>
                  <a:ext uri="{FF2B5EF4-FFF2-40B4-BE49-F238E27FC236}">
                    <a16:creationId xmlns:a16="http://schemas.microsoft.com/office/drawing/2014/main" id="{752B2F55-B01C-495C-96E2-EE8A37D9E111}"/>
                  </a:ext>
                </a:extLst>
              </p:cNvPr>
              <p:cNvSpPr/>
              <p:nvPr/>
            </p:nvSpPr>
            <p:spPr>
              <a:xfrm>
                <a:off x="4831366" y="1324710"/>
                <a:ext cx="333544" cy="628932"/>
              </a:xfrm>
              <a:custGeom>
                <a:avLst/>
                <a:gdLst>
                  <a:gd name="connsiteX0" fmla="*/ 333545 w 333544"/>
                  <a:gd name="connsiteY0" fmla="*/ 627497 h 628932"/>
                  <a:gd name="connsiteX1" fmla="*/ 330854 w 333544"/>
                  <a:gd name="connsiteY1" fmla="*/ 628933 h 628932"/>
                  <a:gd name="connsiteX2" fmla="*/ 0 w 333544"/>
                  <a:gd name="connsiteY2" fmla="*/ 1435 h 628932"/>
                  <a:gd name="connsiteX3" fmla="*/ 2691 w 333544"/>
                  <a:gd name="connsiteY3" fmla="*/ 0 h 628932"/>
                </a:gdLst>
                <a:ahLst/>
                <a:cxnLst>
                  <a:cxn ang="0">
                    <a:pos x="connsiteX0" y="connsiteY0"/>
                  </a:cxn>
                  <a:cxn ang="0">
                    <a:pos x="connsiteX1" y="connsiteY1"/>
                  </a:cxn>
                  <a:cxn ang="0">
                    <a:pos x="connsiteX2" y="connsiteY2"/>
                  </a:cxn>
                  <a:cxn ang="0">
                    <a:pos x="connsiteX3" y="connsiteY3"/>
                  </a:cxn>
                </a:cxnLst>
                <a:rect l="l" t="t" r="r" b="b"/>
                <a:pathLst>
                  <a:path w="333544" h="628932">
                    <a:moveTo>
                      <a:pt x="333545" y="627497"/>
                    </a:moveTo>
                    <a:lnTo>
                      <a:pt x="330854" y="628933"/>
                    </a:lnTo>
                    <a:lnTo>
                      <a:pt x="0" y="1435"/>
                    </a:lnTo>
                    <a:lnTo>
                      <a:pt x="2691" y="0"/>
                    </a:lnTo>
                    <a:close/>
                  </a:path>
                </a:pathLst>
              </a:custGeom>
              <a:grpFill/>
              <a:ln w="5978" cap="flat">
                <a:noFill/>
                <a:prstDash val="solid"/>
                <a:miter/>
              </a:ln>
            </p:spPr>
            <p:txBody>
              <a:bodyPr rtlCol="0" anchor="ctr"/>
              <a:lstStyle/>
              <a:p>
                <a:endParaRPr lang="en-GB"/>
              </a:p>
            </p:txBody>
          </p:sp>
          <p:sp>
            <p:nvSpPr>
              <p:cNvPr id="3077" name="Vrije vorm: vorm 3076">
                <a:extLst>
                  <a:ext uri="{FF2B5EF4-FFF2-40B4-BE49-F238E27FC236}">
                    <a16:creationId xmlns:a16="http://schemas.microsoft.com/office/drawing/2014/main" id="{A77062CA-981E-4372-93C2-477027A4AA5F}"/>
                  </a:ext>
                </a:extLst>
              </p:cNvPr>
              <p:cNvSpPr/>
              <p:nvPr/>
            </p:nvSpPr>
            <p:spPr>
              <a:xfrm>
                <a:off x="5154204" y="1943276"/>
                <a:ext cx="18303" cy="18438"/>
              </a:xfrm>
              <a:custGeom>
                <a:avLst/>
                <a:gdLst>
                  <a:gd name="connsiteX0" fmla="*/ 17226 w 18303"/>
                  <a:gd name="connsiteY0" fmla="*/ 4924 h 18438"/>
                  <a:gd name="connsiteX1" fmla="*/ 13458 w 18303"/>
                  <a:gd name="connsiteY1" fmla="*/ 17364 h 18438"/>
                  <a:gd name="connsiteX2" fmla="*/ 1078 w 18303"/>
                  <a:gd name="connsiteY2" fmla="*/ 13477 h 18438"/>
                  <a:gd name="connsiteX3" fmla="*/ 4846 w 18303"/>
                  <a:gd name="connsiteY3" fmla="*/ 1037 h 18438"/>
                  <a:gd name="connsiteX4" fmla="*/ 17226 w 18303"/>
                  <a:gd name="connsiteY4" fmla="*/ 4924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38">
                    <a:moveTo>
                      <a:pt x="17226" y="4924"/>
                    </a:moveTo>
                    <a:cubicBezTo>
                      <a:pt x="19618" y="9410"/>
                      <a:pt x="17884" y="14972"/>
                      <a:pt x="13458" y="17364"/>
                    </a:cubicBezTo>
                    <a:cubicBezTo>
                      <a:pt x="8972" y="19756"/>
                      <a:pt x="3410" y="18022"/>
                      <a:pt x="1078" y="13477"/>
                    </a:cubicBezTo>
                    <a:cubicBezTo>
                      <a:pt x="-1314" y="8991"/>
                      <a:pt x="420" y="3429"/>
                      <a:pt x="4846" y="1037"/>
                    </a:cubicBezTo>
                    <a:cubicBezTo>
                      <a:pt x="9331" y="-1296"/>
                      <a:pt x="14894" y="439"/>
                      <a:pt x="17226" y="4924"/>
                    </a:cubicBezTo>
                    <a:close/>
                  </a:path>
                </a:pathLst>
              </a:custGeom>
              <a:grpFill/>
              <a:ln w="5978" cap="flat">
                <a:noFill/>
                <a:prstDash val="solid"/>
                <a:miter/>
              </a:ln>
            </p:spPr>
            <p:txBody>
              <a:bodyPr rtlCol="0" anchor="ctr"/>
              <a:lstStyle/>
              <a:p>
                <a:endParaRPr lang="en-GB"/>
              </a:p>
            </p:txBody>
          </p:sp>
          <p:sp>
            <p:nvSpPr>
              <p:cNvPr id="3078" name="Vrije vorm: vorm 3077">
                <a:extLst>
                  <a:ext uri="{FF2B5EF4-FFF2-40B4-BE49-F238E27FC236}">
                    <a16:creationId xmlns:a16="http://schemas.microsoft.com/office/drawing/2014/main" id="{06BC9E90-F334-4629-8D86-6A97214DBDA7}"/>
                  </a:ext>
                </a:extLst>
              </p:cNvPr>
              <p:cNvSpPr/>
              <p:nvPr/>
            </p:nvSpPr>
            <p:spPr>
              <a:xfrm>
                <a:off x="4823757" y="1316616"/>
                <a:ext cx="18315" cy="18400"/>
              </a:xfrm>
              <a:custGeom>
                <a:avLst/>
                <a:gdLst>
                  <a:gd name="connsiteX0" fmla="*/ 17238 w 18315"/>
                  <a:gd name="connsiteY0" fmla="*/ 4924 h 18400"/>
                  <a:gd name="connsiteX1" fmla="*/ 4857 w 18315"/>
                  <a:gd name="connsiteY1" fmla="*/ 1037 h 18400"/>
                  <a:gd name="connsiteX2" fmla="*/ 1090 w 18315"/>
                  <a:gd name="connsiteY2" fmla="*/ 13477 h 18400"/>
                  <a:gd name="connsiteX3" fmla="*/ 13470 w 18315"/>
                  <a:gd name="connsiteY3" fmla="*/ 17364 h 18400"/>
                  <a:gd name="connsiteX4" fmla="*/ 17238 w 18315"/>
                  <a:gd name="connsiteY4" fmla="*/ 492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00">
                    <a:moveTo>
                      <a:pt x="17238" y="4924"/>
                    </a:moveTo>
                    <a:cubicBezTo>
                      <a:pt x="14846" y="439"/>
                      <a:pt x="9283" y="-1296"/>
                      <a:pt x="4857" y="1037"/>
                    </a:cubicBezTo>
                    <a:cubicBezTo>
                      <a:pt x="372" y="3429"/>
                      <a:pt x="-1303" y="8991"/>
                      <a:pt x="1090" y="13477"/>
                    </a:cubicBezTo>
                    <a:cubicBezTo>
                      <a:pt x="3482" y="17962"/>
                      <a:pt x="8984" y="19697"/>
                      <a:pt x="13470" y="17364"/>
                    </a:cubicBezTo>
                    <a:cubicBezTo>
                      <a:pt x="17896" y="14972"/>
                      <a:pt x="19630" y="9410"/>
                      <a:pt x="17238" y="4924"/>
                    </a:cubicBezTo>
                    <a:close/>
                  </a:path>
                </a:pathLst>
              </a:custGeom>
              <a:grpFill/>
              <a:ln w="5978" cap="flat">
                <a:noFill/>
                <a:prstDash val="solid"/>
                <a:miter/>
              </a:ln>
            </p:spPr>
            <p:txBody>
              <a:bodyPr rtlCol="0" anchor="ctr"/>
              <a:lstStyle/>
              <a:p>
                <a:endParaRPr lang="en-GB"/>
              </a:p>
            </p:txBody>
          </p:sp>
        </p:grpSp>
        <p:grpSp>
          <p:nvGrpSpPr>
            <p:cNvPr id="773" name="Graphic 3">
              <a:extLst>
                <a:ext uri="{FF2B5EF4-FFF2-40B4-BE49-F238E27FC236}">
                  <a16:creationId xmlns:a16="http://schemas.microsoft.com/office/drawing/2014/main" id="{4D2822B0-735A-4B1D-BB60-2D27C4904918}"/>
                </a:ext>
              </a:extLst>
            </p:cNvPr>
            <p:cNvGrpSpPr/>
            <p:nvPr/>
          </p:nvGrpSpPr>
          <p:grpSpPr>
            <a:xfrm>
              <a:off x="4824110" y="1316392"/>
              <a:ext cx="301169" cy="502568"/>
              <a:chOff x="4824110" y="1316392"/>
              <a:chExt cx="301169" cy="502568"/>
            </a:xfrm>
            <a:grpFill/>
          </p:grpSpPr>
          <p:sp>
            <p:nvSpPr>
              <p:cNvPr id="3073" name="Vrije vorm: vorm 3072">
                <a:extLst>
                  <a:ext uri="{FF2B5EF4-FFF2-40B4-BE49-F238E27FC236}">
                    <a16:creationId xmlns:a16="http://schemas.microsoft.com/office/drawing/2014/main" id="{6798117E-FF3F-49EB-9C54-061C9A66156B}"/>
                  </a:ext>
                </a:extLst>
              </p:cNvPr>
              <p:cNvSpPr/>
              <p:nvPr/>
            </p:nvSpPr>
            <p:spPr>
              <a:xfrm>
                <a:off x="4831725" y="1324471"/>
                <a:ext cx="285938" cy="486471"/>
              </a:xfrm>
              <a:custGeom>
                <a:avLst/>
                <a:gdLst>
                  <a:gd name="connsiteX0" fmla="*/ 285938 w 285938"/>
                  <a:gd name="connsiteY0" fmla="*/ 484977 h 486471"/>
                  <a:gd name="connsiteX1" fmla="*/ 283307 w 285938"/>
                  <a:gd name="connsiteY1" fmla="*/ 486472 h 486471"/>
                  <a:gd name="connsiteX2" fmla="*/ 0 w 285938"/>
                  <a:gd name="connsiteY2" fmla="*/ 1555 h 486471"/>
                  <a:gd name="connsiteX3" fmla="*/ 2632 w 285938"/>
                  <a:gd name="connsiteY3" fmla="*/ 0 h 486471"/>
                </a:gdLst>
                <a:ahLst/>
                <a:cxnLst>
                  <a:cxn ang="0">
                    <a:pos x="connsiteX0" y="connsiteY0"/>
                  </a:cxn>
                  <a:cxn ang="0">
                    <a:pos x="connsiteX1" y="connsiteY1"/>
                  </a:cxn>
                  <a:cxn ang="0">
                    <a:pos x="connsiteX2" y="connsiteY2"/>
                  </a:cxn>
                  <a:cxn ang="0">
                    <a:pos x="connsiteX3" y="connsiteY3"/>
                  </a:cxn>
                </a:cxnLst>
                <a:rect l="l" t="t" r="r" b="b"/>
                <a:pathLst>
                  <a:path w="285938" h="486471">
                    <a:moveTo>
                      <a:pt x="285938" y="484977"/>
                    </a:moveTo>
                    <a:lnTo>
                      <a:pt x="283307" y="486472"/>
                    </a:lnTo>
                    <a:lnTo>
                      <a:pt x="0" y="1555"/>
                    </a:lnTo>
                    <a:lnTo>
                      <a:pt x="2632" y="0"/>
                    </a:lnTo>
                    <a:close/>
                  </a:path>
                </a:pathLst>
              </a:custGeom>
              <a:grpFill/>
              <a:ln w="5978" cap="flat">
                <a:noFill/>
                <a:prstDash val="solid"/>
                <a:miter/>
              </a:ln>
            </p:spPr>
            <p:txBody>
              <a:bodyPr rtlCol="0" anchor="ctr"/>
              <a:lstStyle/>
              <a:p>
                <a:endParaRPr lang="en-GB"/>
              </a:p>
            </p:txBody>
          </p:sp>
          <p:sp>
            <p:nvSpPr>
              <p:cNvPr id="3074" name="Vrije vorm: vorm 3073">
                <a:extLst>
                  <a:ext uri="{FF2B5EF4-FFF2-40B4-BE49-F238E27FC236}">
                    <a16:creationId xmlns:a16="http://schemas.microsoft.com/office/drawing/2014/main" id="{0CFBF915-E582-4B82-A048-B24C61E9E19E}"/>
                  </a:ext>
                </a:extLst>
              </p:cNvPr>
              <p:cNvSpPr/>
              <p:nvPr/>
            </p:nvSpPr>
            <p:spPr>
              <a:xfrm>
                <a:off x="4824110" y="1316392"/>
                <a:ext cx="18341" cy="18429"/>
              </a:xfrm>
              <a:custGeom>
                <a:avLst/>
                <a:gdLst>
                  <a:gd name="connsiteX0" fmla="*/ 1276 w 18341"/>
                  <a:gd name="connsiteY0" fmla="*/ 13880 h 18429"/>
                  <a:gd name="connsiteX1" fmla="*/ 4505 w 18341"/>
                  <a:gd name="connsiteY1" fmla="*/ 1260 h 18429"/>
                  <a:gd name="connsiteX2" fmla="*/ 17065 w 18341"/>
                  <a:gd name="connsiteY2" fmla="*/ 4550 h 18429"/>
                  <a:gd name="connsiteX3" fmla="*/ 13835 w 18341"/>
                  <a:gd name="connsiteY3" fmla="*/ 17169 h 18429"/>
                  <a:gd name="connsiteX4" fmla="*/ 1276 w 18341"/>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276" y="13880"/>
                    </a:moveTo>
                    <a:cubicBezTo>
                      <a:pt x="-1296" y="9514"/>
                      <a:pt x="140" y="3832"/>
                      <a:pt x="4505" y="1260"/>
                    </a:cubicBezTo>
                    <a:cubicBezTo>
                      <a:pt x="8872" y="-1311"/>
                      <a:pt x="14493" y="184"/>
                      <a:pt x="17065" y="4550"/>
                    </a:cubicBezTo>
                    <a:cubicBezTo>
                      <a:pt x="19637" y="8916"/>
                      <a:pt x="18202" y="14597"/>
                      <a:pt x="13835" y="17169"/>
                    </a:cubicBezTo>
                    <a:cubicBezTo>
                      <a:pt x="9410" y="19741"/>
                      <a:pt x="3788" y="18246"/>
                      <a:pt x="1276" y="13880"/>
                    </a:cubicBezTo>
                    <a:close/>
                  </a:path>
                </a:pathLst>
              </a:custGeom>
              <a:grpFill/>
              <a:ln w="5978" cap="flat">
                <a:noFill/>
                <a:prstDash val="solid"/>
                <a:miter/>
              </a:ln>
            </p:spPr>
            <p:txBody>
              <a:bodyPr rtlCol="0" anchor="ctr"/>
              <a:lstStyle/>
              <a:p>
                <a:endParaRPr lang="en-GB"/>
              </a:p>
            </p:txBody>
          </p:sp>
          <p:sp>
            <p:nvSpPr>
              <p:cNvPr id="3075" name="Vrije vorm: vorm 3074">
                <a:extLst>
                  <a:ext uri="{FF2B5EF4-FFF2-40B4-BE49-F238E27FC236}">
                    <a16:creationId xmlns:a16="http://schemas.microsoft.com/office/drawing/2014/main" id="{76F6EC23-B67C-4527-A389-CC29962A108A}"/>
                  </a:ext>
                </a:extLst>
              </p:cNvPr>
              <p:cNvSpPr/>
              <p:nvPr/>
            </p:nvSpPr>
            <p:spPr>
              <a:xfrm>
                <a:off x="5106951" y="1800532"/>
                <a:ext cx="18327" cy="18429"/>
              </a:xfrm>
              <a:custGeom>
                <a:avLst/>
                <a:gdLst>
                  <a:gd name="connsiteX0" fmla="*/ 1263 w 18327"/>
                  <a:gd name="connsiteY0" fmla="*/ 13880 h 18429"/>
                  <a:gd name="connsiteX1" fmla="*/ 13822 w 18327"/>
                  <a:gd name="connsiteY1" fmla="*/ 17169 h 18429"/>
                  <a:gd name="connsiteX2" fmla="*/ 17052 w 18327"/>
                  <a:gd name="connsiteY2" fmla="*/ 4550 h 18429"/>
                  <a:gd name="connsiteX3" fmla="*/ 4492 w 18327"/>
                  <a:gd name="connsiteY3" fmla="*/ 1260 h 18429"/>
                  <a:gd name="connsiteX4" fmla="*/ 1263 w 18327"/>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263" y="13880"/>
                    </a:moveTo>
                    <a:cubicBezTo>
                      <a:pt x="3835" y="18246"/>
                      <a:pt x="9456" y="19741"/>
                      <a:pt x="13822" y="17169"/>
                    </a:cubicBezTo>
                    <a:cubicBezTo>
                      <a:pt x="18188" y="14597"/>
                      <a:pt x="19623" y="8976"/>
                      <a:pt x="17052" y="4550"/>
                    </a:cubicBezTo>
                    <a:cubicBezTo>
                      <a:pt x="14480" y="184"/>
                      <a:pt x="8858" y="-1311"/>
                      <a:pt x="4492" y="1260"/>
                    </a:cubicBezTo>
                    <a:cubicBezTo>
                      <a:pt x="186" y="3892"/>
                      <a:pt x="-1309" y="9514"/>
                      <a:pt x="1263" y="13880"/>
                    </a:cubicBezTo>
                    <a:close/>
                  </a:path>
                </a:pathLst>
              </a:custGeom>
              <a:grpFill/>
              <a:ln w="5978" cap="flat">
                <a:noFill/>
                <a:prstDash val="solid"/>
                <a:miter/>
              </a:ln>
            </p:spPr>
            <p:txBody>
              <a:bodyPr rtlCol="0" anchor="ctr"/>
              <a:lstStyle/>
              <a:p>
                <a:endParaRPr lang="en-GB"/>
              </a:p>
            </p:txBody>
          </p:sp>
        </p:grpSp>
        <p:grpSp>
          <p:nvGrpSpPr>
            <p:cNvPr id="774" name="Graphic 3">
              <a:extLst>
                <a:ext uri="{FF2B5EF4-FFF2-40B4-BE49-F238E27FC236}">
                  <a16:creationId xmlns:a16="http://schemas.microsoft.com/office/drawing/2014/main" id="{E50A1676-922B-4829-BA20-7D9A278F3EC0}"/>
                </a:ext>
              </a:extLst>
            </p:cNvPr>
            <p:cNvGrpSpPr/>
            <p:nvPr/>
          </p:nvGrpSpPr>
          <p:grpSpPr>
            <a:xfrm>
              <a:off x="4678260" y="964445"/>
              <a:ext cx="515810" cy="971514"/>
              <a:chOff x="4678260" y="964445"/>
              <a:chExt cx="515810" cy="971514"/>
            </a:xfrm>
            <a:grpFill/>
          </p:grpSpPr>
          <p:sp>
            <p:nvSpPr>
              <p:cNvPr id="3070" name="Vrije vorm: vorm 3069">
                <a:extLst>
                  <a:ext uri="{FF2B5EF4-FFF2-40B4-BE49-F238E27FC236}">
                    <a16:creationId xmlns:a16="http://schemas.microsoft.com/office/drawing/2014/main" id="{0F09DA21-EA11-432D-8C4C-E63CB393153E}"/>
                  </a:ext>
                </a:extLst>
              </p:cNvPr>
              <p:cNvSpPr/>
              <p:nvPr/>
            </p:nvSpPr>
            <p:spPr>
              <a:xfrm>
                <a:off x="4685855" y="972565"/>
                <a:ext cx="500646" cy="955240"/>
              </a:xfrm>
              <a:custGeom>
                <a:avLst/>
                <a:gdLst>
                  <a:gd name="connsiteX0" fmla="*/ 500646 w 500646"/>
                  <a:gd name="connsiteY0" fmla="*/ 953865 h 955240"/>
                  <a:gd name="connsiteX1" fmla="*/ 497955 w 500646"/>
                  <a:gd name="connsiteY1" fmla="*/ 955241 h 955240"/>
                  <a:gd name="connsiteX2" fmla="*/ 0 w 500646"/>
                  <a:gd name="connsiteY2" fmla="*/ 1376 h 955240"/>
                  <a:gd name="connsiteX3" fmla="*/ 2691 w 500646"/>
                  <a:gd name="connsiteY3" fmla="*/ 0 h 955240"/>
                </a:gdLst>
                <a:ahLst/>
                <a:cxnLst>
                  <a:cxn ang="0">
                    <a:pos x="connsiteX0" y="connsiteY0"/>
                  </a:cxn>
                  <a:cxn ang="0">
                    <a:pos x="connsiteX1" y="connsiteY1"/>
                  </a:cxn>
                  <a:cxn ang="0">
                    <a:pos x="connsiteX2" y="connsiteY2"/>
                  </a:cxn>
                  <a:cxn ang="0">
                    <a:pos x="connsiteX3" y="connsiteY3"/>
                  </a:cxn>
                </a:cxnLst>
                <a:rect l="l" t="t" r="r" b="b"/>
                <a:pathLst>
                  <a:path w="500646" h="955240">
                    <a:moveTo>
                      <a:pt x="500646" y="953865"/>
                    </a:moveTo>
                    <a:lnTo>
                      <a:pt x="497955" y="955241"/>
                    </a:lnTo>
                    <a:lnTo>
                      <a:pt x="0" y="1376"/>
                    </a:lnTo>
                    <a:lnTo>
                      <a:pt x="2691" y="0"/>
                    </a:lnTo>
                    <a:close/>
                  </a:path>
                </a:pathLst>
              </a:custGeom>
              <a:grpFill/>
              <a:ln w="5978" cap="flat">
                <a:noFill/>
                <a:prstDash val="solid"/>
                <a:miter/>
              </a:ln>
            </p:spPr>
            <p:txBody>
              <a:bodyPr rtlCol="0" anchor="ctr"/>
              <a:lstStyle/>
              <a:p>
                <a:endParaRPr lang="en-GB"/>
              </a:p>
            </p:txBody>
          </p:sp>
          <p:sp>
            <p:nvSpPr>
              <p:cNvPr id="3071" name="Vrije vorm: vorm 3070">
                <a:extLst>
                  <a:ext uri="{FF2B5EF4-FFF2-40B4-BE49-F238E27FC236}">
                    <a16:creationId xmlns:a16="http://schemas.microsoft.com/office/drawing/2014/main" id="{48905EDE-8C1D-42EC-8E47-AC4714DF87DA}"/>
                  </a:ext>
                </a:extLst>
              </p:cNvPr>
              <p:cNvSpPr/>
              <p:nvPr/>
            </p:nvSpPr>
            <p:spPr>
              <a:xfrm>
                <a:off x="5175763" y="1917521"/>
                <a:ext cx="18307" cy="18438"/>
              </a:xfrm>
              <a:custGeom>
                <a:avLst/>
                <a:gdLst>
                  <a:gd name="connsiteX0" fmla="*/ 17258 w 18307"/>
                  <a:gd name="connsiteY0" fmla="*/ 4962 h 18438"/>
                  <a:gd name="connsiteX1" fmla="*/ 13430 w 18307"/>
                  <a:gd name="connsiteY1" fmla="*/ 17402 h 18438"/>
                  <a:gd name="connsiteX2" fmla="*/ 1050 w 18307"/>
                  <a:gd name="connsiteY2" fmla="*/ 13515 h 18438"/>
                  <a:gd name="connsiteX3" fmla="*/ 4878 w 18307"/>
                  <a:gd name="connsiteY3" fmla="*/ 1075 h 18438"/>
                  <a:gd name="connsiteX4" fmla="*/ 17258 w 18307"/>
                  <a:gd name="connsiteY4" fmla="*/ 496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17258" y="4962"/>
                    </a:moveTo>
                    <a:cubicBezTo>
                      <a:pt x="19590" y="9448"/>
                      <a:pt x="17916" y="15010"/>
                      <a:pt x="13430" y="17402"/>
                    </a:cubicBezTo>
                    <a:cubicBezTo>
                      <a:pt x="8944" y="19735"/>
                      <a:pt x="3382" y="18000"/>
                      <a:pt x="1050" y="13515"/>
                    </a:cubicBezTo>
                    <a:cubicBezTo>
                      <a:pt x="-1283" y="9029"/>
                      <a:pt x="392" y="3467"/>
                      <a:pt x="4878" y="1075"/>
                    </a:cubicBezTo>
                    <a:cubicBezTo>
                      <a:pt x="9363" y="-1318"/>
                      <a:pt x="14925" y="417"/>
                      <a:pt x="17258" y="4962"/>
                    </a:cubicBezTo>
                    <a:close/>
                  </a:path>
                </a:pathLst>
              </a:custGeom>
              <a:grpFill/>
              <a:ln w="5978" cap="flat">
                <a:noFill/>
                <a:prstDash val="solid"/>
                <a:miter/>
              </a:ln>
            </p:spPr>
            <p:txBody>
              <a:bodyPr rtlCol="0" anchor="ctr"/>
              <a:lstStyle/>
              <a:p>
                <a:endParaRPr lang="en-GB"/>
              </a:p>
            </p:txBody>
          </p:sp>
          <p:sp>
            <p:nvSpPr>
              <p:cNvPr id="3072" name="Vrije vorm: vorm 3071">
                <a:extLst>
                  <a:ext uri="{FF2B5EF4-FFF2-40B4-BE49-F238E27FC236}">
                    <a16:creationId xmlns:a16="http://schemas.microsoft.com/office/drawing/2014/main" id="{31796557-D9BD-4B0C-9AE6-1D64FC0F7D6C}"/>
                  </a:ext>
                </a:extLst>
              </p:cNvPr>
              <p:cNvSpPr/>
              <p:nvPr/>
            </p:nvSpPr>
            <p:spPr>
              <a:xfrm>
                <a:off x="4678260" y="964445"/>
                <a:ext cx="18322" cy="18453"/>
              </a:xfrm>
              <a:custGeom>
                <a:avLst/>
                <a:gdLst>
                  <a:gd name="connsiteX0" fmla="*/ 17284 w 18322"/>
                  <a:gd name="connsiteY0" fmla="*/ 4951 h 18453"/>
                  <a:gd name="connsiteX1" fmla="*/ 4904 w 18322"/>
                  <a:gd name="connsiteY1" fmla="*/ 1063 h 18453"/>
                  <a:gd name="connsiteX2" fmla="*/ 1076 w 18322"/>
                  <a:gd name="connsiteY2" fmla="*/ 13503 h 18453"/>
                  <a:gd name="connsiteX3" fmla="*/ 13457 w 18322"/>
                  <a:gd name="connsiteY3" fmla="*/ 17390 h 18453"/>
                  <a:gd name="connsiteX4" fmla="*/ 17284 w 18322"/>
                  <a:gd name="connsiteY4" fmla="*/ 495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7284" y="4951"/>
                    </a:moveTo>
                    <a:cubicBezTo>
                      <a:pt x="14952" y="465"/>
                      <a:pt x="9390" y="-1329"/>
                      <a:pt x="4904" y="1063"/>
                    </a:cubicBezTo>
                    <a:cubicBezTo>
                      <a:pt x="419" y="3396"/>
                      <a:pt x="-1316" y="8958"/>
                      <a:pt x="1076" y="13503"/>
                    </a:cubicBezTo>
                    <a:cubicBezTo>
                      <a:pt x="3409" y="17989"/>
                      <a:pt x="8971" y="19783"/>
                      <a:pt x="13457" y="17390"/>
                    </a:cubicBezTo>
                    <a:cubicBezTo>
                      <a:pt x="17882" y="15058"/>
                      <a:pt x="19616" y="9496"/>
                      <a:pt x="17284" y="4951"/>
                    </a:cubicBezTo>
                    <a:close/>
                  </a:path>
                </a:pathLst>
              </a:custGeom>
              <a:grpFill/>
              <a:ln w="5978" cap="flat">
                <a:noFill/>
                <a:prstDash val="solid"/>
                <a:miter/>
              </a:ln>
            </p:spPr>
            <p:txBody>
              <a:bodyPr rtlCol="0" anchor="ctr"/>
              <a:lstStyle/>
              <a:p>
                <a:endParaRPr lang="en-GB"/>
              </a:p>
            </p:txBody>
          </p:sp>
        </p:grpSp>
        <p:grpSp>
          <p:nvGrpSpPr>
            <p:cNvPr id="775" name="Graphic 3">
              <a:extLst>
                <a:ext uri="{FF2B5EF4-FFF2-40B4-BE49-F238E27FC236}">
                  <a16:creationId xmlns:a16="http://schemas.microsoft.com/office/drawing/2014/main" id="{33C20397-7699-4AA0-B6B8-B2274B3FD4F5}"/>
                </a:ext>
              </a:extLst>
            </p:cNvPr>
            <p:cNvGrpSpPr/>
            <p:nvPr/>
          </p:nvGrpSpPr>
          <p:grpSpPr>
            <a:xfrm>
              <a:off x="4678506" y="964288"/>
              <a:ext cx="417392" cy="731576"/>
              <a:chOff x="4678506" y="964288"/>
              <a:chExt cx="417392" cy="731576"/>
            </a:xfrm>
            <a:grpFill/>
          </p:grpSpPr>
          <p:sp>
            <p:nvSpPr>
              <p:cNvPr id="3067" name="Vrije vorm: vorm 3066">
                <a:extLst>
                  <a:ext uri="{FF2B5EF4-FFF2-40B4-BE49-F238E27FC236}">
                    <a16:creationId xmlns:a16="http://schemas.microsoft.com/office/drawing/2014/main" id="{0C3E1066-0BE9-4E9A-A2EA-7B0BEEA1629F}"/>
                  </a:ext>
                </a:extLst>
              </p:cNvPr>
              <p:cNvSpPr/>
              <p:nvPr/>
            </p:nvSpPr>
            <p:spPr>
              <a:xfrm>
                <a:off x="4685652" y="972453"/>
                <a:ext cx="402794" cy="715041"/>
              </a:xfrm>
              <a:custGeom>
                <a:avLst/>
                <a:gdLst>
                  <a:gd name="connsiteX0" fmla="*/ 0 w 402794"/>
                  <a:gd name="connsiteY0" fmla="*/ 1492 h 715041"/>
                  <a:gd name="connsiteX1" fmla="*/ 2660 w 402794"/>
                  <a:gd name="connsiteY1" fmla="*/ 0 h 715041"/>
                  <a:gd name="connsiteX2" fmla="*/ 402795 w 402794"/>
                  <a:gd name="connsiteY2" fmla="*/ 713549 h 715041"/>
                  <a:gd name="connsiteX3" fmla="*/ 400134 w 402794"/>
                  <a:gd name="connsiteY3" fmla="*/ 715041 h 715041"/>
                </a:gdLst>
                <a:ahLst/>
                <a:cxnLst>
                  <a:cxn ang="0">
                    <a:pos x="connsiteX0" y="connsiteY0"/>
                  </a:cxn>
                  <a:cxn ang="0">
                    <a:pos x="connsiteX1" y="connsiteY1"/>
                  </a:cxn>
                  <a:cxn ang="0">
                    <a:pos x="connsiteX2" y="connsiteY2"/>
                  </a:cxn>
                  <a:cxn ang="0">
                    <a:pos x="connsiteX3" y="connsiteY3"/>
                  </a:cxn>
                </a:cxnLst>
                <a:rect l="l" t="t" r="r" b="b"/>
                <a:pathLst>
                  <a:path w="402794" h="715041">
                    <a:moveTo>
                      <a:pt x="0" y="1492"/>
                    </a:moveTo>
                    <a:lnTo>
                      <a:pt x="2660" y="0"/>
                    </a:lnTo>
                    <a:lnTo>
                      <a:pt x="402795" y="713549"/>
                    </a:lnTo>
                    <a:lnTo>
                      <a:pt x="400134" y="715041"/>
                    </a:lnTo>
                    <a:close/>
                  </a:path>
                </a:pathLst>
              </a:custGeom>
              <a:grpFill/>
              <a:ln w="5978" cap="flat">
                <a:noFill/>
                <a:prstDash val="solid"/>
                <a:miter/>
              </a:ln>
            </p:spPr>
            <p:txBody>
              <a:bodyPr rtlCol="0" anchor="ctr"/>
              <a:lstStyle/>
              <a:p>
                <a:endParaRPr lang="en-GB"/>
              </a:p>
            </p:txBody>
          </p:sp>
          <p:sp>
            <p:nvSpPr>
              <p:cNvPr id="3068" name="Vrije vorm: vorm 3067">
                <a:extLst>
                  <a:ext uri="{FF2B5EF4-FFF2-40B4-BE49-F238E27FC236}">
                    <a16:creationId xmlns:a16="http://schemas.microsoft.com/office/drawing/2014/main" id="{B21EBCF5-1137-4A9D-ABB7-18FB0D09529F}"/>
                  </a:ext>
                </a:extLst>
              </p:cNvPr>
              <p:cNvSpPr/>
              <p:nvPr/>
            </p:nvSpPr>
            <p:spPr>
              <a:xfrm>
                <a:off x="4678506" y="964288"/>
                <a:ext cx="18346" cy="18447"/>
              </a:xfrm>
              <a:custGeom>
                <a:avLst/>
                <a:gdLst>
                  <a:gd name="connsiteX0" fmla="*/ 1189 w 18346"/>
                  <a:gd name="connsiteY0" fmla="*/ 13720 h 18447"/>
                  <a:gd name="connsiteX1" fmla="*/ 4658 w 18346"/>
                  <a:gd name="connsiteY1" fmla="*/ 1160 h 18447"/>
                  <a:gd name="connsiteX2" fmla="*/ 17157 w 18346"/>
                  <a:gd name="connsiteY2" fmla="*/ 4689 h 18447"/>
                  <a:gd name="connsiteX3" fmla="*/ 13688 w 18346"/>
                  <a:gd name="connsiteY3" fmla="*/ 17248 h 18447"/>
                  <a:gd name="connsiteX4" fmla="*/ 1189 w 18346"/>
                  <a:gd name="connsiteY4" fmla="*/ 1372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7">
                    <a:moveTo>
                      <a:pt x="1189" y="13720"/>
                    </a:moveTo>
                    <a:cubicBezTo>
                      <a:pt x="-1323" y="9294"/>
                      <a:pt x="292" y="3672"/>
                      <a:pt x="4658" y="1160"/>
                    </a:cubicBezTo>
                    <a:cubicBezTo>
                      <a:pt x="9083" y="-1292"/>
                      <a:pt x="14645" y="263"/>
                      <a:pt x="17157" y="4689"/>
                    </a:cubicBezTo>
                    <a:cubicBezTo>
                      <a:pt x="19669" y="9115"/>
                      <a:pt x="18054" y="14737"/>
                      <a:pt x="13688" y="17248"/>
                    </a:cubicBezTo>
                    <a:cubicBezTo>
                      <a:pt x="9263" y="19760"/>
                      <a:pt x="3641" y="18205"/>
                      <a:pt x="1189" y="13720"/>
                    </a:cubicBezTo>
                    <a:close/>
                  </a:path>
                </a:pathLst>
              </a:custGeom>
              <a:grpFill/>
              <a:ln w="5978" cap="flat">
                <a:noFill/>
                <a:prstDash val="solid"/>
                <a:miter/>
              </a:ln>
            </p:spPr>
            <p:txBody>
              <a:bodyPr rtlCol="0" anchor="ctr"/>
              <a:lstStyle/>
              <a:p>
                <a:endParaRPr lang="en-GB"/>
              </a:p>
            </p:txBody>
          </p:sp>
          <p:sp>
            <p:nvSpPr>
              <p:cNvPr id="3069" name="Vrije vorm: vorm 3068">
                <a:extLst>
                  <a:ext uri="{FF2B5EF4-FFF2-40B4-BE49-F238E27FC236}">
                    <a16:creationId xmlns:a16="http://schemas.microsoft.com/office/drawing/2014/main" id="{B961EFF1-49C5-4F6E-A5D1-F8E005BC0E27}"/>
                  </a:ext>
                </a:extLst>
              </p:cNvPr>
              <p:cNvSpPr/>
              <p:nvPr/>
            </p:nvSpPr>
            <p:spPr>
              <a:xfrm>
                <a:off x="5077567" y="1677403"/>
                <a:ext cx="18332" cy="18461"/>
              </a:xfrm>
              <a:custGeom>
                <a:avLst/>
                <a:gdLst>
                  <a:gd name="connsiteX0" fmla="*/ 1162 w 18332"/>
                  <a:gd name="connsiteY0" fmla="*/ 13746 h 18461"/>
                  <a:gd name="connsiteX1" fmla="*/ 13662 w 18332"/>
                  <a:gd name="connsiteY1" fmla="*/ 17275 h 18461"/>
                  <a:gd name="connsiteX2" fmla="*/ 17131 w 18332"/>
                  <a:gd name="connsiteY2" fmla="*/ 4715 h 18461"/>
                  <a:gd name="connsiteX3" fmla="*/ 4631 w 18332"/>
                  <a:gd name="connsiteY3" fmla="*/ 1187 h 18461"/>
                  <a:gd name="connsiteX4" fmla="*/ 1162 w 18332"/>
                  <a:gd name="connsiteY4" fmla="*/ 1374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61">
                    <a:moveTo>
                      <a:pt x="1162" y="13746"/>
                    </a:moveTo>
                    <a:cubicBezTo>
                      <a:pt x="3674" y="18172"/>
                      <a:pt x="9236" y="19787"/>
                      <a:pt x="13662" y="17275"/>
                    </a:cubicBezTo>
                    <a:cubicBezTo>
                      <a:pt x="18088" y="14823"/>
                      <a:pt x="19643" y="9201"/>
                      <a:pt x="17131" y="4715"/>
                    </a:cubicBezTo>
                    <a:cubicBezTo>
                      <a:pt x="14619" y="290"/>
                      <a:pt x="9057" y="-1325"/>
                      <a:pt x="4631" y="1187"/>
                    </a:cubicBezTo>
                    <a:cubicBezTo>
                      <a:pt x="265" y="3699"/>
                      <a:pt x="-1290" y="9261"/>
                      <a:pt x="1162" y="13746"/>
                    </a:cubicBezTo>
                    <a:close/>
                  </a:path>
                </a:pathLst>
              </a:custGeom>
              <a:grpFill/>
              <a:ln w="5978" cap="flat">
                <a:noFill/>
                <a:prstDash val="solid"/>
                <a:miter/>
              </a:ln>
            </p:spPr>
            <p:txBody>
              <a:bodyPr rtlCol="0" anchor="ctr"/>
              <a:lstStyle/>
              <a:p>
                <a:endParaRPr lang="en-GB"/>
              </a:p>
            </p:txBody>
          </p:sp>
        </p:grpSp>
        <p:grpSp>
          <p:nvGrpSpPr>
            <p:cNvPr id="776" name="Graphic 3">
              <a:extLst>
                <a:ext uri="{FF2B5EF4-FFF2-40B4-BE49-F238E27FC236}">
                  <a16:creationId xmlns:a16="http://schemas.microsoft.com/office/drawing/2014/main" id="{2EF093E7-2B97-4CF6-A336-FE1816F49A24}"/>
                </a:ext>
              </a:extLst>
            </p:cNvPr>
            <p:cNvGrpSpPr/>
            <p:nvPr/>
          </p:nvGrpSpPr>
          <p:grpSpPr>
            <a:xfrm>
              <a:off x="6234015" y="5086698"/>
              <a:ext cx="43077" cy="606217"/>
              <a:chOff x="6234015" y="5086698"/>
              <a:chExt cx="43077" cy="606217"/>
            </a:xfrm>
            <a:grpFill/>
          </p:grpSpPr>
          <p:sp>
            <p:nvSpPr>
              <p:cNvPr id="3064" name="Vrije vorm: vorm 3063">
                <a:extLst>
                  <a:ext uri="{FF2B5EF4-FFF2-40B4-BE49-F238E27FC236}">
                    <a16:creationId xmlns:a16="http://schemas.microsoft.com/office/drawing/2014/main" id="{6BD8BCA6-D110-43D6-8551-C0D1B7BF4D74}"/>
                  </a:ext>
                </a:extLst>
              </p:cNvPr>
              <p:cNvSpPr/>
              <p:nvPr/>
            </p:nvSpPr>
            <p:spPr>
              <a:xfrm>
                <a:off x="6241620" y="5095435"/>
                <a:ext cx="27810" cy="588802"/>
              </a:xfrm>
              <a:custGeom>
                <a:avLst/>
                <a:gdLst>
                  <a:gd name="connsiteX0" fmla="*/ 3050 w 27810"/>
                  <a:gd name="connsiteY0" fmla="*/ 0 h 588802"/>
                  <a:gd name="connsiteX1" fmla="*/ 27811 w 27810"/>
                  <a:gd name="connsiteY1" fmla="*/ 588682 h 588802"/>
                  <a:gd name="connsiteX2" fmla="*/ 24760 w 27810"/>
                  <a:gd name="connsiteY2" fmla="*/ 588802 h 588802"/>
                  <a:gd name="connsiteX3" fmla="*/ 0 w 27810"/>
                  <a:gd name="connsiteY3" fmla="*/ 119 h 588802"/>
                </a:gdLst>
                <a:ahLst/>
                <a:cxnLst>
                  <a:cxn ang="0">
                    <a:pos x="connsiteX0" y="connsiteY0"/>
                  </a:cxn>
                  <a:cxn ang="0">
                    <a:pos x="connsiteX1" y="connsiteY1"/>
                  </a:cxn>
                  <a:cxn ang="0">
                    <a:pos x="connsiteX2" y="connsiteY2"/>
                  </a:cxn>
                  <a:cxn ang="0">
                    <a:pos x="connsiteX3" y="connsiteY3"/>
                  </a:cxn>
                </a:cxnLst>
                <a:rect l="l" t="t" r="r" b="b"/>
                <a:pathLst>
                  <a:path w="27810" h="588802">
                    <a:moveTo>
                      <a:pt x="3050" y="0"/>
                    </a:moveTo>
                    <a:lnTo>
                      <a:pt x="27811" y="588682"/>
                    </a:lnTo>
                    <a:lnTo>
                      <a:pt x="24760" y="588802"/>
                    </a:lnTo>
                    <a:lnTo>
                      <a:pt x="0" y="119"/>
                    </a:lnTo>
                    <a:close/>
                  </a:path>
                </a:pathLst>
              </a:custGeom>
              <a:grpFill/>
              <a:ln w="5978" cap="flat">
                <a:noFill/>
                <a:prstDash val="solid"/>
                <a:miter/>
              </a:ln>
            </p:spPr>
            <p:txBody>
              <a:bodyPr rtlCol="0" anchor="ctr"/>
              <a:lstStyle/>
              <a:p>
                <a:endParaRPr lang="en-GB"/>
              </a:p>
            </p:txBody>
          </p:sp>
          <p:sp>
            <p:nvSpPr>
              <p:cNvPr id="3065" name="Vrije vorm: vorm 3064">
                <a:extLst>
                  <a:ext uri="{FF2B5EF4-FFF2-40B4-BE49-F238E27FC236}">
                    <a16:creationId xmlns:a16="http://schemas.microsoft.com/office/drawing/2014/main" id="{4FA23C65-6D2D-418C-9777-959E8F155B5C}"/>
                  </a:ext>
                </a:extLst>
              </p:cNvPr>
              <p:cNvSpPr/>
              <p:nvPr/>
            </p:nvSpPr>
            <p:spPr>
              <a:xfrm>
                <a:off x="6234015" y="5086698"/>
                <a:ext cx="18381" cy="18436"/>
              </a:xfrm>
              <a:custGeom>
                <a:avLst/>
                <a:gdLst>
                  <a:gd name="connsiteX0" fmla="*/ 10 w 18381"/>
                  <a:gd name="connsiteY0" fmla="*/ 9575 h 18436"/>
                  <a:gd name="connsiteX1" fmla="*/ 8802 w 18381"/>
                  <a:gd name="connsiteY1" fmla="*/ 6 h 18436"/>
                  <a:gd name="connsiteX2" fmla="*/ 18371 w 18381"/>
                  <a:gd name="connsiteY2" fmla="*/ 8857 h 18436"/>
                  <a:gd name="connsiteX3" fmla="*/ 9579 w 18381"/>
                  <a:gd name="connsiteY3" fmla="*/ 18427 h 18436"/>
                  <a:gd name="connsiteX4" fmla="*/ 10 w 18381"/>
                  <a:gd name="connsiteY4" fmla="*/ 9575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36">
                    <a:moveTo>
                      <a:pt x="10" y="9575"/>
                    </a:moveTo>
                    <a:cubicBezTo>
                      <a:pt x="-229" y="4491"/>
                      <a:pt x="3718" y="185"/>
                      <a:pt x="8802" y="6"/>
                    </a:cubicBezTo>
                    <a:cubicBezTo>
                      <a:pt x="13885" y="-173"/>
                      <a:pt x="18132" y="3774"/>
                      <a:pt x="18371" y="8857"/>
                    </a:cubicBezTo>
                    <a:cubicBezTo>
                      <a:pt x="18610" y="13941"/>
                      <a:pt x="14663" y="18247"/>
                      <a:pt x="9579" y="18427"/>
                    </a:cubicBezTo>
                    <a:cubicBezTo>
                      <a:pt x="4496" y="18666"/>
                      <a:pt x="190" y="14659"/>
                      <a:pt x="10" y="9575"/>
                    </a:cubicBezTo>
                    <a:close/>
                  </a:path>
                </a:pathLst>
              </a:custGeom>
              <a:grpFill/>
              <a:ln w="5978" cap="flat">
                <a:noFill/>
                <a:prstDash val="solid"/>
                <a:miter/>
              </a:ln>
            </p:spPr>
            <p:txBody>
              <a:bodyPr rtlCol="0" anchor="ctr"/>
              <a:lstStyle/>
              <a:p>
                <a:endParaRPr lang="en-GB"/>
              </a:p>
            </p:txBody>
          </p:sp>
          <p:sp>
            <p:nvSpPr>
              <p:cNvPr id="3066" name="Vrije vorm: vorm 3065">
                <a:extLst>
                  <a:ext uri="{FF2B5EF4-FFF2-40B4-BE49-F238E27FC236}">
                    <a16:creationId xmlns:a16="http://schemas.microsoft.com/office/drawing/2014/main" id="{2C962F7A-FF33-4152-B3C0-34FD30625B27}"/>
                  </a:ext>
                </a:extLst>
              </p:cNvPr>
              <p:cNvSpPr/>
              <p:nvPr/>
            </p:nvSpPr>
            <p:spPr>
              <a:xfrm>
                <a:off x="6258715" y="5674483"/>
                <a:ext cx="18376" cy="18432"/>
              </a:xfrm>
              <a:custGeom>
                <a:avLst/>
                <a:gdLst>
                  <a:gd name="connsiteX0" fmla="*/ 10 w 18376"/>
                  <a:gd name="connsiteY0" fmla="*/ 9575 h 18432"/>
                  <a:gd name="connsiteX1" fmla="*/ 9579 w 18376"/>
                  <a:gd name="connsiteY1" fmla="*/ 18426 h 18432"/>
                  <a:gd name="connsiteX2" fmla="*/ 18371 w 18376"/>
                  <a:gd name="connsiteY2" fmla="*/ 8857 h 18432"/>
                  <a:gd name="connsiteX3" fmla="*/ 8802 w 18376"/>
                  <a:gd name="connsiteY3" fmla="*/ 6 h 18432"/>
                  <a:gd name="connsiteX4" fmla="*/ 10 w 18376"/>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2">
                    <a:moveTo>
                      <a:pt x="10" y="9575"/>
                    </a:moveTo>
                    <a:cubicBezTo>
                      <a:pt x="249" y="14658"/>
                      <a:pt x="4496" y="18606"/>
                      <a:pt x="9579" y="18426"/>
                    </a:cubicBezTo>
                    <a:cubicBezTo>
                      <a:pt x="14663" y="18247"/>
                      <a:pt x="18550" y="13941"/>
                      <a:pt x="18371" y="8857"/>
                    </a:cubicBezTo>
                    <a:cubicBezTo>
                      <a:pt x="18132" y="3774"/>
                      <a:pt x="13885" y="-174"/>
                      <a:pt x="8802" y="6"/>
                    </a:cubicBezTo>
                    <a:cubicBezTo>
                      <a:pt x="3718" y="245"/>
                      <a:pt x="-229" y="4491"/>
                      <a:pt x="10" y="9575"/>
                    </a:cubicBezTo>
                    <a:close/>
                  </a:path>
                </a:pathLst>
              </a:custGeom>
              <a:grpFill/>
              <a:ln w="5978" cap="flat">
                <a:noFill/>
                <a:prstDash val="solid"/>
                <a:miter/>
              </a:ln>
            </p:spPr>
            <p:txBody>
              <a:bodyPr rtlCol="0" anchor="ctr"/>
              <a:lstStyle/>
              <a:p>
                <a:endParaRPr lang="en-GB"/>
              </a:p>
            </p:txBody>
          </p:sp>
        </p:grpSp>
        <p:grpSp>
          <p:nvGrpSpPr>
            <p:cNvPr id="777" name="Graphic 3">
              <a:extLst>
                <a:ext uri="{FF2B5EF4-FFF2-40B4-BE49-F238E27FC236}">
                  <a16:creationId xmlns:a16="http://schemas.microsoft.com/office/drawing/2014/main" id="{245C387E-7307-42C4-BD6B-6E98E3DCCD17}"/>
                </a:ext>
              </a:extLst>
            </p:cNvPr>
            <p:cNvGrpSpPr/>
            <p:nvPr/>
          </p:nvGrpSpPr>
          <p:grpSpPr>
            <a:xfrm>
              <a:off x="6172691" y="5097326"/>
              <a:ext cx="30376" cy="179468"/>
              <a:chOff x="6172691" y="5097326"/>
              <a:chExt cx="30376" cy="179468"/>
            </a:xfrm>
            <a:grpFill/>
          </p:grpSpPr>
          <p:sp>
            <p:nvSpPr>
              <p:cNvPr id="3061" name="Vrije vorm: vorm 3060">
                <a:extLst>
                  <a:ext uri="{FF2B5EF4-FFF2-40B4-BE49-F238E27FC236}">
                    <a16:creationId xmlns:a16="http://schemas.microsoft.com/office/drawing/2014/main" id="{BDAB4BA2-C0E3-42F7-A821-951F188ADF0B}"/>
                  </a:ext>
                </a:extLst>
              </p:cNvPr>
              <p:cNvSpPr/>
              <p:nvPr/>
            </p:nvSpPr>
            <p:spPr>
              <a:xfrm>
                <a:off x="6180258" y="5106021"/>
                <a:ext cx="15191" cy="162077"/>
              </a:xfrm>
              <a:custGeom>
                <a:avLst/>
                <a:gdLst>
                  <a:gd name="connsiteX0" fmla="*/ 3050 w 15191"/>
                  <a:gd name="connsiteY0" fmla="*/ 0 h 162077"/>
                  <a:gd name="connsiteX1" fmla="*/ 15191 w 15191"/>
                  <a:gd name="connsiteY1" fmla="*/ 161838 h 162077"/>
                  <a:gd name="connsiteX2" fmla="*/ 12141 w 15191"/>
                  <a:gd name="connsiteY2" fmla="*/ 162078 h 162077"/>
                  <a:gd name="connsiteX3" fmla="*/ 0 w 15191"/>
                  <a:gd name="connsiteY3" fmla="*/ 180 h 162077"/>
                </a:gdLst>
                <a:ahLst/>
                <a:cxnLst>
                  <a:cxn ang="0">
                    <a:pos x="connsiteX0" y="connsiteY0"/>
                  </a:cxn>
                  <a:cxn ang="0">
                    <a:pos x="connsiteX1" y="connsiteY1"/>
                  </a:cxn>
                  <a:cxn ang="0">
                    <a:pos x="connsiteX2" y="connsiteY2"/>
                  </a:cxn>
                  <a:cxn ang="0">
                    <a:pos x="connsiteX3" y="connsiteY3"/>
                  </a:cxn>
                </a:cxnLst>
                <a:rect l="l" t="t" r="r" b="b"/>
                <a:pathLst>
                  <a:path w="15191" h="162077">
                    <a:moveTo>
                      <a:pt x="3050" y="0"/>
                    </a:moveTo>
                    <a:lnTo>
                      <a:pt x="15191" y="161838"/>
                    </a:lnTo>
                    <a:lnTo>
                      <a:pt x="12141" y="162078"/>
                    </a:lnTo>
                    <a:lnTo>
                      <a:pt x="0" y="180"/>
                    </a:lnTo>
                    <a:close/>
                  </a:path>
                </a:pathLst>
              </a:custGeom>
              <a:grpFill/>
              <a:ln w="5978" cap="flat">
                <a:noFill/>
                <a:prstDash val="solid"/>
                <a:miter/>
              </a:ln>
            </p:spPr>
            <p:txBody>
              <a:bodyPr rtlCol="0" anchor="ctr"/>
              <a:lstStyle/>
              <a:p>
                <a:endParaRPr lang="en-GB"/>
              </a:p>
            </p:txBody>
          </p:sp>
          <p:sp>
            <p:nvSpPr>
              <p:cNvPr id="3062" name="Vrije vorm: vorm 3061">
                <a:extLst>
                  <a:ext uri="{FF2B5EF4-FFF2-40B4-BE49-F238E27FC236}">
                    <a16:creationId xmlns:a16="http://schemas.microsoft.com/office/drawing/2014/main" id="{448BC00F-469B-481E-87EB-BF9799F9FA86}"/>
                  </a:ext>
                </a:extLst>
              </p:cNvPr>
              <p:cNvSpPr/>
              <p:nvPr/>
            </p:nvSpPr>
            <p:spPr>
              <a:xfrm>
                <a:off x="6184780" y="5258327"/>
                <a:ext cx="18288" cy="18467"/>
              </a:xfrm>
              <a:custGeom>
                <a:avLst/>
                <a:gdLst>
                  <a:gd name="connsiteX0" fmla="*/ 18265 w 18288"/>
                  <a:gd name="connsiteY0" fmla="*/ 8576 h 18467"/>
                  <a:gd name="connsiteX1" fmla="*/ 9832 w 18288"/>
                  <a:gd name="connsiteY1" fmla="*/ 18444 h 18467"/>
                  <a:gd name="connsiteX2" fmla="*/ 24 w 18288"/>
                  <a:gd name="connsiteY2" fmla="*/ 9891 h 18467"/>
                  <a:gd name="connsiteX3" fmla="*/ 8457 w 18288"/>
                  <a:gd name="connsiteY3" fmla="*/ 23 h 18467"/>
                  <a:gd name="connsiteX4" fmla="*/ 18265 w 18288"/>
                  <a:gd name="connsiteY4" fmla="*/ 8576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7">
                    <a:moveTo>
                      <a:pt x="18265" y="8576"/>
                    </a:moveTo>
                    <a:cubicBezTo>
                      <a:pt x="18624" y="13659"/>
                      <a:pt x="14856" y="18085"/>
                      <a:pt x="9832" y="18444"/>
                    </a:cubicBezTo>
                    <a:cubicBezTo>
                      <a:pt x="4808" y="18803"/>
                      <a:pt x="382" y="14975"/>
                      <a:pt x="24" y="9891"/>
                    </a:cubicBezTo>
                    <a:cubicBezTo>
                      <a:pt x="-335" y="4808"/>
                      <a:pt x="3433" y="382"/>
                      <a:pt x="8457" y="23"/>
                    </a:cubicBezTo>
                    <a:cubicBezTo>
                      <a:pt x="13480" y="-336"/>
                      <a:pt x="17846" y="3492"/>
                      <a:pt x="18265" y="8576"/>
                    </a:cubicBezTo>
                    <a:close/>
                  </a:path>
                </a:pathLst>
              </a:custGeom>
              <a:grpFill/>
              <a:ln w="5978" cap="flat">
                <a:noFill/>
                <a:prstDash val="solid"/>
                <a:miter/>
              </a:ln>
            </p:spPr>
            <p:txBody>
              <a:bodyPr rtlCol="0" anchor="ctr"/>
              <a:lstStyle/>
              <a:p>
                <a:endParaRPr lang="en-GB"/>
              </a:p>
            </p:txBody>
          </p:sp>
          <p:sp>
            <p:nvSpPr>
              <p:cNvPr id="3063" name="Vrije vorm: vorm 3062">
                <a:extLst>
                  <a:ext uri="{FF2B5EF4-FFF2-40B4-BE49-F238E27FC236}">
                    <a16:creationId xmlns:a16="http://schemas.microsoft.com/office/drawing/2014/main" id="{C8E8A646-2384-4D89-B68C-E2B9804A81E1}"/>
                  </a:ext>
                </a:extLst>
              </p:cNvPr>
              <p:cNvSpPr/>
              <p:nvPr/>
            </p:nvSpPr>
            <p:spPr>
              <a:xfrm>
                <a:off x="6172691" y="5097326"/>
                <a:ext cx="18296" cy="18466"/>
              </a:xfrm>
              <a:custGeom>
                <a:avLst/>
                <a:gdLst>
                  <a:gd name="connsiteX0" fmla="*/ 18272 w 18296"/>
                  <a:gd name="connsiteY0" fmla="*/ 8576 h 18466"/>
                  <a:gd name="connsiteX1" fmla="*/ 8464 w 18296"/>
                  <a:gd name="connsiteY1" fmla="*/ 23 h 18466"/>
                  <a:gd name="connsiteX2" fmla="*/ 31 w 18296"/>
                  <a:gd name="connsiteY2" fmla="*/ 9891 h 18466"/>
                  <a:gd name="connsiteX3" fmla="*/ 9839 w 18296"/>
                  <a:gd name="connsiteY3" fmla="*/ 18444 h 18466"/>
                  <a:gd name="connsiteX4" fmla="*/ 18272 w 18296"/>
                  <a:gd name="connsiteY4" fmla="*/ 857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6">
                    <a:moveTo>
                      <a:pt x="18272" y="8576"/>
                    </a:moveTo>
                    <a:cubicBezTo>
                      <a:pt x="17914" y="3492"/>
                      <a:pt x="13488" y="-336"/>
                      <a:pt x="8464" y="23"/>
                    </a:cubicBezTo>
                    <a:cubicBezTo>
                      <a:pt x="3440" y="382"/>
                      <a:pt x="-387" y="4808"/>
                      <a:pt x="31" y="9891"/>
                    </a:cubicBezTo>
                    <a:cubicBezTo>
                      <a:pt x="390" y="14975"/>
                      <a:pt x="4816" y="18802"/>
                      <a:pt x="9839" y="18444"/>
                    </a:cubicBezTo>
                    <a:cubicBezTo>
                      <a:pt x="14863" y="18085"/>
                      <a:pt x="18631" y="13659"/>
                      <a:pt x="18272" y="8576"/>
                    </a:cubicBezTo>
                    <a:close/>
                  </a:path>
                </a:pathLst>
              </a:custGeom>
              <a:grpFill/>
              <a:ln w="5978" cap="flat">
                <a:noFill/>
                <a:prstDash val="solid"/>
                <a:miter/>
              </a:ln>
            </p:spPr>
            <p:txBody>
              <a:bodyPr rtlCol="0" anchor="ctr"/>
              <a:lstStyle/>
              <a:p>
                <a:endParaRPr lang="en-GB"/>
              </a:p>
            </p:txBody>
          </p:sp>
        </p:grpSp>
        <p:grpSp>
          <p:nvGrpSpPr>
            <p:cNvPr id="778" name="Graphic 3">
              <a:extLst>
                <a:ext uri="{FF2B5EF4-FFF2-40B4-BE49-F238E27FC236}">
                  <a16:creationId xmlns:a16="http://schemas.microsoft.com/office/drawing/2014/main" id="{C344EBC8-42B2-403B-A3CC-5BAA79515C27}"/>
                </a:ext>
              </a:extLst>
            </p:cNvPr>
            <p:cNvGrpSpPr/>
            <p:nvPr/>
          </p:nvGrpSpPr>
          <p:grpSpPr>
            <a:xfrm>
              <a:off x="6280192" y="5492383"/>
              <a:ext cx="18728" cy="21707"/>
              <a:chOff x="6280192" y="5492383"/>
              <a:chExt cx="18728" cy="21707"/>
            </a:xfrm>
            <a:grpFill/>
          </p:grpSpPr>
          <p:sp>
            <p:nvSpPr>
              <p:cNvPr id="3059" name="Vrije vorm: vorm 3058">
                <a:extLst>
                  <a:ext uri="{FF2B5EF4-FFF2-40B4-BE49-F238E27FC236}">
                    <a16:creationId xmlns:a16="http://schemas.microsoft.com/office/drawing/2014/main" id="{CD298977-35FB-4F53-AD38-B0AF4F3F8FB0}"/>
                  </a:ext>
                </a:extLst>
              </p:cNvPr>
              <p:cNvSpPr/>
              <p:nvPr/>
            </p:nvSpPr>
            <p:spPr>
              <a:xfrm>
                <a:off x="6280192" y="5492383"/>
                <a:ext cx="18369" cy="18406"/>
              </a:xfrm>
              <a:custGeom>
                <a:avLst/>
                <a:gdLst>
                  <a:gd name="connsiteX0" fmla="*/ 18305 w 18369"/>
                  <a:gd name="connsiteY0" fmla="*/ 8186 h 18406"/>
                  <a:gd name="connsiteX1" fmla="*/ 10231 w 18369"/>
                  <a:gd name="connsiteY1" fmla="*/ 18354 h 18406"/>
                  <a:gd name="connsiteX2" fmla="*/ 64 w 18369"/>
                  <a:gd name="connsiteY2" fmla="*/ 10220 h 18406"/>
                  <a:gd name="connsiteX3" fmla="*/ 8138 w 18369"/>
                  <a:gd name="connsiteY3" fmla="*/ 53 h 18406"/>
                  <a:gd name="connsiteX4" fmla="*/ 18305 w 18369"/>
                  <a:gd name="connsiteY4" fmla="*/ 81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6">
                    <a:moveTo>
                      <a:pt x="18305" y="8186"/>
                    </a:moveTo>
                    <a:cubicBezTo>
                      <a:pt x="18904" y="13270"/>
                      <a:pt x="15255" y="17815"/>
                      <a:pt x="10231" y="18354"/>
                    </a:cubicBezTo>
                    <a:cubicBezTo>
                      <a:pt x="5208" y="18892"/>
                      <a:pt x="662" y="15244"/>
                      <a:pt x="64" y="10220"/>
                    </a:cubicBezTo>
                    <a:cubicBezTo>
                      <a:pt x="-534" y="5136"/>
                      <a:pt x="3114" y="591"/>
                      <a:pt x="8138" y="53"/>
                    </a:cubicBezTo>
                    <a:cubicBezTo>
                      <a:pt x="13222" y="-486"/>
                      <a:pt x="17767" y="3162"/>
                      <a:pt x="18305" y="8186"/>
                    </a:cubicBezTo>
                    <a:close/>
                  </a:path>
                </a:pathLst>
              </a:custGeom>
              <a:grpFill/>
              <a:ln w="5978" cap="flat">
                <a:noFill/>
                <a:prstDash val="solid"/>
                <a:miter/>
              </a:ln>
            </p:spPr>
            <p:txBody>
              <a:bodyPr rtlCol="0" anchor="ctr"/>
              <a:lstStyle/>
              <a:p>
                <a:endParaRPr lang="en-GB"/>
              </a:p>
            </p:txBody>
          </p:sp>
          <p:sp>
            <p:nvSpPr>
              <p:cNvPr id="3060" name="Vrije vorm: vorm 3059">
                <a:extLst>
                  <a:ext uri="{FF2B5EF4-FFF2-40B4-BE49-F238E27FC236}">
                    <a16:creationId xmlns:a16="http://schemas.microsoft.com/office/drawing/2014/main" id="{400788CD-FAED-41EC-AA3E-E1262335C990}"/>
                  </a:ext>
                </a:extLst>
              </p:cNvPr>
              <p:cNvSpPr/>
              <p:nvPr/>
            </p:nvSpPr>
            <p:spPr>
              <a:xfrm>
                <a:off x="6280551" y="5495661"/>
                <a:ext cx="18369" cy="18429"/>
              </a:xfrm>
              <a:custGeom>
                <a:avLst/>
                <a:gdLst>
                  <a:gd name="connsiteX0" fmla="*/ 18305 w 18369"/>
                  <a:gd name="connsiteY0" fmla="*/ 8198 h 18429"/>
                  <a:gd name="connsiteX1" fmla="*/ 8138 w 18369"/>
                  <a:gd name="connsiteY1" fmla="*/ 64 h 18429"/>
                  <a:gd name="connsiteX2" fmla="*/ 64 w 18369"/>
                  <a:gd name="connsiteY2" fmla="*/ 10232 h 18429"/>
                  <a:gd name="connsiteX3" fmla="*/ 10231 w 18369"/>
                  <a:gd name="connsiteY3" fmla="*/ 18365 h 18429"/>
                  <a:gd name="connsiteX4" fmla="*/ 18305 w 18369"/>
                  <a:gd name="connsiteY4" fmla="*/ 819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29">
                    <a:moveTo>
                      <a:pt x="18305" y="8198"/>
                    </a:moveTo>
                    <a:cubicBezTo>
                      <a:pt x="17707" y="3114"/>
                      <a:pt x="13222" y="-534"/>
                      <a:pt x="8138" y="64"/>
                    </a:cubicBezTo>
                    <a:cubicBezTo>
                      <a:pt x="3114" y="602"/>
                      <a:pt x="-534" y="5148"/>
                      <a:pt x="64" y="10232"/>
                    </a:cubicBezTo>
                    <a:cubicBezTo>
                      <a:pt x="662" y="15315"/>
                      <a:pt x="5148" y="18963"/>
                      <a:pt x="10231" y="18365"/>
                    </a:cubicBezTo>
                    <a:cubicBezTo>
                      <a:pt x="15255" y="17767"/>
                      <a:pt x="18904" y="13222"/>
                      <a:pt x="18305" y="8198"/>
                    </a:cubicBezTo>
                    <a:close/>
                  </a:path>
                </a:pathLst>
              </a:custGeom>
              <a:grpFill/>
              <a:ln w="5978" cap="flat">
                <a:noFill/>
                <a:prstDash val="solid"/>
                <a:miter/>
              </a:ln>
            </p:spPr>
            <p:txBody>
              <a:bodyPr rtlCol="0" anchor="ctr"/>
              <a:lstStyle/>
              <a:p>
                <a:endParaRPr lang="en-GB"/>
              </a:p>
            </p:txBody>
          </p:sp>
        </p:grpSp>
        <p:grpSp>
          <p:nvGrpSpPr>
            <p:cNvPr id="779" name="Graphic 3">
              <a:extLst>
                <a:ext uri="{FF2B5EF4-FFF2-40B4-BE49-F238E27FC236}">
                  <a16:creationId xmlns:a16="http://schemas.microsoft.com/office/drawing/2014/main" id="{C69FAE8D-37E9-4613-AB6B-B1D59FAEDECF}"/>
                </a:ext>
              </a:extLst>
            </p:cNvPr>
            <p:cNvGrpSpPr/>
            <p:nvPr/>
          </p:nvGrpSpPr>
          <p:grpSpPr>
            <a:xfrm>
              <a:off x="4862052" y="1465921"/>
              <a:ext cx="296249" cy="532532"/>
              <a:chOff x="4862052" y="1465921"/>
              <a:chExt cx="296249" cy="532532"/>
            </a:xfrm>
            <a:grpFill/>
          </p:grpSpPr>
          <p:sp>
            <p:nvSpPr>
              <p:cNvPr id="3056" name="Vrije vorm: vorm 3055">
                <a:extLst>
                  <a:ext uri="{FF2B5EF4-FFF2-40B4-BE49-F238E27FC236}">
                    <a16:creationId xmlns:a16="http://schemas.microsoft.com/office/drawing/2014/main" id="{9FBEC59F-7DAB-4B31-9904-B3E713DB3265}"/>
                  </a:ext>
                </a:extLst>
              </p:cNvPr>
              <p:cNvSpPr/>
              <p:nvPr/>
            </p:nvSpPr>
            <p:spPr>
              <a:xfrm>
                <a:off x="4869643" y="1473989"/>
                <a:ext cx="281034" cy="516375"/>
              </a:xfrm>
              <a:custGeom>
                <a:avLst/>
                <a:gdLst>
                  <a:gd name="connsiteX0" fmla="*/ 281034 w 281034"/>
                  <a:gd name="connsiteY0" fmla="*/ 514940 h 516375"/>
                  <a:gd name="connsiteX1" fmla="*/ 278343 w 281034"/>
                  <a:gd name="connsiteY1" fmla="*/ 516375 h 516375"/>
                  <a:gd name="connsiteX2" fmla="*/ 0 w 281034"/>
                  <a:gd name="connsiteY2" fmla="*/ 1435 h 516375"/>
                  <a:gd name="connsiteX3" fmla="*/ 2691 w 281034"/>
                  <a:gd name="connsiteY3" fmla="*/ 0 h 516375"/>
                </a:gdLst>
                <a:ahLst/>
                <a:cxnLst>
                  <a:cxn ang="0">
                    <a:pos x="connsiteX0" y="connsiteY0"/>
                  </a:cxn>
                  <a:cxn ang="0">
                    <a:pos x="connsiteX1" y="connsiteY1"/>
                  </a:cxn>
                  <a:cxn ang="0">
                    <a:pos x="connsiteX2" y="connsiteY2"/>
                  </a:cxn>
                  <a:cxn ang="0">
                    <a:pos x="connsiteX3" y="connsiteY3"/>
                  </a:cxn>
                </a:cxnLst>
                <a:rect l="l" t="t" r="r" b="b"/>
                <a:pathLst>
                  <a:path w="281034" h="516375">
                    <a:moveTo>
                      <a:pt x="281034" y="514940"/>
                    </a:moveTo>
                    <a:lnTo>
                      <a:pt x="278343" y="516375"/>
                    </a:lnTo>
                    <a:lnTo>
                      <a:pt x="0" y="1435"/>
                    </a:lnTo>
                    <a:lnTo>
                      <a:pt x="2691" y="0"/>
                    </a:lnTo>
                    <a:close/>
                  </a:path>
                </a:pathLst>
              </a:custGeom>
              <a:grpFill/>
              <a:ln w="5978" cap="flat">
                <a:noFill/>
                <a:prstDash val="solid"/>
                <a:miter/>
              </a:ln>
            </p:spPr>
            <p:txBody>
              <a:bodyPr rtlCol="0" anchor="ctr"/>
              <a:lstStyle/>
              <a:p>
                <a:endParaRPr lang="en-GB"/>
              </a:p>
            </p:txBody>
          </p:sp>
          <p:sp>
            <p:nvSpPr>
              <p:cNvPr id="3057" name="Vrije vorm: vorm 3056">
                <a:extLst>
                  <a:ext uri="{FF2B5EF4-FFF2-40B4-BE49-F238E27FC236}">
                    <a16:creationId xmlns:a16="http://schemas.microsoft.com/office/drawing/2014/main" id="{60E60014-860B-4609-AD36-738ADD0C48F7}"/>
                  </a:ext>
                </a:extLst>
              </p:cNvPr>
              <p:cNvSpPr/>
              <p:nvPr/>
            </p:nvSpPr>
            <p:spPr>
              <a:xfrm>
                <a:off x="5140003" y="1980024"/>
                <a:ext cx="18298" cy="18429"/>
              </a:xfrm>
              <a:custGeom>
                <a:avLst/>
                <a:gdLst>
                  <a:gd name="connsiteX0" fmla="*/ 17193 w 18298"/>
                  <a:gd name="connsiteY0" fmla="*/ 4838 h 18429"/>
                  <a:gd name="connsiteX1" fmla="*/ 13545 w 18298"/>
                  <a:gd name="connsiteY1" fmla="*/ 17338 h 18429"/>
                  <a:gd name="connsiteX2" fmla="*/ 1105 w 18298"/>
                  <a:gd name="connsiteY2" fmla="*/ 13630 h 18429"/>
                  <a:gd name="connsiteX3" fmla="*/ 4754 w 18298"/>
                  <a:gd name="connsiteY3" fmla="*/ 1130 h 18429"/>
                  <a:gd name="connsiteX4" fmla="*/ 17193 w 18298"/>
                  <a:gd name="connsiteY4" fmla="*/ 483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9">
                    <a:moveTo>
                      <a:pt x="17193" y="4838"/>
                    </a:moveTo>
                    <a:cubicBezTo>
                      <a:pt x="19586" y="9324"/>
                      <a:pt x="17971" y="14886"/>
                      <a:pt x="13545" y="17338"/>
                    </a:cubicBezTo>
                    <a:cubicBezTo>
                      <a:pt x="9119" y="19730"/>
                      <a:pt x="3557" y="18055"/>
                      <a:pt x="1105" y="13630"/>
                    </a:cubicBezTo>
                    <a:cubicBezTo>
                      <a:pt x="-1287" y="9144"/>
                      <a:pt x="328" y="3582"/>
                      <a:pt x="4754" y="1130"/>
                    </a:cubicBezTo>
                    <a:cubicBezTo>
                      <a:pt x="9179" y="-1322"/>
                      <a:pt x="14741" y="352"/>
                      <a:pt x="17193" y="4838"/>
                    </a:cubicBezTo>
                    <a:close/>
                  </a:path>
                </a:pathLst>
              </a:custGeom>
              <a:grpFill/>
              <a:ln w="5978" cap="flat">
                <a:noFill/>
                <a:prstDash val="solid"/>
                <a:miter/>
              </a:ln>
            </p:spPr>
            <p:txBody>
              <a:bodyPr rtlCol="0" anchor="ctr"/>
              <a:lstStyle/>
              <a:p>
                <a:endParaRPr lang="en-GB"/>
              </a:p>
            </p:txBody>
          </p:sp>
          <p:sp>
            <p:nvSpPr>
              <p:cNvPr id="3058" name="Vrije vorm: vorm 3057">
                <a:extLst>
                  <a:ext uri="{FF2B5EF4-FFF2-40B4-BE49-F238E27FC236}">
                    <a16:creationId xmlns:a16="http://schemas.microsoft.com/office/drawing/2014/main" id="{12F21EB9-CA1F-4761-9076-2DD639BC76A3}"/>
                  </a:ext>
                </a:extLst>
              </p:cNvPr>
              <p:cNvSpPr/>
              <p:nvPr/>
            </p:nvSpPr>
            <p:spPr>
              <a:xfrm>
                <a:off x="4862052" y="1465921"/>
                <a:ext cx="18351" cy="18467"/>
              </a:xfrm>
              <a:custGeom>
                <a:avLst/>
                <a:gdLst>
                  <a:gd name="connsiteX0" fmla="*/ 17220 w 18351"/>
                  <a:gd name="connsiteY0" fmla="*/ 4838 h 18467"/>
                  <a:gd name="connsiteX1" fmla="*/ 4780 w 18351"/>
                  <a:gd name="connsiteY1" fmla="*/ 1130 h 18467"/>
                  <a:gd name="connsiteX2" fmla="*/ 1132 w 18351"/>
                  <a:gd name="connsiteY2" fmla="*/ 13630 h 18467"/>
                  <a:gd name="connsiteX3" fmla="*/ 13572 w 18351"/>
                  <a:gd name="connsiteY3" fmla="*/ 17338 h 18467"/>
                  <a:gd name="connsiteX4" fmla="*/ 17220 w 18351"/>
                  <a:gd name="connsiteY4" fmla="*/ 4838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7">
                    <a:moveTo>
                      <a:pt x="17220" y="4838"/>
                    </a:moveTo>
                    <a:cubicBezTo>
                      <a:pt x="14827" y="352"/>
                      <a:pt x="9206" y="-1322"/>
                      <a:pt x="4780" y="1130"/>
                    </a:cubicBezTo>
                    <a:cubicBezTo>
                      <a:pt x="354" y="3522"/>
                      <a:pt x="-1320" y="9144"/>
                      <a:pt x="1132" y="13630"/>
                    </a:cubicBezTo>
                    <a:cubicBezTo>
                      <a:pt x="3524" y="18115"/>
                      <a:pt x="9146" y="19790"/>
                      <a:pt x="13572" y="17338"/>
                    </a:cubicBezTo>
                    <a:cubicBezTo>
                      <a:pt x="17997" y="14886"/>
                      <a:pt x="19672" y="9324"/>
                      <a:pt x="17220" y="4838"/>
                    </a:cubicBezTo>
                    <a:close/>
                  </a:path>
                </a:pathLst>
              </a:custGeom>
              <a:grpFill/>
              <a:ln w="5978" cap="flat">
                <a:noFill/>
                <a:prstDash val="solid"/>
                <a:miter/>
              </a:ln>
            </p:spPr>
            <p:txBody>
              <a:bodyPr rtlCol="0" anchor="ctr"/>
              <a:lstStyle/>
              <a:p>
                <a:endParaRPr lang="en-GB"/>
              </a:p>
            </p:txBody>
          </p:sp>
        </p:grpSp>
        <p:grpSp>
          <p:nvGrpSpPr>
            <p:cNvPr id="780" name="Graphic 3">
              <a:extLst>
                <a:ext uri="{FF2B5EF4-FFF2-40B4-BE49-F238E27FC236}">
                  <a16:creationId xmlns:a16="http://schemas.microsoft.com/office/drawing/2014/main" id="{8954D688-B779-4464-AF1C-93DA2F7A2929}"/>
                </a:ext>
              </a:extLst>
            </p:cNvPr>
            <p:cNvGrpSpPr/>
            <p:nvPr/>
          </p:nvGrpSpPr>
          <p:grpSpPr>
            <a:xfrm>
              <a:off x="6215443" y="5217350"/>
              <a:ext cx="50620" cy="363043"/>
              <a:chOff x="6215443" y="5217350"/>
              <a:chExt cx="50620" cy="363043"/>
            </a:xfrm>
            <a:grpFill/>
          </p:grpSpPr>
          <p:sp>
            <p:nvSpPr>
              <p:cNvPr id="3053" name="Vrije vorm: vorm 3052">
                <a:extLst>
                  <a:ext uri="{FF2B5EF4-FFF2-40B4-BE49-F238E27FC236}">
                    <a16:creationId xmlns:a16="http://schemas.microsoft.com/office/drawing/2014/main" id="{1156A413-9F6F-4C8E-BC94-F6D92B44AB76}"/>
                  </a:ext>
                </a:extLst>
              </p:cNvPr>
              <p:cNvSpPr/>
              <p:nvPr/>
            </p:nvSpPr>
            <p:spPr>
              <a:xfrm>
                <a:off x="6223020" y="5225935"/>
                <a:ext cx="35405" cy="345864"/>
              </a:xfrm>
              <a:custGeom>
                <a:avLst/>
                <a:gdLst>
                  <a:gd name="connsiteX0" fmla="*/ 3050 w 35405"/>
                  <a:gd name="connsiteY0" fmla="*/ 0 h 345864"/>
                  <a:gd name="connsiteX1" fmla="*/ 35406 w 35405"/>
                  <a:gd name="connsiteY1" fmla="*/ 345566 h 345864"/>
                  <a:gd name="connsiteX2" fmla="*/ 32356 w 35405"/>
                  <a:gd name="connsiteY2" fmla="*/ 345865 h 345864"/>
                  <a:gd name="connsiteX3" fmla="*/ 0 w 35405"/>
                  <a:gd name="connsiteY3" fmla="*/ 299 h 345864"/>
                </a:gdLst>
                <a:ahLst/>
                <a:cxnLst>
                  <a:cxn ang="0">
                    <a:pos x="connsiteX0" y="connsiteY0"/>
                  </a:cxn>
                  <a:cxn ang="0">
                    <a:pos x="connsiteX1" y="connsiteY1"/>
                  </a:cxn>
                  <a:cxn ang="0">
                    <a:pos x="connsiteX2" y="connsiteY2"/>
                  </a:cxn>
                  <a:cxn ang="0">
                    <a:pos x="connsiteX3" y="connsiteY3"/>
                  </a:cxn>
                </a:cxnLst>
                <a:rect l="l" t="t" r="r" b="b"/>
                <a:pathLst>
                  <a:path w="35405" h="345864">
                    <a:moveTo>
                      <a:pt x="3050" y="0"/>
                    </a:moveTo>
                    <a:lnTo>
                      <a:pt x="35406" y="345566"/>
                    </a:lnTo>
                    <a:lnTo>
                      <a:pt x="32356" y="345865"/>
                    </a:lnTo>
                    <a:lnTo>
                      <a:pt x="0" y="299"/>
                    </a:lnTo>
                    <a:close/>
                  </a:path>
                </a:pathLst>
              </a:custGeom>
              <a:grpFill/>
              <a:ln w="5978" cap="flat">
                <a:noFill/>
                <a:prstDash val="solid"/>
                <a:miter/>
              </a:ln>
            </p:spPr>
            <p:txBody>
              <a:bodyPr rtlCol="0" anchor="ctr"/>
              <a:lstStyle/>
              <a:p>
                <a:endParaRPr lang="en-GB"/>
              </a:p>
            </p:txBody>
          </p:sp>
          <p:sp>
            <p:nvSpPr>
              <p:cNvPr id="3054" name="Vrije vorm: vorm 3053">
                <a:extLst>
                  <a:ext uri="{FF2B5EF4-FFF2-40B4-BE49-F238E27FC236}">
                    <a16:creationId xmlns:a16="http://schemas.microsoft.com/office/drawing/2014/main" id="{ACEE409D-AF77-4FAB-9CEC-3F05663CACC4}"/>
                  </a:ext>
                </a:extLst>
              </p:cNvPr>
              <p:cNvSpPr/>
              <p:nvPr/>
            </p:nvSpPr>
            <p:spPr>
              <a:xfrm>
                <a:off x="6247739" y="5561959"/>
                <a:ext cx="18324" cy="18433"/>
              </a:xfrm>
              <a:custGeom>
                <a:avLst/>
                <a:gdLst>
                  <a:gd name="connsiteX0" fmla="*/ 18283 w 18324"/>
                  <a:gd name="connsiteY0" fmla="*/ 8405 h 18433"/>
                  <a:gd name="connsiteX1" fmla="*/ 10029 w 18324"/>
                  <a:gd name="connsiteY1" fmla="*/ 18393 h 18433"/>
                  <a:gd name="connsiteX2" fmla="*/ 42 w 18324"/>
                  <a:gd name="connsiteY2" fmla="*/ 10020 h 18433"/>
                  <a:gd name="connsiteX3" fmla="*/ 8295 w 18324"/>
                  <a:gd name="connsiteY3" fmla="*/ 32 h 18433"/>
                  <a:gd name="connsiteX4" fmla="*/ 18283 w 18324"/>
                  <a:gd name="connsiteY4" fmla="*/ 8405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3">
                    <a:moveTo>
                      <a:pt x="18283" y="8405"/>
                    </a:moveTo>
                    <a:cubicBezTo>
                      <a:pt x="18761" y="13489"/>
                      <a:pt x="15053" y="17974"/>
                      <a:pt x="10029" y="18393"/>
                    </a:cubicBezTo>
                    <a:cubicBezTo>
                      <a:pt x="5006" y="18871"/>
                      <a:pt x="520" y="15103"/>
                      <a:pt x="42" y="10020"/>
                    </a:cubicBezTo>
                    <a:cubicBezTo>
                      <a:pt x="-437" y="4936"/>
                      <a:pt x="3271" y="451"/>
                      <a:pt x="8295" y="32"/>
                    </a:cubicBezTo>
                    <a:cubicBezTo>
                      <a:pt x="13319" y="-386"/>
                      <a:pt x="17804" y="3322"/>
                      <a:pt x="18283" y="8405"/>
                    </a:cubicBezTo>
                    <a:close/>
                  </a:path>
                </a:pathLst>
              </a:custGeom>
              <a:grpFill/>
              <a:ln w="5978" cap="flat">
                <a:noFill/>
                <a:prstDash val="solid"/>
                <a:miter/>
              </a:ln>
            </p:spPr>
            <p:txBody>
              <a:bodyPr rtlCol="0" anchor="ctr"/>
              <a:lstStyle/>
              <a:p>
                <a:endParaRPr lang="en-GB"/>
              </a:p>
            </p:txBody>
          </p:sp>
          <p:sp>
            <p:nvSpPr>
              <p:cNvPr id="3055" name="Vrije vorm: vorm 3054">
                <a:extLst>
                  <a:ext uri="{FF2B5EF4-FFF2-40B4-BE49-F238E27FC236}">
                    <a16:creationId xmlns:a16="http://schemas.microsoft.com/office/drawing/2014/main" id="{187BB163-C462-4313-97C8-E1D0AC91E52A}"/>
                  </a:ext>
                </a:extLst>
              </p:cNvPr>
              <p:cNvSpPr/>
              <p:nvPr/>
            </p:nvSpPr>
            <p:spPr>
              <a:xfrm>
                <a:off x="6215443" y="5217350"/>
                <a:ext cx="18324" cy="18425"/>
              </a:xfrm>
              <a:custGeom>
                <a:avLst/>
                <a:gdLst>
                  <a:gd name="connsiteX0" fmla="*/ 18283 w 18324"/>
                  <a:gd name="connsiteY0" fmla="*/ 8405 h 18425"/>
                  <a:gd name="connsiteX1" fmla="*/ 8295 w 18324"/>
                  <a:gd name="connsiteY1" fmla="*/ 32 h 18425"/>
                  <a:gd name="connsiteX2" fmla="*/ 42 w 18324"/>
                  <a:gd name="connsiteY2" fmla="*/ 10020 h 18425"/>
                  <a:gd name="connsiteX3" fmla="*/ 10029 w 18324"/>
                  <a:gd name="connsiteY3" fmla="*/ 18393 h 18425"/>
                  <a:gd name="connsiteX4" fmla="*/ 18283 w 1832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8283" y="8405"/>
                    </a:moveTo>
                    <a:cubicBezTo>
                      <a:pt x="17805" y="3322"/>
                      <a:pt x="13319" y="-386"/>
                      <a:pt x="8295" y="32"/>
                    </a:cubicBezTo>
                    <a:cubicBezTo>
                      <a:pt x="3271" y="511"/>
                      <a:pt x="-437" y="4996"/>
                      <a:pt x="42" y="10020"/>
                    </a:cubicBezTo>
                    <a:cubicBezTo>
                      <a:pt x="520" y="15104"/>
                      <a:pt x="5006" y="18812"/>
                      <a:pt x="10029" y="18393"/>
                    </a:cubicBezTo>
                    <a:cubicBezTo>
                      <a:pt x="15053" y="17915"/>
                      <a:pt x="18761" y="13429"/>
                      <a:pt x="18283" y="8405"/>
                    </a:cubicBezTo>
                    <a:close/>
                  </a:path>
                </a:pathLst>
              </a:custGeom>
              <a:grpFill/>
              <a:ln w="5978" cap="flat">
                <a:noFill/>
                <a:prstDash val="solid"/>
                <a:miter/>
              </a:ln>
            </p:spPr>
            <p:txBody>
              <a:bodyPr rtlCol="0" anchor="ctr"/>
              <a:lstStyle/>
              <a:p>
                <a:endParaRPr lang="en-GB"/>
              </a:p>
            </p:txBody>
          </p:sp>
        </p:grpSp>
        <p:grpSp>
          <p:nvGrpSpPr>
            <p:cNvPr id="781" name="Graphic 3">
              <a:extLst>
                <a:ext uri="{FF2B5EF4-FFF2-40B4-BE49-F238E27FC236}">
                  <a16:creationId xmlns:a16="http://schemas.microsoft.com/office/drawing/2014/main" id="{4E2F3206-399C-4C69-924D-6D864C61ADFC}"/>
                </a:ext>
              </a:extLst>
            </p:cNvPr>
            <p:cNvGrpSpPr/>
            <p:nvPr/>
          </p:nvGrpSpPr>
          <p:grpSpPr>
            <a:xfrm>
              <a:off x="4862488" y="1465657"/>
              <a:ext cx="196987" cy="311556"/>
              <a:chOff x="4862488" y="1465657"/>
              <a:chExt cx="196987" cy="311556"/>
            </a:xfrm>
            <a:grpFill/>
          </p:grpSpPr>
          <p:sp>
            <p:nvSpPr>
              <p:cNvPr id="3050" name="Vrije vorm: vorm 3049">
                <a:extLst>
                  <a:ext uri="{FF2B5EF4-FFF2-40B4-BE49-F238E27FC236}">
                    <a16:creationId xmlns:a16="http://schemas.microsoft.com/office/drawing/2014/main" id="{1D7966B7-7ED7-4DF2-88CF-08389554E546}"/>
                  </a:ext>
                </a:extLst>
              </p:cNvPr>
              <p:cNvSpPr/>
              <p:nvPr/>
            </p:nvSpPr>
            <p:spPr>
              <a:xfrm>
                <a:off x="4870121" y="1473690"/>
                <a:ext cx="181694" cy="295507"/>
              </a:xfrm>
              <a:custGeom>
                <a:avLst/>
                <a:gdLst>
                  <a:gd name="connsiteX0" fmla="*/ 181694 w 181694"/>
                  <a:gd name="connsiteY0" fmla="*/ 293952 h 295507"/>
                  <a:gd name="connsiteX1" fmla="*/ 179123 w 181694"/>
                  <a:gd name="connsiteY1" fmla="*/ 295507 h 295507"/>
                  <a:gd name="connsiteX2" fmla="*/ 0 w 181694"/>
                  <a:gd name="connsiteY2" fmla="*/ 1615 h 295507"/>
                  <a:gd name="connsiteX3" fmla="*/ 2572 w 181694"/>
                  <a:gd name="connsiteY3" fmla="*/ 0 h 295507"/>
                </a:gdLst>
                <a:ahLst/>
                <a:cxnLst>
                  <a:cxn ang="0">
                    <a:pos x="connsiteX0" y="connsiteY0"/>
                  </a:cxn>
                  <a:cxn ang="0">
                    <a:pos x="connsiteX1" y="connsiteY1"/>
                  </a:cxn>
                  <a:cxn ang="0">
                    <a:pos x="connsiteX2" y="connsiteY2"/>
                  </a:cxn>
                  <a:cxn ang="0">
                    <a:pos x="connsiteX3" y="connsiteY3"/>
                  </a:cxn>
                </a:cxnLst>
                <a:rect l="l" t="t" r="r" b="b"/>
                <a:pathLst>
                  <a:path w="181694" h="295507">
                    <a:moveTo>
                      <a:pt x="181694" y="293952"/>
                    </a:moveTo>
                    <a:lnTo>
                      <a:pt x="179123" y="295507"/>
                    </a:lnTo>
                    <a:lnTo>
                      <a:pt x="0" y="1615"/>
                    </a:lnTo>
                    <a:lnTo>
                      <a:pt x="2572" y="0"/>
                    </a:lnTo>
                    <a:close/>
                  </a:path>
                </a:pathLst>
              </a:custGeom>
              <a:grpFill/>
              <a:ln w="5978" cap="flat">
                <a:noFill/>
                <a:prstDash val="solid"/>
                <a:miter/>
              </a:ln>
            </p:spPr>
            <p:txBody>
              <a:bodyPr rtlCol="0" anchor="ctr"/>
              <a:lstStyle/>
              <a:p>
                <a:endParaRPr lang="en-GB"/>
              </a:p>
            </p:txBody>
          </p:sp>
          <p:sp>
            <p:nvSpPr>
              <p:cNvPr id="3051" name="Vrije vorm: vorm 3050">
                <a:extLst>
                  <a:ext uri="{FF2B5EF4-FFF2-40B4-BE49-F238E27FC236}">
                    <a16:creationId xmlns:a16="http://schemas.microsoft.com/office/drawing/2014/main" id="{9E6FADFC-B843-4F23-A9FC-9B74B0B21056}"/>
                  </a:ext>
                </a:extLst>
              </p:cNvPr>
              <p:cNvSpPr/>
              <p:nvPr/>
            </p:nvSpPr>
            <p:spPr>
              <a:xfrm>
                <a:off x="4862488" y="1465657"/>
                <a:ext cx="18316" cy="18458"/>
              </a:xfrm>
              <a:custGeom>
                <a:avLst/>
                <a:gdLst>
                  <a:gd name="connsiteX0" fmla="*/ 1354 w 18316"/>
                  <a:gd name="connsiteY0" fmla="*/ 14014 h 18458"/>
                  <a:gd name="connsiteX1" fmla="*/ 4344 w 18316"/>
                  <a:gd name="connsiteY1" fmla="*/ 1335 h 18458"/>
                  <a:gd name="connsiteX2" fmla="*/ 16963 w 18316"/>
                  <a:gd name="connsiteY2" fmla="*/ 4445 h 18458"/>
                  <a:gd name="connsiteX3" fmla="*/ 13973 w 18316"/>
                  <a:gd name="connsiteY3" fmla="*/ 17124 h 18458"/>
                  <a:gd name="connsiteX4" fmla="*/ 1354 w 18316"/>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8">
                    <a:moveTo>
                      <a:pt x="1354" y="14014"/>
                    </a:moveTo>
                    <a:cubicBezTo>
                      <a:pt x="-1278" y="9648"/>
                      <a:pt x="38" y="4026"/>
                      <a:pt x="4344" y="1335"/>
                    </a:cubicBezTo>
                    <a:cubicBezTo>
                      <a:pt x="8650" y="-1297"/>
                      <a:pt x="14272" y="79"/>
                      <a:pt x="16963" y="4445"/>
                    </a:cubicBezTo>
                    <a:cubicBezTo>
                      <a:pt x="19595" y="8810"/>
                      <a:pt x="18279" y="14432"/>
                      <a:pt x="13973" y="17124"/>
                    </a:cubicBezTo>
                    <a:cubicBezTo>
                      <a:pt x="9607" y="19755"/>
                      <a:pt x="3985" y="18380"/>
                      <a:pt x="1354" y="14014"/>
                    </a:cubicBezTo>
                    <a:close/>
                  </a:path>
                </a:pathLst>
              </a:custGeom>
              <a:grpFill/>
              <a:ln w="5978" cap="flat">
                <a:noFill/>
                <a:prstDash val="solid"/>
                <a:miter/>
              </a:ln>
            </p:spPr>
            <p:txBody>
              <a:bodyPr rtlCol="0" anchor="ctr"/>
              <a:lstStyle/>
              <a:p>
                <a:endParaRPr lang="en-GB"/>
              </a:p>
            </p:txBody>
          </p:sp>
          <p:sp>
            <p:nvSpPr>
              <p:cNvPr id="3052" name="Vrije vorm: vorm 3051">
                <a:extLst>
                  <a:ext uri="{FF2B5EF4-FFF2-40B4-BE49-F238E27FC236}">
                    <a16:creationId xmlns:a16="http://schemas.microsoft.com/office/drawing/2014/main" id="{8CCDC2FE-F559-4B1F-8B68-59E638231DAE}"/>
                  </a:ext>
                </a:extLst>
              </p:cNvPr>
              <p:cNvSpPr/>
              <p:nvPr/>
            </p:nvSpPr>
            <p:spPr>
              <a:xfrm>
                <a:off x="5041106" y="1758712"/>
                <a:ext cx="18369" cy="18501"/>
              </a:xfrm>
              <a:custGeom>
                <a:avLst/>
                <a:gdLst>
                  <a:gd name="connsiteX0" fmla="*/ 1380 w 18369"/>
                  <a:gd name="connsiteY0" fmla="*/ 14074 h 18501"/>
                  <a:gd name="connsiteX1" fmla="*/ 14000 w 18369"/>
                  <a:gd name="connsiteY1" fmla="*/ 17124 h 18501"/>
                  <a:gd name="connsiteX2" fmla="*/ 16990 w 18369"/>
                  <a:gd name="connsiteY2" fmla="*/ 4445 h 18501"/>
                  <a:gd name="connsiteX3" fmla="*/ 4370 w 18369"/>
                  <a:gd name="connsiteY3" fmla="*/ 1335 h 18501"/>
                  <a:gd name="connsiteX4" fmla="*/ 1380 w 18369"/>
                  <a:gd name="connsiteY4" fmla="*/ 14074 h 18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501">
                    <a:moveTo>
                      <a:pt x="1380" y="14074"/>
                    </a:moveTo>
                    <a:cubicBezTo>
                      <a:pt x="4012" y="18439"/>
                      <a:pt x="9693" y="19815"/>
                      <a:pt x="14000" y="17124"/>
                    </a:cubicBezTo>
                    <a:cubicBezTo>
                      <a:pt x="18306" y="14492"/>
                      <a:pt x="19681" y="8810"/>
                      <a:pt x="16990" y="4445"/>
                    </a:cubicBezTo>
                    <a:cubicBezTo>
                      <a:pt x="14359" y="79"/>
                      <a:pt x="8677" y="-1297"/>
                      <a:pt x="4370" y="1335"/>
                    </a:cubicBezTo>
                    <a:cubicBezTo>
                      <a:pt x="64" y="4086"/>
                      <a:pt x="-1311" y="9767"/>
                      <a:pt x="1380" y="14074"/>
                    </a:cubicBezTo>
                    <a:close/>
                  </a:path>
                </a:pathLst>
              </a:custGeom>
              <a:grpFill/>
              <a:ln w="5978" cap="flat">
                <a:noFill/>
                <a:prstDash val="solid"/>
                <a:miter/>
              </a:ln>
            </p:spPr>
            <p:txBody>
              <a:bodyPr rtlCol="0" anchor="ctr"/>
              <a:lstStyle/>
              <a:p>
                <a:endParaRPr lang="en-GB"/>
              </a:p>
            </p:txBody>
          </p:sp>
        </p:grpSp>
        <p:grpSp>
          <p:nvGrpSpPr>
            <p:cNvPr id="782" name="Graphic 3">
              <a:extLst>
                <a:ext uri="{FF2B5EF4-FFF2-40B4-BE49-F238E27FC236}">
                  <a16:creationId xmlns:a16="http://schemas.microsoft.com/office/drawing/2014/main" id="{A46E740B-4F69-44E3-A4F2-4A59F2F3CD51}"/>
                </a:ext>
              </a:extLst>
            </p:cNvPr>
            <p:cNvGrpSpPr/>
            <p:nvPr/>
          </p:nvGrpSpPr>
          <p:grpSpPr>
            <a:xfrm>
              <a:off x="6185019" y="5262101"/>
              <a:ext cx="19424" cy="33053"/>
              <a:chOff x="6185019" y="5262101"/>
              <a:chExt cx="19424" cy="33053"/>
            </a:xfrm>
            <a:grpFill/>
          </p:grpSpPr>
          <p:sp>
            <p:nvSpPr>
              <p:cNvPr id="3048" name="Vrije vorm: vorm 3047">
                <a:extLst>
                  <a:ext uri="{FF2B5EF4-FFF2-40B4-BE49-F238E27FC236}">
                    <a16:creationId xmlns:a16="http://schemas.microsoft.com/office/drawing/2014/main" id="{055502E6-589A-4F8C-AAA0-31590621F637}"/>
                  </a:ext>
                </a:extLst>
              </p:cNvPr>
              <p:cNvSpPr/>
              <p:nvPr/>
            </p:nvSpPr>
            <p:spPr>
              <a:xfrm>
                <a:off x="6185019" y="5262101"/>
                <a:ext cx="18288" cy="18460"/>
              </a:xfrm>
              <a:custGeom>
                <a:avLst/>
                <a:gdLst>
                  <a:gd name="connsiteX0" fmla="*/ 18265 w 18288"/>
                  <a:gd name="connsiteY0" fmla="*/ 8569 h 18460"/>
                  <a:gd name="connsiteX1" fmla="*/ 9832 w 18288"/>
                  <a:gd name="connsiteY1" fmla="*/ 18437 h 18460"/>
                  <a:gd name="connsiteX2" fmla="*/ 24 w 18288"/>
                  <a:gd name="connsiteY2" fmla="*/ 9885 h 18460"/>
                  <a:gd name="connsiteX3" fmla="*/ 8456 w 18288"/>
                  <a:gd name="connsiteY3" fmla="*/ 17 h 18460"/>
                  <a:gd name="connsiteX4" fmla="*/ 18265 w 18288"/>
                  <a:gd name="connsiteY4" fmla="*/ 8569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0">
                    <a:moveTo>
                      <a:pt x="18265" y="8569"/>
                    </a:moveTo>
                    <a:cubicBezTo>
                      <a:pt x="18624" y="13652"/>
                      <a:pt x="14856" y="18078"/>
                      <a:pt x="9832" y="18437"/>
                    </a:cubicBezTo>
                    <a:cubicBezTo>
                      <a:pt x="4808" y="18796"/>
                      <a:pt x="382" y="14968"/>
                      <a:pt x="24" y="9885"/>
                    </a:cubicBezTo>
                    <a:cubicBezTo>
                      <a:pt x="-335" y="4801"/>
                      <a:pt x="3433" y="375"/>
                      <a:pt x="8456" y="17"/>
                    </a:cubicBezTo>
                    <a:cubicBezTo>
                      <a:pt x="13480" y="-282"/>
                      <a:pt x="17906" y="3486"/>
                      <a:pt x="18265" y="8569"/>
                    </a:cubicBezTo>
                    <a:close/>
                  </a:path>
                </a:pathLst>
              </a:custGeom>
              <a:grpFill/>
              <a:ln w="5978" cap="flat">
                <a:noFill/>
                <a:prstDash val="solid"/>
                <a:miter/>
              </a:ln>
            </p:spPr>
            <p:txBody>
              <a:bodyPr rtlCol="0" anchor="ctr"/>
              <a:lstStyle/>
              <a:p>
                <a:endParaRPr lang="en-GB"/>
              </a:p>
            </p:txBody>
          </p:sp>
          <p:sp>
            <p:nvSpPr>
              <p:cNvPr id="3049" name="Vrije vorm: vorm 3048">
                <a:extLst>
                  <a:ext uri="{FF2B5EF4-FFF2-40B4-BE49-F238E27FC236}">
                    <a16:creationId xmlns:a16="http://schemas.microsoft.com/office/drawing/2014/main" id="{05997F10-B885-47F3-B2D2-EFAB32E6F27A}"/>
                  </a:ext>
                </a:extLst>
              </p:cNvPr>
              <p:cNvSpPr/>
              <p:nvPr/>
            </p:nvSpPr>
            <p:spPr>
              <a:xfrm>
                <a:off x="6186148" y="5276688"/>
                <a:ext cx="18296" cy="18467"/>
              </a:xfrm>
              <a:custGeom>
                <a:avLst/>
                <a:gdLst>
                  <a:gd name="connsiteX0" fmla="*/ 18272 w 18296"/>
                  <a:gd name="connsiteY0" fmla="*/ 8576 h 18467"/>
                  <a:gd name="connsiteX1" fmla="*/ 8464 w 18296"/>
                  <a:gd name="connsiteY1" fmla="*/ 23 h 18467"/>
                  <a:gd name="connsiteX2" fmla="*/ 31 w 18296"/>
                  <a:gd name="connsiteY2" fmla="*/ 9891 h 18467"/>
                  <a:gd name="connsiteX3" fmla="*/ 9839 w 18296"/>
                  <a:gd name="connsiteY3" fmla="*/ 18444 h 18467"/>
                  <a:gd name="connsiteX4" fmla="*/ 18272 w 18296"/>
                  <a:gd name="connsiteY4" fmla="*/ 8576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7">
                    <a:moveTo>
                      <a:pt x="18272" y="8576"/>
                    </a:moveTo>
                    <a:cubicBezTo>
                      <a:pt x="17914" y="3492"/>
                      <a:pt x="13488" y="-336"/>
                      <a:pt x="8464" y="23"/>
                    </a:cubicBezTo>
                    <a:cubicBezTo>
                      <a:pt x="3440" y="382"/>
                      <a:pt x="-387" y="4808"/>
                      <a:pt x="31" y="9891"/>
                    </a:cubicBezTo>
                    <a:cubicBezTo>
                      <a:pt x="390" y="14975"/>
                      <a:pt x="4816" y="18803"/>
                      <a:pt x="9839" y="18444"/>
                    </a:cubicBezTo>
                    <a:cubicBezTo>
                      <a:pt x="14863" y="18025"/>
                      <a:pt x="18631" y="13659"/>
                      <a:pt x="18272" y="8576"/>
                    </a:cubicBezTo>
                    <a:close/>
                  </a:path>
                </a:pathLst>
              </a:custGeom>
              <a:grpFill/>
              <a:ln w="5978" cap="flat">
                <a:noFill/>
                <a:prstDash val="solid"/>
                <a:miter/>
              </a:ln>
            </p:spPr>
            <p:txBody>
              <a:bodyPr rtlCol="0" anchor="ctr"/>
              <a:lstStyle/>
              <a:p>
                <a:endParaRPr lang="en-GB"/>
              </a:p>
            </p:txBody>
          </p:sp>
        </p:grpSp>
        <p:grpSp>
          <p:nvGrpSpPr>
            <p:cNvPr id="783" name="Graphic 3">
              <a:extLst>
                <a:ext uri="{FF2B5EF4-FFF2-40B4-BE49-F238E27FC236}">
                  <a16:creationId xmlns:a16="http://schemas.microsoft.com/office/drawing/2014/main" id="{B8268366-ED2E-4AB0-86C4-8CF217DF491F}"/>
                </a:ext>
              </a:extLst>
            </p:cNvPr>
            <p:cNvGrpSpPr/>
            <p:nvPr/>
          </p:nvGrpSpPr>
          <p:grpSpPr>
            <a:xfrm>
              <a:off x="4946389" y="1745426"/>
              <a:ext cx="189624" cy="277415"/>
              <a:chOff x="4946389" y="1745426"/>
              <a:chExt cx="189624" cy="277415"/>
            </a:xfrm>
            <a:grpFill/>
          </p:grpSpPr>
          <p:sp>
            <p:nvSpPr>
              <p:cNvPr id="3045" name="Vrije vorm: vorm 3044">
                <a:extLst>
                  <a:ext uri="{FF2B5EF4-FFF2-40B4-BE49-F238E27FC236}">
                    <a16:creationId xmlns:a16="http://schemas.microsoft.com/office/drawing/2014/main" id="{5A969D4A-22F3-4E5B-BF02-4CD7F3FF7C4B}"/>
                  </a:ext>
                </a:extLst>
              </p:cNvPr>
              <p:cNvSpPr/>
              <p:nvPr/>
            </p:nvSpPr>
            <p:spPr>
              <a:xfrm>
                <a:off x="4954031" y="1753348"/>
                <a:ext cx="174397" cy="261477"/>
              </a:xfrm>
              <a:custGeom>
                <a:avLst/>
                <a:gdLst>
                  <a:gd name="connsiteX0" fmla="*/ 174398 w 174397"/>
                  <a:gd name="connsiteY0" fmla="*/ 259803 h 261477"/>
                  <a:gd name="connsiteX1" fmla="*/ 171826 w 174397"/>
                  <a:gd name="connsiteY1" fmla="*/ 261477 h 261477"/>
                  <a:gd name="connsiteX2" fmla="*/ 0 w 174397"/>
                  <a:gd name="connsiteY2" fmla="*/ 1675 h 261477"/>
                  <a:gd name="connsiteX3" fmla="*/ 2572 w 174397"/>
                  <a:gd name="connsiteY3" fmla="*/ 0 h 261477"/>
                </a:gdLst>
                <a:ahLst/>
                <a:cxnLst>
                  <a:cxn ang="0">
                    <a:pos x="connsiteX0" y="connsiteY0"/>
                  </a:cxn>
                  <a:cxn ang="0">
                    <a:pos x="connsiteX1" y="connsiteY1"/>
                  </a:cxn>
                  <a:cxn ang="0">
                    <a:pos x="connsiteX2" y="connsiteY2"/>
                  </a:cxn>
                  <a:cxn ang="0">
                    <a:pos x="connsiteX3" y="connsiteY3"/>
                  </a:cxn>
                </a:cxnLst>
                <a:rect l="l" t="t" r="r" b="b"/>
                <a:pathLst>
                  <a:path w="174397" h="261477">
                    <a:moveTo>
                      <a:pt x="174398" y="259803"/>
                    </a:moveTo>
                    <a:lnTo>
                      <a:pt x="171826" y="261477"/>
                    </a:lnTo>
                    <a:lnTo>
                      <a:pt x="0" y="1675"/>
                    </a:lnTo>
                    <a:lnTo>
                      <a:pt x="2572" y="0"/>
                    </a:lnTo>
                    <a:close/>
                  </a:path>
                </a:pathLst>
              </a:custGeom>
              <a:grpFill/>
              <a:ln w="5978" cap="flat">
                <a:noFill/>
                <a:prstDash val="solid"/>
                <a:miter/>
              </a:ln>
            </p:spPr>
            <p:txBody>
              <a:bodyPr rtlCol="0" anchor="ctr"/>
              <a:lstStyle/>
              <a:p>
                <a:endParaRPr lang="en-GB"/>
              </a:p>
            </p:txBody>
          </p:sp>
          <p:sp>
            <p:nvSpPr>
              <p:cNvPr id="3046" name="Vrije vorm: vorm 3045">
                <a:extLst>
                  <a:ext uri="{FF2B5EF4-FFF2-40B4-BE49-F238E27FC236}">
                    <a16:creationId xmlns:a16="http://schemas.microsoft.com/office/drawing/2014/main" id="{C3822F07-038A-4FDF-A482-5B64610E9089}"/>
                  </a:ext>
                </a:extLst>
              </p:cNvPr>
              <p:cNvSpPr/>
              <p:nvPr/>
            </p:nvSpPr>
            <p:spPr>
              <a:xfrm>
                <a:off x="4946389" y="1745426"/>
                <a:ext cx="18393" cy="18390"/>
              </a:xfrm>
              <a:custGeom>
                <a:avLst/>
                <a:gdLst>
                  <a:gd name="connsiteX0" fmla="*/ 1541 w 18393"/>
                  <a:gd name="connsiteY0" fmla="*/ 14262 h 18390"/>
                  <a:gd name="connsiteX1" fmla="*/ 4113 w 18393"/>
                  <a:gd name="connsiteY1" fmla="*/ 1523 h 18390"/>
                  <a:gd name="connsiteX2" fmla="*/ 16852 w 18393"/>
                  <a:gd name="connsiteY2" fmla="*/ 4155 h 18390"/>
                  <a:gd name="connsiteX3" fmla="*/ 14280 w 18393"/>
                  <a:gd name="connsiteY3" fmla="*/ 16894 h 18390"/>
                  <a:gd name="connsiteX4" fmla="*/ 1541 w 1839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3" h="18390">
                    <a:moveTo>
                      <a:pt x="1541" y="14262"/>
                    </a:moveTo>
                    <a:cubicBezTo>
                      <a:pt x="-1269" y="10016"/>
                      <a:pt x="-133" y="4274"/>
                      <a:pt x="4113" y="1523"/>
                    </a:cubicBezTo>
                    <a:cubicBezTo>
                      <a:pt x="8300" y="-1288"/>
                      <a:pt x="14041" y="-92"/>
                      <a:pt x="16852" y="4155"/>
                    </a:cubicBezTo>
                    <a:cubicBezTo>
                      <a:pt x="19663" y="8401"/>
                      <a:pt x="18527" y="14142"/>
                      <a:pt x="14280" y="16894"/>
                    </a:cubicBezTo>
                    <a:cubicBezTo>
                      <a:pt x="10034" y="19645"/>
                      <a:pt x="4352" y="18508"/>
                      <a:pt x="1541" y="14262"/>
                    </a:cubicBezTo>
                    <a:close/>
                  </a:path>
                </a:pathLst>
              </a:custGeom>
              <a:grpFill/>
              <a:ln w="5978" cap="flat">
                <a:noFill/>
                <a:prstDash val="solid"/>
                <a:miter/>
              </a:ln>
            </p:spPr>
            <p:txBody>
              <a:bodyPr rtlCol="0" anchor="ctr"/>
              <a:lstStyle/>
              <a:p>
                <a:endParaRPr lang="en-GB"/>
              </a:p>
            </p:txBody>
          </p:sp>
          <p:sp>
            <p:nvSpPr>
              <p:cNvPr id="3047" name="Vrije vorm: vorm 3046">
                <a:extLst>
                  <a:ext uri="{FF2B5EF4-FFF2-40B4-BE49-F238E27FC236}">
                    <a16:creationId xmlns:a16="http://schemas.microsoft.com/office/drawing/2014/main" id="{6EA816E0-4189-410C-9457-ECDD228563E2}"/>
                  </a:ext>
                </a:extLst>
              </p:cNvPr>
              <p:cNvSpPr/>
              <p:nvPr/>
            </p:nvSpPr>
            <p:spPr>
              <a:xfrm>
                <a:off x="5117731" y="2004451"/>
                <a:ext cx="18283" cy="18390"/>
              </a:xfrm>
              <a:custGeom>
                <a:avLst/>
                <a:gdLst>
                  <a:gd name="connsiteX0" fmla="*/ 1548 w 18283"/>
                  <a:gd name="connsiteY0" fmla="*/ 14262 h 18390"/>
                  <a:gd name="connsiteX1" fmla="*/ 14227 w 18283"/>
                  <a:gd name="connsiteY1" fmla="*/ 16893 h 18390"/>
                  <a:gd name="connsiteX2" fmla="*/ 16739 w 18283"/>
                  <a:gd name="connsiteY2" fmla="*/ 4155 h 18390"/>
                  <a:gd name="connsiteX3" fmla="*/ 4000 w 18283"/>
                  <a:gd name="connsiteY3" fmla="*/ 1523 h 18390"/>
                  <a:gd name="connsiteX4" fmla="*/ 1548 w 1828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390">
                    <a:moveTo>
                      <a:pt x="1548" y="14262"/>
                    </a:moveTo>
                    <a:cubicBezTo>
                      <a:pt x="4358" y="18508"/>
                      <a:pt x="10040" y="19645"/>
                      <a:pt x="14227" y="16893"/>
                    </a:cubicBezTo>
                    <a:cubicBezTo>
                      <a:pt x="18413" y="14083"/>
                      <a:pt x="19550" y="8401"/>
                      <a:pt x="16739" y="4155"/>
                    </a:cubicBezTo>
                    <a:cubicBezTo>
                      <a:pt x="13928" y="-92"/>
                      <a:pt x="8246" y="-1288"/>
                      <a:pt x="4000" y="1523"/>
                    </a:cubicBezTo>
                    <a:cubicBezTo>
                      <a:pt x="-127" y="4274"/>
                      <a:pt x="-1263" y="10016"/>
                      <a:pt x="1548" y="14262"/>
                    </a:cubicBezTo>
                    <a:close/>
                  </a:path>
                </a:pathLst>
              </a:custGeom>
              <a:grpFill/>
              <a:ln w="5978" cap="flat">
                <a:noFill/>
                <a:prstDash val="solid"/>
                <a:miter/>
              </a:ln>
            </p:spPr>
            <p:txBody>
              <a:bodyPr rtlCol="0" anchor="ctr"/>
              <a:lstStyle/>
              <a:p>
                <a:endParaRPr lang="en-GB"/>
              </a:p>
            </p:txBody>
          </p:sp>
        </p:grpSp>
        <p:grpSp>
          <p:nvGrpSpPr>
            <p:cNvPr id="784" name="Graphic 3">
              <a:extLst>
                <a:ext uri="{FF2B5EF4-FFF2-40B4-BE49-F238E27FC236}">
                  <a16:creationId xmlns:a16="http://schemas.microsoft.com/office/drawing/2014/main" id="{031C8761-9986-4DC4-8460-0FF25BB29925}"/>
                </a:ext>
              </a:extLst>
            </p:cNvPr>
            <p:cNvGrpSpPr/>
            <p:nvPr/>
          </p:nvGrpSpPr>
          <p:grpSpPr>
            <a:xfrm>
              <a:off x="6141128" y="5096681"/>
              <a:ext cx="26108" cy="156177"/>
              <a:chOff x="6141128" y="5096681"/>
              <a:chExt cx="26108" cy="156177"/>
            </a:xfrm>
            <a:grpFill/>
          </p:grpSpPr>
          <p:sp>
            <p:nvSpPr>
              <p:cNvPr id="3042" name="Vrije vorm: vorm 3041">
                <a:extLst>
                  <a:ext uri="{FF2B5EF4-FFF2-40B4-BE49-F238E27FC236}">
                    <a16:creationId xmlns:a16="http://schemas.microsoft.com/office/drawing/2014/main" id="{A549D874-5F44-4698-AD2E-CEFB54F72034}"/>
                  </a:ext>
                </a:extLst>
              </p:cNvPr>
              <p:cNvSpPr/>
              <p:nvPr/>
            </p:nvSpPr>
            <p:spPr>
              <a:xfrm>
                <a:off x="6148740" y="5105363"/>
                <a:ext cx="10884" cy="138812"/>
              </a:xfrm>
              <a:custGeom>
                <a:avLst/>
                <a:gdLst>
                  <a:gd name="connsiteX0" fmla="*/ 3050 w 10884"/>
                  <a:gd name="connsiteY0" fmla="*/ 0 h 138812"/>
                  <a:gd name="connsiteX1" fmla="*/ 10885 w 10884"/>
                  <a:gd name="connsiteY1" fmla="*/ 138633 h 138812"/>
                  <a:gd name="connsiteX2" fmla="*/ 7835 w 10884"/>
                  <a:gd name="connsiteY2" fmla="*/ 138813 h 138812"/>
                  <a:gd name="connsiteX3" fmla="*/ 0 w 10884"/>
                  <a:gd name="connsiteY3" fmla="*/ 120 h 138812"/>
                </a:gdLst>
                <a:ahLst/>
                <a:cxnLst>
                  <a:cxn ang="0">
                    <a:pos x="connsiteX0" y="connsiteY0"/>
                  </a:cxn>
                  <a:cxn ang="0">
                    <a:pos x="connsiteX1" y="connsiteY1"/>
                  </a:cxn>
                  <a:cxn ang="0">
                    <a:pos x="connsiteX2" y="connsiteY2"/>
                  </a:cxn>
                  <a:cxn ang="0">
                    <a:pos x="connsiteX3" y="connsiteY3"/>
                  </a:cxn>
                </a:cxnLst>
                <a:rect l="l" t="t" r="r" b="b"/>
                <a:pathLst>
                  <a:path w="10884" h="138812">
                    <a:moveTo>
                      <a:pt x="3050" y="0"/>
                    </a:moveTo>
                    <a:lnTo>
                      <a:pt x="10885" y="138633"/>
                    </a:lnTo>
                    <a:lnTo>
                      <a:pt x="7835" y="138813"/>
                    </a:lnTo>
                    <a:lnTo>
                      <a:pt x="0" y="120"/>
                    </a:lnTo>
                    <a:close/>
                  </a:path>
                </a:pathLst>
              </a:custGeom>
              <a:grpFill/>
              <a:ln w="5978" cap="flat">
                <a:noFill/>
                <a:prstDash val="solid"/>
                <a:miter/>
              </a:ln>
            </p:spPr>
            <p:txBody>
              <a:bodyPr rtlCol="0" anchor="ctr"/>
              <a:lstStyle/>
              <a:p>
                <a:endParaRPr lang="en-GB"/>
              </a:p>
            </p:txBody>
          </p:sp>
          <p:sp>
            <p:nvSpPr>
              <p:cNvPr id="3043" name="Vrije vorm: vorm 3042">
                <a:extLst>
                  <a:ext uri="{FF2B5EF4-FFF2-40B4-BE49-F238E27FC236}">
                    <a16:creationId xmlns:a16="http://schemas.microsoft.com/office/drawing/2014/main" id="{BC841D6C-0F62-432A-B404-6D88A23FB62E}"/>
                  </a:ext>
                </a:extLst>
              </p:cNvPr>
              <p:cNvSpPr/>
              <p:nvPr/>
            </p:nvSpPr>
            <p:spPr>
              <a:xfrm>
                <a:off x="6148903" y="5234411"/>
                <a:ext cx="18333" cy="18447"/>
              </a:xfrm>
              <a:custGeom>
                <a:avLst/>
                <a:gdLst>
                  <a:gd name="connsiteX0" fmla="*/ 18317 w 18333"/>
                  <a:gd name="connsiteY0" fmla="*/ 8748 h 18447"/>
                  <a:gd name="connsiteX1" fmla="*/ 9705 w 18333"/>
                  <a:gd name="connsiteY1" fmla="*/ 18437 h 18447"/>
                  <a:gd name="connsiteX2" fmla="*/ 16 w 18333"/>
                  <a:gd name="connsiteY2" fmla="*/ 9705 h 18447"/>
                  <a:gd name="connsiteX3" fmla="*/ 8628 w 18333"/>
                  <a:gd name="connsiteY3" fmla="*/ 16 h 18447"/>
                  <a:gd name="connsiteX4" fmla="*/ 18317 w 18333"/>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8748"/>
                    </a:moveTo>
                    <a:cubicBezTo>
                      <a:pt x="18616" y="13831"/>
                      <a:pt x="14729" y="18137"/>
                      <a:pt x="9705" y="18437"/>
                    </a:cubicBezTo>
                    <a:cubicBezTo>
                      <a:pt x="4681" y="18676"/>
                      <a:pt x="315" y="14788"/>
                      <a:pt x="16" y="9705"/>
                    </a:cubicBezTo>
                    <a:cubicBezTo>
                      <a:pt x="-283" y="4621"/>
                      <a:pt x="3605" y="315"/>
                      <a:pt x="8628" y="16"/>
                    </a:cubicBezTo>
                    <a:cubicBezTo>
                      <a:pt x="13652" y="-283"/>
                      <a:pt x="18018" y="3664"/>
                      <a:pt x="18317" y="8748"/>
                    </a:cubicBezTo>
                    <a:close/>
                  </a:path>
                </a:pathLst>
              </a:custGeom>
              <a:grpFill/>
              <a:ln w="5978" cap="flat">
                <a:noFill/>
                <a:prstDash val="solid"/>
                <a:miter/>
              </a:ln>
            </p:spPr>
            <p:txBody>
              <a:bodyPr rtlCol="0" anchor="ctr"/>
              <a:lstStyle/>
              <a:p>
                <a:endParaRPr lang="en-GB"/>
              </a:p>
            </p:txBody>
          </p:sp>
          <p:sp>
            <p:nvSpPr>
              <p:cNvPr id="3044" name="Vrije vorm: vorm 3043">
                <a:extLst>
                  <a:ext uri="{FF2B5EF4-FFF2-40B4-BE49-F238E27FC236}">
                    <a16:creationId xmlns:a16="http://schemas.microsoft.com/office/drawing/2014/main" id="{1618C909-4930-46B2-8834-7538AD6B16CD}"/>
                  </a:ext>
                </a:extLst>
              </p:cNvPr>
              <p:cNvSpPr/>
              <p:nvPr/>
            </p:nvSpPr>
            <p:spPr>
              <a:xfrm>
                <a:off x="6141128" y="5096681"/>
                <a:ext cx="18333" cy="18441"/>
              </a:xfrm>
              <a:custGeom>
                <a:avLst/>
                <a:gdLst>
                  <a:gd name="connsiteX0" fmla="*/ 18317 w 18333"/>
                  <a:gd name="connsiteY0" fmla="*/ 8742 h 18441"/>
                  <a:gd name="connsiteX1" fmla="*/ 8628 w 18333"/>
                  <a:gd name="connsiteY1" fmla="*/ 10 h 18441"/>
                  <a:gd name="connsiteX2" fmla="*/ 16 w 18333"/>
                  <a:gd name="connsiteY2" fmla="*/ 9699 h 18441"/>
                  <a:gd name="connsiteX3" fmla="*/ 9705 w 18333"/>
                  <a:gd name="connsiteY3" fmla="*/ 18431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018" y="3659"/>
                      <a:pt x="13712" y="-229"/>
                      <a:pt x="8628" y="10"/>
                    </a:cubicBezTo>
                    <a:cubicBezTo>
                      <a:pt x="3604" y="250"/>
                      <a:pt x="-283" y="4616"/>
                      <a:pt x="16" y="9699"/>
                    </a:cubicBezTo>
                    <a:cubicBezTo>
                      <a:pt x="315" y="14783"/>
                      <a:pt x="4621" y="18670"/>
                      <a:pt x="9705" y="18431"/>
                    </a:cubicBezTo>
                    <a:cubicBezTo>
                      <a:pt x="14729" y="18132"/>
                      <a:pt x="18616" y="13766"/>
                      <a:pt x="18317" y="8742"/>
                    </a:cubicBezTo>
                    <a:close/>
                  </a:path>
                </a:pathLst>
              </a:custGeom>
              <a:grpFill/>
              <a:ln w="5978" cap="flat">
                <a:noFill/>
                <a:prstDash val="solid"/>
                <a:miter/>
              </a:ln>
            </p:spPr>
            <p:txBody>
              <a:bodyPr rtlCol="0" anchor="ctr"/>
              <a:lstStyle/>
              <a:p>
                <a:endParaRPr lang="en-GB"/>
              </a:p>
            </p:txBody>
          </p:sp>
        </p:grpSp>
        <p:grpSp>
          <p:nvGrpSpPr>
            <p:cNvPr id="785" name="Graphic 3">
              <a:extLst>
                <a:ext uri="{FF2B5EF4-FFF2-40B4-BE49-F238E27FC236}">
                  <a16:creationId xmlns:a16="http://schemas.microsoft.com/office/drawing/2014/main" id="{58E40066-FAED-4A2C-8E72-AA5C245C2560}"/>
                </a:ext>
              </a:extLst>
            </p:cNvPr>
            <p:cNvGrpSpPr/>
            <p:nvPr/>
          </p:nvGrpSpPr>
          <p:grpSpPr>
            <a:xfrm>
              <a:off x="4847868" y="1522263"/>
              <a:ext cx="288760" cy="500268"/>
              <a:chOff x="4847868" y="1522263"/>
              <a:chExt cx="288760" cy="500268"/>
            </a:xfrm>
            <a:grpFill/>
          </p:grpSpPr>
          <p:sp>
            <p:nvSpPr>
              <p:cNvPr id="3039" name="Vrije vorm: vorm 3038">
                <a:extLst>
                  <a:ext uri="{FF2B5EF4-FFF2-40B4-BE49-F238E27FC236}">
                    <a16:creationId xmlns:a16="http://schemas.microsoft.com/office/drawing/2014/main" id="{DD751ED8-2911-4F06-A5EC-5B7C78B4B8E4}"/>
                  </a:ext>
                </a:extLst>
              </p:cNvPr>
              <p:cNvSpPr/>
              <p:nvPr/>
            </p:nvSpPr>
            <p:spPr>
              <a:xfrm>
                <a:off x="4855469" y="1530327"/>
                <a:ext cx="273558" cy="484079"/>
              </a:xfrm>
              <a:custGeom>
                <a:avLst/>
                <a:gdLst>
                  <a:gd name="connsiteX0" fmla="*/ 273558 w 273558"/>
                  <a:gd name="connsiteY0" fmla="*/ 482584 h 484079"/>
                  <a:gd name="connsiteX1" fmla="*/ 270927 w 273558"/>
                  <a:gd name="connsiteY1" fmla="*/ 484080 h 484079"/>
                  <a:gd name="connsiteX2" fmla="*/ 0 w 273558"/>
                  <a:gd name="connsiteY2" fmla="*/ 1495 h 484079"/>
                  <a:gd name="connsiteX3" fmla="*/ 2691 w 273558"/>
                  <a:gd name="connsiteY3" fmla="*/ 0 h 484079"/>
                </a:gdLst>
                <a:ahLst/>
                <a:cxnLst>
                  <a:cxn ang="0">
                    <a:pos x="connsiteX0" y="connsiteY0"/>
                  </a:cxn>
                  <a:cxn ang="0">
                    <a:pos x="connsiteX1" y="connsiteY1"/>
                  </a:cxn>
                  <a:cxn ang="0">
                    <a:pos x="connsiteX2" y="connsiteY2"/>
                  </a:cxn>
                  <a:cxn ang="0">
                    <a:pos x="connsiteX3" y="connsiteY3"/>
                  </a:cxn>
                </a:cxnLst>
                <a:rect l="l" t="t" r="r" b="b"/>
                <a:pathLst>
                  <a:path w="273558" h="484079">
                    <a:moveTo>
                      <a:pt x="273558" y="482584"/>
                    </a:moveTo>
                    <a:lnTo>
                      <a:pt x="270927" y="484080"/>
                    </a:lnTo>
                    <a:lnTo>
                      <a:pt x="0" y="1495"/>
                    </a:lnTo>
                    <a:lnTo>
                      <a:pt x="2691" y="0"/>
                    </a:lnTo>
                    <a:close/>
                  </a:path>
                </a:pathLst>
              </a:custGeom>
              <a:grpFill/>
              <a:ln w="5978" cap="flat">
                <a:noFill/>
                <a:prstDash val="solid"/>
                <a:miter/>
              </a:ln>
            </p:spPr>
            <p:txBody>
              <a:bodyPr rtlCol="0" anchor="ctr"/>
              <a:lstStyle/>
              <a:p>
                <a:endParaRPr lang="en-GB"/>
              </a:p>
            </p:txBody>
          </p:sp>
          <p:sp>
            <p:nvSpPr>
              <p:cNvPr id="3040" name="Vrije vorm: vorm 3039">
                <a:extLst>
                  <a:ext uri="{FF2B5EF4-FFF2-40B4-BE49-F238E27FC236}">
                    <a16:creationId xmlns:a16="http://schemas.microsoft.com/office/drawing/2014/main" id="{04C292D8-798F-4596-9890-BD0599AB3B70}"/>
                  </a:ext>
                </a:extLst>
              </p:cNvPr>
              <p:cNvSpPr/>
              <p:nvPr/>
            </p:nvSpPr>
            <p:spPr>
              <a:xfrm>
                <a:off x="5118256" y="2004070"/>
                <a:ext cx="18371" cy="18461"/>
              </a:xfrm>
              <a:custGeom>
                <a:avLst/>
                <a:gdLst>
                  <a:gd name="connsiteX0" fmla="*/ 17170 w 18371"/>
                  <a:gd name="connsiteY0" fmla="*/ 4715 h 18461"/>
                  <a:gd name="connsiteX1" fmla="*/ 13701 w 18371"/>
                  <a:gd name="connsiteY1" fmla="*/ 17275 h 18461"/>
                  <a:gd name="connsiteX2" fmla="*/ 1201 w 18371"/>
                  <a:gd name="connsiteY2" fmla="*/ 13746 h 18461"/>
                  <a:gd name="connsiteX3" fmla="*/ 4670 w 18371"/>
                  <a:gd name="connsiteY3" fmla="*/ 1187 h 18461"/>
                  <a:gd name="connsiteX4" fmla="*/ 17170 w 18371"/>
                  <a:gd name="connsiteY4" fmla="*/ 4715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61">
                    <a:moveTo>
                      <a:pt x="17170" y="4715"/>
                    </a:moveTo>
                    <a:cubicBezTo>
                      <a:pt x="19682" y="9141"/>
                      <a:pt x="18127" y="14763"/>
                      <a:pt x="13701" y="17275"/>
                    </a:cubicBezTo>
                    <a:cubicBezTo>
                      <a:pt x="9276" y="19787"/>
                      <a:pt x="3714" y="18172"/>
                      <a:pt x="1201" y="13746"/>
                    </a:cubicBezTo>
                    <a:cubicBezTo>
                      <a:pt x="-1310" y="9321"/>
                      <a:pt x="245" y="3699"/>
                      <a:pt x="4670" y="1187"/>
                    </a:cubicBezTo>
                    <a:cubicBezTo>
                      <a:pt x="9096" y="-1325"/>
                      <a:pt x="14718" y="290"/>
                      <a:pt x="17170" y="4715"/>
                    </a:cubicBezTo>
                    <a:close/>
                  </a:path>
                </a:pathLst>
              </a:custGeom>
              <a:grpFill/>
              <a:ln w="5978" cap="flat">
                <a:noFill/>
                <a:prstDash val="solid"/>
                <a:miter/>
              </a:ln>
            </p:spPr>
            <p:txBody>
              <a:bodyPr rtlCol="0" anchor="ctr"/>
              <a:lstStyle/>
              <a:p>
                <a:endParaRPr lang="en-GB"/>
              </a:p>
            </p:txBody>
          </p:sp>
          <p:sp>
            <p:nvSpPr>
              <p:cNvPr id="3041" name="Vrije vorm: vorm 3040">
                <a:extLst>
                  <a:ext uri="{FF2B5EF4-FFF2-40B4-BE49-F238E27FC236}">
                    <a16:creationId xmlns:a16="http://schemas.microsoft.com/office/drawing/2014/main" id="{92321B83-2901-46B5-BFF2-4F239D3A3CA1}"/>
                  </a:ext>
                </a:extLst>
              </p:cNvPr>
              <p:cNvSpPr/>
              <p:nvPr/>
            </p:nvSpPr>
            <p:spPr>
              <a:xfrm>
                <a:off x="4847868" y="1522263"/>
                <a:ext cx="18332" cy="18461"/>
              </a:xfrm>
              <a:custGeom>
                <a:avLst/>
                <a:gdLst>
                  <a:gd name="connsiteX0" fmla="*/ 17170 w 18332"/>
                  <a:gd name="connsiteY0" fmla="*/ 4715 h 18461"/>
                  <a:gd name="connsiteX1" fmla="*/ 4670 w 18332"/>
                  <a:gd name="connsiteY1" fmla="*/ 1187 h 18461"/>
                  <a:gd name="connsiteX2" fmla="*/ 1202 w 18332"/>
                  <a:gd name="connsiteY2" fmla="*/ 13746 h 18461"/>
                  <a:gd name="connsiteX3" fmla="*/ 13701 w 18332"/>
                  <a:gd name="connsiteY3" fmla="*/ 17275 h 18461"/>
                  <a:gd name="connsiteX4" fmla="*/ 17170 w 18332"/>
                  <a:gd name="connsiteY4" fmla="*/ 4715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61">
                    <a:moveTo>
                      <a:pt x="17170" y="4715"/>
                    </a:moveTo>
                    <a:cubicBezTo>
                      <a:pt x="14658" y="290"/>
                      <a:pt x="9096" y="-1325"/>
                      <a:pt x="4670" y="1187"/>
                    </a:cubicBezTo>
                    <a:cubicBezTo>
                      <a:pt x="245" y="3699"/>
                      <a:pt x="-1311" y="9261"/>
                      <a:pt x="1202" y="13746"/>
                    </a:cubicBezTo>
                    <a:cubicBezTo>
                      <a:pt x="3713" y="18172"/>
                      <a:pt x="9275" y="19787"/>
                      <a:pt x="13701" y="17275"/>
                    </a:cubicBezTo>
                    <a:cubicBezTo>
                      <a:pt x="18067" y="14763"/>
                      <a:pt x="19622" y="9141"/>
                      <a:pt x="17170" y="4715"/>
                    </a:cubicBezTo>
                    <a:close/>
                  </a:path>
                </a:pathLst>
              </a:custGeom>
              <a:grpFill/>
              <a:ln w="5978" cap="flat">
                <a:noFill/>
                <a:prstDash val="solid"/>
                <a:miter/>
              </a:ln>
            </p:spPr>
            <p:txBody>
              <a:bodyPr rtlCol="0" anchor="ctr"/>
              <a:lstStyle/>
              <a:p>
                <a:endParaRPr lang="en-GB"/>
              </a:p>
            </p:txBody>
          </p:sp>
        </p:grpSp>
        <p:grpSp>
          <p:nvGrpSpPr>
            <p:cNvPr id="786" name="Graphic 3">
              <a:extLst>
                <a:ext uri="{FF2B5EF4-FFF2-40B4-BE49-F238E27FC236}">
                  <a16:creationId xmlns:a16="http://schemas.microsoft.com/office/drawing/2014/main" id="{874343C2-C893-45AD-9A68-8D2F460CB909}"/>
                </a:ext>
              </a:extLst>
            </p:cNvPr>
            <p:cNvGrpSpPr/>
            <p:nvPr/>
          </p:nvGrpSpPr>
          <p:grpSpPr>
            <a:xfrm>
              <a:off x="4855264" y="1532894"/>
              <a:ext cx="156805" cy="236581"/>
              <a:chOff x="4855264" y="1532894"/>
              <a:chExt cx="156805" cy="236581"/>
            </a:xfrm>
            <a:grpFill/>
          </p:grpSpPr>
          <p:sp>
            <p:nvSpPr>
              <p:cNvPr id="3036" name="Vrije vorm: vorm 3035">
                <a:extLst>
                  <a:ext uri="{FF2B5EF4-FFF2-40B4-BE49-F238E27FC236}">
                    <a16:creationId xmlns:a16="http://schemas.microsoft.com/office/drawing/2014/main" id="{5F565235-D607-400D-B217-41F0EFD101D0}"/>
                  </a:ext>
                </a:extLst>
              </p:cNvPr>
              <p:cNvSpPr/>
              <p:nvPr/>
            </p:nvSpPr>
            <p:spPr>
              <a:xfrm>
                <a:off x="4862885" y="1540913"/>
                <a:ext cx="141563" cy="220509"/>
              </a:xfrm>
              <a:custGeom>
                <a:avLst/>
                <a:gdLst>
                  <a:gd name="connsiteX0" fmla="*/ 141564 w 141563"/>
                  <a:gd name="connsiteY0" fmla="*/ 218894 h 220509"/>
                  <a:gd name="connsiteX1" fmla="*/ 138992 w 141563"/>
                  <a:gd name="connsiteY1" fmla="*/ 220509 h 220509"/>
                  <a:gd name="connsiteX2" fmla="*/ 0 w 141563"/>
                  <a:gd name="connsiteY2" fmla="*/ 1675 h 220509"/>
                  <a:gd name="connsiteX3" fmla="*/ 2572 w 141563"/>
                  <a:gd name="connsiteY3" fmla="*/ 0 h 220509"/>
                </a:gdLst>
                <a:ahLst/>
                <a:cxnLst>
                  <a:cxn ang="0">
                    <a:pos x="connsiteX0" y="connsiteY0"/>
                  </a:cxn>
                  <a:cxn ang="0">
                    <a:pos x="connsiteX1" y="connsiteY1"/>
                  </a:cxn>
                  <a:cxn ang="0">
                    <a:pos x="connsiteX2" y="connsiteY2"/>
                  </a:cxn>
                  <a:cxn ang="0">
                    <a:pos x="connsiteX3" y="connsiteY3"/>
                  </a:cxn>
                </a:cxnLst>
                <a:rect l="l" t="t" r="r" b="b"/>
                <a:pathLst>
                  <a:path w="141563" h="220509">
                    <a:moveTo>
                      <a:pt x="141564" y="218894"/>
                    </a:moveTo>
                    <a:lnTo>
                      <a:pt x="138992" y="220509"/>
                    </a:lnTo>
                    <a:lnTo>
                      <a:pt x="0" y="1675"/>
                    </a:lnTo>
                    <a:lnTo>
                      <a:pt x="2572" y="0"/>
                    </a:lnTo>
                    <a:close/>
                  </a:path>
                </a:pathLst>
              </a:custGeom>
              <a:grpFill/>
              <a:ln w="5978" cap="flat">
                <a:noFill/>
                <a:prstDash val="solid"/>
                <a:miter/>
              </a:ln>
            </p:spPr>
            <p:txBody>
              <a:bodyPr rtlCol="0" anchor="ctr"/>
              <a:lstStyle/>
              <a:p>
                <a:endParaRPr lang="en-GB"/>
              </a:p>
            </p:txBody>
          </p:sp>
          <p:sp>
            <p:nvSpPr>
              <p:cNvPr id="3037" name="Vrije vorm: vorm 3036">
                <a:extLst>
                  <a:ext uri="{FF2B5EF4-FFF2-40B4-BE49-F238E27FC236}">
                    <a16:creationId xmlns:a16="http://schemas.microsoft.com/office/drawing/2014/main" id="{CE477DA5-3C90-4648-927F-7CF79E008194}"/>
                  </a:ext>
                </a:extLst>
              </p:cNvPr>
              <p:cNvSpPr/>
              <p:nvPr/>
            </p:nvSpPr>
            <p:spPr>
              <a:xfrm>
                <a:off x="4855264" y="1532894"/>
                <a:ext cx="18351" cy="18464"/>
              </a:xfrm>
              <a:custGeom>
                <a:avLst/>
                <a:gdLst>
                  <a:gd name="connsiteX0" fmla="*/ 1461 w 18351"/>
                  <a:gd name="connsiteY0" fmla="*/ 14179 h 18464"/>
                  <a:gd name="connsiteX1" fmla="*/ 4212 w 18351"/>
                  <a:gd name="connsiteY1" fmla="*/ 1440 h 18464"/>
                  <a:gd name="connsiteX2" fmla="*/ 16891 w 18351"/>
                  <a:gd name="connsiteY2" fmla="*/ 4311 h 18464"/>
                  <a:gd name="connsiteX3" fmla="*/ 14140 w 18351"/>
                  <a:gd name="connsiteY3" fmla="*/ 17050 h 18464"/>
                  <a:gd name="connsiteX4" fmla="*/ 1461 w 18351"/>
                  <a:gd name="connsiteY4" fmla="*/ 1417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4">
                    <a:moveTo>
                      <a:pt x="1461" y="14179"/>
                    </a:moveTo>
                    <a:cubicBezTo>
                      <a:pt x="-1290" y="9873"/>
                      <a:pt x="-35" y="4192"/>
                      <a:pt x="4212" y="1440"/>
                    </a:cubicBezTo>
                    <a:cubicBezTo>
                      <a:pt x="8458" y="-1311"/>
                      <a:pt x="14140" y="5"/>
                      <a:pt x="16891" y="4311"/>
                    </a:cubicBezTo>
                    <a:cubicBezTo>
                      <a:pt x="19642" y="8617"/>
                      <a:pt x="18386" y="14299"/>
                      <a:pt x="14140" y="17050"/>
                    </a:cubicBezTo>
                    <a:cubicBezTo>
                      <a:pt x="9834" y="19742"/>
                      <a:pt x="4152" y="18486"/>
                      <a:pt x="1461" y="14179"/>
                    </a:cubicBezTo>
                    <a:close/>
                  </a:path>
                </a:pathLst>
              </a:custGeom>
              <a:grpFill/>
              <a:ln w="5978" cap="flat">
                <a:noFill/>
                <a:prstDash val="solid"/>
                <a:miter/>
              </a:ln>
            </p:spPr>
            <p:txBody>
              <a:bodyPr rtlCol="0" anchor="ctr"/>
              <a:lstStyle/>
              <a:p>
                <a:endParaRPr lang="en-GB"/>
              </a:p>
            </p:txBody>
          </p:sp>
          <p:sp>
            <p:nvSpPr>
              <p:cNvPr id="3038" name="Vrije vorm: vorm 3037">
                <a:extLst>
                  <a:ext uri="{FF2B5EF4-FFF2-40B4-BE49-F238E27FC236}">
                    <a16:creationId xmlns:a16="http://schemas.microsoft.com/office/drawing/2014/main" id="{564F3E5F-041E-4FC6-9FF3-98FFCEB0DBB3}"/>
                  </a:ext>
                </a:extLst>
              </p:cNvPr>
              <p:cNvSpPr/>
              <p:nvPr/>
            </p:nvSpPr>
            <p:spPr>
              <a:xfrm>
                <a:off x="4993759" y="1751037"/>
                <a:ext cx="18310" cy="18437"/>
              </a:xfrm>
              <a:custGeom>
                <a:avLst/>
                <a:gdLst>
                  <a:gd name="connsiteX0" fmla="*/ 1419 w 18310"/>
                  <a:gd name="connsiteY0" fmla="*/ 14153 h 18437"/>
                  <a:gd name="connsiteX1" fmla="*/ 14099 w 18310"/>
                  <a:gd name="connsiteY1" fmla="*/ 17024 h 18437"/>
                  <a:gd name="connsiteX2" fmla="*/ 16850 w 18310"/>
                  <a:gd name="connsiteY2" fmla="*/ 4285 h 18437"/>
                  <a:gd name="connsiteX3" fmla="*/ 4170 w 18310"/>
                  <a:gd name="connsiteY3" fmla="*/ 1414 h 18437"/>
                  <a:gd name="connsiteX4" fmla="*/ 1419 w 18310"/>
                  <a:gd name="connsiteY4" fmla="*/ 14153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7">
                    <a:moveTo>
                      <a:pt x="1419" y="14153"/>
                    </a:moveTo>
                    <a:cubicBezTo>
                      <a:pt x="4170" y="18459"/>
                      <a:pt x="9792" y="19715"/>
                      <a:pt x="14099" y="17024"/>
                    </a:cubicBezTo>
                    <a:cubicBezTo>
                      <a:pt x="18345" y="14273"/>
                      <a:pt x="19601" y="8591"/>
                      <a:pt x="16850" y="4285"/>
                    </a:cubicBezTo>
                    <a:cubicBezTo>
                      <a:pt x="14099" y="-21"/>
                      <a:pt x="8477" y="-1277"/>
                      <a:pt x="4170" y="1414"/>
                    </a:cubicBezTo>
                    <a:cubicBezTo>
                      <a:pt x="-16" y="4165"/>
                      <a:pt x="-1272" y="9847"/>
                      <a:pt x="1419" y="14153"/>
                    </a:cubicBezTo>
                    <a:close/>
                  </a:path>
                </a:pathLst>
              </a:custGeom>
              <a:grpFill/>
              <a:ln w="5978" cap="flat">
                <a:noFill/>
                <a:prstDash val="solid"/>
                <a:miter/>
              </a:ln>
            </p:spPr>
            <p:txBody>
              <a:bodyPr rtlCol="0" anchor="ctr"/>
              <a:lstStyle/>
              <a:p>
                <a:endParaRPr lang="en-GB"/>
              </a:p>
            </p:txBody>
          </p:sp>
        </p:grpSp>
        <p:grpSp>
          <p:nvGrpSpPr>
            <p:cNvPr id="787" name="Graphic 3">
              <a:extLst>
                <a:ext uri="{FF2B5EF4-FFF2-40B4-BE49-F238E27FC236}">
                  <a16:creationId xmlns:a16="http://schemas.microsoft.com/office/drawing/2014/main" id="{F63C296B-CB8D-4B7A-8B5D-CF49E375E5A2}"/>
                </a:ext>
              </a:extLst>
            </p:cNvPr>
            <p:cNvGrpSpPr/>
            <p:nvPr/>
          </p:nvGrpSpPr>
          <p:grpSpPr>
            <a:xfrm>
              <a:off x="6119513" y="5096650"/>
              <a:ext cx="38589" cy="245053"/>
              <a:chOff x="6119513" y="5096650"/>
              <a:chExt cx="38589" cy="245053"/>
            </a:xfrm>
            <a:grpFill/>
          </p:grpSpPr>
          <p:sp>
            <p:nvSpPr>
              <p:cNvPr id="3033" name="Vrije vorm: vorm 3032">
                <a:extLst>
                  <a:ext uri="{FF2B5EF4-FFF2-40B4-BE49-F238E27FC236}">
                    <a16:creationId xmlns:a16="http://schemas.microsoft.com/office/drawing/2014/main" id="{13BB6B67-6A84-4E75-A3F4-1582C24F04FA}"/>
                  </a:ext>
                </a:extLst>
              </p:cNvPr>
              <p:cNvSpPr/>
              <p:nvPr/>
            </p:nvSpPr>
            <p:spPr>
              <a:xfrm>
                <a:off x="6127090" y="5105243"/>
                <a:ext cx="23444" cy="227805"/>
              </a:xfrm>
              <a:custGeom>
                <a:avLst/>
                <a:gdLst>
                  <a:gd name="connsiteX0" fmla="*/ 23444 w 23444"/>
                  <a:gd name="connsiteY0" fmla="*/ 299 h 227805"/>
                  <a:gd name="connsiteX1" fmla="*/ 3050 w 23444"/>
                  <a:gd name="connsiteY1" fmla="*/ 227806 h 227805"/>
                  <a:gd name="connsiteX2" fmla="*/ 0 w 23444"/>
                  <a:gd name="connsiteY2" fmla="*/ 227567 h 227805"/>
                  <a:gd name="connsiteX3" fmla="*/ 20394 w 23444"/>
                  <a:gd name="connsiteY3" fmla="*/ 0 h 227805"/>
                </a:gdLst>
                <a:ahLst/>
                <a:cxnLst>
                  <a:cxn ang="0">
                    <a:pos x="connsiteX0" y="connsiteY0"/>
                  </a:cxn>
                  <a:cxn ang="0">
                    <a:pos x="connsiteX1" y="connsiteY1"/>
                  </a:cxn>
                  <a:cxn ang="0">
                    <a:pos x="connsiteX2" y="connsiteY2"/>
                  </a:cxn>
                  <a:cxn ang="0">
                    <a:pos x="connsiteX3" y="connsiteY3"/>
                  </a:cxn>
                </a:cxnLst>
                <a:rect l="l" t="t" r="r" b="b"/>
                <a:pathLst>
                  <a:path w="23444" h="227805">
                    <a:moveTo>
                      <a:pt x="23444" y="299"/>
                    </a:moveTo>
                    <a:lnTo>
                      <a:pt x="3050" y="227806"/>
                    </a:lnTo>
                    <a:lnTo>
                      <a:pt x="0" y="227567"/>
                    </a:lnTo>
                    <a:lnTo>
                      <a:pt x="20394" y="0"/>
                    </a:lnTo>
                    <a:close/>
                  </a:path>
                </a:pathLst>
              </a:custGeom>
              <a:grpFill/>
              <a:ln w="5978" cap="flat">
                <a:noFill/>
                <a:prstDash val="solid"/>
                <a:miter/>
              </a:ln>
            </p:spPr>
            <p:txBody>
              <a:bodyPr rtlCol="0" anchor="ctr"/>
              <a:lstStyle/>
              <a:p>
                <a:endParaRPr lang="en-GB"/>
              </a:p>
            </p:txBody>
          </p:sp>
          <p:sp>
            <p:nvSpPr>
              <p:cNvPr id="3034" name="Vrije vorm: vorm 3033">
                <a:extLst>
                  <a:ext uri="{FF2B5EF4-FFF2-40B4-BE49-F238E27FC236}">
                    <a16:creationId xmlns:a16="http://schemas.microsoft.com/office/drawing/2014/main" id="{41956C63-CBE0-4692-8AF0-4F6E115231B8}"/>
                  </a:ext>
                </a:extLst>
              </p:cNvPr>
              <p:cNvSpPr/>
              <p:nvPr/>
            </p:nvSpPr>
            <p:spPr>
              <a:xfrm>
                <a:off x="6139797" y="5096650"/>
                <a:ext cx="18305" cy="18443"/>
              </a:xfrm>
              <a:custGeom>
                <a:avLst/>
                <a:gdLst>
                  <a:gd name="connsiteX0" fmla="*/ 32 w 18305"/>
                  <a:gd name="connsiteY0" fmla="*/ 8355 h 18443"/>
                  <a:gd name="connsiteX1" fmla="*/ 9960 w 18305"/>
                  <a:gd name="connsiteY1" fmla="*/ 42 h 18443"/>
                  <a:gd name="connsiteX2" fmla="*/ 18273 w 18305"/>
                  <a:gd name="connsiteY2" fmla="*/ 10089 h 18443"/>
                  <a:gd name="connsiteX3" fmla="*/ 8345 w 18305"/>
                  <a:gd name="connsiteY3" fmla="*/ 18402 h 18443"/>
                  <a:gd name="connsiteX4" fmla="*/ 32 w 18305"/>
                  <a:gd name="connsiteY4" fmla="*/ 835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43">
                    <a:moveTo>
                      <a:pt x="32" y="8355"/>
                    </a:moveTo>
                    <a:cubicBezTo>
                      <a:pt x="510" y="3271"/>
                      <a:pt x="4936" y="-437"/>
                      <a:pt x="9960" y="42"/>
                    </a:cubicBezTo>
                    <a:cubicBezTo>
                      <a:pt x="14984" y="520"/>
                      <a:pt x="18692" y="5006"/>
                      <a:pt x="18273" y="10089"/>
                    </a:cubicBezTo>
                    <a:cubicBezTo>
                      <a:pt x="17795" y="15173"/>
                      <a:pt x="13369" y="18881"/>
                      <a:pt x="8345" y="18402"/>
                    </a:cubicBezTo>
                    <a:cubicBezTo>
                      <a:pt x="3322" y="17924"/>
                      <a:pt x="-386" y="13379"/>
                      <a:pt x="32" y="8355"/>
                    </a:cubicBezTo>
                    <a:close/>
                  </a:path>
                </a:pathLst>
              </a:custGeom>
              <a:grpFill/>
              <a:ln w="5978" cap="flat">
                <a:noFill/>
                <a:prstDash val="solid"/>
                <a:miter/>
              </a:ln>
            </p:spPr>
            <p:txBody>
              <a:bodyPr rtlCol="0" anchor="ctr"/>
              <a:lstStyle/>
              <a:p>
                <a:endParaRPr lang="en-GB"/>
              </a:p>
            </p:txBody>
          </p:sp>
          <p:sp>
            <p:nvSpPr>
              <p:cNvPr id="3035" name="Vrije vorm: vorm 3034">
                <a:extLst>
                  <a:ext uri="{FF2B5EF4-FFF2-40B4-BE49-F238E27FC236}">
                    <a16:creationId xmlns:a16="http://schemas.microsoft.com/office/drawing/2014/main" id="{FAFFA6D3-73D9-4BAB-9D1C-CF313C30DD99}"/>
                  </a:ext>
                </a:extLst>
              </p:cNvPr>
              <p:cNvSpPr/>
              <p:nvPr/>
            </p:nvSpPr>
            <p:spPr>
              <a:xfrm>
                <a:off x="6119513" y="5323259"/>
                <a:ext cx="18323" cy="18443"/>
              </a:xfrm>
              <a:custGeom>
                <a:avLst/>
                <a:gdLst>
                  <a:gd name="connsiteX0" fmla="*/ 41 w 18323"/>
                  <a:gd name="connsiteY0" fmla="*/ 8355 h 18443"/>
                  <a:gd name="connsiteX1" fmla="*/ 8354 w 18323"/>
                  <a:gd name="connsiteY1" fmla="*/ 18402 h 18443"/>
                  <a:gd name="connsiteX2" fmla="*/ 18282 w 18323"/>
                  <a:gd name="connsiteY2" fmla="*/ 10089 h 18443"/>
                  <a:gd name="connsiteX3" fmla="*/ 9969 w 18323"/>
                  <a:gd name="connsiteY3" fmla="*/ 42 h 18443"/>
                  <a:gd name="connsiteX4" fmla="*/ 41 w 18323"/>
                  <a:gd name="connsiteY4" fmla="*/ 835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3">
                    <a:moveTo>
                      <a:pt x="41" y="8355"/>
                    </a:moveTo>
                    <a:cubicBezTo>
                      <a:pt x="-438" y="13438"/>
                      <a:pt x="3330" y="17924"/>
                      <a:pt x="8354" y="18402"/>
                    </a:cubicBezTo>
                    <a:cubicBezTo>
                      <a:pt x="13378" y="18881"/>
                      <a:pt x="17863" y="15173"/>
                      <a:pt x="18282" y="10089"/>
                    </a:cubicBezTo>
                    <a:cubicBezTo>
                      <a:pt x="18761" y="5006"/>
                      <a:pt x="14993" y="520"/>
                      <a:pt x="9969" y="42"/>
                    </a:cubicBezTo>
                    <a:cubicBezTo>
                      <a:pt x="4945" y="-437"/>
                      <a:pt x="460" y="3271"/>
                      <a:pt x="41" y="8355"/>
                    </a:cubicBezTo>
                    <a:close/>
                  </a:path>
                </a:pathLst>
              </a:custGeom>
              <a:grpFill/>
              <a:ln w="5978" cap="flat">
                <a:noFill/>
                <a:prstDash val="solid"/>
                <a:miter/>
              </a:ln>
            </p:spPr>
            <p:txBody>
              <a:bodyPr rtlCol="0" anchor="ctr"/>
              <a:lstStyle/>
              <a:p>
                <a:endParaRPr lang="en-GB"/>
              </a:p>
            </p:txBody>
          </p:sp>
        </p:grpSp>
        <p:grpSp>
          <p:nvGrpSpPr>
            <p:cNvPr id="788" name="Graphic 3">
              <a:extLst>
                <a:ext uri="{FF2B5EF4-FFF2-40B4-BE49-F238E27FC236}">
                  <a16:creationId xmlns:a16="http://schemas.microsoft.com/office/drawing/2014/main" id="{7CE5ABAD-6E6D-474F-A6F5-0C2AEB205726}"/>
                </a:ext>
              </a:extLst>
            </p:cNvPr>
            <p:cNvGrpSpPr/>
            <p:nvPr/>
          </p:nvGrpSpPr>
          <p:grpSpPr>
            <a:xfrm>
              <a:off x="6109735" y="5096087"/>
              <a:ext cx="23101" cy="144326"/>
              <a:chOff x="6109735" y="5096087"/>
              <a:chExt cx="23101" cy="144326"/>
            </a:xfrm>
            <a:grpFill/>
          </p:grpSpPr>
          <p:sp>
            <p:nvSpPr>
              <p:cNvPr id="3030" name="Vrije vorm: vorm 3029">
                <a:extLst>
                  <a:ext uri="{FF2B5EF4-FFF2-40B4-BE49-F238E27FC236}">
                    <a16:creationId xmlns:a16="http://schemas.microsoft.com/office/drawing/2014/main" id="{E6C725D8-B2AC-46BC-9E43-439CD79A4D79}"/>
                  </a:ext>
                </a:extLst>
              </p:cNvPr>
              <p:cNvSpPr/>
              <p:nvPr/>
            </p:nvSpPr>
            <p:spPr>
              <a:xfrm>
                <a:off x="6117401" y="5104825"/>
                <a:ext cx="7834" cy="126910"/>
              </a:xfrm>
              <a:custGeom>
                <a:avLst/>
                <a:gdLst>
                  <a:gd name="connsiteX0" fmla="*/ 2990 w 7834"/>
                  <a:gd name="connsiteY0" fmla="*/ 0 h 126910"/>
                  <a:gd name="connsiteX1" fmla="*/ 7835 w 7834"/>
                  <a:gd name="connsiteY1" fmla="*/ 126791 h 126910"/>
                  <a:gd name="connsiteX2" fmla="*/ 4785 w 7834"/>
                  <a:gd name="connsiteY2" fmla="*/ 126911 h 126910"/>
                  <a:gd name="connsiteX3" fmla="*/ 0 w 7834"/>
                  <a:gd name="connsiteY3" fmla="*/ 119 h 126910"/>
                </a:gdLst>
                <a:ahLst/>
                <a:cxnLst>
                  <a:cxn ang="0">
                    <a:pos x="connsiteX0" y="connsiteY0"/>
                  </a:cxn>
                  <a:cxn ang="0">
                    <a:pos x="connsiteX1" y="connsiteY1"/>
                  </a:cxn>
                  <a:cxn ang="0">
                    <a:pos x="connsiteX2" y="connsiteY2"/>
                  </a:cxn>
                  <a:cxn ang="0">
                    <a:pos x="connsiteX3" y="connsiteY3"/>
                  </a:cxn>
                </a:cxnLst>
                <a:rect l="l" t="t" r="r" b="b"/>
                <a:pathLst>
                  <a:path w="7834" h="126910">
                    <a:moveTo>
                      <a:pt x="2990" y="0"/>
                    </a:moveTo>
                    <a:lnTo>
                      <a:pt x="7835" y="126791"/>
                    </a:lnTo>
                    <a:lnTo>
                      <a:pt x="4785" y="126911"/>
                    </a:lnTo>
                    <a:lnTo>
                      <a:pt x="0" y="119"/>
                    </a:lnTo>
                    <a:close/>
                  </a:path>
                </a:pathLst>
              </a:custGeom>
              <a:grpFill/>
              <a:ln w="5978" cap="flat">
                <a:noFill/>
                <a:prstDash val="solid"/>
                <a:miter/>
              </a:ln>
            </p:spPr>
            <p:txBody>
              <a:bodyPr rtlCol="0" anchor="ctr"/>
              <a:lstStyle/>
              <a:p>
                <a:endParaRPr lang="en-GB"/>
              </a:p>
            </p:txBody>
          </p:sp>
          <p:sp>
            <p:nvSpPr>
              <p:cNvPr id="3031" name="Vrije vorm: vorm 3030">
                <a:extLst>
                  <a:ext uri="{FF2B5EF4-FFF2-40B4-BE49-F238E27FC236}">
                    <a16:creationId xmlns:a16="http://schemas.microsoft.com/office/drawing/2014/main" id="{B9575701-8A40-4CEF-821A-DAAB242BAD63}"/>
                  </a:ext>
                </a:extLst>
              </p:cNvPr>
              <p:cNvSpPr/>
              <p:nvPr/>
            </p:nvSpPr>
            <p:spPr>
              <a:xfrm>
                <a:off x="6114524" y="5221981"/>
                <a:ext cx="18312" cy="18432"/>
              </a:xfrm>
              <a:custGeom>
                <a:avLst/>
                <a:gdLst>
                  <a:gd name="connsiteX0" fmla="*/ 18307 w 18312"/>
                  <a:gd name="connsiteY0" fmla="*/ 8917 h 18432"/>
                  <a:gd name="connsiteX1" fmla="*/ 9515 w 18312"/>
                  <a:gd name="connsiteY1" fmla="*/ 18427 h 18432"/>
                  <a:gd name="connsiteX2" fmla="*/ 6 w 18312"/>
                  <a:gd name="connsiteY2" fmla="*/ 9515 h 18432"/>
                  <a:gd name="connsiteX3" fmla="*/ 8798 w 18312"/>
                  <a:gd name="connsiteY3" fmla="*/ 6 h 18432"/>
                  <a:gd name="connsiteX4" fmla="*/ 18307 w 18312"/>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18307" y="8917"/>
                    </a:moveTo>
                    <a:cubicBezTo>
                      <a:pt x="18486" y="14001"/>
                      <a:pt x="14539" y="18247"/>
                      <a:pt x="9515" y="18427"/>
                    </a:cubicBezTo>
                    <a:cubicBezTo>
                      <a:pt x="4432" y="18606"/>
                      <a:pt x="185" y="14599"/>
                      <a:pt x="6" y="9515"/>
                    </a:cubicBezTo>
                    <a:cubicBezTo>
                      <a:pt x="-173" y="4431"/>
                      <a:pt x="3774" y="185"/>
                      <a:pt x="8798" y="6"/>
                    </a:cubicBezTo>
                    <a:cubicBezTo>
                      <a:pt x="13881" y="-173"/>
                      <a:pt x="18128" y="3834"/>
                      <a:pt x="18307" y="8917"/>
                    </a:cubicBezTo>
                    <a:close/>
                  </a:path>
                </a:pathLst>
              </a:custGeom>
              <a:grpFill/>
              <a:ln w="5978" cap="flat">
                <a:noFill/>
                <a:prstDash val="solid"/>
                <a:miter/>
              </a:ln>
            </p:spPr>
            <p:txBody>
              <a:bodyPr rtlCol="0" anchor="ctr"/>
              <a:lstStyle/>
              <a:p>
                <a:endParaRPr lang="en-GB"/>
              </a:p>
            </p:txBody>
          </p:sp>
          <p:sp>
            <p:nvSpPr>
              <p:cNvPr id="3032" name="Vrije vorm: vorm 3031">
                <a:extLst>
                  <a:ext uri="{FF2B5EF4-FFF2-40B4-BE49-F238E27FC236}">
                    <a16:creationId xmlns:a16="http://schemas.microsoft.com/office/drawing/2014/main" id="{C92D4D3B-736F-4D3A-B830-94E7FB91D988}"/>
                  </a:ext>
                </a:extLst>
              </p:cNvPr>
              <p:cNvSpPr/>
              <p:nvPr/>
            </p:nvSpPr>
            <p:spPr>
              <a:xfrm>
                <a:off x="6109735" y="5096087"/>
                <a:ext cx="18321" cy="18432"/>
              </a:xfrm>
              <a:custGeom>
                <a:avLst/>
                <a:gdLst>
                  <a:gd name="connsiteX0" fmla="*/ 18311 w 18321"/>
                  <a:gd name="connsiteY0" fmla="*/ 8917 h 18432"/>
                  <a:gd name="connsiteX1" fmla="*/ 8802 w 18321"/>
                  <a:gd name="connsiteY1" fmla="*/ 6 h 18432"/>
                  <a:gd name="connsiteX2" fmla="*/ 10 w 18321"/>
                  <a:gd name="connsiteY2" fmla="*/ 9515 h 18432"/>
                  <a:gd name="connsiteX3" fmla="*/ 9520 w 18321"/>
                  <a:gd name="connsiteY3" fmla="*/ 18427 h 18432"/>
                  <a:gd name="connsiteX4" fmla="*/ 18311 w 18321"/>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2">
                    <a:moveTo>
                      <a:pt x="18311" y="8917"/>
                    </a:moveTo>
                    <a:cubicBezTo>
                      <a:pt x="18132" y="3834"/>
                      <a:pt x="13886" y="-174"/>
                      <a:pt x="8802" y="6"/>
                    </a:cubicBezTo>
                    <a:cubicBezTo>
                      <a:pt x="3718" y="185"/>
                      <a:pt x="-229" y="4431"/>
                      <a:pt x="10" y="9515"/>
                    </a:cubicBezTo>
                    <a:cubicBezTo>
                      <a:pt x="190" y="14599"/>
                      <a:pt x="4436" y="18606"/>
                      <a:pt x="9520" y="18427"/>
                    </a:cubicBezTo>
                    <a:cubicBezTo>
                      <a:pt x="14603" y="18307"/>
                      <a:pt x="18550" y="14001"/>
                      <a:pt x="18311" y="8917"/>
                    </a:cubicBezTo>
                    <a:close/>
                  </a:path>
                </a:pathLst>
              </a:custGeom>
              <a:grpFill/>
              <a:ln w="5978" cap="flat">
                <a:noFill/>
                <a:prstDash val="solid"/>
                <a:miter/>
              </a:ln>
            </p:spPr>
            <p:txBody>
              <a:bodyPr rtlCol="0" anchor="ctr"/>
              <a:lstStyle/>
              <a:p>
                <a:endParaRPr lang="en-GB"/>
              </a:p>
            </p:txBody>
          </p:sp>
        </p:grpSp>
        <p:grpSp>
          <p:nvGrpSpPr>
            <p:cNvPr id="789" name="Graphic 3">
              <a:extLst>
                <a:ext uri="{FF2B5EF4-FFF2-40B4-BE49-F238E27FC236}">
                  <a16:creationId xmlns:a16="http://schemas.microsoft.com/office/drawing/2014/main" id="{55A5D4B2-EA6D-4B0E-AA0A-1DE3040E2A73}"/>
                </a:ext>
              </a:extLst>
            </p:cNvPr>
            <p:cNvGrpSpPr/>
            <p:nvPr/>
          </p:nvGrpSpPr>
          <p:grpSpPr>
            <a:xfrm>
              <a:off x="4900430" y="1743785"/>
              <a:ext cx="209471" cy="296093"/>
              <a:chOff x="4900430" y="1743785"/>
              <a:chExt cx="209471" cy="296093"/>
            </a:xfrm>
            <a:grpFill/>
          </p:grpSpPr>
          <p:sp>
            <p:nvSpPr>
              <p:cNvPr id="3027" name="Vrije vorm: vorm 3026">
                <a:extLst>
                  <a:ext uri="{FF2B5EF4-FFF2-40B4-BE49-F238E27FC236}">
                    <a16:creationId xmlns:a16="http://schemas.microsoft.com/office/drawing/2014/main" id="{8FE412DE-ACAF-4C7A-9140-DE5C0356A5A7}"/>
                  </a:ext>
                </a:extLst>
              </p:cNvPr>
              <p:cNvSpPr/>
              <p:nvPr/>
            </p:nvSpPr>
            <p:spPr>
              <a:xfrm>
                <a:off x="4908099" y="1751734"/>
                <a:ext cx="194134" cy="280136"/>
              </a:xfrm>
              <a:custGeom>
                <a:avLst/>
                <a:gdLst>
                  <a:gd name="connsiteX0" fmla="*/ 194134 w 194134"/>
                  <a:gd name="connsiteY0" fmla="*/ 278403 h 280136"/>
                  <a:gd name="connsiteX1" fmla="*/ 191682 w 194134"/>
                  <a:gd name="connsiteY1" fmla="*/ 280137 h 280136"/>
                  <a:gd name="connsiteX2" fmla="*/ 0 w 194134"/>
                  <a:gd name="connsiteY2" fmla="*/ 1734 h 280136"/>
                  <a:gd name="connsiteX3" fmla="*/ 2512 w 194134"/>
                  <a:gd name="connsiteY3" fmla="*/ 0 h 280136"/>
                </a:gdLst>
                <a:ahLst/>
                <a:cxnLst>
                  <a:cxn ang="0">
                    <a:pos x="connsiteX0" y="connsiteY0"/>
                  </a:cxn>
                  <a:cxn ang="0">
                    <a:pos x="connsiteX1" y="connsiteY1"/>
                  </a:cxn>
                  <a:cxn ang="0">
                    <a:pos x="connsiteX2" y="connsiteY2"/>
                  </a:cxn>
                  <a:cxn ang="0">
                    <a:pos x="connsiteX3" y="connsiteY3"/>
                  </a:cxn>
                </a:cxnLst>
                <a:rect l="l" t="t" r="r" b="b"/>
                <a:pathLst>
                  <a:path w="194134" h="280136">
                    <a:moveTo>
                      <a:pt x="194134" y="278403"/>
                    </a:moveTo>
                    <a:lnTo>
                      <a:pt x="191682" y="280137"/>
                    </a:lnTo>
                    <a:lnTo>
                      <a:pt x="0" y="1734"/>
                    </a:lnTo>
                    <a:lnTo>
                      <a:pt x="2512" y="0"/>
                    </a:lnTo>
                    <a:close/>
                  </a:path>
                </a:pathLst>
              </a:custGeom>
              <a:grpFill/>
              <a:ln w="5978" cap="flat">
                <a:noFill/>
                <a:prstDash val="solid"/>
                <a:miter/>
              </a:ln>
            </p:spPr>
            <p:txBody>
              <a:bodyPr rtlCol="0" anchor="ctr"/>
              <a:lstStyle/>
              <a:p>
                <a:endParaRPr lang="en-GB"/>
              </a:p>
            </p:txBody>
          </p:sp>
          <p:sp>
            <p:nvSpPr>
              <p:cNvPr id="3028" name="Vrije vorm: vorm 3027">
                <a:extLst>
                  <a:ext uri="{FF2B5EF4-FFF2-40B4-BE49-F238E27FC236}">
                    <a16:creationId xmlns:a16="http://schemas.microsoft.com/office/drawing/2014/main" id="{B3903684-4696-46EA-AF31-D3BB0BC95DA2}"/>
                  </a:ext>
                </a:extLst>
              </p:cNvPr>
              <p:cNvSpPr/>
              <p:nvPr/>
            </p:nvSpPr>
            <p:spPr>
              <a:xfrm>
                <a:off x="4900430" y="1743785"/>
                <a:ext cx="18327" cy="18408"/>
              </a:xfrm>
              <a:custGeom>
                <a:avLst/>
                <a:gdLst>
                  <a:gd name="connsiteX0" fmla="*/ 1628 w 18327"/>
                  <a:gd name="connsiteY0" fmla="*/ 14407 h 18408"/>
                  <a:gd name="connsiteX1" fmla="*/ 3961 w 18327"/>
                  <a:gd name="connsiteY1" fmla="*/ 1609 h 18408"/>
                  <a:gd name="connsiteX2" fmla="*/ 16700 w 18327"/>
                  <a:gd name="connsiteY2" fmla="*/ 4001 h 18408"/>
                  <a:gd name="connsiteX3" fmla="*/ 14367 w 18327"/>
                  <a:gd name="connsiteY3" fmla="*/ 16800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1243" y="10221"/>
                      <a:pt x="-226" y="4479"/>
                      <a:pt x="3961" y="1609"/>
                    </a:cubicBezTo>
                    <a:cubicBezTo>
                      <a:pt x="8147" y="-1262"/>
                      <a:pt x="13829" y="-186"/>
                      <a:pt x="16700" y="4001"/>
                    </a:cubicBezTo>
                    <a:cubicBezTo>
                      <a:pt x="19570" y="8187"/>
                      <a:pt x="18554" y="13929"/>
                      <a:pt x="14367" y="16800"/>
                    </a:cubicBezTo>
                    <a:cubicBezTo>
                      <a:pt x="10180" y="19670"/>
                      <a:pt x="4499" y="18594"/>
                      <a:pt x="1628" y="14407"/>
                    </a:cubicBezTo>
                    <a:close/>
                  </a:path>
                </a:pathLst>
              </a:custGeom>
              <a:grpFill/>
              <a:ln w="5978" cap="flat">
                <a:noFill/>
                <a:prstDash val="solid"/>
                <a:miter/>
              </a:ln>
            </p:spPr>
            <p:txBody>
              <a:bodyPr rtlCol="0" anchor="ctr"/>
              <a:lstStyle/>
              <a:p>
                <a:endParaRPr lang="en-GB"/>
              </a:p>
            </p:txBody>
          </p:sp>
          <p:sp>
            <p:nvSpPr>
              <p:cNvPr id="3029" name="Vrije vorm: vorm 3028">
                <a:extLst>
                  <a:ext uri="{FF2B5EF4-FFF2-40B4-BE49-F238E27FC236}">
                    <a16:creationId xmlns:a16="http://schemas.microsoft.com/office/drawing/2014/main" id="{D2A97510-6A5E-400F-A8C6-E8F82E175B7A}"/>
                  </a:ext>
                </a:extLst>
              </p:cNvPr>
              <p:cNvSpPr/>
              <p:nvPr/>
            </p:nvSpPr>
            <p:spPr>
              <a:xfrm>
                <a:off x="5091574" y="2021470"/>
                <a:ext cx="18327" cy="18408"/>
              </a:xfrm>
              <a:custGeom>
                <a:avLst/>
                <a:gdLst>
                  <a:gd name="connsiteX0" fmla="*/ 1628 w 18327"/>
                  <a:gd name="connsiteY0" fmla="*/ 14407 h 18408"/>
                  <a:gd name="connsiteX1" fmla="*/ 14367 w 18327"/>
                  <a:gd name="connsiteY1" fmla="*/ 16800 h 18408"/>
                  <a:gd name="connsiteX2" fmla="*/ 16699 w 18327"/>
                  <a:gd name="connsiteY2" fmla="*/ 4001 h 18408"/>
                  <a:gd name="connsiteX3" fmla="*/ 3960 w 18327"/>
                  <a:gd name="connsiteY3" fmla="*/ 1609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4499" y="18594"/>
                      <a:pt x="10240" y="19670"/>
                      <a:pt x="14367" y="16800"/>
                    </a:cubicBezTo>
                    <a:cubicBezTo>
                      <a:pt x="18553" y="13929"/>
                      <a:pt x="19570" y="8187"/>
                      <a:pt x="16699" y="4001"/>
                    </a:cubicBezTo>
                    <a:cubicBezTo>
                      <a:pt x="13829" y="-186"/>
                      <a:pt x="8087" y="-1262"/>
                      <a:pt x="3960" y="1609"/>
                    </a:cubicBezTo>
                    <a:cubicBezTo>
                      <a:pt x="-226" y="4479"/>
                      <a:pt x="-1243" y="10221"/>
                      <a:pt x="1628" y="14407"/>
                    </a:cubicBezTo>
                    <a:close/>
                  </a:path>
                </a:pathLst>
              </a:custGeom>
              <a:grpFill/>
              <a:ln w="5978" cap="flat">
                <a:noFill/>
                <a:prstDash val="solid"/>
                <a:miter/>
              </a:ln>
            </p:spPr>
            <p:txBody>
              <a:bodyPr rtlCol="0" anchor="ctr"/>
              <a:lstStyle/>
              <a:p>
                <a:endParaRPr lang="en-GB"/>
              </a:p>
            </p:txBody>
          </p:sp>
        </p:grpSp>
        <p:grpSp>
          <p:nvGrpSpPr>
            <p:cNvPr id="790" name="Graphic 3">
              <a:extLst>
                <a:ext uri="{FF2B5EF4-FFF2-40B4-BE49-F238E27FC236}">
                  <a16:creationId xmlns:a16="http://schemas.microsoft.com/office/drawing/2014/main" id="{77B0E03F-B788-43BC-8A46-2FC30B2B5765}"/>
                </a:ext>
              </a:extLst>
            </p:cNvPr>
            <p:cNvGrpSpPr/>
            <p:nvPr/>
          </p:nvGrpSpPr>
          <p:grpSpPr>
            <a:xfrm>
              <a:off x="6171945" y="5097408"/>
              <a:ext cx="18300" cy="554951"/>
              <a:chOff x="6171945" y="5097408"/>
              <a:chExt cx="18300" cy="554951"/>
            </a:xfrm>
            <a:grpFill/>
          </p:grpSpPr>
          <p:sp>
            <p:nvSpPr>
              <p:cNvPr id="3024" name="Vrije vorm: vorm 3023">
                <a:extLst>
                  <a:ext uri="{FF2B5EF4-FFF2-40B4-BE49-F238E27FC236}">
                    <a16:creationId xmlns:a16="http://schemas.microsoft.com/office/drawing/2014/main" id="{74B3DC64-E9A0-42F5-8DD2-427F9EB149D1}"/>
                  </a:ext>
                </a:extLst>
              </p:cNvPr>
              <p:cNvSpPr/>
              <p:nvPr/>
            </p:nvSpPr>
            <p:spPr>
              <a:xfrm>
                <a:off x="6179600" y="5106141"/>
                <a:ext cx="3050" cy="537427"/>
              </a:xfrm>
              <a:custGeom>
                <a:avLst/>
                <a:gdLst>
                  <a:gd name="connsiteX0" fmla="*/ 3050 w 3050"/>
                  <a:gd name="connsiteY0" fmla="*/ 0 h 537427"/>
                  <a:gd name="connsiteX1" fmla="*/ 3050 w 3050"/>
                  <a:gd name="connsiteY1" fmla="*/ 537428 h 537427"/>
                  <a:gd name="connsiteX2" fmla="*/ 0 w 3050"/>
                  <a:gd name="connsiteY2" fmla="*/ 537428 h 537427"/>
                  <a:gd name="connsiteX3" fmla="*/ 0 w 3050"/>
                  <a:gd name="connsiteY3" fmla="*/ 0 h 537427"/>
                </a:gdLst>
                <a:ahLst/>
                <a:cxnLst>
                  <a:cxn ang="0">
                    <a:pos x="connsiteX0" y="connsiteY0"/>
                  </a:cxn>
                  <a:cxn ang="0">
                    <a:pos x="connsiteX1" y="connsiteY1"/>
                  </a:cxn>
                  <a:cxn ang="0">
                    <a:pos x="connsiteX2" y="connsiteY2"/>
                  </a:cxn>
                  <a:cxn ang="0">
                    <a:pos x="connsiteX3" y="connsiteY3"/>
                  </a:cxn>
                </a:cxnLst>
                <a:rect l="l" t="t" r="r" b="b"/>
                <a:pathLst>
                  <a:path w="3050" h="537427">
                    <a:moveTo>
                      <a:pt x="3050" y="0"/>
                    </a:moveTo>
                    <a:lnTo>
                      <a:pt x="3050" y="537428"/>
                    </a:lnTo>
                    <a:lnTo>
                      <a:pt x="0" y="537428"/>
                    </a:lnTo>
                    <a:lnTo>
                      <a:pt x="0" y="0"/>
                    </a:lnTo>
                    <a:close/>
                  </a:path>
                </a:pathLst>
              </a:custGeom>
              <a:grpFill/>
              <a:ln w="5978" cap="flat">
                <a:noFill/>
                <a:prstDash val="solid"/>
                <a:miter/>
              </a:ln>
            </p:spPr>
            <p:txBody>
              <a:bodyPr rtlCol="0" anchor="ctr"/>
              <a:lstStyle/>
              <a:p>
                <a:endParaRPr lang="en-GB"/>
              </a:p>
            </p:txBody>
          </p:sp>
          <p:sp>
            <p:nvSpPr>
              <p:cNvPr id="3025" name="Vrije vorm: vorm 3024">
                <a:extLst>
                  <a:ext uri="{FF2B5EF4-FFF2-40B4-BE49-F238E27FC236}">
                    <a16:creationId xmlns:a16="http://schemas.microsoft.com/office/drawing/2014/main" id="{FFC2B00A-C9B6-4FE8-A74B-800F800387D1}"/>
                  </a:ext>
                </a:extLst>
              </p:cNvPr>
              <p:cNvSpPr/>
              <p:nvPr/>
            </p:nvSpPr>
            <p:spPr>
              <a:xfrm>
                <a:off x="6171945" y="5097408"/>
                <a:ext cx="18300" cy="18422"/>
              </a:xfrm>
              <a:custGeom>
                <a:avLst/>
                <a:gdLst>
                  <a:gd name="connsiteX0" fmla="*/ 0 w 18300"/>
                  <a:gd name="connsiteY0" fmla="*/ 9151 h 18422"/>
                  <a:gd name="connsiteX1" fmla="*/ 9150 w 18300"/>
                  <a:gd name="connsiteY1" fmla="*/ 1 h 18422"/>
                  <a:gd name="connsiteX2" fmla="*/ 18301 w 18300"/>
                  <a:gd name="connsiteY2" fmla="*/ 9271 h 18422"/>
                  <a:gd name="connsiteX3" fmla="*/ 9150 w 18300"/>
                  <a:gd name="connsiteY3" fmla="*/ 18421 h 18422"/>
                  <a:gd name="connsiteX4" fmla="*/ 0 w 18300"/>
                  <a:gd name="connsiteY4" fmla="*/ 915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22">
                    <a:moveTo>
                      <a:pt x="0" y="9151"/>
                    </a:moveTo>
                    <a:cubicBezTo>
                      <a:pt x="0" y="4068"/>
                      <a:pt x="4127" y="-59"/>
                      <a:pt x="9150" y="1"/>
                    </a:cubicBezTo>
                    <a:cubicBezTo>
                      <a:pt x="14234" y="1"/>
                      <a:pt x="18301" y="4187"/>
                      <a:pt x="18301" y="9271"/>
                    </a:cubicBezTo>
                    <a:cubicBezTo>
                      <a:pt x="18301" y="14355"/>
                      <a:pt x="14174" y="18481"/>
                      <a:pt x="9150" y="18421"/>
                    </a:cubicBezTo>
                    <a:cubicBezTo>
                      <a:pt x="4127" y="18361"/>
                      <a:pt x="0" y="14235"/>
                      <a:pt x="0" y="9151"/>
                    </a:cubicBezTo>
                    <a:close/>
                  </a:path>
                </a:pathLst>
              </a:custGeom>
              <a:grpFill/>
              <a:ln w="5978" cap="flat">
                <a:noFill/>
                <a:prstDash val="solid"/>
                <a:miter/>
              </a:ln>
            </p:spPr>
            <p:txBody>
              <a:bodyPr rtlCol="0" anchor="ctr"/>
              <a:lstStyle/>
              <a:p>
                <a:endParaRPr lang="en-GB"/>
              </a:p>
            </p:txBody>
          </p:sp>
          <p:sp>
            <p:nvSpPr>
              <p:cNvPr id="3026" name="Vrije vorm: vorm 3025">
                <a:extLst>
                  <a:ext uri="{FF2B5EF4-FFF2-40B4-BE49-F238E27FC236}">
                    <a16:creationId xmlns:a16="http://schemas.microsoft.com/office/drawing/2014/main" id="{969DD441-56CA-4B8D-919F-F3285DC8C422}"/>
                  </a:ext>
                </a:extLst>
              </p:cNvPr>
              <p:cNvSpPr/>
              <p:nvPr/>
            </p:nvSpPr>
            <p:spPr>
              <a:xfrm>
                <a:off x="6171945" y="5633939"/>
                <a:ext cx="18300" cy="18421"/>
              </a:xfrm>
              <a:custGeom>
                <a:avLst/>
                <a:gdLst>
                  <a:gd name="connsiteX0" fmla="*/ 0 w 18300"/>
                  <a:gd name="connsiteY0" fmla="*/ 9151 h 18421"/>
                  <a:gd name="connsiteX1" fmla="*/ 9150 w 18300"/>
                  <a:gd name="connsiteY1" fmla="*/ 18421 h 18421"/>
                  <a:gd name="connsiteX2" fmla="*/ 18301 w 18300"/>
                  <a:gd name="connsiteY2" fmla="*/ 9271 h 18421"/>
                  <a:gd name="connsiteX3" fmla="*/ 9150 w 18300"/>
                  <a:gd name="connsiteY3" fmla="*/ 1 h 18421"/>
                  <a:gd name="connsiteX4" fmla="*/ 0 w 18300"/>
                  <a:gd name="connsiteY4" fmla="*/ 91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21">
                    <a:moveTo>
                      <a:pt x="0" y="9151"/>
                    </a:moveTo>
                    <a:cubicBezTo>
                      <a:pt x="0" y="14235"/>
                      <a:pt x="4127" y="18362"/>
                      <a:pt x="9150" y="18421"/>
                    </a:cubicBezTo>
                    <a:cubicBezTo>
                      <a:pt x="14234" y="18421"/>
                      <a:pt x="18301" y="14355"/>
                      <a:pt x="18301" y="9271"/>
                    </a:cubicBezTo>
                    <a:cubicBezTo>
                      <a:pt x="18301" y="4187"/>
                      <a:pt x="14174" y="61"/>
                      <a:pt x="9150" y="1"/>
                    </a:cubicBezTo>
                    <a:cubicBezTo>
                      <a:pt x="4127" y="-59"/>
                      <a:pt x="0" y="4067"/>
                      <a:pt x="0" y="9151"/>
                    </a:cubicBezTo>
                    <a:close/>
                  </a:path>
                </a:pathLst>
              </a:custGeom>
              <a:grpFill/>
              <a:ln w="5978" cap="flat">
                <a:noFill/>
                <a:prstDash val="solid"/>
                <a:miter/>
              </a:ln>
            </p:spPr>
            <p:txBody>
              <a:bodyPr rtlCol="0" anchor="ctr"/>
              <a:lstStyle/>
              <a:p>
                <a:endParaRPr lang="en-GB"/>
              </a:p>
            </p:txBody>
          </p:sp>
        </p:grpSp>
        <p:grpSp>
          <p:nvGrpSpPr>
            <p:cNvPr id="791" name="Graphic 3">
              <a:extLst>
                <a:ext uri="{FF2B5EF4-FFF2-40B4-BE49-F238E27FC236}">
                  <a16:creationId xmlns:a16="http://schemas.microsoft.com/office/drawing/2014/main" id="{7BF22015-D6A0-4ED7-9883-6F5A8CD0C4F6}"/>
                </a:ext>
              </a:extLst>
            </p:cNvPr>
            <p:cNvGrpSpPr/>
            <p:nvPr/>
          </p:nvGrpSpPr>
          <p:grpSpPr>
            <a:xfrm>
              <a:off x="6149980" y="5252778"/>
              <a:ext cx="24194" cy="122984"/>
              <a:chOff x="6149980" y="5252778"/>
              <a:chExt cx="24194" cy="122984"/>
            </a:xfrm>
            <a:grpFill/>
          </p:grpSpPr>
          <p:sp>
            <p:nvSpPr>
              <p:cNvPr id="3021" name="Vrije vorm: vorm 3020">
                <a:extLst>
                  <a:ext uri="{FF2B5EF4-FFF2-40B4-BE49-F238E27FC236}">
                    <a16:creationId xmlns:a16="http://schemas.microsoft.com/office/drawing/2014/main" id="{62B0B70F-770F-430E-9E7A-842D1E357D79}"/>
                  </a:ext>
                </a:extLst>
              </p:cNvPr>
              <p:cNvSpPr/>
              <p:nvPr/>
            </p:nvSpPr>
            <p:spPr>
              <a:xfrm>
                <a:off x="6157591" y="5261460"/>
                <a:ext cx="8971" cy="105619"/>
              </a:xfrm>
              <a:custGeom>
                <a:avLst/>
                <a:gdLst>
                  <a:gd name="connsiteX0" fmla="*/ 3050 w 8971"/>
                  <a:gd name="connsiteY0" fmla="*/ 0 h 105619"/>
                  <a:gd name="connsiteX1" fmla="*/ 8971 w 8971"/>
                  <a:gd name="connsiteY1" fmla="*/ 105500 h 105619"/>
                  <a:gd name="connsiteX2" fmla="*/ 5921 w 8971"/>
                  <a:gd name="connsiteY2" fmla="*/ 105619 h 105619"/>
                  <a:gd name="connsiteX3" fmla="*/ 0 w 8971"/>
                  <a:gd name="connsiteY3" fmla="*/ 179 h 105619"/>
                </a:gdLst>
                <a:ahLst/>
                <a:cxnLst>
                  <a:cxn ang="0">
                    <a:pos x="connsiteX0" y="connsiteY0"/>
                  </a:cxn>
                  <a:cxn ang="0">
                    <a:pos x="connsiteX1" y="connsiteY1"/>
                  </a:cxn>
                  <a:cxn ang="0">
                    <a:pos x="connsiteX2" y="connsiteY2"/>
                  </a:cxn>
                  <a:cxn ang="0">
                    <a:pos x="connsiteX3" y="connsiteY3"/>
                  </a:cxn>
                </a:cxnLst>
                <a:rect l="l" t="t" r="r" b="b"/>
                <a:pathLst>
                  <a:path w="8971" h="105619">
                    <a:moveTo>
                      <a:pt x="3050" y="0"/>
                    </a:moveTo>
                    <a:lnTo>
                      <a:pt x="8971" y="105500"/>
                    </a:lnTo>
                    <a:lnTo>
                      <a:pt x="5921" y="105619"/>
                    </a:lnTo>
                    <a:lnTo>
                      <a:pt x="0" y="179"/>
                    </a:lnTo>
                    <a:close/>
                  </a:path>
                </a:pathLst>
              </a:custGeom>
              <a:grpFill/>
              <a:ln w="5978" cap="flat">
                <a:noFill/>
                <a:prstDash val="solid"/>
                <a:miter/>
              </a:ln>
            </p:spPr>
            <p:txBody>
              <a:bodyPr rtlCol="0" anchor="ctr"/>
              <a:lstStyle/>
              <a:p>
                <a:endParaRPr lang="en-GB"/>
              </a:p>
            </p:txBody>
          </p:sp>
          <p:sp>
            <p:nvSpPr>
              <p:cNvPr id="3022" name="Vrije vorm: vorm 3021">
                <a:extLst>
                  <a:ext uri="{FF2B5EF4-FFF2-40B4-BE49-F238E27FC236}">
                    <a16:creationId xmlns:a16="http://schemas.microsoft.com/office/drawing/2014/main" id="{FAA00641-2AC3-4866-85CF-47D49DFB7FD7}"/>
                  </a:ext>
                </a:extLst>
              </p:cNvPr>
              <p:cNvSpPr/>
              <p:nvPr/>
            </p:nvSpPr>
            <p:spPr>
              <a:xfrm>
                <a:off x="6155841" y="5357321"/>
                <a:ext cx="18333" cy="18441"/>
              </a:xfrm>
              <a:custGeom>
                <a:avLst/>
                <a:gdLst>
                  <a:gd name="connsiteX0" fmla="*/ 18317 w 18333"/>
                  <a:gd name="connsiteY0" fmla="*/ 8742 h 18441"/>
                  <a:gd name="connsiteX1" fmla="*/ 9705 w 18333"/>
                  <a:gd name="connsiteY1" fmla="*/ 18431 h 18441"/>
                  <a:gd name="connsiteX2" fmla="*/ 16 w 18333"/>
                  <a:gd name="connsiteY2" fmla="*/ 9699 h 18441"/>
                  <a:gd name="connsiteX3" fmla="*/ 8628 w 18333"/>
                  <a:gd name="connsiteY3" fmla="*/ 10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616" y="13826"/>
                      <a:pt x="14728" y="18132"/>
                      <a:pt x="9705" y="18431"/>
                    </a:cubicBezTo>
                    <a:cubicBezTo>
                      <a:pt x="4681" y="18670"/>
                      <a:pt x="315" y="14783"/>
                      <a:pt x="16" y="9699"/>
                    </a:cubicBezTo>
                    <a:cubicBezTo>
                      <a:pt x="-283" y="4616"/>
                      <a:pt x="3604" y="309"/>
                      <a:pt x="8628" y="10"/>
                    </a:cubicBezTo>
                    <a:cubicBezTo>
                      <a:pt x="13712" y="-229"/>
                      <a:pt x="18018" y="3659"/>
                      <a:pt x="18317" y="8742"/>
                    </a:cubicBezTo>
                    <a:close/>
                  </a:path>
                </a:pathLst>
              </a:custGeom>
              <a:grpFill/>
              <a:ln w="5978" cap="flat">
                <a:noFill/>
                <a:prstDash val="solid"/>
                <a:miter/>
              </a:ln>
            </p:spPr>
            <p:txBody>
              <a:bodyPr rtlCol="0" anchor="ctr"/>
              <a:lstStyle/>
              <a:p>
                <a:endParaRPr lang="en-GB"/>
              </a:p>
            </p:txBody>
          </p:sp>
          <p:sp>
            <p:nvSpPr>
              <p:cNvPr id="3023" name="Vrije vorm: vorm 3022">
                <a:extLst>
                  <a:ext uri="{FF2B5EF4-FFF2-40B4-BE49-F238E27FC236}">
                    <a16:creationId xmlns:a16="http://schemas.microsoft.com/office/drawing/2014/main" id="{EA5DB737-1C62-4982-A33C-1FD929EFB768}"/>
                  </a:ext>
                </a:extLst>
              </p:cNvPr>
              <p:cNvSpPr/>
              <p:nvPr/>
            </p:nvSpPr>
            <p:spPr>
              <a:xfrm>
                <a:off x="6149980" y="5252778"/>
                <a:ext cx="18327" cy="18441"/>
              </a:xfrm>
              <a:custGeom>
                <a:avLst/>
                <a:gdLst>
                  <a:gd name="connsiteX0" fmla="*/ 18317 w 18327"/>
                  <a:gd name="connsiteY0" fmla="*/ 8742 h 18441"/>
                  <a:gd name="connsiteX1" fmla="*/ 8628 w 18327"/>
                  <a:gd name="connsiteY1" fmla="*/ 10 h 18441"/>
                  <a:gd name="connsiteX2" fmla="*/ 16 w 18327"/>
                  <a:gd name="connsiteY2" fmla="*/ 9699 h 18441"/>
                  <a:gd name="connsiteX3" fmla="*/ 9705 w 18327"/>
                  <a:gd name="connsiteY3" fmla="*/ 18431 h 18441"/>
                  <a:gd name="connsiteX4" fmla="*/ 18317 w 18327"/>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18317" y="8742"/>
                    </a:moveTo>
                    <a:cubicBezTo>
                      <a:pt x="18018" y="3659"/>
                      <a:pt x="13712" y="-229"/>
                      <a:pt x="8628" y="10"/>
                    </a:cubicBezTo>
                    <a:cubicBezTo>
                      <a:pt x="3605" y="250"/>
                      <a:pt x="-283" y="4615"/>
                      <a:pt x="16" y="9699"/>
                    </a:cubicBezTo>
                    <a:cubicBezTo>
                      <a:pt x="315" y="14783"/>
                      <a:pt x="4621" y="18670"/>
                      <a:pt x="9705" y="18431"/>
                    </a:cubicBezTo>
                    <a:cubicBezTo>
                      <a:pt x="14729" y="18192"/>
                      <a:pt x="18557" y="13826"/>
                      <a:pt x="18317" y="8742"/>
                    </a:cubicBezTo>
                    <a:close/>
                  </a:path>
                </a:pathLst>
              </a:custGeom>
              <a:grpFill/>
              <a:ln w="5978" cap="flat">
                <a:noFill/>
                <a:prstDash val="solid"/>
                <a:miter/>
              </a:ln>
            </p:spPr>
            <p:txBody>
              <a:bodyPr rtlCol="0" anchor="ctr"/>
              <a:lstStyle/>
              <a:p>
                <a:endParaRPr lang="en-GB"/>
              </a:p>
            </p:txBody>
          </p:sp>
        </p:grpSp>
        <p:grpSp>
          <p:nvGrpSpPr>
            <p:cNvPr id="792" name="Graphic 3">
              <a:extLst>
                <a:ext uri="{FF2B5EF4-FFF2-40B4-BE49-F238E27FC236}">
                  <a16:creationId xmlns:a16="http://schemas.microsoft.com/office/drawing/2014/main" id="{6455DED7-0830-4BA8-B4B3-72751049FD5A}"/>
                </a:ext>
              </a:extLst>
            </p:cNvPr>
            <p:cNvGrpSpPr/>
            <p:nvPr/>
          </p:nvGrpSpPr>
          <p:grpSpPr>
            <a:xfrm>
              <a:off x="6249414" y="5580320"/>
              <a:ext cx="27175" cy="112630"/>
              <a:chOff x="6249414" y="5580320"/>
              <a:chExt cx="27175" cy="112630"/>
            </a:xfrm>
            <a:grpFill/>
          </p:grpSpPr>
          <p:sp>
            <p:nvSpPr>
              <p:cNvPr id="3018" name="Vrije vorm: vorm 3017">
                <a:extLst>
                  <a:ext uri="{FF2B5EF4-FFF2-40B4-BE49-F238E27FC236}">
                    <a16:creationId xmlns:a16="http://schemas.microsoft.com/office/drawing/2014/main" id="{1C6EEFBE-55BC-4E93-9C5D-80B5F98E2E81}"/>
                  </a:ext>
                </a:extLst>
              </p:cNvPr>
              <p:cNvSpPr/>
              <p:nvPr/>
            </p:nvSpPr>
            <p:spPr>
              <a:xfrm>
                <a:off x="6257051" y="5588964"/>
                <a:ext cx="11901" cy="95392"/>
              </a:xfrm>
              <a:custGeom>
                <a:avLst/>
                <a:gdLst>
                  <a:gd name="connsiteX0" fmla="*/ 2990 w 11901"/>
                  <a:gd name="connsiteY0" fmla="*/ 0 h 95392"/>
                  <a:gd name="connsiteX1" fmla="*/ 11902 w 11901"/>
                  <a:gd name="connsiteY1" fmla="*/ 95094 h 95392"/>
                  <a:gd name="connsiteX2" fmla="*/ 8911 w 11901"/>
                  <a:gd name="connsiteY2" fmla="*/ 95393 h 95392"/>
                  <a:gd name="connsiteX3" fmla="*/ 0 w 11901"/>
                  <a:gd name="connsiteY3" fmla="*/ 239 h 95392"/>
                </a:gdLst>
                <a:ahLst/>
                <a:cxnLst>
                  <a:cxn ang="0">
                    <a:pos x="connsiteX0" y="connsiteY0"/>
                  </a:cxn>
                  <a:cxn ang="0">
                    <a:pos x="connsiteX1" y="connsiteY1"/>
                  </a:cxn>
                  <a:cxn ang="0">
                    <a:pos x="connsiteX2" y="connsiteY2"/>
                  </a:cxn>
                  <a:cxn ang="0">
                    <a:pos x="connsiteX3" y="connsiteY3"/>
                  </a:cxn>
                </a:cxnLst>
                <a:rect l="l" t="t" r="r" b="b"/>
                <a:pathLst>
                  <a:path w="11901" h="95392">
                    <a:moveTo>
                      <a:pt x="2990" y="0"/>
                    </a:moveTo>
                    <a:lnTo>
                      <a:pt x="11902" y="95094"/>
                    </a:lnTo>
                    <a:lnTo>
                      <a:pt x="8911" y="95393"/>
                    </a:lnTo>
                    <a:lnTo>
                      <a:pt x="0" y="239"/>
                    </a:lnTo>
                    <a:close/>
                  </a:path>
                </a:pathLst>
              </a:custGeom>
              <a:grpFill/>
              <a:ln w="5978" cap="flat">
                <a:noFill/>
                <a:prstDash val="solid"/>
                <a:miter/>
              </a:ln>
            </p:spPr>
            <p:txBody>
              <a:bodyPr rtlCol="0" anchor="ctr"/>
              <a:lstStyle/>
              <a:p>
                <a:endParaRPr lang="en-GB"/>
              </a:p>
            </p:txBody>
          </p:sp>
          <p:sp>
            <p:nvSpPr>
              <p:cNvPr id="3019" name="Vrije vorm: vorm 3018">
                <a:extLst>
                  <a:ext uri="{FF2B5EF4-FFF2-40B4-BE49-F238E27FC236}">
                    <a16:creationId xmlns:a16="http://schemas.microsoft.com/office/drawing/2014/main" id="{462CC578-209C-4C2C-AC36-DBDC6617BEA8}"/>
                  </a:ext>
                </a:extLst>
              </p:cNvPr>
              <p:cNvSpPr/>
              <p:nvPr/>
            </p:nvSpPr>
            <p:spPr>
              <a:xfrm>
                <a:off x="6258265" y="5674516"/>
                <a:ext cx="18324" cy="18434"/>
              </a:xfrm>
              <a:custGeom>
                <a:avLst/>
                <a:gdLst>
                  <a:gd name="connsiteX0" fmla="*/ 18283 w 18324"/>
                  <a:gd name="connsiteY0" fmla="*/ 8405 h 18434"/>
                  <a:gd name="connsiteX1" fmla="*/ 10029 w 18324"/>
                  <a:gd name="connsiteY1" fmla="*/ 18393 h 18434"/>
                  <a:gd name="connsiteX2" fmla="*/ 42 w 18324"/>
                  <a:gd name="connsiteY2" fmla="*/ 10020 h 18434"/>
                  <a:gd name="connsiteX3" fmla="*/ 8295 w 18324"/>
                  <a:gd name="connsiteY3" fmla="*/ 32 h 18434"/>
                  <a:gd name="connsiteX4" fmla="*/ 18283 w 18324"/>
                  <a:gd name="connsiteY4" fmla="*/ 840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4">
                    <a:moveTo>
                      <a:pt x="18283" y="8405"/>
                    </a:moveTo>
                    <a:cubicBezTo>
                      <a:pt x="18761" y="13489"/>
                      <a:pt x="15053" y="17974"/>
                      <a:pt x="10029" y="18393"/>
                    </a:cubicBezTo>
                    <a:cubicBezTo>
                      <a:pt x="5005" y="18872"/>
                      <a:pt x="520" y="15104"/>
                      <a:pt x="42" y="10020"/>
                    </a:cubicBezTo>
                    <a:cubicBezTo>
                      <a:pt x="-437" y="4936"/>
                      <a:pt x="3271" y="451"/>
                      <a:pt x="8295" y="32"/>
                    </a:cubicBezTo>
                    <a:cubicBezTo>
                      <a:pt x="13319" y="-386"/>
                      <a:pt x="17804" y="3322"/>
                      <a:pt x="18283" y="8405"/>
                    </a:cubicBezTo>
                    <a:close/>
                  </a:path>
                </a:pathLst>
              </a:custGeom>
              <a:grpFill/>
              <a:ln w="5978" cap="flat">
                <a:noFill/>
                <a:prstDash val="solid"/>
                <a:miter/>
              </a:ln>
            </p:spPr>
            <p:txBody>
              <a:bodyPr rtlCol="0" anchor="ctr"/>
              <a:lstStyle/>
              <a:p>
                <a:endParaRPr lang="en-GB"/>
              </a:p>
            </p:txBody>
          </p:sp>
          <p:sp>
            <p:nvSpPr>
              <p:cNvPr id="3020" name="Vrije vorm: vorm 3019">
                <a:extLst>
                  <a:ext uri="{FF2B5EF4-FFF2-40B4-BE49-F238E27FC236}">
                    <a16:creationId xmlns:a16="http://schemas.microsoft.com/office/drawing/2014/main" id="{F05B3B17-B4CF-4BF6-B449-429D4F4DE98B}"/>
                  </a:ext>
                </a:extLst>
              </p:cNvPr>
              <p:cNvSpPr/>
              <p:nvPr/>
            </p:nvSpPr>
            <p:spPr>
              <a:xfrm>
                <a:off x="6249414" y="5580320"/>
                <a:ext cx="18324" cy="18425"/>
              </a:xfrm>
              <a:custGeom>
                <a:avLst/>
                <a:gdLst>
                  <a:gd name="connsiteX0" fmla="*/ 18283 w 18324"/>
                  <a:gd name="connsiteY0" fmla="*/ 8405 h 18425"/>
                  <a:gd name="connsiteX1" fmla="*/ 8295 w 18324"/>
                  <a:gd name="connsiteY1" fmla="*/ 32 h 18425"/>
                  <a:gd name="connsiteX2" fmla="*/ 42 w 18324"/>
                  <a:gd name="connsiteY2" fmla="*/ 10020 h 18425"/>
                  <a:gd name="connsiteX3" fmla="*/ 10030 w 18324"/>
                  <a:gd name="connsiteY3" fmla="*/ 18393 h 18425"/>
                  <a:gd name="connsiteX4" fmla="*/ 18283 w 1832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8283" y="8405"/>
                    </a:moveTo>
                    <a:cubicBezTo>
                      <a:pt x="17804" y="3322"/>
                      <a:pt x="13319" y="-386"/>
                      <a:pt x="8295" y="32"/>
                    </a:cubicBezTo>
                    <a:cubicBezTo>
                      <a:pt x="3271" y="511"/>
                      <a:pt x="-437" y="4996"/>
                      <a:pt x="42" y="10020"/>
                    </a:cubicBezTo>
                    <a:cubicBezTo>
                      <a:pt x="520" y="15104"/>
                      <a:pt x="5006" y="18812"/>
                      <a:pt x="10030" y="18393"/>
                    </a:cubicBezTo>
                    <a:cubicBezTo>
                      <a:pt x="15053" y="17974"/>
                      <a:pt x="18761" y="13489"/>
                      <a:pt x="18283" y="8405"/>
                    </a:cubicBezTo>
                    <a:close/>
                  </a:path>
                </a:pathLst>
              </a:custGeom>
              <a:grpFill/>
              <a:ln w="5978" cap="flat">
                <a:noFill/>
                <a:prstDash val="solid"/>
                <a:miter/>
              </a:ln>
            </p:spPr>
            <p:txBody>
              <a:bodyPr rtlCol="0" anchor="ctr"/>
              <a:lstStyle/>
              <a:p>
                <a:endParaRPr lang="en-GB"/>
              </a:p>
            </p:txBody>
          </p:sp>
        </p:grpSp>
        <p:grpSp>
          <p:nvGrpSpPr>
            <p:cNvPr id="793" name="Graphic 3">
              <a:extLst>
                <a:ext uri="{FF2B5EF4-FFF2-40B4-BE49-F238E27FC236}">
                  <a16:creationId xmlns:a16="http://schemas.microsoft.com/office/drawing/2014/main" id="{F714C10B-4621-46AD-BA42-A4568CD03404}"/>
                </a:ext>
              </a:extLst>
            </p:cNvPr>
            <p:cNvGrpSpPr/>
            <p:nvPr/>
          </p:nvGrpSpPr>
          <p:grpSpPr>
            <a:xfrm>
              <a:off x="4789499" y="1509049"/>
              <a:ext cx="320950" cy="530436"/>
              <a:chOff x="4789499" y="1509049"/>
              <a:chExt cx="320950" cy="530436"/>
            </a:xfrm>
            <a:grpFill/>
          </p:grpSpPr>
          <p:sp>
            <p:nvSpPr>
              <p:cNvPr id="3015" name="Vrije vorm: vorm 3014">
                <a:extLst>
                  <a:ext uri="{FF2B5EF4-FFF2-40B4-BE49-F238E27FC236}">
                    <a16:creationId xmlns:a16="http://schemas.microsoft.com/office/drawing/2014/main" id="{6EE1D211-76D4-4496-830F-28CE56E97C0F}"/>
                  </a:ext>
                </a:extLst>
              </p:cNvPr>
              <p:cNvSpPr/>
              <p:nvPr/>
            </p:nvSpPr>
            <p:spPr>
              <a:xfrm>
                <a:off x="4796707" y="1517395"/>
                <a:ext cx="306123" cy="514076"/>
              </a:xfrm>
              <a:custGeom>
                <a:avLst/>
                <a:gdLst>
                  <a:gd name="connsiteX0" fmla="*/ 0 w 306123"/>
                  <a:gd name="connsiteY0" fmla="*/ 1554 h 514076"/>
                  <a:gd name="connsiteX1" fmla="*/ 2624 w 306123"/>
                  <a:gd name="connsiteY1" fmla="*/ 0 h 514076"/>
                  <a:gd name="connsiteX2" fmla="*/ 306123 w 306123"/>
                  <a:gd name="connsiteY2" fmla="*/ 512523 h 514076"/>
                  <a:gd name="connsiteX3" fmla="*/ 303499 w 306123"/>
                  <a:gd name="connsiteY3" fmla="*/ 514077 h 514076"/>
                </a:gdLst>
                <a:ahLst/>
                <a:cxnLst>
                  <a:cxn ang="0">
                    <a:pos x="connsiteX0" y="connsiteY0"/>
                  </a:cxn>
                  <a:cxn ang="0">
                    <a:pos x="connsiteX1" y="connsiteY1"/>
                  </a:cxn>
                  <a:cxn ang="0">
                    <a:pos x="connsiteX2" y="connsiteY2"/>
                  </a:cxn>
                  <a:cxn ang="0">
                    <a:pos x="connsiteX3" y="connsiteY3"/>
                  </a:cxn>
                </a:cxnLst>
                <a:rect l="l" t="t" r="r" b="b"/>
                <a:pathLst>
                  <a:path w="306123" h="514076">
                    <a:moveTo>
                      <a:pt x="0" y="1554"/>
                    </a:moveTo>
                    <a:lnTo>
                      <a:pt x="2624" y="0"/>
                    </a:lnTo>
                    <a:lnTo>
                      <a:pt x="306123" y="512523"/>
                    </a:lnTo>
                    <a:lnTo>
                      <a:pt x="303499" y="514077"/>
                    </a:lnTo>
                    <a:close/>
                  </a:path>
                </a:pathLst>
              </a:custGeom>
              <a:grpFill/>
              <a:ln w="5978" cap="flat">
                <a:noFill/>
                <a:prstDash val="solid"/>
                <a:miter/>
              </a:ln>
            </p:spPr>
            <p:txBody>
              <a:bodyPr rtlCol="0" anchor="ctr"/>
              <a:lstStyle/>
              <a:p>
                <a:endParaRPr lang="en-GB"/>
              </a:p>
            </p:txBody>
          </p:sp>
          <p:sp>
            <p:nvSpPr>
              <p:cNvPr id="3016" name="Vrije vorm: vorm 3015">
                <a:extLst>
                  <a:ext uri="{FF2B5EF4-FFF2-40B4-BE49-F238E27FC236}">
                    <a16:creationId xmlns:a16="http://schemas.microsoft.com/office/drawing/2014/main" id="{3D616171-866B-4B34-B3EE-1E3DF955CEEF}"/>
                  </a:ext>
                </a:extLst>
              </p:cNvPr>
              <p:cNvSpPr/>
              <p:nvPr/>
            </p:nvSpPr>
            <p:spPr>
              <a:xfrm>
                <a:off x="5092163" y="2021085"/>
                <a:ext cx="18285" cy="18400"/>
              </a:xfrm>
              <a:custGeom>
                <a:avLst/>
                <a:gdLst>
                  <a:gd name="connsiteX0" fmla="*/ 17008 w 18285"/>
                  <a:gd name="connsiteY0" fmla="*/ 4506 h 18400"/>
                  <a:gd name="connsiteX1" fmla="*/ 13838 w 18285"/>
                  <a:gd name="connsiteY1" fmla="*/ 17125 h 18400"/>
                  <a:gd name="connsiteX2" fmla="*/ 1278 w 18285"/>
                  <a:gd name="connsiteY2" fmla="*/ 13895 h 18400"/>
                  <a:gd name="connsiteX3" fmla="*/ 4448 w 18285"/>
                  <a:gd name="connsiteY3" fmla="*/ 1276 h 18400"/>
                  <a:gd name="connsiteX4" fmla="*/ 17008 w 18285"/>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00">
                    <a:moveTo>
                      <a:pt x="17008" y="4506"/>
                    </a:moveTo>
                    <a:cubicBezTo>
                      <a:pt x="19579" y="8871"/>
                      <a:pt x="18144" y="14553"/>
                      <a:pt x="13838" y="17125"/>
                    </a:cubicBezTo>
                    <a:cubicBezTo>
                      <a:pt x="9472" y="19697"/>
                      <a:pt x="3850" y="18261"/>
                      <a:pt x="1278" y="13895"/>
                    </a:cubicBezTo>
                    <a:cubicBezTo>
                      <a:pt x="-1293" y="9529"/>
                      <a:pt x="142" y="3848"/>
                      <a:pt x="4448" y="1276"/>
                    </a:cubicBezTo>
                    <a:cubicBezTo>
                      <a:pt x="8754" y="-1296"/>
                      <a:pt x="14376" y="140"/>
                      <a:pt x="17008" y="4506"/>
                    </a:cubicBezTo>
                    <a:close/>
                  </a:path>
                </a:pathLst>
              </a:custGeom>
              <a:grpFill/>
              <a:ln w="5978" cap="flat">
                <a:noFill/>
                <a:prstDash val="solid"/>
                <a:miter/>
              </a:ln>
            </p:spPr>
            <p:txBody>
              <a:bodyPr rtlCol="0" anchor="ctr"/>
              <a:lstStyle/>
              <a:p>
                <a:endParaRPr lang="en-GB"/>
              </a:p>
            </p:txBody>
          </p:sp>
          <p:sp>
            <p:nvSpPr>
              <p:cNvPr id="3017" name="Vrije vorm: vorm 3016">
                <a:extLst>
                  <a:ext uri="{FF2B5EF4-FFF2-40B4-BE49-F238E27FC236}">
                    <a16:creationId xmlns:a16="http://schemas.microsoft.com/office/drawing/2014/main" id="{A84CF781-6EB6-421A-B44C-EF8B6922612B}"/>
                  </a:ext>
                </a:extLst>
              </p:cNvPr>
              <p:cNvSpPr/>
              <p:nvPr/>
            </p:nvSpPr>
            <p:spPr>
              <a:xfrm>
                <a:off x="4789499" y="1509049"/>
                <a:ext cx="18365" cy="18453"/>
              </a:xfrm>
              <a:custGeom>
                <a:avLst/>
                <a:gdLst>
                  <a:gd name="connsiteX0" fmla="*/ 17047 w 18365"/>
                  <a:gd name="connsiteY0" fmla="*/ 4532 h 18453"/>
                  <a:gd name="connsiteX1" fmla="*/ 4488 w 18365"/>
                  <a:gd name="connsiteY1" fmla="*/ 1303 h 18453"/>
                  <a:gd name="connsiteX2" fmla="*/ 1318 w 18365"/>
                  <a:gd name="connsiteY2" fmla="*/ 13922 h 18453"/>
                  <a:gd name="connsiteX3" fmla="*/ 13878 w 18365"/>
                  <a:gd name="connsiteY3" fmla="*/ 17151 h 18453"/>
                  <a:gd name="connsiteX4" fmla="*/ 17047 w 18365"/>
                  <a:gd name="connsiteY4" fmla="*/ 453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53">
                    <a:moveTo>
                      <a:pt x="17047" y="4532"/>
                    </a:moveTo>
                    <a:cubicBezTo>
                      <a:pt x="14476" y="166"/>
                      <a:pt x="8854" y="-1329"/>
                      <a:pt x="4488" y="1303"/>
                    </a:cubicBezTo>
                    <a:cubicBezTo>
                      <a:pt x="122" y="3874"/>
                      <a:pt x="-1313" y="9556"/>
                      <a:pt x="1318" y="13922"/>
                    </a:cubicBezTo>
                    <a:cubicBezTo>
                      <a:pt x="3890" y="18288"/>
                      <a:pt x="9512" y="19783"/>
                      <a:pt x="13878" y="17151"/>
                    </a:cubicBezTo>
                    <a:cubicBezTo>
                      <a:pt x="18244" y="14520"/>
                      <a:pt x="19679" y="8898"/>
                      <a:pt x="17047" y="4532"/>
                    </a:cubicBezTo>
                    <a:close/>
                  </a:path>
                </a:pathLst>
              </a:custGeom>
              <a:grpFill/>
              <a:ln w="5978" cap="flat">
                <a:noFill/>
                <a:prstDash val="solid"/>
                <a:miter/>
              </a:ln>
            </p:spPr>
            <p:txBody>
              <a:bodyPr rtlCol="0" anchor="ctr"/>
              <a:lstStyle/>
              <a:p>
                <a:endParaRPr lang="en-GB"/>
              </a:p>
            </p:txBody>
          </p:sp>
        </p:grpSp>
        <p:grpSp>
          <p:nvGrpSpPr>
            <p:cNvPr id="794" name="Graphic 3">
              <a:extLst>
                <a:ext uri="{FF2B5EF4-FFF2-40B4-BE49-F238E27FC236}">
                  <a16:creationId xmlns:a16="http://schemas.microsoft.com/office/drawing/2014/main" id="{A005058F-A435-41EA-B26D-27978E2326BF}"/>
                </a:ext>
              </a:extLst>
            </p:cNvPr>
            <p:cNvGrpSpPr/>
            <p:nvPr/>
          </p:nvGrpSpPr>
          <p:grpSpPr>
            <a:xfrm>
              <a:off x="6078404" y="5095554"/>
              <a:ext cx="20578" cy="133550"/>
              <a:chOff x="6078404" y="5095554"/>
              <a:chExt cx="20578" cy="133550"/>
            </a:xfrm>
            <a:grpFill/>
          </p:grpSpPr>
          <p:sp>
            <p:nvSpPr>
              <p:cNvPr id="3012" name="Vrije vorm: vorm 3011">
                <a:extLst>
                  <a:ext uri="{FF2B5EF4-FFF2-40B4-BE49-F238E27FC236}">
                    <a16:creationId xmlns:a16="http://schemas.microsoft.com/office/drawing/2014/main" id="{98743EEB-F77B-49F7-871E-66E5D988B81C}"/>
                  </a:ext>
                </a:extLst>
              </p:cNvPr>
              <p:cNvSpPr/>
              <p:nvPr/>
            </p:nvSpPr>
            <p:spPr>
              <a:xfrm>
                <a:off x="6086062" y="5104287"/>
                <a:ext cx="5263" cy="116145"/>
              </a:xfrm>
              <a:custGeom>
                <a:avLst/>
                <a:gdLst>
                  <a:gd name="connsiteX0" fmla="*/ 2990 w 5263"/>
                  <a:gd name="connsiteY0" fmla="*/ 0 h 116145"/>
                  <a:gd name="connsiteX1" fmla="*/ 5263 w 5263"/>
                  <a:gd name="connsiteY1" fmla="*/ 116086 h 116145"/>
                  <a:gd name="connsiteX2" fmla="*/ 2213 w 5263"/>
                  <a:gd name="connsiteY2" fmla="*/ 116146 h 116145"/>
                  <a:gd name="connsiteX3" fmla="*/ 0 w 5263"/>
                  <a:gd name="connsiteY3" fmla="*/ 60 h 116145"/>
                </a:gdLst>
                <a:ahLst/>
                <a:cxnLst>
                  <a:cxn ang="0">
                    <a:pos x="connsiteX0" y="connsiteY0"/>
                  </a:cxn>
                  <a:cxn ang="0">
                    <a:pos x="connsiteX1" y="connsiteY1"/>
                  </a:cxn>
                  <a:cxn ang="0">
                    <a:pos x="connsiteX2" y="connsiteY2"/>
                  </a:cxn>
                  <a:cxn ang="0">
                    <a:pos x="connsiteX3" y="connsiteY3"/>
                  </a:cxn>
                </a:cxnLst>
                <a:rect l="l" t="t" r="r" b="b"/>
                <a:pathLst>
                  <a:path w="5263" h="116145">
                    <a:moveTo>
                      <a:pt x="2990" y="0"/>
                    </a:moveTo>
                    <a:lnTo>
                      <a:pt x="5263" y="116086"/>
                    </a:lnTo>
                    <a:lnTo>
                      <a:pt x="2213" y="116146"/>
                    </a:lnTo>
                    <a:lnTo>
                      <a:pt x="0" y="60"/>
                    </a:lnTo>
                    <a:close/>
                  </a:path>
                </a:pathLst>
              </a:custGeom>
              <a:grpFill/>
              <a:ln w="5978" cap="flat">
                <a:noFill/>
                <a:prstDash val="solid"/>
                <a:miter/>
              </a:ln>
            </p:spPr>
            <p:txBody>
              <a:bodyPr rtlCol="0" anchor="ctr"/>
              <a:lstStyle/>
              <a:p>
                <a:endParaRPr lang="en-GB"/>
              </a:p>
            </p:txBody>
          </p:sp>
          <p:sp>
            <p:nvSpPr>
              <p:cNvPr id="3013" name="Vrije vorm: vorm 3012">
                <a:extLst>
                  <a:ext uri="{FF2B5EF4-FFF2-40B4-BE49-F238E27FC236}">
                    <a16:creationId xmlns:a16="http://schemas.microsoft.com/office/drawing/2014/main" id="{1D083BAB-90FA-4A1C-AC60-19C7C559728F}"/>
                  </a:ext>
                </a:extLst>
              </p:cNvPr>
              <p:cNvSpPr/>
              <p:nvPr/>
            </p:nvSpPr>
            <p:spPr>
              <a:xfrm>
                <a:off x="6080677" y="5210683"/>
                <a:ext cx="18306" cy="18422"/>
              </a:xfrm>
              <a:custGeom>
                <a:avLst/>
                <a:gdLst>
                  <a:gd name="connsiteX0" fmla="*/ 18304 w 18306"/>
                  <a:gd name="connsiteY0" fmla="*/ 9091 h 18422"/>
                  <a:gd name="connsiteX1" fmla="*/ 9332 w 18306"/>
                  <a:gd name="connsiteY1" fmla="*/ 18421 h 18422"/>
                  <a:gd name="connsiteX2" fmla="*/ 3 w 18306"/>
                  <a:gd name="connsiteY2" fmla="*/ 9331 h 18422"/>
                  <a:gd name="connsiteX3" fmla="*/ 8974 w 18306"/>
                  <a:gd name="connsiteY3" fmla="*/ 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423" y="14175"/>
                      <a:pt x="14356" y="18362"/>
                      <a:pt x="9332" y="18421"/>
                    </a:cubicBezTo>
                    <a:cubicBezTo>
                      <a:pt x="4249" y="18481"/>
                      <a:pt x="62" y="14414"/>
                      <a:pt x="3" y="9331"/>
                    </a:cubicBezTo>
                    <a:cubicBezTo>
                      <a:pt x="-117" y="4247"/>
                      <a:pt x="3950" y="61"/>
                      <a:pt x="8974" y="1"/>
                    </a:cubicBezTo>
                    <a:cubicBezTo>
                      <a:pt x="13997" y="-59"/>
                      <a:pt x="18184" y="4008"/>
                      <a:pt x="18304" y="9091"/>
                    </a:cubicBezTo>
                    <a:close/>
                  </a:path>
                </a:pathLst>
              </a:custGeom>
              <a:grpFill/>
              <a:ln w="5978" cap="flat">
                <a:noFill/>
                <a:prstDash val="solid"/>
                <a:miter/>
              </a:ln>
            </p:spPr>
            <p:txBody>
              <a:bodyPr rtlCol="0" anchor="ctr"/>
              <a:lstStyle/>
              <a:p>
                <a:endParaRPr lang="en-GB"/>
              </a:p>
            </p:txBody>
          </p:sp>
          <p:sp>
            <p:nvSpPr>
              <p:cNvPr id="3014" name="Vrije vorm: vorm 3013">
                <a:extLst>
                  <a:ext uri="{FF2B5EF4-FFF2-40B4-BE49-F238E27FC236}">
                    <a16:creationId xmlns:a16="http://schemas.microsoft.com/office/drawing/2014/main" id="{B6B00822-E72F-4213-A9B7-598935C3C032}"/>
                  </a:ext>
                </a:extLst>
              </p:cNvPr>
              <p:cNvSpPr/>
              <p:nvPr/>
            </p:nvSpPr>
            <p:spPr>
              <a:xfrm>
                <a:off x="6078404" y="5095554"/>
                <a:ext cx="18306" cy="18422"/>
              </a:xfrm>
              <a:custGeom>
                <a:avLst/>
                <a:gdLst>
                  <a:gd name="connsiteX0" fmla="*/ 18304 w 18306"/>
                  <a:gd name="connsiteY0" fmla="*/ 9091 h 18422"/>
                  <a:gd name="connsiteX1" fmla="*/ 8974 w 18306"/>
                  <a:gd name="connsiteY1" fmla="*/ 1 h 18422"/>
                  <a:gd name="connsiteX2" fmla="*/ 3 w 18306"/>
                  <a:gd name="connsiteY2" fmla="*/ 9331 h 18422"/>
                  <a:gd name="connsiteX3" fmla="*/ 9333 w 18306"/>
                  <a:gd name="connsiteY3" fmla="*/ 1842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184" y="4008"/>
                      <a:pt x="13997" y="-59"/>
                      <a:pt x="8974" y="1"/>
                    </a:cubicBezTo>
                    <a:cubicBezTo>
                      <a:pt x="3890" y="61"/>
                      <a:pt x="-117" y="4247"/>
                      <a:pt x="3" y="9331"/>
                    </a:cubicBezTo>
                    <a:cubicBezTo>
                      <a:pt x="122" y="14414"/>
                      <a:pt x="4309" y="18481"/>
                      <a:pt x="9333" y="18421"/>
                    </a:cubicBezTo>
                    <a:cubicBezTo>
                      <a:pt x="14416" y="18362"/>
                      <a:pt x="18423" y="14175"/>
                      <a:pt x="18304" y="9091"/>
                    </a:cubicBezTo>
                    <a:close/>
                  </a:path>
                </a:pathLst>
              </a:custGeom>
              <a:grpFill/>
              <a:ln w="5978" cap="flat">
                <a:noFill/>
                <a:prstDash val="solid"/>
                <a:miter/>
              </a:ln>
            </p:spPr>
            <p:txBody>
              <a:bodyPr rtlCol="0" anchor="ctr"/>
              <a:lstStyle/>
              <a:p>
                <a:endParaRPr lang="en-GB"/>
              </a:p>
            </p:txBody>
          </p:sp>
        </p:grpSp>
        <p:grpSp>
          <p:nvGrpSpPr>
            <p:cNvPr id="795" name="Graphic 3">
              <a:extLst>
                <a:ext uri="{FF2B5EF4-FFF2-40B4-BE49-F238E27FC236}">
                  <a16:creationId xmlns:a16="http://schemas.microsoft.com/office/drawing/2014/main" id="{E873F634-D6A3-42FC-A44A-C0445EC06CE1}"/>
                </a:ext>
              </a:extLst>
            </p:cNvPr>
            <p:cNvGrpSpPr/>
            <p:nvPr/>
          </p:nvGrpSpPr>
          <p:grpSpPr>
            <a:xfrm>
              <a:off x="4947502" y="1873794"/>
              <a:ext cx="134678" cy="180945"/>
              <a:chOff x="4947502" y="1873794"/>
              <a:chExt cx="134678" cy="180945"/>
            </a:xfrm>
            <a:grpFill/>
          </p:grpSpPr>
          <p:sp>
            <p:nvSpPr>
              <p:cNvPr id="3009" name="Vrije vorm: vorm 3008">
                <a:extLst>
                  <a:ext uri="{FF2B5EF4-FFF2-40B4-BE49-F238E27FC236}">
                    <a16:creationId xmlns:a16="http://schemas.microsoft.com/office/drawing/2014/main" id="{6CE84FCE-D934-4CFD-9F1D-F712E0C1E0D5}"/>
                  </a:ext>
                </a:extLst>
              </p:cNvPr>
              <p:cNvSpPr/>
              <p:nvPr/>
            </p:nvSpPr>
            <p:spPr>
              <a:xfrm>
                <a:off x="4955167" y="1881755"/>
                <a:ext cx="119315" cy="165008"/>
              </a:xfrm>
              <a:custGeom>
                <a:avLst/>
                <a:gdLst>
                  <a:gd name="connsiteX0" fmla="*/ 119315 w 119315"/>
                  <a:gd name="connsiteY0" fmla="*/ 163214 h 165008"/>
                  <a:gd name="connsiteX1" fmla="*/ 116863 w 119315"/>
                  <a:gd name="connsiteY1" fmla="*/ 165008 h 165008"/>
                  <a:gd name="connsiteX2" fmla="*/ 0 w 119315"/>
                  <a:gd name="connsiteY2" fmla="*/ 1794 h 165008"/>
                  <a:gd name="connsiteX3" fmla="*/ 2452 w 119315"/>
                  <a:gd name="connsiteY3" fmla="*/ 0 h 165008"/>
                </a:gdLst>
                <a:ahLst/>
                <a:cxnLst>
                  <a:cxn ang="0">
                    <a:pos x="connsiteX0" y="connsiteY0"/>
                  </a:cxn>
                  <a:cxn ang="0">
                    <a:pos x="connsiteX1" y="connsiteY1"/>
                  </a:cxn>
                  <a:cxn ang="0">
                    <a:pos x="connsiteX2" y="connsiteY2"/>
                  </a:cxn>
                  <a:cxn ang="0">
                    <a:pos x="connsiteX3" y="connsiteY3"/>
                  </a:cxn>
                </a:cxnLst>
                <a:rect l="l" t="t" r="r" b="b"/>
                <a:pathLst>
                  <a:path w="119315" h="165008">
                    <a:moveTo>
                      <a:pt x="119315" y="163214"/>
                    </a:moveTo>
                    <a:lnTo>
                      <a:pt x="116863" y="165008"/>
                    </a:lnTo>
                    <a:lnTo>
                      <a:pt x="0" y="1794"/>
                    </a:lnTo>
                    <a:lnTo>
                      <a:pt x="2452" y="0"/>
                    </a:lnTo>
                    <a:close/>
                  </a:path>
                </a:pathLst>
              </a:custGeom>
              <a:grpFill/>
              <a:ln w="5978" cap="flat">
                <a:noFill/>
                <a:prstDash val="solid"/>
                <a:miter/>
              </a:ln>
            </p:spPr>
            <p:txBody>
              <a:bodyPr rtlCol="0" anchor="ctr"/>
              <a:lstStyle/>
              <a:p>
                <a:endParaRPr lang="en-GB"/>
              </a:p>
            </p:txBody>
          </p:sp>
          <p:sp>
            <p:nvSpPr>
              <p:cNvPr id="3010" name="Vrije vorm: vorm 3009">
                <a:extLst>
                  <a:ext uri="{FF2B5EF4-FFF2-40B4-BE49-F238E27FC236}">
                    <a16:creationId xmlns:a16="http://schemas.microsoft.com/office/drawing/2014/main" id="{62B209DA-895B-4B2B-B834-39024CCEB02A}"/>
                  </a:ext>
                </a:extLst>
              </p:cNvPr>
              <p:cNvSpPr/>
              <p:nvPr/>
            </p:nvSpPr>
            <p:spPr>
              <a:xfrm>
                <a:off x="4947502" y="1873794"/>
                <a:ext cx="18379" cy="18449"/>
              </a:xfrm>
              <a:custGeom>
                <a:avLst/>
                <a:gdLst>
                  <a:gd name="connsiteX0" fmla="*/ 1744 w 18379"/>
                  <a:gd name="connsiteY0" fmla="*/ 14599 h 18449"/>
                  <a:gd name="connsiteX1" fmla="*/ 3837 w 18379"/>
                  <a:gd name="connsiteY1" fmla="*/ 1740 h 18449"/>
                  <a:gd name="connsiteX2" fmla="*/ 16636 w 18379"/>
                  <a:gd name="connsiteY2" fmla="*/ 3893 h 18449"/>
                  <a:gd name="connsiteX3" fmla="*/ 14542 w 18379"/>
                  <a:gd name="connsiteY3" fmla="*/ 16752 h 18449"/>
                  <a:gd name="connsiteX4" fmla="*/ 1744 w 18379"/>
                  <a:gd name="connsiteY4" fmla="*/ 14599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49">
                    <a:moveTo>
                      <a:pt x="1744" y="14599"/>
                    </a:moveTo>
                    <a:cubicBezTo>
                      <a:pt x="-1246" y="10472"/>
                      <a:pt x="-290" y="4731"/>
                      <a:pt x="3837" y="1740"/>
                    </a:cubicBezTo>
                    <a:cubicBezTo>
                      <a:pt x="7964" y="-1250"/>
                      <a:pt x="13646" y="-293"/>
                      <a:pt x="16636" y="3893"/>
                    </a:cubicBezTo>
                    <a:cubicBezTo>
                      <a:pt x="19626" y="8020"/>
                      <a:pt x="18669" y="13762"/>
                      <a:pt x="14542" y="16752"/>
                    </a:cubicBezTo>
                    <a:cubicBezTo>
                      <a:pt x="10416" y="19682"/>
                      <a:pt x="4734" y="18725"/>
                      <a:pt x="1744" y="14599"/>
                    </a:cubicBezTo>
                    <a:close/>
                  </a:path>
                </a:pathLst>
              </a:custGeom>
              <a:grpFill/>
              <a:ln w="5978" cap="flat">
                <a:noFill/>
                <a:prstDash val="solid"/>
                <a:miter/>
              </a:ln>
            </p:spPr>
            <p:txBody>
              <a:bodyPr rtlCol="0" anchor="ctr"/>
              <a:lstStyle/>
              <a:p>
                <a:endParaRPr lang="en-GB"/>
              </a:p>
            </p:txBody>
          </p:sp>
          <p:sp>
            <p:nvSpPr>
              <p:cNvPr id="3011" name="Vrije vorm: vorm 3010">
                <a:extLst>
                  <a:ext uri="{FF2B5EF4-FFF2-40B4-BE49-F238E27FC236}">
                    <a16:creationId xmlns:a16="http://schemas.microsoft.com/office/drawing/2014/main" id="{66B24A5A-549B-42F9-863F-FF1F08205456}"/>
                  </a:ext>
                </a:extLst>
              </p:cNvPr>
              <p:cNvSpPr/>
              <p:nvPr/>
            </p:nvSpPr>
            <p:spPr>
              <a:xfrm>
                <a:off x="5063853" y="2036333"/>
                <a:ext cx="18327" cy="18406"/>
              </a:xfrm>
              <a:custGeom>
                <a:avLst/>
                <a:gdLst>
                  <a:gd name="connsiteX0" fmla="*/ 1718 w 18327"/>
                  <a:gd name="connsiteY0" fmla="*/ 14556 h 18406"/>
                  <a:gd name="connsiteX1" fmla="*/ 14517 w 18327"/>
                  <a:gd name="connsiteY1" fmla="*/ 16709 h 18406"/>
                  <a:gd name="connsiteX2" fmla="*/ 16610 w 18327"/>
                  <a:gd name="connsiteY2" fmla="*/ 3851 h 18406"/>
                  <a:gd name="connsiteX3" fmla="*/ 3811 w 18327"/>
                  <a:gd name="connsiteY3" fmla="*/ 1697 h 18406"/>
                  <a:gd name="connsiteX4" fmla="*/ 1718 w 18327"/>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6">
                    <a:moveTo>
                      <a:pt x="1718" y="14556"/>
                    </a:moveTo>
                    <a:cubicBezTo>
                      <a:pt x="4708" y="18683"/>
                      <a:pt x="10390" y="19640"/>
                      <a:pt x="14517" y="16709"/>
                    </a:cubicBezTo>
                    <a:cubicBezTo>
                      <a:pt x="18643" y="13719"/>
                      <a:pt x="19541" y="7977"/>
                      <a:pt x="16610" y="3851"/>
                    </a:cubicBezTo>
                    <a:cubicBezTo>
                      <a:pt x="13620" y="-276"/>
                      <a:pt x="7938" y="-1233"/>
                      <a:pt x="3811" y="1697"/>
                    </a:cubicBezTo>
                    <a:cubicBezTo>
                      <a:pt x="-315" y="4628"/>
                      <a:pt x="-1213" y="10429"/>
                      <a:pt x="1718" y="14556"/>
                    </a:cubicBezTo>
                    <a:close/>
                  </a:path>
                </a:pathLst>
              </a:custGeom>
              <a:grpFill/>
              <a:ln w="5978" cap="flat">
                <a:noFill/>
                <a:prstDash val="solid"/>
                <a:miter/>
              </a:ln>
            </p:spPr>
            <p:txBody>
              <a:bodyPr rtlCol="0" anchor="ctr"/>
              <a:lstStyle/>
              <a:p>
                <a:endParaRPr lang="en-GB"/>
              </a:p>
            </p:txBody>
          </p:sp>
        </p:grpSp>
        <p:grpSp>
          <p:nvGrpSpPr>
            <p:cNvPr id="796" name="Graphic 3">
              <a:extLst>
                <a:ext uri="{FF2B5EF4-FFF2-40B4-BE49-F238E27FC236}">
                  <a16:creationId xmlns:a16="http://schemas.microsoft.com/office/drawing/2014/main" id="{94DBE790-3C39-42F5-A85D-49D2B4DCE81F}"/>
                </a:ext>
              </a:extLst>
            </p:cNvPr>
            <p:cNvGrpSpPr/>
            <p:nvPr/>
          </p:nvGrpSpPr>
          <p:grpSpPr>
            <a:xfrm>
              <a:off x="4845377" y="1517371"/>
              <a:ext cx="21240" cy="23042"/>
              <a:chOff x="4845377" y="1517371"/>
              <a:chExt cx="21240" cy="23042"/>
            </a:xfrm>
            <a:grpFill/>
          </p:grpSpPr>
          <p:sp>
            <p:nvSpPr>
              <p:cNvPr id="3007" name="Vrije vorm: vorm 3006">
                <a:extLst>
                  <a:ext uri="{FF2B5EF4-FFF2-40B4-BE49-F238E27FC236}">
                    <a16:creationId xmlns:a16="http://schemas.microsoft.com/office/drawing/2014/main" id="{99970487-C277-40E3-B51D-AA96BE5A2C8E}"/>
                  </a:ext>
                </a:extLst>
              </p:cNvPr>
              <p:cNvSpPr/>
              <p:nvPr/>
            </p:nvSpPr>
            <p:spPr>
              <a:xfrm>
                <a:off x="4848266" y="1521949"/>
                <a:ext cx="18351" cy="18464"/>
              </a:xfrm>
              <a:custGeom>
                <a:avLst/>
                <a:gdLst>
                  <a:gd name="connsiteX0" fmla="*/ 1461 w 18351"/>
                  <a:gd name="connsiteY0" fmla="*/ 14179 h 18464"/>
                  <a:gd name="connsiteX1" fmla="*/ 4212 w 18351"/>
                  <a:gd name="connsiteY1" fmla="*/ 1441 h 18464"/>
                  <a:gd name="connsiteX2" fmla="*/ 16891 w 18351"/>
                  <a:gd name="connsiteY2" fmla="*/ 4311 h 18464"/>
                  <a:gd name="connsiteX3" fmla="*/ 14140 w 18351"/>
                  <a:gd name="connsiteY3" fmla="*/ 17050 h 18464"/>
                  <a:gd name="connsiteX4" fmla="*/ 1461 w 18351"/>
                  <a:gd name="connsiteY4" fmla="*/ 1417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4">
                    <a:moveTo>
                      <a:pt x="1461" y="14179"/>
                    </a:moveTo>
                    <a:cubicBezTo>
                      <a:pt x="-1291" y="9873"/>
                      <a:pt x="-34" y="4192"/>
                      <a:pt x="4212" y="1441"/>
                    </a:cubicBezTo>
                    <a:cubicBezTo>
                      <a:pt x="8458" y="-1311"/>
                      <a:pt x="14140" y="5"/>
                      <a:pt x="16891" y="4311"/>
                    </a:cubicBezTo>
                    <a:cubicBezTo>
                      <a:pt x="19642" y="8617"/>
                      <a:pt x="18386" y="14299"/>
                      <a:pt x="14140" y="17050"/>
                    </a:cubicBezTo>
                    <a:cubicBezTo>
                      <a:pt x="9893" y="19742"/>
                      <a:pt x="4212" y="18486"/>
                      <a:pt x="1461" y="14179"/>
                    </a:cubicBezTo>
                    <a:close/>
                  </a:path>
                </a:pathLst>
              </a:custGeom>
              <a:grpFill/>
              <a:ln w="5978" cap="flat">
                <a:noFill/>
                <a:prstDash val="solid"/>
                <a:miter/>
              </a:ln>
            </p:spPr>
            <p:txBody>
              <a:bodyPr rtlCol="0" anchor="ctr"/>
              <a:lstStyle/>
              <a:p>
                <a:endParaRPr lang="en-GB"/>
              </a:p>
            </p:txBody>
          </p:sp>
          <p:sp>
            <p:nvSpPr>
              <p:cNvPr id="3008" name="Vrije vorm: vorm 3007">
                <a:extLst>
                  <a:ext uri="{FF2B5EF4-FFF2-40B4-BE49-F238E27FC236}">
                    <a16:creationId xmlns:a16="http://schemas.microsoft.com/office/drawing/2014/main" id="{4F6C47F6-94EF-4FED-A93E-C8BD9A01E509}"/>
                  </a:ext>
                </a:extLst>
              </p:cNvPr>
              <p:cNvSpPr/>
              <p:nvPr/>
            </p:nvSpPr>
            <p:spPr>
              <a:xfrm>
                <a:off x="4845377" y="1517371"/>
                <a:ext cx="18310" cy="18437"/>
              </a:xfrm>
              <a:custGeom>
                <a:avLst/>
                <a:gdLst>
                  <a:gd name="connsiteX0" fmla="*/ 1419 w 18310"/>
                  <a:gd name="connsiteY0" fmla="*/ 14153 h 18437"/>
                  <a:gd name="connsiteX1" fmla="*/ 14099 w 18310"/>
                  <a:gd name="connsiteY1" fmla="*/ 17024 h 18437"/>
                  <a:gd name="connsiteX2" fmla="*/ 16850 w 18310"/>
                  <a:gd name="connsiteY2" fmla="*/ 4285 h 18437"/>
                  <a:gd name="connsiteX3" fmla="*/ 4170 w 18310"/>
                  <a:gd name="connsiteY3" fmla="*/ 1414 h 18437"/>
                  <a:gd name="connsiteX4" fmla="*/ 1419 w 18310"/>
                  <a:gd name="connsiteY4" fmla="*/ 14153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7">
                    <a:moveTo>
                      <a:pt x="1419" y="14153"/>
                    </a:moveTo>
                    <a:cubicBezTo>
                      <a:pt x="4170" y="18459"/>
                      <a:pt x="9792" y="19715"/>
                      <a:pt x="14099" y="17024"/>
                    </a:cubicBezTo>
                    <a:cubicBezTo>
                      <a:pt x="18345" y="14273"/>
                      <a:pt x="19601" y="8591"/>
                      <a:pt x="16850" y="4285"/>
                    </a:cubicBezTo>
                    <a:cubicBezTo>
                      <a:pt x="14099" y="-21"/>
                      <a:pt x="8477" y="-1277"/>
                      <a:pt x="4170" y="1414"/>
                    </a:cubicBezTo>
                    <a:cubicBezTo>
                      <a:pt x="-16" y="4165"/>
                      <a:pt x="-1272" y="9847"/>
                      <a:pt x="1419" y="14153"/>
                    </a:cubicBezTo>
                    <a:close/>
                  </a:path>
                </a:pathLst>
              </a:custGeom>
              <a:grpFill/>
              <a:ln w="5978" cap="flat">
                <a:noFill/>
                <a:prstDash val="solid"/>
                <a:miter/>
              </a:ln>
            </p:spPr>
            <p:txBody>
              <a:bodyPr rtlCol="0" anchor="ctr"/>
              <a:lstStyle/>
              <a:p>
                <a:endParaRPr lang="en-GB"/>
              </a:p>
            </p:txBody>
          </p:sp>
        </p:grpSp>
        <p:grpSp>
          <p:nvGrpSpPr>
            <p:cNvPr id="797" name="Graphic 3">
              <a:extLst>
                <a:ext uri="{FF2B5EF4-FFF2-40B4-BE49-F238E27FC236}">
                  <a16:creationId xmlns:a16="http://schemas.microsoft.com/office/drawing/2014/main" id="{521954C8-80E9-4F11-8FB8-C7B5CD981D63}"/>
                </a:ext>
              </a:extLst>
            </p:cNvPr>
            <p:cNvGrpSpPr/>
            <p:nvPr/>
          </p:nvGrpSpPr>
          <p:grpSpPr>
            <a:xfrm>
              <a:off x="4846571" y="1594473"/>
              <a:ext cx="107987" cy="153999"/>
              <a:chOff x="4846571" y="1594473"/>
              <a:chExt cx="107987" cy="153999"/>
            </a:xfrm>
            <a:grpFill/>
          </p:grpSpPr>
          <p:sp>
            <p:nvSpPr>
              <p:cNvPr id="3004" name="Vrije vorm: vorm 3003">
                <a:extLst>
                  <a:ext uri="{FF2B5EF4-FFF2-40B4-BE49-F238E27FC236}">
                    <a16:creationId xmlns:a16="http://schemas.microsoft.com/office/drawing/2014/main" id="{661C967B-8EC6-481D-824C-72EE2ADDB19E}"/>
                  </a:ext>
                </a:extLst>
              </p:cNvPr>
              <p:cNvSpPr/>
              <p:nvPr/>
            </p:nvSpPr>
            <p:spPr>
              <a:xfrm>
                <a:off x="4854213" y="1602395"/>
                <a:ext cx="92701" cy="138035"/>
              </a:xfrm>
              <a:custGeom>
                <a:avLst/>
                <a:gdLst>
                  <a:gd name="connsiteX0" fmla="*/ 92701 w 92701"/>
                  <a:gd name="connsiteY0" fmla="*/ 136360 h 138035"/>
                  <a:gd name="connsiteX1" fmla="*/ 90189 w 92701"/>
                  <a:gd name="connsiteY1" fmla="*/ 138035 h 138035"/>
                  <a:gd name="connsiteX2" fmla="*/ 0 w 92701"/>
                  <a:gd name="connsiteY2" fmla="*/ 1675 h 138035"/>
                  <a:gd name="connsiteX3" fmla="*/ 2512 w 92701"/>
                  <a:gd name="connsiteY3" fmla="*/ 0 h 138035"/>
                </a:gdLst>
                <a:ahLst/>
                <a:cxnLst>
                  <a:cxn ang="0">
                    <a:pos x="connsiteX0" y="connsiteY0"/>
                  </a:cxn>
                  <a:cxn ang="0">
                    <a:pos x="connsiteX1" y="connsiteY1"/>
                  </a:cxn>
                  <a:cxn ang="0">
                    <a:pos x="connsiteX2" y="connsiteY2"/>
                  </a:cxn>
                  <a:cxn ang="0">
                    <a:pos x="connsiteX3" y="connsiteY3"/>
                  </a:cxn>
                </a:cxnLst>
                <a:rect l="l" t="t" r="r" b="b"/>
                <a:pathLst>
                  <a:path w="92701" h="138035">
                    <a:moveTo>
                      <a:pt x="92701" y="136360"/>
                    </a:moveTo>
                    <a:lnTo>
                      <a:pt x="90189" y="138035"/>
                    </a:lnTo>
                    <a:lnTo>
                      <a:pt x="0" y="1675"/>
                    </a:lnTo>
                    <a:lnTo>
                      <a:pt x="2512" y="0"/>
                    </a:lnTo>
                    <a:close/>
                  </a:path>
                </a:pathLst>
              </a:custGeom>
              <a:grpFill/>
              <a:ln w="5978" cap="flat">
                <a:noFill/>
                <a:prstDash val="solid"/>
                <a:miter/>
              </a:ln>
            </p:spPr>
            <p:txBody>
              <a:bodyPr rtlCol="0" anchor="ctr"/>
              <a:lstStyle/>
              <a:p>
                <a:endParaRPr lang="en-GB"/>
              </a:p>
            </p:txBody>
          </p:sp>
          <p:sp>
            <p:nvSpPr>
              <p:cNvPr id="3005" name="Vrije vorm: vorm 3004">
                <a:extLst>
                  <a:ext uri="{FF2B5EF4-FFF2-40B4-BE49-F238E27FC236}">
                    <a16:creationId xmlns:a16="http://schemas.microsoft.com/office/drawing/2014/main" id="{F3A31A81-25CD-4D63-82D5-82CBE84B2E81}"/>
                  </a:ext>
                </a:extLst>
              </p:cNvPr>
              <p:cNvSpPr/>
              <p:nvPr/>
            </p:nvSpPr>
            <p:spPr>
              <a:xfrm>
                <a:off x="4846571" y="1594473"/>
                <a:ext cx="18393" cy="18390"/>
              </a:xfrm>
              <a:custGeom>
                <a:avLst/>
                <a:gdLst>
                  <a:gd name="connsiteX0" fmla="*/ 1541 w 18393"/>
                  <a:gd name="connsiteY0" fmla="*/ 14262 h 18390"/>
                  <a:gd name="connsiteX1" fmla="*/ 4113 w 18393"/>
                  <a:gd name="connsiteY1" fmla="*/ 1523 h 18390"/>
                  <a:gd name="connsiteX2" fmla="*/ 16852 w 18393"/>
                  <a:gd name="connsiteY2" fmla="*/ 4154 h 18390"/>
                  <a:gd name="connsiteX3" fmla="*/ 14280 w 18393"/>
                  <a:gd name="connsiteY3" fmla="*/ 16893 h 18390"/>
                  <a:gd name="connsiteX4" fmla="*/ 1541 w 1839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3" h="18390">
                    <a:moveTo>
                      <a:pt x="1541" y="14262"/>
                    </a:moveTo>
                    <a:cubicBezTo>
                      <a:pt x="-1269" y="10016"/>
                      <a:pt x="-133" y="4274"/>
                      <a:pt x="4113" y="1523"/>
                    </a:cubicBezTo>
                    <a:cubicBezTo>
                      <a:pt x="8300" y="-1288"/>
                      <a:pt x="14041" y="-92"/>
                      <a:pt x="16852" y="4154"/>
                    </a:cubicBezTo>
                    <a:cubicBezTo>
                      <a:pt x="19663" y="8401"/>
                      <a:pt x="18527" y="14142"/>
                      <a:pt x="14280" y="16893"/>
                    </a:cubicBezTo>
                    <a:cubicBezTo>
                      <a:pt x="10034" y="19645"/>
                      <a:pt x="4352" y="18508"/>
                      <a:pt x="1541" y="14262"/>
                    </a:cubicBezTo>
                    <a:close/>
                  </a:path>
                </a:pathLst>
              </a:custGeom>
              <a:grpFill/>
              <a:ln w="5978" cap="flat">
                <a:noFill/>
                <a:prstDash val="solid"/>
                <a:miter/>
              </a:ln>
            </p:spPr>
            <p:txBody>
              <a:bodyPr rtlCol="0" anchor="ctr"/>
              <a:lstStyle/>
              <a:p>
                <a:endParaRPr lang="en-GB"/>
              </a:p>
            </p:txBody>
          </p:sp>
          <p:sp>
            <p:nvSpPr>
              <p:cNvPr id="3006" name="Vrije vorm: vorm 3005">
                <a:extLst>
                  <a:ext uri="{FF2B5EF4-FFF2-40B4-BE49-F238E27FC236}">
                    <a16:creationId xmlns:a16="http://schemas.microsoft.com/office/drawing/2014/main" id="{73DC0C55-3C6A-48E5-B021-15FD73CD86E6}"/>
                  </a:ext>
                </a:extLst>
              </p:cNvPr>
              <p:cNvSpPr/>
              <p:nvPr/>
            </p:nvSpPr>
            <p:spPr>
              <a:xfrm>
                <a:off x="4936219" y="1730082"/>
                <a:ext cx="18339" cy="18390"/>
              </a:xfrm>
              <a:custGeom>
                <a:avLst/>
                <a:gdLst>
                  <a:gd name="connsiteX0" fmla="*/ 1544 w 18339"/>
                  <a:gd name="connsiteY0" fmla="*/ 14236 h 18390"/>
                  <a:gd name="connsiteX1" fmla="*/ 14283 w 18339"/>
                  <a:gd name="connsiteY1" fmla="*/ 16867 h 18390"/>
                  <a:gd name="connsiteX2" fmla="*/ 16795 w 18339"/>
                  <a:gd name="connsiteY2" fmla="*/ 4128 h 18390"/>
                  <a:gd name="connsiteX3" fmla="*/ 4056 w 18339"/>
                  <a:gd name="connsiteY3" fmla="*/ 1497 h 18390"/>
                  <a:gd name="connsiteX4" fmla="*/ 1544 w 18339"/>
                  <a:gd name="connsiteY4" fmla="*/ 14236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0">
                    <a:moveTo>
                      <a:pt x="1544" y="14236"/>
                    </a:moveTo>
                    <a:cubicBezTo>
                      <a:pt x="4355" y="18482"/>
                      <a:pt x="10037" y="19678"/>
                      <a:pt x="14283" y="16867"/>
                    </a:cubicBezTo>
                    <a:cubicBezTo>
                      <a:pt x="18470" y="14056"/>
                      <a:pt x="19606" y="8374"/>
                      <a:pt x="16795" y="4128"/>
                    </a:cubicBezTo>
                    <a:cubicBezTo>
                      <a:pt x="13984" y="-118"/>
                      <a:pt x="8303" y="-1255"/>
                      <a:pt x="4056" y="1497"/>
                    </a:cubicBezTo>
                    <a:cubicBezTo>
                      <a:pt x="-130" y="4248"/>
                      <a:pt x="-1266" y="9989"/>
                      <a:pt x="1544" y="14236"/>
                    </a:cubicBezTo>
                    <a:close/>
                  </a:path>
                </a:pathLst>
              </a:custGeom>
              <a:grpFill/>
              <a:ln w="5978" cap="flat">
                <a:noFill/>
                <a:prstDash val="solid"/>
                <a:miter/>
              </a:ln>
            </p:spPr>
            <p:txBody>
              <a:bodyPr rtlCol="0" anchor="ctr"/>
              <a:lstStyle/>
              <a:p>
                <a:endParaRPr lang="en-GB"/>
              </a:p>
            </p:txBody>
          </p:sp>
        </p:grpSp>
        <p:grpSp>
          <p:nvGrpSpPr>
            <p:cNvPr id="798" name="Graphic 3">
              <a:extLst>
                <a:ext uri="{FF2B5EF4-FFF2-40B4-BE49-F238E27FC236}">
                  <a16:creationId xmlns:a16="http://schemas.microsoft.com/office/drawing/2014/main" id="{CD5F068B-2964-43BC-885C-06C3FADE5B9E}"/>
                </a:ext>
              </a:extLst>
            </p:cNvPr>
            <p:cNvGrpSpPr/>
            <p:nvPr/>
          </p:nvGrpSpPr>
          <p:grpSpPr>
            <a:xfrm>
              <a:off x="6115242" y="5240402"/>
              <a:ext cx="23217" cy="148453"/>
              <a:chOff x="6115242" y="5240402"/>
              <a:chExt cx="23217" cy="148453"/>
            </a:xfrm>
            <a:grpFill/>
          </p:grpSpPr>
          <p:sp>
            <p:nvSpPr>
              <p:cNvPr id="3001" name="Vrije vorm: vorm 3000">
                <a:extLst>
                  <a:ext uri="{FF2B5EF4-FFF2-40B4-BE49-F238E27FC236}">
                    <a16:creationId xmlns:a16="http://schemas.microsoft.com/office/drawing/2014/main" id="{FE3CF103-8F22-4C18-8B79-44A4A3066298}"/>
                  </a:ext>
                </a:extLst>
              </p:cNvPr>
              <p:cNvSpPr/>
              <p:nvPr/>
            </p:nvSpPr>
            <p:spPr>
              <a:xfrm>
                <a:off x="6122843" y="5249140"/>
                <a:ext cx="7954" cy="131037"/>
              </a:xfrm>
              <a:custGeom>
                <a:avLst/>
                <a:gdLst>
                  <a:gd name="connsiteX0" fmla="*/ 3050 w 7954"/>
                  <a:gd name="connsiteY0" fmla="*/ 0 h 131037"/>
                  <a:gd name="connsiteX1" fmla="*/ 7954 w 7954"/>
                  <a:gd name="connsiteY1" fmla="*/ 130918 h 131037"/>
                  <a:gd name="connsiteX2" fmla="*/ 4904 w 7954"/>
                  <a:gd name="connsiteY2" fmla="*/ 131037 h 131037"/>
                  <a:gd name="connsiteX3" fmla="*/ 0 w 7954"/>
                  <a:gd name="connsiteY3" fmla="*/ 60 h 131037"/>
                </a:gdLst>
                <a:ahLst/>
                <a:cxnLst>
                  <a:cxn ang="0">
                    <a:pos x="connsiteX0" y="connsiteY0"/>
                  </a:cxn>
                  <a:cxn ang="0">
                    <a:pos x="connsiteX1" y="connsiteY1"/>
                  </a:cxn>
                  <a:cxn ang="0">
                    <a:pos x="connsiteX2" y="connsiteY2"/>
                  </a:cxn>
                  <a:cxn ang="0">
                    <a:pos x="connsiteX3" y="connsiteY3"/>
                  </a:cxn>
                </a:cxnLst>
                <a:rect l="l" t="t" r="r" b="b"/>
                <a:pathLst>
                  <a:path w="7954" h="131037">
                    <a:moveTo>
                      <a:pt x="3050" y="0"/>
                    </a:moveTo>
                    <a:lnTo>
                      <a:pt x="7954" y="130918"/>
                    </a:lnTo>
                    <a:lnTo>
                      <a:pt x="4904" y="131037"/>
                    </a:lnTo>
                    <a:lnTo>
                      <a:pt x="0" y="60"/>
                    </a:lnTo>
                    <a:close/>
                  </a:path>
                </a:pathLst>
              </a:custGeom>
              <a:grpFill/>
              <a:ln w="5978" cap="flat">
                <a:noFill/>
                <a:prstDash val="solid"/>
                <a:miter/>
              </a:ln>
            </p:spPr>
            <p:txBody>
              <a:bodyPr rtlCol="0" anchor="ctr"/>
              <a:lstStyle/>
              <a:p>
                <a:endParaRPr lang="en-GB"/>
              </a:p>
            </p:txBody>
          </p:sp>
          <p:sp>
            <p:nvSpPr>
              <p:cNvPr id="3002" name="Vrije vorm: vorm 3001">
                <a:extLst>
                  <a:ext uri="{FF2B5EF4-FFF2-40B4-BE49-F238E27FC236}">
                    <a16:creationId xmlns:a16="http://schemas.microsoft.com/office/drawing/2014/main" id="{BB82F53E-C872-44A7-BCF1-E077D76391AD}"/>
                  </a:ext>
                </a:extLst>
              </p:cNvPr>
              <p:cNvSpPr/>
              <p:nvPr/>
            </p:nvSpPr>
            <p:spPr>
              <a:xfrm>
                <a:off x="6120146" y="5370426"/>
                <a:ext cx="18312" cy="18429"/>
              </a:xfrm>
              <a:custGeom>
                <a:avLst/>
                <a:gdLst>
                  <a:gd name="connsiteX0" fmla="*/ 18307 w 18312"/>
                  <a:gd name="connsiteY0" fmla="*/ 8914 h 18429"/>
                  <a:gd name="connsiteX1" fmla="*/ 9515 w 18312"/>
                  <a:gd name="connsiteY1" fmla="*/ 18423 h 18429"/>
                  <a:gd name="connsiteX2" fmla="*/ 6 w 18312"/>
                  <a:gd name="connsiteY2" fmla="*/ 9512 h 18429"/>
                  <a:gd name="connsiteX3" fmla="*/ 8798 w 18312"/>
                  <a:gd name="connsiteY3" fmla="*/ 3 h 18429"/>
                  <a:gd name="connsiteX4" fmla="*/ 18307 w 18312"/>
                  <a:gd name="connsiteY4" fmla="*/ 891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29">
                    <a:moveTo>
                      <a:pt x="18307" y="8914"/>
                    </a:moveTo>
                    <a:cubicBezTo>
                      <a:pt x="18486" y="13998"/>
                      <a:pt x="14539" y="18244"/>
                      <a:pt x="9515" y="18423"/>
                    </a:cubicBezTo>
                    <a:cubicBezTo>
                      <a:pt x="4432" y="18603"/>
                      <a:pt x="185" y="14596"/>
                      <a:pt x="6" y="9512"/>
                    </a:cubicBezTo>
                    <a:cubicBezTo>
                      <a:pt x="-173" y="4428"/>
                      <a:pt x="3774" y="182"/>
                      <a:pt x="8798" y="3"/>
                    </a:cubicBezTo>
                    <a:cubicBezTo>
                      <a:pt x="13821" y="-117"/>
                      <a:pt x="18128" y="3830"/>
                      <a:pt x="18307" y="8914"/>
                    </a:cubicBezTo>
                    <a:close/>
                  </a:path>
                </a:pathLst>
              </a:custGeom>
              <a:grpFill/>
              <a:ln w="5978" cap="flat">
                <a:noFill/>
                <a:prstDash val="solid"/>
                <a:miter/>
              </a:ln>
            </p:spPr>
            <p:txBody>
              <a:bodyPr rtlCol="0" anchor="ctr"/>
              <a:lstStyle/>
              <a:p>
                <a:endParaRPr lang="en-GB"/>
              </a:p>
            </p:txBody>
          </p:sp>
          <p:sp>
            <p:nvSpPr>
              <p:cNvPr id="3003" name="Vrije vorm: vorm 3002">
                <a:extLst>
                  <a:ext uri="{FF2B5EF4-FFF2-40B4-BE49-F238E27FC236}">
                    <a16:creationId xmlns:a16="http://schemas.microsoft.com/office/drawing/2014/main" id="{9E90C207-AEC6-4CE4-B42B-5CEFD148CBCD}"/>
                  </a:ext>
                </a:extLst>
              </p:cNvPr>
              <p:cNvSpPr/>
              <p:nvPr/>
            </p:nvSpPr>
            <p:spPr>
              <a:xfrm>
                <a:off x="6115242" y="5240402"/>
                <a:ext cx="18312" cy="18432"/>
              </a:xfrm>
              <a:custGeom>
                <a:avLst/>
                <a:gdLst>
                  <a:gd name="connsiteX0" fmla="*/ 18307 w 18312"/>
                  <a:gd name="connsiteY0" fmla="*/ 8917 h 18432"/>
                  <a:gd name="connsiteX1" fmla="*/ 8798 w 18312"/>
                  <a:gd name="connsiteY1" fmla="*/ 6 h 18432"/>
                  <a:gd name="connsiteX2" fmla="*/ 6 w 18312"/>
                  <a:gd name="connsiteY2" fmla="*/ 9515 h 18432"/>
                  <a:gd name="connsiteX3" fmla="*/ 9515 w 18312"/>
                  <a:gd name="connsiteY3" fmla="*/ 18427 h 18432"/>
                  <a:gd name="connsiteX4" fmla="*/ 18307 w 18312"/>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18307" y="8917"/>
                    </a:moveTo>
                    <a:cubicBezTo>
                      <a:pt x="18128" y="3834"/>
                      <a:pt x="13881" y="-174"/>
                      <a:pt x="8798" y="6"/>
                    </a:cubicBezTo>
                    <a:cubicBezTo>
                      <a:pt x="3714" y="185"/>
                      <a:pt x="-173" y="4431"/>
                      <a:pt x="6" y="9515"/>
                    </a:cubicBezTo>
                    <a:cubicBezTo>
                      <a:pt x="186" y="14599"/>
                      <a:pt x="4432" y="18606"/>
                      <a:pt x="9515" y="18427"/>
                    </a:cubicBezTo>
                    <a:cubicBezTo>
                      <a:pt x="14539" y="18247"/>
                      <a:pt x="18487" y="14000"/>
                      <a:pt x="18307" y="8917"/>
                    </a:cubicBezTo>
                    <a:close/>
                  </a:path>
                </a:pathLst>
              </a:custGeom>
              <a:grpFill/>
              <a:ln w="5978" cap="flat">
                <a:noFill/>
                <a:prstDash val="solid"/>
                <a:miter/>
              </a:ln>
            </p:spPr>
            <p:txBody>
              <a:bodyPr rtlCol="0" anchor="ctr"/>
              <a:lstStyle/>
              <a:p>
                <a:endParaRPr lang="en-GB"/>
              </a:p>
            </p:txBody>
          </p:sp>
        </p:grpSp>
        <p:grpSp>
          <p:nvGrpSpPr>
            <p:cNvPr id="799" name="Graphic 3">
              <a:extLst>
                <a:ext uri="{FF2B5EF4-FFF2-40B4-BE49-F238E27FC236}">
                  <a16:creationId xmlns:a16="http://schemas.microsoft.com/office/drawing/2014/main" id="{41D4B7F7-E01D-4DDA-922B-2F5C80043469}"/>
                </a:ext>
              </a:extLst>
            </p:cNvPr>
            <p:cNvGrpSpPr/>
            <p:nvPr/>
          </p:nvGrpSpPr>
          <p:grpSpPr>
            <a:xfrm>
              <a:off x="4900430" y="1743726"/>
              <a:ext cx="81902" cy="110750"/>
              <a:chOff x="4900430" y="1743726"/>
              <a:chExt cx="81902" cy="110750"/>
            </a:xfrm>
            <a:grpFill/>
          </p:grpSpPr>
          <p:sp>
            <p:nvSpPr>
              <p:cNvPr id="2998" name="Vrije vorm: vorm 2997">
                <a:extLst>
                  <a:ext uri="{FF2B5EF4-FFF2-40B4-BE49-F238E27FC236}">
                    <a16:creationId xmlns:a16="http://schemas.microsoft.com/office/drawing/2014/main" id="{A4AFF2C7-E3F4-4129-A63F-C768EA8275C3}"/>
                  </a:ext>
                </a:extLst>
              </p:cNvPr>
              <p:cNvSpPr/>
              <p:nvPr/>
            </p:nvSpPr>
            <p:spPr>
              <a:xfrm>
                <a:off x="4908099" y="1751734"/>
                <a:ext cx="66565" cy="94794"/>
              </a:xfrm>
              <a:custGeom>
                <a:avLst/>
                <a:gdLst>
                  <a:gd name="connsiteX0" fmla="*/ 66565 w 66565"/>
                  <a:gd name="connsiteY0" fmla="*/ 93060 h 94794"/>
                  <a:gd name="connsiteX1" fmla="*/ 64053 w 66565"/>
                  <a:gd name="connsiteY1" fmla="*/ 94794 h 94794"/>
                  <a:gd name="connsiteX2" fmla="*/ 0 w 66565"/>
                  <a:gd name="connsiteY2" fmla="*/ 1734 h 94794"/>
                  <a:gd name="connsiteX3" fmla="*/ 2512 w 66565"/>
                  <a:gd name="connsiteY3" fmla="*/ 0 h 94794"/>
                </a:gdLst>
                <a:ahLst/>
                <a:cxnLst>
                  <a:cxn ang="0">
                    <a:pos x="connsiteX0" y="connsiteY0"/>
                  </a:cxn>
                  <a:cxn ang="0">
                    <a:pos x="connsiteX1" y="connsiteY1"/>
                  </a:cxn>
                  <a:cxn ang="0">
                    <a:pos x="connsiteX2" y="connsiteY2"/>
                  </a:cxn>
                  <a:cxn ang="0">
                    <a:pos x="connsiteX3" y="connsiteY3"/>
                  </a:cxn>
                </a:cxnLst>
                <a:rect l="l" t="t" r="r" b="b"/>
                <a:pathLst>
                  <a:path w="66565" h="94794">
                    <a:moveTo>
                      <a:pt x="66565" y="93060"/>
                    </a:moveTo>
                    <a:lnTo>
                      <a:pt x="64053" y="94794"/>
                    </a:lnTo>
                    <a:lnTo>
                      <a:pt x="0" y="1734"/>
                    </a:lnTo>
                    <a:lnTo>
                      <a:pt x="2512" y="0"/>
                    </a:lnTo>
                    <a:close/>
                  </a:path>
                </a:pathLst>
              </a:custGeom>
              <a:grpFill/>
              <a:ln w="5978" cap="flat">
                <a:noFill/>
                <a:prstDash val="solid"/>
                <a:miter/>
              </a:ln>
            </p:spPr>
            <p:txBody>
              <a:bodyPr rtlCol="0" anchor="ctr"/>
              <a:lstStyle/>
              <a:p>
                <a:endParaRPr lang="en-GB"/>
              </a:p>
            </p:txBody>
          </p:sp>
          <p:sp>
            <p:nvSpPr>
              <p:cNvPr id="2999" name="Vrije vorm: vorm 2998">
                <a:extLst>
                  <a:ext uri="{FF2B5EF4-FFF2-40B4-BE49-F238E27FC236}">
                    <a16:creationId xmlns:a16="http://schemas.microsoft.com/office/drawing/2014/main" id="{3DC11B84-4472-4514-A00D-409B911ACE7A}"/>
                  </a:ext>
                </a:extLst>
              </p:cNvPr>
              <p:cNvSpPr/>
              <p:nvPr/>
            </p:nvSpPr>
            <p:spPr>
              <a:xfrm>
                <a:off x="4964005" y="1836068"/>
                <a:ext cx="18327" cy="18408"/>
              </a:xfrm>
              <a:custGeom>
                <a:avLst/>
                <a:gdLst>
                  <a:gd name="connsiteX0" fmla="*/ 16700 w 18327"/>
                  <a:gd name="connsiteY0" fmla="*/ 4001 h 18408"/>
                  <a:gd name="connsiteX1" fmla="*/ 14367 w 18327"/>
                  <a:gd name="connsiteY1" fmla="*/ 16800 h 18408"/>
                  <a:gd name="connsiteX2" fmla="*/ 1628 w 18327"/>
                  <a:gd name="connsiteY2" fmla="*/ 14407 h 18408"/>
                  <a:gd name="connsiteX3" fmla="*/ 3961 w 18327"/>
                  <a:gd name="connsiteY3" fmla="*/ 1609 h 18408"/>
                  <a:gd name="connsiteX4" fmla="*/ 16700 w 18327"/>
                  <a:gd name="connsiteY4" fmla="*/ 400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700" y="4001"/>
                    </a:moveTo>
                    <a:cubicBezTo>
                      <a:pt x="19570" y="8187"/>
                      <a:pt x="18554" y="13929"/>
                      <a:pt x="14367" y="16800"/>
                    </a:cubicBezTo>
                    <a:cubicBezTo>
                      <a:pt x="10180" y="19670"/>
                      <a:pt x="4499" y="18594"/>
                      <a:pt x="1628" y="14407"/>
                    </a:cubicBezTo>
                    <a:cubicBezTo>
                      <a:pt x="-1243" y="10221"/>
                      <a:pt x="-226" y="4479"/>
                      <a:pt x="3961" y="1609"/>
                    </a:cubicBezTo>
                    <a:cubicBezTo>
                      <a:pt x="8087" y="-1262"/>
                      <a:pt x="13769" y="-186"/>
                      <a:pt x="16700" y="4001"/>
                    </a:cubicBezTo>
                    <a:close/>
                  </a:path>
                </a:pathLst>
              </a:custGeom>
              <a:grpFill/>
              <a:ln w="5978" cap="flat">
                <a:noFill/>
                <a:prstDash val="solid"/>
                <a:miter/>
              </a:ln>
            </p:spPr>
            <p:txBody>
              <a:bodyPr rtlCol="0" anchor="ctr"/>
              <a:lstStyle/>
              <a:p>
                <a:endParaRPr lang="en-GB"/>
              </a:p>
            </p:txBody>
          </p:sp>
          <p:sp>
            <p:nvSpPr>
              <p:cNvPr id="3000" name="Vrije vorm: vorm 2999">
                <a:extLst>
                  <a:ext uri="{FF2B5EF4-FFF2-40B4-BE49-F238E27FC236}">
                    <a16:creationId xmlns:a16="http://schemas.microsoft.com/office/drawing/2014/main" id="{9BC5B1FE-0456-48B2-B1EA-64C0219E6A00}"/>
                  </a:ext>
                </a:extLst>
              </p:cNvPr>
              <p:cNvSpPr/>
              <p:nvPr/>
            </p:nvSpPr>
            <p:spPr>
              <a:xfrm>
                <a:off x="4900430" y="1743726"/>
                <a:ext cx="18311" cy="18408"/>
              </a:xfrm>
              <a:custGeom>
                <a:avLst/>
                <a:gdLst>
                  <a:gd name="connsiteX0" fmla="*/ 16700 w 18311"/>
                  <a:gd name="connsiteY0" fmla="*/ 4001 h 18408"/>
                  <a:gd name="connsiteX1" fmla="*/ 3961 w 18311"/>
                  <a:gd name="connsiteY1" fmla="*/ 1609 h 18408"/>
                  <a:gd name="connsiteX2" fmla="*/ 1628 w 18311"/>
                  <a:gd name="connsiteY2" fmla="*/ 14407 h 18408"/>
                  <a:gd name="connsiteX3" fmla="*/ 14367 w 18311"/>
                  <a:gd name="connsiteY3" fmla="*/ 16800 h 18408"/>
                  <a:gd name="connsiteX4" fmla="*/ 16700 w 18311"/>
                  <a:gd name="connsiteY4" fmla="*/ 400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8">
                    <a:moveTo>
                      <a:pt x="16700" y="4001"/>
                    </a:moveTo>
                    <a:cubicBezTo>
                      <a:pt x="13829" y="-186"/>
                      <a:pt x="8087" y="-1262"/>
                      <a:pt x="3961" y="1609"/>
                    </a:cubicBezTo>
                    <a:cubicBezTo>
                      <a:pt x="-226" y="4479"/>
                      <a:pt x="-1243" y="10221"/>
                      <a:pt x="1628" y="14407"/>
                    </a:cubicBezTo>
                    <a:cubicBezTo>
                      <a:pt x="4499" y="18594"/>
                      <a:pt x="10240" y="19670"/>
                      <a:pt x="14367" y="16800"/>
                    </a:cubicBezTo>
                    <a:cubicBezTo>
                      <a:pt x="18494" y="13929"/>
                      <a:pt x="19570" y="8187"/>
                      <a:pt x="16700" y="4001"/>
                    </a:cubicBezTo>
                    <a:close/>
                  </a:path>
                </a:pathLst>
              </a:custGeom>
              <a:grpFill/>
              <a:ln w="5978" cap="flat">
                <a:noFill/>
                <a:prstDash val="solid"/>
                <a:miter/>
              </a:ln>
            </p:spPr>
            <p:txBody>
              <a:bodyPr rtlCol="0" anchor="ctr"/>
              <a:lstStyle/>
              <a:p>
                <a:endParaRPr lang="en-GB"/>
              </a:p>
            </p:txBody>
          </p:sp>
        </p:grpSp>
        <p:grpSp>
          <p:nvGrpSpPr>
            <p:cNvPr id="800" name="Graphic 3">
              <a:extLst>
                <a:ext uri="{FF2B5EF4-FFF2-40B4-BE49-F238E27FC236}">
                  <a16:creationId xmlns:a16="http://schemas.microsoft.com/office/drawing/2014/main" id="{277CB447-10AB-49D8-BA53-B91A46ED1F53}"/>
                </a:ext>
              </a:extLst>
            </p:cNvPr>
            <p:cNvGrpSpPr/>
            <p:nvPr/>
          </p:nvGrpSpPr>
          <p:grpSpPr>
            <a:xfrm>
              <a:off x="4995255" y="1996486"/>
              <a:ext cx="60165" cy="74613"/>
              <a:chOff x="4995255" y="1996486"/>
              <a:chExt cx="60165" cy="74613"/>
            </a:xfrm>
            <a:grpFill/>
          </p:grpSpPr>
          <p:sp>
            <p:nvSpPr>
              <p:cNvPr id="2995" name="Vrije vorm: vorm 2994">
                <a:extLst>
                  <a:ext uri="{FF2B5EF4-FFF2-40B4-BE49-F238E27FC236}">
                    <a16:creationId xmlns:a16="http://schemas.microsoft.com/office/drawing/2014/main" id="{AA3E58F4-91D4-407D-935F-F9B0A7861D2E}"/>
                  </a:ext>
                </a:extLst>
              </p:cNvPr>
              <p:cNvSpPr/>
              <p:nvPr/>
            </p:nvSpPr>
            <p:spPr>
              <a:xfrm>
                <a:off x="5002893" y="2004419"/>
                <a:ext cx="44795" cy="58730"/>
              </a:xfrm>
              <a:custGeom>
                <a:avLst/>
                <a:gdLst>
                  <a:gd name="connsiteX0" fmla="*/ 44796 w 44795"/>
                  <a:gd name="connsiteY0" fmla="*/ 56936 h 58730"/>
                  <a:gd name="connsiteX1" fmla="*/ 42403 w 44795"/>
                  <a:gd name="connsiteY1" fmla="*/ 58731 h 58730"/>
                  <a:gd name="connsiteX2" fmla="*/ 0 w 44795"/>
                  <a:gd name="connsiteY2" fmla="*/ 1854 h 58730"/>
                  <a:gd name="connsiteX3" fmla="*/ 2452 w 44795"/>
                  <a:gd name="connsiteY3" fmla="*/ 0 h 58730"/>
                </a:gdLst>
                <a:ahLst/>
                <a:cxnLst>
                  <a:cxn ang="0">
                    <a:pos x="connsiteX0" y="connsiteY0"/>
                  </a:cxn>
                  <a:cxn ang="0">
                    <a:pos x="connsiteX1" y="connsiteY1"/>
                  </a:cxn>
                  <a:cxn ang="0">
                    <a:pos x="connsiteX2" y="connsiteY2"/>
                  </a:cxn>
                  <a:cxn ang="0">
                    <a:pos x="connsiteX3" y="connsiteY3"/>
                  </a:cxn>
                </a:cxnLst>
                <a:rect l="l" t="t" r="r" b="b"/>
                <a:pathLst>
                  <a:path w="44795" h="58730">
                    <a:moveTo>
                      <a:pt x="44796" y="56936"/>
                    </a:moveTo>
                    <a:lnTo>
                      <a:pt x="42403" y="58731"/>
                    </a:lnTo>
                    <a:lnTo>
                      <a:pt x="0" y="1854"/>
                    </a:lnTo>
                    <a:lnTo>
                      <a:pt x="2452" y="0"/>
                    </a:lnTo>
                    <a:close/>
                  </a:path>
                </a:pathLst>
              </a:custGeom>
              <a:grpFill/>
              <a:ln w="5978" cap="flat">
                <a:noFill/>
                <a:prstDash val="solid"/>
                <a:miter/>
              </a:ln>
            </p:spPr>
            <p:txBody>
              <a:bodyPr rtlCol="0" anchor="ctr"/>
              <a:lstStyle/>
              <a:p>
                <a:endParaRPr lang="en-GB"/>
              </a:p>
            </p:txBody>
          </p:sp>
          <p:sp>
            <p:nvSpPr>
              <p:cNvPr id="2996" name="Vrije vorm: vorm 2995">
                <a:extLst>
                  <a:ext uri="{FF2B5EF4-FFF2-40B4-BE49-F238E27FC236}">
                    <a16:creationId xmlns:a16="http://schemas.microsoft.com/office/drawing/2014/main" id="{E08F766B-0B41-48E7-9396-F481D872D9B1}"/>
                  </a:ext>
                </a:extLst>
              </p:cNvPr>
              <p:cNvSpPr/>
              <p:nvPr/>
            </p:nvSpPr>
            <p:spPr>
              <a:xfrm>
                <a:off x="4995255" y="1996486"/>
                <a:ext cx="18385" cy="18454"/>
              </a:xfrm>
              <a:custGeom>
                <a:avLst/>
                <a:gdLst>
                  <a:gd name="connsiteX0" fmla="*/ 1837 w 18385"/>
                  <a:gd name="connsiteY0" fmla="*/ 14751 h 18454"/>
                  <a:gd name="connsiteX1" fmla="*/ 3691 w 18385"/>
                  <a:gd name="connsiteY1" fmla="*/ 1833 h 18454"/>
                  <a:gd name="connsiteX2" fmla="*/ 16549 w 18385"/>
                  <a:gd name="connsiteY2" fmla="*/ 3747 h 18454"/>
                  <a:gd name="connsiteX3" fmla="*/ 14695 w 18385"/>
                  <a:gd name="connsiteY3" fmla="*/ 16665 h 18454"/>
                  <a:gd name="connsiteX4" fmla="*/ 1837 w 18385"/>
                  <a:gd name="connsiteY4" fmla="*/ 1475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5" h="18454">
                    <a:moveTo>
                      <a:pt x="1837" y="14751"/>
                    </a:moveTo>
                    <a:cubicBezTo>
                      <a:pt x="-1213" y="10684"/>
                      <a:pt x="-376" y="4883"/>
                      <a:pt x="3691" y="1833"/>
                    </a:cubicBezTo>
                    <a:cubicBezTo>
                      <a:pt x="7758" y="-1217"/>
                      <a:pt x="13499" y="-380"/>
                      <a:pt x="16549" y="3747"/>
                    </a:cubicBezTo>
                    <a:cubicBezTo>
                      <a:pt x="19599" y="7813"/>
                      <a:pt x="18762" y="13615"/>
                      <a:pt x="14695" y="16665"/>
                    </a:cubicBezTo>
                    <a:cubicBezTo>
                      <a:pt x="10568" y="19655"/>
                      <a:pt x="4827" y="18818"/>
                      <a:pt x="1837" y="14751"/>
                    </a:cubicBezTo>
                    <a:close/>
                  </a:path>
                </a:pathLst>
              </a:custGeom>
              <a:grpFill/>
              <a:ln w="5978" cap="flat">
                <a:noFill/>
                <a:prstDash val="solid"/>
                <a:miter/>
              </a:ln>
            </p:spPr>
            <p:txBody>
              <a:bodyPr rtlCol="0" anchor="ctr"/>
              <a:lstStyle/>
              <a:p>
                <a:endParaRPr lang="en-GB"/>
              </a:p>
            </p:txBody>
          </p:sp>
          <p:sp>
            <p:nvSpPr>
              <p:cNvPr id="2997" name="Vrije vorm: vorm 2996">
                <a:extLst>
                  <a:ext uri="{FF2B5EF4-FFF2-40B4-BE49-F238E27FC236}">
                    <a16:creationId xmlns:a16="http://schemas.microsoft.com/office/drawing/2014/main" id="{AC418553-2C15-438B-93C3-EC4C67F5D090}"/>
                  </a:ext>
                </a:extLst>
              </p:cNvPr>
              <p:cNvSpPr/>
              <p:nvPr/>
            </p:nvSpPr>
            <p:spPr>
              <a:xfrm>
                <a:off x="5037061" y="2052688"/>
                <a:ext cx="18360" cy="18411"/>
              </a:xfrm>
              <a:custGeom>
                <a:avLst/>
                <a:gdLst>
                  <a:gd name="connsiteX0" fmla="*/ 1837 w 18360"/>
                  <a:gd name="connsiteY0" fmla="*/ 14708 h 18411"/>
                  <a:gd name="connsiteX1" fmla="*/ 14695 w 18360"/>
                  <a:gd name="connsiteY1" fmla="*/ 16622 h 18411"/>
                  <a:gd name="connsiteX2" fmla="*/ 16549 w 18360"/>
                  <a:gd name="connsiteY2" fmla="*/ 3703 h 18411"/>
                  <a:gd name="connsiteX3" fmla="*/ 3691 w 18360"/>
                  <a:gd name="connsiteY3" fmla="*/ 1790 h 18411"/>
                  <a:gd name="connsiteX4" fmla="*/ 1837 w 18360"/>
                  <a:gd name="connsiteY4" fmla="*/ 1470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1">
                    <a:moveTo>
                      <a:pt x="1837" y="14708"/>
                    </a:moveTo>
                    <a:cubicBezTo>
                      <a:pt x="4887" y="18775"/>
                      <a:pt x="10628" y="19612"/>
                      <a:pt x="14695" y="16622"/>
                    </a:cubicBezTo>
                    <a:cubicBezTo>
                      <a:pt x="18762" y="13631"/>
                      <a:pt x="19540" y="7830"/>
                      <a:pt x="16549" y="3703"/>
                    </a:cubicBezTo>
                    <a:cubicBezTo>
                      <a:pt x="13499" y="-364"/>
                      <a:pt x="7758" y="-1201"/>
                      <a:pt x="3691" y="1790"/>
                    </a:cubicBezTo>
                    <a:cubicBezTo>
                      <a:pt x="-376" y="4840"/>
                      <a:pt x="-1213" y="10641"/>
                      <a:pt x="1837" y="14708"/>
                    </a:cubicBezTo>
                    <a:close/>
                  </a:path>
                </a:pathLst>
              </a:custGeom>
              <a:grpFill/>
              <a:ln w="5978" cap="flat">
                <a:noFill/>
                <a:prstDash val="solid"/>
                <a:miter/>
              </a:ln>
            </p:spPr>
            <p:txBody>
              <a:bodyPr rtlCol="0" anchor="ctr"/>
              <a:lstStyle/>
              <a:p>
                <a:endParaRPr lang="en-GB"/>
              </a:p>
            </p:txBody>
          </p:sp>
        </p:grpSp>
        <p:grpSp>
          <p:nvGrpSpPr>
            <p:cNvPr id="801" name="Graphic 3">
              <a:extLst>
                <a:ext uri="{FF2B5EF4-FFF2-40B4-BE49-F238E27FC236}">
                  <a16:creationId xmlns:a16="http://schemas.microsoft.com/office/drawing/2014/main" id="{03D9421C-8EB4-4E8C-9592-D853C01D8B45}"/>
                </a:ext>
              </a:extLst>
            </p:cNvPr>
            <p:cNvGrpSpPr/>
            <p:nvPr/>
          </p:nvGrpSpPr>
          <p:grpSpPr>
            <a:xfrm>
              <a:off x="6119010" y="5341656"/>
              <a:ext cx="19449" cy="47259"/>
              <a:chOff x="6119010" y="5341656"/>
              <a:chExt cx="19449" cy="47259"/>
            </a:xfrm>
            <a:grpFill/>
          </p:grpSpPr>
          <p:sp>
            <p:nvSpPr>
              <p:cNvPr id="2992" name="Vrije vorm: vorm 2991">
                <a:extLst>
                  <a:ext uri="{FF2B5EF4-FFF2-40B4-BE49-F238E27FC236}">
                    <a16:creationId xmlns:a16="http://schemas.microsoft.com/office/drawing/2014/main" id="{6151FD1B-2F76-403F-95E4-B64B62CB9212}"/>
                  </a:ext>
                </a:extLst>
              </p:cNvPr>
              <p:cNvSpPr/>
              <p:nvPr/>
            </p:nvSpPr>
            <p:spPr>
              <a:xfrm>
                <a:off x="6126671" y="5350334"/>
                <a:ext cx="4126" cy="29843"/>
              </a:xfrm>
              <a:custGeom>
                <a:avLst/>
                <a:gdLst>
                  <a:gd name="connsiteX0" fmla="*/ 3050 w 4126"/>
                  <a:gd name="connsiteY0" fmla="*/ 0 h 29843"/>
                  <a:gd name="connsiteX1" fmla="*/ 4127 w 4126"/>
                  <a:gd name="connsiteY1" fmla="*/ 29724 h 29843"/>
                  <a:gd name="connsiteX2" fmla="*/ 1076 w 4126"/>
                  <a:gd name="connsiteY2" fmla="*/ 29844 h 29843"/>
                  <a:gd name="connsiteX3" fmla="*/ 0 w 4126"/>
                  <a:gd name="connsiteY3" fmla="*/ 119 h 29843"/>
                </a:gdLst>
                <a:ahLst/>
                <a:cxnLst>
                  <a:cxn ang="0">
                    <a:pos x="connsiteX0" y="connsiteY0"/>
                  </a:cxn>
                  <a:cxn ang="0">
                    <a:pos x="connsiteX1" y="connsiteY1"/>
                  </a:cxn>
                  <a:cxn ang="0">
                    <a:pos x="connsiteX2" y="connsiteY2"/>
                  </a:cxn>
                  <a:cxn ang="0">
                    <a:pos x="connsiteX3" y="connsiteY3"/>
                  </a:cxn>
                </a:cxnLst>
                <a:rect l="l" t="t" r="r" b="b"/>
                <a:pathLst>
                  <a:path w="4126" h="29843">
                    <a:moveTo>
                      <a:pt x="3050" y="0"/>
                    </a:moveTo>
                    <a:lnTo>
                      <a:pt x="4127" y="29724"/>
                    </a:lnTo>
                    <a:lnTo>
                      <a:pt x="1076" y="29844"/>
                    </a:lnTo>
                    <a:lnTo>
                      <a:pt x="0" y="119"/>
                    </a:lnTo>
                    <a:close/>
                  </a:path>
                </a:pathLst>
              </a:custGeom>
              <a:grpFill/>
              <a:ln w="5978" cap="flat">
                <a:noFill/>
                <a:prstDash val="solid"/>
                <a:miter/>
              </a:ln>
            </p:spPr>
            <p:txBody>
              <a:bodyPr rtlCol="0" anchor="ctr"/>
              <a:lstStyle/>
              <a:p>
                <a:endParaRPr lang="en-GB"/>
              </a:p>
            </p:txBody>
          </p:sp>
          <p:sp>
            <p:nvSpPr>
              <p:cNvPr id="2993" name="Vrije vorm: vorm 2992">
                <a:extLst>
                  <a:ext uri="{FF2B5EF4-FFF2-40B4-BE49-F238E27FC236}">
                    <a16:creationId xmlns:a16="http://schemas.microsoft.com/office/drawing/2014/main" id="{B6A28F77-C6F0-42A9-A75A-0D2650271ED0}"/>
                  </a:ext>
                </a:extLst>
              </p:cNvPr>
              <p:cNvSpPr/>
              <p:nvPr/>
            </p:nvSpPr>
            <p:spPr>
              <a:xfrm>
                <a:off x="6119010" y="5341656"/>
                <a:ext cx="18312" cy="18432"/>
              </a:xfrm>
              <a:custGeom>
                <a:avLst/>
                <a:gdLst>
                  <a:gd name="connsiteX0" fmla="*/ 6 w 18312"/>
                  <a:gd name="connsiteY0" fmla="*/ 9515 h 18432"/>
                  <a:gd name="connsiteX1" fmla="*/ 8798 w 18312"/>
                  <a:gd name="connsiteY1" fmla="*/ 6 h 18432"/>
                  <a:gd name="connsiteX2" fmla="*/ 18307 w 18312"/>
                  <a:gd name="connsiteY2" fmla="*/ 8917 h 18432"/>
                  <a:gd name="connsiteX3" fmla="*/ 9515 w 18312"/>
                  <a:gd name="connsiteY3" fmla="*/ 18427 h 18432"/>
                  <a:gd name="connsiteX4" fmla="*/ 6 w 18312"/>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6" y="9515"/>
                    </a:moveTo>
                    <a:cubicBezTo>
                      <a:pt x="-173" y="4431"/>
                      <a:pt x="3774" y="185"/>
                      <a:pt x="8798" y="6"/>
                    </a:cubicBezTo>
                    <a:cubicBezTo>
                      <a:pt x="13881" y="-174"/>
                      <a:pt x="18128" y="3834"/>
                      <a:pt x="18307" y="8917"/>
                    </a:cubicBezTo>
                    <a:cubicBezTo>
                      <a:pt x="18486" y="14001"/>
                      <a:pt x="14539" y="18247"/>
                      <a:pt x="9515" y="18427"/>
                    </a:cubicBezTo>
                    <a:cubicBezTo>
                      <a:pt x="4491" y="18606"/>
                      <a:pt x="245" y="14599"/>
                      <a:pt x="6" y="9515"/>
                    </a:cubicBezTo>
                    <a:close/>
                  </a:path>
                </a:pathLst>
              </a:custGeom>
              <a:grpFill/>
              <a:ln w="5978" cap="flat">
                <a:noFill/>
                <a:prstDash val="solid"/>
                <a:miter/>
              </a:ln>
            </p:spPr>
            <p:txBody>
              <a:bodyPr rtlCol="0" anchor="ctr"/>
              <a:lstStyle/>
              <a:p>
                <a:endParaRPr lang="en-GB"/>
              </a:p>
            </p:txBody>
          </p:sp>
          <p:sp>
            <p:nvSpPr>
              <p:cNvPr id="2994" name="Vrije vorm: vorm 2993">
                <a:extLst>
                  <a:ext uri="{FF2B5EF4-FFF2-40B4-BE49-F238E27FC236}">
                    <a16:creationId xmlns:a16="http://schemas.microsoft.com/office/drawing/2014/main" id="{DCB96F78-30DC-46A4-8EBF-A5624EB4B54E}"/>
                  </a:ext>
                </a:extLst>
              </p:cNvPr>
              <p:cNvSpPr/>
              <p:nvPr/>
            </p:nvSpPr>
            <p:spPr>
              <a:xfrm>
                <a:off x="6120142" y="5370483"/>
                <a:ext cx="18317" cy="18432"/>
              </a:xfrm>
              <a:custGeom>
                <a:avLst/>
                <a:gdLst>
                  <a:gd name="connsiteX0" fmla="*/ 10 w 18317"/>
                  <a:gd name="connsiteY0" fmla="*/ 9515 h 18432"/>
                  <a:gd name="connsiteX1" fmla="*/ 9520 w 18317"/>
                  <a:gd name="connsiteY1" fmla="*/ 18427 h 18432"/>
                  <a:gd name="connsiteX2" fmla="*/ 18311 w 18317"/>
                  <a:gd name="connsiteY2" fmla="*/ 8917 h 18432"/>
                  <a:gd name="connsiteX3" fmla="*/ 8802 w 18317"/>
                  <a:gd name="connsiteY3" fmla="*/ 6 h 18432"/>
                  <a:gd name="connsiteX4" fmla="*/ 10 w 18317"/>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32">
                    <a:moveTo>
                      <a:pt x="10" y="9515"/>
                    </a:moveTo>
                    <a:cubicBezTo>
                      <a:pt x="190" y="14599"/>
                      <a:pt x="4436" y="18606"/>
                      <a:pt x="9520" y="18427"/>
                    </a:cubicBezTo>
                    <a:cubicBezTo>
                      <a:pt x="14603" y="18247"/>
                      <a:pt x="18491" y="14000"/>
                      <a:pt x="18311" y="8917"/>
                    </a:cubicBezTo>
                    <a:cubicBezTo>
                      <a:pt x="18132" y="3834"/>
                      <a:pt x="13886" y="-174"/>
                      <a:pt x="8802" y="6"/>
                    </a:cubicBezTo>
                    <a:cubicBezTo>
                      <a:pt x="3718" y="185"/>
                      <a:pt x="-229" y="4431"/>
                      <a:pt x="10" y="9515"/>
                    </a:cubicBezTo>
                    <a:close/>
                  </a:path>
                </a:pathLst>
              </a:custGeom>
              <a:grpFill/>
              <a:ln w="5978" cap="flat">
                <a:noFill/>
                <a:prstDash val="solid"/>
                <a:miter/>
              </a:ln>
            </p:spPr>
            <p:txBody>
              <a:bodyPr rtlCol="0" anchor="ctr"/>
              <a:lstStyle/>
              <a:p>
                <a:endParaRPr lang="en-GB"/>
              </a:p>
            </p:txBody>
          </p:sp>
        </p:grpSp>
        <p:grpSp>
          <p:nvGrpSpPr>
            <p:cNvPr id="802" name="Graphic 3">
              <a:extLst>
                <a:ext uri="{FF2B5EF4-FFF2-40B4-BE49-F238E27FC236}">
                  <a16:creationId xmlns:a16="http://schemas.microsoft.com/office/drawing/2014/main" id="{21FD6A91-D270-40A7-A259-CACF83BEF225}"/>
                </a:ext>
              </a:extLst>
            </p:cNvPr>
            <p:cNvGrpSpPr/>
            <p:nvPr/>
          </p:nvGrpSpPr>
          <p:grpSpPr>
            <a:xfrm>
              <a:off x="6086165" y="5096077"/>
              <a:ext cx="40947" cy="384240"/>
              <a:chOff x="6086165" y="5096077"/>
              <a:chExt cx="40947" cy="384240"/>
            </a:xfrm>
            <a:grpFill/>
          </p:grpSpPr>
          <p:sp>
            <p:nvSpPr>
              <p:cNvPr id="2989" name="Vrije vorm: vorm 2988">
                <a:extLst>
                  <a:ext uri="{FF2B5EF4-FFF2-40B4-BE49-F238E27FC236}">
                    <a16:creationId xmlns:a16="http://schemas.microsoft.com/office/drawing/2014/main" id="{3325451A-CDD0-4704-BC83-F184B6167B47}"/>
                  </a:ext>
                </a:extLst>
              </p:cNvPr>
              <p:cNvSpPr/>
              <p:nvPr/>
            </p:nvSpPr>
            <p:spPr>
              <a:xfrm>
                <a:off x="6093837" y="5104765"/>
                <a:ext cx="25717" cy="366917"/>
              </a:xfrm>
              <a:custGeom>
                <a:avLst/>
                <a:gdLst>
                  <a:gd name="connsiteX0" fmla="*/ 25717 w 25717"/>
                  <a:gd name="connsiteY0" fmla="*/ 179 h 366917"/>
                  <a:gd name="connsiteX1" fmla="*/ 2990 w 25717"/>
                  <a:gd name="connsiteY1" fmla="*/ 366917 h 366917"/>
                  <a:gd name="connsiteX2" fmla="*/ 0 w 25717"/>
                  <a:gd name="connsiteY2" fmla="*/ 366738 h 366917"/>
                  <a:gd name="connsiteX3" fmla="*/ 22667 w 25717"/>
                  <a:gd name="connsiteY3" fmla="*/ 0 h 366917"/>
                </a:gdLst>
                <a:ahLst/>
                <a:cxnLst>
                  <a:cxn ang="0">
                    <a:pos x="connsiteX0" y="connsiteY0"/>
                  </a:cxn>
                  <a:cxn ang="0">
                    <a:pos x="connsiteX1" y="connsiteY1"/>
                  </a:cxn>
                  <a:cxn ang="0">
                    <a:pos x="connsiteX2" y="connsiteY2"/>
                  </a:cxn>
                  <a:cxn ang="0">
                    <a:pos x="connsiteX3" y="connsiteY3"/>
                  </a:cxn>
                </a:cxnLst>
                <a:rect l="l" t="t" r="r" b="b"/>
                <a:pathLst>
                  <a:path w="25717" h="366917">
                    <a:moveTo>
                      <a:pt x="25717" y="179"/>
                    </a:moveTo>
                    <a:lnTo>
                      <a:pt x="2990" y="366917"/>
                    </a:lnTo>
                    <a:lnTo>
                      <a:pt x="0" y="366738"/>
                    </a:lnTo>
                    <a:lnTo>
                      <a:pt x="22667" y="0"/>
                    </a:lnTo>
                    <a:close/>
                  </a:path>
                </a:pathLst>
              </a:custGeom>
              <a:grpFill/>
              <a:ln w="5978" cap="flat">
                <a:noFill/>
                <a:prstDash val="solid"/>
                <a:miter/>
              </a:ln>
            </p:spPr>
            <p:txBody>
              <a:bodyPr rtlCol="0" anchor="ctr"/>
              <a:lstStyle/>
              <a:p>
                <a:endParaRPr lang="en-GB"/>
              </a:p>
            </p:txBody>
          </p:sp>
          <p:sp>
            <p:nvSpPr>
              <p:cNvPr id="2990" name="Vrije vorm: vorm 2989">
                <a:extLst>
                  <a:ext uri="{FF2B5EF4-FFF2-40B4-BE49-F238E27FC236}">
                    <a16:creationId xmlns:a16="http://schemas.microsoft.com/office/drawing/2014/main" id="{7315552E-36C5-4C9C-A6B5-F6D2C2940A0D}"/>
                  </a:ext>
                </a:extLst>
              </p:cNvPr>
              <p:cNvSpPr/>
              <p:nvPr/>
            </p:nvSpPr>
            <p:spPr>
              <a:xfrm>
                <a:off x="6108832" y="5096077"/>
                <a:ext cx="18280" cy="18453"/>
              </a:xfrm>
              <a:custGeom>
                <a:avLst/>
                <a:gdLst>
                  <a:gd name="connsiteX0" fmla="*/ 16 w 18280"/>
                  <a:gd name="connsiteY0" fmla="*/ 8629 h 18453"/>
                  <a:gd name="connsiteX1" fmla="*/ 9705 w 18280"/>
                  <a:gd name="connsiteY1" fmla="*/ 16 h 18453"/>
                  <a:gd name="connsiteX2" fmla="*/ 18258 w 18280"/>
                  <a:gd name="connsiteY2" fmla="*/ 9825 h 18453"/>
                  <a:gd name="connsiteX3" fmla="*/ 8569 w 18280"/>
                  <a:gd name="connsiteY3" fmla="*/ 18437 h 18453"/>
                  <a:gd name="connsiteX4" fmla="*/ 16 w 18280"/>
                  <a:gd name="connsiteY4" fmla="*/ 8629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53">
                    <a:moveTo>
                      <a:pt x="16" y="8629"/>
                    </a:moveTo>
                    <a:cubicBezTo>
                      <a:pt x="316" y="3545"/>
                      <a:pt x="4682" y="-283"/>
                      <a:pt x="9705" y="16"/>
                    </a:cubicBezTo>
                    <a:cubicBezTo>
                      <a:pt x="14729" y="375"/>
                      <a:pt x="18617" y="4741"/>
                      <a:pt x="18258" y="9825"/>
                    </a:cubicBezTo>
                    <a:cubicBezTo>
                      <a:pt x="17959" y="14908"/>
                      <a:pt x="13593" y="18736"/>
                      <a:pt x="8569" y="18437"/>
                    </a:cubicBezTo>
                    <a:cubicBezTo>
                      <a:pt x="3545" y="18078"/>
                      <a:pt x="-283" y="13712"/>
                      <a:pt x="16" y="8629"/>
                    </a:cubicBezTo>
                    <a:close/>
                  </a:path>
                </a:pathLst>
              </a:custGeom>
              <a:grpFill/>
              <a:ln w="5978" cap="flat">
                <a:noFill/>
                <a:prstDash val="solid"/>
                <a:miter/>
              </a:ln>
            </p:spPr>
            <p:txBody>
              <a:bodyPr rtlCol="0" anchor="ctr"/>
              <a:lstStyle/>
              <a:p>
                <a:endParaRPr lang="en-GB"/>
              </a:p>
            </p:txBody>
          </p:sp>
          <p:sp>
            <p:nvSpPr>
              <p:cNvPr id="2991" name="Vrije vorm: vorm 2990">
                <a:extLst>
                  <a:ext uri="{FF2B5EF4-FFF2-40B4-BE49-F238E27FC236}">
                    <a16:creationId xmlns:a16="http://schemas.microsoft.com/office/drawing/2014/main" id="{912A550C-CE88-4361-AD56-CD2AE41995F3}"/>
                  </a:ext>
                </a:extLst>
              </p:cNvPr>
              <p:cNvSpPr/>
              <p:nvPr/>
            </p:nvSpPr>
            <p:spPr>
              <a:xfrm>
                <a:off x="6086165" y="5461858"/>
                <a:ext cx="18273" cy="18459"/>
              </a:xfrm>
              <a:custGeom>
                <a:avLst/>
                <a:gdLst>
                  <a:gd name="connsiteX0" fmla="*/ 16 w 18273"/>
                  <a:gd name="connsiteY0" fmla="*/ 8628 h 18459"/>
                  <a:gd name="connsiteX1" fmla="*/ 8569 w 18273"/>
                  <a:gd name="connsiteY1" fmla="*/ 18437 h 18459"/>
                  <a:gd name="connsiteX2" fmla="*/ 18258 w 18273"/>
                  <a:gd name="connsiteY2" fmla="*/ 9825 h 18459"/>
                  <a:gd name="connsiteX3" fmla="*/ 9705 w 18273"/>
                  <a:gd name="connsiteY3" fmla="*/ 16 h 18459"/>
                  <a:gd name="connsiteX4" fmla="*/ 16 w 18273"/>
                  <a:gd name="connsiteY4" fmla="*/ 8628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59">
                    <a:moveTo>
                      <a:pt x="16" y="8628"/>
                    </a:moveTo>
                    <a:cubicBezTo>
                      <a:pt x="-283" y="13712"/>
                      <a:pt x="3545" y="18078"/>
                      <a:pt x="8569" y="18437"/>
                    </a:cubicBezTo>
                    <a:cubicBezTo>
                      <a:pt x="13593" y="18796"/>
                      <a:pt x="17959" y="14908"/>
                      <a:pt x="18258" y="9825"/>
                    </a:cubicBezTo>
                    <a:cubicBezTo>
                      <a:pt x="18557" y="4741"/>
                      <a:pt x="14729" y="375"/>
                      <a:pt x="9705" y="16"/>
                    </a:cubicBezTo>
                    <a:cubicBezTo>
                      <a:pt x="4682" y="-283"/>
                      <a:pt x="375" y="3605"/>
                      <a:pt x="16" y="8628"/>
                    </a:cubicBezTo>
                    <a:close/>
                  </a:path>
                </a:pathLst>
              </a:custGeom>
              <a:grpFill/>
              <a:ln w="5978" cap="flat">
                <a:noFill/>
                <a:prstDash val="solid"/>
                <a:miter/>
              </a:ln>
            </p:spPr>
            <p:txBody>
              <a:bodyPr rtlCol="0" anchor="ctr"/>
              <a:lstStyle/>
              <a:p>
                <a:endParaRPr lang="en-GB"/>
              </a:p>
            </p:txBody>
          </p:sp>
        </p:grpSp>
        <p:grpSp>
          <p:nvGrpSpPr>
            <p:cNvPr id="803" name="Graphic 3">
              <a:extLst>
                <a:ext uri="{FF2B5EF4-FFF2-40B4-BE49-F238E27FC236}">
                  <a16:creationId xmlns:a16="http://schemas.microsoft.com/office/drawing/2014/main" id="{7ED1836C-D7E3-4C25-A6C4-49D6AA1BFAE9}"/>
                </a:ext>
              </a:extLst>
            </p:cNvPr>
            <p:cNvGrpSpPr/>
            <p:nvPr/>
          </p:nvGrpSpPr>
          <p:grpSpPr>
            <a:xfrm>
              <a:off x="6203393" y="5093212"/>
              <a:ext cx="75497" cy="1191320"/>
              <a:chOff x="6203393" y="5093212"/>
              <a:chExt cx="75497" cy="1191320"/>
            </a:xfrm>
            <a:grpFill/>
          </p:grpSpPr>
          <p:sp>
            <p:nvSpPr>
              <p:cNvPr id="2986" name="Vrije vorm: vorm 2985">
                <a:extLst>
                  <a:ext uri="{FF2B5EF4-FFF2-40B4-BE49-F238E27FC236}">
                    <a16:creationId xmlns:a16="http://schemas.microsoft.com/office/drawing/2014/main" id="{1DB73ED8-1D60-4775-98EF-F817CB013B56}"/>
                  </a:ext>
                </a:extLst>
              </p:cNvPr>
              <p:cNvSpPr/>
              <p:nvPr/>
            </p:nvSpPr>
            <p:spPr>
              <a:xfrm>
                <a:off x="6210999" y="5101894"/>
                <a:ext cx="60225" cy="1173955"/>
              </a:xfrm>
              <a:custGeom>
                <a:avLst/>
                <a:gdLst>
                  <a:gd name="connsiteX0" fmla="*/ 3050 w 60225"/>
                  <a:gd name="connsiteY0" fmla="*/ 0 h 1173955"/>
                  <a:gd name="connsiteX1" fmla="*/ 60226 w 60225"/>
                  <a:gd name="connsiteY1" fmla="*/ 1173836 h 1173955"/>
                  <a:gd name="connsiteX2" fmla="*/ 57176 w 60225"/>
                  <a:gd name="connsiteY2" fmla="*/ 1173956 h 1173955"/>
                  <a:gd name="connsiteX3" fmla="*/ 0 w 60225"/>
                  <a:gd name="connsiteY3" fmla="*/ 120 h 1173955"/>
                </a:gdLst>
                <a:ahLst/>
                <a:cxnLst>
                  <a:cxn ang="0">
                    <a:pos x="connsiteX0" y="connsiteY0"/>
                  </a:cxn>
                  <a:cxn ang="0">
                    <a:pos x="connsiteX1" y="connsiteY1"/>
                  </a:cxn>
                  <a:cxn ang="0">
                    <a:pos x="connsiteX2" y="connsiteY2"/>
                  </a:cxn>
                  <a:cxn ang="0">
                    <a:pos x="connsiteX3" y="connsiteY3"/>
                  </a:cxn>
                </a:cxnLst>
                <a:rect l="l" t="t" r="r" b="b"/>
                <a:pathLst>
                  <a:path w="60225" h="1173955">
                    <a:moveTo>
                      <a:pt x="3050" y="0"/>
                    </a:moveTo>
                    <a:lnTo>
                      <a:pt x="60226" y="1173836"/>
                    </a:lnTo>
                    <a:lnTo>
                      <a:pt x="57176" y="1173956"/>
                    </a:lnTo>
                    <a:lnTo>
                      <a:pt x="0" y="120"/>
                    </a:lnTo>
                    <a:close/>
                  </a:path>
                </a:pathLst>
              </a:custGeom>
              <a:grpFill/>
              <a:ln w="5978" cap="flat">
                <a:noFill/>
                <a:prstDash val="solid"/>
                <a:miter/>
              </a:ln>
            </p:spPr>
            <p:txBody>
              <a:bodyPr rtlCol="0" anchor="ctr"/>
              <a:lstStyle/>
              <a:p>
                <a:endParaRPr lang="en-GB"/>
              </a:p>
            </p:txBody>
          </p:sp>
          <p:sp>
            <p:nvSpPr>
              <p:cNvPr id="2987" name="Vrije vorm: vorm 2986">
                <a:extLst>
                  <a:ext uri="{FF2B5EF4-FFF2-40B4-BE49-F238E27FC236}">
                    <a16:creationId xmlns:a16="http://schemas.microsoft.com/office/drawing/2014/main" id="{E29F2538-81DA-4504-8D86-18B1C140362D}"/>
                  </a:ext>
                </a:extLst>
              </p:cNvPr>
              <p:cNvSpPr/>
              <p:nvPr/>
            </p:nvSpPr>
            <p:spPr>
              <a:xfrm>
                <a:off x="6203393" y="5093212"/>
                <a:ext cx="18381" cy="18441"/>
              </a:xfrm>
              <a:custGeom>
                <a:avLst/>
                <a:gdLst>
                  <a:gd name="connsiteX0" fmla="*/ 10 w 18381"/>
                  <a:gd name="connsiteY0" fmla="*/ 9639 h 18441"/>
                  <a:gd name="connsiteX1" fmla="*/ 8742 w 18381"/>
                  <a:gd name="connsiteY1" fmla="*/ 10 h 18441"/>
                  <a:gd name="connsiteX2" fmla="*/ 18371 w 18381"/>
                  <a:gd name="connsiteY2" fmla="*/ 8802 h 18441"/>
                  <a:gd name="connsiteX3" fmla="*/ 9639 w 18381"/>
                  <a:gd name="connsiteY3" fmla="*/ 18431 h 18441"/>
                  <a:gd name="connsiteX4" fmla="*/ 10 w 1838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1">
                    <a:moveTo>
                      <a:pt x="10" y="9639"/>
                    </a:moveTo>
                    <a:cubicBezTo>
                      <a:pt x="-229" y="4555"/>
                      <a:pt x="3659" y="249"/>
                      <a:pt x="8742" y="10"/>
                    </a:cubicBezTo>
                    <a:cubicBezTo>
                      <a:pt x="13826" y="-229"/>
                      <a:pt x="18072" y="3718"/>
                      <a:pt x="18371" y="8802"/>
                    </a:cubicBezTo>
                    <a:cubicBezTo>
                      <a:pt x="18610" y="13886"/>
                      <a:pt x="14723" y="18192"/>
                      <a:pt x="9639" y="18431"/>
                    </a:cubicBezTo>
                    <a:cubicBezTo>
                      <a:pt x="4556" y="18670"/>
                      <a:pt x="250" y="14723"/>
                      <a:pt x="10" y="9639"/>
                    </a:cubicBezTo>
                    <a:close/>
                  </a:path>
                </a:pathLst>
              </a:custGeom>
              <a:grpFill/>
              <a:ln w="5978" cap="flat">
                <a:noFill/>
                <a:prstDash val="solid"/>
                <a:miter/>
              </a:ln>
            </p:spPr>
            <p:txBody>
              <a:bodyPr rtlCol="0" anchor="ctr"/>
              <a:lstStyle/>
              <a:p>
                <a:endParaRPr lang="en-GB"/>
              </a:p>
            </p:txBody>
          </p:sp>
          <p:sp>
            <p:nvSpPr>
              <p:cNvPr id="2988" name="Vrije vorm: vorm 2987">
                <a:extLst>
                  <a:ext uri="{FF2B5EF4-FFF2-40B4-BE49-F238E27FC236}">
                    <a16:creationId xmlns:a16="http://schemas.microsoft.com/office/drawing/2014/main" id="{DA9976C3-46F8-41E2-9CA8-FFD8863538E3}"/>
                  </a:ext>
                </a:extLst>
              </p:cNvPr>
              <p:cNvSpPr/>
              <p:nvPr/>
            </p:nvSpPr>
            <p:spPr>
              <a:xfrm>
                <a:off x="6260509" y="6266091"/>
                <a:ext cx="18381" cy="18441"/>
              </a:xfrm>
              <a:custGeom>
                <a:avLst/>
                <a:gdLst>
                  <a:gd name="connsiteX0" fmla="*/ 10 w 18381"/>
                  <a:gd name="connsiteY0" fmla="*/ 9639 h 18441"/>
                  <a:gd name="connsiteX1" fmla="*/ 9639 w 18381"/>
                  <a:gd name="connsiteY1" fmla="*/ 18431 h 18441"/>
                  <a:gd name="connsiteX2" fmla="*/ 18371 w 18381"/>
                  <a:gd name="connsiteY2" fmla="*/ 8802 h 18441"/>
                  <a:gd name="connsiteX3" fmla="*/ 8742 w 18381"/>
                  <a:gd name="connsiteY3" fmla="*/ 10 h 18441"/>
                  <a:gd name="connsiteX4" fmla="*/ 10 w 1838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1">
                    <a:moveTo>
                      <a:pt x="10" y="9639"/>
                    </a:moveTo>
                    <a:cubicBezTo>
                      <a:pt x="250" y="14723"/>
                      <a:pt x="4556" y="18670"/>
                      <a:pt x="9639" y="18431"/>
                    </a:cubicBezTo>
                    <a:cubicBezTo>
                      <a:pt x="14723" y="18192"/>
                      <a:pt x="18610" y="13886"/>
                      <a:pt x="18371" y="8802"/>
                    </a:cubicBezTo>
                    <a:cubicBezTo>
                      <a:pt x="18132" y="3718"/>
                      <a:pt x="13826" y="-229"/>
                      <a:pt x="8742" y="10"/>
                    </a:cubicBezTo>
                    <a:cubicBezTo>
                      <a:pt x="3659" y="249"/>
                      <a:pt x="-229" y="4556"/>
                      <a:pt x="10" y="9639"/>
                    </a:cubicBezTo>
                    <a:close/>
                  </a:path>
                </a:pathLst>
              </a:custGeom>
              <a:grpFill/>
              <a:ln w="5978" cap="flat">
                <a:noFill/>
                <a:prstDash val="solid"/>
                <a:miter/>
              </a:ln>
            </p:spPr>
            <p:txBody>
              <a:bodyPr rtlCol="0" anchor="ctr"/>
              <a:lstStyle/>
              <a:p>
                <a:endParaRPr lang="en-GB"/>
              </a:p>
            </p:txBody>
          </p:sp>
        </p:grpSp>
        <p:grpSp>
          <p:nvGrpSpPr>
            <p:cNvPr id="804" name="Graphic 3">
              <a:extLst>
                <a:ext uri="{FF2B5EF4-FFF2-40B4-BE49-F238E27FC236}">
                  <a16:creationId xmlns:a16="http://schemas.microsoft.com/office/drawing/2014/main" id="{15A95B14-6433-4DEE-9682-BC44F3E3CC4E}"/>
                </a:ext>
              </a:extLst>
            </p:cNvPr>
            <p:cNvGrpSpPr/>
            <p:nvPr/>
          </p:nvGrpSpPr>
          <p:grpSpPr>
            <a:xfrm>
              <a:off x="4797301" y="1594960"/>
              <a:ext cx="285456" cy="459416"/>
              <a:chOff x="4797301" y="1594960"/>
              <a:chExt cx="285456" cy="459416"/>
            </a:xfrm>
            <a:grpFill/>
          </p:grpSpPr>
          <p:sp>
            <p:nvSpPr>
              <p:cNvPr id="2983" name="Vrije vorm: vorm 2982">
                <a:extLst>
                  <a:ext uri="{FF2B5EF4-FFF2-40B4-BE49-F238E27FC236}">
                    <a16:creationId xmlns:a16="http://schemas.microsoft.com/office/drawing/2014/main" id="{A680F495-A72B-49E6-9047-AA48500D15B6}"/>
                  </a:ext>
                </a:extLst>
              </p:cNvPr>
              <p:cNvSpPr/>
              <p:nvPr/>
            </p:nvSpPr>
            <p:spPr>
              <a:xfrm>
                <a:off x="4804991" y="1602993"/>
                <a:ext cx="270149" cy="443291"/>
              </a:xfrm>
              <a:custGeom>
                <a:avLst/>
                <a:gdLst>
                  <a:gd name="connsiteX0" fmla="*/ 270149 w 270149"/>
                  <a:gd name="connsiteY0" fmla="*/ 441736 h 443291"/>
                  <a:gd name="connsiteX1" fmla="*/ 267518 w 270149"/>
                  <a:gd name="connsiteY1" fmla="*/ 443291 h 443291"/>
                  <a:gd name="connsiteX2" fmla="*/ 0 w 270149"/>
                  <a:gd name="connsiteY2" fmla="*/ 1555 h 443291"/>
                  <a:gd name="connsiteX3" fmla="*/ 2572 w 270149"/>
                  <a:gd name="connsiteY3" fmla="*/ 0 h 443291"/>
                </a:gdLst>
                <a:ahLst/>
                <a:cxnLst>
                  <a:cxn ang="0">
                    <a:pos x="connsiteX0" y="connsiteY0"/>
                  </a:cxn>
                  <a:cxn ang="0">
                    <a:pos x="connsiteX1" y="connsiteY1"/>
                  </a:cxn>
                  <a:cxn ang="0">
                    <a:pos x="connsiteX2" y="connsiteY2"/>
                  </a:cxn>
                  <a:cxn ang="0">
                    <a:pos x="connsiteX3" y="connsiteY3"/>
                  </a:cxn>
                </a:cxnLst>
                <a:rect l="l" t="t" r="r" b="b"/>
                <a:pathLst>
                  <a:path w="270149" h="443291">
                    <a:moveTo>
                      <a:pt x="270149" y="441736"/>
                    </a:moveTo>
                    <a:lnTo>
                      <a:pt x="267518" y="443291"/>
                    </a:lnTo>
                    <a:lnTo>
                      <a:pt x="0" y="1555"/>
                    </a:lnTo>
                    <a:lnTo>
                      <a:pt x="2572" y="0"/>
                    </a:lnTo>
                    <a:close/>
                  </a:path>
                </a:pathLst>
              </a:custGeom>
              <a:grpFill/>
              <a:ln w="5978" cap="flat">
                <a:noFill/>
                <a:prstDash val="solid"/>
                <a:miter/>
              </a:ln>
            </p:spPr>
            <p:txBody>
              <a:bodyPr rtlCol="0" anchor="ctr"/>
              <a:lstStyle/>
              <a:p>
                <a:endParaRPr lang="en-GB"/>
              </a:p>
            </p:txBody>
          </p:sp>
          <p:sp>
            <p:nvSpPr>
              <p:cNvPr id="2984" name="Vrije vorm: vorm 2983">
                <a:extLst>
                  <a:ext uri="{FF2B5EF4-FFF2-40B4-BE49-F238E27FC236}">
                    <a16:creationId xmlns:a16="http://schemas.microsoft.com/office/drawing/2014/main" id="{7D91A230-CC45-4660-8A22-B655F0B6A1B6}"/>
                  </a:ext>
                </a:extLst>
              </p:cNvPr>
              <p:cNvSpPr/>
              <p:nvPr/>
            </p:nvSpPr>
            <p:spPr>
              <a:xfrm>
                <a:off x="5064414" y="2035919"/>
                <a:ext cx="18343" cy="18458"/>
              </a:xfrm>
              <a:custGeom>
                <a:avLst/>
                <a:gdLst>
                  <a:gd name="connsiteX0" fmla="*/ 17007 w 18343"/>
                  <a:gd name="connsiteY0" fmla="*/ 4445 h 18458"/>
                  <a:gd name="connsiteX1" fmla="*/ 13956 w 18343"/>
                  <a:gd name="connsiteY1" fmla="*/ 17124 h 18458"/>
                  <a:gd name="connsiteX2" fmla="*/ 1337 w 18343"/>
                  <a:gd name="connsiteY2" fmla="*/ 14014 h 18458"/>
                  <a:gd name="connsiteX3" fmla="*/ 4387 w 18343"/>
                  <a:gd name="connsiteY3" fmla="*/ 1335 h 18458"/>
                  <a:gd name="connsiteX4" fmla="*/ 17007 w 18343"/>
                  <a:gd name="connsiteY4" fmla="*/ 444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7007" y="4445"/>
                    </a:moveTo>
                    <a:cubicBezTo>
                      <a:pt x="19638" y="8810"/>
                      <a:pt x="18263" y="14492"/>
                      <a:pt x="13956" y="17124"/>
                    </a:cubicBezTo>
                    <a:cubicBezTo>
                      <a:pt x="9650" y="19755"/>
                      <a:pt x="3969" y="18380"/>
                      <a:pt x="1337" y="14014"/>
                    </a:cubicBezTo>
                    <a:cubicBezTo>
                      <a:pt x="-1294" y="9648"/>
                      <a:pt x="81" y="4026"/>
                      <a:pt x="4387" y="1335"/>
                    </a:cubicBezTo>
                    <a:cubicBezTo>
                      <a:pt x="8753" y="-1297"/>
                      <a:pt x="14375" y="79"/>
                      <a:pt x="17007" y="4445"/>
                    </a:cubicBezTo>
                    <a:close/>
                  </a:path>
                </a:pathLst>
              </a:custGeom>
              <a:grpFill/>
              <a:ln w="5978" cap="flat">
                <a:noFill/>
                <a:prstDash val="solid"/>
                <a:miter/>
              </a:ln>
            </p:spPr>
            <p:txBody>
              <a:bodyPr rtlCol="0" anchor="ctr"/>
              <a:lstStyle/>
              <a:p>
                <a:endParaRPr lang="en-GB"/>
              </a:p>
            </p:txBody>
          </p:sp>
          <p:sp>
            <p:nvSpPr>
              <p:cNvPr id="2985" name="Vrije vorm: vorm 2984">
                <a:extLst>
                  <a:ext uri="{FF2B5EF4-FFF2-40B4-BE49-F238E27FC236}">
                    <a16:creationId xmlns:a16="http://schemas.microsoft.com/office/drawing/2014/main" id="{9A07C3A7-B96E-46DF-B1AA-B629D3277962}"/>
                  </a:ext>
                </a:extLst>
              </p:cNvPr>
              <p:cNvSpPr/>
              <p:nvPr/>
            </p:nvSpPr>
            <p:spPr>
              <a:xfrm>
                <a:off x="4797301" y="1594960"/>
                <a:ext cx="18397" cy="18458"/>
              </a:xfrm>
              <a:custGeom>
                <a:avLst/>
                <a:gdLst>
                  <a:gd name="connsiteX0" fmla="*/ 17021 w 18397"/>
                  <a:gd name="connsiteY0" fmla="*/ 4445 h 18458"/>
                  <a:gd name="connsiteX1" fmla="*/ 4401 w 18397"/>
                  <a:gd name="connsiteY1" fmla="*/ 1335 h 18458"/>
                  <a:gd name="connsiteX2" fmla="*/ 1351 w 18397"/>
                  <a:gd name="connsiteY2" fmla="*/ 14014 h 18458"/>
                  <a:gd name="connsiteX3" fmla="*/ 13970 w 18397"/>
                  <a:gd name="connsiteY3" fmla="*/ 17124 h 18458"/>
                  <a:gd name="connsiteX4" fmla="*/ 17021 w 18397"/>
                  <a:gd name="connsiteY4" fmla="*/ 444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7" h="18458">
                    <a:moveTo>
                      <a:pt x="17021" y="4445"/>
                    </a:moveTo>
                    <a:cubicBezTo>
                      <a:pt x="14389" y="79"/>
                      <a:pt x="8767" y="-1297"/>
                      <a:pt x="4401" y="1335"/>
                    </a:cubicBezTo>
                    <a:cubicBezTo>
                      <a:pt x="35" y="3966"/>
                      <a:pt x="-1280" y="9648"/>
                      <a:pt x="1351" y="14014"/>
                    </a:cubicBezTo>
                    <a:cubicBezTo>
                      <a:pt x="3983" y="18380"/>
                      <a:pt x="9605" y="19755"/>
                      <a:pt x="13970" y="17124"/>
                    </a:cubicBezTo>
                    <a:cubicBezTo>
                      <a:pt x="18336" y="14432"/>
                      <a:pt x="19712" y="8810"/>
                      <a:pt x="17021" y="4445"/>
                    </a:cubicBezTo>
                    <a:close/>
                  </a:path>
                </a:pathLst>
              </a:custGeom>
              <a:grpFill/>
              <a:ln w="5978" cap="flat">
                <a:noFill/>
                <a:prstDash val="solid"/>
                <a:miter/>
              </a:ln>
            </p:spPr>
            <p:txBody>
              <a:bodyPr rtlCol="0" anchor="ctr"/>
              <a:lstStyle/>
              <a:p>
                <a:endParaRPr lang="en-GB"/>
              </a:p>
            </p:txBody>
          </p:sp>
        </p:grpSp>
        <p:grpSp>
          <p:nvGrpSpPr>
            <p:cNvPr id="805" name="Graphic 3">
              <a:extLst>
                <a:ext uri="{FF2B5EF4-FFF2-40B4-BE49-F238E27FC236}">
                  <a16:creationId xmlns:a16="http://schemas.microsoft.com/office/drawing/2014/main" id="{EDEF2530-AA25-457C-A7F3-674E38A69FA3}"/>
                </a:ext>
              </a:extLst>
            </p:cNvPr>
            <p:cNvGrpSpPr/>
            <p:nvPr/>
          </p:nvGrpSpPr>
          <p:grpSpPr>
            <a:xfrm>
              <a:off x="4905070" y="1816242"/>
              <a:ext cx="151296" cy="254255"/>
              <a:chOff x="4905070" y="1816242"/>
              <a:chExt cx="151296" cy="254255"/>
            </a:xfrm>
            <a:grpFill/>
          </p:grpSpPr>
          <p:sp>
            <p:nvSpPr>
              <p:cNvPr id="2980" name="Vrije vorm: vorm 2979">
                <a:extLst>
                  <a:ext uri="{FF2B5EF4-FFF2-40B4-BE49-F238E27FC236}">
                    <a16:creationId xmlns:a16="http://schemas.microsoft.com/office/drawing/2014/main" id="{4AA58E14-0B20-42AC-8235-FAA9E7C35D24}"/>
                  </a:ext>
                </a:extLst>
              </p:cNvPr>
              <p:cNvSpPr/>
              <p:nvPr/>
            </p:nvSpPr>
            <p:spPr>
              <a:xfrm>
                <a:off x="4912748" y="1824417"/>
                <a:ext cx="136248" cy="237969"/>
              </a:xfrm>
              <a:custGeom>
                <a:avLst/>
                <a:gdLst>
                  <a:gd name="connsiteX0" fmla="*/ 0 w 136248"/>
                  <a:gd name="connsiteY0" fmla="*/ 1500 h 237969"/>
                  <a:gd name="connsiteX1" fmla="*/ 2656 w 136248"/>
                  <a:gd name="connsiteY1" fmla="*/ 0 h 237969"/>
                  <a:gd name="connsiteX2" fmla="*/ 136248 w 136248"/>
                  <a:gd name="connsiteY2" fmla="*/ 236469 h 237969"/>
                  <a:gd name="connsiteX3" fmla="*/ 133593 w 136248"/>
                  <a:gd name="connsiteY3" fmla="*/ 237969 h 237969"/>
                </a:gdLst>
                <a:ahLst/>
                <a:cxnLst>
                  <a:cxn ang="0">
                    <a:pos x="connsiteX0" y="connsiteY0"/>
                  </a:cxn>
                  <a:cxn ang="0">
                    <a:pos x="connsiteX1" y="connsiteY1"/>
                  </a:cxn>
                  <a:cxn ang="0">
                    <a:pos x="connsiteX2" y="connsiteY2"/>
                  </a:cxn>
                  <a:cxn ang="0">
                    <a:pos x="connsiteX3" y="connsiteY3"/>
                  </a:cxn>
                </a:cxnLst>
                <a:rect l="l" t="t" r="r" b="b"/>
                <a:pathLst>
                  <a:path w="136248" h="237969">
                    <a:moveTo>
                      <a:pt x="0" y="1500"/>
                    </a:moveTo>
                    <a:lnTo>
                      <a:pt x="2656" y="0"/>
                    </a:lnTo>
                    <a:lnTo>
                      <a:pt x="136248" y="236469"/>
                    </a:lnTo>
                    <a:lnTo>
                      <a:pt x="133593" y="237969"/>
                    </a:lnTo>
                    <a:close/>
                  </a:path>
                </a:pathLst>
              </a:custGeom>
              <a:grpFill/>
              <a:ln w="5978" cap="flat">
                <a:noFill/>
                <a:prstDash val="solid"/>
                <a:miter/>
              </a:ln>
            </p:spPr>
            <p:txBody>
              <a:bodyPr rtlCol="0" anchor="ctr"/>
              <a:lstStyle/>
              <a:p>
                <a:endParaRPr lang="en-GB"/>
              </a:p>
            </p:txBody>
          </p:sp>
          <p:sp>
            <p:nvSpPr>
              <p:cNvPr id="2981" name="Vrije vorm: vorm 2980">
                <a:extLst>
                  <a:ext uri="{FF2B5EF4-FFF2-40B4-BE49-F238E27FC236}">
                    <a16:creationId xmlns:a16="http://schemas.microsoft.com/office/drawing/2014/main" id="{8E5F77C8-7F37-4A81-A46D-3028BB6341F8}"/>
                  </a:ext>
                </a:extLst>
              </p:cNvPr>
              <p:cNvSpPr/>
              <p:nvPr/>
            </p:nvSpPr>
            <p:spPr>
              <a:xfrm>
                <a:off x="5037995" y="2052022"/>
                <a:ext cx="18371" cy="18474"/>
              </a:xfrm>
              <a:custGeom>
                <a:avLst/>
                <a:gdLst>
                  <a:gd name="connsiteX0" fmla="*/ 17170 w 18371"/>
                  <a:gd name="connsiteY0" fmla="*/ 4728 h 18474"/>
                  <a:gd name="connsiteX1" fmla="*/ 13701 w 18371"/>
                  <a:gd name="connsiteY1" fmla="*/ 17288 h 18474"/>
                  <a:gd name="connsiteX2" fmla="*/ 1201 w 18371"/>
                  <a:gd name="connsiteY2" fmla="*/ 13759 h 18474"/>
                  <a:gd name="connsiteX3" fmla="*/ 4670 w 18371"/>
                  <a:gd name="connsiteY3" fmla="*/ 1199 h 18474"/>
                  <a:gd name="connsiteX4" fmla="*/ 17170 w 18371"/>
                  <a:gd name="connsiteY4" fmla="*/ 472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74">
                    <a:moveTo>
                      <a:pt x="17170" y="4728"/>
                    </a:moveTo>
                    <a:cubicBezTo>
                      <a:pt x="19682" y="9154"/>
                      <a:pt x="18127" y="14776"/>
                      <a:pt x="13701" y="17288"/>
                    </a:cubicBezTo>
                    <a:cubicBezTo>
                      <a:pt x="9275" y="19799"/>
                      <a:pt x="3713" y="18185"/>
                      <a:pt x="1201" y="13759"/>
                    </a:cubicBezTo>
                    <a:cubicBezTo>
                      <a:pt x="-1310" y="9333"/>
                      <a:pt x="245" y="3711"/>
                      <a:pt x="4670" y="1199"/>
                    </a:cubicBezTo>
                    <a:cubicBezTo>
                      <a:pt x="9036" y="-1312"/>
                      <a:pt x="14658" y="243"/>
                      <a:pt x="17170" y="4728"/>
                    </a:cubicBezTo>
                    <a:close/>
                  </a:path>
                </a:pathLst>
              </a:custGeom>
              <a:grpFill/>
              <a:ln w="5978" cap="flat">
                <a:noFill/>
                <a:prstDash val="solid"/>
                <a:miter/>
              </a:ln>
            </p:spPr>
            <p:txBody>
              <a:bodyPr rtlCol="0" anchor="ctr"/>
              <a:lstStyle/>
              <a:p>
                <a:endParaRPr lang="en-GB"/>
              </a:p>
            </p:txBody>
          </p:sp>
          <p:sp>
            <p:nvSpPr>
              <p:cNvPr id="2982" name="Vrije vorm: vorm 2981">
                <a:extLst>
                  <a:ext uri="{FF2B5EF4-FFF2-40B4-BE49-F238E27FC236}">
                    <a16:creationId xmlns:a16="http://schemas.microsoft.com/office/drawing/2014/main" id="{76EB632B-C884-4449-A0A2-EF44DF6134B0}"/>
                  </a:ext>
                </a:extLst>
              </p:cNvPr>
              <p:cNvSpPr/>
              <p:nvPr/>
            </p:nvSpPr>
            <p:spPr>
              <a:xfrm>
                <a:off x="4905070" y="1816242"/>
                <a:ext cx="18318" cy="18408"/>
              </a:xfrm>
              <a:custGeom>
                <a:avLst/>
                <a:gdLst>
                  <a:gd name="connsiteX0" fmla="*/ 17143 w 18318"/>
                  <a:gd name="connsiteY0" fmla="*/ 4689 h 18408"/>
                  <a:gd name="connsiteX1" fmla="*/ 4644 w 18318"/>
                  <a:gd name="connsiteY1" fmla="*/ 1160 h 18408"/>
                  <a:gd name="connsiteX2" fmla="*/ 1175 w 18318"/>
                  <a:gd name="connsiteY2" fmla="*/ 13720 h 18408"/>
                  <a:gd name="connsiteX3" fmla="*/ 13675 w 18318"/>
                  <a:gd name="connsiteY3" fmla="*/ 17248 h 18408"/>
                  <a:gd name="connsiteX4" fmla="*/ 17143 w 18318"/>
                  <a:gd name="connsiteY4" fmla="*/ 4689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08">
                    <a:moveTo>
                      <a:pt x="17143" y="4689"/>
                    </a:moveTo>
                    <a:cubicBezTo>
                      <a:pt x="14632" y="263"/>
                      <a:pt x="9070" y="-1292"/>
                      <a:pt x="4644" y="1160"/>
                    </a:cubicBezTo>
                    <a:cubicBezTo>
                      <a:pt x="218" y="3672"/>
                      <a:pt x="-1277" y="9294"/>
                      <a:pt x="1175" y="13720"/>
                    </a:cubicBezTo>
                    <a:cubicBezTo>
                      <a:pt x="3687" y="18146"/>
                      <a:pt x="9249" y="19701"/>
                      <a:pt x="13675" y="17248"/>
                    </a:cubicBezTo>
                    <a:cubicBezTo>
                      <a:pt x="18100" y="14736"/>
                      <a:pt x="19595" y="9115"/>
                      <a:pt x="17143" y="4689"/>
                    </a:cubicBezTo>
                    <a:close/>
                  </a:path>
                </a:pathLst>
              </a:custGeom>
              <a:grpFill/>
              <a:ln w="5978" cap="flat">
                <a:noFill/>
                <a:prstDash val="solid"/>
                <a:miter/>
              </a:ln>
            </p:spPr>
            <p:txBody>
              <a:bodyPr rtlCol="0" anchor="ctr"/>
              <a:lstStyle/>
              <a:p>
                <a:endParaRPr lang="en-GB"/>
              </a:p>
            </p:txBody>
          </p:sp>
        </p:grpSp>
        <p:grpSp>
          <p:nvGrpSpPr>
            <p:cNvPr id="806" name="Graphic 3">
              <a:extLst>
                <a:ext uri="{FF2B5EF4-FFF2-40B4-BE49-F238E27FC236}">
                  <a16:creationId xmlns:a16="http://schemas.microsoft.com/office/drawing/2014/main" id="{08DD2B7C-EECC-4196-90EC-95EF203494CD}"/>
                </a:ext>
              </a:extLst>
            </p:cNvPr>
            <p:cNvGrpSpPr/>
            <p:nvPr/>
          </p:nvGrpSpPr>
          <p:grpSpPr>
            <a:xfrm>
              <a:off x="6156858" y="5375741"/>
              <a:ext cx="32926" cy="276629"/>
              <a:chOff x="6156858" y="5375741"/>
              <a:chExt cx="32926" cy="276629"/>
            </a:xfrm>
            <a:grpFill/>
          </p:grpSpPr>
          <p:sp>
            <p:nvSpPr>
              <p:cNvPr id="2977" name="Vrije vorm: vorm 2976">
                <a:extLst>
                  <a:ext uri="{FF2B5EF4-FFF2-40B4-BE49-F238E27FC236}">
                    <a16:creationId xmlns:a16="http://schemas.microsoft.com/office/drawing/2014/main" id="{F5E776CD-42DC-4CE6-92FC-6AE28D12D028}"/>
                  </a:ext>
                </a:extLst>
              </p:cNvPr>
              <p:cNvSpPr/>
              <p:nvPr/>
            </p:nvSpPr>
            <p:spPr>
              <a:xfrm>
                <a:off x="6164529" y="5384424"/>
                <a:ext cx="17642" cy="259264"/>
              </a:xfrm>
              <a:custGeom>
                <a:avLst/>
                <a:gdLst>
                  <a:gd name="connsiteX0" fmla="*/ 2990 w 17642"/>
                  <a:gd name="connsiteY0" fmla="*/ 0 h 259264"/>
                  <a:gd name="connsiteX1" fmla="*/ 17643 w 17642"/>
                  <a:gd name="connsiteY1" fmla="*/ 259085 h 259264"/>
                  <a:gd name="connsiteX2" fmla="*/ 14593 w 17642"/>
                  <a:gd name="connsiteY2" fmla="*/ 259264 h 259264"/>
                  <a:gd name="connsiteX3" fmla="*/ 0 w 17642"/>
                  <a:gd name="connsiteY3" fmla="*/ 179 h 259264"/>
                </a:gdLst>
                <a:ahLst/>
                <a:cxnLst>
                  <a:cxn ang="0">
                    <a:pos x="connsiteX0" y="connsiteY0"/>
                  </a:cxn>
                  <a:cxn ang="0">
                    <a:pos x="connsiteX1" y="connsiteY1"/>
                  </a:cxn>
                  <a:cxn ang="0">
                    <a:pos x="connsiteX2" y="connsiteY2"/>
                  </a:cxn>
                  <a:cxn ang="0">
                    <a:pos x="connsiteX3" y="connsiteY3"/>
                  </a:cxn>
                </a:cxnLst>
                <a:rect l="l" t="t" r="r" b="b"/>
                <a:pathLst>
                  <a:path w="17642" h="259264">
                    <a:moveTo>
                      <a:pt x="2990" y="0"/>
                    </a:moveTo>
                    <a:lnTo>
                      <a:pt x="17643" y="259085"/>
                    </a:lnTo>
                    <a:lnTo>
                      <a:pt x="14593" y="259264"/>
                    </a:lnTo>
                    <a:lnTo>
                      <a:pt x="0" y="179"/>
                    </a:lnTo>
                    <a:close/>
                  </a:path>
                </a:pathLst>
              </a:custGeom>
              <a:grpFill/>
              <a:ln w="5978" cap="flat">
                <a:noFill/>
                <a:prstDash val="solid"/>
                <a:miter/>
              </a:ln>
            </p:spPr>
            <p:txBody>
              <a:bodyPr rtlCol="0" anchor="ctr"/>
              <a:lstStyle/>
              <a:p>
                <a:endParaRPr lang="en-GB"/>
              </a:p>
            </p:txBody>
          </p:sp>
          <p:sp>
            <p:nvSpPr>
              <p:cNvPr id="2978" name="Vrije vorm: vorm 2977">
                <a:extLst>
                  <a:ext uri="{FF2B5EF4-FFF2-40B4-BE49-F238E27FC236}">
                    <a16:creationId xmlns:a16="http://schemas.microsoft.com/office/drawing/2014/main" id="{DE4E21F7-A804-4D5D-AD35-012139A06DC6}"/>
                  </a:ext>
                </a:extLst>
              </p:cNvPr>
              <p:cNvSpPr/>
              <p:nvPr/>
            </p:nvSpPr>
            <p:spPr>
              <a:xfrm>
                <a:off x="6171451" y="5633923"/>
                <a:ext cx="18333" cy="18447"/>
              </a:xfrm>
              <a:custGeom>
                <a:avLst/>
                <a:gdLst>
                  <a:gd name="connsiteX0" fmla="*/ 18317 w 18333"/>
                  <a:gd name="connsiteY0" fmla="*/ 8748 h 18447"/>
                  <a:gd name="connsiteX1" fmla="*/ 9705 w 18333"/>
                  <a:gd name="connsiteY1" fmla="*/ 18437 h 18447"/>
                  <a:gd name="connsiteX2" fmla="*/ 16 w 18333"/>
                  <a:gd name="connsiteY2" fmla="*/ 9705 h 18447"/>
                  <a:gd name="connsiteX3" fmla="*/ 8628 w 18333"/>
                  <a:gd name="connsiteY3" fmla="*/ 16 h 18447"/>
                  <a:gd name="connsiteX4" fmla="*/ 18317 w 18333"/>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8748"/>
                    </a:moveTo>
                    <a:cubicBezTo>
                      <a:pt x="18616" y="13831"/>
                      <a:pt x="14729" y="18138"/>
                      <a:pt x="9705" y="18437"/>
                    </a:cubicBezTo>
                    <a:cubicBezTo>
                      <a:pt x="4681" y="18676"/>
                      <a:pt x="315" y="14788"/>
                      <a:pt x="16" y="9705"/>
                    </a:cubicBezTo>
                    <a:cubicBezTo>
                      <a:pt x="-283" y="4621"/>
                      <a:pt x="3604" y="315"/>
                      <a:pt x="8628" y="16"/>
                    </a:cubicBezTo>
                    <a:cubicBezTo>
                      <a:pt x="13712" y="-283"/>
                      <a:pt x="18018" y="3664"/>
                      <a:pt x="18317" y="8748"/>
                    </a:cubicBezTo>
                    <a:close/>
                  </a:path>
                </a:pathLst>
              </a:custGeom>
              <a:grpFill/>
              <a:ln w="5978" cap="flat">
                <a:noFill/>
                <a:prstDash val="solid"/>
                <a:miter/>
              </a:ln>
            </p:spPr>
            <p:txBody>
              <a:bodyPr rtlCol="0" anchor="ctr"/>
              <a:lstStyle/>
              <a:p>
                <a:endParaRPr lang="en-GB"/>
              </a:p>
            </p:txBody>
          </p:sp>
          <p:sp>
            <p:nvSpPr>
              <p:cNvPr id="2979" name="Vrije vorm: vorm 2978">
                <a:extLst>
                  <a:ext uri="{FF2B5EF4-FFF2-40B4-BE49-F238E27FC236}">
                    <a16:creationId xmlns:a16="http://schemas.microsoft.com/office/drawing/2014/main" id="{BB053CF5-CA37-4F4B-9E65-AA3F365F0052}"/>
                  </a:ext>
                </a:extLst>
              </p:cNvPr>
              <p:cNvSpPr/>
              <p:nvPr/>
            </p:nvSpPr>
            <p:spPr>
              <a:xfrm>
                <a:off x="6156858" y="5375741"/>
                <a:ext cx="18333" cy="18441"/>
              </a:xfrm>
              <a:custGeom>
                <a:avLst/>
                <a:gdLst>
                  <a:gd name="connsiteX0" fmla="*/ 18317 w 18333"/>
                  <a:gd name="connsiteY0" fmla="*/ 8742 h 18441"/>
                  <a:gd name="connsiteX1" fmla="*/ 8628 w 18333"/>
                  <a:gd name="connsiteY1" fmla="*/ 10 h 18441"/>
                  <a:gd name="connsiteX2" fmla="*/ 16 w 18333"/>
                  <a:gd name="connsiteY2" fmla="*/ 9699 h 18441"/>
                  <a:gd name="connsiteX3" fmla="*/ 9705 w 18333"/>
                  <a:gd name="connsiteY3" fmla="*/ 18431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018" y="3659"/>
                      <a:pt x="13712" y="-229"/>
                      <a:pt x="8628" y="10"/>
                    </a:cubicBezTo>
                    <a:cubicBezTo>
                      <a:pt x="3604" y="250"/>
                      <a:pt x="-283" y="4615"/>
                      <a:pt x="16" y="9699"/>
                    </a:cubicBezTo>
                    <a:cubicBezTo>
                      <a:pt x="315" y="14783"/>
                      <a:pt x="4621" y="18670"/>
                      <a:pt x="9705" y="18431"/>
                    </a:cubicBezTo>
                    <a:cubicBezTo>
                      <a:pt x="14788" y="18132"/>
                      <a:pt x="18616" y="13826"/>
                      <a:pt x="18317" y="8742"/>
                    </a:cubicBezTo>
                    <a:close/>
                  </a:path>
                </a:pathLst>
              </a:custGeom>
              <a:grpFill/>
              <a:ln w="5978" cap="flat">
                <a:noFill/>
                <a:prstDash val="solid"/>
                <a:miter/>
              </a:ln>
            </p:spPr>
            <p:txBody>
              <a:bodyPr rtlCol="0" anchor="ctr"/>
              <a:lstStyle/>
              <a:p>
                <a:endParaRPr lang="en-GB"/>
              </a:p>
            </p:txBody>
          </p:sp>
        </p:grpSp>
        <p:grpSp>
          <p:nvGrpSpPr>
            <p:cNvPr id="807" name="Graphic 3">
              <a:extLst>
                <a:ext uri="{FF2B5EF4-FFF2-40B4-BE49-F238E27FC236}">
                  <a16:creationId xmlns:a16="http://schemas.microsoft.com/office/drawing/2014/main" id="{E2A4E2C0-2450-477C-97D6-89FFCDD6A1A7}"/>
                </a:ext>
              </a:extLst>
            </p:cNvPr>
            <p:cNvGrpSpPr/>
            <p:nvPr/>
          </p:nvGrpSpPr>
          <p:grpSpPr>
            <a:xfrm>
              <a:off x="6080976" y="5229104"/>
              <a:ext cx="20877" cy="150835"/>
              <a:chOff x="6080976" y="5229104"/>
              <a:chExt cx="20877" cy="150835"/>
            </a:xfrm>
            <a:grpFill/>
          </p:grpSpPr>
          <p:sp>
            <p:nvSpPr>
              <p:cNvPr id="2974" name="Vrije vorm: vorm 2973">
                <a:extLst>
                  <a:ext uri="{FF2B5EF4-FFF2-40B4-BE49-F238E27FC236}">
                    <a16:creationId xmlns:a16="http://schemas.microsoft.com/office/drawing/2014/main" id="{95DD84A1-2C58-4302-A254-DD5CE4F0AFF5}"/>
                  </a:ext>
                </a:extLst>
              </p:cNvPr>
              <p:cNvSpPr/>
              <p:nvPr/>
            </p:nvSpPr>
            <p:spPr>
              <a:xfrm>
                <a:off x="6088634" y="5237836"/>
                <a:ext cx="5562" cy="133429"/>
              </a:xfrm>
              <a:custGeom>
                <a:avLst/>
                <a:gdLst>
                  <a:gd name="connsiteX0" fmla="*/ 3050 w 5562"/>
                  <a:gd name="connsiteY0" fmla="*/ 0 h 133429"/>
                  <a:gd name="connsiteX1" fmla="*/ 5562 w 5562"/>
                  <a:gd name="connsiteY1" fmla="*/ 133370 h 133429"/>
                  <a:gd name="connsiteX2" fmla="*/ 2512 w 5562"/>
                  <a:gd name="connsiteY2" fmla="*/ 133430 h 133429"/>
                  <a:gd name="connsiteX3" fmla="*/ 0 w 5562"/>
                  <a:gd name="connsiteY3" fmla="*/ 60 h 133429"/>
                </a:gdLst>
                <a:ahLst/>
                <a:cxnLst>
                  <a:cxn ang="0">
                    <a:pos x="connsiteX0" y="connsiteY0"/>
                  </a:cxn>
                  <a:cxn ang="0">
                    <a:pos x="connsiteX1" y="connsiteY1"/>
                  </a:cxn>
                  <a:cxn ang="0">
                    <a:pos x="connsiteX2" y="connsiteY2"/>
                  </a:cxn>
                  <a:cxn ang="0">
                    <a:pos x="connsiteX3" y="connsiteY3"/>
                  </a:cxn>
                </a:cxnLst>
                <a:rect l="l" t="t" r="r" b="b"/>
                <a:pathLst>
                  <a:path w="5562" h="133429">
                    <a:moveTo>
                      <a:pt x="3050" y="0"/>
                    </a:moveTo>
                    <a:lnTo>
                      <a:pt x="5562" y="133370"/>
                    </a:lnTo>
                    <a:lnTo>
                      <a:pt x="2512" y="133430"/>
                    </a:lnTo>
                    <a:lnTo>
                      <a:pt x="0" y="60"/>
                    </a:lnTo>
                    <a:close/>
                  </a:path>
                </a:pathLst>
              </a:custGeom>
              <a:grpFill/>
              <a:ln w="5978" cap="flat">
                <a:noFill/>
                <a:prstDash val="solid"/>
                <a:miter/>
              </a:ln>
            </p:spPr>
            <p:txBody>
              <a:bodyPr rtlCol="0" anchor="ctr"/>
              <a:lstStyle/>
              <a:p>
                <a:endParaRPr lang="en-GB"/>
              </a:p>
            </p:txBody>
          </p:sp>
          <p:sp>
            <p:nvSpPr>
              <p:cNvPr id="2975" name="Vrije vorm: vorm 2974">
                <a:extLst>
                  <a:ext uri="{FF2B5EF4-FFF2-40B4-BE49-F238E27FC236}">
                    <a16:creationId xmlns:a16="http://schemas.microsoft.com/office/drawing/2014/main" id="{7102DB34-FEC1-4DC9-9504-5A043E853819}"/>
                  </a:ext>
                </a:extLst>
              </p:cNvPr>
              <p:cNvSpPr/>
              <p:nvPr/>
            </p:nvSpPr>
            <p:spPr>
              <a:xfrm>
                <a:off x="6083547" y="5361518"/>
                <a:ext cx="18306" cy="18421"/>
              </a:xfrm>
              <a:custGeom>
                <a:avLst/>
                <a:gdLst>
                  <a:gd name="connsiteX0" fmla="*/ 18304 w 18306"/>
                  <a:gd name="connsiteY0" fmla="*/ 9091 h 18421"/>
                  <a:gd name="connsiteX1" fmla="*/ 9332 w 18306"/>
                  <a:gd name="connsiteY1" fmla="*/ 18421 h 18421"/>
                  <a:gd name="connsiteX2" fmla="*/ 3 w 18306"/>
                  <a:gd name="connsiteY2" fmla="*/ 9330 h 18421"/>
                  <a:gd name="connsiteX3" fmla="*/ 8974 w 18306"/>
                  <a:gd name="connsiteY3" fmla="*/ 0 h 18421"/>
                  <a:gd name="connsiteX4" fmla="*/ 18304 w 18306"/>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1">
                    <a:moveTo>
                      <a:pt x="18304" y="9091"/>
                    </a:moveTo>
                    <a:cubicBezTo>
                      <a:pt x="18423" y="14174"/>
                      <a:pt x="14356" y="18361"/>
                      <a:pt x="9332" y="18421"/>
                    </a:cubicBezTo>
                    <a:cubicBezTo>
                      <a:pt x="4249" y="18480"/>
                      <a:pt x="62" y="14413"/>
                      <a:pt x="3" y="9330"/>
                    </a:cubicBezTo>
                    <a:cubicBezTo>
                      <a:pt x="-117" y="4246"/>
                      <a:pt x="3950" y="60"/>
                      <a:pt x="8974" y="0"/>
                    </a:cubicBezTo>
                    <a:cubicBezTo>
                      <a:pt x="13998" y="0"/>
                      <a:pt x="18184" y="4007"/>
                      <a:pt x="18304" y="9091"/>
                    </a:cubicBezTo>
                    <a:close/>
                  </a:path>
                </a:pathLst>
              </a:custGeom>
              <a:grpFill/>
              <a:ln w="5978" cap="flat">
                <a:noFill/>
                <a:prstDash val="solid"/>
                <a:miter/>
              </a:ln>
            </p:spPr>
            <p:txBody>
              <a:bodyPr rtlCol="0" anchor="ctr"/>
              <a:lstStyle/>
              <a:p>
                <a:endParaRPr lang="en-GB"/>
              </a:p>
            </p:txBody>
          </p:sp>
          <p:sp>
            <p:nvSpPr>
              <p:cNvPr id="2976" name="Vrije vorm: vorm 2975">
                <a:extLst>
                  <a:ext uri="{FF2B5EF4-FFF2-40B4-BE49-F238E27FC236}">
                    <a16:creationId xmlns:a16="http://schemas.microsoft.com/office/drawing/2014/main" id="{E2921BF9-45BF-4322-91BE-8D7C8255B651}"/>
                  </a:ext>
                </a:extLst>
              </p:cNvPr>
              <p:cNvSpPr/>
              <p:nvPr/>
            </p:nvSpPr>
            <p:spPr>
              <a:xfrm>
                <a:off x="6080976" y="5229104"/>
                <a:ext cx="18306" cy="18422"/>
              </a:xfrm>
              <a:custGeom>
                <a:avLst/>
                <a:gdLst>
                  <a:gd name="connsiteX0" fmla="*/ 18304 w 18306"/>
                  <a:gd name="connsiteY0" fmla="*/ 9091 h 18422"/>
                  <a:gd name="connsiteX1" fmla="*/ 8974 w 18306"/>
                  <a:gd name="connsiteY1" fmla="*/ 1 h 18422"/>
                  <a:gd name="connsiteX2" fmla="*/ 3 w 18306"/>
                  <a:gd name="connsiteY2" fmla="*/ 9331 h 18422"/>
                  <a:gd name="connsiteX3" fmla="*/ 9333 w 18306"/>
                  <a:gd name="connsiteY3" fmla="*/ 1842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184" y="4008"/>
                      <a:pt x="13998" y="-59"/>
                      <a:pt x="8974" y="1"/>
                    </a:cubicBezTo>
                    <a:cubicBezTo>
                      <a:pt x="3890" y="61"/>
                      <a:pt x="-117" y="4247"/>
                      <a:pt x="3" y="9331"/>
                    </a:cubicBezTo>
                    <a:cubicBezTo>
                      <a:pt x="122" y="14414"/>
                      <a:pt x="4309" y="18481"/>
                      <a:pt x="9333" y="18421"/>
                    </a:cubicBezTo>
                    <a:cubicBezTo>
                      <a:pt x="14356" y="18362"/>
                      <a:pt x="18423" y="14175"/>
                      <a:pt x="18304" y="9091"/>
                    </a:cubicBezTo>
                    <a:close/>
                  </a:path>
                </a:pathLst>
              </a:custGeom>
              <a:grpFill/>
              <a:ln w="5978" cap="flat">
                <a:noFill/>
                <a:prstDash val="solid"/>
                <a:miter/>
              </a:ln>
            </p:spPr>
            <p:txBody>
              <a:bodyPr rtlCol="0" anchor="ctr"/>
              <a:lstStyle/>
              <a:p>
                <a:endParaRPr lang="en-GB"/>
              </a:p>
            </p:txBody>
          </p:sp>
        </p:grpSp>
        <p:grpSp>
          <p:nvGrpSpPr>
            <p:cNvPr id="808" name="Graphic 3">
              <a:extLst>
                <a:ext uri="{FF2B5EF4-FFF2-40B4-BE49-F238E27FC236}">
                  <a16:creationId xmlns:a16="http://schemas.microsoft.com/office/drawing/2014/main" id="{ECE6A731-1C63-40AA-BAD8-E882874DE536}"/>
                </a:ext>
              </a:extLst>
            </p:cNvPr>
            <p:cNvGrpSpPr/>
            <p:nvPr/>
          </p:nvGrpSpPr>
          <p:grpSpPr>
            <a:xfrm>
              <a:off x="4912515" y="1824932"/>
              <a:ext cx="42635" cy="52360"/>
              <a:chOff x="4912515" y="1824932"/>
              <a:chExt cx="42635" cy="52360"/>
            </a:xfrm>
            <a:grpFill/>
          </p:grpSpPr>
          <p:sp>
            <p:nvSpPr>
              <p:cNvPr id="2971" name="Vrije vorm: vorm 2970">
                <a:extLst>
                  <a:ext uri="{FF2B5EF4-FFF2-40B4-BE49-F238E27FC236}">
                    <a16:creationId xmlns:a16="http://schemas.microsoft.com/office/drawing/2014/main" id="{60AD450E-5A1A-4981-B366-1F1DEB26C8D0}"/>
                  </a:ext>
                </a:extLst>
              </p:cNvPr>
              <p:cNvSpPr/>
              <p:nvPr/>
            </p:nvSpPr>
            <p:spPr>
              <a:xfrm>
                <a:off x="4920180" y="1832952"/>
                <a:ext cx="27272" cy="36362"/>
              </a:xfrm>
              <a:custGeom>
                <a:avLst/>
                <a:gdLst>
                  <a:gd name="connsiteX0" fmla="*/ 27272 w 27272"/>
                  <a:gd name="connsiteY0" fmla="*/ 34569 h 36362"/>
                  <a:gd name="connsiteX1" fmla="*/ 24820 w 27272"/>
                  <a:gd name="connsiteY1" fmla="*/ 36363 h 36362"/>
                  <a:gd name="connsiteX2" fmla="*/ 0 w 27272"/>
                  <a:gd name="connsiteY2" fmla="*/ 1734 h 36362"/>
                  <a:gd name="connsiteX3" fmla="*/ 2512 w 27272"/>
                  <a:gd name="connsiteY3" fmla="*/ 0 h 36362"/>
                </a:gdLst>
                <a:ahLst/>
                <a:cxnLst>
                  <a:cxn ang="0">
                    <a:pos x="connsiteX0" y="connsiteY0"/>
                  </a:cxn>
                  <a:cxn ang="0">
                    <a:pos x="connsiteX1" y="connsiteY1"/>
                  </a:cxn>
                  <a:cxn ang="0">
                    <a:pos x="connsiteX2" y="connsiteY2"/>
                  </a:cxn>
                  <a:cxn ang="0">
                    <a:pos x="connsiteX3" y="connsiteY3"/>
                  </a:cxn>
                </a:cxnLst>
                <a:rect l="l" t="t" r="r" b="b"/>
                <a:pathLst>
                  <a:path w="27272" h="36362">
                    <a:moveTo>
                      <a:pt x="27272" y="34569"/>
                    </a:moveTo>
                    <a:lnTo>
                      <a:pt x="24820" y="36363"/>
                    </a:lnTo>
                    <a:lnTo>
                      <a:pt x="0" y="1734"/>
                    </a:lnTo>
                    <a:lnTo>
                      <a:pt x="2512" y="0"/>
                    </a:lnTo>
                    <a:close/>
                  </a:path>
                </a:pathLst>
              </a:custGeom>
              <a:grpFill/>
              <a:ln w="5978" cap="flat">
                <a:noFill/>
                <a:prstDash val="solid"/>
                <a:miter/>
              </a:ln>
            </p:spPr>
            <p:txBody>
              <a:bodyPr rtlCol="0" anchor="ctr"/>
              <a:lstStyle/>
              <a:p>
                <a:endParaRPr lang="en-GB"/>
              </a:p>
            </p:txBody>
          </p:sp>
          <p:sp>
            <p:nvSpPr>
              <p:cNvPr id="2972" name="Vrije vorm: vorm 2971">
                <a:extLst>
                  <a:ext uri="{FF2B5EF4-FFF2-40B4-BE49-F238E27FC236}">
                    <a16:creationId xmlns:a16="http://schemas.microsoft.com/office/drawing/2014/main" id="{7F405CA1-3E28-4AF2-ACE5-2E1574F2F2B0}"/>
                  </a:ext>
                </a:extLst>
              </p:cNvPr>
              <p:cNvSpPr/>
              <p:nvPr/>
            </p:nvSpPr>
            <p:spPr>
              <a:xfrm>
                <a:off x="4912515" y="1824932"/>
                <a:ext cx="18379" cy="18492"/>
              </a:xfrm>
              <a:custGeom>
                <a:avLst/>
                <a:gdLst>
                  <a:gd name="connsiteX0" fmla="*/ 1744 w 18379"/>
                  <a:gd name="connsiteY0" fmla="*/ 14599 h 18492"/>
                  <a:gd name="connsiteX1" fmla="*/ 3837 w 18379"/>
                  <a:gd name="connsiteY1" fmla="*/ 1740 h 18492"/>
                  <a:gd name="connsiteX2" fmla="*/ 16636 w 18379"/>
                  <a:gd name="connsiteY2" fmla="*/ 3893 h 18492"/>
                  <a:gd name="connsiteX3" fmla="*/ 14543 w 18379"/>
                  <a:gd name="connsiteY3" fmla="*/ 16752 h 18492"/>
                  <a:gd name="connsiteX4" fmla="*/ 1744 w 18379"/>
                  <a:gd name="connsiteY4" fmla="*/ 14599 h 18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92">
                    <a:moveTo>
                      <a:pt x="1744" y="14599"/>
                    </a:moveTo>
                    <a:cubicBezTo>
                      <a:pt x="-1247" y="10472"/>
                      <a:pt x="-289" y="4731"/>
                      <a:pt x="3837" y="1740"/>
                    </a:cubicBezTo>
                    <a:cubicBezTo>
                      <a:pt x="7964" y="-1250"/>
                      <a:pt x="13645" y="-293"/>
                      <a:pt x="16636" y="3893"/>
                    </a:cubicBezTo>
                    <a:cubicBezTo>
                      <a:pt x="19626" y="8020"/>
                      <a:pt x="18669" y="13761"/>
                      <a:pt x="14543" y="16752"/>
                    </a:cubicBezTo>
                    <a:cubicBezTo>
                      <a:pt x="10416" y="19742"/>
                      <a:pt x="4734" y="18785"/>
                      <a:pt x="1744" y="14599"/>
                    </a:cubicBezTo>
                    <a:close/>
                  </a:path>
                </a:pathLst>
              </a:custGeom>
              <a:grpFill/>
              <a:ln w="5978" cap="flat">
                <a:noFill/>
                <a:prstDash val="solid"/>
                <a:miter/>
              </a:ln>
            </p:spPr>
            <p:txBody>
              <a:bodyPr rtlCol="0" anchor="ctr"/>
              <a:lstStyle/>
              <a:p>
                <a:endParaRPr lang="en-GB"/>
              </a:p>
            </p:txBody>
          </p:sp>
          <p:sp>
            <p:nvSpPr>
              <p:cNvPr id="2973" name="Vrije vorm: vorm 2972">
                <a:extLst>
                  <a:ext uri="{FF2B5EF4-FFF2-40B4-BE49-F238E27FC236}">
                    <a16:creationId xmlns:a16="http://schemas.microsoft.com/office/drawing/2014/main" id="{3C2B40BE-CC75-4131-B0B5-7487F3A4C562}"/>
                  </a:ext>
                </a:extLst>
              </p:cNvPr>
              <p:cNvSpPr/>
              <p:nvPr/>
            </p:nvSpPr>
            <p:spPr>
              <a:xfrm>
                <a:off x="4936797" y="1858885"/>
                <a:ext cx="18353" cy="18406"/>
              </a:xfrm>
              <a:custGeom>
                <a:avLst/>
                <a:gdLst>
                  <a:gd name="connsiteX0" fmla="*/ 1744 w 18353"/>
                  <a:gd name="connsiteY0" fmla="*/ 14556 h 18406"/>
                  <a:gd name="connsiteX1" fmla="*/ 14543 w 18353"/>
                  <a:gd name="connsiteY1" fmla="*/ 16709 h 18406"/>
                  <a:gd name="connsiteX2" fmla="*/ 16636 w 18353"/>
                  <a:gd name="connsiteY2" fmla="*/ 3851 h 18406"/>
                  <a:gd name="connsiteX3" fmla="*/ 3837 w 18353"/>
                  <a:gd name="connsiteY3" fmla="*/ 1697 h 18406"/>
                  <a:gd name="connsiteX4" fmla="*/ 1744 w 18353"/>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6">
                    <a:moveTo>
                      <a:pt x="1744" y="14556"/>
                    </a:moveTo>
                    <a:cubicBezTo>
                      <a:pt x="4734" y="18683"/>
                      <a:pt x="10416" y="19640"/>
                      <a:pt x="14543" y="16709"/>
                    </a:cubicBezTo>
                    <a:cubicBezTo>
                      <a:pt x="18669" y="13719"/>
                      <a:pt x="19567" y="7977"/>
                      <a:pt x="16636" y="3851"/>
                    </a:cubicBezTo>
                    <a:cubicBezTo>
                      <a:pt x="13646" y="-276"/>
                      <a:pt x="7964" y="-1233"/>
                      <a:pt x="3837" y="1697"/>
                    </a:cubicBezTo>
                    <a:cubicBezTo>
                      <a:pt x="-289" y="4628"/>
                      <a:pt x="-1247" y="10429"/>
                      <a:pt x="1744" y="14556"/>
                    </a:cubicBezTo>
                    <a:close/>
                  </a:path>
                </a:pathLst>
              </a:custGeom>
              <a:grpFill/>
              <a:ln w="5978" cap="flat">
                <a:noFill/>
                <a:prstDash val="solid"/>
                <a:miter/>
              </a:ln>
            </p:spPr>
            <p:txBody>
              <a:bodyPr rtlCol="0" anchor="ctr"/>
              <a:lstStyle/>
              <a:p>
                <a:endParaRPr lang="en-GB"/>
              </a:p>
            </p:txBody>
          </p:sp>
        </p:grpSp>
        <p:grpSp>
          <p:nvGrpSpPr>
            <p:cNvPr id="809" name="Graphic 3">
              <a:extLst>
                <a:ext uri="{FF2B5EF4-FFF2-40B4-BE49-F238E27FC236}">
                  <a16:creationId xmlns:a16="http://schemas.microsoft.com/office/drawing/2014/main" id="{30A20CF7-E1AC-4B7A-85EC-246F33C50175}"/>
                </a:ext>
              </a:extLst>
            </p:cNvPr>
            <p:cNvGrpSpPr/>
            <p:nvPr/>
          </p:nvGrpSpPr>
          <p:grpSpPr>
            <a:xfrm>
              <a:off x="6047128" y="5095973"/>
              <a:ext cx="18360" cy="144494"/>
              <a:chOff x="6047128" y="5095973"/>
              <a:chExt cx="18360" cy="144494"/>
            </a:xfrm>
            <a:grpFill/>
          </p:grpSpPr>
          <p:sp>
            <p:nvSpPr>
              <p:cNvPr id="2968" name="Vrije vorm: vorm 2967">
                <a:extLst>
                  <a:ext uri="{FF2B5EF4-FFF2-40B4-BE49-F238E27FC236}">
                    <a16:creationId xmlns:a16="http://schemas.microsoft.com/office/drawing/2014/main" id="{185BACC2-FAC1-4E0E-8CD6-1CEFEC6B20FF}"/>
                  </a:ext>
                </a:extLst>
              </p:cNvPr>
              <p:cNvSpPr/>
              <p:nvPr/>
            </p:nvSpPr>
            <p:spPr>
              <a:xfrm>
                <a:off x="6054723" y="5104765"/>
                <a:ext cx="3169" cy="126910"/>
              </a:xfrm>
              <a:custGeom>
                <a:avLst/>
                <a:gdLst>
                  <a:gd name="connsiteX0" fmla="*/ 3050 w 3169"/>
                  <a:gd name="connsiteY0" fmla="*/ 0 h 126910"/>
                  <a:gd name="connsiteX1" fmla="*/ 3170 w 3169"/>
                  <a:gd name="connsiteY1" fmla="*/ 126911 h 126910"/>
                  <a:gd name="connsiteX2" fmla="*/ 120 w 3169"/>
                  <a:gd name="connsiteY2" fmla="*/ 126911 h 126910"/>
                  <a:gd name="connsiteX3" fmla="*/ 0 w 3169"/>
                  <a:gd name="connsiteY3" fmla="*/ 0 h 126910"/>
                </a:gdLst>
                <a:ahLst/>
                <a:cxnLst>
                  <a:cxn ang="0">
                    <a:pos x="connsiteX0" y="connsiteY0"/>
                  </a:cxn>
                  <a:cxn ang="0">
                    <a:pos x="connsiteX1" y="connsiteY1"/>
                  </a:cxn>
                  <a:cxn ang="0">
                    <a:pos x="connsiteX2" y="connsiteY2"/>
                  </a:cxn>
                  <a:cxn ang="0">
                    <a:pos x="connsiteX3" y="connsiteY3"/>
                  </a:cxn>
                </a:cxnLst>
                <a:rect l="l" t="t" r="r" b="b"/>
                <a:pathLst>
                  <a:path w="3169" h="126910">
                    <a:moveTo>
                      <a:pt x="3050" y="0"/>
                    </a:moveTo>
                    <a:lnTo>
                      <a:pt x="3170" y="126911"/>
                    </a:lnTo>
                    <a:lnTo>
                      <a:pt x="120" y="126911"/>
                    </a:lnTo>
                    <a:lnTo>
                      <a:pt x="0" y="0"/>
                    </a:lnTo>
                    <a:close/>
                  </a:path>
                </a:pathLst>
              </a:custGeom>
              <a:grpFill/>
              <a:ln w="5978" cap="flat">
                <a:noFill/>
                <a:prstDash val="solid"/>
                <a:miter/>
              </a:ln>
            </p:spPr>
            <p:txBody>
              <a:bodyPr rtlCol="0" anchor="ctr"/>
              <a:lstStyle/>
              <a:p>
                <a:endParaRPr lang="en-GB"/>
              </a:p>
            </p:txBody>
          </p:sp>
          <p:sp>
            <p:nvSpPr>
              <p:cNvPr id="2969" name="Vrije vorm: vorm 2968">
                <a:extLst>
                  <a:ext uri="{FF2B5EF4-FFF2-40B4-BE49-F238E27FC236}">
                    <a16:creationId xmlns:a16="http://schemas.microsoft.com/office/drawing/2014/main" id="{0FF1D7CA-5D13-4C4E-A65F-D6B970F4FD3F}"/>
                  </a:ext>
                </a:extLst>
              </p:cNvPr>
              <p:cNvSpPr/>
              <p:nvPr/>
            </p:nvSpPr>
            <p:spPr>
              <a:xfrm>
                <a:off x="6047187" y="5221987"/>
                <a:ext cx="18300" cy="18480"/>
              </a:xfrm>
              <a:custGeom>
                <a:avLst/>
                <a:gdLst>
                  <a:gd name="connsiteX0" fmla="*/ 18301 w 18300"/>
                  <a:gd name="connsiteY0" fmla="*/ 9270 h 18480"/>
                  <a:gd name="connsiteX1" fmla="*/ 9151 w 18300"/>
                  <a:gd name="connsiteY1" fmla="*/ 18481 h 18480"/>
                  <a:gd name="connsiteX2" fmla="*/ 0 w 18300"/>
                  <a:gd name="connsiteY2" fmla="*/ 9211 h 18480"/>
                  <a:gd name="connsiteX3" fmla="*/ 9151 w 18300"/>
                  <a:gd name="connsiteY3" fmla="*/ 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14354"/>
                      <a:pt x="14175" y="18481"/>
                      <a:pt x="9151" y="18481"/>
                    </a:cubicBezTo>
                    <a:cubicBezTo>
                      <a:pt x="4067" y="18481"/>
                      <a:pt x="0" y="14354"/>
                      <a:pt x="0" y="9211"/>
                    </a:cubicBezTo>
                    <a:cubicBezTo>
                      <a:pt x="0" y="4127"/>
                      <a:pt x="4127" y="0"/>
                      <a:pt x="9151" y="0"/>
                    </a:cubicBezTo>
                    <a:cubicBezTo>
                      <a:pt x="14234" y="60"/>
                      <a:pt x="18301" y="4187"/>
                      <a:pt x="18301" y="9270"/>
                    </a:cubicBezTo>
                    <a:close/>
                  </a:path>
                </a:pathLst>
              </a:custGeom>
              <a:grpFill/>
              <a:ln w="5978" cap="flat">
                <a:noFill/>
                <a:prstDash val="solid"/>
                <a:miter/>
              </a:ln>
            </p:spPr>
            <p:txBody>
              <a:bodyPr rtlCol="0" anchor="ctr"/>
              <a:lstStyle/>
              <a:p>
                <a:endParaRPr lang="en-GB"/>
              </a:p>
            </p:txBody>
          </p:sp>
          <p:sp>
            <p:nvSpPr>
              <p:cNvPr id="2970" name="Vrije vorm: vorm 2969">
                <a:extLst>
                  <a:ext uri="{FF2B5EF4-FFF2-40B4-BE49-F238E27FC236}">
                    <a16:creationId xmlns:a16="http://schemas.microsoft.com/office/drawing/2014/main" id="{1B90ECC7-34A0-4B6E-99FF-AC9922D83304}"/>
                  </a:ext>
                </a:extLst>
              </p:cNvPr>
              <p:cNvSpPr/>
              <p:nvPr/>
            </p:nvSpPr>
            <p:spPr>
              <a:xfrm>
                <a:off x="6047128" y="5095973"/>
                <a:ext cx="18300" cy="18480"/>
              </a:xfrm>
              <a:custGeom>
                <a:avLst/>
                <a:gdLst>
                  <a:gd name="connsiteX0" fmla="*/ 18301 w 18300"/>
                  <a:gd name="connsiteY0" fmla="*/ 9270 h 18480"/>
                  <a:gd name="connsiteX1" fmla="*/ 9150 w 18300"/>
                  <a:gd name="connsiteY1" fmla="*/ 0 h 18480"/>
                  <a:gd name="connsiteX2" fmla="*/ 0 w 18300"/>
                  <a:gd name="connsiteY2" fmla="*/ 9211 h 18480"/>
                  <a:gd name="connsiteX3" fmla="*/ 9150 w 18300"/>
                  <a:gd name="connsiteY3" fmla="*/ 18481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4187"/>
                      <a:pt x="14174" y="60"/>
                      <a:pt x="9150" y="0"/>
                    </a:cubicBezTo>
                    <a:cubicBezTo>
                      <a:pt x="4067" y="0"/>
                      <a:pt x="0" y="4067"/>
                      <a:pt x="0" y="9211"/>
                    </a:cubicBezTo>
                    <a:cubicBezTo>
                      <a:pt x="0" y="14294"/>
                      <a:pt x="4127" y="18421"/>
                      <a:pt x="9150" y="18481"/>
                    </a:cubicBezTo>
                    <a:cubicBezTo>
                      <a:pt x="14234" y="18481"/>
                      <a:pt x="18301" y="14354"/>
                      <a:pt x="18301" y="9270"/>
                    </a:cubicBezTo>
                    <a:close/>
                  </a:path>
                </a:pathLst>
              </a:custGeom>
              <a:grpFill/>
              <a:ln w="5978" cap="flat">
                <a:noFill/>
                <a:prstDash val="solid"/>
                <a:miter/>
              </a:ln>
            </p:spPr>
            <p:txBody>
              <a:bodyPr rtlCol="0" anchor="ctr"/>
              <a:lstStyle/>
              <a:p>
                <a:endParaRPr lang="en-GB"/>
              </a:p>
            </p:txBody>
          </p:sp>
        </p:grpSp>
        <p:grpSp>
          <p:nvGrpSpPr>
            <p:cNvPr id="810" name="Graphic 3">
              <a:extLst>
                <a:ext uri="{FF2B5EF4-FFF2-40B4-BE49-F238E27FC236}">
                  <a16:creationId xmlns:a16="http://schemas.microsoft.com/office/drawing/2014/main" id="{26B55340-18F2-48A2-9781-0F7F8F664ED1}"/>
                </a:ext>
              </a:extLst>
            </p:cNvPr>
            <p:cNvGrpSpPr/>
            <p:nvPr/>
          </p:nvGrpSpPr>
          <p:grpSpPr>
            <a:xfrm>
              <a:off x="4797801" y="1594686"/>
              <a:ext cx="184531" cy="259790"/>
              <a:chOff x="4797801" y="1594686"/>
              <a:chExt cx="184531" cy="259790"/>
            </a:xfrm>
            <a:grpFill/>
          </p:grpSpPr>
          <p:sp>
            <p:nvSpPr>
              <p:cNvPr id="2965" name="Vrije vorm: vorm 2964">
                <a:extLst>
                  <a:ext uri="{FF2B5EF4-FFF2-40B4-BE49-F238E27FC236}">
                    <a16:creationId xmlns:a16="http://schemas.microsoft.com/office/drawing/2014/main" id="{6A07E8A5-6206-46BB-BFA5-E01F1FB687DD}"/>
                  </a:ext>
                </a:extLst>
              </p:cNvPr>
              <p:cNvSpPr/>
              <p:nvPr/>
            </p:nvSpPr>
            <p:spPr>
              <a:xfrm>
                <a:off x="4805470" y="1602634"/>
                <a:ext cx="169194" cy="243893"/>
              </a:xfrm>
              <a:custGeom>
                <a:avLst/>
                <a:gdLst>
                  <a:gd name="connsiteX0" fmla="*/ 169195 w 169194"/>
                  <a:gd name="connsiteY0" fmla="*/ 242159 h 243893"/>
                  <a:gd name="connsiteX1" fmla="*/ 166683 w 169194"/>
                  <a:gd name="connsiteY1" fmla="*/ 243894 h 243893"/>
                  <a:gd name="connsiteX2" fmla="*/ 0 w 169194"/>
                  <a:gd name="connsiteY2" fmla="*/ 1734 h 243893"/>
                  <a:gd name="connsiteX3" fmla="*/ 2512 w 169194"/>
                  <a:gd name="connsiteY3" fmla="*/ 0 h 243893"/>
                </a:gdLst>
                <a:ahLst/>
                <a:cxnLst>
                  <a:cxn ang="0">
                    <a:pos x="connsiteX0" y="connsiteY0"/>
                  </a:cxn>
                  <a:cxn ang="0">
                    <a:pos x="connsiteX1" y="connsiteY1"/>
                  </a:cxn>
                  <a:cxn ang="0">
                    <a:pos x="connsiteX2" y="connsiteY2"/>
                  </a:cxn>
                  <a:cxn ang="0">
                    <a:pos x="connsiteX3" y="connsiteY3"/>
                  </a:cxn>
                </a:cxnLst>
                <a:rect l="l" t="t" r="r" b="b"/>
                <a:pathLst>
                  <a:path w="169194" h="243893">
                    <a:moveTo>
                      <a:pt x="169195" y="242159"/>
                    </a:moveTo>
                    <a:lnTo>
                      <a:pt x="166683" y="243894"/>
                    </a:lnTo>
                    <a:lnTo>
                      <a:pt x="0" y="1734"/>
                    </a:lnTo>
                    <a:lnTo>
                      <a:pt x="2512" y="0"/>
                    </a:lnTo>
                    <a:close/>
                  </a:path>
                </a:pathLst>
              </a:custGeom>
              <a:grpFill/>
              <a:ln w="5978" cap="flat">
                <a:noFill/>
                <a:prstDash val="solid"/>
                <a:miter/>
              </a:ln>
            </p:spPr>
            <p:txBody>
              <a:bodyPr rtlCol="0" anchor="ctr"/>
              <a:lstStyle/>
              <a:p>
                <a:endParaRPr lang="en-GB"/>
              </a:p>
            </p:txBody>
          </p:sp>
          <p:sp>
            <p:nvSpPr>
              <p:cNvPr id="2966" name="Vrije vorm: vorm 2965">
                <a:extLst>
                  <a:ext uri="{FF2B5EF4-FFF2-40B4-BE49-F238E27FC236}">
                    <a16:creationId xmlns:a16="http://schemas.microsoft.com/office/drawing/2014/main" id="{22929D40-3CA0-457A-96A2-3F5D2672086E}"/>
                  </a:ext>
                </a:extLst>
              </p:cNvPr>
              <p:cNvSpPr/>
              <p:nvPr/>
            </p:nvSpPr>
            <p:spPr>
              <a:xfrm>
                <a:off x="4797801" y="1594686"/>
                <a:ext cx="18327" cy="18408"/>
              </a:xfrm>
              <a:custGeom>
                <a:avLst/>
                <a:gdLst>
                  <a:gd name="connsiteX0" fmla="*/ 1628 w 18327"/>
                  <a:gd name="connsiteY0" fmla="*/ 14407 h 18408"/>
                  <a:gd name="connsiteX1" fmla="*/ 3960 w 18327"/>
                  <a:gd name="connsiteY1" fmla="*/ 1609 h 18408"/>
                  <a:gd name="connsiteX2" fmla="*/ 16699 w 18327"/>
                  <a:gd name="connsiteY2" fmla="*/ 4001 h 18408"/>
                  <a:gd name="connsiteX3" fmla="*/ 14367 w 18327"/>
                  <a:gd name="connsiteY3" fmla="*/ 16800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1243" y="10221"/>
                      <a:pt x="-226" y="4479"/>
                      <a:pt x="3960" y="1609"/>
                    </a:cubicBezTo>
                    <a:cubicBezTo>
                      <a:pt x="8147" y="-1262"/>
                      <a:pt x="13829" y="-186"/>
                      <a:pt x="16699" y="4001"/>
                    </a:cubicBezTo>
                    <a:cubicBezTo>
                      <a:pt x="19570" y="8187"/>
                      <a:pt x="18553" y="13929"/>
                      <a:pt x="14367" y="16800"/>
                    </a:cubicBezTo>
                    <a:cubicBezTo>
                      <a:pt x="10240" y="19670"/>
                      <a:pt x="4559" y="18594"/>
                      <a:pt x="1628" y="14407"/>
                    </a:cubicBezTo>
                    <a:close/>
                  </a:path>
                </a:pathLst>
              </a:custGeom>
              <a:grpFill/>
              <a:ln w="5978" cap="flat">
                <a:noFill/>
                <a:prstDash val="solid"/>
                <a:miter/>
              </a:ln>
            </p:spPr>
            <p:txBody>
              <a:bodyPr rtlCol="0" anchor="ctr"/>
              <a:lstStyle/>
              <a:p>
                <a:endParaRPr lang="en-GB"/>
              </a:p>
            </p:txBody>
          </p:sp>
          <p:sp>
            <p:nvSpPr>
              <p:cNvPr id="2967" name="Vrije vorm: vorm 2966">
                <a:extLst>
                  <a:ext uri="{FF2B5EF4-FFF2-40B4-BE49-F238E27FC236}">
                    <a16:creationId xmlns:a16="http://schemas.microsoft.com/office/drawing/2014/main" id="{27288BD4-1D95-4B4C-AF16-F7D0664F652B}"/>
                  </a:ext>
                </a:extLst>
              </p:cNvPr>
              <p:cNvSpPr/>
              <p:nvPr/>
            </p:nvSpPr>
            <p:spPr>
              <a:xfrm>
                <a:off x="4964005" y="1836068"/>
                <a:ext cx="18327" cy="18408"/>
              </a:xfrm>
              <a:custGeom>
                <a:avLst/>
                <a:gdLst>
                  <a:gd name="connsiteX0" fmla="*/ 1628 w 18327"/>
                  <a:gd name="connsiteY0" fmla="*/ 14407 h 18408"/>
                  <a:gd name="connsiteX1" fmla="*/ 14367 w 18327"/>
                  <a:gd name="connsiteY1" fmla="*/ 16800 h 18408"/>
                  <a:gd name="connsiteX2" fmla="*/ 16700 w 18327"/>
                  <a:gd name="connsiteY2" fmla="*/ 4001 h 18408"/>
                  <a:gd name="connsiteX3" fmla="*/ 3961 w 18327"/>
                  <a:gd name="connsiteY3" fmla="*/ 1609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4499" y="18594"/>
                      <a:pt x="10240" y="19670"/>
                      <a:pt x="14367" y="16800"/>
                    </a:cubicBezTo>
                    <a:cubicBezTo>
                      <a:pt x="18554" y="13929"/>
                      <a:pt x="19570" y="8187"/>
                      <a:pt x="16700" y="4001"/>
                    </a:cubicBezTo>
                    <a:cubicBezTo>
                      <a:pt x="13829" y="-186"/>
                      <a:pt x="8087" y="-1262"/>
                      <a:pt x="3961" y="1609"/>
                    </a:cubicBezTo>
                    <a:cubicBezTo>
                      <a:pt x="-226" y="4539"/>
                      <a:pt x="-1243" y="10221"/>
                      <a:pt x="1628" y="14407"/>
                    </a:cubicBezTo>
                    <a:close/>
                  </a:path>
                </a:pathLst>
              </a:custGeom>
              <a:grpFill/>
              <a:ln w="5978" cap="flat">
                <a:noFill/>
                <a:prstDash val="solid"/>
                <a:miter/>
              </a:ln>
            </p:spPr>
            <p:txBody>
              <a:bodyPr rtlCol="0" anchor="ctr"/>
              <a:lstStyle/>
              <a:p>
                <a:endParaRPr lang="en-GB"/>
              </a:p>
            </p:txBody>
          </p:sp>
        </p:grpSp>
        <p:grpSp>
          <p:nvGrpSpPr>
            <p:cNvPr id="811" name="Graphic 3">
              <a:extLst>
                <a:ext uri="{FF2B5EF4-FFF2-40B4-BE49-F238E27FC236}">
                  <a16:creationId xmlns:a16="http://schemas.microsoft.com/office/drawing/2014/main" id="{689DCDD8-CC1E-4320-86BC-A301775B2EB6}"/>
                </a:ext>
              </a:extLst>
            </p:cNvPr>
            <p:cNvGrpSpPr/>
            <p:nvPr/>
          </p:nvGrpSpPr>
          <p:grpSpPr>
            <a:xfrm>
              <a:off x="4789933" y="1508829"/>
              <a:ext cx="64806" cy="88663"/>
              <a:chOff x="4789933" y="1508829"/>
              <a:chExt cx="64806" cy="88663"/>
            </a:xfrm>
            <a:grpFill/>
          </p:grpSpPr>
          <p:sp>
            <p:nvSpPr>
              <p:cNvPr id="2962" name="Vrije vorm: vorm 2961">
                <a:extLst>
                  <a:ext uri="{FF2B5EF4-FFF2-40B4-BE49-F238E27FC236}">
                    <a16:creationId xmlns:a16="http://schemas.microsoft.com/office/drawing/2014/main" id="{CDE00C4D-FB2A-4096-9AA0-27D3B4602CD3}"/>
                  </a:ext>
                </a:extLst>
              </p:cNvPr>
              <p:cNvSpPr/>
              <p:nvPr/>
            </p:nvSpPr>
            <p:spPr>
              <a:xfrm>
                <a:off x="4797575" y="1516751"/>
                <a:ext cx="49520" cy="72725"/>
              </a:xfrm>
              <a:custGeom>
                <a:avLst/>
                <a:gdLst>
                  <a:gd name="connsiteX0" fmla="*/ 49521 w 49520"/>
                  <a:gd name="connsiteY0" fmla="*/ 71051 h 72725"/>
                  <a:gd name="connsiteX1" fmla="*/ 46949 w 49520"/>
                  <a:gd name="connsiteY1" fmla="*/ 72726 h 72725"/>
                  <a:gd name="connsiteX2" fmla="*/ 0 w 49520"/>
                  <a:gd name="connsiteY2" fmla="*/ 1675 h 72725"/>
                  <a:gd name="connsiteX3" fmla="*/ 2512 w 49520"/>
                  <a:gd name="connsiteY3" fmla="*/ 0 h 72725"/>
                </a:gdLst>
                <a:ahLst/>
                <a:cxnLst>
                  <a:cxn ang="0">
                    <a:pos x="connsiteX0" y="connsiteY0"/>
                  </a:cxn>
                  <a:cxn ang="0">
                    <a:pos x="connsiteX1" y="connsiteY1"/>
                  </a:cxn>
                  <a:cxn ang="0">
                    <a:pos x="connsiteX2" y="connsiteY2"/>
                  </a:cxn>
                  <a:cxn ang="0">
                    <a:pos x="connsiteX3" y="connsiteY3"/>
                  </a:cxn>
                </a:cxnLst>
                <a:rect l="l" t="t" r="r" b="b"/>
                <a:pathLst>
                  <a:path w="49520" h="72725">
                    <a:moveTo>
                      <a:pt x="49521" y="71051"/>
                    </a:moveTo>
                    <a:lnTo>
                      <a:pt x="46949" y="72726"/>
                    </a:lnTo>
                    <a:lnTo>
                      <a:pt x="0" y="1675"/>
                    </a:lnTo>
                    <a:lnTo>
                      <a:pt x="2512" y="0"/>
                    </a:lnTo>
                    <a:close/>
                  </a:path>
                </a:pathLst>
              </a:custGeom>
              <a:grpFill/>
              <a:ln w="5978" cap="flat">
                <a:noFill/>
                <a:prstDash val="solid"/>
                <a:miter/>
              </a:ln>
            </p:spPr>
            <p:txBody>
              <a:bodyPr rtlCol="0" anchor="ctr"/>
              <a:lstStyle/>
              <a:p>
                <a:endParaRPr lang="en-GB"/>
              </a:p>
            </p:txBody>
          </p:sp>
          <p:sp>
            <p:nvSpPr>
              <p:cNvPr id="2963" name="Vrije vorm: vorm 2962">
                <a:extLst>
                  <a:ext uri="{FF2B5EF4-FFF2-40B4-BE49-F238E27FC236}">
                    <a16:creationId xmlns:a16="http://schemas.microsoft.com/office/drawing/2014/main" id="{A4919C05-9D0C-4EEB-8DBC-E42A2AA1A990}"/>
                  </a:ext>
                </a:extLst>
              </p:cNvPr>
              <p:cNvSpPr/>
              <p:nvPr/>
            </p:nvSpPr>
            <p:spPr>
              <a:xfrm>
                <a:off x="4789933" y="1508829"/>
                <a:ext cx="18393" cy="18390"/>
              </a:xfrm>
              <a:custGeom>
                <a:avLst/>
                <a:gdLst>
                  <a:gd name="connsiteX0" fmla="*/ 1542 w 18393"/>
                  <a:gd name="connsiteY0" fmla="*/ 14262 h 18390"/>
                  <a:gd name="connsiteX1" fmla="*/ 4113 w 18393"/>
                  <a:gd name="connsiteY1" fmla="*/ 1523 h 18390"/>
                  <a:gd name="connsiteX2" fmla="*/ 16852 w 18393"/>
                  <a:gd name="connsiteY2" fmla="*/ 4155 h 18390"/>
                  <a:gd name="connsiteX3" fmla="*/ 14281 w 18393"/>
                  <a:gd name="connsiteY3" fmla="*/ 16894 h 18390"/>
                  <a:gd name="connsiteX4" fmla="*/ 1542 w 1839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3" h="18390">
                    <a:moveTo>
                      <a:pt x="1542" y="14262"/>
                    </a:moveTo>
                    <a:cubicBezTo>
                      <a:pt x="-1270" y="10016"/>
                      <a:pt x="-133" y="4274"/>
                      <a:pt x="4113" y="1523"/>
                    </a:cubicBezTo>
                    <a:cubicBezTo>
                      <a:pt x="8300" y="-1288"/>
                      <a:pt x="14041" y="-92"/>
                      <a:pt x="16852" y="4155"/>
                    </a:cubicBezTo>
                    <a:cubicBezTo>
                      <a:pt x="19663" y="8401"/>
                      <a:pt x="18527" y="14142"/>
                      <a:pt x="14281" y="16894"/>
                    </a:cubicBezTo>
                    <a:cubicBezTo>
                      <a:pt x="10034" y="19645"/>
                      <a:pt x="4352" y="18508"/>
                      <a:pt x="1542" y="14262"/>
                    </a:cubicBezTo>
                    <a:close/>
                  </a:path>
                </a:pathLst>
              </a:custGeom>
              <a:grpFill/>
              <a:ln w="5978" cap="flat">
                <a:noFill/>
                <a:prstDash val="solid"/>
                <a:miter/>
              </a:ln>
            </p:spPr>
            <p:txBody>
              <a:bodyPr rtlCol="0" anchor="ctr"/>
              <a:lstStyle/>
              <a:p>
                <a:endParaRPr lang="en-GB"/>
              </a:p>
            </p:txBody>
          </p:sp>
          <p:sp>
            <p:nvSpPr>
              <p:cNvPr id="2964" name="Vrije vorm: vorm 2963">
                <a:extLst>
                  <a:ext uri="{FF2B5EF4-FFF2-40B4-BE49-F238E27FC236}">
                    <a16:creationId xmlns:a16="http://schemas.microsoft.com/office/drawing/2014/main" id="{BAF23B03-FFBA-4453-9141-0F69F7976F93}"/>
                  </a:ext>
                </a:extLst>
              </p:cNvPr>
              <p:cNvSpPr/>
              <p:nvPr/>
            </p:nvSpPr>
            <p:spPr>
              <a:xfrm>
                <a:off x="4836401" y="1579129"/>
                <a:ext cx="18339" cy="18363"/>
              </a:xfrm>
              <a:custGeom>
                <a:avLst/>
                <a:gdLst>
                  <a:gd name="connsiteX0" fmla="*/ 1544 w 18339"/>
                  <a:gd name="connsiteY0" fmla="*/ 14236 h 18363"/>
                  <a:gd name="connsiteX1" fmla="*/ 14283 w 18339"/>
                  <a:gd name="connsiteY1" fmla="*/ 16867 h 18363"/>
                  <a:gd name="connsiteX2" fmla="*/ 16795 w 18339"/>
                  <a:gd name="connsiteY2" fmla="*/ 4128 h 18363"/>
                  <a:gd name="connsiteX3" fmla="*/ 4056 w 18339"/>
                  <a:gd name="connsiteY3" fmla="*/ 1497 h 18363"/>
                  <a:gd name="connsiteX4" fmla="*/ 1544 w 18339"/>
                  <a:gd name="connsiteY4" fmla="*/ 14236 h 1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63">
                    <a:moveTo>
                      <a:pt x="1544" y="14236"/>
                    </a:moveTo>
                    <a:cubicBezTo>
                      <a:pt x="4355" y="18482"/>
                      <a:pt x="10037" y="19618"/>
                      <a:pt x="14283" y="16867"/>
                    </a:cubicBezTo>
                    <a:cubicBezTo>
                      <a:pt x="18470" y="14056"/>
                      <a:pt x="19606" y="8374"/>
                      <a:pt x="16795" y="4128"/>
                    </a:cubicBezTo>
                    <a:cubicBezTo>
                      <a:pt x="13984" y="-118"/>
                      <a:pt x="8303" y="-1255"/>
                      <a:pt x="4056" y="1497"/>
                    </a:cubicBezTo>
                    <a:cubicBezTo>
                      <a:pt x="-130" y="4248"/>
                      <a:pt x="-1266" y="9989"/>
                      <a:pt x="1544" y="14236"/>
                    </a:cubicBezTo>
                    <a:close/>
                  </a:path>
                </a:pathLst>
              </a:custGeom>
              <a:grpFill/>
              <a:ln w="5978" cap="flat">
                <a:noFill/>
                <a:prstDash val="solid"/>
                <a:miter/>
              </a:ln>
            </p:spPr>
            <p:txBody>
              <a:bodyPr rtlCol="0" anchor="ctr"/>
              <a:lstStyle/>
              <a:p>
                <a:endParaRPr lang="en-GB"/>
              </a:p>
            </p:txBody>
          </p:sp>
        </p:grpSp>
        <p:grpSp>
          <p:nvGrpSpPr>
            <p:cNvPr id="812" name="Graphic 3">
              <a:extLst>
                <a:ext uri="{FF2B5EF4-FFF2-40B4-BE49-F238E27FC236}">
                  <a16:creationId xmlns:a16="http://schemas.microsoft.com/office/drawing/2014/main" id="{03CA409E-EE02-4F72-AE2B-29D4E05B2312}"/>
                </a:ext>
              </a:extLst>
            </p:cNvPr>
            <p:cNvGrpSpPr/>
            <p:nvPr/>
          </p:nvGrpSpPr>
          <p:grpSpPr>
            <a:xfrm>
              <a:off x="4945280" y="1985326"/>
              <a:ext cx="84784" cy="104315"/>
              <a:chOff x="4945280" y="1985326"/>
              <a:chExt cx="84784" cy="104315"/>
            </a:xfrm>
            <a:grpFill/>
          </p:grpSpPr>
          <p:sp>
            <p:nvSpPr>
              <p:cNvPr id="2959" name="Vrije vorm: vorm 2958">
                <a:extLst>
                  <a:ext uri="{FF2B5EF4-FFF2-40B4-BE49-F238E27FC236}">
                    <a16:creationId xmlns:a16="http://schemas.microsoft.com/office/drawing/2014/main" id="{78DC38E5-9B76-481E-B0E4-13D2FBC4B24A}"/>
                  </a:ext>
                </a:extLst>
              </p:cNvPr>
              <p:cNvSpPr/>
              <p:nvPr/>
            </p:nvSpPr>
            <p:spPr>
              <a:xfrm>
                <a:off x="4952954" y="1993235"/>
                <a:ext cx="69436" cy="88454"/>
              </a:xfrm>
              <a:custGeom>
                <a:avLst/>
                <a:gdLst>
                  <a:gd name="connsiteX0" fmla="*/ 69436 w 69436"/>
                  <a:gd name="connsiteY0" fmla="*/ 86601 h 88454"/>
                  <a:gd name="connsiteX1" fmla="*/ 67044 w 69436"/>
                  <a:gd name="connsiteY1" fmla="*/ 88455 h 88454"/>
                  <a:gd name="connsiteX2" fmla="*/ 0 w 69436"/>
                  <a:gd name="connsiteY2" fmla="*/ 1854 h 88454"/>
                  <a:gd name="connsiteX3" fmla="*/ 2452 w 69436"/>
                  <a:gd name="connsiteY3" fmla="*/ 0 h 88454"/>
                </a:gdLst>
                <a:ahLst/>
                <a:cxnLst>
                  <a:cxn ang="0">
                    <a:pos x="connsiteX0" y="connsiteY0"/>
                  </a:cxn>
                  <a:cxn ang="0">
                    <a:pos x="connsiteX1" y="connsiteY1"/>
                  </a:cxn>
                  <a:cxn ang="0">
                    <a:pos x="connsiteX2" y="connsiteY2"/>
                  </a:cxn>
                  <a:cxn ang="0">
                    <a:pos x="connsiteX3" y="connsiteY3"/>
                  </a:cxn>
                </a:cxnLst>
                <a:rect l="l" t="t" r="r" b="b"/>
                <a:pathLst>
                  <a:path w="69436" h="88454">
                    <a:moveTo>
                      <a:pt x="69436" y="86601"/>
                    </a:moveTo>
                    <a:lnTo>
                      <a:pt x="67044" y="88455"/>
                    </a:lnTo>
                    <a:lnTo>
                      <a:pt x="0" y="1854"/>
                    </a:lnTo>
                    <a:lnTo>
                      <a:pt x="2452" y="0"/>
                    </a:lnTo>
                    <a:close/>
                  </a:path>
                </a:pathLst>
              </a:custGeom>
              <a:grpFill/>
              <a:ln w="5978" cap="flat">
                <a:noFill/>
                <a:prstDash val="solid"/>
                <a:miter/>
              </a:ln>
            </p:spPr>
            <p:txBody>
              <a:bodyPr rtlCol="0" anchor="ctr"/>
              <a:lstStyle/>
              <a:p>
                <a:endParaRPr lang="en-GB"/>
              </a:p>
            </p:txBody>
          </p:sp>
          <p:sp>
            <p:nvSpPr>
              <p:cNvPr id="2960" name="Vrije vorm: vorm 2959">
                <a:extLst>
                  <a:ext uri="{FF2B5EF4-FFF2-40B4-BE49-F238E27FC236}">
                    <a16:creationId xmlns:a16="http://schemas.microsoft.com/office/drawing/2014/main" id="{62980D9D-73BA-4AE7-974D-6EC8DA9FB365}"/>
                  </a:ext>
                </a:extLst>
              </p:cNvPr>
              <p:cNvSpPr/>
              <p:nvPr/>
            </p:nvSpPr>
            <p:spPr>
              <a:xfrm>
                <a:off x="4945280" y="1985326"/>
                <a:ext cx="18339" cy="18406"/>
              </a:xfrm>
              <a:custGeom>
                <a:avLst/>
                <a:gdLst>
                  <a:gd name="connsiteX0" fmla="*/ 1933 w 18339"/>
                  <a:gd name="connsiteY0" fmla="*/ 14847 h 18406"/>
                  <a:gd name="connsiteX1" fmla="*/ 3548 w 18339"/>
                  <a:gd name="connsiteY1" fmla="*/ 1929 h 18406"/>
                  <a:gd name="connsiteX2" fmla="*/ 16406 w 18339"/>
                  <a:gd name="connsiteY2" fmla="*/ 3603 h 18406"/>
                  <a:gd name="connsiteX3" fmla="*/ 14792 w 18339"/>
                  <a:gd name="connsiteY3" fmla="*/ 16522 h 18406"/>
                  <a:gd name="connsiteX4" fmla="*/ 1933 w 18339"/>
                  <a:gd name="connsiteY4" fmla="*/ 1484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6">
                    <a:moveTo>
                      <a:pt x="1933" y="14847"/>
                    </a:moveTo>
                    <a:cubicBezTo>
                      <a:pt x="-1177" y="10840"/>
                      <a:pt x="-459" y="5038"/>
                      <a:pt x="3548" y="1929"/>
                    </a:cubicBezTo>
                    <a:cubicBezTo>
                      <a:pt x="7555" y="-1181"/>
                      <a:pt x="13296" y="-464"/>
                      <a:pt x="16406" y="3603"/>
                    </a:cubicBezTo>
                    <a:cubicBezTo>
                      <a:pt x="19516" y="7610"/>
                      <a:pt x="18799" y="13412"/>
                      <a:pt x="14792" y="16522"/>
                    </a:cubicBezTo>
                    <a:cubicBezTo>
                      <a:pt x="10844" y="19572"/>
                      <a:pt x="5043" y="18854"/>
                      <a:pt x="1933" y="14847"/>
                    </a:cubicBezTo>
                    <a:close/>
                  </a:path>
                </a:pathLst>
              </a:custGeom>
              <a:grpFill/>
              <a:ln w="5978" cap="flat">
                <a:noFill/>
                <a:prstDash val="solid"/>
                <a:miter/>
              </a:ln>
            </p:spPr>
            <p:txBody>
              <a:bodyPr rtlCol="0" anchor="ctr"/>
              <a:lstStyle/>
              <a:p>
                <a:endParaRPr lang="en-GB"/>
              </a:p>
            </p:txBody>
          </p:sp>
          <p:sp>
            <p:nvSpPr>
              <p:cNvPr id="2961" name="Vrije vorm: vorm 2960">
                <a:extLst>
                  <a:ext uri="{FF2B5EF4-FFF2-40B4-BE49-F238E27FC236}">
                    <a16:creationId xmlns:a16="http://schemas.microsoft.com/office/drawing/2014/main" id="{AA3C8C03-92D6-4558-9779-14E15C32B969}"/>
                  </a:ext>
                </a:extLst>
              </p:cNvPr>
              <p:cNvSpPr/>
              <p:nvPr/>
            </p:nvSpPr>
            <p:spPr>
              <a:xfrm>
                <a:off x="5011726" y="2071227"/>
                <a:ext cx="18338" cy="18413"/>
              </a:xfrm>
              <a:custGeom>
                <a:avLst/>
                <a:gdLst>
                  <a:gd name="connsiteX0" fmla="*/ 1933 w 18338"/>
                  <a:gd name="connsiteY0" fmla="*/ 14829 h 18413"/>
                  <a:gd name="connsiteX1" fmla="*/ 14791 w 18338"/>
                  <a:gd name="connsiteY1" fmla="*/ 16503 h 18413"/>
                  <a:gd name="connsiteX2" fmla="*/ 16406 w 18338"/>
                  <a:gd name="connsiteY2" fmla="*/ 3585 h 18413"/>
                  <a:gd name="connsiteX3" fmla="*/ 3548 w 18338"/>
                  <a:gd name="connsiteY3" fmla="*/ 1910 h 18413"/>
                  <a:gd name="connsiteX4" fmla="*/ 1933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3" y="14829"/>
                    </a:moveTo>
                    <a:cubicBezTo>
                      <a:pt x="5043" y="18836"/>
                      <a:pt x="10784" y="19613"/>
                      <a:pt x="14791" y="16503"/>
                    </a:cubicBezTo>
                    <a:cubicBezTo>
                      <a:pt x="18798" y="13393"/>
                      <a:pt x="19516" y="7592"/>
                      <a:pt x="16406" y="3585"/>
                    </a:cubicBezTo>
                    <a:cubicBezTo>
                      <a:pt x="13296" y="-422"/>
                      <a:pt x="7555" y="-1200"/>
                      <a:pt x="3548" y="1910"/>
                    </a:cubicBezTo>
                    <a:cubicBezTo>
                      <a:pt x="-459" y="5020"/>
                      <a:pt x="-1177" y="10822"/>
                      <a:pt x="1933" y="14829"/>
                    </a:cubicBezTo>
                    <a:close/>
                  </a:path>
                </a:pathLst>
              </a:custGeom>
              <a:grpFill/>
              <a:ln w="5978" cap="flat">
                <a:noFill/>
                <a:prstDash val="solid"/>
                <a:miter/>
              </a:ln>
            </p:spPr>
            <p:txBody>
              <a:bodyPr rtlCol="0" anchor="ctr"/>
              <a:lstStyle/>
              <a:p>
                <a:endParaRPr lang="en-GB"/>
              </a:p>
            </p:txBody>
          </p:sp>
        </p:grpSp>
        <p:grpSp>
          <p:nvGrpSpPr>
            <p:cNvPr id="813" name="Graphic 3">
              <a:extLst>
                <a:ext uri="{FF2B5EF4-FFF2-40B4-BE49-F238E27FC236}">
                  <a16:creationId xmlns:a16="http://schemas.microsoft.com/office/drawing/2014/main" id="{A9F38850-C556-4EA0-BE97-8F147F3ECCF4}"/>
                </a:ext>
              </a:extLst>
            </p:cNvPr>
            <p:cNvGrpSpPr/>
            <p:nvPr/>
          </p:nvGrpSpPr>
          <p:grpSpPr>
            <a:xfrm>
              <a:off x="4901810" y="1810023"/>
              <a:ext cx="22446" cy="24131"/>
              <a:chOff x="4901810" y="1810023"/>
              <a:chExt cx="22446" cy="24131"/>
            </a:xfrm>
            <a:grpFill/>
          </p:grpSpPr>
          <p:sp>
            <p:nvSpPr>
              <p:cNvPr id="2957" name="Vrije vorm: vorm 2956">
                <a:extLst>
                  <a:ext uri="{FF2B5EF4-FFF2-40B4-BE49-F238E27FC236}">
                    <a16:creationId xmlns:a16="http://schemas.microsoft.com/office/drawing/2014/main" id="{F79952FC-A684-4CB2-93FC-7AD9A208F19B}"/>
                  </a:ext>
                </a:extLst>
              </p:cNvPr>
              <p:cNvSpPr/>
              <p:nvPr/>
            </p:nvSpPr>
            <p:spPr>
              <a:xfrm>
                <a:off x="4905877" y="1815662"/>
                <a:ext cx="18379" cy="18492"/>
              </a:xfrm>
              <a:custGeom>
                <a:avLst/>
                <a:gdLst>
                  <a:gd name="connsiteX0" fmla="*/ 1744 w 18379"/>
                  <a:gd name="connsiteY0" fmla="*/ 14599 h 18492"/>
                  <a:gd name="connsiteX1" fmla="*/ 3837 w 18379"/>
                  <a:gd name="connsiteY1" fmla="*/ 1740 h 18492"/>
                  <a:gd name="connsiteX2" fmla="*/ 16636 w 18379"/>
                  <a:gd name="connsiteY2" fmla="*/ 3893 h 18492"/>
                  <a:gd name="connsiteX3" fmla="*/ 14543 w 18379"/>
                  <a:gd name="connsiteY3" fmla="*/ 16752 h 18492"/>
                  <a:gd name="connsiteX4" fmla="*/ 1744 w 18379"/>
                  <a:gd name="connsiteY4" fmla="*/ 14599 h 18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92">
                    <a:moveTo>
                      <a:pt x="1744" y="14599"/>
                    </a:moveTo>
                    <a:cubicBezTo>
                      <a:pt x="-1247" y="10472"/>
                      <a:pt x="-289" y="4731"/>
                      <a:pt x="3837" y="1740"/>
                    </a:cubicBezTo>
                    <a:cubicBezTo>
                      <a:pt x="7964" y="-1250"/>
                      <a:pt x="13645" y="-293"/>
                      <a:pt x="16636" y="3893"/>
                    </a:cubicBezTo>
                    <a:cubicBezTo>
                      <a:pt x="19626" y="8020"/>
                      <a:pt x="18669" y="13762"/>
                      <a:pt x="14543" y="16752"/>
                    </a:cubicBezTo>
                    <a:cubicBezTo>
                      <a:pt x="10416" y="19742"/>
                      <a:pt x="4734" y="18785"/>
                      <a:pt x="1744" y="14599"/>
                    </a:cubicBezTo>
                    <a:close/>
                  </a:path>
                </a:pathLst>
              </a:custGeom>
              <a:grpFill/>
              <a:ln w="5978" cap="flat">
                <a:noFill/>
                <a:prstDash val="solid"/>
                <a:miter/>
              </a:ln>
            </p:spPr>
            <p:txBody>
              <a:bodyPr rtlCol="0" anchor="ctr"/>
              <a:lstStyle/>
              <a:p>
                <a:endParaRPr lang="en-GB"/>
              </a:p>
            </p:txBody>
          </p:sp>
          <p:sp>
            <p:nvSpPr>
              <p:cNvPr id="2958" name="Vrije vorm: vorm 2957">
                <a:extLst>
                  <a:ext uri="{FF2B5EF4-FFF2-40B4-BE49-F238E27FC236}">
                    <a16:creationId xmlns:a16="http://schemas.microsoft.com/office/drawing/2014/main" id="{16193A34-ADCC-4ABF-9F44-A066D7844773}"/>
                  </a:ext>
                </a:extLst>
              </p:cNvPr>
              <p:cNvSpPr/>
              <p:nvPr/>
            </p:nvSpPr>
            <p:spPr>
              <a:xfrm>
                <a:off x="4901810" y="1810023"/>
                <a:ext cx="18353" cy="18406"/>
              </a:xfrm>
              <a:custGeom>
                <a:avLst/>
                <a:gdLst>
                  <a:gd name="connsiteX0" fmla="*/ 1744 w 18353"/>
                  <a:gd name="connsiteY0" fmla="*/ 14556 h 18406"/>
                  <a:gd name="connsiteX1" fmla="*/ 14543 w 18353"/>
                  <a:gd name="connsiteY1" fmla="*/ 16709 h 18406"/>
                  <a:gd name="connsiteX2" fmla="*/ 16636 w 18353"/>
                  <a:gd name="connsiteY2" fmla="*/ 3851 h 18406"/>
                  <a:gd name="connsiteX3" fmla="*/ 3837 w 18353"/>
                  <a:gd name="connsiteY3" fmla="*/ 1697 h 18406"/>
                  <a:gd name="connsiteX4" fmla="*/ 1744 w 18353"/>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6">
                    <a:moveTo>
                      <a:pt x="1744" y="14556"/>
                    </a:moveTo>
                    <a:cubicBezTo>
                      <a:pt x="4734" y="18683"/>
                      <a:pt x="10416" y="19640"/>
                      <a:pt x="14543" y="16709"/>
                    </a:cubicBezTo>
                    <a:cubicBezTo>
                      <a:pt x="18669" y="13719"/>
                      <a:pt x="19566" y="7977"/>
                      <a:pt x="16636" y="3851"/>
                    </a:cubicBezTo>
                    <a:cubicBezTo>
                      <a:pt x="13646" y="-276"/>
                      <a:pt x="7964" y="-1233"/>
                      <a:pt x="3837" y="1697"/>
                    </a:cubicBezTo>
                    <a:cubicBezTo>
                      <a:pt x="-290" y="4688"/>
                      <a:pt x="-1246" y="10429"/>
                      <a:pt x="1744" y="14556"/>
                    </a:cubicBezTo>
                    <a:close/>
                  </a:path>
                </a:pathLst>
              </a:custGeom>
              <a:grpFill/>
              <a:ln w="5978" cap="flat">
                <a:noFill/>
                <a:prstDash val="solid"/>
                <a:miter/>
              </a:ln>
            </p:spPr>
            <p:txBody>
              <a:bodyPr rtlCol="0" anchor="ctr"/>
              <a:lstStyle/>
              <a:p>
                <a:endParaRPr lang="en-GB"/>
              </a:p>
            </p:txBody>
          </p:sp>
        </p:grpSp>
        <p:grpSp>
          <p:nvGrpSpPr>
            <p:cNvPr id="814" name="Graphic 3">
              <a:extLst>
                <a:ext uri="{FF2B5EF4-FFF2-40B4-BE49-F238E27FC236}">
                  <a16:creationId xmlns:a16="http://schemas.microsoft.com/office/drawing/2014/main" id="{1F236115-9D58-4C61-97CF-9C665D0EB646}"/>
                </a:ext>
              </a:extLst>
            </p:cNvPr>
            <p:cNvGrpSpPr/>
            <p:nvPr/>
          </p:nvGrpSpPr>
          <p:grpSpPr>
            <a:xfrm>
              <a:off x="6186387" y="5280515"/>
              <a:ext cx="92217" cy="1004089"/>
              <a:chOff x="6186387" y="5280515"/>
              <a:chExt cx="92217" cy="1004089"/>
            </a:xfrm>
            <a:grpFill/>
          </p:grpSpPr>
          <p:sp>
            <p:nvSpPr>
              <p:cNvPr id="2954" name="Vrije vorm: vorm 2953">
                <a:extLst>
                  <a:ext uri="{FF2B5EF4-FFF2-40B4-BE49-F238E27FC236}">
                    <a16:creationId xmlns:a16="http://schemas.microsoft.com/office/drawing/2014/main" id="{05AE3E09-0B95-4470-A7DF-3F175C9DEF2B}"/>
                  </a:ext>
                </a:extLst>
              </p:cNvPr>
              <p:cNvSpPr/>
              <p:nvPr/>
            </p:nvSpPr>
            <p:spPr>
              <a:xfrm>
                <a:off x="6194014" y="5289151"/>
                <a:ext cx="76971" cy="986759"/>
              </a:xfrm>
              <a:custGeom>
                <a:avLst/>
                <a:gdLst>
                  <a:gd name="connsiteX0" fmla="*/ 3050 w 76971"/>
                  <a:gd name="connsiteY0" fmla="*/ 0 h 986759"/>
                  <a:gd name="connsiteX1" fmla="*/ 76972 w 76971"/>
                  <a:gd name="connsiteY1" fmla="*/ 986520 h 986759"/>
                  <a:gd name="connsiteX2" fmla="*/ 73982 w 76971"/>
                  <a:gd name="connsiteY2" fmla="*/ 986760 h 986759"/>
                  <a:gd name="connsiteX3" fmla="*/ 0 w 76971"/>
                  <a:gd name="connsiteY3" fmla="*/ 239 h 986759"/>
                </a:gdLst>
                <a:ahLst/>
                <a:cxnLst>
                  <a:cxn ang="0">
                    <a:pos x="connsiteX0" y="connsiteY0"/>
                  </a:cxn>
                  <a:cxn ang="0">
                    <a:pos x="connsiteX1" y="connsiteY1"/>
                  </a:cxn>
                  <a:cxn ang="0">
                    <a:pos x="connsiteX2" y="connsiteY2"/>
                  </a:cxn>
                  <a:cxn ang="0">
                    <a:pos x="connsiteX3" y="connsiteY3"/>
                  </a:cxn>
                </a:cxnLst>
                <a:rect l="l" t="t" r="r" b="b"/>
                <a:pathLst>
                  <a:path w="76971" h="986759">
                    <a:moveTo>
                      <a:pt x="3050" y="0"/>
                    </a:moveTo>
                    <a:lnTo>
                      <a:pt x="76972" y="986520"/>
                    </a:lnTo>
                    <a:lnTo>
                      <a:pt x="73982" y="986760"/>
                    </a:lnTo>
                    <a:lnTo>
                      <a:pt x="0" y="239"/>
                    </a:lnTo>
                    <a:close/>
                  </a:path>
                </a:pathLst>
              </a:custGeom>
              <a:grpFill/>
              <a:ln w="5978" cap="flat">
                <a:noFill/>
                <a:prstDash val="solid"/>
                <a:miter/>
              </a:ln>
            </p:spPr>
            <p:txBody>
              <a:bodyPr rtlCol="0" anchor="ctr"/>
              <a:lstStyle/>
              <a:p>
                <a:endParaRPr lang="en-GB"/>
              </a:p>
            </p:txBody>
          </p:sp>
          <p:sp>
            <p:nvSpPr>
              <p:cNvPr id="2955" name="Vrije vorm: vorm 2954">
                <a:extLst>
                  <a:ext uri="{FF2B5EF4-FFF2-40B4-BE49-F238E27FC236}">
                    <a16:creationId xmlns:a16="http://schemas.microsoft.com/office/drawing/2014/main" id="{441F958D-9E5A-4400-9192-31223A7CF569}"/>
                  </a:ext>
                </a:extLst>
              </p:cNvPr>
              <p:cNvSpPr/>
              <p:nvPr/>
            </p:nvSpPr>
            <p:spPr>
              <a:xfrm>
                <a:off x="6260316" y="6266138"/>
                <a:ext cx="18288" cy="18466"/>
              </a:xfrm>
              <a:custGeom>
                <a:avLst/>
                <a:gdLst>
                  <a:gd name="connsiteX0" fmla="*/ 18265 w 18288"/>
                  <a:gd name="connsiteY0" fmla="*/ 8576 h 18466"/>
                  <a:gd name="connsiteX1" fmla="*/ 9832 w 18288"/>
                  <a:gd name="connsiteY1" fmla="*/ 18444 h 18466"/>
                  <a:gd name="connsiteX2" fmla="*/ 24 w 18288"/>
                  <a:gd name="connsiteY2" fmla="*/ 9891 h 18466"/>
                  <a:gd name="connsiteX3" fmla="*/ 8457 w 18288"/>
                  <a:gd name="connsiteY3" fmla="*/ 23 h 18466"/>
                  <a:gd name="connsiteX4" fmla="*/ 18265 w 18288"/>
                  <a:gd name="connsiteY4" fmla="*/ 857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6">
                    <a:moveTo>
                      <a:pt x="18265" y="8576"/>
                    </a:moveTo>
                    <a:cubicBezTo>
                      <a:pt x="18624" y="13659"/>
                      <a:pt x="14856" y="18085"/>
                      <a:pt x="9832" y="18444"/>
                    </a:cubicBezTo>
                    <a:cubicBezTo>
                      <a:pt x="4808" y="18802"/>
                      <a:pt x="382" y="14975"/>
                      <a:pt x="24" y="9891"/>
                    </a:cubicBezTo>
                    <a:cubicBezTo>
                      <a:pt x="-335" y="4808"/>
                      <a:pt x="3433" y="382"/>
                      <a:pt x="8457" y="23"/>
                    </a:cubicBezTo>
                    <a:cubicBezTo>
                      <a:pt x="13480" y="-336"/>
                      <a:pt x="17906" y="3492"/>
                      <a:pt x="18265" y="8576"/>
                    </a:cubicBezTo>
                    <a:close/>
                  </a:path>
                </a:pathLst>
              </a:custGeom>
              <a:grpFill/>
              <a:ln w="5978" cap="flat">
                <a:noFill/>
                <a:prstDash val="solid"/>
                <a:miter/>
              </a:ln>
            </p:spPr>
            <p:txBody>
              <a:bodyPr rtlCol="0" anchor="ctr"/>
              <a:lstStyle/>
              <a:p>
                <a:endParaRPr lang="en-GB"/>
              </a:p>
            </p:txBody>
          </p:sp>
          <p:sp>
            <p:nvSpPr>
              <p:cNvPr id="2956" name="Vrije vorm: vorm 2955">
                <a:extLst>
                  <a:ext uri="{FF2B5EF4-FFF2-40B4-BE49-F238E27FC236}">
                    <a16:creationId xmlns:a16="http://schemas.microsoft.com/office/drawing/2014/main" id="{0D3917E8-276D-4FFE-8AA5-1949DD6C939F}"/>
                  </a:ext>
                </a:extLst>
              </p:cNvPr>
              <p:cNvSpPr/>
              <p:nvPr/>
            </p:nvSpPr>
            <p:spPr>
              <a:xfrm>
                <a:off x="6186387" y="5280515"/>
                <a:ext cx="18304" cy="18467"/>
              </a:xfrm>
              <a:custGeom>
                <a:avLst/>
                <a:gdLst>
                  <a:gd name="connsiteX0" fmla="*/ 18272 w 18304"/>
                  <a:gd name="connsiteY0" fmla="*/ 8576 h 18467"/>
                  <a:gd name="connsiteX1" fmla="*/ 8464 w 18304"/>
                  <a:gd name="connsiteY1" fmla="*/ 23 h 18467"/>
                  <a:gd name="connsiteX2" fmla="*/ 31 w 18304"/>
                  <a:gd name="connsiteY2" fmla="*/ 9891 h 18467"/>
                  <a:gd name="connsiteX3" fmla="*/ 9840 w 18304"/>
                  <a:gd name="connsiteY3" fmla="*/ 18444 h 18467"/>
                  <a:gd name="connsiteX4" fmla="*/ 18272 w 18304"/>
                  <a:gd name="connsiteY4" fmla="*/ 8576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67">
                    <a:moveTo>
                      <a:pt x="18272" y="8576"/>
                    </a:moveTo>
                    <a:cubicBezTo>
                      <a:pt x="17914" y="3492"/>
                      <a:pt x="13488" y="-336"/>
                      <a:pt x="8464" y="23"/>
                    </a:cubicBezTo>
                    <a:cubicBezTo>
                      <a:pt x="3440" y="382"/>
                      <a:pt x="-387" y="4808"/>
                      <a:pt x="31" y="9891"/>
                    </a:cubicBezTo>
                    <a:cubicBezTo>
                      <a:pt x="390" y="14975"/>
                      <a:pt x="4816" y="18803"/>
                      <a:pt x="9840" y="18444"/>
                    </a:cubicBezTo>
                    <a:cubicBezTo>
                      <a:pt x="14923" y="18025"/>
                      <a:pt x="18691" y="13659"/>
                      <a:pt x="18272" y="8576"/>
                    </a:cubicBezTo>
                    <a:close/>
                  </a:path>
                </a:pathLst>
              </a:custGeom>
              <a:grpFill/>
              <a:ln w="5978" cap="flat">
                <a:noFill/>
                <a:prstDash val="solid"/>
                <a:miter/>
              </a:ln>
            </p:spPr>
            <p:txBody>
              <a:bodyPr rtlCol="0" anchor="ctr"/>
              <a:lstStyle/>
              <a:p>
                <a:endParaRPr lang="en-GB"/>
              </a:p>
            </p:txBody>
          </p:sp>
        </p:grpSp>
        <p:grpSp>
          <p:nvGrpSpPr>
            <p:cNvPr id="815" name="Graphic 3">
              <a:extLst>
                <a:ext uri="{FF2B5EF4-FFF2-40B4-BE49-F238E27FC236}">
                  <a16:creationId xmlns:a16="http://schemas.microsoft.com/office/drawing/2014/main" id="{C490C4DD-7CB9-4BBC-8B14-A184A38E7F64}"/>
                </a:ext>
              </a:extLst>
            </p:cNvPr>
            <p:cNvGrpSpPr/>
            <p:nvPr/>
          </p:nvGrpSpPr>
          <p:grpSpPr>
            <a:xfrm>
              <a:off x="6013334" y="5098483"/>
              <a:ext cx="20758" cy="156400"/>
              <a:chOff x="6013334" y="5098483"/>
              <a:chExt cx="20758" cy="156400"/>
            </a:xfrm>
            <a:grpFill/>
          </p:grpSpPr>
          <p:sp>
            <p:nvSpPr>
              <p:cNvPr id="2951" name="Vrije vorm: vorm 2950">
                <a:extLst>
                  <a:ext uri="{FF2B5EF4-FFF2-40B4-BE49-F238E27FC236}">
                    <a16:creationId xmlns:a16="http://schemas.microsoft.com/office/drawing/2014/main" id="{A2F682E6-5381-4FC8-A124-FE425E17C375}"/>
                  </a:ext>
                </a:extLst>
              </p:cNvPr>
              <p:cNvSpPr/>
              <p:nvPr/>
            </p:nvSpPr>
            <p:spPr>
              <a:xfrm>
                <a:off x="6020932" y="5107217"/>
                <a:ext cx="5502" cy="138932"/>
              </a:xfrm>
              <a:custGeom>
                <a:avLst/>
                <a:gdLst>
                  <a:gd name="connsiteX0" fmla="*/ 5502 w 5502"/>
                  <a:gd name="connsiteY0" fmla="*/ 60 h 138932"/>
                  <a:gd name="connsiteX1" fmla="*/ 3050 w 5502"/>
                  <a:gd name="connsiteY1" fmla="*/ 138932 h 138932"/>
                  <a:gd name="connsiteX2" fmla="*/ 0 w 5502"/>
                  <a:gd name="connsiteY2" fmla="*/ 138813 h 138932"/>
                  <a:gd name="connsiteX3" fmla="*/ 2452 w 5502"/>
                  <a:gd name="connsiteY3" fmla="*/ 0 h 138932"/>
                </a:gdLst>
                <a:ahLst/>
                <a:cxnLst>
                  <a:cxn ang="0">
                    <a:pos x="connsiteX0" y="connsiteY0"/>
                  </a:cxn>
                  <a:cxn ang="0">
                    <a:pos x="connsiteX1" y="connsiteY1"/>
                  </a:cxn>
                  <a:cxn ang="0">
                    <a:pos x="connsiteX2" y="connsiteY2"/>
                  </a:cxn>
                  <a:cxn ang="0">
                    <a:pos x="connsiteX3" y="connsiteY3"/>
                  </a:cxn>
                </a:cxnLst>
                <a:rect l="l" t="t" r="r" b="b"/>
                <a:pathLst>
                  <a:path w="5502" h="138932">
                    <a:moveTo>
                      <a:pt x="5502" y="60"/>
                    </a:moveTo>
                    <a:lnTo>
                      <a:pt x="3050" y="138932"/>
                    </a:lnTo>
                    <a:lnTo>
                      <a:pt x="0" y="138813"/>
                    </a:lnTo>
                    <a:lnTo>
                      <a:pt x="2452" y="0"/>
                    </a:lnTo>
                    <a:close/>
                  </a:path>
                </a:pathLst>
              </a:custGeom>
              <a:grpFill/>
              <a:ln w="5978" cap="flat">
                <a:noFill/>
                <a:prstDash val="solid"/>
                <a:miter/>
              </a:ln>
            </p:spPr>
            <p:txBody>
              <a:bodyPr rtlCol="0" anchor="ctr"/>
              <a:lstStyle/>
              <a:p>
                <a:endParaRPr lang="en-GB"/>
              </a:p>
            </p:txBody>
          </p:sp>
          <p:sp>
            <p:nvSpPr>
              <p:cNvPr id="2952" name="Vrije vorm: vorm 2951">
                <a:extLst>
                  <a:ext uri="{FF2B5EF4-FFF2-40B4-BE49-F238E27FC236}">
                    <a16:creationId xmlns:a16="http://schemas.microsoft.com/office/drawing/2014/main" id="{5026594F-424E-4D4A-BE78-58D0CE900B7C}"/>
                  </a:ext>
                </a:extLst>
              </p:cNvPr>
              <p:cNvSpPr/>
              <p:nvPr/>
            </p:nvSpPr>
            <p:spPr>
              <a:xfrm>
                <a:off x="6013334" y="5236460"/>
                <a:ext cx="18304" cy="18423"/>
              </a:xfrm>
              <a:custGeom>
                <a:avLst/>
                <a:gdLst>
                  <a:gd name="connsiteX0" fmla="*/ 18304 w 18304"/>
                  <a:gd name="connsiteY0" fmla="*/ 9390 h 18423"/>
                  <a:gd name="connsiteX1" fmla="*/ 8974 w 18304"/>
                  <a:gd name="connsiteY1" fmla="*/ 18421 h 18423"/>
                  <a:gd name="connsiteX2" fmla="*/ 3 w 18304"/>
                  <a:gd name="connsiteY2" fmla="*/ 9032 h 18423"/>
                  <a:gd name="connsiteX3" fmla="*/ 9333 w 18304"/>
                  <a:gd name="connsiteY3" fmla="*/ 1 h 18423"/>
                  <a:gd name="connsiteX4" fmla="*/ 18304 w 18304"/>
                  <a:gd name="connsiteY4" fmla="*/ 9390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3">
                    <a:moveTo>
                      <a:pt x="18304" y="9390"/>
                    </a:moveTo>
                    <a:cubicBezTo>
                      <a:pt x="18184" y="14474"/>
                      <a:pt x="14057" y="18541"/>
                      <a:pt x="8974" y="18421"/>
                    </a:cubicBezTo>
                    <a:cubicBezTo>
                      <a:pt x="3890" y="18302"/>
                      <a:pt x="-117" y="14115"/>
                      <a:pt x="3" y="9032"/>
                    </a:cubicBezTo>
                    <a:cubicBezTo>
                      <a:pt x="122" y="3948"/>
                      <a:pt x="4249" y="-59"/>
                      <a:pt x="9333" y="1"/>
                    </a:cubicBezTo>
                    <a:cubicBezTo>
                      <a:pt x="14356" y="61"/>
                      <a:pt x="18363" y="4307"/>
                      <a:pt x="18304" y="9390"/>
                    </a:cubicBezTo>
                    <a:close/>
                  </a:path>
                </a:pathLst>
              </a:custGeom>
              <a:grpFill/>
              <a:ln w="5978" cap="flat">
                <a:noFill/>
                <a:prstDash val="solid"/>
                <a:miter/>
              </a:ln>
            </p:spPr>
            <p:txBody>
              <a:bodyPr rtlCol="0" anchor="ctr"/>
              <a:lstStyle/>
              <a:p>
                <a:endParaRPr lang="en-GB"/>
              </a:p>
            </p:txBody>
          </p:sp>
          <p:sp>
            <p:nvSpPr>
              <p:cNvPr id="2953" name="Vrije vorm: vorm 2952">
                <a:extLst>
                  <a:ext uri="{FF2B5EF4-FFF2-40B4-BE49-F238E27FC236}">
                    <a16:creationId xmlns:a16="http://schemas.microsoft.com/office/drawing/2014/main" id="{465330BF-D3C7-494A-B89D-F90BBECAD754}"/>
                  </a:ext>
                </a:extLst>
              </p:cNvPr>
              <p:cNvSpPr/>
              <p:nvPr/>
            </p:nvSpPr>
            <p:spPr>
              <a:xfrm>
                <a:off x="6015786" y="5098483"/>
                <a:ext cx="18306" cy="18425"/>
              </a:xfrm>
              <a:custGeom>
                <a:avLst/>
                <a:gdLst>
                  <a:gd name="connsiteX0" fmla="*/ 18304 w 18306"/>
                  <a:gd name="connsiteY0" fmla="*/ 9392 h 18425"/>
                  <a:gd name="connsiteX1" fmla="*/ 9332 w 18306"/>
                  <a:gd name="connsiteY1" fmla="*/ 3 h 18425"/>
                  <a:gd name="connsiteX2" fmla="*/ 3 w 18306"/>
                  <a:gd name="connsiteY2" fmla="*/ 9033 h 18425"/>
                  <a:gd name="connsiteX3" fmla="*/ 8974 w 18306"/>
                  <a:gd name="connsiteY3" fmla="*/ 18423 h 18425"/>
                  <a:gd name="connsiteX4" fmla="*/ 18304 w 18306"/>
                  <a:gd name="connsiteY4" fmla="*/ 939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5">
                    <a:moveTo>
                      <a:pt x="18304" y="9392"/>
                    </a:moveTo>
                    <a:cubicBezTo>
                      <a:pt x="18423" y="4309"/>
                      <a:pt x="14356" y="62"/>
                      <a:pt x="9332" y="3"/>
                    </a:cubicBezTo>
                    <a:cubicBezTo>
                      <a:pt x="4249" y="-117"/>
                      <a:pt x="122" y="3950"/>
                      <a:pt x="3" y="9033"/>
                    </a:cubicBezTo>
                    <a:cubicBezTo>
                      <a:pt x="-117" y="14117"/>
                      <a:pt x="3950" y="18363"/>
                      <a:pt x="8974" y="18423"/>
                    </a:cubicBezTo>
                    <a:cubicBezTo>
                      <a:pt x="13998" y="18543"/>
                      <a:pt x="18184" y="14476"/>
                      <a:pt x="18304" y="9392"/>
                    </a:cubicBezTo>
                    <a:close/>
                  </a:path>
                </a:pathLst>
              </a:custGeom>
              <a:grpFill/>
              <a:ln w="5978" cap="flat">
                <a:noFill/>
                <a:prstDash val="solid"/>
                <a:miter/>
              </a:ln>
            </p:spPr>
            <p:txBody>
              <a:bodyPr rtlCol="0" anchor="ctr"/>
              <a:lstStyle/>
              <a:p>
                <a:endParaRPr lang="en-GB"/>
              </a:p>
            </p:txBody>
          </p:sp>
        </p:grpSp>
        <p:grpSp>
          <p:nvGrpSpPr>
            <p:cNvPr id="816" name="Graphic 3">
              <a:extLst>
                <a:ext uri="{FF2B5EF4-FFF2-40B4-BE49-F238E27FC236}">
                  <a16:creationId xmlns:a16="http://schemas.microsoft.com/office/drawing/2014/main" id="{5B2A1058-5882-44E7-B83F-E7DAE2B2D965}"/>
                </a:ext>
              </a:extLst>
            </p:cNvPr>
            <p:cNvGrpSpPr/>
            <p:nvPr/>
          </p:nvGrpSpPr>
          <p:grpSpPr>
            <a:xfrm>
              <a:off x="4916393" y="1947946"/>
              <a:ext cx="35982" cy="41218"/>
              <a:chOff x="4916393" y="1947946"/>
              <a:chExt cx="35982" cy="41218"/>
            </a:xfrm>
            <a:grpFill/>
          </p:grpSpPr>
          <p:sp>
            <p:nvSpPr>
              <p:cNvPr id="2948" name="Vrije vorm: vorm 2947">
                <a:extLst>
                  <a:ext uri="{FF2B5EF4-FFF2-40B4-BE49-F238E27FC236}">
                    <a16:creationId xmlns:a16="http://schemas.microsoft.com/office/drawing/2014/main" id="{F3DC8FD7-A1EA-4696-ACA6-1F6361E9C191}"/>
                  </a:ext>
                </a:extLst>
              </p:cNvPr>
              <p:cNvSpPr/>
              <p:nvPr/>
            </p:nvSpPr>
            <p:spPr>
              <a:xfrm>
                <a:off x="4924067" y="1955856"/>
                <a:ext cx="20573" cy="25418"/>
              </a:xfrm>
              <a:custGeom>
                <a:avLst/>
                <a:gdLst>
                  <a:gd name="connsiteX0" fmla="*/ 20574 w 20573"/>
                  <a:gd name="connsiteY0" fmla="*/ 23504 h 25418"/>
                  <a:gd name="connsiteX1" fmla="*/ 18181 w 20573"/>
                  <a:gd name="connsiteY1" fmla="*/ 25418 h 25418"/>
                  <a:gd name="connsiteX2" fmla="*/ 0 w 20573"/>
                  <a:gd name="connsiteY2" fmla="*/ 1854 h 25418"/>
                  <a:gd name="connsiteX3" fmla="*/ 2392 w 20573"/>
                  <a:gd name="connsiteY3" fmla="*/ 0 h 25418"/>
                </a:gdLst>
                <a:ahLst/>
                <a:cxnLst>
                  <a:cxn ang="0">
                    <a:pos x="connsiteX0" y="connsiteY0"/>
                  </a:cxn>
                  <a:cxn ang="0">
                    <a:pos x="connsiteX1" y="connsiteY1"/>
                  </a:cxn>
                  <a:cxn ang="0">
                    <a:pos x="connsiteX2" y="connsiteY2"/>
                  </a:cxn>
                  <a:cxn ang="0">
                    <a:pos x="connsiteX3" y="connsiteY3"/>
                  </a:cxn>
                </a:cxnLst>
                <a:rect l="l" t="t" r="r" b="b"/>
                <a:pathLst>
                  <a:path w="20573" h="25418">
                    <a:moveTo>
                      <a:pt x="20574" y="23504"/>
                    </a:moveTo>
                    <a:lnTo>
                      <a:pt x="18181" y="25418"/>
                    </a:lnTo>
                    <a:lnTo>
                      <a:pt x="0" y="1854"/>
                    </a:lnTo>
                    <a:lnTo>
                      <a:pt x="2392" y="0"/>
                    </a:lnTo>
                    <a:close/>
                  </a:path>
                </a:pathLst>
              </a:custGeom>
              <a:grpFill/>
              <a:ln w="5978" cap="flat">
                <a:noFill/>
                <a:prstDash val="solid"/>
                <a:miter/>
              </a:ln>
            </p:spPr>
            <p:txBody>
              <a:bodyPr rtlCol="0" anchor="ctr"/>
              <a:lstStyle/>
              <a:p>
                <a:endParaRPr lang="en-GB"/>
              </a:p>
            </p:txBody>
          </p:sp>
          <p:sp>
            <p:nvSpPr>
              <p:cNvPr id="2949" name="Vrije vorm: vorm 2948">
                <a:extLst>
                  <a:ext uri="{FF2B5EF4-FFF2-40B4-BE49-F238E27FC236}">
                    <a16:creationId xmlns:a16="http://schemas.microsoft.com/office/drawing/2014/main" id="{63D4BBF9-D30C-4A07-BF95-9E9B0AB996D0}"/>
                  </a:ext>
                </a:extLst>
              </p:cNvPr>
              <p:cNvSpPr/>
              <p:nvPr/>
            </p:nvSpPr>
            <p:spPr>
              <a:xfrm>
                <a:off x="4916393" y="1947946"/>
                <a:ext cx="18338" cy="18406"/>
              </a:xfrm>
              <a:custGeom>
                <a:avLst/>
                <a:gdLst>
                  <a:gd name="connsiteX0" fmla="*/ 1933 w 18338"/>
                  <a:gd name="connsiteY0" fmla="*/ 14847 h 18406"/>
                  <a:gd name="connsiteX1" fmla="*/ 3548 w 18338"/>
                  <a:gd name="connsiteY1" fmla="*/ 1929 h 18406"/>
                  <a:gd name="connsiteX2" fmla="*/ 16406 w 18338"/>
                  <a:gd name="connsiteY2" fmla="*/ 3603 h 18406"/>
                  <a:gd name="connsiteX3" fmla="*/ 14791 w 18338"/>
                  <a:gd name="connsiteY3" fmla="*/ 16522 h 18406"/>
                  <a:gd name="connsiteX4" fmla="*/ 1933 w 18338"/>
                  <a:gd name="connsiteY4" fmla="*/ 1484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6">
                    <a:moveTo>
                      <a:pt x="1933" y="14847"/>
                    </a:moveTo>
                    <a:cubicBezTo>
                      <a:pt x="-1177" y="10840"/>
                      <a:pt x="-459" y="5038"/>
                      <a:pt x="3548" y="1929"/>
                    </a:cubicBezTo>
                    <a:cubicBezTo>
                      <a:pt x="7555" y="-1181"/>
                      <a:pt x="13296" y="-464"/>
                      <a:pt x="16406" y="3603"/>
                    </a:cubicBezTo>
                    <a:cubicBezTo>
                      <a:pt x="19516" y="7610"/>
                      <a:pt x="18798" y="13412"/>
                      <a:pt x="14791" y="16522"/>
                    </a:cubicBezTo>
                    <a:cubicBezTo>
                      <a:pt x="10784" y="19572"/>
                      <a:pt x="5043" y="18854"/>
                      <a:pt x="1933" y="14847"/>
                    </a:cubicBezTo>
                    <a:close/>
                  </a:path>
                </a:pathLst>
              </a:custGeom>
              <a:grpFill/>
              <a:ln w="5978" cap="flat">
                <a:noFill/>
                <a:prstDash val="solid"/>
                <a:miter/>
              </a:ln>
            </p:spPr>
            <p:txBody>
              <a:bodyPr rtlCol="0" anchor="ctr"/>
              <a:lstStyle/>
              <a:p>
                <a:endParaRPr lang="en-GB"/>
              </a:p>
            </p:txBody>
          </p:sp>
          <p:sp>
            <p:nvSpPr>
              <p:cNvPr id="2950" name="Vrije vorm: vorm 2949">
                <a:extLst>
                  <a:ext uri="{FF2B5EF4-FFF2-40B4-BE49-F238E27FC236}">
                    <a16:creationId xmlns:a16="http://schemas.microsoft.com/office/drawing/2014/main" id="{7903454A-F20C-4D60-87FF-77296BD02B8B}"/>
                  </a:ext>
                </a:extLst>
              </p:cNvPr>
              <p:cNvSpPr/>
              <p:nvPr/>
            </p:nvSpPr>
            <p:spPr>
              <a:xfrm>
                <a:off x="4934036" y="1970751"/>
                <a:ext cx="18338" cy="18413"/>
              </a:xfrm>
              <a:custGeom>
                <a:avLst/>
                <a:gdLst>
                  <a:gd name="connsiteX0" fmla="*/ 1933 w 18338"/>
                  <a:gd name="connsiteY0" fmla="*/ 14829 h 18413"/>
                  <a:gd name="connsiteX1" fmla="*/ 14791 w 18338"/>
                  <a:gd name="connsiteY1" fmla="*/ 16503 h 18413"/>
                  <a:gd name="connsiteX2" fmla="*/ 16406 w 18338"/>
                  <a:gd name="connsiteY2" fmla="*/ 3585 h 18413"/>
                  <a:gd name="connsiteX3" fmla="*/ 3548 w 18338"/>
                  <a:gd name="connsiteY3" fmla="*/ 1910 h 18413"/>
                  <a:gd name="connsiteX4" fmla="*/ 1933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3" y="14829"/>
                    </a:moveTo>
                    <a:cubicBezTo>
                      <a:pt x="5043" y="18836"/>
                      <a:pt x="10784" y="19613"/>
                      <a:pt x="14791" y="16503"/>
                    </a:cubicBezTo>
                    <a:cubicBezTo>
                      <a:pt x="18798" y="13393"/>
                      <a:pt x="19516" y="7592"/>
                      <a:pt x="16406" y="3585"/>
                    </a:cubicBezTo>
                    <a:cubicBezTo>
                      <a:pt x="13296" y="-422"/>
                      <a:pt x="7555" y="-1200"/>
                      <a:pt x="3548" y="1910"/>
                    </a:cubicBezTo>
                    <a:cubicBezTo>
                      <a:pt x="-459" y="5020"/>
                      <a:pt x="-1177" y="10822"/>
                      <a:pt x="1933" y="14829"/>
                    </a:cubicBezTo>
                    <a:close/>
                  </a:path>
                </a:pathLst>
              </a:custGeom>
              <a:grpFill/>
              <a:ln w="5978" cap="flat">
                <a:noFill/>
                <a:prstDash val="solid"/>
                <a:miter/>
              </a:ln>
            </p:spPr>
            <p:txBody>
              <a:bodyPr rtlCol="0" anchor="ctr"/>
              <a:lstStyle/>
              <a:p>
                <a:endParaRPr lang="en-GB"/>
              </a:p>
            </p:txBody>
          </p:sp>
        </p:grpSp>
        <p:grpSp>
          <p:nvGrpSpPr>
            <p:cNvPr id="817" name="Graphic 3">
              <a:extLst>
                <a:ext uri="{FF2B5EF4-FFF2-40B4-BE49-F238E27FC236}">
                  <a16:creationId xmlns:a16="http://schemas.microsoft.com/office/drawing/2014/main" id="{B6AB7F95-DAC0-4814-8909-17125ABEE29C}"/>
                </a:ext>
              </a:extLst>
            </p:cNvPr>
            <p:cNvGrpSpPr/>
            <p:nvPr/>
          </p:nvGrpSpPr>
          <p:grpSpPr>
            <a:xfrm>
              <a:off x="6048008" y="5095531"/>
              <a:ext cx="47938" cy="476471"/>
              <a:chOff x="6048008" y="5095531"/>
              <a:chExt cx="47938" cy="476471"/>
            </a:xfrm>
            <a:grpFill/>
          </p:grpSpPr>
          <p:sp>
            <p:nvSpPr>
              <p:cNvPr id="2945" name="Vrije vorm: vorm 2944">
                <a:extLst>
                  <a:ext uri="{FF2B5EF4-FFF2-40B4-BE49-F238E27FC236}">
                    <a16:creationId xmlns:a16="http://schemas.microsoft.com/office/drawing/2014/main" id="{50490E16-6A63-4583-BC2A-CAAE6BFCE6DA}"/>
                  </a:ext>
                </a:extLst>
              </p:cNvPr>
              <p:cNvSpPr/>
              <p:nvPr/>
            </p:nvSpPr>
            <p:spPr>
              <a:xfrm>
                <a:off x="6055620" y="5104167"/>
                <a:ext cx="32714" cy="459199"/>
              </a:xfrm>
              <a:custGeom>
                <a:avLst/>
                <a:gdLst>
                  <a:gd name="connsiteX0" fmla="*/ 32714 w 32714"/>
                  <a:gd name="connsiteY0" fmla="*/ 239 h 459199"/>
                  <a:gd name="connsiteX1" fmla="*/ 3050 w 32714"/>
                  <a:gd name="connsiteY1" fmla="*/ 459200 h 459199"/>
                  <a:gd name="connsiteX2" fmla="*/ 0 w 32714"/>
                  <a:gd name="connsiteY2" fmla="*/ 458961 h 459199"/>
                  <a:gd name="connsiteX3" fmla="*/ 29665 w 32714"/>
                  <a:gd name="connsiteY3" fmla="*/ 0 h 459199"/>
                </a:gdLst>
                <a:ahLst/>
                <a:cxnLst>
                  <a:cxn ang="0">
                    <a:pos x="connsiteX0" y="connsiteY0"/>
                  </a:cxn>
                  <a:cxn ang="0">
                    <a:pos x="connsiteX1" y="connsiteY1"/>
                  </a:cxn>
                  <a:cxn ang="0">
                    <a:pos x="connsiteX2" y="connsiteY2"/>
                  </a:cxn>
                  <a:cxn ang="0">
                    <a:pos x="connsiteX3" y="connsiteY3"/>
                  </a:cxn>
                </a:cxnLst>
                <a:rect l="l" t="t" r="r" b="b"/>
                <a:pathLst>
                  <a:path w="32714" h="459199">
                    <a:moveTo>
                      <a:pt x="32714" y="239"/>
                    </a:moveTo>
                    <a:lnTo>
                      <a:pt x="3050" y="459200"/>
                    </a:lnTo>
                    <a:lnTo>
                      <a:pt x="0" y="458961"/>
                    </a:lnTo>
                    <a:lnTo>
                      <a:pt x="29665" y="0"/>
                    </a:lnTo>
                    <a:close/>
                  </a:path>
                </a:pathLst>
              </a:custGeom>
              <a:grpFill/>
              <a:ln w="5978" cap="flat">
                <a:noFill/>
                <a:prstDash val="solid"/>
                <a:miter/>
              </a:ln>
            </p:spPr>
            <p:txBody>
              <a:bodyPr rtlCol="0" anchor="ctr"/>
              <a:lstStyle/>
              <a:p>
                <a:endParaRPr lang="en-GB"/>
              </a:p>
            </p:txBody>
          </p:sp>
          <p:sp>
            <p:nvSpPr>
              <p:cNvPr id="2946" name="Vrije vorm: vorm 2945">
                <a:extLst>
                  <a:ext uri="{FF2B5EF4-FFF2-40B4-BE49-F238E27FC236}">
                    <a16:creationId xmlns:a16="http://schemas.microsoft.com/office/drawing/2014/main" id="{F2CC0192-CC8B-4D6C-A42D-B049FCA3C57A}"/>
                  </a:ext>
                </a:extLst>
              </p:cNvPr>
              <p:cNvSpPr/>
              <p:nvPr/>
            </p:nvSpPr>
            <p:spPr>
              <a:xfrm>
                <a:off x="6077613" y="5095531"/>
                <a:ext cx="18333" cy="18407"/>
              </a:xfrm>
              <a:custGeom>
                <a:avLst/>
                <a:gdLst>
                  <a:gd name="connsiteX0" fmla="*/ 16 w 18333"/>
                  <a:gd name="connsiteY0" fmla="*/ 8576 h 18407"/>
                  <a:gd name="connsiteX1" fmla="*/ 9765 w 18333"/>
                  <a:gd name="connsiteY1" fmla="*/ 23 h 18407"/>
                  <a:gd name="connsiteX2" fmla="*/ 18317 w 18333"/>
                  <a:gd name="connsiteY2" fmla="*/ 9832 h 18407"/>
                  <a:gd name="connsiteX3" fmla="*/ 8569 w 18333"/>
                  <a:gd name="connsiteY3" fmla="*/ 18384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315" y="3492"/>
                      <a:pt x="4682" y="-336"/>
                      <a:pt x="9765" y="23"/>
                    </a:cubicBezTo>
                    <a:cubicBezTo>
                      <a:pt x="14789" y="382"/>
                      <a:pt x="18616" y="4748"/>
                      <a:pt x="18317" y="9832"/>
                    </a:cubicBezTo>
                    <a:cubicBezTo>
                      <a:pt x="18018" y="14916"/>
                      <a:pt x="13653" y="18743"/>
                      <a:pt x="8569" y="18384"/>
                    </a:cubicBezTo>
                    <a:cubicBezTo>
                      <a:pt x="3545" y="18025"/>
                      <a:pt x="-283" y="13660"/>
                      <a:pt x="16" y="8576"/>
                    </a:cubicBezTo>
                    <a:close/>
                  </a:path>
                </a:pathLst>
              </a:custGeom>
              <a:grpFill/>
              <a:ln w="5978" cap="flat">
                <a:noFill/>
                <a:prstDash val="solid"/>
                <a:miter/>
              </a:ln>
            </p:spPr>
            <p:txBody>
              <a:bodyPr rtlCol="0" anchor="ctr"/>
              <a:lstStyle/>
              <a:p>
                <a:endParaRPr lang="en-GB"/>
              </a:p>
            </p:txBody>
          </p:sp>
          <p:sp>
            <p:nvSpPr>
              <p:cNvPr id="2947" name="Vrije vorm: vorm 2946">
                <a:extLst>
                  <a:ext uri="{FF2B5EF4-FFF2-40B4-BE49-F238E27FC236}">
                    <a16:creationId xmlns:a16="http://schemas.microsoft.com/office/drawing/2014/main" id="{48920033-9821-4E68-AF55-14080F2AC41F}"/>
                  </a:ext>
                </a:extLst>
              </p:cNvPr>
              <p:cNvSpPr/>
              <p:nvPr/>
            </p:nvSpPr>
            <p:spPr>
              <a:xfrm>
                <a:off x="6048008" y="5553595"/>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3" y="18743"/>
                      <a:pt x="17959" y="14915"/>
                      <a:pt x="18317" y="9832"/>
                    </a:cubicBezTo>
                    <a:cubicBezTo>
                      <a:pt x="18616" y="4748"/>
                      <a:pt x="14789" y="382"/>
                      <a:pt x="9765" y="23"/>
                    </a:cubicBezTo>
                    <a:cubicBezTo>
                      <a:pt x="4741" y="-336"/>
                      <a:pt x="375" y="3492"/>
                      <a:pt x="16" y="8576"/>
                    </a:cubicBezTo>
                    <a:close/>
                  </a:path>
                </a:pathLst>
              </a:custGeom>
              <a:grpFill/>
              <a:ln w="5978" cap="flat">
                <a:noFill/>
                <a:prstDash val="solid"/>
                <a:miter/>
              </a:ln>
            </p:spPr>
            <p:txBody>
              <a:bodyPr rtlCol="0" anchor="ctr"/>
              <a:lstStyle/>
              <a:p>
                <a:endParaRPr lang="en-GB"/>
              </a:p>
            </p:txBody>
          </p:sp>
        </p:grpSp>
        <p:grpSp>
          <p:nvGrpSpPr>
            <p:cNvPr id="818" name="Graphic 3">
              <a:extLst>
                <a:ext uri="{FF2B5EF4-FFF2-40B4-BE49-F238E27FC236}">
                  <a16:creationId xmlns:a16="http://schemas.microsoft.com/office/drawing/2014/main" id="{4818259A-0693-4A0F-97B5-3FF351C8E611}"/>
                </a:ext>
              </a:extLst>
            </p:cNvPr>
            <p:cNvGrpSpPr/>
            <p:nvPr/>
          </p:nvGrpSpPr>
          <p:grpSpPr>
            <a:xfrm>
              <a:off x="6083906" y="5379997"/>
              <a:ext cx="19861" cy="100298"/>
              <a:chOff x="6083906" y="5379997"/>
              <a:chExt cx="19861" cy="100298"/>
            </a:xfrm>
            <a:grpFill/>
          </p:grpSpPr>
          <p:sp>
            <p:nvSpPr>
              <p:cNvPr id="2942" name="Vrije vorm: vorm 2941">
                <a:extLst>
                  <a:ext uri="{FF2B5EF4-FFF2-40B4-BE49-F238E27FC236}">
                    <a16:creationId xmlns:a16="http://schemas.microsoft.com/office/drawing/2014/main" id="{8D4194D0-1552-4294-9619-8FA030576F9B}"/>
                  </a:ext>
                </a:extLst>
              </p:cNvPr>
              <p:cNvSpPr/>
              <p:nvPr/>
            </p:nvSpPr>
            <p:spPr>
              <a:xfrm>
                <a:off x="6091504" y="5388730"/>
                <a:ext cx="4664" cy="82832"/>
              </a:xfrm>
              <a:custGeom>
                <a:avLst/>
                <a:gdLst>
                  <a:gd name="connsiteX0" fmla="*/ 3050 w 4664"/>
                  <a:gd name="connsiteY0" fmla="*/ 0 h 82832"/>
                  <a:gd name="connsiteX1" fmla="*/ 4665 w 4664"/>
                  <a:gd name="connsiteY1" fmla="*/ 82833 h 82832"/>
                  <a:gd name="connsiteX2" fmla="*/ 1615 w 4664"/>
                  <a:gd name="connsiteY2" fmla="*/ 82833 h 82832"/>
                  <a:gd name="connsiteX3" fmla="*/ 0 w 4664"/>
                  <a:gd name="connsiteY3" fmla="*/ 60 h 82832"/>
                </a:gdLst>
                <a:ahLst/>
                <a:cxnLst>
                  <a:cxn ang="0">
                    <a:pos x="connsiteX0" y="connsiteY0"/>
                  </a:cxn>
                  <a:cxn ang="0">
                    <a:pos x="connsiteX1" y="connsiteY1"/>
                  </a:cxn>
                  <a:cxn ang="0">
                    <a:pos x="connsiteX2" y="connsiteY2"/>
                  </a:cxn>
                  <a:cxn ang="0">
                    <a:pos x="connsiteX3" y="connsiteY3"/>
                  </a:cxn>
                </a:cxnLst>
                <a:rect l="l" t="t" r="r" b="b"/>
                <a:pathLst>
                  <a:path w="4664" h="82832">
                    <a:moveTo>
                      <a:pt x="3050" y="0"/>
                    </a:moveTo>
                    <a:lnTo>
                      <a:pt x="4665" y="82833"/>
                    </a:lnTo>
                    <a:lnTo>
                      <a:pt x="1615" y="82833"/>
                    </a:lnTo>
                    <a:lnTo>
                      <a:pt x="0" y="60"/>
                    </a:lnTo>
                    <a:close/>
                  </a:path>
                </a:pathLst>
              </a:custGeom>
              <a:grpFill/>
              <a:ln w="5978" cap="flat">
                <a:noFill/>
                <a:prstDash val="solid"/>
                <a:miter/>
              </a:ln>
            </p:spPr>
            <p:txBody>
              <a:bodyPr rtlCol="0" anchor="ctr"/>
              <a:lstStyle/>
              <a:p>
                <a:endParaRPr lang="en-GB"/>
              </a:p>
            </p:txBody>
          </p:sp>
          <p:sp>
            <p:nvSpPr>
              <p:cNvPr id="2943" name="Vrije vorm: vorm 2942">
                <a:extLst>
                  <a:ext uri="{FF2B5EF4-FFF2-40B4-BE49-F238E27FC236}">
                    <a16:creationId xmlns:a16="http://schemas.microsoft.com/office/drawing/2014/main" id="{2CD069CE-DF20-48D7-9424-E3ED41D99505}"/>
                  </a:ext>
                </a:extLst>
              </p:cNvPr>
              <p:cNvSpPr/>
              <p:nvPr/>
            </p:nvSpPr>
            <p:spPr>
              <a:xfrm>
                <a:off x="6085461" y="5461873"/>
                <a:ext cx="18306" cy="18422"/>
              </a:xfrm>
              <a:custGeom>
                <a:avLst/>
                <a:gdLst>
                  <a:gd name="connsiteX0" fmla="*/ 18304 w 18306"/>
                  <a:gd name="connsiteY0" fmla="*/ 9091 h 18422"/>
                  <a:gd name="connsiteX1" fmla="*/ 9332 w 18306"/>
                  <a:gd name="connsiteY1" fmla="*/ 18421 h 18422"/>
                  <a:gd name="connsiteX2" fmla="*/ 3 w 18306"/>
                  <a:gd name="connsiteY2" fmla="*/ 9331 h 18422"/>
                  <a:gd name="connsiteX3" fmla="*/ 8974 w 18306"/>
                  <a:gd name="connsiteY3" fmla="*/ 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423" y="14175"/>
                      <a:pt x="14356" y="18362"/>
                      <a:pt x="9332" y="18421"/>
                    </a:cubicBezTo>
                    <a:cubicBezTo>
                      <a:pt x="4249" y="18481"/>
                      <a:pt x="62" y="14414"/>
                      <a:pt x="3" y="9331"/>
                    </a:cubicBezTo>
                    <a:cubicBezTo>
                      <a:pt x="-117" y="4247"/>
                      <a:pt x="3950" y="61"/>
                      <a:pt x="8974" y="1"/>
                    </a:cubicBezTo>
                    <a:cubicBezTo>
                      <a:pt x="14057" y="-59"/>
                      <a:pt x="18244" y="4008"/>
                      <a:pt x="18304" y="9091"/>
                    </a:cubicBezTo>
                    <a:close/>
                  </a:path>
                </a:pathLst>
              </a:custGeom>
              <a:grpFill/>
              <a:ln w="5978" cap="flat">
                <a:noFill/>
                <a:prstDash val="solid"/>
                <a:miter/>
              </a:ln>
            </p:spPr>
            <p:txBody>
              <a:bodyPr rtlCol="0" anchor="ctr"/>
              <a:lstStyle/>
              <a:p>
                <a:endParaRPr lang="en-GB"/>
              </a:p>
            </p:txBody>
          </p:sp>
          <p:sp>
            <p:nvSpPr>
              <p:cNvPr id="2944" name="Vrije vorm: vorm 2943">
                <a:extLst>
                  <a:ext uri="{FF2B5EF4-FFF2-40B4-BE49-F238E27FC236}">
                    <a16:creationId xmlns:a16="http://schemas.microsoft.com/office/drawing/2014/main" id="{E899780C-1734-438A-BAF4-863D3A96BCE6}"/>
                  </a:ext>
                </a:extLst>
              </p:cNvPr>
              <p:cNvSpPr/>
              <p:nvPr/>
            </p:nvSpPr>
            <p:spPr>
              <a:xfrm>
                <a:off x="6083906" y="5379997"/>
                <a:ext cx="18306" cy="18422"/>
              </a:xfrm>
              <a:custGeom>
                <a:avLst/>
                <a:gdLst>
                  <a:gd name="connsiteX0" fmla="*/ 18304 w 18306"/>
                  <a:gd name="connsiteY0" fmla="*/ 9091 h 18422"/>
                  <a:gd name="connsiteX1" fmla="*/ 8974 w 18306"/>
                  <a:gd name="connsiteY1" fmla="*/ 1 h 18422"/>
                  <a:gd name="connsiteX2" fmla="*/ 3 w 18306"/>
                  <a:gd name="connsiteY2" fmla="*/ 9331 h 18422"/>
                  <a:gd name="connsiteX3" fmla="*/ 9333 w 18306"/>
                  <a:gd name="connsiteY3" fmla="*/ 1842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184" y="4008"/>
                      <a:pt x="13998" y="-59"/>
                      <a:pt x="8974" y="1"/>
                    </a:cubicBezTo>
                    <a:cubicBezTo>
                      <a:pt x="3890" y="61"/>
                      <a:pt x="-117" y="4247"/>
                      <a:pt x="3" y="9331"/>
                    </a:cubicBezTo>
                    <a:cubicBezTo>
                      <a:pt x="122" y="14414"/>
                      <a:pt x="4309" y="18481"/>
                      <a:pt x="9333" y="18421"/>
                    </a:cubicBezTo>
                    <a:cubicBezTo>
                      <a:pt x="14356" y="18362"/>
                      <a:pt x="18423" y="14175"/>
                      <a:pt x="18304" y="9091"/>
                    </a:cubicBezTo>
                    <a:close/>
                  </a:path>
                </a:pathLst>
              </a:custGeom>
              <a:grpFill/>
              <a:ln w="5978" cap="flat">
                <a:noFill/>
                <a:prstDash val="solid"/>
                <a:miter/>
              </a:ln>
            </p:spPr>
            <p:txBody>
              <a:bodyPr rtlCol="0" anchor="ctr"/>
              <a:lstStyle/>
              <a:p>
                <a:endParaRPr lang="en-GB"/>
              </a:p>
            </p:txBody>
          </p:sp>
        </p:grpSp>
        <p:grpSp>
          <p:nvGrpSpPr>
            <p:cNvPr id="819" name="Graphic 3">
              <a:extLst>
                <a:ext uri="{FF2B5EF4-FFF2-40B4-BE49-F238E27FC236}">
                  <a16:creationId xmlns:a16="http://schemas.microsoft.com/office/drawing/2014/main" id="{72AB6DA1-E1A8-444F-BC0B-DC83851BE934}"/>
                </a:ext>
              </a:extLst>
            </p:cNvPr>
            <p:cNvGrpSpPr/>
            <p:nvPr/>
          </p:nvGrpSpPr>
          <p:grpSpPr>
            <a:xfrm>
              <a:off x="6047247" y="5240408"/>
              <a:ext cx="18360" cy="155080"/>
              <a:chOff x="6047247" y="5240408"/>
              <a:chExt cx="18360" cy="155080"/>
            </a:xfrm>
            <a:grpFill/>
          </p:grpSpPr>
          <p:sp>
            <p:nvSpPr>
              <p:cNvPr id="2939" name="Vrije vorm: vorm 2938">
                <a:extLst>
                  <a:ext uri="{FF2B5EF4-FFF2-40B4-BE49-F238E27FC236}">
                    <a16:creationId xmlns:a16="http://schemas.microsoft.com/office/drawing/2014/main" id="{D7C2F870-5AED-46CA-9571-9AAC362805A3}"/>
                  </a:ext>
                </a:extLst>
              </p:cNvPr>
              <p:cNvSpPr/>
              <p:nvPr/>
            </p:nvSpPr>
            <p:spPr>
              <a:xfrm>
                <a:off x="6054843" y="5249199"/>
                <a:ext cx="3169" cy="137497"/>
              </a:xfrm>
              <a:custGeom>
                <a:avLst/>
                <a:gdLst>
                  <a:gd name="connsiteX0" fmla="*/ 3050 w 3169"/>
                  <a:gd name="connsiteY0" fmla="*/ 0 h 137497"/>
                  <a:gd name="connsiteX1" fmla="*/ 3170 w 3169"/>
                  <a:gd name="connsiteY1" fmla="*/ 137497 h 137497"/>
                  <a:gd name="connsiteX2" fmla="*/ 120 w 3169"/>
                  <a:gd name="connsiteY2" fmla="*/ 137497 h 137497"/>
                  <a:gd name="connsiteX3" fmla="*/ 0 w 3169"/>
                  <a:gd name="connsiteY3" fmla="*/ 0 h 137497"/>
                </a:gdLst>
                <a:ahLst/>
                <a:cxnLst>
                  <a:cxn ang="0">
                    <a:pos x="connsiteX0" y="connsiteY0"/>
                  </a:cxn>
                  <a:cxn ang="0">
                    <a:pos x="connsiteX1" y="connsiteY1"/>
                  </a:cxn>
                  <a:cxn ang="0">
                    <a:pos x="connsiteX2" y="connsiteY2"/>
                  </a:cxn>
                  <a:cxn ang="0">
                    <a:pos x="connsiteX3" y="connsiteY3"/>
                  </a:cxn>
                </a:cxnLst>
                <a:rect l="l" t="t" r="r" b="b"/>
                <a:pathLst>
                  <a:path w="3169" h="137497">
                    <a:moveTo>
                      <a:pt x="3050" y="0"/>
                    </a:moveTo>
                    <a:lnTo>
                      <a:pt x="3170" y="137497"/>
                    </a:lnTo>
                    <a:lnTo>
                      <a:pt x="120" y="137497"/>
                    </a:lnTo>
                    <a:lnTo>
                      <a:pt x="0" y="0"/>
                    </a:lnTo>
                    <a:close/>
                  </a:path>
                </a:pathLst>
              </a:custGeom>
              <a:grpFill/>
              <a:ln w="5978" cap="flat">
                <a:noFill/>
                <a:prstDash val="solid"/>
                <a:miter/>
              </a:ln>
            </p:spPr>
            <p:txBody>
              <a:bodyPr rtlCol="0" anchor="ctr"/>
              <a:lstStyle/>
              <a:p>
                <a:endParaRPr lang="en-GB"/>
              </a:p>
            </p:txBody>
          </p:sp>
          <p:sp>
            <p:nvSpPr>
              <p:cNvPr id="2940" name="Vrije vorm: vorm 2939">
                <a:extLst>
                  <a:ext uri="{FF2B5EF4-FFF2-40B4-BE49-F238E27FC236}">
                    <a16:creationId xmlns:a16="http://schemas.microsoft.com/office/drawing/2014/main" id="{5A0A16F5-ACC7-4C1E-AD83-E3ABA54D8D76}"/>
                  </a:ext>
                </a:extLst>
              </p:cNvPr>
              <p:cNvSpPr/>
              <p:nvPr/>
            </p:nvSpPr>
            <p:spPr>
              <a:xfrm>
                <a:off x="6047307" y="5377007"/>
                <a:ext cx="18300" cy="18480"/>
              </a:xfrm>
              <a:custGeom>
                <a:avLst/>
                <a:gdLst>
                  <a:gd name="connsiteX0" fmla="*/ 18301 w 18300"/>
                  <a:gd name="connsiteY0" fmla="*/ 9270 h 18480"/>
                  <a:gd name="connsiteX1" fmla="*/ 9151 w 18300"/>
                  <a:gd name="connsiteY1" fmla="*/ 18481 h 18480"/>
                  <a:gd name="connsiteX2" fmla="*/ 0 w 18300"/>
                  <a:gd name="connsiteY2" fmla="*/ 9211 h 18480"/>
                  <a:gd name="connsiteX3" fmla="*/ 9151 w 18300"/>
                  <a:gd name="connsiteY3" fmla="*/ 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14354"/>
                      <a:pt x="14174" y="18481"/>
                      <a:pt x="9151" y="18481"/>
                    </a:cubicBezTo>
                    <a:cubicBezTo>
                      <a:pt x="4067" y="18481"/>
                      <a:pt x="0" y="14354"/>
                      <a:pt x="0" y="9211"/>
                    </a:cubicBezTo>
                    <a:cubicBezTo>
                      <a:pt x="0" y="4127"/>
                      <a:pt x="4127" y="0"/>
                      <a:pt x="9151" y="0"/>
                    </a:cubicBezTo>
                    <a:cubicBezTo>
                      <a:pt x="14234" y="0"/>
                      <a:pt x="18301" y="4187"/>
                      <a:pt x="18301" y="9270"/>
                    </a:cubicBezTo>
                    <a:close/>
                  </a:path>
                </a:pathLst>
              </a:custGeom>
              <a:grpFill/>
              <a:ln w="5978" cap="flat">
                <a:noFill/>
                <a:prstDash val="solid"/>
                <a:miter/>
              </a:ln>
            </p:spPr>
            <p:txBody>
              <a:bodyPr rtlCol="0" anchor="ctr"/>
              <a:lstStyle/>
              <a:p>
                <a:endParaRPr lang="en-GB"/>
              </a:p>
            </p:txBody>
          </p:sp>
          <p:sp>
            <p:nvSpPr>
              <p:cNvPr id="2941" name="Vrije vorm: vorm 2940">
                <a:extLst>
                  <a:ext uri="{FF2B5EF4-FFF2-40B4-BE49-F238E27FC236}">
                    <a16:creationId xmlns:a16="http://schemas.microsoft.com/office/drawing/2014/main" id="{78B9747B-8A3F-402F-8E76-31189C13FCF8}"/>
                  </a:ext>
                </a:extLst>
              </p:cNvPr>
              <p:cNvSpPr/>
              <p:nvPr/>
            </p:nvSpPr>
            <p:spPr>
              <a:xfrm>
                <a:off x="6047247" y="5240408"/>
                <a:ext cx="18300" cy="18480"/>
              </a:xfrm>
              <a:custGeom>
                <a:avLst/>
                <a:gdLst>
                  <a:gd name="connsiteX0" fmla="*/ 18301 w 18300"/>
                  <a:gd name="connsiteY0" fmla="*/ 9270 h 18480"/>
                  <a:gd name="connsiteX1" fmla="*/ 9151 w 18300"/>
                  <a:gd name="connsiteY1" fmla="*/ 0 h 18480"/>
                  <a:gd name="connsiteX2" fmla="*/ 0 w 18300"/>
                  <a:gd name="connsiteY2" fmla="*/ 9210 h 18480"/>
                  <a:gd name="connsiteX3" fmla="*/ 9151 w 18300"/>
                  <a:gd name="connsiteY3" fmla="*/ 1848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4187"/>
                      <a:pt x="14174" y="60"/>
                      <a:pt x="9151" y="0"/>
                    </a:cubicBezTo>
                    <a:cubicBezTo>
                      <a:pt x="4067" y="0"/>
                      <a:pt x="0" y="4067"/>
                      <a:pt x="0" y="9210"/>
                    </a:cubicBezTo>
                    <a:cubicBezTo>
                      <a:pt x="0" y="14294"/>
                      <a:pt x="4127" y="18421"/>
                      <a:pt x="9151" y="18480"/>
                    </a:cubicBezTo>
                    <a:cubicBezTo>
                      <a:pt x="14174" y="18480"/>
                      <a:pt x="18301" y="14354"/>
                      <a:pt x="18301" y="9270"/>
                    </a:cubicBezTo>
                    <a:close/>
                  </a:path>
                </a:pathLst>
              </a:custGeom>
              <a:grpFill/>
              <a:ln w="5978" cap="flat">
                <a:noFill/>
                <a:prstDash val="solid"/>
                <a:miter/>
              </a:ln>
            </p:spPr>
            <p:txBody>
              <a:bodyPr rtlCol="0" anchor="ctr"/>
              <a:lstStyle/>
              <a:p>
                <a:endParaRPr lang="en-GB"/>
              </a:p>
            </p:txBody>
          </p:sp>
        </p:grpSp>
        <p:grpSp>
          <p:nvGrpSpPr>
            <p:cNvPr id="820" name="Graphic 3">
              <a:extLst>
                <a:ext uri="{FF2B5EF4-FFF2-40B4-BE49-F238E27FC236}">
                  <a16:creationId xmlns:a16="http://schemas.microsoft.com/office/drawing/2014/main" id="{AD284F96-B549-4FBB-849E-3398D0F737BE}"/>
                </a:ext>
              </a:extLst>
            </p:cNvPr>
            <p:cNvGrpSpPr/>
            <p:nvPr/>
          </p:nvGrpSpPr>
          <p:grpSpPr>
            <a:xfrm>
              <a:off x="4793705" y="1725799"/>
              <a:ext cx="208906" cy="274369"/>
              <a:chOff x="4793705" y="1725799"/>
              <a:chExt cx="208906" cy="274369"/>
            </a:xfrm>
            <a:grpFill/>
          </p:grpSpPr>
          <p:sp>
            <p:nvSpPr>
              <p:cNvPr id="2936" name="Vrije vorm: vorm 2935">
                <a:extLst>
                  <a:ext uri="{FF2B5EF4-FFF2-40B4-BE49-F238E27FC236}">
                    <a16:creationId xmlns:a16="http://schemas.microsoft.com/office/drawing/2014/main" id="{A6FAEA5F-AA47-4D86-AEB2-BB297427B140}"/>
                  </a:ext>
                </a:extLst>
              </p:cNvPr>
              <p:cNvSpPr/>
              <p:nvPr/>
            </p:nvSpPr>
            <p:spPr>
              <a:xfrm>
                <a:off x="4801403" y="1733732"/>
                <a:ext cx="193476" cy="258486"/>
              </a:xfrm>
              <a:custGeom>
                <a:avLst/>
                <a:gdLst>
                  <a:gd name="connsiteX0" fmla="*/ 193477 w 193476"/>
                  <a:gd name="connsiteY0" fmla="*/ 256693 h 258486"/>
                  <a:gd name="connsiteX1" fmla="*/ 191024 w 193476"/>
                  <a:gd name="connsiteY1" fmla="*/ 258487 h 258486"/>
                  <a:gd name="connsiteX2" fmla="*/ 0 w 193476"/>
                  <a:gd name="connsiteY2" fmla="*/ 1854 h 258486"/>
                  <a:gd name="connsiteX3" fmla="*/ 2392 w 193476"/>
                  <a:gd name="connsiteY3" fmla="*/ 0 h 258486"/>
                </a:gdLst>
                <a:ahLst/>
                <a:cxnLst>
                  <a:cxn ang="0">
                    <a:pos x="connsiteX0" y="connsiteY0"/>
                  </a:cxn>
                  <a:cxn ang="0">
                    <a:pos x="connsiteX1" y="connsiteY1"/>
                  </a:cxn>
                  <a:cxn ang="0">
                    <a:pos x="connsiteX2" y="connsiteY2"/>
                  </a:cxn>
                  <a:cxn ang="0">
                    <a:pos x="connsiteX3" y="connsiteY3"/>
                  </a:cxn>
                </a:cxnLst>
                <a:rect l="l" t="t" r="r" b="b"/>
                <a:pathLst>
                  <a:path w="193476" h="258486">
                    <a:moveTo>
                      <a:pt x="193477" y="256693"/>
                    </a:moveTo>
                    <a:lnTo>
                      <a:pt x="191024" y="258487"/>
                    </a:lnTo>
                    <a:lnTo>
                      <a:pt x="0" y="1854"/>
                    </a:lnTo>
                    <a:lnTo>
                      <a:pt x="2392" y="0"/>
                    </a:lnTo>
                    <a:close/>
                  </a:path>
                </a:pathLst>
              </a:custGeom>
              <a:grpFill/>
              <a:ln w="5978" cap="flat">
                <a:noFill/>
                <a:prstDash val="solid"/>
                <a:miter/>
              </a:ln>
            </p:spPr>
            <p:txBody>
              <a:bodyPr rtlCol="0" anchor="ctr"/>
              <a:lstStyle/>
              <a:p>
                <a:endParaRPr lang="en-GB"/>
              </a:p>
            </p:txBody>
          </p:sp>
          <p:sp>
            <p:nvSpPr>
              <p:cNvPr id="2937" name="Vrije vorm: vorm 2936">
                <a:extLst>
                  <a:ext uri="{FF2B5EF4-FFF2-40B4-BE49-F238E27FC236}">
                    <a16:creationId xmlns:a16="http://schemas.microsoft.com/office/drawing/2014/main" id="{465DF0A2-1132-43E1-A432-A04AEC8F3B73}"/>
                  </a:ext>
                </a:extLst>
              </p:cNvPr>
              <p:cNvSpPr/>
              <p:nvPr/>
            </p:nvSpPr>
            <p:spPr>
              <a:xfrm>
                <a:off x="4793705" y="1725799"/>
                <a:ext cx="18386" cy="18454"/>
              </a:xfrm>
              <a:custGeom>
                <a:avLst/>
                <a:gdLst>
                  <a:gd name="connsiteX0" fmla="*/ 1837 w 18386"/>
                  <a:gd name="connsiteY0" fmla="*/ 14751 h 18454"/>
                  <a:gd name="connsiteX1" fmla="*/ 3691 w 18386"/>
                  <a:gd name="connsiteY1" fmla="*/ 1833 h 18454"/>
                  <a:gd name="connsiteX2" fmla="*/ 16549 w 18386"/>
                  <a:gd name="connsiteY2" fmla="*/ 3747 h 18454"/>
                  <a:gd name="connsiteX3" fmla="*/ 14695 w 18386"/>
                  <a:gd name="connsiteY3" fmla="*/ 16665 h 18454"/>
                  <a:gd name="connsiteX4" fmla="*/ 1837 w 18386"/>
                  <a:gd name="connsiteY4" fmla="*/ 1475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6" h="18454">
                    <a:moveTo>
                      <a:pt x="1837" y="14751"/>
                    </a:moveTo>
                    <a:cubicBezTo>
                      <a:pt x="-1213" y="10684"/>
                      <a:pt x="-376" y="4883"/>
                      <a:pt x="3691" y="1833"/>
                    </a:cubicBezTo>
                    <a:cubicBezTo>
                      <a:pt x="7758" y="-1217"/>
                      <a:pt x="13499" y="-380"/>
                      <a:pt x="16549" y="3747"/>
                    </a:cubicBezTo>
                    <a:cubicBezTo>
                      <a:pt x="19599" y="7813"/>
                      <a:pt x="18762" y="13615"/>
                      <a:pt x="14695" y="16665"/>
                    </a:cubicBezTo>
                    <a:cubicBezTo>
                      <a:pt x="10628" y="19655"/>
                      <a:pt x="4887" y="18818"/>
                      <a:pt x="1837" y="14751"/>
                    </a:cubicBezTo>
                    <a:close/>
                  </a:path>
                </a:pathLst>
              </a:custGeom>
              <a:grpFill/>
              <a:ln w="5978" cap="flat">
                <a:noFill/>
                <a:prstDash val="solid"/>
                <a:miter/>
              </a:ln>
            </p:spPr>
            <p:txBody>
              <a:bodyPr rtlCol="0" anchor="ctr"/>
              <a:lstStyle/>
              <a:p>
                <a:endParaRPr lang="en-GB"/>
              </a:p>
            </p:txBody>
          </p:sp>
          <p:sp>
            <p:nvSpPr>
              <p:cNvPr id="2938" name="Vrije vorm: vorm 2937">
                <a:extLst>
                  <a:ext uri="{FF2B5EF4-FFF2-40B4-BE49-F238E27FC236}">
                    <a16:creationId xmlns:a16="http://schemas.microsoft.com/office/drawing/2014/main" id="{B45AB3C2-90CA-4A62-8D13-2A6834D45D39}"/>
                  </a:ext>
                </a:extLst>
              </p:cNvPr>
              <p:cNvSpPr/>
              <p:nvPr/>
            </p:nvSpPr>
            <p:spPr>
              <a:xfrm>
                <a:off x="4984233" y="1981757"/>
                <a:ext cx="18378" cy="18411"/>
              </a:xfrm>
              <a:custGeom>
                <a:avLst/>
                <a:gdLst>
                  <a:gd name="connsiteX0" fmla="*/ 1854 w 18378"/>
                  <a:gd name="connsiteY0" fmla="*/ 14708 h 18411"/>
                  <a:gd name="connsiteX1" fmla="*/ 14713 w 18378"/>
                  <a:gd name="connsiteY1" fmla="*/ 16622 h 18411"/>
                  <a:gd name="connsiteX2" fmla="*/ 16567 w 18378"/>
                  <a:gd name="connsiteY2" fmla="*/ 3703 h 18411"/>
                  <a:gd name="connsiteX3" fmla="*/ 3708 w 18378"/>
                  <a:gd name="connsiteY3" fmla="*/ 1790 h 18411"/>
                  <a:gd name="connsiteX4" fmla="*/ 1854 w 18378"/>
                  <a:gd name="connsiteY4" fmla="*/ 1470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11">
                    <a:moveTo>
                      <a:pt x="1854" y="14708"/>
                    </a:moveTo>
                    <a:cubicBezTo>
                      <a:pt x="4905" y="18775"/>
                      <a:pt x="10646" y="19612"/>
                      <a:pt x="14713" y="16622"/>
                    </a:cubicBezTo>
                    <a:cubicBezTo>
                      <a:pt x="18780" y="13572"/>
                      <a:pt x="19558" y="7830"/>
                      <a:pt x="16567" y="3703"/>
                    </a:cubicBezTo>
                    <a:cubicBezTo>
                      <a:pt x="13517" y="-364"/>
                      <a:pt x="7775" y="-1201"/>
                      <a:pt x="3708" y="1790"/>
                    </a:cubicBezTo>
                    <a:cubicBezTo>
                      <a:pt x="-418" y="4840"/>
                      <a:pt x="-1196" y="10641"/>
                      <a:pt x="1854" y="14708"/>
                    </a:cubicBezTo>
                    <a:close/>
                  </a:path>
                </a:pathLst>
              </a:custGeom>
              <a:grpFill/>
              <a:ln w="5978" cap="flat">
                <a:noFill/>
                <a:prstDash val="solid"/>
                <a:miter/>
              </a:ln>
            </p:spPr>
            <p:txBody>
              <a:bodyPr rtlCol="0" anchor="ctr"/>
              <a:lstStyle/>
              <a:p>
                <a:endParaRPr lang="en-GB"/>
              </a:p>
            </p:txBody>
          </p:sp>
        </p:grpSp>
        <p:grpSp>
          <p:nvGrpSpPr>
            <p:cNvPr id="821" name="Graphic 3">
              <a:extLst>
                <a:ext uri="{FF2B5EF4-FFF2-40B4-BE49-F238E27FC236}">
                  <a16:creationId xmlns:a16="http://schemas.microsoft.com/office/drawing/2014/main" id="{D44FDF04-C7B0-454F-AADC-6CE0B52C2609}"/>
                </a:ext>
              </a:extLst>
            </p:cNvPr>
            <p:cNvGrpSpPr/>
            <p:nvPr/>
          </p:nvGrpSpPr>
          <p:grpSpPr>
            <a:xfrm>
              <a:off x="4876043" y="1952393"/>
              <a:ext cx="128583" cy="155527"/>
              <a:chOff x="4876043" y="1952393"/>
              <a:chExt cx="128583" cy="155527"/>
            </a:xfrm>
            <a:grpFill/>
          </p:grpSpPr>
          <p:sp>
            <p:nvSpPr>
              <p:cNvPr id="2933" name="Vrije vorm: vorm 2932">
                <a:extLst>
                  <a:ext uri="{FF2B5EF4-FFF2-40B4-BE49-F238E27FC236}">
                    <a16:creationId xmlns:a16="http://schemas.microsoft.com/office/drawing/2014/main" id="{642BB815-D32D-4746-9F34-A4D30308B465}"/>
                  </a:ext>
                </a:extLst>
              </p:cNvPr>
              <p:cNvSpPr/>
              <p:nvPr/>
            </p:nvSpPr>
            <p:spPr>
              <a:xfrm>
                <a:off x="4883757" y="1960341"/>
                <a:ext cx="113095" cy="139649"/>
              </a:xfrm>
              <a:custGeom>
                <a:avLst/>
                <a:gdLst>
                  <a:gd name="connsiteX0" fmla="*/ 113095 w 113095"/>
                  <a:gd name="connsiteY0" fmla="*/ 137736 h 139649"/>
                  <a:gd name="connsiteX1" fmla="*/ 110763 w 113095"/>
                  <a:gd name="connsiteY1" fmla="*/ 139650 h 139649"/>
                  <a:gd name="connsiteX2" fmla="*/ 0 w 113095"/>
                  <a:gd name="connsiteY2" fmla="*/ 1914 h 139649"/>
                  <a:gd name="connsiteX3" fmla="*/ 2333 w 113095"/>
                  <a:gd name="connsiteY3" fmla="*/ 0 h 139649"/>
                </a:gdLst>
                <a:ahLst/>
                <a:cxnLst>
                  <a:cxn ang="0">
                    <a:pos x="connsiteX0" y="connsiteY0"/>
                  </a:cxn>
                  <a:cxn ang="0">
                    <a:pos x="connsiteX1" y="connsiteY1"/>
                  </a:cxn>
                  <a:cxn ang="0">
                    <a:pos x="connsiteX2" y="connsiteY2"/>
                  </a:cxn>
                  <a:cxn ang="0">
                    <a:pos x="connsiteX3" y="connsiteY3"/>
                  </a:cxn>
                </a:cxnLst>
                <a:rect l="l" t="t" r="r" b="b"/>
                <a:pathLst>
                  <a:path w="113095" h="139649">
                    <a:moveTo>
                      <a:pt x="113095" y="137736"/>
                    </a:moveTo>
                    <a:lnTo>
                      <a:pt x="110763" y="139650"/>
                    </a:lnTo>
                    <a:lnTo>
                      <a:pt x="0" y="1914"/>
                    </a:lnTo>
                    <a:lnTo>
                      <a:pt x="2333" y="0"/>
                    </a:lnTo>
                    <a:close/>
                  </a:path>
                </a:pathLst>
              </a:custGeom>
              <a:grpFill/>
              <a:ln w="5978" cap="flat">
                <a:noFill/>
                <a:prstDash val="solid"/>
                <a:miter/>
              </a:ln>
            </p:spPr>
            <p:txBody>
              <a:bodyPr rtlCol="0" anchor="ctr"/>
              <a:lstStyle/>
              <a:p>
                <a:endParaRPr lang="en-GB"/>
              </a:p>
            </p:txBody>
          </p:sp>
          <p:sp>
            <p:nvSpPr>
              <p:cNvPr id="2934" name="Vrije vorm: vorm 2933">
                <a:extLst>
                  <a:ext uri="{FF2B5EF4-FFF2-40B4-BE49-F238E27FC236}">
                    <a16:creationId xmlns:a16="http://schemas.microsoft.com/office/drawing/2014/main" id="{ADFA3144-AE95-4458-B349-A91625E3A95F}"/>
                  </a:ext>
                </a:extLst>
              </p:cNvPr>
              <p:cNvSpPr/>
              <p:nvPr/>
            </p:nvSpPr>
            <p:spPr>
              <a:xfrm>
                <a:off x="4876043" y="1952393"/>
                <a:ext cx="18358" cy="18449"/>
              </a:xfrm>
              <a:custGeom>
                <a:avLst/>
                <a:gdLst>
                  <a:gd name="connsiteX0" fmla="*/ 2032 w 18358"/>
                  <a:gd name="connsiteY0" fmla="*/ 15006 h 18449"/>
                  <a:gd name="connsiteX1" fmla="*/ 3408 w 18358"/>
                  <a:gd name="connsiteY1" fmla="*/ 2028 h 18449"/>
                  <a:gd name="connsiteX2" fmla="*/ 16326 w 18358"/>
                  <a:gd name="connsiteY2" fmla="*/ 3463 h 18449"/>
                  <a:gd name="connsiteX3" fmla="*/ 14951 w 18358"/>
                  <a:gd name="connsiteY3" fmla="*/ 16441 h 18449"/>
                  <a:gd name="connsiteX4" fmla="*/ 2032 w 18358"/>
                  <a:gd name="connsiteY4" fmla="*/ 15006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9">
                    <a:moveTo>
                      <a:pt x="2032" y="15006"/>
                    </a:moveTo>
                    <a:cubicBezTo>
                      <a:pt x="-1137" y="11058"/>
                      <a:pt x="-539" y="5257"/>
                      <a:pt x="3408" y="2028"/>
                    </a:cubicBezTo>
                    <a:cubicBezTo>
                      <a:pt x="7355" y="-1142"/>
                      <a:pt x="13097" y="-544"/>
                      <a:pt x="16326" y="3463"/>
                    </a:cubicBezTo>
                    <a:cubicBezTo>
                      <a:pt x="19496" y="7410"/>
                      <a:pt x="18898" y="13211"/>
                      <a:pt x="14951" y="16441"/>
                    </a:cubicBezTo>
                    <a:cubicBezTo>
                      <a:pt x="11003" y="19611"/>
                      <a:pt x="5262" y="18953"/>
                      <a:pt x="2032" y="15006"/>
                    </a:cubicBezTo>
                    <a:close/>
                  </a:path>
                </a:pathLst>
              </a:custGeom>
              <a:grpFill/>
              <a:ln w="5978" cap="flat">
                <a:noFill/>
                <a:prstDash val="solid"/>
                <a:miter/>
              </a:ln>
            </p:spPr>
            <p:txBody>
              <a:bodyPr rtlCol="0" anchor="ctr"/>
              <a:lstStyle/>
              <a:p>
                <a:endParaRPr lang="en-GB"/>
              </a:p>
            </p:txBody>
          </p:sp>
          <p:sp>
            <p:nvSpPr>
              <p:cNvPr id="2935" name="Vrije vorm: vorm 2934">
                <a:extLst>
                  <a:ext uri="{FF2B5EF4-FFF2-40B4-BE49-F238E27FC236}">
                    <a16:creationId xmlns:a16="http://schemas.microsoft.com/office/drawing/2014/main" id="{860C9081-BF54-4120-9CC8-FE81EA60C6F2}"/>
                  </a:ext>
                </a:extLst>
              </p:cNvPr>
              <p:cNvSpPr/>
              <p:nvPr/>
            </p:nvSpPr>
            <p:spPr>
              <a:xfrm>
                <a:off x="4986224" y="2089490"/>
                <a:ext cx="18402" cy="18430"/>
              </a:xfrm>
              <a:custGeom>
                <a:avLst/>
                <a:gdLst>
                  <a:gd name="connsiteX0" fmla="*/ 2076 w 18402"/>
                  <a:gd name="connsiteY0" fmla="*/ 14987 h 18430"/>
                  <a:gd name="connsiteX1" fmla="*/ 14995 w 18402"/>
                  <a:gd name="connsiteY1" fmla="*/ 16422 h 18430"/>
                  <a:gd name="connsiteX2" fmla="*/ 16370 w 18402"/>
                  <a:gd name="connsiteY2" fmla="*/ 3444 h 18430"/>
                  <a:gd name="connsiteX3" fmla="*/ 3452 w 18402"/>
                  <a:gd name="connsiteY3" fmla="*/ 2009 h 18430"/>
                  <a:gd name="connsiteX4" fmla="*/ 2076 w 18402"/>
                  <a:gd name="connsiteY4" fmla="*/ 149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2" h="18430">
                    <a:moveTo>
                      <a:pt x="2076" y="14987"/>
                    </a:moveTo>
                    <a:cubicBezTo>
                      <a:pt x="5246" y="18934"/>
                      <a:pt x="11047" y="19592"/>
                      <a:pt x="14995" y="16422"/>
                    </a:cubicBezTo>
                    <a:cubicBezTo>
                      <a:pt x="18942" y="13252"/>
                      <a:pt x="19540" y="7451"/>
                      <a:pt x="16370" y="3444"/>
                    </a:cubicBezTo>
                    <a:cubicBezTo>
                      <a:pt x="13200" y="-503"/>
                      <a:pt x="7399" y="-1161"/>
                      <a:pt x="3452" y="2009"/>
                    </a:cubicBezTo>
                    <a:cubicBezTo>
                      <a:pt x="-555" y="5178"/>
                      <a:pt x="-1153" y="10980"/>
                      <a:pt x="2076" y="14987"/>
                    </a:cubicBezTo>
                    <a:close/>
                  </a:path>
                </a:pathLst>
              </a:custGeom>
              <a:grpFill/>
              <a:ln w="5978" cap="flat">
                <a:noFill/>
                <a:prstDash val="solid"/>
                <a:miter/>
              </a:ln>
            </p:spPr>
            <p:txBody>
              <a:bodyPr rtlCol="0" anchor="ctr"/>
              <a:lstStyle/>
              <a:p>
                <a:endParaRPr lang="en-GB"/>
              </a:p>
            </p:txBody>
          </p:sp>
        </p:grpSp>
        <p:grpSp>
          <p:nvGrpSpPr>
            <p:cNvPr id="822" name="Graphic 3">
              <a:extLst>
                <a:ext uri="{FF2B5EF4-FFF2-40B4-BE49-F238E27FC236}">
                  <a16:creationId xmlns:a16="http://schemas.microsoft.com/office/drawing/2014/main" id="{6696F0B2-E724-44A9-8356-BAE70E535180}"/>
                </a:ext>
              </a:extLst>
            </p:cNvPr>
            <p:cNvGrpSpPr/>
            <p:nvPr/>
          </p:nvGrpSpPr>
          <p:grpSpPr>
            <a:xfrm>
              <a:off x="5979180" y="5104161"/>
              <a:ext cx="23276" cy="153417"/>
              <a:chOff x="5979180" y="5104161"/>
              <a:chExt cx="23276" cy="153417"/>
            </a:xfrm>
            <a:grpFill/>
          </p:grpSpPr>
          <p:sp>
            <p:nvSpPr>
              <p:cNvPr id="2930" name="Vrije vorm: vorm 2929">
                <a:extLst>
                  <a:ext uri="{FF2B5EF4-FFF2-40B4-BE49-F238E27FC236}">
                    <a16:creationId xmlns:a16="http://schemas.microsoft.com/office/drawing/2014/main" id="{956DB881-5BE1-4B18-8961-717EE403AC03}"/>
                  </a:ext>
                </a:extLst>
              </p:cNvPr>
              <p:cNvSpPr/>
              <p:nvPr/>
            </p:nvSpPr>
            <p:spPr>
              <a:xfrm>
                <a:off x="5986842" y="5112839"/>
                <a:ext cx="8013" cy="136001"/>
              </a:xfrm>
              <a:custGeom>
                <a:avLst/>
                <a:gdLst>
                  <a:gd name="connsiteX0" fmla="*/ 8014 w 8013"/>
                  <a:gd name="connsiteY0" fmla="*/ 120 h 136001"/>
                  <a:gd name="connsiteX1" fmla="*/ 3050 w 8013"/>
                  <a:gd name="connsiteY1" fmla="*/ 136002 h 136001"/>
                  <a:gd name="connsiteX2" fmla="*/ 0 w 8013"/>
                  <a:gd name="connsiteY2" fmla="*/ 135882 h 136001"/>
                  <a:gd name="connsiteX3" fmla="*/ 4964 w 8013"/>
                  <a:gd name="connsiteY3" fmla="*/ 0 h 136001"/>
                </a:gdLst>
                <a:ahLst/>
                <a:cxnLst>
                  <a:cxn ang="0">
                    <a:pos x="connsiteX0" y="connsiteY0"/>
                  </a:cxn>
                  <a:cxn ang="0">
                    <a:pos x="connsiteX1" y="connsiteY1"/>
                  </a:cxn>
                  <a:cxn ang="0">
                    <a:pos x="connsiteX2" y="connsiteY2"/>
                  </a:cxn>
                  <a:cxn ang="0">
                    <a:pos x="connsiteX3" y="connsiteY3"/>
                  </a:cxn>
                </a:cxnLst>
                <a:rect l="l" t="t" r="r" b="b"/>
                <a:pathLst>
                  <a:path w="8013" h="136001">
                    <a:moveTo>
                      <a:pt x="8014" y="120"/>
                    </a:moveTo>
                    <a:lnTo>
                      <a:pt x="3050" y="136002"/>
                    </a:lnTo>
                    <a:lnTo>
                      <a:pt x="0" y="135882"/>
                    </a:lnTo>
                    <a:lnTo>
                      <a:pt x="4964" y="0"/>
                    </a:lnTo>
                    <a:close/>
                  </a:path>
                </a:pathLst>
              </a:custGeom>
              <a:grpFill/>
              <a:ln w="5978" cap="flat">
                <a:noFill/>
                <a:prstDash val="solid"/>
                <a:miter/>
              </a:ln>
            </p:spPr>
            <p:txBody>
              <a:bodyPr rtlCol="0" anchor="ctr"/>
              <a:lstStyle/>
              <a:p>
                <a:endParaRPr lang="en-GB"/>
              </a:p>
            </p:txBody>
          </p:sp>
          <p:sp>
            <p:nvSpPr>
              <p:cNvPr id="2931" name="Vrije vorm: vorm 2930">
                <a:extLst>
                  <a:ext uri="{FF2B5EF4-FFF2-40B4-BE49-F238E27FC236}">
                    <a16:creationId xmlns:a16="http://schemas.microsoft.com/office/drawing/2014/main" id="{6631583D-D37A-4721-97FC-E33D60D949FD}"/>
                  </a:ext>
                </a:extLst>
              </p:cNvPr>
              <p:cNvSpPr/>
              <p:nvPr/>
            </p:nvSpPr>
            <p:spPr>
              <a:xfrm>
                <a:off x="5979180" y="5239146"/>
                <a:ext cx="18372" cy="18432"/>
              </a:xfrm>
              <a:custGeom>
                <a:avLst/>
                <a:gdLst>
                  <a:gd name="connsiteX0" fmla="*/ 18367 w 18372"/>
                  <a:gd name="connsiteY0" fmla="*/ 9575 h 18432"/>
                  <a:gd name="connsiteX1" fmla="*/ 8858 w 18372"/>
                  <a:gd name="connsiteY1" fmla="*/ 18427 h 18432"/>
                  <a:gd name="connsiteX2" fmla="*/ 6 w 18372"/>
                  <a:gd name="connsiteY2" fmla="*/ 8858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8" y="14659"/>
                      <a:pt x="13941" y="18606"/>
                      <a:pt x="8858" y="18427"/>
                    </a:cubicBezTo>
                    <a:cubicBezTo>
                      <a:pt x="3774" y="18247"/>
                      <a:pt x="-173" y="13941"/>
                      <a:pt x="6" y="8858"/>
                    </a:cubicBezTo>
                    <a:cubicBezTo>
                      <a:pt x="185" y="3774"/>
                      <a:pt x="4432" y="-173"/>
                      <a:pt x="9515" y="6"/>
                    </a:cubicBezTo>
                    <a:cubicBezTo>
                      <a:pt x="14599" y="185"/>
                      <a:pt x="18546" y="4432"/>
                      <a:pt x="18367" y="9575"/>
                    </a:cubicBezTo>
                    <a:close/>
                  </a:path>
                </a:pathLst>
              </a:custGeom>
              <a:grpFill/>
              <a:ln w="5978" cap="flat">
                <a:noFill/>
                <a:prstDash val="solid"/>
                <a:miter/>
              </a:ln>
            </p:spPr>
            <p:txBody>
              <a:bodyPr rtlCol="0" anchor="ctr"/>
              <a:lstStyle/>
              <a:p>
                <a:endParaRPr lang="en-GB"/>
              </a:p>
            </p:txBody>
          </p:sp>
          <p:sp>
            <p:nvSpPr>
              <p:cNvPr id="2932" name="Vrije vorm: vorm 2931">
                <a:extLst>
                  <a:ext uri="{FF2B5EF4-FFF2-40B4-BE49-F238E27FC236}">
                    <a16:creationId xmlns:a16="http://schemas.microsoft.com/office/drawing/2014/main" id="{304A52F4-CC62-46A6-9B7D-4F86DF651F4B}"/>
                  </a:ext>
                </a:extLst>
              </p:cNvPr>
              <p:cNvSpPr/>
              <p:nvPr/>
            </p:nvSpPr>
            <p:spPr>
              <a:xfrm>
                <a:off x="5984085" y="5104161"/>
                <a:ext cx="18372" cy="18432"/>
              </a:xfrm>
              <a:custGeom>
                <a:avLst/>
                <a:gdLst>
                  <a:gd name="connsiteX0" fmla="*/ 18367 w 18372"/>
                  <a:gd name="connsiteY0" fmla="*/ 9575 h 18432"/>
                  <a:gd name="connsiteX1" fmla="*/ 9515 w 18372"/>
                  <a:gd name="connsiteY1" fmla="*/ 6 h 18432"/>
                  <a:gd name="connsiteX2" fmla="*/ 6 w 18372"/>
                  <a:gd name="connsiteY2" fmla="*/ 8858 h 18432"/>
                  <a:gd name="connsiteX3" fmla="*/ 8858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3"/>
                      <a:pt x="185" y="3774"/>
                      <a:pt x="6" y="8858"/>
                    </a:cubicBezTo>
                    <a:cubicBezTo>
                      <a:pt x="-173" y="13941"/>
                      <a:pt x="3774" y="18247"/>
                      <a:pt x="8858" y="18427"/>
                    </a:cubicBezTo>
                    <a:cubicBezTo>
                      <a:pt x="13941" y="18606"/>
                      <a:pt x="18188" y="14659"/>
                      <a:pt x="18367" y="9575"/>
                    </a:cubicBezTo>
                    <a:close/>
                  </a:path>
                </a:pathLst>
              </a:custGeom>
              <a:grpFill/>
              <a:ln w="5978" cap="flat">
                <a:noFill/>
                <a:prstDash val="solid"/>
                <a:miter/>
              </a:ln>
            </p:spPr>
            <p:txBody>
              <a:bodyPr rtlCol="0" anchor="ctr"/>
              <a:lstStyle/>
              <a:p>
                <a:endParaRPr lang="en-GB"/>
              </a:p>
            </p:txBody>
          </p:sp>
        </p:grpSp>
        <p:grpSp>
          <p:nvGrpSpPr>
            <p:cNvPr id="823" name="Graphic 3">
              <a:extLst>
                <a:ext uri="{FF2B5EF4-FFF2-40B4-BE49-F238E27FC236}">
                  <a16:creationId xmlns:a16="http://schemas.microsoft.com/office/drawing/2014/main" id="{510C2655-DD60-41B2-B9A7-D707899AA0CB}"/>
                </a:ext>
              </a:extLst>
            </p:cNvPr>
            <p:cNvGrpSpPr/>
            <p:nvPr/>
          </p:nvGrpSpPr>
          <p:grpSpPr>
            <a:xfrm>
              <a:off x="4678225" y="1571563"/>
              <a:ext cx="352367" cy="517712"/>
              <a:chOff x="4678225" y="1571563"/>
              <a:chExt cx="352367" cy="517712"/>
            </a:xfrm>
            <a:grpFill/>
          </p:grpSpPr>
          <p:sp>
            <p:nvSpPr>
              <p:cNvPr id="2927" name="Vrije vorm: vorm 2926">
                <a:extLst>
                  <a:ext uri="{FF2B5EF4-FFF2-40B4-BE49-F238E27FC236}">
                    <a16:creationId xmlns:a16="http://schemas.microsoft.com/office/drawing/2014/main" id="{312BA2A5-9E14-4488-AC8C-7AE6EDB1F353}"/>
                  </a:ext>
                </a:extLst>
              </p:cNvPr>
              <p:cNvSpPr/>
              <p:nvPr/>
            </p:nvSpPr>
            <p:spPr>
              <a:xfrm>
                <a:off x="4685915" y="1579549"/>
                <a:ext cx="337013" cy="501722"/>
              </a:xfrm>
              <a:custGeom>
                <a:avLst/>
                <a:gdLst>
                  <a:gd name="connsiteX0" fmla="*/ 337014 w 337013"/>
                  <a:gd name="connsiteY0" fmla="*/ 500048 h 501722"/>
                  <a:gd name="connsiteX1" fmla="*/ 334502 w 337013"/>
                  <a:gd name="connsiteY1" fmla="*/ 501723 h 501722"/>
                  <a:gd name="connsiteX2" fmla="*/ 0 w 337013"/>
                  <a:gd name="connsiteY2" fmla="*/ 1675 h 501722"/>
                  <a:gd name="connsiteX3" fmla="*/ 2512 w 337013"/>
                  <a:gd name="connsiteY3" fmla="*/ 0 h 501722"/>
                </a:gdLst>
                <a:ahLst/>
                <a:cxnLst>
                  <a:cxn ang="0">
                    <a:pos x="connsiteX0" y="connsiteY0"/>
                  </a:cxn>
                  <a:cxn ang="0">
                    <a:pos x="connsiteX1" y="connsiteY1"/>
                  </a:cxn>
                  <a:cxn ang="0">
                    <a:pos x="connsiteX2" y="connsiteY2"/>
                  </a:cxn>
                  <a:cxn ang="0">
                    <a:pos x="connsiteX3" y="connsiteY3"/>
                  </a:cxn>
                </a:cxnLst>
                <a:rect l="l" t="t" r="r" b="b"/>
                <a:pathLst>
                  <a:path w="337013" h="501722">
                    <a:moveTo>
                      <a:pt x="337014" y="500048"/>
                    </a:moveTo>
                    <a:lnTo>
                      <a:pt x="334502" y="501723"/>
                    </a:lnTo>
                    <a:lnTo>
                      <a:pt x="0" y="1675"/>
                    </a:lnTo>
                    <a:lnTo>
                      <a:pt x="2512" y="0"/>
                    </a:lnTo>
                    <a:close/>
                  </a:path>
                </a:pathLst>
              </a:custGeom>
              <a:grpFill/>
              <a:ln w="5978" cap="flat">
                <a:noFill/>
                <a:prstDash val="solid"/>
                <a:miter/>
              </a:ln>
            </p:spPr>
            <p:txBody>
              <a:bodyPr rtlCol="0" anchor="ctr"/>
              <a:lstStyle/>
              <a:p>
                <a:endParaRPr lang="en-GB"/>
              </a:p>
            </p:txBody>
          </p:sp>
          <p:sp>
            <p:nvSpPr>
              <p:cNvPr id="2928" name="Vrije vorm: vorm 2927">
                <a:extLst>
                  <a:ext uri="{FF2B5EF4-FFF2-40B4-BE49-F238E27FC236}">
                    <a16:creationId xmlns:a16="http://schemas.microsoft.com/office/drawing/2014/main" id="{707B7048-569D-47F9-A524-99A988AECA3E}"/>
                  </a:ext>
                </a:extLst>
              </p:cNvPr>
              <p:cNvSpPr/>
              <p:nvPr/>
            </p:nvSpPr>
            <p:spPr>
              <a:xfrm>
                <a:off x="5012275" y="2070833"/>
                <a:ext cx="18317" cy="18441"/>
              </a:xfrm>
              <a:custGeom>
                <a:avLst/>
                <a:gdLst>
                  <a:gd name="connsiteX0" fmla="*/ 16754 w 18317"/>
                  <a:gd name="connsiteY0" fmla="*/ 4098 h 18441"/>
                  <a:gd name="connsiteX1" fmla="*/ 14302 w 18317"/>
                  <a:gd name="connsiteY1" fmla="*/ 16897 h 18441"/>
                  <a:gd name="connsiteX2" fmla="*/ 1563 w 18317"/>
                  <a:gd name="connsiteY2" fmla="*/ 14385 h 18441"/>
                  <a:gd name="connsiteX3" fmla="*/ 4015 w 18317"/>
                  <a:gd name="connsiteY3" fmla="*/ 1586 h 18441"/>
                  <a:gd name="connsiteX4" fmla="*/ 16754 w 18317"/>
                  <a:gd name="connsiteY4" fmla="*/ 409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1">
                    <a:moveTo>
                      <a:pt x="16754" y="4098"/>
                    </a:moveTo>
                    <a:cubicBezTo>
                      <a:pt x="19565" y="8345"/>
                      <a:pt x="18489" y="14026"/>
                      <a:pt x="14302" y="16897"/>
                    </a:cubicBezTo>
                    <a:cubicBezTo>
                      <a:pt x="10116" y="19708"/>
                      <a:pt x="4434" y="18572"/>
                      <a:pt x="1563" y="14385"/>
                    </a:cubicBezTo>
                    <a:cubicBezTo>
                      <a:pt x="-1248" y="10139"/>
                      <a:pt x="-171" y="4457"/>
                      <a:pt x="4015" y="1586"/>
                    </a:cubicBezTo>
                    <a:cubicBezTo>
                      <a:pt x="8202" y="-1284"/>
                      <a:pt x="13943" y="-148"/>
                      <a:pt x="16754" y="4098"/>
                    </a:cubicBezTo>
                    <a:close/>
                  </a:path>
                </a:pathLst>
              </a:custGeom>
              <a:grpFill/>
              <a:ln w="5978" cap="flat">
                <a:noFill/>
                <a:prstDash val="solid"/>
                <a:miter/>
              </a:ln>
            </p:spPr>
            <p:txBody>
              <a:bodyPr rtlCol="0" anchor="ctr"/>
              <a:lstStyle/>
              <a:p>
                <a:endParaRPr lang="en-GB"/>
              </a:p>
            </p:txBody>
          </p:sp>
          <p:sp>
            <p:nvSpPr>
              <p:cNvPr id="2929" name="Vrije vorm: vorm 2928">
                <a:extLst>
                  <a:ext uri="{FF2B5EF4-FFF2-40B4-BE49-F238E27FC236}">
                    <a16:creationId xmlns:a16="http://schemas.microsoft.com/office/drawing/2014/main" id="{3D91B28C-BF05-45CD-8556-32D6837EA404}"/>
                  </a:ext>
                </a:extLst>
              </p:cNvPr>
              <p:cNvSpPr/>
              <p:nvPr/>
            </p:nvSpPr>
            <p:spPr>
              <a:xfrm>
                <a:off x="4678225" y="1571563"/>
                <a:ext cx="18370" cy="18483"/>
              </a:xfrm>
              <a:custGeom>
                <a:avLst/>
                <a:gdLst>
                  <a:gd name="connsiteX0" fmla="*/ 16781 w 18370"/>
                  <a:gd name="connsiteY0" fmla="*/ 4098 h 18483"/>
                  <a:gd name="connsiteX1" fmla="*/ 4042 w 18370"/>
                  <a:gd name="connsiteY1" fmla="*/ 1586 h 18483"/>
                  <a:gd name="connsiteX2" fmla="*/ 1590 w 18370"/>
                  <a:gd name="connsiteY2" fmla="*/ 14385 h 18483"/>
                  <a:gd name="connsiteX3" fmla="*/ 14328 w 18370"/>
                  <a:gd name="connsiteY3" fmla="*/ 16897 h 18483"/>
                  <a:gd name="connsiteX4" fmla="*/ 16781 w 18370"/>
                  <a:gd name="connsiteY4" fmla="*/ 4098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83">
                    <a:moveTo>
                      <a:pt x="16781" y="4098"/>
                    </a:moveTo>
                    <a:cubicBezTo>
                      <a:pt x="13970" y="-148"/>
                      <a:pt x="8228" y="-1284"/>
                      <a:pt x="4042" y="1586"/>
                    </a:cubicBezTo>
                    <a:cubicBezTo>
                      <a:pt x="-145" y="4397"/>
                      <a:pt x="-1281" y="10139"/>
                      <a:pt x="1590" y="14385"/>
                    </a:cubicBezTo>
                    <a:cubicBezTo>
                      <a:pt x="4401" y="18631"/>
                      <a:pt x="10142" y="19768"/>
                      <a:pt x="14328" y="16897"/>
                    </a:cubicBezTo>
                    <a:cubicBezTo>
                      <a:pt x="18515" y="14026"/>
                      <a:pt x="19651" y="8285"/>
                      <a:pt x="16781" y="4098"/>
                    </a:cubicBezTo>
                    <a:close/>
                  </a:path>
                </a:pathLst>
              </a:custGeom>
              <a:grpFill/>
              <a:ln w="5978" cap="flat">
                <a:noFill/>
                <a:prstDash val="solid"/>
                <a:miter/>
              </a:ln>
            </p:spPr>
            <p:txBody>
              <a:bodyPr rtlCol="0" anchor="ctr"/>
              <a:lstStyle/>
              <a:p>
                <a:endParaRPr lang="en-GB"/>
              </a:p>
            </p:txBody>
          </p:sp>
        </p:grpSp>
        <p:grpSp>
          <p:nvGrpSpPr>
            <p:cNvPr id="824" name="Graphic 3">
              <a:extLst>
                <a:ext uri="{FF2B5EF4-FFF2-40B4-BE49-F238E27FC236}">
                  <a16:creationId xmlns:a16="http://schemas.microsoft.com/office/drawing/2014/main" id="{7610FDBC-2412-43F5-B9FA-D099F64C1ED3}"/>
                </a:ext>
              </a:extLst>
            </p:cNvPr>
            <p:cNvGrpSpPr/>
            <p:nvPr/>
          </p:nvGrpSpPr>
          <p:grpSpPr>
            <a:xfrm>
              <a:off x="4857914" y="1984676"/>
              <a:ext cx="122892" cy="143670"/>
              <a:chOff x="4857914" y="1984676"/>
              <a:chExt cx="122892" cy="143670"/>
            </a:xfrm>
            <a:grpFill/>
          </p:grpSpPr>
          <p:sp>
            <p:nvSpPr>
              <p:cNvPr id="2924" name="Vrije vorm: vorm 2923">
                <a:extLst>
                  <a:ext uri="{FF2B5EF4-FFF2-40B4-BE49-F238E27FC236}">
                    <a16:creationId xmlns:a16="http://schemas.microsoft.com/office/drawing/2014/main" id="{3CA5C5A2-198F-4C49-BE94-C6D3EE2AF16B}"/>
                  </a:ext>
                </a:extLst>
              </p:cNvPr>
              <p:cNvSpPr/>
              <p:nvPr/>
            </p:nvSpPr>
            <p:spPr>
              <a:xfrm>
                <a:off x="4865576" y="1992577"/>
                <a:ext cx="107473" cy="127927"/>
              </a:xfrm>
              <a:custGeom>
                <a:avLst/>
                <a:gdLst>
                  <a:gd name="connsiteX0" fmla="*/ 107473 w 107473"/>
                  <a:gd name="connsiteY0" fmla="*/ 125954 h 127927"/>
                  <a:gd name="connsiteX1" fmla="*/ 105141 w 107473"/>
                  <a:gd name="connsiteY1" fmla="*/ 127928 h 127927"/>
                  <a:gd name="connsiteX2" fmla="*/ 0 w 107473"/>
                  <a:gd name="connsiteY2" fmla="*/ 1974 h 127927"/>
                  <a:gd name="connsiteX3" fmla="*/ 2392 w 107473"/>
                  <a:gd name="connsiteY3" fmla="*/ 0 h 127927"/>
                </a:gdLst>
                <a:ahLst/>
                <a:cxnLst>
                  <a:cxn ang="0">
                    <a:pos x="connsiteX0" y="connsiteY0"/>
                  </a:cxn>
                  <a:cxn ang="0">
                    <a:pos x="connsiteX1" y="connsiteY1"/>
                  </a:cxn>
                  <a:cxn ang="0">
                    <a:pos x="connsiteX2" y="connsiteY2"/>
                  </a:cxn>
                  <a:cxn ang="0">
                    <a:pos x="connsiteX3" y="connsiteY3"/>
                  </a:cxn>
                </a:cxnLst>
                <a:rect l="l" t="t" r="r" b="b"/>
                <a:pathLst>
                  <a:path w="107473" h="127927">
                    <a:moveTo>
                      <a:pt x="107473" y="125954"/>
                    </a:moveTo>
                    <a:lnTo>
                      <a:pt x="105141" y="127928"/>
                    </a:lnTo>
                    <a:lnTo>
                      <a:pt x="0" y="1974"/>
                    </a:lnTo>
                    <a:lnTo>
                      <a:pt x="2392" y="0"/>
                    </a:lnTo>
                    <a:close/>
                  </a:path>
                </a:pathLst>
              </a:custGeom>
              <a:grpFill/>
              <a:ln w="5978" cap="flat">
                <a:noFill/>
                <a:prstDash val="solid"/>
                <a:miter/>
              </a:ln>
            </p:spPr>
            <p:txBody>
              <a:bodyPr rtlCol="0" anchor="ctr"/>
              <a:lstStyle/>
              <a:p>
                <a:endParaRPr lang="en-GB"/>
              </a:p>
            </p:txBody>
          </p:sp>
          <p:sp>
            <p:nvSpPr>
              <p:cNvPr id="2925" name="Vrije vorm: vorm 2924">
                <a:extLst>
                  <a:ext uri="{FF2B5EF4-FFF2-40B4-BE49-F238E27FC236}">
                    <a16:creationId xmlns:a16="http://schemas.microsoft.com/office/drawing/2014/main" id="{0ED4A6A1-E623-4CDE-ADE6-D4E539A26299}"/>
                  </a:ext>
                </a:extLst>
              </p:cNvPr>
              <p:cNvSpPr/>
              <p:nvPr/>
            </p:nvSpPr>
            <p:spPr>
              <a:xfrm>
                <a:off x="4857914" y="1984676"/>
                <a:ext cx="18349" cy="18453"/>
              </a:xfrm>
              <a:custGeom>
                <a:avLst/>
                <a:gdLst>
                  <a:gd name="connsiteX0" fmla="*/ 2160 w 18349"/>
                  <a:gd name="connsiteY0" fmla="*/ 15138 h 18453"/>
                  <a:gd name="connsiteX1" fmla="*/ 3296 w 18349"/>
                  <a:gd name="connsiteY1" fmla="*/ 2160 h 18453"/>
                  <a:gd name="connsiteX2" fmla="*/ 16215 w 18349"/>
                  <a:gd name="connsiteY2" fmla="*/ 3296 h 18453"/>
                  <a:gd name="connsiteX3" fmla="*/ 15078 w 18349"/>
                  <a:gd name="connsiteY3" fmla="*/ 16274 h 18453"/>
                  <a:gd name="connsiteX4" fmla="*/ 2160 w 18349"/>
                  <a:gd name="connsiteY4" fmla="*/ 1513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3">
                    <a:moveTo>
                      <a:pt x="2160" y="15138"/>
                    </a:moveTo>
                    <a:cubicBezTo>
                      <a:pt x="-1130" y="11250"/>
                      <a:pt x="-591" y="5449"/>
                      <a:pt x="3296" y="2160"/>
                    </a:cubicBezTo>
                    <a:cubicBezTo>
                      <a:pt x="7184" y="-1130"/>
                      <a:pt x="12925" y="-591"/>
                      <a:pt x="16215" y="3296"/>
                    </a:cubicBezTo>
                    <a:cubicBezTo>
                      <a:pt x="19444" y="7183"/>
                      <a:pt x="18965" y="12985"/>
                      <a:pt x="15078" y="16274"/>
                    </a:cubicBezTo>
                    <a:cubicBezTo>
                      <a:pt x="11191" y="19564"/>
                      <a:pt x="5389" y="19085"/>
                      <a:pt x="2160" y="15138"/>
                    </a:cubicBezTo>
                    <a:close/>
                  </a:path>
                </a:pathLst>
              </a:custGeom>
              <a:grpFill/>
              <a:ln w="5978" cap="flat">
                <a:noFill/>
                <a:prstDash val="solid"/>
                <a:miter/>
              </a:ln>
            </p:spPr>
            <p:txBody>
              <a:bodyPr rtlCol="0" anchor="ctr"/>
              <a:lstStyle/>
              <a:p>
                <a:endParaRPr lang="en-GB"/>
              </a:p>
            </p:txBody>
          </p:sp>
          <p:sp>
            <p:nvSpPr>
              <p:cNvPr id="2926" name="Vrije vorm: vorm 2925">
                <a:extLst>
                  <a:ext uri="{FF2B5EF4-FFF2-40B4-BE49-F238E27FC236}">
                    <a16:creationId xmlns:a16="http://schemas.microsoft.com/office/drawing/2014/main" id="{DF48BDD9-942B-40EE-9997-98BE1D27080F}"/>
                  </a:ext>
                </a:extLst>
              </p:cNvPr>
              <p:cNvSpPr/>
              <p:nvPr/>
            </p:nvSpPr>
            <p:spPr>
              <a:xfrm>
                <a:off x="4962437" y="2109902"/>
                <a:ext cx="18369" cy="18444"/>
              </a:xfrm>
              <a:custGeom>
                <a:avLst/>
                <a:gdLst>
                  <a:gd name="connsiteX0" fmla="*/ 2179 w 18369"/>
                  <a:gd name="connsiteY0" fmla="*/ 15148 h 18444"/>
                  <a:gd name="connsiteX1" fmla="*/ 15098 w 18369"/>
                  <a:gd name="connsiteY1" fmla="*/ 16285 h 18444"/>
                  <a:gd name="connsiteX2" fmla="*/ 16234 w 18369"/>
                  <a:gd name="connsiteY2" fmla="*/ 3307 h 18444"/>
                  <a:gd name="connsiteX3" fmla="*/ 3316 w 18369"/>
                  <a:gd name="connsiteY3" fmla="*/ 2110 h 18444"/>
                  <a:gd name="connsiteX4" fmla="*/ 2179 w 18369"/>
                  <a:gd name="connsiteY4" fmla="*/ 1514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4">
                    <a:moveTo>
                      <a:pt x="2179" y="15148"/>
                    </a:moveTo>
                    <a:cubicBezTo>
                      <a:pt x="5469" y="19036"/>
                      <a:pt x="11210" y="19574"/>
                      <a:pt x="15098" y="16285"/>
                    </a:cubicBezTo>
                    <a:cubicBezTo>
                      <a:pt x="18985" y="12995"/>
                      <a:pt x="19464" y="7194"/>
                      <a:pt x="16234" y="3307"/>
                    </a:cubicBezTo>
                    <a:cubicBezTo>
                      <a:pt x="12945" y="-581"/>
                      <a:pt x="7203" y="-1119"/>
                      <a:pt x="3316" y="2110"/>
                    </a:cubicBezTo>
                    <a:cubicBezTo>
                      <a:pt x="-632" y="5460"/>
                      <a:pt x="-1110" y="11261"/>
                      <a:pt x="2179" y="15148"/>
                    </a:cubicBezTo>
                    <a:close/>
                  </a:path>
                </a:pathLst>
              </a:custGeom>
              <a:grpFill/>
              <a:ln w="5978" cap="flat">
                <a:noFill/>
                <a:prstDash val="solid"/>
                <a:miter/>
              </a:ln>
            </p:spPr>
            <p:txBody>
              <a:bodyPr rtlCol="0" anchor="ctr"/>
              <a:lstStyle/>
              <a:p>
                <a:endParaRPr lang="en-GB"/>
              </a:p>
            </p:txBody>
          </p:sp>
        </p:grpSp>
        <p:grpSp>
          <p:nvGrpSpPr>
            <p:cNvPr id="825" name="Graphic 3">
              <a:extLst>
                <a:ext uri="{FF2B5EF4-FFF2-40B4-BE49-F238E27FC236}">
                  <a16:creationId xmlns:a16="http://schemas.microsoft.com/office/drawing/2014/main" id="{3E45B93A-E054-4328-835C-57C373ECB239}"/>
                </a:ext>
              </a:extLst>
            </p:cNvPr>
            <p:cNvGrpSpPr/>
            <p:nvPr/>
          </p:nvGrpSpPr>
          <p:grpSpPr>
            <a:xfrm>
              <a:off x="4802059" y="1861855"/>
              <a:ext cx="179544" cy="265869"/>
              <a:chOff x="4802059" y="1861855"/>
              <a:chExt cx="179544" cy="265869"/>
            </a:xfrm>
            <a:grpFill/>
          </p:grpSpPr>
          <p:sp>
            <p:nvSpPr>
              <p:cNvPr id="2921" name="Vrije vorm: vorm 2920">
                <a:extLst>
                  <a:ext uri="{FF2B5EF4-FFF2-40B4-BE49-F238E27FC236}">
                    <a16:creationId xmlns:a16="http://schemas.microsoft.com/office/drawing/2014/main" id="{62177B4A-0453-4DF0-AF69-8FA92BEF3F54}"/>
                  </a:ext>
                </a:extLst>
              </p:cNvPr>
              <p:cNvSpPr/>
              <p:nvPr/>
            </p:nvSpPr>
            <p:spPr>
              <a:xfrm>
                <a:off x="4809654" y="1869881"/>
                <a:ext cx="164650" cy="249688"/>
              </a:xfrm>
              <a:custGeom>
                <a:avLst/>
                <a:gdLst>
                  <a:gd name="connsiteX0" fmla="*/ 0 w 164650"/>
                  <a:gd name="connsiteY0" fmla="*/ 1669 h 249688"/>
                  <a:gd name="connsiteX1" fmla="*/ 2553 w 164650"/>
                  <a:gd name="connsiteY1" fmla="*/ 0 h 249688"/>
                  <a:gd name="connsiteX2" fmla="*/ 164651 w 164650"/>
                  <a:gd name="connsiteY2" fmla="*/ 248020 h 249688"/>
                  <a:gd name="connsiteX3" fmla="*/ 162097 w 164650"/>
                  <a:gd name="connsiteY3" fmla="*/ 249689 h 249688"/>
                </a:gdLst>
                <a:ahLst/>
                <a:cxnLst>
                  <a:cxn ang="0">
                    <a:pos x="connsiteX0" y="connsiteY0"/>
                  </a:cxn>
                  <a:cxn ang="0">
                    <a:pos x="connsiteX1" y="connsiteY1"/>
                  </a:cxn>
                  <a:cxn ang="0">
                    <a:pos x="connsiteX2" y="connsiteY2"/>
                  </a:cxn>
                  <a:cxn ang="0">
                    <a:pos x="connsiteX3" y="connsiteY3"/>
                  </a:cxn>
                </a:cxnLst>
                <a:rect l="l" t="t" r="r" b="b"/>
                <a:pathLst>
                  <a:path w="164650" h="249688">
                    <a:moveTo>
                      <a:pt x="0" y="1669"/>
                    </a:moveTo>
                    <a:lnTo>
                      <a:pt x="2553" y="0"/>
                    </a:lnTo>
                    <a:lnTo>
                      <a:pt x="164651" y="248020"/>
                    </a:lnTo>
                    <a:lnTo>
                      <a:pt x="162097" y="249689"/>
                    </a:lnTo>
                    <a:close/>
                  </a:path>
                </a:pathLst>
              </a:custGeom>
              <a:grpFill/>
              <a:ln w="5978" cap="flat">
                <a:noFill/>
                <a:prstDash val="solid"/>
                <a:miter/>
              </a:ln>
            </p:spPr>
            <p:txBody>
              <a:bodyPr rtlCol="0" anchor="ctr"/>
              <a:lstStyle/>
              <a:p>
                <a:endParaRPr lang="en-GB"/>
              </a:p>
            </p:txBody>
          </p:sp>
          <p:sp>
            <p:nvSpPr>
              <p:cNvPr id="2922" name="Vrije vorm: vorm 2921">
                <a:extLst>
                  <a:ext uri="{FF2B5EF4-FFF2-40B4-BE49-F238E27FC236}">
                    <a16:creationId xmlns:a16="http://schemas.microsoft.com/office/drawing/2014/main" id="{49F67C03-29CF-47AC-A7E8-C09EBE4430B0}"/>
                  </a:ext>
                </a:extLst>
              </p:cNvPr>
              <p:cNvSpPr/>
              <p:nvPr/>
            </p:nvSpPr>
            <p:spPr>
              <a:xfrm>
                <a:off x="4963299" y="2109296"/>
                <a:ext cx="18304" cy="18428"/>
              </a:xfrm>
              <a:custGeom>
                <a:avLst/>
                <a:gdLst>
                  <a:gd name="connsiteX0" fmla="*/ 16807 w 18304"/>
                  <a:gd name="connsiteY0" fmla="*/ 4211 h 18428"/>
                  <a:gd name="connsiteX1" fmla="*/ 14176 w 18304"/>
                  <a:gd name="connsiteY1" fmla="*/ 16950 h 18428"/>
                  <a:gd name="connsiteX2" fmla="*/ 1497 w 18304"/>
                  <a:gd name="connsiteY2" fmla="*/ 14259 h 18428"/>
                  <a:gd name="connsiteX3" fmla="*/ 4128 w 18304"/>
                  <a:gd name="connsiteY3" fmla="*/ 1520 h 18428"/>
                  <a:gd name="connsiteX4" fmla="*/ 16807 w 18304"/>
                  <a:gd name="connsiteY4" fmla="*/ 421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8">
                    <a:moveTo>
                      <a:pt x="16807" y="4211"/>
                    </a:moveTo>
                    <a:cubicBezTo>
                      <a:pt x="19559" y="8458"/>
                      <a:pt x="18422" y="14199"/>
                      <a:pt x="14176" y="16950"/>
                    </a:cubicBezTo>
                    <a:cubicBezTo>
                      <a:pt x="9930" y="19701"/>
                      <a:pt x="4248" y="18505"/>
                      <a:pt x="1497" y="14259"/>
                    </a:cubicBezTo>
                    <a:cubicBezTo>
                      <a:pt x="-1255" y="10013"/>
                      <a:pt x="-118" y="4271"/>
                      <a:pt x="4128" y="1520"/>
                    </a:cubicBezTo>
                    <a:cubicBezTo>
                      <a:pt x="8375" y="-1291"/>
                      <a:pt x="14056" y="-95"/>
                      <a:pt x="16807" y="4211"/>
                    </a:cubicBezTo>
                    <a:close/>
                  </a:path>
                </a:pathLst>
              </a:custGeom>
              <a:grpFill/>
              <a:ln w="5978" cap="flat">
                <a:noFill/>
                <a:prstDash val="solid"/>
                <a:miter/>
              </a:ln>
            </p:spPr>
            <p:txBody>
              <a:bodyPr rtlCol="0" anchor="ctr"/>
              <a:lstStyle/>
              <a:p>
                <a:endParaRPr lang="en-GB"/>
              </a:p>
            </p:txBody>
          </p:sp>
          <p:sp>
            <p:nvSpPr>
              <p:cNvPr id="2923" name="Vrije vorm: vorm 2922">
                <a:extLst>
                  <a:ext uri="{FF2B5EF4-FFF2-40B4-BE49-F238E27FC236}">
                    <a16:creationId xmlns:a16="http://schemas.microsoft.com/office/drawing/2014/main" id="{EFBF1633-FC13-4805-94D5-FF9236182566}"/>
                  </a:ext>
                </a:extLst>
              </p:cNvPr>
              <p:cNvSpPr/>
              <p:nvPr/>
            </p:nvSpPr>
            <p:spPr>
              <a:xfrm>
                <a:off x="4802059" y="1861855"/>
                <a:ext cx="18330" cy="18387"/>
              </a:xfrm>
              <a:custGeom>
                <a:avLst/>
                <a:gdLst>
                  <a:gd name="connsiteX0" fmla="*/ 16807 w 18330"/>
                  <a:gd name="connsiteY0" fmla="*/ 4170 h 18387"/>
                  <a:gd name="connsiteX1" fmla="*/ 4128 w 18330"/>
                  <a:gd name="connsiteY1" fmla="*/ 1479 h 18387"/>
                  <a:gd name="connsiteX2" fmla="*/ 1496 w 18330"/>
                  <a:gd name="connsiteY2" fmla="*/ 14217 h 18387"/>
                  <a:gd name="connsiteX3" fmla="*/ 14176 w 18330"/>
                  <a:gd name="connsiteY3" fmla="*/ 16909 h 18387"/>
                  <a:gd name="connsiteX4" fmla="*/ 16807 w 18330"/>
                  <a:gd name="connsiteY4" fmla="*/ 417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387">
                    <a:moveTo>
                      <a:pt x="16807" y="4170"/>
                    </a:moveTo>
                    <a:cubicBezTo>
                      <a:pt x="14056" y="-77"/>
                      <a:pt x="8374" y="-1273"/>
                      <a:pt x="4128" y="1479"/>
                    </a:cubicBezTo>
                    <a:cubicBezTo>
                      <a:pt x="-118" y="4230"/>
                      <a:pt x="-1254" y="9971"/>
                      <a:pt x="1496" y="14217"/>
                    </a:cubicBezTo>
                    <a:cubicBezTo>
                      <a:pt x="4248" y="18464"/>
                      <a:pt x="9929" y="19660"/>
                      <a:pt x="14176" y="16909"/>
                    </a:cubicBezTo>
                    <a:cubicBezTo>
                      <a:pt x="18422" y="14098"/>
                      <a:pt x="19618" y="8416"/>
                      <a:pt x="16807" y="4170"/>
                    </a:cubicBezTo>
                    <a:close/>
                  </a:path>
                </a:pathLst>
              </a:custGeom>
              <a:grpFill/>
              <a:ln w="5978" cap="flat">
                <a:noFill/>
                <a:prstDash val="solid"/>
                <a:miter/>
              </a:ln>
            </p:spPr>
            <p:txBody>
              <a:bodyPr rtlCol="0" anchor="ctr"/>
              <a:lstStyle/>
              <a:p>
                <a:endParaRPr lang="en-GB"/>
              </a:p>
            </p:txBody>
          </p:sp>
        </p:grpSp>
        <p:grpSp>
          <p:nvGrpSpPr>
            <p:cNvPr id="826" name="Graphic 3">
              <a:extLst>
                <a:ext uri="{FF2B5EF4-FFF2-40B4-BE49-F238E27FC236}">
                  <a16:creationId xmlns:a16="http://schemas.microsoft.com/office/drawing/2014/main" id="{FE9C9615-900B-4DA8-830F-E26B30B5547D}"/>
                </a:ext>
              </a:extLst>
            </p:cNvPr>
            <p:cNvGrpSpPr/>
            <p:nvPr/>
          </p:nvGrpSpPr>
          <p:grpSpPr>
            <a:xfrm>
              <a:off x="6009686" y="5254879"/>
              <a:ext cx="21595" cy="200837"/>
              <a:chOff x="6009686" y="5254879"/>
              <a:chExt cx="21595" cy="200837"/>
            </a:xfrm>
            <a:grpFill/>
          </p:grpSpPr>
          <p:sp>
            <p:nvSpPr>
              <p:cNvPr id="2918" name="Vrije vorm: vorm 2917">
                <a:extLst>
                  <a:ext uri="{FF2B5EF4-FFF2-40B4-BE49-F238E27FC236}">
                    <a16:creationId xmlns:a16="http://schemas.microsoft.com/office/drawing/2014/main" id="{DD96B05D-0271-4365-B746-815CD7EE9C7B}"/>
                  </a:ext>
                </a:extLst>
              </p:cNvPr>
              <p:cNvSpPr/>
              <p:nvPr/>
            </p:nvSpPr>
            <p:spPr>
              <a:xfrm>
                <a:off x="6017343" y="5263553"/>
                <a:ext cx="6279" cy="183428"/>
              </a:xfrm>
              <a:custGeom>
                <a:avLst/>
                <a:gdLst>
                  <a:gd name="connsiteX0" fmla="*/ 6280 w 6279"/>
                  <a:gd name="connsiteY0" fmla="*/ 60 h 183428"/>
                  <a:gd name="connsiteX1" fmla="*/ 3050 w 6279"/>
                  <a:gd name="connsiteY1" fmla="*/ 183429 h 183428"/>
                  <a:gd name="connsiteX2" fmla="*/ 0 w 6279"/>
                  <a:gd name="connsiteY2" fmla="*/ 183369 h 183428"/>
                  <a:gd name="connsiteX3" fmla="*/ 3230 w 6279"/>
                  <a:gd name="connsiteY3" fmla="*/ 0 h 183428"/>
                </a:gdLst>
                <a:ahLst/>
                <a:cxnLst>
                  <a:cxn ang="0">
                    <a:pos x="connsiteX0" y="connsiteY0"/>
                  </a:cxn>
                  <a:cxn ang="0">
                    <a:pos x="connsiteX1" y="connsiteY1"/>
                  </a:cxn>
                  <a:cxn ang="0">
                    <a:pos x="connsiteX2" y="connsiteY2"/>
                  </a:cxn>
                  <a:cxn ang="0">
                    <a:pos x="connsiteX3" y="connsiteY3"/>
                  </a:cxn>
                </a:cxnLst>
                <a:rect l="l" t="t" r="r" b="b"/>
                <a:pathLst>
                  <a:path w="6279" h="183428">
                    <a:moveTo>
                      <a:pt x="6280" y="60"/>
                    </a:moveTo>
                    <a:lnTo>
                      <a:pt x="3050" y="183429"/>
                    </a:lnTo>
                    <a:lnTo>
                      <a:pt x="0" y="183369"/>
                    </a:lnTo>
                    <a:lnTo>
                      <a:pt x="3230" y="0"/>
                    </a:lnTo>
                    <a:close/>
                  </a:path>
                </a:pathLst>
              </a:custGeom>
              <a:grpFill/>
              <a:ln w="5978" cap="flat">
                <a:noFill/>
                <a:prstDash val="solid"/>
                <a:miter/>
              </a:ln>
            </p:spPr>
            <p:txBody>
              <a:bodyPr rtlCol="0" anchor="ctr"/>
              <a:lstStyle/>
              <a:p>
                <a:endParaRPr lang="en-GB"/>
              </a:p>
            </p:txBody>
          </p:sp>
          <p:sp>
            <p:nvSpPr>
              <p:cNvPr id="2919" name="Vrije vorm: vorm 2918">
                <a:extLst>
                  <a:ext uri="{FF2B5EF4-FFF2-40B4-BE49-F238E27FC236}">
                    <a16:creationId xmlns:a16="http://schemas.microsoft.com/office/drawing/2014/main" id="{BC6ACD9D-2AD3-4409-A72E-9BB89BC17B35}"/>
                  </a:ext>
                </a:extLst>
              </p:cNvPr>
              <p:cNvSpPr/>
              <p:nvPr/>
            </p:nvSpPr>
            <p:spPr>
              <a:xfrm>
                <a:off x="6009686" y="5437293"/>
                <a:ext cx="18306" cy="18423"/>
              </a:xfrm>
              <a:custGeom>
                <a:avLst/>
                <a:gdLst>
                  <a:gd name="connsiteX0" fmla="*/ 18304 w 18306"/>
                  <a:gd name="connsiteY0" fmla="*/ 9390 h 18423"/>
                  <a:gd name="connsiteX1" fmla="*/ 8974 w 18306"/>
                  <a:gd name="connsiteY1" fmla="*/ 18421 h 18423"/>
                  <a:gd name="connsiteX2" fmla="*/ 3 w 18306"/>
                  <a:gd name="connsiteY2" fmla="*/ 9032 h 18423"/>
                  <a:gd name="connsiteX3" fmla="*/ 9333 w 18306"/>
                  <a:gd name="connsiteY3" fmla="*/ 1 h 18423"/>
                  <a:gd name="connsiteX4" fmla="*/ 18304 w 18306"/>
                  <a:gd name="connsiteY4" fmla="*/ 9390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3">
                    <a:moveTo>
                      <a:pt x="18304" y="9390"/>
                    </a:moveTo>
                    <a:cubicBezTo>
                      <a:pt x="18184" y="14474"/>
                      <a:pt x="14057" y="18541"/>
                      <a:pt x="8974" y="18421"/>
                    </a:cubicBezTo>
                    <a:cubicBezTo>
                      <a:pt x="3890" y="18302"/>
                      <a:pt x="-117" y="14115"/>
                      <a:pt x="3" y="9032"/>
                    </a:cubicBezTo>
                    <a:cubicBezTo>
                      <a:pt x="122" y="3948"/>
                      <a:pt x="4249" y="-59"/>
                      <a:pt x="9333" y="1"/>
                    </a:cubicBezTo>
                    <a:cubicBezTo>
                      <a:pt x="14416" y="120"/>
                      <a:pt x="18423" y="4307"/>
                      <a:pt x="18304" y="9390"/>
                    </a:cubicBezTo>
                    <a:close/>
                  </a:path>
                </a:pathLst>
              </a:custGeom>
              <a:grpFill/>
              <a:ln w="5978" cap="flat">
                <a:noFill/>
                <a:prstDash val="solid"/>
                <a:miter/>
              </a:ln>
            </p:spPr>
            <p:txBody>
              <a:bodyPr rtlCol="0" anchor="ctr"/>
              <a:lstStyle/>
              <a:p>
                <a:endParaRPr lang="en-GB"/>
              </a:p>
            </p:txBody>
          </p:sp>
          <p:sp>
            <p:nvSpPr>
              <p:cNvPr id="2920" name="Vrije vorm: vorm 2919">
                <a:extLst>
                  <a:ext uri="{FF2B5EF4-FFF2-40B4-BE49-F238E27FC236}">
                    <a16:creationId xmlns:a16="http://schemas.microsoft.com/office/drawing/2014/main" id="{DF72CBF9-A5CD-4A85-9B96-99D400BBE490}"/>
                  </a:ext>
                </a:extLst>
              </p:cNvPr>
              <p:cNvSpPr/>
              <p:nvPr/>
            </p:nvSpPr>
            <p:spPr>
              <a:xfrm>
                <a:off x="6012975" y="5254879"/>
                <a:ext cx="18306" cy="18423"/>
              </a:xfrm>
              <a:custGeom>
                <a:avLst/>
                <a:gdLst>
                  <a:gd name="connsiteX0" fmla="*/ 18304 w 18306"/>
                  <a:gd name="connsiteY0" fmla="*/ 9392 h 18423"/>
                  <a:gd name="connsiteX1" fmla="*/ 9332 w 18306"/>
                  <a:gd name="connsiteY1" fmla="*/ 3 h 18423"/>
                  <a:gd name="connsiteX2" fmla="*/ 3 w 18306"/>
                  <a:gd name="connsiteY2" fmla="*/ 9034 h 18423"/>
                  <a:gd name="connsiteX3" fmla="*/ 8974 w 18306"/>
                  <a:gd name="connsiteY3" fmla="*/ 18423 h 18423"/>
                  <a:gd name="connsiteX4" fmla="*/ 18304 w 18306"/>
                  <a:gd name="connsiteY4" fmla="*/ 93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3">
                    <a:moveTo>
                      <a:pt x="18304" y="9392"/>
                    </a:moveTo>
                    <a:cubicBezTo>
                      <a:pt x="18423" y="4309"/>
                      <a:pt x="14356" y="62"/>
                      <a:pt x="9332" y="3"/>
                    </a:cubicBezTo>
                    <a:cubicBezTo>
                      <a:pt x="4249" y="-117"/>
                      <a:pt x="122" y="3950"/>
                      <a:pt x="3" y="9034"/>
                    </a:cubicBezTo>
                    <a:cubicBezTo>
                      <a:pt x="-117" y="14117"/>
                      <a:pt x="3950" y="18363"/>
                      <a:pt x="8974" y="18423"/>
                    </a:cubicBezTo>
                    <a:cubicBezTo>
                      <a:pt x="14057" y="18483"/>
                      <a:pt x="18244" y="14476"/>
                      <a:pt x="18304" y="9392"/>
                    </a:cubicBezTo>
                    <a:close/>
                  </a:path>
                </a:pathLst>
              </a:custGeom>
              <a:grpFill/>
              <a:ln w="5978" cap="flat">
                <a:noFill/>
                <a:prstDash val="solid"/>
                <a:miter/>
              </a:ln>
            </p:spPr>
            <p:txBody>
              <a:bodyPr rtlCol="0" anchor="ctr"/>
              <a:lstStyle/>
              <a:p>
                <a:endParaRPr lang="en-GB"/>
              </a:p>
            </p:txBody>
          </p:sp>
        </p:grpSp>
        <p:grpSp>
          <p:nvGrpSpPr>
            <p:cNvPr id="827" name="Graphic 3">
              <a:extLst>
                <a:ext uri="{FF2B5EF4-FFF2-40B4-BE49-F238E27FC236}">
                  <a16:creationId xmlns:a16="http://schemas.microsoft.com/office/drawing/2014/main" id="{E2925205-3330-4704-B248-ADC57CC7E21E}"/>
                </a:ext>
              </a:extLst>
            </p:cNvPr>
            <p:cNvGrpSpPr/>
            <p:nvPr/>
          </p:nvGrpSpPr>
          <p:grpSpPr>
            <a:xfrm>
              <a:off x="6005658" y="5096002"/>
              <a:ext cx="59076" cy="610148"/>
              <a:chOff x="6005658" y="5096002"/>
              <a:chExt cx="59076" cy="610148"/>
            </a:xfrm>
            <a:grpFill/>
          </p:grpSpPr>
          <p:sp>
            <p:nvSpPr>
              <p:cNvPr id="2915" name="Vrije vorm: vorm 2914">
                <a:extLst>
                  <a:ext uri="{FF2B5EF4-FFF2-40B4-BE49-F238E27FC236}">
                    <a16:creationId xmlns:a16="http://schemas.microsoft.com/office/drawing/2014/main" id="{693A9C36-78F3-4AF9-A17A-68B68638B399}"/>
                  </a:ext>
                </a:extLst>
              </p:cNvPr>
              <p:cNvSpPr/>
              <p:nvPr/>
            </p:nvSpPr>
            <p:spPr>
              <a:xfrm>
                <a:off x="6013276" y="5104586"/>
                <a:ext cx="43898" cy="592928"/>
              </a:xfrm>
              <a:custGeom>
                <a:avLst/>
                <a:gdLst>
                  <a:gd name="connsiteX0" fmla="*/ 43899 w 43898"/>
                  <a:gd name="connsiteY0" fmla="*/ 239 h 592928"/>
                  <a:gd name="connsiteX1" fmla="*/ 3050 w 43898"/>
                  <a:gd name="connsiteY1" fmla="*/ 592929 h 592928"/>
                  <a:gd name="connsiteX2" fmla="*/ 0 w 43898"/>
                  <a:gd name="connsiteY2" fmla="*/ 592690 h 592928"/>
                  <a:gd name="connsiteX3" fmla="*/ 40848 w 43898"/>
                  <a:gd name="connsiteY3" fmla="*/ 0 h 592928"/>
                </a:gdLst>
                <a:ahLst/>
                <a:cxnLst>
                  <a:cxn ang="0">
                    <a:pos x="connsiteX0" y="connsiteY0"/>
                  </a:cxn>
                  <a:cxn ang="0">
                    <a:pos x="connsiteX1" y="connsiteY1"/>
                  </a:cxn>
                  <a:cxn ang="0">
                    <a:pos x="connsiteX2" y="connsiteY2"/>
                  </a:cxn>
                  <a:cxn ang="0">
                    <a:pos x="connsiteX3" y="connsiteY3"/>
                  </a:cxn>
                </a:cxnLst>
                <a:rect l="l" t="t" r="r" b="b"/>
                <a:pathLst>
                  <a:path w="43898" h="592928">
                    <a:moveTo>
                      <a:pt x="43899" y="239"/>
                    </a:moveTo>
                    <a:lnTo>
                      <a:pt x="3050" y="592929"/>
                    </a:lnTo>
                    <a:lnTo>
                      <a:pt x="0" y="592690"/>
                    </a:lnTo>
                    <a:lnTo>
                      <a:pt x="40848" y="0"/>
                    </a:lnTo>
                    <a:close/>
                  </a:path>
                </a:pathLst>
              </a:custGeom>
              <a:grpFill/>
              <a:ln w="5978" cap="flat">
                <a:noFill/>
                <a:prstDash val="solid"/>
                <a:miter/>
              </a:ln>
            </p:spPr>
            <p:txBody>
              <a:bodyPr rtlCol="0" anchor="ctr"/>
              <a:lstStyle/>
              <a:p>
                <a:endParaRPr lang="en-GB"/>
              </a:p>
            </p:txBody>
          </p:sp>
          <p:sp>
            <p:nvSpPr>
              <p:cNvPr id="2916" name="Vrije vorm: vorm 2915">
                <a:extLst>
                  <a:ext uri="{FF2B5EF4-FFF2-40B4-BE49-F238E27FC236}">
                    <a16:creationId xmlns:a16="http://schemas.microsoft.com/office/drawing/2014/main" id="{C9A7B159-7989-45F5-A84E-7269EE80BC9A}"/>
                  </a:ext>
                </a:extLst>
              </p:cNvPr>
              <p:cNvSpPr/>
              <p:nvPr/>
            </p:nvSpPr>
            <p:spPr>
              <a:xfrm>
                <a:off x="6046446" y="5096002"/>
                <a:ext cx="18288" cy="18423"/>
              </a:xfrm>
              <a:custGeom>
                <a:avLst/>
                <a:gdLst>
                  <a:gd name="connsiteX0" fmla="*/ 23 w 18288"/>
                  <a:gd name="connsiteY0" fmla="*/ 8524 h 18423"/>
                  <a:gd name="connsiteX1" fmla="*/ 9772 w 18288"/>
                  <a:gd name="connsiteY1" fmla="*/ 31 h 18423"/>
                  <a:gd name="connsiteX2" fmla="*/ 18265 w 18288"/>
                  <a:gd name="connsiteY2" fmla="*/ 9900 h 18423"/>
                  <a:gd name="connsiteX3" fmla="*/ 8516 w 18288"/>
                  <a:gd name="connsiteY3" fmla="*/ 18392 h 18423"/>
                  <a:gd name="connsiteX4" fmla="*/ 23 w 18288"/>
                  <a:gd name="connsiteY4" fmla="*/ 8524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3">
                    <a:moveTo>
                      <a:pt x="23" y="8524"/>
                    </a:moveTo>
                    <a:cubicBezTo>
                      <a:pt x="382" y="3440"/>
                      <a:pt x="4748" y="-387"/>
                      <a:pt x="9772" y="31"/>
                    </a:cubicBezTo>
                    <a:cubicBezTo>
                      <a:pt x="14796" y="390"/>
                      <a:pt x="18624" y="4816"/>
                      <a:pt x="18265" y="9900"/>
                    </a:cubicBezTo>
                    <a:cubicBezTo>
                      <a:pt x="17906" y="14983"/>
                      <a:pt x="13540" y="18811"/>
                      <a:pt x="8516" y="18392"/>
                    </a:cubicBezTo>
                    <a:cubicBezTo>
                      <a:pt x="3492" y="17973"/>
                      <a:pt x="-336" y="13548"/>
                      <a:pt x="23" y="8524"/>
                    </a:cubicBezTo>
                    <a:close/>
                  </a:path>
                </a:pathLst>
              </a:custGeom>
              <a:grpFill/>
              <a:ln w="5978" cap="flat">
                <a:noFill/>
                <a:prstDash val="solid"/>
                <a:miter/>
              </a:ln>
            </p:spPr>
            <p:txBody>
              <a:bodyPr rtlCol="0" anchor="ctr"/>
              <a:lstStyle/>
              <a:p>
                <a:endParaRPr lang="en-GB"/>
              </a:p>
            </p:txBody>
          </p:sp>
          <p:sp>
            <p:nvSpPr>
              <p:cNvPr id="2917" name="Vrije vorm: vorm 2916">
                <a:extLst>
                  <a:ext uri="{FF2B5EF4-FFF2-40B4-BE49-F238E27FC236}">
                    <a16:creationId xmlns:a16="http://schemas.microsoft.com/office/drawing/2014/main" id="{E796DD41-246A-43D6-B915-C9D4FEC14E40}"/>
                  </a:ext>
                </a:extLst>
              </p:cNvPr>
              <p:cNvSpPr/>
              <p:nvPr/>
            </p:nvSpPr>
            <p:spPr>
              <a:xfrm>
                <a:off x="6005658" y="5687735"/>
                <a:ext cx="18288" cy="18415"/>
              </a:xfrm>
              <a:custGeom>
                <a:avLst/>
                <a:gdLst>
                  <a:gd name="connsiteX0" fmla="*/ 23 w 18288"/>
                  <a:gd name="connsiteY0" fmla="*/ 8524 h 18415"/>
                  <a:gd name="connsiteX1" fmla="*/ 8516 w 18288"/>
                  <a:gd name="connsiteY1" fmla="*/ 18392 h 18415"/>
                  <a:gd name="connsiteX2" fmla="*/ 18265 w 18288"/>
                  <a:gd name="connsiteY2" fmla="*/ 9900 h 18415"/>
                  <a:gd name="connsiteX3" fmla="*/ 9772 w 18288"/>
                  <a:gd name="connsiteY3" fmla="*/ 31 h 18415"/>
                  <a:gd name="connsiteX4" fmla="*/ 23 w 18288"/>
                  <a:gd name="connsiteY4" fmla="*/ 8524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15">
                    <a:moveTo>
                      <a:pt x="23" y="8524"/>
                    </a:moveTo>
                    <a:cubicBezTo>
                      <a:pt x="-336" y="13608"/>
                      <a:pt x="3492" y="18033"/>
                      <a:pt x="8516" y="18392"/>
                    </a:cubicBezTo>
                    <a:cubicBezTo>
                      <a:pt x="13540" y="18751"/>
                      <a:pt x="17965" y="14923"/>
                      <a:pt x="18265" y="9900"/>
                    </a:cubicBezTo>
                    <a:cubicBezTo>
                      <a:pt x="18624" y="4816"/>
                      <a:pt x="14796" y="390"/>
                      <a:pt x="9772" y="31"/>
                    </a:cubicBezTo>
                    <a:cubicBezTo>
                      <a:pt x="4748" y="-387"/>
                      <a:pt x="383" y="3440"/>
                      <a:pt x="23" y="8524"/>
                    </a:cubicBezTo>
                    <a:close/>
                  </a:path>
                </a:pathLst>
              </a:custGeom>
              <a:grpFill/>
              <a:ln w="5978" cap="flat">
                <a:noFill/>
                <a:prstDash val="solid"/>
                <a:miter/>
              </a:ln>
            </p:spPr>
            <p:txBody>
              <a:bodyPr rtlCol="0" anchor="ctr"/>
              <a:lstStyle/>
              <a:p>
                <a:endParaRPr lang="en-GB"/>
              </a:p>
            </p:txBody>
          </p:sp>
        </p:grpSp>
        <p:grpSp>
          <p:nvGrpSpPr>
            <p:cNvPr id="828" name="Graphic 3">
              <a:extLst>
                <a:ext uri="{FF2B5EF4-FFF2-40B4-BE49-F238E27FC236}">
                  <a16:creationId xmlns:a16="http://schemas.microsoft.com/office/drawing/2014/main" id="{C2AF5715-7C33-47EB-843D-52EB1976FD2D}"/>
                </a:ext>
              </a:extLst>
            </p:cNvPr>
            <p:cNvGrpSpPr/>
            <p:nvPr/>
          </p:nvGrpSpPr>
          <p:grpSpPr>
            <a:xfrm>
              <a:off x="5944189" y="5109294"/>
              <a:ext cx="26461" cy="166715"/>
              <a:chOff x="5944189" y="5109294"/>
              <a:chExt cx="26461" cy="166715"/>
            </a:xfrm>
            <a:grpFill/>
          </p:grpSpPr>
          <p:sp>
            <p:nvSpPr>
              <p:cNvPr id="2912" name="Vrije vorm: vorm 2911">
                <a:extLst>
                  <a:ext uri="{FF2B5EF4-FFF2-40B4-BE49-F238E27FC236}">
                    <a16:creationId xmlns:a16="http://schemas.microsoft.com/office/drawing/2014/main" id="{540D78F4-52EC-4D94-8C80-663AED748273}"/>
                  </a:ext>
                </a:extLst>
              </p:cNvPr>
              <p:cNvSpPr/>
              <p:nvPr/>
            </p:nvSpPr>
            <p:spPr>
              <a:xfrm>
                <a:off x="5951795" y="5117982"/>
                <a:ext cx="11243" cy="149338"/>
              </a:xfrm>
              <a:custGeom>
                <a:avLst/>
                <a:gdLst>
                  <a:gd name="connsiteX0" fmla="*/ 11244 w 11243"/>
                  <a:gd name="connsiteY0" fmla="*/ 180 h 149338"/>
                  <a:gd name="connsiteX1" fmla="*/ 3050 w 11243"/>
                  <a:gd name="connsiteY1" fmla="*/ 149339 h 149338"/>
                  <a:gd name="connsiteX2" fmla="*/ 0 w 11243"/>
                  <a:gd name="connsiteY2" fmla="*/ 149159 h 149338"/>
                  <a:gd name="connsiteX3" fmla="*/ 8194 w 11243"/>
                  <a:gd name="connsiteY3" fmla="*/ 0 h 149338"/>
                </a:gdLst>
                <a:ahLst/>
                <a:cxnLst>
                  <a:cxn ang="0">
                    <a:pos x="connsiteX0" y="connsiteY0"/>
                  </a:cxn>
                  <a:cxn ang="0">
                    <a:pos x="connsiteX1" y="connsiteY1"/>
                  </a:cxn>
                  <a:cxn ang="0">
                    <a:pos x="connsiteX2" y="connsiteY2"/>
                  </a:cxn>
                  <a:cxn ang="0">
                    <a:pos x="connsiteX3" y="connsiteY3"/>
                  </a:cxn>
                </a:cxnLst>
                <a:rect l="l" t="t" r="r" b="b"/>
                <a:pathLst>
                  <a:path w="11243" h="149338">
                    <a:moveTo>
                      <a:pt x="11244" y="180"/>
                    </a:moveTo>
                    <a:lnTo>
                      <a:pt x="3050" y="149339"/>
                    </a:lnTo>
                    <a:lnTo>
                      <a:pt x="0" y="149159"/>
                    </a:lnTo>
                    <a:lnTo>
                      <a:pt x="8194" y="0"/>
                    </a:lnTo>
                    <a:close/>
                  </a:path>
                </a:pathLst>
              </a:custGeom>
              <a:grpFill/>
              <a:ln w="5978" cap="flat">
                <a:noFill/>
                <a:prstDash val="solid"/>
                <a:miter/>
              </a:ln>
            </p:spPr>
            <p:txBody>
              <a:bodyPr rtlCol="0" anchor="ctr"/>
              <a:lstStyle/>
              <a:p>
                <a:endParaRPr lang="en-GB"/>
              </a:p>
            </p:txBody>
          </p:sp>
          <p:sp>
            <p:nvSpPr>
              <p:cNvPr id="2913" name="Vrije vorm: vorm 2912">
                <a:extLst>
                  <a:ext uri="{FF2B5EF4-FFF2-40B4-BE49-F238E27FC236}">
                    <a16:creationId xmlns:a16="http://schemas.microsoft.com/office/drawing/2014/main" id="{A27745BA-3B34-4D6C-9B0F-B85E1C239BFA}"/>
                  </a:ext>
                </a:extLst>
              </p:cNvPr>
              <p:cNvSpPr/>
              <p:nvPr/>
            </p:nvSpPr>
            <p:spPr>
              <a:xfrm>
                <a:off x="5944189" y="5257556"/>
                <a:ext cx="18322" cy="18453"/>
              </a:xfrm>
              <a:custGeom>
                <a:avLst/>
                <a:gdLst>
                  <a:gd name="connsiteX0" fmla="*/ 18311 w 18322"/>
                  <a:gd name="connsiteY0" fmla="*/ 9765 h 18453"/>
                  <a:gd name="connsiteX1" fmla="*/ 8683 w 18322"/>
                  <a:gd name="connsiteY1" fmla="*/ 18437 h 18453"/>
                  <a:gd name="connsiteX2" fmla="*/ 10 w 18322"/>
                  <a:gd name="connsiteY2" fmla="*/ 8688 h 18453"/>
                  <a:gd name="connsiteX3" fmla="*/ 9639 w 18322"/>
                  <a:gd name="connsiteY3" fmla="*/ 16 h 18453"/>
                  <a:gd name="connsiteX4" fmla="*/ 18311 w 18322"/>
                  <a:gd name="connsiteY4" fmla="*/ 976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8311" y="9765"/>
                    </a:moveTo>
                    <a:cubicBezTo>
                      <a:pt x="18012" y="14848"/>
                      <a:pt x="13706" y="18736"/>
                      <a:pt x="8683" y="18437"/>
                    </a:cubicBezTo>
                    <a:cubicBezTo>
                      <a:pt x="3659" y="18138"/>
                      <a:pt x="-229" y="13772"/>
                      <a:pt x="10" y="8688"/>
                    </a:cubicBezTo>
                    <a:cubicBezTo>
                      <a:pt x="309" y="3604"/>
                      <a:pt x="4616" y="-283"/>
                      <a:pt x="9639" y="16"/>
                    </a:cubicBezTo>
                    <a:cubicBezTo>
                      <a:pt x="14723" y="315"/>
                      <a:pt x="18551" y="4681"/>
                      <a:pt x="18311" y="9765"/>
                    </a:cubicBezTo>
                    <a:close/>
                  </a:path>
                </a:pathLst>
              </a:custGeom>
              <a:grpFill/>
              <a:ln w="5978" cap="flat">
                <a:noFill/>
                <a:prstDash val="solid"/>
                <a:miter/>
              </a:ln>
            </p:spPr>
            <p:txBody>
              <a:bodyPr rtlCol="0" anchor="ctr"/>
              <a:lstStyle/>
              <a:p>
                <a:endParaRPr lang="en-GB"/>
              </a:p>
            </p:txBody>
          </p:sp>
          <p:sp>
            <p:nvSpPr>
              <p:cNvPr id="2914" name="Vrije vorm: vorm 2913">
                <a:extLst>
                  <a:ext uri="{FF2B5EF4-FFF2-40B4-BE49-F238E27FC236}">
                    <a16:creationId xmlns:a16="http://schemas.microsoft.com/office/drawing/2014/main" id="{528B82B8-77B5-48A2-9E47-16EB28C884D1}"/>
                  </a:ext>
                </a:extLst>
              </p:cNvPr>
              <p:cNvSpPr/>
              <p:nvPr/>
            </p:nvSpPr>
            <p:spPr>
              <a:xfrm>
                <a:off x="5952317" y="5109294"/>
                <a:ext cx="18333" cy="18452"/>
              </a:xfrm>
              <a:custGeom>
                <a:avLst/>
                <a:gdLst>
                  <a:gd name="connsiteX0" fmla="*/ 18317 w 18333"/>
                  <a:gd name="connsiteY0" fmla="*/ 9765 h 18452"/>
                  <a:gd name="connsiteX1" fmla="*/ 9645 w 18333"/>
                  <a:gd name="connsiteY1" fmla="*/ 16 h 18452"/>
                  <a:gd name="connsiteX2" fmla="*/ 16 w 18333"/>
                  <a:gd name="connsiteY2" fmla="*/ 8688 h 18452"/>
                  <a:gd name="connsiteX3" fmla="*/ 8688 w 18333"/>
                  <a:gd name="connsiteY3" fmla="*/ 18437 h 18452"/>
                  <a:gd name="connsiteX4" fmla="*/ 18317 w 18333"/>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317" y="9765"/>
                    </a:moveTo>
                    <a:cubicBezTo>
                      <a:pt x="18616" y="4681"/>
                      <a:pt x="14729" y="315"/>
                      <a:pt x="9645" y="16"/>
                    </a:cubicBezTo>
                    <a:cubicBezTo>
                      <a:pt x="4621" y="-283"/>
                      <a:pt x="256" y="3604"/>
                      <a:pt x="16" y="8688"/>
                    </a:cubicBezTo>
                    <a:cubicBezTo>
                      <a:pt x="-283" y="13772"/>
                      <a:pt x="3605" y="18138"/>
                      <a:pt x="8688" y="18437"/>
                    </a:cubicBezTo>
                    <a:cubicBezTo>
                      <a:pt x="13712" y="18736"/>
                      <a:pt x="18018" y="14848"/>
                      <a:pt x="18317" y="9765"/>
                    </a:cubicBezTo>
                    <a:close/>
                  </a:path>
                </a:pathLst>
              </a:custGeom>
              <a:grpFill/>
              <a:ln w="5978" cap="flat">
                <a:noFill/>
                <a:prstDash val="solid"/>
                <a:miter/>
              </a:ln>
            </p:spPr>
            <p:txBody>
              <a:bodyPr rtlCol="0" anchor="ctr"/>
              <a:lstStyle/>
              <a:p>
                <a:endParaRPr lang="en-GB"/>
              </a:p>
            </p:txBody>
          </p:sp>
        </p:grpSp>
        <p:grpSp>
          <p:nvGrpSpPr>
            <p:cNvPr id="829" name="Graphic 3">
              <a:extLst>
                <a:ext uri="{FF2B5EF4-FFF2-40B4-BE49-F238E27FC236}">
                  <a16:creationId xmlns:a16="http://schemas.microsoft.com/office/drawing/2014/main" id="{BBABA835-3172-439A-9A3C-A8CED562CC5C}"/>
                </a:ext>
              </a:extLst>
            </p:cNvPr>
            <p:cNvGrpSpPr/>
            <p:nvPr/>
          </p:nvGrpSpPr>
          <p:grpSpPr>
            <a:xfrm>
              <a:off x="6047307" y="5395428"/>
              <a:ext cx="18420" cy="176551"/>
              <a:chOff x="6047307" y="5395428"/>
              <a:chExt cx="18420" cy="176551"/>
            </a:xfrm>
            <a:grpFill/>
          </p:grpSpPr>
          <p:sp>
            <p:nvSpPr>
              <p:cNvPr id="2909" name="Vrije vorm: vorm 2908">
                <a:extLst>
                  <a:ext uri="{FF2B5EF4-FFF2-40B4-BE49-F238E27FC236}">
                    <a16:creationId xmlns:a16="http://schemas.microsoft.com/office/drawing/2014/main" id="{5EED1CC1-B2CB-4052-94BA-6A0E020C2ED2}"/>
                  </a:ext>
                </a:extLst>
              </p:cNvPr>
              <p:cNvSpPr/>
              <p:nvPr/>
            </p:nvSpPr>
            <p:spPr>
              <a:xfrm>
                <a:off x="6054962" y="5404220"/>
                <a:ext cx="3109" cy="159027"/>
              </a:xfrm>
              <a:custGeom>
                <a:avLst/>
                <a:gdLst>
                  <a:gd name="connsiteX0" fmla="*/ 3050 w 3109"/>
                  <a:gd name="connsiteY0" fmla="*/ 0 h 159027"/>
                  <a:gd name="connsiteX1" fmla="*/ 3110 w 3109"/>
                  <a:gd name="connsiteY1" fmla="*/ 159027 h 159027"/>
                  <a:gd name="connsiteX2" fmla="*/ 119 w 3109"/>
                  <a:gd name="connsiteY2" fmla="*/ 158967 h 159027"/>
                  <a:gd name="connsiteX3" fmla="*/ 0 w 3109"/>
                  <a:gd name="connsiteY3" fmla="*/ 0 h 159027"/>
                </a:gdLst>
                <a:ahLst/>
                <a:cxnLst>
                  <a:cxn ang="0">
                    <a:pos x="connsiteX0" y="connsiteY0"/>
                  </a:cxn>
                  <a:cxn ang="0">
                    <a:pos x="connsiteX1" y="connsiteY1"/>
                  </a:cxn>
                  <a:cxn ang="0">
                    <a:pos x="connsiteX2" y="connsiteY2"/>
                  </a:cxn>
                  <a:cxn ang="0">
                    <a:pos x="connsiteX3" y="connsiteY3"/>
                  </a:cxn>
                </a:cxnLst>
                <a:rect l="l" t="t" r="r" b="b"/>
                <a:pathLst>
                  <a:path w="3109" h="159027">
                    <a:moveTo>
                      <a:pt x="3050" y="0"/>
                    </a:moveTo>
                    <a:lnTo>
                      <a:pt x="3110" y="159027"/>
                    </a:lnTo>
                    <a:lnTo>
                      <a:pt x="119" y="158967"/>
                    </a:lnTo>
                    <a:lnTo>
                      <a:pt x="0" y="0"/>
                    </a:lnTo>
                    <a:close/>
                  </a:path>
                </a:pathLst>
              </a:custGeom>
              <a:grpFill/>
              <a:ln w="5978" cap="flat">
                <a:noFill/>
                <a:prstDash val="solid"/>
                <a:miter/>
              </a:ln>
            </p:spPr>
            <p:txBody>
              <a:bodyPr rtlCol="0" anchor="ctr"/>
              <a:lstStyle/>
              <a:p>
                <a:endParaRPr lang="en-GB"/>
              </a:p>
            </p:txBody>
          </p:sp>
          <p:sp>
            <p:nvSpPr>
              <p:cNvPr id="2910" name="Vrije vorm: vorm 2909">
                <a:extLst>
                  <a:ext uri="{FF2B5EF4-FFF2-40B4-BE49-F238E27FC236}">
                    <a16:creationId xmlns:a16="http://schemas.microsoft.com/office/drawing/2014/main" id="{74EA4A72-85A4-4AA9-8A61-8AE12E10BD45}"/>
                  </a:ext>
                </a:extLst>
              </p:cNvPr>
              <p:cNvSpPr/>
              <p:nvPr/>
            </p:nvSpPr>
            <p:spPr>
              <a:xfrm>
                <a:off x="6047427" y="5553499"/>
                <a:ext cx="18300" cy="18480"/>
              </a:xfrm>
              <a:custGeom>
                <a:avLst/>
                <a:gdLst>
                  <a:gd name="connsiteX0" fmla="*/ 18301 w 18300"/>
                  <a:gd name="connsiteY0" fmla="*/ 9270 h 18480"/>
                  <a:gd name="connsiteX1" fmla="*/ 9150 w 18300"/>
                  <a:gd name="connsiteY1" fmla="*/ 18481 h 18480"/>
                  <a:gd name="connsiteX2" fmla="*/ 0 w 18300"/>
                  <a:gd name="connsiteY2" fmla="*/ 9211 h 18480"/>
                  <a:gd name="connsiteX3" fmla="*/ 9150 w 18300"/>
                  <a:gd name="connsiteY3" fmla="*/ 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14354"/>
                      <a:pt x="14174" y="18481"/>
                      <a:pt x="9150" y="18481"/>
                    </a:cubicBezTo>
                    <a:cubicBezTo>
                      <a:pt x="4067" y="18481"/>
                      <a:pt x="0" y="14294"/>
                      <a:pt x="0" y="9211"/>
                    </a:cubicBezTo>
                    <a:cubicBezTo>
                      <a:pt x="0" y="4127"/>
                      <a:pt x="4127" y="0"/>
                      <a:pt x="9150" y="0"/>
                    </a:cubicBezTo>
                    <a:cubicBezTo>
                      <a:pt x="14234" y="60"/>
                      <a:pt x="18301" y="4187"/>
                      <a:pt x="18301" y="9270"/>
                    </a:cubicBezTo>
                    <a:close/>
                  </a:path>
                </a:pathLst>
              </a:custGeom>
              <a:grpFill/>
              <a:ln w="5978" cap="flat">
                <a:noFill/>
                <a:prstDash val="solid"/>
                <a:miter/>
              </a:ln>
            </p:spPr>
            <p:txBody>
              <a:bodyPr rtlCol="0" anchor="ctr"/>
              <a:lstStyle/>
              <a:p>
                <a:endParaRPr lang="en-GB"/>
              </a:p>
            </p:txBody>
          </p:sp>
          <p:sp>
            <p:nvSpPr>
              <p:cNvPr id="2911" name="Vrije vorm: vorm 2910">
                <a:extLst>
                  <a:ext uri="{FF2B5EF4-FFF2-40B4-BE49-F238E27FC236}">
                    <a16:creationId xmlns:a16="http://schemas.microsoft.com/office/drawing/2014/main" id="{98CA45B3-8C97-4A51-854C-FEF7E94D660D}"/>
                  </a:ext>
                </a:extLst>
              </p:cNvPr>
              <p:cNvSpPr/>
              <p:nvPr/>
            </p:nvSpPr>
            <p:spPr>
              <a:xfrm>
                <a:off x="6047307" y="5395428"/>
                <a:ext cx="18301" cy="18480"/>
              </a:xfrm>
              <a:custGeom>
                <a:avLst/>
                <a:gdLst>
                  <a:gd name="connsiteX0" fmla="*/ 18301 w 18301"/>
                  <a:gd name="connsiteY0" fmla="*/ 9270 h 18480"/>
                  <a:gd name="connsiteX1" fmla="*/ 9151 w 18301"/>
                  <a:gd name="connsiteY1" fmla="*/ 0 h 18480"/>
                  <a:gd name="connsiteX2" fmla="*/ 0 w 18301"/>
                  <a:gd name="connsiteY2" fmla="*/ 9211 h 18480"/>
                  <a:gd name="connsiteX3" fmla="*/ 9151 w 18301"/>
                  <a:gd name="connsiteY3" fmla="*/ 18481 h 18480"/>
                  <a:gd name="connsiteX4" fmla="*/ 18301 w 18301"/>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80">
                    <a:moveTo>
                      <a:pt x="18301" y="9270"/>
                    </a:moveTo>
                    <a:cubicBezTo>
                      <a:pt x="18301" y="4187"/>
                      <a:pt x="14174" y="60"/>
                      <a:pt x="9151" y="0"/>
                    </a:cubicBezTo>
                    <a:cubicBezTo>
                      <a:pt x="4067" y="0"/>
                      <a:pt x="0" y="4067"/>
                      <a:pt x="0" y="9211"/>
                    </a:cubicBezTo>
                    <a:cubicBezTo>
                      <a:pt x="0" y="14294"/>
                      <a:pt x="4127" y="18421"/>
                      <a:pt x="9151" y="18481"/>
                    </a:cubicBezTo>
                    <a:cubicBezTo>
                      <a:pt x="14234" y="18481"/>
                      <a:pt x="18361" y="14354"/>
                      <a:pt x="18301" y="9270"/>
                    </a:cubicBezTo>
                    <a:close/>
                  </a:path>
                </a:pathLst>
              </a:custGeom>
              <a:grpFill/>
              <a:ln w="5978" cap="flat">
                <a:noFill/>
                <a:prstDash val="solid"/>
                <a:miter/>
              </a:ln>
            </p:spPr>
            <p:txBody>
              <a:bodyPr rtlCol="0" anchor="ctr"/>
              <a:lstStyle/>
              <a:p>
                <a:endParaRPr lang="en-GB"/>
              </a:p>
            </p:txBody>
          </p:sp>
        </p:grpSp>
        <p:grpSp>
          <p:nvGrpSpPr>
            <p:cNvPr id="830" name="Graphic 3">
              <a:extLst>
                <a:ext uri="{FF2B5EF4-FFF2-40B4-BE49-F238E27FC236}">
                  <a16:creationId xmlns:a16="http://schemas.microsoft.com/office/drawing/2014/main" id="{1E6770F0-BCD2-40A5-9F3D-41B65FE06715}"/>
                </a:ext>
              </a:extLst>
            </p:cNvPr>
            <p:cNvGrpSpPr/>
            <p:nvPr/>
          </p:nvGrpSpPr>
          <p:grpSpPr>
            <a:xfrm>
              <a:off x="4869585" y="2050717"/>
              <a:ext cx="90565" cy="101777"/>
              <a:chOff x="4869585" y="2050717"/>
              <a:chExt cx="90565" cy="101777"/>
            </a:xfrm>
            <a:grpFill/>
          </p:grpSpPr>
          <p:sp>
            <p:nvSpPr>
              <p:cNvPr id="2906" name="Vrije vorm: vorm 2905">
                <a:extLst>
                  <a:ext uri="{FF2B5EF4-FFF2-40B4-BE49-F238E27FC236}">
                    <a16:creationId xmlns:a16="http://schemas.microsoft.com/office/drawing/2014/main" id="{90FA22A6-EBC4-496C-BCE0-F2E62E503186}"/>
                  </a:ext>
                </a:extLst>
              </p:cNvPr>
              <p:cNvSpPr/>
              <p:nvPr/>
            </p:nvSpPr>
            <p:spPr>
              <a:xfrm>
                <a:off x="4877298" y="2058604"/>
                <a:ext cx="75177" cy="86062"/>
              </a:xfrm>
              <a:custGeom>
                <a:avLst/>
                <a:gdLst>
                  <a:gd name="connsiteX0" fmla="*/ 75178 w 75177"/>
                  <a:gd name="connsiteY0" fmla="*/ 84029 h 86062"/>
                  <a:gd name="connsiteX1" fmla="*/ 72905 w 75177"/>
                  <a:gd name="connsiteY1" fmla="*/ 86063 h 86062"/>
                  <a:gd name="connsiteX2" fmla="*/ 0 w 75177"/>
                  <a:gd name="connsiteY2" fmla="*/ 2033 h 86062"/>
                  <a:gd name="connsiteX3" fmla="*/ 2333 w 75177"/>
                  <a:gd name="connsiteY3" fmla="*/ 0 h 86062"/>
                </a:gdLst>
                <a:ahLst/>
                <a:cxnLst>
                  <a:cxn ang="0">
                    <a:pos x="connsiteX0" y="connsiteY0"/>
                  </a:cxn>
                  <a:cxn ang="0">
                    <a:pos x="connsiteX1" y="connsiteY1"/>
                  </a:cxn>
                  <a:cxn ang="0">
                    <a:pos x="connsiteX2" y="connsiteY2"/>
                  </a:cxn>
                  <a:cxn ang="0">
                    <a:pos x="connsiteX3" y="connsiteY3"/>
                  </a:cxn>
                </a:cxnLst>
                <a:rect l="l" t="t" r="r" b="b"/>
                <a:pathLst>
                  <a:path w="75177" h="86062">
                    <a:moveTo>
                      <a:pt x="75178" y="84029"/>
                    </a:moveTo>
                    <a:lnTo>
                      <a:pt x="72905" y="86063"/>
                    </a:lnTo>
                    <a:lnTo>
                      <a:pt x="0" y="2033"/>
                    </a:lnTo>
                    <a:lnTo>
                      <a:pt x="2333" y="0"/>
                    </a:lnTo>
                    <a:close/>
                  </a:path>
                </a:pathLst>
              </a:custGeom>
              <a:grpFill/>
              <a:ln w="5978" cap="flat">
                <a:noFill/>
                <a:prstDash val="solid"/>
                <a:miter/>
              </a:ln>
            </p:spPr>
            <p:txBody>
              <a:bodyPr rtlCol="0" anchor="ctr"/>
              <a:lstStyle/>
              <a:p>
                <a:endParaRPr lang="en-GB"/>
              </a:p>
            </p:txBody>
          </p:sp>
          <p:sp>
            <p:nvSpPr>
              <p:cNvPr id="2907" name="Vrije vorm: vorm 2906">
                <a:extLst>
                  <a:ext uri="{FF2B5EF4-FFF2-40B4-BE49-F238E27FC236}">
                    <a16:creationId xmlns:a16="http://schemas.microsoft.com/office/drawing/2014/main" id="{BA63A877-3975-4274-B56F-57BFAE9263A5}"/>
                  </a:ext>
                </a:extLst>
              </p:cNvPr>
              <p:cNvSpPr/>
              <p:nvPr/>
            </p:nvSpPr>
            <p:spPr>
              <a:xfrm>
                <a:off x="4869585" y="2050717"/>
                <a:ext cx="18297" cy="18450"/>
              </a:xfrm>
              <a:custGeom>
                <a:avLst/>
                <a:gdLst>
                  <a:gd name="connsiteX0" fmla="*/ 2271 w 18297"/>
                  <a:gd name="connsiteY0" fmla="*/ 15243 h 18450"/>
                  <a:gd name="connsiteX1" fmla="*/ 3108 w 18297"/>
                  <a:gd name="connsiteY1" fmla="*/ 2265 h 18450"/>
                  <a:gd name="connsiteX2" fmla="*/ 16027 w 18297"/>
                  <a:gd name="connsiteY2" fmla="*/ 3162 h 18450"/>
                  <a:gd name="connsiteX3" fmla="*/ 15189 w 18297"/>
                  <a:gd name="connsiteY3" fmla="*/ 16141 h 18450"/>
                  <a:gd name="connsiteX4" fmla="*/ 2271 w 18297"/>
                  <a:gd name="connsiteY4" fmla="*/ 15243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50">
                    <a:moveTo>
                      <a:pt x="2271" y="15243"/>
                    </a:moveTo>
                    <a:cubicBezTo>
                      <a:pt x="-1078" y="11416"/>
                      <a:pt x="-660" y="5555"/>
                      <a:pt x="3108" y="2265"/>
                    </a:cubicBezTo>
                    <a:cubicBezTo>
                      <a:pt x="6936" y="-1084"/>
                      <a:pt x="12737" y="-665"/>
                      <a:pt x="16027" y="3162"/>
                    </a:cubicBezTo>
                    <a:cubicBezTo>
                      <a:pt x="19376" y="6990"/>
                      <a:pt x="18957" y="12851"/>
                      <a:pt x="15189" y="16141"/>
                    </a:cubicBezTo>
                    <a:cubicBezTo>
                      <a:pt x="11421" y="19550"/>
                      <a:pt x="5620" y="19131"/>
                      <a:pt x="2271" y="15243"/>
                    </a:cubicBezTo>
                    <a:close/>
                  </a:path>
                </a:pathLst>
              </a:custGeom>
              <a:grpFill/>
              <a:ln w="5978" cap="flat">
                <a:noFill/>
                <a:prstDash val="solid"/>
                <a:miter/>
              </a:ln>
            </p:spPr>
            <p:txBody>
              <a:bodyPr rtlCol="0" anchor="ctr"/>
              <a:lstStyle/>
              <a:p>
                <a:endParaRPr lang="en-GB"/>
              </a:p>
            </p:txBody>
          </p:sp>
          <p:sp>
            <p:nvSpPr>
              <p:cNvPr id="2908" name="Vrije vorm: vorm 2907">
                <a:extLst>
                  <a:ext uri="{FF2B5EF4-FFF2-40B4-BE49-F238E27FC236}">
                    <a16:creationId xmlns:a16="http://schemas.microsoft.com/office/drawing/2014/main" id="{BDE3151F-F30A-435C-BB8F-4C7014978EC1}"/>
                  </a:ext>
                </a:extLst>
              </p:cNvPr>
              <p:cNvSpPr/>
              <p:nvPr/>
            </p:nvSpPr>
            <p:spPr>
              <a:xfrm>
                <a:off x="4941856" y="2134088"/>
                <a:ext cx="18294" cy="18405"/>
              </a:xfrm>
              <a:custGeom>
                <a:avLst/>
                <a:gdLst>
                  <a:gd name="connsiteX0" fmla="*/ 2247 w 18294"/>
                  <a:gd name="connsiteY0" fmla="*/ 15243 h 18405"/>
                  <a:gd name="connsiteX1" fmla="*/ 15165 w 18294"/>
                  <a:gd name="connsiteY1" fmla="*/ 16141 h 18405"/>
                  <a:gd name="connsiteX2" fmla="*/ 16003 w 18294"/>
                  <a:gd name="connsiteY2" fmla="*/ 3162 h 18405"/>
                  <a:gd name="connsiteX3" fmla="*/ 3084 w 18294"/>
                  <a:gd name="connsiteY3" fmla="*/ 2265 h 18405"/>
                  <a:gd name="connsiteX4" fmla="*/ 2247 w 18294"/>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05">
                    <a:moveTo>
                      <a:pt x="2247" y="15243"/>
                    </a:moveTo>
                    <a:cubicBezTo>
                      <a:pt x="5596" y="19071"/>
                      <a:pt x="11397" y="19490"/>
                      <a:pt x="15165" y="16141"/>
                    </a:cubicBezTo>
                    <a:cubicBezTo>
                      <a:pt x="18993" y="12791"/>
                      <a:pt x="19352" y="6990"/>
                      <a:pt x="16003" y="3162"/>
                    </a:cubicBezTo>
                    <a:cubicBezTo>
                      <a:pt x="12654" y="-665"/>
                      <a:pt x="6852" y="-1084"/>
                      <a:pt x="3084" y="2265"/>
                    </a:cubicBezTo>
                    <a:cubicBezTo>
                      <a:pt x="-684" y="5615"/>
                      <a:pt x="-1043" y="11416"/>
                      <a:pt x="2247" y="15243"/>
                    </a:cubicBezTo>
                    <a:close/>
                  </a:path>
                </a:pathLst>
              </a:custGeom>
              <a:grpFill/>
              <a:ln w="5978" cap="flat">
                <a:noFill/>
                <a:prstDash val="solid"/>
                <a:miter/>
              </a:ln>
            </p:spPr>
            <p:txBody>
              <a:bodyPr rtlCol="0" anchor="ctr"/>
              <a:lstStyle/>
              <a:p>
                <a:endParaRPr lang="en-GB"/>
              </a:p>
            </p:txBody>
          </p:sp>
        </p:grpSp>
        <p:grpSp>
          <p:nvGrpSpPr>
            <p:cNvPr id="831" name="Graphic 3">
              <a:extLst>
                <a:ext uri="{FF2B5EF4-FFF2-40B4-BE49-F238E27FC236}">
                  <a16:creationId xmlns:a16="http://schemas.microsoft.com/office/drawing/2014/main" id="{DB69B1B9-1923-4A23-A084-82232DEED2F0}"/>
                </a:ext>
              </a:extLst>
            </p:cNvPr>
            <p:cNvGrpSpPr/>
            <p:nvPr/>
          </p:nvGrpSpPr>
          <p:grpSpPr>
            <a:xfrm>
              <a:off x="4805112" y="1864113"/>
              <a:ext cx="77806" cy="92376"/>
              <a:chOff x="4805112" y="1864113"/>
              <a:chExt cx="77806" cy="92376"/>
            </a:xfrm>
            <a:grpFill/>
          </p:grpSpPr>
          <p:sp>
            <p:nvSpPr>
              <p:cNvPr id="2903" name="Vrije vorm: vorm 2902">
                <a:extLst>
                  <a:ext uri="{FF2B5EF4-FFF2-40B4-BE49-F238E27FC236}">
                    <a16:creationId xmlns:a16="http://schemas.microsoft.com/office/drawing/2014/main" id="{5995A1FD-2E5A-4655-A932-98A2F5C48E8E}"/>
                  </a:ext>
                </a:extLst>
              </p:cNvPr>
              <p:cNvSpPr/>
              <p:nvPr/>
            </p:nvSpPr>
            <p:spPr>
              <a:xfrm>
                <a:off x="4812766" y="1872006"/>
                <a:ext cx="62378" cy="76613"/>
              </a:xfrm>
              <a:custGeom>
                <a:avLst/>
                <a:gdLst>
                  <a:gd name="connsiteX0" fmla="*/ 62379 w 62378"/>
                  <a:gd name="connsiteY0" fmla="*/ 74699 h 76613"/>
                  <a:gd name="connsiteX1" fmla="*/ 60046 w 62378"/>
                  <a:gd name="connsiteY1" fmla="*/ 76613 h 76613"/>
                  <a:gd name="connsiteX2" fmla="*/ 0 w 62378"/>
                  <a:gd name="connsiteY2" fmla="*/ 1914 h 76613"/>
                  <a:gd name="connsiteX3" fmla="*/ 2392 w 62378"/>
                  <a:gd name="connsiteY3" fmla="*/ 0 h 76613"/>
                </a:gdLst>
                <a:ahLst/>
                <a:cxnLst>
                  <a:cxn ang="0">
                    <a:pos x="connsiteX0" y="connsiteY0"/>
                  </a:cxn>
                  <a:cxn ang="0">
                    <a:pos x="connsiteX1" y="connsiteY1"/>
                  </a:cxn>
                  <a:cxn ang="0">
                    <a:pos x="connsiteX2" y="connsiteY2"/>
                  </a:cxn>
                  <a:cxn ang="0">
                    <a:pos x="connsiteX3" y="connsiteY3"/>
                  </a:cxn>
                </a:cxnLst>
                <a:rect l="l" t="t" r="r" b="b"/>
                <a:pathLst>
                  <a:path w="62378" h="76613">
                    <a:moveTo>
                      <a:pt x="62379" y="74699"/>
                    </a:moveTo>
                    <a:lnTo>
                      <a:pt x="60046" y="76613"/>
                    </a:lnTo>
                    <a:lnTo>
                      <a:pt x="0" y="1914"/>
                    </a:lnTo>
                    <a:lnTo>
                      <a:pt x="2392" y="0"/>
                    </a:lnTo>
                    <a:close/>
                  </a:path>
                </a:pathLst>
              </a:custGeom>
              <a:grpFill/>
              <a:ln w="5978" cap="flat">
                <a:noFill/>
                <a:prstDash val="solid"/>
                <a:miter/>
              </a:ln>
            </p:spPr>
            <p:txBody>
              <a:bodyPr rtlCol="0" anchor="ctr"/>
              <a:lstStyle/>
              <a:p>
                <a:endParaRPr lang="en-GB"/>
              </a:p>
            </p:txBody>
          </p:sp>
          <p:sp>
            <p:nvSpPr>
              <p:cNvPr id="2904" name="Vrije vorm: vorm 2903">
                <a:extLst>
                  <a:ext uri="{FF2B5EF4-FFF2-40B4-BE49-F238E27FC236}">
                    <a16:creationId xmlns:a16="http://schemas.microsoft.com/office/drawing/2014/main" id="{3AB4D0AC-754D-41F7-939C-1AE1E20C4B3C}"/>
                  </a:ext>
                </a:extLst>
              </p:cNvPr>
              <p:cNvSpPr/>
              <p:nvPr/>
            </p:nvSpPr>
            <p:spPr>
              <a:xfrm>
                <a:off x="4805112" y="1864113"/>
                <a:ext cx="18358" cy="18443"/>
              </a:xfrm>
              <a:custGeom>
                <a:avLst/>
                <a:gdLst>
                  <a:gd name="connsiteX0" fmla="*/ 2032 w 18358"/>
                  <a:gd name="connsiteY0" fmla="*/ 15010 h 18443"/>
                  <a:gd name="connsiteX1" fmla="*/ 3408 w 18358"/>
                  <a:gd name="connsiteY1" fmla="*/ 2032 h 18443"/>
                  <a:gd name="connsiteX2" fmla="*/ 16326 w 18358"/>
                  <a:gd name="connsiteY2" fmla="*/ 3408 h 18443"/>
                  <a:gd name="connsiteX3" fmla="*/ 14951 w 18358"/>
                  <a:gd name="connsiteY3" fmla="*/ 16386 h 18443"/>
                  <a:gd name="connsiteX4" fmla="*/ 2032 w 18358"/>
                  <a:gd name="connsiteY4" fmla="*/ 15010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3">
                    <a:moveTo>
                      <a:pt x="2032" y="15010"/>
                    </a:moveTo>
                    <a:cubicBezTo>
                      <a:pt x="-1138" y="11063"/>
                      <a:pt x="-539" y="5262"/>
                      <a:pt x="3408" y="2032"/>
                    </a:cubicBezTo>
                    <a:cubicBezTo>
                      <a:pt x="7355" y="-1137"/>
                      <a:pt x="13097" y="-539"/>
                      <a:pt x="16326" y="3408"/>
                    </a:cubicBezTo>
                    <a:cubicBezTo>
                      <a:pt x="19496" y="7355"/>
                      <a:pt x="18898" y="13156"/>
                      <a:pt x="14951" y="16386"/>
                    </a:cubicBezTo>
                    <a:cubicBezTo>
                      <a:pt x="10944" y="19616"/>
                      <a:pt x="5202" y="18958"/>
                      <a:pt x="2032" y="15010"/>
                    </a:cubicBezTo>
                    <a:close/>
                  </a:path>
                </a:pathLst>
              </a:custGeom>
              <a:grpFill/>
              <a:ln w="5978" cap="flat">
                <a:noFill/>
                <a:prstDash val="solid"/>
                <a:miter/>
              </a:ln>
            </p:spPr>
            <p:txBody>
              <a:bodyPr rtlCol="0" anchor="ctr"/>
              <a:lstStyle/>
              <a:p>
                <a:endParaRPr lang="en-GB"/>
              </a:p>
            </p:txBody>
          </p:sp>
          <p:sp>
            <p:nvSpPr>
              <p:cNvPr id="2905" name="Vrije vorm: vorm 2904">
                <a:extLst>
                  <a:ext uri="{FF2B5EF4-FFF2-40B4-BE49-F238E27FC236}">
                    <a16:creationId xmlns:a16="http://schemas.microsoft.com/office/drawing/2014/main" id="{1C3E75BD-4F41-41FE-96EA-4B99C953ED95}"/>
                  </a:ext>
                </a:extLst>
              </p:cNvPr>
              <p:cNvSpPr/>
              <p:nvPr/>
            </p:nvSpPr>
            <p:spPr>
              <a:xfrm>
                <a:off x="4864516" y="1938069"/>
                <a:ext cx="18402" cy="18419"/>
              </a:xfrm>
              <a:custGeom>
                <a:avLst/>
                <a:gdLst>
                  <a:gd name="connsiteX0" fmla="*/ 2076 w 18402"/>
                  <a:gd name="connsiteY0" fmla="*/ 14976 h 18419"/>
                  <a:gd name="connsiteX1" fmla="*/ 14995 w 18402"/>
                  <a:gd name="connsiteY1" fmla="*/ 16411 h 18419"/>
                  <a:gd name="connsiteX2" fmla="*/ 16370 w 18402"/>
                  <a:gd name="connsiteY2" fmla="*/ 3433 h 18419"/>
                  <a:gd name="connsiteX3" fmla="*/ 3452 w 18402"/>
                  <a:gd name="connsiteY3" fmla="*/ 2057 h 18419"/>
                  <a:gd name="connsiteX4" fmla="*/ 2076 w 18402"/>
                  <a:gd name="connsiteY4" fmla="*/ 1497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2" h="18419">
                    <a:moveTo>
                      <a:pt x="2076" y="14976"/>
                    </a:moveTo>
                    <a:cubicBezTo>
                      <a:pt x="5246" y="18923"/>
                      <a:pt x="11047" y="19581"/>
                      <a:pt x="14995" y="16411"/>
                    </a:cubicBezTo>
                    <a:cubicBezTo>
                      <a:pt x="18942" y="13241"/>
                      <a:pt x="19540" y="7440"/>
                      <a:pt x="16370" y="3433"/>
                    </a:cubicBezTo>
                    <a:cubicBezTo>
                      <a:pt x="13200" y="-514"/>
                      <a:pt x="7399" y="-1172"/>
                      <a:pt x="3452" y="2057"/>
                    </a:cubicBezTo>
                    <a:cubicBezTo>
                      <a:pt x="-555" y="5227"/>
                      <a:pt x="-1153" y="11028"/>
                      <a:pt x="2076" y="14976"/>
                    </a:cubicBezTo>
                    <a:close/>
                  </a:path>
                </a:pathLst>
              </a:custGeom>
              <a:grpFill/>
              <a:ln w="5978" cap="flat">
                <a:noFill/>
                <a:prstDash val="solid"/>
                <a:miter/>
              </a:ln>
            </p:spPr>
            <p:txBody>
              <a:bodyPr rtlCol="0" anchor="ctr"/>
              <a:lstStyle/>
              <a:p>
                <a:endParaRPr lang="en-GB"/>
              </a:p>
            </p:txBody>
          </p:sp>
        </p:grpSp>
        <p:grpSp>
          <p:nvGrpSpPr>
            <p:cNvPr id="832" name="Graphic 3">
              <a:extLst>
                <a:ext uri="{FF2B5EF4-FFF2-40B4-BE49-F238E27FC236}">
                  <a16:creationId xmlns:a16="http://schemas.microsoft.com/office/drawing/2014/main" id="{2830642F-FC11-4919-8D72-02A6F5EA58A0}"/>
                </a:ext>
              </a:extLst>
            </p:cNvPr>
            <p:cNvGrpSpPr/>
            <p:nvPr/>
          </p:nvGrpSpPr>
          <p:grpSpPr>
            <a:xfrm>
              <a:off x="4751866" y="1858895"/>
              <a:ext cx="209102" cy="292988"/>
              <a:chOff x="4751866" y="1858895"/>
              <a:chExt cx="209102" cy="292988"/>
            </a:xfrm>
            <a:grpFill/>
          </p:grpSpPr>
          <p:sp>
            <p:nvSpPr>
              <p:cNvPr id="2900" name="Vrije vorm: vorm 2899">
                <a:extLst>
                  <a:ext uri="{FF2B5EF4-FFF2-40B4-BE49-F238E27FC236}">
                    <a16:creationId xmlns:a16="http://schemas.microsoft.com/office/drawing/2014/main" id="{ADF4778D-919F-4661-8C71-A072B57C5502}"/>
                  </a:ext>
                </a:extLst>
              </p:cNvPr>
              <p:cNvSpPr/>
              <p:nvPr/>
            </p:nvSpPr>
            <p:spPr>
              <a:xfrm>
                <a:off x="4759478" y="1866863"/>
                <a:ext cx="193835" cy="277086"/>
              </a:xfrm>
              <a:custGeom>
                <a:avLst/>
                <a:gdLst>
                  <a:gd name="connsiteX0" fmla="*/ 193835 w 193835"/>
                  <a:gd name="connsiteY0" fmla="*/ 275352 h 277086"/>
                  <a:gd name="connsiteX1" fmla="*/ 191324 w 193835"/>
                  <a:gd name="connsiteY1" fmla="*/ 277087 h 277086"/>
                  <a:gd name="connsiteX2" fmla="*/ 0 w 193835"/>
                  <a:gd name="connsiteY2" fmla="*/ 1734 h 277086"/>
                  <a:gd name="connsiteX3" fmla="*/ 2452 w 193835"/>
                  <a:gd name="connsiteY3" fmla="*/ 0 h 277086"/>
                </a:gdLst>
                <a:ahLst/>
                <a:cxnLst>
                  <a:cxn ang="0">
                    <a:pos x="connsiteX0" y="connsiteY0"/>
                  </a:cxn>
                  <a:cxn ang="0">
                    <a:pos x="connsiteX1" y="connsiteY1"/>
                  </a:cxn>
                  <a:cxn ang="0">
                    <a:pos x="connsiteX2" y="connsiteY2"/>
                  </a:cxn>
                  <a:cxn ang="0">
                    <a:pos x="connsiteX3" y="connsiteY3"/>
                  </a:cxn>
                </a:cxnLst>
                <a:rect l="l" t="t" r="r" b="b"/>
                <a:pathLst>
                  <a:path w="193835" h="277086">
                    <a:moveTo>
                      <a:pt x="193835" y="275352"/>
                    </a:moveTo>
                    <a:lnTo>
                      <a:pt x="191324" y="277087"/>
                    </a:lnTo>
                    <a:lnTo>
                      <a:pt x="0" y="1734"/>
                    </a:lnTo>
                    <a:lnTo>
                      <a:pt x="2452" y="0"/>
                    </a:lnTo>
                    <a:close/>
                  </a:path>
                </a:pathLst>
              </a:custGeom>
              <a:grpFill/>
              <a:ln w="5978" cap="flat">
                <a:noFill/>
                <a:prstDash val="solid"/>
                <a:miter/>
              </a:ln>
            </p:spPr>
            <p:txBody>
              <a:bodyPr rtlCol="0" anchor="ctr"/>
              <a:lstStyle/>
              <a:p>
                <a:endParaRPr lang="en-GB"/>
              </a:p>
            </p:txBody>
          </p:sp>
          <p:sp>
            <p:nvSpPr>
              <p:cNvPr id="2901" name="Vrije vorm: vorm 2900">
                <a:extLst>
                  <a:ext uri="{FF2B5EF4-FFF2-40B4-BE49-F238E27FC236}">
                    <a16:creationId xmlns:a16="http://schemas.microsoft.com/office/drawing/2014/main" id="{32C8B435-10CA-4AA0-9656-1301B7EF3BDB}"/>
                  </a:ext>
                </a:extLst>
              </p:cNvPr>
              <p:cNvSpPr/>
              <p:nvPr/>
            </p:nvSpPr>
            <p:spPr>
              <a:xfrm>
                <a:off x="4942608" y="2133486"/>
                <a:ext cx="18359" cy="18397"/>
              </a:xfrm>
              <a:custGeom>
                <a:avLst/>
                <a:gdLst>
                  <a:gd name="connsiteX0" fmla="*/ 16686 w 18359"/>
                  <a:gd name="connsiteY0" fmla="*/ 3944 h 18397"/>
                  <a:gd name="connsiteX1" fmla="*/ 14413 w 18359"/>
                  <a:gd name="connsiteY1" fmla="*/ 16743 h 18397"/>
                  <a:gd name="connsiteX2" fmla="*/ 1674 w 18359"/>
                  <a:gd name="connsiteY2" fmla="*/ 14411 h 18397"/>
                  <a:gd name="connsiteX3" fmla="*/ 3947 w 18359"/>
                  <a:gd name="connsiteY3" fmla="*/ 1612 h 18397"/>
                  <a:gd name="connsiteX4" fmla="*/ 16686 w 18359"/>
                  <a:gd name="connsiteY4" fmla="*/ 3944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97">
                    <a:moveTo>
                      <a:pt x="16686" y="3944"/>
                    </a:moveTo>
                    <a:cubicBezTo>
                      <a:pt x="19616" y="8131"/>
                      <a:pt x="18599" y="13872"/>
                      <a:pt x="14413" y="16743"/>
                    </a:cubicBezTo>
                    <a:cubicBezTo>
                      <a:pt x="10286" y="19674"/>
                      <a:pt x="4545" y="18597"/>
                      <a:pt x="1674" y="14411"/>
                    </a:cubicBezTo>
                    <a:cubicBezTo>
                      <a:pt x="-1257" y="10224"/>
                      <a:pt x="-240" y="4483"/>
                      <a:pt x="3947" y="1612"/>
                    </a:cubicBezTo>
                    <a:cubicBezTo>
                      <a:pt x="8073" y="-1259"/>
                      <a:pt x="13815" y="-182"/>
                      <a:pt x="16686" y="3944"/>
                    </a:cubicBezTo>
                    <a:close/>
                  </a:path>
                </a:pathLst>
              </a:custGeom>
              <a:grpFill/>
              <a:ln w="5978" cap="flat">
                <a:noFill/>
                <a:prstDash val="solid"/>
                <a:miter/>
              </a:ln>
            </p:spPr>
            <p:txBody>
              <a:bodyPr rtlCol="0" anchor="ctr"/>
              <a:lstStyle/>
              <a:p>
                <a:endParaRPr lang="en-GB"/>
              </a:p>
            </p:txBody>
          </p:sp>
          <p:sp>
            <p:nvSpPr>
              <p:cNvPr id="2902" name="Vrije vorm: vorm 2901">
                <a:extLst>
                  <a:ext uri="{FF2B5EF4-FFF2-40B4-BE49-F238E27FC236}">
                    <a16:creationId xmlns:a16="http://schemas.microsoft.com/office/drawing/2014/main" id="{C3EA8DFA-0A9F-477A-B1EE-4FBFE752DA32}"/>
                  </a:ext>
                </a:extLst>
              </p:cNvPr>
              <p:cNvSpPr/>
              <p:nvPr/>
            </p:nvSpPr>
            <p:spPr>
              <a:xfrm>
                <a:off x="4751866" y="1858895"/>
                <a:ext cx="18274" cy="18387"/>
              </a:xfrm>
              <a:custGeom>
                <a:avLst/>
                <a:gdLst>
                  <a:gd name="connsiteX0" fmla="*/ 16643 w 18274"/>
                  <a:gd name="connsiteY0" fmla="*/ 3961 h 18387"/>
                  <a:gd name="connsiteX1" fmla="*/ 3904 w 18274"/>
                  <a:gd name="connsiteY1" fmla="*/ 1628 h 18387"/>
                  <a:gd name="connsiteX2" fmla="*/ 1631 w 18274"/>
                  <a:gd name="connsiteY2" fmla="*/ 14427 h 18387"/>
                  <a:gd name="connsiteX3" fmla="*/ 14370 w 18274"/>
                  <a:gd name="connsiteY3" fmla="*/ 16759 h 18387"/>
                  <a:gd name="connsiteX4" fmla="*/ 16643 w 18274"/>
                  <a:gd name="connsiteY4" fmla="*/ 3961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16643" y="3961"/>
                    </a:moveTo>
                    <a:cubicBezTo>
                      <a:pt x="13713" y="-226"/>
                      <a:pt x="8031" y="-1243"/>
                      <a:pt x="3904" y="1628"/>
                    </a:cubicBezTo>
                    <a:cubicBezTo>
                      <a:pt x="-223" y="4559"/>
                      <a:pt x="-1239" y="10300"/>
                      <a:pt x="1631" y="14427"/>
                    </a:cubicBezTo>
                    <a:cubicBezTo>
                      <a:pt x="4562" y="18613"/>
                      <a:pt x="10244" y="19630"/>
                      <a:pt x="14370" y="16759"/>
                    </a:cubicBezTo>
                    <a:cubicBezTo>
                      <a:pt x="18497" y="13889"/>
                      <a:pt x="19514" y="8147"/>
                      <a:pt x="16643" y="3961"/>
                    </a:cubicBezTo>
                    <a:close/>
                  </a:path>
                </a:pathLst>
              </a:custGeom>
              <a:grpFill/>
              <a:ln w="5978" cap="flat">
                <a:noFill/>
                <a:prstDash val="solid"/>
                <a:miter/>
              </a:ln>
            </p:spPr>
            <p:txBody>
              <a:bodyPr rtlCol="0" anchor="ctr"/>
              <a:lstStyle/>
              <a:p>
                <a:endParaRPr lang="en-GB"/>
              </a:p>
            </p:txBody>
          </p:sp>
        </p:grpSp>
        <p:grpSp>
          <p:nvGrpSpPr>
            <p:cNvPr id="833" name="Graphic 3">
              <a:extLst>
                <a:ext uri="{FF2B5EF4-FFF2-40B4-BE49-F238E27FC236}">
                  <a16:creationId xmlns:a16="http://schemas.microsoft.com/office/drawing/2014/main" id="{45A50622-EBCE-4105-B319-EF13D44D4784}"/>
                </a:ext>
              </a:extLst>
            </p:cNvPr>
            <p:cNvGrpSpPr/>
            <p:nvPr/>
          </p:nvGrpSpPr>
          <p:grpSpPr>
            <a:xfrm>
              <a:off x="5964253" y="5098444"/>
              <a:ext cx="69150" cy="583502"/>
              <a:chOff x="5964253" y="5098444"/>
              <a:chExt cx="69150" cy="583502"/>
            </a:xfrm>
            <a:grpFill/>
          </p:grpSpPr>
          <p:sp>
            <p:nvSpPr>
              <p:cNvPr id="2897" name="Vrije vorm: vorm 2896">
                <a:extLst>
                  <a:ext uri="{FF2B5EF4-FFF2-40B4-BE49-F238E27FC236}">
                    <a16:creationId xmlns:a16="http://schemas.microsoft.com/office/drawing/2014/main" id="{0AB2C160-4948-4078-88AE-B032961E83FB}"/>
                  </a:ext>
                </a:extLst>
              </p:cNvPr>
              <p:cNvSpPr/>
              <p:nvPr/>
            </p:nvSpPr>
            <p:spPr>
              <a:xfrm>
                <a:off x="5971890" y="5107038"/>
                <a:ext cx="53946" cy="566314"/>
              </a:xfrm>
              <a:custGeom>
                <a:avLst/>
                <a:gdLst>
                  <a:gd name="connsiteX0" fmla="*/ 53946 w 53946"/>
                  <a:gd name="connsiteY0" fmla="*/ 299 h 566314"/>
                  <a:gd name="connsiteX1" fmla="*/ 2990 w 53946"/>
                  <a:gd name="connsiteY1" fmla="*/ 566315 h 566314"/>
                  <a:gd name="connsiteX2" fmla="*/ 0 w 53946"/>
                  <a:gd name="connsiteY2" fmla="*/ 566015 h 566314"/>
                  <a:gd name="connsiteX3" fmla="*/ 50896 w 53946"/>
                  <a:gd name="connsiteY3" fmla="*/ 0 h 566314"/>
                </a:gdLst>
                <a:ahLst/>
                <a:cxnLst>
                  <a:cxn ang="0">
                    <a:pos x="connsiteX0" y="connsiteY0"/>
                  </a:cxn>
                  <a:cxn ang="0">
                    <a:pos x="connsiteX1" y="connsiteY1"/>
                  </a:cxn>
                  <a:cxn ang="0">
                    <a:pos x="connsiteX2" y="connsiteY2"/>
                  </a:cxn>
                  <a:cxn ang="0">
                    <a:pos x="connsiteX3" y="connsiteY3"/>
                  </a:cxn>
                </a:cxnLst>
                <a:rect l="l" t="t" r="r" b="b"/>
                <a:pathLst>
                  <a:path w="53946" h="566314">
                    <a:moveTo>
                      <a:pt x="53946" y="299"/>
                    </a:moveTo>
                    <a:lnTo>
                      <a:pt x="2990" y="566315"/>
                    </a:lnTo>
                    <a:lnTo>
                      <a:pt x="0" y="566015"/>
                    </a:lnTo>
                    <a:lnTo>
                      <a:pt x="50896" y="0"/>
                    </a:lnTo>
                    <a:close/>
                  </a:path>
                </a:pathLst>
              </a:custGeom>
              <a:grpFill/>
              <a:ln w="5978" cap="flat">
                <a:noFill/>
                <a:prstDash val="solid"/>
                <a:miter/>
              </a:ln>
            </p:spPr>
            <p:txBody>
              <a:bodyPr rtlCol="0" anchor="ctr"/>
              <a:lstStyle/>
              <a:p>
                <a:endParaRPr lang="en-GB"/>
              </a:p>
            </p:txBody>
          </p:sp>
          <p:sp>
            <p:nvSpPr>
              <p:cNvPr id="2898" name="Vrije vorm: vorm 2897">
                <a:extLst>
                  <a:ext uri="{FF2B5EF4-FFF2-40B4-BE49-F238E27FC236}">
                    <a16:creationId xmlns:a16="http://schemas.microsoft.com/office/drawing/2014/main" id="{39AEBFCA-A1E1-4972-B27F-58E195D89AAE}"/>
                  </a:ext>
                </a:extLst>
              </p:cNvPr>
              <p:cNvSpPr/>
              <p:nvPr/>
            </p:nvSpPr>
            <p:spPr>
              <a:xfrm>
                <a:off x="6015089" y="5098444"/>
                <a:ext cx="18314" cy="18443"/>
              </a:xfrm>
              <a:custGeom>
                <a:avLst/>
                <a:gdLst>
                  <a:gd name="connsiteX0" fmla="*/ 42 w 18314"/>
                  <a:gd name="connsiteY0" fmla="*/ 8354 h 18443"/>
                  <a:gd name="connsiteX1" fmla="*/ 9970 w 18314"/>
                  <a:gd name="connsiteY1" fmla="*/ 42 h 18443"/>
                  <a:gd name="connsiteX2" fmla="*/ 18283 w 18314"/>
                  <a:gd name="connsiteY2" fmla="*/ 10089 h 18443"/>
                  <a:gd name="connsiteX3" fmla="*/ 8355 w 18314"/>
                  <a:gd name="connsiteY3" fmla="*/ 18402 h 18443"/>
                  <a:gd name="connsiteX4" fmla="*/ 42 w 18314"/>
                  <a:gd name="connsiteY4" fmla="*/ 835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43">
                    <a:moveTo>
                      <a:pt x="42" y="8354"/>
                    </a:moveTo>
                    <a:cubicBezTo>
                      <a:pt x="520" y="3271"/>
                      <a:pt x="4946" y="-437"/>
                      <a:pt x="9970" y="42"/>
                    </a:cubicBezTo>
                    <a:cubicBezTo>
                      <a:pt x="14993" y="520"/>
                      <a:pt x="18701" y="5005"/>
                      <a:pt x="18283" y="10089"/>
                    </a:cubicBezTo>
                    <a:cubicBezTo>
                      <a:pt x="17805" y="15173"/>
                      <a:pt x="13379" y="18881"/>
                      <a:pt x="8355" y="18402"/>
                    </a:cubicBezTo>
                    <a:cubicBezTo>
                      <a:pt x="3271" y="17924"/>
                      <a:pt x="-437" y="13438"/>
                      <a:pt x="42" y="8354"/>
                    </a:cubicBezTo>
                    <a:close/>
                  </a:path>
                </a:pathLst>
              </a:custGeom>
              <a:grpFill/>
              <a:ln w="5978" cap="flat">
                <a:noFill/>
                <a:prstDash val="solid"/>
                <a:miter/>
              </a:ln>
            </p:spPr>
            <p:txBody>
              <a:bodyPr rtlCol="0" anchor="ctr"/>
              <a:lstStyle/>
              <a:p>
                <a:endParaRPr lang="en-GB"/>
              </a:p>
            </p:txBody>
          </p:sp>
          <p:sp>
            <p:nvSpPr>
              <p:cNvPr id="2899" name="Vrije vorm: vorm 2898">
                <a:extLst>
                  <a:ext uri="{FF2B5EF4-FFF2-40B4-BE49-F238E27FC236}">
                    <a16:creationId xmlns:a16="http://schemas.microsoft.com/office/drawing/2014/main" id="{4D943991-FABE-471B-B146-EC18CB673756}"/>
                  </a:ext>
                </a:extLst>
              </p:cNvPr>
              <p:cNvSpPr/>
              <p:nvPr/>
            </p:nvSpPr>
            <p:spPr>
              <a:xfrm>
                <a:off x="5964253" y="5663502"/>
                <a:ext cx="18323" cy="18443"/>
              </a:xfrm>
              <a:custGeom>
                <a:avLst/>
                <a:gdLst>
                  <a:gd name="connsiteX0" fmla="*/ 41 w 18323"/>
                  <a:gd name="connsiteY0" fmla="*/ 8355 h 18443"/>
                  <a:gd name="connsiteX1" fmla="*/ 8354 w 18323"/>
                  <a:gd name="connsiteY1" fmla="*/ 18402 h 18443"/>
                  <a:gd name="connsiteX2" fmla="*/ 18282 w 18323"/>
                  <a:gd name="connsiteY2" fmla="*/ 10089 h 18443"/>
                  <a:gd name="connsiteX3" fmla="*/ 9969 w 18323"/>
                  <a:gd name="connsiteY3" fmla="*/ 42 h 18443"/>
                  <a:gd name="connsiteX4" fmla="*/ 41 w 18323"/>
                  <a:gd name="connsiteY4" fmla="*/ 835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3">
                    <a:moveTo>
                      <a:pt x="41" y="8355"/>
                    </a:moveTo>
                    <a:cubicBezTo>
                      <a:pt x="-438" y="13438"/>
                      <a:pt x="3330" y="17924"/>
                      <a:pt x="8354" y="18402"/>
                    </a:cubicBezTo>
                    <a:cubicBezTo>
                      <a:pt x="13378" y="18881"/>
                      <a:pt x="17864" y="15173"/>
                      <a:pt x="18282" y="10089"/>
                    </a:cubicBezTo>
                    <a:cubicBezTo>
                      <a:pt x="18761" y="5006"/>
                      <a:pt x="14993" y="520"/>
                      <a:pt x="9969" y="42"/>
                    </a:cubicBezTo>
                    <a:cubicBezTo>
                      <a:pt x="4945" y="-437"/>
                      <a:pt x="520" y="3271"/>
                      <a:pt x="41" y="8355"/>
                    </a:cubicBezTo>
                    <a:close/>
                  </a:path>
                </a:pathLst>
              </a:custGeom>
              <a:grpFill/>
              <a:ln w="5978" cap="flat">
                <a:noFill/>
                <a:prstDash val="solid"/>
                <a:miter/>
              </a:ln>
            </p:spPr>
            <p:txBody>
              <a:bodyPr rtlCol="0" anchor="ctr"/>
              <a:lstStyle/>
              <a:p>
                <a:endParaRPr lang="en-GB"/>
              </a:p>
            </p:txBody>
          </p:sp>
        </p:grpSp>
        <p:grpSp>
          <p:nvGrpSpPr>
            <p:cNvPr id="834" name="Graphic 3">
              <a:extLst>
                <a:ext uri="{FF2B5EF4-FFF2-40B4-BE49-F238E27FC236}">
                  <a16:creationId xmlns:a16="http://schemas.microsoft.com/office/drawing/2014/main" id="{3E761BE2-EEC1-40A4-8143-88DDD7588740}"/>
                </a:ext>
              </a:extLst>
            </p:cNvPr>
            <p:cNvGrpSpPr/>
            <p:nvPr/>
          </p:nvGrpSpPr>
          <p:grpSpPr>
            <a:xfrm>
              <a:off x="5972123" y="5257507"/>
              <a:ext cx="24772" cy="193607"/>
              <a:chOff x="5972123" y="5257507"/>
              <a:chExt cx="24772" cy="193607"/>
            </a:xfrm>
            <a:grpFill/>
          </p:grpSpPr>
          <p:sp>
            <p:nvSpPr>
              <p:cNvPr id="2894" name="Vrije vorm: vorm 2893">
                <a:extLst>
                  <a:ext uri="{FF2B5EF4-FFF2-40B4-BE49-F238E27FC236}">
                    <a16:creationId xmlns:a16="http://schemas.microsoft.com/office/drawing/2014/main" id="{0B43C615-23BD-4619-BBD0-71E64DB880EB}"/>
                  </a:ext>
                </a:extLst>
              </p:cNvPr>
              <p:cNvSpPr/>
              <p:nvPr/>
            </p:nvSpPr>
            <p:spPr>
              <a:xfrm>
                <a:off x="5979785" y="5266185"/>
                <a:ext cx="9449" cy="176251"/>
              </a:xfrm>
              <a:custGeom>
                <a:avLst/>
                <a:gdLst>
                  <a:gd name="connsiteX0" fmla="*/ 9449 w 9449"/>
                  <a:gd name="connsiteY0" fmla="*/ 120 h 176251"/>
                  <a:gd name="connsiteX1" fmla="*/ 3050 w 9449"/>
                  <a:gd name="connsiteY1" fmla="*/ 176252 h 176251"/>
                  <a:gd name="connsiteX2" fmla="*/ 0 w 9449"/>
                  <a:gd name="connsiteY2" fmla="*/ 176132 h 176251"/>
                  <a:gd name="connsiteX3" fmla="*/ 6459 w 9449"/>
                  <a:gd name="connsiteY3" fmla="*/ 0 h 176251"/>
                </a:gdLst>
                <a:ahLst/>
                <a:cxnLst>
                  <a:cxn ang="0">
                    <a:pos x="connsiteX0" y="connsiteY0"/>
                  </a:cxn>
                  <a:cxn ang="0">
                    <a:pos x="connsiteX1" y="connsiteY1"/>
                  </a:cxn>
                  <a:cxn ang="0">
                    <a:pos x="connsiteX2" y="connsiteY2"/>
                  </a:cxn>
                  <a:cxn ang="0">
                    <a:pos x="connsiteX3" y="connsiteY3"/>
                  </a:cxn>
                </a:cxnLst>
                <a:rect l="l" t="t" r="r" b="b"/>
                <a:pathLst>
                  <a:path w="9449" h="176251">
                    <a:moveTo>
                      <a:pt x="9449" y="120"/>
                    </a:moveTo>
                    <a:lnTo>
                      <a:pt x="3050" y="176252"/>
                    </a:lnTo>
                    <a:lnTo>
                      <a:pt x="0" y="176132"/>
                    </a:lnTo>
                    <a:lnTo>
                      <a:pt x="6459" y="0"/>
                    </a:lnTo>
                    <a:close/>
                  </a:path>
                </a:pathLst>
              </a:custGeom>
              <a:grpFill/>
              <a:ln w="5978" cap="flat">
                <a:noFill/>
                <a:prstDash val="solid"/>
                <a:miter/>
              </a:ln>
            </p:spPr>
            <p:txBody>
              <a:bodyPr rtlCol="0" anchor="ctr"/>
              <a:lstStyle/>
              <a:p>
                <a:endParaRPr lang="en-GB"/>
              </a:p>
            </p:txBody>
          </p:sp>
          <p:sp>
            <p:nvSpPr>
              <p:cNvPr id="2895" name="Vrije vorm: vorm 2894">
                <a:extLst>
                  <a:ext uri="{FF2B5EF4-FFF2-40B4-BE49-F238E27FC236}">
                    <a16:creationId xmlns:a16="http://schemas.microsoft.com/office/drawing/2014/main" id="{74A058DC-0B33-43B9-B56E-1787D00C2540}"/>
                  </a:ext>
                </a:extLst>
              </p:cNvPr>
              <p:cNvSpPr/>
              <p:nvPr/>
            </p:nvSpPr>
            <p:spPr>
              <a:xfrm>
                <a:off x="5972123" y="5432682"/>
                <a:ext cx="18372" cy="18432"/>
              </a:xfrm>
              <a:custGeom>
                <a:avLst/>
                <a:gdLst>
                  <a:gd name="connsiteX0" fmla="*/ 18367 w 18372"/>
                  <a:gd name="connsiteY0" fmla="*/ 9575 h 18432"/>
                  <a:gd name="connsiteX1" fmla="*/ 8858 w 18372"/>
                  <a:gd name="connsiteY1" fmla="*/ 18427 h 18432"/>
                  <a:gd name="connsiteX2" fmla="*/ 6 w 18372"/>
                  <a:gd name="connsiteY2" fmla="*/ 8858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8" y="14659"/>
                      <a:pt x="13941" y="18606"/>
                      <a:pt x="8858" y="18427"/>
                    </a:cubicBezTo>
                    <a:cubicBezTo>
                      <a:pt x="3774" y="18247"/>
                      <a:pt x="-173" y="13941"/>
                      <a:pt x="6" y="8858"/>
                    </a:cubicBezTo>
                    <a:cubicBezTo>
                      <a:pt x="185" y="3774"/>
                      <a:pt x="4432" y="-173"/>
                      <a:pt x="9515" y="6"/>
                    </a:cubicBezTo>
                    <a:cubicBezTo>
                      <a:pt x="14599" y="185"/>
                      <a:pt x="18546" y="4491"/>
                      <a:pt x="18367" y="9575"/>
                    </a:cubicBezTo>
                    <a:close/>
                  </a:path>
                </a:pathLst>
              </a:custGeom>
              <a:grpFill/>
              <a:ln w="5978" cap="flat">
                <a:noFill/>
                <a:prstDash val="solid"/>
                <a:miter/>
              </a:ln>
            </p:spPr>
            <p:txBody>
              <a:bodyPr rtlCol="0" anchor="ctr"/>
              <a:lstStyle/>
              <a:p>
                <a:endParaRPr lang="en-GB"/>
              </a:p>
            </p:txBody>
          </p:sp>
          <p:sp>
            <p:nvSpPr>
              <p:cNvPr id="2896" name="Vrije vorm: vorm 2895">
                <a:extLst>
                  <a:ext uri="{FF2B5EF4-FFF2-40B4-BE49-F238E27FC236}">
                    <a16:creationId xmlns:a16="http://schemas.microsoft.com/office/drawing/2014/main" id="{7D4D5CDF-CC83-43E6-9B3E-4D03B1AD6D63}"/>
                  </a:ext>
                </a:extLst>
              </p:cNvPr>
              <p:cNvSpPr/>
              <p:nvPr/>
            </p:nvSpPr>
            <p:spPr>
              <a:xfrm>
                <a:off x="5978523" y="5257507"/>
                <a:ext cx="18372" cy="18432"/>
              </a:xfrm>
              <a:custGeom>
                <a:avLst/>
                <a:gdLst>
                  <a:gd name="connsiteX0" fmla="*/ 18367 w 18372"/>
                  <a:gd name="connsiteY0" fmla="*/ 9575 h 18432"/>
                  <a:gd name="connsiteX1" fmla="*/ 9515 w 18372"/>
                  <a:gd name="connsiteY1" fmla="*/ 6 h 18432"/>
                  <a:gd name="connsiteX2" fmla="*/ 6 w 18372"/>
                  <a:gd name="connsiteY2" fmla="*/ 8857 h 18432"/>
                  <a:gd name="connsiteX3" fmla="*/ 8857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3"/>
                      <a:pt x="185" y="3774"/>
                      <a:pt x="6" y="8857"/>
                    </a:cubicBezTo>
                    <a:cubicBezTo>
                      <a:pt x="-173" y="13941"/>
                      <a:pt x="3774" y="18247"/>
                      <a:pt x="8857" y="18427"/>
                    </a:cubicBezTo>
                    <a:cubicBezTo>
                      <a:pt x="13941" y="18606"/>
                      <a:pt x="18187" y="14659"/>
                      <a:pt x="18367" y="9575"/>
                    </a:cubicBezTo>
                    <a:close/>
                  </a:path>
                </a:pathLst>
              </a:custGeom>
              <a:grpFill/>
              <a:ln w="5978" cap="flat">
                <a:noFill/>
                <a:prstDash val="solid"/>
                <a:miter/>
              </a:ln>
            </p:spPr>
            <p:txBody>
              <a:bodyPr rtlCol="0" anchor="ctr"/>
              <a:lstStyle/>
              <a:p>
                <a:endParaRPr lang="en-GB"/>
              </a:p>
            </p:txBody>
          </p:sp>
        </p:grpSp>
        <p:grpSp>
          <p:nvGrpSpPr>
            <p:cNvPr id="835" name="Graphic 3">
              <a:extLst>
                <a:ext uri="{FF2B5EF4-FFF2-40B4-BE49-F238E27FC236}">
                  <a16:creationId xmlns:a16="http://schemas.microsoft.com/office/drawing/2014/main" id="{009B12FD-7111-4965-B2B8-1591F821C31A}"/>
                </a:ext>
              </a:extLst>
            </p:cNvPr>
            <p:cNvGrpSpPr/>
            <p:nvPr/>
          </p:nvGrpSpPr>
          <p:grpSpPr>
            <a:xfrm>
              <a:off x="5910018" y="5105631"/>
              <a:ext cx="29181" cy="166378"/>
              <a:chOff x="5910018" y="5105631"/>
              <a:chExt cx="29181" cy="166378"/>
            </a:xfrm>
            <a:grpFill/>
          </p:grpSpPr>
          <p:sp>
            <p:nvSpPr>
              <p:cNvPr id="2891" name="Vrije vorm: vorm 2890">
                <a:extLst>
                  <a:ext uri="{FF2B5EF4-FFF2-40B4-BE49-F238E27FC236}">
                    <a16:creationId xmlns:a16="http://schemas.microsoft.com/office/drawing/2014/main" id="{70DB654B-2F27-4066-83AF-B83FF0587EA7}"/>
                  </a:ext>
                </a:extLst>
              </p:cNvPr>
              <p:cNvSpPr/>
              <p:nvPr/>
            </p:nvSpPr>
            <p:spPr>
              <a:xfrm>
                <a:off x="5917585" y="5114274"/>
                <a:ext cx="14054" cy="149039"/>
              </a:xfrm>
              <a:custGeom>
                <a:avLst/>
                <a:gdLst>
                  <a:gd name="connsiteX0" fmla="*/ 14055 w 14054"/>
                  <a:gd name="connsiteY0" fmla="*/ 239 h 149039"/>
                  <a:gd name="connsiteX1" fmla="*/ 3050 w 14054"/>
                  <a:gd name="connsiteY1" fmla="*/ 149040 h 149039"/>
                  <a:gd name="connsiteX2" fmla="*/ 0 w 14054"/>
                  <a:gd name="connsiteY2" fmla="*/ 148800 h 149039"/>
                  <a:gd name="connsiteX3" fmla="*/ 11005 w 14054"/>
                  <a:gd name="connsiteY3" fmla="*/ 0 h 149039"/>
                </a:gdLst>
                <a:ahLst/>
                <a:cxnLst>
                  <a:cxn ang="0">
                    <a:pos x="connsiteX0" y="connsiteY0"/>
                  </a:cxn>
                  <a:cxn ang="0">
                    <a:pos x="connsiteX1" y="connsiteY1"/>
                  </a:cxn>
                  <a:cxn ang="0">
                    <a:pos x="connsiteX2" y="connsiteY2"/>
                  </a:cxn>
                  <a:cxn ang="0">
                    <a:pos x="connsiteX3" y="connsiteY3"/>
                  </a:cxn>
                </a:cxnLst>
                <a:rect l="l" t="t" r="r" b="b"/>
                <a:pathLst>
                  <a:path w="14054" h="149039">
                    <a:moveTo>
                      <a:pt x="14055" y="239"/>
                    </a:moveTo>
                    <a:lnTo>
                      <a:pt x="3050" y="149040"/>
                    </a:lnTo>
                    <a:lnTo>
                      <a:pt x="0" y="148800"/>
                    </a:lnTo>
                    <a:lnTo>
                      <a:pt x="11005" y="0"/>
                    </a:lnTo>
                    <a:close/>
                  </a:path>
                </a:pathLst>
              </a:custGeom>
              <a:grpFill/>
              <a:ln w="5978" cap="flat">
                <a:noFill/>
                <a:prstDash val="solid"/>
                <a:miter/>
              </a:ln>
            </p:spPr>
            <p:txBody>
              <a:bodyPr rtlCol="0" anchor="ctr"/>
              <a:lstStyle/>
              <a:p>
                <a:endParaRPr lang="en-GB"/>
              </a:p>
            </p:txBody>
          </p:sp>
          <p:sp>
            <p:nvSpPr>
              <p:cNvPr id="2892" name="Vrije vorm: vorm 2891">
                <a:extLst>
                  <a:ext uri="{FF2B5EF4-FFF2-40B4-BE49-F238E27FC236}">
                    <a16:creationId xmlns:a16="http://schemas.microsoft.com/office/drawing/2014/main" id="{7459F202-D786-46E9-A4BC-EF58F41E57F2}"/>
                  </a:ext>
                </a:extLst>
              </p:cNvPr>
              <p:cNvSpPr/>
              <p:nvPr/>
            </p:nvSpPr>
            <p:spPr>
              <a:xfrm>
                <a:off x="5910018" y="5253542"/>
                <a:ext cx="18296" cy="18467"/>
              </a:xfrm>
              <a:custGeom>
                <a:avLst/>
                <a:gdLst>
                  <a:gd name="connsiteX0" fmla="*/ 18273 w 18296"/>
                  <a:gd name="connsiteY0" fmla="*/ 9951 h 18467"/>
                  <a:gd name="connsiteX1" fmla="*/ 8464 w 18296"/>
                  <a:gd name="connsiteY1" fmla="*/ 18444 h 18467"/>
                  <a:gd name="connsiteX2" fmla="*/ 31 w 18296"/>
                  <a:gd name="connsiteY2" fmla="*/ 8516 h 18467"/>
                  <a:gd name="connsiteX3" fmla="*/ 9840 w 18296"/>
                  <a:gd name="connsiteY3" fmla="*/ 24 h 18467"/>
                  <a:gd name="connsiteX4" fmla="*/ 18273 w 18296"/>
                  <a:gd name="connsiteY4" fmla="*/ 9951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7">
                    <a:moveTo>
                      <a:pt x="18273" y="9951"/>
                    </a:moveTo>
                    <a:cubicBezTo>
                      <a:pt x="17914" y="15035"/>
                      <a:pt x="13488" y="18803"/>
                      <a:pt x="8464" y="18444"/>
                    </a:cubicBezTo>
                    <a:cubicBezTo>
                      <a:pt x="3440" y="18026"/>
                      <a:pt x="-387" y="13600"/>
                      <a:pt x="31" y="8516"/>
                    </a:cubicBezTo>
                    <a:cubicBezTo>
                      <a:pt x="390" y="3433"/>
                      <a:pt x="4816" y="-335"/>
                      <a:pt x="9840" y="24"/>
                    </a:cubicBezTo>
                    <a:cubicBezTo>
                      <a:pt x="14864" y="442"/>
                      <a:pt x="18632" y="4868"/>
                      <a:pt x="18273" y="9951"/>
                    </a:cubicBezTo>
                    <a:close/>
                  </a:path>
                </a:pathLst>
              </a:custGeom>
              <a:grpFill/>
              <a:ln w="5978" cap="flat">
                <a:noFill/>
                <a:prstDash val="solid"/>
                <a:miter/>
              </a:ln>
            </p:spPr>
            <p:txBody>
              <a:bodyPr rtlCol="0" anchor="ctr"/>
              <a:lstStyle/>
              <a:p>
                <a:endParaRPr lang="en-GB"/>
              </a:p>
            </p:txBody>
          </p:sp>
          <p:sp>
            <p:nvSpPr>
              <p:cNvPr id="2893" name="Vrije vorm: vorm 2892">
                <a:extLst>
                  <a:ext uri="{FF2B5EF4-FFF2-40B4-BE49-F238E27FC236}">
                    <a16:creationId xmlns:a16="http://schemas.microsoft.com/office/drawing/2014/main" id="{F4E2F760-5CA9-43C7-93EF-33BE3DC084F5}"/>
                  </a:ext>
                </a:extLst>
              </p:cNvPr>
              <p:cNvSpPr/>
              <p:nvPr/>
            </p:nvSpPr>
            <p:spPr>
              <a:xfrm>
                <a:off x="5920851" y="5105631"/>
                <a:ext cx="18348" cy="18475"/>
              </a:xfrm>
              <a:custGeom>
                <a:avLst/>
                <a:gdLst>
                  <a:gd name="connsiteX0" fmla="*/ 18325 w 18348"/>
                  <a:gd name="connsiteY0" fmla="*/ 9960 h 18475"/>
                  <a:gd name="connsiteX1" fmla="*/ 9832 w 18348"/>
                  <a:gd name="connsiteY1" fmla="*/ 31 h 18475"/>
                  <a:gd name="connsiteX2" fmla="*/ 24 w 18348"/>
                  <a:gd name="connsiteY2" fmla="*/ 8524 h 18475"/>
                  <a:gd name="connsiteX3" fmla="*/ 8457 w 18348"/>
                  <a:gd name="connsiteY3" fmla="*/ 18452 h 18475"/>
                  <a:gd name="connsiteX4" fmla="*/ 18325 w 18348"/>
                  <a:gd name="connsiteY4" fmla="*/ 9960 h 18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75">
                    <a:moveTo>
                      <a:pt x="18325" y="9960"/>
                    </a:moveTo>
                    <a:cubicBezTo>
                      <a:pt x="18683" y="4876"/>
                      <a:pt x="14916" y="450"/>
                      <a:pt x="9832" y="31"/>
                    </a:cubicBezTo>
                    <a:cubicBezTo>
                      <a:pt x="4809" y="-387"/>
                      <a:pt x="382" y="3440"/>
                      <a:pt x="24" y="8524"/>
                    </a:cubicBezTo>
                    <a:cubicBezTo>
                      <a:pt x="-335" y="13608"/>
                      <a:pt x="3433" y="18033"/>
                      <a:pt x="8457" y="18452"/>
                    </a:cubicBezTo>
                    <a:cubicBezTo>
                      <a:pt x="13600" y="18811"/>
                      <a:pt x="17966" y="14983"/>
                      <a:pt x="18325" y="9960"/>
                    </a:cubicBezTo>
                    <a:close/>
                  </a:path>
                </a:pathLst>
              </a:custGeom>
              <a:grpFill/>
              <a:ln w="5978" cap="flat">
                <a:noFill/>
                <a:prstDash val="solid"/>
                <a:miter/>
              </a:ln>
            </p:spPr>
            <p:txBody>
              <a:bodyPr rtlCol="0" anchor="ctr"/>
              <a:lstStyle/>
              <a:p>
                <a:endParaRPr lang="en-GB"/>
              </a:p>
            </p:txBody>
          </p:sp>
        </p:grpSp>
        <p:grpSp>
          <p:nvGrpSpPr>
            <p:cNvPr id="836" name="Graphic 3">
              <a:extLst>
                <a:ext uri="{FF2B5EF4-FFF2-40B4-BE49-F238E27FC236}">
                  <a16:creationId xmlns:a16="http://schemas.microsoft.com/office/drawing/2014/main" id="{C822F0E2-B32F-43F0-951E-1E9872D574EB}"/>
                </a:ext>
              </a:extLst>
            </p:cNvPr>
            <p:cNvGrpSpPr/>
            <p:nvPr/>
          </p:nvGrpSpPr>
          <p:grpSpPr>
            <a:xfrm>
              <a:off x="4793544" y="1849723"/>
              <a:ext cx="27593" cy="29973"/>
              <a:chOff x="4793544" y="1849723"/>
              <a:chExt cx="27593" cy="29973"/>
            </a:xfrm>
            <a:grpFill/>
          </p:grpSpPr>
          <p:sp>
            <p:nvSpPr>
              <p:cNvPr id="2889" name="Vrije vorm: vorm 2888">
                <a:extLst>
                  <a:ext uri="{FF2B5EF4-FFF2-40B4-BE49-F238E27FC236}">
                    <a16:creationId xmlns:a16="http://schemas.microsoft.com/office/drawing/2014/main" id="{E48EBC3E-8286-4EE1-A28C-CC7E13FE8BC5}"/>
                  </a:ext>
                </a:extLst>
              </p:cNvPr>
              <p:cNvSpPr/>
              <p:nvPr/>
            </p:nvSpPr>
            <p:spPr>
              <a:xfrm>
                <a:off x="4802780" y="1861247"/>
                <a:ext cx="18358" cy="18449"/>
              </a:xfrm>
              <a:custGeom>
                <a:avLst/>
                <a:gdLst>
                  <a:gd name="connsiteX0" fmla="*/ 2032 w 18358"/>
                  <a:gd name="connsiteY0" fmla="*/ 15006 h 18449"/>
                  <a:gd name="connsiteX1" fmla="*/ 3408 w 18358"/>
                  <a:gd name="connsiteY1" fmla="*/ 2028 h 18449"/>
                  <a:gd name="connsiteX2" fmla="*/ 16326 w 18358"/>
                  <a:gd name="connsiteY2" fmla="*/ 3463 h 18449"/>
                  <a:gd name="connsiteX3" fmla="*/ 14951 w 18358"/>
                  <a:gd name="connsiteY3" fmla="*/ 16441 h 18449"/>
                  <a:gd name="connsiteX4" fmla="*/ 2032 w 18358"/>
                  <a:gd name="connsiteY4" fmla="*/ 15006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9">
                    <a:moveTo>
                      <a:pt x="2032" y="15006"/>
                    </a:moveTo>
                    <a:cubicBezTo>
                      <a:pt x="-1137" y="11058"/>
                      <a:pt x="-539" y="5257"/>
                      <a:pt x="3408" y="2028"/>
                    </a:cubicBezTo>
                    <a:cubicBezTo>
                      <a:pt x="7355" y="-1142"/>
                      <a:pt x="13097" y="-544"/>
                      <a:pt x="16326" y="3463"/>
                    </a:cubicBezTo>
                    <a:cubicBezTo>
                      <a:pt x="19496" y="7410"/>
                      <a:pt x="18898" y="13212"/>
                      <a:pt x="14951" y="16441"/>
                    </a:cubicBezTo>
                    <a:cubicBezTo>
                      <a:pt x="11003" y="19611"/>
                      <a:pt x="5262" y="18953"/>
                      <a:pt x="2032" y="15006"/>
                    </a:cubicBezTo>
                    <a:close/>
                  </a:path>
                </a:pathLst>
              </a:custGeom>
              <a:grpFill/>
              <a:ln w="5978" cap="flat">
                <a:noFill/>
                <a:prstDash val="solid"/>
                <a:miter/>
              </a:ln>
            </p:spPr>
            <p:txBody>
              <a:bodyPr rtlCol="0" anchor="ctr"/>
              <a:lstStyle/>
              <a:p>
                <a:endParaRPr lang="en-GB"/>
              </a:p>
            </p:txBody>
          </p:sp>
          <p:sp>
            <p:nvSpPr>
              <p:cNvPr id="2890" name="Vrije vorm: vorm 2889">
                <a:extLst>
                  <a:ext uri="{FF2B5EF4-FFF2-40B4-BE49-F238E27FC236}">
                    <a16:creationId xmlns:a16="http://schemas.microsoft.com/office/drawing/2014/main" id="{0DE9C5A6-6088-43D3-B7B8-4DE01FF74ED7}"/>
                  </a:ext>
                </a:extLst>
              </p:cNvPr>
              <p:cNvSpPr/>
              <p:nvPr/>
            </p:nvSpPr>
            <p:spPr>
              <a:xfrm>
                <a:off x="4793544" y="1849723"/>
                <a:ext cx="18383" cy="18430"/>
              </a:xfrm>
              <a:custGeom>
                <a:avLst/>
                <a:gdLst>
                  <a:gd name="connsiteX0" fmla="*/ 2057 w 18383"/>
                  <a:gd name="connsiteY0" fmla="*/ 14987 h 18430"/>
                  <a:gd name="connsiteX1" fmla="*/ 14976 w 18383"/>
                  <a:gd name="connsiteY1" fmla="*/ 16422 h 18430"/>
                  <a:gd name="connsiteX2" fmla="*/ 16351 w 18383"/>
                  <a:gd name="connsiteY2" fmla="*/ 3444 h 18430"/>
                  <a:gd name="connsiteX3" fmla="*/ 3433 w 18383"/>
                  <a:gd name="connsiteY3" fmla="*/ 2009 h 18430"/>
                  <a:gd name="connsiteX4" fmla="*/ 2057 w 18383"/>
                  <a:gd name="connsiteY4" fmla="*/ 149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30">
                    <a:moveTo>
                      <a:pt x="2057" y="14987"/>
                    </a:moveTo>
                    <a:cubicBezTo>
                      <a:pt x="5227" y="18934"/>
                      <a:pt x="11029" y="19592"/>
                      <a:pt x="14976" y="16422"/>
                    </a:cubicBezTo>
                    <a:cubicBezTo>
                      <a:pt x="18923" y="13252"/>
                      <a:pt x="19521" y="7451"/>
                      <a:pt x="16351" y="3444"/>
                    </a:cubicBezTo>
                    <a:cubicBezTo>
                      <a:pt x="13181" y="-503"/>
                      <a:pt x="7380" y="-1161"/>
                      <a:pt x="3433" y="2009"/>
                    </a:cubicBezTo>
                    <a:cubicBezTo>
                      <a:pt x="-514" y="5238"/>
                      <a:pt x="-1172" y="11040"/>
                      <a:pt x="2057" y="14987"/>
                    </a:cubicBezTo>
                    <a:close/>
                  </a:path>
                </a:pathLst>
              </a:custGeom>
              <a:grpFill/>
              <a:ln w="5978" cap="flat">
                <a:noFill/>
                <a:prstDash val="solid"/>
                <a:miter/>
              </a:ln>
            </p:spPr>
            <p:txBody>
              <a:bodyPr rtlCol="0" anchor="ctr"/>
              <a:lstStyle/>
              <a:p>
                <a:endParaRPr lang="en-GB"/>
              </a:p>
            </p:txBody>
          </p:sp>
        </p:grpSp>
        <p:grpSp>
          <p:nvGrpSpPr>
            <p:cNvPr id="837" name="Graphic 3">
              <a:extLst>
                <a:ext uri="{FF2B5EF4-FFF2-40B4-BE49-F238E27FC236}">
                  <a16:creationId xmlns:a16="http://schemas.microsoft.com/office/drawing/2014/main" id="{E32B1A95-367C-4131-B84D-9C890E72AEE7}"/>
                </a:ext>
              </a:extLst>
            </p:cNvPr>
            <p:cNvGrpSpPr/>
            <p:nvPr/>
          </p:nvGrpSpPr>
          <p:grpSpPr>
            <a:xfrm>
              <a:off x="4678636" y="1571257"/>
              <a:ext cx="122424" cy="158223"/>
              <a:chOff x="4678636" y="1571257"/>
              <a:chExt cx="122424" cy="158223"/>
            </a:xfrm>
            <a:grpFill/>
          </p:grpSpPr>
          <p:sp>
            <p:nvSpPr>
              <p:cNvPr id="2886" name="Vrije vorm: vorm 2885">
                <a:extLst>
                  <a:ext uri="{FF2B5EF4-FFF2-40B4-BE49-F238E27FC236}">
                    <a16:creationId xmlns:a16="http://schemas.microsoft.com/office/drawing/2014/main" id="{9F947FFF-28E7-47C3-8F03-A43EFD5DCA4F}"/>
                  </a:ext>
                </a:extLst>
              </p:cNvPr>
              <p:cNvSpPr/>
              <p:nvPr/>
            </p:nvSpPr>
            <p:spPr>
              <a:xfrm>
                <a:off x="4686334" y="1579190"/>
                <a:ext cx="106995" cy="142341"/>
              </a:xfrm>
              <a:custGeom>
                <a:avLst/>
                <a:gdLst>
                  <a:gd name="connsiteX0" fmla="*/ 106995 w 106995"/>
                  <a:gd name="connsiteY0" fmla="*/ 140547 h 142341"/>
                  <a:gd name="connsiteX1" fmla="*/ 104603 w 106995"/>
                  <a:gd name="connsiteY1" fmla="*/ 142341 h 142341"/>
                  <a:gd name="connsiteX2" fmla="*/ 0 w 106995"/>
                  <a:gd name="connsiteY2" fmla="*/ 1854 h 142341"/>
                  <a:gd name="connsiteX3" fmla="*/ 2392 w 106995"/>
                  <a:gd name="connsiteY3" fmla="*/ 0 h 142341"/>
                </a:gdLst>
                <a:ahLst/>
                <a:cxnLst>
                  <a:cxn ang="0">
                    <a:pos x="connsiteX0" y="connsiteY0"/>
                  </a:cxn>
                  <a:cxn ang="0">
                    <a:pos x="connsiteX1" y="connsiteY1"/>
                  </a:cxn>
                  <a:cxn ang="0">
                    <a:pos x="connsiteX2" y="connsiteY2"/>
                  </a:cxn>
                  <a:cxn ang="0">
                    <a:pos x="connsiteX3" y="connsiteY3"/>
                  </a:cxn>
                </a:cxnLst>
                <a:rect l="l" t="t" r="r" b="b"/>
                <a:pathLst>
                  <a:path w="106995" h="142341">
                    <a:moveTo>
                      <a:pt x="106995" y="140547"/>
                    </a:moveTo>
                    <a:lnTo>
                      <a:pt x="104603" y="142341"/>
                    </a:lnTo>
                    <a:lnTo>
                      <a:pt x="0" y="1854"/>
                    </a:lnTo>
                    <a:lnTo>
                      <a:pt x="2392" y="0"/>
                    </a:lnTo>
                    <a:close/>
                  </a:path>
                </a:pathLst>
              </a:custGeom>
              <a:grpFill/>
              <a:ln w="5978" cap="flat">
                <a:noFill/>
                <a:prstDash val="solid"/>
                <a:miter/>
              </a:ln>
            </p:spPr>
            <p:txBody>
              <a:bodyPr rtlCol="0" anchor="ctr"/>
              <a:lstStyle/>
              <a:p>
                <a:endParaRPr lang="en-GB"/>
              </a:p>
            </p:txBody>
          </p:sp>
          <p:sp>
            <p:nvSpPr>
              <p:cNvPr id="2887" name="Vrije vorm: vorm 2886">
                <a:extLst>
                  <a:ext uri="{FF2B5EF4-FFF2-40B4-BE49-F238E27FC236}">
                    <a16:creationId xmlns:a16="http://schemas.microsoft.com/office/drawing/2014/main" id="{FE7F71BB-33D1-4D68-81C2-FC7DE6FEBF8F}"/>
                  </a:ext>
                </a:extLst>
              </p:cNvPr>
              <p:cNvSpPr/>
              <p:nvPr/>
            </p:nvSpPr>
            <p:spPr>
              <a:xfrm>
                <a:off x="4678636" y="1571257"/>
                <a:ext cx="18385" cy="18454"/>
              </a:xfrm>
              <a:custGeom>
                <a:avLst/>
                <a:gdLst>
                  <a:gd name="connsiteX0" fmla="*/ 1837 w 18385"/>
                  <a:gd name="connsiteY0" fmla="*/ 14751 h 18454"/>
                  <a:gd name="connsiteX1" fmla="*/ 3691 w 18385"/>
                  <a:gd name="connsiteY1" fmla="*/ 1833 h 18454"/>
                  <a:gd name="connsiteX2" fmla="*/ 16549 w 18385"/>
                  <a:gd name="connsiteY2" fmla="*/ 3747 h 18454"/>
                  <a:gd name="connsiteX3" fmla="*/ 14695 w 18385"/>
                  <a:gd name="connsiteY3" fmla="*/ 16665 h 18454"/>
                  <a:gd name="connsiteX4" fmla="*/ 1837 w 18385"/>
                  <a:gd name="connsiteY4" fmla="*/ 1475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5" h="18454">
                    <a:moveTo>
                      <a:pt x="1837" y="14751"/>
                    </a:moveTo>
                    <a:cubicBezTo>
                      <a:pt x="-1213" y="10684"/>
                      <a:pt x="-376" y="4883"/>
                      <a:pt x="3691" y="1833"/>
                    </a:cubicBezTo>
                    <a:cubicBezTo>
                      <a:pt x="7758" y="-1217"/>
                      <a:pt x="13499" y="-380"/>
                      <a:pt x="16549" y="3747"/>
                    </a:cubicBezTo>
                    <a:cubicBezTo>
                      <a:pt x="19599" y="7814"/>
                      <a:pt x="18762" y="13615"/>
                      <a:pt x="14695" y="16665"/>
                    </a:cubicBezTo>
                    <a:cubicBezTo>
                      <a:pt x="10628" y="19655"/>
                      <a:pt x="4887" y="18818"/>
                      <a:pt x="1837" y="14751"/>
                    </a:cubicBezTo>
                    <a:close/>
                  </a:path>
                </a:pathLst>
              </a:custGeom>
              <a:grpFill/>
              <a:ln w="5978" cap="flat">
                <a:noFill/>
                <a:prstDash val="solid"/>
                <a:miter/>
              </a:ln>
            </p:spPr>
            <p:txBody>
              <a:bodyPr rtlCol="0" anchor="ctr"/>
              <a:lstStyle/>
              <a:p>
                <a:endParaRPr lang="en-GB"/>
              </a:p>
            </p:txBody>
          </p:sp>
          <p:sp>
            <p:nvSpPr>
              <p:cNvPr id="2888" name="Vrije vorm: vorm 2887">
                <a:extLst>
                  <a:ext uri="{FF2B5EF4-FFF2-40B4-BE49-F238E27FC236}">
                    <a16:creationId xmlns:a16="http://schemas.microsoft.com/office/drawing/2014/main" id="{CCCE80CC-BCA8-4228-A8D5-D81610316EC7}"/>
                  </a:ext>
                </a:extLst>
              </p:cNvPr>
              <p:cNvSpPr/>
              <p:nvPr/>
            </p:nvSpPr>
            <p:spPr>
              <a:xfrm>
                <a:off x="4782700" y="1711069"/>
                <a:ext cx="18360" cy="18411"/>
              </a:xfrm>
              <a:custGeom>
                <a:avLst/>
                <a:gdLst>
                  <a:gd name="connsiteX0" fmla="*/ 1837 w 18360"/>
                  <a:gd name="connsiteY0" fmla="*/ 14708 h 18411"/>
                  <a:gd name="connsiteX1" fmla="*/ 14695 w 18360"/>
                  <a:gd name="connsiteY1" fmla="*/ 16622 h 18411"/>
                  <a:gd name="connsiteX2" fmla="*/ 16549 w 18360"/>
                  <a:gd name="connsiteY2" fmla="*/ 3703 h 18411"/>
                  <a:gd name="connsiteX3" fmla="*/ 3691 w 18360"/>
                  <a:gd name="connsiteY3" fmla="*/ 1790 h 18411"/>
                  <a:gd name="connsiteX4" fmla="*/ 1837 w 18360"/>
                  <a:gd name="connsiteY4" fmla="*/ 1470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1">
                    <a:moveTo>
                      <a:pt x="1837" y="14708"/>
                    </a:moveTo>
                    <a:cubicBezTo>
                      <a:pt x="4887" y="18775"/>
                      <a:pt x="10628" y="19612"/>
                      <a:pt x="14695" y="16622"/>
                    </a:cubicBezTo>
                    <a:cubicBezTo>
                      <a:pt x="18762" y="13631"/>
                      <a:pt x="19540" y="7830"/>
                      <a:pt x="16549" y="3703"/>
                    </a:cubicBezTo>
                    <a:cubicBezTo>
                      <a:pt x="13499" y="-364"/>
                      <a:pt x="7758" y="-1201"/>
                      <a:pt x="3691" y="1790"/>
                    </a:cubicBezTo>
                    <a:cubicBezTo>
                      <a:pt x="-376" y="4840"/>
                      <a:pt x="-1213" y="10641"/>
                      <a:pt x="1837" y="14708"/>
                    </a:cubicBezTo>
                    <a:close/>
                  </a:path>
                </a:pathLst>
              </a:custGeom>
              <a:grpFill/>
              <a:ln w="5978" cap="flat">
                <a:noFill/>
                <a:prstDash val="solid"/>
                <a:miter/>
              </a:ln>
            </p:spPr>
            <p:txBody>
              <a:bodyPr rtlCol="0" anchor="ctr"/>
              <a:lstStyle/>
              <a:p>
                <a:endParaRPr lang="en-GB"/>
              </a:p>
            </p:txBody>
          </p:sp>
        </p:grpSp>
        <p:grpSp>
          <p:nvGrpSpPr>
            <p:cNvPr id="838" name="Graphic 3">
              <a:extLst>
                <a:ext uri="{FF2B5EF4-FFF2-40B4-BE49-F238E27FC236}">
                  <a16:creationId xmlns:a16="http://schemas.microsoft.com/office/drawing/2014/main" id="{A84919EC-255E-4B05-8CD1-5E8C689349D5}"/>
                </a:ext>
              </a:extLst>
            </p:cNvPr>
            <p:cNvGrpSpPr/>
            <p:nvPr/>
          </p:nvGrpSpPr>
          <p:grpSpPr>
            <a:xfrm>
              <a:off x="4817981" y="2043192"/>
              <a:ext cx="118654" cy="129925"/>
              <a:chOff x="4817981" y="2043192"/>
              <a:chExt cx="118654" cy="129925"/>
            </a:xfrm>
            <a:grpFill/>
          </p:grpSpPr>
          <p:sp>
            <p:nvSpPr>
              <p:cNvPr id="2883" name="Vrije vorm: vorm 2882">
                <a:extLst>
                  <a:ext uri="{FF2B5EF4-FFF2-40B4-BE49-F238E27FC236}">
                    <a16:creationId xmlns:a16="http://schemas.microsoft.com/office/drawing/2014/main" id="{D0D88AE4-F415-4593-91EF-13C05BE3DD92}"/>
                  </a:ext>
                </a:extLst>
              </p:cNvPr>
              <p:cNvSpPr/>
              <p:nvPr/>
            </p:nvSpPr>
            <p:spPr>
              <a:xfrm>
                <a:off x="4825684" y="2051069"/>
                <a:ext cx="103227" cy="114231"/>
              </a:xfrm>
              <a:custGeom>
                <a:avLst/>
                <a:gdLst>
                  <a:gd name="connsiteX0" fmla="*/ 103227 w 103227"/>
                  <a:gd name="connsiteY0" fmla="*/ 112198 h 114231"/>
                  <a:gd name="connsiteX1" fmla="*/ 101014 w 103227"/>
                  <a:gd name="connsiteY1" fmla="*/ 114232 h 114231"/>
                  <a:gd name="connsiteX2" fmla="*/ 0 w 103227"/>
                  <a:gd name="connsiteY2" fmla="*/ 2033 h 114231"/>
                  <a:gd name="connsiteX3" fmla="*/ 2273 w 103227"/>
                  <a:gd name="connsiteY3" fmla="*/ 0 h 114231"/>
                </a:gdLst>
                <a:ahLst/>
                <a:cxnLst>
                  <a:cxn ang="0">
                    <a:pos x="connsiteX0" y="connsiteY0"/>
                  </a:cxn>
                  <a:cxn ang="0">
                    <a:pos x="connsiteX1" y="connsiteY1"/>
                  </a:cxn>
                  <a:cxn ang="0">
                    <a:pos x="connsiteX2" y="connsiteY2"/>
                  </a:cxn>
                  <a:cxn ang="0">
                    <a:pos x="connsiteX3" y="connsiteY3"/>
                  </a:cxn>
                </a:cxnLst>
                <a:rect l="l" t="t" r="r" b="b"/>
                <a:pathLst>
                  <a:path w="103227" h="114231">
                    <a:moveTo>
                      <a:pt x="103227" y="112198"/>
                    </a:moveTo>
                    <a:lnTo>
                      <a:pt x="101014" y="114232"/>
                    </a:lnTo>
                    <a:lnTo>
                      <a:pt x="0" y="2033"/>
                    </a:lnTo>
                    <a:lnTo>
                      <a:pt x="2273" y="0"/>
                    </a:lnTo>
                    <a:close/>
                  </a:path>
                </a:pathLst>
              </a:custGeom>
              <a:grpFill/>
              <a:ln w="5978" cap="flat">
                <a:noFill/>
                <a:prstDash val="solid"/>
                <a:miter/>
              </a:ln>
            </p:spPr>
            <p:txBody>
              <a:bodyPr rtlCol="0" anchor="ctr"/>
              <a:lstStyle/>
              <a:p>
                <a:endParaRPr lang="en-GB"/>
              </a:p>
            </p:txBody>
          </p:sp>
          <p:sp>
            <p:nvSpPr>
              <p:cNvPr id="2884" name="Vrije vorm: vorm 2883">
                <a:extLst>
                  <a:ext uri="{FF2B5EF4-FFF2-40B4-BE49-F238E27FC236}">
                    <a16:creationId xmlns:a16="http://schemas.microsoft.com/office/drawing/2014/main" id="{C91EAA8B-08F9-4237-8A91-5264839A92DF}"/>
                  </a:ext>
                </a:extLst>
              </p:cNvPr>
              <p:cNvSpPr/>
              <p:nvPr/>
            </p:nvSpPr>
            <p:spPr>
              <a:xfrm>
                <a:off x="4817981" y="2043192"/>
                <a:ext cx="18277" cy="18444"/>
              </a:xfrm>
              <a:custGeom>
                <a:avLst/>
                <a:gdLst>
                  <a:gd name="connsiteX0" fmla="*/ 2381 w 18277"/>
                  <a:gd name="connsiteY0" fmla="*/ 15412 h 18444"/>
                  <a:gd name="connsiteX1" fmla="*/ 2978 w 18277"/>
                  <a:gd name="connsiteY1" fmla="*/ 2374 h 18444"/>
                  <a:gd name="connsiteX2" fmla="*/ 15897 w 18277"/>
                  <a:gd name="connsiteY2" fmla="*/ 3032 h 18444"/>
                  <a:gd name="connsiteX3" fmla="*/ 15299 w 18277"/>
                  <a:gd name="connsiteY3" fmla="*/ 16070 h 18444"/>
                  <a:gd name="connsiteX4" fmla="*/ 2381 w 18277"/>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44">
                    <a:moveTo>
                      <a:pt x="2381" y="15412"/>
                    </a:moveTo>
                    <a:cubicBezTo>
                      <a:pt x="-1029" y="11644"/>
                      <a:pt x="-730" y="5783"/>
                      <a:pt x="2978" y="2374"/>
                    </a:cubicBezTo>
                    <a:cubicBezTo>
                      <a:pt x="6746" y="-1035"/>
                      <a:pt x="12547" y="-736"/>
                      <a:pt x="15897" y="3032"/>
                    </a:cubicBezTo>
                    <a:cubicBezTo>
                      <a:pt x="19306" y="6800"/>
                      <a:pt x="19007" y="12661"/>
                      <a:pt x="15299" y="16070"/>
                    </a:cubicBezTo>
                    <a:cubicBezTo>
                      <a:pt x="11591" y="19479"/>
                      <a:pt x="5789" y="19180"/>
                      <a:pt x="2381" y="15412"/>
                    </a:cubicBezTo>
                    <a:close/>
                  </a:path>
                </a:pathLst>
              </a:custGeom>
              <a:grpFill/>
              <a:ln w="5978" cap="flat">
                <a:noFill/>
                <a:prstDash val="solid"/>
                <a:miter/>
              </a:ln>
            </p:spPr>
            <p:txBody>
              <a:bodyPr rtlCol="0" anchor="ctr"/>
              <a:lstStyle/>
              <a:p>
                <a:endParaRPr lang="en-GB"/>
              </a:p>
            </p:txBody>
          </p:sp>
          <p:sp>
            <p:nvSpPr>
              <p:cNvPr id="2885" name="Vrije vorm: vorm 2884">
                <a:extLst>
                  <a:ext uri="{FF2B5EF4-FFF2-40B4-BE49-F238E27FC236}">
                    <a16:creationId xmlns:a16="http://schemas.microsoft.com/office/drawing/2014/main" id="{49658F88-69D2-4AEB-8244-FA4C854A67AA}"/>
                  </a:ext>
                </a:extLst>
              </p:cNvPr>
              <p:cNvSpPr/>
              <p:nvPr/>
            </p:nvSpPr>
            <p:spPr>
              <a:xfrm>
                <a:off x="4918338" y="2154673"/>
                <a:ext cx="18298" cy="18444"/>
              </a:xfrm>
              <a:custGeom>
                <a:avLst/>
                <a:gdLst>
                  <a:gd name="connsiteX0" fmla="*/ 2381 w 18298"/>
                  <a:gd name="connsiteY0" fmla="*/ 15412 h 18444"/>
                  <a:gd name="connsiteX1" fmla="*/ 15299 w 18298"/>
                  <a:gd name="connsiteY1" fmla="*/ 16070 h 18444"/>
                  <a:gd name="connsiteX2" fmla="*/ 15897 w 18298"/>
                  <a:gd name="connsiteY2" fmla="*/ 3032 h 18444"/>
                  <a:gd name="connsiteX3" fmla="*/ 2978 w 18298"/>
                  <a:gd name="connsiteY3" fmla="*/ 2374 h 18444"/>
                  <a:gd name="connsiteX4" fmla="*/ 2381 w 18298"/>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44">
                    <a:moveTo>
                      <a:pt x="2381" y="15412"/>
                    </a:moveTo>
                    <a:cubicBezTo>
                      <a:pt x="5790" y="19180"/>
                      <a:pt x="11591" y="19479"/>
                      <a:pt x="15299" y="16070"/>
                    </a:cubicBezTo>
                    <a:cubicBezTo>
                      <a:pt x="19067" y="12661"/>
                      <a:pt x="19306" y="6860"/>
                      <a:pt x="15897" y="3032"/>
                    </a:cubicBezTo>
                    <a:cubicBezTo>
                      <a:pt x="12488" y="-736"/>
                      <a:pt x="6687" y="-1035"/>
                      <a:pt x="2978" y="2374"/>
                    </a:cubicBezTo>
                    <a:cubicBezTo>
                      <a:pt x="-730" y="5843"/>
                      <a:pt x="-1029" y="11645"/>
                      <a:pt x="2381" y="15412"/>
                    </a:cubicBezTo>
                    <a:close/>
                  </a:path>
                </a:pathLst>
              </a:custGeom>
              <a:grpFill/>
              <a:ln w="5978" cap="flat">
                <a:noFill/>
                <a:prstDash val="solid"/>
                <a:miter/>
              </a:ln>
            </p:spPr>
            <p:txBody>
              <a:bodyPr rtlCol="0" anchor="ctr"/>
              <a:lstStyle/>
              <a:p>
                <a:endParaRPr lang="en-GB"/>
              </a:p>
            </p:txBody>
          </p:sp>
        </p:grpSp>
        <p:grpSp>
          <p:nvGrpSpPr>
            <p:cNvPr id="839" name="Graphic 3">
              <a:extLst>
                <a:ext uri="{FF2B5EF4-FFF2-40B4-BE49-F238E27FC236}">
                  <a16:creationId xmlns:a16="http://schemas.microsoft.com/office/drawing/2014/main" id="{5932B163-B725-4D57-B2E5-75E7FEB3A11D}"/>
                </a:ext>
              </a:extLst>
            </p:cNvPr>
            <p:cNvGrpSpPr/>
            <p:nvPr/>
          </p:nvGrpSpPr>
          <p:grpSpPr>
            <a:xfrm>
              <a:off x="4749783" y="1855218"/>
              <a:ext cx="114639" cy="133787"/>
              <a:chOff x="4749783" y="1855218"/>
              <a:chExt cx="114639" cy="133787"/>
            </a:xfrm>
            <a:grpFill/>
          </p:grpSpPr>
          <p:sp>
            <p:nvSpPr>
              <p:cNvPr id="2880" name="Vrije vorm: vorm 2879">
                <a:extLst>
                  <a:ext uri="{FF2B5EF4-FFF2-40B4-BE49-F238E27FC236}">
                    <a16:creationId xmlns:a16="http://schemas.microsoft.com/office/drawing/2014/main" id="{6CAC82A4-52F7-4120-A794-FF14FE23DA47}"/>
                  </a:ext>
                </a:extLst>
              </p:cNvPr>
              <p:cNvSpPr/>
              <p:nvPr/>
            </p:nvSpPr>
            <p:spPr>
              <a:xfrm>
                <a:off x="4757445" y="1863095"/>
                <a:ext cx="99279" cy="117999"/>
              </a:xfrm>
              <a:custGeom>
                <a:avLst/>
                <a:gdLst>
                  <a:gd name="connsiteX0" fmla="*/ 99280 w 99279"/>
                  <a:gd name="connsiteY0" fmla="*/ 116086 h 117999"/>
                  <a:gd name="connsiteX1" fmla="*/ 96947 w 99279"/>
                  <a:gd name="connsiteY1" fmla="*/ 118000 h 117999"/>
                  <a:gd name="connsiteX2" fmla="*/ 0 w 99279"/>
                  <a:gd name="connsiteY2" fmla="*/ 1914 h 117999"/>
                  <a:gd name="connsiteX3" fmla="*/ 2333 w 99279"/>
                  <a:gd name="connsiteY3" fmla="*/ 0 h 117999"/>
                </a:gdLst>
                <a:ahLst/>
                <a:cxnLst>
                  <a:cxn ang="0">
                    <a:pos x="connsiteX0" y="connsiteY0"/>
                  </a:cxn>
                  <a:cxn ang="0">
                    <a:pos x="connsiteX1" y="connsiteY1"/>
                  </a:cxn>
                  <a:cxn ang="0">
                    <a:pos x="connsiteX2" y="connsiteY2"/>
                  </a:cxn>
                  <a:cxn ang="0">
                    <a:pos x="connsiteX3" y="connsiteY3"/>
                  </a:cxn>
                </a:cxnLst>
                <a:rect l="l" t="t" r="r" b="b"/>
                <a:pathLst>
                  <a:path w="99279" h="117999">
                    <a:moveTo>
                      <a:pt x="99280" y="116086"/>
                    </a:moveTo>
                    <a:lnTo>
                      <a:pt x="96947" y="118000"/>
                    </a:lnTo>
                    <a:lnTo>
                      <a:pt x="0" y="1914"/>
                    </a:lnTo>
                    <a:lnTo>
                      <a:pt x="2333" y="0"/>
                    </a:lnTo>
                    <a:close/>
                  </a:path>
                </a:pathLst>
              </a:custGeom>
              <a:grpFill/>
              <a:ln w="5978" cap="flat">
                <a:noFill/>
                <a:prstDash val="solid"/>
                <a:miter/>
              </a:ln>
            </p:spPr>
            <p:txBody>
              <a:bodyPr rtlCol="0" anchor="ctr"/>
              <a:lstStyle/>
              <a:p>
                <a:endParaRPr lang="en-GB"/>
              </a:p>
            </p:txBody>
          </p:sp>
          <p:sp>
            <p:nvSpPr>
              <p:cNvPr id="2881" name="Vrije vorm: vorm 2880">
                <a:extLst>
                  <a:ext uri="{FF2B5EF4-FFF2-40B4-BE49-F238E27FC236}">
                    <a16:creationId xmlns:a16="http://schemas.microsoft.com/office/drawing/2014/main" id="{D047CA0E-9DEA-42FF-8C76-2FBC6E4B1814}"/>
                  </a:ext>
                </a:extLst>
              </p:cNvPr>
              <p:cNvSpPr/>
              <p:nvPr/>
            </p:nvSpPr>
            <p:spPr>
              <a:xfrm>
                <a:off x="4749783" y="1855218"/>
                <a:ext cx="18349" cy="18409"/>
              </a:xfrm>
              <a:custGeom>
                <a:avLst/>
                <a:gdLst>
                  <a:gd name="connsiteX0" fmla="*/ 2160 w 18349"/>
                  <a:gd name="connsiteY0" fmla="*/ 15113 h 18409"/>
                  <a:gd name="connsiteX1" fmla="*/ 3296 w 18349"/>
                  <a:gd name="connsiteY1" fmla="*/ 2135 h 18409"/>
                  <a:gd name="connsiteX2" fmla="*/ 16214 w 18349"/>
                  <a:gd name="connsiteY2" fmla="*/ 3271 h 18409"/>
                  <a:gd name="connsiteX3" fmla="*/ 15078 w 18349"/>
                  <a:gd name="connsiteY3" fmla="*/ 16250 h 18409"/>
                  <a:gd name="connsiteX4" fmla="*/ 2160 w 18349"/>
                  <a:gd name="connsiteY4" fmla="*/ 1511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9">
                    <a:moveTo>
                      <a:pt x="2160" y="15113"/>
                    </a:moveTo>
                    <a:cubicBezTo>
                      <a:pt x="-1130" y="11226"/>
                      <a:pt x="-591" y="5424"/>
                      <a:pt x="3296" y="2135"/>
                    </a:cubicBezTo>
                    <a:cubicBezTo>
                      <a:pt x="7183" y="-1095"/>
                      <a:pt x="12925" y="-616"/>
                      <a:pt x="16214" y="3271"/>
                    </a:cubicBezTo>
                    <a:cubicBezTo>
                      <a:pt x="19444" y="7159"/>
                      <a:pt x="18966" y="12960"/>
                      <a:pt x="15078" y="16250"/>
                    </a:cubicBezTo>
                    <a:cubicBezTo>
                      <a:pt x="11190" y="19539"/>
                      <a:pt x="5389" y="19001"/>
                      <a:pt x="2160" y="15113"/>
                    </a:cubicBezTo>
                    <a:close/>
                  </a:path>
                </a:pathLst>
              </a:custGeom>
              <a:grpFill/>
              <a:ln w="5978" cap="flat">
                <a:noFill/>
                <a:prstDash val="solid"/>
                <a:miter/>
              </a:ln>
            </p:spPr>
            <p:txBody>
              <a:bodyPr rtlCol="0" anchor="ctr"/>
              <a:lstStyle/>
              <a:p>
                <a:endParaRPr lang="en-GB"/>
              </a:p>
            </p:txBody>
          </p:sp>
          <p:sp>
            <p:nvSpPr>
              <p:cNvPr id="2882" name="Vrije vorm: vorm 2881">
                <a:extLst>
                  <a:ext uri="{FF2B5EF4-FFF2-40B4-BE49-F238E27FC236}">
                    <a16:creationId xmlns:a16="http://schemas.microsoft.com/office/drawing/2014/main" id="{EECE94AB-DAD5-43A6-9AD5-647D3D68FCB5}"/>
                  </a:ext>
                </a:extLst>
              </p:cNvPr>
              <p:cNvSpPr/>
              <p:nvPr/>
            </p:nvSpPr>
            <p:spPr>
              <a:xfrm>
                <a:off x="4846097" y="1970621"/>
                <a:ext cx="18324" cy="18384"/>
              </a:xfrm>
              <a:custGeom>
                <a:avLst/>
                <a:gdLst>
                  <a:gd name="connsiteX0" fmla="*/ 2135 w 18324"/>
                  <a:gd name="connsiteY0" fmla="*/ 15078 h 18384"/>
                  <a:gd name="connsiteX1" fmla="*/ 15053 w 18324"/>
                  <a:gd name="connsiteY1" fmla="*/ 16274 h 18384"/>
                  <a:gd name="connsiteX2" fmla="*/ 16190 w 18324"/>
                  <a:gd name="connsiteY2" fmla="*/ 3296 h 18384"/>
                  <a:gd name="connsiteX3" fmla="*/ 3271 w 18324"/>
                  <a:gd name="connsiteY3" fmla="*/ 2160 h 18384"/>
                  <a:gd name="connsiteX4" fmla="*/ 2135 w 18324"/>
                  <a:gd name="connsiteY4" fmla="*/ 15078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2135" y="15078"/>
                    </a:moveTo>
                    <a:cubicBezTo>
                      <a:pt x="5424" y="18966"/>
                      <a:pt x="11166" y="19504"/>
                      <a:pt x="15053" y="16274"/>
                    </a:cubicBezTo>
                    <a:cubicBezTo>
                      <a:pt x="18941" y="12985"/>
                      <a:pt x="19419" y="7184"/>
                      <a:pt x="16190" y="3296"/>
                    </a:cubicBezTo>
                    <a:cubicBezTo>
                      <a:pt x="12900" y="-591"/>
                      <a:pt x="7159" y="-1130"/>
                      <a:pt x="3271" y="2160"/>
                    </a:cubicBezTo>
                    <a:cubicBezTo>
                      <a:pt x="-616" y="5389"/>
                      <a:pt x="-1094" y="11191"/>
                      <a:pt x="2135" y="15078"/>
                    </a:cubicBezTo>
                    <a:close/>
                  </a:path>
                </a:pathLst>
              </a:custGeom>
              <a:grpFill/>
              <a:ln w="5978" cap="flat">
                <a:noFill/>
                <a:prstDash val="solid"/>
                <a:miter/>
              </a:ln>
            </p:spPr>
            <p:txBody>
              <a:bodyPr rtlCol="0" anchor="ctr"/>
              <a:lstStyle/>
              <a:p>
                <a:endParaRPr lang="en-GB"/>
              </a:p>
            </p:txBody>
          </p:sp>
        </p:grpSp>
        <p:grpSp>
          <p:nvGrpSpPr>
            <p:cNvPr id="840" name="Graphic 3">
              <a:extLst>
                <a:ext uri="{FF2B5EF4-FFF2-40B4-BE49-F238E27FC236}">
                  <a16:creationId xmlns:a16="http://schemas.microsoft.com/office/drawing/2014/main" id="{577B8EDA-76D3-4419-8A2D-065483A197B4}"/>
                </a:ext>
              </a:extLst>
            </p:cNvPr>
            <p:cNvGrpSpPr/>
            <p:nvPr/>
          </p:nvGrpSpPr>
          <p:grpSpPr>
            <a:xfrm>
              <a:off x="4753714" y="1918443"/>
              <a:ext cx="183833" cy="254033"/>
              <a:chOff x="4753714" y="1918443"/>
              <a:chExt cx="183833" cy="254033"/>
            </a:xfrm>
            <a:grpFill/>
          </p:grpSpPr>
          <p:sp>
            <p:nvSpPr>
              <p:cNvPr id="2877" name="Vrije vorm: vorm 2876">
                <a:extLst>
                  <a:ext uri="{FF2B5EF4-FFF2-40B4-BE49-F238E27FC236}">
                    <a16:creationId xmlns:a16="http://schemas.microsoft.com/office/drawing/2014/main" id="{9AC974CC-656F-4D0D-B206-9CC4AF4614C3}"/>
                  </a:ext>
                </a:extLst>
              </p:cNvPr>
              <p:cNvSpPr/>
              <p:nvPr/>
            </p:nvSpPr>
            <p:spPr>
              <a:xfrm>
                <a:off x="4761332" y="1926431"/>
                <a:ext cx="168537" cy="238092"/>
              </a:xfrm>
              <a:custGeom>
                <a:avLst/>
                <a:gdLst>
                  <a:gd name="connsiteX0" fmla="*/ 168537 w 168537"/>
                  <a:gd name="connsiteY0" fmla="*/ 236298 h 238092"/>
                  <a:gd name="connsiteX1" fmla="*/ 166025 w 168537"/>
                  <a:gd name="connsiteY1" fmla="*/ 238093 h 238092"/>
                  <a:gd name="connsiteX2" fmla="*/ 0 w 168537"/>
                  <a:gd name="connsiteY2" fmla="*/ 1734 h 238092"/>
                  <a:gd name="connsiteX3" fmla="*/ 2512 w 168537"/>
                  <a:gd name="connsiteY3" fmla="*/ 0 h 238092"/>
                </a:gdLst>
                <a:ahLst/>
                <a:cxnLst>
                  <a:cxn ang="0">
                    <a:pos x="connsiteX0" y="connsiteY0"/>
                  </a:cxn>
                  <a:cxn ang="0">
                    <a:pos x="connsiteX1" y="connsiteY1"/>
                  </a:cxn>
                  <a:cxn ang="0">
                    <a:pos x="connsiteX2" y="connsiteY2"/>
                  </a:cxn>
                  <a:cxn ang="0">
                    <a:pos x="connsiteX3" y="connsiteY3"/>
                  </a:cxn>
                </a:cxnLst>
                <a:rect l="l" t="t" r="r" b="b"/>
                <a:pathLst>
                  <a:path w="168537" h="238092">
                    <a:moveTo>
                      <a:pt x="168537" y="236298"/>
                    </a:moveTo>
                    <a:lnTo>
                      <a:pt x="166025" y="238093"/>
                    </a:lnTo>
                    <a:lnTo>
                      <a:pt x="0" y="1734"/>
                    </a:lnTo>
                    <a:lnTo>
                      <a:pt x="2512" y="0"/>
                    </a:lnTo>
                    <a:close/>
                  </a:path>
                </a:pathLst>
              </a:custGeom>
              <a:grpFill/>
              <a:ln w="5978" cap="flat">
                <a:noFill/>
                <a:prstDash val="solid"/>
                <a:miter/>
              </a:ln>
            </p:spPr>
            <p:txBody>
              <a:bodyPr rtlCol="0" anchor="ctr"/>
              <a:lstStyle/>
              <a:p>
                <a:endParaRPr lang="en-GB"/>
              </a:p>
            </p:txBody>
          </p:sp>
          <p:sp>
            <p:nvSpPr>
              <p:cNvPr id="2878" name="Vrije vorm: vorm 2877">
                <a:extLst>
                  <a:ext uri="{FF2B5EF4-FFF2-40B4-BE49-F238E27FC236}">
                    <a16:creationId xmlns:a16="http://schemas.microsoft.com/office/drawing/2014/main" id="{A700E1EB-2718-4034-9F86-8B1906E1FF30}"/>
                  </a:ext>
                </a:extLst>
              </p:cNvPr>
              <p:cNvSpPr/>
              <p:nvPr/>
            </p:nvSpPr>
            <p:spPr>
              <a:xfrm>
                <a:off x="4919200" y="2154024"/>
                <a:ext cx="18346" cy="18452"/>
              </a:xfrm>
              <a:custGeom>
                <a:avLst/>
                <a:gdLst>
                  <a:gd name="connsiteX0" fmla="*/ 16649 w 18346"/>
                  <a:gd name="connsiteY0" fmla="*/ 3920 h 18452"/>
                  <a:gd name="connsiteX1" fmla="*/ 14496 w 18346"/>
                  <a:gd name="connsiteY1" fmla="*/ 16779 h 18452"/>
                  <a:gd name="connsiteX2" fmla="*/ 1698 w 18346"/>
                  <a:gd name="connsiteY2" fmla="*/ 14506 h 18452"/>
                  <a:gd name="connsiteX3" fmla="*/ 3851 w 18346"/>
                  <a:gd name="connsiteY3" fmla="*/ 1648 h 18452"/>
                  <a:gd name="connsiteX4" fmla="*/ 16649 w 18346"/>
                  <a:gd name="connsiteY4" fmla="*/ 3920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2">
                    <a:moveTo>
                      <a:pt x="16649" y="3920"/>
                    </a:moveTo>
                    <a:cubicBezTo>
                      <a:pt x="19580" y="8107"/>
                      <a:pt x="18623" y="13849"/>
                      <a:pt x="14496" y="16779"/>
                    </a:cubicBezTo>
                    <a:cubicBezTo>
                      <a:pt x="10369" y="19710"/>
                      <a:pt x="4628" y="18693"/>
                      <a:pt x="1698" y="14506"/>
                    </a:cubicBezTo>
                    <a:cubicBezTo>
                      <a:pt x="-1233" y="10320"/>
                      <a:pt x="-276" y="4578"/>
                      <a:pt x="3851" y="1648"/>
                    </a:cubicBezTo>
                    <a:cubicBezTo>
                      <a:pt x="7977" y="-1223"/>
                      <a:pt x="13719" y="-266"/>
                      <a:pt x="16649" y="3920"/>
                    </a:cubicBezTo>
                    <a:close/>
                  </a:path>
                </a:pathLst>
              </a:custGeom>
              <a:grpFill/>
              <a:ln w="5978" cap="flat">
                <a:noFill/>
                <a:prstDash val="solid"/>
                <a:miter/>
              </a:ln>
            </p:spPr>
            <p:txBody>
              <a:bodyPr rtlCol="0" anchor="ctr"/>
              <a:lstStyle/>
              <a:p>
                <a:endParaRPr lang="en-GB"/>
              </a:p>
            </p:txBody>
          </p:sp>
          <p:sp>
            <p:nvSpPr>
              <p:cNvPr id="2879" name="Vrije vorm: vorm 2878">
                <a:extLst>
                  <a:ext uri="{FF2B5EF4-FFF2-40B4-BE49-F238E27FC236}">
                    <a16:creationId xmlns:a16="http://schemas.microsoft.com/office/drawing/2014/main" id="{1D92C824-C17F-44A9-A8CB-6B4A211855BC}"/>
                  </a:ext>
                </a:extLst>
              </p:cNvPr>
              <p:cNvSpPr/>
              <p:nvPr/>
            </p:nvSpPr>
            <p:spPr>
              <a:xfrm>
                <a:off x="4753714" y="1918443"/>
                <a:ext cx="18304" cy="18426"/>
              </a:xfrm>
              <a:custGeom>
                <a:avLst/>
                <a:gdLst>
                  <a:gd name="connsiteX0" fmla="*/ 16649 w 18304"/>
                  <a:gd name="connsiteY0" fmla="*/ 3920 h 18426"/>
                  <a:gd name="connsiteX1" fmla="*/ 3851 w 18304"/>
                  <a:gd name="connsiteY1" fmla="*/ 1648 h 18426"/>
                  <a:gd name="connsiteX2" fmla="*/ 1697 w 18304"/>
                  <a:gd name="connsiteY2" fmla="*/ 14506 h 18426"/>
                  <a:gd name="connsiteX3" fmla="*/ 14496 w 18304"/>
                  <a:gd name="connsiteY3" fmla="*/ 16779 h 18426"/>
                  <a:gd name="connsiteX4" fmla="*/ 16649 w 18304"/>
                  <a:gd name="connsiteY4" fmla="*/ 392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6">
                    <a:moveTo>
                      <a:pt x="16649" y="3920"/>
                    </a:moveTo>
                    <a:cubicBezTo>
                      <a:pt x="13719" y="-266"/>
                      <a:pt x="7977" y="-1223"/>
                      <a:pt x="3851" y="1648"/>
                    </a:cubicBezTo>
                    <a:cubicBezTo>
                      <a:pt x="-276" y="4578"/>
                      <a:pt x="-1233" y="10320"/>
                      <a:pt x="1697" y="14506"/>
                    </a:cubicBezTo>
                    <a:cubicBezTo>
                      <a:pt x="4628" y="18693"/>
                      <a:pt x="10369" y="19650"/>
                      <a:pt x="14496" y="16779"/>
                    </a:cubicBezTo>
                    <a:cubicBezTo>
                      <a:pt x="18563" y="13849"/>
                      <a:pt x="19520" y="8107"/>
                      <a:pt x="16649" y="3920"/>
                    </a:cubicBezTo>
                    <a:close/>
                  </a:path>
                </a:pathLst>
              </a:custGeom>
              <a:grpFill/>
              <a:ln w="5978" cap="flat">
                <a:noFill/>
                <a:prstDash val="solid"/>
                <a:miter/>
              </a:ln>
            </p:spPr>
            <p:txBody>
              <a:bodyPr rtlCol="0" anchor="ctr"/>
              <a:lstStyle/>
              <a:p>
                <a:endParaRPr lang="en-GB"/>
              </a:p>
            </p:txBody>
          </p:sp>
        </p:grpSp>
        <p:grpSp>
          <p:nvGrpSpPr>
            <p:cNvPr id="841" name="Graphic 3">
              <a:extLst>
                <a:ext uri="{FF2B5EF4-FFF2-40B4-BE49-F238E27FC236}">
                  <a16:creationId xmlns:a16="http://schemas.microsoft.com/office/drawing/2014/main" id="{C74D6D12-3792-4EFB-855B-62E7780F82C6}"/>
                </a:ext>
              </a:extLst>
            </p:cNvPr>
            <p:cNvGrpSpPr/>
            <p:nvPr/>
          </p:nvGrpSpPr>
          <p:grpSpPr>
            <a:xfrm>
              <a:off x="4464496" y="1364472"/>
              <a:ext cx="540461" cy="743123"/>
              <a:chOff x="4464496" y="1364472"/>
              <a:chExt cx="540461" cy="743123"/>
            </a:xfrm>
            <a:grpFill/>
          </p:grpSpPr>
          <p:sp>
            <p:nvSpPr>
              <p:cNvPr id="2874" name="Vrije vorm: vorm 2873">
                <a:extLst>
                  <a:ext uri="{FF2B5EF4-FFF2-40B4-BE49-F238E27FC236}">
                    <a16:creationId xmlns:a16="http://schemas.microsoft.com/office/drawing/2014/main" id="{65FE3DA5-6CDC-4B8E-8607-A9D5CB69D747}"/>
                  </a:ext>
                </a:extLst>
              </p:cNvPr>
              <p:cNvSpPr/>
              <p:nvPr/>
            </p:nvSpPr>
            <p:spPr>
              <a:xfrm>
                <a:off x="4472164" y="1372376"/>
                <a:ext cx="525107" cy="727255"/>
              </a:xfrm>
              <a:custGeom>
                <a:avLst/>
                <a:gdLst>
                  <a:gd name="connsiteX0" fmla="*/ 525107 w 525107"/>
                  <a:gd name="connsiteY0" fmla="*/ 725521 h 727255"/>
                  <a:gd name="connsiteX1" fmla="*/ 522655 w 525107"/>
                  <a:gd name="connsiteY1" fmla="*/ 727256 h 727255"/>
                  <a:gd name="connsiteX2" fmla="*/ 0 w 525107"/>
                  <a:gd name="connsiteY2" fmla="*/ 1794 h 727255"/>
                  <a:gd name="connsiteX3" fmla="*/ 2512 w 525107"/>
                  <a:gd name="connsiteY3" fmla="*/ 0 h 727255"/>
                </a:gdLst>
                <a:ahLst/>
                <a:cxnLst>
                  <a:cxn ang="0">
                    <a:pos x="connsiteX0" y="connsiteY0"/>
                  </a:cxn>
                  <a:cxn ang="0">
                    <a:pos x="connsiteX1" y="connsiteY1"/>
                  </a:cxn>
                  <a:cxn ang="0">
                    <a:pos x="connsiteX2" y="connsiteY2"/>
                  </a:cxn>
                  <a:cxn ang="0">
                    <a:pos x="connsiteX3" y="connsiteY3"/>
                  </a:cxn>
                </a:cxnLst>
                <a:rect l="l" t="t" r="r" b="b"/>
                <a:pathLst>
                  <a:path w="525107" h="727255">
                    <a:moveTo>
                      <a:pt x="525107" y="725521"/>
                    </a:moveTo>
                    <a:lnTo>
                      <a:pt x="522655" y="727256"/>
                    </a:lnTo>
                    <a:lnTo>
                      <a:pt x="0" y="1794"/>
                    </a:lnTo>
                    <a:lnTo>
                      <a:pt x="2512" y="0"/>
                    </a:lnTo>
                    <a:close/>
                  </a:path>
                </a:pathLst>
              </a:custGeom>
              <a:grpFill/>
              <a:ln w="5978" cap="flat">
                <a:noFill/>
                <a:prstDash val="solid"/>
                <a:miter/>
              </a:ln>
            </p:spPr>
            <p:txBody>
              <a:bodyPr rtlCol="0" anchor="ctr"/>
              <a:lstStyle/>
              <a:p>
                <a:endParaRPr lang="en-GB"/>
              </a:p>
            </p:txBody>
          </p:sp>
          <p:sp>
            <p:nvSpPr>
              <p:cNvPr id="2875" name="Vrije vorm: vorm 2874">
                <a:extLst>
                  <a:ext uri="{FF2B5EF4-FFF2-40B4-BE49-F238E27FC236}">
                    <a16:creationId xmlns:a16="http://schemas.microsoft.com/office/drawing/2014/main" id="{086E8997-31E6-41A3-813B-BC47F1AD116E}"/>
                  </a:ext>
                </a:extLst>
              </p:cNvPr>
              <p:cNvSpPr/>
              <p:nvPr/>
            </p:nvSpPr>
            <p:spPr>
              <a:xfrm>
                <a:off x="4986596" y="2089182"/>
                <a:ext cx="18361" cy="18413"/>
              </a:xfrm>
              <a:custGeom>
                <a:avLst/>
                <a:gdLst>
                  <a:gd name="connsiteX0" fmla="*/ 16597 w 18361"/>
                  <a:gd name="connsiteY0" fmla="*/ 3811 h 18413"/>
                  <a:gd name="connsiteX1" fmla="*/ 14563 w 18361"/>
                  <a:gd name="connsiteY1" fmla="*/ 16670 h 18413"/>
                  <a:gd name="connsiteX2" fmla="*/ 1765 w 18361"/>
                  <a:gd name="connsiteY2" fmla="*/ 14576 h 18413"/>
                  <a:gd name="connsiteX3" fmla="*/ 3798 w 18361"/>
                  <a:gd name="connsiteY3" fmla="*/ 1718 h 18413"/>
                  <a:gd name="connsiteX4" fmla="*/ 16597 w 18361"/>
                  <a:gd name="connsiteY4" fmla="*/ 3811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3">
                    <a:moveTo>
                      <a:pt x="16597" y="3811"/>
                    </a:moveTo>
                    <a:cubicBezTo>
                      <a:pt x="19587" y="7938"/>
                      <a:pt x="18690" y="13679"/>
                      <a:pt x="14563" y="16670"/>
                    </a:cubicBezTo>
                    <a:cubicBezTo>
                      <a:pt x="10497" y="19660"/>
                      <a:pt x="4755" y="18703"/>
                      <a:pt x="1765" y="14576"/>
                    </a:cubicBezTo>
                    <a:cubicBezTo>
                      <a:pt x="-1226" y="10450"/>
                      <a:pt x="-329" y="4708"/>
                      <a:pt x="3798" y="1718"/>
                    </a:cubicBezTo>
                    <a:cubicBezTo>
                      <a:pt x="7865" y="-1213"/>
                      <a:pt x="13606" y="-316"/>
                      <a:pt x="16597" y="3811"/>
                    </a:cubicBezTo>
                    <a:close/>
                  </a:path>
                </a:pathLst>
              </a:custGeom>
              <a:grpFill/>
              <a:ln w="5978" cap="flat">
                <a:noFill/>
                <a:prstDash val="solid"/>
                <a:miter/>
              </a:ln>
            </p:spPr>
            <p:txBody>
              <a:bodyPr rtlCol="0" anchor="ctr"/>
              <a:lstStyle/>
              <a:p>
                <a:endParaRPr lang="en-GB"/>
              </a:p>
            </p:txBody>
          </p:sp>
          <p:sp>
            <p:nvSpPr>
              <p:cNvPr id="2876" name="Vrije vorm: vorm 2875">
                <a:extLst>
                  <a:ext uri="{FF2B5EF4-FFF2-40B4-BE49-F238E27FC236}">
                    <a16:creationId xmlns:a16="http://schemas.microsoft.com/office/drawing/2014/main" id="{2DBAFE86-262F-48FD-8E14-02F0A2CFEB58}"/>
                  </a:ext>
                </a:extLst>
              </p:cNvPr>
              <p:cNvSpPr/>
              <p:nvPr/>
            </p:nvSpPr>
            <p:spPr>
              <a:xfrm>
                <a:off x="4464496" y="1364472"/>
                <a:ext cx="18344" cy="18439"/>
              </a:xfrm>
              <a:custGeom>
                <a:avLst/>
                <a:gdLst>
                  <a:gd name="connsiteX0" fmla="*/ 16580 w 18344"/>
                  <a:gd name="connsiteY0" fmla="*/ 3837 h 18439"/>
                  <a:gd name="connsiteX1" fmla="*/ 3781 w 18344"/>
                  <a:gd name="connsiteY1" fmla="*/ 1744 h 18439"/>
                  <a:gd name="connsiteX2" fmla="*/ 1748 w 18344"/>
                  <a:gd name="connsiteY2" fmla="*/ 14602 h 18439"/>
                  <a:gd name="connsiteX3" fmla="*/ 14546 w 18344"/>
                  <a:gd name="connsiteY3" fmla="*/ 16696 h 18439"/>
                  <a:gd name="connsiteX4" fmla="*/ 16580 w 18344"/>
                  <a:gd name="connsiteY4" fmla="*/ 3837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39">
                    <a:moveTo>
                      <a:pt x="16580" y="3837"/>
                    </a:moveTo>
                    <a:cubicBezTo>
                      <a:pt x="13589" y="-290"/>
                      <a:pt x="7848" y="-1246"/>
                      <a:pt x="3781" y="1744"/>
                    </a:cubicBezTo>
                    <a:cubicBezTo>
                      <a:pt x="-286" y="4734"/>
                      <a:pt x="-1243" y="10476"/>
                      <a:pt x="1748" y="14602"/>
                    </a:cubicBezTo>
                    <a:cubicBezTo>
                      <a:pt x="4738" y="18729"/>
                      <a:pt x="10480" y="19686"/>
                      <a:pt x="14546" y="16696"/>
                    </a:cubicBezTo>
                    <a:cubicBezTo>
                      <a:pt x="18673" y="13705"/>
                      <a:pt x="19570" y="7964"/>
                      <a:pt x="16580" y="3837"/>
                    </a:cubicBezTo>
                    <a:close/>
                  </a:path>
                </a:pathLst>
              </a:custGeom>
              <a:grpFill/>
              <a:ln w="5978" cap="flat">
                <a:noFill/>
                <a:prstDash val="solid"/>
                <a:miter/>
              </a:ln>
            </p:spPr>
            <p:txBody>
              <a:bodyPr rtlCol="0" anchor="ctr"/>
              <a:lstStyle/>
              <a:p>
                <a:endParaRPr lang="en-GB"/>
              </a:p>
            </p:txBody>
          </p:sp>
        </p:grpSp>
        <p:grpSp>
          <p:nvGrpSpPr>
            <p:cNvPr id="842" name="Graphic 3">
              <a:extLst>
                <a:ext uri="{FF2B5EF4-FFF2-40B4-BE49-F238E27FC236}">
                  <a16:creationId xmlns:a16="http://schemas.microsoft.com/office/drawing/2014/main" id="{7819927A-0740-470A-AFB0-1D1C838A69E4}"/>
                </a:ext>
              </a:extLst>
            </p:cNvPr>
            <p:cNvGrpSpPr/>
            <p:nvPr/>
          </p:nvGrpSpPr>
          <p:grpSpPr>
            <a:xfrm>
              <a:off x="4770484" y="1936366"/>
              <a:ext cx="105397" cy="118882"/>
              <a:chOff x="4770484" y="1936366"/>
              <a:chExt cx="105397" cy="118882"/>
            </a:xfrm>
            <a:grpFill/>
          </p:grpSpPr>
          <p:sp>
            <p:nvSpPr>
              <p:cNvPr id="2871" name="Vrije vorm: vorm 2870">
                <a:extLst>
                  <a:ext uri="{FF2B5EF4-FFF2-40B4-BE49-F238E27FC236}">
                    <a16:creationId xmlns:a16="http://schemas.microsoft.com/office/drawing/2014/main" id="{94BCEC73-C4A3-4B4A-B2A9-54730B53C30B}"/>
                  </a:ext>
                </a:extLst>
              </p:cNvPr>
              <p:cNvSpPr/>
              <p:nvPr/>
            </p:nvSpPr>
            <p:spPr>
              <a:xfrm>
                <a:off x="4778197" y="1944253"/>
                <a:ext cx="89950" cy="103107"/>
              </a:xfrm>
              <a:custGeom>
                <a:avLst/>
                <a:gdLst>
                  <a:gd name="connsiteX0" fmla="*/ 89950 w 89950"/>
                  <a:gd name="connsiteY0" fmla="*/ 101134 h 103107"/>
                  <a:gd name="connsiteX1" fmla="*/ 87678 w 89950"/>
                  <a:gd name="connsiteY1" fmla="*/ 103108 h 103107"/>
                  <a:gd name="connsiteX2" fmla="*/ 0 w 89950"/>
                  <a:gd name="connsiteY2" fmla="*/ 1974 h 103107"/>
                  <a:gd name="connsiteX3" fmla="*/ 2273 w 89950"/>
                  <a:gd name="connsiteY3" fmla="*/ 0 h 103107"/>
                </a:gdLst>
                <a:ahLst/>
                <a:cxnLst>
                  <a:cxn ang="0">
                    <a:pos x="connsiteX0" y="connsiteY0"/>
                  </a:cxn>
                  <a:cxn ang="0">
                    <a:pos x="connsiteX1" y="connsiteY1"/>
                  </a:cxn>
                  <a:cxn ang="0">
                    <a:pos x="connsiteX2" y="connsiteY2"/>
                  </a:cxn>
                  <a:cxn ang="0">
                    <a:pos x="connsiteX3" y="connsiteY3"/>
                  </a:cxn>
                </a:cxnLst>
                <a:rect l="l" t="t" r="r" b="b"/>
                <a:pathLst>
                  <a:path w="89950" h="103107">
                    <a:moveTo>
                      <a:pt x="89950" y="101134"/>
                    </a:moveTo>
                    <a:lnTo>
                      <a:pt x="87678" y="103108"/>
                    </a:lnTo>
                    <a:lnTo>
                      <a:pt x="0" y="1974"/>
                    </a:lnTo>
                    <a:lnTo>
                      <a:pt x="2273" y="0"/>
                    </a:lnTo>
                    <a:close/>
                  </a:path>
                </a:pathLst>
              </a:custGeom>
              <a:grpFill/>
              <a:ln w="5978" cap="flat">
                <a:noFill/>
                <a:prstDash val="solid"/>
                <a:miter/>
              </a:ln>
            </p:spPr>
            <p:txBody>
              <a:bodyPr rtlCol="0" anchor="ctr"/>
              <a:lstStyle/>
              <a:p>
                <a:endParaRPr lang="en-GB"/>
              </a:p>
            </p:txBody>
          </p:sp>
          <p:sp>
            <p:nvSpPr>
              <p:cNvPr id="2872" name="Vrije vorm: vorm 2871">
                <a:extLst>
                  <a:ext uri="{FF2B5EF4-FFF2-40B4-BE49-F238E27FC236}">
                    <a16:creationId xmlns:a16="http://schemas.microsoft.com/office/drawing/2014/main" id="{453BA271-5B84-46A9-8827-E930CFE65858}"/>
                  </a:ext>
                </a:extLst>
              </p:cNvPr>
              <p:cNvSpPr/>
              <p:nvPr/>
            </p:nvSpPr>
            <p:spPr>
              <a:xfrm>
                <a:off x="4770484" y="1936366"/>
                <a:ext cx="18297" cy="18405"/>
              </a:xfrm>
              <a:custGeom>
                <a:avLst/>
                <a:gdLst>
                  <a:gd name="connsiteX0" fmla="*/ 2271 w 18297"/>
                  <a:gd name="connsiteY0" fmla="*/ 15244 h 18405"/>
                  <a:gd name="connsiteX1" fmla="*/ 3108 w 18297"/>
                  <a:gd name="connsiteY1" fmla="*/ 2265 h 18405"/>
                  <a:gd name="connsiteX2" fmla="*/ 16027 w 18297"/>
                  <a:gd name="connsiteY2" fmla="*/ 3162 h 18405"/>
                  <a:gd name="connsiteX3" fmla="*/ 15189 w 18297"/>
                  <a:gd name="connsiteY3" fmla="*/ 16141 h 18405"/>
                  <a:gd name="connsiteX4" fmla="*/ 2271 w 18297"/>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2271" y="15244"/>
                    </a:moveTo>
                    <a:cubicBezTo>
                      <a:pt x="-1078" y="11416"/>
                      <a:pt x="-660" y="5555"/>
                      <a:pt x="3108" y="2265"/>
                    </a:cubicBezTo>
                    <a:cubicBezTo>
                      <a:pt x="6936" y="-1084"/>
                      <a:pt x="12737" y="-665"/>
                      <a:pt x="16027" y="3162"/>
                    </a:cubicBezTo>
                    <a:cubicBezTo>
                      <a:pt x="19376" y="6990"/>
                      <a:pt x="18957" y="12851"/>
                      <a:pt x="15189" y="16141"/>
                    </a:cubicBezTo>
                    <a:cubicBezTo>
                      <a:pt x="11362" y="19490"/>
                      <a:pt x="5560" y="19071"/>
                      <a:pt x="2271" y="15244"/>
                    </a:cubicBezTo>
                    <a:close/>
                  </a:path>
                </a:pathLst>
              </a:custGeom>
              <a:grpFill/>
              <a:ln w="5978" cap="flat">
                <a:noFill/>
                <a:prstDash val="solid"/>
                <a:miter/>
              </a:ln>
            </p:spPr>
            <p:txBody>
              <a:bodyPr rtlCol="0" anchor="ctr"/>
              <a:lstStyle/>
              <a:p>
                <a:endParaRPr lang="en-GB"/>
              </a:p>
            </p:txBody>
          </p:sp>
          <p:sp>
            <p:nvSpPr>
              <p:cNvPr id="2873" name="Vrije vorm: vorm 2872">
                <a:extLst>
                  <a:ext uri="{FF2B5EF4-FFF2-40B4-BE49-F238E27FC236}">
                    <a16:creationId xmlns:a16="http://schemas.microsoft.com/office/drawing/2014/main" id="{AEDC13A8-7CBC-4F42-9725-3C8234B0379B}"/>
                  </a:ext>
                </a:extLst>
              </p:cNvPr>
              <p:cNvSpPr/>
              <p:nvPr/>
            </p:nvSpPr>
            <p:spPr>
              <a:xfrm>
                <a:off x="4857543" y="2036842"/>
                <a:ext cx="18338" cy="18405"/>
              </a:xfrm>
              <a:custGeom>
                <a:avLst/>
                <a:gdLst>
                  <a:gd name="connsiteX0" fmla="*/ 2291 w 18338"/>
                  <a:gd name="connsiteY0" fmla="*/ 15244 h 18405"/>
                  <a:gd name="connsiteX1" fmla="*/ 15210 w 18338"/>
                  <a:gd name="connsiteY1" fmla="*/ 16141 h 18405"/>
                  <a:gd name="connsiteX2" fmla="*/ 16047 w 18338"/>
                  <a:gd name="connsiteY2" fmla="*/ 3162 h 18405"/>
                  <a:gd name="connsiteX3" fmla="*/ 3129 w 18338"/>
                  <a:gd name="connsiteY3" fmla="*/ 2265 h 18405"/>
                  <a:gd name="connsiteX4" fmla="*/ 2291 w 18338"/>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5">
                    <a:moveTo>
                      <a:pt x="2291" y="15244"/>
                    </a:moveTo>
                    <a:cubicBezTo>
                      <a:pt x="5641" y="19071"/>
                      <a:pt x="11442" y="19490"/>
                      <a:pt x="15210" y="16141"/>
                    </a:cubicBezTo>
                    <a:cubicBezTo>
                      <a:pt x="19037" y="12791"/>
                      <a:pt x="19396" y="6990"/>
                      <a:pt x="16047" y="3162"/>
                    </a:cubicBezTo>
                    <a:cubicBezTo>
                      <a:pt x="12698" y="-665"/>
                      <a:pt x="6897" y="-1084"/>
                      <a:pt x="3129" y="2265"/>
                    </a:cubicBezTo>
                    <a:cubicBezTo>
                      <a:pt x="-699" y="5555"/>
                      <a:pt x="-1058" y="11356"/>
                      <a:pt x="2291" y="15244"/>
                    </a:cubicBezTo>
                    <a:close/>
                  </a:path>
                </a:pathLst>
              </a:custGeom>
              <a:grpFill/>
              <a:ln w="5978" cap="flat">
                <a:noFill/>
                <a:prstDash val="solid"/>
                <a:miter/>
              </a:ln>
            </p:spPr>
            <p:txBody>
              <a:bodyPr rtlCol="0" anchor="ctr"/>
              <a:lstStyle/>
              <a:p>
                <a:endParaRPr lang="en-GB"/>
              </a:p>
            </p:txBody>
          </p:sp>
        </p:grpSp>
        <p:grpSp>
          <p:nvGrpSpPr>
            <p:cNvPr id="843" name="Graphic 3">
              <a:extLst>
                <a:ext uri="{FF2B5EF4-FFF2-40B4-BE49-F238E27FC236}">
                  <a16:creationId xmlns:a16="http://schemas.microsoft.com/office/drawing/2014/main" id="{F19791AE-9F79-435F-863C-67750E557CD1}"/>
                </a:ext>
              </a:extLst>
            </p:cNvPr>
            <p:cNvGrpSpPr/>
            <p:nvPr/>
          </p:nvGrpSpPr>
          <p:grpSpPr>
            <a:xfrm>
              <a:off x="5923094" y="5104102"/>
              <a:ext cx="78704" cy="564529"/>
              <a:chOff x="5923094" y="5104102"/>
              <a:chExt cx="78704" cy="564529"/>
            </a:xfrm>
            <a:grpFill/>
          </p:grpSpPr>
          <p:sp>
            <p:nvSpPr>
              <p:cNvPr id="2868" name="Vrije vorm: vorm 2867">
                <a:extLst>
                  <a:ext uri="{FF2B5EF4-FFF2-40B4-BE49-F238E27FC236}">
                    <a16:creationId xmlns:a16="http://schemas.microsoft.com/office/drawing/2014/main" id="{CBD94947-6597-422F-924D-ACAFB65FE095}"/>
                  </a:ext>
                </a:extLst>
              </p:cNvPr>
              <p:cNvSpPr/>
              <p:nvPr/>
            </p:nvSpPr>
            <p:spPr>
              <a:xfrm>
                <a:off x="5930683" y="5112719"/>
                <a:ext cx="63515" cy="547355"/>
              </a:xfrm>
              <a:custGeom>
                <a:avLst/>
                <a:gdLst>
                  <a:gd name="connsiteX0" fmla="*/ 63515 w 63515"/>
                  <a:gd name="connsiteY0" fmla="*/ 299 h 547355"/>
                  <a:gd name="connsiteX1" fmla="*/ 2990 w 63515"/>
                  <a:gd name="connsiteY1" fmla="*/ 547356 h 547355"/>
                  <a:gd name="connsiteX2" fmla="*/ 0 w 63515"/>
                  <a:gd name="connsiteY2" fmla="*/ 546997 h 547355"/>
                  <a:gd name="connsiteX3" fmla="*/ 60465 w 63515"/>
                  <a:gd name="connsiteY3" fmla="*/ 0 h 547355"/>
                </a:gdLst>
                <a:ahLst/>
                <a:cxnLst>
                  <a:cxn ang="0">
                    <a:pos x="connsiteX0" y="connsiteY0"/>
                  </a:cxn>
                  <a:cxn ang="0">
                    <a:pos x="connsiteX1" y="connsiteY1"/>
                  </a:cxn>
                  <a:cxn ang="0">
                    <a:pos x="connsiteX2" y="connsiteY2"/>
                  </a:cxn>
                  <a:cxn ang="0">
                    <a:pos x="connsiteX3" y="connsiteY3"/>
                  </a:cxn>
                </a:cxnLst>
                <a:rect l="l" t="t" r="r" b="b"/>
                <a:pathLst>
                  <a:path w="63515" h="547355">
                    <a:moveTo>
                      <a:pt x="63515" y="299"/>
                    </a:moveTo>
                    <a:lnTo>
                      <a:pt x="2990" y="547356"/>
                    </a:lnTo>
                    <a:lnTo>
                      <a:pt x="0" y="546997"/>
                    </a:lnTo>
                    <a:lnTo>
                      <a:pt x="60465" y="0"/>
                    </a:lnTo>
                    <a:close/>
                  </a:path>
                </a:pathLst>
              </a:custGeom>
              <a:grpFill/>
              <a:ln w="5978" cap="flat">
                <a:noFill/>
                <a:prstDash val="solid"/>
                <a:miter/>
              </a:ln>
            </p:spPr>
            <p:txBody>
              <a:bodyPr rtlCol="0" anchor="ctr"/>
              <a:lstStyle/>
              <a:p>
                <a:endParaRPr lang="en-GB"/>
              </a:p>
            </p:txBody>
          </p:sp>
          <p:sp>
            <p:nvSpPr>
              <p:cNvPr id="2869" name="Vrije vorm: vorm 2868">
                <a:extLst>
                  <a:ext uri="{FF2B5EF4-FFF2-40B4-BE49-F238E27FC236}">
                    <a16:creationId xmlns:a16="http://schemas.microsoft.com/office/drawing/2014/main" id="{D41D59CE-71B9-43D4-ABA9-0E854CEC2665}"/>
                  </a:ext>
                </a:extLst>
              </p:cNvPr>
              <p:cNvSpPr/>
              <p:nvPr/>
            </p:nvSpPr>
            <p:spPr>
              <a:xfrm>
                <a:off x="5983488" y="5104102"/>
                <a:ext cx="18309" cy="18431"/>
              </a:xfrm>
              <a:custGeom>
                <a:avLst/>
                <a:gdLst>
                  <a:gd name="connsiteX0" fmla="*/ 64 w 18309"/>
                  <a:gd name="connsiteY0" fmla="*/ 8139 h 18431"/>
                  <a:gd name="connsiteX1" fmla="*/ 10172 w 18309"/>
                  <a:gd name="connsiteY1" fmla="*/ 65 h 18431"/>
                  <a:gd name="connsiteX2" fmla="*/ 18246 w 18309"/>
                  <a:gd name="connsiteY2" fmla="*/ 10292 h 18431"/>
                  <a:gd name="connsiteX3" fmla="*/ 8138 w 18309"/>
                  <a:gd name="connsiteY3" fmla="*/ 18366 h 18431"/>
                  <a:gd name="connsiteX4" fmla="*/ 64 w 18309"/>
                  <a:gd name="connsiteY4" fmla="*/ 813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1">
                    <a:moveTo>
                      <a:pt x="64" y="8139"/>
                    </a:moveTo>
                    <a:cubicBezTo>
                      <a:pt x="602" y="3055"/>
                      <a:pt x="5148" y="-533"/>
                      <a:pt x="10172" y="65"/>
                    </a:cubicBezTo>
                    <a:cubicBezTo>
                      <a:pt x="15195" y="663"/>
                      <a:pt x="18843" y="5209"/>
                      <a:pt x="18246" y="10292"/>
                    </a:cubicBezTo>
                    <a:cubicBezTo>
                      <a:pt x="17707" y="15376"/>
                      <a:pt x="13162" y="18964"/>
                      <a:pt x="8138" y="18366"/>
                    </a:cubicBezTo>
                    <a:cubicBezTo>
                      <a:pt x="3114" y="17768"/>
                      <a:pt x="-534" y="13223"/>
                      <a:pt x="64" y="8139"/>
                    </a:cubicBezTo>
                    <a:close/>
                  </a:path>
                </a:pathLst>
              </a:custGeom>
              <a:grpFill/>
              <a:ln w="5978" cap="flat">
                <a:noFill/>
                <a:prstDash val="solid"/>
                <a:miter/>
              </a:ln>
            </p:spPr>
            <p:txBody>
              <a:bodyPr rtlCol="0" anchor="ctr"/>
              <a:lstStyle/>
              <a:p>
                <a:endParaRPr lang="en-GB"/>
              </a:p>
            </p:txBody>
          </p:sp>
          <p:sp>
            <p:nvSpPr>
              <p:cNvPr id="2870" name="Vrije vorm: vorm 2869">
                <a:extLst>
                  <a:ext uri="{FF2B5EF4-FFF2-40B4-BE49-F238E27FC236}">
                    <a16:creationId xmlns:a16="http://schemas.microsoft.com/office/drawing/2014/main" id="{10DCC119-69BB-4D2D-A4F8-415EB443017F}"/>
                  </a:ext>
                </a:extLst>
              </p:cNvPr>
              <p:cNvSpPr/>
              <p:nvPr/>
            </p:nvSpPr>
            <p:spPr>
              <a:xfrm>
                <a:off x="5923094" y="5650202"/>
                <a:ext cx="18288" cy="18429"/>
              </a:xfrm>
              <a:custGeom>
                <a:avLst/>
                <a:gdLst>
                  <a:gd name="connsiteX0" fmla="*/ 53 w 18288"/>
                  <a:gd name="connsiteY0" fmla="*/ 8138 h 18429"/>
                  <a:gd name="connsiteX1" fmla="*/ 8128 w 18288"/>
                  <a:gd name="connsiteY1" fmla="*/ 18365 h 18429"/>
                  <a:gd name="connsiteX2" fmla="*/ 18235 w 18288"/>
                  <a:gd name="connsiteY2" fmla="*/ 10291 h 18429"/>
                  <a:gd name="connsiteX3" fmla="*/ 10161 w 18288"/>
                  <a:gd name="connsiteY3" fmla="*/ 64 h 18429"/>
                  <a:gd name="connsiteX4" fmla="*/ 53 w 18288"/>
                  <a:gd name="connsiteY4" fmla="*/ 813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9">
                    <a:moveTo>
                      <a:pt x="53" y="8138"/>
                    </a:moveTo>
                    <a:cubicBezTo>
                      <a:pt x="-485" y="13222"/>
                      <a:pt x="3104" y="17767"/>
                      <a:pt x="8128" y="18365"/>
                    </a:cubicBezTo>
                    <a:cubicBezTo>
                      <a:pt x="13151" y="18963"/>
                      <a:pt x="17697" y="15315"/>
                      <a:pt x="18235" y="10291"/>
                    </a:cubicBezTo>
                    <a:cubicBezTo>
                      <a:pt x="18773" y="5208"/>
                      <a:pt x="15185" y="662"/>
                      <a:pt x="10161" y="64"/>
                    </a:cubicBezTo>
                    <a:cubicBezTo>
                      <a:pt x="5137" y="-534"/>
                      <a:pt x="592" y="3114"/>
                      <a:pt x="53" y="8138"/>
                    </a:cubicBezTo>
                    <a:close/>
                  </a:path>
                </a:pathLst>
              </a:custGeom>
              <a:grpFill/>
              <a:ln w="5978" cap="flat">
                <a:noFill/>
                <a:prstDash val="solid"/>
                <a:miter/>
              </a:ln>
            </p:spPr>
            <p:txBody>
              <a:bodyPr rtlCol="0" anchor="ctr"/>
              <a:lstStyle/>
              <a:p>
                <a:endParaRPr lang="en-GB"/>
              </a:p>
            </p:txBody>
          </p:sp>
        </p:grpSp>
        <p:grpSp>
          <p:nvGrpSpPr>
            <p:cNvPr id="844" name="Graphic 3">
              <a:extLst>
                <a:ext uri="{FF2B5EF4-FFF2-40B4-BE49-F238E27FC236}">
                  <a16:creationId xmlns:a16="http://schemas.microsoft.com/office/drawing/2014/main" id="{1E896F5D-0311-4CDF-B2EA-EA37E381858B}"/>
                </a:ext>
              </a:extLst>
            </p:cNvPr>
            <p:cNvGrpSpPr/>
            <p:nvPr/>
          </p:nvGrpSpPr>
          <p:grpSpPr>
            <a:xfrm>
              <a:off x="5935696" y="5275977"/>
              <a:ext cx="25803" cy="154454"/>
              <a:chOff x="5935696" y="5275977"/>
              <a:chExt cx="25803" cy="154454"/>
            </a:xfrm>
            <a:grpFill/>
          </p:grpSpPr>
          <p:sp>
            <p:nvSpPr>
              <p:cNvPr id="2865" name="Vrije vorm: vorm 2864">
                <a:extLst>
                  <a:ext uri="{FF2B5EF4-FFF2-40B4-BE49-F238E27FC236}">
                    <a16:creationId xmlns:a16="http://schemas.microsoft.com/office/drawing/2014/main" id="{71F9D3A3-18D7-472E-8F99-EDBD7231C619}"/>
                  </a:ext>
                </a:extLst>
              </p:cNvPr>
              <p:cNvSpPr/>
              <p:nvPr/>
            </p:nvSpPr>
            <p:spPr>
              <a:xfrm>
                <a:off x="5943302" y="5284606"/>
                <a:ext cx="10585" cy="137137"/>
              </a:xfrm>
              <a:custGeom>
                <a:avLst/>
                <a:gdLst>
                  <a:gd name="connsiteX0" fmla="*/ 10586 w 10585"/>
                  <a:gd name="connsiteY0" fmla="*/ 179 h 137137"/>
                  <a:gd name="connsiteX1" fmla="*/ 3050 w 10585"/>
                  <a:gd name="connsiteY1" fmla="*/ 137138 h 137137"/>
                  <a:gd name="connsiteX2" fmla="*/ 0 w 10585"/>
                  <a:gd name="connsiteY2" fmla="*/ 136958 h 137137"/>
                  <a:gd name="connsiteX3" fmla="*/ 7536 w 10585"/>
                  <a:gd name="connsiteY3" fmla="*/ 0 h 137137"/>
                </a:gdLst>
                <a:ahLst/>
                <a:cxnLst>
                  <a:cxn ang="0">
                    <a:pos x="connsiteX0" y="connsiteY0"/>
                  </a:cxn>
                  <a:cxn ang="0">
                    <a:pos x="connsiteX1" y="connsiteY1"/>
                  </a:cxn>
                  <a:cxn ang="0">
                    <a:pos x="connsiteX2" y="connsiteY2"/>
                  </a:cxn>
                  <a:cxn ang="0">
                    <a:pos x="connsiteX3" y="connsiteY3"/>
                  </a:cxn>
                </a:cxnLst>
                <a:rect l="l" t="t" r="r" b="b"/>
                <a:pathLst>
                  <a:path w="10585" h="137137">
                    <a:moveTo>
                      <a:pt x="10586" y="179"/>
                    </a:moveTo>
                    <a:lnTo>
                      <a:pt x="3050" y="137138"/>
                    </a:lnTo>
                    <a:lnTo>
                      <a:pt x="0" y="136958"/>
                    </a:lnTo>
                    <a:lnTo>
                      <a:pt x="7536" y="0"/>
                    </a:lnTo>
                    <a:close/>
                  </a:path>
                </a:pathLst>
              </a:custGeom>
              <a:grpFill/>
              <a:ln w="5978" cap="flat">
                <a:noFill/>
                <a:prstDash val="solid"/>
                <a:miter/>
              </a:ln>
            </p:spPr>
            <p:txBody>
              <a:bodyPr rtlCol="0" anchor="ctr"/>
              <a:lstStyle/>
              <a:p>
                <a:endParaRPr lang="en-GB"/>
              </a:p>
            </p:txBody>
          </p:sp>
          <p:sp>
            <p:nvSpPr>
              <p:cNvPr id="2866" name="Vrije vorm: vorm 2865">
                <a:extLst>
                  <a:ext uri="{FF2B5EF4-FFF2-40B4-BE49-F238E27FC236}">
                    <a16:creationId xmlns:a16="http://schemas.microsoft.com/office/drawing/2014/main" id="{7DDE3B8B-3B42-4D90-BD16-F98B54D7C328}"/>
                  </a:ext>
                </a:extLst>
              </p:cNvPr>
              <p:cNvSpPr/>
              <p:nvPr/>
            </p:nvSpPr>
            <p:spPr>
              <a:xfrm>
                <a:off x="5935696" y="5411979"/>
                <a:ext cx="18322" cy="18453"/>
              </a:xfrm>
              <a:custGeom>
                <a:avLst/>
                <a:gdLst>
                  <a:gd name="connsiteX0" fmla="*/ 18312 w 18322"/>
                  <a:gd name="connsiteY0" fmla="*/ 9765 h 18453"/>
                  <a:gd name="connsiteX1" fmla="*/ 8682 w 18322"/>
                  <a:gd name="connsiteY1" fmla="*/ 18437 h 18453"/>
                  <a:gd name="connsiteX2" fmla="*/ 11 w 18322"/>
                  <a:gd name="connsiteY2" fmla="*/ 8688 h 18453"/>
                  <a:gd name="connsiteX3" fmla="*/ 9640 w 18322"/>
                  <a:gd name="connsiteY3" fmla="*/ 16 h 18453"/>
                  <a:gd name="connsiteX4" fmla="*/ 18312 w 18322"/>
                  <a:gd name="connsiteY4" fmla="*/ 976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8312" y="9765"/>
                    </a:moveTo>
                    <a:cubicBezTo>
                      <a:pt x="18013" y="14848"/>
                      <a:pt x="13706" y="18736"/>
                      <a:pt x="8682" y="18437"/>
                    </a:cubicBezTo>
                    <a:cubicBezTo>
                      <a:pt x="3599" y="18138"/>
                      <a:pt x="-229" y="13772"/>
                      <a:pt x="11" y="8688"/>
                    </a:cubicBezTo>
                    <a:cubicBezTo>
                      <a:pt x="310" y="3604"/>
                      <a:pt x="4616" y="-283"/>
                      <a:pt x="9640" y="16"/>
                    </a:cubicBezTo>
                    <a:cubicBezTo>
                      <a:pt x="14663" y="315"/>
                      <a:pt x="18551" y="4681"/>
                      <a:pt x="18312" y="9765"/>
                    </a:cubicBezTo>
                    <a:close/>
                  </a:path>
                </a:pathLst>
              </a:custGeom>
              <a:grpFill/>
              <a:ln w="5978" cap="flat">
                <a:noFill/>
                <a:prstDash val="solid"/>
                <a:miter/>
              </a:ln>
            </p:spPr>
            <p:txBody>
              <a:bodyPr rtlCol="0" anchor="ctr"/>
              <a:lstStyle/>
              <a:p>
                <a:endParaRPr lang="en-GB"/>
              </a:p>
            </p:txBody>
          </p:sp>
          <p:sp>
            <p:nvSpPr>
              <p:cNvPr id="2867" name="Vrije vorm: vorm 2866">
                <a:extLst>
                  <a:ext uri="{FF2B5EF4-FFF2-40B4-BE49-F238E27FC236}">
                    <a16:creationId xmlns:a16="http://schemas.microsoft.com/office/drawing/2014/main" id="{323E767E-1CDB-410F-823A-E5D2199B074F}"/>
                  </a:ext>
                </a:extLst>
              </p:cNvPr>
              <p:cNvSpPr/>
              <p:nvPr/>
            </p:nvSpPr>
            <p:spPr>
              <a:xfrm>
                <a:off x="5943166" y="5275977"/>
                <a:ext cx="18333" cy="18447"/>
              </a:xfrm>
              <a:custGeom>
                <a:avLst/>
                <a:gdLst>
                  <a:gd name="connsiteX0" fmla="*/ 18317 w 18333"/>
                  <a:gd name="connsiteY0" fmla="*/ 9765 h 18447"/>
                  <a:gd name="connsiteX1" fmla="*/ 9645 w 18333"/>
                  <a:gd name="connsiteY1" fmla="*/ 16 h 18447"/>
                  <a:gd name="connsiteX2" fmla="*/ 16 w 18333"/>
                  <a:gd name="connsiteY2" fmla="*/ 8688 h 18447"/>
                  <a:gd name="connsiteX3" fmla="*/ 8688 w 18333"/>
                  <a:gd name="connsiteY3" fmla="*/ 18437 h 18447"/>
                  <a:gd name="connsiteX4" fmla="*/ 18317 w 18333"/>
                  <a:gd name="connsiteY4" fmla="*/ 9765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9765"/>
                    </a:moveTo>
                    <a:cubicBezTo>
                      <a:pt x="18616" y="4681"/>
                      <a:pt x="14729" y="315"/>
                      <a:pt x="9645" y="16"/>
                    </a:cubicBezTo>
                    <a:cubicBezTo>
                      <a:pt x="4621" y="-283"/>
                      <a:pt x="255" y="3604"/>
                      <a:pt x="16" y="8688"/>
                    </a:cubicBezTo>
                    <a:cubicBezTo>
                      <a:pt x="-283" y="13772"/>
                      <a:pt x="3604" y="18138"/>
                      <a:pt x="8688" y="18437"/>
                    </a:cubicBezTo>
                    <a:cubicBezTo>
                      <a:pt x="13712" y="18676"/>
                      <a:pt x="18018" y="14788"/>
                      <a:pt x="18317" y="9765"/>
                    </a:cubicBezTo>
                    <a:close/>
                  </a:path>
                </a:pathLst>
              </a:custGeom>
              <a:grpFill/>
              <a:ln w="5978" cap="flat">
                <a:noFill/>
                <a:prstDash val="solid"/>
                <a:miter/>
              </a:ln>
            </p:spPr>
            <p:txBody>
              <a:bodyPr rtlCol="0" anchor="ctr"/>
              <a:lstStyle/>
              <a:p>
                <a:endParaRPr lang="en-GB"/>
              </a:p>
            </p:txBody>
          </p:sp>
        </p:grpSp>
        <p:grpSp>
          <p:nvGrpSpPr>
            <p:cNvPr id="845" name="Graphic 3">
              <a:extLst>
                <a:ext uri="{FF2B5EF4-FFF2-40B4-BE49-F238E27FC236}">
                  <a16:creationId xmlns:a16="http://schemas.microsoft.com/office/drawing/2014/main" id="{3B2AE282-FE96-4D53-BD8C-CBC4918D7751}"/>
                </a:ext>
              </a:extLst>
            </p:cNvPr>
            <p:cNvGrpSpPr/>
            <p:nvPr/>
          </p:nvGrpSpPr>
          <p:grpSpPr>
            <a:xfrm>
              <a:off x="5876516" y="5093899"/>
              <a:ext cx="32079" cy="167254"/>
              <a:chOff x="5876516" y="5093899"/>
              <a:chExt cx="32079" cy="167254"/>
            </a:xfrm>
            <a:grpFill/>
          </p:grpSpPr>
          <p:sp>
            <p:nvSpPr>
              <p:cNvPr id="2862" name="Vrije vorm: vorm 2861">
                <a:extLst>
                  <a:ext uri="{FF2B5EF4-FFF2-40B4-BE49-F238E27FC236}">
                    <a16:creationId xmlns:a16="http://schemas.microsoft.com/office/drawing/2014/main" id="{76984F69-CF66-4FCC-841C-726D9535DB5A}"/>
                  </a:ext>
                </a:extLst>
              </p:cNvPr>
              <p:cNvSpPr/>
              <p:nvPr/>
            </p:nvSpPr>
            <p:spPr>
              <a:xfrm>
                <a:off x="5884093" y="5102493"/>
                <a:ext cx="16865" cy="150056"/>
              </a:xfrm>
              <a:custGeom>
                <a:avLst/>
                <a:gdLst>
                  <a:gd name="connsiteX0" fmla="*/ 16866 w 16865"/>
                  <a:gd name="connsiteY0" fmla="*/ 299 h 150056"/>
                  <a:gd name="connsiteX1" fmla="*/ 3050 w 16865"/>
                  <a:gd name="connsiteY1" fmla="*/ 150056 h 150056"/>
                  <a:gd name="connsiteX2" fmla="*/ 0 w 16865"/>
                  <a:gd name="connsiteY2" fmla="*/ 149757 h 150056"/>
                  <a:gd name="connsiteX3" fmla="*/ 13815 w 16865"/>
                  <a:gd name="connsiteY3" fmla="*/ 0 h 150056"/>
                </a:gdLst>
                <a:ahLst/>
                <a:cxnLst>
                  <a:cxn ang="0">
                    <a:pos x="connsiteX0" y="connsiteY0"/>
                  </a:cxn>
                  <a:cxn ang="0">
                    <a:pos x="connsiteX1" y="connsiteY1"/>
                  </a:cxn>
                  <a:cxn ang="0">
                    <a:pos x="connsiteX2" y="connsiteY2"/>
                  </a:cxn>
                  <a:cxn ang="0">
                    <a:pos x="connsiteX3" y="connsiteY3"/>
                  </a:cxn>
                </a:cxnLst>
                <a:rect l="l" t="t" r="r" b="b"/>
                <a:pathLst>
                  <a:path w="16865" h="150056">
                    <a:moveTo>
                      <a:pt x="16866" y="299"/>
                    </a:moveTo>
                    <a:lnTo>
                      <a:pt x="3050" y="150056"/>
                    </a:lnTo>
                    <a:lnTo>
                      <a:pt x="0" y="149757"/>
                    </a:lnTo>
                    <a:lnTo>
                      <a:pt x="13815" y="0"/>
                    </a:lnTo>
                    <a:close/>
                  </a:path>
                </a:pathLst>
              </a:custGeom>
              <a:grpFill/>
              <a:ln w="5978" cap="flat">
                <a:noFill/>
                <a:prstDash val="solid"/>
                <a:miter/>
              </a:ln>
            </p:spPr>
            <p:txBody>
              <a:bodyPr rtlCol="0" anchor="ctr"/>
              <a:lstStyle/>
              <a:p>
                <a:endParaRPr lang="en-GB"/>
              </a:p>
            </p:txBody>
          </p:sp>
          <p:sp>
            <p:nvSpPr>
              <p:cNvPr id="2863" name="Vrije vorm: vorm 2862">
                <a:extLst>
                  <a:ext uri="{FF2B5EF4-FFF2-40B4-BE49-F238E27FC236}">
                    <a16:creationId xmlns:a16="http://schemas.microsoft.com/office/drawing/2014/main" id="{2954E2D6-C334-4335-81CD-6FE931339FBD}"/>
                  </a:ext>
                </a:extLst>
              </p:cNvPr>
              <p:cNvSpPr/>
              <p:nvPr/>
            </p:nvSpPr>
            <p:spPr>
              <a:xfrm>
                <a:off x="5876516" y="5242748"/>
                <a:ext cx="18324" cy="18405"/>
              </a:xfrm>
              <a:custGeom>
                <a:avLst/>
                <a:gdLst>
                  <a:gd name="connsiteX0" fmla="*/ 18283 w 18324"/>
                  <a:gd name="connsiteY0" fmla="*/ 10100 h 18405"/>
                  <a:gd name="connsiteX1" fmla="*/ 8295 w 18324"/>
                  <a:gd name="connsiteY1" fmla="*/ 18353 h 18405"/>
                  <a:gd name="connsiteX2" fmla="*/ 42 w 18324"/>
                  <a:gd name="connsiteY2" fmla="*/ 8305 h 18405"/>
                  <a:gd name="connsiteX3" fmla="*/ 10029 w 18324"/>
                  <a:gd name="connsiteY3" fmla="*/ 52 h 18405"/>
                  <a:gd name="connsiteX4" fmla="*/ 18283 w 18324"/>
                  <a:gd name="connsiteY4" fmla="*/ 10100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05">
                    <a:moveTo>
                      <a:pt x="18283" y="10100"/>
                    </a:moveTo>
                    <a:cubicBezTo>
                      <a:pt x="17804" y="15183"/>
                      <a:pt x="13378" y="18891"/>
                      <a:pt x="8295" y="18353"/>
                    </a:cubicBezTo>
                    <a:cubicBezTo>
                      <a:pt x="3271" y="17875"/>
                      <a:pt x="-437" y="13389"/>
                      <a:pt x="42" y="8305"/>
                    </a:cubicBezTo>
                    <a:cubicBezTo>
                      <a:pt x="520" y="3222"/>
                      <a:pt x="4946" y="-486"/>
                      <a:pt x="10029" y="52"/>
                    </a:cubicBezTo>
                    <a:cubicBezTo>
                      <a:pt x="15053" y="530"/>
                      <a:pt x="18761" y="5016"/>
                      <a:pt x="18283" y="10100"/>
                    </a:cubicBezTo>
                    <a:close/>
                  </a:path>
                </a:pathLst>
              </a:custGeom>
              <a:grpFill/>
              <a:ln w="5978" cap="flat">
                <a:noFill/>
                <a:prstDash val="solid"/>
                <a:miter/>
              </a:ln>
            </p:spPr>
            <p:txBody>
              <a:bodyPr rtlCol="0" anchor="ctr"/>
              <a:lstStyle/>
              <a:p>
                <a:endParaRPr lang="en-GB"/>
              </a:p>
            </p:txBody>
          </p:sp>
          <p:sp>
            <p:nvSpPr>
              <p:cNvPr id="2864" name="Vrije vorm: vorm 2863">
                <a:extLst>
                  <a:ext uri="{FF2B5EF4-FFF2-40B4-BE49-F238E27FC236}">
                    <a16:creationId xmlns:a16="http://schemas.microsoft.com/office/drawing/2014/main" id="{CE1045ED-5297-4CF4-87CF-FFC074D0C64D}"/>
                  </a:ext>
                </a:extLst>
              </p:cNvPr>
              <p:cNvSpPr/>
              <p:nvPr/>
            </p:nvSpPr>
            <p:spPr>
              <a:xfrm>
                <a:off x="5890271" y="5093899"/>
                <a:ext cx="18324" cy="18394"/>
              </a:xfrm>
              <a:custGeom>
                <a:avLst/>
                <a:gdLst>
                  <a:gd name="connsiteX0" fmla="*/ 18283 w 18324"/>
                  <a:gd name="connsiteY0" fmla="*/ 10089 h 18394"/>
                  <a:gd name="connsiteX1" fmla="*/ 10029 w 18324"/>
                  <a:gd name="connsiteY1" fmla="*/ 42 h 18394"/>
                  <a:gd name="connsiteX2" fmla="*/ 42 w 18324"/>
                  <a:gd name="connsiteY2" fmla="*/ 8295 h 18394"/>
                  <a:gd name="connsiteX3" fmla="*/ 8295 w 18324"/>
                  <a:gd name="connsiteY3" fmla="*/ 18343 h 18394"/>
                  <a:gd name="connsiteX4" fmla="*/ 18283 w 18324"/>
                  <a:gd name="connsiteY4" fmla="*/ 1008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4">
                    <a:moveTo>
                      <a:pt x="18283" y="10089"/>
                    </a:moveTo>
                    <a:cubicBezTo>
                      <a:pt x="18761" y="5005"/>
                      <a:pt x="15053" y="520"/>
                      <a:pt x="10029" y="42"/>
                    </a:cubicBezTo>
                    <a:cubicBezTo>
                      <a:pt x="5006" y="-437"/>
                      <a:pt x="520" y="3271"/>
                      <a:pt x="42" y="8295"/>
                    </a:cubicBezTo>
                    <a:cubicBezTo>
                      <a:pt x="-437" y="13378"/>
                      <a:pt x="3271" y="17864"/>
                      <a:pt x="8295" y="18343"/>
                    </a:cubicBezTo>
                    <a:cubicBezTo>
                      <a:pt x="13319" y="18881"/>
                      <a:pt x="17805" y="15173"/>
                      <a:pt x="18283" y="10089"/>
                    </a:cubicBezTo>
                    <a:close/>
                  </a:path>
                </a:pathLst>
              </a:custGeom>
              <a:grpFill/>
              <a:ln w="5978" cap="flat">
                <a:noFill/>
                <a:prstDash val="solid"/>
                <a:miter/>
              </a:ln>
            </p:spPr>
            <p:txBody>
              <a:bodyPr rtlCol="0" anchor="ctr"/>
              <a:lstStyle/>
              <a:p>
                <a:endParaRPr lang="en-GB"/>
              </a:p>
            </p:txBody>
          </p:sp>
        </p:grpSp>
        <p:grpSp>
          <p:nvGrpSpPr>
            <p:cNvPr id="846" name="Graphic 3">
              <a:extLst>
                <a:ext uri="{FF2B5EF4-FFF2-40B4-BE49-F238E27FC236}">
                  <a16:creationId xmlns:a16="http://schemas.microsoft.com/office/drawing/2014/main" id="{554BA71A-593A-46BF-969E-8776699E7A0D}"/>
                </a:ext>
              </a:extLst>
            </p:cNvPr>
            <p:cNvGrpSpPr/>
            <p:nvPr/>
          </p:nvGrpSpPr>
          <p:grpSpPr>
            <a:xfrm>
              <a:off x="5852630" y="5082931"/>
              <a:ext cx="25535" cy="83320"/>
              <a:chOff x="5852630" y="5082931"/>
              <a:chExt cx="25535" cy="83320"/>
            </a:xfrm>
            <a:grpFill/>
          </p:grpSpPr>
          <p:sp>
            <p:nvSpPr>
              <p:cNvPr id="2859" name="Vrije vorm: vorm 2858">
                <a:extLst>
                  <a:ext uri="{FF2B5EF4-FFF2-40B4-BE49-F238E27FC236}">
                    <a16:creationId xmlns:a16="http://schemas.microsoft.com/office/drawing/2014/main" id="{32F9A27A-8ED9-4EF3-8F7E-22BC4B02B1D9}"/>
                  </a:ext>
                </a:extLst>
              </p:cNvPr>
              <p:cNvSpPr/>
              <p:nvPr/>
            </p:nvSpPr>
            <p:spPr>
              <a:xfrm>
                <a:off x="5860230" y="5091548"/>
                <a:ext cx="10346" cy="66146"/>
              </a:xfrm>
              <a:custGeom>
                <a:avLst/>
                <a:gdLst>
                  <a:gd name="connsiteX0" fmla="*/ 10347 w 10346"/>
                  <a:gd name="connsiteY0" fmla="*/ 359 h 66146"/>
                  <a:gd name="connsiteX1" fmla="*/ 3050 w 10346"/>
                  <a:gd name="connsiteY1" fmla="*/ 66147 h 66146"/>
                  <a:gd name="connsiteX2" fmla="*/ 0 w 10346"/>
                  <a:gd name="connsiteY2" fmla="*/ 65788 h 66146"/>
                  <a:gd name="connsiteX3" fmla="*/ 7296 w 10346"/>
                  <a:gd name="connsiteY3" fmla="*/ 0 h 66146"/>
                </a:gdLst>
                <a:ahLst/>
                <a:cxnLst>
                  <a:cxn ang="0">
                    <a:pos x="connsiteX0" y="connsiteY0"/>
                  </a:cxn>
                  <a:cxn ang="0">
                    <a:pos x="connsiteX1" y="connsiteY1"/>
                  </a:cxn>
                  <a:cxn ang="0">
                    <a:pos x="connsiteX2" y="connsiteY2"/>
                  </a:cxn>
                  <a:cxn ang="0">
                    <a:pos x="connsiteX3" y="connsiteY3"/>
                  </a:cxn>
                </a:cxnLst>
                <a:rect l="l" t="t" r="r" b="b"/>
                <a:pathLst>
                  <a:path w="10346" h="66146">
                    <a:moveTo>
                      <a:pt x="10347" y="359"/>
                    </a:moveTo>
                    <a:lnTo>
                      <a:pt x="3050" y="66147"/>
                    </a:lnTo>
                    <a:lnTo>
                      <a:pt x="0" y="65788"/>
                    </a:lnTo>
                    <a:lnTo>
                      <a:pt x="7296" y="0"/>
                    </a:lnTo>
                    <a:close/>
                  </a:path>
                </a:pathLst>
              </a:custGeom>
              <a:grpFill/>
              <a:ln w="5978" cap="flat">
                <a:noFill/>
                <a:prstDash val="solid"/>
                <a:miter/>
              </a:ln>
            </p:spPr>
            <p:txBody>
              <a:bodyPr rtlCol="0" anchor="ctr"/>
              <a:lstStyle/>
              <a:p>
                <a:endParaRPr lang="en-GB"/>
              </a:p>
            </p:txBody>
          </p:sp>
          <p:sp>
            <p:nvSpPr>
              <p:cNvPr id="2860" name="Vrije vorm: vorm 2859">
                <a:extLst>
                  <a:ext uri="{FF2B5EF4-FFF2-40B4-BE49-F238E27FC236}">
                    <a16:creationId xmlns:a16="http://schemas.microsoft.com/office/drawing/2014/main" id="{49731F6C-885C-49A5-BB01-0AFA7869CB43}"/>
                  </a:ext>
                </a:extLst>
              </p:cNvPr>
              <p:cNvSpPr/>
              <p:nvPr/>
            </p:nvSpPr>
            <p:spPr>
              <a:xfrm>
                <a:off x="5852630" y="5147822"/>
                <a:ext cx="18309" cy="18430"/>
              </a:xfrm>
              <a:custGeom>
                <a:avLst/>
                <a:gdLst>
                  <a:gd name="connsiteX0" fmla="*/ 18246 w 18309"/>
                  <a:gd name="connsiteY0" fmla="*/ 10291 h 18430"/>
                  <a:gd name="connsiteX1" fmla="*/ 8138 w 18309"/>
                  <a:gd name="connsiteY1" fmla="*/ 18365 h 18430"/>
                  <a:gd name="connsiteX2" fmla="*/ 64 w 18309"/>
                  <a:gd name="connsiteY2" fmla="*/ 8138 h 18430"/>
                  <a:gd name="connsiteX3" fmla="*/ 10172 w 18309"/>
                  <a:gd name="connsiteY3" fmla="*/ 64 h 18430"/>
                  <a:gd name="connsiteX4" fmla="*/ 18246 w 18309"/>
                  <a:gd name="connsiteY4" fmla="*/ 1029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0">
                    <a:moveTo>
                      <a:pt x="18246" y="10291"/>
                    </a:moveTo>
                    <a:cubicBezTo>
                      <a:pt x="17707" y="15375"/>
                      <a:pt x="13162" y="18963"/>
                      <a:pt x="8138" y="18365"/>
                    </a:cubicBezTo>
                    <a:cubicBezTo>
                      <a:pt x="3114" y="17767"/>
                      <a:pt x="-534" y="13222"/>
                      <a:pt x="64" y="8138"/>
                    </a:cubicBezTo>
                    <a:cubicBezTo>
                      <a:pt x="602" y="3114"/>
                      <a:pt x="5148" y="-534"/>
                      <a:pt x="10172" y="64"/>
                    </a:cubicBezTo>
                    <a:cubicBezTo>
                      <a:pt x="15195" y="662"/>
                      <a:pt x="18844" y="5208"/>
                      <a:pt x="18246" y="10291"/>
                    </a:cubicBezTo>
                    <a:close/>
                  </a:path>
                </a:pathLst>
              </a:custGeom>
              <a:grpFill/>
              <a:ln w="5978" cap="flat">
                <a:noFill/>
                <a:prstDash val="solid"/>
                <a:miter/>
              </a:ln>
            </p:spPr>
            <p:txBody>
              <a:bodyPr rtlCol="0" anchor="ctr"/>
              <a:lstStyle/>
              <a:p>
                <a:endParaRPr lang="en-GB"/>
              </a:p>
            </p:txBody>
          </p:sp>
          <p:sp>
            <p:nvSpPr>
              <p:cNvPr id="2861" name="Vrije vorm: vorm 2860">
                <a:extLst>
                  <a:ext uri="{FF2B5EF4-FFF2-40B4-BE49-F238E27FC236}">
                    <a16:creationId xmlns:a16="http://schemas.microsoft.com/office/drawing/2014/main" id="{19525122-6EF9-4DCF-A16B-E21893E96951}"/>
                  </a:ext>
                </a:extLst>
              </p:cNvPr>
              <p:cNvSpPr/>
              <p:nvPr/>
            </p:nvSpPr>
            <p:spPr>
              <a:xfrm>
                <a:off x="5859877" y="5082931"/>
                <a:ext cx="18288" cy="18430"/>
              </a:xfrm>
              <a:custGeom>
                <a:avLst/>
                <a:gdLst>
                  <a:gd name="connsiteX0" fmla="*/ 18235 w 18288"/>
                  <a:gd name="connsiteY0" fmla="*/ 10291 h 18430"/>
                  <a:gd name="connsiteX1" fmla="*/ 10161 w 18288"/>
                  <a:gd name="connsiteY1" fmla="*/ 64 h 18430"/>
                  <a:gd name="connsiteX2" fmla="*/ 53 w 18288"/>
                  <a:gd name="connsiteY2" fmla="*/ 8138 h 18430"/>
                  <a:gd name="connsiteX3" fmla="*/ 8128 w 18288"/>
                  <a:gd name="connsiteY3" fmla="*/ 18365 h 18430"/>
                  <a:gd name="connsiteX4" fmla="*/ 18235 w 18288"/>
                  <a:gd name="connsiteY4" fmla="*/ 1029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30">
                    <a:moveTo>
                      <a:pt x="18235" y="10291"/>
                    </a:moveTo>
                    <a:cubicBezTo>
                      <a:pt x="18773" y="5208"/>
                      <a:pt x="15185" y="662"/>
                      <a:pt x="10161" y="64"/>
                    </a:cubicBezTo>
                    <a:cubicBezTo>
                      <a:pt x="5137" y="-534"/>
                      <a:pt x="592" y="3114"/>
                      <a:pt x="53" y="8138"/>
                    </a:cubicBezTo>
                    <a:cubicBezTo>
                      <a:pt x="-485" y="13162"/>
                      <a:pt x="3104" y="17767"/>
                      <a:pt x="8128" y="18365"/>
                    </a:cubicBezTo>
                    <a:cubicBezTo>
                      <a:pt x="13151" y="18963"/>
                      <a:pt x="17637" y="15375"/>
                      <a:pt x="18235" y="10291"/>
                    </a:cubicBezTo>
                    <a:close/>
                  </a:path>
                </a:pathLst>
              </a:custGeom>
              <a:grpFill/>
              <a:ln w="5978" cap="flat">
                <a:noFill/>
                <a:prstDash val="solid"/>
                <a:miter/>
              </a:ln>
            </p:spPr>
            <p:txBody>
              <a:bodyPr rtlCol="0" anchor="ctr"/>
              <a:lstStyle/>
              <a:p>
                <a:endParaRPr lang="en-GB"/>
              </a:p>
            </p:txBody>
          </p:sp>
        </p:grpSp>
        <p:grpSp>
          <p:nvGrpSpPr>
            <p:cNvPr id="847" name="Graphic 3">
              <a:extLst>
                <a:ext uri="{FF2B5EF4-FFF2-40B4-BE49-F238E27FC236}">
                  <a16:creationId xmlns:a16="http://schemas.microsoft.com/office/drawing/2014/main" id="{09BB2B7D-F92B-42F2-B61E-9174007F2813}"/>
                </a:ext>
              </a:extLst>
            </p:cNvPr>
            <p:cNvGrpSpPr/>
            <p:nvPr/>
          </p:nvGrpSpPr>
          <p:grpSpPr>
            <a:xfrm>
              <a:off x="6005260" y="5455711"/>
              <a:ext cx="22432" cy="250417"/>
              <a:chOff x="6005260" y="5455711"/>
              <a:chExt cx="22432" cy="250417"/>
            </a:xfrm>
            <a:grpFill/>
          </p:grpSpPr>
          <p:sp>
            <p:nvSpPr>
              <p:cNvPr id="2856" name="Vrije vorm: vorm 2855">
                <a:extLst>
                  <a:ext uri="{FF2B5EF4-FFF2-40B4-BE49-F238E27FC236}">
                    <a16:creationId xmlns:a16="http://schemas.microsoft.com/office/drawing/2014/main" id="{7E60FE5B-CFB6-4C87-A043-C8A0207A03D7}"/>
                  </a:ext>
                </a:extLst>
              </p:cNvPr>
              <p:cNvSpPr/>
              <p:nvPr/>
            </p:nvSpPr>
            <p:spPr>
              <a:xfrm>
                <a:off x="6012858" y="5464386"/>
                <a:ext cx="7176" cy="233008"/>
              </a:xfrm>
              <a:custGeom>
                <a:avLst/>
                <a:gdLst>
                  <a:gd name="connsiteX0" fmla="*/ 7177 w 7176"/>
                  <a:gd name="connsiteY0" fmla="*/ 119 h 233008"/>
                  <a:gd name="connsiteX1" fmla="*/ 3050 w 7176"/>
                  <a:gd name="connsiteY1" fmla="*/ 233009 h 233008"/>
                  <a:gd name="connsiteX2" fmla="*/ 0 w 7176"/>
                  <a:gd name="connsiteY2" fmla="*/ 232949 h 233008"/>
                  <a:gd name="connsiteX3" fmla="*/ 4127 w 7176"/>
                  <a:gd name="connsiteY3" fmla="*/ 0 h 233008"/>
                </a:gdLst>
                <a:ahLst/>
                <a:cxnLst>
                  <a:cxn ang="0">
                    <a:pos x="connsiteX0" y="connsiteY0"/>
                  </a:cxn>
                  <a:cxn ang="0">
                    <a:pos x="connsiteX1" y="connsiteY1"/>
                  </a:cxn>
                  <a:cxn ang="0">
                    <a:pos x="connsiteX2" y="connsiteY2"/>
                  </a:cxn>
                  <a:cxn ang="0">
                    <a:pos x="connsiteX3" y="connsiteY3"/>
                  </a:cxn>
                </a:cxnLst>
                <a:rect l="l" t="t" r="r" b="b"/>
                <a:pathLst>
                  <a:path w="7176" h="233008">
                    <a:moveTo>
                      <a:pt x="7177" y="119"/>
                    </a:moveTo>
                    <a:lnTo>
                      <a:pt x="3050" y="233009"/>
                    </a:lnTo>
                    <a:lnTo>
                      <a:pt x="0" y="232949"/>
                    </a:lnTo>
                    <a:lnTo>
                      <a:pt x="4127" y="0"/>
                    </a:lnTo>
                    <a:close/>
                  </a:path>
                </a:pathLst>
              </a:custGeom>
              <a:grpFill/>
              <a:ln w="5978" cap="flat">
                <a:noFill/>
                <a:prstDash val="solid"/>
                <a:miter/>
              </a:ln>
            </p:spPr>
            <p:txBody>
              <a:bodyPr rtlCol="0" anchor="ctr"/>
              <a:lstStyle/>
              <a:p>
                <a:endParaRPr lang="en-GB"/>
              </a:p>
            </p:txBody>
          </p:sp>
          <p:sp>
            <p:nvSpPr>
              <p:cNvPr id="2857" name="Vrije vorm: vorm 2856">
                <a:extLst>
                  <a:ext uri="{FF2B5EF4-FFF2-40B4-BE49-F238E27FC236}">
                    <a16:creationId xmlns:a16="http://schemas.microsoft.com/office/drawing/2014/main" id="{B4844384-6F6E-464E-BC27-3A4DAB188695}"/>
                  </a:ext>
                </a:extLst>
              </p:cNvPr>
              <p:cNvSpPr/>
              <p:nvPr/>
            </p:nvSpPr>
            <p:spPr>
              <a:xfrm>
                <a:off x="6005260" y="5687703"/>
                <a:ext cx="18304" cy="18425"/>
              </a:xfrm>
              <a:custGeom>
                <a:avLst/>
                <a:gdLst>
                  <a:gd name="connsiteX0" fmla="*/ 18304 w 18304"/>
                  <a:gd name="connsiteY0" fmla="*/ 9392 h 18425"/>
                  <a:gd name="connsiteX1" fmla="*/ 8974 w 18304"/>
                  <a:gd name="connsiteY1" fmla="*/ 18423 h 18425"/>
                  <a:gd name="connsiteX2" fmla="*/ 3 w 18304"/>
                  <a:gd name="connsiteY2" fmla="*/ 9034 h 18425"/>
                  <a:gd name="connsiteX3" fmla="*/ 9333 w 18304"/>
                  <a:gd name="connsiteY3" fmla="*/ 3 h 18425"/>
                  <a:gd name="connsiteX4" fmla="*/ 18304 w 18304"/>
                  <a:gd name="connsiteY4" fmla="*/ 939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18304" y="9392"/>
                    </a:moveTo>
                    <a:cubicBezTo>
                      <a:pt x="18184" y="14476"/>
                      <a:pt x="14057" y="18543"/>
                      <a:pt x="8974" y="18423"/>
                    </a:cubicBezTo>
                    <a:cubicBezTo>
                      <a:pt x="3890" y="18304"/>
                      <a:pt x="-117" y="14117"/>
                      <a:pt x="3" y="9034"/>
                    </a:cubicBezTo>
                    <a:cubicBezTo>
                      <a:pt x="122" y="3950"/>
                      <a:pt x="4249" y="-117"/>
                      <a:pt x="9333" y="3"/>
                    </a:cubicBezTo>
                    <a:cubicBezTo>
                      <a:pt x="14356" y="122"/>
                      <a:pt x="18363" y="4309"/>
                      <a:pt x="18304" y="9392"/>
                    </a:cubicBezTo>
                    <a:close/>
                  </a:path>
                </a:pathLst>
              </a:custGeom>
              <a:grpFill/>
              <a:ln w="5978" cap="flat">
                <a:noFill/>
                <a:prstDash val="solid"/>
                <a:miter/>
              </a:ln>
            </p:spPr>
            <p:txBody>
              <a:bodyPr rtlCol="0" anchor="ctr"/>
              <a:lstStyle/>
              <a:p>
                <a:endParaRPr lang="en-GB"/>
              </a:p>
            </p:txBody>
          </p:sp>
          <p:sp>
            <p:nvSpPr>
              <p:cNvPr id="2858" name="Vrije vorm: vorm 2857">
                <a:extLst>
                  <a:ext uri="{FF2B5EF4-FFF2-40B4-BE49-F238E27FC236}">
                    <a16:creationId xmlns:a16="http://schemas.microsoft.com/office/drawing/2014/main" id="{81873B80-2237-474E-A8EE-F194FC38467C}"/>
                  </a:ext>
                </a:extLst>
              </p:cNvPr>
              <p:cNvSpPr/>
              <p:nvPr/>
            </p:nvSpPr>
            <p:spPr>
              <a:xfrm>
                <a:off x="6009387" y="5455711"/>
                <a:ext cx="18306" cy="18425"/>
              </a:xfrm>
              <a:custGeom>
                <a:avLst/>
                <a:gdLst>
                  <a:gd name="connsiteX0" fmla="*/ 18304 w 18306"/>
                  <a:gd name="connsiteY0" fmla="*/ 9392 h 18425"/>
                  <a:gd name="connsiteX1" fmla="*/ 9332 w 18306"/>
                  <a:gd name="connsiteY1" fmla="*/ 3 h 18425"/>
                  <a:gd name="connsiteX2" fmla="*/ 3 w 18306"/>
                  <a:gd name="connsiteY2" fmla="*/ 9034 h 18425"/>
                  <a:gd name="connsiteX3" fmla="*/ 8974 w 18306"/>
                  <a:gd name="connsiteY3" fmla="*/ 18423 h 18425"/>
                  <a:gd name="connsiteX4" fmla="*/ 18304 w 18306"/>
                  <a:gd name="connsiteY4" fmla="*/ 939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5">
                    <a:moveTo>
                      <a:pt x="18304" y="9392"/>
                    </a:moveTo>
                    <a:cubicBezTo>
                      <a:pt x="18423" y="4309"/>
                      <a:pt x="14356" y="62"/>
                      <a:pt x="9332" y="3"/>
                    </a:cubicBezTo>
                    <a:cubicBezTo>
                      <a:pt x="4249" y="-117"/>
                      <a:pt x="122" y="3950"/>
                      <a:pt x="3" y="9034"/>
                    </a:cubicBezTo>
                    <a:cubicBezTo>
                      <a:pt x="-117" y="14117"/>
                      <a:pt x="3950" y="18363"/>
                      <a:pt x="8974" y="18423"/>
                    </a:cubicBezTo>
                    <a:cubicBezTo>
                      <a:pt x="14057" y="18543"/>
                      <a:pt x="18184" y="14476"/>
                      <a:pt x="18304" y="9392"/>
                    </a:cubicBezTo>
                    <a:close/>
                  </a:path>
                </a:pathLst>
              </a:custGeom>
              <a:grpFill/>
              <a:ln w="5978" cap="flat">
                <a:noFill/>
                <a:prstDash val="solid"/>
                <a:miter/>
              </a:ln>
            </p:spPr>
            <p:txBody>
              <a:bodyPr rtlCol="0" anchor="ctr"/>
              <a:lstStyle/>
              <a:p>
                <a:endParaRPr lang="en-GB"/>
              </a:p>
            </p:txBody>
          </p:sp>
        </p:grpSp>
        <p:grpSp>
          <p:nvGrpSpPr>
            <p:cNvPr id="848" name="Graphic 3">
              <a:extLst>
                <a:ext uri="{FF2B5EF4-FFF2-40B4-BE49-F238E27FC236}">
                  <a16:creationId xmlns:a16="http://schemas.microsoft.com/office/drawing/2014/main" id="{E015924C-AB02-4581-9296-2355266C7DF7}"/>
                </a:ext>
              </a:extLst>
            </p:cNvPr>
            <p:cNvGrpSpPr/>
            <p:nvPr/>
          </p:nvGrpSpPr>
          <p:grpSpPr>
            <a:xfrm>
              <a:off x="4756963" y="1977028"/>
              <a:ext cx="152035" cy="210384"/>
              <a:chOff x="4756963" y="1977028"/>
              <a:chExt cx="152035" cy="210384"/>
            </a:xfrm>
            <a:grpFill/>
          </p:grpSpPr>
          <p:sp>
            <p:nvSpPr>
              <p:cNvPr id="2853" name="Vrije vorm: vorm 2852">
                <a:extLst>
                  <a:ext uri="{FF2B5EF4-FFF2-40B4-BE49-F238E27FC236}">
                    <a16:creationId xmlns:a16="http://schemas.microsoft.com/office/drawing/2014/main" id="{5AF06637-DECF-4B81-A3BE-ED41F9ED0AC0}"/>
                  </a:ext>
                </a:extLst>
              </p:cNvPr>
              <p:cNvSpPr/>
              <p:nvPr/>
            </p:nvSpPr>
            <p:spPr>
              <a:xfrm>
                <a:off x="4764562" y="1984982"/>
                <a:ext cx="136779" cy="194493"/>
              </a:xfrm>
              <a:custGeom>
                <a:avLst/>
                <a:gdLst>
                  <a:gd name="connsiteX0" fmla="*/ 136779 w 136779"/>
                  <a:gd name="connsiteY0" fmla="*/ 192759 h 194493"/>
                  <a:gd name="connsiteX1" fmla="*/ 134267 w 136779"/>
                  <a:gd name="connsiteY1" fmla="*/ 194493 h 194493"/>
                  <a:gd name="connsiteX2" fmla="*/ 0 w 136779"/>
                  <a:gd name="connsiteY2" fmla="*/ 1794 h 194493"/>
                  <a:gd name="connsiteX3" fmla="*/ 2512 w 136779"/>
                  <a:gd name="connsiteY3" fmla="*/ 0 h 194493"/>
                </a:gdLst>
                <a:ahLst/>
                <a:cxnLst>
                  <a:cxn ang="0">
                    <a:pos x="connsiteX0" y="connsiteY0"/>
                  </a:cxn>
                  <a:cxn ang="0">
                    <a:pos x="connsiteX1" y="connsiteY1"/>
                  </a:cxn>
                  <a:cxn ang="0">
                    <a:pos x="connsiteX2" y="connsiteY2"/>
                  </a:cxn>
                  <a:cxn ang="0">
                    <a:pos x="connsiteX3" y="connsiteY3"/>
                  </a:cxn>
                </a:cxnLst>
                <a:rect l="l" t="t" r="r" b="b"/>
                <a:pathLst>
                  <a:path w="136779" h="194493">
                    <a:moveTo>
                      <a:pt x="136779" y="192759"/>
                    </a:moveTo>
                    <a:lnTo>
                      <a:pt x="134267" y="194493"/>
                    </a:lnTo>
                    <a:lnTo>
                      <a:pt x="0" y="1794"/>
                    </a:lnTo>
                    <a:lnTo>
                      <a:pt x="2512" y="0"/>
                    </a:lnTo>
                    <a:close/>
                  </a:path>
                </a:pathLst>
              </a:custGeom>
              <a:grpFill/>
              <a:ln w="5978" cap="flat">
                <a:noFill/>
                <a:prstDash val="solid"/>
                <a:miter/>
              </a:ln>
            </p:spPr>
            <p:txBody>
              <a:bodyPr rtlCol="0" anchor="ctr"/>
              <a:lstStyle/>
              <a:p>
                <a:endParaRPr lang="en-GB"/>
              </a:p>
            </p:txBody>
          </p:sp>
          <p:sp>
            <p:nvSpPr>
              <p:cNvPr id="2854" name="Vrije vorm: vorm 2853">
                <a:extLst>
                  <a:ext uri="{FF2B5EF4-FFF2-40B4-BE49-F238E27FC236}">
                    <a16:creationId xmlns:a16="http://schemas.microsoft.com/office/drawing/2014/main" id="{45FD6BE0-C346-44C9-87BF-11380F6B45FD}"/>
                  </a:ext>
                </a:extLst>
              </p:cNvPr>
              <p:cNvSpPr/>
              <p:nvPr/>
            </p:nvSpPr>
            <p:spPr>
              <a:xfrm>
                <a:off x="4890692" y="2169009"/>
                <a:ext cx="18306" cy="18402"/>
              </a:xfrm>
              <a:custGeom>
                <a:avLst/>
                <a:gdLst>
                  <a:gd name="connsiteX0" fmla="*/ 16629 w 18306"/>
                  <a:gd name="connsiteY0" fmla="*/ 3947 h 18402"/>
                  <a:gd name="connsiteX1" fmla="*/ 14416 w 18306"/>
                  <a:gd name="connsiteY1" fmla="*/ 16745 h 18402"/>
                  <a:gd name="connsiteX2" fmla="*/ 1677 w 18306"/>
                  <a:gd name="connsiteY2" fmla="*/ 14473 h 18402"/>
                  <a:gd name="connsiteX3" fmla="*/ 3890 w 18306"/>
                  <a:gd name="connsiteY3" fmla="*/ 1674 h 18402"/>
                  <a:gd name="connsiteX4" fmla="*/ 16629 w 18306"/>
                  <a:gd name="connsiteY4" fmla="*/ 3947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2">
                    <a:moveTo>
                      <a:pt x="16629" y="3947"/>
                    </a:moveTo>
                    <a:cubicBezTo>
                      <a:pt x="19560" y="8133"/>
                      <a:pt x="18543" y="13875"/>
                      <a:pt x="14416" y="16745"/>
                    </a:cubicBezTo>
                    <a:cubicBezTo>
                      <a:pt x="10290" y="19676"/>
                      <a:pt x="4548" y="18599"/>
                      <a:pt x="1677" y="14473"/>
                    </a:cubicBezTo>
                    <a:cubicBezTo>
                      <a:pt x="-1253" y="10286"/>
                      <a:pt x="-237" y="4545"/>
                      <a:pt x="3890" y="1674"/>
                    </a:cubicBezTo>
                    <a:cubicBezTo>
                      <a:pt x="8017" y="-1257"/>
                      <a:pt x="13699" y="-240"/>
                      <a:pt x="16629" y="3947"/>
                    </a:cubicBezTo>
                    <a:close/>
                  </a:path>
                </a:pathLst>
              </a:custGeom>
              <a:grpFill/>
              <a:ln w="5978" cap="flat">
                <a:noFill/>
                <a:prstDash val="solid"/>
                <a:miter/>
              </a:ln>
            </p:spPr>
            <p:txBody>
              <a:bodyPr rtlCol="0" anchor="ctr"/>
              <a:lstStyle/>
              <a:p>
                <a:endParaRPr lang="en-GB"/>
              </a:p>
            </p:txBody>
          </p:sp>
          <p:sp>
            <p:nvSpPr>
              <p:cNvPr id="2855" name="Vrije vorm: vorm 2854">
                <a:extLst>
                  <a:ext uri="{FF2B5EF4-FFF2-40B4-BE49-F238E27FC236}">
                    <a16:creationId xmlns:a16="http://schemas.microsoft.com/office/drawing/2014/main" id="{8CB761D7-66C7-4B36-905D-97C90DCAA2D7}"/>
                  </a:ext>
                </a:extLst>
              </p:cNvPr>
              <p:cNvSpPr/>
              <p:nvPr/>
            </p:nvSpPr>
            <p:spPr>
              <a:xfrm>
                <a:off x="4756963" y="1977028"/>
                <a:ext cx="18280" cy="18419"/>
              </a:xfrm>
              <a:custGeom>
                <a:avLst/>
                <a:gdLst>
                  <a:gd name="connsiteX0" fmla="*/ 16629 w 18280"/>
                  <a:gd name="connsiteY0" fmla="*/ 3947 h 18419"/>
                  <a:gd name="connsiteX1" fmla="*/ 3890 w 18280"/>
                  <a:gd name="connsiteY1" fmla="*/ 1674 h 18419"/>
                  <a:gd name="connsiteX2" fmla="*/ 1678 w 18280"/>
                  <a:gd name="connsiteY2" fmla="*/ 14473 h 18419"/>
                  <a:gd name="connsiteX3" fmla="*/ 14416 w 18280"/>
                  <a:gd name="connsiteY3" fmla="*/ 16745 h 18419"/>
                  <a:gd name="connsiteX4" fmla="*/ 16629 w 18280"/>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19">
                    <a:moveTo>
                      <a:pt x="16629" y="3947"/>
                    </a:moveTo>
                    <a:cubicBezTo>
                      <a:pt x="13698" y="-240"/>
                      <a:pt x="8017" y="-1257"/>
                      <a:pt x="3890" y="1674"/>
                    </a:cubicBezTo>
                    <a:cubicBezTo>
                      <a:pt x="-236" y="4604"/>
                      <a:pt x="-1253" y="10346"/>
                      <a:pt x="1678" y="14473"/>
                    </a:cubicBezTo>
                    <a:cubicBezTo>
                      <a:pt x="4608" y="18659"/>
                      <a:pt x="10290" y="19676"/>
                      <a:pt x="14416" y="16745"/>
                    </a:cubicBezTo>
                    <a:cubicBezTo>
                      <a:pt x="18543" y="13875"/>
                      <a:pt x="19500" y="8133"/>
                      <a:pt x="16629" y="3947"/>
                    </a:cubicBezTo>
                    <a:close/>
                  </a:path>
                </a:pathLst>
              </a:custGeom>
              <a:grpFill/>
              <a:ln w="5978" cap="flat">
                <a:noFill/>
                <a:prstDash val="solid"/>
                <a:miter/>
              </a:ln>
            </p:spPr>
            <p:txBody>
              <a:bodyPr rtlCol="0" anchor="ctr"/>
              <a:lstStyle/>
              <a:p>
                <a:endParaRPr lang="en-GB"/>
              </a:p>
            </p:txBody>
          </p:sp>
        </p:grpSp>
        <p:grpSp>
          <p:nvGrpSpPr>
            <p:cNvPr id="849" name="Graphic 3">
              <a:extLst>
                <a:ext uri="{FF2B5EF4-FFF2-40B4-BE49-F238E27FC236}">
                  <a16:creationId xmlns:a16="http://schemas.microsoft.com/office/drawing/2014/main" id="{B4B0A898-6B44-4B8C-88F4-011452581263}"/>
                </a:ext>
              </a:extLst>
            </p:cNvPr>
            <p:cNvGrpSpPr/>
            <p:nvPr/>
          </p:nvGrpSpPr>
          <p:grpSpPr>
            <a:xfrm>
              <a:off x="4740632" y="1844279"/>
              <a:ext cx="27464" cy="29299"/>
              <a:chOff x="4740632" y="1844279"/>
              <a:chExt cx="27464" cy="29299"/>
            </a:xfrm>
            <a:grpFill/>
          </p:grpSpPr>
          <p:sp>
            <p:nvSpPr>
              <p:cNvPr id="2851" name="Vrije vorm: vorm 2850">
                <a:extLst>
                  <a:ext uri="{FF2B5EF4-FFF2-40B4-BE49-F238E27FC236}">
                    <a16:creationId xmlns:a16="http://schemas.microsoft.com/office/drawing/2014/main" id="{C9662571-8410-4847-8927-0F4AEADA30B7}"/>
                  </a:ext>
                </a:extLst>
              </p:cNvPr>
              <p:cNvSpPr/>
              <p:nvPr/>
            </p:nvSpPr>
            <p:spPr>
              <a:xfrm>
                <a:off x="4740632" y="1844279"/>
                <a:ext cx="18349" cy="18458"/>
              </a:xfrm>
              <a:custGeom>
                <a:avLst/>
                <a:gdLst>
                  <a:gd name="connsiteX0" fmla="*/ 16214 w 18349"/>
                  <a:gd name="connsiteY0" fmla="*/ 3326 h 18458"/>
                  <a:gd name="connsiteX1" fmla="*/ 15078 w 18349"/>
                  <a:gd name="connsiteY1" fmla="*/ 16304 h 18458"/>
                  <a:gd name="connsiteX2" fmla="*/ 2160 w 18349"/>
                  <a:gd name="connsiteY2" fmla="*/ 15108 h 18458"/>
                  <a:gd name="connsiteX3" fmla="*/ 3296 w 18349"/>
                  <a:gd name="connsiteY3" fmla="*/ 2130 h 18458"/>
                  <a:gd name="connsiteX4" fmla="*/ 16214 w 18349"/>
                  <a:gd name="connsiteY4" fmla="*/ 3326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8">
                    <a:moveTo>
                      <a:pt x="16214" y="3326"/>
                    </a:moveTo>
                    <a:cubicBezTo>
                      <a:pt x="19444" y="7213"/>
                      <a:pt x="18966" y="13015"/>
                      <a:pt x="15078" y="16304"/>
                    </a:cubicBezTo>
                    <a:cubicBezTo>
                      <a:pt x="11191" y="19594"/>
                      <a:pt x="5449" y="19055"/>
                      <a:pt x="2160" y="15108"/>
                    </a:cubicBezTo>
                    <a:cubicBezTo>
                      <a:pt x="-1130" y="11221"/>
                      <a:pt x="-592" y="5419"/>
                      <a:pt x="3296" y="2130"/>
                    </a:cubicBezTo>
                    <a:cubicBezTo>
                      <a:pt x="7124" y="-1100"/>
                      <a:pt x="12925" y="-621"/>
                      <a:pt x="16214" y="3326"/>
                    </a:cubicBezTo>
                    <a:close/>
                  </a:path>
                </a:pathLst>
              </a:custGeom>
              <a:grpFill/>
              <a:ln w="5978" cap="flat">
                <a:noFill/>
                <a:prstDash val="solid"/>
                <a:miter/>
              </a:ln>
            </p:spPr>
            <p:txBody>
              <a:bodyPr rtlCol="0" anchor="ctr"/>
              <a:lstStyle/>
              <a:p>
                <a:endParaRPr lang="en-GB"/>
              </a:p>
            </p:txBody>
          </p:sp>
          <p:sp>
            <p:nvSpPr>
              <p:cNvPr id="2852" name="Vrije vorm: vorm 2851">
                <a:extLst>
                  <a:ext uri="{FF2B5EF4-FFF2-40B4-BE49-F238E27FC236}">
                    <a16:creationId xmlns:a16="http://schemas.microsoft.com/office/drawing/2014/main" id="{9E57896B-F308-496C-8BDE-77741D566765}"/>
                  </a:ext>
                </a:extLst>
              </p:cNvPr>
              <p:cNvSpPr/>
              <p:nvPr/>
            </p:nvSpPr>
            <p:spPr>
              <a:xfrm>
                <a:off x="4749747" y="1855183"/>
                <a:ext cx="18349" cy="18395"/>
              </a:xfrm>
              <a:custGeom>
                <a:avLst/>
                <a:gdLst>
                  <a:gd name="connsiteX0" fmla="*/ 16190 w 18349"/>
                  <a:gd name="connsiteY0" fmla="*/ 3307 h 18395"/>
                  <a:gd name="connsiteX1" fmla="*/ 3272 w 18349"/>
                  <a:gd name="connsiteY1" fmla="*/ 2110 h 18395"/>
                  <a:gd name="connsiteX2" fmla="*/ 2135 w 18349"/>
                  <a:gd name="connsiteY2" fmla="*/ 15089 h 18395"/>
                  <a:gd name="connsiteX3" fmla="*/ 15053 w 18349"/>
                  <a:gd name="connsiteY3" fmla="*/ 16285 h 18395"/>
                  <a:gd name="connsiteX4" fmla="*/ 16190 w 18349"/>
                  <a:gd name="connsiteY4" fmla="*/ 330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95">
                    <a:moveTo>
                      <a:pt x="16190" y="3307"/>
                    </a:moveTo>
                    <a:cubicBezTo>
                      <a:pt x="12960" y="-581"/>
                      <a:pt x="7159" y="-1119"/>
                      <a:pt x="3272" y="2110"/>
                    </a:cubicBezTo>
                    <a:cubicBezTo>
                      <a:pt x="-616" y="5400"/>
                      <a:pt x="-1095" y="11201"/>
                      <a:pt x="2135" y="15089"/>
                    </a:cubicBezTo>
                    <a:cubicBezTo>
                      <a:pt x="5365" y="18976"/>
                      <a:pt x="11166" y="19514"/>
                      <a:pt x="15053" y="16285"/>
                    </a:cubicBezTo>
                    <a:cubicBezTo>
                      <a:pt x="18941" y="13055"/>
                      <a:pt x="19479" y="7254"/>
                      <a:pt x="16190" y="3307"/>
                    </a:cubicBezTo>
                    <a:close/>
                  </a:path>
                </a:pathLst>
              </a:custGeom>
              <a:grpFill/>
              <a:ln w="5978" cap="flat">
                <a:noFill/>
                <a:prstDash val="solid"/>
                <a:miter/>
              </a:ln>
            </p:spPr>
            <p:txBody>
              <a:bodyPr rtlCol="0" anchor="ctr"/>
              <a:lstStyle/>
              <a:p>
                <a:endParaRPr lang="en-GB"/>
              </a:p>
            </p:txBody>
          </p:sp>
        </p:grpSp>
        <p:grpSp>
          <p:nvGrpSpPr>
            <p:cNvPr id="850" name="Graphic 3">
              <a:extLst>
                <a:ext uri="{FF2B5EF4-FFF2-40B4-BE49-F238E27FC236}">
                  <a16:creationId xmlns:a16="http://schemas.microsoft.com/office/drawing/2014/main" id="{0592F456-55A7-46A5-8914-318E4CC799E1}"/>
                </a:ext>
              </a:extLst>
            </p:cNvPr>
            <p:cNvGrpSpPr/>
            <p:nvPr/>
          </p:nvGrpSpPr>
          <p:grpSpPr>
            <a:xfrm>
              <a:off x="4801421" y="2024772"/>
              <a:ext cx="22547" cy="23169"/>
              <a:chOff x="4801421" y="2024772"/>
              <a:chExt cx="22547" cy="23169"/>
            </a:xfrm>
            <a:grpFill/>
          </p:grpSpPr>
          <p:sp>
            <p:nvSpPr>
              <p:cNvPr id="2848" name="Vrije vorm: vorm 2847">
                <a:extLst>
                  <a:ext uri="{FF2B5EF4-FFF2-40B4-BE49-F238E27FC236}">
                    <a16:creationId xmlns:a16="http://schemas.microsoft.com/office/drawing/2014/main" id="{6295B4C3-A9AF-4350-9DC2-7EA46E8E4E27}"/>
                  </a:ext>
                </a:extLst>
              </p:cNvPr>
              <p:cNvSpPr/>
              <p:nvPr/>
            </p:nvSpPr>
            <p:spPr>
              <a:xfrm>
                <a:off x="4809178" y="2032648"/>
                <a:ext cx="7057" cy="7416"/>
              </a:xfrm>
              <a:custGeom>
                <a:avLst/>
                <a:gdLst>
                  <a:gd name="connsiteX0" fmla="*/ 7058 w 7057"/>
                  <a:gd name="connsiteY0" fmla="*/ 5383 h 7416"/>
                  <a:gd name="connsiteX1" fmla="*/ 4844 w 7057"/>
                  <a:gd name="connsiteY1" fmla="*/ 7416 h 7416"/>
                  <a:gd name="connsiteX2" fmla="*/ 0 w 7057"/>
                  <a:gd name="connsiteY2" fmla="*/ 2033 h 7416"/>
                  <a:gd name="connsiteX3" fmla="*/ 2273 w 7057"/>
                  <a:gd name="connsiteY3" fmla="*/ 0 h 7416"/>
                </a:gdLst>
                <a:ahLst/>
                <a:cxnLst>
                  <a:cxn ang="0">
                    <a:pos x="connsiteX0" y="connsiteY0"/>
                  </a:cxn>
                  <a:cxn ang="0">
                    <a:pos x="connsiteX1" y="connsiteY1"/>
                  </a:cxn>
                  <a:cxn ang="0">
                    <a:pos x="connsiteX2" y="connsiteY2"/>
                  </a:cxn>
                  <a:cxn ang="0">
                    <a:pos x="connsiteX3" y="connsiteY3"/>
                  </a:cxn>
                </a:cxnLst>
                <a:rect l="l" t="t" r="r" b="b"/>
                <a:pathLst>
                  <a:path w="7057" h="7416">
                    <a:moveTo>
                      <a:pt x="7058" y="5383"/>
                    </a:moveTo>
                    <a:lnTo>
                      <a:pt x="4844" y="7416"/>
                    </a:lnTo>
                    <a:lnTo>
                      <a:pt x="0" y="2033"/>
                    </a:lnTo>
                    <a:lnTo>
                      <a:pt x="2273" y="0"/>
                    </a:lnTo>
                    <a:close/>
                  </a:path>
                </a:pathLst>
              </a:custGeom>
              <a:grpFill/>
              <a:ln w="5978" cap="flat">
                <a:noFill/>
                <a:prstDash val="solid"/>
                <a:miter/>
              </a:ln>
            </p:spPr>
            <p:txBody>
              <a:bodyPr rtlCol="0" anchor="ctr"/>
              <a:lstStyle/>
              <a:p>
                <a:endParaRPr lang="en-GB"/>
              </a:p>
            </p:txBody>
          </p:sp>
          <p:sp>
            <p:nvSpPr>
              <p:cNvPr id="2849" name="Vrije vorm: vorm 2848">
                <a:extLst>
                  <a:ext uri="{FF2B5EF4-FFF2-40B4-BE49-F238E27FC236}">
                    <a16:creationId xmlns:a16="http://schemas.microsoft.com/office/drawing/2014/main" id="{C17D3D6E-F547-447E-B0D7-AD90180C34B0}"/>
                  </a:ext>
                </a:extLst>
              </p:cNvPr>
              <p:cNvSpPr/>
              <p:nvPr/>
            </p:nvSpPr>
            <p:spPr>
              <a:xfrm>
                <a:off x="4801421" y="2024772"/>
                <a:ext cx="18324" cy="18444"/>
              </a:xfrm>
              <a:custGeom>
                <a:avLst/>
                <a:gdLst>
                  <a:gd name="connsiteX0" fmla="*/ 2374 w 18324"/>
                  <a:gd name="connsiteY0" fmla="*/ 15412 h 18444"/>
                  <a:gd name="connsiteX1" fmla="*/ 3032 w 18324"/>
                  <a:gd name="connsiteY1" fmla="*/ 2374 h 18444"/>
                  <a:gd name="connsiteX2" fmla="*/ 15951 w 18324"/>
                  <a:gd name="connsiteY2" fmla="*/ 3032 h 18444"/>
                  <a:gd name="connsiteX3" fmla="*/ 15293 w 18324"/>
                  <a:gd name="connsiteY3" fmla="*/ 16070 h 18444"/>
                  <a:gd name="connsiteX4" fmla="*/ 2374 w 18324"/>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4">
                    <a:moveTo>
                      <a:pt x="2374" y="15412"/>
                    </a:moveTo>
                    <a:cubicBezTo>
                      <a:pt x="-1035" y="11645"/>
                      <a:pt x="-736" y="5783"/>
                      <a:pt x="3032" y="2374"/>
                    </a:cubicBezTo>
                    <a:cubicBezTo>
                      <a:pt x="6800" y="-1035"/>
                      <a:pt x="12601" y="-736"/>
                      <a:pt x="15951" y="3032"/>
                    </a:cubicBezTo>
                    <a:cubicBezTo>
                      <a:pt x="19359" y="6800"/>
                      <a:pt x="19060" y="12661"/>
                      <a:pt x="15293" y="16070"/>
                    </a:cubicBezTo>
                    <a:cubicBezTo>
                      <a:pt x="11585" y="19479"/>
                      <a:pt x="5783" y="19180"/>
                      <a:pt x="2374" y="15412"/>
                    </a:cubicBezTo>
                    <a:close/>
                  </a:path>
                </a:pathLst>
              </a:custGeom>
              <a:grpFill/>
              <a:ln w="5978" cap="flat">
                <a:noFill/>
                <a:prstDash val="solid"/>
                <a:miter/>
              </a:ln>
            </p:spPr>
            <p:txBody>
              <a:bodyPr rtlCol="0" anchor="ctr"/>
              <a:lstStyle/>
              <a:p>
                <a:endParaRPr lang="en-GB"/>
              </a:p>
            </p:txBody>
          </p:sp>
          <p:sp>
            <p:nvSpPr>
              <p:cNvPr id="2850" name="Vrije vorm: vorm 2849">
                <a:extLst>
                  <a:ext uri="{FF2B5EF4-FFF2-40B4-BE49-F238E27FC236}">
                    <a16:creationId xmlns:a16="http://schemas.microsoft.com/office/drawing/2014/main" id="{FCD7B802-65E5-43BF-8C4D-DA2209355136}"/>
                  </a:ext>
                </a:extLst>
              </p:cNvPr>
              <p:cNvSpPr/>
              <p:nvPr/>
            </p:nvSpPr>
            <p:spPr>
              <a:xfrm>
                <a:off x="4805667" y="2029496"/>
                <a:ext cx="18301" cy="18444"/>
              </a:xfrm>
              <a:custGeom>
                <a:avLst/>
                <a:gdLst>
                  <a:gd name="connsiteX0" fmla="*/ 2374 w 18301"/>
                  <a:gd name="connsiteY0" fmla="*/ 15412 h 18444"/>
                  <a:gd name="connsiteX1" fmla="*/ 15293 w 18301"/>
                  <a:gd name="connsiteY1" fmla="*/ 16070 h 18444"/>
                  <a:gd name="connsiteX2" fmla="*/ 15950 w 18301"/>
                  <a:gd name="connsiteY2" fmla="*/ 3032 h 18444"/>
                  <a:gd name="connsiteX3" fmla="*/ 3032 w 18301"/>
                  <a:gd name="connsiteY3" fmla="*/ 2374 h 18444"/>
                  <a:gd name="connsiteX4" fmla="*/ 2374 w 18301"/>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44">
                    <a:moveTo>
                      <a:pt x="2374" y="15412"/>
                    </a:moveTo>
                    <a:cubicBezTo>
                      <a:pt x="5783" y="19180"/>
                      <a:pt x="11585" y="19479"/>
                      <a:pt x="15293" y="16070"/>
                    </a:cubicBezTo>
                    <a:cubicBezTo>
                      <a:pt x="19061" y="12661"/>
                      <a:pt x="19300" y="6860"/>
                      <a:pt x="15950" y="3032"/>
                    </a:cubicBezTo>
                    <a:cubicBezTo>
                      <a:pt x="12541" y="-736"/>
                      <a:pt x="6740" y="-1035"/>
                      <a:pt x="3032" y="2374"/>
                    </a:cubicBezTo>
                    <a:cubicBezTo>
                      <a:pt x="-736" y="5783"/>
                      <a:pt x="-1035" y="11585"/>
                      <a:pt x="2374" y="15412"/>
                    </a:cubicBezTo>
                    <a:close/>
                  </a:path>
                </a:pathLst>
              </a:custGeom>
              <a:grpFill/>
              <a:ln w="5978" cap="flat">
                <a:noFill/>
                <a:prstDash val="solid"/>
                <a:miter/>
              </a:ln>
            </p:spPr>
            <p:txBody>
              <a:bodyPr rtlCol="0" anchor="ctr"/>
              <a:lstStyle/>
              <a:p>
                <a:endParaRPr lang="en-GB"/>
              </a:p>
            </p:txBody>
          </p:sp>
        </p:grpSp>
        <p:grpSp>
          <p:nvGrpSpPr>
            <p:cNvPr id="851" name="Graphic 3">
              <a:extLst>
                <a:ext uri="{FF2B5EF4-FFF2-40B4-BE49-F238E27FC236}">
                  <a16:creationId xmlns:a16="http://schemas.microsoft.com/office/drawing/2014/main" id="{2C51A8B8-7A94-4825-8C26-D65A083DDD77}"/>
                </a:ext>
              </a:extLst>
            </p:cNvPr>
            <p:cNvGrpSpPr/>
            <p:nvPr/>
          </p:nvGrpSpPr>
          <p:grpSpPr>
            <a:xfrm>
              <a:off x="4464789" y="1364288"/>
              <a:ext cx="458639" cy="587497"/>
              <a:chOff x="4464789" y="1364288"/>
              <a:chExt cx="458639" cy="587497"/>
            </a:xfrm>
            <a:grpFill/>
          </p:grpSpPr>
          <p:sp>
            <p:nvSpPr>
              <p:cNvPr id="2845" name="Vrije vorm: vorm 2844">
                <a:extLst>
                  <a:ext uri="{FF2B5EF4-FFF2-40B4-BE49-F238E27FC236}">
                    <a16:creationId xmlns:a16="http://schemas.microsoft.com/office/drawing/2014/main" id="{AE19833D-32C2-4275-8699-9F36F0B4BF39}"/>
                  </a:ext>
                </a:extLst>
              </p:cNvPr>
              <p:cNvSpPr/>
              <p:nvPr/>
            </p:nvSpPr>
            <p:spPr>
              <a:xfrm>
                <a:off x="4472463" y="1372197"/>
                <a:ext cx="443291" cy="571637"/>
              </a:xfrm>
              <a:custGeom>
                <a:avLst/>
                <a:gdLst>
                  <a:gd name="connsiteX0" fmla="*/ 443291 w 443291"/>
                  <a:gd name="connsiteY0" fmla="*/ 569783 h 571637"/>
                  <a:gd name="connsiteX1" fmla="*/ 440899 w 443291"/>
                  <a:gd name="connsiteY1" fmla="*/ 571637 h 571637"/>
                  <a:gd name="connsiteX2" fmla="*/ 0 w 443291"/>
                  <a:gd name="connsiteY2" fmla="*/ 1854 h 571637"/>
                  <a:gd name="connsiteX3" fmla="*/ 2392 w 443291"/>
                  <a:gd name="connsiteY3" fmla="*/ 0 h 571637"/>
                </a:gdLst>
                <a:ahLst/>
                <a:cxnLst>
                  <a:cxn ang="0">
                    <a:pos x="connsiteX0" y="connsiteY0"/>
                  </a:cxn>
                  <a:cxn ang="0">
                    <a:pos x="connsiteX1" y="connsiteY1"/>
                  </a:cxn>
                  <a:cxn ang="0">
                    <a:pos x="connsiteX2" y="connsiteY2"/>
                  </a:cxn>
                  <a:cxn ang="0">
                    <a:pos x="connsiteX3" y="connsiteY3"/>
                  </a:cxn>
                </a:cxnLst>
                <a:rect l="l" t="t" r="r" b="b"/>
                <a:pathLst>
                  <a:path w="443291" h="571637">
                    <a:moveTo>
                      <a:pt x="443291" y="569783"/>
                    </a:moveTo>
                    <a:lnTo>
                      <a:pt x="440899" y="571637"/>
                    </a:lnTo>
                    <a:lnTo>
                      <a:pt x="0" y="1854"/>
                    </a:lnTo>
                    <a:lnTo>
                      <a:pt x="2392" y="0"/>
                    </a:lnTo>
                    <a:close/>
                  </a:path>
                </a:pathLst>
              </a:custGeom>
              <a:grpFill/>
              <a:ln w="5978" cap="flat">
                <a:noFill/>
                <a:prstDash val="solid"/>
                <a:miter/>
              </a:ln>
            </p:spPr>
            <p:txBody>
              <a:bodyPr rtlCol="0" anchor="ctr"/>
              <a:lstStyle/>
              <a:p>
                <a:endParaRPr lang="en-GB"/>
              </a:p>
            </p:txBody>
          </p:sp>
          <p:sp>
            <p:nvSpPr>
              <p:cNvPr id="2846" name="Vrije vorm: vorm 2845">
                <a:extLst>
                  <a:ext uri="{FF2B5EF4-FFF2-40B4-BE49-F238E27FC236}">
                    <a16:creationId xmlns:a16="http://schemas.microsoft.com/office/drawing/2014/main" id="{270DFE33-7FDC-497C-8007-23C0A12D09E4}"/>
                  </a:ext>
                </a:extLst>
              </p:cNvPr>
              <p:cNvSpPr/>
              <p:nvPr/>
            </p:nvSpPr>
            <p:spPr>
              <a:xfrm>
                <a:off x="4464789" y="1364288"/>
                <a:ext cx="18339" cy="18406"/>
              </a:xfrm>
              <a:custGeom>
                <a:avLst/>
                <a:gdLst>
                  <a:gd name="connsiteX0" fmla="*/ 1933 w 18339"/>
                  <a:gd name="connsiteY0" fmla="*/ 14847 h 18406"/>
                  <a:gd name="connsiteX1" fmla="*/ 3548 w 18339"/>
                  <a:gd name="connsiteY1" fmla="*/ 1929 h 18406"/>
                  <a:gd name="connsiteX2" fmla="*/ 16406 w 18339"/>
                  <a:gd name="connsiteY2" fmla="*/ 3603 h 18406"/>
                  <a:gd name="connsiteX3" fmla="*/ 14791 w 18339"/>
                  <a:gd name="connsiteY3" fmla="*/ 16521 h 18406"/>
                  <a:gd name="connsiteX4" fmla="*/ 1933 w 18339"/>
                  <a:gd name="connsiteY4" fmla="*/ 1484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6">
                    <a:moveTo>
                      <a:pt x="1933" y="14847"/>
                    </a:moveTo>
                    <a:cubicBezTo>
                      <a:pt x="-1177" y="10840"/>
                      <a:pt x="-459" y="5038"/>
                      <a:pt x="3548" y="1929"/>
                    </a:cubicBezTo>
                    <a:cubicBezTo>
                      <a:pt x="7555" y="-1181"/>
                      <a:pt x="13296" y="-464"/>
                      <a:pt x="16406" y="3603"/>
                    </a:cubicBezTo>
                    <a:cubicBezTo>
                      <a:pt x="19516" y="7610"/>
                      <a:pt x="18798" y="13411"/>
                      <a:pt x="14791" y="16521"/>
                    </a:cubicBezTo>
                    <a:cubicBezTo>
                      <a:pt x="10784" y="19572"/>
                      <a:pt x="5043" y="18854"/>
                      <a:pt x="1933" y="14847"/>
                    </a:cubicBezTo>
                    <a:close/>
                  </a:path>
                </a:pathLst>
              </a:custGeom>
              <a:grpFill/>
              <a:ln w="5978" cap="flat">
                <a:noFill/>
                <a:prstDash val="solid"/>
                <a:miter/>
              </a:ln>
            </p:spPr>
            <p:txBody>
              <a:bodyPr rtlCol="0" anchor="ctr"/>
              <a:lstStyle/>
              <a:p>
                <a:endParaRPr lang="en-GB"/>
              </a:p>
            </p:txBody>
          </p:sp>
          <p:sp>
            <p:nvSpPr>
              <p:cNvPr id="2847" name="Vrije vorm: vorm 2846">
                <a:extLst>
                  <a:ext uri="{FF2B5EF4-FFF2-40B4-BE49-F238E27FC236}">
                    <a16:creationId xmlns:a16="http://schemas.microsoft.com/office/drawing/2014/main" id="{9AD2E4BD-7564-4F14-B707-1673D1DD0893}"/>
                  </a:ext>
                </a:extLst>
              </p:cNvPr>
              <p:cNvSpPr/>
              <p:nvPr/>
            </p:nvSpPr>
            <p:spPr>
              <a:xfrm>
                <a:off x="4905089" y="1933372"/>
                <a:ext cx="18339" cy="18413"/>
              </a:xfrm>
              <a:custGeom>
                <a:avLst/>
                <a:gdLst>
                  <a:gd name="connsiteX0" fmla="*/ 1933 w 18339"/>
                  <a:gd name="connsiteY0" fmla="*/ 14829 h 18413"/>
                  <a:gd name="connsiteX1" fmla="*/ 14791 w 18339"/>
                  <a:gd name="connsiteY1" fmla="*/ 16503 h 18413"/>
                  <a:gd name="connsiteX2" fmla="*/ 16406 w 18339"/>
                  <a:gd name="connsiteY2" fmla="*/ 3585 h 18413"/>
                  <a:gd name="connsiteX3" fmla="*/ 3548 w 18339"/>
                  <a:gd name="connsiteY3" fmla="*/ 1910 h 18413"/>
                  <a:gd name="connsiteX4" fmla="*/ 1933 w 18339"/>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3">
                    <a:moveTo>
                      <a:pt x="1933" y="14829"/>
                    </a:moveTo>
                    <a:cubicBezTo>
                      <a:pt x="5043" y="18836"/>
                      <a:pt x="10784" y="19613"/>
                      <a:pt x="14791" y="16503"/>
                    </a:cubicBezTo>
                    <a:cubicBezTo>
                      <a:pt x="18799" y="13393"/>
                      <a:pt x="19516" y="7592"/>
                      <a:pt x="16406" y="3585"/>
                    </a:cubicBezTo>
                    <a:cubicBezTo>
                      <a:pt x="13296" y="-422"/>
                      <a:pt x="7555" y="-1200"/>
                      <a:pt x="3548" y="1910"/>
                    </a:cubicBezTo>
                    <a:cubicBezTo>
                      <a:pt x="-459" y="5020"/>
                      <a:pt x="-1177" y="10822"/>
                      <a:pt x="1933" y="14829"/>
                    </a:cubicBezTo>
                    <a:close/>
                  </a:path>
                </a:pathLst>
              </a:custGeom>
              <a:grpFill/>
              <a:ln w="5978" cap="flat">
                <a:noFill/>
                <a:prstDash val="solid"/>
                <a:miter/>
              </a:ln>
            </p:spPr>
            <p:txBody>
              <a:bodyPr rtlCol="0" anchor="ctr"/>
              <a:lstStyle/>
              <a:p>
                <a:endParaRPr lang="en-GB"/>
              </a:p>
            </p:txBody>
          </p:sp>
        </p:grpSp>
        <p:grpSp>
          <p:nvGrpSpPr>
            <p:cNvPr id="852" name="Graphic 3">
              <a:extLst>
                <a:ext uri="{FF2B5EF4-FFF2-40B4-BE49-F238E27FC236}">
                  <a16:creationId xmlns:a16="http://schemas.microsoft.com/office/drawing/2014/main" id="{B1EF13B7-FE1C-4E31-B571-91B2E2845B03}"/>
                </a:ext>
              </a:extLst>
            </p:cNvPr>
            <p:cNvGrpSpPr/>
            <p:nvPr/>
          </p:nvGrpSpPr>
          <p:grpSpPr>
            <a:xfrm>
              <a:off x="4736112" y="2005401"/>
              <a:ext cx="171870" cy="182839"/>
              <a:chOff x="4736112" y="2005401"/>
              <a:chExt cx="171870" cy="182839"/>
            </a:xfrm>
            <a:grpFill/>
          </p:grpSpPr>
          <p:sp>
            <p:nvSpPr>
              <p:cNvPr id="2842" name="Vrije vorm: vorm 2841">
                <a:extLst>
                  <a:ext uri="{FF2B5EF4-FFF2-40B4-BE49-F238E27FC236}">
                    <a16:creationId xmlns:a16="http://schemas.microsoft.com/office/drawing/2014/main" id="{8616CB92-37BA-4599-96C6-46825A82442C}"/>
                  </a:ext>
                </a:extLst>
              </p:cNvPr>
              <p:cNvSpPr/>
              <p:nvPr/>
            </p:nvSpPr>
            <p:spPr>
              <a:xfrm>
                <a:off x="4743808" y="2013271"/>
                <a:ext cx="156396" cy="167161"/>
              </a:xfrm>
              <a:custGeom>
                <a:avLst/>
                <a:gdLst>
                  <a:gd name="connsiteX0" fmla="*/ 156396 w 156396"/>
                  <a:gd name="connsiteY0" fmla="*/ 165068 h 167161"/>
                  <a:gd name="connsiteX1" fmla="*/ 154183 w 156396"/>
                  <a:gd name="connsiteY1" fmla="*/ 167161 h 167161"/>
                  <a:gd name="connsiteX2" fmla="*/ 0 w 156396"/>
                  <a:gd name="connsiteY2" fmla="*/ 2093 h 167161"/>
                  <a:gd name="connsiteX3" fmla="*/ 2213 w 156396"/>
                  <a:gd name="connsiteY3" fmla="*/ 0 h 167161"/>
                </a:gdLst>
                <a:ahLst/>
                <a:cxnLst>
                  <a:cxn ang="0">
                    <a:pos x="connsiteX0" y="connsiteY0"/>
                  </a:cxn>
                  <a:cxn ang="0">
                    <a:pos x="connsiteX1" y="connsiteY1"/>
                  </a:cxn>
                  <a:cxn ang="0">
                    <a:pos x="connsiteX2" y="connsiteY2"/>
                  </a:cxn>
                  <a:cxn ang="0">
                    <a:pos x="connsiteX3" y="connsiteY3"/>
                  </a:cxn>
                </a:cxnLst>
                <a:rect l="l" t="t" r="r" b="b"/>
                <a:pathLst>
                  <a:path w="156396" h="167161">
                    <a:moveTo>
                      <a:pt x="156396" y="165068"/>
                    </a:moveTo>
                    <a:lnTo>
                      <a:pt x="154183" y="167161"/>
                    </a:lnTo>
                    <a:lnTo>
                      <a:pt x="0" y="2093"/>
                    </a:lnTo>
                    <a:lnTo>
                      <a:pt x="2213" y="0"/>
                    </a:lnTo>
                    <a:close/>
                  </a:path>
                </a:pathLst>
              </a:custGeom>
              <a:grpFill/>
              <a:ln w="5978" cap="flat">
                <a:noFill/>
                <a:prstDash val="solid"/>
                <a:miter/>
              </a:ln>
            </p:spPr>
            <p:txBody>
              <a:bodyPr rtlCol="0" anchor="ctr"/>
              <a:lstStyle/>
              <a:p>
                <a:endParaRPr lang="en-GB"/>
              </a:p>
            </p:txBody>
          </p:sp>
          <p:sp>
            <p:nvSpPr>
              <p:cNvPr id="2843" name="Vrije vorm: vorm 2842">
                <a:extLst>
                  <a:ext uri="{FF2B5EF4-FFF2-40B4-BE49-F238E27FC236}">
                    <a16:creationId xmlns:a16="http://schemas.microsoft.com/office/drawing/2014/main" id="{BE5368EF-89FB-437D-9B1C-4625DC558E22}"/>
                  </a:ext>
                </a:extLst>
              </p:cNvPr>
              <p:cNvSpPr/>
              <p:nvPr/>
            </p:nvSpPr>
            <p:spPr>
              <a:xfrm>
                <a:off x="4736112" y="2005401"/>
                <a:ext cx="18323" cy="18453"/>
              </a:xfrm>
              <a:custGeom>
                <a:avLst/>
                <a:gdLst>
                  <a:gd name="connsiteX0" fmla="*/ 2493 w 18323"/>
                  <a:gd name="connsiteY0" fmla="*/ 15525 h 18453"/>
                  <a:gd name="connsiteX1" fmla="*/ 2852 w 18323"/>
                  <a:gd name="connsiteY1" fmla="*/ 2487 h 18453"/>
                  <a:gd name="connsiteX2" fmla="*/ 15830 w 18323"/>
                  <a:gd name="connsiteY2" fmla="*/ 2905 h 18453"/>
                  <a:gd name="connsiteX3" fmla="*/ 15472 w 18323"/>
                  <a:gd name="connsiteY3" fmla="*/ 15943 h 18453"/>
                  <a:gd name="connsiteX4" fmla="*/ 2493 w 18323"/>
                  <a:gd name="connsiteY4" fmla="*/ 1552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53">
                    <a:moveTo>
                      <a:pt x="2493" y="15525"/>
                    </a:moveTo>
                    <a:cubicBezTo>
                      <a:pt x="-975" y="11817"/>
                      <a:pt x="-796" y="5956"/>
                      <a:pt x="2852" y="2487"/>
                    </a:cubicBezTo>
                    <a:cubicBezTo>
                      <a:pt x="6560" y="-982"/>
                      <a:pt x="12362" y="-803"/>
                      <a:pt x="15830" y="2905"/>
                    </a:cubicBezTo>
                    <a:cubicBezTo>
                      <a:pt x="19299" y="6613"/>
                      <a:pt x="19120" y="12474"/>
                      <a:pt x="15472" y="15943"/>
                    </a:cubicBezTo>
                    <a:cubicBezTo>
                      <a:pt x="11763" y="19472"/>
                      <a:pt x="5962" y="19233"/>
                      <a:pt x="2493" y="15525"/>
                    </a:cubicBezTo>
                    <a:close/>
                  </a:path>
                </a:pathLst>
              </a:custGeom>
              <a:grpFill/>
              <a:ln w="5978" cap="flat">
                <a:noFill/>
                <a:prstDash val="solid"/>
                <a:miter/>
              </a:ln>
            </p:spPr>
            <p:txBody>
              <a:bodyPr rtlCol="0" anchor="ctr"/>
              <a:lstStyle/>
              <a:p>
                <a:endParaRPr lang="en-GB"/>
              </a:p>
            </p:txBody>
          </p:sp>
          <p:sp>
            <p:nvSpPr>
              <p:cNvPr id="2844" name="Vrije vorm: vorm 2843">
                <a:extLst>
                  <a:ext uri="{FF2B5EF4-FFF2-40B4-BE49-F238E27FC236}">
                    <a16:creationId xmlns:a16="http://schemas.microsoft.com/office/drawing/2014/main" id="{8A6EC699-2EDB-4227-9075-7ECC8179CF87}"/>
                  </a:ext>
                </a:extLst>
              </p:cNvPr>
              <p:cNvSpPr/>
              <p:nvPr/>
            </p:nvSpPr>
            <p:spPr>
              <a:xfrm>
                <a:off x="4889637" y="2169811"/>
                <a:ext cx="18345" cy="18429"/>
              </a:xfrm>
              <a:custGeom>
                <a:avLst/>
                <a:gdLst>
                  <a:gd name="connsiteX0" fmla="*/ 2493 w 18345"/>
                  <a:gd name="connsiteY0" fmla="*/ 15525 h 18429"/>
                  <a:gd name="connsiteX1" fmla="*/ 15472 w 18345"/>
                  <a:gd name="connsiteY1" fmla="*/ 15943 h 18429"/>
                  <a:gd name="connsiteX2" fmla="*/ 15830 w 18345"/>
                  <a:gd name="connsiteY2" fmla="*/ 2905 h 18429"/>
                  <a:gd name="connsiteX3" fmla="*/ 2852 w 18345"/>
                  <a:gd name="connsiteY3" fmla="*/ 2487 h 18429"/>
                  <a:gd name="connsiteX4" fmla="*/ 2493 w 18345"/>
                  <a:gd name="connsiteY4" fmla="*/ 1552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9">
                    <a:moveTo>
                      <a:pt x="2493" y="15525"/>
                    </a:moveTo>
                    <a:cubicBezTo>
                      <a:pt x="5962" y="19233"/>
                      <a:pt x="11763" y="19412"/>
                      <a:pt x="15472" y="15943"/>
                    </a:cubicBezTo>
                    <a:cubicBezTo>
                      <a:pt x="19180" y="12474"/>
                      <a:pt x="19299" y="6613"/>
                      <a:pt x="15830" y="2905"/>
                    </a:cubicBezTo>
                    <a:cubicBezTo>
                      <a:pt x="12361" y="-803"/>
                      <a:pt x="6560" y="-982"/>
                      <a:pt x="2852" y="2487"/>
                    </a:cubicBezTo>
                    <a:cubicBezTo>
                      <a:pt x="-796" y="5955"/>
                      <a:pt x="-975" y="11817"/>
                      <a:pt x="2493" y="15525"/>
                    </a:cubicBezTo>
                    <a:close/>
                  </a:path>
                </a:pathLst>
              </a:custGeom>
              <a:grpFill/>
              <a:ln w="5978" cap="flat">
                <a:noFill/>
                <a:prstDash val="solid"/>
                <a:miter/>
              </a:ln>
            </p:spPr>
            <p:txBody>
              <a:bodyPr rtlCol="0" anchor="ctr"/>
              <a:lstStyle/>
              <a:p>
                <a:endParaRPr lang="en-GB"/>
              </a:p>
            </p:txBody>
          </p:sp>
        </p:grpSp>
        <p:grpSp>
          <p:nvGrpSpPr>
            <p:cNvPr id="853" name="Graphic 3">
              <a:extLst>
                <a:ext uri="{FF2B5EF4-FFF2-40B4-BE49-F238E27FC236}">
                  <a16:creationId xmlns:a16="http://schemas.microsoft.com/office/drawing/2014/main" id="{BB70564A-4611-4AF8-92B9-5E95CFF36A85}"/>
                </a:ext>
              </a:extLst>
            </p:cNvPr>
            <p:cNvGrpSpPr/>
            <p:nvPr/>
          </p:nvGrpSpPr>
          <p:grpSpPr>
            <a:xfrm>
              <a:off x="4754396" y="1917910"/>
              <a:ext cx="22324" cy="22927"/>
              <a:chOff x="4754396" y="1917910"/>
              <a:chExt cx="22324" cy="22927"/>
            </a:xfrm>
            <a:grpFill/>
          </p:grpSpPr>
          <p:sp>
            <p:nvSpPr>
              <p:cNvPr id="2839" name="Vrije vorm: vorm 2838">
                <a:extLst>
                  <a:ext uri="{FF2B5EF4-FFF2-40B4-BE49-F238E27FC236}">
                    <a16:creationId xmlns:a16="http://schemas.microsoft.com/office/drawing/2014/main" id="{10880957-C7A5-4AF6-A91E-1DACB6273AC9}"/>
                  </a:ext>
                </a:extLst>
              </p:cNvPr>
              <p:cNvSpPr/>
              <p:nvPr/>
            </p:nvSpPr>
            <p:spPr>
              <a:xfrm>
                <a:off x="4762169" y="1925713"/>
                <a:ext cx="6818" cy="7296"/>
              </a:xfrm>
              <a:custGeom>
                <a:avLst/>
                <a:gdLst>
                  <a:gd name="connsiteX0" fmla="*/ 6818 w 6818"/>
                  <a:gd name="connsiteY0" fmla="*/ 5263 h 7296"/>
                  <a:gd name="connsiteX1" fmla="*/ 4545 w 6818"/>
                  <a:gd name="connsiteY1" fmla="*/ 7296 h 7296"/>
                  <a:gd name="connsiteX2" fmla="*/ 0 w 6818"/>
                  <a:gd name="connsiteY2" fmla="*/ 2033 h 7296"/>
                  <a:gd name="connsiteX3" fmla="*/ 2273 w 6818"/>
                  <a:gd name="connsiteY3" fmla="*/ 0 h 7296"/>
                </a:gdLst>
                <a:ahLst/>
                <a:cxnLst>
                  <a:cxn ang="0">
                    <a:pos x="connsiteX0" y="connsiteY0"/>
                  </a:cxn>
                  <a:cxn ang="0">
                    <a:pos x="connsiteX1" y="connsiteY1"/>
                  </a:cxn>
                  <a:cxn ang="0">
                    <a:pos x="connsiteX2" y="connsiteY2"/>
                  </a:cxn>
                  <a:cxn ang="0">
                    <a:pos x="connsiteX3" y="connsiteY3"/>
                  </a:cxn>
                </a:cxnLst>
                <a:rect l="l" t="t" r="r" b="b"/>
                <a:pathLst>
                  <a:path w="6818" h="7296">
                    <a:moveTo>
                      <a:pt x="6818" y="5263"/>
                    </a:moveTo>
                    <a:lnTo>
                      <a:pt x="4545" y="7296"/>
                    </a:lnTo>
                    <a:lnTo>
                      <a:pt x="0" y="2033"/>
                    </a:lnTo>
                    <a:lnTo>
                      <a:pt x="2273" y="0"/>
                    </a:lnTo>
                    <a:close/>
                  </a:path>
                </a:pathLst>
              </a:custGeom>
              <a:grpFill/>
              <a:ln w="5978" cap="flat">
                <a:noFill/>
                <a:prstDash val="solid"/>
                <a:miter/>
              </a:ln>
            </p:spPr>
            <p:txBody>
              <a:bodyPr rtlCol="0" anchor="ctr"/>
              <a:lstStyle/>
              <a:p>
                <a:endParaRPr lang="en-GB"/>
              </a:p>
            </p:txBody>
          </p:sp>
          <p:sp>
            <p:nvSpPr>
              <p:cNvPr id="2840" name="Vrije vorm: vorm 2839">
                <a:extLst>
                  <a:ext uri="{FF2B5EF4-FFF2-40B4-BE49-F238E27FC236}">
                    <a16:creationId xmlns:a16="http://schemas.microsoft.com/office/drawing/2014/main" id="{DAFBF138-2FC6-4F79-824E-71E482625F6C}"/>
                  </a:ext>
                </a:extLst>
              </p:cNvPr>
              <p:cNvSpPr/>
              <p:nvPr/>
            </p:nvSpPr>
            <p:spPr>
              <a:xfrm>
                <a:off x="4754396" y="1917910"/>
                <a:ext cx="18273" cy="18381"/>
              </a:xfrm>
              <a:custGeom>
                <a:avLst/>
                <a:gdLst>
                  <a:gd name="connsiteX0" fmla="*/ 2271 w 18273"/>
                  <a:gd name="connsiteY0" fmla="*/ 15219 h 18381"/>
                  <a:gd name="connsiteX1" fmla="*/ 3108 w 18273"/>
                  <a:gd name="connsiteY1" fmla="*/ 2241 h 18381"/>
                  <a:gd name="connsiteX2" fmla="*/ 16027 w 18273"/>
                  <a:gd name="connsiteY2" fmla="*/ 3138 h 18381"/>
                  <a:gd name="connsiteX3" fmla="*/ 15189 w 18273"/>
                  <a:gd name="connsiteY3" fmla="*/ 16116 h 18381"/>
                  <a:gd name="connsiteX4" fmla="*/ 2271 w 18273"/>
                  <a:gd name="connsiteY4" fmla="*/ 15219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381">
                    <a:moveTo>
                      <a:pt x="2271" y="15219"/>
                    </a:moveTo>
                    <a:cubicBezTo>
                      <a:pt x="-1078" y="11392"/>
                      <a:pt x="-660" y="5531"/>
                      <a:pt x="3108" y="2241"/>
                    </a:cubicBezTo>
                    <a:cubicBezTo>
                      <a:pt x="6876" y="-1048"/>
                      <a:pt x="12737" y="-689"/>
                      <a:pt x="16027" y="3138"/>
                    </a:cubicBezTo>
                    <a:cubicBezTo>
                      <a:pt x="19316" y="6966"/>
                      <a:pt x="18957" y="12827"/>
                      <a:pt x="15189" y="16116"/>
                    </a:cubicBezTo>
                    <a:cubicBezTo>
                      <a:pt x="11421" y="19466"/>
                      <a:pt x="5620" y="19047"/>
                      <a:pt x="2271" y="15219"/>
                    </a:cubicBezTo>
                    <a:close/>
                  </a:path>
                </a:pathLst>
              </a:custGeom>
              <a:grpFill/>
              <a:ln w="5978" cap="flat">
                <a:noFill/>
                <a:prstDash val="solid"/>
                <a:miter/>
              </a:ln>
            </p:spPr>
            <p:txBody>
              <a:bodyPr rtlCol="0" anchor="ctr"/>
              <a:lstStyle/>
              <a:p>
                <a:endParaRPr lang="en-GB"/>
              </a:p>
            </p:txBody>
          </p:sp>
          <p:sp>
            <p:nvSpPr>
              <p:cNvPr id="2841" name="Vrije vorm: vorm 2840">
                <a:extLst>
                  <a:ext uri="{FF2B5EF4-FFF2-40B4-BE49-F238E27FC236}">
                    <a16:creationId xmlns:a16="http://schemas.microsoft.com/office/drawing/2014/main" id="{BB0F1AAD-7CCD-438D-A4B1-E15966F4E99C}"/>
                  </a:ext>
                </a:extLst>
              </p:cNvPr>
              <p:cNvSpPr/>
              <p:nvPr/>
            </p:nvSpPr>
            <p:spPr>
              <a:xfrm>
                <a:off x="4758403" y="1922431"/>
                <a:ext cx="18317" cy="18405"/>
              </a:xfrm>
              <a:custGeom>
                <a:avLst/>
                <a:gdLst>
                  <a:gd name="connsiteX0" fmla="*/ 2271 w 18317"/>
                  <a:gd name="connsiteY0" fmla="*/ 15244 h 18405"/>
                  <a:gd name="connsiteX1" fmla="*/ 15190 w 18317"/>
                  <a:gd name="connsiteY1" fmla="*/ 16141 h 18405"/>
                  <a:gd name="connsiteX2" fmla="*/ 16027 w 18317"/>
                  <a:gd name="connsiteY2" fmla="*/ 3163 h 18405"/>
                  <a:gd name="connsiteX3" fmla="*/ 3108 w 18317"/>
                  <a:gd name="connsiteY3" fmla="*/ 2265 h 18405"/>
                  <a:gd name="connsiteX4" fmla="*/ 2271 w 18317"/>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05">
                    <a:moveTo>
                      <a:pt x="2271" y="15244"/>
                    </a:moveTo>
                    <a:cubicBezTo>
                      <a:pt x="5620" y="19071"/>
                      <a:pt x="11422" y="19490"/>
                      <a:pt x="15190" y="16141"/>
                    </a:cubicBezTo>
                    <a:cubicBezTo>
                      <a:pt x="19017" y="12791"/>
                      <a:pt x="19376" y="6990"/>
                      <a:pt x="16027" y="3163"/>
                    </a:cubicBezTo>
                    <a:cubicBezTo>
                      <a:pt x="12677" y="-665"/>
                      <a:pt x="6876" y="-1084"/>
                      <a:pt x="3108" y="2265"/>
                    </a:cubicBezTo>
                    <a:cubicBezTo>
                      <a:pt x="-660" y="5615"/>
                      <a:pt x="-1078" y="11416"/>
                      <a:pt x="2271" y="15244"/>
                    </a:cubicBezTo>
                    <a:close/>
                  </a:path>
                </a:pathLst>
              </a:custGeom>
              <a:grpFill/>
              <a:ln w="5978" cap="flat">
                <a:noFill/>
                <a:prstDash val="solid"/>
                <a:miter/>
              </a:ln>
            </p:spPr>
            <p:txBody>
              <a:bodyPr rtlCol="0" anchor="ctr"/>
              <a:lstStyle/>
              <a:p>
                <a:endParaRPr lang="en-GB"/>
              </a:p>
            </p:txBody>
          </p:sp>
        </p:grpSp>
        <p:grpSp>
          <p:nvGrpSpPr>
            <p:cNvPr id="854" name="Graphic 3">
              <a:extLst>
                <a:ext uri="{FF2B5EF4-FFF2-40B4-BE49-F238E27FC236}">
                  <a16:creationId xmlns:a16="http://schemas.microsoft.com/office/drawing/2014/main" id="{0E10EB28-6C6C-471D-96E1-E8689AB649DC}"/>
                </a:ext>
              </a:extLst>
            </p:cNvPr>
            <p:cNvGrpSpPr/>
            <p:nvPr/>
          </p:nvGrpSpPr>
          <p:grpSpPr>
            <a:xfrm>
              <a:off x="4757815" y="1976268"/>
              <a:ext cx="49577" cy="53252"/>
              <a:chOff x="4757815" y="1976268"/>
              <a:chExt cx="49577" cy="53252"/>
            </a:xfrm>
            <a:grpFill/>
          </p:grpSpPr>
          <p:sp>
            <p:nvSpPr>
              <p:cNvPr id="2836" name="Vrije vorm: vorm 2835">
                <a:extLst>
                  <a:ext uri="{FF2B5EF4-FFF2-40B4-BE49-F238E27FC236}">
                    <a16:creationId xmlns:a16="http://schemas.microsoft.com/office/drawing/2014/main" id="{F955E326-5B11-427F-922E-13C271AE1D35}"/>
                  </a:ext>
                </a:extLst>
              </p:cNvPr>
              <p:cNvSpPr/>
              <p:nvPr/>
            </p:nvSpPr>
            <p:spPr>
              <a:xfrm>
                <a:off x="4765518" y="1984144"/>
                <a:ext cx="34209" cy="37558"/>
              </a:xfrm>
              <a:custGeom>
                <a:avLst/>
                <a:gdLst>
                  <a:gd name="connsiteX0" fmla="*/ 34210 w 34209"/>
                  <a:gd name="connsiteY0" fmla="*/ 35526 h 37558"/>
                  <a:gd name="connsiteX1" fmla="*/ 31937 w 34209"/>
                  <a:gd name="connsiteY1" fmla="*/ 37559 h 37558"/>
                  <a:gd name="connsiteX2" fmla="*/ 0 w 34209"/>
                  <a:gd name="connsiteY2" fmla="*/ 2093 h 37558"/>
                  <a:gd name="connsiteX3" fmla="*/ 2273 w 34209"/>
                  <a:gd name="connsiteY3" fmla="*/ 0 h 37558"/>
                </a:gdLst>
                <a:ahLst/>
                <a:cxnLst>
                  <a:cxn ang="0">
                    <a:pos x="connsiteX0" y="connsiteY0"/>
                  </a:cxn>
                  <a:cxn ang="0">
                    <a:pos x="connsiteX1" y="connsiteY1"/>
                  </a:cxn>
                  <a:cxn ang="0">
                    <a:pos x="connsiteX2" y="connsiteY2"/>
                  </a:cxn>
                  <a:cxn ang="0">
                    <a:pos x="connsiteX3" y="connsiteY3"/>
                  </a:cxn>
                </a:cxnLst>
                <a:rect l="l" t="t" r="r" b="b"/>
                <a:pathLst>
                  <a:path w="34209" h="37558">
                    <a:moveTo>
                      <a:pt x="34210" y="35526"/>
                    </a:moveTo>
                    <a:lnTo>
                      <a:pt x="31937" y="37559"/>
                    </a:lnTo>
                    <a:lnTo>
                      <a:pt x="0" y="2093"/>
                    </a:lnTo>
                    <a:lnTo>
                      <a:pt x="2273" y="0"/>
                    </a:lnTo>
                    <a:close/>
                  </a:path>
                </a:pathLst>
              </a:custGeom>
              <a:grpFill/>
              <a:ln w="5978" cap="flat">
                <a:noFill/>
                <a:prstDash val="solid"/>
                <a:miter/>
              </a:ln>
            </p:spPr>
            <p:txBody>
              <a:bodyPr rtlCol="0" anchor="ctr"/>
              <a:lstStyle/>
              <a:p>
                <a:endParaRPr lang="en-GB"/>
              </a:p>
            </p:txBody>
          </p:sp>
          <p:sp>
            <p:nvSpPr>
              <p:cNvPr id="2837" name="Vrije vorm: vorm 2836">
                <a:extLst>
                  <a:ext uri="{FF2B5EF4-FFF2-40B4-BE49-F238E27FC236}">
                    <a16:creationId xmlns:a16="http://schemas.microsoft.com/office/drawing/2014/main" id="{ABAA320B-478E-4E6D-B34B-924CD105C3A7}"/>
                  </a:ext>
                </a:extLst>
              </p:cNvPr>
              <p:cNvSpPr/>
              <p:nvPr/>
            </p:nvSpPr>
            <p:spPr>
              <a:xfrm>
                <a:off x="4757815" y="1976268"/>
                <a:ext cx="18277" cy="18489"/>
              </a:xfrm>
              <a:custGeom>
                <a:avLst/>
                <a:gdLst>
                  <a:gd name="connsiteX0" fmla="*/ 2380 w 18277"/>
                  <a:gd name="connsiteY0" fmla="*/ 15412 h 18489"/>
                  <a:gd name="connsiteX1" fmla="*/ 2979 w 18277"/>
                  <a:gd name="connsiteY1" fmla="*/ 2374 h 18489"/>
                  <a:gd name="connsiteX2" fmla="*/ 15897 w 18277"/>
                  <a:gd name="connsiteY2" fmla="*/ 3032 h 18489"/>
                  <a:gd name="connsiteX3" fmla="*/ 15299 w 18277"/>
                  <a:gd name="connsiteY3" fmla="*/ 16070 h 18489"/>
                  <a:gd name="connsiteX4" fmla="*/ 2380 w 18277"/>
                  <a:gd name="connsiteY4" fmla="*/ 15412 h 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89">
                    <a:moveTo>
                      <a:pt x="2380" y="15412"/>
                    </a:moveTo>
                    <a:cubicBezTo>
                      <a:pt x="-1028" y="11645"/>
                      <a:pt x="-730" y="5783"/>
                      <a:pt x="2979" y="2374"/>
                    </a:cubicBezTo>
                    <a:cubicBezTo>
                      <a:pt x="6746" y="-1035"/>
                      <a:pt x="12548" y="-736"/>
                      <a:pt x="15897" y="3032"/>
                    </a:cubicBezTo>
                    <a:cubicBezTo>
                      <a:pt x="19306" y="6800"/>
                      <a:pt x="19007" y="12661"/>
                      <a:pt x="15299" y="16070"/>
                    </a:cubicBezTo>
                    <a:cubicBezTo>
                      <a:pt x="11591" y="19539"/>
                      <a:pt x="5789" y="19240"/>
                      <a:pt x="2380" y="15412"/>
                    </a:cubicBezTo>
                    <a:close/>
                  </a:path>
                </a:pathLst>
              </a:custGeom>
              <a:grpFill/>
              <a:ln w="5978" cap="flat">
                <a:noFill/>
                <a:prstDash val="solid"/>
                <a:miter/>
              </a:ln>
            </p:spPr>
            <p:txBody>
              <a:bodyPr rtlCol="0" anchor="ctr"/>
              <a:lstStyle/>
              <a:p>
                <a:endParaRPr lang="en-GB"/>
              </a:p>
            </p:txBody>
          </p:sp>
          <p:sp>
            <p:nvSpPr>
              <p:cNvPr id="2838" name="Vrije vorm: vorm 2837">
                <a:extLst>
                  <a:ext uri="{FF2B5EF4-FFF2-40B4-BE49-F238E27FC236}">
                    <a16:creationId xmlns:a16="http://schemas.microsoft.com/office/drawing/2014/main" id="{A696C61A-4270-44BC-AD08-6F0C160A63D4}"/>
                  </a:ext>
                </a:extLst>
              </p:cNvPr>
              <p:cNvSpPr/>
              <p:nvPr/>
            </p:nvSpPr>
            <p:spPr>
              <a:xfrm>
                <a:off x="4789094" y="2011076"/>
                <a:ext cx="18298" cy="18444"/>
              </a:xfrm>
              <a:custGeom>
                <a:avLst/>
                <a:gdLst>
                  <a:gd name="connsiteX0" fmla="*/ 2381 w 18298"/>
                  <a:gd name="connsiteY0" fmla="*/ 15412 h 18444"/>
                  <a:gd name="connsiteX1" fmla="*/ 15299 w 18298"/>
                  <a:gd name="connsiteY1" fmla="*/ 16070 h 18444"/>
                  <a:gd name="connsiteX2" fmla="*/ 15897 w 18298"/>
                  <a:gd name="connsiteY2" fmla="*/ 3032 h 18444"/>
                  <a:gd name="connsiteX3" fmla="*/ 2978 w 18298"/>
                  <a:gd name="connsiteY3" fmla="*/ 2374 h 18444"/>
                  <a:gd name="connsiteX4" fmla="*/ 2381 w 18298"/>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44">
                    <a:moveTo>
                      <a:pt x="2381" y="15412"/>
                    </a:moveTo>
                    <a:cubicBezTo>
                      <a:pt x="5790" y="19180"/>
                      <a:pt x="11591" y="19479"/>
                      <a:pt x="15299" y="16070"/>
                    </a:cubicBezTo>
                    <a:cubicBezTo>
                      <a:pt x="19067" y="12661"/>
                      <a:pt x="19306" y="6860"/>
                      <a:pt x="15897" y="3032"/>
                    </a:cubicBezTo>
                    <a:cubicBezTo>
                      <a:pt x="12488" y="-736"/>
                      <a:pt x="6686" y="-1035"/>
                      <a:pt x="2978" y="2374"/>
                    </a:cubicBezTo>
                    <a:cubicBezTo>
                      <a:pt x="-730" y="5843"/>
                      <a:pt x="-1029" y="11644"/>
                      <a:pt x="2381" y="15412"/>
                    </a:cubicBezTo>
                    <a:close/>
                  </a:path>
                </a:pathLst>
              </a:custGeom>
              <a:grpFill/>
              <a:ln w="5978" cap="flat">
                <a:noFill/>
                <a:prstDash val="solid"/>
                <a:miter/>
              </a:ln>
            </p:spPr>
            <p:txBody>
              <a:bodyPr rtlCol="0" anchor="ctr"/>
              <a:lstStyle/>
              <a:p>
                <a:endParaRPr lang="en-GB"/>
              </a:p>
            </p:txBody>
          </p:sp>
        </p:grpSp>
        <p:grpSp>
          <p:nvGrpSpPr>
            <p:cNvPr id="855" name="Graphic 3">
              <a:extLst>
                <a:ext uri="{FF2B5EF4-FFF2-40B4-BE49-F238E27FC236}">
                  <a16:creationId xmlns:a16="http://schemas.microsoft.com/office/drawing/2014/main" id="{23BA124F-6322-4FFA-BF33-4EED6647421F}"/>
                </a:ext>
              </a:extLst>
            </p:cNvPr>
            <p:cNvGrpSpPr/>
            <p:nvPr/>
          </p:nvGrpSpPr>
          <p:grpSpPr>
            <a:xfrm>
              <a:off x="5834014" y="5093677"/>
              <a:ext cx="73342" cy="250158"/>
              <a:chOff x="5834014" y="5093677"/>
              <a:chExt cx="73342" cy="250158"/>
            </a:xfrm>
            <a:grpFill/>
          </p:grpSpPr>
          <p:sp>
            <p:nvSpPr>
              <p:cNvPr id="2833" name="Vrije vorm: vorm 2832">
                <a:extLst>
                  <a:ext uri="{FF2B5EF4-FFF2-40B4-BE49-F238E27FC236}">
                    <a16:creationId xmlns:a16="http://schemas.microsoft.com/office/drawing/2014/main" id="{35B6A90F-96AB-410E-BBC4-48D49F8FC3BD}"/>
                  </a:ext>
                </a:extLst>
              </p:cNvPr>
              <p:cNvSpPr/>
              <p:nvPr/>
            </p:nvSpPr>
            <p:spPr>
              <a:xfrm>
                <a:off x="5841570" y="5102074"/>
                <a:ext cx="58132" cy="233367"/>
              </a:xfrm>
              <a:custGeom>
                <a:avLst/>
                <a:gdLst>
                  <a:gd name="connsiteX0" fmla="*/ 58132 w 58132"/>
                  <a:gd name="connsiteY0" fmla="*/ 718 h 233367"/>
                  <a:gd name="connsiteX1" fmla="*/ 2990 w 58132"/>
                  <a:gd name="connsiteY1" fmla="*/ 233368 h 233367"/>
                  <a:gd name="connsiteX2" fmla="*/ 0 w 58132"/>
                  <a:gd name="connsiteY2" fmla="*/ 232650 h 233367"/>
                  <a:gd name="connsiteX3" fmla="*/ 55202 w 58132"/>
                  <a:gd name="connsiteY3" fmla="*/ 0 h 233367"/>
                </a:gdLst>
                <a:ahLst/>
                <a:cxnLst>
                  <a:cxn ang="0">
                    <a:pos x="connsiteX0" y="connsiteY0"/>
                  </a:cxn>
                  <a:cxn ang="0">
                    <a:pos x="connsiteX1" y="connsiteY1"/>
                  </a:cxn>
                  <a:cxn ang="0">
                    <a:pos x="connsiteX2" y="connsiteY2"/>
                  </a:cxn>
                  <a:cxn ang="0">
                    <a:pos x="connsiteX3" y="connsiteY3"/>
                  </a:cxn>
                </a:cxnLst>
                <a:rect l="l" t="t" r="r" b="b"/>
                <a:pathLst>
                  <a:path w="58132" h="233367">
                    <a:moveTo>
                      <a:pt x="58132" y="718"/>
                    </a:moveTo>
                    <a:lnTo>
                      <a:pt x="2990" y="233368"/>
                    </a:lnTo>
                    <a:lnTo>
                      <a:pt x="0" y="232650"/>
                    </a:lnTo>
                    <a:lnTo>
                      <a:pt x="55202" y="0"/>
                    </a:lnTo>
                    <a:close/>
                  </a:path>
                </a:pathLst>
              </a:custGeom>
              <a:grpFill/>
              <a:ln w="5978" cap="flat">
                <a:noFill/>
                <a:prstDash val="solid"/>
                <a:miter/>
              </a:ln>
            </p:spPr>
            <p:txBody>
              <a:bodyPr rtlCol="0" anchor="ctr"/>
              <a:lstStyle/>
              <a:p>
                <a:endParaRPr lang="en-GB"/>
              </a:p>
            </p:txBody>
          </p:sp>
          <p:sp>
            <p:nvSpPr>
              <p:cNvPr id="2834" name="Vrije vorm: vorm 2833">
                <a:extLst>
                  <a:ext uri="{FF2B5EF4-FFF2-40B4-BE49-F238E27FC236}">
                    <a16:creationId xmlns:a16="http://schemas.microsoft.com/office/drawing/2014/main" id="{DEDADF2F-F71B-4919-B0BE-A8CC5FF55E87}"/>
                  </a:ext>
                </a:extLst>
              </p:cNvPr>
              <p:cNvSpPr/>
              <p:nvPr/>
            </p:nvSpPr>
            <p:spPr>
              <a:xfrm>
                <a:off x="5888977" y="5093677"/>
                <a:ext cx="18379" cy="18408"/>
              </a:xfrm>
              <a:custGeom>
                <a:avLst/>
                <a:gdLst>
                  <a:gd name="connsiteX0" fmla="*/ 260 w 18379"/>
                  <a:gd name="connsiteY0" fmla="*/ 7021 h 18408"/>
                  <a:gd name="connsiteX1" fmla="*/ 11324 w 18379"/>
                  <a:gd name="connsiteY1" fmla="*/ 263 h 18408"/>
                  <a:gd name="connsiteX2" fmla="*/ 18142 w 18379"/>
                  <a:gd name="connsiteY2" fmla="*/ 11387 h 18408"/>
                  <a:gd name="connsiteX3" fmla="*/ 7078 w 18379"/>
                  <a:gd name="connsiteY3" fmla="*/ 18145 h 18408"/>
                  <a:gd name="connsiteX4" fmla="*/ 260 w 1837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08">
                    <a:moveTo>
                      <a:pt x="260" y="7021"/>
                    </a:moveTo>
                    <a:cubicBezTo>
                      <a:pt x="1456" y="2057"/>
                      <a:pt x="6360" y="-933"/>
                      <a:pt x="11324" y="263"/>
                    </a:cubicBezTo>
                    <a:cubicBezTo>
                      <a:pt x="16228" y="1459"/>
                      <a:pt x="19278" y="6423"/>
                      <a:pt x="18142" y="11387"/>
                    </a:cubicBezTo>
                    <a:cubicBezTo>
                      <a:pt x="16946" y="16351"/>
                      <a:pt x="12042" y="19342"/>
                      <a:pt x="7078" y="18145"/>
                    </a:cubicBezTo>
                    <a:cubicBezTo>
                      <a:pt x="2114" y="16949"/>
                      <a:pt x="-937" y="11985"/>
                      <a:pt x="260" y="7021"/>
                    </a:cubicBezTo>
                    <a:close/>
                  </a:path>
                </a:pathLst>
              </a:custGeom>
              <a:grpFill/>
              <a:ln w="5978" cap="flat">
                <a:noFill/>
                <a:prstDash val="solid"/>
                <a:miter/>
              </a:ln>
            </p:spPr>
            <p:txBody>
              <a:bodyPr rtlCol="0" anchor="ctr"/>
              <a:lstStyle/>
              <a:p>
                <a:endParaRPr lang="en-GB"/>
              </a:p>
            </p:txBody>
          </p:sp>
          <p:sp>
            <p:nvSpPr>
              <p:cNvPr id="2835" name="Vrije vorm: vorm 2834">
                <a:extLst>
                  <a:ext uri="{FF2B5EF4-FFF2-40B4-BE49-F238E27FC236}">
                    <a16:creationId xmlns:a16="http://schemas.microsoft.com/office/drawing/2014/main" id="{4A6DB8EB-7D78-45FE-9D84-4762BC23EAB7}"/>
                  </a:ext>
                </a:extLst>
              </p:cNvPr>
              <p:cNvSpPr/>
              <p:nvPr/>
            </p:nvSpPr>
            <p:spPr>
              <a:xfrm>
                <a:off x="5834014" y="5325430"/>
                <a:ext cx="18401" cy="18405"/>
              </a:xfrm>
              <a:custGeom>
                <a:avLst/>
                <a:gdLst>
                  <a:gd name="connsiteX0" fmla="*/ 260 w 18401"/>
                  <a:gd name="connsiteY0" fmla="*/ 7021 h 18405"/>
                  <a:gd name="connsiteX1" fmla="*/ 7078 w 18401"/>
                  <a:gd name="connsiteY1" fmla="*/ 18145 h 18405"/>
                  <a:gd name="connsiteX2" fmla="*/ 18142 w 18401"/>
                  <a:gd name="connsiteY2" fmla="*/ 11387 h 18405"/>
                  <a:gd name="connsiteX3" fmla="*/ 11324 w 18401"/>
                  <a:gd name="connsiteY3" fmla="*/ 263 h 18405"/>
                  <a:gd name="connsiteX4" fmla="*/ 260 w 18401"/>
                  <a:gd name="connsiteY4" fmla="*/ 702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05">
                    <a:moveTo>
                      <a:pt x="260" y="7021"/>
                    </a:moveTo>
                    <a:cubicBezTo>
                      <a:pt x="-937" y="11985"/>
                      <a:pt x="2114" y="16949"/>
                      <a:pt x="7078" y="18145"/>
                    </a:cubicBezTo>
                    <a:cubicBezTo>
                      <a:pt x="11982" y="19342"/>
                      <a:pt x="16946" y="16291"/>
                      <a:pt x="18142" y="11387"/>
                    </a:cubicBezTo>
                    <a:cubicBezTo>
                      <a:pt x="19338" y="6423"/>
                      <a:pt x="16288" y="1459"/>
                      <a:pt x="11324" y="263"/>
                    </a:cubicBezTo>
                    <a:cubicBezTo>
                      <a:pt x="6360" y="-933"/>
                      <a:pt x="1456" y="2057"/>
                      <a:pt x="260" y="7021"/>
                    </a:cubicBezTo>
                    <a:close/>
                  </a:path>
                </a:pathLst>
              </a:custGeom>
              <a:grpFill/>
              <a:ln w="5978" cap="flat">
                <a:noFill/>
                <a:prstDash val="solid"/>
                <a:miter/>
              </a:ln>
            </p:spPr>
            <p:txBody>
              <a:bodyPr rtlCol="0" anchor="ctr"/>
              <a:lstStyle/>
              <a:p>
                <a:endParaRPr lang="en-GB"/>
              </a:p>
            </p:txBody>
          </p:sp>
        </p:grpSp>
        <p:grpSp>
          <p:nvGrpSpPr>
            <p:cNvPr id="856" name="Graphic 3">
              <a:extLst>
                <a:ext uri="{FF2B5EF4-FFF2-40B4-BE49-F238E27FC236}">
                  <a16:creationId xmlns:a16="http://schemas.microsoft.com/office/drawing/2014/main" id="{A69DC08E-BA06-4FB8-9D12-E434A3FA7D39}"/>
                </a:ext>
              </a:extLst>
            </p:cNvPr>
            <p:cNvGrpSpPr/>
            <p:nvPr/>
          </p:nvGrpSpPr>
          <p:grpSpPr>
            <a:xfrm>
              <a:off x="5896262" y="5271895"/>
              <a:ext cx="30676" cy="187131"/>
              <a:chOff x="5896262" y="5271895"/>
              <a:chExt cx="30676" cy="187131"/>
            </a:xfrm>
            <a:grpFill/>
          </p:grpSpPr>
          <p:sp>
            <p:nvSpPr>
              <p:cNvPr id="2830" name="Vrije vorm: vorm 2829">
                <a:extLst>
                  <a:ext uri="{FF2B5EF4-FFF2-40B4-BE49-F238E27FC236}">
                    <a16:creationId xmlns:a16="http://schemas.microsoft.com/office/drawing/2014/main" id="{6AC2C554-D737-4041-96E5-A97258F35744}"/>
                  </a:ext>
                </a:extLst>
              </p:cNvPr>
              <p:cNvSpPr/>
              <p:nvPr/>
            </p:nvSpPr>
            <p:spPr>
              <a:xfrm>
                <a:off x="5903829" y="5280539"/>
                <a:ext cx="15549" cy="169852"/>
              </a:xfrm>
              <a:custGeom>
                <a:avLst/>
                <a:gdLst>
                  <a:gd name="connsiteX0" fmla="*/ 15550 w 15549"/>
                  <a:gd name="connsiteY0" fmla="*/ 239 h 169852"/>
                  <a:gd name="connsiteX1" fmla="*/ 3050 w 15549"/>
                  <a:gd name="connsiteY1" fmla="*/ 169852 h 169852"/>
                  <a:gd name="connsiteX2" fmla="*/ 0 w 15549"/>
                  <a:gd name="connsiteY2" fmla="*/ 169613 h 169852"/>
                  <a:gd name="connsiteX3" fmla="*/ 12500 w 15549"/>
                  <a:gd name="connsiteY3" fmla="*/ 0 h 169852"/>
                </a:gdLst>
                <a:ahLst/>
                <a:cxnLst>
                  <a:cxn ang="0">
                    <a:pos x="connsiteX0" y="connsiteY0"/>
                  </a:cxn>
                  <a:cxn ang="0">
                    <a:pos x="connsiteX1" y="connsiteY1"/>
                  </a:cxn>
                  <a:cxn ang="0">
                    <a:pos x="connsiteX2" y="connsiteY2"/>
                  </a:cxn>
                  <a:cxn ang="0">
                    <a:pos x="connsiteX3" y="connsiteY3"/>
                  </a:cxn>
                </a:cxnLst>
                <a:rect l="l" t="t" r="r" b="b"/>
                <a:pathLst>
                  <a:path w="15549" h="169852">
                    <a:moveTo>
                      <a:pt x="15550" y="239"/>
                    </a:moveTo>
                    <a:lnTo>
                      <a:pt x="3050" y="169852"/>
                    </a:lnTo>
                    <a:lnTo>
                      <a:pt x="0" y="169613"/>
                    </a:lnTo>
                    <a:lnTo>
                      <a:pt x="12500" y="0"/>
                    </a:lnTo>
                    <a:close/>
                  </a:path>
                </a:pathLst>
              </a:custGeom>
              <a:grpFill/>
              <a:ln w="5978" cap="flat">
                <a:noFill/>
                <a:prstDash val="solid"/>
                <a:miter/>
              </a:ln>
            </p:spPr>
            <p:txBody>
              <a:bodyPr rtlCol="0" anchor="ctr"/>
              <a:lstStyle/>
              <a:p>
                <a:endParaRPr lang="en-GB"/>
              </a:p>
            </p:txBody>
          </p:sp>
          <p:sp>
            <p:nvSpPr>
              <p:cNvPr id="2831" name="Vrije vorm: vorm 2830">
                <a:extLst>
                  <a:ext uri="{FF2B5EF4-FFF2-40B4-BE49-F238E27FC236}">
                    <a16:creationId xmlns:a16="http://schemas.microsoft.com/office/drawing/2014/main" id="{A97FD211-93CA-4B7F-ABEB-3ED36C2AD58F}"/>
                  </a:ext>
                </a:extLst>
              </p:cNvPr>
              <p:cNvSpPr/>
              <p:nvPr/>
            </p:nvSpPr>
            <p:spPr>
              <a:xfrm>
                <a:off x="5896262" y="5440559"/>
                <a:ext cx="18296" cy="18467"/>
              </a:xfrm>
              <a:custGeom>
                <a:avLst/>
                <a:gdLst>
                  <a:gd name="connsiteX0" fmla="*/ 18272 w 18296"/>
                  <a:gd name="connsiteY0" fmla="*/ 9952 h 18467"/>
                  <a:gd name="connsiteX1" fmla="*/ 8464 w 18296"/>
                  <a:gd name="connsiteY1" fmla="*/ 18444 h 18467"/>
                  <a:gd name="connsiteX2" fmla="*/ 31 w 18296"/>
                  <a:gd name="connsiteY2" fmla="*/ 8517 h 18467"/>
                  <a:gd name="connsiteX3" fmla="*/ 9840 w 18296"/>
                  <a:gd name="connsiteY3" fmla="*/ 24 h 18467"/>
                  <a:gd name="connsiteX4" fmla="*/ 18272 w 18296"/>
                  <a:gd name="connsiteY4" fmla="*/ 995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7">
                    <a:moveTo>
                      <a:pt x="18272" y="9952"/>
                    </a:moveTo>
                    <a:cubicBezTo>
                      <a:pt x="17914" y="15035"/>
                      <a:pt x="13488" y="18803"/>
                      <a:pt x="8464" y="18444"/>
                    </a:cubicBezTo>
                    <a:cubicBezTo>
                      <a:pt x="3440" y="18026"/>
                      <a:pt x="-387" y="13600"/>
                      <a:pt x="31" y="8517"/>
                    </a:cubicBezTo>
                    <a:cubicBezTo>
                      <a:pt x="390" y="3433"/>
                      <a:pt x="4816" y="-335"/>
                      <a:pt x="9840" y="24"/>
                    </a:cubicBezTo>
                    <a:cubicBezTo>
                      <a:pt x="14863" y="442"/>
                      <a:pt x="18631" y="4928"/>
                      <a:pt x="18272" y="9952"/>
                    </a:cubicBezTo>
                    <a:close/>
                  </a:path>
                </a:pathLst>
              </a:custGeom>
              <a:grpFill/>
              <a:ln w="5978" cap="flat">
                <a:noFill/>
                <a:prstDash val="solid"/>
                <a:miter/>
              </a:ln>
            </p:spPr>
            <p:txBody>
              <a:bodyPr rtlCol="0" anchor="ctr"/>
              <a:lstStyle/>
              <a:p>
                <a:endParaRPr lang="en-GB"/>
              </a:p>
            </p:txBody>
          </p:sp>
          <p:sp>
            <p:nvSpPr>
              <p:cNvPr id="2832" name="Vrije vorm: vorm 2831">
                <a:extLst>
                  <a:ext uri="{FF2B5EF4-FFF2-40B4-BE49-F238E27FC236}">
                    <a16:creationId xmlns:a16="http://schemas.microsoft.com/office/drawing/2014/main" id="{021A81BA-E708-414F-B5EB-23CAA301C639}"/>
                  </a:ext>
                </a:extLst>
              </p:cNvPr>
              <p:cNvSpPr/>
              <p:nvPr/>
            </p:nvSpPr>
            <p:spPr>
              <a:xfrm>
                <a:off x="5908590" y="5271895"/>
                <a:ext cx="18348" cy="18475"/>
              </a:xfrm>
              <a:custGeom>
                <a:avLst/>
                <a:gdLst>
                  <a:gd name="connsiteX0" fmla="*/ 18325 w 18348"/>
                  <a:gd name="connsiteY0" fmla="*/ 9959 h 18475"/>
                  <a:gd name="connsiteX1" fmla="*/ 9832 w 18348"/>
                  <a:gd name="connsiteY1" fmla="*/ 31 h 18475"/>
                  <a:gd name="connsiteX2" fmla="*/ 24 w 18348"/>
                  <a:gd name="connsiteY2" fmla="*/ 8524 h 18475"/>
                  <a:gd name="connsiteX3" fmla="*/ 8457 w 18348"/>
                  <a:gd name="connsiteY3" fmla="*/ 18452 h 18475"/>
                  <a:gd name="connsiteX4" fmla="*/ 18325 w 18348"/>
                  <a:gd name="connsiteY4" fmla="*/ 9959 h 18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75">
                    <a:moveTo>
                      <a:pt x="18325" y="9959"/>
                    </a:moveTo>
                    <a:cubicBezTo>
                      <a:pt x="18683" y="4876"/>
                      <a:pt x="14916" y="450"/>
                      <a:pt x="9832" y="31"/>
                    </a:cubicBezTo>
                    <a:cubicBezTo>
                      <a:pt x="4808" y="-387"/>
                      <a:pt x="382" y="3440"/>
                      <a:pt x="24" y="8524"/>
                    </a:cubicBezTo>
                    <a:cubicBezTo>
                      <a:pt x="-335" y="13607"/>
                      <a:pt x="3433" y="18033"/>
                      <a:pt x="8457" y="18452"/>
                    </a:cubicBezTo>
                    <a:cubicBezTo>
                      <a:pt x="13600" y="18811"/>
                      <a:pt x="17966" y="15043"/>
                      <a:pt x="18325" y="9959"/>
                    </a:cubicBezTo>
                    <a:close/>
                  </a:path>
                </a:pathLst>
              </a:custGeom>
              <a:grpFill/>
              <a:ln w="5978" cap="flat">
                <a:noFill/>
                <a:prstDash val="solid"/>
                <a:miter/>
              </a:ln>
            </p:spPr>
            <p:txBody>
              <a:bodyPr rtlCol="0" anchor="ctr"/>
              <a:lstStyle/>
              <a:p>
                <a:endParaRPr lang="en-GB"/>
              </a:p>
            </p:txBody>
          </p:sp>
        </p:grpSp>
        <p:grpSp>
          <p:nvGrpSpPr>
            <p:cNvPr id="857" name="Graphic 3">
              <a:extLst>
                <a:ext uri="{FF2B5EF4-FFF2-40B4-BE49-F238E27FC236}">
                  <a16:creationId xmlns:a16="http://schemas.microsoft.com/office/drawing/2014/main" id="{E0FD5C01-92A1-4EE7-B650-5F76F68AE199}"/>
                </a:ext>
              </a:extLst>
            </p:cNvPr>
            <p:cNvGrpSpPr/>
            <p:nvPr/>
          </p:nvGrpSpPr>
          <p:grpSpPr>
            <a:xfrm>
              <a:off x="5963750" y="5451103"/>
              <a:ext cx="26087" cy="230807"/>
              <a:chOff x="5963750" y="5451103"/>
              <a:chExt cx="26087" cy="230807"/>
            </a:xfrm>
            <a:grpFill/>
          </p:grpSpPr>
          <p:sp>
            <p:nvSpPr>
              <p:cNvPr id="2827" name="Vrije vorm: vorm 2826">
                <a:extLst>
                  <a:ext uri="{FF2B5EF4-FFF2-40B4-BE49-F238E27FC236}">
                    <a16:creationId xmlns:a16="http://schemas.microsoft.com/office/drawing/2014/main" id="{CB24A5CD-2514-4BB1-9633-3BE963BAC3AA}"/>
                  </a:ext>
                </a:extLst>
              </p:cNvPr>
              <p:cNvSpPr/>
              <p:nvPr/>
            </p:nvSpPr>
            <p:spPr>
              <a:xfrm>
                <a:off x="5971411" y="5459781"/>
                <a:ext cx="10825" cy="213451"/>
              </a:xfrm>
              <a:custGeom>
                <a:avLst/>
                <a:gdLst>
                  <a:gd name="connsiteX0" fmla="*/ 10825 w 10825"/>
                  <a:gd name="connsiteY0" fmla="*/ 120 h 213451"/>
                  <a:gd name="connsiteX1" fmla="*/ 3050 w 10825"/>
                  <a:gd name="connsiteY1" fmla="*/ 213452 h 213451"/>
                  <a:gd name="connsiteX2" fmla="*/ 0 w 10825"/>
                  <a:gd name="connsiteY2" fmla="*/ 213332 h 213451"/>
                  <a:gd name="connsiteX3" fmla="*/ 7775 w 10825"/>
                  <a:gd name="connsiteY3" fmla="*/ 0 h 213451"/>
                </a:gdLst>
                <a:ahLst/>
                <a:cxnLst>
                  <a:cxn ang="0">
                    <a:pos x="connsiteX0" y="connsiteY0"/>
                  </a:cxn>
                  <a:cxn ang="0">
                    <a:pos x="connsiteX1" y="connsiteY1"/>
                  </a:cxn>
                  <a:cxn ang="0">
                    <a:pos x="connsiteX2" y="connsiteY2"/>
                  </a:cxn>
                  <a:cxn ang="0">
                    <a:pos x="connsiteX3" y="connsiteY3"/>
                  </a:cxn>
                </a:cxnLst>
                <a:rect l="l" t="t" r="r" b="b"/>
                <a:pathLst>
                  <a:path w="10825" h="213451">
                    <a:moveTo>
                      <a:pt x="10825" y="120"/>
                    </a:moveTo>
                    <a:lnTo>
                      <a:pt x="3050" y="213452"/>
                    </a:lnTo>
                    <a:lnTo>
                      <a:pt x="0" y="213332"/>
                    </a:lnTo>
                    <a:lnTo>
                      <a:pt x="7775" y="0"/>
                    </a:lnTo>
                    <a:close/>
                  </a:path>
                </a:pathLst>
              </a:custGeom>
              <a:grpFill/>
              <a:ln w="5978" cap="flat">
                <a:noFill/>
                <a:prstDash val="solid"/>
                <a:miter/>
              </a:ln>
            </p:spPr>
            <p:txBody>
              <a:bodyPr rtlCol="0" anchor="ctr"/>
              <a:lstStyle/>
              <a:p>
                <a:endParaRPr lang="en-GB"/>
              </a:p>
            </p:txBody>
          </p:sp>
          <p:sp>
            <p:nvSpPr>
              <p:cNvPr id="2828" name="Vrije vorm: vorm 2827">
                <a:extLst>
                  <a:ext uri="{FF2B5EF4-FFF2-40B4-BE49-F238E27FC236}">
                    <a16:creationId xmlns:a16="http://schemas.microsoft.com/office/drawing/2014/main" id="{5451845A-B796-434D-ABCF-701791F930F5}"/>
                  </a:ext>
                </a:extLst>
              </p:cNvPr>
              <p:cNvSpPr/>
              <p:nvPr/>
            </p:nvSpPr>
            <p:spPr>
              <a:xfrm>
                <a:off x="5963750" y="5663478"/>
                <a:ext cx="18372" cy="18432"/>
              </a:xfrm>
              <a:custGeom>
                <a:avLst/>
                <a:gdLst>
                  <a:gd name="connsiteX0" fmla="*/ 18367 w 18372"/>
                  <a:gd name="connsiteY0" fmla="*/ 9575 h 18432"/>
                  <a:gd name="connsiteX1" fmla="*/ 8857 w 18372"/>
                  <a:gd name="connsiteY1" fmla="*/ 18427 h 18432"/>
                  <a:gd name="connsiteX2" fmla="*/ 6 w 18372"/>
                  <a:gd name="connsiteY2" fmla="*/ 8857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7" y="14659"/>
                      <a:pt x="13941" y="18606"/>
                      <a:pt x="8857" y="18427"/>
                    </a:cubicBezTo>
                    <a:cubicBezTo>
                      <a:pt x="3774" y="18247"/>
                      <a:pt x="-174" y="13941"/>
                      <a:pt x="6" y="8857"/>
                    </a:cubicBezTo>
                    <a:cubicBezTo>
                      <a:pt x="185" y="3774"/>
                      <a:pt x="4432" y="-173"/>
                      <a:pt x="9515" y="6"/>
                    </a:cubicBezTo>
                    <a:cubicBezTo>
                      <a:pt x="14599" y="245"/>
                      <a:pt x="18546" y="4491"/>
                      <a:pt x="18367" y="9575"/>
                    </a:cubicBezTo>
                    <a:close/>
                  </a:path>
                </a:pathLst>
              </a:custGeom>
              <a:grpFill/>
              <a:ln w="5978" cap="flat">
                <a:noFill/>
                <a:prstDash val="solid"/>
                <a:miter/>
              </a:ln>
            </p:spPr>
            <p:txBody>
              <a:bodyPr rtlCol="0" anchor="ctr"/>
              <a:lstStyle/>
              <a:p>
                <a:endParaRPr lang="en-GB"/>
              </a:p>
            </p:txBody>
          </p:sp>
          <p:sp>
            <p:nvSpPr>
              <p:cNvPr id="2829" name="Vrije vorm: vorm 2828">
                <a:extLst>
                  <a:ext uri="{FF2B5EF4-FFF2-40B4-BE49-F238E27FC236}">
                    <a16:creationId xmlns:a16="http://schemas.microsoft.com/office/drawing/2014/main" id="{AED9D7A5-1EC8-4620-8B2A-1B43442BD685}"/>
                  </a:ext>
                </a:extLst>
              </p:cNvPr>
              <p:cNvSpPr/>
              <p:nvPr/>
            </p:nvSpPr>
            <p:spPr>
              <a:xfrm>
                <a:off x="5971465" y="5451103"/>
                <a:ext cx="18372" cy="18432"/>
              </a:xfrm>
              <a:custGeom>
                <a:avLst/>
                <a:gdLst>
                  <a:gd name="connsiteX0" fmla="*/ 18367 w 18372"/>
                  <a:gd name="connsiteY0" fmla="*/ 9575 h 18432"/>
                  <a:gd name="connsiteX1" fmla="*/ 9515 w 18372"/>
                  <a:gd name="connsiteY1" fmla="*/ 6 h 18432"/>
                  <a:gd name="connsiteX2" fmla="*/ 6 w 18372"/>
                  <a:gd name="connsiteY2" fmla="*/ 8858 h 18432"/>
                  <a:gd name="connsiteX3" fmla="*/ 8857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3"/>
                      <a:pt x="185" y="3774"/>
                      <a:pt x="6" y="8858"/>
                    </a:cubicBezTo>
                    <a:cubicBezTo>
                      <a:pt x="-174" y="13941"/>
                      <a:pt x="3774" y="18247"/>
                      <a:pt x="8857" y="18427"/>
                    </a:cubicBezTo>
                    <a:cubicBezTo>
                      <a:pt x="13941" y="18606"/>
                      <a:pt x="18187" y="14659"/>
                      <a:pt x="18367" y="9575"/>
                    </a:cubicBezTo>
                    <a:close/>
                  </a:path>
                </a:pathLst>
              </a:custGeom>
              <a:grpFill/>
              <a:ln w="5978" cap="flat">
                <a:noFill/>
                <a:prstDash val="solid"/>
                <a:miter/>
              </a:ln>
            </p:spPr>
            <p:txBody>
              <a:bodyPr rtlCol="0" anchor="ctr"/>
              <a:lstStyle/>
              <a:p>
                <a:endParaRPr lang="en-GB"/>
              </a:p>
            </p:txBody>
          </p:sp>
        </p:grpSp>
        <p:grpSp>
          <p:nvGrpSpPr>
            <p:cNvPr id="858" name="Graphic 3">
              <a:extLst>
                <a:ext uri="{FF2B5EF4-FFF2-40B4-BE49-F238E27FC236}">
                  <a16:creationId xmlns:a16="http://schemas.microsoft.com/office/drawing/2014/main" id="{DABF9379-6238-44E3-8140-F65ABE8349F4}"/>
                </a:ext>
              </a:extLst>
            </p:cNvPr>
            <p:cNvGrpSpPr/>
            <p:nvPr/>
          </p:nvGrpSpPr>
          <p:grpSpPr>
            <a:xfrm>
              <a:off x="4703793" y="1972380"/>
              <a:ext cx="180626" cy="235127"/>
              <a:chOff x="4703793" y="1972380"/>
              <a:chExt cx="180626" cy="235127"/>
            </a:xfrm>
            <a:grpFill/>
          </p:grpSpPr>
          <p:sp>
            <p:nvSpPr>
              <p:cNvPr id="2824" name="Vrije vorm: vorm 2823">
                <a:extLst>
                  <a:ext uri="{FF2B5EF4-FFF2-40B4-BE49-F238E27FC236}">
                    <a16:creationId xmlns:a16="http://schemas.microsoft.com/office/drawing/2014/main" id="{D8805D9D-B816-43A7-9D24-174A3CD5E58A}"/>
                  </a:ext>
                </a:extLst>
              </p:cNvPr>
              <p:cNvSpPr/>
              <p:nvPr/>
            </p:nvSpPr>
            <p:spPr>
              <a:xfrm>
                <a:off x="4711513" y="1980317"/>
                <a:ext cx="165247" cy="219253"/>
              </a:xfrm>
              <a:custGeom>
                <a:avLst/>
                <a:gdLst>
                  <a:gd name="connsiteX0" fmla="*/ 165247 w 165247"/>
                  <a:gd name="connsiteY0" fmla="*/ 217399 h 219253"/>
                  <a:gd name="connsiteX1" fmla="*/ 162795 w 165247"/>
                  <a:gd name="connsiteY1" fmla="*/ 219253 h 219253"/>
                  <a:gd name="connsiteX2" fmla="*/ 0 w 165247"/>
                  <a:gd name="connsiteY2" fmla="*/ 1854 h 219253"/>
                  <a:gd name="connsiteX3" fmla="*/ 2452 w 165247"/>
                  <a:gd name="connsiteY3" fmla="*/ 0 h 219253"/>
                </a:gdLst>
                <a:ahLst/>
                <a:cxnLst>
                  <a:cxn ang="0">
                    <a:pos x="connsiteX0" y="connsiteY0"/>
                  </a:cxn>
                  <a:cxn ang="0">
                    <a:pos x="connsiteX1" y="connsiteY1"/>
                  </a:cxn>
                  <a:cxn ang="0">
                    <a:pos x="connsiteX2" y="connsiteY2"/>
                  </a:cxn>
                  <a:cxn ang="0">
                    <a:pos x="connsiteX3" y="connsiteY3"/>
                  </a:cxn>
                </a:cxnLst>
                <a:rect l="l" t="t" r="r" b="b"/>
                <a:pathLst>
                  <a:path w="165247" h="219253">
                    <a:moveTo>
                      <a:pt x="165247" y="217399"/>
                    </a:moveTo>
                    <a:lnTo>
                      <a:pt x="162795" y="219253"/>
                    </a:lnTo>
                    <a:lnTo>
                      <a:pt x="0" y="1854"/>
                    </a:lnTo>
                    <a:lnTo>
                      <a:pt x="2452" y="0"/>
                    </a:lnTo>
                    <a:close/>
                  </a:path>
                </a:pathLst>
              </a:custGeom>
              <a:grpFill/>
              <a:ln w="5978" cap="flat">
                <a:noFill/>
                <a:prstDash val="solid"/>
                <a:miter/>
              </a:ln>
            </p:spPr>
            <p:txBody>
              <a:bodyPr rtlCol="0" anchor="ctr"/>
              <a:lstStyle/>
              <a:p>
                <a:endParaRPr lang="en-GB"/>
              </a:p>
            </p:txBody>
          </p:sp>
          <p:sp>
            <p:nvSpPr>
              <p:cNvPr id="2825" name="Vrije vorm: vorm 2824">
                <a:extLst>
                  <a:ext uri="{FF2B5EF4-FFF2-40B4-BE49-F238E27FC236}">
                    <a16:creationId xmlns:a16="http://schemas.microsoft.com/office/drawing/2014/main" id="{1E73E13F-42CD-4FA6-839E-5A49D38D9F59}"/>
                  </a:ext>
                </a:extLst>
              </p:cNvPr>
              <p:cNvSpPr/>
              <p:nvPr/>
            </p:nvSpPr>
            <p:spPr>
              <a:xfrm>
                <a:off x="4866050" y="2189061"/>
                <a:ext cx="18369" cy="18445"/>
              </a:xfrm>
              <a:custGeom>
                <a:avLst/>
                <a:gdLst>
                  <a:gd name="connsiteX0" fmla="*/ 16511 w 18369"/>
                  <a:gd name="connsiteY0" fmla="*/ 3691 h 18445"/>
                  <a:gd name="connsiteX1" fmla="*/ 14717 w 18369"/>
                  <a:gd name="connsiteY1" fmla="*/ 16609 h 18445"/>
                  <a:gd name="connsiteX2" fmla="*/ 1859 w 18369"/>
                  <a:gd name="connsiteY2" fmla="*/ 14755 h 18445"/>
                  <a:gd name="connsiteX3" fmla="*/ 3653 w 18369"/>
                  <a:gd name="connsiteY3" fmla="*/ 1837 h 18445"/>
                  <a:gd name="connsiteX4" fmla="*/ 16511 w 18369"/>
                  <a:gd name="connsiteY4" fmla="*/ 369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5">
                    <a:moveTo>
                      <a:pt x="16511" y="3691"/>
                    </a:moveTo>
                    <a:cubicBezTo>
                      <a:pt x="19562" y="7758"/>
                      <a:pt x="18784" y="13559"/>
                      <a:pt x="14717" y="16609"/>
                    </a:cubicBezTo>
                    <a:cubicBezTo>
                      <a:pt x="10650" y="19659"/>
                      <a:pt x="4909" y="18822"/>
                      <a:pt x="1859" y="14755"/>
                    </a:cubicBezTo>
                    <a:cubicBezTo>
                      <a:pt x="-1192" y="10688"/>
                      <a:pt x="-414" y="4887"/>
                      <a:pt x="3653" y="1837"/>
                    </a:cubicBezTo>
                    <a:cubicBezTo>
                      <a:pt x="7720" y="-1213"/>
                      <a:pt x="13461" y="-376"/>
                      <a:pt x="16511" y="3691"/>
                    </a:cubicBezTo>
                    <a:close/>
                  </a:path>
                </a:pathLst>
              </a:custGeom>
              <a:grpFill/>
              <a:ln w="5978" cap="flat">
                <a:noFill/>
                <a:prstDash val="solid"/>
                <a:miter/>
              </a:ln>
            </p:spPr>
            <p:txBody>
              <a:bodyPr rtlCol="0" anchor="ctr"/>
              <a:lstStyle/>
              <a:p>
                <a:endParaRPr lang="en-GB"/>
              </a:p>
            </p:txBody>
          </p:sp>
          <p:sp>
            <p:nvSpPr>
              <p:cNvPr id="2826" name="Vrije vorm: vorm 2825">
                <a:extLst>
                  <a:ext uri="{FF2B5EF4-FFF2-40B4-BE49-F238E27FC236}">
                    <a16:creationId xmlns:a16="http://schemas.microsoft.com/office/drawing/2014/main" id="{D689FAB5-36B5-404E-BA59-B1125DA3854B}"/>
                  </a:ext>
                </a:extLst>
              </p:cNvPr>
              <p:cNvSpPr/>
              <p:nvPr/>
            </p:nvSpPr>
            <p:spPr>
              <a:xfrm>
                <a:off x="4703793" y="1972380"/>
                <a:ext cx="18369" cy="18445"/>
              </a:xfrm>
              <a:custGeom>
                <a:avLst/>
                <a:gdLst>
                  <a:gd name="connsiteX0" fmla="*/ 16511 w 18369"/>
                  <a:gd name="connsiteY0" fmla="*/ 3691 h 18445"/>
                  <a:gd name="connsiteX1" fmla="*/ 3653 w 18369"/>
                  <a:gd name="connsiteY1" fmla="*/ 1837 h 18445"/>
                  <a:gd name="connsiteX2" fmla="*/ 1858 w 18369"/>
                  <a:gd name="connsiteY2" fmla="*/ 14755 h 18445"/>
                  <a:gd name="connsiteX3" fmla="*/ 14717 w 18369"/>
                  <a:gd name="connsiteY3" fmla="*/ 16609 h 18445"/>
                  <a:gd name="connsiteX4" fmla="*/ 16511 w 18369"/>
                  <a:gd name="connsiteY4" fmla="*/ 369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5">
                    <a:moveTo>
                      <a:pt x="16511" y="3691"/>
                    </a:moveTo>
                    <a:cubicBezTo>
                      <a:pt x="13461" y="-376"/>
                      <a:pt x="7720" y="-1213"/>
                      <a:pt x="3653" y="1837"/>
                    </a:cubicBezTo>
                    <a:cubicBezTo>
                      <a:pt x="-414" y="4887"/>
                      <a:pt x="-1191" y="10688"/>
                      <a:pt x="1858" y="14755"/>
                    </a:cubicBezTo>
                    <a:cubicBezTo>
                      <a:pt x="4909" y="18822"/>
                      <a:pt x="10650" y="19659"/>
                      <a:pt x="14717" y="16609"/>
                    </a:cubicBezTo>
                    <a:cubicBezTo>
                      <a:pt x="18784" y="13559"/>
                      <a:pt x="19561" y="7758"/>
                      <a:pt x="16511" y="3691"/>
                    </a:cubicBezTo>
                    <a:close/>
                  </a:path>
                </a:pathLst>
              </a:custGeom>
              <a:grpFill/>
              <a:ln w="5978" cap="flat">
                <a:noFill/>
                <a:prstDash val="solid"/>
                <a:miter/>
              </a:ln>
            </p:spPr>
            <p:txBody>
              <a:bodyPr rtlCol="0" anchor="ctr"/>
              <a:lstStyle/>
              <a:p>
                <a:endParaRPr lang="en-GB"/>
              </a:p>
            </p:txBody>
          </p:sp>
        </p:grpSp>
        <p:grpSp>
          <p:nvGrpSpPr>
            <p:cNvPr id="859" name="Graphic 3">
              <a:extLst>
                <a:ext uri="{FF2B5EF4-FFF2-40B4-BE49-F238E27FC236}">
                  <a16:creationId xmlns:a16="http://schemas.microsoft.com/office/drawing/2014/main" id="{21CA9E90-3BD9-4303-8980-1B30BDC5D8BD}"/>
                </a:ext>
              </a:extLst>
            </p:cNvPr>
            <p:cNvGrpSpPr/>
            <p:nvPr/>
          </p:nvGrpSpPr>
          <p:grpSpPr>
            <a:xfrm>
              <a:off x="4735936" y="2056481"/>
              <a:ext cx="147582" cy="151755"/>
              <a:chOff x="4735936" y="2056481"/>
              <a:chExt cx="147582" cy="151755"/>
            </a:xfrm>
            <a:grpFill/>
          </p:grpSpPr>
          <p:sp>
            <p:nvSpPr>
              <p:cNvPr id="2821" name="Vrije vorm: vorm 2820">
                <a:extLst>
                  <a:ext uri="{FF2B5EF4-FFF2-40B4-BE49-F238E27FC236}">
                    <a16:creationId xmlns:a16="http://schemas.microsoft.com/office/drawing/2014/main" id="{F0798FF1-D041-4708-8B09-506777EE8FA9}"/>
                  </a:ext>
                </a:extLst>
              </p:cNvPr>
              <p:cNvSpPr/>
              <p:nvPr/>
            </p:nvSpPr>
            <p:spPr>
              <a:xfrm>
                <a:off x="4743689" y="2064286"/>
                <a:ext cx="132113" cy="136121"/>
              </a:xfrm>
              <a:custGeom>
                <a:avLst/>
                <a:gdLst>
                  <a:gd name="connsiteX0" fmla="*/ 132114 w 132113"/>
                  <a:gd name="connsiteY0" fmla="*/ 134028 h 136121"/>
                  <a:gd name="connsiteX1" fmla="*/ 129901 w 132113"/>
                  <a:gd name="connsiteY1" fmla="*/ 136121 h 136121"/>
                  <a:gd name="connsiteX2" fmla="*/ 0 w 132113"/>
                  <a:gd name="connsiteY2" fmla="*/ 2153 h 136121"/>
                  <a:gd name="connsiteX3" fmla="*/ 2213 w 132113"/>
                  <a:gd name="connsiteY3" fmla="*/ 0 h 136121"/>
                </a:gdLst>
                <a:ahLst/>
                <a:cxnLst>
                  <a:cxn ang="0">
                    <a:pos x="connsiteX0" y="connsiteY0"/>
                  </a:cxn>
                  <a:cxn ang="0">
                    <a:pos x="connsiteX1" y="connsiteY1"/>
                  </a:cxn>
                  <a:cxn ang="0">
                    <a:pos x="connsiteX2" y="connsiteY2"/>
                  </a:cxn>
                  <a:cxn ang="0">
                    <a:pos x="connsiteX3" y="connsiteY3"/>
                  </a:cxn>
                </a:cxnLst>
                <a:rect l="l" t="t" r="r" b="b"/>
                <a:pathLst>
                  <a:path w="132113" h="136121">
                    <a:moveTo>
                      <a:pt x="132114" y="134028"/>
                    </a:moveTo>
                    <a:lnTo>
                      <a:pt x="129901" y="136121"/>
                    </a:lnTo>
                    <a:lnTo>
                      <a:pt x="0" y="2153"/>
                    </a:lnTo>
                    <a:lnTo>
                      <a:pt x="2213" y="0"/>
                    </a:lnTo>
                    <a:close/>
                  </a:path>
                </a:pathLst>
              </a:custGeom>
              <a:grpFill/>
              <a:ln w="5978" cap="flat">
                <a:noFill/>
                <a:prstDash val="solid"/>
                <a:miter/>
              </a:ln>
            </p:spPr>
            <p:txBody>
              <a:bodyPr rtlCol="0" anchor="ctr"/>
              <a:lstStyle/>
              <a:p>
                <a:endParaRPr lang="en-GB"/>
              </a:p>
            </p:txBody>
          </p:sp>
          <p:sp>
            <p:nvSpPr>
              <p:cNvPr id="2822" name="Vrije vorm: vorm 2821">
                <a:extLst>
                  <a:ext uri="{FF2B5EF4-FFF2-40B4-BE49-F238E27FC236}">
                    <a16:creationId xmlns:a16="http://schemas.microsoft.com/office/drawing/2014/main" id="{83E61743-6329-4D4D-9674-77DC9BE6DBE0}"/>
                  </a:ext>
                </a:extLst>
              </p:cNvPr>
              <p:cNvSpPr/>
              <p:nvPr/>
            </p:nvSpPr>
            <p:spPr>
              <a:xfrm>
                <a:off x="4735936" y="2056481"/>
                <a:ext cx="18316" cy="18444"/>
              </a:xfrm>
              <a:custGeom>
                <a:avLst/>
                <a:gdLst>
                  <a:gd name="connsiteX0" fmla="*/ 2609 w 18316"/>
                  <a:gd name="connsiteY0" fmla="*/ 15640 h 18444"/>
                  <a:gd name="connsiteX1" fmla="*/ 2729 w 18316"/>
                  <a:gd name="connsiteY1" fmla="*/ 2602 h 18444"/>
                  <a:gd name="connsiteX2" fmla="*/ 15707 w 18316"/>
                  <a:gd name="connsiteY2" fmla="*/ 2782 h 18444"/>
                  <a:gd name="connsiteX3" fmla="*/ 15588 w 18316"/>
                  <a:gd name="connsiteY3" fmla="*/ 15820 h 18444"/>
                  <a:gd name="connsiteX4" fmla="*/ 2609 w 18316"/>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2609" y="15640"/>
                    </a:moveTo>
                    <a:cubicBezTo>
                      <a:pt x="-919" y="11992"/>
                      <a:pt x="-859" y="6131"/>
                      <a:pt x="2729" y="2602"/>
                    </a:cubicBezTo>
                    <a:cubicBezTo>
                      <a:pt x="6377" y="-926"/>
                      <a:pt x="12179" y="-866"/>
                      <a:pt x="15707" y="2782"/>
                    </a:cubicBezTo>
                    <a:cubicBezTo>
                      <a:pt x="19236" y="6430"/>
                      <a:pt x="19176" y="12291"/>
                      <a:pt x="15588" y="15820"/>
                    </a:cubicBezTo>
                    <a:cubicBezTo>
                      <a:pt x="11999" y="19408"/>
                      <a:pt x="6198" y="19289"/>
                      <a:pt x="2609" y="15640"/>
                    </a:cubicBezTo>
                    <a:close/>
                  </a:path>
                </a:pathLst>
              </a:custGeom>
              <a:grpFill/>
              <a:ln w="5978" cap="flat">
                <a:noFill/>
                <a:prstDash val="solid"/>
                <a:miter/>
              </a:ln>
            </p:spPr>
            <p:txBody>
              <a:bodyPr rtlCol="0" anchor="ctr"/>
              <a:lstStyle/>
              <a:p>
                <a:endParaRPr lang="en-GB"/>
              </a:p>
            </p:txBody>
          </p:sp>
          <p:sp>
            <p:nvSpPr>
              <p:cNvPr id="2823" name="Vrije vorm: vorm 2822">
                <a:extLst>
                  <a:ext uri="{FF2B5EF4-FFF2-40B4-BE49-F238E27FC236}">
                    <a16:creationId xmlns:a16="http://schemas.microsoft.com/office/drawing/2014/main" id="{26AF2B12-2D35-4B2F-815D-9AA853510EBB}"/>
                  </a:ext>
                </a:extLst>
              </p:cNvPr>
              <p:cNvSpPr/>
              <p:nvPr/>
            </p:nvSpPr>
            <p:spPr>
              <a:xfrm>
                <a:off x="4865179" y="2189791"/>
                <a:ext cx="18339" cy="18444"/>
              </a:xfrm>
              <a:custGeom>
                <a:avLst/>
                <a:gdLst>
                  <a:gd name="connsiteX0" fmla="*/ 2610 w 18339"/>
                  <a:gd name="connsiteY0" fmla="*/ 15640 h 18444"/>
                  <a:gd name="connsiteX1" fmla="*/ 15588 w 18339"/>
                  <a:gd name="connsiteY1" fmla="*/ 15820 h 18444"/>
                  <a:gd name="connsiteX2" fmla="*/ 15707 w 18339"/>
                  <a:gd name="connsiteY2" fmla="*/ 2782 h 18444"/>
                  <a:gd name="connsiteX3" fmla="*/ 2729 w 18339"/>
                  <a:gd name="connsiteY3" fmla="*/ 2602 h 18444"/>
                  <a:gd name="connsiteX4" fmla="*/ 2610 w 18339"/>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2610" y="15640"/>
                    </a:moveTo>
                    <a:cubicBezTo>
                      <a:pt x="6138" y="19289"/>
                      <a:pt x="11940" y="19408"/>
                      <a:pt x="15588" y="15820"/>
                    </a:cubicBezTo>
                    <a:cubicBezTo>
                      <a:pt x="19176" y="12291"/>
                      <a:pt x="19296" y="6430"/>
                      <a:pt x="15707" y="2782"/>
                    </a:cubicBezTo>
                    <a:cubicBezTo>
                      <a:pt x="12179" y="-866"/>
                      <a:pt x="6378" y="-926"/>
                      <a:pt x="2729" y="2602"/>
                    </a:cubicBezTo>
                    <a:cubicBezTo>
                      <a:pt x="-859" y="6191"/>
                      <a:pt x="-919" y="11992"/>
                      <a:pt x="2610" y="15640"/>
                    </a:cubicBezTo>
                    <a:close/>
                  </a:path>
                </a:pathLst>
              </a:custGeom>
              <a:grpFill/>
              <a:ln w="5978" cap="flat">
                <a:noFill/>
                <a:prstDash val="solid"/>
                <a:miter/>
              </a:ln>
            </p:spPr>
            <p:txBody>
              <a:bodyPr rtlCol="0" anchor="ctr"/>
              <a:lstStyle/>
              <a:p>
                <a:endParaRPr lang="en-GB"/>
              </a:p>
            </p:txBody>
          </p:sp>
        </p:grpSp>
        <p:grpSp>
          <p:nvGrpSpPr>
            <p:cNvPr id="860" name="Graphic 3">
              <a:extLst>
                <a:ext uri="{FF2B5EF4-FFF2-40B4-BE49-F238E27FC236}">
                  <a16:creationId xmlns:a16="http://schemas.microsoft.com/office/drawing/2014/main" id="{18629757-B8B3-4DBF-A0C5-BBDEEE9D3DA3}"/>
                </a:ext>
              </a:extLst>
            </p:cNvPr>
            <p:cNvGrpSpPr/>
            <p:nvPr/>
          </p:nvGrpSpPr>
          <p:grpSpPr>
            <a:xfrm>
              <a:off x="5840190" y="5166123"/>
              <a:ext cx="28705" cy="112387"/>
              <a:chOff x="5840190" y="5166123"/>
              <a:chExt cx="28705" cy="112387"/>
            </a:xfrm>
            <a:grpFill/>
          </p:grpSpPr>
          <p:sp>
            <p:nvSpPr>
              <p:cNvPr id="2818" name="Vrije vorm: vorm 2817">
                <a:extLst>
                  <a:ext uri="{FF2B5EF4-FFF2-40B4-BE49-F238E27FC236}">
                    <a16:creationId xmlns:a16="http://schemas.microsoft.com/office/drawing/2014/main" id="{C033FA48-540F-4274-9CA8-0A1CD669AAD0}"/>
                  </a:ext>
                </a:extLst>
              </p:cNvPr>
              <p:cNvSpPr/>
              <p:nvPr/>
            </p:nvSpPr>
            <p:spPr>
              <a:xfrm>
                <a:off x="5847730" y="5174680"/>
                <a:ext cx="13576" cy="95272"/>
              </a:xfrm>
              <a:custGeom>
                <a:avLst/>
                <a:gdLst>
                  <a:gd name="connsiteX0" fmla="*/ 13576 w 13576"/>
                  <a:gd name="connsiteY0" fmla="*/ 359 h 95272"/>
                  <a:gd name="connsiteX1" fmla="*/ 3050 w 13576"/>
                  <a:gd name="connsiteY1" fmla="*/ 95273 h 95272"/>
                  <a:gd name="connsiteX2" fmla="*/ 0 w 13576"/>
                  <a:gd name="connsiteY2" fmla="*/ 94914 h 95272"/>
                  <a:gd name="connsiteX3" fmla="*/ 10586 w 13576"/>
                  <a:gd name="connsiteY3" fmla="*/ 0 h 95272"/>
                </a:gdLst>
                <a:ahLst/>
                <a:cxnLst>
                  <a:cxn ang="0">
                    <a:pos x="connsiteX0" y="connsiteY0"/>
                  </a:cxn>
                  <a:cxn ang="0">
                    <a:pos x="connsiteX1" y="connsiteY1"/>
                  </a:cxn>
                  <a:cxn ang="0">
                    <a:pos x="connsiteX2" y="connsiteY2"/>
                  </a:cxn>
                  <a:cxn ang="0">
                    <a:pos x="connsiteX3" y="connsiteY3"/>
                  </a:cxn>
                </a:cxnLst>
                <a:rect l="l" t="t" r="r" b="b"/>
                <a:pathLst>
                  <a:path w="13576" h="95272">
                    <a:moveTo>
                      <a:pt x="13576" y="359"/>
                    </a:moveTo>
                    <a:lnTo>
                      <a:pt x="3050" y="95273"/>
                    </a:lnTo>
                    <a:lnTo>
                      <a:pt x="0" y="94914"/>
                    </a:lnTo>
                    <a:lnTo>
                      <a:pt x="10586" y="0"/>
                    </a:lnTo>
                    <a:close/>
                  </a:path>
                </a:pathLst>
              </a:custGeom>
              <a:grpFill/>
              <a:ln w="5978" cap="flat">
                <a:noFill/>
                <a:prstDash val="solid"/>
                <a:miter/>
              </a:ln>
            </p:spPr>
            <p:txBody>
              <a:bodyPr rtlCol="0" anchor="ctr"/>
              <a:lstStyle/>
              <a:p>
                <a:endParaRPr lang="en-GB"/>
              </a:p>
            </p:txBody>
          </p:sp>
          <p:sp>
            <p:nvSpPr>
              <p:cNvPr id="2819" name="Vrije vorm: vorm 2818">
                <a:extLst>
                  <a:ext uri="{FF2B5EF4-FFF2-40B4-BE49-F238E27FC236}">
                    <a16:creationId xmlns:a16="http://schemas.microsoft.com/office/drawing/2014/main" id="{6D221E8E-7A28-4269-8832-19725B00642C}"/>
                  </a:ext>
                </a:extLst>
              </p:cNvPr>
              <p:cNvSpPr/>
              <p:nvPr/>
            </p:nvSpPr>
            <p:spPr>
              <a:xfrm>
                <a:off x="5840190" y="5260079"/>
                <a:ext cx="18298" cy="18431"/>
              </a:xfrm>
              <a:custGeom>
                <a:avLst/>
                <a:gdLst>
                  <a:gd name="connsiteX0" fmla="*/ 18245 w 18298"/>
                  <a:gd name="connsiteY0" fmla="*/ 10292 h 18431"/>
                  <a:gd name="connsiteX1" fmla="*/ 8138 w 18298"/>
                  <a:gd name="connsiteY1" fmla="*/ 18366 h 18431"/>
                  <a:gd name="connsiteX2" fmla="*/ 64 w 18298"/>
                  <a:gd name="connsiteY2" fmla="*/ 8139 h 18431"/>
                  <a:gd name="connsiteX3" fmla="*/ 10172 w 18298"/>
                  <a:gd name="connsiteY3" fmla="*/ 65 h 18431"/>
                  <a:gd name="connsiteX4" fmla="*/ 18245 w 18298"/>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1">
                    <a:moveTo>
                      <a:pt x="18245" y="10292"/>
                    </a:moveTo>
                    <a:cubicBezTo>
                      <a:pt x="17707" y="15376"/>
                      <a:pt x="13162" y="18964"/>
                      <a:pt x="8138" y="18366"/>
                    </a:cubicBezTo>
                    <a:cubicBezTo>
                      <a:pt x="3114" y="17768"/>
                      <a:pt x="-534" y="13223"/>
                      <a:pt x="64" y="8139"/>
                    </a:cubicBezTo>
                    <a:cubicBezTo>
                      <a:pt x="603" y="3055"/>
                      <a:pt x="5148" y="-533"/>
                      <a:pt x="10172" y="65"/>
                    </a:cubicBezTo>
                    <a:cubicBezTo>
                      <a:pt x="15196" y="663"/>
                      <a:pt x="18784" y="5208"/>
                      <a:pt x="18245" y="10292"/>
                    </a:cubicBezTo>
                    <a:close/>
                  </a:path>
                </a:pathLst>
              </a:custGeom>
              <a:grpFill/>
              <a:ln w="5978" cap="flat">
                <a:noFill/>
                <a:prstDash val="solid"/>
                <a:miter/>
              </a:ln>
            </p:spPr>
            <p:txBody>
              <a:bodyPr rtlCol="0" anchor="ctr"/>
              <a:lstStyle/>
              <a:p>
                <a:endParaRPr lang="en-GB"/>
              </a:p>
            </p:txBody>
          </p:sp>
          <p:sp>
            <p:nvSpPr>
              <p:cNvPr id="2820" name="Vrije vorm: vorm 2819">
                <a:extLst>
                  <a:ext uri="{FF2B5EF4-FFF2-40B4-BE49-F238E27FC236}">
                    <a16:creationId xmlns:a16="http://schemas.microsoft.com/office/drawing/2014/main" id="{93587FE6-266B-41FA-A6A3-2D43E320542B}"/>
                  </a:ext>
                </a:extLst>
              </p:cNvPr>
              <p:cNvSpPr/>
              <p:nvPr/>
            </p:nvSpPr>
            <p:spPr>
              <a:xfrm>
                <a:off x="5850607" y="5166123"/>
                <a:ext cx="18288" cy="18429"/>
              </a:xfrm>
              <a:custGeom>
                <a:avLst/>
                <a:gdLst>
                  <a:gd name="connsiteX0" fmla="*/ 18235 w 18288"/>
                  <a:gd name="connsiteY0" fmla="*/ 10291 h 18429"/>
                  <a:gd name="connsiteX1" fmla="*/ 10161 w 18288"/>
                  <a:gd name="connsiteY1" fmla="*/ 64 h 18429"/>
                  <a:gd name="connsiteX2" fmla="*/ 53 w 18288"/>
                  <a:gd name="connsiteY2" fmla="*/ 8138 h 18429"/>
                  <a:gd name="connsiteX3" fmla="*/ 8128 w 18288"/>
                  <a:gd name="connsiteY3" fmla="*/ 18365 h 18429"/>
                  <a:gd name="connsiteX4" fmla="*/ 18235 w 18288"/>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9">
                    <a:moveTo>
                      <a:pt x="18235" y="10291"/>
                    </a:moveTo>
                    <a:cubicBezTo>
                      <a:pt x="18773" y="5208"/>
                      <a:pt x="15185" y="662"/>
                      <a:pt x="10161" y="64"/>
                    </a:cubicBezTo>
                    <a:cubicBezTo>
                      <a:pt x="5137" y="-534"/>
                      <a:pt x="592" y="3114"/>
                      <a:pt x="53" y="8138"/>
                    </a:cubicBezTo>
                    <a:cubicBezTo>
                      <a:pt x="-485" y="13162"/>
                      <a:pt x="3104" y="17767"/>
                      <a:pt x="8128" y="18365"/>
                    </a:cubicBezTo>
                    <a:cubicBezTo>
                      <a:pt x="13151" y="18963"/>
                      <a:pt x="17697" y="15315"/>
                      <a:pt x="18235" y="10291"/>
                    </a:cubicBezTo>
                    <a:close/>
                  </a:path>
                </a:pathLst>
              </a:custGeom>
              <a:grpFill/>
              <a:ln w="5978" cap="flat">
                <a:noFill/>
                <a:prstDash val="solid"/>
                <a:miter/>
              </a:ln>
            </p:spPr>
            <p:txBody>
              <a:bodyPr rtlCol="0" anchor="ctr"/>
              <a:lstStyle/>
              <a:p>
                <a:endParaRPr lang="en-GB"/>
              </a:p>
            </p:txBody>
          </p:sp>
        </p:grpSp>
        <p:grpSp>
          <p:nvGrpSpPr>
            <p:cNvPr id="861" name="Graphic 3">
              <a:extLst>
                <a:ext uri="{FF2B5EF4-FFF2-40B4-BE49-F238E27FC236}">
                  <a16:creationId xmlns:a16="http://schemas.microsoft.com/office/drawing/2014/main" id="{B20C2395-4E67-4E2E-887E-C4DC41ABB7DE}"/>
                </a:ext>
              </a:extLst>
            </p:cNvPr>
            <p:cNvGrpSpPr/>
            <p:nvPr/>
          </p:nvGrpSpPr>
          <p:grpSpPr>
            <a:xfrm>
              <a:off x="5871887" y="5109246"/>
              <a:ext cx="98154" cy="685892"/>
              <a:chOff x="5871887" y="5109246"/>
              <a:chExt cx="98154" cy="685892"/>
            </a:xfrm>
            <a:grpFill/>
          </p:grpSpPr>
          <p:sp>
            <p:nvSpPr>
              <p:cNvPr id="2815" name="Vrije vorm: vorm 2814">
                <a:extLst>
                  <a:ext uri="{FF2B5EF4-FFF2-40B4-BE49-F238E27FC236}">
                    <a16:creationId xmlns:a16="http://schemas.microsoft.com/office/drawing/2014/main" id="{81B35E78-88AA-4F28-8D15-E6C48E796841}"/>
                  </a:ext>
                </a:extLst>
              </p:cNvPr>
              <p:cNvSpPr/>
              <p:nvPr/>
            </p:nvSpPr>
            <p:spPr>
              <a:xfrm>
                <a:off x="5879488" y="5117803"/>
                <a:ext cx="82952" cy="668704"/>
              </a:xfrm>
              <a:custGeom>
                <a:avLst/>
                <a:gdLst>
                  <a:gd name="connsiteX0" fmla="*/ 82953 w 82952"/>
                  <a:gd name="connsiteY0" fmla="*/ 359 h 668704"/>
                  <a:gd name="connsiteX1" fmla="*/ 2990 w 82952"/>
                  <a:gd name="connsiteY1" fmla="*/ 668704 h 668704"/>
                  <a:gd name="connsiteX2" fmla="*/ 0 w 82952"/>
                  <a:gd name="connsiteY2" fmla="*/ 668346 h 668704"/>
                  <a:gd name="connsiteX3" fmla="*/ 79962 w 82952"/>
                  <a:gd name="connsiteY3" fmla="*/ 0 h 668704"/>
                </a:gdLst>
                <a:ahLst/>
                <a:cxnLst>
                  <a:cxn ang="0">
                    <a:pos x="connsiteX0" y="connsiteY0"/>
                  </a:cxn>
                  <a:cxn ang="0">
                    <a:pos x="connsiteX1" y="connsiteY1"/>
                  </a:cxn>
                  <a:cxn ang="0">
                    <a:pos x="connsiteX2" y="connsiteY2"/>
                  </a:cxn>
                  <a:cxn ang="0">
                    <a:pos x="connsiteX3" y="connsiteY3"/>
                  </a:cxn>
                </a:cxnLst>
                <a:rect l="l" t="t" r="r" b="b"/>
                <a:pathLst>
                  <a:path w="82952" h="668704">
                    <a:moveTo>
                      <a:pt x="82953" y="359"/>
                    </a:moveTo>
                    <a:lnTo>
                      <a:pt x="2990" y="668704"/>
                    </a:lnTo>
                    <a:lnTo>
                      <a:pt x="0" y="668346"/>
                    </a:lnTo>
                    <a:lnTo>
                      <a:pt x="79962" y="0"/>
                    </a:lnTo>
                    <a:close/>
                  </a:path>
                </a:pathLst>
              </a:custGeom>
              <a:grpFill/>
              <a:ln w="5978" cap="flat">
                <a:noFill/>
                <a:prstDash val="solid"/>
                <a:miter/>
              </a:ln>
            </p:spPr>
            <p:txBody>
              <a:bodyPr rtlCol="0" anchor="ctr"/>
              <a:lstStyle/>
              <a:p>
                <a:endParaRPr lang="en-GB"/>
              </a:p>
            </p:txBody>
          </p:sp>
          <p:sp>
            <p:nvSpPr>
              <p:cNvPr id="2816" name="Vrije vorm: vorm 2815">
                <a:extLst>
                  <a:ext uri="{FF2B5EF4-FFF2-40B4-BE49-F238E27FC236}">
                    <a16:creationId xmlns:a16="http://schemas.microsoft.com/office/drawing/2014/main" id="{B13F15CD-5547-47A2-980A-79BC2E2BB011}"/>
                  </a:ext>
                </a:extLst>
              </p:cNvPr>
              <p:cNvSpPr/>
              <p:nvPr/>
            </p:nvSpPr>
            <p:spPr>
              <a:xfrm>
                <a:off x="5951730" y="5109246"/>
                <a:ext cx="18311" cy="18431"/>
              </a:xfrm>
              <a:custGeom>
                <a:avLst/>
                <a:gdLst>
                  <a:gd name="connsiteX0" fmla="*/ 65 w 18311"/>
                  <a:gd name="connsiteY0" fmla="*/ 8079 h 18431"/>
                  <a:gd name="connsiteX1" fmla="*/ 10232 w 18311"/>
                  <a:gd name="connsiteY1" fmla="*/ 65 h 18431"/>
                  <a:gd name="connsiteX2" fmla="*/ 18246 w 18311"/>
                  <a:gd name="connsiteY2" fmla="*/ 10352 h 18431"/>
                  <a:gd name="connsiteX3" fmla="*/ 8079 w 18311"/>
                  <a:gd name="connsiteY3" fmla="*/ 18366 h 18431"/>
                  <a:gd name="connsiteX4" fmla="*/ 65 w 18311"/>
                  <a:gd name="connsiteY4" fmla="*/ 807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65" y="8079"/>
                    </a:moveTo>
                    <a:cubicBezTo>
                      <a:pt x="663" y="3056"/>
                      <a:pt x="5208" y="-533"/>
                      <a:pt x="10232" y="65"/>
                    </a:cubicBezTo>
                    <a:cubicBezTo>
                      <a:pt x="15256" y="723"/>
                      <a:pt x="18844" y="5268"/>
                      <a:pt x="18246" y="10352"/>
                    </a:cubicBezTo>
                    <a:cubicBezTo>
                      <a:pt x="17648" y="15376"/>
                      <a:pt x="13103" y="18964"/>
                      <a:pt x="8079" y="18366"/>
                    </a:cubicBezTo>
                    <a:cubicBezTo>
                      <a:pt x="3056" y="17708"/>
                      <a:pt x="-533" y="13103"/>
                      <a:pt x="65" y="8079"/>
                    </a:cubicBezTo>
                    <a:close/>
                  </a:path>
                </a:pathLst>
              </a:custGeom>
              <a:grpFill/>
              <a:ln w="5978" cap="flat">
                <a:noFill/>
                <a:prstDash val="solid"/>
                <a:miter/>
              </a:ln>
            </p:spPr>
            <p:txBody>
              <a:bodyPr rtlCol="0" anchor="ctr"/>
              <a:lstStyle/>
              <a:p>
                <a:endParaRPr lang="en-GB"/>
              </a:p>
            </p:txBody>
          </p:sp>
          <p:sp>
            <p:nvSpPr>
              <p:cNvPr id="2817" name="Vrije vorm: vorm 2816">
                <a:extLst>
                  <a:ext uri="{FF2B5EF4-FFF2-40B4-BE49-F238E27FC236}">
                    <a16:creationId xmlns:a16="http://schemas.microsoft.com/office/drawing/2014/main" id="{A16054DF-EC57-4817-85C5-DBD8ACF2D73D}"/>
                  </a:ext>
                </a:extLst>
              </p:cNvPr>
              <p:cNvSpPr/>
              <p:nvPr/>
            </p:nvSpPr>
            <p:spPr>
              <a:xfrm>
                <a:off x="5871887" y="5776681"/>
                <a:ext cx="18311" cy="18456"/>
              </a:xfrm>
              <a:custGeom>
                <a:avLst/>
                <a:gdLst>
                  <a:gd name="connsiteX0" fmla="*/ 65 w 18311"/>
                  <a:gd name="connsiteY0" fmla="*/ 8092 h 18456"/>
                  <a:gd name="connsiteX1" fmla="*/ 8079 w 18311"/>
                  <a:gd name="connsiteY1" fmla="*/ 18379 h 18456"/>
                  <a:gd name="connsiteX2" fmla="*/ 18247 w 18311"/>
                  <a:gd name="connsiteY2" fmla="*/ 10364 h 18456"/>
                  <a:gd name="connsiteX3" fmla="*/ 10232 w 18311"/>
                  <a:gd name="connsiteY3" fmla="*/ 78 h 18456"/>
                  <a:gd name="connsiteX4" fmla="*/ 65 w 18311"/>
                  <a:gd name="connsiteY4" fmla="*/ 8092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6">
                    <a:moveTo>
                      <a:pt x="65" y="8092"/>
                    </a:moveTo>
                    <a:cubicBezTo>
                      <a:pt x="-533" y="13116"/>
                      <a:pt x="3055" y="17721"/>
                      <a:pt x="8079" y="18379"/>
                    </a:cubicBezTo>
                    <a:cubicBezTo>
                      <a:pt x="13103" y="19037"/>
                      <a:pt x="17648" y="15448"/>
                      <a:pt x="18247" y="10364"/>
                    </a:cubicBezTo>
                    <a:cubicBezTo>
                      <a:pt x="18845" y="5341"/>
                      <a:pt x="15256" y="736"/>
                      <a:pt x="10232" y="78"/>
                    </a:cubicBezTo>
                    <a:cubicBezTo>
                      <a:pt x="5208" y="-580"/>
                      <a:pt x="663" y="3008"/>
                      <a:pt x="65" y="8092"/>
                    </a:cubicBezTo>
                    <a:close/>
                  </a:path>
                </a:pathLst>
              </a:custGeom>
              <a:grpFill/>
              <a:ln w="5978" cap="flat">
                <a:noFill/>
                <a:prstDash val="solid"/>
                <a:miter/>
              </a:ln>
            </p:spPr>
            <p:txBody>
              <a:bodyPr rtlCol="0" anchor="ctr"/>
              <a:lstStyle/>
              <a:p>
                <a:endParaRPr lang="en-GB"/>
              </a:p>
            </p:txBody>
          </p:sp>
        </p:grpSp>
        <p:grpSp>
          <p:nvGrpSpPr>
            <p:cNvPr id="862" name="Graphic 3">
              <a:extLst>
                <a:ext uri="{FF2B5EF4-FFF2-40B4-BE49-F238E27FC236}">
                  <a16:creationId xmlns:a16="http://schemas.microsoft.com/office/drawing/2014/main" id="{AFAD692B-D39B-42FF-AFDB-EC8C68F03B13}"/>
                </a:ext>
              </a:extLst>
            </p:cNvPr>
            <p:cNvGrpSpPr/>
            <p:nvPr/>
          </p:nvGrpSpPr>
          <p:grpSpPr>
            <a:xfrm>
              <a:off x="5856121" y="5261119"/>
              <a:ext cx="37044" cy="220602"/>
              <a:chOff x="5856121" y="5261119"/>
              <a:chExt cx="37044" cy="220602"/>
            </a:xfrm>
            <a:grpFill/>
          </p:grpSpPr>
          <p:sp>
            <p:nvSpPr>
              <p:cNvPr id="2812" name="Vrije vorm: vorm 2811">
                <a:extLst>
                  <a:ext uri="{FF2B5EF4-FFF2-40B4-BE49-F238E27FC236}">
                    <a16:creationId xmlns:a16="http://schemas.microsoft.com/office/drawing/2014/main" id="{A74F9D1C-2D97-4D27-A4F7-F989E79B0615}"/>
                  </a:ext>
                </a:extLst>
              </p:cNvPr>
              <p:cNvSpPr/>
              <p:nvPr/>
            </p:nvSpPr>
            <p:spPr>
              <a:xfrm>
                <a:off x="5863758" y="5269713"/>
                <a:ext cx="21769" cy="203404"/>
              </a:xfrm>
              <a:custGeom>
                <a:avLst/>
                <a:gdLst>
                  <a:gd name="connsiteX0" fmla="*/ 21770 w 21769"/>
                  <a:gd name="connsiteY0" fmla="*/ 299 h 203404"/>
                  <a:gd name="connsiteX1" fmla="*/ 2990 w 21769"/>
                  <a:gd name="connsiteY1" fmla="*/ 203404 h 203404"/>
                  <a:gd name="connsiteX2" fmla="*/ 0 w 21769"/>
                  <a:gd name="connsiteY2" fmla="*/ 203105 h 203404"/>
                  <a:gd name="connsiteX3" fmla="*/ 18720 w 21769"/>
                  <a:gd name="connsiteY3" fmla="*/ 0 h 203404"/>
                </a:gdLst>
                <a:ahLst/>
                <a:cxnLst>
                  <a:cxn ang="0">
                    <a:pos x="connsiteX0" y="connsiteY0"/>
                  </a:cxn>
                  <a:cxn ang="0">
                    <a:pos x="connsiteX1" y="connsiteY1"/>
                  </a:cxn>
                  <a:cxn ang="0">
                    <a:pos x="connsiteX2" y="connsiteY2"/>
                  </a:cxn>
                  <a:cxn ang="0">
                    <a:pos x="connsiteX3" y="connsiteY3"/>
                  </a:cxn>
                </a:cxnLst>
                <a:rect l="l" t="t" r="r" b="b"/>
                <a:pathLst>
                  <a:path w="21769" h="203404">
                    <a:moveTo>
                      <a:pt x="21770" y="299"/>
                    </a:moveTo>
                    <a:lnTo>
                      <a:pt x="2990" y="203404"/>
                    </a:lnTo>
                    <a:lnTo>
                      <a:pt x="0" y="203105"/>
                    </a:lnTo>
                    <a:lnTo>
                      <a:pt x="18720" y="0"/>
                    </a:lnTo>
                    <a:close/>
                  </a:path>
                </a:pathLst>
              </a:custGeom>
              <a:grpFill/>
              <a:ln w="5978" cap="flat">
                <a:noFill/>
                <a:prstDash val="solid"/>
                <a:miter/>
              </a:ln>
            </p:spPr>
            <p:txBody>
              <a:bodyPr rtlCol="0" anchor="ctr"/>
              <a:lstStyle/>
              <a:p>
                <a:endParaRPr lang="en-GB"/>
              </a:p>
            </p:txBody>
          </p:sp>
          <p:sp>
            <p:nvSpPr>
              <p:cNvPr id="2813" name="Vrije vorm: vorm 2812">
                <a:extLst>
                  <a:ext uri="{FF2B5EF4-FFF2-40B4-BE49-F238E27FC236}">
                    <a16:creationId xmlns:a16="http://schemas.microsoft.com/office/drawing/2014/main" id="{E2EC03AD-D305-4CF8-8131-60A5164A9713}"/>
                  </a:ext>
                </a:extLst>
              </p:cNvPr>
              <p:cNvSpPr/>
              <p:nvPr/>
            </p:nvSpPr>
            <p:spPr>
              <a:xfrm>
                <a:off x="5856121" y="5463317"/>
                <a:ext cx="18324" cy="18404"/>
              </a:xfrm>
              <a:custGeom>
                <a:avLst/>
                <a:gdLst>
                  <a:gd name="connsiteX0" fmla="*/ 18283 w 18324"/>
                  <a:gd name="connsiteY0" fmla="*/ 10100 h 18404"/>
                  <a:gd name="connsiteX1" fmla="*/ 8295 w 18324"/>
                  <a:gd name="connsiteY1" fmla="*/ 18353 h 18404"/>
                  <a:gd name="connsiteX2" fmla="*/ 42 w 18324"/>
                  <a:gd name="connsiteY2" fmla="*/ 8305 h 18404"/>
                  <a:gd name="connsiteX3" fmla="*/ 10030 w 18324"/>
                  <a:gd name="connsiteY3" fmla="*/ 52 h 18404"/>
                  <a:gd name="connsiteX4" fmla="*/ 18283 w 18324"/>
                  <a:gd name="connsiteY4" fmla="*/ 10100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04">
                    <a:moveTo>
                      <a:pt x="18283" y="10100"/>
                    </a:moveTo>
                    <a:cubicBezTo>
                      <a:pt x="17804" y="15183"/>
                      <a:pt x="13319" y="18891"/>
                      <a:pt x="8295" y="18353"/>
                    </a:cubicBezTo>
                    <a:cubicBezTo>
                      <a:pt x="3271" y="17875"/>
                      <a:pt x="-437" y="13389"/>
                      <a:pt x="42" y="8305"/>
                    </a:cubicBezTo>
                    <a:cubicBezTo>
                      <a:pt x="520" y="3222"/>
                      <a:pt x="4946" y="-486"/>
                      <a:pt x="10030" y="52"/>
                    </a:cubicBezTo>
                    <a:cubicBezTo>
                      <a:pt x="15053" y="530"/>
                      <a:pt x="18761" y="5016"/>
                      <a:pt x="18283" y="10100"/>
                    </a:cubicBezTo>
                    <a:close/>
                  </a:path>
                </a:pathLst>
              </a:custGeom>
              <a:grpFill/>
              <a:ln w="5978" cap="flat">
                <a:noFill/>
                <a:prstDash val="solid"/>
                <a:miter/>
              </a:ln>
            </p:spPr>
            <p:txBody>
              <a:bodyPr rtlCol="0" anchor="ctr"/>
              <a:lstStyle/>
              <a:p>
                <a:endParaRPr lang="en-GB"/>
              </a:p>
            </p:txBody>
          </p:sp>
          <p:sp>
            <p:nvSpPr>
              <p:cNvPr id="2814" name="Vrije vorm: vorm 2813">
                <a:extLst>
                  <a:ext uri="{FF2B5EF4-FFF2-40B4-BE49-F238E27FC236}">
                    <a16:creationId xmlns:a16="http://schemas.microsoft.com/office/drawing/2014/main" id="{D561A9AB-5F71-439D-9DF8-F5F24AFE83D8}"/>
                  </a:ext>
                </a:extLst>
              </p:cNvPr>
              <p:cNvSpPr/>
              <p:nvPr/>
            </p:nvSpPr>
            <p:spPr>
              <a:xfrm>
                <a:off x="5874841" y="5261119"/>
                <a:ext cx="18324" cy="18384"/>
              </a:xfrm>
              <a:custGeom>
                <a:avLst/>
                <a:gdLst>
                  <a:gd name="connsiteX0" fmla="*/ 18283 w 18324"/>
                  <a:gd name="connsiteY0" fmla="*/ 10089 h 18384"/>
                  <a:gd name="connsiteX1" fmla="*/ 10030 w 18324"/>
                  <a:gd name="connsiteY1" fmla="*/ 42 h 18384"/>
                  <a:gd name="connsiteX2" fmla="*/ 42 w 18324"/>
                  <a:gd name="connsiteY2" fmla="*/ 8295 h 18384"/>
                  <a:gd name="connsiteX3" fmla="*/ 8295 w 18324"/>
                  <a:gd name="connsiteY3" fmla="*/ 18343 h 18384"/>
                  <a:gd name="connsiteX4" fmla="*/ 18283 w 18324"/>
                  <a:gd name="connsiteY4" fmla="*/ 10089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18283" y="10089"/>
                    </a:moveTo>
                    <a:cubicBezTo>
                      <a:pt x="18761" y="5006"/>
                      <a:pt x="15053" y="520"/>
                      <a:pt x="10030" y="42"/>
                    </a:cubicBezTo>
                    <a:cubicBezTo>
                      <a:pt x="5006" y="-437"/>
                      <a:pt x="520" y="3271"/>
                      <a:pt x="42" y="8295"/>
                    </a:cubicBezTo>
                    <a:cubicBezTo>
                      <a:pt x="-437" y="13379"/>
                      <a:pt x="3271" y="17864"/>
                      <a:pt x="8295" y="18343"/>
                    </a:cubicBezTo>
                    <a:cubicBezTo>
                      <a:pt x="13319" y="18821"/>
                      <a:pt x="17804" y="15113"/>
                      <a:pt x="18283" y="10089"/>
                    </a:cubicBezTo>
                    <a:close/>
                  </a:path>
                </a:pathLst>
              </a:custGeom>
              <a:grpFill/>
              <a:ln w="5978" cap="flat">
                <a:noFill/>
                <a:prstDash val="solid"/>
                <a:miter/>
              </a:ln>
            </p:spPr>
            <p:txBody>
              <a:bodyPr rtlCol="0" anchor="ctr"/>
              <a:lstStyle/>
              <a:p>
                <a:endParaRPr lang="en-GB"/>
              </a:p>
            </p:txBody>
          </p:sp>
        </p:grpSp>
        <p:grpSp>
          <p:nvGrpSpPr>
            <p:cNvPr id="863" name="Graphic 3">
              <a:extLst>
                <a:ext uri="{FF2B5EF4-FFF2-40B4-BE49-F238E27FC236}">
                  <a16:creationId xmlns:a16="http://schemas.microsoft.com/office/drawing/2014/main" id="{2BD6C2C8-CD76-47EB-8B85-1C4AA1DD7799}"/>
                </a:ext>
              </a:extLst>
            </p:cNvPr>
            <p:cNvGrpSpPr/>
            <p:nvPr/>
          </p:nvGrpSpPr>
          <p:grpSpPr>
            <a:xfrm>
              <a:off x="5922598" y="5430340"/>
              <a:ext cx="30408" cy="238244"/>
              <a:chOff x="5922598" y="5430340"/>
              <a:chExt cx="30408" cy="238244"/>
            </a:xfrm>
            <a:grpFill/>
          </p:grpSpPr>
          <p:sp>
            <p:nvSpPr>
              <p:cNvPr id="2809" name="Vrije vorm: vorm 2808">
                <a:extLst>
                  <a:ext uri="{FF2B5EF4-FFF2-40B4-BE49-F238E27FC236}">
                    <a16:creationId xmlns:a16="http://schemas.microsoft.com/office/drawing/2014/main" id="{DE6E7A41-3DCC-4726-A0CB-284602DAD514}"/>
                  </a:ext>
                </a:extLst>
              </p:cNvPr>
              <p:cNvSpPr/>
              <p:nvPr/>
            </p:nvSpPr>
            <p:spPr>
              <a:xfrm>
                <a:off x="5930204" y="5439028"/>
                <a:ext cx="15131" cy="220867"/>
              </a:xfrm>
              <a:custGeom>
                <a:avLst/>
                <a:gdLst>
                  <a:gd name="connsiteX0" fmla="*/ 15131 w 15131"/>
                  <a:gd name="connsiteY0" fmla="*/ 179 h 220867"/>
                  <a:gd name="connsiteX1" fmla="*/ 2990 w 15131"/>
                  <a:gd name="connsiteY1" fmla="*/ 220868 h 220867"/>
                  <a:gd name="connsiteX2" fmla="*/ 0 w 15131"/>
                  <a:gd name="connsiteY2" fmla="*/ 220688 h 220867"/>
                  <a:gd name="connsiteX3" fmla="*/ 12141 w 15131"/>
                  <a:gd name="connsiteY3" fmla="*/ 0 h 220867"/>
                </a:gdLst>
                <a:ahLst/>
                <a:cxnLst>
                  <a:cxn ang="0">
                    <a:pos x="connsiteX0" y="connsiteY0"/>
                  </a:cxn>
                  <a:cxn ang="0">
                    <a:pos x="connsiteX1" y="connsiteY1"/>
                  </a:cxn>
                  <a:cxn ang="0">
                    <a:pos x="connsiteX2" y="connsiteY2"/>
                  </a:cxn>
                  <a:cxn ang="0">
                    <a:pos x="connsiteX3" y="connsiteY3"/>
                  </a:cxn>
                </a:cxnLst>
                <a:rect l="l" t="t" r="r" b="b"/>
                <a:pathLst>
                  <a:path w="15131" h="220867">
                    <a:moveTo>
                      <a:pt x="15131" y="179"/>
                    </a:moveTo>
                    <a:lnTo>
                      <a:pt x="2990" y="220868"/>
                    </a:lnTo>
                    <a:lnTo>
                      <a:pt x="0" y="220688"/>
                    </a:lnTo>
                    <a:lnTo>
                      <a:pt x="12141" y="0"/>
                    </a:lnTo>
                    <a:close/>
                  </a:path>
                </a:pathLst>
              </a:custGeom>
              <a:grpFill/>
              <a:ln w="5978" cap="flat">
                <a:noFill/>
                <a:prstDash val="solid"/>
                <a:miter/>
              </a:ln>
            </p:spPr>
            <p:txBody>
              <a:bodyPr rtlCol="0" anchor="ctr"/>
              <a:lstStyle/>
              <a:p>
                <a:endParaRPr lang="en-GB"/>
              </a:p>
            </p:txBody>
          </p:sp>
          <p:sp>
            <p:nvSpPr>
              <p:cNvPr id="2810" name="Vrije vorm: vorm 2809">
                <a:extLst>
                  <a:ext uri="{FF2B5EF4-FFF2-40B4-BE49-F238E27FC236}">
                    <a16:creationId xmlns:a16="http://schemas.microsoft.com/office/drawing/2014/main" id="{FB90B191-CC51-4292-AAB4-E4A60189DFBF}"/>
                  </a:ext>
                </a:extLst>
              </p:cNvPr>
              <p:cNvSpPr/>
              <p:nvPr/>
            </p:nvSpPr>
            <p:spPr>
              <a:xfrm>
                <a:off x="5922598" y="5650131"/>
                <a:ext cx="18322" cy="18452"/>
              </a:xfrm>
              <a:custGeom>
                <a:avLst/>
                <a:gdLst>
                  <a:gd name="connsiteX0" fmla="*/ 18312 w 18322"/>
                  <a:gd name="connsiteY0" fmla="*/ 9765 h 18452"/>
                  <a:gd name="connsiteX1" fmla="*/ 8683 w 18322"/>
                  <a:gd name="connsiteY1" fmla="*/ 18437 h 18452"/>
                  <a:gd name="connsiteX2" fmla="*/ 11 w 18322"/>
                  <a:gd name="connsiteY2" fmla="*/ 8688 h 18452"/>
                  <a:gd name="connsiteX3" fmla="*/ 9640 w 18322"/>
                  <a:gd name="connsiteY3" fmla="*/ 16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013" y="14848"/>
                      <a:pt x="13706" y="18736"/>
                      <a:pt x="8683" y="18437"/>
                    </a:cubicBezTo>
                    <a:cubicBezTo>
                      <a:pt x="3599" y="18138"/>
                      <a:pt x="-229" y="13772"/>
                      <a:pt x="11" y="8688"/>
                    </a:cubicBezTo>
                    <a:cubicBezTo>
                      <a:pt x="310" y="3604"/>
                      <a:pt x="4616" y="-283"/>
                      <a:pt x="9640" y="16"/>
                    </a:cubicBezTo>
                    <a:cubicBezTo>
                      <a:pt x="14663" y="375"/>
                      <a:pt x="18551" y="4681"/>
                      <a:pt x="18312" y="9765"/>
                    </a:cubicBezTo>
                    <a:close/>
                  </a:path>
                </a:pathLst>
              </a:custGeom>
              <a:grpFill/>
              <a:ln w="5978" cap="flat">
                <a:noFill/>
                <a:prstDash val="solid"/>
                <a:miter/>
              </a:ln>
            </p:spPr>
            <p:txBody>
              <a:bodyPr rtlCol="0" anchor="ctr"/>
              <a:lstStyle/>
              <a:p>
                <a:endParaRPr lang="en-GB"/>
              </a:p>
            </p:txBody>
          </p:sp>
          <p:sp>
            <p:nvSpPr>
              <p:cNvPr id="2811" name="Vrije vorm: vorm 2810">
                <a:extLst>
                  <a:ext uri="{FF2B5EF4-FFF2-40B4-BE49-F238E27FC236}">
                    <a16:creationId xmlns:a16="http://schemas.microsoft.com/office/drawing/2014/main" id="{B9B0B616-3838-47A4-95CF-A55CA5DD20F9}"/>
                  </a:ext>
                </a:extLst>
              </p:cNvPr>
              <p:cNvSpPr/>
              <p:nvPr/>
            </p:nvSpPr>
            <p:spPr>
              <a:xfrm>
                <a:off x="5934674" y="5430340"/>
                <a:ext cx="18333" cy="18452"/>
              </a:xfrm>
              <a:custGeom>
                <a:avLst/>
                <a:gdLst>
                  <a:gd name="connsiteX0" fmla="*/ 18317 w 18333"/>
                  <a:gd name="connsiteY0" fmla="*/ 9765 h 18452"/>
                  <a:gd name="connsiteX1" fmla="*/ 9645 w 18333"/>
                  <a:gd name="connsiteY1" fmla="*/ 16 h 18452"/>
                  <a:gd name="connsiteX2" fmla="*/ 16 w 18333"/>
                  <a:gd name="connsiteY2" fmla="*/ 8688 h 18452"/>
                  <a:gd name="connsiteX3" fmla="*/ 8688 w 18333"/>
                  <a:gd name="connsiteY3" fmla="*/ 18437 h 18452"/>
                  <a:gd name="connsiteX4" fmla="*/ 18317 w 18333"/>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317" y="9765"/>
                    </a:moveTo>
                    <a:cubicBezTo>
                      <a:pt x="18616" y="4681"/>
                      <a:pt x="14729" y="315"/>
                      <a:pt x="9645" y="16"/>
                    </a:cubicBezTo>
                    <a:cubicBezTo>
                      <a:pt x="4562" y="-283"/>
                      <a:pt x="256" y="3604"/>
                      <a:pt x="16" y="8688"/>
                    </a:cubicBezTo>
                    <a:cubicBezTo>
                      <a:pt x="-283" y="13772"/>
                      <a:pt x="3605" y="18138"/>
                      <a:pt x="8688" y="18437"/>
                    </a:cubicBezTo>
                    <a:cubicBezTo>
                      <a:pt x="13712" y="18736"/>
                      <a:pt x="18018" y="14848"/>
                      <a:pt x="18317" y="9765"/>
                    </a:cubicBezTo>
                    <a:close/>
                  </a:path>
                </a:pathLst>
              </a:custGeom>
              <a:grpFill/>
              <a:ln w="5978" cap="flat">
                <a:noFill/>
                <a:prstDash val="solid"/>
                <a:miter/>
              </a:ln>
            </p:spPr>
            <p:txBody>
              <a:bodyPr rtlCol="0" anchor="ctr"/>
              <a:lstStyle/>
              <a:p>
                <a:endParaRPr lang="en-GB"/>
              </a:p>
            </p:txBody>
          </p:sp>
        </p:grpSp>
        <p:grpSp>
          <p:nvGrpSpPr>
            <p:cNvPr id="864" name="Graphic 3">
              <a:extLst>
                <a:ext uri="{FF2B5EF4-FFF2-40B4-BE49-F238E27FC236}">
                  <a16:creationId xmlns:a16="http://schemas.microsoft.com/office/drawing/2014/main" id="{196C9C57-BE23-43E9-BE61-167791D4A4BF}"/>
                </a:ext>
              </a:extLst>
            </p:cNvPr>
            <p:cNvGrpSpPr/>
            <p:nvPr/>
          </p:nvGrpSpPr>
          <p:grpSpPr>
            <a:xfrm>
              <a:off x="4730673" y="2100499"/>
              <a:ext cx="129341" cy="128787"/>
              <a:chOff x="4730673" y="2100499"/>
              <a:chExt cx="129341" cy="128787"/>
            </a:xfrm>
            <a:grpFill/>
          </p:grpSpPr>
          <p:sp>
            <p:nvSpPr>
              <p:cNvPr id="2806" name="Vrije vorm: vorm 2805">
                <a:extLst>
                  <a:ext uri="{FF2B5EF4-FFF2-40B4-BE49-F238E27FC236}">
                    <a16:creationId xmlns:a16="http://schemas.microsoft.com/office/drawing/2014/main" id="{223F24E3-B2A4-4407-89C1-8D599F3BA93E}"/>
                  </a:ext>
                </a:extLst>
              </p:cNvPr>
              <p:cNvSpPr/>
              <p:nvPr/>
            </p:nvSpPr>
            <p:spPr>
              <a:xfrm>
                <a:off x="4738426" y="2108304"/>
                <a:ext cx="113812" cy="113155"/>
              </a:xfrm>
              <a:custGeom>
                <a:avLst/>
                <a:gdLst>
                  <a:gd name="connsiteX0" fmla="*/ 113813 w 113812"/>
                  <a:gd name="connsiteY0" fmla="*/ 111002 h 113155"/>
                  <a:gd name="connsiteX1" fmla="*/ 111660 w 113812"/>
                  <a:gd name="connsiteY1" fmla="*/ 113155 h 113155"/>
                  <a:gd name="connsiteX2" fmla="*/ 0 w 113812"/>
                  <a:gd name="connsiteY2" fmla="*/ 2153 h 113155"/>
                  <a:gd name="connsiteX3" fmla="*/ 2153 w 113812"/>
                  <a:gd name="connsiteY3" fmla="*/ 0 h 113155"/>
                </a:gdLst>
                <a:ahLst/>
                <a:cxnLst>
                  <a:cxn ang="0">
                    <a:pos x="connsiteX0" y="connsiteY0"/>
                  </a:cxn>
                  <a:cxn ang="0">
                    <a:pos x="connsiteX1" y="connsiteY1"/>
                  </a:cxn>
                  <a:cxn ang="0">
                    <a:pos x="connsiteX2" y="connsiteY2"/>
                  </a:cxn>
                  <a:cxn ang="0">
                    <a:pos x="connsiteX3" y="connsiteY3"/>
                  </a:cxn>
                </a:cxnLst>
                <a:rect l="l" t="t" r="r" b="b"/>
                <a:pathLst>
                  <a:path w="113812" h="113155">
                    <a:moveTo>
                      <a:pt x="113813" y="111002"/>
                    </a:moveTo>
                    <a:lnTo>
                      <a:pt x="111660" y="113155"/>
                    </a:lnTo>
                    <a:lnTo>
                      <a:pt x="0" y="2153"/>
                    </a:lnTo>
                    <a:lnTo>
                      <a:pt x="2153" y="0"/>
                    </a:lnTo>
                    <a:close/>
                  </a:path>
                </a:pathLst>
              </a:custGeom>
              <a:grpFill/>
              <a:ln w="5978" cap="flat">
                <a:noFill/>
                <a:prstDash val="solid"/>
                <a:miter/>
              </a:ln>
            </p:spPr>
            <p:txBody>
              <a:bodyPr rtlCol="0" anchor="ctr"/>
              <a:lstStyle/>
              <a:p>
                <a:endParaRPr lang="en-GB"/>
              </a:p>
            </p:txBody>
          </p:sp>
          <p:sp>
            <p:nvSpPr>
              <p:cNvPr id="2807" name="Vrije vorm: vorm 2806">
                <a:extLst>
                  <a:ext uri="{FF2B5EF4-FFF2-40B4-BE49-F238E27FC236}">
                    <a16:creationId xmlns:a16="http://schemas.microsoft.com/office/drawing/2014/main" id="{1580B5FD-29BC-4C8E-8D9B-5BC7C41A557A}"/>
                  </a:ext>
                </a:extLst>
              </p:cNvPr>
              <p:cNvSpPr/>
              <p:nvPr/>
            </p:nvSpPr>
            <p:spPr>
              <a:xfrm>
                <a:off x="4730673" y="2100499"/>
                <a:ext cx="18316" cy="18420"/>
              </a:xfrm>
              <a:custGeom>
                <a:avLst/>
                <a:gdLst>
                  <a:gd name="connsiteX0" fmla="*/ 2729 w 18316"/>
                  <a:gd name="connsiteY0" fmla="*/ 15759 h 18420"/>
                  <a:gd name="connsiteX1" fmla="*/ 2609 w 18316"/>
                  <a:gd name="connsiteY1" fmla="*/ 2721 h 18420"/>
                  <a:gd name="connsiteX2" fmla="*/ 15588 w 18316"/>
                  <a:gd name="connsiteY2" fmla="*/ 2662 h 18420"/>
                  <a:gd name="connsiteX3" fmla="*/ 15707 w 18316"/>
                  <a:gd name="connsiteY3" fmla="*/ 15700 h 18420"/>
                  <a:gd name="connsiteX4" fmla="*/ 2729 w 18316"/>
                  <a:gd name="connsiteY4" fmla="*/ 1575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0">
                    <a:moveTo>
                      <a:pt x="2729" y="15759"/>
                    </a:moveTo>
                    <a:cubicBezTo>
                      <a:pt x="-859" y="12171"/>
                      <a:pt x="-919" y="6310"/>
                      <a:pt x="2609" y="2721"/>
                    </a:cubicBezTo>
                    <a:cubicBezTo>
                      <a:pt x="6138" y="-867"/>
                      <a:pt x="11940" y="-927"/>
                      <a:pt x="15588" y="2662"/>
                    </a:cubicBezTo>
                    <a:cubicBezTo>
                      <a:pt x="19176" y="6250"/>
                      <a:pt x="19236" y="12051"/>
                      <a:pt x="15707" y="15700"/>
                    </a:cubicBezTo>
                    <a:cubicBezTo>
                      <a:pt x="12119" y="19288"/>
                      <a:pt x="6318" y="19348"/>
                      <a:pt x="2729" y="15759"/>
                    </a:cubicBezTo>
                    <a:close/>
                  </a:path>
                </a:pathLst>
              </a:custGeom>
              <a:grpFill/>
              <a:ln w="5978" cap="flat">
                <a:noFill/>
                <a:prstDash val="solid"/>
                <a:miter/>
              </a:ln>
            </p:spPr>
            <p:txBody>
              <a:bodyPr rtlCol="0" anchor="ctr"/>
              <a:lstStyle/>
              <a:p>
                <a:endParaRPr lang="en-GB"/>
              </a:p>
            </p:txBody>
          </p:sp>
          <p:sp>
            <p:nvSpPr>
              <p:cNvPr id="2808" name="Vrije vorm: vorm 2807">
                <a:extLst>
                  <a:ext uri="{FF2B5EF4-FFF2-40B4-BE49-F238E27FC236}">
                    <a16:creationId xmlns:a16="http://schemas.microsoft.com/office/drawing/2014/main" id="{AD8018B5-0410-4E39-AB10-8880CC6ACDB3}"/>
                  </a:ext>
                </a:extLst>
              </p:cNvPr>
              <p:cNvSpPr/>
              <p:nvPr/>
            </p:nvSpPr>
            <p:spPr>
              <a:xfrm>
                <a:off x="4841675" y="2210821"/>
                <a:ext cx="18338" cy="18465"/>
              </a:xfrm>
              <a:custGeom>
                <a:avLst/>
                <a:gdLst>
                  <a:gd name="connsiteX0" fmla="*/ 2729 w 18338"/>
                  <a:gd name="connsiteY0" fmla="*/ 15782 h 18465"/>
                  <a:gd name="connsiteX1" fmla="*/ 15707 w 18338"/>
                  <a:gd name="connsiteY1" fmla="*/ 15722 h 18465"/>
                  <a:gd name="connsiteX2" fmla="*/ 15588 w 18338"/>
                  <a:gd name="connsiteY2" fmla="*/ 2684 h 18465"/>
                  <a:gd name="connsiteX3" fmla="*/ 2610 w 18338"/>
                  <a:gd name="connsiteY3" fmla="*/ 2744 h 18465"/>
                  <a:gd name="connsiteX4" fmla="*/ 2729 w 18338"/>
                  <a:gd name="connsiteY4" fmla="*/ 1578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5">
                    <a:moveTo>
                      <a:pt x="2729" y="15782"/>
                    </a:moveTo>
                    <a:cubicBezTo>
                      <a:pt x="6318" y="19370"/>
                      <a:pt x="12119" y="19370"/>
                      <a:pt x="15707" y="15722"/>
                    </a:cubicBezTo>
                    <a:cubicBezTo>
                      <a:pt x="19236" y="12133"/>
                      <a:pt x="19236" y="6272"/>
                      <a:pt x="15588" y="2684"/>
                    </a:cubicBezTo>
                    <a:cubicBezTo>
                      <a:pt x="11999" y="-905"/>
                      <a:pt x="6198" y="-905"/>
                      <a:pt x="2610" y="2744"/>
                    </a:cubicBezTo>
                    <a:cubicBezTo>
                      <a:pt x="-919" y="6392"/>
                      <a:pt x="-859" y="12193"/>
                      <a:pt x="2729" y="15782"/>
                    </a:cubicBezTo>
                    <a:close/>
                  </a:path>
                </a:pathLst>
              </a:custGeom>
              <a:grpFill/>
              <a:ln w="5978" cap="flat">
                <a:noFill/>
                <a:prstDash val="solid"/>
                <a:miter/>
              </a:ln>
            </p:spPr>
            <p:txBody>
              <a:bodyPr rtlCol="0" anchor="ctr"/>
              <a:lstStyle/>
              <a:p>
                <a:endParaRPr lang="en-GB"/>
              </a:p>
            </p:txBody>
          </p:sp>
        </p:grpSp>
        <p:grpSp>
          <p:nvGrpSpPr>
            <p:cNvPr id="865" name="Graphic 3">
              <a:extLst>
                <a:ext uri="{FF2B5EF4-FFF2-40B4-BE49-F238E27FC236}">
                  <a16:creationId xmlns:a16="http://schemas.microsoft.com/office/drawing/2014/main" id="{8DE7FDCF-9068-426F-A3C1-D13CCEDF79D5}"/>
                </a:ext>
              </a:extLst>
            </p:cNvPr>
            <p:cNvGrpSpPr/>
            <p:nvPr/>
          </p:nvGrpSpPr>
          <p:grpSpPr>
            <a:xfrm>
              <a:off x="4664099" y="1983684"/>
              <a:ext cx="196782" cy="244840"/>
              <a:chOff x="4664099" y="1983684"/>
              <a:chExt cx="196782" cy="244840"/>
            </a:xfrm>
            <a:grpFill/>
          </p:grpSpPr>
          <p:sp>
            <p:nvSpPr>
              <p:cNvPr id="2803" name="Vrije vorm: vorm 2802">
                <a:extLst>
                  <a:ext uri="{FF2B5EF4-FFF2-40B4-BE49-F238E27FC236}">
                    <a16:creationId xmlns:a16="http://schemas.microsoft.com/office/drawing/2014/main" id="{BDF31F16-7988-43E8-B11C-55B178604548}"/>
                  </a:ext>
                </a:extLst>
              </p:cNvPr>
              <p:cNvSpPr/>
              <p:nvPr/>
            </p:nvSpPr>
            <p:spPr>
              <a:xfrm>
                <a:off x="4671741" y="1991620"/>
                <a:ext cx="181395" cy="229001"/>
              </a:xfrm>
              <a:custGeom>
                <a:avLst/>
                <a:gdLst>
                  <a:gd name="connsiteX0" fmla="*/ 181395 w 181395"/>
                  <a:gd name="connsiteY0" fmla="*/ 227148 h 229001"/>
                  <a:gd name="connsiteX1" fmla="*/ 179003 w 181395"/>
                  <a:gd name="connsiteY1" fmla="*/ 229002 h 229001"/>
                  <a:gd name="connsiteX2" fmla="*/ 0 w 181395"/>
                  <a:gd name="connsiteY2" fmla="*/ 1854 h 229001"/>
                  <a:gd name="connsiteX3" fmla="*/ 2392 w 181395"/>
                  <a:gd name="connsiteY3" fmla="*/ 0 h 229001"/>
                </a:gdLst>
                <a:ahLst/>
                <a:cxnLst>
                  <a:cxn ang="0">
                    <a:pos x="connsiteX0" y="connsiteY0"/>
                  </a:cxn>
                  <a:cxn ang="0">
                    <a:pos x="connsiteX1" y="connsiteY1"/>
                  </a:cxn>
                  <a:cxn ang="0">
                    <a:pos x="connsiteX2" y="connsiteY2"/>
                  </a:cxn>
                  <a:cxn ang="0">
                    <a:pos x="connsiteX3" y="connsiteY3"/>
                  </a:cxn>
                </a:cxnLst>
                <a:rect l="l" t="t" r="r" b="b"/>
                <a:pathLst>
                  <a:path w="181395" h="229001">
                    <a:moveTo>
                      <a:pt x="181395" y="227148"/>
                    </a:moveTo>
                    <a:lnTo>
                      <a:pt x="179003" y="229002"/>
                    </a:lnTo>
                    <a:lnTo>
                      <a:pt x="0" y="1854"/>
                    </a:lnTo>
                    <a:lnTo>
                      <a:pt x="2392" y="0"/>
                    </a:lnTo>
                    <a:close/>
                  </a:path>
                </a:pathLst>
              </a:custGeom>
              <a:grpFill/>
              <a:ln w="5978" cap="flat">
                <a:noFill/>
                <a:prstDash val="solid"/>
                <a:miter/>
              </a:ln>
            </p:spPr>
            <p:txBody>
              <a:bodyPr rtlCol="0" anchor="ctr"/>
              <a:lstStyle/>
              <a:p>
                <a:endParaRPr lang="en-GB"/>
              </a:p>
            </p:txBody>
          </p:sp>
          <p:sp>
            <p:nvSpPr>
              <p:cNvPr id="2804" name="Vrije vorm: vorm 2803">
                <a:extLst>
                  <a:ext uri="{FF2B5EF4-FFF2-40B4-BE49-F238E27FC236}">
                    <a16:creationId xmlns:a16="http://schemas.microsoft.com/office/drawing/2014/main" id="{1DE472A4-04AF-42A8-802D-532F94EAC341}"/>
                  </a:ext>
                </a:extLst>
              </p:cNvPr>
              <p:cNvSpPr/>
              <p:nvPr/>
            </p:nvSpPr>
            <p:spPr>
              <a:xfrm>
                <a:off x="4842520" y="2210114"/>
                <a:ext cx="18361" cy="18410"/>
              </a:xfrm>
              <a:custGeom>
                <a:avLst/>
                <a:gdLst>
                  <a:gd name="connsiteX0" fmla="*/ 16358 w 18361"/>
                  <a:gd name="connsiteY0" fmla="*/ 3511 h 18410"/>
                  <a:gd name="connsiteX1" fmla="*/ 14862 w 18361"/>
                  <a:gd name="connsiteY1" fmla="*/ 16429 h 18410"/>
                  <a:gd name="connsiteX2" fmla="*/ 2004 w 18361"/>
                  <a:gd name="connsiteY2" fmla="*/ 14874 h 18410"/>
                  <a:gd name="connsiteX3" fmla="*/ 3499 w 18361"/>
                  <a:gd name="connsiteY3" fmla="*/ 1956 h 18410"/>
                  <a:gd name="connsiteX4" fmla="*/ 16358 w 18361"/>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0">
                    <a:moveTo>
                      <a:pt x="16358" y="3511"/>
                    </a:moveTo>
                    <a:cubicBezTo>
                      <a:pt x="19528" y="7518"/>
                      <a:pt x="18870" y="13319"/>
                      <a:pt x="14862" y="16429"/>
                    </a:cubicBezTo>
                    <a:cubicBezTo>
                      <a:pt x="10915" y="19599"/>
                      <a:pt x="5114" y="18881"/>
                      <a:pt x="2004" y="14874"/>
                    </a:cubicBezTo>
                    <a:cubicBezTo>
                      <a:pt x="-1166" y="10867"/>
                      <a:pt x="-508" y="5066"/>
                      <a:pt x="3499" y="1956"/>
                    </a:cubicBezTo>
                    <a:cubicBezTo>
                      <a:pt x="7446" y="-1154"/>
                      <a:pt x="13188" y="-496"/>
                      <a:pt x="16358" y="3511"/>
                    </a:cubicBezTo>
                    <a:close/>
                  </a:path>
                </a:pathLst>
              </a:custGeom>
              <a:grpFill/>
              <a:ln w="5978" cap="flat">
                <a:noFill/>
                <a:prstDash val="solid"/>
                <a:miter/>
              </a:ln>
            </p:spPr>
            <p:txBody>
              <a:bodyPr rtlCol="0" anchor="ctr"/>
              <a:lstStyle/>
              <a:p>
                <a:endParaRPr lang="en-GB"/>
              </a:p>
            </p:txBody>
          </p:sp>
          <p:sp>
            <p:nvSpPr>
              <p:cNvPr id="2805" name="Vrije vorm: vorm 2804">
                <a:extLst>
                  <a:ext uri="{FF2B5EF4-FFF2-40B4-BE49-F238E27FC236}">
                    <a16:creationId xmlns:a16="http://schemas.microsoft.com/office/drawing/2014/main" id="{3B71E5EC-C27D-476D-8262-6F3A0A37B6B6}"/>
                  </a:ext>
                </a:extLst>
              </p:cNvPr>
              <p:cNvSpPr/>
              <p:nvPr/>
            </p:nvSpPr>
            <p:spPr>
              <a:xfrm>
                <a:off x="4664099" y="1983684"/>
                <a:ext cx="18317" cy="18366"/>
              </a:xfrm>
              <a:custGeom>
                <a:avLst/>
                <a:gdLst>
                  <a:gd name="connsiteX0" fmla="*/ 16314 w 18317"/>
                  <a:gd name="connsiteY0" fmla="*/ 3511 h 18366"/>
                  <a:gd name="connsiteX1" fmla="*/ 3455 w 18317"/>
                  <a:gd name="connsiteY1" fmla="*/ 1956 h 18366"/>
                  <a:gd name="connsiteX2" fmla="*/ 1960 w 18317"/>
                  <a:gd name="connsiteY2" fmla="*/ 14874 h 18366"/>
                  <a:gd name="connsiteX3" fmla="*/ 14819 w 18317"/>
                  <a:gd name="connsiteY3" fmla="*/ 16429 h 18366"/>
                  <a:gd name="connsiteX4" fmla="*/ 16314 w 18317"/>
                  <a:gd name="connsiteY4" fmla="*/ 3511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66">
                    <a:moveTo>
                      <a:pt x="16314" y="3511"/>
                    </a:moveTo>
                    <a:cubicBezTo>
                      <a:pt x="13144" y="-496"/>
                      <a:pt x="7403" y="-1154"/>
                      <a:pt x="3455" y="1956"/>
                    </a:cubicBezTo>
                    <a:cubicBezTo>
                      <a:pt x="-492" y="5126"/>
                      <a:pt x="-1150" y="10927"/>
                      <a:pt x="1960" y="14874"/>
                    </a:cubicBezTo>
                    <a:cubicBezTo>
                      <a:pt x="5070" y="18821"/>
                      <a:pt x="10871" y="19539"/>
                      <a:pt x="14819" y="16429"/>
                    </a:cubicBezTo>
                    <a:cubicBezTo>
                      <a:pt x="18826" y="13319"/>
                      <a:pt x="19484" y="7518"/>
                      <a:pt x="16314" y="3511"/>
                    </a:cubicBezTo>
                    <a:close/>
                  </a:path>
                </a:pathLst>
              </a:custGeom>
              <a:grpFill/>
              <a:ln w="5978" cap="flat">
                <a:noFill/>
                <a:prstDash val="solid"/>
                <a:miter/>
              </a:ln>
            </p:spPr>
            <p:txBody>
              <a:bodyPr rtlCol="0" anchor="ctr"/>
              <a:lstStyle/>
              <a:p>
                <a:endParaRPr lang="en-GB"/>
              </a:p>
            </p:txBody>
          </p:sp>
        </p:grpSp>
        <p:grpSp>
          <p:nvGrpSpPr>
            <p:cNvPr id="866" name="Graphic 3">
              <a:extLst>
                <a:ext uri="{FF2B5EF4-FFF2-40B4-BE49-F238E27FC236}">
                  <a16:creationId xmlns:a16="http://schemas.microsoft.com/office/drawing/2014/main" id="{F7A82234-B924-4512-A2F5-F682755E7A4A}"/>
                </a:ext>
              </a:extLst>
            </p:cNvPr>
            <p:cNvGrpSpPr/>
            <p:nvPr/>
          </p:nvGrpSpPr>
          <p:grpSpPr>
            <a:xfrm>
              <a:off x="5792270" y="5092725"/>
              <a:ext cx="53087" cy="285856"/>
              <a:chOff x="5792270" y="5092725"/>
              <a:chExt cx="53087" cy="285856"/>
            </a:xfrm>
            <a:grpFill/>
          </p:grpSpPr>
          <p:sp>
            <p:nvSpPr>
              <p:cNvPr id="2800" name="Vrije vorm: vorm 2799">
                <a:extLst>
                  <a:ext uri="{FF2B5EF4-FFF2-40B4-BE49-F238E27FC236}">
                    <a16:creationId xmlns:a16="http://schemas.microsoft.com/office/drawing/2014/main" id="{9CF17CAA-0E50-427E-9757-921ABE46CA70}"/>
                  </a:ext>
                </a:extLst>
              </p:cNvPr>
              <p:cNvSpPr/>
              <p:nvPr/>
            </p:nvSpPr>
            <p:spPr>
              <a:xfrm>
                <a:off x="5799825" y="5101236"/>
                <a:ext cx="37917" cy="268773"/>
              </a:xfrm>
              <a:custGeom>
                <a:avLst/>
                <a:gdLst>
                  <a:gd name="connsiteX0" fmla="*/ 37918 w 37917"/>
                  <a:gd name="connsiteY0" fmla="*/ 419 h 268773"/>
                  <a:gd name="connsiteX1" fmla="*/ 3050 w 37917"/>
                  <a:gd name="connsiteY1" fmla="*/ 268774 h 268773"/>
                  <a:gd name="connsiteX2" fmla="*/ 0 w 37917"/>
                  <a:gd name="connsiteY2" fmla="*/ 268355 h 268773"/>
                  <a:gd name="connsiteX3" fmla="*/ 34868 w 37917"/>
                  <a:gd name="connsiteY3" fmla="*/ 0 h 268773"/>
                </a:gdLst>
                <a:ahLst/>
                <a:cxnLst>
                  <a:cxn ang="0">
                    <a:pos x="connsiteX0" y="connsiteY0"/>
                  </a:cxn>
                  <a:cxn ang="0">
                    <a:pos x="connsiteX1" y="connsiteY1"/>
                  </a:cxn>
                  <a:cxn ang="0">
                    <a:pos x="connsiteX2" y="connsiteY2"/>
                  </a:cxn>
                  <a:cxn ang="0">
                    <a:pos x="connsiteX3" y="connsiteY3"/>
                  </a:cxn>
                </a:cxnLst>
                <a:rect l="l" t="t" r="r" b="b"/>
                <a:pathLst>
                  <a:path w="37917" h="268773">
                    <a:moveTo>
                      <a:pt x="37918" y="419"/>
                    </a:moveTo>
                    <a:lnTo>
                      <a:pt x="3050" y="268774"/>
                    </a:lnTo>
                    <a:lnTo>
                      <a:pt x="0" y="268355"/>
                    </a:lnTo>
                    <a:lnTo>
                      <a:pt x="34868" y="0"/>
                    </a:lnTo>
                    <a:close/>
                  </a:path>
                </a:pathLst>
              </a:custGeom>
              <a:grpFill/>
              <a:ln w="5978" cap="flat">
                <a:noFill/>
                <a:prstDash val="solid"/>
                <a:miter/>
              </a:ln>
            </p:spPr>
            <p:txBody>
              <a:bodyPr rtlCol="0" anchor="ctr"/>
              <a:lstStyle/>
              <a:p>
                <a:endParaRPr lang="en-GB"/>
              </a:p>
            </p:txBody>
          </p:sp>
          <p:sp>
            <p:nvSpPr>
              <p:cNvPr id="2801" name="Vrije vorm: vorm 2800">
                <a:extLst>
                  <a:ext uri="{FF2B5EF4-FFF2-40B4-BE49-F238E27FC236}">
                    <a16:creationId xmlns:a16="http://schemas.microsoft.com/office/drawing/2014/main" id="{06D67314-00EF-4369-AB0E-C52D576801FA}"/>
                  </a:ext>
                </a:extLst>
              </p:cNvPr>
              <p:cNvSpPr/>
              <p:nvPr/>
            </p:nvSpPr>
            <p:spPr>
              <a:xfrm>
                <a:off x="5792270" y="5360183"/>
                <a:ext cx="18338" cy="18398"/>
              </a:xfrm>
              <a:custGeom>
                <a:avLst/>
                <a:gdLst>
                  <a:gd name="connsiteX0" fmla="*/ 18261 w 18338"/>
                  <a:gd name="connsiteY0" fmla="*/ 10426 h 18398"/>
                  <a:gd name="connsiteX1" fmla="*/ 7973 w 18338"/>
                  <a:gd name="connsiteY1" fmla="*/ 18320 h 18398"/>
                  <a:gd name="connsiteX2" fmla="*/ 79 w 18338"/>
                  <a:gd name="connsiteY2" fmla="*/ 7973 h 18398"/>
                  <a:gd name="connsiteX3" fmla="*/ 10366 w 18338"/>
                  <a:gd name="connsiteY3" fmla="*/ 79 h 18398"/>
                  <a:gd name="connsiteX4" fmla="*/ 18261 w 18338"/>
                  <a:gd name="connsiteY4" fmla="*/ 10426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18261" y="10426"/>
                    </a:moveTo>
                    <a:cubicBezTo>
                      <a:pt x="17602" y="15449"/>
                      <a:pt x="12997" y="18978"/>
                      <a:pt x="7973" y="18320"/>
                    </a:cubicBezTo>
                    <a:cubicBezTo>
                      <a:pt x="2950" y="17662"/>
                      <a:pt x="-579" y="12997"/>
                      <a:pt x="79" y="7973"/>
                    </a:cubicBezTo>
                    <a:cubicBezTo>
                      <a:pt x="737" y="2950"/>
                      <a:pt x="5342" y="-579"/>
                      <a:pt x="10366" y="79"/>
                    </a:cubicBezTo>
                    <a:cubicBezTo>
                      <a:pt x="15330" y="737"/>
                      <a:pt x="18918" y="5342"/>
                      <a:pt x="18261" y="10426"/>
                    </a:cubicBezTo>
                    <a:close/>
                  </a:path>
                </a:pathLst>
              </a:custGeom>
              <a:grpFill/>
              <a:ln w="5978" cap="flat">
                <a:noFill/>
                <a:prstDash val="solid"/>
                <a:miter/>
              </a:ln>
            </p:spPr>
            <p:txBody>
              <a:bodyPr rtlCol="0" anchor="ctr"/>
              <a:lstStyle/>
              <a:p>
                <a:endParaRPr lang="en-GB"/>
              </a:p>
            </p:txBody>
          </p:sp>
          <p:sp>
            <p:nvSpPr>
              <p:cNvPr id="2802" name="Vrije vorm: vorm 2801">
                <a:extLst>
                  <a:ext uri="{FF2B5EF4-FFF2-40B4-BE49-F238E27FC236}">
                    <a16:creationId xmlns:a16="http://schemas.microsoft.com/office/drawing/2014/main" id="{C91A9139-C658-4CF8-B96E-79CBA6CD2A41}"/>
                  </a:ext>
                </a:extLst>
              </p:cNvPr>
              <p:cNvSpPr/>
              <p:nvPr/>
            </p:nvSpPr>
            <p:spPr>
              <a:xfrm>
                <a:off x="5827018" y="5092725"/>
                <a:ext cx="18339" cy="18398"/>
              </a:xfrm>
              <a:custGeom>
                <a:avLst/>
                <a:gdLst>
                  <a:gd name="connsiteX0" fmla="*/ 18261 w 18339"/>
                  <a:gd name="connsiteY0" fmla="*/ 10425 h 18398"/>
                  <a:gd name="connsiteX1" fmla="*/ 10366 w 18339"/>
                  <a:gd name="connsiteY1" fmla="*/ 79 h 18398"/>
                  <a:gd name="connsiteX2" fmla="*/ 79 w 18339"/>
                  <a:gd name="connsiteY2" fmla="*/ 7973 h 18398"/>
                  <a:gd name="connsiteX3" fmla="*/ 7973 w 18339"/>
                  <a:gd name="connsiteY3" fmla="*/ 18320 h 18398"/>
                  <a:gd name="connsiteX4" fmla="*/ 18261 w 18339"/>
                  <a:gd name="connsiteY4" fmla="*/ 1042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8261" y="10425"/>
                    </a:moveTo>
                    <a:cubicBezTo>
                      <a:pt x="18918" y="5402"/>
                      <a:pt x="15390" y="737"/>
                      <a:pt x="10366" y="79"/>
                    </a:cubicBezTo>
                    <a:cubicBezTo>
                      <a:pt x="5342" y="-579"/>
                      <a:pt x="737" y="2950"/>
                      <a:pt x="79" y="7973"/>
                    </a:cubicBezTo>
                    <a:cubicBezTo>
                      <a:pt x="-579" y="12997"/>
                      <a:pt x="2950" y="17662"/>
                      <a:pt x="7973" y="18320"/>
                    </a:cubicBezTo>
                    <a:cubicBezTo>
                      <a:pt x="12997" y="18978"/>
                      <a:pt x="17602" y="15449"/>
                      <a:pt x="18261" y="10425"/>
                    </a:cubicBezTo>
                    <a:close/>
                  </a:path>
                </a:pathLst>
              </a:custGeom>
              <a:grpFill/>
              <a:ln w="5978" cap="flat">
                <a:noFill/>
                <a:prstDash val="solid"/>
                <a:miter/>
              </a:ln>
            </p:spPr>
            <p:txBody>
              <a:bodyPr rtlCol="0" anchor="ctr"/>
              <a:lstStyle/>
              <a:p>
                <a:endParaRPr lang="en-GB"/>
              </a:p>
            </p:txBody>
          </p:sp>
        </p:grpSp>
        <p:grpSp>
          <p:nvGrpSpPr>
            <p:cNvPr id="867" name="Graphic 3">
              <a:extLst>
                <a:ext uri="{FF2B5EF4-FFF2-40B4-BE49-F238E27FC236}">
                  <a16:creationId xmlns:a16="http://schemas.microsoft.com/office/drawing/2014/main" id="{2BBA0A70-DB09-44DA-8436-40859C965C4E}"/>
                </a:ext>
              </a:extLst>
            </p:cNvPr>
            <p:cNvGrpSpPr/>
            <p:nvPr/>
          </p:nvGrpSpPr>
          <p:grpSpPr>
            <a:xfrm>
              <a:off x="5832953" y="5278381"/>
              <a:ext cx="23502" cy="65259"/>
              <a:chOff x="5832953" y="5278381"/>
              <a:chExt cx="23502" cy="65259"/>
            </a:xfrm>
            <a:grpFill/>
          </p:grpSpPr>
          <p:sp>
            <p:nvSpPr>
              <p:cNvPr id="2797" name="Vrije vorm: vorm 2796">
                <a:extLst>
                  <a:ext uri="{FF2B5EF4-FFF2-40B4-BE49-F238E27FC236}">
                    <a16:creationId xmlns:a16="http://schemas.microsoft.com/office/drawing/2014/main" id="{64D7787A-B001-4B31-B42B-93D7C35E98B7}"/>
                  </a:ext>
                </a:extLst>
              </p:cNvPr>
              <p:cNvSpPr/>
              <p:nvPr/>
            </p:nvSpPr>
            <p:spPr>
              <a:xfrm>
                <a:off x="5840493" y="5286938"/>
                <a:ext cx="8373" cy="48145"/>
              </a:xfrm>
              <a:custGeom>
                <a:avLst/>
                <a:gdLst>
                  <a:gd name="connsiteX0" fmla="*/ 8373 w 8373"/>
                  <a:gd name="connsiteY0" fmla="*/ 359 h 48145"/>
                  <a:gd name="connsiteX1" fmla="*/ 3050 w 8373"/>
                  <a:gd name="connsiteY1" fmla="*/ 48145 h 48145"/>
                  <a:gd name="connsiteX2" fmla="*/ 0 w 8373"/>
                  <a:gd name="connsiteY2" fmla="*/ 47786 h 48145"/>
                  <a:gd name="connsiteX3" fmla="*/ 5323 w 8373"/>
                  <a:gd name="connsiteY3" fmla="*/ 0 h 48145"/>
                </a:gdLst>
                <a:ahLst/>
                <a:cxnLst>
                  <a:cxn ang="0">
                    <a:pos x="connsiteX0" y="connsiteY0"/>
                  </a:cxn>
                  <a:cxn ang="0">
                    <a:pos x="connsiteX1" y="connsiteY1"/>
                  </a:cxn>
                  <a:cxn ang="0">
                    <a:pos x="connsiteX2" y="connsiteY2"/>
                  </a:cxn>
                  <a:cxn ang="0">
                    <a:pos x="connsiteX3" y="connsiteY3"/>
                  </a:cxn>
                </a:cxnLst>
                <a:rect l="l" t="t" r="r" b="b"/>
                <a:pathLst>
                  <a:path w="8373" h="48145">
                    <a:moveTo>
                      <a:pt x="8373" y="359"/>
                    </a:moveTo>
                    <a:lnTo>
                      <a:pt x="3050" y="48145"/>
                    </a:lnTo>
                    <a:lnTo>
                      <a:pt x="0" y="47786"/>
                    </a:lnTo>
                    <a:lnTo>
                      <a:pt x="5323" y="0"/>
                    </a:lnTo>
                    <a:close/>
                  </a:path>
                </a:pathLst>
              </a:custGeom>
              <a:grpFill/>
              <a:ln w="5978" cap="flat">
                <a:noFill/>
                <a:prstDash val="solid"/>
                <a:miter/>
              </a:ln>
            </p:spPr>
            <p:txBody>
              <a:bodyPr rtlCol="0" anchor="ctr"/>
              <a:lstStyle/>
              <a:p>
                <a:endParaRPr lang="en-GB"/>
              </a:p>
            </p:txBody>
          </p:sp>
          <p:sp>
            <p:nvSpPr>
              <p:cNvPr id="2798" name="Vrije vorm: vorm 2797">
                <a:extLst>
                  <a:ext uri="{FF2B5EF4-FFF2-40B4-BE49-F238E27FC236}">
                    <a16:creationId xmlns:a16="http://schemas.microsoft.com/office/drawing/2014/main" id="{11BF3CB1-05EB-4A69-A384-9FAE87F2D073}"/>
                  </a:ext>
                </a:extLst>
              </p:cNvPr>
              <p:cNvSpPr/>
              <p:nvPr/>
            </p:nvSpPr>
            <p:spPr>
              <a:xfrm>
                <a:off x="5832953" y="5325210"/>
                <a:ext cx="18299" cy="18430"/>
              </a:xfrm>
              <a:custGeom>
                <a:avLst/>
                <a:gdLst>
                  <a:gd name="connsiteX0" fmla="*/ 18246 w 18299"/>
                  <a:gd name="connsiteY0" fmla="*/ 10291 h 18430"/>
                  <a:gd name="connsiteX1" fmla="*/ 8138 w 18299"/>
                  <a:gd name="connsiteY1" fmla="*/ 18365 h 18430"/>
                  <a:gd name="connsiteX2" fmla="*/ 64 w 18299"/>
                  <a:gd name="connsiteY2" fmla="*/ 8138 h 18430"/>
                  <a:gd name="connsiteX3" fmla="*/ 10172 w 18299"/>
                  <a:gd name="connsiteY3" fmla="*/ 64 h 18430"/>
                  <a:gd name="connsiteX4" fmla="*/ 18246 w 18299"/>
                  <a:gd name="connsiteY4" fmla="*/ 1029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30">
                    <a:moveTo>
                      <a:pt x="18246" y="10291"/>
                    </a:moveTo>
                    <a:cubicBezTo>
                      <a:pt x="17707" y="15375"/>
                      <a:pt x="13162" y="18963"/>
                      <a:pt x="8138" y="18365"/>
                    </a:cubicBezTo>
                    <a:cubicBezTo>
                      <a:pt x="3114" y="17767"/>
                      <a:pt x="-534" y="13222"/>
                      <a:pt x="64" y="8138"/>
                    </a:cubicBezTo>
                    <a:cubicBezTo>
                      <a:pt x="603" y="3114"/>
                      <a:pt x="5148" y="-534"/>
                      <a:pt x="10172" y="64"/>
                    </a:cubicBezTo>
                    <a:cubicBezTo>
                      <a:pt x="15196" y="662"/>
                      <a:pt x="18784" y="5208"/>
                      <a:pt x="18246" y="10291"/>
                    </a:cubicBezTo>
                    <a:close/>
                  </a:path>
                </a:pathLst>
              </a:custGeom>
              <a:grpFill/>
              <a:ln w="5978" cap="flat">
                <a:noFill/>
                <a:prstDash val="solid"/>
                <a:miter/>
              </a:ln>
            </p:spPr>
            <p:txBody>
              <a:bodyPr rtlCol="0" anchor="ctr"/>
              <a:lstStyle/>
              <a:p>
                <a:endParaRPr lang="en-GB"/>
              </a:p>
            </p:txBody>
          </p:sp>
          <p:sp>
            <p:nvSpPr>
              <p:cNvPr id="2799" name="Vrije vorm: vorm 2798">
                <a:extLst>
                  <a:ext uri="{FF2B5EF4-FFF2-40B4-BE49-F238E27FC236}">
                    <a16:creationId xmlns:a16="http://schemas.microsoft.com/office/drawing/2014/main" id="{4ECAD2B7-BE1C-4055-81DD-69933A2D4C59}"/>
                  </a:ext>
                </a:extLst>
              </p:cNvPr>
              <p:cNvSpPr/>
              <p:nvPr/>
            </p:nvSpPr>
            <p:spPr>
              <a:xfrm>
                <a:off x="5838167" y="5278381"/>
                <a:ext cx="18288" cy="18429"/>
              </a:xfrm>
              <a:custGeom>
                <a:avLst/>
                <a:gdLst>
                  <a:gd name="connsiteX0" fmla="*/ 18235 w 18288"/>
                  <a:gd name="connsiteY0" fmla="*/ 10291 h 18429"/>
                  <a:gd name="connsiteX1" fmla="*/ 10161 w 18288"/>
                  <a:gd name="connsiteY1" fmla="*/ 64 h 18429"/>
                  <a:gd name="connsiteX2" fmla="*/ 53 w 18288"/>
                  <a:gd name="connsiteY2" fmla="*/ 8138 h 18429"/>
                  <a:gd name="connsiteX3" fmla="*/ 8128 w 18288"/>
                  <a:gd name="connsiteY3" fmla="*/ 18365 h 18429"/>
                  <a:gd name="connsiteX4" fmla="*/ 18235 w 18288"/>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9">
                    <a:moveTo>
                      <a:pt x="18235" y="10291"/>
                    </a:moveTo>
                    <a:cubicBezTo>
                      <a:pt x="18773" y="5208"/>
                      <a:pt x="15185" y="662"/>
                      <a:pt x="10161" y="64"/>
                    </a:cubicBezTo>
                    <a:cubicBezTo>
                      <a:pt x="5137" y="-534"/>
                      <a:pt x="592" y="3114"/>
                      <a:pt x="53" y="8138"/>
                    </a:cubicBezTo>
                    <a:cubicBezTo>
                      <a:pt x="-485" y="13162"/>
                      <a:pt x="3104" y="17767"/>
                      <a:pt x="8128" y="18365"/>
                    </a:cubicBezTo>
                    <a:cubicBezTo>
                      <a:pt x="13151" y="18963"/>
                      <a:pt x="17637" y="15315"/>
                      <a:pt x="18235" y="10291"/>
                    </a:cubicBezTo>
                    <a:close/>
                  </a:path>
                </a:pathLst>
              </a:custGeom>
              <a:grpFill/>
              <a:ln w="5978" cap="flat">
                <a:noFill/>
                <a:prstDash val="solid"/>
                <a:miter/>
              </a:ln>
            </p:spPr>
            <p:txBody>
              <a:bodyPr rtlCol="0" anchor="ctr"/>
              <a:lstStyle/>
              <a:p>
                <a:endParaRPr lang="en-GB"/>
              </a:p>
            </p:txBody>
          </p:sp>
        </p:grpSp>
        <p:grpSp>
          <p:nvGrpSpPr>
            <p:cNvPr id="868" name="Graphic 3">
              <a:extLst>
                <a:ext uri="{FF2B5EF4-FFF2-40B4-BE49-F238E27FC236}">
                  <a16:creationId xmlns:a16="http://schemas.microsoft.com/office/drawing/2014/main" id="{B0B9562B-7C78-4F66-B5C4-14D4D9688DFB}"/>
                </a:ext>
              </a:extLst>
            </p:cNvPr>
            <p:cNvGrpSpPr/>
            <p:nvPr/>
          </p:nvGrpSpPr>
          <p:grpSpPr>
            <a:xfrm>
              <a:off x="4717153" y="2135244"/>
              <a:ext cx="124921" cy="120479"/>
              <a:chOff x="4717153" y="2135244"/>
              <a:chExt cx="124921" cy="120479"/>
            </a:xfrm>
            <a:grpFill/>
          </p:grpSpPr>
          <p:sp>
            <p:nvSpPr>
              <p:cNvPr id="2794" name="Vrije vorm: vorm 2793">
                <a:extLst>
                  <a:ext uri="{FF2B5EF4-FFF2-40B4-BE49-F238E27FC236}">
                    <a16:creationId xmlns:a16="http://schemas.microsoft.com/office/drawing/2014/main" id="{5133B5A5-BF73-4160-A124-62ED664CC448}"/>
                  </a:ext>
                </a:extLst>
              </p:cNvPr>
              <p:cNvSpPr/>
              <p:nvPr/>
            </p:nvSpPr>
            <p:spPr>
              <a:xfrm>
                <a:off x="4724909" y="2143052"/>
                <a:ext cx="109327" cy="104901"/>
              </a:xfrm>
              <a:custGeom>
                <a:avLst/>
                <a:gdLst>
                  <a:gd name="connsiteX0" fmla="*/ 109327 w 109327"/>
                  <a:gd name="connsiteY0" fmla="*/ 102689 h 104901"/>
                  <a:gd name="connsiteX1" fmla="*/ 107234 w 109327"/>
                  <a:gd name="connsiteY1" fmla="*/ 104902 h 104901"/>
                  <a:gd name="connsiteX2" fmla="*/ 0 w 109327"/>
                  <a:gd name="connsiteY2" fmla="*/ 2213 h 104901"/>
                  <a:gd name="connsiteX3" fmla="*/ 2093 w 109327"/>
                  <a:gd name="connsiteY3" fmla="*/ 0 h 104901"/>
                </a:gdLst>
                <a:ahLst/>
                <a:cxnLst>
                  <a:cxn ang="0">
                    <a:pos x="connsiteX0" y="connsiteY0"/>
                  </a:cxn>
                  <a:cxn ang="0">
                    <a:pos x="connsiteX1" y="connsiteY1"/>
                  </a:cxn>
                  <a:cxn ang="0">
                    <a:pos x="connsiteX2" y="connsiteY2"/>
                  </a:cxn>
                  <a:cxn ang="0">
                    <a:pos x="connsiteX3" y="connsiteY3"/>
                  </a:cxn>
                </a:cxnLst>
                <a:rect l="l" t="t" r="r" b="b"/>
                <a:pathLst>
                  <a:path w="109327" h="104901">
                    <a:moveTo>
                      <a:pt x="109327" y="102689"/>
                    </a:moveTo>
                    <a:lnTo>
                      <a:pt x="107234" y="104902"/>
                    </a:lnTo>
                    <a:lnTo>
                      <a:pt x="0" y="2213"/>
                    </a:lnTo>
                    <a:lnTo>
                      <a:pt x="2093" y="0"/>
                    </a:lnTo>
                    <a:close/>
                  </a:path>
                </a:pathLst>
              </a:custGeom>
              <a:grpFill/>
              <a:ln w="5978" cap="flat">
                <a:noFill/>
                <a:prstDash val="solid"/>
                <a:miter/>
              </a:ln>
            </p:spPr>
            <p:txBody>
              <a:bodyPr rtlCol="0" anchor="ctr"/>
              <a:lstStyle/>
              <a:p>
                <a:endParaRPr lang="en-GB"/>
              </a:p>
            </p:txBody>
          </p:sp>
          <p:sp>
            <p:nvSpPr>
              <p:cNvPr id="2795" name="Vrije vorm: vorm 2794">
                <a:extLst>
                  <a:ext uri="{FF2B5EF4-FFF2-40B4-BE49-F238E27FC236}">
                    <a16:creationId xmlns:a16="http://schemas.microsoft.com/office/drawing/2014/main" id="{9356CCCB-619C-48AA-BF39-12AC38CB6A1C}"/>
                  </a:ext>
                </a:extLst>
              </p:cNvPr>
              <p:cNvSpPr/>
              <p:nvPr/>
            </p:nvSpPr>
            <p:spPr>
              <a:xfrm>
                <a:off x="4717153" y="2135244"/>
                <a:ext cx="18323" cy="18426"/>
              </a:xfrm>
              <a:custGeom>
                <a:avLst/>
                <a:gdLst>
                  <a:gd name="connsiteX0" fmla="*/ 2852 w 18323"/>
                  <a:gd name="connsiteY0" fmla="*/ 15882 h 18426"/>
                  <a:gd name="connsiteX1" fmla="*/ 2493 w 18323"/>
                  <a:gd name="connsiteY1" fmla="*/ 2844 h 18426"/>
                  <a:gd name="connsiteX2" fmla="*/ 15471 w 18323"/>
                  <a:gd name="connsiteY2" fmla="*/ 2545 h 18426"/>
                  <a:gd name="connsiteX3" fmla="*/ 15830 w 18323"/>
                  <a:gd name="connsiteY3" fmla="*/ 15583 h 18426"/>
                  <a:gd name="connsiteX4" fmla="*/ 2852 w 18323"/>
                  <a:gd name="connsiteY4" fmla="*/ 1588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6">
                    <a:moveTo>
                      <a:pt x="2852" y="15882"/>
                    </a:moveTo>
                    <a:cubicBezTo>
                      <a:pt x="-796" y="12353"/>
                      <a:pt x="-976" y="6552"/>
                      <a:pt x="2493" y="2844"/>
                    </a:cubicBezTo>
                    <a:cubicBezTo>
                      <a:pt x="5962" y="-804"/>
                      <a:pt x="11763" y="-984"/>
                      <a:pt x="15471" y="2545"/>
                    </a:cubicBezTo>
                    <a:cubicBezTo>
                      <a:pt x="19120" y="6073"/>
                      <a:pt x="19299" y="11875"/>
                      <a:pt x="15830" y="15583"/>
                    </a:cubicBezTo>
                    <a:cubicBezTo>
                      <a:pt x="12302" y="19231"/>
                      <a:pt x="6500" y="19410"/>
                      <a:pt x="2852" y="15882"/>
                    </a:cubicBezTo>
                    <a:close/>
                  </a:path>
                </a:pathLst>
              </a:custGeom>
              <a:grpFill/>
              <a:ln w="5978" cap="flat">
                <a:noFill/>
                <a:prstDash val="solid"/>
                <a:miter/>
              </a:ln>
            </p:spPr>
            <p:txBody>
              <a:bodyPr rtlCol="0" anchor="ctr"/>
              <a:lstStyle/>
              <a:p>
                <a:endParaRPr lang="en-GB"/>
              </a:p>
            </p:txBody>
          </p:sp>
          <p:sp>
            <p:nvSpPr>
              <p:cNvPr id="2796" name="Vrije vorm: vorm 2795">
                <a:extLst>
                  <a:ext uri="{FF2B5EF4-FFF2-40B4-BE49-F238E27FC236}">
                    <a16:creationId xmlns:a16="http://schemas.microsoft.com/office/drawing/2014/main" id="{EFC5D056-28DC-4CAE-B9AC-A3CC5ABC7EBA}"/>
                  </a:ext>
                </a:extLst>
              </p:cNvPr>
              <p:cNvSpPr/>
              <p:nvPr/>
            </p:nvSpPr>
            <p:spPr>
              <a:xfrm>
                <a:off x="4823708" y="2237254"/>
                <a:ext cx="18366" cy="18470"/>
              </a:xfrm>
              <a:custGeom>
                <a:avLst/>
                <a:gdLst>
                  <a:gd name="connsiteX0" fmla="*/ 2874 w 18366"/>
                  <a:gd name="connsiteY0" fmla="*/ 15903 h 18470"/>
                  <a:gd name="connsiteX1" fmla="*/ 15852 w 18366"/>
                  <a:gd name="connsiteY1" fmla="*/ 15604 h 18470"/>
                  <a:gd name="connsiteX2" fmla="*/ 15493 w 18366"/>
                  <a:gd name="connsiteY2" fmla="*/ 2567 h 18470"/>
                  <a:gd name="connsiteX3" fmla="*/ 2515 w 18366"/>
                  <a:gd name="connsiteY3" fmla="*/ 2866 h 18470"/>
                  <a:gd name="connsiteX4" fmla="*/ 2874 w 18366"/>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0">
                    <a:moveTo>
                      <a:pt x="2874" y="15903"/>
                    </a:moveTo>
                    <a:cubicBezTo>
                      <a:pt x="6522" y="19432"/>
                      <a:pt x="12323" y="19313"/>
                      <a:pt x="15852" y="15604"/>
                    </a:cubicBezTo>
                    <a:cubicBezTo>
                      <a:pt x="19321" y="11956"/>
                      <a:pt x="19201" y="6095"/>
                      <a:pt x="15493" y="2567"/>
                    </a:cubicBezTo>
                    <a:cubicBezTo>
                      <a:pt x="11845" y="-962"/>
                      <a:pt x="6043" y="-843"/>
                      <a:pt x="2515" y="2866"/>
                    </a:cubicBezTo>
                    <a:cubicBezTo>
                      <a:pt x="-954" y="6574"/>
                      <a:pt x="-834" y="12375"/>
                      <a:pt x="2874" y="15903"/>
                    </a:cubicBezTo>
                    <a:close/>
                  </a:path>
                </a:pathLst>
              </a:custGeom>
              <a:grpFill/>
              <a:ln w="5978" cap="flat">
                <a:noFill/>
                <a:prstDash val="solid"/>
                <a:miter/>
              </a:ln>
            </p:spPr>
            <p:txBody>
              <a:bodyPr rtlCol="0" anchor="ctr"/>
              <a:lstStyle/>
              <a:p>
                <a:endParaRPr lang="en-GB"/>
              </a:p>
            </p:txBody>
          </p:sp>
        </p:grpSp>
        <p:grpSp>
          <p:nvGrpSpPr>
            <p:cNvPr id="869" name="Graphic 3">
              <a:extLst>
                <a:ext uri="{FF2B5EF4-FFF2-40B4-BE49-F238E27FC236}">
                  <a16:creationId xmlns:a16="http://schemas.microsoft.com/office/drawing/2014/main" id="{9808C52E-1A15-49F6-B91E-0DB5996DF743}"/>
                </a:ext>
              </a:extLst>
            </p:cNvPr>
            <p:cNvGrpSpPr/>
            <p:nvPr/>
          </p:nvGrpSpPr>
          <p:grpSpPr>
            <a:xfrm>
              <a:off x="5764443" y="5090243"/>
              <a:ext cx="49365" cy="226827"/>
              <a:chOff x="5764443" y="5090243"/>
              <a:chExt cx="49365" cy="226827"/>
            </a:xfrm>
            <a:grpFill/>
          </p:grpSpPr>
          <p:sp>
            <p:nvSpPr>
              <p:cNvPr id="2791" name="Vrije vorm: vorm 2790">
                <a:extLst>
                  <a:ext uri="{FF2B5EF4-FFF2-40B4-BE49-F238E27FC236}">
                    <a16:creationId xmlns:a16="http://schemas.microsoft.com/office/drawing/2014/main" id="{CBE7CEB8-BCC5-416D-9899-F985435E13C2}"/>
                  </a:ext>
                </a:extLst>
              </p:cNvPr>
              <p:cNvSpPr/>
              <p:nvPr/>
            </p:nvSpPr>
            <p:spPr>
              <a:xfrm>
                <a:off x="5772074" y="5098785"/>
                <a:ext cx="34150" cy="209743"/>
              </a:xfrm>
              <a:custGeom>
                <a:avLst/>
                <a:gdLst>
                  <a:gd name="connsiteX0" fmla="*/ 34150 w 34150"/>
                  <a:gd name="connsiteY0" fmla="*/ 419 h 209743"/>
                  <a:gd name="connsiteX1" fmla="*/ 2990 w 34150"/>
                  <a:gd name="connsiteY1" fmla="*/ 209744 h 209743"/>
                  <a:gd name="connsiteX2" fmla="*/ 0 w 34150"/>
                  <a:gd name="connsiteY2" fmla="*/ 209265 h 209743"/>
                  <a:gd name="connsiteX3" fmla="*/ 31160 w 34150"/>
                  <a:gd name="connsiteY3" fmla="*/ 0 h 209743"/>
                </a:gdLst>
                <a:ahLst/>
                <a:cxnLst>
                  <a:cxn ang="0">
                    <a:pos x="connsiteX0" y="connsiteY0"/>
                  </a:cxn>
                  <a:cxn ang="0">
                    <a:pos x="connsiteX1" y="connsiteY1"/>
                  </a:cxn>
                  <a:cxn ang="0">
                    <a:pos x="connsiteX2" y="connsiteY2"/>
                  </a:cxn>
                  <a:cxn ang="0">
                    <a:pos x="connsiteX3" y="connsiteY3"/>
                  </a:cxn>
                </a:cxnLst>
                <a:rect l="l" t="t" r="r" b="b"/>
                <a:pathLst>
                  <a:path w="34150" h="209743">
                    <a:moveTo>
                      <a:pt x="34150" y="419"/>
                    </a:moveTo>
                    <a:lnTo>
                      <a:pt x="2990" y="209744"/>
                    </a:lnTo>
                    <a:lnTo>
                      <a:pt x="0" y="209265"/>
                    </a:lnTo>
                    <a:lnTo>
                      <a:pt x="31160" y="0"/>
                    </a:lnTo>
                    <a:close/>
                  </a:path>
                </a:pathLst>
              </a:custGeom>
              <a:grpFill/>
              <a:ln w="5978" cap="flat">
                <a:noFill/>
                <a:prstDash val="solid"/>
                <a:miter/>
              </a:ln>
            </p:spPr>
            <p:txBody>
              <a:bodyPr rtlCol="0" anchor="ctr"/>
              <a:lstStyle/>
              <a:p>
                <a:endParaRPr lang="en-GB"/>
              </a:p>
            </p:txBody>
          </p:sp>
          <p:sp>
            <p:nvSpPr>
              <p:cNvPr id="2792" name="Vrije vorm: vorm 2791">
                <a:extLst>
                  <a:ext uri="{FF2B5EF4-FFF2-40B4-BE49-F238E27FC236}">
                    <a16:creationId xmlns:a16="http://schemas.microsoft.com/office/drawing/2014/main" id="{00CEB848-55B4-4162-8545-8ED167256EA1}"/>
                  </a:ext>
                </a:extLst>
              </p:cNvPr>
              <p:cNvSpPr/>
              <p:nvPr/>
            </p:nvSpPr>
            <p:spPr>
              <a:xfrm>
                <a:off x="5764443" y="5298611"/>
                <a:ext cx="18325" cy="18458"/>
              </a:xfrm>
              <a:custGeom>
                <a:avLst/>
                <a:gdLst>
                  <a:gd name="connsiteX0" fmla="*/ 18217 w 18325"/>
                  <a:gd name="connsiteY0" fmla="*/ 10635 h 18458"/>
                  <a:gd name="connsiteX1" fmla="*/ 7810 w 18325"/>
                  <a:gd name="connsiteY1" fmla="*/ 18350 h 18458"/>
                  <a:gd name="connsiteX2" fmla="*/ 95 w 18325"/>
                  <a:gd name="connsiteY2" fmla="*/ 7824 h 18458"/>
                  <a:gd name="connsiteX3" fmla="*/ 10502 w 18325"/>
                  <a:gd name="connsiteY3" fmla="*/ 109 h 18458"/>
                  <a:gd name="connsiteX4" fmla="*/ 18217 w 18325"/>
                  <a:gd name="connsiteY4" fmla="*/ 1063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8">
                    <a:moveTo>
                      <a:pt x="18217" y="10635"/>
                    </a:moveTo>
                    <a:cubicBezTo>
                      <a:pt x="17439" y="15659"/>
                      <a:pt x="12774" y="19128"/>
                      <a:pt x="7810" y="18350"/>
                    </a:cubicBezTo>
                    <a:cubicBezTo>
                      <a:pt x="2786" y="17573"/>
                      <a:pt x="-622" y="12848"/>
                      <a:pt x="95" y="7824"/>
                    </a:cubicBezTo>
                    <a:cubicBezTo>
                      <a:pt x="813" y="2800"/>
                      <a:pt x="5478" y="-669"/>
                      <a:pt x="10502" y="109"/>
                    </a:cubicBezTo>
                    <a:cubicBezTo>
                      <a:pt x="15525" y="886"/>
                      <a:pt x="18994" y="5611"/>
                      <a:pt x="18217" y="10635"/>
                    </a:cubicBezTo>
                    <a:close/>
                  </a:path>
                </a:pathLst>
              </a:custGeom>
              <a:grpFill/>
              <a:ln w="5978" cap="flat">
                <a:noFill/>
                <a:prstDash val="solid"/>
                <a:miter/>
              </a:ln>
            </p:spPr>
            <p:txBody>
              <a:bodyPr rtlCol="0" anchor="ctr"/>
              <a:lstStyle/>
              <a:p>
                <a:endParaRPr lang="en-GB"/>
              </a:p>
            </p:txBody>
          </p:sp>
          <p:sp>
            <p:nvSpPr>
              <p:cNvPr id="2793" name="Vrije vorm: vorm 2792">
                <a:extLst>
                  <a:ext uri="{FF2B5EF4-FFF2-40B4-BE49-F238E27FC236}">
                    <a16:creationId xmlns:a16="http://schemas.microsoft.com/office/drawing/2014/main" id="{0E0BC57D-845D-458D-99AB-B485D0A7C4F6}"/>
                  </a:ext>
                </a:extLst>
              </p:cNvPr>
              <p:cNvSpPr/>
              <p:nvPr/>
            </p:nvSpPr>
            <p:spPr>
              <a:xfrm>
                <a:off x="5795469" y="5090243"/>
                <a:ext cx="18339" cy="18445"/>
              </a:xfrm>
              <a:custGeom>
                <a:avLst/>
                <a:gdLst>
                  <a:gd name="connsiteX0" fmla="*/ 18230 w 18339"/>
                  <a:gd name="connsiteY0" fmla="*/ 10635 h 18445"/>
                  <a:gd name="connsiteX1" fmla="*/ 10515 w 18339"/>
                  <a:gd name="connsiteY1" fmla="*/ 109 h 18445"/>
                  <a:gd name="connsiteX2" fmla="*/ 109 w 18339"/>
                  <a:gd name="connsiteY2" fmla="*/ 7824 h 18445"/>
                  <a:gd name="connsiteX3" fmla="*/ 7824 w 18339"/>
                  <a:gd name="connsiteY3" fmla="*/ 18350 h 18445"/>
                  <a:gd name="connsiteX4" fmla="*/ 18230 w 18339"/>
                  <a:gd name="connsiteY4" fmla="*/ 10635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5">
                    <a:moveTo>
                      <a:pt x="18230" y="10635"/>
                    </a:moveTo>
                    <a:cubicBezTo>
                      <a:pt x="19008" y="5611"/>
                      <a:pt x="15539" y="886"/>
                      <a:pt x="10515" y="109"/>
                    </a:cubicBezTo>
                    <a:cubicBezTo>
                      <a:pt x="5491" y="-669"/>
                      <a:pt x="827" y="2800"/>
                      <a:pt x="109" y="7824"/>
                    </a:cubicBezTo>
                    <a:cubicBezTo>
                      <a:pt x="-669" y="12848"/>
                      <a:pt x="2800" y="17573"/>
                      <a:pt x="7824" y="18350"/>
                    </a:cubicBezTo>
                    <a:cubicBezTo>
                      <a:pt x="12848" y="19068"/>
                      <a:pt x="17513" y="15659"/>
                      <a:pt x="18230" y="10635"/>
                    </a:cubicBezTo>
                    <a:close/>
                  </a:path>
                </a:pathLst>
              </a:custGeom>
              <a:grpFill/>
              <a:ln w="5978" cap="flat">
                <a:noFill/>
                <a:prstDash val="solid"/>
                <a:miter/>
              </a:ln>
            </p:spPr>
            <p:txBody>
              <a:bodyPr rtlCol="0" anchor="ctr"/>
              <a:lstStyle/>
              <a:p>
                <a:endParaRPr lang="en-GB"/>
              </a:p>
            </p:txBody>
          </p:sp>
        </p:grpSp>
        <p:grpSp>
          <p:nvGrpSpPr>
            <p:cNvPr id="870" name="Graphic 3">
              <a:extLst>
                <a:ext uri="{FF2B5EF4-FFF2-40B4-BE49-F238E27FC236}">
                  <a16:creationId xmlns:a16="http://schemas.microsoft.com/office/drawing/2014/main" id="{BEA885EC-5807-4635-8C01-250B4E7FDF3F}"/>
                </a:ext>
              </a:extLst>
            </p:cNvPr>
            <p:cNvGrpSpPr/>
            <p:nvPr/>
          </p:nvGrpSpPr>
          <p:grpSpPr>
            <a:xfrm>
              <a:off x="4669188" y="1933752"/>
              <a:ext cx="72650" cy="76622"/>
              <a:chOff x="4669188" y="1933752"/>
              <a:chExt cx="72650" cy="76622"/>
            </a:xfrm>
            <a:grpFill/>
          </p:grpSpPr>
          <p:sp>
            <p:nvSpPr>
              <p:cNvPr id="2788" name="Vrije vorm: vorm 2787">
                <a:extLst>
                  <a:ext uri="{FF2B5EF4-FFF2-40B4-BE49-F238E27FC236}">
                    <a16:creationId xmlns:a16="http://schemas.microsoft.com/office/drawing/2014/main" id="{F774FD19-659E-486D-BBA7-66154A4877DC}"/>
                  </a:ext>
                </a:extLst>
              </p:cNvPr>
              <p:cNvSpPr/>
              <p:nvPr/>
            </p:nvSpPr>
            <p:spPr>
              <a:xfrm>
                <a:off x="4676884" y="1941622"/>
                <a:ext cx="57235" cy="60943"/>
              </a:xfrm>
              <a:custGeom>
                <a:avLst/>
                <a:gdLst>
                  <a:gd name="connsiteX0" fmla="*/ 57236 w 57235"/>
                  <a:gd name="connsiteY0" fmla="*/ 58850 h 60943"/>
                  <a:gd name="connsiteX1" fmla="*/ 55023 w 57235"/>
                  <a:gd name="connsiteY1" fmla="*/ 60944 h 60943"/>
                  <a:gd name="connsiteX2" fmla="*/ 0 w 57235"/>
                  <a:gd name="connsiteY2" fmla="*/ 2093 h 60943"/>
                  <a:gd name="connsiteX3" fmla="*/ 2213 w 57235"/>
                  <a:gd name="connsiteY3" fmla="*/ 0 h 60943"/>
                </a:gdLst>
                <a:ahLst/>
                <a:cxnLst>
                  <a:cxn ang="0">
                    <a:pos x="connsiteX0" y="connsiteY0"/>
                  </a:cxn>
                  <a:cxn ang="0">
                    <a:pos x="connsiteX1" y="connsiteY1"/>
                  </a:cxn>
                  <a:cxn ang="0">
                    <a:pos x="connsiteX2" y="connsiteY2"/>
                  </a:cxn>
                  <a:cxn ang="0">
                    <a:pos x="connsiteX3" y="connsiteY3"/>
                  </a:cxn>
                </a:cxnLst>
                <a:rect l="l" t="t" r="r" b="b"/>
                <a:pathLst>
                  <a:path w="57235" h="60943">
                    <a:moveTo>
                      <a:pt x="57236" y="58850"/>
                    </a:moveTo>
                    <a:lnTo>
                      <a:pt x="55023" y="60944"/>
                    </a:lnTo>
                    <a:lnTo>
                      <a:pt x="0" y="2093"/>
                    </a:lnTo>
                    <a:lnTo>
                      <a:pt x="2213" y="0"/>
                    </a:lnTo>
                    <a:close/>
                  </a:path>
                </a:pathLst>
              </a:custGeom>
              <a:grpFill/>
              <a:ln w="5978" cap="flat">
                <a:noFill/>
                <a:prstDash val="solid"/>
                <a:miter/>
              </a:ln>
            </p:spPr>
            <p:txBody>
              <a:bodyPr rtlCol="0" anchor="ctr"/>
              <a:lstStyle/>
              <a:p>
                <a:endParaRPr lang="en-GB"/>
              </a:p>
            </p:txBody>
          </p:sp>
          <p:sp>
            <p:nvSpPr>
              <p:cNvPr id="2789" name="Vrije vorm: vorm 2788">
                <a:extLst>
                  <a:ext uri="{FF2B5EF4-FFF2-40B4-BE49-F238E27FC236}">
                    <a16:creationId xmlns:a16="http://schemas.microsoft.com/office/drawing/2014/main" id="{1BA7D831-1AE2-4BD0-B80E-AF2678B0319A}"/>
                  </a:ext>
                </a:extLst>
              </p:cNvPr>
              <p:cNvSpPr/>
              <p:nvPr/>
            </p:nvSpPr>
            <p:spPr>
              <a:xfrm>
                <a:off x="4669188" y="1933752"/>
                <a:ext cx="18323" cy="18474"/>
              </a:xfrm>
              <a:custGeom>
                <a:avLst/>
                <a:gdLst>
                  <a:gd name="connsiteX0" fmla="*/ 2493 w 18323"/>
                  <a:gd name="connsiteY0" fmla="*/ 15525 h 18474"/>
                  <a:gd name="connsiteX1" fmla="*/ 2852 w 18323"/>
                  <a:gd name="connsiteY1" fmla="*/ 2487 h 18474"/>
                  <a:gd name="connsiteX2" fmla="*/ 15830 w 18323"/>
                  <a:gd name="connsiteY2" fmla="*/ 2905 h 18474"/>
                  <a:gd name="connsiteX3" fmla="*/ 15472 w 18323"/>
                  <a:gd name="connsiteY3" fmla="*/ 15943 h 18474"/>
                  <a:gd name="connsiteX4" fmla="*/ 2493 w 18323"/>
                  <a:gd name="connsiteY4" fmla="*/ 15525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74">
                    <a:moveTo>
                      <a:pt x="2493" y="15525"/>
                    </a:moveTo>
                    <a:cubicBezTo>
                      <a:pt x="-975" y="11817"/>
                      <a:pt x="-796" y="5955"/>
                      <a:pt x="2852" y="2487"/>
                    </a:cubicBezTo>
                    <a:cubicBezTo>
                      <a:pt x="6560" y="-982"/>
                      <a:pt x="12362" y="-803"/>
                      <a:pt x="15830" y="2905"/>
                    </a:cubicBezTo>
                    <a:cubicBezTo>
                      <a:pt x="19299" y="6613"/>
                      <a:pt x="19120" y="12474"/>
                      <a:pt x="15472" y="15943"/>
                    </a:cubicBezTo>
                    <a:cubicBezTo>
                      <a:pt x="11763" y="19472"/>
                      <a:pt x="5962" y="19292"/>
                      <a:pt x="2493" y="15525"/>
                    </a:cubicBezTo>
                    <a:close/>
                  </a:path>
                </a:pathLst>
              </a:custGeom>
              <a:grpFill/>
              <a:ln w="5978" cap="flat">
                <a:noFill/>
                <a:prstDash val="solid"/>
                <a:miter/>
              </a:ln>
            </p:spPr>
            <p:txBody>
              <a:bodyPr rtlCol="0" anchor="ctr"/>
              <a:lstStyle/>
              <a:p>
                <a:endParaRPr lang="en-GB"/>
              </a:p>
            </p:txBody>
          </p:sp>
          <p:sp>
            <p:nvSpPr>
              <p:cNvPr id="2790" name="Vrije vorm: vorm 2789">
                <a:extLst>
                  <a:ext uri="{FF2B5EF4-FFF2-40B4-BE49-F238E27FC236}">
                    <a16:creationId xmlns:a16="http://schemas.microsoft.com/office/drawing/2014/main" id="{853BC678-4D62-4F35-9BA3-F47A1753A80A}"/>
                  </a:ext>
                </a:extLst>
              </p:cNvPr>
              <p:cNvSpPr/>
              <p:nvPr/>
            </p:nvSpPr>
            <p:spPr>
              <a:xfrm>
                <a:off x="4723493" y="1991945"/>
                <a:ext cx="18345" cy="18429"/>
              </a:xfrm>
              <a:custGeom>
                <a:avLst/>
                <a:gdLst>
                  <a:gd name="connsiteX0" fmla="*/ 2493 w 18345"/>
                  <a:gd name="connsiteY0" fmla="*/ 15525 h 18429"/>
                  <a:gd name="connsiteX1" fmla="*/ 15471 w 18345"/>
                  <a:gd name="connsiteY1" fmla="*/ 15943 h 18429"/>
                  <a:gd name="connsiteX2" fmla="*/ 15830 w 18345"/>
                  <a:gd name="connsiteY2" fmla="*/ 2905 h 18429"/>
                  <a:gd name="connsiteX3" fmla="*/ 2852 w 18345"/>
                  <a:gd name="connsiteY3" fmla="*/ 2487 h 18429"/>
                  <a:gd name="connsiteX4" fmla="*/ 2493 w 18345"/>
                  <a:gd name="connsiteY4" fmla="*/ 1552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9">
                    <a:moveTo>
                      <a:pt x="2493" y="15525"/>
                    </a:moveTo>
                    <a:cubicBezTo>
                      <a:pt x="5962" y="19233"/>
                      <a:pt x="11763" y="19412"/>
                      <a:pt x="15471" y="15943"/>
                    </a:cubicBezTo>
                    <a:cubicBezTo>
                      <a:pt x="19179" y="12474"/>
                      <a:pt x="19299" y="6613"/>
                      <a:pt x="15830" y="2905"/>
                    </a:cubicBezTo>
                    <a:cubicBezTo>
                      <a:pt x="12362" y="-803"/>
                      <a:pt x="6560" y="-982"/>
                      <a:pt x="2852" y="2487"/>
                    </a:cubicBezTo>
                    <a:cubicBezTo>
                      <a:pt x="-796" y="6015"/>
                      <a:pt x="-976" y="11817"/>
                      <a:pt x="2493" y="15525"/>
                    </a:cubicBezTo>
                    <a:close/>
                  </a:path>
                </a:pathLst>
              </a:custGeom>
              <a:grpFill/>
              <a:ln w="5978" cap="flat">
                <a:noFill/>
                <a:prstDash val="solid"/>
                <a:miter/>
              </a:ln>
            </p:spPr>
            <p:txBody>
              <a:bodyPr rtlCol="0" anchor="ctr"/>
              <a:lstStyle/>
              <a:p>
                <a:endParaRPr lang="en-GB"/>
              </a:p>
            </p:txBody>
          </p:sp>
        </p:grpSp>
        <p:grpSp>
          <p:nvGrpSpPr>
            <p:cNvPr id="871" name="Graphic 3">
              <a:extLst>
                <a:ext uri="{FF2B5EF4-FFF2-40B4-BE49-F238E27FC236}">
                  <a16:creationId xmlns:a16="http://schemas.microsoft.com/office/drawing/2014/main" id="{F8982557-EE0E-4236-B28C-415E6D6C7BCE}"/>
                </a:ext>
              </a:extLst>
            </p:cNvPr>
            <p:cNvGrpSpPr/>
            <p:nvPr/>
          </p:nvGrpSpPr>
          <p:grpSpPr>
            <a:xfrm>
              <a:off x="4669166" y="1933812"/>
              <a:ext cx="41191" cy="42891"/>
              <a:chOff x="4669166" y="1933812"/>
              <a:chExt cx="41191" cy="42891"/>
            </a:xfrm>
            <a:grpFill/>
          </p:grpSpPr>
          <p:sp>
            <p:nvSpPr>
              <p:cNvPr id="2785" name="Vrije vorm: vorm 2784">
                <a:extLst>
                  <a:ext uri="{FF2B5EF4-FFF2-40B4-BE49-F238E27FC236}">
                    <a16:creationId xmlns:a16="http://schemas.microsoft.com/office/drawing/2014/main" id="{70547A20-E791-41F1-8725-7D6A54256415}"/>
                  </a:ext>
                </a:extLst>
              </p:cNvPr>
              <p:cNvSpPr/>
              <p:nvPr/>
            </p:nvSpPr>
            <p:spPr>
              <a:xfrm>
                <a:off x="4676884" y="1941622"/>
                <a:ext cx="25717" cy="27272"/>
              </a:xfrm>
              <a:custGeom>
                <a:avLst/>
                <a:gdLst>
                  <a:gd name="connsiteX0" fmla="*/ 25717 w 25717"/>
                  <a:gd name="connsiteY0" fmla="*/ 25179 h 27272"/>
                  <a:gd name="connsiteX1" fmla="*/ 23504 w 25717"/>
                  <a:gd name="connsiteY1" fmla="*/ 27272 h 27272"/>
                  <a:gd name="connsiteX2" fmla="*/ 0 w 25717"/>
                  <a:gd name="connsiteY2" fmla="*/ 2093 h 27272"/>
                  <a:gd name="connsiteX3" fmla="*/ 2213 w 25717"/>
                  <a:gd name="connsiteY3" fmla="*/ 0 h 27272"/>
                </a:gdLst>
                <a:ahLst/>
                <a:cxnLst>
                  <a:cxn ang="0">
                    <a:pos x="connsiteX0" y="connsiteY0"/>
                  </a:cxn>
                  <a:cxn ang="0">
                    <a:pos x="connsiteX1" y="connsiteY1"/>
                  </a:cxn>
                  <a:cxn ang="0">
                    <a:pos x="connsiteX2" y="connsiteY2"/>
                  </a:cxn>
                  <a:cxn ang="0">
                    <a:pos x="connsiteX3" y="connsiteY3"/>
                  </a:cxn>
                </a:cxnLst>
                <a:rect l="l" t="t" r="r" b="b"/>
                <a:pathLst>
                  <a:path w="25717" h="27272">
                    <a:moveTo>
                      <a:pt x="25717" y="25179"/>
                    </a:moveTo>
                    <a:lnTo>
                      <a:pt x="23504" y="27272"/>
                    </a:lnTo>
                    <a:lnTo>
                      <a:pt x="0" y="2093"/>
                    </a:lnTo>
                    <a:lnTo>
                      <a:pt x="2213" y="0"/>
                    </a:lnTo>
                    <a:close/>
                  </a:path>
                </a:pathLst>
              </a:custGeom>
              <a:grpFill/>
              <a:ln w="5978" cap="flat">
                <a:noFill/>
                <a:prstDash val="solid"/>
                <a:miter/>
              </a:ln>
            </p:spPr>
            <p:txBody>
              <a:bodyPr rtlCol="0" anchor="ctr"/>
              <a:lstStyle/>
              <a:p>
                <a:endParaRPr lang="en-GB"/>
              </a:p>
            </p:txBody>
          </p:sp>
          <p:sp>
            <p:nvSpPr>
              <p:cNvPr id="2786" name="Vrije vorm: vorm 2785">
                <a:extLst>
                  <a:ext uri="{FF2B5EF4-FFF2-40B4-BE49-F238E27FC236}">
                    <a16:creationId xmlns:a16="http://schemas.microsoft.com/office/drawing/2014/main" id="{674A7F09-81D7-4949-95C8-DB7E615237D3}"/>
                  </a:ext>
                </a:extLst>
              </p:cNvPr>
              <p:cNvSpPr/>
              <p:nvPr/>
            </p:nvSpPr>
            <p:spPr>
              <a:xfrm>
                <a:off x="4692034" y="1958273"/>
                <a:ext cx="18323" cy="18429"/>
              </a:xfrm>
              <a:custGeom>
                <a:avLst/>
                <a:gdLst>
                  <a:gd name="connsiteX0" fmla="*/ 15830 w 18323"/>
                  <a:gd name="connsiteY0" fmla="*/ 2905 h 18429"/>
                  <a:gd name="connsiteX1" fmla="*/ 15471 w 18323"/>
                  <a:gd name="connsiteY1" fmla="*/ 15943 h 18429"/>
                  <a:gd name="connsiteX2" fmla="*/ 2493 w 18323"/>
                  <a:gd name="connsiteY2" fmla="*/ 15525 h 18429"/>
                  <a:gd name="connsiteX3" fmla="*/ 2852 w 18323"/>
                  <a:gd name="connsiteY3" fmla="*/ 2487 h 18429"/>
                  <a:gd name="connsiteX4" fmla="*/ 15830 w 18323"/>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9">
                    <a:moveTo>
                      <a:pt x="15830" y="2905"/>
                    </a:moveTo>
                    <a:cubicBezTo>
                      <a:pt x="19299" y="6613"/>
                      <a:pt x="19120" y="12474"/>
                      <a:pt x="15471" y="15943"/>
                    </a:cubicBezTo>
                    <a:cubicBezTo>
                      <a:pt x="11763" y="19412"/>
                      <a:pt x="5962" y="19233"/>
                      <a:pt x="2493" y="15525"/>
                    </a:cubicBezTo>
                    <a:cubicBezTo>
                      <a:pt x="-976" y="11817"/>
                      <a:pt x="-796" y="5956"/>
                      <a:pt x="2852" y="2487"/>
                    </a:cubicBezTo>
                    <a:cubicBezTo>
                      <a:pt x="6560" y="-982"/>
                      <a:pt x="12362" y="-803"/>
                      <a:pt x="15830" y="2905"/>
                    </a:cubicBezTo>
                    <a:close/>
                  </a:path>
                </a:pathLst>
              </a:custGeom>
              <a:grpFill/>
              <a:ln w="5978" cap="flat">
                <a:noFill/>
                <a:prstDash val="solid"/>
                <a:miter/>
              </a:ln>
            </p:spPr>
            <p:txBody>
              <a:bodyPr rtlCol="0" anchor="ctr"/>
              <a:lstStyle/>
              <a:p>
                <a:endParaRPr lang="en-GB"/>
              </a:p>
            </p:txBody>
          </p:sp>
          <p:sp>
            <p:nvSpPr>
              <p:cNvPr id="2787" name="Vrije vorm: vorm 2786">
                <a:extLst>
                  <a:ext uri="{FF2B5EF4-FFF2-40B4-BE49-F238E27FC236}">
                    <a16:creationId xmlns:a16="http://schemas.microsoft.com/office/drawing/2014/main" id="{16B5CF48-B1C0-49FF-8C40-F715095FA00A}"/>
                  </a:ext>
                </a:extLst>
              </p:cNvPr>
              <p:cNvSpPr/>
              <p:nvPr/>
            </p:nvSpPr>
            <p:spPr>
              <a:xfrm>
                <a:off x="4669166" y="1933812"/>
                <a:ext cx="18345" cy="18429"/>
              </a:xfrm>
              <a:custGeom>
                <a:avLst/>
                <a:gdLst>
                  <a:gd name="connsiteX0" fmla="*/ 15852 w 18345"/>
                  <a:gd name="connsiteY0" fmla="*/ 2905 h 18429"/>
                  <a:gd name="connsiteX1" fmla="*/ 2874 w 18345"/>
                  <a:gd name="connsiteY1" fmla="*/ 2487 h 18429"/>
                  <a:gd name="connsiteX2" fmla="*/ 2515 w 18345"/>
                  <a:gd name="connsiteY2" fmla="*/ 15525 h 18429"/>
                  <a:gd name="connsiteX3" fmla="*/ 15493 w 18345"/>
                  <a:gd name="connsiteY3" fmla="*/ 15943 h 18429"/>
                  <a:gd name="connsiteX4" fmla="*/ 15852 w 18345"/>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9">
                    <a:moveTo>
                      <a:pt x="15852" y="2905"/>
                    </a:moveTo>
                    <a:cubicBezTo>
                      <a:pt x="12383" y="-803"/>
                      <a:pt x="6582" y="-982"/>
                      <a:pt x="2874" y="2487"/>
                    </a:cubicBezTo>
                    <a:cubicBezTo>
                      <a:pt x="-834" y="5956"/>
                      <a:pt x="-954" y="11817"/>
                      <a:pt x="2515" y="15525"/>
                    </a:cubicBezTo>
                    <a:cubicBezTo>
                      <a:pt x="5984" y="19233"/>
                      <a:pt x="11785" y="19412"/>
                      <a:pt x="15493" y="15943"/>
                    </a:cubicBezTo>
                    <a:cubicBezTo>
                      <a:pt x="19141" y="12474"/>
                      <a:pt x="19321" y="6613"/>
                      <a:pt x="15852" y="2905"/>
                    </a:cubicBezTo>
                    <a:close/>
                  </a:path>
                </a:pathLst>
              </a:custGeom>
              <a:grpFill/>
              <a:ln w="5978" cap="flat">
                <a:noFill/>
                <a:prstDash val="solid"/>
                <a:miter/>
              </a:ln>
            </p:spPr>
            <p:txBody>
              <a:bodyPr rtlCol="0" anchor="ctr"/>
              <a:lstStyle/>
              <a:p>
                <a:endParaRPr lang="en-GB"/>
              </a:p>
            </p:txBody>
          </p:sp>
        </p:grpSp>
        <p:grpSp>
          <p:nvGrpSpPr>
            <p:cNvPr id="872" name="Graphic 3">
              <a:extLst>
                <a:ext uri="{FF2B5EF4-FFF2-40B4-BE49-F238E27FC236}">
                  <a16:creationId xmlns:a16="http://schemas.microsoft.com/office/drawing/2014/main" id="{13103E91-A071-4BCB-807A-BE8D3684681F}"/>
                </a:ext>
              </a:extLst>
            </p:cNvPr>
            <p:cNvGrpSpPr/>
            <p:nvPr/>
          </p:nvGrpSpPr>
          <p:grpSpPr>
            <a:xfrm>
              <a:off x="5736900" y="5079099"/>
              <a:ext cx="46725" cy="187213"/>
              <a:chOff x="5736900" y="5079099"/>
              <a:chExt cx="46725" cy="187213"/>
            </a:xfrm>
            <a:grpFill/>
          </p:grpSpPr>
          <p:sp>
            <p:nvSpPr>
              <p:cNvPr id="2782" name="Vrije vorm: vorm 2781">
                <a:extLst>
                  <a:ext uri="{FF2B5EF4-FFF2-40B4-BE49-F238E27FC236}">
                    <a16:creationId xmlns:a16="http://schemas.microsoft.com/office/drawing/2014/main" id="{2A664B0D-0C93-4F56-8DF2-4C304E203F4E}"/>
                  </a:ext>
                </a:extLst>
              </p:cNvPr>
              <p:cNvSpPr/>
              <p:nvPr/>
            </p:nvSpPr>
            <p:spPr>
              <a:xfrm>
                <a:off x="5744563" y="5087601"/>
                <a:ext cx="31518" cy="170211"/>
              </a:xfrm>
              <a:custGeom>
                <a:avLst/>
                <a:gdLst>
                  <a:gd name="connsiteX0" fmla="*/ 31519 w 31518"/>
                  <a:gd name="connsiteY0" fmla="*/ 538 h 170211"/>
                  <a:gd name="connsiteX1" fmla="*/ 2990 w 31518"/>
                  <a:gd name="connsiteY1" fmla="*/ 170211 h 170211"/>
                  <a:gd name="connsiteX2" fmla="*/ 0 w 31518"/>
                  <a:gd name="connsiteY2" fmla="*/ 169673 h 170211"/>
                  <a:gd name="connsiteX3" fmla="*/ 28468 w 31518"/>
                  <a:gd name="connsiteY3" fmla="*/ 0 h 170211"/>
                </a:gdLst>
                <a:ahLst/>
                <a:cxnLst>
                  <a:cxn ang="0">
                    <a:pos x="connsiteX0" y="connsiteY0"/>
                  </a:cxn>
                  <a:cxn ang="0">
                    <a:pos x="connsiteX1" y="connsiteY1"/>
                  </a:cxn>
                  <a:cxn ang="0">
                    <a:pos x="connsiteX2" y="connsiteY2"/>
                  </a:cxn>
                  <a:cxn ang="0">
                    <a:pos x="connsiteX3" y="connsiteY3"/>
                  </a:cxn>
                </a:cxnLst>
                <a:rect l="l" t="t" r="r" b="b"/>
                <a:pathLst>
                  <a:path w="31518" h="170211">
                    <a:moveTo>
                      <a:pt x="31519" y="538"/>
                    </a:moveTo>
                    <a:lnTo>
                      <a:pt x="2990" y="170211"/>
                    </a:lnTo>
                    <a:lnTo>
                      <a:pt x="0" y="169673"/>
                    </a:lnTo>
                    <a:lnTo>
                      <a:pt x="28468" y="0"/>
                    </a:lnTo>
                    <a:close/>
                  </a:path>
                </a:pathLst>
              </a:custGeom>
              <a:grpFill/>
              <a:ln w="5978" cap="flat">
                <a:noFill/>
                <a:prstDash val="solid"/>
                <a:miter/>
              </a:ln>
            </p:spPr>
            <p:txBody>
              <a:bodyPr rtlCol="0" anchor="ctr"/>
              <a:lstStyle/>
              <a:p>
                <a:endParaRPr lang="en-GB"/>
              </a:p>
            </p:txBody>
          </p:sp>
          <p:sp>
            <p:nvSpPr>
              <p:cNvPr id="2783" name="Vrije vorm: vorm 2782">
                <a:extLst>
                  <a:ext uri="{FF2B5EF4-FFF2-40B4-BE49-F238E27FC236}">
                    <a16:creationId xmlns:a16="http://schemas.microsoft.com/office/drawing/2014/main" id="{A8B6AE32-1363-405F-9867-6CD15966D343}"/>
                  </a:ext>
                </a:extLst>
              </p:cNvPr>
              <p:cNvSpPr/>
              <p:nvPr/>
            </p:nvSpPr>
            <p:spPr>
              <a:xfrm>
                <a:off x="5736900" y="5247875"/>
                <a:ext cx="18376" cy="18437"/>
              </a:xfrm>
              <a:custGeom>
                <a:avLst/>
                <a:gdLst>
                  <a:gd name="connsiteX0" fmla="*/ 18248 w 18376"/>
                  <a:gd name="connsiteY0" fmla="*/ 10774 h 18437"/>
                  <a:gd name="connsiteX1" fmla="*/ 7662 w 18376"/>
                  <a:gd name="connsiteY1" fmla="*/ 18310 h 18437"/>
                  <a:gd name="connsiteX2" fmla="*/ 127 w 18376"/>
                  <a:gd name="connsiteY2" fmla="*/ 7664 h 18437"/>
                  <a:gd name="connsiteX3" fmla="*/ 10713 w 18376"/>
                  <a:gd name="connsiteY3" fmla="*/ 128 h 18437"/>
                  <a:gd name="connsiteX4" fmla="*/ 18248 w 18376"/>
                  <a:gd name="connsiteY4" fmla="*/ 1077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7">
                    <a:moveTo>
                      <a:pt x="18248" y="10774"/>
                    </a:moveTo>
                    <a:cubicBezTo>
                      <a:pt x="17411" y="15798"/>
                      <a:pt x="12686" y="19147"/>
                      <a:pt x="7662" y="18310"/>
                    </a:cubicBezTo>
                    <a:cubicBezTo>
                      <a:pt x="2698" y="17472"/>
                      <a:pt x="-711" y="12688"/>
                      <a:pt x="127" y="7664"/>
                    </a:cubicBezTo>
                    <a:cubicBezTo>
                      <a:pt x="964" y="2640"/>
                      <a:pt x="5689" y="-709"/>
                      <a:pt x="10713" y="128"/>
                    </a:cubicBezTo>
                    <a:cubicBezTo>
                      <a:pt x="15736" y="1025"/>
                      <a:pt x="19085" y="5810"/>
                      <a:pt x="18248" y="10774"/>
                    </a:cubicBezTo>
                    <a:close/>
                  </a:path>
                </a:pathLst>
              </a:custGeom>
              <a:grpFill/>
              <a:ln w="5978" cap="flat">
                <a:noFill/>
                <a:prstDash val="solid"/>
                <a:miter/>
              </a:ln>
            </p:spPr>
            <p:txBody>
              <a:bodyPr rtlCol="0" anchor="ctr"/>
              <a:lstStyle/>
              <a:p>
                <a:endParaRPr lang="en-GB"/>
              </a:p>
            </p:txBody>
          </p:sp>
          <p:sp>
            <p:nvSpPr>
              <p:cNvPr id="2784" name="Vrije vorm: vorm 2783">
                <a:extLst>
                  <a:ext uri="{FF2B5EF4-FFF2-40B4-BE49-F238E27FC236}">
                    <a16:creationId xmlns:a16="http://schemas.microsoft.com/office/drawing/2014/main" id="{3A51912A-0CC5-49A1-955A-3B435DD6AE7C}"/>
                  </a:ext>
                </a:extLst>
              </p:cNvPr>
              <p:cNvSpPr/>
              <p:nvPr/>
            </p:nvSpPr>
            <p:spPr>
              <a:xfrm>
                <a:off x="5765247" y="5079099"/>
                <a:ext cx="18378" cy="18452"/>
              </a:xfrm>
              <a:custGeom>
                <a:avLst/>
                <a:gdLst>
                  <a:gd name="connsiteX0" fmla="*/ 18250 w 18378"/>
                  <a:gd name="connsiteY0" fmla="*/ 10774 h 18452"/>
                  <a:gd name="connsiteX1" fmla="*/ 10714 w 18378"/>
                  <a:gd name="connsiteY1" fmla="*/ 128 h 18452"/>
                  <a:gd name="connsiteX2" fmla="*/ 128 w 18378"/>
                  <a:gd name="connsiteY2" fmla="*/ 7664 h 18452"/>
                  <a:gd name="connsiteX3" fmla="*/ 7664 w 18378"/>
                  <a:gd name="connsiteY3" fmla="*/ 18310 h 18452"/>
                  <a:gd name="connsiteX4" fmla="*/ 18250 w 18378"/>
                  <a:gd name="connsiteY4" fmla="*/ 10774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52">
                    <a:moveTo>
                      <a:pt x="18250" y="10774"/>
                    </a:moveTo>
                    <a:cubicBezTo>
                      <a:pt x="19087" y="5750"/>
                      <a:pt x="15738" y="966"/>
                      <a:pt x="10714" y="128"/>
                    </a:cubicBezTo>
                    <a:cubicBezTo>
                      <a:pt x="5750" y="-709"/>
                      <a:pt x="966" y="2640"/>
                      <a:pt x="128" y="7664"/>
                    </a:cubicBezTo>
                    <a:cubicBezTo>
                      <a:pt x="-709" y="12688"/>
                      <a:pt x="2640" y="17472"/>
                      <a:pt x="7664" y="18310"/>
                    </a:cubicBezTo>
                    <a:cubicBezTo>
                      <a:pt x="12688" y="19207"/>
                      <a:pt x="17413" y="15798"/>
                      <a:pt x="18250" y="10774"/>
                    </a:cubicBezTo>
                    <a:close/>
                  </a:path>
                </a:pathLst>
              </a:custGeom>
              <a:grpFill/>
              <a:ln w="5978" cap="flat">
                <a:noFill/>
                <a:prstDash val="solid"/>
                <a:miter/>
              </a:ln>
            </p:spPr>
            <p:txBody>
              <a:bodyPr rtlCol="0" anchor="ctr"/>
              <a:lstStyle/>
              <a:p>
                <a:endParaRPr lang="en-GB"/>
              </a:p>
            </p:txBody>
          </p:sp>
        </p:grpSp>
        <p:grpSp>
          <p:nvGrpSpPr>
            <p:cNvPr id="873" name="Graphic 3">
              <a:extLst>
                <a:ext uri="{FF2B5EF4-FFF2-40B4-BE49-F238E27FC236}">
                  <a16:creationId xmlns:a16="http://schemas.microsoft.com/office/drawing/2014/main" id="{1288B1D5-2800-4DF4-B623-FF7333F07828}"/>
                </a:ext>
              </a:extLst>
            </p:cNvPr>
            <p:cNvGrpSpPr/>
            <p:nvPr/>
          </p:nvGrpSpPr>
          <p:grpSpPr>
            <a:xfrm>
              <a:off x="4698367" y="2164403"/>
              <a:ext cx="123977" cy="115966"/>
              <a:chOff x="4698367" y="2164403"/>
              <a:chExt cx="123977" cy="115966"/>
            </a:xfrm>
            <a:grpFill/>
          </p:grpSpPr>
          <p:sp>
            <p:nvSpPr>
              <p:cNvPr id="2779" name="Vrije vorm: vorm 2778">
                <a:extLst>
                  <a:ext uri="{FF2B5EF4-FFF2-40B4-BE49-F238E27FC236}">
                    <a16:creationId xmlns:a16="http://schemas.microsoft.com/office/drawing/2014/main" id="{2F787CD3-E764-4A22-ABEC-EBF7E813386A}"/>
                  </a:ext>
                </a:extLst>
              </p:cNvPr>
              <p:cNvSpPr/>
              <p:nvPr/>
            </p:nvSpPr>
            <p:spPr>
              <a:xfrm>
                <a:off x="4706190" y="2172238"/>
                <a:ext cx="108370" cy="100296"/>
              </a:xfrm>
              <a:custGeom>
                <a:avLst/>
                <a:gdLst>
                  <a:gd name="connsiteX0" fmla="*/ 108371 w 108370"/>
                  <a:gd name="connsiteY0" fmla="*/ 98084 h 100296"/>
                  <a:gd name="connsiteX1" fmla="*/ 106337 w 108370"/>
                  <a:gd name="connsiteY1" fmla="*/ 100297 h 100296"/>
                  <a:gd name="connsiteX2" fmla="*/ 0 w 108370"/>
                  <a:gd name="connsiteY2" fmla="*/ 2213 h 100296"/>
                  <a:gd name="connsiteX3" fmla="*/ 2034 w 108370"/>
                  <a:gd name="connsiteY3" fmla="*/ 0 h 100296"/>
                </a:gdLst>
                <a:ahLst/>
                <a:cxnLst>
                  <a:cxn ang="0">
                    <a:pos x="connsiteX0" y="connsiteY0"/>
                  </a:cxn>
                  <a:cxn ang="0">
                    <a:pos x="connsiteX1" y="connsiteY1"/>
                  </a:cxn>
                  <a:cxn ang="0">
                    <a:pos x="connsiteX2" y="connsiteY2"/>
                  </a:cxn>
                  <a:cxn ang="0">
                    <a:pos x="connsiteX3" y="connsiteY3"/>
                  </a:cxn>
                </a:cxnLst>
                <a:rect l="l" t="t" r="r" b="b"/>
                <a:pathLst>
                  <a:path w="108370" h="100296">
                    <a:moveTo>
                      <a:pt x="108371" y="98084"/>
                    </a:moveTo>
                    <a:lnTo>
                      <a:pt x="106337" y="100297"/>
                    </a:lnTo>
                    <a:lnTo>
                      <a:pt x="0" y="2213"/>
                    </a:lnTo>
                    <a:lnTo>
                      <a:pt x="2034" y="0"/>
                    </a:lnTo>
                    <a:close/>
                  </a:path>
                </a:pathLst>
              </a:custGeom>
              <a:grpFill/>
              <a:ln w="5978" cap="flat">
                <a:noFill/>
                <a:prstDash val="solid"/>
                <a:miter/>
              </a:ln>
            </p:spPr>
            <p:txBody>
              <a:bodyPr rtlCol="0" anchor="ctr"/>
              <a:lstStyle/>
              <a:p>
                <a:endParaRPr lang="en-GB"/>
              </a:p>
            </p:txBody>
          </p:sp>
          <p:sp>
            <p:nvSpPr>
              <p:cNvPr id="2780" name="Vrije vorm: vorm 2779">
                <a:extLst>
                  <a:ext uri="{FF2B5EF4-FFF2-40B4-BE49-F238E27FC236}">
                    <a16:creationId xmlns:a16="http://schemas.microsoft.com/office/drawing/2014/main" id="{8B093CCC-9D29-4E0D-BFA1-545F28315F50}"/>
                  </a:ext>
                </a:extLst>
              </p:cNvPr>
              <p:cNvSpPr/>
              <p:nvPr/>
            </p:nvSpPr>
            <p:spPr>
              <a:xfrm>
                <a:off x="4698367" y="2164403"/>
                <a:ext cx="18337" cy="18481"/>
              </a:xfrm>
              <a:custGeom>
                <a:avLst/>
                <a:gdLst>
                  <a:gd name="connsiteX0" fmla="*/ 2978 w 18337"/>
                  <a:gd name="connsiteY0" fmla="*/ 16029 h 18481"/>
                  <a:gd name="connsiteX1" fmla="*/ 2381 w 18337"/>
                  <a:gd name="connsiteY1" fmla="*/ 2991 h 18481"/>
                  <a:gd name="connsiteX2" fmla="*/ 15359 w 18337"/>
                  <a:gd name="connsiteY2" fmla="*/ 2452 h 18481"/>
                  <a:gd name="connsiteX3" fmla="*/ 15957 w 18337"/>
                  <a:gd name="connsiteY3" fmla="*/ 15490 h 18481"/>
                  <a:gd name="connsiteX4" fmla="*/ 2978 w 18337"/>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81">
                    <a:moveTo>
                      <a:pt x="2978" y="16029"/>
                    </a:moveTo>
                    <a:cubicBezTo>
                      <a:pt x="-730" y="12560"/>
                      <a:pt x="-1029" y="6759"/>
                      <a:pt x="2381" y="2991"/>
                    </a:cubicBezTo>
                    <a:cubicBezTo>
                      <a:pt x="5789" y="-777"/>
                      <a:pt x="11591" y="-1016"/>
                      <a:pt x="15359" y="2452"/>
                    </a:cubicBezTo>
                    <a:cubicBezTo>
                      <a:pt x="19067" y="5921"/>
                      <a:pt x="19366" y="11723"/>
                      <a:pt x="15957" y="15490"/>
                    </a:cubicBezTo>
                    <a:cubicBezTo>
                      <a:pt x="12547" y="19258"/>
                      <a:pt x="6746" y="19497"/>
                      <a:pt x="2978" y="16029"/>
                    </a:cubicBezTo>
                    <a:close/>
                  </a:path>
                </a:pathLst>
              </a:custGeom>
              <a:grpFill/>
              <a:ln w="5978" cap="flat">
                <a:noFill/>
                <a:prstDash val="solid"/>
                <a:miter/>
              </a:ln>
            </p:spPr>
            <p:txBody>
              <a:bodyPr rtlCol="0" anchor="ctr"/>
              <a:lstStyle/>
              <a:p>
                <a:endParaRPr lang="en-GB"/>
              </a:p>
            </p:txBody>
          </p:sp>
          <p:sp>
            <p:nvSpPr>
              <p:cNvPr id="2781" name="Vrije vorm: vorm 2780">
                <a:extLst>
                  <a:ext uri="{FF2B5EF4-FFF2-40B4-BE49-F238E27FC236}">
                    <a16:creationId xmlns:a16="http://schemas.microsoft.com/office/drawing/2014/main" id="{CD2A1507-833C-48B2-AB4C-5EB4B1392728}"/>
                  </a:ext>
                </a:extLst>
              </p:cNvPr>
              <p:cNvSpPr/>
              <p:nvPr/>
            </p:nvSpPr>
            <p:spPr>
              <a:xfrm>
                <a:off x="4804016" y="2261889"/>
                <a:ext cx="18328" cy="18481"/>
              </a:xfrm>
              <a:custGeom>
                <a:avLst/>
                <a:gdLst>
                  <a:gd name="connsiteX0" fmla="*/ 3008 w 18328"/>
                  <a:gd name="connsiteY0" fmla="*/ 16029 h 18481"/>
                  <a:gd name="connsiteX1" fmla="*/ 15927 w 18328"/>
                  <a:gd name="connsiteY1" fmla="*/ 15491 h 18481"/>
                  <a:gd name="connsiteX2" fmla="*/ 15329 w 18328"/>
                  <a:gd name="connsiteY2" fmla="*/ 2452 h 18481"/>
                  <a:gd name="connsiteX3" fmla="*/ 2351 w 18328"/>
                  <a:gd name="connsiteY3" fmla="*/ 2991 h 18481"/>
                  <a:gd name="connsiteX4" fmla="*/ 3008 w 1832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81">
                    <a:moveTo>
                      <a:pt x="3008" y="16029"/>
                    </a:moveTo>
                    <a:cubicBezTo>
                      <a:pt x="6716" y="19497"/>
                      <a:pt x="12518" y="19258"/>
                      <a:pt x="15927" y="15491"/>
                    </a:cubicBezTo>
                    <a:cubicBezTo>
                      <a:pt x="19336" y="11723"/>
                      <a:pt x="19097" y="5921"/>
                      <a:pt x="15329" y="2452"/>
                    </a:cubicBezTo>
                    <a:cubicBezTo>
                      <a:pt x="11621" y="-1016"/>
                      <a:pt x="5820" y="-777"/>
                      <a:pt x="2351" y="2991"/>
                    </a:cubicBezTo>
                    <a:cubicBezTo>
                      <a:pt x="-999" y="6759"/>
                      <a:pt x="-759" y="12560"/>
                      <a:pt x="3008" y="16029"/>
                    </a:cubicBezTo>
                    <a:close/>
                  </a:path>
                </a:pathLst>
              </a:custGeom>
              <a:grpFill/>
              <a:ln w="5978" cap="flat">
                <a:noFill/>
                <a:prstDash val="solid"/>
                <a:miter/>
              </a:ln>
            </p:spPr>
            <p:txBody>
              <a:bodyPr rtlCol="0" anchor="ctr"/>
              <a:lstStyle/>
              <a:p>
                <a:endParaRPr lang="en-GB"/>
              </a:p>
            </p:txBody>
          </p:sp>
        </p:grpSp>
        <p:grpSp>
          <p:nvGrpSpPr>
            <p:cNvPr id="874" name="Graphic 3">
              <a:extLst>
                <a:ext uri="{FF2B5EF4-FFF2-40B4-BE49-F238E27FC236}">
                  <a16:creationId xmlns:a16="http://schemas.microsoft.com/office/drawing/2014/main" id="{21C364C5-2D59-40DF-BFDB-7D1450923A48}"/>
                </a:ext>
              </a:extLst>
            </p:cNvPr>
            <p:cNvGrpSpPr/>
            <p:nvPr/>
          </p:nvGrpSpPr>
          <p:grpSpPr>
            <a:xfrm>
              <a:off x="4610910" y="1982608"/>
              <a:ext cx="231851" cy="272410"/>
              <a:chOff x="4610910" y="1982608"/>
              <a:chExt cx="231851" cy="272410"/>
            </a:xfrm>
            <a:grpFill/>
          </p:grpSpPr>
          <p:sp>
            <p:nvSpPr>
              <p:cNvPr id="2776" name="Vrije vorm: vorm 2775">
                <a:extLst>
                  <a:ext uri="{FF2B5EF4-FFF2-40B4-BE49-F238E27FC236}">
                    <a16:creationId xmlns:a16="http://schemas.microsoft.com/office/drawing/2014/main" id="{08E2F3E3-E128-463E-9B36-4AB9F63246B8}"/>
                  </a:ext>
                </a:extLst>
              </p:cNvPr>
              <p:cNvSpPr/>
              <p:nvPr/>
            </p:nvSpPr>
            <p:spPr>
              <a:xfrm>
                <a:off x="4618572" y="1990484"/>
                <a:ext cx="216502" cy="256692"/>
              </a:xfrm>
              <a:custGeom>
                <a:avLst/>
                <a:gdLst>
                  <a:gd name="connsiteX0" fmla="*/ 216502 w 216502"/>
                  <a:gd name="connsiteY0" fmla="*/ 254719 h 256692"/>
                  <a:gd name="connsiteX1" fmla="*/ 214170 w 216502"/>
                  <a:gd name="connsiteY1" fmla="*/ 256693 h 256692"/>
                  <a:gd name="connsiteX2" fmla="*/ 0 w 216502"/>
                  <a:gd name="connsiteY2" fmla="*/ 1974 h 256692"/>
                  <a:gd name="connsiteX3" fmla="*/ 2333 w 216502"/>
                  <a:gd name="connsiteY3" fmla="*/ 0 h 256692"/>
                </a:gdLst>
                <a:ahLst/>
                <a:cxnLst>
                  <a:cxn ang="0">
                    <a:pos x="connsiteX0" y="connsiteY0"/>
                  </a:cxn>
                  <a:cxn ang="0">
                    <a:pos x="connsiteX1" y="connsiteY1"/>
                  </a:cxn>
                  <a:cxn ang="0">
                    <a:pos x="connsiteX2" y="connsiteY2"/>
                  </a:cxn>
                  <a:cxn ang="0">
                    <a:pos x="connsiteX3" y="connsiteY3"/>
                  </a:cxn>
                </a:cxnLst>
                <a:rect l="l" t="t" r="r" b="b"/>
                <a:pathLst>
                  <a:path w="216502" h="256692">
                    <a:moveTo>
                      <a:pt x="216502" y="254719"/>
                    </a:moveTo>
                    <a:lnTo>
                      <a:pt x="214170" y="256693"/>
                    </a:lnTo>
                    <a:lnTo>
                      <a:pt x="0" y="1974"/>
                    </a:lnTo>
                    <a:lnTo>
                      <a:pt x="2333" y="0"/>
                    </a:lnTo>
                    <a:close/>
                  </a:path>
                </a:pathLst>
              </a:custGeom>
              <a:grpFill/>
              <a:ln w="5978" cap="flat">
                <a:noFill/>
                <a:prstDash val="solid"/>
                <a:miter/>
              </a:ln>
            </p:spPr>
            <p:txBody>
              <a:bodyPr rtlCol="0" anchor="ctr"/>
              <a:lstStyle/>
              <a:p>
                <a:endParaRPr lang="en-GB"/>
              </a:p>
            </p:txBody>
          </p:sp>
          <p:sp>
            <p:nvSpPr>
              <p:cNvPr id="2777" name="Vrije vorm: vorm 2776">
                <a:extLst>
                  <a:ext uri="{FF2B5EF4-FFF2-40B4-BE49-F238E27FC236}">
                    <a16:creationId xmlns:a16="http://schemas.microsoft.com/office/drawing/2014/main" id="{4C48F048-6FEC-490E-9DF5-E1CA812E609C}"/>
                  </a:ext>
                </a:extLst>
              </p:cNvPr>
              <p:cNvSpPr/>
              <p:nvPr/>
            </p:nvSpPr>
            <p:spPr>
              <a:xfrm>
                <a:off x="4824397" y="2236584"/>
                <a:ext cx="18364" cy="18433"/>
              </a:xfrm>
              <a:custGeom>
                <a:avLst/>
                <a:gdLst>
                  <a:gd name="connsiteX0" fmla="*/ 16179 w 18364"/>
                  <a:gd name="connsiteY0" fmla="*/ 3296 h 18433"/>
                  <a:gd name="connsiteX1" fmla="*/ 15103 w 18364"/>
                  <a:gd name="connsiteY1" fmla="*/ 16274 h 18433"/>
                  <a:gd name="connsiteX2" fmla="*/ 2185 w 18364"/>
                  <a:gd name="connsiteY2" fmla="*/ 15138 h 18433"/>
                  <a:gd name="connsiteX3" fmla="*/ 3261 w 18364"/>
                  <a:gd name="connsiteY3" fmla="*/ 2160 h 18433"/>
                  <a:gd name="connsiteX4" fmla="*/ 16179 w 18364"/>
                  <a:gd name="connsiteY4" fmla="*/ 3296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33">
                    <a:moveTo>
                      <a:pt x="16179" y="3296"/>
                    </a:moveTo>
                    <a:cubicBezTo>
                      <a:pt x="19469" y="7184"/>
                      <a:pt x="18990" y="12985"/>
                      <a:pt x="15103" y="16274"/>
                    </a:cubicBezTo>
                    <a:cubicBezTo>
                      <a:pt x="11216" y="19564"/>
                      <a:pt x="5474" y="19025"/>
                      <a:pt x="2185" y="15138"/>
                    </a:cubicBezTo>
                    <a:cubicBezTo>
                      <a:pt x="-1105" y="11250"/>
                      <a:pt x="-627" y="5449"/>
                      <a:pt x="3261" y="2160"/>
                    </a:cubicBezTo>
                    <a:cubicBezTo>
                      <a:pt x="7149" y="-1130"/>
                      <a:pt x="12950" y="-591"/>
                      <a:pt x="16179" y="3296"/>
                    </a:cubicBezTo>
                    <a:close/>
                  </a:path>
                </a:pathLst>
              </a:custGeom>
              <a:grpFill/>
              <a:ln w="5978" cap="flat">
                <a:noFill/>
                <a:prstDash val="solid"/>
                <a:miter/>
              </a:ln>
            </p:spPr>
            <p:txBody>
              <a:bodyPr rtlCol="0" anchor="ctr"/>
              <a:lstStyle/>
              <a:p>
                <a:endParaRPr lang="en-GB"/>
              </a:p>
            </p:txBody>
          </p:sp>
          <p:sp>
            <p:nvSpPr>
              <p:cNvPr id="2778" name="Vrije vorm: vorm 2777">
                <a:extLst>
                  <a:ext uri="{FF2B5EF4-FFF2-40B4-BE49-F238E27FC236}">
                    <a16:creationId xmlns:a16="http://schemas.microsoft.com/office/drawing/2014/main" id="{91958CA4-A184-4523-941B-B4F20C6B3898}"/>
                  </a:ext>
                </a:extLst>
              </p:cNvPr>
              <p:cNvSpPr/>
              <p:nvPr/>
            </p:nvSpPr>
            <p:spPr>
              <a:xfrm>
                <a:off x="4610910" y="1982608"/>
                <a:ext cx="18314" cy="18384"/>
              </a:xfrm>
              <a:custGeom>
                <a:avLst/>
                <a:gdLst>
                  <a:gd name="connsiteX0" fmla="*/ 16155 w 18314"/>
                  <a:gd name="connsiteY0" fmla="*/ 3271 h 18384"/>
                  <a:gd name="connsiteX1" fmla="*/ 3236 w 18314"/>
                  <a:gd name="connsiteY1" fmla="*/ 2135 h 18384"/>
                  <a:gd name="connsiteX2" fmla="*/ 2160 w 18314"/>
                  <a:gd name="connsiteY2" fmla="*/ 15113 h 18384"/>
                  <a:gd name="connsiteX3" fmla="*/ 15079 w 18314"/>
                  <a:gd name="connsiteY3" fmla="*/ 16250 h 18384"/>
                  <a:gd name="connsiteX4" fmla="*/ 16155 w 18314"/>
                  <a:gd name="connsiteY4" fmla="*/ 327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84">
                    <a:moveTo>
                      <a:pt x="16155" y="3271"/>
                    </a:moveTo>
                    <a:cubicBezTo>
                      <a:pt x="12865" y="-616"/>
                      <a:pt x="7124" y="-1095"/>
                      <a:pt x="3236" y="2135"/>
                    </a:cubicBezTo>
                    <a:cubicBezTo>
                      <a:pt x="-651" y="5424"/>
                      <a:pt x="-1070" y="11226"/>
                      <a:pt x="2160" y="15113"/>
                    </a:cubicBezTo>
                    <a:cubicBezTo>
                      <a:pt x="5449" y="19001"/>
                      <a:pt x="11191" y="19479"/>
                      <a:pt x="15079" y="16250"/>
                    </a:cubicBezTo>
                    <a:cubicBezTo>
                      <a:pt x="18966" y="13020"/>
                      <a:pt x="19384" y="7159"/>
                      <a:pt x="16155" y="3271"/>
                    </a:cubicBezTo>
                    <a:close/>
                  </a:path>
                </a:pathLst>
              </a:custGeom>
              <a:grpFill/>
              <a:ln w="5978" cap="flat">
                <a:noFill/>
                <a:prstDash val="solid"/>
                <a:miter/>
              </a:ln>
            </p:spPr>
            <p:txBody>
              <a:bodyPr rtlCol="0" anchor="ctr"/>
              <a:lstStyle/>
              <a:p>
                <a:endParaRPr lang="en-GB"/>
              </a:p>
            </p:txBody>
          </p:sp>
        </p:grpSp>
        <p:grpSp>
          <p:nvGrpSpPr>
            <p:cNvPr id="875" name="Graphic 3">
              <a:extLst>
                <a:ext uri="{FF2B5EF4-FFF2-40B4-BE49-F238E27FC236}">
                  <a16:creationId xmlns:a16="http://schemas.microsoft.com/office/drawing/2014/main" id="{B05AB0E5-9B6B-4234-8097-79C171D4D099}"/>
                </a:ext>
              </a:extLst>
            </p:cNvPr>
            <p:cNvGrpSpPr/>
            <p:nvPr/>
          </p:nvGrpSpPr>
          <p:grpSpPr>
            <a:xfrm>
              <a:off x="4613750" y="1930407"/>
              <a:ext cx="127748" cy="131301"/>
              <a:chOff x="4613750" y="1930407"/>
              <a:chExt cx="127748" cy="131301"/>
            </a:xfrm>
            <a:grpFill/>
          </p:grpSpPr>
          <p:sp>
            <p:nvSpPr>
              <p:cNvPr id="2773" name="Vrije vorm: vorm 2772">
                <a:extLst>
                  <a:ext uri="{FF2B5EF4-FFF2-40B4-BE49-F238E27FC236}">
                    <a16:creationId xmlns:a16="http://schemas.microsoft.com/office/drawing/2014/main" id="{474C8CD1-31A1-49E1-ADA0-CE2CC47C3AA9}"/>
                  </a:ext>
                </a:extLst>
              </p:cNvPr>
              <p:cNvSpPr/>
              <p:nvPr/>
            </p:nvSpPr>
            <p:spPr>
              <a:xfrm>
                <a:off x="4621503" y="1938272"/>
                <a:ext cx="112198" cy="115607"/>
              </a:xfrm>
              <a:custGeom>
                <a:avLst/>
                <a:gdLst>
                  <a:gd name="connsiteX0" fmla="*/ 112198 w 112198"/>
                  <a:gd name="connsiteY0" fmla="*/ 113454 h 115607"/>
                  <a:gd name="connsiteX1" fmla="*/ 110045 w 112198"/>
                  <a:gd name="connsiteY1" fmla="*/ 115607 h 115607"/>
                  <a:gd name="connsiteX2" fmla="*/ 0 w 112198"/>
                  <a:gd name="connsiteY2" fmla="*/ 2093 h 115607"/>
                  <a:gd name="connsiteX3" fmla="*/ 2213 w 112198"/>
                  <a:gd name="connsiteY3" fmla="*/ 0 h 115607"/>
                </a:gdLst>
                <a:ahLst/>
                <a:cxnLst>
                  <a:cxn ang="0">
                    <a:pos x="connsiteX0" y="connsiteY0"/>
                  </a:cxn>
                  <a:cxn ang="0">
                    <a:pos x="connsiteX1" y="connsiteY1"/>
                  </a:cxn>
                  <a:cxn ang="0">
                    <a:pos x="connsiteX2" y="connsiteY2"/>
                  </a:cxn>
                  <a:cxn ang="0">
                    <a:pos x="connsiteX3" y="connsiteY3"/>
                  </a:cxn>
                </a:cxnLst>
                <a:rect l="l" t="t" r="r" b="b"/>
                <a:pathLst>
                  <a:path w="112198" h="115607">
                    <a:moveTo>
                      <a:pt x="112198" y="113454"/>
                    </a:moveTo>
                    <a:lnTo>
                      <a:pt x="110045" y="115607"/>
                    </a:lnTo>
                    <a:lnTo>
                      <a:pt x="0" y="2093"/>
                    </a:lnTo>
                    <a:lnTo>
                      <a:pt x="2213" y="0"/>
                    </a:lnTo>
                    <a:close/>
                  </a:path>
                </a:pathLst>
              </a:custGeom>
              <a:grpFill/>
              <a:ln w="5978" cap="flat">
                <a:noFill/>
                <a:prstDash val="solid"/>
                <a:miter/>
              </a:ln>
            </p:spPr>
            <p:txBody>
              <a:bodyPr rtlCol="0" anchor="ctr"/>
              <a:lstStyle/>
              <a:p>
                <a:endParaRPr lang="en-GB"/>
              </a:p>
            </p:txBody>
          </p:sp>
          <p:sp>
            <p:nvSpPr>
              <p:cNvPr id="2774" name="Vrije vorm: vorm 2773">
                <a:extLst>
                  <a:ext uri="{FF2B5EF4-FFF2-40B4-BE49-F238E27FC236}">
                    <a16:creationId xmlns:a16="http://schemas.microsoft.com/office/drawing/2014/main" id="{39693A34-F38B-4529-B050-776A3359DFD8}"/>
                  </a:ext>
                </a:extLst>
              </p:cNvPr>
              <p:cNvSpPr/>
              <p:nvPr/>
            </p:nvSpPr>
            <p:spPr>
              <a:xfrm>
                <a:off x="4613750" y="1930407"/>
                <a:ext cx="18316" cy="18444"/>
              </a:xfrm>
              <a:custGeom>
                <a:avLst/>
                <a:gdLst>
                  <a:gd name="connsiteX0" fmla="*/ 2609 w 18316"/>
                  <a:gd name="connsiteY0" fmla="*/ 15640 h 18444"/>
                  <a:gd name="connsiteX1" fmla="*/ 2729 w 18316"/>
                  <a:gd name="connsiteY1" fmla="*/ 2602 h 18444"/>
                  <a:gd name="connsiteX2" fmla="*/ 15707 w 18316"/>
                  <a:gd name="connsiteY2" fmla="*/ 2782 h 18444"/>
                  <a:gd name="connsiteX3" fmla="*/ 15588 w 18316"/>
                  <a:gd name="connsiteY3" fmla="*/ 15820 h 18444"/>
                  <a:gd name="connsiteX4" fmla="*/ 2609 w 18316"/>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2609" y="15640"/>
                    </a:moveTo>
                    <a:cubicBezTo>
                      <a:pt x="-919" y="11992"/>
                      <a:pt x="-859" y="6131"/>
                      <a:pt x="2729" y="2602"/>
                    </a:cubicBezTo>
                    <a:cubicBezTo>
                      <a:pt x="6377" y="-926"/>
                      <a:pt x="12179" y="-866"/>
                      <a:pt x="15707" y="2782"/>
                    </a:cubicBezTo>
                    <a:cubicBezTo>
                      <a:pt x="19236" y="6430"/>
                      <a:pt x="19176" y="12291"/>
                      <a:pt x="15588" y="15820"/>
                    </a:cubicBezTo>
                    <a:cubicBezTo>
                      <a:pt x="11939" y="19408"/>
                      <a:pt x="6138" y="19289"/>
                      <a:pt x="2609" y="15640"/>
                    </a:cubicBezTo>
                    <a:close/>
                  </a:path>
                </a:pathLst>
              </a:custGeom>
              <a:grpFill/>
              <a:ln w="5978" cap="flat">
                <a:noFill/>
                <a:prstDash val="solid"/>
                <a:miter/>
              </a:ln>
            </p:spPr>
            <p:txBody>
              <a:bodyPr rtlCol="0" anchor="ctr"/>
              <a:lstStyle/>
              <a:p>
                <a:endParaRPr lang="en-GB"/>
              </a:p>
            </p:txBody>
          </p:sp>
          <p:sp>
            <p:nvSpPr>
              <p:cNvPr id="2775" name="Vrije vorm: vorm 2774">
                <a:extLst>
                  <a:ext uri="{FF2B5EF4-FFF2-40B4-BE49-F238E27FC236}">
                    <a16:creationId xmlns:a16="http://schemas.microsoft.com/office/drawing/2014/main" id="{AF224C47-95AF-433D-8251-A1CCB26E616A}"/>
                  </a:ext>
                </a:extLst>
              </p:cNvPr>
              <p:cNvSpPr/>
              <p:nvPr/>
            </p:nvSpPr>
            <p:spPr>
              <a:xfrm>
                <a:off x="4723137" y="2043263"/>
                <a:ext cx="18361" cy="18444"/>
              </a:xfrm>
              <a:custGeom>
                <a:avLst/>
                <a:gdLst>
                  <a:gd name="connsiteX0" fmla="*/ 2610 w 18361"/>
                  <a:gd name="connsiteY0" fmla="*/ 15640 h 18444"/>
                  <a:gd name="connsiteX1" fmla="*/ 15588 w 18361"/>
                  <a:gd name="connsiteY1" fmla="*/ 15820 h 18444"/>
                  <a:gd name="connsiteX2" fmla="*/ 15707 w 18361"/>
                  <a:gd name="connsiteY2" fmla="*/ 2782 h 18444"/>
                  <a:gd name="connsiteX3" fmla="*/ 2729 w 18361"/>
                  <a:gd name="connsiteY3" fmla="*/ 2602 h 18444"/>
                  <a:gd name="connsiteX4" fmla="*/ 2610 w 18361"/>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44">
                    <a:moveTo>
                      <a:pt x="2610" y="15640"/>
                    </a:moveTo>
                    <a:cubicBezTo>
                      <a:pt x="6138" y="19289"/>
                      <a:pt x="11940" y="19408"/>
                      <a:pt x="15588" y="15820"/>
                    </a:cubicBezTo>
                    <a:cubicBezTo>
                      <a:pt x="19236" y="12291"/>
                      <a:pt x="19296" y="6430"/>
                      <a:pt x="15707" y="2782"/>
                    </a:cubicBezTo>
                    <a:cubicBezTo>
                      <a:pt x="12179" y="-866"/>
                      <a:pt x="6378" y="-926"/>
                      <a:pt x="2729" y="2602"/>
                    </a:cubicBezTo>
                    <a:cubicBezTo>
                      <a:pt x="-859" y="6131"/>
                      <a:pt x="-919" y="11992"/>
                      <a:pt x="2610" y="15640"/>
                    </a:cubicBezTo>
                    <a:close/>
                  </a:path>
                </a:pathLst>
              </a:custGeom>
              <a:grpFill/>
              <a:ln w="5978" cap="flat">
                <a:noFill/>
                <a:prstDash val="solid"/>
                <a:miter/>
              </a:ln>
            </p:spPr>
            <p:txBody>
              <a:bodyPr rtlCol="0" anchor="ctr"/>
              <a:lstStyle/>
              <a:p>
                <a:endParaRPr lang="en-GB"/>
              </a:p>
            </p:txBody>
          </p:sp>
        </p:grpSp>
        <p:grpSp>
          <p:nvGrpSpPr>
            <p:cNvPr id="876" name="Graphic 3">
              <a:extLst>
                <a:ext uri="{FF2B5EF4-FFF2-40B4-BE49-F238E27FC236}">
                  <a16:creationId xmlns:a16="http://schemas.microsoft.com/office/drawing/2014/main" id="{E76C03DD-5683-47D5-A39B-FF94C94919F3}"/>
                </a:ext>
              </a:extLst>
            </p:cNvPr>
            <p:cNvGrpSpPr/>
            <p:nvPr/>
          </p:nvGrpSpPr>
          <p:grpSpPr>
            <a:xfrm>
              <a:off x="5813800" y="5105583"/>
              <a:ext cx="124915" cy="838236"/>
              <a:chOff x="5813800" y="5105583"/>
              <a:chExt cx="124915" cy="838236"/>
            </a:xfrm>
            <a:grpFill/>
          </p:grpSpPr>
          <p:sp>
            <p:nvSpPr>
              <p:cNvPr id="2770" name="Vrije vorm: vorm 2769">
                <a:extLst>
                  <a:ext uri="{FF2B5EF4-FFF2-40B4-BE49-F238E27FC236}">
                    <a16:creationId xmlns:a16="http://schemas.microsoft.com/office/drawing/2014/main" id="{E5D90171-01C9-4404-BC13-6960CDD8AE04}"/>
                  </a:ext>
                </a:extLst>
              </p:cNvPr>
              <p:cNvSpPr/>
              <p:nvPr/>
            </p:nvSpPr>
            <p:spPr>
              <a:xfrm>
                <a:off x="5821415" y="5114155"/>
                <a:ext cx="109686" cy="821093"/>
              </a:xfrm>
              <a:custGeom>
                <a:avLst/>
                <a:gdLst>
                  <a:gd name="connsiteX0" fmla="*/ 109687 w 109686"/>
                  <a:gd name="connsiteY0" fmla="*/ 359 h 821093"/>
                  <a:gd name="connsiteX1" fmla="*/ 2990 w 109686"/>
                  <a:gd name="connsiteY1" fmla="*/ 821093 h 821093"/>
                  <a:gd name="connsiteX2" fmla="*/ 0 w 109686"/>
                  <a:gd name="connsiteY2" fmla="*/ 820674 h 821093"/>
                  <a:gd name="connsiteX3" fmla="*/ 106696 w 109686"/>
                  <a:gd name="connsiteY3" fmla="*/ 0 h 821093"/>
                </a:gdLst>
                <a:ahLst/>
                <a:cxnLst>
                  <a:cxn ang="0">
                    <a:pos x="connsiteX0" y="connsiteY0"/>
                  </a:cxn>
                  <a:cxn ang="0">
                    <a:pos x="connsiteX1" y="connsiteY1"/>
                  </a:cxn>
                  <a:cxn ang="0">
                    <a:pos x="connsiteX2" y="connsiteY2"/>
                  </a:cxn>
                  <a:cxn ang="0">
                    <a:pos x="connsiteX3" y="connsiteY3"/>
                  </a:cxn>
                </a:cxnLst>
                <a:rect l="l" t="t" r="r" b="b"/>
                <a:pathLst>
                  <a:path w="109686" h="821093">
                    <a:moveTo>
                      <a:pt x="109687" y="359"/>
                    </a:moveTo>
                    <a:lnTo>
                      <a:pt x="2990" y="821093"/>
                    </a:lnTo>
                    <a:lnTo>
                      <a:pt x="0" y="820674"/>
                    </a:lnTo>
                    <a:lnTo>
                      <a:pt x="106696" y="0"/>
                    </a:lnTo>
                    <a:close/>
                  </a:path>
                </a:pathLst>
              </a:custGeom>
              <a:grpFill/>
              <a:ln w="5978" cap="flat">
                <a:noFill/>
                <a:prstDash val="solid"/>
                <a:miter/>
              </a:ln>
            </p:spPr>
            <p:txBody>
              <a:bodyPr rtlCol="0" anchor="ctr"/>
              <a:lstStyle/>
              <a:p>
                <a:endParaRPr lang="en-GB"/>
              </a:p>
            </p:txBody>
          </p:sp>
          <p:sp>
            <p:nvSpPr>
              <p:cNvPr id="2771" name="Vrije vorm: vorm 2770">
                <a:extLst>
                  <a:ext uri="{FF2B5EF4-FFF2-40B4-BE49-F238E27FC236}">
                    <a16:creationId xmlns:a16="http://schemas.microsoft.com/office/drawing/2014/main" id="{65D28E3C-A2A7-47DD-9284-6695A7DAA8B1}"/>
                  </a:ext>
                </a:extLst>
              </p:cNvPr>
              <p:cNvSpPr/>
              <p:nvPr/>
            </p:nvSpPr>
            <p:spPr>
              <a:xfrm>
                <a:off x="5920377" y="5105583"/>
                <a:ext cx="18339" cy="18399"/>
              </a:xfrm>
              <a:custGeom>
                <a:avLst/>
                <a:gdLst>
                  <a:gd name="connsiteX0" fmla="*/ 79 w 18339"/>
                  <a:gd name="connsiteY0" fmla="*/ 7973 h 18399"/>
                  <a:gd name="connsiteX1" fmla="*/ 10366 w 18339"/>
                  <a:gd name="connsiteY1" fmla="*/ 79 h 18399"/>
                  <a:gd name="connsiteX2" fmla="*/ 18261 w 18339"/>
                  <a:gd name="connsiteY2" fmla="*/ 10426 h 18399"/>
                  <a:gd name="connsiteX3" fmla="*/ 7973 w 18339"/>
                  <a:gd name="connsiteY3" fmla="*/ 18320 h 18399"/>
                  <a:gd name="connsiteX4" fmla="*/ 79 w 18339"/>
                  <a:gd name="connsiteY4" fmla="*/ 797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9">
                    <a:moveTo>
                      <a:pt x="79" y="7973"/>
                    </a:moveTo>
                    <a:cubicBezTo>
                      <a:pt x="737" y="2950"/>
                      <a:pt x="5342" y="-579"/>
                      <a:pt x="10366" y="79"/>
                    </a:cubicBezTo>
                    <a:cubicBezTo>
                      <a:pt x="15390" y="737"/>
                      <a:pt x="18918" y="5402"/>
                      <a:pt x="18261" y="10426"/>
                    </a:cubicBezTo>
                    <a:cubicBezTo>
                      <a:pt x="17603" y="15449"/>
                      <a:pt x="12997" y="18978"/>
                      <a:pt x="7973" y="18320"/>
                    </a:cubicBezTo>
                    <a:cubicBezTo>
                      <a:pt x="2950" y="17662"/>
                      <a:pt x="-579" y="12997"/>
                      <a:pt x="79" y="7973"/>
                    </a:cubicBezTo>
                    <a:close/>
                  </a:path>
                </a:pathLst>
              </a:custGeom>
              <a:grpFill/>
              <a:ln w="5978" cap="flat">
                <a:noFill/>
                <a:prstDash val="solid"/>
                <a:miter/>
              </a:ln>
            </p:spPr>
            <p:txBody>
              <a:bodyPr rtlCol="0" anchor="ctr"/>
              <a:lstStyle/>
              <a:p>
                <a:endParaRPr lang="en-GB"/>
              </a:p>
            </p:txBody>
          </p:sp>
          <p:sp>
            <p:nvSpPr>
              <p:cNvPr id="2772" name="Vrije vorm: vorm 2771">
                <a:extLst>
                  <a:ext uri="{FF2B5EF4-FFF2-40B4-BE49-F238E27FC236}">
                    <a16:creationId xmlns:a16="http://schemas.microsoft.com/office/drawing/2014/main" id="{8A493855-6031-4E8F-B41E-0E9E7E2EED39}"/>
                  </a:ext>
                </a:extLst>
              </p:cNvPr>
              <p:cNvSpPr/>
              <p:nvPr/>
            </p:nvSpPr>
            <p:spPr>
              <a:xfrm>
                <a:off x="5813800" y="5925407"/>
                <a:ext cx="18339" cy="18412"/>
              </a:xfrm>
              <a:custGeom>
                <a:avLst/>
                <a:gdLst>
                  <a:gd name="connsiteX0" fmla="*/ 79 w 18339"/>
                  <a:gd name="connsiteY0" fmla="*/ 7987 h 18412"/>
                  <a:gd name="connsiteX1" fmla="*/ 7973 w 18339"/>
                  <a:gd name="connsiteY1" fmla="*/ 18334 h 18412"/>
                  <a:gd name="connsiteX2" fmla="*/ 18260 w 18339"/>
                  <a:gd name="connsiteY2" fmla="*/ 10439 h 18412"/>
                  <a:gd name="connsiteX3" fmla="*/ 10366 w 18339"/>
                  <a:gd name="connsiteY3" fmla="*/ 93 h 18412"/>
                  <a:gd name="connsiteX4" fmla="*/ 79 w 18339"/>
                  <a:gd name="connsiteY4" fmla="*/ 798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2">
                    <a:moveTo>
                      <a:pt x="79" y="7987"/>
                    </a:moveTo>
                    <a:cubicBezTo>
                      <a:pt x="-579" y="13011"/>
                      <a:pt x="2950" y="17676"/>
                      <a:pt x="7973" y="18334"/>
                    </a:cubicBezTo>
                    <a:cubicBezTo>
                      <a:pt x="12997" y="18992"/>
                      <a:pt x="17602" y="15463"/>
                      <a:pt x="18260" y="10439"/>
                    </a:cubicBezTo>
                    <a:cubicBezTo>
                      <a:pt x="18918" y="5416"/>
                      <a:pt x="15390" y="750"/>
                      <a:pt x="10366" y="93"/>
                    </a:cubicBezTo>
                    <a:cubicBezTo>
                      <a:pt x="5342" y="-625"/>
                      <a:pt x="737" y="2904"/>
                      <a:pt x="79" y="7987"/>
                    </a:cubicBezTo>
                    <a:close/>
                  </a:path>
                </a:pathLst>
              </a:custGeom>
              <a:grpFill/>
              <a:ln w="5978" cap="flat">
                <a:noFill/>
                <a:prstDash val="solid"/>
                <a:miter/>
              </a:ln>
            </p:spPr>
            <p:txBody>
              <a:bodyPr rtlCol="0" anchor="ctr"/>
              <a:lstStyle/>
              <a:p>
                <a:endParaRPr lang="en-GB"/>
              </a:p>
            </p:txBody>
          </p:sp>
        </p:grpSp>
        <p:grpSp>
          <p:nvGrpSpPr>
            <p:cNvPr id="877" name="Graphic 3">
              <a:extLst>
                <a:ext uri="{FF2B5EF4-FFF2-40B4-BE49-F238E27FC236}">
                  <a16:creationId xmlns:a16="http://schemas.microsoft.com/office/drawing/2014/main" id="{25BDDFA4-CE07-4596-8925-8F12A75BE4E3}"/>
                </a:ext>
              </a:extLst>
            </p:cNvPr>
            <p:cNvGrpSpPr/>
            <p:nvPr/>
          </p:nvGrpSpPr>
          <p:grpSpPr>
            <a:xfrm>
              <a:off x="5706898" y="5070091"/>
              <a:ext cx="46442" cy="168331"/>
              <a:chOff x="5706898" y="5070091"/>
              <a:chExt cx="46442" cy="168331"/>
            </a:xfrm>
            <a:grpFill/>
          </p:grpSpPr>
          <p:sp>
            <p:nvSpPr>
              <p:cNvPr id="2767" name="Vrije vorm: vorm 2766">
                <a:extLst>
                  <a:ext uri="{FF2B5EF4-FFF2-40B4-BE49-F238E27FC236}">
                    <a16:creationId xmlns:a16="http://schemas.microsoft.com/office/drawing/2014/main" id="{E9A874AA-3FFD-45A1-A38D-495A3A7A60A9}"/>
                  </a:ext>
                </a:extLst>
              </p:cNvPr>
              <p:cNvSpPr/>
              <p:nvPr/>
            </p:nvSpPr>
            <p:spPr>
              <a:xfrm>
                <a:off x="5714480" y="5078510"/>
                <a:ext cx="31219" cy="151491"/>
              </a:xfrm>
              <a:custGeom>
                <a:avLst/>
                <a:gdLst>
                  <a:gd name="connsiteX0" fmla="*/ 31219 w 31219"/>
                  <a:gd name="connsiteY0" fmla="*/ 598 h 151491"/>
                  <a:gd name="connsiteX1" fmla="*/ 2990 w 31219"/>
                  <a:gd name="connsiteY1" fmla="*/ 151492 h 151491"/>
                  <a:gd name="connsiteX2" fmla="*/ 0 w 31219"/>
                  <a:gd name="connsiteY2" fmla="*/ 150893 h 151491"/>
                  <a:gd name="connsiteX3" fmla="*/ 28229 w 31219"/>
                  <a:gd name="connsiteY3" fmla="*/ 0 h 151491"/>
                </a:gdLst>
                <a:ahLst/>
                <a:cxnLst>
                  <a:cxn ang="0">
                    <a:pos x="connsiteX0" y="connsiteY0"/>
                  </a:cxn>
                  <a:cxn ang="0">
                    <a:pos x="connsiteX1" y="connsiteY1"/>
                  </a:cxn>
                  <a:cxn ang="0">
                    <a:pos x="connsiteX2" y="connsiteY2"/>
                  </a:cxn>
                  <a:cxn ang="0">
                    <a:pos x="connsiteX3" y="connsiteY3"/>
                  </a:cxn>
                </a:cxnLst>
                <a:rect l="l" t="t" r="r" b="b"/>
                <a:pathLst>
                  <a:path w="31219" h="151491">
                    <a:moveTo>
                      <a:pt x="31219" y="598"/>
                    </a:moveTo>
                    <a:lnTo>
                      <a:pt x="2990" y="151492"/>
                    </a:lnTo>
                    <a:lnTo>
                      <a:pt x="0" y="150893"/>
                    </a:lnTo>
                    <a:lnTo>
                      <a:pt x="28229" y="0"/>
                    </a:lnTo>
                    <a:close/>
                  </a:path>
                </a:pathLst>
              </a:custGeom>
              <a:grpFill/>
              <a:ln w="5978" cap="flat">
                <a:noFill/>
                <a:prstDash val="solid"/>
                <a:miter/>
              </a:ln>
            </p:spPr>
            <p:txBody>
              <a:bodyPr rtlCol="0" anchor="ctr"/>
              <a:lstStyle/>
              <a:p>
                <a:endParaRPr lang="en-GB"/>
              </a:p>
            </p:txBody>
          </p:sp>
          <p:sp>
            <p:nvSpPr>
              <p:cNvPr id="2768" name="Vrije vorm: vorm 2767">
                <a:extLst>
                  <a:ext uri="{FF2B5EF4-FFF2-40B4-BE49-F238E27FC236}">
                    <a16:creationId xmlns:a16="http://schemas.microsoft.com/office/drawing/2014/main" id="{D5E3EFF1-0946-4F6F-B0A9-DBF0B811A45D}"/>
                  </a:ext>
                </a:extLst>
              </p:cNvPr>
              <p:cNvSpPr/>
              <p:nvPr/>
            </p:nvSpPr>
            <p:spPr>
              <a:xfrm>
                <a:off x="5706898" y="5220025"/>
                <a:ext cx="18333" cy="18397"/>
              </a:xfrm>
              <a:custGeom>
                <a:avLst/>
                <a:gdLst>
                  <a:gd name="connsiteX0" fmla="*/ 18168 w 18333"/>
                  <a:gd name="connsiteY0" fmla="*/ 10933 h 18397"/>
                  <a:gd name="connsiteX1" fmla="*/ 7462 w 18333"/>
                  <a:gd name="connsiteY1" fmla="*/ 18230 h 18397"/>
                  <a:gd name="connsiteX2" fmla="*/ 166 w 18333"/>
                  <a:gd name="connsiteY2" fmla="*/ 7464 h 18397"/>
                  <a:gd name="connsiteX3" fmla="*/ 10871 w 18333"/>
                  <a:gd name="connsiteY3" fmla="*/ 168 h 18397"/>
                  <a:gd name="connsiteX4" fmla="*/ 18168 w 18333"/>
                  <a:gd name="connsiteY4" fmla="*/ 109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7">
                    <a:moveTo>
                      <a:pt x="18168" y="10933"/>
                    </a:moveTo>
                    <a:cubicBezTo>
                      <a:pt x="17211" y="15957"/>
                      <a:pt x="12426" y="19186"/>
                      <a:pt x="7462" y="18230"/>
                    </a:cubicBezTo>
                    <a:cubicBezTo>
                      <a:pt x="2498" y="17273"/>
                      <a:pt x="-791" y="12428"/>
                      <a:pt x="166" y="7464"/>
                    </a:cubicBezTo>
                    <a:cubicBezTo>
                      <a:pt x="1123" y="2440"/>
                      <a:pt x="5907" y="-789"/>
                      <a:pt x="10871" y="168"/>
                    </a:cubicBezTo>
                    <a:cubicBezTo>
                      <a:pt x="15835" y="1125"/>
                      <a:pt x="19125" y="5969"/>
                      <a:pt x="18168" y="10933"/>
                    </a:cubicBezTo>
                    <a:close/>
                  </a:path>
                </a:pathLst>
              </a:custGeom>
              <a:grpFill/>
              <a:ln w="5978" cap="flat">
                <a:noFill/>
                <a:prstDash val="solid"/>
                <a:miter/>
              </a:ln>
            </p:spPr>
            <p:txBody>
              <a:bodyPr rtlCol="0" anchor="ctr"/>
              <a:lstStyle/>
              <a:p>
                <a:endParaRPr lang="en-GB"/>
              </a:p>
            </p:txBody>
          </p:sp>
          <p:sp>
            <p:nvSpPr>
              <p:cNvPr id="2769" name="Vrije vorm: vorm 2768">
                <a:extLst>
                  <a:ext uri="{FF2B5EF4-FFF2-40B4-BE49-F238E27FC236}">
                    <a16:creationId xmlns:a16="http://schemas.microsoft.com/office/drawing/2014/main" id="{40B8AF0C-69B3-4076-B55D-CF11D7F5372B}"/>
                  </a:ext>
                </a:extLst>
              </p:cNvPr>
              <p:cNvSpPr/>
              <p:nvPr/>
            </p:nvSpPr>
            <p:spPr>
              <a:xfrm>
                <a:off x="5735007" y="5070091"/>
                <a:ext cx="18333" cy="18393"/>
              </a:xfrm>
              <a:custGeom>
                <a:avLst/>
                <a:gdLst>
                  <a:gd name="connsiteX0" fmla="*/ 18168 w 18333"/>
                  <a:gd name="connsiteY0" fmla="*/ 10931 h 18393"/>
                  <a:gd name="connsiteX1" fmla="*/ 10871 w 18333"/>
                  <a:gd name="connsiteY1" fmla="*/ 166 h 18393"/>
                  <a:gd name="connsiteX2" fmla="*/ 166 w 18333"/>
                  <a:gd name="connsiteY2" fmla="*/ 7462 h 18393"/>
                  <a:gd name="connsiteX3" fmla="*/ 7462 w 18333"/>
                  <a:gd name="connsiteY3" fmla="*/ 18227 h 18393"/>
                  <a:gd name="connsiteX4" fmla="*/ 18168 w 18333"/>
                  <a:gd name="connsiteY4" fmla="*/ 10931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8168" y="10931"/>
                    </a:moveTo>
                    <a:cubicBezTo>
                      <a:pt x="19124" y="5907"/>
                      <a:pt x="15835" y="1123"/>
                      <a:pt x="10871" y="166"/>
                    </a:cubicBezTo>
                    <a:cubicBezTo>
                      <a:pt x="5907" y="-791"/>
                      <a:pt x="1123" y="2498"/>
                      <a:pt x="166" y="7462"/>
                    </a:cubicBezTo>
                    <a:cubicBezTo>
                      <a:pt x="-791" y="12486"/>
                      <a:pt x="2498" y="17270"/>
                      <a:pt x="7462" y="18227"/>
                    </a:cubicBezTo>
                    <a:cubicBezTo>
                      <a:pt x="12426" y="19184"/>
                      <a:pt x="17211" y="15895"/>
                      <a:pt x="18168" y="10931"/>
                    </a:cubicBezTo>
                    <a:close/>
                  </a:path>
                </a:pathLst>
              </a:custGeom>
              <a:grpFill/>
              <a:ln w="5978" cap="flat">
                <a:noFill/>
                <a:prstDash val="solid"/>
                <a:miter/>
              </a:ln>
            </p:spPr>
            <p:txBody>
              <a:bodyPr rtlCol="0" anchor="ctr"/>
              <a:lstStyle/>
              <a:p>
                <a:endParaRPr lang="en-GB"/>
              </a:p>
            </p:txBody>
          </p:sp>
        </p:grpSp>
        <p:grpSp>
          <p:nvGrpSpPr>
            <p:cNvPr id="878" name="Graphic 3">
              <a:extLst>
                <a:ext uri="{FF2B5EF4-FFF2-40B4-BE49-F238E27FC236}">
                  <a16:creationId xmlns:a16="http://schemas.microsoft.com/office/drawing/2014/main" id="{94E59EE1-AA8B-43C9-8E52-1C4B5DDD17A8}"/>
                </a:ext>
              </a:extLst>
            </p:cNvPr>
            <p:cNvGrpSpPr/>
            <p:nvPr/>
          </p:nvGrpSpPr>
          <p:grpSpPr>
            <a:xfrm>
              <a:off x="5871450" y="5458912"/>
              <a:ext cx="41732" cy="336171"/>
              <a:chOff x="5871450" y="5458912"/>
              <a:chExt cx="41732" cy="336171"/>
            </a:xfrm>
            <a:grpFill/>
          </p:grpSpPr>
          <p:sp>
            <p:nvSpPr>
              <p:cNvPr id="2764" name="Vrije vorm: vorm 2763">
                <a:extLst>
                  <a:ext uri="{FF2B5EF4-FFF2-40B4-BE49-F238E27FC236}">
                    <a16:creationId xmlns:a16="http://schemas.microsoft.com/office/drawing/2014/main" id="{5BFDCD19-825E-4C3E-ABDA-3C6A541C2735}"/>
                  </a:ext>
                </a:extLst>
              </p:cNvPr>
              <p:cNvSpPr/>
              <p:nvPr/>
            </p:nvSpPr>
            <p:spPr>
              <a:xfrm>
                <a:off x="5879069" y="5467616"/>
                <a:ext cx="26494" cy="318772"/>
              </a:xfrm>
              <a:custGeom>
                <a:avLst/>
                <a:gdLst>
                  <a:gd name="connsiteX0" fmla="*/ 26495 w 26494"/>
                  <a:gd name="connsiteY0" fmla="*/ 239 h 318772"/>
                  <a:gd name="connsiteX1" fmla="*/ 3050 w 26494"/>
                  <a:gd name="connsiteY1" fmla="*/ 318772 h 318772"/>
                  <a:gd name="connsiteX2" fmla="*/ 0 w 26494"/>
                  <a:gd name="connsiteY2" fmla="*/ 318533 h 318772"/>
                  <a:gd name="connsiteX3" fmla="*/ 23444 w 26494"/>
                  <a:gd name="connsiteY3" fmla="*/ 0 h 318772"/>
                </a:gdLst>
                <a:ahLst/>
                <a:cxnLst>
                  <a:cxn ang="0">
                    <a:pos x="connsiteX0" y="connsiteY0"/>
                  </a:cxn>
                  <a:cxn ang="0">
                    <a:pos x="connsiteX1" y="connsiteY1"/>
                  </a:cxn>
                  <a:cxn ang="0">
                    <a:pos x="connsiteX2" y="connsiteY2"/>
                  </a:cxn>
                  <a:cxn ang="0">
                    <a:pos x="connsiteX3" y="connsiteY3"/>
                  </a:cxn>
                </a:cxnLst>
                <a:rect l="l" t="t" r="r" b="b"/>
                <a:pathLst>
                  <a:path w="26494" h="318772">
                    <a:moveTo>
                      <a:pt x="26495" y="239"/>
                    </a:moveTo>
                    <a:lnTo>
                      <a:pt x="3050" y="318772"/>
                    </a:lnTo>
                    <a:lnTo>
                      <a:pt x="0" y="318533"/>
                    </a:lnTo>
                    <a:lnTo>
                      <a:pt x="23444" y="0"/>
                    </a:lnTo>
                    <a:close/>
                  </a:path>
                </a:pathLst>
              </a:custGeom>
              <a:grpFill/>
              <a:ln w="5978" cap="flat">
                <a:noFill/>
                <a:prstDash val="solid"/>
                <a:miter/>
              </a:ln>
            </p:spPr>
            <p:txBody>
              <a:bodyPr rtlCol="0" anchor="ctr"/>
              <a:lstStyle/>
              <a:p>
                <a:endParaRPr lang="en-GB"/>
              </a:p>
            </p:txBody>
          </p:sp>
          <p:sp>
            <p:nvSpPr>
              <p:cNvPr id="2765" name="Vrije vorm: vorm 2764">
                <a:extLst>
                  <a:ext uri="{FF2B5EF4-FFF2-40B4-BE49-F238E27FC236}">
                    <a16:creationId xmlns:a16="http://schemas.microsoft.com/office/drawing/2014/main" id="{5814B962-4CF9-4828-AD87-9333B5BC4BD4}"/>
                  </a:ext>
                </a:extLst>
              </p:cNvPr>
              <p:cNvSpPr/>
              <p:nvPr/>
            </p:nvSpPr>
            <p:spPr>
              <a:xfrm>
                <a:off x="5871450" y="5776616"/>
                <a:ext cx="18347" cy="18467"/>
              </a:xfrm>
              <a:custGeom>
                <a:avLst/>
                <a:gdLst>
                  <a:gd name="connsiteX0" fmla="*/ 18324 w 18347"/>
                  <a:gd name="connsiteY0" fmla="*/ 9952 h 18467"/>
                  <a:gd name="connsiteX1" fmla="*/ 8516 w 18347"/>
                  <a:gd name="connsiteY1" fmla="*/ 18444 h 18467"/>
                  <a:gd name="connsiteX2" fmla="*/ 23 w 18347"/>
                  <a:gd name="connsiteY2" fmla="*/ 8517 h 18467"/>
                  <a:gd name="connsiteX3" fmla="*/ 9831 w 18347"/>
                  <a:gd name="connsiteY3" fmla="*/ 24 h 18467"/>
                  <a:gd name="connsiteX4" fmla="*/ 18324 w 18347"/>
                  <a:gd name="connsiteY4" fmla="*/ 995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67">
                    <a:moveTo>
                      <a:pt x="18324" y="9952"/>
                    </a:moveTo>
                    <a:cubicBezTo>
                      <a:pt x="17966" y="15035"/>
                      <a:pt x="13539" y="18803"/>
                      <a:pt x="8516" y="18444"/>
                    </a:cubicBezTo>
                    <a:cubicBezTo>
                      <a:pt x="3492" y="18026"/>
                      <a:pt x="-336" y="13600"/>
                      <a:pt x="23" y="8517"/>
                    </a:cubicBezTo>
                    <a:cubicBezTo>
                      <a:pt x="382" y="3433"/>
                      <a:pt x="4808" y="-335"/>
                      <a:pt x="9831" y="24"/>
                    </a:cubicBezTo>
                    <a:cubicBezTo>
                      <a:pt x="14915" y="442"/>
                      <a:pt x="18683" y="4868"/>
                      <a:pt x="18324" y="9952"/>
                    </a:cubicBezTo>
                    <a:close/>
                  </a:path>
                </a:pathLst>
              </a:custGeom>
              <a:grpFill/>
              <a:ln w="5978" cap="flat">
                <a:noFill/>
                <a:prstDash val="solid"/>
                <a:miter/>
              </a:ln>
            </p:spPr>
            <p:txBody>
              <a:bodyPr rtlCol="0" anchor="ctr"/>
              <a:lstStyle/>
              <a:p>
                <a:endParaRPr lang="en-GB"/>
              </a:p>
            </p:txBody>
          </p:sp>
          <p:sp>
            <p:nvSpPr>
              <p:cNvPr id="2766" name="Vrije vorm: vorm 2765">
                <a:extLst>
                  <a:ext uri="{FF2B5EF4-FFF2-40B4-BE49-F238E27FC236}">
                    <a16:creationId xmlns:a16="http://schemas.microsoft.com/office/drawing/2014/main" id="{0D8EADB3-1FFE-4177-A056-FE27BCA41105}"/>
                  </a:ext>
                </a:extLst>
              </p:cNvPr>
              <p:cNvSpPr/>
              <p:nvPr/>
            </p:nvSpPr>
            <p:spPr>
              <a:xfrm>
                <a:off x="5894835" y="5458912"/>
                <a:ext cx="18348" cy="18483"/>
              </a:xfrm>
              <a:custGeom>
                <a:avLst/>
                <a:gdLst>
                  <a:gd name="connsiteX0" fmla="*/ 18325 w 18348"/>
                  <a:gd name="connsiteY0" fmla="*/ 9960 h 18483"/>
                  <a:gd name="connsiteX1" fmla="*/ 9832 w 18348"/>
                  <a:gd name="connsiteY1" fmla="*/ 31 h 18483"/>
                  <a:gd name="connsiteX2" fmla="*/ 24 w 18348"/>
                  <a:gd name="connsiteY2" fmla="*/ 8524 h 18483"/>
                  <a:gd name="connsiteX3" fmla="*/ 8516 w 18348"/>
                  <a:gd name="connsiteY3" fmla="*/ 18452 h 18483"/>
                  <a:gd name="connsiteX4" fmla="*/ 18325 w 18348"/>
                  <a:gd name="connsiteY4" fmla="*/ 9960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83">
                    <a:moveTo>
                      <a:pt x="18325" y="9960"/>
                    </a:moveTo>
                    <a:cubicBezTo>
                      <a:pt x="18683" y="4876"/>
                      <a:pt x="14916" y="450"/>
                      <a:pt x="9832" y="31"/>
                    </a:cubicBezTo>
                    <a:cubicBezTo>
                      <a:pt x="4808" y="-387"/>
                      <a:pt x="382" y="3440"/>
                      <a:pt x="24" y="8524"/>
                    </a:cubicBezTo>
                    <a:cubicBezTo>
                      <a:pt x="-335" y="13608"/>
                      <a:pt x="3433" y="18033"/>
                      <a:pt x="8516" y="18452"/>
                    </a:cubicBezTo>
                    <a:cubicBezTo>
                      <a:pt x="13540" y="18871"/>
                      <a:pt x="17966" y="15043"/>
                      <a:pt x="18325" y="9960"/>
                    </a:cubicBezTo>
                    <a:close/>
                  </a:path>
                </a:pathLst>
              </a:custGeom>
              <a:grpFill/>
              <a:ln w="5978" cap="flat">
                <a:noFill/>
                <a:prstDash val="solid"/>
                <a:miter/>
              </a:ln>
            </p:spPr>
            <p:txBody>
              <a:bodyPr rtlCol="0" anchor="ctr"/>
              <a:lstStyle/>
              <a:p>
                <a:endParaRPr lang="en-GB"/>
              </a:p>
            </p:txBody>
          </p:sp>
        </p:grpSp>
        <p:grpSp>
          <p:nvGrpSpPr>
            <p:cNvPr id="879" name="Graphic 3">
              <a:extLst>
                <a:ext uri="{FF2B5EF4-FFF2-40B4-BE49-F238E27FC236}">
                  <a16:creationId xmlns:a16="http://schemas.microsoft.com/office/drawing/2014/main" id="{8B4DFB7B-8BC5-4619-9978-1FD581A599F5}"/>
                </a:ext>
              </a:extLst>
            </p:cNvPr>
            <p:cNvGrpSpPr/>
            <p:nvPr/>
          </p:nvGrpSpPr>
          <p:grpSpPr>
            <a:xfrm>
              <a:off x="4613727" y="1930444"/>
              <a:ext cx="56556" cy="57857"/>
              <a:chOff x="4613727" y="1930444"/>
              <a:chExt cx="56556" cy="57857"/>
            </a:xfrm>
            <a:grpFill/>
          </p:grpSpPr>
          <p:sp>
            <p:nvSpPr>
              <p:cNvPr id="2761" name="Vrije vorm: vorm 2760">
                <a:extLst>
                  <a:ext uri="{FF2B5EF4-FFF2-40B4-BE49-F238E27FC236}">
                    <a16:creationId xmlns:a16="http://schemas.microsoft.com/office/drawing/2014/main" id="{85252EED-16FD-41CD-B75F-027F02087F22}"/>
                  </a:ext>
                </a:extLst>
              </p:cNvPr>
              <p:cNvSpPr/>
              <p:nvPr/>
            </p:nvSpPr>
            <p:spPr>
              <a:xfrm>
                <a:off x="4621503" y="1938272"/>
                <a:ext cx="41027" cy="42164"/>
              </a:xfrm>
              <a:custGeom>
                <a:avLst/>
                <a:gdLst>
                  <a:gd name="connsiteX0" fmla="*/ 41028 w 41027"/>
                  <a:gd name="connsiteY0" fmla="*/ 40071 h 42164"/>
                  <a:gd name="connsiteX1" fmla="*/ 38875 w 41027"/>
                  <a:gd name="connsiteY1" fmla="*/ 42164 h 42164"/>
                  <a:gd name="connsiteX2" fmla="*/ 0 w 41027"/>
                  <a:gd name="connsiteY2" fmla="*/ 2093 h 42164"/>
                  <a:gd name="connsiteX3" fmla="*/ 2213 w 41027"/>
                  <a:gd name="connsiteY3" fmla="*/ 0 h 42164"/>
                </a:gdLst>
                <a:ahLst/>
                <a:cxnLst>
                  <a:cxn ang="0">
                    <a:pos x="connsiteX0" y="connsiteY0"/>
                  </a:cxn>
                  <a:cxn ang="0">
                    <a:pos x="connsiteX1" y="connsiteY1"/>
                  </a:cxn>
                  <a:cxn ang="0">
                    <a:pos x="connsiteX2" y="connsiteY2"/>
                  </a:cxn>
                  <a:cxn ang="0">
                    <a:pos x="connsiteX3" y="connsiteY3"/>
                  </a:cxn>
                </a:cxnLst>
                <a:rect l="l" t="t" r="r" b="b"/>
                <a:pathLst>
                  <a:path w="41027" h="42164">
                    <a:moveTo>
                      <a:pt x="41028" y="40071"/>
                    </a:moveTo>
                    <a:lnTo>
                      <a:pt x="38875" y="42164"/>
                    </a:lnTo>
                    <a:lnTo>
                      <a:pt x="0" y="2093"/>
                    </a:lnTo>
                    <a:lnTo>
                      <a:pt x="2213" y="0"/>
                    </a:lnTo>
                    <a:close/>
                  </a:path>
                </a:pathLst>
              </a:custGeom>
              <a:grpFill/>
              <a:ln w="5978" cap="flat">
                <a:noFill/>
                <a:prstDash val="solid"/>
                <a:miter/>
              </a:ln>
            </p:spPr>
            <p:txBody>
              <a:bodyPr rtlCol="0" anchor="ctr"/>
              <a:lstStyle/>
              <a:p>
                <a:endParaRPr lang="en-GB"/>
              </a:p>
            </p:txBody>
          </p:sp>
          <p:sp>
            <p:nvSpPr>
              <p:cNvPr id="2762" name="Vrije vorm: vorm 2761">
                <a:extLst>
                  <a:ext uri="{FF2B5EF4-FFF2-40B4-BE49-F238E27FC236}">
                    <a16:creationId xmlns:a16="http://schemas.microsoft.com/office/drawing/2014/main" id="{29CEC16D-F32D-4D12-984F-774B391CA4B6}"/>
                  </a:ext>
                </a:extLst>
              </p:cNvPr>
              <p:cNvSpPr/>
              <p:nvPr/>
            </p:nvSpPr>
            <p:spPr>
              <a:xfrm>
                <a:off x="4651966" y="1969857"/>
                <a:ext cx="18316" cy="18444"/>
              </a:xfrm>
              <a:custGeom>
                <a:avLst/>
                <a:gdLst>
                  <a:gd name="connsiteX0" fmla="*/ 15707 w 18316"/>
                  <a:gd name="connsiteY0" fmla="*/ 2805 h 18444"/>
                  <a:gd name="connsiteX1" fmla="*/ 15588 w 18316"/>
                  <a:gd name="connsiteY1" fmla="*/ 15843 h 18444"/>
                  <a:gd name="connsiteX2" fmla="*/ 2610 w 18316"/>
                  <a:gd name="connsiteY2" fmla="*/ 15663 h 18444"/>
                  <a:gd name="connsiteX3" fmla="*/ 2729 w 18316"/>
                  <a:gd name="connsiteY3" fmla="*/ 2625 h 18444"/>
                  <a:gd name="connsiteX4" fmla="*/ 15707 w 18316"/>
                  <a:gd name="connsiteY4" fmla="*/ 280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15707" y="2805"/>
                    </a:moveTo>
                    <a:cubicBezTo>
                      <a:pt x="19236" y="6453"/>
                      <a:pt x="19176" y="12314"/>
                      <a:pt x="15588" y="15843"/>
                    </a:cubicBezTo>
                    <a:cubicBezTo>
                      <a:pt x="11999" y="19371"/>
                      <a:pt x="6138" y="19311"/>
                      <a:pt x="2610" y="15663"/>
                    </a:cubicBezTo>
                    <a:cubicBezTo>
                      <a:pt x="-919" y="12015"/>
                      <a:pt x="-859" y="6154"/>
                      <a:pt x="2729" y="2625"/>
                    </a:cubicBezTo>
                    <a:cubicBezTo>
                      <a:pt x="6377" y="-963"/>
                      <a:pt x="12179" y="-844"/>
                      <a:pt x="15707" y="2805"/>
                    </a:cubicBezTo>
                    <a:close/>
                  </a:path>
                </a:pathLst>
              </a:custGeom>
              <a:grpFill/>
              <a:ln w="5978" cap="flat">
                <a:noFill/>
                <a:prstDash val="solid"/>
                <a:miter/>
              </a:ln>
            </p:spPr>
            <p:txBody>
              <a:bodyPr rtlCol="0" anchor="ctr"/>
              <a:lstStyle/>
              <a:p>
                <a:endParaRPr lang="en-GB"/>
              </a:p>
            </p:txBody>
          </p:sp>
          <p:sp>
            <p:nvSpPr>
              <p:cNvPr id="2763" name="Vrije vorm: vorm 2762">
                <a:extLst>
                  <a:ext uri="{FF2B5EF4-FFF2-40B4-BE49-F238E27FC236}">
                    <a16:creationId xmlns:a16="http://schemas.microsoft.com/office/drawing/2014/main" id="{3CE68874-E8B0-41EA-AA5D-9C6B0F6AA44C}"/>
                  </a:ext>
                </a:extLst>
              </p:cNvPr>
              <p:cNvSpPr/>
              <p:nvPr/>
            </p:nvSpPr>
            <p:spPr>
              <a:xfrm>
                <a:off x="4613727" y="1930444"/>
                <a:ext cx="18339" cy="18444"/>
              </a:xfrm>
              <a:custGeom>
                <a:avLst/>
                <a:gdLst>
                  <a:gd name="connsiteX0" fmla="*/ 15730 w 18339"/>
                  <a:gd name="connsiteY0" fmla="*/ 2805 h 18444"/>
                  <a:gd name="connsiteX1" fmla="*/ 2752 w 18339"/>
                  <a:gd name="connsiteY1" fmla="*/ 2625 h 18444"/>
                  <a:gd name="connsiteX2" fmla="*/ 2632 w 18339"/>
                  <a:gd name="connsiteY2" fmla="*/ 15663 h 18444"/>
                  <a:gd name="connsiteX3" fmla="*/ 15611 w 18339"/>
                  <a:gd name="connsiteY3" fmla="*/ 15843 h 18444"/>
                  <a:gd name="connsiteX4" fmla="*/ 15730 w 18339"/>
                  <a:gd name="connsiteY4" fmla="*/ 280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15730" y="2805"/>
                    </a:moveTo>
                    <a:cubicBezTo>
                      <a:pt x="12201" y="-844"/>
                      <a:pt x="6400" y="-963"/>
                      <a:pt x="2752" y="2625"/>
                    </a:cubicBezTo>
                    <a:cubicBezTo>
                      <a:pt x="-836" y="6154"/>
                      <a:pt x="-956" y="12015"/>
                      <a:pt x="2632" y="15663"/>
                    </a:cubicBezTo>
                    <a:cubicBezTo>
                      <a:pt x="6161" y="19311"/>
                      <a:pt x="11962" y="19371"/>
                      <a:pt x="15611" y="15843"/>
                    </a:cubicBezTo>
                    <a:cubicBezTo>
                      <a:pt x="19199" y="12254"/>
                      <a:pt x="19259" y="6453"/>
                      <a:pt x="15730" y="2805"/>
                    </a:cubicBezTo>
                    <a:close/>
                  </a:path>
                </a:pathLst>
              </a:custGeom>
              <a:grpFill/>
              <a:ln w="5978" cap="flat">
                <a:noFill/>
                <a:prstDash val="solid"/>
                <a:miter/>
              </a:ln>
            </p:spPr>
            <p:txBody>
              <a:bodyPr rtlCol="0" anchor="ctr"/>
              <a:lstStyle/>
              <a:p>
                <a:endParaRPr lang="en-GB"/>
              </a:p>
            </p:txBody>
          </p:sp>
        </p:grpSp>
        <p:grpSp>
          <p:nvGrpSpPr>
            <p:cNvPr id="880" name="Graphic 3">
              <a:extLst>
                <a:ext uri="{FF2B5EF4-FFF2-40B4-BE49-F238E27FC236}">
                  <a16:creationId xmlns:a16="http://schemas.microsoft.com/office/drawing/2014/main" id="{CA2F146A-A38A-4348-9AD3-8BA2FD8BE483}"/>
                </a:ext>
              </a:extLst>
            </p:cNvPr>
            <p:cNvGrpSpPr/>
            <p:nvPr/>
          </p:nvGrpSpPr>
          <p:grpSpPr>
            <a:xfrm>
              <a:off x="4632290" y="2002714"/>
              <a:ext cx="103624" cy="103249"/>
              <a:chOff x="4632290" y="2002714"/>
              <a:chExt cx="103624" cy="103249"/>
            </a:xfrm>
            <a:grpFill/>
          </p:grpSpPr>
          <p:sp>
            <p:nvSpPr>
              <p:cNvPr id="2758" name="Vrije vorm: vorm 2757">
                <a:extLst>
                  <a:ext uri="{FF2B5EF4-FFF2-40B4-BE49-F238E27FC236}">
                    <a16:creationId xmlns:a16="http://schemas.microsoft.com/office/drawing/2014/main" id="{67B5B1C9-C32A-40EA-9932-1CE5C6380864}"/>
                  </a:ext>
                </a:extLst>
              </p:cNvPr>
              <p:cNvSpPr/>
              <p:nvPr/>
            </p:nvSpPr>
            <p:spPr>
              <a:xfrm>
                <a:off x="4640043" y="2010519"/>
                <a:ext cx="88095" cy="87617"/>
              </a:xfrm>
              <a:custGeom>
                <a:avLst/>
                <a:gdLst>
                  <a:gd name="connsiteX0" fmla="*/ 88096 w 88095"/>
                  <a:gd name="connsiteY0" fmla="*/ 85464 h 87617"/>
                  <a:gd name="connsiteX1" fmla="*/ 85943 w 88095"/>
                  <a:gd name="connsiteY1" fmla="*/ 87618 h 87617"/>
                  <a:gd name="connsiteX2" fmla="*/ 0 w 88095"/>
                  <a:gd name="connsiteY2" fmla="*/ 2153 h 87617"/>
                  <a:gd name="connsiteX3" fmla="*/ 2153 w 88095"/>
                  <a:gd name="connsiteY3" fmla="*/ 0 h 87617"/>
                </a:gdLst>
                <a:ahLst/>
                <a:cxnLst>
                  <a:cxn ang="0">
                    <a:pos x="connsiteX0" y="connsiteY0"/>
                  </a:cxn>
                  <a:cxn ang="0">
                    <a:pos x="connsiteX1" y="connsiteY1"/>
                  </a:cxn>
                  <a:cxn ang="0">
                    <a:pos x="connsiteX2" y="connsiteY2"/>
                  </a:cxn>
                  <a:cxn ang="0">
                    <a:pos x="connsiteX3" y="connsiteY3"/>
                  </a:cxn>
                </a:cxnLst>
                <a:rect l="l" t="t" r="r" b="b"/>
                <a:pathLst>
                  <a:path w="88095" h="87617">
                    <a:moveTo>
                      <a:pt x="88096" y="85464"/>
                    </a:moveTo>
                    <a:lnTo>
                      <a:pt x="85943" y="87618"/>
                    </a:lnTo>
                    <a:lnTo>
                      <a:pt x="0" y="2153"/>
                    </a:lnTo>
                    <a:lnTo>
                      <a:pt x="2153" y="0"/>
                    </a:lnTo>
                    <a:close/>
                  </a:path>
                </a:pathLst>
              </a:custGeom>
              <a:grpFill/>
              <a:ln w="5978" cap="flat">
                <a:noFill/>
                <a:prstDash val="solid"/>
                <a:miter/>
              </a:ln>
            </p:spPr>
            <p:txBody>
              <a:bodyPr rtlCol="0" anchor="ctr"/>
              <a:lstStyle/>
              <a:p>
                <a:endParaRPr lang="en-GB"/>
              </a:p>
            </p:txBody>
          </p:sp>
          <p:sp>
            <p:nvSpPr>
              <p:cNvPr id="2759" name="Vrije vorm: vorm 2758">
                <a:extLst>
                  <a:ext uri="{FF2B5EF4-FFF2-40B4-BE49-F238E27FC236}">
                    <a16:creationId xmlns:a16="http://schemas.microsoft.com/office/drawing/2014/main" id="{4CF9E6FB-449F-48B6-BED4-2491B1E50972}"/>
                  </a:ext>
                </a:extLst>
              </p:cNvPr>
              <p:cNvSpPr/>
              <p:nvPr/>
            </p:nvSpPr>
            <p:spPr>
              <a:xfrm>
                <a:off x="4632290" y="2002714"/>
                <a:ext cx="18316" cy="18420"/>
              </a:xfrm>
              <a:custGeom>
                <a:avLst/>
                <a:gdLst>
                  <a:gd name="connsiteX0" fmla="*/ 2729 w 18316"/>
                  <a:gd name="connsiteY0" fmla="*/ 15759 h 18420"/>
                  <a:gd name="connsiteX1" fmla="*/ 2610 w 18316"/>
                  <a:gd name="connsiteY1" fmla="*/ 2721 h 18420"/>
                  <a:gd name="connsiteX2" fmla="*/ 15588 w 18316"/>
                  <a:gd name="connsiteY2" fmla="*/ 2662 h 18420"/>
                  <a:gd name="connsiteX3" fmla="*/ 15707 w 18316"/>
                  <a:gd name="connsiteY3" fmla="*/ 15700 h 18420"/>
                  <a:gd name="connsiteX4" fmla="*/ 2729 w 18316"/>
                  <a:gd name="connsiteY4" fmla="*/ 1575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0">
                    <a:moveTo>
                      <a:pt x="2729" y="15759"/>
                    </a:moveTo>
                    <a:cubicBezTo>
                      <a:pt x="-859" y="12171"/>
                      <a:pt x="-919" y="6370"/>
                      <a:pt x="2610" y="2721"/>
                    </a:cubicBezTo>
                    <a:cubicBezTo>
                      <a:pt x="6138" y="-867"/>
                      <a:pt x="11940" y="-927"/>
                      <a:pt x="15588" y="2662"/>
                    </a:cubicBezTo>
                    <a:cubicBezTo>
                      <a:pt x="19176" y="6250"/>
                      <a:pt x="19236" y="12051"/>
                      <a:pt x="15707" y="15700"/>
                    </a:cubicBezTo>
                    <a:cubicBezTo>
                      <a:pt x="12119" y="19288"/>
                      <a:pt x="6318" y="19348"/>
                      <a:pt x="2729" y="15759"/>
                    </a:cubicBezTo>
                    <a:close/>
                  </a:path>
                </a:pathLst>
              </a:custGeom>
              <a:grpFill/>
              <a:ln w="5978" cap="flat">
                <a:noFill/>
                <a:prstDash val="solid"/>
                <a:miter/>
              </a:ln>
            </p:spPr>
            <p:txBody>
              <a:bodyPr rtlCol="0" anchor="ctr"/>
              <a:lstStyle/>
              <a:p>
                <a:endParaRPr lang="en-GB"/>
              </a:p>
            </p:txBody>
          </p:sp>
          <p:sp>
            <p:nvSpPr>
              <p:cNvPr id="2760" name="Vrije vorm: vorm 2759">
                <a:extLst>
                  <a:ext uri="{FF2B5EF4-FFF2-40B4-BE49-F238E27FC236}">
                    <a16:creationId xmlns:a16="http://schemas.microsoft.com/office/drawing/2014/main" id="{697D07BB-E1E6-423B-AA0A-E596BD85AD0F}"/>
                  </a:ext>
                </a:extLst>
              </p:cNvPr>
              <p:cNvSpPr/>
              <p:nvPr/>
            </p:nvSpPr>
            <p:spPr>
              <a:xfrm>
                <a:off x="4717575" y="2087499"/>
                <a:ext cx="18338" cy="18465"/>
              </a:xfrm>
              <a:custGeom>
                <a:avLst/>
                <a:gdLst>
                  <a:gd name="connsiteX0" fmla="*/ 2729 w 18338"/>
                  <a:gd name="connsiteY0" fmla="*/ 15782 h 18465"/>
                  <a:gd name="connsiteX1" fmla="*/ 15707 w 18338"/>
                  <a:gd name="connsiteY1" fmla="*/ 15722 h 18465"/>
                  <a:gd name="connsiteX2" fmla="*/ 15588 w 18338"/>
                  <a:gd name="connsiteY2" fmla="*/ 2684 h 18465"/>
                  <a:gd name="connsiteX3" fmla="*/ 2610 w 18338"/>
                  <a:gd name="connsiteY3" fmla="*/ 2744 h 18465"/>
                  <a:gd name="connsiteX4" fmla="*/ 2729 w 18338"/>
                  <a:gd name="connsiteY4" fmla="*/ 1578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5">
                    <a:moveTo>
                      <a:pt x="2729" y="15782"/>
                    </a:moveTo>
                    <a:cubicBezTo>
                      <a:pt x="6318" y="19370"/>
                      <a:pt x="12119" y="19370"/>
                      <a:pt x="15707" y="15722"/>
                    </a:cubicBezTo>
                    <a:cubicBezTo>
                      <a:pt x="19236" y="12133"/>
                      <a:pt x="19236" y="6272"/>
                      <a:pt x="15588" y="2684"/>
                    </a:cubicBezTo>
                    <a:cubicBezTo>
                      <a:pt x="11999" y="-905"/>
                      <a:pt x="6198" y="-905"/>
                      <a:pt x="2610" y="2744"/>
                    </a:cubicBezTo>
                    <a:cubicBezTo>
                      <a:pt x="-919" y="6332"/>
                      <a:pt x="-859" y="12193"/>
                      <a:pt x="2729" y="15782"/>
                    </a:cubicBezTo>
                    <a:close/>
                  </a:path>
                </a:pathLst>
              </a:custGeom>
              <a:grpFill/>
              <a:ln w="5978" cap="flat">
                <a:noFill/>
                <a:prstDash val="solid"/>
                <a:miter/>
              </a:ln>
            </p:spPr>
            <p:txBody>
              <a:bodyPr rtlCol="0" anchor="ctr"/>
              <a:lstStyle/>
              <a:p>
                <a:endParaRPr lang="en-GB"/>
              </a:p>
            </p:txBody>
          </p:sp>
        </p:grpSp>
        <p:grpSp>
          <p:nvGrpSpPr>
            <p:cNvPr id="881" name="Graphic 3">
              <a:extLst>
                <a:ext uri="{FF2B5EF4-FFF2-40B4-BE49-F238E27FC236}">
                  <a16:creationId xmlns:a16="http://schemas.microsoft.com/office/drawing/2014/main" id="{E0E3DE5B-CEFC-46FF-9281-565050637E91}"/>
                </a:ext>
              </a:extLst>
            </p:cNvPr>
            <p:cNvGrpSpPr/>
            <p:nvPr/>
          </p:nvGrpSpPr>
          <p:grpSpPr>
            <a:xfrm>
              <a:off x="5739094" y="5082908"/>
              <a:ext cx="138488" cy="707931"/>
              <a:chOff x="5739094" y="5082908"/>
              <a:chExt cx="138488" cy="707931"/>
            </a:xfrm>
            <a:grpFill/>
          </p:grpSpPr>
          <p:sp>
            <p:nvSpPr>
              <p:cNvPr id="2755" name="Vrije vorm: vorm 2754">
                <a:extLst>
                  <a:ext uri="{FF2B5EF4-FFF2-40B4-BE49-F238E27FC236}">
                    <a16:creationId xmlns:a16="http://schemas.microsoft.com/office/drawing/2014/main" id="{3EC55F2C-17DB-4256-88C1-806F90D142CD}"/>
                  </a:ext>
                </a:extLst>
              </p:cNvPr>
              <p:cNvSpPr/>
              <p:nvPr/>
            </p:nvSpPr>
            <p:spPr>
              <a:xfrm>
                <a:off x="5746656" y="5091369"/>
                <a:ext cx="123382" cy="690952"/>
              </a:xfrm>
              <a:custGeom>
                <a:avLst/>
                <a:gdLst>
                  <a:gd name="connsiteX0" fmla="*/ 123382 w 123382"/>
                  <a:gd name="connsiteY0" fmla="*/ 538 h 690952"/>
                  <a:gd name="connsiteX1" fmla="*/ 2990 w 123382"/>
                  <a:gd name="connsiteY1" fmla="*/ 690953 h 690952"/>
                  <a:gd name="connsiteX2" fmla="*/ 0 w 123382"/>
                  <a:gd name="connsiteY2" fmla="*/ 690415 h 690952"/>
                  <a:gd name="connsiteX3" fmla="*/ 120332 w 123382"/>
                  <a:gd name="connsiteY3" fmla="*/ 0 h 690952"/>
                </a:gdLst>
                <a:ahLst/>
                <a:cxnLst>
                  <a:cxn ang="0">
                    <a:pos x="connsiteX0" y="connsiteY0"/>
                  </a:cxn>
                  <a:cxn ang="0">
                    <a:pos x="connsiteX1" y="connsiteY1"/>
                  </a:cxn>
                  <a:cxn ang="0">
                    <a:pos x="connsiteX2" y="connsiteY2"/>
                  </a:cxn>
                  <a:cxn ang="0">
                    <a:pos x="connsiteX3" y="connsiteY3"/>
                  </a:cxn>
                </a:cxnLst>
                <a:rect l="l" t="t" r="r" b="b"/>
                <a:pathLst>
                  <a:path w="123382" h="690952">
                    <a:moveTo>
                      <a:pt x="123382" y="538"/>
                    </a:moveTo>
                    <a:lnTo>
                      <a:pt x="2990" y="690953"/>
                    </a:lnTo>
                    <a:lnTo>
                      <a:pt x="0" y="690415"/>
                    </a:lnTo>
                    <a:lnTo>
                      <a:pt x="120332" y="0"/>
                    </a:lnTo>
                    <a:close/>
                  </a:path>
                </a:pathLst>
              </a:custGeom>
              <a:grpFill/>
              <a:ln w="5978" cap="flat">
                <a:noFill/>
                <a:prstDash val="solid"/>
                <a:miter/>
              </a:ln>
            </p:spPr>
            <p:txBody>
              <a:bodyPr rtlCol="0" anchor="ctr"/>
              <a:lstStyle/>
              <a:p>
                <a:endParaRPr lang="en-GB"/>
              </a:p>
            </p:txBody>
          </p:sp>
          <p:sp>
            <p:nvSpPr>
              <p:cNvPr id="2756" name="Vrije vorm: vorm 2755">
                <a:extLst>
                  <a:ext uri="{FF2B5EF4-FFF2-40B4-BE49-F238E27FC236}">
                    <a16:creationId xmlns:a16="http://schemas.microsoft.com/office/drawing/2014/main" id="{4CD16B29-B79C-4C21-A771-CB822BB271B2}"/>
                  </a:ext>
                </a:extLst>
              </p:cNvPr>
              <p:cNvSpPr/>
              <p:nvPr/>
            </p:nvSpPr>
            <p:spPr>
              <a:xfrm>
                <a:off x="5859263" y="5082908"/>
                <a:ext cx="18320" cy="18416"/>
              </a:xfrm>
              <a:custGeom>
                <a:avLst/>
                <a:gdLst>
                  <a:gd name="connsiteX0" fmla="*/ 130 w 18320"/>
                  <a:gd name="connsiteY0" fmla="*/ 7563 h 18416"/>
                  <a:gd name="connsiteX1" fmla="*/ 10716 w 18320"/>
                  <a:gd name="connsiteY1" fmla="*/ 147 h 18416"/>
                  <a:gd name="connsiteX2" fmla="*/ 18192 w 18320"/>
                  <a:gd name="connsiteY2" fmla="*/ 10853 h 18416"/>
                  <a:gd name="connsiteX3" fmla="*/ 7606 w 18320"/>
                  <a:gd name="connsiteY3" fmla="*/ 18269 h 18416"/>
                  <a:gd name="connsiteX4" fmla="*/ 130 w 18320"/>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6">
                    <a:moveTo>
                      <a:pt x="130" y="7563"/>
                    </a:moveTo>
                    <a:cubicBezTo>
                      <a:pt x="1027" y="2539"/>
                      <a:pt x="5752" y="-750"/>
                      <a:pt x="10716" y="147"/>
                    </a:cubicBezTo>
                    <a:cubicBezTo>
                      <a:pt x="15680" y="1044"/>
                      <a:pt x="19029" y="5829"/>
                      <a:pt x="18192" y="10853"/>
                    </a:cubicBezTo>
                    <a:cubicBezTo>
                      <a:pt x="17295" y="15877"/>
                      <a:pt x="12570" y="19166"/>
                      <a:pt x="7606" y="18269"/>
                    </a:cubicBezTo>
                    <a:cubicBezTo>
                      <a:pt x="2582" y="17372"/>
                      <a:pt x="-707" y="12528"/>
                      <a:pt x="130" y="7563"/>
                    </a:cubicBezTo>
                    <a:close/>
                  </a:path>
                </a:pathLst>
              </a:custGeom>
              <a:grpFill/>
              <a:ln w="5978" cap="flat">
                <a:noFill/>
                <a:prstDash val="solid"/>
                <a:miter/>
              </a:ln>
            </p:spPr>
            <p:txBody>
              <a:bodyPr rtlCol="0" anchor="ctr"/>
              <a:lstStyle/>
              <a:p>
                <a:endParaRPr lang="en-GB"/>
              </a:p>
            </p:txBody>
          </p:sp>
          <p:sp>
            <p:nvSpPr>
              <p:cNvPr id="2757" name="Vrije vorm: vorm 2756">
                <a:extLst>
                  <a:ext uri="{FF2B5EF4-FFF2-40B4-BE49-F238E27FC236}">
                    <a16:creationId xmlns:a16="http://schemas.microsoft.com/office/drawing/2014/main" id="{3704F5BA-E51D-4FDB-AAD8-2688D698B643}"/>
                  </a:ext>
                </a:extLst>
              </p:cNvPr>
              <p:cNvSpPr/>
              <p:nvPr/>
            </p:nvSpPr>
            <p:spPr>
              <a:xfrm>
                <a:off x="5739094" y="5772425"/>
                <a:ext cx="18352" cy="18414"/>
              </a:xfrm>
              <a:custGeom>
                <a:avLst/>
                <a:gdLst>
                  <a:gd name="connsiteX0" fmla="*/ 145 w 18352"/>
                  <a:gd name="connsiteY0" fmla="*/ 7563 h 18414"/>
                  <a:gd name="connsiteX1" fmla="*/ 7621 w 18352"/>
                  <a:gd name="connsiteY1" fmla="*/ 18269 h 18414"/>
                  <a:gd name="connsiteX2" fmla="*/ 18207 w 18352"/>
                  <a:gd name="connsiteY2" fmla="*/ 10853 h 18414"/>
                  <a:gd name="connsiteX3" fmla="*/ 10731 w 18352"/>
                  <a:gd name="connsiteY3" fmla="*/ 147 h 18414"/>
                  <a:gd name="connsiteX4" fmla="*/ 145 w 18352"/>
                  <a:gd name="connsiteY4" fmla="*/ 756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145" y="7563"/>
                    </a:moveTo>
                    <a:cubicBezTo>
                      <a:pt x="-752" y="12587"/>
                      <a:pt x="2598" y="17372"/>
                      <a:pt x="7621" y="18269"/>
                    </a:cubicBezTo>
                    <a:cubicBezTo>
                      <a:pt x="12585" y="19166"/>
                      <a:pt x="17370" y="15817"/>
                      <a:pt x="18207" y="10853"/>
                    </a:cubicBezTo>
                    <a:cubicBezTo>
                      <a:pt x="19104" y="5829"/>
                      <a:pt x="15755" y="1045"/>
                      <a:pt x="10731" y="147"/>
                    </a:cubicBezTo>
                    <a:cubicBezTo>
                      <a:pt x="5767" y="-750"/>
                      <a:pt x="983" y="2540"/>
                      <a:pt x="145" y="7563"/>
                    </a:cubicBezTo>
                    <a:close/>
                  </a:path>
                </a:pathLst>
              </a:custGeom>
              <a:grpFill/>
              <a:ln w="5978" cap="flat">
                <a:noFill/>
                <a:prstDash val="solid"/>
                <a:miter/>
              </a:ln>
            </p:spPr>
            <p:txBody>
              <a:bodyPr rtlCol="0" anchor="ctr"/>
              <a:lstStyle/>
              <a:p>
                <a:endParaRPr lang="en-GB"/>
              </a:p>
            </p:txBody>
          </p:sp>
        </p:grpSp>
        <p:grpSp>
          <p:nvGrpSpPr>
            <p:cNvPr id="882" name="Graphic 3">
              <a:extLst>
                <a:ext uri="{FF2B5EF4-FFF2-40B4-BE49-F238E27FC236}">
                  <a16:creationId xmlns:a16="http://schemas.microsoft.com/office/drawing/2014/main" id="{E5551652-4BCE-4873-91F3-0D540DBDCDDE}"/>
                </a:ext>
              </a:extLst>
            </p:cNvPr>
            <p:cNvGrpSpPr/>
            <p:nvPr/>
          </p:nvGrpSpPr>
          <p:grpSpPr>
            <a:xfrm>
              <a:off x="4686435" y="2199405"/>
              <a:ext cx="114986" cy="104334"/>
              <a:chOff x="4686435" y="2199405"/>
              <a:chExt cx="114986" cy="104334"/>
            </a:xfrm>
            <a:grpFill/>
          </p:grpSpPr>
          <p:sp>
            <p:nvSpPr>
              <p:cNvPr id="2752" name="Vrije vorm: vorm 2751">
                <a:extLst>
                  <a:ext uri="{FF2B5EF4-FFF2-40B4-BE49-F238E27FC236}">
                    <a16:creationId xmlns:a16="http://schemas.microsoft.com/office/drawing/2014/main" id="{8D6D148D-BE68-481C-A089-148E8901DA01}"/>
                  </a:ext>
                </a:extLst>
              </p:cNvPr>
              <p:cNvSpPr/>
              <p:nvPr/>
            </p:nvSpPr>
            <p:spPr>
              <a:xfrm>
                <a:off x="4694228" y="2207166"/>
                <a:ext cx="99399" cy="88813"/>
              </a:xfrm>
              <a:custGeom>
                <a:avLst/>
                <a:gdLst>
                  <a:gd name="connsiteX0" fmla="*/ 99400 w 99399"/>
                  <a:gd name="connsiteY0" fmla="*/ 86541 h 88813"/>
                  <a:gd name="connsiteX1" fmla="*/ 97366 w 99399"/>
                  <a:gd name="connsiteY1" fmla="*/ 88814 h 88813"/>
                  <a:gd name="connsiteX2" fmla="*/ 0 w 99399"/>
                  <a:gd name="connsiteY2" fmla="*/ 2273 h 88813"/>
                  <a:gd name="connsiteX3" fmla="*/ 2034 w 99399"/>
                  <a:gd name="connsiteY3" fmla="*/ 0 h 88813"/>
                </a:gdLst>
                <a:ahLst/>
                <a:cxnLst>
                  <a:cxn ang="0">
                    <a:pos x="connsiteX0" y="connsiteY0"/>
                  </a:cxn>
                  <a:cxn ang="0">
                    <a:pos x="connsiteX1" y="connsiteY1"/>
                  </a:cxn>
                  <a:cxn ang="0">
                    <a:pos x="connsiteX2" y="connsiteY2"/>
                  </a:cxn>
                  <a:cxn ang="0">
                    <a:pos x="connsiteX3" y="connsiteY3"/>
                  </a:cxn>
                </a:cxnLst>
                <a:rect l="l" t="t" r="r" b="b"/>
                <a:pathLst>
                  <a:path w="99399" h="88813">
                    <a:moveTo>
                      <a:pt x="99400" y="86541"/>
                    </a:moveTo>
                    <a:lnTo>
                      <a:pt x="97366" y="88814"/>
                    </a:lnTo>
                    <a:lnTo>
                      <a:pt x="0" y="2273"/>
                    </a:lnTo>
                    <a:lnTo>
                      <a:pt x="2034" y="0"/>
                    </a:lnTo>
                    <a:close/>
                  </a:path>
                </a:pathLst>
              </a:custGeom>
              <a:grpFill/>
              <a:ln w="5978" cap="flat">
                <a:noFill/>
                <a:prstDash val="solid"/>
                <a:miter/>
              </a:ln>
            </p:spPr>
            <p:txBody>
              <a:bodyPr rtlCol="0" anchor="ctr"/>
              <a:lstStyle/>
              <a:p>
                <a:endParaRPr lang="en-GB"/>
              </a:p>
            </p:txBody>
          </p:sp>
          <p:sp>
            <p:nvSpPr>
              <p:cNvPr id="2753" name="Vrije vorm: vorm 2752">
                <a:extLst>
                  <a:ext uri="{FF2B5EF4-FFF2-40B4-BE49-F238E27FC236}">
                    <a16:creationId xmlns:a16="http://schemas.microsoft.com/office/drawing/2014/main" id="{681D2EB5-A804-4722-B6EC-217204D963C9}"/>
                  </a:ext>
                </a:extLst>
              </p:cNvPr>
              <p:cNvSpPr/>
              <p:nvPr/>
            </p:nvSpPr>
            <p:spPr>
              <a:xfrm>
                <a:off x="4686435" y="2199405"/>
                <a:ext cx="18338" cy="18415"/>
              </a:xfrm>
              <a:custGeom>
                <a:avLst/>
                <a:gdLst>
                  <a:gd name="connsiteX0" fmla="*/ 3128 w 18338"/>
                  <a:gd name="connsiteY0" fmla="*/ 16073 h 18415"/>
                  <a:gd name="connsiteX1" fmla="*/ 2291 w 18338"/>
                  <a:gd name="connsiteY1" fmla="*/ 3095 h 18415"/>
                  <a:gd name="connsiteX2" fmla="*/ 15210 w 18338"/>
                  <a:gd name="connsiteY2" fmla="*/ 2318 h 18415"/>
                  <a:gd name="connsiteX3" fmla="*/ 16047 w 18338"/>
                  <a:gd name="connsiteY3" fmla="*/ 15296 h 18415"/>
                  <a:gd name="connsiteX4" fmla="*/ 3128 w 18338"/>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5">
                    <a:moveTo>
                      <a:pt x="3128" y="16073"/>
                    </a:moveTo>
                    <a:cubicBezTo>
                      <a:pt x="-699" y="12724"/>
                      <a:pt x="-1058" y="6863"/>
                      <a:pt x="2291" y="3095"/>
                    </a:cubicBezTo>
                    <a:cubicBezTo>
                      <a:pt x="5641" y="-732"/>
                      <a:pt x="11442" y="-1032"/>
                      <a:pt x="15210" y="2318"/>
                    </a:cubicBezTo>
                    <a:cubicBezTo>
                      <a:pt x="19037" y="5667"/>
                      <a:pt x="19396" y="11528"/>
                      <a:pt x="16047" y="15296"/>
                    </a:cubicBezTo>
                    <a:cubicBezTo>
                      <a:pt x="12698" y="19124"/>
                      <a:pt x="6896" y="19482"/>
                      <a:pt x="3128" y="16073"/>
                    </a:cubicBezTo>
                    <a:close/>
                  </a:path>
                </a:pathLst>
              </a:custGeom>
              <a:grpFill/>
              <a:ln w="5978" cap="flat">
                <a:noFill/>
                <a:prstDash val="solid"/>
                <a:miter/>
              </a:ln>
            </p:spPr>
            <p:txBody>
              <a:bodyPr rtlCol="0" anchor="ctr"/>
              <a:lstStyle/>
              <a:p>
                <a:endParaRPr lang="en-GB"/>
              </a:p>
            </p:txBody>
          </p:sp>
          <p:sp>
            <p:nvSpPr>
              <p:cNvPr id="2754" name="Vrije vorm: vorm 2753">
                <a:extLst>
                  <a:ext uri="{FF2B5EF4-FFF2-40B4-BE49-F238E27FC236}">
                    <a16:creationId xmlns:a16="http://schemas.microsoft.com/office/drawing/2014/main" id="{B38853DC-1668-4497-9B7B-A9728959E000}"/>
                  </a:ext>
                </a:extLst>
              </p:cNvPr>
              <p:cNvSpPr/>
              <p:nvPr/>
            </p:nvSpPr>
            <p:spPr>
              <a:xfrm>
                <a:off x="4783083" y="2285348"/>
                <a:ext cx="18338" cy="18391"/>
              </a:xfrm>
              <a:custGeom>
                <a:avLst/>
                <a:gdLst>
                  <a:gd name="connsiteX0" fmla="*/ 3129 w 18338"/>
                  <a:gd name="connsiteY0" fmla="*/ 16073 h 18391"/>
                  <a:gd name="connsiteX1" fmla="*/ 16047 w 18338"/>
                  <a:gd name="connsiteY1" fmla="*/ 15296 h 18391"/>
                  <a:gd name="connsiteX2" fmla="*/ 15210 w 18338"/>
                  <a:gd name="connsiteY2" fmla="*/ 2318 h 18391"/>
                  <a:gd name="connsiteX3" fmla="*/ 2291 w 18338"/>
                  <a:gd name="connsiteY3" fmla="*/ 3095 h 18391"/>
                  <a:gd name="connsiteX4" fmla="*/ 3129 w 18338"/>
                  <a:gd name="connsiteY4" fmla="*/ 1607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1">
                    <a:moveTo>
                      <a:pt x="3129" y="16073"/>
                    </a:moveTo>
                    <a:cubicBezTo>
                      <a:pt x="6956" y="19423"/>
                      <a:pt x="12698" y="19124"/>
                      <a:pt x="16047" y="15296"/>
                    </a:cubicBezTo>
                    <a:cubicBezTo>
                      <a:pt x="19396" y="11468"/>
                      <a:pt x="19037" y="5667"/>
                      <a:pt x="15210" y="2318"/>
                    </a:cubicBezTo>
                    <a:cubicBezTo>
                      <a:pt x="11382" y="-1032"/>
                      <a:pt x="5641" y="-732"/>
                      <a:pt x="2291" y="3095"/>
                    </a:cubicBezTo>
                    <a:cubicBezTo>
                      <a:pt x="-1058" y="6863"/>
                      <a:pt x="-699" y="12724"/>
                      <a:pt x="3129" y="16073"/>
                    </a:cubicBezTo>
                    <a:close/>
                  </a:path>
                </a:pathLst>
              </a:custGeom>
              <a:grpFill/>
              <a:ln w="5978" cap="flat">
                <a:noFill/>
                <a:prstDash val="solid"/>
                <a:miter/>
              </a:ln>
            </p:spPr>
            <p:txBody>
              <a:bodyPr rtlCol="0" anchor="ctr"/>
              <a:lstStyle/>
              <a:p>
                <a:endParaRPr lang="en-GB"/>
              </a:p>
            </p:txBody>
          </p:sp>
        </p:grpSp>
        <p:grpSp>
          <p:nvGrpSpPr>
            <p:cNvPr id="883" name="Graphic 3">
              <a:extLst>
                <a:ext uri="{FF2B5EF4-FFF2-40B4-BE49-F238E27FC236}">
                  <a16:creationId xmlns:a16="http://schemas.microsoft.com/office/drawing/2014/main" id="{BAAB78C1-9FFE-4CC4-A993-6324233893B8}"/>
                </a:ext>
              </a:extLst>
            </p:cNvPr>
            <p:cNvGrpSpPr/>
            <p:nvPr/>
          </p:nvGrpSpPr>
          <p:grpSpPr>
            <a:xfrm>
              <a:off x="4573872" y="1999137"/>
              <a:ext cx="249146" cy="280473"/>
              <a:chOff x="4573872" y="1999137"/>
              <a:chExt cx="249146" cy="280473"/>
            </a:xfrm>
            <a:grpFill/>
          </p:grpSpPr>
          <p:sp>
            <p:nvSpPr>
              <p:cNvPr id="2749" name="Vrije vorm: vorm 2748">
                <a:extLst>
                  <a:ext uri="{FF2B5EF4-FFF2-40B4-BE49-F238E27FC236}">
                    <a16:creationId xmlns:a16="http://schemas.microsoft.com/office/drawing/2014/main" id="{A6FEFF3A-75FF-443B-8DEF-335B8D14C210}"/>
                  </a:ext>
                </a:extLst>
              </p:cNvPr>
              <p:cNvSpPr/>
              <p:nvPr/>
            </p:nvSpPr>
            <p:spPr>
              <a:xfrm>
                <a:off x="4581611" y="2006991"/>
                <a:ext cx="233666" cy="264826"/>
              </a:xfrm>
              <a:custGeom>
                <a:avLst/>
                <a:gdLst>
                  <a:gd name="connsiteX0" fmla="*/ 233667 w 233666"/>
                  <a:gd name="connsiteY0" fmla="*/ 262793 h 264826"/>
                  <a:gd name="connsiteX1" fmla="*/ 231394 w 233666"/>
                  <a:gd name="connsiteY1" fmla="*/ 264826 h 264826"/>
                  <a:gd name="connsiteX2" fmla="*/ 0 w 233666"/>
                  <a:gd name="connsiteY2" fmla="*/ 2034 h 264826"/>
                  <a:gd name="connsiteX3" fmla="*/ 2273 w 233666"/>
                  <a:gd name="connsiteY3" fmla="*/ 0 h 264826"/>
                </a:gdLst>
                <a:ahLst/>
                <a:cxnLst>
                  <a:cxn ang="0">
                    <a:pos x="connsiteX0" y="connsiteY0"/>
                  </a:cxn>
                  <a:cxn ang="0">
                    <a:pos x="connsiteX1" y="connsiteY1"/>
                  </a:cxn>
                  <a:cxn ang="0">
                    <a:pos x="connsiteX2" y="connsiteY2"/>
                  </a:cxn>
                  <a:cxn ang="0">
                    <a:pos x="connsiteX3" y="connsiteY3"/>
                  </a:cxn>
                </a:cxnLst>
                <a:rect l="l" t="t" r="r" b="b"/>
                <a:pathLst>
                  <a:path w="233666" h="264826">
                    <a:moveTo>
                      <a:pt x="233667" y="262793"/>
                    </a:moveTo>
                    <a:lnTo>
                      <a:pt x="231394" y="264826"/>
                    </a:lnTo>
                    <a:lnTo>
                      <a:pt x="0" y="2034"/>
                    </a:lnTo>
                    <a:lnTo>
                      <a:pt x="2273" y="0"/>
                    </a:lnTo>
                    <a:close/>
                  </a:path>
                </a:pathLst>
              </a:custGeom>
              <a:grpFill/>
              <a:ln w="5978" cap="flat">
                <a:noFill/>
                <a:prstDash val="solid"/>
                <a:miter/>
              </a:ln>
            </p:spPr>
            <p:txBody>
              <a:bodyPr rtlCol="0" anchor="ctr"/>
              <a:lstStyle/>
              <a:p>
                <a:endParaRPr lang="en-GB"/>
              </a:p>
            </p:txBody>
          </p:sp>
          <p:sp>
            <p:nvSpPr>
              <p:cNvPr id="2750" name="Vrije vorm: vorm 2749">
                <a:extLst>
                  <a:ext uri="{FF2B5EF4-FFF2-40B4-BE49-F238E27FC236}">
                    <a16:creationId xmlns:a16="http://schemas.microsoft.com/office/drawing/2014/main" id="{F1505A0A-6615-4322-BB6E-A3A1681BC48D}"/>
                  </a:ext>
                </a:extLst>
              </p:cNvPr>
              <p:cNvSpPr/>
              <p:nvPr/>
            </p:nvSpPr>
            <p:spPr>
              <a:xfrm>
                <a:off x="4804727" y="2261233"/>
                <a:ext cx="18290" cy="18377"/>
              </a:xfrm>
              <a:custGeom>
                <a:avLst/>
                <a:gdLst>
                  <a:gd name="connsiteX0" fmla="*/ 15993 w 18290"/>
                  <a:gd name="connsiteY0" fmla="*/ 3108 h 18377"/>
                  <a:gd name="connsiteX1" fmla="*/ 15216 w 18290"/>
                  <a:gd name="connsiteY1" fmla="*/ 16086 h 18377"/>
                  <a:gd name="connsiteX2" fmla="*/ 2297 w 18290"/>
                  <a:gd name="connsiteY2" fmla="*/ 15249 h 18377"/>
                  <a:gd name="connsiteX3" fmla="*/ 3075 w 18290"/>
                  <a:gd name="connsiteY3" fmla="*/ 2271 h 18377"/>
                  <a:gd name="connsiteX4" fmla="*/ 15993 w 18290"/>
                  <a:gd name="connsiteY4" fmla="*/ 3108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77">
                    <a:moveTo>
                      <a:pt x="15993" y="3108"/>
                    </a:moveTo>
                    <a:cubicBezTo>
                      <a:pt x="19342" y="6936"/>
                      <a:pt x="18984" y="12737"/>
                      <a:pt x="15216" y="16086"/>
                    </a:cubicBezTo>
                    <a:cubicBezTo>
                      <a:pt x="11448" y="19436"/>
                      <a:pt x="5646" y="19077"/>
                      <a:pt x="2297" y="15249"/>
                    </a:cubicBezTo>
                    <a:cubicBezTo>
                      <a:pt x="-1052" y="11422"/>
                      <a:pt x="-693" y="5620"/>
                      <a:pt x="3075" y="2271"/>
                    </a:cubicBezTo>
                    <a:cubicBezTo>
                      <a:pt x="6843" y="-1078"/>
                      <a:pt x="12644" y="-660"/>
                      <a:pt x="15993" y="3108"/>
                    </a:cubicBezTo>
                    <a:close/>
                  </a:path>
                </a:pathLst>
              </a:custGeom>
              <a:grpFill/>
              <a:ln w="5978" cap="flat">
                <a:noFill/>
                <a:prstDash val="solid"/>
                <a:miter/>
              </a:ln>
            </p:spPr>
            <p:txBody>
              <a:bodyPr rtlCol="0" anchor="ctr"/>
              <a:lstStyle/>
              <a:p>
                <a:endParaRPr lang="en-GB"/>
              </a:p>
            </p:txBody>
          </p:sp>
          <p:sp>
            <p:nvSpPr>
              <p:cNvPr id="2751" name="Vrije vorm: vorm 2750">
                <a:extLst>
                  <a:ext uri="{FF2B5EF4-FFF2-40B4-BE49-F238E27FC236}">
                    <a16:creationId xmlns:a16="http://schemas.microsoft.com/office/drawing/2014/main" id="{302B3363-C7D9-471B-9AEB-9BC3484FF65F}"/>
                  </a:ext>
                </a:extLst>
              </p:cNvPr>
              <p:cNvSpPr/>
              <p:nvPr/>
            </p:nvSpPr>
            <p:spPr>
              <a:xfrm>
                <a:off x="4573872" y="1999137"/>
                <a:ext cx="18334" cy="18398"/>
              </a:xfrm>
              <a:custGeom>
                <a:avLst/>
                <a:gdLst>
                  <a:gd name="connsiteX0" fmla="*/ 15993 w 18334"/>
                  <a:gd name="connsiteY0" fmla="*/ 3129 h 18398"/>
                  <a:gd name="connsiteX1" fmla="*/ 3075 w 18334"/>
                  <a:gd name="connsiteY1" fmla="*/ 2291 h 18398"/>
                  <a:gd name="connsiteX2" fmla="*/ 2297 w 18334"/>
                  <a:gd name="connsiteY2" fmla="*/ 15269 h 18398"/>
                  <a:gd name="connsiteX3" fmla="*/ 15215 w 18334"/>
                  <a:gd name="connsiteY3" fmla="*/ 16107 h 18398"/>
                  <a:gd name="connsiteX4" fmla="*/ 15993 w 18334"/>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98">
                    <a:moveTo>
                      <a:pt x="15993" y="3129"/>
                    </a:moveTo>
                    <a:cubicBezTo>
                      <a:pt x="12644" y="-699"/>
                      <a:pt x="6843" y="-1058"/>
                      <a:pt x="3075" y="2291"/>
                    </a:cubicBezTo>
                    <a:cubicBezTo>
                      <a:pt x="-693" y="5641"/>
                      <a:pt x="-1052" y="11502"/>
                      <a:pt x="2297" y="15269"/>
                    </a:cubicBezTo>
                    <a:cubicBezTo>
                      <a:pt x="5646" y="19097"/>
                      <a:pt x="11447" y="19456"/>
                      <a:pt x="15215" y="16107"/>
                    </a:cubicBezTo>
                    <a:cubicBezTo>
                      <a:pt x="19043" y="12758"/>
                      <a:pt x="19402" y="6897"/>
                      <a:pt x="15993" y="3129"/>
                    </a:cubicBezTo>
                    <a:close/>
                  </a:path>
                </a:pathLst>
              </a:custGeom>
              <a:grpFill/>
              <a:ln w="5978" cap="flat">
                <a:noFill/>
                <a:prstDash val="solid"/>
                <a:miter/>
              </a:ln>
            </p:spPr>
            <p:txBody>
              <a:bodyPr rtlCol="0" anchor="ctr"/>
              <a:lstStyle/>
              <a:p>
                <a:endParaRPr lang="en-GB"/>
              </a:p>
            </p:txBody>
          </p:sp>
        </p:grpSp>
        <p:grpSp>
          <p:nvGrpSpPr>
            <p:cNvPr id="884" name="Graphic 3">
              <a:extLst>
                <a:ext uri="{FF2B5EF4-FFF2-40B4-BE49-F238E27FC236}">
                  <a16:creationId xmlns:a16="http://schemas.microsoft.com/office/drawing/2014/main" id="{3D87330E-905F-462B-B418-933C13FE220D}"/>
                </a:ext>
              </a:extLst>
            </p:cNvPr>
            <p:cNvGrpSpPr/>
            <p:nvPr/>
          </p:nvGrpSpPr>
          <p:grpSpPr>
            <a:xfrm>
              <a:off x="4630552" y="2052292"/>
              <a:ext cx="91668" cy="88662"/>
              <a:chOff x="4630552" y="2052292"/>
              <a:chExt cx="91668" cy="88662"/>
            </a:xfrm>
            <a:grpFill/>
          </p:grpSpPr>
          <p:sp>
            <p:nvSpPr>
              <p:cNvPr id="2746" name="Vrije vorm: vorm 2745">
                <a:extLst>
                  <a:ext uri="{FF2B5EF4-FFF2-40B4-BE49-F238E27FC236}">
                    <a16:creationId xmlns:a16="http://schemas.microsoft.com/office/drawing/2014/main" id="{5C92D9F4-C6DE-4FA4-B690-ED48478AF004}"/>
                  </a:ext>
                </a:extLst>
              </p:cNvPr>
              <p:cNvSpPr/>
              <p:nvPr/>
            </p:nvSpPr>
            <p:spPr>
              <a:xfrm>
                <a:off x="4638309" y="2060100"/>
                <a:ext cx="76074" cy="73024"/>
              </a:xfrm>
              <a:custGeom>
                <a:avLst/>
                <a:gdLst>
                  <a:gd name="connsiteX0" fmla="*/ 76075 w 76074"/>
                  <a:gd name="connsiteY0" fmla="*/ 70812 h 73024"/>
                  <a:gd name="connsiteX1" fmla="*/ 73982 w 76074"/>
                  <a:gd name="connsiteY1" fmla="*/ 73025 h 73024"/>
                  <a:gd name="connsiteX2" fmla="*/ 0 w 76074"/>
                  <a:gd name="connsiteY2" fmla="*/ 2213 h 73024"/>
                  <a:gd name="connsiteX3" fmla="*/ 2093 w 76074"/>
                  <a:gd name="connsiteY3" fmla="*/ 0 h 73024"/>
                </a:gdLst>
                <a:ahLst/>
                <a:cxnLst>
                  <a:cxn ang="0">
                    <a:pos x="connsiteX0" y="connsiteY0"/>
                  </a:cxn>
                  <a:cxn ang="0">
                    <a:pos x="connsiteX1" y="connsiteY1"/>
                  </a:cxn>
                  <a:cxn ang="0">
                    <a:pos x="connsiteX2" y="connsiteY2"/>
                  </a:cxn>
                  <a:cxn ang="0">
                    <a:pos x="connsiteX3" y="connsiteY3"/>
                  </a:cxn>
                </a:cxnLst>
                <a:rect l="l" t="t" r="r" b="b"/>
                <a:pathLst>
                  <a:path w="76074" h="73024">
                    <a:moveTo>
                      <a:pt x="76075" y="70812"/>
                    </a:moveTo>
                    <a:lnTo>
                      <a:pt x="73982" y="73025"/>
                    </a:lnTo>
                    <a:lnTo>
                      <a:pt x="0" y="2213"/>
                    </a:lnTo>
                    <a:lnTo>
                      <a:pt x="2093" y="0"/>
                    </a:lnTo>
                    <a:close/>
                  </a:path>
                </a:pathLst>
              </a:custGeom>
              <a:grpFill/>
              <a:ln w="5978" cap="flat">
                <a:noFill/>
                <a:prstDash val="solid"/>
                <a:miter/>
              </a:ln>
            </p:spPr>
            <p:txBody>
              <a:bodyPr rtlCol="0" anchor="ctr"/>
              <a:lstStyle/>
              <a:p>
                <a:endParaRPr lang="en-GB"/>
              </a:p>
            </p:txBody>
          </p:sp>
          <p:sp>
            <p:nvSpPr>
              <p:cNvPr id="2747" name="Vrije vorm: vorm 2746">
                <a:extLst>
                  <a:ext uri="{FF2B5EF4-FFF2-40B4-BE49-F238E27FC236}">
                    <a16:creationId xmlns:a16="http://schemas.microsoft.com/office/drawing/2014/main" id="{FFED8444-F8F5-4A2C-93A6-0AC8F75FA754}"/>
                  </a:ext>
                </a:extLst>
              </p:cNvPr>
              <p:cNvSpPr/>
              <p:nvPr/>
            </p:nvSpPr>
            <p:spPr>
              <a:xfrm>
                <a:off x="4630552" y="2052292"/>
                <a:ext cx="18323" cy="18448"/>
              </a:xfrm>
              <a:custGeom>
                <a:avLst/>
                <a:gdLst>
                  <a:gd name="connsiteX0" fmla="*/ 2852 w 18323"/>
                  <a:gd name="connsiteY0" fmla="*/ 15882 h 18448"/>
                  <a:gd name="connsiteX1" fmla="*/ 2493 w 18323"/>
                  <a:gd name="connsiteY1" fmla="*/ 2844 h 18448"/>
                  <a:gd name="connsiteX2" fmla="*/ 15472 w 18323"/>
                  <a:gd name="connsiteY2" fmla="*/ 2545 h 18448"/>
                  <a:gd name="connsiteX3" fmla="*/ 15830 w 18323"/>
                  <a:gd name="connsiteY3" fmla="*/ 15583 h 18448"/>
                  <a:gd name="connsiteX4" fmla="*/ 2852 w 18323"/>
                  <a:gd name="connsiteY4" fmla="*/ 15882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8">
                    <a:moveTo>
                      <a:pt x="2852" y="15882"/>
                    </a:moveTo>
                    <a:cubicBezTo>
                      <a:pt x="-796" y="12353"/>
                      <a:pt x="-975" y="6552"/>
                      <a:pt x="2493" y="2844"/>
                    </a:cubicBezTo>
                    <a:cubicBezTo>
                      <a:pt x="5962" y="-804"/>
                      <a:pt x="11763" y="-984"/>
                      <a:pt x="15472" y="2545"/>
                    </a:cubicBezTo>
                    <a:cubicBezTo>
                      <a:pt x="19120" y="6073"/>
                      <a:pt x="19299" y="11875"/>
                      <a:pt x="15830" y="15583"/>
                    </a:cubicBezTo>
                    <a:cubicBezTo>
                      <a:pt x="12302" y="19291"/>
                      <a:pt x="6500" y="19410"/>
                      <a:pt x="2852" y="15882"/>
                    </a:cubicBezTo>
                    <a:close/>
                  </a:path>
                </a:pathLst>
              </a:custGeom>
              <a:grpFill/>
              <a:ln w="5978" cap="flat">
                <a:noFill/>
                <a:prstDash val="solid"/>
                <a:miter/>
              </a:ln>
            </p:spPr>
            <p:txBody>
              <a:bodyPr rtlCol="0" anchor="ctr"/>
              <a:lstStyle/>
              <a:p>
                <a:endParaRPr lang="en-GB"/>
              </a:p>
            </p:txBody>
          </p:sp>
          <p:sp>
            <p:nvSpPr>
              <p:cNvPr id="2748" name="Vrije vorm: vorm 2747">
                <a:extLst>
                  <a:ext uri="{FF2B5EF4-FFF2-40B4-BE49-F238E27FC236}">
                    <a16:creationId xmlns:a16="http://schemas.microsoft.com/office/drawing/2014/main" id="{028EC11E-44FB-4829-9FAA-075B98B3A477}"/>
                  </a:ext>
                </a:extLst>
              </p:cNvPr>
              <p:cNvSpPr/>
              <p:nvPr/>
            </p:nvSpPr>
            <p:spPr>
              <a:xfrm>
                <a:off x="4703854" y="2122484"/>
                <a:ext cx="18366" cy="18470"/>
              </a:xfrm>
              <a:custGeom>
                <a:avLst/>
                <a:gdLst>
                  <a:gd name="connsiteX0" fmla="*/ 2874 w 18366"/>
                  <a:gd name="connsiteY0" fmla="*/ 15903 h 18470"/>
                  <a:gd name="connsiteX1" fmla="*/ 15852 w 18366"/>
                  <a:gd name="connsiteY1" fmla="*/ 15604 h 18470"/>
                  <a:gd name="connsiteX2" fmla="*/ 15493 w 18366"/>
                  <a:gd name="connsiteY2" fmla="*/ 2566 h 18470"/>
                  <a:gd name="connsiteX3" fmla="*/ 2515 w 18366"/>
                  <a:gd name="connsiteY3" fmla="*/ 2866 h 18470"/>
                  <a:gd name="connsiteX4" fmla="*/ 2874 w 18366"/>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0">
                    <a:moveTo>
                      <a:pt x="2874" y="15903"/>
                    </a:moveTo>
                    <a:cubicBezTo>
                      <a:pt x="6522" y="19432"/>
                      <a:pt x="12323" y="19313"/>
                      <a:pt x="15852" y="15604"/>
                    </a:cubicBezTo>
                    <a:cubicBezTo>
                      <a:pt x="19321" y="11956"/>
                      <a:pt x="19201" y="6095"/>
                      <a:pt x="15493" y="2566"/>
                    </a:cubicBezTo>
                    <a:cubicBezTo>
                      <a:pt x="11845" y="-962"/>
                      <a:pt x="6044" y="-842"/>
                      <a:pt x="2515" y="2866"/>
                    </a:cubicBezTo>
                    <a:cubicBezTo>
                      <a:pt x="-954" y="6574"/>
                      <a:pt x="-834" y="12375"/>
                      <a:pt x="2874" y="15903"/>
                    </a:cubicBezTo>
                    <a:close/>
                  </a:path>
                </a:pathLst>
              </a:custGeom>
              <a:grpFill/>
              <a:ln w="5978" cap="flat">
                <a:noFill/>
                <a:prstDash val="solid"/>
                <a:miter/>
              </a:ln>
            </p:spPr>
            <p:txBody>
              <a:bodyPr rtlCol="0" anchor="ctr"/>
              <a:lstStyle/>
              <a:p>
                <a:endParaRPr lang="en-GB"/>
              </a:p>
            </p:txBody>
          </p:sp>
        </p:grpSp>
        <p:grpSp>
          <p:nvGrpSpPr>
            <p:cNvPr id="885" name="Graphic 3">
              <a:extLst>
                <a:ext uri="{FF2B5EF4-FFF2-40B4-BE49-F238E27FC236}">
                  <a16:creationId xmlns:a16="http://schemas.microsoft.com/office/drawing/2014/main" id="{2B890516-A918-4EAD-9B61-48A3A7C4EFDC}"/>
                </a:ext>
              </a:extLst>
            </p:cNvPr>
            <p:cNvGrpSpPr/>
            <p:nvPr/>
          </p:nvGrpSpPr>
          <p:grpSpPr>
            <a:xfrm>
              <a:off x="4685166" y="2242814"/>
              <a:ext cx="99223" cy="87671"/>
              <a:chOff x="4685166" y="2242814"/>
              <a:chExt cx="99223" cy="87671"/>
            </a:xfrm>
            <a:grpFill/>
          </p:grpSpPr>
          <p:sp>
            <p:nvSpPr>
              <p:cNvPr id="2743" name="Vrije vorm: vorm 2742">
                <a:extLst>
                  <a:ext uri="{FF2B5EF4-FFF2-40B4-BE49-F238E27FC236}">
                    <a16:creationId xmlns:a16="http://schemas.microsoft.com/office/drawing/2014/main" id="{B92E108E-162B-4AEE-BDE6-B46864C80C8C}"/>
                  </a:ext>
                </a:extLst>
              </p:cNvPr>
              <p:cNvSpPr/>
              <p:nvPr/>
            </p:nvSpPr>
            <p:spPr>
              <a:xfrm>
                <a:off x="4693032" y="2250586"/>
                <a:ext cx="83491" cy="72127"/>
              </a:xfrm>
              <a:custGeom>
                <a:avLst/>
                <a:gdLst>
                  <a:gd name="connsiteX0" fmla="*/ 83491 w 83491"/>
                  <a:gd name="connsiteY0" fmla="*/ 69795 h 72127"/>
                  <a:gd name="connsiteX1" fmla="*/ 81517 w 83491"/>
                  <a:gd name="connsiteY1" fmla="*/ 72127 h 72127"/>
                  <a:gd name="connsiteX2" fmla="*/ 0 w 83491"/>
                  <a:gd name="connsiteY2" fmla="*/ 2332 h 72127"/>
                  <a:gd name="connsiteX3" fmla="*/ 1974 w 83491"/>
                  <a:gd name="connsiteY3" fmla="*/ 0 h 72127"/>
                </a:gdLst>
                <a:ahLst/>
                <a:cxnLst>
                  <a:cxn ang="0">
                    <a:pos x="connsiteX0" y="connsiteY0"/>
                  </a:cxn>
                  <a:cxn ang="0">
                    <a:pos x="connsiteX1" y="connsiteY1"/>
                  </a:cxn>
                  <a:cxn ang="0">
                    <a:pos x="connsiteX2" y="connsiteY2"/>
                  </a:cxn>
                  <a:cxn ang="0">
                    <a:pos x="connsiteX3" y="connsiteY3"/>
                  </a:cxn>
                </a:cxnLst>
                <a:rect l="l" t="t" r="r" b="b"/>
                <a:pathLst>
                  <a:path w="83491" h="72127">
                    <a:moveTo>
                      <a:pt x="83491" y="69795"/>
                    </a:moveTo>
                    <a:lnTo>
                      <a:pt x="81517" y="72127"/>
                    </a:lnTo>
                    <a:lnTo>
                      <a:pt x="0" y="2332"/>
                    </a:lnTo>
                    <a:lnTo>
                      <a:pt x="1974" y="0"/>
                    </a:lnTo>
                    <a:close/>
                  </a:path>
                </a:pathLst>
              </a:custGeom>
              <a:grpFill/>
              <a:ln w="5978" cap="flat">
                <a:noFill/>
                <a:prstDash val="solid"/>
                <a:miter/>
              </a:ln>
            </p:spPr>
            <p:txBody>
              <a:bodyPr rtlCol="0" anchor="ctr"/>
              <a:lstStyle/>
              <a:p>
                <a:endParaRPr lang="en-GB"/>
              </a:p>
            </p:txBody>
          </p:sp>
          <p:sp>
            <p:nvSpPr>
              <p:cNvPr id="2744" name="Vrije vorm: vorm 2743">
                <a:extLst>
                  <a:ext uri="{FF2B5EF4-FFF2-40B4-BE49-F238E27FC236}">
                    <a16:creationId xmlns:a16="http://schemas.microsoft.com/office/drawing/2014/main" id="{259D65DD-AB40-42A6-A51B-3C65366C2148}"/>
                  </a:ext>
                </a:extLst>
              </p:cNvPr>
              <p:cNvSpPr/>
              <p:nvPr/>
            </p:nvSpPr>
            <p:spPr>
              <a:xfrm>
                <a:off x="4685166" y="2242814"/>
                <a:ext cx="18364" cy="18439"/>
              </a:xfrm>
              <a:custGeom>
                <a:avLst/>
                <a:gdLst>
                  <a:gd name="connsiteX0" fmla="*/ 3261 w 18364"/>
                  <a:gd name="connsiteY0" fmla="*/ 16205 h 18439"/>
                  <a:gd name="connsiteX1" fmla="*/ 2185 w 18364"/>
                  <a:gd name="connsiteY1" fmla="*/ 3227 h 18439"/>
                  <a:gd name="connsiteX2" fmla="*/ 15103 w 18364"/>
                  <a:gd name="connsiteY2" fmla="*/ 2210 h 18439"/>
                  <a:gd name="connsiteX3" fmla="*/ 16180 w 18364"/>
                  <a:gd name="connsiteY3" fmla="*/ 15188 h 18439"/>
                  <a:gd name="connsiteX4" fmla="*/ 3261 w 18364"/>
                  <a:gd name="connsiteY4" fmla="*/ 16205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39">
                    <a:moveTo>
                      <a:pt x="3261" y="16205"/>
                    </a:moveTo>
                    <a:cubicBezTo>
                      <a:pt x="-626" y="12915"/>
                      <a:pt x="-1105" y="7054"/>
                      <a:pt x="2185" y="3227"/>
                    </a:cubicBezTo>
                    <a:cubicBezTo>
                      <a:pt x="5474" y="-661"/>
                      <a:pt x="11215" y="-1080"/>
                      <a:pt x="15103" y="2210"/>
                    </a:cubicBezTo>
                    <a:cubicBezTo>
                      <a:pt x="18990" y="5499"/>
                      <a:pt x="19469" y="11301"/>
                      <a:pt x="16180" y="15188"/>
                    </a:cubicBezTo>
                    <a:cubicBezTo>
                      <a:pt x="12890" y="19075"/>
                      <a:pt x="7149" y="19554"/>
                      <a:pt x="3261" y="16205"/>
                    </a:cubicBezTo>
                    <a:close/>
                  </a:path>
                </a:pathLst>
              </a:custGeom>
              <a:grpFill/>
              <a:ln w="5978" cap="flat">
                <a:noFill/>
                <a:prstDash val="solid"/>
                <a:miter/>
              </a:ln>
            </p:spPr>
            <p:txBody>
              <a:bodyPr rtlCol="0" anchor="ctr"/>
              <a:lstStyle/>
              <a:p>
                <a:endParaRPr lang="en-GB"/>
              </a:p>
            </p:txBody>
          </p:sp>
          <p:sp>
            <p:nvSpPr>
              <p:cNvPr id="2745" name="Vrije vorm: vorm 2744">
                <a:extLst>
                  <a:ext uri="{FF2B5EF4-FFF2-40B4-BE49-F238E27FC236}">
                    <a16:creationId xmlns:a16="http://schemas.microsoft.com/office/drawing/2014/main" id="{D4EEDC62-73B6-41BD-97CB-09FF145F8901}"/>
                  </a:ext>
                </a:extLst>
              </p:cNvPr>
              <p:cNvSpPr/>
              <p:nvPr/>
            </p:nvSpPr>
            <p:spPr>
              <a:xfrm>
                <a:off x="4766025" y="2312070"/>
                <a:ext cx="18364" cy="18414"/>
              </a:xfrm>
              <a:custGeom>
                <a:avLst/>
                <a:gdLst>
                  <a:gd name="connsiteX0" fmla="*/ 3261 w 18364"/>
                  <a:gd name="connsiteY0" fmla="*/ 16205 h 18414"/>
                  <a:gd name="connsiteX1" fmla="*/ 16180 w 18364"/>
                  <a:gd name="connsiteY1" fmla="*/ 15188 h 18414"/>
                  <a:gd name="connsiteX2" fmla="*/ 15103 w 18364"/>
                  <a:gd name="connsiteY2" fmla="*/ 2210 h 18414"/>
                  <a:gd name="connsiteX3" fmla="*/ 2185 w 18364"/>
                  <a:gd name="connsiteY3" fmla="*/ 3227 h 18414"/>
                  <a:gd name="connsiteX4" fmla="*/ 3261 w 18364"/>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3261" y="16205"/>
                    </a:moveTo>
                    <a:cubicBezTo>
                      <a:pt x="7149" y="19494"/>
                      <a:pt x="12890" y="19076"/>
                      <a:pt x="16180" y="15188"/>
                    </a:cubicBezTo>
                    <a:cubicBezTo>
                      <a:pt x="19469" y="11300"/>
                      <a:pt x="18990" y="5499"/>
                      <a:pt x="15103" y="2210"/>
                    </a:cubicBezTo>
                    <a:cubicBezTo>
                      <a:pt x="11215" y="-1079"/>
                      <a:pt x="5474" y="-661"/>
                      <a:pt x="2185" y="3227"/>
                    </a:cubicBezTo>
                    <a:cubicBezTo>
                      <a:pt x="-1105" y="7054"/>
                      <a:pt x="-626" y="12856"/>
                      <a:pt x="3261" y="16205"/>
                    </a:cubicBezTo>
                    <a:close/>
                  </a:path>
                </a:pathLst>
              </a:custGeom>
              <a:grpFill/>
              <a:ln w="5978" cap="flat">
                <a:noFill/>
                <a:prstDash val="solid"/>
                <a:miter/>
              </a:ln>
            </p:spPr>
            <p:txBody>
              <a:bodyPr rtlCol="0" anchor="ctr"/>
              <a:lstStyle/>
              <a:p>
                <a:endParaRPr lang="en-GB"/>
              </a:p>
            </p:txBody>
          </p:sp>
        </p:grpSp>
        <p:grpSp>
          <p:nvGrpSpPr>
            <p:cNvPr id="886" name="Graphic 3">
              <a:extLst>
                <a:ext uri="{FF2B5EF4-FFF2-40B4-BE49-F238E27FC236}">
                  <a16:creationId xmlns:a16="http://schemas.microsoft.com/office/drawing/2014/main" id="{F745732E-B76A-4A53-994B-132EAD993F25}"/>
                </a:ext>
              </a:extLst>
            </p:cNvPr>
            <p:cNvGrpSpPr/>
            <p:nvPr/>
          </p:nvGrpSpPr>
          <p:grpSpPr>
            <a:xfrm>
              <a:off x="5675116" y="5064009"/>
              <a:ext cx="47328" cy="159125"/>
              <a:chOff x="5675116" y="5064009"/>
              <a:chExt cx="47328" cy="159125"/>
            </a:xfrm>
            <a:grpFill/>
          </p:grpSpPr>
          <p:sp>
            <p:nvSpPr>
              <p:cNvPr id="2740" name="Vrije vorm: vorm 2739">
                <a:extLst>
                  <a:ext uri="{FF2B5EF4-FFF2-40B4-BE49-F238E27FC236}">
                    <a16:creationId xmlns:a16="http://schemas.microsoft.com/office/drawing/2014/main" id="{51544F01-372F-4CB7-BA7A-1DD26DA37206}"/>
                  </a:ext>
                </a:extLst>
              </p:cNvPr>
              <p:cNvSpPr/>
              <p:nvPr/>
            </p:nvSpPr>
            <p:spPr>
              <a:xfrm>
                <a:off x="5682662" y="5072529"/>
                <a:ext cx="32235" cy="142161"/>
              </a:xfrm>
              <a:custGeom>
                <a:avLst/>
                <a:gdLst>
                  <a:gd name="connsiteX0" fmla="*/ 32236 w 32235"/>
                  <a:gd name="connsiteY0" fmla="*/ 598 h 142161"/>
                  <a:gd name="connsiteX1" fmla="*/ 2990 w 32235"/>
                  <a:gd name="connsiteY1" fmla="*/ 142162 h 142161"/>
                  <a:gd name="connsiteX2" fmla="*/ 0 w 32235"/>
                  <a:gd name="connsiteY2" fmla="*/ 141564 h 142161"/>
                  <a:gd name="connsiteX3" fmla="*/ 29245 w 32235"/>
                  <a:gd name="connsiteY3" fmla="*/ 0 h 142161"/>
                </a:gdLst>
                <a:ahLst/>
                <a:cxnLst>
                  <a:cxn ang="0">
                    <a:pos x="connsiteX0" y="connsiteY0"/>
                  </a:cxn>
                  <a:cxn ang="0">
                    <a:pos x="connsiteX1" y="connsiteY1"/>
                  </a:cxn>
                  <a:cxn ang="0">
                    <a:pos x="connsiteX2" y="connsiteY2"/>
                  </a:cxn>
                  <a:cxn ang="0">
                    <a:pos x="connsiteX3" y="connsiteY3"/>
                  </a:cxn>
                </a:cxnLst>
                <a:rect l="l" t="t" r="r" b="b"/>
                <a:pathLst>
                  <a:path w="32235" h="142161">
                    <a:moveTo>
                      <a:pt x="32236" y="598"/>
                    </a:moveTo>
                    <a:lnTo>
                      <a:pt x="2990" y="142162"/>
                    </a:lnTo>
                    <a:lnTo>
                      <a:pt x="0" y="141564"/>
                    </a:lnTo>
                    <a:lnTo>
                      <a:pt x="29245" y="0"/>
                    </a:lnTo>
                    <a:close/>
                  </a:path>
                </a:pathLst>
              </a:custGeom>
              <a:grpFill/>
              <a:ln w="5978" cap="flat">
                <a:noFill/>
                <a:prstDash val="solid"/>
                <a:miter/>
              </a:ln>
            </p:spPr>
            <p:txBody>
              <a:bodyPr rtlCol="0" anchor="ctr"/>
              <a:lstStyle/>
              <a:p>
                <a:endParaRPr lang="en-GB"/>
              </a:p>
            </p:txBody>
          </p:sp>
          <p:sp>
            <p:nvSpPr>
              <p:cNvPr id="2741" name="Vrije vorm: vorm 2740">
                <a:extLst>
                  <a:ext uri="{FF2B5EF4-FFF2-40B4-BE49-F238E27FC236}">
                    <a16:creationId xmlns:a16="http://schemas.microsoft.com/office/drawing/2014/main" id="{8E4236BB-042B-42F3-97DE-64F4765C8874}"/>
                  </a:ext>
                </a:extLst>
              </p:cNvPr>
              <p:cNvSpPr/>
              <p:nvPr/>
            </p:nvSpPr>
            <p:spPr>
              <a:xfrm>
                <a:off x="5675116" y="5204693"/>
                <a:ext cx="18321" cy="18441"/>
              </a:xfrm>
              <a:custGeom>
                <a:avLst/>
                <a:gdLst>
                  <a:gd name="connsiteX0" fmla="*/ 18132 w 18321"/>
                  <a:gd name="connsiteY0" fmla="*/ 11135 h 18441"/>
                  <a:gd name="connsiteX1" fmla="*/ 7307 w 18321"/>
                  <a:gd name="connsiteY1" fmla="*/ 18252 h 18441"/>
                  <a:gd name="connsiteX2" fmla="*/ 190 w 18321"/>
                  <a:gd name="connsiteY2" fmla="*/ 7307 h 18441"/>
                  <a:gd name="connsiteX3" fmla="*/ 11015 w 18321"/>
                  <a:gd name="connsiteY3" fmla="*/ 190 h 18441"/>
                  <a:gd name="connsiteX4" fmla="*/ 18132 w 18321"/>
                  <a:gd name="connsiteY4" fmla="*/ 1113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8132" y="11135"/>
                    </a:moveTo>
                    <a:cubicBezTo>
                      <a:pt x="17115" y="16098"/>
                      <a:pt x="12271" y="19268"/>
                      <a:pt x="7307" y="18252"/>
                    </a:cubicBezTo>
                    <a:cubicBezTo>
                      <a:pt x="2343" y="17175"/>
                      <a:pt x="-827" y="12330"/>
                      <a:pt x="190" y="7307"/>
                    </a:cubicBezTo>
                    <a:cubicBezTo>
                      <a:pt x="1207" y="2343"/>
                      <a:pt x="6051" y="-827"/>
                      <a:pt x="11015" y="190"/>
                    </a:cubicBezTo>
                    <a:cubicBezTo>
                      <a:pt x="15979" y="1266"/>
                      <a:pt x="19149" y="6170"/>
                      <a:pt x="18132" y="11135"/>
                    </a:cubicBezTo>
                    <a:close/>
                  </a:path>
                </a:pathLst>
              </a:custGeom>
              <a:grpFill/>
              <a:ln w="5978" cap="flat">
                <a:noFill/>
                <a:prstDash val="solid"/>
                <a:miter/>
              </a:ln>
            </p:spPr>
            <p:txBody>
              <a:bodyPr rtlCol="0" anchor="ctr"/>
              <a:lstStyle/>
              <a:p>
                <a:endParaRPr lang="en-GB"/>
              </a:p>
            </p:txBody>
          </p:sp>
          <p:sp>
            <p:nvSpPr>
              <p:cNvPr id="2742" name="Vrije vorm: vorm 2741">
                <a:extLst>
                  <a:ext uri="{FF2B5EF4-FFF2-40B4-BE49-F238E27FC236}">
                    <a16:creationId xmlns:a16="http://schemas.microsoft.com/office/drawing/2014/main" id="{FFA6E9DF-4702-4CED-839E-EFB9444C00DC}"/>
                  </a:ext>
                </a:extLst>
              </p:cNvPr>
              <p:cNvSpPr/>
              <p:nvPr/>
            </p:nvSpPr>
            <p:spPr>
              <a:xfrm>
                <a:off x="5704123" y="5064009"/>
                <a:ext cx="18321" cy="18478"/>
              </a:xfrm>
              <a:custGeom>
                <a:avLst/>
                <a:gdLst>
                  <a:gd name="connsiteX0" fmla="*/ 18132 w 18321"/>
                  <a:gd name="connsiteY0" fmla="*/ 11152 h 18478"/>
                  <a:gd name="connsiteX1" fmla="*/ 11015 w 18321"/>
                  <a:gd name="connsiteY1" fmla="*/ 207 h 18478"/>
                  <a:gd name="connsiteX2" fmla="*/ 190 w 18321"/>
                  <a:gd name="connsiteY2" fmla="*/ 7324 h 18478"/>
                  <a:gd name="connsiteX3" fmla="*/ 7307 w 18321"/>
                  <a:gd name="connsiteY3" fmla="*/ 18269 h 18478"/>
                  <a:gd name="connsiteX4" fmla="*/ 18132 w 18321"/>
                  <a:gd name="connsiteY4" fmla="*/ 11152 h 1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78">
                    <a:moveTo>
                      <a:pt x="18132" y="11152"/>
                    </a:moveTo>
                    <a:cubicBezTo>
                      <a:pt x="19149" y="6188"/>
                      <a:pt x="15979" y="1284"/>
                      <a:pt x="11015" y="207"/>
                    </a:cubicBezTo>
                    <a:cubicBezTo>
                      <a:pt x="6051" y="-869"/>
                      <a:pt x="1206" y="2360"/>
                      <a:pt x="190" y="7324"/>
                    </a:cubicBezTo>
                    <a:cubicBezTo>
                      <a:pt x="-827" y="12288"/>
                      <a:pt x="2343" y="17193"/>
                      <a:pt x="7307" y="18269"/>
                    </a:cubicBezTo>
                    <a:cubicBezTo>
                      <a:pt x="12271" y="19346"/>
                      <a:pt x="17115" y="16176"/>
                      <a:pt x="18132" y="11152"/>
                    </a:cubicBezTo>
                    <a:close/>
                  </a:path>
                </a:pathLst>
              </a:custGeom>
              <a:grpFill/>
              <a:ln w="5978" cap="flat">
                <a:noFill/>
                <a:prstDash val="solid"/>
                <a:miter/>
              </a:ln>
            </p:spPr>
            <p:txBody>
              <a:bodyPr rtlCol="0" anchor="ctr"/>
              <a:lstStyle/>
              <a:p>
                <a:endParaRPr lang="en-GB"/>
              </a:p>
            </p:txBody>
          </p:sp>
        </p:grpSp>
        <p:grpSp>
          <p:nvGrpSpPr>
            <p:cNvPr id="887" name="Graphic 3">
              <a:extLst>
                <a:ext uri="{FF2B5EF4-FFF2-40B4-BE49-F238E27FC236}">
                  <a16:creationId xmlns:a16="http://schemas.microsoft.com/office/drawing/2014/main" id="{7D560CD0-5B82-423A-B1AD-A753AE7EA3F4}"/>
                </a:ext>
              </a:extLst>
            </p:cNvPr>
            <p:cNvGrpSpPr/>
            <p:nvPr/>
          </p:nvGrpSpPr>
          <p:grpSpPr>
            <a:xfrm>
              <a:off x="4688165" y="2288431"/>
              <a:ext cx="78512" cy="68084"/>
              <a:chOff x="4688165" y="2288431"/>
              <a:chExt cx="78512" cy="68084"/>
            </a:xfrm>
            <a:grpFill/>
          </p:grpSpPr>
          <p:sp>
            <p:nvSpPr>
              <p:cNvPr id="2737" name="Vrije vorm: vorm 2736">
                <a:extLst>
                  <a:ext uri="{FF2B5EF4-FFF2-40B4-BE49-F238E27FC236}">
                    <a16:creationId xmlns:a16="http://schemas.microsoft.com/office/drawing/2014/main" id="{A16D7B4E-C814-4492-B71B-A1C2C55A4AB0}"/>
                  </a:ext>
                </a:extLst>
              </p:cNvPr>
              <p:cNvSpPr/>
              <p:nvPr/>
            </p:nvSpPr>
            <p:spPr>
              <a:xfrm>
                <a:off x="4696022" y="2296219"/>
                <a:ext cx="62797" cy="52510"/>
              </a:xfrm>
              <a:custGeom>
                <a:avLst/>
                <a:gdLst>
                  <a:gd name="connsiteX0" fmla="*/ 62798 w 62797"/>
                  <a:gd name="connsiteY0" fmla="*/ 50178 h 52510"/>
                  <a:gd name="connsiteX1" fmla="*/ 60884 w 62797"/>
                  <a:gd name="connsiteY1" fmla="*/ 52511 h 52510"/>
                  <a:gd name="connsiteX2" fmla="*/ 0 w 62797"/>
                  <a:gd name="connsiteY2" fmla="*/ 2332 h 52510"/>
                  <a:gd name="connsiteX3" fmla="*/ 1974 w 62797"/>
                  <a:gd name="connsiteY3" fmla="*/ 0 h 52510"/>
                </a:gdLst>
                <a:ahLst/>
                <a:cxnLst>
                  <a:cxn ang="0">
                    <a:pos x="connsiteX0" y="connsiteY0"/>
                  </a:cxn>
                  <a:cxn ang="0">
                    <a:pos x="connsiteX1" y="connsiteY1"/>
                  </a:cxn>
                  <a:cxn ang="0">
                    <a:pos x="connsiteX2" y="connsiteY2"/>
                  </a:cxn>
                  <a:cxn ang="0">
                    <a:pos x="connsiteX3" y="connsiteY3"/>
                  </a:cxn>
                </a:cxnLst>
                <a:rect l="l" t="t" r="r" b="b"/>
                <a:pathLst>
                  <a:path w="62797" h="52510">
                    <a:moveTo>
                      <a:pt x="62798" y="50178"/>
                    </a:moveTo>
                    <a:lnTo>
                      <a:pt x="60884" y="52511"/>
                    </a:lnTo>
                    <a:lnTo>
                      <a:pt x="0" y="2332"/>
                    </a:lnTo>
                    <a:lnTo>
                      <a:pt x="1974" y="0"/>
                    </a:lnTo>
                    <a:close/>
                  </a:path>
                </a:pathLst>
              </a:custGeom>
              <a:grpFill/>
              <a:ln w="5978" cap="flat">
                <a:noFill/>
                <a:prstDash val="solid"/>
                <a:miter/>
              </a:ln>
            </p:spPr>
            <p:txBody>
              <a:bodyPr rtlCol="0" anchor="ctr"/>
              <a:lstStyle/>
              <a:p>
                <a:endParaRPr lang="en-GB"/>
              </a:p>
            </p:txBody>
          </p:sp>
          <p:sp>
            <p:nvSpPr>
              <p:cNvPr id="2738" name="Vrije vorm: vorm 2737">
                <a:extLst>
                  <a:ext uri="{FF2B5EF4-FFF2-40B4-BE49-F238E27FC236}">
                    <a16:creationId xmlns:a16="http://schemas.microsoft.com/office/drawing/2014/main" id="{0600EEA2-2B29-424E-A143-A7AE7979E5C1}"/>
                  </a:ext>
                </a:extLst>
              </p:cNvPr>
              <p:cNvSpPr/>
              <p:nvPr/>
            </p:nvSpPr>
            <p:spPr>
              <a:xfrm>
                <a:off x="4688165" y="2288431"/>
                <a:ext cx="18346" cy="18444"/>
              </a:xfrm>
              <a:custGeom>
                <a:avLst/>
                <a:gdLst>
                  <a:gd name="connsiteX0" fmla="*/ 3372 w 18346"/>
                  <a:gd name="connsiteY0" fmla="*/ 16339 h 18444"/>
                  <a:gd name="connsiteX1" fmla="*/ 2056 w 18346"/>
                  <a:gd name="connsiteY1" fmla="*/ 3361 h 18444"/>
                  <a:gd name="connsiteX2" fmla="*/ 14975 w 18346"/>
                  <a:gd name="connsiteY2" fmla="*/ 2105 h 18444"/>
                  <a:gd name="connsiteX3" fmla="*/ 16290 w 18346"/>
                  <a:gd name="connsiteY3" fmla="*/ 15084 h 18444"/>
                  <a:gd name="connsiteX4" fmla="*/ 3372 w 18346"/>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3372" y="16339"/>
                    </a:moveTo>
                    <a:cubicBezTo>
                      <a:pt x="-575" y="13110"/>
                      <a:pt x="-1114" y="7309"/>
                      <a:pt x="2056" y="3361"/>
                    </a:cubicBezTo>
                    <a:cubicBezTo>
                      <a:pt x="5286" y="-586"/>
                      <a:pt x="11027" y="-1124"/>
                      <a:pt x="14975" y="2105"/>
                    </a:cubicBezTo>
                    <a:cubicBezTo>
                      <a:pt x="18922" y="5335"/>
                      <a:pt x="19460" y="11136"/>
                      <a:pt x="16290" y="15084"/>
                    </a:cubicBezTo>
                    <a:cubicBezTo>
                      <a:pt x="13120" y="19031"/>
                      <a:pt x="7319" y="19569"/>
                      <a:pt x="3372" y="16339"/>
                    </a:cubicBezTo>
                    <a:close/>
                  </a:path>
                </a:pathLst>
              </a:custGeom>
              <a:grpFill/>
              <a:ln w="5978" cap="flat">
                <a:noFill/>
                <a:prstDash val="solid"/>
                <a:miter/>
              </a:ln>
            </p:spPr>
            <p:txBody>
              <a:bodyPr rtlCol="0" anchor="ctr"/>
              <a:lstStyle/>
              <a:p>
                <a:endParaRPr lang="en-GB"/>
              </a:p>
            </p:txBody>
          </p:sp>
          <p:sp>
            <p:nvSpPr>
              <p:cNvPr id="2739" name="Vrije vorm: vorm 2738">
                <a:extLst>
                  <a:ext uri="{FF2B5EF4-FFF2-40B4-BE49-F238E27FC236}">
                    <a16:creationId xmlns:a16="http://schemas.microsoft.com/office/drawing/2014/main" id="{CC0CD94D-D30C-4606-9C7E-F022E17A0663}"/>
                  </a:ext>
                </a:extLst>
              </p:cNvPr>
              <p:cNvSpPr/>
              <p:nvPr/>
            </p:nvSpPr>
            <p:spPr>
              <a:xfrm>
                <a:off x="4748350" y="2338072"/>
                <a:ext cx="18327" cy="18444"/>
              </a:xfrm>
              <a:custGeom>
                <a:avLst/>
                <a:gdLst>
                  <a:gd name="connsiteX0" fmla="*/ 3353 w 18327"/>
                  <a:gd name="connsiteY0" fmla="*/ 16339 h 18444"/>
                  <a:gd name="connsiteX1" fmla="*/ 16271 w 18327"/>
                  <a:gd name="connsiteY1" fmla="*/ 15083 h 18444"/>
                  <a:gd name="connsiteX2" fmla="*/ 14955 w 18327"/>
                  <a:gd name="connsiteY2" fmla="*/ 2105 h 18444"/>
                  <a:gd name="connsiteX3" fmla="*/ 2037 w 18327"/>
                  <a:gd name="connsiteY3" fmla="*/ 3361 h 18444"/>
                  <a:gd name="connsiteX4" fmla="*/ 3353 w 18327"/>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4">
                    <a:moveTo>
                      <a:pt x="3353" y="16339"/>
                    </a:moveTo>
                    <a:cubicBezTo>
                      <a:pt x="7300" y="19569"/>
                      <a:pt x="13041" y="19031"/>
                      <a:pt x="16271" y="15083"/>
                    </a:cubicBezTo>
                    <a:cubicBezTo>
                      <a:pt x="19441" y="11136"/>
                      <a:pt x="18903" y="5335"/>
                      <a:pt x="14955" y="2105"/>
                    </a:cubicBezTo>
                    <a:cubicBezTo>
                      <a:pt x="11008" y="-1124"/>
                      <a:pt x="5267" y="-586"/>
                      <a:pt x="2037" y="3361"/>
                    </a:cubicBezTo>
                    <a:cubicBezTo>
                      <a:pt x="-1133" y="7249"/>
                      <a:pt x="-534" y="13110"/>
                      <a:pt x="3353" y="16339"/>
                    </a:cubicBezTo>
                    <a:close/>
                  </a:path>
                </a:pathLst>
              </a:custGeom>
              <a:grpFill/>
              <a:ln w="5978" cap="flat">
                <a:noFill/>
                <a:prstDash val="solid"/>
                <a:miter/>
              </a:ln>
            </p:spPr>
            <p:txBody>
              <a:bodyPr rtlCol="0" anchor="ctr"/>
              <a:lstStyle/>
              <a:p>
                <a:endParaRPr lang="en-GB"/>
              </a:p>
            </p:txBody>
          </p:sp>
        </p:grpSp>
        <p:grpSp>
          <p:nvGrpSpPr>
            <p:cNvPr id="888" name="Graphic 3">
              <a:extLst>
                <a:ext uri="{FF2B5EF4-FFF2-40B4-BE49-F238E27FC236}">
                  <a16:creationId xmlns:a16="http://schemas.microsoft.com/office/drawing/2014/main" id="{089CE665-F5DC-4D85-9E27-753EDBFC6D38}"/>
                </a:ext>
              </a:extLst>
            </p:cNvPr>
            <p:cNvGrpSpPr/>
            <p:nvPr/>
          </p:nvGrpSpPr>
          <p:grpSpPr>
            <a:xfrm>
              <a:off x="4564437" y="2041996"/>
              <a:ext cx="237692" cy="261022"/>
              <a:chOff x="4564437" y="2041996"/>
              <a:chExt cx="237692" cy="261022"/>
            </a:xfrm>
            <a:grpFill/>
          </p:grpSpPr>
          <p:sp>
            <p:nvSpPr>
              <p:cNvPr id="2734" name="Vrije vorm: vorm 2733">
                <a:extLst>
                  <a:ext uri="{FF2B5EF4-FFF2-40B4-BE49-F238E27FC236}">
                    <a16:creationId xmlns:a16="http://schemas.microsoft.com/office/drawing/2014/main" id="{208BD38C-D2A6-4865-AE54-016FA7DF79C4}"/>
                  </a:ext>
                </a:extLst>
              </p:cNvPr>
              <p:cNvSpPr/>
              <p:nvPr/>
            </p:nvSpPr>
            <p:spPr>
              <a:xfrm>
                <a:off x="4572162" y="2049813"/>
                <a:ext cx="222243" cy="245388"/>
              </a:xfrm>
              <a:custGeom>
                <a:avLst/>
                <a:gdLst>
                  <a:gd name="connsiteX0" fmla="*/ 222243 w 222243"/>
                  <a:gd name="connsiteY0" fmla="*/ 243296 h 245388"/>
                  <a:gd name="connsiteX1" fmla="*/ 219971 w 222243"/>
                  <a:gd name="connsiteY1" fmla="*/ 245389 h 245388"/>
                  <a:gd name="connsiteX2" fmla="*/ 0 w 222243"/>
                  <a:gd name="connsiteY2" fmla="*/ 2033 h 245388"/>
                  <a:gd name="connsiteX3" fmla="*/ 2272 w 222243"/>
                  <a:gd name="connsiteY3" fmla="*/ 0 h 245388"/>
                </a:gdLst>
                <a:ahLst/>
                <a:cxnLst>
                  <a:cxn ang="0">
                    <a:pos x="connsiteX0" y="connsiteY0"/>
                  </a:cxn>
                  <a:cxn ang="0">
                    <a:pos x="connsiteX1" y="connsiteY1"/>
                  </a:cxn>
                  <a:cxn ang="0">
                    <a:pos x="connsiteX2" y="connsiteY2"/>
                  </a:cxn>
                  <a:cxn ang="0">
                    <a:pos x="connsiteX3" y="connsiteY3"/>
                  </a:cxn>
                </a:cxnLst>
                <a:rect l="l" t="t" r="r" b="b"/>
                <a:pathLst>
                  <a:path w="222243" h="245388">
                    <a:moveTo>
                      <a:pt x="222243" y="243296"/>
                    </a:moveTo>
                    <a:lnTo>
                      <a:pt x="219971" y="245389"/>
                    </a:lnTo>
                    <a:lnTo>
                      <a:pt x="0" y="2033"/>
                    </a:lnTo>
                    <a:lnTo>
                      <a:pt x="2272" y="0"/>
                    </a:lnTo>
                    <a:close/>
                  </a:path>
                </a:pathLst>
              </a:custGeom>
              <a:grpFill/>
              <a:ln w="5978" cap="flat">
                <a:noFill/>
                <a:prstDash val="solid"/>
                <a:miter/>
              </a:ln>
            </p:spPr>
            <p:txBody>
              <a:bodyPr rtlCol="0" anchor="ctr"/>
              <a:lstStyle/>
              <a:p>
                <a:endParaRPr lang="en-GB"/>
              </a:p>
            </p:txBody>
          </p:sp>
          <p:sp>
            <p:nvSpPr>
              <p:cNvPr id="2735" name="Vrije vorm: vorm 2734">
                <a:extLst>
                  <a:ext uri="{FF2B5EF4-FFF2-40B4-BE49-F238E27FC236}">
                    <a16:creationId xmlns:a16="http://schemas.microsoft.com/office/drawing/2014/main" id="{F8132C42-F70B-4BE6-8F76-EA9F9CCC1A2A}"/>
                  </a:ext>
                </a:extLst>
              </p:cNvPr>
              <p:cNvSpPr/>
              <p:nvPr/>
            </p:nvSpPr>
            <p:spPr>
              <a:xfrm>
                <a:off x="4783810" y="2284574"/>
                <a:ext cx="18319" cy="18444"/>
              </a:xfrm>
              <a:custGeom>
                <a:avLst/>
                <a:gdLst>
                  <a:gd name="connsiteX0" fmla="*/ 15918 w 18319"/>
                  <a:gd name="connsiteY0" fmla="*/ 3032 h 18444"/>
                  <a:gd name="connsiteX1" fmla="*/ 15320 w 18319"/>
                  <a:gd name="connsiteY1" fmla="*/ 16070 h 18444"/>
                  <a:gd name="connsiteX2" fmla="*/ 2402 w 18319"/>
                  <a:gd name="connsiteY2" fmla="*/ 15412 h 18444"/>
                  <a:gd name="connsiteX3" fmla="*/ 2999 w 18319"/>
                  <a:gd name="connsiteY3" fmla="*/ 2374 h 18444"/>
                  <a:gd name="connsiteX4" fmla="*/ 15918 w 18319"/>
                  <a:gd name="connsiteY4" fmla="*/ 30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15918" y="3032"/>
                    </a:moveTo>
                    <a:cubicBezTo>
                      <a:pt x="19327" y="6800"/>
                      <a:pt x="19088" y="12661"/>
                      <a:pt x="15320" y="16070"/>
                    </a:cubicBezTo>
                    <a:cubicBezTo>
                      <a:pt x="11552" y="19479"/>
                      <a:pt x="5811" y="19180"/>
                      <a:pt x="2402" y="15412"/>
                    </a:cubicBezTo>
                    <a:cubicBezTo>
                      <a:pt x="-1008" y="11644"/>
                      <a:pt x="-768" y="5783"/>
                      <a:pt x="2999" y="2374"/>
                    </a:cubicBezTo>
                    <a:cubicBezTo>
                      <a:pt x="6707" y="-1035"/>
                      <a:pt x="12509" y="-736"/>
                      <a:pt x="15918" y="3032"/>
                    </a:cubicBezTo>
                    <a:close/>
                  </a:path>
                </a:pathLst>
              </a:custGeom>
              <a:grpFill/>
              <a:ln w="5978" cap="flat">
                <a:noFill/>
                <a:prstDash val="solid"/>
                <a:miter/>
              </a:ln>
            </p:spPr>
            <p:txBody>
              <a:bodyPr rtlCol="0" anchor="ctr"/>
              <a:lstStyle/>
              <a:p>
                <a:endParaRPr lang="en-GB"/>
              </a:p>
            </p:txBody>
          </p:sp>
          <p:sp>
            <p:nvSpPr>
              <p:cNvPr id="2736" name="Vrije vorm: vorm 2735">
                <a:extLst>
                  <a:ext uri="{FF2B5EF4-FFF2-40B4-BE49-F238E27FC236}">
                    <a16:creationId xmlns:a16="http://schemas.microsoft.com/office/drawing/2014/main" id="{D141EB49-7F3B-4C07-B748-5D5CEAE0CAEC}"/>
                  </a:ext>
                </a:extLst>
              </p:cNvPr>
              <p:cNvSpPr/>
              <p:nvPr/>
            </p:nvSpPr>
            <p:spPr>
              <a:xfrm>
                <a:off x="4564437" y="2041996"/>
                <a:ext cx="18319" cy="18444"/>
              </a:xfrm>
              <a:custGeom>
                <a:avLst/>
                <a:gdLst>
                  <a:gd name="connsiteX0" fmla="*/ 15918 w 18319"/>
                  <a:gd name="connsiteY0" fmla="*/ 3032 h 18444"/>
                  <a:gd name="connsiteX1" fmla="*/ 2999 w 18319"/>
                  <a:gd name="connsiteY1" fmla="*/ 2374 h 18444"/>
                  <a:gd name="connsiteX2" fmla="*/ 2402 w 18319"/>
                  <a:gd name="connsiteY2" fmla="*/ 15412 h 18444"/>
                  <a:gd name="connsiteX3" fmla="*/ 15320 w 18319"/>
                  <a:gd name="connsiteY3" fmla="*/ 16070 h 18444"/>
                  <a:gd name="connsiteX4" fmla="*/ 15918 w 18319"/>
                  <a:gd name="connsiteY4" fmla="*/ 30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15918" y="3032"/>
                    </a:moveTo>
                    <a:cubicBezTo>
                      <a:pt x="12509" y="-736"/>
                      <a:pt x="6707" y="-1035"/>
                      <a:pt x="2999" y="2374"/>
                    </a:cubicBezTo>
                    <a:cubicBezTo>
                      <a:pt x="-768" y="5783"/>
                      <a:pt x="-1008" y="11644"/>
                      <a:pt x="2402" y="15412"/>
                    </a:cubicBezTo>
                    <a:cubicBezTo>
                      <a:pt x="5811" y="19180"/>
                      <a:pt x="11612" y="19479"/>
                      <a:pt x="15320" y="16070"/>
                    </a:cubicBezTo>
                    <a:cubicBezTo>
                      <a:pt x="19088" y="12601"/>
                      <a:pt x="19327" y="6800"/>
                      <a:pt x="15918" y="3032"/>
                    </a:cubicBezTo>
                    <a:close/>
                  </a:path>
                </a:pathLst>
              </a:custGeom>
              <a:grpFill/>
              <a:ln w="5978" cap="flat">
                <a:noFill/>
                <a:prstDash val="solid"/>
                <a:miter/>
              </a:ln>
            </p:spPr>
            <p:txBody>
              <a:bodyPr rtlCol="0" anchor="ctr"/>
              <a:lstStyle/>
              <a:p>
                <a:endParaRPr lang="en-GB"/>
              </a:p>
            </p:txBody>
          </p:sp>
        </p:grpSp>
        <p:grpSp>
          <p:nvGrpSpPr>
            <p:cNvPr id="889" name="Graphic 3">
              <a:extLst>
                <a:ext uri="{FF2B5EF4-FFF2-40B4-BE49-F238E27FC236}">
                  <a16:creationId xmlns:a16="http://schemas.microsoft.com/office/drawing/2014/main" id="{BB103002-165A-4B69-B19F-8AC801D86FBE}"/>
                </a:ext>
              </a:extLst>
            </p:cNvPr>
            <p:cNvGrpSpPr/>
            <p:nvPr/>
          </p:nvGrpSpPr>
          <p:grpSpPr>
            <a:xfrm>
              <a:off x="4611477" y="1982021"/>
              <a:ext cx="26113" cy="26158"/>
              <a:chOff x="4611477" y="1982021"/>
              <a:chExt cx="26113" cy="26158"/>
            </a:xfrm>
            <a:grpFill/>
          </p:grpSpPr>
          <p:sp>
            <p:nvSpPr>
              <p:cNvPr id="2731" name="Vrije vorm: vorm 2730">
                <a:extLst>
                  <a:ext uri="{FF2B5EF4-FFF2-40B4-BE49-F238E27FC236}">
                    <a16:creationId xmlns:a16="http://schemas.microsoft.com/office/drawing/2014/main" id="{8A8A267C-C9A6-4706-8A5C-8DEEACDA3763}"/>
                  </a:ext>
                </a:extLst>
              </p:cNvPr>
              <p:cNvSpPr/>
              <p:nvPr/>
            </p:nvSpPr>
            <p:spPr>
              <a:xfrm>
                <a:off x="4619290" y="1989826"/>
                <a:ext cx="10466" cy="10526"/>
              </a:xfrm>
              <a:custGeom>
                <a:avLst/>
                <a:gdLst>
                  <a:gd name="connsiteX0" fmla="*/ 10466 w 10466"/>
                  <a:gd name="connsiteY0" fmla="*/ 8373 h 10526"/>
                  <a:gd name="connsiteX1" fmla="*/ 8373 w 10466"/>
                  <a:gd name="connsiteY1" fmla="*/ 10526 h 10526"/>
                  <a:gd name="connsiteX2" fmla="*/ 0 w 10466"/>
                  <a:gd name="connsiteY2" fmla="*/ 2213 h 10526"/>
                  <a:gd name="connsiteX3" fmla="*/ 2093 w 10466"/>
                  <a:gd name="connsiteY3" fmla="*/ 0 h 10526"/>
                </a:gdLst>
                <a:ahLst/>
                <a:cxnLst>
                  <a:cxn ang="0">
                    <a:pos x="connsiteX0" y="connsiteY0"/>
                  </a:cxn>
                  <a:cxn ang="0">
                    <a:pos x="connsiteX1" y="connsiteY1"/>
                  </a:cxn>
                  <a:cxn ang="0">
                    <a:pos x="connsiteX2" y="connsiteY2"/>
                  </a:cxn>
                  <a:cxn ang="0">
                    <a:pos x="connsiteX3" y="connsiteY3"/>
                  </a:cxn>
                </a:cxnLst>
                <a:rect l="l" t="t" r="r" b="b"/>
                <a:pathLst>
                  <a:path w="10466" h="10526">
                    <a:moveTo>
                      <a:pt x="10466" y="8373"/>
                    </a:moveTo>
                    <a:lnTo>
                      <a:pt x="8373" y="10526"/>
                    </a:lnTo>
                    <a:lnTo>
                      <a:pt x="0" y="2213"/>
                    </a:lnTo>
                    <a:lnTo>
                      <a:pt x="2093" y="0"/>
                    </a:lnTo>
                    <a:close/>
                  </a:path>
                </a:pathLst>
              </a:custGeom>
              <a:grpFill/>
              <a:ln w="5978" cap="flat">
                <a:noFill/>
                <a:prstDash val="solid"/>
                <a:miter/>
              </a:ln>
            </p:spPr>
            <p:txBody>
              <a:bodyPr rtlCol="0" anchor="ctr"/>
              <a:lstStyle/>
              <a:p>
                <a:endParaRPr lang="en-GB"/>
              </a:p>
            </p:txBody>
          </p:sp>
          <p:sp>
            <p:nvSpPr>
              <p:cNvPr id="2732" name="Vrije vorm: vorm 2731">
                <a:extLst>
                  <a:ext uri="{FF2B5EF4-FFF2-40B4-BE49-F238E27FC236}">
                    <a16:creationId xmlns:a16="http://schemas.microsoft.com/office/drawing/2014/main" id="{138C4EF9-4D90-4FF4-AE8F-7BB4EE377ECD}"/>
                  </a:ext>
                </a:extLst>
              </p:cNvPr>
              <p:cNvSpPr/>
              <p:nvPr/>
            </p:nvSpPr>
            <p:spPr>
              <a:xfrm>
                <a:off x="4611477" y="1982021"/>
                <a:ext cx="18316" cy="18443"/>
              </a:xfrm>
              <a:custGeom>
                <a:avLst/>
                <a:gdLst>
                  <a:gd name="connsiteX0" fmla="*/ 2729 w 18316"/>
                  <a:gd name="connsiteY0" fmla="*/ 15759 h 18443"/>
                  <a:gd name="connsiteX1" fmla="*/ 2609 w 18316"/>
                  <a:gd name="connsiteY1" fmla="*/ 2721 h 18443"/>
                  <a:gd name="connsiteX2" fmla="*/ 15588 w 18316"/>
                  <a:gd name="connsiteY2" fmla="*/ 2662 h 18443"/>
                  <a:gd name="connsiteX3" fmla="*/ 15707 w 18316"/>
                  <a:gd name="connsiteY3" fmla="*/ 15700 h 18443"/>
                  <a:gd name="connsiteX4" fmla="*/ 2729 w 18316"/>
                  <a:gd name="connsiteY4" fmla="*/ 1575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3">
                    <a:moveTo>
                      <a:pt x="2729" y="15759"/>
                    </a:moveTo>
                    <a:cubicBezTo>
                      <a:pt x="-859" y="12171"/>
                      <a:pt x="-919" y="6370"/>
                      <a:pt x="2609" y="2721"/>
                    </a:cubicBezTo>
                    <a:cubicBezTo>
                      <a:pt x="6138" y="-867"/>
                      <a:pt x="11939" y="-927"/>
                      <a:pt x="15588" y="2662"/>
                    </a:cubicBezTo>
                    <a:cubicBezTo>
                      <a:pt x="19176" y="6250"/>
                      <a:pt x="19236" y="12051"/>
                      <a:pt x="15707" y="15700"/>
                    </a:cubicBezTo>
                    <a:cubicBezTo>
                      <a:pt x="12179" y="19348"/>
                      <a:pt x="6377" y="19348"/>
                      <a:pt x="2729" y="15759"/>
                    </a:cubicBezTo>
                    <a:close/>
                  </a:path>
                </a:pathLst>
              </a:custGeom>
              <a:grpFill/>
              <a:ln w="5978" cap="flat">
                <a:noFill/>
                <a:prstDash val="solid"/>
                <a:miter/>
              </a:ln>
            </p:spPr>
            <p:txBody>
              <a:bodyPr rtlCol="0" anchor="ctr"/>
              <a:lstStyle/>
              <a:p>
                <a:endParaRPr lang="en-GB"/>
              </a:p>
            </p:txBody>
          </p:sp>
          <p:sp>
            <p:nvSpPr>
              <p:cNvPr id="2733" name="Vrije vorm: vorm 2732">
                <a:extLst>
                  <a:ext uri="{FF2B5EF4-FFF2-40B4-BE49-F238E27FC236}">
                    <a16:creationId xmlns:a16="http://schemas.microsoft.com/office/drawing/2014/main" id="{056A5F7C-9659-4CBD-A10A-21514F101F04}"/>
                  </a:ext>
                </a:extLst>
              </p:cNvPr>
              <p:cNvSpPr/>
              <p:nvPr/>
            </p:nvSpPr>
            <p:spPr>
              <a:xfrm>
                <a:off x="4619230" y="1989714"/>
                <a:ext cx="18361" cy="18465"/>
              </a:xfrm>
              <a:custGeom>
                <a:avLst/>
                <a:gdLst>
                  <a:gd name="connsiteX0" fmla="*/ 2751 w 18361"/>
                  <a:gd name="connsiteY0" fmla="*/ 15782 h 18465"/>
                  <a:gd name="connsiteX1" fmla="*/ 15730 w 18361"/>
                  <a:gd name="connsiteY1" fmla="*/ 15722 h 18465"/>
                  <a:gd name="connsiteX2" fmla="*/ 15610 w 18361"/>
                  <a:gd name="connsiteY2" fmla="*/ 2684 h 18465"/>
                  <a:gd name="connsiteX3" fmla="*/ 2632 w 18361"/>
                  <a:gd name="connsiteY3" fmla="*/ 2744 h 18465"/>
                  <a:gd name="connsiteX4" fmla="*/ 2751 w 18361"/>
                  <a:gd name="connsiteY4" fmla="*/ 1578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65">
                    <a:moveTo>
                      <a:pt x="2751" y="15782"/>
                    </a:moveTo>
                    <a:cubicBezTo>
                      <a:pt x="6340" y="19370"/>
                      <a:pt x="12141" y="19370"/>
                      <a:pt x="15730" y="15722"/>
                    </a:cubicBezTo>
                    <a:cubicBezTo>
                      <a:pt x="19258" y="12133"/>
                      <a:pt x="19258" y="6272"/>
                      <a:pt x="15610" y="2684"/>
                    </a:cubicBezTo>
                    <a:cubicBezTo>
                      <a:pt x="12021" y="-905"/>
                      <a:pt x="6220" y="-905"/>
                      <a:pt x="2632" y="2744"/>
                    </a:cubicBezTo>
                    <a:cubicBezTo>
                      <a:pt x="-897" y="6332"/>
                      <a:pt x="-897" y="12193"/>
                      <a:pt x="2751" y="15782"/>
                    </a:cubicBezTo>
                    <a:close/>
                  </a:path>
                </a:pathLst>
              </a:custGeom>
              <a:grpFill/>
              <a:ln w="5978" cap="flat">
                <a:noFill/>
                <a:prstDash val="solid"/>
                <a:miter/>
              </a:ln>
            </p:spPr>
            <p:txBody>
              <a:bodyPr rtlCol="0" anchor="ctr"/>
              <a:lstStyle/>
              <a:p>
                <a:endParaRPr lang="en-GB"/>
              </a:p>
            </p:txBody>
          </p:sp>
        </p:grpSp>
        <p:grpSp>
          <p:nvGrpSpPr>
            <p:cNvPr id="890" name="Graphic 3">
              <a:extLst>
                <a:ext uri="{FF2B5EF4-FFF2-40B4-BE49-F238E27FC236}">
                  <a16:creationId xmlns:a16="http://schemas.microsoft.com/office/drawing/2014/main" id="{705DEAF6-4273-486E-A644-3F5C88BF2B09}"/>
                </a:ext>
              </a:extLst>
            </p:cNvPr>
            <p:cNvGrpSpPr/>
            <p:nvPr/>
          </p:nvGrpSpPr>
          <p:grpSpPr>
            <a:xfrm>
              <a:off x="5698104" y="5092576"/>
              <a:ext cx="146684" cy="672887"/>
              <a:chOff x="5698104" y="5092576"/>
              <a:chExt cx="146684" cy="672887"/>
            </a:xfrm>
            <a:grpFill/>
          </p:grpSpPr>
          <p:sp>
            <p:nvSpPr>
              <p:cNvPr id="2728" name="Vrije vorm: vorm 2727">
                <a:extLst>
                  <a:ext uri="{FF2B5EF4-FFF2-40B4-BE49-F238E27FC236}">
                    <a16:creationId xmlns:a16="http://schemas.microsoft.com/office/drawing/2014/main" id="{CD9675A7-F1B6-4F13-905C-8A9C914C942C}"/>
                  </a:ext>
                </a:extLst>
              </p:cNvPr>
              <p:cNvSpPr/>
              <p:nvPr/>
            </p:nvSpPr>
            <p:spPr>
              <a:xfrm>
                <a:off x="5705688" y="5101057"/>
                <a:ext cx="131456" cy="655965"/>
              </a:xfrm>
              <a:custGeom>
                <a:avLst/>
                <a:gdLst>
                  <a:gd name="connsiteX0" fmla="*/ 131456 w 131456"/>
                  <a:gd name="connsiteY0" fmla="*/ 598 h 655965"/>
                  <a:gd name="connsiteX1" fmla="*/ 2990 w 131456"/>
                  <a:gd name="connsiteY1" fmla="*/ 655965 h 655965"/>
                  <a:gd name="connsiteX2" fmla="*/ 0 w 131456"/>
                  <a:gd name="connsiteY2" fmla="*/ 655367 h 655965"/>
                  <a:gd name="connsiteX3" fmla="*/ 128466 w 131456"/>
                  <a:gd name="connsiteY3" fmla="*/ 0 h 655965"/>
                </a:gdLst>
                <a:ahLst/>
                <a:cxnLst>
                  <a:cxn ang="0">
                    <a:pos x="connsiteX0" y="connsiteY0"/>
                  </a:cxn>
                  <a:cxn ang="0">
                    <a:pos x="connsiteX1" y="connsiteY1"/>
                  </a:cxn>
                  <a:cxn ang="0">
                    <a:pos x="connsiteX2" y="connsiteY2"/>
                  </a:cxn>
                  <a:cxn ang="0">
                    <a:pos x="connsiteX3" y="connsiteY3"/>
                  </a:cxn>
                </a:cxnLst>
                <a:rect l="l" t="t" r="r" b="b"/>
                <a:pathLst>
                  <a:path w="131456" h="655965">
                    <a:moveTo>
                      <a:pt x="131456" y="598"/>
                    </a:moveTo>
                    <a:lnTo>
                      <a:pt x="2990" y="655965"/>
                    </a:lnTo>
                    <a:lnTo>
                      <a:pt x="0" y="655367"/>
                    </a:lnTo>
                    <a:lnTo>
                      <a:pt x="128466" y="0"/>
                    </a:lnTo>
                    <a:close/>
                  </a:path>
                </a:pathLst>
              </a:custGeom>
              <a:grpFill/>
              <a:ln w="5978" cap="flat">
                <a:noFill/>
                <a:prstDash val="solid"/>
                <a:miter/>
              </a:ln>
            </p:spPr>
            <p:txBody>
              <a:bodyPr rtlCol="0" anchor="ctr"/>
              <a:lstStyle/>
              <a:p>
                <a:endParaRPr lang="en-GB"/>
              </a:p>
            </p:txBody>
          </p:sp>
          <p:sp>
            <p:nvSpPr>
              <p:cNvPr id="2729" name="Vrije vorm: vorm 2728">
                <a:extLst>
                  <a:ext uri="{FF2B5EF4-FFF2-40B4-BE49-F238E27FC236}">
                    <a16:creationId xmlns:a16="http://schemas.microsoft.com/office/drawing/2014/main" id="{4ACDEA1F-6896-48FA-B4FC-B65D2FDAEF1C}"/>
                  </a:ext>
                </a:extLst>
              </p:cNvPr>
              <p:cNvSpPr/>
              <p:nvPr/>
            </p:nvSpPr>
            <p:spPr>
              <a:xfrm>
                <a:off x="5826431" y="5092576"/>
                <a:ext cx="18356" cy="18397"/>
              </a:xfrm>
              <a:custGeom>
                <a:avLst/>
                <a:gdLst>
                  <a:gd name="connsiteX0" fmla="*/ 187 w 18356"/>
                  <a:gd name="connsiteY0" fmla="*/ 7405 h 18397"/>
                  <a:gd name="connsiteX1" fmla="*/ 10952 w 18356"/>
                  <a:gd name="connsiteY1" fmla="*/ 168 h 18397"/>
                  <a:gd name="connsiteX2" fmla="*/ 18189 w 18356"/>
                  <a:gd name="connsiteY2" fmla="*/ 10993 h 18397"/>
                  <a:gd name="connsiteX3" fmla="*/ 7424 w 18356"/>
                  <a:gd name="connsiteY3" fmla="*/ 18230 h 18397"/>
                  <a:gd name="connsiteX4" fmla="*/ 187 w 18356"/>
                  <a:gd name="connsiteY4" fmla="*/ 7405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87" y="7405"/>
                    </a:moveTo>
                    <a:cubicBezTo>
                      <a:pt x="1144" y="2441"/>
                      <a:pt x="5988" y="-789"/>
                      <a:pt x="10952" y="168"/>
                    </a:cubicBezTo>
                    <a:cubicBezTo>
                      <a:pt x="15916" y="1185"/>
                      <a:pt x="19146" y="6029"/>
                      <a:pt x="18189" y="10993"/>
                    </a:cubicBezTo>
                    <a:cubicBezTo>
                      <a:pt x="17232" y="15957"/>
                      <a:pt x="12388" y="19187"/>
                      <a:pt x="7424" y="18230"/>
                    </a:cubicBezTo>
                    <a:cubicBezTo>
                      <a:pt x="2400" y="17273"/>
                      <a:pt x="-830" y="12428"/>
                      <a:pt x="187" y="7405"/>
                    </a:cubicBezTo>
                    <a:close/>
                  </a:path>
                </a:pathLst>
              </a:custGeom>
              <a:grpFill/>
              <a:ln w="5978" cap="flat">
                <a:noFill/>
                <a:prstDash val="solid"/>
                <a:miter/>
              </a:ln>
            </p:spPr>
            <p:txBody>
              <a:bodyPr rtlCol="0" anchor="ctr"/>
              <a:lstStyle/>
              <a:p>
                <a:endParaRPr lang="en-GB"/>
              </a:p>
            </p:txBody>
          </p:sp>
          <p:sp>
            <p:nvSpPr>
              <p:cNvPr id="2730" name="Vrije vorm: vorm 2729">
                <a:extLst>
                  <a:ext uri="{FF2B5EF4-FFF2-40B4-BE49-F238E27FC236}">
                    <a16:creationId xmlns:a16="http://schemas.microsoft.com/office/drawing/2014/main" id="{0E4BEFF0-B9F3-4BC2-9062-DDD72D4D173B}"/>
                  </a:ext>
                </a:extLst>
              </p:cNvPr>
              <p:cNvSpPr/>
              <p:nvPr/>
            </p:nvSpPr>
            <p:spPr>
              <a:xfrm>
                <a:off x="5698104" y="5747027"/>
                <a:ext cx="18337" cy="18435"/>
              </a:xfrm>
              <a:custGeom>
                <a:avLst/>
                <a:gdLst>
                  <a:gd name="connsiteX0" fmla="*/ 168 w 18337"/>
                  <a:gd name="connsiteY0" fmla="*/ 7424 h 18435"/>
                  <a:gd name="connsiteX1" fmla="*/ 7405 w 18337"/>
                  <a:gd name="connsiteY1" fmla="*/ 18249 h 18435"/>
                  <a:gd name="connsiteX2" fmla="*/ 18170 w 18337"/>
                  <a:gd name="connsiteY2" fmla="*/ 11012 h 18435"/>
                  <a:gd name="connsiteX3" fmla="*/ 10933 w 18337"/>
                  <a:gd name="connsiteY3" fmla="*/ 187 h 18435"/>
                  <a:gd name="connsiteX4" fmla="*/ 168 w 18337"/>
                  <a:gd name="connsiteY4" fmla="*/ 742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5">
                    <a:moveTo>
                      <a:pt x="168" y="7424"/>
                    </a:moveTo>
                    <a:cubicBezTo>
                      <a:pt x="-789" y="12388"/>
                      <a:pt x="2441" y="17292"/>
                      <a:pt x="7405" y="18249"/>
                    </a:cubicBezTo>
                    <a:cubicBezTo>
                      <a:pt x="12368" y="19266"/>
                      <a:pt x="17213" y="16036"/>
                      <a:pt x="18170" y="11012"/>
                    </a:cubicBezTo>
                    <a:cubicBezTo>
                      <a:pt x="19127" y="5988"/>
                      <a:pt x="15897" y="1144"/>
                      <a:pt x="10933" y="187"/>
                    </a:cubicBezTo>
                    <a:cubicBezTo>
                      <a:pt x="5969" y="-830"/>
                      <a:pt x="1185" y="2400"/>
                      <a:pt x="168" y="7424"/>
                    </a:cubicBezTo>
                    <a:close/>
                  </a:path>
                </a:pathLst>
              </a:custGeom>
              <a:grpFill/>
              <a:ln w="5978" cap="flat">
                <a:noFill/>
                <a:prstDash val="solid"/>
                <a:miter/>
              </a:ln>
            </p:spPr>
            <p:txBody>
              <a:bodyPr rtlCol="0" anchor="ctr"/>
              <a:lstStyle/>
              <a:p>
                <a:endParaRPr lang="en-GB"/>
              </a:p>
            </p:txBody>
          </p:sp>
        </p:grpSp>
        <p:grpSp>
          <p:nvGrpSpPr>
            <p:cNvPr id="891" name="Graphic 3">
              <a:extLst>
                <a:ext uri="{FF2B5EF4-FFF2-40B4-BE49-F238E27FC236}">
                  <a16:creationId xmlns:a16="http://schemas.microsoft.com/office/drawing/2014/main" id="{C033995D-1D09-4F75-939F-7DFEC74ABDC8}"/>
                </a:ext>
              </a:extLst>
            </p:cNvPr>
            <p:cNvGrpSpPr/>
            <p:nvPr/>
          </p:nvGrpSpPr>
          <p:grpSpPr>
            <a:xfrm>
              <a:off x="5643213" y="5054831"/>
              <a:ext cx="49132" cy="154673"/>
              <a:chOff x="5643213" y="5054831"/>
              <a:chExt cx="49132" cy="154673"/>
            </a:xfrm>
            <a:grpFill/>
          </p:grpSpPr>
          <p:sp>
            <p:nvSpPr>
              <p:cNvPr id="2725" name="Vrije vorm: vorm 2724">
                <a:extLst>
                  <a:ext uri="{FF2B5EF4-FFF2-40B4-BE49-F238E27FC236}">
                    <a16:creationId xmlns:a16="http://schemas.microsoft.com/office/drawing/2014/main" id="{D4AD57BE-6FC3-4C1A-A160-6854EF3D0852}"/>
                  </a:ext>
                </a:extLst>
              </p:cNvPr>
              <p:cNvSpPr/>
              <p:nvPr/>
            </p:nvSpPr>
            <p:spPr>
              <a:xfrm>
                <a:off x="5650785" y="5063259"/>
                <a:ext cx="33970" cy="137855"/>
              </a:xfrm>
              <a:custGeom>
                <a:avLst/>
                <a:gdLst>
                  <a:gd name="connsiteX0" fmla="*/ 33970 w 33970"/>
                  <a:gd name="connsiteY0" fmla="*/ 718 h 137855"/>
                  <a:gd name="connsiteX1" fmla="*/ 2990 w 33970"/>
                  <a:gd name="connsiteY1" fmla="*/ 137856 h 137855"/>
                  <a:gd name="connsiteX2" fmla="*/ 0 w 33970"/>
                  <a:gd name="connsiteY2" fmla="*/ 137138 h 137855"/>
                  <a:gd name="connsiteX3" fmla="*/ 30980 w 33970"/>
                  <a:gd name="connsiteY3" fmla="*/ 0 h 137855"/>
                </a:gdLst>
                <a:ahLst/>
                <a:cxnLst>
                  <a:cxn ang="0">
                    <a:pos x="connsiteX0" y="connsiteY0"/>
                  </a:cxn>
                  <a:cxn ang="0">
                    <a:pos x="connsiteX1" y="connsiteY1"/>
                  </a:cxn>
                  <a:cxn ang="0">
                    <a:pos x="connsiteX2" y="connsiteY2"/>
                  </a:cxn>
                  <a:cxn ang="0">
                    <a:pos x="connsiteX3" y="connsiteY3"/>
                  </a:cxn>
                </a:cxnLst>
                <a:rect l="l" t="t" r="r" b="b"/>
                <a:pathLst>
                  <a:path w="33970" h="137855">
                    <a:moveTo>
                      <a:pt x="33970" y="718"/>
                    </a:moveTo>
                    <a:lnTo>
                      <a:pt x="2990" y="137856"/>
                    </a:lnTo>
                    <a:lnTo>
                      <a:pt x="0" y="137138"/>
                    </a:lnTo>
                    <a:lnTo>
                      <a:pt x="30980" y="0"/>
                    </a:lnTo>
                    <a:close/>
                  </a:path>
                </a:pathLst>
              </a:custGeom>
              <a:grpFill/>
              <a:ln w="5978" cap="flat">
                <a:noFill/>
                <a:prstDash val="solid"/>
                <a:miter/>
              </a:ln>
            </p:spPr>
            <p:txBody>
              <a:bodyPr rtlCol="0" anchor="ctr"/>
              <a:lstStyle/>
              <a:p>
                <a:endParaRPr lang="en-GB"/>
              </a:p>
            </p:txBody>
          </p:sp>
          <p:sp>
            <p:nvSpPr>
              <p:cNvPr id="2726" name="Vrije vorm: vorm 2725">
                <a:extLst>
                  <a:ext uri="{FF2B5EF4-FFF2-40B4-BE49-F238E27FC236}">
                    <a16:creationId xmlns:a16="http://schemas.microsoft.com/office/drawing/2014/main" id="{8ED66249-01D5-4C5A-906A-AF7FFBBC2370}"/>
                  </a:ext>
                </a:extLst>
              </p:cNvPr>
              <p:cNvSpPr/>
              <p:nvPr/>
            </p:nvSpPr>
            <p:spPr>
              <a:xfrm>
                <a:off x="5643213" y="5191050"/>
                <a:ext cx="18332" cy="18454"/>
              </a:xfrm>
              <a:custGeom>
                <a:avLst/>
                <a:gdLst>
                  <a:gd name="connsiteX0" fmla="*/ 18098 w 18332"/>
                  <a:gd name="connsiteY0" fmla="*/ 11321 h 18454"/>
                  <a:gd name="connsiteX1" fmla="*/ 7153 w 18332"/>
                  <a:gd name="connsiteY1" fmla="*/ 18198 h 18454"/>
                  <a:gd name="connsiteX2" fmla="*/ 216 w 18332"/>
                  <a:gd name="connsiteY2" fmla="*/ 7134 h 18454"/>
                  <a:gd name="connsiteX3" fmla="*/ 11160 w 18332"/>
                  <a:gd name="connsiteY3" fmla="*/ 256 h 18454"/>
                  <a:gd name="connsiteX4" fmla="*/ 18098 w 18332"/>
                  <a:gd name="connsiteY4" fmla="*/ 1132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4">
                    <a:moveTo>
                      <a:pt x="18098" y="11321"/>
                    </a:moveTo>
                    <a:cubicBezTo>
                      <a:pt x="16962" y="16284"/>
                      <a:pt x="12058" y="19395"/>
                      <a:pt x="7153" y="18198"/>
                    </a:cubicBezTo>
                    <a:cubicBezTo>
                      <a:pt x="2189" y="17062"/>
                      <a:pt x="-861" y="12098"/>
                      <a:pt x="216" y="7134"/>
                    </a:cubicBezTo>
                    <a:cubicBezTo>
                      <a:pt x="1352" y="2170"/>
                      <a:pt x="6256" y="-940"/>
                      <a:pt x="11160" y="256"/>
                    </a:cubicBezTo>
                    <a:cubicBezTo>
                      <a:pt x="16124" y="1393"/>
                      <a:pt x="19235" y="6357"/>
                      <a:pt x="18098" y="11321"/>
                    </a:cubicBezTo>
                    <a:close/>
                  </a:path>
                </a:pathLst>
              </a:custGeom>
              <a:grpFill/>
              <a:ln w="5978" cap="flat">
                <a:noFill/>
                <a:prstDash val="solid"/>
                <a:miter/>
              </a:ln>
            </p:spPr>
            <p:txBody>
              <a:bodyPr rtlCol="0" anchor="ctr"/>
              <a:lstStyle/>
              <a:p>
                <a:endParaRPr lang="en-GB"/>
              </a:p>
            </p:txBody>
          </p:sp>
          <p:sp>
            <p:nvSpPr>
              <p:cNvPr id="2727" name="Vrije vorm: vorm 2726">
                <a:extLst>
                  <a:ext uri="{FF2B5EF4-FFF2-40B4-BE49-F238E27FC236}">
                    <a16:creationId xmlns:a16="http://schemas.microsoft.com/office/drawing/2014/main" id="{D58E5FA2-9972-4A03-8E4C-7EF23A5E6FD3}"/>
                  </a:ext>
                </a:extLst>
              </p:cNvPr>
              <p:cNvSpPr/>
              <p:nvPr/>
            </p:nvSpPr>
            <p:spPr>
              <a:xfrm>
                <a:off x="5673995" y="5054831"/>
                <a:ext cx="18350" cy="18413"/>
              </a:xfrm>
              <a:custGeom>
                <a:avLst/>
                <a:gdLst>
                  <a:gd name="connsiteX0" fmla="*/ 18116 w 18350"/>
                  <a:gd name="connsiteY0" fmla="*/ 11299 h 18413"/>
                  <a:gd name="connsiteX1" fmla="*/ 11179 w 18350"/>
                  <a:gd name="connsiteY1" fmla="*/ 234 h 18413"/>
                  <a:gd name="connsiteX2" fmla="*/ 234 w 18350"/>
                  <a:gd name="connsiteY2" fmla="*/ 7112 h 18413"/>
                  <a:gd name="connsiteX3" fmla="*/ 7172 w 18350"/>
                  <a:gd name="connsiteY3" fmla="*/ 18176 h 18413"/>
                  <a:gd name="connsiteX4" fmla="*/ 18116 w 18350"/>
                  <a:gd name="connsiteY4" fmla="*/ 1129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3">
                    <a:moveTo>
                      <a:pt x="18116" y="11299"/>
                    </a:moveTo>
                    <a:cubicBezTo>
                      <a:pt x="19253" y="6334"/>
                      <a:pt x="16143" y="1371"/>
                      <a:pt x="11179" y="234"/>
                    </a:cubicBezTo>
                    <a:cubicBezTo>
                      <a:pt x="6215" y="-902"/>
                      <a:pt x="1311" y="2208"/>
                      <a:pt x="234" y="7112"/>
                    </a:cubicBezTo>
                    <a:cubicBezTo>
                      <a:pt x="-902" y="12076"/>
                      <a:pt x="2208" y="17040"/>
                      <a:pt x="7172" y="18176"/>
                    </a:cubicBezTo>
                    <a:cubicBezTo>
                      <a:pt x="12076" y="19313"/>
                      <a:pt x="16980" y="16263"/>
                      <a:pt x="18116" y="11299"/>
                    </a:cubicBezTo>
                    <a:close/>
                  </a:path>
                </a:pathLst>
              </a:custGeom>
              <a:grpFill/>
              <a:ln w="5978" cap="flat">
                <a:noFill/>
                <a:prstDash val="solid"/>
                <a:miter/>
              </a:ln>
            </p:spPr>
            <p:txBody>
              <a:bodyPr rtlCol="0" anchor="ctr"/>
              <a:lstStyle/>
              <a:p>
                <a:endParaRPr lang="en-GB"/>
              </a:p>
            </p:txBody>
          </p:sp>
        </p:grpSp>
        <p:grpSp>
          <p:nvGrpSpPr>
            <p:cNvPr id="892" name="Graphic 3">
              <a:extLst>
                <a:ext uri="{FF2B5EF4-FFF2-40B4-BE49-F238E27FC236}">
                  <a16:creationId xmlns:a16="http://schemas.microsoft.com/office/drawing/2014/main" id="{EEDCA36A-C2E2-4B7C-AE84-9E85EF4DDC28}"/>
                </a:ext>
              </a:extLst>
            </p:cNvPr>
            <p:cNvGrpSpPr/>
            <p:nvPr/>
          </p:nvGrpSpPr>
          <p:grpSpPr>
            <a:xfrm>
              <a:off x="4616491" y="2088807"/>
              <a:ext cx="86657" cy="81577"/>
              <a:chOff x="4616491" y="2088807"/>
              <a:chExt cx="86657" cy="81577"/>
            </a:xfrm>
            <a:grpFill/>
          </p:grpSpPr>
          <p:sp>
            <p:nvSpPr>
              <p:cNvPr id="2722" name="Vrije vorm: vorm 2721">
                <a:extLst>
                  <a:ext uri="{FF2B5EF4-FFF2-40B4-BE49-F238E27FC236}">
                    <a16:creationId xmlns:a16="http://schemas.microsoft.com/office/drawing/2014/main" id="{85A75179-22ED-4DA0-99B6-16D4D40162CB}"/>
                  </a:ext>
                </a:extLst>
              </p:cNvPr>
              <p:cNvSpPr/>
              <p:nvPr/>
            </p:nvSpPr>
            <p:spPr>
              <a:xfrm>
                <a:off x="4624254" y="2096642"/>
                <a:ext cx="71110" cy="65967"/>
              </a:xfrm>
              <a:custGeom>
                <a:avLst/>
                <a:gdLst>
                  <a:gd name="connsiteX0" fmla="*/ 71111 w 71110"/>
                  <a:gd name="connsiteY0" fmla="*/ 63695 h 65967"/>
                  <a:gd name="connsiteX1" fmla="*/ 69077 w 71110"/>
                  <a:gd name="connsiteY1" fmla="*/ 65967 h 65967"/>
                  <a:gd name="connsiteX2" fmla="*/ 0 w 71110"/>
                  <a:gd name="connsiteY2" fmla="*/ 2213 h 65967"/>
                  <a:gd name="connsiteX3" fmla="*/ 2093 w 71110"/>
                  <a:gd name="connsiteY3" fmla="*/ 0 h 65967"/>
                </a:gdLst>
                <a:ahLst/>
                <a:cxnLst>
                  <a:cxn ang="0">
                    <a:pos x="connsiteX0" y="connsiteY0"/>
                  </a:cxn>
                  <a:cxn ang="0">
                    <a:pos x="connsiteX1" y="connsiteY1"/>
                  </a:cxn>
                  <a:cxn ang="0">
                    <a:pos x="connsiteX2" y="connsiteY2"/>
                  </a:cxn>
                  <a:cxn ang="0">
                    <a:pos x="connsiteX3" y="connsiteY3"/>
                  </a:cxn>
                </a:cxnLst>
                <a:rect l="l" t="t" r="r" b="b"/>
                <a:pathLst>
                  <a:path w="71110" h="65967">
                    <a:moveTo>
                      <a:pt x="71111" y="63695"/>
                    </a:moveTo>
                    <a:lnTo>
                      <a:pt x="69077" y="65967"/>
                    </a:lnTo>
                    <a:lnTo>
                      <a:pt x="0" y="2213"/>
                    </a:lnTo>
                    <a:lnTo>
                      <a:pt x="2093" y="0"/>
                    </a:lnTo>
                    <a:close/>
                  </a:path>
                </a:pathLst>
              </a:custGeom>
              <a:grpFill/>
              <a:ln w="5978" cap="flat">
                <a:noFill/>
                <a:prstDash val="solid"/>
                <a:miter/>
              </a:ln>
            </p:spPr>
            <p:txBody>
              <a:bodyPr rtlCol="0" anchor="ctr"/>
              <a:lstStyle/>
              <a:p>
                <a:endParaRPr lang="en-GB"/>
              </a:p>
            </p:txBody>
          </p:sp>
          <p:sp>
            <p:nvSpPr>
              <p:cNvPr id="2723" name="Vrije vorm: vorm 2722">
                <a:extLst>
                  <a:ext uri="{FF2B5EF4-FFF2-40B4-BE49-F238E27FC236}">
                    <a16:creationId xmlns:a16="http://schemas.microsoft.com/office/drawing/2014/main" id="{374F8B9A-4E3E-4F87-BA4C-08E3E2AFB790}"/>
                  </a:ext>
                </a:extLst>
              </p:cNvPr>
              <p:cNvSpPr/>
              <p:nvPr/>
            </p:nvSpPr>
            <p:spPr>
              <a:xfrm>
                <a:off x="4616491" y="2088807"/>
                <a:ext cx="18337" cy="18481"/>
              </a:xfrm>
              <a:custGeom>
                <a:avLst/>
                <a:gdLst>
                  <a:gd name="connsiteX0" fmla="*/ 2978 w 18337"/>
                  <a:gd name="connsiteY0" fmla="*/ 16029 h 18481"/>
                  <a:gd name="connsiteX1" fmla="*/ 2381 w 18337"/>
                  <a:gd name="connsiteY1" fmla="*/ 2991 h 18481"/>
                  <a:gd name="connsiteX2" fmla="*/ 15359 w 18337"/>
                  <a:gd name="connsiteY2" fmla="*/ 2452 h 18481"/>
                  <a:gd name="connsiteX3" fmla="*/ 15957 w 18337"/>
                  <a:gd name="connsiteY3" fmla="*/ 15490 h 18481"/>
                  <a:gd name="connsiteX4" fmla="*/ 2978 w 18337"/>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81">
                    <a:moveTo>
                      <a:pt x="2978" y="16029"/>
                    </a:moveTo>
                    <a:cubicBezTo>
                      <a:pt x="-730" y="12560"/>
                      <a:pt x="-1029" y="6759"/>
                      <a:pt x="2381" y="2991"/>
                    </a:cubicBezTo>
                    <a:cubicBezTo>
                      <a:pt x="5789" y="-777"/>
                      <a:pt x="11591" y="-1016"/>
                      <a:pt x="15359" y="2452"/>
                    </a:cubicBezTo>
                    <a:cubicBezTo>
                      <a:pt x="19067" y="5921"/>
                      <a:pt x="19366" y="11723"/>
                      <a:pt x="15957" y="15490"/>
                    </a:cubicBezTo>
                    <a:cubicBezTo>
                      <a:pt x="12488" y="19258"/>
                      <a:pt x="6686" y="19497"/>
                      <a:pt x="2978" y="16029"/>
                    </a:cubicBezTo>
                    <a:close/>
                  </a:path>
                </a:pathLst>
              </a:custGeom>
              <a:grpFill/>
              <a:ln w="5978" cap="flat">
                <a:noFill/>
                <a:prstDash val="solid"/>
                <a:miter/>
              </a:ln>
            </p:spPr>
            <p:txBody>
              <a:bodyPr rtlCol="0" anchor="ctr"/>
              <a:lstStyle/>
              <a:p>
                <a:endParaRPr lang="en-GB"/>
              </a:p>
            </p:txBody>
          </p:sp>
          <p:sp>
            <p:nvSpPr>
              <p:cNvPr id="2724" name="Vrije vorm: vorm 2723">
                <a:extLst>
                  <a:ext uri="{FF2B5EF4-FFF2-40B4-BE49-F238E27FC236}">
                    <a16:creationId xmlns:a16="http://schemas.microsoft.com/office/drawing/2014/main" id="{1D04DAA3-0795-4A79-AE5C-ED294ACA57C2}"/>
                  </a:ext>
                </a:extLst>
              </p:cNvPr>
              <p:cNvSpPr/>
              <p:nvPr/>
            </p:nvSpPr>
            <p:spPr>
              <a:xfrm>
                <a:off x="4684850" y="2151903"/>
                <a:ext cx="18298" cy="18481"/>
              </a:xfrm>
              <a:custGeom>
                <a:avLst/>
                <a:gdLst>
                  <a:gd name="connsiteX0" fmla="*/ 2978 w 18298"/>
                  <a:gd name="connsiteY0" fmla="*/ 16029 h 18481"/>
                  <a:gd name="connsiteX1" fmla="*/ 15897 w 18298"/>
                  <a:gd name="connsiteY1" fmla="*/ 15490 h 18481"/>
                  <a:gd name="connsiteX2" fmla="*/ 15299 w 18298"/>
                  <a:gd name="connsiteY2" fmla="*/ 2452 h 18481"/>
                  <a:gd name="connsiteX3" fmla="*/ 2381 w 18298"/>
                  <a:gd name="connsiteY3" fmla="*/ 2991 h 18481"/>
                  <a:gd name="connsiteX4" fmla="*/ 2978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2978" y="16029"/>
                    </a:moveTo>
                    <a:cubicBezTo>
                      <a:pt x="6686" y="19497"/>
                      <a:pt x="12488" y="19258"/>
                      <a:pt x="15897" y="15490"/>
                    </a:cubicBezTo>
                    <a:cubicBezTo>
                      <a:pt x="19306" y="11723"/>
                      <a:pt x="19067" y="5921"/>
                      <a:pt x="15299" y="2452"/>
                    </a:cubicBezTo>
                    <a:cubicBezTo>
                      <a:pt x="11591" y="-1016"/>
                      <a:pt x="5790" y="-777"/>
                      <a:pt x="2381" y="2991"/>
                    </a:cubicBezTo>
                    <a:cubicBezTo>
                      <a:pt x="-1029" y="6759"/>
                      <a:pt x="-730" y="12620"/>
                      <a:pt x="2978" y="16029"/>
                    </a:cubicBezTo>
                    <a:close/>
                  </a:path>
                </a:pathLst>
              </a:custGeom>
              <a:grpFill/>
              <a:ln w="5978" cap="flat">
                <a:noFill/>
                <a:prstDash val="solid"/>
                <a:miter/>
              </a:ln>
            </p:spPr>
            <p:txBody>
              <a:bodyPr rtlCol="0" anchor="ctr"/>
              <a:lstStyle/>
              <a:p>
                <a:endParaRPr lang="en-GB"/>
              </a:p>
            </p:txBody>
          </p:sp>
        </p:grpSp>
        <p:grpSp>
          <p:nvGrpSpPr>
            <p:cNvPr id="893" name="Graphic 3">
              <a:extLst>
                <a:ext uri="{FF2B5EF4-FFF2-40B4-BE49-F238E27FC236}">
                  <a16:creationId xmlns:a16="http://schemas.microsoft.com/office/drawing/2014/main" id="{8A153EE7-272F-40B9-82A8-596C8DCF4501}"/>
                </a:ext>
              </a:extLst>
            </p:cNvPr>
            <p:cNvGrpSpPr/>
            <p:nvPr/>
          </p:nvGrpSpPr>
          <p:grpSpPr>
            <a:xfrm>
              <a:off x="4576991" y="2103391"/>
              <a:ext cx="208160" cy="226268"/>
              <a:chOff x="4576991" y="2103391"/>
              <a:chExt cx="208160" cy="226268"/>
            </a:xfrm>
            <a:grpFill/>
          </p:grpSpPr>
          <p:sp>
            <p:nvSpPr>
              <p:cNvPr id="2719" name="Vrije vorm: vorm 2718">
                <a:extLst>
                  <a:ext uri="{FF2B5EF4-FFF2-40B4-BE49-F238E27FC236}">
                    <a16:creationId xmlns:a16="http://schemas.microsoft.com/office/drawing/2014/main" id="{B282AED8-E64D-4B12-B35E-C3B3E37A8126}"/>
                  </a:ext>
                </a:extLst>
              </p:cNvPr>
              <p:cNvSpPr/>
              <p:nvPr/>
            </p:nvSpPr>
            <p:spPr>
              <a:xfrm>
                <a:off x="4584721" y="2111235"/>
                <a:ext cx="192698" cy="210581"/>
              </a:xfrm>
              <a:custGeom>
                <a:avLst/>
                <a:gdLst>
                  <a:gd name="connsiteX0" fmla="*/ 192699 w 192698"/>
                  <a:gd name="connsiteY0" fmla="*/ 208488 h 210581"/>
                  <a:gd name="connsiteX1" fmla="*/ 190426 w 192698"/>
                  <a:gd name="connsiteY1" fmla="*/ 210581 h 210581"/>
                  <a:gd name="connsiteX2" fmla="*/ 0 w 192698"/>
                  <a:gd name="connsiteY2" fmla="*/ 2093 h 210581"/>
                  <a:gd name="connsiteX3" fmla="*/ 2273 w 192698"/>
                  <a:gd name="connsiteY3" fmla="*/ 0 h 210581"/>
                </a:gdLst>
                <a:ahLst/>
                <a:cxnLst>
                  <a:cxn ang="0">
                    <a:pos x="connsiteX0" y="connsiteY0"/>
                  </a:cxn>
                  <a:cxn ang="0">
                    <a:pos x="connsiteX1" y="connsiteY1"/>
                  </a:cxn>
                  <a:cxn ang="0">
                    <a:pos x="connsiteX2" y="connsiteY2"/>
                  </a:cxn>
                  <a:cxn ang="0">
                    <a:pos x="connsiteX3" y="connsiteY3"/>
                  </a:cxn>
                </a:cxnLst>
                <a:rect l="l" t="t" r="r" b="b"/>
                <a:pathLst>
                  <a:path w="192698" h="210581">
                    <a:moveTo>
                      <a:pt x="192699" y="208488"/>
                    </a:moveTo>
                    <a:lnTo>
                      <a:pt x="190426" y="210581"/>
                    </a:lnTo>
                    <a:lnTo>
                      <a:pt x="0" y="2093"/>
                    </a:lnTo>
                    <a:lnTo>
                      <a:pt x="2273" y="0"/>
                    </a:lnTo>
                    <a:close/>
                  </a:path>
                </a:pathLst>
              </a:custGeom>
              <a:grpFill/>
              <a:ln w="5978" cap="flat">
                <a:noFill/>
                <a:prstDash val="solid"/>
                <a:miter/>
              </a:ln>
            </p:spPr>
            <p:txBody>
              <a:bodyPr rtlCol="0" anchor="ctr"/>
              <a:lstStyle/>
              <a:p>
                <a:endParaRPr lang="en-GB"/>
              </a:p>
            </p:txBody>
          </p:sp>
          <p:sp>
            <p:nvSpPr>
              <p:cNvPr id="2720" name="Vrije vorm: vorm 2719">
                <a:extLst>
                  <a:ext uri="{FF2B5EF4-FFF2-40B4-BE49-F238E27FC236}">
                    <a16:creationId xmlns:a16="http://schemas.microsoft.com/office/drawing/2014/main" id="{056EDF7D-96FF-4357-B433-70910594B300}"/>
                  </a:ext>
                </a:extLst>
              </p:cNvPr>
              <p:cNvSpPr/>
              <p:nvPr/>
            </p:nvSpPr>
            <p:spPr>
              <a:xfrm>
                <a:off x="4766819" y="2311221"/>
                <a:ext cx="18331" cy="18438"/>
              </a:xfrm>
              <a:custGeom>
                <a:avLst/>
                <a:gdLst>
                  <a:gd name="connsiteX0" fmla="*/ 15924 w 18331"/>
                  <a:gd name="connsiteY0" fmla="*/ 2999 h 18438"/>
                  <a:gd name="connsiteX1" fmla="*/ 15386 w 18331"/>
                  <a:gd name="connsiteY1" fmla="*/ 16038 h 18438"/>
                  <a:gd name="connsiteX2" fmla="*/ 2408 w 18331"/>
                  <a:gd name="connsiteY2" fmla="*/ 15439 h 18438"/>
                  <a:gd name="connsiteX3" fmla="*/ 2946 w 18331"/>
                  <a:gd name="connsiteY3" fmla="*/ 2401 h 18438"/>
                  <a:gd name="connsiteX4" fmla="*/ 15924 w 18331"/>
                  <a:gd name="connsiteY4" fmla="*/ 299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8">
                    <a:moveTo>
                      <a:pt x="15924" y="2999"/>
                    </a:moveTo>
                    <a:cubicBezTo>
                      <a:pt x="19333" y="6767"/>
                      <a:pt x="19094" y="12569"/>
                      <a:pt x="15386" y="16038"/>
                    </a:cubicBezTo>
                    <a:cubicBezTo>
                      <a:pt x="11678" y="19446"/>
                      <a:pt x="5877" y="19207"/>
                      <a:pt x="2408" y="15439"/>
                    </a:cubicBezTo>
                    <a:cubicBezTo>
                      <a:pt x="-1001" y="11672"/>
                      <a:pt x="-762" y="5870"/>
                      <a:pt x="2946" y="2401"/>
                    </a:cubicBezTo>
                    <a:cubicBezTo>
                      <a:pt x="6654" y="-1008"/>
                      <a:pt x="12455" y="-768"/>
                      <a:pt x="15924" y="2999"/>
                    </a:cubicBezTo>
                    <a:close/>
                  </a:path>
                </a:pathLst>
              </a:custGeom>
              <a:grpFill/>
              <a:ln w="5978" cap="flat">
                <a:noFill/>
                <a:prstDash val="solid"/>
                <a:miter/>
              </a:ln>
            </p:spPr>
            <p:txBody>
              <a:bodyPr rtlCol="0" anchor="ctr"/>
              <a:lstStyle/>
              <a:p>
                <a:endParaRPr lang="en-GB"/>
              </a:p>
            </p:txBody>
          </p:sp>
          <p:sp>
            <p:nvSpPr>
              <p:cNvPr id="2721" name="Vrije vorm: vorm 2720">
                <a:extLst>
                  <a:ext uri="{FF2B5EF4-FFF2-40B4-BE49-F238E27FC236}">
                    <a16:creationId xmlns:a16="http://schemas.microsoft.com/office/drawing/2014/main" id="{A3E0D9E6-91F9-4B0C-BF5A-D099E0D09907}"/>
                  </a:ext>
                </a:extLst>
              </p:cNvPr>
              <p:cNvSpPr/>
              <p:nvPr/>
            </p:nvSpPr>
            <p:spPr>
              <a:xfrm>
                <a:off x="4576991" y="2103391"/>
                <a:ext cx="18331" cy="18438"/>
              </a:xfrm>
              <a:custGeom>
                <a:avLst/>
                <a:gdLst>
                  <a:gd name="connsiteX0" fmla="*/ 15924 w 18331"/>
                  <a:gd name="connsiteY0" fmla="*/ 3000 h 18438"/>
                  <a:gd name="connsiteX1" fmla="*/ 2946 w 18331"/>
                  <a:gd name="connsiteY1" fmla="*/ 2401 h 18438"/>
                  <a:gd name="connsiteX2" fmla="*/ 2408 w 18331"/>
                  <a:gd name="connsiteY2" fmla="*/ 15439 h 18438"/>
                  <a:gd name="connsiteX3" fmla="*/ 15386 w 18331"/>
                  <a:gd name="connsiteY3" fmla="*/ 16037 h 18438"/>
                  <a:gd name="connsiteX4" fmla="*/ 15924 w 18331"/>
                  <a:gd name="connsiteY4" fmla="*/ 3000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8">
                    <a:moveTo>
                      <a:pt x="15924" y="3000"/>
                    </a:moveTo>
                    <a:cubicBezTo>
                      <a:pt x="12515" y="-768"/>
                      <a:pt x="6714" y="-1008"/>
                      <a:pt x="2946" y="2401"/>
                    </a:cubicBezTo>
                    <a:cubicBezTo>
                      <a:pt x="-762" y="5810"/>
                      <a:pt x="-1001" y="11672"/>
                      <a:pt x="2408" y="15439"/>
                    </a:cubicBezTo>
                    <a:cubicBezTo>
                      <a:pt x="5817" y="19207"/>
                      <a:pt x="11618" y="19447"/>
                      <a:pt x="15386" y="16037"/>
                    </a:cubicBezTo>
                    <a:cubicBezTo>
                      <a:pt x="19094" y="12569"/>
                      <a:pt x="19333" y="6767"/>
                      <a:pt x="15924" y="3000"/>
                    </a:cubicBezTo>
                    <a:close/>
                  </a:path>
                </a:pathLst>
              </a:custGeom>
              <a:grpFill/>
              <a:ln w="5978" cap="flat">
                <a:noFill/>
                <a:prstDash val="solid"/>
                <a:miter/>
              </a:ln>
            </p:spPr>
            <p:txBody>
              <a:bodyPr rtlCol="0" anchor="ctr"/>
              <a:lstStyle/>
              <a:p>
                <a:endParaRPr lang="en-GB"/>
              </a:p>
            </p:txBody>
          </p:sp>
        </p:grpSp>
        <p:grpSp>
          <p:nvGrpSpPr>
            <p:cNvPr id="894" name="Graphic 3">
              <a:extLst>
                <a:ext uri="{FF2B5EF4-FFF2-40B4-BE49-F238E27FC236}">
                  <a16:creationId xmlns:a16="http://schemas.microsoft.com/office/drawing/2014/main" id="{9B9930A8-E34B-4642-BFCE-3503AB2D3F7B}"/>
                </a:ext>
              </a:extLst>
            </p:cNvPr>
            <p:cNvGrpSpPr/>
            <p:nvPr/>
          </p:nvGrpSpPr>
          <p:grpSpPr>
            <a:xfrm>
              <a:off x="5761050" y="5378424"/>
              <a:ext cx="47166" cy="240044"/>
              <a:chOff x="5761050" y="5378424"/>
              <a:chExt cx="47166" cy="240044"/>
            </a:xfrm>
            <a:grpFill/>
          </p:grpSpPr>
          <p:sp>
            <p:nvSpPr>
              <p:cNvPr id="2716" name="Vrije vorm: vorm 2715">
                <a:extLst>
                  <a:ext uri="{FF2B5EF4-FFF2-40B4-BE49-F238E27FC236}">
                    <a16:creationId xmlns:a16="http://schemas.microsoft.com/office/drawing/2014/main" id="{51AE2110-B177-4CA0-9F31-39169BC7127A}"/>
                  </a:ext>
                </a:extLst>
              </p:cNvPr>
              <p:cNvSpPr/>
              <p:nvPr/>
            </p:nvSpPr>
            <p:spPr>
              <a:xfrm>
                <a:off x="5768665" y="5386936"/>
                <a:ext cx="31936" cy="223020"/>
              </a:xfrm>
              <a:custGeom>
                <a:avLst/>
                <a:gdLst>
                  <a:gd name="connsiteX0" fmla="*/ 31937 w 31936"/>
                  <a:gd name="connsiteY0" fmla="*/ 419 h 223020"/>
                  <a:gd name="connsiteX1" fmla="*/ 3050 w 31936"/>
                  <a:gd name="connsiteY1" fmla="*/ 223021 h 223020"/>
                  <a:gd name="connsiteX2" fmla="*/ 0 w 31936"/>
                  <a:gd name="connsiteY2" fmla="*/ 222602 h 223020"/>
                  <a:gd name="connsiteX3" fmla="*/ 28946 w 31936"/>
                  <a:gd name="connsiteY3" fmla="*/ 0 h 223020"/>
                </a:gdLst>
                <a:ahLst/>
                <a:cxnLst>
                  <a:cxn ang="0">
                    <a:pos x="connsiteX0" y="connsiteY0"/>
                  </a:cxn>
                  <a:cxn ang="0">
                    <a:pos x="connsiteX1" y="connsiteY1"/>
                  </a:cxn>
                  <a:cxn ang="0">
                    <a:pos x="connsiteX2" y="connsiteY2"/>
                  </a:cxn>
                  <a:cxn ang="0">
                    <a:pos x="connsiteX3" y="connsiteY3"/>
                  </a:cxn>
                </a:cxnLst>
                <a:rect l="l" t="t" r="r" b="b"/>
                <a:pathLst>
                  <a:path w="31936" h="223020">
                    <a:moveTo>
                      <a:pt x="31937" y="419"/>
                    </a:moveTo>
                    <a:lnTo>
                      <a:pt x="3050" y="223021"/>
                    </a:lnTo>
                    <a:lnTo>
                      <a:pt x="0" y="222602"/>
                    </a:lnTo>
                    <a:lnTo>
                      <a:pt x="28946" y="0"/>
                    </a:lnTo>
                    <a:close/>
                  </a:path>
                </a:pathLst>
              </a:custGeom>
              <a:grpFill/>
              <a:ln w="5978" cap="flat">
                <a:noFill/>
                <a:prstDash val="solid"/>
                <a:miter/>
              </a:ln>
            </p:spPr>
            <p:txBody>
              <a:bodyPr rtlCol="0" anchor="ctr"/>
              <a:lstStyle/>
              <a:p>
                <a:endParaRPr lang="en-GB"/>
              </a:p>
            </p:txBody>
          </p:sp>
          <p:sp>
            <p:nvSpPr>
              <p:cNvPr id="2717" name="Vrije vorm: vorm 2716">
                <a:extLst>
                  <a:ext uri="{FF2B5EF4-FFF2-40B4-BE49-F238E27FC236}">
                    <a16:creationId xmlns:a16="http://schemas.microsoft.com/office/drawing/2014/main" id="{95490F04-CBF6-4A2C-882C-FAC8F86AE9C4}"/>
                  </a:ext>
                </a:extLst>
              </p:cNvPr>
              <p:cNvSpPr/>
              <p:nvPr/>
            </p:nvSpPr>
            <p:spPr>
              <a:xfrm>
                <a:off x="5761050" y="5600069"/>
                <a:ext cx="18339" cy="18399"/>
              </a:xfrm>
              <a:custGeom>
                <a:avLst/>
                <a:gdLst>
                  <a:gd name="connsiteX0" fmla="*/ 18260 w 18339"/>
                  <a:gd name="connsiteY0" fmla="*/ 10426 h 18399"/>
                  <a:gd name="connsiteX1" fmla="*/ 7974 w 18339"/>
                  <a:gd name="connsiteY1" fmla="*/ 18320 h 18399"/>
                  <a:gd name="connsiteX2" fmla="*/ 79 w 18339"/>
                  <a:gd name="connsiteY2" fmla="*/ 7973 h 18399"/>
                  <a:gd name="connsiteX3" fmla="*/ 10366 w 18339"/>
                  <a:gd name="connsiteY3" fmla="*/ 79 h 18399"/>
                  <a:gd name="connsiteX4" fmla="*/ 18260 w 18339"/>
                  <a:gd name="connsiteY4" fmla="*/ 10426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9">
                    <a:moveTo>
                      <a:pt x="18260" y="10426"/>
                    </a:moveTo>
                    <a:cubicBezTo>
                      <a:pt x="17602" y="15449"/>
                      <a:pt x="12997" y="18978"/>
                      <a:pt x="7974" y="18320"/>
                    </a:cubicBezTo>
                    <a:cubicBezTo>
                      <a:pt x="2950" y="17662"/>
                      <a:pt x="-579" y="12997"/>
                      <a:pt x="79" y="7973"/>
                    </a:cubicBezTo>
                    <a:cubicBezTo>
                      <a:pt x="737" y="2950"/>
                      <a:pt x="5342" y="-579"/>
                      <a:pt x="10366" y="79"/>
                    </a:cubicBezTo>
                    <a:cubicBezTo>
                      <a:pt x="15390" y="797"/>
                      <a:pt x="18918" y="5402"/>
                      <a:pt x="18260" y="10426"/>
                    </a:cubicBezTo>
                    <a:close/>
                  </a:path>
                </a:pathLst>
              </a:custGeom>
              <a:grpFill/>
              <a:ln w="5978" cap="flat">
                <a:noFill/>
                <a:prstDash val="solid"/>
                <a:miter/>
              </a:ln>
            </p:spPr>
            <p:txBody>
              <a:bodyPr rtlCol="0" anchor="ctr"/>
              <a:lstStyle/>
              <a:p>
                <a:endParaRPr lang="en-GB"/>
              </a:p>
            </p:txBody>
          </p:sp>
          <p:sp>
            <p:nvSpPr>
              <p:cNvPr id="2718" name="Vrije vorm: vorm 2717">
                <a:extLst>
                  <a:ext uri="{FF2B5EF4-FFF2-40B4-BE49-F238E27FC236}">
                    <a16:creationId xmlns:a16="http://schemas.microsoft.com/office/drawing/2014/main" id="{FE8F36C9-6B00-448B-A577-1D891A66E1BF}"/>
                  </a:ext>
                </a:extLst>
              </p:cNvPr>
              <p:cNvSpPr/>
              <p:nvPr/>
            </p:nvSpPr>
            <p:spPr>
              <a:xfrm>
                <a:off x="5789878" y="5378424"/>
                <a:ext cx="18339" cy="18411"/>
              </a:xfrm>
              <a:custGeom>
                <a:avLst/>
                <a:gdLst>
                  <a:gd name="connsiteX0" fmla="*/ 18260 w 18339"/>
                  <a:gd name="connsiteY0" fmla="*/ 10426 h 18411"/>
                  <a:gd name="connsiteX1" fmla="*/ 10366 w 18339"/>
                  <a:gd name="connsiteY1" fmla="*/ 79 h 18411"/>
                  <a:gd name="connsiteX2" fmla="*/ 79 w 18339"/>
                  <a:gd name="connsiteY2" fmla="*/ 7973 h 18411"/>
                  <a:gd name="connsiteX3" fmla="*/ 7973 w 18339"/>
                  <a:gd name="connsiteY3" fmla="*/ 18320 h 18411"/>
                  <a:gd name="connsiteX4" fmla="*/ 18260 w 18339"/>
                  <a:gd name="connsiteY4" fmla="*/ 10426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1">
                    <a:moveTo>
                      <a:pt x="18260" y="10426"/>
                    </a:moveTo>
                    <a:cubicBezTo>
                      <a:pt x="18918" y="5402"/>
                      <a:pt x="15390" y="737"/>
                      <a:pt x="10366" y="79"/>
                    </a:cubicBezTo>
                    <a:cubicBezTo>
                      <a:pt x="5342" y="-579"/>
                      <a:pt x="737" y="2950"/>
                      <a:pt x="79" y="7973"/>
                    </a:cubicBezTo>
                    <a:cubicBezTo>
                      <a:pt x="-579" y="12997"/>
                      <a:pt x="2950" y="17662"/>
                      <a:pt x="7973" y="18320"/>
                    </a:cubicBezTo>
                    <a:cubicBezTo>
                      <a:pt x="12997" y="19038"/>
                      <a:pt x="17602" y="15449"/>
                      <a:pt x="18260" y="10426"/>
                    </a:cubicBezTo>
                    <a:close/>
                  </a:path>
                </a:pathLst>
              </a:custGeom>
              <a:grpFill/>
              <a:ln w="5978" cap="flat">
                <a:noFill/>
                <a:prstDash val="solid"/>
                <a:miter/>
              </a:ln>
            </p:spPr>
            <p:txBody>
              <a:bodyPr rtlCol="0" anchor="ctr"/>
              <a:lstStyle/>
              <a:p>
                <a:endParaRPr lang="en-GB"/>
              </a:p>
            </p:txBody>
          </p:sp>
        </p:grpSp>
        <p:grpSp>
          <p:nvGrpSpPr>
            <p:cNvPr id="895" name="Graphic 3">
              <a:extLst>
                <a:ext uri="{FF2B5EF4-FFF2-40B4-BE49-F238E27FC236}">
                  <a16:creationId xmlns:a16="http://schemas.microsoft.com/office/drawing/2014/main" id="{CC50543E-0C4B-4812-8355-09DCC06DFAE6}"/>
                </a:ext>
              </a:extLst>
            </p:cNvPr>
            <p:cNvGrpSpPr/>
            <p:nvPr/>
          </p:nvGrpSpPr>
          <p:grpSpPr>
            <a:xfrm>
              <a:off x="4574453" y="1998585"/>
              <a:ext cx="61167" cy="59416"/>
              <a:chOff x="4574453" y="1998585"/>
              <a:chExt cx="61167" cy="59416"/>
            </a:xfrm>
            <a:grpFill/>
          </p:grpSpPr>
          <p:sp>
            <p:nvSpPr>
              <p:cNvPr id="2713" name="Vrije vorm: vorm 2712">
                <a:extLst>
                  <a:ext uri="{FF2B5EF4-FFF2-40B4-BE49-F238E27FC236}">
                    <a16:creationId xmlns:a16="http://schemas.microsoft.com/office/drawing/2014/main" id="{252C4CD6-E2FC-4520-B77A-FC56318F5C1D}"/>
                  </a:ext>
                </a:extLst>
              </p:cNvPr>
              <p:cNvSpPr/>
              <p:nvPr/>
            </p:nvSpPr>
            <p:spPr>
              <a:xfrm>
                <a:off x="4582209" y="2006393"/>
                <a:ext cx="45573" cy="43838"/>
              </a:xfrm>
              <a:custGeom>
                <a:avLst/>
                <a:gdLst>
                  <a:gd name="connsiteX0" fmla="*/ 45573 w 45573"/>
                  <a:gd name="connsiteY0" fmla="*/ 41626 h 43838"/>
                  <a:gd name="connsiteX1" fmla="*/ 43480 w 45573"/>
                  <a:gd name="connsiteY1" fmla="*/ 43839 h 43838"/>
                  <a:gd name="connsiteX2" fmla="*/ 0 w 45573"/>
                  <a:gd name="connsiteY2" fmla="*/ 2213 h 43838"/>
                  <a:gd name="connsiteX3" fmla="*/ 2093 w 45573"/>
                  <a:gd name="connsiteY3" fmla="*/ 0 h 43838"/>
                </a:gdLst>
                <a:ahLst/>
                <a:cxnLst>
                  <a:cxn ang="0">
                    <a:pos x="connsiteX0" y="connsiteY0"/>
                  </a:cxn>
                  <a:cxn ang="0">
                    <a:pos x="connsiteX1" y="connsiteY1"/>
                  </a:cxn>
                  <a:cxn ang="0">
                    <a:pos x="connsiteX2" y="connsiteY2"/>
                  </a:cxn>
                  <a:cxn ang="0">
                    <a:pos x="connsiteX3" y="connsiteY3"/>
                  </a:cxn>
                </a:cxnLst>
                <a:rect l="l" t="t" r="r" b="b"/>
                <a:pathLst>
                  <a:path w="45573" h="43838">
                    <a:moveTo>
                      <a:pt x="45573" y="41626"/>
                    </a:moveTo>
                    <a:lnTo>
                      <a:pt x="43480" y="43839"/>
                    </a:lnTo>
                    <a:lnTo>
                      <a:pt x="0" y="2213"/>
                    </a:lnTo>
                    <a:lnTo>
                      <a:pt x="2093" y="0"/>
                    </a:lnTo>
                    <a:close/>
                  </a:path>
                </a:pathLst>
              </a:custGeom>
              <a:grpFill/>
              <a:ln w="5978" cap="flat">
                <a:noFill/>
                <a:prstDash val="solid"/>
                <a:miter/>
              </a:ln>
            </p:spPr>
            <p:txBody>
              <a:bodyPr rtlCol="0" anchor="ctr"/>
              <a:lstStyle/>
              <a:p>
                <a:endParaRPr lang="en-GB"/>
              </a:p>
            </p:txBody>
          </p:sp>
          <p:sp>
            <p:nvSpPr>
              <p:cNvPr id="2714" name="Vrije vorm: vorm 2713">
                <a:extLst>
                  <a:ext uri="{FF2B5EF4-FFF2-40B4-BE49-F238E27FC236}">
                    <a16:creationId xmlns:a16="http://schemas.microsoft.com/office/drawing/2014/main" id="{CD76DF6B-3A28-46F1-8121-122ED5AD8AD8}"/>
                  </a:ext>
                </a:extLst>
              </p:cNvPr>
              <p:cNvSpPr/>
              <p:nvPr/>
            </p:nvSpPr>
            <p:spPr>
              <a:xfrm>
                <a:off x="4574453" y="1998585"/>
                <a:ext cx="18323" cy="18403"/>
              </a:xfrm>
              <a:custGeom>
                <a:avLst/>
                <a:gdLst>
                  <a:gd name="connsiteX0" fmla="*/ 2852 w 18323"/>
                  <a:gd name="connsiteY0" fmla="*/ 15882 h 18403"/>
                  <a:gd name="connsiteX1" fmla="*/ 2493 w 18323"/>
                  <a:gd name="connsiteY1" fmla="*/ 2844 h 18403"/>
                  <a:gd name="connsiteX2" fmla="*/ 15471 w 18323"/>
                  <a:gd name="connsiteY2" fmla="*/ 2545 h 18403"/>
                  <a:gd name="connsiteX3" fmla="*/ 15830 w 18323"/>
                  <a:gd name="connsiteY3" fmla="*/ 15583 h 18403"/>
                  <a:gd name="connsiteX4" fmla="*/ 2852 w 18323"/>
                  <a:gd name="connsiteY4" fmla="*/ 15882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03">
                    <a:moveTo>
                      <a:pt x="2852" y="15882"/>
                    </a:moveTo>
                    <a:cubicBezTo>
                      <a:pt x="-796" y="12353"/>
                      <a:pt x="-976" y="6552"/>
                      <a:pt x="2493" y="2844"/>
                    </a:cubicBezTo>
                    <a:cubicBezTo>
                      <a:pt x="5962" y="-804"/>
                      <a:pt x="11763" y="-984"/>
                      <a:pt x="15471" y="2545"/>
                    </a:cubicBezTo>
                    <a:cubicBezTo>
                      <a:pt x="19120" y="6073"/>
                      <a:pt x="19299" y="11875"/>
                      <a:pt x="15830" y="15583"/>
                    </a:cubicBezTo>
                    <a:cubicBezTo>
                      <a:pt x="12301" y="19231"/>
                      <a:pt x="6500" y="19351"/>
                      <a:pt x="2852" y="15882"/>
                    </a:cubicBezTo>
                    <a:close/>
                  </a:path>
                </a:pathLst>
              </a:custGeom>
              <a:grpFill/>
              <a:ln w="5978" cap="flat">
                <a:noFill/>
                <a:prstDash val="solid"/>
                <a:miter/>
              </a:ln>
            </p:spPr>
            <p:txBody>
              <a:bodyPr rtlCol="0" anchor="ctr"/>
              <a:lstStyle/>
              <a:p>
                <a:endParaRPr lang="en-GB"/>
              </a:p>
            </p:txBody>
          </p:sp>
          <p:sp>
            <p:nvSpPr>
              <p:cNvPr id="2715" name="Vrije vorm: vorm 2714">
                <a:extLst>
                  <a:ext uri="{FF2B5EF4-FFF2-40B4-BE49-F238E27FC236}">
                    <a16:creationId xmlns:a16="http://schemas.microsoft.com/office/drawing/2014/main" id="{BC1B6611-6637-459C-B75F-CA3602C39D69}"/>
                  </a:ext>
                </a:extLst>
              </p:cNvPr>
              <p:cNvSpPr/>
              <p:nvPr/>
            </p:nvSpPr>
            <p:spPr>
              <a:xfrm>
                <a:off x="4617253" y="2039531"/>
                <a:ext cx="18366" cy="18470"/>
              </a:xfrm>
              <a:custGeom>
                <a:avLst/>
                <a:gdLst>
                  <a:gd name="connsiteX0" fmla="*/ 2874 w 18366"/>
                  <a:gd name="connsiteY0" fmla="*/ 15903 h 18470"/>
                  <a:gd name="connsiteX1" fmla="*/ 15852 w 18366"/>
                  <a:gd name="connsiteY1" fmla="*/ 15604 h 18470"/>
                  <a:gd name="connsiteX2" fmla="*/ 15493 w 18366"/>
                  <a:gd name="connsiteY2" fmla="*/ 2567 h 18470"/>
                  <a:gd name="connsiteX3" fmla="*/ 2515 w 18366"/>
                  <a:gd name="connsiteY3" fmla="*/ 2866 h 18470"/>
                  <a:gd name="connsiteX4" fmla="*/ 2874 w 18366"/>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0">
                    <a:moveTo>
                      <a:pt x="2874" y="15903"/>
                    </a:moveTo>
                    <a:cubicBezTo>
                      <a:pt x="6522" y="19432"/>
                      <a:pt x="12323" y="19313"/>
                      <a:pt x="15852" y="15604"/>
                    </a:cubicBezTo>
                    <a:cubicBezTo>
                      <a:pt x="19321" y="11956"/>
                      <a:pt x="19201" y="6095"/>
                      <a:pt x="15493" y="2567"/>
                    </a:cubicBezTo>
                    <a:cubicBezTo>
                      <a:pt x="11845" y="-962"/>
                      <a:pt x="6044" y="-843"/>
                      <a:pt x="2515" y="2866"/>
                    </a:cubicBezTo>
                    <a:cubicBezTo>
                      <a:pt x="-954" y="6574"/>
                      <a:pt x="-834" y="12435"/>
                      <a:pt x="2874" y="15903"/>
                    </a:cubicBezTo>
                    <a:close/>
                  </a:path>
                </a:pathLst>
              </a:custGeom>
              <a:grpFill/>
              <a:ln w="5978" cap="flat">
                <a:noFill/>
                <a:prstDash val="solid"/>
                <a:miter/>
              </a:ln>
            </p:spPr>
            <p:txBody>
              <a:bodyPr rtlCol="0" anchor="ctr"/>
              <a:lstStyle/>
              <a:p>
                <a:endParaRPr lang="en-GB"/>
              </a:p>
            </p:txBody>
          </p:sp>
        </p:grpSp>
        <p:grpSp>
          <p:nvGrpSpPr>
            <p:cNvPr id="896" name="Graphic 3">
              <a:extLst>
                <a:ext uri="{FF2B5EF4-FFF2-40B4-BE49-F238E27FC236}">
                  <a16:creationId xmlns:a16="http://schemas.microsoft.com/office/drawing/2014/main" id="{403F38D7-A2CA-4DDA-A555-A207069E8C49}"/>
                </a:ext>
              </a:extLst>
            </p:cNvPr>
            <p:cNvGrpSpPr/>
            <p:nvPr/>
          </p:nvGrpSpPr>
          <p:grpSpPr>
            <a:xfrm>
              <a:off x="5705502" y="5266057"/>
              <a:ext cx="46725" cy="187273"/>
              <a:chOff x="5705502" y="5266057"/>
              <a:chExt cx="46725" cy="187273"/>
            </a:xfrm>
            <a:grpFill/>
          </p:grpSpPr>
          <p:sp>
            <p:nvSpPr>
              <p:cNvPr id="2710" name="Vrije vorm: vorm 2709">
                <a:extLst>
                  <a:ext uri="{FF2B5EF4-FFF2-40B4-BE49-F238E27FC236}">
                    <a16:creationId xmlns:a16="http://schemas.microsoft.com/office/drawing/2014/main" id="{580455D3-BFCD-493C-8A73-B26F3229F749}"/>
                  </a:ext>
                </a:extLst>
              </p:cNvPr>
              <p:cNvSpPr/>
              <p:nvPr/>
            </p:nvSpPr>
            <p:spPr>
              <a:xfrm>
                <a:off x="5713164" y="5274558"/>
                <a:ext cx="31518" cy="170270"/>
              </a:xfrm>
              <a:custGeom>
                <a:avLst/>
                <a:gdLst>
                  <a:gd name="connsiteX0" fmla="*/ 31519 w 31518"/>
                  <a:gd name="connsiteY0" fmla="*/ 478 h 170270"/>
                  <a:gd name="connsiteX1" fmla="*/ 2990 w 31518"/>
                  <a:gd name="connsiteY1" fmla="*/ 170271 h 170270"/>
                  <a:gd name="connsiteX2" fmla="*/ 0 w 31518"/>
                  <a:gd name="connsiteY2" fmla="*/ 169733 h 170270"/>
                  <a:gd name="connsiteX3" fmla="*/ 28468 w 31518"/>
                  <a:gd name="connsiteY3" fmla="*/ 0 h 170270"/>
                </a:gdLst>
                <a:ahLst/>
                <a:cxnLst>
                  <a:cxn ang="0">
                    <a:pos x="connsiteX0" y="connsiteY0"/>
                  </a:cxn>
                  <a:cxn ang="0">
                    <a:pos x="connsiteX1" y="connsiteY1"/>
                  </a:cxn>
                  <a:cxn ang="0">
                    <a:pos x="connsiteX2" y="connsiteY2"/>
                  </a:cxn>
                  <a:cxn ang="0">
                    <a:pos x="connsiteX3" y="connsiteY3"/>
                  </a:cxn>
                </a:cxnLst>
                <a:rect l="l" t="t" r="r" b="b"/>
                <a:pathLst>
                  <a:path w="31518" h="170270">
                    <a:moveTo>
                      <a:pt x="31519" y="478"/>
                    </a:moveTo>
                    <a:lnTo>
                      <a:pt x="2990" y="170271"/>
                    </a:lnTo>
                    <a:lnTo>
                      <a:pt x="0" y="169733"/>
                    </a:lnTo>
                    <a:lnTo>
                      <a:pt x="28468" y="0"/>
                    </a:lnTo>
                    <a:close/>
                  </a:path>
                </a:pathLst>
              </a:custGeom>
              <a:grpFill/>
              <a:ln w="5978" cap="flat">
                <a:noFill/>
                <a:prstDash val="solid"/>
                <a:miter/>
              </a:ln>
            </p:spPr>
            <p:txBody>
              <a:bodyPr rtlCol="0" anchor="ctr"/>
              <a:lstStyle/>
              <a:p>
                <a:endParaRPr lang="en-GB"/>
              </a:p>
            </p:txBody>
          </p:sp>
          <p:sp>
            <p:nvSpPr>
              <p:cNvPr id="2711" name="Vrije vorm: vorm 2710">
                <a:extLst>
                  <a:ext uri="{FF2B5EF4-FFF2-40B4-BE49-F238E27FC236}">
                    <a16:creationId xmlns:a16="http://schemas.microsoft.com/office/drawing/2014/main" id="{4E956101-0250-432B-9CBF-D429609A6A6D}"/>
                  </a:ext>
                </a:extLst>
              </p:cNvPr>
              <p:cNvSpPr/>
              <p:nvPr/>
            </p:nvSpPr>
            <p:spPr>
              <a:xfrm>
                <a:off x="5705502" y="5434892"/>
                <a:ext cx="18376" cy="18438"/>
              </a:xfrm>
              <a:custGeom>
                <a:avLst/>
                <a:gdLst>
                  <a:gd name="connsiteX0" fmla="*/ 18248 w 18376"/>
                  <a:gd name="connsiteY0" fmla="*/ 10774 h 18438"/>
                  <a:gd name="connsiteX1" fmla="*/ 7662 w 18376"/>
                  <a:gd name="connsiteY1" fmla="*/ 18310 h 18438"/>
                  <a:gd name="connsiteX2" fmla="*/ 127 w 18376"/>
                  <a:gd name="connsiteY2" fmla="*/ 7664 h 18438"/>
                  <a:gd name="connsiteX3" fmla="*/ 10713 w 18376"/>
                  <a:gd name="connsiteY3" fmla="*/ 128 h 18438"/>
                  <a:gd name="connsiteX4" fmla="*/ 18248 w 18376"/>
                  <a:gd name="connsiteY4" fmla="*/ 10774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18248" y="10774"/>
                    </a:moveTo>
                    <a:cubicBezTo>
                      <a:pt x="17411" y="15798"/>
                      <a:pt x="12686" y="19147"/>
                      <a:pt x="7662" y="18310"/>
                    </a:cubicBezTo>
                    <a:cubicBezTo>
                      <a:pt x="2698" y="17413"/>
                      <a:pt x="-711" y="12688"/>
                      <a:pt x="127" y="7664"/>
                    </a:cubicBezTo>
                    <a:cubicBezTo>
                      <a:pt x="964" y="2640"/>
                      <a:pt x="5689" y="-709"/>
                      <a:pt x="10713" y="128"/>
                    </a:cubicBezTo>
                    <a:cubicBezTo>
                      <a:pt x="15736" y="966"/>
                      <a:pt x="19085" y="5750"/>
                      <a:pt x="18248" y="10774"/>
                    </a:cubicBezTo>
                    <a:close/>
                  </a:path>
                </a:pathLst>
              </a:custGeom>
              <a:grpFill/>
              <a:ln w="5978" cap="flat">
                <a:noFill/>
                <a:prstDash val="solid"/>
                <a:miter/>
              </a:ln>
            </p:spPr>
            <p:txBody>
              <a:bodyPr rtlCol="0" anchor="ctr"/>
              <a:lstStyle/>
              <a:p>
                <a:endParaRPr lang="en-GB"/>
              </a:p>
            </p:txBody>
          </p:sp>
          <p:sp>
            <p:nvSpPr>
              <p:cNvPr id="2712" name="Vrije vorm: vorm 2711">
                <a:extLst>
                  <a:ext uri="{FF2B5EF4-FFF2-40B4-BE49-F238E27FC236}">
                    <a16:creationId xmlns:a16="http://schemas.microsoft.com/office/drawing/2014/main" id="{1CDC51E0-ECA9-4A8B-A35E-10A78B2DBB65}"/>
                  </a:ext>
                </a:extLst>
              </p:cNvPr>
              <p:cNvSpPr/>
              <p:nvPr/>
            </p:nvSpPr>
            <p:spPr>
              <a:xfrm>
                <a:off x="5733849" y="5266057"/>
                <a:ext cx="18378" cy="18437"/>
              </a:xfrm>
              <a:custGeom>
                <a:avLst/>
                <a:gdLst>
                  <a:gd name="connsiteX0" fmla="*/ 18250 w 18378"/>
                  <a:gd name="connsiteY0" fmla="*/ 10774 h 18437"/>
                  <a:gd name="connsiteX1" fmla="*/ 10714 w 18378"/>
                  <a:gd name="connsiteY1" fmla="*/ 128 h 18437"/>
                  <a:gd name="connsiteX2" fmla="*/ 128 w 18378"/>
                  <a:gd name="connsiteY2" fmla="*/ 7664 h 18437"/>
                  <a:gd name="connsiteX3" fmla="*/ 7664 w 18378"/>
                  <a:gd name="connsiteY3" fmla="*/ 18310 h 18437"/>
                  <a:gd name="connsiteX4" fmla="*/ 18250 w 18378"/>
                  <a:gd name="connsiteY4" fmla="*/ 1077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37">
                    <a:moveTo>
                      <a:pt x="18250" y="10774"/>
                    </a:moveTo>
                    <a:cubicBezTo>
                      <a:pt x="19087" y="5750"/>
                      <a:pt x="15738" y="966"/>
                      <a:pt x="10714" y="128"/>
                    </a:cubicBezTo>
                    <a:cubicBezTo>
                      <a:pt x="5750" y="-709"/>
                      <a:pt x="966" y="2640"/>
                      <a:pt x="128" y="7664"/>
                    </a:cubicBezTo>
                    <a:cubicBezTo>
                      <a:pt x="-709" y="12688"/>
                      <a:pt x="2640" y="17472"/>
                      <a:pt x="7664" y="18310"/>
                    </a:cubicBezTo>
                    <a:cubicBezTo>
                      <a:pt x="12688" y="19147"/>
                      <a:pt x="17413" y="15798"/>
                      <a:pt x="18250" y="10774"/>
                    </a:cubicBezTo>
                    <a:close/>
                  </a:path>
                </a:pathLst>
              </a:custGeom>
              <a:grpFill/>
              <a:ln w="5978" cap="flat">
                <a:noFill/>
                <a:prstDash val="solid"/>
                <a:miter/>
              </a:ln>
            </p:spPr>
            <p:txBody>
              <a:bodyPr rtlCol="0" anchor="ctr"/>
              <a:lstStyle/>
              <a:p>
                <a:endParaRPr lang="en-GB"/>
              </a:p>
            </p:txBody>
          </p:sp>
        </p:grpSp>
        <p:grpSp>
          <p:nvGrpSpPr>
            <p:cNvPr id="897" name="Graphic 3">
              <a:extLst>
                <a:ext uri="{FF2B5EF4-FFF2-40B4-BE49-F238E27FC236}">
                  <a16:creationId xmlns:a16="http://schemas.microsoft.com/office/drawing/2014/main" id="{89B2407D-EB97-4482-87E2-B564DA33053C}"/>
                </a:ext>
              </a:extLst>
            </p:cNvPr>
            <p:cNvGrpSpPr/>
            <p:nvPr/>
          </p:nvGrpSpPr>
          <p:grpSpPr>
            <a:xfrm>
              <a:off x="4635539" y="2154191"/>
              <a:ext cx="55418" cy="51404"/>
              <a:chOff x="4635539" y="2154191"/>
              <a:chExt cx="55418" cy="51404"/>
            </a:xfrm>
            <a:grpFill/>
          </p:grpSpPr>
          <p:sp>
            <p:nvSpPr>
              <p:cNvPr id="2707" name="Vrije vorm: vorm 2706">
                <a:extLst>
                  <a:ext uri="{FF2B5EF4-FFF2-40B4-BE49-F238E27FC236}">
                    <a16:creationId xmlns:a16="http://schemas.microsoft.com/office/drawing/2014/main" id="{5F02EF14-5017-4B57-8D29-76EDF9FBCB07}"/>
                  </a:ext>
                </a:extLst>
              </p:cNvPr>
              <p:cNvSpPr/>
              <p:nvPr/>
            </p:nvSpPr>
            <p:spPr>
              <a:xfrm>
                <a:off x="4643392" y="2161951"/>
                <a:ext cx="39771" cy="35884"/>
              </a:xfrm>
              <a:custGeom>
                <a:avLst/>
                <a:gdLst>
                  <a:gd name="connsiteX0" fmla="*/ 39772 w 39771"/>
                  <a:gd name="connsiteY0" fmla="*/ 33552 h 35884"/>
                  <a:gd name="connsiteX1" fmla="*/ 37798 w 39771"/>
                  <a:gd name="connsiteY1" fmla="*/ 35884 h 35884"/>
                  <a:gd name="connsiteX2" fmla="*/ 0 w 39771"/>
                  <a:gd name="connsiteY2" fmla="*/ 2273 h 35884"/>
                  <a:gd name="connsiteX3" fmla="*/ 1974 w 39771"/>
                  <a:gd name="connsiteY3" fmla="*/ 0 h 35884"/>
                </a:gdLst>
                <a:ahLst/>
                <a:cxnLst>
                  <a:cxn ang="0">
                    <a:pos x="connsiteX0" y="connsiteY0"/>
                  </a:cxn>
                  <a:cxn ang="0">
                    <a:pos x="connsiteX1" y="connsiteY1"/>
                  </a:cxn>
                  <a:cxn ang="0">
                    <a:pos x="connsiteX2" y="connsiteY2"/>
                  </a:cxn>
                  <a:cxn ang="0">
                    <a:pos x="connsiteX3" y="connsiteY3"/>
                  </a:cxn>
                </a:cxnLst>
                <a:rect l="l" t="t" r="r" b="b"/>
                <a:pathLst>
                  <a:path w="39771" h="35884">
                    <a:moveTo>
                      <a:pt x="39772" y="33552"/>
                    </a:moveTo>
                    <a:lnTo>
                      <a:pt x="37798" y="35884"/>
                    </a:lnTo>
                    <a:lnTo>
                      <a:pt x="0" y="2273"/>
                    </a:lnTo>
                    <a:lnTo>
                      <a:pt x="1974" y="0"/>
                    </a:lnTo>
                    <a:close/>
                  </a:path>
                </a:pathLst>
              </a:custGeom>
              <a:grpFill/>
              <a:ln w="5978" cap="flat">
                <a:noFill/>
                <a:prstDash val="solid"/>
                <a:miter/>
              </a:ln>
            </p:spPr>
            <p:txBody>
              <a:bodyPr rtlCol="0" anchor="ctr"/>
              <a:lstStyle/>
              <a:p>
                <a:endParaRPr lang="en-GB"/>
              </a:p>
            </p:txBody>
          </p:sp>
          <p:sp>
            <p:nvSpPr>
              <p:cNvPr id="2708" name="Vrije vorm: vorm 2707">
                <a:extLst>
                  <a:ext uri="{FF2B5EF4-FFF2-40B4-BE49-F238E27FC236}">
                    <a16:creationId xmlns:a16="http://schemas.microsoft.com/office/drawing/2014/main" id="{2426E0FD-207E-4E17-8BA9-9CB25CECFCDD}"/>
                  </a:ext>
                </a:extLst>
              </p:cNvPr>
              <p:cNvSpPr/>
              <p:nvPr/>
            </p:nvSpPr>
            <p:spPr>
              <a:xfrm>
                <a:off x="4635539" y="2154191"/>
                <a:ext cx="18317" cy="18415"/>
              </a:xfrm>
              <a:custGeom>
                <a:avLst/>
                <a:gdLst>
                  <a:gd name="connsiteX0" fmla="*/ 3129 w 18317"/>
                  <a:gd name="connsiteY0" fmla="*/ 16073 h 18415"/>
                  <a:gd name="connsiteX1" fmla="*/ 2291 w 18317"/>
                  <a:gd name="connsiteY1" fmla="*/ 3095 h 18415"/>
                  <a:gd name="connsiteX2" fmla="*/ 15210 w 18317"/>
                  <a:gd name="connsiteY2" fmla="*/ 2318 h 18415"/>
                  <a:gd name="connsiteX3" fmla="*/ 16047 w 18317"/>
                  <a:gd name="connsiteY3" fmla="*/ 15296 h 18415"/>
                  <a:gd name="connsiteX4" fmla="*/ 3129 w 18317"/>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15">
                    <a:moveTo>
                      <a:pt x="3129" y="16073"/>
                    </a:moveTo>
                    <a:cubicBezTo>
                      <a:pt x="-699" y="12724"/>
                      <a:pt x="-1058" y="6863"/>
                      <a:pt x="2291" y="3095"/>
                    </a:cubicBezTo>
                    <a:cubicBezTo>
                      <a:pt x="5641" y="-732"/>
                      <a:pt x="11442" y="-1031"/>
                      <a:pt x="15210" y="2318"/>
                    </a:cubicBezTo>
                    <a:cubicBezTo>
                      <a:pt x="18977" y="5667"/>
                      <a:pt x="19396" y="11528"/>
                      <a:pt x="16047" y="15296"/>
                    </a:cubicBezTo>
                    <a:cubicBezTo>
                      <a:pt x="12758" y="19124"/>
                      <a:pt x="6956" y="19482"/>
                      <a:pt x="3129" y="16073"/>
                    </a:cubicBezTo>
                    <a:close/>
                  </a:path>
                </a:pathLst>
              </a:custGeom>
              <a:grpFill/>
              <a:ln w="5978" cap="flat">
                <a:noFill/>
                <a:prstDash val="solid"/>
                <a:miter/>
              </a:ln>
            </p:spPr>
            <p:txBody>
              <a:bodyPr rtlCol="0" anchor="ctr"/>
              <a:lstStyle/>
              <a:p>
                <a:endParaRPr lang="en-GB"/>
              </a:p>
            </p:txBody>
          </p:sp>
          <p:sp>
            <p:nvSpPr>
              <p:cNvPr id="2709" name="Vrije vorm: vorm 2708">
                <a:extLst>
                  <a:ext uri="{FF2B5EF4-FFF2-40B4-BE49-F238E27FC236}">
                    <a16:creationId xmlns:a16="http://schemas.microsoft.com/office/drawing/2014/main" id="{9C3C2397-6725-475A-9486-5F3167010E95}"/>
                  </a:ext>
                </a:extLst>
              </p:cNvPr>
              <p:cNvSpPr/>
              <p:nvPr/>
            </p:nvSpPr>
            <p:spPr>
              <a:xfrm>
                <a:off x="4672664" y="2187205"/>
                <a:ext cx="18293" cy="18391"/>
              </a:xfrm>
              <a:custGeom>
                <a:avLst/>
                <a:gdLst>
                  <a:gd name="connsiteX0" fmla="*/ 3084 w 18293"/>
                  <a:gd name="connsiteY0" fmla="*/ 16073 h 18391"/>
                  <a:gd name="connsiteX1" fmla="*/ 16003 w 18293"/>
                  <a:gd name="connsiteY1" fmla="*/ 15296 h 18391"/>
                  <a:gd name="connsiteX2" fmla="*/ 15165 w 18293"/>
                  <a:gd name="connsiteY2" fmla="*/ 2318 h 18391"/>
                  <a:gd name="connsiteX3" fmla="*/ 2247 w 18293"/>
                  <a:gd name="connsiteY3" fmla="*/ 3095 h 18391"/>
                  <a:gd name="connsiteX4" fmla="*/ 3084 w 18293"/>
                  <a:gd name="connsiteY4" fmla="*/ 1607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391">
                    <a:moveTo>
                      <a:pt x="3084" y="16073"/>
                    </a:moveTo>
                    <a:cubicBezTo>
                      <a:pt x="6912" y="19423"/>
                      <a:pt x="12653" y="19124"/>
                      <a:pt x="16003" y="15296"/>
                    </a:cubicBezTo>
                    <a:cubicBezTo>
                      <a:pt x="19352" y="11468"/>
                      <a:pt x="18993" y="5667"/>
                      <a:pt x="15165" y="2318"/>
                    </a:cubicBezTo>
                    <a:cubicBezTo>
                      <a:pt x="11338" y="-1031"/>
                      <a:pt x="5596" y="-732"/>
                      <a:pt x="2247" y="3095"/>
                    </a:cubicBezTo>
                    <a:cubicBezTo>
                      <a:pt x="-1043" y="6863"/>
                      <a:pt x="-684" y="12664"/>
                      <a:pt x="3084" y="16073"/>
                    </a:cubicBezTo>
                    <a:close/>
                  </a:path>
                </a:pathLst>
              </a:custGeom>
              <a:grpFill/>
              <a:ln w="5978" cap="flat">
                <a:noFill/>
                <a:prstDash val="solid"/>
                <a:miter/>
              </a:ln>
            </p:spPr>
            <p:txBody>
              <a:bodyPr rtlCol="0" anchor="ctr"/>
              <a:lstStyle/>
              <a:p>
                <a:endParaRPr lang="en-GB"/>
              </a:p>
            </p:txBody>
          </p:sp>
        </p:grpSp>
        <p:grpSp>
          <p:nvGrpSpPr>
            <p:cNvPr id="898" name="Graphic 3">
              <a:extLst>
                <a:ext uri="{FF2B5EF4-FFF2-40B4-BE49-F238E27FC236}">
                  <a16:creationId xmlns:a16="http://schemas.microsoft.com/office/drawing/2014/main" id="{12DE8583-1582-4F80-8E62-5B29F1AC2F9C}"/>
                </a:ext>
              </a:extLst>
            </p:cNvPr>
            <p:cNvGrpSpPr/>
            <p:nvPr/>
          </p:nvGrpSpPr>
          <p:grpSpPr>
            <a:xfrm>
              <a:off x="5813479" y="5481688"/>
              <a:ext cx="59292" cy="462044"/>
              <a:chOff x="5813479" y="5481688"/>
              <a:chExt cx="59292" cy="462044"/>
            </a:xfrm>
            <a:grpFill/>
          </p:grpSpPr>
          <p:sp>
            <p:nvSpPr>
              <p:cNvPr id="2704" name="Vrije vorm: vorm 2703">
                <a:extLst>
                  <a:ext uri="{FF2B5EF4-FFF2-40B4-BE49-F238E27FC236}">
                    <a16:creationId xmlns:a16="http://schemas.microsoft.com/office/drawing/2014/main" id="{99FEE9DC-A102-4737-957B-9B6B23440A33}"/>
                  </a:ext>
                </a:extLst>
              </p:cNvPr>
              <p:cNvSpPr/>
              <p:nvPr/>
            </p:nvSpPr>
            <p:spPr>
              <a:xfrm>
                <a:off x="5821056" y="5490282"/>
                <a:ext cx="44077" cy="444905"/>
              </a:xfrm>
              <a:custGeom>
                <a:avLst/>
                <a:gdLst>
                  <a:gd name="connsiteX0" fmla="*/ 44078 w 44077"/>
                  <a:gd name="connsiteY0" fmla="*/ 299 h 444905"/>
                  <a:gd name="connsiteX1" fmla="*/ 3050 w 44077"/>
                  <a:gd name="connsiteY1" fmla="*/ 444906 h 444905"/>
                  <a:gd name="connsiteX2" fmla="*/ 0 w 44077"/>
                  <a:gd name="connsiteY2" fmla="*/ 444607 h 444905"/>
                  <a:gd name="connsiteX3" fmla="*/ 41088 w 44077"/>
                  <a:gd name="connsiteY3" fmla="*/ 0 h 444905"/>
                </a:gdLst>
                <a:ahLst/>
                <a:cxnLst>
                  <a:cxn ang="0">
                    <a:pos x="connsiteX0" y="connsiteY0"/>
                  </a:cxn>
                  <a:cxn ang="0">
                    <a:pos x="connsiteX1" y="connsiteY1"/>
                  </a:cxn>
                  <a:cxn ang="0">
                    <a:pos x="connsiteX2" y="connsiteY2"/>
                  </a:cxn>
                  <a:cxn ang="0">
                    <a:pos x="connsiteX3" y="connsiteY3"/>
                  </a:cxn>
                </a:cxnLst>
                <a:rect l="l" t="t" r="r" b="b"/>
                <a:pathLst>
                  <a:path w="44077" h="444905">
                    <a:moveTo>
                      <a:pt x="44078" y="299"/>
                    </a:moveTo>
                    <a:lnTo>
                      <a:pt x="3050" y="444906"/>
                    </a:lnTo>
                    <a:lnTo>
                      <a:pt x="0" y="444607"/>
                    </a:lnTo>
                    <a:lnTo>
                      <a:pt x="41088" y="0"/>
                    </a:lnTo>
                    <a:close/>
                  </a:path>
                </a:pathLst>
              </a:custGeom>
              <a:grpFill/>
              <a:ln w="5978" cap="flat">
                <a:noFill/>
                <a:prstDash val="solid"/>
                <a:miter/>
              </a:ln>
            </p:spPr>
            <p:txBody>
              <a:bodyPr rtlCol="0" anchor="ctr"/>
              <a:lstStyle/>
              <a:p>
                <a:endParaRPr lang="en-GB"/>
              </a:p>
            </p:txBody>
          </p:sp>
          <p:sp>
            <p:nvSpPr>
              <p:cNvPr id="2705" name="Vrije vorm: vorm 2704">
                <a:extLst>
                  <a:ext uri="{FF2B5EF4-FFF2-40B4-BE49-F238E27FC236}">
                    <a16:creationId xmlns:a16="http://schemas.microsoft.com/office/drawing/2014/main" id="{14CE5D30-F209-4DFC-AEC2-EB551C69C27F}"/>
                  </a:ext>
                </a:extLst>
              </p:cNvPr>
              <p:cNvSpPr/>
              <p:nvPr/>
            </p:nvSpPr>
            <p:spPr>
              <a:xfrm>
                <a:off x="5813479" y="5925328"/>
                <a:ext cx="18314" cy="18404"/>
              </a:xfrm>
              <a:custGeom>
                <a:avLst/>
                <a:gdLst>
                  <a:gd name="connsiteX0" fmla="*/ 18283 w 18314"/>
                  <a:gd name="connsiteY0" fmla="*/ 10100 h 18404"/>
                  <a:gd name="connsiteX1" fmla="*/ 8295 w 18314"/>
                  <a:gd name="connsiteY1" fmla="*/ 18353 h 18404"/>
                  <a:gd name="connsiteX2" fmla="*/ 42 w 18314"/>
                  <a:gd name="connsiteY2" fmla="*/ 8305 h 18404"/>
                  <a:gd name="connsiteX3" fmla="*/ 10029 w 18314"/>
                  <a:gd name="connsiteY3" fmla="*/ 52 h 18404"/>
                  <a:gd name="connsiteX4" fmla="*/ 18283 w 18314"/>
                  <a:gd name="connsiteY4" fmla="*/ 10100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04">
                    <a:moveTo>
                      <a:pt x="18283" y="10100"/>
                    </a:moveTo>
                    <a:cubicBezTo>
                      <a:pt x="17804" y="15183"/>
                      <a:pt x="13319" y="18891"/>
                      <a:pt x="8295" y="18353"/>
                    </a:cubicBezTo>
                    <a:cubicBezTo>
                      <a:pt x="3271" y="17875"/>
                      <a:pt x="-437" y="13329"/>
                      <a:pt x="42" y="8305"/>
                    </a:cubicBezTo>
                    <a:cubicBezTo>
                      <a:pt x="520" y="3222"/>
                      <a:pt x="4945" y="-486"/>
                      <a:pt x="10029" y="52"/>
                    </a:cubicBezTo>
                    <a:cubicBezTo>
                      <a:pt x="14993" y="530"/>
                      <a:pt x="18701" y="5076"/>
                      <a:pt x="18283" y="10100"/>
                    </a:cubicBezTo>
                    <a:close/>
                  </a:path>
                </a:pathLst>
              </a:custGeom>
              <a:grpFill/>
              <a:ln w="5978" cap="flat">
                <a:noFill/>
                <a:prstDash val="solid"/>
                <a:miter/>
              </a:ln>
            </p:spPr>
            <p:txBody>
              <a:bodyPr rtlCol="0" anchor="ctr"/>
              <a:lstStyle/>
              <a:p>
                <a:endParaRPr lang="en-GB"/>
              </a:p>
            </p:txBody>
          </p:sp>
          <p:sp>
            <p:nvSpPr>
              <p:cNvPr id="2706" name="Vrije vorm: vorm 2705">
                <a:extLst>
                  <a:ext uri="{FF2B5EF4-FFF2-40B4-BE49-F238E27FC236}">
                    <a16:creationId xmlns:a16="http://schemas.microsoft.com/office/drawing/2014/main" id="{B2FA2C33-535F-4971-8348-4A9381D14EDD}"/>
                  </a:ext>
                </a:extLst>
              </p:cNvPr>
              <p:cNvSpPr/>
              <p:nvPr/>
            </p:nvSpPr>
            <p:spPr>
              <a:xfrm>
                <a:off x="5854447" y="5481688"/>
                <a:ext cx="18324" cy="18384"/>
              </a:xfrm>
              <a:custGeom>
                <a:avLst/>
                <a:gdLst>
                  <a:gd name="connsiteX0" fmla="*/ 18283 w 18324"/>
                  <a:gd name="connsiteY0" fmla="*/ 10089 h 18384"/>
                  <a:gd name="connsiteX1" fmla="*/ 10029 w 18324"/>
                  <a:gd name="connsiteY1" fmla="*/ 42 h 18384"/>
                  <a:gd name="connsiteX2" fmla="*/ 42 w 18324"/>
                  <a:gd name="connsiteY2" fmla="*/ 8295 h 18384"/>
                  <a:gd name="connsiteX3" fmla="*/ 8295 w 18324"/>
                  <a:gd name="connsiteY3" fmla="*/ 18343 h 18384"/>
                  <a:gd name="connsiteX4" fmla="*/ 18283 w 18324"/>
                  <a:gd name="connsiteY4" fmla="*/ 10089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18283" y="10089"/>
                    </a:moveTo>
                    <a:cubicBezTo>
                      <a:pt x="18761" y="5006"/>
                      <a:pt x="15053" y="520"/>
                      <a:pt x="10029" y="42"/>
                    </a:cubicBezTo>
                    <a:cubicBezTo>
                      <a:pt x="5006" y="-437"/>
                      <a:pt x="520" y="3271"/>
                      <a:pt x="42" y="8295"/>
                    </a:cubicBezTo>
                    <a:cubicBezTo>
                      <a:pt x="-437" y="13379"/>
                      <a:pt x="3271" y="17864"/>
                      <a:pt x="8295" y="18343"/>
                    </a:cubicBezTo>
                    <a:cubicBezTo>
                      <a:pt x="13319" y="18821"/>
                      <a:pt x="17804" y="15113"/>
                      <a:pt x="18283" y="10089"/>
                    </a:cubicBezTo>
                    <a:close/>
                  </a:path>
                </a:pathLst>
              </a:custGeom>
              <a:grpFill/>
              <a:ln w="5978" cap="flat">
                <a:noFill/>
                <a:prstDash val="solid"/>
                <a:miter/>
              </a:ln>
            </p:spPr>
            <p:txBody>
              <a:bodyPr rtlCol="0" anchor="ctr"/>
              <a:lstStyle/>
              <a:p>
                <a:endParaRPr lang="en-GB"/>
              </a:p>
            </p:txBody>
          </p:sp>
        </p:grpSp>
        <p:grpSp>
          <p:nvGrpSpPr>
            <p:cNvPr id="899" name="Graphic 3">
              <a:extLst>
                <a:ext uri="{FF2B5EF4-FFF2-40B4-BE49-F238E27FC236}">
                  <a16:creationId xmlns:a16="http://schemas.microsoft.com/office/drawing/2014/main" id="{29D4BA6F-C592-4E79-8C64-BC5491447625}"/>
                </a:ext>
              </a:extLst>
            </p:cNvPr>
            <p:cNvGrpSpPr/>
            <p:nvPr/>
          </p:nvGrpSpPr>
          <p:grpSpPr>
            <a:xfrm>
              <a:off x="5613262" y="5046884"/>
              <a:ext cx="48671" cy="142256"/>
              <a:chOff x="5613262" y="5046884"/>
              <a:chExt cx="48671" cy="142256"/>
            </a:xfrm>
            <a:grpFill/>
          </p:grpSpPr>
          <p:sp>
            <p:nvSpPr>
              <p:cNvPr id="2701" name="Vrije vorm: vorm 2700">
                <a:extLst>
                  <a:ext uri="{FF2B5EF4-FFF2-40B4-BE49-F238E27FC236}">
                    <a16:creationId xmlns:a16="http://schemas.microsoft.com/office/drawing/2014/main" id="{4CE7653F-8977-486E-82BF-1ED948C9C5F1}"/>
                  </a:ext>
                </a:extLst>
              </p:cNvPr>
              <p:cNvSpPr/>
              <p:nvPr/>
            </p:nvSpPr>
            <p:spPr>
              <a:xfrm>
                <a:off x="5620822" y="5055305"/>
                <a:ext cx="33551" cy="125415"/>
              </a:xfrm>
              <a:custGeom>
                <a:avLst/>
                <a:gdLst>
                  <a:gd name="connsiteX0" fmla="*/ 33552 w 33551"/>
                  <a:gd name="connsiteY0" fmla="*/ 718 h 125415"/>
                  <a:gd name="connsiteX1" fmla="*/ 2930 w 33551"/>
                  <a:gd name="connsiteY1" fmla="*/ 125416 h 125415"/>
                  <a:gd name="connsiteX2" fmla="*/ 0 w 33551"/>
                  <a:gd name="connsiteY2" fmla="*/ 124698 h 125415"/>
                  <a:gd name="connsiteX3" fmla="*/ 30621 w 33551"/>
                  <a:gd name="connsiteY3" fmla="*/ 0 h 125415"/>
                </a:gdLst>
                <a:ahLst/>
                <a:cxnLst>
                  <a:cxn ang="0">
                    <a:pos x="connsiteX0" y="connsiteY0"/>
                  </a:cxn>
                  <a:cxn ang="0">
                    <a:pos x="connsiteX1" y="connsiteY1"/>
                  </a:cxn>
                  <a:cxn ang="0">
                    <a:pos x="connsiteX2" y="connsiteY2"/>
                  </a:cxn>
                  <a:cxn ang="0">
                    <a:pos x="connsiteX3" y="connsiteY3"/>
                  </a:cxn>
                </a:cxnLst>
                <a:rect l="l" t="t" r="r" b="b"/>
                <a:pathLst>
                  <a:path w="33551" h="125415">
                    <a:moveTo>
                      <a:pt x="33552" y="718"/>
                    </a:moveTo>
                    <a:lnTo>
                      <a:pt x="2930" y="125416"/>
                    </a:lnTo>
                    <a:lnTo>
                      <a:pt x="0" y="124698"/>
                    </a:lnTo>
                    <a:lnTo>
                      <a:pt x="30621" y="0"/>
                    </a:lnTo>
                    <a:close/>
                  </a:path>
                </a:pathLst>
              </a:custGeom>
              <a:grpFill/>
              <a:ln w="5978" cap="flat">
                <a:noFill/>
                <a:prstDash val="solid"/>
                <a:miter/>
              </a:ln>
            </p:spPr>
            <p:txBody>
              <a:bodyPr rtlCol="0" anchor="ctr"/>
              <a:lstStyle/>
              <a:p>
                <a:endParaRPr lang="en-GB"/>
              </a:p>
            </p:txBody>
          </p:sp>
          <p:sp>
            <p:nvSpPr>
              <p:cNvPr id="2702" name="Vrije vorm: vorm 2701">
                <a:extLst>
                  <a:ext uri="{FF2B5EF4-FFF2-40B4-BE49-F238E27FC236}">
                    <a16:creationId xmlns:a16="http://schemas.microsoft.com/office/drawing/2014/main" id="{3C2C3454-591C-46BA-A9AC-46E0370E90DC}"/>
                  </a:ext>
                </a:extLst>
              </p:cNvPr>
              <p:cNvSpPr/>
              <p:nvPr/>
            </p:nvSpPr>
            <p:spPr>
              <a:xfrm>
                <a:off x="5613262" y="5170689"/>
                <a:ext cx="18289" cy="18451"/>
              </a:xfrm>
              <a:custGeom>
                <a:avLst/>
                <a:gdLst>
                  <a:gd name="connsiteX0" fmla="*/ 18026 w 18289"/>
                  <a:gd name="connsiteY0" fmla="*/ 11467 h 18451"/>
                  <a:gd name="connsiteX1" fmla="*/ 6962 w 18289"/>
                  <a:gd name="connsiteY1" fmla="*/ 18165 h 18451"/>
                  <a:gd name="connsiteX2" fmla="*/ 263 w 18289"/>
                  <a:gd name="connsiteY2" fmla="*/ 6981 h 18451"/>
                  <a:gd name="connsiteX3" fmla="*/ 11328 w 18289"/>
                  <a:gd name="connsiteY3" fmla="*/ 283 h 18451"/>
                  <a:gd name="connsiteX4" fmla="*/ 18026 w 18289"/>
                  <a:gd name="connsiteY4" fmla="*/ 1146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1">
                    <a:moveTo>
                      <a:pt x="18026" y="11467"/>
                    </a:moveTo>
                    <a:cubicBezTo>
                      <a:pt x="16830" y="16431"/>
                      <a:pt x="11866" y="19421"/>
                      <a:pt x="6962" y="18165"/>
                    </a:cubicBezTo>
                    <a:cubicBezTo>
                      <a:pt x="2058" y="16909"/>
                      <a:pt x="-933" y="11945"/>
                      <a:pt x="263" y="6981"/>
                    </a:cubicBezTo>
                    <a:cubicBezTo>
                      <a:pt x="1459" y="2077"/>
                      <a:pt x="6423" y="-973"/>
                      <a:pt x="11328" y="283"/>
                    </a:cubicBezTo>
                    <a:cubicBezTo>
                      <a:pt x="16232" y="1539"/>
                      <a:pt x="19222" y="6563"/>
                      <a:pt x="18026" y="11467"/>
                    </a:cubicBezTo>
                    <a:close/>
                  </a:path>
                </a:pathLst>
              </a:custGeom>
              <a:grpFill/>
              <a:ln w="5978" cap="flat">
                <a:noFill/>
                <a:prstDash val="solid"/>
                <a:miter/>
              </a:ln>
            </p:spPr>
            <p:txBody>
              <a:bodyPr rtlCol="0" anchor="ctr"/>
              <a:lstStyle/>
              <a:p>
                <a:endParaRPr lang="en-GB"/>
              </a:p>
            </p:txBody>
          </p:sp>
          <p:sp>
            <p:nvSpPr>
              <p:cNvPr id="2703" name="Vrije vorm: vorm 2702">
                <a:extLst>
                  <a:ext uri="{FF2B5EF4-FFF2-40B4-BE49-F238E27FC236}">
                    <a16:creationId xmlns:a16="http://schemas.microsoft.com/office/drawing/2014/main" id="{33590563-2780-4CEE-B5FF-B0296EF2A39C}"/>
                  </a:ext>
                </a:extLst>
              </p:cNvPr>
              <p:cNvSpPr/>
              <p:nvPr/>
            </p:nvSpPr>
            <p:spPr>
              <a:xfrm>
                <a:off x="5643644" y="5046884"/>
                <a:ext cx="18289" cy="18432"/>
              </a:xfrm>
              <a:custGeom>
                <a:avLst/>
                <a:gdLst>
                  <a:gd name="connsiteX0" fmla="*/ 18026 w 18289"/>
                  <a:gd name="connsiteY0" fmla="*/ 11470 h 18432"/>
                  <a:gd name="connsiteX1" fmla="*/ 11328 w 18289"/>
                  <a:gd name="connsiteY1" fmla="*/ 286 h 18432"/>
                  <a:gd name="connsiteX2" fmla="*/ 263 w 18289"/>
                  <a:gd name="connsiteY2" fmla="*/ 6985 h 18432"/>
                  <a:gd name="connsiteX3" fmla="*/ 6962 w 18289"/>
                  <a:gd name="connsiteY3" fmla="*/ 18169 h 18432"/>
                  <a:gd name="connsiteX4" fmla="*/ 18026 w 18289"/>
                  <a:gd name="connsiteY4" fmla="*/ 11470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32">
                    <a:moveTo>
                      <a:pt x="18026" y="11470"/>
                    </a:moveTo>
                    <a:cubicBezTo>
                      <a:pt x="19222" y="6506"/>
                      <a:pt x="16232" y="1542"/>
                      <a:pt x="11328" y="286"/>
                    </a:cubicBezTo>
                    <a:cubicBezTo>
                      <a:pt x="6424" y="-970"/>
                      <a:pt x="1459" y="2021"/>
                      <a:pt x="263" y="6985"/>
                    </a:cubicBezTo>
                    <a:cubicBezTo>
                      <a:pt x="-933" y="11889"/>
                      <a:pt x="2058" y="16913"/>
                      <a:pt x="6962" y="18169"/>
                    </a:cubicBezTo>
                    <a:cubicBezTo>
                      <a:pt x="11866" y="19365"/>
                      <a:pt x="16830" y="16375"/>
                      <a:pt x="18026" y="11470"/>
                    </a:cubicBezTo>
                    <a:close/>
                  </a:path>
                </a:pathLst>
              </a:custGeom>
              <a:grpFill/>
              <a:ln w="5978" cap="flat">
                <a:noFill/>
                <a:prstDash val="solid"/>
                <a:miter/>
              </a:ln>
            </p:spPr>
            <p:txBody>
              <a:bodyPr rtlCol="0" anchor="ctr"/>
              <a:lstStyle/>
              <a:p>
                <a:endParaRPr lang="en-GB"/>
              </a:p>
            </p:txBody>
          </p:sp>
        </p:grpSp>
        <p:grpSp>
          <p:nvGrpSpPr>
            <p:cNvPr id="900" name="Graphic 3">
              <a:extLst>
                <a:ext uri="{FF2B5EF4-FFF2-40B4-BE49-F238E27FC236}">
                  <a16:creationId xmlns:a16="http://schemas.microsoft.com/office/drawing/2014/main" id="{E8A93157-0741-4E58-8CAA-AF47C7FFEB1D}"/>
                </a:ext>
              </a:extLst>
            </p:cNvPr>
            <p:cNvGrpSpPr/>
            <p:nvPr/>
          </p:nvGrpSpPr>
          <p:grpSpPr>
            <a:xfrm>
              <a:off x="5657151" y="5090139"/>
              <a:ext cx="156044" cy="653999"/>
              <a:chOff x="5657151" y="5090139"/>
              <a:chExt cx="156044" cy="653999"/>
            </a:xfrm>
            <a:grpFill/>
          </p:grpSpPr>
          <p:sp>
            <p:nvSpPr>
              <p:cNvPr id="2698" name="Vrije vorm: vorm 2697">
                <a:extLst>
                  <a:ext uri="{FF2B5EF4-FFF2-40B4-BE49-F238E27FC236}">
                    <a16:creationId xmlns:a16="http://schemas.microsoft.com/office/drawing/2014/main" id="{47D81105-E013-4BF6-ACAD-ED6199626B6E}"/>
                  </a:ext>
                </a:extLst>
              </p:cNvPr>
              <p:cNvSpPr/>
              <p:nvPr/>
            </p:nvSpPr>
            <p:spPr>
              <a:xfrm>
                <a:off x="5664780" y="5098545"/>
                <a:ext cx="140846" cy="637126"/>
              </a:xfrm>
              <a:custGeom>
                <a:avLst/>
                <a:gdLst>
                  <a:gd name="connsiteX0" fmla="*/ 140846 w 140846"/>
                  <a:gd name="connsiteY0" fmla="*/ 658 h 637126"/>
                  <a:gd name="connsiteX1" fmla="*/ 2931 w 140846"/>
                  <a:gd name="connsiteY1" fmla="*/ 637126 h 637126"/>
                  <a:gd name="connsiteX2" fmla="*/ 0 w 140846"/>
                  <a:gd name="connsiteY2" fmla="*/ 636469 h 637126"/>
                  <a:gd name="connsiteX3" fmla="*/ 137856 w 140846"/>
                  <a:gd name="connsiteY3" fmla="*/ 0 h 637126"/>
                </a:gdLst>
                <a:ahLst/>
                <a:cxnLst>
                  <a:cxn ang="0">
                    <a:pos x="connsiteX0" y="connsiteY0"/>
                  </a:cxn>
                  <a:cxn ang="0">
                    <a:pos x="connsiteX1" y="connsiteY1"/>
                  </a:cxn>
                  <a:cxn ang="0">
                    <a:pos x="connsiteX2" y="connsiteY2"/>
                  </a:cxn>
                  <a:cxn ang="0">
                    <a:pos x="connsiteX3" y="connsiteY3"/>
                  </a:cxn>
                </a:cxnLst>
                <a:rect l="l" t="t" r="r" b="b"/>
                <a:pathLst>
                  <a:path w="140846" h="637126">
                    <a:moveTo>
                      <a:pt x="140846" y="658"/>
                    </a:moveTo>
                    <a:lnTo>
                      <a:pt x="2931" y="637126"/>
                    </a:lnTo>
                    <a:lnTo>
                      <a:pt x="0" y="636469"/>
                    </a:lnTo>
                    <a:lnTo>
                      <a:pt x="137856" y="0"/>
                    </a:lnTo>
                    <a:close/>
                  </a:path>
                </a:pathLst>
              </a:custGeom>
              <a:grpFill/>
              <a:ln w="5978" cap="flat">
                <a:noFill/>
                <a:prstDash val="solid"/>
                <a:miter/>
              </a:ln>
            </p:spPr>
            <p:txBody>
              <a:bodyPr rtlCol="0" anchor="ctr"/>
              <a:lstStyle/>
              <a:p>
                <a:endParaRPr lang="en-GB"/>
              </a:p>
            </p:txBody>
          </p:sp>
          <p:sp>
            <p:nvSpPr>
              <p:cNvPr id="2699" name="Vrije vorm: vorm 2698">
                <a:extLst>
                  <a:ext uri="{FF2B5EF4-FFF2-40B4-BE49-F238E27FC236}">
                    <a16:creationId xmlns:a16="http://schemas.microsoft.com/office/drawing/2014/main" id="{35E74277-BC88-4DF4-B0C8-5D186E4E2EB7}"/>
                  </a:ext>
                </a:extLst>
              </p:cNvPr>
              <p:cNvSpPr/>
              <p:nvPr/>
            </p:nvSpPr>
            <p:spPr>
              <a:xfrm>
                <a:off x="5794887" y="5090139"/>
                <a:ext cx="18307" cy="18427"/>
              </a:xfrm>
              <a:custGeom>
                <a:avLst/>
                <a:gdLst>
                  <a:gd name="connsiteX0" fmla="*/ 213 w 18307"/>
                  <a:gd name="connsiteY0" fmla="*/ 7211 h 18427"/>
                  <a:gd name="connsiteX1" fmla="*/ 11098 w 18307"/>
                  <a:gd name="connsiteY1" fmla="*/ 213 h 18427"/>
                  <a:gd name="connsiteX2" fmla="*/ 18095 w 18307"/>
                  <a:gd name="connsiteY2" fmla="*/ 11218 h 18427"/>
                  <a:gd name="connsiteX3" fmla="*/ 7210 w 18307"/>
                  <a:gd name="connsiteY3" fmla="*/ 18215 h 18427"/>
                  <a:gd name="connsiteX4" fmla="*/ 213 w 18307"/>
                  <a:gd name="connsiteY4" fmla="*/ 7211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7">
                    <a:moveTo>
                      <a:pt x="213" y="7211"/>
                    </a:moveTo>
                    <a:cubicBezTo>
                      <a:pt x="1289" y="2246"/>
                      <a:pt x="6194" y="-864"/>
                      <a:pt x="11098" y="213"/>
                    </a:cubicBezTo>
                    <a:cubicBezTo>
                      <a:pt x="16062" y="1289"/>
                      <a:pt x="19172" y="6253"/>
                      <a:pt x="18095" y="11218"/>
                    </a:cubicBezTo>
                    <a:cubicBezTo>
                      <a:pt x="17019" y="16182"/>
                      <a:pt x="12114" y="19291"/>
                      <a:pt x="7210" y="18215"/>
                    </a:cubicBezTo>
                    <a:cubicBezTo>
                      <a:pt x="2246" y="17079"/>
                      <a:pt x="-864" y="12174"/>
                      <a:pt x="213" y="7211"/>
                    </a:cubicBezTo>
                    <a:close/>
                  </a:path>
                </a:pathLst>
              </a:custGeom>
              <a:grpFill/>
              <a:ln w="5978" cap="flat">
                <a:noFill/>
                <a:prstDash val="solid"/>
                <a:miter/>
              </a:ln>
            </p:spPr>
            <p:txBody>
              <a:bodyPr rtlCol="0" anchor="ctr"/>
              <a:lstStyle/>
              <a:p>
                <a:endParaRPr lang="en-GB"/>
              </a:p>
            </p:txBody>
          </p:sp>
          <p:sp>
            <p:nvSpPr>
              <p:cNvPr id="2700" name="Vrije vorm: vorm 2699">
                <a:extLst>
                  <a:ext uri="{FF2B5EF4-FFF2-40B4-BE49-F238E27FC236}">
                    <a16:creationId xmlns:a16="http://schemas.microsoft.com/office/drawing/2014/main" id="{3A8193ED-2233-44B8-8F1D-94274F052ADB}"/>
                  </a:ext>
                </a:extLst>
              </p:cNvPr>
              <p:cNvSpPr/>
              <p:nvPr/>
            </p:nvSpPr>
            <p:spPr>
              <a:xfrm>
                <a:off x="5657151" y="5725692"/>
                <a:ext cx="18308" cy="18445"/>
              </a:xfrm>
              <a:custGeom>
                <a:avLst/>
                <a:gdLst>
                  <a:gd name="connsiteX0" fmla="*/ 213 w 18308"/>
                  <a:gd name="connsiteY0" fmla="*/ 7228 h 18445"/>
                  <a:gd name="connsiteX1" fmla="*/ 7211 w 18308"/>
                  <a:gd name="connsiteY1" fmla="*/ 18233 h 18445"/>
                  <a:gd name="connsiteX2" fmla="*/ 18095 w 18308"/>
                  <a:gd name="connsiteY2" fmla="*/ 11236 h 18445"/>
                  <a:gd name="connsiteX3" fmla="*/ 11098 w 18308"/>
                  <a:gd name="connsiteY3" fmla="*/ 231 h 18445"/>
                  <a:gd name="connsiteX4" fmla="*/ 213 w 18308"/>
                  <a:gd name="connsiteY4" fmla="*/ 72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5">
                    <a:moveTo>
                      <a:pt x="213" y="7228"/>
                    </a:moveTo>
                    <a:cubicBezTo>
                      <a:pt x="-864" y="12192"/>
                      <a:pt x="2246" y="17097"/>
                      <a:pt x="7211" y="18233"/>
                    </a:cubicBezTo>
                    <a:cubicBezTo>
                      <a:pt x="12174" y="19310"/>
                      <a:pt x="17019" y="16199"/>
                      <a:pt x="18095" y="11236"/>
                    </a:cubicBezTo>
                    <a:cubicBezTo>
                      <a:pt x="19172" y="6272"/>
                      <a:pt x="16062" y="1367"/>
                      <a:pt x="11098" y="231"/>
                    </a:cubicBezTo>
                    <a:cubicBezTo>
                      <a:pt x="6194" y="-905"/>
                      <a:pt x="1289" y="2265"/>
                      <a:pt x="213" y="7228"/>
                    </a:cubicBezTo>
                    <a:close/>
                  </a:path>
                </a:pathLst>
              </a:custGeom>
              <a:grpFill/>
              <a:ln w="5978" cap="flat">
                <a:noFill/>
                <a:prstDash val="solid"/>
                <a:miter/>
              </a:ln>
            </p:spPr>
            <p:txBody>
              <a:bodyPr rtlCol="0" anchor="ctr"/>
              <a:lstStyle/>
              <a:p>
                <a:endParaRPr lang="en-GB"/>
              </a:p>
            </p:txBody>
          </p:sp>
        </p:grpSp>
        <p:grpSp>
          <p:nvGrpSpPr>
            <p:cNvPr id="901" name="Graphic 3">
              <a:extLst>
                <a:ext uri="{FF2B5EF4-FFF2-40B4-BE49-F238E27FC236}">
                  <a16:creationId xmlns:a16="http://schemas.microsoft.com/office/drawing/2014/main" id="{FEE293B8-2914-4641-9A91-98E472F49F5F}"/>
                </a:ext>
              </a:extLst>
            </p:cNvPr>
            <p:cNvGrpSpPr/>
            <p:nvPr/>
          </p:nvGrpSpPr>
          <p:grpSpPr>
            <a:xfrm>
              <a:off x="5720186" y="5316792"/>
              <a:ext cx="59891" cy="297698"/>
              <a:chOff x="5720186" y="5316792"/>
              <a:chExt cx="59891" cy="297698"/>
            </a:xfrm>
            <a:grpFill/>
          </p:grpSpPr>
          <p:sp>
            <p:nvSpPr>
              <p:cNvPr id="2695" name="Vrije vorm: vorm 2694">
                <a:extLst>
                  <a:ext uri="{FF2B5EF4-FFF2-40B4-BE49-F238E27FC236}">
                    <a16:creationId xmlns:a16="http://schemas.microsoft.com/office/drawing/2014/main" id="{FCC66446-925E-4B40-8429-097AAC57474E}"/>
                  </a:ext>
                </a:extLst>
              </p:cNvPr>
              <p:cNvSpPr/>
              <p:nvPr/>
            </p:nvSpPr>
            <p:spPr>
              <a:xfrm>
                <a:off x="5727757" y="5325334"/>
                <a:ext cx="44735" cy="280615"/>
              </a:xfrm>
              <a:custGeom>
                <a:avLst/>
                <a:gdLst>
                  <a:gd name="connsiteX0" fmla="*/ 44736 w 44735"/>
                  <a:gd name="connsiteY0" fmla="*/ 478 h 280615"/>
                  <a:gd name="connsiteX1" fmla="*/ 2990 w 44735"/>
                  <a:gd name="connsiteY1" fmla="*/ 280615 h 280615"/>
                  <a:gd name="connsiteX2" fmla="*/ 0 w 44735"/>
                  <a:gd name="connsiteY2" fmla="*/ 280137 h 280615"/>
                  <a:gd name="connsiteX3" fmla="*/ 41685 w 44735"/>
                  <a:gd name="connsiteY3" fmla="*/ 0 h 280615"/>
                </a:gdLst>
                <a:ahLst/>
                <a:cxnLst>
                  <a:cxn ang="0">
                    <a:pos x="connsiteX0" y="connsiteY0"/>
                  </a:cxn>
                  <a:cxn ang="0">
                    <a:pos x="connsiteX1" y="connsiteY1"/>
                  </a:cxn>
                  <a:cxn ang="0">
                    <a:pos x="connsiteX2" y="connsiteY2"/>
                  </a:cxn>
                  <a:cxn ang="0">
                    <a:pos x="connsiteX3" y="connsiteY3"/>
                  </a:cxn>
                </a:cxnLst>
                <a:rect l="l" t="t" r="r" b="b"/>
                <a:pathLst>
                  <a:path w="44735" h="280615">
                    <a:moveTo>
                      <a:pt x="44736" y="478"/>
                    </a:moveTo>
                    <a:lnTo>
                      <a:pt x="2990" y="280615"/>
                    </a:lnTo>
                    <a:lnTo>
                      <a:pt x="0" y="280137"/>
                    </a:lnTo>
                    <a:lnTo>
                      <a:pt x="41685" y="0"/>
                    </a:lnTo>
                    <a:close/>
                  </a:path>
                </a:pathLst>
              </a:custGeom>
              <a:grpFill/>
              <a:ln w="5978" cap="flat">
                <a:noFill/>
                <a:prstDash val="solid"/>
                <a:miter/>
              </a:ln>
            </p:spPr>
            <p:txBody>
              <a:bodyPr rtlCol="0" anchor="ctr"/>
              <a:lstStyle/>
              <a:p>
                <a:endParaRPr lang="en-GB"/>
              </a:p>
            </p:txBody>
          </p:sp>
          <p:sp>
            <p:nvSpPr>
              <p:cNvPr id="2696" name="Vrije vorm: vorm 2695">
                <a:extLst>
                  <a:ext uri="{FF2B5EF4-FFF2-40B4-BE49-F238E27FC236}">
                    <a16:creationId xmlns:a16="http://schemas.microsoft.com/office/drawing/2014/main" id="{AB35A334-BCE8-4E14-A69C-24BF1077179F}"/>
                  </a:ext>
                </a:extLst>
              </p:cNvPr>
              <p:cNvSpPr/>
              <p:nvPr/>
            </p:nvSpPr>
            <p:spPr>
              <a:xfrm>
                <a:off x="5720186" y="5596032"/>
                <a:ext cx="18312" cy="18459"/>
              </a:xfrm>
              <a:custGeom>
                <a:avLst/>
                <a:gdLst>
                  <a:gd name="connsiteX0" fmla="*/ 18217 w 18312"/>
                  <a:gd name="connsiteY0" fmla="*/ 10635 h 18459"/>
                  <a:gd name="connsiteX1" fmla="*/ 7810 w 18312"/>
                  <a:gd name="connsiteY1" fmla="*/ 18350 h 18459"/>
                  <a:gd name="connsiteX2" fmla="*/ 95 w 18312"/>
                  <a:gd name="connsiteY2" fmla="*/ 7824 h 18459"/>
                  <a:gd name="connsiteX3" fmla="*/ 10502 w 18312"/>
                  <a:gd name="connsiteY3" fmla="*/ 109 h 18459"/>
                  <a:gd name="connsiteX4" fmla="*/ 18217 w 18312"/>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9">
                    <a:moveTo>
                      <a:pt x="18217" y="10635"/>
                    </a:moveTo>
                    <a:cubicBezTo>
                      <a:pt x="17440" y="15659"/>
                      <a:pt x="12774" y="19128"/>
                      <a:pt x="7810" y="18350"/>
                    </a:cubicBezTo>
                    <a:cubicBezTo>
                      <a:pt x="2787" y="17573"/>
                      <a:pt x="-622" y="12848"/>
                      <a:pt x="95" y="7824"/>
                    </a:cubicBezTo>
                    <a:cubicBezTo>
                      <a:pt x="873" y="2800"/>
                      <a:pt x="5538" y="-669"/>
                      <a:pt x="10502" y="109"/>
                    </a:cubicBezTo>
                    <a:cubicBezTo>
                      <a:pt x="15526" y="886"/>
                      <a:pt x="18935" y="5552"/>
                      <a:pt x="18217" y="10635"/>
                    </a:cubicBezTo>
                    <a:close/>
                  </a:path>
                </a:pathLst>
              </a:custGeom>
              <a:grpFill/>
              <a:ln w="5978" cap="flat">
                <a:noFill/>
                <a:prstDash val="solid"/>
                <a:miter/>
              </a:ln>
            </p:spPr>
            <p:txBody>
              <a:bodyPr rtlCol="0" anchor="ctr"/>
              <a:lstStyle/>
              <a:p>
                <a:endParaRPr lang="en-GB"/>
              </a:p>
            </p:txBody>
          </p:sp>
          <p:sp>
            <p:nvSpPr>
              <p:cNvPr id="2697" name="Vrije vorm: vorm 2696">
                <a:extLst>
                  <a:ext uri="{FF2B5EF4-FFF2-40B4-BE49-F238E27FC236}">
                    <a16:creationId xmlns:a16="http://schemas.microsoft.com/office/drawing/2014/main" id="{09B7094A-717C-406C-911E-8EC86CBE4600}"/>
                  </a:ext>
                </a:extLst>
              </p:cNvPr>
              <p:cNvSpPr/>
              <p:nvPr/>
            </p:nvSpPr>
            <p:spPr>
              <a:xfrm>
                <a:off x="5761738" y="5316792"/>
                <a:ext cx="18339" cy="18459"/>
              </a:xfrm>
              <a:custGeom>
                <a:avLst/>
                <a:gdLst>
                  <a:gd name="connsiteX0" fmla="*/ 18230 w 18339"/>
                  <a:gd name="connsiteY0" fmla="*/ 10635 h 18459"/>
                  <a:gd name="connsiteX1" fmla="*/ 10515 w 18339"/>
                  <a:gd name="connsiteY1" fmla="*/ 109 h 18459"/>
                  <a:gd name="connsiteX2" fmla="*/ 109 w 18339"/>
                  <a:gd name="connsiteY2" fmla="*/ 7824 h 18459"/>
                  <a:gd name="connsiteX3" fmla="*/ 7824 w 18339"/>
                  <a:gd name="connsiteY3" fmla="*/ 18350 h 18459"/>
                  <a:gd name="connsiteX4" fmla="*/ 18230 w 18339"/>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9">
                    <a:moveTo>
                      <a:pt x="18230" y="10635"/>
                    </a:moveTo>
                    <a:cubicBezTo>
                      <a:pt x="19008" y="5611"/>
                      <a:pt x="15539" y="886"/>
                      <a:pt x="10515" y="109"/>
                    </a:cubicBezTo>
                    <a:cubicBezTo>
                      <a:pt x="5491" y="-669"/>
                      <a:pt x="827" y="2800"/>
                      <a:pt x="109" y="7824"/>
                    </a:cubicBezTo>
                    <a:cubicBezTo>
                      <a:pt x="-669" y="12848"/>
                      <a:pt x="2800" y="17573"/>
                      <a:pt x="7824" y="18350"/>
                    </a:cubicBezTo>
                    <a:cubicBezTo>
                      <a:pt x="12848" y="19128"/>
                      <a:pt x="17513" y="15659"/>
                      <a:pt x="18230" y="10635"/>
                    </a:cubicBezTo>
                    <a:close/>
                  </a:path>
                </a:pathLst>
              </a:custGeom>
              <a:grpFill/>
              <a:ln w="5978" cap="flat">
                <a:noFill/>
                <a:prstDash val="solid"/>
                <a:miter/>
              </a:ln>
            </p:spPr>
            <p:txBody>
              <a:bodyPr rtlCol="0" anchor="ctr"/>
              <a:lstStyle/>
              <a:p>
                <a:endParaRPr lang="en-GB"/>
              </a:p>
            </p:txBody>
          </p:sp>
        </p:grpSp>
        <p:grpSp>
          <p:nvGrpSpPr>
            <p:cNvPr id="902" name="Graphic 3">
              <a:extLst>
                <a:ext uri="{FF2B5EF4-FFF2-40B4-BE49-F238E27FC236}">
                  <a16:creationId xmlns:a16="http://schemas.microsoft.com/office/drawing/2014/main" id="{C19942DB-49CA-48F6-8D09-5F8AE1BC03D7}"/>
                </a:ext>
              </a:extLst>
            </p:cNvPr>
            <p:cNvGrpSpPr/>
            <p:nvPr/>
          </p:nvGrpSpPr>
          <p:grpSpPr>
            <a:xfrm>
              <a:off x="4632894" y="2198078"/>
              <a:ext cx="56640" cy="51188"/>
              <a:chOff x="4632894" y="2198078"/>
              <a:chExt cx="56640" cy="51188"/>
            </a:xfrm>
            <a:grpFill/>
          </p:grpSpPr>
          <p:sp>
            <p:nvSpPr>
              <p:cNvPr id="2692" name="Vrije vorm: vorm 2691">
                <a:extLst>
                  <a:ext uri="{FF2B5EF4-FFF2-40B4-BE49-F238E27FC236}">
                    <a16:creationId xmlns:a16="http://schemas.microsoft.com/office/drawing/2014/main" id="{5919D7F1-352F-424D-8367-CC7B8AC725D5}"/>
                  </a:ext>
                </a:extLst>
              </p:cNvPr>
              <p:cNvSpPr/>
              <p:nvPr/>
            </p:nvSpPr>
            <p:spPr>
              <a:xfrm>
                <a:off x="4640761" y="2205790"/>
                <a:ext cx="40967" cy="35764"/>
              </a:xfrm>
              <a:custGeom>
                <a:avLst/>
                <a:gdLst>
                  <a:gd name="connsiteX0" fmla="*/ 40968 w 40967"/>
                  <a:gd name="connsiteY0" fmla="*/ 33432 h 35764"/>
                  <a:gd name="connsiteX1" fmla="*/ 38994 w 40967"/>
                  <a:gd name="connsiteY1" fmla="*/ 35765 h 35764"/>
                  <a:gd name="connsiteX2" fmla="*/ 0 w 40967"/>
                  <a:gd name="connsiteY2" fmla="*/ 2332 h 35764"/>
                  <a:gd name="connsiteX3" fmla="*/ 1974 w 40967"/>
                  <a:gd name="connsiteY3" fmla="*/ 0 h 35764"/>
                </a:gdLst>
                <a:ahLst/>
                <a:cxnLst>
                  <a:cxn ang="0">
                    <a:pos x="connsiteX0" y="connsiteY0"/>
                  </a:cxn>
                  <a:cxn ang="0">
                    <a:pos x="connsiteX1" y="connsiteY1"/>
                  </a:cxn>
                  <a:cxn ang="0">
                    <a:pos x="connsiteX2" y="connsiteY2"/>
                  </a:cxn>
                  <a:cxn ang="0">
                    <a:pos x="connsiteX3" y="connsiteY3"/>
                  </a:cxn>
                </a:cxnLst>
                <a:rect l="l" t="t" r="r" b="b"/>
                <a:pathLst>
                  <a:path w="40967" h="35764">
                    <a:moveTo>
                      <a:pt x="40968" y="33432"/>
                    </a:moveTo>
                    <a:lnTo>
                      <a:pt x="38994" y="35765"/>
                    </a:lnTo>
                    <a:lnTo>
                      <a:pt x="0" y="2332"/>
                    </a:lnTo>
                    <a:lnTo>
                      <a:pt x="1974" y="0"/>
                    </a:lnTo>
                    <a:close/>
                  </a:path>
                </a:pathLst>
              </a:custGeom>
              <a:grpFill/>
              <a:ln w="5978" cap="flat">
                <a:noFill/>
                <a:prstDash val="solid"/>
                <a:miter/>
              </a:ln>
            </p:spPr>
            <p:txBody>
              <a:bodyPr rtlCol="0" anchor="ctr"/>
              <a:lstStyle/>
              <a:p>
                <a:endParaRPr lang="en-GB"/>
              </a:p>
            </p:txBody>
          </p:sp>
          <p:sp>
            <p:nvSpPr>
              <p:cNvPr id="2693" name="Vrije vorm: vorm 2692">
                <a:extLst>
                  <a:ext uri="{FF2B5EF4-FFF2-40B4-BE49-F238E27FC236}">
                    <a16:creationId xmlns:a16="http://schemas.microsoft.com/office/drawing/2014/main" id="{FD6A3969-70F0-47EB-AB3F-0685F05236C0}"/>
                  </a:ext>
                </a:extLst>
              </p:cNvPr>
              <p:cNvSpPr/>
              <p:nvPr/>
            </p:nvSpPr>
            <p:spPr>
              <a:xfrm>
                <a:off x="4632894" y="2198078"/>
                <a:ext cx="18364" cy="18414"/>
              </a:xfrm>
              <a:custGeom>
                <a:avLst/>
                <a:gdLst>
                  <a:gd name="connsiteX0" fmla="*/ 3261 w 18364"/>
                  <a:gd name="connsiteY0" fmla="*/ 16205 h 18414"/>
                  <a:gd name="connsiteX1" fmla="*/ 2185 w 18364"/>
                  <a:gd name="connsiteY1" fmla="*/ 3227 h 18414"/>
                  <a:gd name="connsiteX2" fmla="*/ 15103 w 18364"/>
                  <a:gd name="connsiteY2" fmla="*/ 2210 h 18414"/>
                  <a:gd name="connsiteX3" fmla="*/ 16180 w 18364"/>
                  <a:gd name="connsiteY3" fmla="*/ 15188 h 18414"/>
                  <a:gd name="connsiteX4" fmla="*/ 3261 w 18364"/>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3261" y="16205"/>
                    </a:moveTo>
                    <a:cubicBezTo>
                      <a:pt x="-626" y="12915"/>
                      <a:pt x="-1105" y="7054"/>
                      <a:pt x="2185" y="3227"/>
                    </a:cubicBezTo>
                    <a:cubicBezTo>
                      <a:pt x="5474" y="-661"/>
                      <a:pt x="11215" y="-1080"/>
                      <a:pt x="15103" y="2210"/>
                    </a:cubicBezTo>
                    <a:cubicBezTo>
                      <a:pt x="18990" y="5499"/>
                      <a:pt x="19469" y="11360"/>
                      <a:pt x="16180" y="15188"/>
                    </a:cubicBezTo>
                    <a:cubicBezTo>
                      <a:pt x="12890" y="19076"/>
                      <a:pt x="7089" y="19494"/>
                      <a:pt x="3261" y="16205"/>
                    </a:cubicBezTo>
                    <a:close/>
                  </a:path>
                </a:pathLst>
              </a:custGeom>
              <a:grpFill/>
              <a:ln w="5978" cap="flat">
                <a:noFill/>
                <a:prstDash val="solid"/>
                <a:miter/>
              </a:ln>
            </p:spPr>
            <p:txBody>
              <a:bodyPr rtlCol="0" anchor="ctr"/>
              <a:lstStyle/>
              <a:p>
                <a:endParaRPr lang="en-GB"/>
              </a:p>
            </p:txBody>
          </p:sp>
          <p:sp>
            <p:nvSpPr>
              <p:cNvPr id="2694" name="Vrije vorm: vorm 2693">
                <a:extLst>
                  <a:ext uri="{FF2B5EF4-FFF2-40B4-BE49-F238E27FC236}">
                    <a16:creationId xmlns:a16="http://schemas.microsoft.com/office/drawing/2014/main" id="{E8F2E312-FDF2-48DC-A4B1-8026EE8B04A6}"/>
                  </a:ext>
                </a:extLst>
              </p:cNvPr>
              <p:cNvSpPr/>
              <p:nvPr/>
            </p:nvSpPr>
            <p:spPr>
              <a:xfrm>
                <a:off x="4671215" y="2230852"/>
                <a:ext cx="18319" cy="18414"/>
              </a:xfrm>
              <a:custGeom>
                <a:avLst/>
                <a:gdLst>
                  <a:gd name="connsiteX0" fmla="*/ 3217 w 18319"/>
                  <a:gd name="connsiteY0" fmla="*/ 16205 h 18414"/>
                  <a:gd name="connsiteX1" fmla="*/ 16135 w 18319"/>
                  <a:gd name="connsiteY1" fmla="*/ 15188 h 18414"/>
                  <a:gd name="connsiteX2" fmla="*/ 15059 w 18319"/>
                  <a:gd name="connsiteY2" fmla="*/ 2210 h 18414"/>
                  <a:gd name="connsiteX3" fmla="*/ 2140 w 18319"/>
                  <a:gd name="connsiteY3" fmla="*/ 3227 h 18414"/>
                  <a:gd name="connsiteX4" fmla="*/ 3217 w 18319"/>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4">
                    <a:moveTo>
                      <a:pt x="3217" y="16205"/>
                    </a:moveTo>
                    <a:cubicBezTo>
                      <a:pt x="7105" y="19494"/>
                      <a:pt x="12846" y="19076"/>
                      <a:pt x="16135" y="15188"/>
                    </a:cubicBezTo>
                    <a:cubicBezTo>
                      <a:pt x="19425" y="11301"/>
                      <a:pt x="18946" y="5499"/>
                      <a:pt x="15059" y="2210"/>
                    </a:cubicBezTo>
                    <a:cubicBezTo>
                      <a:pt x="11171" y="-1080"/>
                      <a:pt x="5430" y="-661"/>
                      <a:pt x="2140" y="3227"/>
                    </a:cubicBezTo>
                    <a:cubicBezTo>
                      <a:pt x="-1089" y="7114"/>
                      <a:pt x="-611" y="12915"/>
                      <a:pt x="3217" y="16205"/>
                    </a:cubicBezTo>
                    <a:close/>
                  </a:path>
                </a:pathLst>
              </a:custGeom>
              <a:grpFill/>
              <a:ln w="5978" cap="flat">
                <a:noFill/>
                <a:prstDash val="solid"/>
                <a:miter/>
              </a:ln>
            </p:spPr>
            <p:txBody>
              <a:bodyPr rtlCol="0" anchor="ctr"/>
              <a:lstStyle/>
              <a:p>
                <a:endParaRPr lang="en-GB"/>
              </a:p>
            </p:txBody>
          </p:sp>
        </p:grpSp>
        <p:grpSp>
          <p:nvGrpSpPr>
            <p:cNvPr id="903" name="Graphic 3">
              <a:extLst>
                <a:ext uri="{FF2B5EF4-FFF2-40B4-BE49-F238E27FC236}">
                  <a16:creationId xmlns:a16="http://schemas.microsoft.com/office/drawing/2014/main" id="{5876998F-4900-42F4-9DA4-E181160BC0AC}"/>
                </a:ext>
              </a:extLst>
            </p:cNvPr>
            <p:cNvGrpSpPr/>
            <p:nvPr/>
          </p:nvGrpSpPr>
          <p:grpSpPr>
            <a:xfrm>
              <a:off x="4653517" y="2302707"/>
              <a:ext cx="81301" cy="68420"/>
              <a:chOff x="4653517" y="2302707"/>
              <a:chExt cx="81301" cy="68420"/>
            </a:xfrm>
            <a:grpFill/>
          </p:grpSpPr>
          <p:sp>
            <p:nvSpPr>
              <p:cNvPr id="2689" name="Vrije vorm: vorm 2688">
                <a:extLst>
                  <a:ext uri="{FF2B5EF4-FFF2-40B4-BE49-F238E27FC236}">
                    <a16:creationId xmlns:a16="http://schemas.microsoft.com/office/drawing/2014/main" id="{C98D050A-4DA5-4C6C-99B3-85FDF717DF2D}"/>
                  </a:ext>
                </a:extLst>
              </p:cNvPr>
              <p:cNvSpPr/>
              <p:nvPr/>
            </p:nvSpPr>
            <p:spPr>
              <a:xfrm>
                <a:off x="4661394" y="2310393"/>
                <a:ext cx="65548" cy="52989"/>
              </a:xfrm>
              <a:custGeom>
                <a:avLst/>
                <a:gdLst>
                  <a:gd name="connsiteX0" fmla="*/ 65548 w 65548"/>
                  <a:gd name="connsiteY0" fmla="*/ 50597 h 52989"/>
                  <a:gd name="connsiteX1" fmla="*/ 63694 w 65548"/>
                  <a:gd name="connsiteY1" fmla="*/ 52989 h 52989"/>
                  <a:gd name="connsiteX2" fmla="*/ 0 w 65548"/>
                  <a:gd name="connsiteY2" fmla="*/ 2452 h 52989"/>
                  <a:gd name="connsiteX3" fmla="*/ 1854 w 65548"/>
                  <a:gd name="connsiteY3" fmla="*/ 0 h 52989"/>
                </a:gdLst>
                <a:ahLst/>
                <a:cxnLst>
                  <a:cxn ang="0">
                    <a:pos x="connsiteX0" y="connsiteY0"/>
                  </a:cxn>
                  <a:cxn ang="0">
                    <a:pos x="connsiteX1" y="connsiteY1"/>
                  </a:cxn>
                  <a:cxn ang="0">
                    <a:pos x="connsiteX2" y="connsiteY2"/>
                  </a:cxn>
                  <a:cxn ang="0">
                    <a:pos x="connsiteX3" y="connsiteY3"/>
                  </a:cxn>
                </a:cxnLst>
                <a:rect l="l" t="t" r="r" b="b"/>
                <a:pathLst>
                  <a:path w="65548" h="52989">
                    <a:moveTo>
                      <a:pt x="65548" y="50597"/>
                    </a:moveTo>
                    <a:lnTo>
                      <a:pt x="63694" y="52989"/>
                    </a:lnTo>
                    <a:lnTo>
                      <a:pt x="0" y="2452"/>
                    </a:lnTo>
                    <a:lnTo>
                      <a:pt x="1854" y="0"/>
                    </a:lnTo>
                    <a:close/>
                  </a:path>
                </a:pathLst>
              </a:custGeom>
              <a:grpFill/>
              <a:ln w="5978" cap="flat">
                <a:noFill/>
                <a:prstDash val="solid"/>
                <a:miter/>
              </a:ln>
            </p:spPr>
            <p:txBody>
              <a:bodyPr rtlCol="0" anchor="ctr"/>
              <a:lstStyle/>
              <a:p>
                <a:endParaRPr lang="en-GB"/>
              </a:p>
            </p:txBody>
          </p:sp>
          <p:sp>
            <p:nvSpPr>
              <p:cNvPr id="2690" name="Vrije vorm: vorm 2689">
                <a:extLst>
                  <a:ext uri="{FF2B5EF4-FFF2-40B4-BE49-F238E27FC236}">
                    <a16:creationId xmlns:a16="http://schemas.microsoft.com/office/drawing/2014/main" id="{BEDE8DCA-08AF-4144-951A-84B220DC462C}"/>
                  </a:ext>
                </a:extLst>
              </p:cNvPr>
              <p:cNvSpPr/>
              <p:nvPr/>
            </p:nvSpPr>
            <p:spPr>
              <a:xfrm>
                <a:off x="4653517" y="2302707"/>
                <a:ext cx="18325" cy="18421"/>
              </a:xfrm>
              <a:custGeom>
                <a:avLst/>
                <a:gdLst>
                  <a:gd name="connsiteX0" fmla="*/ 3511 w 18325"/>
                  <a:gd name="connsiteY0" fmla="*/ 16418 h 18421"/>
                  <a:gd name="connsiteX1" fmla="*/ 1956 w 18325"/>
                  <a:gd name="connsiteY1" fmla="*/ 3499 h 18421"/>
                  <a:gd name="connsiteX2" fmla="*/ 14814 w 18325"/>
                  <a:gd name="connsiteY2" fmla="*/ 2004 h 18421"/>
                  <a:gd name="connsiteX3" fmla="*/ 16369 w 18325"/>
                  <a:gd name="connsiteY3" fmla="*/ 14922 h 18421"/>
                  <a:gd name="connsiteX4" fmla="*/ 3511 w 18325"/>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1">
                    <a:moveTo>
                      <a:pt x="3511" y="16418"/>
                    </a:moveTo>
                    <a:cubicBezTo>
                      <a:pt x="-496" y="13248"/>
                      <a:pt x="-1154" y="7447"/>
                      <a:pt x="1956" y="3499"/>
                    </a:cubicBezTo>
                    <a:cubicBezTo>
                      <a:pt x="5066" y="-508"/>
                      <a:pt x="10867" y="-1166"/>
                      <a:pt x="14814" y="2004"/>
                    </a:cubicBezTo>
                    <a:cubicBezTo>
                      <a:pt x="18822" y="5174"/>
                      <a:pt x="19479" y="10975"/>
                      <a:pt x="16369" y="14922"/>
                    </a:cubicBezTo>
                    <a:cubicBezTo>
                      <a:pt x="13259" y="18930"/>
                      <a:pt x="7458" y="19587"/>
                      <a:pt x="3511" y="16418"/>
                    </a:cubicBezTo>
                    <a:close/>
                  </a:path>
                </a:pathLst>
              </a:custGeom>
              <a:grpFill/>
              <a:ln w="5978" cap="flat">
                <a:noFill/>
                <a:prstDash val="solid"/>
                <a:miter/>
              </a:ln>
            </p:spPr>
            <p:txBody>
              <a:bodyPr rtlCol="0" anchor="ctr"/>
              <a:lstStyle/>
              <a:p>
                <a:endParaRPr lang="en-GB"/>
              </a:p>
            </p:txBody>
          </p:sp>
          <p:sp>
            <p:nvSpPr>
              <p:cNvPr id="2691" name="Vrije vorm: vorm 2690">
                <a:extLst>
                  <a:ext uri="{FF2B5EF4-FFF2-40B4-BE49-F238E27FC236}">
                    <a16:creationId xmlns:a16="http://schemas.microsoft.com/office/drawing/2014/main" id="{AFD10A80-4BFE-4E3A-8FD5-823DE3271128}"/>
                  </a:ext>
                </a:extLst>
              </p:cNvPr>
              <p:cNvSpPr/>
              <p:nvPr/>
            </p:nvSpPr>
            <p:spPr>
              <a:xfrm>
                <a:off x="4716494" y="2352706"/>
                <a:ext cx="18325" cy="18421"/>
              </a:xfrm>
              <a:custGeom>
                <a:avLst/>
                <a:gdLst>
                  <a:gd name="connsiteX0" fmla="*/ 3511 w 18325"/>
                  <a:gd name="connsiteY0" fmla="*/ 16418 h 18421"/>
                  <a:gd name="connsiteX1" fmla="*/ 16369 w 18325"/>
                  <a:gd name="connsiteY1" fmla="*/ 14922 h 18421"/>
                  <a:gd name="connsiteX2" fmla="*/ 14814 w 18325"/>
                  <a:gd name="connsiteY2" fmla="*/ 2004 h 18421"/>
                  <a:gd name="connsiteX3" fmla="*/ 1956 w 18325"/>
                  <a:gd name="connsiteY3" fmla="*/ 3499 h 18421"/>
                  <a:gd name="connsiteX4" fmla="*/ 3511 w 18325"/>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1">
                    <a:moveTo>
                      <a:pt x="3511" y="16418"/>
                    </a:moveTo>
                    <a:cubicBezTo>
                      <a:pt x="7518" y="19587"/>
                      <a:pt x="13259" y="18929"/>
                      <a:pt x="16369" y="14922"/>
                    </a:cubicBezTo>
                    <a:cubicBezTo>
                      <a:pt x="19479" y="10915"/>
                      <a:pt x="18821" y="5114"/>
                      <a:pt x="14814" y="2004"/>
                    </a:cubicBezTo>
                    <a:cubicBezTo>
                      <a:pt x="10807" y="-1166"/>
                      <a:pt x="5066" y="-508"/>
                      <a:pt x="1956" y="3499"/>
                    </a:cubicBezTo>
                    <a:cubicBezTo>
                      <a:pt x="-1154" y="7447"/>
                      <a:pt x="-496" y="13248"/>
                      <a:pt x="3511" y="16418"/>
                    </a:cubicBezTo>
                    <a:close/>
                  </a:path>
                </a:pathLst>
              </a:custGeom>
              <a:grpFill/>
              <a:ln w="5978" cap="flat">
                <a:noFill/>
                <a:prstDash val="solid"/>
                <a:miter/>
              </a:ln>
            </p:spPr>
            <p:txBody>
              <a:bodyPr rtlCol="0" anchor="ctr"/>
              <a:lstStyle/>
              <a:p>
                <a:endParaRPr lang="en-GB"/>
              </a:p>
            </p:txBody>
          </p:sp>
        </p:grpSp>
        <p:grpSp>
          <p:nvGrpSpPr>
            <p:cNvPr id="904" name="Graphic 3">
              <a:extLst>
                <a:ext uri="{FF2B5EF4-FFF2-40B4-BE49-F238E27FC236}">
                  <a16:creationId xmlns:a16="http://schemas.microsoft.com/office/drawing/2014/main" id="{BD633F6B-46CD-4971-A926-F24B25794B06}"/>
                </a:ext>
              </a:extLst>
            </p:cNvPr>
            <p:cNvGrpSpPr/>
            <p:nvPr/>
          </p:nvGrpSpPr>
          <p:grpSpPr>
            <a:xfrm>
              <a:off x="5675320" y="5238149"/>
              <a:ext cx="46562" cy="169288"/>
              <a:chOff x="5675320" y="5238149"/>
              <a:chExt cx="46562" cy="169288"/>
            </a:xfrm>
            <a:grpFill/>
          </p:grpSpPr>
          <p:sp>
            <p:nvSpPr>
              <p:cNvPr id="2686" name="Vrije vorm: vorm 2685">
                <a:extLst>
                  <a:ext uri="{FF2B5EF4-FFF2-40B4-BE49-F238E27FC236}">
                    <a16:creationId xmlns:a16="http://schemas.microsoft.com/office/drawing/2014/main" id="{A7190290-49AB-42FB-A6B9-CB9542F5589D}"/>
                  </a:ext>
                </a:extLst>
              </p:cNvPr>
              <p:cNvSpPr/>
              <p:nvPr/>
            </p:nvSpPr>
            <p:spPr>
              <a:xfrm>
                <a:off x="5682901" y="5246568"/>
                <a:ext cx="31398" cy="152389"/>
              </a:xfrm>
              <a:custGeom>
                <a:avLst/>
                <a:gdLst>
                  <a:gd name="connsiteX0" fmla="*/ 31399 w 31398"/>
                  <a:gd name="connsiteY0" fmla="*/ 598 h 152389"/>
                  <a:gd name="connsiteX1" fmla="*/ 2990 w 31398"/>
                  <a:gd name="connsiteY1" fmla="*/ 152389 h 152389"/>
                  <a:gd name="connsiteX2" fmla="*/ 0 w 31398"/>
                  <a:gd name="connsiteY2" fmla="*/ 151791 h 152389"/>
                  <a:gd name="connsiteX3" fmla="*/ 28408 w 31398"/>
                  <a:gd name="connsiteY3" fmla="*/ 0 h 152389"/>
                </a:gdLst>
                <a:ahLst/>
                <a:cxnLst>
                  <a:cxn ang="0">
                    <a:pos x="connsiteX0" y="connsiteY0"/>
                  </a:cxn>
                  <a:cxn ang="0">
                    <a:pos x="connsiteX1" y="connsiteY1"/>
                  </a:cxn>
                  <a:cxn ang="0">
                    <a:pos x="connsiteX2" y="connsiteY2"/>
                  </a:cxn>
                  <a:cxn ang="0">
                    <a:pos x="connsiteX3" y="connsiteY3"/>
                  </a:cxn>
                </a:cxnLst>
                <a:rect l="l" t="t" r="r" b="b"/>
                <a:pathLst>
                  <a:path w="31398" h="152389">
                    <a:moveTo>
                      <a:pt x="31399" y="598"/>
                    </a:moveTo>
                    <a:lnTo>
                      <a:pt x="2990" y="152389"/>
                    </a:lnTo>
                    <a:lnTo>
                      <a:pt x="0" y="151791"/>
                    </a:lnTo>
                    <a:lnTo>
                      <a:pt x="28408" y="0"/>
                    </a:lnTo>
                    <a:close/>
                  </a:path>
                </a:pathLst>
              </a:custGeom>
              <a:grpFill/>
              <a:ln w="5978" cap="flat">
                <a:noFill/>
                <a:prstDash val="solid"/>
                <a:miter/>
              </a:ln>
            </p:spPr>
            <p:txBody>
              <a:bodyPr rtlCol="0" anchor="ctr"/>
              <a:lstStyle/>
              <a:p>
                <a:endParaRPr lang="en-GB"/>
              </a:p>
            </p:txBody>
          </p:sp>
          <p:sp>
            <p:nvSpPr>
              <p:cNvPr id="2687" name="Vrije vorm: vorm 2686">
                <a:extLst>
                  <a:ext uri="{FF2B5EF4-FFF2-40B4-BE49-F238E27FC236}">
                    <a16:creationId xmlns:a16="http://schemas.microsoft.com/office/drawing/2014/main" id="{AAF656C2-C877-432F-84AC-1689FEB917F1}"/>
                  </a:ext>
                </a:extLst>
              </p:cNvPr>
              <p:cNvSpPr/>
              <p:nvPr/>
            </p:nvSpPr>
            <p:spPr>
              <a:xfrm>
                <a:off x="5675320" y="5389040"/>
                <a:ext cx="18317" cy="18397"/>
              </a:xfrm>
              <a:custGeom>
                <a:avLst/>
                <a:gdLst>
                  <a:gd name="connsiteX0" fmla="*/ 18168 w 18317"/>
                  <a:gd name="connsiteY0" fmla="*/ 10933 h 18397"/>
                  <a:gd name="connsiteX1" fmla="*/ 7462 w 18317"/>
                  <a:gd name="connsiteY1" fmla="*/ 18229 h 18397"/>
                  <a:gd name="connsiteX2" fmla="*/ 166 w 18317"/>
                  <a:gd name="connsiteY2" fmla="*/ 7464 h 18397"/>
                  <a:gd name="connsiteX3" fmla="*/ 10871 w 18317"/>
                  <a:gd name="connsiteY3" fmla="*/ 168 h 18397"/>
                  <a:gd name="connsiteX4" fmla="*/ 18168 w 18317"/>
                  <a:gd name="connsiteY4" fmla="*/ 109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97">
                    <a:moveTo>
                      <a:pt x="18168" y="10933"/>
                    </a:moveTo>
                    <a:cubicBezTo>
                      <a:pt x="17211" y="15957"/>
                      <a:pt x="12426" y="19187"/>
                      <a:pt x="7462" y="18229"/>
                    </a:cubicBezTo>
                    <a:cubicBezTo>
                      <a:pt x="2498" y="17273"/>
                      <a:pt x="-791" y="12428"/>
                      <a:pt x="166" y="7464"/>
                    </a:cubicBezTo>
                    <a:cubicBezTo>
                      <a:pt x="1122" y="2441"/>
                      <a:pt x="5907" y="-789"/>
                      <a:pt x="10871" y="168"/>
                    </a:cubicBezTo>
                    <a:cubicBezTo>
                      <a:pt x="15835" y="1065"/>
                      <a:pt x="19065" y="5909"/>
                      <a:pt x="18168" y="10933"/>
                    </a:cubicBezTo>
                    <a:close/>
                  </a:path>
                </a:pathLst>
              </a:custGeom>
              <a:grpFill/>
              <a:ln w="5978" cap="flat">
                <a:noFill/>
                <a:prstDash val="solid"/>
                <a:miter/>
              </a:ln>
            </p:spPr>
            <p:txBody>
              <a:bodyPr rtlCol="0" anchor="ctr"/>
              <a:lstStyle/>
              <a:p>
                <a:endParaRPr lang="en-GB"/>
              </a:p>
            </p:txBody>
          </p:sp>
          <p:sp>
            <p:nvSpPr>
              <p:cNvPr id="2688" name="Vrije vorm: vorm 2687">
                <a:extLst>
                  <a:ext uri="{FF2B5EF4-FFF2-40B4-BE49-F238E27FC236}">
                    <a16:creationId xmlns:a16="http://schemas.microsoft.com/office/drawing/2014/main" id="{B1260714-66EC-4F82-B7E4-5B56511D985B}"/>
                  </a:ext>
                </a:extLst>
              </p:cNvPr>
              <p:cNvSpPr/>
              <p:nvPr/>
            </p:nvSpPr>
            <p:spPr>
              <a:xfrm>
                <a:off x="5703549" y="5238149"/>
                <a:ext cx="18333" cy="18393"/>
              </a:xfrm>
              <a:custGeom>
                <a:avLst/>
                <a:gdLst>
                  <a:gd name="connsiteX0" fmla="*/ 18168 w 18333"/>
                  <a:gd name="connsiteY0" fmla="*/ 10931 h 18393"/>
                  <a:gd name="connsiteX1" fmla="*/ 10871 w 18333"/>
                  <a:gd name="connsiteY1" fmla="*/ 166 h 18393"/>
                  <a:gd name="connsiteX2" fmla="*/ 166 w 18333"/>
                  <a:gd name="connsiteY2" fmla="*/ 7462 h 18393"/>
                  <a:gd name="connsiteX3" fmla="*/ 7462 w 18333"/>
                  <a:gd name="connsiteY3" fmla="*/ 18227 h 18393"/>
                  <a:gd name="connsiteX4" fmla="*/ 18168 w 18333"/>
                  <a:gd name="connsiteY4" fmla="*/ 10931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8168" y="10931"/>
                    </a:moveTo>
                    <a:cubicBezTo>
                      <a:pt x="19125" y="5907"/>
                      <a:pt x="15835" y="1123"/>
                      <a:pt x="10871" y="166"/>
                    </a:cubicBezTo>
                    <a:cubicBezTo>
                      <a:pt x="5907" y="-791"/>
                      <a:pt x="1123" y="2498"/>
                      <a:pt x="166" y="7462"/>
                    </a:cubicBezTo>
                    <a:cubicBezTo>
                      <a:pt x="-791" y="12486"/>
                      <a:pt x="2498" y="17271"/>
                      <a:pt x="7462" y="18227"/>
                    </a:cubicBezTo>
                    <a:cubicBezTo>
                      <a:pt x="12426" y="19185"/>
                      <a:pt x="17211" y="15895"/>
                      <a:pt x="18168" y="10931"/>
                    </a:cubicBezTo>
                    <a:close/>
                  </a:path>
                </a:pathLst>
              </a:custGeom>
              <a:grpFill/>
              <a:ln w="5978" cap="flat">
                <a:noFill/>
                <a:prstDash val="solid"/>
                <a:miter/>
              </a:ln>
            </p:spPr>
            <p:txBody>
              <a:bodyPr rtlCol="0" anchor="ctr"/>
              <a:lstStyle/>
              <a:p>
                <a:endParaRPr lang="en-GB"/>
              </a:p>
            </p:txBody>
          </p:sp>
        </p:grpSp>
        <p:grpSp>
          <p:nvGrpSpPr>
            <p:cNvPr id="905" name="Graphic 3">
              <a:extLst>
                <a:ext uri="{FF2B5EF4-FFF2-40B4-BE49-F238E27FC236}">
                  <a16:creationId xmlns:a16="http://schemas.microsoft.com/office/drawing/2014/main" id="{2D1CFF14-2C99-4452-BE66-33FF00257EB6}"/>
                </a:ext>
              </a:extLst>
            </p:cNvPr>
            <p:cNvGrpSpPr/>
            <p:nvPr/>
          </p:nvGrpSpPr>
          <p:grpSpPr>
            <a:xfrm>
              <a:off x="4540493" y="2120144"/>
              <a:ext cx="226888" cy="235583"/>
              <a:chOff x="4540493" y="2120144"/>
              <a:chExt cx="226888" cy="235583"/>
            </a:xfrm>
            <a:grpFill/>
          </p:grpSpPr>
          <p:sp>
            <p:nvSpPr>
              <p:cNvPr id="2683" name="Vrije vorm: vorm 2682">
                <a:extLst>
                  <a:ext uri="{FF2B5EF4-FFF2-40B4-BE49-F238E27FC236}">
                    <a16:creationId xmlns:a16="http://schemas.microsoft.com/office/drawing/2014/main" id="{1606071D-747F-408C-AD57-C860231C746A}"/>
                  </a:ext>
                </a:extLst>
              </p:cNvPr>
              <p:cNvSpPr/>
              <p:nvPr/>
            </p:nvSpPr>
            <p:spPr>
              <a:xfrm>
                <a:off x="4548239" y="2127921"/>
                <a:ext cx="211418" cy="219970"/>
              </a:xfrm>
              <a:custGeom>
                <a:avLst/>
                <a:gdLst>
                  <a:gd name="connsiteX0" fmla="*/ 211418 w 211418"/>
                  <a:gd name="connsiteY0" fmla="*/ 217818 h 219970"/>
                  <a:gd name="connsiteX1" fmla="*/ 209206 w 211418"/>
                  <a:gd name="connsiteY1" fmla="*/ 219971 h 219970"/>
                  <a:gd name="connsiteX2" fmla="*/ 0 w 211418"/>
                  <a:gd name="connsiteY2" fmla="*/ 2153 h 219970"/>
                  <a:gd name="connsiteX3" fmla="*/ 2213 w 211418"/>
                  <a:gd name="connsiteY3" fmla="*/ 0 h 219970"/>
                </a:gdLst>
                <a:ahLst/>
                <a:cxnLst>
                  <a:cxn ang="0">
                    <a:pos x="connsiteX0" y="connsiteY0"/>
                  </a:cxn>
                  <a:cxn ang="0">
                    <a:pos x="connsiteX1" y="connsiteY1"/>
                  </a:cxn>
                  <a:cxn ang="0">
                    <a:pos x="connsiteX2" y="connsiteY2"/>
                  </a:cxn>
                  <a:cxn ang="0">
                    <a:pos x="connsiteX3" y="connsiteY3"/>
                  </a:cxn>
                </a:cxnLst>
                <a:rect l="l" t="t" r="r" b="b"/>
                <a:pathLst>
                  <a:path w="211418" h="219970">
                    <a:moveTo>
                      <a:pt x="211418" y="217818"/>
                    </a:moveTo>
                    <a:lnTo>
                      <a:pt x="209206" y="219971"/>
                    </a:lnTo>
                    <a:lnTo>
                      <a:pt x="0" y="2153"/>
                    </a:lnTo>
                    <a:lnTo>
                      <a:pt x="2213" y="0"/>
                    </a:lnTo>
                    <a:close/>
                  </a:path>
                </a:pathLst>
              </a:custGeom>
              <a:grpFill/>
              <a:ln w="5978" cap="flat">
                <a:noFill/>
                <a:prstDash val="solid"/>
                <a:miter/>
              </a:ln>
            </p:spPr>
            <p:txBody>
              <a:bodyPr rtlCol="0" anchor="ctr"/>
              <a:lstStyle/>
              <a:p>
                <a:endParaRPr lang="en-GB"/>
              </a:p>
            </p:txBody>
          </p:sp>
          <p:sp>
            <p:nvSpPr>
              <p:cNvPr id="2684" name="Vrije vorm: vorm 2683">
                <a:extLst>
                  <a:ext uri="{FF2B5EF4-FFF2-40B4-BE49-F238E27FC236}">
                    <a16:creationId xmlns:a16="http://schemas.microsoft.com/office/drawing/2014/main" id="{2FC3972E-FB98-42C7-99FF-8A9CE3564271}"/>
                  </a:ext>
                </a:extLst>
              </p:cNvPr>
              <p:cNvSpPr/>
              <p:nvPr/>
            </p:nvSpPr>
            <p:spPr>
              <a:xfrm>
                <a:off x="4749063" y="2337282"/>
                <a:ext cx="18318" cy="18445"/>
              </a:xfrm>
              <a:custGeom>
                <a:avLst/>
                <a:gdLst>
                  <a:gd name="connsiteX0" fmla="*/ 15738 w 18318"/>
                  <a:gd name="connsiteY0" fmla="*/ 2835 h 18445"/>
                  <a:gd name="connsiteX1" fmla="*/ 15559 w 18318"/>
                  <a:gd name="connsiteY1" fmla="*/ 15872 h 18445"/>
                  <a:gd name="connsiteX2" fmla="*/ 2580 w 18318"/>
                  <a:gd name="connsiteY2" fmla="*/ 15633 h 18445"/>
                  <a:gd name="connsiteX3" fmla="*/ 2760 w 18318"/>
                  <a:gd name="connsiteY3" fmla="*/ 2595 h 18445"/>
                  <a:gd name="connsiteX4" fmla="*/ 15738 w 18318"/>
                  <a:gd name="connsiteY4" fmla="*/ 2835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45">
                    <a:moveTo>
                      <a:pt x="15738" y="2835"/>
                    </a:moveTo>
                    <a:cubicBezTo>
                      <a:pt x="19267" y="6483"/>
                      <a:pt x="19147" y="12344"/>
                      <a:pt x="15559" y="15872"/>
                    </a:cubicBezTo>
                    <a:cubicBezTo>
                      <a:pt x="11910" y="19401"/>
                      <a:pt x="6109" y="19282"/>
                      <a:pt x="2580" y="15633"/>
                    </a:cubicBezTo>
                    <a:cubicBezTo>
                      <a:pt x="-948" y="11985"/>
                      <a:pt x="-829" y="6124"/>
                      <a:pt x="2760" y="2595"/>
                    </a:cubicBezTo>
                    <a:cubicBezTo>
                      <a:pt x="6408" y="-933"/>
                      <a:pt x="12210" y="-873"/>
                      <a:pt x="15738" y="2835"/>
                    </a:cubicBezTo>
                    <a:close/>
                  </a:path>
                </a:pathLst>
              </a:custGeom>
              <a:grpFill/>
              <a:ln w="5978" cap="flat">
                <a:noFill/>
                <a:prstDash val="solid"/>
                <a:miter/>
              </a:ln>
            </p:spPr>
            <p:txBody>
              <a:bodyPr rtlCol="0" anchor="ctr"/>
              <a:lstStyle/>
              <a:p>
                <a:endParaRPr lang="en-GB"/>
              </a:p>
            </p:txBody>
          </p:sp>
          <p:sp>
            <p:nvSpPr>
              <p:cNvPr id="2685" name="Vrije vorm: vorm 2684">
                <a:extLst>
                  <a:ext uri="{FF2B5EF4-FFF2-40B4-BE49-F238E27FC236}">
                    <a16:creationId xmlns:a16="http://schemas.microsoft.com/office/drawing/2014/main" id="{2807EB55-2DBA-429C-A6AB-60679B382756}"/>
                  </a:ext>
                </a:extLst>
              </p:cNvPr>
              <p:cNvSpPr/>
              <p:nvPr/>
            </p:nvSpPr>
            <p:spPr>
              <a:xfrm>
                <a:off x="4540493" y="2120144"/>
                <a:ext cx="18340" cy="18423"/>
              </a:xfrm>
              <a:custGeom>
                <a:avLst/>
                <a:gdLst>
                  <a:gd name="connsiteX0" fmla="*/ 15760 w 18340"/>
                  <a:gd name="connsiteY0" fmla="*/ 2813 h 18423"/>
                  <a:gd name="connsiteX1" fmla="*/ 2782 w 18340"/>
                  <a:gd name="connsiteY1" fmla="*/ 2573 h 18423"/>
                  <a:gd name="connsiteX2" fmla="*/ 2602 w 18340"/>
                  <a:gd name="connsiteY2" fmla="*/ 15611 h 18423"/>
                  <a:gd name="connsiteX3" fmla="*/ 15581 w 18340"/>
                  <a:gd name="connsiteY3" fmla="*/ 15851 h 18423"/>
                  <a:gd name="connsiteX4" fmla="*/ 15760 w 18340"/>
                  <a:gd name="connsiteY4" fmla="*/ 2813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3">
                    <a:moveTo>
                      <a:pt x="15760" y="2813"/>
                    </a:moveTo>
                    <a:cubicBezTo>
                      <a:pt x="12231" y="-836"/>
                      <a:pt x="6430" y="-955"/>
                      <a:pt x="2782" y="2573"/>
                    </a:cubicBezTo>
                    <a:cubicBezTo>
                      <a:pt x="-866" y="6102"/>
                      <a:pt x="-926" y="11903"/>
                      <a:pt x="2602" y="15611"/>
                    </a:cubicBezTo>
                    <a:cubicBezTo>
                      <a:pt x="6131" y="19260"/>
                      <a:pt x="11932" y="19379"/>
                      <a:pt x="15581" y="15851"/>
                    </a:cubicBezTo>
                    <a:cubicBezTo>
                      <a:pt x="19169" y="12322"/>
                      <a:pt x="19289" y="6461"/>
                      <a:pt x="15760" y="2813"/>
                    </a:cubicBezTo>
                    <a:close/>
                  </a:path>
                </a:pathLst>
              </a:custGeom>
              <a:grpFill/>
              <a:ln w="5978" cap="flat">
                <a:noFill/>
                <a:prstDash val="solid"/>
                <a:miter/>
              </a:ln>
            </p:spPr>
            <p:txBody>
              <a:bodyPr rtlCol="0" anchor="ctr"/>
              <a:lstStyle/>
              <a:p>
                <a:endParaRPr lang="en-GB"/>
              </a:p>
            </p:txBody>
          </p:sp>
        </p:grpSp>
        <p:grpSp>
          <p:nvGrpSpPr>
            <p:cNvPr id="906" name="Graphic 3">
              <a:extLst>
                <a:ext uri="{FF2B5EF4-FFF2-40B4-BE49-F238E27FC236}">
                  <a16:creationId xmlns:a16="http://schemas.microsoft.com/office/drawing/2014/main" id="{D8008FCB-CF4A-4425-9C0A-6038B25B1814}"/>
                </a:ext>
              </a:extLst>
            </p:cNvPr>
            <p:cNvGrpSpPr/>
            <p:nvPr/>
          </p:nvGrpSpPr>
          <p:grpSpPr>
            <a:xfrm>
              <a:off x="4564997" y="2041320"/>
              <a:ext cx="56216" cy="53468"/>
              <a:chOff x="4564997" y="2041320"/>
              <a:chExt cx="56216" cy="53468"/>
            </a:xfrm>
            <a:grpFill/>
          </p:grpSpPr>
          <p:sp>
            <p:nvSpPr>
              <p:cNvPr id="2680" name="Vrije vorm: vorm 2679">
                <a:extLst>
                  <a:ext uri="{FF2B5EF4-FFF2-40B4-BE49-F238E27FC236}">
                    <a16:creationId xmlns:a16="http://schemas.microsoft.com/office/drawing/2014/main" id="{3D917F89-425B-4BEF-A27F-2154AEE9892D}"/>
                  </a:ext>
                </a:extLst>
              </p:cNvPr>
              <p:cNvSpPr/>
              <p:nvPr/>
            </p:nvSpPr>
            <p:spPr>
              <a:xfrm>
                <a:off x="4572820" y="2049155"/>
                <a:ext cx="40668" cy="37857"/>
              </a:xfrm>
              <a:custGeom>
                <a:avLst/>
                <a:gdLst>
                  <a:gd name="connsiteX0" fmla="*/ 40669 w 40668"/>
                  <a:gd name="connsiteY0" fmla="*/ 35645 h 37857"/>
                  <a:gd name="connsiteX1" fmla="*/ 38576 w 40668"/>
                  <a:gd name="connsiteY1" fmla="*/ 37858 h 37857"/>
                  <a:gd name="connsiteX2" fmla="*/ 0 w 40668"/>
                  <a:gd name="connsiteY2" fmla="*/ 2273 h 37857"/>
                  <a:gd name="connsiteX3" fmla="*/ 2033 w 40668"/>
                  <a:gd name="connsiteY3" fmla="*/ 0 h 37857"/>
                </a:gdLst>
                <a:ahLst/>
                <a:cxnLst>
                  <a:cxn ang="0">
                    <a:pos x="connsiteX0" y="connsiteY0"/>
                  </a:cxn>
                  <a:cxn ang="0">
                    <a:pos x="connsiteX1" y="connsiteY1"/>
                  </a:cxn>
                  <a:cxn ang="0">
                    <a:pos x="connsiteX2" y="connsiteY2"/>
                  </a:cxn>
                  <a:cxn ang="0">
                    <a:pos x="connsiteX3" y="connsiteY3"/>
                  </a:cxn>
                </a:cxnLst>
                <a:rect l="l" t="t" r="r" b="b"/>
                <a:pathLst>
                  <a:path w="40668" h="37857">
                    <a:moveTo>
                      <a:pt x="40669" y="35645"/>
                    </a:moveTo>
                    <a:lnTo>
                      <a:pt x="38576" y="37858"/>
                    </a:lnTo>
                    <a:lnTo>
                      <a:pt x="0" y="2273"/>
                    </a:lnTo>
                    <a:lnTo>
                      <a:pt x="2033" y="0"/>
                    </a:lnTo>
                    <a:close/>
                  </a:path>
                </a:pathLst>
              </a:custGeom>
              <a:grpFill/>
              <a:ln w="5978" cap="flat">
                <a:noFill/>
                <a:prstDash val="solid"/>
                <a:miter/>
              </a:ln>
            </p:spPr>
            <p:txBody>
              <a:bodyPr rtlCol="0" anchor="ctr"/>
              <a:lstStyle/>
              <a:p>
                <a:endParaRPr lang="en-GB"/>
              </a:p>
            </p:txBody>
          </p:sp>
          <p:sp>
            <p:nvSpPr>
              <p:cNvPr id="2681" name="Vrije vorm: vorm 2680">
                <a:extLst>
                  <a:ext uri="{FF2B5EF4-FFF2-40B4-BE49-F238E27FC236}">
                    <a16:creationId xmlns:a16="http://schemas.microsoft.com/office/drawing/2014/main" id="{569E0606-96E1-4E6F-8520-CF08F2601A57}"/>
                  </a:ext>
                </a:extLst>
              </p:cNvPr>
              <p:cNvSpPr/>
              <p:nvPr/>
            </p:nvSpPr>
            <p:spPr>
              <a:xfrm>
                <a:off x="4564997" y="2041320"/>
                <a:ext cx="18277" cy="18481"/>
              </a:xfrm>
              <a:custGeom>
                <a:avLst/>
                <a:gdLst>
                  <a:gd name="connsiteX0" fmla="*/ 2979 w 18277"/>
                  <a:gd name="connsiteY0" fmla="*/ 16029 h 18481"/>
                  <a:gd name="connsiteX1" fmla="*/ 2380 w 18277"/>
                  <a:gd name="connsiteY1" fmla="*/ 2991 h 18481"/>
                  <a:gd name="connsiteX2" fmla="*/ 15299 w 18277"/>
                  <a:gd name="connsiteY2" fmla="*/ 2452 h 18481"/>
                  <a:gd name="connsiteX3" fmla="*/ 15897 w 18277"/>
                  <a:gd name="connsiteY3" fmla="*/ 15490 h 18481"/>
                  <a:gd name="connsiteX4" fmla="*/ 2979 w 18277"/>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81">
                    <a:moveTo>
                      <a:pt x="2979" y="16029"/>
                    </a:moveTo>
                    <a:cubicBezTo>
                      <a:pt x="-729" y="12560"/>
                      <a:pt x="-1029" y="6759"/>
                      <a:pt x="2380" y="2991"/>
                    </a:cubicBezTo>
                    <a:cubicBezTo>
                      <a:pt x="5789" y="-777"/>
                      <a:pt x="11591" y="-1016"/>
                      <a:pt x="15299" y="2452"/>
                    </a:cubicBezTo>
                    <a:cubicBezTo>
                      <a:pt x="19007" y="5921"/>
                      <a:pt x="19306" y="11723"/>
                      <a:pt x="15897" y="15490"/>
                    </a:cubicBezTo>
                    <a:cubicBezTo>
                      <a:pt x="12548" y="19258"/>
                      <a:pt x="6747" y="19497"/>
                      <a:pt x="2979" y="16029"/>
                    </a:cubicBezTo>
                    <a:close/>
                  </a:path>
                </a:pathLst>
              </a:custGeom>
              <a:grpFill/>
              <a:ln w="5978" cap="flat">
                <a:noFill/>
                <a:prstDash val="solid"/>
                <a:miter/>
              </a:ln>
            </p:spPr>
            <p:txBody>
              <a:bodyPr rtlCol="0" anchor="ctr"/>
              <a:lstStyle/>
              <a:p>
                <a:endParaRPr lang="en-GB"/>
              </a:p>
            </p:txBody>
          </p:sp>
          <p:sp>
            <p:nvSpPr>
              <p:cNvPr id="2682" name="Vrije vorm: vorm 2681">
                <a:extLst>
                  <a:ext uri="{FF2B5EF4-FFF2-40B4-BE49-F238E27FC236}">
                    <a16:creationId xmlns:a16="http://schemas.microsoft.com/office/drawing/2014/main" id="{EE86EB0B-3973-480C-B5B0-34F00E79D876}"/>
                  </a:ext>
                </a:extLst>
              </p:cNvPr>
              <p:cNvSpPr/>
              <p:nvPr/>
            </p:nvSpPr>
            <p:spPr>
              <a:xfrm>
                <a:off x="4602914" y="2076307"/>
                <a:ext cx="18298" cy="18481"/>
              </a:xfrm>
              <a:custGeom>
                <a:avLst/>
                <a:gdLst>
                  <a:gd name="connsiteX0" fmla="*/ 2978 w 18298"/>
                  <a:gd name="connsiteY0" fmla="*/ 16029 h 18481"/>
                  <a:gd name="connsiteX1" fmla="*/ 15897 w 18298"/>
                  <a:gd name="connsiteY1" fmla="*/ 15490 h 18481"/>
                  <a:gd name="connsiteX2" fmla="*/ 15299 w 18298"/>
                  <a:gd name="connsiteY2" fmla="*/ 2452 h 18481"/>
                  <a:gd name="connsiteX3" fmla="*/ 2381 w 18298"/>
                  <a:gd name="connsiteY3" fmla="*/ 2991 h 18481"/>
                  <a:gd name="connsiteX4" fmla="*/ 2978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2978" y="16029"/>
                    </a:moveTo>
                    <a:cubicBezTo>
                      <a:pt x="6686" y="19497"/>
                      <a:pt x="12488" y="19258"/>
                      <a:pt x="15897" y="15490"/>
                    </a:cubicBezTo>
                    <a:cubicBezTo>
                      <a:pt x="19306" y="11723"/>
                      <a:pt x="19067" y="5921"/>
                      <a:pt x="15299" y="2452"/>
                    </a:cubicBezTo>
                    <a:cubicBezTo>
                      <a:pt x="11591" y="-1016"/>
                      <a:pt x="5790" y="-777"/>
                      <a:pt x="2381" y="2991"/>
                    </a:cubicBezTo>
                    <a:cubicBezTo>
                      <a:pt x="-1029" y="6759"/>
                      <a:pt x="-730" y="12620"/>
                      <a:pt x="2978" y="16029"/>
                    </a:cubicBezTo>
                    <a:close/>
                  </a:path>
                </a:pathLst>
              </a:custGeom>
              <a:grpFill/>
              <a:ln w="5978" cap="flat">
                <a:noFill/>
                <a:prstDash val="solid"/>
                <a:miter/>
              </a:ln>
            </p:spPr>
            <p:txBody>
              <a:bodyPr rtlCol="0" anchor="ctr"/>
              <a:lstStyle/>
              <a:p>
                <a:endParaRPr lang="en-GB"/>
              </a:p>
            </p:txBody>
          </p:sp>
        </p:grpSp>
        <p:grpSp>
          <p:nvGrpSpPr>
            <p:cNvPr id="907" name="Graphic 3">
              <a:extLst>
                <a:ext uri="{FF2B5EF4-FFF2-40B4-BE49-F238E27FC236}">
                  <a16:creationId xmlns:a16="http://schemas.microsoft.com/office/drawing/2014/main" id="{F744B456-B964-422D-9514-F33D1B343D54}"/>
                </a:ext>
              </a:extLst>
            </p:cNvPr>
            <p:cNvGrpSpPr/>
            <p:nvPr/>
          </p:nvGrpSpPr>
          <p:grpSpPr>
            <a:xfrm>
              <a:off x="4577645" y="2102757"/>
              <a:ext cx="62476" cy="57624"/>
              <a:chOff x="4577645" y="2102757"/>
              <a:chExt cx="62476" cy="57624"/>
            </a:xfrm>
            <a:grpFill/>
          </p:grpSpPr>
          <p:sp>
            <p:nvSpPr>
              <p:cNvPr id="2677" name="Vrije vorm: vorm 2676">
                <a:extLst>
                  <a:ext uri="{FF2B5EF4-FFF2-40B4-BE49-F238E27FC236}">
                    <a16:creationId xmlns:a16="http://schemas.microsoft.com/office/drawing/2014/main" id="{32046D75-5791-4F35-8174-63C41D8FB005}"/>
                  </a:ext>
                </a:extLst>
              </p:cNvPr>
              <p:cNvSpPr/>
              <p:nvPr/>
            </p:nvSpPr>
            <p:spPr>
              <a:xfrm>
                <a:off x="4585499" y="2110457"/>
                <a:ext cx="46829" cy="42164"/>
              </a:xfrm>
              <a:custGeom>
                <a:avLst/>
                <a:gdLst>
                  <a:gd name="connsiteX0" fmla="*/ 46829 w 46829"/>
                  <a:gd name="connsiteY0" fmla="*/ 39891 h 42164"/>
                  <a:gd name="connsiteX1" fmla="*/ 44796 w 46829"/>
                  <a:gd name="connsiteY1" fmla="*/ 42164 h 42164"/>
                  <a:gd name="connsiteX2" fmla="*/ 0 w 46829"/>
                  <a:gd name="connsiteY2" fmla="*/ 2332 h 42164"/>
                  <a:gd name="connsiteX3" fmla="*/ 1974 w 46829"/>
                  <a:gd name="connsiteY3" fmla="*/ 0 h 42164"/>
                </a:gdLst>
                <a:ahLst/>
                <a:cxnLst>
                  <a:cxn ang="0">
                    <a:pos x="connsiteX0" y="connsiteY0"/>
                  </a:cxn>
                  <a:cxn ang="0">
                    <a:pos x="connsiteX1" y="connsiteY1"/>
                  </a:cxn>
                  <a:cxn ang="0">
                    <a:pos x="connsiteX2" y="connsiteY2"/>
                  </a:cxn>
                  <a:cxn ang="0">
                    <a:pos x="connsiteX3" y="connsiteY3"/>
                  </a:cxn>
                </a:cxnLst>
                <a:rect l="l" t="t" r="r" b="b"/>
                <a:pathLst>
                  <a:path w="46829" h="42164">
                    <a:moveTo>
                      <a:pt x="46829" y="39891"/>
                    </a:moveTo>
                    <a:lnTo>
                      <a:pt x="44796" y="42164"/>
                    </a:lnTo>
                    <a:lnTo>
                      <a:pt x="0" y="2332"/>
                    </a:lnTo>
                    <a:lnTo>
                      <a:pt x="1974" y="0"/>
                    </a:lnTo>
                    <a:close/>
                  </a:path>
                </a:pathLst>
              </a:custGeom>
              <a:grpFill/>
              <a:ln w="5978" cap="flat">
                <a:noFill/>
                <a:prstDash val="solid"/>
                <a:miter/>
              </a:ln>
            </p:spPr>
            <p:txBody>
              <a:bodyPr rtlCol="0" anchor="ctr"/>
              <a:lstStyle/>
              <a:p>
                <a:endParaRPr lang="en-GB"/>
              </a:p>
            </p:txBody>
          </p:sp>
          <p:sp>
            <p:nvSpPr>
              <p:cNvPr id="2678" name="Vrije vorm: vorm 2677">
                <a:extLst>
                  <a:ext uri="{FF2B5EF4-FFF2-40B4-BE49-F238E27FC236}">
                    <a16:creationId xmlns:a16="http://schemas.microsoft.com/office/drawing/2014/main" id="{C40DC6A0-1C4B-4E0A-943F-B00362E72DE0}"/>
                  </a:ext>
                </a:extLst>
              </p:cNvPr>
              <p:cNvSpPr/>
              <p:nvPr/>
            </p:nvSpPr>
            <p:spPr>
              <a:xfrm>
                <a:off x="4577645" y="2102757"/>
                <a:ext cx="18338" cy="18370"/>
              </a:xfrm>
              <a:custGeom>
                <a:avLst/>
                <a:gdLst>
                  <a:gd name="connsiteX0" fmla="*/ 3128 w 18338"/>
                  <a:gd name="connsiteY0" fmla="*/ 16073 h 18370"/>
                  <a:gd name="connsiteX1" fmla="*/ 2291 w 18338"/>
                  <a:gd name="connsiteY1" fmla="*/ 3095 h 18370"/>
                  <a:gd name="connsiteX2" fmla="*/ 15210 w 18338"/>
                  <a:gd name="connsiteY2" fmla="*/ 2318 h 18370"/>
                  <a:gd name="connsiteX3" fmla="*/ 16047 w 18338"/>
                  <a:gd name="connsiteY3" fmla="*/ 15296 h 18370"/>
                  <a:gd name="connsiteX4" fmla="*/ 3128 w 18338"/>
                  <a:gd name="connsiteY4" fmla="*/ 16073 h 18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0">
                    <a:moveTo>
                      <a:pt x="3128" y="16073"/>
                    </a:moveTo>
                    <a:cubicBezTo>
                      <a:pt x="-699" y="12724"/>
                      <a:pt x="-1058" y="6863"/>
                      <a:pt x="2291" y="3095"/>
                    </a:cubicBezTo>
                    <a:cubicBezTo>
                      <a:pt x="5641" y="-732"/>
                      <a:pt x="11442" y="-1031"/>
                      <a:pt x="15210" y="2318"/>
                    </a:cubicBezTo>
                    <a:cubicBezTo>
                      <a:pt x="19037" y="5667"/>
                      <a:pt x="19396" y="11528"/>
                      <a:pt x="16047" y="15296"/>
                    </a:cubicBezTo>
                    <a:cubicBezTo>
                      <a:pt x="12698" y="19064"/>
                      <a:pt x="6956" y="19423"/>
                      <a:pt x="3128" y="16073"/>
                    </a:cubicBezTo>
                    <a:close/>
                  </a:path>
                </a:pathLst>
              </a:custGeom>
              <a:grpFill/>
              <a:ln w="5978" cap="flat">
                <a:noFill/>
                <a:prstDash val="solid"/>
                <a:miter/>
              </a:ln>
            </p:spPr>
            <p:txBody>
              <a:bodyPr rtlCol="0" anchor="ctr"/>
              <a:lstStyle/>
              <a:p>
                <a:endParaRPr lang="en-GB"/>
              </a:p>
            </p:txBody>
          </p:sp>
          <p:sp>
            <p:nvSpPr>
              <p:cNvPr id="2679" name="Vrije vorm: vorm 2678">
                <a:extLst>
                  <a:ext uri="{FF2B5EF4-FFF2-40B4-BE49-F238E27FC236}">
                    <a16:creationId xmlns:a16="http://schemas.microsoft.com/office/drawing/2014/main" id="{C8DED45C-BE81-4E3F-8F38-F9886785016D}"/>
                  </a:ext>
                </a:extLst>
              </p:cNvPr>
              <p:cNvSpPr/>
              <p:nvPr/>
            </p:nvSpPr>
            <p:spPr>
              <a:xfrm>
                <a:off x="4621803" y="2141990"/>
                <a:ext cx="18318" cy="18391"/>
              </a:xfrm>
              <a:custGeom>
                <a:avLst/>
                <a:gdLst>
                  <a:gd name="connsiteX0" fmla="*/ 3108 w 18318"/>
                  <a:gd name="connsiteY0" fmla="*/ 16073 h 18391"/>
                  <a:gd name="connsiteX1" fmla="*/ 16027 w 18318"/>
                  <a:gd name="connsiteY1" fmla="*/ 15296 h 18391"/>
                  <a:gd name="connsiteX2" fmla="*/ 15189 w 18318"/>
                  <a:gd name="connsiteY2" fmla="*/ 2318 h 18391"/>
                  <a:gd name="connsiteX3" fmla="*/ 2271 w 18318"/>
                  <a:gd name="connsiteY3" fmla="*/ 3095 h 18391"/>
                  <a:gd name="connsiteX4" fmla="*/ 3108 w 18318"/>
                  <a:gd name="connsiteY4" fmla="*/ 1607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91">
                    <a:moveTo>
                      <a:pt x="3108" y="16073"/>
                    </a:moveTo>
                    <a:cubicBezTo>
                      <a:pt x="6936" y="19423"/>
                      <a:pt x="12678" y="19124"/>
                      <a:pt x="16027" y="15296"/>
                    </a:cubicBezTo>
                    <a:cubicBezTo>
                      <a:pt x="19376" y="11468"/>
                      <a:pt x="19017" y="5667"/>
                      <a:pt x="15189" y="2318"/>
                    </a:cubicBezTo>
                    <a:cubicBezTo>
                      <a:pt x="11421" y="-1031"/>
                      <a:pt x="5620" y="-732"/>
                      <a:pt x="2271" y="3095"/>
                    </a:cubicBezTo>
                    <a:cubicBezTo>
                      <a:pt x="-1078" y="6863"/>
                      <a:pt x="-660" y="12664"/>
                      <a:pt x="3108" y="16073"/>
                    </a:cubicBezTo>
                    <a:close/>
                  </a:path>
                </a:pathLst>
              </a:custGeom>
              <a:grpFill/>
              <a:ln w="5978" cap="flat">
                <a:noFill/>
                <a:prstDash val="solid"/>
                <a:miter/>
              </a:ln>
            </p:spPr>
            <p:txBody>
              <a:bodyPr rtlCol="0" anchor="ctr"/>
              <a:lstStyle/>
              <a:p>
                <a:endParaRPr lang="en-GB"/>
              </a:p>
            </p:txBody>
          </p:sp>
        </p:grpSp>
        <p:grpSp>
          <p:nvGrpSpPr>
            <p:cNvPr id="908" name="Graphic 3">
              <a:extLst>
                <a:ext uri="{FF2B5EF4-FFF2-40B4-BE49-F238E27FC236}">
                  <a16:creationId xmlns:a16="http://schemas.microsoft.com/office/drawing/2014/main" id="{ADB678D6-8B42-4FF9-9034-7640ADF76C8C}"/>
                </a:ext>
              </a:extLst>
            </p:cNvPr>
            <p:cNvGrpSpPr/>
            <p:nvPr/>
          </p:nvGrpSpPr>
          <p:grpSpPr>
            <a:xfrm>
              <a:off x="5584822" y="5037342"/>
              <a:ext cx="47199" cy="127091"/>
              <a:chOff x="5584822" y="5037342"/>
              <a:chExt cx="47199" cy="127091"/>
            </a:xfrm>
            <a:grpFill/>
          </p:grpSpPr>
          <p:sp>
            <p:nvSpPr>
              <p:cNvPr id="2674" name="Vrije vorm: vorm 2673">
                <a:extLst>
                  <a:ext uri="{FF2B5EF4-FFF2-40B4-BE49-F238E27FC236}">
                    <a16:creationId xmlns:a16="http://schemas.microsoft.com/office/drawing/2014/main" id="{0393CB5B-E426-4D46-BD09-31D49C3B714A}"/>
                  </a:ext>
                </a:extLst>
              </p:cNvPr>
              <p:cNvSpPr/>
              <p:nvPr/>
            </p:nvSpPr>
            <p:spPr>
              <a:xfrm>
                <a:off x="5592413" y="5045736"/>
                <a:ext cx="32056" cy="110344"/>
              </a:xfrm>
              <a:custGeom>
                <a:avLst/>
                <a:gdLst>
                  <a:gd name="connsiteX0" fmla="*/ 32057 w 32056"/>
                  <a:gd name="connsiteY0" fmla="*/ 778 h 110344"/>
                  <a:gd name="connsiteX1" fmla="*/ 2990 w 32056"/>
                  <a:gd name="connsiteY1" fmla="*/ 110344 h 110344"/>
                  <a:gd name="connsiteX2" fmla="*/ 0 w 32056"/>
                  <a:gd name="connsiteY2" fmla="*/ 109507 h 110344"/>
                  <a:gd name="connsiteX3" fmla="*/ 29066 w 32056"/>
                  <a:gd name="connsiteY3" fmla="*/ 0 h 110344"/>
                </a:gdLst>
                <a:ahLst/>
                <a:cxnLst>
                  <a:cxn ang="0">
                    <a:pos x="connsiteX0" y="connsiteY0"/>
                  </a:cxn>
                  <a:cxn ang="0">
                    <a:pos x="connsiteX1" y="connsiteY1"/>
                  </a:cxn>
                  <a:cxn ang="0">
                    <a:pos x="connsiteX2" y="connsiteY2"/>
                  </a:cxn>
                  <a:cxn ang="0">
                    <a:pos x="connsiteX3" y="connsiteY3"/>
                  </a:cxn>
                </a:cxnLst>
                <a:rect l="l" t="t" r="r" b="b"/>
                <a:pathLst>
                  <a:path w="32056" h="110344">
                    <a:moveTo>
                      <a:pt x="32057" y="778"/>
                    </a:moveTo>
                    <a:lnTo>
                      <a:pt x="2990" y="110344"/>
                    </a:lnTo>
                    <a:lnTo>
                      <a:pt x="0" y="109507"/>
                    </a:lnTo>
                    <a:lnTo>
                      <a:pt x="29066" y="0"/>
                    </a:lnTo>
                    <a:close/>
                  </a:path>
                </a:pathLst>
              </a:custGeom>
              <a:grpFill/>
              <a:ln w="5978" cap="flat">
                <a:noFill/>
                <a:prstDash val="solid"/>
                <a:miter/>
              </a:ln>
            </p:spPr>
            <p:txBody>
              <a:bodyPr rtlCol="0" anchor="ctr"/>
              <a:lstStyle/>
              <a:p>
                <a:endParaRPr lang="en-GB"/>
              </a:p>
            </p:txBody>
          </p:sp>
          <p:sp>
            <p:nvSpPr>
              <p:cNvPr id="2675" name="Vrije vorm: vorm 2674">
                <a:extLst>
                  <a:ext uri="{FF2B5EF4-FFF2-40B4-BE49-F238E27FC236}">
                    <a16:creationId xmlns:a16="http://schemas.microsoft.com/office/drawing/2014/main" id="{909230CB-D287-4634-BB77-95A264D36648}"/>
                  </a:ext>
                </a:extLst>
              </p:cNvPr>
              <p:cNvSpPr/>
              <p:nvPr/>
            </p:nvSpPr>
            <p:spPr>
              <a:xfrm>
                <a:off x="5584822" y="5145992"/>
                <a:ext cx="18372" cy="18442"/>
              </a:xfrm>
              <a:custGeom>
                <a:avLst/>
                <a:gdLst>
                  <a:gd name="connsiteX0" fmla="*/ 18057 w 18372"/>
                  <a:gd name="connsiteY0" fmla="*/ 11643 h 18442"/>
                  <a:gd name="connsiteX1" fmla="*/ 6813 w 18372"/>
                  <a:gd name="connsiteY1" fmla="*/ 18102 h 18442"/>
                  <a:gd name="connsiteX2" fmla="*/ 295 w 18372"/>
                  <a:gd name="connsiteY2" fmla="*/ 6799 h 18442"/>
                  <a:gd name="connsiteX3" fmla="*/ 11538 w 18372"/>
                  <a:gd name="connsiteY3" fmla="*/ 340 h 18442"/>
                  <a:gd name="connsiteX4" fmla="*/ 18057 w 18372"/>
                  <a:gd name="connsiteY4" fmla="*/ 1164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42">
                    <a:moveTo>
                      <a:pt x="18057" y="11643"/>
                    </a:moveTo>
                    <a:cubicBezTo>
                      <a:pt x="16742" y="16547"/>
                      <a:pt x="11718" y="19478"/>
                      <a:pt x="6813" y="18102"/>
                    </a:cubicBezTo>
                    <a:cubicBezTo>
                      <a:pt x="1909" y="16787"/>
                      <a:pt x="-961" y="11703"/>
                      <a:pt x="295" y="6799"/>
                    </a:cubicBezTo>
                    <a:cubicBezTo>
                      <a:pt x="1610" y="1895"/>
                      <a:pt x="6634" y="-1036"/>
                      <a:pt x="11538" y="340"/>
                    </a:cubicBezTo>
                    <a:cubicBezTo>
                      <a:pt x="16442" y="1655"/>
                      <a:pt x="19373" y="6739"/>
                      <a:pt x="18057" y="11643"/>
                    </a:cubicBezTo>
                    <a:close/>
                  </a:path>
                </a:pathLst>
              </a:custGeom>
              <a:grpFill/>
              <a:ln w="5978" cap="flat">
                <a:noFill/>
                <a:prstDash val="solid"/>
                <a:miter/>
              </a:ln>
            </p:spPr>
            <p:txBody>
              <a:bodyPr rtlCol="0" anchor="ctr"/>
              <a:lstStyle/>
              <a:p>
                <a:endParaRPr lang="en-GB"/>
              </a:p>
            </p:txBody>
          </p:sp>
          <p:sp>
            <p:nvSpPr>
              <p:cNvPr id="2676" name="Vrije vorm: vorm 2675">
                <a:extLst>
                  <a:ext uri="{FF2B5EF4-FFF2-40B4-BE49-F238E27FC236}">
                    <a16:creationId xmlns:a16="http://schemas.microsoft.com/office/drawing/2014/main" id="{DE514FB7-5D1B-4885-BBAA-163C8EB8A4E2}"/>
                  </a:ext>
                </a:extLst>
              </p:cNvPr>
              <p:cNvSpPr/>
              <p:nvPr/>
            </p:nvSpPr>
            <p:spPr>
              <a:xfrm>
                <a:off x="5613629" y="5037342"/>
                <a:ext cx="18392" cy="18421"/>
              </a:xfrm>
              <a:custGeom>
                <a:avLst/>
                <a:gdLst>
                  <a:gd name="connsiteX0" fmla="*/ 18078 w 18392"/>
                  <a:gd name="connsiteY0" fmla="*/ 11623 h 18421"/>
                  <a:gd name="connsiteX1" fmla="*/ 11559 w 18392"/>
                  <a:gd name="connsiteY1" fmla="*/ 319 h 18421"/>
                  <a:gd name="connsiteX2" fmla="*/ 315 w 18392"/>
                  <a:gd name="connsiteY2" fmla="*/ 6778 h 18421"/>
                  <a:gd name="connsiteX3" fmla="*/ 6834 w 18392"/>
                  <a:gd name="connsiteY3" fmla="*/ 18082 h 18421"/>
                  <a:gd name="connsiteX4" fmla="*/ 18078 w 18392"/>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21">
                    <a:moveTo>
                      <a:pt x="18078" y="11623"/>
                    </a:moveTo>
                    <a:cubicBezTo>
                      <a:pt x="19393" y="6718"/>
                      <a:pt x="16463" y="1635"/>
                      <a:pt x="11559" y="319"/>
                    </a:cubicBezTo>
                    <a:cubicBezTo>
                      <a:pt x="6655" y="-997"/>
                      <a:pt x="1631" y="1874"/>
                      <a:pt x="315" y="6778"/>
                    </a:cubicBezTo>
                    <a:cubicBezTo>
                      <a:pt x="-1001" y="11683"/>
                      <a:pt x="1930" y="16766"/>
                      <a:pt x="6834" y="18082"/>
                    </a:cubicBezTo>
                    <a:cubicBezTo>
                      <a:pt x="11738" y="19457"/>
                      <a:pt x="16762" y="16527"/>
                      <a:pt x="18078" y="11623"/>
                    </a:cubicBezTo>
                    <a:close/>
                  </a:path>
                </a:pathLst>
              </a:custGeom>
              <a:grpFill/>
              <a:ln w="5978" cap="flat">
                <a:noFill/>
                <a:prstDash val="solid"/>
                <a:miter/>
              </a:ln>
            </p:spPr>
            <p:txBody>
              <a:bodyPr rtlCol="0" anchor="ctr"/>
              <a:lstStyle/>
              <a:p>
                <a:endParaRPr lang="en-GB"/>
              </a:p>
            </p:txBody>
          </p:sp>
        </p:grpSp>
        <p:grpSp>
          <p:nvGrpSpPr>
            <p:cNvPr id="909" name="Graphic 3">
              <a:extLst>
                <a:ext uri="{FF2B5EF4-FFF2-40B4-BE49-F238E27FC236}">
                  <a16:creationId xmlns:a16="http://schemas.microsoft.com/office/drawing/2014/main" id="{488DB956-E28A-4568-B236-18F1D41D6556}"/>
                </a:ext>
              </a:extLst>
            </p:cNvPr>
            <p:cNvGrpSpPr/>
            <p:nvPr/>
          </p:nvGrpSpPr>
          <p:grpSpPr>
            <a:xfrm>
              <a:off x="4563407" y="2185563"/>
              <a:ext cx="128930" cy="109590"/>
              <a:chOff x="4563407" y="2185563"/>
              <a:chExt cx="128930" cy="109590"/>
            </a:xfrm>
            <a:grpFill/>
          </p:grpSpPr>
          <p:sp>
            <p:nvSpPr>
              <p:cNvPr id="2671" name="Vrije vorm: vorm 2670">
                <a:extLst>
                  <a:ext uri="{FF2B5EF4-FFF2-40B4-BE49-F238E27FC236}">
                    <a16:creationId xmlns:a16="http://schemas.microsoft.com/office/drawing/2014/main" id="{ADB77417-E283-403B-A55C-E23EE91C2CE5}"/>
                  </a:ext>
                </a:extLst>
              </p:cNvPr>
              <p:cNvSpPr/>
              <p:nvPr/>
            </p:nvSpPr>
            <p:spPr>
              <a:xfrm>
                <a:off x="4571265" y="2193290"/>
                <a:ext cx="113215" cy="94136"/>
              </a:xfrm>
              <a:custGeom>
                <a:avLst/>
                <a:gdLst>
                  <a:gd name="connsiteX0" fmla="*/ 113215 w 113215"/>
                  <a:gd name="connsiteY0" fmla="*/ 91804 h 94136"/>
                  <a:gd name="connsiteX1" fmla="*/ 111301 w 113215"/>
                  <a:gd name="connsiteY1" fmla="*/ 94137 h 94136"/>
                  <a:gd name="connsiteX2" fmla="*/ 0 w 113215"/>
                  <a:gd name="connsiteY2" fmla="*/ 2392 h 94136"/>
                  <a:gd name="connsiteX3" fmla="*/ 1914 w 113215"/>
                  <a:gd name="connsiteY3" fmla="*/ 0 h 94136"/>
                </a:gdLst>
                <a:ahLst/>
                <a:cxnLst>
                  <a:cxn ang="0">
                    <a:pos x="connsiteX0" y="connsiteY0"/>
                  </a:cxn>
                  <a:cxn ang="0">
                    <a:pos x="connsiteX1" y="connsiteY1"/>
                  </a:cxn>
                  <a:cxn ang="0">
                    <a:pos x="connsiteX2" y="connsiteY2"/>
                  </a:cxn>
                  <a:cxn ang="0">
                    <a:pos x="connsiteX3" y="connsiteY3"/>
                  </a:cxn>
                </a:cxnLst>
                <a:rect l="l" t="t" r="r" b="b"/>
                <a:pathLst>
                  <a:path w="113215" h="94136">
                    <a:moveTo>
                      <a:pt x="113215" y="91804"/>
                    </a:moveTo>
                    <a:lnTo>
                      <a:pt x="111301" y="94137"/>
                    </a:lnTo>
                    <a:lnTo>
                      <a:pt x="0" y="2392"/>
                    </a:lnTo>
                    <a:lnTo>
                      <a:pt x="1914" y="0"/>
                    </a:lnTo>
                    <a:close/>
                  </a:path>
                </a:pathLst>
              </a:custGeom>
              <a:grpFill/>
              <a:ln w="5978" cap="flat">
                <a:noFill/>
                <a:prstDash val="solid"/>
                <a:miter/>
              </a:ln>
            </p:spPr>
            <p:txBody>
              <a:bodyPr rtlCol="0" anchor="ctr"/>
              <a:lstStyle/>
              <a:p>
                <a:endParaRPr lang="en-GB"/>
              </a:p>
            </p:txBody>
          </p:sp>
          <p:sp>
            <p:nvSpPr>
              <p:cNvPr id="2672" name="Vrije vorm: vorm 2671">
                <a:extLst>
                  <a:ext uri="{FF2B5EF4-FFF2-40B4-BE49-F238E27FC236}">
                    <a16:creationId xmlns:a16="http://schemas.microsoft.com/office/drawing/2014/main" id="{7F68DE4D-3542-43DF-A5BC-D525B4A0C3F5}"/>
                  </a:ext>
                </a:extLst>
              </p:cNvPr>
              <p:cNvSpPr/>
              <p:nvPr/>
            </p:nvSpPr>
            <p:spPr>
              <a:xfrm>
                <a:off x="4563407" y="2185563"/>
                <a:ext cx="18346" cy="18444"/>
              </a:xfrm>
              <a:custGeom>
                <a:avLst/>
                <a:gdLst>
                  <a:gd name="connsiteX0" fmla="*/ 3372 w 18346"/>
                  <a:gd name="connsiteY0" fmla="*/ 16339 h 18444"/>
                  <a:gd name="connsiteX1" fmla="*/ 2056 w 18346"/>
                  <a:gd name="connsiteY1" fmla="*/ 3361 h 18444"/>
                  <a:gd name="connsiteX2" fmla="*/ 14975 w 18346"/>
                  <a:gd name="connsiteY2" fmla="*/ 2105 h 18444"/>
                  <a:gd name="connsiteX3" fmla="*/ 16290 w 18346"/>
                  <a:gd name="connsiteY3" fmla="*/ 15083 h 18444"/>
                  <a:gd name="connsiteX4" fmla="*/ 3372 w 18346"/>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3372" y="16339"/>
                    </a:moveTo>
                    <a:cubicBezTo>
                      <a:pt x="-575" y="13110"/>
                      <a:pt x="-1113" y="7308"/>
                      <a:pt x="2056" y="3361"/>
                    </a:cubicBezTo>
                    <a:cubicBezTo>
                      <a:pt x="5226" y="-586"/>
                      <a:pt x="11027" y="-1124"/>
                      <a:pt x="14975" y="2105"/>
                    </a:cubicBezTo>
                    <a:cubicBezTo>
                      <a:pt x="18922" y="5335"/>
                      <a:pt x="19460" y="11136"/>
                      <a:pt x="16290" y="15083"/>
                    </a:cubicBezTo>
                    <a:cubicBezTo>
                      <a:pt x="13061" y="19031"/>
                      <a:pt x="7260" y="19569"/>
                      <a:pt x="3372" y="16339"/>
                    </a:cubicBezTo>
                    <a:close/>
                  </a:path>
                </a:pathLst>
              </a:custGeom>
              <a:grpFill/>
              <a:ln w="5978" cap="flat">
                <a:noFill/>
                <a:prstDash val="solid"/>
                <a:miter/>
              </a:ln>
            </p:spPr>
            <p:txBody>
              <a:bodyPr rtlCol="0" anchor="ctr"/>
              <a:lstStyle/>
              <a:p>
                <a:endParaRPr lang="en-GB"/>
              </a:p>
            </p:txBody>
          </p:sp>
          <p:sp>
            <p:nvSpPr>
              <p:cNvPr id="2673" name="Vrije vorm: vorm 2672">
                <a:extLst>
                  <a:ext uri="{FF2B5EF4-FFF2-40B4-BE49-F238E27FC236}">
                    <a16:creationId xmlns:a16="http://schemas.microsoft.com/office/drawing/2014/main" id="{7E54F623-A1BF-427C-86E3-ECDDCA55F5CD}"/>
                  </a:ext>
                </a:extLst>
              </p:cNvPr>
              <p:cNvSpPr/>
              <p:nvPr/>
            </p:nvSpPr>
            <p:spPr>
              <a:xfrm>
                <a:off x="4673991" y="2276709"/>
                <a:ext cx="18346" cy="18444"/>
              </a:xfrm>
              <a:custGeom>
                <a:avLst/>
                <a:gdLst>
                  <a:gd name="connsiteX0" fmla="*/ 3372 w 18346"/>
                  <a:gd name="connsiteY0" fmla="*/ 16340 h 18444"/>
                  <a:gd name="connsiteX1" fmla="*/ 16290 w 18346"/>
                  <a:gd name="connsiteY1" fmla="*/ 15083 h 18444"/>
                  <a:gd name="connsiteX2" fmla="*/ 14975 w 18346"/>
                  <a:gd name="connsiteY2" fmla="*/ 2105 h 18444"/>
                  <a:gd name="connsiteX3" fmla="*/ 2056 w 18346"/>
                  <a:gd name="connsiteY3" fmla="*/ 3361 h 18444"/>
                  <a:gd name="connsiteX4" fmla="*/ 3372 w 18346"/>
                  <a:gd name="connsiteY4" fmla="*/ 163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3372" y="16340"/>
                    </a:moveTo>
                    <a:cubicBezTo>
                      <a:pt x="7319" y="19569"/>
                      <a:pt x="13061" y="19031"/>
                      <a:pt x="16290" y="15083"/>
                    </a:cubicBezTo>
                    <a:cubicBezTo>
                      <a:pt x="19460" y="11136"/>
                      <a:pt x="18922" y="5335"/>
                      <a:pt x="14975" y="2105"/>
                    </a:cubicBezTo>
                    <a:cubicBezTo>
                      <a:pt x="11027" y="-1124"/>
                      <a:pt x="5286" y="-586"/>
                      <a:pt x="2056" y="3361"/>
                    </a:cubicBezTo>
                    <a:cubicBezTo>
                      <a:pt x="-1114" y="7309"/>
                      <a:pt x="-575" y="13110"/>
                      <a:pt x="3372" y="16340"/>
                    </a:cubicBezTo>
                    <a:close/>
                  </a:path>
                </a:pathLst>
              </a:custGeom>
              <a:grpFill/>
              <a:ln w="5978" cap="flat">
                <a:noFill/>
                <a:prstDash val="solid"/>
                <a:miter/>
              </a:ln>
            </p:spPr>
            <p:txBody>
              <a:bodyPr rtlCol="0" anchor="ctr"/>
              <a:lstStyle/>
              <a:p>
                <a:endParaRPr lang="en-GB"/>
              </a:p>
            </p:txBody>
          </p:sp>
        </p:grpSp>
        <p:grpSp>
          <p:nvGrpSpPr>
            <p:cNvPr id="910" name="Graphic 3">
              <a:extLst>
                <a:ext uri="{FF2B5EF4-FFF2-40B4-BE49-F238E27FC236}">
                  <a16:creationId xmlns:a16="http://schemas.microsoft.com/office/drawing/2014/main" id="{9B8383DE-E8FB-4BE9-A7C1-61882895AA2F}"/>
                </a:ext>
              </a:extLst>
            </p:cNvPr>
            <p:cNvGrpSpPr/>
            <p:nvPr/>
          </p:nvGrpSpPr>
          <p:grpSpPr>
            <a:xfrm>
              <a:off x="5560481" y="5027956"/>
              <a:ext cx="41610" cy="100030"/>
              <a:chOff x="5560481" y="5027956"/>
              <a:chExt cx="41610" cy="100030"/>
            </a:xfrm>
            <a:grpFill/>
          </p:grpSpPr>
          <p:sp>
            <p:nvSpPr>
              <p:cNvPr id="2668" name="Vrije vorm: vorm 2667">
                <a:extLst>
                  <a:ext uri="{FF2B5EF4-FFF2-40B4-BE49-F238E27FC236}">
                    <a16:creationId xmlns:a16="http://schemas.microsoft.com/office/drawing/2014/main" id="{E4F9022D-A881-471E-BB6B-1E9B6EFECE8E}"/>
                  </a:ext>
                </a:extLst>
              </p:cNvPr>
              <p:cNvSpPr/>
              <p:nvPr/>
            </p:nvSpPr>
            <p:spPr>
              <a:xfrm>
                <a:off x="5568072" y="5036346"/>
                <a:ext cx="26434" cy="83311"/>
              </a:xfrm>
              <a:custGeom>
                <a:avLst/>
                <a:gdLst>
                  <a:gd name="connsiteX0" fmla="*/ 26435 w 26434"/>
                  <a:gd name="connsiteY0" fmla="*/ 837 h 83311"/>
                  <a:gd name="connsiteX1" fmla="*/ 2930 w 26434"/>
                  <a:gd name="connsiteY1" fmla="*/ 83311 h 83311"/>
                  <a:gd name="connsiteX2" fmla="*/ 0 w 26434"/>
                  <a:gd name="connsiteY2" fmla="*/ 82414 h 83311"/>
                  <a:gd name="connsiteX3" fmla="*/ 23504 w 26434"/>
                  <a:gd name="connsiteY3" fmla="*/ 0 h 83311"/>
                </a:gdLst>
                <a:ahLst/>
                <a:cxnLst>
                  <a:cxn ang="0">
                    <a:pos x="connsiteX0" y="connsiteY0"/>
                  </a:cxn>
                  <a:cxn ang="0">
                    <a:pos x="connsiteX1" y="connsiteY1"/>
                  </a:cxn>
                  <a:cxn ang="0">
                    <a:pos x="connsiteX2" y="connsiteY2"/>
                  </a:cxn>
                  <a:cxn ang="0">
                    <a:pos x="connsiteX3" y="connsiteY3"/>
                  </a:cxn>
                </a:cxnLst>
                <a:rect l="l" t="t" r="r" b="b"/>
                <a:pathLst>
                  <a:path w="26434" h="83311">
                    <a:moveTo>
                      <a:pt x="26435" y="837"/>
                    </a:moveTo>
                    <a:lnTo>
                      <a:pt x="2930" y="83311"/>
                    </a:lnTo>
                    <a:lnTo>
                      <a:pt x="0" y="82414"/>
                    </a:lnTo>
                    <a:lnTo>
                      <a:pt x="23504" y="0"/>
                    </a:lnTo>
                    <a:close/>
                  </a:path>
                </a:pathLst>
              </a:custGeom>
              <a:grpFill/>
              <a:ln w="5978" cap="flat">
                <a:noFill/>
                <a:prstDash val="solid"/>
                <a:miter/>
              </a:ln>
            </p:spPr>
            <p:txBody>
              <a:bodyPr rtlCol="0" anchor="ctr"/>
              <a:lstStyle/>
              <a:p>
                <a:endParaRPr lang="en-GB"/>
              </a:p>
            </p:txBody>
          </p:sp>
          <p:sp>
            <p:nvSpPr>
              <p:cNvPr id="2669" name="Vrije vorm: vorm 2668">
                <a:extLst>
                  <a:ext uri="{FF2B5EF4-FFF2-40B4-BE49-F238E27FC236}">
                    <a16:creationId xmlns:a16="http://schemas.microsoft.com/office/drawing/2014/main" id="{D93420CB-5028-4C3D-9674-769F2C5E1EFA}"/>
                  </a:ext>
                </a:extLst>
              </p:cNvPr>
              <p:cNvSpPr/>
              <p:nvPr/>
            </p:nvSpPr>
            <p:spPr>
              <a:xfrm>
                <a:off x="5560481" y="5109534"/>
                <a:ext cx="18345" cy="18453"/>
              </a:xfrm>
              <a:custGeom>
                <a:avLst/>
                <a:gdLst>
                  <a:gd name="connsiteX0" fmla="*/ 17997 w 18345"/>
                  <a:gd name="connsiteY0" fmla="*/ 11798 h 18453"/>
                  <a:gd name="connsiteX1" fmla="*/ 6633 w 18345"/>
                  <a:gd name="connsiteY1" fmla="*/ 18078 h 18453"/>
                  <a:gd name="connsiteX2" fmla="*/ 354 w 18345"/>
                  <a:gd name="connsiteY2" fmla="*/ 6655 h 18453"/>
                  <a:gd name="connsiteX3" fmla="*/ 11717 w 18345"/>
                  <a:gd name="connsiteY3" fmla="*/ 375 h 18453"/>
                  <a:gd name="connsiteX4" fmla="*/ 17997 w 18345"/>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53">
                    <a:moveTo>
                      <a:pt x="17997" y="11798"/>
                    </a:moveTo>
                    <a:cubicBezTo>
                      <a:pt x="16621" y="16702"/>
                      <a:pt x="11538" y="19513"/>
                      <a:pt x="6633" y="18078"/>
                    </a:cubicBezTo>
                    <a:cubicBezTo>
                      <a:pt x="1729" y="16642"/>
                      <a:pt x="-1022" y="11559"/>
                      <a:pt x="354" y="6655"/>
                    </a:cubicBezTo>
                    <a:cubicBezTo>
                      <a:pt x="1729" y="1750"/>
                      <a:pt x="6813" y="-1060"/>
                      <a:pt x="11717" y="375"/>
                    </a:cubicBezTo>
                    <a:cubicBezTo>
                      <a:pt x="16561" y="1810"/>
                      <a:pt x="19372" y="6894"/>
                      <a:pt x="17997" y="11798"/>
                    </a:cubicBezTo>
                    <a:close/>
                  </a:path>
                </a:pathLst>
              </a:custGeom>
              <a:grpFill/>
              <a:ln w="5978" cap="flat">
                <a:noFill/>
                <a:prstDash val="solid"/>
                <a:miter/>
              </a:ln>
            </p:spPr>
            <p:txBody>
              <a:bodyPr rtlCol="0" anchor="ctr"/>
              <a:lstStyle/>
              <a:p>
                <a:endParaRPr lang="en-GB"/>
              </a:p>
            </p:txBody>
          </p:sp>
          <p:sp>
            <p:nvSpPr>
              <p:cNvPr id="2670" name="Vrije vorm: vorm 2669">
                <a:extLst>
                  <a:ext uri="{FF2B5EF4-FFF2-40B4-BE49-F238E27FC236}">
                    <a16:creationId xmlns:a16="http://schemas.microsoft.com/office/drawing/2014/main" id="{A8938D22-B992-49BF-AA30-B9718BB8B334}"/>
                  </a:ext>
                </a:extLst>
              </p:cNvPr>
              <p:cNvSpPr/>
              <p:nvPr/>
            </p:nvSpPr>
            <p:spPr>
              <a:xfrm>
                <a:off x="5583751" y="5027956"/>
                <a:ext cx="18341" cy="18453"/>
              </a:xfrm>
              <a:custGeom>
                <a:avLst/>
                <a:gdLst>
                  <a:gd name="connsiteX0" fmla="*/ 17992 w 18341"/>
                  <a:gd name="connsiteY0" fmla="*/ 11798 h 18453"/>
                  <a:gd name="connsiteX1" fmla="*/ 11713 w 18341"/>
                  <a:gd name="connsiteY1" fmla="*/ 375 h 18453"/>
                  <a:gd name="connsiteX2" fmla="*/ 349 w 18341"/>
                  <a:gd name="connsiteY2" fmla="*/ 6655 h 18453"/>
                  <a:gd name="connsiteX3" fmla="*/ 6629 w 18341"/>
                  <a:gd name="connsiteY3" fmla="*/ 18078 h 18453"/>
                  <a:gd name="connsiteX4" fmla="*/ 17992 w 18341"/>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3">
                    <a:moveTo>
                      <a:pt x="17992" y="11798"/>
                    </a:moveTo>
                    <a:cubicBezTo>
                      <a:pt x="19368" y="6894"/>
                      <a:pt x="16557" y="1810"/>
                      <a:pt x="11713" y="375"/>
                    </a:cubicBezTo>
                    <a:cubicBezTo>
                      <a:pt x="6868" y="-1060"/>
                      <a:pt x="1784" y="1751"/>
                      <a:pt x="349" y="6655"/>
                    </a:cubicBezTo>
                    <a:cubicBezTo>
                      <a:pt x="-1026" y="11559"/>
                      <a:pt x="1784" y="16643"/>
                      <a:pt x="6629" y="18078"/>
                    </a:cubicBezTo>
                    <a:cubicBezTo>
                      <a:pt x="11533" y="19513"/>
                      <a:pt x="16617" y="16703"/>
                      <a:pt x="17992" y="11798"/>
                    </a:cubicBezTo>
                    <a:close/>
                  </a:path>
                </a:pathLst>
              </a:custGeom>
              <a:grpFill/>
              <a:ln w="5978" cap="flat">
                <a:noFill/>
                <a:prstDash val="solid"/>
                <a:miter/>
              </a:ln>
            </p:spPr>
            <p:txBody>
              <a:bodyPr rtlCol="0" anchor="ctr"/>
              <a:lstStyle/>
              <a:p>
                <a:endParaRPr lang="en-GB"/>
              </a:p>
            </p:txBody>
          </p:sp>
        </p:grpSp>
        <p:grpSp>
          <p:nvGrpSpPr>
            <p:cNvPr id="911" name="Graphic 3">
              <a:extLst>
                <a:ext uri="{FF2B5EF4-FFF2-40B4-BE49-F238E27FC236}">
                  <a16:creationId xmlns:a16="http://schemas.microsoft.com/office/drawing/2014/main" id="{CEB00218-4FE8-493F-9B8F-176909F64707}"/>
                </a:ext>
              </a:extLst>
            </p:cNvPr>
            <p:cNvGrpSpPr/>
            <p:nvPr/>
          </p:nvGrpSpPr>
          <p:grpSpPr>
            <a:xfrm>
              <a:off x="5637079" y="5222737"/>
              <a:ext cx="52650" cy="184603"/>
              <a:chOff x="5637079" y="5222737"/>
              <a:chExt cx="52650" cy="184603"/>
            </a:xfrm>
            <a:grpFill/>
          </p:grpSpPr>
          <p:sp>
            <p:nvSpPr>
              <p:cNvPr id="2665" name="Vrije vorm: vorm 2664">
                <a:extLst>
                  <a:ext uri="{FF2B5EF4-FFF2-40B4-BE49-F238E27FC236}">
                    <a16:creationId xmlns:a16="http://schemas.microsoft.com/office/drawing/2014/main" id="{B358C084-B5B3-4300-96C5-D4DA3BCFC0D8}"/>
                  </a:ext>
                </a:extLst>
              </p:cNvPr>
              <p:cNvSpPr/>
              <p:nvPr/>
            </p:nvSpPr>
            <p:spPr>
              <a:xfrm>
                <a:off x="5644625" y="5231198"/>
                <a:ext cx="37499" cy="167699"/>
              </a:xfrm>
              <a:custGeom>
                <a:avLst/>
                <a:gdLst>
                  <a:gd name="connsiteX0" fmla="*/ 37499 w 37499"/>
                  <a:gd name="connsiteY0" fmla="*/ 658 h 167699"/>
                  <a:gd name="connsiteX1" fmla="*/ 2990 w 37499"/>
                  <a:gd name="connsiteY1" fmla="*/ 167699 h 167699"/>
                  <a:gd name="connsiteX2" fmla="*/ 0 w 37499"/>
                  <a:gd name="connsiteY2" fmla="*/ 167101 h 167699"/>
                  <a:gd name="connsiteX3" fmla="*/ 34509 w 37499"/>
                  <a:gd name="connsiteY3" fmla="*/ 0 h 167699"/>
                </a:gdLst>
                <a:ahLst/>
                <a:cxnLst>
                  <a:cxn ang="0">
                    <a:pos x="connsiteX0" y="connsiteY0"/>
                  </a:cxn>
                  <a:cxn ang="0">
                    <a:pos x="connsiteX1" y="connsiteY1"/>
                  </a:cxn>
                  <a:cxn ang="0">
                    <a:pos x="connsiteX2" y="connsiteY2"/>
                  </a:cxn>
                  <a:cxn ang="0">
                    <a:pos x="connsiteX3" y="connsiteY3"/>
                  </a:cxn>
                </a:cxnLst>
                <a:rect l="l" t="t" r="r" b="b"/>
                <a:pathLst>
                  <a:path w="37499" h="167699">
                    <a:moveTo>
                      <a:pt x="37499" y="658"/>
                    </a:moveTo>
                    <a:lnTo>
                      <a:pt x="2990" y="167699"/>
                    </a:lnTo>
                    <a:lnTo>
                      <a:pt x="0" y="167101"/>
                    </a:lnTo>
                    <a:lnTo>
                      <a:pt x="34509" y="0"/>
                    </a:lnTo>
                    <a:close/>
                  </a:path>
                </a:pathLst>
              </a:custGeom>
              <a:grpFill/>
              <a:ln w="5978" cap="flat">
                <a:noFill/>
                <a:prstDash val="solid"/>
                <a:miter/>
              </a:ln>
            </p:spPr>
            <p:txBody>
              <a:bodyPr rtlCol="0" anchor="ctr"/>
              <a:lstStyle/>
              <a:p>
                <a:endParaRPr lang="en-GB"/>
              </a:p>
            </p:txBody>
          </p:sp>
          <p:sp>
            <p:nvSpPr>
              <p:cNvPr id="2666" name="Vrije vorm: vorm 2665">
                <a:extLst>
                  <a:ext uri="{FF2B5EF4-FFF2-40B4-BE49-F238E27FC236}">
                    <a16:creationId xmlns:a16="http://schemas.microsoft.com/office/drawing/2014/main" id="{3783A472-A85E-4D88-B399-A29182B799F0}"/>
                  </a:ext>
                </a:extLst>
              </p:cNvPr>
              <p:cNvSpPr/>
              <p:nvPr/>
            </p:nvSpPr>
            <p:spPr>
              <a:xfrm>
                <a:off x="5637079" y="5388899"/>
                <a:ext cx="18321" cy="18441"/>
              </a:xfrm>
              <a:custGeom>
                <a:avLst/>
                <a:gdLst>
                  <a:gd name="connsiteX0" fmla="*/ 18132 w 18321"/>
                  <a:gd name="connsiteY0" fmla="*/ 11135 h 18441"/>
                  <a:gd name="connsiteX1" fmla="*/ 7307 w 18321"/>
                  <a:gd name="connsiteY1" fmla="*/ 18252 h 18441"/>
                  <a:gd name="connsiteX2" fmla="*/ 190 w 18321"/>
                  <a:gd name="connsiteY2" fmla="*/ 7307 h 18441"/>
                  <a:gd name="connsiteX3" fmla="*/ 11015 w 18321"/>
                  <a:gd name="connsiteY3" fmla="*/ 190 h 18441"/>
                  <a:gd name="connsiteX4" fmla="*/ 18132 w 18321"/>
                  <a:gd name="connsiteY4" fmla="*/ 1113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8132" y="11135"/>
                    </a:moveTo>
                    <a:cubicBezTo>
                      <a:pt x="17115" y="16099"/>
                      <a:pt x="12271" y="19268"/>
                      <a:pt x="7307" y="18252"/>
                    </a:cubicBezTo>
                    <a:cubicBezTo>
                      <a:pt x="2343" y="17175"/>
                      <a:pt x="-827" y="12331"/>
                      <a:pt x="190" y="7307"/>
                    </a:cubicBezTo>
                    <a:cubicBezTo>
                      <a:pt x="1206" y="2343"/>
                      <a:pt x="6051" y="-827"/>
                      <a:pt x="11015" y="190"/>
                    </a:cubicBezTo>
                    <a:cubicBezTo>
                      <a:pt x="15979" y="1266"/>
                      <a:pt x="19148" y="6170"/>
                      <a:pt x="18132" y="11135"/>
                    </a:cubicBezTo>
                    <a:close/>
                  </a:path>
                </a:pathLst>
              </a:custGeom>
              <a:grpFill/>
              <a:ln w="5978" cap="flat">
                <a:noFill/>
                <a:prstDash val="solid"/>
                <a:miter/>
              </a:ln>
            </p:spPr>
            <p:txBody>
              <a:bodyPr rtlCol="0" anchor="ctr"/>
              <a:lstStyle/>
              <a:p>
                <a:endParaRPr lang="en-GB"/>
              </a:p>
            </p:txBody>
          </p:sp>
          <p:sp>
            <p:nvSpPr>
              <p:cNvPr id="2667" name="Vrije vorm: vorm 2666">
                <a:extLst>
                  <a:ext uri="{FF2B5EF4-FFF2-40B4-BE49-F238E27FC236}">
                    <a16:creationId xmlns:a16="http://schemas.microsoft.com/office/drawing/2014/main" id="{437C4D52-B5E2-4B35-B8D1-45CBFEC02FAF}"/>
                  </a:ext>
                </a:extLst>
              </p:cNvPr>
              <p:cNvSpPr/>
              <p:nvPr/>
            </p:nvSpPr>
            <p:spPr>
              <a:xfrm>
                <a:off x="5671408" y="5222737"/>
                <a:ext cx="18321" cy="18458"/>
              </a:xfrm>
              <a:custGeom>
                <a:avLst/>
                <a:gdLst>
                  <a:gd name="connsiteX0" fmla="*/ 18132 w 18321"/>
                  <a:gd name="connsiteY0" fmla="*/ 11152 h 18458"/>
                  <a:gd name="connsiteX1" fmla="*/ 11015 w 18321"/>
                  <a:gd name="connsiteY1" fmla="*/ 207 h 18458"/>
                  <a:gd name="connsiteX2" fmla="*/ 190 w 18321"/>
                  <a:gd name="connsiteY2" fmla="*/ 7324 h 18458"/>
                  <a:gd name="connsiteX3" fmla="*/ 7307 w 18321"/>
                  <a:gd name="connsiteY3" fmla="*/ 18269 h 18458"/>
                  <a:gd name="connsiteX4" fmla="*/ 18132 w 18321"/>
                  <a:gd name="connsiteY4" fmla="*/ 1115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58">
                    <a:moveTo>
                      <a:pt x="18132" y="11152"/>
                    </a:moveTo>
                    <a:cubicBezTo>
                      <a:pt x="19149" y="6188"/>
                      <a:pt x="15979" y="1284"/>
                      <a:pt x="11015" y="207"/>
                    </a:cubicBezTo>
                    <a:cubicBezTo>
                      <a:pt x="6051" y="-870"/>
                      <a:pt x="1207" y="2360"/>
                      <a:pt x="190" y="7324"/>
                    </a:cubicBezTo>
                    <a:cubicBezTo>
                      <a:pt x="-827" y="12288"/>
                      <a:pt x="2343" y="17192"/>
                      <a:pt x="7307" y="18269"/>
                    </a:cubicBezTo>
                    <a:cubicBezTo>
                      <a:pt x="12211" y="19286"/>
                      <a:pt x="17055" y="16116"/>
                      <a:pt x="18132" y="11152"/>
                    </a:cubicBezTo>
                    <a:close/>
                  </a:path>
                </a:pathLst>
              </a:custGeom>
              <a:grpFill/>
              <a:ln w="5978" cap="flat">
                <a:noFill/>
                <a:prstDash val="solid"/>
                <a:miter/>
              </a:ln>
            </p:spPr>
            <p:txBody>
              <a:bodyPr rtlCol="0" anchor="ctr"/>
              <a:lstStyle/>
              <a:p>
                <a:endParaRPr lang="en-GB"/>
              </a:p>
            </p:txBody>
          </p:sp>
        </p:grpSp>
        <p:grpSp>
          <p:nvGrpSpPr>
            <p:cNvPr id="912" name="Graphic 3">
              <a:extLst>
                <a:ext uri="{FF2B5EF4-FFF2-40B4-BE49-F238E27FC236}">
                  <a16:creationId xmlns:a16="http://schemas.microsoft.com/office/drawing/2014/main" id="{B262B3D6-434F-480F-9DFA-50178BD0AC61}"/>
                </a:ext>
              </a:extLst>
            </p:cNvPr>
            <p:cNvGrpSpPr/>
            <p:nvPr/>
          </p:nvGrpSpPr>
          <p:grpSpPr>
            <a:xfrm>
              <a:off x="4541090" y="2119491"/>
              <a:ext cx="96173" cy="85039"/>
              <a:chOff x="4541090" y="2119491"/>
              <a:chExt cx="96173" cy="85039"/>
            </a:xfrm>
            <a:grpFill/>
          </p:grpSpPr>
          <p:sp>
            <p:nvSpPr>
              <p:cNvPr id="2662" name="Vrije vorm: vorm 2661">
                <a:extLst>
                  <a:ext uri="{FF2B5EF4-FFF2-40B4-BE49-F238E27FC236}">
                    <a16:creationId xmlns:a16="http://schemas.microsoft.com/office/drawing/2014/main" id="{B79BA4A2-C7E0-4A29-86A6-83E90B21AC01}"/>
                  </a:ext>
                </a:extLst>
              </p:cNvPr>
              <p:cNvSpPr/>
              <p:nvPr/>
            </p:nvSpPr>
            <p:spPr>
              <a:xfrm>
                <a:off x="4548957" y="2127203"/>
                <a:ext cx="80440" cy="69555"/>
              </a:xfrm>
              <a:custGeom>
                <a:avLst/>
                <a:gdLst>
                  <a:gd name="connsiteX0" fmla="*/ 80440 w 80440"/>
                  <a:gd name="connsiteY0" fmla="*/ 67223 h 69555"/>
                  <a:gd name="connsiteX1" fmla="*/ 78527 w 80440"/>
                  <a:gd name="connsiteY1" fmla="*/ 69556 h 69555"/>
                  <a:gd name="connsiteX2" fmla="*/ 0 w 80440"/>
                  <a:gd name="connsiteY2" fmla="*/ 2332 h 69555"/>
                  <a:gd name="connsiteX3" fmla="*/ 1973 w 80440"/>
                  <a:gd name="connsiteY3" fmla="*/ 0 h 69555"/>
                </a:gdLst>
                <a:ahLst/>
                <a:cxnLst>
                  <a:cxn ang="0">
                    <a:pos x="connsiteX0" y="connsiteY0"/>
                  </a:cxn>
                  <a:cxn ang="0">
                    <a:pos x="connsiteX1" y="connsiteY1"/>
                  </a:cxn>
                  <a:cxn ang="0">
                    <a:pos x="connsiteX2" y="connsiteY2"/>
                  </a:cxn>
                  <a:cxn ang="0">
                    <a:pos x="connsiteX3" y="connsiteY3"/>
                  </a:cxn>
                </a:cxnLst>
                <a:rect l="l" t="t" r="r" b="b"/>
                <a:pathLst>
                  <a:path w="80440" h="69555">
                    <a:moveTo>
                      <a:pt x="80440" y="67223"/>
                    </a:moveTo>
                    <a:lnTo>
                      <a:pt x="78527" y="69556"/>
                    </a:lnTo>
                    <a:lnTo>
                      <a:pt x="0" y="2332"/>
                    </a:lnTo>
                    <a:lnTo>
                      <a:pt x="1973" y="0"/>
                    </a:lnTo>
                    <a:close/>
                  </a:path>
                </a:pathLst>
              </a:custGeom>
              <a:grpFill/>
              <a:ln w="5978" cap="flat">
                <a:noFill/>
                <a:prstDash val="solid"/>
                <a:miter/>
              </a:ln>
            </p:spPr>
            <p:txBody>
              <a:bodyPr rtlCol="0" anchor="ctr"/>
              <a:lstStyle/>
              <a:p>
                <a:endParaRPr lang="en-GB"/>
              </a:p>
            </p:txBody>
          </p:sp>
          <p:sp>
            <p:nvSpPr>
              <p:cNvPr id="2663" name="Vrije vorm: vorm 2662">
                <a:extLst>
                  <a:ext uri="{FF2B5EF4-FFF2-40B4-BE49-F238E27FC236}">
                    <a16:creationId xmlns:a16="http://schemas.microsoft.com/office/drawing/2014/main" id="{0F6BC553-361A-49AD-884B-91B0D48BA3E2}"/>
                  </a:ext>
                </a:extLst>
              </p:cNvPr>
              <p:cNvSpPr/>
              <p:nvPr/>
            </p:nvSpPr>
            <p:spPr>
              <a:xfrm>
                <a:off x="4541090" y="2119491"/>
                <a:ext cx="18364" cy="18414"/>
              </a:xfrm>
              <a:custGeom>
                <a:avLst/>
                <a:gdLst>
                  <a:gd name="connsiteX0" fmla="*/ 3261 w 18364"/>
                  <a:gd name="connsiteY0" fmla="*/ 16205 h 18414"/>
                  <a:gd name="connsiteX1" fmla="*/ 2185 w 18364"/>
                  <a:gd name="connsiteY1" fmla="*/ 3227 h 18414"/>
                  <a:gd name="connsiteX2" fmla="*/ 15103 w 18364"/>
                  <a:gd name="connsiteY2" fmla="*/ 2210 h 18414"/>
                  <a:gd name="connsiteX3" fmla="*/ 16179 w 18364"/>
                  <a:gd name="connsiteY3" fmla="*/ 15188 h 18414"/>
                  <a:gd name="connsiteX4" fmla="*/ 3261 w 18364"/>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3261" y="16205"/>
                    </a:moveTo>
                    <a:cubicBezTo>
                      <a:pt x="-627" y="12915"/>
                      <a:pt x="-1105" y="7054"/>
                      <a:pt x="2185" y="3227"/>
                    </a:cubicBezTo>
                    <a:cubicBezTo>
                      <a:pt x="5474" y="-661"/>
                      <a:pt x="11216" y="-1080"/>
                      <a:pt x="15103" y="2210"/>
                    </a:cubicBezTo>
                    <a:cubicBezTo>
                      <a:pt x="18990" y="5499"/>
                      <a:pt x="19469" y="11360"/>
                      <a:pt x="16179" y="15188"/>
                    </a:cubicBezTo>
                    <a:cubicBezTo>
                      <a:pt x="12890" y="19075"/>
                      <a:pt x="7089" y="19494"/>
                      <a:pt x="3261" y="16205"/>
                    </a:cubicBezTo>
                    <a:close/>
                  </a:path>
                </a:pathLst>
              </a:custGeom>
              <a:grpFill/>
              <a:ln w="5978" cap="flat">
                <a:noFill/>
                <a:prstDash val="solid"/>
                <a:miter/>
              </a:ln>
            </p:spPr>
            <p:txBody>
              <a:bodyPr rtlCol="0" anchor="ctr"/>
              <a:lstStyle/>
              <a:p>
                <a:endParaRPr lang="en-GB"/>
              </a:p>
            </p:txBody>
          </p:sp>
          <p:sp>
            <p:nvSpPr>
              <p:cNvPr id="2664" name="Vrije vorm: vorm 2663">
                <a:extLst>
                  <a:ext uri="{FF2B5EF4-FFF2-40B4-BE49-F238E27FC236}">
                    <a16:creationId xmlns:a16="http://schemas.microsoft.com/office/drawing/2014/main" id="{A9482857-75AB-46A5-B203-722DCC1E4B7B}"/>
                  </a:ext>
                </a:extLst>
              </p:cNvPr>
              <p:cNvSpPr/>
              <p:nvPr/>
            </p:nvSpPr>
            <p:spPr>
              <a:xfrm>
                <a:off x="4618944" y="2186116"/>
                <a:ext cx="18319" cy="18414"/>
              </a:xfrm>
              <a:custGeom>
                <a:avLst/>
                <a:gdLst>
                  <a:gd name="connsiteX0" fmla="*/ 3217 w 18319"/>
                  <a:gd name="connsiteY0" fmla="*/ 16205 h 18414"/>
                  <a:gd name="connsiteX1" fmla="*/ 16135 w 18319"/>
                  <a:gd name="connsiteY1" fmla="*/ 15188 h 18414"/>
                  <a:gd name="connsiteX2" fmla="*/ 15059 w 18319"/>
                  <a:gd name="connsiteY2" fmla="*/ 2210 h 18414"/>
                  <a:gd name="connsiteX3" fmla="*/ 2140 w 18319"/>
                  <a:gd name="connsiteY3" fmla="*/ 3227 h 18414"/>
                  <a:gd name="connsiteX4" fmla="*/ 3217 w 18319"/>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4">
                    <a:moveTo>
                      <a:pt x="3217" y="16205"/>
                    </a:moveTo>
                    <a:cubicBezTo>
                      <a:pt x="7104" y="19494"/>
                      <a:pt x="12846" y="19076"/>
                      <a:pt x="16135" y="15188"/>
                    </a:cubicBezTo>
                    <a:cubicBezTo>
                      <a:pt x="19424" y="11301"/>
                      <a:pt x="18946" y="5499"/>
                      <a:pt x="15059" y="2210"/>
                    </a:cubicBezTo>
                    <a:cubicBezTo>
                      <a:pt x="11171" y="-1080"/>
                      <a:pt x="5430" y="-661"/>
                      <a:pt x="2140" y="3227"/>
                    </a:cubicBezTo>
                    <a:cubicBezTo>
                      <a:pt x="-1089" y="7054"/>
                      <a:pt x="-611" y="12915"/>
                      <a:pt x="3217" y="16205"/>
                    </a:cubicBezTo>
                    <a:close/>
                  </a:path>
                </a:pathLst>
              </a:custGeom>
              <a:grpFill/>
              <a:ln w="5978" cap="flat">
                <a:noFill/>
                <a:prstDash val="solid"/>
                <a:miter/>
              </a:ln>
            </p:spPr>
            <p:txBody>
              <a:bodyPr rtlCol="0" anchor="ctr"/>
              <a:lstStyle/>
              <a:p>
                <a:endParaRPr lang="en-GB"/>
              </a:p>
            </p:txBody>
          </p:sp>
        </p:grpSp>
        <p:grpSp>
          <p:nvGrpSpPr>
            <p:cNvPr id="913" name="Graphic 3">
              <a:extLst>
                <a:ext uri="{FF2B5EF4-FFF2-40B4-BE49-F238E27FC236}">
                  <a16:creationId xmlns:a16="http://schemas.microsoft.com/office/drawing/2014/main" id="{C1A3FF3B-EEF4-49FA-8324-7794A9F98871}"/>
                </a:ext>
              </a:extLst>
            </p:cNvPr>
            <p:cNvGrpSpPr/>
            <p:nvPr/>
          </p:nvGrpSpPr>
          <p:grpSpPr>
            <a:xfrm>
              <a:off x="5601805" y="5079028"/>
              <a:ext cx="181328" cy="723226"/>
              <a:chOff x="5601805" y="5079028"/>
              <a:chExt cx="181328" cy="723226"/>
            </a:xfrm>
            <a:grpFill/>
          </p:grpSpPr>
          <p:sp>
            <p:nvSpPr>
              <p:cNvPr id="2659" name="Vrije vorm: vorm 2658">
                <a:extLst>
                  <a:ext uri="{FF2B5EF4-FFF2-40B4-BE49-F238E27FC236}">
                    <a16:creationId xmlns:a16="http://schemas.microsoft.com/office/drawing/2014/main" id="{F60D12C3-1AAC-46BF-8214-AA633FA4006D}"/>
                  </a:ext>
                </a:extLst>
              </p:cNvPr>
              <p:cNvSpPr/>
              <p:nvPr/>
            </p:nvSpPr>
            <p:spPr>
              <a:xfrm>
                <a:off x="5609399" y="5087421"/>
                <a:ext cx="166144" cy="706442"/>
              </a:xfrm>
              <a:custGeom>
                <a:avLst/>
                <a:gdLst>
                  <a:gd name="connsiteX0" fmla="*/ 166144 w 166144"/>
                  <a:gd name="connsiteY0" fmla="*/ 718 h 706442"/>
                  <a:gd name="connsiteX1" fmla="*/ 2990 w 166144"/>
                  <a:gd name="connsiteY1" fmla="*/ 706443 h 706442"/>
                  <a:gd name="connsiteX2" fmla="*/ 0 w 166144"/>
                  <a:gd name="connsiteY2" fmla="*/ 705725 h 706442"/>
                  <a:gd name="connsiteX3" fmla="*/ 163154 w 166144"/>
                  <a:gd name="connsiteY3" fmla="*/ 0 h 706442"/>
                </a:gdLst>
                <a:ahLst/>
                <a:cxnLst>
                  <a:cxn ang="0">
                    <a:pos x="connsiteX0" y="connsiteY0"/>
                  </a:cxn>
                  <a:cxn ang="0">
                    <a:pos x="connsiteX1" y="connsiteY1"/>
                  </a:cxn>
                  <a:cxn ang="0">
                    <a:pos x="connsiteX2" y="connsiteY2"/>
                  </a:cxn>
                  <a:cxn ang="0">
                    <a:pos x="connsiteX3" y="connsiteY3"/>
                  </a:cxn>
                </a:cxnLst>
                <a:rect l="l" t="t" r="r" b="b"/>
                <a:pathLst>
                  <a:path w="166144" h="706442">
                    <a:moveTo>
                      <a:pt x="166144" y="718"/>
                    </a:moveTo>
                    <a:lnTo>
                      <a:pt x="2990" y="706443"/>
                    </a:lnTo>
                    <a:lnTo>
                      <a:pt x="0" y="705725"/>
                    </a:lnTo>
                    <a:lnTo>
                      <a:pt x="163154" y="0"/>
                    </a:lnTo>
                    <a:close/>
                  </a:path>
                </a:pathLst>
              </a:custGeom>
              <a:grpFill/>
              <a:ln w="5978" cap="flat">
                <a:noFill/>
                <a:prstDash val="solid"/>
                <a:miter/>
              </a:ln>
            </p:spPr>
            <p:txBody>
              <a:bodyPr rtlCol="0" anchor="ctr"/>
              <a:lstStyle/>
              <a:p>
                <a:endParaRPr lang="en-GB"/>
              </a:p>
            </p:txBody>
          </p:sp>
          <p:sp>
            <p:nvSpPr>
              <p:cNvPr id="2660" name="Vrije vorm: vorm 2659">
                <a:extLst>
                  <a:ext uri="{FF2B5EF4-FFF2-40B4-BE49-F238E27FC236}">
                    <a16:creationId xmlns:a16="http://schemas.microsoft.com/office/drawing/2014/main" id="{18A3FBA9-804E-47F1-87E4-CE54C14D69D6}"/>
                  </a:ext>
                </a:extLst>
              </p:cNvPr>
              <p:cNvSpPr/>
              <p:nvPr/>
            </p:nvSpPr>
            <p:spPr>
              <a:xfrm>
                <a:off x="5764779" y="5079028"/>
                <a:ext cx="18353" cy="18401"/>
              </a:xfrm>
              <a:custGeom>
                <a:avLst/>
                <a:gdLst>
                  <a:gd name="connsiteX0" fmla="*/ 237 w 18353"/>
                  <a:gd name="connsiteY0" fmla="*/ 7078 h 18401"/>
                  <a:gd name="connsiteX1" fmla="*/ 11242 w 18353"/>
                  <a:gd name="connsiteY1" fmla="*/ 260 h 18401"/>
                  <a:gd name="connsiteX2" fmla="*/ 18120 w 18353"/>
                  <a:gd name="connsiteY2" fmla="*/ 11324 h 18401"/>
                  <a:gd name="connsiteX3" fmla="*/ 7115 w 18353"/>
                  <a:gd name="connsiteY3" fmla="*/ 18142 h 18401"/>
                  <a:gd name="connsiteX4" fmla="*/ 237 w 18353"/>
                  <a:gd name="connsiteY4" fmla="*/ 7078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1">
                    <a:moveTo>
                      <a:pt x="237" y="7078"/>
                    </a:moveTo>
                    <a:cubicBezTo>
                      <a:pt x="1374" y="2114"/>
                      <a:pt x="6338" y="-937"/>
                      <a:pt x="11242" y="260"/>
                    </a:cubicBezTo>
                    <a:cubicBezTo>
                      <a:pt x="16146" y="1456"/>
                      <a:pt x="19256" y="6420"/>
                      <a:pt x="18120" y="11324"/>
                    </a:cubicBezTo>
                    <a:cubicBezTo>
                      <a:pt x="16984" y="16288"/>
                      <a:pt x="12020" y="19338"/>
                      <a:pt x="7115" y="18142"/>
                    </a:cubicBezTo>
                    <a:cubicBezTo>
                      <a:pt x="2151" y="17006"/>
                      <a:pt x="-899" y="12042"/>
                      <a:pt x="237" y="7078"/>
                    </a:cubicBezTo>
                    <a:close/>
                  </a:path>
                </a:pathLst>
              </a:custGeom>
              <a:grpFill/>
              <a:ln w="5978" cap="flat">
                <a:noFill/>
                <a:prstDash val="solid"/>
                <a:miter/>
              </a:ln>
            </p:spPr>
            <p:txBody>
              <a:bodyPr rtlCol="0" anchor="ctr"/>
              <a:lstStyle/>
              <a:p>
                <a:endParaRPr lang="en-GB"/>
              </a:p>
            </p:txBody>
          </p:sp>
          <p:sp>
            <p:nvSpPr>
              <p:cNvPr id="2661" name="Vrije vorm: vorm 2660">
                <a:extLst>
                  <a:ext uri="{FF2B5EF4-FFF2-40B4-BE49-F238E27FC236}">
                    <a16:creationId xmlns:a16="http://schemas.microsoft.com/office/drawing/2014/main" id="{F00A093F-AD27-4435-BB61-E5C13632E881}"/>
                  </a:ext>
                </a:extLst>
              </p:cNvPr>
              <p:cNvSpPr/>
              <p:nvPr/>
            </p:nvSpPr>
            <p:spPr>
              <a:xfrm>
                <a:off x="5601805" y="5783856"/>
                <a:ext cx="18357" cy="18398"/>
              </a:xfrm>
              <a:custGeom>
                <a:avLst/>
                <a:gdLst>
                  <a:gd name="connsiteX0" fmla="*/ 237 w 18357"/>
                  <a:gd name="connsiteY0" fmla="*/ 7078 h 18398"/>
                  <a:gd name="connsiteX1" fmla="*/ 7115 w 18357"/>
                  <a:gd name="connsiteY1" fmla="*/ 18142 h 18398"/>
                  <a:gd name="connsiteX2" fmla="*/ 18120 w 18357"/>
                  <a:gd name="connsiteY2" fmla="*/ 11324 h 18398"/>
                  <a:gd name="connsiteX3" fmla="*/ 11242 w 18357"/>
                  <a:gd name="connsiteY3" fmla="*/ 260 h 18398"/>
                  <a:gd name="connsiteX4" fmla="*/ 237 w 18357"/>
                  <a:gd name="connsiteY4" fmla="*/ 7078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398">
                    <a:moveTo>
                      <a:pt x="237" y="7078"/>
                    </a:moveTo>
                    <a:cubicBezTo>
                      <a:pt x="-899" y="12042"/>
                      <a:pt x="2151" y="17006"/>
                      <a:pt x="7115" y="18142"/>
                    </a:cubicBezTo>
                    <a:cubicBezTo>
                      <a:pt x="12020" y="19338"/>
                      <a:pt x="16984" y="16228"/>
                      <a:pt x="18120" y="11324"/>
                    </a:cubicBezTo>
                    <a:cubicBezTo>
                      <a:pt x="19256" y="6360"/>
                      <a:pt x="16206" y="1396"/>
                      <a:pt x="11242" y="260"/>
                    </a:cubicBezTo>
                    <a:cubicBezTo>
                      <a:pt x="6338" y="-936"/>
                      <a:pt x="1434" y="2114"/>
                      <a:pt x="237" y="7078"/>
                    </a:cubicBezTo>
                    <a:close/>
                  </a:path>
                </a:pathLst>
              </a:custGeom>
              <a:grpFill/>
              <a:ln w="5978" cap="flat">
                <a:noFill/>
                <a:prstDash val="solid"/>
                <a:miter/>
              </a:ln>
            </p:spPr>
            <p:txBody>
              <a:bodyPr rtlCol="0" anchor="ctr"/>
              <a:lstStyle/>
              <a:p>
                <a:endParaRPr lang="en-GB"/>
              </a:p>
            </p:txBody>
          </p:sp>
        </p:grpSp>
        <p:grpSp>
          <p:nvGrpSpPr>
            <p:cNvPr id="914" name="Graphic 3">
              <a:extLst>
                <a:ext uri="{FF2B5EF4-FFF2-40B4-BE49-F238E27FC236}">
                  <a16:creationId xmlns:a16="http://schemas.microsoft.com/office/drawing/2014/main" id="{1F7A99BF-73E4-4C4D-A8A0-AAB0BD956CB1}"/>
                </a:ext>
              </a:extLst>
            </p:cNvPr>
            <p:cNvGrpSpPr/>
            <p:nvPr/>
          </p:nvGrpSpPr>
          <p:grpSpPr>
            <a:xfrm>
              <a:off x="4541254" y="2258548"/>
              <a:ext cx="168528" cy="133175"/>
              <a:chOff x="4541254" y="2258548"/>
              <a:chExt cx="168528" cy="133175"/>
            </a:xfrm>
            <a:grpFill/>
          </p:grpSpPr>
          <p:sp>
            <p:nvSpPr>
              <p:cNvPr id="2656" name="Vrije vorm: vorm 2655">
                <a:extLst>
                  <a:ext uri="{FF2B5EF4-FFF2-40B4-BE49-F238E27FC236}">
                    <a16:creationId xmlns:a16="http://schemas.microsoft.com/office/drawing/2014/main" id="{92FC5A36-244F-48A2-88F3-21386A19A4D3}"/>
                  </a:ext>
                </a:extLst>
              </p:cNvPr>
              <p:cNvSpPr/>
              <p:nvPr/>
            </p:nvSpPr>
            <p:spPr>
              <a:xfrm>
                <a:off x="4549136" y="2266255"/>
                <a:ext cx="152747" cy="117700"/>
              </a:xfrm>
              <a:custGeom>
                <a:avLst/>
                <a:gdLst>
                  <a:gd name="connsiteX0" fmla="*/ 152748 w 152747"/>
                  <a:gd name="connsiteY0" fmla="*/ 115248 h 117700"/>
                  <a:gd name="connsiteX1" fmla="*/ 150894 w 152747"/>
                  <a:gd name="connsiteY1" fmla="*/ 117701 h 117700"/>
                  <a:gd name="connsiteX2" fmla="*/ 0 w 152747"/>
                  <a:gd name="connsiteY2" fmla="*/ 2452 h 117700"/>
                  <a:gd name="connsiteX3" fmla="*/ 1854 w 152747"/>
                  <a:gd name="connsiteY3" fmla="*/ 0 h 117700"/>
                </a:gdLst>
                <a:ahLst/>
                <a:cxnLst>
                  <a:cxn ang="0">
                    <a:pos x="connsiteX0" y="connsiteY0"/>
                  </a:cxn>
                  <a:cxn ang="0">
                    <a:pos x="connsiteX1" y="connsiteY1"/>
                  </a:cxn>
                  <a:cxn ang="0">
                    <a:pos x="connsiteX2" y="connsiteY2"/>
                  </a:cxn>
                  <a:cxn ang="0">
                    <a:pos x="connsiteX3" y="connsiteY3"/>
                  </a:cxn>
                </a:cxnLst>
                <a:rect l="l" t="t" r="r" b="b"/>
                <a:pathLst>
                  <a:path w="152747" h="117700">
                    <a:moveTo>
                      <a:pt x="152748" y="115248"/>
                    </a:moveTo>
                    <a:lnTo>
                      <a:pt x="150894" y="117701"/>
                    </a:lnTo>
                    <a:lnTo>
                      <a:pt x="0" y="2452"/>
                    </a:lnTo>
                    <a:lnTo>
                      <a:pt x="1854" y="0"/>
                    </a:lnTo>
                    <a:close/>
                  </a:path>
                </a:pathLst>
              </a:custGeom>
              <a:grpFill/>
              <a:ln w="5978" cap="flat">
                <a:noFill/>
                <a:prstDash val="solid"/>
                <a:miter/>
              </a:ln>
            </p:spPr>
            <p:txBody>
              <a:bodyPr rtlCol="0" anchor="ctr"/>
              <a:lstStyle/>
              <a:p>
                <a:endParaRPr lang="en-GB"/>
              </a:p>
            </p:txBody>
          </p:sp>
          <p:sp>
            <p:nvSpPr>
              <p:cNvPr id="2657" name="Vrije vorm: vorm 2656">
                <a:extLst>
                  <a:ext uri="{FF2B5EF4-FFF2-40B4-BE49-F238E27FC236}">
                    <a16:creationId xmlns:a16="http://schemas.microsoft.com/office/drawing/2014/main" id="{9AB56F5F-5AF3-4818-904E-2F2868D2748E}"/>
                  </a:ext>
                </a:extLst>
              </p:cNvPr>
              <p:cNvSpPr/>
              <p:nvPr/>
            </p:nvSpPr>
            <p:spPr>
              <a:xfrm>
                <a:off x="4541254" y="2258548"/>
                <a:ext cx="18334" cy="18421"/>
              </a:xfrm>
              <a:custGeom>
                <a:avLst/>
                <a:gdLst>
                  <a:gd name="connsiteX0" fmla="*/ 3635 w 18334"/>
                  <a:gd name="connsiteY0" fmla="*/ 16559 h 18421"/>
                  <a:gd name="connsiteX1" fmla="*/ 1841 w 18334"/>
                  <a:gd name="connsiteY1" fmla="*/ 3641 h 18421"/>
                  <a:gd name="connsiteX2" fmla="*/ 14700 w 18334"/>
                  <a:gd name="connsiteY2" fmla="*/ 1906 h 18421"/>
                  <a:gd name="connsiteX3" fmla="*/ 16494 w 18334"/>
                  <a:gd name="connsiteY3" fmla="*/ 14825 h 18421"/>
                  <a:gd name="connsiteX4" fmla="*/ 3635 w 18334"/>
                  <a:gd name="connsiteY4" fmla="*/ 1655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1">
                    <a:moveTo>
                      <a:pt x="3635" y="16559"/>
                    </a:moveTo>
                    <a:cubicBezTo>
                      <a:pt x="-372" y="13449"/>
                      <a:pt x="-1209" y="7707"/>
                      <a:pt x="1841" y="3641"/>
                    </a:cubicBezTo>
                    <a:cubicBezTo>
                      <a:pt x="4891" y="-426"/>
                      <a:pt x="10633" y="-1204"/>
                      <a:pt x="14700" y="1906"/>
                    </a:cubicBezTo>
                    <a:cubicBezTo>
                      <a:pt x="18706" y="5016"/>
                      <a:pt x="19544" y="10758"/>
                      <a:pt x="16494" y="14825"/>
                    </a:cubicBezTo>
                    <a:cubicBezTo>
                      <a:pt x="13443" y="18832"/>
                      <a:pt x="7642" y="19609"/>
                      <a:pt x="3635" y="16559"/>
                    </a:cubicBezTo>
                    <a:close/>
                  </a:path>
                </a:pathLst>
              </a:custGeom>
              <a:grpFill/>
              <a:ln w="5978" cap="flat">
                <a:noFill/>
                <a:prstDash val="solid"/>
                <a:miter/>
              </a:ln>
            </p:spPr>
            <p:txBody>
              <a:bodyPr rtlCol="0" anchor="ctr"/>
              <a:lstStyle/>
              <a:p>
                <a:endParaRPr lang="en-GB"/>
              </a:p>
            </p:txBody>
          </p:sp>
          <p:sp>
            <p:nvSpPr>
              <p:cNvPr id="2658" name="Vrije vorm: vorm 2657">
                <a:extLst>
                  <a:ext uri="{FF2B5EF4-FFF2-40B4-BE49-F238E27FC236}">
                    <a16:creationId xmlns:a16="http://schemas.microsoft.com/office/drawing/2014/main" id="{6CFCB1E8-A77A-4B0F-92CE-CEEBE05645D7}"/>
                  </a:ext>
                </a:extLst>
              </p:cNvPr>
              <p:cNvSpPr/>
              <p:nvPr/>
            </p:nvSpPr>
            <p:spPr>
              <a:xfrm>
                <a:off x="4691413" y="2373258"/>
                <a:ext cx="18369" cy="18465"/>
              </a:xfrm>
              <a:custGeom>
                <a:avLst/>
                <a:gdLst>
                  <a:gd name="connsiteX0" fmla="*/ 3653 w 18369"/>
                  <a:gd name="connsiteY0" fmla="*/ 16559 h 18465"/>
                  <a:gd name="connsiteX1" fmla="*/ 16511 w 18369"/>
                  <a:gd name="connsiteY1" fmla="*/ 14824 h 18465"/>
                  <a:gd name="connsiteX2" fmla="*/ 14717 w 18369"/>
                  <a:gd name="connsiteY2" fmla="*/ 1906 h 18465"/>
                  <a:gd name="connsiteX3" fmla="*/ 1859 w 18369"/>
                  <a:gd name="connsiteY3" fmla="*/ 3641 h 18465"/>
                  <a:gd name="connsiteX4" fmla="*/ 3653 w 18369"/>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65">
                    <a:moveTo>
                      <a:pt x="3653" y="16559"/>
                    </a:moveTo>
                    <a:cubicBezTo>
                      <a:pt x="7660" y="19669"/>
                      <a:pt x="13461" y="18891"/>
                      <a:pt x="16511" y="14824"/>
                    </a:cubicBezTo>
                    <a:cubicBezTo>
                      <a:pt x="19561" y="10758"/>
                      <a:pt x="18784" y="5016"/>
                      <a:pt x="14717" y="1906"/>
                    </a:cubicBezTo>
                    <a:cubicBezTo>
                      <a:pt x="10650" y="-1204"/>
                      <a:pt x="4908" y="-426"/>
                      <a:pt x="1859" y="3641"/>
                    </a:cubicBezTo>
                    <a:cubicBezTo>
                      <a:pt x="-1192" y="7648"/>
                      <a:pt x="-414" y="13449"/>
                      <a:pt x="3653" y="16559"/>
                    </a:cubicBezTo>
                    <a:close/>
                  </a:path>
                </a:pathLst>
              </a:custGeom>
              <a:grpFill/>
              <a:ln w="5978" cap="flat">
                <a:noFill/>
                <a:prstDash val="solid"/>
                <a:miter/>
              </a:ln>
            </p:spPr>
            <p:txBody>
              <a:bodyPr rtlCol="0" anchor="ctr"/>
              <a:lstStyle/>
              <a:p>
                <a:endParaRPr lang="en-GB"/>
              </a:p>
            </p:txBody>
          </p:sp>
        </p:grpSp>
        <p:grpSp>
          <p:nvGrpSpPr>
            <p:cNvPr id="915" name="Graphic 3">
              <a:extLst>
                <a:ext uri="{FF2B5EF4-FFF2-40B4-BE49-F238E27FC236}">
                  <a16:creationId xmlns:a16="http://schemas.microsoft.com/office/drawing/2014/main" id="{8518EB33-B794-4478-9610-5CFB96621B66}"/>
                </a:ext>
              </a:extLst>
            </p:cNvPr>
            <p:cNvGrpSpPr/>
            <p:nvPr/>
          </p:nvGrpSpPr>
          <p:grpSpPr>
            <a:xfrm>
              <a:off x="5532519" y="5017213"/>
              <a:ext cx="40086" cy="89781"/>
              <a:chOff x="5532519" y="5017213"/>
              <a:chExt cx="40086" cy="89781"/>
            </a:xfrm>
            <a:grpFill/>
          </p:grpSpPr>
          <p:sp>
            <p:nvSpPr>
              <p:cNvPr id="2653" name="Vrije vorm: vorm 2652">
                <a:extLst>
                  <a:ext uri="{FF2B5EF4-FFF2-40B4-BE49-F238E27FC236}">
                    <a16:creationId xmlns:a16="http://schemas.microsoft.com/office/drawing/2014/main" id="{FB5FDA7B-3BFA-4BF9-8CF3-9411E8852CDE}"/>
                  </a:ext>
                </a:extLst>
              </p:cNvPr>
              <p:cNvSpPr/>
              <p:nvPr/>
            </p:nvSpPr>
            <p:spPr>
              <a:xfrm>
                <a:off x="5540022" y="5025521"/>
                <a:ext cx="24999" cy="73144"/>
              </a:xfrm>
              <a:custGeom>
                <a:avLst/>
                <a:gdLst>
                  <a:gd name="connsiteX0" fmla="*/ 24999 w 24999"/>
                  <a:gd name="connsiteY0" fmla="*/ 897 h 73144"/>
                  <a:gd name="connsiteX1" fmla="*/ 2930 w 24999"/>
                  <a:gd name="connsiteY1" fmla="*/ 73144 h 73144"/>
                  <a:gd name="connsiteX2" fmla="*/ 0 w 24999"/>
                  <a:gd name="connsiteY2" fmla="*/ 72247 h 73144"/>
                  <a:gd name="connsiteX3" fmla="*/ 22129 w 24999"/>
                  <a:gd name="connsiteY3" fmla="*/ 0 h 73144"/>
                </a:gdLst>
                <a:ahLst/>
                <a:cxnLst>
                  <a:cxn ang="0">
                    <a:pos x="connsiteX0" y="connsiteY0"/>
                  </a:cxn>
                  <a:cxn ang="0">
                    <a:pos x="connsiteX1" y="connsiteY1"/>
                  </a:cxn>
                  <a:cxn ang="0">
                    <a:pos x="connsiteX2" y="connsiteY2"/>
                  </a:cxn>
                  <a:cxn ang="0">
                    <a:pos x="connsiteX3" y="connsiteY3"/>
                  </a:cxn>
                </a:cxnLst>
                <a:rect l="l" t="t" r="r" b="b"/>
                <a:pathLst>
                  <a:path w="24999" h="73144">
                    <a:moveTo>
                      <a:pt x="24999" y="897"/>
                    </a:moveTo>
                    <a:lnTo>
                      <a:pt x="2930" y="73144"/>
                    </a:lnTo>
                    <a:lnTo>
                      <a:pt x="0" y="72247"/>
                    </a:lnTo>
                    <a:lnTo>
                      <a:pt x="22129" y="0"/>
                    </a:lnTo>
                    <a:close/>
                  </a:path>
                </a:pathLst>
              </a:custGeom>
              <a:grpFill/>
              <a:ln w="5978" cap="flat">
                <a:noFill/>
                <a:prstDash val="solid"/>
                <a:miter/>
              </a:ln>
            </p:spPr>
            <p:txBody>
              <a:bodyPr rtlCol="0" anchor="ctr"/>
              <a:lstStyle/>
              <a:p>
                <a:endParaRPr lang="en-GB"/>
              </a:p>
            </p:txBody>
          </p:sp>
          <p:sp>
            <p:nvSpPr>
              <p:cNvPr id="2654" name="Vrije vorm: vorm 2653">
                <a:extLst>
                  <a:ext uri="{FF2B5EF4-FFF2-40B4-BE49-F238E27FC236}">
                    <a16:creationId xmlns:a16="http://schemas.microsoft.com/office/drawing/2014/main" id="{628E5708-FEB1-46A2-976D-1E9C787A75DE}"/>
                  </a:ext>
                </a:extLst>
              </p:cNvPr>
              <p:cNvSpPr/>
              <p:nvPr/>
            </p:nvSpPr>
            <p:spPr>
              <a:xfrm>
                <a:off x="5532519" y="5088541"/>
                <a:ext cx="18294" cy="18453"/>
              </a:xfrm>
              <a:custGeom>
                <a:avLst/>
                <a:gdLst>
                  <a:gd name="connsiteX0" fmla="*/ 17909 w 18294"/>
                  <a:gd name="connsiteY0" fmla="*/ 11978 h 18453"/>
                  <a:gd name="connsiteX1" fmla="*/ 6486 w 18294"/>
                  <a:gd name="connsiteY1" fmla="*/ 18019 h 18453"/>
                  <a:gd name="connsiteX2" fmla="*/ 386 w 18294"/>
                  <a:gd name="connsiteY2" fmla="*/ 6476 h 18453"/>
                  <a:gd name="connsiteX3" fmla="*/ 11809 w 18294"/>
                  <a:gd name="connsiteY3" fmla="*/ 435 h 18453"/>
                  <a:gd name="connsiteX4" fmla="*/ 17909 w 18294"/>
                  <a:gd name="connsiteY4" fmla="*/ 1197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53">
                    <a:moveTo>
                      <a:pt x="17909" y="11978"/>
                    </a:moveTo>
                    <a:cubicBezTo>
                      <a:pt x="16414" y="16822"/>
                      <a:pt x="11270" y="19574"/>
                      <a:pt x="6486" y="18019"/>
                    </a:cubicBezTo>
                    <a:cubicBezTo>
                      <a:pt x="1642" y="16523"/>
                      <a:pt x="-1050" y="11320"/>
                      <a:pt x="386" y="6476"/>
                    </a:cubicBezTo>
                    <a:cubicBezTo>
                      <a:pt x="1881" y="1631"/>
                      <a:pt x="7024" y="-1120"/>
                      <a:pt x="11809" y="435"/>
                    </a:cubicBezTo>
                    <a:cubicBezTo>
                      <a:pt x="16653" y="1930"/>
                      <a:pt x="19345" y="7134"/>
                      <a:pt x="17909" y="11978"/>
                    </a:cubicBezTo>
                    <a:close/>
                  </a:path>
                </a:pathLst>
              </a:custGeom>
              <a:grpFill/>
              <a:ln w="5978" cap="flat">
                <a:noFill/>
                <a:prstDash val="solid"/>
                <a:miter/>
              </a:ln>
            </p:spPr>
            <p:txBody>
              <a:bodyPr rtlCol="0" anchor="ctr"/>
              <a:lstStyle/>
              <a:p>
                <a:endParaRPr lang="en-GB"/>
              </a:p>
            </p:txBody>
          </p:sp>
          <p:sp>
            <p:nvSpPr>
              <p:cNvPr id="2655" name="Vrije vorm: vorm 2654">
                <a:extLst>
                  <a:ext uri="{FF2B5EF4-FFF2-40B4-BE49-F238E27FC236}">
                    <a16:creationId xmlns:a16="http://schemas.microsoft.com/office/drawing/2014/main" id="{84B08213-DCAA-4F44-BDA8-EDB6F4AD45BC}"/>
                  </a:ext>
                </a:extLst>
              </p:cNvPr>
              <p:cNvSpPr/>
              <p:nvPr/>
            </p:nvSpPr>
            <p:spPr>
              <a:xfrm>
                <a:off x="5554267" y="5017213"/>
                <a:ext cx="18338" cy="18409"/>
              </a:xfrm>
              <a:custGeom>
                <a:avLst/>
                <a:gdLst>
                  <a:gd name="connsiteX0" fmla="*/ 17931 w 18338"/>
                  <a:gd name="connsiteY0" fmla="*/ 11956 h 18409"/>
                  <a:gd name="connsiteX1" fmla="*/ 11830 w 18338"/>
                  <a:gd name="connsiteY1" fmla="*/ 413 h 18409"/>
                  <a:gd name="connsiteX2" fmla="*/ 407 w 18338"/>
                  <a:gd name="connsiteY2" fmla="*/ 6453 h 18409"/>
                  <a:gd name="connsiteX3" fmla="*/ 6508 w 18338"/>
                  <a:gd name="connsiteY3" fmla="*/ 17996 h 18409"/>
                  <a:gd name="connsiteX4" fmla="*/ 17931 w 18338"/>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9">
                    <a:moveTo>
                      <a:pt x="17931" y="11956"/>
                    </a:moveTo>
                    <a:cubicBezTo>
                      <a:pt x="19426" y="7111"/>
                      <a:pt x="16675" y="1908"/>
                      <a:pt x="11830" y="413"/>
                    </a:cubicBezTo>
                    <a:cubicBezTo>
                      <a:pt x="6986" y="-1082"/>
                      <a:pt x="1843" y="1609"/>
                      <a:pt x="407" y="6453"/>
                    </a:cubicBezTo>
                    <a:cubicBezTo>
                      <a:pt x="-1088" y="11298"/>
                      <a:pt x="1664" y="16501"/>
                      <a:pt x="6508" y="17996"/>
                    </a:cubicBezTo>
                    <a:cubicBezTo>
                      <a:pt x="11352" y="19491"/>
                      <a:pt x="16436" y="16800"/>
                      <a:pt x="17931" y="11956"/>
                    </a:cubicBezTo>
                    <a:close/>
                  </a:path>
                </a:pathLst>
              </a:custGeom>
              <a:grpFill/>
              <a:ln w="5978" cap="flat">
                <a:noFill/>
                <a:prstDash val="solid"/>
                <a:miter/>
              </a:ln>
            </p:spPr>
            <p:txBody>
              <a:bodyPr rtlCol="0" anchor="ctr"/>
              <a:lstStyle/>
              <a:p>
                <a:endParaRPr lang="en-GB"/>
              </a:p>
            </p:txBody>
          </p:sp>
        </p:grpSp>
        <p:grpSp>
          <p:nvGrpSpPr>
            <p:cNvPr id="916" name="Graphic 3">
              <a:extLst>
                <a:ext uri="{FF2B5EF4-FFF2-40B4-BE49-F238E27FC236}">
                  <a16:creationId xmlns:a16="http://schemas.microsoft.com/office/drawing/2014/main" id="{8822C2D7-0B95-46AF-952F-E0A7DA7C06CC}"/>
                </a:ext>
              </a:extLst>
            </p:cNvPr>
            <p:cNvGrpSpPr/>
            <p:nvPr/>
          </p:nvGrpSpPr>
          <p:grpSpPr>
            <a:xfrm>
              <a:off x="5738683" y="5618371"/>
              <a:ext cx="38374" cy="172402"/>
              <a:chOff x="5738683" y="5618371"/>
              <a:chExt cx="38374" cy="172402"/>
            </a:xfrm>
            <a:grpFill/>
          </p:grpSpPr>
          <p:sp>
            <p:nvSpPr>
              <p:cNvPr id="2650" name="Vrije vorm: vorm 2649">
                <a:extLst>
                  <a:ext uri="{FF2B5EF4-FFF2-40B4-BE49-F238E27FC236}">
                    <a16:creationId xmlns:a16="http://schemas.microsoft.com/office/drawing/2014/main" id="{A1DB2780-3539-4D0D-B1F2-2C6E4FC158B9}"/>
                  </a:ext>
                </a:extLst>
              </p:cNvPr>
              <p:cNvSpPr/>
              <p:nvPr/>
            </p:nvSpPr>
            <p:spPr>
              <a:xfrm>
                <a:off x="5746297" y="5626882"/>
                <a:ext cx="23145" cy="155319"/>
              </a:xfrm>
              <a:custGeom>
                <a:avLst/>
                <a:gdLst>
                  <a:gd name="connsiteX0" fmla="*/ 23145 w 23145"/>
                  <a:gd name="connsiteY0" fmla="*/ 419 h 155319"/>
                  <a:gd name="connsiteX1" fmla="*/ 2990 w 23145"/>
                  <a:gd name="connsiteY1" fmla="*/ 155319 h 155319"/>
                  <a:gd name="connsiteX2" fmla="*/ 0 w 23145"/>
                  <a:gd name="connsiteY2" fmla="*/ 154901 h 155319"/>
                  <a:gd name="connsiteX3" fmla="*/ 20096 w 23145"/>
                  <a:gd name="connsiteY3" fmla="*/ 0 h 155319"/>
                </a:gdLst>
                <a:ahLst/>
                <a:cxnLst>
                  <a:cxn ang="0">
                    <a:pos x="connsiteX0" y="connsiteY0"/>
                  </a:cxn>
                  <a:cxn ang="0">
                    <a:pos x="connsiteX1" y="connsiteY1"/>
                  </a:cxn>
                  <a:cxn ang="0">
                    <a:pos x="connsiteX2" y="connsiteY2"/>
                  </a:cxn>
                  <a:cxn ang="0">
                    <a:pos x="connsiteX3" y="connsiteY3"/>
                  </a:cxn>
                </a:cxnLst>
                <a:rect l="l" t="t" r="r" b="b"/>
                <a:pathLst>
                  <a:path w="23145" h="155319">
                    <a:moveTo>
                      <a:pt x="23145" y="419"/>
                    </a:moveTo>
                    <a:lnTo>
                      <a:pt x="2990" y="155319"/>
                    </a:lnTo>
                    <a:lnTo>
                      <a:pt x="0" y="154901"/>
                    </a:lnTo>
                    <a:lnTo>
                      <a:pt x="20096" y="0"/>
                    </a:lnTo>
                    <a:close/>
                  </a:path>
                </a:pathLst>
              </a:custGeom>
              <a:grpFill/>
              <a:ln w="5978" cap="flat">
                <a:noFill/>
                <a:prstDash val="solid"/>
                <a:miter/>
              </a:ln>
            </p:spPr>
            <p:txBody>
              <a:bodyPr rtlCol="0" anchor="ctr"/>
              <a:lstStyle/>
              <a:p>
                <a:endParaRPr lang="en-GB"/>
              </a:p>
            </p:txBody>
          </p:sp>
          <p:sp>
            <p:nvSpPr>
              <p:cNvPr id="2651" name="Vrije vorm: vorm 2650">
                <a:extLst>
                  <a:ext uri="{FF2B5EF4-FFF2-40B4-BE49-F238E27FC236}">
                    <a16:creationId xmlns:a16="http://schemas.microsoft.com/office/drawing/2014/main" id="{DC45DEDC-200A-4A23-A0C8-0E9B03B078FB}"/>
                  </a:ext>
                </a:extLst>
              </p:cNvPr>
              <p:cNvSpPr/>
              <p:nvPr/>
            </p:nvSpPr>
            <p:spPr>
              <a:xfrm>
                <a:off x="5738683" y="5772374"/>
                <a:ext cx="18339" cy="18398"/>
              </a:xfrm>
              <a:custGeom>
                <a:avLst/>
                <a:gdLst>
                  <a:gd name="connsiteX0" fmla="*/ 18260 w 18339"/>
                  <a:gd name="connsiteY0" fmla="*/ 10425 h 18398"/>
                  <a:gd name="connsiteX1" fmla="*/ 7973 w 18339"/>
                  <a:gd name="connsiteY1" fmla="*/ 18320 h 18398"/>
                  <a:gd name="connsiteX2" fmla="*/ 79 w 18339"/>
                  <a:gd name="connsiteY2" fmla="*/ 7973 h 18398"/>
                  <a:gd name="connsiteX3" fmla="*/ 10366 w 18339"/>
                  <a:gd name="connsiteY3" fmla="*/ 79 h 18398"/>
                  <a:gd name="connsiteX4" fmla="*/ 18260 w 18339"/>
                  <a:gd name="connsiteY4" fmla="*/ 1042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8260" y="10425"/>
                    </a:moveTo>
                    <a:cubicBezTo>
                      <a:pt x="17602" y="15449"/>
                      <a:pt x="12997" y="18978"/>
                      <a:pt x="7973" y="18320"/>
                    </a:cubicBezTo>
                    <a:cubicBezTo>
                      <a:pt x="2950" y="17662"/>
                      <a:pt x="-579" y="12997"/>
                      <a:pt x="79" y="7973"/>
                    </a:cubicBezTo>
                    <a:cubicBezTo>
                      <a:pt x="737" y="2950"/>
                      <a:pt x="5342" y="-579"/>
                      <a:pt x="10366" y="79"/>
                    </a:cubicBezTo>
                    <a:cubicBezTo>
                      <a:pt x="15390" y="737"/>
                      <a:pt x="18918" y="5342"/>
                      <a:pt x="18260" y="10425"/>
                    </a:cubicBezTo>
                    <a:close/>
                  </a:path>
                </a:pathLst>
              </a:custGeom>
              <a:grpFill/>
              <a:ln w="5978" cap="flat">
                <a:noFill/>
                <a:prstDash val="solid"/>
                <a:miter/>
              </a:ln>
            </p:spPr>
            <p:txBody>
              <a:bodyPr rtlCol="0" anchor="ctr"/>
              <a:lstStyle/>
              <a:p>
                <a:endParaRPr lang="en-GB"/>
              </a:p>
            </p:txBody>
          </p:sp>
          <p:sp>
            <p:nvSpPr>
              <p:cNvPr id="2652" name="Vrije vorm: vorm 2651">
                <a:extLst>
                  <a:ext uri="{FF2B5EF4-FFF2-40B4-BE49-F238E27FC236}">
                    <a16:creationId xmlns:a16="http://schemas.microsoft.com/office/drawing/2014/main" id="{3DCA433D-3433-4C09-AAAF-0599FA2B08DA}"/>
                  </a:ext>
                </a:extLst>
              </p:cNvPr>
              <p:cNvSpPr/>
              <p:nvPr/>
            </p:nvSpPr>
            <p:spPr>
              <a:xfrm>
                <a:off x="5758718" y="5618371"/>
                <a:ext cx="18339" cy="18398"/>
              </a:xfrm>
              <a:custGeom>
                <a:avLst/>
                <a:gdLst>
                  <a:gd name="connsiteX0" fmla="*/ 18260 w 18339"/>
                  <a:gd name="connsiteY0" fmla="*/ 10425 h 18398"/>
                  <a:gd name="connsiteX1" fmla="*/ 10366 w 18339"/>
                  <a:gd name="connsiteY1" fmla="*/ 79 h 18398"/>
                  <a:gd name="connsiteX2" fmla="*/ 79 w 18339"/>
                  <a:gd name="connsiteY2" fmla="*/ 7973 h 18398"/>
                  <a:gd name="connsiteX3" fmla="*/ 7973 w 18339"/>
                  <a:gd name="connsiteY3" fmla="*/ 18320 h 18398"/>
                  <a:gd name="connsiteX4" fmla="*/ 18260 w 18339"/>
                  <a:gd name="connsiteY4" fmla="*/ 1042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8260" y="10425"/>
                    </a:moveTo>
                    <a:cubicBezTo>
                      <a:pt x="18918" y="5402"/>
                      <a:pt x="15390" y="737"/>
                      <a:pt x="10366" y="79"/>
                    </a:cubicBezTo>
                    <a:cubicBezTo>
                      <a:pt x="5342" y="-579"/>
                      <a:pt x="737" y="2950"/>
                      <a:pt x="79" y="7973"/>
                    </a:cubicBezTo>
                    <a:cubicBezTo>
                      <a:pt x="-579" y="12997"/>
                      <a:pt x="2950" y="17662"/>
                      <a:pt x="7973" y="18320"/>
                    </a:cubicBezTo>
                    <a:cubicBezTo>
                      <a:pt x="12997" y="18978"/>
                      <a:pt x="17602" y="15449"/>
                      <a:pt x="18260" y="10425"/>
                    </a:cubicBezTo>
                    <a:close/>
                  </a:path>
                </a:pathLst>
              </a:custGeom>
              <a:grpFill/>
              <a:ln w="5978" cap="flat">
                <a:noFill/>
                <a:prstDash val="solid"/>
                <a:miter/>
              </a:ln>
            </p:spPr>
            <p:txBody>
              <a:bodyPr rtlCol="0" anchor="ctr"/>
              <a:lstStyle/>
              <a:p>
                <a:endParaRPr lang="en-GB"/>
              </a:p>
            </p:txBody>
          </p:sp>
        </p:grpSp>
        <p:grpSp>
          <p:nvGrpSpPr>
            <p:cNvPr id="917" name="Graphic 3">
              <a:extLst>
                <a:ext uri="{FF2B5EF4-FFF2-40B4-BE49-F238E27FC236}">
                  <a16:creationId xmlns:a16="http://schemas.microsoft.com/office/drawing/2014/main" id="{6DE28DA6-F919-4ACA-BA90-AA809EF05691}"/>
                </a:ext>
              </a:extLst>
            </p:cNvPr>
            <p:cNvGrpSpPr/>
            <p:nvPr/>
          </p:nvGrpSpPr>
          <p:grpSpPr>
            <a:xfrm>
              <a:off x="4416801" y="2065629"/>
              <a:ext cx="318577" cy="304865"/>
              <a:chOff x="4416801" y="2065629"/>
              <a:chExt cx="318577" cy="304865"/>
            </a:xfrm>
            <a:grpFill/>
          </p:grpSpPr>
          <p:sp>
            <p:nvSpPr>
              <p:cNvPr id="2647" name="Vrije vorm: vorm 2646">
                <a:extLst>
                  <a:ext uri="{FF2B5EF4-FFF2-40B4-BE49-F238E27FC236}">
                    <a16:creationId xmlns:a16="http://schemas.microsoft.com/office/drawing/2014/main" id="{79F63A8C-4864-4EFA-80B5-844FA3C7B08D}"/>
                  </a:ext>
                </a:extLst>
              </p:cNvPr>
              <p:cNvSpPr/>
              <p:nvPr/>
            </p:nvSpPr>
            <p:spPr>
              <a:xfrm>
                <a:off x="4424617" y="2073377"/>
                <a:ext cx="302983" cy="289347"/>
              </a:xfrm>
              <a:custGeom>
                <a:avLst/>
                <a:gdLst>
                  <a:gd name="connsiteX0" fmla="*/ 302984 w 302983"/>
                  <a:gd name="connsiteY0" fmla="*/ 287075 h 289347"/>
                  <a:gd name="connsiteX1" fmla="*/ 300890 w 302983"/>
                  <a:gd name="connsiteY1" fmla="*/ 289347 h 289347"/>
                  <a:gd name="connsiteX2" fmla="*/ 0 w 302983"/>
                  <a:gd name="connsiteY2" fmla="*/ 2213 h 289347"/>
                  <a:gd name="connsiteX3" fmla="*/ 2093 w 302983"/>
                  <a:gd name="connsiteY3" fmla="*/ 0 h 289347"/>
                </a:gdLst>
                <a:ahLst/>
                <a:cxnLst>
                  <a:cxn ang="0">
                    <a:pos x="connsiteX0" y="connsiteY0"/>
                  </a:cxn>
                  <a:cxn ang="0">
                    <a:pos x="connsiteX1" y="connsiteY1"/>
                  </a:cxn>
                  <a:cxn ang="0">
                    <a:pos x="connsiteX2" y="connsiteY2"/>
                  </a:cxn>
                  <a:cxn ang="0">
                    <a:pos x="connsiteX3" y="connsiteY3"/>
                  </a:cxn>
                </a:cxnLst>
                <a:rect l="l" t="t" r="r" b="b"/>
                <a:pathLst>
                  <a:path w="302983" h="289347">
                    <a:moveTo>
                      <a:pt x="302984" y="287075"/>
                    </a:moveTo>
                    <a:lnTo>
                      <a:pt x="300890" y="289347"/>
                    </a:lnTo>
                    <a:lnTo>
                      <a:pt x="0" y="2213"/>
                    </a:lnTo>
                    <a:lnTo>
                      <a:pt x="2093" y="0"/>
                    </a:lnTo>
                    <a:close/>
                  </a:path>
                </a:pathLst>
              </a:custGeom>
              <a:grpFill/>
              <a:ln w="5978" cap="flat">
                <a:noFill/>
                <a:prstDash val="solid"/>
                <a:miter/>
              </a:ln>
            </p:spPr>
            <p:txBody>
              <a:bodyPr rtlCol="0" anchor="ctr"/>
              <a:lstStyle/>
              <a:p>
                <a:endParaRPr lang="en-GB"/>
              </a:p>
            </p:txBody>
          </p:sp>
          <p:sp>
            <p:nvSpPr>
              <p:cNvPr id="2648" name="Vrije vorm: vorm 2647">
                <a:extLst>
                  <a:ext uri="{FF2B5EF4-FFF2-40B4-BE49-F238E27FC236}">
                    <a16:creationId xmlns:a16="http://schemas.microsoft.com/office/drawing/2014/main" id="{6DC6224B-FDF4-4662-8A30-B443A71A1ED2}"/>
                  </a:ext>
                </a:extLst>
              </p:cNvPr>
              <p:cNvSpPr/>
              <p:nvPr/>
            </p:nvSpPr>
            <p:spPr>
              <a:xfrm>
                <a:off x="4717012" y="2352046"/>
                <a:ext cx="18366" cy="18448"/>
              </a:xfrm>
              <a:custGeom>
                <a:avLst/>
                <a:gdLst>
                  <a:gd name="connsiteX0" fmla="*/ 15493 w 18366"/>
                  <a:gd name="connsiteY0" fmla="*/ 2545 h 18448"/>
                  <a:gd name="connsiteX1" fmla="*/ 15852 w 18366"/>
                  <a:gd name="connsiteY1" fmla="*/ 15583 h 18448"/>
                  <a:gd name="connsiteX2" fmla="*/ 2874 w 18366"/>
                  <a:gd name="connsiteY2" fmla="*/ 15882 h 18448"/>
                  <a:gd name="connsiteX3" fmla="*/ 2515 w 18366"/>
                  <a:gd name="connsiteY3" fmla="*/ 2844 h 18448"/>
                  <a:gd name="connsiteX4" fmla="*/ 15493 w 18366"/>
                  <a:gd name="connsiteY4" fmla="*/ 2545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48">
                    <a:moveTo>
                      <a:pt x="15493" y="2545"/>
                    </a:moveTo>
                    <a:cubicBezTo>
                      <a:pt x="19201" y="6074"/>
                      <a:pt x="19321" y="11875"/>
                      <a:pt x="15852" y="15583"/>
                    </a:cubicBezTo>
                    <a:cubicBezTo>
                      <a:pt x="12383" y="19291"/>
                      <a:pt x="6582" y="19410"/>
                      <a:pt x="2874" y="15882"/>
                    </a:cubicBezTo>
                    <a:cubicBezTo>
                      <a:pt x="-834" y="12353"/>
                      <a:pt x="-954" y="6552"/>
                      <a:pt x="2515" y="2844"/>
                    </a:cubicBezTo>
                    <a:cubicBezTo>
                      <a:pt x="5984" y="-804"/>
                      <a:pt x="11785" y="-984"/>
                      <a:pt x="15493" y="2545"/>
                    </a:cubicBezTo>
                    <a:close/>
                  </a:path>
                </a:pathLst>
              </a:custGeom>
              <a:grpFill/>
              <a:ln w="5978" cap="flat">
                <a:noFill/>
                <a:prstDash val="solid"/>
                <a:miter/>
              </a:ln>
            </p:spPr>
            <p:txBody>
              <a:bodyPr rtlCol="0" anchor="ctr"/>
              <a:lstStyle/>
              <a:p>
                <a:endParaRPr lang="en-GB"/>
              </a:p>
            </p:txBody>
          </p:sp>
          <p:sp>
            <p:nvSpPr>
              <p:cNvPr id="2649" name="Vrije vorm: vorm 2648">
                <a:extLst>
                  <a:ext uri="{FF2B5EF4-FFF2-40B4-BE49-F238E27FC236}">
                    <a16:creationId xmlns:a16="http://schemas.microsoft.com/office/drawing/2014/main" id="{F0FBEDC1-25F1-4545-ABCB-867FF2AA734F}"/>
                  </a:ext>
                </a:extLst>
              </p:cNvPr>
              <p:cNvSpPr/>
              <p:nvPr/>
            </p:nvSpPr>
            <p:spPr>
              <a:xfrm>
                <a:off x="4416801" y="2065629"/>
                <a:ext cx="18368" cy="18426"/>
              </a:xfrm>
              <a:custGeom>
                <a:avLst/>
                <a:gdLst>
                  <a:gd name="connsiteX0" fmla="*/ 15472 w 18368"/>
                  <a:gd name="connsiteY0" fmla="*/ 2545 h 18426"/>
                  <a:gd name="connsiteX1" fmla="*/ 2493 w 18368"/>
                  <a:gd name="connsiteY1" fmla="*/ 2844 h 18426"/>
                  <a:gd name="connsiteX2" fmla="*/ 2852 w 18368"/>
                  <a:gd name="connsiteY2" fmla="*/ 15882 h 18426"/>
                  <a:gd name="connsiteX3" fmla="*/ 15830 w 18368"/>
                  <a:gd name="connsiteY3" fmla="*/ 15583 h 18426"/>
                  <a:gd name="connsiteX4" fmla="*/ 15472 w 18368"/>
                  <a:gd name="connsiteY4" fmla="*/ 254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6">
                    <a:moveTo>
                      <a:pt x="15472" y="2545"/>
                    </a:moveTo>
                    <a:cubicBezTo>
                      <a:pt x="11823" y="-984"/>
                      <a:pt x="5962" y="-804"/>
                      <a:pt x="2493" y="2844"/>
                    </a:cubicBezTo>
                    <a:cubicBezTo>
                      <a:pt x="-975" y="6552"/>
                      <a:pt x="-796" y="12353"/>
                      <a:pt x="2852" y="15882"/>
                    </a:cubicBezTo>
                    <a:cubicBezTo>
                      <a:pt x="6560" y="19410"/>
                      <a:pt x="12361" y="19231"/>
                      <a:pt x="15830" y="15583"/>
                    </a:cubicBezTo>
                    <a:cubicBezTo>
                      <a:pt x="19359" y="11875"/>
                      <a:pt x="19180" y="6014"/>
                      <a:pt x="15472" y="2545"/>
                    </a:cubicBezTo>
                    <a:close/>
                  </a:path>
                </a:pathLst>
              </a:custGeom>
              <a:grpFill/>
              <a:ln w="5978" cap="flat">
                <a:noFill/>
                <a:prstDash val="solid"/>
                <a:miter/>
              </a:ln>
            </p:spPr>
            <p:txBody>
              <a:bodyPr rtlCol="0" anchor="ctr"/>
              <a:lstStyle/>
              <a:p>
                <a:endParaRPr lang="en-GB"/>
              </a:p>
            </p:txBody>
          </p:sp>
        </p:grpSp>
        <p:grpSp>
          <p:nvGrpSpPr>
            <p:cNvPr id="918" name="Graphic 3">
              <a:extLst>
                <a:ext uri="{FF2B5EF4-FFF2-40B4-BE49-F238E27FC236}">
                  <a16:creationId xmlns:a16="http://schemas.microsoft.com/office/drawing/2014/main" id="{E391D061-FD7E-43B5-9C82-57B0ABB3F3D7}"/>
                </a:ext>
              </a:extLst>
            </p:cNvPr>
            <p:cNvGrpSpPr/>
            <p:nvPr/>
          </p:nvGrpSpPr>
          <p:grpSpPr>
            <a:xfrm>
              <a:off x="4521044" y="2197566"/>
              <a:ext cx="136384" cy="112139"/>
              <a:chOff x="4521044" y="2197566"/>
              <a:chExt cx="136384" cy="112139"/>
            </a:xfrm>
            <a:grpFill/>
          </p:grpSpPr>
          <p:sp>
            <p:nvSpPr>
              <p:cNvPr id="2644" name="Vrije vorm: vorm 2643">
                <a:extLst>
                  <a:ext uri="{FF2B5EF4-FFF2-40B4-BE49-F238E27FC236}">
                    <a16:creationId xmlns:a16="http://schemas.microsoft.com/office/drawing/2014/main" id="{0CD1E776-5EC2-4171-8966-0B18D202A0E0}"/>
                  </a:ext>
                </a:extLst>
              </p:cNvPr>
              <p:cNvSpPr/>
              <p:nvPr/>
            </p:nvSpPr>
            <p:spPr>
              <a:xfrm>
                <a:off x="4528921" y="2205312"/>
                <a:ext cx="120631" cy="96648"/>
              </a:xfrm>
              <a:custGeom>
                <a:avLst/>
                <a:gdLst>
                  <a:gd name="connsiteX0" fmla="*/ 120631 w 120631"/>
                  <a:gd name="connsiteY0" fmla="*/ 94256 h 96648"/>
                  <a:gd name="connsiteX1" fmla="*/ 118777 w 120631"/>
                  <a:gd name="connsiteY1" fmla="*/ 96648 h 96648"/>
                  <a:gd name="connsiteX2" fmla="*/ 0 w 120631"/>
                  <a:gd name="connsiteY2" fmla="*/ 2392 h 96648"/>
                  <a:gd name="connsiteX3" fmla="*/ 1854 w 120631"/>
                  <a:gd name="connsiteY3" fmla="*/ 0 h 96648"/>
                </a:gdLst>
                <a:ahLst/>
                <a:cxnLst>
                  <a:cxn ang="0">
                    <a:pos x="connsiteX0" y="connsiteY0"/>
                  </a:cxn>
                  <a:cxn ang="0">
                    <a:pos x="connsiteX1" y="connsiteY1"/>
                  </a:cxn>
                  <a:cxn ang="0">
                    <a:pos x="connsiteX2" y="connsiteY2"/>
                  </a:cxn>
                  <a:cxn ang="0">
                    <a:pos x="connsiteX3" y="connsiteY3"/>
                  </a:cxn>
                </a:cxnLst>
                <a:rect l="l" t="t" r="r" b="b"/>
                <a:pathLst>
                  <a:path w="120631" h="96648">
                    <a:moveTo>
                      <a:pt x="120631" y="94256"/>
                    </a:moveTo>
                    <a:lnTo>
                      <a:pt x="118777" y="96648"/>
                    </a:lnTo>
                    <a:lnTo>
                      <a:pt x="0" y="2392"/>
                    </a:lnTo>
                    <a:lnTo>
                      <a:pt x="1854" y="0"/>
                    </a:lnTo>
                    <a:close/>
                  </a:path>
                </a:pathLst>
              </a:custGeom>
              <a:grpFill/>
              <a:ln w="5978" cap="flat">
                <a:noFill/>
                <a:prstDash val="solid"/>
                <a:miter/>
              </a:ln>
            </p:spPr>
            <p:txBody>
              <a:bodyPr rtlCol="0" anchor="ctr"/>
              <a:lstStyle/>
              <a:p>
                <a:endParaRPr lang="en-GB"/>
              </a:p>
            </p:txBody>
          </p:sp>
          <p:sp>
            <p:nvSpPr>
              <p:cNvPr id="2645" name="Vrije vorm: vorm 2644">
                <a:extLst>
                  <a:ext uri="{FF2B5EF4-FFF2-40B4-BE49-F238E27FC236}">
                    <a16:creationId xmlns:a16="http://schemas.microsoft.com/office/drawing/2014/main" id="{B13ABD8D-76A5-45CD-BE50-D679D016A474}"/>
                  </a:ext>
                </a:extLst>
              </p:cNvPr>
              <p:cNvSpPr/>
              <p:nvPr/>
            </p:nvSpPr>
            <p:spPr>
              <a:xfrm>
                <a:off x="4521044" y="2197566"/>
                <a:ext cx="18324" cy="18421"/>
              </a:xfrm>
              <a:custGeom>
                <a:avLst/>
                <a:gdLst>
                  <a:gd name="connsiteX0" fmla="*/ 3511 w 18324"/>
                  <a:gd name="connsiteY0" fmla="*/ 16418 h 18421"/>
                  <a:gd name="connsiteX1" fmla="*/ 1956 w 18324"/>
                  <a:gd name="connsiteY1" fmla="*/ 3499 h 18421"/>
                  <a:gd name="connsiteX2" fmla="*/ 14814 w 18324"/>
                  <a:gd name="connsiteY2" fmla="*/ 2004 h 18421"/>
                  <a:gd name="connsiteX3" fmla="*/ 16369 w 18324"/>
                  <a:gd name="connsiteY3" fmla="*/ 14922 h 18421"/>
                  <a:gd name="connsiteX4" fmla="*/ 3511 w 18324"/>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1">
                    <a:moveTo>
                      <a:pt x="3511" y="16418"/>
                    </a:moveTo>
                    <a:cubicBezTo>
                      <a:pt x="-496" y="13248"/>
                      <a:pt x="-1154" y="7446"/>
                      <a:pt x="1956" y="3499"/>
                    </a:cubicBezTo>
                    <a:cubicBezTo>
                      <a:pt x="5066" y="-508"/>
                      <a:pt x="10867" y="-1166"/>
                      <a:pt x="14814" y="2004"/>
                    </a:cubicBezTo>
                    <a:cubicBezTo>
                      <a:pt x="18821" y="5174"/>
                      <a:pt x="19479" y="10975"/>
                      <a:pt x="16369" y="14922"/>
                    </a:cubicBezTo>
                    <a:cubicBezTo>
                      <a:pt x="13259" y="18930"/>
                      <a:pt x="7518" y="19587"/>
                      <a:pt x="3511" y="16418"/>
                    </a:cubicBezTo>
                    <a:close/>
                  </a:path>
                </a:pathLst>
              </a:custGeom>
              <a:grpFill/>
              <a:ln w="5978" cap="flat">
                <a:noFill/>
                <a:prstDash val="solid"/>
                <a:miter/>
              </a:ln>
            </p:spPr>
            <p:txBody>
              <a:bodyPr rtlCol="0" anchor="ctr"/>
              <a:lstStyle/>
              <a:p>
                <a:endParaRPr lang="en-GB"/>
              </a:p>
            </p:txBody>
          </p:sp>
          <p:sp>
            <p:nvSpPr>
              <p:cNvPr id="2646" name="Vrije vorm: vorm 2645">
                <a:extLst>
                  <a:ext uri="{FF2B5EF4-FFF2-40B4-BE49-F238E27FC236}">
                    <a16:creationId xmlns:a16="http://schemas.microsoft.com/office/drawing/2014/main" id="{D665D555-9682-461B-8D58-274725E3BADB}"/>
                  </a:ext>
                </a:extLst>
              </p:cNvPr>
              <p:cNvSpPr/>
              <p:nvPr/>
            </p:nvSpPr>
            <p:spPr>
              <a:xfrm>
                <a:off x="4639104" y="2291284"/>
                <a:ext cx="18324" cy="18421"/>
              </a:xfrm>
              <a:custGeom>
                <a:avLst/>
                <a:gdLst>
                  <a:gd name="connsiteX0" fmla="*/ 3511 w 18324"/>
                  <a:gd name="connsiteY0" fmla="*/ 16418 h 18421"/>
                  <a:gd name="connsiteX1" fmla="*/ 16369 w 18324"/>
                  <a:gd name="connsiteY1" fmla="*/ 14922 h 18421"/>
                  <a:gd name="connsiteX2" fmla="*/ 14814 w 18324"/>
                  <a:gd name="connsiteY2" fmla="*/ 2004 h 18421"/>
                  <a:gd name="connsiteX3" fmla="*/ 1956 w 18324"/>
                  <a:gd name="connsiteY3" fmla="*/ 3499 h 18421"/>
                  <a:gd name="connsiteX4" fmla="*/ 3511 w 18324"/>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1">
                    <a:moveTo>
                      <a:pt x="3511" y="16418"/>
                    </a:moveTo>
                    <a:cubicBezTo>
                      <a:pt x="7518" y="19587"/>
                      <a:pt x="13259" y="18930"/>
                      <a:pt x="16369" y="14922"/>
                    </a:cubicBezTo>
                    <a:cubicBezTo>
                      <a:pt x="19479" y="10915"/>
                      <a:pt x="18821" y="5114"/>
                      <a:pt x="14814" y="2004"/>
                    </a:cubicBezTo>
                    <a:cubicBezTo>
                      <a:pt x="10807" y="-1166"/>
                      <a:pt x="5066" y="-508"/>
                      <a:pt x="1956" y="3499"/>
                    </a:cubicBezTo>
                    <a:cubicBezTo>
                      <a:pt x="-1154" y="7447"/>
                      <a:pt x="-496" y="13248"/>
                      <a:pt x="3511" y="16418"/>
                    </a:cubicBezTo>
                    <a:close/>
                  </a:path>
                </a:pathLst>
              </a:custGeom>
              <a:grpFill/>
              <a:ln w="5978" cap="flat">
                <a:noFill/>
                <a:prstDash val="solid"/>
                <a:miter/>
              </a:ln>
            </p:spPr>
            <p:txBody>
              <a:bodyPr rtlCol="0" anchor="ctr"/>
              <a:lstStyle/>
              <a:p>
                <a:endParaRPr lang="en-GB"/>
              </a:p>
            </p:txBody>
          </p:sp>
        </p:grpSp>
        <p:grpSp>
          <p:nvGrpSpPr>
            <p:cNvPr id="919" name="Graphic 3">
              <a:extLst>
                <a:ext uri="{FF2B5EF4-FFF2-40B4-BE49-F238E27FC236}">
                  <a16:creationId xmlns:a16="http://schemas.microsoft.com/office/drawing/2014/main" id="{287699D2-860F-4806-856C-F920CC164BF6}"/>
                </a:ext>
              </a:extLst>
            </p:cNvPr>
            <p:cNvGrpSpPr/>
            <p:nvPr/>
          </p:nvGrpSpPr>
          <p:grpSpPr>
            <a:xfrm>
              <a:off x="5559942" y="5163775"/>
              <a:ext cx="38527" cy="94615"/>
              <a:chOff x="5559942" y="5163775"/>
              <a:chExt cx="38527" cy="94615"/>
            </a:xfrm>
            <a:grpFill/>
          </p:grpSpPr>
          <p:sp>
            <p:nvSpPr>
              <p:cNvPr id="2641" name="Vrije vorm: vorm 2640">
                <a:extLst>
                  <a:ext uri="{FF2B5EF4-FFF2-40B4-BE49-F238E27FC236}">
                    <a16:creationId xmlns:a16="http://schemas.microsoft.com/office/drawing/2014/main" id="{0451C153-2C58-4B63-8F5E-87254B6C6D48}"/>
                  </a:ext>
                </a:extLst>
              </p:cNvPr>
              <p:cNvSpPr/>
              <p:nvPr/>
            </p:nvSpPr>
            <p:spPr>
              <a:xfrm>
                <a:off x="5567533" y="5172168"/>
                <a:ext cx="23384" cy="77869"/>
              </a:xfrm>
              <a:custGeom>
                <a:avLst/>
                <a:gdLst>
                  <a:gd name="connsiteX0" fmla="*/ 23384 w 23384"/>
                  <a:gd name="connsiteY0" fmla="*/ 778 h 77869"/>
                  <a:gd name="connsiteX1" fmla="*/ 2930 w 23384"/>
                  <a:gd name="connsiteY1" fmla="*/ 77869 h 77869"/>
                  <a:gd name="connsiteX2" fmla="*/ 0 w 23384"/>
                  <a:gd name="connsiteY2" fmla="*/ 77092 h 77869"/>
                  <a:gd name="connsiteX3" fmla="*/ 20394 w 23384"/>
                  <a:gd name="connsiteY3" fmla="*/ 0 h 77869"/>
                </a:gdLst>
                <a:ahLst/>
                <a:cxnLst>
                  <a:cxn ang="0">
                    <a:pos x="connsiteX0" y="connsiteY0"/>
                  </a:cxn>
                  <a:cxn ang="0">
                    <a:pos x="connsiteX1" y="connsiteY1"/>
                  </a:cxn>
                  <a:cxn ang="0">
                    <a:pos x="connsiteX2" y="connsiteY2"/>
                  </a:cxn>
                  <a:cxn ang="0">
                    <a:pos x="connsiteX3" y="connsiteY3"/>
                  </a:cxn>
                </a:cxnLst>
                <a:rect l="l" t="t" r="r" b="b"/>
                <a:pathLst>
                  <a:path w="23384" h="77869">
                    <a:moveTo>
                      <a:pt x="23384" y="778"/>
                    </a:moveTo>
                    <a:lnTo>
                      <a:pt x="2930" y="77869"/>
                    </a:lnTo>
                    <a:lnTo>
                      <a:pt x="0" y="77092"/>
                    </a:lnTo>
                    <a:lnTo>
                      <a:pt x="20394" y="0"/>
                    </a:lnTo>
                    <a:close/>
                  </a:path>
                </a:pathLst>
              </a:custGeom>
              <a:grpFill/>
              <a:ln w="5978" cap="flat">
                <a:noFill/>
                <a:prstDash val="solid"/>
                <a:miter/>
              </a:ln>
            </p:spPr>
            <p:txBody>
              <a:bodyPr rtlCol="0" anchor="ctr"/>
              <a:lstStyle/>
              <a:p>
                <a:endParaRPr lang="en-GB"/>
              </a:p>
            </p:txBody>
          </p:sp>
          <p:sp>
            <p:nvSpPr>
              <p:cNvPr id="2642" name="Vrije vorm: vorm 2641">
                <a:extLst>
                  <a:ext uri="{FF2B5EF4-FFF2-40B4-BE49-F238E27FC236}">
                    <a16:creationId xmlns:a16="http://schemas.microsoft.com/office/drawing/2014/main" id="{CA9F7936-F62C-47C9-B76F-58B9C73F8D04}"/>
                  </a:ext>
                </a:extLst>
              </p:cNvPr>
              <p:cNvSpPr/>
              <p:nvPr/>
            </p:nvSpPr>
            <p:spPr>
              <a:xfrm>
                <a:off x="5559942" y="5239949"/>
                <a:ext cx="18312" cy="18442"/>
              </a:xfrm>
              <a:custGeom>
                <a:avLst/>
                <a:gdLst>
                  <a:gd name="connsiteX0" fmla="*/ 17998 w 18312"/>
                  <a:gd name="connsiteY0" fmla="*/ 11643 h 18442"/>
                  <a:gd name="connsiteX1" fmla="*/ 6814 w 18312"/>
                  <a:gd name="connsiteY1" fmla="*/ 18103 h 18442"/>
                  <a:gd name="connsiteX2" fmla="*/ 294 w 18312"/>
                  <a:gd name="connsiteY2" fmla="*/ 6799 h 18442"/>
                  <a:gd name="connsiteX3" fmla="*/ 11538 w 18312"/>
                  <a:gd name="connsiteY3" fmla="*/ 340 h 18442"/>
                  <a:gd name="connsiteX4" fmla="*/ 17998 w 18312"/>
                  <a:gd name="connsiteY4" fmla="*/ 1164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2">
                    <a:moveTo>
                      <a:pt x="17998" y="11643"/>
                    </a:moveTo>
                    <a:cubicBezTo>
                      <a:pt x="16682" y="16548"/>
                      <a:pt x="11658" y="19478"/>
                      <a:pt x="6814" y="18103"/>
                    </a:cubicBezTo>
                    <a:cubicBezTo>
                      <a:pt x="1909" y="16787"/>
                      <a:pt x="-961" y="11703"/>
                      <a:pt x="294" y="6799"/>
                    </a:cubicBezTo>
                    <a:cubicBezTo>
                      <a:pt x="1610" y="1895"/>
                      <a:pt x="6634" y="-1036"/>
                      <a:pt x="11538" y="340"/>
                    </a:cubicBezTo>
                    <a:cubicBezTo>
                      <a:pt x="16383" y="1656"/>
                      <a:pt x="19313" y="6739"/>
                      <a:pt x="17998" y="11643"/>
                    </a:cubicBezTo>
                    <a:close/>
                  </a:path>
                </a:pathLst>
              </a:custGeom>
              <a:grpFill/>
              <a:ln w="5978" cap="flat">
                <a:noFill/>
                <a:prstDash val="solid"/>
                <a:miter/>
              </a:ln>
            </p:spPr>
            <p:txBody>
              <a:bodyPr rtlCol="0" anchor="ctr"/>
              <a:lstStyle/>
              <a:p>
                <a:endParaRPr lang="en-GB"/>
              </a:p>
            </p:txBody>
          </p:sp>
          <p:sp>
            <p:nvSpPr>
              <p:cNvPr id="2643" name="Vrije vorm: vorm 2642">
                <a:extLst>
                  <a:ext uri="{FF2B5EF4-FFF2-40B4-BE49-F238E27FC236}">
                    <a16:creationId xmlns:a16="http://schemas.microsoft.com/office/drawing/2014/main" id="{4F8E7223-44DA-4849-A4B5-1135DB974286}"/>
                  </a:ext>
                </a:extLst>
              </p:cNvPr>
              <p:cNvSpPr/>
              <p:nvPr/>
            </p:nvSpPr>
            <p:spPr>
              <a:xfrm>
                <a:off x="5580077" y="5163775"/>
                <a:ext cx="18392" cy="18421"/>
              </a:xfrm>
              <a:custGeom>
                <a:avLst/>
                <a:gdLst>
                  <a:gd name="connsiteX0" fmla="*/ 18078 w 18392"/>
                  <a:gd name="connsiteY0" fmla="*/ 11623 h 18421"/>
                  <a:gd name="connsiteX1" fmla="*/ 11559 w 18392"/>
                  <a:gd name="connsiteY1" fmla="*/ 319 h 18421"/>
                  <a:gd name="connsiteX2" fmla="*/ 315 w 18392"/>
                  <a:gd name="connsiteY2" fmla="*/ 6778 h 18421"/>
                  <a:gd name="connsiteX3" fmla="*/ 6834 w 18392"/>
                  <a:gd name="connsiteY3" fmla="*/ 18082 h 18421"/>
                  <a:gd name="connsiteX4" fmla="*/ 18078 w 18392"/>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21">
                    <a:moveTo>
                      <a:pt x="18078" y="11623"/>
                    </a:moveTo>
                    <a:cubicBezTo>
                      <a:pt x="19393" y="6718"/>
                      <a:pt x="16463" y="1635"/>
                      <a:pt x="11559" y="319"/>
                    </a:cubicBezTo>
                    <a:cubicBezTo>
                      <a:pt x="6654" y="-997"/>
                      <a:pt x="1631" y="1874"/>
                      <a:pt x="315" y="6778"/>
                    </a:cubicBezTo>
                    <a:cubicBezTo>
                      <a:pt x="-1001" y="11683"/>
                      <a:pt x="1930" y="16766"/>
                      <a:pt x="6834" y="18082"/>
                    </a:cubicBezTo>
                    <a:cubicBezTo>
                      <a:pt x="11738" y="19457"/>
                      <a:pt x="16762" y="16527"/>
                      <a:pt x="18078" y="11623"/>
                    </a:cubicBezTo>
                    <a:close/>
                  </a:path>
                </a:pathLst>
              </a:custGeom>
              <a:grpFill/>
              <a:ln w="5978" cap="flat">
                <a:noFill/>
                <a:prstDash val="solid"/>
                <a:miter/>
              </a:ln>
            </p:spPr>
            <p:txBody>
              <a:bodyPr rtlCol="0" anchor="ctr"/>
              <a:lstStyle/>
              <a:p>
                <a:endParaRPr lang="en-GB"/>
              </a:p>
            </p:txBody>
          </p:sp>
        </p:grpSp>
        <p:grpSp>
          <p:nvGrpSpPr>
            <p:cNvPr id="920" name="Graphic 3">
              <a:extLst>
                <a:ext uri="{FF2B5EF4-FFF2-40B4-BE49-F238E27FC236}">
                  <a16:creationId xmlns:a16="http://schemas.microsoft.com/office/drawing/2014/main" id="{F2461524-7185-4ECB-982E-2C1EFCBCF6B6}"/>
                </a:ext>
              </a:extLst>
            </p:cNvPr>
            <p:cNvGrpSpPr/>
            <p:nvPr/>
          </p:nvGrpSpPr>
          <p:grpSpPr>
            <a:xfrm>
              <a:off x="5514683" y="5046652"/>
              <a:ext cx="146429" cy="385125"/>
              <a:chOff x="5514683" y="5046652"/>
              <a:chExt cx="146429" cy="385125"/>
            </a:xfrm>
            <a:grpFill/>
          </p:grpSpPr>
          <p:sp>
            <p:nvSpPr>
              <p:cNvPr id="2638" name="Vrije vorm: vorm 2637">
                <a:extLst>
                  <a:ext uri="{FF2B5EF4-FFF2-40B4-BE49-F238E27FC236}">
                    <a16:creationId xmlns:a16="http://schemas.microsoft.com/office/drawing/2014/main" id="{445EF8A5-9B1E-4927-A545-FAE127625E6B}"/>
                  </a:ext>
                </a:extLst>
              </p:cNvPr>
              <p:cNvSpPr/>
              <p:nvPr/>
            </p:nvSpPr>
            <p:spPr>
              <a:xfrm>
                <a:off x="5522259" y="5054886"/>
                <a:ext cx="131276" cy="368591"/>
              </a:xfrm>
              <a:custGeom>
                <a:avLst/>
                <a:gdLst>
                  <a:gd name="connsiteX0" fmla="*/ 131277 w 131276"/>
                  <a:gd name="connsiteY0" fmla="*/ 1017 h 368591"/>
                  <a:gd name="connsiteX1" fmla="*/ 2871 w 131276"/>
                  <a:gd name="connsiteY1" fmla="*/ 368592 h 368591"/>
                  <a:gd name="connsiteX2" fmla="*/ 0 w 131276"/>
                  <a:gd name="connsiteY2" fmla="*/ 367575 h 368591"/>
                  <a:gd name="connsiteX3" fmla="*/ 128406 w 131276"/>
                  <a:gd name="connsiteY3" fmla="*/ 0 h 368591"/>
                </a:gdLst>
                <a:ahLst/>
                <a:cxnLst>
                  <a:cxn ang="0">
                    <a:pos x="connsiteX0" y="connsiteY0"/>
                  </a:cxn>
                  <a:cxn ang="0">
                    <a:pos x="connsiteX1" y="connsiteY1"/>
                  </a:cxn>
                  <a:cxn ang="0">
                    <a:pos x="connsiteX2" y="connsiteY2"/>
                  </a:cxn>
                  <a:cxn ang="0">
                    <a:pos x="connsiteX3" y="connsiteY3"/>
                  </a:cxn>
                </a:cxnLst>
                <a:rect l="l" t="t" r="r" b="b"/>
                <a:pathLst>
                  <a:path w="131276" h="368591">
                    <a:moveTo>
                      <a:pt x="131277" y="1017"/>
                    </a:moveTo>
                    <a:lnTo>
                      <a:pt x="2871" y="368592"/>
                    </a:lnTo>
                    <a:lnTo>
                      <a:pt x="0" y="367575"/>
                    </a:lnTo>
                    <a:lnTo>
                      <a:pt x="128406" y="0"/>
                    </a:lnTo>
                    <a:close/>
                  </a:path>
                </a:pathLst>
              </a:custGeom>
              <a:grpFill/>
              <a:ln w="5978" cap="flat">
                <a:noFill/>
                <a:prstDash val="solid"/>
                <a:miter/>
              </a:ln>
            </p:spPr>
            <p:txBody>
              <a:bodyPr rtlCol="0" anchor="ctr"/>
              <a:lstStyle/>
              <a:p>
                <a:endParaRPr lang="en-GB"/>
              </a:p>
            </p:txBody>
          </p:sp>
          <p:sp>
            <p:nvSpPr>
              <p:cNvPr id="2639" name="Vrije vorm: vorm 2638">
                <a:extLst>
                  <a:ext uri="{FF2B5EF4-FFF2-40B4-BE49-F238E27FC236}">
                    <a16:creationId xmlns:a16="http://schemas.microsoft.com/office/drawing/2014/main" id="{2463AD01-F6A3-419A-AE08-BC1A5079E06B}"/>
                  </a:ext>
                </a:extLst>
              </p:cNvPr>
              <p:cNvSpPr/>
              <p:nvPr/>
            </p:nvSpPr>
            <p:spPr>
              <a:xfrm>
                <a:off x="5642790" y="5046652"/>
                <a:ext cx="18322" cy="18441"/>
              </a:xfrm>
              <a:custGeom>
                <a:avLst/>
                <a:gdLst>
                  <a:gd name="connsiteX0" fmla="*/ 519 w 18322"/>
                  <a:gd name="connsiteY0" fmla="*/ 6141 h 18441"/>
                  <a:gd name="connsiteX1" fmla="*/ 12181 w 18322"/>
                  <a:gd name="connsiteY1" fmla="*/ 519 h 18441"/>
                  <a:gd name="connsiteX2" fmla="*/ 17803 w 18322"/>
                  <a:gd name="connsiteY2" fmla="*/ 12301 h 18441"/>
                  <a:gd name="connsiteX3" fmla="*/ 6141 w 18322"/>
                  <a:gd name="connsiteY3" fmla="*/ 17923 h 18441"/>
                  <a:gd name="connsiteX4" fmla="*/ 519 w 18322"/>
                  <a:gd name="connsiteY4" fmla="*/ 614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41">
                    <a:moveTo>
                      <a:pt x="519" y="6141"/>
                    </a:moveTo>
                    <a:cubicBezTo>
                      <a:pt x="2193" y="1356"/>
                      <a:pt x="7397" y="-1156"/>
                      <a:pt x="12181" y="519"/>
                    </a:cubicBezTo>
                    <a:cubicBezTo>
                      <a:pt x="16966" y="2193"/>
                      <a:pt x="19478" y="7516"/>
                      <a:pt x="17803" y="12301"/>
                    </a:cubicBezTo>
                    <a:cubicBezTo>
                      <a:pt x="16129" y="17086"/>
                      <a:pt x="10925" y="19597"/>
                      <a:pt x="6141" y="17923"/>
                    </a:cubicBezTo>
                    <a:cubicBezTo>
                      <a:pt x="1356" y="16188"/>
                      <a:pt x="-1156" y="10925"/>
                      <a:pt x="519" y="6141"/>
                    </a:cubicBezTo>
                    <a:close/>
                  </a:path>
                </a:pathLst>
              </a:custGeom>
              <a:grpFill/>
              <a:ln w="5978" cap="flat">
                <a:noFill/>
                <a:prstDash val="solid"/>
                <a:miter/>
              </a:ln>
            </p:spPr>
            <p:txBody>
              <a:bodyPr rtlCol="0" anchor="ctr"/>
              <a:lstStyle/>
              <a:p>
                <a:endParaRPr lang="en-GB"/>
              </a:p>
            </p:txBody>
          </p:sp>
          <p:sp>
            <p:nvSpPr>
              <p:cNvPr id="2640" name="Vrije vorm: vorm 2639">
                <a:extLst>
                  <a:ext uri="{FF2B5EF4-FFF2-40B4-BE49-F238E27FC236}">
                    <a16:creationId xmlns:a16="http://schemas.microsoft.com/office/drawing/2014/main" id="{AD46421A-275C-45DD-888D-94B536BB8106}"/>
                  </a:ext>
                </a:extLst>
              </p:cNvPr>
              <p:cNvSpPr/>
              <p:nvPr/>
            </p:nvSpPr>
            <p:spPr>
              <a:xfrm>
                <a:off x="5514683" y="5413307"/>
                <a:ext cx="18321" cy="18471"/>
              </a:xfrm>
              <a:custGeom>
                <a:avLst/>
                <a:gdLst>
                  <a:gd name="connsiteX0" fmla="*/ 519 w 18321"/>
                  <a:gd name="connsiteY0" fmla="*/ 6164 h 18471"/>
                  <a:gd name="connsiteX1" fmla="*/ 6141 w 18321"/>
                  <a:gd name="connsiteY1" fmla="*/ 17946 h 18471"/>
                  <a:gd name="connsiteX2" fmla="*/ 17803 w 18321"/>
                  <a:gd name="connsiteY2" fmla="*/ 12324 h 18471"/>
                  <a:gd name="connsiteX3" fmla="*/ 12181 w 18321"/>
                  <a:gd name="connsiteY3" fmla="*/ 542 h 18471"/>
                  <a:gd name="connsiteX4" fmla="*/ 519 w 18321"/>
                  <a:gd name="connsiteY4" fmla="*/ 6164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71">
                    <a:moveTo>
                      <a:pt x="519" y="6164"/>
                    </a:moveTo>
                    <a:cubicBezTo>
                      <a:pt x="-1156" y="10949"/>
                      <a:pt x="1356" y="16212"/>
                      <a:pt x="6141" y="17946"/>
                    </a:cubicBezTo>
                    <a:cubicBezTo>
                      <a:pt x="10925" y="19621"/>
                      <a:pt x="16129" y="17169"/>
                      <a:pt x="17803" y="12324"/>
                    </a:cubicBezTo>
                    <a:cubicBezTo>
                      <a:pt x="19478" y="7540"/>
                      <a:pt x="16966" y="2277"/>
                      <a:pt x="12181" y="542"/>
                    </a:cubicBezTo>
                    <a:cubicBezTo>
                      <a:pt x="7397" y="-1192"/>
                      <a:pt x="2193" y="1380"/>
                      <a:pt x="519" y="6164"/>
                    </a:cubicBezTo>
                    <a:close/>
                  </a:path>
                </a:pathLst>
              </a:custGeom>
              <a:grpFill/>
              <a:ln w="5978" cap="flat">
                <a:noFill/>
                <a:prstDash val="solid"/>
                <a:miter/>
              </a:ln>
            </p:spPr>
            <p:txBody>
              <a:bodyPr rtlCol="0" anchor="ctr"/>
              <a:lstStyle/>
              <a:p>
                <a:endParaRPr lang="en-GB"/>
              </a:p>
            </p:txBody>
          </p:sp>
        </p:grpSp>
        <p:grpSp>
          <p:nvGrpSpPr>
            <p:cNvPr id="921" name="Graphic 3">
              <a:extLst>
                <a:ext uri="{FF2B5EF4-FFF2-40B4-BE49-F238E27FC236}">
                  <a16:creationId xmlns:a16="http://schemas.microsoft.com/office/drawing/2014/main" id="{A715A699-6114-4873-B751-840CCA2B57A8}"/>
                </a:ext>
              </a:extLst>
            </p:cNvPr>
            <p:cNvGrpSpPr/>
            <p:nvPr/>
          </p:nvGrpSpPr>
          <p:grpSpPr>
            <a:xfrm>
              <a:off x="5587054" y="5209014"/>
              <a:ext cx="70424" cy="249109"/>
              <a:chOff x="5587054" y="5209014"/>
              <a:chExt cx="70424" cy="249109"/>
            </a:xfrm>
            <a:grpFill/>
          </p:grpSpPr>
          <p:sp>
            <p:nvSpPr>
              <p:cNvPr id="2635" name="Vrije vorm: vorm 2634">
                <a:extLst>
                  <a:ext uri="{FF2B5EF4-FFF2-40B4-BE49-F238E27FC236}">
                    <a16:creationId xmlns:a16="http://schemas.microsoft.com/office/drawing/2014/main" id="{4FA37F94-5B29-4FBF-A47C-C93F15F21AC3}"/>
                  </a:ext>
                </a:extLst>
              </p:cNvPr>
              <p:cNvSpPr/>
              <p:nvPr/>
            </p:nvSpPr>
            <p:spPr>
              <a:xfrm>
                <a:off x="5594626" y="5217442"/>
                <a:ext cx="55261" cy="232291"/>
              </a:xfrm>
              <a:custGeom>
                <a:avLst/>
                <a:gdLst>
                  <a:gd name="connsiteX0" fmla="*/ 55262 w 55261"/>
                  <a:gd name="connsiteY0" fmla="*/ 718 h 232291"/>
                  <a:gd name="connsiteX1" fmla="*/ 2990 w 55261"/>
                  <a:gd name="connsiteY1" fmla="*/ 232291 h 232291"/>
                  <a:gd name="connsiteX2" fmla="*/ 0 w 55261"/>
                  <a:gd name="connsiteY2" fmla="*/ 231634 h 232291"/>
                  <a:gd name="connsiteX3" fmla="*/ 52331 w 55261"/>
                  <a:gd name="connsiteY3" fmla="*/ 0 h 232291"/>
                </a:gdLst>
                <a:ahLst/>
                <a:cxnLst>
                  <a:cxn ang="0">
                    <a:pos x="connsiteX0" y="connsiteY0"/>
                  </a:cxn>
                  <a:cxn ang="0">
                    <a:pos x="connsiteX1" y="connsiteY1"/>
                  </a:cxn>
                  <a:cxn ang="0">
                    <a:pos x="connsiteX2" y="connsiteY2"/>
                  </a:cxn>
                  <a:cxn ang="0">
                    <a:pos x="connsiteX3" y="connsiteY3"/>
                  </a:cxn>
                </a:cxnLst>
                <a:rect l="l" t="t" r="r" b="b"/>
                <a:pathLst>
                  <a:path w="55261" h="232291">
                    <a:moveTo>
                      <a:pt x="55262" y="718"/>
                    </a:moveTo>
                    <a:lnTo>
                      <a:pt x="2990" y="232291"/>
                    </a:lnTo>
                    <a:lnTo>
                      <a:pt x="0" y="231634"/>
                    </a:lnTo>
                    <a:lnTo>
                      <a:pt x="52331" y="0"/>
                    </a:lnTo>
                    <a:close/>
                  </a:path>
                </a:pathLst>
              </a:custGeom>
              <a:grpFill/>
              <a:ln w="5978" cap="flat">
                <a:noFill/>
                <a:prstDash val="solid"/>
                <a:miter/>
              </a:ln>
            </p:spPr>
            <p:txBody>
              <a:bodyPr rtlCol="0" anchor="ctr"/>
              <a:lstStyle/>
              <a:p>
                <a:endParaRPr lang="en-GB"/>
              </a:p>
            </p:txBody>
          </p:sp>
          <p:sp>
            <p:nvSpPr>
              <p:cNvPr id="2636" name="Vrije vorm: vorm 2635">
                <a:extLst>
                  <a:ext uri="{FF2B5EF4-FFF2-40B4-BE49-F238E27FC236}">
                    <a16:creationId xmlns:a16="http://schemas.microsoft.com/office/drawing/2014/main" id="{C51753A2-A04A-47F0-9646-EBA6FF62219B}"/>
                  </a:ext>
                </a:extLst>
              </p:cNvPr>
              <p:cNvSpPr/>
              <p:nvPr/>
            </p:nvSpPr>
            <p:spPr>
              <a:xfrm>
                <a:off x="5587054" y="5439669"/>
                <a:ext cx="18332" cy="18454"/>
              </a:xfrm>
              <a:custGeom>
                <a:avLst/>
                <a:gdLst>
                  <a:gd name="connsiteX0" fmla="*/ 18098 w 18332"/>
                  <a:gd name="connsiteY0" fmla="*/ 11321 h 18454"/>
                  <a:gd name="connsiteX1" fmla="*/ 7153 w 18332"/>
                  <a:gd name="connsiteY1" fmla="*/ 18198 h 18454"/>
                  <a:gd name="connsiteX2" fmla="*/ 216 w 18332"/>
                  <a:gd name="connsiteY2" fmla="*/ 7134 h 18454"/>
                  <a:gd name="connsiteX3" fmla="*/ 11161 w 18332"/>
                  <a:gd name="connsiteY3" fmla="*/ 256 h 18454"/>
                  <a:gd name="connsiteX4" fmla="*/ 18098 w 18332"/>
                  <a:gd name="connsiteY4" fmla="*/ 1132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4">
                    <a:moveTo>
                      <a:pt x="18098" y="11321"/>
                    </a:moveTo>
                    <a:cubicBezTo>
                      <a:pt x="16962" y="16284"/>
                      <a:pt x="12058" y="19395"/>
                      <a:pt x="7153" y="18198"/>
                    </a:cubicBezTo>
                    <a:cubicBezTo>
                      <a:pt x="2190" y="17062"/>
                      <a:pt x="-861" y="12098"/>
                      <a:pt x="216" y="7134"/>
                    </a:cubicBezTo>
                    <a:cubicBezTo>
                      <a:pt x="1352" y="2170"/>
                      <a:pt x="6256" y="-940"/>
                      <a:pt x="11161" y="256"/>
                    </a:cubicBezTo>
                    <a:cubicBezTo>
                      <a:pt x="16124" y="1452"/>
                      <a:pt x="19234" y="6417"/>
                      <a:pt x="18098" y="11321"/>
                    </a:cubicBezTo>
                    <a:close/>
                  </a:path>
                </a:pathLst>
              </a:custGeom>
              <a:grpFill/>
              <a:ln w="5978" cap="flat">
                <a:noFill/>
                <a:prstDash val="solid"/>
                <a:miter/>
              </a:ln>
            </p:spPr>
            <p:txBody>
              <a:bodyPr rtlCol="0" anchor="ctr"/>
              <a:lstStyle/>
              <a:p>
                <a:endParaRPr lang="en-GB"/>
              </a:p>
            </p:txBody>
          </p:sp>
          <p:sp>
            <p:nvSpPr>
              <p:cNvPr id="2637" name="Vrije vorm: vorm 2636">
                <a:extLst>
                  <a:ext uri="{FF2B5EF4-FFF2-40B4-BE49-F238E27FC236}">
                    <a16:creationId xmlns:a16="http://schemas.microsoft.com/office/drawing/2014/main" id="{29593EDE-5613-4AFF-8358-AA1DC33A7B21}"/>
                  </a:ext>
                </a:extLst>
              </p:cNvPr>
              <p:cNvSpPr/>
              <p:nvPr/>
            </p:nvSpPr>
            <p:spPr>
              <a:xfrm>
                <a:off x="5639128" y="5209014"/>
                <a:ext cx="18350" cy="18432"/>
              </a:xfrm>
              <a:custGeom>
                <a:avLst/>
                <a:gdLst>
                  <a:gd name="connsiteX0" fmla="*/ 18117 w 18350"/>
                  <a:gd name="connsiteY0" fmla="*/ 11299 h 18432"/>
                  <a:gd name="connsiteX1" fmla="*/ 11179 w 18350"/>
                  <a:gd name="connsiteY1" fmla="*/ 234 h 18432"/>
                  <a:gd name="connsiteX2" fmla="*/ 234 w 18350"/>
                  <a:gd name="connsiteY2" fmla="*/ 7112 h 18432"/>
                  <a:gd name="connsiteX3" fmla="*/ 7172 w 18350"/>
                  <a:gd name="connsiteY3" fmla="*/ 18176 h 18432"/>
                  <a:gd name="connsiteX4" fmla="*/ 18117 w 18350"/>
                  <a:gd name="connsiteY4" fmla="*/ 11299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2">
                    <a:moveTo>
                      <a:pt x="18117" y="11299"/>
                    </a:moveTo>
                    <a:cubicBezTo>
                      <a:pt x="19253" y="6335"/>
                      <a:pt x="16143" y="1371"/>
                      <a:pt x="11179" y="234"/>
                    </a:cubicBezTo>
                    <a:cubicBezTo>
                      <a:pt x="6215" y="-902"/>
                      <a:pt x="1311" y="2208"/>
                      <a:pt x="234" y="7112"/>
                    </a:cubicBezTo>
                    <a:cubicBezTo>
                      <a:pt x="-902" y="12076"/>
                      <a:pt x="2208" y="17040"/>
                      <a:pt x="7172" y="18176"/>
                    </a:cubicBezTo>
                    <a:cubicBezTo>
                      <a:pt x="12136" y="19373"/>
                      <a:pt x="17040" y="16263"/>
                      <a:pt x="18117" y="11299"/>
                    </a:cubicBezTo>
                    <a:close/>
                  </a:path>
                </a:pathLst>
              </a:custGeom>
              <a:grpFill/>
              <a:ln w="5978" cap="flat">
                <a:noFill/>
                <a:prstDash val="solid"/>
                <a:miter/>
              </a:ln>
            </p:spPr>
            <p:txBody>
              <a:bodyPr rtlCol="0" anchor="ctr"/>
              <a:lstStyle/>
              <a:p>
                <a:endParaRPr lang="en-GB"/>
              </a:p>
            </p:txBody>
          </p:sp>
        </p:grpSp>
        <p:grpSp>
          <p:nvGrpSpPr>
            <p:cNvPr id="922" name="Graphic 3">
              <a:extLst>
                <a:ext uri="{FF2B5EF4-FFF2-40B4-BE49-F238E27FC236}">
                  <a16:creationId xmlns:a16="http://schemas.microsoft.com/office/drawing/2014/main" id="{06A7D7DB-822B-4FCC-BFBF-ADF7C7DA3E26}"/>
                </a:ext>
              </a:extLst>
            </p:cNvPr>
            <p:cNvGrpSpPr/>
            <p:nvPr/>
          </p:nvGrpSpPr>
          <p:grpSpPr>
            <a:xfrm>
              <a:off x="5492626" y="5005069"/>
              <a:ext cx="50953" cy="118808"/>
              <a:chOff x="5492626" y="5005069"/>
              <a:chExt cx="50953" cy="118808"/>
            </a:xfrm>
            <a:grpFill/>
          </p:grpSpPr>
          <p:sp>
            <p:nvSpPr>
              <p:cNvPr id="2632" name="Vrije vorm: vorm 2631">
                <a:extLst>
                  <a:ext uri="{FF2B5EF4-FFF2-40B4-BE49-F238E27FC236}">
                    <a16:creationId xmlns:a16="http://schemas.microsoft.com/office/drawing/2014/main" id="{8747BB4E-EE2D-4A55-9FC0-A5FB6E1550BF}"/>
                  </a:ext>
                </a:extLst>
              </p:cNvPr>
              <p:cNvSpPr/>
              <p:nvPr/>
            </p:nvSpPr>
            <p:spPr>
              <a:xfrm>
                <a:off x="5500131" y="5013440"/>
                <a:ext cx="35884" cy="102150"/>
              </a:xfrm>
              <a:custGeom>
                <a:avLst/>
                <a:gdLst>
                  <a:gd name="connsiteX0" fmla="*/ 35884 w 35884"/>
                  <a:gd name="connsiteY0" fmla="*/ 957 h 102150"/>
                  <a:gd name="connsiteX1" fmla="*/ 2930 w 35884"/>
                  <a:gd name="connsiteY1" fmla="*/ 102151 h 102150"/>
                  <a:gd name="connsiteX2" fmla="*/ 0 w 35884"/>
                  <a:gd name="connsiteY2" fmla="*/ 101194 h 102150"/>
                  <a:gd name="connsiteX3" fmla="*/ 33014 w 35884"/>
                  <a:gd name="connsiteY3" fmla="*/ 0 h 102150"/>
                </a:gdLst>
                <a:ahLst/>
                <a:cxnLst>
                  <a:cxn ang="0">
                    <a:pos x="connsiteX0" y="connsiteY0"/>
                  </a:cxn>
                  <a:cxn ang="0">
                    <a:pos x="connsiteX1" y="connsiteY1"/>
                  </a:cxn>
                  <a:cxn ang="0">
                    <a:pos x="connsiteX2" y="connsiteY2"/>
                  </a:cxn>
                  <a:cxn ang="0">
                    <a:pos x="connsiteX3" y="connsiteY3"/>
                  </a:cxn>
                </a:cxnLst>
                <a:rect l="l" t="t" r="r" b="b"/>
                <a:pathLst>
                  <a:path w="35884" h="102150">
                    <a:moveTo>
                      <a:pt x="35884" y="957"/>
                    </a:moveTo>
                    <a:lnTo>
                      <a:pt x="2930" y="102151"/>
                    </a:lnTo>
                    <a:lnTo>
                      <a:pt x="0" y="101194"/>
                    </a:lnTo>
                    <a:lnTo>
                      <a:pt x="33014" y="0"/>
                    </a:lnTo>
                    <a:close/>
                  </a:path>
                </a:pathLst>
              </a:custGeom>
              <a:grpFill/>
              <a:ln w="5978" cap="flat">
                <a:noFill/>
                <a:prstDash val="solid"/>
                <a:miter/>
              </a:ln>
            </p:spPr>
            <p:txBody>
              <a:bodyPr rtlCol="0" anchor="ctr"/>
              <a:lstStyle/>
              <a:p>
                <a:endParaRPr lang="en-GB"/>
              </a:p>
            </p:txBody>
          </p:sp>
          <p:sp>
            <p:nvSpPr>
              <p:cNvPr id="2633" name="Vrije vorm: vorm 2632">
                <a:extLst>
                  <a:ext uri="{FF2B5EF4-FFF2-40B4-BE49-F238E27FC236}">
                    <a16:creationId xmlns:a16="http://schemas.microsoft.com/office/drawing/2014/main" id="{70BDF7B5-907E-4139-BB9A-737537F1B9F6}"/>
                  </a:ext>
                </a:extLst>
              </p:cNvPr>
              <p:cNvSpPr/>
              <p:nvPr/>
            </p:nvSpPr>
            <p:spPr>
              <a:xfrm>
                <a:off x="5492626" y="5105449"/>
                <a:ext cx="18298" cy="18428"/>
              </a:xfrm>
              <a:custGeom>
                <a:avLst/>
                <a:gdLst>
                  <a:gd name="connsiteX0" fmla="*/ 17851 w 18298"/>
                  <a:gd name="connsiteY0" fmla="*/ 12115 h 18428"/>
                  <a:gd name="connsiteX1" fmla="*/ 6308 w 18298"/>
                  <a:gd name="connsiteY1" fmla="*/ 17976 h 18428"/>
                  <a:gd name="connsiteX2" fmla="*/ 447 w 18298"/>
                  <a:gd name="connsiteY2" fmla="*/ 6314 h 18428"/>
                  <a:gd name="connsiteX3" fmla="*/ 11990 w 18298"/>
                  <a:gd name="connsiteY3" fmla="*/ 453 h 18428"/>
                  <a:gd name="connsiteX4" fmla="*/ 17851 w 18298"/>
                  <a:gd name="connsiteY4" fmla="*/ 1211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8">
                    <a:moveTo>
                      <a:pt x="17851" y="12115"/>
                    </a:moveTo>
                    <a:cubicBezTo>
                      <a:pt x="16296" y="16960"/>
                      <a:pt x="11093" y="19531"/>
                      <a:pt x="6308" y="17976"/>
                    </a:cubicBezTo>
                    <a:cubicBezTo>
                      <a:pt x="1524" y="16361"/>
                      <a:pt x="-1108" y="11158"/>
                      <a:pt x="447" y="6314"/>
                    </a:cubicBezTo>
                    <a:cubicBezTo>
                      <a:pt x="2002" y="1469"/>
                      <a:pt x="7205" y="-1102"/>
                      <a:pt x="11990" y="453"/>
                    </a:cubicBezTo>
                    <a:cubicBezTo>
                      <a:pt x="16774" y="2067"/>
                      <a:pt x="19406" y="7270"/>
                      <a:pt x="17851" y="12115"/>
                    </a:cubicBezTo>
                    <a:close/>
                  </a:path>
                </a:pathLst>
              </a:custGeom>
              <a:grpFill/>
              <a:ln w="5978" cap="flat">
                <a:noFill/>
                <a:prstDash val="solid"/>
                <a:miter/>
              </a:ln>
            </p:spPr>
            <p:txBody>
              <a:bodyPr rtlCol="0" anchor="ctr"/>
              <a:lstStyle/>
              <a:p>
                <a:endParaRPr lang="en-GB"/>
              </a:p>
            </p:txBody>
          </p:sp>
          <p:sp>
            <p:nvSpPr>
              <p:cNvPr id="2634" name="Vrije vorm: vorm 2633">
                <a:extLst>
                  <a:ext uri="{FF2B5EF4-FFF2-40B4-BE49-F238E27FC236}">
                    <a16:creationId xmlns:a16="http://schemas.microsoft.com/office/drawing/2014/main" id="{F7DDF95B-DD26-493D-AC84-CA4D936D023C}"/>
                  </a:ext>
                </a:extLst>
              </p:cNvPr>
              <p:cNvSpPr/>
              <p:nvPr/>
            </p:nvSpPr>
            <p:spPr>
              <a:xfrm>
                <a:off x="5525281" y="5005069"/>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8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5" y="2090"/>
                      <a:pt x="11990" y="476"/>
                    </a:cubicBezTo>
                    <a:cubicBezTo>
                      <a:pt x="7205" y="-1139"/>
                      <a:pt x="2002" y="1492"/>
                      <a:pt x="447" y="6337"/>
                    </a:cubicBezTo>
                    <a:cubicBezTo>
                      <a:pt x="-1108" y="11181"/>
                      <a:pt x="1524" y="16384"/>
                      <a:pt x="6308" y="17999"/>
                    </a:cubicBezTo>
                    <a:cubicBezTo>
                      <a:pt x="11093" y="19614"/>
                      <a:pt x="16296" y="16982"/>
                      <a:pt x="17851" y="12138"/>
                    </a:cubicBezTo>
                    <a:close/>
                  </a:path>
                </a:pathLst>
              </a:custGeom>
              <a:grpFill/>
              <a:ln w="5978" cap="flat">
                <a:noFill/>
                <a:prstDash val="solid"/>
                <a:miter/>
              </a:ln>
            </p:spPr>
            <p:txBody>
              <a:bodyPr rtlCol="0" anchor="ctr"/>
              <a:lstStyle/>
              <a:p>
                <a:endParaRPr lang="en-GB"/>
              </a:p>
            </p:txBody>
          </p:sp>
        </p:grpSp>
        <p:grpSp>
          <p:nvGrpSpPr>
            <p:cNvPr id="923" name="Graphic 3">
              <a:extLst>
                <a:ext uri="{FF2B5EF4-FFF2-40B4-BE49-F238E27FC236}">
                  <a16:creationId xmlns:a16="http://schemas.microsoft.com/office/drawing/2014/main" id="{5ADF8263-2243-49B4-BBF8-041FAAC4C29D}"/>
                </a:ext>
              </a:extLst>
            </p:cNvPr>
            <p:cNvGrpSpPr/>
            <p:nvPr/>
          </p:nvGrpSpPr>
          <p:grpSpPr>
            <a:xfrm>
              <a:off x="5490077" y="5037033"/>
              <a:ext cx="141062" cy="340543"/>
              <a:chOff x="5490077" y="5037033"/>
              <a:chExt cx="141062" cy="340543"/>
            </a:xfrm>
            <a:grpFill/>
          </p:grpSpPr>
          <p:sp>
            <p:nvSpPr>
              <p:cNvPr id="2629" name="Vrije vorm: vorm 2628">
                <a:extLst>
                  <a:ext uri="{FF2B5EF4-FFF2-40B4-BE49-F238E27FC236}">
                    <a16:creationId xmlns:a16="http://schemas.microsoft.com/office/drawing/2014/main" id="{30D6BF9F-FE5A-4B4D-9E61-C434B6428F67}"/>
                  </a:ext>
                </a:extLst>
              </p:cNvPr>
              <p:cNvSpPr/>
              <p:nvPr/>
            </p:nvSpPr>
            <p:spPr>
              <a:xfrm>
                <a:off x="5497679" y="5045317"/>
                <a:ext cx="125834" cy="324035"/>
              </a:xfrm>
              <a:custGeom>
                <a:avLst/>
                <a:gdLst>
                  <a:gd name="connsiteX0" fmla="*/ 125834 w 125834"/>
                  <a:gd name="connsiteY0" fmla="*/ 1076 h 324035"/>
                  <a:gd name="connsiteX1" fmla="*/ 2871 w 125834"/>
                  <a:gd name="connsiteY1" fmla="*/ 324035 h 324035"/>
                  <a:gd name="connsiteX2" fmla="*/ 0 w 125834"/>
                  <a:gd name="connsiteY2" fmla="*/ 322959 h 324035"/>
                  <a:gd name="connsiteX3" fmla="*/ 123023 w 125834"/>
                  <a:gd name="connsiteY3" fmla="*/ 0 h 324035"/>
                </a:gdLst>
                <a:ahLst/>
                <a:cxnLst>
                  <a:cxn ang="0">
                    <a:pos x="connsiteX0" y="connsiteY0"/>
                  </a:cxn>
                  <a:cxn ang="0">
                    <a:pos x="connsiteX1" y="connsiteY1"/>
                  </a:cxn>
                  <a:cxn ang="0">
                    <a:pos x="connsiteX2" y="connsiteY2"/>
                  </a:cxn>
                  <a:cxn ang="0">
                    <a:pos x="connsiteX3" y="connsiteY3"/>
                  </a:cxn>
                </a:cxnLst>
                <a:rect l="l" t="t" r="r" b="b"/>
                <a:pathLst>
                  <a:path w="125834" h="324035">
                    <a:moveTo>
                      <a:pt x="125834" y="1076"/>
                    </a:moveTo>
                    <a:lnTo>
                      <a:pt x="2871" y="324035"/>
                    </a:lnTo>
                    <a:lnTo>
                      <a:pt x="0" y="322959"/>
                    </a:lnTo>
                    <a:lnTo>
                      <a:pt x="123023" y="0"/>
                    </a:lnTo>
                    <a:close/>
                  </a:path>
                </a:pathLst>
              </a:custGeom>
              <a:grpFill/>
              <a:ln w="5978" cap="flat">
                <a:noFill/>
                <a:prstDash val="solid"/>
                <a:miter/>
              </a:ln>
            </p:spPr>
            <p:txBody>
              <a:bodyPr rtlCol="0" anchor="ctr"/>
              <a:lstStyle/>
              <a:p>
                <a:endParaRPr lang="en-GB"/>
              </a:p>
            </p:txBody>
          </p:sp>
          <p:sp>
            <p:nvSpPr>
              <p:cNvPr id="2630" name="Vrije vorm: vorm 2629">
                <a:extLst>
                  <a:ext uri="{FF2B5EF4-FFF2-40B4-BE49-F238E27FC236}">
                    <a16:creationId xmlns:a16="http://schemas.microsoft.com/office/drawing/2014/main" id="{5FF267A3-DAF4-43DF-A1FA-DABDB3DE20A7}"/>
                  </a:ext>
                </a:extLst>
              </p:cNvPr>
              <p:cNvSpPr/>
              <p:nvPr/>
            </p:nvSpPr>
            <p:spPr>
              <a:xfrm>
                <a:off x="5612777" y="5037033"/>
                <a:ext cx="18362" cy="18421"/>
              </a:xfrm>
              <a:custGeom>
                <a:avLst/>
                <a:gdLst>
                  <a:gd name="connsiteX0" fmla="*/ 629 w 18362"/>
                  <a:gd name="connsiteY0" fmla="*/ 5892 h 18421"/>
                  <a:gd name="connsiteX1" fmla="*/ 12470 w 18362"/>
                  <a:gd name="connsiteY1" fmla="*/ 629 h 18421"/>
                  <a:gd name="connsiteX2" fmla="*/ 17733 w 18362"/>
                  <a:gd name="connsiteY2" fmla="*/ 12530 h 18421"/>
                  <a:gd name="connsiteX3" fmla="*/ 5892 w 18362"/>
                  <a:gd name="connsiteY3" fmla="*/ 17793 h 18421"/>
                  <a:gd name="connsiteX4" fmla="*/ 629 w 18362"/>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629" y="5892"/>
                    </a:moveTo>
                    <a:cubicBezTo>
                      <a:pt x="2423" y="1167"/>
                      <a:pt x="7746" y="-1225"/>
                      <a:pt x="12470" y="629"/>
                    </a:cubicBezTo>
                    <a:cubicBezTo>
                      <a:pt x="17195" y="2483"/>
                      <a:pt x="19587" y="7806"/>
                      <a:pt x="17733" y="12530"/>
                    </a:cubicBezTo>
                    <a:cubicBezTo>
                      <a:pt x="15939" y="17255"/>
                      <a:pt x="10616" y="19647"/>
                      <a:pt x="5892" y="17793"/>
                    </a:cubicBezTo>
                    <a:cubicBezTo>
                      <a:pt x="1167" y="15999"/>
                      <a:pt x="-1225" y="10676"/>
                      <a:pt x="629" y="5892"/>
                    </a:cubicBezTo>
                    <a:close/>
                  </a:path>
                </a:pathLst>
              </a:custGeom>
              <a:grpFill/>
              <a:ln w="5978" cap="flat">
                <a:noFill/>
                <a:prstDash val="solid"/>
                <a:miter/>
              </a:ln>
            </p:spPr>
            <p:txBody>
              <a:bodyPr rtlCol="0" anchor="ctr"/>
              <a:lstStyle/>
              <a:p>
                <a:endParaRPr lang="en-GB"/>
              </a:p>
            </p:txBody>
          </p:sp>
          <p:sp>
            <p:nvSpPr>
              <p:cNvPr id="2631" name="Vrije vorm: vorm 2630">
                <a:extLst>
                  <a:ext uri="{FF2B5EF4-FFF2-40B4-BE49-F238E27FC236}">
                    <a16:creationId xmlns:a16="http://schemas.microsoft.com/office/drawing/2014/main" id="{C01FFE88-0B6F-4847-9F2F-193C458B0D0B}"/>
                  </a:ext>
                </a:extLst>
              </p:cNvPr>
              <p:cNvSpPr/>
              <p:nvPr/>
            </p:nvSpPr>
            <p:spPr>
              <a:xfrm>
                <a:off x="5490077" y="5359179"/>
                <a:ext cx="18313" cy="18397"/>
              </a:xfrm>
              <a:custGeom>
                <a:avLst/>
                <a:gdLst>
                  <a:gd name="connsiteX0" fmla="*/ 604 w 18313"/>
                  <a:gd name="connsiteY0" fmla="*/ 5867 h 18397"/>
                  <a:gd name="connsiteX1" fmla="*/ 5867 w 18313"/>
                  <a:gd name="connsiteY1" fmla="*/ 17769 h 18397"/>
                  <a:gd name="connsiteX2" fmla="*/ 17709 w 18313"/>
                  <a:gd name="connsiteY2" fmla="*/ 12506 h 18397"/>
                  <a:gd name="connsiteX3" fmla="*/ 12446 w 18313"/>
                  <a:gd name="connsiteY3" fmla="*/ 604 h 18397"/>
                  <a:gd name="connsiteX4" fmla="*/ 604 w 18313"/>
                  <a:gd name="connsiteY4" fmla="*/ 5867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97">
                    <a:moveTo>
                      <a:pt x="604" y="5867"/>
                    </a:moveTo>
                    <a:cubicBezTo>
                      <a:pt x="-1190" y="10592"/>
                      <a:pt x="1143" y="15975"/>
                      <a:pt x="5867" y="17769"/>
                    </a:cubicBezTo>
                    <a:cubicBezTo>
                      <a:pt x="10592" y="19623"/>
                      <a:pt x="15915" y="17231"/>
                      <a:pt x="17709" y="12506"/>
                    </a:cubicBezTo>
                    <a:cubicBezTo>
                      <a:pt x="19503" y="7781"/>
                      <a:pt x="17171" y="2399"/>
                      <a:pt x="12446" y="604"/>
                    </a:cubicBezTo>
                    <a:cubicBezTo>
                      <a:pt x="7721" y="-1190"/>
                      <a:pt x="2458" y="1142"/>
                      <a:pt x="604" y="5867"/>
                    </a:cubicBezTo>
                    <a:close/>
                  </a:path>
                </a:pathLst>
              </a:custGeom>
              <a:grpFill/>
              <a:ln w="5978" cap="flat">
                <a:noFill/>
                <a:prstDash val="solid"/>
                <a:miter/>
              </a:ln>
            </p:spPr>
            <p:txBody>
              <a:bodyPr rtlCol="0" anchor="ctr"/>
              <a:lstStyle/>
              <a:p>
                <a:endParaRPr lang="en-GB"/>
              </a:p>
            </p:txBody>
          </p:sp>
        </p:grpSp>
        <p:grpSp>
          <p:nvGrpSpPr>
            <p:cNvPr id="924" name="Graphic 3">
              <a:extLst>
                <a:ext uri="{FF2B5EF4-FFF2-40B4-BE49-F238E27FC236}">
                  <a16:creationId xmlns:a16="http://schemas.microsoft.com/office/drawing/2014/main" id="{1FE01E61-2103-4475-8B8D-D39B1B17EC98}"/>
                </a:ext>
              </a:extLst>
            </p:cNvPr>
            <p:cNvGrpSpPr/>
            <p:nvPr/>
          </p:nvGrpSpPr>
          <p:grpSpPr>
            <a:xfrm>
              <a:off x="5697698" y="5614214"/>
              <a:ext cx="38122" cy="151171"/>
              <a:chOff x="5697698" y="5614214"/>
              <a:chExt cx="38122" cy="151171"/>
            </a:xfrm>
            <a:grpFill/>
          </p:grpSpPr>
          <p:sp>
            <p:nvSpPr>
              <p:cNvPr id="2626" name="Vrije vorm: vorm 2625">
                <a:extLst>
                  <a:ext uri="{FF2B5EF4-FFF2-40B4-BE49-F238E27FC236}">
                    <a16:creationId xmlns:a16="http://schemas.microsoft.com/office/drawing/2014/main" id="{D30A8EF0-892F-46DD-B946-B3F79870AB7C}"/>
                  </a:ext>
                </a:extLst>
              </p:cNvPr>
              <p:cNvSpPr/>
              <p:nvPr/>
            </p:nvSpPr>
            <p:spPr>
              <a:xfrm>
                <a:off x="5705269" y="5622755"/>
                <a:ext cx="22906" cy="134087"/>
              </a:xfrm>
              <a:custGeom>
                <a:avLst/>
                <a:gdLst>
                  <a:gd name="connsiteX0" fmla="*/ 22906 w 22906"/>
                  <a:gd name="connsiteY0" fmla="*/ 479 h 134087"/>
                  <a:gd name="connsiteX1" fmla="*/ 3050 w 22906"/>
                  <a:gd name="connsiteY1" fmla="*/ 134088 h 134087"/>
                  <a:gd name="connsiteX2" fmla="*/ 0 w 22906"/>
                  <a:gd name="connsiteY2" fmla="*/ 133669 h 134087"/>
                  <a:gd name="connsiteX3" fmla="*/ 19916 w 22906"/>
                  <a:gd name="connsiteY3" fmla="*/ 0 h 134087"/>
                </a:gdLst>
                <a:ahLst/>
                <a:cxnLst>
                  <a:cxn ang="0">
                    <a:pos x="connsiteX0" y="connsiteY0"/>
                  </a:cxn>
                  <a:cxn ang="0">
                    <a:pos x="connsiteX1" y="connsiteY1"/>
                  </a:cxn>
                  <a:cxn ang="0">
                    <a:pos x="connsiteX2" y="connsiteY2"/>
                  </a:cxn>
                  <a:cxn ang="0">
                    <a:pos x="connsiteX3" y="connsiteY3"/>
                  </a:cxn>
                </a:cxnLst>
                <a:rect l="l" t="t" r="r" b="b"/>
                <a:pathLst>
                  <a:path w="22906" h="134087">
                    <a:moveTo>
                      <a:pt x="22906" y="479"/>
                    </a:moveTo>
                    <a:lnTo>
                      <a:pt x="3050" y="134088"/>
                    </a:lnTo>
                    <a:lnTo>
                      <a:pt x="0" y="133669"/>
                    </a:lnTo>
                    <a:lnTo>
                      <a:pt x="19916" y="0"/>
                    </a:lnTo>
                    <a:close/>
                  </a:path>
                </a:pathLst>
              </a:custGeom>
              <a:grpFill/>
              <a:ln w="5978" cap="flat">
                <a:noFill/>
                <a:prstDash val="solid"/>
                <a:miter/>
              </a:ln>
            </p:spPr>
            <p:txBody>
              <a:bodyPr rtlCol="0" anchor="ctr"/>
              <a:lstStyle/>
              <a:p>
                <a:endParaRPr lang="en-GB"/>
              </a:p>
            </p:txBody>
          </p:sp>
          <p:sp>
            <p:nvSpPr>
              <p:cNvPr id="2627" name="Vrije vorm: vorm 2626">
                <a:extLst>
                  <a:ext uri="{FF2B5EF4-FFF2-40B4-BE49-F238E27FC236}">
                    <a16:creationId xmlns:a16="http://schemas.microsoft.com/office/drawing/2014/main" id="{E2D8A942-32BA-4B72-9F3A-998471866F4C}"/>
                  </a:ext>
                </a:extLst>
              </p:cNvPr>
              <p:cNvSpPr/>
              <p:nvPr/>
            </p:nvSpPr>
            <p:spPr>
              <a:xfrm>
                <a:off x="5697698" y="5746926"/>
                <a:ext cx="18326" cy="18459"/>
              </a:xfrm>
              <a:custGeom>
                <a:avLst/>
                <a:gdLst>
                  <a:gd name="connsiteX0" fmla="*/ 18217 w 18326"/>
                  <a:gd name="connsiteY0" fmla="*/ 10635 h 18459"/>
                  <a:gd name="connsiteX1" fmla="*/ 7811 w 18326"/>
                  <a:gd name="connsiteY1" fmla="*/ 18350 h 18459"/>
                  <a:gd name="connsiteX2" fmla="*/ 95 w 18326"/>
                  <a:gd name="connsiteY2" fmla="*/ 7824 h 18459"/>
                  <a:gd name="connsiteX3" fmla="*/ 10502 w 18326"/>
                  <a:gd name="connsiteY3" fmla="*/ 109 h 18459"/>
                  <a:gd name="connsiteX4" fmla="*/ 18217 w 18326"/>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9">
                    <a:moveTo>
                      <a:pt x="18217" y="10635"/>
                    </a:moveTo>
                    <a:cubicBezTo>
                      <a:pt x="17440" y="15659"/>
                      <a:pt x="12834" y="19128"/>
                      <a:pt x="7811" y="18350"/>
                    </a:cubicBezTo>
                    <a:cubicBezTo>
                      <a:pt x="2787" y="17573"/>
                      <a:pt x="-622" y="12848"/>
                      <a:pt x="95" y="7824"/>
                    </a:cubicBezTo>
                    <a:cubicBezTo>
                      <a:pt x="813" y="2800"/>
                      <a:pt x="5538" y="-669"/>
                      <a:pt x="10502" y="109"/>
                    </a:cubicBezTo>
                    <a:cubicBezTo>
                      <a:pt x="15526" y="946"/>
                      <a:pt x="18995" y="5611"/>
                      <a:pt x="18217" y="10635"/>
                    </a:cubicBezTo>
                    <a:close/>
                  </a:path>
                </a:pathLst>
              </a:custGeom>
              <a:grpFill/>
              <a:ln w="5978" cap="flat">
                <a:noFill/>
                <a:prstDash val="solid"/>
                <a:miter/>
              </a:ln>
            </p:spPr>
            <p:txBody>
              <a:bodyPr rtlCol="0" anchor="ctr"/>
              <a:lstStyle/>
              <a:p>
                <a:endParaRPr lang="en-GB"/>
              </a:p>
            </p:txBody>
          </p:sp>
          <p:sp>
            <p:nvSpPr>
              <p:cNvPr id="2628" name="Vrije vorm: vorm 2627">
                <a:extLst>
                  <a:ext uri="{FF2B5EF4-FFF2-40B4-BE49-F238E27FC236}">
                    <a16:creationId xmlns:a16="http://schemas.microsoft.com/office/drawing/2014/main" id="{871E6A85-7665-4CC1-8FA9-87143A107320}"/>
                  </a:ext>
                </a:extLst>
              </p:cNvPr>
              <p:cNvSpPr/>
              <p:nvPr/>
            </p:nvSpPr>
            <p:spPr>
              <a:xfrm>
                <a:off x="5717481" y="5614214"/>
                <a:ext cx="18339" cy="18459"/>
              </a:xfrm>
              <a:custGeom>
                <a:avLst/>
                <a:gdLst>
                  <a:gd name="connsiteX0" fmla="*/ 18231 w 18339"/>
                  <a:gd name="connsiteY0" fmla="*/ 10635 h 18459"/>
                  <a:gd name="connsiteX1" fmla="*/ 10515 w 18339"/>
                  <a:gd name="connsiteY1" fmla="*/ 109 h 18459"/>
                  <a:gd name="connsiteX2" fmla="*/ 109 w 18339"/>
                  <a:gd name="connsiteY2" fmla="*/ 7824 h 18459"/>
                  <a:gd name="connsiteX3" fmla="*/ 7824 w 18339"/>
                  <a:gd name="connsiteY3" fmla="*/ 18350 h 18459"/>
                  <a:gd name="connsiteX4" fmla="*/ 18231 w 18339"/>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9">
                    <a:moveTo>
                      <a:pt x="18231" y="10635"/>
                    </a:moveTo>
                    <a:cubicBezTo>
                      <a:pt x="19008" y="5611"/>
                      <a:pt x="15539" y="886"/>
                      <a:pt x="10515" y="109"/>
                    </a:cubicBezTo>
                    <a:cubicBezTo>
                      <a:pt x="5492" y="-669"/>
                      <a:pt x="827" y="2800"/>
                      <a:pt x="109" y="7824"/>
                    </a:cubicBezTo>
                    <a:cubicBezTo>
                      <a:pt x="-669" y="12848"/>
                      <a:pt x="2800" y="17573"/>
                      <a:pt x="7824" y="18350"/>
                    </a:cubicBezTo>
                    <a:cubicBezTo>
                      <a:pt x="12788" y="19128"/>
                      <a:pt x="17453" y="15659"/>
                      <a:pt x="18231" y="10635"/>
                    </a:cubicBezTo>
                    <a:close/>
                  </a:path>
                </a:pathLst>
              </a:custGeom>
              <a:grpFill/>
              <a:ln w="5978" cap="flat">
                <a:noFill/>
                <a:prstDash val="solid"/>
                <a:miter/>
              </a:ln>
            </p:spPr>
            <p:txBody>
              <a:bodyPr rtlCol="0" anchor="ctr"/>
              <a:lstStyle/>
              <a:p>
                <a:endParaRPr lang="en-GB"/>
              </a:p>
            </p:txBody>
          </p:sp>
        </p:grpSp>
        <p:grpSp>
          <p:nvGrpSpPr>
            <p:cNvPr id="925" name="Graphic 3">
              <a:extLst>
                <a:ext uri="{FF2B5EF4-FFF2-40B4-BE49-F238E27FC236}">
                  <a16:creationId xmlns:a16="http://schemas.microsoft.com/office/drawing/2014/main" id="{6F080388-34D3-4E69-B373-C8C5FA319D0C}"/>
                </a:ext>
              </a:extLst>
            </p:cNvPr>
            <p:cNvGrpSpPr/>
            <p:nvPr/>
          </p:nvGrpSpPr>
          <p:grpSpPr>
            <a:xfrm>
              <a:off x="5656699" y="5453059"/>
              <a:ext cx="64128" cy="290994"/>
              <a:chOff x="5656699" y="5453059"/>
              <a:chExt cx="64128" cy="290994"/>
            </a:xfrm>
            <a:grpFill/>
          </p:grpSpPr>
          <p:sp>
            <p:nvSpPr>
              <p:cNvPr id="2623" name="Vrije vorm: vorm 2622">
                <a:extLst>
                  <a:ext uri="{FF2B5EF4-FFF2-40B4-BE49-F238E27FC236}">
                    <a16:creationId xmlns:a16="http://schemas.microsoft.com/office/drawing/2014/main" id="{D013A007-120F-4E76-810E-BB74E07A2574}"/>
                  </a:ext>
                </a:extLst>
              </p:cNvPr>
              <p:cNvSpPr/>
              <p:nvPr/>
            </p:nvSpPr>
            <p:spPr>
              <a:xfrm>
                <a:off x="5664361" y="5461515"/>
                <a:ext cx="48922" cy="273976"/>
              </a:xfrm>
              <a:custGeom>
                <a:avLst/>
                <a:gdLst>
                  <a:gd name="connsiteX0" fmla="*/ 48922 w 48922"/>
                  <a:gd name="connsiteY0" fmla="*/ 538 h 273976"/>
                  <a:gd name="connsiteX1" fmla="*/ 2990 w 48922"/>
                  <a:gd name="connsiteY1" fmla="*/ 273977 h 273976"/>
                  <a:gd name="connsiteX2" fmla="*/ 0 w 48922"/>
                  <a:gd name="connsiteY2" fmla="*/ 273499 h 273976"/>
                  <a:gd name="connsiteX3" fmla="*/ 45872 w 48922"/>
                  <a:gd name="connsiteY3" fmla="*/ 0 h 273976"/>
                </a:gdLst>
                <a:ahLst/>
                <a:cxnLst>
                  <a:cxn ang="0">
                    <a:pos x="connsiteX0" y="connsiteY0"/>
                  </a:cxn>
                  <a:cxn ang="0">
                    <a:pos x="connsiteX1" y="connsiteY1"/>
                  </a:cxn>
                  <a:cxn ang="0">
                    <a:pos x="connsiteX2" y="connsiteY2"/>
                  </a:cxn>
                  <a:cxn ang="0">
                    <a:pos x="connsiteX3" y="connsiteY3"/>
                  </a:cxn>
                </a:cxnLst>
                <a:rect l="l" t="t" r="r" b="b"/>
                <a:pathLst>
                  <a:path w="48922" h="273976">
                    <a:moveTo>
                      <a:pt x="48922" y="538"/>
                    </a:moveTo>
                    <a:lnTo>
                      <a:pt x="2990" y="273977"/>
                    </a:lnTo>
                    <a:lnTo>
                      <a:pt x="0" y="273499"/>
                    </a:lnTo>
                    <a:lnTo>
                      <a:pt x="45872" y="0"/>
                    </a:lnTo>
                    <a:close/>
                  </a:path>
                </a:pathLst>
              </a:custGeom>
              <a:grpFill/>
              <a:ln w="5978" cap="flat">
                <a:noFill/>
                <a:prstDash val="solid"/>
                <a:miter/>
              </a:ln>
            </p:spPr>
            <p:txBody>
              <a:bodyPr rtlCol="0" anchor="ctr"/>
              <a:lstStyle/>
              <a:p>
                <a:endParaRPr lang="en-GB"/>
              </a:p>
            </p:txBody>
          </p:sp>
          <p:sp>
            <p:nvSpPr>
              <p:cNvPr id="2624" name="Vrije vorm: vorm 2623">
                <a:extLst>
                  <a:ext uri="{FF2B5EF4-FFF2-40B4-BE49-F238E27FC236}">
                    <a16:creationId xmlns:a16="http://schemas.microsoft.com/office/drawing/2014/main" id="{9B8B0FFB-111D-4111-BCF7-BB9F72E7DB06}"/>
                  </a:ext>
                </a:extLst>
              </p:cNvPr>
              <p:cNvSpPr/>
              <p:nvPr/>
            </p:nvSpPr>
            <p:spPr>
              <a:xfrm>
                <a:off x="5656699" y="5725615"/>
                <a:ext cx="18376" cy="18438"/>
              </a:xfrm>
              <a:custGeom>
                <a:avLst/>
                <a:gdLst>
                  <a:gd name="connsiteX0" fmla="*/ 18248 w 18376"/>
                  <a:gd name="connsiteY0" fmla="*/ 10774 h 18438"/>
                  <a:gd name="connsiteX1" fmla="*/ 7662 w 18376"/>
                  <a:gd name="connsiteY1" fmla="*/ 18310 h 18438"/>
                  <a:gd name="connsiteX2" fmla="*/ 127 w 18376"/>
                  <a:gd name="connsiteY2" fmla="*/ 7664 h 18438"/>
                  <a:gd name="connsiteX3" fmla="*/ 10712 w 18376"/>
                  <a:gd name="connsiteY3" fmla="*/ 128 h 18438"/>
                  <a:gd name="connsiteX4" fmla="*/ 18248 w 18376"/>
                  <a:gd name="connsiteY4" fmla="*/ 10774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18248" y="10774"/>
                    </a:moveTo>
                    <a:cubicBezTo>
                      <a:pt x="17411" y="15798"/>
                      <a:pt x="12686" y="19147"/>
                      <a:pt x="7662" y="18310"/>
                    </a:cubicBezTo>
                    <a:cubicBezTo>
                      <a:pt x="2698" y="17413"/>
                      <a:pt x="-711" y="12688"/>
                      <a:pt x="127" y="7664"/>
                    </a:cubicBezTo>
                    <a:cubicBezTo>
                      <a:pt x="964" y="2640"/>
                      <a:pt x="5689" y="-709"/>
                      <a:pt x="10712" y="128"/>
                    </a:cubicBezTo>
                    <a:cubicBezTo>
                      <a:pt x="15736" y="966"/>
                      <a:pt x="19085" y="5750"/>
                      <a:pt x="18248" y="10774"/>
                    </a:cubicBezTo>
                    <a:close/>
                  </a:path>
                </a:pathLst>
              </a:custGeom>
              <a:grpFill/>
              <a:ln w="5978" cap="flat">
                <a:noFill/>
                <a:prstDash val="solid"/>
                <a:miter/>
              </a:ln>
            </p:spPr>
            <p:txBody>
              <a:bodyPr rtlCol="0" anchor="ctr"/>
              <a:lstStyle/>
              <a:p>
                <a:endParaRPr lang="en-GB"/>
              </a:p>
            </p:txBody>
          </p:sp>
          <p:sp>
            <p:nvSpPr>
              <p:cNvPr id="2625" name="Vrije vorm: vorm 2624">
                <a:extLst>
                  <a:ext uri="{FF2B5EF4-FFF2-40B4-BE49-F238E27FC236}">
                    <a16:creationId xmlns:a16="http://schemas.microsoft.com/office/drawing/2014/main" id="{C988BD77-C840-4532-B448-A466F143BD60}"/>
                  </a:ext>
                </a:extLst>
              </p:cNvPr>
              <p:cNvSpPr/>
              <p:nvPr/>
            </p:nvSpPr>
            <p:spPr>
              <a:xfrm>
                <a:off x="5702450" y="5453059"/>
                <a:ext cx="18378" cy="18451"/>
              </a:xfrm>
              <a:custGeom>
                <a:avLst/>
                <a:gdLst>
                  <a:gd name="connsiteX0" fmla="*/ 18250 w 18378"/>
                  <a:gd name="connsiteY0" fmla="*/ 10789 h 18451"/>
                  <a:gd name="connsiteX1" fmla="*/ 10714 w 18378"/>
                  <a:gd name="connsiteY1" fmla="*/ 143 h 18451"/>
                  <a:gd name="connsiteX2" fmla="*/ 128 w 18378"/>
                  <a:gd name="connsiteY2" fmla="*/ 7679 h 18451"/>
                  <a:gd name="connsiteX3" fmla="*/ 7664 w 18378"/>
                  <a:gd name="connsiteY3" fmla="*/ 18325 h 18451"/>
                  <a:gd name="connsiteX4" fmla="*/ 18250 w 18378"/>
                  <a:gd name="connsiteY4" fmla="*/ 10789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51">
                    <a:moveTo>
                      <a:pt x="18250" y="10789"/>
                    </a:moveTo>
                    <a:cubicBezTo>
                      <a:pt x="19087" y="5765"/>
                      <a:pt x="15738" y="980"/>
                      <a:pt x="10714" y="143"/>
                    </a:cubicBezTo>
                    <a:cubicBezTo>
                      <a:pt x="5750" y="-754"/>
                      <a:pt x="966" y="2655"/>
                      <a:pt x="128" y="7679"/>
                    </a:cubicBezTo>
                    <a:cubicBezTo>
                      <a:pt x="-709" y="12703"/>
                      <a:pt x="2640" y="17487"/>
                      <a:pt x="7664" y="18325"/>
                    </a:cubicBezTo>
                    <a:cubicBezTo>
                      <a:pt x="12688" y="19162"/>
                      <a:pt x="17413" y="15753"/>
                      <a:pt x="18250" y="10789"/>
                    </a:cubicBezTo>
                    <a:close/>
                  </a:path>
                </a:pathLst>
              </a:custGeom>
              <a:grpFill/>
              <a:ln w="5978" cap="flat">
                <a:noFill/>
                <a:prstDash val="solid"/>
                <a:miter/>
              </a:ln>
            </p:spPr>
            <p:txBody>
              <a:bodyPr rtlCol="0" anchor="ctr"/>
              <a:lstStyle/>
              <a:p>
                <a:endParaRPr lang="en-GB"/>
              </a:p>
            </p:txBody>
          </p:sp>
        </p:grpSp>
        <p:grpSp>
          <p:nvGrpSpPr>
            <p:cNvPr id="926" name="Graphic 3">
              <a:extLst>
                <a:ext uri="{FF2B5EF4-FFF2-40B4-BE49-F238E27FC236}">
                  <a16:creationId xmlns:a16="http://schemas.microsoft.com/office/drawing/2014/main" id="{C34C40B5-D2A3-42CC-8B6C-EE0C28479D05}"/>
                </a:ext>
              </a:extLst>
            </p:cNvPr>
            <p:cNvGrpSpPr/>
            <p:nvPr/>
          </p:nvGrpSpPr>
          <p:grpSpPr>
            <a:xfrm>
              <a:off x="5552737" y="5188568"/>
              <a:ext cx="74448" cy="247034"/>
              <a:chOff x="5552737" y="5188568"/>
              <a:chExt cx="74448" cy="247034"/>
            </a:xfrm>
            <a:grpFill/>
          </p:grpSpPr>
          <p:sp>
            <p:nvSpPr>
              <p:cNvPr id="2620" name="Vrije vorm: vorm 2619">
                <a:extLst>
                  <a:ext uri="{FF2B5EF4-FFF2-40B4-BE49-F238E27FC236}">
                    <a16:creationId xmlns:a16="http://schemas.microsoft.com/office/drawing/2014/main" id="{4064A114-1983-4210-A8B9-F493142273B9}"/>
                  </a:ext>
                </a:extLst>
              </p:cNvPr>
              <p:cNvSpPr/>
              <p:nvPr/>
            </p:nvSpPr>
            <p:spPr>
              <a:xfrm>
                <a:off x="5560297" y="5196988"/>
                <a:ext cx="59328" cy="230197"/>
              </a:xfrm>
              <a:custGeom>
                <a:avLst/>
                <a:gdLst>
                  <a:gd name="connsiteX0" fmla="*/ 59329 w 59328"/>
                  <a:gd name="connsiteY0" fmla="*/ 718 h 230197"/>
                  <a:gd name="connsiteX1" fmla="*/ 2990 w 59328"/>
                  <a:gd name="connsiteY1" fmla="*/ 230198 h 230197"/>
                  <a:gd name="connsiteX2" fmla="*/ 0 w 59328"/>
                  <a:gd name="connsiteY2" fmla="*/ 229480 h 230197"/>
                  <a:gd name="connsiteX3" fmla="*/ 56338 w 59328"/>
                  <a:gd name="connsiteY3" fmla="*/ 0 h 230197"/>
                </a:gdLst>
                <a:ahLst/>
                <a:cxnLst>
                  <a:cxn ang="0">
                    <a:pos x="connsiteX0" y="connsiteY0"/>
                  </a:cxn>
                  <a:cxn ang="0">
                    <a:pos x="connsiteX1" y="connsiteY1"/>
                  </a:cxn>
                  <a:cxn ang="0">
                    <a:pos x="connsiteX2" y="connsiteY2"/>
                  </a:cxn>
                  <a:cxn ang="0">
                    <a:pos x="connsiteX3" y="connsiteY3"/>
                  </a:cxn>
                </a:cxnLst>
                <a:rect l="l" t="t" r="r" b="b"/>
                <a:pathLst>
                  <a:path w="59328" h="230197">
                    <a:moveTo>
                      <a:pt x="59329" y="718"/>
                    </a:moveTo>
                    <a:lnTo>
                      <a:pt x="2990" y="230198"/>
                    </a:lnTo>
                    <a:lnTo>
                      <a:pt x="0" y="229480"/>
                    </a:lnTo>
                    <a:lnTo>
                      <a:pt x="56338" y="0"/>
                    </a:lnTo>
                    <a:close/>
                  </a:path>
                </a:pathLst>
              </a:custGeom>
              <a:grpFill/>
              <a:ln w="5978" cap="flat">
                <a:noFill/>
                <a:prstDash val="solid"/>
                <a:miter/>
              </a:ln>
            </p:spPr>
            <p:txBody>
              <a:bodyPr rtlCol="0" anchor="ctr"/>
              <a:lstStyle/>
              <a:p>
                <a:endParaRPr lang="en-GB"/>
              </a:p>
            </p:txBody>
          </p:sp>
          <p:sp>
            <p:nvSpPr>
              <p:cNvPr id="2621" name="Vrije vorm: vorm 2620">
                <a:extLst>
                  <a:ext uri="{FF2B5EF4-FFF2-40B4-BE49-F238E27FC236}">
                    <a16:creationId xmlns:a16="http://schemas.microsoft.com/office/drawing/2014/main" id="{5E79E3E1-C841-4C29-AE04-7B9C94495565}"/>
                  </a:ext>
                </a:extLst>
              </p:cNvPr>
              <p:cNvSpPr/>
              <p:nvPr/>
            </p:nvSpPr>
            <p:spPr>
              <a:xfrm>
                <a:off x="5552737" y="5417151"/>
                <a:ext cx="18312" cy="18451"/>
              </a:xfrm>
              <a:custGeom>
                <a:avLst/>
                <a:gdLst>
                  <a:gd name="connsiteX0" fmla="*/ 18026 w 18312"/>
                  <a:gd name="connsiteY0" fmla="*/ 11470 h 18451"/>
                  <a:gd name="connsiteX1" fmla="*/ 6962 w 18312"/>
                  <a:gd name="connsiteY1" fmla="*/ 18169 h 18451"/>
                  <a:gd name="connsiteX2" fmla="*/ 263 w 18312"/>
                  <a:gd name="connsiteY2" fmla="*/ 6985 h 18451"/>
                  <a:gd name="connsiteX3" fmla="*/ 11328 w 18312"/>
                  <a:gd name="connsiteY3" fmla="*/ 286 h 18451"/>
                  <a:gd name="connsiteX4" fmla="*/ 18026 w 18312"/>
                  <a:gd name="connsiteY4" fmla="*/ 11470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1">
                    <a:moveTo>
                      <a:pt x="18026" y="11470"/>
                    </a:moveTo>
                    <a:cubicBezTo>
                      <a:pt x="16830" y="16374"/>
                      <a:pt x="11866" y="19425"/>
                      <a:pt x="6962" y="18169"/>
                    </a:cubicBezTo>
                    <a:cubicBezTo>
                      <a:pt x="2058" y="16913"/>
                      <a:pt x="-933" y="11949"/>
                      <a:pt x="263" y="6985"/>
                    </a:cubicBezTo>
                    <a:cubicBezTo>
                      <a:pt x="1459" y="2021"/>
                      <a:pt x="6423" y="-969"/>
                      <a:pt x="11328" y="286"/>
                    </a:cubicBezTo>
                    <a:cubicBezTo>
                      <a:pt x="16292" y="1542"/>
                      <a:pt x="19282" y="6566"/>
                      <a:pt x="18026" y="11470"/>
                    </a:cubicBezTo>
                    <a:close/>
                  </a:path>
                </a:pathLst>
              </a:custGeom>
              <a:grpFill/>
              <a:ln w="5978" cap="flat">
                <a:noFill/>
                <a:prstDash val="solid"/>
                <a:miter/>
              </a:ln>
            </p:spPr>
            <p:txBody>
              <a:bodyPr rtlCol="0" anchor="ctr"/>
              <a:lstStyle/>
              <a:p>
                <a:endParaRPr lang="en-GB"/>
              </a:p>
            </p:txBody>
          </p:sp>
          <p:sp>
            <p:nvSpPr>
              <p:cNvPr id="2622" name="Vrije vorm: vorm 2621">
                <a:extLst>
                  <a:ext uri="{FF2B5EF4-FFF2-40B4-BE49-F238E27FC236}">
                    <a16:creationId xmlns:a16="http://schemas.microsoft.com/office/drawing/2014/main" id="{203A8AF5-9B6E-44E6-8328-45F96960436B}"/>
                  </a:ext>
                </a:extLst>
              </p:cNvPr>
              <p:cNvSpPr/>
              <p:nvPr/>
            </p:nvSpPr>
            <p:spPr>
              <a:xfrm>
                <a:off x="5608896" y="5188568"/>
                <a:ext cx="18289" cy="18455"/>
              </a:xfrm>
              <a:custGeom>
                <a:avLst/>
                <a:gdLst>
                  <a:gd name="connsiteX0" fmla="*/ 18026 w 18289"/>
                  <a:gd name="connsiteY0" fmla="*/ 11470 h 18455"/>
                  <a:gd name="connsiteX1" fmla="*/ 11328 w 18289"/>
                  <a:gd name="connsiteY1" fmla="*/ 286 h 18455"/>
                  <a:gd name="connsiteX2" fmla="*/ 263 w 18289"/>
                  <a:gd name="connsiteY2" fmla="*/ 6985 h 18455"/>
                  <a:gd name="connsiteX3" fmla="*/ 6962 w 18289"/>
                  <a:gd name="connsiteY3" fmla="*/ 18169 h 18455"/>
                  <a:gd name="connsiteX4" fmla="*/ 18026 w 18289"/>
                  <a:gd name="connsiteY4" fmla="*/ 11470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5">
                    <a:moveTo>
                      <a:pt x="18026" y="11470"/>
                    </a:moveTo>
                    <a:cubicBezTo>
                      <a:pt x="19223" y="6566"/>
                      <a:pt x="16232" y="1542"/>
                      <a:pt x="11328" y="286"/>
                    </a:cubicBezTo>
                    <a:cubicBezTo>
                      <a:pt x="6424" y="-970"/>
                      <a:pt x="1460" y="2021"/>
                      <a:pt x="263" y="6985"/>
                    </a:cubicBezTo>
                    <a:cubicBezTo>
                      <a:pt x="-933" y="11889"/>
                      <a:pt x="2058" y="16913"/>
                      <a:pt x="6962" y="18169"/>
                    </a:cubicBezTo>
                    <a:cubicBezTo>
                      <a:pt x="11806" y="19425"/>
                      <a:pt x="16770" y="16435"/>
                      <a:pt x="18026" y="11470"/>
                    </a:cubicBezTo>
                    <a:close/>
                  </a:path>
                </a:pathLst>
              </a:custGeom>
              <a:grpFill/>
              <a:ln w="5978" cap="flat">
                <a:noFill/>
                <a:prstDash val="solid"/>
                <a:miter/>
              </a:ln>
            </p:spPr>
            <p:txBody>
              <a:bodyPr rtlCol="0" anchor="ctr"/>
              <a:lstStyle/>
              <a:p>
                <a:endParaRPr lang="en-GB"/>
              </a:p>
            </p:txBody>
          </p:sp>
        </p:grpSp>
        <p:grpSp>
          <p:nvGrpSpPr>
            <p:cNvPr id="927" name="Graphic 3">
              <a:extLst>
                <a:ext uri="{FF2B5EF4-FFF2-40B4-BE49-F238E27FC236}">
                  <a16:creationId xmlns:a16="http://schemas.microsoft.com/office/drawing/2014/main" id="{884A01E9-AF42-44D4-A545-19752F223365}"/>
                </a:ext>
              </a:extLst>
            </p:cNvPr>
            <p:cNvGrpSpPr/>
            <p:nvPr/>
          </p:nvGrpSpPr>
          <p:grpSpPr>
            <a:xfrm>
              <a:off x="5519697" y="5127237"/>
              <a:ext cx="54046" cy="143629"/>
              <a:chOff x="5519697" y="5127237"/>
              <a:chExt cx="54046" cy="143629"/>
            </a:xfrm>
            <a:grpFill/>
          </p:grpSpPr>
          <p:sp>
            <p:nvSpPr>
              <p:cNvPr id="2617" name="Vrije vorm: vorm 2616">
                <a:extLst>
                  <a:ext uri="{FF2B5EF4-FFF2-40B4-BE49-F238E27FC236}">
                    <a16:creationId xmlns:a16="http://schemas.microsoft.com/office/drawing/2014/main" id="{3510B4F4-3D54-4ED2-BC52-35BE1DA72BC2}"/>
                  </a:ext>
                </a:extLst>
              </p:cNvPr>
              <p:cNvSpPr/>
              <p:nvPr/>
            </p:nvSpPr>
            <p:spPr>
              <a:xfrm>
                <a:off x="5527283" y="5135566"/>
                <a:ext cx="38874" cy="126970"/>
              </a:xfrm>
              <a:custGeom>
                <a:avLst/>
                <a:gdLst>
                  <a:gd name="connsiteX0" fmla="*/ 38875 w 38874"/>
                  <a:gd name="connsiteY0" fmla="*/ 897 h 126970"/>
                  <a:gd name="connsiteX1" fmla="*/ 2930 w 38874"/>
                  <a:gd name="connsiteY1" fmla="*/ 126971 h 126970"/>
                  <a:gd name="connsiteX2" fmla="*/ 0 w 38874"/>
                  <a:gd name="connsiteY2" fmla="*/ 126074 h 126970"/>
                  <a:gd name="connsiteX3" fmla="*/ 35944 w 38874"/>
                  <a:gd name="connsiteY3" fmla="*/ 0 h 126970"/>
                </a:gdLst>
                <a:ahLst/>
                <a:cxnLst>
                  <a:cxn ang="0">
                    <a:pos x="connsiteX0" y="connsiteY0"/>
                  </a:cxn>
                  <a:cxn ang="0">
                    <a:pos x="connsiteX1" y="connsiteY1"/>
                  </a:cxn>
                  <a:cxn ang="0">
                    <a:pos x="connsiteX2" y="connsiteY2"/>
                  </a:cxn>
                  <a:cxn ang="0">
                    <a:pos x="connsiteX3" y="connsiteY3"/>
                  </a:cxn>
                </a:cxnLst>
                <a:rect l="l" t="t" r="r" b="b"/>
                <a:pathLst>
                  <a:path w="38874" h="126970">
                    <a:moveTo>
                      <a:pt x="38875" y="897"/>
                    </a:moveTo>
                    <a:lnTo>
                      <a:pt x="2930" y="126971"/>
                    </a:lnTo>
                    <a:lnTo>
                      <a:pt x="0" y="126074"/>
                    </a:lnTo>
                    <a:lnTo>
                      <a:pt x="35944" y="0"/>
                    </a:lnTo>
                    <a:close/>
                  </a:path>
                </a:pathLst>
              </a:custGeom>
              <a:grpFill/>
              <a:ln w="5978" cap="flat">
                <a:noFill/>
                <a:prstDash val="solid"/>
                <a:miter/>
              </a:ln>
            </p:spPr>
            <p:txBody>
              <a:bodyPr rtlCol="0" anchor="ctr"/>
              <a:lstStyle/>
              <a:p>
                <a:endParaRPr lang="en-GB"/>
              </a:p>
            </p:txBody>
          </p:sp>
          <p:sp>
            <p:nvSpPr>
              <p:cNvPr id="2618" name="Vrije vorm: vorm 2617">
                <a:extLst>
                  <a:ext uri="{FF2B5EF4-FFF2-40B4-BE49-F238E27FC236}">
                    <a16:creationId xmlns:a16="http://schemas.microsoft.com/office/drawing/2014/main" id="{54D8023C-DC57-41DA-8B30-29C0C43A92DE}"/>
                  </a:ext>
                </a:extLst>
              </p:cNvPr>
              <p:cNvSpPr/>
              <p:nvPr/>
            </p:nvSpPr>
            <p:spPr>
              <a:xfrm>
                <a:off x="5519697" y="5252413"/>
                <a:ext cx="18341" cy="18452"/>
              </a:xfrm>
              <a:custGeom>
                <a:avLst/>
                <a:gdLst>
                  <a:gd name="connsiteX0" fmla="*/ 17992 w 18341"/>
                  <a:gd name="connsiteY0" fmla="*/ 11798 h 18452"/>
                  <a:gd name="connsiteX1" fmla="*/ 6629 w 18341"/>
                  <a:gd name="connsiteY1" fmla="*/ 18078 h 18452"/>
                  <a:gd name="connsiteX2" fmla="*/ 349 w 18341"/>
                  <a:gd name="connsiteY2" fmla="*/ 6655 h 18452"/>
                  <a:gd name="connsiteX3" fmla="*/ 11712 w 18341"/>
                  <a:gd name="connsiteY3" fmla="*/ 375 h 18452"/>
                  <a:gd name="connsiteX4" fmla="*/ 17992 w 18341"/>
                  <a:gd name="connsiteY4" fmla="*/ 1179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2">
                    <a:moveTo>
                      <a:pt x="17992" y="11798"/>
                    </a:moveTo>
                    <a:cubicBezTo>
                      <a:pt x="16617" y="16702"/>
                      <a:pt x="11533" y="19513"/>
                      <a:pt x="6629" y="18078"/>
                    </a:cubicBezTo>
                    <a:cubicBezTo>
                      <a:pt x="1785" y="16642"/>
                      <a:pt x="-1027" y="11559"/>
                      <a:pt x="349" y="6655"/>
                    </a:cubicBezTo>
                    <a:cubicBezTo>
                      <a:pt x="1725" y="1750"/>
                      <a:pt x="6808" y="-1060"/>
                      <a:pt x="11712" y="375"/>
                    </a:cubicBezTo>
                    <a:cubicBezTo>
                      <a:pt x="16557" y="1810"/>
                      <a:pt x="19368" y="6894"/>
                      <a:pt x="17992" y="11798"/>
                    </a:cubicBezTo>
                    <a:close/>
                  </a:path>
                </a:pathLst>
              </a:custGeom>
              <a:grpFill/>
              <a:ln w="5978" cap="flat">
                <a:noFill/>
                <a:prstDash val="solid"/>
                <a:miter/>
              </a:ln>
            </p:spPr>
            <p:txBody>
              <a:bodyPr rtlCol="0" anchor="ctr"/>
              <a:lstStyle/>
              <a:p>
                <a:endParaRPr lang="en-GB"/>
              </a:p>
            </p:txBody>
          </p:sp>
          <p:sp>
            <p:nvSpPr>
              <p:cNvPr id="2619" name="Vrije vorm: vorm 2618">
                <a:extLst>
                  <a:ext uri="{FF2B5EF4-FFF2-40B4-BE49-F238E27FC236}">
                    <a16:creationId xmlns:a16="http://schemas.microsoft.com/office/drawing/2014/main" id="{7E61773E-FC2E-4172-85AF-134F5DD716E8}"/>
                  </a:ext>
                </a:extLst>
              </p:cNvPr>
              <p:cNvSpPr/>
              <p:nvPr/>
            </p:nvSpPr>
            <p:spPr>
              <a:xfrm>
                <a:off x="5555402" y="5127237"/>
                <a:ext cx="18341" cy="18452"/>
              </a:xfrm>
              <a:custGeom>
                <a:avLst/>
                <a:gdLst>
                  <a:gd name="connsiteX0" fmla="*/ 17992 w 18341"/>
                  <a:gd name="connsiteY0" fmla="*/ 11798 h 18452"/>
                  <a:gd name="connsiteX1" fmla="*/ 11713 w 18341"/>
                  <a:gd name="connsiteY1" fmla="*/ 375 h 18452"/>
                  <a:gd name="connsiteX2" fmla="*/ 349 w 18341"/>
                  <a:gd name="connsiteY2" fmla="*/ 6655 h 18452"/>
                  <a:gd name="connsiteX3" fmla="*/ 6629 w 18341"/>
                  <a:gd name="connsiteY3" fmla="*/ 18078 h 18452"/>
                  <a:gd name="connsiteX4" fmla="*/ 17992 w 18341"/>
                  <a:gd name="connsiteY4" fmla="*/ 1179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2">
                    <a:moveTo>
                      <a:pt x="17992" y="11798"/>
                    </a:moveTo>
                    <a:cubicBezTo>
                      <a:pt x="19368" y="6894"/>
                      <a:pt x="16557" y="1810"/>
                      <a:pt x="11713" y="375"/>
                    </a:cubicBezTo>
                    <a:cubicBezTo>
                      <a:pt x="6868" y="-1061"/>
                      <a:pt x="1784" y="1751"/>
                      <a:pt x="349" y="6655"/>
                    </a:cubicBezTo>
                    <a:cubicBezTo>
                      <a:pt x="-1026" y="11559"/>
                      <a:pt x="1784" y="16643"/>
                      <a:pt x="6629" y="18078"/>
                    </a:cubicBezTo>
                    <a:cubicBezTo>
                      <a:pt x="11533" y="19513"/>
                      <a:pt x="16617" y="16702"/>
                      <a:pt x="17992" y="11798"/>
                    </a:cubicBezTo>
                    <a:close/>
                  </a:path>
                </a:pathLst>
              </a:custGeom>
              <a:grpFill/>
              <a:ln w="5978" cap="flat">
                <a:noFill/>
                <a:prstDash val="solid"/>
                <a:miter/>
              </a:ln>
            </p:spPr>
            <p:txBody>
              <a:bodyPr rtlCol="0" anchor="ctr"/>
              <a:lstStyle/>
              <a:p>
                <a:endParaRPr lang="en-GB"/>
              </a:p>
            </p:txBody>
          </p:sp>
        </p:grpSp>
        <p:grpSp>
          <p:nvGrpSpPr>
            <p:cNvPr id="928" name="Graphic 3">
              <a:extLst>
                <a:ext uri="{FF2B5EF4-FFF2-40B4-BE49-F238E27FC236}">
                  <a16:creationId xmlns:a16="http://schemas.microsoft.com/office/drawing/2014/main" id="{45DA92D3-42D8-464E-8C01-6D5F96AD04C9}"/>
                </a:ext>
              </a:extLst>
            </p:cNvPr>
            <p:cNvGrpSpPr/>
            <p:nvPr/>
          </p:nvGrpSpPr>
          <p:grpSpPr>
            <a:xfrm>
              <a:off x="4472450" y="2251730"/>
              <a:ext cx="212299" cy="160906"/>
              <a:chOff x="4472450" y="2251730"/>
              <a:chExt cx="212299" cy="160906"/>
            </a:xfrm>
            <a:grpFill/>
          </p:grpSpPr>
          <p:sp>
            <p:nvSpPr>
              <p:cNvPr id="2614" name="Vrije vorm: vorm 2613">
                <a:extLst>
                  <a:ext uri="{FF2B5EF4-FFF2-40B4-BE49-F238E27FC236}">
                    <a16:creationId xmlns:a16="http://schemas.microsoft.com/office/drawing/2014/main" id="{7A8C788D-5C56-4EC4-920B-C444991D7C96}"/>
                  </a:ext>
                </a:extLst>
              </p:cNvPr>
              <p:cNvSpPr/>
              <p:nvPr/>
            </p:nvSpPr>
            <p:spPr>
              <a:xfrm>
                <a:off x="4480298" y="2259377"/>
                <a:ext cx="196526" cy="145570"/>
              </a:xfrm>
              <a:custGeom>
                <a:avLst/>
                <a:gdLst>
                  <a:gd name="connsiteX0" fmla="*/ 196527 w 196526"/>
                  <a:gd name="connsiteY0" fmla="*/ 143119 h 145570"/>
                  <a:gd name="connsiteX1" fmla="*/ 194792 w 196526"/>
                  <a:gd name="connsiteY1" fmla="*/ 145571 h 145570"/>
                  <a:gd name="connsiteX2" fmla="*/ 0 w 196526"/>
                  <a:gd name="connsiteY2" fmla="*/ 2512 h 145570"/>
                  <a:gd name="connsiteX3" fmla="*/ 1794 w 196526"/>
                  <a:gd name="connsiteY3" fmla="*/ 0 h 145570"/>
                </a:gdLst>
                <a:ahLst/>
                <a:cxnLst>
                  <a:cxn ang="0">
                    <a:pos x="connsiteX0" y="connsiteY0"/>
                  </a:cxn>
                  <a:cxn ang="0">
                    <a:pos x="connsiteX1" y="connsiteY1"/>
                  </a:cxn>
                  <a:cxn ang="0">
                    <a:pos x="connsiteX2" y="connsiteY2"/>
                  </a:cxn>
                  <a:cxn ang="0">
                    <a:pos x="connsiteX3" y="connsiteY3"/>
                  </a:cxn>
                </a:cxnLst>
                <a:rect l="l" t="t" r="r" b="b"/>
                <a:pathLst>
                  <a:path w="196526" h="145570">
                    <a:moveTo>
                      <a:pt x="196527" y="143119"/>
                    </a:moveTo>
                    <a:lnTo>
                      <a:pt x="194792" y="145571"/>
                    </a:lnTo>
                    <a:lnTo>
                      <a:pt x="0" y="2512"/>
                    </a:lnTo>
                    <a:lnTo>
                      <a:pt x="1794" y="0"/>
                    </a:lnTo>
                    <a:close/>
                  </a:path>
                </a:pathLst>
              </a:custGeom>
              <a:grpFill/>
              <a:ln w="5978" cap="flat">
                <a:noFill/>
                <a:prstDash val="solid"/>
                <a:miter/>
              </a:ln>
            </p:spPr>
            <p:txBody>
              <a:bodyPr rtlCol="0" anchor="ctr"/>
              <a:lstStyle/>
              <a:p>
                <a:endParaRPr lang="en-GB"/>
              </a:p>
            </p:txBody>
          </p:sp>
          <p:sp>
            <p:nvSpPr>
              <p:cNvPr id="2615" name="Vrije vorm: vorm 2614">
                <a:extLst>
                  <a:ext uri="{FF2B5EF4-FFF2-40B4-BE49-F238E27FC236}">
                    <a16:creationId xmlns:a16="http://schemas.microsoft.com/office/drawing/2014/main" id="{793AC4A7-8515-42EE-A04A-AFD4908237F5}"/>
                  </a:ext>
                </a:extLst>
              </p:cNvPr>
              <p:cNvSpPr/>
              <p:nvPr/>
            </p:nvSpPr>
            <p:spPr>
              <a:xfrm>
                <a:off x="4472450" y="2251730"/>
                <a:ext cx="18327" cy="18386"/>
              </a:xfrm>
              <a:custGeom>
                <a:avLst/>
                <a:gdLst>
                  <a:gd name="connsiteX0" fmla="*/ 3781 w 18327"/>
                  <a:gd name="connsiteY0" fmla="*/ 16618 h 18386"/>
                  <a:gd name="connsiteX1" fmla="*/ 1748 w 18327"/>
                  <a:gd name="connsiteY1" fmla="*/ 3759 h 18386"/>
                  <a:gd name="connsiteX2" fmla="*/ 14546 w 18327"/>
                  <a:gd name="connsiteY2" fmla="*/ 1786 h 18386"/>
                  <a:gd name="connsiteX3" fmla="*/ 16580 w 18327"/>
                  <a:gd name="connsiteY3" fmla="*/ 14644 h 18386"/>
                  <a:gd name="connsiteX4" fmla="*/ 3781 w 18327"/>
                  <a:gd name="connsiteY4" fmla="*/ 16618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86">
                    <a:moveTo>
                      <a:pt x="3781" y="16618"/>
                    </a:moveTo>
                    <a:cubicBezTo>
                      <a:pt x="-286" y="13628"/>
                      <a:pt x="-1243" y="7826"/>
                      <a:pt x="1748" y="3759"/>
                    </a:cubicBezTo>
                    <a:cubicBezTo>
                      <a:pt x="4738" y="-367"/>
                      <a:pt x="10479" y="-1205"/>
                      <a:pt x="14546" y="1786"/>
                    </a:cubicBezTo>
                    <a:cubicBezTo>
                      <a:pt x="18613" y="4776"/>
                      <a:pt x="19570" y="10577"/>
                      <a:pt x="16580" y="14644"/>
                    </a:cubicBezTo>
                    <a:cubicBezTo>
                      <a:pt x="13589" y="18711"/>
                      <a:pt x="7848" y="19608"/>
                      <a:pt x="3781" y="16618"/>
                    </a:cubicBezTo>
                    <a:close/>
                  </a:path>
                </a:pathLst>
              </a:custGeom>
              <a:grpFill/>
              <a:ln w="5978" cap="flat">
                <a:noFill/>
                <a:prstDash val="solid"/>
                <a:miter/>
              </a:ln>
            </p:spPr>
            <p:txBody>
              <a:bodyPr rtlCol="0" anchor="ctr"/>
              <a:lstStyle/>
              <a:p>
                <a:endParaRPr lang="en-GB"/>
              </a:p>
            </p:txBody>
          </p:sp>
          <p:sp>
            <p:nvSpPr>
              <p:cNvPr id="2616" name="Vrije vorm: vorm 2615">
                <a:extLst>
                  <a:ext uri="{FF2B5EF4-FFF2-40B4-BE49-F238E27FC236}">
                    <a16:creationId xmlns:a16="http://schemas.microsoft.com/office/drawing/2014/main" id="{83FDB53A-BE41-4E35-9E4A-86C7FBBC39B6}"/>
                  </a:ext>
                </a:extLst>
              </p:cNvPr>
              <p:cNvSpPr/>
              <p:nvPr/>
            </p:nvSpPr>
            <p:spPr>
              <a:xfrm>
                <a:off x="4666431" y="2394268"/>
                <a:ext cx="18318" cy="18368"/>
              </a:xfrm>
              <a:custGeom>
                <a:avLst/>
                <a:gdLst>
                  <a:gd name="connsiteX0" fmla="*/ 3755 w 18318"/>
                  <a:gd name="connsiteY0" fmla="*/ 16600 h 18368"/>
                  <a:gd name="connsiteX1" fmla="*/ 16554 w 18318"/>
                  <a:gd name="connsiteY1" fmla="*/ 14627 h 18368"/>
                  <a:gd name="connsiteX2" fmla="*/ 14520 w 18318"/>
                  <a:gd name="connsiteY2" fmla="*/ 1768 h 18368"/>
                  <a:gd name="connsiteX3" fmla="*/ 1722 w 18318"/>
                  <a:gd name="connsiteY3" fmla="*/ 3742 h 18368"/>
                  <a:gd name="connsiteX4" fmla="*/ 3755 w 18318"/>
                  <a:gd name="connsiteY4" fmla="*/ 16600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68">
                    <a:moveTo>
                      <a:pt x="3755" y="16600"/>
                    </a:moveTo>
                    <a:cubicBezTo>
                      <a:pt x="7822" y="19591"/>
                      <a:pt x="13563" y="18694"/>
                      <a:pt x="16554" y="14627"/>
                    </a:cubicBezTo>
                    <a:cubicBezTo>
                      <a:pt x="19544" y="10500"/>
                      <a:pt x="18647" y="4759"/>
                      <a:pt x="14520" y="1768"/>
                    </a:cubicBezTo>
                    <a:cubicBezTo>
                      <a:pt x="10453" y="-1222"/>
                      <a:pt x="4712" y="-325"/>
                      <a:pt x="1722" y="3742"/>
                    </a:cubicBezTo>
                    <a:cubicBezTo>
                      <a:pt x="-1209" y="7809"/>
                      <a:pt x="-312" y="13610"/>
                      <a:pt x="3755" y="16600"/>
                    </a:cubicBezTo>
                    <a:close/>
                  </a:path>
                </a:pathLst>
              </a:custGeom>
              <a:grpFill/>
              <a:ln w="5978" cap="flat">
                <a:noFill/>
                <a:prstDash val="solid"/>
                <a:miter/>
              </a:ln>
            </p:spPr>
            <p:txBody>
              <a:bodyPr rtlCol="0" anchor="ctr"/>
              <a:lstStyle/>
              <a:p>
                <a:endParaRPr lang="en-GB"/>
              </a:p>
            </p:txBody>
          </p:sp>
        </p:grpSp>
        <p:grpSp>
          <p:nvGrpSpPr>
            <p:cNvPr id="929" name="Graphic 3">
              <a:extLst>
                <a:ext uri="{FF2B5EF4-FFF2-40B4-BE49-F238E27FC236}">
                  <a16:creationId xmlns:a16="http://schemas.microsoft.com/office/drawing/2014/main" id="{E18D10A1-BA40-46FC-9319-0AFF8D651B60}"/>
                </a:ext>
              </a:extLst>
            </p:cNvPr>
            <p:cNvGrpSpPr/>
            <p:nvPr/>
          </p:nvGrpSpPr>
          <p:grpSpPr>
            <a:xfrm>
              <a:off x="5540058" y="5069910"/>
              <a:ext cx="212782" cy="809166"/>
              <a:chOff x="5540058" y="5069910"/>
              <a:chExt cx="212782" cy="809166"/>
            </a:xfrm>
            <a:grpFill/>
          </p:grpSpPr>
          <p:sp>
            <p:nvSpPr>
              <p:cNvPr id="2611" name="Vrije vorm: vorm 2610">
                <a:extLst>
                  <a:ext uri="{FF2B5EF4-FFF2-40B4-BE49-F238E27FC236}">
                    <a16:creationId xmlns:a16="http://schemas.microsoft.com/office/drawing/2014/main" id="{5593D71B-77DE-4E32-A567-C2332ADA638C}"/>
                  </a:ext>
                </a:extLst>
              </p:cNvPr>
              <p:cNvSpPr/>
              <p:nvPr/>
            </p:nvSpPr>
            <p:spPr>
              <a:xfrm>
                <a:off x="5547677" y="5078330"/>
                <a:ext cx="197543" cy="792326"/>
              </a:xfrm>
              <a:custGeom>
                <a:avLst/>
                <a:gdLst>
                  <a:gd name="connsiteX0" fmla="*/ 197543 w 197543"/>
                  <a:gd name="connsiteY0" fmla="*/ 778 h 792326"/>
                  <a:gd name="connsiteX1" fmla="*/ 2930 w 197543"/>
                  <a:gd name="connsiteY1" fmla="*/ 792326 h 792326"/>
                  <a:gd name="connsiteX2" fmla="*/ 0 w 197543"/>
                  <a:gd name="connsiteY2" fmla="*/ 791549 h 792326"/>
                  <a:gd name="connsiteX3" fmla="*/ 194613 w 197543"/>
                  <a:gd name="connsiteY3" fmla="*/ 0 h 792326"/>
                </a:gdLst>
                <a:ahLst/>
                <a:cxnLst>
                  <a:cxn ang="0">
                    <a:pos x="connsiteX0" y="connsiteY0"/>
                  </a:cxn>
                  <a:cxn ang="0">
                    <a:pos x="connsiteX1" y="connsiteY1"/>
                  </a:cxn>
                  <a:cxn ang="0">
                    <a:pos x="connsiteX2" y="connsiteY2"/>
                  </a:cxn>
                  <a:cxn ang="0">
                    <a:pos x="connsiteX3" y="connsiteY3"/>
                  </a:cxn>
                </a:cxnLst>
                <a:rect l="l" t="t" r="r" b="b"/>
                <a:pathLst>
                  <a:path w="197543" h="792326">
                    <a:moveTo>
                      <a:pt x="197543" y="778"/>
                    </a:moveTo>
                    <a:lnTo>
                      <a:pt x="2930" y="792326"/>
                    </a:lnTo>
                    <a:lnTo>
                      <a:pt x="0" y="791549"/>
                    </a:lnTo>
                    <a:lnTo>
                      <a:pt x="194613" y="0"/>
                    </a:lnTo>
                    <a:close/>
                  </a:path>
                </a:pathLst>
              </a:custGeom>
              <a:grpFill/>
              <a:ln w="5978" cap="flat">
                <a:noFill/>
                <a:prstDash val="solid"/>
                <a:miter/>
              </a:ln>
            </p:spPr>
            <p:txBody>
              <a:bodyPr rtlCol="0" anchor="ctr"/>
              <a:lstStyle/>
              <a:p>
                <a:endParaRPr lang="en-GB"/>
              </a:p>
            </p:txBody>
          </p:sp>
          <p:sp>
            <p:nvSpPr>
              <p:cNvPr id="2612" name="Vrije vorm: vorm 2611">
                <a:extLst>
                  <a:ext uri="{FF2B5EF4-FFF2-40B4-BE49-F238E27FC236}">
                    <a16:creationId xmlns:a16="http://schemas.microsoft.com/office/drawing/2014/main" id="{2BC706E7-FFB1-4F0A-B74E-676491ACA36F}"/>
                  </a:ext>
                </a:extLst>
              </p:cNvPr>
              <p:cNvSpPr/>
              <p:nvPr/>
            </p:nvSpPr>
            <p:spPr>
              <a:xfrm>
                <a:off x="5734471" y="5069910"/>
                <a:ext cx="18368" cy="18451"/>
              </a:xfrm>
              <a:custGeom>
                <a:avLst/>
                <a:gdLst>
                  <a:gd name="connsiteX0" fmla="*/ 283 w 18368"/>
                  <a:gd name="connsiteY0" fmla="*/ 6985 h 18451"/>
                  <a:gd name="connsiteX1" fmla="*/ 11407 w 18368"/>
                  <a:gd name="connsiteY1" fmla="*/ 286 h 18451"/>
                  <a:gd name="connsiteX2" fmla="*/ 18106 w 18368"/>
                  <a:gd name="connsiteY2" fmla="*/ 11470 h 18451"/>
                  <a:gd name="connsiteX3" fmla="*/ 6981 w 18368"/>
                  <a:gd name="connsiteY3" fmla="*/ 18169 h 18451"/>
                  <a:gd name="connsiteX4" fmla="*/ 283 w 18368"/>
                  <a:gd name="connsiteY4" fmla="*/ 6985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51">
                    <a:moveTo>
                      <a:pt x="283" y="6985"/>
                    </a:moveTo>
                    <a:cubicBezTo>
                      <a:pt x="1479" y="2021"/>
                      <a:pt x="6443" y="-969"/>
                      <a:pt x="11407" y="286"/>
                    </a:cubicBezTo>
                    <a:cubicBezTo>
                      <a:pt x="16311" y="1542"/>
                      <a:pt x="19301" y="6507"/>
                      <a:pt x="18106" y="11470"/>
                    </a:cubicBezTo>
                    <a:cubicBezTo>
                      <a:pt x="16909" y="16374"/>
                      <a:pt x="11945" y="19425"/>
                      <a:pt x="6981" y="18169"/>
                    </a:cubicBezTo>
                    <a:cubicBezTo>
                      <a:pt x="2077" y="16973"/>
                      <a:pt x="-973" y="11949"/>
                      <a:pt x="283" y="6985"/>
                    </a:cubicBezTo>
                    <a:close/>
                  </a:path>
                </a:pathLst>
              </a:custGeom>
              <a:grpFill/>
              <a:ln w="5978" cap="flat">
                <a:noFill/>
                <a:prstDash val="solid"/>
                <a:miter/>
              </a:ln>
            </p:spPr>
            <p:txBody>
              <a:bodyPr rtlCol="0" anchor="ctr"/>
              <a:lstStyle/>
              <a:p>
                <a:endParaRPr lang="en-GB"/>
              </a:p>
            </p:txBody>
          </p:sp>
          <p:sp>
            <p:nvSpPr>
              <p:cNvPr id="2613" name="Vrije vorm: vorm 2612">
                <a:extLst>
                  <a:ext uri="{FF2B5EF4-FFF2-40B4-BE49-F238E27FC236}">
                    <a16:creationId xmlns:a16="http://schemas.microsoft.com/office/drawing/2014/main" id="{66146490-7EA2-4F75-BFCD-F8905C4BE443}"/>
                  </a:ext>
                </a:extLst>
              </p:cNvPr>
              <p:cNvSpPr/>
              <p:nvPr/>
            </p:nvSpPr>
            <p:spPr>
              <a:xfrm>
                <a:off x="5540058" y="5860621"/>
                <a:ext cx="18289" cy="18455"/>
              </a:xfrm>
              <a:custGeom>
                <a:avLst/>
                <a:gdLst>
                  <a:gd name="connsiteX0" fmla="*/ 263 w 18289"/>
                  <a:gd name="connsiteY0" fmla="*/ 6985 h 18455"/>
                  <a:gd name="connsiteX1" fmla="*/ 6962 w 18289"/>
                  <a:gd name="connsiteY1" fmla="*/ 18169 h 18455"/>
                  <a:gd name="connsiteX2" fmla="*/ 18026 w 18289"/>
                  <a:gd name="connsiteY2" fmla="*/ 11470 h 18455"/>
                  <a:gd name="connsiteX3" fmla="*/ 11328 w 18289"/>
                  <a:gd name="connsiteY3" fmla="*/ 286 h 18455"/>
                  <a:gd name="connsiteX4" fmla="*/ 263 w 18289"/>
                  <a:gd name="connsiteY4" fmla="*/ 6985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5">
                    <a:moveTo>
                      <a:pt x="263" y="6985"/>
                    </a:moveTo>
                    <a:cubicBezTo>
                      <a:pt x="-933" y="11949"/>
                      <a:pt x="2058" y="16913"/>
                      <a:pt x="6962" y="18169"/>
                    </a:cubicBezTo>
                    <a:cubicBezTo>
                      <a:pt x="11866" y="19425"/>
                      <a:pt x="16830" y="16435"/>
                      <a:pt x="18026" y="11470"/>
                    </a:cubicBezTo>
                    <a:cubicBezTo>
                      <a:pt x="19222" y="6566"/>
                      <a:pt x="16232" y="1543"/>
                      <a:pt x="11328" y="286"/>
                    </a:cubicBezTo>
                    <a:cubicBezTo>
                      <a:pt x="6483" y="-970"/>
                      <a:pt x="1519" y="2021"/>
                      <a:pt x="263" y="6985"/>
                    </a:cubicBezTo>
                    <a:close/>
                  </a:path>
                </a:pathLst>
              </a:custGeom>
              <a:grpFill/>
              <a:ln w="5978" cap="flat">
                <a:noFill/>
                <a:prstDash val="solid"/>
                <a:miter/>
              </a:ln>
            </p:spPr>
            <p:txBody>
              <a:bodyPr rtlCol="0" anchor="ctr"/>
              <a:lstStyle/>
              <a:p>
                <a:endParaRPr lang="en-GB"/>
              </a:p>
            </p:txBody>
          </p:sp>
        </p:grpSp>
        <p:grpSp>
          <p:nvGrpSpPr>
            <p:cNvPr id="930" name="Graphic 3">
              <a:extLst>
                <a:ext uri="{FF2B5EF4-FFF2-40B4-BE49-F238E27FC236}">
                  <a16:creationId xmlns:a16="http://schemas.microsoft.com/office/drawing/2014/main" id="{23A9C9B2-FCFD-4389-840B-B7A16360603F}"/>
                </a:ext>
              </a:extLst>
            </p:cNvPr>
            <p:cNvGrpSpPr/>
            <p:nvPr/>
          </p:nvGrpSpPr>
          <p:grpSpPr>
            <a:xfrm>
              <a:off x="4358130" y="2069029"/>
              <a:ext cx="352108" cy="322085"/>
              <a:chOff x="4358130" y="2069029"/>
              <a:chExt cx="352108" cy="322085"/>
            </a:xfrm>
            <a:grpFill/>
          </p:grpSpPr>
          <p:sp>
            <p:nvSpPr>
              <p:cNvPr id="2608" name="Vrije vorm: vorm 2607">
                <a:extLst>
                  <a:ext uri="{FF2B5EF4-FFF2-40B4-BE49-F238E27FC236}">
                    <a16:creationId xmlns:a16="http://schemas.microsoft.com/office/drawing/2014/main" id="{DAED3970-F9C8-441A-B712-30646822E82F}"/>
                  </a:ext>
                </a:extLst>
              </p:cNvPr>
              <p:cNvSpPr/>
              <p:nvPr/>
            </p:nvSpPr>
            <p:spPr>
              <a:xfrm>
                <a:off x="4365886" y="2076786"/>
                <a:ext cx="336535" cy="306511"/>
              </a:xfrm>
              <a:custGeom>
                <a:avLst/>
                <a:gdLst>
                  <a:gd name="connsiteX0" fmla="*/ 336535 w 336535"/>
                  <a:gd name="connsiteY0" fmla="*/ 304239 h 306511"/>
                  <a:gd name="connsiteX1" fmla="*/ 334502 w 336535"/>
                  <a:gd name="connsiteY1" fmla="*/ 306512 h 306511"/>
                  <a:gd name="connsiteX2" fmla="*/ 0 w 336535"/>
                  <a:gd name="connsiteY2" fmla="*/ 2273 h 306511"/>
                  <a:gd name="connsiteX3" fmla="*/ 2093 w 336535"/>
                  <a:gd name="connsiteY3" fmla="*/ 0 h 306511"/>
                </a:gdLst>
                <a:ahLst/>
                <a:cxnLst>
                  <a:cxn ang="0">
                    <a:pos x="connsiteX0" y="connsiteY0"/>
                  </a:cxn>
                  <a:cxn ang="0">
                    <a:pos x="connsiteX1" y="connsiteY1"/>
                  </a:cxn>
                  <a:cxn ang="0">
                    <a:pos x="connsiteX2" y="connsiteY2"/>
                  </a:cxn>
                  <a:cxn ang="0">
                    <a:pos x="connsiteX3" y="connsiteY3"/>
                  </a:cxn>
                </a:cxnLst>
                <a:rect l="l" t="t" r="r" b="b"/>
                <a:pathLst>
                  <a:path w="336535" h="306511">
                    <a:moveTo>
                      <a:pt x="336535" y="304239"/>
                    </a:moveTo>
                    <a:lnTo>
                      <a:pt x="334502" y="306512"/>
                    </a:lnTo>
                    <a:lnTo>
                      <a:pt x="0" y="2273"/>
                    </a:lnTo>
                    <a:lnTo>
                      <a:pt x="2093" y="0"/>
                    </a:lnTo>
                    <a:close/>
                  </a:path>
                </a:pathLst>
              </a:custGeom>
              <a:grpFill/>
              <a:ln w="5978" cap="flat">
                <a:noFill/>
                <a:prstDash val="solid"/>
                <a:miter/>
              </a:ln>
            </p:spPr>
            <p:txBody>
              <a:bodyPr rtlCol="0" anchor="ctr"/>
              <a:lstStyle/>
              <a:p>
                <a:endParaRPr lang="en-GB"/>
              </a:p>
            </p:txBody>
          </p:sp>
          <p:sp>
            <p:nvSpPr>
              <p:cNvPr id="2609" name="Vrije vorm: vorm 2608">
                <a:extLst>
                  <a:ext uri="{FF2B5EF4-FFF2-40B4-BE49-F238E27FC236}">
                    <a16:creationId xmlns:a16="http://schemas.microsoft.com/office/drawing/2014/main" id="{504DE67D-E008-47A8-9148-9A0ED7DEF34C}"/>
                  </a:ext>
                </a:extLst>
              </p:cNvPr>
              <p:cNvSpPr/>
              <p:nvPr/>
            </p:nvSpPr>
            <p:spPr>
              <a:xfrm>
                <a:off x="4691914" y="2372649"/>
                <a:ext cx="18324" cy="18465"/>
              </a:xfrm>
              <a:custGeom>
                <a:avLst/>
                <a:gdLst>
                  <a:gd name="connsiteX0" fmla="*/ 15293 w 18324"/>
                  <a:gd name="connsiteY0" fmla="*/ 2395 h 18465"/>
                  <a:gd name="connsiteX1" fmla="*/ 15950 w 18324"/>
                  <a:gd name="connsiteY1" fmla="*/ 15433 h 18465"/>
                  <a:gd name="connsiteX2" fmla="*/ 3032 w 18324"/>
                  <a:gd name="connsiteY2" fmla="*/ 16091 h 18465"/>
                  <a:gd name="connsiteX3" fmla="*/ 2374 w 18324"/>
                  <a:gd name="connsiteY3" fmla="*/ 3053 h 18465"/>
                  <a:gd name="connsiteX4" fmla="*/ 15293 w 18324"/>
                  <a:gd name="connsiteY4" fmla="*/ 2395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5">
                    <a:moveTo>
                      <a:pt x="15293" y="2395"/>
                    </a:moveTo>
                    <a:cubicBezTo>
                      <a:pt x="19060" y="5804"/>
                      <a:pt x="19359" y="11665"/>
                      <a:pt x="15950" y="15433"/>
                    </a:cubicBezTo>
                    <a:cubicBezTo>
                      <a:pt x="12542" y="19201"/>
                      <a:pt x="6740" y="19500"/>
                      <a:pt x="3032" y="16091"/>
                    </a:cubicBezTo>
                    <a:cubicBezTo>
                      <a:pt x="-736" y="12682"/>
                      <a:pt x="-1035" y="6821"/>
                      <a:pt x="2374" y="3053"/>
                    </a:cubicBezTo>
                    <a:cubicBezTo>
                      <a:pt x="5724" y="-775"/>
                      <a:pt x="11525" y="-1014"/>
                      <a:pt x="15293" y="2395"/>
                    </a:cubicBezTo>
                    <a:close/>
                  </a:path>
                </a:pathLst>
              </a:custGeom>
              <a:grpFill/>
              <a:ln w="5978" cap="flat">
                <a:noFill/>
                <a:prstDash val="solid"/>
                <a:miter/>
              </a:ln>
            </p:spPr>
            <p:txBody>
              <a:bodyPr rtlCol="0" anchor="ctr"/>
              <a:lstStyle/>
              <a:p>
                <a:endParaRPr lang="en-GB"/>
              </a:p>
            </p:txBody>
          </p:sp>
          <p:sp>
            <p:nvSpPr>
              <p:cNvPr id="2610" name="Vrije vorm: vorm 2609">
                <a:extLst>
                  <a:ext uri="{FF2B5EF4-FFF2-40B4-BE49-F238E27FC236}">
                    <a16:creationId xmlns:a16="http://schemas.microsoft.com/office/drawing/2014/main" id="{B22E6CEA-6415-4E3B-A1DA-C404DAF51AC5}"/>
                  </a:ext>
                </a:extLst>
              </p:cNvPr>
              <p:cNvSpPr/>
              <p:nvPr/>
            </p:nvSpPr>
            <p:spPr>
              <a:xfrm>
                <a:off x="4358130" y="2069029"/>
                <a:ext cx="18324" cy="18474"/>
              </a:xfrm>
              <a:custGeom>
                <a:avLst/>
                <a:gdLst>
                  <a:gd name="connsiteX0" fmla="*/ 15293 w 18324"/>
                  <a:gd name="connsiteY0" fmla="*/ 2374 h 18474"/>
                  <a:gd name="connsiteX1" fmla="*/ 2374 w 18324"/>
                  <a:gd name="connsiteY1" fmla="*/ 3032 h 18474"/>
                  <a:gd name="connsiteX2" fmla="*/ 3032 w 18324"/>
                  <a:gd name="connsiteY2" fmla="*/ 16070 h 18474"/>
                  <a:gd name="connsiteX3" fmla="*/ 15950 w 18324"/>
                  <a:gd name="connsiteY3" fmla="*/ 15472 h 18474"/>
                  <a:gd name="connsiteX4" fmla="*/ 15293 w 18324"/>
                  <a:gd name="connsiteY4" fmla="*/ 2374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74">
                    <a:moveTo>
                      <a:pt x="15293" y="2374"/>
                    </a:moveTo>
                    <a:cubicBezTo>
                      <a:pt x="11525" y="-1035"/>
                      <a:pt x="5724" y="-736"/>
                      <a:pt x="2374" y="3032"/>
                    </a:cubicBezTo>
                    <a:cubicBezTo>
                      <a:pt x="-1035" y="6800"/>
                      <a:pt x="-736" y="12601"/>
                      <a:pt x="3032" y="16070"/>
                    </a:cubicBezTo>
                    <a:cubicBezTo>
                      <a:pt x="6800" y="19539"/>
                      <a:pt x="12601" y="19180"/>
                      <a:pt x="15950" y="15472"/>
                    </a:cubicBezTo>
                    <a:cubicBezTo>
                      <a:pt x="19359" y="11644"/>
                      <a:pt x="19060" y="5843"/>
                      <a:pt x="15293" y="2374"/>
                    </a:cubicBezTo>
                    <a:close/>
                  </a:path>
                </a:pathLst>
              </a:custGeom>
              <a:grpFill/>
              <a:ln w="5978" cap="flat">
                <a:noFill/>
                <a:prstDash val="solid"/>
                <a:miter/>
              </a:ln>
            </p:spPr>
            <p:txBody>
              <a:bodyPr rtlCol="0" anchor="ctr"/>
              <a:lstStyle/>
              <a:p>
                <a:endParaRPr lang="en-GB"/>
              </a:p>
            </p:txBody>
          </p:sp>
        </p:grpSp>
        <p:grpSp>
          <p:nvGrpSpPr>
            <p:cNvPr id="931" name="Graphic 3">
              <a:extLst>
                <a:ext uri="{FF2B5EF4-FFF2-40B4-BE49-F238E27FC236}">
                  <a16:creationId xmlns:a16="http://schemas.microsoft.com/office/drawing/2014/main" id="{4B205112-F50A-4CE3-9486-D63FE0FF32A6}"/>
                </a:ext>
              </a:extLst>
            </p:cNvPr>
            <p:cNvGrpSpPr/>
            <p:nvPr/>
          </p:nvGrpSpPr>
          <p:grpSpPr>
            <a:xfrm>
              <a:off x="5489104" y="5054663"/>
              <a:ext cx="202669" cy="641997"/>
              <a:chOff x="5489104" y="5054663"/>
              <a:chExt cx="202669" cy="641997"/>
            </a:xfrm>
            <a:grpFill/>
          </p:grpSpPr>
          <p:sp>
            <p:nvSpPr>
              <p:cNvPr id="2605" name="Vrije vorm: vorm 2604">
                <a:extLst>
                  <a:ext uri="{FF2B5EF4-FFF2-40B4-BE49-F238E27FC236}">
                    <a16:creationId xmlns:a16="http://schemas.microsoft.com/office/drawing/2014/main" id="{1848578C-0EC4-4685-A27C-6B5B8AFEB638}"/>
                  </a:ext>
                </a:extLst>
              </p:cNvPr>
              <p:cNvSpPr/>
              <p:nvPr/>
            </p:nvSpPr>
            <p:spPr>
              <a:xfrm>
                <a:off x="5496662" y="5063020"/>
                <a:ext cx="187495" cy="625284"/>
              </a:xfrm>
              <a:custGeom>
                <a:avLst/>
                <a:gdLst>
                  <a:gd name="connsiteX0" fmla="*/ 187496 w 187495"/>
                  <a:gd name="connsiteY0" fmla="*/ 897 h 625284"/>
                  <a:gd name="connsiteX1" fmla="*/ 2930 w 187495"/>
                  <a:gd name="connsiteY1" fmla="*/ 625285 h 625284"/>
                  <a:gd name="connsiteX2" fmla="*/ 0 w 187495"/>
                  <a:gd name="connsiteY2" fmla="*/ 624447 h 625284"/>
                  <a:gd name="connsiteX3" fmla="*/ 184565 w 187495"/>
                  <a:gd name="connsiteY3" fmla="*/ 0 h 625284"/>
                </a:gdLst>
                <a:ahLst/>
                <a:cxnLst>
                  <a:cxn ang="0">
                    <a:pos x="connsiteX0" y="connsiteY0"/>
                  </a:cxn>
                  <a:cxn ang="0">
                    <a:pos x="connsiteX1" y="connsiteY1"/>
                  </a:cxn>
                  <a:cxn ang="0">
                    <a:pos x="connsiteX2" y="connsiteY2"/>
                  </a:cxn>
                  <a:cxn ang="0">
                    <a:pos x="connsiteX3" y="connsiteY3"/>
                  </a:cxn>
                </a:cxnLst>
                <a:rect l="l" t="t" r="r" b="b"/>
                <a:pathLst>
                  <a:path w="187495" h="625284">
                    <a:moveTo>
                      <a:pt x="187496" y="897"/>
                    </a:moveTo>
                    <a:lnTo>
                      <a:pt x="2930" y="625285"/>
                    </a:lnTo>
                    <a:lnTo>
                      <a:pt x="0" y="624447"/>
                    </a:lnTo>
                    <a:lnTo>
                      <a:pt x="184565" y="0"/>
                    </a:lnTo>
                    <a:close/>
                  </a:path>
                </a:pathLst>
              </a:custGeom>
              <a:grpFill/>
              <a:ln w="5978" cap="flat">
                <a:noFill/>
                <a:prstDash val="solid"/>
                <a:miter/>
              </a:ln>
            </p:spPr>
            <p:txBody>
              <a:bodyPr rtlCol="0" anchor="ctr"/>
              <a:lstStyle/>
              <a:p>
                <a:endParaRPr lang="en-GB"/>
              </a:p>
            </p:txBody>
          </p:sp>
          <p:sp>
            <p:nvSpPr>
              <p:cNvPr id="2606" name="Vrije vorm: vorm 2605">
                <a:extLst>
                  <a:ext uri="{FF2B5EF4-FFF2-40B4-BE49-F238E27FC236}">
                    <a16:creationId xmlns:a16="http://schemas.microsoft.com/office/drawing/2014/main" id="{48B77A8E-6C8C-4D93-87A5-2ED4067938A3}"/>
                  </a:ext>
                </a:extLst>
              </p:cNvPr>
              <p:cNvSpPr/>
              <p:nvPr/>
            </p:nvSpPr>
            <p:spPr>
              <a:xfrm>
                <a:off x="5673430" y="5054663"/>
                <a:ext cx="18344" cy="18447"/>
              </a:xfrm>
              <a:custGeom>
                <a:avLst/>
                <a:gdLst>
                  <a:gd name="connsiteX0" fmla="*/ 380 w 18344"/>
                  <a:gd name="connsiteY0" fmla="*/ 6562 h 18447"/>
                  <a:gd name="connsiteX1" fmla="*/ 11804 w 18344"/>
                  <a:gd name="connsiteY1" fmla="*/ 402 h 18447"/>
                  <a:gd name="connsiteX2" fmla="*/ 17964 w 18344"/>
                  <a:gd name="connsiteY2" fmla="*/ 11885 h 18447"/>
                  <a:gd name="connsiteX3" fmla="*/ 6541 w 18344"/>
                  <a:gd name="connsiteY3" fmla="*/ 18045 h 18447"/>
                  <a:gd name="connsiteX4" fmla="*/ 380 w 1834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47">
                    <a:moveTo>
                      <a:pt x="380" y="6562"/>
                    </a:moveTo>
                    <a:cubicBezTo>
                      <a:pt x="1816" y="1718"/>
                      <a:pt x="6899" y="-1093"/>
                      <a:pt x="11804" y="402"/>
                    </a:cubicBezTo>
                    <a:cubicBezTo>
                      <a:pt x="16648" y="1897"/>
                      <a:pt x="19399" y="6981"/>
                      <a:pt x="17964" y="11885"/>
                    </a:cubicBezTo>
                    <a:cubicBezTo>
                      <a:pt x="16528" y="16729"/>
                      <a:pt x="11445" y="19541"/>
                      <a:pt x="6541" y="18045"/>
                    </a:cubicBezTo>
                    <a:cubicBezTo>
                      <a:pt x="1696" y="16610"/>
                      <a:pt x="-1055" y="11466"/>
                      <a:pt x="380" y="6562"/>
                    </a:cubicBezTo>
                    <a:close/>
                  </a:path>
                </a:pathLst>
              </a:custGeom>
              <a:grpFill/>
              <a:ln w="5978" cap="flat">
                <a:noFill/>
                <a:prstDash val="solid"/>
                <a:miter/>
              </a:ln>
            </p:spPr>
            <p:txBody>
              <a:bodyPr rtlCol="0" anchor="ctr"/>
              <a:lstStyle/>
              <a:p>
                <a:endParaRPr lang="en-GB"/>
              </a:p>
            </p:txBody>
          </p:sp>
          <p:sp>
            <p:nvSpPr>
              <p:cNvPr id="2607" name="Vrije vorm: vorm 2606">
                <a:extLst>
                  <a:ext uri="{FF2B5EF4-FFF2-40B4-BE49-F238E27FC236}">
                    <a16:creationId xmlns:a16="http://schemas.microsoft.com/office/drawing/2014/main" id="{91C68F54-C6F3-404F-89F3-0D3928B8CB22}"/>
                  </a:ext>
                </a:extLst>
              </p:cNvPr>
              <p:cNvSpPr/>
              <p:nvPr/>
            </p:nvSpPr>
            <p:spPr>
              <a:xfrm>
                <a:off x="5489104" y="5678235"/>
                <a:ext cx="18344" cy="18425"/>
              </a:xfrm>
              <a:custGeom>
                <a:avLst/>
                <a:gdLst>
                  <a:gd name="connsiteX0" fmla="*/ 380 w 18344"/>
                  <a:gd name="connsiteY0" fmla="*/ 6540 h 18425"/>
                  <a:gd name="connsiteX1" fmla="*/ 6541 w 18344"/>
                  <a:gd name="connsiteY1" fmla="*/ 18023 h 18425"/>
                  <a:gd name="connsiteX2" fmla="*/ 17964 w 18344"/>
                  <a:gd name="connsiteY2" fmla="*/ 11863 h 18425"/>
                  <a:gd name="connsiteX3" fmla="*/ 11804 w 18344"/>
                  <a:gd name="connsiteY3" fmla="*/ 381 h 18425"/>
                  <a:gd name="connsiteX4" fmla="*/ 380 w 18344"/>
                  <a:gd name="connsiteY4" fmla="*/ 6540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5">
                    <a:moveTo>
                      <a:pt x="380" y="6540"/>
                    </a:moveTo>
                    <a:cubicBezTo>
                      <a:pt x="-1055" y="11385"/>
                      <a:pt x="1696" y="16528"/>
                      <a:pt x="6541" y="18023"/>
                    </a:cubicBezTo>
                    <a:cubicBezTo>
                      <a:pt x="11385" y="19519"/>
                      <a:pt x="16469" y="16708"/>
                      <a:pt x="17964" y="11863"/>
                    </a:cubicBezTo>
                    <a:cubicBezTo>
                      <a:pt x="19399" y="7019"/>
                      <a:pt x="16648" y="1876"/>
                      <a:pt x="11804" y="381"/>
                    </a:cubicBezTo>
                    <a:cubicBezTo>
                      <a:pt x="6899" y="-1055"/>
                      <a:pt x="1816" y="1696"/>
                      <a:pt x="380" y="6540"/>
                    </a:cubicBezTo>
                    <a:close/>
                  </a:path>
                </a:pathLst>
              </a:custGeom>
              <a:grpFill/>
              <a:ln w="5978" cap="flat">
                <a:noFill/>
                <a:prstDash val="solid"/>
                <a:miter/>
              </a:ln>
            </p:spPr>
            <p:txBody>
              <a:bodyPr rtlCol="0" anchor="ctr"/>
              <a:lstStyle/>
              <a:p>
                <a:endParaRPr lang="en-GB"/>
              </a:p>
            </p:txBody>
          </p:sp>
        </p:grpSp>
        <p:grpSp>
          <p:nvGrpSpPr>
            <p:cNvPr id="932" name="Graphic 3">
              <a:extLst>
                <a:ext uri="{FF2B5EF4-FFF2-40B4-BE49-F238E27FC236}">
                  <a16:creationId xmlns:a16="http://schemas.microsoft.com/office/drawing/2014/main" id="{18B400DB-C171-434D-9FEF-2F909BE037E5}"/>
                </a:ext>
              </a:extLst>
            </p:cNvPr>
            <p:cNvGrpSpPr/>
            <p:nvPr/>
          </p:nvGrpSpPr>
          <p:grpSpPr>
            <a:xfrm>
              <a:off x="5455175" y="4992885"/>
              <a:ext cx="59588" cy="137517"/>
              <a:chOff x="5455175" y="4992885"/>
              <a:chExt cx="59588" cy="137517"/>
            </a:xfrm>
            <a:grpFill/>
          </p:grpSpPr>
          <p:sp>
            <p:nvSpPr>
              <p:cNvPr id="2602" name="Vrije vorm: vorm 2601">
                <a:extLst>
                  <a:ext uri="{FF2B5EF4-FFF2-40B4-BE49-F238E27FC236}">
                    <a16:creationId xmlns:a16="http://schemas.microsoft.com/office/drawing/2014/main" id="{454726D1-4BCA-4DBD-B6B7-C8C203EF83AD}"/>
                  </a:ext>
                </a:extLst>
              </p:cNvPr>
              <p:cNvSpPr/>
              <p:nvPr/>
            </p:nvSpPr>
            <p:spPr>
              <a:xfrm>
                <a:off x="5462691" y="5001119"/>
                <a:ext cx="44496" cy="120989"/>
              </a:xfrm>
              <a:custGeom>
                <a:avLst/>
                <a:gdLst>
                  <a:gd name="connsiteX0" fmla="*/ 44497 w 44496"/>
                  <a:gd name="connsiteY0" fmla="*/ 1017 h 120989"/>
                  <a:gd name="connsiteX1" fmla="*/ 2930 w 44496"/>
                  <a:gd name="connsiteY1" fmla="*/ 120990 h 120989"/>
                  <a:gd name="connsiteX2" fmla="*/ 0 w 44496"/>
                  <a:gd name="connsiteY2" fmla="*/ 119973 h 120989"/>
                  <a:gd name="connsiteX3" fmla="*/ 41626 w 44496"/>
                  <a:gd name="connsiteY3" fmla="*/ 0 h 120989"/>
                </a:gdLst>
                <a:ahLst/>
                <a:cxnLst>
                  <a:cxn ang="0">
                    <a:pos x="connsiteX0" y="connsiteY0"/>
                  </a:cxn>
                  <a:cxn ang="0">
                    <a:pos x="connsiteX1" y="connsiteY1"/>
                  </a:cxn>
                  <a:cxn ang="0">
                    <a:pos x="connsiteX2" y="connsiteY2"/>
                  </a:cxn>
                  <a:cxn ang="0">
                    <a:pos x="connsiteX3" y="connsiteY3"/>
                  </a:cxn>
                </a:cxnLst>
                <a:rect l="l" t="t" r="r" b="b"/>
                <a:pathLst>
                  <a:path w="44496" h="120989">
                    <a:moveTo>
                      <a:pt x="44497" y="1017"/>
                    </a:moveTo>
                    <a:lnTo>
                      <a:pt x="2930" y="120990"/>
                    </a:lnTo>
                    <a:lnTo>
                      <a:pt x="0" y="119973"/>
                    </a:lnTo>
                    <a:lnTo>
                      <a:pt x="41626" y="0"/>
                    </a:lnTo>
                    <a:close/>
                  </a:path>
                </a:pathLst>
              </a:custGeom>
              <a:grpFill/>
              <a:ln w="5978" cap="flat">
                <a:noFill/>
                <a:prstDash val="solid"/>
                <a:miter/>
              </a:ln>
            </p:spPr>
            <p:txBody>
              <a:bodyPr rtlCol="0" anchor="ctr"/>
              <a:lstStyle/>
              <a:p>
                <a:endParaRPr lang="en-GB"/>
              </a:p>
            </p:txBody>
          </p:sp>
          <p:sp>
            <p:nvSpPr>
              <p:cNvPr id="2603" name="Vrije vorm: vorm 2602">
                <a:extLst>
                  <a:ext uri="{FF2B5EF4-FFF2-40B4-BE49-F238E27FC236}">
                    <a16:creationId xmlns:a16="http://schemas.microsoft.com/office/drawing/2014/main" id="{00429A68-9708-4802-8301-B1D8AF78CE31}"/>
                  </a:ext>
                </a:extLst>
              </p:cNvPr>
              <p:cNvSpPr/>
              <p:nvPr/>
            </p:nvSpPr>
            <p:spPr>
              <a:xfrm>
                <a:off x="5455175" y="5112021"/>
                <a:ext cx="18315" cy="18381"/>
              </a:xfrm>
              <a:custGeom>
                <a:avLst/>
                <a:gdLst>
                  <a:gd name="connsiteX0" fmla="*/ 17803 w 18315"/>
                  <a:gd name="connsiteY0" fmla="*/ 12241 h 18381"/>
                  <a:gd name="connsiteX1" fmla="*/ 6141 w 18315"/>
                  <a:gd name="connsiteY1" fmla="*/ 17863 h 18381"/>
                  <a:gd name="connsiteX2" fmla="*/ 519 w 18315"/>
                  <a:gd name="connsiteY2" fmla="*/ 6141 h 18381"/>
                  <a:gd name="connsiteX3" fmla="*/ 12181 w 18315"/>
                  <a:gd name="connsiteY3" fmla="*/ 519 h 18381"/>
                  <a:gd name="connsiteX4" fmla="*/ 17803 w 18315"/>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81">
                    <a:moveTo>
                      <a:pt x="17803" y="12241"/>
                    </a:moveTo>
                    <a:cubicBezTo>
                      <a:pt x="16129" y="17026"/>
                      <a:pt x="10925" y="19538"/>
                      <a:pt x="6141" y="17863"/>
                    </a:cubicBezTo>
                    <a:cubicBezTo>
                      <a:pt x="1356" y="16188"/>
                      <a:pt x="-1156" y="10925"/>
                      <a:pt x="519" y="6141"/>
                    </a:cubicBezTo>
                    <a:cubicBezTo>
                      <a:pt x="2193" y="1356"/>
                      <a:pt x="7397" y="-1156"/>
                      <a:pt x="12181" y="519"/>
                    </a:cubicBezTo>
                    <a:cubicBezTo>
                      <a:pt x="16906" y="2134"/>
                      <a:pt x="19478" y="7397"/>
                      <a:pt x="17803" y="12241"/>
                    </a:cubicBezTo>
                    <a:close/>
                  </a:path>
                </a:pathLst>
              </a:custGeom>
              <a:grpFill/>
              <a:ln w="5978" cap="flat">
                <a:noFill/>
                <a:prstDash val="solid"/>
                <a:miter/>
              </a:ln>
            </p:spPr>
            <p:txBody>
              <a:bodyPr rtlCol="0" anchor="ctr"/>
              <a:lstStyle/>
              <a:p>
                <a:endParaRPr lang="en-GB"/>
              </a:p>
            </p:txBody>
          </p:sp>
          <p:sp>
            <p:nvSpPr>
              <p:cNvPr id="2604" name="Vrije vorm: vorm 2603">
                <a:extLst>
                  <a:ext uri="{FF2B5EF4-FFF2-40B4-BE49-F238E27FC236}">
                    <a16:creationId xmlns:a16="http://schemas.microsoft.com/office/drawing/2014/main" id="{DB9F0CE6-9553-4763-9E99-295C50A90318}"/>
                  </a:ext>
                </a:extLst>
              </p:cNvPr>
              <p:cNvSpPr/>
              <p:nvPr/>
            </p:nvSpPr>
            <p:spPr>
              <a:xfrm>
                <a:off x="5496442" y="4992885"/>
                <a:ext cx="18322" cy="18381"/>
              </a:xfrm>
              <a:custGeom>
                <a:avLst/>
                <a:gdLst>
                  <a:gd name="connsiteX0" fmla="*/ 17803 w 18322"/>
                  <a:gd name="connsiteY0" fmla="*/ 12241 h 18381"/>
                  <a:gd name="connsiteX1" fmla="*/ 12181 w 18322"/>
                  <a:gd name="connsiteY1" fmla="*/ 519 h 18381"/>
                  <a:gd name="connsiteX2" fmla="*/ 519 w 18322"/>
                  <a:gd name="connsiteY2" fmla="*/ 6141 h 18381"/>
                  <a:gd name="connsiteX3" fmla="*/ 6141 w 18322"/>
                  <a:gd name="connsiteY3" fmla="*/ 17863 h 18381"/>
                  <a:gd name="connsiteX4" fmla="*/ 17803 w 18322"/>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81">
                    <a:moveTo>
                      <a:pt x="17803" y="12241"/>
                    </a:moveTo>
                    <a:cubicBezTo>
                      <a:pt x="19478" y="7456"/>
                      <a:pt x="16966" y="2193"/>
                      <a:pt x="12181" y="519"/>
                    </a:cubicBezTo>
                    <a:cubicBezTo>
                      <a:pt x="7397" y="-1156"/>
                      <a:pt x="2194" y="1356"/>
                      <a:pt x="519" y="6141"/>
                    </a:cubicBezTo>
                    <a:cubicBezTo>
                      <a:pt x="-1156" y="10925"/>
                      <a:pt x="1356" y="16188"/>
                      <a:pt x="6141" y="17863"/>
                    </a:cubicBezTo>
                    <a:cubicBezTo>
                      <a:pt x="10926" y="19538"/>
                      <a:pt x="16129" y="17026"/>
                      <a:pt x="17803" y="12241"/>
                    </a:cubicBezTo>
                    <a:close/>
                  </a:path>
                </a:pathLst>
              </a:custGeom>
              <a:grpFill/>
              <a:ln w="5978" cap="flat">
                <a:noFill/>
                <a:prstDash val="solid"/>
                <a:miter/>
              </a:ln>
            </p:spPr>
            <p:txBody>
              <a:bodyPr rtlCol="0" anchor="ctr"/>
              <a:lstStyle/>
              <a:p>
                <a:endParaRPr lang="en-GB"/>
              </a:p>
            </p:txBody>
          </p:sp>
        </p:grpSp>
        <p:grpSp>
          <p:nvGrpSpPr>
            <p:cNvPr id="933" name="Graphic 3">
              <a:extLst>
                <a:ext uri="{FF2B5EF4-FFF2-40B4-BE49-F238E27FC236}">
                  <a16:creationId xmlns:a16="http://schemas.microsoft.com/office/drawing/2014/main" id="{7AD62F43-86BD-4C2E-939C-A2E57575A978}"/>
                </a:ext>
              </a:extLst>
            </p:cNvPr>
            <p:cNvGrpSpPr/>
            <p:nvPr/>
          </p:nvGrpSpPr>
          <p:grpSpPr>
            <a:xfrm>
              <a:off x="4526627" y="2247382"/>
              <a:ext cx="24307" cy="22949"/>
              <a:chOff x="4526627" y="2247382"/>
              <a:chExt cx="24307" cy="22949"/>
            </a:xfrm>
            <a:grpFill/>
          </p:grpSpPr>
          <p:sp>
            <p:nvSpPr>
              <p:cNvPr id="2600" name="Vrije vorm: vorm 2599">
                <a:extLst>
                  <a:ext uri="{FF2B5EF4-FFF2-40B4-BE49-F238E27FC236}">
                    <a16:creationId xmlns:a16="http://schemas.microsoft.com/office/drawing/2014/main" id="{477679F1-91EA-4BE3-8BFA-06275BA4E02B}"/>
                  </a:ext>
                </a:extLst>
              </p:cNvPr>
              <p:cNvSpPr/>
              <p:nvPr/>
            </p:nvSpPr>
            <p:spPr>
              <a:xfrm>
                <a:off x="4532565" y="2251909"/>
                <a:ext cx="18369" cy="18421"/>
              </a:xfrm>
              <a:custGeom>
                <a:avLst/>
                <a:gdLst>
                  <a:gd name="connsiteX0" fmla="*/ 3653 w 18369"/>
                  <a:gd name="connsiteY0" fmla="*/ 16559 h 18421"/>
                  <a:gd name="connsiteX1" fmla="*/ 1858 w 18369"/>
                  <a:gd name="connsiteY1" fmla="*/ 3641 h 18421"/>
                  <a:gd name="connsiteX2" fmla="*/ 14717 w 18369"/>
                  <a:gd name="connsiteY2" fmla="*/ 1906 h 18421"/>
                  <a:gd name="connsiteX3" fmla="*/ 16511 w 18369"/>
                  <a:gd name="connsiteY3" fmla="*/ 14824 h 18421"/>
                  <a:gd name="connsiteX4" fmla="*/ 3653 w 18369"/>
                  <a:gd name="connsiteY4" fmla="*/ 1655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21">
                    <a:moveTo>
                      <a:pt x="3653" y="16559"/>
                    </a:moveTo>
                    <a:cubicBezTo>
                      <a:pt x="-414" y="13449"/>
                      <a:pt x="-1192" y="7707"/>
                      <a:pt x="1858" y="3641"/>
                    </a:cubicBezTo>
                    <a:cubicBezTo>
                      <a:pt x="4908" y="-426"/>
                      <a:pt x="10650" y="-1204"/>
                      <a:pt x="14717" y="1906"/>
                    </a:cubicBezTo>
                    <a:cubicBezTo>
                      <a:pt x="18784" y="5016"/>
                      <a:pt x="19561" y="10758"/>
                      <a:pt x="16511" y="14824"/>
                    </a:cubicBezTo>
                    <a:cubicBezTo>
                      <a:pt x="13401" y="18832"/>
                      <a:pt x="7660" y="19609"/>
                      <a:pt x="3653" y="16559"/>
                    </a:cubicBezTo>
                    <a:close/>
                  </a:path>
                </a:pathLst>
              </a:custGeom>
              <a:grpFill/>
              <a:ln w="5978" cap="flat">
                <a:noFill/>
                <a:prstDash val="solid"/>
                <a:miter/>
              </a:ln>
            </p:spPr>
            <p:txBody>
              <a:bodyPr rtlCol="0" anchor="ctr"/>
              <a:lstStyle/>
              <a:p>
                <a:endParaRPr lang="en-GB"/>
              </a:p>
            </p:txBody>
          </p:sp>
          <p:sp>
            <p:nvSpPr>
              <p:cNvPr id="2601" name="Vrije vorm: vorm 2600">
                <a:extLst>
                  <a:ext uri="{FF2B5EF4-FFF2-40B4-BE49-F238E27FC236}">
                    <a16:creationId xmlns:a16="http://schemas.microsoft.com/office/drawing/2014/main" id="{6AC3F6E4-AE44-491B-B3A1-F0339294DCC7}"/>
                  </a:ext>
                </a:extLst>
              </p:cNvPr>
              <p:cNvSpPr/>
              <p:nvPr/>
            </p:nvSpPr>
            <p:spPr>
              <a:xfrm>
                <a:off x="4526627" y="2247382"/>
                <a:ext cx="18326" cy="18429"/>
              </a:xfrm>
              <a:custGeom>
                <a:avLst/>
                <a:gdLst>
                  <a:gd name="connsiteX0" fmla="*/ 3610 w 18326"/>
                  <a:gd name="connsiteY0" fmla="*/ 16541 h 18429"/>
                  <a:gd name="connsiteX1" fmla="*/ 16468 w 18326"/>
                  <a:gd name="connsiteY1" fmla="*/ 14807 h 18429"/>
                  <a:gd name="connsiteX2" fmla="*/ 14674 w 18326"/>
                  <a:gd name="connsiteY2" fmla="*/ 1888 h 18429"/>
                  <a:gd name="connsiteX3" fmla="*/ 1815 w 18326"/>
                  <a:gd name="connsiteY3" fmla="*/ 3623 h 18429"/>
                  <a:gd name="connsiteX4" fmla="*/ 3610 w 18326"/>
                  <a:gd name="connsiteY4" fmla="*/ 1654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3610" y="16541"/>
                    </a:moveTo>
                    <a:cubicBezTo>
                      <a:pt x="7676" y="19651"/>
                      <a:pt x="13418" y="18814"/>
                      <a:pt x="16468" y="14807"/>
                    </a:cubicBezTo>
                    <a:cubicBezTo>
                      <a:pt x="19518" y="10740"/>
                      <a:pt x="18741" y="4998"/>
                      <a:pt x="14674" y="1888"/>
                    </a:cubicBezTo>
                    <a:cubicBezTo>
                      <a:pt x="10667" y="-1222"/>
                      <a:pt x="4865" y="-384"/>
                      <a:pt x="1815" y="3623"/>
                    </a:cubicBezTo>
                    <a:cubicBezTo>
                      <a:pt x="-1175" y="7690"/>
                      <a:pt x="-398" y="13431"/>
                      <a:pt x="3610" y="16541"/>
                    </a:cubicBezTo>
                    <a:close/>
                  </a:path>
                </a:pathLst>
              </a:custGeom>
              <a:grpFill/>
              <a:ln w="5978" cap="flat">
                <a:noFill/>
                <a:prstDash val="solid"/>
                <a:miter/>
              </a:ln>
            </p:spPr>
            <p:txBody>
              <a:bodyPr rtlCol="0" anchor="ctr"/>
              <a:lstStyle/>
              <a:p>
                <a:endParaRPr lang="en-GB"/>
              </a:p>
            </p:txBody>
          </p:sp>
        </p:grpSp>
        <p:grpSp>
          <p:nvGrpSpPr>
            <p:cNvPr id="934" name="Graphic 3">
              <a:extLst>
                <a:ext uri="{FF2B5EF4-FFF2-40B4-BE49-F238E27FC236}">
                  <a16:creationId xmlns:a16="http://schemas.microsoft.com/office/drawing/2014/main" id="{2BF4BCB7-2C96-4EA1-B830-477249B9BD3B}"/>
                </a:ext>
              </a:extLst>
            </p:cNvPr>
            <p:cNvGrpSpPr/>
            <p:nvPr/>
          </p:nvGrpSpPr>
          <p:grpSpPr>
            <a:xfrm>
              <a:off x="4417298" y="2065111"/>
              <a:ext cx="150246" cy="127174"/>
              <a:chOff x="4417298" y="2065111"/>
              <a:chExt cx="150246" cy="127174"/>
            </a:xfrm>
            <a:grpFill/>
          </p:grpSpPr>
          <p:sp>
            <p:nvSpPr>
              <p:cNvPr id="2597" name="Vrije vorm: vorm 2596">
                <a:extLst>
                  <a:ext uri="{FF2B5EF4-FFF2-40B4-BE49-F238E27FC236}">
                    <a16:creationId xmlns:a16="http://schemas.microsoft.com/office/drawing/2014/main" id="{D68F3A4A-3371-4BD1-8ED6-3BBF486E76DF}"/>
                  </a:ext>
                </a:extLst>
              </p:cNvPr>
              <p:cNvSpPr/>
              <p:nvPr/>
            </p:nvSpPr>
            <p:spPr>
              <a:xfrm>
                <a:off x="4425156" y="2072839"/>
                <a:ext cx="134506" cy="111719"/>
              </a:xfrm>
              <a:custGeom>
                <a:avLst/>
                <a:gdLst>
                  <a:gd name="connsiteX0" fmla="*/ 134506 w 134506"/>
                  <a:gd name="connsiteY0" fmla="*/ 109328 h 111719"/>
                  <a:gd name="connsiteX1" fmla="*/ 132593 w 134506"/>
                  <a:gd name="connsiteY1" fmla="*/ 111720 h 111719"/>
                  <a:gd name="connsiteX2" fmla="*/ 0 w 134506"/>
                  <a:gd name="connsiteY2" fmla="*/ 2392 h 111719"/>
                  <a:gd name="connsiteX3" fmla="*/ 1914 w 134506"/>
                  <a:gd name="connsiteY3" fmla="*/ 0 h 111719"/>
                </a:gdLst>
                <a:ahLst/>
                <a:cxnLst>
                  <a:cxn ang="0">
                    <a:pos x="connsiteX0" y="connsiteY0"/>
                  </a:cxn>
                  <a:cxn ang="0">
                    <a:pos x="connsiteX1" y="connsiteY1"/>
                  </a:cxn>
                  <a:cxn ang="0">
                    <a:pos x="connsiteX2" y="connsiteY2"/>
                  </a:cxn>
                  <a:cxn ang="0">
                    <a:pos x="connsiteX3" y="connsiteY3"/>
                  </a:cxn>
                </a:cxnLst>
                <a:rect l="l" t="t" r="r" b="b"/>
                <a:pathLst>
                  <a:path w="134506" h="111719">
                    <a:moveTo>
                      <a:pt x="134506" y="109328"/>
                    </a:moveTo>
                    <a:lnTo>
                      <a:pt x="132593" y="111720"/>
                    </a:lnTo>
                    <a:lnTo>
                      <a:pt x="0" y="2392"/>
                    </a:lnTo>
                    <a:lnTo>
                      <a:pt x="1914" y="0"/>
                    </a:lnTo>
                    <a:close/>
                  </a:path>
                </a:pathLst>
              </a:custGeom>
              <a:grpFill/>
              <a:ln w="5978" cap="flat">
                <a:noFill/>
                <a:prstDash val="solid"/>
                <a:miter/>
              </a:ln>
            </p:spPr>
            <p:txBody>
              <a:bodyPr rtlCol="0" anchor="ctr"/>
              <a:lstStyle/>
              <a:p>
                <a:endParaRPr lang="en-GB"/>
              </a:p>
            </p:txBody>
          </p:sp>
          <p:sp>
            <p:nvSpPr>
              <p:cNvPr id="2598" name="Vrije vorm: vorm 2597">
                <a:extLst>
                  <a:ext uri="{FF2B5EF4-FFF2-40B4-BE49-F238E27FC236}">
                    <a16:creationId xmlns:a16="http://schemas.microsoft.com/office/drawing/2014/main" id="{B580F778-B9C7-43A6-9081-CB9F431904BE}"/>
                  </a:ext>
                </a:extLst>
              </p:cNvPr>
              <p:cNvSpPr/>
              <p:nvPr/>
            </p:nvSpPr>
            <p:spPr>
              <a:xfrm>
                <a:off x="4417298" y="2065111"/>
                <a:ext cx="18346" cy="18425"/>
              </a:xfrm>
              <a:custGeom>
                <a:avLst/>
                <a:gdLst>
                  <a:gd name="connsiteX0" fmla="*/ 3372 w 18346"/>
                  <a:gd name="connsiteY0" fmla="*/ 16339 h 18425"/>
                  <a:gd name="connsiteX1" fmla="*/ 2056 w 18346"/>
                  <a:gd name="connsiteY1" fmla="*/ 3361 h 18425"/>
                  <a:gd name="connsiteX2" fmla="*/ 14975 w 18346"/>
                  <a:gd name="connsiteY2" fmla="*/ 2105 h 18425"/>
                  <a:gd name="connsiteX3" fmla="*/ 16290 w 18346"/>
                  <a:gd name="connsiteY3" fmla="*/ 15083 h 18425"/>
                  <a:gd name="connsiteX4" fmla="*/ 3372 w 18346"/>
                  <a:gd name="connsiteY4" fmla="*/ 16339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5">
                    <a:moveTo>
                      <a:pt x="3372" y="16339"/>
                    </a:moveTo>
                    <a:cubicBezTo>
                      <a:pt x="-575" y="13110"/>
                      <a:pt x="-1113" y="7308"/>
                      <a:pt x="2056" y="3361"/>
                    </a:cubicBezTo>
                    <a:cubicBezTo>
                      <a:pt x="5286" y="-586"/>
                      <a:pt x="11027" y="-1124"/>
                      <a:pt x="14975" y="2105"/>
                    </a:cubicBezTo>
                    <a:cubicBezTo>
                      <a:pt x="18922" y="5335"/>
                      <a:pt x="19460" y="11136"/>
                      <a:pt x="16290" y="15083"/>
                    </a:cubicBezTo>
                    <a:cubicBezTo>
                      <a:pt x="13061" y="18971"/>
                      <a:pt x="7259" y="19569"/>
                      <a:pt x="3372" y="16339"/>
                    </a:cubicBezTo>
                    <a:close/>
                  </a:path>
                </a:pathLst>
              </a:custGeom>
              <a:grpFill/>
              <a:ln w="5978" cap="flat">
                <a:noFill/>
                <a:prstDash val="solid"/>
                <a:miter/>
              </a:ln>
            </p:spPr>
            <p:txBody>
              <a:bodyPr rtlCol="0" anchor="ctr"/>
              <a:lstStyle/>
              <a:p>
                <a:endParaRPr lang="en-GB"/>
              </a:p>
            </p:txBody>
          </p:sp>
          <p:sp>
            <p:nvSpPr>
              <p:cNvPr id="2599" name="Vrije vorm: vorm 2598">
                <a:extLst>
                  <a:ext uri="{FF2B5EF4-FFF2-40B4-BE49-F238E27FC236}">
                    <a16:creationId xmlns:a16="http://schemas.microsoft.com/office/drawing/2014/main" id="{7181A2F3-0C07-49FA-8631-C5F969767E26}"/>
                  </a:ext>
                </a:extLst>
              </p:cNvPr>
              <p:cNvSpPr/>
              <p:nvPr/>
            </p:nvSpPr>
            <p:spPr>
              <a:xfrm>
                <a:off x="4549192" y="2173841"/>
                <a:ext cx="18352" cy="18444"/>
              </a:xfrm>
              <a:custGeom>
                <a:avLst/>
                <a:gdLst>
                  <a:gd name="connsiteX0" fmla="*/ 3353 w 18352"/>
                  <a:gd name="connsiteY0" fmla="*/ 16339 h 18444"/>
                  <a:gd name="connsiteX1" fmla="*/ 16271 w 18352"/>
                  <a:gd name="connsiteY1" fmla="*/ 15084 h 18444"/>
                  <a:gd name="connsiteX2" fmla="*/ 14955 w 18352"/>
                  <a:gd name="connsiteY2" fmla="*/ 2105 h 18444"/>
                  <a:gd name="connsiteX3" fmla="*/ 2037 w 18352"/>
                  <a:gd name="connsiteY3" fmla="*/ 3361 h 18444"/>
                  <a:gd name="connsiteX4" fmla="*/ 3353 w 18352"/>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44">
                    <a:moveTo>
                      <a:pt x="3353" y="16339"/>
                    </a:moveTo>
                    <a:cubicBezTo>
                      <a:pt x="7300" y="19569"/>
                      <a:pt x="13042" y="19031"/>
                      <a:pt x="16271" y="15084"/>
                    </a:cubicBezTo>
                    <a:cubicBezTo>
                      <a:pt x="19501" y="11136"/>
                      <a:pt x="18903" y="5335"/>
                      <a:pt x="14955" y="2105"/>
                    </a:cubicBezTo>
                    <a:cubicBezTo>
                      <a:pt x="11008" y="-1124"/>
                      <a:pt x="5267" y="-586"/>
                      <a:pt x="2037" y="3361"/>
                    </a:cubicBezTo>
                    <a:cubicBezTo>
                      <a:pt x="-1133" y="7309"/>
                      <a:pt x="-535" y="13110"/>
                      <a:pt x="3353" y="16339"/>
                    </a:cubicBezTo>
                    <a:close/>
                  </a:path>
                </a:pathLst>
              </a:custGeom>
              <a:grpFill/>
              <a:ln w="5978" cap="flat">
                <a:noFill/>
                <a:prstDash val="solid"/>
                <a:miter/>
              </a:ln>
            </p:spPr>
            <p:txBody>
              <a:bodyPr rtlCol="0" anchor="ctr"/>
              <a:lstStyle/>
              <a:p>
                <a:endParaRPr lang="en-GB"/>
              </a:p>
            </p:txBody>
          </p:sp>
        </p:grpSp>
        <p:grpSp>
          <p:nvGrpSpPr>
            <p:cNvPr id="935" name="Graphic 3">
              <a:extLst>
                <a:ext uri="{FF2B5EF4-FFF2-40B4-BE49-F238E27FC236}">
                  <a16:creationId xmlns:a16="http://schemas.microsoft.com/office/drawing/2014/main" id="{360AA1EF-4DAF-41D2-A6AF-043030B82B03}"/>
                </a:ext>
              </a:extLst>
            </p:cNvPr>
            <p:cNvGrpSpPr/>
            <p:nvPr/>
          </p:nvGrpSpPr>
          <p:grpSpPr>
            <a:xfrm>
              <a:off x="4423908" y="2217171"/>
              <a:ext cx="240431" cy="218738"/>
              <a:chOff x="4423908" y="2217171"/>
              <a:chExt cx="240431" cy="218738"/>
            </a:xfrm>
            <a:grpFill/>
          </p:grpSpPr>
          <p:sp>
            <p:nvSpPr>
              <p:cNvPr id="2594" name="Vrije vorm: vorm 2593">
                <a:extLst>
                  <a:ext uri="{FF2B5EF4-FFF2-40B4-BE49-F238E27FC236}">
                    <a16:creationId xmlns:a16="http://schemas.microsoft.com/office/drawing/2014/main" id="{4FD3DB94-9DBA-4CE0-91A6-720FCB1A195D}"/>
                  </a:ext>
                </a:extLst>
              </p:cNvPr>
              <p:cNvSpPr/>
              <p:nvPr/>
            </p:nvSpPr>
            <p:spPr>
              <a:xfrm>
                <a:off x="4431674" y="2224928"/>
                <a:ext cx="224815" cy="203165"/>
              </a:xfrm>
              <a:custGeom>
                <a:avLst/>
                <a:gdLst>
                  <a:gd name="connsiteX0" fmla="*/ 224816 w 224815"/>
                  <a:gd name="connsiteY0" fmla="*/ 200892 h 203165"/>
                  <a:gd name="connsiteX1" fmla="*/ 222782 w 224815"/>
                  <a:gd name="connsiteY1" fmla="*/ 203165 h 203165"/>
                  <a:gd name="connsiteX2" fmla="*/ 0 w 224815"/>
                  <a:gd name="connsiteY2" fmla="*/ 2273 h 203165"/>
                  <a:gd name="connsiteX3" fmla="*/ 2034 w 224815"/>
                  <a:gd name="connsiteY3" fmla="*/ 0 h 203165"/>
                </a:gdLst>
                <a:ahLst/>
                <a:cxnLst>
                  <a:cxn ang="0">
                    <a:pos x="connsiteX0" y="connsiteY0"/>
                  </a:cxn>
                  <a:cxn ang="0">
                    <a:pos x="connsiteX1" y="connsiteY1"/>
                  </a:cxn>
                  <a:cxn ang="0">
                    <a:pos x="connsiteX2" y="connsiteY2"/>
                  </a:cxn>
                  <a:cxn ang="0">
                    <a:pos x="connsiteX3" y="connsiteY3"/>
                  </a:cxn>
                </a:cxnLst>
                <a:rect l="l" t="t" r="r" b="b"/>
                <a:pathLst>
                  <a:path w="224815" h="203165">
                    <a:moveTo>
                      <a:pt x="224816" y="200892"/>
                    </a:moveTo>
                    <a:lnTo>
                      <a:pt x="222782" y="203165"/>
                    </a:lnTo>
                    <a:lnTo>
                      <a:pt x="0" y="2273"/>
                    </a:lnTo>
                    <a:lnTo>
                      <a:pt x="2034" y="0"/>
                    </a:lnTo>
                    <a:close/>
                  </a:path>
                </a:pathLst>
              </a:custGeom>
              <a:grpFill/>
              <a:ln w="5978" cap="flat">
                <a:noFill/>
                <a:prstDash val="solid"/>
                <a:miter/>
              </a:ln>
            </p:spPr>
            <p:txBody>
              <a:bodyPr rtlCol="0" anchor="ctr"/>
              <a:lstStyle/>
              <a:p>
                <a:endParaRPr lang="en-GB"/>
              </a:p>
            </p:txBody>
          </p:sp>
          <p:sp>
            <p:nvSpPr>
              <p:cNvPr id="2595" name="Vrije vorm: vorm 2594">
                <a:extLst>
                  <a:ext uri="{FF2B5EF4-FFF2-40B4-BE49-F238E27FC236}">
                    <a16:creationId xmlns:a16="http://schemas.microsoft.com/office/drawing/2014/main" id="{617D0723-9A91-423C-B653-97E476BD52D0}"/>
                  </a:ext>
                </a:extLst>
              </p:cNvPr>
              <p:cNvSpPr/>
              <p:nvPr/>
            </p:nvSpPr>
            <p:spPr>
              <a:xfrm>
                <a:off x="4646009" y="2417466"/>
                <a:ext cx="18331" cy="18444"/>
              </a:xfrm>
              <a:custGeom>
                <a:avLst/>
                <a:gdLst>
                  <a:gd name="connsiteX0" fmla="*/ 15266 w 18331"/>
                  <a:gd name="connsiteY0" fmla="*/ 2374 h 18444"/>
                  <a:gd name="connsiteX1" fmla="*/ 15983 w 18331"/>
                  <a:gd name="connsiteY1" fmla="*/ 15412 h 18444"/>
                  <a:gd name="connsiteX2" fmla="*/ 3065 w 18331"/>
                  <a:gd name="connsiteY2" fmla="*/ 16070 h 18444"/>
                  <a:gd name="connsiteX3" fmla="*/ 2348 w 18331"/>
                  <a:gd name="connsiteY3" fmla="*/ 3032 h 18444"/>
                  <a:gd name="connsiteX4" fmla="*/ 15266 w 18331"/>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44">
                    <a:moveTo>
                      <a:pt x="15266" y="2374"/>
                    </a:moveTo>
                    <a:cubicBezTo>
                      <a:pt x="19034" y="5783"/>
                      <a:pt x="19393" y="11585"/>
                      <a:pt x="15983" y="15412"/>
                    </a:cubicBezTo>
                    <a:cubicBezTo>
                      <a:pt x="12634" y="19180"/>
                      <a:pt x="6833" y="19479"/>
                      <a:pt x="3065" y="16070"/>
                    </a:cubicBezTo>
                    <a:cubicBezTo>
                      <a:pt x="-703" y="12661"/>
                      <a:pt x="-1061" y="6860"/>
                      <a:pt x="2348" y="3032"/>
                    </a:cubicBezTo>
                    <a:cubicBezTo>
                      <a:pt x="5697" y="-736"/>
                      <a:pt x="11498" y="-1035"/>
                      <a:pt x="15266" y="2374"/>
                    </a:cubicBezTo>
                    <a:close/>
                  </a:path>
                </a:pathLst>
              </a:custGeom>
              <a:grpFill/>
              <a:ln w="5978" cap="flat">
                <a:noFill/>
                <a:prstDash val="solid"/>
                <a:miter/>
              </a:ln>
            </p:spPr>
            <p:txBody>
              <a:bodyPr rtlCol="0" anchor="ctr"/>
              <a:lstStyle/>
              <a:p>
                <a:endParaRPr lang="en-GB"/>
              </a:p>
            </p:txBody>
          </p:sp>
          <p:sp>
            <p:nvSpPr>
              <p:cNvPr id="2596" name="Vrije vorm: vorm 2595">
                <a:extLst>
                  <a:ext uri="{FF2B5EF4-FFF2-40B4-BE49-F238E27FC236}">
                    <a16:creationId xmlns:a16="http://schemas.microsoft.com/office/drawing/2014/main" id="{51AED03B-9CC5-429D-8AAB-3A969448F3EC}"/>
                  </a:ext>
                </a:extLst>
              </p:cNvPr>
              <p:cNvSpPr/>
              <p:nvPr/>
            </p:nvSpPr>
            <p:spPr>
              <a:xfrm>
                <a:off x="4423908" y="2217171"/>
                <a:ext cx="18283" cy="18444"/>
              </a:xfrm>
              <a:custGeom>
                <a:avLst/>
                <a:gdLst>
                  <a:gd name="connsiteX0" fmla="*/ 15242 w 18283"/>
                  <a:gd name="connsiteY0" fmla="*/ 2374 h 18444"/>
                  <a:gd name="connsiteX1" fmla="*/ 2324 w 18283"/>
                  <a:gd name="connsiteY1" fmla="*/ 3032 h 18444"/>
                  <a:gd name="connsiteX2" fmla="*/ 3041 w 18283"/>
                  <a:gd name="connsiteY2" fmla="*/ 16070 h 18444"/>
                  <a:gd name="connsiteX3" fmla="*/ 15960 w 18283"/>
                  <a:gd name="connsiteY3" fmla="*/ 1541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1474" y="-1035"/>
                      <a:pt x="5673" y="-736"/>
                      <a:pt x="2324" y="3032"/>
                    </a:cubicBezTo>
                    <a:cubicBezTo>
                      <a:pt x="-1026" y="6800"/>
                      <a:pt x="-727" y="12661"/>
                      <a:pt x="3041" y="16070"/>
                    </a:cubicBezTo>
                    <a:cubicBezTo>
                      <a:pt x="6809" y="19479"/>
                      <a:pt x="12610" y="19180"/>
                      <a:pt x="15960" y="15412"/>
                    </a:cubicBezTo>
                    <a:cubicBezTo>
                      <a:pt x="19309" y="11585"/>
                      <a:pt x="19010" y="5783"/>
                      <a:pt x="15242" y="2374"/>
                    </a:cubicBezTo>
                    <a:close/>
                  </a:path>
                </a:pathLst>
              </a:custGeom>
              <a:grpFill/>
              <a:ln w="5978" cap="flat">
                <a:noFill/>
                <a:prstDash val="solid"/>
                <a:miter/>
              </a:ln>
            </p:spPr>
            <p:txBody>
              <a:bodyPr rtlCol="0" anchor="ctr"/>
              <a:lstStyle/>
              <a:p>
                <a:endParaRPr lang="en-GB"/>
              </a:p>
            </p:txBody>
          </p:sp>
        </p:grpSp>
        <p:grpSp>
          <p:nvGrpSpPr>
            <p:cNvPr id="936" name="Graphic 3">
              <a:extLst>
                <a:ext uri="{FF2B5EF4-FFF2-40B4-BE49-F238E27FC236}">
                  <a16:creationId xmlns:a16="http://schemas.microsoft.com/office/drawing/2014/main" id="{8FA9E3E2-526D-4207-A81E-A40B3EEF04DB}"/>
                </a:ext>
              </a:extLst>
            </p:cNvPr>
            <p:cNvGrpSpPr/>
            <p:nvPr/>
          </p:nvGrpSpPr>
          <p:grpSpPr>
            <a:xfrm>
              <a:off x="5498859" y="5063936"/>
              <a:ext cx="223116" cy="786465"/>
              <a:chOff x="5498859" y="5063936"/>
              <a:chExt cx="223116" cy="786465"/>
            </a:xfrm>
            <a:grpFill/>
          </p:grpSpPr>
          <p:sp>
            <p:nvSpPr>
              <p:cNvPr id="2591" name="Vrije vorm: vorm 2590">
                <a:extLst>
                  <a:ext uri="{FF2B5EF4-FFF2-40B4-BE49-F238E27FC236}">
                    <a16:creationId xmlns:a16="http://schemas.microsoft.com/office/drawing/2014/main" id="{3BECDAB1-EE58-4969-BE62-A40C669B3242}"/>
                  </a:ext>
                </a:extLst>
              </p:cNvPr>
              <p:cNvSpPr/>
              <p:nvPr/>
            </p:nvSpPr>
            <p:spPr>
              <a:xfrm>
                <a:off x="5506410" y="5072290"/>
                <a:ext cx="207949" cy="769718"/>
              </a:xfrm>
              <a:custGeom>
                <a:avLst/>
                <a:gdLst>
                  <a:gd name="connsiteX0" fmla="*/ 207950 w 207949"/>
                  <a:gd name="connsiteY0" fmla="*/ 837 h 769718"/>
                  <a:gd name="connsiteX1" fmla="*/ 2930 w 207949"/>
                  <a:gd name="connsiteY1" fmla="*/ 769719 h 769718"/>
                  <a:gd name="connsiteX2" fmla="*/ 0 w 207949"/>
                  <a:gd name="connsiteY2" fmla="*/ 768941 h 769718"/>
                  <a:gd name="connsiteX3" fmla="*/ 205019 w 207949"/>
                  <a:gd name="connsiteY3" fmla="*/ 0 h 769718"/>
                </a:gdLst>
                <a:ahLst/>
                <a:cxnLst>
                  <a:cxn ang="0">
                    <a:pos x="connsiteX0" y="connsiteY0"/>
                  </a:cxn>
                  <a:cxn ang="0">
                    <a:pos x="connsiteX1" y="connsiteY1"/>
                  </a:cxn>
                  <a:cxn ang="0">
                    <a:pos x="connsiteX2" y="connsiteY2"/>
                  </a:cxn>
                  <a:cxn ang="0">
                    <a:pos x="connsiteX3" y="connsiteY3"/>
                  </a:cxn>
                </a:cxnLst>
                <a:rect l="l" t="t" r="r" b="b"/>
                <a:pathLst>
                  <a:path w="207949" h="769718">
                    <a:moveTo>
                      <a:pt x="207950" y="837"/>
                    </a:moveTo>
                    <a:lnTo>
                      <a:pt x="2930" y="769719"/>
                    </a:lnTo>
                    <a:lnTo>
                      <a:pt x="0" y="768941"/>
                    </a:lnTo>
                    <a:lnTo>
                      <a:pt x="205019" y="0"/>
                    </a:lnTo>
                    <a:close/>
                  </a:path>
                </a:pathLst>
              </a:custGeom>
              <a:grpFill/>
              <a:ln w="5978" cap="flat">
                <a:noFill/>
                <a:prstDash val="solid"/>
                <a:miter/>
              </a:ln>
            </p:spPr>
            <p:txBody>
              <a:bodyPr rtlCol="0" anchor="ctr"/>
              <a:lstStyle/>
              <a:p>
                <a:endParaRPr lang="en-GB"/>
              </a:p>
            </p:txBody>
          </p:sp>
          <p:sp>
            <p:nvSpPr>
              <p:cNvPr id="2592" name="Vrije vorm: vorm 2591">
                <a:extLst>
                  <a:ext uri="{FF2B5EF4-FFF2-40B4-BE49-F238E27FC236}">
                    <a16:creationId xmlns:a16="http://schemas.microsoft.com/office/drawing/2014/main" id="{D0826266-120D-4E8E-BB63-01F0D721CC86}"/>
                  </a:ext>
                </a:extLst>
              </p:cNvPr>
              <p:cNvSpPr/>
              <p:nvPr/>
            </p:nvSpPr>
            <p:spPr>
              <a:xfrm>
                <a:off x="5703635" y="5063936"/>
                <a:ext cx="18340" cy="18442"/>
              </a:xfrm>
              <a:custGeom>
                <a:avLst/>
                <a:gdLst>
                  <a:gd name="connsiteX0" fmla="*/ 319 w 18340"/>
                  <a:gd name="connsiteY0" fmla="*/ 6799 h 18442"/>
                  <a:gd name="connsiteX1" fmla="*/ 11563 w 18340"/>
                  <a:gd name="connsiteY1" fmla="*/ 340 h 18442"/>
                  <a:gd name="connsiteX2" fmla="*/ 18022 w 18340"/>
                  <a:gd name="connsiteY2" fmla="*/ 11643 h 18442"/>
                  <a:gd name="connsiteX3" fmla="*/ 6778 w 18340"/>
                  <a:gd name="connsiteY3" fmla="*/ 18103 h 18442"/>
                  <a:gd name="connsiteX4" fmla="*/ 319 w 18340"/>
                  <a:gd name="connsiteY4" fmla="*/ 679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2">
                    <a:moveTo>
                      <a:pt x="319" y="6799"/>
                    </a:moveTo>
                    <a:cubicBezTo>
                      <a:pt x="1635" y="1895"/>
                      <a:pt x="6659" y="-1036"/>
                      <a:pt x="11563" y="340"/>
                    </a:cubicBezTo>
                    <a:cubicBezTo>
                      <a:pt x="16467" y="1656"/>
                      <a:pt x="19338" y="6739"/>
                      <a:pt x="18022" y="11643"/>
                    </a:cubicBezTo>
                    <a:cubicBezTo>
                      <a:pt x="16706" y="16548"/>
                      <a:pt x="11682" y="19478"/>
                      <a:pt x="6778" y="18103"/>
                    </a:cubicBezTo>
                    <a:cubicBezTo>
                      <a:pt x="1874" y="16787"/>
                      <a:pt x="-997" y="11703"/>
                      <a:pt x="319" y="6799"/>
                    </a:cubicBezTo>
                    <a:close/>
                  </a:path>
                </a:pathLst>
              </a:custGeom>
              <a:grpFill/>
              <a:ln w="5978" cap="flat">
                <a:noFill/>
                <a:prstDash val="solid"/>
                <a:miter/>
              </a:ln>
            </p:spPr>
            <p:txBody>
              <a:bodyPr rtlCol="0" anchor="ctr"/>
              <a:lstStyle/>
              <a:p>
                <a:endParaRPr lang="en-GB"/>
              </a:p>
            </p:txBody>
          </p:sp>
          <p:sp>
            <p:nvSpPr>
              <p:cNvPr id="2593" name="Vrije vorm: vorm 2592">
                <a:extLst>
                  <a:ext uri="{FF2B5EF4-FFF2-40B4-BE49-F238E27FC236}">
                    <a16:creationId xmlns:a16="http://schemas.microsoft.com/office/drawing/2014/main" id="{7F7228F7-AB86-4D3E-AE4E-353B223DC435}"/>
                  </a:ext>
                </a:extLst>
              </p:cNvPr>
              <p:cNvSpPr/>
              <p:nvPr/>
            </p:nvSpPr>
            <p:spPr>
              <a:xfrm>
                <a:off x="5498859" y="5831980"/>
                <a:ext cx="18332" cy="18421"/>
              </a:xfrm>
              <a:custGeom>
                <a:avLst/>
                <a:gdLst>
                  <a:gd name="connsiteX0" fmla="*/ 315 w 18332"/>
                  <a:gd name="connsiteY0" fmla="*/ 6799 h 18421"/>
                  <a:gd name="connsiteX1" fmla="*/ 6774 w 18332"/>
                  <a:gd name="connsiteY1" fmla="*/ 18103 h 18421"/>
                  <a:gd name="connsiteX2" fmla="*/ 18018 w 18332"/>
                  <a:gd name="connsiteY2" fmla="*/ 11643 h 18421"/>
                  <a:gd name="connsiteX3" fmla="*/ 11559 w 18332"/>
                  <a:gd name="connsiteY3" fmla="*/ 340 h 18421"/>
                  <a:gd name="connsiteX4" fmla="*/ 315 w 18332"/>
                  <a:gd name="connsiteY4" fmla="*/ 679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1">
                    <a:moveTo>
                      <a:pt x="315" y="6799"/>
                    </a:moveTo>
                    <a:cubicBezTo>
                      <a:pt x="-1001" y="11703"/>
                      <a:pt x="1930" y="16787"/>
                      <a:pt x="6774" y="18103"/>
                    </a:cubicBezTo>
                    <a:cubicBezTo>
                      <a:pt x="11678" y="19418"/>
                      <a:pt x="16702" y="16548"/>
                      <a:pt x="18018" y="11643"/>
                    </a:cubicBezTo>
                    <a:cubicBezTo>
                      <a:pt x="19334" y="6739"/>
                      <a:pt x="16403" y="1656"/>
                      <a:pt x="11559" y="340"/>
                    </a:cubicBezTo>
                    <a:cubicBezTo>
                      <a:pt x="6655" y="-1036"/>
                      <a:pt x="1571" y="1895"/>
                      <a:pt x="315" y="6799"/>
                    </a:cubicBezTo>
                    <a:close/>
                  </a:path>
                </a:pathLst>
              </a:custGeom>
              <a:grpFill/>
              <a:ln w="5978" cap="flat">
                <a:noFill/>
                <a:prstDash val="solid"/>
                <a:miter/>
              </a:ln>
            </p:spPr>
            <p:txBody>
              <a:bodyPr rtlCol="0" anchor="ctr"/>
              <a:lstStyle/>
              <a:p>
                <a:endParaRPr lang="en-GB"/>
              </a:p>
            </p:txBody>
          </p:sp>
        </p:grpSp>
        <p:grpSp>
          <p:nvGrpSpPr>
            <p:cNvPr id="937" name="Graphic 3">
              <a:extLst>
                <a:ext uri="{FF2B5EF4-FFF2-40B4-BE49-F238E27FC236}">
                  <a16:creationId xmlns:a16="http://schemas.microsoft.com/office/drawing/2014/main" id="{87EBC2DD-F457-4E23-BE09-E25F30082E1D}"/>
                </a:ext>
              </a:extLst>
            </p:cNvPr>
            <p:cNvGrpSpPr/>
            <p:nvPr/>
          </p:nvGrpSpPr>
          <p:grpSpPr>
            <a:xfrm>
              <a:off x="4520343" y="2413012"/>
              <a:ext cx="127499" cy="89584"/>
              <a:chOff x="4520343" y="2413012"/>
              <a:chExt cx="127499" cy="89584"/>
            </a:xfrm>
            <a:grpFill/>
          </p:grpSpPr>
          <p:sp>
            <p:nvSpPr>
              <p:cNvPr id="2588" name="Vrije vorm: vorm 2587">
                <a:extLst>
                  <a:ext uri="{FF2B5EF4-FFF2-40B4-BE49-F238E27FC236}">
                    <a16:creationId xmlns:a16="http://schemas.microsoft.com/office/drawing/2014/main" id="{A2D555A3-FACE-4D46-90B8-C23C967EA5B1}"/>
                  </a:ext>
                </a:extLst>
              </p:cNvPr>
              <p:cNvSpPr/>
              <p:nvPr/>
            </p:nvSpPr>
            <p:spPr>
              <a:xfrm>
                <a:off x="4528263" y="2420677"/>
                <a:ext cx="111659" cy="74280"/>
              </a:xfrm>
              <a:custGeom>
                <a:avLst/>
                <a:gdLst>
                  <a:gd name="connsiteX0" fmla="*/ 111660 w 111659"/>
                  <a:gd name="connsiteY0" fmla="*/ 71709 h 74280"/>
                  <a:gd name="connsiteX1" fmla="*/ 109986 w 111659"/>
                  <a:gd name="connsiteY1" fmla="*/ 74280 h 74280"/>
                  <a:gd name="connsiteX2" fmla="*/ 0 w 111659"/>
                  <a:gd name="connsiteY2" fmla="*/ 2572 h 74280"/>
                  <a:gd name="connsiteX3" fmla="*/ 1674 w 111659"/>
                  <a:gd name="connsiteY3" fmla="*/ 0 h 74280"/>
                </a:gdLst>
                <a:ahLst/>
                <a:cxnLst>
                  <a:cxn ang="0">
                    <a:pos x="connsiteX0" y="connsiteY0"/>
                  </a:cxn>
                  <a:cxn ang="0">
                    <a:pos x="connsiteX1" y="connsiteY1"/>
                  </a:cxn>
                  <a:cxn ang="0">
                    <a:pos x="connsiteX2" y="connsiteY2"/>
                  </a:cxn>
                  <a:cxn ang="0">
                    <a:pos x="connsiteX3" y="connsiteY3"/>
                  </a:cxn>
                </a:cxnLst>
                <a:rect l="l" t="t" r="r" b="b"/>
                <a:pathLst>
                  <a:path w="111659" h="74280">
                    <a:moveTo>
                      <a:pt x="111660" y="71709"/>
                    </a:moveTo>
                    <a:lnTo>
                      <a:pt x="109986" y="74280"/>
                    </a:lnTo>
                    <a:lnTo>
                      <a:pt x="0" y="2572"/>
                    </a:lnTo>
                    <a:lnTo>
                      <a:pt x="1674" y="0"/>
                    </a:lnTo>
                    <a:close/>
                  </a:path>
                </a:pathLst>
              </a:custGeom>
              <a:grpFill/>
              <a:ln w="5978" cap="flat">
                <a:noFill/>
                <a:prstDash val="solid"/>
                <a:miter/>
              </a:ln>
            </p:spPr>
            <p:txBody>
              <a:bodyPr rtlCol="0" anchor="ctr"/>
              <a:lstStyle/>
              <a:p>
                <a:endParaRPr lang="en-GB"/>
              </a:p>
            </p:txBody>
          </p:sp>
          <p:sp>
            <p:nvSpPr>
              <p:cNvPr id="2589" name="Vrije vorm: vorm 2588">
                <a:extLst>
                  <a:ext uri="{FF2B5EF4-FFF2-40B4-BE49-F238E27FC236}">
                    <a16:creationId xmlns:a16="http://schemas.microsoft.com/office/drawing/2014/main" id="{4E6FB58E-76B3-44E0-B9F4-C661623C9332}"/>
                  </a:ext>
                </a:extLst>
              </p:cNvPr>
              <p:cNvSpPr/>
              <p:nvPr/>
            </p:nvSpPr>
            <p:spPr>
              <a:xfrm>
                <a:off x="4520343" y="2413012"/>
                <a:ext cx="18351" cy="18413"/>
              </a:xfrm>
              <a:custGeom>
                <a:avLst/>
                <a:gdLst>
                  <a:gd name="connsiteX0" fmla="*/ 4212 w 18351"/>
                  <a:gd name="connsiteY0" fmla="*/ 16935 h 18413"/>
                  <a:gd name="connsiteX1" fmla="*/ 1461 w 18351"/>
                  <a:gd name="connsiteY1" fmla="*/ 4196 h 18413"/>
                  <a:gd name="connsiteX2" fmla="*/ 14140 w 18351"/>
                  <a:gd name="connsiteY2" fmla="*/ 1505 h 18413"/>
                  <a:gd name="connsiteX3" fmla="*/ 16891 w 18351"/>
                  <a:gd name="connsiteY3" fmla="*/ 14244 h 18413"/>
                  <a:gd name="connsiteX4" fmla="*/ 4212 w 18351"/>
                  <a:gd name="connsiteY4" fmla="*/ 1693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13">
                    <a:moveTo>
                      <a:pt x="4212" y="16935"/>
                    </a:moveTo>
                    <a:cubicBezTo>
                      <a:pt x="-35" y="14184"/>
                      <a:pt x="-1290" y="8443"/>
                      <a:pt x="1461" y="4196"/>
                    </a:cubicBezTo>
                    <a:cubicBezTo>
                      <a:pt x="4212" y="-50"/>
                      <a:pt x="9894" y="-1306"/>
                      <a:pt x="14140" y="1505"/>
                    </a:cubicBezTo>
                    <a:cubicBezTo>
                      <a:pt x="18386" y="4256"/>
                      <a:pt x="19642" y="9997"/>
                      <a:pt x="16891" y="14244"/>
                    </a:cubicBezTo>
                    <a:cubicBezTo>
                      <a:pt x="14140" y="18490"/>
                      <a:pt x="8458" y="19686"/>
                      <a:pt x="4212" y="16935"/>
                    </a:cubicBezTo>
                    <a:close/>
                  </a:path>
                </a:pathLst>
              </a:custGeom>
              <a:grpFill/>
              <a:ln w="5978" cap="flat">
                <a:noFill/>
                <a:prstDash val="solid"/>
                <a:miter/>
              </a:ln>
            </p:spPr>
            <p:txBody>
              <a:bodyPr rtlCol="0" anchor="ctr"/>
              <a:lstStyle/>
              <a:p>
                <a:endParaRPr lang="en-GB"/>
              </a:p>
            </p:txBody>
          </p:sp>
          <p:sp>
            <p:nvSpPr>
              <p:cNvPr id="2590" name="Vrije vorm: vorm 2589">
                <a:extLst>
                  <a:ext uri="{FF2B5EF4-FFF2-40B4-BE49-F238E27FC236}">
                    <a16:creationId xmlns:a16="http://schemas.microsoft.com/office/drawing/2014/main" id="{6F6660BD-D38B-4BC1-986D-E0AD22291DD6}"/>
                  </a:ext>
                </a:extLst>
              </p:cNvPr>
              <p:cNvSpPr/>
              <p:nvPr/>
            </p:nvSpPr>
            <p:spPr>
              <a:xfrm>
                <a:off x="4629518" y="2484209"/>
                <a:ext cx="18325" cy="18387"/>
              </a:xfrm>
              <a:custGeom>
                <a:avLst/>
                <a:gdLst>
                  <a:gd name="connsiteX0" fmla="*/ 4186 w 18325"/>
                  <a:gd name="connsiteY0" fmla="*/ 16909 h 18387"/>
                  <a:gd name="connsiteX1" fmla="*/ 16865 w 18325"/>
                  <a:gd name="connsiteY1" fmla="*/ 14217 h 18387"/>
                  <a:gd name="connsiteX2" fmla="*/ 14113 w 18325"/>
                  <a:gd name="connsiteY2" fmla="*/ 1478 h 18387"/>
                  <a:gd name="connsiteX3" fmla="*/ 1434 w 18325"/>
                  <a:gd name="connsiteY3" fmla="*/ 4170 h 18387"/>
                  <a:gd name="connsiteX4" fmla="*/ 4186 w 18325"/>
                  <a:gd name="connsiteY4" fmla="*/ 1690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7">
                    <a:moveTo>
                      <a:pt x="4186" y="16909"/>
                    </a:moveTo>
                    <a:cubicBezTo>
                      <a:pt x="8432" y="19660"/>
                      <a:pt x="14113" y="18464"/>
                      <a:pt x="16865" y="14217"/>
                    </a:cubicBezTo>
                    <a:cubicBezTo>
                      <a:pt x="19616" y="9971"/>
                      <a:pt x="18360" y="4230"/>
                      <a:pt x="14113" y="1478"/>
                    </a:cubicBezTo>
                    <a:cubicBezTo>
                      <a:pt x="9867" y="-1273"/>
                      <a:pt x="4186" y="-77"/>
                      <a:pt x="1434" y="4170"/>
                    </a:cubicBezTo>
                    <a:cubicBezTo>
                      <a:pt x="-1257" y="8476"/>
                      <a:pt x="-61" y="14158"/>
                      <a:pt x="4186" y="16909"/>
                    </a:cubicBezTo>
                    <a:close/>
                  </a:path>
                </a:pathLst>
              </a:custGeom>
              <a:grpFill/>
              <a:ln w="5978" cap="flat">
                <a:noFill/>
                <a:prstDash val="solid"/>
                <a:miter/>
              </a:ln>
            </p:spPr>
            <p:txBody>
              <a:bodyPr rtlCol="0" anchor="ctr"/>
              <a:lstStyle/>
              <a:p>
                <a:endParaRPr lang="en-GB"/>
              </a:p>
            </p:txBody>
          </p:sp>
        </p:grpSp>
        <p:grpSp>
          <p:nvGrpSpPr>
            <p:cNvPr id="938" name="Graphic 3">
              <a:extLst>
                <a:ext uri="{FF2B5EF4-FFF2-40B4-BE49-F238E27FC236}">
                  <a16:creationId xmlns:a16="http://schemas.microsoft.com/office/drawing/2014/main" id="{B1A69C18-A899-4A7E-86A3-6D4079E68999}"/>
                </a:ext>
              </a:extLst>
            </p:cNvPr>
            <p:cNvGrpSpPr/>
            <p:nvPr/>
          </p:nvGrpSpPr>
          <p:grpSpPr>
            <a:xfrm>
              <a:off x="5430376" y="4982230"/>
              <a:ext cx="55007" cy="118107"/>
              <a:chOff x="5430376" y="4982230"/>
              <a:chExt cx="55007" cy="118107"/>
            </a:xfrm>
            <a:grpFill/>
          </p:grpSpPr>
          <p:sp>
            <p:nvSpPr>
              <p:cNvPr id="2585" name="Vrije vorm: vorm 2584">
                <a:extLst>
                  <a:ext uri="{FF2B5EF4-FFF2-40B4-BE49-F238E27FC236}">
                    <a16:creationId xmlns:a16="http://schemas.microsoft.com/office/drawing/2014/main" id="{B4856424-9BC0-4E60-A2D4-5E4F05C51FBC}"/>
                  </a:ext>
                </a:extLst>
              </p:cNvPr>
              <p:cNvSpPr/>
              <p:nvPr/>
            </p:nvSpPr>
            <p:spPr>
              <a:xfrm>
                <a:off x="5437991" y="4990474"/>
                <a:ext cx="39831" cy="101612"/>
              </a:xfrm>
              <a:custGeom>
                <a:avLst/>
                <a:gdLst>
                  <a:gd name="connsiteX0" fmla="*/ 39832 w 39831"/>
                  <a:gd name="connsiteY0" fmla="*/ 1076 h 101612"/>
                  <a:gd name="connsiteX1" fmla="*/ 2871 w 39831"/>
                  <a:gd name="connsiteY1" fmla="*/ 101612 h 101612"/>
                  <a:gd name="connsiteX2" fmla="*/ 0 w 39831"/>
                  <a:gd name="connsiteY2" fmla="*/ 100536 h 101612"/>
                  <a:gd name="connsiteX3" fmla="*/ 36961 w 39831"/>
                  <a:gd name="connsiteY3" fmla="*/ 0 h 101612"/>
                </a:gdLst>
                <a:ahLst/>
                <a:cxnLst>
                  <a:cxn ang="0">
                    <a:pos x="connsiteX0" y="connsiteY0"/>
                  </a:cxn>
                  <a:cxn ang="0">
                    <a:pos x="connsiteX1" y="connsiteY1"/>
                  </a:cxn>
                  <a:cxn ang="0">
                    <a:pos x="connsiteX2" y="connsiteY2"/>
                  </a:cxn>
                  <a:cxn ang="0">
                    <a:pos x="connsiteX3" y="connsiteY3"/>
                  </a:cxn>
                </a:cxnLst>
                <a:rect l="l" t="t" r="r" b="b"/>
                <a:pathLst>
                  <a:path w="39831" h="101612">
                    <a:moveTo>
                      <a:pt x="39832" y="1076"/>
                    </a:moveTo>
                    <a:lnTo>
                      <a:pt x="2871" y="101612"/>
                    </a:lnTo>
                    <a:lnTo>
                      <a:pt x="0" y="100536"/>
                    </a:lnTo>
                    <a:lnTo>
                      <a:pt x="36961" y="0"/>
                    </a:lnTo>
                    <a:close/>
                  </a:path>
                </a:pathLst>
              </a:custGeom>
              <a:grpFill/>
              <a:ln w="5978" cap="flat">
                <a:noFill/>
                <a:prstDash val="solid"/>
                <a:miter/>
              </a:ln>
            </p:spPr>
            <p:txBody>
              <a:bodyPr rtlCol="0" anchor="ctr"/>
              <a:lstStyle/>
              <a:p>
                <a:endParaRPr lang="en-GB"/>
              </a:p>
            </p:txBody>
          </p:sp>
          <p:sp>
            <p:nvSpPr>
              <p:cNvPr id="2586" name="Vrije vorm: vorm 2585">
                <a:extLst>
                  <a:ext uri="{FF2B5EF4-FFF2-40B4-BE49-F238E27FC236}">
                    <a16:creationId xmlns:a16="http://schemas.microsoft.com/office/drawing/2014/main" id="{E1EB848B-6204-4020-8D16-4116C9BCC382}"/>
                  </a:ext>
                </a:extLst>
              </p:cNvPr>
              <p:cNvSpPr/>
              <p:nvPr/>
            </p:nvSpPr>
            <p:spPr>
              <a:xfrm>
                <a:off x="5430376" y="5081921"/>
                <a:ext cx="18369" cy="18415"/>
              </a:xfrm>
              <a:custGeom>
                <a:avLst/>
                <a:gdLst>
                  <a:gd name="connsiteX0" fmla="*/ 17782 w 18369"/>
                  <a:gd name="connsiteY0" fmla="*/ 12438 h 18415"/>
                  <a:gd name="connsiteX1" fmla="*/ 6000 w 18369"/>
                  <a:gd name="connsiteY1" fmla="*/ 17820 h 18415"/>
                  <a:gd name="connsiteX2" fmla="*/ 557 w 18369"/>
                  <a:gd name="connsiteY2" fmla="*/ 5978 h 18415"/>
                  <a:gd name="connsiteX3" fmla="*/ 12339 w 18369"/>
                  <a:gd name="connsiteY3" fmla="*/ 596 h 18415"/>
                  <a:gd name="connsiteX4" fmla="*/ 17782 w 18369"/>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5">
                    <a:moveTo>
                      <a:pt x="17782" y="12438"/>
                    </a:moveTo>
                    <a:cubicBezTo>
                      <a:pt x="16047" y="17222"/>
                      <a:pt x="10784" y="19614"/>
                      <a:pt x="6000" y="17820"/>
                    </a:cubicBezTo>
                    <a:cubicBezTo>
                      <a:pt x="1275" y="16026"/>
                      <a:pt x="-1177" y="10703"/>
                      <a:pt x="557" y="5978"/>
                    </a:cubicBezTo>
                    <a:cubicBezTo>
                      <a:pt x="2291" y="1194"/>
                      <a:pt x="7555" y="-1198"/>
                      <a:pt x="12339" y="596"/>
                    </a:cubicBezTo>
                    <a:cubicBezTo>
                      <a:pt x="17124" y="2390"/>
                      <a:pt x="19576" y="7653"/>
                      <a:pt x="17782" y="12438"/>
                    </a:cubicBezTo>
                    <a:close/>
                  </a:path>
                </a:pathLst>
              </a:custGeom>
              <a:grpFill/>
              <a:ln w="5978" cap="flat">
                <a:noFill/>
                <a:prstDash val="solid"/>
                <a:miter/>
              </a:ln>
            </p:spPr>
            <p:txBody>
              <a:bodyPr rtlCol="0" anchor="ctr"/>
              <a:lstStyle/>
              <a:p>
                <a:endParaRPr lang="en-GB"/>
              </a:p>
            </p:txBody>
          </p:sp>
          <p:sp>
            <p:nvSpPr>
              <p:cNvPr id="2587" name="Vrije vorm: vorm 2586">
                <a:extLst>
                  <a:ext uri="{FF2B5EF4-FFF2-40B4-BE49-F238E27FC236}">
                    <a16:creationId xmlns:a16="http://schemas.microsoft.com/office/drawing/2014/main" id="{4C837694-14BC-42BB-8F5F-6447CE0FBC20}"/>
                  </a:ext>
                </a:extLst>
              </p:cNvPr>
              <p:cNvSpPr/>
              <p:nvPr/>
            </p:nvSpPr>
            <p:spPr>
              <a:xfrm>
                <a:off x="5467032" y="4982230"/>
                <a:ext cx="18352" cy="18408"/>
              </a:xfrm>
              <a:custGeom>
                <a:avLst/>
                <a:gdLst>
                  <a:gd name="connsiteX0" fmla="*/ 17788 w 18352"/>
                  <a:gd name="connsiteY0" fmla="*/ 12430 h 18408"/>
                  <a:gd name="connsiteX1" fmla="*/ 12346 w 18352"/>
                  <a:gd name="connsiteY1" fmla="*/ 589 h 18408"/>
                  <a:gd name="connsiteX2" fmla="*/ 564 w 18352"/>
                  <a:gd name="connsiteY2" fmla="*/ 5971 h 18408"/>
                  <a:gd name="connsiteX3" fmla="*/ 6006 w 18352"/>
                  <a:gd name="connsiteY3" fmla="*/ 17813 h 18408"/>
                  <a:gd name="connsiteX4" fmla="*/ 17788 w 18352"/>
                  <a:gd name="connsiteY4" fmla="*/ 12430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8">
                    <a:moveTo>
                      <a:pt x="17788" y="12430"/>
                    </a:moveTo>
                    <a:cubicBezTo>
                      <a:pt x="19523" y="7646"/>
                      <a:pt x="17131" y="2383"/>
                      <a:pt x="12346" y="589"/>
                    </a:cubicBezTo>
                    <a:cubicBezTo>
                      <a:pt x="7621" y="-1205"/>
                      <a:pt x="2358" y="1246"/>
                      <a:pt x="564" y="5971"/>
                    </a:cubicBezTo>
                    <a:cubicBezTo>
                      <a:pt x="-1170" y="10756"/>
                      <a:pt x="1222" y="16019"/>
                      <a:pt x="6006" y="17813"/>
                    </a:cubicBezTo>
                    <a:cubicBezTo>
                      <a:pt x="10791" y="19607"/>
                      <a:pt x="16054" y="17215"/>
                      <a:pt x="17788" y="12430"/>
                    </a:cubicBezTo>
                    <a:close/>
                  </a:path>
                </a:pathLst>
              </a:custGeom>
              <a:grpFill/>
              <a:ln w="5978" cap="flat">
                <a:noFill/>
                <a:prstDash val="solid"/>
                <a:miter/>
              </a:ln>
            </p:spPr>
            <p:txBody>
              <a:bodyPr rtlCol="0" anchor="ctr"/>
              <a:lstStyle/>
              <a:p>
                <a:endParaRPr lang="en-GB"/>
              </a:p>
            </p:txBody>
          </p:sp>
        </p:grpSp>
        <p:grpSp>
          <p:nvGrpSpPr>
            <p:cNvPr id="939" name="Graphic 3">
              <a:extLst>
                <a:ext uri="{FF2B5EF4-FFF2-40B4-BE49-F238E27FC236}">
                  <a16:creationId xmlns:a16="http://schemas.microsoft.com/office/drawing/2014/main" id="{3E297873-998D-4B57-8E7D-9C6124B7C482}"/>
                </a:ext>
              </a:extLst>
            </p:cNvPr>
            <p:cNvGrpSpPr/>
            <p:nvPr/>
          </p:nvGrpSpPr>
          <p:grpSpPr>
            <a:xfrm>
              <a:off x="5601458" y="5407104"/>
              <a:ext cx="88786" cy="395061"/>
              <a:chOff x="5601458" y="5407104"/>
              <a:chExt cx="88786" cy="395061"/>
            </a:xfrm>
            <a:grpFill/>
          </p:grpSpPr>
          <p:sp>
            <p:nvSpPr>
              <p:cNvPr id="2582" name="Vrije vorm: vorm 2581">
                <a:extLst>
                  <a:ext uri="{FF2B5EF4-FFF2-40B4-BE49-F238E27FC236}">
                    <a16:creationId xmlns:a16="http://schemas.microsoft.com/office/drawing/2014/main" id="{482ED3D8-7DDC-4012-9B0E-CAD6F6E50233}"/>
                  </a:ext>
                </a:extLst>
              </p:cNvPr>
              <p:cNvSpPr/>
              <p:nvPr/>
            </p:nvSpPr>
            <p:spPr>
              <a:xfrm>
                <a:off x="5609040" y="5415583"/>
                <a:ext cx="73622" cy="378101"/>
              </a:xfrm>
              <a:custGeom>
                <a:avLst/>
                <a:gdLst>
                  <a:gd name="connsiteX0" fmla="*/ 73623 w 73622"/>
                  <a:gd name="connsiteY0" fmla="*/ 538 h 378101"/>
                  <a:gd name="connsiteX1" fmla="*/ 2990 w 73622"/>
                  <a:gd name="connsiteY1" fmla="*/ 378101 h 378101"/>
                  <a:gd name="connsiteX2" fmla="*/ 0 w 73622"/>
                  <a:gd name="connsiteY2" fmla="*/ 377563 h 378101"/>
                  <a:gd name="connsiteX3" fmla="*/ 70632 w 73622"/>
                  <a:gd name="connsiteY3" fmla="*/ 0 h 378101"/>
                </a:gdLst>
                <a:ahLst/>
                <a:cxnLst>
                  <a:cxn ang="0">
                    <a:pos x="connsiteX0" y="connsiteY0"/>
                  </a:cxn>
                  <a:cxn ang="0">
                    <a:pos x="connsiteX1" y="connsiteY1"/>
                  </a:cxn>
                  <a:cxn ang="0">
                    <a:pos x="connsiteX2" y="connsiteY2"/>
                  </a:cxn>
                  <a:cxn ang="0">
                    <a:pos x="connsiteX3" y="connsiteY3"/>
                  </a:cxn>
                </a:cxnLst>
                <a:rect l="l" t="t" r="r" b="b"/>
                <a:pathLst>
                  <a:path w="73622" h="378101">
                    <a:moveTo>
                      <a:pt x="73623" y="538"/>
                    </a:moveTo>
                    <a:lnTo>
                      <a:pt x="2990" y="378101"/>
                    </a:lnTo>
                    <a:lnTo>
                      <a:pt x="0" y="377563"/>
                    </a:lnTo>
                    <a:lnTo>
                      <a:pt x="70632" y="0"/>
                    </a:lnTo>
                    <a:close/>
                  </a:path>
                </a:pathLst>
              </a:custGeom>
              <a:grpFill/>
              <a:ln w="5978" cap="flat">
                <a:noFill/>
                <a:prstDash val="solid"/>
                <a:miter/>
              </a:ln>
            </p:spPr>
            <p:txBody>
              <a:bodyPr rtlCol="0" anchor="ctr"/>
              <a:lstStyle/>
              <a:p>
                <a:endParaRPr lang="en-GB"/>
              </a:p>
            </p:txBody>
          </p:sp>
          <p:sp>
            <p:nvSpPr>
              <p:cNvPr id="2583" name="Vrije vorm: vorm 2582">
                <a:extLst>
                  <a:ext uri="{FF2B5EF4-FFF2-40B4-BE49-F238E27FC236}">
                    <a16:creationId xmlns:a16="http://schemas.microsoft.com/office/drawing/2014/main" id="{541DF2E2-930F-4B55-8230-52B70C44EF67}"/>
                  </a:ext>
                </a:extLst>
              </p:cNvPr>
              <p:cNvSpPr/>
              <p:nvPr/>
            </p:nvSpPr>
            <p:spPr>
              <a:xfrm>
                <a:off x="5601458" y="5783768"/>
                <a:ext cx="18333" cy="18397"/>
              </a:xfrm>
              <a:custGeom>
                <a:avLst/>
                <a:gdLst>
                  <a:gd name="connsiteX0" fmla="*/ 18168 w 18333"/>
                  <a:gd name="connsiteY0" fmla="*/ 10933 h 18397"/>
                  <a:gd name="connsiteX1" fmla="*/ 7462 w 18333"/>
                  <a:gd name="connsiteY1" fmla="*/ 18229 h 18397"/>
                  <a:gd name="connsiteX2" fmla="*/ 166 w 18333"/>
                  <a:gd name="connsiteY2" fmla="*/ 7464 h 18397"/>
                  <a:gd name="connsiteX3" fmla="*/ 10871 w 18333"/>
                  <a:gd name="connsiteY3" fmla="*/ 168 h 18397"/>
                  <a:gd name="connsiteX4" fmla="*/ 18168 w 18333"/>
                  <a:gd name="connsiteY4" fmla="*/ 109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7">
                    <a:moveTo>
                      <a:pt x="18168" y="10933"/>
                    </a:moveTo>
                    <a:cubicBezTo>
                      <a:pt x="17211" y="15957"/>
                      <a:pt x="12426" y="19187"/>
                      <a:pt x="7462" y="18229"/>
                    </a:cubicBezTo>
                    <a:cubicBezTo>
                      <a:pt x="2498" y="17273"/>
                      <a:pt x="-791" y="12428"/>
                      <a:pt x="166" y="7464"/>
                    </a:cubicBezTo>
                    <a:cubicBezTo>
                      <a:pt x="1123" y="2441"/>
                      <a:pt x="5907" y="-789"/>
                      <a:pt x="10871" y="168"/>
                    </a:cubicBezTo>
                    <a:cubicBezTo>
                      <a:pt x="15835" y="1125"/>
                      <a:pt x="19125" y="5969"/>
                      <a:pt x="18168" y="10933"/>
                    </a:cubicBezTo>
                    <a:close/>
                  </a:path>
                </a:pathLst>
              </a:custGeom>
              <a:grpFill/>
              <a:ln w="5978" cap="flat">
                <a:noFill/>
                <a:prstDash val="solid"/>
                <a:miter/>
              </a:ln>
            </p:spPr>
            <p:txBody>
              <a:bodyPr rtlCol="0" anchor="ctr"/>
              <a:lstStyle/>
              <a:p>
                <a:endParaRPr lang="en-GB"/>
              </a:p>
            </p:txBody>
          </p:sp>
          <p:sp>
            <p:nvSpPr>
              <p:cNvPr id="2584" name="Vrije vorm: vorm 2583">
                <a:extLst>
                  <a:ext uri="{FF2B5EF4-FFF2-40B4-BE49-F238E27FC236}">
                    <a16:creationId xmlns:a16="http://schemas.microsoft.com/office/drawing/2014/main" id="{FB4D16A2-5075-473F-92FD-E875E11A91D0}"/>
                  </a:ext>
                </a:extLst>
              </p:cNvPr>
              <p:cNvSpPr/>
              <p:nvPr/>
            </p:nvSpPr>
            <p:spPr>
              <a:xfrm>
                <a:off x="5671911" y="5407104"/>
                <a:ext cx="18333" cy="18411"/>
              </a:xfrm>
              <a:custGeom>
                <a:avLst/>
                <a:gdLst>
                  <a:gd name="connsiteX0" fmla="*/ 18168 w 18333"/>
                  <a:gd name="connsiteY0" fmla="*/ 10931 h 18411"/>
                  <a:gd name="connsiteX1" fmla="*/ 10871 w 18333"/>
                  <a:gd name="connsiteY1" fmla="*/ 166 h 18411"/>
                  <a:gd name="connsiteX2" fmla="*/ 166 w 18333"/>
                  <a:gd name="connsiteY2" fmla="*/ 7462 h 18411"/>
                  <a:gd name="connsiteX3" fmla="*/ 7462 w 18333"/>
                  <a:gd name="connsiteY3" fmla="*/ 18227 h 18411"/>
                  <a:gd name="connsiteX4" fmla="*/ 18168 w 18333"/>
                  <a:gd name="connsiteY4" fmla="*/ 10931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1">
                    <a:moveTo>
                      <a:pt x="18168" y="10931"/>
                    </a:moveTo>
                    <a:cubicBezTo>
                      <a:pt x="19124" y="5907"/>
                      <a:pt x="15835" y="1123"/>
                      <a:pt x="10871" y="166"/>
                    </a:cubicBezTo>
                    <a:cubicBezTo>
                      <a:pt x="5907" y="-791"/>
                      <a:pt x="1122" y="2498"/>
                      <a:pt x="166" y="7462"/>
                    </a:cubicBezTo>
                    <a:cubicBezTo>
                      <a:pt x="-791" y="12426"/>
                      <a:pt x="2498" y="17271"/>
                      <a:pt x="7462" y="18227"/>
                    </a:cubicBezTo>
                    <a:cubicBezTo>
                      <a:pt x="12426" y="19244"/>
                      <a:pt x="17270" y="15955"/>
                      <a:pt x="18168" y="10931"/>
                    </a:cubicBezTo>
                    <a:close/>
                  </a:path>
                </a:pathLst>
              </a:custGeom>
              <a:grpFill/>
              <a:ln w="5978" cap="flat">
                <a:noFill/>
                <a:prstDash val="solid"/>
                <a:miter/>
              </a:ln>
            </p:spPr>
            <p:txBody>
              <a:bodyPr rtlCol="0" anchor="ctr"/>
              <a:lstStyle/>
              <a:p>
                <a:endParaRPr lang="en-GB"/>
              </a:p>
            </p:txBody>
          </p:sp>
        </p:grpSp>
        <p:grpSp>
          <p:nvGrpSpPr>
            <p:cNvPr id="940" name="Graphic 3">
              <a:extLst>
                <a:ext uri="{FF2B5EF4-FFF2-40B4-BE49-F238E27FC236}">
                  <a16:creationId xmlns:a16="http://schemas.microsoft.com/office/drawing/2014/main" id="{2A35E2A0-D72F-4AEF-A8F9-9E1BA71425B1}"/>
                </a:ext>
              </a:extLst>
            </p:cNvPr>
            <p:cNvGrpSpPr/>
            <p:nvPr/>
          </p:nvGrpSpPr>
          <p:grpSpPr>
            <a:xfrm>
              <a:off x="4344124" y="2108824"/>
              <a:ext cx="341161" cy="303140"/>
              <a:chOff x="4344124" y="2108824"/>
              <a:chExt cx="341161" cy="303140"/>
            </a:xfrm>
            <a:grpFill/>
          </p:grpSpPr>
          <p:sp>
            <p:nvSpPr>
              <p:cNvPr id="2579" name="Vrije vorm: vorm 2578">
                <a:extLst>
                  <a:ext uri="{FF2B5EF4-FFF2-40B4-BE49-F238E27FC236}">
                    <a16:creationId xmlns:a16="http://schemas.microsoft.com/office/drawing/2014/main" id="{5147DA57-4327-4CE8-B358-04832B07C755}"/>
                  </a:ext>
                </a:extLst>
              </p:cNvPr>
              <p:cNvSpPr/>
              <p:nvPr/>
            </p:nvSpPr>
            <p:spPr>
              <a:xfrm>
                <a:off x="4351952" y="2116558"/>
                <a:ext cx="325470" cy="287672"/>
              </a:xfrm>
              <a:custGeom>
                <a:avLst/>
                <a:gdLst>
                  <a:gd name="connsiteX0" fmla="*/ 325471 w 325470"/>
                  <a:gd name="connsiteY0" fmla="*/ 285400 h 287672"/>
                  <a:gd name="connsiteX1" fmla="*/ 323497 w 325470"/>
                  <a:gd name="connsiteY1" fmla="*/ 287673 h 287672"/>
                  <a:gd name="connsiteX2" fmla="*/ 0 w 325470"/>
                  <a:gd name="connsiteY2" fmla="*/ 2273 h 287672"/>
                  <a:gd name="connsiteX3" fmla="*/ 1973 w 325470"/>
                  <a:gd name="connsiteY3" fmla="*/ 0 h 287672"/>
                </a:gdLst>
                <a:ahLst/>
                <a:cxnLst>
                  <a:cxn ang="0">
                    <a:pos x="connsiteX0" y="connsiteY0"/>
                  </a:cxn>
                  <a:cxn ang="0">
                    <a:pos x="connsiteX1" y="connsiteY1"/>
                  </a:cxn>
                  <a:cxn ang="0">
                    <a:pos x="connsiteX2" y="connsiteY2"/>
                  </a:cxn>
                  <a:cxn ang="0">
                    <a:pos x="connsiteX3" y="connsiteY3"/>
                  </a:cxn>
                </a:cxnLst>
                <a:rect l="l" t="t" r="r" b="b"/>
                <a:pathLst>
                  <a:path w="325470" h="287672">
                    <a:moveTo>
                      <a:pt x="325471" y="285400"/>
                    </a:moveTo>
                    <a:lnTo>
                      <a:pt x="323497" y="287673"/>
                    </a:lnTo>
                    <a:lnTo>
                      <a:pt x="0" y="2273"/>
                    </a:lnTo>
                    <a:lnTo>
                      <a:pt x="1973" y="0"/>
                    </a:lnTo>
                    <a:close/>
                  </a:path>
                </a:pathLst>
              </a:custGeom>
              <a:grpFill/>
              <a:ln w="5978" cap="flat">
                <a:noFill/>
                <a:prstDash val="solid"/>
                <a:miter/>
              </a:ln>
            </p:spPr>
            <p:txBody>
              <a:bodyPr rtlCol="0" anchor="ctr"/>
              <a:lstStyle/>
              <a:p>
                <a:endParaRPr lang="en-GB"/>
              </a:p>
            </p:txBody>
          </p:sp>
          <p:sp>
            <p:nvSpPr>
              <p:cNvPr id="2580" name="Vrije vorm: vorm 2579">
                <a:extLst>
                  <a:ext uri="{FF2B5EF4-FFF2-40B4-BE49-F238E27FC236}">
                    <a16:creationId xmlns:a16="http://schemas.microsoft.com/office/drawing/2014/main" id="{483330BB-D657-4E65-B567-F5DA47B23C47}"/>
                  </a:ext>
                </a:extLst>
              </p:cNvPr>
              <p:cNvSpPr/>
              <p:nvPr/>
            </p:nvSpPr>
            <p:spPr>
              <a:xfrm>
                <a:off x="4666988" y="2393566"/>
                <a:ext cx="18297" cy="18398"/>
              </a:xfrm>
              <a:custGeom>
                <a:avLst/>
                <a:gdLst>
                  <a:gd name="connsiteX0" fmla="*/ 15159 w 18297"/>
                  <a:gd name="connsiteY0" fmla="*/ 2291 h 18398"/>
                  <a:gd name="connsiteX1" fmla="*/ 16057 w 18297"/>
                  <a:gd name="connsiteY1" fmla="*/ 15269 h 18398"/>
                  <a:gd name="connsiteX2" fmla="*/ 3138 w 18297"/>
                  <a:gd name="connsiteY2" fmla="*/ 16107 h 18398"/>
                  <a:gd name="connsiteX3" fmla="*/ 2241 w 18297"/>
                  <a:gd name="connsiteY3" fmla="*/ 3129 h 18398"/>
                  <a:gd name="connsiteX4" fmla="*/ 15159 w 18297"/>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8">
                    <a:moveTo>
                      <a:pt x="15159" y="2291"/>
                    </a:moveTo>
                    <a:cubicBezTo>
                      <a:pt x="18987" y="5641"/>
                      <a:pt x="19346" y="11502"/>
                      <a:pt x="16057" y="15269"/>
                    </a:cubicBezTo>
                    <a:cubicBezTo>
                      <a:pt x="12707" y="19097"/>
                      <a:pt x="6966" y="19456"/>
                      <a:pt x="3138" y="16107"/>
                    </a:cubicBezTo>
                    <a:cubicBezTo>
                      <a:pt x="-689" y="12758"/>
                      <a:pt x="-1048" y="6896"/>
                      <a:pt x="2241" y="3129"/>
                    </a:cubicBezTo>
                    <a:cubicBezTo>
                      <a:pt x="5530" y="-699"/>
                      <a:pt x="11332" y="-1058"/>
                      <a:pt x="15159" y="2291"/>
                    </a:cubicBezTo>
                    <a:close/>
                  </a:path>
                </a:pathLst>
              </a:custGeom>
              <a:grpFill/>
              <a:ln w="5978" cap="flat">
                <a:noFill/>
                <a:prstDash val="solid"/>
                <a:miter/>
              </a:ln>
            </p:spPr>
            <p:txBody>
              <a:bodyPr rtlCol="0" anchor="ctr"/>
              <a:lstStyle/>
              <a:p>
                <a:endParaRPr lang="en-GB"/>
              </a:p>
            </p:txBody>
          </p:sp>
          <p:sp>
            <p:nvSpPr>
              <p:cNvPr id="2581" name="Vrije vorm: vorm 2580">
                <a:extLst>
                  <a:ext uri="{FF2B5EF4-FFF2-40B4-BE49-F238E27FC236}">
                    <a16:creationId xmlns:a16="http://schemas.microsoft.com/office/drawing/2014/main" id="{E020A9EE-6A0D-4BC9-A5EF-D637E4556152}"/>
                  </a:ext>
                </a:extLst>
              </p:cNvPr>
              <p:cNvSpPr/>
              <p:nvPr/>
            </p:nvSpPr>
            <p:spPr>
              <a:xfrm>
                <a:off x="4344124" y="2108824"/>
                <a:ext cx="18322" cy="18398"/>
              </a:xfrm>
              <a:custGeom>
                <a:avLst/>
                <a:gdLst>
                  <a:gd name="connsiteX0" fmla="*/ 15184 w 18322"/>
                  <a:gd name="connsiteY0" fmla="*/ 2291 h 18398"/>
                  <a:gd name="connsiteX1" fmla="*/ 2266 w 18322"/>
                  <a:gd name="connsiteY1" fmla="*/ 3129 h 18398"/>
                  <a:gd name="connsiteX2" fmla="*/ 3163 w 18322"/>
                  <a:gd name="connsiteY2" fmla="*/ 16107 h 18398"/>
                  <a:gd name="connsiteX3" fmla="*/ 16081 w 18322"/>
                  <a:gd name="connsiteY3" fmla="*/ 15269 h 18398"/>
                  <a:gd name="connsiteX4" fmla="*/ 15184 w 18322"/>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98">
                    <a:moveTo>
                      <a:pt x="15184" y="2291"/>
                    </a:moveTo>
                    <a:cubicBezTo>
                      <a:pt x="11356" y="-1058"/>
                      <a:pt x="5555" y="-699"/>
                      <a:pt x="2266" y="3129"/>
                    </a:cubicBezTo>
                    <a:cubicBezTo>
                      <a:pt x="-1084" y="6956"/>
                      <a:pt x="-665" y="12758"/>
                      <a:pt x="3163" y="16107"/>
                    </a:cubicBezTo>
                    <a:cubicBezTo>
                      <a:pt x="6990" y="19456"/>
                      <a:pt x="12791" y="19097"/>
                      <a:pt x="16081" y="15269"/>
                    </a:cubicBezTo>
                    <a:cubicBezTo>
                      <a:pt x="19370" y="11442"/>
                      <a:pt x="19012" y="5641"/>
                      <a:pt x="15184" y="2291"/>
                    </a:cubicBezTo>
                    <a:close/>
                  </a:path>
                </a:pathLst>
              </a:custGeom>
              <a:grpFill/>
              <a:ln w="5978" cap="flat">
                <a:noFill/>
                <a:prstDash val="solid"/>
                <a:miter/>
              </a:ln>
            </p:spPr>
            <p:txBody>
              <a:bodyPr rtlCol="0" anchor="ctr"/>
              <a:lstStyle/>
              <a:p>
                <a:endParaRPr lang="en-GB"/>
              </a:p>
            </p:txBody>
          </p:sp>
        </p:grpSp>
        <p:grpSp>
          <p:nvGrpSpPr>
            <p:cNvPr id="941" name="Graphic 3">
              <a:extLst>
                <a:ext uri="{FF2B5EF4-FFF2-40B4-BE49-F238E27FC236}">
                  <a16:creationId xmlns:a16="http://schemas.microsoft.com/office/drawing/2014/main" id="{C79A5F17-8737-4052-A925-1079EFD234BF}"/>
                </a:ext>
              </a:extLst>
            </p:cNvPr>
            <p:cNvGrpSpPr/>
            <p:nvPr/>
          </p:nvGrpSpPr>
          <p:grpSpPr>
            <a:xfrm>
              <a:off x="4578344" y="2489315"/>
              <a:ext cx="58474" cy="43522"/>
              <a:chOff x="4578344" y="2489315"/>
              <a:chExt cx="58474" cy="43522"/>
            </a:xfrm>
            <a:grpFill/>
          </p:grpSpPr>
          <p:sp>
            <p:nvSpPr>
              <p:cNvPr id="2576" name="Vrije vorm: vorm 2575">
                <a:extLst>
                  <a:ext uri="{FF2B5EF4-FFF2-40B4-BE49-F238E27FC236}">
                    <a16:creationId xmlns:a16="http://schemas.microsoft.com/office/drawing/2014/main" id="{C7F33E8F-BA27-4830-8018-5825B3F24C2E}"/>
                  </a:ext>
                </a:extLst>
              </p:cNvPr>
              <p:cNvSpPr/>
              <p:nvPr/>
            </p:nvSpPr>
            <p:spPr>
              <a:xfrm>
                <a:off x="4586276" y="2496991"/>
                <a:ext cx="42522" cy="28169"/>
              </a:xfrm>
              <a:custGeom>
                <a:avLst/>
                <a:gdLst>
                  <a:gd name="connsiteX0" fmla="*/ 42523 w 42522"/>
                  <a:gd name="connsiteY0" fmla="*/ 25598 h 28169"/>
                  <a:gd name="connsiteX1" fmla="*/ 40968 w 42522"/>
                  <a:gd name="connsiteY1" fmla="*/ 28169 h 28169"/>
                  <a:gd name="connsiteX2" fmla="*/ 0 w 42522"/>
                  <a:gd name="connsiteY2" fmla="*/ 2572 h 28169"/>
                  <a:gd name="connsiteX3" fmla="*/ 1615 w 42522"/>
                  <a:gd name="connsiteY3" fmla="*/ 0 h 28169"/>
                </a:gdLst>
                <a:ahLst/>
                <a:cxnLst>
                  <a:cxn ang="0">
                    <a:pos x="connsiteX0" y="connsiteY0"/>
                  </a:cxn>
                  <a:cxn ang="0">
                    <a:pos x="connsiteX1" y="connsiteY1"/>
                  </a:cxn>
                  <a:cxn ang="0">
                    <a:pos x="connsiteX2" y="connsiteY2"/>
                  </a:cxn>
                  <a:cxn ang="0">
                    <a:pos x="connsiteX3" y="connsiteY3"/>
                  </a:cxn>
                </a:cxnLst>
                <a:rect l="l" t="t" r="r" b="b"/>
                <a:pathLst>
                  <a:path w="42522" h="28169">
                    <a:moveTo>
                      <a:pt x="42523" y="25598"/>
                    </a:moveTo>
                    <a:lnTo>
                      <a:pt x="40968" y="28169"/>
                    </a:lnTo>
                    <a:lnTo>
                      <a:pt x="0" y="2572"/>
                    </a:lnTo>
                    <a:lnTo>
                      <a:pt x="1615" y="0"/>
                    </a:lnTo>
                    <a:close/>
                  </a:path>
                </a:pathLst>
              </a:custGeom>
              <a:grpFill/>
              <a:ln w="5978" cap="flat">
                <a:noFill/>
                <a:prstDash val="solid"/>
                <a:miter/>
              </a:ln>
            </p:spPr>
            <p:txBody>
              <a:bodyPr rtlCol="0" anchor="ctr"/>
              <a:lstStyle/>
              <a:p>
                <a:endParaRPr lang="en-GB"/>
              </a:p>
            </p:txBody>
          </p:sp>
          <p:sp>
            <p:nvSpPr>
              <p:cNvPr id="2577" name="Vrije vorm: vorm 2576">
                <a:extLst>
                  <a:ext uri="{FF2B5EF4-FFF2-40B4-BE49-F238E27FC236}">
                    <a16:creationId xmlns:a16="http://schemas.microsoft.com/office/drawing/2014/main" id="{9BBACCDD-5238-46DD-AC2E-8D87562F871C}"/>
                  </a:ext>
                </a:extLst>
              </p:cNvPr>
              <p:cNvSpPr/>
              <p:nvPr/>
            </p:nvSpPr>
            <p:spPr>
              <a:xfrm>
                <a:off x="4578344" y="2489315"/>
                <a:ext cx="18316" cy="18403"/>
              </a:xfrm>
              <a:custGeom>
                <a:avLst/>
                <a:gdLst>
                  <a:gd name="connsiteX0" fmla="*/ 4344 w 18316"/>
                  <a:gd name="connsiteY0" fmla="*/ 17007 h 18403"/>
                  <a:gd name="connsiteX1" fmla="*/ 1354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4" y="4327"/>
                    </a:cubicBezTo>
                    <a:cubicBezTo>
                      <a:pt x="3985" y="21"/>
                      <a:pt x="9667" y="-1294"/>
                      <a:pt x="13973" y="1397"/>
                    </a:cubicBezTo>
                    <a:cubicBezTo>
                      <a:pt x="18279" y="4088"/>
                      <a:pt x="19595" y="9770"/>
                      <a:pt x="16963" y="14076"/>
                    </a:cubicBezTo>
                    <a:cubicBezTo>
                      <a:pt x="14272" y="18382"/>
                      <a:pt x="8650" y="19698"/>
                      <a:pt x="4344" y="17007"/>
                    </a:cubicBezTo>
                    <a:close/>
                  </a:path>
                </a:pathLst>
              </a:custGeom>
              <a:grpFill/>
              <a:ln w="5978" cap="flat">
                <a:noFill/>
                <a:prstDash val="solid"/>
                <a:miter/>
              </a:ln>
            </p:spPr>
            <p:txBody>
              <a:bodyPr rtlCol="0" anchor="ctr"/>
              <a:lstStyle/>
              <a:p>
                <a:endParaRPr lang="en-GB"/>
              </a:p>
            </p:txBody>
          </p:sp>
          <p:sp>
            <p:nvSpPr>
              <p:cNvPr id="2578" name="Vrije vorm: vorm 2577">
                <a:extLst>
                  <a:ext uri="{FF2B5EF4-FFF2-40B4-BE49-F238E27FC236}">
                    <a16:creationId xmlns:a16="http://schemas.microsoft.com/office/drawing/2014/main" id="{D4E2EE98-F235-4781-AC9A-B37B175BEE5A}"/>
                  </a:ext>
                </a:extLst>
              </p:cNvPr>
              <p:cNvSpPr/>
              <p:nvPr/>
            </p:nvSpPr>
            <p:spPr>
              <a:xfrm>
                <a:off x="4618475" y="2514434"/>
                <a:ext cx="18343" cy="18403"/>
              </a:xfrm>
              <a:custGeom>
                <a:avLst/>
                <a:gdLst>
                  <a:gd name="connsiteX0" fmla="*/ 4344 w 18343"/>
                  <a:gd name="connsiteY0" fmla="*/ 17007 h 18403"/>
                  <a:gd name="connsiteX1" fmla="*/ 16963 w 18343"/>
                  <a:gd name="connsiteY1" fmla="*/ 14076 h 18403"/>
                  <a:gd name="connsiteX2" fmla="*/ 13973 w 18343"/>
                  <a:gd name="connsiteY2" fmla="*/ 1397 h 18403"/>
                  <a:gd name="connsiteX3" fmla="*/ 1354 w 18343"/>
                  <a:gd name="connsiteY3" fmla="*/ 4327 h 18403"/>
                  <a:gd name="connsiteX4" fmla="*/ 4344 w 18343"/>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4344" y="17007"/>
                    </a:moveTo>
                    <a:cubicBezTo>
                      <a:pt x="8650" y="19698"/>
                      <a:pt x="14272" y="18382"/>
                      <a:pt x="16963" y="14076"/>
                    </a:cubicBezTo>
                    <a:cubicBezTo>
                      <a:pt x="19655" y="9770"/>
                      <a:pt x="18279" y="4088"/>
                      <a:pt x="13973" y="1397"/>
                    </a:cubicBezTo>
                    <a:cubicBezTo>
                      <a:pt x="9667" y="-1294"/>
                      <a:pt x="4045" y="21"/>
                      <a:pt x="1354" y="4327"/>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942" name="Graphic 3">
              <a:extLst>
                <a:ext uri="{FF2B5EF4-FFF2-40B4-BE49-F238E27FC236}">
                  <a16:creationId xmlns:a16="http://schemas.microsoft.com/office/drawing/2014/main" id="{E74007B4-7F43-4088-B9AE-14DC934FE73B}"/>
                </a:ext>
              </a:extLst>
            </p:cNvPr>
            <p:cNvGrpSpPr/>
            <p:nvPr/>
          </p:nvGrpSpPr>
          <p:grpSpPr>
            <a:xfrm>
              <a:off x="4419517" y="2258760"/>
              <a:ext cx="244063" cy="177948"/>
              <a:chOff x="4419517" y="2258760"/>
              <a:chExt cx="244063" cy="177948"/>
            </a:xfrm>
            <a:grpFill/>
          </p:grpSpPr>
          <p:sp>
            <p:nvSpPr>
              <p:cNvPr id="2573" name="Vrije vorm: vorm 2572">
                <a:extLst>
                  <a:ext uri="{FF2B5EF4-FFF2-40B4-BE49-F238E27FC236}">
                    <a16:creationId xmlns:a16="http://schemas.microsoft.com/office/drawing/2014/main" id="{85F480C3-AD00-49F7-B9B0-A4062D6BC00C}"/>
                  </a:ext>
                </a:extLst>
              </p:cNvPr>
              <p:cNvSpPr/>
              <p:nvPr/>
            </p:nvSpPr>
            <p:spPr>
              <a:xfrm>
                <a:off x="4427368" y="2266434"/>
                <a:ext cx="228343" cy="162615"/>
              </a:xfrm>
              <a:custGeom>
                <a:avLst/>
                <a:gdLst>
                  <a:gd name="connsiteX0" fmla="*/ 228344 w 228343"/>
                  <a:gd name="connsiteY0" fmla="*/ 160104 h 162615"/>
                  <a:gd name="connsiteX1" fmla="*/ 226610 w 228343"/>
                  <a:gd name="connsiteY1" fmla="*/ 162616 h 162615"/>
                  <a:gd name="connsiteX2" fmla="*/ 0 w 228343"/>
                  <a:gd name="connsiteY2" fmla="*/ 2512 h 162615"/>
                  <a:gd name="connsiteX3" fmla="*/ 1794 w 228343"/>
                  <a:gd name="connsiteY3" fmla="*/ 0 h 162615"/>
                </a:gdLst>
                <a:ahLst/>
                <a:cxnLst>
                  <a:cxn ang="0">
                    <a:pos x="connsiteX0" y="connsiteY0"/>
                  </a:cxn>
                  <a:cxn ang="0">
                    <a:pos x="connsiteX1" y="connsiteY1"/>
                  </a:cxn>
                  <a:cxn ang="0">
                    <a:pos x="connsiteX2" y="connsiteY2"/>
                  </a:cxn>
                  <a:cxn ang="0">
                    <a:pos x="connsiteX3" y="connsiteY3"/>
                  </a:cxn>
                </a:cxnLst>
                <a:rect l="l" t="t" r="r" b="b"/>
                <a:pathLst>
                  <a:path w="228343" h="162615">
                    <a:moveTo>
                      <a:pt x="228344" y="160104"/>
                    </a:moveTo>
                    <a:lnTo>
                      <a:pt x="226610" y="162616"/>
                    </a:lnTo>
                    <a:lnTo>
                      <a:pt x="0" y="2512"/>
                    </a:lnTo>
                    <a:lnTo>
                      <a:pt x="1794" y="0"/>
                    </a:lnTo>
                    <a:close/>
                  </a:path>
                </a:pathLst>
              </a:custGeom>
              <a:grpFill/>
              <a:ln w="5978" cap="flat">
                <a:noFill/>
                <a:prstDash val="solid"/>
                <a:miter/>
              </a:ln>
            </p:spPr>
            <p:txBody>
              <a:bodyPr rtlCol="0" anchor="ctr"/>
              <a:lstStyle/>
              <a:p>
                <a:endParaRPr lang="en-GB"/>
              </a:p>
            </p:txBody>
          </p:sp>
          <p:sp>
            <p:nvSpPr>
              <p:cNvPr id="2574" name="Vrije vorm: vorm 2573">
                <a:extLst>
                  <a:ext uri="{FF2B5EF4-FFF2-40B4-BE49-F238E27FC236}">
                    <a16:creationId xmlns:a16="http://schemas.microsoft.com/office/drawing/2014/main" id="{9B52E763-EACA-47A5-BFD1-CBA983AB604E}"/>
                  </a:ext>
                </a:extLst>
              </p:cNvPr>
              <p:cNvSpPr/>
              <p:nvPr/>
            </p:nvSpPr>
            <p:spPr>
              <a:xfrm>
                <a:off x="4419517" y="2258760"/>
                <a:ext cx="18274" cy="18442"/>
              </a:xfrm>
              <a:custGeom>
                <a:avLst/>
                <a:gdLst>
                  <a:gd name="connsiteX0" fmla="*/ 3904 w 18274"/>
                  <a:gd name="connsiteY0" fmla="*/ 16765 h 18442"/>
                  <a:gd name="connsiteX1" fmla="*/ 1632 w 18274"/>
                  <a:gd name="connsiteY1" fmla="*/ 3907 h 18442"/>
                  <a:gd name="connsiteX2" fmla="*/ 14370 w 18274"/>
                  <a:gd name="connsiteY2" fmla="*/ 1694 h 18442"/>
                  <a:gd name="connsiteX3" fmla="*/ 16643 w 18274"/>
                  <a:gd name="connsiteY3" fmla="*/ 14552 h 18442"/>
                  <a:gd name="connsiteX4" fmla="*/ 3904 w 18274"/>
                  <a:gd name="connsiteY4" fmla="*/ 16765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2">
                    <a:moveTo>
                      <a:pt x="3904" y="16765"/>
                    </a:moveTo>
                    <a:cubicBezTo>
                      <a:pt x="-223" y="13835"/>
                      <a:pt x="-1239" y="8093"/>
                      <a:pt x="1632" y="3907"/>
                    </a:cubicBezTo>
                    <a:cubicBezTo>
                      <a:pt x="4502" y="-280"/>
                      <a:pt x="10244" y="-1237"/>
                      <a:pt x="14370" y="1694"/>
                    </a:cubicBezTo>
                    <a:cubicBezTo>
                      <a:pt x="18497" y="4624"/>
                      <a:pt x="19514" y="10366"/>
                      <a:pt x="16643" y="14552"/>
                    </a:cubicBezTo>
                    <a:cubicBezTo>
                      <a:pt x="13712" y="18679"/>
                      <a:pt x="8031" y="19696"/>
                      <a:pt x="3904" y="16765"/>
                    </a:cubicBezTo>
                    <a:close/>
                  </a:path>
                </a:pathLst>
              </a:custGeom>
              <a:grpFill/>
              <a:ln w="5978" cap="flat">
                <a:noFill/>
                <a:prstDash val="solid"/>
                <a:miter/>
              </a:ln>
            </p:spPr>
            <p:txBody>
              <a:bodyPr rtlCol="0" anchor="ctr"/>
              <a:lstStyle/>
              <a:p>
                <a:endParaRPr lang="en-GB"/>
              </a:p>
            </p:txBody>
          </p:sp>
          <p:sp>
            <p:nvSpPr>
              <p:cNvPr id="2575" name="Vrije vorm: vorm 2574">
                <a:extLst>
                  <a:ext uri="{FF2B5EF4-FFF2-40B4-BE49-F238E27FC236}">
                    <a16:creationId xmlns:a16="http://schemas.microsoft.com/office/drawing/2014/main" id="{252593D5-5EEF-4A0B-A662-7F0A46F33BBF}"/>
                  </a:ext>
                </a:extLst>
              </p:cNvPr>
              <p:cNvSpPr/>
              <p:nvPr/>
            </p:nvSpPr>
            <p:spPr>
              <a:xfrm>
                <a:off x="4645289" y="2418282"/>
                <a:ext cx="18290" cy="18426"/>
              </a:xfrm>
              <a:custGeom>
                <a:avLst/>
                <a:gdLst>
                  <a:gd name="connsiteX0" fmla="*/ 3904 w 18290"/>
                  <a:gd name="connsiteY0" fmla="*/ 16749 h 18426"/>
                  <a:gd name="connsiteX1" fmla="*/ 16643 w 18290"/>
                  <a:gd name="connsiteY1" fmla="*/ 14536 h 18426"/>
                  <a:gd name="connsiteX2" fmla="*/ 14370 w 18290"/>
                  <a:gd name="connsiteY2" fmla="*/ 1677 h 18426"/>
                  <a:gd name="connsiteX3" fmla="*/ 1632 w 18290"/>
                  <a:gd name="connsiteY3" fmla="*/ 3890 h 18426"/>
                  <a:gd name="connsiteX4" fmla="*/ 3904 w 18290"/>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26">
                    <a:moveTo>
                      <a:pt x="3904" y="16749"/>
                    </a:moveTo>
                    <a:cubicBezTo>
                      <a:pt x="8031" y="19679"/>
                      <a:pt x="13772" y="18663"/>
                      <a:pt x="16643" y="14536"/>
                    </a:cubicBezTo>
                    <a:cubicBezTo>
                      <a:pt x="19514" y="10349"/>
                      <a:pt x="18557" y="4608"/>
                      <a:pt x="14370" y="1677"/>
                    </a:cubicBezTo>
                    <a:cubicBezTo>
                      <a:pt x="10244" y="-1253"/>
                      <a:pt x="4502" y="-236"/>
                      <a:pt x="1632" y="3890"/>
                    </a:cubicBezTo>
                    <a:cubicBezTo>
                      <a:pt x="-1239" y="8077"/>
                      <a:pt x="-223" y="13818"/>
                      <a:pt x="3904" y="16749"/>
                    </a:cubicBezTo>
                    <a:close/>
                  </a:path>
                </a:pathLst>
              </a:custGeom>
              <a:grpFill/>
              <a:ln w="5978" cap="flat">
                <a:noFill/>
                <a:prstDash val="solid"/>
                <a:miter/>
              </a:ln>
            </p:spPr>
            <p:txBody>
              <a:bodyPr rtlCol="0" anchor="ctr"/>
              <a:lstStyle/>
              <a:p>
                <a:endParaRPr lang="en-GB"/>
              </a:p>
            </p:txBody>
          </p:sp>
        </p:grpSp>
        <p:grpSp>
          <p:nvGrpSpPr>
            <p:cNvPr id="943" name="Graphic 3">
              <a:extLst>
                <a:ext uri="{FF2B5EF4-FFF2-40B4-BE49-F238E27FC236}">
                  <a16:creationId xmlns:a16="http://schemas.microsoft.com/office/drawing/2014/main" id="{1BF564CA-691E-433C-9CD0-C435ECB62D58}"/>
                </a:ext>
              </a:extLst>
            </p:cNvPr>
            <p:cNvGrpSpPr/>
            <p:nvPr/>
          </p:nvGrpSpPr>
          <p:grpSpPr>
            <a:xfrm>
              <a:off x="5413132" y="4972433"/>
              <a:ext cx="42600" cy="80817"/>
              <a:chOff x="5413132" y="4972433"/>
              <a:chExt cx="42600" cy="80817"/>
            </a:xfrm>
            <a:grpFill/>
          </p:grpSpPr>
          <p:sp>
            <p:nvSpPr>
              <p:cNvPr id="2570" name="Vrije vorm: vorm 2569">
                <a:extLst>
                  <a:ext uri="{FF2B5EF4-FFF2-40B4-BE49-F238E27FC236}">
                    <a16:creationId xmlns:a16="http://schemas.microsoft.com/office/drawing/2014/main" id="{6A761E08-DEB6-4D75-B192-55A4D3819C8D}"/>
                  </a:ext>
                </a:extLst>
              </p:cNvPr>
              <p:cNvSpPr/>
              <p:nvPr/>
            </p:nvSpPr>
            <p:spPr>
              <a:xfrm>
                <a:off x="5420706" y="4980665"/>
                <a:ext cx="27391" cy="64352"/>
              </a:xfrm>
              <a:custGeom>
                <a:avLst/>
                <a:gdLst>
                  <a:gd name="connsiteX0" fmla="*/ 27392 w 27391"/>
                  <a:gd name="connsiteY0" fmla="*/ 1136 h 64352"/>
                  <a:gd name="connsiteX1" fmla="*/ 2811 w 27391"/>
                  <a:gd name="connsiteY1" fmla="*/ 64353 h 64352"/>
                  <a:gd name="connsiteX2" fmla="*/ 0 w 27391"/>
                  <a:gd name="connsiteY2" fmla="*/ 63216 h 64352"/>
                  <a:gd name="connsiteX3" fmla="*/ 24581 w 27391"/>
                  <a:gd name="connsiteY3" fmla="*/ 0 h 64352"/>
                </a:gdLst>
                <a:ahLst/>
                <a:cxnLst>
                  <a:cxn ang="0">
                    <a:pos x="connsiteX0" y="connsiteY0"/>
                  </a:cxn>
                  <a:cxn ang="0">
                    <a:pos x="connsiteX1" y="connsiteY1"/>
                  </a:cxn>
                  <a:cxn ang="0">
                    <a:pos x="connsiteX2" y="connsiteY2"/>
                  </a:cxn>
                  <a:cxn ang="0">
                    <a:pos x="connsiteX3" y="connsiteY3"/>
                  </a:cxn>
                </a:cxnLst>
                <a:rect l="l" t="t" r="r" b="b"/>
                <a:pathLst>
                  <a:path w="27391" h="64352">
                    <a:moveTo>
                      <a:pt x="27392" y="1136"/>
                    </a:moveTo>
                    <a:lnTo>
                      <a:pt x="2811" y="64353"/>
                    </a:lnTo>
                    <a:lnTo>
                      <a:pt x="0" y="63216"/>
                    </a:lnTo>
                    <a:lnTo>
                      <a:pt x="24581" y="0"/>
                    </a:lnTo>
                    <a:close/>
                  </a:path>
                </a:pathLst>
              </a:custGeom>
              <a:grpFill/>
              <a:ln w="5978" cap="flat">
                <a:noFill/>
                <a:prstDash val="solid"/>
                <a:miter/>
              </a:ln>
            </p:spPr>
            <p:txBody>
              <a:bodyPr rtlCol="0" anchor="ctr"/>
              <a:lstStyle/>
              <a:p>
                <a:endParaRPr lang="en-GB"/>
              </a:p>
            </p:txBody>
          </p:sp>
          <p:sp>
            <p:nvSpPr>
              <p:cNvPr id="2571" name="Vrije vorm: vorm 2570">
                <a:extLst>
                  <a:ext uri="{FF2B5EF4-FFF2-40B4-BE49-F238E27FC236}">
                    <a16:creationId xmlns:a16="http://schemas.microsoft.com/office/drawing/2014/main" id="{2F6E47E3-4CD9-44A1-9588-FE9E7FB970A5}"/>
                  </a:ext>
                </a:extLst>
              </p:cNvPr>
              <p:cNvSpPr/>
              <p:nvPr/>
            </p:nvSpPr>
            <p:spPr>
              <a:xfrm>
                <a:off x="5413132" y="5034812"/>
                <a:ext cx="18318" cy="18438"/>
              </a:xfrm>
              <a:custGeom>
                <a:avLst/>
                <a:gdLst>
                  <a:gd name="connsiteX0" fmla="*/ 17682 w 18318"/>
                  <a:gd name="connsiteY0" fmla="*/ 12598 h 18438"/>
                  <a:gd name="connsiteX1" fmla="*/ 5840 w 18318"/>
                  <a:gd name="connsiteY1" fmla="*/ 17801 h 18438"/>
                  <a:gd name="connsiteX2" fmla="*/ 637 w 18318"/>
                  <a:gd name="connsiteY2" fmla="*/ 5840 h 18438"/>
                  <a:gd name="connsiteX3" fmla="*/ 12479 w 18318"/>
                  <a:gd name="connsiteY3" fmla="*/ 637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5828" y="17323"/>
                      <a:pt x="10505" y="19655"/>
                      <a:pt x="5840" y="17801"/>
                    </a:cubicBezTo>
                    <a:cubicBezTo>
                      <a:pt x="1115" y="15947"/>
                      <a:pt x="-1217" y="10565"/>
                      <a:pt x="637" y="5840"/>
                    </a:cubicBezTo>
                    <a:cubicBezTo>
                      <a:pt x="2491" y="1115"/>
                      <a:pt x="7814" y="-1217"/>
                      <a:pt x="12479" y="637"/>
                    </a:cubicBezTo>
                    <a:cubicBezTo>
                      <a:pt x="17204" y="2491"/>
                      <a:pt x="19536" y="7814"/>
                      <a:pt x="17682" y="12598"/>
                    </a:cubicBezTo>
                    <a:close/>
                  </a:path>
                </a:pathLst>
              </a:custGeom>
              <a:grpFill/>
              <a:ln w="5978" cap="flat">
                <a:noFill/>
                <a:prstDash val="solid"/>
                <a:miter/>
              </a:ln>
            </p:spPr>
            <p:txBody>
              <a:bodyPr rtlCol="0" anchor="ctr"/>
              <a:lstStyle/>
              <a:p>
                <a:endParaRPr lang="en-GB"/>
              </a:p>
            </p:txBody>
          </p:sp>
          <p:sp>
            <p:nvSpPr>
              <p:cNvPr id="2572" name="Vrije vorm: vorm 2571">
                <a:extLst>
                  <a:ext uri="{FF2B5EF4-FFF2-40B4-BE49-F238E27FC236}">
                    <a16:creationId xmlns:a16="http://schemas.microsoft.com/office/drawing/2014/main" id="{2DEFCAE5-34E6-4ABA-A6B9-3D416C700275}"/>
                  </a:ext>
                </a:extLst>
              </p:cNvPr>
              <p:cNvSpPr/>
              <p:nvPr/>
            </p:nvSpPr>
            <p:spPr>
              <a:xfrm>
                <a:off x="5437414" y="4972433"/>
                <a:ext cx="18318" cy="18438"/>
              </a:xfrm>
              <a:custGeom>
                <a:avLst/>
                <a:gdLst>
                  <a:gd name="connsiteX0" fmla="*/ 17682 w 18318"/>
                  <a:gd name="connsiteY0" fmla="*/ 12598 h 18438"/>
                  <a:gd name="connsiteX1" fmla="*/ 12479 w 18318"/>
                  <a:gd name="connsiteY1" fmla="*/ 637 h 18438"/>
                  <a:gd name="connsiteX2" fmla="*/ 637 w 18318"/>
                  <a:gd name="connsiteY2" fmla="*/ 5840 h 18438"/>
                  <a:gd name="connsiteX3" fmla="*/ 5840 w 18318"/>
                  <a:gd name="connsiteY3" fmla="*/ 17801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9536" y="7874"/>
                      <a:pt x="17204" y="2491"/>
                      <a:pt x="12479" y="637"/>
                    </a:cubicBezTo>
                    <a:cubicBezTo>
                      <a:pt x="7754" y="-1217"/>
                      <a:pt x="2431" y="1115"/>
                      <a:pt x="637" y="5840"/>
                    </a:cubicBezTo>
                    <a:cubicBezTo>
                      <a:pt x="-1217" y="10565"/>
                      <a:pt x="1115" y="15947"/>
                      <a:pt x="5840" y="17801"/>
                    </a:cubicBezTo>
                    <a:cubicBezTo>
                      <a:pt x="10505" y="19655"/>
                      <a:pt x="15828" y="17323"/>
                      <a:pt x="17682" y="12598"/>
                    </a:cubicBezTo>
                    <a:close/>
                  </a:path>
                </a:pathLst>
              </a:custGeom>
              <a:grpFill/>
              <a:ln w="5978" cap="flat">
                <a:noFill/>
                <a:prstDash val="solid"/>
                <a:miter/>
              </a:ln>
            </p:spPr>
            <p:txBody>
              <a:bodyPr rtlCol="0" anchor="ctr"/>
              <a:lstStyle/>
              <a:p>
                <a:endParaRPr lang="en-GB"/>
              </a:p>
            </p:txBody>
          </p:sp>
        </p:grpSp>
        <p:grpSp>
          <p:nvGrpSpPr>
            <p:cNvPr id="944" name="Graphic 3">
              <a:extLst>
                <a:ext uri="{FF2B5EF4-FFF2-40B4-BE49-F238E27FC236}">
                  <a16:creationId xmlns:a16="http://schemas.microsoft.com/office/drawing/2014/main" id="{28A813F1-0897-4328-92F5-FFB83599ECFC}"/>
                </a:ext>
              </a:extLst>
            </p:cNvPr>
            <p:cNvGrpSpPr/>
            <p:nvPr/>
          </p:nvGrpSpPr>
          <p:grpSpPr>
            <a:xfrm>
              <a:off x="4434795" y="2313947"/>
              <a:ext cx="222402" cy="156943"/>
              <a:chOff x="4434795" y="2313947"/>
              <a:chExt cx="222402" cy="156943"/>
            </a:xfrm>
            <a:grpFill/>
          </p:grpSpPr>
          <p:sp>
            <p:nvSpPr>
              <p:cNvPr id="2567" name="Vrije vorm: vorm 2566">
                <a:extLst>
                  <a:ext uri="{FF2B5EF4-FFF2-40B4-BE49-F238E27FC236}">
                    <a16:creationId xmlns:a16="http://schemas.microsoft.com/office/drawing/2014/main" id="{34DADD63-47BB-4896-8E17-C729D65CDEB6}"/>
                  </a:ext>
                </a:extLst>
              </p:cNvPr>
              <p:cNvSpPr/>
              <p:nvPr/>
            </p:nvSpPr>
            <p:spPr>
              <a:xfrm>
                <a:off x="4442739" y="2321637"/>
                <a:ext cx="206514" cy="141563"/>
              </a:xfrm>
              <a:custGeom>
                <a:avLst/>
                <a:gdLst>
                  <a:gd name="connsiteX0" fmla="*/ 206514 w 206514"/>
                  <a:gd name="connsiteY0" fmla="*/ 139052 h 141563"/>
                  <a:gd name="connsiteX1" fmla="*/ 204780 w 206514"/>
                  <a:gd name="connsiteY1" fmla="*/ 141564 h 141563"/>
                  <a:gd name="connsiteX2" fmla="*/ 0 w 206514"/>
                  <a:gd name="connsiteY2" fmla="*/ 2512 h 141563"/>
                  <a:gd name="connsiteX3" fmla="*/ 1674 w 206514"/>
                  <a:gd name="connsiteY3" fmla="*/ 0 h 141563"/>
                </a:gdLst>
                <a:ahLst/>
                <a:cxnLst>
                  <a:cxn ang="0">
                    <a:pos x="connsiteX0" y="connsiteY0"/>
                  </a:cxn>
                  <a:cxn ang="0">
                    <a:pos x="connsiteX1" y="connsiteY1"/>
                  </a:cxn>
                  <a:cxn ang="0">
                    <a:pos x="connsiteX2" y="connsiteY2"/>
                  </a:cxn>
                  <a:cxn ang="0">
                    <a:pos x="connsiteX3" y="connsiteY3"/>
                  </a:cxn>
                </a:cxnLst>
                <a:rect l="l" t="t" r="r" b="b"/>
                <a:pathLst>
                  <a:path w="206514" h="141563">
                    <a:moveTo>
                      <a:pt x="206514" y="139052"/>
                    </a:moveTo>
                    <a:lnTo>
                      <a:pt x="204780" y="141564"/>
                    </a:lnTo>
                    <a:lnTo>
                      <a:pt x="0" y="2512"/>
                    </a:lnTo>
                    <a:lnTo>
                      <a:pt x="1674" y="0"/>
                    </a:lnTo>
                    <a:close/>
                  </a:path>
                </a:pathLst>
              </a:custGeom>
              <a:grpFill/>
              <a:ln w="5978" cap="flat">
                <a:noFill/>
                <a:prstDash val="solid"/>
                <a:miter/>
              </a:ln>
            </p:spPr>
            <p:txBody>
              <a:bodyPr rtlCol="0" anchor="ctr"/>
              <a:lstStyle/>
              <a:p>
                <a:endParaRPr lang="en-GB"/>
              </a:p>
            </p:txBody>
          </p:sp>
          <p:sp>
            <p:nvSpPr>
              <p:cNvPr id="2568" name="Vrije vorm: vorm 2567">
                <a:extLst>
                  <a:ext uri="{FF2B5EF4-FFF2-40B4-BE49-F238E27FC236}">
                    <a16:creationId xmlns:a16="http://schemas.microsoft.com/office/drawing/2014/main" id="{6DFD7217-44E0-442E-A950-278F1B5D240B}"/>
                  </a:ext>
                </a:extLst>
              </p:cNvPr>
              <p:cNvSpPr/>
              <p:nvPr/>
            </p:nvSpPr>
            <p:spPr>
              <a:xfrm>
                <a:off x="4434795" y="2313947"/>
                <a:ext cx="18339" cy="18429"/>
              </a:xfrm>
              <a:custGeom>
                <a:avLst/>
                <a:gdLst>
                  <a:gd name="connsiteX0" fmla="*/ 4056 w 18339"/>
                  <a:gd name="connsiteY0" fmla="*/ 16840 h 18429"/>
                  <a:gd name="connsiteX1" fmla="*/ 1545 w 18339"/>
                  <a:gd name="connsiteY1" fmla="*/ 4042 h 18429"/>
                  <a:gd name="connsiteX2" fmla="*/ 14284 w 18339"/>
                  <a:gd name="connsiteY2" fmla="*/ 1589 h 18429"/>
                  <a:gd name="connsiteX3" fmla="*/ 16795 w 18339"/>
                  <a:gd name="connsiteY3" fmla="*/ 14388 h 18429"/>
                  <a:gd name="connsiteX4" fmla="*/ 4056 w 18339"/>
                  <a:gd name="connsiteY4" fmla="*/ 168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4056" y="16840"/>
                    </a:moveTo>
                    <a:cubicBezTo>
                      <a:pt x="-130" y="13970"/>
                      <a:pt x="-1267" y="8228"/>
                      <a:pt x="1545" y="4042"/>
                    </a:cubicBezTo>
                    <a:cubicBezTo>
                      <a:pt x="4355" y="-145"/>
                      <a:pt x="10037" y="-1281"/>
                      <a:pt x="14284" y="1589"/>
                    </a:cubicBezTo>
                    <a:cubicBezTo>
                      <a:pt x="18470" y="4460"/>
                      <a:pt x="19607" y="10142"/>
                      <a:pt x="16795" y="14388"/>
                    </a:cubicBezTo>
                    <a:cubicBezTo>
                      <a:pt x="13985" y="18575"/>
                      <a:pt x="8243" y="19711"/>
                      <a:pt x="4056" y="16840"/>
                    </a:cubicBezTo>
                    <a:close/>
                  </a:path>
                </a:pathLst>
              </a:custGeom>
              <a:grpFill/>
              <a:ln w="5978" cap="flat">
                <a:noFill/>
                <a:prstDash val="solid"/>
                <a:miter/>
              </a:ln>
            </p:spPr>
            <p:txBody>
              <a:bodyPr rtlCol="0" anchor="ctr"/>
              <a:lstStyle/>
              <a:p>
                <a:endParaRPr lang="en-GB"/>
              </a:p>
            </p:txBody>
          </p:sp>
          <p:sp>
            <p:nvSpPr>
              <p:cNvPr id="2569" name="Vrije vorm: vorm 2568">
                <a:extLst>
                  <a:ext uri="{FF2B5EF4-FFF2-40B4-BE49-F238E27FC236}">
                    <a16:creationId xmlns:a16="http://schemas.microsoft.com/office/drawing/2014/main" id="{BEAB40AD-E620-43D1-89A7-DBD03691A938}"/>
                  </a:ext>
                </a:extLst>
              </p:cNvPr>
              <p:cNvSpPr/>
              <p:nvPr/>
            </p:nvSpPr>
            <p:spPr>
              <a:xfrm>
                <a:off x="4638842" y="2452460"/>
                <a:ext cx="18355" cy="18429"/>
              </a:xfrm>
              <a:custGeom>
                <a:avLst/>
                <a:gdLst>
                  <a:gd name="connsiteX0" fmla="*/ 4072 w 18355"/>
                  <a:gd name="connsiteY0" fmla="*/ 16840 h 18429"/>
                  <a:gd name="connsiteX1" fmla="*/ 16811 w 18355"/>
                  <a:gd name="connsiteY1" fmla="*/ 14388 h 18429"/>
                  <a:gd name="connsiteX2" fmla="*/ 14299 w 18355"/>
                  <a:gd name="connsiteY2" fmla="*/ 1589 h 18429"/>
                  <a:gd name="connsiteX3" fmla="*/ 1560 w 18355"/>
                  <a:gd name="connsiteY3" fmla="*/ 4042 h 18429"/>
                  <a:gd name="connsiteX4" fmla="*/ 4072 w 18355"/>
                  <a:gd name="connsiteY4" fmla="*/ 168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9">
                    <a:moveTo>
                      <a:pt x="4072" y="16840"/>
                    </a:moveTo>
                    <a:cubicBezTo>
                      <a:pt x="8259" y="19711"/>
                      <a:pt x="13940" y="18575"/>
                      <a:pt x="16811" y="14388"/>
                    </a:cubicBezTo>
                    <a:cubicBezTo>
                      <a:pt x="19622" y="10202"/>
                      <a:pt x="18486" y="4460"/>
                      <a:pt x="14299" y="1589"/>
                    </a:cubicBezTo>
                    <a:cubicBezTo>
                      <a:pt x="10113" y="-1281"/>
                      <a:pt x="4431" y="-145"/>
                      <a:pt x="1560" y="4042"/>
                    </a:cubicBezTo>
                    <a:cubicBezTo>
                      <a:pt x="-1251" y="8288"/>
                      <a:pt x="-174" y="14029"/>
                      <a:pt x="4072" y="16840"/>
                    </a:cubicBezTo>
                    <a:close/>
                  </a:path>
                </a:pathLst>
              </a:custGeom>
              <a:grpFill/>
              <a:ln w="5978" cap="flat">
                <a:noFill/>
                <a:prstDash val="solid"/>
                <a:miter/>
              </a:ln>
            </p:spPr>
            <p:txBody>
              <a:bodyPr rtlCol="0" anchor="ctr"/>
              <a:lstStyle/>
              <a:p>
                <a:endParaRPr lang="en-GB"/>
              </a:p>
            </p:txBody>
          </p:sp>
        </p:grpSp>
        <p:grpSp>
          <p:nvGrpSpPr>
            <p:cNvPr id="945" name="Graphic 3">
              <a:extLst>
                <a:ext uri="{FF2B5EF4-FFF2-40B4-BE49-F238E27FC236}">
                  <a16:creationId xmlns:a16="http://schemas.microsoft.com/office/drawing/2014/main" id="{ABC8C50F-517B-4AB1-9668-033DBE12150F}"/>
                </a:ext>
              </a:extLst>
            </p:cNvPr>
            <p:cNvGrpSpPr/>
            <p:nvPr/>
          </p:nvGrpSpPr>
          <p:grpSpPr>
            <a:xfrm>
              <a:off x="5513951" y="5257732"/>
              <a:ext cx="59579" cy="173800"/>
              <a:chOff x="5513951" y="5257732"/>
              <a:chExt cx="59579" cy="173800"/>
            </a:xfrm>
            <a:grpFill/>
          </p:grpSpPr>
          <p:sp>
            <p:nvSpPr>
              <p:cNvPr id="2564" name="Vrije vorm: vorm 2563">
                <a:extLst>
                  <a:ext uri="{FF2B5EF4-FFF2-40B4-BE49-F238E27FC236}">
                    <a16:creationId xmlns:a16="http://schemas.microsoft.com/office/drawing/2014/main" id="{DA80D4AC-7CB7-43F8-B529-03D9B287E1D4}"/>
                  </a:ext>
                </a:extLst>
              </p:cNvPr>
              <p:cNvSpPr/>
              <p:nvPr/>
            </p:nvSpPr>
            <p:spPr>
              <a:xfrm>
                <a:off x="5521602" y="5266125"/>
                <a:ext cx="44376" cy="157053"/>
              </a:xfrm>
              <a:custGeom>
                <a:avLst/>
                <a:gdLst>
                  <a:gd name="connsiteX0" fmla="*/ 44377 w 44376"/>
                  <a:gd name="connsiteY0" fmla="*/ 837 h 157053"/>
                  <a:gd name="connsiteX1" fmla="*/ 2930 w 44376"/>
                  <a:gd name="connsiteY1" fmla="*/ 157054 h 157053"/>
                  <a:gd name="connsiteX2" fmla="*/ 0 w 44376"/>
                  <a:gd name="connsiteY2" fmla="*/ 156276 h 157053"/>
                  <a:gd name="connsiteX3" fmla="*/ 41446 w 44376"/>
                  <a:gd name="connsiteY3" fmla="*/ 0 h 157053"/>
                </a:gdLst>
                <a:ahLst/>
                <a:cxnLst>
                  <a:cxn ang="0">
                    <a:pos x="connsiteX0" y="connsiteY0"/>
                  </a:cxn>
                  <a:cxn ang="0">
                    <a:pos x="connsiteX1" y="connsiteY1"/>
                  </a:cxn>
                  <a:cxn ang="0">
                    <a:pos x="connsiteX2" y="connsiteY2"/>
                  </a:cxn>
                  <a:cxn ang="0">
                    <a:pos x="connsiteX3" y="connsiteY3"/>
                  </a:cxn>
                </a:cxnLst>
                <a:rect l="l" t="t" r="r" b="b"/>
                <a:pathLst>
                  <a:path w="44376" h="157053">
                    <a:moveTo>
                      <a:pt x="44377" y="837"/>
                    </a:moveTo>
                    <a:lnTo>
                      <a:pt x="2930" y="157054"/>
                    </a:lnTo>
                    <a:lnTo>
                      <a:pt x="0" y="156276"/>
                    </a:lnTo>
                    <a:lnTo>
                      <a:pt x="41446" y="0"/>
                    </a:lnTo>
                    <a:close/>
                  </a:path>
                </a:pathLst>
              </a:custGeom>
              <a:grpFill/>
              <a:ln w="5978" cap="flat">
                <a:noFill/>
                <a:prstDash val="solid"/>
                <a:miter/>
              </a:ln>
            </p:spPr>
            <p:txBody>
              <a:bodyPr rtlCol="0" anchor="ctr"/>
              <a:lstStyle/>
              <a:p>
                <a:endParaRPr lang="en-GB"/>
              </a:p>
            </p:txBody>
          </p:sp>
          <p:sp>
            <p:nvSpPr>
              <p:cNvPr id="2565" name="Vrije vorm: vorm 2564">
                <a:extLst>
                  <a:ext uri="{FF2B5EF4-FFF2-40B4-BE49-F238E27FC236}">
                    <a16:creationId xmlns:a16="http://schemas.microsoft.com/office/drawing/2014/main" id="{FEA1496D-BED7-4A49-A871-1BD1990D9A8B}"/>
                  </a:ext>
                </a:extLst>
              </p:cNvPr>
              <p:cNvSpPr/>
              <p:nvPr/>
            </p:nvSpPr>
            <p:spPr>
              <a:xfrm>
                <a:off x="5513951" y="5413091"/>
                <a:ext cx="18371" cy="18442"/>
              </a:xfrm>
              <a:custGeom>
                <a:avLst/>
                <a:gdLst>
                  <a:gd name="connsiteX0" fmla="*/ 18057 w 18371"/>
                  <a:gd name="connsiteY0" fmla="*/ 11643 h 18442"/>
                  <a:gd name="connsiteX1" fmla="*/ 6814 w 18371"/>
                  <a:gd name="connsiteY1" fmla="*/ 18102 h 18442"/>
                  <a:gd name="connsiteX2" fmla="*/ 294 w 18371"/>
                  <a:gd name="connsiteY2" fmla="*/ 6799 h 18442"/>
                  <a:gd name="connsiteX3" fmla="*/ 11478 w 18371"/>
                  <a:gd name="connsiteY3" fmla="*/ 340 h 18442"/>
                  <a:gd name="connsiteX4" fmla="*/ 18057 w 18371"/>
                  <a:gd name="connsiteY4" fmla="*/ 1164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2">
                    <a:moveTo>
                      <a:pt x="18057" y="11643"/>
                    </a:moveTo>
                    <a:cubicBezTo>
                      <a:pt x="16741" y="16548"/>
                      <a:pt x="11718" y="19478"/>
                      <a:pt x="6814" y="18102"/>
                    </a:cubicBezTo>
                    <a:cubicBezTo>
                      <a:pt x="1909" y="16787"/>
                      <a:pt x="-961" y="11703"/>
                      <a:pt x="294" y="6799"/>
                    </a:cubicBezTo>
                    <a:cubicBezTo>
                      <a:pt x="1610" y="1895"/>
                      <a:pt x="6634" y="-1036"/>
                      <a:pt x="11478" y="340"/>
                    </a:cubicBezTo>
                    <a:cubicBezTo>
                      <a:pt x="16442" y="1655"/>
                      <a:pt x="19373" y="6739"/>
                      <a:pt x="18057" y="11643"/>
                    </a:cubicBezTo>
                    <a:close/>
                  </a:path>
                </a:pathLst>
              </a:custGeom>
              <a:grpFill/>
              <a:ln w="5978" cap="flat">
                <a:noFill/>
                <a:prstDash val="solid"/>
                <a:miter/>
              </a:ln>
            </p:spPr>
            <p:txBody>
              <a:bodyPr rtlCol="0" anchor="ctr"/>
              <a:lstStyle/>
              <a:p>
                <a:endParaRPr lang="en-GB"/>
              </a:p>
            </p:txBody>
          </p:sp>
          <p:sp>
            <p:nvSpPr>
              <p:cNvPr id="2566" name="Vrije vorm: vorm 2565">
                <a:extLst>
                  <a:ext uri="{FF2B5EF4-FFF2-40B4-BE49-F238E27FC236}">
                    <a16:creationId xmlns:a16="http://schemas.microsoft.com/office/drawing/2014/main" id="{0588CB86-C4A0-42F4-B531-5C59EC386C08}"/>
                  </a:ext>
                </a:extLst>
              </p:cNvPr>
              <p:cNvSpPr/>
              <p:nvPr/>
            </p:nvSpPr>
            <p:spPr>
              <a:xfrm>
                <a:off x="5555137" y="5257732"/>
                <a:ext cx="18392" cy="18425"/>
              </a:xfrm>
              <a:custGeom>
                <a:avLst/>
                <a:gdLst>
                  <a:gd name="connsiteX0" fmla="*/ 18077 w 18392"/>
                  <a:gd name="connsiteY0" fmla="*/ 11622 h 18425"/>
                  <a:gd name="connsiteX1" fmla="*/ 11559 w 18392"/>
                  <a:gd name="connsiteY1" fmla="*/ 319 h 18425"/>
                  <a:gd name="connsiteX2" fmla="*/ 315 w 18392"/>
                  <a:gd name="connsiteY2" fmla="*/ 6778 h 18425"/>
                  <a:gd name="connsiteX3" fmla="*/ 6834 w 18392"/>
                  <a:gd name="connsiteY3" fmla="*/ 18082 h 18425"/>
                  <a:gd name="connsiteX4" fmla="*/ 18077 w 18392"/>
                  <a:gd name="connsiteY4" fmla="*/ 1162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25">
                    <a:moveTo>
                      <a:pt x="18077" y="11622"/>
                    </a:moveTo>
                    <a:cubicBezTo>
                      <a:pt x="19393" y="6719"/>
                      <a:pt x="16463" y="1635"/>
                      <a:pt x="11559" y="319"/>
                    </a:cubicBezTo>
                    <a:cubicBezTo>
                      <a:pt x="6654" y="-997"/>
                      <a:pt x="1630" y="1874"/>
                      <a:pt x="315" y="6778"/>
                    </a:cubicBezTo>
                    <a:cubicBezTo>
                      <a:pt x="-1001" y="11682"/>
                      <a:pt x="1930" y="16766"/>
                      <a:pt x="6834" y="18082"/>
                    </a:cubicBezTo>
                    <a:cubicBezTo>
                      <a:pt x="11798" y="19457"/>
                      <a:pt x="16822" y="16586"/>
                      <a:pt x="18077" y="11622"/>
                    </a:cubicBezTo>
                    <a:close/>
                  </a:path>
                </a:pathLst>
              </a:custGeom>
              <a:grpFill/>
              <a:ln w="5978" cap="flat">
                <a:noFill/>
                <a:prstDash val="solid"/>
                <a:miter/>
              </a:ln>
            </p:spPr>
            <p:txBody>
              <a:bodyPr rtlCol="0" anchor="ctr"/>
              <a:lstStyle/>
              <a:p>
                <a:endParaRPr lang="en-GB"/>
              </a:p>
            </p:txBody>
          </p:sp>
        </p:grpSp>
        <p:grpSp>
          <p:nvGrpSpPr>
            <p:cNvPr id="946" name="Graphic 3">
              <a:extLst>
                <a:ext uri="{FF2B5EF4-FFF2-40B4-BE49-F238E27FC236}">
                  <a16:creationId xmlns:a16="http://schemas.microsoft.com/office/drawing/2014/main" id="{7AAFBFC5-04BF-4A8E-9E9E-6FB49D353B46}"/>
                </a:ext>
              </a:extLst>
            </p:cNvPr>
            <p:cNvGrpSpPr/>
            <p:nvPr/>
          </p:nvGrpSpPr>
          <p:grpSpPr>
            <a:xfrm>
              <a:off x="4472433" y="2251688"/>
              <a:ext cx="63498" cy="51579"/>
              <a:chOff x="4472433" y="2251688"/>
              <a:chExt cx="63498" cy="51579"/>
            </a:xfrm>
            <a:grpFill/>
          </p:grpSpPr>
          <p:sp>
            <p:nvSpPr>
              <p:cNvPr id="2561" name="Vrije vorm: vorm 2560">
                <a:extLst>
                  <a:ext uri="{FF2B5EF4-FFF2-40B4-BE49-F238E27FC236}">
                    <a16:creationId xmlns:a16="http://schemas.microsoft.com/office/drawing/2014/main" id="{47732060-9F0B-45F0-AAB3-61553918206B}"/>
                  </a:ext>
                </a:extLst>
              </p:cNvPr>
              <p:cNvSpPr/>
              <p:nvPr/>
            </p:nvSpPr>
            <p:spPr>
              <a:xfrm>
                <a:off x="4480298" y="2259377"/>
                <a:ext cx="47726" cy="36243"/>
              </a:xfrm>
              <a:custGeom>
                <a:avLst/>
                <a:gdLst>
                  <a:gd name="connsiteX0" fmla="*/ 47726 w 47726"/>
                  <a:gd name="connsiteY0" fmla="*/ 33731 h 36243"/>
                  <a:gd name="connsiteX1" fmla="*/ 45932 w 47726"/>
                  <a:gd name="connsiteY1" fmla="*/ 36243 h 36243"/>
                  <a:gd name="connsiteX2" fmla="*/ 0 w 47726"/>
                  <a:gd name="connsiteY2" fmla="*/ 2512 h 36243"/>
                  <a:gd name="connsiteX3" fmla="*/ 1794 w 47726"/>
                  <a:gd name="connsiteY3" fmla="*/ 0 h 36243"/>
                </a:gdLst>
                <a:ahLst/>
                <a:cxnLst>
                  <a:cxn ang="0">
                    <a:pos x="connsiteX0" y="connsiteY0"/>
                  </a:cxn>
                  <a:cxn ang="0">
                    <a:pos x="connsiteX1" y="connsiteY1"/>
                  </a:cxn>
                  <a:cxn ang="0">
                    <a:pos x="connsiteX2" y="connsiteY2"/>
                  </a:cxn>
                  <a:cxn ang="0">
                    <a:pos x="connsiteX3" y="connsiteY3"/>
                  </a:cxn>
                </a:cxnLst>
                <a:rect l="l" t="t" r="r" b="b"/>
                <a:pathLst>
                  <a:path w="47726" h="36243">
                    <a:moveTo>
                      <a:pt x="47726" y="33731"/>
                    </a:moveTo>
                    <a:lnTo>
                      <a:pt x="45932" y="36243"/>
                    </a:lnTo>
                    <a:lnTo>
                      <a:pt x="0" y="2512"/>
                    </a:lnTo>
                    <a:lnTo>
                      <a:pt x="1794" y="0"/>
                    </a:lnTo>
                    <a:close/>
                  </a:path>
                </a:pathLst>
              </a:custGeom>
              <a:grpFill/>
              <a:ln w="5978" cap="flat">
                <a:noFill/>
                <a:prstDash val="solid"/>
                <a:miter/>
              </a:ln>
            </p:spPr>
            <p:txBody>
              <a:bodyPr rtlCol="0" anchor="ctr"/>
              <a:lstStyle/>
              <a:p>
                <a:endParaRPr lang="en-GB"/>
              </a:p>
            </p:txBody>
          </p:sp>
          <p:sp>
            <p:nvSpPr>
              <p:cNvPr id="2562" name="Vrije vorm: vorm 2561">
                <a:extLst>
                  <a:ext uri="{FF2B5EF4-FFF2-40B4-BE49-F238E27FC236}">
                    <a16:creationId xmlns:a16="http://schemas.microsoft.com/office/drawing/2014/main" id="{52CE23E3-2818-4F5D-920C-D23B8C8BC06C}"/>
                  </a:ext>
                </a:extLst>
              </p:cNvPr>
              <p:cNvSpPr/>
              <p:nvPr/>
            </p:nvSpPr>
            <p:spPr>
              <a:xfrm>
                <a:off x="4517604" y="2284881"/>
                <a:ext cx="18327" cy="18386"/>
              </a:xfrm>
              <a:custGeom>
                <a:avLst/>
                <a:gdLst>
                  <a:gd name="connsiteX0" fmla="*/ 14546 w 18327"/>
                  <a:gd name="connsiteY0" fmla="*/ 1768 h 18386"/>
                  <a:gd name="connsiteX1" fmla="*/ 16580 w 18327"/>
                  <a:gd name="connsiteY1" fmla="*/ 14627 h 18386"/>
                  <a:gd name="connsiteX2" fmla="*/ 3781 w 18327"/>
                  <a:gd name="connsiteY2" fmla="*/ 16601 h 18386"/>
                  <a:gd name="connsiteX3" fmla="*/ 1748 w 18327"/>
                  <a:gd name="connsiteY3" fmla="*/ 3742 h 18386"/>
                  <a:gd name="connsiteX4" fmla="*/ 14546 w 18327"/>
                  <a:gd name="connsiteY4" fmla="*/ 1768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86">
                    <a:moveTo>
                      <a:pt x="14546" y="1768"/>
                    </a:moveTo>
                    <a:cubicBezTo>
                      <a:pt x="18613" y="4759"/>
                      <a:pt x="19570" y="10560"/>
                      <a:pt x="16580" y="14627"/>
                    </a:cubicBezTo>
                    <a:cubicBezTo>
                      <a:pt x="13589" y="18754"/>
                      <a:pt x="7848" y="19591"/>
                      <a:pt x="3781" y="16601"/>
                    </a:cubicBezTo>
                    <a:cubicBezTo>
                      <a:pt x="-286" y="13610"/>
                      <a:pt x="-1243" y="7809"/>
                      <a:pt x="1748" y="3742"/>
                    </a:cubicBezTo>
                    <a:cubicBezTo>
                      <a:pt x="4738" y="-325"/>
                      <a:pt x="10479" y="-1222"/>
                      <a:pt x="14546" y="1768"/>
                    </a:cubicBezTo>
                    <a:close/>
                  </a:path>
                </a:pathLst>
              </a:custGeom>
              <a:grpFill/>
              <a:ln w="5978" cap="flat">
                <a:noFill/>
                <a:prstDash val="solid"/>
                <a:miter/>
              </a:ln>
            </p:spPr>
            <p:txBody>
              <a:bodyPr rtlCol="0" anchor="ctr"/>
              <a:lstStyle/>
              <a:p>
                <a:endParaRPr lang="en-GB"/>
              </a:p>
            </p:txBody>
          </p:sp>
          <p:sp>
            <p:nvSpPr>
              <p:cNvPr id="2563" name="Vrije vorm: vorm 2562">
                <a:extLst>
                  <a:ext uri="{FF2B5EF4-FFF2-40B4-BE49-F238E27FC236}">
                    <a16:creationId xmlns:a16="http://schemas.microsoft.com/office/drawing/2014/main" id="{CF39663A-F236-4701-A449-ADA92A34E9DC}"/>
                  </a:ext>
                </a:extLst>
              </p:cNvPr>
              <p:cNvSpPr/>
              <p:nvPr/>
            </p:nvSpPr>
            <p:spPr>
              <a:xfrm>
                <a:off x="4472433" y="2251688"/>
                <a:ext cx="18318" cy="18368"/>
              </a:xfrm>
              <a:custGeom>
                <a:avLst/>
                <a:gdLst>
                  <a:gd name="connsiteX0" fmla="*/ 14563 w 18318"/>
                  <a:gd name="connsiteY0" fmla="*/ 1768 h 18368"/>
                  <a:gd name="connsiteX1" fmla="*/ 1765 w 18318"/>
                  <a:gd name="connsiteY1" fmla="*/ 3742 h 18368"/>
                  <a:gd name="connsiteX2" fmla="*/ 3798 w 18318"/>
                  <a:gd name="connsiteY2" fmla="*/ 16601 h 18368"/>
                  <a:gd name="connsiteX3" fmla="*/ 16597 w 18318"/>
                  <a:gd name="connsiteY3" fmla="*/ 14627 h 18368"/>
                  <a:gd name="connsiteX4" fmla="*/ 14563 w 18318"/>
                  <a:gd name="connsiteY4" fmla="*/ 1768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68">
                    <a:moveTo>
                      <a:pt x="14563" y="1768"/>
                    </a:moveTo>
                    <a:cubicBezTo>
                      <a:pt x="10496" y="-1222"/>
                      <a:pt x="4755" y="-325"/>
                      <a:pt x="1765" y="3742"/>
                    </a:cubicBezTo>
                    <a:cubicBezTo>
                      <a:pt x="-1226" y="7869"/>
                      <a:pt x="-329" y="13610"/>
                      <a:pt x="3798" y="16601"/>
                    </a:cubicBezTo>
                    <a:cubicBezTo>
                      <a:pt x="7865" y="19591"/>
                      <a:pt x="13606" y="18694"/>
                      <a:pt x="16597" y="14627"/>
                    </a:cubicBezTo>
                    <a:cubicBezTo>
                      <a:pt x="19527" y="10560"/>
                      <a:pt x="18630" y="4819"/>
                      <a:pt x="14563" y="1768"/>
                    </a:cubicBezTo>
                    <a:close/>
                  </a:path>
                </a:pathLst>
              </a:custGeom>
              <a:grpFill/>
              <a:ln w="5978" cap="flat">
                <a:noFill/>
                <a:prstDash val="solid"/>
                <a:miter/>
              </a:ln>
            </p:spPr>
            <p:txBody>
              <a:bodyPr rtlCol="0" anchor="ctr"/>
              <a:lstStyle/>
              <a:p>
                <a:endParaRPr lang="en-GB"/>
              </a:p>
            </p:txBody>
          </p:sp>
        </p:grpSp>
        <p:grpSp>
          <p:nvGrpSpPr>
            <p:cNvPr id="947" name="Graphic 3">
              <a:extLst>
                <a:ext uri="{FF2B5EF4-FFF2-40B4-BE49-F238E27FC236}">
                  <a16:creationId xmlns:a16="http://schemas.microsoft.com/office/drawing/2014/main" id="{A80A14B9-9CBF-4587-88DD-B262854C0FF2}"/>
                </a:ext>
              </a:extLst>
            </p:cNvPr>
            <p:cNvGrpSpPr/>
            <p:nvPr/>
          </p:nvGrpSpPr>
          <p:grpSpPr>
            <a:xfrm>
              <a:off x="4365152" y="2221333"/>
              <a:ext cx="292551" cy="248811"/>
              <a:chOff x="4365152" y="2221333"/>
              <a:chExt cx="292551" cy="248811"/>
            </a:xfrm>
            <a:grpFill/>
          </p:grpSpPr>
          <p:sp>
            <p:nvSpPr>
              <p:cNvPr id="2558" name="Vrije vorm: vorm 2557">
                <a:extLst>
                  <a:ext uri="{FF2B5EF4-FFF2-40B4-BE49-F238E27FC236}">
                    <a16:creationId xmlns:a16="http://schemas.microsoft.com/office/drawing/2014/main" id="{11275231-17B9-4B45-A717-E602957A9AB9}"/>
                  </a:ext>
                </a:extLst>
              </p:cNvPr>
              <p:cNvSpPr/>
              <p:nvPr/>
            </p:nvSpPr>
            <p:spPr>
              <a:xfrm>
                <a:off x="4373004" y="2229115"/>
                <a:ext cx="276907" cy="233307"/>
              </a:xfrm>
              <a:custGeom>
                <a:avLst/>
                <a:gdLst>
                  <a:gd name="connsiteX0" fmla="*/ 276908 w 276907"/>
                  <a:gd name="connsiteY0" fmla="*/ 230916 h 233307"/>
                  <a:gd name="connsiteX1" fmla="*/ 274934 w 276907"/>
                  <a:gd name="connsiteY1" fmla="*/ 233308 h 233307"/>
                  <a:gd name="connsiteX2" fmla="*/ 0 w 276907"/>
                  <a:gd name="connsiteY2" fmla="*/ 2332 h 233307"/>
                  <a:gd name="connsiteX3" fmla="*/ 1974 w 276907"/>
                  <a:gd name="connsiteY3" fmla="*/ 0 h 233307"/>
                </a:gdLst>
                <a:ahLst/>
                <a:cxnLst>
                  <a:cxn ang="0">
                    <a:pos x="connsiteX0" y="connsiteY0"/>
                  </a:cxn>
                  <a:cxn ang="0">
                    <a:pos x="connsiteX1" y="connsiteY1"/>
                  </a:cxn>
                  <a:cxn ang="0">
                    <a:pos x="connsiteX2" y="connsiteY2"/>
                  </a:cxn>
                  <a:cxn ang="0">
                    <a:pos x="connsiteX3" y="connsiteY3"/>
                  </a:cxn>
                </a:cxnLst>
                <a:rect l="l" t="t" r="r" b="b"/>
                <a:pathLst>
                  <a:path w="276907" h="233307">
                    <a:moveTo>
                      <a:pt x="276908" y="230916"/>
                    </a:moveTo>
                    <a:lnTo>
                      <a:pt x="274934" y="233308"/>
                    </a:lnTo>
                    <a:lnTo>
                      <a:pt x="0" y="2332"/>
                    </a:lnTo>
                    <a:lnTo>
                      <a:pt x="1974" y="0"/>
                    </a:lnTo>
                    <a:close/>
                  </a:path>
                </a:pathLst>
              </a:custGeom>
              <a:grpFill/>
              <a:ln w="5978" cap="flat">
                <a:noFill/>
                <a:prstDash val="solid"/>
                <a:miter/>
              </a:ln>
            </p:spPr>
            <p:txBody>
              <a:bodyPr rtlCol="0" anchor="ctr"/>
              <a:lstStyle/>
              <a:p>
                <a:endParaRPr lang="en-GB"/>
              </a:p>
            </p:txBody>
          </p:sp>
          <p:sp>
            <p:nvSpPr>
              <p:cNvPr id="2559" name="Vrije vorm: vorm 2558">
                <a:extLst>
                  <a:ext uri="{FF2B5EF4-FFF2-40B4-BE49-F238E27FC236}">
                    <a16:creationId xmlns:a16="http://schemas.microsoft.com/office/drawing/2014/main" id="{56EE3B4A-DEF3-43A4-8E80-80DD1C2473DB}"/>
                  </a:ext>
                </a:extLst>
              </p:cNvPr>
              <p:cNvSpPr/>
              <p:nvPr/>
            </p:nvSpPr>
            <p:spPr>
              <a:xfrm>
                <a:off x="4639368" y="2451711"/>
                <a:ext cx="18335" cy="18433"/>
              </a:xfrm>
              <a:custGeom>
                <a:avLst/>
                <a:gdLst>
                  <a:gd name="connsiteX0" fmla="*/ 15029 w 18335"/>
                  <a:gd name="connsiteY0" fmla="*/ 2160 h 18433"/>
                  <a:gd name="connsiteX1" fmla="*/ 16225 w 18335"/>
                  <a:gd name="connsiteY1" fmla="*/ 15138 h 18433"/>
                  <a:gd name="connsiteX2" fmla="*/ 3307 w 18335"/>
                  <a:gd name="connsiteY2" fmla="*/ 16274 h 18433"/>
                  <a:gd name="connsiteX3" fmla="*/ 2110 w 18335"/>
                  <a:gd name="connsiteY3" fmla="*/ 3296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8916" y="5449"/>
                      <a:pt x="19455" y="11250"/>
                      <a:pt x="16225" y="15138"/>
                    </a:cubicBezTo>
                    <a:cubicBezTo>
                      <a:pt x="12995" y="19025"/>
                      <a:pt x="7194" y="19564"/>
                      <a:pt x="3307" y="16274"/>
                    </a:cubicBezTo>
                    <a:cubicBezTo>
                      <a:pt x="-581" y="12985"/>
                      <a:pt x="-1119" y="7183"/>
                      <a:pt x="2110" y="3296"/>
                    </a:cubicBezTo>
                    <a:cubicBezTo>
                      <a:pt x="5400" y="-591"/>
                      <a:pt x="11141" y="-1130"/>
                      <a:pt x="15029" y="2160"/>
                    </a:cubicBezTo>
                    <a:close/>
                  </a:path>
                </a:pathLst>
              </a:custGeom>
              <a:grpFill/>
              <a:ln w="5978" cap="flat">
                <a:noFill/>
                <a:prstDash val="solid"/>
                <a:miter/>
              </a:ln>
            </p:spPr>
            <p:txBody>
              <a:bodyPr rtlCol="0" anchor="ctr"/>
              <a:lstStyle/>
              <a:p>
                <a:endParaRPr lang="en-GB"/>
              </a:p>
            </p:txBody>
          </p:sp>
          <p:sp>
            <p:nvSpPr>
              <p:cNvPr id="2560" name="Vrije vorm: vorm 2559">
                <a:extLst>
                  <a:ext uri="{FF2B5EF4-FFF2-40B4-BE49-F238E27FC236}">
                    <a16:creationId xmlns:a16="http://schemas.microsoft.com/office/drawing/2014/main" id="{EF8D86A2-90B2-4BB4-9E6F-65BD60FFDFF2}"/>
                  </a:ext>
                </a:extLst>
              </p:cNvPr>
              <p:cNvSpPr/>
              <p:nvPr/>
            </p:nvSpPr>
            <p:spPr>
              <a:xfrm>
                <a:off x="4365152" y="2221333"/>
                <a:ext cx="18354" cy="18433"/>
              </a:xfrm>
              <a:custGeom>
                <a:avLst/>
                <a:gdLst>
                  <a:gd name="connsiteX0" fmla="*/ 15029 w 18354"/>
                  <a:gd name="connsiteY0" fmla="*/ 2160 h 18433"/>
                  <a:gd name="connsiteX1" fmla="*/ 2111 w 18354"/>
                  <a:gd name="connsiteY1" fmla="*/ 3296 h 18433"/>
                  <a:gd name="connsiteX2" fmla="*/ 3306 w 18354"/>
                  <a:gd name="connsiteY2" fmla="*/ 16274 h 18433"/>
                  <a:gd name="connsiteX3" fmla="*/ 16225 w 18354"/>
                  <a:gd name="connsiteY3" fmla="*/ 15138 h 18433"/>
                  <a:gd name="connsiteX4" fmla="*/ 15029 w 18354"/>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33">
                    <a:moveTo>
                      <a:pt x="15029" y="2160"/>
                    </a:moveTo>
                    <a:cubicBezTo>
                      <a:pt x="11141" y="-1130"/>
                      <a:pt x="5340" y="-591"/>
                      <a:pt x="2111" y="3296"/>
                    </a:cubicBezTo>
                    <a:cubicBezTo>
                      <a:pt x="-1119" y="7183"/>
                      <a:pt x="-581" y="12985"/>
                      <a:pt x="3306" y="16274"/>
                    </a:cubicBezTo>
                    <a:cubicBezTo>
                      <a:pt x="7194" y="19564"/>
                      <a:pt x="12995" y="19025"/>
                      <a:pt x="16225" y="15138"/>
                    </a:cubicBezTo>
                    <a:cubicBezTo>
                      <a:pt x="19454" y="11250"/>
                      <a:pt x="18976" y="5449"/>
                      <a:pt x="15029" y="2160"/>
                    </a:cubicBezTo>
                    <a:close/>
                  </a:path>
                </a:pathLst>
              </a:custGeom>
              <a:grpFill/>
              <a:ln w="5978" cap="flat">
                <a:noFill/>
                <a:prstDash val="solid"/>
                <a:miter/>
              </a:ln>
            </p:spPr>
            <p:txBody>
              <a:bodyPr rtlCol="0" anchor="ctr"/>
              <a:lstStyle/>
              <a:p>
                <a:endParaRPr lang="en-GB"/>
              </a:p>
            </p:txBody>
          </p:sp>
        </p:grpSp>
        <p:grpSp>
          <p:nvGrpSpPr>
            <p:cNvPr id="948" name="Graphic 3">
              <a:extLst>
                <a:ext uri="{FF2B5EF4-FFF2-40B4-BE49-F238E27FC236}">
                  <a16:creationId xmlns:a16="http://schemas.microsoft.com/office/drawing/2014/main" id="{7735A4AA-8D85-42DF-9EE3-AD174E719515}"/>
                </a:ext>
              </a:extLst>
            </p:cNvPr>
            <p:cNvGrpSpPr/>
            <p:nvPr/>
          </p:nvGrpSpPr>
          <p:grpSpPr>
            <a:xfrm>
              <a:off x="4424425" y="2216444"/>
              <a:ext cx="111523" cy="86865"/>
              <a:chOff x="4424425" y="2216444"/>
              <a:chExt cx="111523" cy="86865"/>
            </a:xfrm>
            <a:grpFill/>
          </p:grpSpPr>
          <p:sp>
            <p:nvSpPr>
              <p:cNvPr id="2555" name="Vrije vorm: vorm 2554">
                <a:extLst>
                  <a:ext uri="{FF2B5EF4-FFF2-40B4-BE49-F238E27FC236}">
                    <a16:creationId xmlns:a16="http://schemas.microsoft.com/office/drawing/2014/main" id="{39396192-23B3-4DFD-BA2F-68781250E0B7}"/>
                  </a:ext>
                </a:extLst>
              </p:cNvPr>
              <p:cNvSpPr/>
              <p:nvPr/>
            </p:nvSpPr>
            <p:spPr>
              <a:xfrm>
                <a:off x="4432333" y="2224151"/>
                <a:ext cx="95691" cy="71469"/>
              </a:xfrm>
              <a:custGeom>
                <a:avLst/>
                <a:gdLst>
                  <a:gd name="connsiteX0" fmla="*/ 95692 w 95691"/>
                  <a:gd name="connsiteY0" fmla="*/ 68958 h 71469"/>
                  <a:gd name="connsiteX1" fmla="*/ 93897 w 95691"/>
                  <a:gd name="connsiteY1" fmla="*/ 71470 h 71469"/>
                  <a:gd name="connsiteX2" fmla="*/ 0 w 95691"/>
                  <a:gd name="connsiteY2" fmla="*/ 2452 h 71469"/>
                  <a:gd name="connsiteX3" fmla="*/ 1794 w 95691"/>
                  <a:gd name="connsiteY3" fmla="*/ 0 h 71469"/>
                </a:gdLst>
                <a:ahLst/>
                <a:cxnLst>
                  <a:cxn ang="0">
                    <a:pos x="connsiteX0" y="connsiteY0"/>
                  </a:cxn>
                  <a:cxn ang="0">
                    <a:pos x="connsiteX1" y="connsiteY1"/>
                  </a:cxn>
                  <a:cxn ang="0">
                    <a:pos x="connsiteX2" y="connsiteY2"/>
                  </a:cxn>
                  <a:cxn ang="0">
                    <a:pos x="connsiteX3" y="connsiteY3"/>
                  </a:cxn>
                </a:cxnLst>
                <a:rect l="l" t="t" r="r" b="b"/>
                <a:pathLst>
                  <a:path w="95691" h="71469">
                    <a:moveTo>
                      <a:pt x="95692" y="68958"/>
                    </a:moveTo>
                    <a:lnTo>
                      <a:pt x="93897" y="71470"/>
                    </a:lnTo>
                    <a:lnTo>
                      <a:pt x="0" y="2452"/>
                    </a:lnTo>
                    <a:lnTo>
                      <a:pt x="1794" y="0"/>
                    </a:lnTo>
                    <a:close/>
                  </a:path>
                </a:pathLst>
              </a:custGeom>
              <a:grpFill/>
              <a:ln w="5978" cap="flat">
                <a:noFill/>
                <a:prstDash val="solid"/>
                <a:miter/>
              </a:ln>
            </p:spPr>
            <p:txBody>
              <a:bodyPr rtlCol="0" anchor="ctr"/>
              <a:lstStyle/>
              <a:p>
                <a:endParaRPr lang="en-GB"/>
              </a:p>
            </p:txBody>
          </p:sp>
          <p:sp>
            <p:nvSpPr>
              <p:cNvPr id="2556" name="Vrije vorm: vorm 2555">
                <a:extLst>
                  <a:ext uri="{FF2B5EF4-FFF2-40B4-BE49-F238E27FC236}">
                    <a16:creationId xmlns:a16="http://schemas.microsoft.com/office/drawing/2014/main" id="{D6C60B4C-1DBF-4F5F-914F-99512F856F35}"/>
                  </a:ext>
                </a:extLst>
              </p:cNvPr>
              <p:cNvSpPr/>
              <p:nvPr/>
            </p:nvSpPr>
            <p:spPr>
              <a:xfrm>
                <a:off x="4424425" y="2216444"/>
                <a:ext cx="18327" cy="18429"/>
              </a:xfrm>
              <a:custGeom>
                <a:avLst/>
                <a:gdLst>
                  <a:gd name="connsiteX0" fmla="*/ 3781 w 18327"/>
                  <a:gd name="connsiteY0" fmla="*/ 16618 h 18429"/>
                  <a:gd name="connsiteX1" fmla="*/ 1747 w 18327"/>
                  <a:gd name="connsiteY1" fmla="*/ 3759 h 18429"/>
                  <a:gd name="connsiteX2" fmla="*/ 14546 w 18327"/>
                  <a:gd name="connsiteY2" fmla="*/ 1786 h 18429"/>
                  <a:gd name="connsiteX3" fmla="*/ 16580 w 18327"/>
                  <a:gd name="connsiteY3" fmla="*/ 14644 h 18429"/>
                  <a:gd name="connsiteX4" fmla="*/ 3781 w 18327"/>
                  <a:gd name="connsiteY4" fmla="*/ 1661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3781" y="16618"/>
                    </a:moveTo>
                    <a:cubicBezTo>
                      <a:pt x="-286" y="13627"/>
                      <a:pt x="-1243" y="7826"/>
                      <a:pt x="1747" y="3759"/>
                    </a:cubicBezTo>
                    <a:cubicBezTo>
                      <a:pt x="4738" y="-367"/>
                      <a:pt x="10479" y="-1205"/>
                      <a:pt x="14546" y="1786"/>
                    </a:cubicBezTo>
                    <a:cubicBezTo>
                      <a:pt x="18613" y="4776"/>
                      <a:pt x="19570" y="10577"/>
                      <a:pt x="16580" y="14644"/>
                    </a:cubicBezTo>
                    <a:cubicBezTo>
                      <a:pt x="13649" y="18771"/>
                      <a:pt x="7908" y="19668"/>
                      <a:pt x="3781" y="16618"/>
                    </a:cubicBezTo>
                    <a:close/>
                  </a:path>
                </a:pathLst>
              </a:custGeom>
              <a:grpFill/>
              <a:ln w="5978" cap="flat">
                <a:noFill/>
                <a:prstDash val="solid"/>
                <a:miter/>
              </a:ln>
            </p:spPr>
            <p:txBody>
              <a:bodyPr rtlCol="0" anchor="ctr"/>
              <a:lstStyle/>
              <a:p>
                <a:endParaRPr lang="en-GB"/>
              </a:p>
            </p:txBody>
          </p:sp>
          <p:sp>
            <p:nvSpPr>
              <p:cNvPr id="2557" name="Vrije vorm: vorm 2556">
                <a:extLst>
                  <a:ext uri="{FF2B5EF4-FFF2-40B4-BE49-F238E27FC236}">
                    <a16:creationId xmlns:a16="http://schemas.microsoft.com/office/drawing/2014/main" id="{6DC6C6DA-A001-40D4-8AA0-C74073CA03F7}"/>
                  </a:ext>
                </a:extLst>
              </p:cNvPr>
              <p:cNvSpPr/>
              <p:nvPr/>
            </p:nvSpPr>
            <p:spPr>
              <a:xfrm>
                <a:off x="4517587" y="2284941"/>
                <a:ext cx="18361" cy="18368"/>
              </a:xfrm>
              <a:custGeom>
                <a:avLst/>
                <a:gdLst>
                  <a:gd name="connsiteX0" fmla="*/ 3798 w 18361"/>
                  <a:gd name="connsiteY0" fmla="*/ 16600 h 18368"/>
                  <a:gd name="connsiteX1" fmla="*/ 16597 w 18361"/>
                  <a:gd name="connsiteY1" fmla="*/ 14627 h 18368"/>
                  <a:gd name="connsiteX2" fmla="*/ 14564 w 18361"/>
                  <a:gd name="connsiteY2" fmla="*/ 1768 h 18368"/>
                  <a:gd name="connsiteX3" fmla="*/ 1765 w 18361"/>
                  <a:gd name="connsiteY3" fmla="*/ 3742 h 18368"/>
                  <a:gd name="connsiteX4" fmla="*/ 3798 w 18361"/>
                  <a:gd name="connsiteY4" fmla="*/ 16600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368">
                    <a:moveTo>
                      <a:pt x="3798" y="16600"/>
                    </a:moveTo>
                    <a:cubicBezTo>
                      <a:pt x="7865" y="19591"/>
                      <a:pt x="13606" y="18694"/>
                      <a:pt x="16597" y="14627"/>
                    </a:cubicBezTo>
                    <a:cubicBezTo>
                      <a:pt x="19587" y="10500"/>
                      <a:pt x="18690" y="4759"/>
                      <a:pt x="14564" y="1768"/>
                    </a:cubicBezTo>
                    <a:cubicBezTo>
                      <a:pt x="10496" y="-1222"/>
                      <a:pt x="4755" y="-325"/>
                      <a:pt x="1765" y="3742"/>
                    </a:cubicBezTo>
                    <a:cubicBezTo>
                      <a:pt x="-1226" y="7809"/>
                      <a:pt x="-329" y="13550"/>
                      <a:pt x="3798" y="16600"/>
                    </a:cubicBezTo>
                    <a:close/>
                  </a:path>
                </a:pathLst>
              </a:custGeom>
              <a:grpFill/>
              <a:ln w="5978" cap="flat">
                <a:noFill/>
                <a:prstDash val="solid"/>
                <a:miter/>
              </a:ln>
            </p:spPr>
            <p:txBody>
              <a:bodyPr rtlCol="0" anchor="ctr"/>
              <a:lstStyle/>
              <a:p>
                <a:endParaRPr lang="en-GB"/>
              </a:p>
            </p:txBody>
          </p:sp>
        </p:grpSp>
        <p:grpSp>
          <p:nvGrpSpPr>
            <p:cNvPr id="949" name="Graphic 3">
              <a:extLst>
                <a:ext uri="{FF2B5EF4-FFF2-40B4-BE49-F238E27FC236}">
                  <a16:creationId xmlns:a16="http://schemas.microsoft.com/office/drawing/2014/main" id="{0F714CDC-8E64-49D4-B626-335E3F5A31EB}"/>
                </a:ext>
              </a:extLst>
            </p:cNvPr>
            <p:cNvGrpSpPr/>
            <p:nvPr/>
          </p:nvGrpSpPr>
          <p:grpSpPr>
            <a:xfrm>
              <a:off x="4358488" y="2068562"/>
              <a:ext cx="166467" cy="136002"/>
              <a:chOff x="4358488" y="2068562"/>
              <a:chExt cx="166467" cy="136002"/>
            </a:xfrm>
            <a:grpFill/>
          </p:grpSpPr>
          <p:sp>
            <p:nvSpPr>
              <p:cNvPr id="2552" name="Vrije vorm: vorm 2551">
                <a:extLst>
                  <a:ext uri="{FF2B5EF4-FFF2-40B4-BE49-F238E27FC236}">
                    <a16:creationId xmlns:a16="http://schemas.microsoft.com/office/drawing/2014/main" id="{2E4E9FAE-1FCA-4AAC-92E7-F77FD888B287}"/>
                  </a:ext>
                </a:extLst>
              </p:cNvPr>
              <p:cNvSpPr/>
              <p:nvPr/>
            </p:nvSpPr>
            <p:spPr>
              <a:xfrm>
                <a:off x="4366365" y="2076307"/>
                <a:ext cx="150714" cy="120511"/>
              </a:xfrm>
              <a:custGeom>
                <a:avLst/>
                <a:gdLst>
                  <a:gd name="connsiteX0" fmla="*/ 150714 w 150714"/>
                  <a:gd name="connsiteY0" fmla="*/ 118119 h 120511"/>
                  <a:gd name="connsiteX1" fmla="*/ 148860 w 150714"/>
                  <a:gd name="connsiteY1" fmla="*/ 120511 h 120511"/>
                  <a:gd name="connsiteX2" fmla="*/ 0 w 150714"/>
                  <a:gd name="connsiteY2" fmla="*/ 2392 h 120511"/>
                  <a:gd name="connsiteX3" fmla="*/ 1914 w 150714"/>
                  <a:gd name="connsiteY3" fmla="*/ 0 h 120511"/>
                </a:gdLst>
                <a:ahLst/>
                <a:cxnLst>
                  <a:cxn ang="0">
                    <a:pos x="connsiteX0" y="connsiteY0"/>
                  </a:cxn>
                  <a:cxn ang="0">
                    <a:pos x="connsiteX1" y="connsiteY1"/>
                  </a:cxn>
                  <a:cxn ang="0">
                    <a:pos x="connsiteX2" y="connsiteY2"/>
                  </a:cxn>
                  <a:cxn ang="0">
                    <a:pos x="connsiteX3" y="connsiteY3"/>
                  </a:cxn>
                </a:cxnLst>
                <a:rect l="l" t="t" r="r" b="b"/>
                <a:pathLst>
                  <a:path w="150714" h="120511">
                    <a:moveTo>
                      <a:pt x="150714" y="118119"/>
                    </a:moveTo>
                    <a:lnTo>
                      <a:pt x="148860" y="120511"/>
                    </a:lnTo>
                    <a:lnTo>
                      <a:pt x="0" y="2392"/>
                    </a:lnTo>
                    <a:lnTo>
                      <a:pt x="1914" y="0"/>
                    </a:lnTo>
                    <a:close/>
                  </a:path>
                </a:pathLst>
              </a:custGeom>
              <a:grpFill/>
              <a:ln w="5978" cap="flat">
                <a:noFill/>
                <a:prstDash val="solid"/>
                <a:miter/>
              </a:ln>
            </p:spPr>
            <p:txBody>
              <a:bodyPr rtlCol="0" anchor="ctr"/>
              <a:lstStyle/>
              <a:p>
                <a:endParaRPr lang="en-GB"/>
              </a:p>
            </p:txBody>
          </p:sp>
          <p:sp>
            <p:nvSpPr>
              <p:cNvPr id="2553" name="Vrije vorm: vorm 2552">
                <a:extLst>
                  <a:ext uri="{FF2B5EF4-FFF2-40B4-BE49-F238E27FC236}">
                    <a16:creationId xmlns:a16="http://schemas.microsoft.com/office/drawing/2014/main" id="{504442E7-8CAF-4C47-AC48-D78F1CEF8774}"/>
                  </a:ext>
                </a:extLst>
              </p:cNvPr>
              <p:cNvSpPr/>
              <p:nvPr/>
            </p:nvSpPr>
            <p:spPr>
              <a:xfrm>
                <a:off x="4358488" y="2068562"/>
                <a:ext cx="18325" cy="18421"/>
              </a:xfrm>
              <a:custGeom>
                <a:avLst/>
                <a:gdLst>
                  <a:gd name="connsiteX0" fmla="*/ 3511 w 18325"/>
                  <a:gd name="connsiteY0" fmla="*/ 16418 h 18421"/>
                  <a:gd name="connsiteX1" fmla="*/ 1956 w 18325"/>
                  <a:gd name="connsiteY1" fmla="*/ 3499 h 18421"/>
                  <a:gd name="connsiteX2" fmla="*/ 14815 w 18325"/>
                  <a:gd name="connsiteY2" fmla="*/ 2004 h 18421"/>
                  <a:gd name="connsiteX3" fmla="*/ 16369 w 18325"/>
                  <a:gd name="connsiteY3" fmla="*/ 14922 h 18421"/>
                  <a:gd name="connsiteX4" fmla="*/ 3511 w 18325"/>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1">
                    <a:moveTo>
                      <a:pt x="3511" y="16418"/>
                    </a:moveTo>
                    <a:cubicBezTo>
                      <a:pt x="-496" y="13248"/>
                      <a:pt x="-1154" y="7447"/>
                      <a:pt x="1956" y="3499"/>
                    </a:cubicBezTo>
                    <a:cubicBezTo>
                      <a:pt x="5066" y="-508"/>
                      <a:pt x="10867" y="-1166"/>
                      <a:pt x="14815" y="2004"/>
                    </a:cubicBezTo>
                    <a:cubicBezTo>
                      <a:pt x="18822" y="5174"/>
                      <a:pt x="19479" y="10975"/>
                      <a:pt x="16369" y="14922"/>
                    </a:cubicBezTo>
                    <a:cubicBezTo>
                      <a:pt x="13259" y="18930"/>
                      <a:pt x="7518" y="19587"/>
                      <a:pt x="3511" y="16418"/>
                    </a:cubicBezTo>
                    <a:close/>
                  </a:path>
                </a:pathLst>
              </a:custGeom>
              <a:grpFill/>
              <a:ln w="5978" cap="flat">
                <a:noFill/>
                <a:prstDash val="solid"/>
                <a:miter/>
              </a:ln>
            </p:spPr>
            <p:txBody>
              <a:bodyPr rtlCol="0" anchor="ctr"/>
              <a:lstStyle/>
              <a:p>
                <a:endParaRPr lang="en-GB"/>
              </a:p>
            </p:txBody>
          </p:sp>
          <p:sp>
            <p:nvSpPr>
              <p:cNvPr id="2554" name="Vrije vorm: vorm 2553">
                <a:extLst>
                  <a:ext uri="{FF2B5EF4-FFF2-40B4-BE49-F238E27FC236}">
                    <a16:creationId xmlns:a16="http://schemas.microsoft.com/office/drawing/2014/main" id="{057D76B6-5550-4157-8D13-E91435468F6D}"/>
                  </a:ext>
                </a:extLst>
              </p:cNvPr>
              <p:cNvSpPr/>
              <p:nvPr/>
            </p:nvSpPr>
            <p:spPr>
              <a:xfrm>
                <a:off x="4506649" y="2186143"/>
                <a:ext cx="18306" cy="18421"/>
              </a:xfrm>
              <a:custGeom>
                <a:avLst/>
                <a:gdLst>
                  <a:gd name="connsiteX0" fmla="*/ 3492 w 18306"/>
                  <a:gd name="connsiteY0" fmla="*/ 16418 h 18421"/>
                  <a:gd name="connsiteX1" fmla="*/ 16351 w 18306"/>
                  <a:gd name="connsiteY1" fmla="*/ 14922 h 18421"/>
                  <a:gd name="connsiteX2" fmla="*/ 14796 w 18306"/>
                  <a:gd name="connsiteY2" fmla="*/ 2004 h 18421"/>
                  <a:gd name="connsiteX3" fmla="*/ 1937 w 18306"/>
                  <a:gd name="connsiteY3" fmla="*/ 3499 h 18421"/>
                  <a:gd name="connsiteX4" fmla="*/ 3492 w 18306"/>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1">
                    <a:moveTo>
                      <a:pt x="3492" y="16418"/>
                    </a:moveTo>
                    <a:cubicBezTo>
                      <a:pt x="7499" y="19587"/>
                      <a:pt x="13241" y="18930"/>
                      <a:pt x="16351" y="14922"/>
                    </a:cubicBezTo>
                    <a:cubicBezTo>
                      <a:pt x="19461" y="10915"/>
                      <a:pt x="18803" y="5114"/>
                      <a:pt x="14796" y="2004"/>
                    </a:cubicBezTo>
                    <a:cubicBezTo>
                      <a:pt x="10789" y="-1166"/>
                      <a:pt x="5047" y="-508"/>
                      <a:pt x="1937" y="3499"/>
                    </a:cubicBezTo>
                    <a:cubicBezTo>
                      <a:pt x="-1173" y="7447"/>
                      <a:pt x="-455" y="13248"/>
                      <a:pt x="3492" y="16418"/>
                    </a:cubicBezTo>
                    <a:close/>
                  </a:path>
                </a:pathLst>
              </a:custGeom>
              <a:grpFill/>
              <a:ln w="5978" cap="flat">
                <a:noFill/>
                <a:prstDash val="solid"/>
                <a:miter/>
              </a:ln>
            </p:spPr>
            <p:txBody>
              <a:bodyPr rtlCol="0" anchor="ctr"/>
              <a:lstStyle/>
              <a:p>
                <a:endParaRPr lang="en-GB"/>
              </a:p>
            </p:txBody>
          </p:sp>
        </p:grpSp>
        <p:grpSp>
          <p:nvGrpSpPr>
            <p:cNvPr id="950" name="Graphic 3">
              <a:extLst>
                <a:ext uri="{FF2B5EF4-FFF2-40B4-BE49-F238E27FC236}">
                  <a16:creationId xmlns:a16="http://schemas.microsoft.com/office/drawing/2014/main" id="{8F649D11-56A6-4931-B650-58792D98A860}"/>
                </a:ext>
              </a:extLst>
            </p:cNvPr>
            <p:cNvGrpSpPr/>
            <p:nvPr/>
          </p:nvGrpSpPr>
          <p:grpSpPr>
            <a:xfrm>
              <a:off x="5489315" y="5270116"/>
              <a:ext cx="43699" cy="107207"/>
              <a:chOff x="5489315" y="5270116"/>
              <a:chExt cx="43699" cy="107207"/>
            </a:xfrm>
            <a:grpFill/>
          </p:grpSpPr>
          <p:sp>
            <p:nvSpPr>
              <p:cNvPr id="2549" name="Vrije vorm: vorm 2548">
                <a:extLst>
                  <a:ext uri="{FF2B5EF4-FFF2-40B4-BE49-F238E27FC236}">
                    <a16:creationId xmlns:a16="http://schemas.microsoft.com/office/drawing/2014/main" id="{2ADD9921-D71F-4501-A33F-AE6CF7597A1E}"/>
                  </a:ext>
                </a:extLst>
              </p:cNvPr>
              <p:cNvSpPr/>
              <p:nvPr/>
            </p:nvSpPr>
            <p:spPr>
              <a:xfrm>
                <a:off x="5496901" y="5278445"/>
                <a:ext cx="28527" cy="90548"/>
              </a:xfrm>
              <a:custGeom>
                <a:avLst/>
                <a:gdLst>
                  <a:gd name="connsiteX0" fmla="*/ 28528 w 28527"/>
                  <a:gd name="connsiteY0" fmla="*/ 897 h 90548"/>
                  <a:gd name="connsiteX1" fmla="*/ 2930 w 28527"/>
                  <a:gd name="connsiteY1" fmla="*/ 90548 h 90548"/>
                  <a:gd name="connsiteX2" fmla="*/ 0 w 28527"/>
                  <a:gd name="connsiteY2" fmla="*/ 89711 h 90548"/>
                  <a:gd name="connsiteX3" fmla="*/ 25597 w 28527"/>
                  <a:gd name="connsiteY3" fmla="*/ 0 h 90548"/>
                </a:gdLst>
                <a:ahLst/>
                <a:cxnLst>
                  <a:cxn ang="0">
                    <a:pos x="connsiteX0" y="connsiteY0"/>
                  </a:cxn>
                  <a:cxn ang="0">
                    <a:pos x="connsiteX1" y="connsiteY1"/>
                  </a:cxn>
                  <a:cxn ang="0">
                    <a:pos x="connsiteX2" y="connsiteY2"/>
                  </a:cxn>
                  <a:cxn ang="0">
                    <a:pos x="connsiteX3" y="connsiteY3"/>
                  </a:cxn>
                </a:cxnLst>
                <a:rect l="l" t="t" r="r" b="b"/>
                <a:pathLst>
                  <a:path w="28527" h="90548">
                    <a:moveTo>
                      <a:pt x="28528" y="897"/>
                    </a:moveTo>
                    <a:lnTo>
                      <a:pt x="2930" y="90548"/>
                    </a:lnTo>
                    <a:lnTo>
                      <a:pt x="0" y="89711"/>
                    </a:lnTo>
                    <a:lnTo>
                      <a:pt x="25597" y="0"/>
                    </a:lnTo>
                    <a:close/>
                  </a:path>
                </a:pathLst>
              </a:custGeom>
              <a:grpFill/>
              <a:ln w="5978" cap="flat">
                <a:noFill/>
                <a:prstDash val="solid"/>
                <a:miter/>
              </a:ln>
            </p:spPr>
            <p:txBody>
              <a:bodyPr rtlCol="0" anchor="ctr"/>
              <a:lstStyle/>
              <a:p>
                <a:endParaRPr lang="en-GB"/>
              </a:p>
            </p:txBody>
          </p:sp>
          <p:sp>
            <p:nvSpPr>
              <p:cNvPr id="2550" name="Vrije vorm: vorm 2549">
                <a:extLst>
                  <a:ext uri="{FF2B5EF4-FFF2-40B4-BE49-F238E27FC236}">
                    <a16:creationId xmlns:a16="http://schemas.microsoft.com/office/drawing/2014/main" id="{33D2C833-7AA9-47D6-B947-62ABBE0F9B0A}"/>
                  </a:ext>
                </a:extLst>
              </p:cNvPr>
              <p:cNvSpPr/>
              <p:nvPr/>
            </p:nvSpPr>
            <p:spPr>
              <a:xfrm>
                <a:off x="5489315" y="5358870"/>
                <a:ext cx="18362" cy="18453"/>
              </a:xfrm>
              <a:custGeom>
                <a:avLst/>
                <a:gdLst>
                  <a:gd name="connsiteX0" fmla="*/ 17992 w 18362"/>
                  <a:gd name="connsiteY0" fmla="*/ 11798 h 18453"/>
                  <a:gd name="connsiteX1" fmla="*/ 6629 w 18362"/>
                  <a:gd name="connsiteY1" fmla="*/ 18078 h 18453"/>
                  <a:gd name="connsiteX2" fmla="*/ 349 w 18362"/>
                  <a:gd name="connsiteY2" fmla="*/ 6655 h 18453"/>
                  <a:gd name="connsiteX3" fmla="*/ 11713 w 18362"/>
                  <a:gd name="connsiteY3" fmla="*/ 375 h 18453"/>
                  <a:gd name="connsiteX4" fmla="*/ 17992 w 18362"/>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53">
                    <a:moveTo>
                      <a:pt x="17992" y="11798"/>
                    </a:moveTo>
                    <a:cubicBezTo>
                      <a:pt x="16617" y="16702"/>
                      <a:pt x="11533" y="19513"/>
                      <a:pt x="6629" y="18078"/>
                    </a:cubicBezTo>
                    <a:cubicBezTo>
                      <a:pt x="1784" y="16642"/>
                      <a:pt x="-1026" y="11559"/>
                      <a:pt x="349" y="6655"/>
                    </a:cubicBezTo>
                    <a:cubicBezTo>
                      <a:pt x="1725" y="1750"/>
                      <a:pt x="6808" y="-1060"/>
                      <a:pt x="11713" y="375"/>
                    </a:cubicBezTo>
                    <a:cubicBezTo>
                      <a:pt x="16557" y="1810"/>
                      <a:pt x="19428" y="6954"/>
                      <a:pt x="17992" y="11798"/>
                    </a:cubicBezTo>
                    <a:close/>
                  </a:path>
                </a:pathLst>
              </a:custGeom>
              <a:grpFill/>
              <a:ln w="5978" cap="flat">
                <a:noFill/>
                <a:prstDash val="solid"/>
                <a:miter/>
              </a:ln>
            </p:spPr>
            <p:txBody>
              <a:bodyPr rtlCol="0" anchor="ctr"/>
              <a:lstStyle/>
              <a:p>
                <a:endParaRPr lang="en-GB"/>
              </a:p>
            </p:txBody>
          </p:sp>
          <p:sp>
            <p:nvSpPr>
              <p:cNvPr id="2551" name="Vrije vorm: vorm 2550">
                <a:extLst>
                  <a:ext uri="{FF2B5EF4-FFF2-40B4-BE49-F238E27FC236}">
                    <a16:creationId xmlns:a16="http://schemas.microsoft.com/office/drawing/2014/main" id="{608AB31B-92E5-4A8E-A0CE-5BFBB39D14B5}"/>
                  </a:ext>
                </a:extLst>
              </p:cNvPr>
              <p:cNvSpPr/>
              <p:nvPr/>
            </p:nvSpPr>
            <p:spPr>
              <a:xfrm>
                <a:off x="5514733" y="5270116"/>
                <a:ext cx="18281" cy="18453"/>
              </a:xfrm>
              <a:custGeom>
                <a:avLst/>
                <a:gdLst>
                  <a:gd name="connsiteX0" fmla="*/ 17932 w 18281"/>
                  <a:gd name="connsiteY0" fmla="*/ 11798 h 18453"/>
                  <a:gd name="connsiteX1" fmla="*/ 11653 w 18281"/>
                  <a:gd name="connsiteY1" fmla="*/ 375 h 18453"/>
                  <a:gd name="connsiteX2" fmla="*/ 349 w 18281"/>
                  <a:gd name="connsiteY2" fmla="*/ 6655 h 18453"/>
                  <a:gd name="connsiteX3" fmla="*/ 6629 w 18281"/>
                  <a:gd name="connsiteY3" fmla="*/ 18078 h 18453"/>
                  <a:gd name="connsiteX4" fmla="*/ 17932 w 18281"/>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3">
                    <a:moveTo>
                      <a:pt x="17932" y="11798"/>
                    </a:moveTo>
                    <a:cubicBezTo>
                      <a:pt x="19308" y="6894"/>
                      <a:pt x="16497" y="1811"/>
                      <a:pt x="11653" y="375"/>
                    </a:cubicBezTo>
                    <a:cubicBezTo>
                      <a:pt x="6808" y="-1060"/>
                      <a:pt x="1725" y="1751"/>
                      <a:pt x="349" y="6655"/>
                    </a:cubicBezTo>
                    <a:cubicBezTo>
                      <a:pt x="-1026" y="11559"/>
                      <a:pt x="1784" y="16643"/>
                      <a:pt x="6629" y="18078"/>
                    </a:cubicBezTo>
                    <a:cubicBezTo>
                      <a:pt x="11413" y="19513"/>
                      <a:pt x="16497" y="16703"/>
                      <a:pt x="17932" y="11798"/>
                    </a:cubicBezTo>
                    <a:close/>
                  </a:path>
                </a:pathLst>
              </a:custGeom>
              <a:grpFill/>
              <a:ln w="5978" cap="flat">
                <a:noFill/>
                <a:prstDash val="solid"/>
                <a:miter/>
              </a:ln>
            </p:spPr>
            <p:txBody>
              <a:bodyPr rtlCol="0" anchor="ctr"/>
              <a:lstStyle/>
              <a:p>
                <a:endParaRPr lang="en-GB"/>
              </a:p>
            </p:txBody>
          </p:sp>
        </p:grpSp>
        <p:grpSp>
          <p:nvGrpSpPr>
            <p:cNvPr id="951" name="Graphic 3">
              <a:extLst>
                <a:ext uri="{FF2B5EF4-FFF2-40B4-BE49-F238E27FC236}">
                  <a16:creationId xmlns:a16="http://schemas.microsoft.com/office/drawing/2014/main" id="{FB37969C-43CF-44A9-89DD-0D85A33F7AE8}"/>
                </a:ext>
              </a:extLst>
            </p:cNvPr>
            <p:cNvGrpSpPr/>
            <p:nvPr/>
          </p:nvGrpSpPr>
          <p:grpSpPr>
            <a:xfrm>
              <a:off x="5433598" y="5106147"/>
              <a:ext cx="111855" cy="324464"/>
              <a:chOff x="5433598" y="5106147"/>
              <a:chExt cx="111855" cy="324464"/>
            </a:xfrm>
            <a:grpFill/>
          </p:grpSpPr>
          <p:sp>
            <p:nvSpPr>
              <p:cNvPr id="2546" name="Vrije vorm: vorm 2545">
                <a:extLst>
                  <a:ext uri="{FF2B5EF4-FFF2-40B4-BE49-F238E27FC236}">
                    <a16:creationId xmlns:a16="http://schemas.microsoft.com/office/drawing/2014/main" id="{6A067813-A269-4354-B279-10FB65614E37}"/>
                  </a:ext>
                </a:extLst>
              </p:cNvPr>
              <p:cNvSpPr/>
              <p:nvPr/>
            </p:nvSpPr>
            <p:spPr>
              <a:xfrm>
                <a:off x="5441161" y="5114454"/>
                <a:ext cx="96708" cy="307827"/>
              </a:xfrm>
              <a:custGeom>
                <a:avLst/>
                <a:gdLst>
                  <a:gd name="connsiteX0" fmla="*/ 96708 w 96708"/>
                  <a:gd name="connsiteY0" fmla="*/ 957 h 307827"/>
                  <a:gd name="connsiteX1" fmla="*/ 2930 w 96708"/>
                  <a:gd name="connsiteY1" fmla="*/ 307828 h 307827"/>
                  <a:gd name="connsiteX2" fmla="*/ 0 w 96708"/>
                  <a:gd name="connsiteY2" fmla="*/ 306931 h 307827"/>
                  <a:gd name="connsiteX3" fmla="*/ 93778 w 96708"/>
                  <a:gd name="connsiteY3" fmla="*/ 0 h 307827"/>
                </a:gdLst>
                <a:ahLst/>
                <a:cxnLst>
                  <a:cxn ang="0">
                    <a:pos x="connsiteX0" y="connsiteY0"/>
                  </a:cxn>
                  <a:cxn ang="0">
                    <a:pos x="connsiteX1" y="connsiteY1"/>
                  </a:cxn>
                  <a:cxn ang="0">
                    <a:pos x="connsiteX2" y="connsiteY2"/>
                  </a:cxn>
                  <a:cxn ang="0">
                    <a:pos x="connsiteX3" y="connsiteY3"/>
                  </a:cxn>
                </a:cxnLst>
                <a:rect l="l" t="t" r="r" b="b"/>
                <a:pathLst>
                  <a:path w="96708" h="307827">
                    <a:moveTo>
                      <a:pt x="96708" y="957"/>
                    </a:moveTo>
                    <a:lnTo>
                      <a:pt x="2930" y="307828"/>
                    </a:lnTo>
                    <a:lnTo>
                      <a:pt x="0" y="306931"/>
                    </a:lnTo>
                    <a:lnTo>
                      <a:pt x="93778" y="0"/>
                    </a:lnTo>
                    <a:close/>
                  </a:path>
                </a:pathLst>
              </a:custGeom>
              <a:grpFill/>
              <a:ln w="5978" cap="flat">
                <a:noFill/>
                <a:prstDash val="solid"/>
                <a:miter/>
              </a:ln>
            </p:spPr>
            <p:txBody>
              <a:bodyPr rtlCol="0" anchor="ctr"/>
              <a:lstStyle/>
              <a:p>
                <a:endParaRPr lang="en-GB"/>
              </a:p>
            </p:txBody>
          </p:sp>
          <p:sp>
            <p:nvSpPr>
              <p:cNvPr id="2547" name="Vrije vorm: vorm 2546">
                <a:extLst>
                  <a:ext uri="{FF2B5EF4-FFF2-40B4-BE49-F238E27FC236}">
                    <a16:creationId xmlns:a16="http://schemas.microsoft.com/office/drawing/2014/main" id="{F932B3A6-69D5-4E33-9061-BF07A662266F}"/>
                  </a:ext>
                </a:extLst>
              </p:cNvPr>
              <p:cNvSpPr/>
              <p:nvPr/>
            </p:nvSpPr>
            <p:spPr>
              <a:xfrm>
                <a:off x="5433598" y="5412158"/>
                <a:ext cx="18321" cy="18453"/>
              </a:xfrm>
              <a:custGeom>
                <a:avLst/>
                <a:gdLst>
                  <a:gd name="connsiteX0" fmla="*/ 17909 w 18321"/>
                  <a:gd name="connsiteY0" fmla="*/ 11978 h 18453"/>
                  <a:gd name="connsiteX1" fmla="*/ 6486 w 18321"/>
                  <a:gd name="connsiteY1" fmla="*/ 18019 h 18453"/>
                  <a:gd name="connsiteX2" fmla="*/ 386 w 18321"/>
                  <a:gd name="connsiteY2" fmla="*/ 6476 h 18453"/>
                  <a:gd name="connsiteX3" fmla="*/ 11809 w 18321"/>
                  <a:gd name="connsiteY3" fmla="*/ 435 h 18453"/>
                  <a:gd name="connsiteX4" fmla="*/ 17909 w 18321"/>
                  <a:gd name="connsiteY4" fmla="*/ 1197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53">
                    <a:moveTo>
                      <a:pt x="17909" y="11978"/>
                    </a:moveTo>
                    <a:cubicBezTo>
                      <a:pt x="16414" y="16822"/>
                      <a:pt x="11270" y="19574"/>
                      <a:pt x="6486" y="18019"/>
                    </a:cubicBezTo>
                    <a:cubicBezTo>
                      <a:pt x="1642" y="16523"/>
                      <a:pt x="-1050" y="11320"/>
                      <a:pt x="386" y="6476"/>
                    </a:cubicBezTo>
                    <a:cubicBezTo>
                      <a:pt x="1881" y="1631"/>
                      <a:pt x="7024" y="-1120"/>
                      <a:pt x="11809" y="435"/>
                    </a:cubicBezTo>
                    <a:cubicBezTo>
                      <a:pt x="16713" y="1930"/>
                      <a:pt x="19404" y="7134"/>
                      <a:pt x="17909" y="11978"/>
                    </a:cubicBezTo>
                    <a:close/>
                  </a:path>
                </a:pathLst>
              </a:custGeom>
              <a:grpFill/>
              <a:ln w="5978" cap="flat">
                <a:noFill/>
                <a:prstDash val="solid"/>
                <a:miter/>
              </a:ln>
            </p:spPr>
            <p:txBody>
              <a:bodyPr rtlCol="0" anchor="ctr"/>
              <a:lstStyle/>
              <a:p>
                <a:endParaRPr lang="en-GB"/>
              </a:p>
            </p:txBody>
          </p:sp>
          <p:sp>
            <p:nvSpPr>
              <p:cNvPr id="2548" name="Vrije vorm: vorm 2547">
                <a:extLst>
                  <a:ext uri="{FF2B5EF4-FFF2-40B4-BE49-F238E27FC236}">
                    <a16:creationId xmlns:a16="http://schemas.microsoft.com/office/drawing/2014/main" id="{A276A4C2-8220-431E-BA06-68AA30BEEB4E}"/>
                  </a:ext>
                </a:extLst>
              </p:cNvPr>
              <p:cNvSpPr/>
              <p:nvPr/>
            </p:nvSpPr>
            <p:spPr>
              <a:xfrm>
                <a:off x="5527115" y="5106147"/>
                <a:ext cx="18338" cy="18431"/>
              </a:xfrm>
              <a:custGeom>
                <a:avLst/>
                <a:gdLst>
                  <a:gd name="connsiteX0" fmla="*/ 17931 w 18338"/>
                  <a:gd name="connsiteY0" fmla="*/ 11956 h 18431"/>
                  <a:gd name="connsiteX1" fmla="*/ 11831 w 18338"/>
                  <a:gd name="connsiteY1" fmla="*/ 413 h 18431"/>
                  <a:gd name="connsiteX2" fmla="*/ 407 w 18338"/>
                  <a:gd name="connsiteY2" fmla="*/ 6453 h 18431"/>
                  <a:gd name="connsiteX3" fmla="*/ 6508 w 18338"/>
                  <a:gd name="connsiteY3" fmla="*/ 17996 h 18431"/>
                  <a:gd name="connsiteX4" fmla="*/ 17931 w 18338"/>
                  <a:gd name="connsiteY4" fmla="*/ 11956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1">
                    <a:moveTo>
                      <a:pt x="17931" y="11956"/>
                    </a:moveTo>
                    <a:cubicBezTo>
                      <a:pt x="19426" y="7111"/>
                      <a:pt x="16675" y="1908"/>
                      <a:pt x="11831" y="413"/>
                    </a:cubicBezTo>
                    <a:cubicBezTo>
                      <a:pt x="6986" y="-1082"/>
                      <a:pt x="1843" y="1609"/>
                      <a:pt x="407" y="6453"/>
                    </a:cubicBezTo>
                    <a:cubicBezTo>
                      <a:pt x="-1088" y="11298"/>
                      <a:pt x="1663" y="16501"/>
                      <a:pt x="6508" y="17996"/>
                    </a:cubicBezTo>
                    <a:cubicBezTo>
                      <a:pt x="11292" y="19551"/>
                      <a:pt x="16436" y="16800"/>
                      <a:pt x="17931" y="11956"/>
                    </a:cubicBezTo>
                    <a:close/>
                  </a:path>
                </a:pathLst>
              </a:custGeom>
              <a:grpFill/>
              <a:ln w="5978" cap="flat">
                <a:noFill/>
                <a:prstDash val="solid"/>
                <a:miter/>
              </a:ln>
            </p:spPr>
            <p:txBody>
              <a:bodyPr rtlCol="0" anchor="ctr"/>
              <a:lstStyle/>
              <a:p>
                <a:endParaRPr lang="en-GB"/>
              </a:p>
            </p:txBody>
          </p:sp>
        </p:grpSp>
        <p:grpSp>
          <p:nvGrpSpPr>
            <p:cNvPr id="952" name="Graphic 3">
              <a:extLst>
                <a:ext uri="{FF2B5EF4-FFF2-40B4-BE49-F238E27FC236}">
                  <a16:creationId xmlns:a16="http://schemas.microsoft.com/office/drawing/2014/main" id="{E43DC0F6-A633-45BF-B8E2-232669A2A09A}"/>
                </a:ext>
              </a:extLst>
            </p:cNvPr>
            <p:cNvGrpSpPr/>
            <p:nvPr/>
          </p:nvGrpSpPr>
          <p:grpSpPr>
            <a:xfrm>
              <a:off x="4344531" y="2108312"/>
              <a:ext cx="191750" cy="150878"/>
              <a:chOff x="4344531" y="2108312"/>
              <a:chExt cx="191750" cy="150878"/>
            </a:xfrm>
            <a:grpFill/>
          </p:grpSpPr>
          <p:sp>
            <p:nvSpPr>
              <p:cNvPr id="2543" name="Vrije vorm: vorm 2542">
                <a:extLst>
                  <a:ext uri="{FF2B5EF4-FFF2-40B4-BE49-F238E27FC236}">
                    <a16:creationId xmlns:a16="http://schemas.microsoft.com/office/drawing/2014/main" id="{B45F7362-8D20-4FE7-BC3F-AFF91010394B}"/>
                  </a:ext>
                </a:extLst>
              </p:cNvPr>
              <p:cNvSpPr/>
              <p:nvPr/>
            </p:nvSpPr>
            <p:spPr>
              <a:xfrm>
                <a:off x="4352430" y="2116019"/>
                <a:ext cx="175953" cy="135463"/>
              </a:xfrm>
              <a:custGeom>
                <a:avLst/>
                <a:gdLst>
                  <a:gd name="connsiteX0" fmla="*/ 175953 w 175953"/>
                  <a:gd name="connsiteY0" fmla="*/ 133011 h 135463"/>
                  <a:gd name="connsiteX1" fmla="*/ 174099 w 175953"/>
                  <a:gd name="connsiteY1" fmla="*/ 135463 h 135463"/>
                  <a:gd name="connsiteX2" fmla="*/ 0 w 175953"/>
                  <a:gd name="connsiteY2" fmla="*/ 2452 h 135463"/>
                  <a:gd name="connsiteX3" fmla="*/ 1795 w 175953"/>
                  <a:gd name="connsiteY3" fmla="*/ 0 h 135463"/>
                </a:gdLst>
                <a:ahLst/>
                <a:cxnLst>
                  <a:cxn ang="0">
                    <a:pos x="connsiteX0" y="connsiteY0"/>
                  </a:cxn>
                  <a:cxn ang="0">
                    <a:pos x="connsiteX1" y="connsiteY1"/>
                  </a:cxn>
                  <a:cxn ang="0">
                    <a:pos x="connsiteX2" y="connsiteY2"/>
                  </a:cxn>
                  <a:cxn ang="0">
                    <a:pos x="connsiteX3" y="connsiteY3"/>
                  </a:cxn>
                </a:cxnLst>
                <a:rect l="l" t="t" r="r" b="b"/>
                <a:pathLst>
                  <a:path w="175953" h="135463">
                    <a:moveTo>
                      <a:pt x="175953" y="133011"/>
                    </a:moveTo>
                    <a:lnTo>
                      <a:pt x="174099" y="135463"/>
                    </a:lnTo>
                    <a:lnTo>
                      <a:pt x="0" y="2452"/>
                    </a:lnTo>
                    <a:lnTo>
                      <a:pt x="1795" y="0"/>
                    </a:lnTo>
                    <a:close/>
                  </a:path>
                </a:pathLst>
              </a:custGeom>
              <a:grpFill/>
              <a:ln w="5978" cap="flat">
                <a:noFill/>
                <a:prstDash val="solid"/>
                <a:miter/>
              </a:ln>
            </p:spPr>
            <p:txBody>
              <a:bodyPr rtlCol="0" anchor="ctr"/>
              <a:lstStyle/>
              <a:p>
                <a:endParaRPr lang="en-GB"/>
              </a:p>
            </p:txBody>
          </p:sp>
          <p:sp>
            <p:nvSpPr>
              <p:cNvPr id="2544" name="Vrije vorm: vorm 2543">
                <a:extLst>
                  <a:ext uri="{FF2B5EF4-FFF2-40B4-BE49-F238E27FC236}">
                    <a16:creationId xmlns:a16="http://schemas.microsoft.com/office/drawing/2014/main" id="{0A14C239-5FA2-43B8-A751-38ADCD2B5CF0}"/>
                  </a:ext>
                </a:extLst>
              </p:cNvPr>
              <p:cNvSpPr/>
              <p:nvPr/>
            </p:nvSpPr>
            <p:spPr>
              <a:xfrm>
                <a:off x="4344531" y="2108312"/>
                <a:ext cx="18351" cy="18421"/>
              </a:xfrm>
              <a:custGeom>
                <a:avLst/>
                <a:gdLst>
                  <a:gd name="connsiteX0" fmla="*/ 3653 w 18351"/>
                  <a:gd name="connsiteY0" fmla="*/ 16559 h 18421"/>
                  <a:gd name="connsiteX1" fmla="*/ 1859 w 18351"/>
                  <a:gd name="connsiteY1" fmla="*/ 3641 h 18421"/>
                  <a:gd name="connsiteX2" fmla="*/ 14717 w 18351"/>
                  <a:gd name="connsiteY2" fmla="*/ 1906 h 18421"/>
                  <a:gd name="connsiteX3" fmla="*/ 16511 w 18351"/>
                  <a:gd name="connsiteY3" fmla="*/ 14825 h 18421"/>
                  <a:gd name="connsiteX4" fmla="*/ 3653 w 18351"/>
                  <a:gd name="connsiteY4" fmla="*/ 1655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1">
                    <a:moveTo>
                      <a:pt x="3653" y="16559"/>
                    </a:moveTo>
                    <a:cubicBezTo>
                      <a:pt x="-414" y="13449"/>
                      <a:pt x="-1192" y="7707"/>
                      <a:pt x="1859" y="3641"/>
                    </a:cubicBezTo>
                    <a:cubicBezTo>
                      <a:pt x="4908" y="-426"/>
                      <a:pt x="10650" y="-1204"/>
                      <a:pt x="14717" y="1906"/>
                    </a:cubicBezTo>
                    <a:cubicBezTo>
                      <a:pt x="18724" y="5016"/>
                      <a:pt x="19561" y="10758"/>
                      <a:pt x="16511" y="14825"/>
                    </a:cubicBezTo>
                    <a:cubicBezTo>
                      <a:pt x="13401" y="18832"/>
                      <a:pt x="7660" y="19609"/>
                      <a:pt x="3653" y="16559"/>
                    </a:cubicBezTo>
                    <a:close/>
                  </a:path>
                </a:pathLst>
              </a:custGeom>
              <a:grpFill/>
              <a:ln w="5978" cap="flat">
                <a:noFill/>
                <a:prstDash val="solid"/>
                <a:miter/>
              </a:ln>
            </p:spPr>
            <p:txBody>
              <a:bodyPr rtlCol="0" anchor="ctr"/>
              <a:lstStyle/>
              <a:p>
                <a:endParaRPr lang="en-GB"/>
              </a:p>
            </p:txBody>
          </p:sp>
          <p:sp>
            <p:nvSpPr>
              <p:cNvPr id="2545" name="Vrije vorm: vorm 2544">
                <a:extLst>
                  <a:ext uri="{FF2B5EF4-FFF2-40B4-BE49-F238E27FC236}">
                    <a16:creationId xmlns:a16="http://schemas.microsoft.com/office/drawing/2014/main" id="{7166424C-91FD-41F8-BC60-5F52C55BB68C}"/>
                  </a:ext>
                </a:extLst>
              </p:cNvPr>
              <p:cNvSpPr/>
              <p:nvPr/>
            </p:nvSpPr>
            <p:spPr>
              <a:xfrm>
                <a:off x="4517930" y="2240725"/>
                <a:ext cx="18351" cy="18465"/>
              </a:xfrm>
              <a:custGeom>
                <a:avLst/>
                <a:gdLst>
                  <a:gd name="connsiteX0" fmla="*/ 3635 w 18351"/>
                  <a:gd name="connsiteY0" fmla="*/ 16559 h 18465"/>
                  <a:gd name="connsiteX1" fmla="*/ 16493 w 18351"/>
                  <a:gd name="connsiteY1" fmla="*/ 14825 h 18465"/>
                  <a:gd name="connsiteX2" fmla="*/ 14699 w 18351"/>
                  <a:gd name="connsiteY2" fmla="*/ 1906 h 18465"/>
                  <a:gd name="connsiteX3" fmla="*/ 1841 w 18351"/>
                  <a:gd name="connsiteY3" fmla="*/ 3641 h 18465"/>
                  <a:gd name="connsiteX4" fmla="*/ 3635 w 18351"/>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3635" y="16559"/>
                    </a:moveTo>
                    <a:cubicBezTo>
                      <a:pt x="7642" y="19669"/>
                      <a:pt x="13443" y="18891"/>
                      <a:pt x="16493" y="14825"/>
                    </a:cubicBezTo>
                    <a:cubicBezTo>
                      <a:pt x="19544" y="10758"/>
                      <a:pt x="18766" y="5016"/>
                      <a:pt x="14699" y="1906"/>
                    </a:cubicBezTo>
                    <a:cubicBezTo>
                      <a:pt x="10632" y="-1204"/>
                      <a:pt x="4891" y="-426"/>
                      <a:pt x="1841" y="3641"/>
                    </a:cubicBezTo>
                    <a:cubicBezTo>
                      <a:pt x="-1209" y="7707"/>
                      <a:pt x="-372" y="13449"/>
                      <a:pt x="3635" y="16559"/>
                    </a:cubicBezTo>
                    <a:close/>
                  </a:path>
                </a:pathLst>
              </a:custGeom>
              <a:grpFill/>
              <a:ln w="5978" cap="flat">
                <a:noFill/>
                <a:prstDash val="solid"/>
                <a:miter/>
              </a:ln>
            </p:spPr>
            <p:txBody>
              <a:bodyPr rtlCol="0" anchor="ctr"/>
              <a:lstStyle/>
              <a:p>
                <a:endParaRPr lang="en-GB"/>
              </a:p>
            </p:txBody>
          </p:sp>
        </p:grpSp>
        <p:grpSp>
          <p:nvGrpSpPr>
            <p:cNvPr id="953" name="Graphic 3">
              <a:extLst>
                <a:ext uri="{FF2B5EF4-FFF2-40B4-BE49-F238E27FC236}">
                  <a16:creationId xmlns:a16="http://schemas.microsoft.com/office/drawing/2014/main" id="{33C96234-DDA7-4B82-99AF-C00F79C96720}"/>
                </a:ext>
              </a:extLst>
            </p:cNvPr>
            <p:cNvGrpSpPr/>
            <p:nvPr/>
          </p:nvGrpSpPr>
          <p:grpSpPr>
            <a:xfrm>
              <a:off x="4419501" y="2258776"/>
              <a:ext cx="114939" cy="86742"/>
              <a:chOff x="4419501" y="2258776"/>
              <a:chExt cx="114939" cy="86742"/>
            </a:xfrm>
            <a:grpFill/>
          </p:grpSpPr>
          <p:sp>
            <p:nvSpPr>
              <p:cNvPr id="2540" name="Vrije vorm: vorm 2539">
                <a:extLst>
                  <a:ext uri="{FF2B5EF4-FFF2-40B4-BE49-F238E27FC236}">
                    <a16:creationId xmlns:a16="http://schemas.microsoft.com/office/drawing/2014/main" id="{D0415FEE-816C-4905-856F-2B90595DEBF4}"/>
                  </a:ext>
                </a:extLst>
              </p:cNvPr>
              <p:cNvSpPr/>
              <p:nvPr/>
            </p:nvSpPr>
            <p:spPr>
              <a:xfrm>
                <a:off x="4427368" y="2266434"/>
                <a:ext cx="99160" cy="71349"/>
              </a:xfrm>
              <a:custGeom>
                <a:avLst/>
                <a:gdLst>
                  <a:gd name="connsiteX0" fmla="*/ 99160 w 99160"/>
                  <a:gd name="connsiteY0" fmla="*/ 68838 h 71349"/>
                  <a:gd name="connsiteX1" fmla="*/ 97426 w 99160"/>
                  <a:gd name="connsiteY1" fmla="*/ 71350 h 71349"/>
                  <a:gd name="connsiteX2" fmla="*/ 0 w 99160"/>
                  <a:gd name="connsiteY2" fmla="*/ 2512 h 71349"/>
                  <a:gd name="connsiteX3" fmla="*/ 1794 w 99160"/>
                  <a:gd name="connsiteY3" fmla="*/ 0 h 71349"/>
                </a:gdLst>
                <a:ahLst/>
                <a:cxnLst>
                  <a:cxn ang="0">
                    <a:pos x="connsiteX0" y="connsiteY0"/>
                  </a:cxn>
                  <a:cxn ang="0">
                    <a:pos x="connsiteX1" y="connsiteY1"/>
                  </a:cxn>
                  <a:cxn ang="0">
                    <a:pos x="connsiteX2" y="connsiteY2"/>
                  </a:cxn>
                  <a:cxn ang="0">
                    <a:pos x="connsiteX3" y="connsiteY3"/>
                  </a:cxn>
                </a:cxnLst>
                <a:rect l="l" t="t" r="r" b="b"/>
                <a:pathLst>
                  <a:path w="99160" h="71349">
                    <a:moveTo>
                      <a:pt x="99160" y="68838"/>
                    </a:moveTo>
                    <a:lnTo>
                      <a:pt x="97426" y="71350"/>
                    </a:lnTo>
                    <a:lnTo>
                      <a:pt x="0" y="2512"/>
                    </a:lnTo>
                    <a:lnTo>
                      <a:pt x="1794" y="0"/>
                    </a:lnTo>
                    <a:close/>
                  </a:path>
                </a:pathLst>
              </a:custGeom>
              <a:grpFill/>
              <a:ln w="5978" cap="flat">
                <a:noFill/>
                <a:prstDash val="solid"/>
                <a:miter/>
              </a:ln>
            </p:spPr>
            <p:txBody>
              <a:bodyPr rtlCol="0" anchor="ctr"/>
              <a:lstStyle/>
              <a:p>
                <a:endParaRPr lang="en-GB"/>
              </a:p>
            </p:txBody>
          </p:sp>
          <p:sp>
            <p:nvSpPr>
              <p:cNvPr id="2541" name="Vrije vorm: vorm 2540">
                <a:extLst>
                  <a:ext uri="{FF2B5EF4-FFF2-40B4-BE49-F238E27FC236}">
                    <a16:creationId xmlns:a16="http://schemas.microsoft.com/office/drawing/2014/main" id="{0BEA7FB7-4690-4789-8808-2C2DFCCCE4E5}"/>
                  </a:ext>
                </a:extLst>
              </p:cNvPr>
              <p:cNvSpPr/>
              <p:nvPr/>
            </p:nvSpPr>
            <p:spPr>
              <a:xfrm>
                <a:off x="4516166" y="2327060"/>
                <a:ext cx="18274" cy="18459"/>
              </a:xfrm>
              <a:custGeom>
                <a:avLst/>
                <a:gdLst>
                  <a:gd name="connsiteX0" fmla="*/ 14370 w 18274"/>
                  <a:gd name="connsiteY0" fmla="*/ 1694 h 18459"/>
                  <a:gd name="connsiteX1" fmla="*/ 16643 w 18274"/>
                  <a:gd name="connsiteY1" fmla="*/ 14553 h 18459"/>
                  <a:gd name="connsiteX2" fmla="*/ 3904 w 18274"/>
                  <a:gd name="connsiteY2" fmla="*/ 16765 h 18459"/>
                  <a:gd name="connsiteX3" fmla="*/ 1631 w 18274"/>
                  <a:gd name="connsiteY3" fmla="*/ 3907 h 18459"/>
                  <a:gd name="connsiteX4" fmla="*/ 14370 w 18274"/>
                  <a:gd name="connsiteY4" fmla="*/ 1694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59">
                    <a:moveTo>
                      <a:pt x="14370" y="1694"/>
                    </a:moveTo>
                    <a:cubicBezTo>
                      <a:pt x="18497" y="4625"/>
                      <a:pt x="19514" y="10366"/>
                      <a:pt x="16643" y="14553"/>
                    </a:cubicBezTo>
                    <a:cubicBezTo>
                      <a:pt x="13713" y="18739"/>
                      <a:pt x="8031" y="19696"/>
                      <a:pt x="3904" y="16765"/>
                    </a:cubicBezTo>
                    <a:cubicBezTo>
                      <a:pt x="-223" y="13835"/>
                      <a:pt x="-1239" y="8093"/>
                      <a:pt x="1631" y="3907"/>
                    </a:cubicBezTo>
                    <a:cubicBezTo>
                      <a:pt x="4502" y="-280"/>
                      <a:pt x="10244" y="-1237"/>
                      <a:pt x="14370" y="1694"/>
                    </a:cubicBezTo>
                    <a:close/>
                  </a:path>
                </a:pathLst>
              </a:custGeom>
              <a:grpFill/>
              <a:ln w="5978" cap="flat">
                <a:noFill/>
                <a:prstDash val="solid"/>
                <a:miter/>
              </a:ln>
            </p:spPr>
            <p:txBody>
              <a:bodyPr rtlCol="0" anchor="ctr"/>
              <a:lstStyle/>
              <a:p>
                <a:endParaRPr lang="en-GB"/>
              </a:p>
            </p:txBody>
          </p:sp>
          <p:sp>
            <p:nvSpPr>
              <p:cNvPr id="2542" name="Vrije vorm: vorm 2541">
                <a:extLst>
                  <a:ext uri="{FF2B5EF4-FFF2-40B4-BE49-F238E27FC236}">
                    <a16:creationId xmlns:a16="http://schemas.microsoft.com/office/drawing/2014/main" id="{9FADD4D4-29DC-4540-AC4C-871FD251648A}"/>
                  </a:ext>
                </a:extLst>
              </p:cNvPr>
              <p:cNvSpPr/>
              <p:nvPr/>
            </p:nvSpPr>
            <p:spPr>
              <a:xfrm>
                <a:off x="4419501" y="2258776"/>
                <a:ext cx="18290" cy="18426"/>
              </a:xfrm>
              <a:custGeom>
                <a:avLst/>
                <a:gdLst>
                  <a:gd name="connsiteX0" fmla="*/ 14387 w 18290"/>
                  <a:gd name="connsiteY0" fmla="*/ 1677 h 18426"/>
                  <a:gd name="connsiteX1" fmla="*/ 1648 w 18290"/>
                  <a:gd name="connsiteY1" fmla="*/ 3890 h 18426"/>
                  <a:gd name="connsiteX2" fmla="*/ 3920 w 18290"/>
                  <a:gd name="connsiteY2" fmla="*/ 16749 h 18426"/>
                  <a:gd name="connsiteX3" fmla="*/ 16659 w 18290"/>
                  <a:gd name="connsiteY3" fmla="*/ 14536 h 18426"/>
                  <a:gd name="connsiteX4" fmla="*/ 14387 w 18290"/>
                  <a:gd name="connsiteY4" fmla="*/ 1677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26">
                    <a:moveTo>
                      <a:pt x="14387" y="1677"/>
                    </a:moveTo>
                    <a:cubicBezTo>
                      <a:pt x="10260" y="-1253"/>
                      <a:pt x="4519" y="-236"/>
                      <a:pt x="1648" y="3890"/>
                    </a:cubicBezTo>
                    <a:cubicBezTo>
                      <a:pt x="-1223" y="8077"/>
                      <a:pt x="-266" y="13818"/>
                      <a:pt x="3920" y="16749"/>
                    </a:cubicBezTo>
                    <a:cubicBezTo>
                      <a:pt x="8047" y="19679"/>
                      <a:pt x="13789" y="18663"/>
                      <a:pt x="16659" y="14536"/>
                    </a:cubicBezTo>
                    <a:cubicBezTo>
                      <a:pt x="19530" y="10349"/>
                      <a:pt x="18513" y="4608"/>
                      <a:pt x="14387" y="1677"/>
                    </a:cubicBezTo>
                    <a:close/>
                  </a:path>
                </a:pathLst>
              </a:custGeom>
              <a:grpFill/>
              <a:ln w="5978" cap="flat">
                <a:noFill/>
                <a:prstDash val="solid"/>
                <a:miter/>
              </a:ln>
            </p:spPr>
            <p:txBody>
              <a:bodyPr rtlCol="0" anchor="ctr"/>
              <a:lstStyle/>
              <a:p>
                <a:endParaRPr lang="en-GB"/>
              </a:p>
            </p:txBody>
          </p:sp>
        </p:grpSp>
        <p:grpSp>
          <p:nvGrpSpPr>
            <p:cNvPr id="954" name="Graphic 3">
              <a:extLst>
                <a:ext uri="{FF2B5EF4-FFF2-40B4-BE49-F238E27FC236}">
                  <a16:creationId xmlns:a16="http://schemas.microsoft.com/office/drawing/2014/main" id="{17357A17-97D1-4F8E-A0AA-FE97F163FEF3}"/>
                </a:ext>
              </a:extLst>
            </p:cNvPr>
            <p:cNvGrpSpPr/>
            <p:nvPr/>
          </p:nvGrpSpPr>
          <p:grpSpPr>
            <a:xfrm>
              <a:off x="5539772" y="5406943"/>
              <a:ext cx="111919" cy="472036"/>
              <a:chOff x="5539772" y="5406943"/>
              <a:chExt cx="111919" cy="472036"/>
            </a:xfrm>
            <a:grpFill/>
          </p:grpSpPr>
          <p:sp>
            <p:nvSpPr>
              <p:cNvPr id="2537" name="Vrije vorm: vorm 2536">
                <a:extLst>
                  <a:ext uri="{FF2B5EF4-FFF2-40B4-BE49-F238E27FC236}">
                    <a16:creationId xmlns:a16="http://schemas.microsoft.com/office/drawing/2014/main" id="{2BD0A78E-DC41-40C6-A8A5-3C43F85D5ABB}"/>
                  </a:ext>
                </a:extLst>
              </p:cNvPr>
              <p:cNvSpPr/>
              <p:nvPr/>
            </p:nvSpPr>
            <p:spPr>
              <a:xfrm>
                <a:off x="5547319" y="5415404"/>
                <a:ext cx="96768" cy="455132"/>
              </a:xfrm>
              <a:custGeom>
                <a:avLst/>
                <a:gdLst>
                  <a:gd name="connsiteX0" fmla="*/ 96768 w 96768"/>
                  <a:gd name="connsiteY0" fmla="*/ 658 h 455132"/>
                  <a:gd name="connsiteX1" fmla="*/ 2990 w 96768"/>
                  <a:gd name="connsiteY1" fmla="*/ 455133 h 455132"/>
                  <a:gd name="connsiteX2" fmla="*/ 0 w 96768"/>
                  <a:gd name="connsiteY2" fmla="*/ 454475 h 455132"/>
                  <a:gd name="connsiteX3" fmla="*/ 93778 w 96768"/>
                  <a:gd name="connsiteY3" fmla="*/ 0 h 455132"/>
                </a:gdLst>
                <a:ahLst/>
                <a:cxnLst>
                  <a:cxn ang="0">
                    <a:pos x="connsiteX0" y="connsiteY0"/>
                  </a:cxn>
                  <a:cxn ang="0">
                    <a:pos x="connsiteX1" y="connsiteY1"/>
                  </a:cxn>
                  <a:cxn ang="0">
                    <a:pos x="connsiteX2" y="connsiteY2"/>
                  </a:cxn>
                  <a:cxn ang="0">
                    <a:pos x="connsiteX3" y="connsiteY3"/>
                  </a:cxn>
                </a:cxnLst>
                <a:rect l="l" t="t" r="r" b="b"/>
                <a:pathLst>
                  <a:path w="96768" h="455132">
                    <a:moveTo>
                      <a:pt x="96768" y="658"/>
                    </a:moveTo>
                    <a:lnTo>
                      <a:pt x="2990" y="455133"/>
                    </a:lnTo>
                    <a:lnTo>
                      <a:pt x="0" y="454475"/>
                    </a:lnTo>
                    <a:lnTo>
                      <a:pt x="93778" y="0"/>
                    </a:lnTo>
                    <a:close/>
                  </a:path>
                </a:pathLst>
              </a:custGeom>
              <a:grpFill/>
              <a:ln w="5978" cap="flat">
                <a:noFill/>
                <a:prstDash val="solid"/>
                <a:miter/>
              </a:ln>
            </p:spPr>
            <p:txBody>
              <a:bodyPr rtlCol="0" anchor="ctr"/>
              <a:lstStyle/>
              <a:p>
                <a:endParaRPr lang="en-GB"/>
              </a:p>
            </p:txBody>
          </p:sp>
          <p:sp>
            <p:nvSpPr>
              <p:cNvPr id="2538" name="Vrije vorm: vorm 2537">
                <a:extLst>
                  <a:ext uri="{FF2B5EF4-FFF2-40B4-BE49-F238E27FC236}">
                    <a16:creationId xmlns:a16="http://schemas.microsoft.com/office/drawing/2014/main" id="{ED94AABF-8833-4202-A21F-5534A6DB7D90}"/>
                  </a:ext>
                </a:extLst>
              </p:cNvPr>
              <p:cNvSpPr/>
              <p:nvPr/>
            </p:nvSpPr>
            <p:spPr>
              <a:xfrm>
                <a:off x="5539772" y="5860539"/>
                <a:ext cx="18319" cy="18441"/>
              </a:xfrm>
              <a:custGeom>
                <a:avLst/>
                <a:gdLst>
                  <a:gd name="connsiteX0" fmla="*/ 18132 w 18319"/>
                  <a:gd name="connsiteY0" fmla="*/ 11134 h 18441"/>
                  <a:gd name="connsiteX1" fmla="*/ 7307 w 18319"/>
                  <a:gd name="connsiteY1" fmla="*/ 18252 h 18441"/>
                  <a:gd name="connsiteX2" fmla="*/ 190 w 18319"/>
                  <a:gd name="connsiteY2" fmla="*/ 7307 h 18441"/>
                  <a:gd name="connsiteX3" fmla="*/ 11015 w 18319"/>
                  <a:gd name="connsiteY3" fmla="*/ 190 h 18441"/>
                  <a:gd name="connsiteX4" fmla="*/ 18132 w 18319"/>
                  <a:gd name="connsiteY4" fmla="*/ 11134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1">
                    <a:moveTo>
                      <a:pt x="18132" y="11134"/>
                    </a:moveTo>
                    <a:cubicBezTo>
                      <a:pt x="17115" y="16099"/>
                      <a:pt x="12271" y="19268"/>
                      <a:pt x="7307" y="18252"/>
                    </a:cubicBezTo>
                    <a:cubicBezTo>
                      <a:pt x="2343" y="17175"/>
                      <a:pt x="-827" y="12331"/>
                      <a:pt x="190" y="7307"/>
                    </a:cubicBezTo>
                    <a:cubicBezTo>
                      <a:pt x="1207" y="2343"/>
                      <a:pt x="6051" y="-827"/>
                      <a:pt x="11015" y="190"/>
                    </a:cubicBezTo>
                    <a:cubicBezTo>
                      <a:pt x="15919" y="1266"/>
                      <a:pt x="19149" y="6170"/>
                      <a:pt x="18132" y="11134"/>
                    </a:cubicBezTo>
                    <a:close/>
                  </a:path>
                </a:pathLst>
              </a:custGeom>
              <a:grpFill/>
              <a:ln w="5978" cap="flat">
                <a:noFill/>
                <a:prstDash val="solid"/>
                <a:miter/>
              </a:ln>
            </p:spPr>
            <p:txBody>
              <a:bodyPr rtlCol="0" anchor="ctr"/>
              <a:lstStyle/>
              <a:p>
                <a:endParaRPr lang="en-GB"/>
              </a:p>
            </p:txBody>
          </p:sp>
          <p:sp>
            <p:nvSpPr>
              <p:cNvPr id="2539" name="Vrije vorm: vorm 2538">
                <a:extLst>
                  <a:ext uri="{FF2B5EF4-FFF2-40B4-BE49-F238E27FC236}">
                    <a16:creationId xmlns:a16="http://schemas.microsoft.com/office/drawing/2014/main" id="{6DCC368E-60C8-4FE6-A613-29E78A38D404}"/>
                  </a:ext>
                </a:extLst>
              </p:cNvPr>
              <p:cNvSpPr/>
              <p:nvPr/>
            </p:nvSpPr>
            <p:spPr>
              <a:xfrm>
                <a:off x="5633371" y="5406943"/>
                <a:ext cx="18321" cy="18458"/>
              </a:xfrm>
              <a:custGeom>
                <a:avLst/>
                <a:gdLst>
                  <a:gd name="connsiteX0" fmla="*/ 18132 w 18321"/>
                  <a:gd name="connsiteY0" fmla="*/ 11152 h 18458"/>
                  <a:gd name="connsiteX1" fmla="*/ 11015 w 18321"/>
                  <a:gd name="connsiteY1" fmla="*/ 207 h 18458"/>
                  <a:gd name="connsiteX2" fmla="*/ 190 w 18321"/>
                  <a:gd name="connsiteY2" fmla="*/ 7324 h 18458"/>
                  <a:gd name="connsiteX3" fmla="*/ 7307 w 18321"/>
                  <a:gd name="connsiteY3" fmla="*/ 18269 h 18458"/>
                  <a:gd name="connsiteX4" fmla="*/ 18132 w 18321"/>
                  <a:gd name="connsiteY4" fmla="*/ 1115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58">
                    <a:moveTo>
                      <a:pt x="18132" y="11152"/>
                    </a:moveTo>
                    <a:cubicBezTo>
                      <a:pt x="19148" y="6188"/>
                      <a:pt x="15979" y="1284"/>
                      <a:pt x="11015" y="207"/>
                    </a:cubicBezTo>
                    <a:cubicBezTo>
                      <a:pt x="6051" y="-869"/>
                      <a:pt x="1206" y="2360"/>
                      <a:pt x="190" y="7324"/>
                    </a:cubicBezTo>
                    <a:cubicBezTo>
                      <a:pt x="-827" y="12288"/>
                      <a:pt x="2343" y="17192"/>
                      <a:pt x="7307" y="18269"/>
                    </a:cubicBezTo>
                    <a:cubicBezTo>
                      <a:pt x="12211" y="19286"/>
                      <a:pt x="17115" y="16116"/>
                      <a:pt x="18132" y="11152"/>
                    </a:cubicBezTo>
                    <a:close/>
                  </a:path>
                </a:pathLst>
              </a:custGeom>
              <a:grpFill/>
              <a:ln w="5978" cap="flat">
                <a:noFill/>
                <a:prstDash val="solid"/>
                <a:miter/>
              </a:ln>
            </p:spPr>
            <p:txBody>
              <a:bodyPr rtlCol="0" anchor="ctr"/>
              <a:lstStyle/>
              <a:p>
                <a:endParaRPr lang="en-GB"/>
              </a:p>
            </p:txBody>
          </p:sp>
        </p:grpSp>
        <p:grpSp>
          <p:nvGrpSpPr>
            <p:cNvPr id="955" name="Graphic 3">
              <a:extLst>
                <a:ext uri="{FF2B5EF4-FFF2-40B4-BE49-F238E27FC236}">
                  <a16:creationId xmlns:a16="http://schemas.microsoft.com/office/drawing/2014/main" id="{18CD6A8F-A681-4ACD-9753-C0F3445CE210}"/>
                </a:ext>
              </a:extLst>
            </p:cNvPr>
            <p:cNvGrpSpPr/>
            <p:nvPr/>
          </p:nvGrpSpPr>
          <p:grpSpPr>
            <a:xfrm>
              <a:off x="5351454" y="4966572"/>
              <a:ext cx="72871" cy="151234"/>
              <a:chOff x="5351454" y="4966572"/>
              <a:chExt cx="72871" cy="151234"/>
            </a:xfrm>
            <a:grpFill/>
          </p:grpSpPr>
          <p:sp>
            <p:nvSpPr>
              <p:cNvPr id="2534" name="Vrije vorm: vorm 2533">
                <a:extLst>
                  <a:ext uri="{FF2B5EF4-FFF2-40B4-BE49-F238E27FC236}">
                    <a16:creationId xmlns:a16="http://schemas.microsoft.com/office/drawing/2014/main" id="{F7102BC2-2E2E-4E8D-A552-63016B9E15C0}"/>
                  </a:ext>
                </a:extLst>
              </p:cNvPr>
              <p:cNvSpPr/>
              <p:nvPr/>
            </p:nvSpPr>
            <p:spPr>
              <a:xfrm>
                <a:off x="5359045" y="4974685"/>
                <a:ext cx="57714" cy="134865"/>
              </a:xfrm>
              <a:custGeom>
                <a:avLst/>
                <a:gdLst>
                  <a:gd name="connsiteX0" fmla="*/ 57714 w 57714"/>
                  <a:gd name="connsiteY0" fmla="*/ 1196 h 134865"/>
                  <a:gd name="connsiteX1" fmla="*/ 2811 w 57714"/>
                  <a:gd name="connsiteY1" fmla="*/ 134865 h 134865"/>
                  <a:gd name="connsiteX2" fmla="*/ 0 w 57714"/>
                  <a:gd name="connsiteY2" fmla="*/ 133729 h 134865"/>
                  <a:gd name="connsiteX3" fmla="*/ 54903 w 57714"/>
                  <a:gd name="connsiteY3" fmla="*/ 0 h 134865"/>
                </a:gdLst>
                <a:ahLst/>
                <a:cxnLst>
                  <a:cxn ang="0">
                    <a:pos x="connsiteX0" y="connsiteY0"/>
                  </a:cxn>
                  <a:cxn ang="0">
                    <a:pos x="connsiteX1" y="connsiteY1"/>
                  </a:cxn>
                  <a:cxn ang="0">
                    <a:pos x="connsiteX2" y="connsiteY2"/>
                  </a:cxn>
                  <a:cxn ang="0">
                    <a:pos x="connsiteX3" y="connsiteY3"/>
                  </a:cxn>
                </a:cxnLst>
                <a:rect l="l" t="t" r="r" b="b"/>
                <a:pathLst>
                  <a:path w="57714" h="134865">
                    <a:moveTo>
                      <a:pt x="57714" y="1196"/>
                    </a:moveTo>
                    <a:lnTo>
                      <a:pt x="2811" y="134865"/>
                    </a:lnTo>
                    <a:lnTo>
                      <a:pt x="0" y="133729"/>
                    </a:lnTo>
                    <a:lnTo>
                      <a:pt x="54903" y="0"/>
                    </a:lnTo>
                    <a:close/>
                  </a:path>
                </a:pathLst>
              </a:custGeom>
              <a:grpFill/>
              <a:ln w="5978" cap="flat">
                <a:noFill/>
                <a:prstDash val="solid"/>
                <a:miter/>
              </a:ln>
            </p:spPr>
            <p:txBody>
              <a:bodyPr rtlCol="0" anchor="ctr"/>
              <a:lstStyle/>
              <a:p>
                <a:endParaRPr lang="en-GB"/>
              </a:p>
            </p:txBody>
          </p:sp>
          <p:sp>
            <p:nvSpPr>
              <p:cNvPr id="2535" name="Vrije vorm: vorm 2534">
                <a:extLst>
                  <a:ext uri="{FF2B5EF4-FFF2-40B4-BE49-F238E27FC236}">
                    <a16:creationId xmlns:a16="http://schemas.microsoft.com/office/drawing/2014/main" id="{15031742-1C3A-4A5D-A5B1-DD4617B309B4}"/>
                  </a:ext>
                </a:extLst>
              </p:cNvPr>
              <p:cNvSpPr/>
              <p:nvPr/>
            </p:nvSpPr>
            <p:spPr>
              <a:xfrm>
                <a:off x="5351454" y="5099387"/>
                <a:ext cx="18351" cy="18420"/>
              </a:xfrm>
              <a:custGeom>
                <a:avLst/>
                <a:gdLst>
                  <a:gd name="connsiteX0" fmla="*/ 17639 w 18351"/>
                  <a:gd name="connsiteY0" fmla="*/ 12734 h 18420"/>
                  <a:gd name="connsiteX1" fmla="*/ 5677 w 18351"/>
                  <a:gd name="connsiteY1" fmla="*/ 17699 h 18420"/>
                  <a:gd name="connsiteX2" fmla="*/ 713 w 18351"/>
                  <a:gd name="connsiteY2" fmla="*/ 5677 h 18420"/>
                  <a:gd name="connsiteX3" fmla="*/ 12675 w 18351"/>
                  <a:gd name="connsiteY3" fmla="*/ 713 h 18420"/>
                  <a:gd name="connsiteX4" fmla="*/ 17639 w 18351"/>
                  <a:gd name="connsiteY4" fmla="*/ 1273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0">
                    <a:moveTo>
                      <a:pt x="17639" y="12734"/>
                    </a:moveTo>
                    <a:cubicBezTo>
                      <a:pt x="15725" y="17459"/>
                      <a:pt x="10342" y="19672"/>
                      <a:pt x="5677" y="17699"/>
                    </a:cubicBezTo>
                    <a:cubicBezTo>
                      <a:pt x="1012" y="15725"/>
                      <a:pt x="-1260" y="10342"/>
                      <a:pt x="713" y="5677"/>
                    </a:cubicBezTo>
                    <a:cubicBezTo>
                      <a:pt x="2687" y="1012"/>
                      <a:pt x="8010" y="-1260"/>
                      <a:pt x="12675" y="713"/>
                    </a:cubicBezTo>
                    <a:cubicBezTo>
                      <a:pt x="17340" y="2687"/>
                      <a:pt x="19612" y="8010"/>
                      <a:pt x="17639" y="12734"/>
                    </a:cubicBezTo>
                    <a:close/>
                  </a:path>
                </a:pathLst>
              </a:custGeom>
              <a:grpFill/>
              <a:ln w="5978" cap="flat">
                <a:noFill/>
                <a:prstDash val="solid"/>
                <a:miter/>
              </a:ln>
            </p:spPr>
            <p:txBody>
              <a:bodyPr rtlCol="0" anchor="ctr"/>
              <a:lstStyle/>
              <a:p>
                <a:endParaRPr lang="en-GB"/>
              </a:p>
            </p:txBody>
          </p:sp>
          <p:sp>
            <p:nvSpPr>
              <p:cNvPr id="2536" name="Vrije vorm: vorm 2535">
                <a:extLst>
                  <a:ext uri="{FF2B5EF4-FFF2-40B4-BE49-F238E27FC236}">
                    <a16:creationId xmlns:a16="http://schemas.microsoft.com/office/drawing/2014/main" id="{2BD959EB-E773-41F9-AC87-65445169207B}"/>
                  </a:ext>
                </a:extLst>
              </p:cNvPr>
              <p:cNvSpPr/>
              <p:nvPr/>
            </p:nvSpPr>
            <p:spPr>
              <a:xfrm>
                <a:off x="5406024" y="4966572"/>
                <a:ext cx="18301" cy="18369"/>
              </a:xfrm>
              <a:custGeom>
                <a:avLst/>
                <a:gdLst>
                  <a:gd name="connsiteX0" fmla="*/ 17614 w 18301"/>
                  <a:gd name="connsiteY0" fmla="*/ 12717 h 18369"/>
                  <a:gd name="connsiteX1" fmla="*/ 12650 w 18301"/>
                  <a:gd name="connsiteY1" fmla="*/ 696 h 18369"/>
                  <a:gd name="connsiteX2" fmla="*/ 688 w 18301"/>
                  <a:gd name="connsiteY2" fmla="*/ 5660 h 18369"/>
                  <a:gd name="connsiteX3" fmla="*/ 5652 w 18301"/>
                  <a:gd name="connsiteY3" fmla="*/ 17681 h 18369"/>
                  <a:gd name="connsiteX4" fmla="*/ 17614 w 18301"/>
                  <a:gd name="connsiteY4" fmla="*/ 12717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69">
                    <a:moveTo>
                      <a:pt x="17614" y="12717"/>
                    </a:moveTo>
                    <a:cubicBezTo>
                      <a:pt x="19527" y="7993"/>
                      <a:pt x="17314" y="2610"/>
                      <a:pt x="12650" y="696"/>
                    </a:cubicBezTo>
                    <a:cubicBezTo>
                      <a:pt x="7985" y="-1218"/>
                      <a:pt x="2602" y="935"/>
                      <a:pt x="688" y="5660"/>
                    </a:cubicBezTo>
                    <a:cubicBezTo>
                      <a:pt x="-1226" y="10385"/>
                      <a:pt x="987" y="15768"/>
                      <a:pt x="5652" y="17681"/>
                    </a:cubicBezTo>
                    <a:cubicBezTo>
                      <a:pt x="10317" y="19595"/>
                      <a:pt x="15700" y="17382"/>
                      <a:pt x="17614" y="12717"/>
                    </a:cubicBezTo>
                    <a:close/>
                  </a:path>
                </a:pathLst>
              </a:custGeom>
              <a:grpFill/>
              <a:ln w="5978" cap="flat">
                <a:noFill/>
                <a:prstDash val="solid"/>
                <a:miter/>
              </a:ln>
            </p:spPr>
            <p:txBody>
              <a:bodyPr rtlCol="0" anchor="ctr"/>
              <a:lstStyle/>
              <a:p>
                <a:endParaRPr lang="en-GB"/>
              </a:p>
            </p:txBody>
          </p:sp>
        </p:grpSp>
        <p:grpSp>
          <p:nvGrpSpPr>
            <p:cNvPr id="956" name="Graphic 3">
              <a:extLst>
                <a:ext uri="{FF2B5EF4-FFF2-40B4-BE49-F238E27FC236}">
                  <a16:creationId xmlns:a16="http://schemas.microsoft.com/office/drawing/2014/main" id="{48C65D65-D5C0-4041-9854-BDBE6F1AFD6D}"/>
                </a:ext>
              </a:extLst>
            </p:cNvPr>
            <p:cNvGrpSpPr/>
            <p:nvPr/>
          </p:nvGrpSpPr>
          <p:grpSpPr>
            <a:xfrm>
              <a:off x="4434795" y="2313947"/>
              <a:ext cx="107093" cy="78715"/>
              <a:chOff x="4434795" y="2313947"/>
              <a:chExt cx="107093" cy="78715"/>
            </a:xfrm>
            <a:grpFill/>
          </p:grpSpPr>
          <p:sp>
            <p:nvSpPr>
              <p:cNvPr id="2531" name="Vrije vorm: vorm 2530">
                <a:extLst>
                  <a:ext uri="{FF2B5EF4-FFF2-40B4-BE49-F238E27FC236}">
                    <a16:creationId xmlns:a16="http://schemas.microsoft.com/office/drawing/2014/main" id="{9177A74B-741A-4AEE-82E3-BF74F34B3555}"/>
                  </a:ext>
                </a:extLst>
              </p:cNvPr>
              <p:cNvSpPr/>
              <p:nvPr/>
            </p:nvSpPr>
            <p:spPr>
              <a:xfrm>
                <a:off x="4442739" y="2321637"/>
                <a:ext cx="91206" cy="63335"/>
              </a:xfrm>
              <a:custGeom>
                <a:avLst/>
                <a:gdLst>
                  <a:gd name="connsiteX0" fmla="*/ 91206 w 91206"/>
                  <a:gd name="connsiteY0" fmla="*/ 60764 h 63335"/>
                  <a:gd name="connsiteX1" fmla="*/ 89531 w 91206"/>
                  <a:gd name="connsiteY1" fmla="*/ 63336 h 63335"/>
                  <a:gd name="connsiteX2" fmla="*/ 0 w 91206"/>
                  <a:gd name="connsiteY2" fmla="*/ 2512 h 63335"/>
                  <a:gd name="connsiteX3" fmla="*/ 1674 w 91206"/>
                  <a:gd name="connsiteY3" fmla="*/ 0 h 63335"/>
                </a:gdLst>
                <a:ahLst/>
                <a:cxnLst>
                  <a:cxn ang="0">
                    <a:pos x="connsiteX0" y="connsiteY0"/>
                  </a:cxn>
                  <a:cxn ang="0">
                    <a:pos x="connsiteX1" y="connsiteY1"/>
                  </a:cxn>
                  <a:cxn ang="0">
                    <a:pos x="connsiteX2" y="connsiteY2"/>
                  </a:cxn>
                  <a:cxn ang="0">
                    <a:pos x="connsiteX3" y="connsiteY3"/>
                  </a:cxn>
                </a:cxnLst>
                <a:rect l="l" t="t" r="r" b="b"/>
                <a:pathLst>
                  <a:path w="91206" h="63335">
                    <a:moveTo>
                      <a:pt x="91206" y="60764"/>
                    </a:moveTo>
                    <a:lnTo>
                      <a:pt x="89531" y="63336"/>
                    </a:lnTo>
                    <a:lnTo>
                      <a:pt x="0" y="2512"/>
                    </a:lnTo>
                    <a:lnTo>
                      <a:pt x="1674" y="0"/>
                    </a:lnTo>
                    <a:close/>
                  </a:path>
                </a:pathLst>
              </a:custGeom>
              <a:grpFill/>
              <a:ln w="5978" cap="flat">
                <a:noFill/>
                <a:prstDash val="solid"/>
                <a:miter/>
              </a:ln>
            </p:spPr>
            <p:txBody>
              <a:bodyPr rtlCol="0" anchor="ctr"/>
              <a:lstStyle/>
              <a:p>
                <a:endParaRPr lang="en-GB"/>
              </a:p>
            </p:txBody>
          </p:sp>
          <p:sp>
            <p:nvSpPr>
              <p:cNvPr id="2532" name="Vrije vorm: vorm 2531">
                <a:extLst>
                  <a:ext uri="{FF2B5EF4-FFF2-40B4-BE49-F238E27FC236}">
                    <a16:creationId xmlns:a16="http://schemas.microsoft.com/office/drawing/2014/main" id="{4B5BD220-C9F9-4BD7-8113-F6D6BB633B90}"/>
                  </a:ext>
                </a:extLst>
              </p:cNvPr>
              <p:cNvSpPr/>
              <p:nvPr/>
            </p:nvSpPr>
            <p:spPr>
              <a:xfrm>
                <a:off x="4523549" y="2374232"/>
                <a:ext cx="18339" cy="18429"/>
              </a:xfrm>
              <a:custGeom>
                <a:avLst/>
                <a:gdLst>
                  <a:gd name="connsiteX0" fmla="*/ 14283 w 18339"/>
                  <a:gd name="connsiteY0" fmla="*/ 1590 h 18429"/>
                  <a:gd name="connsiteX1" fmla="*/ 16795 w 18339"/>
                  <a:gd name="connsiteY1" fmla="*/ 14388 h 18429"/>
                  <a:gd name="connsiteX2" fmla="*/ 4056 w 18339"/>
                  <a:gd name="connsiteY2" fmla="*/ 16840 h 18429"/>
                  <a:gd name="connsiteX3" fmla="*/ 1544 w 18339"/>
                  <a:gd name="connsiteY3" fmla="*/ 4042 h 18429"/>
                  <a:gd name="connsiteX4" fmla="*/ 14283 w 18339"/>
                  <a:gd name="connsiteY4" fmla="*/ 159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14283" y="1590"/>
                    </a:moveTo>
                    <a:cubicBezTo>
                      <a:pt x="18470" y="4460"/>
                      <a:pt x="19606" y="10202"/>
                      <a:pt x="16795" y="14388"/>
                    </a:cubicBezTo>
                    <a:cubicBezTo>
                      <a:pt x="13984" y="18575"/>
                      <a:pt x="8303" y="19711"/>
                      <a:pt x="4056" y="16840"/>
                    </a:cubicBezTo>
                    <a:cubicBezTo>
                      <a:pt x="-130" y="13970"/>
                      <a:pt x="-1266" y="8288"/>
                      <a:pt x="1544" y="4042"/>
                    </a:cubicBezTo>
                    <a:cubicBezTo>
                      <a:pt x="4415" y="-145"/>
                      <a:pt x="10097" y="-1281"/>
                      <a:pt x="14283" y="1590"/>
                    </a:cubicBezTo>
                    <a:close/>
                  </a:path>
                </a:pathLst>
              </a:custGeom>
              <a:grpFill/>
              <a:ln w="5978" cap="flat">
                <a:noFill/>
                <a:prstDash val="solid"/>
                <a:miter/>
              </a:ln>
            </p:spPr>
            <p:txBody>
              <a:bodyPr rtlCol="0" anchor="ctr"/>
              <a:lstStyle/>
              <a:p>
                <a:endParaRPr lang="en-GB"/>
              </a:p>
            </p:txBody>
          </p:sp>
          <p:sp>
            <p:nvSpPr>
              <p:cNvPr id="2533" name="Vrije vorm: vorm 2532">
                <a:extLst>
                  <a:ext uri="{FF2B5EF4-FFF2-40B4-BE49-F238E27FC236}">
                    <a16:creationId xmlns:a16="http://schemas.microsoft.com/office/drawing/2014/main" id="{D696E6CF-9AB7-4625-B4B5-97A470A4ED44}"/>
                  </a:ext>
                </a:extLst>
              </p:cNvPr>
              <p:cNvSpPr/>
              <p:nvPr/>
            </p:nvSpPr>
            <p:spPr>
              <a:xfrm>
                <a:off x="4434795" y="2313947"/>
                <a:ext cx="18339" cy="18429"/>
              </a:xfrm>
              <a:custGeom>
                <a:avLst/>
                <a:gdLst>
                  <a:gd name="connsiteX0" fmla="*/ 14284 w 18339"/>
                  <a:gd name="connsiteY0" fmla="*/ 1589 h 18429"/>
                  <a:gd name="connsiteX1" fmla="*/ 1545 w 18339"/>
                  <a:gd name="connsiteY1" fmla="*/ 4042 h 18429"/>
                  <a:gd name="connsiteX2" fmla="*/ 4056 w 18339"/>
                  <a:gd name="connsiteY2" fmla="*/ 16840 h 18429"/>
                  <a:gd name="connsiteX3" fmla="*/ 16795 w 18339"/>
                  <a:gd name="connsiteY3" fmla="*/ 14388 h 18429"/>
                  <a:gd name="connsiteX4" fmla="*/ 14284 w 18339"/>
                  <a:gd name="connsiteY4" fmla="*/ 158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14284" y="1589"/>
                    </a:moveTo>
                    <a:cubicBezTo>
                      <a:pt x="10097" y="-1281"/>
                      <a:pt x="4415" y="-145"/>
                      <a:pt x="1545" y="4042"/>
                    </a:cubicBezTo>
                    <a:cubicBezTo>
                      <a:pt x="-1267" y="8228"/>
                      <a:pt x="-130" y="13970"/>
                      <a:pt x="4056" y="16840"/>
                    </a:cubicBezTo>
                    <a:cubicBezTo>
                      <a:pt x="8243" y="19711"/>
                      <a:pt x="13925" y="18575"/>
                      <a:pt x="16795" y="14388"/>
                    </a:cubicBezTo>
                    <a:cubicBezTo>
                      <a:pt x="19607" y="10202"/>
                      <a:pt x="18470" y="4460"/>
                      <a:pt x="14284" y="1589"/>
                    </a:cubicBezTo>
                    <a:close/>
                  </a:path>
                </a:pathLst>
              </a:custGeom>
              <a:grpFill/>
              <a:ln w="5978" cap="flat">
                <a:noFill/>
                <a:prstDash val="solid"/>
                <a:miter/>
              </a:ln>
            </p:spPr>
            <p:txBody>
              <a:bodyPr rtlCol="0" anchor="ctr"/>
              <a:lstStyle/>
              <a:p>
                <a:endParaRPr lang="en-GB"/>
              </a:p>
            </p:txBody>
          </p:sp>
        </p:grpSp>
        <p:grpSp>
          <p:nvGrpSpPr>
            <p:cNvPr id="957" name="Graphic 3">
              <a:extLst>
                <a:ext uri="{FF2B5EF4-FFF2-40B4-BE49-F238E27FC236}">
                  <a16:creationId xmlns:a16="http://schemas.microsoft.com/office/drawing/2014/main" id="{7A116B8B-2D3D-4696-A4A7-C25B8A2E73C7}"/>
                </a:ext>
              </a:extLst>
            </p:cNvPr>
            <p:cNvGrpSpPr/>
            <p:nvPr/>
          </p:nvGrpSpPr>
          <p:grpSpPr>
            <a:xfrm>
              <a:off x="4365690" y="2220722"/>
              <a:ext cx="168765" cy="124720"/>
              <a:chOff x="4365690" y="2220722"/>
              <a:chExt cx="168765" cy="124720"/>
            </a:xfrm>
            <a:grpFill/>
          </p:grpSpPr>
          <p:sp>
            <p:nvSpPr>
              <p:cNvPr id="2528" name="Vrije vorm: vorm 2527">
                <a:extLst>
                  <a:ext uri="{FF2B5EF4-FFF2-40B4-BE49-F238E27FC236}">
                    <a16:creationId xmlns:a16="http://schemas.microsoft.com/office/drawing/2014/main" id="{E8018FDC-ED5F-4496-AC17-D86D63CEAF11}"/>
                  </a:ext>
                </a:extLst>
              </p:cNvPr>
              <p:cNvSpPr/>
              <p:nvPr/>
            </p:nvSpPr>
            <p:spPr>
              <a:xfrm>
                <a:off x="4373542" y="2228397"/>
                <a:ext cx="152986" cy="109387"/>
              </a:xfrm>
              <a:custGeom>
                <a:avLst/>
                <a:gdLst>
                  <a:gd name="connsiteX0" fmla="*/ 152987 w 152986"/>
                  <a:gd name="connsiteY0" fmla="*/ 106876 h 109387"/>
                  <a:gd name="connsiteX1" fmla="*/ 151252 w 152986"/>
                  <a:gd name="connsiteY1" fmla="*/ 109387 h 109387"/>
                  <a:gd name="connsiteX2" fmla="*/ 0 w 152986"/>
                  <a:gd name="connsiteY2" fmla="*/ 2512 h 109387"/>
                  <a:gd name="connsiteX3" fmla="*/ 1794 w 152986"/>
                  <a:gd name="connsiteY3" fmla="*/ 0 h 109387"/>
                </a:gdLst>
                <a:ahLst/>
                <a:cxnLst>
                  <a:cxn ang="0">
                    <a:pos x="connsiteX0" y="connsiteY0"/>
                  </a:cxn>
                  <a:cxn ang="0">
                    <a:pos x="connsiteX1" y="connsiteY1"/>
                  </a:cxn>
                  <a:cxn ang="0">
                    <a:pos x="connsiteX2" y="connsiteY2"/>
                  </a:cxn>
                  <a:cxn ang="0">
                    <a:pos x="connsiteX3" y="connsiteY3"/>
                  </a:cxn>
                </a:cxnLst>
                <a:rect l="l" t="t" r="r" b="b"/>
                <a:pathLst>
                  <a:path w="152986" h="109387">
                    <a:moveTo>
                      <a:pt x="152987" y="106876"/>
                    </a:moveTo>
                    <a:lnTo>
                      <a:pt x="151252" y="109387"/>
                    </a:lnTo>
                    <a:lnTo>
                      <a:pt x="0" y="2512"/>
                    </a:lnTo>
                    <a:lnTo>
                      <a:pt x="1794" y="0"/>
                    </a:lnTo>
                    <a:close/>
                  </a:path>
                </a:pathLst>
              </a:custGeom>
              <a:grpFill/>
              <a:ln w="5978" cap="flat">
                <a:noFill/>
                <a:prstDash val="solid"/>
                <a:miter/>
              </a:ln>
            </p:spPr>
            <p:txBody>
              <a:bodyPr rtlCol="0" anchor="ctr"/>
              <a:lstStyle/>
              <a:p>
                <a:endParaRPr lang="en-GB"/>
              </a:p>
            </p:txBody>
          </p:sp>
          <p:sp>
            <p:nvSpPr>
              <p:cNvPr id="2529" name="Vrije vorm: vorm 2528">
                <a:extLst>
                  <a:ext uri="{FF2B5EF4-FFF2-40B4-BE49-F238E27FC236}">
                    <a16:creationId xmlns:a16="http://schemas.microsoft.com/office/drawing/2014/main" id="{8BA8842A-049F-4C13-9491-1C63B5556155}"/>
                  </a:ext>
                </a:extLst>
              </p:cNvPr>
              <p:cNvSpPr/>
              <p:nvPr/>
            </p:nvSpPr>
            <p:spPr>
              <a:xfrm>
                <a:off x="4365690" y="2220722"/>
                <a:ext cx="18274" cy="18442"/>
              </a:xfrm>
              <a:custGeom>
                <a:avLst/>
                <a:gdLst>
                  <a:gd name="connsiteX0" fmla="*/ 3904 w 18274"/>
                  <a:gd name="connsiteY0" fmla="*/ 16765 h 18442"/>
                  <a:gd name="connsiteX1" fmla="*/ 1632 w 18274"/>
                  <a:gd name="connsiteY1" fmla="*/ 3907 h 18442"/>
                  <a:gd name="connsiteX2" fmla="*/ 14370 w 18274"/>
                  <a:gd name="connsiteY2" fmla="*/ 1694 h 18442"/>
                  <a:gd name="connsiteX3" fmla="*/ 16643 w 18274"/>
                  <a:gd name="connsiteY3" fmla="*/ 14553 h 18442"/>
                  <a:gd name="connsiteX4" fmla="*/ 3904 w 18274"/>
                  <a:gd name="connsiteY4" fmla="*/ 16765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2">
                    <a:moveTo>
                      <a:pt x="3904" y="16765"/>
                    </a:moveTo>
                    <a:cubicBezTo>
                      <a:pt x="-223" y="13835"/>
                      <a:pt x="-1239" y="8093"/>
                      <a:pt x="1632" y="3907"/>
                    </a:cubicBezTo>
                    <a:cubicBezTo>
                      <a:pt x="4502" y="-280"/>
                      <a:pt x="10244" y="-1237"/>
                      <a:pt x="14370" y="1694"/>
                    </a:cubicBezTo>
                    <a:cubicBezTo>
                      <a:pt x="18497" y="4624"/>
                      <a:pt x="19514" y="10366"/>
                      <a:pt x="16643" y="14553"/>
                    </a:cubicBezTo>
                    <a:cubicBezTo>
                      <a:pt x="13712" y="18679"/>
                      <a:pt x="8031" y="19696"/>
                      <a:pt x="3904" y="16765"/>
                    </a:cubicBezTo>
                    <a:close/>
                  </a:path>
                </a:pathLst>
              </a:custGeom>
              <a:grpFill/>
              <a:ln w="5978" cap="flat">
                <a:noFill/>
                <a:prstDash val="solid"/>
                <a:miter/>
              </a:ln>
            </p:spPr>
            <p:txBody>
              <a:bodyPr rtlCol="0" anchor="ctr"/>
              <a:lstStyle/>
              <a:p>
                <a:endParaRPr lang="en-GB"/>
              </a:p>
            </p:txBody>
          </p:sp>
          <p:sp>
            <p:nvSpPr>
              <p:cNvPr id="2530" name="Vrije vorm: vorm 2529">
                <a:extLst>
                  <a:ext uri="{FF2B5EF4-FFF2-40B4-BE49-F238E27FC236}">
                    <a16:creationId xmlns:a16="http://schemas.microsoft.com/office/drawing/2014/main" id="{D66327E1-947F-4E86-852E-A96F1351189F}"/>
                  </a:ext>
                </a:extLst>
              </p:cNvPr>
              <p:cNvSpPr/>
              <p:nvPr/>
            </p:nvSpPr>
            <p:spPr>
              <a:xfrm>
                <a:off x="4516149" y="2327016"/>
                <a:ext cx="18307" cy="18426"/>
              </a:xfrm>
              <a:custGeom>
                <a:avLst/>
                <a:gdLst>
                  <a:gd name="connsiteX0" fmla="*/ 3920 w 18307"/>
                  <a:gd name="connsiteY0" fmla="*/ 16749 h 18426"/>
                  <a:gd name="connsiteX1" fmla="*/ 16659 w 18307"/>
                  <a:gd name="connsiteY1" fmla="*/ 14536 h 18426"/>
                  <a:gd name="connsiteX2" fmla="*/ 14387 w 18307"/>
                  <a:gd name="connsiteY2" fmla="*/ 1677 h 18426"/>
                  <a:gd name="connsiteX3" fmla="*/ 1648 w 18307"/>
                  <a:gd name="connsiteY3" fmla="*/ 3890 h 18426"/>
                  <a:gd name="connsiteX4" fmla="*/ 3920 w 18307"/>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3920" y="16749"/>
                    </a:moveTo>
                    <a:cubicBezTo>
                      <a:pt x="8047" y="19679"/>
                      <a:pt x="13788" y="18663"/>
                      <a:pt x="16659" y="14536"/>
                    </a:cubicBezTo>
                    <a:cubicBezTo>
                      <a:pt x="19530" y="10349"/>
                      <a:pt x="18573" y="4608"/>
                      <a:pt x="14387" y="1677"/>
                    </a:cubicBezTo>
                    <a:cubicBezTo>
                      <a:pt x="10260" y="-1253"/>
                      <a:pt x="4518" y="-237"/>
                      <a:pt x="1648" y="3890"/>
                    </a:cubicBezTo>
                    <a:cubicBezTo>
                      <a:pt x="-1223" y="8077"/>
                      <a:pt x="-266" y="13818"/>
                      <a:pt x="3920" y="16749"/>
                    </a:cubicBezTo>
                    <a:close/>
                  </a:path>
                </a:pathLst>
              </a:custGeom>
              <a:grpFill/>
              <a:ln w="5978" cap="flat">
                <a:noFill/>
                <a:prstDash val="solid"/>
                <a:miter/>
              </a:ln>
            </p:spPr>
            <p:txBody>
              <a:bodyPr rtlCol="0" anchor="ctr"/>
              <a:lstStyle/>
              <a:p>
                <a:endParaRPr lang="en-GB"/>
              </a:p>
            </p:txBody>
          </p:sp>
        </p:grpSp>
        <p:grpSp>
          <p:nvGrpSpPr>
            <p:cNvPr id="958" name="Graphic 3">
              <a:extLst>
                <a:ext uri="{FF2B5EF4-FFF2-40B4-BE49-F238E27FC236}">
                  <a16:creationId xmlns:a16="http://schemas.microsoft.com/office/drawing/2014/main" id="{D11CFD24-A60B-4C23-A9D8-026931A6D88D}"/>
                </a:ext>
              </a:extLst>
            </p:cNvPr>
            <p:cNvGrpSpPr/>
            <p:nvPr/>
          </p:nvGrpSpPr>
          <p:grpSpPr>
            <a:xfrm>
              <a:off x="4428186" y="2436763"/>
              <a:ext cx="196147" cy="125181"/>
              <a:chOff x="4428186" y="2436763"/>
              <a:chExt cx="196147" cy="125181"/>
            </a:xfrm>
            <a:grpFill/>
          </p:grpSpPr>
          <p:sp>
            <p:nvSpPr>
              <p:cNvPr id="2525" name="Vrije vorm: vorm 2524">
                <a:extLst>
                  <a:ext uri="{FF2B5EF4-FFF2-40B4-BE49-F238E27FC236}">
                    <a16:creationId xmlns:a16="http://schemas.microsoft.com/office/drawing/2014/main" id="{205ECC73-157E-4C61-BA37-221040F547B4}"/>
                  </a:ext>
                </a:extLst>
              </p:cNvPr>
              <p:cNvSpPr/>
              <p:nvPr/>
            </p:nvSpPr>
            <p:spPr>
              <a:xfrm>
                <a:off x="4436160" y="2444421"/>
                <a:ext cx="180139" cy="109865"/>
              </a:xfrm>
              <a:custGeom>
                <a:avLst/>
                <a:gdLst>
                  <a:gd name="connsiteX0" fmla="*/ 180139 w 180139"/>
                  <a:gd name="connsiteY0" fmla="*/ 107234 h 109865"/>
                  <a:gd name="connsiteX1" fmla="*/ 178585 w 180139"/>
                  <a:gd name="connsiteY1" fmla="*/ 109866 h 109865"/>
                  <a:gd name="connsiteX2" fmla="*/ 0 w 180139"/>
                  <a:gd name="connsiteY2" fmla="*/ 2632 h 109865"/>
                  <a:gd name="connsiteX3" fmla="*/ 1555 w 180139"/>
                  <a:gd name="connsiteY3" fmla="*/ 0 h 109865"/>
                </a:gdLst>
                <a:ahLst/>
                <a:cxnLst>
                  <a:cxn ang="0">
                    <a:pos x="connsiteX0" y="connsiteY0"/>
                  </a:cxn>
                  <a:cxn ang="0">
                    <a:pos x="connsiteX1" y="connsiteY1"/>
                  </a:cxn>
                  <a:cxn ang="0">
                    <a:pos x="connsiteX2" y="connsiteY2"/>
                  </a:cxn>
                  <a:cxn ang="0">
                    <a:pos x="connsiteX3" y="connsiteY3"/>
                  </a:cxn>
                </a:cxnLst>
                <a:rect l="l" t="t" r="r" b="b"/>
                <a:pathLst>
                  <a:path w="180139" h="109865">
                    <a:moveTo>
                      <a:pt x="180139" y="107234"/>
                    </a:moveTo>
                    <a:lnTo>
                      <a:pt x="178585" y="109866"/>
                    </a:lnTo>
                    <a:lnTo>
                      <a:pt x="0" y="2632"/>
                    </a:lnTo>
                    <a:lnTo>
                      <a:pt x="1555" y="0"/>
                    </a:lnTo>
                    <a:close/>
                  </a:path>
                </a:pathLst>
              </a:custGeom>
              <a:grpFill/>
              <a:ln w="5978" cap="flat">
                <a:noFill/>
                <a:prstDash val="solid"/>
                <a:miter/>
              </a:ln>
            </p:spPr>
            <p:txBody>
              <a:bodyPr rtlCol="0" anchor="ctr"/>
              <a:lstStyle/>
              <a:p>
                <a:endParaRPr lang="en-GB"/>
              </a:p>
            </p:txBody>
          </p:sp>
          <p:sp>
            <p:nvSpPr>
              <p:cNvPr id="2526" name="Vrije vorm: vorm 2525">
                <a:extLst>
                  <a:ext uri="{FF2B5EF4-FFF2-40B4-BE49-F238E27FC236}">
                    <a16:creationId xmlns:a16="http://schemas.microsoft.com/office/drawing/2014/main" id="{4FCACA9D-7CB4-471D-AA47-3726D3EB5AD2}"/>
                  </a:ext>
                </a:extLst>
              </p:cNvPr>
              <p:cNvSpPr/>
              <p:nvPr/>
            </p:nvSpPr>
            <p:spPr>
              <a:xfrm>
                <a:off x="4428186" y="2436763"/>
                <a:ext cx="18341" cy="18425"/>
              </a:xfrm>
              <a:custGeom>
                <a:avLst/>
                <a:gdLst>
                  <a:gd name="connsiteX0" fmla="*/ 4506 w 18341"/>
                  <a:gd name="connsiteY0" fmla="*/ 17107 h 18425"/>
                  <a:gd name="connsiteX1" fmla="*/ 1276 w 18341"/>
                  <a:gd name="connsiteY1" fmla="*/ 4488 h 18425"/>
                  <a:gd name="connsiteX2" fmla="*/ 13836 w 18341"/>
                  <a:gd name="connsiteY2" fmla="*/ 1318 h 18425"/>
                  <a:gd name="connsiteX3" fmla="*/ 17065 w 18341"/>
                  <a:gd name="connsiteY3" fmla="*/ 13938 h 18425"/>
                  <a:gd name="connsiteX4" fmla="*/ 4506 w 18341"/>
                  <a:gd name="connsiteY4" fmla="*/ 17107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4506" y="17107"/>
                    </a:moveTo>
                    <a:cubicBezTo>
                      <a:pt x="140" y="14476"/>
                      <a:pt x="-1296" y="8854"/>
                      <a:pt x="1276" y="4488"/>
                    </a:cubicBezTo>
                    <a:cubicBezTo>
                      <a:pt x="3848" y="122"/>
                      <a:pt x="9470" y="-1313"/>
                      <a:pt x="13836" y="1318"/>
                    </a:cubicBezTo>
                    <a:cubicBezTo>
                      <a:pt x="18201" y="3950"/>
                      <a:pt x="19637" y="9572"/>
                      <a:pt x="17065" y="13938"/>
                    </a:cubicBezTo>
                    <a:cubicBezTo>
                      <a:pt x="14493" y="18304"/>
                      <a:pt x="8812" y="19739"/>
                      <a:pt x="4506" y="17107"/>
                    </a:cubicBezTo>
                    <a:close/>
                  </a:path>
                </a:pathLst>
              </a:custGeom>
              <a:grpFill/>
              <a:ln w="5978" cap="flat">
                <a:noFill/>
                <a:prstDash val="solid"/>
                <a:miter/>
              </a:ln>
            </p:spPr>
            <p:txBody>
              <a:bodyPr rtlCol="0" anchor="ctr"/>
              <a:lstStyle/>
              <a:p>
                <a:endParaRPr lang="en-GB"/>
              </a:p>
            </p:txBody>
          </p:sp>
          <p:sp>
            <p:nvSpPr>
              <p:cNvPr id="2527" name="Vrije vorm: vorm 2526">
                <a:extLst>
                  <a:ext uri="{FF2B5EF4-FFF2-40B4-BE49-F238E27FC236}">
                    <a16:creationId xmlns:a16="http://schemas.microsoft.com/office/drawing/2014/main" id="{0B5F9118-91D3-4406-8BF6-D71F351DA04A}"/>
                  </a:ext>
                </a:extLst>
              </p:cNvPr>
              <p:cNvSpPr/>
              <p:nvPr/>
            </p:nvSpPr>
            <p:spPr>
              <a:xfrm>
                <a:off x="4605993" y="2543519"/>
                <a:ext cx="18340" cy="18425"/>
              </a:xfrm>
              <a:custGeom>
                <a:avLst/>
                <a:gdLst>
                  <a:gd name="connsiteX0" fmla="*/ 4506 w 18340"/>
                  <a:gd name="connsiteY0" fmla="*/ 17108 h 18425"/>
                  <a:gd name="connsiteX1" fmla="*/ 17065 w 18340"/>
                  <a:gd name="connsiteY1" fmla="*/ 13938 h 18425"/>
                  <a:gd name="connsiteX2" fmla="*/ 13835 w 18340"/>
                  <a:gd name="connsiteY2" fmla="*/ 1318 h 18425"/>
                  <a:gd name="connsiteX3" fmla="*/ 1276 w 18340"/>
                  <a:gd name="connsiteY3" fmla="*/ 4488 h 18425"/>
                  <a:gd name="connsiteX4" fmla="*/ 4506 w 18340"/>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4506" y="17108"/>
                    </a:moveTo>
                    <a:cubicBezTo>
                      <a:pt x="8871" y="19739"/>
                      <a:pt x="14493" y="18304"/>
                      <a:pt x="17065" y="13938"/>
                    </a:cubicBezTo>
                    <a:cubicBezTo>
                      <a:pt x="19637" y="9572"/>
                      <a:pt x="18201" y="3890"/>
                      <a:pt x="13835" y="1318"/>
                    </a:cubicBezTo>
                    <a:cubicBezTo>
                      <a:pt x="9470" y="-1313"/>
                      <a:pt x="3848" y="122"/>
                      <a:pt x="1276" y="4488"/>
                    </a:cubicBezTo>
                    <a:cubicBezTo>
                      <a:pt x="-1296" y="8854"/>
                      <a:pt x="140" y="14476"/>
                      <a:pt x="4506" y="17108"/>
                    </a:cubicBezTo>
                    <a:close/>
                  </a:path>
                </a:pathLst>
              </a:custGeom>
              <a:grpFill/>
              <a:ln w="5978" cap="flat">
                <a:noFill/>
                <a:prstDash val="solid"/>
                <a:miter/>
              </a:ln>
            </p:spPr>
            <p:txBody>
              <a:bodyPr rtlCol="0" anchor="ctr"/>
              <a:lstStyle/>
              <a:p>
                <a:endParaRPr lang="en-GB"/>
              </a:p>
            </p:txBody>
          </p:sp>
        </p:grpSp>
        <p:grpSp>
          <p:nvGrpSpPr>
            <p:cNvPr id="959" name="Graphic 3">
              <a:extLst>
                <a:ext uri="{FF2B5EF4-FFF2-40B4-BE49-F238E27FC236}">
                  <a16:creationId xmlns:a16="http://schemas.microsoft.com/office/drawing/2014/main" id="{A6B25145-B0EA-4E7C-BBD7-CE6545DD1185}"/>
                </a:ext>
              </a:extLst>
            </p:cNvPr>
            <p:cNvGrpSpPr/>
            <p:nvPr/>
          </p:nvGrpSpPr>
          <p:grpSpPr>
            <a:xfrm>
              <a:off x="5318173" y="4971868"/>
              <a:ext cx="136408" cy="229909"/>
              <a:chOff x="5318173" y="4971868"/>
              <a:chExt cx="136408" cy="229909"/>
            </a:xfrm>
            <a:grpFill/>
          </p:grpSpPr>
          <p:sp>
            <p:nvSpPr>
              <p:cNvPr id="2522" name="Vrije vorm: vorm 2521">
                <a:extLst>
                  <a:ext uri="{FF2B5EF4-FFF2-40B4-BE49-F238E27FC236}">
                    <a16:creationId xmlns:a16="http://schemas.microsoft.com/office/drawing/2014/main" id="{66AF9061-E754-46AE-8841-64C7932C7F70}"/>
                  </a:ext>
                </a:extLst>
              </p:cNvPr>
              <p:cNvSpPr/>
              <p:nvPr/>
            </p:nvSpPr>
            <p:spPr>
              <a:xfrm>
                <a:off x="5325792" y="4979948"/>
                <a:ext cx="121169" cy="213810"/>
              </a:xfrm>
              <a:custGeom>
                <a:avLst/>
                <a:gdLst>
                  <a:gd name="connsiteX0" fmla="*/ 121169 w 121169"/>
                  <a:gd name="connsiteY0" fmla="*/ 1495 h 213810"/>
                  <a:gd name="connsiteX1" fmla="*/ 2632 w 121169"/>
                  <a:gd name="connsiteY1" fmla="*/ 213811 h 213810"/>
                  <a:gd name="connsiteX2" fmla="*/ 0 w 121169"/>
                  <a:gd name="connsiteY2" fmla="*/ 212256 h 213810"/>
                  <a:gd name="connsiteX3" fmla="*/ 118478 w 121169"/>
                  <a:gd name="connsiteY3" fmla="*/ 0 h 213810"/>
                </a:gdLst>
                <a:ahLst/>
                <a:cxnLst>
                  <a:cxn ang="0">
                    <a:pos x="connsiteX0" y="connsiteY0"/>
                  </a:cxn>
                  <a:cxn ang="0">
                    <a:pos x="connsiteX1" y="connsiteY1"/>
                  </a:cxn>
                  <a:cxn ang="0">
                    <a:pos x="connsiteX2" y="connsiteY2"/>
                  </a:cxn>
                  <a:cxn ang="0">
                    <a:pos x="connsiteX3" y="connsiteY3"/>
                  </a:cxn>
                </a:cxnLst>
                <a:rect l="l" t="t" r="r" b="b"/>
                <a:pathLst>
                  <a:path w="121169" h="213810">
                    <a:moveTo>
                      <a:pt x="121169" y="1495"/>
                    </a:moveTo>
                    <a:lnTo>
                      <a:pt x="2632" y="213811"/>
                    </a:lnTo>
                    <a:lnTo>
                      <a:pt x="0" y="212256"/>
                    </a:lnTo>
                    <a:lnTo>
                      <a:pt x="118478" y="0"/>
                    </a:lnTo>
                    <a:close/>
                  </a:path>
                </a:pathLst>
              </a:custGeom>
              <a:grpFill/>
              <a:ln w="5978" cap="flat">
                <a:noFill/>
                <a:prstDash val="solid"/>
                <a:miter/>
              </a:ln>
            </p:spPr>
            <p:txBody>
              <a:bodyPr rtlCol="0" anchor="ctr"/>
              <a:lstStyle/>
              <a:p>
                <a:endParaRPr lang="en-GB"/>
              </a:p>
            </p:txBody>
          </p:sp>
          <p:sp>
            <p:nvSpPr>
              <p:cNvPr id="2523" name="Vrije vorm: vorm 2522">
                <a:extLst>
                  <a:ext uri="{FF2B5EF4-FFF2-40B4-BE49-F238E27FC236}">
                    <a16:creationId xmlns:a16="http://schemas.microsoft.com/office/drawing/2014/main" id="{C060E7C4-245A-4404-94C8-5047AE0A4843}"/>
                  </a:ext>
                </a:extLst>
              </p:cNvPr>
              <p:cNvSpPr/>
              <p:nvPr/>
            </p:nvSpPr>
            <p:spPr>
              <a:xfrm>
                <a:off x="5436232" y="4971868"/>
                <a:ext cx="18348" cy="18431"/>
              </a:xfrm>
              <a:custGeom>
                <a:avLst/>
                <a:gdLst>
                  <a:gd name="connsiteX0" fmla="*/ 1160 w 18348"/>
                  <a:gd name="connsiteY0" fmla="*/ 4670 h 18431"/>
                  <a:gd name="connsiteX1" fmla="*/ 13660 w 18348"/>
                  <a:gd name="connsiteY1" fmla="*/ 1201 h 18431"/>
                  <a:gd name="connsiteX2" fmla="*/ 17189 w 18348"/>
                  <a:gd name="connsiteY2" fmla="*/ 13761 h 18431"/>
                  <a:gd name="connsiteX3" fmla="*/ 4689 w 18348"/>
                  <a:gd name="connsiteY3" fmla="*/ 17230 h 18431"/>
                  <a:gd name="connsiteX4" fmla="*/ 1160 w 18348"/>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1">
                    <a:moveTo>
                      <a:pt x="1160" y="4670"/>
                    </a:moveTo>
                    <a:cubicBezTo>
                      <a:pt x="3612" y="245"/>
                      <a:pt x="9234" y="-1310"/>
                      <a:pt x="13660" y="1201"/>
                    </a:cubicBezTo>
                    <a:cubicBezTo>
                      <a:pt x="18086" y="3713"/>
                      <a:pt x="19641" y="9335"/>
                      <a:pt x="17189" y="13761"/>
                    </a:cubicBezTo>
                    <a:cubicBezTo>
                      <a:pt x="14736" y="18187"/>
                      <a:pt x="9115" y="19741"/>
                      <a:pt x="4689" y="17230"/>
                    </a:cubicBezTo>
                    <a:cubicBezTo>
                      <a:pt x="263" y="14718"/>
                      <a:pt x="-1292" y="9096"/>
                      <a:pt x="1160" y="4670"/>
                    </a:cubicBezTo>
                    <a:close/>
                  </a:path>
                </a:pathLst>
              </a:custGeom>
              <a:grpFill/>
              <a:ln w="5978" cap="flat">
                <a:noFill/>
                <a:prstDash val="solid"/>
                <a:miter/>
              </a:ln>
            </p:spPr>
            <p:txBody>
              <a:bodyPr rtlCol="0" anchor="ctr"/>
              <a:lstStyle/>
              <a:p>
                <a:endParaRPr lang="en-GB"/>
              </a:p>
            </p:txBody>
          </p:sp>
          <p:sp>
            <p:nvSpPr>
              <p:cNvPr id="2524" name="Vrije vorm: vorm 2523">
                <a:extLst>
                  <a:ext uri="{FF2B5EF4-FFF2-40B4-BE49-F238E27FC236}">
                    <a16:creationId xmlns:a16="http://schemas.microsoft.com/office/drawing/2014/main" id="{E208E45B-F020-447F-A88C-6B1CBB9C3B40}"/>
                  </a:ext>
                </a:extLst>
              </p:cNvPr>
              <p:cNvSpPr/>
              <p:nvPr/>
            </p:nvSpPr>
            <p:spPr>
              <a:xfrm>
                <a:off x="5318173" y="5183346"/>
                <a:ext cx="18348" cy="18431"/>
              </a:xfrm>
              <a:custGeom>
                <a:avLst/>
                <a:gdLst>
                  <a:gd name="connsiteX0" fmla="*/ 1160 w 18348"/>
                  <a:gd name="connsiteY0" fmla="*/ 4670 h 18431"/>
                  <a:gd name="connsiteX1" fmla="*/ 4689 w 18348"/>
                  <a:gd name="connsiteY1" fmla="*/ 17230 h 18431"/>
                  <a:gd name="connsiteX2" fmla="*/ 17189 w 18348"/>
                  <a:gd name="connsiteY2" fmla="*/ 13761 h 18431"/>
                  <a:gd name="connsiteX3" fmla="*/ 13660 w 18348"/>
                  <a:gd name="connsiteY3" fmla="*/ 1201 h 18431"/>
                  <a:gd name="connsiteX4" fmla="*/ 1160 w 18348"/>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1">
                    <a:moveTo>
                      <a:pt x="1160" y="4670"/>
                    </a:moveTo>
                    <a:cubicBezTo>
                      <a:pt x="-1292" y="9096"/>
                      <a:pt x="263" y="14718"/>
                      <a:pt x="4689" y="17230"/>
                    </a:cubicBezTo>
                    <a:cubicBezTo>
                      <a:pt x="9115" y="19742"/>
                      <a:pt x="14677" y="18187"/>
                      <a:pt x="17189" y="13761"/>
                    </a:cubicBezTo>
                    <a:cubicBezTo>
                      <a:pt x="19641" y="9335"/>
                      <a:pt x="18086" y="3714"/>
                      <a:pt x="13660" y="1201"/>
                    </a:cubicBezTo>
                    <a:cubicBezTo>
                      <a:pt x="9234" y="-1310"/>
                      <a:pt x="3612" y="245"/>
                      <a:pt x="1160" y="4670"/>
                    </a:cubicBezTo>
                    <a:close/>
                  </a:path>
                </a:pathLst>
              </a:custGeom>
              <a:grpFill/>
              <a:ln w="5978" cap="flat">
                <a:noFill/>
                <a:prstDash val="solid"/>
                <a:miter/>
              </a:ln>
            </p:spPr>
            <p:txBody>
              <a:bodyPr rtlCol="0" anchor="ctr"/>
              <a:lstStyle/>
              <a:p>
                <a:endParaRPr lang="en-GB"/>
              </a:p>
            </p:txBody>
          </p:sp>
        </p:grpSp>
        <p:grpSp>
          <p:nvGrpSpPr>
            <p:cNvPr id="960" name="Graphic 3">
              <a:extLst>
                <a:ext uri="{FF2B5EF4-FFF2-40B4-BE49-F238E27FC236}">
                  <a16:creationId xmlns:a16="http://schemas.microsoft.com/office/drawing/2014/main" id="{0AC526E6-8203-4E5D-A49B-98E3B824468D}"/>
                </a:ext>
              </a:extLst>
            </p:cNvPr>
            <p:cNvGrpSpPr/>
            <p:nvPr/>
          </p:nvGrpSpPr>
          <p:grpSpPr>
            <a:xfrm>
              <a:off x="4461493" y="2374616"/>
              <a:ext cx="61771" cy="46762"/>
              <a:chOff x="4461493" y="2374616"/>
              <a:chExt cx="61771" cy="46762"/>
            </a:xfrm>
            <a:grpFill/>
          </p:grpSpPr>
          <p:sp>
            <p:nvSpPr>
              <p:cNvPr id="2519" name="Vrije vorm: vorm 2518">
                <a:extLst>
                  <a:ext uri="{FF2B5EF4-FFF2-40B4-BE49-F238E27FC236}">
                    <a16:creationId xmlns:a16="http://schemas.microsoft.com/office/drawing/2014/main" id="{CA8C4A45-3756-4954-8700-CA198C762C74}"/>
                  </a:ext>
                </a:extLst>
              </p:cNvPr>
              <p:cNvSpPr/>
              <p:nvPr/>
            </p:nvSpPr>
            <p:spPr>
              <a:xfrm>
                <a:off x="4469473" y="2382341"/>
                <a:ext cx="45812" cy="31338"/>
              </a:xfrm>
              <a:custGeom>
                <a:avLst/>
                <a:gdLst>
                  <a:gd name="connsiteX0" fmla="*/ 45813 w 45812"/>
                  <a:gd name="connsiteY0" fmla="*/ 28767 h 31338"/>
                  <a:gd name="connsiteX1" fmla="*/ 44198 w 45812"/>
                  <a:gd name="connsiteY1" fmla="*/ 31339 h 31338"/>
                  <a:gd name="connsiteX2" fmla="*/ 0 w 45812"/>
                  <a:gd name="connsiteY2" fmla="*/ 2512 h 31338"/>
                  <a:gd name="connsiteX3" fmla="*/ 1615 w 45812"/>
                  <a:gd name="connsiteY3" fmla="*/ 0 h 31338"/>
                </a:gdLst>
                <a:ahLst/>
                <a:cxnLst>
                  <a:cxn ang="0">
                    <a:pos x="connsiteX0" y="connsiteY0"/>
                  </a:cxn>
                  <a:cxn ang="0">
                    <a:pos x="connsiteX1" y="connsiteY1"/>
                  </a:cxn>
                  <a:cxn ang="0">
                    <a:pos x="connsiteX2" y="connsiteY2"/>
                  </a:cxn>
                  <a:cxn ang="0">
                    <a:pos x="connsiteX3" y="connsiteY3"/>
                  </a:cxn>
                </a:cxnLst>
                <a:rect l="l" t="t" r="r" b="b"/>
                <a:pathLst>
                  <a:path w="45812" h="31338">
                    <a:moveTo>
                      <a:pt x="45813" y="28767"/>
                    </a:moveTo>
                    <a:lnTo>
                      <a:pt x="44198" y="31339"/>
                    </a:lnTo>
                    <a:lnTo>
                      <a:pt x="0" y="2512"/>
                    </a:lnTo>
                    <a:lnTo>
                      <a:pt x="1615" y="0"/>
                    </a:lnTo>
                    <a:close/>
                  </a:path>
                </a:pathLst>
              </a:custGeom>
              <a:grpFill/>
              <a:ln w="5978" cap="flat">
                <a:noFill/>
                <a:prstDash val="solid"/>
                <a:miter/>
              </a:ln>
            </p:spPr>
            <p:txBody>
              <a:bodyPr rtlCol="0" anchor="ctr"/>
              <a:lstStyle/>
              <a:p>
                <a:endParaRPr lang="en-GB"/>
              </a:p>
            </p:txBody>
          </p:sp>
          <p:sp>
            <p:nvSpPr>
              <p:cNvPr id="2520" name="Vrije vorm: vorm 2519">
                <a:extLst>
                  <a:ext uri="{FF2B5EF4-FFF2-40B4-BE49-F238E27FC236}">
                    <a16:creationId xmlns:a16="http://schemas.microsoft.com/office/drawing/2014/main" id="{CD19DC77-095E-47C4-AC66-778CF435F1E9}"/>
                  </a:ext>
                </a:extLst>
              </p:cNvPr>
              <p:cNvSpPr/>
              <p:nvPr/>
            </p:nvSpPr>
            <p:spPr>
              <a:xfrm>
                <a:off x="4461493" y="2374616"/>
                <a:ext cx="18351" cy="18440"/>
              </a:xfrm>
              <a:custGeom>
                <a:avLst/>
                <a:gdLst>
                  <a:gd name="connsiteX0" fmla="*/ 4212 w 18351"/>
                  <a:gd name="connsiteY0" fmla="*/ 16935 h 18440"/>
                  <a:gd name="connsiteX1" fmla="*/ 1461 w 18351"/>
                  <a:gd name="connsiteY1" fmla="*/ 4196 h 18440"/>
                  <a:gd name="connsiteX2" fmla="*/ 14140 w 18351"/>
                  <a:gd name="connsiteY2" fmla="*/ 1505 h 18440"/>
                  <a:gd name="connsiteX3" fmla="*/ 16891 w 18351"/>
                  <a:gd name="connsiteY3" fmla="*/ 14244 h 18440"/>
                  <a:gd name="connsiteX4" fmla="*/ 4212 w 18351"/>
                  <a:gd name="connsiteY4" fmla="*/ 16935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40">
                    <a:moveTo>
                      <a:pt x="4212" y="16935"/>
                    </a:moveTo>
                    <a:cubicBezTo>
                      <a:pt x="-34" y="14184"/>
                      <a:pt x="-1290" y="8443"/>
                      <a:pt x="1461" y="4196"/>
                    </a:cubicBezTo>
                    <a:cubicBezTo>
                      <a:pt x="4212" y="-50"/>
                      <a:pt x="9893" y="-1306"/>
                      <a:pt x="14140" y="1505"/>
                    </a:cubicBezTo>
                    <a:cubicBezTo>
                      <a:pt x="18386" y="4256"/>
                      <a:pt x="19642" y="9998"/>
                      <a:pt x="16891" y="14244"/>
                    </a:cubicBezTo>
                    <a:cubicBezTo>
                      <a:pt x="14140" y="18490"/>
                      <a:pt x="8458" y="19746"/>
                      <a:pt x="4212" y="16935"/>
                    </a:cubicBezTo>
                    <a:close/>
                  </a:path>
                </a:pathLst>
              </a:custGeom>
              <a:grpFill/>
              <a:ln w="5978" cap="flat">
                <a:noFill/>
                <a:prstDash val="solid"/>
                <a:miter/>
              </a:ln>
            </p:spPr>
            <p:txBody>
              <a:bodyPr rtlCol="0" anchor="ctr"/>
              <a:lstStyle/>
              <a:p>
                <a:endParaRPr lang="en-GB"/>
              </a:p>
            </p:txBody>
          </p:sp>
          <p:sp>
            <p:nvSpPr>
              <p:cNvPr id="2521" name="Vrije vorm: vorm 2520">
                <a:extLst>
                  <a:ext uri="{FF2B5EF4-FFF2-40B4-BE49-F238E27FC236}">
                    <a16:creationId xmlns:a16="http://schemas.microsoft.com/office/drawing/2014/main" id="{0DE6D63F-1A4E-48A3-94AA-B308E3A34860}"/>
                  </a:ext>
                </a:extLst>
              </p:cNvPr>
              <p:cNvSpPr/>
              <p:nvPr/>
            </p:nvSpPr>
            <p:spPr>
              <a:xfrm>
                <a:off x="4504913" y="2402991"/>
                <a:ext cx="18351" cy="18387"/>
              </a:xfrm>
              <a:custGeom>
                <a:avLst/>
                <a:gdLst>
                  <a:gd name="connsiteX0" fmla="*/ 4212 w 18351"/>
                  <a:gd name="connsiteY0" fmla="*/ 16909 h 18387"/>
                  <a:gd name="connsiteX1" fmla="*/ 16891 w 18351"/>
                  <a:gd name="connsiteY1" fmla="*/ 14217 h 18387"/>
                  <a:gd name="connsiteX2" fmla="*/ 14140 w 18351"/>
                  <a:gd name="connsiteY2" fmla="*/ 1479 h 18387"/>
                  <a:gd name="connsiteX3" fmla="*/ 1461 w 18351"/>
                  <a:gd name="connsiteY3" fmla="*/ 4170 h 18387"/>
                  <a:gd name="connsiteX4" fmla="*/ 4212 w 18351"/>
                  <a:gd name="connsiteY4" fmla="*/ 1690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7">
                    <a:moveTo>
                      <a:pt x="4212" y="16909"/>
                    </a:moveTo>
                    <a:cubicBezTo>
                      <a:pt x="8458" y="19660"/>
                      <a:pt x="14140" y="18464"/>
                      <a:pt x="16891" y="14217"/>
                    </a:cubicBezTo>
                    <a:cubicBezTo>
                      <a:pt x="19642" y="9971"/>
                      <a:pt x="18386" y="4230"/>
                      <a:pt x="14140" y="1479"/>
                    </a:cubicBezTo>
                    <a:cubicBezTo>
                      <a:pt x="9893" y="-1273"/>
                      <a:pt x="4212" y="-76"/>
                      <a:pt x="1461" y="4170"/>
                    </a:cubicBezTo>
                    <a:cubicBezTo>
                      <a:pt x="-1290" y="8416"/>
                      <a:pt x="-34" y="14098"/>
                      <a:pt x="4212" y="16909"/>
                    </a:cubicBezTo>
                    <a:close/>
                  </a:path>
                </a:pathLst>
              </a:custGeom>
              <a:grpFill/>
              <a:ln w="5978" cap="flat">
                <a:noFill/>
                <a:prstDash val="solid"/>
                <a:miter/>
              </a:ln>
            </p:spPr>
            <p:txBody>
              <a:bodyPr rtlCol="0" anchor="ctr"/>
              <a:lstStyle/>
              <a:p>
                <a:endParaRPr lang="en-GB"/>
              </a:p>
            </p:txBody>
          </p:sp>
        </p:grpSp>
        <p:grpSp>
          <p:nvGrpSpPr>
            <p:cNvPr id="961" name="Graphic 3">
              <a:extLst>
                <a:ext uri="{FF2B5EF4-FFF2-40B4-BE49-F238E27FC236}">
                  <a16:creationId xmlns:a16="http://schemas.microsoft.com/office/drawing/2014/main" id="{CFCE2A39-9765-46B4-AC58-95E86DC828FE}"/>
                </a:ext>
              </a:extLst>
            </p:cNvPr>
            <p:cNvGrpSpPr/>
            <p:nvPr/>
          </p:nvGrpSpPr>
          <p:grpSpPr>
            <a:xfrm>
              <a:off x="5369592" y="5051917"/>
              <a:ext cx="55219" cy="113232"/>
              <a:chOff x="5369592" y="5051917"/>
              <a:chExt cx="55219" cy="113232"/>
            </a:xfrm>
            <a:grpFill/>
          </p:grpSpPr>
          <p:sp>
            <p:nvSpPr>
              <p:cNvPr id="2516" name="Vrije vorm: vorm 2515">
                <a:extLst>
                  <a:ext uri="{FF2B5EF4-FFF2-40B4-BE49-F238E27FC236}">
                    <a16:creationId xmlns:a16="http://schemas.microsoft.com/office/drawing/2014/main" id="{1DC38CC8-67AC-40B7-8A16-F213C33A240D}"/>
                  </a:ext>
                </a:extLst>
              </p:cNvPr>
              <p:cNvSpPr/>
              <p:nvPr/>
            </p:nvSpPr>
            <p:spPr>
              <a:xfrm>
                <a:off x="5377167" y="5060149"/>
                <a:ext cx="40070" cy="96768"/>
              </a:xfrm>
              <a:custGeom>
                <a:avLst/>
                <a:gdLst>
                  <a:gd name="connsiteX0" fmla="*/ 40071 w 40070"/>
                  <a:gd name="connsiteY0" fmla="*/ 1136 h 96768"/>
                  <a:gd name="connsiteX1" fmla="*/ 2811 w 40070"/>
                  <a:gd name="connsiteY1" fmla="*/ 96768 h 96768"/>
                  <a:gd name="connsiteX2" fmla="*/ 0 w 40070"/>
                  <a:gd name="connsiteY2" fmla="*/ 95632 h 96768"/>
                  <a:gd name="connsiteX3" fmla="*/ 37200 w 40070"/>
                  <a:gd name="connsiteY3" fmla="*/ 0 h 96768"/>
                </a:gdLst>
                <a:ahLst/>
                <a:cxnLst>
                  <a:cxn ang="0">
                    <a:pos x="connsiteX0" y="connsiteY0"/>
                  </a:cxn>
                  <a:cxn ang="0">
                    <a:pos x="connsiteX1" y="connsiteY1"/>
                  </a:cxn>
                  <a:cxn ang="0">
                    <a:pos x="connsiteX2" y="connsiteY2"/>
                  </a:cxn>
                  <a:cxn ang="0">
                    <a:pos x="connsiteX3" y="connsiteY3"/>
                  </a:cxn>
                </a:cxnLst>
                <a:rect l="l" t="t" r="r" b="b"/>
                <a:pathLst>
                  <a:path w="40070" h="96768">
                    <a:moveTo>
                      <a:pt x="40071" y="1136"/>
                    </a:moveTo>
                    <a:lnTo>
                      <a:pt x="2811" y="96768"/>
                    </a:lnTo>
                    <a:lnTo>
                      <a:pt x="0" y="95632"/>
                    </a:lnTo>
                    <a:lnTo>
                      <a:pt x="37200" y="0"/>
                    </a:lnTo>
                    <a:close/>
                  </a:path>
                </a:pathLst>
              </a:custGeom>
              <a:grpFill/>
              <a:ln w="5978" cap="flat">
                <a:noFill/>
                <a:prstDash val="solid"/>
                <a:miter/>
              </a:ln>
            </p:spPr>
            <p:txBody>
              <a:bodyPr rtlCol="0" anchor="ctr"/>
              <a:lstStyle/>
              <a:p>
                <a:endParaRPr lang="en-GB"/>
              </a:p>
            </p:txBody>
          </p:sp>
          <p:sp>
            <p:nvSpPr>
              <p:cNvPr id="2517" name="Vrije vorm: vorm 2516">
                <a:extLst>
                  <a:ext uri="{FF2B5EF4-FFF2-40B4-BE49-F238E27FC236}">
                    <a16:creationId xmlns:a16="http://schemas.microsoft.com/office/drawing/2014/main" id="{B69A352F-8100-403E-B7CF-29AF75BEFA81}"/>
                  </a:ext>
                </a:extLst>
              </p:cNvPr>
              <p:cNvSpPr/>
              <p:nvPr/>
            </p:nvSpPr>
            <p:spPr>
              <a:xfrm>
                <a:off x="5369592" y="5146711"/>
                <a:ext cx="18318" cy="18438"/>
              </a:xfrm>
              <a:custGeom>
                <a:avLst/>
                <a:gdLst>
                  <a:gd name="connsiteX0" fmla="*/ 17682 w 18318"/>
                  <a:gd name="connsiteY0" fmla="*/ 12598 h 18438"/>
                  <a:gd name="connsiteX1" fmla="*/ 5840 w 18318"/>
                  <a:gd name="connsiteY1" fmla="*/ 17801 h 18438"/>
                  <a:gd name="connsiteX2" fmla="*/ 637 w 18318"/>
                  <a:gd name="connsiteY2" fmla="*/ 5840 h 18438"/>
                  <a:gd name="connsiteX3" fmla="*/ 12479 w 18318"/>
                  <a:gd name="connsiteY3" fmla="*/ 637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5828" y="17323"/>
                      <a:pt x="10505" y="19655"/>
                      <a:pt x="5840" y="17801"/>
                    </a:cubicBezTo>
                    <a:cubicBezTo>
                      <a:pt x="1115" y="15947"/>
                      <a:pt x="-1217" y="10565"/>
                      <a:pt x="637" y="5840"/>
                    </a:cubicBezTo>
                    <a:cubicBezTo>
                      <a:pt x="2491" y="1115"/>
                      <a:pt x="7814" y="-1217"/>
                      <a:pt x="12479" y="637"/>
                    </a:cubicBezTo>
                    <a:cubicBezTo>
                      <a:pt x="17204" y="2491"/>
                      <a:pt x="19536" y="7873"/>
                      <a:pt x="17682" y="12598"/>
                    </a:cubicBezTo>
                    <a:close/>
                  </a:path>
                </a:pathLst>
              </a:custGeom>
              <a:grpFill/>
              <a:ln w="5978" cap="flat">
                <a:noFill/>
                <a:prstDash val="solid"/>
                <a:miter/>
              </a:ln>
            </p:spPr>
            <p:txBody>
              <a:bodyPr rtlCol="0" anchor="ctr"/>
              <a:lstStyle/>
              <a:p>
                <a:endParaRPr lang="en-GB"/>
              </a:p>
            </p:txBody>
          </p:sp>
          <p:sp>
            <p:nvSpPr>
              <p:cNvPr id="2518" name="Vrije vorm: vorm 2517">
                <a:extLst>
                  <a:ext uri="{FF2B5EF4-FFF2-40B4-BE49-F238E27FC236}">
                    <a16:creationId xmlns:a16="http://schemas.microsoft.com/office/drawing/2014/main" id="{29503882-6E7D-4AE3-B312-BB6F34A008C5}"/>
                  </a:ext>
                </a:extLst>
              </p:cNvPr>
              <p:cNvSpPr/>
              <p:nvPr/>
            </p:nvSpPr>
            <p:spPr>
              <a:xfrm>
                <a:off x="5406494" y="5051917"/>
                <a:ext cx="18318" cy="18438"/>
              </a:xfrm>
              <a:custGeom>
                <a:avLst/>
                <a:gdLst>
                  <a:gd name="connsiteX0" fmla="*/ 17682 w 18318"/>
                  <a:gd name="connsiteY0" fmla="*/ 12598 h 18438"/>
                  <a:gd name="connsiteX1" fmla="*/ 12479 w 18318"/>
                  <a:gd name="connsiteY1" fmla="*/ 637 h 18438"/>
                  <a:gd name="connsiteX2" fmla="*/ 637 w 18318"/>
                  <a:gd name="connsiteY2" fmla="*/ 5840 h 18438"/>
                  <a:gd name="connsiteX3" fmla="*/ 5840 w 18318"/>
                  <a:gd name="connsiteY3" fmla="*/ 17802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9536" y="7874"/>
                      <a:pt x="17203" y="2491"/>
                      <a:pt x="12479" y="637"/>
                    </a:cubicBezTo>
                    <a:cubicBezTo>
                      <a:pt x="7754" y="-1217"/>
                      <a:pt x="2431" y="1115"/>
                      <a:pt x="637" y="5840"/>
                    </a:cubicBezTo>
                    <a:cubicBezTo>
                      <a:pt x="-1217" y="10565"/>
                      <a:pt x="1115" y="15947"/>
                      <a:pt x="5840" y="17802"/>
                    </a:cubicBezTo>
                    <a:cubicBezTo>
                      <a:pt x="10505" y="19656"/>
                      <a:pt x="15828" y="17323"/>
                      <a:pt x="17682" y="12598"/>
                    </a:cubicBezTo>
                    <a:close/>
                  </a:path>
                </a:pathLst>
              </a:custGeom>
              <a:grpFill/>
              <a:ln w="5978" cap="flat">
                <a:noFill/>
                <a:prstDash val="solid"/>
                <a:miter/>
              </a:ln>
            </p:spPr>
            <p:txBody>
              <a:bodyPr rtlCol="0" anchor="ctr"/>
              <a:lstStyle/>
              <a:p>
                <a:endParaRPr lang="en-GB"/>
              </a:p>
            </p:txBody>
          </p:sp>
        </p:grpSp>
        <p:grpSp>
          <p:nvGrpSpPr>
            <p:cNvPr id="962" name="Graphic 3">
              <a:extLst>
                <a:ext uri="{FF2B5EF4-FFF2-40B4-BE49-F238E27FC236}">
                  <a16:creationId xmlns:a16="http://schemas.microsoft.com/office/drawing/2014/main" id="{E55DCCC1-6634-4BC8-9985-150485B74D47}"/>
                </a:ext>
              </a:extLst>
            </p:cNvPr>
            <p:cNvGrpSpPr/>
            <p:nvPr/>
          </p:nvGrpSpPr>
          <p:grpSpPr>
            <a:xfrm>
              <a:off x="5488683" y="5435033"/>
              <a:ext cx="77977" cy="261511"/>
              <a:chOff x="5488683" y="5435033"/>
              <a:chExt cx="77977" cy="261511"/>
            </a:xfrm>
            <a:grpFill/>
          </p:grpSpPr>
          <p:sp>
            <p:nvSpPr>
              <p:cNvPr id="2513" name="Vrije vorm: vorm 2512">
                <a:extLst>
                  <a:ext uri="{FF2B5EF4-FFF2-40B4-BE49-F238E27FC236}">
                    <a16:creationId xmlns:a16="http://schemas.microsoft.com/office/drawing/2014/main" id="{741A2E1B-CCAA-428D-B93A-427332D68D50}"/>
                  </a:ext>
                </a:extLst>
              </p:cNvPr>
              <p:cNvSpPr/>
              <p:nvPr/>
            </p:nvSpPr>
            <p:spPr>
              <a:xfrm>
                <a:off x="5496243" y="5443454"/>
                <a:ext cx="62857" cy="244671"/>
              </a:xfrm>
              <a:custGeom>
                <a:avLst/>
                <a:gdLst>
                  <a:gd name="connsiteX0" fmla="*/ 62857 w 62857"/>
                  <a:gd name="connsiteY0" fmla="*/ 718 h 244671"/>
                  <a:gd name="connsiteX1" fmla="*/ 2990 w 62857"/>
                  <a:gd name="connsiteY1" fmla="*/ 244671 h 244671"/>
                  <a:gd name="connsiteX2" fmla="*/ 0 w 62857"/>
                  <a:gd name="connsiteY2" fmla="*/ 243953 h 244671"/>
                  <a:gd name="connsiteX3" fmla="*/ 59867 w 62857"/>
                  <a:gd name="connsiteY3" fmla="*/ 0 h 244671"/>
                </a:gdLst>
                <a:ahLst/>
                <a:cxnLst>
                  <a:cxn ang="0">
                    <a:pos x="connsiteX0" y="connsiteY0"/>
                  </a:cxn>
                  <a:cxn ang="0">
                    <a:pos x="connsiteX1" y="connsiteY1"/>
                  </a:cxn>
                  <a:cxn ang="0">
                    <a:pos x="connsiteX2" y="connsiteY2"/>
                  </a:cxn>
                  <a:cxn ang="0">
                    <a:pos x="connsiteX3" y="connsiteY3"/>
                  </a:cxn>
                </a:cxnLst>
                <a:rect l="l" t="t" r="r" b="b"/>
                <a:pathLst>
                  <a:path w="62857" h="244671">
                    <a:moveTo>
                      <a:pt x="62857" y="718"/>
                    </a:moveTo>
                    <a:lnTo>
                      <a:pt x="2990" y="244671"/>
                    </a:lnTo>
                    <a:lnTo>
                      <a:pt x="0" y="243953"/>
                    </a:lnTo>
                    <a:lnTo>
                      <a:pt x="59867" y="0"/>
                    </a:lnTo>
                    <a:close/>
                  </a:path>
                </a:pathLst>
              </a:custGeom>
              <a:grpFill/>
              <a:ln w="5978" cap="flat">
                <a:noFill/>
                <a:prstDash val="solid"/>
                <a:miter/>
              </a:ln>
            </p:spPr>
            <p:txBody>
              <a:bodyPr rtlCol="0" anchor="ctr"/>
              <a:lstStyle/>
              <a:p>
                <a:endParaRPr lang="en-GB"/>
              </a:p>
            </p:txBody>
          </p:sp>
          <p:sp>
            <p:nvSpPr>
              <p:cNvPr id="2514" name="Vrije vorm: vorm 2513">
                <a:extLst>
                  <a:ext uri="{FF2B5EF4-FFF2-40B4-BE49-F238E27FC236}">
                    <a16:creationId xmlns:a16="http://schemas.microsoft.com/office/drawing/2014/main" id="{6367DF47-4F2B-473E-94E8-FC235D071037}"/>
                  </a:ext>
                </a:extLst>
              </p:cNvPr>
              <p:cNvSpPr/>
              <p:nvPr/>
            </p:nvSpPr>
            <p:spPr>
              <a:xfrm>
                <a:off x="5488683" y="5678093"/>
                <a:ext cx="18308" cy="18451"/>
              </a:xfrm>
              <a:custGeom>
                <a:avLst/>
                <a:gdLst>
                  <a:gd name="connsiteX0" fmla="*/ 18026 w 18308"/>
                  <a:gd name="connsiteY0" fmla="*/ 11467 h 18451"/>
                  <a:gd name="connsiteX1" fmla="*/ 6962 w 18308"/>
                  <a:gd name="connsiteY1" fmla="*/ 18165 h 18451"/>
                  <a:gd name="connsiteX2" fmla="*/ 263 w 18308"/>
                  <a:gd name="connsiteY2" fmla="*/ 6981 h 18451"/>
                  <a:gd name="connsiteX3" fmla="*/ 11328 w 18308"/>
                  <a:gd name="connsiteY3" fmla="*/ 283 h 18451"/>
                  <a:gd name="connsiteX4" fmla="*/ 18026 w 18308"/>
                  <a:gd name="connsiteY4" fmla="*/ 1146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1">
                    <a:moveTo>
                      <a:pt x="18026" y="11467"/>
                    </a:moveTo>
                    <a:cubicBezTo>
                      <a:pt x="16830" y="16431"/>
                      <a:pt x="11866" y="19421"/>
                      <a:pt x="6962" y="18165"/>
                    </a:cubicBezTo>
                    <a:cubicBezTo>
                      <a:pt x="2058" y="16909"/>
                      <a:pt x="-933" y="11945"/>
                      <a:pt x="263" y="6981"/>
                    </a:cubicBezTo>
                    <a:cubicBezTo>
                      <a:pt x="1460" y="2077"/>
                      <a:pt x="6423" y="-973"/>
                      <a:pt x="11328" y="283"/>
                    </a:cubicBezTo>
                    <a:cubicBezTo>
                      <a:pt x="16232" y="1539"/>
                      <a:pt x="19282" y="6562"/>
                      <a:pt x="18026" y="11467"/>
                    </a:cubicBezTo>
                    <a:close/>
                  </a:path>
                </a:pathLst>
              </a:custGeom>
              <a:grpFill/>
              <a:ln w="5978" cap="flat">
                <a:noFill/>
                <a:prstDash val="solid"/>
                <a:miter/>
              </a:ln>
            </p:spPr>
            <p:txBody>
              <a:bodyPr rtlCol="0" anchor="ctr"/>
              <a:lstStyle/>
              <a:p>
                <a:endParaRPr lang="en-GB"/>
              </a:p>
            </p:txBody>
          </p:sp>
          <p:sp>
            <p:nvSpPr>
              <p:cNvPr id="2515" name="Vrije vorm: vorm 2514">
                <a:extLst>
                  <a:ext uri="{FF2B5EF4-FFF2-40B4-BE49-F238E27FC236}">
                    <a16:creationId xmlns:a16="http://schemas.microsoft.com/office/drawing/2014/main" id="{985DA72A-DC86-40E1-BC15-D6C461A8FF64}"/>
                  </a:ext>
                </a:extLst>
              </p:cNvPr>
              <p:cNvSpPr/>
              <p:nvPr/>
            </p:nvSpPr>
            <p:spPr>
              <a:xfrm>
                <a:off x="5548371" y="5435033"/>
                <a:ext cx="18289" cy="18432"/>
              </a:xfrm>
              <a:custGeom>
                <a:avLst/>
                <a:gdLst>
                  <a:gd name="connsiteX0" fmla="*/ 18026 w 18289"/>
                  <a:gd name="connsiteY0" fmla="*/ 11471 h 18432"/>
                  <a:gd name="connsiteX1" fmla="*/ 11328 w 18289"/>
                  <a:gd name="connsiteY1" fmla="*/ 286 h 18432"/>
                  <a:gd name="connsiteX2" fmla="*/ 263 w 18289"/>
                  <a:gd name="connsiteY2" fmla="*/ 6985 h 18432"/>
                  <a:gd name="connsiteX3" fmla="*/ 6962 w 18289"/>
                  <a:gd name="connsiteY3" fmla="*/ 18169 h 18432"/>
                  <a:gd name="connsiteX4" fmla="*/ 18026 w 18289"/>
                  <a:gd name="connsiteY4" fmla="*/ 11471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32">
                    <a:moveTo>
                      <a:pt x="18026" y="11471"/>
                    </a:moveTo>
                    <a:cubicBezTo>
                      <a:pt x="19222" y="6507"/>
                      <a:pt x="16232" y="1542"/>
                      <a:pt x="11328" y="286"/>
                    </a:cubicBezTo>
                    <a:cubicBezTo>
                      <a:pt x="6424" y="-969"/>
                      <a:pt x="1460" y="2021"/>
                      <a:pt x="263" y="6985"/>
                    </a:cubicBezTo>
                    <a:cubicBezTo>
                      <a:pt x="-933" y="11889"/>
                      <a:pt x="2058" y="16913"/>
                      <a:pt x="6962" y="18169"/>
                    </a:cubicBezTo>
                    <a:cubicBezTo>
                      <a:pt x="11866" y="19365"/>
                      <a:pt x="16830" y="16374"/>
                      <a:pt x="18026" y="11471"/>
                    </a:cubicBezTo>
                    <a:close/>
                  </a:path>
                </a:pathLst>
              </a:custGeom>
              <a:grpFill/>
              <a:ln w="5978" cap="flat">
                <a:noFill/>
                <a:prstDash val="solid"/>
                <a:miter/>
              </a:ln>
            </p:spPr>
            <p:txBody>
              <a:bodyPr rtlCol="0" anchor="ctr"/>
              <a:lstStyle/>
              <a:p>
                <a:endParaRPr lang="en-GB"/>
              </a:p>
            </p:txBody>
          </p:sp>
        </p:grpSp>
        <p:grpSp>
          <p:nvGrpSpPr>
            <p:cNvPr id="963" name="Graphic 3">
              <a:extLst>
                <a:ext uri="{FF2B5EF4-FFF2-40B4-BE49-F238E27FC236}">
                  <a16:creationId xmlns:a16="http://schemas.microsoft.com/office/drawing/2014/main" id="{D92F7018-E7B1-4069-B185-328E963A04A3}"/>
                </a:ext>
              </a:extLst>
            </p:cNvPr>
            <p:cNvGrpSpPr/>
            <p:nvPr/>
          </p:nvGrpSpPr>
          <p:grpSpPr>
            <a:xfrm>
              <a:off x="5498479" y="5457692"/>
              <a:ext cx="102839" cy="392586"/>
              <a:chOff x="5498479" y="5457692"/>
              <a:chExt cx="102839" cy="392586"/>
            </a:xfrm>
            <a:grpFill/>
          </p:grpSpPr>
          <p:sp>
            <p:nvSpPr>
              <p:cNvPr id="2510" name="Vrije vorm: vorm 2509">
                <a:extLst>
                  <a:ext uri="{FF2B5EF4-FFF2-40B4-BE49-F238E27FC236}">
                    <a16:creationId xmlns:a16="http://schemas.microsoft.com/office/drawing/2014/main" id="{F7640267-A67C-4E68-A436-DF736CD517B3}"/>
                  </a:ext>
                </a:extLst>
              </p:cNvPr>
              <p:cNvSpPr/>
              <p:nvPr/>
            </p:nvSpPr>
            <p:spPr>
              <a:xfrm>
                <a:off x="5506051" y="5466120"/>
                <a:ext cx="87737" cy="375768"/>
              </a:xfrm>
              <a:custGeom>
                <a:avLst/>
                <a:gdLst>
                  <a:gd name="connsiteX0" fmla="*/ 87737 w 87737"/>
                  <a:gd name="connsiteY0" fmla="*/ 658 h 375768"/>
                  <a:gd name="connsiteX1" fmla="*/ 2990 w 87737"/>
                  <a:gd name="connsiteY1" fmla="*/ 375769 h 375768"/>
                  <a:gd name="connsiteX2" fmla="*/ 0 w 87737"/>
                  <a:gd name="connsiteY2" fmla="*/ 375051 h 375768"/>
                  <a:gd name="connsiteX3" fmla="*/ 84747 w 87737"/>
                  <a:gd name="connsiteY3" fmla="*/ 0 h 375768"/>
                </a:gdLst>
                <a:ahLst/>
                <a:cxnLst>
                  <a:cxn ang="0">
                    <a:pos x="connsiteX0" y="connsiteY0"/>
                  </a:cxn>
                  <a:cxn ang="0">
                    <a:pos x="connsiteX1" y="connsiteY1"/>
                  </a:cxn>
                  <a:cxn ang="0">
                    <a:pos x="connsiteX2" y="connsiteY2"/>
                  </a:cxn>
                  <a:cxn ang="0">
                    <a:pos x="connsiteX3" y="connsiteY3"/>
                  </a:cxn>
                </a:cxnLst>
                <a:rect l="l" t="t" r="r" b="b"/>
                <a:pathLst>
                  <a:path w="87737" h="375768">
                    <a:moveTo>
                      <a:pt x="87737" y="658"/>
                    </a:moveTo>
                    <a:lnTo>
                      <a:pt x="2990" y="375769"/>
                    </a:lnTo>
                    <a:lnTo>
                      <a:pt x="0" y="375051"/>
                    </a:lnTo>
                    <a:lnTo>
                      <a:pt x="84747" y="0"/>
                    </a:lnTo>
                    <a:close/>
                  </a:path>
                </a:pathLst>
              </a:custGeom>
              <a:grpFill/>
              <a:ln w="5978" cap="flat">
                <a:noFill/>
                <a:prstDash val="solid"/>
                <a:miter/>
              </a:ln>
            </p:spPr>
            <p:txBody>
              <a:bodyPr rtlCol="0" anchor="ctr"/>
              <a:lstStyle/>
              <a:p>
                <a:endParaRPr lang="en-GB"/>
              </a:p>
            </p:txBody>
          </p:sp>
          <p:sp>
            <p:nvSpPr>
              <p:cNvPr id="2511" name="Vrije vorm: vorm 2510">
                <a:extLst>
                  <a:ext uri="{FF2B5EF4-FFF2-40B4-BE49-F238E27FC236}">
                    <a16:creationId xmlns:a16="http://schemas.microsoft.com/office/drawing/2014/main" id="{6D1FC5FE-6328-429F-A65B-B57E46286545}"/>
                  </a:ext>
                </a:extLst>
              </p:cNvPr>
              <p:cNvSpPr/>
              <p:nvPr/>
            </p:nvSpPr>
            <p:spPr>
              <a:xfrm>
                <a:off x="5498479" y="5831824"/>
                <a:ext cx="18332" cy="18454"/>
              </a:xfrm>
              <a:custGeom>
                <a:avLst/>
                <a:gdLst>
                  <a:gd name="connsiteX0" fmla="*/ 18098 w 18332"/>
                  <a:gd name="connsiteY0" fmla="*/ 11320 h 18454"/>
                  <a:gd name="connsiteX1" fmla="*/ 7153 w 18332"/>
                  <a:gd name="connsiteY1" fmla="*/ 18198 h 18454"/>
                  <a:gd name="connsiteX2" fmla="*/ 216 w 18332"/>
                  <a:gd name="connsiteY2" fmla="*/ 7134 h 18454"/>
                  <a:gd name="connsiteX3" fmla="*/ 11161 w 18332"/>
                  <a:gd name="connsiteY3" fmla="*/ 256 h 18454"/>
                  <a:gd name="connsiteX4" fmla="*/ 18098 w 18332"/>
                  <a:gd name="connsiteY4" fmla="*/ 11320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4">
                    <a:moveTo>
                      <a:pt x="18098" y="11320"/>
                    </a:moveTo>
                    <a:cubicBezTo>
                      <a:pt x="16962" y="16284"/>
                      <a:pt x="12058" y="19395"/>
                      <a:pt x="7153" y="18198"/>
                    </a:cubicBezTo>
                    <a:cubicBezTo>
                      <a:pt x="2190" y="17062"/>
                      <a:pt x="-861" y="12098"/>
                      <a:pt x="216" y="7134"/>
                    </a:cubicBezTo>
                    <a:cubicBezTo>
                      <a:pt x="1352" y="2170"/>
                      <a:pt x="6256" y="-940"/>
                      <a:pt x="11161" y="256"/>
                    </a:cubicBezTo>
                    <a:cubicBezTo>
                      <a:pt x="16124" y="1452"/>
                      <a:pt x="19234" y="6357"/>
                      <a:pt x="18098" y="11320"/>
                    </a:cubicBezTo>
                    <a:close/>
                  </a:path>
                </a:pathLst>
              </a:custGeom>
              <a:grpFill/>
              <a:ln w="5978" cap="flat">
                <a:noFill/>
                <a:prstDash val="solid"/>
                <a:miter/>
              </a:ln>
            </p:spPr>
            <p:txBody>
              <a:bodyPr rtlCol="0" anchor="ctr"/>
              <a:lstStyle/>
              <a:p>
                <a:endParaRPr lang="en-GB"/>
              </a:p>
            </p:txBody>
          </p:sp>
          <p:sp>
            <p:nvSpPr>
              <p:cNvPr id="2512" name="Vrije vorm: vorm 2511">
                <a:extLst>
                  <a:ext uri="{FF2B5EF4-FFF2-40B4-BE49-F238E27FC236}">
                    <a16:creationId xmlns:a16="http://schemas.microsoft.com/office/drawing/2014/main" id="{7CD57B95-7182-47F4-B3ED-3394210CF335}"/>
                  </a:ext>
                </a:extLst>
              </p:cNvPr>
              <p:cNvSpPr/>
              <p:nvPr/>
            </p:nvSpPr>
            <p:spPr>
              <a:xfrm>
                <a:off x="5582969" y="5457692"/>
                <a:ext cx="18350" cy="18413"/>
              </a:xfrm>
              <a:custGeom>
                <a:avLst/>
                <a:gdLst>
                  <a:gd name="connsiteX0" fmla="*/ 18116 w 18350"/>
                  <a:gd name="connsiteY0" fmla="*/ 11298 h 18413"/>
                  <a:gd name="connsiteX1" fmla="*/ 11179 w 18350"/>
                  <a:gd name="connsiteY1" fmla="*/ 234 h 18413"/>
                  <a:gd name="connsiteX2" fmla="*/ 234 w 18350"/>
                  <a:gd name="connsiteY2" fmla="*/ 7112 h 18413"/>
                  <a:gd name="connsiteX3" fmla="*/ 7172 w 18350"/>
                  <a:gd name="connsiteY3" fmla="*/ 18176 h 18413"/>
                  <a:gd name="connsiteX4" fmla="*/ 18116 w 18350"/>
                  <a:gd name="connsiteY4" fmla="*/ 1129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3">
                    <a:moveTo>
                      <a:pt x="18116" y="11298"/>
                    </a:moveTo>
                    <a:cubicBezTo>
                      <a:pt x="19253" y="6335"/>
                      <a:pt x="16143" y="1371"/>
                      <a:pt x="11179" y="234"/>
                    </a:cubicBezTo>
                    <a:cubicBezTo>
                      <a:pt x="6215" y="-902"/>
                      <a:pt x="1311" y="2208"/>
                      <a:pt x="234" y="7112"/>
                    </a:cubicBezTo>
                    <a:cubicBezTo>
                      <a:pt x="-902" y="12076"/>
                      <a:pt x="2208" y="17040"/>
                      <a:pt x="7172" y="18176"/>
                    </a:cubicBezTo>
                    <a:cubicBezTo>
                      <a:pt x="12136" y="19313"/>
                      <a:pt x="17040" y="16263"/>
                      <a:pt x="18116" y="11298"/>
                    </a:cubicBezTo>
                    <a:close/>
                  </a:path>
                </a:pathLst>
              </a:custGeom>
              <a:grpFill/>
              <a:ln w="5978" cap="flat">
                <a:noFill/>
                <a:prstDash val="solid"/>
                <a:miter/>
              </a:ln>
            </p:spPr>
            <p:txBody>
              <a:bodyPr rtlCol="0" anchor="ctr"/>
              <a:lstStyle/>
              <a:p>
                <a:endParaRPr lang="en-GB"/>
              </a:p>
            </p:txBody>
          </p:sp>
        </p:grpSp>
        <p:grpSp>
          <p:nvGrpSpPr>
            <p:cNvPr id="964" name="Graphic 3">
              <a:extLst>
                <a:ext uri="{FF2B5EF4-FFF2-40B4-BE49-F238E27FC236}">
                  <a16:creationId xmlns:a16="http://schemas.microsoft.com/office/drawing/2014/main" id="{D18F513A-C9A1-4771-BB44-809284BF3C84}"/>
                </a:ext>
              </a:extLst>
            </p:cNvPr>
            <p:cNvGrpSpPr/>
            <p:nvPr/>
          </p:nvGrpSpPr>
          <p:grpSpPr>
            <a:xfrm>
              <a:off x="5282121" y="4933634"/>
              <a:ext cx="53552" cy="92327"/>
              <a:chOff x="5282121" y="4933634"/>
              <a:chExt cx="53552" cy="92327"/>
            </a:xfrm>
            <a:grpFill/>
          </p:grpSpPr>
          <p:sp>
            <p:nvSpPr>
              <p:cNvPr id="2507" name="Vrije vorm: vorm 2506">
                <a:extLst>
                  <a:ext uri="{FF2B5EF4-FFF2-40B4-BE49-F238E27FC236}">
                    <a16:creationId xmlns:a16="http://schemas.microsoft.com/office/drawing/2014/main" id="{F5A36A72-3F44-4794-8355-61AFEC189C88}"/>
                  </a:ext>
                </a:extLst>
              </p:cNvPr>
              <p:cNvSpPr/>
              <p:nvPr/>
            </p:nvSpPr>
            <p:spPr>
              <a:xfrm>
                <a:off x="5289669" y="4941791"/>
                <a:ext cx="38456" cy="76014"/>
              </a:xfrm>
              <a:custGeom>
                <a:avLst/>
                <a:gdLst>
                  <a:gd name="connsiteX0" fmla="*/ 38456 w 38456"/>
                  <a:gd name="connsiteY0" fmla="*/ 1375 h 76014"/>
                  <a:gd name="connsiteX1" fmla="*/ 2751 w 38456"/>
                  <a:gd name="connsiteY1" fmla="*/ 76015 h 76014"/>
                  <a:gd name="connsiteX2" fmla="*/ 0 w 38456"/>
                  <a:gd name="connsiteY2" fmla="*/ 74699 h 76014"/>
                  <a:gd name="connsiteX3" fmla="*/ 35705 w 38456"/>
                  <a:gd name="connsiteY3" fmla="*/ 0 h 76014"/>
                </a:gdLst>
                <a:ahLst/>
                <a:cxnLst>
                  <a:cxn ang="0">
                    <a:pos x="connsiteX0" y="connsiteY0"/>
                  </a:cxn>
                  <a:cxn ang="0">
                    <a:pos x="connsiteX1" y="connsiteY1"/>
                  </a:cxn>
                  <a:cxn ang="0">
                    <a:pos x="connsiteX2" y="connsiteY2"/>
                  </a:cxn>
                  <a:cxn ang="0">
                    <a:pos x="connsiteX3" y="connsiteY3"/>
                  </a:cxn>
                </a:cxnLst>
                <a:rect l="l" t="t" r="r" b="b"/>
                <a:pathLst>
                  <a:path w="38456" h="76014">
                    <a:moveTo>
                      <a:pt x="38456" y="1375"/>
                    </a:moveTo>
                    <a:lnTo>
                      <a:pt x="2751" y="76015"/>
                    </a:lnTo>
                    <a:lnTo>
                      <a:pt x="0" y="74699"/>
                    </a:lnTo>
                    <a:lnTo>
                      <a:pt x="35705" y="0"/>
                    </a:lnTo>
                    <a:close/>
                  </a:path>
                </a:pathLst>
              </a:custGeom>
              <a:grpFill/>
              <a:ln w="5978" cap="flat">
                <a:noFill/>
                <a:prstDash val="solid"/>
                <a:miter/>
              </a:ln>
            </p:spPr>
            <p:txBody>
              <a:bodyPr rtlCol="0" anchor="ctr"/>
              <a:lstStyle/>
              <a:p>
                <a:endParaRPr lang="en-GB"/>
              </a:p>
            </p:txBody>
          </p:sp>
          <p:sp>
            <p:nvSpPr>
              <p:cNvPr id="2508" name="Vrije vorm: vorm 2507">
                <a:extLst>
                  <a:ext uri="{FF2B5EF4-FFF2-40B4-BE49-F238E27FC236}">
                    <a16:creationId xmlns:a16="http://schemas.microsoft.com/office/drawing/2014/main" id="{C9AB5D41-A008-447B-B645-4A61652ED85B}"/>
                  </a:ext>
                </a:extLst>
              </p:cNvPr>
              <p:cNvSpPr/>
              <p:nvPr/>
            </p:nvSpPr>
            <p:spPr>
              <a:xfrm>
                <a:off x="5282121" y="5007496"/>
                <a:ext cx="18299" cy="18465"/>
              </a:xfrm>
              <a:custGeom>
                <a:avLst/>
                <a:gdLst>
                  <a:gd name="connsiteX0" fmla="*/ 17416 w 18299"/>
                  <a:gd name="connsiteY0" fmla="*/ 13240 h 18465"/>
                  <a:gd name="connsiteX1" fmla="*/ 5216 w 18299"/>
                  <a:gd name="connsiteY1" fmla="*/ 17546 h 18465"/>
                  <a:gd name="connsiteX2" fmla="*/ 910 w 18299"/>
                  <a:gd name="connsiteY2" fmla="*/ 5226 h 18465"/>
                  <a:gd name="connsiteX3" fmla="*/ 13110 w 18299"/>
                  <a:gd name="connsiteY3" fmla="*/ 920 h 18465"/>
                  <a:gd name="connsiteX4" fmla="*/ 17416 w 18299"/>
                  <a:gd name="connsiteY4" fmla="*/ 1324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65">
                    <a:moveTo>
                      <a:pt x="17416" y="13240"/>
                    </a:moveTo>
                    <a:cubicBezTo>
                      <a:pt x="15204" y="17845"/>
                      <a:pt x="9761" y="19759"/>
                      <a:pt x="5216" y="17546"/>
                    </a:cubicBezTo>
                    <a:cubicBezTo>
                      <a:pt x="670" y="15333"/>
                      <a:pt x="-1303" y="9831"/>
                      <a:pt x="910" y="5226"/>
                    </a:cubicBezTo>
                    <a:cubicBezTo>
                      <a:pt x="3122" y="621"/>
                      <a:pt x="8565" y="-1293"/>
                      <a:pt x="13110" y="920"/>
                    </a:cubicBezTo>
                    <a:cubicBezTo>
                      <a:pt x="17656" y="3133"/>
                      <a:pt x="19569" y="8635"/>
                      <a:pt x="17416" y="13240"/>
                    </a:cubicBezTo>
                    <a:close/>
                  </a:path>
                </a:pathLst>
              </a:custGeom>
              <a:grpFill/>
              <a:ln w="5978" cap="flat">
                <a:noFill/>
                <a:prstDash val="solid"/>
                <a:miter/>
              </a:ln>
            </p:spPr>
            <p:txBody>
              <a:bodyPr rtlCol="0" anchor="ctr"/>
              <a:lstStyle/>
              <a:p>
                <a:endParaRPr lang="en-GB"/>
              </a:p>
            </p:txBody>
          </p:sp>
          <p:sp>
            <p:nvSpPr>
              <p:cNvPr id="2509" name="Vrije vorm: vorm 2508">
                <a:extLst>
                  <a:ext uri="{FF2B5EF4-FFF2-40B4-BE49-F238E27FC236}">
                    <a16:creationId xmlns:a16="http://schemas.microsoft.com/office/drawing/2014/main" id="{8C5ECB1F-C260-41D9-8A16-8C1B56D9D27B}"/>
                  </a:ext>
                </a:extLst>
              </p:cNvPr>
              <p:cNvSpPr/>
              <p:nvPr/>
            </p:nvSpPr>
            <p:spPr>
              <a:xfrm>
                <a:off x="5317347" y="4933634"/>
                <a:ext cx="18325" cy="18466"/>
              </a:xfrm>
              <a:custGeom>
                <a:avLst/>
                <a:gdLst>
                  <a:gd name="connsiteX0" fmla="*/ 17416 w 18325"/>
                  <a:gd name="connsiteY0" fmla="*/ 13240 h 18466"/>
                  <a:gd name="connsiteX1" fmla="*/ 13110 w 18325"/>
                  <a:gd name="connsiteY1" fmla="*/ 920 h 18466"/>
                  <a:gd name="connsiteX2" fmla="*/ 910 w 18325"/>
                  <a:gd name="connsiteY2" fmla="*/ 5226 h 18466"/>
                  <a:gd name="connsiteX3" fmla="*/ 5216 w 18325"/>
                  <a:gd name="connsiteY3" fmla="*/ 17546 h 18466"/>
                  <a:gd name="connsiteX4" fmla="*/ 17416 w 18325"/>
                  <a:gd name="connsiteY4" fmla="*/ 13240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6">
                    <a:moveTo>
                      <a:pt x="17416" y="13240"/>
                    </a:moveTo>
                    <a:cubicBezTo>
                      <a:pt x="19629" y="8635"/>
                      <a:pt x="17656" y="3133"/>
                      <a:pt x="13110" y="920"/>
                    </a:cubicBezTo>
                    <a:cubicBezTo>
                      <a:pt x="8565" y="-1293"/>
                      <a:pt x="3063" y="621"/>
                      <a:pt x="910" y="5226"/>
                    </a:cubicBezTo>
                    <a:cubicBezTo>
                      <a:pt x="-1303" y="9831"/>
                      <a:pt x="670" y="15333"/>
                      <a:pt x="5216" y="17546"/>
                    </a:cubicBezTo>
                    <a:cubicBezTo>
                      <a:pt x="9761" y="19759"/>
                      <a:pt x="15263" y="17845"/>
                      <a:pt x="17416" y="13240"/>
                    </a:cubicBezTo>
                    <a:close/>
                  </a:path>
                </a:pathLst>
              </a:custGeom>
              <a:grpFill/>
              <a:ln w="5978" cap="flat">
                <a:noFill/>
                <a:prstDash val="solid"/>
                <a:miter/>
              </a:ln>
            </p:spPr>
            <p:txBody>
              <a:bodyPr rtlCol="0" anchor="ctr"/>
              <a:lstStyle/>
              <a:p>
                <a:endParaRPr lang="en-GB"/>
              </a:p>
            </p:txBody>
          </p:sp>
        </p:grpSp>
        <p:grpSp>
          <p:nvGrpSpPr>
            <p:cNvPr id="965" name="Graphic 3">
              <a:extLst>
                <a:ext uri="{FF2B5EF4-FFF2-40B4-BE49-F238E27FC236}">
                  <a16:creationId xmlns:a16="http://schemas.microsoft.com/office/drawing/2014/main" id="{03B6EFA5-25AA-4104-94A1-DFFE4707484D}"/>
                </a:ext>
              </a:extLst>
            </p:cNvPr>
            <p:cNvGrpSpPr/>
            <p:nvPr/>
          </p:nvGrpSpPr>
          <p:grpSpPr>
            <a:xfrm>
              <a:off x="5283306" y="4961229"/>
              <a:ext cx="109101" cy="228282"/>
              <a:chOff x="5283306" y="4961229"/>
              <a:chExt cx="109101" cy="228282"/>
            </a:xfrm>
            <a:grpFill/>
          </p:grpSpPr>
          <p:sp>
            <p:nvSpPr>
              <p:cNvPr id="2504" name="Vrije vorm: vorm 2503">
                <a:extLst>
                  <a:ext uri="{FF2B5EF4-FFF2-40B4-BE49-F238E27FC236}">
                    <a16:creationId xmlns:a16="http://schemas.microsoft.com/office/drawing/2014/main" id="{11C6E957-9F2A-47B7-ABB7-0219503D20D1}"/>
                  </a:ext>
                </a:extLst>
              </p:cNvPr>
              <p:cNvSpPr/>
              <p:nvPr/>
            </p:nvSpPr>
            <p:spPr>
              <a:xfrm>
                <a:off x="5290925" y="4969422"/>
                <a:ext cx="93897" cy="211956"/>
              </a:xfrm>
              <a:custGeom>
                <a:avLst/>
                <a:gdLst>
                  <a:gd name="connsiteX0" fmla="*/ 93897 w 93897"/>
                  <a:gd name="connsiteY0" fmla="*/ 1196 h 211956"/>
                  <a:gd name="connsiteX1" fmla="*/ 2751 w 93897"/>
                  <a:gd name="connsiteY1" fmla="*/ 211957 h 211956"/>
                  <a:gd name="connsiteX2" fmla="*/ 0 w 93897"/>
                  <a:gd name="connsiteY2" fmla="*/ 210701 h 211956"/>
                  <a:gd name="connsiteX3" fmla="*/ 91146 w 93897"/>
                  <a:gd name="connsiteY3" fmla="*/ 0 h 211956"/>
                </a:gdLst>
                <a:ahLst/>
                <a:cxnLst>
                  <a:cxn ang="0">
                    <a:pos x="connsiteX0" y="connsiteY0"/>
                  </a:cxn>
                  <a:cxn ang="0">
                    <a:pos x="connsiteX1" y="connsiteY1"/>
                  </a:cxn>
                  <a:cxn ang="0">
                    <a:pos x="connsiteX2" y="connsiteY2"/>
                  </a:cxn>
                  <a:cxn ang="0">
                    <a:pos x="connsiteX3" y="connsiteY3"/>
                  </a:cxn>
                </a:cxnLst>
                <a:rect l="l" t="t" r="r" b="b"/>
                <a:pathLst>
                  <a:path w="93897" h="211956">
                    <a:moveTo>
                      <a:pt x="93897" y="1196"/>
                    </a:moveTo>
                    <a:lnTo>
                      <a:pt x="2751" y="211957"/>
                    </a:lnTo>
                    <a:lnTo>
                      <a:pt x="0" y="210701"/>
                    </a:lnTo>
                    <a:lnTo>
                      <a:pt x="91146" y="0"/>
                    </a:lnTo>
                    <a:close/>
                  </a:path>
                </a:pathLst>
              </a:custGeom>
              <a:grpFill/>
              <a:ln w="5978" cap="flat">
                <a:noFill/>
                <a:prstDash val="solid"/>
                <a:miter/>
              </a:ln>
            </p:spPr>
            <p:txBody>
              <a:bodyPr rtlCol="0" anchor="ctr"/>
              <a:lstStyle/>
              <a:p>
                <a:endParaRPr lang="en-GB"/>
              </a:p>
            </p:txBody>
          </p:sp>
          <p:sp>
            <p:nvSpPr>
              <p:cNvPr id="2505" name="Vrije vorm: vorm 2504">
                <a:extLst>
                  <a:ext uri="{FF2B5EF4-FFF2-40B4-BE49-F238E27FC236}">
                    <a16:creationId xmlns:a16="http://schemas.microsoft.com/office/drawing/2014/main" id="{62F21B3F-DEFF-4AEB-82C4-9C61CD53FBB2}"/>
                  </a:ext>
                </a:extLst>
              </p:cNvPr>
              <p:cNvSpPr/>
              <p:nvPr/>
            </p:nvSpPr>
            <p:spPr>
              <a:xfrm>
                <a:off x="5283306" y="5171092"/>
                <a:ext cx="18348" cy="18418"/>
              </a:xfrm>
              <a:custGeom>
                <a:avLst/>
                <a:gdLst>
                  <a:gd name="connsiteX0" fmla="*/ 17607 w 18348"/>
                  <a:gd name="connsiteY0" fmla="*/ 12917 h 18418"/>
                  <a:gd name="connsiteX1" fmla="*/ 5526 w 18348"/>
                  <a:gd name="connsiteY1" fmla="*/ 17642 h 18418"/>
                  <a:gd name="connsiteX2" fmla="*/ 741 w 18348"/>
                  <a:gd name="connsiteY2" fmla="*/ 5501 h 18418"/>
                  <a:gd name="connsiteX3" fmla="*/ 12822 w 18348"/>
                  <a:gd name="connsiteY3" fmla="*/ 776 h 18418"/>
                  <a:gd name="connsiteX4" fmla="*/ 17607 w 1834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8">
                    <a:moveTo>
                      <a:pt x="17607" y="12917"/>
                    </a:moveTo>
                    <a:cubicBezTo>
                      <a:pt x="15573" y="17582"/>
                      <a:pt x="10191" y="19676"/>
                      <a:pt x="5526" y="17642"/>
                    </a:cubicBezTo>
                    <a:cubicBezTo>
                      <a:pt x="861" y="15609"/>
                      <a:pt x="-1232" y="10166"/>
                      <a:pt x="741" y="5501"/>
                    </a:cubicBezTo>
                    <a:cubicBezTo>
                      <a:pt x="2775" y="836"/>
                      <a:pt x="8157" y="-1257"/>
                      <a:pt x="12822" y="776"/>
                    </a:cubicBezTo>
                    <a:cubicBezTo>
                      <a:pt x="17487" y="2870"/>
                      <a:pt x="19581" y="8312"/>
                      <a:pt x="17607" y="12917"/>
                    </a:cubicBezTo>
                    <a:close/>
                  </a:path>
                </a:pathLst>
              </a:custGeom>
              <a:grpFill/>
              <a:ln w="5978" cap="flat">
                <a:noFill/>
                <a:prstDash val="solid"/>
                <a:miter/>
              </a:ln>
            </p:spPr>
            <p:txBody>
              <a:bodyPr rtlCol="0" anchor="ctr"/>
              <a:lstStyle/>
              <a:p>
                <a:endParaRPr lang="en-GB"/>
              </a:p>
            </p:txBody>
          </p:sp>
          <p:sp>
            <p:nvSpPr>
              <p:cNvPr id="2506" name="Vrije vorm: vorm 2505">
                <a:extLst>
                  <a:ext uri="{FF2B5EF4-FFF2-40B4-BE49-F238E27FC236}">
                    <a16:creationId xmlns:a16="http://schemas.microsoft.com/office/drawing/2014/main" id="{F66F8DDB-BE19-4EF5-A915-63301B8450C0}"/>
                  </a:ext>
                </a:extLst>
              </p:cNvPr>
              <p:cNvSpPr/>
              <p:nvPr/>
            </p:nvSpPr>
            <p:spPr>
              <a:xfrm>
                <a:off x="5374008" y="4961229"/>
                <a:ext cx="18399" cy="18418"/>
              </a:xfrm>
              <a:custGeom>
                <a:avLst/>
                <a:gdLst>
                  <a:gd name="connsiteX0" fmla="*/ 17632 w 18399"/>
                  <a:gd name="connsiteY0" fmla="*/ 12917 h 18418"/>
                  <a:gd name="connsiteX1" fmla="*/ 12848 w 18399"/>
                  <a:gd name="connsiteY1" fmla="*/ 777 h 18418"/>
                  <a:gd name="connsiteX2" fmla="*/ 767 w 18399"/>
                  <a:gd name="connsiteY2" fmla="*/ 5501 h 18418"/>
                  <a:gd name="connsiteX3" fmla="*/ 5551 w 18399"/>
                  <a:gd name="connsiteY3" fmla="*/ 17642 h 18418"/>
                  <a:gd name="connsiteX4" fmla="*/ 17632 w 18399"/>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18">
                    <a:moveTo>
                      <a:pt x="17632" y="12917"/>
                    </a:moveTo>
                    <a:cubicBezTo>
                      <a:pt x="19666" y="8252"/>
                      <a:pt x="17513" y="2810"/>
                      <a:pt x="12848" y="777"/>
                    </a:cubicBezTo>
                    <a:cubicBezTo>
                      <a:pt x="8183" y="-1257"/>
                      <a:pt x="2800" y="836"/>
                      <a:pt x="767" y="5501"/>
                    </a:cubicBezTo>
                    <a:cubicBezTo>
                      <a:pt x="-1267" y="10166"/>
                      <a:pt x="886" y="15609"/>
                      <a:pt x="5551" y="17642"/>
                    </a:cubicBezTo>
                    <a:cubicBezTo>
                      <a:pt x="10276" y="19676"/>
                      <a:pt x="15659" y="17582"/>
                      <a:pt x="17632" y="12917"/>
                    </a:cubicBezTo>
                    <a:close/>
                  </a:path>
                </a:pathLst>
              </a:custGeom>
              <a:grpFill/>
              <a:ln w="5978" cap="flat">
                <a:noFill/>
                <a:prstDash val="solid"/>
                <a:miter/>
              </a:ln>
            </p:spPr>
            <p:txBody>
              <a:bodyPr rtlCol="0" anchor="ctr"/>
              <a:lstStyle/>
              <a:p>
                <a:endParaRPr lang="en-GB"/>
              </a:p>
            </p:txBody>
          </p:sp>
        </p:grpSp>
        <p:grpSp>
          <p:nvGrpSpPr>
            <p:cNvPr id="966" name="Graphic 3">
              <a:extLst>
                <a:ext uri="{FF2B5EF4-FFF2-40B4-BE49-F238E27FC236}">
                  <a16:creationId xmlns:a16="http://schemas.microsoft.com/office/drawing/2014/main" id="{83D91385-673E-49BE-800D-1AC07CE37F8B}"/>
                </a:ext>
              </a:extLst>
            </p:cNvPr>
            <p:cNvGrpSpPr/>
            <p:nvPr/>
          </p:nvGrpSpPr>
          <p:grpSpPr>
            <a:xfrm>
              <a:off x="5272597" y="4904743"/>
              <a:ext cx="42325" cy="66259"/>
              <a:chOff x="5272597" y="4904743"/>
              <a:chExt cx="42325" cy="66259"/>
            </a:xfrm>
            <a:grpFill/>
          </p:grpSpPr>
          <p:sp>
            <p:nvSpPr>
              <p:cNvPr id="2501" name="Vrije vorm: vorm 2500">
                <a:extLst>
                  <a:ext uri="{FF2B5EF4-FFF2-40B4-BE49-F238E27FC236}">
                    <a16:creationId xmlns:a16="http://schemas.microsoft.com/office/drawing/2014/main" id="{18CF4AB9-8BB1-46AA-84FF-0556368D05D0}"/>
                  </a:ext>
                </a:extLst>
              </p:cNvPr>
              <p:cNvSpPr/>
              <p:nvPr/>
            </p:nvSpPr>
            <p:spPr>
              <a:xfrm>
                <a:off x="5280219" y="4912844"/>
                <a:ext cx="27092" cy="50058"/>
              </a:xfrm>
              <a:custGeom>
                <a:avLst/>
                <a:gdLst>
                  <a:gd name="connsiteX0" fmla="*/ 27093 w 27092"/>
                  <a:gd name="connsiteY0" fmla="*/ 1376 h 50058"/>
                  <a:gd name="connsiteX1" fmla="*/ 2751 w 27092"/>
                  <a:gd name="connsiteY1" fmla="*/ 50059 h 50058"/>
                  <a:gd name="connsiteX2" fmla="*/ 0 w 27092"/>
                  <a:gd name="connsiteY2" fmla="*/ 48683 h 50058"/>
                  <a:gd name="connsiteX3" fmla="*/ 24401 w 27092"/>
                  <a:gd name="connsiteY3" fmla="*/ 0 h 50058"/>
                </a:gdLst>
                <a:ahLst/>
                <a:cxnLst>
                  <a:cxn ang="0">
                    <a:pos x="connsiteX0" y="connsiteY0"/>
                  </a:cxn>
                  <a:cxn ang="0">
                    <a:pos x="connsiteX1" y="connsiteY1"/>
                  </a:cxn>
                  <a:cxn ang="0">
                    <a:pos x="connsiteX2" y="connsiteY2"/>
                  </a:cxn>
                  <a:cxn ang="0">
                    <a:pos x="connsiteX3" y="connsiteY3"/>
                  </a:cxn>
                </a:cxnLst>
                <a:rect l="l" t="t" r="r" b="b"/>
                <a:pathLst>
                  <a:path w="27092" h="50058">
                    <a:moveTo>
                      <a:pt x="27093" y="1376"/>
                    </a:moveTo>
                    <a:lnTo>
                      <a:pt x="2751" y="50059"/>
                    </a:lnTo>
                    <a:lnTo>
                      <a:pt x="0" y="48683"/>
                    </a:lnTo>
                    <a:lnTo>
                      <a:pt x="24401" y="0"/>
                    </a:lnTo>
                    <a:close/>
                  </a:path>
                </a:pathLst>
              </a:custGeom>
              <a:grpFill/>
              <a:ln w="5978" cap="flat">
                <a:noFill/>
                <a:prstDash val="solid"/>
                <a:miter/>
              </a:ln>
            </p:spPr>
            <p:txBody>
              <a:bodyPr rtlCol="0" anchor="ctr"/>
              <a:lstStyle/>
              <a:p>
                <a:endParaRPr lang="en-GB"/>
              </a:p>
            </p:txBody>
          </p:sp>
          <p:sp>
            <p:nvSpPr>
              <p:cNvPr id="2502" name="Vrije vorm: vorm 2501">
                <a:extLst>
                  <a:ext uri="{FF2B5EF4-FFF2-40B4-BE49-F238E27FC236}">
                    <a16:creationId xmlns:a16="http://schemas.microsoft.com/office/drawing/2014/main" id="{F8379163-AEDE-403E-B3E4-606C97B94E89}"/>
                  </a:ext>
                </a:extLst>
              </p:cNvPr>
              <p:cNvSpPr/>
              <p:nvPr/>
            </p:nvSpPr>
            <p:spPr>
              <a:xfrm>
                <a:off x="5272597" y="4952589"/>
                <a:ext cx="18353" cy="18413"/>
              </a:xfrm>
              <a:custGeom>
                <a:avLst/>
                <a:gdLst>
                  <a:gd name="connsiteX0" fmla="*/ 17371 w 18353"/>
                  <a:gd name="connsiteY0" fmla="*/ 13363 h 18413"/>
                  <a:gd name="connsiteX1" fmla="*/ 5050 w 18353"/>
                  <a:gd name="connsiteY1" fmla="*/ 17430 h 18413"/>
                  <a:gd name="connsiteX2" fmla="*/ 983 w 18353"/>
                  <a:gd name="connsiteY2" fmla="*/ 5050 h 18413"/>
                  <a:gd name="connsiteX3" fmla="*/ 13304 w 18353"/>
                  <a:gd name="connsiteY3" fmla="*/ 983 h 18413"/>
                  <a:gd name="connsiteX4" fmla="*/ 17371 w 18353"/>
                  <a:gd name="connsiteY4" fmla="*/ 13363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3">
                    <a:moveTo>
                      <a:pt x="17371" y="13363"/>
                    </a:moveTo>
                    <a:cubicBezTo>
                      <a:pt x="15098" y="17909"/>
                      <a:pt x="9596" y="19703"/>
                      <a:pt x="5050" y="17430"/>
                    </a:cubicBezTo>
                    <a:cubicBezTo>
                      <a:pt x="505" y="15158"/>
                      <a:pt x="-1289" y="9596"/>
                      <a:pt x="983" y="5050"/>
                    </a:cubicBezTo>
                    <a:cubicBezTo>
                      <a:pt x="3256" y="505"/>
                      <a:pt x="8758" y="-1289"/>
                      <a:pt x="13304" y="983"/>
                    </a:cubicBezTo>
                    <a:cubicBezTo>
                      <a:pt x="17849" y="3316"/>
                      <a:pt x="19643" y="8878"/>
                      <a:pt x="17371" y="13363"/>
                    </a:cubicBezTo>
                    <a:close/>
                  </a:path>
                </a:pathLst>
              </a:custGeom>
              <a:grpFill/>
              <a:ln w="5978" cap="flat">
                <a:noFill/>
                <a:prstDash val="solid"/>
                <a:miter/>
              </a:ln>
            </p:spPr>
            <p:txBody>
              <a:bodyPr rtlCol="0" anchor="ctr"/>
              <a:lstStyle/>
              <a:p>
                <a:endParaRPr lang="en-GB"/>
              </a:p>
            </p:txBody>
          </p:sp>
          <p:sp>
            <p:nvSpPr>
              <p:cNvPr id="2503" name="Vrije vorm: vorm 2502">
                <a:extLst>
                  <a:ext uri="{FF2B5EF4-FFF2-40B4-BE49-F238E27FC236}">
                    <a16:creationId xmlns:a16="http://schemas.microsoft.com/office/drawing/2014/main" id="{6CE8CDE5-2B4D-426D-AEF3-4ABF3050042A}"/>
                  </a:ext>
                </a:extLst>
              </p:cNvPr>
              <p:cNvSpPr/>
              <p:nvPr/>
            </p:nvSpPr>
            <p:spPr>
              <a:xfrm>
                <a:off x="5296591" y="4904743"/>
                <a:ext cx="18332" cy="18413"/>
              </a:xfrm>
              <a:custGeom>
                <a:avLst/>
                <a:gdLst>
                  <a:gd name="connsiteX0" fmla="*/ 17360 w 18332"/>
                  <a:gd name="connsiteY0" fmla="*/ 13363 h 18413"/>
                  <a:gd name="connsiteX1" fmla="*/ 13293 w 18332"/>
                  <a:gd name="connsiteY1" fmla="*/ 983 h 18413"/>
                  <a:gd name="connsiteX2" fmla="*/ 973 w 18332"/>
                  <a:gd name="connsiteY2" fmla="*/ 5050 h 18413"/>
                  <a:gd name="connsiteX3" fmla="*/ 5039 w 18332"/>
                  <a:gd name="connsiteY3" fmla="*/ 17430 h 18413"/>
                  <a:gd name="connsiteX4" fmla="*/ 17360 w 18332"/>
                  <a:gd name="connsiteY4" fmla="*/ 13363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13">
                    <a:moveTo>
                      <a:pt x="17360" y="13363"/>
                    </a:moveTo>
                    <a:cubicBezTo>
                      <a:pt x="19632" y="8818"/>
                      <a:pt x="17778" y="3256"/>
                      <a:pt x="13293" y="983"/>
                    </a:cubicBezTo>
                    <a:cubicBezTo>
                      <a:pt x="8747" y="-1289"/>
                      <a:pt x="3245" y="505"/>
                      <a:pt x="973" y="5050"/>
                    </a:cubicBezTo>
                    <a:cubicBezTo>
                      <a:pt x="-1300" y="9596"/>
                      <a:pt x="554" y="15158"/>
                      <a:pt x="5039" y="17430"/>
                    </a:cubicBezTo>
                    <a:cubicBezTo>
                      <a:pt x="9585" y="19703"/>
                      <a:pt x="15087" y="17909"/>
                      <a:pt x="17360" y="13363"/>
                    </a:cubicBezTo>
                    <a:close/>
                  </a:path>
                </a:pathLst>
              </a:custGeom>
              <a:grpFill/>
              <a:ln w="5978" cap="flat">
                <a:noFill/>
                <a:prstDash val="solid"/>
                <a:miter/>
              </a:ln>
            </p:spPr>
            <p:txBody>
              <a:bodyPr rtlCol="0" anchor="ctr"/>
              <a:lstStyle/>
              <a:p>
                <a:endParaRPr lang="en-GB"/>
              </a:p>
            </p:txBody>
          </p:sp>
        </p:grpSp>
        <p:grpSp>
          <p:nvGrpSpPr>
            <p:cNvPr id="967" name="Graphic 3">
              <a:extLst>
                <a:ext uri="{FF2B5EF4-FFF2-40B4-BE49-F238E27FC236}">
                  <a16:creationId xmlns:a16="http://schemas.microsoft.com/office/drawing/2014/main" id="{98DD54EE-4702-47FE-8674-AAD62173D692}"/>
                </a:ext>
              </a:extLst>
            </p:cNvPr>
            <p:cNvGrpSpPr/>
            <p:nvPr/>
          </p:nvGrpSpPr>
          <p:grpSpPr>
            <a:xfrm>
              <a:off x="5310089" y="5027813"/>
              <a:ext cx="291544" cy="808255"/>
              <a:chOff x="5310089" y="5027813"/>
              <a:chExt cx="291544" cy="808255"/>
            </a:xfrm>
            <a:grpFill/>
          </p:grpSpPr>
          <p:sp>
            <p:nvSpPr>
              <p:cNvPr id="2498" name="Vrije vorm: vorm 2497">
                <a:extLst>
                  <a:ext uri="{FF2B5EF4-FFF2-40B4-BE49-F238E27FC236}">
                    <a16:creationId xmlns:a16="http://schemas.microsoft.com/office/drawing/2014/main" id="{53E68CDB-0E56-4C15-8144-9B1147A50198}"/>
                  </a:ext>
                </a:extLst>
              </p:cNvPr>
              <p:cNvSpPr/>
              <p:nvPr/>
            </p:nvSpPr>
            <p:spPr>
              <a:xfrm>
                <a:off x="5317659" y="5036106"/>
                <a:ext cx="276369" cy="791727"/>
              </a:xfrm>
              <a:custGeom>
                <a:avLst/>
                <a:gdLst>
                  <a:gd name="connsiteX0" fmla="*/ 276369 w 276369"/>
                  <a:gd name="connsiteY0" fmla="*/ 1017 h 791727"/>
                  <a:gd name="connsiteX1" fmla="*/ 2871 w 276369"/>
                  <a:gd name="connsiteY1" fmla="*/ 791728 h 791727"/>
                  <a:gd name="connsiteX2" fmla="*/ 0 w 276369"/>
                  <a:gd name="connsiteY2" fmla="*/ 790711 h 791727"/>
                  <a:gd name="connsiteX3" fmla="*/ 273498 w 276369"/>
                  <a:gd name="connsiteY3" fmla="*/ 0 h 791727"/>
                </a:gdLst>
                <a:ahLst/>
                <a:cxnLst>
                  <a:cxn ang="0">
                    <a:pos x="connsiteX0" y="connsiteY0"/>
                  </a:cxn>
                  <a:cxn ang="0">
                    <a:pos x="connsiteX1" y="connsiteY1"/>
                  </a:cxn>
                  <a:cxn ang="0">
                    <a:pos x="connsiteX2" y="connsiteY2"/>
                  </a:cxn>
                  <a:cxn ang="0">
                    <a:pos x="connsiteX3" y="connsiteY3"/>
                  </a:cxn>
                </a:cxnLst>
                <a:rect l="l" t="t" r="r" b="b"/>
                <a:pathLst>
                  <a:path w="276369" h="791727">
                    <a:moveTo>
                      <a:pt x="276369" y="1017"/>
                    </a:moveTo>
                    <a:lnTo>
                      <a:pt x="2871" y="791728"/>
                    </a:lnTo>
                    <a:lnTo>
                      <a:pt x="0" y="790711"/>
                    </a:lnTo>
                    <a:lnTo>
                      <a:pt x="273498" y="0"/>
                    </a:lnTo>
                    <a:close/>
                  </a:path>
                </a:pathLst>
              </a:custGeom>
              <a:grpFill/>
              <a:ln w="5978" cap="flat">
                <a:noFill/>
                <a:prstDash val="solid"/>
                <a:miter/>
              </a:ln>
            </p:spPr>
            <p:txBody>
              <a:bodyPr rtlCol="0" anchor="ctr"/>
              <a:lstStyle/>
              <a:p>
                <a:endParaRPr lang="en-GB"/>
              </a:p>
            </p:txBody>
          </p:sp>
          <p:sp>
            <p:nvSpPr>
              <p:cNvPr id="2499" name="Vrije vorm: vorm 2498">
                <a:extLst>
                  <a:ext uri="{FF2B5EF4-FFF2-40B4-BE49-F238E27FC236}">
                    <a16:creationId xmlns:a16="http://schemas.microsoft.com/office/drawing/2014/main" id="{572E5D67-4A7C-4555-AA92-09CE2A323218}"/>
                  </a:ext>
                </a:extLst>
              </p:cNvPr>
              <p:cNvSpPr/>
              <p:nvPr/>
            </p:nvSpPr>
            <p:spPr>
              <a:xfrm>
                <a:off x="5583283" y="5027813"/>
                <a:ext cx="18351" cy="18381"/>
              </a:xfrm>
              <a:custGeom>
                <a:avLst/>
                <a:gdLst>
                  <a:gd name="connsiteX0" fmla="*/ 518 w 18351"/>
                  <a:gd name="connsiteY0" fmla="*/ 6141 h 18381"/>
                  <a:gd name="connsiteX1" fmla="*/ 12181 w 18351"/>
                  <a:gd name="connsiteY1" fmla="*/ 519 h 18381"/>
                  <a:gd name="connsiteX2" fmla="*/ 17862 w 18351"/>
                  <a:gd name="connsiteY2" fmla="*/ 12241 h 18381"/>
                  <a:gd name="connsiteX3" fmla="*/ 6200 w 18351"/>
                  <a:gd name="connsiteY3" fmla="*/ 17863 h 18381"/>
                  <a:gd name="connsiteX4" fmla="*/ 518 w 18351"/>
                  <a:gd name="connsiteY4" fmla="*/ 61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1">
                    <a:moveTo>
                      <a:pt x="518" y="6141"/>
                    </a:moveTo>
                    <a:cubicBezTo>
                      <a:pt x="2193" y="1356"/>
                      <a:pt x="7396" y="-1156"/>
                      <a:pt x="12181" y="519"/>
                    </a:cubicBezTo>
                    <a:cubicBezTo>
                      <a:pt x="16965" y="2194"/>
                      <a:pt x="19477" y="7457"/>
                      <a:pt x="17862" y="12241"/>
                    </a:cubicBezTo>
                    <a:cubicBezTo>
                      <a:pt x="16188" y="17026"/>
                      <a:pt x="10984" y="19537"/>
                      <a:pt x="6200" y="17863"/>
                    </a:cubicBezTo>
                    <a:cubicBezTo>
                      <a:pt x="1356" y="16248"/>
                      <a:pt x="-1156" y="10985"/>
                      <a:pt x="518" y="6141"/>
                    </a:cubicBezTo>
                    <a:close/>
                  </a:path>
                </a:pathLst>
              </a:custGeom>
              <a:grpFill/>
              <a:ln w="5978" cap="flat">
                <a:noFill/>
                <a:prstDash val="solid"/>
                <a:miter/>
              </a:ln>
            </p:spPr>
            <p:txBody>
              <a:bodyPr rtlCol="0" anchor="ctr"/>
              <a:lstStyle/>
              <a:p>
                <a:endParaRPr lang="en-GB"/>
              </a:p>
            </p:txBody>
          </p:sp>
          <p:sp>
            <p:nvSpPr>
              <p:cNvPr id="2500" name="Vrije vorm: vorm 2499">
                <a:extLst>
                  <a:ext uri="{FF2B5EF4-FFF2-40B4-BE49-F238E27FC236}">
                    <a16:creationId xmlns:a16="http://schemas.microsoft.com/office/drawing/2014/main" id="{05DAED89-3842-4CE6-B316-F143886192C7}"/>
                  </a:ext>
                </a:extLst>
              </p:cNvPr>
              <p:cNvSpPr/>
              <p:nvPr/>
            </p:nvSpPr>
            <p:spPr>
              <a:xfrm>
                <a:off x="5310089" y="5817663"/>
                <a:ext cx="18368" cy="18405"/>
              </a:xfrm>
              <a:custGeom>
                <a:avLst/>
                <a:gdLst>
                  <a:gd name="connsiteX0" fmla="*/ 512 w 18368"/>
                  <a:gd name="connsiteY0" fmla="*/ 6164 h 18405"/>
                  <a:gd name="connsiteX1" fmla="*/ 6194 w 18368"/>
                  <a:gd name="connsiteY1" fmla="*/ 17887 h 18405"/>
                  <a:gd name="connsiteX2" fmla="*/ 17856 w 18368"/>
                  <a:gd name="connsiteY2" fmla="*/ 12265 h 18405"/>
                  <a:gd name="connsiteX3" fmla="*/ 12175 w 18368"/>
                  <a:gd name="connsiteY3" fmla="*/ 542 h 18405"/>
                  <a:gd name="connsiteX4" fmla="*/ 512 w 18368"/>
                  <a:gd name="connsiteY4" fmla="*/ 616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5">
                    <a:moveTo>
                      <a:pt x="512" y="6164"/>
                    </a:moveTo>
                    <a:cubicBezTo>
                      <a:pt x="-1163" y="10949"/>
                      <a:pt x="1409" y="16212"/>
                      <a:pt x="6194" y="17887"/>
                    </a:cubicBezTo>
                    <a:cubicBezTo>
                      <a:pt x="10978" y="19561"/>
                      <a:pt x="16182" y="17049"/>
                      <a:pt x="17856" y="12265"/>
                    </a:cubicBezTo>
                    <a:cubicBezTo>
                      <a:pt x="19531" y="7480"/>
                      <a:pt x="16959" y="2217"/>
                      <a:pt x="12175" y="542"/>
                    </a:cubicBezTo>
                    <a:cubicBezTo>
                      <a:pt x="7390" y="-1192"/>
                      <a:pt x="2127" y="1380"/>
                      <a:pt x="512" y="6164"/>
                    </a:cubicBezTo>
                    <a:close/>
                  </a:path>
                </a:pathLst>
              </a:custGeom>
              <a:grpFill/>
              <a:ln w="5978" cap="flat">
                <a:noFill/>
                <a:prstDash val="solid"/>
                <a:miter/>
              </a:ln>
            </p:spPr>
            <p:txBody>
              <a:bodyPr rtlCol="0" anchor="ctr"/>
              <a:lstStyle/>
              <a:p>
                <a:endParaRPr lang="en-GB"/>
              </a:p>
            </p:txBody>
          </p:sp>
        </p:grpSp>
        <p:grpSp>
          <p:nvGrpSpPr>
            <p:cNvPr id="968" name="Graphic 3">
              <a:extLst>
                <a:ext uri="{FF2B5EF4-FFF2-40B4-BE49-F238E27FC236}">
                  <a16:creationId xmlns:a16="http://schemas.microsoft.com/office/drawing/2014/main" id="{765FCBD5-8CFF-45B8-8592-31328063CB8F}"/>
                </a:ext>
              </a:extLst>
            </p:cNvPr>
            <p:cNvGrpSpPr/>
            <p:nvPr/>
          </p:nvGrpSpPr>
          <p:grpSpPr>
            <a:xfrm>
              <a:off x="5267494" y="4956480"/>
              <a:ext cx="92434" cy="181381"/>
              <a:chOff x="5267494" y="4956480"/>
              <a:chExt cx="92434" cy="181381"/>
            </a:xfrm>
            <a:grpFill/>
          </p:grpSpPr>
          <p:sp>
            <p:nvSpPr>
              <p:cNvPr id="2495" name="Vrije vorm: vorm 2494">
                <a:extLst>
                  <a:ext uri="{FF2B5EF4-FFF2-40B4-BE49-F238E27FC236}">
                    <a16:creationId xmlns:a16="http://schemas.microsoft.com/office/drawing/2014/main" id="{BAB01A1D-7EE0-43E9-9B20-64310D486202}"/>
                  </a:ext>
                </a:extLst>
              </p:cNvPr>
              <p:cNvSpPr/>
              <p:nvPr/>
            </p:nvSpPr>
            <p:spPr>
              <a:xfrm>
                <a:off x="5275076" y="4964577"/>
                <a:ext cx="77270" cy="165127"/>
              </a:xfrm>
              <a:custGeom>
                <a:avLst/>
                <a:gdLst>
                  <a:gd name="connsiteX0" fmla="*/ 77271 w 77270"/>
                  <a:gd name="connsiteY0" fmla="*/ 1316 h 165127"/>
                  <a:gd name="connsiteX1" fmla="*/ 2751 w 77270"/>
                  <a:gd name="connsiteY1" fmla="*/ 165128 h 165127"/>
                  <a:gd name="connsiteX2" fmla="*/ 0 w 77270"/>
                  <a:gd name="connsiteY2" fmla="*/ 163812 h 165127"/>
                  <a:gd name="connsiteX3" fmla="*/ 74520 w 77270"/>
                  <a:gd name="connsiteY3" fmla="*/ 0 h 165127"/>
                </a:gdLst>
                <a:ahLst/>
                <a:cxnLst>
                  <a:cxn ang="0">
                    <a:pos x="connsiteX0" y="connsiteY0"/>
                  </a:cxn>
                  <a:cxn ang="0">
                    <a:pos x="connsiteX1" y="connsiteY1"/>
                  </a:cxn>
                  <a:cxn ang="0">
                    <a:pos x="connsiteX2" y="connsiteY2"/>
                  </a:cxn>
                  <a:cxn ang="0">
                    <a:pos x="connsiteX3" y="connsiteY3"/>
                  </a:cxn>
                </a:cxnLst>
                <a:rect l="l" t="t" r="r" b="b"/>
                <a:pathLst>
                  <a:path w="77270" h="165127">
                    <a:moveTo>
                      <a:pt x="77271" y="1316"/>
                    </a:moveTo>
                    <a:lnTo>
                      <a:pt x="2751" y="165128"/>
                    </a:lnTo>
                    <a:lnTo>
                      <a:pt x="0" y="163812"/>
                    </a:lnTo>
                    <a:lnTo>
                      <a:pt x="74520" y="0"/>
                    </a:lnTo>
                    <a:close/>
                  </a:path>
                </a:pathLst>
              </a:custGeom>
              <a:grpFill/>
              <a:ln w="5978" cap="flat">
                <a:noFill/>
                <a:prstDash val="solid"/>
                <a:miter/>
              </a:ln>
            </p:spPr>
            <p:txBody>
              <a:bodyPr rtlCol="0" anchor="ctr"/>
              <a:lstStyle/>
              <a:p>
                <a:endParaRPr lang="en-GB"/>
              </a:p>
            </p:txBody>
          </p:sp>
          <p:sp>
            <p:nvSpPr>
              <p:cNvPr id="2496" name="Vrije vorm: vorm 2495">
                <a:extLst>
                  <a:ext uri="{FF2B5EF4-FFF2-40B4-BE49-F238E27FC236}">
                    <a16:creationId xmlns:a16="http://schemas.microsoft.com/office/drawing/2014/main" id="{A547FB17-6F37-4970-92C5-CF50B737601A}"/>
                  </a:ext>
                </a:extLst>
              </p:cNvPr>
              <p:cNvSpPr/>
              <p:nvPr/>
            </p:nvSpPr>
            <p:spPr>
              <a:xfrm>
                <a:off x="5267494" y="5119455"/>
                <a:ext cx="18333" cy="18406"/>
              </a:xfrm>
              <a:custGeom>
                <a:avLst/>
                <a:gdLst>
                  <a:gd name="connsiteX0" fmla="*/ 17510 w 18333"/>
                  <a:gd name="connsiteY0" fmla="*/ 13061 h 18406"/>
                  <a:gd name="connsiteX1" fmla="*/ 5369 w 18333"/>
                  <a:gd name="connsiteY1" fmla="*/ 17547 h 18406"/>
                  <a:gd name="connsiteX2" fmla="*/ 824 w 18333"/>
                  <a:gd name="connsiteY2" fmla="*/ 5346 h 18406"/>
                  <a:gd name="connsiteX3" fmla="*/ 12965 w 18333"/>
                  <a:gd name="connsiteY3" fmla="*/ 860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5417" y="17666"/>
                      <a:pt x="9974" y="19700"/>
                      <a:pt x="5369" y="17547"/>
                    </a:cubicBezTo>
                    <a:cubicBezTo>
                      <a:pt x="764" y="15393"/>
                      <a:pt x="-1269" y="9951"/>
                      <a:pt x="824" y="5346"/>
                    </a:cubicBezTo>
                    <a:cubicBezTo>
                      <a:pt x="2917" y="740"/>
                      <a:pt x="8359" y="-1293"/>
                      <a:pt x="12965" y="860"/>
                    </a:cubicBezTo>
                    <a:cubicBezTo>
                      <a:pt x="17570" y="2954"/>
                      <a:pt x="19603" y="8456"/>
                      <a:pt x="17510" y="13061"/>
                    </a:cubicBezTo>
                    <a:close/>
                  </a:path>
                </a:pathLst>
              </a:custGeom>
              <a:grpFill/>
              <a:ln w="5978" cap="flat">
                <a:noFill/>
                <a:prstDash val="solid"/>
                <a:miter/>
              </a:ln>
            </p:spPr>
            <p:txBody>
              <a:bodyPr rtlCol="0" anchor="ctr"/>
              <a:lstStyle/>
              <a:p>
                <a:endParaRPr lang="en-GB"/>
              </a:p>
            </p:txBody>
          </p:sp>
          <p:sp>
            <p:nvSpPr>
              <p:cNvPr id="2497" name="Vrije vorm: vorm 2496">
                <a:extLst>
                  <a:ext uri="{FF2B5EF4-FFF2-40B4-BE49-F238E27FC236}">
                    <a16:creationId xmlns:a16="http://schemas.microsoft.com/office/drawing/2014/main" id="{8C61EAC2-8F0B-49A5-B28A-B2EADF2C75F1}"/>
                  </a:ext>
                </a:extLst>
              </p:cNvPr>
              <p:cNvSpPr/>
              <p:nvPr/>
            </p:nvSpPr>
            <p:spPr>
              <a:xfrm>
                <a:off x="5341595" y="4956480"/>
                <a:ext cx="18333" cy="18406"/>
              </a:xfrm>
              <a:custGeom>
                <a:avLst/>
                <a:gdLst>
                  <a:gd name="connsiteX0" fmla="*/ 17510 w 18333"/>
                  <a:gd name="connsiteY0" fmla="*/ 13061 h 18406"/>
                  <a:gd name="connsiteX1" fmla="*/ 12965 w 18333"/>
                  <a:gd name="connsiteY1" fmla="*/ 860 h 18406"/>
                  <a:gd name="connsiteX2" fmla="*/ 824 w 18333"/>
                  <a:gd name="connsiteY2" fmla="*/ 5346 h 18406"/>
                  <a:gd name="connsiteX3" fmla="*/ 5369 w 18333"/>
                  <a:gd name="connsiteY3" fmla="*/ 17547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9603" y="8456"/>
                      <a:pt x="17570" y="2954"/>
                      <a:pt x="12965" y="860"/>
                    </a:cubicBezTo>
                    <a:cubicBezTo>
                      <a:pt x="8360" y="-1293"/>
                      <a:pt x="2917" y="740"/>
                      <a:pt x="824" y="5346"/>
                    </a:cubicBezTo>
                    <a:cubicBezTo>
                      <a:pt x="-1270" y="9951"/>
                      <a:pt x="764" y="15453"/>
                      <a:pt x="5369" y="17547"/>
                    </a:cubicBezTo>
                    <a:cubicBezTo>
                      <a:pt x="9974" y="19700"/>
                      <a:pt x="15417" y="17666"/>
                      <a:pt x="17510" y="13061"/>
                    </a:cubicBezTo>
                    <a:close/>
                  </a:path>
                </a:pathLst>
              </a:custGeom>
              <a:grpFill/>
              <a:ln w="5978" cap="flat">
                <a:noFill/>
                <a:prstDash val="solid"/>
                <a:miter/>
              </a:ln>
            </p:spPr>
            <p:txBody>
              <a:bodyPr rtlCol="0" anchor="ctr"/>
              <a:lstStyle/>
              <a:p>
                <a:endParaRPr lang="en-GB"/>
              </a:p>
            </p:txBody>
          </p:sp>
        </p:grpSp>
        <p:grpSp>
          <p:nvGrpSpPr>
            <p:cNvPr id="969" name="Graphic 3">
              <a:extLst>
                <a:ext uri="{FF2B5EF4-FFF2-40B4-BE49-F238E27FC236}">
                  <a16:creationId xmlns:a16="http://schemas.microsoft.com/office/drawing/2014/main" id="{28C8EE16-B466-4AF6-9646-B71A447A1375}"/>
                </a:ext>
              </a:extLst>
            </p:cNvPr>
            <p:cNvGrpSpPr/>
            <p:nvPr/>
          </p:nvGrpSpPr>
          <p:grpSpPr>
            <a:xfrm>
              <a:off x="5288721" y="5017030"/>
              <a:ext cx="283347" cy="733231"/>
              <a:chOff x="5288721" y="5017030"/>
              <a:chExt cx="283347" cy="733231"/>
            </a:xfrm>
            <a:grpFill/>
          </p:grpSpPr>
          <p:sp>
            <p:nvSpPr>
              <p:cNvPr id="2492" name="Vrije vorm: vorm 2491">
                <a:extLst>
                  <a:ext uri="{FF2B5EF4-FFF2-40B4-BE49-F238E27FC236}">
                    <a16:creationId xmlns:a16="http://schemas.microsoft.com/office/drawing/2014/main" id="{203A6D80-0E9B-45F2-A3B8-F0DC6797667A}"/>
                  </a:ext>
                </a:extLst>
              </p:cNvPr>
              <p:cNvSpPr/>
              <p:nvPr/>
            </p:nvSpPr>
            <p:spPr>
              <a:xfrm>
                <a:off x="5296367" y="5025281"/>
                <a:ext cx="268175" cy="716729"/>
              </a:xfrm>
              <a:custGeom>
                <a:avLst/>
                <a:gdLst>
                  <a:gd name="connsiteX0" fmla="*/ 268176 w 268175"/>
                  <a:gd name="connsiteY0" fmla="*/ 1077 h 716729"/>
                  <a:gd name="connsiteX1" fmla="*/ 2811 w 268175"/>
                  <a:gd name="connsiteY1" fmla="*/ 716730 h 716729"/>
                  <a:gd name="connsiteX2" fmla="*/ 0 w 268175"/>
                  <a:gd name="connsiteY2" fmla="*/ 715653 h 716729"/>
                  <a:gd name="connsiteX3" fmla="*/ 265305 w 268175"/>
                  <a:gd name="connsiteY3" fmla="*/ 0 h 716729"/>
                </a:gdLst>
                <a:ahLst/>
                <a:cxnLst>
                  <a:cxn ang="0">
                    <a:pos x="connsiteX0" y="connsiteY0"/>
                  </a:cxn>
                  <a:cxn ang="0">
                    <a:pos x="connsiteX1" y="connsiteY1"/>
                  </a:cxn>
                  <a:cxn ang="0">
                    <a:pos x="connsiteX2" y="connsiteY2"/>
                  </a:cxn>
                  <a:cxn ang="0">
                    <a:pos x="connsiteX3" y="connsiteY3"/>
                  </a:cxn>
                </a:cxnLst>
                <a:rect l="l" t="t" r="r" b="b"/>
                <a:pathLst>
                  <a:path w="268175" h="716729">
                    <a:moveTo>
                      <a:pt x="268176" y="1077"/>
                    </a:moveTo>
                    <a:lnTo>
                      <a:pt x="2811" y="716730"/>
                    </a:lnTo>
                    <a:lnTo>
                      <a:pt x="0" y="715653"/>
                    </a:lnTo>
                    <a:lnTo>
                      <a:pt x="265305" y="0"/>
                    </a:lnTo>
                    <a:close/>
                  </a:path>
                </a:pathLst>
              </a:custGeom>
              <a:grpFill/>
              <a:ln w="5978" cap="flat">
                <a:noFill/>
                <a:prstDash val="solid"/>
                <a:miter/>
              </a:ln>
            </p:spPr>
            <p:txBody>
              <a:bodyPr rtlCol="0" anchor="ctr"/>
              <a:lstStyle/>
              <a:p>
                <a:endParaRPr lang="en-GB"/>
              </a:p>
            </p:txBody>
          </p:sp>
          <p:sp>
            <p:nvSpPr>
              <p:cNvPr id="2493" name="Vrije vorm: vorm 2492">
                <a:extLst>
                  <a:ext uri="{FF2B5EF4-FFF2-40B4-BE49-F238E27FC236}">
                    <a16:creationId xmlns:a16="http://schemas.microsoft.com/office/drawing/2014/main" id="{02B5B802-AE28-4B98-A0E1-E4763CAE4386}"/>
                  </a:ext>
                </a:extLst>
              </p:cNvPr>
              <p:cNvSpPr/>
              <p:nvPr/>
            </p:nvSpPr>
            <p:spPr>
              <a:xfrm>
                <a:off x="5553751" y="5017030"/>
                <a:ext cx="18317" cy="18415"/>
              </a:xfrm>
              <a:custGeom>
                <a:avLst/>
                <a:gdLst>
                  <a:gd name="connsiteX0" fmla="*/ 565 w 18317"/>
                  <a:gd name="connsiteY0" fmla="*/ 5978 h 18415"/>
                  <a:gd name="connsiteX1" fmla="*/ 12346 w 18317"/>
                  <a:gd name="connsiteY1" fmla="*/ 596 h 18415"/>
                  <a:gd name="connsiteX2" fmla="*/ 17729 w 18317"/>
                  <a:gd name="connsiteY2" fmla="*/ 12437 h 18415"/>
                  <a:gd name="connsiteX3" fmla="*/ 5947 w 18317"/>
                  <a:gd name="connsiteY3" fmla="*/ 17820 h 18415"/>
                  <a:gd name="connsiteX4" fmla="*/ 565 w 18317"/>
                  <a:gd name="connsiteY4" fmla="*/ 597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15">
                    <a:moveTo>
                      <a:pt x="565" y="5978"/>
                    </a:moveTo>
                    <a:cubicBezTo>
                      <a:pt x="2359" y="1194"/>
                      <a:pt x="7622" y="-1198"/>
                      <a:pt x="12346" y="596"/>
                    </a:cubicBezTo>
                    <a:cubicBezTo>
                      <a:pt x="17071" y="2390"/>
                      <a:pt x="19523" y="7713"/>
                      <a:pt x="17729" y="12437"/>
                    </a:cubicBezTo>
                    <a:cubicBezTo>
                      <a:pt x="15935" y="17222"/>
                      <a:pt x="10672" y="19614"/>
                      <a:pt x="5947" y="17820"/>
                    </a:cubicBezTo>
                    <a:cubicBezTo>
                      <a:pt x="1222" y="16026"/>
                      <a:pt x="-1170" y="10703"/>
                      <a:pt x="565" y="5978"/>
                    </a:cubicBezTo>
                    <a:close/>
                  </a:path>
                </a:pathLst>
              </a:custGeom>
              <a:grpFill/>
              <a:ln w="5978" cap="flat">
                <a:noFill/>
                <a:prstDash val="solid"/>
                <a:miter/>
              </a:ln>
            </p:spPr>
            <p:txBody>
              <a:bodyPr rtlCol="0" anchor="ctr"/>
              <a:lstStyle/>
              <a:p>
                <a:endParaRPr lang="en-GB"/>
              </a:p>
            </p:txBody>
          </p:sp>
          <p:sp>
            <p:nvSpPr>
              <p:cNvPr id="2494" name="Vrije vorm: vorm 2493">
                <a:extLst>
                  <a:ext uri="{FF2B5EF4-FFF2-40B4-BE49-F238E27FC236}">
                    <a16:creationId xmlns:a16="http://schemas.microsoft.com/office/drawing/2014/main" id="{6851F410-FB0F-4DB4-BA08-8A033916BF91}"/>
                  </a:ext>
                </a:extLst>
              </p:cNvPr>
              <p:cNvSpPr/>
              <p:nvPr/>
            </p:nvSpPr>
            <p:spPr>
              <a:xfrm>
                <a:off x="5288721" y="5731846"/>
                <a:ext cx="18342" cy="18415"/>
              </a:xfrm>
              <a:custGeom>
                <a:avLst/>
                <a:gdLst>
                  <a:gd name="connsiteX0" fmla="*/ 589 w 18342"/>
                  <a:gd name="connsiteY0" fmla="*/ 5978 h 18415"/>
                  <a:gd name="connsiteX1" fmla="*/ 5971 w 18342"/>
                  <a:gd name="connsiteY1" fmla="*/ 17820 h 18415"/>
                  <a:gd name="connsiteX2" fmla="*/ 17753 w 18342"/>
                  <a:gd name="connsiteY2" fmla="*/ 12438 h 18415"/>
                  <a:gd name="connsiteX3" fmla="*/ 12371 w 18342"/>
                  <a:gd name="connsiteY3" fmla="*/ 596 h 18415"/>
                  <a:gd name="connsiteX4" fmla="*/ 589 w 18342"/>
                  <a:gd name="connsiteY4" fmla="*/ 597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5">
                    <a:moveTo>
                      <a:pt x="589" y="5978"/>
                    </a:moveTo>
                    <a:cubicBezTo>
                      <a:pt x="-1205" y="10763"/>
                      <a:pt x="1246" y="16026"/>
                      <a:pt x="5971" y="17820"/>
                    </a:cubicBezTo>
                    <a:cubicBezTo>
                      <a:pt x="10696" y="19614"/>
                      <a:pt x="16019" y="17222"/>
                      <a:pt x="17753" y="12438"/>
                    </a:cubicBezTo>
                    <a:cubicBezTo>
                      <a:pt x="19547" y="7653"/>
                      <a:pt x="17096" y="2390"/>
                      <a:pt x="12371" y="596"/>
                    </a:cubicBezTo>
                    <a:cubicBezTo>
                      <a:pt x="7646" y="-1199"/>
                      <a:pt x="2383" y="1194"/>
                      <a:pt x="589" y="5978"/>
                    </a:cubicBezTo>
                    <a:close/>
                  </a:path>
                </a:pathLst>
              </a:custGeom>
              <a:grpFill/>
              <a:ln w="5978" cap="flat">
                <a:noFill/>
                <a:prstDash val="solid"/>
                <a:miter/>
              </a:ln>
            </p:spPr>
            <p:txBody>
              <a:bodyPr rtlCol="0" anchor="ctr"/>
              <a:lstStyle/>
              <a:p>
                <a:endParaRPr lang="en-GB"/>
              </a:p>
            </p:txBody>
          </p:sp>
        </p:grpSp>
        <p:grpSp>
          <p:nvGrpSpPr>
            <p:cNvPr id="970" name="Graphic 3">
              <a:extLst>
                <a:ext uri="{FF2B5EF4-FFF2-40B4-BE49-F238E27FC236}">
                  <a16:creationId xmlns:a16="http://schemas.microsoft.com/office/drawing/2014/main" id="{21433A97-7263-420B-AAD8-2A40F5A7A9D6}"/>
                </a:ext>
              </a:extLst>
            </p:cNvPr>
            <p:cNvGrpSpPr/>
            <p:nvPr/>
          </p:nvGrpSpPr>
          <p:grpSpPr>
            <a:xfrm>
              <a:off x="5279215" y="5004926"/>
              <a:ext cx="263818" cy="634296"/>
              <a:chOff x="5279215" y="5004926"/>
              <a:chExt cx="263818" cy="634296"/>
            </a:xfrm>
            <a:grpFill/>
          </p:grpSpPr>
          <p:sp>
            <p:nvSpPr>
              <p:cNvPr id="2489" name="Vrije vorm: vorm 2488">
                <a:extLst>
                  <a:ext uri="{FF2B5EF4-FFF2-40B4-BE49-F238E27FC236}">
                    <a16:creationId xmlns:a16="http://schemas.microsoft.com/office/drawing/2014/main" id="{DB0D3B84-125B-4F88-8E26-34DF752273E8}"/>
                  </a:ext>
                </a:extLst>
              </p:cNvPr>
              <p:cNvSpPr/>
              <p:nvPr/>
            </p:nvSpPr>
            <p:spPr>
              <a:xfrm>
                <a:off x="5286738" y="5013141"/>
                <a:ext cx="248738" cy="617868"/>
              </a:xfrm>
              <a:custGeom>
                <a:avLst/>
                <a:gdLst>
                  <a:gd name="connsiteX0" fmla="*/ 248738 w 248738"/>
                  <a:gd name="connsiteY0" fmla="*/ 1136 h 617868"/>
                  <a:gd name="connsiteX1" fmla="*/ 2871 w 248738"/>
                  <a:gd name="connsiteY1" fmla="*/ 617868 h 617868"/>
                  <a:gd name="connsiteX2" fmla="*/ 0 w 248738"/>
                  <a:gd name="connsiteY2" fmla="*/ 616732 h 617868"/>
                  <a:gd name="connsiteX3" fmla="*/ 245927 w 248738"/>
                  <a:gd name="connsiteY3" fmla="*/ 0 h 617868"/>
                </a:gdLst>
                <a:ahLst/>
                <a:cxnLst>
                  <a:cxn ang="0">
                    <a:pos x="connsiteX0" y="connsiteY0"/>
                  </a:cxn>
                  <a:cxn ang="0">
                    <a:pos x="connsiteX1" y="connsiteY1"/>
                  </a:cxn>
                  <a:cxn ang="0">
                    <a:pos x="connsiteX2" y="connsiteY2"/>
                  </a:cxn>
                  <a:cxn ang="0">
                    <a:pos x="connsiteX3" y="connsiteY3"/>
                  </a:cxn>
                </a:cxnLst>
                <a:rect l="l" t="t" r="r" b="b"/>
                <a:pathLst>
                  <a:path w="248738" h="617868">
                    <a:moveTo>
                      <a:pt x="248738" y="1136"/>
                    </a:moveTo>
                    <a:lnTo>
                      <a:pt x="2871" y="617868"/>
                    </a:lnTo>
                    <a:lnTo>
                      <a:pt x="0" y="616732"/>
                    </a:lnTo>
                    <a:lnTo>
                      <a:pt x="245927" y="0"/>
                    </a:lnTo>
                    <a:close/>
                  </a:path>
                </a:pathLst>
              </a:custGeom>
              <a:grpFill/>
              <a:ln w="5978" cap="flat">
                <a:noFill/>
                <a:prstDash val="solid"/>
                <a:miter/>
              </a:ln>
            </p:spPr>
            <p:txBody>
              <a:bodyPr rtlCol="0" anchor="ctr"/>
              <a:lstStyle/>
              <a:p>
                <a:endParaRPr lang="en-GB"/>
              </a:p>
            </p:txBody>
          </p:sp>
          <p:sp>
            <p:nvSpPr>
              <p:cNvPr id="2490" name="Vrije vorm: vorm 2489">
                <a:extLst>
                  <a:ext uri="{FF2B5EF4-FFF2-40B4-BE49-F238E27FC236}">
                    <a16:creationId xmlns:a16="http://schemas.microsoft.com/office/drawing/2014/main" id="{2C7E6249-B897-4DED-842C-F2CF6B155542}"/>
                  </a:ext>
                </a:extLst>
              </p:cNvPr>
              <p:cNvSpPr/>
              <p:nvPr/>
            </p:nvSpPr>
            <p:spPr>
              <a:xfrm>
                <a:off x="5524723" y="5004926"/>
                <a:ext cx="18309" cy="18461"/>
              </a:xfrm>
              <a:custGeom>
                <a:avLst/>
                <a:gdLst>
                  <a:gd name="connsiteX0" fmla="*/ 646 w 18309"/>
                  <a:gd name="connsiteY0" fmla="*/ 5762 h 18461"/>
                  <a:gd name="connsiteX1" fmla="*/ 12548 w 18309"/>
                  <a:gd name="connsiteY1" fmla="*/ 679 h 18461"/>
                  <a:gd name="connsiteX2" fmla="*/ 17631 w 18309"/>
                  <a:gd name="connsiteY2" fmla="*/ 12700 h 18461"/>
                  <a:gd name="connsiteX3" fmla="*/ 5730 w 18309"/>
                  <a:gd name="connsiteY3" fmla="*/ 17783 h 18461"/>
                  <a:gd name="connsiteX4" fmla="*/ 646 w 18309"/>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646" y="5762"/>
                    </a:moveTo>
                    <a:cubicBezTo>
                      <a:pt x="2500" y="1037"/>
                      <a:pt x="7883" y="-1235"/>
                      <a:pt x="12548" y="679"/>
                    </a:cubicBezTo>
                    <a:cubicBezTo>
                      <a:pt x="17272" y="2592"/>
                      <a:pt x="19545" y="7975"/>
                      <a:pt x="17631" y="12700"/>
                    </a:cubicBezTo>
                    <a:cubicBezTo>
                      <a:pt x="15717" y="17424"/>
                      <a:pt x="10395" y="19697"/>
                      <a:pt x="5730" y="17783"/>
                    </a:cubicBezTo>
                    <a:cubicBezTo>
                      <a:pt x="1065" y="15810"/>
                      <a:pt x="-1208" y="10487"/>
                      <a:pt x="646" y="5762"/>
                    </a:cubicBezTo>
                    <a:close/>
                  </a:path>
                </a:pathLst>
              </a:custGeom>
              <a:grpFill/>
              <a:ln w="5978" cap="flat">
                <a:noFill/>
                <a:prstDash val="solid"/>
                <a:miter/>
              </a:ln>
            </p:spPr>
            <p:txBody>
              <a:bodyPr rtlCol="0" anchor="ctr"/>
              <a:lstStyle/>
              <a:p>
                <a:endParaRPr lang="en-GB"/>
              </a:p>
            </p:txBody>
          </p:sp>
          <p:sp>
            <p:nvSpPr>
              <p:cNvPr id="2491" name="Vrije vorm: vorm 2490">
                <a:extLst>
                  <a:ext uri="{FF2B5EF4-FFF2-40B4-BE49-F238E27FC236}">
                    <a16:creationId xmlns:a16="http://schemas.microsoft.com/office/drawing/2014/main" id="{7CB25310-EEB2-4122-924C-C1017D25026E}"/>
                  </a:ext>
                </a:extLst>
              </p:cNvPr>
              <p:cNvSpPr/>
              <p:nvPr/>
            </p:nvSpPr>
            <p:spPr>
              <a:xfrm>
                <a:off x="5279215" y="5620794"/>
                <a:ext cx="18277" cy="18429"/>
              </a:xfrm>
              <a:custGeom>
                <a:avLst/>
                <a:gdLst>
                  <a:gd name="connsiteX0" fmla="*/ 646 w 18277"/>
                  <a:gd name="connsiteY0" fmla="*/ 5730 h 18429"/>
                  <a:gd name="connsiteX1" fmla="*/ 5730 w 18277"/>
                  <a:gd name="connsiteY1" fmla="*/ 17751 h 18429"/>
                  <a:gd name="connsiteX2" fmla="*/ 17631 w 18277"/>
                  <a:gd name="connsiteY2" fmla="*/ 12667 h 18429"/>
                  <a:gd name="connsiteX3" fmla="*/ 12547 w 18277"/>
                  <a:gd name="connsiteY3" fmla="*/ 646 h 18429"/>
                  <a:gd name="connsiteX4" fmla="*/ 646 w 18277"/>
                  <a:gd name="connsiteY4" fmla="*/ 573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29">
                    <a:moveTo>
                      <a:pt x="646" y="5730"/>
                    </a:moveTo>
                    <a:cubicBezTo>
                      <a:pt x="-1208" y="10454"/>
                      <a:pt x="1065" y="15837"/>
                      <a:pt x="5730" y="17751"/>
                    </a:cubicBezTo>
                    <a:cubicBezTo>
                      <a:pt x="10454" y="19665"/>
                      <a:pt x="15777" y="17392"/>
                      <a:pt x="17631" y="12667"/>
                    </a:cubicBezTo>
                    <a:cubicBezTo>
                      <a:pt x="19485" y="7942"/>
                      <a:pt x="17213" y="2560"/>
                      <a:pt x="12547" y="646"/>
                    </a:cubicBezTo>
                    <a:cubicBezTo>
                      <a:pt x="7823" y="-1208"/>
                      <a:pt x="2500" y="1064"/>
                      <a:pt x="646" y="5730"/>
                    </a:cubicBezTo>
                    <a:close/>
                  </a:path>
                </a:pathLst>
              </a:custGeom>
              <a:grpFill/>
              <a:ln w="5978" cap="flat">
                <a:noFill/>
                <a:prstDash val="solid"/>
                <a:miter/>
              </a:ln>
            </p:spPr>
            <p:txBody>
              <a:bodyPr rtlCol="0" anchor="ctr"/>
              <a:lstStyle/>
              <a:p>
                <a:endParaRPr lang="en-GB"/>
              </a:p>
            </p:txBody>
          </p:sp>
        </p:grpSp>
        <p:grpSp>
          <p:nvGrpSpPr>
            <p:cNvPr id="971" name="Graphic 3">
              <a:extLst>
                <a:ext uri="{FF2B5EF4-FFF2-40B4-BE49-F238E27FC236}">
                  <a16:creationId xmlns:a16="http://schemas.microsoft.com/office/drawing/2014/main" id="{E18E6852-761C-479C-9A0A-D32E32B84538}"/>
                </a:ext>
              </a:extLst>
            </p:cNvPr>
            <p:cNvGrpSpPr/>
            <p:nvPr/>
          </p:nvGrpSpPr>
          <p:grpSpPr>
            <a:xfrm>
              <a:off x="5265004" y="4981947"/>
              <a:ext cx="219729" cy="453645"/>
              <a:chOff x="5265004" y="4981947"/>
              <a:chExt cx="219729" cy="453645"/>
            </a:xfrm>
            <a:grpFill/>
          </p:grpSpPr>
          <p:sp>
            <p:nvSpPr>
              <p:cNvPr id="2486" name="Vrije vorm: vorm 2485">
                <a:extLst>
                  <a:ext uri="{FF2B5EF4-FFF2-40B4-BE49-F238E27FC236}">
                    <a16:creationId xmlns:a16="http://schemas.microsoft.com/office/drawing/2014/main" id="{6354D86C-B445-4E74-AEE8-CDB66AD7E899}"/>
                  </a:ext>
                </a:extLst>
              </p:cNvPr>
              <p:cNvSpPr/>
              <p:nvPr/>
            </p:nvSpPr>
            <p:spPr>
              <a:xfrm>
                <a:off x="5272564" y="4990115"/>
                <a:ext cx="204540" cy="437370"/>
              </a:xfrm>
              <a:custGeom>
                <a:avLst/>
                <a:gdLst>
                  <a:gd name="connsiteX0" fmla="*/ 204541 w 204540"/>
                  <a:gd name="connsiteY0" fmla="*/ 1256 h 437370"/>
                  <a:gd name="connsiteX1" fmla="*/ 2751 w 204540"/>
                  <a:gd name="connsiteY1" fmla="*/ 437370 h 437370"/>
                  <a:gd name="connsiteX2" fmla="*/ 0 w 204540"/>
                  <a:gd name="connsiteY2" fmla="*/ 436055 h 437370"/>
                  <a:gd name="connsiteX3" fmla="*/ 201790 w 204540"/>
                  <a:gd name="connsiteY3" fmla="*/ 0 h 437370"/>
                </a:gdLst>
                <a:ahLst/>
                <a:cxnLst>
                  <a:cxn ang="0">
                    <a:pos x="connsiteX0" y="connsiteY0"/>
                  </a:cxn>
                  <a:cxn ang="0">
                    <a:pos x="connsiteX1" y="connsiteY1"/>
                  </a:cxn>
                  <a:cxn ang="0">
                    <a:pos x="connsiteX2" y="connsiteY2"/>
                  </a:cxn>
                  <a:cxn ang="0">
                    <a:pos x="connsiteX3" y="connsiteY3"/>
                  </a:cxn>
                </a:cxnLst>
                <a:rect l="l" t="t" r="r" b="b"/>
                <a:pathLst>
                  <a:path w="204540" h="437370">
                    <a:moveTo>
                      <a:pt x="204541" y="1256"/>
                    </a:moveTo>
                    <a:lnTo>
                      <a:pt x="2751" y="437370"/>
                    </a:lnTo>
                    <a:lnTo>
                      <a:pt x="0" y="436055"/>
                    </a:lnTo>
                    <a:lnTo>
                      <a:pt x="201790" y="0"/>
                    </a:lnTo>
                    <a:close/>
                  </a:path>
                </a:pathLst>
              </a:custGeom>
              <a:grpFill/>
              <a:ln w="5978" cap="flat">
                <a:noFill/>
                <a:prstDash val="solid"/>
                <a:miter/>
              </a:ln>
            </p:spPr>
            <p:txBody>
              <a:bodyPr rtlCol="0" anchor="ctr"/>
              <a:lstStyle/>
              <a:p>
                <a:endParaRPr lang="en-GB"/>
              </a:p>
            </p:txBody>
          </p:sp>
          <p:sp>
            <p:nvSpPr>
              <p:cNvPr id="2487" name="Vrije vorm: vorm 2486">
                <a:extLst>
                  <a:ext uri="{FF2B5EF4-FFF2-40B4-BE49-F238E27FC236}">
                    <a16:creationId xmlns:a16="http://schemas.microsoft.com/office/drawing/2014/main" id="{CD510A63-58DE-468D-99C3-8613003C7FD9}"/>
                  </a:ext>
                </a:extLst>
              </p:cNvPr>
              <p:cNvSpPr/>
              <p:nvPr/>
            </p:nvSpPr>
            <p:spPr>
              <a:xfrm>
                <a:off x="5466375" y="4981947"/>
                <a:ext cx="18358" cy="18428"/>
              </a:xfrm>
              <a:custGeom>
                <a:avLst/>
                <a:gdLst>
                  <a:gd name="connsiteX0" fmla="*/ 861 w 18358"/>
                  <a:gd name="connsiteY0" fmla="*/ 5297 h 18428"/>
                  <a:gd name="connsiteX1" fmla="*/ 13062 w 18358"/>
                  <a:gd name="connsiteY1" fmla="*/ 871 h 18428"/>
                  <a:gd name="connsiteX2" fmla="*/ 17488 w 18358"/>
                  <a:gd name="connsiteY2" fmla="*/ 13132 h 18428"/>
                  <a:gd name="connsiteX3" fmla="*/ 5287 w 18358"/>
                  <a:gd name="connsiteY3" fmla="*/ 17557 h 18428"/>
                  <a:gd name="connsiteX4" fmla="*/ 861 w 18358"/>
                  <a:gd name="connsiteY4" fmla="*/ 529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28">
                    <a:moveTo>
                      <a:pt x="861" y="5297"/>
                    </a:moveTo>
                    <a:cubicBezTo>
                      <a:pt x="3014" y="692"/>
                      <a:pt x="8457" y="-1282"/>
                      <a:pt x="13062" y="871"/>
                    </a:cubicBezTo>
                    <a:cubicBezTo>
                      <a:pt x="17667" y="3024"/>
                      <a:pt x="19641" y="8527"/>
                      <a:pt x="17488" y="13132"/>
                    </a:cubicBezTo>
                    <a:cubicBezTo>
                      <a:pt x="15335" y="17737"/>
                      <a:pt x="9892" y="19711"/>
                      <a:pt x="5287" y="17557"/>
                    </a:cubicBezTo>
                    <a:cubicBezTo>
                      <a:pt x="742" y="15404"/>
                      <a:pt x="-1292" y="9902"/>
                      <a:pt x="861" y="5297"/>
                    </a:cubicBezTo>
                    <a:close/>
                  </a:path>
                </a:pathLst>
              </a:custGeom>
              <a:grpFill/>
              <a:ln w="5978" cap="flat">
                <a:noFill/>
                <a:prstDash val="solid"/>
                <a:miter/>
              </a:ln>
            </p:spPr>
            <p:txBody>
              <a:bodyPr rtlCol="0" anchor="ctr"/>
              <a:lstStyle/>
              <a:p>
                <a:endParaRPr lang="en-GB"/>
              </a:p>
            </p:txBody>
          </p:sp>
          <p:sp>
            <p:nvSpPr>
              <p:cNvPr id="2488" name="Vrije vorm: vorm 2487">
                <a:extLst>
                  <a:ext uri="{FF2B5EF4-FFF2-40B4-BE49-F238E27FC236}">
                    <a16:creationId xmlns:a16="http://schemas.microsoft.com/office/drawing/2014/main" id="{7D266F19-25B5-445E-BC16-E377FC74F220}"/>
                  </a:ext>
                </a:extLst>
              </p:cNvPr>
              <p:cNvSpPr/>
              <p:nvPr/>
            </p:nvSpPr>
            <p:spPr>
              <a:xfrm>
                <a:off x="5265004" y="5417164"/>
                <a:ext cx="18349" cy="18428"/>
              </a:xfrm>
              <a:custGeom>
                <a:avLst/>
                <a:gdLst>
                  <a:gd name="connsiteX0" fmla="*/ 862 w 18349"/>
                  <a:gd name="connsiteY0" fmla="*/ 5297 h 18428"/>
                  <a:gd name="connsiteX1" fmla="*/ 5287 w 18349"/>
                  <a:gd name="connsiteY1" fmla="*/ 17557 h 18428"/>
                  <a:gd name="connsiteX2" fmla="*/ 17488 w 18349"/>
                  <a:gd name="connsiteY2" fmla="*/ 13132 h 18428"/>
                  <a:gd name="connsiteX3" fmla="*/ 13062 w 18349"/>
                  <a:gd name="connsiteY3" fmla="*/ 871 h 18428"/>
                  <a:gd name="connsiteX4" fmla="*/ 862 w 18349"/>
                  <a:gd name="connsiteY4" fmla="*/ 529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8">
                    <a:moveTo>
                      <a:pt x="862" y="5297"/>
                    </a:moveTo>
                    <a:cubicBezTo>
                      <a:pt x="-1292" y="9902"/>
                      <a:pt x="742" y="15404"/>
                      <a:pt x="5287" y="17557"/>
                    </a:cubicBezTo>
                    <a:cubicBezTo>
                      <a:pt x="9892" y="19710"/>
                      <a:pt x="15335" y="17737"/>
                      <a:pt x="17488" y="13132"/>
                    </a:cubicBezTo>
                    <a:cubicBezTo>
                      <a:pt x="19641" y="8526"/>
                      <a:pt x="17607" y="3024"/>
                      <a:pt x="13062" y="871"/>
                    </a:cubicBezTo>
                    <a:cubicBezTo>
                      <a:pt x="8397" y="-1282"/>
                      <a:pt x="2955" y="692"/>
                      <a:pt x="862" y="5297"/>
                    </a:cubicBezTo>
                    <a:close/>
                  </a:path>
                </a:pathLst>
              </a:custGeom>
              <a:grpFill/>
              <a:ln w="5978" cap="flat">
                <a:noFill/>
                <a:prstDash val="solid"/>
                <a:miter/>
              </a:ln>
            </p:spPr>
            <p:txBody>
              <a:bodyPr rtlCol="0" anchor="ctr"/>
              <a:lstStyle/>
              <a:p>
                <a:endParaRPr lang="en-GB"/>
              </a:p>
            </p:txBody>
          </p:sp>
        </p:grpSp>
        <p:grpSp>
          <p:nvGrpSpPr>
            <p:cNvPr id="972" name="Graphic 3">
              <a:extLst>
                <a:ext uri="{FF2B5EF4-FFF2-40B4-BE49-F238E27FC236}">
                  <a16:creationId xmlns:a16="http://schemas.microsoft.com/office/drawing/2014/main" id="{E019DEBE-6F73-479E-B856-769A4243F7C1}"/>
                </a:ext>
              </a:extLst>
            </p:cNvPr>
            <p:cNvGrpSpPr/>
            <p:nvPr/>
          </p:nvGrpSpPr>
          <p:grpSpPr>
            <a:xfrm>
              <a:off x="4112966" y="2095941"/>
              <a:ext cx="535265" cy="406235"/>
              <a:chOff x="4112966" y="2095941"/>
              <a:chExt cx="535265" cy="406235"/>
            </a:xfrm>
            <a:grpFill/>
          </p:grpSpPr>
          <p:sp>
            <p:nvSpPr>
              <p:cNvPr id="2483" name="Vrije vorm: vorm 2482">
                <a:extLst>
                  <a:ext uri="{FF2B5EF4-FFF2-40B4-BE49-F238E27FC236}">
                    <a16:creationId xmlns:a16="http://schemas.microsoft.com/office/drawing/2014/main" id="{2526B598-5430-4644-8B5D-532F5BB3406E}"/>
                  </a:ext>
                </a:extLst>
              </p:cNvPr>
              <p:cNvSpPr/>
              <p:nvPr/>
            </p:nvSpPr>
            <p:spPr>
              <a:xfrm>
                <a:off x="4120797" y="2103639"/>
                <a:ext cx="519545" cy="390780"/>
              </a:xfrm>
              <a:custGeom>
                <a:avLst/>
                <a:gdLst>
                  <a:gd name="connsiteX0" fmla="*/ 519545 w 519545"/>
                  <a:gd name="connsiteY0" fmla="*/ 388328 h 390780"/>
                  <a:gd name="connsiteX1" fmla="*/ 517691 w 519545"/>
                  <a:gd name="connsiteY1" fmla="*/ 390780 h 390780"/>
                  <a:gd name="connsiteX2" fmla="*/ 0 w 519545"/>
                  <a:gd name="connsiteY2" fmla="*/ 2452 h 390780"/>
                  <a:gd name="connsiteX3" fmla="*/ 1794 w 519545"/>
                  <a:gd name="connsiteY3" fmla="*/ 0 h 390780"/>
                </a:gdLst>
                <a:ahLst/>
                <a:cxnLst>
                  <a:cxn ang="0">
                    <a:pos x="connsiteX0" y="connsiteY0"/>
                  </a:cxn>
                  <a:cxn ang="0">
                    <a:pos x="connsiteX1" y="connsiteY1"/>
                  </a:cxn>
                  <a:cxn ang="0">
                    <a:pos x="connsiteX2" y="connsiteY2"/>
                  </a:cxn>
                  <a:cxn ang="0">
                    <a:pos x="connsiteX3" y="connsiteY3"/>
                  </a:cxn>
                </a:cxnLst>
                <a:rect l="l" t="t" r="r" b="b"/>
                <a:pathLst>
                  <a:path w="519545" h="390780">
                    <a:moveTo>
                      <a:pt x="519545" y="388328"/>
                    </a:moveTo>
                    <a:lnTo>
                      <a:pt x="517691" y="390780"/>
                    </a:lnTo>
                    <a:lnTo>
                      <a:pt x="0" y="2452"/>
                    </a:lnTo>
                    <a:lnTo>
                      <a:pt x="1794" y="0"/>
                    </a:lnTo>
                    <a:close/>
                  </a:path>
                </a:pathLst>
              </a:custGeom>
              <a:grpFill/>
              <a:ln w="5978" cap="flat">
                <a:noFill/>
                <a:prstDash val="solid"/>
                <a:miter/>
              </a:ln>
            </p:spPr>
            <p:txBody>
              <a:bodyPr rtlCol="0" anchor="ctr"/>
              <a:lstStyle/>
              <a:p>
                <a:endParaRPr lang="en-GB"/>
              </a:p>
            </p:txBody>
          </p:sp>
          <p:sp>
            <p:nvSpPr>
              <p:cNvPr id="2484" name="Vrije vorm: vorm 2483">
                <a:extLst>
                  <a:ext uri="{FF2B5EF4-FFF2-40B4-BE49-F238E27FC236}">
                    <a16:creationId xmlns:a16="http://schemas.microsoft.com/office/drawing/2014/main" id="{DB6E0B71-5501-47AA-8595-D8999A892AD3}"/>
                  </a:ext>
                </a:extLst>
              </p:cNvPr>
              <p:cNvSpPr/>
              <p:nvPr/>
            </p:nvSpPr>
            <p:spPr>
              <a:xfrm>
                <a:off x="4629940" y="2483731"/>
                <a:ext cx="18291" cy="18445"/>
              </a:xfrm>
              <a:custGeom>
                <a:avLst/>
                <a:gdLst>
                  <a:gd name="connsiteX0" fmla="*/ 14588 w 18291"/>
                  <a:gd name="connsiteY0" fmla="*/ 1837 h 18445"/>
                  <a:gd name="connsiteX1" fmla="*/ 16502 w 18291"/>
                  <a:gd name="connsiteY1" fmla="*/ 14755 h 18445"/>
                  <a:gd name="connsiteX2" fmla="*/ 3703 w 18291"/>
                  <a:gd name="connsiteY2" fmla="*/ 16609 h 18445"/>
                  <a:gd name="connsiteX3" fmla="*/ 1790 w 18291"/>
                  <a:gd name="connsiteY3" fmla="*/ 3691 h 18445"/>
                  <a:gd name="connsiteX4" fmla="*/ 14588 w 18291"/>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4588" y="1837"/>
                    </a:moveTo>
                    <a:cubicBezTo>
                      <a:pt x="18655" y="4887"/>
                      <a:pt x="19493" y="10628"/>
                      <a:pt x="16502" y="14755"/>
                    </a:cubicBezTo>
                    <a:cubicBezTo>
                      <a:pt x="13512" y="18822"/>
                      <a:pt x="7770" y="19659"/>
                      <a:pt x="3703" y="16609"/>
                    </a:cubicBezTo>
                    <a:cubicBezTo>
                      <a:pt x="-363" y="13559"/>
                      <a:pt x="-1201" y="7758"/>
                      <a:pt x="1790" y="3691"/>
                    </a:cubicBezTo>
                    <a:cubicBezTo>
                      <a:pt x="4780" y="-376"/>
                      <a:pt x="10522" y="-1213"/>
                      <a:pt x="14588" y="1837"/>
                    </a:cubicBezTo>
                    <a:close/>
                  </a:path>
                </a:pathLst>
              </a:custGeom>
              <a:grpFill/>
              <a:ln w="5978" cap="flat">
                <a:noFill/>
                <a:prstDash val="solid"/>
                <a:miter/>
              </a:ln>
            </p:spPr>
            <p:txBody>
              <a:bodyPr rtlCol="0" anchor="ctr"/>
              <a:lstStyle/>
              <a:p>
                <a:endParaRPr lang="en-GB"/>
              </a:p>
            </p:txBody>
          </p:sp>
          <p:sp>
            <p:nvSpPr>
              <p:cNvPr id="2485" name="Vrije vorm: vorm 2484">
                <a:extLst>
                  <a:ext uri="{FF2B5EF4-FFF2-40B4-BE49-F238E27FC236}">
                    <a16:creationId xmlns:a16="http://schemas.microsoft.com/office/drawing/2014/main" id="{27FD43A5-7543-47C4-B887-66E43800F0A6}"/>
                  </a:ext>
                </a:extLst>
              </p:cNvPr>
              <p:cNvSpPr/>
              <p:nvPr/>
            </p:nvSpPr>
            <p:spPr>
              <a:xfrm>
                <a:off x="4112966" y="2095941"/>
                <a:ext cx="18274" cy="18445"/>
              </a:xfrm>
              <a:custGeom>
                <a:avLst/>
                <a:gdLst>
                  <a:gd name="connsiteX0" fmla="*/ 14588 w 18274"/>
                  <a:gd name="connsiteY0" fmla="*/ 1837 h 18445"/>
                  <a:gd name="connsiteX1" fmla="*/ 1790 w 18274"/>
                  <a:gd name="connsiteY1" fmla="*/ 3691 h 18445"/>
                  <a:gd name="connsiteX2" fmla="*/ 3703 w 18274"/>
                  <a:gd name="connsiteY2" fmla="*/ 16609 h 18445"/>
                  <a:gd name="connsiteX3" fmla="*/ 16502 w 18274"/>
                  <a:gd name="connsiteY3" fmla="*/ 14755 h 18445"/>
                  <a:gd name="connsiteX4" fmla="*/ 14588 w 18274"/>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5">
                    <a:moveTo>
                      <a:pt x="14588" y="1837"/>
                    </a:moveTo>
                    <a:cubicBezTo>
                      <a:pt x="10522" y="-1213"/>
                      <a:pt x="4780" y="-376"/>
                      <a:pt x="1790" y="3691"/>
                    </a:cubicBezTo>
                    <a:cubicBezTo>
                      <a:pt x="-1201" y="7758"/>
                      <a:pt x="-363" y="13559"/>
                      <a:pt x="3703" y="16609"/>
                    </a:cubicBezTo>
                    <a:cubicBezTo>
                      <a:pt x="7770" y="19659"/>
                      <a:pt x="13512" y="18822"/>
                      <a:pt x="16502" y="14755"/>
                    </a:cubicBezTo>
                    <a:cubicBezTo>
                      <a:pt x="19493" y="10688"/>
                      <a:pt x="18595" y="4887"/>
                      <a:pt x="14588" y="1837"/>
                    </a:cubicBezTo>
                    <a:close/>
                  </a:path>
                </a:pathLst>
              </a:custGeom>
              <a:grpFill/>
              <a:ln w="5978" cap="flat">
                <a:noFill/>
                <a:prstDash val="solid"/>
                <a:miter/>
              </a:ln>
            </p:spPr>
            <p:txBody>
              <a:bodyPr rtlCol="0" anchor="ctr"/>
              <a:lstStyle/>
              <a:p>
                <a:endParaRPr lang="en-GB"/>
              </a:p>
            </p:txBody>
          </p:sp>
        </p:grpSp>
        <p:grpSp>
          <p:nvGrpSpPr>
            <p:cNvPr id="973" name="Graphic 3">
              <a:extLst>
                <a:ext uri="{FF2B5EF4-FFF2-40B4-BE49-F238E27FC236}">
                  <a16:creationId xmlns:a16="http://schemas.microsoft.com/office/drawing/2014/main" id="{A49F036F-03BE-4551-952C-5573479623A1}"/>
                </a:ext>
              </a:extLst>
            </p:cNvPr>
            <p:cNvGrpSpPr/>
            <p:nvPr/>
          </p:nvGrpSpPr>
          <p:grpSpPr>
            <a:xfrm>
              <a:off x="5245651" y="4888921"/>
              <a:ext cx="42316" cy="64172"/>
              <a:chOff x="5245651" y="4888921"/>
              <a:chExt cx="42316" cy="64172"/>
            </a:xfrm>
            <a:grpFill/>
          </p:grpSpPr>
          <p:sp>
            <p:nvSpPr>
              <p:cNvPr id="2480" name="Vrije vorm: vorm 2479">
                <a:extLst>
                  <a:ext uri="{FF2B5EF4-FFF2-40B4-BE49-F238E27FC236}">
                    <a16:creationId xmlns:a16="http://schemas.microsoft.com/office/drawing/2014/main" id="{F8F1A047-6947-4195-8FED-2CFD4E2C2712}"/>
                  </a:ext>
                </a:extLst>
              </p:cNvPr>
              <p:cNvSpPr/>
              <p:nvPr/>
            </p:nvSpPr>
            <p:spPr>
              <a:xfrm>
                <a:off x="5253306" y="4896995"/>
                <a:ext cx="27092" cy="47965"/>
              </a:xfrm>
              <a:custGeom>
                <a:avLst/>
                <a:gdLst>
                  <a:gd name="connsiteX0" fmla="*/ 27093 w 27092"/>
                  <a:gd name="connsiteY0" fmla="*/ 1435 h 47965"/>
                  <a:gd name="connsiteX1" fmla="*/ 2691 w 27092"/>
                  <a:gd name="connsiteY1" fmla="*/ 47965 h 47965"/>
                  <a:gd name="connsiteX2" fmla="*/ 0 w 27092"/>
                  <a:gd name="connsiteY2" fmla="*/ 46530 h 47965"/>
                  <a:gd name="connsiteX3" fmla="*/ 24401 w 27092"/>
                  <a:gd name="connsiteY3" fmla="*/ 0 h 47965"/>
                </a:gdLst>
                <a:ahLst/>
                <a:cxnLst>
                  <a:cxn ang="0">
                    <a:pos x="connsiteX0" y="connsiteY0"/>
                  </a:cxn>
                  <a:cxn ang="0">
                    <a:pos x="connsiteX1" y="connsiteY1"/>
                  </a:cxn>
                  <a:cxn ang="0">
                    <a:pos x="connsiteX2" y="connsiteY2"/>
                  </a:cxn>
                  <a:cxn ang="0">
                    <a:pos x="connsiteX3" y="connsiteY3"/>
                  </a:cxn>
                </a:cxnLst>
                <a:rect l="l" t="t" r="r" b="b"/>
                <a:pathLst>
                  <a:path w="27092" h="47965">
                    <a:moveTo>
                      <a:pt x="27093" y="1435"/>
                    </a:moveTo>
                    <a:lnTo>
                      <a:pt x="2691" y="47965"/>
                    </a:lnTo>
                    <a:lnTo>
                      <a:pt x="0" y="46530"/>
                    </a:lnTo>
                    <a:lnTo>
                      <a:pt x="24401" y="0"/>
                    </a:lnTo>
                    <a:close/>
                  </a:path>
                </a:pathLst>
              </a:custGeom>
              <a:grpFill/>
              <a:ln w="5978" cap="flat">
                <a:noFill/>
                <a:prstDash val="solid"/>
                <a:miter/>
              </a:ln>
            </p:spPr>
            <p:txBody>
              <a:bodyPr rtlCol="0" anchor="ctr"/>
              <a:lstStyle/>
              <a:p>
                <a:endParaRPr lang="en-GB"/>
              </a:p>
            </p:txBody>
          </p:sp>
          <p:sp>
            <p:nvSpPr>
              <p:cNvPr id="2481" name="Vrije vorm: vorm 2480">
                <a:extLst>
                  <a:ext uri="{FF2B5EF4-FFF2-40B4-BE49-F238E27FC236}">
                    <a16:creationId xmlns:a16="http://schemas.microsoft.com/office/drawing/2014/main" id="{7C3AD9CC-2117-4BE1-8FAA-51B6B8E04E8A}"/>
                  </a:ext>
                </a:extLst>
              </p:cNvPr>
              <p:cNvSpPr/>
              <p:nvPr/>
            </p:nvSpPr>
            <p:spPr>
              <a:xfrm>
                <a:off x="5245651" y="4934674"/>
                <a:ext cx="18360" cy="18420"/>
              </a:xfrm>
              <a:custGeom>
                <a:avLst/>
                <a:gdLst>
                  <a:gd name="connsiteX0" fmla="*/ 17284 w 18360"/>
                  <a:gd name="connsiteY0" fmla="*/ 13516 h 18420"/>
                  <a:gd name="connsiteX1" fmla="*/ 4904 w 18360"/>
                  <a:gd name="connsiteY1" fmla="*/ 17344 h 18420"/>
                  <a:gd name="connsiteX2" fmla="*/ 1076 w 18360"/>
                  <a:gd name="connsiteY2" fmla="*/ 4904 h 18420"/>
                  <a:gd name="connsiteX3" fmla="*/ 13457 w 18360"/>
                  <a:gd name="connsiteY3" fmla="*/ 1076 h 18420"/>
                  <a:gd name="connsiteX4" fmla="*/ 17284 w 18360"/>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17284" y="13516"/>
                    </a:moveTo>
                    <a:cubicBezTo>
                      <a:pt x="14952" y="18002"/>
                      <a:pt x="9390" y="19736"/>
                      <a:pt x="4904" y="17344"/>
                    </a:cubicBezTo>
                    <a:cubicBezTo>
                      <a:pt x="419" y="14952"/>
                      <a:pt x="-1316" y="9390"/>
                      <a:pt x="1076" y="4904"/>
                    </a:cubicBezTo>
                    <a:cubicBezTo>
                      <a:pt x="3409" y="419"/>
                      <a:pt x="8971" y="-1316"/>
                      <a:pt x="13457" y="1076"/>
                    </a:cubicBezTo>
                    <a:cubicBezTo>
                      <a:pt x="17942" y="3409"/>
                      <a:pt x="19676" y="9031"/>
                      <a:pt x="17284" y="13516"/>
                    </a:cubicBezTo>
                    <a:close/>
                  </a:path>
                </a:pathLst>
              </a:custGeom>
              <a:grpFill/>
              <a:ln w="5978" cap="flat">
                <a:noFill/>
                <a:prstDash val="solid"/>
                <a:miter/>
              </a:ln>
            </p:spPr>
            <p:txBody>
              <a:bodyPr rtlCol="0" anchor="ctr"/>
              <a:lstStyle/>
              <a:p>
                <a:endParaRPr lang="en-GB"/>
              </a:p>
            </p:txBody>
          </p:sp>
          <p:sp>
            <p:nvSpPr>
              <p:cNvPr id="2482" name="Vrije vorm: vorm 2481">
                <a:extLst>
                  <a:ext uri="{FF2B5EF4-FFF2-40B4-BE49-F238E27FC236}">
                    <a16:creationId xmlns:a16="http://schemas.microsoft.com/office/drawing/2014/main" id="{DD6D2440-BC82-4685-8C4F-0FC83CE4F0D9}"/>
                  </a:ext>
                </a:extLst>
              </p:cNvPr>
              <p:cNvSpPr/>
              <p:nvPr/>
            </p:nvSpPr>
            <p:spPr>
              <a:xfrm>
                <a:off x="5269660" y="4888921"/>
                <a:ext cx="18307" cy="18420"/>
              </a:xfrm>
              <a:custGeom>
                <a:avLst/>
                <a:gdLst>
                  <a:gd name="connsiteX0" fmla="*/ 17258 w 18307"/>
                  <a:gd name="connsiteY0" fmla="*/ 13516 h 18420"/>
                  <a:gd name="connsiteX1" fmla="*/ 13430 w 18307"/>
                  <a:gd name="connsiteY1" fmla="*/ 1076 h 18420"/>
                  <a:gd name="connsiteX2" fmla="*/ 1050 w 18307"/>
                  <a:gd name="connsiteY2" fmla="*/ 4904 h 18420"/>
                  <a:gd name="connsiteX3" fmla="*/ 4877 w 18307"/>
                  <a:gd name="connsiteY3" fmla="*/ 17344 h 18420"/>
                  <a:gd name="connsiteX4" fmla="*/ 17258 w 18307"/>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0">
                    <a:moveTo>
                      <a:pt x="17258" y="13516"/>
                    </a:moveTo>
                    <a:cubicBezTo>
                      <a:pt x="19590" y="9031"/>
                      <a:pt x="17916" y="3469"/>
                      <a:pt x="13430" y="1076"/>
                    </a:cubicBezTo>
                    <a:cubicBezTo>
                      <a:pt x="8945" y="-1316"/>
                      <a:pt x="3382" y="418"/>
                      <a:pt x="1050" y="4904"/>
                    </a:cubicBezTo>
                    <a:cubicBezTo>
                      <a:pt x="-1283" y="9389"/>
                      <a:pt x="392" y="14952"/>
                      <a:pt x="4877" y="17344"/>
                    </a:cubicBezTo>
                    <a:cubicBezTo>
                      <a:pt x="9363" y="19736"/>
                      <a:pt x="14925" y="18002"/>
                      <a:pt x="17258" y="13516"/>
                    </a:cubicBezTo>
                    <a:close/>
                  </a:path>
                </a:pathLst>
              </a:custGeom>
              <a:grpFill/>
              <a:ln w="5978" cap="flat">
                <a:noFill/>
                <a:prstDash val="solid"/>
                <a:miter/>
              </a:ln>
            </p:spPr>
            <p:txBody>
              <a:bodyPr rtlCol="0" anchor="ctr"/>
              <a:lstStyle/>
              <a:p>
                <a:endParaRPr lang="en-GB"/>
              </a:p>
            </p:txBody>
          </p:sp>
        </p:grpSp>
        <p:grpSp>
          <p:nvGrpSpPr>
            <p:cNvPr id="974" name="Graphic 3">
              <a:extLst>
                <a:ext uri="{FF2B5EF4-FFF2-40B4-BE49-F238E27FC236}">
                  <a16:creationId xmlns:a16="http://schemas.microsoft.com/office/drawing/2014/main" id="{51D05303-F978-4F23-9544-1E4E18AE6966}"/>
                </a:ext>
              </a:extLst>
            </p:cNvPr>
            <p:cNvGrpSpPr/>
            <p:nvPr/>
          </p:nvGrpSpPr>
          <p:grpSpPr>
            <a:xfrm>
              <a:off x="5334197" y="5122890"/>
              <a:ext cx="170986" cy="486861"/>
              <a:chOff x="5334197" y="5122890"/>
              <a:chExt cx="170986" cy="486861"/>
            </a:xfrm>
            <a:grpFill/>
          </p:grpSpPr>
          <p:sp>
            <p:nvSpPr>
              <p:cNvPr id="2477" name="Vrije vorm: vorm 2476">
                <a:extLst>
                  <a:ext uri="{FF2B5EF4-FFF2-40B4-BE49-F238E27FC236}">
                    <a16:creationId xmlns:a16="http://schemas.microsoft.com/office/drawing/2014/main" id="{B03F01FF-AB7F-4518-9497-4335738A1237}"/>
                  </a:ext>
                </a:extLst>
              </p:cNvPr>
              <p:cNvSpPr/>
              <p:nvPr/>
            </p:nvSpPr>
            <p:spPr>
              <a:xfrm>
                <a:off x="5341761" y="5131200"/>
                <a:ext cx="155857" cy="470264"/>
              </a:xfrm>
              <a:custGeom>
                <a:avLst/>
                <a:gdLst>
                  <a:gd name="connsiteX0" fmla="*/ 155858 w 155857"/>
                  <a:gd name="connsiteY0" fmla="*/ 957 h 470264"/>
                  <a:gd name="connsiteX1" fmla="*/ 2930 w 155857"/>
                  <a:gd name="connsiteY1" fmla="*/ 470264 h 470264"/>
                  <a:gd name="connsiteX2" fmla="*/ 0 w 155857"/>
                  <a:gd name="connsiteY2" fmla="*/ 469248 h 470264"/>
                  <a:gd name="connsiteX3" fmla="*/ 152987 w 155857"/>
                  <a:gd name="connsiteY3" fmla="*/ 0 h 470264"/>
                </a:gdLst>
                <a:ahLst/>
                <a:cxnLst>
                  <a:cxn ang="0">
                    <a:pos x="connsiteX0" y="connsiteY0"/>
                  </a:cxn>
                  <a:cxn ang="0">
                    <a:pos x="connsiteX1" y="connsiteY1"/>
                  </a:cxn>
                  <a:cxn ang="0">
                    <a:pos x="connsiteX2" y="connsiteY2"/>
                  </a:cxn>
                  <a:cxn ang="0">
                    <a:pos x="connsiteX3" y="connsiteY3"/>
                  </a:cxn>
                </a:cxnLst>
                <a:rect l="l" t="t" r="r" b="b"/>
                <a:pathLst>
                  <a:path w="155857" h="470264">
                    <a:moveTo>
                      <a:pt x="155858" y="957"/>
                    </a:moveTo>
                    <a:lnTo>
                      <a:pt x="2930" y="470264"/>
                    </a:lnTo>
                    <a:lnTo>
                      <a:pt x="0" y="469248"/>
                    </a:lnTo>
                    <a:lnTo>
                      <a:pt x="152987" y="0"/>
                    </a:lnTo>
                    <a:close/>
                  </a:path>
                </a:pathLst>
              </a:custGeom>
              <a:grpFill/>
              <a:ln w="5978" cap="flat">
                <a:noFill/>
                <a:prstDash val="solid"/>
                <a:miter/>
              </a:ln>
            </p:spPr>
            <p:txBody>
              <a:bodyPr rtlCol="0" anchor="ctr"/>
              <a:lstStyle/>
              <a:p>
                <a:endParaRPr lang="en-GB"/>
              </a:p>
            </p:txBody>
          </p:sp>
          <p:sp>
            <p:nvSpPr>
              <p:cNvPr id="2478" name="Vrije vorm: vorm 2477">
                <a:extLst>
                  <a:ext uri="{FF2B5EF4-FFF2-40B4-BE49-F238E27FC236}">
                    <a16:creationId xmlns:a16="http://schemas.microsoft.com/office/drawing/2014/main" id="{788A804F-1A64-4970-B0D2-BBA1AE616517}"/>
                  </a:ext>
                </a:extLst>
              </p:cNvPr>
              <p:cNvSpPr/>
              <p:nvPr/>
            </p:nvSpPr>
            <p:spPr>
              <a:xfrm>
                <a:off x="5334197" y="5591300"/>
                <a:ext cx="18326" cy="18451"/>
              </a:xfrm>
              <a:custGeom>
                <a:avLst/>
                <a:gdLst>
                  <a:gd name="connsiteX0" fmla="*/ 17851 w 18326"/>
                  <a:gd name="connsiteY0" fmla="*/ 12138 h 18451"/>
                  <a:gd name="connsiteX1" fmla="*/ 6308 w 18326"/>
                  <a:gd name="connsiteY1" fmla="*/ 17999 h 18451"/>
                  <a:gd name="connsiteX2" fmla="*/ 447 w 18326"/>
                  <a:gd name="connsiteY2" fmla="*/ 6337 h 18451"/>
                  <a:gd name="connsiteX3" fmla="*/ 11990 w 18326"/>
                  <a:gd name="connsiteY3" fmla="*/ 476 h 18451"/>
                  <a:gd name="connsiteX4" fmla="*/ 17851 w 18326"/>
                  <a:gd name="connsiteY4" fmla="*/ 1213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1">
                    <a:moveTo>
                      <a:pt x="17851" y="12138"/>
                    </a:moveTo>
                    <a:cubicBezTo>
                      <a:pt x="16296" y="16982"/>
                      <a:pt x="11093" y="19554"/>
                      <a:pt x="6308" y="17999"/>
                    </a:cubicBezTo>
                    <a:cubicBezTo>
                      <a:pt x="1524" y="16384"/>
                      <a:pt x="-1108" y="11181"/>
                      <a:pt x="447" y="6337"/>
                    </a:cubicBezTo>
                    <a:cubicBezTo>
                      <a:pt x="2002" y="1492"/>
                      <a:pt x="7205" y="-1139"/>
                      <a:pt x="11990" y="476"/>
                    </a:cubicBezTo>
                    <a:cubicBezTo>
                      <a:pt x="16834" y="2091"/>
                      <a:pt x="19466" y="7294"/>
                      <a:pt x="17851" y="12138"/>
                    </a:cubicBezTo>
                    <a:close/>
                  </a:path>
                </a:pathLst>
              </a:custGeom>
              <a:grpFill/>
              <a:ln w="5978" cap="flat">
                <a:noFill/>
                <a:prstDash val="solid"/>
                <a:miter/>
              </a:ln>
            </p:spPr>
            <p:txBody>
              <a:bodyPr rtlCol="0" anchor="ctr"/>
              <a:lstStyle/>
              <a:p>
                <a:endParaRPr lang="en-GB"/>
              </a:p>
            </p:txBody>
          </p:sp>
          <p:sp>
            <p:nvSpPr>
              <p:cNvPr id="2479" name="Vrije vorm: vorm 2478">
                <a:extLst>
                  <a:ext uri="{FF2B5EF4-FFF2-40B4-BE49-F238E27FC236}">
                    <a16:creationId xmlns:a16="http://schemas.microsoft.com/office/drawing/2014/main" id="{4E89C945-8394-48A3-8A24-89B8AFFD7B09}"/>
                  </a:ext>
                </a:extLst>
              </p:cNvPr>
              <p:cNvSpPr/>
              <p:nvPr/>
            </p:nvSpPr>
            <p:spPr>
              <a:xfrm>
                <a:off x="5486885" y="5122890"/>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9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5" y="2091"/>
                      <a:pt x="11990" y="476"/>
                    </a:cubicBezTo>
                    <a:cubicBezTo>
                      <a:pt x="7205" y="-1139"/>
                      <a:pt x="2002" y="1492"/>
                      <a:pt x="447" y="6337"/>
                    </a:cubicBezTo>
                    <a:cubicBezTo>
                      <a:pt x="-1108" y="11181"/>
                      <a:pt x="1524" y="16384"/>
                      <a:pt x="6309" y="17999"/>
                    </a:cubicBezTo>
                    <a:cubicBezTo>
                      <a:pt x="11093" y="19614"/>
                      <a:pt x="16296" y="16982"/>
                      <a:pt x="17851" y="12138"/>
                    </a:cubicBezTo>
                    <a:close/>
                  </a:path>
                </a:pathLst>
              </a:custGeom>
              <a:grpFill/>
              <a:ln w="5978" cap="flat">
                <a:noFill/>
                <a:prstDash val="solid"/>
                <a:miter/>
              </a:ln>
            </p:spPr>
            <p:txBody>
              <a:bodyPr rtlCol="0" anchor="ctr"/>
              <a:lstStyle/>
              <a:p>
                <a:endParaRPr lang="en-GB"/>
              </a:p>
            </p:txBody>
          </p:sp>
        </p:grpSp>
        <p:grpSp>
          <p:nvGrpSpPr>
            <p:cNvPr id="975" name="Graphic 3">
              <a:extLst>
                <a:ext uri="{FF2B5EF4-FFF2-40B4-BE49-F238E27FC236}">
                  <a16:creationId xmlns:a16="http://schemas.microsoft.com/office/drawing/2014/main" id="{C6B1AF02-01A5-4BF1-957E-00D7BAF0426F}"/>
                </a:ext>
              </a:extLst>
            </p:cNvPr>
            <p:cNvGrpSpPr/>
            <p:nvPr/>
          </p:nvGrpSpPr>
          <p:grpSpPr>
            <a:xfrm>
              <a:off x="5315128" y="5099212"/>
              <a:ext cx="127254" cy="314574"/>
              <a:chOff x="5315128" y="5099212"/>
              <a:chExt cx="127254" cy="314574"/>
            </a:xfrm>
            <a:grpFill/>
          </p:grpSpPr>
          <p:sp>
            <p:nvSpPr>
              <p:cNvPr id="2474" name="Vrije vorm: vorm 2473">
                <a:extLst>
                  <a:ext uri="{FF2B5EF4-FFF2-40B4-BE49-F238E27FC236}">
                    <a16:creationId xmlns:a16="http://schemas.microsoft.com/office/drawing/2014/main" id="{C8C00802-05A8-4813-8880-8FB25A564A1E}"/>
                  </a:ext>
                </a:extLst>
              </p:cNvPr>
              <p:cNvSpPr/>
              <p:nvPr/>
            </p:nvSpPr>
            <p:spPr>
              <a:xfrm>
                <a:off x="5322743" y="5107457"/>
                <a:ext cx="112078" cy="298138"/>
              </a:xfrm>
              <a:custGeom>
                <a:avLst/>
                <a:gdLst>
                  <a:gd name="connsiteX0" fmla="*/ 112079 w 112078"/>
                  <a:gd name="connsiteY0" fmla="*/ 1076 h 298138"/>
                  <a:gd name="connsiteX1" fmla="*/ 2871 w 112078"/>
                  <a:gd name="connsiteY1" fmla="*/ 298139 h 298138"/>
                  <a:gd name="connsiteX2" fmla="*/ 0 w 112078"/>
                  <a:gd name="connsiteY2" fmla="*/ 297062 h 298138"/>
                  <a:gd name="connsiteX3" fmla="*/ 109208 w 112078"/>
                  <a:gd name="connsiteY3" fmla="*/ 0 h 298138"/>
                </a:gdLst>
                <a:ahLst/>
                <a:cxnLst>
                  <a:cxn ang="0">
                    <a:pos x="connsiteX0" y="connsiteY0"/>
                  </a:cxn>
                  <a:cxn ang="0">
                    <a:pos x="connsiteX1" y="connsiteY1"/>
                  </a:cxn>
                  <a:cxn ang="0">
                    <a:pos x="connsiteX2" y="connsiteY2"/>
                  </a:cxn>
                  <a:cxn ang="0">
                    <a:pos x="connsiteX3" y="connsiteY3"/>
                  </a:cxn>
                </a:cxnLst>
                <a:rect l="l" t="t" r="r" b="b"/>
                <a:pathLst>
                  <a:path w="112078" h="298138">
                    <a:moveTo>
                      <a:pt x="112079" y="1076"/>
                    </a:moveTo>
                    <a:lnTo>
                      <a:pt x="2871" y="298139"/>
                    </a:lnTo>
                    <a:lnTo>
                      <a:pt x="0" y="297062"/>
                    </a:lnTo>
                    <a:lnTo>
                      <a:pt x="109208" y="0"/>
                    </a:lnTo>
                    <a:close/>
                  </a:path>
                </a:pathLst>
              </a:custGeom>
              <a:grpFill/>
              <a:ln w="5978" cap="flat">
                <a:noFill/>
                <a:prstDash val="solid"/>
                <a:miter/>
              </a:ln>
            </p:spPr>
            <p:txBody>
              <a:bodyPr rtlCol="0" anchor="ctr"/>
              <a:lstStyle/>
              <a:p>
                <a:endParaRPr lang="en-GB"/>
              </a:p>
            </p:txBody>
          </p:sp>
          <p:sp>
            <p:nvSpPr>
              <p:cNvPr id="2475" name="Vrije vorm: vorm 2474">
                <a:extLst>
                  <a:ext uri="{FF2B5EF4-FFF2-40B4-BE49-F238E27FC236}">
                    <a16:creationId xmlns:a16="http://schemas.microsoft.com/office/drawing/2014/main" id="{DBB961C9-CD8F-4331-BC62-E9CC44BF1F46}"/>
                  </a:ext>
                </a:extLst>
              </p:cNvPr>
              <p:cNvSpPr/>
              <p:nvPr/>
            </p:nvSpPr>
            <p:spPr>
              <a:xfrm>
                <a:off x="5315128" y="5395371"/>
                <a:ext cx="18369" cy="18415"/>
              </a:xfrm>
              <a:custGeom>
                <a:avLst/>
                <a:gdLst>
                  <a:gd name="connsiteX0" fmla="*/ 17782 w 18369"/>
                  <a:gd name="connsiteY0" fmla="*/ 12437 h 18415"/>
                  <a:gd name="connsiteX1" fmla="*/ 6000 w 18369"/>
                  <a:gd name="connsiteY1" fmla="*/ 17820 h 18415"/>
                  <a:gd name="connsiteX2" fmla="*/ 557 w 18369"/>
                  <a:gd name="connsiteY2" fmla="*/ 5978 h 18415"/>
                  <a:gd name="connsiteX3" fmla="*/ 12339 w 18369"/>
                  <a:gd name="connsiteY3" fmla="*/ 596 h 18415"/>
                  <a:gd name="connsiteX4" fmla="*/ 17782 w 18369"/>
                  <a:gd name="connsiteY4" fmla="*/ 12437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5">
                    <a:moveTo>
                      <a:pt x="17782" y="12437"/>
                    </a:moveTo>
                    <a:cubicBezTo>
                      <a:pt x="16047" y="17222"/>
                      <a:pt x="10784" y="19614"/>
                      <a:pt x="6000" y="17820"/>
                    </a:cubicBezTo>
                    <a:cubicBezTo>
                      <a:pt x="1275" y="16026"/>
                      <a:pt x="-1177" y="10703"/>
                      <a:pt x="557" y="5978"/>
                    </a:cubicBezTo>
                    <a:cubicBezTo>
                      <a:pt x="2292" y="1194"/>
                      <a:pt x="7555" y="-1198"/>
                      <a:pt x="12339" y="596"/>
                    </a:cubicBezTo>
                    <a:cubicBezTo>
                      <a:pt x="17124" y="2390"/>
                      <a:pt x="19576" y="7713"/>
                      <a:pt x="17782" y="12437"/>
                    </a:cubicBezTo>
                    <a:close/>
                  </a:path>
                </a:pathLst>
              </a:custGeom>
              <a:grpFill/>
              <a:ln w="5978" cap="flat">
                <a:noFill/>
                <a:prstDash val="solid"/>
                <a:miter/>
              </a:ln>
            </p:spPr>
            <p:txBody>
              <a:bodyPr rtlCol="0" anchor="ctr"/>
              <a:lstStyle/>
              <a:p>
                <a:endParaRPr lang="en-GB"/>
              </a:p>
            </p:txBody>
          </p:sp>
          <p:sp>
            <p:nvSpPr>
              <p:cNvPr id="2476" name="Vrije vorm: vorm 2475">
                <a:extLst>
                  <a:ext uri="{FF2B5EF4-FFF2-40B4-BE49-F238E27FC236}">
                    <a16:creationId xmlns:a16="http://schemas.microsoft.com/office/drawing/2014/main" id="{F67614B7-B278-4DC8-9290-64685E2DFB7A}"/>
                  </a:ext>
                </a:extLst>
              </p:cNvPr>
              <p:cNvSpPr/>
              <p:nvPr/>
            </p:nvSpPr>
            <p:spPr>
              <a:xfrm>
                <a:off x="5424030" y="5099212"/>
                <a:ext cx="18352" cy="18401"/>
              </a:xfrm>
              <a:custGeom>
                <a:avLst/>
                <a:gdLst>
                  <a:gd name="connsiteX0" fmla="*/ 17788 w 18352"/>
                  <a:gd name="connsiteY0" fmla="*/ 12430 h 18401"/>
                  <a:gd name="connsiteX1" fmla="*/ 12346 w 18352"/>
                  <a:gd name="connsiteY1" fmla="*/ 589 h 18401"/>
                  <a:gd name="connsiteX2" fmla="*/ 564 w 18352"/>
                  <a:gd name="connsiteY2" fmla="*/ 5971 h 18401"/>
                  <a:gd name="connsiteX3" fmla="*/ 6006 w 18352"/>
                  <a:gd name="connsiteY3" fmla="*/ 17813 h 18401"/>
                  <a:gd name="connsiteX4" fmla="*/ 17788 w 18352"/>
                  <a:gd name="connsiteY4" fmla="*/ 12430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1">
                    <a:moveTo>
                      <a:pt x="17788" y="12430"/>
                    </a:moveTo>
                    <a:cubicBezTo>
                      <a:pt x="19523" y="7646"/>
                      <a:pt x="17131" y="2383"/>
                      <a:pt x="12346" y="589"/>
                    </a:cubicBezTo>
                    <a:cubicBezTo>
                      <a:pt x="7621" y="-1205"/>
                      <a:pt x="2298" y="1246"/>
                      <a:pt x="564" y="5971"/>
                    </a:cubicBezTo>
                    <a:cubicBezTo>
                      <a:pt x="-1170" y="10756"/>
                      <a:pt x="1222" y="16019"/>
                      <a:pt x="6006" y="17813"/>
                    </a:cubicBezTo>
                    <a:cubicBezTo>
                      <a:pt x="10791" y="19607"/>
                      <a:pt x="16054" y="17155"/>
                      <a:pt x="17788" y="12430"/>
                    </a:cubicBezTo>
                    <a:close/>
                  </a:path>
                </a:pathLst>
              </a:custGeom>
              <a:grpFill/>
              <a:ln w="5978" cap="flat">
                <a:noFill/>
                <a:prstDash val="solid"/>
                <a:miter/>
              </a:ln>
            </p:spPr>
            <p:txBody>
              <a:bodyPr rtlCol="0" anchor="ctr"/>
              <a:lstStyle/>
              <a:p>
                <a:endParaRPr lang="en-GB"/>
              </a:p>
            </p:txBody>
          </p:sp>
        </p:grpSp>
        <p:grpSp>
          <p:nvGrpSpPr>
            <p:cNvPr id="976" name="Graphic 3">
              <a:extLst>
                <a:ext uri="{FF2B5EF4-FFF2-40B4-BE49-F238E27FC236}">
                  <a16:creationId xmlns:a16="http://schemas.microsoft.com/office/drawing/2014/main" id="{5CBFFC2C-654C-45D2-8E21-DC34163CF134}"/>
                </a:ext>
              </a:extLst>
            </p:cNvPr>
            <p:cNvGrpSpPr/>
            <p:nvPr/>
          </p:nvGrpSpPr>
          <p:grpSpPr>
            <a:xfrm>
              <a:off x="5227589" y="4966119"/>
              <a:ext cx="195961" cy="354085"/>
              <a:chOff x="5227589" y="4966119"/>
              <a:chExt cx="195961" cy="354085"/>
            </a:xfrm>
            <a:grpFill/>
          </p:grpSpPr>
          <p:sp>
            <p:nvSpPr>
              <p:cNvPr id="2471" name="Vrije vorm: vorm 2470">
                <a:extLst>
                  <a:ext uri="{FF2B5EF4-FFF2-40B4-BE49-F238E27FC236}">
                    <a16:creationId xmlns:a16="http://schemas.microsoft.com/office/drawing/2014/main" id="{0FFDD755-570B-4336-AF64-6D8D2352FCFB}"/>
                  </a:ext>
                </a:extLst>
              </p:cNvPr>
              <p:cNvSpPr/>
              <p:nvPr/>
            </p:nvSpPr>
            <p:spPr>
              <a:xfrm>
                <a:off x="5235185" y="4974206"/>
                <a:ext cx="180737" cy="337850"/>
              </a:xfrm>
              <a:custGeom>
                <a:avLst/>
                <a:gdLst>
                  <a:gd name="connsiteX0" fmla="*/ 180737 w 180737"/>
                  <a:gd name="connsiteY0" fmla="*/ 1435 h 337850"/>
                  <a:gd name="connsiteX1" fmla="*/ 2691 w 180737"/>
                  <a:gd name="connsiteY1" fmla="*/ 337851 h 337850"/>
                  <a:gd name="connsiteX2" fmla="*/ 0 w 180737"/>
                  <a:gd name="connsiteY2" fmla="*/ 336416 h 337850"/>
                  <a:gd name="connsiteX3" fmla="*/ 178046 w 180737"/>
                  <a:gd name="connsiteY3" fmla="*/ 0 h 337850"/>
                </a:gdLst>
                <a:ahLst/>
                <a:cxnLst>
                  <a:cxn ang="0">
                    <a:pos x="connsiteX0" y="connsiteY0"/>
                  </a:cxn>
                  <a:cxn ang="0">
                    <a:pos x="connsiteX1" y="connsiteY1"/>
                  </a:cxn>
                  <a:cxn ang="0">
                    <a:pos x="connsiteX2" y="connsiteY2"/>
                  </a:cxn>
                  <a:cxn ang="0">
                    <a:pos x="connsiteX3" y="connsiteY3"/>
                  </a:cxn>
                </a:cxnLst>
                <a:rect l="l" t="t" r="r" b="b"/>
                <a:pathLst>
                  <a:path w="180737" h="337850">
                    <a:moveTo>
                      <a:pt x="180737" y="1435"/>
                    </a:moveTo>
                    <a:lnTo>
                      <a:pt x="2691" y="337851"/>
                    </a:lnTo>
                    <a:lnTo>
                      <a:pt x="0" y="336416"/>
                    </a:lnTo>
                    <a:lnTo>
                      <a:pt x="178046" y="0"/>
                    </a:lnTo>
                    <a:close/>
                  </a:path>
                </a:pathLst>
              </a:custGeom>
              <a:grpFill/>
              <a:ln w="5978" cap="flat">
                <a:noFill/>
                <a:prstDash val="solid"/>
                <a:miter/>
              </a:ln>
            </p:spPr>
            <p:txBody>
              <a:bodyPr rtlCol="0" anchor="ctr"/>
              <a:lstStyle/>
              <a:p>
                <a:endParaRPr lang="en-GB"/>
              </a:p>
            </p:txBody>
          </p:sp>
          <p:sp>
            <p:nvSpPr>
              <p:cNvPr id="2472" name="Vrije vorm: vorm 2471">
                <a:extLst>
                  <a:ext uri="{FF2B5EF4-FFF2-40B4-BE49-F238E27FC236}">
                    <a16:creationId xmlns:a16="http://schemas.microsoft.com/office/drawing/2014/main" id="{889F454B-8347-4F2E-8AF8-91560C37759F}"/>
                  </a:ext>
                </a:extLst>
              </p:cNvPr>
              <p:cNvSpPr/>
              <p:nvPr/>
            </p:nvSpPr>
            <p:spPr>
              <a:xfrm>
                <a:off x="5405205" y="4966119"/>
                <a:ext cx="18345" cy="18447"/>
              </a:xfrm>
              <a:custGeom>
                <a:avLst/>
                <a:gdLst>
                  <a:gd name="connsiteX0" fmla="*/ 1088 w 18345"/>
                  <a:gd name="connsiteY0" fmla="*/ 4858 h 18447"/>
                  <a:gd name="connsiteX1" fmla="*/ 13468 w 18345"/>
                  <a:gd name="connsiteY1" fmla="*/ 1090 h 18447"/>
                  <a:gd name="connsiteX2" fmla="*/ 17296 w 18345"/>
                  <a:gd name="connsiteY2" fmla="*/ 13589 h 18447"/>
                  <a:gd name="connsiteX3" fmla="*/ 4916 w 18345"/>
                  <a:gd name="connsiteY3" fmla="*/ 17357 h 18447"/>
                  <a:gd name="connsiteX4" fmla="*/ 1088 w 18345"/>
                  <a:gd name="connsiteY4" fmla="*/ 485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7">
                    <a:moveTo>
                      <a:pt x="1088" y="4858"/>
                    </a:moveTo>
                    <a:cubicBezTo>
                      <a:pt x="3481" y="372"/>
                      <a:pt x="8983" y="-1303"/>
                      <a:pt x="13468" y="1090"/>
                    </a:cubicBezTo>
                    <a:cubicBezTo>
                      <a:pt x="17954" y="3482"/>
                      <a:pt x="19628" y="9104"/>
                      <a:pt x="17296" y="13589"/>
                    </a:cubicBezTo>
                    <a:cubicBezTo>
                      <a:pt x="14904" y="18075"/>
                      <a:pt x="9401" y="19750"/>
                      <a:pt x="4916" y="17357"/>
                    </a:cubicBezTo>
                    <a:cubicBezTo>
                      <a:pt x="370" y="14965"/>
                      <a:pt x="-1304" y="9343"/>
                      <a:pt x="1088" y="4858"/>
                    </a:cubicBezTo>
                    <a:close/>
                  </a:path>
                </a:pathLst>
              </a:custGeom>
              <a:grpFill/>
              <a:ln w="5978" cap="flat">
                <a:noFill/>
                <a:prstDash val="solid"/>
                <a:miter/>
              </a:ln>
            </p:spPr>
            <p:txBody>
              <a:bodyPr rtlCol="0" anchor="ctr"/>
              <a:lstStyle/>
              <a:p>
                <a:endParaRPr lang="en-GB"/>
              </a:p>
            </p:txBody>
          </p:sp>
          <p:sp>
            <p:nvSpPr>
              <p:cNvPr id="2473" name="Vrije vorm: vorm 2472">
                <a:extLst>
                  <a:ext uri="{FF2B5EF4-FFF2-40B4-BE49-F238E27FC236}">
                    <a16:creationId xmlns:a16="http://schemas.microsoft.com/office/drawing/2014/main" id="{89F8812B-6EDB-4A39-855D-2365D6935C48}"/>
                  </a:ext>
                </a:extLst>
              </p:cNvPr>
              <p:cNvSpPr/>
              <p:nvPr/>
            </p:nvSpPr>
            <p:spPr>
              <a:xfrm>
                <a:off x="5227589" y="5301757"/>
                <a:ext cx="18360" cy="18447"/>
              </a:xfrm>
              <a:custGeom>
                <a:avLst/>
                <a:gdLst>
                  <a:gd name="connsiteX0" fmla="*/ 1076 w 18360"/>
                  <a:gd name="connsiteY0" fmla="*/ 4858 h 18447"/>
                  <a:gd name="connsiteX1" fmla="*/ 4904 w 18360"/>
                  <a:gd name="connsiteY1" fmla="*/ 17357 h 18447"/>
                  <a:gd name="connsiteX2" fmla="*/ 17284 w 18360"/>
                  <a:gd name="connsiteY2" fmla="*/ 13589 h 18447"/>
                  <a:gd name="connsiteX3" fmla="*/ 13456 w 18360"/>
                  <a:gd name="connsiteY3" fmla="*/ 1090 h 18447"/>
                  <a:gd name="connsiteX4" fmla="*/ 1076 w 18360"/>
                  <a:gd name="connsiteY4" fmla="*/ 485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47">
                    <a:moveTo>
                      <a:pt x="1076" y="4858"/>
                    </a:moveTo>
                    <a:cubicBezTo>
                      <a:pt x="-1316" y="9343"/>
                      <a:pt x="418" y="14905"/>
                      <a:pt x="4904" y="17357"/>
                    </a:cubicBezTo>
                    <a:cubicBezTo>
                      <a:pt x="9389" y="19750"/>
                      <a:pt x="14952" y="18075"/>
                      <a:pt x="17284" y="13589"/>
                    </a:cubicBezTo>
                    <a:cubicBezTo>
                      <a:pt x="19676" y="9104"/>
                      <a:pt x="17942" y="3542"/>
                      <a:pt x="13456" y="1090"/>
                    </a:cubicBezTo>
                    <a:cubicBezTo>
                      <a:pt x="9031" y="-1303"/>
                      <a:pt x="3469" y="372"/>
                      <a:pt x="1076" y="4858"/>
                    </a:cubicBezTo>
                    <a:close/>
                  </a:path>
                </a:pathLst>
              </a:custGeom>
              <a:grpFill/>
              <a:ln w="5978" cap="flat">
                <a:noFill/>
                <a:prstDash val="solid"/>
                <a:miter/>
              </a:ln>
            </p:spPr>
            <p:txBody>
              <a:bodyPr rtlCol="0" anchor="ctr"/>
              <a:lstStyle/>
              <a:p>
                <a:endParaRPr lang="en-GB"/>
              </a:p>
            </p:txBody>
          </p:sp>
        </p:grpSp>
        <p:grpSp>
          <p:nvGrpSpPr>
            <p:cNvPr id="977" name="Graphic 3">
              <a:extLst>
                <a:ext uri="{FF2B5EF4-FFF2-40B4-BE49-F238E27FC236}">
                  <a16:creationId xmlns:a16="http://schemas.microsoft.com/office/drawing/2014/main" id="{38114E92-B9A6-4EE5-867F-F19C971AC64F}"/>
                </a:ext>
              </a:extLst>
            </p:cNvPr>
            <p:cNvGrpSpPr/>
            <p:nvPr/>
          </p:nvGrpSpPr>
          <p:grpSpPr>
            <a:xfrm>
              <a:off x="4242167" y="2370359"/>
              <a:ext cx="368695" cy="219891"/>
              <a:chOff x="4242167" y="2370359"/>
              <a:chExt cx="368695" cy="219891"/>
            </a:xfrm>
            <a:grpFill/>
          </p:grpSpPr>
          <p:sp>
            <p:nvSpPr>
              <p:cNvPr id="2468" name="Vrije vorm: vorm 2467">
                <a:extLst>
                  <a:ext uri="{FF2B5EF4-FFF2-40B4-BE49-F238E27FC236}">
                    <a16:creationId xmlns:a16="http://schemas.microsoft.com/office/drawing/2014/main" id="{0EE2C103-EADF-4AF7-8869-06F9748E8D26}"/>
                  </a:ext>
                </a:extLst>
              </p:cNvPr>
              <p:cNvSpPr/>
              <p:nvPr/>
            </p:nvSpPr>
            <p:spPr>
              <a:xfrm>
                <a:off x="4250219" y="2378035"/>
                <a:ext cx="352623" cy="204600"/>
              </a:xfrm>
              <a:custGeom>
                <a:avLst/>
                <a:gdLst>
                  <a:gd name="connsiteX0" fmla="*/ 352623 w 352623"/>
                  <a:gd name="connsiteY0" fmla="*/ 201909 h 204600"/>
                  <a:gd name="connsiteX1" fmla="*/ 351128 w 352623"/>
                  <a:gd name="connsiteY1" fmla="*/ 204600 h 204600"/>
                  <a:gd name="connsiteX2" fmla="*/ 0 w 352623"/>
                  <a:gd name="connsiteY2" fmla="*/ 2632 h 204600"/>
                  <a:gd name="connsiteX3" fmla="*/ 1495 w 352623"/>
                  <a:gd name="connsiteY3" fmla="*/ 0 h 204600"/>
                </a:gdLst>
                <a:ahLst/>
                <a:cxnLst>
                  <a:cxn ang="0">
                    <a:pos x="connsiteX0" y="connsiteY0"/>
                  </a:cxn>
                  <a:cxn ang="0">
                    <a:pos x="connsiteX1" y="connsiteY1"/>
                  </a:cxn>
                  <a:cxn ang="0">
                    <a:pos x="connsiteX2" y="connsiteY2"/>
                  </a:cxn>
                  <a:cxn ang="0">
                    <a:pos x="connsiteX3" y="connsiteY3"/>
                  </a:cxn>
                </a:cxnLst>
                <a:rect l="l" t="t" r="r" b="b"/>
                <a:pathLst>
                  <a:path w="352623" h="204600">
                    <a:moveTo>
                      <a:pt x="352623" y="201909"/>
                    </a:moveTo>
                    <a:lnTo>
                      <a:pt x="351128" y="204600"/>
                    </a:lnTo>
                    <a:lnTo>
                      <a:pt x="0" y="2632"/>
                    </a:lnTo>
                    <a:lnTo>
                      <a:pt x="1495" y="0"/>
                    </a:lnTo>
                    <a:close/>
                  </a:path>
                </a:pathLst>
              </a:custGeom>
              <a:grpFill/>
              <a:ln w="5978" cap="flat">
                <a:noFill/>
                <a:prstDash val="solid"/>
                <a:miter/>
              </a:ln>
            </p:spPr>
            <p:txBody>
              <a:bodyPr rtlCol="0" anchor="ctr"/>
              <a:lstStyle/>
              <a:p>
                <a:endParaRPr lang="en-GB"/>
              </a:p>
            </p:txBody>
          </p:sp>
          <p:sp>
            <p:nvSpPr>
              <p:cNvPr id="2469" name="Vrije vorm: vorm 2468">
                <a:extLst>
                  <a:ext uri="{FF2B5EF4-FFF2-40B4-BE49-F238E27FC236}">
                    <a16:creationId xmlns:a16="http://schemas.microsoft.com/office/drawing/2014/main" id="{E4CF8EC2-E44B-4D47-8E32-1E84B91D7987}"/>
                  </a:ext>
                </a:extLst>
              </p:cNvPr>
              <p:cNvSpPr/>
              <p:nvPr/>
            </p:nvSpPr>
            <p:spPr>
              <a:xfrm>
                <a:off x="4242167" y="2370359"/>
                <a:ext cx="18318" cy="18427"/>
              </a:xfrm>
              <a:custGeom>
                <a:avLst/>
                <a:gdLst>
                  <a:gd name="connsiteX0" fmla="*/ 4644 w 18318"/>
                  <a:gd name="connsiteY0" fmla="*/ 17185 h 18427"/>
                  <a:gd name="connsiteX1" fmla="*/ 1175 w 18318"/>
                  <a:gd name="connsiteY1" fmla="*/ 4625 h 18427"/>
                  <a:gd name="connsiteX2" fmla="*/ 13675 w 18318"/>
                  <a:gd name="connsiteY2" fmla="*/ 1216 h 18427"/>
                  <a:gd name="connsiteX3" fmla="*/ 17143 w 18318"/>
                  <a:gd name="connsiteY3" fmla="*/ 13776 h 18427"/>
                  <a:gd name="connsiteX4" fmla="*/ 4644 w 18318"/>
                  <a:gd name="connsiteY4" fmla="*/ 17185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7">
                    <a:moveTo>
                      <a:pt x="4644" y="17185"/>
                    </a:moveTo>
                    <a:cubicBezTo>
                      <a:pt x="218" y="14673"/>
                      <a:pt x="-1277" y="9051"/>
                      <a:pt x="1175" y="4625"/>
                    </a:cubicBezTo>
                    <a:cubicBezTo>
                      <a:pt x="3687" y="200"/>
                      <a:pt x="9249" y="-1296"/>
                      <a:pt x="13675" y="1216"/>
                    </a:cubicBezTo>
                    <a:cubicBezTo>
                      <a:pt x="18100" y="3728"/>
                      <a:pt x="19596" y="9350"/>
                      <a:pt x="17143" y="13776"/>
                    </a:cubicBezTo>
                    <a:cubicBezTo>
                      <a:pt x="14691" y="18202"/>
                      <a:pt x="9069" y="19757"/>
                      <a:pt x="4644" y="17185"/>
                    </a:cubicBezTo>
                    <a:close/>
                  </a:path>
                </a:pathLst>
              </a:custGeom>
              <a:grpFill/>
              <a:ln w="5978" cap="flat">
                <a:noFill/>
                <a:prstDash val="solid"/>
                <a:miter/>
              </a:ln>
            </p:spPr>
            <p:txBody>
              <a:bodyPr rtlCol="0" anchor="ctr"/>
              <a:lstStyle/>
              <a:p>
                <a:endParaRPr lang="en-GB"/>
              </a:p>
            </p:txBody>
          </p:sp>
          <p:sp>
            <p:nvSpPr>
              <p:cNvPr id="2470" name="Vrije vorm: vorm 2469">
                <a:extLst>
                  <a:ext uri="{FF2B5EF4-FFF2-40B4-BE49-F238E27FC236}">
                    <a16:creationId xmlns:a16="http://schemas.microsoft.com/office/drawing/2014/main" id="{32258BBD-F738-421C-A18B-492D83EFCE27}"/>
                  </a:ext>
                </a:extLst>
              </p:cNvPr>
              <p:cNvSpPr/>
              <p:nvPr/>
            </p:nvSpPr>
            <p:spPr>
              <a:xfrm>
                <a:off x="4592530" y="2571850"/>
                <a:ext cx="18332" cy="18401"/>
              </a:xfrm>
              <a:custGeom>
                <a:avLst/>
                <a:gdLst>
                  <a:gd name="connsiteX0" fmla="*/ 4631 w 18332"/>
                  <a:gd name="connsiteY0" fmla="*/ 17185 h 18401"/>
                  <a:gd name="connsiteX1" fmla="*/ 17131 w 18332"/>
                  <a:gd name="connsiteY1" fmla="*/ 13776 h 18401"/>
                  <a:gd name="connsiteX2" fmla="*/ 13662 w 18332"/>
                  <a:gd name="connsiteY2" fmla="*/ 1216 h 18401"/>
                  <a:gd name="connsiteX3" fmla="*/ 1162 w 18332"/>
                  <a:gd name="connsiteY3" fmla="*/ 4625 h 18401"/>
                  <a:gd name="connsiteX4" fmla="*/ 4631 w 18332"/>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01">
                    <a:moveTo>
                      <a:pt x="4631" y="17185"/>
                    </a:moveTo>
                    <a:cubicBezTo>
                      <a:pt x="9057" y="19697"/>
                      <a:pt x="14619" y="18202"/>
                      <a:pt x="17131" y="13776"/>
                    </a:cubicBezTo>
                    <a:cubicBezTo>
                      <a:pt x="19643" y="9350"/>
                      <a:pt x="18088" y="3728"/>
                      <a:pt x="13662" y="1216"/>
                    </a:cubicBezTo>
                    <a:cubicBezTo>
                      <a:pt x="9236" y="-1295"/>
                      <a:pt x="3674" y="200"/>
                      <a:pt x="1162" y="4625"/>
                    </a:cubicBezTo>
                    <a:cubicBezTo>
                      <a:pt x="-1290" y="9051"/>
                      <a:pt x="265" y="14673"/>
                      <a:pt x="4631" y="17185"/>
                    </a:cubicBezTo>
                    <a:close/>
                  </a:path>
                </a:pathLst>
              </a:custGeom>
              <a:grpFill/>
              <a:ln w="5978" cap="flat">
                <a:noFill/>
                <a:prstDash val="solid"/>
                <a:miter/>
              </a:ln>
            </p:spPr>
            <p:txBody>
              <a:bodyPr rtlCol="0" anchor="ctr"/>
              <a:lstStyle/>
              <a:p>
                <a:endParaRPr lang="en-GB"/>
              </a:p>
            </p:txBody>
          </p:sp>
        </p:grpSp>
        <p:grpSp>
          <p:nvGrpSpPr>
            <p:cNvPr id="978" name="Graphic 3">
              <a:extLst>
                <a:ext uri="{FF2B5EF4-FFF2-40B4-BE49-F238E27FC236}">
                  <a16:creationId xmlns:a16="http://schemas.microsoft.com/office/drawing/2014/main" id="{05DD02AC-8AA0-442F-BB43-51D8390B884E}"/>
                </a:ext>
              </a:extLst>
            </p:cNvPr>
            <p:cNvGrpSpPr/>
            <p:nvPr/>
          </p:nvGrpSpPr>
          <p:grpSpPr>
            <a:xfrm>
              <a:off x="4188640" y="2245421"/>
              <a:ext cx="392410" cy="252548"/>
              <a:chOff x="4188640" y="2245421"/>
              <a:chExt cx="392410" cy="252548"/>
            </a:xfrm>
            <a:grpFill/>
          </p:grpSpPr>
          <p:sp>
            <p:nvSpPr>
              <p:cNvPr id="2465" name="Vrije vorm: vorm 2464">
                <a:extLst>
                  <a:ext uri="{FF2B5EF4-FFF2-40B4-BE49-F238E27FC236}">
                    <a16:creationId xmlns:a16="http://schemas.microsoft.com/office/drawing/2014/main" id="{FDC0EF8E-303C-4345-AFB5-4F95EDE43B2A}"/>
                  </a:ext>
                </a:extLst>
              </p:cNvPr>
              <p:cNvSpPr/>
              <p:nvPr/>
            </p:nvSpPr>
            <p:spPr>
              <a:xfrm>
                <a:off x="4196632" y="2253098"/>
                <a:ext cx="376486" cy="237195"/>
              </a:xfrm>
              <a:custGeom>
                <a:avLst/>
                <a:gdLst>
                  <a:gd name="connsiteX0" fmla="*/ 376487 w 376486"/>
                  <a:gd name="connsiteY0" fmla="*/ 234624 h 237195"/>
                  <a:gd name="connsiteX1" fmla="*/ 374872 w 376486"/>
                  <a:gd name="connsiteY1" fmla="*/ 237195 h 237195"/>
                  <a:gd name="connsiteX2" fmla="*/ 0 w 376486"/>
                  <a:gd name="connsiteY2" fmla="*/ 2572 h 237195"/>
                  <a:gd name="connsiteX3" fmla="*/ 1555 w 376486"/>
                  <a:gd name="connsiteY3" fmla="*/ 0 h 237195"/>
                </a:gdLst>
                <a:ahLst/>
                <a:cxnLst>
                  <a:cxn ang="0">
                    <a:pos x="connsiteX0" y="connsiteY0"/>
                  </a:cxn>
                  <a:cxn ang="0">
                    <a:pos x="connsiteX1" y="connsiteY1"/>
                  </a:cxn>
                  <a:cxn ang="0">
                    <a:pos x="connsiteX2" y="connsiteY2"/>
                  </a:cxn>
                  <a:cxn ang="0">
                    <a:pos x="connsiteX3" y="connsiteY3"/>
                  </a:cxn>
                </a:cxnLst>
                <a:rect l="l" t="t" r="r" b="b"/>
                <a:pathLst>
                  <a:path w="376486" h="237195">
                    <a:moveTo>
                      <a:pt x="376487" y="234624"/>
                    </a:moveTo>
                    <a:lnTo>
                      <a:pt x="374872" y="237195"/>
                    </a:lnTo>
                    <a:lnTo>
                      <a:pt x="0" y="2572"/>
                    </a:lnTo>
                    <a:lnTo>
                      <a:pt x="1555" y="0"/>
                    </a:lnTo>
                    <a:close/>
                  </a:path>
                </a:pathLst>
              </a:custGeom>
              <a:grpFill/>
              <a:ln w="5978" cap="flat">
                <a:noFill/>
                <a:prstDash val="solid"/>
                <a:miter/>
              </a:ln>
            </p:spPr>
            <p:txBody>
              <a:bodyPr rtlCol="0" anchor="ctr"/>
              <a:lstStyle/>
              <a:p>
                <a:endParaRPr lang="en-GB"/>
              </a:p>
            </p:txBody>
          </p:sp>
          <p:sp>
            <p:nvSpPr>
              <p:cNvPr id="2466" name="Vrije vorm: vorm 2465">
                <a:extLst>
                  <a:ext uri="{FF2B5EF4-FFF2-40B4-BE49-F238E27FC236}">
                    <a16:creationId xmlns:a16="http://schemas.microsoft.com/office/drawing/2014/main" id="{C1A23962-6A4A-43A0-8EF9-04D9A85B87EC}"/>
                  </a:ext>
                </a:extLst>
              </p:cNvPr>
              <p:cNvSpPr/>
              <p:nvPr/>
            </p:nvSpPr>
            <p:spPr>
              <a:xfrm>
                <a:off x="4188640" y="2245421"/>
                <a:ext cx="18316" cy="18403"/>
              </a:xfrm>
              <a:custGeom>
                <a:avLst/>
                <a:gdLst>
                  <a:gd name="connsiteX0" fmla="*/ 4344 w 18316"/>
                  <a:gd name="connsiteY0" fmla="*/ 17007 h 18403"/>
                  <a:gd name="connsiteX1" fmla="*/ 1354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4" y="4327"/>
                    </a:cubicBezTo>
                    <a:cubicBezTo>
                      <a:pt x="3985" y="21"/>
                      <a:pt x="9667" y="-1294"/>
                      <a:pt x="13973" y="1397"/>
                    </a:cubicBezTo>
                    <a:cubicBezTo>
                      <a:pt x="18279" y="4088"/>
                      <a:pt x="19595" y="9770"/>
                      <a:pt x="16963" y="14076"/>
                    </a:cubicBezTo>
                    <a:cubicBezTo>
                      <a:pt x="14272" y="18382"/>
                      <a:pt x="8650" y="19698"/>
                      <a:pt x="4344" y="17007"/>
                    </a:cubicBezTo>
                    <a:close/>
                  </a:path>
                </a:pathLst>
              </a:custGeom>
              <a:grpFill/>
              <a:ln w="5978" cap="flat">
                <a:noFill/>
                <a:prstDash val="solid"/>
                <a:miter/>
              </a:ln>
            </p:spPr>
            <p:txBody>
              <a:bodyPr rtlCol="0" anchor="ctr"/>
              <a:lstStyle/>
              <a:p>
                <a:endParaRPr lang="en-GB"/>
              </a:p>
            </p:txBody>
          </p:sp>
          <p:sp>
            <p:nvSpPr>
              <p:cNvPr id="2467" name="Vrije vorm: vorm 2466">
                <a:extLst>
                  <a:ext uri="{FF2B5EF4-FFF2-40B4-BE49-F238E27FC236}">
                    <a16:creationId xmlns:a16="http://schemas.microsoft.com/office/drawing/2014/main" id="{B517268A-540B-430C-8358-392CDB732B86}"/>
                  </a:ext>
                </a:extLst>
              </p:cNvPr>
              <p:cNvSpPr/>
              <p:nvPr/>
            </p:nvSpPr>
            <p:spPr>
              <a:xfrm>
                <a:off x="4562734" y="2479566"/>
                <a:ext cx="18316" cy="18403"/>
              </a:xfrm>
              <a:custGeom>
                <a:avLst/>
                <a:gdLst>
                  <a:gd name="connsiteX0" fmla="*/ 4344 w 18316"/>
                  <a:gd name="connsiteY0" fmla="*/ 17007 h 18403"/>
                  <a:gd name="connsiteX1" fmla="*/ 16963 w 18316"/>
                  <a:gd name="connsiteY1" fmla="*/ 14076 h 18403"/>
                  <a:gd name="connsiteX2" fmla="*/ 13973 w 18316"/>
                  <a:gd name="connsiteY2" fmla="*/ 1397 h 18403"/>
                  <a:gd name="connsiteX3" fmla="*/ 1354 w 18316"/>
                  <a:gd name="connsiteY3" fmla="*/ 4327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8650" y="19698"/>
                      <a:pt x="14272" y="18382"/>
                      <a:pt x="16963" y="14076"/>
                    </a:cubicBezTo>
                    <a:cubicBezTo>
                      <a:pt x="19595" y="9770"/>
                      <a:pt x="18279" y="4088"/>
                      <a:pt x="13973" y="1397"/>
                    </a:cubicBezTo>
                    <a:cubicBezTo>
                      <a:pt x="9667" y="-1294"/>
                      <a:pt x="4045" y="21"/>
                      <a:pt x="1354" y="4327"/>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979" name="Graphic 3">
              <a:extLst>
                <a:ext uri="{FF2B5EF4-FFF2-40B4-BE49-F238E27FC236}">
                  <a16:creationId xmlns:a16="http://schemas.microsoft.com/office/drawing/2014/main" id="{C81241B6-C3FB-4A0D-BE63-1BAAED62284A}"/>
                </a:ext>
              </a:extLst>
            </p:cNvPr>
            <p:cNvGrpSpPr/>
            <p:nvPr/>
          </p:nvGrpSpPr>
          <p:grpSpPr>
            <a:xfrm>
              <a:off x="5296073" y="5116364"/>
              <a:ext cx="66770" cy="136368"/>
              <a:chOff x="5296073" y="5116364"/>
              <a:chExt cx="66770" cy="136368"/>
            </a:xfrm>
            <a:grpFill/>
          </p:grpSpPr>
          <p:sp>
            <p:nvSpPr>
              <p:cNvPr id="2462" name="Vrije vorm: vorm 2461">
                <a:extLst>
                  <a:ext uri="{FF2B5EF4-FFF2-40B4-BE49-F238E27FC236}">
                    <a16:creationId xmlns:a16="http://schemas.microsoft.com/office/drawing/2014/main" id="{0F2F93C2-8DD4-4150-B95B-B330A480CEC5}"/>
                  </a:ext>
                </a:extLst>
              </p:cNvPr>
              <p:cNvSpPr/>
              <p:nvPr/>
            </p:nvSpPr>
            <p:spPr>
              <a:xfrm>
                <a:off x="5303664" y="5124561"/>
                <a:ext cx="51553" cy="119973"/>
              </a:xfrm>
              <a:custGeom>
                <a:avLst/>
                <a:gdLst>
                  <a:gd name="connsiteX0" fmla="*/ 51554 w 51553"/>
                  <a:gd name="connsiteY0" fmla="*/ 1136 h 119973"/>
                  <a:gd name="connsiteX1" fmla="*/ 2811 w 51553"/>
                  <a:gd name="connsiteY1" fmla="*/ 119973 h 119973"/>
                  <a:gd name="connsiteX2" fmla="*/ 0 w 51553"/>
                  <a:gd name="connsiteY2" fmla="*/ 118777 h 119973"/>
                  <a:gd name="connsiteX3" fmla="*/ 48743 w 51553"/>
                  <a:gd name="connsiteY3" fmla="*/ 0 h 119973"/>
                </a:gdLst>
                <a:ahLst/>
                <a:cxnLst>
                  <a:cxn ang="0">
                    <a:pos x="connsiteX0" y="connsiteY0"/>
                  </a:cxn>
                  <a:cxn ang="0">
                    <a:pos x="connsiteX1" y="connsiteY1"/>
                  </a:cxn>
                  <a:cxn ang="0">
                    <a:pos x="connsiteX2" y="connsiteY2"/>
                  </a:cxn>
                  <a:cxn ang="0">
                    <a:pos x="connsiteX3" y="connsiteY3"/>
                  </a:cxn>
                </a:cxnLst>
                <a:rect l="l" t="t" r="r" b="b"/>
                <a:pathLst>
                  <a:path w="51553" h="119973">
                    <a:moveTo>
                      <a:pt x="51554" y="1136"/>
                    </a:moveTo>
                    <a:lnTo>
                      <a:pt x="2811" y="119973"/>
                    </a:lnTo>
                    <a:lnTo>
                      <a:pt x="0" y="118777"/>
                    </a:lnTo>
                    <a:lnTo>
                      <a:pt x="48743" y="0"/>
                    </a:lnTo>
                    <a:close/>
                  </a:path>
                </a:pathLst>
              </a:custGeom>
              <a:grpFill/>
              <a:ln w="5978" cap="flat">
                <a:noFill/>
                <a:prstDash val="solid"/>
                <a:miter/>
              </a:ln>
            </p:spPr>
            <p:txBody>
              <a:bodyPr rtlCol="0" anchor="ctr"/>
              <a:lstStyle/>
              <a:p>
                <a:endParaRPr lang="en-GB"/>
              </a:p>
            </p:txBody>
          </p:sp>
          <p:sp>
            <p:nvSpPr>
              <p:cNvPr id="2463" name="Vrije vorm: vorm 2462">
                <a:extLst>
                  <a:ext uri="{FF2B5EF4-FFF2-40B4-BE49-F238E27FC236}">
                    <a16:creationId xmlns:a16="http://schemas.microsoft.com/office/drawing/2014/main" id="{991DD23B-E283-4435-AE86-2DEA4CFEC7F9}"/>
                  </a:ext>
                </a:extLst>
              </p:cNvPr>
              <p:cNvSpPr/>
              <p:nvPr/>
            </p:nvSpPr>
            <p:spPr>
              <a:xfrm>
                <a:off x="5296073" y="5234304"/>
                <a:ext cx="18327" cy="18428"/>
              </a:xfrm>
              <a:custGeom>
                <a:avLst/>
                <a:gdLst>
                  <a:gd name="connsiteX0" fmla="*/ 17639 w 18327"/>
                  <a:gd name="connsiteY0" fmla="*/ 12743 h 18428"/>
                  <a:gd name="connsiteX1" fmla="*/ 5677 w 18327"/>
                  <a:gd name="connsiteY1" fmla="*/ 17707 h 18428"/>
                  <a:gd name="connsiteX2" fmla="*/ 713 w 18327"/>
                  <a:gd name="connsiteY2" fmla="*/ 5685 h 18428"/>
                  <a:gd name="connsiteX3" fmla="*/ 12675 w 18327"/>
                  <a:gd name="connsiteY3" fmla="*/ 721 h 18428"/>
                  <a:gd name="connsiteX4" fmla="*/ 17639 w 18327"/>
                  <a:gd name="connsiteY4" fmla="*/ 12743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8">
                    <a:moveTo>
                      <a:pt x="17639" y="12743"/>
                    </a:moveTo>
                    <a:cubicBezTo>
                      <a:pt x="15725" y="17467"/>
                      <a:pt x="10342" y="19680"/>
                      <a:pt x="5677" y="17707"/>
                    </a:cubicBezTo>
                    <a:cubicBezTo>
                      <a:pt x="1012" y="15733"/>
                      <a:pt x="-1260" y="10351"/>
                      <a:pt x="713" y="5685"/>
                    </a:cubicBezTo>
                    <a:cubicBezTo>
                      <a:pt x="2627" y="961"/>
                      <a:pt x="8010" y="-1252"/>
                      <a:pt x="12675" y="721"/>
                    </a:cubicBezTo>
                    <a:cubicBezTo>
                      <a:pt x="17340" y="2635"/>
                      <a:pt x="19553" y="8078"/>
                      <a:pt x="17639" y="12743"/>
                    </a:cubicBezTo>
                    <a:close/>
                  </a:path>
                </a:pathLst>
              </a:custGeom>
              <a:grpFill/>
              <a:ln w="5978" cap="flat">
                <a:noFill/>
                <a:prstDash val="solid"/>
                <a:miter/>
              </a:ln>
            </p:spPr>
            <p:txBody>
              <a:bodyPr rtlCol="0" anchor="ctr"/>
              <a:lstStyle/>
              <a:p>
                <a:endParaRPr lang="en-GB"/>
              </a:p>
            </p:txBody>
          </p:sp>
          <p:sp>
            <p:nvSpPr>
              <p:cNvPr id="2464" name="Vrije vorm: vorm 2463">
                <a:extLst>
                  <a:ext uri="{FF2B5EF4-FFF2-40B4-BE49-F238E27FC236}">
                    <a16:creationId xmlns:a16="http://schemas.microsoft.com/office/drawing/2014/main" id="{5E6120DE-F6FD-4A7F-B139-FC07B684B277}"/>
                  </a:ext>
                </a:extLst>
              </p:cNvPr>
              <p:cNvSpPr/>
              <p:nvPr/>
            </p:nvSpPr>
            <p:spPr>
              <a:xfrm>
                <a:off x="5344542" y="5116364"/>
                <a:ext cx="18301" cy="18394"/>
              </a:xfrm>
              <a:custGeom>
                <a:avLst/>
                <a:gdLst>
                  <a:gd name="connsiteX0" fmla="*/ 17614 w 18301"/>
                  <a:gd name="connsiteY0" fmla="*/ 12743 h 18394"/>
                  <a:gd name="connsiteX1" fmla="*/ 12650 w 18301"/>
                  <a:gd name="connsiteY1" fmla="*/ 722 h 18394"/>
                  <a:gd name="connsiteX2" fmla="*/ 688 w 18301"/>
                  <a:gd name="connsiteY2" fmla="*/ 5686 h 18394"/>
                  <a:gd name="connsiteX3" fmla="*/ 5652 w 18301"/>
                  <a:gd name="connsiteY3" fmla="*/ 17707 h 18394"/>
                  <a:gd name="connsiteX4" fmla="*/ 17614 w 18301"/>
                  <a:gd name="connsiteY4" fmla="*/ 12743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94">
                    <a:moveTo>
                      <a:pt x="17614" y="12743"/>
                    </a:moveTo>
                    <a:cubicBezTo>
                      <a:pt x="19528" y="8018"/>
                      <a:pt x="17315" y="2635"/>
                      <a:pt x="12650" y="722"/>
                    </a:cubicBezTo>
                    <a:cubicBezTo>
                      <a:pt x="7985" y="-1252"/>
                      <a:pt x="2602" y="961"/>
                      <a:pt x="688" y="5686"/>
                    </a:cubicBezTo>
                    <a:cubicBezTo>
                      <a:pt x="-1226" y="10410"/>
                      <a:pt x="987" y="15793"/>
                      <a:pt x="5652" y="17707"/>
                    </a:cubicBezTo>
                    <a:cubicBezTo>
                      <a:pt x="10317" y="19620"/>
                      <a:pt x="15640" y="17408"/>
                      <a:pt x="17614" y="12743"/>
                    </a:cubicBezTo>
                    <a:close/>
                  </a:path>
                </a:pathLst>
              </a:custGeom>
              <a:grpFill/>
              <a:ln w="5978" cap="flat">
                <a:noFill/>
                <a:prstDash val="solid"/>
                <a:miter/>
              </a:ln>
            </p:spPr>
            <p:txBody>
              <a:bodyPr rtlCol="0" anchor="ctr"/>
              <a:lstStyle/>
              <a:p>
                <a:endParaRPr lang="en-GB"/>
              </a:p>
            </p:txBody>
          </p:sp>
        </p:grpSp>
        <p:grpSp>
          <p:nvGrpSpPr>
            <p:cNvPr id="980" name="Graphic 3">
              <a:extLst>
                <a:ext uri="{FF2B5EF4-FFF2-40B4-BE49-F238E27FC236}">
                  <a16:creationId xmlns:a16="http://schemas.microsoft.com/office/drawing/2014/main" id="{99E0BBF7-2A67-41FA-8426-3E40B693DFB2}"/>
                </a:ext>
              </a:extLst>
            </p:cNvPr>
            <p:cNvGrpSpPr/>
            <p:nvPr/>
          </p:nvGrpSpPr>
          <p:grpSpPr>
            <a:xfrm>
              <a:off x="5303205" y="5129365"/>
              <a:ext cx="164251" cy="439424"/>
              <a:chOff x="5303205" y="5129365"/>
              <a:chExt cx="164251" cy="439424"/>
            </a:xfrm>
            <a:grpFill/>
          </p:grpSpPr>
          <p:sp>
            <p:nvSpPr>
              <p:cNvPr id="2459" name="Vrije vorm: vorm 2458">
                <a:extLst>
                  <a:ext uri="{FF2B5EF4-FFF2-40B4-BE49-F238E27FC236}">
                    <a16:creationId xmlns:a16="http://schemas.microsoft.com/office/drawing/2014/main" id="{8A302E71-BA46-478F-BBAF-D1689A1662D8}"/>
                  </a:ext>
                </a:extLst>
              </p:cNvPr>
              <p:cNvSpPr/>
              <p:nvPr/>
            </p:nvSpPr>
            <p:spPr>
              <a:xfrm>
                <a:off x="5310721" y="5137599"/>
                <a:ext cx="149159" cy="422896"/>
              </a:xfrm>
              <a:custGeom>
                <a:avLst/>
                <a:gdLst>
                  <a:gd name="connsiteX0" fmla="*/ 149159 w 149159"/>
                  <a:gd name="connsiteY0" fmla="*/ 1017 h 422896"/>
                  <a:gd name="connsiteX1" fmla="*/ 2871 w 149159"/>
                  <a:gd name="connsiteY1" fmla="*/ 422897 h 422896"/>
                  <a:gd name="connsiteX2" fmla="*/ 0 w 149159"/>
                  <a:gd name="connsiteY2" fmla="*/ 421880 h 422896"/>
                  <a:gd name="connsiteX3" fmla="*/ 146288 w 149159"/>
                  <a:gd name="connsiteY3" fmla="*/ 0 h 422896"/>
                </a:gdLst>
                <a:ahLst/>
                <a:cxnLst>
                  <a:cxn ang="0">
                    <a:pos x="connsiteX0" y="connsiteY0"/>
                  </a:cxn>
                  <a:cxn ang="0">
                    <a:pos x="connsiteX1" y="connsiteY1"/>
                  </a:cxn>
                  <a:cxn ang="0">
                    <a:pos x="connsiteX2" y="connsiteY2"/>
                  </a:cxn>
                  <a:cxn ang="0">
                    <a:pos x="connsiteX3" y="connsiteY3"/>
                  </a:cxn>
                </a:cxnLst>
                <a:rect l="l" t="t" r="r" b="b"/>
                <a:pathLst>
                  <a:path w="149159" h="422896">
                    <a:moveTo>
                      <a:pt x="149159" y="1017"/>
                    </a:moveTo>
                    <a:lnTo>
                      <a:pt x="2871" y="422897"/>
                    </a:lnTo>
                    <a:lnTo>
                      <a:pt x="0" y="421880"/>
                    </a:lnTo>
                    <a:lnTo>
                      <a:pt x="146288" y="0"/>
                    </a:lnTo>
                    <a:close/>
                  </a:path>
                </a:pathLst>
              </a:custGeom>
              <a:grpFill/>
              <a:ln w="5978" cap="flat">
                <a:noFill/>
                <a:prstDash val="solid"/>
                <a:miter/>
              </a:ln>
            </p:spPr>
            <p:txBody>
              <a:bodyPr rtlCol="0" anchor="ctr"/>
              <a:lstStyle/>
              <a:p>
                <a:endParaRPr lang="en-GB"/>
              </a:p>
            </p:txBody>
          </p:sp>
          <p:sp>
            <p:nvSpPr>
              <p:cNvPr id="2460" name="Vrije vorm: vorm 2459">
                <a:extLst>
                  <a:ext uri="{FF2B5EF4-FFF2-40B4-BE49-F238E27FC236}">
                    <a16:creationId xmlns:a16="http://schemas.microsoft.com/office/drawing/2014/main" id="{B2B4424A-F41C-429D-A6BB-5D9D74B5D1F8}"/>
                  </a:ext>
                </a:extLst>
              </p:cNvPr>
              <p:cNvSpPr/>
              <p:nvPr/>
            </p:nvSpPr>
            <p:spPr>
              <a:xfrm>
                <a:off x="5303205" y="5550408"/>
                <a:ext cx="18292" cy="18381"/>
              </a:xfrm>
              <a:custGeom>
                <a:avLst/>
                <a:gdLst>
                  <a:gd name="connsiteX0" fmla="*/ 17803 w 18292"/>
                  <a:gd name="connsiteY0" fmla="*/ 12241 h 18381"/>
                  <a:gd name="connsiteX1" fmla="*/ 6141 w 18292"/>
                  <a:gd name="connsiteY1" fmla="*/ 17863 h 18381"/>
                  <a:gd name="connsiteX2" fmla="*/ 519 w 18292"/>
                  <a:gd name="connsiteY2" fmla="*/ 6141 h 18381"/>
                  <a:gd name="connsiteX3" fmla="*/ 12181 w 18292"/>
                  <a:gd name="connsiteY3" fmla="*/ 519 h 18381"/>
                  <a:gd name="connsiteX4" fmla="*/ 17803 w 18292"/>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381">
                    <a:moveTo>
                      <a:pt x="17803" y="12241"/>
                    </a:moveTo>
                    <a:cubicBezTo>
                      <a:pt x="16129" y="17026"/>
                      <a:pt x="10926" y="19537"/>
                      <a:pt x="6141" y="17863"/>
                    </a:cubicBezTo>
                    <a:cubicBezTo>
                      <a:pt x="1356" y="16188"/>
                      <a:pt x="-1156" y="10925"/>
                      <a:pt x="519" y="6141"/>
                    </a:cubicBezTo>
                    <a:cubicBezTo>
                      <a:pt x="2194" y="1356"/>
                      <a:pt x="7397" y="-1156"/>
                      <a:pt x="12181" y="519"/>
                    </a:cubicBezTo>
                    <a:cubicBezTo>
                      <a:pt x="16906" y="2134"/>
                      <a:pt x="19418" y="7397"/>
                      <a:pt x="17803" y="12241"/>
                    </a:cubicBezTo>
                    <a:close/>
                  </a:path>
                </a:pathLst>
              </a:custGeom>
              <a:grpFill/>
              <a:ln w="5978" cap="flat">
                <a:noFill/>
                <a:prstDash val="solid"/>
                <a:miter/>
              </a:ln>
            </p:spPr>
            <p:txBody>
              <a:bodyPr rtlCol="0" anchor="ctr"/>
              <a:lstStyle/>
              <a:p>
                <a:endParaRPr lang="en-GB"/>
              </a:p>
            </p:txBody>
          </p:sp>
          <p:sp>
            <p:nvSpPr>
              <p:cNvPr id="2461" name="Vrije vorm: vorm 2460">
                <a:extLst>
                  <a:ext uri="{FF2B5EF4-FFF2-40B4-BE49-F238E27FC236}">
                    <a16:creationId xmlns:a16="http://schemas.microsoft.com/office/drawing/2014/main" id="{6029179D-7D18-44C6-853C-BCD7744E7904}"/>
                  </a:ext>
                </a:extLst>
              </p:cNvPr>
              <p:cNvSpPr/>
              <p:nvPr/>
            </p:nvSpPr>
            <p:spPr>
              <a:xfrm>
                <a:off x="5449134" y="5129365"/>
                <a:ext cx="18322" cy="18405"/>
              </a:xfrm>
              <a:custGeom>
                <a:avLst/>
                <a:gdLst>
                  <a:gd name="connsiteX0" fmla="*/ 17803 w 18322"/>
                  <a:gd name="connsiteY0" fmla="*/ 12241 h 18405"/>
                  <a:gd name="connsiteX1" fmla="*/ 12181 w 18322"/>
                  <a:gd name="connsiteY1" fmla="*/ 519 h 18405"/>
                  <a:gd name="connsiteX2" fmla="*/ 519 w 18322"/>
                  <a:gd name="connsiteY2" fmla="*/ 6141 h 18405"/>
                  <a:gd name="connsiteX3" fmla="*/ 6141 w 18322"/>
                  <a:gd name="connsiteY3" fmla="*/ 17863 h 18405"/>
                  <a:gd name="connsiteX4" fmla="*/ 17803 w 18322"/>
                  <a:gd name="connsiteY4" fmla="*/ 122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05">
                    <a:moveTo>
                      <a:pt x="17803" y="12241"/>
                    </a:moveTo>
                    <a:cubicBezTo>
                      <a:pt x="19478" y="7456"/>
                      <a:pt x="16966" y="2193"/>
                      <a:pt x="12181" y="519"/>
                    </a:cubicBezTo>
                    <a:cubicBezTo>
                      <a:pt x="7397" y="-1156"/>
                      <a:pt x="2194" y="1356"/>
                      <a:pt x="519" y="6141"/>
                    </a:cubicBezTo>
                    <a:cubicBezTo>
                      <a:pt x="-1156" y="10925"/>
                      <a:pt x="1356" y="16188"/>
                      <a:pt x="6141" y="17863"/>
                    </a:cubicBezTo>
                    <a:cubicBezTo>
                      <a:pt x="10925" y="19597"/>
                      <a:pt x="16129" y="17025"/>
                      <a:pt x="17803" y="12241"/>
                    </a:cubicBezTo>
                    <a:close/>
                  </a:path>
                </a:pathLst>
              </a:custGeom>
              <a:grpFill/>
              <a:ln w="5978" cap="flat">
                <a:noFill/>
                <a:prstDash val="solid"/>
                <a:miter/>
              </a:ln>
            </p:spPr>
            <p:txBody>
              <a:bodyPr rtlCol="0" anchor="ctr"/>
              <a:lstStyle/>
              <a:p>
                <a:endParaRPr lang="en-GB"/>
              </a:p>
            </p:txBody>
          </p:sp>
        </p:grpSp>
        <p:grpSp>
          <p:nvGrpSpPr>
            <p:cNvPr id="981" name="Graphic 3">
              <a:extLst>
                <a:ext uri="{FF2B5EF4-FFF2-40B4-BE49-F238E27FC236}">
                  <a16:creationId xmlns:a16="http://schemas.microsoft.com/office/drawing/2014/main" id="{01F7FDE7-0D6E-49C6-B970-6FD378A1ABDD}"/>
                </a:ext>
              </a:extLst>
            </p:cNvPr>
            <p:cNvGrpSpPr/>
            <p:nvPr/>
          </p:nvGrpSpPr>
          <p:grpSpPr>
            <a:xfrm>
              <a:off x="5212269" y="4874019"/>
              <a:ext cx="48343" cy="73103"/>
              <a:chOff x="5212269" y="4874019"/>
              <a:chExt cx="48343" cy="73103"/>
            </a:xfrm>
            <a:grpFill/>
          </p:grpSpPr>
          <p:sp>
            <p:nvSpPr>
              <p:cNvPr id="2456" name="Vrije vorm: vorm 2455">
                <a:extLst>
                  <a:ext uri="{FF2B5EF4-FFF2-40B4-BE49-F238E27FC236}">
                    <a16:creationId xmlns:a16="http://schemas.microsoft.com/office/drawing/2014/main" id="{5F004D79-9E8B-4DE3-BCEE-52ADB4BE2563}"/>
                  </a:ext>
                </a:extLst>
              </p:cNvPr>
              <p:cNvSpPr/>
              <p:nvPr/>
            </p:nvSpPr>
            <p:spPr>
              <a:xfrm>
                <a:off x="5219874" y="4882043"/>
                <a:ext cx="33133" cy="57055"/>
              </a:xfrm>
              <a:custGeom>
                <a:avLst/>
                <a:gdLst>
                  <a:gd name="connsiteX0" fmla="*/ 33133 w 33133"/>
                  <a:gd name="connsiteY0" fmla="*/ 1495 h 57055"/>
                  <a:gd name="connsiteX1" fmla="*/ 2691 w 33133"/>
                  <a:gd name="connsiteY1" fmla="*/ 57056 h 57055"/>
                  <a:gd name="connsiteX2" fmla="*/ 0 w 33133"/>
                  <a:gd name="connsiteY2" fmla="*/ 55561 h 57055"/>
                  <a:gd name="connsiteX3" fmla="*/ 30442 w 33133"/>
                  <a:gd name="connsiteY3" fmla="*/ 0 h 57055"/>
                </a:gdLst>
                <a:ahLst/>
                <a:cxnLst>
                  <a:cxn ang="0">
                    <a:pos x="connsiteX0" y="connsiteY0"/>
                  </a:cxn>
                  <a:cxn ang="0">
                    <a:pos x="connsiteX1" y="connsiteY1"/>
                  </a:cxn>
                  <a:cxn ang="0">
                    <a:pos x="connsiteX2" y="connsiteY2"/>
                  </a:cxn>
                  <a:cxn ang="0">
                    <a:pos x="connsiteX3" y="connsiteY3"/>
                  </a:cxn>
                </a:cxnLst>
                <a:rect l="l" t="t" r="r" b="b"/>
                <a:pathLst>
                  <a:path w="33133" h="57055">
                    <a:moveTo>
                      <a:pt x="33133" y="1495"/>
                    </a:moveTo>
                    <a:lnTo>
                      <a:pt x="2691" y="57056"/>
                    </a:lnTo>
                    <a:lnTo>
                      <a:pt x="0" y="55561"/>
                    </a:lnTo>
                    <a:lnTo>
                      <a:pt x="30442" y="0"/>
                    </a:lnTo>
                    <a:close/>
                  </a:path>
                </a:pathLst>
              </a:custGeom>
              <a:grpFill/>
              <a:ln w="5978" cap="flat">
                <a:noFill/>
                <a:prstDash val="solid"/>
                <a:miter/>
              </a:ln>
            </p:spPr>
            <p:txBody>
              <a:bodyPr rtlCol="0" anchor="ctr"/>
              <a:lstStyle/>
              <a:p>
                <a:endParaRPr lang="en-GB"/>
              </a:p>
            </p:txBody>
          </p:sp>
          <p:sp>
            <p:nvSpPr>
              <p:cNvPr id="2457" name="Vrije vorm: vorm 2456">
                <a:extLst>
                  <a:ext uri="{FF2B5EF4-FFF2-40B4-BE49-F238E27FC236}">
                    <a16:creationId xmlns:a16="http://schemas.microsoft.com/office/drawing/2014/main" id="{8AF7D236-349E-4D86-BBB6-8B1C3E9B6EF9}"/>
                  </a:ext>
                </a:extLst>
              </p:cNvPr>
              <p:cNvSpPr/>
              <p:nvPr/>
            </p:nvSpPr>
            <p:spPr>
              <a:xfrm>
                <a:off x="5212269" y="4928743"/>
                <a:ext cx="18320" cy="18379"/>
              </a:xfrm>
              <a:custGeom>
                <a:avLst/>
                <a:gdLst>
                  <a:gd name="connsiteX0" fmla="*/ 17174 w 18320"/>
                  <a:gd name="connsiteY0" fmla="*/ 13646 h 18379"/>
                  <a:gd name="connsiteX1" fmla="*/ 4734 w 18320"/>
                  <a:gd name="connsiteY1" fmla="*/ 17234 h 18379"/>
                  <a:gd name="connsiteX2" fmla="*/ 1146 w 18320"/>
                  <a:gd name="connsiteY2" fmla="*/ 4734 h 18379"/>
                  <a:gd name="connsiteX3" fmla="*/ 13586 w 18320"/>
                  <a:gd name="connsiteY3" fmla="*/ 1146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4722" y="18071"/>
                      <a:pt x="9160" y="19686"/>
                      <a:pt x="4734" y="17234"/>
                    </a:cubicBezTo>
                    <a:cubicBezTo>
                      <a:pt x="308" y="14782"/>
                      <a:pt x="-1306" y="9160"/>
                      <a:pt x="1146" y="4734"/>
                    </a:cubicBezTo>
                    <a:cubicBezTo>
                      <a:pt x="3598" y="309"/>
                      <a:pt x="9160" y="-1306"/>
                      <a:pt x="13586" y="1146"/>
                    </a:cubicBezTo>
                    <a:cubicBezTo>
                      <a:pt x="18012" y="3598"/>
                      <a:pt x="19626" y="9220"/>
                      <a:pt x="17174" y="13646"/>
                    </a:cubicBezTo>
                    <a:close/>
                  </a:path>
                </a:pathLst>
              </a:custGeom>
              <a:grpFill/>
              <a:ln w="5978" cap="flat">
                <a:noFill/>
                <a:prstDash val="solid"/>
                <a:miter/>
              </a:ln>
            </p:spPr>
            <p:txBody>
              <a:bodyPr rtlCol="0" anchor="ctr"/>
              <a:lstStyle/>
              <a:p>
                <a:endParaRPr lang="en-GB"/>
              </a:p>
            </p:txBody>
          </p:sp>
          <p:sp>
            <p:nvSpPr>
              <p:cNvPr id="2458" name="Vrije vorm: vorm 2457">
                <a:extLst>
                  <a:ext uri="{FF2B5EF4-FFF2-40B4-BE49-F238E27FC236}">
                    <a16:creationId xmlns:a16="http://schemas.microsoft.com/office/drawing/2014/main" id="{C0644F58-1B52-4A31-98B3-6F9AC6B97EB5}"/>
                  </a:ext>
                </a:extLst>
              </p:cNvPr>
              <p:cNvSpPr/>
              <p:nvPr/>
            </p:nvSpPr>
            <p:spPr>
              <a:xfrm>
                <a:off x="5242292" y="4874019"/>
                <a:ext cx="18320" cy="18392"/>
              </a:xfrm>
              <a:custGeom>
                <a:avLst/>
                <a:gdLst>
                  <a:gd name="connsiteX0" fmla="*/ 17174 w 18320"/>
                  <a:gd name="connsiteY0" fmla="*/ 13646 h 18392"/>
                  <a:gd name="connsiteX1" fmla="*/ 13586 w 18320"/>
                  <a:gd name="connsiteY1" fmla="*/ 1146 h 18392"/>
                  <a:gd name="connsiteX2" fmla="*/ 1146 w 18320"/>
                  <a:gd name="connsiteY2" fmla="*/ 4734 h 18392"/>
                  <a:gd name="connsiteX3" fmla="*/ 4734 w 18320"/>
                  <a:gd name="connsiteY3" fmla="*/ 17234 h 18392"/>
                  <a:gd name="connsiteX4" fmla="*/ 17174 w 18320"/>
                  <a:gd name="connsiteY4" fmla="*/ 13646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92">
                    <a:moveTo>
                      <a:pt x="17174" y="13646"/>
                    </a:moveTo>
                    <a:cubicBezTo>
                      <a:pt x="19626" y="9220"/>
                      <a:pt x="18012" y="3598"/>
                      <a:pt x="13586" y="1146"/>
                    </a:cubicBezTo>
                    <a:cubicBezTo>
                      <a:pt x="9160" y="-1306"/>
                      <a:pt x="3598" y="308"/>
                      <a:pt x="1146" y="4734"/>
                    </a:cubicBezTo>
                    <a:cubicBezTo>
                      <a:pt x="-1306" y="9160"/>
                      <a:pt x="309" y="14782"/>
                      <a:pt x="4734" y="17234"/>
                    </a:cubicBezTo>
                    <a:cubicBezTo>
                      <a:pt x="9160" y="19686"/>
                      <a:pt x="14722" y="18131"/>
                      <a:pt x="17174" y="13646"/>
                    </a:cubicBezTo>
                    <a:close/>
                  </a:path>
                </a:pathLst>
              </a:custGeom>
              <a:grpFill/>
              <a:ln w="5978" cap="flat">
                <a:noFill/>
                <a:prstDash val="solid"/>
                <a:miter/>
              </a:ln>
            </p:spPr>
            <p:txBody>
              <a:bodyPr rtlCol="0" anchor="ctr"/>
              <a:lstStyle/>
              <a:p>
                <a:endParaRPr lang="en-GB"/>
              </a:p>
            </p:txBody>
          </p:sp>
        </p:grpSp>
        <p:grpSp>
          <p:nvGrpSpPr>
            <p:cNvPr id="982" name="Graphic 3">
              <a:extLst>
                <a:ext uri="{FF2B5EF4-FFF2-40B4-BE49-F238E27FC236}">
                  <a16:creationId xmlns:a16="http://schemas.microsoft.com/office/drawing/2014/main" id="{55EEBDCF-4723-4F9E-87B6-0191211C0358}"/>
                </a:ext>
              </a:extLst>
            </p:cNvPr>
            <p:cNvGrpSpPr/>
            <p:nvPr/>
          </p:nvGrpSpPr>
          <p:grpSpPr>
            <a:xfrm>
              <a:off x="4340286" y="2511083"/>
              <a:ext cx="194797" cy="144360"/>
              <a:chOff x="4340286" y="2511083"/>
              <a:chExt cx="194797" cy="144360"/>
            </a:xfrm>
            <a:grpFill/>
          </p:grpSpPr>
          <p:sp>
            <p:nvSpPr>
              <p:cNvPr id="2453" name="Vrije vorm: vorm 2452">
                <a:extLst>
                  <a:ext uri="{FF2B5EF4-FFF2-40B4-BE49-F238E27FC236}">
                    <a16:creationId xmlns:a16="http://schemas.microsoft.com/office/drawing/2014/main" id="{A62BD39F-4F58-45C7-A968-981855A32FF5}"/>
                  </a:ext>
                </a:extLst>
              </p:cNvPr>
              <p:cNvSpPr/>
              <p:nvPr/>
            </p:nvSpPr>
            <p:spPr>
              <a:xfrm>
                <a:off x="4348244" y="2518761"/>
                <a:ext cx="178883" cy="129004"/>
              </a:xfrm>
              <a:custGeom>
                <a:avLst/>
                <a:gdLst>
                  <a:gd name="connsiteX0" fmla="*/ 178883 w 178883"/>
                  <a:gd name="connsiteY0" fmla="*/ 126492 h 129004"/>
                  <a:gd name="connsiteX1" fmla="*/ 177149 w 178883"/>
                  <a:gd name="connsiteY1" fmla="*/ 129004 h 129004"/>
                  <a:gd name="connsiteX2" fmla="*/ 0 w 178883"/>
                  <a:gd name="connsiteY2" fmla="*/ 2512 h 129004"/>
                  <a:gd name="connsiteX3" fmla="*/ 1734 w 178883"/>
                  <a:gd name="connsiteY3" fmla="*/ 0 h 129004"/>
                </a:gdLst>
                <a:ahLst/>
                <a:cxnLst>
                  <a:cxn ang="0">
                    <a:pos x="connsiteX0" y="connsiteY0"/>
                  </a:cxn>
                  <a:cxn ang="0">
                    <a:pos x="connsiteX1" y="connsiteY1"/>
                  </a:cxn>
                  <a:cxn ang="0">
                    <a:pos x="connsiteX2" y="connsiteY2"/>
                  </a:cxn>
                  <a:cxn ang="0">
                    <a:pos x="connsiteX3" y="connsiteY3"/>
                  </a:cxn>
                </a:cxnLst>
                <a:rect l="l" t="t" r="r" b="b"/>
                <a:pathLst>
                  <a:path w="178883" h="129004">
                    <a:moveTo>
                      <a:pt x="178883" y="126492"/>
                    </a:moveTo>
                    <a:lnTo>
                      <a:pt x="177149" y="129004"/>
                    </a:lnTo>
                    <a:lnTo>
                      <a:pt x="0" y="2512"/>
                    </a:lnTo>
                    <a:lnTo>
                      <a:pt x="1734" y="0"/>
                    </a:lnTo>
                    <a:close/>
                  </a:path>
                </a:pathLst>
              </a:custGeom>
              <a:grpFill/>
              <a:ln w="5978" cap="flat">
                <a:noFill/>
                <a:prstDash val="solid"/>
                <a:miter/>
              </a:ln>
            </p:spPr>
            <p:txBody>
              <a:bodyPr rtlCol="0" anchor="ctr"/>
              <a:lstStyle/>
              <a:p>
                <a:endParaRPr lang="en-GB"/>
              </a:p>
            </p:txBody>
          </p:sp>
          <p:sp>
            <p:nvSpPr>
              <p:cNvPr id="2454" name="Vrije vorm: vorm 2453">
                <a:extLst>
                  <a:ext uri="{FF2B5EF4-FFF2-40B4-BE49-F238E27FC236}">
                    <a16:creationId xmlns:a16="http://schemas.microsoft.com/office/drawing/2014/main" id="{EB302F9A-7C52-49BA-B4A6-B92FA08D8904}"/>
                  </a:ext>
                </a:extLst>
              </p:cNvPr>
              <p:cNvSpPr/>
              <p:nvPr/>
            </p:nvSpPr>
            <p:spPr>
              <a:xfrm>
                <a:off x="4516718" y="2637037"/>
                <a:ext cx="18366" cy="18406"/>
              </a:xfrm>
              <a:custGeom>
                <a:avLst/>
                <a:gdLst>
                  <a:gd name="connsiteX0" fmla="*/ 14476 w 18366"/>
                  <a:gd name="connsiteY0" fmla="*/ 1697 h 18406"/>
                  <a:gd name="connsiteX1" fmla="*/ 16689 w 18366"/>
                  <a:gd name="connsiteY1" fmla="*/ 14556 h 18406"/>
                  <a:gd name="connsiteX2" fmla="*/ 3890 w 18366"/>
                  <a:gd name="connsiteY2" fmla="*/ 16709 h 18406"/>
                  <a:gd name="connsiteX3" fmla="*/ 1677 w 18366"/>
                  <a:gd name="connsiteY3" fmla="*/ 3851 h 18406"/>
                  <a:gd name="connsiteX4" fmla="*/ 14476 w 18366"/>
                  <a:gd name="connsiteY4" fmla="*/ 169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4476" y="1697"/>
                    </a:moveTo>
                    <a:cubicBezTo>
                      <a:pt x="18603" y="4628"/>
                      <a:pt x="19620" y="10429"/>
                      <a:pt x="16689" y="14556"/>
                    </a:cubicBezTo>
                    <a:cubicBezTo>
                      <a:pt x="13759" y="18683"/>
                      <a:pt x="8077" y="19640"/>
                      <a:pt x="3890" y="16709"/>
                    </a:cubicBezTo>
                    <a:cubicBezTo>
                      <a:pt x="-237" y="13778"/>
                      <a:pt x="-1253" y="7977"/>
                      <a:pt x="1677" y="3851"/>
                    </a:cubicBezTo>
                    <a:cubicBezTo>
                      <a:pt x="4608" y="-276"/>
                      <a:pt x="10290" y="-1233"/>
                      <a:pt x="14476" y="1697"/>
                    </a:cubicBezTo>
                    <a:close/>
                  </a:path>
                </a:pathLst>
              </a:custGeom>
              <a:grpFill/>
              <a:ln w="5978" cap="flat">
                <a:noFill/>
                <a:prstDash val="solid"/>
                <a:miter/>
              </a:ln>
            </p:spPr>
            <p:txBody>
              <a:bodyPr rtlCol="0" anchor="ctr"/>
              <a:lstStyle/>
              <a:p>
                <a:endParaRPr lang="en-GB"/>
              </a:p>
            </p:txBody>
          </p:sp>
          <p:sp>
            <p:nvSpPr>
              <p:cNvPr id="2455" name="Vrije vorm: vorm 2454">
                <a:extLst>
                  <a:ext uri="{FF2B5EF4-FFF2-40B4-BE49-F238E27FC236}">
                    <a16:creationId xmlns:a16="http://schemas.microsoft.com/office/drawing/2014/main" id="{45EB5CC5-E130-452D-9777-FAF8F6621404}"/>
                  </a:ext>
                </a:extLst>
              </p:cNvPr>
              <p:cNvSpPr/>
              <p:nvPr/>
            </p:nvSpPr>
            <p:spPr>
              <a:xfrm>
                <a:off x="4340286" y="2511083"/>
                <a:ext cx="18366" cy="18406"/>
              </a:xfrm>
              <a:custGeom>
                <a:avLst/>
                <a:gdLst>
                  <a:gd name="connsiteX0" fmla="*/ 14476 w 18366"/>
                  <a:gd name="connsiteY0" fmla="*/ 1697 h 18406"/>
                  <a:gd name="connsiteX1" fmla="*/ 1677 w 18366"/>
                  <a:gd name="connsiteY1" fmla="*/ 3850 h 18406"/>
                  <a:gd name="connsiteX2" fmla="*/ 3890 w 18366"/>
                  <a:gd name="connsiteY2" fmla="*/ 16709 h 18406"/>
                  <a:gd name="connsiteX3" fmla="*/ 16689 w 18366"/>
                  <a:gd name="connsiteY3" fmla="*/ 14556 h 18406"/>
                  <a:gd name="connsiteX4" fmla="*/ 14476 w 18366"/>
                  <a:gd name="connsiteY4" fmla="*/ 169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4476" y="1697"/>
                    </a:moveTo>
                    <a:cubicBezTo>
                      <a:pt x="10349" y="-1233"/>
                      <a:pt x="4608" y="-276"/>
                      <a:pt x="1677" y="3850"/>
                    </a:cubicBezTo>
                    <a:cubicBezTo>
                      <a:pt x="-1253" y="7977"/>
                      <a:pt x="-237" y="13719"/>
                      <a:pt x="3890" y="16709"/>
                    </a:cubicBezTo>
                    <a:cubicBezTo>
                      <a:pt x="8017" y="19640"/>
                      <a:pt x="13759" y="18683"/>
                      <a:pt x="16689" y="14556"/>
                    </a:cubicBezTo>
                    <a:cubicBezTo>
                      <a:pt x="19620" y="10370"/>
                      <a:pt x="18603" y="4628"/>
                      <a:pt x="14476" y="1697"/>
                    </a:cubicBezTo>
                    <a:close/>
                  </a:path>
                </a:pathLst>
              </a:custGeom>
              <a:grpFill/>
              <a:ln w="5978" cap="flat">
                <a:noFill/>
                <a:prstDash val="solid"/>
                <a:miter/>
              </a:ln>
            </p:spPr>
            <p:txBody>
              <a:bodyPr rtlCol="0" anchor="ctr"/>
              <a:lstStyle/>
              <a:p>
                <a:endParaRPr lang="en-GB"/>
              </a:p>
            </p:txBody>
          </p:sp>
        </p:grpSp>
        <p:grpSp>
          <p:nvGrpSpPr>
            <p:cNvPr id="983" name="Graphic 3">
              <a:extLst>
                <a:ext uri="{FF2B5EF4-FFF2-40B4-BE49-F238E27FC236}">
                  <a16:creationId xmlns:a16="http://schemas.microsoft.com/office/drawing/2014/main" id="{A336C8A4-EC20-4D44-BDC1-AD1EF74A66A8}"/>
                </a:ext>
              </a:extLst>
            </p:cNvPr>
            <p:cNvGrpSpPr/>
            <p:nvPr/>
          </p:nvGrpSpPr>
          <p:grpSpPr>
            <a:xfrm>
              <a:off x="4113152" y="2095591"/>
              <a:ext cx="428763" cy="297071"/>
              <a:chOff x="4113152" y="2095591"/>
              <a:chExt cx="428763" cy="297071"/>
            </a:xfrm>
            <a:grpFill/>
          </p:grpSpPr>
          <p:sp>
            <p:nvSpPr>
              <p:cNvPr id="2450" name="Vrije vorm: vorm 2449">
                <a:extLst>
                  <a:ext uri="{FF2B5EF4-FFF2-40B4-BE49-F238E27FC236}">
                    <a16:creationId xmlns:a16="http://schemas.microsoft.com/office/drawing/2014/main" id="{60A8A942-E88F-499F-8EC6-B8C7D3571313}"/>
                  </a:ext>
                </a:extLst>
              </p:cNvPr>
              <p:cNvSpPr/>
              <p:nvPr/>
            </p:nvSpPr>
            <p:spPr>
              <a:xfrm>
                <a:off x="4121096" y="2103280"/>
                <a:ext cx="412849" cy="281692"/>
              </a:xfrm>
              <a:custGeom>
                <a:avLst/>
                <a:gdLst>
                  <a:gd name="connsiteX0" fmla="*/ 412849 w 412849"/>
                  <a:gd name="connsiteY0" fmla="*/ 279120 h 281692"/>
                  <a:gd name="connsiteX1" fmla="*/ 411175 w 412849"/>
                  <a:gd name="connsiteY1" fmla="*/ 281692 h 281692"/>
                  <a:gd name="connsiteX2" fmla="*/ 0 w 412849"/>
                  <a:gd name="connsiteY2" fmla="*/ 2512 h 281692"/>
                  <a:gd name="connsiteX3" fmla="*/ 1675 w 412849"/>
                  <a:gd name="connsiteY3" fmla="*/ 0 h 281692"/>
                </a:gdLst>
                <a:ahLst/>
                <a:cxnLst>
                  <a:cxn ang="0">
                    <a:pos x="connsiteX0" y="connsiteY0"/>
                  </a:cxn>
                  <a:cxn ang="0">
                    <a:pos x="connsiteX1" y="connsiteY1"/>
                  </a:cxn>
                  <a:cxn ang="0">
                    <a:pos x="connsiteX2" y="connsiteY2"/>
                  </a:cxn>
                  <a:cxn ang="0">
                    <a:pos x="connsiteX3" y="connsiteY3"/>
                  </a:cxn>
                </a:cxnLst>
                <a:rect l="l" t="t" r="r" b="b"/>
                <a:pathLst>
                  <a:path w="412849" h="281692">
                    <a:moveTo>
                      <a:pt x="412849" y="279120"/>
                    </a:moveTo>
                    <a:lnTo>
                      <a:pt x="411175" y="281692"/>
                    </a:lnTo>
                    <a:lnTo>
                      <a:pt x="0" y="2512"/>
                    </a:lnTo>
                    <a:lnTo>
                      <a:pt x="1675" y="0"/>
                    </a:lnTo>
                    <a:close/>
                  </a:path>
                </a:pathLst>
              </a:custGeom>
              <a:grpFill/>
              <a:ln w="5978" cap="flat">
                <a:noFill/>
                <a:prstDash val="solid"/>
                <a:miter/>
              </a:ln>
            </p:spPr>
            <p:txBody>
              <a:bodyPr rtlCol="0" anchor="ctr"/>
              <a:lstStyle/>
              <a:p>
                <a:endParaRPr lang="en-GB"/>
              </a:p>
            </p:txBody>
          </p:sp>
          <p:sp>
            <p:nvSpPr>
              <p:cNvPr id="2451" name="Vrije vorm: vorm 2450">
                <a:extLst>
                  <a:ext uri="{FF2B5EF4-FFF2-40B4-BE49-F238E27FC236}">
                    <a16:creationId xmlns:a16="http://schemas.microsoft.com/office/drawing/2014/main" id="{C1F07393-8470-4D1A-948C-6EBF184088E4}"/>
                  </a:ext>
                </a:extLst>
              </p:cNvPr>
              <p:cNvSpPr/>
              <p:nvPr/>
            </p:nvSpPr>
            <p:spPr>
              <a:xfrm>
                <a:off x="4113152" y="2095591"/>
                <a:ext cx="18339" cy="18403"/>
              </a:xfrm>
              <a:custGeom>
                <a:avLst/>
                <a:gdLst>
                  <a:gd name="connsiteX0" fmla="*/ 4056 w 18339"/>
                  <a:gd name="connsiteY0" fmla="*/ 16840 h 18403"/>
                  <a:gd name="connsiteX1" fmla="*/ 1544 w 18339"/>
                  <a:gd name="connsiteY1" fmla="*/ 4042 h 18403"/>
                  <a:gd name="connsiteX2" fmla="*/ 14283 w 18339"/>
                  <a:gd name="connsiteY2" fmla="*/ 1590 h 18403"/>
                  <a:gd name="connsiteX3" fmla="*/ 16795 w 18339"/>
                  <a:gd name="connsiteY3" fmla="*/ 14388 h 18403"/>
                  <a:gd name="connsiteX4" fmla="*/ 4056 w 18339"/>
                  <a:gd name="connsiteY4" fmla="*/ 1684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3">
                    <a:moveTo>
                      <a:pt x="4056" y="16840"/>
                    </a:moveTo>
                    <a:cubicBezTo>
                      <a:pt x="-130" y="13970"/>
                      <a:pt x="-1266" y="8288"/>
                      <a:pt x="1544" y="4042"/>
                    </a:cubicBezTo>
                    <a:cubicBezTo>
                      <a:pt x="4355" y="-145"/>
                      <a:pt x="10037" y="-1281"/>
                      <a:pt x="14283" y="1590"/>
                    </a:cubicBezTo>
                    <a:cubicBezTo>
                      <a:pt x="18470" y="4460"/>
                      <a:pt x="19606" y="10142"/>
                      <a:pt x="16795" y="14388"/>
                    </a:cubicBezTo>
                    <a:cubicBezTo>
                      <a:pt x="13924" y="18575"/>
                      <a:pt x="8243" y="19651"/>
                      <a:pt x="4056" y="16840"/>
                    </a:cubicBezTo>
                    <a:close/>
                  </a:path>
                </a:pathLst>
              </a:custGeom>
              <a:grpFill/>
              <a:ln w="5978" cap="flat">
                <a:noFill/>
                <a:prstDash val="solid"/>
                <a:miter/>
              </a:ln>
            </p:spPr>
            <p:txBody>
              <a:bodyPr rtlCol="0" anchor="ctr"/>
              <a:lstStyle/>
              <a:p>
                <a:endParaRPr lang="en-GB"/>
              </a:p>
            </p:txBody>
          </p:sp>
          <p:sp>
            <p:nvSpPr>
              <p:cNvPr id="2452" name="Vrije vorm: vorm 2451">
                <a:extLst>
                  <a:ext uri="{FF2B5EF4-FFF2-40B4-BE49-F238E27FC236}">
                    <a16:creationId xmlns:a16="http://schemas.microsoft.com/office/drawing/2014/main" id="{0CF67B1F-2837-49DD-8C06-00310C5B985C}"/>
                  </a:ext>
                </a:extLst>
              </p:cNvPr>
              <p:cNvSpPr/>
              <p:nvPr/>
            </p:nvSpPr>
            <p:spPr>
              <a:xfrm>
                <a:off x="4523575" y="2374232"/>
                <a:ext cx="18339" cy="18429"/>
              </a:xfrm>
              <a:custGeom>
                <a:avLst/>
                <a:gdLst>
                  <a:gd name="connsiteX0" fmla="*/ 4030 w 18339"/>
                  <a:gd name="connsiteY0" fmla="*/ 16840 h 18429"/>
                  <a:gd name="connsiteX1" fmla="*/ 16769 w 18339"/>
                  <a:gd name="connsiteY1" fmla="*/ 14388 h 18429"/>
                  <a:gd name="connsiteX2" fmla="*/ 14257 w 18339"/>
                  <a:gd name="connsiteY2" fmla="*/ 1590 h 18429"/>
                  <a:gd name="connsiteX3" fmla="*/ 1518 w 18339"/>
                  <a:gd name="connsiteY3" fmla="*/ 4042 h 18429"/>
                  <a:gd name="connsiteX4" fmla="*/ 4030 w 18339"/>
                  <a:gd name="connsiteY4" fmla="*/ 168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4030" y="16840"/>
                    </a:moveTo>
                    <a:cubicBezTo>
                      <a:pt x="8217" y="19711"/>
                      <a:pt x="13898" y="18575"/>
                      <a:pt x="16769" y="14388"/>
                    </a:cubicBezTo>
                    <a:cubicBezTo>
                      <a:pt x="19640" y="10202"/>
                      <a:pt x="18444" y="4460"/>
                      <a:pt x="14257" y="1590"/>
                    </a:cubicBezTo>
                    <a:cubicBezTo>
                      <a:pt x="10071" y="-1281"/>
                      <a:pt x="4389" y="-145"/>
                      <a:pt x="1518" y="4042"/>
                    </a:cubicBezTo>
                    <a:cubicBezTo>
                      <a:pt x="-1233" y="8228"/>
                      <a:pt x="-156" y="13970"/>
                      <a:pt x="4030" y="16840"/>
                    </a:cubicBezTo>
                    <a:close/>
                  </a:path>
                </a:pathLst>
              </a:custGeom>
              <a:grpFill/>
              <a:ln w="5978" cap="flat">
                <a:noFill/>
                <a:prstDash val="solid"/>
                <a:miter/>
              </a:ln>
            </p:spPr>
            <p:txBody>
              <a:bodyPr rtlCol="0" anchor="ctr"/>
              <a:lstStyle/>
              <a:p>
                <a:endParaRPr lang="en-GB"/>
              </a:p>
            </p:txBody>
          </p:sp>
        </p:grpSp>
        <p:grpSp>
          <p:nvGrpSpPr>
            <p:cNvPr id="984" name="Graphic 3">
              <a:extLst>
                <a:ext uri="{FF2B5EF4-FFF2-40B4-BE49-F238E27FC236}">
                  <a16:creationId xmlns:a16="http://schemas.microsoft.com/office/drawing/2014/main" id="{49DBAF4F-6A94-4F8C-AA7D-25B301FF58EF}"/>
                </a:ext>
              </a:extLst>
            </p:cNvPr>
            <p:cNvGrpSpPr/>
            <p:nvPr/>
          </p:nvGrpSpPr>
          <p:grpSpPr>
            <a:xfrm>
              <a:off x="5206208" y="4992682"/>
              <a:ext cx="308067" cy="718652"/>
              <a:chOff x="5206208" y="4992682"/>
              <a:chExt cx="308067" cy="718652"/>
            </a:xfrm>
            <a:grpFill/>
          </p:grpSpPr>
          <p:sp>
            <p:nvSpPr>
              <p:cNvPr id="2447" name="Vrije vorm: vorm 2446">
                <a:extLst>
                  <a:ext uri="{FF2B5EF4-FFF2-40B4-BE49-F238E27FC236}">
                    <a16:creationId xmlns:a16="http://schemas.microsoft.com/office/drawing/2014/main" id="{D3E6F1C6-C0E6-4849-98C0-4571555FFCFB}"/>
                  </a:ext>
                </a:extLst>
              </p:cNvPr>
              <p:cNvSpPr/>
              <p:nvPr/>
            </p:nvSpPr>
            <p:spPr>
              <a:xfrm>
                <a:off x="5213774" y="5000880"/>
                <a:ext cx="292935" cy="702196"/>
              </a:xfrm>
              <a:custGeom>
                <a:avLst/>
                <a:gdLst>
                  <a:gd name="connsiteX0" fmla="*/ 292936 w 292935"/>
                  <a:gd name="connsiteY0" fmla="*/ 1136 h 702196"/>
                  <a:gd name="connsiteX1" fmla="*/ 2811 w 292935"/>
                  <a:gd name="connsiteY1" fmla="*/ 702196 h 702196"/>
                  <a:gd name="connsiteX2" fmla="*/ 0 w 292935"/>
                  <a:gd name="connsiteY2" fmla="*/ 701060 h 702196"/>
                  <a:gd name="connsiteX3" fmla="*/ 290065 w 292935"/>
                  <a:gd name="connsiteY3" fmla="*/ 0 h 702196"/>
                </a:gdLst>
                <a:ahLst/>
                <a:cxnLst>
                  <a:cxn ang="0">
                    <a:pos x="connsiteX0" y="connsiteY0"/>
                  </a:cxn>
                  <a:cxn ang="0">
                    <a:pos x="connsiteX1" y="connsiteY1"/>
                  </a:cxn>
                  <a:cxn ang="0">
                    <a:pos x="connsiteX2" y="connsiteY2"/>
                  </a:cxn>
                  <a:cxn ang="0">
                    <a:pos x="connsiteX3" y="connsiteY3"/>
                  </a:cxn>
                </a:cxnLst>
                <a:rect l="l" t="t" r="r" b="b"/>
                <a:pathLst>
                  <a:path w="292935" h="702196">
                    <a:moveTo>
                      <a:pt x="292936" y="1136"/>
                    </a:moveTo>
                    <a:lnTo>
                      <a:pt x="2811" y="702196"/>
                    </a:lnTo>
                    <a:lnTo>
                      <a:pt x="0" y="701060"/>
                    </a:lnTo>
                    <a:lnTo>
                      <a:pt x="290065" y="0"/>
                    </a:lnTo>
                    <a:close/>
                  </a:path>
                </a:pathLst>
              </a:custGeom>
              <a:grpFill/>
              <a:ln w="5978" cap="flat">
                <a:noFill/>
                <a:prstDash val="solid"/>
                <a:miter/>
              </a:ln>
            </p:spPr>
            <p:txBody>
              <a:bodyPr rtlCol="0" anchor="ctr"/>
              <a:lstStyle/>
              <a:p>
                <a:endParaRPr lang="en-GB"/>
              </a:p>
            </p:txBody>
          </p:sp>
          <p:sp>
            <p:nvSpPr>
              <p:cNvPr id="2448" name="Vrije vorm: vorm 2447">
                <a:extLst>
                  <a:ext uri="{FF2B5EF4-FFF2-40B4-BE49-F238E27FC236}">
                    <a16:creationId xmlns:a16="http://schemas.microsoft.com/office/drawing/2014/main" id="{71213E3F-BC2B-4C75-B324-DFD6C0D59047}"/>
                  </a:ext>
                </a:extLst>
              </p:cNvPr>
              <p:cNvSpPr/>
              <p:nvPr/>
            </p:nvSpPr>
            <p:spPr>
              <a:xfrm>
                <a:off x="5495940" y="4992682"/>
                <a:ext cx="18335" cy="18429"/>
              </a:xfrm>
              <a:custGeom>
                <a:avLst/>
                <a:gdLst>
                  <a:gd name="connsiteX0" fmla="*/ 721 w 18335"/>
                  <a:gd name="connsiteY0" fmla="*/ 5627 h 18429"/>
                  <a:gd name="connsiteX1" fmla="*/ 12683 w 18335"/>
                  <a:gd name="connsiteY1" fmla="*/ 722 h 18429"/>
                  <a:gd name="connsiteX2" fmla="*/ 17647 w 18335"/>
                  <a:gd name="connsiteY2" fmla="*/ 12803 h 18429"/>
                  <a:gd name="connsiteX3" fmla="*/ 5685 w 18335"/>
                  <a:gd name="connsiteY3" fmla="*/ 17707 h 18429"/>
                  <a:gd name="connsiteX4" fmla="*/ 721 w 18335"/>
                  <a:gd name="connsiteY4" fmla="*/ 562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9">
                    <a:moveTo>
                      <a:pt x="721" y="5627"/>
                    </a:moveTo>
                    <a:cubicBezTo>
                      <a:pt x="2635" y="962"/>
                      <a:pt x="8018" y="-1251"/>
                      <a:pt x="12683" y="722"/>
                    </a:cubicBezTo>
                    <a:cubicBezTo>
                      <a:pt x="17348" y="2696"/>
                      <a:pt x="19561" y="8079"/>
                      <a:pt x="17647" y="12803"/>
                    </a:cubicBezTo>
                    <a:cubicBezTo>
                      <a:pt x="15733" y="17468"/>
                      <a:pt x="10350" y="19681"/>
                      <a:pt x="5685" y="17707"/>
                    </a:cubicBezTo>
                    <a:cubicBezTo>
                      <a:pt x="961" y="15734"/>
                      <a:pt x="-1252" y="10291"/>
                      <a:pt x="721" y="5627"/>
                    </a:cubicBezTo>
                    <a:close/>
                  </a:path>
                </a:pathLst>
              </a:custGeom>
              <a:grpFill/>
              <a:ln w="5978" cap="flat">
                <a:noFill/>
                <a:prstDash val="solid"/>
                <a:miter/>
              </a:ln>
            </p:spPr>
            <p:txBody>
              <a:bodyPr rtlCol="0" anchor="ctr"/>
              <a:lstStyle/>
              <a:p>
                <a:endParaRPr lang="en-GB"/>
              </a:p>
            </p:txBody>
          </p:sp>
          <p:sp>
            <p:nvSpPr>
              <p:cNvPr id="2449" name="Vrije vorm: vorm 2448">
                <a:extLst>
                  <a:ext uri="{FF2B5EF4-FFF2-40B4-BE49-F238E27FC236}">
                    <a16:creationId xmlns:a16="http://schemas.microsoft.com/office/drawing/2014/main" id="{E1FF8079-1071-4A4E-A5B9-ED35951EF77A}"/>
                  </a:ext>
                </a:extLst>
              </p:cNvPr>
              <p:cNvSpPr/>
              <p:nvPr/>
            </p:nvSpPr>
            <p:spPr>
              <a:xfrm>
                <a:off x="5206208" y="5692896"/>
                <a:ext cx="18301" cy="18438"/>
              </a:xfrm>
              <a:custGeom>
                <a:avLst/>
                <a:gdLst>
                  <a:gd name="connsiteX0" fmla="*/ 688 w 18301"/>
                  <a:gd name="connsiteY0" fmla="*/ 5635 h 18438"/>
                  <a:gd name="connsiteX1" fmla="*/ 5652 w 18301"/>
                  <a:gd name="connsiteY1" fmla="*/ 17716 h 18438"/>
                  <a:gd name="connsiteX2" fmla="*/ 17614 w 18301"/>
                  <a:gd name="connsiteY2" fmla="*/ 12812 h 18438"/>
                  <a:gd name="connsiteX3" fmla="*/ 12649 w 18301"/>
                  <a:gd name="connsiteY3" fmla="*/ 731 h 18438"/>
                  <a:gd name="connsiteX4" fmla="*/ 688 w 18301"/>
                  <a:gd name="connsiteY4" fmla="*/ 5635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8">
                    <a:moveTo>
                      <a:pt x="688" y="5635"/>
                    </a:moveTo>
                    <a:cubicBezTo>
                      <a:pt x="-1225" y="10300"/>
                      <a:pt x="987" y="15742"/>
                      <a:pt x="5652" y="17716"/>
                    </a:cubicBezTo>
                    <a:cubicBezTo>
                      <a:pt x="10317" y="19690"/>
                      <a:pt x="15700" y="17477"/>
                      <a:pt x="17614" y="12812"/>
                    </a:cubicBezTo>
                    <a:cubicBezTo>
                      <a:pt x="19527" y="8147"/>
                      <a:pt x="17315" y="2704"/>
                      <a:pt x="12649" y="731"/>
                    </a:cubicBezTo>
                    <a:cubicBezTo>
                      <a:pt x="7985" y="-1243"/>
                      <a:pt x="2602" y="910"/>
                      <a:pt x="688" y="5635"/>
                    </a:cubicBezTo>
                    <a:close/>
                  </a:path>
                </a:pathLst>
              </a:custGeom>
              <a:grpFill/>
              <a:ln w="5978" cap="flat">
                <a:noFill/>
                <a:prstDash val="solid"/>
                <a:miter/>
              </a:ln>
            </p:spPr>
            <p:txBody>
              <a:bodyPr rtlCol="0" anchor="ctr"/>
              <a:lstStyle/>
              <a:p>
                <a:endParaRPr lang="en-GB"/>
              </a:p>
            </p:txBody>
          </p:sp>
        </p:grpSp>
        <p:grpSp>
          <p:nvGrpSpPr>
            <p:cNvPr id="985" name="Graphic 3">
              <a:extLst>
                <a:ext uri="{FF2B5EF4-FFF2-40B4-BE49-F238E27FC236}">
                  <a16:creationId xmlns:a16="http://schemas.microsoft.com/office/drawing/2014/main" id="{3D02D0C0-0953-4EC4-B639-635AED4AA283}"/>
                </a:ext>
              </a:extLst>
            </p:cNvPr>
            <p:cNvGrpSpPr/>
            <p:nvPr/>
          </p:nvGrpSpPr>
          <p:grpSpPr>
            <a:xfrm>
              <a:off x="4213323" y="2398720"/>
              <a:ext cx="373939" cy="214244"/>
              <a:chOff x="4213323" y="2398720"/>
              <a:chExt cx="373939" cy="214244"/>
            </a:xfrm>
            <a:grpFill/>
          </p:grpSpPr>
          <p:sp>
            <p:nvSpPr>
              <p:cNvPr id="2444" name="Vrije vorm: vorm 2443">
                <a:extLst>
                  <a:ext uri="{FF2B5EF4-FFF2-40B4-BE49-F238E27FC236}">
                    <a16:creationId xmlns:a16="http://schemas.microsoft.com/office/drawing/2014/main" id="{214D33CC-D600-4883-885A-94C2BF392AA1}"/>
                  </a:ext>
                </a:extLst>
              </p:cNvPr>
              <p:cNvSpPr/>
              <p:nvPr/>
            </p:nvSpPr>
            <p:spPr>
              <a:xfrm>
                <a:off x="4221333" y="2406324"/>
                <a:ext cx="357886" cy="198978"/>
              </a:xfrm>
              <a:custGeom>
                <a:avLst/>
                <a:gdLst>
                  <a:gd name="connsiteX0" fmla="*/ 357887 w 357886"/>
                  <a:gd name="connsiteY0" fmla="*/ 196287 h 198978"/>
                  <a:gd name="connsiteX1" fmla="*/ 356451 w 357886"/>
                  <a:gd name="connsiteY1" fmla="*/ 198979 h 198978"/>
                  <a:gd name="connsiteX2" fmla="*/ 0 w 357886"/>
                  <a:gd name="connsiteY2" fmla="*/ 2691 h 198978"/>
                  <a:gd name="connsiteX3" fmla="*/ 1435 w 357886"/>
                  <a:gd name="connsiteY3" fmla="*/ 0 h 198978"/>
                </a:gdLst>
                <a:ahLst/>
                <a:cxnLst>
                  <a:cxn ang="0">
                    <a:pos x="connsiteX0" y="connsiteY0"/>
                  </a:cxn>
                  <a:cxn ang="0">
                    <a:pos x="connsiteX1" y="connsiteY1"/>
                  </a:cxn>
                  <a:cxn ang="0">
                    <a:pos x="connsiteX2" y="connsiteY2"/>
                  </a:cxn>
                  <a:cxn ang="0">
                    <a:pos x="connsiteX3" y="connsiteY3"/>
                  </a:cxn>
                </a:cxnLst>
                <a:rect l="l" t="t" r="r" b="b"/>
                <a:pathLst>
                  <a:path w="357886" h="198978">
                    <a:moveTo>
                      <a:pt x="357887" y="196287"/>
                    </a:moveTo>
                    <a:lnTo>
                      <a:pt x="356451" y="198979"/>
                    </a:lnTo>
                    <a:lnTo>
                      <a:pt x="0" y="2691"/>
                    </a:lnTo>
                    <a:lnTo>
                      <a:pt x="1435" y="0"/>
                    </a:lnTo>
                    <a:close/>
                  </a:path>
                </a:pathLst>
              </a:custGeom>
              <a:grpFill/>
              <a:ln w="5978" cap="flat">
                <a:noFill/>
                <a:prstDash val="solid"/>
                <a:miter/>
              </a:ln>
            </p:spPr>
            <p:txBody>
              <a:bodyPr rtlCol="0" anchor="ctr"/>
              <a:lstStyle/>
              <a:p>
                <a:endParaRPr lang="en-GB"/>
              </a:p>
            </p:txBody>
          </p:sp>
          <p:sp>
            <p:nvSpPr>
              <p:cNvPr id="2445" name="Vrije vorm: vorm 2444">
                <a:extLst>
                  <a:ext uri="{FF2B5EF4-FFF2-40B4-BE49-F238E27FC236}">
                    <a16:creationId xmlns:a16="http://schemas.microsoft.com/office/drawing/2014/main" id="{E67201E5-157C-4B70-B7AC-3D710B041337}"/>
                  </a:ext>
                </a:extLst>
              </p:cNvPr>
              <p:cNvSpPr/>
              <p:nvPr/>
            </p:nvSpPr>
            <p:spPr>
              <a:xfrm>
                <a:off x="4213323" y="2398720"/>
                <a:ext cx="18351" cy="18423"/>
              </a:xfrm>
              <a:custGeom>
                <a:avLst/>
                <a:gdLst>
                  <a:gd name="connsiteX0" fmla="*/ 4780 w 18351"/>
                  <a:gd name="connsiteY0" fmla="*/ 17292 h 18423"/>
                  <a:gd name="connsiteX1" fmla="*/ 1132 w 18351"/>
                  <a:gd name="connsiteY1" fmla="*/ 4792 h 18423"/>
                  <a:gd name="connsiteX2" fmla="*/ 13572 w 18351"/>
                  <a:gd name="connsiteY2" fmla="*/ 1144 h 18423"/>
                  <a:gd name="connsiteX3" fmla="*/ 17220 w 18351"/>
                  <a:gd name="connsiteY3" fmla="*/ 13644 h 18423"/>
                  <a:gd name="connsiteX4" fmla="*/ 4780 w 18351"/>
                  <a:gd name="connsiteY4" fmla="*/ 172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3">
                    <a:moveTo>
                      <a:pt x="4780" y="17292"/>
                    </a:moveTo>
                    <a:cubicBezTo>
                      <a:pt x="355" y="14840"/>
                      <a:pt x="-1320" y="9218"/>
                      <a:pt x="1132" y="4792"/>
                    </a:cubicBezTo>
                    <a:cubicBezTo>
                      <a:pt x="3524" y="307"/>
                      <a:pt x="9086" y="-1308"/>
                      <a:pt x="13572" y="1144"/>
                    </a:cubicBezTo>
                    <a:cubicBezTo>
                      <a:pt x="17997" y="3596"/>
                      <a:pt x="19672" y="9218"/>
                      <a:pt x="17220" y="13644"/>
                    </a:cubicBezTo>
                    <a:cubicBezTo>
                      <a:pt x="14768" y="18070"/>
                      <a:pt x="9206" y="19744"/>
                      <a:pt x="4780" y="17292"/>
                    </a:cubicBezTo>
                    <a:close/>
                  </a:path>
                </a:pathLst>
              </a:custGeom>
              <a:grpFill/>
              <a:ln w="5978" cap="flat">
                <a:noFill/>
                <a:prstDash val="solid"/>
                <a:miter/>
              </a:ln>
            </p:spPr>
            <p:txBody>
              <a:bodyPr rtlCol="0" anchor="ctr"/>
              <a:lstStyle/>
              <a:p>
                <a:endParaRPr lang="en-GB"/>
              </a:p>
            </p:txBody>
          </p:sp>
          <p:sp>
            <p:nvSpPr>
              <p:cNvPr id="2446" name="Vrije vorm: vorm 2445">
                <a:extLst>
                  <a:ext uri="{FF2B5EF4-FFF2-40B4-BE49-F238E27FC236}">
                    <a16:creationId xmlns:a16="http://schemas.microsoft.com/office/drawing/2014/main" id="{4343E128-407C-4A73-BBEE-FB135451077A}"/>
                  </a:ext>
                </a:extLst>
              </p:cNvPr>
              <p:cNvSpPr/>
              <p:nvPr/>
            </p:nvSpPr>
            <p:spPr>
              <a:xfrm>
                <a:off x="4568937" y="2594529"/>
                <a:ext cx="18325" cy="18435"/>
              </a:xfrm>
              <a:custGeom>
                <a:avLst/>
                <a:gdLst>
                  <a:gd name="connsiteX0" fmla="*/ 4780 w 18325"/>
                  <a:gd name="connsiteY0" fmla="*/ 17292 h 18435"/>
                  <a:gd name="connsiteX1" fmla="*/ 17220 w 18325"/>
                  <a:gd name="connsiteY1" fmla="*/ 13644 h 18435"/>
                  <a:gd name="connsiteX2" fmla="*/ 13572 w 18325"/>
                  <a:gd name="connsiteY2" fmla="*/ 1144 h 18435"/>
                  <a:gd name="connsiteX3" fmla="*/ 1132 w 18325"/>
                  <a:gd name="connsiteY3" fmla="*/ 4792 h 18435"/>
                  <a:gd name="connsiteX4" fmla="*/ 4780 w 18325"/>
                  <a:gd name="connsiteY4" fmla="*/ 1729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5">
                    <a:moveTo>
                      <a:pt x="4780" y="17292"/>
                    </a:moveTo>
                    <a:cubicBezTo>
                      <a:pt x="9206" y="19744"/>
                      <a:pt x="14768" y="18129"/>
                      <a:pt x="17220" y="13644"/>
                    </a:cubicBezTo>
                    <a:cubicBezTo>
                      <a:pt x="19612" y="9158"/>
                      <a:pt x="17997" y="3596"/>
                      <a:pt x="13572" y="1144"/>
                    </a:cubicBezTo>
                    <a:cubicBezTo>
                      <a:pt x="9146" y="-1308"/>
                      <a:pt x="3584" y="307"/>
                      <a:pt x="1132" y="4792"/>
                    </a:cubicBezTo>
                    <a:cubicBezTo>
                      <a:pt x="-1320" y="9218"/>
                      <a:pt x="354" y="14840"/>
                      <a:pt x="4780" y="17292"/>
                    </a:cubicBezTo>
                    <a:close/>
                  </a:path>
                </a:pathLst>
              </a:custGeom>
              <a:grpFill/>
              <a:ln w="5978" cap="flat">
                <a:noFill/>
                <a:prstDash val="solid"/>
                <a:miter/>
              </a:ln>
            </p:spPr>
            <p:txBody>
              <a:bodyPr rtlCol="0" anchor="ctr"/>
              <a:lstStyle/>
              <a:p>
                <a:endParaRPr lang="en-GB"/>
              </a:p>
            </p:txBody>
          </p:sp>
        </p:grpSp>
        <p:grpSp>
          <p:nvGrpSpPr>
            <p:cNvPr id="986" name="Graphic 3">
              <a:extLst>
                <a:ext uri="{FF2B5EF4-FFF2-40B4-BE49-F238E27FC236}">
                  <a16:creationId xmlns:a16="http://schemas.microsoft.com/office/drawing/2014/main" id="{3DAA7C9F-6458-43F4-8CF9-5905FEAB8D08}"/>
                </a:ext>
              </a:extLst>
            </p:cNvPr>
            <p:cNvGrpSpPr/>
            <p:nvPr/>
          </p:nvGrpSpPr>
          <p:grpSpPr>
            <a:xfrm>
              <a:off x="4346387" y="2554503"/>
              <a:ext cx="172668" cy="128477"/>
              <a:chOff x="4346387" y="2554503"/>
              <a:chExt cx="172668" cy="128477"/>
            </a:xfrm>
            <a:grpFill/>
          </p:grpSpPr>
          <p:sp>
            <p:nvSpPr>
              <p:cNvPr id="2441" name="Vrije vorm: vorm 2440">
                <a:extLst>
                  <a:ext uri="{FF2B5EF4-FFF2-40B4-BE49-F238E27FC236}">
                    <a16:creationId xmlns:a16="http://schemas.microsoft.com/office/drawing/2014/main" id="{4A0A9438-74DF-44B8-AFC3-89A598C781EB}"/>
                  </a:ext>
                </a:extLst>
              </p:cNvPr>
              <p:cNvSpPr/>
              <p:nvPr/>
            </p:nvSpPr>
            <p:spPr>
              <a:xfrm>
                <a:off x="4354344" y="2562181"/>
                <a:ext cx="156754" cy="113095"/>
              </a:xfrm>
              <a:custGeom>
                <a:avLst/>
                <a:gdLst>
                  <a:gd name="connsiteX0" fmla="*/ 156755 w 156754"/>
                  <a:gd name="connsiteY0" fmla="*/ 110583 h 113095"/>
                  <a:gd name="connsiteX1" fmla="*/ 155021 w 156754"/>
                  <a:gd name="connsiteY1" fmla="*/ 113095 h 113095"/>
                  <a:gd name="connsiteX2" fmla="*/ 0 w 156754"/>
                  <a:gd name="connsiteY2" fmla="*/ 2512 h 113095"/>
                  <a:gd name="connsiteX3" fmla="*/ 1735 w 156754"/>
                  <a:gd name="connsiteY3" fmla="*/ 0 h 113095"/>
                </a:gdLst>
                <a:ahLst/>
                <a:cxnLst>
                  <a:cxn ang="0">
                    <a:pos x="connsiteX0" y="connsiteY0"/>
                  </a:cxn>
                  <a:cxn ang="0">
                    <a:pos x="connsiteX1" y="connsiteY1"/>
                  </a:cxn>
                  <a:cxn ang="0">
                    <a:pos x="connsiteX2" y="connsiteY2"/>
                  </a:cxn>
                  <a:cxn ang="0">
                    <a:pos x="connsiteX3" y="connsiteY3"/>
                  </a:cxn>
                </a:cxnLst>
                <a:rect l="l" t="t" r="r" b="b"/>
                <a:pathLst>
                  <a:path w="156754" h="113095">
                    <a:moveTo>
                      <a:pt x="156755" y="110583"/>
                    </a:moveTo>
                    <a:lnTo>
                      <a:pt x="155021" y="113095"/>
                    </a:lnTo>
                    <a:lnTo>
                      <a:pt x="0" y="2512"/>
                    </a:lnTo>
                    <a:lnTo>
                      <a:pt x="1735" y="0"/>
                    </a:lnTo>
                    <a:close/>
                  </a:path>
                </a:pathLst>
              </a:custGeom>
              <a:grpFill/>
              <a:ln w="5978" cap="flat">
                <a:noFill/>
                <a:prstDash val="solid"/>
                <a:miter/>
              </a:ln>
            </p:spPr>
            <p:txBody>
              <a:bodyPr rtlCol="0" anchor="ctr"/>
              <a:lstStyle/>
              <a:p>
                <a:endParaRPr lang="en-GB"/>
              </a:p>
            </p:txBody>
          </p:sp>
          <p:sp>
            <p:nvSpPr>
              <p:cNvPr id="2442" name="Vrije vorm: vorm 2441">
                <a:extLst>
                  <a:ext uri="{FF2B5EF4-FFF2-40B4-BE49-F238E27FC236}">
                    <a16:creationId xmlns:a16="http://schemas.microsoft.com/office/drawing/2014/main" id="{FB325765-BDFC-4848-87BE-35CE9279B405}"/>
                  </a:ext>
                </a:extLst>
              </p:cNvPr>
              <p:cNvSpPr/>
              <p:nvPr/>
            </p:nvSpPr>
            <p:spPr>
              <a:xfrm>
                <a:off x="4500689" y="2664548"/>
                <a:ext cx="18366" cy="18432"/>
              </a:xfrm>
              <a:custGeom>
                <a:avLst/>
                <a:gdLst>
                  <a:gd name="connsiteX0" fmla="*/ 14476 w 18366"/>
                  <a:gd name="connsiteY0" fmla="*/ 1697 h 18432"/>
                  <a:gd name="connsiteX1" fmla="*/ 16689 w 18366"/>
                  <a:gd name="connsiteY1" fmla="*/ 14556 h 18432"/>
                  <a:gd name="connsiteX2" fmla="*/ 3890 w 18366"/>
                  <a:gd name="connsiteY2" fmla="*/ 16709 h 18432"/>
                  <a:gd name="connsiteX3" fmla="*/ 1677 w 18366"/>
                  <a:gd name="connsiteY3" fmla="*/ 3850 h 18432"/>
                  <a:gd name="connsiteX4" fmla="*/ 14476 w 18366"/>
                  <a:gd name="connsiteY4" fmla="*/ 169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32">
                    <a:moveTo>
                      <a:pt x="14476" y="1697"/>
                    </a:moveTo>
                    <a:cubicBezTo>
                      <a:pt x="18603" y="4628"/>
                      <a:pt x="19620" y="10429"/>
                      <a:pt x="16689" y="14556"/>
                    </a:cubicBezTo>
                    <a:cubicBezTo>
                      <a:pt x="13759" y="18683"/>
                      <a:pt x="8077" y="19700"/>
                      <a:pt x="3890" y="16709"/>
                    </a:cubicBezTo>
                    <a:cubicBezTo>
                      <a:pt x="-237" y="13778"/>
                      <a:pt x="-1253" y="7977"/>
                      <a:pt x="1677" y="3850"/>
                    </a:cubicBezTo>
                    <a:cubicBezTo>
                      <a:pt x="4608" y="-276"/>
                      <a:pt x="10290" y="-1233"/>
                      <a:pt x="14476" y="1697"/>
                    </a:cubicBezTo>
                    <a:close/>
                  </a:path>
                </a:pathLst>
              </a:custGeom>
              <a:grpFill/>
              <a:ln w="5978" cap="flat">
                <a:noFill/>
                <a:prstDash val="solid"/>
                <a:miter/>
              </a:ln>
            </p:spPr>
            <p:txBody>
              <a:bodyPr rtlCol="0" anchor="ctr"/>
              <a:lstStyle/>
              <a:p>
                <a:endParaRPr lang="en-GB"/>
              </a:p>
            </p:txBody>
          </p:sp>
          <p:sp>
            <p:nvSpPr>
              <p:cNvPr id="2443" name="Vrije vorm: vorm 2442">
                <a:extLst>
                  <a:ext uri="{FF2B5EF4-FFF2-40B4-BE49-F238E27FC236}">
                    <a16:creationId xmlns:a16="http://schemas.microsoft.com/office/drawing/2014/main" id="{FBCAB2CB-DC11-4C0B-B0C0-84D7F201FAEA}"/>
                  </a:ext>
                </a:extLst>
              </p:cNvPr>
              <p:cNvSpPr/>
              <p:nvPr/>
            </p:nvSpPr>
            <p:spPr>
              <a:xfrm>
                <a:off x="4346387" y="2554503"/>
                <a:ext cx="18366" cy="18406"/>
              </a:xfrm>
              <a:custGeom>
                <a:avLst/>
                <a:gdLst>
                  <a:gd name="connsiteX0" fmla="*/ 14476 w 18366"/>
                  <a:gd name="connsiteY0" fmla="*/ 1698 h 18406"/>
                  <a:gd name="connsiteX1" fmla="*/ 1677 w 18366"/>
                  <a:gd name="connsiteY1" fmla="*/ 3851 h 18406"/>
                  <a:gd name="connsiteX2" fmla="*/ 3890 w 18366"/>
                  <a:gd name="connsiteY2" fmla="*/ 16709 h 18406"/>
                  <a:gd name="connsiteX3" fmla="*/ 16689 w 18366"/>
                  <a:gd name="connsiteY3" fmla="*/ 14556 h 18406"/>
                  <a:gd name="connsiteX4" fmla="*/ 14476 w 18366"/>
                  <a:gd name="connsiteY4" fmla="*/ 1698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4476" y="1698"/>
                    </a:moveTo>
                    <a:cubicBezTo>
                      <a:pt x="10349" y="-1233"/>
                      <a:pt x="4608" y="-276"/>
                      <a:pt x="1677" y="3851"/>
                    </a:cubicBezTo>
                    <a:cubicBezTo>
                      <a:pt x="-1253" y="7977"/>
                      <a:pt x="-237" y="13719"/>
                      <a:pt x="3890" y="16709"/>
                    </a:cubicBezTo>
                    <a:cubicBezTo>
                      <a:pt x="8017" y="19640"/>
                      <a:pt x="13759" y="18683"/>
                      <a:pt x="16689" y="14556"/>
                    </a:cubicBezTo>
                    <a:cubicBezTo>
                      <a:pt x="19620" y="10429"/>
                      <a:pt x="18603" y="4688"/>
                      <a:pt x="14476" y="1698"/>
                    </a:cubicBezTo>
                    <a:close/>
                  </a:path>
                </a:pathLst>
              </a:custGeom>
              <a:grpFill/>
              <a:ln w="5978" cap="flat">
                <a:noFill/>
                <a:prstDash val="solid"/>
                <a:miter/>
              </a:ln>
            </p:spPr>
            <p:txBody>
              <a:bodyPr rtlCol="0" anchor="ctr"/>
              <a:lstStyle/>
              <a:p>
                <a:endParaRPr lang="en-GB"/>
              </a:p>
            </p:txBody>
          </p:sp>
        </p:grpSp>
        <p:grpSp>
          <p:nvGrpSpPr>
            <p:cNvPr id="987" name="Graphic 3">
              <a:extLst>
                <a:ext uri="{FF2B5EF4-FFF2-40B4-BE49-F238E27FC236}">
                  <a16:creationId xmlns:a16="http://schemas.microsoft.com/office/drawing/2014/main" id="{2EFDF936-2C5A-4601-8379-13162F08753D}"/>
                </a:ext>
              </a:extLst>
            </p:cNvPr>
            <p:cNvGrpSpPr/>
            <p:nvPr/>
          </p:nvGrpSpPr>
          <p:grpSpPr>
            <a:xfrm>
              <a:off x="5169868" y="4858537"/>
              <a:ext cx="63602" cy="97550"/>
              <a:chOff x="5169868" y="4858537"/>
              <a:chExt cx="63602" cy="97550"/>
            </a:xfrm>
            <a:grpFill/>
          </p:grpSpPr>
          <p:sp>
            <p:nvSpPr>
              <p:cNvPr id="2438" name="Vrije vorm: vorm 2437">
                <a:extLst>
                  <a:ext uri="{FF2B5EF4-FFF2-40B4-BE49-F238E27FC236}">
                    <a16:creationId xmlns:a16="http://schemas.microsoft.com/office/drawing/2014/main" id="{BE4B298D-B29E-46C3-9F4D-A913D13CDAB5}"/>
                  </a:ext>
                </a:extLst>
              </p:cNvPr>
              <p:cNvSpPr/>
              <p:nvPr/>
            </p:nvSpPr>
            <p:spPr>
              <a:xfrm>
                <a:off x="5177471" y="4866613"/>
                <a:ext cx="48384" cy="81457"/>
              </a:xfrm>
              <a:custGeom>
                <a:avLst/>
                <a:gdLst>
                  <a:gd name="connsiteX0" fmla="*/ 48384 w 48384"/>
                  <a:gd name="connsiteY0" fmla="*/ 1555 h 81457"/>
                  <a:gd name="connsiteX1" fmla="*/ 2632 w 48384"/>
                  <a:gd name="connsiteY1" fmla="*/ 81457 h 81457"/>
                  <a:gd name="connsiteX2" fmla="*/ 0 w 48384"/>
                  <a:gd name="connsiteY2" fmla="*/ 79902 h 81457"/>
                  <a:gd name="connsiteX3" fmla="*/ 45753 w 48384"/>
                  <a:gd name="connsiteY3" fmla="*/ 0 h 81457"/>
                </a:gdLst>
                <a:ahLst/>
                <a:cxnLst>
                  <a:cxn ang="0">
                    <a:pos x="connsiteX0" y="connsiteY0"/>
                  </a:cxn>
                  <a:cxn ang="0">
                    <a:pos x="connsiteX1" y="connsiteY1"/>
                  </a:cxn>
                  <a:cxn ang="0">
                    <a:pos x="connsiteX2" y="connsiteY2"/>
                  </a:cxn>
                  <a:cxn ang="0">
                    <a:pos x="connsiteX3" y="connsiteY3"/>
                  </a:cxn>
                </a:cxnLst>
                <a:rect l="l" t="t" r="r" b="b"/>
                <a:pathLst>
                  <a:path w="48384" h="81457">
                    <a:moveTo>
                      <a:pt x="48384" y="1555"/>
                    </a:moveTo>
                    <a:lnTo>
                      <a:pt x="2632" y="81457"/>
                    </a:lnTo>
                    <a:lnTo>
                      <a:pt x="0" y="79902"/>
                    </a:lnTo>
                    <a:lnTo>
                      <a:pt x="45753" y="0"/>
                    </a:lnTo>
                    <a:close/>
                  </a:path>
                </a:pathLst>
              </a:custGeom>
              <a:grpFill/>
              <a:ln w="5978" cap="flat">
                <a:noFill/>
                <a:prstDash val="solid"/>
                <a:miter/>
              </a:ln>
            </p:spPr>
            <p:txBody>
              <a:bodyPr rtlCol="0" anchor="ctr"/>
              <a:lstStyle/>
              <a:p>
                <a:endParaRPr lang="en-GB"/>
              </a:p>
            </p:txBody>
          </p:sp>
          <p:sp>
            <p:nvSpPr>
              <p:cNvPr id="2439" name="Vrije vorm: vorm 2438">
                <a:extLst>
                  <a:ext uri="{FF2B5EF4-FFF2-40B4-BE49-F238E27FC236}">
                    <a16:creationId xmlns:a16="http://schemas.microsoft.com/office/drawing/2014/main" id="{11BA522F-02CC-4628-AA18-E7383A503C1C}"/>
                  </a:ext>
                </a:extLst>
              </p:cNvPr>
              <p:cNvSpPr/>
              <p:nvPr/>
            </p:nvSpPr>
            <p:spPr>
              <a:xfrm>
                <a:off x="5169868" y="4937602"/>
                <a:ext cx="18315" cy="18485"/>
              </a:xfrm>
              <a:custGeom>
                <a:avLst/>
                <a:gdLst>
                  <a:gd name="connsiteX0" fmla="*/ 17112 w 18315"/>
                  <a:gd name="connsiteY0" fmla="*/ 13878 h 18485"/>
                  <a:gd name="connsiteX1" fmla="*/ 4612 w 18315"/>
                  <a:gd name="connsiteY1" fmla="*/ 17227 h 18485"/>
                  <a:gd name="connsiteX2" fmla="*/ 1203 w 18315"/>
                  <a:gd name="connsiteY2" fmla="*/ 4608 h 18485"/>
                  <a:gd name="connsiteX3" fmla="*/ 13703 w 18315"/>
                  <a:gd name="connsiteY3" fmla="*/ 1258 h 18485"/>
                  <a:gd name="connsiteX4" fmla="*/ 17112 w 18315"/>
                  <a:gd name="connsiteY4" fmla="*/ 13878 h 18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85">
                    <a:moveTo>
                      <a:pt x="17112" y="13878"/>
                    </a:moveTo>
                    <a:cubicBezTo>
                      <a:pt x="14600" y="18303"/>
                      <a:pt x="8978" y="19799"/>
                      <a:pt x="4612" y="17227"/>
                    </a:cubicBezTo>
                    <a:cubicBezTo>
                      <a:pt x="247" y="14655"/>
                      <a:pt x="-1308" y="9033"/>
                      <a:pt x="1203" y="4608"/>
                    </a:cubicBezTo>
                    <a:cubicBezTo>
                      <a:pt x="3716" y="182"/>
                      <a:pt x="9338" y="-1314"/>
                      <a:pt x="13703" y="1258"/>
                    </a:cubicBezTo>
                    <a:cubicBezTo>
                      <a:pt x="18069" y="3830"/>
                      <a:pt x="19624" y="9512"/>
                      <a:pt x="17112" y="13878"/>
                    </a:cubicBezTo>
                    <a:close/>
                  </a:path>
                </a:pathLst>
              </a:custGeom>
              <a:grpFill/>
              <a:ln w="5978" cap="flat">
                <a:noFill/>
                <a:prstDash val="solid"/>
                <a:miter/>
              </a:ln>
            </p:spPr>
            <p:txBody>
              <a:bodyPr rtlCol="0" anchor="ctr"/>
              <a:lstStyle/>
              <a:p>
                <a:endParaRPr lang="en-GB"/>
              </a:p>
            </p:txBody>
          </p:sp>
          <p:sp>
            <p:nvSpPr>
              <p:cNvPr id="2440" name="Vrije vorm: vorm 2439">
                <a:extLst>
                  <a:ext uri="{FF2B5EF4-FFF2-40B4-BE49-F238E27FC236}">
                    <a16:creationId xmlns:a16="http://schemas.microsoft.com/office/drawing/2014/main" id="{3F7C1778-0E29-4FF8-800B-D2D382864AE6}"/>
                  </a:ext>
                </a:extLst>
              </p:cNvPr>
              <p:cNvSpPr/>
              <p:nvPr/>
            </p:nvSpPr>
            <p:spPr>
              <a:xfrm>
                <a:off x="5215129" y="4858537"/>
                <a:ext cx="18341" cy="18454"/>
              </a:xfrm>
              <a:custGeom>
                <a:avLst/>
                <a:gdLst>
                  <a:gd name="connsiteX0" fmla="*/ 17125 w 18341"/>
                  <a:gd name="connsiteY0" fmla="*/ 13877 h 18454"/>
                  <a:gd name="connsiteX1" fmla="*/ 13716 w 18341"/>
                  <a:gd name="connsiteY1" fmla="*/ 1258 h 18454"/>
                  <a:gd name="connsiteX2" fmla="*/ 1216 w 18341"/>
                  <a:gd name="connsiteY2" fmla="*/ 4607 h 18454"/>
                  <a:gd name="connsiteX3" fmla="*/ 4625 w 18341"/>
                  <a:gd name="connsiteY3" fmla="*/ 17167 h 18454"/>
                  <a:gd name="connsiteX4" fmla="*/ 17125 w 18341"/>
                  <a:gd name="connsiteY4" fmla="*/ 1387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4">
                    <a:moveTo>
                      <a:pt x="17125" y="13877"/>
                    </a:moveTo>
                    <a:cubicBezTo>
                      <a:pt x="19637" y="9452"/>
                      <a:pt x="18142" y="3830"/>
                      <a:pt x="13716" y="1258"/>
                    </a:cubicBezTo>
                    <a:cubicBezTo>
                      <a:pt x="9350" y="-1313"/>
                      <a:pt x="3728" y="182"/>
                      <a:pt x="1216" y="4607"/>
                    </a:cubicBezTo>
                    <a:cubicBezTo>
                      <a:pt x="-1295" y="9033"/>
                      <a:pt x="200" y="14655"/>
                      <a:pt x="4625" y="17167"/>
                    </a:cubicBezTo>
                    <a:cubicBezTo>
                      <a:pt x="8991" y="19799"/>
                      <a:pt x="14613" y="18244"/>
                      <a:pt x="17125" y="13877"/>
                    </a:cubicBezTo>
                    <a:close/>
                  </a:path>
                </a:pathLst>
              </a:custGeom>
              <a:grpFill/>
              <a:ln w="5978" cap="flat">
                <a:noFill/>
                <a:prstDash val="solid"/>
                <a:miter/>
              </a:ln>
            </p:spPr>
            <p:txBody>
              <a:bodyPr rtlCol="0" anchor="ctr"/>
              <a:lstStyle/>
              <a:p>
                <a:endParaRPr lang="en-GB"/>
              </a:p>
            </p:txBody>
          </p:sp>
        </p:grpSp>
        <p:grpSp>
          <p:nvGrpSpPr>
            <p:cNvPr id="988" name="Graphic 3">
              <a:extLst>
                <a:ext uri="{FF2B5EF4-FFF2-40B4-BE49-F238E27FC236}">
                  <a16:creationId xmlns:a16="http://schemas.microsoft.com/office/drawing/2014/main" id="{969B2324-B3E8-4FDC-9F21-BED7DBEE8E97}"/>
                </a:ext>
              </a:extLst>
            </p:cNvPr>
            <p:cNvGrpSpPr/>
            <p:nvPr/>
          </p:nvGrpSpPr>
          <p:grpSpPr>
            <a:xfrm>
              <a:off x="5296038" y="5199855"/>
              <a:ext cx="32501" cy="52877"/>
              <a:chOff x="5296038" y="5199855"/>
              <a:chExt cx="32501" cy="52877"/>
            </a:xfrm>
            <a:grpFill/>
          </p:grpSpPr>
          <p:sp>
            <p:nvSpPr>
              <p:cNvPr id="2435" name="Vrije vorm: vorm 2434">
                <a:extLst>
                  <a:ext uri="{FF2B5EF4-FFF2-40B4-BE49-F238E27FC236}">
                    <a16:creationId xmlns:a16="http://schemas.microsoft.com/office/drawing/2014/main" id="{1B860BED-9355-4472-BAA2-2E7B4295844B}"/>
                  </a:ext>
                </a:extLst>
              </p:cNvPr>
              <p:cNvSpPr/>
              <p:nvPr/>
            </p:nvSpPr>
            <p:spPr>
              <a:xfrm>
                <a:off x="5303664" y="5208112"/>
                <a:ext cx="17284" cy="36422"/>
              </a:xfrm>
              <a:custGeom>
                <a:avLst/>
                <a:gdLst>
                  <a:gd name="connsiteX0" fmla="*/ 17284 w 17284"/>
                  <a:gd name="connsiteY0" fmla="*/ 1136 h 36422"/>
                  <a:gd name="connsiteX1" fmla="*/ 2811 w 17284"/>
                  <a:gd name="connsiteY1" fmla="*/ 36423 h 36422"/>
                  <a:gd name="connsiteX2" fmla="*/ 0 w 17284"/>
                  <a:gd name="connsiteY2" fmla="*/ 35227 h 36422"/>
                  <a:gd name="connsiteX3" fmla="*/ 14473 w 17284"/>
                  <a:gd name="connsiteY3" fmla="*/ 0 h 36422"/>
                </a:gdLst>
                <a:ahLst/>
                <a:cxnLst>
                  <a:cxn ang="0">
                    <a:pos x="connsiteX0" y="connsiteY0"/>
                  </a:cxn>
                  <a:cxn ang="0">
                    <a:pos x="connsiteX1" y="connsiteY1"/>
                  </a:cxn>
                  <a:cxn ang="0">
                    <a:pos x="connsiteX2" y="connsiteY2"/>
                  </a:cxn>
                  <a:cxn ang="0">
                    <a:pos x="connsiteX3" y="connsiteY3"/>
                  </a:cxn>
                </a:cxnLst>
                <a:rect l="l" t="t" r="r" b="b"/>
                <a:pathLst>
                  <a:path w="17284" h="36422">
                    <a:moveTo>
                      <a:pt x="17284" y="1136"/>
                    </a:moveTo>
                    <a:lnTo>
                      <a:pt x="2811" y="36423"/>
                    </a:lnTo>
                    <a:lnTo>
                      <a:pt x="0" y="35227"/>
                    </a:lnTo>
                    <a:lnTo>
                      <a:pt x="14473" y="0"/>
                    </a:lnTo>
                    <a:close/>
                  </a:path>
                </a:pathLst>
              </a:custGeom>
              <a:grpFill/>
              <a:ln w="5978" cap="flat">
                <a:noFill/>
                <a:prstDash val="solid"/>
                <a:miter/>
              </a:ln>
            </p:spPr>
            <p:txBody>
              <a:bodyPr rtlCol="0" anchor="ctr"/>
              <a:lstStyle/>
              <a:p>
                <a:endParaRPr lang="en-GB"/>
              </a:p>
            </p:txBody>
          </p:sp>
          <p:sp>
            <p:nvSpPr>
              <p:cNvPr id="2436" name="Vrije vorm: vorm 2435">
                <a:extLst>
                  <a:ext uri="{FF2B5EF4-FFF2-40B4-BE49-F238E27FC236}">
                    <a16:creationId xmlns:a16="http://schemas.microsoft.com/office/drawing/2014/main" id="{21425E3B-2906-4791-B523-410682DEBB47}"/>
                  </a:ext>
                </a:extLst>
              </p:cNvPr>
              <p:cNvSpPr/>
              <p:nvPr/>
            </p:nvSpPr>
            <p:spPr>
              <a:xfrm>
                <a:off x="5310187" y="5199855"/>
                <a:ext cx="18352" cy="18428"/>
              </a:xfrm>
              <a:custGeom>
                <a:avLst/>
                <a:gdLst>
                  <a:gd name="connsiteX0" fmla="*/ 713 w 18352"/>
                  <a:gd name="connsiteY0" fmla="*/ 5685 h 18428"/>
                  <a:gd name="connsiteX1" fmla="*/ 12675 w 18352"/>
                  <a:gd name="connsiteY1" fmla="*/ 721 h 18428"/>
                  <a:gd name="connsiteX2" fmla="*/ 17639 w 18352"/>
                  <a:gd name="connsiteY2" fmla="*/ 12743 h 18428"/>
                  <a:gd name="connsiteX3" fmla="*/ 5677 w 18352"/>
                  <a:gd name="connsiteY3" fmla="*/ 17707 h 18428"/>
                  <a:gd name="connsiteX4" fmla="*/ 713 w 18352"/>
                  <a:gd name="connsiteY4" fmla="*/ 568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28">
                    <a:moveTo>
                      <a:pt x="713" y="5685"/>
                    </a:moveTo>
                    <a:cubicBezTo>
                      <a:pt x="2627" y="961"/>
                      <a:pt x="8010" y="-1252"/>
                      <a:pt x="12675" y="721"/>
                    </a:cubicBezTo>
                    <a:cubicBezTo>
                      <a:pt x="17340" y="2695"/>
                      <a:pt x="19613" y="8078"/>
                      <a:pt x="17639" y="12743"/>
                    </a:cubicBezTo>
                    <a:cubicBezTo>
                      <a:pt x="15725" y="17468"/>
                      <a:pt x="10342" y="19680"/>
                      <a:pt x="5677" y="17707"/>
                    </a:cubicBezTo>
                    <a:cubicBezTo>
                      <a:pt x="1012" y="15793"/>
                      <a:pt x="-1260" y="10410"/>
                      <a:pt x="713" y="5685"/>
                    </a:cubicBezTo>
                    <a:close/>
                  </a:path>
                </a:pathLst>
              </a:custGeom>
              <a:grpFill/>
              <a:ln w="5978" cap="flat">
                <a:noFill/>
                <a:prstDash val="solid"/>
                <a:miter/>
              </a:ln>
            </p:spPr>
            <p:txBody>
              <a:bodyPr rtlCol="0" anchor="ctr"/>
              <a:lstStyle/>
              <a:p>
                <a:endParaRPr lang="en-GB"/>
              </a:p>
            </p:txBody>
          </p:sp>
          <p:sp>
            <p:nvSpPr>
              <p:cNvPr id="2437" name="Vrije vorm: vorm 2436">
                <a:extLst>
                  <a:ext uri="{FF2B5EF4-FFF2-40B4-BE49-F238E27FC236}">
                    <a16:creationId xmlns:a16="http://schemas.microsoft.com/office/drawing/2014/main" id="{DB945862-AE05-40D7-A6DC-84B8A969B549}"/>
                  </a:ext>
                </a:extLst>
              </p:cNvPr>
              <p:cNvSpPr/>
              <p:nvPr/>
            </p:nvSpPr>
            <p:spPr>
              <a:xfrm>
                <a:off x="5296038" y="5234304"/>
                <a:ext cx="18301" cy="18428"/>
              </a:xfrm>
              <a:custGeom>
                <a:avLst/>
                <a:gdLst>
                  <a:gd name="connsiteX0" fmla="*/ 688 w 18301"/>
                  <a:gd name="connsiteY0" fmla="*/ 5685 h 18428"/>
                  <a:gd name="connsiteX1" fmla="*/ 5652 w 18301"/>
                  <a:gd name="connsiteY1" fmla="*/ 17707 h 18428"/>
                  <a:gd name="connsiteX2" fmla="*/ 17614 w 18301"/>
                  <a:gd name="connsiteY2" fmla="*/ 12743 h 18428"/>
                  <a:gd name="connsiteX3" fmla="*/ 12650 w 18301"/>
                  <a:gd name="connsiteY3" fmla="*/ 721 h 18428"/>
                  <a:gd name="connsiteX4" fmla="*/ 688 w 18301"/>
                  <a:gd name="connsiteY4" fmla="*/ 568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8">
                    <a:moveTo>
                      <a:pt x="688" y="5685"/>
                    </a:moveTo>
                    <a:cubicBezTo>
                      <a:pt x="-1226" y="10410"/>
                      <a:pt x="987" y="15793"/>
                      <a:pt x="5652" y="17707"/>
                    </a:cubicBezTo>
                    <a:cubicBezTo>
                      <a:pt x="10317" y="19680"/>
                      <a:pt x="15700" y="17467"/>
                      <a:pt x="17614" y="12743"/>
                    </a:cubicBezTo>
                    <a:cubicBezTo>
                      <a:pt x="19528" y="8018"/>
                      <a:pt x="17315" y="2635"/>
                      <a:pt x="12650" y="721"/>
                    </a:cubicBezTo>
                    <a:cubicBezTo>
                      <a:pt x="7985" y="-1252"/>
                      <a:pt x="2662" y="961"/>
                      <a:pt x="688" y="5685"/>
                    </a:cubicBezTo>
                    <a:close/>
                  </a:path>
                </a:pathLst>
              </a:custGeom>
              <a:grpFill/>
              <a:ln w="5978" cap="flat">
                <a:noFill/>
                <a:prstDash val="solid"/>
                <a:miter/>
              </a:ln>
            </p:spPr>
            <p:txBody>
              <a:bodyPr rtlCol="0" anchor="ctr"/>
              <a:lstStyle/>
              <a:p>
                <a:endParaRPr lang="en-GB"/>
              </a:p>
            </p:txBody>
          </p:sp>
        </p:grpSp>
        <p:grpSp>
          <p:nvGrpSpPr>
            <p:cNvPr id="989" name="Graphic 3">
              <a:extLst>
                <a:ext uri="{FF2B5EF4-FFF2-40B4-BE49-F238E27FC236}">
                  <a16:creationId xmlns:a16="http://schemas.microsoft.com/office/drawing/2014/main" id="{4473A484-5B9E-48E4-9194-5F1725A75264}"/>
                </a:ext>
              </a:extLst>
            </p:cNvPr>
            <p:cNvGrpSpPr/>
            <p:nvPr/>
          </p:nvGrpSpPr>
          <p:grpSpPr>
            <a:xfrm>
              <a:off x="5157958" y="4960902"/>
              <a:ext cx="233756" cy="419269"/>
              <a:chOff x="5157958" y="4960902"/>
              <a:chExt cx="233756" cy="419269"/>
            </a:xfrm>
            <a:grpFill/>
          </p:grpSpPr>
          <p:sp>
            <p:nvSpPr>
              <p:cNvPr id="2432" name="Vrije vorm: vorm 2431">
                <a:extLst>
                  <a:ext uri="{FF2B5EF4-FFF2-40B4-BE49-F238E27FC236}">
                    <a16:creationId xmlns:a16="http://schemas.microsoft.com/office/drawing/2014/main" id="{8EA9ABE5-9F12-4885-90BD-84215C534E8B}"/>
                  </a:ext>
                </a:extLst>
              </p:cNvPr>
              <p:cNvSpPr/>
              <p:nvPr/>
            </p:nvSpPr>
            <p:spPr>
              <a:xfrm>
                <a:off x="5165569" y="4968943"/>
                <a:ext cx="218535" cy="403160"/>
              </a:xfrm>
              <a:custGeom>
                <a:avLst/>
                <a:gdLst>
                  <a:gd name="connsiteX0" fmla="*/ 218535 w 218535"/>
                  <a:gd name="connsiteY0" fmla="*/ 1495 h 403160"/>
                  <a:gd name="connsiteX1" fmla="*/ 2691 w 218535"/>
                  <a:gd name="connsiteY1" fmla="*/ 403161 h 403160"/>
                  <a:gd name="connsiteX2" fmla="*/ 0 w 218535"/>
                  <a:gd name="connsiteY2" fmla="*/ 401725 h 403160"/>
                  <a:gd name="connsiteX3" fmla="*/ 215844 w 218535"/>
                  <a:gd name="connsiteY3" fmla="*/ 0 h 403160"/>
                </a:gdLst>
                <a:ahLst/>
                <a:cxnLst>
                  <a:cxn ang="0">
                    <a:pos x="connsiteX0" y="connsiteY0"/>
                  </a:cxn>
                  <a:cxn ang="0">
                    <a:pos x="connsiteX1" y="connsiteY1"/>
                  </a:cxn>
                  <a:cxn ang="0">
                    <a:pos x="connsiteX2" y="connsiteY2"/>
                  </a:cxn>
                  <a:cxn ang="0">
                    <a:pos x="connsiteX3" y="connsiteY3"/>
                  </a:cxn>
                </a:cxnLst>
                <a:rect l="l" t="t" r="r" b="b"/>
                <a:pathLst>
                  <a:path w="218535" h="403160">
                    <a:moveTo>
                      <a:pt x="218535" y="1495"/>
                    </a:moveTo>
                    <a:lnTo>
                      <a:pt x="2691" y="403161"/>
                    </a:lnTo>
                    <a:lnTo>
                      <a:pt x="0" y="401725"/>
                    </a:lnTo>
                    <a:lnTo>
                      <a:pt x="215844" y="0"/>
                    </a:lnTo>
                    <a:close/>
                  </a:path>
                </a:pathLst>
              </a:custGeom>
              <a:grpFill/>
              <a:ln w="5978" cap="flat">
                <a:noFill/>
                <a:prstDash val="solid"/>
                <a:miter/>
              </a:ln>
            </p:spPr>
            <p:txBody>
              <a:bodyPr rtlCol="0" anchor="ctr"/>
              <a:lstStyle/>
              <a:p>
                <a:endParaRPr lang="en-GB"/>
              </a:p>
            </p:txBody>
          </p:sp>
          <p:sp>
            <p:nvSpPr>
              <p:cNvPr id="2433" name="Vrije vorm: vorm 2432">
                <a:extLst>
                  <a:ext uri="{FF2B5EF4-FFF2-40B4-BE49-F238E27FC236}">
                    <a16:creationId xmlns:a16="http://schemas.microsoft.com/office/drawing/2014/main" id="{DAD9A9CF-EF83-4E2E-B074-2F1477B047C9}"/>
                  </a:ext>
                </a:extLst>
              </p:cNvPr>
              <p:cNvSpPr/>
              <p:nvPr/>
            </p:nvSpPr>
            <p:spPr>
              <a:xfrm>
                <a:off x="5373384" y="4960902"/>
                <a:ext cx="18331" cy="18414"/>
              </a:xfrm>
              <a:custGeom>
                <a:avLst/>
                <a:gdLst>
                  <a:gd name="connsiteX0" fmla="*/ 1091 w 18331"/>
                  <a:gd name="connsiteY0" fmla="*/ 4812 h 18414"/>
                  <a:gd name="connsiteX1" fmla="*/ 13531 w 18331"/>
                  <a:gd name="connsiteY1" fmla="*/ 1104 h 18414"/>
                  <a:gd name="connsiteX2" fmla="*/ 17239 w 18331"/>
                  <a:gd name="connsiteY2" fmla="*/ 13603 h 18414"/>
                  <a:gd name="connsiteX3" fmla="*/ 4799 w 18331"/>
                  <a:gd name="connsiteY3" fmla="*/ 17311 h 18414"/>
                  <a:gd name="connsiteX4" fmla="*/ 1091 w 18331"/>
                  <a:gd name="connsiteY4" fmla="*/ 481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14">
                    <a:moveTo>
                      <a:pt x="1091" y="4812"/>
                    </a:moveTo>
                    <a:cubicBezTo>
                      <a:pt x="3484" y="326"/>
                      <a:pt x="9046" y="-1289"/>
                      <a:pt x="13531" y="1104"/>
                    </a:cubicBezTo>
                    <a:cubicBezTo>
                      <a:pt x="17957" y="3556"/>
                      <a:pt x="19632" y="9118"/>
                      <a:pt x="17239" y="13603"/>
                    </a:cubicBezTo>
                    <a:cubicBezTo>
                      <a:pt x="14847" y="18089"/>
                      <a:pt x="9285" y="19704"/>
                      <a:pt x="4799" y="17311"/>
                    </a:cubicBezTo>
                    <a:cubicBezTo>
                      <a:pt x="374" y="14859"/>
                      <a:pt x="-1301" y="9237"/>
                      <a:pt x="1091" y="4812"/>
                    </a:cubicBezTo>
                    <a:close/>
                  </a:path>
                </a:pathLst>
              </a:custGeom>
              <a:grpFill/>
              <a:ln w="5978" cap="flat">
                <a:noFill/>
                <a:prstDash val="solid"/>
                <a:miter/>
              </a:ln>
            </p:spPr>
            <p:txBody>
              <a:bodyPr rtlCol="0" anchor="ctr"/>
              <a:lstStyle/>
              <a:p>
                <a:endParaRPr lang="en-GB"/>
              </a:p>
            </p:txBody>
          </p:sp>
          <p:sp>
            <p:nvSpPr>
              <p:cNvPr id="2434" name="Vrije vorm: vorm 2433">
                <a:extLst>
                  <a:ext uri="{FF2B5EF4-FFF2-40B4-BE49-F238E27FC236}">
                    <a16:creationId xmlns:a16="http://schemas.microsoft.com/office/drawing/2014/main" id="{37129067-81B7-4907-B506-781A2F62AF52}"/>
                  </a:ext>
                </a:extLst>
              </p:cNvPr>
              <p:cNvSpPr/>
              <p:nvPr/>
            </p:nvSpPr>
            <p:spPr>
              <a:xfrm>
                <a:off x="5157958" y="5361742"/>
                <a:ext cx="18331" cy="18429"/>
              </a:xfrm>
              <a:custGeom>
                <a:avLst/>
                <a:gdLst>
                  <a:gd name="connsiteX0" fmla="*/ 1091 w 18331"/>
                  <a:gd name="connsiteY0" fmla="*/ 4799 h 18429"/>
                  <a:gd name="connsiteX1" fmla="*/ 4800 w 18331"/>
                  <a:gd name="connsiteY1" fmla="*/ 17299 h 18429"/>
                  <a:gd name="connsiteX2" fmla="*/ 17239 w 18331"/>
                  <a:gd name="connsiteY2" fmla="*/ 13591 h 18429"/>
                  <a:gd name="connsiteX3" fmla="*/ 13531 w 18331"/>
                  <a:gd name="connsiteY3" fmla="*/ 1091 h 18429"/>
                  <a:gd name="connsiteX4" fmla="*/ 1091 w 18331"/>
                  <a:gd name="connsiteY4" fmla="*/ 47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29">
                    <a:moveTo>
                      <a:pt x="1091" y="4799"/>
                    </a:moveTo>
                    <a:cubicBezTo>
                      <a:pt x="-1301" y="9285"/>
                      <a:pt x="374" y="14847"/>
                      <a:pt x="4800" y="17299"/>
                    </a:cubicBezTo>
                    <a:cubicBezTo>
                      <a:pt x="9225" y="19751"/>
                      <a:pt x="14788" y="18077"/>
                      <a:pt x="17239" y="13591"/>
                    </a:cubicBezTo>
                    <a:cubicBezTo>
                      <a:pt x="19632" y="9106"/>
                      <a:pt x="17957" y="3544"/>
                      <a:pt x="13531" y="1091"/>
                    </a:cubicBezTo>
                    <a:cubicBezTo>
                      <a:pt x="9046" y="-1301"/>
                      <a:pt x="3484" y="374"/>
                      <a:pt x="1091" y="4799"/>
                    </a:cubicBezTo>
                    <a:close/>
                  </a:path>
                </a:pathLst>
              </a:custGeom>
              <a:grpFill/>
              <a:ln w="5978" cap="flat">
                <a:noFill/>
                <a:prstDash val="solid"/>
                <a:miter/>
              </a:ln>
            </p:spPr>
            <p:txBody>
              <a:bodyPr rtlCol="0" anchor="ctr"/>
              <a:lstStyle/>
              <a:p>
                <a:endParaRPr lang="en-GB"/>
              </a:p>
            </p:txBody>
          </p:sp>
        </p:grpSp>
        <p:grpSp>
          <p:nvGrpSpPr>
            <p:cNvPr id="990" name="Graphic 3">
              <a:extLst>
                <a:ext uri="{FF2B5EF4-FFF2-40B4-BE49-F238E27FC236}">
                  <a16:creationId xmlns:a16="http://schemas.microsoft.com/office/drawing/2014/main" id="{DD791259-1D6B-4AEB-867D-3703273B310E}"/>
                </a:ext>
              </a:extLst>
            </p:cNvPr>
            <p:cNvGrpSpPr/>
            <p:nvPr/>
          </p:nvGrpSpPr>
          <p:grpSpPr>
            <a:xfrm>
              <a:off x="5264511" y="5163876"/>
              <a:ext cx="116761" cy="271542"/>
              <a:chOff x="5264511" y="5163876"/>
              <a:chExt cx="116761" cy="271542"/>
            </a:xfrm>
            <a:grpFill/>
          </p:grpSpPr>
          <p:sp>
            <p:nvSpPr>
              <p:cNvPr id="2429" name="Vrije vorm: vorm 2428">
                <a:extLst>
                  <a:ext uri="{FF2B5EF4-FFF2-40B4-BE49-F238E27FC236}">
                    <a16:creationId xmlns:a16="http://schemas.microsoft.com/office/drawing/2014/main" id="{D4817786-7D78-45A2-AF21-CC4012FE8CEB}"/>
                  </a:ext>
                </a:extLst>
              </p:cNvPr>
              <p:cNvSpPr/>
              <p:nvPr/>
            </p:nvSpPr>
            <p:spPr>
              <a:xfrm>
                <a:off x="5272026" y="5172048"/>
                <a:ext cx="101612" cy="255137"/>
              </a:xfrm>
              <a:custGeom>
                <a:avLst/>
                <a:gdLst>
                  <a:gd name="connsiteX0" fmla="*/ 101612 w 101612"/>
                  <a:gd name="connsiteY0" fmla="*/ 1136 h 255137"/>
                  <a:gd name="connsiteX1" fmla="*/ 2871 w 101612"/>
                  <a:gd name="connsiteY1" fmla="*/ 255137 h 255137"/>
                  <a:gd name="connsiteX2" fmla="*/ 0 w 101612"/>
                  <a:gd name="connsiteY2" fmla="*/ 254001 h 255137"/>
                  <a:gd name="connsiteX3" fmla="*/ 98802 w 101612"/>
                  <a:gd name="connsiteY3" fmla="*/ 0 h 255137"/>
                </a:gdLst>
                <a:ahLst/>
                <a:cxnLst>
                  <a:cxn ang="0">
                    <a:pos x="connsiteX0" y="connsiteY0"/>
                  </a:cxn>
                  <a:cxn ang="0">
                    <a:pos x="connsiteX1" y="connsiteY1"/>
                  </a:cxn>
                  <a:cxn ang="0">
                    <a:pos x="connsiteX2" y="connsiteY2"/>
                  </a:cxn>
                  <a:cxn ang="0">
                    <a:pos x="connsiteX3" y="connsiteY3"/>
                  </a:cxn>
                </a:cxnLst>
                <a:rect l="l" t="t" r="r" b="b"/>
                <a:pathLst>
                  <a:path w="101612" h="255137">
                    <a:moveTo>
                      <a:pt x="101612" y="1136"/>
                    </a:moveTo>
                    <a:lnTo>
                      <a:pt x="2871" y="255137"/>
                    </a:lnTo>
                    <a:lnTo>
                      <a:pt x="0" y="254001"/>
                    </a:lnTo>
                    <a:lnTo>
                      <a:pt x="98802" y="0"/>
                    </a:lnTo>
                    <a:close/>
                  </a:path>
                </a:pathLst>
              </a:custGeom>
              <a:grpFill/>
              <a:ln w="5978" cap="flat">
                <a:noFill/>
                <a:prstDash val="solid"/>
                <a:miter/>
              </a:ln>
            </p:spPr>
            <p:txBody>
              <a:bodyPr rtlCol="0" anchor="ctr"/>
              <a:lstStyle/>
              <a:p>
                <a:endParaRPr lang="en-GB"/>
              </a:p>
            </p:txBody>
          </p:sp>
          <p:sp>
            <p:nvSpPr>
              <p:cNvPr id="2430" name="Vrije vorm: vorm 2429">
                <a:extLst>
                  <a:ext uri="{FF2B5EF4-FFF2-40B4-BE49-F238E27FC236}">
                    <a16:creationId xmlns:a16="http://schemas.microsoft.com/office/drawing/2014/main" id="{AE1C15CF-8383-457F-8B3F-20A26CE1A612}"/>
                  </a:ext>
                </a:extLst>
              </p:cNvPr>
              <p:cNvSpPr/>
              <p:nvPr/>
            </p:nvSpPr>
            <p:spPr>
              <a:xfrm>
                <a:off x="5264511" y="5416980"/>
                <a:ext cx="18286" cy="18438"/>
              </a:xfrm>
              <a:custGeom>
                <a:avLst/>
                <a:gdLst>
                  <a:gd name="connsiteX0" fmla="*/ 17682 w 18286"/>
                  <a:gd name="connsiteY0" fmla="*/ 12598 h 18438"/>
                  <a:gd name="connsiteX1" fmla="*/ 5840 w 18286"/>
                  <a:gd name="connsiteY1" fmla="*/ 17801 h 18438"/>
                  <a:gd name="connsiteX2" fmla="*/ 637 w 18286"/>
                  <a:gd name="connsiteY2" fmla="*/ 5840 h 18438"/>
                  <a:gd name="connsiteX3" fmla="*/ 12479 w 18286"/>
                  <a:gd name="connsiteY3" fmla="*/ 637 h 18438"/>
                  <a:gd name="connsiteX4" fmla="*/ 17682 w 18286"/>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438">
                    <a:moveTo>
                      <a:pt x="17682" y="12598"/>
                    </a:moveTo>
                    <a:cubicBezTo>
                      <a:pt x="15828" y="17323"/>
                      <a:pt x="10505" y="19655"/>
                      <a:pt x="5840" y="17801"/>
                    </a:cubicBezTo>
                    <a:cubicBezTo>
                      <a:pt x="1115" y="15947"/>
                      <a:pt x="-1217" y="10565"/>
                      <a:pt x="637" y="5840"/>
                    </a:cubicBezTo>
                    <a:cubicBezTo>
                      <a:pt x="2491" y="1115"/>
                      <a:pt x="7813" y="-1217"/>
                      <a:pt x="12479" y="637"/>
                    </a:cubicBezTo>
                    <a:cubicBezTo>
                      <a:pt x="17143" y="2491"/>
                      <a:pt x="19476" y="7873"/>
                      <a:pt x="17682" y="12598"/>
                    </a:cubicBezTo>
                    <a:close/>
                  </a:path>
                </a:pathLst>
              </a:custGeom>
              <a:grpFill/>
              <a:ln w="5978" cap="flat">
                <a:noFill/>
                <a:prstDash val="solid"/>
                <a:miter/>
              </a:ln>
            </p:spPr>
            <p:txBody>
              <a:bodyPr rtlCol="0" anchor="ctr"/>
              <a:lstStyle/>
              <a:p>
                <a:endParaRPr lang="en-GB"/>
              </a:p>
            </p:txBody>
          </p:sp>
          <p:sp>
            <p:nvSpPr>
              <p:cNvPr id="2431" name="Vrije vorm: vorm 2430">
                <a:extLst>
                  <a:ext uri="{FF2B5EF4-FFF2-40B4-BE49-F238E27FC236}">
                    <a16:creationId xmlns:a16="http://schemas.microsoft.com/office/drawing/2014/main" id="{83E456D4-D94E-4559-82D7-5C8FD6B6F816}"/>
                  </a:ext>
                </a:extLst>
              </p:cNvPr>
              <p:cNvSpPr/>
              <p:nvPr/>
            </p:nvSpPr>
            <p:spPr>
              <a:xfrm>
                <a:off x="5362954" y="5163876"/>
                <a:ext cx="18318" cy="18413"/>
              </a:xfrm>
              <a:custGeom>
                <a:avLst/>
                <a:gdLst>
                  <a:gd name="connsiteX0" fmla="*/ 17682 w 18318"/>
                  <a:gd name="connsiteY0" fmla="*/ 12598 h 18413"/>
                  <a:gd name="connsiteX1" fmla="*/ 12479 w 18318"/>
                  <a:gd name="connsiteY1" fmla="*/ 637 h 18413"/>
                  <a:gd name="connsiteX2" fmla="*/ 637 w 18318"/>
                  <a:gd name="connsiteY2" fmla="*/ 5840 h 18413"/>
                  <a:gd name="connsiteX3" fmla="*/ 5840 w 18318"/>
                  <a:gd name="connsiteY3" fmla="*/ 17801 h 18413"/>
                  <a:gd name="connsiteX4" fmla="*/ 17682 w 18318"/>
                  <a:gd name="connsiteY4" fmla="*/ 1259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7682" y="12598"/>
                    </a:moveTo>
                    <a:cubicBezTo>
                      <a:pt x="19536" y="7874"/>
                      <a:pt x="17204" y="2491"/>
                      <a:pt x="12479" y="637"/>
                    </a:cubicBezTo>
                    <a:cubicBezTo>
                      <a:pt x="7754" y="-1217"/>
                      <a:pt x="2431" y="1115"/>
                      <a:pt x="637" y="5840"/>
                    </a:cubicBezTo>
                    <a:cubicBezTo>
                      <a:pt x="-1217" y="10565"/>
                      <a:pt x="1115" y="15947"/>
                      <a:pt x="5840" y="17801"/>
                    </a:cubicBezTo>
                    <a:cubicBezTo>
                      <a:pt x="10505" y="19596"/>
                      <a:pt x="15828" y="17323"/>
                      <a:pt x="17682" y="12598"/>
                    </a:cubicBezTo>
                    <a:close/>
                  </a:path>
                </a:pathLst>
              </a:custGeom>
              <a:grpFill/>
              <a:ln w="5978" cap="flat">
                <a:noFill/>
                <a:prstDash val="solid"/>
                <a:miter/>
              </a:ln>
            </p:spPr>
            <p:txBody>
              <a:bodyPr rtlCol="0" anchor="ctr"/>
              <a:lstStyle/>
              <a:p>
                <a:endParaRPr lang="en-GB"/>
              </a:p>
            </p:txBody>
          </p:sp>
        </p:grpSp>
        <p:grpSp>
          <p:nvGrpSpPr>
            <p:cNvPr id="991" name="Graphic 3">
              <a:extLst>
                <a:ext uri="{FF2B5EF4-FFF2-40B4-BE49-F238E27FC236}">
                  <a16:creationId xmlns:a16="http://schemas.microsoft.com/office/drawing/2014/main" id="{203C0FD7-A78F-436C-8B4F-3D2085AC6499}"/>
                </a:ext>
              </a:extLst>
            </p:cNvPr>
            <p:cNvGrpSpPr/>
            <p:nvPr/>
          </p:nvGrpSpPr>
          <p:grpSpPr>
            <a:xfrm>
              <a:off x="4021961" y="2141563"/>
              <a:ext cx="602660" cy="419894"/>
              <a:chOff x="4021961" y="2141563"/>
              <a:chExt cx="602660" cy="419894"/>
            </a:xfrm>
            <a:grpFill/>
          </p:grpSpPr>
          <p:sp>
            <p:nvSpPr>
              <p:cNvPr id="2426" name="Vrije vorm: vorm 2425">
                <a:extLst>
                  <a:ext uri="{FF2B5EF4-FFF2-40B4-BE49-F238E27FC236}">
                    <a16:creationId xmlns:a16="http://schemas.microsoft.com/office/drawing/2014/main" id="{35DEE8F9-6FC9-41D0-96AD-074B3B675964}"/>
                  </a:ext>
                </a:extLst>
              </p:cNvPr>
              <p:cNvSpPr/>
              <p:nvPr/>
            </p:nvSpPr>
            <p:spPr>
              <a:xfrm>
                <a:off x="4029890" y="2149272"/>
                <a:ext cx="586768" cy="404476"/>
              </a:xfrm>
              <a:custGeom>
                <a:avLst/>
                <a:gdLst>
                  <a:gd name="connsiteX0" fmla="*/ 586769 w 586768"/>
                  <a:gd name="connsiteY0" fmla="*/ 401964 h 404476"/>
                  <a:gd name="connsiteX1" fmla="*/ 585094 w 586768"/>
                  <a:gd name="connsiteY1" fmla="*/ 404476 h 404476"/>
                  <a:gd name="connsiteX2" fmla="*/ 0 w 586768"/>
                  <a:gd name="connsiteY2" fmla="*/ 2512 h 404476"/>
                  <a:gd name="connsiteX3" fmla="*/ 1735 w 586768"/>
                  <a:gd name="connsiteY3" fmla="*/ 0 h 404476"/>
                </a:gdLst>
                <a:ahLst/>
                <a:cxnLst>
                  <a:cxn ang="0">
                    <a:pos x="connsiteX0" y="connsiteY0"/>
                  </a:cxn>
                  <a:cxn ang="0">
                    <a:pos x="connsiteX1" y="connsiteY1"/>
                  </a:cxn>
                  <a:cxn ang="0">
                    <a:pos x="connsiteX2" y="connsiteY2"/>
                  </a:cxn>
                  <a:cxn ang="0">
                    <a:pos x="connsiteX3" y="connsiteY3"/>
                  </a:cxn>
                </a:cxnLst>
                <a:rect l="l" t="t" r="r" b="b"/>
                <a:pathLst>
                  <a:path w="586768" h="404476">
                    <a:moveTo>
                      <a:pt x="586769" y="401964"/>
                    </a:moveTo>
                    <a:lnTo>
                      <a:pt x="585094" y="404476"/>
                    </a:lnTo>
                    <a:lnTo>
                      <a:pt x="0" y="2512"/>
                    </a:lnTo>
                    <a:lnTo>
                      <a:pt x="1735" y="0"/>
                    </a:lnTo>
                    <a:close/>
                  </a:path>
                </a:pathLst>
              </a:custGeom>
              <a:grpFill/>
              <a:ln w="5978" cap="flat">
                <a:noFill/>
                <a:prstDash val="solid"/>
                <a:miter/>
              </a:ln>
            </p:spPr>
            <p:txBody>
              <a:bodyPr rtlCol="0" anchor="ctr"/>
              <a:lstStyle/>
              <a:p>
                <a:endParaRPr lang="en-GB"/>
              </a:p>
            </p:txBody>
          </p:sp>
          <p:sp>
            <p:nvSpPr>
              <p:cNvPr id="2427" name="Vrije vorm: vorm 2426">
                <a:extLst>
                  <a:ext uri="{FF2B5EF4-FFF2-40B4-BE49-F238E27FC236}">
                    <a16:creationId xmlns:a16="http://schemas.microsoft.com/office/drawing/2014/main" id="{7066B108-B2DA-4B24-9C4F-0FF9BDFFC3A2}"/>
                  </a:ext>
                </a:extLst>
              </p:cNvPr>
              <p:cNvSpPr/>
              <p:nvPr/>
            </p:nvSpPr>
            <p:spPr>
              <a:xfrm>
                <a:off x="4606303" y="2543007"/>
                <a:ext cx="18317" cy="18450"/>
              </a:xfrm>
              <a:custGeom>
                <a:avLst/>
                <a:gdLst>
                  <a:gd name="connsiteX0" fmla="*/ 14302 w 18317"/>
                  <a:gd name="connsiteY0" fmla="*/ 1651 h 18450"/>
                  <a:gd name="connsiteX1" fmla="*/ 16754 w 18317"/>
                  <a:gd name="connsiteY1" fmla="*/ 14450 h 18450"/>
                  <a:gd name="connsiteX2" fmla="*/ 4015 w 18317"/>
                  <a:gd name="connsiteY2" fmla="*/ 16842 h 18450"/>
                  <a:gd name="connsiteX3" fmla="*/ 1563 w 18317"/>
                  <a:gd name="connsiteY3" fmla="*/ 4043 h 18450"/>
                  <a:gd name="connsiteX4" fmla="*/ 14302 w 18317"/>
                  <a:gd name="connsiteY4" fmla="*/ 1651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0">
                    <a:moveTo>
                      <a:pt x="14302" y="1651"/>
                    </a:moveTo>
                    <a:cubicBezTo>
                      <a:pt x="18489" y="4522"/>
                      <a:pt x="19565" y="10263"/>
                      <a:pt x="16754" y="14450"/>
                    </a:cubicBezTo>
                    <a:cubicBezTo>
                      <a:pt x="13883" y="18636"/>
                      <a:pt x="8202" y="19713"/>
                      <a:pt x="4015" y="16842"/>
                    </a:cubicBezTo>
                    <a:cubicBezTo>
                      <a:pt x="-171" y="13971"/>
                      <a:pt x="-1248" y="8230"/>
                      <a:pt x="1563" y="4043"/>
                    </a:cubicBezTo>
                    <a:cubicBezTo>
                      <a:pt x="4434" y="-203"/>
                      <a:pt x="10116" y="-1280"/>
                      <a:pt x="14302" y="1651"/>
                    </a:cubicBezTo>
                    <a:close/>
                  </a:path>
                </a:pathLst>
              </a:custGeom>
              <a:grpFill/>
              <a:ln w="5978" cap="flat">
                <a:noFill/>
                <a:prstDash val="solid"/>
                <a:miter/>
              </a:ln>
            </p:spPr>
            <p:txBody>
              <a:bodyPr rtlCol="0" anchor="ctr"/>
              <a:lstStyle/>
              <a:p>
                <a:endParaRPr lang="en-GB"/>
              </a:p>
            </p:txBody>
          </p:sp>
          <p:sp>
            <p:nvSpPr>
              <p:cNvPr id="2428" name="Vrije vorm: vorm 2427">
                <a:extLst>
                  <a:ext uri="{FF2B5EF4-FFF2-40B4-BE49-F238E27FC236}">
                    <a16:creationId xmlns:a16="http://schemas.microsoft.com/office/drawing/2014/main" id="{4D189B8D-93D7-464D-A48D-312FF978FE81}"/>
                  </a:ext>
                </a:extLst>
              </p:cNvPr>
              <p:cNvSpPr/>
              <p:nvPr/>
            </p:nvSpPr>
            <p:spPr>
              <a:xfrm>
                <a:off x="4021961" y="2141563"/>
                <a:ext cx="18343" cy="18408"/>
              </a:xfrm>
              <a:custGeom>
                <a:avLst/>
                <a:gdLst>
                  <a:gd name="connsiteX0" fmla="*/ 14328 w 18343"/>
                  <a:gd name="connsiteY0" fmla="*/ 1609 h 18408"/>
                  <a:gd name="connsiteX1" fmla="*/ 1589 w 18343"/>
                  <a:gd name="connsiteY1" fmla="*/ 4001 h 18408"/>
                  <a:gd name="connsiteX2" fmla="*/ 4042 w 18343"/>
                  <a:gd name="connsiteY2" fmla="*/ 16800 h 18408"/>
                  <a:gd name="connsiteX3" fmla="*/ 16781 w 18343"/>
                  <a:gd name="connsiteY3" fmla="*/ 14407 h 18408"/>
                  <a:gd name="connsiteX4" fmla="*/ 14328 w 18343"/>
                  <a:gd name="connsiteY4" fmla="*/ 1609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4328" y="1609"/>
                    </a:moveTo>
                    <a:cubicBezTo>
                      <a:pt x="10142" y="-1262"/>
                      <a:pt x="4460" y="-186"/>
                      <a:pt x="1589" y="4001"/>
                    </a:cubicBezTo>
                    <a:cubicBezTo>
                      <a:pt x="-1281" y="8187"/>
                      <a:pt x="-145" y="13929"/>
                      <a:pt x="4042" y="16800"/>
                    </a:cubicBezTo>
                    <a:cubicBezTo>
                      <a:pt x="8228" y="19670"/>
                      <a:pt x="13910" y="18594"/>
                      <a:pt x="16781" y="14407"/>
                    </a:cubicBezTo>
                    <a:cubicBezTo>
                      <a:pt x="19592" y="10221"/>
                      <a:pt x="18515" y="4479"/>
                      <a:pt x="14328" y="1609"/>
                    </a:cubicBezTo>
                    <a:close/>
                  </a:path>
                </a:pathLst>
              </a:custGeom>
              <a:grpFill/>
              <a:ln w="5978" cap="flat">
                <a:noFill/>
                <a:prstDash val="solid"/>
                <a:miter/>
              </a:ln>
            </p:spPr>
            <p:txBody>
              <a:bodyPr rtlCol="0" anchor="ctr"/>
              <a:lstStyle/>
              <a:p>
                <a:endParaRPr lang="en-GB"/>
              </a:p>
            </p:txBody>
          </p:sp>
        </p:grpSp>
        <p:grpSp>
          <p:nvGrpSpPr>
            <p:cNvPr id="992" name="Graphic 3">
              <a:extLst>
                <a:ext uri="{FF2B5EF4-FFF2-40B4-BE49-F238E27FC236}">
                  <a16:creationId xmlns:a16="http://schemas.microsoft.com/office/drawing/2014/main" id="{1E57DC8D-0B17-44A3-A854-876DD1DF63DD}"/>
                </a:ext>
              </a:extLst>
            </p:cNvPr>
            <p:cNvGrpSpPr/>
            <p:nvPr/>
          </p:nvGrpSpPr>
          <p:grpSpPr>
            <a:xfrm>
              <a:off x="4226576" y="2449783"/>
              <a:ext cx="335079" cy="185169"/>
              <a:chOff x="4226576" y="2449783"/>
              <a:chExt cx="335079" cy="185169"/>
            </a:xfrm>
            <a:grpFill/>
          </p:grpSpPr>
          <p:sp>
            <p:nvSpPr>
              <p:cNvPr id="2423" name="Vrije vorm: vorm 2422">
                <a:extLst>
                  <a:ext uri="{FF2B5EF4-FFF2-40B4-BE49-F238E27FC236}">
                    <a16:creationId xmlns:a16="http://schemas.microsoft.com/office/drawing/2014/main" id="{5392CBD9-FAD2-4E86-8CAB-3EFA6B0E0F62}"/>
                  </a:ext>
                </a:extLst>
              </p:cNvPr>
              <p:cNvSpPr/>
              <p:nvPr/>
            </p:nvSpPr>
            <p:spPr>
              <a:xfrm>
                <a:off x="4234669" y="2457399"/>
                <a:ext cx="318892" cy="169912"/>
              </a:xfrm>
              <a:custGeom>
                <a:avLst/>
                <a:gdLst>
                  <a:gd name="connsiteX0" fmla="*/ 318892 w 318892"/>
                  <a:gd name="connsiteY0" fmla="*/ 167221 h 169912"/>
                  <a:gd name="connsiteX1" fmla="*/ 317457 w 318892"/>
                  <a:gd name="connsiteY1" fmla="*/ 169912 h 169912"/>
                  <a:gd name="connsiteX2" fmla="*/ 0 w 318892"/>
                  <a:gd name="connsiteY2" fmla="*/ 2691 h 169912"/>
                  <a:gd name="connsiteX3" fmla="*/ 1376 w 318892"/>
                  <a:gd name="connsiteY3" fmla="*/ 0 h 169912"/>
                </a:gdLst>
                <a:ahLst/>
                <a:cxnLst>
                  <a:cxn ang="0">
                    <a:pos x="connsiteX0" y="connsiteY0"/>
                  </a:cxn>
                  <a:cxn ang="0">
                    <a:pos x="connsiteX1" y="connsiteY1"/>
                  </a:cxn>
                  <a:cxn ang="0">
                    <a:pos x="connsiteX2" y="connsiteY2"/>
                  </a:cxn>
                  <a:cxn ang="0">
                    <a:pos x="connsiteX3" y="connsiteY3"/>
                  </a:cxn>
                </a:cxnLst>
                <a:rect l="l" t="t" r="r" b="b"/>
                <a:pathLst>
                  <a:path w="318892" h="169912">
                    <a:moveTo>
                      <a:pt x="318892" y="167221"/>
                    </a:moveTo>
                    <a:lnTo>
                      <a:pt x="317457" y="169912"/>
                    </a:lnTo>
                    <a:lnTo>
                      <a:pt x="0" y="2691"/>
                    </a:lnTo>
                    <a:lnTo>
                      <a:pt x="1376" y="0"/>
                    </a:lnTo>
                    <a:close/>
                  </a:path>
                </a:pathLst>
              </a:custGeom>
              <a:grpFill/>
              <a:ln w="5978" cap="flat">
                <a:noFill/>
                <a:prstDash val="solid"/>
                <a:miter/>
              </a:ln>
            </p:spPr>
            <p:txBody>
              <a:bodyPr rtlCol="0" anchor="ctr"/>
              <a:lstStyle/>
              <a:p>
                <a:endParaRPr lang="en-GB"/>
              </a:p>
            </p:txBody>
          </p:sp>
          <p:sp>
            <p:nvSpPr>
              <p:cNvPr id="2424" name="Vrije vorm: vorm 2423">
                <a:extLst>
                  <a:ext uri="{FF2B5EF4-FFF2-40B4-BE49-F238E27FC236}">
                    <a16:creationId xmlns:a16="http://schemas.microsoft.com/office/drawing/2014/main" id="{9B83EA39-FEC7-4D4C-9238-1629A5EA9D31}"/>
                  </a:ext>
                </a:extLst>
              </p:cNvPr>
              <p:cNvSpPr/>
              <p:nvPr/>
            </p:nvSpPr>
            <p:spPr>
              <a:xfrm>
                <a:off x="4226576" y="2449783"/>
                <a:ext cx="18341" cy="18400"/>
              </a:xfrm>
              <a:custGeom>
                <a:avLst/>
                <a:gdLst>
                  <a:gd name="connsiteX0" fmla="*/ 4924 w 18341"/>
                  <a:gd name="connsiteY0" fmla="*/ 17364 h 18400"/>
                  <a:gd name="connsiteX1" fmla="*/ 1037 w 18341"/>
                  <a:gd name="connsiteY1" fmla="*/ 4924 h 18400"/>
                  <a:gd name="connsiteX2" fmla="*/ 13417 w 18341"/>
                  <a:gd name="connsiteY2" fmla="*/ 1037 h 18400"/>
                  <a:gd name="connsiteX3" fmla="*/ 17304 w 18341"/>
                  <a:gd name="connsiteY3" fmla="*/ 13477 h 18400"/>
                  <a:gd name="connsiteX4" fmla="*/ 4924 w 18341"/>
                  <a:gd name="connsiteY4" fmla="*/ 1736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4924" y="17364"/>
                    </a:moveTo>
                    <a:cubicBezTo>
                      <a:pt x="439" y="14972"/>
                      <a:pt x="-1296" y="9410"/>
                      <a:pt x="1037" y="4924"/>
                    </a:cubicBezTo>
                    <a:cubicBezTo>
                      <a:pt x="3369" y="439"/>
                      <a:pt x="8931" y="-1296"/>
                      <a:pt x="13417" y="1037"/>
                    </a:cubicBezTo>
                    <a:cubicBezTo>
                      <a:pt x="17902" y="3429"/>
                      <a:pt x="19637" y="8991"/>
                      <a:pt x="17304" y="13477"/>
                    </a:cubicBezTo>
                    <a:cubicBezTo>
                      <a:pt x="14972" y="17962"/>
                      <a:pt x="9410" y="19697"/>
                      <a:pt x="4924" y="17364"/>
                    </a:cubicBezTo>
                    <a:close/>
                  </a:path>
                </a:pathLst>
              </a:custGeom>
              <a:grpFill/>
              <a:ln w="5978" cap="flat">
                <a:noFill/>
                <a:prstDash val="solid"/>
                <a:miter/>
              </a:ln>
            </p:spPr>
            <p:txBody>
              <a:bodyPr rtlCol="0" anchor="ctr"/>
              <a:lstStyle/>
              <a:p>
                <a:endParaRPr lang="en-GB"/>
              </a:p>
            </p:txBody>
          </p:sp>
          <p:sp>
            <p:nvSpPr>
              <p:cNvPr id="2425" name="Vrije vorm: vorm 2424">
                <a:extLst>
                  <a:ext uri="{FF2B5EF4-FFF2-40B4-BE49-F238E27FC236}">
                    <a16:creationId xmlns:a16="http://schemas.microsoft.com/office/drawing/2014/main" id="{4473D55D-0FDF-4B40-879C-55199B9A6CC3}"/>
                  </a:ext>
                </a:extLst>
              </p:cNvPr>
              <p:cNvSpPr/>
              <p:nvPr/>
            </p:nvSpPr>
            <p:spPr>
              <a:xfrm>
                <a:off x="4543288" y="2616488"/>
                <a:ext cx="18367" cy="18465"/>
              </a:xfrm>
              <a:custGeom>
                <a:avLst/>
                <a:gdLst>
                  <a:gd name="connsiteX0" fmla="*/ 4951 w 18367"/>
                  <a:gd name="connsiteY0" fmla="*/ 17402 h 18465"/>
                  <a:gd name="connsiteX1" fmla="*/ 17331 w 18367"/>
                  <a:gd name="connsiteY1" fmla="*/ 13515 h 18465"/>
                  <a:gd name="connsiteX2" fmla="*/ 13443 w 18367"/>
                  <a:gd name="connsiteY2" fmla="*/ 1075 h 18465"/>
                  <a:gd name="connsiteX3" fmla="*/ 1063 w 18367"/>
                  <a:gd name="connsiteY3" fmla="*/ 4962 h 18465"/>
                  <a:gd name="connsiteX4" fmla="*/ 4951 w 18367"/>
                  <a:gd name="connsiteY4" fmla="*/ 1740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65">
                    <a:moveTo>
                      <a:pt x="4951" y="17402"/>
                    </a:moveTo>
                    <a:cubicBezTo>
                      <a:pt x="9436" y="19794"/>
                      <a:pt x="14998" y="18000"/>
                      <a:pt x="17331" y="13515"/>
                    </a:cubicBezTo>
                    <a:cubicBezTo>
                      <a:pt x="19663" y="9029"/>
                      <a:pt x="17929" y="3467"/>
                      <a:pt x="13443" y="1075"/>
                    </a:cubicBezTo>
                    <a:cubicBezTo>
                      <a:pt x="8958" y="-1318"/>
                      <a:pt x="3396" y="417"/>
                      <a:pt x="1063" y="4962"/>
                    </a:cubicBezTo>
                    <a:cubicBezTo>
                      <a:pt x="-1329" y="9448"/>
                      <a:pt x="465" y="15069"/>
                      <a:pt x="4951" y="17402"/>
                    </a:cubicBezTo>
                    <a:close/>
                  </a:path>
                </a:pathLst>
              </a:custGeom>
              <a:grpFill/>
              <a:ln w="5978" cap="flat">
                <a:noFill/>
                <a:prstDash val="solid"/>
                <a:miter/>
              </a:ln>
            </p:spPr>
            <p:txBody>
              <a:bodyPr rtlCol="0" anchor="ctr"/>
              <a:lstStyle/>
              <a:p>
                <a:endParaRPr lang="en-GB"/>
              </a:p>
            </p:txBody>
          </p:sp>
        </p:grpSp>
        <p:grpSp>
          <p:nvGrpSpPr>
            <p:cNvPr id="993" name="Graphic 3">
              <a:extLst>
                <a:ext uri="{FF2B5EF4-FFF2-40B4-BE49-F238E27FC236}">
                  <a16:creationId xmlns:a16="http://schemas.microsoft.com/office/drawing/2014/main" id="{453B4754-1A86-4898-999F-E458DDAA3355}"/>
                </a:ext>
              </a:extLst>
            </p:cNvPr>
            <p:cNvGrpSpPr/>
            <p:nvPr/>
          </p:nvGrpSpPr>
          <p:grpSpPr>
            <a:xfrm>
              <a:off x="4305805" y="2572804"/>
              <a:ext cx="212395" cy="111574"/>
              <a:chOff x="4305805" y="2572804"/>
              <a:chExt cx="212395" cy="111574"/>
            </a:xfrm>
            <a:grpFill/>
          </p:grpSpPr>
          <p:sp>
            <p:nvSpPr>
              <p:cNvPr id="2420" name="Vrije vorm: vorm 2419">
                <a:extLst>
                  <a:ext uri="{FF2B5EF4-FFF2-40B4-BE49-F238E27FC236}">
                    <a16:creationId xmlns:a16="http://schemas.microsoft.com/office/drawing/2014/main" id="{73667CA5-1EC5-4A85-A59D-071F00F1AA93}"/>
                  </a:ext>
                </a:extLst>
              </p:cNvPr>
              <p:cNvSpPr/>
              <p:nvPr/>
            </p:nvSpPr>
            <p:spPr>
              <a:xfrm>
                <a:off x="4313914" y="2580422"/>
                <a:ext cx="196227" cy="96289"/>
              </a:xfrm>
              <a:custGeom>
                <a:avLst/>
                <a:gdLst>
                  <a:gd name="connsiteX0" fmla="*/ 196227 w 196227"/>
                  <a:gd name="connsiteY0" fmla="*/ 93539 h 96289"/>
                  <a:gd name="connsiteX1" fmla="*/ 194912 w 196227"/>
                  <a:gd name="connsiteY1" fmla="*/ 96290 h 96289"/>
                  <a:gd name="connsiteX2" fmla="*/ 0 w 196227"/>
                  <a:gd name="connsiteY2" fmla="*/ 2751 h 96289"/>
                  <a:gd name="connsiteX3" fmla="*/ 1316 w 196227"/>
                  <a:gd name="connsiteY3" fmla="*/ 0 h 96289"/>
                </a:gdLst>
                <a:ahLst/>
                <a:cxnLst>
                  <a:cxn ang="0">
                    <a:pos x="connsiteX0" y="connsiteY0"/>
                  </a:cxn>
                  <a:cxn ang="0">
                    <a:pos x="connsiteX1" y="connsiteY1"/>
                  </a:cxn>
                  <a:cxn ang="0">
                    <a:pos x="connsiteX2" y="connsiteY2"/>
                  </a:cxn>
                  <a:cxn ang="0">
                    <a:pos x="connsiteX3" y="connsiteY3"/>
                  </a:cxn>
                </a:cxnLst>
                <a:rect l="l" t="t" r="r" b="b"/>
                <a:pathLst>
                  <a:path w="196227" h="96289">
                    <a:moveTo>
                      <a:pt x="196227" y="93539"/>
                    </a:moveTo>
                    <a:lnTo>
                      <a:pt x="194912" y="96290"/>
                    </a:lnTo>
                    <a:lnTo>
                      <a:pt x="0" y="2751"/>
                    </a:lnTo>
                    <a:lnTo>
                      <a:pt x="1316" y="0"/>
                    </a:lnTo>
                    <a:close/>
                  </a:path>
                </a:pathLst>
              </a:custGeom>
              <a:grpFill/>
              <a:ln w="5978" cap="flat">
                <a:noFill/>
                <a:prstDash val="solid"/>
                <a:miter/>
              </a:ln>
            </p:spPr>
            <p:txBody>
              <a:bodyPr rtlCol="0" anchor="ctr"/>
              <a:lstStyle/>
              <a:p>
                <a:endParaRPr lang="en-GB"/>
              </a:p>
            </p:txBody>
          </p:sp>
          <p:sp>
            <p:nvSpPr>
              <p:cNvPr id="2421" name="Vrije vorm: vorm 2420">
                <a:extLst>
                  <a:ext uri="{FF2B5EF4-FFF2-40B4-BE49-F238E27FC236}">
                    <a16:creationId xmlns:a16="http://schemas.microsoft.com/office/drawing/2014/main" id="{82421584-5CAF-4361-8323-189008E8A95A}"/>
                  </a:ext>
                </a:extLst>
              </p:cNvPr>
              <p:cNvSpPr/>
              <p:nvPr/>
            </p:nvSpPr>
            <p:spPr>
              <a:xfrm>
                <a:off x="4305805" y="2572804"/>
                <a:ext cx="18311" cy="18406"/>
              </a:xfrm>
              <a:custGeom>
                <a:avLst/>
                <a:gdLst>
                  <a:gd name="connsiteX0" fmla="*/ 5238 w 18311"/>
                  <a:gd name="connsiteY0" fmla="*/ 17486 h 18406"/>
                  <a:gd name="connsiteX1" fmla="*/ 872 w 18311"/>
                  <a:gd name="connsiteY1" fmla="*/ 5226 h 18406"/>
                  <a:gd name="connsiteX2" fmla="*/ 13073 w 18311"/>
                  <a:gd name="connsiteY2" fmla="*/ 920 h 18406"/>
                  <a:gd name="connsiteX3" fmla="*/ 17439 w 18311"/>
                  <a:gd name="connsiteY3" fmla="*/ 13180 h 18406"/>
                  <a:gd name="connsiteX4" fmla="*/ 5238 w 18311"/>
                  <a:gd name="connsiteY4" fmla="*/ 174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6">
                    <a:moveTo>
                      <a:pt x="5238" y="17486"/>
                    </a:moveTo>
                    <a:cubicBezTo>
                      <a:pt x="693" y="15273"/>
                      <a:pt x="-1281" y="9771"/>
                      <a:pt x="872" y="5226"/>
                    </a:cubicBezTo>
                    <a:cubicBezTo>
                      <a:pt x="3025" y="621"/>
                      <a:pt x="8527" y="-1293"/>
                      <a:pt x="13073" y="920"/>
                    </a:cubicBezTo>
                    <a:cubicBezTo>
                      <a:pt x="17618" y="3133"/>
                      <a:pt x="19592" y="8635"/>
                      <a:pt x="17439" y="13180"/>
                    </a:cubicBezTo>
                    <a:cubicBezTo>
                      <a:pt x="15286" y="17785"/>
                      <a:pt x="9843" y="19699"/>
                      <a:pt x="5238" y="17486"/>
                    </a:cubicBezTo>
                    <a:close/>
                  </a:path>
                </a:pathLst>
              </a:custGeom>
              <a:grpFill/>
              <a:ln w="5978" cap="flat">
                <a:noFill/>
                <a:prstDash val="solid"/>
                <a:miter/>
              </a:ln>
            </p:spPr>
            <p:txBody>
              <a:bodyPr rtlCol="0" anchor="ctr"/>
              <a:lstStyle/>
              <a:p>
                <a:endParaRPr lang="en-GB"/>
              </a:p>
            </p:txBody>
          </p:sp>
          <p:sp>
            <p:nvSpPr>
              <p:cNvPr id="2422" name="Vrije vorm: vorm 2421">
                <a:extLst>
                  <a:ext uri="{FF2B5EF4-FFF2-40B4-BE49-F238E27FC236}">
                    <a16:creationId xmlns:a16="http://schemas.microsoft.com/office/drawing/2014/main" id="{6CBAA38C-9AAD-4159-A70A-8E79491FB803}"/>
                  </a:ext>
                </a:extLst>
              </p:cNvPr>
              <p:cNvSpPr/>
              <p:nvPr/>
            </p:nvSpPr>
            <p:spPr>
              <a:xfrm>
                <a:off x="4499880" y="2665936"/>
                <a:ext cx="18321" cy="18442"/>
              </a:xfrm>
              <a:custGeom>
                <a:avLst/>
                <a:gdLst>
                  <a:gd name="connsiteX0" fmla="*/ 5238 w 18321"/>
                  <a:gd name="connsiteY0" fmla="*/ 17535 h 18442"/>
                  <a:gd name="connsiteX1" fmla="*/ 17439 w 18321"/>
                  <a:gd name="connsiteY1" fmla="*/ 13169 h 18442"/>
                  <a:gd name="connsiteX2" fmla="*/ 13073 w 18321"/>
                  <a:gd name="connsiteY2" fmla="*/ 908 h 18442"/>
                  <a:gd name="connsiteX3" fmla="*/ 873 w 18321"/>
                  <a:gd name="connsiteY3" fmla="*/ 5274 h 18442"/>
                  <a:gd name="connsiteX4" fmla="*/ 5238 w 18321"/>
                  <a:gd name="connsiteY4" fmla="*/ 17535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2">
                    <a:moveTo>
                      <a:pt x="5238" y="17535"/>
                    </a:moveTo>
                    <a:cubicBezTo>
                      <a:pt x="9784" y="19748"/>
                      <a:pt x="15286" y="17774"/>
                      <a:pt x="17439" y="13169"/>
                    </a:cubicBezTo>
                    <a:cubicBezTo>
                      <a:pt x="19592" y="8564"/>
                      <a:pt x="17678" y="3061"/>
                      <a:pt x="13073" y="908"/>
                    </a:cubicBezTo>
                    <a:cubicBezTo>
                      <a:pt x="8528" y="-1305"/>
                      <a:pt x="3025" y="669"/>
                      <a:pt x="873" y="5274"/>
                    </a:cubicBezTo>
                    <a:cubicBezTo>
                      <a:pt x="-1281" y="9820"/>
                      <a:pt x="693" y="15322"/>
                      <a:pt x="5238" y="17535"/>
                    </a:cubicBezTo>
                    <a:close/>
                  </a:path>
                </a:pathLst>
              </a:custGeom>
              <a:grpFill/>
              <a:ln w="5978" cap="flat">
                <a:noFill/>
                <a:prstDash val="solid"/>
                <a:miter/>
              </a:ln>
            </p:spPr>
            <p:txBody>
              <a:bodyPr rtlCol="0" anchor="ctr"/>
              <a:lstStyle/>
              <a:p>
                <a:endParaRPr lang="en-GB"/>
              </a:p>
            </p:txBody>
          </p:sp>
        </p:grpSp>
        <p:grpSp>
          <p:nvGrpSpPr>
            <p:cNvPr id="994" name="Graphic 3">
              <a:extLst>
                <a:ext uri="{FF2B5EF4-FFF2-40B4-BE49-F238E27FC236}">
                  <a16:creationId xmlns:a16="http://schemas.microsoft.com/office/drawing/2014/main" id="{6F1273D7-C635-41D9-9123-33F52A27E2DE}"/>
                </a:ext>
              </a:extLst>
            </p:cNvPr>
            <p:cNvGrpSpPr/>
            <p:nvPr/>
          </p:nvGrpSpPr>
          <p:grpSpPr>
            <a:xfrm>
              <a:off x="5126240" y="4842611"/>
              <a:ext cx="80392" cy="122343"/>
              <a:chOff x="5126240" y="4842611"/>
              <a:chExt cx="80392" cy="122343"/>
            </a:xfrm>
            <a:grpFill/>
          </p:grpSpPr>
          <p:sp>
            <p:nvSpPr>
              <p:cNvPr id="2417" name="Vrije vorm: vorm 2416">
                <a:extLst>
                  <a:ext uri="{FF2B5EF4-FFF2-40B4-BE49-F238E27FC236}">
                    <a16:creationId xmlns:a16="http://schemas.microsoft.com/office/drawing/2014/main" id="{B308C8F6-0CB9-44A1-9002-F2BE106F42C9}"/>
                  </a:ext>
                </a:extLst>
              </p:cNvPr>
              <p:cNvSpPr/>
              <p:nvPr/>
            </p:nvSpPr>
            <p:spPr>
              <a:xfrm>
                <a:off x="5133811" y="4850704"/>
                <a:ext cx="65190" cy="106217"/>
              </a:xfrm>
              <a:custGeom>
                <a:avLst/>
                <a:gdLst>
                  <a:gd name="connsiteX0" fmla="*/ 65190 w 65190"/>
                  <a:gd name="connsiteY0" fmla="*/ 1555 h 106217"/>
                  <a:gd name="connsiteX1" fmla="*/ 2632 w 65190"/>
                  <a:gd name="connsiteY1" fmla="*/ 106218 h 106217"/>
                  <a:gd name="connsiteX2" fmla="*/ 0 w 65190"/>
                  <a:gd name="connsiteY2" fmla="*/ 104663 h 106217"/>
                  <a:gd name="connsiteX3" fmla="*/ 62558 w 65190"/>
                  <a:gd name="connsiteY3" fmla="*/ 0 h 106217"/>
                </a:gdLst>
                <a:ahLst/>
                <a:cxnLst>
                  <a:cxn ang="0">
                    <a:pos x="connsiteX0" y="connsiteY0"/>
                  </a:cxn>
                  <a:cxn ang="0">
                    <a:pos x="connsiteX1" y="connsiteY1"/>
                  </a:cxn>
                  <a:cxn ang="0">
                    <a:pos x="connsiteX2" y="connsiteY2"/>
                  </a:cxn>
                  <a:cxn ang="0">
                    <a:pos x="connsiteX3" y="connsiteY3"/>
                  </a:cxn>
                </a:cxnLst>
                <a:rect l="l" t="t" r="r" b="b"/>
                <a:pathLst>
                  <a:path w="65190" h="106217">
                    <a:moveTo>
                      <a:pt x="65190" y="1555"/>
                    </a:moveTo>
                    <a:lnTo>
                      <a:pt x="2632" y="106218"/>
                    </a:lnTo>
                    <a:lnTo>
                      <a:pt x="0" y="104663"/>
                    </a:lnTo>
                    <a:lnTo>
                      <a:pt x="62558" y="0"/>
                    </a:lnTo>
                    <a:close/>
                  </a:path>
                </a:pathLst>
              </a:custGeom>
              <a:grpFill/>
              <a:ln w="5978" cap="flat">
                <a:noFill/>
                <a:prstDash val="solid"/>
                <a:miter/>
              </a:ln>
            </p:spPr>
            <p:txBody>
              <a:bodyPr rtlCol="0" anchor="ctr"/>
              <a:lstStyle/>
              <a:p>
                <a:endParaRPr lang="en-GB"/>
              </a:p>
            </p:txBody>
          </p:sp>
          <p:sp>
            <p:nvSpPr>
              <p:cNvPr id="2418" name="Vrije vorm: vorm 2417">
                <a:extLst>
                  <a:ext uri="{FF2B5EF4-FFF2-40B4-BE49-F238E27FC236}">
                    <a16:creationId xmlns:a16="http://schemas.microsoft.com/office/drawing/2014/main" id="{B86F60C7-5FCB-45B2-83A0-AC02A10E8EE6}"/>
                  </a:ext>
                </a:extLst>
              </p:cNvPr>
              <p:cNvSpPr/>
              <p:nvPr/>
            </p:nvSpPr>
            <p:spPr>
              <a:xfrm>
                <a:off x="5126240" y="4946497"/>
                <a:ext cx="18312" cy="18458"/>
              </a:xfrm>
              <a:custGeom>
                <a:avLst/>
                <a:gdLst>
                  <a:gd name="connsiteX0" fmla="*/ 17021 w 18312"/>
                  <a:gd name="connsiteY0" fmla="*/ 14014 h 18458"/>
                  <a:gd name="connsiteX1" fmla="*/ 4461 w 18312"/>
                  <a:gd name="connsiteY1" fmla="*/ 17123 h 18458"/>
                  <a:gd name="connsiteX2" fmla="*/ 1292 w 18312"/>
                  <a:gd name="connsiteY2" fmla="*/ 4444 h 18458"/>
                  <a:gd name="connsiteX3" fmla="*/ 13851 w 18312"/>
                  <a:gd name="connsiteY3" fmla="*/ 1335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4450" y="18380"/>
                      <a:pt x="8768" y="19755"/>
                      <a:pt x="4461" y="17123"/>
                    </a:cubicBezTo>
                    <a:cubicBezTo>
                      <a:pt x="96" y="14492"/>
                      <a:pt x="-1280" y="8811"/>
                      <a:pt x="1292" y="4444"/>
                    </a:cubicBezTo>
                    <a:cubicBezTo>
                      <a:pt x="3864" y="79"/>
                      <a:pt x="9545" y="-1297"/>
                      <a:pt x="13851" y="1335"/>
                    </a:cubicBezTo>
                    <a:cubicBezTo>
                      <a:pt x="18217" y="4026"/>
                      <a:pt x="19593" y="9707"/>
                      <a:pt x="17021" y="14014"/>
                    </a:cubicBezTo>
                    <a:close/>
                  </a:path>
                </a:pathLst>
              </a:custGeom>
              <a:grpFill/>
              <a:ln w="5978" cap="flat">
                <a:noFill/>
                <a:prstDash val="solid"/>
                <a:miter/>
              </a:ln>
            </p:spPr>
            <p:txBody>
              <a:bodyPr rtlCol="0" anchor="ctr"/>
              <a:lstStyle/>
              <a:p>
                <a:endParaRPr lang="en-GB"/>
              </a:p>
            </p:txBody>
          </p:sp>
          <p:sp>
            <p:nvSpPr>
              <p:cNvPr id="2419" name="Vrije vorm: vorm 2418">
                <a:extLst>
                  <a:ext uri="{FF2B5EF4-FFF2-40B4-BE49-F238E27FC236}">
                    <a16:creationId xmlns:a16="http://schemas.microsoft.com/office/drawing/2014/main" id="{8FD7D5D5-2660-4A3D-A012-4CD76F855D33}"/>
                  </a:ext>
                </a:extLst>
              </p:cNvPr>
              <p:cNvSpPr/>
              <p:nvPr/>
            </p:nvSpPr>
            <p:spPr>
              <a:xfrm>
                <a:off x="5188320" y="4842611"/>
                <a:ext cx="18312" cy="18458"/>
              </a:xfrm>
              <a:custGeom>
                <a:avLst/>
                <a:gdLst>
                  <a:gd name="connsiteX0" fmla="*/ 17021 w 18312"/>
                  <a:gd name="connsiteY0" fmla="*/ 14014 h 18458"/>
                  <a:gd name="connsiteX1" fmla="*/ 13851 w 18312"/>
                  <a:gd name="connsiteY1" fmla="*/ 1335 h 18458"/>
                  <a:gd name="connsiteX2" fmla="*/ 1292 w 18312"/>
                  <a:gd name="connsiteY2" fmla="*/ 4444 h 18458"/>
                  <a:gd name="connsiteX3" fmla="*/ 4461 w 18312"/>
                  <a:gd name="connsiteY3" fmla="*/ 17123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9593" y="9648"/>
                      <a:pt x="18217" y="3966"/>
                      <a:pt x="13851" y="1335"/>
                    </a:cubicBezTo>
                    <a:cubicBezTo>
                      <a:pt x="9485" y="-1297"/>
                      <a:pt x="3864" y="79"/>
                      <a:pt x="1292" y="4444"/>
                    </a:cubicBezTo>
                    <a:cubicBezTo>
                      <a:pt x="-1280" y="8811"/>
                      <a:pt x="96" y="14492"/>
                      <a:pt x="4461" y="17123"/>
                    </a:cubicBezTo>
                    <a:cubicBezTo>
                      <a:pt x="8768" y="19755"/>
                      <a:pt x="14390" y="18380"/>
                      <a:pt x="17021" y="14014"/>
                    </a:cubicBezTo>
                    <a:close/>
                  </a:path>
                </a:pathLst>
              </a:custGeom>
              <a:grpFill/>
              <a:ln w="5978" cap="flat">
                <a:noFill/>
                <a:prstDash val="solid"/>
                <a:miter/>
              </a:ln>
            </p:spPr>
            <p:txBody>
              <a:bodyPr rtlCol="0" anchor="ctr"/>
              <a:lstStyle/>
              <a:p>
                <a:endParaRPr lang="en-GB"/>
              </a:p>
            </p:txBody>
          </p:sp>
        </p:grpSp>
        <p:grpSp>
          <p:nvGrpSpPr>
            <p:cNvPr id="995" name="Graphic 3">
              <a:extLst>
                <a:ext uri="{FF2B5EF4-FFF2-40B4-BE49-F238E27FC236}">
                  <a16:creationId xmlns:a16="http://schemas.microsoft.com/office/drawing/2014/main" id="{06515C50-95F4-4C5C-9956-E2F80788A514}"/>
                </a:ext>
              </a:extLst>
            </p:cNvPr>
            <p:cNvGrpSpPr/>
            <p:nvPr/>
          </p:nvGrpSpPr>
          <p:grpSpPr>
            <a:xfrm>
              <a:off x="3936155" y="2032466"/>
              <a:ext cx="700914" cy="499950"/>
              <a:chOff x="3936155" y="2032466"/>
              <a:chExt cx="700914" cy="499950"/>
            </a:xfrm>
            <a:grpFill/>
          </p:grpSpPr>
          <p:sp>
            <p:nvSpPr>
              <p:cNvPr id="2414" name="Vrije vorm: vorm 2413">
                <a:extLst>
                  <a:ext uri="{FF2B5EF4-FFF2-40B4-BE49-F238E27FC236}">
                    <a16:creationId xmlns:a16="http://schemas.microsoft.com/office/drawing/2014/main" id="{18F7F489-8016-4D15-B4C7-732E8757B321}"/>
                  </a:ext>
                </a:extLst>
              </p:cNvPr>
              <p:cNvSpPr/>
              <p:nvPr/>
            </p:nvSpPr>
            <p:spPr>
              <a:xfrm>
                <a:off x="3944066" y="2040124"/>
                <a:ext cx="685091" cy="484617"/>
              </a:xfrm>
              <a:custGeom>
                <a:avLst/>
                <a:gdLst>
                  <a:gd name="connsiteX0" fmla="*/ 685092 w 685091"/>
                  <a:gd name="connsiteY0" fmla="*/ 482106 h 484617"/>
                  <a:gd name="connsiteX1" fmla="*/ 683357 w 685091"/>
                  <a:gd name="connsiteY1" fmla="*/ 484618 h 484617"/>
                  <a:gd name="connsiteX2" fmla="*/ 0 w 685091"/>
                  <a:gd name="connsiteY2" fmla="*/ 2512 h 484617"/>
                  <a:gd name="connsiteX3" fmla="*/ 1734 w 685091"/>
                  <a:gd name="connsiteY3" fmla="*/ 0 h 484617"/>
                </a:gdLst>
                <a:ahLst/>
                <a:cxnLst>
                  <a:cxn ang="0">
                    <a:pos x="connsiteX0" y="connsiteY0"/>
                  </a:cxn>
                  <a:cxn ang="0">
                    <a:pos x="connsiteX1" y="connsiteY1"/>
                  </a:cxn>
                  <a:cxn ang="0">
                    <a:pos x="connsiteX2" y="connsiteY2"/>
                  </a:cxn>
                  <a:cxn ang="0">
                    <a:pos x="connsiteX3" y="connsiteY3"/>
                  </a:cxn>
                </a:cxnLst>
                <a:rect l="l" t="t" r="r" b="b"/>
                <a:pathLst>
                  <a:path w="685091" h="484617">
                    <a:moveTo>
                      <a:pt x="685092" y="482106"/>
                    </a:moveTo>
                    <a:lnTo>
                      <a:pt x="683357" y="484618"/>
                    </a:lnTo>
                    <a:lnTo>
                      <a:pt x="0" y="2512"/>
                    </a:lnTo>
                    <a:lnTo>
                      <a:pt x="1734" y="0"/>
                    </a:lnTo>
                    <a:close/>
                  </a:path>
                </a:pathLst>
              </a:custGeom>
              <a:grpFill/>
              <a:ln w="5978" cap="flat">
                <a:noFill/>
                <a:prstDash val="solid"/>
                <a:miter/>
              </a:ln>
            </p:spPr>
            <p:txBody>
              <a:bodyPr rtlCol="0" anchor="ctr"/>
              <a:lstStyle/>
              <a:p>
                <a:endParaRPr lang="en-GB"/>
              </a:p>
            </p:txBody>
          </p:sp>
          <p:sp>
            <p:nvSpPr>
              <p:cNvPr id="2415" name="Vrije vorm: vorm 2414">
                <a:extLst>
                  <a:ext uri="{FF2B5EF4-FFF2-40B4-BE49-F238E27FC236}">
                    <a16:creationId xmlns:a16="http://schemas.microsoft.com/office/drawing/2014/main" id="{E49962A2-AFEF-43EF-B281-557726849AC5}"/>
                  </a:ext>
                </a:extLst>
              </p:cNvPr>
              <p:cNvSpPr/>
              <p:nvPr/>
            </p:nvSpPr>
            <p:spPr>
              <a:xfrm>
                <a:off x="4618795" y="2513974"/>
                <a:ext cx="18274" cy="18442"/>
              </a:xfrm>
              <a:custGeom>
                <a:avLst/>
                <a:gdLst>
                  <a:gd name="connsiteX0" fmla="*/ 14370 w 18274"/>
                  <a:gd name="connsiteY0" fmla="*/ 1677 h 18442"/>
                  <a:gd name="connsiteX1" fmla="*/ 16643 w 18274"/>
                  <a:gd name="connsiteY1" fmla="*/ 14536 h 18442"/>
                  <a:gd name="connsiteX2" fmla="*/ 3904 w 18274"/>
                  <a:gd name="connsiteY2" fmla="*/ 16749 h 18442"/>
                  <a:gd name="connsiteX3" fmla="*/ 1631 w 18274"/>
                  <a:gd name="connsiteY3" fmla="*/ 3890 h 18442"/>
                  <a:gd name="connsiteX4" fmla="*/ 14370 w 18274"/>
                  <a:gd name="connsiteY4" fmla="*/ 1677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2">
                    <a:moveTo>
                      <a:pt x="14370" y="1677"/>
                    </a:moveTo>
                    <a:cubicBezTo>
                      <a:pt x="18497" y="4608"/>
                      <a:pt x="19514" y="10349"/>
                      <a:pt x="16643" y="14536"/>
                    </a:cubicBezTo>
                    <a:cubicBezTo>
                      <a:pt x="13772" y="18722"/>
                      <a:pt x="8031" y="19679"/>
                      <a:pt x="3904" y="16749"/>
                    </a:cubicBezTo>
                    <a:cubicBezTo>
                      <a:pt x="-223" y="13818"/>
                      <a:pt x="-1239" y="8077"/>
                      <a:pt x="1631" y="3890"/>
                    </a:cubicBezTo>
                    <a:cubicBezTo>
                      <a:pt x="4502" y="-236"/>
                      <a:pt x="10184" y="-1253"/>
                      <a:pt x="14370" y="1677"/>
                    </a:cubicBezTo>
                    <a:close/>
                  </a:path>
                </a:pathLst>
              </a:custGeom>
              <a:grpFill/>
              <a:ln w="5978" cap="flat">
                <a:noFill/>
                <a:prstDash val="solid"/>
                <a:miter/>
              </a:ln>
            </p:spPr>
            <p:txBody>
              <a:bodyPr rtlCol="0" anchor="ctr"/>
              <a:lstStyle/>
              <a:p>
                <a:endParaRPr lang="en-GB"/>
              </a:p>
            </p:txBody>
          </p:sp>
          <p:sp>
            <p:nvSpPr>
              <p:cNvPr id="2416" name="Vrije vorm: vorm 2415">
                <a:extLst>
                  <a:ext uri="{FF2B5EF4-FFF2-40B4-BE49-F238E27FC236}">
                    <a16:creationId xmlns:a16="http://schemas.microsoft.com/office/drawing/2014/main" id="{F5C9E067-1194-480B-A7B2-CC9E2CB5C096}"/>
                  </a:ext>
                </a:extLst>
              </p:cNvPr>
              <p:cNvSpPr/>
              <p:nvPr/>
            </p:nvSpPr>
            <p:spPr>
              <a:xfrm>
                <a:off x="3936155" y="2032466"/>
                <a:ext cx="18316" cy="18426"/>
              </a:xfrm>
              <a:custGeom>
                <a:avLst/>
                <a:gdLst>
                  <a:gd name="connsiteX0" fmla="*/ 14371 w 18316"/>
                  <a:gd name="connsiteY0" fmla="*/ 1677 h 18426"/>
                  <a:gd name="connsiteX1" fmla="*/ 1632 w 18316"/>
                  <a:gd name="connsiteY1" fmla="*/ 3890 h 18426"/>
                  <a:gd name="connsiteX2" fmla="*/ 3904 w 18316"/>
                  <a:gd name="connsiteY2" fmla="*/ 16749 h 18426"/>
                  <a:gd name="connsiteX3" fmla="*/ 16643 w 18316"/>
                  <a:gd name="connsiteY3" fmla="*/ 14536 h 18426"/>
                  <a:gd name="connsiteX4" fmla="*/ 14371 w 18316"/>
                  <a:gd name="connsiteY4" fmla="*/ 1677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6">
                    <a:moveTo>
                      <a:pt x="14371" y="1677"/>
                    </a:moveTo>
                    <a:cubicBezTo>
                      <a:pt x="10244" y="-1253"/>
                      <a:pt x="4502" y="-236"/>
                      <a:pt x="1632" y="3890"/>
                    </a:cubicBezTo>
                    <a:cubicBezTo>
                      <a:pt x="-1239" y="8077"/>
                      <a:pt x="-222" y="13818"/>
                      <a:pt x="3904" y="16749"/>
                    </a:cubicBezTo>
                    <a:cubicBezTo>
                      <a:pt x="8031" y="19679"/>
                      <a:pt x="13772" y="18663"/>
                      <a:pt x="16643" y="14536"/>
                    </a:cubicBezTo>
                    <a:cubicBezTo>
                      <a:pt x="19574" y="10349"/>
                      <a:pt x="18557" y="4608"/>
                      <a:pt x="14371" y="1677"/>
                    </a:cubicBezTo>
                    <a:close/>
                  </a:path>
                </a:pathLst>
              </a:custGeom>
              <a:grpFill/>
              <a:ln w="5978" cap="flat">
                <a:noFill/>
                <a:prstDash val="solid"/>
                <a:miter/>
              </a:ln>
            </p:spPr>
            <p:txBody>
              <a:bodyPr rtlCol="0" anchor="ctr"/>
              <a:lstStyle/>
              <a:p>
                <a:endParaRPr lang="en-GB"/>
              </a:p>
            </p:txBody>
          </p:sp>
        </p:grpSp>
        <p:grpSp>
          <p:nvGrpSpPr>
            <p:cNvPr id="996" name="Graphic 3">
              <a:extLst>
                <a:ext uri="{FF2B5EF4-FFF2-40B4-BE49-F238E27FC236}">
                  <a16:creationId xmlns:a16="http://schemas.microsoft.com/office/drawing/2014/main" id="{F9E1B955-AE4A-4E74-9F53-75181A6A2C04}"/>
                </a:ext>
              </a:extLst>
            </p:cNvPr>
            <p:cNvGrpSpPr/>
            <p:nvPr/>
          </p:nvGrpSpPr>
          <p:grpSpPr>
            <a:xfrm>
              <a:off x="4304379" y="2573442"/>
              <a:ext cx="207701" cy="141736"/>
              <a:chOff x="4304379" y="2573442"/>
              <a:chExt cx="207701" cy="141736"/>
            </a:xfrm>
            <a:grpFill/>
          </p:grpSpPr>
          <p:sp>
            <p:nvSpPr>
              <p:cNvPr id="2411" name="Vrije vorm: vorm 2410">
                <a:extLst>
                  <a:ext uri="{FF2B5EF4-FFF2-40B4-BE49-F238E27FC236}">
                    <a16:creationId xmlns:a16="http://schemas.microsoft.com/office/drawing/2014/main" id="{8BBB894D-49FC-45CE-B6A5-2FF9541E81FF}"/>
                  </a:ext>
                </a:extLst>
              </p:cNvPr>
              <p:cNvSpPr/>
              <p:nvPr/>
            </p:nvSpPr>
            <p:spPr>
              <a:xfrm>
                <a:off x="4312299" y="2581080"/>
                <a:ext cx="191801" cy="126432"/>
              </a:xfrm>
              <a:custGeom>
                <a:avLst/>
                <a:gdLst>
                  <a:gd name="connsiteX0" fmla="*/ 191802 w 191801"/>
                  <a:gd name="connsiteY0" fmla="*/ 123861 h 126432"/>
                  <a:gd name="connsiteX1" fmla="*/ 190127 w 191801"/>
                  <a:gd name="connsiteY1" fmla="*/ 126432 h 126432"/>
                  <a:gd name="connsiteX2" fmla="*/ 0 w 191801"/>
                  <a:gd name="connsiteY2" fmla="*/ 2572 h 126432"/>
                  <a:gd name="connsiteX3" fmla="*/ 1674 w 191801"/>
                  <a:gd name="connsiteY3" fmla="*/ 0 h 126432"/>
                </a:gdLst>
                <a:ahLst/>
                <a:cxnLst>
                  <a:cxn ang="0">
                    <a:pos x="connsiteX0" y="connsiteY0"/>
                  </a:cxn>
                  <a:cxn ang="0">
                    <a:pos x="connsiteX1" y="connsiteY1"/>
                  </a:cxn>
                  <a:cxn ang="0">
                    <a:pos x="connsiteX2" y="connsiteY2"/>
                  </a:cxn>
                  <a:cxn ang="0">
                    <a:pos x="connsiteX3" y="connsiteY3"/>
                  </a:cxn>
                </a:cxnLst>
                <a:rect l="l" t="t" r="r" b="b"/>
                <a:pathLst>
                  <a:path w="191801" h="126432">
                    <a:moveTo>
                      <a:pt x="191802" y="123861"/>
                    </a:moveTo>
                    <a:lnTo>
                      <a:pt x="190127" y="126432"/>
                    </a:lnTo>
                    <a:lnTo>
                      <a:pt x="0" y="2572"/>
                    </a:lnTo>
                    <a:lnTo>
                      <a:pt x="1674" y="0"/>
                    </a:lnTo>
                    <a:close/>
                  </a:path>
                </a:pathLst>
              </a:custGeom>
              <a:grpFill/>
              <a:ln w="5978" cap="flat">
                <a:noFill/>
                <a:prstDash val="solid"/>
                <a:miter/>
              </a:ln>
            </p:spPr>
            <p:txBody>
              <a:bodyPr rtlCol="0" anchor="ctr"/>
              <a:lstStyle/>
              <a:p>
                <a:endParaRPr lang="en-GB"/>
              </a:p>
            </p:txBody>
          </p:sp>
          <p:sp>
            <p:nvSpPr>
              <p:cNvPr id="2412" name="Vrije vorm: vorm 2411">
                <a:extLst>
                  <a:ext uri="{FF2B5EF4-FFF2-40B4-BE49-F238E27FC236}">
                    <a16:creationId xmlns:a16="http://schemas.microsoft.com/office/drawing/2014/main" id="{B83EBDF6-DAF4-4650-8FDD-C39A1BF425BB}"/>
                  </a:ext>
                </a:extLst>
              </p:cNvPr>
              <p:cNvSpPr/>
              <p:nvPr/>
            </p:nvSpPr>
            <p:spPr>
              <a:xfrm>
                <a:off x="4493729" y="2696764"/>
                <a:ext cx="18351" cy="18413"/>
              </a:xfrm>
              <a:custGeom>
                <a:avLst/>
                <a:gdLst>
                  <a:gd name="connsiteX0" fmla="*/ 14140 w 18351"/>
                  <a:gd name="connsiteY0" fmla="*/ 1479 h 18413"/>
                  <a:gd name="connsiteX1" fmla="*/ 16891 w 18351"/>
                  <a:gd name="connsiteY1" fmla="*/ 14218 h 18413"/>
                  <a:gd name="connsiteX2" fmla="*/ 4212 w 18351"/>
                  <a:gd name="connsiteY2" fmla="*/ 16909 h 18413"/>
                  <a:gd name="connsiteX3" fmla="*/ 1461 w 18351"/>
                  <a:gd name="connsiteY3" fmla="*/ 4170 h 18413"/>
                  <a:gd name="connsiteX4" fmla="*/ 14140 w 18351"/>
                  <a:gd name="connsiteY4" fmla="*/ 147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13">
                    <a:moveTo>
                      <a:pt x="14140" y="1479"/>
                    </a:moveTo>
                    <a:cubicBezTo>
                      <a:pt x="18386" y="4230"/>
                      <a:pt x="19642" y="9971"/>
                      <a:pt x="16891" y="14218"/>
                    </a:cubicBezTo>
                    <a:cubicBezTo>
                      <a:pt x="14140" y="18464"/>
                      <a:pt x="8458" y="19720"/>
                      <a:pt x="4212" y="16909"/>
                    </a:cubicBezTo>
                    <a:cubicBezTo>
                      <a:pt x="-35" y="14098"/>
                      <a:pt x="-1290" y="8416"/>
                      <a:pt x="1461" y="4170"/>
                    </a:cubicBezTo>
                    <a:cubicBezTo>
                      <a:pt x="4212" y="-76"/>
                      <a:pt x="9894" y="-1273"/>
                      <a:pt x="14140" y="1479"/>
                    </a:cubicBezTo>
                    <a:close/>
                  </a:path>
                </a:pathLst>
              </a:custGeom>
              <a:grpFill/>
              <a:ln w="5978" cap="flat">
                <a:noFill/>
                <a:prstDash val="solid"/>
                <a:miter/>
              </a:ln>
            </p:spPr>
            <p:txBody>
              <a:bodyPr rtlCol="0" anchor="ctr"/>
              <a:lstStyle/>
              <a:p>
                <a:endParaRPr lang="en-GB"/>
              </a:p>
            </p:txBody>
          </p:sp>
          <p:sp>
            <p:nvSpPr>
              <p:cNvPr id="2413" name="Vrije vorm: vorm 2412">
                <a:extLst>
                  <a:ext uri="{FF2B5EF4-FFF2-40B4-BE49-F238E27FC236}">
                    <a16:creationId xmlns:a16="http://schemas.microsoft.com/office/drawing/2014/main" id="{FCDF9BAA-EC9F-4AED-B7A2-A75EC7410146}"/>
                  </a:ext>
                </a:extLst>
              </p:cNvPr>
              <p:cNvSpPr/>
              <p:nvPr/>
            </p:nvSpPr>
            <p:spPr>
              <a:xfrm>
                <a:off x="4304379" y="2573442"/>
                <a:ext cx="18325" cy="18387"/>
              </a:xfrm>
              <a:custGeom>
                <a:avLst/>
                <a:gdLst>
                  <a:gd name="connsiteX0" fmla="*/ 14140 w 18325"/>
                  <a:gd name="connsiteY0" fmla="*/ 1479 h 18387"/>
                  <a:gd name="connsiteX1" fmla="*/ 1461 w 18325"/>
                  <a:gd name="connsiteY1" fmla="*/ 4170 h 18387"/>
                  <a:gd name="connsiteX2" fmla="*/ 4212 w 18325"/>
                  <a:gd name="connsiteY2" fmla="*/ 16909 h 18387"/>
                  <a:gd name="connsiteX3" fmla="*/ 16891 w 18325"/>
                  <a:gd name="connsiteY3" fmla="*/ 14217 h 18387"/>
                  <a:gd name="connsiteX4" fmla="*/ 14140 w 18325"/>
                  <a:gd name="connsiteY4" fmla="*/ 147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7">
                    <a:moveTo>
                      <a:pt x="14140" y="1479"/>
                    </a:moveTo>
                    <a:cubicBezTo>
                      <a:pt x="9893" y="-1273"/>
                      <a:pt x="4212" y="-76"/>
                      <a:pt x="1461" y="4170"/>
                    </a:cubicBezTo>
                    <a:cubicBezTo>
                      <a:pt x="-1291" y="8416"/>
                      <a:pt x="-34" y="14158"/>
                      <a:pt x="4212" y="16909"/>
                    </a:cubicBezTo>
                    <a:cubicBezTo>
                      <a:pt x="8458" y="19660"/>
                      <a:pt x="14140" y="18464"/>
                      <a:pt x="16891" y="14217"/>
                    </a:cubicBezTo>
                    <a:cubicBezTo>
                      <a:pt x="19583" y="9911"/>
                      <a:pt x="18386" y="4230"/>
                      <a:pt x="14140" y="1479"/>
                    </a:cubicBezTo>
                    <a:close/>
                  </a:path>
                </a:pathLst>
              </a:custGeom>
              <a:grpFill/>
              <a:ln w="5978" cap="flat">
                <a:noFill/>
                <a:prstDash val="solid"/>
                <a:miter/>
              </a:ln>
            </p:spPr>
            <p:txBody>
              <a:bodyPr rtlCol="0" anchor="ctr"/>
              <a:lstStyle/>
              <a:p>
                <a:endParaRPr lang="en-GB"/>
              </a:p>
            </p:txBody>
          </p:sp>
        </p:grpSp>
        <p:grpSp>
          <p:nvGrpSpPr>
            <p:cNvPr id="997" name="Graphic 3">
              <a:extLst>
                <a:ext uri="{FF2B5EF4-FFF2-40B4-BE49-F238E27FC236}">
                  <a16:creationId xmlns:a16="http://schemas.microsoft.com/office/drawing/2014/main" id="{63B315DF-9F30-4CB8-9769-5ECC95F59B16}"/>
                </a:ext>
              </a:extLst>
            </p:cNvPr>
            <p:cNvGrpSpPr/>
            <p:nvPr/>
          </p:nvGrpSpPr>
          <p:grpSpPr>
            <a:xfrm>
              <a:off x="5160280" y="4969036"/>
              <a:ext cx="122467" cy="226363"/>
              <a:chOff x="5160280" y="4969036"/>
              <a:chExt cx="122467" cy="226363"/>
            </a:xfrm>
            <a:grpFill/>
          </p:grpSpPr>
          <p:sp>
            <p:nvSpPr>
              <p:cNvPr id="2408" name="Vrije vorm: vorm 2407">
                <a:extLst>
                  <a:ext uri="{FF2B5EF4-FFF2-40B4-BE49-F238E27FC236}">
                    <a16:creationId xmlns:a16="http://schemas.microsoft.com/office/drawing/2014/main" id="{E9FED83C-3D3F-4D71-A558-23BED22F0072}"/>
                  </a:ext>
                </a:extLst>
              </p:cNvPr>
              <p:cNvSpPr/>
              <p:nvPr/>
            </p:nvSpPr>
            <p:spPr>
              <a:xfrm>
                <a:off x="5167902" y="4977137"/>
                <a:ext cx="107234" cy="210162"/>
              </a:xfrm>
              <a:custGeom>
                <a:avLst/>
                <a:gdLst>
                  <a:gd name="connsiteX0" fmla="*/ 107234 w 107234"/>
                  <a:gd name="connsiteY0" fmla="*/ 1376 h 210162"/>
                  <a:gd name="connsiteX1" fmla="*/ 2751 w 107234"/>
                  <a:gd name="connsiteY1" fmla="*/ 210163 h 210162"/>
                  <a:gd name="connsiteX2" fmla="*/ 0 w 107234"/>
                  <a:gd name="connsiteY2" fmla="*/ 208787 h 210162"/>
                  <a:gd name="connsiteX3" fmla="*/ 104483 w 107234"/>
                  <a:gd name="connsiteY3" fmla="*/ 0 h 210162"/>
                </a:gdLst>
                <a:ahLst/>
                <a:cxnLst>
                  <a:cxn ang="0">
                    <a:pos x="connsiteX0" y="connsiteY0"/>
                  </a:cxn>
                  <a:cxn ang="0">
                    <a:pos x="connsiteX1" y="connsiteY1"/>
                  </a:cxn>
                  <a:cxn ang="0">
                    <a:pos x="connsiteX2" y="connsiteY2"/>
                  </a:cxn>
                  <a:cxn ang="0">
                    <a:pos x="connsiteX3" y="connsiteY3"/>
                  </a:cxn>
                </a:cxnLst>
                <a:rect l="l" t="t" r="r" b="b"/>
                <a:pathLst>
                  <a:path w="107234" h="210162">
                    <a:moveTo>
                      <a:pt x="107234" y="1376"/>
                    </a:moveTo>
                    <a:lnTo>
                      <a:pt x="2751" y="210163"/>
                    </a:lnTo>
                    <a:lnTo>
                      <a:pt x="0" y="208787"/>
                    </a:lnTo>
                    <a:lnTo>
                      <a:pt x="104483" y="0"/>
                    </a:lnTo>
                    <a:close/>
                  </a:path>
                </a:pathLst>
              </a:custGeom>
              <a:grpFill/>
              <a:ln w="5978" cap="flat">
                <a:noFill/>
                <a:prstDash val="solid"/>
                <a:miter/>
              </a:ln>
            </p:spPr>
            <p:txBody>
              <a:bodyPr rtlCol="0" anchor="ctr"/>
              <a:lstStyle/>
              <a:p>
                <a:endParaRPr lang="en-GB"/>
              </a:p>
            </p:txBody>
          </p:sp>
          <p:sp>
            <p:nvSpPr>
              <p:cNvPr id="2409" name="Vrije vorm: vorm 2408">
                <a:extLst>
                  <a:ext uri="{FF2B5EF4-FFF2-40B4-BE49-F238E27FC236}">
                    <a16:creationId xmlns:a16="http://schemas.microsoft.com/office/drawing/2014/main" id="{B8844D34-512F-4B48-ADC1-3CC0FCDC60D3}"/>
                  </a:ext>
                </a:extLst>
              </p:cNvPr>
              <p:cNvSpPr/>
              <p:nvPr/>
            </p:nvSpPr>
            <p:spPr>
              <a:xfrm>
                <a:off x="5160280" y="5176986"/>
                <a:ext cx="18353" cy="18413"/>
              </a:xfrm>
              <a:custGeom>
                <a:avLst/>
                <a:gdLst>
                  <a:gd name="connsiteX0" fmla="*/ 17371 w 18353"/>
                  <a:gd name="connsiteY0" fmla="*/ 13364 h 18413"/>
                  <a:gd name="connsiteX1" fmla="*/ 5050 w 18353"/>
                  <a:gd name="connsiteY1" fmla="*/ 17430 h 18413"/>
                  <a:gd name="connsiteX2" fmla="*/ 983 w 18353"/>
                  <a:gd name="connsiteY2" fmla="*/ 5050 h 18413"/>
                  <a:gd name="connsiteX3" fmla="*/ 13304 w 18353"/>
                  <a:gd name="connsiteY3" fmla="*/ 983 h 18413"/>
                  <a:gd name="connsiteX4" fmla="*/ 17371 w 18353"/>
                  <a:gd name="connsiteY4" fmla="*/ 1336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3">
                    <a:moveTo>
                      <a:pt x="17371" y="13364"/>
                    </a:moveTo>
                    <a:cubicBezTo>
                      <a:pt x="15098" y="17909"/>
                      <a:pt x="9595" y="19703"/>
                      <a:pt x="5050" y="17430"/>
                    </a:cubicBezTo>
                    <a:cubicBezTo>
                      <a:pt x="505" y="15158"/>
                      <a:pt x="-1289" y="9596"/>
                      <a:pt x="983" y="5050"/>
                    </a:cubicBezTo>
                    <a:cubicBezTo>
                      <a:pt x="3256" y="505"/>
                      <a:pt x="8758" y="-1289"/>
                      <a:pt x="13304" y="983"/>
                    </a:cubicBezTo>
                    <a:cubicBezTo>
                      <a:pt x="17849" y="3316"/>
                      <a:pt x="19643" y="8878"/>
                      <a:pt x="17371" y="13364"/>
                    </a:cubicBezTo>
                    <a:close/>
                  </a:path>
                </a:pathLst>
              </a:custGeom>
              <a:grpFill/>
              <a:ln w="5978" cap="flat">
                <a:noFill/>
                <a:prstDash val="solid"/>
                <a:miter/>
              </a:ln>
            </p:spPr>
            <p:txBody>
              <a:bodyPr rtlCol="0" anchor="ctr"/>
              <a:lstStyle/>
              <a:p>
                <a:endParaRPr lang="en-GB"/>
              </a:p>
            </p:txBody>
          </p:sp>
          <p:sp>
            <p:nvSpPr>
              <p:cNvPr id="2410" name="Vrije vorm: vorm 2409">
                <a:extLst>
                  <a:ext uri="{FF2B5EF4-FFF2-40B4-BE49-F238E27FC236}">
                    <a16:creationId xmlns:a16="http://schemas.microsoft.com/office/drawing/2014/main" id="{529F523F-499E-44AC-AB7D-4F33B59D2996}"/>
                  </a:ext>
                </a:extLst>
              </p:cNvPr>
              <p:cNvSpPr/>
              <p:nvPr/>
            </p:nvSpPr>
            <p:spPr>
              <a:xfrm>
                <a:off x="5264415" y="4969036"/>
                <a:ext cx="18332" cy="18413"/>
              </a:xfrm>
              <a:custGeom>
                <a:avLst/>
                <a:gdLst>
                  <a:gd name="connsiteX0" fmla="*/ 17360 w 18332"/>
                  <a:gd name="connsiteY0" fmla="*/ 13363 h 18413"/>
                  <a:gd name="connsiteX1" fmla="*/ 13293 w 18332"/>
                  <a:gd name="connsiteY1" fmla="*/ 983 h 18413"/>
                  <a:gd name="connsiteX2" fmla="*/ 973 w 18332"/>
                  <a:gd name="connsiteY2" fmla="*/ 5050 h 18413"/>
                  <a:gd name="connsiteX3" fmla="*/ 5039 w 18332"/>
                  <a:gd name="connsiteY3" fmla="*/ 17430 h 18413"/>
                  <a:gd name="connsiteX4" fmla="*/ 17360 w 18332"/>
                  <a:gd name="connsiteY4" fmla="*/ 13363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13">
                    <a:moveTo>
                      <a:pt x="17360" y="13363"/>
                    </a:moveTo>
                    <a:cubicBezTo>
                      <a:pt x="19632" y="8818"/>
                      <a:pt x="17778" y="3256"/>
                      <a:pt x="13293" y="983"/>
                    </a:cubicBezTo>
                    <a:cubicBezTo>
                      <a:pt x="8747" y="-1289"/>
                      <a:pt x="3245" y="505"/>
                      <a:pt x="973" y="5050"/>
                    </a:cubicBezTo>
                    <a:cubicBezTo>
                      <a:pt x="-1300" y="9596"/>
                      <a:pt x="554" y="15158"/>
                      <a:pt x="5039" y="17430"/>
                    </a:cubicBezTo>
                    <a:cubicBezTo>
                      <a:pt x="9585" y="19703"/>
                      <a:pt x="15087" y="17909"/>
                      <a:pt x="17360" y="13363"/>
                    </a:cubicBezTo>
                    <a:close/>
                  </a:path>
                </a:pathLst>
              </a:custGeom>
              <a:grpFill/>
              <a:ln w="5978" cap="flat">
                <a:noFill/>
                <a:prstDash val="solid"/>
                <a:miter/>
              </a:ln>
            </p:spPr>
            <p:txBody>
              <a:bodyPr rtlCol="0" anchor="ctr"/>
              <a:lstStyle/>
              <a:p>
                <a:endParaRPr lang="en-GB"/>
              </a:p>
            </p:txBody>
          </p:sp>
        </p:grpSp>
        <p:grpSp>
          <p:nvGrpSpPr>
            <p:cNvPr id="998" name="Graphic 3">
              <a:extLst>
                <a:ext uri="{FF2B5EF4-FFF2-40B4-BE49-F238E27FC236}">
                  <a16:creationId xmlns:a16="http://schemas.microsoft.com/office/drawing/2014/main" id="{6E177A34-D858-4DFF-9623-D7FDA9192C6D}"/>
                </a:ext>
              </a:extLst>
            </p:cNvPr>
            <p:cNvGrpSpPr/>
            <p:nvPr/>
          </p:nvGrpSpPr>
          <p:grpSpPr>
            <a:xfrm>
              <a:off x="4189142" y="2473772"/>
              <a:ext cx="345175" cy="182858"/>
              <a:chOff x="4189142" y="2473772"/>
              <a:chExt cx="345175" cy="182858"/>
            </a:xfrm>
            <a:grpFill/>
          </p:grpSpPr>
          <p:sp>
            <p:nvSpPr>
              <p:cNvPr id="2405" name="Vrije vorm: vorm 2404">
                <a:extLst>
                  <a:ext uri="{FF2B5EF4-FFF2-40B4-BE49-F238E27FC236}">
                    <a16:creationId xmlns:a16="http://schemas.microsoft.com/office/drawing/2014/main" id="{174C4C9A-44C3-4BF9-B0E1-F1B033D0CDBF}"/>
                  </a:ext>
                </a:extLst>
              </p:cNvPr>
              <p:cNvSpPr/>
              <p:nvPr/>
            </p:nvSpPr>
            <p:spPr>
              <a:xfrm>
                <a:off x="4197230" y="2481441"/>
                <a:ext cx="328999" cy="167579"/>
              </a:xfrm>
              <a:custGeom>
                <a:avLst/>
                <a:gdLst>
                  <a:gd name="connsiteX0" fmla="*/ 328999 w 328999"/>
                  <a:gd name="connsiteY0" fmla="*/ 164829 h 167579"/>
                  <a:gd name="connsiteX1" fmla="*/ 327684 w 328999"/>
                  <a:gd name="connsiteY1" fmla="*/ 167580 h 167579"/>
                  <a:gd name="connsiteX2" fmla="*/ 0 w 328999"/>
                  <a:gd name="connsiteY2" fmla="*/ 2751 h 167579"/>
                  <a:gd name="connsiteX3" fmla="*/ 1375 w 328999"/>
                  <a:gd name="connsiteY3" fmla="*/ 0 h 167579"/>
                </a:gdLst>
                <a:ahLst/>
                <a:cxnLst>
                  <a:cxn ang="0">
                    <a:pos x="connsiteX0" y="connsiteY0"/>
                  </a:cxn>
                  <a:cxn ang="0">
                    <a:pos x="connsiteX1" y="connsiteY1"/>
                  </a:cxn>
                  <a:cxn ang="0">
                    <a:pos x="connsiteX2" y="connsiteY2"/>
                  </a:cxn>
                  <a:cxn ang="0">
                    <a:pos x="connsiteX3" y="connsiteY3"/>
                  </a:cxn>
                </a:cxnLst>
                <a:rect l="l" t="t" r="r" b="b"/>
                <a:pathLst>
                  <a:path w="328999" h="167579">
                    <a:moveTo>
                      <a:pt x="328999" y="164829"/>
                    </a:moveTo>
                    <a:lnTo>
                      <a:pt x="327684" y="167580"/>
                    </a:lnTo>
                    <a:lnTo>
                      <a:pt x="0" y="2751"/>
                    </a:lnTo>
                    <a:lnTo>
                      <a:pt x="1375" y="0"/>
                    </a:lnTo>
                    <a:close/>
                  </a:path>
                </a:pathLst>
              </a:custGeom>
              <a:grpFill/>
              <a:ln w="5978" cap="flat">
                <a:noFill/>
                <a:prstDash val="solid"/>
                <a:miter/>
              </a:ln>
            </p:spPr>
            <p:txBody>
              <a:bodyPr rtlCol="0" anchor="ctr"/>
              <a:lstStyle/>
              <a:p>
                <a:endParaRPr lang="en-GB"/>
              </a:p>
            </p:txBody>
          </p:sp>
          <p:sp>
            <p:nvSpPr>
              <p:cNvPr id="2406" name="Vrije vorm: vorm 2405">
                <a:extLst>
                  <a:ext uri="{FF2B5EF4-FFF2-40B4-BE49-F238E27FC236}">
                    <a16:creationId xmlns:a16="http://schemas.microsoft.com/office/drawing/2014/main" id="{54E12945-6320-48F9-90DF-CB3F1C5AD0BA}"/>
                  </a:ext>
                </a:extLst>
              </p:cNvPr>
              <p:cNvSpPr/>
              <p:nvPr/>
            </p:nvSpPr>
            <p:spPr>
              <a:xfrm>
                <a:off x="4189142" y="2473772"/>
                <a:ext cx="18329" cy="18459"/>
              </a:xfrm>
              <a:custGeom>
                <a:avLst/>
                <a:gdLst>
                  <a:gd name="connsiteX0" fmla="*/ 5098 w 18329"/>
                  <a:gd name="connsiteY0" fmla="*/ 17478 h 18459"/>
                  <a:gd name="connsiteX1" fmla="*/ 971 w 18329"/>
                  <a:gd name="connsiteY1" fmla="*/ 5098 h 18459"/>
                  <a:gd name="connsiteX2" fmla="*/ 13231 w 18329"/>
                  <a:gd name="connsiteY2" fmla="*/ 971 h 18459"/>
                  <a:gd name="connsiteX3" fmla="*/ 17358 w 18329"/>
                  <a:gd name="connsiteY3" fmla="*/ 13351 h 18459"/>
                  <a:gd name="connsiteX4" fmla="*/ 5098 w 18329"/>
                  <a:gd name="connsiteY4" fmla="*/ 17478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9">
                    <a:moveTo>
                      <a:pt x="5098" y="17478"/>
                    </a:moveTo>
                    <a:cubicBezTo>
                      <a:pt x="552" y="15205"/>
                      <a:pt x="-1302" y="9643"/>
                      <a:pt x="971" y="5098"/>
                    </a:cubicBezTo>
                    <a:cubicBezTo>
                      <a:pt x="3244" y="552"/>
                      <a:pt x="8746" y="-1302"/>
                      <a:pt x="13231" y="971"/>
                    </a:cubicBezTo>
                    <a:cubicBezTo>
                      <a:pt x="17777" y="3244"/>
                      <a:pt x="19631" y="8806"/>
                      <a:pt x="17358" y="13351"/>
                    </a:cubicBezTo>
                    <a:cubicBezTo>
                      <a:pt x="15145" y="17956"/>
                      <a:pt x="9643" y="19750"/>
                      <a:pt x="5098" y="17478"/>
                    </a:cubicBezTo>
                    <a:close/>
                  </a:path>
                </a:pathLst>
              </a:custGeom>
              <a:grpFill/>
              <a:ln w="5978" cap="flat">
                <a:noFill/>
                <a:prstDash val="solid"/>
                <a:miter/>
              </a:ln>
            </p:spPr>
            <p:txBody>
              <a:bodyPr rtlCol="0" anchor="ctr"/>
              <a:lstStyle/>
              <a:p>
                <a:endParaRPr lang="en-GB"/>
              </a:p>
            </p:txBody>
          </p:sp>
          <p:sp>
            <p:nvSpPr>
              <p:cNvPr id="2407" name="Vrije vorm: vorm 2406">
                <a:extLst>
                  <a:ext uri="{FF2B5EF4-FFF2-40B4-BE49-F238E27FC236}">
                    <a16:creationId xmlns:a16="http://schemas.microsoft.com/office/drawing/2014/main" id="{B5820DBD-4EF2-4BBF-9B29-B3E05929CE34}"/>
                  </a:ext>
                </a:extLst>
              </p:cNvPr>
              <p:cNvSpPr/>
              <p:nvPr/>
            </p:nvSpPr>
            <p:spPr>
              <a:xfrm>
                <a:off x="4515988" y="2638182"/>
                <a:ext cx="18329" cy="18448"/>
              </a:xfrm>
              <a:custGeom>
                <a:avLst/>
                <a:gdLst>
                  <a:gd name="connsiteX0" fmla="*/ 5098 w 18329"/>
                  <a:gd name="connsiteY0" fmla="*/ 17478 h 18448"/>
                  <a:gd name="connsiteX1" fmla="*/ 17358 w 18329"/>
                  <a:gd name="connsiteY1" fmla="*/ 13351 h 18448"/>
                  <a:gd name="connsiteX2" fmla="*/ 13231 w 18329"/>
                  <a:gd name="connsiteY2" fmla="*/ 971 h 18448"/>
                  <a:gd name="connsiteX3" fmla="*/ 971 w 18329"/>
                  <a:gd name="connsiteY3" fmla="*/ 5098 h 18448"/>
                  <a:gd name="connsiteX4" fmla="*/ 5098 w 18329"/>
                  <a:gd name="connsiteY4" fmla="*/ 174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8">
                    <a:moveTo>
                      <a:pt x="5098" y="17478"/>
                    </a:moveTo>
                    <a:cubicBezTo>
                      <a:pt x="9643" y="19750"/>
                      <a:pt x="15145" y="17896"/>
                      <a:pt x="17358" y="13351"/>
                    </a:cubicBezTo>
                    <a:cubicBezTo>
                      <a:pt x="19631" y="8806"/>
                      <a:pt x="17777" y="3244"/>
                      <a:pt x="13231" y="971"/>
                    </a:cubicBezTo>
                    <a:cubicBezTo>
                      <a:pt x="8686" y="-1302"/>
                      <a:pt x="3184" y="552"/>
                      <a:pt x="971" y="5098"/>
                    </a:cubicBezTo>
                    <a:cubicBezTo>
                      <a:pt x="-1302" y="9703"/>
                      <a:pt x="552" y="15205"/>
                      <a:pt x="5098" y="17478"/>
                    </a:cubicBezTo>
                    <a:close/>
                  </a:path>
                </a:pathLst>
              </a:custGeom>
              <a:grpFill/>
              <a:ln w="5978" cap="flat">
                <a:noFill/>
                <a:prstDash val="solid"/>
                <a:miter/>
              </a:ln>
            </p:spPr>
            <p:txBody>
              <a:bodyPr rtlCol="0" anchor="ctr"/>
              <a:lstStyle/>
              <a:p>
                <a:endParaRPr lang="en-GB"/>
              </a:p>
            </p:txBody>
          </p:sp>
        </p:grpSp>
        <p:grpSp>
          <p:nvGrpSpPr>
            <p:cNvPr id="999" name="Graphic 3">
              <a:extLst>
                <a:ext uri="{FF2B5EF4-FFF2-40B4-BE49-F238E27FC236}">
                  <a16:creationId xmlns:a16="http://schemas.microsoft.com/office/drawing/2014/main" id="{9EDE509C-BD39-450B-BC96-BCABF38AB795}"/>
                </a:ext>
              </a:extLst>
            </p:cNvPr>
            <p:cNvGrpSpPr/>
            <p:nvPr/>
          </p:nvGrpSpPr>
          <p:grpSpPr>
            <a:xfrm>
              <a:off x="5145594" y="4950941"/>
              <a:ext cx="109898" cy="193117"/>
              <a:chOff x="5145594" y="4950941"/>
              <a:chExt cx="109898" cy="193117"/>
            </a:xfrm>
            <a:grpFill/>
          </p:grpSpPr>
          <p:sp>
            <p:nvSpPr>
              <p:cNvPr id="2402" name="Vrije vorm: vorm 2401">
                <a:extLst>
                  <a:ext uri="{FF2B5EF4-FFF2-40B4-BE49-F238E27FC236}">
                    <a16:creationId xmlns:a16="http://schemas.microsoft.com/office/drawing/2014/main" id="{F8FD298F-ADBC-4249-9FBE-2C8231F69BB8}"/>
                  </a:ext>
                </a:extLst>
              </p:cNvPr>
              <p:cNvSpPr/>
              <p:nvPr/>
            </p:nvSpPr>
            <p:spPr>
              <a:xfrm>
                <a:off x="5153189" y="4959015"/>
                <a:ext cx="94674" cy="176909"/>
              </a:xfrm>
              <a:custGeom>
                <a:avLst/>
                <a:gdLst>
                  <a:gd name="connsiteX0" fmla="*/ 94675 w 94674"/>
                  <a:gd name="connsiteY0" fmla="*/ 1435 h 176909"/>
                  <a:gd name="connsiteX1" fmla="*/ 2691 w 94674"/>
                  <a:gd name="connsiteY1" fmla="*/ 176909 h 176909"/>
                  <a:gd name="connsiteX2" fmla="*/ 0 w 94674"/>
                  <a:gd name="connsiteY2" fmla="*/ 175474 h 176909"/>
                  <a:gd name="connsiteX3" fmla="*/ 91984 w 94674"/>
                  <a:gd name="connsiteY3" fmla="*/ 0 h 176909"/>
                </a:gdLst>
                <a:ahLst/>
                <a:cxnLst>
                  <a:cxn ang="0">
                    <a:pos x="connsiteX0" y="connsiteY0"/>
                  </a:cxn>
                  <a:cxn ang="0">
                    <a:pos x="connsiteX1" y="connsiteY1"/>
                  </a:cxn>
                  <a:cxn ang="0">
                    <a:pos x="connsiteX2" y="connsiteY2"/>
                  </a:cxn>
                  <a:cxn ang="0">
                    <a:pos x="connsiteX3" y="connsiteY3"/>
                  </a:cxn>
                </a:cxnLst>
                <a:rect l="l" t="t" r="r" b="b"/>
                <a:pathLst>
                  <a:path w="94674" h="176909">
                    <a:moveTo>
                      <a:pt x="94675" y="1435"/>
                    </a:moveTo>
                    <a:lnTo>
                      <a:pt x="2691" y="176909"/>
                    </a:lnTo>
                    <a:lnTo>
                      <a:pt x="0" y="175474"/>
                    </a:lnTo>
                    <a:lnTo>
                      <a:pt x="91984" y="0"/>
                    </a:lnTo>
                    <a:close/>
                  </a:path>
                </a:pathLst>
              </a:custGeom>
              <a:grpFill/>
              <a:ln w="5978" cap="flat">
                <a:noFill/>
                <a:prstDash val="solid"/>
                <a:miter/>
              </a:ln>
            </p:spPr>
            <p:txBody>
              <a:bodyPr rtlCol="0" anchor="ctr"/>
              <a:lstStyle/>
              <a:p>
                <a:endParaRPr lang="en-GB"/>
              </a:p>
            </p:txBody>
          </p:sp>
          <p:sp>
            <p:nvSpPr>
              <p:cNvPr id="2403" name="Vrije vorm: vorm 2402">
                <a:extLst>
                  <a:ext uri="{FF2B5EF4-FFF2-40B4-BE49-F238E27FC236}">
                    <a16:creationId xmlns:a16="http://schemas.microsoft.com/office/drawing/2014/main" id="{EAF9B2E6-1F0F-4230-82EE-8CEC2666E4FB}"/>
                  </a:ext>
                </a:extLst>
              </p:cNvPr>
              <p:cNvSpPr/>
              <p:nvPr/>
            </p:nvSpPr>
            <p:spPr>
              <a:xfrm>
                <a:off x="5145594" y="5125638"/>
                <a:ext cx="18322" cy="18420"/>
              </a:xfrm>
              <a:custGeom>
                <a:avLst/>
                <a:gdLst>
                  <a:gd name="connsiteX0" fmla="*/ 17284 w 18322"/>
                  <a:gd name="connsiteY0" fmla="*/ 13516 h 18420"/>
                  <a:gd name="connsiteX1" fmla="*/ 4904 w 18322"/>
                  <a:gd name="connsiteY1" fmla="*/ 17344 h 18420"/>
                  <a:gd name="connsiteX2" fmla="*/ 1076 w 18322"/>
                  <a:gd name="connsiteY2" fmla="*/ 4904 h 18420"/>
                  <a:gd name="connsiteX3" fmla="*/ 13456 w 18322"/>
                  <a:gd name="connsiteY3" fmla="*/ 1076 h 18420"/>
                  <a:gd name="connsiteX4" fmla="*/ 17284 w 18322"/>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0">
                    <a:moveTo>
                      <a:pt x="17284" y="13516"/>
                    </a:moveTo>
                    <a:cubicBezTo>
                      <a:pt x="14951" y="18002"/>
                      <a:pt x="9389" y="19736"/>
                      <a:pt x="4904" y="17344"/>
                    </a:cubicBezTo>
                    <a:cubicBezTo>
                      <a:pt x="418" y="14952"/>
                      <a:pt x="-1316" y="9390"/>
                      <a:pt x="1076" y="4904"/>
                    </a:cubicBezTo>
                    <a:cubicBezTo>
                      <a:pt x="3409" y="419"/>
                      <a:pt x="8971" y="-1316"/>
                      <a:pt x="13456" y="1076"/>
                    </a:cubicBezTo>
                    <a:cubicBezTo>
                      <a:pt x="17882" y="3409"/>
                      <a:pt x="19617" y="8971"/>
                      <a:pt x="17284" y="13516"/>
                    </a:cubicBezTo>
                    <a:close/>
                  </a:path>
                </a:pathLst>
              </a:custGeom>
              <a:grpFill/>
              <a:ln w="5978" cap="flat">
                <a:noFill/>
                <a:prstDash val="solid"/>
                <a:miter/>
              </a:ln>
            </p:spPr>
            <p:txBody>
              <a:bodyPr rtlCol="0" anchor="ctr"/>
              <a:lstStyle/>
              <a:p>
                <a:endParaRPr lang="en-GB"/>
              </a:p>
            </p:txBody>
          </p:sp>
          <p:sp>
            <p:nvSpPr>
              <p:cNvPr id="2404" name="Vrije vorm: vorm 2403">
                <a:extLst>
                  <a:ext uri="{FF2B5EF4-FFF2-40B4-BE49-F238E27FC236}">
                    <a16:creationId xmlns:a16="http://schemas.microsoft.com/office/drawing/2014/main" id="{E9EF63AC-1D1D-4A54-B273-8DA1EAEB37DE}"/>
                  </a:ext>
                </a:extLst>
              </p:cNvPr>
              <p:cNvSpPr/>
              <p:nvPr/>
            </p:nvSpPr>
            <p:spPr>
              <a:xfrm>
                <a:off x="5237185" y="4950941"/>
                <a:ext cx="18307" cy="18420"/>
              </a:xfrm>
              <a:custGeom>
                <a:avLst/>
                <a:gdLst>
                  <a:gd name="connsiteX0" fmla="*/ 17258 w 18307"/>
                  <a:gd name="connsiteY0" fmla="*/ 13516 h 18420"/>
                  <a:gd name="connsiteX1" fmla="*/ 13430 w 18307"/>
                  <a:gd name="connsiteY1" fmla="*/ 1076 h 18420"/>
                  <a:gd name="connsiteX2" fmla="*/ 1050 w 18307"/>
                  <a:gd name="connsiteY2" fmla="*/ 4904 h 18420"/>
                  <a:gd name="connsiteX3" fmla="*/ 4877 w 18307"/>
                  <a:gd name="connsiteY3" fmla="*/ 17344 h 18420"/>
                  <a:gd name="connsiteX4" fmla="*/ 17258 w 18307"/>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0">
                    <a:moveTo>
                      <a:pt x="17258" y="13516"/>
                    </a:moveTo>
                    <a:cubicBezTo>
                      <a:pt x="19590" y="9031"/>
                      <a:pt x="17915" y="3469"/>
                      <a:pt x="13430" y="1076"/>
                    </a:cubicBezTo>
                    <a:cubicBezTo>
                      <a:pt x="8944" y="-1316"/>
                      <a:pt x="3382" y="418"/>
                      <a:pt x="1050" y="4904"/>
                    </a:cubicBezTo>
                    <a:cubicBezTo>
                      <a:pt x="-1283" y="9389"/>
                      <a:pt x="392" y="14952"/>
                      <a:pt x="4877" y="17344"/>
                    </a:cubicBezTo>
                    <a:cubicBezTo>
                      <a:pt x="9363" y="19736"/>
                      <a:pt x="14865" y="18002"/>
                      <a:pt x="17258" y="13516"/>
                    </a:cubicBezTo>
                    <a:close/>
                  </a:path>
                </a:pathLst>
              </a:custGeom>
              <a:grpFill/>
              <a:ln w="5978" cap="flat">
                <a:noFill/>
                <a:prstDash val="solid"/>
                <a:miter/>
              </a:ln>
            </p:spPr>
            <p:txBody>
              <a:bodyPr rtlCol="0" anchor="ctr"/>
              <a:lstStyle/>
              <a:p>
                <a:endParaRPr lang="en-GB"/>
              </a:p>
            </p:txBody>
          </p:sp>
        </p:grpSp>
        <p:grpSp>
          <p:nvGrpSpPr>
            <p:cNvPr id="1000" name="Graphic 3">
              <a:extLst>
                <a:ext uri="{FF2B5EF4-FFF2-40B4-BE49-F238E27FC236}">
                  <a16:creationId xmlns:a16="http://schemas.microsoft.com/office/drawing/2014/main" id="{9DDF3DCB-823B-4F41-9C63-8EC3F8CA913B}"/>
                </a:ext>
              </a:extLst>
            </p:cNvPr>
            <p:cNvGrpSpPr/>
            <p:nvPr/>
          </p:nvGrpSpPr>
          <p:grpSpPr>
            <a:xfrm>
              <a:off x="5170520" y="5024063"/>
              <a:ext cx="121971" cy="235566"/>
              <a:chOff x="5170520" y="5024063"/>
              <a:chExt cx="121971" cy="235566"/>
            </a:xfrm>
            <a:grpFill/>
          </p:grpSpPr>
          <p:sp>
            <p:nvSpPr>
              <p:cNvPr id="2399" name="Vrije vorm: vorm 2398">
                <a:extLst>
                  <a:ext uri="{FF2B5EF4-FFF2-40B4-BE49-F238E27FC236}">
                    <a16:creationId xmlns:a16="http://schemas.microsoft.com/office/drawing/2014/main" id="{431DDF33-BE4E-42D4-95D5-FC5D3C5F84D7}"/>
                  </a:ext>
                </a:extLst>
              </p:cNvPr>
              <p:cNvSpPr/>
              <p:nvPr/>
            </p:nvSpPr>
            <p:spPr>
              <a:xfrm>
                <a:off x="5178069" y="5032219"/>
                <a:ext cx="106875" cy="219253"/>
              </a:xfrm>
              <a:custGeom>
                <a:avLst/>
                <a:gdLst>
                  <a:gd name="connsiteX0" fmla="*/ 106875 w 106875"/>
                  <a:gd name="connsiteY0" fmla="*/ 1375 h 219253"/>
                  <a:gd name="connsiteX1" fmla="*/ 2751 w 106875"/>
                  <a:gd name="connsiteY1" fmla="*/ 219253 h 219253"/>
                  <a:gd name="connsiteX2" fmla="*/ 0 w 106875"/>
                  <a:gd name="connsiteY2" fmla="*/ 217938 h 219253"/>
                  <a:gd name="connsiteX3" fmla="*/ 104124 w 106875"/>
                  <a:gd name="connsiteY3" fmla="*/ 0 h 219253"/>
                </a:gdLst>
                <a:ahLst/>
                <a:cxnLst>
                  <a:cxn ang="0">
                    <a:pos x="connsiteX0" y="connsiteY0"/>
                  </a:cxn>
                  <a:cxn ang="0">
                    <a:pos x="connsiteX1" y="connsiteY1"/>
                  </a:cxn>
                  <a:cxn ang="0">
                    <a:pos x="connsiteX2" y="connsiteY2"/>
                  </a:cxn>
                  <a:cxn ang="0">
                    <a:pos x="connsiteX3" y="connsiteY3"/>
                  </a:cxn>
                </a:cxnLst>
                <a:rect l="l" t="t" r="r" b="b"/>
                <a:pathLst>
                  <a:path w="106875" h="219253">
                    <a:moveTo>
                      <a:pt x="106875" y="1375"/>
                    </a:moveTo>
                    <a:lnTo>
                      <a:pt x="2751" y="219253"/>
                    </a:lnTo>
                    <a:lnTo>
                      <a:pt x="0" y="217938"/>
                    </a:lnTo>
                    <a:lnTo>
                      <a:pt x="104124" y="0"/>
                    </a:lnTo>
                    <a:close/>
                  </a:path>
                </a:pathLst>
              </a:custGeom>
              <a:grpFill/>
              <a:ln w="5978" cap="flat">
                <a:noFill/>
                <a:prstDash val="solid"/>
                <a:miter/>
              </a:ln>
            </p:spPr>
            <p:txBody>
              <a:bodyPr rtlCol="0" anchor="ctr"/>
              <a:lstStyle/>
              <a:p>
                <a:endParaRPr lang="en-GB"/>
              </a:p>
            </p:txBody>
          </p:sp>
          <p:sp>
            <p:nvSpPr>
              <p:cNvPr id="2400" name="Vrije vorm: vorm 2399">
                <a:extLst>
                  <a:ext uri="{FF2B5EF4-FFF2-40B4-BE49-F238E27FC236}">
                    <a16:creationId xmlns:a16="http://schemas.microsoft.com/office/drawing/2014/main" id="{B6FE22A9-B9C7-4309-BDF0-D05F02540175}"/>
                  </a:ext>
                </a:extLst>
              </p:cNvPr>
              <p:cNvSpPr/>
              <p:nvPr/>
            </p:nvSpPr>
            <p:spPr>
              <a:xfrm>
                <a:off x="5170520" y="5241163"/>
                <a:ext cx="18326" cy="18466"/>
              </a:xfrm>
              <a:custGeom>
                <a:avLst/>
                <a:gdLst>
                  <a:gd name="connsiteX0" fmla="*/ 17416 w 18326"/>
                  <a:gd name="connsiteY0" fmla="*/ 13240 h 18466"/>
                  <a:gd name="connsiteX1" fmla="*/ 5216 w 18326"/>
                  <a:gd name="connsiteY1" fmla="*/ 17546 h 18466"/>
                  <a:gd name="connsiteX2" fmla="*/ 910 w 18326"/>
                  <a:gd name="connsiteY2" fmla="*/ 5226 h 18466"/>
                  <a:gd name="connsiteX3" fmla="*/ 13110 w 18326"/>
                  <a:gd name="connsiteY3" fmla="*/ 920 h 18466"/>
                  <a:gd name="connsiteX4" fmla="*/ 17416 w 18326"/>
                  <a:gd name="connsiteY4" fmla="*/ 13240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6">
                    <a:moveTo>
                      <a:pt x="17416" y="13240"/>
                    </a:moveTo>
                    <a:cubicBezTo>
                      <a:pt x="15204" y="17845"/>
                      <a:pt x="9761" y="19759"/>
                      <a:pt x="5216" y="17546"/>
                    </a:cubicBezTo>
                    <a:cubicBezTo>
                      <a:pt x="670" y="15333"/>
                      <a:pt x="-1303" y="9831"/>
                      <a:pt x="910" y="5226"/>
                    </a:cubicBezTo>
                    <a:cubicBezTo>
                      <a:pt x="3122" y="621"/>
                      <a:pt x="8565" y="-1293"/>
                      <a:pt x="13110" y="920"/>
                    </a:cubicBezTo>
                    <a:cubicBezTo>
                      <a:pt x="17656" y="3192"/>
                      <a:pt x="19629" y="8695"/>
                      <a:pt x="17416" y="13240"/>
                    </a:cubicBezTo>
                    <a:close/>
                  </a:path>
                </a:pathLst>
              </a:custGeom>
              <a:grpFill/>
              <a:ln w="5978" cap="flat">
                <a:noFill/>
                <a:prstDash val="solid"/>
                <a:miter/>
              </a:ln>
            </p:spPr>
            <p:txBody>
              <a:bodyPr rtlCol="0" anchor="ctr"/>
              <a:lstStyle/>
              <a:p>
                <a:endParaRPr lang="en-GB"/>
              </a:p>
            </p:txBody>
          </p:sp>
          <p:sp>
            <p:nvSpPr>
              <p:cNvPr id="2401" name="Vrije vorm: vorm 2400">
                <a:extLst>
                  <a:ext uri="{FF2B5EF4-FFF2-40B4-BE49-F238E27FC236}">
                    <a16:creationId xmlns:a16="http://schemas.microsoft.com/office/drawing/2014/main" id="{A0EC90F7-404D-452E-A24A-25A12A20B852}"/>
                  </a:ext>
                </a:extLst>
              </p:cNvPr>
              <p:cNvSpPr/>
              <p:nvPr/>
            </p:nvSpPr>
            <p:spPr>
              <a:xfrm>
                <a:off x="5274166" y="5024063"/>
                <a:ext cx="18325" cy="18466"/>
              </a:xfrm>
              <a:custGeom>
                <a:avLst/>
                <a:gdLst>
                  <a:gd name="connsiteX0" fmla="*/ 17416 w 18325"/>
                  <a:gd name="connsiteY0" fmla="*/ 13240 h 18466"/>
                  <a:gd name="connsiteX1" fmla="*/ 13110 w 18325"/>
                  <a:gd name="connsiteY1" fmla="*/ 920 h 18466"/>
                  <a:gd name="connsiteX2" fmla="*/ 910 w 18325"/>
                  <a:gd name="connsiteY2" fmla="*/ 5226 h 18466"/>
                  <a:gd name="connsiteX3" fmla="*/ 5216 w 18325"/>
                  <a:gd name="connsiteY3" fmla="*/ 17546 h 18466"/>
                  <a:gd name="connsiteX4" fmla="*/ 17416 w 18325"/>
                  <a:gd name="connsiteY4" fmla="*/ 13240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6">
                    <a:moveTo>
                      <a:pt x="17416" y="13240"/>
                    </a:moveTo>
                    <a:cubicBezTo>
                      <a:pt x="19629" y="8635"/>
                      <a:pt x="17656" y="3133"/>
                      <a:pt x="13110" y="920"/>
                    </a:cubicBezTo>
                    <a:cubicBezTo>
                      <a:pt x="8565" y="-1293"/>
                      <a:pt x="3063" y="621"/>
                      <a:pt x="910" y="5226"/>
                    </a:cubicBezTo>
                    <a:cubicBezTo>
                      <a:pt x="-1303" y="9831"/>
                      <a:pt x="670" y="15333"/>
                      <a:pt x="5216" y="17546"/>
                    </a:cubicBezTo>
                    <a:cubicBezTo>
                      <a:pt x="9761" y="19759"/>
                      <a:pt x="15263" y="17845"/>
                      <a:pt x="17416" y="13240"/>
                    </a:cubicBezTo>
                    <a:close/>
                  </a:path>
                </a:pathLst>
              </a:custGeom>
              <a:grpFill/>
              <a:ln w="5978" cap="flat">
                <a:noFill/>
                <a:prstDash val="solid"/>
                <a:miter/>
              </a:ln>
            </p:spPr>
            <p:txBody>
              <a:bodyPr rtlCol="0" anchor="ctr"/>
              <a:lstStyle/>
              <a:p>
                <a:endParaRPr lang="en-GB"/>
              </a:p>
            </p:txBody>
          </p:sp>
        </p:grpSp>
        <p:grpSp>
          <p:nvGrpSpPr>
            <p:cNvPr id="1001" name="Graphic 3">
              <a:extLst>
                <a:ext uri="{FF2B5EF4-FFF2-40B4-BE49-F238E27FC236}">
                  <a16:creationId xmlns:a16="http://schemas.microsoft.com/office/drawing/2014/main" id="{039060D9-2EC6-460A-A459-77F7E6F60EB8}"/>
                </a:ext>
              </a:extLst>
            </p:cNvPr>
            <p:cNvGrpSpPr/>
            <p:nvPr/>
          </p:nvGrpSpPr>
          <p:grpSpPr>
            <a:xfrm>
              <a:off x="4268570" y="2595362"/>
              <a:ext cx="242863" cy="121048"/>
              <a:chOff x="4268570" y="2595362"/>
              <a:chExt cx="242863" cy="121048"/>
            </a:xfrm>
            <a:grpFill/>
          </p:grpSpPr>
          <p:sp>
            <p:nvSpPr>
              <p:cNvPr id="2396" name="Vrije vorm: vorm 2395">
                <a:extLst>
                  <a:ext uri="{FF2B5EF4-FFF2-40B4-BE49-F238E27FC236}">
                    <a16:creationId xmlns:a16="http://schemas.microsoft.com/office/drawing/2014/main" id="{B68FD916-CC12-4088-87DC-BF7748BC4D05}"/>
                  </a:ext>
                </a:extLst>
              </p:cNvPr>
              <p:cNvSpPr/>
              <p:nvPr/>
            </p:nvSpPr>
            <p:spPr>
              <a:xfrm>
                <a:off x="4276714" y="2602970"/>
                <a:ext cx="226549" cy="105798"/>
              </a:xfrm>
              <a:custGeom>
                <a:avLst/>
                <a:gdLst>
                  <a:gd name="connsiteX0" fmla="*/ 226550 w 226549"/>
                  <a:gd name="connsiteY0" fmla="*/ 103048 h 105798"/>
                  <a:gd name="connsiteX1" fmla="*/ 225294 w 226549"/>
                  <a:gd name="connsiteY1" fmla="*/ 105799 h 105798"/>
                  <a:gd name="connsiteX2" fmla="*/ 0 w 226549"/>
                  <a:gd name="connsiteY2" fmla="*/ 2811 h 105798"/>
                  <a:gd name="connsiteX3" fmla="*/ 1256 w 226549"/>
                  <a:gd name="connsiteY3" fmla="*/ 0 h 105798"/>
                </a:gdLst>
                <a:ahLst/>
                <a:cxnLst>
                  <a:cxn ang="0">
                    <a:pos x="connsiteX0" y="connsiteY0"/>
                  </a:cxn>
                  <a:cxn ang="0">
                    <a:pos x="connsiteX1" y="connsiteY1"/>
                  </a:cxn>
                  <a:cxn ang="0">
                    <a:pos x="connsiteX2" y="connsiteY2"/>
                  </a:cxn>
                  <a:cxn ang="0">
                    <a:pos x="connsiteX3" y="connsiteY3"/>
                  </a:cxn>
                </a:cxnLst>
                <a:rect l="l" t="t" r="r" b="b"/>
                <a:pathLst>
                  <a:path w="226549" h="105798">
                    <a:moveTo>
                      <a:pt x="226550" y="103048"/>
                    </a:moveTo>
                    <a:lnTo>
                      <a:pt x="225294" y="105799"/>
                    </a:lnTo>
                    <a:lnTo>
                      <a:pt x="0" y="2811"/>
                    </a:lnTo>
                    <a:lnTo>
                      <a:pt x="1256" y="0"/>
                    </a:lnTo>
                    <a:close/>
                  </a:path>
                </a:pathLst>
              </a:custGeom>
              <a:grpFill/>
              <a:ln w="5978" cap="flat">
                <a:noFill/>
                <a:prstDash val="solid"/>
                <a:miter/>
              </a:ln>
            </p:spPr>
            <p:txBody>
              <a:bodyPr rtlCol="0" anchor="ctr"/>
              <a:lstStyle/>
              <a:p>
                <a:endParaRPr lang="en-GB"/>
              </a:p>
            </p:txBody>
          </p:sp>
          <p:sp>
            <p:nvSpPr>
              <p:cNvPr id="2397" name="Vrije vorm: vorm 2396">
                <a:extLst>
                  <a:ext uri="{FF2B5EF4-FFF2-40B4-BE49-F238E27FC236}">
                    <a16:creationId xmlns:a16="http://schemas.microsoft.com/office/drawing/2014/main" id="{FA9F3FC6-D39E-4770-8085-ED99D2E3C393}"/>
                  </a:ext>
                </a:extLst>
              </p:cNvPr>
              <p:cNvSpPr/>
              <p:nvPr/>
            </p:nvSpPr>
            <p:spPr>
              <a:xfrm>
                <a:off x="4268570" y="2595362"/>
                <a:ext cx="18346" cy="18419"/>
              </a:xfrm>
              <a:custGeom>
                <a:avLst/>
                <a:gdLst>
                  <a:gd name="connsiteX0" fmla="*/ 5393 w 18346"/>
                  <a:gd name="connsiteY0" fmla="*/ 17595 h 18419"/>
                  <a:gd name="connsiteX1" fmla="*/ 788 w 18346"/>
                  <a:gd name="connsiteY1" fmla="*/ 5395 h 18419"/>
                  <a:gd name="connsiteX2" fmla="*/ 12928 w 18346"/>
                  <a:gd name="connsiteY2" fmla="*/ 850 h 18419"/>
                  <a:gd name="connsiteX3" fmla="*/ 17534 w 18346"/>
                  <a:gd name="connsiteY3" fmla="*/ 13050 h 18419"/>
                  <a:gd name="connsiteX4" fmla="*/ 5393 w 18346"/>
                  <a:gd name="connsiteY4" fmla="*/ 17595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9">
                    <a:moveTo>
                      <a:pt x="5393" y="17595"/>
                    </a:moveTo>
                    <a:cubicBezTo>
                      <a:pt x="788" y="15502"/>
                      <a:pt x="-1246" y="10000"/>
                      <a:pt x="788" y="5395"/>
                    </a:cubicBezTo>
                    <a:cubicBezTo>
                      <a:pt x="2881" y="790"/>
                      <a:pt x="8264" y="-1304"/>
                      <a:pt x="12928" y="850"/>
                    </a:cubicBezTo>
                    <a:cubicBezTo>
                      <a:pt x="17534" y="2943"/>
                      <a:pt x="19627" y="8445"/>
                      <a:pt x="17534" y="13050"/>
                    </a:cubicBezTo>
                    <a:cubicBezTo>
                      <a:pt x="15440" y="17655"/>
                      <a:pt x="10058" y="19689"/>
                      <a:pt x="5393" y="17595"/>
                    </a:cubicBezTo>
                    <a:close/>
                  </a:path>
                </a:pathLst>
              </a:custGeom>
              <a:grpFill/>
              <a:ln w="5978" cap="flat">
                <a:noFill/>
                <a:prstDash val="solid"/>
                <a:miter/>
              </a:ln>
            </p:spPr>
            <p:txBody>
              <a:bodyPr rtlCol="0" anchor="ctr"/>
              <a:lstStyle/>
              <a:p>
                <a:endParaRPr lang="en-GB"/>
              </a:p>
            </p:txBody>
          </p:sp>
          <p:sp>
            <p:nvSpPr>
              <p:cNvPr id="2398" name="Vrije vorm: vorm 2397">
                <a:extLst>
                  <a:ext uri="{FF2B5EF4-FFF2-40B4-BE49-F238E27FC236}">
                    <a16:creationId xmlns:a16="http://schemas.microsoft.com/office/drawing/2014/main" id="{5AF1E797-4971-4A60-A732-63C8ED781FD4}"/>
                  </a:ext>
                </a:extLst>
              </p:cNvPr>
              <p:cNvSpPr/>
              <p:nvPr/>
            </p:nvSpPr>
            <p:spPr>
              <a:xfrm>
                <a:off x="4493061" y="2698017"/>
                <a:ext cx="18372" cy="18393"/>
              </a:xfrm>
              <a:custGeom>
                <a:avLst/>
                <a:gdLst>
                  <a:gd name="connsiteX0" fmla="*/ 5419 w 18372"/>
                  <a:gd name="connsiteY0" fmla="*/ 17570 h 18393"/>
                  <a:gd name="connsiteX1" fmla="*/ 17559 w 18372"/>
                  <a:gd name="connsiteY1" fmla="*/ 13024 h 18393"/>
                  <a:gd name="connsiteX2" fmla="*/ 12954 w 18372"/>
                  <a:gd name="connsiteY2" fmla="*/ 824 h 18393"/>
                  <a:gd name="connsiteX3" fmla="*/ 813 w 18372"/>
                  <a:gd name="connsiteY3" fmla="*/ 5369 h 18393"/>
                  <a:gd name="connsiteX4" fmla="*/ 5419 w 18372"/>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393">
                    <a:moveTo>
                      <a:pt x="5419" y="17570"/>
                    </a:moveTo>
                    <a:cubicBezTo>
                      <a:pt x="10023" y="19663"/>
                      <a:pt x="15466" y="17630"/>
                      <a:pt x="17559" y="13024"/>
                    </a:cubicBezTo>
                    <a:cubicBezTo>
                      <a:pt x="19653" y="8419"/>
                      <a:pt x="17559" y="2917"/>
                      <a:pt x="12954" y="824"/>
                    </a:cubicBezTo>
                    <a:cubicBezTo>
                      <a:pt x="8349" y="-1269"/>
                      <a:pt x="2906" y="764"/>
                      <a:pt x="813" y="5369"/>
                    </a:cubicBezTo>
                    <a:cubicBezTo>
                      <a:pt x="-1280" y="9974"/>
                      <a:pt x="813" y="15417"/>
                      <a:pt x="5419" y="17570"/>
                    </a:cubicBezTo>
                    <a:close/>
                  </a:path>
                </a:pathLst>
              </a:custGeom>
              <a:grpFill/>
              <a:ln w="5978" cap="flat">
                <a:noFill/>
                <a:prstDash val="solid"/>
                <a:miter/>
              </a:ln>
            </p:spPr>
            <p:txBody>
              <a:bodyPr rtlCol="0" anchor="ctr"/>
              <a:lstStyle/>
              <a:p>
                <a:endParaRPr lang="en-GB"/>
              </a:p>
            </p:txBody>
          </p:sp>
        </p:grpSp>
        <p:grpSp>
          <p:nvGrpSpPr>
            <p:cNvPr id="1002" name="Graphic 3">
              <a:extLst>
                <a:ext uri="{FF2B5EF4-FFF2-40B4-BE49-F238E27FC236}">
                  <a16:creationId xmlns:a16="http://schemas.microsoft.com/office/drawing/2014/main" id="{ABBB5613-C51C-4B03-95FF-647995F7EA2A}"/>
                </a:ext>
              </a:extLst>
            </p:cNvPr>
            <p:cNvGrpSpPr/>
            <p:nvPr/>
          </p:nvGrpSpPr>
          <p:grpSpPr>
            <a:xfrm>
              <a:off x="4330706" y="2545051"/>
              <a:ext cx="27659" cy="23124"/>
              <a:chOff x="4330706" y="2545051"/>
              <a:chExt cx="27659" cy="23124"/>
            </a:xfrm>
            <a:grpFill/>
          </p:grpSpPr>
          <p:sp>
            <p:nvSpPr>
              <p:cNvPr id="2394" name="Vrije vorm: vorm 2393">
                <a:extLst>
                  <a:ext uri="{FF2B5EF4-FFF2-40B4-BE49-F238E27FC236}">
                    <a16:creationId xmlns:a16="http://schemas.microsoft.com/office/drawing/2014/main" id="{CFF1C715-6454-4F9E-A2BC-398B6A71F642}"/>
                  </a:ext>
                </a:extLst>
              </p:cNvPr>
              <p:cNvSpPr/>
              <p:nvPr/>
            </p:nvSpPr>
            <p:spPr>
              <a:xfrm>
                <a:off x="4330706" y="2545051"/>
                <a:ext cx="18329" cy="18459"/>
              </a:xfrm>
              <a:custGeom>
                <a:avLst/>
                <a:gdLst>
                  <a:gd name="connsiteX0" fmla="*/ 13231 w 18329"/>
                  <a:gd name="connsiteY0" fmla="*/ 982 h 18459"/>
                  <a:gd name="connsiteX1" fmla="*/ 17358 w 18329"/>
                  <a:gd name="connsiteY1" fmla="*/ 13362 h 18459"/>
                  <a:gd name="connsiteX2" fmla="*/ 5098 w 18329"/>
                  <a:gd name="connsiteY2" fmla="*/ 17489 h 18459"/>
                  <a:gd name="connsiteX3" fmla="*/ 971 w 18329"/>
                  <a:gd name="connsiteY3" fmla="*/ 5109 h 18459"/>
                  <a:gd name="connsiteX4" fmla="*/ 13231 w 18329"/>
                  <a:gd name="connsiteY4" fmla="*/ 982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9">
                    <a:moveTo>
                      <a:pt x="13231" y="982"/>
                    </a:moveTo>
                    <a:cubicBezTo>
                      <a:pt x="17777" y="3255"/>
                      <a:pt x="19631" y="8817"/>
                      <a:pt x="17358" y="13362"/>
                    </a:cubicBezTo>
                    <a:cubicBezTo>
                      <a:pt x="15086" y="17907"/>
                      <a:pt x="9583" y="19761"/>
                      <a:pt x="5098" y="17489"/>
                    </a:cubicBezTo>
                    <a:cubicBezTo>
                      <a:pt x="552" y="15216"/>
                      <a:pt x="-1302" y="9654"/>
                      <a:pt x="971" y="5109"/>
                    </a:cubicBezTo>
                    <a:cubicBezTo>
                      <a:pt x="3244" y="503"/>
                      <a:pt x="8746" y="-1291"/>
                      <a:pt x="13231" y="982"/>
                    </a:cubicBezTo>
                    <a:close/>
                  </a:path>
                </a:pathLst>
              </a:custGeom>
              <a:grpFill/>
              <a:ln w="5978" cap="flat">
                <a:noFill/>
                <a:prstDash val="solid"/>
                <a:miter/>
              </a:ln>
            </p:spPr>
            <p:txBody>
              <a:bodyPr rtlCol="0" anchor="ctr"/>
              <a:lstStyle/>
              <a:p>
                <a:endParaRPr lang="en-GB"/>
              </a:p>
            </p:txBody>
          </p:sp>
          <p:sp>
            <p:nvSpPr>
              <p:cNvPr id="2395" name="Vrije vorm: vorm 2394">
                <a:extLst>
                  <a:ext uri="{FF2B5EF4-FFF2-40B4-BE49-F238E27FC236}">
                    <a16:creationId xmlns:a16="http://schemas.microsoft.com/office/drawing/2014/main" id="{B100C6FC-CBBC-4A07-8E1D-DD533A4F8FD1}"/>
                  </a:ext>
                </a:extLst>
              </p:cNvPr>
              <p:cNvSpPr/>
              <p:nvPr/>
            </p:nvSpPr>
            <p:spPr>
              <a:xfrm>
                <a:off x="4340036" y="2549727"/>
                <a:ext cx="18329" cy="18449"/>
              </a:xfrm>
              <a:custGeom>
                <a:avLst/>
                <a:gdLst>
                  <a:gd name="connsiteX0" fmla="*/ 13231 w 18329"/>
                  <a:gd name="connsiteY0" fmla="*/ 971 h 18449"/>
                  <a:gd name="connsiteX1" fmla="*/ 971 w 18329"/>
                  <a:gd name="connsiteY1" fmla="*/ 5098 h 18449"/>
                  <a:gd name="connsiteX2" fmla="*/ 5098 w 18329"/>
                  <a:gd name="connsiteY2" fmla="*/ 17478 h 18449"/>
                  <a:gd name="connsiteX3" fmla="*/ 17358 w 18329"/>
                  <a:gd name="connsiteY3" fmla="*/ 13351 h 18449"/>
                  <a:gd name="connsiteX4" fmla="*/ 13231 w 18329"/>
                  <a:gd name="connsiteY4" fmla="*/ 971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13231" y="971"/>
                    </a:moveTo>
                    <a:cubicBezTo>
                      <a:pt x="8686" y="-1302"/>
                      <a:pt x="3184" y="552"/>
                      <a:pt x="971" y="5098"/>
                    </a:cubicBezTo>
                    <a:cubicBezTo>
                      <a:pt x="-1302" y="9643"/>
                      <a:pt x="552" y="15205"/>
                      <a:pt x="5098" y="17478"/>
                    </a:cubicBezTo>
                    <a:cubicBezTo>
                      <a:pt x="9643" y="19751"/>
                      <a:pt x="15145" y="17897"/>
                      <a:pt x="17358" y="13351"/>
                    </a:cubicBezTo>
                    <a:cubicBezTo>
                      <a:pt x="19631" y="8806"/>
                      <a:pt x="17777" y="3244"/>
                      <a:pt x="13231" y="971"/>
                    </a:cubicBezTo>
                    <a:close/>
                  </a:path>
                </a:pathLst>
              </a:custGeom>
              <a:grpFill/>
              <a:ln w="5978" cap="flat">
                <a:noFill/>
                <a:prstDash val="solid"/>
                <a:miter/>
              </a:ln>
            </p:spPr>
            <p:txBody>
              <a:bodyPr rtlCol="0" anchor="ctr"/>
              <a:lstStyle/>
              <a:p>
                <a:endParaRPr lang="en-GB"/>
              </a:p>
            </p:txBody>
          </p:sp>
        </p:grpSp>
        <p:grpSp>
          <p:nvGrpSpPr>
            <p:cNvPr id="1003" name="Graphic 3">
              <a:extLst>
                <a:ext uri="{FF2B5EF4-FFF2-40B4-BE49-F238E27FC236}">
                  <a16:creationId xmlns:a16="http://schemas.microsoft.com/office/drawing/2014/main" id="{799DCBC0-9889-495D-9D35-7C8692CE3B14}"/>
                </a:ext>
              </a:extLst>
            </p:cNvPr>
            <p:cNvGrpSpPr/>
            <p:nvPr/>
          </p:nvGrpSpPr>
          <p:grpSpPr>
            <a:xfrm>
              <a:off x="5309797" y="5429763"/>
              <a:ext cx="136734" cy="406221"/>
              <a:chOff x="5309797" y="5429763"/>
              <a:chExt cx="136734" cy="406221"/>
            </a:xfrm>
            <a:grpFill/>
          </p:grpSpPr>
          <p:sp>
            <p:nvSpPr>
              <p:cNvPr id="2391" name="Vrije vorm: vorm 2390">
                <a:extLst>
                  <a:ext uri="{FF2B5EF4-FFF2-40B4-BE49-F238E27FC236}">
                    <a16:creationId xmlns:a16="http://schemas.microsoft.com/office/drawing/2014/main" id="{31C16A99-A008-4FE5-92BA-29462E06808C}"/>
                  </a:ext>
                </a:extLst>
              </p:cNvPr>
              <p:cNvSpPr/>
              <p:nvPr/>
            </p:nvSpPr>
            <p:spPr>
              <a:xfrm>
                <a:off x="5317360" y="5438131"/>
                <a:ext cx="121588" cy="389524"/>
              </a:xfrm>
              <a:custGeom>
                <a:avLst/>
                <a:gdLst>
                  <a:gd name="connsiteX0" fmla="*/ 121588 w 121588"/>
                  <a:gd name="connsiteY0" fmla="*/ 897 h 389524"/>
                  <a:gd name="connsiteX1" fmla="*/ 2871 w 121588"/>
                  <a:gd name="connsiteY1" fmla="*/ 389524 h 389524"/>
                  <a:gd name="connsiteX2" fmla="*/ 0 w 121588"/>
                  <a:gd name="connsiteY2" fmla="*/ 388627 h 389524"/>
                  <a:gd name="connsiteX3" fmla="*/ 118717 w 121588"/>
                  <a:gd name="connsiteY3" fmla="*/ 0 h 389524"/>
                </a:gdLst>
                <a:ahLst/>
                <a:cxnLst>
                  <a:cxn ang="0">
                    <a:pos x="connsiteX0" y="connsiteY0"/>
                  </a:cxn>
                  <a:cxn ang="0">
                    <a:pos x="connsiteX1" y="connsiteY1"/>
                  </a:cxn>
                  <a:cxn ang="0">
                    <a:pos x="connsiteX2" y="connsiteY2"/>
                  </a:cxn>
                  <a:cxn ang="0">
                    <a:pos x="connsiteX3" y="connsiteY3"/>
                  </a:cxn>
                </a:cxnLst>
                <a:rect l="l" t="t" r="r" b="b"/>
                <a:pathLst>
                  <a:path w="121588" h="389524">
                    <a:moveTo>
                      <a:pt x="121588" y="897"/>
                    </a:moveTo>
                    <a:lnTo>
                      <a:pt x="2871" y="389524"/>
                    </a:lnTo>
                    <a:lnTo>
                      <a:pt x="0" y="388627"/>
                    </a:lnTo>
                    <a:lnTo>
                      <a:pt x="118717" y="0"/>
                    </a:lnTo>
                    <a:close/>
                  </a:path>
                </a:pathLst>
              </a:custGeom>
              <a:grpFill/>
              <a:ln w="5978" cap="flat">
                <a:noFill/>
                <a:prstDash val="solid"/>
                <a:miter/>
              </a:ln>
            </p:spPr>
            <p:txBody>
              <a:bodyPr rtlCol="0" anchor="ctr"/>
              <a:lstStyle/>
              <a:p>
                <a:endParaRPr lang="en-GB"/>
              </a:p>
            </p:txBody>
          </p:sp>
          <p:sp>
            <p:nvSpPr>
              <p:cNvPr id="2392" name="Vrije vorm: vorm 2391">
                <a:extLst>
                  <a:ext uri="{FF2B5EF4-FFF2-40B4-BE49-F238E27FC236}">
                    <a16:creationId xmlns:a16="http://schemas.microsoft.com/office/drawing/2014/main" id="{D32A3A07-5820-4E3B-98D5-EAE5B7383018}"/>
                  </a:ext>
                </a:extLst>
              </p:cNvPr>
              <p:cNvSpPr/>
              <p:nvPr/>
            </p:nvSpPr>
            <p:spPr>
              <a:xfrm>
                <a:off x="5309797" y="5817531"/>
                <a:ext cx="18294" cy="18453"/>
              </a:xfrm>
              <a:custGeom>
                <a:avLst/>
                <a:gdLst>
                  <a:gd name="connsiteX0" fmla="*/ 17909 w 18294"/>
                  <a:gd name="connsiteY0" fmla="*/ 11978 h 18453"/>
                  <a:gd name="connsiteX1" fmla="*/ 6486 w 18294"/>
                  <a:gd name="connsiteY1" fmla="*/ 18019 h 18453"/>
                  <a:gd name="connsiteX2" fmla="*/ 386 w 18294"/>
                  <a:gd name="connsiteY2" fmla="*/ 6476 h 18453"/>
                  <a:gd name="connsiteX3" fmla="*/ 11809 w 18294"/>
                  <a:gd name="connsiteY3" fmla="*/ 435 h 18453"/>
                  <a:gd name="connsiteX4" fmla="*/ 17909 w 18294"/>
                  <a:gd name="connsiteY4" fmla="*/ 1197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53">
                    <a:moveTo>
                      <a:pt x="17909" y="11978"/>
                    </a:moveTo>
                    <a:cubicBezTo>
                      <a:pt x="16414" y="16822"/>
                      <a:pt x="11270" y="19574"/>
                      <a:pt x="6486" y="18019"/>
                    </a:cubicBezTo>
                    <a:cubicBezTo>
                      <a:pt x="1642" y="16523"/>
                      <a:pt x="-1050" y="11320"/>
                      <a:pt x="386" y="6476"/>
                    </a:cubicBezTo>
                    <a:cubicBezTo>
                      <a:pt x="1881" y="1631"/>
                      <a:pt x="7024" y="-1120"/>
                      <a:pt x="11809" y="435"/>
                    </a:cubicBezTo>
                    <a:cubicBezTo>
                      <a:pt x="16653" y="1930"/>
                      <a:pt x="19344" y="7134"/>
                      <a:pt x="17909" y="11978"/>
                    </a:cubicBezTo>
                    <a:close/>
                  </a:path>
                </a:pathLst>
              </a:custGeom>
              <a:grpFill/>
              <a:ln w="5978" cap="flat">
                <a:noFill/>
                <a:prstDash val="solid"/>
                <a:miter/>
              </a:ln>
            </p:spPr>
            <p:txBody>
              <a:bodyPr rtlCol="0" anchor="ctr"/>
              <a:lstStyle/>
              <a:p>
                <a:endParaRPr lang="en-GB"/>
              </a:p>
            </p:txBody>
          </p:sp>
          <p:sp>
            <p:nvSpPr>
              <p:cNvPr id="2393" name="Vrije vorm: vorm 2392">
                <a:extLst>
                  <a:ext uri="{FF2B5EF4-FFF2-40B4-BE49-F238E27FC236}">
                    <a16:creationId xmlns:a16="http://schemas.microsoft.com/office/drawing/2014/main" id="{C4A246DC-C308-4C4A-817F-8635B80EADBF}"/>
                  </a:ext>
                </a:extLst>
              </p:cNvPr>
              <p:cNvSpPr/>
              <p:nvPr/>
            </p:nvSpPr>
            <p:spPr>
              <a:xfrm>
                <a:off x="5428194" y="5429763"/>
                <a:ext cx="18338" cy="18431"/>
              </a:xfrm>
              <a:custGeom>
                <a:avLst/>
                <a:gdLst>
                  <a:gd name="connsiteX0" fmla="*/ 17931 w 18338"/>
                  <a:gd name="connsiteY0" fmla="*/ 11956 h 18431"/>
                  <a:gd name="connsiteX1" fmla="*/ 11831 w 18338"/>
                  <a:gd name="connsiteY1" fmla="*/ 413 h 18431"/>
                  <a:gd name="connsiteX2" fmla="*/ 407 w 18338"/>
                  <a:gd name="connsiteY2" fmla="*/ 6453 h 18431"/>
                  <a:gd name="connsiteX3" fmla="*/ 6508 w 18338"/>
                  <a:gd name="connsiteY3" fmla="*/ 17996 h 18431"/>
                  <a:gd name="connsiteX4" fmla="*/ 17931 w 18338"/>
                  <a:gd name="connsiteY4" fmla="*/ 11956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1">
                    <a:moveTo>
                      <a:pt x="17931" y="11956"/>
                    </a:moveTo>
                    <a:cubicBezTo>
                      <a:pt x="19426" y="7111"/>
                      <a:pt x="16675" y="1908"/>
                      <a:pt x="11831" y="413"/>
                    </a:cubicBezTo>
                    <a:cubicBezTo>
                      <a:pt x="6986" y="-1082"/>
                      <a:pt x="1843" y="1609"/>
                      <a:pt x="407" y="6453"/>
                    </a:cubicBezTo>
                    <a:cubicBezTo>
                      <a:pt x="-1088" y="11298"/>
                      <a:pt x="1664" y="16501"/>
                      <a:pt x="6508" y="17996"/>
                    </a:cubicBezTo>
                    <a:cubicBezTo>
                      <a:pt x="11352" y="19551"/>
                      <a:pt x="16496" y="16800"/>
                      <a:pt x="17931" y="11956"/>
                    </a:cubicBezTo>
                    <a:close/>
                  </a:path>
                </a:pathLst>
              </a:custGeom>
              <a:grpFill/>
              <a:ln w="5978" cap="flat">
                <a:noFill/>
                <a:prstDash val="solid"/>
                <a:miter/>
              </a:ln>
            </p:spPr>
            <p:txBody>
              <a:bodyPr rtlCol="0" anchor="ctr"/>
              <a:lstStyle/>
              <a:p>
                <a:endParaRPr lang="en-GB"/>
              </a:p>
            </p:txBody>
          </p:sp>
        </p:grpSp>
        <p:grpSp>
          <p:nvGrpSpPr>
            <p:cNvPr id="1004" name="Graphic 3">
              <a:extLst>
                <a:ext uri="{FF2B5EF4-FFF2-40B4-BE49-F238E27FC236}">
                  <a16:creationId xmlns:a16="http://schemas.microsoft.com/office/drawing/2014/main" id="{FBFFD26E-3AA1-4C0B-BDB0-3B34855F54F8}"/>
                </a:ext>
              </a:extLst>
            </p:cNvPr>
            <p:cNvGrpSpPr/>
            <p:nvPr/>
          </p:nvGrpSpPr>
          <p:grpSpPr>
            <a:xfrm>
              <a:off x="5088695" y="4827221"/>
              <a:ext cx="90829" cy="134702"/>
              <a:chOff x="5088695" y="4827221"/>
              <a:chExt cx="90829" cy="134702"/>
            </a:xfrm>
            <a:grpFill/>
          </p:grpSpPr>
          <p:sp>
            <p:nvSpPr>
              <p:cNvPr id="2388" name="Vrije vorm: vorm 2387">
                <a:extLst>
                  <a:ext uri="{FF2B5EF4-FFF2-40B4-BE49-F238E27FC236}">
                    <a16:creationId xmlns:a16="http://schemas.microsoft.com/office/drawing/2014/main" id="{E7968679-D539-4837-82D4-47FF51E190C9}"/>
                  </a:ext>
                </a:extLst>
              </p:cNvPr>
              <p:cNvSpPr/>
              <p:nvPr/>
            </p:nvSpPr>
            <p:spPr>
              <a:xfrm>
                <a:off x="5096312" y="4835214"/>
                <a:ext cx="75536" cy="118717"/>
              </a:xfrm>
              <a:custGeom>
                <a:avLst/>
                <a:gdLst>
                  <a:gd name="connsiteX0" fmla="*/ 75537 w 75536"/>
                  <a:gd name="connsiteY0" fmla="*/ 1615 h 118717"/>
                  <a:gd name="connsiteX1" fmla="*/ 2572 w 75536"/>
                  <a:gd name="connsiteY1" fmla="*/ 118717 h 118717"/>
                  <a:gd name="connsiteX2" fmla="*/ 0 w 75536"/>
                  <a:gd name="connsiteY2" fmla="*/ 117043 h 118717"/>
                  <a:gd name="connsiteX3" fmla="*/ 72965 w 75536"/>
                  <a:gd name="connsiteY3" fmla="*/ 0 h 118717"/>
                </a:gdLst>
                <a:ahLst/>
                <a:cxnLst>
                  <a:cxn ang="0">
                    <a:pos x="connsiteX0" y="connsiteY0"/>
                  </a:cxn>
                  <a:cxn ang="0">
                    <a:pos x="connsiteX1" y="connsiteY1"/>
                  </a:cxn>
                  <a:cxn ang="0">
                    <a:pos x="connsiteX2" y="connsiteY2"/>
                  </a:cxn>
                  <a:cxn ang="0">
                    <a:pos x="connsiteX3" y="connsiteY3"/>
                  </a:cxn>
                </a:cxnLst>
                <a:rect l="l" t="t" r="r" b="b"/>
                <a:pathLst>
                  <a:path w="75536" h="118717">
                    <a:moveTo>
                      <a:pt x="75537" y="1615"/>
                    </a:moveTo>
                    <a:lnTo>
                      <a:pt x="2572" y="118717"/>
                    </a:lnTo>
                    <a:lnTo>
                      <a:pt x="0" y="117043"/>
                    </a:lnTo>
                    <a:lnTo>
                      <a:pt x="72965" y="0"/>
                    </a:lnTo>
                    <a:close/>
                  </a:path>
                </a:pathLst>
              </a:custGeom>
              <a:grpFill/>
              <a:ln w="5978" cap="flat">
                <a:noFill/>
                <a:prstDash val="solid"/>
                <a:miter/>
              </a:ln>
            </p:spPr>
            <p:txBody>
              <a:bodyPr rtlCol="0" anchor="ctr"/>
              <a:lstStyle/>
              <a:p>
                <a:endParaRPr lang="en-GB"/>
              </a:p>
            </p:txBody>
          </p:sp>
          <p:sp>
            <p:nvSpPr>
              <p:cNvPr id="2389" name="Vrije vorm: vorm 2388">
                <a:extLst>
                  <a:ext uri="{FF2B5EF4-FFF2-40B4-BE49-F238E27FC236}">
                    <a16:creationId xmlns:a16="http://schemas.microsoft.com/office/drawing/2014/main" id="{D3C77604-D27E-4EC6-9D3A-B08280784B00}"/>
                  </a:ext>
                </a:extLst>
              </p:cNvPr>
              <p:cNvSpPr/>
              <p:nvPr/>
            </p:nvSpPr>
            <p:spPr>
              <a:xfrm>
                <a:off x="5088695" y="4943520"/>
                <a:ext cx="18343" cy="18404"/>
              </a:xfrm>
              <a:custGeom>
                <a:avLst/>
                <a:gdLst>
                  <a:gd name="connsiteX0" fmla="*/ 16947 w 18343"/>
                  <a:gd name="connsiteY0" fmla="*/ 14119 h 18404"/>
                  <a:gd name="connsiteX1" fmla="*/ 4327 w 18343"/>
                  <a:gd name="connsiteY1" fmla="*/ 16990 h 18404"/>
                  <a:gd name="connsiteX2" fmla="*/ 1397 w 18343"/>
                  <a:gd name="connsiteY2" fmla="*/ 4311 h 18404"/>
                  <a:gd name="connsiteX3" fmla="*/ 14016 w 18343"/>
                  <a:gd name="connsiteY3" fmla="*/ 1440 h 18404"/>
                  <a:gd name="connsiteX4" fmla="*/ 16947 w 18343"/>
                  <a:gd name="connsiteY4" fmla="*/ 1411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119"/>
                    </a:moveTo>
                    <a:cubicBezTo>
                      <a:pt x="14256" y="18426"/>
                      <a:pt x="8634" y="19682"/>
                      <a:pt x="4327" y="16990"/>
                    </a:cubicBezTo>
                    <a:cubicBezTo>
                      <a:pt x="21" y="14299"/>
                      <a:pt x="-1294" y="8617"/>
                      <a:pt x="1397" y="4311"/>
                    </a:cubicBezTo>
                    <a:cubicBezTo>
                      <a:pt x="4088" y="5"/>
                      <a:pt x="9710" y="-1310"/>
                      <a:pt x="14016" y="1440"/>
                    </a:cubicBezTo>
                    <a:cubicBezTo>
                      <a:pt x="18322" y="4072"/>
                      <a:pt x="19638" y="9814"/>
                      <a:pt x="16947" y="14119"/>
                    </a:cubicBezTo>
                    <a:close/>
                  </a:path>
                </a:pathLst>
              </a:custGeom>
              <a:grpFill/>
              <a:ln w="5978" cap="flat">
                <a:noFill/>
                <a:prstDash val="solid"/>
                <a:miter/>
              </a:ln>
            </p:spPr>
            <p:txBody>
              <a:bodyPr rtlCol="0" anchor="ctr"/>
              <a:lstStyle/>
              <a:p>
                <a:endParaRPr lang="en-GB"/>
              </a:p>
            </p:txBody>
          </p:sp>
          <p:sp>
            <p:nvSpPr>
              <p:cNvPr id="2390" name="Vrije vorm: vorm 2389">
                <a:extLst>
                  <a:ext uri="{FF2B5EF4-FFF2-40B4-BE49-F238E27FC236}">
                    <a16:creationId xmlns:a16="http://schemas.microsoft.com/office/drawing/2014/main" id="{0964E4FC-6452-4E5D-B857-3C618F83E750}"/>
                  </a:ext>
                </a:extLst>
              </p:cNvPr>
              <p:cNvSpPr/>
              <p:nvPr/>
            </p:nvSpPr>
            <p:spPr>
              <a:xfrm>
                <a:off x="5161182" y="4827221"/>
                <a:ext cx="18343" cy="18404"/>
              </a:xfrm>
              <a:custGeom>
                <a:avLst/>
                <a:gdLst>
                  <a:gd name="connsiteX0" fmla="*/ 16947 w 18343"/>
                  <a:gd name="connsiteY0" fmla="*/ 14093 h 18404"/>
                  <a:gd name="connsiteX1" fmla="*/ 14016 w 18343"/>
                  <a:gd name="connsiteY1" fmla="*/ 1414 h 18404"/>
                  <a:gd name="connsiteX2" fmla="*/ 1397 w 18343"/>
                  <a:gd name="connsiteY2" fmla="*/ 4285 h 18404"/>
                  <a:gd name="connsiteX3" fmla="*/ 4327 w 18343"/>
                  <a:gd name="connsiteY3" fmla="*/ 16964 h 18404"/>
                  <a:gd name="connsiteX4" fmla="*/ 16947 w 18343"/>
                  <a:gd name="connsiteY4" fmla="*/ 14093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093"/>
                    </a:moveTo>
                    <a:cubicBezTo>
                      <a:pt x="19638" y="9787"/>
                      <a:pt x="18322" y="4105"/>
                      <a:pt x="14016" y="1414"/>
                    </a:cubicBezTo>
                    <a:cubicBezTo>
                      <a:pt x="9710" y="-1277"/>
                      <a:pt x="4088" y="-21"/>
                      <a:pt x="1397" y="4285"/>
                    </a:cubicBezTo>
                    <a:cubicBezTo>
                      <a:pt x="-1294" y="8591"/>
                      <a:pt x="21" y="14273"/>
                      <a:pt x="4327" y="16964"/>
                    </a:cubicBezTo>
                    <a:cubicBezTo>
                      <a:pt x="8574" y="19715"/>
                      <a:pt x="14256" y="18399"/>
                      <a:pt x="16947" y="14093"/>
                    </a:cubicBezTo>
                    <a:close/>
                  </a:path>
                </a:pathLst>
              </a:custGeom>
              <a:grpFill/>
              <a:ln w="5978" cap="flat">
                <a:noFill/>
                <a:prstDash val="solid"/>
                <a:miter/>
              </a:ln>
            </p:spPr>
            <p:txBody>
              <a:bodyPr rtlCol="0" anchor="ctr"/>
              <a:lstStyle/>
              <a:p>
                <a:endParaRPr lang="en-GB"/>
              </a:p>
            </p:txBody>
          </p:sp>
        </p:grpSp>
        <p:grpSp>
          <p:nvGrpSpPr>
            <p:cNvPr id="1005" name="Graphic 3">
              <a:extLst>
                <a:ext uri="{FF2B5EF4-FFF2-40B4-BE49-F238E27FC236}">
                  <a16:creationId xmlns:a16="http://schemas.microsoft.com/office/drawing/2014/main" id="{51ACA4A0-3904-4A23-B83E-2775DFD71209}"/>
                </a:ext>
              </a:extLst>
            </p:cNvPr>
            <p:cNvGrpSpPr/>
            <p:nvPr/>
          </p:nvGrpSpPr>
          <p:grpSpPr>
            <a:xfrm>
              <a:off x="4277956" y="2639164"/>
              <a:ext cx="216949" cy="104820"/>
              <a:chOff x="4277956" y="2639164"/>
              <a:chExt cx="216949" cy="104820"/>
            </a:xfrm>
            <a:grpFill/>
          </p:grpSpPr>
          <p:sp>
            <p:nvSpPr>
              <p:cNvPr id="2385" name="Vrije vorm: vorm 2384">
                <a:extLst>
                  <a:ext uri="{FF2B5EF4-FFF2-40B4-BE49-F238E27FC236}">
                    <a16:creationId xmlns:a16="http://schemas.microsoft.com/office/drawing/2014/main" id="{CCA3AA76-A5B7-4FD1-A6AE-18A9ED300C1B}"/>
                  </a:ext>
                </a:extLst>
              </p:cNvPr>
              <p:cNvSpPr/>
              <p:nvPr/>
            </p:nvSpPr>
            <p:spPr>
              <a:xfrm>
                <a:off x="4286104" y="2646808"/>
                <a:ext cx="200713" cy="89531"/>
              </a:xfrm>
              <a:custGeom>
                <a:avLst/>
                <a:gdLst>
                  <a:gd name="connsiteX0" fmla="*/ 200713 w 200713"/>
                  <a:gd name="connsiteY0" fmla="*/ 86720 h 89531"/>
                  <a:gd name="connsiteX1" fmla="*/ 199517 w 200713"/>
                  <a:gd name="connsiteY1" fmla="*/ 89531 h 89531"/>
                  <a:gd name="connsiteX2" fmla="*/ 0 w 200713"/>
                  <a:gd name="connsiteY2" fmla="*/ 2811 h 89531"/>
                  <a:gd name="connsiteX3" fmla="*/ 1196 w 200713"/>
                  <a:gd name="connsiteY3" fmla="*/ 0 h 89531"/>
                </a:gdLst>
                <a:ahLst/>
                <a:cxnLst>
                  <a:cxn ang="0">
                    <a:pos x="connsiteX0" y="connsiteY0"/>
                  </a:cxn>
                  <a:cxn ang="0">
                    <a:pos x="connsiteX1" y="connsiteY1"/>
                  </a:cxn>
                  <a:cxn ang="0">
                    <a:pos x="connsiteX2" y="connsiteY2"/>
                  </a:cxn>
                  <a:cxn ang="0">
                    <a:pos x="connsiteX3" y="connsiteY3"/>
                  </a:cxn>
                </a:cxnLst>
                <a:rect l="l" t="t" r="r" b="b"/>
                <a:pathLst>
                  <a:path w="200713" h="89531">
                    <a:moveTo>
                      <a:pt x="200713" y="86720"/>
                    </a:moveTo>
                    <a:lnTo>
                      <a:pt x="199517" y="89531"/>
                    </a:lnTo>
                    <a:lnTo>
                      <a:pt x="0" y="2811"/>
                    </a:lnTo>
                    <a:lnTo>
                      <a:pt x="1196" y="0"/>
                    </a:lnTo>
                    <a:close/>
                  </a:path>
                </a:pathLst>
              </a:custGeom>
              <a:grpFill/>
              <a:ln w="5978" cap="flat">
                <a:noFill/>
                <a:prstDash val="solid"/>
                <a:miter/>
              </a:ln>
            </p:spPr>
            <p:txBody>
              <a:bodyPr rtlCol="0" anchor="ctr"/>
              <a:lstStyle/>
              <a:p>
                <a:endParaRPr lang="en-GB"/>
              </a:p>
            </p:txBody>
          </p:sp>
          <p:sp>
            <p:nvSpPr>
              <p:cNvPr id="2386" name="Vrije vorm: vorm 2385">
                <a:extLst>
                  <a:ext uri="{FF2B5EF4-FFF2-40B4-BE49-F238E27FC236}">
                    <a16:creationId xmlns:a16="http://schemas.microsoft.com/office/drawing/2014/main" id="{EB7D86CA-3DFA-4C2B-AF91-550FB523EAA6}"/>
                  </a:ext>
                </a:extLst>
              </p:cNvPr>
              <p:cNvSpPr/>
              <p:nvPr/>
            </p:nvSpPr>
            <p:spPr>
              <a:xfrm>
                <a:off x="4277956" y="2639164"/>
                <a:ext cx="18304" cy="18458"/>
              </a:xfrm>
              <a:custGeom>
                <a:avLst/>
                <a:gdLst>
                  <a:gd name="connsiteX0" fmla="*/ 5576 w 18304"/>
                  <a:gd name="connsiteY0" fmla="*/ 17692 h 18458"/>
                  <a:gd name="connsiteX1" fmla="*/ 732 w 18304"/>
                  <a:gd name="connsiteY1" fmla="*/ 5551 h 18458"/>
                  <a:gd name="connsiteX2" fmla="*/ 12753 w 18304"/>
                  <a:gd name="connsiteY2" fmla="*/ 767 h 18458"/>
                  <a:gd name="connsiteX3" fmla="*/ 17538 w 18304"/>
                  <a:gd name="connsiteY3" fmla="*/ 12908 h 18458"/>
                  <a:gd name="connsiteX4" fmla="*/ 5576 w 18304"/>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8">
                    <a:moveTo>
                      <a:pt x="5576" y="17692"/>
                    </a:moveTo>
                    <a:cubicBezTo>
                      <a:pt x="911" y="15659"/>
                      <a:pt x="-1242" y="10216"/>
                      <a:pt x="732" y="5551"/>
                    </a:cubicBezTo>
                    <a:cubicBezTo>
                      <a:pt x="2705" y="886"/>
                      <a:pt x="8088" y="-1267"/>
                      <a:pt x="12753" y="767"/>
                    </a:cubicBezTo>
                    <a:cubicBezTo>
                      <a:pt x="17418" y="2800"/>
                      <a:pt x="19571" y="8243"/>
                      <a:pt x="17538" y="12908"/>
                    </a:cubicBezTo>
                    <a:cubicBezTo>
                      <a:pt x="15564" y="17572"/>
                      <a:pt x="10181" y="19725"/>
                      <a:pt x="5576" y="17692"/>
                    </a:cubicBezTo>
                    <a:close/>
                  </a:path>
                </a:pathLst>
              </a:custGeom>
              <a:grpFill/>
              <a:ln w="5978" cap="flat">
                <a:noFill/>
                <a:prstDash val="solid"/>
                <a:miter/>
              </a:ln>
            </p:spPr>
            <p:txBody>
              <a:bodyPr rtlCol="0" anchor="ctr"/>
              <a:lstStyle/>
              <a:p>
                <a:endParaRPr lang="en-GB"/>
              </a:p>
            </p:txBody>
          </p:sp>
          <p:sp>
            <p:nvSpPr>
              <p:cNvPr id="2387" name="Vrije vorm: vorm 2386">
                <a:extLst>
                  <a:ext uri="{FF2B5EF4-FFF2-40B4-BE49-F238E27FC236}">
                    <a16:creationId xmlns:a16="http://schemas.microsoft.com/office/drawing/2014/main" id="{9A70B702-E770-44AD-9AF8-3ED4BB15E08B}"/>
                  </a:ext>
                </a:extLst>
              </p:cNvPr>
              <p:cNvSpPr/>
              <p:nvPr/>
            </p:nvSpPr>
            <p:spPr>
              <a:xfrm>
                <a:off x="4476601" y="2725525"/>
                <a:ext cx="18305" cy="18458"/>
              </a:xfrm>
              <a:custGeom>
                <a:avLst/>
                <a:gdLst>
                  <a:gd name="connsiteX0" fmla="*/ 5551 w 18305"/>
                  <a:gd name="connsiteY0" fmla="*/ 17692 h 18458"/>
                  <a:gd name="connsiteX1" fmla="*/ 17572 w 18305"/>
                  <a:gd name="connsiteY1" fmla="*/ 12908 h 18458"/>
                  <a:gd name="connsiteX2" fmla="*/ 12788 w 18305"/>
                  <a:gd name="connsiteY2" fmla="*/ 767 h 18458"/>
                  <a:gd name="connsiteX3" fmla="*/ 767 w 18305"/>
                  <a:gd name="connsiteY3" fmla="*/ 5551 h 18458"/>
                  <a:gd name="connsiteX4" fmla="*/ 5551 w 1830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8">
                    <a:moveTo>
                      <a:pt x="5551" y="17692"/>
                    </a:moveTo>
                    <a:cubicBezTo>
                      <a:pt x="10216" y="19726"/>
                      <a:pt x="15599" y="17573"/>
                      <a:pt x="17572" y="12908"/>
                    </a:cubicBezTo>
                    <a:cubicBezTo>
                      <a:pt x="19546" y="8243"/>
                      <a:pt x="17393" y="2800"/>
                      <a:pt x="12788" y="767"/>
                    </a:cubicBezTo>
                    <a:cubicBezTo>
                      <a:pt x="8123" y="-1267"/>
                      <a:pt x="2740" y="886"/>
                      <a:pt x="767" y="5551"/>
                    </a:cubicBezTo>
                    <a:cubicBezTo>
                      <a:pt x="-1267" y="10216"/>
                      <a:pt x="886" y="15659"/>
                      <a:pt x="5551" y="17692"/>
                    </a:cubicBezTo>
                    <a:close/>
                  </a:path>
                </a:pathLst>
              </a:custGeom>
              <a:grpFill/>
              <a:ln w="5978" cap="flat">
                <a:noFill/>
                <a:prstDash val="solid"/>
                <a:miter/>
              </a:ln>
            </p:spPr>
            <p:txBody>
              <a:bodyPr rtlCol="0" anchor="ctr"/>
              <a:lstStyle/>
              <a:p>
                <a:endParaRPr lang="en-GB"/>
              </a:p>
            </p:txBody>
          </p:sp>
        </p:grpSp>
        <p:grpSp>
          <p:nvGrpSpPr>
            <p:cNvPr id="1006" name="Graphic 3">
              <a:extLst>
                <a:ext uri="{FF2B5EF4-FFF2-40B4-BE49-F238E27FC236}">
                  <a16:creationId xmlns:a16="http://schemas.microsoft.com/office/drawing/2014/main" id="{D20F8E6F-C968-48E0-8D7B-C6C31409A245}"/>
                </a:ext>
              </a:extLst>
            </p:cNvPr>
            <p:cNvGrpSpPr/>
            <p:nvPr/>
          </p:nvGrpSpPr>
          <p:grpSpPr>
            <a:xfrm>
              <a:off x="5193453" y="5136141"/>
              <a:ext cx="84779" cy="164515"/>
              <a:chOff x="5193453" y="5136141"/>
              <a:chExt cx="84779" cy="164515"/>
            </a:xfrm>
            <a:grpFill/>
          </p:grpSpPr>
          <p:sp>
            <p:nvSpPr>
              <p:cNvPr id="2382" name="Vrije vorm: vorm 2381">
                <a:extLst>
                  <a:ext uri="{FF2B5EF4-FFF2-40B4-BE49-F238E27FC236}">
                    <a16:creationId xmlns:a16="http://schemas.microsoft.com/office/drawing/2014/main" id="{B4082AA5-A38D-4BBE-94F9-90A9A3476699}"/>
                  </a:ext>
                </a:extLst>
              </p:cNvPr>
              <p:cNvSpPr/>
              <p:nvPr/>
            </p:nvSpPr>
            <p:spPr>
              <a:xfrm>
                <a:off x="5201035" y="5144298"/>
                <a:ext cx="69615" cy="148202"/>
              </a:xfrm>
              <a:custGeom>
                <a:avLst/>
                <a:gdLst>
                  <a:gd name="connsiteX0" fmla="*/ 69616 w 69615"/>
                  <a:gd name="connsiteY0" fmla="*/ 1316 h 148202"/>
                  <a:gd name="connsiteX1" fmla="*/ 2751 w 69615"/>
                  <a:gd name="connsiteY1" fmla="*/ 148202 h 148202"/>
                  <a:gd name="connsiteX2" fmla="*/ 0 w 69615"/>
                  <a:gd name="connsiteY2" fmla="*/ 146946 h 148202"/>
                  <a:gd name="connsiteX3" fmla="*/ 66805 w 69615"/>
                  <a:gd name="connsiteY3" fmla="*/ 0 h 148202"/>
                </a:gdLst>
                <a:ahLst/>
                <a:cxnLst>
                  <a:cxn ang="0">
                    <a:pos x="connsiteX0" y="connsiteY0"/>
                  </a:cxn>
                  <a:cxn ang="0">
                    <a:pos x="connsiteX1" y="connsiteY1"/>
                  </a:cxn>
                  <a:cxn ang="0">
                    <a:pos x="connsiteX2" y="connsiteY2"/>
                  </a:cxn>
                  <a:cxn ang="0">
                    <a:pos x="connsiteX3" y="connsiteY3"/>
                  </a:cxn>
                </a:cxnLst>
                <a:rect l="l" t="t" r="r" b="b"/>
                <a:pathLst>
                  <a:path w="69615" h="148202">
                    <a:moveTo>
                      <a:pt x="69616" y="1316"/>
                    </a:moveTo>
                    <a:lnTo>
                      <a:pt x="2751" y="148202"/>
                    </a:lnTo>
                    <a:lnTo>
                      <a:pt x="0" y="146946"/>
                    </a:lnTo>
                    <a:lnTo>
                      <a:pt x="66805" y="0"/>
                    </a:lnTo>
                    <a:close/>
                  </a:path>
                </a:pathLst>
              </a:custGeom>
              <a:grpFill/>
              <a:ln w="5978" cap="flat">
                <a:noFill/>
                <a:prstDash val="solid"/>
                <a:miter/>
              </a:ln>
            </p:spPr>
            <p:txBody>
              <a:bodyPr rtlCol="0" anchor="ctr"/>
              <a:lstStyle/>
              <a:p>
                <a:endParaRPr lang="en-GB"/>
              </a:p>
            </p:txBody>
          </p:sp>
          <p:sp>
            <p:nvSpPr>
              <p:cNvPr id="2383" name="Vrije vorm: vorm 2382">
                <a:extLst>
                  <a:ext uri="{FF2B5EF4-FFF2-40B4-BE49-F238E27FC236}">
                    <a16:creationId xmlns:a16="http://schemas.microsoft.com/office/drawing/2014/main" id="{44C7F454-BD79-446A-8ACD-182F8E9B833C}"/>
                  </a:ext>
                </a:extLst>
              </p:cNvPr>
              <p:cNvSpPr/>
              <p:nvPr/>
            </p:nvSpPr>
            <p:spPr>
              <a:xfrm>
                <a:off x="5193453" y="5282250"/>
                <a:ext cx="18333" cy="18406"/>
              </a:xfrm>
              <a:custGeom>
                <a:avLst/>
                <a:gdLst>
                  <a:gd name="connsiteX0" fmla="*/ 17510 w 18333"/>
                  <a:gd name="connsiteY0" fmla="*/ 13061 h 18406"/>
                  <a:gd name="connsiteX1" fmla="*/ 5369 w 18333"/>
                  <a:gd name="connsiteY1" fmla="*/ 17546 h 18406"/>
                  <a:gd name="connsiteX2" fmla="*/ 824 w 18333"/>
                  <a:gd name="connsiteY2" fmla="*/ 5346 h 18406"/>
                  <a:gd name="connsiteX3" fmla="*/ 12965 w 18333"/>
                  <a:gd name="connsiteY3" fmla="*/ 860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5417" y="17666"/>
                      <a:pt x="9974" y="19699"/>
                      <a:pt x="5369" y="17546"/>
                    </a:cubicBezTo>
                    <a:cubicBezTo>
                      <a:pt x="764" y="15393"/>
                      <a:pt x="-1269" y="9951"/>
                      <a:pt x="824" y="5346"/>
                    </a:cubicBezTo>
                    <a:cubicBezTo>
                      <a:pt x="2917" y="741"/>
                      <a:pt x="8359" y="-1293"/>
                      <a:pt x="12965" y="860"/>
                    </a:cubicBezTo>
                    <a:cubicBezTo>
                      <a:pt x="17570" y="2953"/>
                      <a:pt x="19603" y="8456"/>
                      <a:pt x="17510" y="13061"/>
                    </a:cubicBezTo>
                    <a:close/>
                  </a:path>
                </a:pathLst>
              </a:custGeom>
              <a:grpFill/>
              <a:ln w="5978" cap="flat">
                <a:noFill/>
                <a:prstDash val="solid"/>
                <a:miter/>
              </a:ln>
            </p:spPr>
            <p:txBody>
              <a:bodyPr rtlCol="0" anchor="ctr"/>
              <a:lstStyle/>
              <a:p>
                <a:endParaRPr lang="en-GB"/>
              </a:p>
            </p:txBody>
          </p:sp>
          <p:sp>
            <p:nvSpPr>
              <p:cNvPr id="2384" name="Vrije vorm: vorm 2383">
                <a:extLst>
                  <a:ext uri="{FF2B5EF4-FFF2-40B4-BE49-F238E27FC236}">
                    <a16:creationId xmlns:a16="http://schemas.microsoft.com/office/drawing/2014/main" id="{42441668-DFE8-471C-B2C8-4840BBEF7AC4}"/>
                  </a:ext>
                </a:extLst>
              </p:cNvPr>
              <p:cNvSpPr/>
              <p:nvPr/>
            </p:nvSpPr>
            <p:spPr>
              <a:xfrm>
                <a:off x="5259898" y="5136141"/>
                <a:ext cx="18333" cy="18416"/>
              </a:xfrm>
              <a:custGeom>
                <a:avLst/>
                <a:gdLst>
                  <a:gd name="connsiteX0" fmla="*/ 17510 w 18333"/>
                  <a:gd name="connsiteY0" fmla="*/ 13061 h 18416"/>
                  <a:gd name="connsiteX1" fmla="*/ 12965 w 18333"/>
                  <a:gd name="connsiteY1" fmla="*/ 860 h 18416"/>
                  <a:gd name="connsiteX2" fmla="*/ 824 w 18333"/>
                  <a:gd name="connsiteY2" fmla="*/ 5346 h 18416"/>
                  <a:gd name="connsiteX3" fmla="*/ 5369 w 18333"/>
                  <a:gd name="connsiteY3" fmla="*/ 17546 h 18416"/>
                  <a:gd name="connsiteX4" fmla="*/ 17510 w 18333"/>
                  <a:gd name="connsiteY4" fmla="*/ 13061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17510" y="13061"/>
                    </a:moveTo>
                    <a:cubicBezTo>
                      <a:pt x="19603" y="8456"/>
                      <a:pt x="17570" y="2953"/>
                      <a:pt x="12965" y="860"/>
                    </a:cubicBezTo>
                    <a:cubicBezTo>
                      <a:pt x="8359" y="-1293"/>
                      <a:pt x="2917" y="741"/>
                      <a:pt x="824" y="5346"/>
                    </a:cubicBezTo>
                    <a:cubicBezTo>
                      <a:pt x="-1269" y="9951"/>
                      <a:pt x="764" y="15453"/>
                      <a:pt x="5369" y="17546"/>
                    </a:cubicBezTo>
                    <a:cubicBezTo>
                      <a:pt x="9974" y="19699"/>
                      <a:pt x="15357" y="17726"/>
                      <a:pt x="17510" y="13061"/>
                    </a:cubicBezTo>
                    <a:close/>
                  </a:path>
                </a:pathLst>
              </a:custGeom>
              <a:grpFill/>
              <a:ln w="5978" cap="flat">
                <a:noFill/>
                <a:prstDash val="solid"/>
                <a:miter/>
              </a:ln>
            </p:spPr>
            <p:txBody>
              <a:bodyPr rtlCol="0" anchor="ctr"/>
              <a:lstStyle/>
              <a:p>
                <a:endParaRPr lang="en-GB"/>
              </a:p>
            </p:txBody>
          </p:sp>
        </p:grpSp>
        <p:grpSp>
          <p:nvGrpSpPr>
            <p:cNvPr id="1007" name="Graphic 3">
              <a:extLst>
                <a:ext uri="{FF2B5EF4-FFF2-40B4-BE49-F238E27FC236}">
                  <a16:creationId xmlns:a16="http://schemas.microsoft.com/office/drawing/2014/main" id="{1AE320CD-D004-4803-BC77-C02D18B54D91}"/>
                </a:ext>
              </a:extLst>
            </p:cNvPr>
            <p:cNvGrpSpPr/>
            <p:nvPr/>
          </p:nvGrpSpPr>
          <p:grpSpPr>
            <a:xfrm>
              <a:off x="5084466" y="4933338"/>
              <a:ext cx="250574" cy="414922"/>
              <a:chOff x="5084466" y="4933338"/>
              <a:chExt cx="250574" cy="414922"/>
            </a:xfrm>
            <a:grpFill/>
          </p:grpSpPr>
          <p:sp>
            <p:nvSpPr>
              <p:cNvPr id="2379" name="Vrije vorm: vorm 2378">
                <a:extLst>
                  <a:ext uri="{FF2B5EF4-FFF2-40B4-BE49-F238E27FC236}">
                    <a16:creationId xmlns:a16="http://schemas.microsoft.com/office/drawing/2014/main" id="{DE52916B-C654-4610-A971-C2DB2FE9D5F5}"/>
                  </a:ext>
                </a:extLst>
              </p:cNvPr>
              <p:cNvSpPr/>
              <p:nvPr/>
            </p:nvSpPr>
            <p:spPr>
              <a:xfrm>
                <a:off x="5092066" y="4941372"/>
                <a:ext cx="235341" cy="398854"/>
              </a:xfrm>
              <a:custGeom>
                <a:avLst/>
                <a:gdLst>
                  <a:gd name="connsiteX0" fmla="*/ 235341 w 235341"/>
                  <a:gd name="connsiteY0" fmla="*/ 1555 h 398854"/>
                  <a:gd name="connsiteX1" fmla="*/ 2632 w 235341"/>
                  <a:gd name="connsiteY1" fmla="*/ 398854 h 398854"/>
                  <a:gd name="connsiteX2" fmla="*/ 0 w 235341"/>
                  <a:gd name="connsiteY2" fmla="*/ 397299 h 398854"/>
                  <a:gd name="connsiteX3" fmla="*/ 232710 w 235341"/>
                  <a:gd name="connsiteY3" fmla="*/ 0 h 398854"/>
                </a:gdLst>
                <a:ahLst/>
                <a:cxnLst>
                  <a:cxn ang="0">
                    <a:pos x="connsiteX0" y="connsiteY0"/>
                  </a:cxn>
                  <a:cxn ang="0">
                    <a:pos x="connsiteX1" y="connsiteY1"/>
                  </a:cxn>
                  <a:cxn ang="0">
                    <a:pos x="connsiteX2" y="connsiteY2"/>
                  </a:cxn>
                  <a:cxn ang="0">
                    <a:pos x="connsiteX3" y="connsiteY3"/>
                  </a:cxn>
                </a:cxnLst>
                <a:rect l="l" t="t" r="r" b="b"/>
                <a:pathLst>
                  <a:path w="235341" h="398854">
                    <a:moveTo>
                      <a:pt x="235341" y="1555"/>
                    </a:moveTo>
                    <a:lnTo>
                      <a:pt x="2632" y="398854"/>
                    </a:lnTo>
                    <a:lnTo>
                      <a:pt x="0" y="397299"/>
                    </a:lnTo>
                    <a:lnTo>
                      <a:pt x="232710" y="0"/>
                    </a:lnTo>
                    <a:close/>
                  </a:path>
                </a:pathLst>
              </a:custGeom>
              <a:grpFill/>
              <a:ln w="5978" cap="flat">
                <a:noFill/>
                <a:prstDash val="solid"/>
                <a:miter/>
              </a:ln>
            </p:spPr>
            <p:txBody>
              <a:bodyPr rtlCol="0" anchor="ctr"/>
              <a:lstStyle/>
              <a:p>
                <a:endParaRPr lang="en-GB"/>
              </a:p>
            </p:txBody>
          </p:sp>
          <p:sp>
            <p:nvSpPr>
              <p:cNvPr id="2380" name="Vrije vorm: vorm 2379">
                <a:extLst>
                  <a:ext uri="{FF2B5EF4-FFF2-40B4-BE49-F238E27FC236}">
                    <a16:creationId xmlns:a16="http://schemas.microsoft.com/office/drawing/2014/main" id="{BE51471F-82EC-4E30-AB29-A073AF0A9EF7}"/>
                  </a:ext>
                </a:extLst>
              </p:cNvPr>
              <p:cNvSpPr/>
              <p:nvPr/>
            </p:nvSpPr>
            <p:spPr>
              <a:xfrm>
                <a:off x="5316684" y="4933338"/>
                <a:ext cx="18356" cy="18400"/>
              </a:xfrm>
              <a:custGeom>
                <a:avLst/>
                <a:gdLst>
                  <a:gd name="connsiteX0" fmla="*/ 1274 w 18356"/>
                  <a:gd name="connsiteY0" fmla="*/ 4505 h 18400"/>
                  <a:gd name="connsiteX1" fmla="*/ 13833 w 18356"/>
                  <a:gd name="connsiteY1" fmla="*/ 1276 h 18400"/>
                  <a:gd name="connsiteX2" fmla="*/ 17123 w 18356"/>
                  <a:gd name="connsiteY2" fmla="*/ 13895 h 18400"/>
                  <a:gd name="connsiteX3" fmla="*/ 4563 w 18356"/>
                  <a:gd name="connsiteY3" fmla="*/ 17125 h 18400"/>
                  <a:gd name="connsiteX4" fmla="*/ 1274 w 18356"/>
                  <a:gd name="connsiteY4" fmla="*/ 450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0">
                    <a:moveTo>
                      <a:pt x="1274" y="4505"/>
                    </a:moveTo>
                    <a:cubicBezTo>
                      <a:pt x="3845" y="140"/>
                      <a:pt x="9467" y="-1296"/>
                      <a:pt x="13833" y="1276"/>
                    </a:cubicBezTo>
                    <a:cubicBezTo>
                      <a:pt x="18199" y="3848"/>
                      <a:pt x="19635" y="9529"/>
                      <a:pt x="17123" y="13895"/>
                    </a:cubicBezTo>
                    <a:cubicBezTo>
                      <a:pt x="14551" y="18261"/>
                      <a:pt x="8929" y="19697"/>
                      <a:pt x="4563" y="17125"/>
                    </a:cubicBezTo>
                    <a:cubicBezTo>
                      <a:pt x="137" y="14493"/>
                      <a:pt x="-1298" y="8872"/>
                      <a:pt x="1274" y="4505"/>
                    </a:cubicBezTo>
                    <a:close/>
                  </a:path>
                </a:pathLst>
              </a:custGeom>
              <a:grpFill/>
              <a:ln w="5978" cap="flat">
                <a:noFill/>
                <a:prstDash val="solid"/>
                <a:miter/>
              </a:ln>
            </p:spPr>
            <p:txBody>
              <a:bodyPr rtlCol="0" anchor="ctr"/>
              <a:lstStyle/>
              <a:p>
                <a:endParaRPr lang="en-GB"/>
              </a:p>
            </p:txBody>
          </p:sp>
          <p:sp>
            <p:nvSpPr>
              <p:cNvPr id="2381" name="Vrije vorm: vorm 2380">
                <a:extLst>
                  <a:ext uri="{FF2B5EF4-FFF2-40B4-BE49-F238E27FC236}">
                    <a16:creationId xmlns:a16="http://schemas.microsoft.com/office/drawing/2014/main" id="{4218CA21-A0E0-4C85-9F73-1E2042BD343E}"/>
                  </a:ext>
                </a:extLst>
              </p:cNvPr>
              <p:cNvSpPr/>
              <p:nvPr/>
            </p:nvSpPr>
            <p:spPr>
              <a:xfrm>
                <a:off x="5084466" y="5329819"/>
                <a:ext cx="18369" cy="18441"/>
              </a:xfrm>
              <a:custGeom>
                <a:avLst/>
                <a:gdLst>
                  <a:gd name="connsiteX0" fmla="*/ 1261 w 18369"/>
                  <a:gd name="connsiteY0" fmla="*/ 4546 h 18441"/>
                  <a:gd name="connsiteX1" fmla="*/ 4550 w 18369"/>
                  <a:gd name="connsiteY1" fmla="*/ 17165 h 18441"/>
                  <a:gd name="connsiteX2" fmla="*/ 17109 w 18369"/>
                  <a:gd name="connsiteY2" fmla="*/ 13935 h 18441"/>
                  <a:gd name="connsiteX3" fmla="*/ 13820 w 18369"/>
                  <a:gd name="connsiteY3" fmla="*/ 1316 h 18441"/>
                  <a:gd name="connsiteX4" fmla="*/ 1261 w 18369"/>
                  <a:gd name="connsiteY4" fmla="*/ 454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1">
                    <a:moveTo>
                      <a:pt x="1261" y="4546"/>
                    </a:moveTo>
                    <a:cubicBezTo>
                      <a:pt x="-1311" y="8912"/>
                      <a:pt x="184" y="14593"/>
                      <a:pt x="4550" y="17165"/>
                    </a:cubicBezTo>
                    <a:cubicBezTo>
                      <a:pt x="8916" y="19737"/>
                      <a:pt x="14538" y="18302"/>
                      <a:pt x="17109" y="13935"/>
                    </a:cubicBezTo>
                    <a:cubicBezTo>
                      <a:pt x="19681" y="9570"/>
                      <a:pt x="18186" y="3888"/>
                      <a:pt x="13820" y="1316"/>
                    </a:cubicBezTo>
                    <a:cubicBezTo>
                      <a:pt x="9454" y="-1315"/>
                      <a:pt x="3832" y="120"/>
                      <a:pt x="1261" y="4546"/>
                    </a:cubicBezTo>
                    <a:close/>
                  </a:path>
                </a:pathLst>
              </a:custGeom>
              <a:grpFill/>
              <a:ln w="5978" cap="flat">
                <a:noFill/>
                <a:prstDash val="solid"/>
                <a:miter/>
              </a:ln>
            </p:spPr>
            <p:txBody>
              <a:bodyPr rtlCol="0" anchor="ctr"/>
              <a:lstStyle/>
              <a:p>
                <a:endParaRPr lang="en-GB"/>
              </a:p>
            </p:txBody>
          </p:sp>
        </p:grpSp>
        <p:grpSp>
          <p:nvGrpSpPr>
            <p:cNvPr id="1008" name="Graphic 3">
              <a:extLst>
                <a:ext uri="{FF2B5EF4-FFF2-40B4-BE49-F238E27FC236}">
                  <a16:creationId xmlns:a16="http://schemas.microsoft.com/office/drawing/2014/main" id="{47EF8896-E21D-4373-A440-4C0CDB7E4616}"/>
                </a:ext>
              </a:extLst>
            </p:cNvPr>
            <p:cNvGrpSpPr/>
            <p:nvPr/>
          </p:nvGrpSpPr>
          <p:grpSpPr>
            <a:xfrm>
              <a:off x="5082009" y="4956135"/>
              <a:ext cx="277285" cy="490091"/>
              <a:chOff x="5082009" y="4956135"/>
              <a:chExt cx="277285" cy="490091"/>
            </a:xfrm>
            <a:grpFill/>
          </p:grpSpPr>
          <p:sp>
            <p:nvSpPr>
              <p:cNvPr id="2376" name="Vrije vorm: vorm 2375">
                <a:extLst>
                  <a:ext uri="{FF2B5EF4-FFF2-40B4-BE49-F238E27FC236}">
                    <a16:creationId xmlns:a16="http://schemas.microsoft.com/office/drawing/2014/main" id="{C455FC93-185D-4D1E-9B97-AD634C7C0C3C}"/>
                  </a:ext>
                </a:extLst>
              </p:cNvPr>
              <p:cNvSpPr/>
              <p:nvPr/>
            </p:nvSpPr>
            <p:spPr>
              <a:xfrm>
                <a:off x="5089614" y="4964218"/>
                <a:ext cx="262135" cy="473912"/>
              </a:xfrm>
              <a:custGeom>
                <a:avLst/>
                <a:gdLst>
                  <a:gd name="connsiteX0" fmla="*/ 262135 w 262135"/>
                  <a:gd name="connsiteY0" fmla="*/ 1435 h 473912"/>
                  <a:gd name="connsiteX1" fmla="*/ 2691 w 262135"/>
                  <a:gd name="connsiteY1" fmla="*/ 473912 h 473912"/>
                  <a:gd name="connsiteX2" fmla="*/ 0 w 262135"/>
                  <a:gd name="connsiteY2" fmla="*/ 472417 h 473912"/>
                  <a:gd name="connsiteX3" fmla="*/ 259444 w 262135"/>
                  <a:gd name="connsiteY3" fmla="*/ 0 h 473912"/>
                </a:gdLst>
                <a:ahLst/>
                <a:cxnLst>
                  <a:cxn ang="0">
                    <a:pos x="connsiteX0" y="connsiteY0"/>
                  </a:cxn>
                  <a:cxn ang="0">
                    <a:pos x="connsiteX1" y="connsiteY1"/>
                  </a:cxn>
                  <a:cxn ang="0">
                    <a:pos x="connsiteX2" y="connsiteY2"/>
                  </a:cxn>
                  <a:cxn ang="0">
                    <a:pos x="connsiteX3" y="connsiteY3"/>
                  </a:cxn>
                </a:cxnLst>
                <a:rect l="l" t="t" r="r" b="b"/>
                <a:pathLst>
                  <a:path w="262135" h="473912">
                    <a:moveTo>
                      <a:pt x="262135" y="1435"/>
                    </a:moveTo>
                    <a:lnTo>
                      <a:pt x="2691" y="473912"/>
                    </a:lnTo>
                    <a:lnTo>
                      <a:pt x="0" y="472417"/>
                    </a:lnTo>
                    <a:lnTo>
                      <a:pt x="259444" y="0"/>
                    </a:lnTo>
                    <a:close/>
                  </a:path>
                </a:pathLst>
              </a:custGeom>
              <a:grpFill/>
              <a:ln w="5978" cap="flat">
                <a:noFill/>
                <a:prstDash val="solid"/>
                <a:miter/>
              </a:ln>
            </p:spPr>
            <p:txBody>
              <a:bodyPr rtlCol="0" anchor="ctr"/>
              <a:lstStyle/>
              <a:p>
                <a:endParaRPr lang="en-GB"/>
              </a:p>
            </p:txBody>
          </p:sp>
          <p:sp>
            <p:nvSpPr>
              <p:cNvPr id="2377" name="Vrije vorm: vorm 2376">
                <a:extLst>
                  <a:ext uri="{FF2B5EF4-FFF2-40B4-BE49-F238E27FC236}">
                    <a16:creationId xmlns:a16="http://schemas.microsoft.com/office/drawing/2014/main" id="{D889E7CF-872A-49AA-9844-DADF0CAECEB6}"/>
                  </a:ext>
                </a:extLst>
              </p:cNvPr>
              <p:cNvSpPr/>
              <p:nvPr/>
            </p:nvSpPr>
            <p:spPr>
              <a:xfrm>
                <a:off x="5341013" y="4956135"/>
                <a:ext cx="18281" cy="18439"/>
              </a:xfrm>
              <a:custGeom>
                <a:avLst/>
                <a:gdLst>
                  <a:gd name="connsiteX0" fmla="*/ 1107 w 18281"/>
                  <a:gd name="connsiteY0" fmla="*/ 4734 h 18439"/>
                  <a:gd name="connsiteX1" fmla="*/ 13547 w 18281"/>
                  <a:gd name="connsiteY1" fmla="*/ 1146 h 18439"/>
                  <a:gd name="connsiteX2" fmla="*/ 17136 w 18281"/>
                  <a:gd name="connsiteY2" fmla="*/ 13706 h 18439"/>
                  <a:gd name="connsiteX3" fmla="*/ 4696 w 18281"/>
                  <a:gd name="connsiteY3" fmla="*/ 17294 h 18439"/>
                  <a:gd name="connsiteX4" fmla="*/ 1107 w 18281"/>
                  <a:gd name="connsiteY4" fmla="*/ 47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39">
                    <a:moveTo>
                      <a:pt x="1107" y="4734"/>
                    </a:moveTo>
                    <a:cubicBezTo>
                      <a:pt x="3559" y="309"/>
                      <a:pt x="9121" y="-1306"/>
                      <a:pt x="13547" y="1146"/>
                    </a:cubicBezTo>
                    <a:cubicBezTo>
                      <a:pt x="17973" y="3598"/>
                      <a:pt x="19587" y="9220"/>
                      <a:pt x="17136" y="13706"/>
                    </a:cubicBezTo>
                    <a:cubicBezTo>
                      <a:pt x="14683" y="18131"/>
                      <a:pt x="9121" y="19746"/>
                      <a:pt x="4696" y="17294"/>
                    </a:cubicBezTo>
                    <a:cubicBezTo>
                      <a:pt x="330" y="14782"/>
                      <a:pt x="-1285" y="9160"/>
                      <a:pt x="1107" y="4734"/>
                    </a:cubicBezTo>
                    <a:close/>
                  </a:path>
                </a:pathLst>
              </a:custGeom>
              <a:grpFill/>
              <a:ln w="5978" cap="flat">
                <a:noFill/>
                <a:prstDash val="solid"/>
                <a:miter/>
              </a:ln>
            </p:spPr>
            <p:txBody>
              <a:bodyPr rtlCol="0" anchor="ctr"/>
              <a:lstStyle/>
              <a:p>
                <a:endParaRPr lang="en-GB"/>
              </a:p>
            </p:txBody>
          </p:sp>
          <p:sp>
            <p:nvSpPr>
              <p:cNvPr id="2378" name="Vrije vorm: vorm 2377">
                <a:extLst>
                  <a:ext uri="{FF2B5EF4-FFF2-40B4-BE49-F238E27FC236}">
                    <a16:creationId xmlns:a16="http://schemas.microsoft.com/office/drawing/2014/main" id="{8F182B8E-74BC-4FBB-AB60-77DF74D6366C}"/>
                  </a:ext>
                </a:extLst>
              </p:cNvPr>
              <p:cNvSpPr/>
              <p:nvPr/>
            </p:nvSpPr>
            <p:spPr>
              <a:xfrm>
                <a:off x="5082009" y="5427781"/>
                <a:ext cx="18320" cy="18445"/>
              </a:xfrm>
              <a:custGeom>
                <a:avLst/>
                <a:gdLst>
                  <a:gd name="connsiteX0" fmla="*/ 1146 w 18320"/>
                  <a:gd name="connsiteY0" fmla="*/ 4728 h 18445"/>
                  <a:gd name="connsiteX1" fmla="*/ 4734 w 18320"/>
                  <a:gd name="connsiteY1" fmla="*/ 17288 h 18445"/>
                  <a:gd name="connsiteX2" fmla="*/ 17174 w 18320"/>
                  <a:gd name="connsiteY2" fmla="*/ 13699 h 18445"/>
                  <a:gd name="connsiteX3" fmla="*/ 13586 w 18320"/>
                  <a:gd name="connsiteY3" fmla="*/ 1199 h 18445"/>
                  <a:gd name="connsiteX4" fmla="*/ 1146 w 18320"/>
                  <a:gd name="connsiteY4" fmla="*/ 47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45">
                    <a:moveTo>
                      <a:pt x="1146" y="4728"/>
                    </a:moveTo>
                    <a:cubicBezTo>
                      <a:pt x="-1306" y="9154"/>
                      <a:pt x="309" y="14776"/>
                      <a:pt x="4734" y="17288"/>
                    </a:cubicBezTo>
                    <a:cubicBezTo>
                      <a:pt x="9160" y="19740"/>
                      <a:pt x="14722" y="18185"/>
                      <a:pt x="17174" y="13699"/>
                    </a:cubicBezTo>
                    <a:cubicBezTo>
                      <a:pt x="19626" y="9274"/>
                      <a:pt x="18011" y="3652"/>
                      <a:pt x="13586" y="1199"/>
                    </a:cubicBezTo>
                    <a:cubicBezTo>
                      <a:pt x="9160" y="-1312"/>
                      <a:pt x="3598" y="243"/>
                      <a:pt x="1146" y="4728"/>
                    </a:cubicBezTo>
                    <a:close/>
                  </a:path>
                </a:pathLst>
              </a:custGeom>
              <a:grpFill/>
              <a:ln w="5978" cap="flat">
                <a:noFill/>
                <a:prstDash val="solid"/>
                <a:miter/>
              </a:ln>
            </p:spPr>
            <p:txBody>
              <a:bodyPr rtlCol="0" anchor="ctr"/>
              <a:lstStyle/>
              <a:p>
                <a:endParaRPr lang="en-GB"/>
              </a:p>
            </p:txBody>
          </p:sp>
        </p:grpSp>
        <p:grpSp>
          <p:nvGrpSpPr>
            <p:cNvPr id="1009" name="Graphic 3">
              <a:extLst>
                <a:ext uri="{FF2B5EF4-FFF2-40B4-BE49-F238E27FC236}">
                  <a16:creationId xmlns:a16="http://schemas.microsoft.com/office/drawing/2014/main" id="{F18EFA80-BF06-4F36-B5EA-8675BEE0A601}"/>
                </a:ext>
              </a:extLst>
            </p:cNvPr>
            <p:cNvGrpSpPr/>
            <p:nvPr/>
          </p:nvGrpSpPr>
          <p:grpSpPr>
            <a:xfrm>
              <a:off x="5107427" y="4944891"/>
              <a:ext cx="114370" cy="193555"/>
              <a:chOff x="5107427" y="4944891"/>
              <a:chExt cx="114370" cy="193555"/>
            </a:xfrm>
            <a:grpFill/>
          </p:grpSpPr>
          <p:sp>
            <p:nvSpPr>
              <p:cNvPr id="2373" name="Vrije vorm: vorm 2372">
                <a:extLst>
                  <a:ext uri="{FF2B5EF4-FFF2-40B4-BE49-F238E27FC236}">
                    <a16:creationId xmlns:a16="http://schemas.microsoft.com/office/drawing/2014/main" id="{AF98B03B-1684-4398-B724-776395DA2BB5}"/>
                  </a:ext>
                </a:extLst>
              </p:cNvPr>
              <p:cNvSpPr/>
              <p:nvPr/>
            </p:nvSpPr>
            <p:spPr>
              <a:xfrm>
                <a:off x="5115032" y="4952915"/>
                <a:ext cx="99100" cy="177447"/>
              </a:xfrm>
              <a:custGeom>
                <a:avLst/>
                <a:gdLst>
                  <a:gd name="connsiteX0" fmla="*/ 99101 w 99100"/>
                  <a:gd name="connsiteY0" fmla="*/ 1495 h 177447"/>
                  <a:gd name="connsiteX1" fmla="*/ 2632 w 99100"/>
                  <a:gd name="connsiteY1" fmla="*/ 177448 h 177447"/>
                  <a:gd name="connsiteX2" fmla="*/ 0 w 99100"/>
                  <a:gd name="connsiteY2" fmla="*/ 175953 h 177447"/>
                  <a:gd name="connsiteX3" fmla="*/ 96469 w 99100"/>
                  <a:gd name="connsiteY3" fmla="*/ 0 h 177447"/>
                </a:gdLst>
                <a:ahLst/>
                <a:cxnLst>
                  <a:cxn ang="0">
                    <a:pos x="connsiteX0" y="connsiteY0"/>
                  </a:cxn>
                  <a:cxn ang="0">
                    <a:pos x="connsiteX1" y="connsiteY1"/>
                  </a:cxn>
                  <a:cxn ang="0">
                    <a:pos x="connsiteX2" y="connsiteY2"/>
                  </a:cxn>
                  <a:cxn ang="0">
                    <a:pos x="connsiteX3" y="connsiteY3"/>
                  </a:cxn>
                </a:cxnLst>
                <a:rect l="l" t="t" r="r" b="b"/>
                <a:pathLst>
                  <a:path w="99100" h="177447">
                    <a:moveTo>
                      <a:pt x="99101" y="1495"/>
                    </a:moveTo>
                    <a:lnTo>
                      <a:pt x="2632" y="177448"/>
                    </a:lnTo>
                    <a:lnTo>
                      <a:pt x="0" y="175953"/>
                    </a:lnTo>
                    <a:lnTo>
                      <a:pt x="96469" y="0"/>
                    </a:lnTo>
                    <a:close/>
                  </a:path>
                </a:pathLst>
              </a:custGeom>
              <a:grpFill/>
              <a:ln w="5978" cap="flat">
                <a:noFill/>
                <a:prstDash val="solid"/>
                <a:miter/>
              </a:ln>
            </p:spPr>
            <p:txBody>
              <a:bodyPr rtlCol="0" anchor="ctr"/>
              <a:lstStyle/>
              <a:p>
                <a:endParaRPr lang="en-GB"/>
              </a:p>
            </p:txBody>
          </p:sp>
          <p:sp>
            <p:nvSpPr>
              <p:cNvPr id="2374" name="Vrije vorm: vorm 2373">
                <a:extLst>
                  <a:ext uri="{FF2B5EF4-FFF2-40B4-BE49-F238E27FC236}">
                    <a16:creationId xmlns:a16="http://schemas.microsoft.com/office/drawing/2014/main" id="{530B15F1-DA7B-4706-A7B6-46358778DE80}"/>
                  </a:ext>
                </a:extLst>
              </p:cNvPr>
              <p:cNvSpPr/>
              <p:nvPr/>
            </p:nvSpPr>
            <p:spPr>
              <a:xfrm>
                <a:off x="5107427" y="5120066"/>
                <a:ext cx="18320" cy="18379"/>
              </a:xfrm>
              <a:custGeom>
                <a:avLst/>
                <a:gdLst>
                  <a:gd name="connsiteX0" fmla="*/ 17174 w 18320"/>
                  <a:gd name="connsiteY0" fmla="*/ 13646 h 18379"/>
                  <a:gd name="connsiteX1" fmla="*/ 4734 w 18320"/>
                  <a:gd name="connsiteY1" fmla="*/ 17234 h 18379"/>
                  <a:gd name="connsiteX2" fmla="*/ 1146 w 18320"/>
                  <a:gd name="connsiteY2" fmla="*/ 4734 h 18379"/>
                  <a:gd name="connsiteX3" fmla="*/ 13586 w 18320"/>
                  <a:gd name="connsiteY3" fmla="*/ 1146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4722" y="18071"/>
                      <a:pt x="9160" y="19686"/>
                      <a:pt x="4734" y="17234"/>
                    </a:cubicBezTo>
                    <a:cubicBezTo>
                      <a:pt x="309" y="14782"/>
                      <a:pt x="-1306" y="9160"/>
                      <a:pt x="1146" y="4734"/>
                    </a:cubicBezTo>
                    <a:cubicBezTo>
                      <a:pt x="3598" y="309"/>
                      <a:pt x="9160" y="-1306"/>
                      <a:pt x="13586" y="1146"/>
                    </a:cubicBezTo>
                    <a:cubicBezTo>
                      <a:pt x="18011" y="3598"/>
                      <a:pt x="19626" y="9160"/>
                      <a:pt x="17174" y="13646"/>
                    </a:cubicBezTo>
                    <a:close/>
                  </a:path>
                </a:pathLst>
              </a:custGeom>
              <a:grpFill/>
              <a:ln w="5978" cap="flat">
                <a:noFill/>
                <a:prstDash val="solid"/>
                <a:miter/>
              </a:ln>
            </p:spPr>
            <p:txBody>
              <a:bodyPr rtlCol="0" anchor="ctr"/>
              <a:lstStyle/>
              <a:p>
                <a:endParaRPr lang="en-GB"/>
              </a:p>
            </p:txBody>
          </p:sp>
          <p:sp>
            <p:nvSpPr>
              <p:cNvPr id="2375" name="Vrije vorm: vorm 2374">
                <a:extLst>
                  <a:ext uri="{FF2B5EF4-FFF2-40B4-BE49-F238E27FC236}">
                    <a16:creationId xmlns:a16="http://schemas.microsoft.com/office/drawing/2014/main" id="{C01934E1-9265-4FDC-89BE-38C9ED26DEAA}"/>
                  </a:ext>
                </a:extLst>
              </p:cNvPr>
              <p:cNvSpPr/>
              <p:nvPr/>
            </p:nvSpPr>
            <p:spPr>
              <a:xfrm>
                <a:off x="5203477" y="4944891"/>
                <a:ext cx="18320" cy="18379"/>
              </a:xfrm>
              <a:custGeom>
                <a:avLst/>
                <a:gdLst>
                  <a:gd name="connsiteX0" fmla="*/ 17174 w 18320"/>
                  <a:gd name="connsiteY0" fmla="*/ 13646 h 18379"/>
                  <a:gd name="connsiteX1" fmla="*/ 13586 w 18320"/>
                  <a:gd name="connsiteY1" fmla="*/ 1146 h 18379"/>
                  <a:gd name="connsiteX2" fmla="*/ 1146 w 18320"/>
                  <a:gd name="connsiteY2" fmla="*/ 4734 h 18379"/>
                  <a:gd name="connsiteX3" fmla="*/ 4734 w 18320"/>
                  <a:gd name="connsiteY3" fmla="*/ 17234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9626" y="9220"/>
                      <a:pt x="18011" y="3598"/>
                      <a:pt x="13586" y="1146"/>
                    </a:cubicBezTo>
                    <a:cubicBezTo>
                      <a:pt x="9160" y="-1306"/>
                      <a:pt x="3598" y="309"/>
                      <a:pt x="1146" y="4734"/>
                    </a:cubicBezTo>
                    <a:cubicBezTo>
                      <a:pt x="-1306" y="9160"/>
                      <a:pt x="309" y="14782"/>
                      <a:pt x="4734" y="17234"/>
                    </a:cubicBezTo>
                    <a:cubicBezTo>
                      <a:pt x="9160" y="19686"/>
                      <a:pt x="14722" y="18071"/>
                      <a:pt x="17174" y="13646"/>
                    </a:cubicBezTo>
                    <a:close/>
                  </a:path>
                </a:pathLst>
              </a:custGeom>
              <a:grpFill/>
              <a:ln w="5978" cap="flat">
                <a:noFill/>
                <a:prstDash val="solid"/>
                <a:miter/>
              </a:ln>
            </p:spPr>
            <p:txBody>
              <a:bodyPr rtlCol="0" anchor="ctr"/>
              <a:lstStyle/>
              <a:p>
                <a:endParaRPr lang="en-GB"/>
              </a:p>
            </p:txBody>
          </p:sp>
        </p:grpSp>
        <p:grpSp>
          <p:nvGrpSpPr>
            <p:cNvPr id="1010" name="Graphic 3">
              <a:extLst>
                <a:ext uri="{FF2B5EF4-FFF2-40B4-BE49-F238E27FC236}">
                  <a16:creationId xmlns:a16="http://schemas.microsoft.com/office/drawing/2014/main" id="{F10261B4-AA21-4B22-AF6B-AD521120ADB4}"/>
                </a:ext>
              </a:extLst>
            </p:cNvPr>
            <p:cNvGrpSpPr/>
            <p:nvPr/>
          </p:nvGrpSpPr>
          <p:grpSpPr>
            <a:xfrm>
              <a:off x="4304968" y="2572386"/>
              <a:ext cx="63475" cy="40105"/>
              <a:chOff x="4304968" y="2572386"/>
              <a:chExt cx="63475" cy="40105"/>
            </a:xfrm>
            <a:grpFill/>
          </p:grpSpPr>
          <p:sp>
            <p:nvSpPr>
              <p:cNvPr id="2370" name="Vrije vorm: vorm 2369">
                <a:extLst>
                  <a:ext uri="{FF2B5EF4-FFF2-40B4-BE49-F238E27FC236}">
                    <a16:creationId xmlns:a16="http://schemas.microsoft.com/office/drawing/2014/main" id="{F1510E9F-6D85-4E12-A2D3-473306C9BCAC}"/>
                  </a:ext>
                </a:extLst>
              </p:cNvPr>
              <p:cNvSpPr/>
              <p:nvPr/>
            </p:nvSpPr>
            <p:spPr>
              <a:xfrm>
                <a:off x="4313077" y="2580004"/>
                <a:ext cx="47247" cy="24820"/>
              </a:xfrm>
              <a:custGeom>
                <a:avLst/>
                <a:gdLst>
                  <a:gd name="connsiteX0" fmla="*/ 47247 w 47247"/>
                  <a:gd name="connsiteY0" fmla="*/ 22069 h 24820"/>
                  <a:gd name="connsiteX1" fmla="*/ 45992 w 47247"/>
                  <a:gd name="connsiteY1" fmla="*/ 24820 h 24820"/>
                  <a:gd name="connsiteX2" fmla="*/ 0 w 47247"/>
                  <a:gd name="connsiteY2" fmla="*/ 2751 h 24820"/>
                  <a:gd name="connsiteX3" fmla="*/ 1256 w 47247"/>
                  <a:gd name="connsiteY3" fmla="*/ 0 h 24820"/>
                </a:gdLst>
                <a:ahLst/>
                <a:cxnLst>
                  <a:cxn ang="0">
                    <a:pos x="connsiteX0" y="connsiteY0"/>
                  </a:cxn>
                  <a:cxn ang="0">
                    <a:pos x="connsiteX1" y="connsiteY1"/>
                  </a:cxn>
                  <a:cxn ang="0">
                    <a:pos x="connsiteX2" y="connsiteY2"/>
                  </a:cxn>
                  <a:cxn ang="0">
                    <a:pos x="connsiteX3" y="connsiteY3"/>
                  </a:cxn>
                </a:cxnLst>
                <a:rect l="l" t="t" r="r" b="b"/>
                <a:pathLst>
                  <a:path w="47247" h="24820">
                    <a:moveTo>
                      <a:pt x="47247" y="22069"/>
                    </a:moveTo>
                    <a:lnTo>
                      <a:pt x="45992" y="24820"/>
                    </a:lnTo>
                    <a:lnTo>
                      <a:pt x="0" y="2751"/>
                    </a:lnTo>
                    <a:lnTo>
                      <a:pt x="1256" y="0"/>
                    </a:lnTo>
                    <a:close/>
                  </a:path>
                </a:pathLst>
              </a:custGeom>
              <a:grpFill/>
              <a:ln w="5978" cap="flat">
                <a:noFill/>
                <a:prstDash val="solid"/>
                <a:miter/>
              </a:ln>
            </p:spPr>
            <p:txBody>
              <a:bodyPr rtlCol="0" anchor="ctr"/>
              <a:lstStyle/>
              <a:p>
                <a:endParaRPr lang="en-GB"/>
              </a:p>
            </p:txBody>
          </p:sp>
          <p:sp>
            <p:nvSpPr>
              <p:cNvPr id="2371" name="Vrije vorm: vorm 2370">
                <a:extLst>
                  <a:ext uri="{FF2B5EF4-FFF2-40B4-BE49-F238E27FC236}">
                    <a16:creationId xmlns:a16="http://schemas.microsoft.com/office/drawing/2014/main" id="{AAB642BF-7CED-4DDC-8F52-F40D998DDF0F}"/>
                  </a:ext>
                </a:extLst>
              </p:cNvPr>
              <p:cNvSpPr/>
              <p:nvPr/>
            </p:nvSpPr>
            <p:spPr>
              <a:xfrm>
                <a:off x="4304968" y="2572386"/>
                <a:ext cx="18311" cy="18406"/>
              </a:xfrm>
              <a:custGeom>
                <a:avLst/>
                <a:gdLst>
                  <a:gd name="connsiteX0" fmla="*/ 5238 w 18311"/>
                  <a:gd name="connsiteY0" fmla="*/ 17486 h 18406"/>
                  <a:gd name="connsiteX1" fmla="*/ 872 w 18311"/>
                  <a:gd name="connsiteY1" fmla="*/ 5226 h 18406"/>
                  <a:gd name="connsiteX2" fmla="*/ 13073 w 18311"/>
                  <a:gd name="connsiteY2" fmla="*/ 920 h 18406"/>
                  <a:gd name="connsiteX3" fmla="*/ 17439 w 18311"/>
                  <a:gd name="connsiteY3" fmla="*/ 13180 h 18406"/>
                  <a:gd name="connsiteX4" fmla="*/ 5238 w 18311"/>
                  <a:gd name="connsiteY4" fmla="*/ 174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6">
                    <a:moveTo>
                      <a:pt x="5238" y="17486"/>
                    </a:moveTo>
                    <a:cubicBezTo>
                      <a:pt x="693" y="15273"/>
                      <a:pt x="-1281" y="9771"/>
                      <a:pt x="872" y="5226"/>
                    </a:cubicBezTo>
                    <a:cubicBezTo>
                      <a:pt x="3025" y="621"/>
                      <a:pt x="8528" y="-1293"/>
                      <a:pt x="13073" y="920"/>
                    </a:cubicBezTo>
                    <a:cubicBezTo>
                      <a:pt x="17618" y="3133"/>
                      <a:pt x="19592" y="8635"/>
                      <a:pt x="17439" y="13180"/>
                    </a:cubicBezTo>
                    <a:cubicBezTo>
                      <a:pt x="15286" y="17785"/>
                      <a:pt x="9784" y="19699"/>
                      <a:pt x="5238" y="17486"/>
                    </a:cubicBezTo>
                    <a:close/>
                  </a:path>
                </a:pathLst>
              </a:custGeom>
              <a:grpFill/>
              <a:ln w="5978" cap="flat">
                <a:noFill/>
                <a:prstDash val="solid"/>
                <a:miter/>
              </a:ln>
            </p:spPr>
            <p:txBody>
              <a:bodyPr rtlCol="0" anchor="ctr"/>
              <a:lstStyle/>
              <a:p>
                <a:endParaRPr lang="en-GB"/>
              </a:p>
            </p:txBody>
          </p:sp>
          <p:sp>
            <p:nvSpPr>
              <p:cNvPr id="2372" name="Vrije vorm: vorm 2371">
                <a:extLst>
                  <a:ext uri="{FF2B5EF4-FFF2-40B4-BE49-F238E27FC236}">
                    <a16:creationId xmlns:a16="http://schemas.microsoft.com/office/drawing/2014/main" id="{21485501-0B73-4CB5-8B32-8E535A3E75AB}"/>
                  </a:ext>
                </a:extLst>
              </p:cNvPr>
              <p:cNvSpPr/>
              <p:nvPr/>
            </p:nvSpPr>
            <p:spPr>
              <a:xfrm>
                <a:off x="4350122" y="2594106"/>
                <a:ext cx="18321" cy="18385"/>
              </a:xfrm>
              <a:custGeom>
                <a:avLst/>
                <a:gdLst>
                  <a:gd name="connsiteX0" fmla="*/ 5238 w 18321"/>
                  <a:gd name="connsiteY0" fmla="*/ 17476 h 18385"/>
                  <a:gd name="connsiteX1" fmla="*/ 17439 w 18321"/>
                  <a:gd name="connsiteY1" fmla="*/ 13170 h 18385"/>
                  <a:gd name="connsiteX2" fmla="*/ 13073 w 18321"/>
                  <a:gd name="connsiteY2" fmla="*/ 910 h 18385"/>
                  <a:gd name="connsiteX3" fmla="*/ 872 w 18321"/>
                  <a:gd name="connsiteY3" fmla="*/ 5216 h 18385"/>
                  <a:gd name="connsiteX4" fmla="*/ 5238 w 18321"/>
                  <a:gd name="connsiteY4" fmla="*/ 17476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5">
                    <a:moveTo>
                      <a:pt x="5238" y="17476"/>
                    </a:moveTo>
                    <a:cubicBezTo>
                      <a:pt x="9784" y="19689"/>
                      <a:pt x="15286" y="17715"/>
                      <a:pt x="17439" y="13170"/>
                    </a:cubicBezTo>
                    <a:cubicBezTo>
                      <a:pt x="19592" y="8565"/>
                      <a:pt x="17678" y="3063"/>
                      <a:pt x="13073" y="910"/>
                    </a:cubicBezTo>
                    <a:cubicBezTo>
                      <a:pt x="8528" y="-1303"/>
                      <a:pt x="3025" y="670"/>
                      <a:pt x="872" y="5216"/>
                    </a:cubicBezTo>
                    <a:cubicBezTo>
                      <a:pt x="-1281" y="9761"/>
                      <a:pt x="693" y="15263"/>
                      <a:pt x="5238" y="17476"/>
                    </a:cubicBezTo>
                    <a:close/>
                  </a:path>
                </a:pathLst>
              </a:custGeom>
              <a:grpFill/>
              <a:ln w="5978" cap="flat">
                <a:noFill/>
                <a:prstDash val="solid"/>
                <a:miter/>
              </a:ln>
            </p:spPr>
            <p:txBody>
              <a:bodyPr rtlCol="0" anchor="ctr"/>
              <a:lstStyle/>
              <a:p>
                <a:endParaRPr lang="en-GB"/>
              </a:p>
            </p:txBody>
          </p:sp>
        </p:grpSp>
        <p:grpSp>
          <p:nvGrpSpPr>
            <p:cNvPr id="1011" name="Graphic 3">
              <a:extLst>
                <a:ext uri="{FF2B5EF4-FFF2-40B4-BE49-F238E27FC236}">
                  <a16:creationId xmlns:a16="http://schemas.microsoft.com/office/drawing/2014/main" id="{31C77465-BD8F-41FA-A4C4-88C5E2AFDA90}"/>
                </a:ext>
              </a:extLst>
            </p:cNvPr>
            <p:cNvGrpSpPr/>
            <p:nvPr/>
          </p:nvGrpSpPr>
          <p:grpSpPr>
            <a:xfrm>
              <a:off x="4305795" y="2572755"/>
              <a:ext cx="62638" cy="39687"/>
              <a:chOff x="4305795" y="2572755"/>
              <a:chExt cx="62638" cy="39687"/>
            </a:xfrm>
            <a:grpFill/>
          </p:grpSpPr>
          <p:sp>
            <p:nvSpPr>
              <p:cNvPr id="2367" name="Vrije vorm: vorm 2366">
                <a:extLst>
                  <a:ext uri="{FF2B5EF4-FFF2-40B4-BE49-F238E27FC236}">
                    <a16:creationId xmlns:a16="http://schemas.microsoft.com/office/drawing/2014/main" id="{C1749DD7-732A-4D33-BB45-34BFCF6B2DFD}"/>
                  </a:ext>
                </a:extLst>
              </p:cNvPr>
              <p:cNvSpPr/>
              <p:nvPr/>
            </p:nvSpPr>
            <p:spPr>
              <a:xfrm>
                <a:off x="4313914" y="2580422"/>
                <a:ext cx="46410" cy="24401"/>
              </a:xfrm>
              <a:custGeom>
                <a:avLst/>
                <a:gdLst>
                  <a:gd name="connsiteX0" fmla="*/ 46410 w 46410"/>
                  <a:gd name="connsiteY0" fmla="*/ 21650 h 24401"/>
                  <a:gd name="connsiteX1" fmla="*/ 45155 w 46410"/>
                  <a:gd name="connsiteY1" fmla="*/ 24401 h 24401"/>
                  <a:gd name="connsiteX2" fmla="*/ 0 w 46410"/>
                  <a:gd name="connsiteY2" fmla="*/ 2751 h 24401"/>
                  <a:gd name="connsiteX3" fmla="*/ 1316 w 46410"/>
                  <a:gd name="connsiteY3" fmla="*/ 0 h 24401"/>
                </a:gdLst>
                <a:ahLst/>
                <a:cxnLst>
                  <a:cxn ang="0">
                    <a:pos x="connsiteX0" y="connsiteY0"/>
                  </a:cxn>
                  <a:cxn ang="0">
                    <a:pos x="connsiteX1" y="connsiteY1"/>
                  </a:cxn>
                  <a:cxn ang="0">
                    <a:pos x="connsiteX2" y="connsiteY2"/>
                  </a:cxn>
                  <a:cxn ang="0">
                    <a:pos x="connsiteX3" y="connsiteY3"/>
                  </a:cxn>
                </a:cxnLst>
                <a:rect l="l" t="t" r="r" b="b"/>
                <a:pathLst>
                  <a:path w="46410" h="24401">
                    <a:moveTo>
                      <a:pt x="46410" y="21650"/>
                    </a:moveTo>
                    <a:lnTo>
                      <a:pt x="45155" y="24401"/>
                    </a:lnTo>
                    <a:lnTo>
                      <a:pt x="0" y="2751"/>
                    </a:lnTo>
                    <a:lnTo>
                      <a:pt x="1316" y="0"/>
                    </a:lnTo>
                    <a:close/>
                  </a:path>
                </a:pathLst>
              </a:custGeom>
              <a:grpFill/>
              <a:ln w="5978" cap="flat">
                <a:noFill/>
                <a:prstDash val="solid"/>
                <a:miter/>
              </a:ln>
            </p:spPr>
            <p:txBody>
              <a:bodyPr rtlCol="0" anchor="ctr"/>
              <a:lstStyle/>
              <a:p>
                <a:endParaRPr lang="en-GB"/>
              </a:p>
            </p:txBody>
          </p:sp>
          <p:sp>
            <p:nvSpPr>
              <p:cNvPr id="2368" name="Vrije vorm: vorm 2367">
                <a:extLst>
                  <a:ext uri="{FF2B5EF4-FFF2-40B4-BE49-F238E27FC236}">
                    <a16:creationId xmlns:a16="http://schemas.microsoft.com/office/drawing/2014/main" id="{4ADD7EEA-9F77-4567-9A24-F3D9701A957B}"/>
                  </a:ext>
                </a:extLst>
              </p:cNvPr>
              <p:cNvSpPr/>
              <p:nvPr/>
            </p:nvSpPr>
            <p:spPr>
              <a:xfrm>
                <a:off x="4350122" y="2594046"/>
                <a:ext cx="18311" cy="18396"/>
              </a:xfrm>
              <a:custGeom>
                <a:avLst/>
                <a:gdLst>
                  <a:gd name="connsiteX0" fmla="*/ 13073 w 18311"/>
                  <a:gd name="connsiteY0" fmla="*/ 910 h 18396"/>
                  <a:gd name="connsiteX1" fmla="*/ 17439 w 18311"/>
                  <a:gd name="connsiteY1" fmla="*/ 13170 h 18396"/>
                  <a:gd name="connsiteX2" fmla="*/ 5238 w 18311"/>
                  <a:gd name="connsiteY2" fmla="*/ 17476 h 18396"/>
                  <a:gd name="connsiteX3" fmla="*/ 872 w 18311"/>
                  <a:gd name="connsiteY3" fmla="*/ 5216 h 18396"/>
                  <a:gd name="connsiteX4" fmla="*/ 13073 w 18311"/>
                  <a:gd name="connsiteY4" fmla="*/ 910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396">
                    <a:moveTo>
                      <a:pt x="13073" y="910"/>
                    </a:moveTo>
                    <a:cubicBezTo>
                      <a:pt x="17618" y="3122"/>
                      <a:pt x="19592" y="8625"/>
                      <a:pt x="17439" y="13170"/>
                    </a:cubicBezTo>
                    <a:cubicBezTo>
                      <a:pt x="15286" y="17775"/>
                      <a:pt x="9784" y="19689"/>
                      <a:pt x="5238" y="17476"/>
                    </a:cubicBezTo>
                    <a:cubicBezTo>
                      <a:pt x="693" y="15263"/>
                      <a:pt x="-1281" y="9761"/>
                      <a:pt x="872" y="5216"/>
                    </a:cubicBezTo>
                    <a:cubicBezTo>
                      <a:pt x="3025" y="670"/>
                      <a:pt x="8528" y="-1303"/>
                      <a:pt x="13073" y="910"/>
                    </a:cubicBezTo>
                    <a:close/>
                  </a:path>
                </a:pathLst>
              </a:custGeom>
              <a:grpFill/>
              <a:ln w="5978" cap="flat">
                <a:noFill/>
                <a:prstDash val="solid"/>
                <a:miter/>
              </a:ln>
            </p:spPr>
            <p:txBody>
              <a:bodyPr rtlCol="0" anchor="ctr"/>
              <a:lstStyle/>
              <a:p>
                <a:endParaRPr lang="en-GB"/>
              </a:p>
            </p:txBody>
          </p:sp>
          <p:sp>
            <p:nvSpPr>
              <p:cNvPr id="2369" name="Vrije vorm: vorm 2368">
                <a:extLst>
                  <a:ext uri="{FF2B5EF4-FFF2-40B4-BE49-F238E27FC236}">
                    <a16:creationId xmlns:a16="http://schemas.microsoft.com/office/drawing/2014/main" id="{89494B8E-DD32-45F8-8E07-5E7FE08D08D5}"/>
                  </a:ext>
                </a:extLst>
              </p:cNvPr>
              <p:cNvSpPr/>
              <p:nvPr/>
            </p:nvSpPr>
            <p:spPr>
              <a:xfrm>
                <a:off x="4305795" y="2572755"/>
                <a:ext cx="18331" cy="18385"/>
              </a:xfrm>
              <a:custGeom>
                <a:avLst/>
                <a:gdLst>
                  <a:gd name="connsiteX0" fmla="*/ 13083 w 18331"/>
                  <a:gd name="connsiteY0" fmla="*/ 910 h 18385"/>
                  <a:gd name="connsiteX1" fmla="*/ 882 w 18331"/>
                  <a:gd name="connsiteY1" fmla="*/ 5216 h 18385"/>
                  <a:gd name="connsiteX2" fmla="*/ 5248 w 18331"/>
                  <a:gd name="connsiteY2" fmla="*/ 17476 h 18385"/>
                  <a:gd name="connsiteX3" fmla="*/ 17449 w 18331"/>
                  <a:gd name="connsiteY3" fmla="*/ 13170 h 18385"/>
                  <a:gd name="connsiteX4" fmla="*/ 13083 w 18331"/>
                  <a:gd name="connsiteY4" fmla="*/ 910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5">
                    <a:moveTo>
                      <a:pt x="13083" y="910"/>
                    </a:moveTo>
                    <a:cubicBezTo>
                      <a:pt x="8537" y="-1303"/>
                      <a:pt x="3035" y="670"/>
                      <a:pt x="882" y="5216"/>
                    </a:cubicBezTo>
                    <a:cubicBezTo>
                      <a:pt x="-1271" y="9821"/>
                      <a:pt x="643" y="15323"/>
                      <a:pt x="5248" y="17476"/>
                    </a:cubicBezTo>
                    <a:cubicBezTo>
                      <a:pt x="9794" y="19689"/>
                      <a:pt x="15296" y="17715"/>
                      <a:pt x="17449" y="13170"/>
                    </a:cubicBezTo>
                    <a:cubicBezTo>
                      <a:pt x="19602" y="8625"/>
                      <a:pt x="17688" y="3122"/>
                      <a:pt x="13083" y="910"/>
                    </a:cubicBezTo>
                    <a:close/>
                  </a:path>
                </a:pathLst>
              </a:custGeom>
              <a:grpFill/>
              <a:ln w="5978" cap="flat">
                <a:noFill/>
                <a:prstDash val="solid"/>
                <a:miter/>
              </a:ln>
            </p:spPr>
            <p:txBody>
              <a:bodyPr rtlCol="0" anchor="ctr"/>
              <a:lstStyle/>
              <a:p>
                <a:endParaRPr lang="en-GB"/>
              </a:p>
            </p:txBody>
          </p:sp>
        </p:grpSp>
        <p:grpSp>
          <p:nvGrpSpPr>
            <p:cNvPr id="1012" name="Graphic 3">
              <a:extLst>
                <a:ext uri="{FF2B5EF4-FFF2-40B4-BE49-F238E27FC236}">
                  <a16:creationId xmlns:a16="http://schemas.microsoft.com/office/drawing/2014/main" id="{FB607D35-561C-4B9A-8896-8C69C76E00CF}"/>
                </a:ext>
              </a:extLst>
            </p:cNvPr>
            <p:cNvGrpSpPr/>
            <p:nvPr/>
          </p:nvGrpSpPr>
          <p:grpSpPr>
            <a:xfrm>
              <a:off x="4198359" y="2564194"/>
              <a:ext cx="297030" cy="178804"/>
              <a:chOff x="4198359" y="2564194"/>
              <a:chExt cx="297030" cy="178804"/>
            </a:xfrm>
            <a:grpFill/>
          </p:grpSpPr>
          <p:sp>
            <p:nvSpPr>
              <p:cNvPr id="2364" name="Vrije vorm: vorm 2363">
                <a:extLst>
                  <a:ext uri="{FF2B5EF4-FFF2-40B4-BE49-F238E27FC236}">
                    <a16:creationId xmlns:a16="http://schemas.microsoft.com/office/drawing/2014/main" id="{8E4383A8-0815-4B3E-9E26-F2F0A19AAB2E}"/>
                  </a:ext>
                </a:extLst>
              </p:cNvPr>
              <p:cNvSpPr/>
              <p:nvPr/>
            </p:nvSpPr>
            <p:spPr>
              <a:xfrm>
                <a:off x="4206381" y="2571870"/>
                <a:ext cx="280974" cy="163512"/>
              </a:xfrm>
              <a:custGeom>
                <a:avLst/>
                <a:gdLst>
                  <a:gd name="connsiteX0" fmla="*/ 280974 w 280974"/>
                  <a:gd name="connsiteY0" fmla="*/ 160881 h 163512"/>
                  <a:gd name="connsiteX1" fmla="*/ 279479 w 280974"/>
                  <a:gd name="connsiteY1" fmla="*/ 163513 h 163512"/>
                  <a:gd name="connsiteX2" fmla="*/ 0 w 280974"/>
                  <a:gd name="connsiteY2" fmla="*/ 2632 h 163512"/>
                  <a:gd name="connsiteX3" fmla="*/ 1495 w 280974"/>
                  <a:gd name="connsiteY3" fmla="*/ 0 h 163512"/>
                </a:gdLst>
                <a:ahLst/>
                <a:cxnLst>
                  <a:cxn ang="0">
                    <a:pos x="connsiteX0" y="connsiteY0"/>
                  </a:cxn>
                  <a:cxn ang="0">
                    <a:pos x="connsiteX1" y="connsiteY1"/>
                  </a:cxn>
                  <a:cxn ang="0">
                    <a:pos x="connsiteX2" y="connsiteY2"/>
                  </a:cxn>
                  <a:cxn ang="0">
                    <a:pos x="connsiteX3" y="connsiteY3"/>
                  </a:cxn>
                </a:cxnLst>
                <a:rect l="l" t="t" r="r" b="b"/>
                <a:pathLst>
                  <a:path w="280974" h="163512">
                    <a:moveTo>
                      <a:pt x="280974" y="160881"/>
                    </a:moveTo>
                    <a:lnTo>
                      <a:pt x="279479" y="163513"/>
                    </a:lnTo>
                    <a:lnTo>
                      <a:pt x="0" y="2632"/>
                    </a:lnTo>
                    <a:lnTo>
                      <a:pt x="1495" y="0"/>
                    </a:lnTo>
                    <a:close/>
                  </a:path>
                </a:pathLst>
              </a:custGeom>
              <a:grpFill/>
              <a:ln w="5978" cap="flat">
                <a:noFill/>
                <a:prstDash val="solid"/>
                <a:miter/>
              </a:ln>
            </p:spPr>
            <p:txBody>
              <a:bodyPr rtlCol="0" anchor="ctr"/>
              <a:lstStyle/>
              <a:p>
                <a:endParaRPr lang="en-GB"/>
              </a:p>
            </p:txBody>
          </p:sp>
          <p:sp>
            <p:nvSpPr>
              <p:cNvPr id="2365" name="Vrije vorm: vorm 2364">
                <a:extLst>
                  <a:ext uri="{FF2B5EF4-FFF2-40B4-BE49-F238E27FC236}">
                    <a16:creationId xmlns:a16="http://schemas.microsoft.com/office/drawing/2014/main" id="{B405003D-1AF1-467F-909A-000F4FF82085}"/>
                  </a:ext>
                </a:extLst>
              </p:cNvPr>
              <p:cNvSpPr/>
              <p:nvPr/>
            </p:nvSpPr>
            <p:spPr>
              <a:xfrm>
                <a:off x="4477048" y="2724610"/>
                <a:ext cx="18341" cy="18388"/>
              </a:xfrm>
              <a:custGeom>
                <a:avLst/>
                <a:gdLst>
                  <a:gd name="connsiteX0" fmla="*/ 13716 w 18341"/>
                  <a:gd name="connsiteY0" fmla="*/ 1203 h 18388"/>
                  <a:gd name="connsiteX1" fmla="*/ 17125 w 18341"/>
                  <a:gd name="connsiteY1" fmla="*/ 13763 h 18388"/>
                  <a:gd name="connsiteX2" fmla="*/ 4626 w 18341"/>
                  <a:gd name="connsiteY2" fmla="*/ 17172 h 18388"/>
                  <a:gd name="connsiteX3" fmla="*/ 1217 w 18341"/>
                  <a:gd name="connsiteY3" fmla="*/ 4613 h 18388"/>
                  <a:gd name="connsiteX4" fmla="*/ 13716 w 18341"/>
                  <a:gd name="connsiteY4" fmla="*/ 1203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8">
                    <a:moveTo>
                      <a:pt x="13716" y="1203"/>
                    </a:moveTo>
                    <a:cubicBezTo>
                      <a:pt x="18142" y="3715"/>
                      <a:pt x="19637" y="9397"/>
                      <a:pt x="17125" y="13763"/>
                    </a:cubicBezTo>
                    <a:cubicBezTo>
                      <a:pt x="14613" y="18189"/>
                      <a:pt x="9051" y="19684"/>
                      <a:pt x="4626" y="17172"/>
                    </a:cubicBezTo>
                    <a:cubicBezTo>
                      <a:pt x="200" y="14660"/>
                      <a:pt x="-1296" y="9038"/>
                      <a:pt x="1217" y="4613"/>
                    </a:cubicBezTo>
                    <a:cubicBezTo>
                      <a:pt x="3728" y="247"/>
                      <a:pt x="9290" y="-1308"/>
                      <a:pt x="13716" y="1203"/>
                    </a:cubicBezTo>
                    <a:close/>
                  </a:path>
                </a:pathLst>
              </a:custGeom>
              <a:grpFill/>
              <a:ln w="5978" cap="flat">
                <a:noFill/>
                <a:prstDash val="solid"/>
                <a:miter/>
              </a:ln>
            </p:spPr>
            <p:txBody>
              <a:bodyPr rtlCol="0" anchor="ctr"/>
              <a:lstStyle/>
              <a:p>
                <a:endParaRPr lang="en-GB"/>
              </a:p>
            </p:txBody>
          </p:sp>
          <p:sp>
            <p:nvSpPr>
              <p:cNvPr id="2366" name="Vrije vorm: vorm 2365">
                <a:extLst>
                  <a:ext uri="{FF2B5EF4-FFF2-40B4-BE49-F238E27FC236}">
                    <a16:creationId xmlns:a16="http://schemas.microsoft.com/office/drawing/2014/main" id="{96C628BC-9DF0-4459-BF68-966AC7BF8A8E}"/>
                  </a:ext>
                </a:extLst>
              </p:cNvPr>
              <p:cNvSpPr/>
              <p:nvPr/>
            </p:nvSpPr>
            <p:spPr>
              <a:xfrm>
                <a:off x="4198359" y="2564194"/>
                <a:ext cx="18315" cy="18401"/>
              </a:xfrm>
              <a:custGeom>
                <a:avLst/>
                <a:gdLst>
                  <a:gd name="connsiteX0" fmla="*/ 13703 w 18315"/>
                  <a:gd name="connsiteY0" fmla="*/ 1216 h 18401"/>
                  <a:gd name="connsiteX1" fmla="*/ 1203 w 18315"/>
                  <a:gd name="connsiteY1" fmla="*/ 4625 h 18401"/>
                  <a:gd name="connsiteX2" fmla="*/ 4612 w 18315"/>
                  <a:gd name="connsiteY2" fmla="*/ 17185 h 18401"/>
                  <a:gd name="connsiteX3" fmla="*/ 17112 w 18315"/>
                  <a:gd name="connsiteY3" fmla="*/ 13776 h 18401"/>
                  <a:gd name="connsiteX4" fmla="*/ 13703 w 18315"/>
                  <a:gd name="connsiteY4" fmla="*/ 1216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01">
                    <a:moveTo>
                      <a:pt x="13703" y="1216"/>
                    </a:moveTo>
                    <a:cubicBezTo>
                      <a:pt x="9278" y="-1295"/>
                      <a:pt x="3716" y="200"/>
                      <a:pt x="1203" y="4625"/>
                    </a:cubicBezTo>
                    <a:cubicBezTo>
                      <a:pt x="-1308" y="9051"/>
                      <a:pt x="247" y="14673"/>
                      <a:pt x="4612" y="17185"/>
                    </a:cubicBezTo>
                    <a:cubicBezTo>
                      <a:pt x="9038" y="19697"/>
                      <a:pt x="14600" y="18202"/>
                      <a:pt x="17112" y="13776"/>
                    </a:cubicBezTo>
                    <a:cubicBezTo>
                      <a:pt x="19624" y="9410"/>
                      <a:pt x="18069" y="3728"/>
                      <a:pt x="13703" y="1216"/>
                    </a:cubicBezTo>
                    <a:close/>
                  </a:path>
                </a:pathLst>
              </a:custGeom>
              <a:grpFill/>
              <a:ln w="5978" cap="flat">
                <a:noFill/>
                <a:prstDash val="solid"/>
                <a:miter/>
              </a:ln>
            </p:spPr>
            <p:txBody>
              <a:bodyPr rtlCol="0" anchor="ctr"/>
              <a:lstStyle/>
              <a:p>
                <a:endParaRPr lang="en-GB"/>
              </a:p>
            </p:txBody>
          </p:sp>
        </p:grpSp>
        <p:grpSp>
          <p:nvGrpSpPr>
            <p:cNvPr id="1013" name="Graphic 3">
              <a:extLst>
                <a:ext uri="{FF2B5EF4-FFF2-40B4-BE49-F238E27FC236}">
                  <a16:creationId xmlns:a16="http://schemas.microsoft.com/office/drawing/2014/main" id="{1653DE3D-6EFD-4F7C-92BF-AE1D72A05F97}"/>
                </a:ext>
              </a:extLst>
            </p:cNvPr>
            <p:cNvGrpSpPr/>
            <p:nvPr/>
          </p:nvGrpSpPr>
          <p:grpSpPr>
            <a:xfrm>
              <a:off x="5050837" y="4904330"/>
              <a:ext cx="263433" cy="421664"/>
              <a:chOff x="5050837" y="4904330"/>
              <a:chExt cx="263433" cy="421664"/>
            </a:xfrm>
            <a:grpFill/>
          </p:grpSpPr>
          <p:sp>
            <p:nvSpPr>
              <p:cNvPr id="2361" name="Vrije vorm: vorm 2360">
                <a:extLst>
                  <a:ext uri="{FF2B5EF4-FFF2-40B4-BE49-F238E27FC236}">
                    <a16:creationId xmlns:a16="http://schemas.microsoft.com/office/drawing/2014/main" id="{3D95F934-79F4-4BEB-B76D-153E862978CA}"/>
                  </a:ext>
                </a:extLst>
              </p:cNvPr>
              <p:cNvSpPr/>
              <p:nvPr/>
            </p:nvSpPr>
            <p:spPr>
              <a:xfrm>
                <a:off x="5058454" y="4912365"/>
                <a:ext cx="248199" cy="405612"/>
              </a:xfrm>
              <a:custGeom>
                <a:avLst/>
                <a:gdLst>
                  <a:gd name="connsiteX0" fmla="*/ 248200 w 248199"/>
                  <a:gd name="connsiteY0" fmla="*/ 1615 h 405612"/>
                  <a:gd name="connsiteX1" fmla="*/ 2632 w 248199"/>
                  <a:gd name="connsiteY1" fmla="*/ 405613 h 405612"/>
                  <a:gd name="connsiteX2" fmla="*/ 0 w 248199"/>
                  <a:gd name="connsiteY2" fmla="*/ 403998 h 405612"/>
                  <a:gd name="connsiteX3" fmla="*/ 245568 w 248199"/>
                  <a:gd name="connsiteY3" fmla="*/ 0 h 405612"/>
                </a:gdLst>
                <a:ahLst/>
                <a:cxnLst>
                  <a:cxn ang="0">
                    <a:pos x="connsiteX0" y="connsiteY0"/>
                  </a:cxn>
                  <a:cxn ang="0">
                    <a:pos x="connsiteX1" y="connsiteY1"/>
                  </a:cxn>
                  <a:cxn ang="0">
                    <a:pos x="connsiteX2" y="connsiteY2"/>
                  </a:cxn>
                  <a:cxn ang="0">
                    <a:pos x="connsiteX3" y="connsiteY3"/>
                  </a:cxn>
                </a:cxnLst>
                <a:rect l="l" t="t" r="r" b="b"/>
                <a:pathLst>
                  <a:path w="248199" h="405612">
                    <a:moveTo>
                      <a:pt x="248200" y="1615"/>
                    </a:moveTo>
                    <a:lnTo>
                      <a:pt x="2632" y="405613"/>
                    </a:lnTo>
                    <a:lnTo>
                      <a:pt x="0" y="403998"/>
                    </a:lnTo>
                    <a:lnTo>
                      <a:pt x="245568" y="0"/>
                    </a:lnTo>
                    <a:close/>
                  </a:path>
                </a:pathLst>
              </a:custGeom>
              <a:grpFill/>
              <a:ln w="5978" cap="flat">
                <a:noFill/>
                <a:prstDash val="solid"/>
                <a:miter/>
              </a:ln>
            </p:spPr>
            <p:txBody>
              <a:bodyPr rtlCol="0" anchor="ctr"/>
              <a:lstStyle/>
              <a:p>
                <a:endParaRPr lang="en-GB"/>
              </a:p>
            </p:txBody>
          </p:sp>
          <p:sp>
            <p:nvSpPr>
              <p:cNvPr id="2362" name="Vrije vorm: vorm 2361">
                <a:extLst>
                  <a:ext uri="{FF2B5EF4-FFF2-40B4-BE49-F238E27FC236}">
                    <a16:creationId xmlns:a16="http://schemas.microsoft.com/office/drawing/2014/main" id="{2B807321-5CBB-413D-8FC2-DA32D5E887B2}"/>
                  </a:ext>
                </a:extLst>
              </p:cNvPr>
              <p:cNvSpPr/>
              <p:nvPr/>
            </p:nvSpPr>
            <p:spPr>
              <a:xfrm>
                <a:off x="5295928" y="4904330"/>
                <a:ext cx="18343" cy="18403"/>
              </a:xfrm>
              <a:custGeom>
                <a:avLst/>
                <a:gdLst>
                  <a:gd name="connsiteX0" fmla="*/ 1337 w 18343"/>
                  <a:gd name="connsiteY0" fmla="*/ 4387 h 18403"/>
                  <a:gd name="connsiteX1" fmla="*/ 13956 w 18343"/>
                  <a:gd name="connsiteY1" fmla="*/ 1337 h 18403"/>
                  <a:gd name="connsiteX2" fmla="*/ 17007 w 18343"/>
                  <a:gd name="connsiteY2" fmla="*/ 14016 h 18403"/>
                  <a:gd name="connsiteX3" fmla="*/ 4387 w 18343"/>
                  <a:gd name="connsiteY3" fmla="*/ 17066 h 18403"/>
                  <a:gd name="connsiteX4" fmla="*/ 1337 w 18343"/>
                  <a:gd name="connsiteY4" fmla="*/ 438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1337" y="4387"/>
                    </a:moveTo>
                    <a:cubicBezTo>
                      <a:pt x="3969" y="81"/>
                      <a:pt x="9590" y="-1295"/>
                      <a:pt x="13956" y="1337"/>
                    </a:cubicBezTo>
                    <a:cubicBezTo>
                      <a:pt x="18262" y="4028"/>
                      <a:pt x="19638" y="9650"/>
                      <a:pt x="17007" y="14016"/>
                    </a:cubicBezTo>
                    <a:cubicBezTo>
                      <a:pt x="14375" y="18322"/>
                      <a:pt x="8753" y="19698"/>
                      <a:pt x="4387" y="17066"/>
                    </a:cubicBezTo>
                    <a:cubicBezTo>
                      <a:pt x="81" y="14435"/>
                      <a:pt x="-1294" y="8753"/>
                      <a:pt x="1337" y="4387"/>
                    </a:cubicBezTo>
                    <a:close/>
                  </a:path>
                </a:pathLst>
              </a:custGeom>
              <a:grpFill/>
              <a:ln w="5978" cap="flat">
                <a:noFill/>
                <a:prstDash val="solid"/>
                <a:miter/>
              </a:ln>
            </p:spPr>
            <p:txBody>
              <a:bodyPr rtlCol="0" anchor="ctr"/>
              <a:lstStyle/>
              <a:p>
                <a:endParaRPr lang="en-GB"/>
              </a:p>
            </p:txBody>
          </p:sp>
          <p:sp>
            <p:nvSpPr>
              <p:cNvPr id="2363" name="Vrije vorm: vorm 2362">
                <a:extLst>
                  <a:ext uri="{FF2B5EF4-FFF2-40B4-BE49-F238E27FC236}">
                    <a16:creationId xmlns:a16="http://schemas.microsoft.com/office/drawing/2014/main" id="{30FD22C5-1E5E-421D-8E8A-80DF462FFF68}"/>
                  </a:ext>
                </a:extLst>
              </p:cNvPr>
              <p:cNvSpPr/>
              <p:nvPr/>
            </p:nvSpPr>
            <p:spPr>
              <a:xfrm>
                <a:off x="5050837" y="5307524"/>
                <a:ext cx="18343" cy="18470"/>
              </a:xfrm>
              <a:custGeom>
                <a:avLst/>
                <a:gdLst>
                  <a:gd name="connsiteX0" fmla="*/ 1337 w 18343"/>
                  <a:gd name="connsiteY0" fmla="*/ 4414 h 18470"/>
                  <a:gd name="connsiteX1" fmla="*/ 4387 w 18343"/>
                  <a:gd name="connsiteY1" fmla="*/ 17093 h 18470"/>
                  <a:gd name="connsiteX2" fmla="*/ 17006 w 18343"/>
                  <a:gd name="connsiteY2" fmla="*/ 14043 h 18470"/>
                  <a:gd name="connsiteX3" fmla="*/ 13957 w 18343"/>
                  <a:gd name="connsiteY3" fmla="*/ 1364 h 18470"/>
                  <a:gd name="connsiteX4" fmla="*/ 1337 w 18343"/>
                  <a:gd name="connsiteY4" fmla="*/ 4414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70">
                    <a:moveTo>
                      <a:pt x="1337" y="4414"/>
                    </a:moveTo>
                    <a:cubicBezTo>
                      <a:pt x="-1295" y="8720"/>
                      <a:pt x="81" y="14402"/>
                      <a:pt x="4387" y="17093"/>
                    </a:cubicBezTo>
                    <a:cubicBezTo>
                      <a:pt x="8693" y="19784"/>
                      <a:pt x="14375" y="18409"/>
                      <a:pt x="17006" y="14043"/>
                    </a:cubicBezTo>
                    <a:cubicBezTo>
                      <a:pt x="19638" y="9736"/>
                      <a:pt x="18263" y="4055"/>
                      <a:pt x="13957" y="1364"/>
                    </a:cubicBezTo>
                    <a:cubicBezTo>
                      <a:pt x="9650" y="-1328"/>
                      <a:pt x="3968" y="108"/>
                      <a:pt x="1337" y="4414"/>
                    </a:cubicBezTo>
                    <a:close/>
                  </a:path>
                </a:pathLst>
              </a:custGeom>
              <a:grpFill/>
              <a:ln w="5978" cap="flat">
                <a:noFill/>
                <a:prstDash val="solid"/>
                <a:miter/>
              </a:ln>
            </p:spPr>
            <p:txBody>
              <a:bodyPr rtlCol="0" anchor="ctr"/>
              <a:lstStyle/>
              <a:p>
                <a:endParaRPr lang="en-GB"/>
              </a:p>
            </p:txBody>
          </p:sp>
        </p:grpSp>
        <p:grpSp>
          <p:nvGrpSpPr>
            <p:cNvPr id="1014" name="Graphic 3">
              <a:extLst>
                <a:ext uri="{FF2B5EF4-FFF2-40B4-BE49-F238E27FC236}">
                  <a16:creationId xmlns:a16="http://schemas.microsoft.com/office/drawing/2014/main" id="{14D030B0-84E1-4A8F-9116-9E774DF45B7C}"/>
                </a:ext>
              </a:extLst>
            </p:cNvPr>
            <p:cNvGrpSpPr/>
            <p:nvPr/>
          </p:nvGrpSpPr>
          <p:grpSpPr>
            <a:xfrm>
              <a:off x="3899245" y="2119684"/>
              <a:ext cx="711876" cy="470137"/>
              <a:chOff x="3899245" y="2119684"/>
              <a:chExt cx="711876" cy="470137"/>
            </a:xfrm>
            <a:grpFill/>
          </p:grpSpPr>
          <p:sp>
            <p:nvSpPr>
              <p:cNvPr id="2358" name="Vrije vorm: vorm 2357">
                <a:extLst>
                  <a:ext uri="{FF2B5EF4-FFF2-40B4-BE49-F238E27FC236}">
                    <a16:creationId xmlns:a16="http://schemas.microsoft.com/office/drawing/2014/main" id="{76C36943-EA86-4DEE-A8B4-B9C337423A47}"/>
                  </a:ext>
                </a:extLst>
              </p:cNvPr>
              <p:cNvSpPr/>
              <p:nvPr/>
            </p:nvSpPr>
            <p:spPr>
              <a:xfrm>
                <a:off x="3907225" y="2127383"/>
                <a:ext cx="695917" cy="454774"/>
              </a:xfrm>
              <a:custGeom>
                <a:avLst/>
                <a:gdLst>
                  <a:gd name="connsiteX0" fmla="*/ 695917 w 695917"/>
                  <a:gd name="connsiteY0" fmla="*/ 452202 h 454774"/>
                  <a:gd name="connsiteX1" fmla="*/ 694302 w 695917"/>
                  <a:gd name="connsiteY1" fmla="*/ 454774 h 454774"/>
                  <a:gd name="connsiteX2" fmla="*/ 0 w 695917"/>
                  <a:gd name="connsiteY2" fmla="*/ 2572 h 454774"/>
                  <a:gd name="connsiteX3" fmla="*/ 1675 w 695917"/>
                  <a:gd name="connsiteY3" fmla="*/ 0 h 454774"/>
                </a:gdLst>
                <a:ahLst/>
                <a:cxnLst>
                  <a:cxn ang="0">
                    <a:pos x="connsiteX0" y="connsiteY0"/>
                  </a:cxn>
                  <a:cxn ang="0">
                    <a:pos x="connsiteX1" y="connsiteY1"/>
                  </a:cxn>
                  <a:cxn ang="0">
                    <a:pos x="connsiteX2" y="connsiteY2"/>
                  </a:cxn>
                  <a:cxn ang="0">
                    <a:pos x="connsiteX3" y="connsiteY3"/>
                  </a:cxn>
                </a:cxnLst>
                <a:rect l="l" t="t" r="r" b="b"/>
                <a:pathLst>
                  <a:path w="695917" h="454774">
                    <a:moveTo>
                      <a:pt x="695917" y="452202"/>
                    </a:moveTo>
                    <a:lnTo>
                      <a:pt x="694302" y="454774"/>
                    </a:lnTo>
                    <a:lnTo>
                      <a:pt x="0" y="2572"/>
                    </a:lnTo>
                    <a:lnTo>
                      <a:pt x="1675" y="0"/>
                    </a:lnTo>
                    <a:close/>
                  </a:path>
                </a:pathLst>
              </a:custGeom>
              <a:grpFill/>
              <a:ln w="5978" cap="flat">
                <a:noFill/>
                <a:prstDash val="solid"/>
                <a:miter/>
              </a:ln>
            </p:spPr>
            <p:txBody>
              <a:bodyPr rtlCol="0" anchor="ctr"/>
              <a:lstStyle/>
              <a:p>
                <a:endParaRPr lang="en-GB"/>
              </a:p>
            </p:txBody>
          </p:sp>
          <p:sp>
            <p:nvSpPr>
              <p:cNvPr id="2359" name="Vrije vorm: vorm 2358">
                <a:extLst>
                  <a:ext uri="{FF2B5EF4-FFF2-40B4-BE49-F238E27FC236}">
                    <a16:creationId xmlns:a16="http://schemas.microsoft.com/office/drawing/2014/main" id="{977B5F56-09B2-4274-BCAB-F32CD98AB548}"/>
                  </a:ext>
                </a:extLst>
              </p:cNvPr>
              <p:cNvSpPr/>
              <p:nvPr/>
            </p:nvSpPr>
            <p:spPr>
              <a:xfrm>
                <a:off x="4592770" y="2571408"/>
                <a:ext cx="18351" cy="18413"/>
              </a:xfrm>
              <a:custGeom>
                <a:avLst/>
                <a:gdLst>
                  <a:gd name="connsiteX0" fmla="*/ 14140 w 18351"/>
                  <a:gd name="connsiteY0" fmla="*/ 1478 h 18413"/>
                  <a:gd name="connsiteX1" fmla="*/ 16891 w 18351"/>
                  <a:gd name="connsiteY1" fmla="*/ 14217 h 18413"/>
                  <a:gd name="connsiteX2" fmla="*/ 4212 w 18351"/>
                  <a:gd name="connsiteY2" fmla="*/ 16909 h 18413"/>
                  <a:gd name="connsiteX3" fmla="*/ 1461 w 18351"/>
                  <a:gd name="connsiteY3" fmla="*/ 4170 h 18413"/>
                  <a:gd name="connsiteX4" fmla="*/ 14140 w 18351"/>
                  <a:gd name="connsiteY4" fmla="*/ 147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13">
                    <a:moveTo>
                      <a:pt x="14140" y="1478"/>
                    </a:moveTo>
                    <a:cubicBezTo>
                      <a:pt x="18386" y="4230"/>
                      <a:pt x="19642" y="9971"/>
                      <a:pt x="16891" y="14217"/>
                    </a:cubicBezTo>
                    <a:cubicBezTo>
                      <a:pt x="14140" y="18464"/>
                      <a:pt x="8458" y="19720"/>
                      <a:pt x="4212" y="16909"/>
                    </a:cubicBezTo>
                    <a:cubicBezTo>
                      <a:pt x="-35" y="14158"/>
                      <a:pt x="-1290" y="8416"/>
                      <a:pt x="1461" y="4170"/>
                    </a:cubicBezTo>
                    <a:cubicBezTo>
                      <a:pt x="4212" y="-76"/>
                      <a:pt x="9894" y="-1273"/>
                      <a:pt x="14140" y="1478"/>
                    </a:cubicBezTo>
                    <a:close/>
                  </a:path>
                </a:pathLst>
              </a:custGeom>
              <a:grpFill/>
              <a:ln w="5978" cap="flat">
                <a:noFill/>
                <a:prstDash val="solid"/>
                <a:miter/>
              </a:ln>
            </p:spPr>
            <p:txBody>
              <a:bodyPr rtlCol="0" anchor="ctr"/>
              <a:lstStyle/>
              <a:p>
                <a:endParaRPr lang="en-GB"/>
              </a:p>
            </p:txBody>
          </p:sp>
          <p:sp>
            <p:nvSpPr>
              <p:cNvPr id="2360" name="Vrije vorm: vorm 2359">
                <a:extLst>
                  <a:ext uri="{FF2B5EF4-FFF2-40B4-BE49-F238E27FC236}">
                    <a16:creationId xmlns:a16="http://schemas.microsoft.com/office/drawing/2014/main" id="{56F99E73-1095-4433-BE4F-80E3C8D8A04A}"/>
                  </a:ext>
                </a:extLst>
              </p:cNvPr>
              <p:cNvSpPr/>
              <p:nvPr/>
            </p:nvSpPr>
            <p:spPr>
              <a:xfrm>
                <a:off x="3899245" y="2119684"/>
                <a:ext cx="18351" cy="18387"/>
              </a:xfrm>
              <a:custGeom>
                <a:avLst/>
                <a:gdLst>
                  <a:gd name="connsiteX0" fmla="*/ 14140 w 18351"/>
                  <a:gd name="connsiteY0" fmla="*/ 1479 h 18387"/>
                  <a:gd name="connsiteX1" fmla="*/ 1461 w 18351"/>
                  <a:gd name="connsiteY1" fmla="*/ 4170 h 18387"/>
                  <a:gd name="connsiteX2" fmla="*/ 4212 w 18351"/>
                  <a:gd name="connsiteY2" fmla="*/ 16909 h 18387"/>
                  <a:gd name="connsiteX3" fmla="*/ 16891 w 18351"/>
                  <a:gd name="connsiteY3" fmla="*/ 14217 h 18387"/>
                  <a:gd name="connsiteX4" fmla="*/ 14140 w 18351"/>
                  <a:gd name="connsiteY4" fmla="*/ 147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7">
                    <a:moveTo>
                      <a:pt x="14140" y="1479"/>
                    </a:moveTo>
                    <a:cubicBezTo>
                      <a:pt x="9893" y="-1273"/>
                      <a:pt x="4212" y="-77"/>
                      <a:pt x="1461" y="4170"/>
                    </a:cubicBezTo>
                    <a:cubicBezTo>
                      <a:pt x="-1290" y="8416"/>
                      <a:pt x="-34" y="14158"/>
                      <a:pt x="4212" y="16909"/>
                    </a:cubicBezTo>
                    <a:cubicBezTo>
                      <a:pt x="8458" y="19660"/>
                      <a:pt x="14140" y="18464"/>
                      <a:pt x="16891" y="14217"/>
                    </a:cubicBezTo>
                    <a:cubicBezTo>
                      <a:pt x="19642" y="9971"/>
                      <a:pt x="18386" y="4289"/>
                      <a:pt x="14140" y="1479"/>
                    </a:cubicBezTo>
                    <a:close/>
                  </a:path>
                </a:pathLst>
              </a:custGeom>
              <a:grpFill/>
              <a:ln w="5978" cap="flat">
                <a:noFill/>
                <a:prstDash val="solid"/>
                <a:miter/>
              </a:ln>
            </p:spPr>
            <p:txBody>
              <a:bodyPr rtlCol="0" anchor="ctr"/>
              <a:lstStyle/>
              <a:p>
                <a:endParaRPr lang="en-GB"/>
              </a:p>
            </p:txBody>
          </p:sp>
        </p:grpSp>
        <p:grpSp>
          <p:nvGrpSpPr>
            <p:cNvPr id="1015" name="Graphic 3">
              <a:extLst>
                <a:ext uri="{FF2B5EF4-FFF2-40B4-BE49-F238E27FC236}">
                  <a16:creationId xmlns:a16="http://schemas.microsoft.com/office/drawing/2014/main" id="{F0587E64-3404-4AD7-BCA9-09F3DB81163A}"/>
                </a:ext>
              </a:extLst>
            </p:cNvPr>
            <p:cNvGrpSpPr/>
            <p:nvPr/>
          </p:nvGrpSpPr>
          <p:grpSpPr>
            <a:xfrm>
              <a:off x="3936326" y="2032186"/>
              <a:ext cx="528088" cy="350795"/>
              <a:chOff x="3936326" y="2032186"/>
              <a:chExt cx="528088" cy="350795"/>
            </a:xfrm>
            <a:grpFill/>
          </p:grpSpPr>
          <p:sp>
            <p:nvSpPr>
              <p:cNvPr id="2355" name="Vrije vorm: vorm 2354">
                <a:extLst>
                  <a:ext uri="{FF2B5EF4-FFF2-40B4-BE49-F238E27FC236}">
                    <a16:creationId xmlns:a16="http://schemas.microsoft.com/office/drawing/2014/main" id="{8B1FE660-FC82-4661-A29F-67224D87CF04}"/>
                  </a:ext>
                </a:extLst>
              </p:cNvPr>
              <p:cNvSpPr/>
              <p:nvPr/>
            </p:nvSpPr>
            <p:spPr>
              <a:xfrm>
                <a:off x="3944305" y="2039885"/>
                <a:ext cx="512189" cy="335458"/>
              </a:xfrm>
              <a:custGeom>
                <a:avLst/>
                <a:gdLst>
                  <a:gd name="connsiteX0" fmla="*/ 512189 w 512189"/>
                  <a:gd name="connsiteY0" fmla="*/ 332887 h 335458"/>
                  <a:gd name="connsiteX1" fmla="*/ 510514 w 512189"/>
                  <a:gd name="connsiteY1" fmla="*/ 335459 h 335458"/>
                  <a:gd name="connsiteX2" fmla="*/ 0 w 512189"/>
                  <a:gd name="connsiteY2" fmla="*/ 2512 h 335458"/>
                  <a:gd name="connsiteX3" fmla="*/ 1615 w 512189"/>
                  <a:gd name="connsiteY3" fmla="*/ 0 h 335458"/>
                </a:gdLst>
                <a:ahLst/>
                <a:cxnLst>
                  <a:cxn ang="0">
                    <a:pos x="connsiteX0" y="connsiteY0"/>
                  </a:cxn>
                  <a:cxn ang="0">
                    <a:pos x="connsiteX1" y="connsiteY1"/>
                  </a:cxn>
                  <a:cxn ang="0">
                    <a:pos x="connsiteX2" y="connsiteY2"/>
                  </a:cxn>
                  <a:cxn ang="0">
                    <a:pos x="connsiteX3" y="connsiteY3"/>
                  </a:cxn>
                </a:cxnLst>
                <a:rect l="l" t="t" r="r" b="b"/>
                <a:pathLst>
                  <a:path w="512189" h="335458">
                    <a:moveTo>
                      <a:pt x="512189" y="332887"/>
                    </a:moveTo>
                    <a:lnTo>
                      <a:pt x="510514" y="335459"/>
                    </a:lnTo>
                    <a:lnTo>
                      <a:pt x="0" y="2512"/>
                    </a:lnTo>
                    <a:lnTo>
                      <a:pt x="1615" y="0"/>
                    </a:lnTo>
                    <a:close/>
                  </a:path>
                </a:pathLst>
              </a:custGeom>
              <a:grpFill/>
              <a:ln w="5978" cap="flat">
                <a:noFill/>
                <a:prstDash val="solid"/>
                <a:miter/>
              </a:ln>
            </p:spPr>
            <p:txBody>
              <a:bodyPr rtlCol="0" anchor="ctr"/>
              <a:lstStyle/>
              <a:p>
                <a:endParaRPr lang="en-GB"/>
              </a:p>
            </p:txBody>
          </p:sp>
          <p:sp>
            <p:nvSpPr>
              <p:cNvPr id="2356" name="Vrije vorm: vorm 2355">
                <a:extLst>
                  <a:ext uri="{FF2B5EF4-FFF2-40B4-BE49-F238E27FC236}">
                    <a16:creationId xmlns:a16="http://schemas.microsoft.com/office/drawing/2014/main" id="{8ACECA0C-6ED1-4322-B6B9-7FB43572808F}"/>
                  </a:ext>
                </a:extLst>
              </p:cNvPr>
              <p:cNvSpPr/>
              <p:nvPr/>
            </p:nvSpPr>
            <p:spPr>
              <a:xfrm>
                <a:off x="3936326" y="2032186"/>
                <a:ext cx="18351" cy="18428"/>
              </a:xfrm>
              <a:custGeom>
                <a:avLst/>
                <a:gdLst>
                  <a:gd name="connsiteX0" fmla="*/ 4212 w 18351"/>
                  <a:gd name="connsiteY0" fmla="*/ 16909 h 18428"/>
                  <a:gd name="connsiteX1" fmla="*/ 1461 w 18351"/>
                  <a:gd name="connsiteY1" fmla="*/ 4170 h 18428"/>
                  <a:gd name="connsiteX2" fmla="*/ 14140 w 18351"/>
                  <a:gd name="connsiteY2" fmla="*/ 1479 h 18428"/>
                  <a:gd name="connsiteX3" fmla="*/ 16891 w 18351"/>
                  <a:gd name="connsiteY3" fmla="*/ 14217 h 18428"/>
                  <a:gd name="connsiteX4" fmla="*/ 4212 w 18351"/>
                  <a:gd name="connsiteY4" fmla="*/ 16909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8">
                    <a:moveTo>
                      <a:pt x="4212" y="16909"/>
                    </a:moveTo>
                    <a:cubicBezTo>
                      <a:pt x="-34" y="14158"/>
                      <a:pt x="-1290" y="8416"/>
                      <a:pt x="1461" y="4170"/>
                    </a:cubicBezTo>
                    <a:cubicBezTo>
                      <a:pt x="4212" y="-76"/>
                      <a:pt x="9893" y="-1273"/>
                      <a:pt x="14140" y="1479"/>
                    </a:cubicBezTo>
                    <a:cubicBezTo>
                      <a:pt x="18386" y="4230"/>
                      <a:pt x="19642" y="9971"/>
                      <a:pt x="16891" y="14217"/>
                    </a:cubicBezTo>
                    <a:cubicBezTo>
                      <a:pt x="14140" y="18524"/>
                      <a:pt x="8458" y="19720"/>
                      <a:pt x="4212" y="16909"/>
                    </a:cubicBezTo>
                    <a:close/>
                  </a:path>
                </a:pathLst>
              </a:custGeom>
              <a:grpFill/>
              <a:ln w="5978" cap="flat">
                <a:noFill/>
                <a:prstDash val="solid"/>
                <a:miter/>
              </a:ln>
            </p:spPr>
            <p:txBody>
              <a:bodyPr rtlCol="0" anchor="ctr"/>
              <a:lstStyle/>
              <a:p>
                <a:endParaRPr lang="en-GB"/>
              </a:p>
            </p:txBody>
          </p:sp>
          <p:sp>
            <p:nvSpPr>
              <p:cNvPr id="2357" name="Vrije vorm: vorm 2356">
                <a:extLst>
                  <a:ext uri="{FF2B5EF4-FFF2-40B4-BE49-F238E27FC236}">
                    <a16:creationId xmlns:a16="http://schemas.microsoft.com/office/drawing/2014/main" id="{893C4220-1341-4824-9845-2F9AA5254BDE}"/>
                  </a:ext>
                </a:extLst>
              </p:cNvPr>
              <p:cNvSpPr/>
              <p:nvPr/>
            </p:nvSpPr>
            <p:spPr>
              <a:xfrm>
                <a:off x="4446089" y="2364595"/>
                <a:ext cx="18325" cy="18387"/>
              </a:xfrm>
              <a:custGeom>
                <a:avLst/>
                <a:gdLst>
                  <a:gd name="connsiteX0" fmla="*/ 4186 w 18325"/>
                  <a:gd name="connsiteY0" fmla="*/ 16909 h 18387"/>
                  <a:gd name="connsiteX1" fmla="*/ 16865 w 18325"/>
                  <a:gd name="connsiteY1" fmla="*/ 14217 h 18387"/>
                  <a:gd name="connsiteX2" fmla="*/ 14113 w 18325"/>
                  <a:gd name="connsiteY2" fmla="*/ 1478 h 18387"/>
                  <a:gd name="connsiteX3" fmla="*/ 1434 w 18325"/>
                  <a:gd name="connsiteY3" fmla="*/ 4170 h 18387"/>
                  <a:gd name="connsiteX4" fmla="*/ 4186 w 18325"/>
                  <a:gd name="connsiteY4" fmla="*/ 1690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7">
                    <a:moveTo>
                      <a:pt x="4186" y="16909"/>
                    </a:moveTo>
                    <a:cubicBezTo>
                      <a:pt x="8432" y="19660"/>
                      <a:pt x="14113" y="18464"/>
                      <a:pt x="16865" y="14217"/>
                    </a:cubicBezTo>
                    <a:cubicBezTo>
                      <a:pt x="19616" y="9971"/>
                      <a:pt x="18360" y="4230"/>
                      <a:pt x="14113" y="1478"/>
                    </a:cubicBezTo>
                    <a:cubicBezTo>
                      <a:pt x="9867" y="-1273"/>
                      <a:pt x="4186" y="-77"/>
                      <a:pt x="1434" y="4170"/>
                    </a:cubicBezTo>
                    <a:cubicBezTo>
                      <a:pt x="-1257" y="8476"/>
                      <a:pt x="-61" y="14158"/>
                      <a:pt x="4186" y="16909"/>
                    </a:cubicBezTo>
                    <a:close/>
                  </a:path>
                </a:pathLst>
              </a:custGeom>
              <a:grpFill/>
              <a:ln w="5978" cap="flat">
                <a:noFill/>
                <a:prstDash val="solid"/>
                <a:miter/>
              </a:ln>
            </p:spPr>
            <p:txBody>
              <a:bodyPr rtlCol="0" anchor="ctr"/>
              <a:lstStyle/>
              <a:p>
                <a:endParaRPr lang="en-GB"/>
              </a:p>
            </p:txBody>
          </p:sp>
        </p:grpSp>
        <p:grpSp>
          <p:nvGrpSpPr>
            <p:cNvPr id="1016" name="Graphic 3">
              <a:extLst>
                <a:ext uri="{FF2B5EF4-FFF2-40B4-BE49-F238E27FC236}">
                  <a16:creationId xmlns:a16="http://schemas.microsoft.com/office/drawing/2014/main" id="{0F6473D4-DA71-427C-A9F2-70815799DCAA}"/>
                </a:ext>
              </a:extLst>
            </p:cNvPr>
            <p:cNvGrpSpPr/>
            <p:nvPr/>
          </p:nvGrpSpPr>
          <p:grpSpPr>
            <a:xfrm>
              <a:off x="5054524" y="4812280"/>
              <a:ext cx="97452" cy="140183"/>
              <a:chOff x="5054524" y="4812280"/>
              <a:chExt cx="97452" cy="140183"/>
            </a:xfrm>
            <a:grpFill/>
          </p:grpSpPr>
          <p:sp>
            <p:nvSpPr>
              <p:cNvPr id="2352" name="Vrije vorm: vorm 2351">
                <a:extLst>
                  <a:ext uri="{FF2B5EF4-FFF2-40B4-BE49-F238E27FC236}">
                    <a16:creationId xmlns:a16="http://schemas.microsoft.com/office/drawing/2014/main" id="{191DA4E1-669B-4DB2-966E-8EBE42740CAB}"/>
                  </a:ext>
                </a:extLst>
              </p:cNvPr>
              <p:cNvSpPr/>
              <p:nvPr/>
            </p:nvSpPr>
            <p:spPr>
              <a:xfrm>
                <a:off x="5062162" y="4820262"/>
                <a:ext cx="82175" cy="124219"/>
              </a:xfrm>
              <a:custGeom>
                <a:avLst/>
                <a:gdLst>
                  <a:gd name="connsiteX0" fmla="*/ 82175 w 82175"/>
                  <a:gd name="connsiteY0" fmla="*/ 1674 h 124219"/>
                  <a:gd name="connsiteX1" fmla="*/ 2572 w 82175"/>
                  <a:gd name="connsiteY1" fmla="*/ 124220 h 124219"/>
                  <a:gd name="connsiteX2" fmla="*/ 0 w 82175"/>
                  <a:gd name="connsiteY2" fmla="*/ 122545 h 124219"/>
                  <a:gd name="connsiteX3" fmla="*/ 79603 w 82175"/>
                  <a:gd name="connsiteY3" fmla="*/ 0 h 124219"/>
                </a:gdLst>
                <a:ahLst/>
                <a:cxnLst>
                  <a:cxn ang="0">
                    <a:pos x="connsiteX0" y="connsiteY0"/>
                  </a:cxn>
                  <a:cxn ang="0">
                    <a:pos x="connsiteX1" y="connsiteY1"/>
                  </a:cxn>
                  <a:cxn ang="0">
                    <a:pos x="connsiteX2" y="connsiteY2"/>
                  </a:cxn>
                  <a:cxn ang="0">
                    <a:pos x="connsiteX3" y="connsiteY3"/>
                  </a:cxn>
                </a:cxnLst>
                <a:rect l="l" t="t" r="r" b="b"/>
                <a:pathLst>
                  <a:path w="82175" h="124219">
                    <a:moveTo>
                      <a:pt x="82175" y="1674"/>
                    </a:moveTo>
                    <a:lnTo>
                      <a:pt x="2572" y="124220"/>
                    </a:lnTo>
                    <a:lnTo>
                      <a:pt x="0" y="122545"/>
                    </a:lnTo>
                    <a:lnTo>
                      <a:pt x="79603" y="0"/>
                    </a:lnTo>
                    <a:close/>
                  </a:path>
                </a:pathLst>
              </a:custGeom>
              <a:grpFill/>
              <a:ln w="5978" cap="flat">
                <a:noFill/>
                <a:prstDash val="solid"/>
                <a:miter/>
              </a:ln>
            </p:spPr>
            <p:txBody>
              <a:bodyPr rtlCol="0" anchor="ctr"/>
              <a:lstStyle/>
              <a:p>
                <a:endParaRPr lang="en-GB"/>
              </a:p>
            </p:txBody>
          </p:sp>
          <p:sp>
            <p:nvSpPr>
              <p:cNvPr id="2353" name="Vrije vorm: vorm 2352">
                <a:extLst>
                  <a:ext uri="{FF2B5EF4-FFF2-40B4-BE49-F238E27FC236}">
                    <a16:creationId xmlns:a16="http://schemas.microsoft.com/office/drawing/2014/main" id="{E1D347B3-2659-4551-862A-53A33FDB9F30}"/>
                  </a:ext>
                </a:extLst>
              </p:cNvPr>
              <p:cNvSpPr/>
              <p:nvPr/>
            </p:nvSpPr>
            <p:spPr>
              <a:xfrm>
                <a:off x="5054524" y="4934048"/>
                <a:ext cx="18327" cy="18416"/>
              </a:xfrm>
              <a:custGeom>
                <a:avLst/>
                <a:gdLst>
                  <a:gd name="connsiteX0" fmla="*/ 16849 w 18327"/>
                  <a:gd name="connsiteY0" fmla="*/ 14262 h 18416"/>
                  <a:gd name="connsiteX1" fmla="*/ 4170 w 18327"/>
                  <a:gd name="connsiteY1" fmla="*/ 16893 h 18416"/>
                  <a:gd name="connsiteX2" fmla="*/ 1479 w 18327"/>
                  <a:gd name="connsiteY2" fmla="*/ 4154 h 18416"/>
                  <a:gd name="connsiteX3" fmla="*/ 14158 w 18327"/>
                  <a:gd name="connsiteY3" fmla="*/ 152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4098" y="18508"/>
                      <a:pt x="8416" y="19705"/>
                      <a:pt x="4170" y="16893"/>
                    </a:cubicBezTo>
                    <a:cubicBezTo>
                      <a:pt x="-76" y="14083"/>
                      <a:pt x="-1273" y="8401"/>
                      <a:pt x="1479" y="4154"/>
                    </a:cubicBezTo>
                    <a:cubicBezTo>
                      <a:pt x="4230" y="-92"/>
                      <a:pt x="9912" y="-1288"/>
                      <a:pt x="14158" y="1523"/>
                    </a:cubicBezTo>
                    <a:cubicBezTo>
                      <a:pt x="18404" y="4334"/>
                      <a:pt x="19600" y="10016"/>
                      <a:pt x="16849" y="14262"/>
                    </a:cubicBezTo>
                    <a:close/>
                  </a:path>
                </a:pathLst>
              </a:custGeom>
              <a:grpFill/>
              <a:ln w="5978" cap="flat">
                <a:noFill/>
                <a:prstDash val="solid"/>
                <a:miter/>
              </a:ln>
            </p:spPr>
            <p:txBody>
              <a:bodyPr rtlCol="0" anchor="ctr"/>
              <a:lstStyle/>
              <a:p>
                <a:endParaRPr lang="en-GB"/>
              </a:p>
            </p:txBody>
          </p:sp>
          <p:sp>
            <p:nvSpPr>
              <p:cNvPr id="2354" name="Vrije vorm: vorm 2353">
                <a:extLst>
                  <a:ext uri="{FF2B5EF4-FFF2-40B4-BE49-F238E27FC236}">
                    <a16:creationId xmlns:a16="http://schemas.microsoft.com/office/drawing/2014/main" id="{33EC1BB6-1D83-40E1-BEFD-81014286CAEF}"/>
                  </a:ext>
                </a:extLst>
              </p:cNvPr>
              <p:cNvSpPr/>
              <p:nvPr/>
            </p:nvSpPr>
            <p:spPr>
              <a:xfrm>
                <a:off x="5133649" y="4812280"/>
                <a:ext cx="18327" cy="18390"/>
              </a:xfrm>
              <a:custGeom>
                <a:avLst/>
                <a:gdLst>
                  <a:gd name="connsiteX0" fmla="*/ 16849 w 18327"/>
                  <a:gd name="connsiteY0" fmla="*/ 14262 h 18390"/>
                  <a:gd name="connsiteX1" fmla="*/ 14158 w 18327"/>
                  <a:gd name="connsiteY1" fmla="*/ 1523 h 18390"/>
                  <a:gd name="connsiteX2" fmla="*/ 1478 w 18327"/>
                  <a:gd name="connsiteY2" fmla="*/ 4154 h 18390"/>
                  <a:gd name="connsiteX3" fmla="*/ 4170 w 18327"/>
                  <a:gd name="connsiteY3" fmla="*/ 16893 h 18390"/>
                  <a:gd name="connsiteX4" fmla="*/ 16849 w 18327"/>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0">
                    <a:moveTo>
                      <a:pt x="16849" y="14262"/>
                    </a:moveTo>
                    <a:cubicBezTo>
                      <a:pt x="19600" y="10015"/>
                      <a:pt x="18404" y="4274"/>
                      <a:pt x="14158" y="1523"/>
                    </a:cubicBezTo>
                    <a:cubicBezTo>
                      <a:pt x="9911" y="-1288"/>
                      <a:pt x="4230" y="-92"/>
                      <a:pt x="1478" y="4154"/>
                    </a:cubicBezTo>
                    <a:cubicBezTo>
                      <a:pt x="-1273" y="8401"/>
                      <a:pt x="-76" y="14142"/>
                      <a:pt x="4170" y="16893"/>
                    </a:cubicBezTo>
                    <a:cubicBezTo>
                      <a:pt x="8416" y="19645"/>
                      <a:pt x="14098" y="18508"/>
                      <a:pt x="16849" y="14262"/>
                    </a:cubicBezTo>
                    <a:close/>
                  </a:path>
                </a:pathLst>
              </a:custGeom>
              <a:grpFill/>
              <a:ln w="5978" cap="flat">
                <a:noFill/>
                <a:prstDash val="solid"/>
                <a:miter/>
              </a:ln>
            </p:spPr>
            <p:txBody>
              <a:bodyPr rtlCol="0" anchor="ctr"/>
              <a:lstStyle/>
              <a:p>
                <a:endParaRPr lang="en-GB"/>
              </a:p>
            </p:txBody>
          </p:sp>
        </p:grpSp>
        <p:grpSp>
          <p:nvGrpSpPr>
            <p:cNvPr id="1017" name="Graphic 3">
              <a:extLst>
                <a:ext uri="{FF2B5EF4-FFF2-40B4-BE49-F238E27FC236}">
                  <a16:creationId xmlns:a16="http://schemas.microsoft.com/office/drawing/2014/main" id="{E2866963-D191-4D42-AB96-1E9F8808BBF1}"/>
                </a:ext>
              </a:extLst>
            </p:cNvPr>
            <p:cNvGrpSpPr/>
            <p:nvPr/>
          </p:nvGrpSpPr>
          <p:grpSpPr>
            <a:xfrm>
              <a:off x="5181514" y="5188018"/>
              <a:ext cx="112868" cy="236774"/>
              <a:chOff x="5181514" y="5188018"/>
              <a:chExt cx="112868" cy="236774"/>
            </a:xfrm>
            <a:grpFill/>
          </p:grpSpPr>
          <p:sp>
            <p:nvSpPr>
              <p:cNvPr id="2349" name="Vrije vorm: vorm 2348">
                <a:extLst>
                  <a:ext uri="{FF2B5EF4-FFF2-40B4-BE49-F238E27FC236}">
                    <a16:creationId xmlns:a16="http://schemas.microsoft.com/office/drawing/2014/main" id="{B429B6B8-4BAB-438C-9AC0-3AEFF45543E2}"/>
                  </a:ext>
                </a:extLst>
              </p:cNvPr>
              <p:cNvSpPr/>
              <p:nvPr/>
            </p:nvSpPr>
            <p:spPr>
              <a:xfrm>
                <a:off x="5189133" y="5196151"/>
                <a:ext cx="97605" cy="220449"/>
              </a:xfrm>
              <a:custGeom>
                <a:avLst/>
                <a:gdLst>
                  <a:gd name="connsiteX0" fmla="*/ 97605 w 97605"/>
                  <a:gd name="connsiteY0" fmla="*/ 1256 h 220449"/>
                  <a:gd name="connsiteX1" fmla="*/ 2811 w 97605"/>
                  <a:gd name="connsiteY1" fmla="*/ 220450 h 220449"/>
                  <a:gd name="connsiteX2" fmla="*/ 0 w 97605"/>
                  <a:gd name="connsiteY2" fmla="*/ 219194 h 220449"/>
                  <a:gd name="connsiteX3" fmla="*/ 94854 w 97605"/>
                  <a:gd name="connsiteY3" fmla="*/ 0 h 220449"/>
                </a:gdLst>
                <a:ahLst/>
                <a:cxnLst>
                  <a:cxn ang="0">
                    <a:pos x="connsiteX0" y="connsiteY0"/>
                  </a:cxn>
                  <a:cxn ang="0">
                    <a:pos x="connsiteX1" y="connsiteY1"/>
                  </a:cxn>
                  <a:cxn ang="0">
                    <a:pos x="connsiteX2" y="connsiteY2"/>
                  </a:cxn>
                  <a:cxn ang="0">
                    <a:pos x="connsiteX3" y="connsiteY3"/>
                  </a:cxn>
                </a:cxnLst>
                <a:rect l="l" t="t" r="r" b="b"/>
                <a:pathLst>
                  <a:path w="97605" h="220449">
                    <a:moveTo>
                      <a:pt x="97605" y="1256"/>
                    </a:moveTo>
                    <a:lnTo>
                      <a:pt x="2811" y="220450"/>
                    </a:lnTo>
                    <a:lnTo>
                      <a:pt x="0" y="219194"/>
                    </a:lnTo>
                    <a:lnTo>
                      <a:pt x="94854" y="0"/>
                    </a:lnTo>
                    <a:close/>
                  </a:path>
                </a:pathLst>
              </a:custGeom>
              <a:grpFill/>
              <a:ln w="5978" cap="flat">
                <a:noFill/>
                <a:prstDash val="solid"/>
                <a:miter/>
              </a:ln>
            </p:spPr>
            <p:txBody>
              <a:bodyPr rtlCol="0" anchor="ctr"/>
              <a:lstStyle/>
              <a:p>
                <a:endParaRPr lang="en-GB"/>
              </a:p>
            </p:txBody>
          </p:sp>
          <p:sp>
            <p:nvSpPr>
              <p:cNvPr id="2350" name="Vrije vorm: vorm 2349">
                <a:extLst>
                  <a:ext uri="{FF2B5EF4-FFF2-40B4-BE49-F238E27FC236}">
                    <a16:creationId xmlns:a16="http://schemas.microsoft.com/office/drawing/2014/main" id="{DE5702FC-9972-4ACF-9166-B0FEE3A71787}"/>
                  </a:ext>
                </a:extLst>
              </p:cNvPr>
              <p:cNvSpPr/>
              <p:nvPr/>
            </p:nvSpPr>
            <p:spPr>
              <a:xfrm>
                <a:off x="5181514" y="5406374"/>
                <a:ext cx="18373" cy="18418"/>
              </a:xfrm>
              <a:custGeom>
                <a:avLst/>
                <a:gdLst>
                  <a:gd name="connsiteX0" fmla="*/ 17607 w 18373"/>
                  <a:gd name="connsiteY0" fmla="*/ 12917 h 18418"/>
                  <a:gd name="connsiteX1" fmla="*/ 5526 w 18373"/>
                  <a:gd name="connsiteY1" fmla="*/ 17642 h 18418"/>
                  <a:gd name="connsiteX2" fmla="*/ 741 w 18373"/>
                  <a:gd name="connsiteY2" fmla="*/ 5501 h 18418"/>
                  <a:gd name="connsiteX3" fmla="*/ 12822 w 18373"/>
                  <a:gd name="connsiteY3" fmla="*/ 777 h 18418"/>
                  <a:gd name="connsiteX4" fmla="*/ 17607 w 18373"/>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18">
                    <a:moveTo>
                      <a:pt x="17607" y="12917"/>
                    </a:moveTo>
                    <a:cubicBezTo>
                      <a:pt x="15574" y="17582"/>
                      <a:pt x="10191" y="19676"/>
                      <a:pt x="5526" y="17642"/>
                    </a:cubicBezTo>
                    <a:cubicBezTo>
                      <a:pt x="861" y="15609"/>
                      <a:pt x="-1232" y="10166"/>
                      <a:pt x="741" y="5501"/>
                    </a:cubicBezTo>
                    <a:cubicBezTo>
                      <a:pt x="2775" y="836"/>
                      <a:pt x="8158" y="-1257"/>
                      <a:pt x="12822" y="777"/>
                    </a:cubicBezTo>
                    <a:cubicBezTo>
                      <a:pt x="17487" y="2810"/>
                      <a:pt x="19640" y="8252"/>
                      <a:pt x="17607" y="12917"/>
                    </a:cubicBezTo>
                    <a:close/>
                  </a:path>
                </a:pathLst>
              </a:custGeom>
              <a:grpFill/>
              <a:ln w="5978" cap="flat">
                <a:noFill/>
                <a:prstDash val="solid"/>
                <a:miter/>
              </a:ln>
            </p:spPr>
            <p:txBody>
              <a:bodyPr rtlCol="0" anchor="ctr"/>
              <a:lstStyle/>
              <a:p>
                <a:endParaRPr lang="en-GB"/>
              </a:p>
            </p:txBody>
          </p:sp>
          <p:sp>
            <p:nvSpPr>
              <p:cNvPr id="2351" name="Vrije vorm: vorm 2350">
                <a:extLst>
                  <a:ext uri="{FF2B5EF4-FFF2-40B4-BE49-F238E27FC236}">
                    <a16:creationId xmlns:a16="http://schemas.microsoft.com/office/drawing/2014/main" id="{A73FDEAD-C287-4969-B799-3A3A8051C61E}"/>
                  </a:ext>
                </a:extLst>
              </p:cNvPr>
              <p:cNvSpPr/>
              <p:nvPr/>
            </p:nvSpPr>
            <p:spPr>
              <a:xfrm>
                <a:off x="5275984" y="5188018"/>
                <a:ext cx="18398" cy="18409"/>
              </a:xfrm>
              <a:custGeom>
                <a:avLst/>
                <a:gdLst>
                  <a:gd name="connsiteX0" fmla="*/ 17632 w 18398"/>
                  <a:gd name="connsiteY0" fmla="*/ 12917 h 18409"/>
                  <a:gd name="connsiteX1" fmla="*/ 12848 w 18398"/>
                  <a:gd name="connsiteY1" fmla="*/ 777 h 18409"/>
                  <a:gd name="connsiteX2" fmla="*/ 767 w 18398"/>
                  <a:gd name="connsiteY2" fmla="*/ 5501 h 18409"/>
                  <a:gd name="connsiteX3" fmla="*/ 5551 w 18398"/>
                  <a:gd name="connsiteY3" fmla="*/ 17642 h 18409"/>
                  <a:gd name="connsiteX4" fmla="*/ 17632 w 18398"/>
                  <a:gd name="connsiteY4" fmla="*/ 12917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409">
                    <a:moveTo>
                      <a:pt x="17632" y="12917"/>
                    </a:moveTo>
                    <a:cubicBezTo>
                      <a:pt x="19666" y="8252"/>
                      <a:pt x="17513" y="2810"/>
                      <a:pt x="12848" y="777"/>
                    </a:cubicBezTo>
                    <a:cubicBezTo>
                      <a:pt x="8183" y="-1257"/>
                      <a:pt x="2800" y="836"/>
                      <a:pt x="767" y="5501"/>
                    </a:cubicBezTo>
                    <a:cubicBezTo>
                      <a:pt x="-1267" y="10166"/>
                      <a:pt x="886" y="15609"/>
                      <a:pt x="5551" y="17642"/>
                    </a:cubicBezTo>
                    <a:cubicBezTo>
                      <a:pt x="10216" y="19676"/>
                      <a:pt x="15599" y="17523"/>
                      <a:pt x="17632" y="12917"/>
                    </a:cubicBezTo>
                    <a:close/>
                  </a:path>
                </a:pathLst>
              </a:custGeom>
              <a:grpFill/>
              <a:ln w="5978" cap="flat">
                <a:noFill/>
                <a:prstDash val="solid"/>
                <a:miter/>
              </a:ln>
            </p:spPr>
            <p:txBody>
              <a:bodyPr rtlCol="0" anchor="ctr"/>
              <a:lstStyle/>
              <a:p>
                <a:endParaRPr lang="en-GB"/>
              </a:p>
            </p:txBody>
          </p:sp>
        </p:grpSp>
        <p:grpSp>
          <p:nvGrpSpPr>
            <p:cNvPr id="1018" name="Graphic 3">
              <a:extLst>
                <a:ext uri="{FF2B5EF4-FFF2-40B4-BE49-F238E27FC236}">
                  <a16:creationId xmlns:a16="http://schemas.microsoft.com/office/drawing/2014/main" id="{23113D06-88CE-4361-A2F8-A932995A6D71}"/>
                </a:ext>
              </a:extLst>
            </p:cNvPr>
            <p:cNvGrpSpPr/>
            <p:nvPr/>
          </p:nvGrpSpPr>
          <p:grpSpPr>
            <a:xfrm>
              <a:off x="4198345" y="2645224"/>
              <a:ext cx="289569" cy="130378"/>
              <a:chOff x="4198345" y="2645224"/>
              <a:chExt cx="289569" cy="130378"/>
            </a:xfrm>
            <a:grpFill/>
          </p:grpSpPr>
          <p:sp>
            <p:nvSpPr>
              <p:cNvPr id="2346" name="Vrije vorm: vorm 2345">
                <a:extLst>
                  <a:ext uri="{FF2B5EF4-FFF2-40B4-BE49-F238E27FC236}">
                    <a16:creationId xmlns:a16="http://schemas.microsoft.com/office/drawing/2014/main" id="{26D30E60-38BD-477E-8208-ADD76186BF06}"/>
                  </a:ext>
                </a:extLst>
              </p:cNvPr>
              <p:cNvSpPr/>
              <p:nvPr/>
            </p:nvSpPr>
            <p:spPr>
              <a:xfrm>
                <a:off x="4206500" y="2652849"/>
                <a:ext cx="273199" cy="115128"/>
              </a:xfrm>
              <a:custGeom>
                <a:avLst/>
                <a:gdLst>
                  <a:gd name="connsiteX0" fmla="*/ 273199 w 273199"/>
                  <a:gd name="connsiteY0" fmla="*/ 112258 h 115128"/>
                  <a:gd name="connsiteX1" fmla="*/ 272063 w 273199"/>
                  <a:gd name="connsiteY1" fmla="*/ 115129 h 115128"/>
                  <a:gd name="connsiteX2" fmla="*/ 0 w 273199"/>
                  <a:gd name="connsiteY2" fmla="*/ 2871 h 115128"/>
                  <a:gd name="connsiteX3" fmla="*/ 1196 w 273199"/>
                  <a:gd name="connsiteY3" fmla="*/ 0 h 115128"/>
                </a:gdLst>
                <a:ahLst/>
                <a:cxnLst>
                  <a:cxn ang="0">
                    <a:pos x="connsiteX0" y="connsiteY0"/>
                  </a:cxn>
                  <a:cxn ang="0">
                    <a:pos x="connsiteX1" y="connsiteY1"/>
                  </a:cxn>
                  <a:cxn ang="0">
                    <a:pos x="connsiteX2" y="connsiteY2"/>
                  </a:cxn>
                  <a:cxn ang="0">
                    <a:pos x="connsiteX3" y="connsiteY3"/>
                  </a:cxn>
                </a:cxnLst>
                <a:rect l="l" t="t" r="r" b="b"/>
                <a:pathLst>
                  <a:path w="273199" h="115128">
                    <a:moveTo>
                      <a:pt x="273199" y="112258"/>
                    </a:moveTo>
                    <a:lnTo>
                      <a:pt x="272063" y="115129"/>
                    </a:lnTo>
                    <a:lnTo>
                      <a:pt x="0" y="2871"/>
                    </a:lnTo>
                    <a:lnTo>
                      <a:pt x="1196" y="0"/>
                    </a:lnTo>
                    <a:close/>
                  </a:path>
                </a:pathLst>
              </a:custGeom>
              <a:grpFill/>
              <a:ln w="5978" cap="flat">
                <a:noFill/>
                <a:prstDash val="solid"/>
                <a:miter/>
              </a:ln>
            </p:spPr>
            <p:txBody>
              <a:bodyPr rtlCol="0" anchor="ctr"/>
              <a:lstStyle/>
              <a:p>
                <a:endParaRPr lang="en-GB"/>
              </a:p>
            </p:txBody>
          </p:sp>
          <p:sp>
            <p:nvSpPr>
              <p:cNvPr id="2347" name="Vrije vorm: vorm 2346">
                <a:extLst>
                  <a:ext uri="{FF2B5EF4-FFF2-40B4-BE49-F238E27FC236}">
                    <a16:creationId xmlns:a16="http://schemas.microsoft.com/office/drawing/2014/main" id="{ACB5CA55-CB97-4E32-B6B0-B9AAE94E3D76}"/>
                  </a:ext>
                </a:extLst>
              </p:cNvPr>
              <p:cNvSpPr/>
              <p:nvPr/>
            </p:nvSpPr>
            <p:spPr>
              <a:xfrm>
                <a:off x="4198345" y="2645224"/>
                <a:ext cx="18343" cy="18444"/>
              </a:xfrm>
              <a:custGeom>
                <a:avLst/>
                <a:gdLst>
                  <a:gd name="connsiteX0" fmla="*/ 5703 w 18343"/>
                  <a:gd name="connsiteY0" fmla="*/ 17732 h 18444"/>
                  <a:gd name="connsiteX1" fmla="*/ 679 w 18343"/>
                  <a:gd name="connsiteY1" fmla="*/ 5711 h 18444"/>
                  <a:gd name="connsiteX2" fmla="*/ 12641 w 18343"/>
                  <a:gd name="connsiteY2" fmla="*/ 687 h 18444"/>
                  <a:gd name="connsiteX3" fmla="*/ 17664 w 18343"/>
                  <a:gd name="connsiteY3" fmla="*/ 12708 h 18444"/>
                  <a:gd name="connsiteX4" fmla="*/ 5703 w 18343"/>
                  <a:gd name="connsiteY4" fmla="*/ 177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4">
                    <a:moveTo>
                      <a:pt x="5703" y="17732"/>
                    </a:moveTo>
                    <a:cubicBezTo>
                      <a:pt x="1038" y="15819"/>
                      <a:pt x="-1235" y="10436"/>
                      <a:pt x="679" y="5711"/>
                    </a:cubicBezTo>
                    <a:cubicBezTo>
                      <a:pt x="2593" y="986"/>
                      <a:pt x="7916" y="-1227"/>
                      <a:pt x="12641" y="687"/>
                    </a:cubicBezTo>
                    <a:cubicBezTo>
                      <a:pt x="17306" y="2601"/>
                      <a:pt x="19578" y="7984"/>
                      <a:pt x="17664" y="12708"/>
                    </a:cubicBezTo>
                    <a:cubicBezTo>
                      <a:pt x="15751" y="17433"/>
                      <a:pt x="10428" y="19706"/>
                      <a:pt x="5703" y="17732"/>
                    </a:cubicBezTo>
                    <a:close/>
                  </a:path>
                </a:pathLst>
              </a:custGeom>
              <a:grpFill/>
              <a:ln w="5978" cap="flat">
                <a:noFill/>
                <a:prstDash val="solid"/>
                <a:miter/>
              </a:ln>
            </p:spPr>
            <p:txBody>
              <a:bodyPr rtlCol="0" anchor="ctr"/>
              <a:lstStyle/>
              <a:p>
                <a:endParaRPr lang="en-GB"/>
              </a:p>
            </p:txBody>
          </p:sp>
          <p:sp>
            <p:nvSpPr>
              <p:cNvPr id="2348" name="Vrije vorm: vorm 2347">
                <a:extLst>
                  <a:ext uri="{FF2B5EF4-FFF2-40B4-BE49-F238E27FC236}">
                    <a16:creationId xmlns:a16="http://schemas.microsoft.com/office/drawing/2014/main" id="{21B1CA41-2731-4940-980D-EED3CC1D053B}"/>
                  </a:ext>
                </a:extLst>
              </p:cNvPr>
              <p:cNvSpPr/>
              <p:nvPr/>
            </p:nvSpPr>
            <p:spPr>
              <a:xfrm>
                <a:off x="4469563" y="2757183"/>
                <a:ext cx="18352" cy="18419"/>
              </a:xfrm>
              <a:custGeom>
                <a:avLst/>
                <a:gdLst>
                  <a:gd name="connsiteX0" fmla="*/ 5711 w 18352"/>
                  <a:gd name="connsiteY0" fmla="*/ 17732 h 18419"/>
                  <a:gd name="connsiteX1" fmla="*/ 17673 w 18352"/>
                  <a:gd name="connsiteY1" fmla="*/ 12708 h 18419"/>
                  <a:gd name="connsiteX2" fmla="*/ 12649 w 18352"/>
                  <a:gd name="connsiteY2" fmla="*/ 687 h 18419"/>
                  <a:gd name="connsiteX3" fmla="*/ 687 w 18352"/>
                  <a:gd name="connsiteY3" fmla="*/ 5711 h 18419"/>
                  <a:gd name="connsiteX4" fmla="*/ 5711 w 18352"/>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9">
                    <a:moveTo>
                      <a:pt x="5711" y="17732"/>
                    </a:moveTo>
                    <a:cubicBezTo>
                      <a:pt x="10376" y="19646"/>
                      <a:pt x="15759" y="17433"/>
                      <a:pt x="17673" y="12708"/>
                    </a:cubicBezTo>
                    <a:cubicBezTo>
                      <a:pt x="19587" y="7984"/>
                      <a:pt x="17314" y="2601"/>
                      <a:pt x="12649" y="687"/>
                    </a:cubicBezTo>
                    <a:cubicBezTo>
                      <a:pt x="7984" y="-1227"/>
                      <a:pt x="2601" y="986"/>
                      <a:pt x="687" y="5711"/>
                    </a:cubicBezTo>
                    <a:cubicBezTo>
                      <a:pt x="-1227" y="10376"/>
                      <a:pt x="986" y="15759"/>
                      <a:pt x="5711" y="17732"/>
                    </a:cubicBezTo>
                    <a:close/>
                  </a:path>
                </a:pathLst>
              </a:custGeom>
              <a:grpFill/>
              <a:ln w="5978" cap="flat">
                <a:noFill/>
                <a:prstDash val="solid"/>
                <a:miter/>
              </a:ln>
            </p:spPr>
            <p:txBody>
              <a:bodyPr rtlCol="0" anchor="ctr"/>
              <a:lstStyle/>
              <a:p>
                <a:endParaRPr lang="en-GB"/>
              </a:p>
            </p:txBody>
          </p:sp>
        </p:grpSp>
        <p:grpSp>
          <p:nvGrpSpPr>
            <p:cNvPr id="1019" name="Graphic 3">
              <a:extLst>
                <a:ext uri="{FF2B5EF4-FFF2-40B4-BE49-F238E27FC236}">
                  <a16:creationId xmlns:a16="http://schemas.microsoft.com/office/drawing/2014/main" id="{C1680FC9-A2A1-41F4-981B-7B9C0B148209}"/>
                </a:ext>
              </a:extLst>
            </p:cNvPr>
            <p:cNvGrpSpPr/>
            <p:nvPr/>
          </p:nvGrpSpPr>
          <p:grpSpPr>
            <a:xfrm>
              <a:off x="4180703" y="2425583"/>
              <a:ext cx="162296" cy="94274"/>
              <a:chOff x="4180703" y="2425583"/>
              <a:chExt cx="162296" cy="94274"/>
            </a:xfrm>
            <a:grpFill/>
          </p:grpSpPr>
          <p:sp>
            <p:nvSpPr>
              <p:cNvPr id="2343" name="Vrije vorm: vorm 2342">
                <a:extLst>
                  <a:ext uri="{FF2B5EF4-FFF2-40B4-BE49-F238E27FC236}">
                    <a16:creationId xmlns:a16="http://schemas.microsoft.com/office/drawing/2014/main" id="{F7DB77A0-C95A-4788-BE4C-276183544B87}"/>
                  </a:ext>
                </a:extLst>
              </p:cNvPr>
              <p:cNvSpPr/>
              <p:nvPr/>
            </p:nvSpPr>
            <p:spPr>
              <a:xfrm>
                <a:off x="4188737" y="2433237"/>
                <a:ext cx="146228" cy="78945"/>
              </a:xfrm>
              <a:custGeom>
                <a:avLst/>
                <a:gdLst>
                  <a:gd name="connsiteX0" fmla="*/ 146229 w 146228"/>
                  <a:gd name="connsiteY0" fmla="*/ 76254 h 78945"/>
                  <a:gd name="connsiteX1" fmla="*/ 144853 w 146228"/>
                  <a:gd name="connsiteY1" fmla="*/ 78945 h 78945"/>
                  <a:gd name="connsiteX2" fmla="*/ 0 w 146228"/>
                  <a:gd name="connsiteY2" fmla="*/ 2691 h 78945"/>
                  <a:gd name="connsiteX3" fmla="*/ 1435 w 146228"/>
                  <a:gd name="connsiteY3" fmla="*/ 0 h 78945"/>
                </a:gdLst>
                <a:ahLst/>
                <a:cxnLst>
                  <a:cxn ang="0">
                    <a:pos x="connsiteX0" y="connsiteY0"/>
                  </a:cxn>
                  <a:cxn ang="0">
                    <a:pos x="connsiteX1" y="connsiteY1"/>
                  </a:cxn>
                  <a:cxn ang="0">
                    <a:pos x="connsiteX2" y="connsiteY2"/>
                  </a:cxn>
                  <a:cxn ang="0">
                    <a:pos x="connsiteX3" y="connsiteY3"/>
                  </a:cxn>
                </a:cxnLst>
                <a:rect l="l" t="t" r="r" b="b"/>
                <a:pathLst>
                  <a:path w="146228" h="78945">
                    <a:moveTo>
                      <a:pt x="146229" y="76254"/>
                    </a:moveTo>
                    <a:lnTo>
                      <a:pt x="144853" y="78945"/>
                    </a:lnTo>
                    <a:lnTo>
                      <a:pt x="0" y="2691"/>
                    </a:lnTo>
                    <a:lnTo>
                      <a:pt x="1435" y="0"/>
                    </a:lnTo>
                    <a:close/>
                  </a:path>
                </a:pathLst>
              </a:custGeom>
              <a:grpFill/>
              <a:ln w="5978" cap="flat">
                <a:noFill/>
                <a:prstDash val="solid"/>
                <a:miter/>
              </a:ln>
            </p:spPr>
            <p:txBody>
              <a:bodyPr rtlCol="0" anchor="ctr"/>
              <a:lstStyle/>
              <a:p>
                <a:endParaRPr lang="en-GB"/>
              </a:p>
            </p:txBody>
          </p:sp>
          <p:sp>
            <p:nvSpPr>
              <p:cNvPr id="2344" name="Vrije vorm: vorm 2343">
                <a:extLst>
                  <a:ext uri="{FF2B5EF4-FFF2-40B4-BE49-F238E27FC236}">
                    <a16:creationId xmlns:a16="http://schemas.microsoft.com/office/drawing/2014/main" id="{1B3F6453-CA9B-4401-9CEA-F9EB0F834EDE}"/>
                  </a:ext>
                </a:extLst>
              </p:cNvPr>
              <p:cNvSpPr/>
              <p:nvPr/>
            </p:nvSpPr>
            <p:spPr>
              <a:xfrm>
                <a:off x="4324659" y="2501419"/>
                <a:ext cx="18341" cy="18438"/>
              </a:xfrm>
              <a:custGeom>
                <a:avLst/>
                <a:gdLst>
                  <a:gd name="connsiteX0" fmla="*/ 13417 w 18341"/>
                  <a:gd name="connsiteY0" fmla="*/ 1075 h 18438"/>
                  <a:gd name="connsiteX1" fmla="*/ 17304 w 18341"/>
                  <a:gd name="connsiteY1" fmla="*/ 13514 h 18438"/>
                  <a:gd name="connsiteX2" fmla="*/ 4924 w 18341"/>
                  <a:gd name="connsiteY2" fmla="*/ 17402 h 18438"/>
                  <a:gd name="connsiteX3" fmla="*/ 1037 w 18341"/>
                  <a:gd name="connsiteY3" fmla="*/ 4962 h 18438"/>
                  <a:gd name="connsiteX4" fmla="*/ 13417 w 18341"/>
                  <a:gd name="connsiteY4" fmla="*/ 1075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8">
                    <a:moveTo>
                      <a:pt x="13417" y="1075"/>
                    </a:moveTo>
                    <a:cubicBezTo>
                      <a:pt x="17902" y="3467"/>
                      <a:pt x="19637" y="9029"/>
                      <a:pt x="17304" y="13514"/>
                    </a:cubicBezTo>
                    <a:cubicBezTo>
                      <a:pt x="14972" y="18000"/>
                      <a:pt x="9410" y="19734"/>
                      <a:pt x="4924" y="17402"/>
                    </a:cubicBezTo>
                    <a:cubicBezTo>
                      <a:pt x="439" y="15010"/>
                      <a:pt x="-1296" y="9448"/>
                      <a:pt x="1037" y="4962"/>
                    </a:cubicBezTo>
                    <a:cubicBezTo>
                      <a:pt x="3429" y="417"/>
                      <a:pt x="8931" y="-1318"/>
                      <a:pt x="13417" y="1075"/>
                    </a:cubicBezTo>
                    <a:close/>
                  </a:path>
                </a:pathLst>
              </a:custGeom>
              <a:grpFill/>
              <a:ln w="5978" cap="flat">
                <a:noFill/>
                <a:prstDash val="solid"/>
                <a:miter/>
              </a:ln>
            </p:spPr>
            <p:txBody>
              <a:bodyPr rtlCol="0" anchor="ctr"/>
              <a:lstStyle/>
              <a:p>
                <a:endParaRPr lang="en-GB"/>
              </a:p>
            </p:txBody>
          </p:sp>
          <p:sp>
            <p:nvSpPr>
              <p:cNvPr id="2345" name="Vrije vorm: vorm 2344">
                <a:extLst>
                  <a:ext uri="{FF2B5EF4-FFF2-40B4-BE49-F238E27FC236}">
                    <a16:creationId xmlns:a16="http://schemas.microsoft.com/office/drawing/2014/main" id="{D90325D9-D83E-49BA-AFDE-9324A7519B3B}"/>
                  </a:ext>
                </a:extLst>
              </p:cNvPr>
              <p:cNvSpPr/>
              <p:nvPr/>
            </p:nvSpPr>
            <p:spPr>
              <a:xfrm>
                <a:off x="4180703" y="2425583"/>
                <a:ext cx="18340" cy="18476"/>
              </a:xfrm>
              <a:custGeom>
                <a:avLst/>
                <a:gdLst>
                  <a:gd name="connsiteX0" fmla="*/ 13417 w 18340"/>
                  <a:gd name="connsiteY0" fmla="*/ 1075 h 18476"/>
                  <a:gd name="connsiteX1" fmla="*/ 1037 w 18340"/>
                  <a:gd name="connsiteY1" fmla="*/ 4962 h 18476"/>
                  <a:gd name="connsiteX2" fmla="*/ 4924 w 18340"/>
                  <a:gd name="connsiteY2" fmla="*/ 17402 h 18476"/>
                  <a:gd name="connsiteX3" fmla="*/ 17304 w 18340"/>
                  <a:gd name="connsiteY3" fmla="*/ 13514 h 18476"/>
                  <a:gd name="connsiteX4" fmla="*/ 13417 w 18340"/>
                  <a:gd name="connsiteY4" fmla="*/ 1075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76">
                    <a:moveTo>
                      <a:pt x="13417" y="1075"/>
                    </a:moveTo>
                    <a:cubicBezTo>
                      <a:pt x="8931" y="-1318"/>
                      <a:pt x="3369" y="417"/>
                      <a:pt x="1037" y="4962"/>
                    </a:cubicBezTo>
                    <a:cubicBezTo>
                      <a:pt x="-1296" y="9448"/>
                      <a:pt x="439" y="15010"/>
                      <a:pt x="4924" y="17402"/>
                    </a:cubicBezTo>
                    <a:cubicBezTo>
                      <a:pt x="9410" y="19794"/>
                      <a:pt x="14972" y="18060"/>
                      <a:pt x="17304" y="13514"/>
                    </a:cubicBezTo>
                    <a:cubicBezTo>
                      <a:pt x="19637" y="9029"/>
                      <a:pt x="17902" y="3407"/>
                      <a:pt x="13417" y="1075"/>
                    </a:cubicBezTo>
                    <a:close/>
                  </a:path>
                </a:pathLst>
              </a:custGeom>
              <a:grpFill/>
              <a:ln w="5978" cap="flat">
                <a:noFill/>
                <a:prstDash val="solid"/>
                <a:miter/>
              </a:ln>
            </p:spPr>
            <p:txBody>
              <a:bodyPr rtlCol="0" anchor="ctr"/>
              <a:lstStyle/>
              <a:p>
                <a:endParaRPr lang="en-GB"/>
              </a:p>
            </p:txBody>
          </p:sp>
        </p:grpSp>
        <p:grpSp>
          <p:nvGrpSpPr>
            <p:cNvPr id="1020" name="Graphic 3">
              <a:extLst>
                <a:ext uri="{FF2B5EF4-FFF2-40B4-BE49-F238E27FC236}">
                  <a16:creationId xmlns:a16="http://schemas.microsoft.com/office/drawing/2014/main" id="{27694848-1A32-4F09-9F5D-D2BA0AB61DCF}"/>
                </a:ext>
              </a:extLst>
            </p:cNvPr>
            <p:cNvGrpSpPr/>
            <p:nvPr/>
          </p:nvGrpSpPr>
          <p:grpSpPr>
            <a:xfrm>
              <a:off x="5062095" y="4953630"/>
              <a:ext cx="116950" cy="190610"/>
              <a:chOff x="5062095" y="4953630"/>
              <a:chExt cx="116950" cy="190610"/>
            </a:xfrm>
            <a:grpFill/>
          </p:grpSpPr>
          <p:sp>
            <p:nvSpPr>
              <p:cNvPr id="2340" name="Vrije vorm: vorm 2339">
                <a:extLst>
                  <a:ext uri="{FF2B5EF4-FFF2-40B4-BE49-F238E27FC236}">
                    <a16:creationId xmlns:a16="http://schemas.microsoft.com/office/drawing/2014/main" id="{DB7C9787-0D60-4059-A88D-288BBC23AD09}"/>
                  </a:ext>
                </a:extLst>
              </p:cNvPr>
              <p:cNvSpPr/>
              <p:nvPr/>
            </p:nvSpPr>
            <p:spPr>
              <a:xfrm>
                <a:off x="5069698" y="4961647"/>
                <a:ext cx="101732" cy="174517"/>
              </a:xfrm>
              <a:custGeom>
                <a:avLst/>
                <a:gdLst>
                  <a:gd name="connsiteX0" fmla="*/ 101732 w 101732"/>
                  <a:gd name="connsiteY0" fmla="*/ 1555 h 174517"/>
                  <a:gd name="connsiteX1" fmla="*/ 2691 w 101732"/>
                  <a:gd name="connsiteY1" fmla="*/ 174517 h 174517"/>
                  <a:gd name="connsiteX2" fmla="*/ 0 w 101732"/>
                  <a:gd name="connsiteY2" fmla="*/ 172962 h 174517"/>
                  <a:gd name="connsiteX3" fmla="*/ 99101 w 101732"/>
                  <a:gd name="connsiteY3" fmla="*/ 0 h 174517"/>
                </a:gdLst>
                <a:ahLst/>
                <a:cxnLst>
                  <a:cxn ang="0">
                    <a:pos x="connsiteX0" y="connsiteY0"/>
                  </a:cxn>
                  <a:cxn ang="0">
                    <a:pos x="connsiteX1" y="connsiteY1"/>
                  </a:cxn>
                  <a:cxn ang="0">
                    <a:pos x="connsiteX2" y="connsiteY2"/>
                  </a:cxn>
                  <a:cxn ang="0">
                    <a:pos x="connsiteX3" y="connsiteY3"/>
                  </a:cxn>
                </a:cxnLst>
                <a:rect l="l" t="t" r="r" b="b"/>
                <a:pathLst>
                  <a:path w="101732" h="174517">
                    <a:moveTo>
                      <a:pt x="101732" y="1555"/>
                    </a:moveTo>
                    <a:lnTo>
                      <a:pt x="2691" y="174517"/>
                    </a:lnTo>
                    <a:lnTo>
                      <a:pt x="0" y="172962"/>
                    </a:lnTo>
                    <a:lnTo>
                      <a:pt x="99101" y="0"/>
                    </a:lnTo>
                    <a:close/>
                  </a:path>
                </a:pathLst>
              </a:custGeom>
              <a:grpFill/>
              <a:ln w="5978" cap="flat">
                <a:noFill/>
                <a:prstDash val="solid"/>
                <a:miter/>
              </a:ln>
            </p:spPr>
            <p:txBody>
              <a:bodyPr rtlCol="0" anchor="ctr"/>
              <a:lstStyle/>
              <a:p>
                <a:endParaRPr lang="en-GB"/>
              </a:p>
            </p:txBody>
          </p:sp>
          <p:sp>
            <p:nvSpPr>
              <p:cNvPr id="2341" name="Vrije vorm: vorm 2340">
                <a:extLst>
                  <a:ext uri="{FF2B5EF4-FFF2-40B4-BE49-F238E27FC236}">
                    <a16:creationId xmlns:a16="http://schemas.microsoft.com/office/drawing/2014/main" id="{EBDC7A7A-0979-45F7-8C23-7B87BF84BE87}"/>
                  </a:ext>
                </a:extLst>
              </p:cNvPr>
              <p:cNvSpPr/>
              <p:nvPr/>
            </p:nvSpPr>
            <p:spPr>
              <a:xfrm>
                <a:off x="5062095" y="5125755"/>
                <a:ext cx="18328" cy="18485"/>
              </a:xfrm>
              <a:custGeom>
                <a:avLst/>
                <a:gdLst>
                  <a:gd name="connsiteX0" fmla="*/ 17112 w 18328"/>
                  <a:gd name="connsiteY0" fmla="*/ 13877 h 18485"/>
                  <a:gd name="connsiteX1" fmla="*/ 4612 w 18328"/>
                  <a:gd name="connsiteY1" fmla="*/ 17227 h 18485"/>
                  <a:gd name="connsiteX2" fmla="*/ 1204 w 18328"/>
                  <a:gd name="connsiteY2" fmla="*/ 4607 h 18485"/>
                  <a:gd name="connsiteX3" fmla="*/ 13703 w 18328"/>
                  <a:gd name="connsiteY3" fmla="*/ 1258 h 18485"/>
                  <a:gd name="connsiteX4" fmla="*/ 17112 w 18328"/>
                  <a:gd name="connsiteY4" fmla="*/ 13877 h 18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85">
                    <a:moveTo>
                      <a:pt x="17112" y="13877"/>
                    </a:moveTo>
                    <a:cubicBezTo>
                      <a:pt x="14600" y="18303"/>
                      <a:pt x="8979" y="19799"/>
                      <a:pt x="4612" y="17227"/>
                    </a:cubicBezTo>
                    <a:cubicBezTo>
                      <a:pt x="247" y="14655"/>
                      <a:pt x="-1308" y="9033"/>
                      <a:pt x="1204" y="4607"/>
                    </a:cubicBezTo>
                    <a:cubicBezTo>
                      <a:pt x="3715" y="182"/>
                      <a:pt x="9337" y="-1313"/>
                      <a:pt x="13703" y="1258"/>
                    </a:cubicBezTo>
                    <a:cubicBezTo>
                      <a:pt x="18129" y="3830"/>
                      <a:pt x="19624" y="9452"/>
                      <a:pt x="17112" y="13877"/>
                    </a:cubicBezTo>
                    <a:close/>
                  </a:path>
                </a:pathLst>
              </a:custGeom>
              <a:grpFill/>
              <a:ln w="5978" cap="flat">
                <a:noFill/>
                <a:prstDash val="solid"/>
                <a:miter/>
              </a:ln>
            </p:spPr>
            <p:txBody>
              <a:bodyPr rtlCol="0" anchor="ctr"/>
              <a:lstStyle/>
              <a:p>
                <a:endParaRPr lang="en-GB"/>
              </a:p>
            </p:txBody>
          </p:sp>
          <p:sp>
            <p:nvSpPr>
              <p:cNvPr id="2342" name="Vrije vorm: vorm 2341">
                <a:extLst>
                  <a:ext uri="{FF2B5EF4-FFF2-40B4-BE49-F238E27FC236}">
                    <a16:creationId xmlns:a16="http://schemas.microsoft.com/office/drawing/2014/main" id="{FAB0B95F-3ACB-4C43-A658-80EBC2F20231}"/>
                  </a:ext>
                </a:extLst>
              </p:cNvPr>
              <p:cNvSpPr/>
              <p:nvPr/>
            </p:nvSpPr>
            <p:spPr>
              <a:xfrm>
                <a:off x="5160704" y="4953630"/>
                <a:ext cx="18341" cy="18442"/>
              </a:xfrm>
              <a:custGeom>
                <a:avLst/>
                <a:gdLst>
                  <a:gd name="connsiteX0" fmla="*/ 17125 w 18341"/>
                  <a:gd name="connsiteY0" fmla="*/ 13818 h 18442"/>
                  <a:gd name="connsiteX1" fmla="*/ 13716 w 18341"/>
                  <a:gd name="connsiteY1" fmla="*/ 1258 h 18442"/>
                  <a:gd name="connsiteX2" fmla="*/ 1217 w 18341"/>
                  <a:gd name="connsiteY2" fmla="*/ 4607 h 18442"/>
                  <a:gd name="connsiteX3" fmla="*/ 4626 w 18341"/>
                  <a:gd name="connsiteY3" fmla="*/ 17227 h 18442"/>
                  <a:gd name="connsiteX4" fmla="*/ 17125 w 18341"/>
                  <a:gd name="connsiteY4" fmla="*/ 13818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42">
                    <a:moveTo>
                      <a:pt x="17125" y="13818"/>
                    </a:moveTo>
                    <a:cubicBezTo>
                      <a:pt x="19637" y="9392"/>
                      <a:pt x="18142" y="3770"/>
                      <a:pt x="13716" y="1258"/>
                    </a:cubicBezTo>
                    <a:cubicBezTo>
                      <a:pt x="9350" y="-1313"/>
                      <a:pt x="3728" y="182"/>
                      <a:pt x="1217" y="4607"/>
                    </a:cubicBezTo>
                    <a:cubicBezTo>
                      <a:pt x="-1296" y="9033"/>
                      <a:pt x="200" y="14655"/>
                      <a:pt x="4626" y="17227"/>
                    </a:cubicBezTo>
                    <a:cubicBezTo>
                      <a:pt x="8991" y="19738"/>
                      <a:pt x="14613" y="18243"/>
                      <a:pt x="17125" y="13818"/>
                    </a:cubicBezTo>
                    <a:close/>
                  </a:path>
                </a:pathLst>
              </a:custGeom>
              <a:grpFill/>
              <a:ln w="5978" cap="flat">
                <a:noFill/>
                <a:prstDash val="solid"/>
                <a:miter/>
              </a:ln>
            </p:spPr>
            <p:txBody>
              <a:bodyPr rtlCol="0" anchor="ctr"/>
              <a:lstStyle/>
              <a:p>
                <a:endParaRPr lang="en-GB"/>
              </a:p>
            </p:txBody>
          </p:sp>
        </p:grpSp>
        <p:grpSp>
          <p:nvGrpSpPr>
            <p:cNvPr id="1021" name="Graphic 3">
              <a:extLst>
                <a:ext uri="{FF2B5EF4-FFF2-40B4-BE49-F238E27FC236}">
                  <a16:creationId xmlns:a16="http://schemas.microsoft.com/office/drawing/2014/main" id="{A8071CD8-F1FE-4880-89E8-2EE061BEC363}"/>
                </a:ext>
              </a:extLst>
            </p:cNvPr>
            <p:cNvGrpSpPr/>
            <p:nvPr/>
          </p:nvGrpSpPr>
          <p:grpSpPr>
            <a:xfrm>
              <a:off x="5005726" y="4888540"/>
              <a:ext cx="281589" cy="436518"/>
              <a:chOff x="5005726" y="4888540"/>
              <a:chExt cx="281589" cy="436518"/>
            </a:xfrm>
            <a:grpFill/>
          </p:grpSpPr>
          <p:sp>
            <p:nvSpPr>
              <p:cNvPr id="2337" name="Vrije vorm: vorm 2336">
                <a:extLst>
                  <a:ext uri="{FF2B5EF4-FFF2-40B4-BE49-F238E27FC236}">
                    <a16:creationId xmlns:a16="http://schemas.microsoft.com/office/drawing/2014/main" id="{40F41EC4-05F4-4007-AA11-F8BC1581D02B}"/>
                  </a:ext>
                </a:extLst>
              </p:cNvPr>
              <p:cNvSpPr/>
              <p:nvPr/>
            </p:nvSpPr>
            <p:spPr>
              <a:xfrm>
                <a:off x="5013360" y="4896576"/>
                <a:ext cx="266381" cy="420444"/>
              </a:xfrm>
              <a:custGeom>
                <a:avLst/>
                <a:gdLst>
                  <a:gd name="connsiteX0" fmla="*/ 266382 w 266381"/>
                  <a:gd name="connsiteY0" fmla="*/ 1615 h 420444"/>
                  <a:gd name="connsiteX1" fmla="*/ 2572 w 266381"/>
                  <a:gd name="connsiteY1" fmla="*/ 420445 h 420444"/>
                  <a:gd name="connsiteX2" fmla="*/ 0 w 266381"/>
                  <a:gd name="connsiteY2" fmla="*/ 418830 h 420444"/>
                  <a:gd name="connsiteX3" fmla="*/ 263810 w 266381"/>
                  <a:gd name="connsiteY3" fmla="*/ 0 h 420444"/>
                </a:gdLst>
                <a:ahLst/>
                <a:cxnLst>
                  <a:cxn ang="0">
                    <a:pos x="connsiteX0" y="connsiteY0"/>
                  </a:cxn>
                  <a:cxn ang="0">
                    <a:pos x="connsiteX1" y="connsiteY1"/>
                  </a:cxn>
                  <a:cxn ang="0">
                    <a:pos x="connsiteX2" y="connsiteY2"/>
                  </a:cxn>
                  <a:cxn ang="0">
                    <a:pos x="connsiteX3" y="connsiteY3"/>
                  </a:cxn>
                </a:cxnLst>
                <a:rect l="l" t="t" r="r" b="b"/>
                <a:pathLst>
                  <a:path w="266381" h="420444">
                    <a:moveTo>
                      <a:pt x="266382" y="1615"/>
                    </a:moveTo>
                    <a:lnTo>
                      <a:pt x="2572" y="420445"/>
                    </a:lnTo>
                    <a:lnTo>
                      <a:pt x="0" y="418830"/>
                    </a:lnTo>
                    <a:lnTo>
                      <a:pt x="263810" y="0"/>
                    </a:lnTo>
                    <a:close/>
                  </a:path>
                </a:pathLst>
              </a:custGeom>
              <a:grpFill/>
              <a:ln w="5978" cap="flat">
                <a:noFill/>
                <a:prstDash val="solid"/>
                <a:miter/>
              </a:ln>
            </p:spPr>
            <p:txBody>
              <a:bodyPr rtlCol="0" anchor="ctr"/>
              <a:lstStyle/>
              <a:p>
                <a:endParaRPr lang="en-GB"/>
              </a:p>
            </p:txBody>
          </p:sp>
          <p:sp>
            <p:nvSpPr>
              <p:cNvPr id="2338" name="Vrije vorm: vorm 2337">
                <a:extLst>
                  <a:ext uri="{FF2B5EF4-FFF2-40B4-BE49-F238E27FC236}">
                    <a16:creationId xmlns:a16="http://schemas.microsoft.com/office/drawing/2014/main" id="{122FFB7B-FA51-4A88-86B4-71CB94F903BD}"/>
                  </a:ext>
                </a:extLst>
              </p:cNvPr>
              <p:cNvSpPr/>
              <p:nvPr/>
            </p:nvSpPr>
            <p:spPr>
              <a:xfrm>
                <a:off x="5269012" y="4888540"/>
                <a:ext cx="18303" cy="18465"/>
              </a:xfrm>
              <a:custGeom>
                <a:avLst/>
                <a:gdLst>
                  <a:gd name="connsiteX0" fmla="*/ 1400 w 18303"/>
                  <a:gd name="connsiteY0" fmla="*/ 4269 h 18465"/>
                  <a:gd name="connsiteX1" fmla="*/ 14019 w 18303"/>
                  <a:gd name="connsiteY1" fmla="*/ 1458 h 18465"/>
                  <a:gd name="connsiteX2" fmla="*/ 16889 w 18303"/>
                  <a:gd name="connsiteY2" fmla="*/ 14197 h 18465"/>
                  <a:gd name="connsiteX3" fmla="*/ 4270 w 18303"/>
                  <a:gd name="connsiteY3" fmla="*/ 17008 h 18465"/>
                  <a:gd name="connsiteX4" fmla="*/ 1400 w 18303"/>
                  <a:gd name="connsiteY4" fmla="*/ 426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0" y="4269"/>
                    </a:moveTo>
                    <a:cubicBezTo>
                      <a:pt x="4091" y="-37"/>
                      <a:pt x="9772" y="-1293"/>
                      <a:pt x="14019" y="1458"/>
                    </a:cubicBezTo>
                    <a:cubicBezTo>
                      <a:pt x="18325" y="4209"/>
                      <a:pt x="19581" y="9891"/>
                      <a:pt x="16889" y="14197"/>
                    </a:cubicBezTo>
                    <a:cubicBezTo>
                      <a:pt x="14198" y="18503"/>
                      <a:pt x="8516" y="19759"/>
                      <a:pt x="4270" y="17008"/>
                    </a:cubicBezTo>
                    <a:cubicBezTo>
                      <a:pt x="24" y="14257"/>
                      <a:pt x="-1292" y="8575"/>
                      <a:pt x="1400" y="4269"/>
                    </a:cubicBezTo>
                    <a:close/>
                  </a:path>
                </a:pathLst>
              </a:custGeom>
              <a:grpFill/>
              <a:ln w="5978" cap="flat">
                <a:noFill/>
                <a:prstDash val="solid"/>
                <a:miter/>
              </a:ln>
            </p:spPr>
            <p:txBody>
              <a:bodyPr rtlCol="0" anchor="ctr"/>
              <a:lstStyle/>
              <a:p>
                <a:endParaRPr lang="en-GB"/>
              </a:p>
            </p:txBody>
          </p:sp>
          <p:sp>
            <p:nvSpPr>
              <p:cNvPr id="2339" name="Vrije vorm: vorm 2338">
                <a:extLst>
                  <a:ext uri="{FF2B5EF4-FFF2-40B4-BE49-F238E27FC236}">
                    <a16:creationId xmlns:a16="http://schemas.microsoft.com/office/drawing/2014/main" id="{61B0464A-61BE-479D-B67A-C11FCC282D6C}"/>
                  </a:ext>
                </a:extLst>
              </p:cNvPr>
              <p:cNvSpPr/>
              <p:nvPr/>
            </p:nvSpPr>
            <p:spPr>
              <a:xfrm>
                <a:off x="5005726" y="5306633"/>
                <a:ext cx="18318" cy="18424"/>
              </a:xfrm>
              <a:custGeom>
                <a:avLst/>
                <a:gdLst>
                  <a:gd name="connsiteX0" fmla="*/ 1414 w 18318"/>
                  <a:gd name="connsiteY0" fmla="*/ 4228 h 18424"/>
                  <a:gd name="connsiteX1" fmla="*/ 4285 w 18318"/>
                  <a:gd name="connsiteY1" fmla="*/ 16966 h 18424"/>
                  <a:gd name="connsiteX2" fmla="*/ 16904 w 18318"/>
                  <a:gd name="connsiteY2" fmla="*/ 14156 h 18424"/>
                  <a:gd name="connsiteX3" fmla="*/ 14033 w 18318"/>
                  <a:gd name="connsiteY3" fmla="*/ 1417 h 18424"/>
                  <a:gd name="connsiteX4" fmla="*/ 1414 w 18318"/>
                  <a:gd name="connsiteY4" fmla="*/ 4228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4">
                    <a:moveTo>
                      <a:pt x="1414" y="4228"/>
                    </a:moveTo>
                    <a:cubicBezTo>
                      <a:pt x="-1277" y="8534"/>
                      <a:pt x="-21" y="14216"/>
                      <a:pt x="4285" y="16966"/>
                    </a:cubicBezTo>
                    <a:cubicBezTo>
                      <a:pt x="8591" y="19718"/>
                      <a:pt x="14213" y="18462"/>
                      <a:pt x="16904" y="14156"/>
                    </a:cubicBezTo>
                    <a:cubicBezTo>
                      <a:pt x="19595" y="9849"/>
                      <a:pt x="18340" y="4168"/>
                      <a:pt x="14033" y="1417"/>
                    </a:cubicBezTo>
                    <a:cubicBezTo>
                      <a:pt x="9787" y="-1275"/>
                      <a:pt x="4105" y="-19"/>
                      <a:pt x="1414" y="4228"/>
                    </a:cubicBezTo>
                    <a:close/>
                  </a:path>
                </a:pathLst>
              </a:custGeom>
              <a:grpFill/>
              <a:ln w="5978" cap="flat">
                <a:noFill/>
                <a:prstDash val="solid"/>
                <a:miter/>
              </a:ln>
            </p:spPr>
            <p:txBody>
              <a:bodyPr rtlCol="0" anchor="ctr"/>
              <a:lstStyle/>
              <a:p>
                <a:endParaRPr lang="en-GB"/>
              </a:p>
            </p:txBody>
          </p:sp>
        </p:grpSp>
        <p:grpSp>
          <p:nvGrpSpPr>
            <p:cNvPr id="1022" name="Graphic 3">
              <a:extLst>
                <a:ext uri="{FF2B5EF4-FFF2-40B4-BE49-F238E27FC236}">
                  <a16:creationId xmlns:a16="http://schemas.microsoft.com/office/drawing/2014/main" id="{F01D7F47-4994-4BFD-9002-D57B7AA13895}"/>
                </a:ext>
              </a:extLst>
            </p:cNvPr>
            <p:cNvGrpSpPr/>
            <p:nvPr/>
          </p:nvGrpSpPr>
          <p:grpSpPr>
            <a:xfrm>
              <a:off x="4189142" y="2473832"/>
              <a:ext cx="152775" cy="86090"/>
              <a:chOff x="4189142" y="2473832"/>
              <a:chExt cx="152775" cy="86090"/>
            </a:xfrm>
            <a:grpFill/>
          </p:grpSpPr>
          <p:sp>
            <p:nvSpPr>
              <p:cNvPr id="2334" name="Vrije vorm: vorm 2333">
                <a:extLst>
                  <a:ext uri="{FF2B5EF4-FFF2-40B4-BE49-F238E27FC236}">
                    <a16:creationId xmlns:a16="http://schemas.microsoft.com/office/drawing/2014/main" id="{987E94FE-BE63-4217-84BB-1D51D1CD6371}"/>
                  </a:ext>
                </a:extLst>
              </p:cNvPr>
              <p:cNvSpPr/>
              <p:nvPr/>
            </p:nvSpPr>
            <p:spPr>
              <a:xfrm>
                <a:off x="4197230" y="2481441"/>
                <a:ext cx="136599" cy="70811"/>
              </a:xfrm>
              <a:custGeom>
                <a:avLst/>
                <a:gdLst>
                  <a:gd name="connsiteX0" fmla="*/ 136600 w 136599"/>
                  <a:gd name="connsiteY0" fmla="*/ 68061 h 70811"/>
                  <a:gd name="connsiteX1" fmla="*/ 135284 w 136599"/>
                  <a:gd name="connsiteY1" fmla="*/ 70812 h 70811"/>
                  <a:gd name="connsiteX2" fmla="*/ 0 w 136599"/>
                  <a:gd name="connsiteY2" fmla="*/ 2751 h 70811"/>
                  <a:gd name="connsiteX3" fmla="*/ 1375 w 136599"/>
                  <a:gd name="connsiteY3" fmla="*/ 0 h 70811"/>
                </a:gdLst>
                <a:ahLst/>
                <a:cxnLst>
                  <a:cxn ang="0">
                    <a:pos x="connsiteX0" y="connsiteY0"/>
                  </a:cxn>
                  <a:cxn ang="0">
                    <a:pos x="connsiteX1" y="connsiteY1"/>
                  </a:cxn>
                  <a:cxn ang="0">
                    <a:pos x="connsiteX2" y="connsiteY2"/>
                  </a:cxn>
                  <a:cxn ang="0">
                    <a:pos x="connsiteX3" y="connsiteY3"/>
                  </a:cxn>
                </a:cxnLst>
                <a:rect l="l" t="t" r="r" b="b"/>
                <a:pathLst>
                  <a:path w="136599" h="70811">
                    <a:moveTo>
                      <a:pt x="136600" y="68061"/>
                    </a:moveTo>
                    <a:lnTo>
                      <a:pt x="135284" y="70812"/>
                    </a:lnTo>
                    <a:lnTo>
                      <a:pt x="0" y="2751"/>
                    </a:lnTo>
                    <a:lnTo>
                      <a:pt x="1375" y="0"/>
                    </a:lnTo>
                    <a:close/>
                  </a:path>
                </a:pathLst>
              </a:custGeom>
              <a:grpFill/>
              <a:ln w="5978" cap="flat">
                <a:noFill/>
                <a:prstDash val="solid"/>
                <a:miter/>
              </a:ln>
            </p:spPr>
            <p:txBody>
              <a:bodyPr rtlCol="0" anchor="ctr"/>
              <a:lstStyle/>
              <a:p>
                <a:endParaRPr lang="en-GB"/>
              </a:p>
            </p:txBody>
          </p:sp>
          <p:sp>
            <p:nvSpPr>
              <p:cNvPr id="2335" name="Vrije vorm: vorm 2334">
                <a:extLst>
                  <a:ext uri="{FF2B5EF4-FFF2-40B4-BE49-F238E27FC236}">
                    <a16:creationId xmlns:a16="http://schemas.microsoft.com/office/drawing/2014/main" id="{5009D8EC-EFAF-43B6-9D7A-2C05B3081466}"/>
                  </a:ext>
                </a:extLst>
              </p:cNvPr>
              <p:cNvSpPr/>
              <p:nvPr/>
            </p:nvSpPr>
            <p:spPr>
              <a:xfrm>
                <a:off x="4323589" y="2541463"/>
                <a:ext cx="18329" cy="18459"/>
              </a:xfrm>
              <a:custGeom>
                <a:avLst/>
                <a:gdLst>
                  <a:gd name="connsiteX0" fmla="*/ 13231 w 18329"/>
                  <a:gd name="connsiteY0" fmla="*/ 982 h 18459"/>
                  <a:gd name="connsiteX1" fmla="*/ 17358 w 18329"/>
                  <a:gd name="connsiteY1" fmla="*/ 13362 h 18459"/>
                  <a:gd name="connsiteX2" fmla="*/ 5098 w 18329"/>
                  <a:gd name="connsiteY2" fmla="*/ 17489 h 18459"/>
                  <a:gd name="connsiteX3" fmla="*/ 971 w 18329"/>
                  <a:gd name="connsiteY3" fmla="*/ 5109 h 18459"/>
                  <a:gd name="connsiteX4" fmla="*/ 13231 w 18329"/>
                  <a:gd name="connsiteY4" fmla="*/ 982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9">
                    <a:moveTo>
                      <a:pt x="13231" y="982"/>
                    </a:moveTo>
                    <a:cubicBezTo>
                      <a:pt x="17777" y="3255"/>
                      <a:pt x="19631" y="8817"/>
                      <a:pt x="17358" y="13362"/>
                    </a:cubicBezTo>
                    <a:cubicBezTo>
                      <a:pt x="15086" y="17907"/>
                      <a:pt x="9583" y="19761"/>
                      <a:pt x="5098" y="17489"/>
                    </a:cubicBezTo>
                    <a:cubicBezTo>
                      <a:pt x="552" y="15216"/>
                      <a:pt x="-1302" y="9654"/>
                      <a:pt x="971" y="5109"/>
                    </a:cubicBezTo>
                    <a:cubicBezTo>
                      <a:pt x="3244" y="503"/>
                      <a:pt x="8746" y="-1291"/>
                      <a:pt x="13231" y="982"/>
                    </a:cubicBezTo>
                    <a:close/>
                  </a:path>
                </a:pathLst>
              </a:custGeom>
              <a:grpFill/>
              <a:ln w="5978" cap="flat">
                <a:noFill/>
                <a:prstDash val="solid"/>
                <a:miter/>
              </a:ln>
            </p:spPr>
            <p:txBody>
              <a:bodyPr rtlCol="0" anchor="ctr"/>
              <a:lstStyle/>
              <a:p>
                <a:endParaRPr lang="en-GB"/>
              </a:p>
            </p:txBody>
          </p:sp>
          <p:sp>
            <p:nvSpPr>
              <p:cNvPr id="2336" name="Vrije vorm: vorm 2335">
                <a:extLst>
                  <a:ext uri="{FF2B5EF4-FFF2-40B4-BE49-F238E27FC236}">
                    <a16:creationId xmlns:a16="http://schemas.microsoft.com/office/drawing/2014/main" id="{0A114325-24F3-4EB1-83A4-C71EBECA097C}"/>
                  </a:ext>
                </a:extLst>
              </p:cNvPr>
              <p:cNvSpPr/>
              <p:nvPr/>
            </p:nvSpPr>
            <p:spPr>
              <a:xfrm>
                <a:off x="4189142" y="2473832"/>
                <a:ext cx="18329" cy="18449"/>
              </a:xfrm>
              <a:custGeom>
                <a:avLst/>
                <a:gdLst>
                  <a:gd name="connsiteX0" fmla="*/ 13231 w 18329"/>
                  <a:gd name="connsiteY0" fmla="*/ 971 h 18449"/>
                  <a:gd name="connsiteX1" fmla="*/ 971 w 18329"/>
                  <a:gd name="connsiteY1" fmla="*/ 5098 h 18449"/>
                  <a:gd name="connsiteX2" fmla="*/ 5098 w 18329"/>
                  <a:gd name="connsiteY2" fmla="*/ 17478 h 18449"/>
                  <a:gd name="connsiteX3" fmla="*/ 17358 w 18329"/>
                  <a:gd name="connsiteY3" fmla="*/ 13351 h 18449"/>
                  <a:gd name="connsiteX4" fmla="*/ 13231 w 18329"/>
                  <a:gd name="connsiteY4" fmla="*/ 971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13231" y="971"/>
                    </a:moveTo>
                    <a:cubicBezTo>
                      <a:pt x="8686" y="-1302"/>
                      <a:pt x="3184" y="552"/>
                      <a:pt x="971" y="5098"/>
                    </a:cubicBezTo>
                    <a:cubicBezTo>
                      <a:pt x="-1302" y="9643"/>
                      <a:pt x="552" y="15205"/>
                      <a:pt x="5098" y="17478"/>
                    </a:cubicBezTo>
                    <a:cubicBezTo>
                      <a:pt x="9643" y="19751"/>
                      <a:pt x="15145" y="17897"/>
                      <a:pt x="17358" y="13351"/>
                    </a:cubicBezTo>
                    <a:cubicBezTo>
                      <a:pt x="19631" y="8806"/>
                      <a:pt x="17777" y="3244"/>
                      <a:pt x="13231" y="971"/>
                    </a:cubicBezTo>
                    <a:close/>
                  </a:path>
                </a:pathLst>
              </a:custGeom>
              <a:grpFill/>
              <a:ln w="5978" cap="flat">
                <a:noFill/>
                <a:prstDash val="solid"/>
                <a:miter/>
              </a:ln>
            </p:spPr>
            <p:txBody>
              <a:bodyPr rtlCol="0" anchor="ctr"/>
              <a:lstStyle/>
              <a:p>
                <a:endParaRPr lang="en-GB"/>
              </a:p>
            </p:txBody>
          </p:sp>
        </p:grpSp>
        <p:grpSp>
          <p:nvGrpSpPr>
            <p:cNvPr id="1023" name="Graphic 3">
              <a:extLst>
                <a:ext uri="{FF2B5EF4-FFF2-40B4-BE49-F238E27FC236}">
                  <a16:creationId xmlns:a16="http://schemas.microsoft.com/office/drawing/2014/main" id="{54418466-DA3B-4A3A-87F4-7CE978006B46}"/>
                </a:ext>
              </a:extLst>
            </p:cNvPr>
            <p:cNvGrpSpPr/>
            <p:nvPr/>
          </p:nvGrpSpPr>
          <p:grpSpPr>
            <a:xfrm>
              <a:off x="4999835" y="4798319"/>
              <a:ext cx="123817" cy="174385"/>
              <a:chOff x="4999835" y="4798319"/>
              <a:chExt cx="123817" cy="174385"/>
            </a:xfrm>
            <a:grpFill/>
          </p:grpSpPr>
          <p:sp>
            <p:nvSpPr>
              <p:cNvPr id="2331" name="Vrije vorm: vorm 2330">
                <a:extLst>
                  <a:ext uri="{FF2B5EF4-FFF2-40B4-BE49-F238E27FC236}">
                    <a16:creationId xmlns:a16="http://schemas.microsoft.com/office/drawing/2014/main" id="{60E0E490-1F3C-4B91-9025-CC7578CDA72A}"/>
                  </a:ext>
                </a:extLst>
              </p:cNvPr>
              <p:cNvSpPr/>
              <p:nvPr/>
            </p:nvSpPr>
            <p:spPr>
              <a:xfrm>
                <a:off x="5007439" y="4806267"/>
                <a:ext cx="108550" cy="158489"/>
              </a:xfrm>
              <a:custGeom>
                <a:avLst/>
                <a:gdLst>
                  <a:gd name="connsiteX0" fmla="*/ 108550 w 108550"/>
                  <a:gd name="connsiteY0" fmla="*/ 1735 h 158489"/>
                  <a:gd name="connsiteX1" fmla="*/ 2572 w 108550"/>
                  <a:gd name="connsiteY1" fmla="*/ 158489 h 158489"/>
                  <a:gd name="connsiteX2" fmla="*/ 0 w 108550"/>
                  <a:gd name="connsiteY2" fmla="*/ 156755 h 158489"/>
                  <a:gd name="connsiteX3" fmla="*/ 106038 w 108550"/>
                  <a:gd name="connsiteY3" fmla="*/ 0 h 158489"/>
                </a:gdLst>
                <a:ahLst/>
                <a:cxnLst>
                  <a:cxn ang="0">
                    <a:pos x="connsiteX0" y="connsiteY0"/>
                  </a:cxn>
                  <a:cxn ang="0">
                    <a:pos x="connsiteX1" y="connsiteY1"/>
                  </a:cxn>
                  <a:cxn ang="0">
                    <a:pos x="connsiteX2" y="connsiteY2"/>
                  </a:cxn>
                  <a:cxn ang="0">
                    <a:pos x="connsiteX3" y="connsiteY3"/>
                  </a:cxn>
                </a:cxnLst>
                <a:rect l="l" t="t" r="r" b="b"/>
                <a:pathLst>
                  <a:path w="108550" h="158489">
                    <a:moveTo>
                      <a:pt x="108550" y="1735"/>
                    </a:moveTo>
                    <a:lnTo>
                      <a:pt x="2572" y="158489"/>
                    </a:lnTo>
                    <a:lnTo>
                      <a:pt x="0" y="156755"/>
                    </a:lnTo>
                    <a:lnTo>
                      <a:pt x="106038" y="0"/>
                    </a:lnTo>
                    <a:close/>
                  </a:path>
                </a:pathLst>
              </a:custGeom>
              <a:grpFill/>
              <a:ln w="5978" cap="flat">
                <a:noFill/>
                <a:prstDash val="solid"/>
                <a:miter/>
              </a:ln>
            </p:spPr>
            <p:txBody>
              <a:bodyPr rtlCol="0" anchor="ctr"/>
              <a:lstStyle/>
              <a:p>
                <a:endParaRPr lang="en-GB"/>
              </a:p>
            </p:txBody>
          </p:sp>
          <p:sp>
            <p:nvSpPr>
              <p:cNvPr id="2332" name="Vrije vorm: vorm 2331">
                <a:extLst>
                  <a:ext uri="{FF2B5EF4-FFF2-40B4-BE49-F238E27FC236}">
                    <a16:creationId xmlns:a16="http://schemas.microsoft.com/office/drawing/2014/main" id="{4E233B90-FD64-40A0-8701-0FB7ED523BF6}"/>
                  </a:ext>
                </a:extLst>
              </p:cNvPr>
              <p:cNvSpPr/>
              <p:nvPr/>
            </p:nvSpPr>
            <p:spPr>
              <a:xfrm>
                <a:off x="4999835" y="4954296"/>
                <a:ext cx="18317" cy="18408"/>
              </a:xfrm>
              <a:custGeom>
                <a:avLst/>
                <a:gdLst>
                  <a:gd name="connsiteX0" fmla="*/ 16754 w 18317"/>
                  <a:gd name="connsiteY0" fmla="*/ 14407 h 18408"/>
                  <a:gd name="connsiteX1" fmla="*/ 4015 w 18317"/>
                  <a:gd name="connsiteY1" fmla="*/ 16799 h 18408"/>
                  <a:gd name="connsiteX2" fmla="*/ 1563 w 18317"/>
                  <a:gd name="connsiteY2" fmla="*/ 4001 h 18408"/>
                  <a:gd name="connsiteX3" fmla="*/ 14302 w 18317"/>
                  <a:gd name="connsiteY3" fmla="*/ 1609 h 18408"/>
                  <a:gd name="connsiteX4" fmla="*/ 16754 w 1831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08">
                    <a:moveTo>
                      <a:pt x="16754" y="14407"/>
                    </a:moveTo>
                    <a:cubicBezTo>
                      <a:pt x="13943" y="18594"/>
                      <a:pt x="8202" y="19670"/>
                      <a:pt x="4015" y="16799"/>
                    </a:cubicBezTo>
                    <a:cubicBezTo>
                      <a:pt x="-171" y="13929"/>
                      <a:pt x="-1248" y="8187"/>
                      <a:pt x="1563" y="4001"/>
                    </a:cubicBezTo>
                    <a:cubicBezTo>
                      <a:pt x="4434" y="-186"/>
                      <a:pt x="10116" y="-1262"/>
                      <a:pt x="14302" y="1609"/>
                    </a:cubicBezTo>
                    <a:cubicBezTo>
                      <a:pt x="18489" y="4479"/>
                      <a:pt x="19565" y="10221"/>
                      <a:pt x="16754" y="14407"/>
                    </a:cubicBezTo>
                    <a:close/>
                  </a:path>
                </a:pathLst>
              </a:custGeom>
              <a:grpFill/>
              <a:ln w="5978" cap="flat">
                <a:noFill/>
                <a:prstDash val="solid"/>
                <a:miter/>
              </a:ln>
            </p:spPr>
            <p:txBody>
              <a:bodyPr rtlCol="0" anchor="ctr"/>
              <a:lstStyle/>
              <a:p>
                <a:endParaRPr lang="en-GB"/>
              </a:p>
            </p:txBody>
          </p:sp>
          <p:sp>
            <p:nvSpPr>
              <p:cNvPr id="2333" name="Vrije vorm: vorm 2332">
                <a:extLst>
                  <a:ext uri="{FF2B5EF4-FFF2-40B4-BE49-F238E27FC236}">
                    <a16:creationId xmlns:a16="http://schemas.microsoft.com/office/drawing/2014/main" id="{A57AC597-C260-48DF-B3E3-252773934A96}"/>
                  </a:ext>
                </a:extLst>
              </p:cNvPr>
              <p:cNvSpPr/>
              <p:nvPr/>
            </p:nvSpPr>
            <p:spPr>
              <a:xfrm>
                <a:off x="5105309" y="4798319"/>
                <a:ext cx="18343" cy="18408"/>
              </a:xfrm>
              <a:custGeom>
                <a:avLst/>
                <a:gdLst>
                  <a:gd name="connsiteX0" fmla="*/ 16780 w 18343"/>
                  <a:gd name="connsiteY0" fmla="*/ 14407 h 18408"/>
                  <a:gd name="connsiteX1" fmla="*/ 14328 w 18343"/>
                  <a:gd name="connsiteY1" fmla="*/ 1609 h 18408"/>
                  <a:gd name="connsiteX2" fmla="*/ 1589 w 18343"/>
                  <a:gd name="connsiteY2" fmla="*/ 4001 h 18408"/>
                  <a:gd name="connsiteX3" fmla="*/ 4041 w 18343"/>
                  <a:gd name="connsiteY3" fmla="*/ 16800 h 18408"/>
                  <a:gd name="connsiteX4" fmla="*/ 16780 w 18343"/>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6780" y="14407"/>
                    </a:moveTo>
                    <a:cubicBezTo>
                      <a:pt x="19592" y="10221"/>
                      <a:pt x="18515" y="4480"/>
                      <a:pt x="14328" y="1609"/>
                    </a:cubicBezTo>
                    <a:cubicBezTo>
                      <a:pt x="10142" y="-1262"/>
                      <a:pt x="4460" y="-186"/>
                      <a:pt x="1589" y="4001"/>
                    </a:cubicBezTo>
                    <a:cubicBezTo>
                      <a:pt x="-1281" y="8188"/>
                      <a:pt x="-145" y="13929"/>
                      <a:pt x="4041" y="16800"/>
                    </a:cubicBezTo>
                    <a:cubicBezTo>
                      <a:pt x="8228" y="19670"/>
                      <a:pt x="13910" y="18594"/>
                      <a:pt x="16780" y="14407"/>
                    </a:cubicBezTo>
                    <a:close/>
                  </a:path>
                </a:pathLst>
              </a:custGeom>
              <a:grpFill/>
              <a:ln w="5978" cap="flat">
                <a:noFill/>
                <a:prstDash val="solid"/>
                <a:miter/>
              </a:ln>
            </p:spPr>
            <p:txBody>
              <a:bodyPr rtlCol="0" anchor="ctr"/>
              <a:lstStyle/>
              <a:p>
                <a:endParaRPr lang="en-GB"/>
              </a:p>
            </p:txBody>
          </p:sp>
        </p:grpSp>
        <p:grpSp>
          <p:nvGrpSpPr>
            <p:cNvPr id="1024" name="Graphic 3">
              <a:extLst>
                <a:ext uri="{FF2B5EF4-FFF2-40B4-BE49-F238E27FC236}">
                  <a16:creationId xmlns:a16="http://schemas.microsoft.com/office/drawing/2014/main" id="{43ED4AD8-70A4-424F-B705-C8963E284F9C}"/>
                </a:ext>
              </a:extLst>
            </p:cNvPr>
            <p:cNvGrpSpPr/>
            <p:nvPr/>
          </p:nvGrpSpPr>
          <p:grpSpPr>
            <a:xfrm>
              <a:off x="4268544" y="2595388"/>
              <a:ext cx="51745" cy="33610"/>
              <a:chOff x="4268544" y="2595388"/>
              <a:chExt cx="51745" cy="33610"/>
            </a:xfrm>
            <a:grpFill/>
          </p:grpSpPr>
          <p:sp>
            <p:nvSpPr>
              <p:cNvPr id="2328" name="Vrije vorm: vorm 2327">
                <a:extLst>
                  <a:ext uri="{FF2B5EF4-FFF2-40B4-BE49-F238E27FC236}">
                    <a16:creationId xmlns:a16="http://schemas.microsoft.com/office/drawing/2014/main" id="{A4E39B11-62E3-4339-9A39-A7A301F10897}"/>
                  </a:ext>
                </a:extLst>
              </p:cNvPr>
              <p:cNvSpPr/>
              <p:nvPr/>
            </p:nvSpPr>
            <p:spPr>
              <a:xfrm>
                <a:off x="4276714" y="2602970"/>
                <a:ext cx="35405" cy="18420"/>
              </a:xfrm>
              <a:custGeom>
                <a:avLst/>
                <a:gdLst>
                  <a:gd name="connsiteX0" fmla="*/ 35406 w 35405"/>
                  <a:gd name="connsiteY0" fmla="*/ 15670 h 18420"/>
                  <a:gd name="connsiteX1" fmla="*/ 34150 w 35405"/>
                  <a:gd name="connsiteY1" fmla="*/ 18421 h 18420"/>
                  <a:gd name="connsiteX2" fmla="*/ 0 w 35405"/>
                  <a:gd name="connsiteY2" fmla="*/ 2811 h 18420"/>
                  <a:gd name="connsiteX3" fmla="*/ 1256 w 35405"/>
                  <a:gd name="connsiteY3" fmla="*/ 0 h 18420"/>
                </a:gdLst>
                <a:ahLst/>
                <a:cxnLst>
                  <a:cxn ang="0">
                    <a:pos x="connsiteX0" y="connsiteY0"/>
                  </a:cxn>
                  <a:cxn ang="0">
                    <a:pos x="connsiteX1" y="connsiteY1"/>
                  </a:cxn>
                  <a:cxn ang="0">
                    <a:pos x="connsiteX2" y="connsiteY2"/>
                  </a:cxn>
                  <a:cxn ang="0">
                    <a:pos x="connsiteX3" y="connsiteY3"/>
                  </a:cxn>
                </a:cxnLst>
                <a:rect l="l" t="t" r="r" b="b"/>
                <a:pathLst>
                  <a:path w="35405" h="18420">
                    <a:moveTo>
                      <a:pt x="35406" y="15670"/>
                    </a:moveTo>
                    <a:lnTo>
                      <a:pt x="34150" y="18421"/>
                    </a:lnTo>
                    <a:lnTo>
                      <a:pt x="0" y="2811"/>
                    </a:lnTo>
                    <a:lnTo>
                      <a:pt x="1256" y="0"/>
                    </a:lnTo>
                    <a:close/>
                  </a:path>
                </a:pathLst>
              </a:custGeom>
              <a:grpFill/>
              <a:ln w="5978" cap="flat">
                <a:noFill/>
                <a:prstDash val="solid"/>
                <a:miter/>
              </a:ln>
            </p:spPr>
            <p:txBody>
              <a:bodyPr rtlCol="0" anchor="ctr"/>
              <a:lstStyle/>
              <a:p>
                <a:endParaRPr lang="en-GB"/>
              </a:p>
            </p:txBody>
          </p:sp>
          <p:sp>
            <p:nvSpPr>
              <p:cNvPr id="2329" name="Vrije vorm: vorm 2328">
                <a:extLst>
                  <a:ext uri="{FF2B5EF4-FFF2-40B4-BE49-F238E27FC236}">
                    <a16:creationId xmlns:a16="http://schemas.microsoft.com/office/drawing/2014/main" id="{F253AFCB-E057-4F66-A899-30C1CA96D6D5}"/>
                  </a:ext>
                </a:extLst>
              </p:cNvPr>
              <p:cNvSpPr/>
              <p:nvPr/>
            </p:nvSpPr>
            <p:spPr>
              <a:xfrm>
                <a:off x="4301917" y="2610579"/>
                <a:ext cx="18372" cy="18419"/>
              </a:xfrm>
              <a:custGeom>
                <a:avLst/>
                <a:gdLst>
                  <a:gd name="connsiteX0" fmla="*/ 12954 w 18372"/>
                  <a:gd name="connsiteY0" fmla="*/ 824 h 18419"/>
                  <a:gd name="connsiteX1" fmla="*/ 17560 w 18372"/>
                  <a:gd name="connsiteY1" fmla="*/ 13024 h 18419"/>
                  <a:gd name="connsiteX2" fmla="*/ 5419 w 18372"/>
                  <a:gd name="connsiteY2" fmla="*/ 17570 h 18419"/>
                  <a:gd name="connsiteX3" fmla="*/ 813 w 18372"/>
                  <a:gd name="connsiteY3" fmla="*/ 5369 h 18419"/>
                  <a:gd name="connsiteX4" fmla="*/ 12954 w 18372"/>
                  <a:gd name="connsiteY4" fmla="*/ 82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19">
                    <a:moveTo>
                      <a:pt x="12954" y="824"/>
                    </a:moveTo>
                    <a:cubicBezTo>
                      <a:pt x="17560" y="2917"/>
                      <a:pt x="19653" y="8419"/>
                      <a:pt x="17560" y="13024"/>
                    </a:cubicBezTo>
                    <a:cubicBezTo>
                      <a:pt x="15466" y="17629"/>
                      <a:pt x="10024" y="19723"/>
                      <a:pt x="5419" y="17570"/>
                    </a:cubicBezTo>
                    <a:cubicBezTo>
                      <a:pt x="813" y="15476"/>
                      <a:pt x="-1280" y="9974"/>
                      <a:pt x="813" y="5369"/>
                    </a:cubicBezTo>
                    <a:cubicBezTo>
                      <a:pt x="2907" y="764"/>
                      <a:pt x="8349" y="-1269"/>
                      <a:pt x="12954" y="824"/>
                    </a:cubicBezTo>
                    <a:close/>
                  </a:path>
                </a:pathLst>
              </a:custGeom>
              <a:grpFill/>
              <a:ln w="5978" cap="flat">
                <a:noFill/>
                <a:prstDash val="solid"/>
                <a:miter/>
              </a:ln>
            </p:spPr>
            <p:txBody>
              <a:bodyPr rtlCol="0" anchor="ctr"/>
              <a:lstStyle/>
              <a:p>
                <a:endParaRPr lang="en-GB"/>
              </a:p>
            </p:txBody>
          </p:sp>
          <p:sp>
            <p:nvSpPr>
              <p:cNvPr id="2330" name="Vrije vorm: vorm 2329">
                <a:extLst>
                  <a:ext uri="{FF2B5EF4-FFF2-40B4-BE49-F238E27FC236}">
                    <a16:creationId xmlns:a16="http://schemas.microsoft.com/office/drawing/2014/main" id="{CB3153D9-871B-451E-81AF-F2756B8C48CC}"/>
                  </a:ext>
                </a:extLst>
              </p:cNvPr>
              <p:cNvSpPr/>
              <p:nvPr/>
            </p:nvSpPr>
            <p:spPr>
              <a:xfrm>
                <a:off x="4268544" y="2595388"/>
                <a:ext cx="18381" cy="18393"/>
              </a:xfrm>
              <a:custGeom>
                <a:avLst/>
                <a:gdLst>
                  <a:gd name="connsiteX0" fmla="*/ 12954 w 18381"/>
                  <a:gd name="connsiteY0" fmla="*/ 824 h 18393"/>
                  <a:gd name="connsiteX1" fmla="*/ 813 w 18381"/>
                  <a:gd name="connsiteY1" fmla="*/ 5369 h 18393"/>
                  <a:gd name="connsiteX2" fmla="*/ 5418 w 18381"/>
                  <a:gd name="connsiteY2" fmla="*/ 17570 h 18393"/>
                  <a:gd name="connsiteX3" fmla="*/ 17559 w 18381"/>
                  <a:gd name="connsiteY3" fmla="*/ 13024 h 18393"/>
                  <a:gd name="connsiteX4" fmla="*/ 12954 w 18381"/>
                  <a:gd name="connsiteY4" fmla="*/ 824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393">
                    <a:moveTo>
                      <a:pt x="12954" y="824"/>
                    </a:moveTo>
                    <a:cubicBezTo>
                      <a:pt x="8349" y="-1270"/>
                      <a:pt x="2907" y="764"/>
                      <a:pt x="813" y="5369"/>
                    </a:cubicBezTo>
                    <a:cubicBezTo>
                      <a:pt x="-1280" y="9974"/>
                      <a:pt x="813" y="15476"/>
                      <a:pt x="5418" y="17570"/>
                    </a:cubicBezTo>
                    <a:cubicBezTo>
                      <a:pt x="10024" y="19663"/>
                      <a:pt x="15466" y="17630"/>
                      <a:pt x="17559" y="13024"/>
                    </a:cubicBezTo>
                    <a:cubicBezTo>
                      <a:pt x="19652" y="8419"/>
                      <a:pt x="17619" y="2917"/>
                      <a:pt x="12954" y="824"/>
                    </a:cubicBezTo>
                    <a:close/>
                  </a:path>
                </a:pathLst>
              </a:custGeom>
              <a:grpFill/>
              <a:ln w="5978" cap="flat">
                <a:noFill/>
                <a:prstDash val="solid"/>
                <a:miter/>
              </a:ln>
            </p:spPr>
            <p:txBody>
              <a:bodyPr rtlCol="0" anchor="ctr"/>
              <a:lstStyle/>
              <a:p>
                <a:endParaRPr lang="en-GB"/>
              </a:p>
            </p:txBody>
          </p:sp>
        </p:grpSp>
        <p:grpSp>
          <p:nvGrpSpPr>
            <p:cNvPr id="1025" name="Graphic 3">
              <a:extLst>
                <a:ext uri="{FF2B5EF4-FFF2-40B4-BE49-F238E27FC236}">
                  <a16:creationId xmlns:a16="http://schemas.microsoft.com/office/drawing/2014/main" id="{F322751A-7FF8-453F-BD5D-279F029CE9BD}"/>
                </a:ext>
              </a:extLst>
            </p:cNvPr>
            <p:cNvGrpSpPr/>
            <p:nvPr/>
          </p:nvGrpSpPr>
          <p:grpSpPr>
            <a:xfrm>
              <a:off x="3901507" y="2227421"/>
              <a:ext cx="660403" cy="407025"/>
              <a:chOff x="3901507" y="2227421"/>
              <a:chExt cx="660403" cy="407025"/>
            </a:xfrm>
            <a:grpFill/>
          </p:grpSpPr>
          <p:sp>
            <p:nvSpPr>
              <p:cNvPr id="2325" name="Vrije vorm: vorm 2324">
                <a:extLst>
                  <a:ext uri="{FF2B5EF4-FFF2-40B4-BE49-F238E27FC236}">
                    <a16:creationId xmlns:a16="http://schemas.microsoft.com/office/drawing/2014/main" id="{6920BDFF-FD48-4531-AEA2-FAA4AB9BD2AC}"/>
                  </a:ext>
                </a:extLst>
              </p:cNvPr>
              <p:cNvSpPr/>
              <p:nvPr/>
            </p:nvSpPr>
            <p:spPr>
              <a:xfrm>
                <a:off x="3909498" y="2235096"/>
                <a:ext cx="644362" cy="391737"/>
              </a:xfrm>
              <a:custGeom>
                <a:avLst/>
                <a:gdLst>
                  <a:gd name="connsiteX0" fmla="*/ 644363 w 644362"/>
                  <a:gd name="connsiteY0" fmla="*/ 389106 h 391737"/>
                  <a:gd name="connsiteX1" fmla="*/ 642808 w 644362"/>
                  <a:gd name="connsiteY1" fmla="*/ 391737 h 391737"/>
                  <a:gd name="connsiteX2" fmla="*/ 0 w 644362"/>
                  <a:gd name="connsiteY2" fmla="*/ 2631 h 391737"/>
                  <a:gd name="connsiteX3" fmla="*/ 1555 w 644362"/>
                  <a:gd name="connsiteY3" fmla="*/ 0 h 391737"/>
                </a:gdLst>
                <a:ahLst/>
                <a:cxnLst>
                  <a:cxn ang="0">
                    <a:pos x="connsiteX0" y="connsiteY0"/>
                  </a:cxn>
                  <a:cxn ang="0">
                    <a:pos x="connsiteX1" y="connsiteY1"/>
                  </a:cxn>
                  <a:cxn ang="0">
                    <a:pos x="connsiteX2" y="connsiteY2"/>
                  </a:cxn>
                  <a:cxn ang="0">
                    <a:pos x="connsiteX3" y="connsiteY3"/>
                  </a:cxn>
                </a:cxnLst>
                <a:rect l="l" t="t" r="r" b="b"/>
                <a:pathLst>
                  <a:path w="644362" h="391737">
                    <a:moveTo>
                      <a:pt x="644363" y="389106"/>
                    </a:moveTo>
                    <a:lnTo>
                      <a:pt x="642808" y="391737"/>
                    </a:lnTo>
                    <a:lnTo>
                      <a:pt x="0" y="2631"/>
                    </a:lnTo>
                    <a:lnTo>
                      <a:pt x="1555" y="0"/>
                    </a:lnTo>
                    <a:close/>
                  </a:path>
                </a:pathLst>
              </a:custGeom>
              <a:grpFill/>
              <a:ln w="5978" cap="flat">
                <a:noFill/>
                <a:prstDash val="solid"/>
                <a:miter/>
              </a:ln>
            </p:spPr>
            <p:txBody>
              <a:bodyPr rtlCol="0" anchor="ctr"/>
              <a:lstStyle/>
              <a:p>
                <a:endParaRPr lang="en-GB"/>
              </a:p>
            </p:txBody>
          </p:sp>
          <p:sp>
            <p:nvSpPr>
              <p:cNvPr id="2326" name="Vrije vorm: vorm 2325">
                <a:extLst>
                  <a:ext uri="{FF2B5EF4-FFF2-40B4-BE49-F238E27FC236}">
                    <a16:creationId xmlns:a16="http://schemas.microsoft.com/office/drawing/2014/main" id="{7ECCAB7D-2D9D-4D3F-BA0D-74346003A523}"/>
                  </a:ext>
                </a:extLst>
              </p:cNvPr>
              <p:cNvSpPr/>
              <p:nvPr/>
            </p:nvSpPr>
            <p:spPr>
              <a:xfrm>
                <a:off x="4543598" y="2616049"/>
                <a:ext cx="18313" cy="18398"/>
              </a:xfrm>
              <a:custGeom>
                <a:avLst/>
                <a:gdLst>
                  <a:gd name="connsiteX0" fmla="*/ 13851 w 18313"/>
                  <a:gd name="connsiteY0" fmla="*/ 1335 h 18398"/>
                  <a:gd name="connsiteX1" fmla="*/ 17021 w 18313"/>
                  <a:gd name="connsiteY1" fmla="*/ 13954 h 18398"/>
                  <a:gd name="connsiteX2" fmla="*/ 4462 w 18313"/>
                  <a:gd name="connsiteY2" fmla="*/ 17064 h 18398"/>
                  <a:gd name="connsiteX3" fmla="*/ 1292 w 18313"/>
                  <a:gd name="connsiteY3" fmla="*/ 4445 h 18398"/>
                  <a:gd name="connsiteX4" fmla="*/ 13851 w 18313"/>
                  <a:gd name="connsiteY4" fmla="*/ 133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98">
                    <a:moveTo>
                      <a:pt x="13851" y="1335"/>
                    </a:moveTo>
                    <a:cubicBezTo>
                      <a:pt x="18217" y="3966"/>
                      <a:pt x="19593" y="9648"/>
                      <a:pt x="17021" y="13954"/>
                    </a:cubicBezTo>
                    <a:cubicBezTo>
                      <a:pt x="14449" y="18320"/>
                      <a:pt x="8768" y="19695"/>
                      <a:pt x="4462" y="17064"/>
                    </a:cubicBezTo>
                    <a:cubicBezTo>
                      <a:pt x="96" y="14432"/>
                      <a:pt x="-1280" y="8751"/>
                      <a:pt x="1292" y="4445"/>
                    </a:cubicBezTo>
                    <a:cubicBezTo>
                      <a:pt x="3864" y="79"/>
                      <a:pt x="9486" y="-1297"/>
                      <a:pt x="13851" y="1335"/>
                    </a:cubicBezTo>
                    <a:close/>
                  </a:path>
                </a:pathLst>
              </a:custGeom>
              <a:grpFill/>
              <a:ln w="5978" cap="flat">
                <a:noFill/>
                <a:prstDash val="solid"/>
                <a:miter/>
              </a:ln>
            </p:spPr>
            <p:txBody>
              <a:bodyPr rtlCol="0" anchor="ctr"/>
              <a:lstStyle/>
              <a:p>
                <a:endParaRPr lang="en-GB"/>
              </a:p>
            </p:txBody>
          </p:sp>
          <p:sp>
            <p:nvSpPr>
              <p:cNvPr id="2327" name="Vrije vorm: vorm 2326">
                <a:extLst>
                  <a:ext uri="{FF2B5EF4-FFF2-40B4-BE49-F238E27FC236}">
                    <a16:creationId xmlns:a16="http://schemas.microsoft.com/office/drawing/2014/main" id="{DC5C7BEA-1FF7-42A7-9C7B-4661EC623A7A}"/>
                  </a:ext>
                </a:extLst>
              </p:cNvPr>
              <p:cNvSpPr/>
              <p:nvPr/>
            </p:nvSpPr>
            <p:spPr>
              <a:xfrm>
                <a:off x="3901507" y="2227421"/>
                <a:ext cx="18339" cy="18398"/>
              </a:xfrm>
              <a:custGeom>
                <a:avLst/>
                <a:gdLst>
                  <a:gd name="connsiteX0" fmla="*/ 13852 w 18339"/>
                  <a:gd name="connsiteY0" fmla="*/ 1335 h 18398"/>
                  <a:gd name="connsiteX1" fmla="*/ 1292 w 18339"/>
                  <a:gd name="connsiteY1" fmla="*/ 4445 h 18398"/>
                  <a:gd name="connsiteX2" fmla="*/ 4462 w 18339"/>
                  <a:gd name="connsiteY2" fmla="*/ 17064 h 18398"/>
                  <a:gd name="connsiteX3" fmla="*/ 17021 w 18339"/>
                  <a:gd name="connsiteY3" fmla="*/ 13954 h 18398"/>
                  <a:gd name="connsiteX4" fmla="*/ 13852 w 18339"/>
                  <a:gd name="connsiteY4" fmla="*/ 133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3852" y="1335"/>
                    </a:moveTo>
                    <a:cubicBezTo>
                      <a:pt x="9485" y="-1297"/>
                      <a:pt x="3863" y="79"/>
                      <a:pt x="1292" y="4445"/>
                    </a:cubicBezTo>
                    <a:cubicBezTo>
                      <a:pt x="-1280" y="8810"/>
                      <a:pt x="96" y="14492"/>
                      <a:pt x="4462" y="17064"/>
                    </a:cubicBezTo>
                    <a:cubicBezTo>
                      <a:pt x="8828" y="19695"/>
                      <a:pt x="14449" y="18320"/>
                      <a:pt x="17021" y="13954"/>
                    </a:cubicBezTo>
                    <a:cubicBezTo>
                      <a:pt x="19653" y="9648"/>
                      <a:pt x="18217" y="3966"/>
                      <a:pt x="13852" y="1335"/>
                    </a:cubicBezTo>
                    <a:close/>
                  </a:path>
                </a:pathLst>
              </a:custGeom>
              <a:grpFill/>
              <a:ln w="5978" cap="flat">
                <a:noFill/>
                <a:prstDash val="solid"/>
                <a:miter/>
              </a:ln>
            </p:spPr>
            <p:txBody>
              <a:bodyPr rtlCol="0" anchor="ctr"/>
              <a:lstStyle/>
              <a:p>
                <a:endParaRPr lang="en-GB"/>
              </a:p>
            </p:txBody>
          </p:sp>
        </p:grpSp>
        <p:grpSp>
          <p:nvGrpSpPr>
            <p:cNvPr id="1026" name="Graphic 3">
              <a:extLst>
                <a:ext uri="{FF2B5EF4-FFF2-40B4-BE49-F238E27FC236}">
                  <a16:creationId xmlns:a16="http://schemas.microsoft.com/office/drawing/2014/main" id="{E91F5811-8365-4CF5-85F1-8DAEC0A46A36}"/>
                </a:ext>
              </a:extLst>
            </p:cNvPr>
            <p:cNvGrpSpPr/>
            <p:nvPr/>
          </p:nvGrpSpPr>
          <p:grpSpPr>
            <a:xfrm>
              <a:off x="3922934" y="2133540"/>
              <a:ext cx="507803" cy="312199"/>
              <a:chOff x="3922934" y="2133540"/>
              <a:chExt cx="507803" cy="312199"/>
            </a:xfrm>
            <a:grpFill/>
          </p:grpSpPr>
          <p:sp>
            <p:nvSpPr>
              <p:cNvPr id="2322" name="Vrije vorm: vorm 2321">
                <a:extLst>
                  <a:ext uri="{FF2B5EF4-FFF2-40B4-BE49-F238E27FC236}">
                    <a16:creationId xmlns:a16="http://schemas.microsoft.com/office/drawing/2014/main" id="{AB565B47-6986-435B-9FE9-27F17143469B}"/>
                  </a:ext>
                </a:extLst>
              </p:cNvPr>
              <p:cNvSpPr/>
              <p:nvPr/>
            </p:nvSpPr>
            <p:spPr>
              <a:xfrm>
                <a:off x="3930969" y="2141198"/>
                <a:ext cx="491794" cy="296883"/>
              </a:xfrm>
              <a:custGeom>
                <a:avLst/>
                <a:gdLst>
                  <a:gd name="connsiteX0" fmla="*/ 491795 w 491794"/>
                  <a:gd name="connsiteY0" fmla="*/ 294252 h 296883"/>
                  <a:gd name="connsiteX1" fmla="*/ 490240 w 491794"/>
                  <a:gd name="connsiteY1" fmla="*/ 296883 h 296883"/>
                  <a:gd name="connsiteX2" fmla="*/ 0 w 491794"/>
                  <a:gd name="connsiteY2" fmla="*/ 2632 h 296883"/>
                  <a:gd name="connsiteX3" fmla="*/ 1555 w 491794"/>
                  <a:gd name="connsiteY3" fmla="*/ 0 h 296883"/>
                </a:gdLst>
                <a:ahLst/>
                <a:cxnLst>
                  <a:cxn ang="0">
                    <a:pos x="connsiteX0" y="connsiteY0"/>
                  </a:cxn>
                  <a:cxn ang="0">
                    <a:pos x="connsiteX1" y="connsiteY1"/>
                  </a:cxn>
                  <a:cxn ang="0">
                    <a:pos x="connsiteX2" y="connsiteY2"/>
                  </a:cxn>
                  <a:cxn ang="0">
                    <a:pos x="connsiteX3" y="connsiteY3"/>
                  </a:cxn>
                </a:cxnLst>
                <a:rect l="l" t="t" r="r" b="b"/>
                <a:pathLst>
                  <a:path w="491794" h="296883">
                    <a:moveTo>
                      <a:pt x="491795" y="294252"/>
                    </a:moveTo>
                    <a:lnTo>
                      <a:pt x="490240" y="296883"/>
                    </a:lnTo>
                    <a:lnTo>
                      <a:pt x="0" y="2632"/>
                    </a:lnTo>
                    <a:lnTo>
                      <a:pt x="1555" y="0"/>
                    </a:lnTo>
                    <a:close/>
                  </a:path>
                </a:pathLst>
              </a:custGeom>
              <a:grpFill/>
              <a:ln w="5978" cap="flat">
                <a:noFill/>
                <a:prstDash val="solid"/>
                <a:miter/>
              </a:ln>
            </p:spPr>
            <p:txBody>
              <a:bodyPr rtlCol="0" anchor="ctr"/>
              <a:lstStyle/>
              <a:p>
                <a:endParaRPr lang="en-GB"/>
              </a:p>
            </p:txBody>
          </p:sp>
          <p:sp>
            <p:nvSpPr>
              <p:cNvPr id="2323" name="Vrije vorm: vorm 2322">
                <a:extLst>
                  <a:ext uri="{FF2B5EF4-FFF2-40B4-BE49-F238E27FC236}">
                    <a16:creationId xmlns:a16="http://schemas.microsoft.com/office/drawing/2014/main" id="{E979F29D-BEA1-436D-AAAE-0AE738D9F842}"/>
                  </a:ext>
                </a:extLst>
              </p:cNvPr>
              <p:cNvSpPr/>
              <p:nvPr/>
            </p:nvSpPr>
            <p:spPr>
              <a:xfrm>
                <a:off x="3922934" y="2133540"/>
                <a:ext cx="18341" cy="18425"/>
              </a:xfrm>
              <a:custGeom>
                <a:avLst/>
                <a:gdLst>
                  <a:gd name="connsiteX0" fmla="*/ 4505 w 18341"/>
                  <a:gd name="connsiteY0" fmla="*/ 17108 h 18425"/>
                  <a:gd name="connsiteX1" fmla="*/ 1276 w 18341"/>
                  <a:gd name="connsiteY1" fmla="*/ 4488 h 18425"/>
                  <a:gd name="connsiteX2" fmla="*/ 13835 w 18341"/>
                  <a:gd name="connsiteY2" fmla="*/ 1318 h 18425"/>
                  <a:gd name="connsiteX3" fmla="*/ 17065 w 18341"/>
                  <a:gd name="connsiteY3" fmla="*/ 13938 h 18425"/>
                  <a:gd name="connsiteX4" fmla="*/ 4505 w 1834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4505" y="17108"/>
                    </a:moveTo>
                    <a:cubicBezTo>
                      <a:pt x="140" y="14476"/>
                      <a:pt x="-1296" y="8854"/>
                      <a:pt x="1276" y="4488"/>
                    </a:cubicBezTo>
                    <a:cubicBezTo>
                      <a:pt x="3848" y="122"/>
                      <a:pt x="9470" y="-1313"/>
                      <a:pt x="13835" y="1318"/>
                    </a:cubicBezTo>
                    <a:cubicBezTo>
                      <a:pt x="18202" y="3950"/>
                      <a:pt x="19637" y="9572"/>
                      <a:pt x="17065" y="13938"/>
                    </a:cubicBezTo>
                    <a:cubicBezTo>
                      <a:pt x="14493" y="18304"/>
                      <a:pt x="8872" y="19739"/>
                      <a:pt x="4505" y="17108"/>
                    </a:cubicBezTo>
                    <a:close/>
                  </a:path>
                </a:pathLst>
              </a:custGeom>
              <a:grpFill/>
              <a:ln w="5978" cap="flat">
                <a:noFill/>
                <a:prstDash val="solid"/>
                <a:miter/>
              </a:ln>
            </p:spPr>
            <p:txBody>
              <a:bodyPr rtlCol="0" anchor="ctr"/>
              <a:lstStyle/>
              <a:p>
                <a:endParaRPr lang="en-GB"/>
              </a:p>
            </p:txBody>
          </p:sp>
          <p:sp>
            <p:nvSpPr>
              <p:cNvPr id="2324" name="Vrije vorm: vorm 2323">
                <a:extLst>
                  <a:ext uri="{FF2B5EF4-FFF2-40B4-BE49-F238E27FC236}">
                    <a16:creationId xmlns:a16="http://schemas.microsoft.com/office/drawing/2014/main" id="{2691FCF0-B985-4472-AB8A-9D32A840DB9C}"/>
                  </a:ext>
                </a:extLst>
              </p:cNvPr>
              <p:cNvSpPr/>
              <p:nvPr/>
            </p:nvSpPr>
            <p:spPr>
              <a:xfrm>
                <a:off x="4412397" y="2427313"/>
                <a:ext cx="18340" cy="18425"/>
              </a:xfrm>
              <a:custGeom>
                <a:avLst/>
                <a:gdLst>
                  <a:gd name="connsiteX0" fmla="*/ 4506 w 18340"/>
                  <a:gd name="connsiteY0" fmla="*/ 17108 h 18425"/>
                  <a:gd name="connsiteX1" fmla="*/ 17065 w 18340"/>
                  <a:gd name="connsiteY1" fmla="*/ 13938 h 18425"/>
                  <a:gd name="connsiteX2" fmla="*/ 13835 w 18340"/>
                  <a:gd name="connsiteY2" fmla="*/ 1318 h 18425"/>
                  <a:gd name="connsiteX3" fmla="*/ 1276 w 18340"/>
                  <a:gd name="connsiteY3" fmla="*/ 4488 h 18425"/>
                  <a:gd name="connsiteX4" fmla="*/ 4506 w 18340"/>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4506" y="17108"/>
                    </a:moveTo>
                    <a:cubicBezTo>
                      <a:pt x="8871" y="19739"/>
                      <a:pt x="14493" y="18304"/>
                      <a:pt x="17065" y="13938"/>
                    </a:cubicBezTo>
                    <a:cubicBezTo>
                      <a:pt x="19637" y="9572"/>
                      <a:pt x="18201" y="3890"/>
                      <a:pt x="13835" y="1318"/>
                    </a:cubicBezTo>
                    <a:cubicBezTo>
                      <a:pt x="9470" y="-1313"/>
                      <a:pt x="3848" y="122"/>
                      <a:pt x="1276" y="4488"/>
                    </a:cubicBezTo>
                    <a:cubicBezTo>
                      <a:pt x="-1296" y="8854"/>
                      <a:pt x="140" y="14536"/>
                      <a:pt x="4506" y="17108"/>
                    </a:cubicBezTo>
                    <a:close/>
                  </a:path>
                </a:pathLst>
              </a:custGeom>
              <a:grpFill/>
              <a:ln w="5978" cap="flat">
                <a:noFill/>
                <a:prstDash val="solid"/>
                <a:miter/>
              </a:ln>
            </p:spPr>
            <p:txBody>
              <a:bodyPr rtlCol="0" anchor="ctr"/>
              <a:lstStyle/>
              <a:p>
                <a:endParaRPr lang="en-GB"/>
              </a:p>
            </p:txBody>
          </p:sp>
        </p:grpSp>
        <p:grpSp>
          <p:nvGrpSpPr>
            <p:cNvPr id="1027" name="Graphic 3">
              <a:extLst>
                <a:ext uri="{FF2B5EF4-FFF2-40B4-BE49-F238E27FC236}">
                  <a16:creationId xmlns:a16="http://schemas.microsoft.com/office/drawing/2014/main" id="{01CF2F8B-EECC-431C-8DD6-E26D67DBEE41}"/>
                </a:ext>
              </a:extLst>
            </p:cNvPr>
            <p:cNvGrpSpPr/>
            <p:nvPr/>
          </p:nvGrpSpPr>
          <p:grpSpPr>
            <a:xfrm>
              <a:off x="5278803" y="5567752"/>
              <a:ext cx="36682" cy="71311"/>
              <a:chOff x="5278803" y="5567752"/>
              <a:chExt cx="36682" cy="71311"/>
            </a:xfrm>
            <a:grpFill/>
          </p:grpSpPr>
          <p:sp>
            <p:nvSpPr>
              <p:cNvPr id="2319" name="Vrije vorm: vorm 2318">
                <a:extLst>
                  <a:ext uri="{FF2B5EF4-FFF2-40B4-BE49-F238E27FC236}">
                    <a16:creationId xmlns:a16="http://schemas.microsoft.com/office/drawing/2014/main" id="{01C14FF9-F816-48B7-BC50-9CF7666E29BB}"/>
                  </a:ext>
                </a:extLst>
              </p:cNvPr>
              <p:cNvSpPr/>
              <p:nvPr/>
            </p:nvSpPr>
            <p:spPr>
              <a:xfrm>
                <a:off x="5286380" y="5575986"/>
                <a:ext cx="21530" cy="54843"/>
              </a:xfrm>
              <a:custGeom>
                <a:avLst/>
                <a:gdLst>
                  <a:gd name="connsiteX0" fmla="*/ 21530 w 21530"/>
                  <a:gd name="connsiteY0" fmla="*/ 1017 h 54843"/>
                  <a:gd name="connsiteX1" fmla="*/ 2871 w 21530"/>
                  <a:gd name="connsiteY1" fmla="*/ 54843 h 54843"/>
                  <a:gd name="connsiteX2" fmla="*/ 0 w 21530"/>
                  <a:gd name="connsiteY2" fmla="*/ 53826 h 54843"/>
                  <a:gd name="connsiteX3" fmla="*/ 18660 w 21530"/>
                  <a:gd name="connsiteY3" fmla="*/ 0 h 54843"/>
                </a:gdLst>
                <a:ahLst/>
                <a:cxnLst>
                  <a:cxn ang="0">
                    <a:pos x="connsiteX0" y="connsiteY0"/>
                  </a:cxn>
                  <a:cxn ang="0">
                    <a:pos x="connsiteX1" y="connsiteY1"/>
                  </a:cxn>
                  <a:cxn ang="0">
                    <a:pos x="connsiteX2" y="connsiteY2"/>
                  </a:cxn>
                  <a:cxn ang="0">
                    <a:pos x="connsiteX3" y="connsiteY3"/>
                  </a:cxn>
                </a:cxnLst>
                <a:rect l="l" t="t" r="r" b="b"/>
                <a:pathLst>
                  <a:path w="21530" h="54843">
                    <a:moveTo>
                      <a:pt x="21530" y="1017"/>
                    </a:moveTo>
                    <a:lnTo>
                      <a:pt x="2871" y="54843"/>
                    </a:lnTo>
                    <a:lnTo>
                      <a:pt x="0" y="53826"/>
                    </a:lnTo>
                    <a:lnTo>
                      <a:pt x="18660" y="0"/>
                    </a:lnTo>
                    <a:close/>
                  </a:path>
                </a:pathLst>
              </a:custGeom>
              <a:grpFill/>
              <a:ln w="5978" cap="flat">
                <a:noFill/>
                <a:prstDash val="solid"/>
                <a:miter/>
              </a:ln>
            </p:spPr>
            <p:txBody>
              <a:bodyPr rtlCol="0" anchor="ctr"/>
              <a:lstStyle/>
              <a:p>
                <a:endParaRPr lang="en-GB"/>
              </a:p>
            </p:txBody>
          </p:sp>
          <p:sp>
            <p:nvSpPr>
              <p:cNvPr id="2320" name="Vrije vorm: vorm 2319">
                <a:extLst>
                  <a:ext uri="{FF2B5EF4-FFF2-40B4-BE49-F238E27FC236}">
                    <a16:creationId xmlns:a16="http://schemas.microsoft.com/office/drawing/2014/main" id="{FB173050-2D1C-43E6-86A1-52E85322A84E}"/>
                  </a:ext>
                </a:extLst>
              </p:cNvPr>
              <p:cNvSpPr/>
              <p:nvPr/>
            </p:nvSpPr>
            <p:spPr>
              <a:xfrm>
                <a:off x="5278803" y="5620682"/>
                <a:ext cx="18321" cy="18381"/>
              </a:xfrm>
              <a:custGeom>
                <a:avLst/>
                <a:gdLst>
                  <a:gd name="connsiteX0" fmla="*/ 17803 w 18321"/>
                  <a:gd name="connsiteY0" fmla="*/ 12241 h 18381"/>
                  <a:gd name="connsiteX1" fmla="*/ 6141 w 18321"/>
                  <a:gd name="connsiteY1" fmla="*/ 17863 h 18381"/>
                  <a:gd name="connsiteX2" fmla="*/ 519 w 18321"/>
                  <a:gd name="connsiteY2" fmla="*/ 6141 h 18381"/>
                  <a:gd name="connsiteX3" fmla="*/ 12181 w 18321"/>
                  <a:gd name="connsiteY3" fmla="*/ 519 h 18381"/>
                  <a:gd name="connsiteX4" fmla="*/ 17803 w 18321"/>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17803" y="12241"/>
                    </a:moveTo>
                    <a:cubicBezTo>
                      <a:pt x="16129" y="17026"/>
                      <a:pt x="10925" y="19537"/>
                      <a:pt x="6141" y="17863"/>
                    </a:cubicBezTo>
                    <a:cubicBezTo>
                      <a:pt x="1356" y="16188"/>
                      <a:pt x="-1156" y="10925"/>
                      <a:pt x="519" y="6141"/>
                    </a:cubicBezTo>
                    <a:cubicBezTo>
                      <a:pt x="2193" y="1356"/>
                      <a:pt x="7397" y="-1156"/>
                      <a:pt x="12181" y="519"/>
                    </a:cubicBezTo>
                    <a:cubicBezTo>
                      <a:pt x="16966" y="2194"/>
                      <a:pt x="19478" y="7457"/>
                      <a:pt x="17803" y="12241"/>
                    </a:cubicBezTo>
                    <a:close/>
                  </a:path>
                </a:pathLst>
              </a:custGeom>
              <a:grpFill/>
              <a:ln w="5978" cap="flat">
                <a:noFill/>
                <a:prstDash val="solid"/>
                <a:miter/>
              </a:ln>
            </p:spPr>
            <p:txBody>
              <a:bodyPr rtlCol="0" anchor="ctr"/>
              <a:lstStyle/>
              <a:p>
                <a:endParaRPr lang="en-GB"/>
              </a:p>
            </p:txBody>
          </p:sp>
          <p:sp>
            <p:nvSpPr>
              <p:cNvPr id="2321" name="Vrije vorm: vorm 2320">
                <a:extLst>
                  <a:ext uri="{FF2B5EF4-FFF2-40B4-BE49-F238E27FC236}">
                    <a16:creationId xmlns:a16="http://schemas.microsoft.com/office/drawing/2014/main" id="{EABE8DB5-7C57-4175-9503-C342CDE31376}"/>
                  </a:ext>
                </a:extLst>
              </p:cNvPr>
              <p:cNvSpPr/>
              <p:nvPr/>
            </p:nvSpPr>
            <p:spPr>
              <a:xfrm>
                <a:off x="5297164" y="5567752"/>
                <a:ext cx="18321" cy="18381"/>
              </a:xfrm>
              <a:custGeom>
                <a:avLst/>
                <a:gdLst>
                  <a:gd name="connsiteX0" fmla="*/ 17803 w 18321"/>
                  <a:gd name="connsiteY0" fmla="*/ 12241 h 18381"/>
                  <a:gd name="connsiteX1" fmla="*/ 12181 w 18321"/>
                  <a:gd name="connsiteY1" fmla="*/ 519 h 18381"/>
                  <a:gd name="connsiteX2" fmla="*/ 519 w 18321"/>
                  <a:gd name="connsiteY2" fmla="*/ 6141 h 18381"/>
                  <a:gd name="connsiteX3" fmla="*/ 6141 w 18321"/>
                  <a:gd name="connsiteY3" fmla="*/ 17863 h 18381"/>
                  <a:gd name="connsiteX4" fmla="*/ 17803 w 18321"/>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17803" y="12241"/>
                    </a:moveTo>
                    <a:cubicBezTo>
                      <a:pt x="19478" y="7456"/>
                      <a:pt x="16966" y="2193"/>
                      <a:pt x="12181" y="519"/>
                    </a:cubicBezTo>
                    <a:cubicBezTo>
                      <a:pt x="7397" y="-1156"/>
                      <a:pt x="2193" y="1356"/>
                      <a:pt x="519" y="6141"/>
                    </a:cubicBezTo>
                    <a:cubicBezTo>
                      <a:pt x="-1156" y="10925"/>
                      <a:pt x="1356" y="16188"/>
                      <a:pt x="6141" y="17863"/>
                    </a:cubicBezTo>
                    <a:cubicBezTo>
                      <a:pt x="10925" y="19538"/>
                      <a:pt x="16129" y="17026"/>
                      <a:pt x="17803" y="12241"/>
                    </a:cubicBezTo>
                    <a:close/>
                  </a:path>
                </a:pathLst>
              </a:custGeom>
              <a:grpFill/>
              <a:ln w="5978" cap="flat">
                <a:noFill/>
                <a:prstDash val="solid"/>
                <a:miter/>
              </a:ln>
            </p:spPr>
            <p:txBody>
              <a:bodyPr rtlCol="0" anchor="ctr"/>
              <a:lstStyle/>
              <a:p>
                <a:endParaRPr lang="en-GB"/>
              </a:p>
            </p:txBody>
          </p:sp>
        </p:grpSp>
        <p:grpSp>
          <p:nvGrpSpPr>
            <p:cNvPr id="1028" name="Graphic 3">
              <a:extLst>
                <a:ext uri="{FF2B5EF4-FFF2-40B4-BE49-F238E27FC236}">
                  <a16:creationId xmlns:a16="http://schemas.microsoft.com/office/drawing/2014/main" id="{BB090648-5953-4F63-A7AB-6633E73D64B5}"/>
                </a:ext>
              </a:extLst>
            </p:cNvPr>
            <p:cNvGrpSpPr/>
            <p:nvPr/>
          </p:nvGrpSpPr>
          <p:grpSpPr>
            <a:xfrm>
              <a:off x="5288444" y="5608763"/>
              <a:ext cx="58369" cy="141438"/>
              <a:chOff x="5288444" y="5608763"/>
              <a:chExt cx="58369" cy="141438"/>
            </a:xfrm>
            <a:grpFill/>
          </p:grpSpPr>
          <p:sp>
            <p:nvSpPr>
              <p:cNvPr id="2316" name="Vrije vorm: vorm 2315">
                <a:extLst>
                  <a:ext uri="{FF2B5EF4-FFF2-40B4-BE49-F238E27FC236}">
                    <a16:creationId xmlns:a16="http://schemas.microsoft.com/office/drawing/2014/main" id="{06FF24F4-900E-4B6E-84D4-4BDE0DD3DBCA}"/>
                  </a:ext>
                </a:extLst>
              </p:cNvPr>
              <p:cNvSpPr/>
              <p:nvPr/>
            </p:nvSpPr>
            <p:spPr>
              <a:xfrm>
                <a:off x="5296009" y="5617074"/>
                <a:ext cx="43240" cy="124757"/>
              </a:xfrm>
              <a:custGeom>
                <a:avLst/>
                <a:gdLst>
                  <a:gd name="connsiteX0" fmla="*/ 43241 w 43240"/>
                  <a:gd name="connsiteY0" fmla="*/ 957 h 124757"/>
                  <a:gd name="connsiteX1" fmla="*/ 2871 w 43240"/>
                  <a:gd name="connsiteY1" fmla="*/ 124758 h 124757"/>
                  <a:gd name="connsiteX2" fmla="*/ 0 w 43240"/>
                  <a:gd name="connsiteY2" fmla="*/ 123801 h 124757"/>
                  <a:gd name="connsiteX3" fmla="*/ 40370 w 43240"/>
                  <a:gd name="connsiteY3" fmla="*/ 0 h 124757"/>
                </a:gdLst>
                <a:ahLst/>
                <a:cxnLst>
                  <a:cxn ang="0">
                    <a:pos x="connsiteX0" y="connsiteY0"/>
                  </a:cxn>
                  <a:cxn ang="0">
                    <a:pos x="connsiteX1" y="connsiteY1"/>
                  </a:cxn>
                  <a:cxn ang="0">
                    <a:pos x="connsiteX2" y="connsiteY2"/>
                  </a:cxn>
                  <a:cxn ang="0">
                    <a:pos x="connsiteX3" y="connsiteY3"/>
                  </a:cxn>
                </a:cxnLst>
                <a:rect l="l" t="t" r="r" b="b"/>
                <a:pathLst>
                  <a:path w="43240" h="124757">
                    <a:moveTo>
                      <a:pt x="43241" y="957"/>
                    </a:moveTo>
                    <a:lnTo>
                      <a:pt x="2871" y="124758"/>
                    </a:lnTo>
                    <a:lnTo>
                      <a:pt x="0" y="123801"/>
                    </a:lnTo>
                    <a:lnTo>
                      <a:pt x="40370" y="0"/>
                    </a:lnTo>
                    <a:close/>
                  </a:path>
                </a:pathLst>
              </a:custGeom>
              <a:grpFill/>
              <a:ln w="5978" cap="flat">
                <a:noFill/>
                <a:prstDash val="solid"/>
                <a:miter/>
              </a:ln>
            </p:spPr>
            <p:txBody>
              <a:bodyPr rtlCol="0" anchor="ctr"/>
              <a:lstStyle/>
              <a:p>
                <a:endParaRPr lang="en-GB"/>
              </a:p>
            </p:txBody>
          </p:sp>
          <p:sp>
            <p:nvSpPr>
              <p:cNvPr id="2317" name="Vrije vorm: vorm 2316">
                <a:extLst>
                  <a:ext uri="{FF2B5EF4-FFF2-40B4-BE49-F238E27FC236}">
                    <a16:creationId xmlns:a16="http://schemas.microsoft.com/office/drawing/2014/main" id="{03AB07E4-194C-4E14-BF87-63D0EB99A920}"/>
                  </a:ext>
                </a:extLst>
              </p:cNvPr>
              <p:cNvSpPr/>
              <p:nvPr/>
            </p:nvSpPr>
            <p:spPr>
              <a:xfrm>
                <a:off x="5288444" y="5731750"/>
                <a:ext cx="18298" cy="18451"/>
              </a:xfrm>
              <a:custGeom>
                <a:avLst/>
                <a:gdLst>
                  <a:gd name="connsiteX0" fmla="*/ 17851 w 18298"/>
                  <a:gd name="connsiteY0" fmla="*/ 12115 h 18451"/>
                  <a:gd name="connsiteX1" fmla="*/ 6308 w 18298"/>
                  <a:gd name="connsiteY1" fmla="*/ 17976 h 18451"/>
                  <a:gd name="connsiteX2" fmla="*/ 447 w 18298"/>
                  <a:gd name="connsiteY2" fmla="*/ 6314 h 18451"/>
                  <a:gd name="connsiteX3" fmla="*/ 11990 w 18298"/>
                  <a:gd name="connsiteY3" fmla="*/ 453 h 18451"/>
                  <a:gd name="connsiteX4" fmla="*/ 17851 w 18298"/>
                  <a:gd name="connsiteY4" fmla="*/ 12115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1">
                    <a:moveTo>
                      <a:pt x="17851" y="12115"/>
                    </a:moveTo>
                    <a:cubicBezTo>
                      <a:pt x="16296" y="16960"/>
                      <a:pt x="11093" y="19591"/>
                      <a:pt x="6308" y="17976"/>
                    </a:cubicBezTo>
                    <a:cubicBezTo>
                      <a:pt x="1524" y="16362"/>
                      <a:pt x="-1108" y="11158"/>
                      <a:pt x="447" y="6314"/>
                    </a:cubicBezTo>
                    <a:cubicBezTo>
                      <a:pt x="2002" y="1469"/>
                      <a:pt x="7205" y="-1102"/>
                      <a:pt x="11990" y="453"/>
                    </a:cubicBezTo>
                    <a:cubicBezTo>
                      <a:pt x="16774" y="2068"/>
                      <a:pt x="19406" y="7271"/>
                      <a:pt x="17851" y="12115"/>
                    </a:cubicBezTo>
                    <a:close/>
                  </a:path>
                </a:pathLst>
              </a:custGeom>
              <a:grpFill/>
              <a:ln w="5978" cap="flat">
                <a:noFill/>
                <a:prstDash val="solid"/>
                <a:miter/>
              </a:ln>
            </p:spPr>
            <p:txBody>
              <a:bodyPr rtlCol="0" anchor="ctr"/>
              <a:lstStyle/>
              <a:p>
                <a:endParaRPr lang="en-GB"/>
              </a:p>
            </p:txBody>
          </p:sp>
          <p:sp>
            <p:nvSpPr>
              <p:cNvPr id="2318" name="Vrije vorm: vorm 2317">
                <a:extLst>
                  <a:ext uri="{FF2B5EF4-FFF2-40B4-BE49-F238E27FC236}">
                    <a16:creationId xmlns:a16="http://schemas.microsoft.com/office/drawing/2014/main" id="{4B1D8F7F-3C14-497C-9FBB-B30917E957F1}"/>
                  </a:ext>
                </a:extLst>
              </p:cNvPr>
              <p:cNvSpPr/>
              <p:nvPr/>
            </p:nvSpPr>
            <p:spPr>
              <a:xfrm>
                <a:off x="5328515" y="5608763"/>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8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4" y="2091"/>
                      <a:pt x="11990" y="476"/>
                    </a:cubicBezTo>
                    <a:cubicBezTo>
                      <a:pt x="7205" y="-1139"/>
                      <a:pt x="2002" y="1492"/>
                      <a:pt x="447" y="6337"/>
                    </a:cubicBezTo>
                    <a:cubicBezTo>
                      <a:pt x="-1108" y="11181"/>
                      <a:pt x="1524" y="16385"/>
                      <a:pt x="6308" y="17999"/>
                    </a:cubicBezTo>
                    <a:cubicBezTo>
                      <a:pt x="11093" y="19614"/>
                      <a:pt x="16296" y="16982"/>
                      <a:pt x="17851" y="12138"/>
                    </a:cubicBezTo>
                    <a:close/>
                  </a:path>
                </a:pathLst>
              </a:custGeom>
              <a:grpFill/>
              <a:ln w="5978" cap="flat">
                <a:noFill/>
                <a:prstDash val="solid"/>
                <a:miter/>
              </a:ln>
            </p:spPr>
            <p:txBody>
              <a:bodyPr rtlCol="0" anchor="ctr"/>
              <a:lstStyle/>
              <a:p>
                <a:endParaRPr lang="en-GB"/>
              </a:p>
            </p:txBody>
          </p:sp>
        </p:grpSp>
        <p:grpSp>
          <p:nvGrpSpPr>
            <p:cNvPr id="1029" name="Graphic 3">
              <a:extLst>
                <a:ext uri="{FF2B5EF4-FFF2-40B4-BE49-F238E27FC236}">
                  <a16:creationId xmlns:a16="http://schemas.microsoft.com/office/drawing/2014/main" id="{43189C2F-DD16-4A00-A0D6-C0B1AB8378CC}"/>
                </a:ext>
              </a:extLst>
            </p:cNvPr>
            <p:cNvGrpSpPr/>
            <p:nvPr/>
          </p:nvGrpSpPr>
          <p:grpSpPr>
            <a:xfrm>
              <a:off x="3814486" y="2124673"/>
              <a:ext cx="772990" cy="487870"/>
              <a:chOff x="3814486" y="2124673"/>
              <a:chExt cx="772990" cy="487870"/>
            </a:xfrm>
            <a:grpFill/>
          </p:grpSpPr>
          <p:sp>
            <p:nvSpPr>
              <p:cNvPr id="2313" name="Vrije vorm: vorm 2312">
                <a:extLst>
                  <a:ext uri="{FF2B5EF4-FFF2-40B4-BE49-F238E27FC236}">
                    <a16:creationId xmlns:a16="http://schemas.microsoft.com/office/drawing/2014/main" id="{188DC1FB-2299-469C-B744-0B4050C4F451}"/>
                  </a:ext>
                </a:extLst>
              </p:cNvPr>
              <p:cNvSpPr/>
              <p:nvPr/>
            </p:nvSpPr>
            <p:spPr>
              <a:xfrm>
                <a:off x="3822478" y="2132407"/>
                <a:ext cx="757039" cy="472417"/>
              </a:xfrm>
              <a:custGeom>
                <a:avLst/>
                <a:gdLst>
                  <a:gd name="connsiteX0" fmla="*/ 757040 w 757039"/>
                  <a:gd name="connsiteY0" fmla="*/ 469845 h 472417"/>
                  <a:gd name="connsiteX1" fmla="*/ 755425 w 757039"/>
                  <a:gd name="connsiteY1" fmla="*/ 472417 h 472417"/>
                  <a:gd name="connsiteX2" fmla="*/ 0 w 757039"/>
                  <a:gd name="connsiteY2" fmla="*/ 2572 h 472417"/>
                  <a:gd name="connsiteX3" fmla="*/ 1615 w 757039"/>
                  <a:gd name="connsiteY3" fmla="*/ 0 h 472417"/>
                </a:gdLst>
                <a:ahLst/>
                <a:cxnLst>
                  <a:cxn ang="0">
                    <a:pos x="connsiteX0" y="connsiteY0"/>
                  </a:cxn>
                  <a:cxn ang="0">
                    <a:pos x="connsiteX1" y="connsiteY1"/>
                  </a:cxn>
                  <a:cxn ang="0">
                    <a:pos x="connsiteX2" y="connsiteY2"/>
                  </a:cxn>
                  <a:cxn ang="0">
                    <a:pos x="connsiteX3" y="connsiteY3"/>
                  </a:cxn>
                </a:cxnLst>
                <a:rect l="l" t="t" r="r" b="b"/>
                <a:pathLst>
                  <a:path w="757039" h="472417">
                    <a:moveTo>
                      <a:pt x="757040" y="469845"/>
                    </a:moveTo>
                    <a:lnTo>
                      <a:pt x="755425" y="472417"/>
                    </a:lnTo>
                    <a:lnTo>
                      <a:pt x="0" y="2572"/>
                    </a:lnTo>
                    <a:lnTo>
                      <a:pt x="1615" y="0"/>
                    </a:lnTo>
                    <a:close/>
                  </a:path>
                </a:pathLst>
              </a:custGeom>
              <a:grpFill/>
              <a:ln w="5978" cap="flat">
                <a:noFill/>
                <a:prstDash val="solid"/>
                <a:miter/>
              </a:ln>
            </p:spPr>
            <p:txBody>
              <a:bodyPr rtlCol="0" anchor="ctr"/>
              <a:lstStyle/>
              <a:p>
                <a:endParaRPr lang="en-GB"/>
              </a:p>
            </p:txBody>
          </p:sp>
          <p:sp>
            <p:nvSpPr>
              <p:cNvPr id="2314" name="Vrije vorm: vorm 2313">
                <a:extLst>
                  <a:ext uri="{FF2B5EF4-FFF2-40B4-BE49-F238E27FC236}">
                    <a16:creationId xmlns:a16="http://schemas.microsoft.com/office/drawing/2014/main" id="{BA560678-319E-4574-901A-74F8159A6749}"/>
                  </a:ext>
                </a:extLst>
              </p:cNvPr>
              <p:cNvSpPr/>
              <p:nvPr/>
            </p:nvSpPr>
            <p:spPr>
              <a:xfrm>
                <a:off x="4569107" y="2594099"/>
                <a:ext cx="18369" cy="18443"/>
              </a:xfrm>
              <a:custGeom>
                <a:avLst/>
                <a:gdLst>
                  <a:gd name="connsiteX0" fmla="*/ 13999 w 18369"/>
                  <a:gd name="connsiteY0" fmla="*/ 1394 h 18443"/>
                  <a:gd name="connsiteX1" fmla="*/ 16990 w 18369"/>
                  <a:gd name="connsiteY1" fmla="*/ 14074 h 18443"/>
                  <a:gd name="connsiteX2" fmla="*/ 4370 w 18369"/>
                  <a:gd name="connsiteY2" fmla="*/ 17064 h 18443"/>
                  <a:gd name="connsiteX3" fmla="*/ 1380 w 18369"/>
                  <a:gd name="connsiteY3" fmla="*/ 4385 h 18443"/>
                  <a:gd name="connsiteX4" fmla="*/ 13999 w 18369"/>
                  <a:gd name="connsiteY4" fmla="*/ 139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3">
                    <a:moveTo>
                      <a:pt x="13999" y="1394"/>
                    </a:moveTo>
                    <a:cubicBezTo>
                      <a:pt x="18306" y="4086"/>
                      <a:pt x="19681" y="9767"/>
                      <a:pt x="16990" y="14074"/>
                    </a:cubicBezTo>
                    <a:cubicBezTo>
                      <a:pt x="14358" y="18380"/>
                      <a:pt x="8676" y="19755"/>
                      <a:pt x="4370" y="17064"/>
                    </a:cubicBezTo>
                    <a:cubicBezTo>
                      <a:pt x="64" y="14372"/>
                      <a:pt x="-1311" y="8691"/>
                      <a:pt x="1380" y="4385"/>
                    </a:cubicBezTo>
                    <a:cubicBezTo>
                      <a:pt x="4071" y="19"/>
                      <a:pt x="9693" y="-1297"/>
                      <a:pt x="13999" y="1394"/>
                    </a:cubicBezTo>
                    <a:close/>
                  </a:path>
                </a:pathLst>
              </a:custGeom>
              <a:grpFill/>
              <a:ln w="5978" cap="flat">
                <a:noFill/>
                <a:prstDash val="solid"/>
                <a:miter/>
              </a:ln>
            </p:spPr>
            <p:txBody>
              <a:bodyPr rtlCol="0" anchor="ctr"/>
              <a:lstStyle/>
              <a:p>
                <a:endParaRPr lang="en-GB"/>
              </a:p>
            </p:txBody>
          </p:sp>
          <p:sp>
            <p:nvSpPr>
              <p:cNvPr id="2315" name="Vrije vorm: vorm 2314">
                <a:extLst>
                  <a:ext uri="{FF2B5EF4-FFF2-40B4-BE49-F238E27FC236}">
                    <a16:creationId xmlns:a16="http://schemas.microsoft.com/office/drawing/2014/main" id="{7496620E-3220-4697-AC4E-52CA2E7FB886}"/>
                  </a:ext>
                </a:extLst>
              </p:cNvPr>
              <p:cNvSpPr/>
              <p:nvPr/>
            </p:nvSpPr>
            <p:spPr>
              <a:xfrm>
                <a:off x="3814486" y="2124673"/>
                <a:ext cx="18343" cy="18458"/>
              </a:xfrm>
              <a:custGeom>
                <a:avLst/>
                <a:gdLst>
                  <a:gd name="connsiteX0" fmla="*/ 13973 w 18343"/>
                  <a:gd name="connsiteY0" fmla="*/ 1394 h 18458"/>
                  <a:gd name="connsiteX1" fmla="*/ 1354 w 18343"/>
                  <a:gd name="connsiteY1" fmla="*/ 4385 h 18458"/>
                  <a:gd name="connsiteX2" fmla="*/ 4344 w 18343"/>
                  <a:gd name="connsiteY2" fmla="*/ 17064 h 18458"/>
                  <a:gd name="connsiteX3" fmla="*/ 16963 w 18343"/>
                  <a:gd name="connsiteY3" fmla="*/ 14073 h 18458"/>
                  <a:gd name="connsiteX4" fmla="*/ 13973 w 18343"/>
                  <a:gd name="connsiteY4" fmla="*/ 139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3973" y="1394"/>
                    </a:moveTo>
                    <a:cubicBezTo>
                      <a:pt x="9667" y="-1297"/>
                      <a:pt x="4045" y="19"/>
                      <a:pt x="1354" y="4385"/>
                    </a:cubicBezTo>
                    <a:cubicBezTo>
                      <a:pt x="-1278" y="8691"/>
                      <a:pt x="38" y="14372"/>
                      <a:pt x="4344" y="17064"/>
                    </a:cubicBezTo>
                    <a:cubicBezTo>
                      <a:pt x="8650" y="19755"/>
                      <a:pt x="14272" y="18439"/>
                      <a:pt x="16963" y="14073"/>
                    </a:cubicBezTo>
                    <a:cubicBezTo>
                      <a:pt x="19655" y="9708"/>
                      <a:pt x="18279" y="4086"/>
                      <a:pt x="13973" y="1394"/>
                    </a:cubicBezTo>
                    <a:close/>
                  </a:path>
                </a:pathLst>
              </a:custGeom>
              <a:grpFill/>
              <a:ln w="5978" cap="flat">
                <a:noFill/>
                <a:prstDash val="solid"/>
                <a:miter/>
              </a:ln>
            </p:spPr>
            <p:txBody>
              <a:bodyPr rtlCol="0" anchor="ctr"/>
              <a:lstStyle/>
              <a:p>
                <a:endParaRPr lang="en-GB"/>
              </a:p>
            </p:txBody>
          </p:sp>
        </p:grpSp>
        <p:grpSp>
          <p:nvGrpSpPr>
            <p:cNvPr id="1030" name="Graphic 3">
              <a:extLst>
                <a:ext uri="{FF2B5EF4-FFF2-40B4-BE49-F238E27FC236}">
                  <a16:creationId xmlns:a16="http://schemas.microsoft.com/office/drawing/2014/main" id="{FF8CE5D8-0262-493A-8150-A14A9B3F4D92}"/>
                </a:ext>
              </a:extLst>
            </p:cNvPr>
            <p:cNvGrpSpPr/>
            <p:nvPr/>
          </p:nvGrpSpPr>
          <p:grpSpPr>
            <a:xfrm>
              <a:off x="5205800" y="5412662"/>
              <a:ext cx="121333" cy="298486"/>
              <a:chOff x="5205800" y="5412662"/>
              <a:chExt cx="121333" cy="298486"/>
            </a:xfrm>
            <a:grpFill/>
          </p:grpSpPr>
          <p:sp>
            <p:nvSpPr>
              <p:cNvPr id="2310" name="Vrije vorm: vorm 2309">
                <a:extLst>
                  <a:ext uri="{FF2B5EF4-FFF2-40B4-BE49-F238E27FC236}">
                    <a16:creationId xmlns:a16="http://schemas.microsoft.com/office/drawing/2014/main" id="{37AE58E2-B153-44B5-802A-34683D2EEEC2}"/>
                  </a:ext>
                </a:extLst>
              </p:cNvPr>
              <p:cNvSpPr/>
              <p:nvPr/>
            </p:nvSpPr>
            <p:spPr>
              <a:xfrm>
                <a:off x="5213415" y="5420906"/>
                <a:ext cx="106157" cy="281991"/>
              </a:xfrm>
              <a:custGeom>
                <a:avLst/>
                <a:gdLst>
                  <a:gd name="connsiteX0" fmla="*/ 106158 w 106157"/>
                  <a:gd name="connsiteY0" fmla="*/ 1076 h 281991"/>
                  <a:gd name="connsiteX1" fmla="*/ 2871 w 106157"/>
                  <a:gd name="connsiteY1" fmla="*/ 281991 h 281991"/>
                  <a:gd name="connsiteX2" fmla="*/ 0 w 106157"/>
                  <a:gd name="connsiteY2" fmla="*/ 280914 h 281991"/>
                  <a:gd name="connsiteX3" fmla="*/ 103287 w 106157"/>
                  <a:gd name="connsiteY3" fmla="*/ 0 h 281991"/>
                </a:gdLst>
                <a:ahLst/>
                <a:cxnLst>
                  <a:cxn ang="0">
                    <a:pos x="connsiteX0" y="connsiteY0"/>
                  </a:cxn>
                  <a:cxn ang="0">
                    <a:pos x="connsiteX1" y="connsiteY1"/>
                  </a:cxn>
                  <a:cxn ang="0">
                    <a:pos x="connsiteX2" y="connsiteY2"/>
                  </a:cxn>
                  <a:cxn ang="0">
                    <a:pos x="connsiteX3" y="connsiteY3"/>
                  </a:cxn>
                </a:cxnLst>
                <a:rect l="l" t="t" r="r" b="b"/>
                <a:pathLst>
                  <a:path w="106157" h="281991">
                    <a:moveTo>
                      <a:pt x="106158" y="1076"/>
                    </a:moveTo>
                    <a:lnTo>
                      <a:pt x="2871" y="281991"/>
                    </a:lnTo>
                    <a:lnTo>
                      <a:pt x="0" y="280914"/>
                    </a:lnTo>
                    <a:lnTo>
                      <a:pt x="103287" y="0"/>
                    </a:lnTo>
                    <a:close/>
                  </a:path>
                </a:pathLst>
              </a:custGeom>
              <a:grpFill/>
              <a:ln w="5978" cap="flat">
                <a:noFill/>
                <a:prstDash val="solid"/>
                <a:miter/>
              </a:ln>
            </p:spPr>
            <p:txBody>
              <a:bodyPr rtlCol="0" anchor="ctr"/>
              <a:lstStyle/>
              <a:p>
                <a:endParaRPr lang="en-GB"/>
              </a:p>
            </p:txBody>
          </p:sp>
          <p:sp>
            <p:nvSpPr>
              <p:cNvPr id="2311" name="Vrije vorm: vorm 2310">
                <a:extLst>
                  <a:ext uri="{FF2B5EF4-FFF2-40B4-BE49-F238E27FC236}">
                    <a16:creationId xmlns:a16="http://schemas.microsoft.com/office/drawing/2014/main" id="{75031803-90A6-4D84-AEA4-64AC8E8F80B8}"/>
                  </a:ext>
                </a:extLst>
              </p:cNvPr>
              <p:cNvSpPr/>
              <p:nvPr/>
            </p:nvSpPr>
            <p:spPr>
              <a:xfrm>
                <a:off x="5205800" y="5692732"/>
                <a:ext cx="18345" cy="18415"/>
              </a:xfrm>
              <a:custGeom>
                <a:avLst/>
                <a:gdLst>
                  <a:gd name="connsiteX0" fmla="*/ 17782 w 18345"/>
                  <a:gd name="connsiteY0" fmla="*/ 12438 h 18415"/>
                  <a:gd name="connsiteX1" fmla="*/ 6000 w 18345"/>
                  <a:gd name="connsiteY1" fmla="*/ 17820 h 18415"/>
                  <a:gd name="connsiteX2" fmla="*/ 557 w 18345"/>
                  <a:gd name="connsiteY2" fmla="*/ 5978 h 18415"/>
                  <a:gd name="connsiteX3" fmla="*/ 12339 w 18345"/>
                  <a:gd name="connsiteY3" fmla="*/ 596 h 18415"/>
                  <a:gd name="connsiteX4" fmla="*/ 17782 w 18345"/>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15">
                    <a:moveTo>
                      <a:pt x="17782" y="12438"/>
                    </a:moveTo>
                    <a:cubicBezTo>
                      <a:pt x="16047" y="17222"/>
                      <a:pt x="10784" y="19614"/>
                      <a:pt x="6000" y="17820"/>
                    </a:cubicBezTo>
                    <a:cubicBezTo>
                      <a:pt x="1275" y="16026"/>
                      <a:pt x="-1177" y="10703"/>
                      <a:pt x="557" y="5978"/>
                    </a:cubicBezTo>
                    <a:cubicBezTo>
                      <a:pt x="2291" y="1194"/>
                      <a:pt x="7555" y="-1198"/>
                      <a:pt x="12339" y="596"/>
                    </a:cubicBezTo>
                    <a:cubicBezTo>
                      <a:pt x="17124" y="2390"/>
                      <a:pt x="19516" y="7653"/>
                      <a:pt x="17782" y="12438"/>
                    </a:cubicBezTo>
                    <a:close/>
                  </a:path>
                </a:pathLst>
              </a:custGeom>
              <a:grpFill/>
              <a:ln w="5978" cap="flat">
                <a:noFill/>
                <a:prstDash val="solid"/>
                <a:miter/>
              </a:ln>
            </p:spPr>
            <p:txBody>
              <a:bodyPr rtlCol="0" anchor="ctr"/>
              <a:lstStyle/>
              <a:p>
                <a:endParaRPr lang="en-GB"/>
              </a:p>
            </p:txBody>
          </p:sp>
          <p:sp>
            <p:nvSpPr>
              <p:cNvPr id="2312" name="Vrije vorm: vorm 2311">
                <a:extLst>
                  <a:ext uri="{FF2B5EF4-FFF2-40B4-BE49-F238E27FC236}">
                    <a16:creationId xmlns:a16="http://schemas.microsoft.com/office/drawing/2014/main" id="{DBC74A3A-75CF-41EE-BC68-8C1C14199E53}"/>
                  </a:ext>
                </a:extLst>
              </p:cNvPr>
              <p:cNvSpPr/>
              <p:nvPr/>
            </p:nvSpPr>
            <p:spPr>
              <a:xfrm>
                <a:off x="5308782" y="5412662"/>
                <a:ext cx="18352" cy="18409"/>
              </a:xfrm>
              <a:custGeom>
                <a:avLst/>
                <a:gdLst>
                  <a:gd name="connsiteX0" fmla="*/ 17788 w 18352"/>
                  <a:gd name="connsiteY0" fmla="*/ 12431 h 18409"/>
                  <a:gd name="connsiteX1" fmla="*/ 12346 w 18352"/>
                  <a:gd name="connsiteY1" fmla="*/ 589 h 18409"/>
                  <a:gd name="connsiteX2" fmla="*/ 564 w 18352"/>
                  <a:gd name="connsiteY2" fmla="*/ 5971 h 18409"/>
                  <a:gd name="connsiteX3" fmla="*/ 6007 w 18352"/>
                  <a:gd name="connsiteY3" fmla="*/ 17813 h 18409"/>
                  <a:gd name="connsiteX4" fmla="*/ 17788 w 18352"/>
                  <a:gd name="connsiteY4" fmla="*/ 12431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9">
                    <a:moveTo>
                      <a:pt x="17788" y="12431"/>
                    </a:moveTo>
                    <a:cubicBezTo>
                      <a:pt x="19523" y="7646"/>
                      <a:pt x="17131" y="2383"/>
                      <a:pt x="12346" y="589"/>
                    </a:cubicBezTo>
                    <a:cubicBezTo>
                      <a:pt x="7621" y="-1205"/>
                      <a:pt x="2358" y="1247"/>
                      <a:pt x="564" y="5971"/>
                    </a:cubicBezTo>
                    <a:cubicBezTo>
                      <a:pt x="-1170" y="10756"/>
                      <a:pt x="1222" y="16019"/>
                      <a:pt x="6007" y="17813"/>
                    </a:cubicBezTo>
                    <a:cubicBezTo>
                      <a:pt x="10791" y="19608"/>
                      <a:pt x="16054" y="17215"/>
                      <a:pt x="17788" y="12431"/>
                    </a:cubicBezTo>
                    <a:close/>
                  </a:path>
                </a:pathLst>
              </a:custGeom>
              <a:grpFill/>
              <a:ln w="5978" cap="flat">
                <a:noFill/>
                <a:prstDash val="solid"/>
                <a:miter/>
              </a:ln>
            </p:spPr>
            <p:txBody>
              <a:bodyPr rtlCol="0" anchor="ctr"/>
              <a:lstStyle/>
              <a:p>
                <a:endParaRPr lang="en-GB"/>
              </a:p>
            </p:txBody>
          </p:sp>
        </p:grpSp>
        <p:grpSp>
          <p:nvGrpSpPr>
            <p:cNvPr id="1031" name="Graphic 3">
              <a:extLst>
                <a:ext uri="{FF2B5EF4-FFF2-40B4-BE49-F238E27FC236}">
                  <a16:creationId xmlns:a16="http://schemas.microsoft.com/office/drawing/2014/main" id="{920B8FC1-FB16-4E41-BC8E-5B0AF5FC2DF0}"/>
                </a:ext>
              </a:extLst>
            </p:cNvPr>
            <p:cNvGrpSpPr/>
            <p:nvPr/>
          </p:nvGrpSpPr>
          <p:grpSpPr>
            <a:xfrm>
              <a:off x="4964854" y="4873624"/>
              <a:ext cx="295091" cy="441529"/>
              <a:chOff x="4964854" y="4873624"/>
              <a:chExt cx="295091" cy="441529"/>
            </a:xfrm>
            <a:grpFill/>
          </p:grpSpPr>
          <p:sp>
            <p:nvSpPr>
              <p:cNvPr id="2307" name="Vrije vorm: vorm 2306">
                <a:extLst>
                  <a:ext uri="{FF2B5EF4-FFF2-40B4-BE49-F238E27FC236}">
                    <a16:creationId xmlns:a16="http://schemas.microsoft.com/office/drawing/2014/main" id="{B3C752ED-F995-4876-BD13-72FEC111F93A}"/>
                  </a:ext>
                </a:extLst>
              </p:cNvPr>
              <p:cNvSpPr/>
              <p:nvPr/>
            </p:nvSpPr>
            <p:spPr>
              <a:xfrm>
                <a:off x="4972452" y="4881625"/>
                <a:ext cx="279897" cy="425587"/>
              </a:xfrm>
              <a:custGeom>
                <a:avLst/>
                <a:gdLst>
                  <a:gd name="connsiteX0" fmla="*/ 279898 w 279897"/>
                  <a:gd name="connsiteY0" fmla="*/ 1674 h 425587"/>
                  <a:gd name="connsiteX1" fmla="*/ 2572 w 279897"/>
                  <a:gd name="connsiteY1" fmla="*/ 425588 h 425587"/>
                  <a:gd name="connsiteX2" fmla="*/ 0 w 279897"/>
                  <a:gd name="connsiteY2" fmla="*/ 423914 h 425587"/>
                  <a:gd name="connsiteX3" fmla="*/ 277326 w 279897"/>
                  <a:gd name="connsiteY3" fmla="*/ 0 h 425587"/>
                </a:gdLst>
                <a:ahLst/>
                <a:cxnLst>
                  <a:cxn ang="0">
                    <a:pos x="connsiteX0" y="connsiteY0"/>
                  </a:cxn>
                  <a:cxn ang="0">
                    <a:pos x="connsiteX1" y="connsiteY1"/>
                  </a:cxn>
                  <a:cxn ang="0">
                    <a:pos x="connsiteX2" y="connsiteY2"/>
                  </a:cxn>
                  <a:cxn ang="0">
                    <a:pos x="connsiteX3" y="connsiteY3"/>
                  </a:cxn>
                </a:cxnLst>
                <a:rect l="l" t="t" r="r" b="b"/>
                <a:pathLst>
                  <a:path w="279897" h="425587">
                    <a:moveTo>
                      <a:pt x="279898" y="1674"/>
                    </a:moveTo>
                    <a:lnTo>
                      <a:pt x="2572" y="425588"/>
                    </a:lnTo>
                    <a:lnTo>
                      <a:pt x="0" y="423914"/>
                    </a:lnTo>
                    <a:lnTo>
                      <a:pt x="277326" y="0"/>
                    </a:lnTo>
                    <a:close/>
                  </a:path>
                </a:pathLst>
              </a:custGeom>
              <a:grpFill/>
              <a:ln w="5978" cap="flat">
                <a:noFill/>
                <a:prstDash val="solid"/>
                <a:miter/>
              </a:ln>
            </p:spPr>
            <p:txBody>
              <a:bodyPr rtlCol="0" anchor="ctr"/>
              <a:lstStyle/>
              <a:p>
                <a:endParaRPr lang="en-GB"/>
              </a:p>
            </p:txBody>
          </p:sp>
          <p:sp>
            <p:nvSpPr>
              <p:cNvPr id="2308" name="Vrije vorm: vorm 2307">
                <a:extLst>
                  <a:ext uri="{FF2B5EF4-FFF2-40B4-BE49-F238E27FC236}">
                    <a16:creationId xmlns:a16="http://schemas.microsoft.com/office/drawing/2014/main" id="{C927B34C-3235-48A9-B618-497680B2BC90}"/>
                  </a:ext>
                </a:extLst>
              </p:cNvPr>
              <p:cNvSpPr/>
              <p:nvPr/>
            </p:nvSpPr>
            <p:spPr>
              <a:xfrm>
                <a:off x="5241658" y="4873624"/>
                <a:ext cx="18288" cy="18393"/>
              </a:xfrm>
              <a:custGeom>
                <a:avLst/>
                <a:gdLst>
                  <a:gd name="connsiteX0" fmla="*/ 1481 w 18288"/>
                  <a:gd name="connsiteY0" fmla="*/ 4113 h 18393"/>
                  <a:gd name="connsiteX1" fmla="*/ 14161 w 18288"/>
                  <a:gd name="connsiteY1" fmla="*/ 1541 h 18393"/>
                  <a:gd name="connsiteX2" fmla="*/ 16792 w 18288"/>
                  <a:gd name="connsiteY2" fmla="*/ 14280 h 18393"/>
                  <a:gd name="connsiteX3" fmla="*/ 4113 w 18288"/>
                  <a:gd name="connsiteY3" fmla="*/ 16852 h 18393"/>
                  <a:gd name="connsiteX4" fmla="*/ 1481 w 18288"/>
                  <a:gd name="connsiteY4" fmla="*/ 4113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93">
                    <a:moveTo>
                      <a:pt x="1481" y="4113"/>
                    </a:moveTo>
                    <a:cubicBezTo>
                      <a:pt x="4232" y="-133"/>
                      <a:pt x="9914" y="-1269"/>
                      <a:pt x="14161" y="1541"/>
                    </a:cubicBezTo>
                    <a:cubicBezTo>
                      <a:pt x="18407" y="4352"/>
                      <a:pt x="19543" y="10094"/>
                      <a:pt x="16792" y="14280"/>
                    </a:cubicBezTo>
                    <a:cubicBezTo>
                      <a:pt x="14041" y="18527"/>
                      <a:pt x="8359" y="19663"/>
                      <a:pt x="4113" y="16852"/>
                    </a:cubicBezTo>
                    <a:cubicBezTo>
                      <a:pt x="-73" y="14101"/>
                      <a:pt x="-1270" y="8359"/>
                      <a:pt x="1481" y="4113"/>
                    </a:cubicBezTo>
                    <a:close/>
                  </a:path>
                </a:pathLst>
              </a:custGeom>
              <a:grpFill/>
              <a:ln w="5978" cap="flat">
                <a:noFill/>
                <a:prstDash val="solid"/>
                <a:miter/>
              </a:ln>
            </p:spPr>
            <p:txBody>
              <a:bodyPr rtlCol="0" anchor="ctr"/>
              <a:lstStyle/>
              <a:p>
                <a:endParaRPr lang="en-GB"/>
              </a:p>
            </p:txBody>
          </p:sp>
          <p:sp>
            <p:nvSpPr>
              <p:cNvPr id="2309" name="Vrije vorm: vorm 2308">
                <a:extLst>
                  <a:ext uri="{FF2B5EF4-FFF2-40B4-BE49-F238E27FC236}">
                    <a16:creationId xmlns:a16="http://schemas.microsoft.com/office/drawing/2014/main" id="{E84DC110-F4A4-440C-8BDE-287EAFF1B5B6}"/>
                  </a:ext>
                </a:extLst>
              </p:cNvPr>
              <p:cNvSpPr/>
              <p:nvPr/>
            </p:nvSpPr>
            <p:spPr>
              <a:xfrm>
                <a:off x="4964854" y="5296760"/>
                <a:ext cx="18304" cy="18393"/>
              </a:xfrm>
              <a:custGeom>
                <a:avLst/>
                <a:gdLst>
                  <a:gd name="connsiteX0" fmla="*/ 1497 w 18304"/>
                  <a:gd name="connsiteY0" fmla="*/ 4113 h 18393"/>
                  <a:gd name="connsiteX1" fmla="*/ 4128 w 18304"/>
                  <a:gd name="connsiteY1" fmla="*/ 16852 h 18393"/>
                  <a:gd name="connsiteX2" fmla="*/ 16807 w 18304"/>
                  <a:gd name="connsiteY2" fmla="*/ 14280 h 18393"/>
                  <a:gd name="connsiteX3" fmla="*/ 14176 w 18304"/>
                  <a:gd name="connsiteY3" fmla="*/ 1541 h 18393"/>
                  <a:gd name="connsiteX4" fmla="*/ 1497 w 18304"/>
                  <a:gd name="connsiteY4" fmla="*/ 4113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393">
                    <a:moveTo>
                      <a:pt x="1497" y="4113"/>
                    </a:moveTo>
                    <a:cubicBezTo>
                      <a:pt x="-1255" y="8359"/>
                      <a:pt x="-118" y="14101"/>
                      <a:pt x="4128" y="16852"/>
                    </a:cubicBezTo>
                    <a:cubicBezTo>
                      <a:pt x="8375" y="19663"/>
                      <a:pt x="14056" y="18527"/>
                      <a:pt x="16807" y="14280"/>
                    </a:cubicBezTo>
                    <a:cubicBezTo>
                      <a:pt x="19559" y="10034"/>
                      <a:pt x="18422" y="4293"/>
                      <a:pt x="14176" y="1541"/>
                    </a:cubicBezTo>
                    <a:cubicBezTo>
                      <a:pt x="9929" y="-1269"/>
                      <a:pt x="4248" y="-133"/>
                      <a:pt x="1497" y="4113"/>
                    </a:cubicBezTo>
                    <a:close/>
                  </a:path>
                </a:pathLst>
              </a:custGeom>
              <a:grpFill/>
              <a:ln w="5978" cap="flat">
                <a:noFill/>
                <a:prstDash val="solid"/>
                <a:miter/>
              </a:ln>
            </p:spPr>
            <p:txBody>
              <a:bodyPr rtlCol="0" anchor="ctr"/>
              <a:lstStyle/>
              <a:p>
                <a:endParaRPr lang="en-GB"/>
              </a:p>
            </p:txBody>
          </p:sp>
        </p:grpSp>
        <p:grpSp>
          <p:nvGrpSpPr>
            <p:cNvPr id="1032" name="Graphic 3">
              <a:extLst>
                <a:ext uri="{FF2B5EF4-FFF2-40B4-BE49-F238E27FC236}">
                  <a16:creationId xmlns:a16="http://schemas.microsoft.com/office/drawing/2014/main" id="{50C8A7EA-5011-437D-9020-E196672440E6}"/>
                </a:ext>
              </a:extLst>
            </p:cNvPr>
            <p:cNvGrpSpPr/>
            <p:nvPr/>
          </p:nvGrpSpPr>
          <p:grpSpPr>
            <a:xfrm>
              <a:off x="5181548" y="5318278"/>
              <a:ext cx="56470" cy="106514"/>
              <a:chOff x="5181548" y="5318278"/>
              <a:chExt cx="56470" cy="106514"/>
            </a:xfrm>
            <a:grpFill/>
          </p:grpSpPr>
          <p:sp>
            <p:nvSpPr>
              <p:cNvPr id="2304" name="Vrije vorm: vorm 2303">
                <a:extLst>
                  <a:ext uri="{FF2B5EF4-FFF2-40B4-BE49-F238E27FC236}">
                    <a16:creationId xmlns:a16="http://schemas.microsoft.com/office/drawing/2014/main" id="{FEBA7870-329D-423D-93B0-F5241E8400C8}"/>
                  </a:ext>
                </a:extLst>
              </p:cNvPr>
              <p:cNvSpPr/>
              <p:nvPr/>
            </p:nvSpPr>
            <p:spPr>
              <a:xfrm>
                <a:off x="5189133" y="5326471"/>
                <a:ext cx="41267" cy="90129"/>
              </a:xfrm>
              <a:custGeom>
                <a:avLst/>
                <a:gdLst>
                  <a:gd name="connsiteX0" fmla="*/ 41267 w 41267"/>
                  <a:gd name="connsiteY0" fmla="*/ 1256 h 90129"/>
                  <a:gd name="connsiteX1" fmla="*/ 2811 w 41267"/>
                  <a:gd name="connsiteY1" fmla="*/ 90130 h 90129"/>
                  <a:gd name="connsiteX2" fmla="*/ 0 w 41267"/>
                  <a:gd name="connsiteY2" fmla="*/ 88873 h 90129"/>
                  <a:gd name="connsiteX3" fmla="*/ 38456 w 41267"/>
                  <a:gd name="connsiteY3" fmla="*/ 0 h 90129"/>
                </a:gdLst>
                <a:ahLst/>
                <a:cxnLst>
                  <a:cxn ang="0">
                    <a:pos x="connsiteX0" y="connsiteY0"/>
                  </a:cxn>
                  <a:cxn ang="0">
                    <a:pos x="connsiteX1" y="connsiteY1"/>
                  </a:cxn>
                  <a:cxn ang="0">
                    <a:pos x="connsiteX2" y="connsiteY2"/>
                  </a:cxn>
                  <a:cxn ang="0">
                    <a:pos x="connsiteX3" y="connsiteY3"/>
                  </a:cxn>
                </a:cxnLst>
                <a:rect l="l" t="t" r="r" b="b"/>
                <a:pathLst>
                  <a:path w="41267" h="90129">
                    <a:moveTo>
                      <a:pt x="41267" y="1256"/>
                    </a:moveTo>
                    <a:lnTo>
                      <a:pt x="2811" y="90130"/>
                    </a:lnTo>
                    <a:lnTo>
                      <a:pt x="0" y="88873"/>
                    </a:lnTo>
                    <a:lnTo>
                      <a:pt x="38456" y="0"/>
                    </a:lnTo>
                    <a:close/>
                  </a:path>
                </a:pathLst>
              </a:custGeom>
              <a:grpFill/>
              <a:ln w="5978" cap="flat">
                <a:noFill/>
                <a:prstDash val="solid"/>
                <a:miter/>
              </a:ln>
            </p:spPr>
            <p:txBody>
              <a:bodyPr rtlCol="0" anchor="ctr"/>
              <a:lstStyle/>
              <a:p>
                <a:endParaRPr lang="en-GB"/>
              </a:p>
            </p:txBody>
          </p:sp>
          <p:sp>
            <p:nvSpPr>
              <p:cNvPr id="2305" name="Vrije vorm: vorm 2304">
                <a:extLst>
                  <a:ext uri="{FF2B5EF4-FFF2-40B4-BE49-F238E27FC236}">
                    <a16:creationId xmlns:a16="http://schemas.microsoft.com/office/drawing/2014/main" id="{F540AB7C-AE0C-4F58-8530-0814B09E9BA5}"/>
                  </a:ext>
                </a:extLst>
              </p:cNvPr>
              <p:cNvSpPr/>
              <p:nvPr/>
            </p:nvSpPr>
            <p:spPr>
              <a:xfrm>
                <a:off x="5219646" y="5318278"/>
                <a:ext cx="18373" cy="18418"/>
              </a:xfrm>
              <a:custGeom>
                <a:avLst/>
                <a:gdLst>
                  <a:gd name="connsiteX0" fmla="*/ 767 w 18373"/>
                  <a:gd name="connsiteY0" fmla="*/ 5501 h 18418"/>
                  <a:gd name="connsiteX1" fmla="*/ 12848 w 18373"/>
                  <a:gd name="connsiteY1" fmla="*/ 776 h 18418"/>
                  <a:gd name="connsiteX2" fmla="*/ 17632 w 18373"/>
                  <a:gd name="connsiteY2" fmla="*/ 12917 h 18418"/>
                  <a:gd name="connsiteX3" fmla="*/ 5551 w 18373"/>
                  <a:gd name="connsiteY3" fmla="*/ 17642 h 18418"/>
                  <a:gd name="connsiteX4" fmla="*/ 767 w 18373"/>
                  <a:gd name="connsiteY4" fmla="*/ 550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18">
                    <a:moveTo>
                      <a:pt x="767" y="5501"/>
                    </a:moveTo>
                    <a:cubicBezTo>
                      <a:pt x="2800" y="836"/>
                      <a:pt x="8183" y="-1257"/>
                      <a:pt x="12848" y="776"/>
                    </a:cubicBezTo>
                    <a:cubicBezTo>
                      <a:pt x="17513" y="2810"/>
                      <a:pt x="19606" y="8252"/>
                      <a:pt x="17632" y="12917"/>
                    </a:cubicBezTo>
                    <a:cubicBezTo>
                      <a:pt x="15599" y="17583"/>
                      <a:pt x="10216" y="19676"/>
                      <a:pt x="5551" y="17642"/>
                    </a:cubicBezTo>
                    <a:cubicBezTo>
                      <a:pt x="886" y="15609"/>
                      <a:pt x="-1267" y="10166"/>
                      <a:pt x="767" y="5501"/>
                    </a:cubicBezTo>
                    <a:close/>
                  </a:path>
                </a:pathLst>
              </a:custGeom>
              <a:grpFill/>
              <a:ln w="5978" cap="flat">
                <a:noFill/>
                <a:prstDash val="solid"/>
                <a:miter/>
              </a:ln>
            </p:spPr>
            <p:txBody>
              <a:bodyPr rtlCol="0" anchor="ctr"/>
              <a:lstStyle/>
              <a:p>
                <a:endParaRPr lang="en-GB"/>
              </a:p>
            </p:txBody>
          </p:sp>
          <p:sp>
            <p:nvSpPr>
              <p:cNvPr id="2306" name="Vrije vorm: vorm 2305">
                <a:extLst>
                  <a:ext uri="{FF2B5EF4-FFF2-40B4-BE49-F238E27FC236}">
                    <a16:creationId xmlns:a16="http://schemas.microsoft.com/office/drawing/2014/main" id="{6B3CE68A-D4CA-4917-B40B-E8EB3F1DF26E}"/>
                  </a:ext>
                </a:extLst>
              </p:cNvPr>
              <p:cNvSpPr/>
              <p:nvPr/>
            </p:nvSpPr>
            <p:spPr>
              <a:xfrm>
                <a:off x="5181548" y="5406348"/>
                <a:ext cx="18398" cy="18444"/>
              </a:xfrm>
              <a:custGeom>
                <a:avLst/>
                <a:gdLst>
                  <a:gd name="connsiteX0" fmla="*/ 767 w 18398"/>
                  <a:gd name="connsiteY0" fmla="*/ 5527 h 18444"/>
                  <a:gd name="connsiteX1" fmla="*/ 5551 w 18398"/>
                  <a:gd name="connsiteY1" fmla="*/ 17668 h 18444"/>
                  <a:gd name="connsiteX2" fmla="*/ 17632 w 18398"/>
                  <a:gd name="connsiteY2" fmla="*/ 12943 h 18444"/>
                  <a:gd name="connsiteX3" fmla="*/ 12848 w 18398"/>
                  <a:gd name="connsiteY3" fmla="*/ 802 h 18444"/>
                  <a:gd name="connsiteX4" fmla="*/ 767 w 18398"/>
                  <a:gd name="connsiteY4" fmla="*/ 5527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444">
                    <a:moveTo>
                      <a:pt x="767" y="5527"/>
                    </a:moveTo>
                    <a:cubicBezTo>
                      <a:pt x="-1267" y="10192"/>
                      <a:pt x="886" y="15634"/>
                      <a:pt x="5551" y="17668"/>
                    </a:cubicBezTo>
                    <a:cubicBezTo>
                      <a:pt x="10216" y="19701"/>
                      <a:pt x="15599" y="17608"/>
                      <a:pt x="17632" y="12943"/>
                    </a:cubicBezTo>
                    <a:cubicBezTo>
                      <a:pt x="19666" y="8278"/>
                      <a:pt x="17513" y="2835"/>
                      <a:pt x="12848" y="802"/>
                    </a:cubicBezTo>
                    <a:cubicBezTo>
                      <a:pt x="8183" y="-1291"/>
                      <a:pt x="2800" y="862"/>
                      <a:pt x="767" y="5527"/>
                    </a:cubicBezTo>
                    <a:close/>
                  </a:path>
                </a:pathLst>
              </a:custGeom>
              <a:grpFill/>
              <a:ln w="5978" cap="flat">
                <a:noFill/>
                <a:prstDash val="solid"/>
                <a:miter/>
              </a:ln>
            </p:spPr>
            <p:txBody>
              <a:bodyPr rtlCol="0" anchor="ctr"/>
              <a:lstStyle/>
              <a:p>
                <a:endParaRPr lang="en-GB"/>
              </a:p>
            </p:txBody>
          </p:sp>
        </p:grpSp>
        <p:grpSp>
          <p:nvGrpSpPr>
            <p:cNvPr id="1033" name="Graphic 3">
              <a:extLst>
                <a:ext uri="{FF2B5EF4-FFF2-40B4-BE49-F238E27FC236}">
                  <a16:creationId xmlns:a16="http://schemas.microsoft.com/office/drawing/2014/main" id="{F29763EB-EE0E-4065-A396-4E6CF05878C6}"/>
                </a:ext>
              </a:extLst>
            </p:cNvPr>
            <p:cNvGrpSpPr/>
            <p:nvPr/>
          </p:nvGrpSpPr>
          <p:grpSpPr>
            <a:xfrm>
              <a:off x="4180703" y="2425621"/>
              <a:ext cx="47945" cy="33977"/>
              <a:chOff x="4180703" y="2425621"/>
              <a:chExt cx="47945" cy="33977"/>
            </a:xfrm>
            <a:grpFill/>
          </p:grpSpPr>
          <p:sp>
            <p:nvSpPr>
              <p:cNvPr id="2301" name="Vrije vorm: vorm 2300">
                <a:extLst>
                  <a:ext uri="{FF2B5EF4-FFF2-40B4-BE49-F238E27FC236}">
                    <a16:creationId xmlns:a16="http://schemas.microsoft.com/office/drawing/2014/main" id="{41D71269-7B11-4126-92CA-70D7541D9C33}"/>
                  </a:ext>
                </a:extLst>
              </p:cNvPr>
              <p:cNvSpPr/>
              <p:nvPr/>
            </p:nvSpPr>
            <p:spPr>
              <a:xfrm>
                <a:off x="4188737" y="2433237"/>
                <a:ext cx="31877" cy="18719"/>
              </a:xfrm>
              <a:custGeom>
                <a:avLst/>
                <a:gdLst>
                  <a:gd name="connsiteX0" fmla="*/ 31877 w 31877"/>
                  <a:gd name="connsiteY0" fmla="*/ 16028 h 18719"/>
                  <a:gd name="connsiteX1" fmla="*/ 30442 w 31877"/>
                  <a:gd name="connsiteY1" fmla="*/ 18720 h 18719"/>
                  <a:gd name="connsiteX2" fmla="*/ 0 w 31877"/>
                  <a:gd name="connsiteY2" fmla="*/ 2691 h 18719"/>
                  <a:gd name="connsiteX3" fmla="*/ 1435 w 31877"/>
                  <a:gd name="connsiteY3" fmla="*/ 0 h 18719"/>
                </a:gdLst>
                <a:ahLst/>
                <a:cxnLst>
                  <a:cxn ang="0">
                    <a:pos x="connsiteX0" y="connsiteY0"/>
                  </a:cxn>
                  <a:cxn ang="0">
                    <a:pos x="connsiteX1" y="connsiteY1"/>
                  </a:cxn>
                  <a:cxn ang="0">
                    <a:pos x="connsiteX2" y="connsiteY2"/>
                  </a:cxn>
                  <a:cxn ang="0">
                    <a:pos x="connsiteX3" y="connsiteY3"/>
                  </a:cxn>
                </a:cxnLst>
                <a:rect l="l" t="t" r="r" b="b"/>
                <a:pathLst>
                  <a:path w="31877" h="18719">
                    <a:moveTo>
                      <a:pt x="31877" y="16028"/>
                    </a:moveTo>
                    <a:lnTo>
                      <a:pt x="30442" y="18720"/>
                    </a:lnTo>
                    <a:lnTo>
                      <a:pt x="0" y="2691"/>
                    </a:lnTo>
                    <a:lnTo>
                      <a:pt x="1435" y="0"/>
                    </a:lnTo>
                    <a:close/>
                  </a:path>
                </a:pathLst>
              </a:custGeom>
              <a:grpFill/>
              <a:ln w="5978" cap="flat">
                <a:noFill/>
                <a:prstDash val="solid"/>
                <a:miter/>
              </a:ln>
            </p:spPr>
            <p:txBody>
              <a:bodyPr rtlCol="0" anchor="ctr"/>
              <a:lstStyle/>
              <a:p>
                <a:endParaRPr lang="en-GB"/>
              </a:p>
            </p:txBody>
          </p:sp>
          <p:sp>
            <p:nvSpPr>
              <p:cNvPr id="2302" name="Vrije vorm: vorm 2301">
                <a:extLst>
                  <a:ext uri="{FF2B5EF4-FFF2-40B4-BE49-F238E27FC236}">
                    <a16:creationId xmlns:a16="http://schemas.microsoft.com/office/drawing/2014/main" id="{667C47F2-2658-424F-A792-797527C308CA}"/>
                  </a:ext>
                </a:extLst>
              </p:cNvPr>
              <p:cNvSpPr/>
              <p:nvPr/>
            </p:nvSpPr>
            <p:spPr>
              <a:xfrm>
                <a:off x="4180703" y="2425621"/>
                <a:ext cx="18340" cy="18400"/>
              </a:xfrm>
              <a:custGeom>
                <a:avLst/>
                <a:gdLst>
                  <a:gd name="connsiteX0" fmla="*/ 4924 w 18340"/>
                  <a:gd name="connsiteY0" fmla="*/ 17364 h 18400"/>
                  <a:gd name="connsiteX1" fmla="*/ 1037 w 18340"/>
                  <a:gd name="connsiteY1" fmla="*/ 4924 h 18400"/>
                  <a:gd name="connsiteX2" fmla="*/ 13417 w 18340"/>
                  <a:gd name="connsiteY2" fmla="*/ 1037 h 18400"/>
                  <a:gd name="connsiteX3" fmla="*/ 17304 w 18340"/>
                  <a:gd name="connsiteY3" fmla="*/ 13477 h 18400"/>
                  <a:gd name="connsiteX4" fmla="*/ 4924 w 18340"/>
                  <a:gd name="connsiteY4" fmla="*/ 1736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0">
                    <a:moveTo>
                      <a:pt x="4924" y="17364"/>
                    </a:moveTo>
                    <a:cubicBezTo>
                      <a:pt x="439" y="14972"/>
                      <a:pt x="-1296" y="9410"/>
                      <a:pt x="1037" y="4924"/>
                    </a:cubicBezTo>
                    <a:cubicBezTo>
                      <a:pt x="3369" y="439"/>
                      <a:pt x="8931" y="-1296"/>
                      <a:pt x="13417" y="1037"/>
                    </a:cubicBezTo>
                    <a:cubicBezTo>
                      <a:pt x="17902" y="3429"/>
                      <a:pt x="19637" y="8991"/>
                      <a:pt x="17304" y="13477"/>
                    </a:cubicBezTo>
                    <a:cubicBezTo>
                      <a:pt x="14972" y="17962"/>
                      <a:pt x="9410" y="19697"/>
                      <a:pt x="4924" y="17364"/>
                    </a:cubicBezTo>
                    <a:close/>
                  </a:path>
                </a:pathLst>
              </a:custGeom>
              <a:grpFill/>
              <a:ln w="5978" cap="flat">
                <a:noFill/>
                <a:prstDash val="solid"/>
                <a:miter/>
              </a:ln>
            </p:spPr>
            <p:txBody>
              <a:bodyPr rtlCol="0" anchor="ctr"/>
              <a:lstStyle/>
              <a:p>
                <a:endParaRPr lang="en-GB"/>
              </a:p>
            </p:txBody>
          </p:sp>
          <p:sp>
            <p:nvSpPr>
              <p:cNvPr id="2303" name="Vrije vorm: vorm 2302">
                <a:extLst>
                  <a:ext uri="{FF2B5EF4-FFF2-40B4-BE49-F238E27FC236}">
                    <a16:creationId xmlns:a16="http://schemas.microsoft.com/office/drawing/2014/main" id="{EDC28786-D002-40B3-A44F-2E6CB9922F0B}"/>
                  </a:ext>
                </a:extLst>
              </p:cNvPr>
              <p:cNvSpPr/>
              <p:nvPr/>
            </p:nvSpPr>
            <p:spPr>
              <a:xfrm>
                <a:off x="4210308" y="2441133"/>
                <a:ext cx="18341" cy="18465"/>
              </a:xfrm>
              <a:custGeom>
                <a:avLst/>
                <a:gdLst>
                  <a:gd name="connsiteX0" fmla="*/ 4924 w 18341"/>
                  <a:gd name="connsiteY0" fmla="*/ 17402 h 18465"/>
                  <a:gd name="connsiteX1" fmla="*/ 17304 w 18341"/>
                  <a:gd name="connsiteY1" fmla="*/ 13515 h 18465"/>
                  <a:gd name="connsiteX2" fmla="*/ 13417 w 18341"/>
                  <a:gd name="connsiteY2" fmla="*/ 1075 h 18465"/>
                  <a:gd name="connsiteX3" fmla="*/ 1037 w 18341"/>
                  <a:gd name="connsiteY3" fmla="*/ 4962 h 18465"/>
                  <a:gd name="connsiteX4" fmla="*/ 4924 w 18341"/>
                  <a:gd name="connsiteY4" fmla="*/ 1740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65">
                    <a:moveTo>
                      <a:pt x="4924" y="17402"/>
                    </a:moveTo>
                    <a:cubicBezTo>
                      <a:pt x="9410" y="19794"/>
                      <a:pt x="14972" y="18000"/>
                      <a:pt x="17304" y="13515"/>
                    </a:cubicBezTo>
                    <a:cubicBezTo>
                      <a:pt x="19637" y="9029"/>
                      <a:pt x="17902" y="3467"/>
                      <a:pt x="13417" y="1075"/>
                    </a:cubicBezTo>
                    <a:cubicBezTo>
                      <a:pt x="8931" y="-1318"/>
                      <a:pt x="3369" y="417"/>
                      <a:pt x="1037" y="4962"/>
                    </a:cubicBezTo>
                    <a:cubicBezTo>
                      <a:pt x="-1296" y="9507"/>
                      <a:pt x="439" y="15070"/>
                      <a:pt x="4924" y="17402"/>
                    </a:cubicBezTo>
                    <a:close/>
                  </a:path>
                </a:pathLst>
              </a:custGeom>
              <a:grpFill/>
              <a:ln w="5978" cap="flat">
                <a:noFill/>
                <a:prstDash val="solid"/>
                <a:miter/>
              </a:ln>
            </p:spPr>
            <p:txBody>
              <a:bodyPr rtlCol="0" anchor="ctr"/>
              <a:lstStyle/>
              <a:p>
                <a:endParaRPr lang="en-GB"/>
              </a:p>
            </p:txBody>
          </p:sp>
        </p:grpSp>
        <p:grpSp>
          <p:nvGrpSpPr>
            <p:cNvPr id="1034" name="Graphic 3">
              <a:extLst>
                <a:ext uri="{FF2B5EF4-FFF2-40B4-BE49-F238E27FC236}">
                  <a16:creationId xmlns:a16="http://schemas.microsoft.com/office/drawing/2014/main" id="{D50BBBAC-7EA8-4B08-B07C-779529BCBC8A}"/>
                </a:ext>
              </a:extLst>
            </p:cNvPr>
            <p:cNvGrpSpPr/>
            <p:nvPr/>
          </p:nvGrpSpPr>
          <p:grpSpPr>
            <a:xfrm>
              <a:off x="4217292" y="2770336"/>
              <a:ext cx="235744" cy="94203"/>
              <a:chOff x="4217292" y="2770336"/>
              <a:chExt cx="235744" cy="94203"/>
            </a:xfrm>
            <a:grpFill/>
          </p:grpSpPr>
          <p:sp>
            <p:nvSpPr>
              <p:cNvPr id="2298" name="Vrije vorm: vorm 2297">
                <a:extLst>
                  <a:ext uri="{FF2B5EF4-FFF2-40B4-BE49-F238E27FC236}">
                    <a16:creationId xmlns:a16="http://schemas.microsoft.com/office/drawing/2014/main" id="{61EF8B82-2E15-48B0-B827-47B7FEC16B17}"/>
                  </a:ext>
                </a:extLst>
              </p:cNvPr>
              <p:cNvSpPr/>
              <p:nvPr/>
            </p:nvSpPr>
            <p:spPr>
              <a:xfrm>
                <a:off x="4225519" y="2777906"/>
                <a:ext cx="219253" cy="79005"/>
              </a:xfrm>
              <a:custGeom>
                <a:avLst/>
                <a:gdLst>
                  <a:gd name="connsiteX0" fmla="*/ 219253 w 219253"/>
                  <a:gd name="connsiteY0" fmla="*/ 76135 h 79005"/>
                  <a:gd name="connsiteX1" fmla="*/ 218237 w 219253"/>
                  <a:gd name="connsiteY1" fmla="*/ 79005 h 79005"/>
                  <a:gd name="connsiteX2" fmla="*/ 0 w 219253"/>
                  <a:gd name="connsiteY2" fmla="*/ 2931 h 79005"/>
                  <a:gd name="connsiteX3" fmla="*/ 957 w 219253"/>
                  <a:gd name="connsiteY3" fmla="*/ 0 h 79005"/>
                </a:gdLst>
                <a:ahLst/>
                <a:cxnLst>
                  <a:cxn ang="0">
                    <a:pos x="connsiteX0" y="connsiteY0"/>
                  </a:cxn>
                  <a:cxn ang="0">
                    <a:pos x="connsiteX1" y="connsiteY1"/>
                  </a:cxn>
                  <a:cxn ang="0">
                    <a:pos x="connsiteX2" y="connsiteY2"/>
                  </a:cxn>
                  <a:cxn ang="0">
                    <a:pos x="connsiteX3" y="connsiteY3"/>
                  </a:cxn>
                </a:cxnLst>
                <a:rect l="l" t="t" r="r" b="b"/>
                <a:pathLst>
                  <a:path w="219253" h="79005">
                    <a:moveTo>
                      <a:pt x="219253" y="76135"/>
                    </a:moveTo>
                    <a:lnTo>
                      <a:pt x="218237" y="79005"/>
                    </a:lnTo>
                    <a:lnTo>
                      <a:pt x="0" y="2931"/>
                    </a:lnTo>
                    <a:lnTo>
                      <a:pt x="957" y="0"/>
                    </a:lnTo>
                    <a:close/>
                  </a:path>
                </a:pathLst>
              </a:custGeom>
              <a:grpFill/>
              <a:ln w="5978" cap="flat">
                <a:noFill/>
                <a:prstDash val="solid"/>
                <a:miter/>
              </a:ln>
            </p:spPr>
            <p:txBody>
              <a:bodyPr rtlCol="0" anchor="ctr"/>
              <a:lstStyle/>
              <a:p>
                <a:endParaRPr lang="en-GB"/>
              </a:p>
            </p:txBody>
          </p:sp>
          <p:sp>
            <p:nvSpPr>
              <p:cNvPr id="2299" name="Vrije vorm: vorm 2298">
                <a:extLst>
                  <a:ext uri="{FF2B5EF4-FFF2-40B4-BE49-F238E27FC236}">
                    <a16:creationId xmlns:a16="http://schemas.microsoft.com/office/drawing/2014/main" id="{B12AC878-9E1B-4A09-835B-AFF615CCEA9E}"/>
                  </a:ext>
                </a:extLst>
              </p:cNvPr>
              <p:cNvSpPr/>
              <p:nvPr/>
            </p:nvSpPr>
            <p:spPr>
              <a:xfrm>
                <a:off x="4217292" y="2770336"/>
                <a:ext cx="18368" cy="18428"/>
              </a:xfrm>
              <a:custGeom>
                <a:avLst/>
                <a:gdLst>
                  <a:gd name="connsiteX0" fmla="*/ 6194 w 18368"/>
                  <a:gd name="connsiteY0" fmla="*/ 17916 h 18428"/>
                  <a:gd name="connsiteX1" fmla="*/ 512 w 18368"/>
                  <a:gd name="connsiteY1" fmla="*/ 6194 h 18428"/>
                  <a:gd name="connsiteX2" fmla="*/ 12174 w 18368"/>
                  <a:gd name="connsiteY2" fmla="*/ 512 h 18428"/>
                  <a:gd name="connsiteX3" fmla="*/ 17856 w 18368"/>
                  <a:gd name="connsiteY3" fmla="*/ 12234 h 18428"/>
                  <a:gd name="connsiteX4" fmla="*/ 6194 w 18368"/>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6194" y="17916"/>
                    </a:moveTo>
                    <a:cubicBezTo>
                      <a:pt x="1409" y="16241"/>
                      <a:pt x="-1163" y="10978"/>
                      <a:pt x="512" y="6194"/>
                    </a:cubicBezTo>
                    <a:cubicBezTo>
                      <a:pt x="2127" y="1409"/>
                      <a:pt x="7390" y="-1162"/>
                      <a:pt x="12174" y="512"/>
                    </a:cubicBezTo>
                    <a:cubicBezTo>
                      <a:pt x="16959" y="2187"/>
                      <a:pt x="19531" y="7450"/>
                      <a:pt x="17856" y="12234"/>
                    </a:cubicBezTo>
                    <a:cubicBezTo>
                      <a:pt x="16182" y="17019"/>
                      <a:pt x="10978" y="19591"/>
                      <a:pt x="6194" y="17916"/>
                    </a:cubicBezTo>
                    <a:close/>
                  </a:path>
                </a:pathLst>
              </a:custGeom>
              <a:grpFill/>
              <a:ln w="5978" cap="flat">
                <a:noFill/>
                <a:prstDash val="solid"/>
                <a:miter/>
              </a:ln>
            </p:spPr>
            <p:txBody>
              <a:bodyPr rtlCol="0" anchor="ctr"/>
              <a:lstStyle/>
              <a:p>
                <a:endParaRPr lang="en-GB"/>
              </a:p>
            </p:txBody>
          </p:sp>
          <p:sp>
            <p:nvSpPr>
              <p:cNvPr id="2300" name="Vrije vorm: vorm 2299">
                <a:extLst>
                  <a:ext uri="{FF2B5EF4-FFF2-40B4-BE49-F238E27FC236}">
                    <a16:creationId xmlns:a16="http://schemas.microsoft.com/office/drawing/2014/main" id="{28A89A08-DD37-4055-93F7-63A2AC6A5131}"/>
                  </a:ext>
                </a:extLst>
              </p:cNvPr>
              <p:cNvSpPr/>
              <p:nvPr/>
            </p:nvSpPr>
            <p:spPr>
              <a:xfrm>
                <a:off x="4434691" y="2846112"/>
                <a:ext cx="18345" cy="18428"/>
              </a:xfrm>
              <a:custGeom>
                <a:avLst/>
                <a:gdLst>
                  <a:gd name="connsiteX0" fmla="*/ 6194 w 18345"/>
                  <a:gd name="connsiteY0" fmla="*/ 17916 h 18428"/>
                  <a:gd name="connsiteX1" fmla="*/ 17856 w 18345"/>
                  <a:gd name="connsiteY1" fmla="*/ 12234 h 18428"/>
                  <a:gd name="connsiteX2" fmla="*/ 12175 w 18345"/>
                  <a:gd name="connsiteY2" fmla="*/ 512 h 18428"/>
                  <a:gd name="connsiteX3" fmla="*/ 512 w 18345"/>
                  <a:gd name="connsiteY3" fmla="*/ 6194 h 18428"/>
                  <a:gd name="connsiteX4" fmla="*/ 6194 w 18345"/>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8">
                    <a:moveTo>
                      <a:pt x="6194" y="17916"/>
                    </a:moveTo>
                    <a:cubicBezTo>
                      <a:pt x="10978" y="19591"/>
                      <a:pt x="16182" y="17019"/>
                      <a:pt x="17856" y="12234"/>
                    </a:cubicBezTo>
                    <a:cubicBezTo>
                      <a:pt x="19471" y="7450"/>
                      <a:pt x="16959" y="2187"/>
                      <a:pt x="12175" y="512"/>
                    </a:cubicBezTo>
                    <a:cubicBezTo>
                      <a:pt x="7390" y="-1162"/>
                      <a:pt x="2187" y="1409"/>
                      <a:pt x="512" y="6194"/>
                    </a:cubicBezTo>
                    <a:cubicBezTo>
                      <a:pt x="-1163" y="10978"/>
                      <a:pt x="1409" y="16241"/>
                      <a:pt x="6194" y="17916"/>
                    </a:cubicBezTo>
                    <a:close/>
                  </a:path>
                </a:pathLst>
              </a:custGeom>
              <a:grpFill/>
              <a:ln w="5978" cap="flat">
                <a:noFill/>
                <a:prstDash val="solid"/>
                <a:miter/>
              </a:ln>
            </p:spPr>
            <p:txBody>
              <a:bodyPr rtlCol="0" anchor="ctr"/>
              <a:lstStyle/>
              <a:p>
                <a:endParaRPr lang="en-GB"/>
              </a:p>
            </p:txBody>
          </p:sp>
        </p:grpSp>
        <p:grpSp>
          <p:nvGrpSpPr>
            <p:cNvPr id="1035" name="Graphic 3">
              <a:extLst>
                <a:ext uri="{FF2B5EF4-FFF2-40B4-BE49-F238E27FC236}">
                  <a16:creationId xmlns:a16="http://schemas.microsoft.com/office/drawing/2014/main" id="{E3152B2D-A7A3-41A4-8EA9-59B0870AC87A}"/>
                </a:ext>
              </a:extLst>
            </p:cNvPr>
            <p:cNvGrpSpPr/>
            <p:nvPr/>
          </p:nvGrpSpPr>
          <p:grpSpPr>
            <a:xfrm>
              <a:off x="4174964" y="2716135"/>
              <a:ext cx="282625" cy="116101"/>
              <a:chOff x="4174964" y="2716135"/>
              <a:chExt cx="282625" cy="116101"/>
            </a:xfrm>
            <a:grpFill/>
          </p:grpSpPr>
          <p:sp>
            <p:nvSpPr>
              <p:cNvPr id="2295" name="Vrije vorm: vorm 2294">
                <a:extLst>
                  <a:ext uri="{FF2B5EF4-FFF2-40B4-BE49-F238E27FC236}">
                    <a16:creationId xmlns:a16="http://schemas.microsoft.com/office/drawing/2014/main" id="{F30387B0-7136-4031-9541-6558FC33BFBB}"/>
                  </a:ext>
                </a:extLst>
              </p:cNvPr>
              <p:cNvSpPr/>
              <p:nvPr/>
            </p:nvSpPr>
            <p:spPr>
              <a:xfrm>
                <a:off x="4183235" y="2723780"/>
                <a:ext cx="266142" cy="100835"/>
              </a:xfrm>
              <a:custGeom>
                <a:avLst/>
                <a:gdLst>
                  <a:gd name="connsiteX0" fmla="*/ 266142 w 266142"/>
                  <a:gd name="connsiteY0" fmla="*/ 97964 h 100835"/>
                  <a:gd name="connsiteX1" fmla="*/ 265066 w 266142"/>
                  <a:gd name="connsiteY1" fmla="*/ 100835 h 100835"/>
                  <a:gd name="connsiteX2" fmla="*/ 0 w 266142"/>
                  <a:gd name="connsiteY2" fmla="*/ 2871 h 100835"/>
                  <a:gd name="connsiteX3" fmla="*/ 1017 w 266142"/>
                  <a:gd name="connsiteY3" fmla="*/ 0 h 100835"/>
                </a:gdLst>
                <a:ahLst/>
                <a:cxnLst>
                  <a:cxn ang="0">
                    <a:pos x="connsiteX0" y="connsiteY0"/>
                  </a:cxn>
                  <a:cxn ang="0">
                    <a:pos x="connsiteX1" y="connsiteY1"/>
                  </a:cxn>
                  <a:cxn ang="0">
                    <a:pos x="connsiteX2" y="connsiteY2"/>
                  </a:cxn>
                  <a:cxn ang="0">
                    <a:pos x="connsiteX3" y="connsiteY3"/>
                  </a:cxn>
                </a:cxnLst>
                <a:rect l="l" t="t" r="r" b="b"/>
                <a:pathLst>
                  <a:path w="266142" h="100835">
                    <a:moveTo>
                      <a:pt x="266142" y="97964"/>
                    </a:moveTo>
                    <a:lnTo>
                      <a:pt x="265066" y="100835"/>
                    </a:lnTo>
                    <a:lnTo>
                      <a:pt x="0" y="2871"/>
                    </a:lnTo>
                    <a:lnTo>
                      <a:pt x="1017" y="0"/>
                    </a:lnTo>
                    <a:close/>
                  </a:path>
                </a:pathLst>
              </a:custGeom>
              <a:grpFill/>
              <a:ln w="5978" cap="flat">
                <a:noFill/>
                <a:prstDash val="solid"/>
                <a:miter/>
              </a:ln>
            </p:spPr>
            <p:txBody>
              <a:bodyPr rtlCol="0" anchor="ctr"/>
              <a:lstStyle/>
              <a:p>
                <a:endParaRPr lang="en-GB"/>
              </a:p>
            </p:txBody>
          </p:sp>
          <p:sp>
            <p:nvSpPr>
              <p:cNvPr id="2296" name="Vrije vorm: vorm 2295">
                <a:extLst>
                  <a:ext uri="{FF2B5EF4-FFF2-40B4-BE49-F238E27FC236}">
                    <a16:creationId xmlns:a16="http://schemas.microsoft.com/office/drawing/2014/main" id="{C273688A-92B2-48B6-872D-6ADFDC2F2005}"/>
                  </a:ext>
                </a:extLst>
              </p:cNvPr>
              <p:cNvSpPr/>
              <p:nvPr/>
            </p:nvSpPr>
            <p:spPr>
              <a:xfrm>
                <a:off x="4174964" y="2716135"/>
                <a:ext cx="18337" cy="18429"/>
              </a:xfrm>
              <a:custGeom>
                <a:avLst/>
                <a:gdLst>
                  <a:gd name="connsiteX0" fmla="*/ 6059 w 18337"/>
                  <a:gd name="connsiteY0" fmla="*/ 17872 h 18429"/>
                  <a:gd name="connsiteX1" fmla="*/ 557 w 18337"/>
                  <a:gd name="connsiteY1" fmla="*/ 6031 h 18429"/>
                  <a:gd name="connsiteX2" fmla="*/ 12279 w 18337"/>
                  <a:gd name="connsiteY2" fmla="*/ 588 h 18429"/>
                  <a:gd name="connsiteX3" fmla="*/ 17781 w 18337"/>
                  <a:gd name="connsiteY3" fmla="*/ 12430 h 18429"/>
                  <a:gd name="connsiteX4" fmla="*/ 6059 w 18337"/>
                  <a:gd name="connsiteY4" fmla="*/ 1787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29">
                    <a:moveTo>
                      <a:pt x="6059" y="17872"/>
                    </a:moveTo>
                    <a:cubicBezTo>
                      <a:pt x="1274" y="16138"/>
                      <a:pt x="-1178" y="10815"/>
                      <a:pt x="557" y="6031"/>
                    </a:cubicBezTo>
                    <a:cubicBezTo>
                      <a:pt x="2291" y="1246"/>
                      <a:pt x="7554" y="-1206"/>
                      <a:pt x="12279" y="588"/>
                    </a:cubicBezTo>
                    <a:cubicBezTo>
                      <a:pt x="17063" y="2323"/>
                      <a:pt x="19516" y="7645"/>
                      <a:pt x="17781" y="12430"/>
                    </a:cubicBezTo>
                    <a:cubicBezTo>
                      <a:pt x="16106" y="17155"/>
                      <a:pt x="10843" y="19607"/>
                      <a:pt x="6059" y="17872"/>
                    </a:cubicBezTo>
                    <a:close/>
                  </a:path>
                </a:pathLst>
              </a:custGeom>
              <a:grpFill/>
              <a:ln w="5978" cap="flat">
                <a:noFill/>
                <a:prstDash val="solid"/>
                <a:miter/>
              </a:ln>
            </p:spPr>
            <p:txBody>
              <a:bodyPr rtlCol="0" anchor="ctr"/>
              <a:lstStyle/>
              <a:p>
                <a:endParaRPr lang="en-GB"/>
              </a:p>
            </p:txBody>
          </p:sp>
          <p:sp>
            <p:nvSpPr>
              <p:cNvPr id="2297" name="Vrije vorm: vorm 2296">
                <a:extLst>
                  <a:ext uri="{FF2B5EF4-FFF2-40B4-BE49-F238E27FC236}">
                    <a16:creationId xmlns:a16="http://schemas.microsoft.com/office/drawing/2014/main" id="{B2D9191D-A208-47EF-ACBB-A5D55D50B339}"/>
                  </a:ext>
                </a:extLst>
              </p:cNvPr>
              <p:cNvSpPr/>
              <p:nvPr/>
            </p:nvSpPr>
            <p:spPr>
              <a:xfrm>
                <a:off x="4439252" y="2813824"/>
                <a:ext cx="18337" cy="18412"/>
              </a:xfrm>
              <a:custGeom>
                <a:avLst/>
                <a:gdLst>
                  <a:gd name="connsiteX0" fmla="*/ 6059 w 18337"/>
                  <a:gd name="connsiteY0" fmla="*/ 17848 h 18412"/>
                  <a:gd name="connsiteX1" fmla="*/ 17781 w 18337"/>
                  <a:gd name="connsiteY1" fmla="*/ 12406 h 18412"/>
                  <a:gd name="connsiteX2" fmla="*/ 12279 w 18337"/>
                  <a:gd name="connsiteY2" fmla="*/ 564 h 18412"/>
                  <a:gd name="connsiteX3" fmla="*/ 557 w 18337"/>
                  <a:gd name="connsiteY3" fmla="*/ 6006 h 18412"/>
                  <a:gd name="connsiteX4" fmla="*/ 6059 w 18337"/>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2">
                    <a:moveTo>
                      <a:pt x="6059" y="17848"/>
                    </a:moveTo>
                    <a:cubicBezTo>
                      <a:pt x="10843" y="19583"/>
                      <a:pt x="16047" y="17190"/>
                      <a:pt x="17781" y="12406"/>
                    </a:cubicBezTo>
                    <a:cubicBezTo>
                      <a:pt x="19516" y="7621"/>
                      <a:pt x="17063" y="2358"/>
                      <a:pt x="12279" y="564"/>
                    </a:cubicBezTo>
                    <a:cubicBezTo>
                      <a:pt x="7494" y="-1170"/>
                      <a:pt x="2291" y="1222"/>
                      <a:pt x="557" y="6006"/>
                    </a:cubicBezTo>
                    <a:cubicBezTo>
                      <a:pt x="-1178" y="10791"/>
                      <a:pt x="1274" y="16114"/>
                      <a:pt x="6059" y="17848"/>
                    </a:cubicBezTo>
                    <a:close/>
                  </a:path>
                </a:pathLst>
              </a:custGeom>
              <a:grpFill/>
              <a:ln w="5978" cap="flat">
                <a:noFill/>
                <a:prstDash val="solid"/>
                <a:miter/>
              </a:ln>
            </p:spPr>
            <p:txBody>
              <a:bodyPr rtlCol="0" anchor="ctr"/>
              <a:lstStyle/>
              <a:p>
                <a:endParaRPr lang="en-GB"/>
              </a:p>
            </p:txBody>
          </p:sp>
        </p:grpSp>
        <p:grpSp>
          <p:nvGrpSpPr>
            <p:cNvPr id="1036" name="Graphic 3">
              <a:extLst>
                <a:ext uri="{FF2B5EF4-FFF2-40B4-BE49-F238E27FC236}">
                  <a16:creationId xmlns:a16="http://schemas.microsoft.com/office/drawing/2014/main" id="{81898974-0066-4639-837D-67A0B2243FB2}"/>
                </a:ext>
              </a:extLst>
            </p:cNvPr>
            <p:cNvGrpSpPr/>
            <p:nvPr/>
          </p:nvGrpSpPr>
          <p:grpSpPr>
            <a:xfrm>
              <a:off x="4198749" y="2563425"/>
              <a:ext cx="121540" cy="65607"/>
              <a:chOff x="4198749" y="2563425"/>
              <a:chExt cx="121540" cy="65607"/>
            </a:xfrm>
            <a:grpFill/>
          </p:grpSpPr>
          <p:sp>
            <p:nvSpPr>
              <p:cNvPr id="2292" name="Vrije vorm: vorm 2291">
                <a:extLst>
                  <a:ext uri="{FF2B5EF4-FFF2-40B4-BE49-F238E27FC236}">
                    <a16:creationId xmlns:a16="http://schemas.microsoft.com/office/drawing/2014/main" id="{B1230367-7658-4E41-A80D-10D25687816B}"/>
                  </a:ext>
                </a:extLst>
              </p:cNvPr>
              <p:cNvSpPr/>
              <p:nvPr/>
            </p:nvSpPr>
            <p:spPr>
              <a:xfrm>
                <a:off x="4206859" y="2571033"/>
                <a:ext cx="105260" cy="50357"/>
              </a:xfrm>
              <a:custGeom>
                <a:avLst/>
                <a:gdLst>
                  <a:gd name="connsiteX0" fmla="*/ 105261 w 105260"/>
                  <a:gd name="connsiteY0" fmla="*/ 47607 h 50357"/>
                  <a:gd name="connsiteX1" fmla="*/ 104005 w 105260"/>
                  <a:gd name="connsiteY1" fmla="*/ 50358 h 50357"/>
                  <a:gd name="connsiteX2" fmla="*/ 0 w 105260"/>
                  <a:gd name="connsiteY2" fmla="*/ 2811 h 50357"/>
                  <a:gd name="connsiteX3" fmla="*/ 1256 w 105260"/>
                  <a:gd name="connsiteY3" fmla="*/ 0 h 50357"/>
                </a:gdLst>
                <a:ahLst/>
                <a:cxnLst>
                  <a:cxn ang="0">
                    <a:pos x="connsiteX0" y="connsiteY0"/>
                  </a:cxn>
                  <a:cxn ang="0">
                    <a:pos x="connsiteX1" y="connsiteY1"/>
                  </a:cxn>
                  <a:cxn ang="0">
                    <a:pos x="connsiteX2" y="connsiteY2"/>
                  </a:cxn>
                  <a:cxn ang="0">
                    <a:pos x="connsiteX3" y="connsiteY3"/>
                  </a:cxn>
                </a:cxnLst>
                <a:rect l="l" t="t" r="r" b="b"/>
                <a:pathLst>
                  <a:path w="105260" h="50357">
                    <a:moveTo>
                      <a:pt x="105261" y="47607"/>
                    </a:moveTo>
                    <a:lnTo>
                      <a:pt x="104005" y="50358"/>
                    </a:lnTo>
                    <a:lnTo>
                      <a:pt x="0" y="2811"/>
                    </a:lnTo>
                    <a:lnTo>
                      <a:pt x="1256" y="0"/>
                    </a:lnTo>
                    <a:close/>
                  </a:path>
                </a:pathLst>
              </a:custGeom>
              <a:grpFill/>
              <a:ln w="5978" cap="flat">
                <a:noFill/>
                <a:prstDash val="solid"/>
                <a:miter/>
              </a:ln>
            </p:spPr>
            <p:txBody>
              <a:bodyPr rtlCol="0" anchor="ctr"/>
              <a:lstStyle/>
              <a:p>
                <a:endParaRPr lang="en-GB"/>
              </a:p>
            </p:txBody>
          </p:sp>
          <p:sp>
            <p:nvSpPr>
              <p:cNvPr id="2293" name="Vrije vorm: vorm 2292">
                <a:extLst>
                  <a:ext uri="{FF2B5EF4-FFF2-40B4-BE49-F238E27FC236}">
                    <a16:creationId xmlns:a16="http://schemas.microsoft.com/office/drawing/2014/main" id="{C4ADAEBB-D0F5-4A99-A67C-F25627B33777}"/>
                  </a:ext>
                </a:extLst>
              </p:cNvPr>
              <p:cNvSpPr/>
              <p:nvPr/>
            </p:nvSpPr>
            <p:spPr>
              <a:xfrm>
                <a:off x="4198749" y="2563425"/>
                <a:ext cx="18372" cy="18419"/>
              </a:xfrm>
              <a:custGeom>
                <a:avLst/>
                <a:gdLst>
                  <a:gd name="connsiteX0" fmla="*/ 5419 w 18372"/>
                  <a:gd name="connsiteY0" fmla="*/ 17596 h 18419"/>
                  <a:gd name="connsiteX1" fmla="*/ 813 w 18372"/>
                  <a:gd name="connsiteY1" fmla="*/ 5395 h 18419"/>
                  <a:gd name="connsiteX2" fmla="*/ 12954 w 18372"/>
                  <a:gd name="connsiteY2" fmla="*/ 849 h 18419"/>
                  <a:gd name="connsiteX3" fmla="*/ 17560 w 18372"/>
                  <a:gd name="connsiteY3" fmla="*/ 13050 h 18419"/>
                  <a:gd name="connsiteX4" fmla="*/ 5419 w 18372"/>
                  <a:gd name="connsiteY4" fmla="*/ 1759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19">
                    <a:moveTo>
                      <a:pt x="5419" y="17596"/>
                    </a:moveTo>
                    <a:cubicBezTo>
                      <a:pt x="813" y="15502"/>
                      <a:pt x="-1280" y="10000"/>
                      <a:pt x="813" y="5395"/>
                    </a:cubicBezTo>
                    <a:cubicBezTo>
                      <a:pt x="2907" y="790"/>
                      <a:pt x="8349" y="-1304"/>
                      <a:pt x="12954" y="849"/>
                    </a:cubicBezTo>
                    <a:cubicBezTo>
                      <a:pt x="17560" y="2943"/>
                      <a:pt x="19653" y="8445"/>
                      <a:pt x="17560" y="13050"/>
                    </a:cubicBezTo>
                    <a:cubicBezTo>
                      <a:pt x="15406" y="17655"/>
                      <a:pt x="10024" y="19689"/>
                      <a:pt x="5419" y="17596"/>
                    </a:cubicBezTo>
                    <a:close/>
                  </a:path>
                </a:pathLst>
              </a:custGeom>
              <a:grpFill/>
              <a:ln w="5978" cap="flat">
                <a:noFill/>
                <a:prstDash val="solid"/>
                <a:miter/>
              </a:ln>
            </p:spPr>
            <p:txBody>
              <a:bodyPr rtlCol="0" anchor="ctr"/>
              <a:lstStyle/>
              <a:p>
                <a:endParaRPr lang="en-GB"/>
              </a:p>
            </p:txBody>
          </p:sp>
          <p:sp>
            <p:nvSpPr>
              <p:cNvPr id="2294" name="Vrije vorm: vorm 2293">
                <a:extLst>
                  <a:ext uri="{FF2B5EF4-FFF2-40B4-BE49-F238E27FC236}">
                    <a16:creationId xmlns:a16="http://schemas.microsoft.com/office/drawing/2014/main" id="{CA7D715E-E64D-4797-B983-345242D5FC4B}"/>
                  </a:ext>
                </a:extLst>
              </p:cNvPr>
              <p:cNvSpPr/>
              <p:nvPr/>
            </p:nvSpPr>
            <p:spPr>
              <a:xfrm>
                <a:off x="4301917" y="2610639"/>
                <a:ext cx="18372" cy="18393"/>
              </a:xfrm>
              <a:custGeom>
                <a:avLst/>
                <a:gdLst>
                  <a:gd name="connsiteX0" fmla="*/ 5419 w 18372"/>
                  <a:gd name="connsiteY0" fmla="*/ 17570 h 18393"/>
                  <a:gd name="connsiteX1" fmla="*/ 17560 w 18372"/>
                  <a:gd name="connsiteY1" fmla="*/ 13024 h 18393"/>
                  <a:gd name="connsiteX2" fmla="*/ 12954 w 18372"/>
                  <a:gd name="connsiteY2" fmla="*/ 824 h 18393"/>
                  <a:gd name="connsiteX3" fmla="*/ 813 w 18372"/>
                  <a:gd name="connsiteY3" fmla="*/ 5369 h 18393"/>
                  <a:gd name="connsiteX4" fmla="*/ 5419 w 18372"/>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393">
                    <a:moveTo>
                      <a:pt x="5419" y="17570"/>
                    </a:moveTo>
                    <a:cubicBezTo>
                      <a:pt x="10024" y="19663"/>
                      <a:pt x="15466" y="17630"/>
                      <a:pt x="17560" y="13024"/>
                    </a:cubicBezTo>
                    <a:cubicBezTo>
                      <a:pt x="19653" y="8419"/>
                      <a:pt x="17560" y="2917"/>
                      <a:pt x="12954" y="824"/>
                    </a:cubicBezTo>
                    <a:cubicBezTo>
                      <a:pt x="8349" y="-1270"/>
                      <a:pt x="2907" y="764"/>
                      <a:pt x="813" y="5369"/>
                    </a:cubicBezTo>
                    <a:cubicBezTo>
                      <a:pt x="-1280" y="9974"/>
                      <a:pt x="813" y="15477"/>
                      <a:pt x="5419" y="17570"/>
                    </a:cubicBezTo>
                    <a:close/>
                  </a:path>
                </a:pathLst>
              </a:custGeom>
              <a:grpFill/>
              <a:ln w="5978" cap="flat">
                <a:noFill/>
                <a:prstDash val="solid"/>
                <a:miter/>
              </a:ln>
            </p:spPr>
            <p:txBody>
              <a:bodyPr rtlCol="0" anchor="ctr"/>
              <a:lstStyle/>
              <a:p>
                <a:endParaRPr lang="en-GB"/>
              </a:p>
            </p:txBody>
          </p:sp>
        </p:grpSp>
        <p:grpSp>
          <p:nvGrpSpPr>
            <p:cNvPr id="1037" name="Graphic 3">
              <a:extLst>
                <a:ext uri="{FF2B5EF4-FFF2-40B4-BE49-F238E27FC236}">
                  <a16:creationId xmlns:a16="http://schemas.microsoft.com/office/drawing/2014/main" id="{E4A091D9-8104-4BD6-9532-EE5032A27227}"/>
                </a:ext>
              </a:extLst>
            </p:cNvPr>
            <p:cNvGrpSpPr/>
            <p:nvPr/>
          </p:nvGrpSpPr>
          <p:grpSpPr>
            <a:xfrm>
              <a:off x="4148780" y="2665941"/>
              <a:ext cx="315615" cy="134670"/>
              <a:chOff x="4148780" y="2665941"/>
              <a:chExt cx="315615" cy="134670"/>
            </a:xfrm>
            <a:grpFill/>
          </p:grpSpPr>
          <p:sp>
            <p:nvSpPr>
              <p:cNvPr id="2289" name="Vrije vorm: vorm 2288">
                <a:extLst>
                  <a:ext uri="{FF2B5EF4-FFF2-40B4-BE49-F238E27FC236}">
                    <a16:creationId xmlns:a16="http://schemas.microsoft.com/office/drawing/2014/main" id="{0B6D7B19-1007-46CD-AAC3-3C57C39F8A14}"/>
                  </a:ext>
                </a:extLst>
              </p:cNvPr>
              <p:cNvSpPr/>
              <p:nvPr/>
            </p:nvSpPr>
            <p:spPr>
              <a:xfrm>
                <a:off x="4156980" y="2673542"/>
                <a:ext cx="299215" cy="119435"/>
              </a:xfrm>
              <a:custGeom>
                <a:avLst/>
                <a:gdLst>
                  <a:gd name="connsiteX0" fmla="*/ 299216 w 299215"/>
                  <a:gd name="connsiteY0" fmla="*/ 116564 h 119435"/>
                  <a:gd name="connsiteX1" fmla="*/ 298139 w 299215"/>
                  <a:gd name="connsiteY1" fmla="*/ 119435 h 119435"/>
                  <a:gd name="connsiteX2" fmla="*/ 0 w 299215"/>
                  <a:gd name="connsiteY2" fmla="*/ 2871 h 119435"/>
                  <a:gd name="connsiteX3" fmla="*/ 1076 w 299215"/>
                  <a:gd name="connsiteY3" fmla="*/ 0 h 119435"/>
                </a:gdLst>
                <a:ahLst/>
                <a:cxnLst>
                  <a:cxn ang="0">
                    <a:pos x="connsiteX0" y="connsiteY0"/>
                  </a:cxn>
                  <a:cxn ang="0">
                    <a:pos x="connsiteX1" y="connsiteY1"/>
                  </a:cxn>
                  <a:cxn ang="0">
                    <a:pos x="connsiteX2" y="connsiteY2"/>
                  </a:cxn>
                  <a:cxn ang="0">
                    <a:pos x="connsiteX3" y="connsiteY3"/>
                  </a:cxn>
                </a:cxnLst>
                <a:rect l="l" t="t" r="r" b="b"/>
                <a:pathLst>
                  <a:path w="299215" h="119435">
                    <a:moveTo>
                      <a:pt x="299216" y="116564"/>
                    </a:moveTo>
                    <a:lnTo>
                      <a:pt x="298139" y="119435"/>
                    </a:lnTo>
                    <a:lnTo>
                      <a:pt x="0" y="2871"/>
                    </a:lnTo>
                    <a:lnTo>
                      <a:pt x="1076" y="0"/>
                    </a:lnTo>
                    <a:close/>
                  </a:path>
                </a:pathLst>
              </a:custGeom>
              <a:grpFill/>
              <a:ln w="5978" cap="flat">
                <a:noFill/>
                <a:prstDash val="solid"/>
                <a:miter/>
              </a:ln>
            </p:spPr>
            <p:txBody>
              <a:bodyPr rtlCol="0" anchor="ctr"/>
              <a:lstStyle/>
              <a:p>
                <a:endParaRPr lang="en-GB"/>
              </a:p>
            </p:txBody>
          </p:sp>
          <p:sp>
            <p:nvSpPr>
              <p:cNvPr id="2290" name="Vrije vorm: vorm 2289">
                <a:extLst>
                  <a:ext uri="{FF2B5EF4-FFF2-40B4-BE49-F238E27FC236}">
                    <a16:creationId xmlns:a16="http://schemas.microsoft.com/office/drawing/2014/main" id="{EE2CC262-30D5-4955-A515-7F12D848F3D2}"/>
                  </a:ext>
                </a:extLst>
              </p:cNvPr>
              <p:cNvSpPr/>
              <p:nvPr/>
            </p:nvSpPr>
            <p:spPr>
              <a:xfrm>
                <a:off x="4148780" y="2665941"/>
                <a:ext cx="18313" cy="18404"/>
              </a:xfrm>
              <a:custGeom>
                <a:avLst/>
                <a:gdLst>
                  <a:gd name="connsiteX0" fmla="*/ 5867 w 18313"/>
                  <a:gd name="connsiteY0" fmla="*/ 17769 h 18404"/>
                  <a:gd name="connsiteX1" fmla="*/ 604 w 18313"/>
                  <a:gd name="connsiteY1" fmla="*/ 5867 h 18404"/>
                  <a:gd name="connsiteX2" fmla="*/ 12446 w 18313"/>
                  <a:gd name="connsiteY2" fmla="*/ 604 h 18404"/>
                  <a:gd name="connsiteX3" fmla="*/ 17709 w 18313"/>
                  <a:gd name="connsiteY3" fmla="*/ 12506 h 18404"/>
                  <a:gd name="connsiteX4" fmla="*/ 5867 w 18313"/>
                  <a:gd name="connsiteY4" fmla="*/ 1776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5867" y="17769"/>
                    </a:moveTo>
                    <a:cubicBezTo>
                      <a:pt x="1142" y="15915"/>
                      <a:pt x="-1190" y="10592"/>
                      <a:pt x="604" y="5867"/>
                    </a:cubicBezTo>
                    <a:cubicBezTo>
                      <a:pt x="2399" y="1142"/>
                      <a:pt x="7721" y="-1190"/>
                      <a:pt x="12446" y="604"/>
                    </a:cubicBezTo>
                    <a:cubicBezTo>
                      <a:pt x="17171" y="2458"/>
                      <a:pt x="19503" y="7781"/>
                      <a:pt x="17709" y="12506"/>
                    </a:cubicBezTo>
                    <a:cubicBezTo>
                      <a:pt x="15915" y="17290"/>
                      <a:pt x="10592" y="19623"/>
                      <a:pt x="5867" y="17769"/>
                    </a:cubicBezTo>
                    <a:close/>
                  </a:path>
                </a:pathLst>
              </a:custGeom>
              <a:grpFill/>
              <a:ln w="5978" cap="flat">
                <a:noFill/>
                <a:prstDash val="solid"/>
                <a:miter/>
              </a:ln>
            </p:spPr>
            <p:txBody>
              <a:bodyPr rtlCol="0" anchor="ctr"/>
              <a:lstStyle/>
              <a:p>
                <a:endParaRPr lang="en-GB"/>
              </a:p>
            </p:txBody>
          </p:sp>
          <p:sp>
            <p:nvSpPr>
              <p:cNvPr id="2291" name="Vrije vorm: vorm 2290">
                <a:extLst>
                  <a:ext uri="{FF2B5EF4-FFF2-40B4-BE49-F238E27FC236}">
                    <a16:creationId xmlns:a16="http://schemas.microsoft.com/office/drawing/2014/main" id="{83C324B2-9639-4BBF-9D40-AE62C9F8458E}"/>
                  </a:ext>
                </a:extLst>
              </p:cNvPr>
              <p:cNvSpPr/>
              <p:nvPr/>
            </p:nvSpPr>
            <p:spPr>
              <a:xfrm>
                <a:off x="4446082" y="2782174"/>
                <a:ext cx="18313" cy="18436"/>
              </a:xfrm>
              <a:custGeom>
                <a:avLst/>
                <a:gdLst>
                  <a:gd name="connsiteX0" fmla="*/ 5867 w 18313"/>
                  <a:gd name="connsiteY0" fmla="*/ 17801 h 18436"/>
                  <a:gd name="connsiteX1" fmla="*/ 17709 w 18313"/>
                  <a:gd name="connsiteY1" fmla="*/ 12538 h 18436"/>
                  <a:gd name="connsiteX2" fmla="*/ 12446 w 18313"/>
                  <a:gd name="connsiteY2" fmla="*/ 636 h 18436"/>
                  <a:gd name="connsiteX3" fmla="*/ 604 w 18313"/>
                  <a:gd name="connsiteY3" fmla="*/ 5899 h 18436"/>
                  <a:gd name="connsiteX4" fmla="*/ 5867 w 18313"/>
                  <a:gd name="connsiteY4" fmla="*/ 178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6">
                    <a:moveTo>
                      <a:pt x="5867" y="17801"/>
                    </a:moveTo>
                    <a:cubicBezTo>
                      <a:pt x="10592" y="19655"/>
                      <a:pt x="15915" y="17322"/>
                      <a:pt x="17709" y="12538"/>
                    </a:cubicBezTo>
                    <a:cubicBezTo>
                      <a:pt x="19503" y="7813"/>
                      <a:pt x="17171" y="2430"/>
                      <a:pt x="12446" y="636"/>
                    </a:cubicBezTo>
                    <a:cubicBezTo>
                      <a:pt x="7721" y="-1218"/>
                      <a:pt x="2398" y="1115"/>
                      <a:pt x="604" y="5899"/>
                    </a:cubicBezTo>
                    <a:cubicBezTo>
                      <a:pt x="-1190" y="10624"/>
                      <a:pt x="1143" y="15947"/>
                      <a:pt x="5867" y="17801"/>
                    </a:cubicBezTo>
                    <a:close/>
                  </a:path>
                </a:pathLst>
              </a:custGeom>
              <a:grpFill/>
              <a:ln w="5978" cap="flat">
                <a:noFill/>
                <a:prstDash val="solid"/>
                <a:miter/>
              </a:ln>
            </p:spPr>
            <p:txBody>
              <a:bodyPr rtlCol="0" anchor="ctr"/>
              <a:lstStyle/>
              <a:p>
                <a:endParaRPr lang="en-GB"/>
              </a:p>
            </p:txBody>
          </p:sp>
        </p:grpSp>
        <p:grpSp>
          <p:nvGrpSpPr>
            <p:cNvPr id="1038" name="Graphic 3">
              <a:extLst>
                <a:ext uri="{FF2B5EF4-FFF2-40B4-BE49-F238E27FC236}">
                  <a16:creationId xmlns:a16="http://schemas.microsoft.com/office/drawing/2014/main" id="{97B171AF-3BE5-4AAC-8100-1A974173EAF6}"/>
                </a:ext>
              </a:extLst>
            </p:cNvPr>
            <p:cNvGrpSpPr/>
            <p:nvPr/>
          </p:nvGrpSpPr>
          <p:grpSpPr>
            <a:xfrm>
              <a:off x="5157389" y="5298996"/>
              <a:ext cx="46742" cy="80905"/>
              <a:chOff x="5157389" y="5298996"/>
              <a:chExt cx="46742" cy="80905"/>
            </a:xfrm>
            <a:grpFill/>
          </p:grpSpPr>
          <p:sp>
            <p:nvSpPr>
              <p:cNvPr id="2286" name="Vrije vorm: vorm 2285">
                <a:extLst>
                  <a:ext uri="{FF2B5EF4-FFF2-40B4-BE49-F238E27FC236}">
                    <a16:creationId xmlns:a16="http://schemas.microsoft.com/office/drawing/2014/main" id="{C1EF241A-2EEB-436B-82C1-3B9297E40AEE}"/>
                  </a:ext>
                </a:extLst>
              </p:cNvPr>
              <p:cNvSpPr/>
              <p:nvPr/>
            </p:nvSpPr>
            <p:spPr>
              <a:xfrm>
                <a:off x="5164971" y="5307153"/>
                <a:ext cx="31578" cy="64592"/>
              </a:xfrm>
              <a:custGeom>
                <a:avLst/>
                <a:gdLst>
                  <a:gd name="connsiteX0" fmla="*/ 31578 w 31578"/>
                  <a:gd name="connsiteY0" fmla="*/ 1256 h 64592"/>
                  <a:gd name="connsiteX1" fmla="*/ 2811 w 31578"/>
                  <a:gd name="connsiteY1" fmla="*/ 64592 h 64592"/>
                  <a:gd name="connsiteX2" fmla="*/ 0 w 31578"/>
                  <a:gd name="connsiteY2" fmla="*/ 63336 h 64592"/>
                  <a:gd name="connsiteX3" fmla="*/ 28827 w 31578"/>
                  <a:gd name="connsiteY3" fmla="*/ 0 h 64592"/>
                </a:gdLst>
                <a:ahLst/>
                <a:cxnLst>
                  <a:cxn ang="0">
                    <a:pos x="connsiteX0" y="connsiteY0"/>
                  </a:cxn>
                  <a:cxn ang="0">
                    <a:pos x="connsiteX1" y="connsiteY1"/>
                  </a:cxn>
                  <a:cxn ang="0">
                    <a:pos x="connsiteX2" y="connsiteY2"/>
                  </a:cxn>
                  <a:cxn ang="0">
                    <a:pos x="connsiteX3" y="connsiteY3"/>
                  </a:cxn>
                </a:cxnLst>
                <a:rect l="l" t="t" r="r" b="b"/>
                <a:pathLst>
                  <a:path w="31578" h="64592">
                    <a:moveTo>
                      <a:pt x="31578" y="1256"/>
                    </a:moveTo>
                    <a:lnTo>
                      <a:pt x="2811" y="64592"/>
                    </a:lnTo>
                    <a:lnTo>
                      <a:pt x="0" y="63336"/>
                    </a:lnTo>
                    <a:lnTo>
                      <a:pt x="28827" y="0"/>
                    </a:lnTo>
                    <a:close/>
                  </a:path>
                </a:pathLst>
              </a:custGeom>
              <a:grpFill/>
              <a:ln w="5978" cap="flat">
                <a:noFill/>
                <a:prstDash val="solid"/>
                <a:miter/>
              </a:ln>
            </p:spPr>
            <p:txBody>
              <a:bodyPr rtlCol="0" anchor="ctr"/>
              <a:lstStyle/>
              <a:p>
                <a:endParaRPr lang="en-GB"/>
              </a:p>
            </p:txBody>
          </p:sp>
          <p:sp>
            <p:nvSpPr>
              <p:cNvPr id="2287" name="Vrije vorm: vorm 2286">
                <a:extLst>
                  <a:ext uri="{FF2B5EF4-FFF2-40B4-BE49-F238E27FC236}">
                    <a16:creationId xmlns:a16="http://schemas.microsoft.com/office/drawing/2014/main" id="{47922243-9B7A-46C3-A347-D30744B05021}"/>
                  </a:ext>
                </a:extLst>
              </p:cNvPr>
              <p:cNvSpPr/>
              <p:nvPr/>
            </p:nvSpPr>
            <p:spPr>
              <a:xfrm>
                <a:off x="5157389" y="5361495"/>
                <a:ext cx="18333" cy="18406"/>
              </a:xfrm>
              <a:custGeom>
                <a:avLst/>
                <a:gdLst>
                  <a:gd name="connsiteX0" fmla="*/ 17510 w 18333"/>
                  <a:gd name="connsiteY0" fmla="*/ 13061 h 18406"/>
                  <a:gd name="connsiteX1" fmla="*/ 5369 w 18333"/>
                  <a:gd name="connsiteY1" fmla="*/ 17546 h 18406"/>
                  <a:gd name="connsiteX2" fmla="*/ 824 w 18333"/>
                  <a:gd name="connsiteY2" fmla="*/ 5346 h 18406"/>
                  <a:gd name="connsiteX3" fmla="*/ 12965 w 18333"/>
                  <a:gd name="connsiteY3" fmla="*/ 860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5417" y="17666"/>
                      <a:pt x="9974" y="19699"/>
                      <a:pt x="5369" y="17546"/>
                    </a:cubicBezTo>
                    <a:cubicBezTo>
                      <a:pt x="764" y="15393"/>
                      <a:pt x="-1270" y="9951"/>
                      <a:pt x="824" y="5346"/>
                    </a:cubicBezTo>
                    <a:cubicBezTo>
                      <a:pt x="2917" y="741"/>
                      <a:pt x="8360" y="-1293"/>
                      <a:pt x="12965" y="860"/>
                    </a:cubicBezTo>
                    <a:cubicBezTo>
                      <a:pt x="17570" y="2953"/>
                      <a:pt x="19603" y="8456"/>
                      <a:pt x="17510" y="13061"/>
                    </a:cubicBezTo>
                    <a:close/>
                  </a:path>
                </a:pathLst>
              </a:custGeom>
              <a:grpFill/>
              <a:ln w="5978" cap="flat">
                <a:noFill/>
                <a:prstDash val="solid"/>
                <a:miter/>
              </a:ln>
            </p:spPr>
            <p:txBody>
              <a:bodyPr rtlCol="0" anchor="ctr"/>
              <a:lstStyle/>
              <a:p>
                <a:endParaRPr lang="en-GB"/>
              </a:p>
            </p:txBody>
          </p:sp>
          <p:sp>
            <p:nvSpPr>
              <p:cNvPr id="2288" name="Vrije vorm: vorm 2287">
                <a:extLst>
                  <a:ext uri="{FF2B5EF4-FFF2-40B4-BE49-F238E27FC236}">
                    <a16:creationId xmlns:a16="http://schemas.microsoft.com/office/drawing/2014/main" id="{C2F30DB6-09F7-4427-A2BF-74E0FECE4896}"/>
                  </a:ext>
                </a:extLst>
              </p:cNvPr>
              <p:cNvSpPr/>
              <p:nvPr/>
            </p:nvSpPr>
            <p:spPr>
              <a:xfrm>
                <a:off x="5185797" y="5298996"/>
                <a:ext cx="18333" cy="18406"/>
              </a:xfrm>
              <a:custGeom>
                <a:avLst/>
                <a:gdLst>
                  <a:gd name="connsiteX0" fmla="*/ 17510 w 18333"/>
                  <a:gd name="connsiteY0" fmla="*/ 13061 h 18406"/>
                  <a:gd name="connsiteX1" fmla="*/ 12965 w 18333"/>
                  <a:gd name="connsiteY1" fmla="*/ 860 h 18406"/>
                  <a:gd name="connsiteX2" fmla="*/ 824 w 18333"/>
                  <a:gd name="connsiteY2" fmla="*/ 5346 h 18406"/>
                  <a:gd name="connsiteX3" fmla="*/ 5369 w 18333"/>
                  <a:gd name="connsiteY3" fmla="*/ 17546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9603" y="8456"/>
                      <a:pt x="17570" y="2953"/>
                      <a:pt x="12965" y="860"/>
                    </a:cubicBezTo>
                    <a:cubicBezTo>
                      <a:pt x="8360" y="-1293"/>
                      <a:pt x="2917" y="740"/>
                      <a:pt x="824" y="5346"/>
                    </a:cubicBezTo>
                    <a:cubicBezTo>
                      <a:pt x="-1270" y="9951"/>
                      <a:pt x="764" y="15453"/>
                      <a:pt x="5369" y="17546"/>
                    </a:cubicBezTo>
                    <a:cubicBezTo>
                      <a:pt x="9974" y="19699"/>
                      <a:pt x="15417" y="17666"/>
                      <a:pt x="17510" y="13061"/>
                    </a:cubicBezTo>
                    <a:close/>
                  </a:path>
                </a:pathLst>
              </a:custGeom>
              <a:grpFill/>
              <a:ln w="5978" cap="flat">
                <a:noFill/>
                <a:prstDash val="solid"/>
                <a:miter/>
              </a:ln>
            </p:spPr>
            <p:txBody>
              <a:bodyPr rtlCol="0" anchor="ctr"/>
              <a:lstStyle/>
              <a:p>
                <a:endParaRPr lang="en-GB"/>
              </a:p>
            </p:txBody>
          </p:sp>
        </p:grpSp>
        <p:grpSp>
          <p:nvGrpSpPr>
            <p:cNvPr id="1039" name="Graphic 3">
              <a:extLst>
                <a:ext uri="{FF2B5EF4-FFF2-40B4-BE49-F238E27FC236}">
                  <a16:creationId xmlns:a16="http://schemas.microsoft.com/office/drawing/2014/main" id="{B3FB4507-DBDD-43DE-8094-BA60C17CB4A1}"/>
                </a:ext>
              </a:extLst>
            </p:cNvPr>
            <p:cNvGrpSpPr/>
            <p:nvPr/>
          </p:nvGrpSpPr>
          <p:grpSpPr>
            <a:xfrm>
              <a:off x="4244749" y="2817410"/>
              <a:ext cx="199752" cy="77865"/>
              <a:chOff x="4244749" y="2817410"/>
              <a:chExt cx="199752" cy="77865"/>
            </a:xfrm>
            <a:grpFill/>
          </p:grpSpPr>
          <p:sp>
            <p:nvSpPr>
              <p:cNvPr id="2283" name="Vrije vorm: vorm 2282">
                <a:extLst>
                  <a:ext uri="{FF2B5EF4-FFF2-40B4-BE49-F238E27FC236}">
                    <a16:creationId xmlns:a16="http://schemas.microsoft.com/office/drawing/2014/main" id="{3CAE193C-AB55-4499-8F34-48CACE8D2E5F}"/>
                  </a:ext>
                </a:extLst>
              </p:cNvPr>
              <p:cNvSpPr/>
              <p:nvPr/>
            </p:nvSpPr>
            <p:spPr>
              <a:xfrm>
                <a:off x="4253030" y="2825034"/>
                <a:ext cx="183189" cy="62618"/>
              </a:xfrm>
              <a:custGeom>
                <a:avLst/>
                <a:gdLst>
                  <a:gd name="connsiteX0" fmla="*/ 183190 w 183189"/>
                  <a:gd name="connsiteY0" fmla="*/ 59748 h 62618"/>
                  <a:gd name="connsiteX1" fmla="*/ 182233 w 183189"/>
                  <a:gd name="connsiteY1" fmla="*/ 62618 h 62618"/>
                  <a:gd name="connsiteX2" fmla="*/ 0 w 183189"/>
                  <a:gd name="connsiteY2" fmla="*/ 2871 h 62618"/>
                  <a:gd name="connsiteX3" fmla="*/ 957 w 183189"/>
                  <a:gd name="connsiteY3" fmla="*/ 0 h 62618"/>
                </a:gdLst>
                <a:ahLst/>
                <a:cxnLst>
                  <a:cxn ang="0">
                    <a:pos x="connsiteX0" y="connsiteY0"/>
                  </a:cxn>
                  <a:cxn ang="0">
                    <a:pos x="connsiteX1" y="connsiteY1"/>
                  </a:cxn>
                  <a:cxn ang="0">
                    <a:pos x="connsiteX2" y="connsiteY2"/>
                  </a:cxn>
                  <a:cxn ang="0">
                    <a:pos x="connsiteX3" y="connsiteY3"/>
                  </a:cxn>
                </a:cxnLst>
                <a:rect l="l" t="t" r="r" b="b"/>
                <a:pathLst>
                  <a:path w="183189" h="62618">
                    <a:moveTo>
                      <a:pt x="183190" y="59748"/>
                    </a:moveTo>
                    <a:lnTo>
                      <a:pt x="182233" y="62618"/>
                    </a:lnTo>
                    <a:lnTo>
                      <a:pt x="0" y="2871"/>
                    </a:lnTo>
                    <a:lnTo>
                      <a:pt x="957" y="0"/>
                    </a:lnTo>
                    <a:close/>
                  </a:path>
                </a:pathLst>
              </a:custGeom>
              <a:grpFill/>
              <a:ln w="5978" cap="flat">
                <a:noFill/>
                <a:prstDash val="solid"/>
                <a:miter/>
              </a:ln>
            </p:spPr>
            <p:txBody>
              <a:bodyPr rtlCol="0" anchor="ctr"/>
              <a:lstStyle/>
              <a:p>
                <a:endParaRPr lang="en-GB"/>
              </a:p>
            </p:txBody>
          </p:sp>
          <p:sp>
            <p:nvSpPr>
              <p:cNvPr id="2284" name="Vrije vorm: vorm 2283">
                <a:extLst>
                  <a:ext uri="{FF2B5EF4-FFF2-40B4-BE49-F238E27FC236}">
                    <a16:creationId xmlns:a16="http://schemas.microsoft.com/office/drawing/2014/main" id="{391DFF89-FCCF-4BE5-A830-0CDF0DC6A526}"/>
                  </a:ext>
                </a:extLst>
              </p:cNvPr>
              <p:cNvSpPr/>
              <p:nvPr/>
            </p:nvSpPr>
            <p:spPr>
              <a:xfrm>
                <a:off x="4244749" y="2817410"/>
                <a:ext cx="18357" cy="18416"/>
              </a:xfrm>
              <a:custGeom>
                <a:avLst/>
                <a:gdLst>
                  <a:gd name="connsiteX0" fmla="*/ 6368 w 18357"/>
                  <a:gd name="connsiteY0" fmla="*/ 17970 h 18416"/>
                  <a:gd name="connsiteX1" fmla="*/ 447 w 18357"/>
                  <a:gd name="connsiteY1" fmla="*/ 6368 h 18416"/>
                  <a:gd name="connsiteX2" fmla="*/ 11990 w 18357"/>
                  <a:gd name="connsiteY2" fmla="*/ 447 h 18416"/>
                  <a:gd name="connsiteX3" fmla="*/ 17911 w 18357"/>
                  <a:gd name="connsiteY3" fmla="*/ 12049 h 18416"/>
                  <a:gd name="connsiteX4" fmla="*/ 6368 w 18357"/>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6368" y="17970"/>
                    </a:moveTo>
                    <a:cubicBezTo>
                      <a:pt x="1523" y="16415"/>
                      <a:pt x="-1108" y="11212"/>
                      <a:pt x="447" y="6368"/>
                    </a:cubicBezTo>
                    <a:cubicBezTo>
                      <a:pt x="2002" y="1523"/>
                      <a:pt x="7145" y="-1108"/>
                      <a:pt x="11990" y="447"/>
                    </a:cubicBezTo>
                    <a:cubicBezTo>
                      <a:pt x="16834" y="2002"/>
                      <a:pt x="19465" y="7205"/>
                      <a:pt x="17911" y="12049"/>
                    </a:cubicBezTo>
                    <a:cubicBezTo>
                      <a:pt x="16356" y="16894"/>
                      <a:pt x="11212" y="19525"/>
                      <a:pt x="6368" y="17970"/>
                    </a:cubicBezTo>
                    <a:close/>
                  </a:path>
                </a:pathLst>
              </a:custGeom>
              <a:grpFill/>
              <a:ln w="5978" cap="flat">
                <a:noFill/>
                <a:prstDash val="solid"/>
                <a:miter/>
              </a:ln>
            </p:spPr>
            <p:txBody>
              <a:bodyPr rtlCol="0" anchor="ctr"/>
              <a:lstStyle/>
              <a:p>
                <a:endParaRPr lang="en-GB"/>
              </a:p>
            </p:txBody>
          </p:sp>
          <p:sp>
            <p:nvSpPr>
              <p:cNvPr id="2285" name="Vrije vorm: vorm 2284">
                <a:extLst>
                  <a:ext uri="{FF2B5EF4-FFF2-40B4-BE49-F238E27FC236}">
                    <a16:creationId xmlns:a16="http://schemas.microsoft.com/office/drawing/2014/main" id="{43E7FB7B-7A01-41AF-ADC3-C9CCCC9CFA6F}"/>
                  </a:ext>
                </a:extLst>
              </p:cNvPr>
              <p:cNvSpPr/>
              <p:nvPr/>
            </p:nvSpPr>
            <p:spPr>
              <a:xfrm>
                <a:off x="4426144" y="2876859"/>
                <a:ext cx="18357" cy="18416"/>
              </a:xfrm>
              <a:custGeom>
                <a:avLst/>
                <a:gdLst>
                  <a:gd name="connsiteX0" fmla="*/ 6368 w 18357"/>
                  <a:gd name="connsiteY0" fmla="*/ 17970 h 18416"/>
                  <a:gd name="connsiteX1" fmla="*/ 17910 w 18357"/>
                  <a:gd name="connsiteY1" fmla="*/ 12049 h 18416"/>
                  <a:gd name="connsiteX2" fmla="*/ 11990 w 18357"/>
                  <a:gd name="connsiteY2" fmla="*/ 447 h 18416"/>
                  <a:gd name="connsiteX3" fmla="*/ 447 w 18357"/>
                  <a:gd name="connsiteY3" fmla="*/ 6368 h 18416"/>
                  <a:gd name="connsiteX4" fmla="*/ 6368 w 18357"/>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6368" y="17970"/>
                    </a:moveTo>
                    <a:cubicBezTo>
                      <a:pt x="11212" y="19525"/>
                      <a:pt x="16355" y="16894"/>
                      <a:pt x="17910" y="12049"/>
                    </a:cubicBezTo>
                    <a:cubicBezTo>
                      <a:pt x="19465" y="7205"/>
                      <a:pt x="16834" y="2002"/>
                      <a:pt x="11990" y="447"/>
                    </a:cubicBezTo>
                    <a:cubicBezTo>
                      <a:pt x="7145" y="-1108"/>
                      <a:pt x="2002" y="1523"/>
                      <a:pt x="447" y="6368"/>
                    </a:cubicBezTo>
                    <a:cubicBezTo>
                      <a:pt x="-1108" y="11212"/>
                      <a:pt x="1523" y="16415"/>
                      <a:pt x="6368" y="17970"/>
                    </a:cubicBezTo>
                    <a:close/>
                  </a:path>
                </a:pathLst>
              </a:custGeom>
              <a:grpFill/>
              <a:ln w="5978" cap="flat">
                <a:noFill/>
                <a:prstDash val="solid"/>
                <a:miter/>
              </a:ln>
            </p:spPr>
            <p:txBody>
              <a:bodyPr rtlCol="0" anchor="ctr"/>
              <a:lstStyle/>
              <a:p>
                <a:endParaRPr lang="en-GB"/>
              </a:p>
            </p:txBody>
          </p:sp>
        </p:grpSp>
        <p:grpSp>
          <p:nvGrpSpPr>
            <p:cNvPr id="1040" name="Graphic 3">
              <a:extLst>
                <a:ext uri="{FF2B5EF4-FFF2-40B4-BE49-F238E27FC236}">
                  <a16:creationId xmlns:a16="http://schemas.microsoft.com/office/drawing/2014/main" id="{81ABC24A-0DAA-4ED3-9E84-B93CAC8B0182}"/>
                </a:ext>
              </a:extLst>
            </p:cNvPr>
            <p:cNvGrpSpPr/>
            <p:nvPr/>
          </p:nvGrpSpPr>
          <p:grpSpPr>
            <a:xfrm>
              <a:off x="4952234" y="4782561"/>
              <a:ext cx="144141" cy="197050"/>
              <a:chOff x="4952234" y="4782561"/>
              <a:chExt cx="144141" cy="197050"/>
            </a:xfrm>
            <a:grpFill/>
          </p:grpSpPr>
          <p:sp>
            <p:nvSpPr>
              <p:cNvPr id="2280" name="Vrije vorm: vorm 2279">
                <a:extLst>
                  <a:ext uri="{FF2B5EF4-FFF2-40B4-BE49-F238E27FC236}">
                    <a16:creationId xmlns:a16="http://schemas.microsoft.com/office/drawing/2014/main" id="{5532A701-8FBF-44A9-A522-4903A5CC9EB3}"/>
                  </a:ext>
                </a:extLst>
              </p:cNvPr>
              <p:cNvSpPr/>
              <p:nvPr/>
            </p:nvSpPr>
            <p:spPr>
              <a:xfrm>
                <a:off x="4959952" y="4790538"/>
                <a:ext cx="128765" cy="181156"/>
              </a:xfrm>
              <a:custGeom>
                <a:avLst/>
                <a:gdLst>
                  <a:gd name="connsiteX0" fmla="*/ 128765 w 128765"/>
                  <a:gd name="connsiteY0" fmla="*/ 1735 h 181156"/>
                  <a:gd name="connsiteX1" fmla="*/ 2452 w 128765"/>
                  <a:gd name="connsiteY1" fmla="*/ 181156 h 181156"/>
                  <a:gd name="connsiteX2" fmla="*/ 0 w 128765"/>
                  <a:gd name="connsiteY2" fmla="*/ 179422 h 181156"/>
                  <a:gd name="connsiteX3" fmla="*/ 126313 w 128765"/>
                  <a:gd name="connsiteY3" fmla="*/ 0 h 181156"/>
                </a:gdLst>
                <a:ahLst/>
                <a:cxnLst>
                  <a:cxn ang="0">
                    <a:pos x="connsiteX0" y="connsiteY0"/>
                  </a:cxn>
                  <a:cxn ang="0">
                    <a:pos x="connsiteX1" y="connsiteY1"/>
                  </a:cxn>
                  <a:cxn ang="0">
                    <a:pos x="connsiteX2" y="connsiteY2"/>
                  </a:cxn>
                  <a:cxn ang="0">
                    <a:pos x="connsiteX3" y="connsiteY3"/>
                  </a:cxn>
                </a:cxnLst>
                <a:rect l="l" t="t" r="r" b="b"/>
                <a:pathLst>
                  <a:path w="128765" h="181156">
                    <a:moveTo>
                      <a:pt x="128765" y="1735"/>
                    </a:moveTo>
                    <a:lnTo>
                      <a:pt x="2452" y="181156"/>
                    </a:lnTo>
                    <a:lnTo>
                      <a:pt x="0" y="179422"/>
                    </a:lnTo>
                    <a:lnTo>
                      <a:pt x="126313" y="0"/>
                    </a:lnTo>
                    <a:close/>
                  </a:path>
                </a:pathLst>
              </a:custGeom>
              <a:grpFill/>
              <a:ln w="5978" cap="flat">
                <a:noFill/>
                <a:prstDash val="solid"/>
                <a:miter/>
              </a:ln>
            </p:spPr>
            <p:txBody>
              <a:bodyPr rtlCol="0" anchor="ctr"/>
              <a:lstStyle/>
              <a:p>
                <a:endParaRPr lang="en-GB"/>
              </a:p>
            </p:txBody>
          </p:sp>
          <p:sp>
            <p:nvSpPr>
              <p:cNvPr id="2281" name="Vrije vorm: vorm 2280">
                <a:extLst>
                  <a:ext uri="{FF2B5EF4-FFF2-40B4-BE49-F238E27FC236}">
                    <a16:creationId xmlns:a16="http://schemas.microsoft.com/office/drawing/2014/main" id="{50A631A8-0E57-45EA-9225-E9510DD2FA7D}"/>
                  </a:ext>
                </a:extLst>
              </p:cNvPr>
              <p:cNvSpPr/>
              <p:nvPr/>
            </p:nvSpPr>
            <p:spPr>
              <a:xfrm>
                <a:off x="4952234" y="4961205"/>
                <a:ext cx="18366" cy="18406"/>
              </a:xfrm>
              <a:custGeom>
                <a:avLst/>
                <a:gdLst>
                  <a:gd name="connsiteX0" fmla="*/ 16689 w 18366"/>
                  <a:gd name="connsiteY0" fmla="*/ 14556 h 18406"/>
                  <a:gd name="connsiteX1" fmla="*/ 3890 w 18366"/>
                  <a:gd name="connsiteY1" fmla="*/ 16709 h 18406"/>
                  <a:gd name="connsiteX2" fmla="*/ 1677 w 18366"/>
                  <a:gd name="connsiteY2" fmla="*/ 3851 h 18406"/>
                  <a:gd name="connsiteX3" fmla="*/ 14476 w 18366"/>
                  <a:gd name="connsiteY3" fmla="*/ 1697 h 18406"/>
                  <a:gd name="connsiteX4" fmla="*/ 16689 w 18366"/>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6689" y="14556"/>
                    </a:moveTo>
                    <a:cubicBezTo>
                      <a:pt x="13759" y="18683"/>
                      <a:pt x="8077" y="19640"/>
                      <a:pt x="3890" y="16709"/>
                    </a:cubicBezTo>
                    <a:cubicBezTo>
                      <a:pt x="-237" y="13779"/>
                      <a:pt x="-1253" y="7977"/>
                      <a:pt x="1677" y="3851"/>
                    </a:cubicBezTo>
                    <a:cubicBezTo>
                      <a:pt x="4608" y="-276"/>
                      <a:pt x="10290" y="-1233"/>
                      <a:pt x="14476" y="1697"/>
                    </a:cubicBezTo>
                    <a:cubicBezTo>
                      <a:pt x="18603" y="4688"/>
                      <a:pt x="19620" y="10429"/>
                      <a:pt x="16689" y="14556"/>
                    </a:cubicBezTo>
                    <a:close/>
                  </a:path>
                </a:pathLst>
              </a:custGeom>
              <a:grpFill/>
              <a:ln w="5978" cap="flat">
                <a:noFill/>
                <a:prstDash val="solid"/>
                <a:miter/>
              </a:ln>
            </p:spPr>
            <p:txBody>
              <a:bodyPr rtlCol="0" anchor="ctr"/>
              <a:lstStyle/>
              <a:p>
                <a:endParaRPr lang="en-GB"/>
              </a:p>
            </p:txBody>
          </p:sp>
          <p:sp>
            <p:nvSpPr>
              <p:cNvPr id="2282" name="Vrije vorm: vorm 2281">
                <a:extLst>
                  <a:ext uri="{FF2B5EF4-FFF2-40B4-BE49-F238E27FC236}">
                    <a16:creationId xmlns:a16="http://schemas.microsoft.com/office/drawing/2014/main" id="{5C638883-405F-44D4-BCA6-06EA10627C95}"/>
                  </a:ext>
                </a:extLst>
              </p:cNvPr>
              <p:cNvSpPr/>
              <p:nvPr/>
            </p:nvSpPr>
            <p:spPr>
              <a:xfrm>
                <a:off x="5078009" y="4782561"/>
                <a:ext cx="18366" cy="18432"/>
              </a:xfrm>
              <a:custGeom>
                <a:avLst/>
                <a:gdLst>
                  <a:gd name="connsiteX0" fmla="*/ 16689 w 18366"/>
                  <a:gd name="connsiteY0" fmla="*/ 14556 h 18432"/>
                  <a:gd name="connsiteX1" fmla="*/ 14476 w 18366"/>
                  <a:gd name="connsiteY1" fmla="*/ 1697 h 18432"/>
                  <a:gd name="connsiteX2" fmla="*/ 1677 w 18366"/>
                  <a:gd name="connsiteY2" fmla="*/ 3850 h 18432"/>
                  <a:gd name="connsiteX3" fmla="*/ 3890 w 18366"/>
                  <a:gd name="connsiteY3" fmla="*/ 16709 h 18432"/>
                  <a:gd name="connsiteX4" fmla="*/ 16689 w 18366"/>
                  <a:gd name="connsiteY4" fmla="*/ 1455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32">
                    <a:moveTo>
                      <a:pt x="16689" y="14556"/>
                    </a:moveTo>
                    <a:cubicBezTo>
                      <a:pt x="19620" y="10429"/>
                      <a:pt x="18603" y="4688"/>
                      <a:pt x="14476" y="1697"/>
                    </a:cubicBezTo>
                    <a:cubicBezTo>
                      <a:pt x="10349" y="-1233"/>
                      <a:pt x="4608" y="-276"/>
                      <a:pt x="1677" y="3850"/>
                    </a:cubicBezTo>
                    <a:cubicBezTo>
                      <a:pt x="-1253" y="7977"/>
                      <a:pt x="-237" y="13719"/>
                      <a:pt x="3890" y="16709"/>
                    </a:cubicBezTo>
                    <a:cubicBezTo>
                      <a:pt x="8077" y="19700"/>
                      <a:pt x="13758" y="18683"/>
                      <a:pt x="16689" y="14556"/>
                    </a:cubicBezTo>
                    <a:close/>
                  </a:path>
                </a:pathLst>
              </a:custGeom>
              <a:grpFill/>
              <a:ln w="5978" cap="flat">
                <a:noFill/>
                <a:prstDash val="solid"/>
                <a:miter/>
              </a:ln>
            </p:spPr>
            <p:txBody>
              <a:bodyPr rtlCol="0" anchor="ctr"/>
              <a:lstStyle/>
              <a:p>
                <a:endParaRPr lang="en-GB"/>
              </a:p>
            </p:txBody>
          </p:sp>
        </p:grpSp>
        <p:grpSp>
          <p:nvGrpSpPr>
            <p:cNvPr id="1041" name="Graphic 3">
              <a:extLst>
                <a:ext uri="{FF2B5EF4-FFF2-40B4-BE49-F238E27FC236}">
                  <a16:creationId xmlns:a16="http://schemas.microsoft.com/office/drawing/2014/main" id="{85CC762C-06D7-4AC5-AEEC-826F66DBE8AB}"/>
                </a:ext>
              </a:extLst>
            </p:cNvPr>
            <p:cNvGrpSpPr/>
            <p:nvPr/>
          </p:nvGrpSpPr>
          <p:grpSpPr>
            <a:xfrm>
              <a:off x="4052409" y="2541722"/>
              <a:ext cx="435778" cy="233199"/>
              <a:chOff x="4052409" y="2541722"/>
              <a:chExt cx="435778" cy="233199"/>
            </a:xfrm>
            <a:grpFill/>
          </p:grpSpPr>
          <p:sp>
            <p:nvSpPr>
              <p:cNvPr id="2277" name="Vrije vorm: vorm 2276">
                <a:extLst>
                  <a:ext uri="{FF2B5EF4-FFF2-40B4-BE49-F238E27FC236}">
                    <a16:creationId xmlns:a16="http://schemas.microsoft.com/office/drawing/2014/main" id="{44BFB2DA-8EF8-4C14-8AF6-37DD3A537F39}"/>
                  </a:ext>
                </a:extLst>
              </p:cNvPr>
              <p:cNvSpPr/>
              <p:nvPr/>
            </p:nvSpPr>
            <p:spPr>
              <a:xfrm>
                <a:off x="4060451" y="2549382"/>
                <a:ext cx="419667" cy="217877"/>
              </a:xfrm>
              <a:custGeom>
                <a:avLst/>
                <a:gdLst>
                  <a:gd name="connsiteX0" fmla="*/ 419668 w 419667"/>
                  <a:gd name="connsiteY0" fmla="*/ 215127 h 217877"/>
                  <a:gd name="connsiteX1" fmla="*/ 418292 w 419667"/>
                  <a:gd name="connsiteY1" fmla="*/ 217878 h 217877"/>
                  <a:gd name="connsiteX2" fmla="*/ 0 w 419667"/>
                  <a:gd name="connsiteY2" fmla="*/ 2751 h 217877"/>
                  <a:gd name="connsiteX3" fmla="*/ 1376 w 419667"/>
                  <a:gd name="connsiteY3" fmla="*/ 0 h 217877"/>
                </a:gdLst>
                <a:ahLst/>
                <a:cxnLst>
                  <a:cxn ang="0">
                    <a:pos x="connsiteX0" y="connsiteY0"/>
                  </a:cxn>
                  <a:cxn ang="0">
                    <a:pos x="connsiteX1" y="connsiteY1"/>
                  </a:cxn>
                  <a:cxn ang="0">
                    <a:pos x="connsiteX2" y="connsiteY2"/>
                  </a:cxn>
                  <a:cxn ang="0">
                    <a:pos x="connsiteX3" y="connsiteY3"/>
                  </a:cxn>
                </a:cxnLst>
                <a:rect l="l" t="t" r="r" b="b"/>
                <a:pathLst>
                  <a:path w="419667" h="217877">
                    <a:moveTo>
                      <a:pt x="419668" y="215127"/>
                    </a:moveTo>
                    <a:lnTo>
                      <a:pt x="418292" y="217878"/>
                    </a:lnTo>
                    <a:lnTo>
                      <a:pt x="0" y="2751"/>
                    </a:lnTo>
                    <a:lnTo>
                      <a:pt x="1376" y="0"/>
                    </a:lnTo>
                    <a:close/>
                  </a:path>
                </a:pathLst>
              </a:custGeom>
              <a:grpFill/>
              <a:ln w="5978" cap="flat">
                <a:noFill/>
                <a:prstDash val="solid"/>
                <a:miter/>
              </a:ln>
            </p:spPr>
            <p:txBody>
              <a:bodyPr rtlCol="0" anchor="ctr"/>
              <a:lstStyle/>
              <a:p>
                <a:endParaRPr lang="en-GB"/>
              </a:p>
            </p:txBody>
          </p:sp>
          <p:sp>
            <p:nvSpPr>
              <p:cNvPr id="2278" name="Vrije vorm: vorm 2277">
                <a:extLst>
                  <a:ext uri="{FF2B5EF4-FFF2-40B4-BE49-F238E27FC236}">
                    <a16:creationId xmlns:a16="http://schemas.microsoft.com/office/drawing/2014/main" id="{BA292FDE-6803-490D-AC56-082EDFD52933}"/>
                  </a:ext>
                </a:extLst>
              </p:cNvPr>
              <p:cNvSpPr/>
              <p:nvPr/>
            </p:nvSpPr>
            <p:spPr>
              <a:xfrm>
                <a:off x="4469837" y="2756489"/>
                <a:ext cx="18349" cy="18431"/>
              </a:xfrm>
              <a:custGeom>
                <a:avLst/>
                <a:gdLst>
                  <a:gd name="connsiteX0" fmla="*/ 13332 w 18349"/>
                  <a:gd name="connsiteY0" fmla="*/ 1022 h 18431"/>
                  <a:gd name="connsiteX1" fmla="*/ 17338 w 18349"/>
                  <a:gd name="connsiteY1" fmla="*/ 13402 h 18431"/>
                  <a:gd name="connsiteX2" fmla="*/ 5018 w 18349"/>
                  <a:gd name="connsiteY2" fmla="*/ 17409 h 18431"/>
                  <a:gd name="connsiteX3" fmla="*/ 1011 w 18349"/>
                  <a:gd name="connsiteY3" fmla="*/ 5029 h 18431"/>
                  <a:gd name="connsiteX4" fmla="*/ 13332 w 18349"/>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13332" y="1022"/>
                    </a:moveTo>
                    <a:cubicBezTo>
                      <a:pt x="17817" y="3355"/>
                      <a:pt x="19671" y="8917"/>
                      <a:pt x="17338" y="13402"/>
                    </a:cubicBezTo>
                    <a:cubicBezTo>
                      <a:pt x="15066" y="17948"/>
                      <a:pt x="9504" y="19742"/>
                      <a:pt x="5018" y="17409"/>
                    </a:cubicBezTo>
                    <a:cubicBezTo>
                      <a:pt x="533" y="15077"/>
                      <a:pt x="-1321" y="9515"/>
                      <a:pt x="1011" y="5029"/>
                    </a:cubicBezTo>
                    <a:cubicBezTo>
                      <a:pt x="3284" y="484"/>
                      <a:pt x="8846" y="-1310"/>
                      <a:pt x="13332" y="1022"/>
                    </a:cubicBezTo>
                    <a:close/>
                  </a:path>
                </a:pathLst>
              </a:custGeom>
              <a:grpFill/>
              <a:ln w="5978" cap="flat">
                <a:noFill/>
                <a:prstDash val="solid"/>
                <a:miter/>
              </a:ln>
            </p:spPr>
            <p:txBody>
              <a:bodyPr rtlCol="0" anchor="ctr"/>
              <a:lstStyle/>
              <a:p>
                <a:endParaRPr lang="en-GB"/>
              </a:p>
            </p:txBody>
          </p:sp>
          <p:sp>
            <p:nvSpPr>
              <p:cNvPr id="2279" name="Vrije vorm: vorm 2278">
                <a:extLst>
                  <a:ext uri="{FF2B5EF4-FFF2-40B4-BE49-F238E27FC236}">
                    <a16:creationId xmlns:a16="http://schemas.microsoft.com/office/drawing/2014/main" id="{E8211B4A-6BAF-47E3-A67F-107655E5680D}"/>
                  </a:ext>
                </a:extLst>
              </p:cNvPr>
              <p:cNvSpPr/>
              <p:nvPr/>
            </p:nvSpPr>
            <p:spPr>
              <a:xfrm>
                <a:off x="4052409" y="2541722"/>
                <a:ext cx="18297" cy="18405"/>
              </a:xfrm>
              <a:custGeom>
                <a:avLst/>
                <a:gdLst>
                  <a:gd name="connsiteX0" fmla="*/ 13305 w 18297"/>
                  <a:gd name="connsiteY0" fmla="*/ 1022 h 18405"/>
                  <a:gd name="connsiteX1" fmla="*/ 985 w 18297"/>
                  <a:gd name="connsiteY1" fmla="*/ 5029 h 18405"/>
                  <a:gd name="connsiteX2" fmla="*/ 4992 w 18297"/>
                  <a:gd name="connsiteY2" fmla="*/ 17409 h 18405"/>
                  <a:gd name="connsiteX3" fmla="*/ 17312 w 18297"/>
                  <a:gd name="connsiteY3" fmla="*/ 13402 h 18405"/>
                  <a:gd name="connsiteX4" fmla="*/ 13305 w 18297"/>
                  <a:gd name="connsiteY4" fmla="*/ 102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13305" y="1022"/>
                    </a:moveTo>
                    <a:cubicBezTo>
                      <a:pt x="8820" y="-1310"/>
                      <a:pt x="3258" y="484"/>
                      <a:pt x="985" y="5029"/>
                    </a:cubicBezTo>
                    <a:cubicBezTo>
                      <a:pt x="-1288" y="9575"/>
                      <a:pt x="507" y="15137"/>
                      <a:pt x="4992" y="17409"/>
                    </a:cubicBezTo>
                    <a:cubicBezTo>
                      <a:pt x="9478" y="19682"/>
                      <a:pt x="15040" y="17948"/>
                      <a:pt x="17312" y="13402"/>
                    </a:cubicBezTo>
                    <a:cubicBezTo>
                      <a:pt x="19585" y="8917"/>
                      <a:pt x="17791" y="3355"/>
                      <a:pt x="13305" y="1022"/>
                    </a:cubicBezTo>
                    <a:close/>
                  </a:path>
                </a:pathLst>
              </a:custGeom>
              <a:grpFill/>
              <a:ln w="5978" cap="flat">
                <a:noFill/>
                <a:prstDash val="solid"/>
                <a:miter/>
              </a:ln>
            </p:spPr>
            <p:txBody>
              <a:bodyPr rtlCol="0" anchor="ctr"/>
              <a:lstStyle/>
              <a:p>
                <a:endParaRPr lang="en-GB"/>
              </a:p>
            </p:txBody>
          </p:sp>
        </p:grpSp>
        <p:grpSp>
          <p:nvGrpSpPr>
            <p:cNvPr id="1042" name="Graphic 3">
              <a:extLst>
                <a:ext uri="{FF2B5EF4-FFF2-40B4-BE49-F238E27FC236}">
                  <a16:creationId xmlns:a16="http://schemas.microsoft.com/office/drawing/2014/main" id="{3247DED1-9D3D-407A-9E44-A91D2EE7F290}"/>
                </a:ext>
              </a:extLst>
            </p:cNvPr>
            <p:cNvGrpSpPr/>
            <p:nvPr/>
          </p:nvGrpSpPr>
          <p:grpSpPr>
            <a:xfrm>
              <a:off x="5015716" y="4962286"/>
              <a:ext cx="119387" cy="187533"/>
              <a:chOff x="5015716" y="4962286"/>
              <a:chExt cx="119387" cy="187533"/>
            </a:xfrm>
            <a:grpFill/>
          </p:grpSpPr>
          <p:sp>
            <p:nvSpPr>
              <p:cNvPr id="2274" name="Vrije vorm: vorm 2273">
                <a:extLst>
                  <a:ext uri="{FF2B5EF4-FFF2-40B4-BE49-F238E27FC236}">
                    <a16:creationId xmlns:a16="http://schemas.microsoft.com/office/drawing/2014/main" id="{B4A4904B-28A6-4834-8D64-12563E5D6475}"/>
                  </a:ext>
                </a:extLst>
              </p:cNvPr>
              <p:cNvSpPr/>
              <p:nvPr/>
            </p:nvSpPr>
            <p:spPr>
              <a:xfrm>
                <a:off x="5023347" y="4970318"/>
                <a:ext cx="104124" cy="171467"/>
              </a:xfrm>
              <a:custGeom>
                <a:avLst/>
                <a:gdLst>
                  <a:gd name="connsiteX0" fmla="*/ 104125 w 104124"/>
                  <a:gd name="connsiteY0" fmla="*/ 1615 h 171467"/>
                  <a:gd name="connsiteX1" fmla="*/ 2572 w 104124"/>
                  <a:gd name="connsiteY1" fmla="*/ 171468 h 171467"/>
                  <a:gd name="connsiteX2" fmla="*/ 0 w 104124"/>
                  <a:gd name="connsiteY2" fmla="*/ 169913 h 171467"/>
                  <a:gd name="connsiteX3" fmla="*/ 101553 w 104124"/>
                  <a:gd name="connsiteY3" fmla="*/ 0 h 171467"/>
                </a:gdLst>
                <a:ahLst/>
                <a:cxnLst>
                  <a:cxn ang="0">
                    <a:pos x="connsiteX0" y="connsiteY0"/>
                  </a:cxn>
                  <a:cxn ang="0">
                    <a:pos x="connsiteX1" y="connsiteY1"/>
                  </a:cxn>
                  <a:cxn ang="0">
                    <a:pos x="connsiteX2" y="connsiteY2"/>
                  </a:cxn>
                  <a:cxn ang="0">
                    <a:pos x="connsiteX3" y="connsiteY3"/>
                  </a:cxn>
                </a:cxnLst>
                <a:rect l="l" t="t" r="r" b="b"/>
                <a:pathLst>
                  <a:path w="104124" h="171467">
                    <a:moveTo>
                      <a:pt x="104125" y="1615"/>
                    </a:moveTo>
                    <a:lnTo>
                      <a:pt x="2572" y="171468"/>
                    </a:lnTo>
                    <a:lnTo>
                      <a:pt x="0" y="169913"/>
                    </a:lnTo>
                    <a:lnTo>
                      <a:pt x="101553" y="0"/>
                    </a:lnTo>
                    <a:close/>
                  </a:path>
                </a:pathLst>
              </a:custGeom>
              <a:grpFill/>
              <a:ln w="5978" cap="flat">
                <a:noFill/>
                <a:prstDash val="solid"/>
                <a:miter/>
              </a:ln>
            </p:spPr>
            <p:txBody>
              <a:bodyPr rtlCol="0" anchor="ctr"/>
              <a:lstStyle/>
              <a:p>
                <a:endParaRPr lang="en-GB"/>
              </a:p>
            </p:txBody>
          </p:sp>
          <p:sp>
            <p:nvSpPr>
              <p:cNvPr id="2275" name="Vrije vorm: vorm 2274">
                <a:extLst>
                  <a:ext uri="{FF2B5EF4-FFF2-40B4-BE49-F238E27FC236}">
                    <a16:creationId xmlns:a16="http://schemas.microsoft.com/office/drawing/2014/main" id="{4BC846C2-DDB5-47C5-B3B1-98CD6A156FC2}"/>
                  </a:ext>
                </a:extLst>
              </p:cNvPr>
              <p:cNvSpPr/>
              <p:nvPr/>
            </p:nvSpPr>
            <p:spPr>
              <a:xfrm>
                <a:off x="5015716" y="5131361"/>
                <a:ext cx="18312" cy="18458"/>
              </a:xfrm>
              <a:custGeom>
                <a:avLst/>
                <a:gdLst>
                  <a:gd name="connsiteX0" fmla="*/ 17021 w 18312"/>
                  <a:gd name="connsiteY0" fmla="*/ 14014 h 18458"/>
                  <a:gd name="connsiteX1" fmla="*/ 4462 w 18312"/>
                  <a:gd name="connsiteY1" fmla="*/ 17124 h 18458"/>
                  <a:gd name="connsiteX2" fmla="*/ 1292 w 18312"/>
                  <a:gd name="connsiteY2" fmla="*/ 4445 h 18458"/>
                  <a:gd name="connsiteX3" fmla="*/ 13851 w 18312"/>
                  <a:gd name="connsiteY3" fmla="*/ 1335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4449" y="18380"/>
                      <a:pt x="8768" y="19755"/>
                      <a:pt x="4462" y="17124"/>
                    </a:cubicBezTo>
                    <a:cubicBezTo>
                      <a:pt x="96" y="14492"/>
                      <a:pt x="-1280" y="8811"/>
                      <a:pt x="1292" y="4445"/>
                    </a:cubicBezTo>
                    <a:cubicBezTo>
                      <a:pt x="3864" y="79"/>
                      <a:pt x="9545" y="-1297"/>
                      <a:pt x="13851" y="1335"/>
                    </a:cubicBezTo>
                    <a:cubicBezTo>
                      <a:pt x="18217" y="4026"/>
                      <a:pt x="19593" y="9708"/>
                      <a:pt x="17021" y="14014"/>
                    </a:cubicBezTo>
                    <a:close/>
                  </a:path>
                </a:pathLst>
              </a:custGeom>
              <a:grpFill/>
              <a:ln w="5978" cap="flat">
                <a:noFill/>
                <a:prstDash val="solid"/>
                <a:miter/>
              </a:ln>
            </p:spPr>
            <p:txBody>
              <a:bodyPr rtlCol="0" anchor="ctr"/>
              <a:lstStyle/>
              <a:p>
                <a:endParaRPr lang="en-GB"/>
              </a:p>
            </p:txBody>
          </p:sp>
          <p:sp>
            <p:nvSpPr>
              <p:cNvPr id="2276" name="Vrije vorm: vorm 2275">
                <a:extLst>
                  <a:ext uri="{FF2B5EF4-FFF2-40B4-BE49-F238E27FC236}">
                    <a16:creationId xmlns:a16="http://schemas.microsoft.com/office/drawing/2014/main" id="{B44B3B59-5C55-406D-BCC4-D025A0BDEB0D}"/>
                  </a:ext>
                </a:extLst>
              </p:cNvPr>
              <p:cNvSpPr/>
              <p:nvPr/>
            </p:nvSpPr>
            <p:spPr>
              <a:xfrm>
                <a:off x="5116790" y="4962286"/>
                <a:ext cx="18312" cy="18458"/>
              </a:xfrm>
              <a:custGeom>
                <a:avLst/>
                <a:gdLst>
                  <a:gd name="connsiteX0" fmla="*/ 17021 w 18312"/>
                  <a:gd name="connsiteY0" fmla="*/ 14014 h 18458"/>
                  <a:gd name="connsiteX1" fmla="*/ 13851 w 18312"/>
                  <a:gd name="connsiteY1" fmla="*/ 1335 h 18458"/>
                  <a:gd name="connsiteX2" fmla="*/ 1292 w 18312"/>
                  <a:gd name="connsiteY2" fmla="*/ 4445 h 18458"/>
                  <a:gd name="connsiteX3" fmla="*/ 4462 w 18312"/>
                  <a:gd name="connsiteY3" fmla="*/ 17124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9593" y="9648"/>
                      <a:pt x="18217" y="3966"/>
                      <a:pt x="13851" y="1335"/>
                    </a:cubicBezTo>
                    <a:cubicBezTo>
                      <a:pt x="9485" y="-1297"/>
                      <a:pt x="3863" y="79"/>
                      <a:pt x="1292" y="4445"/>
                    </a:cubicBezTo>
                    <a:cubicBezTo>
                      <a:pt x="-1280" y="8810"/>
                      <a:pt x="96" y="14492"/>
                      <a:pt x="4462" y="17124"/>
                    </a:cubicBezTo>
                    <a:cubicBezTo>
                      <a:pt x="8768" y="19755"/>
                      <a:pt x="14449" y="18380"/>
                      <a:pt x="17021" y="14014"/>
                    </a:cubicBezTo>
                    <a:close/>
                  </a:path>
                </a:pathLst>
              </a:custGeom>
              <a:grpFill/>
              <a:ln w="5978" cap="flat">
                <a:noFill/>
                <a:prstDash val="solid"/>
                <a:miter/>
              </a:ln>
            </p:spPr>
            <p:txBody>
              <a:bodyPr rtlCol="0" anchor="ctr"/>
              <a:lstStyle/>
              <a:p>
                <a:endParaRPr lang="en-GB"/>
              </a:p>
            </p:txBody>
          </p:sp>
        </p:grpSp>
        <p:grpSp>
          <p:nvGrpSpPr>
            <p:cNvPr id="1043" name="Graphic 3">
              <a:extLst>
                <a:ext uri="{FF2B5EF4-FFF2-40B4-BE49-F238E27FC236}">
                  <a16:creationId xmlns:a16="http://schemas.microsoft.com/office/drawing/2014/main" id="{773606AE-8F80-49A5-9714-1326A2B8D1F6}"/>
                </a:ext>
              </a:extLst>
            </p:cNvPr>
            <p:cNvGrpSpPr/>
            <p:nvPr/>
          </p:nvGrpSpPr>
          <p:grpSpPr>
            <a:xfrm>
              <a:off x="4022196" y="2141296"/>
              <a:ext cx="169150" cy="112779"/>
              <a:chOff x="4022196" y="2141296"/>
              <a:chExt cx="169150" cy="112779"/>
            </a:xfrm>
            <a:grpFill/>
          </p:grpSpPr>
          <p:sp>
            <p:nvSpPr>
              <p:cNvPr id="2271" name="Vrije vorm: vorm 2270">
                <a:extLst>
                  <a:ext uri="{FF2B5EF4-FFF2-40B4-BE49-F238E27FC236}">
                    <a16:creationId xmlns:a16="http://schemas.microsoft.com/office/drawing/2014/main" id="{967E8489-26C3-488F-8A56-9C03093A5620}"/>
                  </a:ext>
                </a:extLst>
              </p:cNvPr>
              <p:cNvSpPr/>
              <p:nvPr/>
            </p:nvSpPr>
            <p:spPr>
              <a:xfrm>
                <a:off x="4030188" y="2148913"/>
                <a:ext cx="153226" cy="97485"/>
              </a:xfrm>
              <a:custGeom>
                <a:avLst/>
                <a:gdLst>
                  <a:gd name="connsiteX0" fmla="*/ 153226 w 153226"/>
                  <a:gd name="connsiteY0" fmla="*/ 94914 h 97485"/>
                  <a:gd name="connsiteX1" fmla="*/ 151612 w 153226"/>
                  <a:gd name="connsiteY1" fmla="*/ 97486 h 97485"/>
                  <a:gd name="connsiteX2" fmla="*/ 0 w 153226"/>
                  <a:gd name="connsiteY2" fmla="*/ 2572 h 97485"/>
                  <a:gd name="connsiteX3" fmla="*/ 1615 w 153226"/>
                  <a:gd name="connsiteY3" fmla="*/ 0 h 97485"/>
                </a:gdLst>
                <a:ahLst/>
                <a:cxnLst>
                  <a:cxn ang="0">
                    <a:pos x="connsiteX0" y="connsiteY0"/>
                  </a:cxn>
                  <a:cxn ang="0">
                    <a:pos x="connsiteX1" y="connsiteY1"/>
                  </a:cxn>
                  <a:cxn ang="0">
                    <a:pos x="connsiteX2" y="connsiteY2"/>
                  </a:cxn>
                  <a:cxn ang="0">
                    <a:pos x="connsiteX3" y="connsiteY3"/>
                  </a:cxn>
                </a:cxnLst>
                <a:rect l="l" t="t" r="r" b="b"/>
                <a:pathLst>
                  <a:path w="153226" h="97485">
                    <a:moveTo>
                      <a:pt x="153226" y="94914"/>
                    </a:moveTo>
                    <a:lnTo>
                      <a:pt x="151612" y="97486"/>
                    </a:lnTo>
                    <a:lnTo>
                      <a:pt x="0" y="2572"/>
                    </a:lnTo>
                    <a:lnTo>
                      <a:pt x="1615" y="0"/>
                    </a:lnTo>
                    <a:close/>
                  </a:path>
                </a:pathLst>
              </a:custGeom>
              <a:grpFill/>
              <a:ln w="5978" cap="flat">
                <a:noFill/>
                <a:prstDash val="solid"/>
                <a:miter/>
              </a:ln>
            </p:spPr>
            <p:txBody>
              <a:bodyPr rtlCol="0" anchor="ctr"/>
              <a:lstStyle/>
              <a:p>
                <a:endParaRPr lang="en-GB"/>
              </a:p>
            </p:txBody>
          </p:sp>
          <p:sp>
            <p:nvSpPr>
              <p:cNvPr id="2272" name="Vrije vorm: vorm 2271">
                <a:extLst>
                  <a:ext uri="{FF2B5EF4-FFF2-40B4-BE49-F238E27FC236}">
                    <a16:creationId xmlns:a16="http://schemas.microsoft.com/office/drawing/2014/main" id="{F8E2BA97-70F0-4F9C-8F87-5341A13F9152}"/>
                  </a:ext>
                </a:extLst>
              </p:cNvPr>
              <p:cNvSpPr/>
              <p:nvPr/>
            </p:nvSpPr>
            <p:spPr>
              <a:xfrm>
                <a:off x="4022196" y="2141296"/>
                <a:ext cx="18316" cy="18403"/>
              </a:xfrm>
              <a:custGeom>
                <a:avLst/>
                <a:gdLst>
                  <a:gd name="connsiteX0" fmla="*/ 4344 w 18316"/>
                  <a:gd name="connsiteY0" fmla="*/ 17007 h 18403"/>
                  <a:gd name="connsiteX1" fmla="*/ 1354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4" y="4327"/>
                    </a:cubicBezTo>
                    <a:cubicBezTo>
                      <a:pt x="4045" y="21"/>
                      <a:pt x="9667" y="-1294"/>
                      <a:pt x="13973" y="1397"/>
                    </a:cubicBezTo>
                    <a:cubicBezTo>
                      <a:pt x="18279" y="4088"/>
                      <a:pt x="19595" y="9770"/>
                      <a:pt x="16963" y="14076"/>
                    </a:cubicBezTo>
                    <a:cubicBezTo>
                      <a:pt x="14332" y="18382"/>
                      <a:pt x="8650" y="19698"/>
                      <a:pt x="4344" y="17007"/>
                    </a:cubicBezTo>
                    <a:close/>
                  </a:path>
                </a:pathLst>
              </a:custGeom>
              <a:grpFill/>
              <a:ln w="5978" cap="flat">
                <a:noFill/>
                <a:prstDash val="solid"/>
                <a:miter/>
              </a:ln>
            </p:spPr>
            <p:txBody>
              <a:bodyPr rtlCol="0" anchor="ctr"/>
              <a:lstStyle/>
              <a:p>
                <a:endParaRPr lang="en-GB"/>
              </a:p>
            </p:txBody>
          </p:sp>
          <p:sp>
            <p:nvSpPr>
              <p:cNvPr id="2273" name="Vrije vorm: vorm 2272">
                <a:extLst>
                  <a:ext uri="{FF2B5EF4-FFF2-40B4-BE49-F238E27FC236}">
                    <a16:creationId xmlns:a16="http://schemas.microsoft.com/office/drawing/2014/main" id="{7A949B4F-43F0-423D-8128-619B66BD6DE8}"/>
                  </a:ext>
                </a:extLst>
              </p:cNvPr>
              <p:cNvSpPr/>
              <p:nvPr/>
            </p:nvSpPr>
            <p:spPr>
              <a:xfrm>
                <a:off x="4173030" y="2235672"/>
                <a:ext cx="18316" cy="18403"/>
              </a:xfrm>
              <a:custGeom>
                <a:avLst/>
                <a:gdLst>
                  <a:gd name="connsiteX0" fmla="*/ 4344 w 18316"/>
                  <a:gd name="connsiteY0" fmla="*/ 17007 h 18403"/>
                  <a:gd name="connsiteX1" fmla="*/ 16963 w 18316"/>
                  <a:gd name="connsiteY1" fmla="*/ 14076 h 18403"/>
                  <a:gd name="connsiteX2" fmla="*/ 13973 w 18316"/>
                  <a:gd name="connsiteY2" fmla="*/ 1397 h 18403"/>
                  <a:gd name="connsiteX3" fmla="*/ 1354 w 18316"/>
                  <a:gd name="connsiteY3" fmla="*/ 4327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8650" y="19698"/>
                      <a:pt x="14272" y="18382"/>
                      <a:pt x="16963" y="14076"/>
                    </a:cubicBezTo>
                    <a:cubicBezTo>
                      <a:pt x="19595" y="9770"/>
                      <a:pt x="18279" y="4088"/>
                      <a:pt x="13973" y="1397"/>
                    </a:cubicBezTo>
                    <a:cubicBezTo>
                      <a:pt x="9667" y="-1294"/>
                      <a:pt x="4045" y="21"/>
                      <a:pt x="1354" y="4327"/>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1044" name="Graphic 3">
              <a:extLst>
                <a:ext uri="{FF2B5EF4-FFF2-40B4-BE49-F238E27FC236}">
                  <a16:creationId xmlns:a16="http://schemas.microsoft.com/office/drawing/2014/main" id="{1AF52AED-495B-4B7C-908F-653B4BE1CAB6}"/>
                </a:ext>
              </a:extLst>
            </p:cNvPr>
            <p:cNvGrpSpPr/>
            <p:nvPr/>
          </p:nvGrpSpPr>
          <p:grpSpPr>
            <a:xfrm>
              <a:off x="4930353" y="4858200"/>
              <a:ext cx="302492" cy="435509"/>
              <a:chOff x="4930353" y="4858200"/>
              <a:chExt cx="302492" cy="435509"/>
            </a:xfrm>
            <a:grpFill/>
          </p:grpSpPr>
          <p:sp>
            <p:nvSpPr>
              <p:cNvPr id="2268" name="Vrije vorm: vorm 2267">
                <a:extLst>
                  <a:ext uri="{FF2B5EF4-FFF2-40B4-BE49-F238E27FC236}">
                    <a16:creationId xmlns:a16="http://schemas.microsoft.com/office/drawing/2014/main" id="{95E713A8-D2F5-48E5-BEAF-37979952FA82}"/>
                  </a:ext>
                </a:extLst>
              </p:cNvPr>
              <p:cNvSpPr/>
              <p:nvPr/>
            </p:nvSpPr>
            <p:spPr>
              <a:xfrm>
                <a:off x="4938003" y="4866134"/>
                <a:ext cx="287194" cy="419607"/>
              </a:xfrm>
              <a:custGeom>
                <a:avLst/>
                <a:gdLst>
                  <a:gd name="connsiteX0" fmla="*/ 287194 w 287194"/>
                  <a:gd name="connsiteY0" fmla="*/ 1735 h 419607"/>
                  <a:gd name="connsiteX1" fmla="*/ 2512 w 287194"/>
                  <a:gd name="connsiteY1" fmla="*/ 419608 h 419607"/>
                  <a:gd name="connsiteX2" fmla="*/ 0 w 287194"/>
                  <a:gd name="connsiteY2" fmla="*/ 417873 h 419607"/>
                  <a:gd name="connsiteX3" fmla="*/ 284682 w 287194"/>
                  <a:gd name="connsiteY3" fmla="*/ 0 h 419607"/>
                </a:gdLst>
                <a:ahLst/>
                <a:cxnLst>
                  <a:cxn ang="0">
                    <a:pos x="connsiteX0" y="connsiteY0"/>
                  </a:cxn>
                  <a:cxn ang="0">
                    <a:pos x="connsiteX1" y="connsiteY1"/>
                  </a:cxn>
                  <a:cxn ang="0">
                    <a:pos x="connsiteX2" y="connsiteY2"/>
                  </a:cxn>
                  <a:cxn ang="0">
                    <a:pos x="connsiteX3" y="connsiteY3"/>
                  </a:cxn>
                </a:cxnLst>
                <a:rect l="l" t="t" r="r" b="b"/>
                <a:pathLst>
                  <a:path w="287194" h="419607">
                    <a:moveTo>
                      <a:pt x="287194" y="1735"/>
                    </a:moveTo>
                    <a:lnTo>
                      <a:pt x="2512" y="419608"/>
                    </a:lnTo>
                    <a:lnTo>
                      <a:pt x="0" y="417873"/>
                    </a:lnTo>
                    <a:lnTo>
                      <a:pt x="284682" y="0"/>
                    </a:lnTo>
                    <a:close/>
                  </a:path>
                </a:pathLst>
              </a:custGeom>
              <a:grpFill/>
              <a:ln w="5978" cap="flat">
                <a:noFill/>
                <a:prstDash val="solid"/>
                <a:miter/>
              </a:ln>
            </p:spPr>
            <p:txBody>
              <a:bodyPr rtlCol="0" anchor="ctr"/>
              <a:lstStyle/>
              <a:p>
                <a:endParaRPr lang="en-GB"/>
              </a:p>
            </p:txBody>
          </p:sp>
          <p:sp>
            <p:nvSpPr>
              <p:cNvPr id="2269" name="Vrije vorm: vorm 2268">
                <a:extLst>
                  <a:ext uri="{FF2B5EF4-FFF2-40B4-BE49-F238E27FC236}">
                    <a16:creationId xmlns:a16="http://schemas.microsoft.com/office/drawing/2014/main" id="{D0779A63-D76F-403B-A434-8342C5BF9CFF}"/>
                  </a:ext>
                </a:extLst>
              </p:cNvPr>
              <p:cNvSpPr/>
              <p:nvPr/>
            </p:nvSpPr>
            <p:spPr>
              <a:xfrm>
                <a:off x="5214540" y="4858200"/>
                <a:ext cx="18306" cy="18439"/>
              </a:xfrm>
              <a:custGeom>
                <a:avLst/>
                <a:gdLst>
                  <a:gd name="connsiteX0" fmla="*/ 1567 w 18306"/>
                  <a:gd name="connsiteY0" fmla="*/ 3987 h 18439"/>
                  <a:gd name="connsiteX1" fmla="*/ 14306 w 18306"/>
                  <a:gd name="connsiteY1" fmla="*/ 1654 h 18439"/>
                  <a:gd name="connsiteX2" fmla="*/ 16698 w 18306"/>
                  <a:gd name="connsiteY2" fmla="*/ 14453 h 18439"/>
                  <a:gd name="connsiteX3" fmla="*/ 3959 w 18306"/>
                  <a:gd name="connsiteY3" fmla="*/ 16785 h 18439"/>
                  <a:gd name="connsiteX4" fmla="*/ 1567 w 18306"/>
                  <a:gd name="connsiteY4" fmla="*/ 3987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9">
                    <a:moveTo>
                      <a:pt x="1567" y="3987"/>
                    </a:moveTo>
                    <a:cubicBezTo>
                      <a:pt x="4437" y="-200"/>
                      <a:pt x="10119" y="-1276"/>
                      <a:pt x="14306" y="1654"/>
                    </a:cubicBezTo>
                    <a:cubicBezTo>
                      <a:pt x="18492" y="4525"/>
                      <a:pt x="19569" y="10266"/>
                      <a:pt x="16698" y="14453"/>
                    </a:cubicBezTo>
                    <a:cubicBezTo>
                      <a:pt x="13827" y="18640"/>
                      <a:pt x="8145" y="19716"/>
                      <a:pt x="3959" y="16785"/>
                    </a:cubicBezTo>
                    <a:cubicBezTo>
                      <a:pt x="-168" y="13915"/>
                      <a:pt x="-1245" y="8173"/>
                      <a:pt x="1567" y="3987"/>
                    </a:cubicBezTo>
                    <a:close/>
                  </a:path>
                </a:pathLst>
              </a:custGeom>
              <a:grpFill/>
              <a:ln w="5978" cap="flat">
                <a:noFill/>
                <a:prstDash val="solid"/>
                <a:miter/>
              </a:ln>
            </p:spPr>
            <p:txBody>
              <a:bodyPr rtlCol="0" anchor="ctr"/>
              <a:lstStyle/>
              <a:p>
                <a:endParaRPr lang="en-GB"/>
              </a:p>
            </p:txBody>
          </p:sp>
          <p:sp>
            <p:nvSpPr>
              <p:cNvPr id="2270" name="Vrije vorm: vorm 2269">
                <a:extLst>
                  <a:ext uri="{FF2B5EF4-FFF2-40B4-BE49-F238E27FC236}">
                    <a16:creationId xmlns:a16="http://schemas.microsoft.com/office/drawing/2014/main" id="{33DE6B5A-9611-46CC-93D8-F96DE28E576D}"/>
                  </a:ext>
                </a:extLst>
              </p:cNvPr>
              <p:cNvSpPr/>
              <p:nvPr/>
            </p:nvSpPr>
            <p:spPr>
              <a:xfrm>
                <a:off x="4930353" y="5275296"/>
                <a:ext cx="18348" cy="18413"/>
              </a:xfrm>
              <a:custGeom>
                <a:avLst/>
                <a:gdLst>
                  <a:gd name="connsiteX0" fmla="*/ 1609 w 18348"/>
                  <a:gd name="connsiteY0" fmla="*/ 3987 h 18413"/>
                  <a:gd name="connsiteX1" fmla="*/ 4001 w 18348"/>
                  <a:gd name="connsiteY1" fmla="*/ 16786 h 18413"/>
                  <a:gd name="connsiteX2" fmla="*/ 16740 w 18348"/>
                  <a:gd name="connsiteY2" fmla="*/ 14453 h 18413"/>
                  <a:gd name="connsiteX3" fmla="*/ 14348 w 18348"/>
                  <a:gd name="connsiteY3" fmla="*/ 1654 h 18413"/>
                  <a:gd name="connsiteX4" fmla="*/ 1609 w 18348"/>
                  <a:gd name="connsiteY4" fmla="*/ 3987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3">
                    <a:moveTo>
                      <a:pt x="1609" y="3987"/>
                    </a:moveTo>
                    <a:cubicBezTo>
                      <a:pt x="-1262" y="8173"/>
                      <a:pt x="-186" y="13915"/>
                      <a:pt x="4001" y="16786"/>
                    </a:cubicBezTo>
                    <a:cubicBezTo>
                      <a:pt x="8187" y="19656"/>
                      <a:pt x="13869" y="18640"/>
                      <a:pt x="16740" y="14453"/>
                    </a:cubicBezTo>
                    <a:cubicBezTo>
                      <a:pt x="19611" y="10266"/>
                      <a:pt x="18534" y="4525"/>
                      <a:pt x="14348" y="1654"/>
                    </a:cubicBezTo>
                    <a:cubicBezTo>
                      <a:pt x="10161" y="-1276"/>
                      <a:pt x="4419" y="-200"/>
                      <a:pt x="1609" y="3987"/>
                    </a:cubicBezTo>
                    <a:close/>
                  </a:path>
                </a:pathLst>
              </a:custGeom>
              <a:grpFill/>
              <a:ln w="5978" cap="flat">
                <a:noFill/>
                <a:prstDash val="solid"/>
                <a:miter/>
              </a:ln>
            </p:spPr>
            <p:txBody>
              <a:bodyPr rtlCol="0" anchor="ctr"/>
              <a:lstStyle/>
              <a:p>
                <a:endParaRPr lang="en-GB"/>
              </a:p>
            </p:txBody>
          </p:sp>
        </p:grpSp>
        <p:grpSp>
          <p:nvGrpSpPr>
            <p:cNvPr id="1045" name="Graphic 3">
              <a:extLst>
                <a:ext uri="{FF2B5EF4-FFF2-40B4-BE49-F238E27FC236}">
                  <a16:creationId xmlns:a16="http://schemas.microsoft.com/office/drawing/2014/main" id="{40BF1BA6-5919-4A52-A2B2-461156499368}"/>
                </a:ext>
              </a:extLst>
            </p:cNvPr>
            <p:cNvGrpSpPr/>
            <p:nvPr/>
          </p:nvGrpSpPr>
          <p:grpSpPr>
            <a:xfrm>
              <a:off x="4244609" y="2854410"/>
              <a:ext cx="190860" cy="71387"/>
              <a:chOff x="4244609" y="2854410"/>
              <a:chExt cx="190860" cy="71387"/>
            </a:xfrm>
            <a:grpFill/>
          </p:grpSpPr>
          <p:sp>
            <p:nvSpPr>
              <p:cNvPr id="2265" name="Vrije vorm: vorm 2264">
                <a:extLst>
                  <a:ext uri="{FF2B5EF4-FFF2-40B4-BE49-F238E27FC236}">
                    <a16:creationId xmlns:a16="http://schemas.microsoft.com/office/drawing/2014/main" id="{3B469961-FDE5-44F1-AA60-D1EBBCD2D042}"/>
                  </a:ext>
                </a:extLst>
              </p:cNvPr>
              <p:cNvSpPr/>
              <p:nvPr/>
            </p:nvSpPr>
            <p:spPr>
              <a:xfrm>
                <a:off x="4252911" y="2861995"/>
                <a:ext cx="174218" cy="56218"/>
              </a:xfrm>
              <a:custGeom>
                <a:avLst/>
                <a:gdLst>
                  <a:gd name="connsiteX0" fmla="*/ 174218 w 174218"/>
                  <a:gd name="connsiteY0" fmla="*/ 53288 h 56218"/>
                  <a:gd name="connsiteX1" fmla="*/ 173381 w 174218"/>
                  <a:gd name="connsiteY1" fmla="*/ 56219 h 56218"/>
                  <a:gd name="connsiteX2" fmla="*/ 0 w 174218"/>
                  <a:gd name="connsiteY2" fmla="*/ 2930 h 56218"/>
                  <a:gd name="connsiteX3" fmla="*/ 837 w 174218"/>
                  <a:gd name="connsiteY3" fmla="*/ 0 h 56218"/>
                </a:gdLst>
                <a:ahLst/>
                <a:cxnLst>
                  <a:cxn ang="0">
                    <a:pos x="connsiteX0" y="connsiteY0"/>
                  </a:cxn>
                  <a:cxn ang="0">
                    <a:pos x="connsiteX1" y="connsiteY1"/>
                  </a:cxn>
                  <a:cxn ang="0">
                    <a:pos x="connsiteX2" y="connsiteY2"/>
                  </a:cxn>
                  <a:cxn ang="0">
                    <a:pos x="connsiteX3" y="connsiteY3"/>
                  </a:cxn>
                </a:cxnLst>
                <a:rect l="l" t="t" r="r" b="b"/>
                <a:pathLst>
                  <a:path w="174218" h="56218">
                    <a:moveTo>
                      <a:pt x="174218" y="53288"/>
                    </a:moveTo>
                    <a:lnTo>
                      <a:pt x="173381" y="56219"/>
                    </a:lnTo>
                    <a:lnTo>
                      <a:pt x="0" y="2930"/>
                    </a:lnTo>
                    <a:lnTo>
                      <a:pt x="837" y="0"/>
                    </a:lnTo>
                    <a:close/>
                  </a:path>
                </a:pathLst>
              </a:custGeom>
              <a:grpFill/>
              <a:ln w="5978" cap="flat">
                <a:noFill/>
                <a:prstDash val="solid"/>
                <a:miter/>
              </a:ln>
            </p:spPr>
            <p:txBody>
              <a:bodyPr rtlCol="0" anchor="ctr"/>
              <a:lstStyle/>
              <a:p>
                <a:endParaRPr lang="en-GB"/>
              </a:p>
            </p:txBody>
          </p:sp>
          <p:sp>
            <p:nvSpPr>
              <p:cNvPr id="2266" name="Vrije vorm: vorm 2265">
                <a:extLst>
                  <a:ext uri="{FF2B5EF4-FFF2-40B4-BE49-F238E27FC236}">
                    <a16:creationId xmlns:a16="http://schemas.microsoft.com/office/drawing/2014/main" id="{EA551F34-4AAA-4CA0-9412-F16430516C20}"/>
                  </a:ext>
                </a:extLst>
              </p:cNvPr>
              <p:cNvSpPr/>
              <p:nvPr/>
            </p:nvSpPr>
            <p:spPr>
              <a:xfrm>
                <a:off x="4244609" y="2854410"/>
                <a:ext cx="18338" cy="18398"/>
              </a:xfrm>
              <a:custGeom>
                <a:avLst/>
                <a:gdLst>
                  <a:gd name="connsiteX0" fmla="*/ 6508 w 18338"/>
                  <a:gd name="connsiteY0" fmla="*/ 17991 h 18398"/>
                  <a:gd name="connsiteX1" fmla="*/ 407 w 18338"/>
                  <a:gd name="connsiteY1" fmla="*/ 6508 h 18398"/>
                  <a:gd name="connsiteX2" fmla="*/ 11831 w 18338"/>
                  <a:gd name="connsiteY2" fmla="*/ 407 h 18398"/>
                  <a:gd name="connsiteX3" fmla="*/ 17931 w 18338"/>
                  <a:gd name="connsiteY3" fmla="*/ 11890 h 18398"/>
                  <a:gd name="connsiteX4" fmla="*/ 6508 w 18338"/>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6508" y="17991"/>
                    </a:moveTo>
                    <a:cubicBezTo>
                      <a:pt x="1663" y="16496"/>
                      <a:pt x="-1088" y="11352"/>
                      <a:pt x="407" y="6508"/>
                    </a:cubicBezTo>
                    <a:cubicBezTo>
                      <a:pt x="1843" y="1663"/>
                      <a:pt x="6986" y="-1088"/>
                      <a:pt x="11831" y="407"/>
                    </a:cubicBezTo>
                    <a:cubicBezTo>
                      <a:pt x="16675" y="1903"/>
                      <a:pt x="19426" y="7046"/>
                      <a:pt x="17931" y="11890"/>
                    </a:cubicBezTo>
                    <a:cubicBezTo>
                      <a:pt x="16436" y="16735"/>
                      <a:pt x="11352" y="19486"/>
                      <a:pt x="6508" y="17991"/>
                    </a:cubicBezTo>
                    <a:close/>
                  </a:path>
                </a:pathLst>
              </a:custGeom>
              <a:grpFill/>
              <a:ln w="5978" cap="flat">
                <a:noFill/>
                <a:prstDash val="solid"/>
                <a:miter/>
              </a:ln>
            </p:spPr>
            <p:txBody>
              <a:bodyPr rtlCol="0" anchor="ctr"/>
              <a:lstStyle/>
              <a:p>
                <a:endParaRPr lang="en-GB"/>
              </a:p>
            </p:txBody>
          </p:sp>
          <p:sp>
            <p:nvSpPr>
              <p:cNvPr id="2267" name="Vrije vorm: vorm 2266">
                <a:extLst>
                  <a:ext uri="{FF2B5EF4-FFF2-40B4-BE49-F238E27FC236}">
                    <a16:creationId xmlns:a16="http://schemas.microsoft.com/office/drawing/2014/main" id="{162DA19C-D338-47A9-8340-AB4A5A1FAEAE}"/>
                  </a:ext>
                </a:extLst>
              </p:cNvPr>
              <p:cNvSpPr/>
              <p:nvPr/>
            </p:nvSpPr>
            <p:spPr>
              <a:xfrm>
                <a:off x="4417153" y="2907400"/>
                <a:ext cx="18316" cy="18398"/>
              </a:xfrm>
              <a:custGeom>
                <a:avLst/>
                <a:gdLst>
                  <a:gd name="connsiteX0" fmla="*/ 6508 w 18316"/>
                  <a:gd name="connsiteY0" fmla="*/ 17991 h 18398"/>
                  <a:gd name="connsiteX1" fmla="*/ 17931 w 18316"/>
                  <a:gd name="connsiteY1" fmla="*/ 11891 h 18398"/>
                  <a:gd name="connsiteX2" fmla="*/ 11831 w 18316"/>
                  <a:gd name="connsiteY2" fmla="*/ 407 h 18398"/>
                  <a:gd name="connsiteX3" fmla="*/ 407 w 18316"/>
                  <a:gd name="connsiteY3" fmla="*/ 6508 h 18398"/>
                  <a:gd name="connsiteX4" fmla="*/ 6508 w 18316"/>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8">
                    <a:moveTo>
                      <a:pt x="6508" y="17991"/>
                    </a:moveTo>
                    <a:cubicBezTo>
                      <a:pt x="11352" y="19486"/>
                      <a:pt x="16496" y="16735"/>
                      <a:pt x="17931" y="11891"/>
                    </a:cubicBezTo>
                    <a:cubicBezTo>
                      <a:pt x="19366" y="7046"/>
                      <a:pt x="16675" y="1903"/>
                      <a:pt x="11831" y="407"/>
                    </a:cubicBezTo>
                    <a:cubicBezTo>
                      <a:pt x="6986" y="-1088"/>
                      <a:pt x="1843" y="1664"/>
                      <a:pt x="407" y="6508"/>
                    </a:cubicBezTo>
                    <a:cubicBezTo>
                      <a:pt x="-1088" y="11352"/>
                      <a:pt x="1664" y="16555"/>
                      <a:pt x="6508" y="17991"/>
                    </a:cubicBezTo>
                    <a:close/>
                  </a:path>
                </a:pathLst>
              </a:custGeom>
              <a:grpFill/>
              <a:ln w="5978" cap="flat">
                <a:noFill/>
                <a:prstDash val="solid"/>
                <a:miter/>
              </a:ln>
            </p:spPr>
            <p:txBody>
              <a:bodyPr rtlCol="0" anchor="ctr"/>
              <a:lstStyle/>
              <a:p>
                <a:endParaRPr lang="en-GB"/>
              </a:p>
            </p:txBody>
          </p:sp>
        </p:grpSp>
        <p:grpSp>
          <p:nvGrpSpPr>
            <p:cNvPr id="1046" name="Graphic 3">
              <a:extLst>
                <a:ext uri="{FF2B5EF4-FFF2-40B4-BE49-F238E27FC236}">
                  <a16:creationId xmlns:a16="http://schemas.microsoft.com/office/drawing/2014/main" id="{B590B7D3-B45A-451F-ABD0-BBA6FA154A1C}"/>
                </a:ext>
              </a:extLst>
            </p:cNvPr>
            <p:cNvGrpSpPr/>
            <p:nvPr/>
          </p:nvGrpSpPr>
          <p:grpSpPr>
            <a:xfrm>
              <a:off x="5083906" y="5193433"/>
              <a:ext cx="86523" cy="154534"/>
              <a:chOff x="5083906" y="5193433"/>
              <a:chExt cx="86523" cy="154534"/>
            </a:xfrm>
            <a:grpFill/>
          </p:grpSpPr>
          <p:sp>
            <p:nvSpPr>
              <p:cNvPr id="2262" name="Vrije vorm: vorm 2261">
                <a:extLst>
                  <a:ext uri="{FF2B5EF4-FFF2-40B4-BE49-F238E27FC236}">
                    <a16:creationId xmlns:a16="http://schemas.microsoft.com/office/drawing/2014/main" id="{A443D161-6F00-4A98-82CC-B9965F0C203F}"/>
                  </a:ext>
                </a:extLst>
              </p:cNvPr>
              <p:cNvSpPr/>
              <p:nvPr/>
            </p:nvSpPr>
            <p:spPr>
              <a:xfrm>
                <a:off x="5091528" y="5201533"/>
                <a:ext cx="71290" cy="138334"/>
              </a:xfrm>
              <a:custGeom>
                <a:avLst/>
                <a:gdLst>
                  <a:gd name="connsiteX0" fmla="*/ 71290 w 71290"/>
                  <a:gd name="connsiteY0" fmla="*/ 1375 h 138334"/>
                  <a:gd name="connsiteX1" fmla="*/ 2751 w 71290"/>
                  <a:gd name="connsiteY1" fmla="*/ 138334 h 138334"/>
                  <a:gd name="connsiteX2" fmla="*/ 0 w 71290"/>
                  <a:gd name="connsiteY2" fmla="*/ 136958 h 138334"/>
                  <a:gd name="connsiteX3" fmla="*/ 68539 w 71290"/>
                  <a:gd name="connsiteY3" fmla="*/ 0 h 138334"/>
                </a:gdLst>
                <a:ahLst/>
                <a:cxnLst>
                  <a:cxn ang="0">
                    <a:pos x="connsiteX0" y="connsiteY0"/>
                  </a:cxn>
                  <a:cxn ang="0">
                    <a:pos x="connsiteX1" y="connsiteY1"/>
                  </a:cxn>
                  <a:cxn ang="0">
                    <a:pos x="connsiteX2" y="connsiteY2"/>
                  </a:cxn>
                  <a:cxn ang="0">
                    <a:pos x="connsiteX3" y="connsiteY3"/>
                  </a:cxn>
                </a:cxnLst>
                <a:rect l="l" t="t" r="r" b="b"/>
                <a:pathLst>
                  <a:path w="71290" h="138334">
                    <a:moveTo>
                      <a:pt x="71290" y="1375"/>
                    </a:moveTo>
                    <a:lnTo>
                      <a:pt x="2751" y="138334"/>
                    </a:lnTo>
                    <a:lnTo>
                      <a:pt x="0" y="136958"/>
                    </a:lnTo>
                    <a:lnTo>
                      <a:pt x="68539" y="0"/>
                    </a:lnTo>
                    <a:close/>
                  </a:path>
                </a:pathLst>
              </a:custGeom>
              <a:grpFill/>
              <a:ln w="5978" cap="flat">
                <a:noFill/>
                <a:prstDash val="solid"/>
                <a:miter/>
              </a:ln>
            </p:spPr>
            <p:txBody>
              <a:bodyPr rtlCol="0" anchor="ctr"/>
              <a:lstStyle/>
              <a:p>
                <a:endParaRPr lang="en-GB"/>
              </a:p>
            </p:txBody>
          </p:sp>
          <p:sp>
            <p:nvSpPr>
              <p:cNvPr id="2263" name="Vrije vorm: vorm 2262">
                <a:extLst>
                  <a:ext uri="{FF2B5EF4-FFF2-40B4-BE49-F238E27FC236}">
                    <a16:creationId xmlns:a16="http://schemas.microsoft.com/office/drawing/2014/main" id="{AC84F08D-3F9F-4052-B791-A6D801A2FF05}"/>
                  </a:ext>
                </a:extLst>
              </p:cNvPr>
              <p:cNvSpPr/>
              <p:nvPr/>
            </p:nvSpPr>
            <p:spPr>
              <a:xfrm>
                <a:off x="5083906" y="5329554"/>
                <a:ext cx="18353" cy="18413"/>
              </a:xfrm>
              <a:custGeom>
                <a:avLst/>
                <a:gdLst>
                  <a:gd name="connsiteX0" fmla="*/ 17371 w 18353"/>
                  <a:gd name="connsiteY0" fmla="*/ 13364 h 18413"/>
                  <a:gd name="connsiteX1" fmla="*/ 5050 w 18353"/>
                  <a:gd name="connsiteY1" fmla="*/ 17430 h 18413"/>
                  <a:gd name="connsiteX2" fmla="*/ 983 w 18353"/>
                  <a:gd name="connsiteY2" fmla="*/ 5050 h 18413"/>
                  <a:gd name="connsiteX3" fmla="*/ 13304 w 18353"/>
                  <a:gd name="connsiteY3" fmla="*/ 983 h 18413"/>
                  <a:gd name="connsiteX4" fmla="*/ 17371 w 18353"/>
                  <a:gd name="connsiteY4" fmla="*/ 1336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3">
                    <a:moveTo>
                      <a:pt x="17371" y="13364"/>
                    </a:moveTo>
                    <a:cubicBezTo>
                      <a:pt x="15098" y="17909"/>
                      <a:pt x="9596" y="19703"/>
                      <a:pt x="5050" y="17430"/>
                    </a:cubicBezTo>
                    <a:cubicBezTo>
                      <a:pt x="505" y="15158"/>
                      <a:pt x="-1289" y="9596"/>
                      <a:pt x="983" y="5050"/>
                    </a:cubicBezTo>
                    <a:cubicBezTo>
                      <a:pt x="3256" y="505"/>
                      <a:pt x="8758" y="-1289"/>
                      <a:pt x="13304" y="983"/>
                    </a:cubicBezTo>
                    <a:cubicBezTo>
                      <a:pt x="17849" y="3256"/>
                      <a:pt x="19643" y="8818"/>
                      <a:pt x="17371" y="13364"/>
                    </a:cubicBezTo>
                    <a:close/>
                  </a:path>
                </a:pathLst>
              </a:custGeom>
              <a:grpFill/>
              <a:ln w="5978" cap="flat">
                <a:noFill/>
                <a:prstDash val="solid"/>
                <a:miter/>
              </a:ln>
            </p:spPr>
            <p:txBody>
              <a:bodyPr rtlCol="0" anchor="ctr"/>
              <a:lstStyle/>
              <a:p>
                <a:endParaRPr lang="en-GB"/>
              </a:p>
            </p:txBody>
          </p:sp>
          <p:sp>
            <p:nvSpPr>
              <p:cNvPr id="2264" name="Vrije vorm: vorm 2263">
                <a:extLst>
                  <a:ext uri="{FF2B5EF4-FFF2-40B4-BE49-F238E27FC236}">
                    <a16:creationId xmlns:a16="http://schemas.microsoft.com/office/drawing/2014/main" id="{C9F43DD2-C99D-43A5-8D14-EEFC82E62E94}"/>
                  </a:ext>
                </a:extLst>
              </p:cNvPr>
              <p:cNvSpPr/>
              <p:nvPr/>
            </p:nvSpPr>
            <p:spPr>
              <a:xfrm>
                <a:off x="5152097" y="5193433"/>
                <a:ext cx="18332" cy="18413"/>
              </a:xfrm>
              <a:custGeom>
                <a:avLst/>
                <a:gdLst>
                  <a:gd name="connsiteX0" fmla="*/ 17360 w 18332"/>
                  <a:gd name="connsiteY0" fmla="*/ 13364 h 18413"/>
                  <a:gd name="connsiteX1" fmla="*/ 13293 w 18332"/>
                  <a:gd name="connsiteY1" fmla="*/ 983 h 18413"/>
                  <a:gd name="connsiteX2" fmla="*/ 972 w 18332"/>
                  <a:gd name="connsiteY2" fmla="*/ 5050 h 18413"/>
                  <a:gd name="connsiteX3" fmla="*/ 5040 w 18332"/>
                  <a:gd name="connsiteY3" fmla="*/ 17430 h 18413"/>
                  <a:gd name="connsiteX4" fmla="*/ 17360 w 18332"/>
                  <a:gd name="connsiteY4" fmla="*/ 1336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13">
                    <a:moveTo>
                      <a:pt x="17360" y="13364"/>
                    </a:moveTo>
                    <a:cubicBezTo>
                      <a:pt x="19633" y="8818"/>
                      <a:pt x="17778" y="3256"/>
                      <a:pt x="13293" y="983"/>
                    </a:cubicBezTo>
                    <a:cubicBezTo>
                      <a:pt x="8748" y="-1289"/>
                      <a:pt x="3245" y="505"/>
                      <a:pt x="972" y="5050"/>
                    </a:cubicBezTo>
                    <a:cubicBezTo>
                      <a:pt x="-1300" y="9596"/>
                      <a:pt x="554" y="15158"/>
                      <a:pt x="5040" y="17430"/>
                    </a:cubicBezTo>
                    <a:cubicBezTo>
                      <a:pt x="9585" y="19703"/>
                      <a:pt x="15087" y="17909"/>
                      <a:pt x="17360" y="13364"/>
                    </a:cubicBezTo>
                    <a:close/>
                  </a:path>
                </a:pathLst>
              </a:custGeom>
              <a:grpFill/>
              <a:ln w="5978" cap="flat">
                <a:noFill/>
                <a:prstDash val="solid"/>
                <a:miter/>
              </a:ln>
            </p:spPr>
            <p:txBody>
              <a:bodyPr rtlCol="0" anchor="ctr"/>
              <a:lstStyle/>
              <a:p>
                <a:endParaRPr lang="en-GB"/>
              </a:p>
            </p:txBody>
          </p:sp>
        </p:grpSp>
        <p:grpSp>
          <p:nvGrpSpPr>
            <p:cNvPr id="1047" name="Graphic 3">
              <a:extLst>
                <a:ext uri="{FF2B5EF4-FFF2-40B4-BE49-F238E27FC236}">
                  <a16:creationId xmlns:a16="http://schemas.microsoft.com/office/drawing/2014/main" id="{4A67EF64-BF19-451E-A1AC-559CFEEB0281}"/>
                </a:ext>
              </a:extLst>
            </p:cNvPr>
            <p:cNvGrpSpPr/>
            <p:nvPr/>
          </p:nvGrpSpPr>
          <p:grpSpPr>
            <a:xfrm>
              <a:off x="4902185" y="4712652"/>
              <a:ext cx="89158" cy="104457"/>
              <a:chOff x="4902185" y="4712652"/>
              <a:chExt cx="89158" cy="104457"/>
            </a:xfrm>
            <a:grpFill/>
          </p:grpSpPr>
          <p:sp>
            <p:nvSpPr>
              <p:cNvPr id="2259" name="Vrije vorm: vorm 2258">
                <a:extLst>
                  <a:ext uri="{FF2B5EF4-FFF2-40B4-BE49-F238E27FC236}">
                    <a16:creationId xmlns:a16="http://schemas.microsoft.com/office/drawing/2014/main" id="{E9F6287A-830E-4346-9C01-CF488B89D9BD}"/>
                  </a:ext>
                </a:extLst>
              </p:cNvPr>
              <p:cNvSpPr/>
              <p:nvPr/>
            </p:nvSpPr>
            <p:spPr>
              <a:xfrm>
                <a:off x="4909953" y="4720504"/>
                <a:ext cx="73682" cy="88693"/>
              </a:xfrm>
              <a:custGeom>
                <a:avLst/>
                <a:gdLst>
                  <a:gd name="connsiteX0" fmla="*/ 73683 w 73682"/>
                  <a:gd name="connsiteY0" fmla="*/ 1973 h 88693"/>
                  <a:gd name="connsiteX1" fmla="*/ 2333 w 73682"/>
                  <a:gd name="connsiteY1" fmla="*/ 88694 h 88693"/>
                  <a:gd name="connsiteX2" fmla="*/ 0 w 73682"/>
                  <a:gd name="connsiteY2" fmla="*/ 86780 h 88693"/>
                  <a:gd name="connsiteX3" fmla="*/ 71350 w 73682"/>
                  <a:gd name="connsiteY3" fmla="*/ 0 h 88693"/>
                </a:gdLst>
                <a:ahLst/>
                <a:cxnLst>
                  <a:cxn ang="0">
                    <a:pos x="connsiteX0" y="connsiteY0"/>
                  </a:cxn>
                  <a:cxn ang="0">
                    <a:pos x="connsiteX1" y="connsiteY1"/>
                  </a:cxn>
                  <a:cxn ang="0">
                    <a:pos x="connsiteX2" y="connsiteY2"/>
                  </a:cxn>
                  <a:cxn ang="0">
                    <a:pos x="connsiteX3" y="connsiteY3"/>
                  </a:cxn>
                </a:cxnLst>
                <a:rect l="l" t="t" r="r" b="b"/>
                <a:pathLst>
                  <a:path w="73682" h="88693">
                    <a:moveTo>
                      <a:pt x="73683" y="1973"/>
                    </a:moveTo>
                    <a:lnTo>
                      <a:pt x="2333" y="88694"/>
                    </a:lnTo>
                    <a:lnTo>
                      <a:pt x="0" y="86780"/>
                    </a:lnTo>
                    <a:lnTo>
                      <a:pt x="71350" y="0"/>
                    </a:lnTo>
                    <a:close/>
                  </a:path>
                </a:pathLst>
              </a:custGeom>
              <a:grpFill/>
              <a:ln w="5978" cap="flat">
                <a:noFill/>
                <a:prstDash val="solid"/>
                <a:miter/>
              </a:ln>
            </p:spPr>
            <p:txBody>
              <a:bodyPr rtlCol="0" anchor="ctr"/>
              <a:lstStyle/>
              <a:p>
                <a:endParaRPr lang="en-GB"/>
              </a:p>
            </p:txBody>
          </p:sp>
          <p:sp>
            <p:nvSpPr>
              <p:cNvPr id="2260" name="Vrije vorm: vorm 2259">
                <a:extLst>
                  <a:ext uri="{FF2B5EF4-FFF2-40B4-BE49-F238E27FC236}">
                    <a16:creationId xmlns:a16="http://schemas.microsoft.com/office/drawing/2014/main" id="{D1E54227-5BE4-4A3C-A0F2-8F8B81AD01C7}"/>
                  </a:ext>
                </a:extLst>
              </p:cNvPr>
              <p:cNvSpPr/>
              <p:nvPr/>
            </p:nvSpPr>
            <p:spPr>
              <a:xfrm>
                <a:off x="4902185" y="4798715"/>
                <a:ext cx="18365" cy="18394"/>
              </a:xfrm>
              <a:custGeom>
                <a:avLst/>
                <a:gdLst>
                  <a:gd name="connsiteX0" fmla="*/ 16260 w 18365"/>
                  <a:gd name="connsiteY0" fmla="*/ 15088 h 18394"/>
                  <a:gd name="connsiteX1" fmla="*/ 3342 w 18365"/>
                  <a:gd name="connsiteY1" fmla="*/ 16285 h 18394"/>
                  <a:gd name="connsiteX2" fmla="*/ 2086 w 18365"/>
                  <a:gd name="connsiteY2" fmla="*/ 3307 h 18394"/>
                  <a:gd name="connsiteX3" fmla="*/ 15004 w 18365"/>
                  <a:gd name="connsiteY3" fmla="*/ 2110 h 18394"/>
                  <a:gd name="connsiteX4" fmla="*/ 16260 w 18365"/>
                  <a:gd name="connsiteY4" fmla="*/ 150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4">
                    <a:moveTo>
                      <a:pt x="16260" y="15088"/>
                    </a:moveTo>
                    <a:cubicBezTo>
                      <a:pt x="13031" y="18976"/>
                      <a:pt x="7289" y="19514"/>
                      <a:pt x="3342" y="16285"/>
                    </a:cubicBezTo>
                    <a:cubicBezTo>
                      <a:pt x="-546" y="13055"/>
                      <a:pt x="-1143" y="7254"/>
                      <a:pt x="2086" y="3307"/>
                    </a:cubicBezTo>
                    <a:cubicBezTo>
                      <a:pt x="5315" y="-581"/>
                      <a:pt x="11057" y="-1119"/>
                      <a:pt x="15004" y="2110"/>
                    </a:cubicBezTo>
                    <a:cubicBezTo>
                      <a:pt x="18952" y="5340"/>
                      <a:pt x="19490" y="11141"/>
                      <a:pt x="16260" y="15088"/>
                    </a:cubicBezTo>
                    <a:close/>
                  </a:path>
                </a:pathLst>
              </a:custGeom>
              <a:grpFill/>
              <a:ln w="5978" cap="flat">
                <a:noFill/>
                <a:prstDash val="solid"/>
                <a:miter/>
              </a:ln>
            </p:spPr>
            <p:txBody>
              <a:bodyPr rtlCol="0" anchor="ctr"/>
              <a:lstStyle/>
              <a:p>
                <a:endParaRPr lang="en-GB"/>
              </a:p>
            </p:txBody>
          </p:sp>
          <p:sp>
            <p:nvSpPr>
              <p:cNvPr id="2261" name="Vrije vorm: vorm 2260">
                <a:extLst>
                  <a:ext uri="{FF2B5EF4-FFF2-40B4-BE49-F238E27FC236}">
                    <a16:creationId xmlns:a16="http://schemas.microsoft.com/office/drawing/2014/main" id="{45AE4D95-2FEA-46EE-AD39-2B1595CB45F7}"/>
                  </a:ext>
                </a:extLst>
              </p:cNvPr>
              <p:cNvSpPr/>
              <p:nvPr/>
            </p:nvSpPr>
            <p:spPr>
              <a:xfrm>
                <a:off x="4972978" y="4712652"/>
                <a:ext cx="18365" cy="18395"/>
              </a:xfrm>
              <a:custGeom>
                <a:avLst/>
                <a:gdLst>
                  <a:gd name="connsiteX0" fmla="*/ 16280 w 18365"/>
                  <a:gd name="connsiteY0" fmla="*/ 15088 h 18395"/>
                  <a:gd name="connsiteX1" fmla="*/ 15024 w 18365"/>
                  <a:gd name="connsiteY1" fmla="*/ 2110 h 18395"/>
                  <a:gd name="connsiteX2" fmla="*/ 2105 w 18365"/>
                  <a:gd name="connsiteY2" fmla="*/ 3307 h 18395"/>
                  <a:gd name="connsiteX3" fmla="*/ 3361 w 18365"/>
                  <a:gd name="connsiteY3" fmla="*/ 16285 h 18395"/>
                  <a:gd name="connsiteX4" fmla="*/ 16280 w 18365"/>
                  <a:gd name="connsiteY4" fmla="*/ 15088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5">
                    <a:moveTo>
                      <a:pt x="16280" y="15088"/>
                    </a:moveTo>
                    <a:cubicBezTo>
                      <a:pt x="19509" y="11201"/>
                      <a:pt x="18911" y="5340"/>
                      <a:pt x="15024" y="2110"/>
                    </a:cubicBezTo>
                    <a:cubicBezTo>
                      <a:pt x="11136" y="-1119"/>
                      <a:pt x="5335" y="-581"/>
                      <a:pt x="2105" y="3307"/>
                    </a:cubicBezTo>
                    <a:cubicBezTo>
                      <a:pt x="-1124" y="7194"/>
                      <a:pt x="-586" y="13055"/>
                      <a:pt x="3361" y="16285"/>
                    </a:cubicBezTo>
                    <a:cubicBezTo>
                      <a:pt x="7249" y="19514"/>
                      <a:pt x="13050" y="18976"/>
                      <a:pt x="16280" y="15088"/>
                    </a:cubicBezTo>
                    <a:close/>
                  </a:path>
                </a:pathLst>
              </a:custGeom>
              <a:grpFill/>
              <a:ln w="5978" cap="flat">
                <a:noFill/>
                <a:prstDash val="solid"/>
                <a:miter/>
              </a:ln>
            </p:spPr>
            <p:txBody>
              <a:bodyPr rtlCol="0" anchor="ctr"/>
              <a:lstStyle/>
              <a:p>
                <a:endParaRPr lang="en-GB"/>
              </a:p>
            </p:txBody>
          </p:sp>
        </p:grpSp>
        <p:grpSp>
          <p:nvGrpSpPr>
            <p:cNvPr id="1048" name="Graphic 3">
              <a:extLst>
                <a:ext uri="{FF2B5EF4-FFF2-40B4-BE49-F238E27FC236}">
                  <a16:creationId xmlns:a16="http://schemas.microsoft.com/office/drawing/2014/main" id="{88FB52E9-123C-4BE0-92C6-E2EC22852F9E}"/>
                </a:ext>
              </a:extLst>
            </p:cNvPr>
            <p:cNvGrpSpPr/>
            <p:nvPr/>
          </p:nvGrpSpPr>
          <p:grpSpPr>
            <a:xfrm>
              <a:off x="4185853" y="2599153"/>
              <a:ext cx="93567" cy="51113"/>
              <a:chOff x="4185853" y="2599153"/>
              <a:chExt cx="93567" cy="51113"/>
            </a:xfrm>
            <a:grpFill/>
          </p:grpSpPr>
          <p:sp>
            <p:nvSpPr>
              <p:cNvPr id="2256" name="Vrije vorm: vorm 2255">
                <a:extLst>
                  <a:ext uri="{FF2B5EF4-FFF2-40B4-BE49-F238E27FC236}">
                    <a16:creationId xmlns:a16="http://schemas.microsoft.com/office/drawing/2014/main" id="{4706EE2E-CB01-4D4B-827D-1795366198F9}"/>
                  </a:ext>
                </a:extLst>
              </p:cNvPr>
              <p:cNvSpPr/>
              <p:nvPr/>
            </p:nvSpPr>
            <p:spPr>
              <a:xfrm>
                <a:off x="4194001" y="2606797"/>
                <a:ext cx="77270" cy="35824"/>
              </a:xfrm>
              <a:custGeom>
                <a:avLst/>
                <a:gdLst>
                  <a:gd name="connsiteX0" fmla="*/ 77271 w 77270"/>
                  <a:gd name="connsiteY0" fmla="*/ 33073 h 35824"/>
                  <a:gd name="connsiteX1" fmla="*/ 76075 w 77270"/>
                  <a:gd name="connsiteY1" fmla="*/ 35824 h 35824"/>
                  <a:gd name="connsiteX2" fmla="*/ 0 w 77270"/>
                  <a:gd name="connsiteY2" fmla="*/ 2811 h 35824"/>
                  <a:gd name="connsiteX3" fmla="*/ 1196 w 77270"/>
                  <a:gd name="connsiteY3" fmla="*/ 0 h 35824"/>
                </a:gdLst>
                <a:ahLst/>
                <a:cxnLst>
                  <a:cxn ang="0">
                    <a:pos x="connsiteX0" y="connsiteY0"/>
                  </a:cxn>
                  <a:cxn ang="0">
                    <a:pos x="connsiteX1" y="connsiteY1"/>
                  </a:cxn>
                  <a:cxn ang="0">
                    <a:pos x="connsiteX2" y="connsiteY2"/>
                  </a:cxn>
                  <a:cxn ang="0">
                    <a:pos x="connsiteX3" y="connsiteY3"/>
                  </a:cxn>
                </a:cxnLst>
                <a:rect l="l" t="t" r="r" b="b"/>
                <a:pathLst>
                  <a:path w="77270" h="35824">
                    <a:moveTo>
                      <a:pt x="77271" y="33073"/>
                    </a:moveTo>
                    <a:lnTo>
                      <a:pt x="76075" y="35824"/>
                    </a:lnTo>
                    <a:lnTo>
                      <a:pt x="0" y="2811"/>
                    </a:lnTo>
                    <a:lnTo>
                      <a:pt x="1196" y="0"/>
                    </a:lnTo>
                    <a:close/>
                  </a:path>
                </a:pathLst>
              </a:custGeom>
              <a:grpFill/>
              <a:ln w="5978" cap="flat">
                <a:noFill/>
                <a:prstDash val="solid"/>
                <a:miter/>
              </a:ln>
            </p:spPr>
            <p:txBody>
              <a:bodyPr rtlCol="0" anchor="ctr"/>
              <a:lstStyle/>
              <a:p>
                <a:endParaRPr lang="en-GB"/>
              </a:p>
            </p:txBody>
          </p:sp>
          <p:sp>
            <p:nvSpPr>
              <p:cNvPr id="2257" name="Vrije vorm: vorm 2256">
                <a:extLst>
                  <a:ext uri="{FF2B5EF4-FFF2-40B4-BE49-F238E27FC236}">
                    <a16:creationId xmlns:a16="http://schemas.microsoft.com/office/drawing/2014/main" id="{5DCE07E1-42FD-43FD-9CA3-7D105D024EB6}"/>
                  </a:ext>
                </a:extLst>
              </p:cNvPr>
              <p:cNvSpPr/>
              <p:nvPr/>
            </p:nvSpPr>
            <p:spPr>
              <a:xfrm>
                <a:off x="4185853" y="2599153"/>
                <a:ext cx="18304" cy="18424"/>
              </a:xfrm>
              <a:custGeom>
                <a:avLst/>
                <a:gdLst>
                  <a:gd name="connsiteX0" fmla="*/ 5576 w 18304"/>
                  <a:gd name="connsiteY0" fmla="*/ 17692 h 18424"/>
                  <a:gd name="connsiteX1" fmla="*/ 732 w 18304"/>
                  <a:gd name="connsiteY1" fmla="*/ 5551 h 18424"/>
                  <a:gd name="connsiteX2" fmla="*/ 12753 w 18304"/>
                  <a:gd name="connsiteY2" fmla="*/ 767 h 18424"/>
                  <a:gd name="connsiteX3" fmla="*/ 17538 w 18304"/>
                  <a:gd name="connsiteY3" fmla="*/ 12908 h 18424"/>
                  <a:gd name="connsiteX4" fmla="*/ 5576 w 18304"/>
                  <a:gd name="connsiteY4" fmla="*/ 1769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4">
                    <a:moveTo>
                      <a:pt x="5576" y="17692"/>
                    </a:moveTo>
                    <a:cubicBezTo>
                      <a:pt x="911" y="15659"/>
                      <a:pt x="-1242" y="10216"/>
                      <a:pt x="732" y="5551"/>
                    </a:cubicBezTo>
                    <a:cubicBezTo>
                      <a:pt x="2705" y="886"/>
                      <a:pt x="8088" y="-1267"/>
                      <a:pt x="12753" y="767"/>
                    </a:cubicBezTo>
                    <a:cubicBezTo>
                      <a:pt x="17418" y="2800"/>
                      <a:pt x="19571" y="8243"/>
                      <a:pt x="17538" y="12908"/>
                    </a:cubicBezTo>
                    <a:cubicBezTo>
                      <a:pt x="15624" y="17513"/>
                      <a:pt x="10241" y="19666"/>
                      <a:pt x="5576" y="17692"/>
                    </a:cubicBezTo>
                    <a:close/>
                  </a:path>
                </a:pathLst>
              </a:custGeom>
              <a:grpFill/>
              <a:ln w="5978" cap="flat">
                <a:noFill/>
                <a:prstDash val="solid"/>
                <a:miter/>
              </a:ln>
            </p:spPr>
            <p:txBody>
              <a:bodyPr rtlCol="0" anchor="ctr"/>
              <a:lstStyle/>
              <a:p>
                <a:endParaRPr lang="en-GB"/>
              </a:p>
            </p:txBody>
          </p:sp>
          <p:sp>
            <p:nvSpPr>
              <p:cNvPr id="2258" name="Vrije vorm: vorm 2257">
                <a:extLst>
                  <a:ext uri="{FF2B5EF4-FFF2-40B4-BE49-F238E27FC236}">
                    <a16:creationId xmlns:a16="http://schemas.microsoft.com/office/drawing/2014/main" id="{C269F808-DFE5-4457-8F91-05296B539511}"/>
                  </a:ext>
                </a:extLst>
              </p:cNvPr>
              <p:cNvSpPr/>
              <p:nvPr/>
            </p:nvSpPr>
            <p:spPr>
              <a:xfrm>
                <a:off x="4261115" y="2631808"/>
                <a:ext cx="18305" cy="18458"/>
              </a:xfrm>
              <a:custGeom>
                <a:avLst/>
                <a:gdLst>
                  <a:gd name="connsiteX0" fmla="*/ 5551 w 18305"/>
                  <a:gd name="connsiteY0" fmla="*/ 17692 h 18458"/>
                  <a:gd name="connsiteX1" fmla="*/ 17573 w 18305"/>
                  <a:gd name="connsiteY1" fmla="*/ 12908 h 18458"/>
                  <a:gd name="connsiteX2" fmla="*/ 12788 w 18305"/>
                  <a:gd name="connsiteY2" fmla="*/ 767 h 18458"/>
                  <a:gd name="connsiteX3" fmla="*/ 767 w 18305"/>
                  <a:gd name="connsiteY3" fmla="*/ 5551 h 18458"/>
                  <a:gd name="connsiteX4" fmla="*/ 5551 w 1830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8">
                    <a:moveTo>
                      <a:pt x="5551" y="17692"/>
                    </a:moveTo>
                    <a:cubicBezTo>
                      <a:pt x="10216" y="19726"/>
                      <a:pt x="15599" y="17572"/>
                      <a:pt x="17573" y="12908"/>
                    </a:cubicBezTo>
                    <a:cubicBezTo>
                      <a:pt x="19546" y="8243"/>
                      <a:pt x="17393" y="2800"/>
                      <a:pt x="12788" y="767"/>
                    </a:cubicBezTo>
                    <a:cubicBezTo>
                      <a:pt x="8123" y="-1267"/>
                      <a:pt x="2740" y="886"/>
                      <a:pt x="767" y="5551"/>
                    </a:cubicBezTo>
                    <a:cubicBezTo>
                      <a:pt x="-1267" y="10276"/>
                      <a:pt x="886" y="15659"/>
                      <a:pt x="5551" y="17692"/>
                    </a:cubicBezTo>
                    <a:close/>
                  </a:path>
                </a:pathLst>
              </a:custGeom>
              <a:grpFill/>
              <a:ln w="5978" cap="flat">
                <a:noFill/>
                <a:prstDash val="solid"/>
                <a:miter/>
              </a:ln>
            </p:spPr>
            <p:txBody>
              <a:bodyPr rtlCol="0" anchor="ctr"/>
              <a:lstStyle/>
              <a:p>
                <a:endParaRPr lang="en-GB"/>
              </a:p>
            </p:txBody>
          </p:sp>
        </p:grpSp>
        <p:grpSp>
          <p:nvGrpSpPr>
            <p:cNvPr id="1049" name="Graphic 3">
              <a:extLst>
                <a:ext uri="{FF2B5EF4-FFF2-40B4-BE49-F238E27FC236}">
                  <a16:creationId xmlns:a16="http://schemas.microsoft.com/office/drawing/2014/main" id="{01E47C33-1797-43DF-9FE7-8F408CFAC259}"/>
                </a:ext>
              </a:extLst>
            </p:cNvPr>
            <p:cNvGrpSpPr/>
            <p:nvPr/>
          </p:nvGrpSpPr>
          <p:grpSpPr>
            <a:xfrm>
              <a:off x="4886531" y="4764552"/>
              <a:ext cx="182547" cy="186120"/>
              <a:chOff x="4886531" y="4764552"/>
              <a:chExt cx="182547" cy="186120"/>
            </a:xfrm>
            <a:grpFill/>
          </p:grpSpPr>
          <p:sp>
            <p:nvSpPr>
              <p:cNvPr id="2253" name="Vrije vorm: vorm 2252">
                <a:extLst>
                  <a:ext uri="{FF2B5EF4-FFF2-40B4-BE49-F238E27FC236}">
                    <a16:creationId xmlns:a16="http://schemas.microsoft.com/office/drawing/2014/main" id="{38EE444E-ECB0-436D-B9C6-F865C9F627C8}"/>
                  </a:ext>
                </a:extLst>
              </p:cNvPr>
              <p:cNvSpPr/>
              <p:nvPr/>
            </p:nvSpPr>
            <p:spPr>
              <a:xfrm>
                <a:off x="4894283" y="4772357"/>
                <a:ext cx="167041" cy="170510"/>
              </a:xfrm>
              <a:custGeom>
                <a:avLst/>
                <a:gdLst>
                  <a:gd name="connsiteX0" fmla="*/ 167042 w 167041"/>
                  <a:gd name="connsiteY0" fmla="*/ 2153 h 170510"/>
                  <a:gd name="connsiteX1" fmla="*/ 2213 w 167041"/>
                  <a:gd name="connsiteY1" fmla="*/ 170510 h 170510"/>
                  <a:gd name="connsiteX2" fmla="*/ 0 w 167041"/>
                  <a:gd name="connsiteY2" fmla="*/ 168357 h 170510"/>
                  <a:gd name="connsiteX3" fmla="*/ 164829 w 167041"/>
                  <a:gd name="connsiteY3" fmla="*/ 0 h 170510"/>
                </a:gdLst>
                <a:ahLst/>
                <a:cxnLst>
                  <a:cxn ang="0">
                    <a:pos x="connsiteX0" y="connsiteY0"/>
                  </a:cxn>
                  <a:cxn ang="0">
                    <a:pos x="connsiteX1" y="connsiteY1"/>
                  </a:cxn>
                  <a:cxn ang="0">
                    <a:pos x="connsiteX2" y="connsiteY2"/>
                  </a:cxn>
                  <a:cxn ang="0">
                    <a:pos x="connsiteX3" y="connsiteY3"/>
                  </a:cxn>
                </a:cxnLst>
                <a:rect l="l" t="t" r="r" b="b"/>
                <a:pathLst>
                  <a:path w="167041" h="170510">
                    <a:moveTo>
                      <a:pt x="167042" y="2153"/>
                    </a:moveTo>
                    <a:lnTo>
                      <a:pt x="2213" y="170510"/>
                    </a:lnTo>
                    <a:lnTo>
                      <a:pt x="0" y="168357"/>
                    </a:lnTo>
                    <a:lnTo>
                      <a:pt x="164829" y="0"/>
                    </a:lnTo>
                    <a:close/>
                  </a:path>
                </a:pathLst>
              </a:custGeom>
              <a:grpFill/>
              <a:ln w="5978" cap="flat">
                <a:noFill/>
                <a:prstDash val="solid"/>
                <a:miter/>
              </a:ln>
            </p:spPr>
            <p:txBody>
              <a:bodyPr rtlCol="0" anchor="ctr"/>
              <a:lstStyle/>
              <a:p>
                <a:endParaRPr lang="en-GB"/>
              </a:p>
            </p:txBody>
          </p:sp>
          <p:sp>
            <p:nvSpPr>
              <p:cNvPr id="2254" name="Vrije vorm: vorm 2253">
                <a:extLst>
                  <a:ext uri="{FF2B5EF4-FFF2-40B4-BE49-F238E27FC236}">
                    <a16:creationId xmlns:a16="http://schemas.microsoft.com/office/drawing/2014/main" id="{B468365E-91FC-4B3D-90C3-F61DA415E258}"/>
                  </a:ext>
                </a:extLst>
              </p:cNvPr>
              <p:cNvSpPr/>
              <p:nvPr/>
            </p:nvSpPr>
            <p:spPr>
              <a:xfrm>
                <a:off x="5050716" y="4764552"/>
                <a:ext cx="18361" cy="18421"/>
              </a:xfrm>
              <a:custGeom>
                <a:avLst/>
                <a:gdLst>
                  <a:gd name="connsiteX0" fmla="*/ 2654 w 18361"/>
                  <a:gd name="connsiteY0" fmla="*/ 2722 h 18421"/>
                  <a:gd name="connsiteX1" fmla="*/ 15632 w 18361"/>
                  <a:gd name="connsiteY1" fmla="*/ 2662 h 18421"/>
                  <a:gd name="connsiteX2" fmla="*/ 15752 w 18361"/>
                  <a:gd name="connsiteY2" fmla="*/ 15700 h 18421"/>
                  <a:gd name="connsiteX3" fmla="*/ 2774 w 18361"/>
                  <a:gd name="connsiteY3" fmla="*/ 15760 h 18421"/>
                  <a:gd name="connsiteX4" fmla="*/ 2654 w 18361"/>
                  <a:gd name="connsiteY4" fmla="*/ 272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2654" y="2722"/>
                    </a:moveTo>
                    <a:cubicBezTo>
                      <a:pt x="6183" y="-867"/>
                      <a:pt x="11984" y="-927"/>
                      <a:pt x="15632" y="2662"/>
                    </a:cubicBezTo>
                    <a:cubicBezTo>
                      <a:pt x="19221" y="6250"/>
                      <a:pt x="19281" y="12052"/>
                      <a:pt x="15752" y="15700"/>
                    </a:cubicBezTo>
                    <a:cubicBezTo>
                      <a:pt x="12224" y="19288"/>
                      <a:pt x="6422" y="19348"/>
                      <a:pt x="2774" y="15760"/>
                    </a:cubicBezTo>
                    <a:cubicBezTo>
                      <a:pt x="-874" y="12171"/>
                      <a:pt x="-934" y="6310"/>
                      <a:pt x="2654" y="2722"/>
                    </a:cubicBezTo>
                    <a:close/>
                  </a:path>
                </a:pathLst>
              </a:custGeom>
              <a:grpFill/>
              <a:ln w="5978" cap="flat">
                <a:noFill/>
                <a:prstDash val="solid"/>
                <a:miter/>
              </a:ln>
            </p:spPr>
            <p:txBody>
              <a:bodyPr rtlCol="0" anchor="ctr"/>
              <a:lstStyle/>
              <a:p>
                <a:endParaRPr lang="en-GB"/>
              </a:p>
            </p:txBody>
          </p:sp>
          <p:sp>
            <p:nvSpPr>
              <p:cNvPr id="2255" name="Vrije vorm: vorm 2254">
                <a:extLst>
                  <a:ext uri="{FF2B5EF4-FFF2-40B4-BE49-F238E27FC236}">
                    <a16:creationId xmlns:a16="http://schemas.microsoft.com/office/drawing/2014/main" id="{41CA9C49-672E-441E-B5E1-2452F70470DB}"/>
                  </a:ext>
                </a:extLst>
              </p:cNvPr>
              <p:cNvSpPr/>
              <p:nvPr/>
            </p:nvSpPr>
            <p:spPr>
              <a:xfrm>
                <a:off x="4886531" y="4932251"/>
                <a:ext cx="18316" cy="18421"/>
              </a:xfrm>
              <a:custGeom>
                <a:avLst/>
                <a:gdLst>
                  <a:gd name="connsiteX0" fmla="*/ 2610 w 18316"/>
                  <a:gd name="connsiteY0" fmla="*/ 2721 h 18421"/>
                  <a:gd name="connsiteX1" fmla="*/ 2729 w 18316"/>
                  <a:gd name="connsiteY1" fmla="*/ 15759 h 18421"/>
                  <a:gd name="connsiteX2" fmla="*/ 15707 w 18316"/>
                  <a:gd name="connsiteY2" fmla="*/ 15699 h 18421"/>
                  <a:gd name="connsiteX3" fmla="*/ 15588 w 18316"/>
                  <a:gd name="connsiteY3" fmla="*/ 2661 h 18421"/>
                  <a:gd name="connsiteX4" fmla="*/ 2610 w 18316"/>
                  <a:gd name="connsiteY4" fmla="*/ 27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1">
                    <a:moveTo>
                      <a:pt x="2610" y="2721"/>
                    </a:moveTo>
                    <a:cubicBezTo>
                      <a:pt x="-919" y="6310"/>
                      <a:pt x="-859" y="12171"/>
                      <a:pt x="2729" y="15759"/>
                    </a:cubicBezTo>
                    <a:cubicBezTo>
                      <a:pt x="6318" y="19348"/>
                      <a:pt x="12119" y="19288"/>
                      <a:pt x="15707" y="15699"/>
                    </a:cubicBezTo>
                    <a:cubicBezTo>
                      <a:pt x="19236" y="12111"/>
                      <a:pt x="19176" y="6250"/>
                      <a:pt x="15588" y="2661"/>
                    </a:cubicBezTo>
                    <a:cubicBezTo>
                      <a:pt x="11999" y="-927"/>
                      <a:pt x="6198" y="-867"/>
                      <a:pt x="2610" y="2721"/>
                    </a:cubicBezTo>
                    <a:close/>
                  </a:path>
                </a:pathLst>
              </a:custGeom>
              <a:grpFill/>
              <a:ln w="5978" cap="flat">
                <a:noFill/>
                <a:prstDash val="solid"/>
                <a:miter/>
              </a:ln>
            </p:spPr>
            <p:txBody>
              <a:bodyPr rtlCol="0" anchor="ctr"/>
              <a:lstStyle/>
              <a:p>
                <a:endParaRPr lang="en-GB"/>
              </a:p>
            </p:txBody>
          </p:sp>
        </p:grpSp>
        <p:grpSp>
          <p:nvGrpSpPr>
            <p:cNvPr id="1050" name="Graphic 3">
              <a:extLst>
                <a:ext uri="{FF2B5EF4-FFF2-40B4-BE49-F238E27FC236}">
                  <a16:creationId xmlns:a16="http://schemas.microsoft.com/office/drawing/2014/main" id="{633AA37B-E85C-4C02-8B0F-FCB08D650E86}"/>
                </a:ext>
              </a:extLst>
            </p:cNvPr>
            <p:cNvGrpSpPr/>
            <p:nvPr/>
          </p:nvGrpSpPr>
          <p:grpSpPr>
            <a:xfrm>
              <a:off x="4979009" y="4959096"/>
              <a:ext cx="118281" cy="178780"/>
              <a:chOff x="4979009" y="4959096"/>
              <a:chExt cx="118281" cy="178780"/>
            </a:xfrm>
            <a:grpFill/>
          </p:grpSpPr>
          <p:sp>
            <p:nvSpPr>
              <p:cNvPr id="2250" name="Vrije vorm: vorm 2249">
                <a:extLst>
                  <a:ext uri="{FF2B5EF4-FFF2-40B4-BE49-F238E27FC236}">
                    <a16:creationId xmlns:a16="http://schemas.microsoft.com/office/drawing/2014/main" id="{1F2D63BA-AEB7-4C10-86A6-02E3893D28B2}"/>
                  </a:ext>
                </a:extLst>
              </p:cNvPr>
              <p:cNvSpPr/>
              <p:nvPr/>
            </p:nvSpPr>
            <p:spPr>
              <a:xfrm>
                <a:off x="4986626" y="4967089"/>
                <a:ext cx="103047" cy="162795"/>
              </a:xfrm>
              <a:custGeom>
                <a:avLst/>
                <a:gdLst>
                  <a:gd name="connsiteX0" fmla="*/ 103048 w 103047"/>
                  <a:gd name="connsiteY0" fmla="*/ 1615 h 162795"/>
                  <a:gd name="connsiteX1" fmla="*/ 2572 w 103047"/>
                  <a:gd name="connsiteY1" fmla="*/ 162795 h 162795"/>
                  <a:gd name="connsiteX2" fmla="*/ 0 w 103047"/>
                  <a:gd name="connsiteY2" fmla="*/ 161121 h 162795"/>
                  <a:gd name="connsiteX3" fmla="*/ 100476 w 103047"/>
                  <a:gd name="connsiteY3" fmla="*/ 0 h 162795"/>
                </a:gdLst>
                <a:ahLst/>
                <a:cxnLst>
                  <a:cxn ang="0">
                    <a:pos x="connsiteX0" y="connsiteY0"/>
                  </a:cxn>
                  <a:cxn ang="0">
                    <a:pos x="connsiteX1" y="connsiteY1"/>
                  </a:cxn>
                  <a:cxn ang="0">
                    <a:pos x="connsiteX2" y="connsiteY2"/>
                  </a:cxn>
                  <a:cxn ang="0">
                    <a:pos x="connsiteX3" y="connsiteY3"/>
                  </a:cxn>
                </a:cxnLst>
                <a:rect l="l" t="t" r="r" b="b"/>
                <a:pathLst>
                  <a:path w="103047" h="162795">
                    <a:moveTo>
                      <a:pt x="103048" y="1615"/>
                    </a:moveTo>
                    <a:lnTo>
                      <a:pt x="2572" y="162795"/>
                    </a:lnTo>
                    <a:lnTo>
                      <a:pt x="0" y="161121"/>
                    </a:lnTo>
                    <a:lnTo>
                      <a:pt x="100476" y="0"/>
                    </a:lnTo>
                    <a:close/>
                  </a:path>
                </a:pathLst>
              </a:custGeom>
              <a:grpFill/>
              <a:ln w="5978" cap="flat">
                <a:noFill/>
                <a:prstDash val="solid"/>
                <a:miter/>
              </a:ln>
            </p:spPr>
            <p:txBody>
              <a:bodyPr rtlCol="0" anchor="ctr"/>
              <a:lstStyle/>
              <a:p>
                <a:endParaRPr lang="en-GB"/>
              </a:p>
            </p:txBody>
          </p:sp>
          <p:sp>
            <p:nvSpPr>
              <p:cNvPr id="2251" name="Vrije vorm: vorm 2250">
                <a:extLst>
                  <a:ext uri="{FF2B5EF4-FFF2-40B4-BE49-F238E27FC236}">
                    <a16:creationId xmlns:a16="http://schemas.microsoft.com/office/drawing/2014/main" id="{1D01A9E1-DC1D-41A3-B4CE-5E9EB3B024BE}"/>
                  </a:ext>
                </a:extLst>
              </p:cNvPr>
              <p:cNvSpPr/>
              <p:nvPr/>
            </p:nvSpPr>
            <p:spPr>
              <a:xfrm>
                <a:off x="4979009" y="5119499"/>
                <a:ext cx="18343" cy="18377"/>
              </a:xfrm>
              <a:custGeom>
                <a:avLst/>
                <a:gdLst>
                  <a:gd name="connsiteX0" fmla="*/ 16947 w 18343"/>
                  <a:gd name="connsiteY0" fmla="*/ 14093 h 18377"/>
                  <a:gd name="connsiteX1" fmla="*/ 4328 w 18343"/>
                  <a:gd name="connsiteY1" fmla="*/ 16964 h 18377"/>
                  <a:gd name="connsiteX2" fmla="*/ 1397 w 18343"/>
                  <a:gd name="connsiteY2" fmla="*/ 4285 h 18377"/>
                  <a:gd name="connsiteX3" fmla="*/ 14016 w 18343"/>
                  <a:gd name="connsiteY3" fmla="*/ 1414 h 18377"/>
                  <a:gd name="connsiteX4" fmla="*/ 16947 w 18343"/>
                  <a:gd name="connsiteY4" fmla="*/ 14093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7">
                    <a:moveTo>
                      <a:pt x="16947" y="14093"/>
                    </a:moveTo>
                    <a:cubicBezTo>
                      <a:pt x="14255" y="18399"/>
                      <a:pt x="8634" y="19655"/>
                      <a:pt x="4328" y="16964"/>
                    </a:cubicBezTo>
                    <a:cubicBezTo>
                      <a:pt x="21" y="14272"/>
                      <a:pt x="-1294" y="8531"/>
                      <a:pt x="1397" y="4285"/>
                    </a:cubicBezTo>
                    <a:cubicBezTo>
                      <a:pt x="4088" y="-22"/>
                      <a:pt x="9710" y="-1277"/>
                      <a:pt x="14016" y="1414"/>
                    </a:cubicBezTo>
                    <a:cubicBezTo>
                      <a:pt x="18322" y="4046"/>
                      <a:pt x="19638" y="9787"/>
                      <a:pt x="16947" y="14093"/>
                    </a:cubicBezTo>
                    <a:close/>
                  </a:path>
                </a:pathLst>
              </a:custGeom>
              <a:grpFill/>
              <a:ln w="5978" cap="flat">
                <a:noFill/>
                <a:prstDash val="solid"/>
                <a:miter/>
              </a:ln>
            </p:spPr>
            <p:txBody>
              <a:bodyPr rtlCol="0" anchor="ctr"/>
              <a:lstStyle/>
              <a:p>
                <a:endParaRPr lang="en-GB"/>
              </a:p>
            </p:txBody>
          </p:sp>
          <p:sp>
            <p:nvSpPr>
              <p:cNvPr id="2252" name="Vrije vorm: vorm 2251">
                <a:extLst>
                  <a:ext uri="{FF2B5EF4-FFF2-40B4-BE49-F238E27FC236}">
                    <a16:creationId xmlns:a16="http://schemas.microsoft.com/office/drawing/2014/main" id="{37A3BF0D-F4D6-4A5E-A099-576571776F75}"/>
                  </a:ext>
                </a:extLst>
              </p:cNvPr>
              <p:cNvSpPr/>
              <p:nvPr/>
            </p:nvSpPr>
            <p:spPr>
              <a:xfrm>
                <a:off x="5078947" y="4959096"/>
                <a:ext cx="18343" cy="18404"/>
              </a:xfrm>
              <a:custGeom>
                <a:avLst/>
                <a:gdLst>
                  <a:gd name="connsiteX0" fmla="*/ 16947 w 18343"/>
                  <a:gd name="connsiteY0" fmla="*/ 14093 h 18404"/>
                  <a:gd name="connsiteX1" fmla="*/ 14016 w 18343"/>
                  <a:gd name="connsiteY1" fmla="*/ 1414 h 18404"/>
                  <a:gd name="connsiteX2" fmla="*/ 1397 w 18343"/>
                  <a:gd name="connsiteY2" fmla="*/ 4285 h 18404"/>
                  <a:gd name="connsiteX3" fmla="*/ 4327 w 18343"/>
                  <a:gd name="connsiteY3" fmla="*/ 16964 h 18404"/>
                  <a:gd name="connsiteX4" fmla="*/ 16947 w 18343"/>
                  <a:gd name="connsiteY4" fmla="*/ 14093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093"/>
                    </a:moveTo>
                    <a:cubicBezTo>
                      <a:pt x="19638" y="9787"/>
                      <a:pt x="18322" y="4105"/>
                      <a:pt x="14016" y="1414"/>
                    </a:cubicBezTo>
                    <a:cubicBezTo>
                      <a:pt x="9710" y="-1277"/>
                      <a:pt x="4088" y="-21"/>
                      <a:pt x="1397" y="4285"/>
                    </a:cubicBezTo>
                    <a:cubicBezTo>
                      <a:pt x="-1294" y="8591"/>
                      <a:pt x="21" y="14272"/>
                      <a:pt x="4327" y="16964"/>
                    </a:cubicBezTo>
                    <a:cubicBezTo>
                      <a:pt x="8634" y="19715"/>
                      <a:pt x="14256" y="18399"/>
                      <a:pt x="16947" y="14093"/>
                    </a:cubicBezTo>
                    <a:close/>
                  </a:path>
                </a:pathLst>
              </a:custGeom>
              <a:grpFill/>
              <a:ln w="5978" cap="flat">
                <a:noFill/>
                <a:prstDash val="solid"/>
                <a:miter/>
              </a:ln>
            </p:spPr>
            <p:txBody>
              <a:bodyPr rtlCol="0" anchor="ctr"/>
              <a:lstStyle/>
              <a:p>
                <a:endParaRPr lang="en-GB"/>
              </a:p>
            </p:txBody>
          </p:sp>
        </p:grpSp>
        <p:grpSp>
          <p:nvGrpSpPr>
            <p:cNvPr id="1051" name="Graphic 3">
              <a:extLst>
                <a:ext uri="{FF2B5EF4-FFF2-40B4-BE49-F238E27FC236}">
                  <a16:creationId xmlns:a16="http://schemas.microsoft.com/office/drawing/2014/main" id="{8497033F-F044-4C2E-9CCF-62F07F870EB8}"/>
                </a:ext>
              </a:extLst>
            </p:cNvPr>
            <p:cNvGrpSpPr/>
            <p:nvPr/>
          </p:nvGrpSpPr>
          <p:grpSpPr>
            <a:xfrm>
              <a:off x="4889943" y="4765398"/>
              <a:ext cx="180087" cy="239330"/>
              <a:chOff x="4889943" y="4765398"/>
              <a:chExt cx="180087" cy="239330"/>
            </a:xfrm>
            <a:grpFill/>
          </p:grpSpPr>
          <p:sp>
            <p:nvSpPr>
              <p:cNvPr id="2247" name="Vrije vorm: vorm 2246">
                <a:extLst>
                  <a:ext uri="{FF2B5EF4-FFF2-40B4-BE49-F238E27FC236}">
                    <a16:creationId xmlns:a16="http://schemas.microsoft.com/office/drawing/2014/main" id="{E3D52598-3E77-4306-9E8C-2A45E0945FE1}"/>
                  </a:ext>
                </a:extLst>
              </p:cNvPr>
              <p:cNvSpPr/>
              <p:nvPr/>
            </p:nvSpPr>
            <p:spPr>
              <a:xfrm>
                <a:off x="4897573" y="4773313"/>
                <a:ext cx="164828" cy="223440"/>
              </a:xfrm>
              <a:custGeom>
                <a:avLst/>
                <a:gdLst>
                  <a:gd name="connsiteX0" fmla="*/ 164829 w 164828"/>
                  <a:gd name="connsiteY0" fmla="*/ 1795 h 223440"/>
                  <a:gd name="connsiteX1" fmla="*/ 2452 w 164828"/>
                  <a:gd name="connsiteY1" fmla="*/ 223440 h 223440"/>
                  <a:gd name="connsiteX2" fmla="*/ 0 w 164828"/>
                  <a:gd name="connsiteY2" fmla="*/ 221646 h 223440"/>
                  <a:gd name="connsiteX3" fmla="*/ 162377 w 164828"/>
                  <a:gd name="connsiteY3" fmla="*/ 0 h 223440"/>
                </a:gdLst>
                <a:ahLst/>
                <a:cxnLst>
                  <a:cxn ang="0">
                    <a:pos x="connsiteX0" y="connsiteY0"/>
                  </a:cxn>
                  <a:cxn ang="0">
                    <a:pos x="connsiteX1" y="connsiteY1"/>
                  </a:cxn>
                  <a:cxn ang="0">
                    <a:pos x="connsiteX2" y="connsiteY2"/>
                  </a:cxn>
                  <a:cxn ang="0">
                    <a:pos x="connsiteX3" y="connsiteY3"/>
                  </a:cxn>
                </a:cxnLst>
                <a:rect l="l" t="t" r="r" b="b"/>
                <a:pathLst>
                  <a:path w="164828" h="223440">
                    <a:moveTo>
                      <a:pt x="164829" y="1795"/>
                    </a:moveTo>
                    <a:lnTo>
                      <a:pt x="2452" y="223440"/>
                    </a:lnTo>
                    <a:lnTo>
                      <a:pt x="0" y="221646"/>
                    </a:lnTo>
                    <a:lnTo>
                      <a:pt x="162377" y="0"/>
                    </a:lnTo>
                    <a:close/>
                  </a:path>
                </a:pathLst>
              </a:custGeom>
              <a:grpFill/>
              <a:ln w="5978" cap="flat">
                <a:noFill/>
                <a:prstDash val="solid"/>
                <a:miter/>
              </a:ln>
            </p:spPr>
            <p:txBody>
              <a:bodyPr rtlCol="0" anchor="ctr"/>
              <a:lstStyle/>
              <a:p>
                <a:endParaRPr lang="en-GB"/>
              </a:p>
            </p:txBody>
          </p:sp>
          <p:sp>
            <p:nvSpPr>
              <p:cNvPr id="2248" name="Vrije vorm: vorm 2247">
                <a:extLst>
                  <a:ext uri="{FF2B5EF4-FFF2-40B4-BE49-F238E27FC236}">
                    <a16:creationId xmlns:a16="http://schemas.microsoft.com/office/drawing/2014/main" id="{984C3390-CBB3-4B43-9418-447222809784}"/>
                  </a:ext>
                </a:extLst>
              </p:cNvPr>
              <p:cNvSpPr/>
              <p:nvPr/>
            </p:nvSpPr>
            <p:spPr>
              <a:xfrm>
                <a:off x="4889943" y="4986326"/>
                <a:ext cx="18309" cy="18402"/>
              </a:xfrm>
              <a:custGeom>
                <a:avLst/>
                <a:gdLst>
                  <a:gd name="connsiteX0" fmla="*/ 16541 w 18309"/>
                  <a:gd name="connsiteY0" fmla="*/ 14674 h 18402"/>
                  <a:gd name="connsiteX1" fmla="*/ 3742 w 18309"/>
                  <a:gd name="connsiteY1" fmla="*/ 16588 h 18402"/>
                  <a:gd name="connsiteX2" fmla="*/ 1768 w 18309"/>
                  <a:gd name="connsiteY2" fmla="*/ 3729 h 18402"/>
                  <a:gd name="connsiteX3" fmla="*/ 14567 w 18309"/>
                  <a:gd name="connsiteY3" fmla="*/ 1815 h 18402"/>
                  <a:gd name="connsiteX4" fmla="*/ 16541 w 18309"/>
                  <a:gd name="connsiteY4" fmla="*/ 14674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2">
                    <a:moveTo>
                      <a:pt x="16541" y="14674"/>
                    </a:moveTo>
                    <a:cubicBezTo>
                      <a:pt x="13550" y="18741"/>
                      <a:pt x="7809" y="19638"/>
                      <a:pt x="3742" y="16588"/>
                    </a:cubicBezTo>
                    <a:cubicBezTo>
                      <a:pt x="-325" y="13537"/>
                      <a:pt x="-1222" y="7796"/>
                      <a:pt x="1768" y="3729"/>
                    </a:cubicBezTo>
                    <a:cubicBezTo>
                      <a:pt x="4759" y="-338"/>
                      <a:pt x="10500" y="-1235"/>
                      <a:pt x="14567" y="1815"/>
                    </a:cubicBezTo>
                    <a:cubicBezTo>
                      <a:pt x="18634" y="4806"/>
                      <a:pt x="19531" y="10547"/>
                      <a:pt x="16541" y="14674"/>
                    </a:cubicBezTo>
                    <a:close/>
                  </a:path>
                </a:pathLst>
              </a:custGeom>
              <a:grpFill/>
              <a:ln w="5978" cap="flat">
                <a:noFill/>
                <a:prstDash val="solid"/>
                <a:miter/>
              </a:ln>
            </p:spPr>
            <p:txBody>
              <a:bodyPr rtlCol="0" anchor="ctr"/>
              <a:lstStyle/>
              <a:p>
                <a:endParaRPr lang="en-GB"/>
              </a:p>
            </p:txBody>
          </p:sp>
          <p:sp>
            <p:nvSpPr>
              <p:cNvPr id="2249" name="Vrije vorm: vorm 2248">
                <a:extLst>
                  <a:ext uri="{FF2B5EF4-FFF2-40B4-BE49-F238E27FC236}">
                    <a16:creationId xmlns:a16="http://schemas.microsoft.com/office/drawing/2014/main" id="{277AC891-E842-4E6D-AF87-347726F8BAB5}"/>
                  </a:ext>
                </a:extLst>
              </p:cNvPr>
              <p:cNvSpPr/>
              <p:nvPr/>
            </p:nvSpPr>
            <p:spPr>
              <a:xfrm>
                <a:off x="5051722" y="4765398"/>
                <a:ext cx="18309" cy="18402"/>
              </a:xfrm>
              <a:custGeom>
                <a:avLst/>
                <a:gdLst>
                  <a:gd name="connsiteX0" fmla="*/ 16541 w 18309"/>
                  <a:gd name="connsiteY0" fmla="*/ 14674 h 18402"/>
                  <a:gd name="connsiteX1" fmla="*/ 14567 w 18309"/>
                  <a:gd name="connsiteY1" fmla="*/ 1815 h 18402"/>
                  <a:gd name="connsiteX2" fmla="*/ 1768 w 18309"/>
                  <a:gd name="connsiteY2" fmla="*/ 3729 h 18402"/>
                  <a:gd name="connsiteX3" fmla="*/ 3742 w 18309"/>
                  <a:gd name="connsiteY3" fmla="*/ 16588 h 18402"/>
                  <a:gd name="connsiteX4" fmla="*/ 16541 w 18309"/>
                  <a:gd name="connsiteY4" fmla="*/ 14674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2">
                    <a:moveTo>
                      <a:pt x="16541" y="14674"/>
                    </a:moveTo>
                    <a:cubicBezTo>
                      <a:pt x="19531" y="10607"/>
                      <a:pt x="18634" y="4806"/>
                      <a:pt x="14567" y="1815"/>
                    </a:cubicBezTo>
                    <a:cubicBezTo>
                      <a:pt x="10500" y="-1235"/>
                      <a:pt x="4759" y="-338"/>
                      <a:pt x="1768" y="3729"/>
                    </a:cubicBezTo>
                    <a:cubicBezTo>
                      <a:pt x="-1222" y="7796"/>
                      <a:pt x="-325" y="13597"/>
                      <a:pt x="3742" y="16588"/>
                    </a:cubicBezTo>
                    <a:cubicBezTo>
                      <a:pt x="7809" y="19638"/>
                      <a:pt x="13550" y="18741"/>
                      <a:pt x="16541" y="14674"/>
                    </a:cubicBezTo>
                    <a:close/>
                  </a:path>
                </a:pathLst>
              </a:custGeom>
              <a:grpFill/>
              <a:ln w="5978" cap="flat">
                <a:noFill/>
                <a:prstDash val="solid"/>
                <a:miter/>
              </a:ln>
            </p:spPr>
            <p:txBody>
              <a:bodyPr rtlCol="0" anchor="ctr"/>
              <a:lstStyle/>
              <a:p>
                <a:endParaRPr lang="en-GB"/>
              </a:p>
            </p:txBody>
          </p:sp>
        </p:grpSp>
        <p:grpSp>
          <p:nvGrpSpPr>
            <p:cNvPr id="1052" name="Graphic 3">
              <a:extLst>
                <a:ext uri="{FF2B5EF4-FFF2-40B4-BE49-F238E27FC236}">
                  <a16:creationId xmlns:a16="http://schemas.microsoft.com/office/drawing/2014/main" id="{758BB58A-4B67-4230-BFF4-C2D53C0F54FB}"/>
                </a:ext>
              </a:extLst>
            </p:cNvPr>
            <p:cNvGrpSpPr/>
            <p:nvPr/>
          </p:nvGrpSpPr>
          <p:grpSpPr>
            <a:xfrm>
              <a:off x="5050321" y="5141906"/>
              <a:ext cx="105054" cy="183846"/>
              <a:chOff x="5050321" y="5141906"/>
              <a:chExt cx="105054" cy="183846"/>
            </a:xfrm>
            <a:grpFill/>
          </p:grpSpPr>
          <p:sp>
            <p:nvSpPr>
              <p:cNvPr id="2244" name="Vrije vorm: vorm 2243">
                <a:extLst>
                  <a:ext uri="{FF2B5EF4-FFF2-40B4-BE49-F238E27FC236}">
                    <a16:creationId xmlns:a16="http://schemas.microsoft.com/office/drawing/2014/main" id="{1CA477B6-5A27-4383-BAB0-5DFB11BC0D85}"/>
                  </a:ext>
                </a:extLst>
              </p:cNvPr>
              <p:cNvSpPr/>
              <p:nvPr/>
            </p:nvSpPr>
            <p:spPr>
              <a:xfrm>
                <a:off x="5057976" y="5149980"/>
                <a:ext cx="89830" cy="167639"/>
              </a:xfrm>
              <a:custGeom>
                <a:avLst/>
                <a:gdLst>
                  <a:gd name="connsiteX0" fmla="*/ 89831 w 89830"/>
                  <a:gd name="connsiteY0" fmla="*/ 1435 h 167639"/>
                  <a:gd name="connsiteX1" fmla="*/ 2691 w 89830"/>
                  <a:gd name="connsiteY1" fmla="*/ 167639 h 167639"/>
                  <a:gd name="connsiteX2" fmla="*/ 0 w 89830"/>
                  <a:gd name="connsiteY2" fmla="*/ 166204 h 167639"/>
                  <a:gd name="connsiteX3" fmla="*/ 87139 w 89830"/>
                  <a:gd name="connsiteY3" fmla="*/ 0 h 167639"/>
                </a:gdLst>
                <a:ahLst/>
                <a:cxnLst>
                  <a:cxn ang="0">
                    <a:pos x="connsiteX0" y="connsiteY0"/>
                  </a:cxn>
                  <a:cxn ang="0">
                    <a:pos x="connsiteX1" y="connsiteY1"/>
                  </a:cxn>
                  <a:cxn ang="0">
                    <a:pos x="connsiteX2" y="connsiteY2"/>
                  </a:cxn>
                  <a:cxn ang="0">
                    <a:pos x="connsiteX3" y="connsiteY3"/>
                  </a:cxn>
                </a:cxnLst>
                <a:rect l="l" t="t" r="r" b="b"/>
                <a:pathLst>
                  <a:path w="89830" h="167639">
                    <a:moveTo>
                      <a:pt x="89831" y="1435"/>
                    </a:moveTo>
                    <a:lnTo>
                      <a:pt x="2691" y="167639"/>
                    </a:lnTo>
                    <a:lnTo>
                      <a:pt x="0" y="166204"/>
                    </a:lnTo>
                    <a:lnTo>
                      <a:pt x="87139" y="0"/>
                    </a:lnTo>
                    <a:close/>
                  </a:path>
                </a:pathLst>
              </a:custGeom>
              <a:grpFill/>
              <a:ln w="5978" cap="flat">
                <a:noFill/>
                <a:prstDash val="solid"/>
                <a:miter/>
              </a:ln>
            </p:spPr>
            <p:txBody>
              <a:bodyPr rtlCol="0" anchor="ctr"/>
              <a:lstStyle/>
              <a:p>
                <a:endParaRPr lang="en-GB"/>
              </a:p>
            </p:txBody>
          </p:sp>
          <p:sp>
            <p:nvSpPr>
              <p:cNvPr id="2245" name="Vrije vorm: vorm 2244">
                <a:extLst>
                  <a:ext uri="{FF2B5EF4-FFF2-40B4-BE49-F238E27FC236}">
                    <a16:creationId xmlns:a16="http://schemas.microsoft.com/office/drawing/2014/main" id="{FAA7A9DD-9C53-42BE-BE42-32B54C8A5C7D}"/>
                  </a:ext>
                </a:extLst>
              </p:cNvPr>
              <p:cNvSpPr/>
              <p:nvPr/>
            </p:nvSpPr>
            <p:spPr>
              <a:xfrm>
                <a:off x="5050321" y="5307332"/>
                <a:ext cx="18360" cy="18420"/>
              </a:xfrm>
              <a:custGeom>
                <a:avLst/>
                <a:gdLst>
                  <a:gd name="connsiteX0" fmla="*/ 17284 w 18360"/>
                  <a:gd name="connsiteY0" fmla="*/ 13516 h 18420"/>
                  <a:gd name="connsiteX1" fmla="*/ 4904 w 18360"/>
                  <a:gd name="connsiteY1" fmla="*/ 17344 h 18420"/>
                  <a:gd name="connsiteX2" fmla="*/ 1076 w 18360"/>
                  <a:gd name="connsiteY2" fmla="*/ 4904 h 18420"/>
                  <a:gd name="connsiteX3" fmla="*/ 13456 w 18360"/>
                  <a:gd name="connsiteY3" fmla="*/ 1076 h 18420"/>
                  <a:gd name="connsiteX4" fmla="*/ 17284 w 18360"/>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17284" y="13516"/>
                    </a:moveTo>
                    <a:cubicBezTo>
                      <a:pt x="14952" y="18002"/>
                      <a:pt x="9389" y="19736"/>
                      <a:pt x="4904" y="17344"/>
                    </a:cubicBezTo>
                    <a:cubicBezTo>
                      <a:pt x="418" y="14952"/>
                      <a:pt x="-1316" y="9390"/>
                      <a:pt x="1076" y="4904"/>
                    </a:cubicBezTo>
                    <a:cubicBezTo>
                      <a:pt x="3409" y="419"/>
                      <a:pt x="8971" y="-1316"/>
                      <a:pt x="13456" y="1076"/>
                    </a:cubicBezTo>
                    <a:cubicBezTo>
                      <a:pt x="17942" y="3409"/>
                      <a:pt x="19677" y="8971"/>
                      <a:pt x="17284" y="13516"/>
                    </a:cubicBezTo>
                    <a:close/>
                  </a:path>
                </a:pathLst>
              </a:custGeom>
              <a:grpFill/>
              <a:ln w="5978" cap="flat">
                <a:noFill/>
                <a:prstDash val="solid"/>
                <a:miter/>
              </a:ln>
            </p:spPr>
            <p:txBody>
              <a:bodyPr rtlCol="0" anchor="ctr"/>
              <a:lstStyle/>
              <a:p>
                <a:endParaRPr lang="en-GB"/>
              </a:p>
            </p:txBody>
          </p:sp>
          <p:sp>
            <p:nvSpPr>
              <p:cNvPr id="2246" name="Vrije vorm: vorm 2245">
                <a:extLst>
                  <a:ext uri="{FF2B5EF4-FFF2-40B4-BE49-F238E27FC236}">
                    <a16:creationId xmlns:a16="http://schemas.microsoft.com/office/drawing/2014/main" id="{2342C400-2333-445E-9473-BB5E4D13EEAC}"/>
                  </a:ext>
                </a:extLst>
              </p:cNvPr>
              <p:cNvSpPr/>
              <p:nvPr/>
            </p:nvSpPr>
            <p:spPr>
              <a:xfrm>
                <a:off x="5137068" y="5141906"/>
                <a:ext cx="18307" cy="18393"/>
              </a:xfrm>
              <a:custGeom>
                <a:avLst/>
                <a:gdLst>
                  <a:gd name="connsiteX0" fmla="*/ 17258 w 18307"/>
                  <a:gd name="connsiteY0" fmla="*/ 13516 h 18393"/>
                  <a:gd name="connsiteX1" fmla="*/ 13430 w 18307"/>
                  <a:gd name="connsiteY1" fmla="*/ 1076 h 18393"/>
                  <a:gd name="connsiteX2" fmla="*/ 1050 w 18307"/>
                  <a:gd name="connsiteY2" fmla="*/ 4904 h 18393"/>
                  <a:gd name="connsiteX3" fmla="*/ 4877 w 18307"/>
                  <a:gd name="connsiteY3" fmla="*/ 17344 h 18393"/>
                  <a:gd name="connsiteX4" fmla="*/ 17258 w 18307"/>
                  <a:gd name="connsiteY4" fmla="*/ 13516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393">
                    <a:moveTo>
                      <a:pt x="17258" y="13516"/>
                    </a:moveTo>
                    <a:cubicBezTo>
                      <a:pt x="19590" y="9031"/>
                      <a:pt x="17915" y="3469"/>
                      <a:pt x="13430" y="1076"/>
                    </a:cubicBezTo>
                    <a:cubicBezTo>
                      <a:pt x="8944" y="-1316"/>
                      <a:pt x="3382" y="418"/>
                      <a:pt x="1050" y="4904"/>
                    </a:cubicBezTo>
                    <a:cubicBezTo>
                      <a:pt x="-1282" y="9389"/>
                      <a:pt x="392" y="14951"/>
                      <a:pt x="4877" y="17344"/>
                    </a:cubicBezTo>
                    <a:cubicBezTo>
                      <a:pt x="9363" y="19676"/>
                      <a:pt x="14925" y="18002"/>
                      <a:pt x="17258" y="13516"/>
                    </a:cubicBezTo>
                    <a:close/>
                  </a:path>
                </a:pathLst>
              </a:custGeom>
              <a:grpFill/>
              <a:ln w="5978" cap="flat">
                <a:noFill/>
                <a:prstDash val="solid"/>
                <a:miter/>
              </a:ln>
            </p:spPr>
            <p:txBody>
              <a:bodyPr rtlCol="0" anchor="ctr"/>
              <a:lstStyle/>
              <a:p>
                <a:endParaRPr lang="en-GB"/>
              </a:p>
            </p:txBody>
          </p:sp>
        </p:grpSp>
        <p:grpSp>
          <p:nvGrpSpPr>
            <p:cNvPr id="1053" name="Graphic 3">
              <a:extLst>
                <a:ext uri="{FF2B5EF4-FFF2-40B4-BE49-F238E27FC236}">
                  <a16:creationId xmlns:a16="http://schemas.microsoft.com/office/drawing/2014/main" id="{6BCA3CDE-E692-44C8-BEFE-7BF72C0DB3C8}"/>
                </a:ext>
              </a:extLst>
            </p:cNvPr>
            <p:cNvGrpSpPr/>
            <p:nvPr/>
          </p:nvGrpSpPr>
          <p:grpSpPr>
            <a:xfrm>
              <a:off x="5081587" y="5257789"/>
              <a:ext cx="99364" cy="188198"/>
              <a:chOff x="5081587" y="5257789"/>
              <a:chExt cx="99364" cy="188198"/>
            </a:xfrm>
            <a:grpFill/>
          </p:grpSpPr>
          <p:sp>
            <p:nvSpPr>
              <p:cNvPr id="2241" name="Vrije vorm: vorm 2240">
                <a:extLst>
                  <a:ext uri="{FF2B5EF4-FFF2-40B4-BE49-F238E27FC236}">
                    <a16:creationId xmlns:a16="http://schemas.microsoft.com/office/drawing/2014/main" id="{6B2F555F-CB5A-4B32-B4C1-FA9D840104AF}"/>
                  </a:ext>
                </a:extLst>
              </p:cNvPr>
              <p:cNvSpPr/>
              <p:nvPr/>
            </p:nvSpPr>
            <p:spPr>
              <a:xfrm>
                <a:off x="5089135" y="5265946"/>
                <a:ext cx="84208" cy="171885"/>
              </a:xfrm>
              <a:custGeom>
                <a:avLst/>
                <a:gdLst>
                  <a:gd name="connsiteX0" fmla="*/ 84209 w 84208"/>
                  <a:gd name="connsiteY0" fmla="*/ 1316 h 171885"/>
                  <a:gd name="connsiteX1" fmla="*/ 2751 w 84208"/>
                  <a:gd name="connsiteY1" fmla="*/ 171886 h 171885"/>
                  <a:gd name="connsiteX2" fmla="*/ 0 w 84208"/>
                  <a:gd name="connsiteY2" fmla="*/ 170510 h 171885"/>
                  <a:gd name="connsiteX3" fmla="*/ 81458 w 84208"/>
                  <a:gd name="connsiteY3" fmla="*/ 0 h 171885"/>
                </a:gdLst>
                <a:ahLst/>
                <a:cxnLst>
                  <a:cxn ang="0">
                    <a:pos x="connsiteX0" y="connsiteY0"/>
                  </a:cxn>
                  <a:cxn ang="0">
                    <a:pos x="connsiteX1" y="connsiteY1"/>
                  </a:cxn>
                  <a:cxn ang="0">
                    <a:pos x="connsiteX2" y="connsiteY2"/>
                  </a:cxn>
                  <a:cxn ang="0">
                    <a:pos x="connsiteX3" y="connsiteY3"/>
                  </a:cxn>
                </a:cxnLst>
                <a:rect l="l" t="t" r="r" b="b"/>
                <a:pathLst>
                  <a:path w="84208" h="171885">
                    <a:moveTo>
                      <a:pt x="84209" y="1316"/>
                    </a:moveTo>
                    <a:lnTo>
                      <a:pt x="2751" y="171886"/>
                    </a:lnTo>
                    <a:lnTo>
                      <a:pt x="0" y="170510"/>
                    </a:lnTo>
                    <a:lnTo>
                      <a:pt x="81458" y="0"/>
                    </a:lnTo>
                    <a:close/>
                  </a:path>
                </a:pathLst>
              </a:custGeom>
              <a:grpFill/>
              <a:ln w="5978" cap="flat">
                <a:noFill/>
                <a:prstDash val="solid"/>
                <a:miter/>
              </a:ln>
            </p:spPr>
            <p:txBody>
              <a:bodyPr rtlCol="0" anchor="ctr"/>
              <a:lstStyle/>
              <a:p>
                <a:endParaRPr lang="en-GB"/>
              </a:p>
            </p:txBody>
          </p:sp>
          <p:sp>
            <p:nvSpPr>
              <p:cNvPr id="2242" name="Vrije vorm: vorm 2241">
                <a:extLst>
                  <a:ext uri="{FF2B5EF4-FFF2-40B4-BE49-F238E27FC236}">
                    <a16:creationId xmlns:a16="http://schemas.microsoft.com/office/drawing/2014/main" id="{33DD5003-3C3F-49FB-8CAF-6EACAAE2BB31}"/>
                  </a:ext>
                </a:extLst>
              </p:cNvPr>
              <p:cNvSpPr/>
              <p:nvPr/>
            </p:nvSpPr>
            <p:spPr>
              <a:xfrm>
                <a:off x="5081587" y="5427522"/>
                <a:ext cx="18299" cy="18465"/>
              </a:xfrm>
              <a:custGeom>
                <a:avLst/>
                <a:gdLst>
                  <a:gd name="connsiteX0" fmla="*/ 17416 w 18299"/>
                  <a:gd name="connsiteY0" fmla="*/ 13240 h 18465"/>
                  <a:gd name="connsiteX1" fmla="*/ 5216 w 18299"/>
                  <a:gd name="connsiteY1" fmla="*/ 17546 h 18465"/>
                  <a:gd name="connsiteX2" fmla="*/ 910 w 18299"/>
                  <a:gd name="connsiteY2" fmla="*/ 5226 h 18465"/>
                  <a:gd name="connsiteX3" fmla="*/ 13110 w 18299"/>
                  <a:gd name="connsiteY3" fmla="*/ 920 h 18465"/>
                  <a:gd name="connsiteX4" fmla="*/ 17416 w 18299"/>
                  <a:gd name="connsiteY4" fmla="*/ 1324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65">
                    <a:moveTo>
                      <a:pt x="17416" y="13240"/>
                    </a:moveTo>
                    <a:cubicBezTo>
                      <a:pt x="15204" y="17845"/>
                      <a:pt x="9761" y="19759"/>
                      <a:pt x="5216" y="17546"/>
                    </a:cubicBezTo>
                    <a:cubicBezTo>
                      <a:pt x="670" y="15333"/>
                      <a:pt x="-1303" y="9831"/>
                      <a:pt x="910" y="5226"/>
                    </a:cubicBezTo>
                    <a:cubicBezTo>
                      <a:pt x="3122" y="621"/>
                      <a:pt x="8565" y="-1293"/>
                      <a:pt x="13110" y="920"/>
                    </a:cubicBezTo>
                    <a:cubicBezTo>
                      <a:pt x="17656" y="3133"/>
                      <a:pt x="19569" y="8635"/>
                      <a:pt x="17416" y="13240"/>
                    </a:cubicBezTo>
                    <a:close/>
                  </a:path>
                </a:pathLst>
              </a:custGeom>
              <a:grpFill/>
              <a:ln w="5978" cap="flat">
                <a:noFill/>
                <a:prstDash val="solid"/>
                <a:miter/>
              </a:ln>
            </p:spPr>
            <p:txBody>
              <a:bodyPr rtlCol="0" anchor="ctr"/>
              <a:lstStyle/>
              <a:p>
                <a:endParaRPr lang="en-GB"/>
              </a:p>
            </p:txBody>
          </p:sp>
          <p:sp>
            <p:nvSpPr>
              <p:cNvPr id="2243" name="Vrije vorm: vorm 2242">
                <a:extLst>
                  <a:ext uri="{FF2B5EF4-FFF2-40B4-BE49-F238E27FC236}">
                    <a16:creationId xmlns:a16="http://schemas.microsoft.com/office/drawing/2014/main" id="{27C3E64E-B59A-4B30-B458-71C5116BDD99}"/>
                  </a:ext>
                </a:extLst>
              </p:cNvPr>
              <p:cNvSpPr/>
              <p:nvPr/>
            </p:nvSpPr>
            <p:spPr>
              <a:xfrm>
                <a:off x="5162626" y="5257789"/>
                <a:ext cx="18326" cy="18429"/>
              </a:xfrm>
              <a:custGeom>
                <a:avLst/>
                <a:gdLst>
                  <a:gd name="connsiteX0" fmla="*/ 17416 w 18326"/>
                  <a:gd name="connsiteY0" fmla="*/ 13240 h 18429"/>
                  <a:gd name="connsiteX1" fmla="*/ 13110 w 18326"/>
                  <a:gd name="connsiteY1" fmla="*/ 920 h 18429"/>
                  <a:gd name="connsiteX2" fmla="*/ 910 w 18326"/>
                  <a:gd name="connsiteY2" fmla="*/ 5226 h 18429"/>
                  <a:gd name="connsiteX3" fmla="*/ 5216 w 18326"/>
                  <a:gd name="connsiteY3" fmla="*/ 17546 h 18429"/>
                  <a:gd name="connsiteX4" fmla="*/ 17416 w 18326"/>
                  <a:gd name="connsiteY4" fmla="*/ 132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7416" y="13240"/>
                    </a:moveTo>
                    <a:cubicBezTo>
                      <a:pt x="19629" y="8635"/>
                      <a:pt x="17656" y="3133"/>
                      <a:pt x="13110" y="920"/>
                    </a:cubicBezTo>
                    <a:cubicBezTo>
                      <a:pt x="8565" y="-1293"/>
                      <a:pt x="3063" y="621"/>
                      <a:pt x="910" y="5226"/>
                    </a:cubicBezTo>
                    <a:cubicBezTo>
                      <a:pt x="-1303" y="9831"/>
                      <a:pt x="670" y="15333"/>
                      <a:pt x="5216" y="17546"/>
                    </a:cubicBezTo>
                    <a:cubicBezTo>
                      <a:pt x="9701" y="19699"/>
                      <a:pt x="15204" y="17785"/>
                      <a:pt x="17416" y="13240"/>
                    </a:cubicBezTo>
                    <a:close/>
                  </a:path>
                </a:pathLst>
              </a:custGeom>
              <a:grpFill/>
              <a:ln w="5978" cap="flat">
                <a:noFill/>
                <a:prstDash val="solid"/>
                <a:miter/>
              </a:ln>
            </p:spPr>
            <p:txBody>
              <a:bodyPr rtlCol="0" anchor="ctr"/>
              <a:lstStyle/>
              <a:p>
                <a:endParaRPr lang="en-GB"/>
              </a:p>
            </p:txBody>
          </p:sp>
        </p:grpSp>
        <p:grpSp>
          <p:nvGrpSpPr>
            <p:cNvPr id="1054" name="Graphic 3">
              <a:extLst>
                <a:ext uri="{FF2B5EF4-FFF2-40B4-BE49-F238E27FC236}">
                  <a16:creationId xmlns:a16="http://schemas.microsoft.com/office/drawing/2014/main" id="{BDC28F16-82AA-4229-BBB9-0C1DE7755212}"/>
                </a:ext>
              </a:extLst>
            </p:cNvPr>
            <p:cNvGrpSpPr/>
            <p:nvPr/>
          </p:nvGrpSpPr>
          <p:grpSpPr>
            <a:xfrm>
              <a:off x="4196167" y="2840801"/>
              <a:ext cx="217790" cy="110472"/>
              <a:chOff x="4196167" y="2840801"/>
              <a:chExt cx="217790" cy="110472"/>
            </a:xfrm>
            <a:grpFill/>
          </p:grpSpPr>
          <p:sp>
            <p:nvSpPr>
              <p:cNvPr id="2238" name="Vrije vorm: vorm 2237">
                <a:extLst>
                  <a:ext uri="{FF2B5EF4-FFF2-40B4-BE49-F238E27FC236}">
                    <a16:creationId xmlns:a16="http://schemas.microsoft.com/office/drawing/2014/main" id="{52F42F16-4D64-49D2-8AA5-8BDE34920FF1}"/>
                  </a:ext>
                </a:extLst>
              </p:cNvPr>
              <p:cNvSpPr/>
              <p:nvPr/>
            </p:nvSpPr>
            <p:spPr>
              <a:xfrm>
                <a:off x="4204288" y="2848418"/>
                <a:ext cx="201550" cy="95272"/>
              </a:xfrm>
              <a:custGeom>
                <a:avLst/>
                <a:gdLst>
                  <a:gd name="connsiteX0" fmla="*/ 201550 w 201550"/>
                  <a:gd name="connsiteY0" fmla="*/ 92462 h 95272"/>
                  <a:gd name="connsiteX1" fmla="*/ 200294 w 201550"/>
                  <a:gd name="connsiteY1" fmla="*/ 95273 h 95272"/>
                  <a:gd name="connsiteX2" fmla="*/ 0 w 201550"/>
                  <a:gd name="connsiteY2" fmla="*/ 2811 h 95272"/>
                  <a:gd name="connsiteX3" fmla="*/ 1256 w 201550"/>
                  <a:gd name="connsiteY3" fmla="*/ 0 h 95272"/>
                </a:gdLst>
                <a:ahLst/>
                <a:cxnLst>
                  <a:cxn ang="0">
                    <a:pos x="connsiteX0" y="connsiteY0"/>
                  </a:cxn>
                  <a:cxn ang="0">
                    <a:pos x="connsiteX1" y="connsiteY1"/>
                  </a:cxn>
                  <a:cxn ang="0">
                    <a:pos x="connsiteX2" y="connsiteY2"/>
                  </a:cxn>
                  <a:cxn ang="0">
                    <a:pos x="connsiteX3" y="connsiteY3"/>
                  </a:cxn>
                </a:cxnLst>
                <a:rect l="l" t="t" r="r" b="b"/>
                <a:pathLst>
                  <a:path w="201550" h="95272">
                    <a:moveTo>
                      <a:pt x="201550" y="92462"/>
                    </a:moveTo>
                    <a:lnTo>
                      <a:pt x="200294" y="95273"/>
                    </a:lnTo>
                    <a:lnTo>
                      <a:pt x="0" y="2811"/>
                    </a:lnTo>
                    <a:lnTo>
                      <a:pt x="1256" y="0"/>
                    </a:lnTo>
                    <a:close/>
                  </a:path>
                </a:pathLst>
              </a:custGeom>
              <a:grpFill/>
              <a:ln w="5978" cap="flat">
                <a:noFill/>
                <a:prstDash val="solid"/>
                <a:miter/>
              </a:ln>
            </p:spPr>
            <p:txBody>
              <a:bodyPr rtlCol="0" anchor="ctr"/>
              <a:lstStyle/>
              <a:p>
                <a:endParaRPr lang="en-GB"/>
              </a:p>
            </p:txBody>
          </p:sp>
          <p:sp>
            <p:nvSpPr>
              <p:cNvPr id="2239" name="Vrije vorm: vorm 2238">
                <a:extLst>
                  <a:ext uri="{FF2B5EF4-FFF2-40B4-BE49-F238E27FC236}">
                    <a16:creationId xmlns:a16="http://schemas.microsoft.com/office/drawing/2014/main" id="{DF3336E8-87C5-4373-B5C0-1E411946F490}"/>
                  </a:ext>
                </a:extLst>
              </p:cNvPr>
              <p:cNvSpPr/>
              <p:nvPr/>
            </p:nvSpPr>
            <p:spPr>
              <a:xfrm>
                <a:off x="4395624" y="2932880"/>
                <a:ext cx="18333" cy="18393"/>
              </a:xfrm>
              <a:custGeom>
                <a:avLst/>
                <a:gdLst>
                  <a:gd name="connsiteX0" fmla="*/ 12965 w 18333"/>
                  <a:gd name="connsiteY0" fmla="*/ 824 h 18393"/>
                  <a:gd name="connsiteX1" fmla="*/ 17510 w 18333"/>
                  <a:gd name="connsiteY1" fmla="*/ 13024 h 18393"/>
                  <a:gd name="connsiteX2" fmla="*/ 5369 w 18333"/>
                  <a:gd name="connsiteY2" fmla="*/ 17570 h 18393"/>
                  <a:gd name="connsiteX3" fmla="*/ 824 w 18333"/>
                  <a:gd name="connsiteY3" fmla="*/ 5369 h 18393"/>
                  <a:gd name="connsiteX4" fmla="*/ 12965 w 18333"/>
                  <a:gd name="connsiteY4" fmla="*/ 824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2965" y="824"/>
                    </a:moveTo>
                    <a:cubicBezTo>
                      <a:pt x="17570" y="2977"/>
                      <a:pt x="19603" y="8419"/>
                      <a:pt x="17510" y="13024"/>
                    </a:cubicBezTo>
                    <a:cubicBezTo>
                      <a:pt x="15417" y="17630"/>
                      <a:pt x="9974" y="19663"/>
                      <a:pt x="5369" y="17570"/>
                    </a:cubicBezTo>
                    <a:cubicBezTo>
                      <a:pt x="764" y="15417"/>
                      <a:pt x="-1270" y="9974"/>
                      <a:pt x="824" y="5369"/>
                    </a:cubicBezTo>
                    <a:cubicBezTo>
                      <a:pt x="2917" y="764"/>
                      <a:pt x="8359" y="-1270"/>
                      <a:pt x="12965" y="824"/>
                    </a:cubicBezTo>
                    <a:close/>
                  </a:path>
                </a:pathLst>
              </a:custGeom>
              <a:grpFill/>
              <a:ln w="5978" cap="flat">
                <a:noFill/>
                <a:prstDash val="solid"/>
                <a:miter/>
              </a:ln>
            </p:spPr>
            <p:txBody>
              <a:bodyPr rtlCol="0" anchor="ctr"/>
              <a:lstStyle/>
              <a:p>
                <a:endParaRPr lang="en-GB"/>
              </a:p>
            </p:txBody>
          </p:sp>
          <p:sp>
            <p:nvSpPr>
              <p:cNvPr id="2240" name="Vrije vorm: vorm 2239">
                <a:extLst>
                  <a:ext uri="{FF2B5EF4-FFF2-40B4-BE49-F238E27FC236}">
                    <a16:creationId xmlns:a16="http://schemas.microsoft.com/office/drawing/2014/main" id="{29D8780F-A75B-45C8-A604-D2221D6B2725}"/>
                  </a:ext>
                </a:extLst>
              </p:cNvPr>
              <p:cNvSpPr/>
              <p:nvPr/>
            </p:nvSpPr>
            <p:spPr>
              <a:xfrm>
                <a:off x="4196167" y="2840801"/>
                <a:ext cx="18333" cy="18464"/>
              </a:xfrm>
              <a:custGeom>
                <a:avLst/>
                <a:gdLst>
                  <a:gd name="connsiteX0" fmla="*/ 12965 w 18333"/>
                  <a:gd name="connsiteY0" fmla="*/ 859 h 18464"/>
                  <a:gd name="connsiteX1" fmla="*/ 824 w 18333"/>
                  <a:gd name="connsiteY1" fmla="*/ 5404 h 18464"/>
                  <a:gd name="connsiteX2" fmla="*/ 5369 w 18333"/>
                  <a:gd name="connsiteY2" fmla="*/ 17605 h 18464"/>
                  <a:gd name="connsiteX3" fmla="*/ 17510 w 18333"/>
                  <a:gd name="connsiteY3" fmla="*/ 13060 h 18464"/>
                  <a:gd name="connsiteX4" fmla="*/ 12965 w 18333"/>
                  <a:gd name="connsiteY4" fmla="*/ 85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12965" y="859"/>
                    </a:moveTo>
                    <a:cubicBezTo>
                      <a:pt x="8359" y="-1294"/>
                      <a:pt x="2917" y="739"/>
                      <a:pt x="824" y="5404"/>
                    </a:cubicBezTo>
                    <a:cubicBezTo>
                      <a:pt x="-1269" y="10009"/>
                      <a:pt x="764" y="15512"/>
                      <a:pt x="5369" y="17605"/>
                    </a:cubicBezTo>
                    <a:cubicBezTo>
                      <a:pt x="9974" y="19758"/>
                      <a:pt x="15417" y="17725"/>
                      <a:pt x="17510" y="13060"/>
                    </a:cubicBezTo>
                    <a:cubicBezTo>
                      <a:pt x="19603" y="8455"/>
                      <a:pt x="17570" y="2952"/>
                      <a:pt x="12965" y="859"/>
                    </a:cubicBezTo>
                    <a:close/>
                  </a:path>
                </a:pathLst>
              </a:custGeom>
              <a:grpFill/>
              <a:ln w="5978" cap="flat">
                <a:noFill/>
                <a:prstDash val="solid"/>
                <a:miter/>
              </a:ln>
            </p:spPr>
            <p:txBody>
              <a:bodyPr rtlCol="0" anchor="ctr"/>
              <a:lstStyle/>
              <a:p>
                <a:endParaRPr lang="en-GB"/>
              </a:p>
            </p:txBody>
          </p:sp>
        </p:grpSp>
        <p:grpSp>
          <p:nvGrpSpPr>
            <p:cNvPr id="1055" name="Graphic 3">
              <a:extLst>
                <a:ext uri="{FF2B5EF4-FFF2-40B4-BE49-F238E27FC236}">
                  <a16:creationId xmlns:a16="http://schemas.microsoft.com/office/drawing/2014/main" id="{9E4A0969-F088-489D-AFDC-CEFCC162986B}"/>
                </a:ext>
              </a:extLst>
            </p:cNvPr>
            <p:cNvGrpSpPr/>
            <p:nvPr/>
          </p:nvGrpSpPr>
          <p:grpSpPr>
            <a:xfrm>
              <a:off x="4221646" y="2884432"/>
              <a:ext cx="191833" cy="68220"/>
              <a:chOff x="4221646" y="2884432"/>
              <a:chExt cx="191833" cy="68220"/>
            </a:xfrm>
            <a:grpFill/>
          </p:grpSpPr>
          <p:sp>
            <p:nvSpPr>
              <p:cNvPr id="2235" name="Vrije vorm: vorm 2234">
                <a:extLst>
                  <a:ext uri="{FF2B5EF4-FFF2-40B4-BE49-F238E27FC236}">
                    <a16:creationId xmlns:a16="http://schemas.microsoft.com/office/drawing/2014/main" id="{2E63CA7A-72CA-40FC-AA79-97E576F7DD5C}"/>
                  </a:ext>
                </a:extLst>
              </p:cNvPr>
              <p:cNvSpPr/>
              <p:nvPr/>
            </p:nvSpPr>
            <p:spPr>
              <a:xfrm>
                <a:off x="4229945" y="2892018"/>
                <a:ext cx="175235" cy="52989"/>
              </a:xfrm>
              <a:custGeom>
                <a:avLst/>
                <a:gdLst>
                  <a:gd name="connsiteX0" fmla="*/ 175235 w 175235"/>
                  <a:gd name="connsiteY0" fmla="*/ 50059 h 52989"/>
                  <a:gd name="connsiteX1" fmla="*/ 174398 w 175235"/>
                  <a:gd name="connsiteY1" fmla="*/ 52989 h 52989"/>
                  <a:gd name="connsiteX2" fmla="*/ 0 w 175235"/>
                  <a:gd name="connsiteY2" fmla="*/ 2990 h 52989"/>
                  <a:gd name="connsiteX3" fmla="*/ 837 w 175235"/>
                  <a:gd name="connsiteY3" fmla="*/ 0 h 52989"/>
                </a:gdLst>
                <a:ahLst/>
                <a:cxnLst>
                  <a:cxn ang="0">
                    <a:pos x="connsiteX0" y="connsiteY0"/>
                  </a:cxn>
                  <a:cxn ang="0">
                    <a:pos x="connsiteX1" y="connsiteY1"/>
                  </a:cxn>
                  <a:cxn ang="0">
                    <a:pos x="connsiteX2" y="connsiteY2"/>
                  </a:cxn>
                  <a:cxn ang="0">
                    <a:pos x="connsiteX3" y="connsiteY3"/>
                  </a:cxn>
                </a:cxnLst>
                <a:rect l="l" t="t" r="r" b="b"/>
                <a:pathLst>
                  <a:path w="175235" h="52989">
                    <a:moveTo>
                      <a:pt x="175235" y="50059"/>
                    </a:moveTo>
                    <a:lnTo>
                      <a:pt x="174398" y="52989"/>
                    </a:lnTo>
                    <a:lnTo>
                      <a:pt x="0" y="2990"/>
                    </a:lnTo>
                    <a:lnTo>
                      <a:pt x="837" y="0"/>
                    </a:lnTo>
                    <a:close/>
                  </a:path>
                </a:pathLst>
              </a:custGeom>
              <a:grpFill/>
              <a:ln w="5978" cap="flat">
                <a:noFill/>
                <a:prstDash val="solid"/>
                <a:miter/>
              </a:ln>
            </p:spPr>
            <p:txBody>
              <a:bodyPr rtlCol="0" anchor="ctr"/>
              <a:lstStyle/>
              <a:p>
                <a:endParaRPr lang="en-GB"/>
              </a:p>
            </p:txBody>
          </p:sp>
          <p:sp>
            <p:nvSpPr>
              <p:cNvPr id="2236" name="Vrije vorm: vorm 2235">
                <a:extLst>
                  <a:ext uri="{FF2B5EF4-FFF2-40B4-BE49-F238E27FC236}">
                    <a16:creationId xmlns:a16="http://schemas.microsoft.com/office/drawing/2014/main" id="{4CE20D48-21B6-491D-AE8F-8C378E018E9D}"/>
                  </a:ext>
                </a:extLst>
              </p:cNvPr>
              <p:cNvSpPr/>
              <p:nvPr/>
            </p:nvSpPr>
            <p:spPr>
              <a:xfrm>
                <a:off x="4221646" y="2884432"/>
                <a:ext cx="18332" cy="18421"/>
              </a:xfrm>
              <a:custGeom>
                <a:avLst/>
                <a:gdLst>
                  <a:gd name="connsiteX0" fmla="*/ 6684 w 18332"/>
                  <a:gd name="connsiteY0" fmla="*/ 18052 h 18421"/>
                  <a:gd name="connsiteX1" fmla="*/ 345 w 18332"/>
                  <a:gd name="connsiteY1" fmla="*/ 6688 h 18421"/>
                  <a:gd name="connsiteX2" fmla="*/ 11648 w 18332"/>
                  <a:gd name="connsiteY2" fmla="*/ 349 h 18421"/>
                  <a:gd name="connsiteX3" fmla="*/ 17988 w 18332"/>
                  <a:gd name="connsiteY3" fmla="*/ 11712 h 18421"/>
                  <a:gd name="connsiteX4" fmla="*/ 6684 w 18332"/>
                  <a:gd name="connsiteY4" fmla="*/ 1805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1">
                    <a:moveTo>
                      <a:pt x="6684" y="18052"/>
                    </a:moveTo>
                    <a:cubicBezTo>
                      <a:pt x="1840" y="16676"/>
                      <a:pt x="-1031" y="11533"/>
                      <a:pt x="345" y="6688"/>
                    </a:cubicBezTo>
                    <a:cubicBezTo>
                      <a:pt x="1720" y="1784"/>
                      <a:pt x="6804" y="-1027"/>
                      <a:pt x="11648" y="349"/>
                    </a:cubicBezTo>
                    <a:cubicBezTo>
                      <a:pt x="16493" y="1724"/>
                      <a:pt x="19363" y="6868"/>
                      <a:pt x="17988" y="11712"/>
                    </a:cubicBezTo>
                    <a:cubicBezTo>
                      <a:pt x="16612" y="16616"/>
                      <a:pt x="11528" y="19487"/>
                      <a:pt x="6684" y="18052"/>
                    </a:cubicBezTo>
                    <a:close/>
                  </a:path>
                </a:pathLst>
              </a:custGeom>
              <a:grpFill/>
              <a:ln w="5978" cap="flat">
                <a:noFill/>
                <a:prstDash val="solid"/>
                <a:miter/>
              </a:ln>
            </p:spPr>
            <p:txBody>
              <a:bodyPr rtlCol="0" anchor="ctr"/>
              <a:lstStyle/>
              <a:p>
                <a:endParaRPr lang="en-GB"/>
              </a:p>
            </p:txBody>
          </p:sp>
          <p:sp>
            <p:nvSpPr>
              <p:cNvPr id="2237" name="Vrije vorm: vorm 2236">
                <a:extLst>
                  <a:ext uri="{FF2B5EF4-FFF2-40B4-BE49-F238E27FC236}">
                    <a16:creationId xmlns:a16="http://schemas.microsoft.com/office/drawing/2014/main" id="{FA2BCC14-435F-49A9-911D-B82DE8680E49}"/>
                  </a:ext>
                </a:extLst>
              </p:cNvPr>
              <p:cNvSpPr/>
              <p:nvPr/>
            </p:nvSpPr>
            <p:spPr>
              <a:xfrm>
                <a:off x="4395142" y="2934252"/>
                <a:ext cx="18336" cy="18400"/>
              </a:xfrm>
              <a:custGeom>
                <a:avLst/>
                <a:gdLst>
                  <a:gd name="connsiteX0" fmla="*/ 6688 w 18336"/>
                  <a:gd name="connsiteY0" fmla="*/ 18052 h 18400"/>
                  <a:gd name="connsiteX1" fmla="*/ 17992 w 18336"/>
                  <a:gd name="connsiteY1" fmla="*/ 11712 h 18400"/>
                  <a:gd name="connsiteX2" fmla="*/ 11653 w 18336"/>
                  <a:gd name="connsiteY2" fmla="*/ 349 h 18400"/>
                  <a:gd name="connsiteX3" fmla="*/ 349 w 18336"/>
                  <a:gd name="connsiteY3" fmla="*/ 6688 h 18400"/>
                  <a:gd name="connsiteX4" fmla="*/ 6688 w 18336"/>
                  <a:gd name="connsiteY4" fmla="*/ 18052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00">
                    <a:moveTo>
                      <a:pt x="6688" y="18052"/>
                    </a:moveTo>
                    <a:cubicBezTo>
                      <a:pt x="11533" y="19427"/>
                      <a:pt x="16617" y="16616"/>
                      <a:pt x="17992" y="11712"/>
                    </a:cubicBezTo>
                    <a:cubicBezTo>
                      <a:pt x="19368" y="6808"/>
                      <a:pt x="16497" y="1725"/>
                      <a:pt x="11653" y="349"/>
                    </a:cubicBezTo>
                    <a:cubicBezTo>
                      <a:pt x="6808" y="-1027"/>
                      <a:pt x="1724" y="1784"/>
                      <a:pt x="349" y="6688"/>
                    </a:cubicBezTo>
                    <a:cubicBezTo>
                      <a:pt x="-1027" y="11533"/>
                      <a:pt x="1784" y="16616"/>
                      <a:pt x="6688" y="18052"/>
                    </a:cubicBezTo>
                    <a:close/>
                  </a:path>
                </a:pathLst>
              </a:custGeom>
              <a:grpFill/>
              <a:ln w="5978" cap="flat">
                <a:noFill/>
                <a:prstDash val="solid"/>
                <a:miter/>
              </a:ln>
            </p:spPr>
            <p:txBody>
              <a:bodyPr rtlCol="0" anchor="ctr"/>
              <a:lstStyle/>
              <a:p>
                <a:endParaRPr lang="en-GB"/>
              </a:p>
            </p:txBody>
          </p:sp>
        </p:grpSp>
        <p:grpSp>
          <p:nvGrpSpPr>
            <p:cNvPr id="1056" name="Graphic 3">
              <a:extLst>
                <a:ext uri="{FF2B5EF4-FFF2-40B4-BE49-F238E27FC236}">
                  <a16:creationId xmlns:a16="http://schemas.microsoft.com/office/drawing/2014/main" id="{8DD14B4F-47D1-4889-BFCC-BA64444F9BD3}"/>
                </a:ext>
              </a:extLst>
            </p:cNvPr>
            <p:cNvGrpSpPr/>
            <p:nvPr/>
          </p:nvGrpSpPr>
          <p:grpSpPr>
            <a:xfrm>
              <a:off x="4878697" y="4697810"/>
              <a:ext cx="83684" cy="95027"/>
              <a:chOff x="4878697" y="4697810"/>
              <a:chExt cx="83684" cy="95027"/>
            </a:xfrm>
            <a:grpFill/>
          </p:grpSpPr>
          <p:sp>
            <p:nvSpPr>
              <p:cNvPr id="2232" name="Vrije vorm: vorm 2231">
                <a:extLst>
                  <a:ext uri="{FF2B5EF4-FFF2-40B4-BE49-F238E27FC236}">
                    <a16:creationId xmlns:a16="http://schemas.microsoft.com/office/drawing/2014/main" id="{89F138D9-C83E-4EA1-B929-7C10EB53333F}"/>
                  </a:ext>
                </a:extLst>
              </p:cNvPr>
              <p:cNvSpPr/>
              <p:nvPr/>
            </p:nvSpPr>
            <p:spPr>
              <a:xfrm>
                <a:off x="4886389" y="4705671"/>
                <a:ext cx="68299" cy="79304"/>
              </a:xfrm>
              <a:custGeom>
                <a:avLst/>
                <a:gdLst>
                  <a:gd name="connsiteX0" fmla="*/ 68300 w 68299"/>
                  <a:gd name="connsiteY0" fmla="*/ 2034 h 79304"/>
                  <a:gd name="connsiteX1" fmla="*/ 2333 w 68299"/>
                  <a:gd name="connsiteY1" fmla="*/ 79304 h 79304"/>
                  <a:gd name="connsiteX2" fmla="*/ 0 w 68299"/>
                  <a:gd name="connsiteY2" fmla="*/ 77331 h 79304"/>
                  <a:gd name="connsiteX3" fmla="*/ 66027 w 68299"/>
                  <a:gd name="connsiteY3" fmla="*/ 0 h 79304"/>
                </a:gdLst>
                <a:ahLst/>
                <a:cxnLst>
                  <a:cxn ang="0">
                    <a:pos x="connsiteX0" y="connsiteY0"/>
                  </a:cxn>
                  <a:cxn ang="0">
                    <a:pos x="connsiteX1" y="connsiteY1"/>
                  </a:cxn>
                  <a:cxn ang="0">
                    <a:pos x="connsiteX2" y="connsiteY2"/>
                  </a:cxn>
                  <a:cxn ang="0">
                    <a:pos x="connsiteX3" y="connsiteY3"/>
                  </a:cxn>
                </a:cxnLst>
                <a:rect l="l" t="t" r="r" b="b"/>
                <a:pathLst>
                  <a:path w="68299" h="79304">
                    <a:moveTo>
                      <a:pt x="68300" y="2034"/>
                    </a:moveTo>
                    <a:lnTo>
                      <a:pt x="2333" y="79304"/>
                    </a:lnTo>
                    <a:lnTo>
                      <a:pt x="0" y="77331"/>
                    </a:lnTo>
                    <a:lnTo>
                      <a:pt x="66027" y="0"/>
                    </a:lnTo>
                    <a:close/>
                  </a:path>
                </a:pathLst>
              </a:custGeom>
              <a:grpFill/>
              <a:ln w="5978" cap="flat">
                <a:noFill/>
                <a:prstDash val="solid"/>
                <a:miter/>
              </a:ln>
            </p:spPr>
            <p:txBody>
              <a:bodyPr rtlCol="0" anchor="ctr"/>
              <a:lstStyle/>
              <a:p>
                <a:endParaRPr lang="en-GB"/>
              </a:p>
            </p:txBody>
          </p:sp>
          <p:sp>
            <p:nvSpPr>
              <p:cNvPr id="2233" name="Vrije vorm: vorm 2232">
                <a:extLst>
                  <a:ext uri="{FF2B5EF4-FFF2-40B4-BE49-F238E27FC236}">
                    <a16:creationId xmlns:a16="http://schemas.microsoft.com/office/drawing/2014/main" id="{A6E5320C-9C63-434C-94F1-3C4559C16527}"/>
                  </a:ext>
                </a:extLst>
              </p:cNvPr>
              <p:cNvSpPr/>
              <p:nvPr/>
            </p:nvSpPr>
            <p:spPr>
              <a:xfrm>
                <a:off x="4878697" y="4774423"/>
                <a:ext cx="18315" cy="18414"/>
              </a:xfrm>
              <a:custGeom>
                <a:avLst/>
                <a:gdLst>
                  <a:gd name="connsiteX0" fmla="*/ 16125 w 18315"/>
                  <a:gd name="connsiteY0" fmla="*/ 15218 h 18414"/>
                  <a:gd name="connsiteX1" fmla="*/ 3207 w 18315"/>
                  <a:gd name="connsiteY1" fmla="*/ 16175 h 18414"/>
                  <a:gd name="connsiteX2" fmla="*/ 2190 w 18315"/>
                  <a:gd name="connsiteY2" fmla="*/ 3197 h 18414"/>
                  <a:gd name="connsiteX3" fmla="*/ 15108 w 18315"/>
                  <a:gd name="connsiteY3" fmla="*/ 2240 h 18414"/>
                  <a:gd name="connsiteX4" fmla="*/ 16125 w 18315"/>
                  <a:gd name="connsiteY4" fmla="*/ 1521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14">
                    <a:moveTo>
                      <a:pt x="16125" y="15218"/>
                    </a:moveTo>
                    <a:cubicBezTo>
                      <a:pt x="12836" y="19046"/>
                      <a:pt x="7034" y="19524"/>
                      <a:pt x="3207" y="16175"/>
                    </a:cubicBezTo>
                    <a:cubicBezTo>
                      <a:pt x="-621" y="12826"/>
                      <a:pt x="-1100" y="7024"/>
                      <a:pt x="2190" y="3197"/>
                    </a:cubicBezTo>
                    <a:cubicBezTo>
                      <a:pt x="5479" y="-631"/>
                      <a:pt x="11281" y="-1110"/>
                      <a:pt x="15108" y="2240"/>
                    </a:cubicBezTo>
                    <a:cubicBezTo>
                      <a:pt x="18936" y="5529"/>
                      <a:pt x="19415" y="11390"/>
                      <a:pt x="16125" y="15218"/>
                    </a:cubicBezTo>
                    <a:close/>
                  </a:path>
                </a:pathLst>
              </a:custGeom>
              <a:grpFill/>
              <a:ln w="5978" cap="flat">
                <a:noFill/>
                <a:prstDash val="solid"/>
                <a:miter/>
              </a:ln>
            </p:spPr>
            <p:txBody>
              <a:bodyPr rtlCol="0" anchor="ctr"/>
              <a:lstStyle/>
              <a:p>
                <a:endParaRPr lang="en-GB"/>
              </a:p>
            </p:txBody>
          </p:sp>
          <p:sp>
            <p:nvSpPr>
              <p:cNvPr id="2234" name="Vrije vorm: vorm 2233">
                <a:extLst>
                  <a:ext uri="{FF2B5EF4-FFF2-40B4-BE49-F238E27FC236}">
                    <a16:creationId xmlns:a16="http://schemas.microsoft.com/office/drawing/2014/main" id="{5841EB25-6EF1-4D11-9D86-CAF18264BA49}"/>
                  </a:ext>
                </a:extLst>
              </p:cNvPr>
              <p:cNvSpPr/>
              <p:nvPr/>
            </p:nvSpPr>
            <p:spPr>
              <a:xfrm>
                <a:off x="4944046" y="4697810"/>
                <a:ext cx="18334" cy="18434"/>
              </a:xfrm>
              <a:custGeom>
                <a:avLst/>
                <a:gdLst>
                  <a:gd name="connsiteX0" fmla="*/ 16145 w 18334"/>
                  <a:gd name="connsiteY0" fmla="*/ 15218 h 18434"/>
                  <a:gd name="connsiteX1" fmla="*/ 15128 w 18334"/>
                  <a:gd name="connsiteY1" fmla="*/ 2240 h 18434"/>
                  <a:gd name="connsiteX2" fmla="*/ 2210 w 18334"/>
                  <a:gd name="connsiteY2" fmla="*/ 3197 h 18434"/>
                  <a:gd name="connsiteX3" fmla="*/ 3227 w 18334"/>
                  <a:gd name="connsiteY3" fmla="*/ 16175 h 18434"/>
                  <a:gd name="connsiteX4" fmla="*/ 16145 w 18334"/>
                  <a:gd name="connsiteY4" fmla="*/ 15218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4">
                    <a:moveTo>
                      <a:pt x="16145" y="15218"/>
                    </a:moveTo>
                    <a:cubicBezTo>
                      <a:pt x="19434" y="11390"/>
                      <a:pt x="18956" y="5529"/>
                      <a:pt x="15128" y="2240"/>
                    </a:cubicBezTo>
                    <a:cubicBezTo>
                      <a:pt x="11300" y="-1110"/>
                      <a:pt x="5499" y="-631"/>
                      <a:pt x="2210" y="3197"/>
                    </a:cubicBezTo>
                    <a:cubicBezTo>
                      <a:pt x="-1079" y="7025"/>
                      <a:pt x="-661" y="12886"/>
                      <a:pt x="3227" y="16175"/>
                    </a:cubicBezTo>
                    <a:cubicBezTo>
                      <a:pt x="7114" y="19524"/>
                      <a:pt x="12855" y="19105"/>
                      <a:pt x="16145" y="15218"/>
                    </a:cubicBezTo>
                    <a:close/>
                  </a:path>
                </a:pathLst>
              </a:custGeom>
              <a:grpFill/>
              <a:ln w="5978" cap="flat">
                <a:noFill/>
                <a:prstDash val="solid"/>
                <a:miter/>
              </a:ln>
            </p:spPr>
            <p:txBody>
              <a:bodyPr rtlCol="0" anchor="ctr"/>
              <a:lstStyle/>
              <a:p>
                <a:endParaRPr lang="en-GB"/>
              </a:p>
            </p:txBody>
          </p:sp>
        </p:grpSp>
        <p:grpSp>
          <p:nvGrpSpPr>
            <p:cNvPr id="1057" name="Graphic 3">
              <a:extLst>
                <a:ext uri="{FF2B5EF4-FFF2-40B4-BE49-F238E27FC236}">
                  <a16:creationId xmlns:a16="http://schemas.microsoft.com/office/drawing/2014/main" id="{643F8EC1-AD48-41E6-8132-B2A3801960CD}"/>
                </a:ext>
              </a:extLst>
            </p:cNvPr>
            <p:cNvGrpSpPr/>
            <p:nvPr/>
          </p:nvGrpSpPr>
          <p:grpSpPr>
            <a:xfrm>
              <a:off x="4327602" y="3051217"/>
              <a:ext cx="63770" cy="27888"/>
              <a:chOff x="4327602" y="3051217"/>
              <a:chExt cx="63770" cy="27888"/>
            </a:xfrm>
            <a:grpFill/>
          </p:grpSpPr>
          <p:sp>
            <p:nvSpPr>
              <p:cNvPr id="2229" name="Vrije vorm: vorm 2228">
                <a:extLst>
                  <a:ext uri="{FF2B5EF4-FFF2-40B4-BE49-F238E27FC236}">
                    <a16:creationId xmlns:a16="http://schemas.microsoft.com/office/drawing/2014/main" id="{00A6BED9-76EB-49F9-8642-276B096CB504}"/>
                  </a:ext>
                </a:extLst>
              </p:cNvPr>
              <p:cNvSpPr/>
              <p:nvPr/>
            </p:nvSpPr>
            <p:spPr>
              <a:xfrm>
                <a:off x="4336043" y="3058880"/>
                <a:ext cx="46889" cy="12619"/>
              </a:xfrm>
              <a:custGeom>
                <a:avLst/>
                <a:gdLst>
                  <a:gd name="connsiteX0" fmla="*/ 46889 w 46889"/>
                  <a:gd name="connsiteY0" fmla="*/ 9629 h 12619"/>
                  <a:gd name="connsiteX1" fmla="*/ 46291 w 46889"/>
                  <a:gd name="connsiteY1" fmla="*/ 12619 h 12619"/>
                  <a:gd name="connsiteX2" fmla="*/ 0 w 46889"/>
                  <a:gd name="connsiteY2" fmla="*/ 2990 h 12619"/>
                  <a:gd name="connsiteX3" fmla="*/ 598 w 46889"/>
                  <a:gd name="connsiteY3" fmla="*/ 0 h 12619"/>
                </a:gdLst>
                <a:ahLst/>
                <a:cxnLst>
                  <a:cxn ang="0">
                    <a:pos x="connsiteX0" y="connsiteY0"/>
                  </a:cxn>
                  <a:cxn ang="0">
                    <a:pos x="connsiteX1" y="connsiteY1"/>
                  </a:cxn>
                  <a:cxn ang="0">
                    <a:pos x="connsiteX2" y="connsiteY2"/>
                  </a:cxn>
                  <a:cxn ang="0">
                    <a:pos x="connsiteX3" y="connsiteY3"/>
                  </a:cxn>
                </a:cxnLst>
                <a:rect l="l" t="t" r="r" b="b"/>
                <a:pathLst>
                  <a:path w="46889" h="12619">
                    <a:moveTo>
                      <a:pt x="46889" y="9629"/>
                    </a:moveTo>
                    <a:lnTo>
                      <a:pt x="46291" y="12619"/>
                    </a:lnTo>
                    <a:lnTo>
                      <a:pt x="0" y="2990"/>
                    </a:lnTo>
                    <a:lnTo>
                      <a:pt x="598" y="0"/>
                    </a:lnTo>
                    <a:close/>
                  </a:path>
                </a:pathLst>
              </a:custGeom>
              <a:grpFill/>
              <a:ln w="5978" cap="flat">
                <a:noFill/>
                <a:prstDash val="solid"/>
                <a:miter/>
              </a:ln>
            </p:spPr>
            <p:txBody>
              <a:bodyPr rtlCol="0" anchor="ctr"/>
              <a:lstStyle/>
              <a:p>
                <a:endParaRPr lang="en-GB"/>
              </a:p>
            </p:txBody>
          </p:sp>
          <p:sp>
            <p:nvSpPr>
              <p:cNvPr id="2230" name="Vrije vorm: vorm 2229">
                <a:extLst>
                  <a:ext uri="{FF2B5EF4-FFF2-40B4-BE49-F238E27FC236}">
                    <a16:creationId xmlns:a16="http://schemas.microsoft.com/office/drawing/2014/main" id="{D147690F-74B3-4E7D-859A-B86088BE2811}"/>
                  </a:ext>
                </a:extLst>
              </p:cNvPr>
              <p:cNvSpPr/>
              <p:nvPr/>
            </p:nvSpPr>
            <p:spPr>
              <a:xfrm>
                <a:off x="4327602" y="3051217"/>
                <a:ext cx="18376" cy="18455"/>
              </a:xfrm>
              <a:custGeom>
                <a:avLst/>
                <a:gdLst>
                  <a:gd name="connsiteX0" fmla="*/ 7364 w 18376"/>
                  <a:gd name="connsiteY0" fmla="*/ 18249 h 18455"/>
                  <a:gd name="connsiteX1" fmla="*/ 187 w 18376"/>
                  <a:gd name="connsiteY1" fmla="*/ 7364 h 18455"/>
                  <a:gd name="connsiteX2" fmla="*/ 11012 w 18376"/>
                  <a:gd name="connsiteY2" fmla="*/ 187 h 18455"/>
                  <a:gd name="connsiteX3" fmla="*/ 18189 w 18376"/>
                  <a:gd name="connsiteY3" fmla="*/ 11072 h 18455"/>
                  <a:gd name="connsiteX4" fmla="*/ 7364 w 18376"/>
                  <a:gd name="connsiteY4" fmla="*/ 18249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55">
                    <a:moveTo>
                      <a:pt x="7364" y="18249"/>
                    </a:moveTo>
                    <a:cubicBezTo>
                      <a:pt x="2400" y="17232"/>
                      <a:pt x="-830" y="12328"/>
                      <a:pt x="187" y="7364"/>
                    </a:cubicBezTo>
                    <a:cubicBezTo>
                      <a:pt x="1204" y="2400"/>
                      <a:pt x="6048" y="-830"/>
                      <a:pt x="11012" y="187"/>
                    </a:cubicBezTo>
                    <a:cubicBezTo>
                      <a:pt x="15976" y="1204"/>
                      <a:pt x="19206" y="6108"/>
                      <a:pt x="18189" y="11072"/>
                    </a:cubicBezTo>
                    <a:cubicBezTo>
                      <a:pt x="17173" y="16096"/>
                      <a:pt x="12328" y="19325"/>
                      <a:pt x="7364" y="18249"/>
                    </a:cubicBezTo>
                    <a:close/>
                  </a:path>
                </a:pathLst>
              </a:custGeom>
              <a:grpFill/>
              <a:ln w="5978" cap="flat">
                <a:noFill/>
                <a:prstDash val="solid"/>
                <a:miter/>
              </a:ln>
            </p:spPr>
            <p:txBody>
              <a:bodyPr rtlCol="0" anchor="ctr"/>
              <a:lstStyle/>
              <a:p>
                <a:endParaRPr lang="en-GB"/>
              </a:p>
            </p:txBody>
          </p:sp>
          <p:sp>
            <p:nvSpPr>
              <p:cNvPr id="2231" name="Vrije vorm: vorm 2230">
                <a:extLst>
                  <a:ext uri="{FF2B5EF4-FFF2-40B4-BE49-F238E27FC236}">
                    <a16:creationId xmlns:a16="http://schemas.microsoft.com/office/drawing/2014/main" id="{20EB2D99-0393-4F77-8BF7-4EC3216172E8}"/>
                  </a:ext>
                </a:extLst>
              </p:cNvPr>
              <p:cNvSpPr/>
              <p:nvPr/>
            </p:nvSpPr>
            <p:spPr>
              <a:xfrm>
                <a:off x="4372996" y="3060664"/>
                <a:ext cx="18376" cy="18440"/>
              </a:xfrm>
              <a:custGeom>
                <a:avLst/>
                <a:gdLst>
                  <a:gd name="connsiteX0" fmla="*/ 7364 w 18376"/>
                  <a:gd name="connsiteY0" fmla="*/ 18251 h 18440"/>
                  <a:gd name="connsiteX1" fmla="*/ 18189 w 18376"/>
                  <a:gd name="connsiteY1" fmla="*/ 11074 h 18440"/>
                  <a:gd name="connsiteX2" fmla="*/ 11012 w 18376"/>
                  <a:gd name="connsiteY2" fmla="*/ 190 h 18440"/>
                  <a:gd name="connsiteX3" fmla="*/ 187 w 18376"/>
                  <a:gd name="connsiteY3" fmla="*/ 7366 h 18440"/>
                  <a:gd name="connsiteX4" fmla="*/ 7364 w 18376"/>
                  <a:gd name="connsiteY4" fmla="*/ 18251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40">
                    <a:moveTo>
                      <a:pt x="7364" y="18251"/>
                    </a:moveTo>
                    <a:cubicBezTo>
                      <a:pt x="12328" y="19268"/>
                      <a:pt x="17172" y="16098"/>
                      <a:pt x="18189" y="11074"/>
                    </a:cubicBezTo>
                    <a:cubicBezTo>
                      <a:pt x="19206" y="6110"/>
                      <a:pt x="15976" y="1206"/>
                      <a:pt x="11012" y="190"/>
                    </a:cubicBezTo>
                    <a:cubicBezTo>
                      <a:pt x="6048" y="-827"/>
                      <a:pt x="1204" y="2343"/>
                      <a:pt x="187" y="7366"/>
                    </a:cubicBezTo>
                    <a:cubicBezTo>
                      <a:pt x="-830" y="12330"/>
                      <a:pt x="2400" y="17235"/>
                      <a:pt x="7364" y="18251"/>
                    </a:cubicBezTo>
                    <a:close/>
                  </a:path>
                </a:pathLst>
              </a:custGeom>
              <a:grpFill/>
              <a:ln w="5978" cap="flat">
                <a:noFill/>
                <a:prstDash val="solid"/>
                <a:miter/>
              </a:ln>
            </p:spPr>
            <p:txBody>
              <a:bodyPr rtlCol="0" anchor="ctr"/>
              <a:lstStyle/>
              <a:p>
                <a:endParaRPr lang="en-GB"/>
              </a:p>
            </p:txBody>
          </p:sp>
        </p:grpSp>
        <p:grpSp>
          <p:nvGrpSpPr>
            <p:cNvPr id="1058" name="Graphic 3">
              <a:extLst>
                <a:ext uri="{FF2B5EF4-FFF2-40B4-BE49-F238E27FC236}">
                  <a16:creationId xmlns:a16="http://schemas.microsoft.com/office/drawing/2014/main" id="{CAD4BA12-4E74-4A50-A3D9-90368D490B6B}"/>
                </a:ext>
              </a:extLst>
            </p:cNvPr>
            <p:cNvGrpSpPr/>
            <p:nvPr/>
          </p:nvGrpSpPr>
          <p:grpSpPr>
            <a:xfrm>
              <a:off x="4333563" y="3085747"/>
              <a:ext cx="67099" cy="27662"/>
              <a:chOff x="4333563" y="3085747"/>
              <a:chExt cx="67099" cy="27662"/>
            </a:xfrm>
            <a:grpFill/>
          </p:grpSpPr>
          <p:sp>
            <p:nvSpPr>
              <p:cNvPr id="2226" name="Vrije vorm: vorm 2225">
                <a:extLst>
                  <a:ext uri="{FF2B5EF4-FFF2-40B4-BE49-F238E27FC236}">
                    <a16:creationId xmlns:a16="http://schemas.microsoft.com/office/drawing/2014/main" id="{03D2B7A9-DD8D-4B42-9E88-E1348C744A83}"/>
                  </a:ext>
                </a:extLst>
              </p:cNvPr>
              <p:cNvSpPr/>
              <p:nvPr/>
            </p:nvSpPr>
            <p:spPr>
              <a:xfrm>
                <a:off x="4342023" y="3093389"/>
                <a:ext cx="50178" cy="12380"/>
              </a:xfrm>
              <a:custGeom>
                <a:avLst/>
                <a:gdLst>
                  <a:gd name="connsiteX0" fmla="*/ 50178 w 50178"/>
                  <a:gd name="connsiteY0" fmla="*/ 9330 h 12380"/>
                  <a:gd name="connsiteX1" fmla="*/ 49640 w 50178"/>
                  <a:gd name="connsiteY1" fmla="*/ 12380 h 12380"/>
                  <a:gd name="connsiteX2" fmla="*/ 0 w 50178"/>
                  <a:gd name="connsiteY2" fmla="*/ 3050 h 12380"/>
                  <a:gd name="connsiteX3" fmla="*/ 538 w 50178"/>
                  <a:gd name="connsiteY3" fmla="*/ 0 h 12380"/>
                </a:gdLst>
                <a:ahLst/>
                <a:cxnLst>
                  <a:cxn ang="0">
                    <a:pos x="connsiteX0" y="connsiteY0"/>
                  </a:cxn>
                  <a:cxn ang="0">
                    <a:pos x="connsiteX1" y="connsiteY1"/>
                  </a:cxn>
                  <a:cxn ang="0">
                    <a:pos x="connsiteX2" y="connsiteY2"/>
                  </a:cxn>
                  <a:cxn ang="0">
                    <a:pos x="connsiteX3" y="connsiteY3"/>
                  </a:cxn>
                </a:cxnLst>
                <a:rect l="l" t="t" r="r" b="b"/>
                <a:pathLst>
                  <a:path w="50178" h="12380">
                    <a:moveTo>
                      <a:pt x="50178" y="9330"/>
                    </a:moveTo>
                    <a:lnTo>
                      <a:pt x="49640" y="12380"/>
                    </a:lnTo>
                    <a:lnTo>
                      <a:pt x="0" y="3050"/>
                    </a:lnTo>
                    <a:lnTo>
                      <a:pt x="538" y="0"/>
                    </a:lnTo>
                    <a:close/>
                  </a:path>
                </a:pathLst>
              </a:custGeom>
              <a:grpFill/>
              <a:ln w="5978" cap="flat">
                <a:noFill/>
                <a:prstDash val="solid"/>
                <a:miter/>
              </a:ln>
            </p:spPr>
            <p:txBody>
              <a:bodyPr rtlCol="0" anchor="ctr"/>
              <a:lstStyle/>
              <a:p>
                <a:endParaRPr lang="en-GB"/>
              </a:p>
            </p:txBody>
          </p:sp>
          <p:sp>
            <p:nvSpPr>
              <p:cNvPr id="2227" name="Vrije vorm: vorm 2226">
                <a:extLst>
                  <a:ext uri="{FF2B5EF4-FFF2-40B4-BE49-F238E27FC236}">
                    <a16:creationId xmlns:a16="http://schemas.microsoft.com/office/drawing/2014/main" id="{B30958B7-FB50-41FF-88DA-A8F0203E26C8}"/>
                  </a:ext>
                </a:extLst>
              </p:cNvPr>
              <p:cNvSpPr/>
              <p:nvPr/>
            </p:nvSpPr>
            <p:spPr>
              <a:xfrm>
                <a:off x="4333563" y="3085747"/>
                <a:ext cx="18296" cy="18452"/>
              </a:xfrm>
              <a:custGeom>
                <a:avLst/>
                <a:gdLst>
                  <a:gd name="connsiteX0" fmla="*/ 7504 w 18296"/>
                  <a:gd name="connsiteY0" fmla="*/ 18287 h 18452"/>
                  <a:gd name="connsiteX1" fmla="*/ 147 w 18296"/>
                  <a:gd name="connsiteY1" fmla="*/ 7522 h 18452"/>
                  <a:gd name="connsiteX2" fmla="*/ 10793 w 18296"/>
                  <a:gd name="connsiteY2" fmla="*/ 165 h 18452"/>
                  <a:gd name="connsiteX3" fmla="*/ 18149 w 18296"/>
                  <a:gd name="connsiteY3" fmla="*/ 10931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2540" y="17330"/>
                      <a:pt x="-750" y="12546"/>
                      <a:pt x="147" y="7522"/>
                    </a:cubicBezTo>
                    <a:cubicBezTo>
                      <a:pt x="1045" y="2498"/>
                      <a:pt x="5829" y="-791"/>
                      <a:pt x="10793" y="165"/>
                    </a:cubicBezTo>
                    <a:cubicBezTo>
                      <a:pt x="15757" y="1122"/>
                      <a:pt x="19047" y="5907"/>
                      <a:pt x="18149" y="10931"/>
                    </a:cubicBezTo>
                    <a:cubicBezTo>
                      <a:pt x="17253" y="15955"/>
                      <a:pt x="12468" y="19244"/>
                      <a:pt x="7504" y="18287"/>
                    </a:cubicBezTo>
                    <a:close/>
                  </a:path>
                </a:pathLst>
              </a:custGeom>
              <a:grpFill/>
              <a:ln w="5978" cap="flat">
                <a:noFill/>
                <a:prstDash val="solid"/>
                <a:miter/>
              </a:ln>
            </p:spPr>
            <p:txBody>
              <a:bodyPr rtlCol="0" anchor="ctr"/>
              <a:lstStyle/>
              <a:p>
                <a:endParaRPr lang="en-GB"/>
              </a:p>
            </p:txBody>
          </p:sp>
          <p:sp>
            <p:nvSpPr>
              <p:cNvPr id="2228" name="Vrije vorm: vorm 2227">
                <a:extLst>
                  <a:ext uri="{FF2B5EF4-FFF2-40B4-BE49-F238E27FC236}">
                    <a16:creationId xmlns:a16="http://schemas.microsoft.com/office/drawing/2014/main" id="{29625A14-662F-4E3C-9C40-9F4ADD516B59}"/>
                  </a:ext>
                </a:extLst>
              </p:cNvPr>
              <p:cNvSpPr/>
              <p:nvPr/>
            </p:nvSpPr>
            <p:spPr>
              <a:xfrm>
                <a:off x="4382347" y="3094958"/>
                <a:ext cx="18314" cy="18452"/>
              </a:xfrm>
              <a:custGeom>
                <a:avLst/>
                <a:gdLst>
                  <a:gd name="connsiteX0" fmla="*/ 7522 w 18314"/>
                  <a:gd name="connsiteY0" fmla="*/ 18287 h 18452"/>
                  <a:gd name="connsiteX1" fmla="*/ 18168 w 18314"/>
                  <a:gd name="connsiteY1" fmla="*/ 10931 h 18452"/>
                  <a:gd name="connsiteX2" fmla="*/ 10811 w 18314"/>
                  <a:gd name="connsiteY2" fmla="*/ 166 h 18452"/>
                  <a:gd name="connsiteX3" fmla="*/ 166 w 18314"/>
                  <a:gd name="connsiteY3" fmla="*/ 7522 h 18452"/>
                  <a:gd name="connsiteX4" fmla="*/ 7522 w 18314"/>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52">
                    <a:moveTo>
                      <a:pt x="7522" y="18287"/>
                    </a:moveTo>
                    <a:cubicBezTo>
                      <a:pt x="12486" y="19244"/>
                      <a:pt x="17270" y="15955"/>
                      <a:pt x="18168" y="10931"/>
                    </a:cubicBezTo>
                    <a:cubicBezTo>
                      <a:pt x="19064" y="5907"/>
                      <a:pt x="15775" y="1122"/>
                      <a:pt x="10811" y="166"/>
                    </a:cubicBezTo>
                    <a:cubicBezTo>
                      <a:pt x="5847" y="-791"/>
                      <a:pt x="1062" y="2498"/>
                      <a:pt x="166" y="7522"/>
                    </a:cubicBezTo>
                    <a:cubicBezTo>
                      <a:pt x="-792" y="12486"/>
                      <a:pt x="2498" y="17330"/>
                      <a:pt x="7522" y="18287"/>
                    </a:cubicBezTo>
                    <a:close/>
                  </a:path>
                </a:pathLst>
              </a:custGeom>
              <a:grpFill/>
              <a:ln w="5978" cap="flat">
                <a:noFill/>
                <a:prstDash val="solid"/>
                <a:miter/>
              </a:ln>
            </p:spPr>
            <p:txBody>
              <a:bodyPr rtlCol="0" anchor="ctr"/>
              <a:lstStyle/>
              <a:p>
                <a:endParaRPr lang="en-GB"/>
              </a:p>
            </p:txBody>
          </p:sp>
        </p:grpSp>
        <p:grpSp>
          <p:nvGrpSpPr>
            <p:cNvPr id="1059" name="Graphic 3">
              <a:extLst>
                <a:ext uri="{FF2B5EF4-FFF2-40B4-BE49-F238E27FC236}">
                  <a16:creationId xmlns:a16="http://schemas.microsoft.com/office/drawing/2014/main" id="{1586E382-BB39-4457-9463-C7E156D0A530}"/>
                </a:ext>
              </a:extLst>
            </p:cNvPr>
            <p:cNvGrpSpPr/>
            <p:nvPr/>
          </p:nvGrpSpPr>
          <p:grpSpPr>
            <a:xfrm>
              <a:off x="4273250" y="3005298"/>
              <a:ext cx="115157" cy="40359"/>
              <a:chOff x="4273250" y="3005298"/>
              <a:chExt cx="115157" cy="40359"/>
            </a:xfrm>
            <a:grpFill/>
          </p:grpSpPr>
          <p:sp>
            <p:nvSpPr>
              <p:cNvPr id="2223" name="Vrije vorm: vorm 2222">
                <a:extLst>
                  <a:ext uri="{FF2B5EF4-FFF2-40B4-BE49-F238E27FC236}">
                    <a16:creationId xmlns:a16="http://schemas.microsoft.com/office/drawing/2014/main" id="{0E90FD1C-7441-4C00-B2D4-C8779754D09F}"/>
                  </a:ext>
                </a:extLst>
              </p:cNvPr>
              <p:cNvSpPr/>
              <p:nvPr/>
            </p:nvSpPr>
            <p:spPr>
              <a:xfrm>
                <a:off x="4281678" y="3012888"/>
                <a:ext cx="98323" cy="25178"/>
              </a:xfrm>
              <a:custGeom>
                <a:avLst/>
                <a:gdLst>
                  <a:gd name="connsiteX0" fmla="*/ 98323 w 98323"/>
                  <a:gd name="connsiteY0" fmla="*/ 22188 h 25178"/>
                  <a:gd name="connsiteX1" fmla="*/ 97665 w 98323"/>
                  <a:gd name="connsiteY1" fmla="*/ 25179 h 25178"/>
                  <a:gd name="connsiteX2" fmla="*/ 0 w 98323"/>
                  <a:gd name="connsiteY2" fmla="*/ 2990 h 25178"/>
                  <a:gd name="connsiteX3" fmla="*/ 658 w 98323"/>
                  <a:gd name="connsiteY3" fmla="*/ 0 h 25178"/>
                </a:gdLst>
                <a:ahLst/>
                <a:cxnLst>
                  <a:cxn ang="0">
                    <a:pos x="connsiteX0" y="connsiteY0"/>
                  </a:cxn>
                  <a:cxn ang="0">
                    <a:pos x="connsiteX1" y="connsiteY1"/>
                  </a:cxn>
                  <a:cxn ang="0">
                    <a:pos x="connsiteX2" y="connsiteY2"/>
                  </a:cxn>
                  <a:cxn ang="0">
                    <a:pos x="connsiteX3" y="connsiteY3"/>
                  </a:cxn>
                </a:cxnLst>
                <a:rect l="l" t="t" r="r" b="b"/>
                <a:pathLst>
                  <a:path w="98323" h="25178">
                    <a:moveTo>
                      <a:pt x="98323" y="22188"/>
                    </a:moveTo>
                    <a:lnTo>
                      <a:pt x="97665" y="25179"/>
                    </a:lnTo>
                    <a:lnTo>
                      <a:pt x="0" y="2990"/>
                    </a:lnTo>
                    <a:lnTo>
                      <a:pt x="658" y="0"/>
                    </a:lnTo>
                    <a:close/>
                  </a:path>
                </a:pathLst>
              </a:custGeom>
              <a:grpFill/>
              <a:ln w="5978" cap="flat">
                <a:noFill/>
                <a:prstDash val="solid"/>
                <a:miter/>
              </a:ln>
            </p:spPr>
            <p:txBody>
              <a:bodyPr rtlCol="0" anchor="ctr"/>
              <a:lstStyle/>
              <a:p>
                <a:endParaRPr lang="en-GB"/>
              </a:p>
            </p:txBody>
          </p:sp>
          <p:sp>
            <p:nvSpPr>
              <p:cNvPr id="2224" name="Vrije vorm: vorm 2223">
                <a:extLst>
                  <a:ext uri="{FF2B5EF4-FFF2-40B4-BE49-F238E27FC236}">
                    <a16:creationId xmlns:a16="http://schemas.microsoft.com/office/drawing/2014/main" id="{B620E6A2-D7B4-4C0A-97BD-0C71CACD5AA2}"/>
                  </a:ext>
                </a:extLst>
              </p:cNvPr>
              <p:cNvSpPr/>
              <p:nvPr/>
            </p:nvSpPr>
            <p:spPr>
              <a:xfrm>
                <a:off x="4273250" y="3005298"/>
                <a:ext cx="18350" cy="18389"/>
              </a:xfrm>
              <a:custGeom>
                <a:avLst/>
                <a:gdLst>
                  <a:gd name="connsiteX0" fmla="*/ 7172 w 18350"/>
                  <a:gd name="connsiteY0" fmla="*/ 18176 h 18389"/>
                  <a:gd name="connsiteX1" fmla="*/ 234 w 18350"/>
                  <a:gd name="connsiteY1" fmla="*/ 7172 h 18389"/>
                  <a:gd name="connsiteX2" fmla="*/ 11179 w 18350"/>
                  <a:gd name="connsiteY2" fmla="*/ 234 h 18389"/>
                  <a:gd name="connsiteX3" fmla="*/ 18116 w 18350"/>
                  <a:gd name="connsiteY3" fmla="*/ 11239 h 18389"/>
                  <a:gd name="connsiteX4" fmla="*/ 7172 w 18350"/>
                  <a:gd name="connsiteY4" fmla="*/ 18176 h 18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89">
                    <a:moveTo>
                      <a:pt x="7172" y="18176"/>
                    </a:moveTo>
                    <a:cubicBezTo>
                      <a:pt x="2208" y="17040"/>
                      <a:pt x="-902" y="12136"/>
                      <a:pt x="234" y="7172"/>
                    </a:cubicBezTo>
                    <a:cubicBezTo>
                      <a:pt x="1311" y="2208"/>
                      <a:pt x="6215" y="-902"/>
                      <a:pt x="11179" y="234"/>
                    </a:cubicBezTo>
                    <a:cubicBezTo>
                      <a:pt x="16143" y="1370"/>
                      <a:pt x="19253" y="6275"/>
                      <a:pt x="18116" y="11239"/>
                    </a:cubicBezTo>
                    <a:cubicBezTo>
                      <a:pt x="17040" y="16143"/>
                      <a:pt x="12136" y="19253"/>
                      <a:pt x="7172" y="18176"/>
                    </a:cubicBezTo>
                    <a:close/>
                  </a:path>
                </a:pathLst>
              </a:custGeom>
              <a:grpFill/>
              <a:ln w="5978" cap="flat">
                <a:noFill/>
                <a:prstDash val="solid"/>
                <a:miter/>
              </a:ln>
            </p:spPr>
            <p:txBody>
              <a:bodyPr rtlCol="0" anchor="ctr"/>
              <a:lstStyle/>
              <a:p>
                <a:endParaRPr lang="en-GB"/>
              </a:p>
            </p:txBody>
          </p:sp>
          <p:sp>
            <p:nvSpPr>
              <p:cNvPr id="2225" name="Vrije vorm: vorm 2224">
                <a:extLst>
                  <a:ext uri="{FF2B5EF4-FFF2-40B4-BE49-F238E27FC236}">
                    <a16:creationId xmlns:a16="http://schemas.microsoft.com/office/drawing/2014/main" id="{CA5CFBA9-B089-477D-9340-0BE25EE25211}"/>
                  </a:ext>
                </a:extLst>
              </p:cNvPr>
              <p:cNvSpPr/>
              <p:nvPr/>
            </p:nvSpPr>
            <p:spPr>
              <a:xfrm>
                <a:off x="4370078" y="3027247"/>
                <a:ext cx="18329" cy="18410"/>
              </a:xfrm>
              <a:custGeom>
                <a:avLst/>
                <a:gdLst>
                  <a:gd name="connsiteX0" fmla="*/ 7172 w 18329"/>
                  <a:gd name="connsiteY0" fmla="*/ 18176 h 18410"/>
                  <a:gd name="connsiteX1" fmla="*/ 18116 w 18329"/>
                  <a:gd name="connsiteY1" fmla="*/ 11239 h 18410"/>
                  <a:gd name="connsiteX2" fmla="*/ 11179 w 18329"/>
                  <a:gd name="connsiteY2" fmla="*/ 234 h 18410"/>
                  <a:gd name="connsiteX3" fmla="*/ 234 w 18329"/>
                  <a:gd name="connsiteY3" fmla="*/ 7172 h 18410"/>
                  <a:gd name="connsiteX4" fmla="*/ 7172 w 18329"/>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0">
                    <a:moveTo>
                      <a:pt x="7172" y="18176"/>
                    </a:moveTo>
                    <a:cubicBezTo>
                      <a:pt x="12136" y="19313"/>
                      <a:pt x="16980" y="16203"/>
                      <a:pt x="18116" y="11239"/>
                    </a:cubicBezTo>
                    <a:cubicBezTo>
                      <a:pt x="19193" y="6275"/>
                      <a:pt x="16083" y="1371"/>
                      <a:pt x="11179" y="234"/>
                    </a:cubicBezTo>
                    <a:cubicBezTo>
                      <a:pt x="6274" y="-902"/>
                      <a:pt x="1370" y="2208"/>
                      <a:pt x="234" y="7172"/>
                    </a:cubicBezTo>
                    <a:cubicBezTo>
                      <a:pt x="-902" y="12136"/>
                      <a:pt x="2208" y="17100"/>
                      <a:pt x="7172" y="18176"/>
                    </a:cubicBezTo>
                    <a:close/>
                  </a:path>
                </a:pathLst>
              </a:custGeom>
              <a:grpFill/>
              <a:ln w="5978" cap="flat">
                <a:noFill/>
                <a:prstDash val="solid"/>
                <a:miter/>
              </a:ln>
            </p:spPr>
            <p:txBody>
              <a:bodyPr rtlCol="0" anchor="ctr"/>
              <a:lstStyle/>
              <a:p>
                <a:endParaRPr lang="en-GB"/>
              </a:p>
            </p:txBody>
          </p:sp>
        </p:grpSp>
        <p:grpSp>
          <p:nvGrpSpPr>
            <p:cNvPr id="1060" name="Graphic 3">
              <a:extLst>
                <a:ext uri="{FF2B5EF4-FFF2-40B4-BE49-F238E27FC236}">
                  <a16:creationId xmlns:a16="http://schemas.microsoft.com/office/drawing/2014/main" id="{EB3C48B9-C391-44A2-A501-95DE9488BF17}"/>
                </a:ext>
              </a:extLst>
            </p:cNvPr>
            <p:cNvGrpSpPr/>
            <p:nvPr/>
          </p:nvGrpSpPr>
          <p:grpSpPr>
            <a:xfrm>
              <a:off x="3966150" y="2549958"/>
              <a:ext cx="498573" cy="250039"/>
              <a:chOff x="3966150" y="2549958"/>
              <a:chExt cx="498573" cy="250039"/>
            </a:xfrm>
            <a:grpFill/>
          </p:grpSpPr>
          <p:sp>
            <p:nvSpPr>
              <p:cNvPr id="2220" name="Vrije vorm: vorm 2219">
                <a:extLst>
                  <a:ext uri="{FF2B5EF4-FFF2-40B4-BE49-F238E27FC236}">
                    <a16:creationId xmlns:a16="http://schemas.microsoft.com/office/drawing/2014/main" id="{5423628D-6EC6-4576-9655-A3EC854806A3}"/>
                  </a:ext>
                </a:extLst>
              </p:cNvPr>
              <p:cNvSpPr/>
              <p:nvPr/>
            </p:nvSpPr>
            <p:spPr>
              <a:xfrm>
                <a:off x="3974269" y="2557576"/>
                <a:ext cx="482345" cy="234743"/>
              </a:xfrm>
              <a:custGeom>
                <a:avLst/>
                <a:gdLst>
                  <a:gd name="connsiteX0" fmla="*/ 482345 w 482345"/>
                  <a:gd name="connsiteY0" fmla="*/ 231992 h 234743"/>
                  <a:gd name="connsiteX1" fmla="*/ 481029 w 482345"/>
                  <a:gd name="connsiteY1" fmla="*/ 234743 h 234743"/>
                  <a:gd name="connsiteX2" fmla="*/ 0 w 482345"/>
                  <a:gd name="connsiteY2" fmla="*/ 2811 h 234743"/>
                  <a:gd name="connsiteX3" fmla="*/ 1256 w 482345"/>
                  <a:gd name="connsiteY3" fmla="*/ 0 h 234743"/>
                </a:gdLst>
                <a:ahLst/>
                <a:cxnLst>
                  <a:cxn ang="0">
                    <a:pos x="connsiteX0" y="connsiteY0"/>
                  </a:cxn>
                  <a:cxn ang="0">
                    <a:pos x="connsiteX1" y="connsiteY1"/>
                  </a:cxn>
                  <a:cxn ang="0">
                    <a:pos x="connsiteX2" y="connsiteY2"/>
                  </a:cxn>
                  <a:cxn ang="0">
                    <a:pos x="connsiteX3" y="connsiteY3"/>
                  </a:cxn>
                </a:cxnLst>
                <a:rect l="l" t="t" r="r" b="b"/>
                <a:pathLst>
                  <a:path w="482345" h="234743">
                    <a:moveTo>
                      <a:pt x="482345" y="231992"/>
                    </a:moveTo>
                    <a:lnTo>
                      <a:pt x="481029" y="234743"/>
                    </a:lnTo>
                    <a:lnTo>
                      <a:pt x="0" y="2811"/>
                    </a:lnTo>
                    <a:lnTo>
                      <a:pt x="1256" y="0"/>
                    </a:lnTo>
                    <a:close/>
                  </a:path>
                </a:pathLst>
              </a:custGeom>
              <a:grpFill/>
              <a:ln w="5978" cap="flat">
                <a:noFill/>
                <a:prstDash val="solid"/>
                <a:miter/>
              </a:ln>
            </p:spPr>
            <p:txBody>
              <a:bodyPr rtlCol="0" anchor="ctr"/>
              <a:lstStyle/>
              <a:p>
                <a:endParaRPr lang="en-GB"/>
              </a:p>
            </p:txBody>
          </p:sp>
          <p:sp>
            <p:nvSpPr>
              <p:cNvPr id="2221" name="Vrije vorm: vorm 2220">
                <a:extLst>
                  <a:ext uri="{FF2B5EF4-FFF2-40B4-BE49-F238E27FC236}">
                    <a16:creationId xmlns:a16="http://schemas.microsoft.com/office/drawing/2014/main" id="{8FE2A95B-48D1-4DF6-A05A-05E3D3CAA9C1}"/>
                  </a:ext>
                </a:extLst>
              </p:cNvPr>
              <p:cNvSpPr/>
              <p:nvPr/>
            </p:nvSpPr>
            <p:spPr>
              <a:xfrm>
                <a:off x="4446412" y="2781531"/>
                <a:ext cx="18311" cy="18465"/>
              </a:xfrm>
              <a:custGeom>
                <a:avLst/>
                <a:gdLst>
                  <a:gd name="connsiteX0" fmla="*/ 13073 w 18311"/>
                  <a:gd name="connsiteY0" fmla="*/ 920 h 18465"/>
                  <a:gd name="connsiteX1" fmla="*/ 17439 w 18311"/>
                  <a:gd name="connsiteY1" fmla="*/ 13240 h 18465"/>
                  <a:gd name="connsiteX2" fmla="*/ 5238 w 18311"/>
                  <a:gd name="connsiteY2" fmla="*/ 17546 h 18465"/>
                  <a:gd name="connsiteX3" fmla="*/ 873 w 18311"/>
                  <a:gd name="connsiteY3" fmla="*/ 5226 h 18465"/>
                  <a:gd name="connsiteX4" fmla="*/ 13073 w 18311"/>
                  <a:gd name="connsiteY4" fmla="*/ 92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65">
                    <a:moveTo>
                      <a:pt x="13073" y="920"/>
                    </a:moveTo>
                    <a:cubicBezTo>
                      <a:pt x="17618" y="3133"/>
                      <a:pt x="19592" y="8635"/>
                      <a:pt x="17439" y="13240"/>
                    </a:cubicBezTo>
                    <a:cubicBezTo>
                      <a:pt x="15286" y="17845"/>
                      <a:pt x="9784" y="19759"/>
                      <a:pt x="5238" y="17546"/>
                    </a:cubicBezTo>
                    <a:cubicBezTo>
                      <a:pt x="693" y="15333"/>
                      <a:pt x="-1281" y="9831"/>
                      <a:pt x="873" y="5226"/>
                    </a:cubicBezTo>
                    <a:cubicBezTo>
                      <a:pt x="3025" y="621"/>
                      <a:pt x="8468" y="-1293"/>
                      <a:pt x="13073" y="920"/>
                    </a:cubicBezTo>
                    <a:close/>
                  </a:path>
                </a:pathLst>
              </a:custGeom>
              <a:grpFill/>
              <a:ln w="5978" cap="flat">
                <a:noFill/>
                <a:prstDash val="solid"/>
                <a:miter/>
              </a:ln>
            </p:spPr>
            <p:txBody>
              <a:bodyPr rtlCol="0" anchor="ctr"/>
              <a:lstStyle/>
              <a:p>
                <a:endParaRPr lang="en-GB"/>
              </a:p>
            </p:txBody>
          </p:sp>
          <p:sp>
            <p:nvSpPr>
              <p:cNvPr id="2222" name="Vrije vorm: vorm 2221">
                <a:extLst>
                  <a:ext uri="{FF2B5EF4-FFF2-40B4-BE49-F238E27FC236}">
                    <a16:creationId xmlns:a16="http://schemas.microsoft.com/office/drawing/2014/main" id="{8172B54F-8002-4FC3-BC2D-1C5BE293A8F6}"/>
                  </a:ext>
                </a:extLst>
              </p:cNvPr>
              <p:cNvSpPr/>
              <p:nvPr/>
            </p:nvSpPr>
            <p:spPr>
              <a:xfrm>
                <a:off x="3966150" y="2549958"/>
                <a:ext cx="18331" cy="18465"/>
              </a:xfrm>
              <a:custGeom>
                <a:avLst/>
                <a:gdLst>
                  <a:gd name="connsiteX0" fmla="*/ 13083 w 18331"/>
                  <a:gd name="connsiteY0" fmla="*/ 920 h 18465"/>
                  <a:gd name="connsiteX1" fmla="*/ 882 w 18331"/>
                  <a:gd name="connsiteY1" fmla="*/ 5226 h 18465"/>
                  <a:gd name="connsiteX2" fmla="*/ 5248 w 18331"/>
                  <a:gd name="connsiteY2" fmla="*/ 17546 h 18465"/>
                  <a:gd name="connsiteX3" fmla="*/ 17449 w 18331"/>
                  <a:gd name="connsiteY3" fmla="*/ 13240 h 18465"/>
                  <a:gd name="connsiteX4" fmla="*/ 13083 w 18331"/>
                  <a:gd name="connsiteY4" fmla="*/ 92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65">
                    <a:moveTo>
                      <a:pt x="13083" y="920"/>
                    </a:moveTo>
                    <a:cubicBezTo>
                      <a:pt x="8538" y="-1293"/>
                      <a:pt x="3036" y="621"/>
                      <a:pt x="882" y="5226"/>
                    </a:cubicBezTo>
                    <a:cubicBezTo>
                      <a:pt x="-1271" y="9831"/>
                      <a:pt x="643" y="15333"/>
                      <a:pt x="5248" y="17546"/>
                    </a:cubicBezTo>
                    <a:cubicBezTo>
                      <a:pt x="9853" y="19759"/>
                      <a:pt x="15296" y="17845"/>
                      <a:pt x="17449" y="13240"/>
                    </a:cubicBezTo>
                    <a:cubicBezTo>
                      <a:pt x="19602" y="8635"/>
                      <a:pt x="17688" y="3133"/>
                      <a:pt x="13083" y="920"/>
                    </a:cubicBezTo>
                    <a:close/>
                  </a:path>
                </a:pathLst>
              </a:custGeom>
              <a:grpFill/>
              <a:ln w="5978" cap="flat">
                <a:noFill/>
                <a:prstDash val="solid"/>
                <a:miter/>
              </a:ln>
            </p:spPr>
            <p:txBody>
              <a:bodyPr rtlCol="0" anchor="ctr"/>
              <a:lstStyle/>
              <a:p>
                <a:endParaRPr lang="en-GB"/>
              </a:p>
            </p:txBody>
          </p:sp>
        </p:grpSp>
        <p:grpSp>
          <p:nvGrpSpPr>
            <p:cNvPr id="1061" name="Graphic 3">
              <a:extLst>
                <a:ext uri="{FF2B5EF4-FFF2-40B4-BE49-F238E27FC236}">
                  <a16:creationId xmlns:a16="http://schemas.microsoft.com/office/drawing/2014/main" id="{B07171F7-B3F1-429D-8805-EF53AEB22592}"/>
                </a:ext>
              </a:extLst>
            </p:cNvPr>
            <p:cNvGrpSpPr/>
            <p:nvPr/>
          </p:nvGrpSpPr>
          <p:grpSpPr>
            <a:xfrm>
              <a:off x="4843072" y="4842312"/>
              <a:ext cx="363029" cy="514543"/>
              <a:chOff x="4843072" y="4842312"/>
              <a:chExt cx="363029" cy="514543"/>
            </a:xfrm>
            <a:grpFill/>
          </p:grpSpPr>
          <p:sp>
            <p:nvSpPr>
              <p:cNvPr id="2217" name="Vrije vorm: vorm 2216">
                <a:extLst>
                  <a:ext uri="{FF2B5EF4-FFF2-40B4-BE49-F238E27FC236}">
                    <a16:creationId xmlns:a16="http://schemas.microsoft.com/office/drawing/2014/main" id="{F3A37C04-B0A9-4DDD-BB78-8207AAF83B9C}"/>
                  </a:ext>
                </a:extLst>
              </p:cNvPr>
              <p:cNvSpPr/>
              <p:nvPr/>
            </p:nvSpPr>
            <p:spPr>
              <a:xfrm>
                <a:off x="4850684" y="4850286"/>
                <a:ext cx="347779" cy="498612"/>
              </a:xfrm>
              <a:custGeom>
                <a:avLst/>
                <a:gdLst>
                  <a:gd name="connsiteX0" fmla="*/ 347779 w 347779"/>
                  <a:gd name="connsiteY0" fmla="*/ 1734 h 498612"/>
                  <a:gd name="connsiteX1" fmla="*/ 2512 w 347779"/>
                  <a:gd name="connsiteY1" fmla="*/ 498613 h 498612"/>
                  <a:gd name="connsiteX2" fmla="*/ 0 w 347779"/>
                  <a:gd name="connsiteY2" fmla="*/ 496878 h 498612"/>
                  <a:gd name="connsiteX3" fmla="*/ 345267 w 347779"/>
                  <a:gd name="connsiteY3" fmla="*/ 0 h 498612"/>
                </a:gdLst>
                <a:ahLst/>
                <a:cxnLst>
                  <a:cxn ang="0">
                    <a:pos x="connsiteX0" y="connsiteY0"/>
                  </a:cxn>
                  <a:cxn ang="0">
                    <a:pos x="connsiteX1" y="connsiteY1"/>
                  </a:cxn>
                  <a:cxn ang="0">
                    <a:pos x="connsiteX2" y="connsiteY2"/>
                  </a:cxn>
                  <a:cxn ang="0">
                    <a:pos x="connsiteX3" y="connsiteY3"/>
                  </a:cxn>
                </a:cxnLst>
                <a:rect l="l" t="t" r="r" b="b"/>
                <a:pathLst>
                  <a:path w="347779" h="498612">
                    <a:moveTo>
                      <a:pt x="347779" y="1734"/>
                    </a:moveTo>
                    <a:lnTo>
                      <a:pt x="2512" y="498613"/>
                    </a:lnTo>
                    <a:lnTo>
                      <a:pt x="0" y="496878"/>
                    </a:lnTo>
                    <a:lnTo>
                      <a:pt x="345267" y="0"/>
                    </a:lnTo>
                    <a:close/>
                  </a:path>
                </a:pathLst>
              </a:custGeom>
              <a:grpFill/>
              <a:ln w="5978" cap="flat">
                <a:noFill/>
                <a:prstDash val="solid"/>
                <a:miter/>
              </a:ln>
            </p:spPr>
            <p:txBody>
              <a:bodyPr rtlCol="0" anchor="ctr"/>
              <a:lstStyle/>
              <a:p>
                <a:endParaRPr lang="en-GB"/>
              </a:p>
            </p:txBody>
          </p:sp>
          <p:sp>
            <p:nvSpPr>
              <p:cNvPr id="2218" name="Vrije vorm: vorm 2217">
                <a:extLst>
                  <a:ext uri="{FF2B5EF4-FFF2-40B4-BE49-F238E27FC236}">
                    <a16:creationId xmlns:a16="http://schemas.microsoft.com/office/drawing/2014/main" id="{9FB76DF4-EE2B-495A-AA47-8AC033051FFD}"/>
                  </a:ext>
                </a:extLst>
              </p:cNvPr>
              <p:cNvSpPr/>
              <p:nvPr/>
            </p:nvSpPr>
            <p:spPr>
              <a:xfrm>
                <a:off x="5187774" y="4842312"/>
                <a:ext cx="18326" cy="18472"/>
              </a:xfrm>
              <a:custGeom>
                <a:avLst/>
                <a:gdLst>
                  <a:gd name="connsiteX0" fmla="*/ 1658 w 18326"/>
                  <a:gd name="connsiteY0" fmla="*/ 3907 h 18472"/>
                  <a:gd name="connsiteX1" fmla="*/ 14397 w 18326"/>
                  <a:gd name="connsiteY1" fmla="*/ 1694 h 18472"/>
                  <a:gd name="connsiteX2" fmla="*/ 16669 w 18326"/>
                  <a:gd name="connsiteY2" fmla="*/ 14553 h 18472"/>
                  <a:gd name="connsiteX3" fmla="*/ 3930 w 18326"/>
                  <a:gd name="connsiteY3" fmla="*/ 16825 h 18472"/>
                  <a:gd name="connsiteX4" fmla="*/ 1658 w 18326"/>
                  <a:gd name="connsiteY4" fmla="*/ 3907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72">
                    <a:moveTo>
                      <a:pt x="1658" y="3907"/>
                    </a:moveTo>
                    <a:cubicBezTo>
                      <a:pt x="4528" y="-280"/>
                      <a:pt x="10270" y="-1237"/>
                      <a:pt x="14397" y="1694"/>
                    </a:cubicBezTo>
                    <a:cubicBezTo>
                      <a:pt x="18523" y="4625"/>
                      <a:pt x="19600" y="10366"/>
                      <a:pt x="16669" y="14553"/>
                    </a:cubicBezTo>
                    <a:cubicBezTo>
                      <a:pt x="13739" y="18739"/>
                      <a:pt x="8057" y="19696"/>
                      <a:pt x="3930" y="16825"/>
                    </a:cubicBezTo>
                    <a:cubicBezTo>
                      <a:pt x="-196" y="13835"/>
                      <a:pt x="-1273" y="8093"/>
                      <a:pt x="1658" y="3907"/>
                    </a:cubicBezTo>
                    <a:close/>
                  </a:path>
                </a:pathLst>
              </a:custGeom>
              <a:grpFill/>
              <a:ln w="5978" cap="flat">
                <a:noFill/>
                <a:prstDash val="solid"/>
                <a:miter/>
              </a:ln>
            </p:spPr>
            <p:txBody>
              <a:bodyPr rtlCol="0" anchor="ctr"/>
              <a:lstStyle/>
              <a:p>
                <a:endParaRPr lang="en-GB"/>
              </a:p>
            </p:txBody>
          </p:sp>
          <p:sp>
            <p:nvSpPr>
              <p:cNvPr id="2219" name="Vrije vorm: vorm 2218">
                <a:extLst>
                  <a:ext uri="{FF2B5EF4-FFF2-40B4-BE49-F238E27FC236}">
                    <a16:creationId xmlns:a16="http://schemas.microsoft.com/office/drawing/2014/main" id="{29AAB457-0EF2-4BE4-B4E0-DDE3AB9B0F81}"/>
                  </a:ext>
                </a:extLst>
              </p:cNvPr>
              <p:cNvSpPr/>
              <p:nvPr/>
            </p:nvSpPr>
            <p:spPr>
              <a:xfrm>
                <a:off x="4843072" y="5338429"/>
                <a:ext cx="18274" cy="18426"/>
              </a:xfrm>
              <a:custGeom>
                <a:avLst/>
                <a:gdLst>
                  <a:gd name="connsiteX0" fmla="*/ 1631 w 18274"/>
                  <a:gd name="connsiteY0" fmla="*/ 3890 h 18426"/>
                  <a:gd name="connsiteX1" fmla="*/ 3904 w 18274"/>
                  <a:gd name="connsiteY1" fmla="*/ 16749 h 18426"/>
                  <a:gd name="connsiteX2" fmla="*/ 16643 w 18274"/>
                  <a:gd name="connsiteY2" fmla="*/ 14536 h 18426"/>
                  <a:gd name="connsiteX3" fmla="*/ 14370 w 18274"/>
                  <a:gd name="connsiteY3" fmla="*/ 1677 h 18426"/>
                  <a:gd name="connsiteX4" fmla="*/ 1631 w 18274"/>
                  <a:gd name="connsiteY4" fmla="*/ 389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26">
                    <a:moveTo>
                      <a:pt x="1631" y="3890"/>
                    </a:moveTo>
                    <a:cubicBezTo>
                      <a:pt x="-1239" y="8077"/>
                      <a:pt x="-223" y="13818"/>
                      <a:pt x="3904" y="16749"/>
                    </a:cubicBezTo>
                    <a:cubicBezTo>
                      <a:pt x="8031" y="19679"/>
                      <a:pt x="13772" y="18663"/>
                      <a:pt x="16643" y="14536"/>
                    </a:cubicBezTo>
                    <a:cubicBezTo>
                      <a:pt x="19514" y="10349"/>
                      <a:pt x="18497" y="4608"/>
                      <a:pt x="14370" y="1677"/>
                    </a:cubicBezTo>
                    <a:cubicBezTo>
                      <a:pt x="10244" y="-1253"/>
                      <a:pt x="4502" y="-237"/>
                      <a:pt x="1631" y="3890"/>
                    </a:cubicBezTo>
                    <a:close/>
                  </a:path>
                </a:pathLst>
              </a:custGeom>
              <a:grpFill/>
              <a:ln w="5978" cap="flat">
                <a:noFill/>
                <a:prstDash val="solid"/>
                <a:miter/>
              </a:ln>
            </p:spPr>
            <p:txBody>
              <a:bodyPr rtlCol="0" anchor="ctr"/>
              <a:lstStyle/>
              <a:p>
                <a:endParaRPr lang="en-GB"/>
              </a:p>
            </p:txBody>
          </p:sp>
        </p:grpSp>
        <p:grpSp>
          <p:nvGrpSpPr>
            <p:cNvPr id="1062" name="Graphic 3">
              <a:extLst>
                <a:ext uri="{FF2B5EF4-FFF2-40B4-BE49-F238E27FC236}">
                  <a16:creationId xmlns:a16="http://schemas.microsoft.com/office/drawing/2014/main" id="{8F9A649B-DF94-4167-BF1D-EEC5C4C72FB0}"/>
                </a:ext>
              </a:extLst>
            </p:cNvPr>
            <p:cNvGrpSpPr/>
            <p:nvPr/>
          </p:nvGrpSpPr>
          <p:grpSpPr>
            <a:xfrm>
              <a:off x="4207676" y="2954074"/>
              <a:ext cx="200873" cy="63443"/>
              <a:chOff x="4207676" y="2954074"/>
              <a:chExt cx="200873" cy="63443"/>
            </a:xfrm>
            <a:grpFill/>
          </p:grpSpPr>
          <p:sp>
            <p:nvSpPr>
              <p:cNvPr id="2214" name="Vrije vorm: vorm 2213">
                <a:extLst>
                  <a:ext uri="{FF2B5EF4-FFF2-40B4-BE49-F238E27FC236}">
                    <a16:creationId xmlns:a16="http://schemas.microsoft.com/office/drawing/2014/main" id="{ADAE84EA-4353-4903-899C-703701052697}"/>
                  </a:ext>
                </a:extLst>
              </p:cNvPr>
              <p:cNvSpPr/>
              <p:nvPr/>
            </p:nvSpPr>
            <p:spPr>
              <a:xfrm>
                <a:off x="4216069" y="2961693"/>
                <a:ext cx="184086" cy="48204"/>
              </a:xfrm>
              <a:custGeom>
                <a:avLst/>
                <a:gdLst>
                  <a:gd name="connsiteX0" fmla="*/ 184087 w 184086"/>
                  <a:gd name="connsiteY0" fmla="*/ 45274 h 48204"/>
                  <a:gd name="connsiteX1" fmla="*/ 183369 w 184086"/>
                  <a:gd name="connsiteY1" fmla="*/ 48205 h 48204"/>
                  <a:gd name="connsiteX2" fmla="*/ 0 w 184086"/>
                  <a:gd name="connsiteY2" fmla="*/ 2930 h 48204"/>
                  <a:gd name="connsiteX3" fmla="*/ 718 w 184086"/>
                  <a:gd name="connsiteY3" fmla="*/ 0 h 48204"/>
                </a:gdLst>
                <a:ahLst/>
                <a:cxnLst>
                  <a:cxn ang="0">
                    <a:pos x="connsiteX0" y="connsiteY0"/>
                  </a:cxn>
                  <a:cxn ang="0">
                    <a:pos x="connsiteX1" y="connsiteY1"/>
                  </a:cxn>
                  <a:cxn ang="0">
                    <a:pos x="connsiteX2" y="connsiteY2"/>
                  </a:cxn>
                  <a:cxn ang="0">
                    <a:pos x="connsiteX3" y="connsiteY3"/>
                  </a:cxn>
                </a:cxnLst>
                <a:rect l="l" t="t" r="r" b="b"/>
                <a:pathLst>
                  <a:path w="184086" h="48204">
                    <a:moveTo>
                      <a:pt x="184087" y="45274"/>
                    </a:moveTo>
                    <a:lnTo>
                      <a:pt x="183369" y="48205"/>
                    </a:lnTo>
                    <a:lnTo>
                      <a:pt x="0" y="2930"/>
                    </a:lnTo>
                    <a:lnTo>
                      <a:pt x="718" y="0"/>
                    </a:lnTo>
                    <a:close/>
                  </a:path>
                </a:pathLst>
              </a:custGeom>
              <a:grpFill/>
              <a:ln w="5978" cap="flat">
                <a:noFill/>
                <a:prstDash val="solid"/>
                <a:miter/>
              </a:ln>
            </p:spPr>
            <p:txBody>
              <a:bodyPr rtlCol="0" anchor="ctr"/>
              <a:lstStyle/>
              <a:p>
                <a:endParaRPr lang="en-GB"/>
              </a:p>
            </p:txBody>
          </p:sp>
          <p:sp>
            <p:nvSpPr>
              <p:cNvPr id="2215" name="Vrije vorm: vorm 2214">
                <a:extLst>
                  <a:ext uri="{FF2B5EF4-FFF2-40B4-BE49-F238E27FC236}">
                    <a16:creationId xmlns:a16="http://schemas.microsoft.com/office/drawing/2014/main" id="{62EEFD9A-EBCE-42EF-AD65-55E0D5B4ECA1}"/>
                  </a:ext>
                </a:extLst>
              </p:cNvPr>
              <p:cNvSpPr/>
              <p:nvPr/>
            </p:nvSpPr>
            <p:spPr>
              <a:xfrm>
                <a:off x="4207676" y="2954074"/>
                <a:ext cx="18342" cy="18408"/>
              </a:xfrm>
              <a:custGeom>
                <a:avLst/>
                <a:gdLst>
                  <a:gd name="connsiteX0" fmla="*/ 7018 w 18342"/>
                  <a:gd name="connsiteY0" fmla="*/ 18146 h 18408"/>
                  <a:gd name="connsiteX1" fmla="*/ 260 w 18342"/>
                  <a:gd name="connsiteY1" fmla="*/ 7021 h 18408"/>
                  <a:gd name="connsiteX2" fmla="*/ 11324 w 18342"/>
                  <a:gd name="connsiteY2" fmla="*/ 263 h 18408"/>
                  <a:gd name="connsiteX3" fmla="*/ 18082 w 18342"/>
                  <a:gd name="connsiteY3" fmla="*/ 11387 h 18408"/>
                  <a:gd name="connsiteX4" fmla="*/ 7018 w 18342"/>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7018" y="18146"/>
                    </a:moveTo>
                    <a:cubicBezTo>
                      <a:pt x="2114" y="16949"/>
                      <a:pt x="-936" y="11926"/>
                      <a:pt x="260" y="7021"/>
                    </a:cubicBezTo>
                    <a:cubicBezTo>
                      <a:pt x="1456" y="2057"/>
                      <a:pt x="6420" y="-933"/>
                      <a:pt x="11324" y="263"/>
                    </a:cubicBezTo>
                    <a:cubicBezTo>
                      <a:pt x="16228" y="1459"/>
                      <a:pt x="19279" y="6483"/>
                      <a:pt x="18082" y="11387"/>
                    </a:cubicBezTo>
                    <a:cubicBezTo>
                      <a:pt x="16886" y="16351"/>
                      <a:pt x="11982" y="19342"/>
                      <a:pt x="7018" y="18146"/>
                    </a:cubicBezTo>
                    <a:close/>
                  </a:path>
                </a:pathLst>
              </a:custGeom>
              <a:grpFill/>
              <a:ln w="5978" cap="flat">
                <a:noFill/>
                <a:prstDash val="solid"/>
                <a:miter/>
              </a:ln>
            </p:spPr>
            <p:txBody>
              <a:bodyPr rtlCol="0" anchor="ctr"/>
              <a:lstStyle/>
              <a:p>
                <a:endParaRPr lang="en-GB"/>
              </a:p>
            </p:txBody>
          </p:sp>
          <p:sp>
            <p:nvSpPr>
              <p:cNvPr id="2216" name="Vrije vorm: vorm 2215">
                <a:extLst>
                  <a:ext uri="{FF2B5EF4-FFF2-40B4-BE49-F238E27FC236}">
                    <a16:creationId xmlns:a16="http://schemas.microsoft.com/office/drawing/2014/main" id="{A129BA87-E246-45AB-BCA9-A9BBA8C4FC85}"/>
                  </a:ext>
                </a:extLst>
              </p:cNvPr>
              <p:cNvSpPr/>
              <p:nvPr/>
            </p:nvSpPr>
            <p:spPr>
              <a:xfrm>
                <a:off x="4390208" y="2999109"/>
                <a:ext cx="18342" cy="18408"/>
              </a:xfrm>
              <a:custGeom>
                <a:avLst/>
                <a:gdLst>
                  <a:gd name="connsiteX0" fmla="*/ 7018 w 18342"/>
                  <a:gd name="connsiteY0" fmla="*/ 18146 h 18408"/>
                  <a:gd name="connsiteX1" fmla="*/ 18082 w 18342"/>
                  <a:gd name="connsiteY1" fmla="*/ 11387 h 18408"/>
                  <a:gd name="connsiteX2" fmla="*/ 11324 w 18342"/>
                  <a:gd name="connsiteY2" fmla="*/ 263 h 18408"/>
                  <a:gd name="connsiteX3" fmla="*/ 260 w 18342"/>
                  <a:gd name="connsiteY3" fmla="*/ 7021 h 18408"/>
                  <a:gd name="connsiteX4" fmla="*/ 7018 w 18342"/>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7018" y="18146"/>
                    </a:moveTo>
                    <a:cubicBezTo>
                      <a:pt x="11922" y="19342"/>
                      <a:pt x="16886" y="16351"/>
                      <a:pt x="18082" y="11387"/>
                    </a:cubicBezTo>
                    <a:cubicBezTo>
                      <a:pt x="19279" y="6423"/>
                      <a:pt x="16228" y="1459"/>
                      <a:pt x="11324" y="263"/>
                    </a:cubicBezTo>
                    <a:cubicBezTo>
                      <a:pt x="6420" y="-933"/>
                      <a:pt x="1456" y="2057"/>
                      <a:pt x="260" y="7021"/>
                    </a:cubicBezTo>
                    <a:cubicBezTo>
                      <a:pt x="-936" y="11985"/>
                      <a:pt x="2114" y="16949"/>
                      <a:pt x="7018" y="18146"/>
                    </a:cubicBezTo>
                    <a:close/>
                  </a:path>
                </a:pathLst>
              </a:custGeom>
              <a:grpFill/>
              <a:ln w="5978" cap="flat">
                <a:noFill/>
                <a:prstDash val="solid"/>
                <a:miter/>
              </a:ln>
            </p:spPr>
            <p:txBody>
              <a:bodyPr rtlCol="0" anchor="ctr"/>
              <a:lstStyle/>
              <a:p>
                <a:endParaRPr lang="en-GB"/>
              </a:p>
            </p:txBody>
          </p:sp>
        </p:grpSp>
        <p:grpSp>
          <p:nvGrpSpPr>
            <p:cNvPr id="1063" name="Graphic 3">
              <a:extLst>
                <a:ext uri="{FF2B5EF4-FFF2-40B4-BE49-F238E27FC236}">
                  <a16:creationId xmlns:a16="http://schemas.microsoft.com/office/drawing/2014/main" id="{3009B1D8-73C3-464C-80E5-24E40FF61741}"/>
                </a:ext>
              </a:extLst>
            </p:cNvPr>
            <p:cNvGrpSpPr/>
            <p:nvPr/>
          </p:nvGrpSpPr>
          <p:grpSpPr>
            <a:xfrm>
              <a:off x="3979596" y="2270015"/>
              <a:ext cx="235963" cy="138229"/>
              <a:chOff x="3979596" y="2270015"/>
              <a:chExt cx="235963" cy="138229"/>
            </a:xfrm>
            <a:grpFill/>
          </p:grpSpPr>
          <p:sp>
            <p:nvSpPr>
              <p:cNvPr id="2211" name="Vrije vorm: vorm 2210">
                <a:extLst>
                  <a:ext uri="{FF2B5EF4-FFF2-40B4-BE49-F238E27FC236}">
                    <a16:creationId xmlns:a16="http://schemas.microsoft.com/office/drawing/2014/main" id="{4D63BA0C-556A-45B1-89B7-EE5ABE5579DE}"/>
                  </a:ext>
                </a:extLst>
              </p:cNvPr>
              <p:cNvSpPr/>
              <p:nvPr/>
            </p:nvSpPr>
            <p:spPr>
              <a:xfrm>
                <a:off x="3987606" y="2277678"/>
                <a:ext cx="219911" cy="122903"/>
              </a:xfrm>
              <a:custGeom>
                <a:avLst/>
                <a:gdLst>
                  <a:gd name="connsiteX0" fmla="*/ 219911 w 219911"/>
                  <a:gd name="connsiteY0" fmla="*/ 120272 h 122903"/>
                  <a:gd name="connsiteX1" fmla="*/ 218416 w 219911"/>
                  <a:gd name="connsiteY1" fmla="*/ 122904 h 122903"/>
                  <a:gd name="connsiteX2" fmla="*/ 0 w 219911"/>
                  <a:gd name="connsiteY2" fmla="*/ 2691 h 122903"/>
                  <a:gd name="connsiteX3" fmla="*/ 1495 w 219911"/>
                  <a:gd name="connsiteY3" fmla="*/ 0 h 122903"/>
                </a:gdLst>
                <a:ahLst/>
                <a:cxnLst>
                  <a:cxn ang="0">
                    <a:pos x="connsiteX0" y="connsiteY0"/>
                  </a:cxn>
                  <a:cxn ang="0">
                    <a:pos x="connsiteX1" y="connsiteY1"/>
                  </a:cxn>
                  <a:cxn ang="0">
                    <a:pos x="connsiteX2" y="connsiteY2"/>
                  </a:cxn>
                  <a:cxn ang="0">
                    <a:pos x="connsiteX3" y="connsiteY3"/>
                  </a:cxn>
                </a:cxnLst>
                <a:rect l="l" t="t" r="r" b="b"/>
                <a:pathLst>
                  <a:path w="219911" h="122903">
                    <a:moveTo>
                      <a:pt x="219911" y="120272"/>
                    </a:moveTo>
                    <a:lnTo>
                      <a:pt x="218416" y="122904"/>
                    </a:lnTo>
                    <a:lnTo>
                      <a:pt x="0" y="2691"/>
                    </a:lnTo>
                    <a:lnTo>
                      <a:pt x="1495" y="0"/>
                    </a:lnTo>
                    <a:close/>
                  </a:path>
                </a:pathLst>
              </a:custGeom>
              <a:grpFill/>
              <a:ln w="5978" cap="flat">
                <a:noFill/>
                <a:prstDash val="solid"/>
                <a:miter/>
              </a:ln>
            </p:spPr>
            <p:txBody>
              <a:bodyPr rtlCol="0" anchor="ctr"/>
              <a:lstStyle/>
              <a:p>
                <a:endParaRPr lang="en-GB"/>
              </a:p>
            </p:txBody>
          </p:sp>
          <p:sp>
            <p:nvSpPr>
              <p:cNvPr id="2212" name="Vrije vorm: vorm 2211">
                <a:extLst>
                  <a:ext uri="{FF2B5EF4-FFF2-40B4-BE49-F238E27FC236}">
                    <a16:creationId xmlns:a16="http://schemas.microsoft.com/office/drawing/2014/main" id="{D8ACAAAC-F902-49D2-98B3-70FBB3A7B90D}"/>
                  </a:ext>
                </a:extLst>
              </p:cNvPr>
              <p:cNvSpPr/>
              <p:nvPr/>
            </p:nvSpPr>
            <p:spPr>
              <a:xfrm>
                <a:off x="3979596" y="2270015"/>
                <a:ext cx="18351" cy="18423"/>
              </a:xfrm>
              <a:custGeom>
                <a:avLst/>
                <a:gdLst>
                  <a:gd name="connsiteX0" fmla="*/ 4780 w 18351"/>
                  <a:gd name="connsiteY0" fmla="*/ 17292 h 18423"/>
                  <a:gd name="connsiteX1" fmla="*/ 1132 w 18351"/>
                  <a:gd name="connsiteY1" fmla="*/ 4792 h 18423"/>
                  <a:gd name="connsiteX2" fmla="*/ 13572 w 18351"/>
                  <a:gd name="connsiteY2" fmla="*/ 1144 h 18423"/>
                  <a:gd name="connsiteX3" fmla="*/ 17220 w 18351"/>
                  <a:gd name="connsiteY3" fmla="*/ 13644 h 18423"/>
                  <a:gd name="connsiteX4" fmla="*/ 4780 w 18351"/>
                  <a:gd name="connsiteY4" fmla="*/ 172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3">
                    <a:moveTo>
                      <a:pt x="4780" y="17292"/>
                    </a:moveTo>
                    <a:cubicBezTo>
                      <a:pt x="354" y="14840"/>
                      <a:pt x="-1320" y="9218"/>
                      <a:pt x="1132" y="4792"/>
                    </a:cubicBezTo>
                    <a:cubicBezTo>
                      <a:pt x="3524" y="307"/>
                      <a:pt x="9086" y="-1308"/>
                      <a:pt x="13572" y="1144"/>
                    </a:cubicBezTo>
                    <a:cubicBezTo>
                      <a:pt x="17998" y="3596"/>
                      <a:pt x="19672" y="9218"/>
                      <a:pt x="17220" y="13644"/>
                    </a:cubicBezTo>
                    <a:cubicBezTo>
                      <a:pt x="14828" y="18069"/>
                      <a:pt x="9206" y="19744"/>
                      <a:pt x="4780" y="17292"/>
                    </a:cubicBezTo>
                    <a:close/>
                  </a:path>
                </a:pathLst>
              </a:custGeom>
              <a:grpFill/>
              <a:ln w="5978" cap="flat">
                <a:noFill/>
                <a:prstDash val="solid"/>
                <a:miter/>
              </a:ln>
            </p:spPr>
            <p:txBody>
              <a:bodyPr rtlCol="0" anchor="ctr"/>
              <a:lstStyle/>
              <a:p>
                <a:endParaRPr lang="en-GB"/>
              </a:p>
            </p:txBody>
          </p:sp>
          <p:sp>
            <p:nvSpPr>
              <p:cNvPr id="2213" name="Vrije vorm: vorm 2212">
                <a:extLst>
                  <a:ext uri="{FF2B5EF4-FFF2-40B4-BE49-F238E27FC236}">
                    <a16:creationId xmlns:a16="http://schemas.microsoft.com/office/drawing/2014/main" id="{91D8A7BE-DEAA-4A9A-A1DF-B5157BCBA01A}"/>
                  </a:ext>
                </a:extLst>
              </p:cNvPr>
              <p:cNvSpPr/>
              <p:nvPr/>
            </p:nvSpPr>
            <p:spPr>
              <a:xfrm>
                <a:off x="4197223" y="2389809"/>
                <a:ext cx="18337" cy="18435"/>
              </a:xfrm>
              <a:custGeom>
                <a:avLst/>
                <a:gdLst>
                  <a:gd name="connsiteX0" fmla="*/ 4792 w 18337"/>
                  <a:gd name="connsiteY0" fmla="*/ 17292 h 18435"/>
                  <a:gd name="connsiteX1" fmla="*/ 17232 w 18337"/>
                  <a:gd name="connsiteY1" fmla="*/ 13644 h 18435"/>
                  <a:gd name="connsiteX2" fmla="*/ 13584 w 18337"/>
                  <a:gd name="connsiteY2" fmla="*/ 1144 h 18435"/>
                  <a:gd name="connsiteX3" fmla="*/ 1144 w 18337"/>
                  <a:gd name="connsiteY3" fmla="*/ 4792 h 18435"/>
                  <a:gd name="connsiteX4" fmla="*/ 4792 w 18337"/>
                  <a:gd name="connsiteY4" fmla="*/ 1729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5">
                    <a:moveTo>
                      <a:pt x="4792" y="17292"/>
                    </a:moveTo>
                    <a:cubicBezTo>
                      <a:pt x="9218" y="19744"/>
                      <a:pt x="14780" y="18129"/>
                      <a:pt x="17232" y="13644"/>
                    </a:cubicBezTo>
                    <a:cubicBezTo>
                      <a:pt x="19624" y="9158"/>
                      <a:pt x="18009" y="3596"/>
                      <a:pt x="13584" y="1144"/>
                    </a:cubicBezTo>
                    <a:cubicBezTo>
                      <a:pt x="9158" y="-1308"/>
                      <a:pt x="3596" y="307"/>
                      <a:pt x="1144" y="4792"/>
                    </a:cubicBezTo>
                    <a:cubicBezTo>
                      <a:pt x="-1308" y="9278"/>
                      <a:pt x="307" y="14840"/>
                      <a:pt x="4792" y="17292"/>
                    </a:cubicBezTo>
                    <a:close/>
                  </a:path>
                </a:pathLst>
              </a:custGeom>
              <a:grpFill/>
              <a:ln w="5978" cap="flat">
                <a:noFill/>
                <a:prstDash val="solid"/>
                <a:miter/>
              </a:ln>
            </p:spPr>
            <p:txBody>
              <a:bodyPr rtlCol="0" anchor="ctr"/>
              <a:lstStyle/>
              <a:p>
                <a:endParaRPr lang="en-GB"/>
              </a:p>
            </p:txBody>
          </p:sp>
        </p:grpSp>
        <p:grpSp>
          <p:nvGrpSpPr>
            <p:cNvPr id="1064" name="Graphic 3">
              <a:extLst>
                <a:ext uri="{FF2B5EF4-FFF2-40B4-BE49-F238E27FC236}">
                  <a16:creationId xmlns:a16="http://schemas.microsoft.com/office/drawing/2014/main" id="{276DF175-A12D-468C-8297-58A2FAFCFC01}"/>
                </a:ext>
              </a:extLst>
            </p:cNvPr>
            <p:cNvGrpSpPr/>
            <p:nvPr/>
          </p:nvGrpSpPr>
          <p:grpSpPr>
            <a:xfrm>
              <a:off x="3899830" y="2173474"/>
              <a:ext cx="344772" cy="206136"/>
              <a:chOff x="3899830" y="2173474"/>
              <a:chExt cx="344772" cy="206136"/>
            </a:xfrm>
            <a:grpFill/>
          </p:grpSpPr>
          <p:sp>
            <p:nvSpPr>
              <p:cNvPr id="2208" name="Vrije vorm: vorm 2207">
                <a:extLst>
                  <a:ext uri="{FF2B5EF4-FFF2-40B4-BE49-F238E27FC236}">
                    <a16:creationId xmlns:a16="http://schemas.microsoft.com/office/drawing/2014/main" id="{89539600-CC4F-4172-AB24-90166A83C79D}"/>
                  </a:ext>
                </a:extLst>
              </p:cNvPr>
              <p:cNvSpPr/>
              <p:nvPr/>
            </p:nvSpPr>
            <p:spPr>
              <a:xfrm>
                <a:off x="3907883" y="2181090"/>
                <a:ext cx="328700" cy="190844"/>
              </a:xfrm>
              <a:custGeom>
                <a:avLst/>
                <a:gdLst>
                  <a:gd name="connsiteX0" fmla="*/ 328700 w 328700"/>
                  <a:gd name="connsiteY0" fmla="*/ 188213 h 190844"/>
                  <a:gd name="connsiteX1" fmla="*/ 327205 w 328700"/>
                  <a:gd name="connsiteY1" fmla="*/ 190845 h 190844"/>
                  <a:gd name="connsiteX2" fmla="*/ 0 w 328700"/>
                  <a:gd name="connsiteY2" fmla="*/ 2691 h 190844"/>
                  <a:gd name="connsiteX3" fmla="*/ 1495 w 328700"/>
                  <a:gd name="connsiteY3" fmla="*/ 0 h 190844"/>
                </a:gdLst>
                <a:ahLst/>
                <a:cxnLst>
                  <a:cxn ang="0">
                    <a:pos x="connsiteX0" y="connsiteY0"/>
                  </a:cxn>
                  <a:cxn ang="0">
                    <a:pos x="connsiteX1" y="connsiteY1"/>
                  </a:cxn>
                  <a:cxn ang="0">
                    <a:pos x="connsiteX2" y="connsiteY2"/>
                  </a:cxn>
                  <a:cxn ang="0">
                    <a:pos x="connsiteX3" y="connsiteY3"/>
                  </a:cxn>
                </a:cxnLst>
                <a:rect l="l" t="t" r="r" b="b"/>
                <a:pathLst>
                  <a:path w="328700" h="190844">
                    <a:moveTo>
                      <a:pt x="328700" y="188213"/>
                    </a:moveTo>
                    <a:lnTo>
                      <a:pt x="327205" y="190845"/>
                    </a:lnTo>
                    <a:lnTo>
                      <a:pt x="0" y="2691"/>
                    </a:lnTo>
                    <a:lnTo>
                      <a:pt x="1495" y="0"/>
                    </a:lnTo>
                    <a:close/>
                  </a:path>
                </a:pathLst>
              </a:custGeom>
              <a:grpFill/>
              <a:ln w="5978" cap="flat">
                <a:noFill/>
                <a:prstDash val="solid"/>
                <a:miter/>
              </a:ln>
            </p:spPr>
            <p:txBody>
              <a:bodyPr rtlCol="0" anchor="ctr"/>
              <a:lstStyle/>
              <a:p>
                <a:endParaRPr lang="en-GB"/>
              </a:p>
            </p:txBody>
          </p:sp>
          <p:sp>
            <p:nvSpPr>
              <p:cNvPr id="2209" name="Vrije vorm: vorm 2208">
                <a:extLst>
                  <a:ext uri="{FF2B5EF4-FFF2-40B4-BE49-F238E27FC236}">
                    <a16:creationId xmlns:a16="http://schemas.microsoft.com/office/drawing/2014/main" id="{F697423A-8E5D-4E3B-A892-1A0A881080D3}"/>
                  </a:ext>
                </a:extLst>
              </p:cNvPr>
              <p:cNvSpPr/>
              <p:nvPr/>
            </p:nvSpPr>
            <p:spPr>
              <a:xfrm>
                <a:off x="3899830" y="2173474"/>
                <a:ext cx="18318" cy="18401"/>
              </a:xfrm>
              <a:custGeom>
                <a:avLst/>
                <a:gdLst>
                  <a:gd name="connsiteX0" fmla="*/ 4644 w 18318"/>
                  <a:gd name="connsiteY0" fmla="*/ 17185 h 18401"/>
                  <a:gd name="connsiteX1" fmla="*/ 1175 w 18318"/>
                  <a:gd name="connsiteY1" fmla="*/ 4625 h 18401"/>
                  <a:gd name="connsiteX2" fmla="*/ 13675 w 18318"/>
                  <a:gd name="connsiteY2" fmla="*/ 1216 h 18401"/>
                  <a:gd name="connsiteX3" fmla="*/ 17143 w 18318"/>
                  <a:gd name="connsiteY3" fmla="*/ 13776 h 18401"/>
                  <a:gd name="connsiteX4" fmla="*/ 4644 w 18318"/>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01">
                    <a:moveTo>
                      <a:pt x="4644" y="17185"/>
                    </a:moveTo>
                    <a:cubicBezTo>
                      <a:pt x="218" y="14673"/>
                      <a:pt x="-1277" y="9051"/>
                      <a:pt x="1175" y="4625"/>
                    </a:cubicBezTo>
                    <a:cubicBezTo>
                      <a:pt x="3687" y="200"/>
                      <a:pt x="9249" y="-1295"/>
                      <a:pt x="13675" y="1216"/>
                    </a:cubicBezTo>
                    <a:cubicBezTo>
                      <a:pt x="18100" y="3728"/>
                      <a:pt x="19596" y="9350"/>
                      <a:pt x="17143" y="13776"/>
                    </a:cubicBezTo>
                    <a:cubicBezTo>
                      <a:pt x="14631" y="18202"/>
                      <a:pt x="9069" y="19697"/>
                      <a:pt x="4644" y="17185"/>
                    </a:cubicBezTo>
                    <a:close/>
                  </a:path>
                </a:pathLst>
              </a:custGeom>
              <a:grpFill/>
              <a:ln w="5978" cap="flat">
                <a:noFill/>
                <a:prstDash val="solid"/>
                <a:miter/>
              </a:ln>
            </p:spPr>
            <p:txBody>
              <a:bodyPr rtlCol="0" anchor="ctr"/>
              <a:lstStyle/>
              <a:p>
                <a:endParaRPr lang="en-GB"/>
              </a:p>
            </p:txBody>
          </p:sp>
          <p:sp>
            <p:nvSpPr>
              <p:cNvPr id="2210" name="Vrije vorm: vorm 2209">
                <a:extLst>
                  <a:ext uri="{FF2B5EF4-FFF2-40B4-BE49-F238E27FC236}">
                    <a16:creationId xmlns:a16="http://schemas.microsoft.com/office/drawing/2014/main" id="{EF409D94-D50F-419B-AC04-904B083B39E6}"/>
                  </a:ext>
                </a:extLst>
              </p:cNvPr>
              <p:cNvSpPr/>
              <p:nvPr/>
            </p:nvSpPr>
            <p:spPr>
              <a:xfrm>
                <a:off x="4226258" y="2361209"/>
                <a:ext cx="18344" cy="18401"/>
              </a:xfrm>
              <a:custGeom>
                <a:avLst/>
                <a:gdLst>
                  <a:gd name="connsiteX0" fmla="*/ 4644 w 18344"/>
                  <a:gd name="connsiteY0" fmla="*/ 17185 h 18401"/>
                  <a:gd name="connsiteX1" fmla="*/ 17143 w 18344"/>
                  <a:gd name="connsiteY1" fmla="*/ 13776 h 18401"/>
                  <a:gd name="connsiteX2" fmla="*/ 13675 w 18344"/>
                  <a:gd name="connsiteY2" fmla="*/ 1216 h 18401"/>
                  <a:gd name="connsiteX3" fmla="*/ 1175 w 18344"/>
                  <a:gd name="connsiteY3" fmla="*/ 4625 h 18401"/>
                  <a:gd name="connsiteX4" fmla="*/ 4644 w 18344"/>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1">
                    <a:moveTo>
                      <a:pt x="4644" y="17185"/>
                    </a:moveTo>
                    <a:cubicBezTo>
                      <a:pt x="9070" y="19697"/>
                      <a:pt x="14632" y="18202"/>
                      <a:pt x="17143" y="13776"/>
                    </a:cubicBezTo>
                    <a:cubicBezTo>
                      <a:pt x="19655" y="9350"/>
                      <a:pt x="18100" y="3728"/>
                      <a:pt x="13675" y="1216"/>
                    </a:cubicBezTo>
                    <a:cubicBezTo>
                      <a:pt x="9249" y="-1295"/>
                      <a:pt x="3687" y="200"/>
                      <a:pt x="1175" y="4625"/>
                    </a:cubicBezTo>
                    <a:cubicBezTo>
                      <a:pt x="-1277" y="9051"/>
                      <a:pt x="218" y="14673"/>
                      <a:pt x="4644" y="17185"/>
                    </a:cubicBezTo>
                    <a:close/>
                  </a:path>
                </a:pathLst>
              </a:custGeom>
              <a:grpFill/>
              <a:ln w="5978" cap="flat">
                <a:noFill/>
                <a:prstDash val="solid"/>
                <a:miter/>
              </a:ln>
            </p:spPr>
            <p:txBody>
              <a:bodyPr rtlCol="0" anchor="ctr"/>
              <a:lstStyle/>
              <a:p>
                <a:endParaRPr lang="en-GB"/>
              </a:p>
            </p:txBody>
          </p:sp>
        </p:grpSp>
        <p:grpSp>
          <p:nvGrpSpPr>
            <p:cNvPr id="1065" name="Graphic 3">
              <a:extLst>
                <a:ext uri="{FF2B5EF4-FFF2-40B4-BE49-F238E27FC236}">
                  <a16:creationId xmlns:a16="http://schemas.microsoft.com/office/drawing/2014/main" id="{8D0E09E3-F2DB-4334-A0CE-AA2872A8C5C5}"/>
                </a:ext>
              </a:extLst>
            </p:cNvPr>
            <p:cNvGrpSpPr/>
            <p:nvPr/>
          </p:nvGrpSpPr>
          <p:grpSpPr>
            <a:xfrm>
              <a:off x="5005276" y="5136154"/>
              <a:ext cx="111619" cy="188591"/>
              <a:chOff x="5005276" y="5136154"/>
              <a:chExt cx="111619" cy="188591"/>
            </a:xfrm>
            <a:grpFill/>
          </p:grpSpPr>
          <p:sp>
            <p:nvSpPr>
              <p:cNvPr id="2205" name="Vrije vorm: vorm 2204">
                <a:extLst>
                  <a:ext uri="{FF2B5EF4-FFF2-40B4-BE49-F238E27FC236}">
                    <a16:creationId xmlns:a16="http://schemas.microsoft.com/office/drawing/2014/main" id="{7818E8DE-1A3D-46C2-847C-DC1E164EEC31}"/>
                  </a:ext>
                </a:extLst>
              </p:cNvPr>
              <p:cNvSpPr/>
              <p:nvPr/>
            </p:nvSpPr>
            <p:spPr>
              <a:xfrm>
                <a:off x="5012881" y="5144178"/>
                <a:ext cx="96409" cy="172544"/>
              </a:xfrm>
              <a:custGeom>
                <a:avLst/>
                <a:gdLst>
                  <a:gd name="connsiteX0" fmla="*/ 96410 w 96409"/>
                  <a:gd name="connsiteY0" fmla="*/ 1495 h 172544"/>
                  <a:gd name="connsiteX1" fmla="*/ 2632 w 96409"/>
                  <a:gd name="connsiteY1" fmla="*/ 172544 h 172544"/>
                  <a:gd name="connsiteX2" fmla="*/ 0 w 96409"/>
                  <a:gd name="connsiteY2" fmla="*/ 171049 h 172544"/>
                  <a:gd name="connsiteX3" fmla="*/ 93718 w 96409"/>
                  <a:gd name="connsiteY3" fmla="*/ 0 h 172544"/>
                </a:gdLst>
                <a:ahLst/>
                <a:cxnLst>
                  <a:cxn ang="0">
                    <a:pos x="connsiteX0" y="connsiteY0"/>
                  </a:cxn>
                  <a:cxn ang="0">
                    <a:pos x="connsiteX1" y="connsiteY1"/>
                  </a:cxn>
                  <a:cxn ang="0">
                    <a:pos x="connsiteX2" y="connsiteY2"/>
                  </a:cxn>
                  <a:cxn ang="0">
                    <a:pos x="connsiteX3" y="connsiteY3"/>
                  </a:cxn>
                </a:cxnLst>
                <a:rect l="l" t="t" r="r" b="b"/>
                <a:pathLst>
                  <a:path w="96409" h="172544">
                    <a:moveTo>
                      <a:pt x="96410" y="1495"/>
                    </a:moveTo>
                    <a:lnTo>
                      <a:pt x="2632" y="172544"/>
                    </a:lnTo>
                    <a:lnTo>
                      <a:pt x="0" y="171049"/>
                    </a:lnTo>
                    <a:lnTo>
                      <a:pt x="93718" y="0"/>
                    </a:lnTo>
                    <a:close/>
                  </a:path>
                </a:pathLst>
              </a:custGeom>
              <a:grpFill/>
              <a:ln w="5978" cap="flat">
                <a:noFill/>
                <a:prstDash val="solid"/>
                <a:miter/>
              </a:ln>
            </p:spPr>
            <p:txBody>
              <a:bodyPr rtlCol="0" anchor="ctr"/>
              <a:lstStyle/>
              <a:p>
                <a:endParaRPr lang="en-GB"/>
              </a:p>
            </p:txBody>
          </p:sp>
          <p:sp>
            <p:nvSpPr>
              <p:cNvPr id="2206" name="Vrije vorm: vorm 2205">
                <a:extLst>
                  <a:ext uri="{FF2B5EF4-FFF2-40B4-BE49-F238E27FC236}">
                    <a16:creationId xmlns:a16="http://schemas.microsoft.com/office/drawing/2014/main" id="{F7E7494F-2CC6-475C-BD31-DA64999A680F}"/>
                  </a:ext>
                </a:extLst>
              </p:cNvPr>
              <p:cNvSpPr/>
              <p:nvPr/>
            </p:nvSpPr>
            <p:spPr>
              <a:xfrm>
                <a:off x="5005276" y="5306366"/>
                <a:ext cx="18320" cy="18379"/>
              </a:xfrm>
              <a:custGeom>
                <a:avLst/>
                <a:gdLst>
                  <a:gd name="connsiteX0" fmla="*/ 17174 w 18320"/>
                  <a:gd name="connsiteY0" fmla="*/ 13646 h 18379"/>
                  <a:gd name="connsiteX1" fmla="*/ 4734 w 18320"/>
                  <a:gd name="connsiteY1" fmla="*/ 17234 h 18379"/>
                  <a:gd name="connsiteX2" fmla="*/ 1146 w 18320"/>
                  <a:gd name="connsiteY2" fmla="*/ 4734 h 18379"/>
                  <a:gd name="connsiteX3" fmla="*/ 13586 w 18320"/>
                  <a:gd name="connsiteY3" fmla="*/ 1146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4722" y="18071"/>
                      <a:pt x="9160" y="19686"/>
                      <a:pt x="4734" y="17234"/>
                    </a:cubicBezTo>
                    <a:cubicBezTo>
                      <a:pt x="309" y="14782"/>
                      <a:pt x="-1306" y="9160"/>
                      <a:pt x="1146" y="4734"/>
                    </a:cubicBezTo>
                    <a:cubicBezTo>
                      <a:pt x="3598" y="309"/>
                      <a:pt x="9160" y="-1306"/>
                      <a:pt x="13586" y="1146"/>
                    </a:cubicBezTo>
                    <a:cubicBezTo>
                      <a:pt x="18012" y="3598"/>
                      <a:pt x="19626" y="9220"/>
                      <a:pt x="17174" y="13646"/>
                    </a:cubicBezTo>
                    <a:close/>
                  </a:path>
                </a:pathLst>
              </a:custGeom>
              <a:grpFill/>
              <a:ln w="5978" cap="flat">
                <a:noFill/>
                <a:prstDash val="solid"/>
                <a:miter/>
              </a:ln>
            </p:spPr>
            <p:txBody>
              <a:bodyPr rtlCol="0" anchor="ctr"/>
              <a:lstStyle/>
              <a:p>
                <a:endParaRPr lang="en-GB"/>
              </a:p>
            </p:txBody>
          </p:sp>
          <p:sp>
            <p:nvSpPr>
              <p:cNvPr id="2207" name="Vrije vorm: vorm 2206">
                <a:extLst>
                  <a:ext uri="{FF2B5EF4-FFF2-40B4-BE49-F238E27FC236}">
                    <a16:creationId xmlns:a16="http://schemas.microsoft.com/office/drawing/2014/main" id="{1B9019D8-53FA-443F-8647-5B2FFE40EF43}"/>
                  </a:ext>
                </a:extLst>
              </p:cNvPr>
              <p:cNvSpPr/>
              <p:nvPr/>
            </p:nvSpPr>
            <p:spPr>
              <a:xfrm>
                <a:off x="5098575" y="5136154"/>
                <a:ext cx="18320" cy="18379"/>
              </a:xfrm>
              <a:custGeom>
                <a:avLst/>
                <a:gdLst>
                  <a:gd name="connsiteX0" fmla="*/ 17174 w 18320"/>
                  <a:gd name="connsiteY0" fmla="*/ 13646 h 18379"/>
                  <a:gd name="connsiteX1" fmla="*/ 13586 w 18320"/>
                  <a:gd name="connsiteY1" fmla="*/ 1146 h 18379"/>
                  <a:gd name="connsiteX2" fmla="*/ 1146 w 18320"/>
                  <a:gd name="connsiteY2" fmla="*/ 4734 h 18379"/>
                  <a:gd name="connsiteX3" fmla="*/ 4735 w 18320"/>
                  <a:gd name="connsiteY3" fmla="*/ 17234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9626" y="9220"/>
                      <a:pt x="18012" y="3598"/>
                      <a:pt x="13586" y="1146"/>
                    </a:cubicBezTo>
                    <a:cubicBezTo>
                      <a:pt x="9160" y="-1306"/>
                      <a:pt x="3598" y="309"/>
                      <a:pt x="1146" y="4734"/>
                    </a:cubicBezTo>
                    <a:cubicBezTo>
                      <a:pt x="-1306" y="9160"/>
                      <a:pt x="308" y="14782"/>
                      <a:pt x="4735" y="17234"/>
                    </a:cubicBezTo>
                    <a:cubicBezTo>
                      <a:pt x="9160" y="19686"/>
                      <a:pt x="14722" y="18071"/>
                      <a:pt x="17174" y="13646"/>
                    </a:cubicBezTo>
                    <a:close/>
                  </a:path>
                </a:pathLst>
              </a:custGeom>
              <a:grpFill/>
              <a:ln w="5978" cap="flat">
                <a:noFill/>
                <a:prstDash val="solid"/>
                <a:miter/>
              </a:ln>
            </p:spPr>
            <p:txBody>
              <a:bodyPr rtlCol="0" anchor="ctr"/>
              <a:lstStyle/>
              <a:p>
                <a:endParaRPr lang="en-GB"/>
              </a:p>
            </p:txBody>
          </p:sp>
        </p:grpSp>
        <p:grpSp>
          <p:nvGrpSpPr>
            <p:cNvPr id="1066" name="Graphic 3">
              <a:extLst>
                <a:ext uri="{FF2B5EF4-FFF2-40B4-BE49-F238E27FC236}">
                  <a16:creationId xmlns:a16="http://schemas.microsoft.com/office/drawing/2014/main" id="{5984A482-3950-4BED-84E7-46A4BDAEF41A}"/>
                </a:ext>
              </a:extLst>
            </p:cNvPr>
            <p:cNvGrpSpPr/>
            <p:nvPr/>
          </p:nvGrpSpPr>
          <p:grpSpPr>
            <a:xfrm>
              <a:off x="4819739" y="4656854"/>
              <a:ext cx="136549" cy="151761"/>
              <a:chOff x="4819739" y="4656854"/>
              <a:chExt cx="136549" cy="151761"/>
            </a:xfrm>
            <a:grpFill/>
          </p:grpSpPr>
          <p:sp>
            <p:nvSpPr>
              <p:cNvPr id="2202" name="Vrije vorm: vorm 2201">
                <a:extLst>
                  <a:ext uri="{FF2B5EF4-FFF2-40B4-BE49-F238E27FC236}">
                    <a16:creationId xmlns:a16="http://schemas.microsoft.com/office/drawing/2014/main" id="{9B6B44E5-DAA8-4AA7-ABDB-93AEE3DC3CD4}"/>
                  </a:ext>
                </a:extLst>
              </p:cNvPr>
              <p:cNvSpPr/>
              <p:nvPr/>
            </p:nvSpPr>
            <p:spPr>
              <a:xfrm>
                <a:off x="4827419" y="4664764"/>
                <a:ext cx="121169" cy="136001"/>
              </a:xfrm>
              <a:custGeom>
                <a:avLst/>
                <a:gdLst>
                  <a:gd name="connsiteX0" fmla="*/ 121169 w 121169"/>
                  <a:gd name="connsiteY0" fmla="*/ 2033 h 136001"/>
                  <a:gd name="connsiteX1" fmla="*/ 2273 w 121169"/>
                  <a:gd name="connsiteY1" fmla="*/ 136002 h 136001"/>
                  <a:gd name="connsiteX2" fmla="*/ 0 w 121169"/>
                  <a:gd name="connsiteY2" fmla="*/ 133968 h 136001"/>
                  <a:gd name="connsiteX3" fmla="*/ 118897 w 121169"/>
                  <a:gd name="connsiteY3" fmla="*/ 0 h 136001"/>
                </a:gdLst>
                <a:ahLst/>
                <a:cxnLst>
                  <a:cxn ang="0">
                    <a:pos x="connsiteX0" y="connsiteY0"/>
                  </a:cxn>
                  <a:cxn ang="0">
                    <a:pos x="connsiteX1" y="connsiteY1"/>
                  </a:cxn>
                  <a:cxn ang="0">
                    <a:pos x="connsiteX2" y="connsiteY2"/>
                  </a:cxn>
                  <a:cxn ang="0">
                    <a:pos x="connsiteX3" y="connsiteY3"/>
                  </a:cxn>
                </a:cxnLst>
                <a:rect l="l" t="t" r="r" b="b"/>
                <a:pathLst>
                  <a:path w="121169" h="136001">
                    <a:moveTo>
                      <a:pt x="121169" y="2033"/>
                    </a:moveTo>
                    <a:lnTo>
                      <a:pt x="2273" y="136002"/>
                    </a:lnTo>
                    <a:lnTo>
                      <a:pt x="0" y="133968"/>
                    </a:lnTo>
                    <a:lnTo>
                      <a:pt x="118897" y="0"/>
                    </a:lnTo>
                    <a:close/>
                  </a:path>
                </a:pathLst>
              </a:custGeom>
              <a:grpFill/>
              <a:ln w="5978" cap="flat">
                <a:noFill/>
                <a:prstDash val="solid"/>
                <a:miter/>
              </a:ln>
            </p:spPr>
            <p:txBody>
              <a:bodyPr rtlCol="0" anchor="ctr"/>
              <a:lstStyle/>
              <a:p>
                <a:endParaRPr lang="en-GB"/>
              </a:p>
            </p:txBody>
          </p:sp>
          <p:sp>
            <p:nvSpPr>
              <p:cNvPr id="2203" name="Vrije vorm: vorm 2202">
                <a:extLst>
                  <a:ext uri="{FF2B5EF4-FFF2-40B4-BE49-F238E27FC236}">
                    <a16:creationId xmlns:a16="http://schemas.microsoft.com/office/drawing/2014/main" id="{84596457-18D2-4619-B454-FD2D3B3234EF}"/>
                  </a:ext>
                </a:extLst>
              </p:cNvPr>
              <p:cNvSpPr/>
              <p:nvPr/>
            </p:nvSpPr>
            <p:spPr>
              <a:xfrm>
                <a:off x="4819739" y="4790164"/>
                <a:ext cx="18310" cy="18450"/>
              </a:xfrm>
              <a:custGeom>
                <a:avLst/>
                <a:gdLst>
                  <a:gd name="connsiteX0" fmla="*/ 15993 w 18310"/>
                  <a:gd name="connsiteY0" fmla="*/ 15386 h 18450"/>
                  <a:gd name="connsiteX1" fmla="*/ 3075 w 18310"/>
                  <a:gd name="connsiteY1" fmla="*/ 16103 h 18450"/>
                  <a:gd name="connsiteX2" fmla="*/ 2297 w 18310"/>
                  <a:gd name="connsiteY2" fmla="*/ 3065 h 18450"/>
                  <a:gd name="connsiteX3" fmla="*/ 15215 w 18310"/>
                  <a:gd name="connsiteY3" fmla="*/ 2348 h 18450"/>
                  <a:gd name="connsiteX4" fmla="*/ 15993 w 18310"/>
                  <a:gd name="connsiteY4" fmla="*/ 1538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50">
                    <a:moveTo>
                      <a:pt x="15993" y="15386"/>
                    </a:moveTo>
                    <a:cubicBezTo>
                      <a:pt x="12644" y="19153"/>
                      <a:pt x="6843" y="19512"/>
                      <a:pt x="3075" y="16103"/>
                    </a:cubicBezTo>
                    <a:cubicBezTo>
                      <a:pt x="-693" y="12694"/>
                      <a:pt x="-1052" y="6893"/>
                      <a:pt x="2297" y="3065"/>
                    </a:cubicBezTo>
                    <a:cubicBezTo>
                      <a:pt x="5646" y="-703"/>
                      <a:pt x="11448" y="-1061"/>
                      <a:pt x="15215" y="2348"/>
                    </a:cubicBezTo>
                    <a:cubicBezTo>
                      <a:pt x="19043" y="5817"/>
                      <a:pt x="19342" y="11618"/>
                      <a:pt x="15993" y="15386"/>
                    </a:cubicBezTo>
                    <a:close/>
                  </a:path>
                </a:pathLst>
              </a:custGeom>
              <a:grpFill/>
              <a:ln w="5978" cap="flat">
                <a:noFill/>
                <a:prstDash val="solid"/>
                <a:miter/>
              </a:ln>
            </p:spPr>
            <p:txBody>
              <a:bodyPr rtlCol="0" anchor="ctr"/>
              <a:lstStyle/>
              <a:p>
                <a:endParaRPr lang="en-GB"/>
              </a:p>
            </p:txBody>
          </p:sp>
          <p:sp>
            <p:nvSpPr>
              <p:cNvPr id="2204" name="Vrije vorm: vorm 2203">
                <a:extLst>
                  <a:ext uri="{FF2B5EF4-FFF2-40B4-BE49-F238E27FC236}">
                    <a16:creationId xmlns:a16="http://schemas.microsoft.com/office/drawing/2014/main" id="{75AF71D0-A0B0-4353-9CDD-2D388D356333}"/>
                  </a:ext>
                </a:extLst>
              </p:cNvPr>
              <p:cNvSpPr/>
              <p:nvPr/>
            </p:nvSpPr>
            <p:spPr>
              <a:xfrm>
                <a:off x="4937978" y="4656854"/>
                <a:ext cx="18310" cy="18471"/>
              </a:xfrm>
              <a:custGeom>
                <a:avLst/>
                <a:gdLst>
                  <a:gd name="connsiteX0" fmla="*/ 15993 w 18310"/>
                  <a:gd name="connsiteY0" fmla="*/ 15386 h 18471"/>
                  <a:gd name="connsiteX1" fmla="*/ 15215 w 18310"/>
                  <a:gd name="connsiteY1" fmla="*/ 2348 h 18471"/>
                  <a:gd name="connsiteX2" fmla="*/ 2297 w 18310"/>
                  <a:gd name="connsiteY2" fmla="*/ 3065 h 18471"/>
                  <a:gd name="connsiteX3" fmla="*/ 3075 w 18310"/>
                  <a:gd name="connsiteY3" fmla="*/ 16103 h 18471"/>
                  <a:gd name="connsiteX4" fmla="*/ 15993 w 18310"/>
                  <a:gd name="connsiteY4" fmla="*/ 15386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71">
                    <a:moveTo>
                      <a:pt x="15993" y="15386"/>
                    </a:moveTo>
                    <a:cubicBezTo>
                      <a:pt x="19342" y="11618"/>
                      <a:pt x="19043" y="5757"/>
                      <a:pt x="15215" y="2348"/>
                    </a:cubicBezTo>
                    <a:cubicBezTo>
                      <a:pt x="11388" y="-1061"/>
                      <a:pt x="5646" y="-703"/>
                      <a:pt x="2297" y="3065"/>
                    </a:cubicBezTo>
                    <a:cubicBezTo>
                      <a:pt x="-1052" y="6833"/>
                      <a:pt x="-693" y="12694"/>
                      <a:pt x="3075" y="16103"/>
                    </a:cubicBezTo>
                    <a:cubicBezTo>
                      <a:pt x="6843" y="19512"/>
                      <a:pt x="12644" y="19213"/>
                      <a:pt x="15993" y="15386"/>
                    </a:cubicBezTo>
                    <a:close/>
                  </a:path>
                </a:pathLst>
              </a:custGeom>
              <a:grpFill/>
              <a:ln w="5978" cap="flat">
                <a:noFill/>
                <a:prstDash val="solid"/>
                <a:miter/>
              </a:ln>
            </p:spPr>
            <p:txBody>
              <a:bodyPr rtlCol="0" anchor="ctr"/>
              <a:lstStyle/>
              <a:p>
                <a:endParaRPr lang="en-GB"/>
              </a:p>
            </p:txBody>
          </p:sp>
        </p:grpSp>
        <p:grpSp>
          <p:nvGrpSpPr>
            <p:cNvPr id="1067" name="Graphic 3">
              <a:extLst>
                <a:ext uri="{FF2B5EF4-FFF2-40B4-BE49-F238E27FC236}">
                  <a16:creationId xmlns:a16="http://schemas.microsoft.com/office/drawing/2014/main" id="{F90CD0E8-0931-4BD3-B1EA-DEBFDE40BDC2}"/>
                </a:ext>
              </a:extLst>
            </p:cNvPr>
            <p:cNvGrpSpPr/>
            <p:nvPr/>
          </p:nvGrpSpPr>
          <p:grpSpPr>
            <a:xfrm>
              <a:off x="4172000" y="2907971"/>
              <a:ext cx="239211" cy="77302"/>
              <a:chOff x="4172000" y="2907971"/>
              <a:chExt cx="239211" cy="77302"/>
            </a:xfrm>
            <a:grpFill/>
          </p:grpSpPr>
          <p:sp>
            <p:nvSpPr>
              <p:cNvPr id="2199" name="Vrije vorm: vorm 2198">
                <a:extLst>
                  <a:ext uri="{FF2B5EF4-FFF2-40B4-BE49-F238E27FC236}">
                    <a16:creationId xmlns:a16="http://schemas.microsoft.com/office/drawing/2014/main" id="{8B5B9103-35FF-48CB-842B-6161FB1338FA}"/>
                  </a:ext>
                </a:extLst>
              </p:cNvPr>
              <p:cNvSpPr/>
              <p:nvPr/>
            </p:nvSpPr>
            <p:spPr>
              <a:xfrm>
                <a:off x="4180365" y="2915522"/>
                <a:ext cx="222482" cy="62139"/>
              </a:xfrm>
              <a:custGeom>
                <a:avLst/>
                <a:gdLst>
                  <a:gd name="connsiteX0" fmla="*/ 222483 w 222482"/>
                  <a:gd name="connsiteY0" fmla="*/ 59149 h 62139"/>
                  <a:gd name="connsiteX1" fmla="*/ 221765 w 222482"/>
                  <a:gd name="connsiteY1" fmla="*/ 62140 h 62139"/>
                  <a:gd name="connsiteX2" fmla="*/ 0 w 222482"/>
                  <a:gd name="connsiteY2" fmla="*/ 2990 h 62139"/>
                  <a:gd name="connsiteX3" fmla="*/ 778 w 222482"/>
                  <a:gd name="connsiteY3" fmla="*/ 0 h 62139"/>
                </a:gdLst>
                <a:ahLst/>
                <a:cxnLst>
                  <a:cxn ang="0">
                    <a:pos x="connsiteX0" y="connsiteY0"/>
                  </a:cxn>
                  <a:cxn ang="0">
                    <a:pos x="connsiteX1" y="connsiteY1"/>
                  </a:cxn>
                  <a:cxn ang="0">
                    <a:pos x="connsiteX2" y="connsiteY2"/>
                  </a:cxn>
                  <a:cxn ang="0">
                    <a:pos x="connsiteX3" y="connsiteY3"/>
                  </a:cxn>
                </a:cxnLst>
                <a:rect l="l" t="t" r="r" b="b"/>
                <a:pathLst>
                  <a:path w="222482" h="62139">
                    <a:moveTo>
                      <a:pt x="222483" y="59149"/>
                    </a:moveTo>
                    <a:lnTo>
                      <a:pt x="221765" y="62140"/>
                    </a:lnTo>
                    <a:lnTo>
                      <a:pt x="0" y="2990"/>
                    </a:lnTo>
                    <a:lnTo>
                      <a:pt x="778" y="0"/>
                    </a:lnTo>
                    <a:close/>
                  </a:path>
                </a:pathLst>
              </a:custGeom>
              <a:grpFill/>
              <a:ln w="5978" cap="flat">
                <a:noFill/>
                <a:prstDash val="solid"/>
                <a:miter/>
              </a:ln>
            </p:spPr>
            <p:txBody>
              <a:bodyPr rtlCol="0" anchor="ctr"/>
              <a:lstStyle/>
              <a:p>
                <a:endParaRPr lang="en-GB"/>
              </a:p>
            </p:txBody>
          </p:sp>
          <p:sp>
            <p:nvSpPr>
              <p:cNvPr id="2200" name="Vrije vorm: vorm 2199">
                <a:extLst>
                  <a:ext uri="{FF2B5EF4-FFF2-40B4-BE49-F238E27FC236}">
                    <a16:creationId xmlns:a16="http://schemas.microsoft.com/office/drawing/2014/main" id="{0AAB74B2-5BFC-4D98-B25F-5C2019D58661}"/>
                  </a:ext>
                </a:extLst>
              </p:cNvPr>
              <p:cNvSpPr/>
              <p:nvPr/>
            </p:nvSpPr>
            <p:spPr>
              <a:xfrm>
                <a:off x="4172000" y="2907971"/>
                <a:ext cx="18308" cy="18368"/>
              </a:xfrm>
              <a:custGeom>
                <a:avLst/>
                <a:gdLst>
                  <a:gd name="connsiteX0" fmla="*/ 6869 w 18308"/>
                  <a:gd name="connsiteY0" fmla="*/ 18078 h 18368"/>
                  <a:gd name="connsiteX1" fmla="*/ 290 w 18308"/>
                  <a:gd name="connsiteY1" fmla="*/ 6834 h 18368"/>
                  <a:gd name="connsiteX2" fmla="*/ 11474 w 18308"/>
                  <a:gd name="connsiteY2" fmla="*/ 315 h 18368"/>
                  <a:gd name="connsiteX3" fmla="*/ 17994 w 18308"/>
                  <a:gd name="connsiteY3" fmla="*/ 11559 h 18368"/>
                  <a:gd name="connsiteX4" fmla="*/ 6869 w 18308"/>
                  <a:gd name="connsiteY4" fmla="*/ 18078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368">
                    <a:moveTo>
                      <a:pt x="6869" y="18078"/>
                    </a:moveTo>
                    <a:cubicBezTo>
                      <a:pt x="1965" y="16762"/>
                      <a:pt x="-965" y="11738"/>
                      <a:pt x="290" y="6834"/>
                    </a:cubicBezTo>
                    <a:cubicBezTo>
                      <a:pt x="1547" y="1930"/>
                      <a:pt x="6570" y="-1001"/>
                      <a:pt x="11474" y="315"/>
                    </a:cubicBezTo>
                    <a:cubicBezTo>
                      <a:pt x="16379" y="1631"/>
                      <a:pt x="19309" y="6654"/>
                      <a:pt x="17994" y="11559"/>
                    </a:cubicBezTo>
                    <a:cubicBezTo>
                      <a:pt x="16737" y="16403"/>
                      <a:pt x="11774" y="19333"/>
                      <a:pt x="6869" y="18078"/>
                    </a:cubicBezTo>
                    <a:close/>
                  </a:path>
                </a:pathLst>
              </a:custGeom>
              <a:grpFill/>
              <a:ln w="5978" cap="flat">
                <a:noFill/>
                <a:prstDash val="solid"/>
                <a:miter/>
              </a:ln>
            </p:spPr>
            <p:txBody>
              <a:bodyPr rtlCol="0" anchor="ctr"/>
              <a:lstStyle/>
              <a:p>
                <a:endParaRPr lang="en-GB"/>
              </a:p>
            </p:txBody>
          </p:sp>
          <p:sp>
            <p:nvSpPr>
              <p:cNvPr id="2201" name="Vrije vorm: vorm 2200">
                <a:extLst>
                  <a:ext uri="{FF2B5EF4-FFF2-40B4-BE49-F238E27FC236}">
                    <a16:creationId xmlns:a16="http://schemas.microsoft.com/office/drawing/2014/main" id="{E366855B-F80C-41BC-97CB-CF1DDB631650}"/>
                  </a:ext>
                </a:extLst>
              </p:cNvPr>
              <p:cNvSpPr/>
              <p:nvPr/>
            </p:nvSpPr>
            <p:spPr>
              <a:xfrm>
                <a:off x="4392868" y="2966881"/>
                <a:ext cx="18343" cy="18392"/>
              </a:xfrm>
              <a:custGeom>
                <a:avLst/>
                <a:gdLst>
                  <a:gd name="connsiteX0" fmla="*/ 6869 w 18343"/>
                  <a:gd name="connsiteY0" fmla="*/ 18078 h 18392"/>
                  <a:gd name="connsiteX1" fmla="*/ 18053 w 18343"/>
                  <a:gd name="connsiteY1" fmla="*/ 11558 h 18392"/>
                  <a:gd name="connsiteX2" fmla="*/ 11474 w 18343"/>
                  <a:gd name="connsiteY2" fmla="*/ 315 h 18392"/>
                  <a:gd name="connsiteX3" fmla="*/ 290 w 18343"/>
                  <a:gd name="connsiteY3" fmla="*/ 6834 h 18392"/>
                  <a:gd name="connsiteX4" fmla="*/ 6869 w 18343"/>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6869" y="18078"/>
                    </a:moveTo>
                    <a:cubicBezTo>
                      <a:pt x="11774" y="19393"/>
                      <a:pt x="16797" y="16463"/>
                      <a:pt x="18053" y="11558"/>
                    </a:cubicBezTo>
                    <a:cubicBezTo>
                      <a:pt x="19309" y="6654"/>
                      <a:pt x="16379" y="1571"/>
                      <a:pt x="11474" y="315"/>
                    </a:cubicBezTo>
                    <a:cubicBezTo>
                      <a:pt x="6571" y="-1001"/>
                      <a:pt x="1547" y="1930"/>
                      <a:pt x="290" y="6834"/>
                    </a:cubicBezTo>
                    <a:cubicBezTo>
                      <a:pt x="-965" y="11738"/>
                      <a:pt x="1965" y="16762"/>
                      <a:pt x="6869" y="18078"/>
                    </a:cubicBezTo>
                    <a:close/>
                  </a:path>
                </a:pathLst>
              </a:custGeom>
              <a:grpFill/>
              <a:ln w="5978" cap="flat">
                <a:noFill/>
                <a:prstDash val="solid"/>
                <a:miter/>
              </a:ln>
            </p:spPr>
            <p:txBody>
              <a:bodyPr rtlCol="0" anchor="ctr"/>
              <a:lstStyle/>
              <a:p>
                <a:endParaRPr lang="en-GB"/>
              </a:p>
            </p:txBody>
          </p:sp>
        </p:grpSp>
        <p:grpSp>
          <p:nvGrpSpPr>
            <p:cNvPr id="1068" name="Graphic 3">
              <a:extLst>
                <a:ext uri="{FF2B5EF4-FFF2-40B4-BE49-F238E27FC236}">
                  <a16:creationId xmlns:a16="http://schemas.microsoft.com/office/drawing/2014/main" id="{F5B0908E-0C2A-4FCA-8AAF-E923BB55C4C1}"/>
                </a:ext>
              </a:extLst>
            </p:cNvPr>
            <p:cNvGrpSpPr/>
            <p:nvPr/>
          </p:nvGrpSpPr>
          <p:grpSpPr>
            <a:xfrm>
              <a:off x="4827612" y="4728902"/>
              <a:ext cx="191142" cy="236727"/>
              <a:chOff x="4827612" y="4728902"/>
              <a:chExt cx="191142" cy="236727"/>
            </a:xfrm>
            <a:grpFill/>
          </p:grpSpPr>
          <p:sp>
            <p:nvSpPr>
              <p:cNvPr id="2196" name="Vrije vorm: vorm 2195">
                <a:extLst>
                  <a:ext uri="{FF2B5EF4-FFF2-40B4-BE49-F238E27FC236}">
                    <a16:creationId xmlns:a16="http://schemas.microsoft.com/office/drawing/2014/main" id="{E504409E-7578-4AD3-ABDF-5B1A1A63353A}"/>
                  </a:ext>
                </a:extLst>
              </p:cNvPr>
              <p:cNvSpPr/>
              <p:nvPr/>
            </p:nvSpPr>
            <p:spPr>
              <a:xfrm>
                <a:off x="4835314" y="4736771"/>
                <a:ext cx="175713" cy="220987"/>
              </a:xfrm>
              <a:custGeom>
                <a:avLst/>
                <a:gdLst>
                  <a:gd name="connsiteX0" fmla="*/ 175713 w 175713"/>
                  <a:gd name="connsiteY0" fmla="*/ 1914 h 220987"/>
                  <a:gd name="connsiteX1" fmla="*/ 2392 w 175713"/>
                  <a:gd name="connsiteY1" fmla="*/ 220988 h 220987"/>
                  <a:gd name="connsiteX2" fmla="*/ 0 w 175713"/>
                  <a:gd name="connsiteY2" fmla="*/ 219074 h 220987"/>
                  <a:gd name="connsiteX3" fmla="*/ 173321 w 175713"/>
                  <a:gd name="connsiteY3" fmla="*/ 0 h 220987"/>
                </a:gdLst>
                <a:ahLst/>
                <a:cxnLst>
                  <a:cxn ang="0">
                    <a:pos x="connsiteX0" y="connsiteY0"/>
                  </a:cxn>
                  <a:cxn ang="0">
                    <a:pos x="connsiteX1" y="connsiteY1"/>
                  </a:cxn>
                  <a:cxn ang="0">
                    <a:pos x="connsiteX2" y="connsiteY2"/>
                  </a:cxn>
                  <a:cxn ang="0">
                    <a:pos x="connsiteX3" y="connsiteY3"/>
                  </a:cxn>
                </a:cxnLst>
                <a:rect l="l" t="t" r="r" b="b"/>
                <a:pathLst>
                  <a:path w="175713" h="220987">
                    <a:moveTo>
                      <a:pt x="175713" y="1914"/>
                    </a:moveTo>
                    <a:lnTo>
                      <a:pt x="2392" y="220988"/>
                    </a:lnTo>
                    <a:lnTo>
                      <a:pt x="0" y="219074"/>
                    </a:lnTo>
                    <a:lnTo>
                      <a:pt x="173321" y="0"/>
                    </a:lnTo>
                    <a:close/>
                  </a:path>
                </a:pathLst>
              </a:custGeom>
              <a:grpFill/>
              <a:ln w="5978" cap="flat">
                <a:noFill/>
                <a:prstDash val="solid"/>
                <a:miter/>
              </a:ln>
            </p:spPr>
            <p:txBody>
              <a:bodyPr rtlCol="0" anchor="ctr"/>
              <a:lstStyle/>
              <a:p>
                <a:endParaRPr lang="en-GB"/>
              </a:p>
            </p:txBody>
          </p:sp>
          <p:sp>
            <p:nvSpPr>
              <p:cNvPr id="2197" name="Vrije vorm: vorm 2196">
                <a:extLst>
                  <a:ext uri="{FF2B5EF4-FFF2-40B4-BE49-F238E27FC236}">
                    <a16:creationId xmlns:a16="http://schemas.microsoft.com/office/drawing/2014/main" id="{B6119F93-E56D-4A69-93B9-3598880F6262}"/>
                  </a:ext>
                </a:extLst>
              </p:cNvPr>
              <p:cNvSpPr/>
              <p:nvPr/>
            </p:nvSpPr>
            <p:spPr>
              <a:xfrm>
                <a:off x="4827612" y="4947198"/>
                <a:ext cx="18318" cy="18431"/>
              </a:xfrm>
              <a:custGeom>
                <a:avLst/>
                <a:gdLst>
                  <a:gd name="connsiteX0" fmla="*/ 16314 w 18318"/>
                  <a:gd name="connsiteY0" fmla="*/ 14987 h 18431"/>
                  <a:gd name="connsiteX1" fmla="*/ 3456 w 18318"/>
                  <a:gd name="connsiteY1" fmla="*/ 16422 h 18431"/>
                  <a:gd name="connsiteX2" fmla="*/ 1960 w 18318"/>
                  <a:gd name="connsiteY2" fmla="*/ 3444 h 18431"/>
                  <a:gd name="connsiteX3" fmla="*/ 14819 w 18318"/>
                  <a:gd name="connsiteY3" fmla="*/ 2009 h 18431"/>
                  <a:gd name="connsiteX4" fmla="*/ 16314 w 18318"/>
                  <a:gd name="connsiteY4" fmla="*/ 14987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1">
                    <a:moveTo>
                      <a:pt x="16314" y="14987"/>
                    </a:moveTo>
                    <a:cubicBezTo>
                      <a:pt x="13144" y="18934"/>
                      <a:pt x="7403" y="19592"/>
                      <a:pt x="3456" y="16422"/>
                    </a:cubicBezTo>
                    <a:cubicBezTo>
                      <a:pt x="-492" y="13253"/>
                      <a:pt x="-1150" y="7451"/>
                      <a:pt x="1960" y="3444"/>
                    </a:cubicBezTo>
                    <a:cubicBezTo>
                      <a:pt x="5130" y="-503"/>
                      <a:pt x="10872" y="-1161"/>
                      <a:pt x="14819" y="2009"/>
                    </a:cubicBezTo>
                    <a:cubicBezTo>
                      <a:pt x="18826" y="5178"/>
                      <a:pt x="19484" y="10980"/>
                      <a:pt x="16314" y="14987"/>
                    </a:cubicBezTo>
                    <a:close/>
                  </a:path>
                </a:pathLst>
              </a:custGeom>
              <a:grpFill/>
              <a:ln w="5978" cap="flat">
                <a:noFill/>
                <a:prstDash val="solid"/>
                <a:miter/>
              </a:ln>
            </p:spPr>
            <p:txBody>
              <a:bodyPr rtlCol="0" anchor="ctr"/>
              <a:lstStyle/>
              <a:p>
                <a:endParaRPr lang="en-GB"/>
              </a:p>
            </p:txBody>
          </p:sp>
          <p:sp>
            <p:nvSpPr>
              <p:cNvPr id="2198" name="Vrije vorm: vorm 2197">
                <a:extLst>
                  <a:ext uri="{FF2B5EF4-FFF2-40B4-BE49-F238E27FC236}">
                    <a16:creationId xmlns:a16="http://schemas.microsoft.com/office/drawing/2014/main" id="{5CB4C893-4288-4E8A-B6F9-D89FF9DD10B0}"/>
                  </a:ext>
                </a:extLst>
              </p:cNvPr>
              <p:cNvSpPr/>
              <p:nvPr/>
            </p:nvSpPr>
            <p:spPr>
              <a:xfrm>
                <a:off x="5000429" y="4728902"/>
                <a:ext cx="18324" cy="18390"/>
              </a:xfrm>
              <a:custGeom>
                <a:avLst/>
                <a:gdLst>
                  <a:gd name="connsiteX0" fmla="*/ 16339 w 18324"/>
                  <a:gd name="connsiteY0" fmla="*/ 14927 h 18390"/>
                  <a:gd name="connsiteX1" fmla="*/ 14844 w 18324"/>
                  <a:gd name="connsiteY1" fmla="*/ 2009 h 18390"/>
                  <a:gd name="connsiteX2" fmla="*/ 1985 w 18324"/>
                  <a:gd name="connsiteY2" fmla="*/ 3444 h 18390"/>
                  <a:gd name="connsiteX3" fmla="*/ 3481 w 18324"/>
                  <a:gd name="connsiteY3" fmla="*/ 16363 h 18390"/>
                  <a:gd name="connsiteX4" fmla="*/ 16339 w 18324"/>
                  <a:gd name="connsiteY4" fmla="*/ 14927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0">
                    <a:moveTo>
                      <a:pt x="16339" y="14927"/>
                    </a:moveTo>
                    <a:cubicBezTo>
                      <a:pt x="19509" y="10980"/>
                      <a:pt x="18792" y="5178"/>
                      <a:pt x="14844" y="2009"/>
                    </a:cubicBezTo>
                    <a:cubicBezTo>
                      <a:pt x="10897" y="-1161"/>
                      <a:pt x="5095" y="-503"/>
                      <a:pt x="1985" y="3444"/>
                    </a:cubicBezTo>
                    <a:cubicBezTo>
                      <a:pt x="-1184" y="7392"/>
                      <a:pt x="-467" y="13193"/>
                      <a:pt x="3481" y="16363"/>
                    </a:cubicBezTo>
                    <a:cubicBezTo>
                      <a:pt x="7428" y="19532"/>
                      <a:pt x="13170" y="18934"/>
                      <a:pt x="16339" y="14927"/>
                    </a:cubicBezTo>
                    <a:close/>
                  </a:path>
                </a:pathLst>
              </a:custGeom>
              <a:grpFill/>
              <a:ln w="5978" cap="flat">
                <a:noFill/>
                <a:prstDash val="solid"/>
                <a:miter/>
              </a:ln>
            </p:spPr>
            <p:txBody>
              <a:bodyPr rtlCol="0" anchor="ctr"/>
              <a:lstStyle/>
              <a:p>
                <a:endParaRPr lang="en-GB"/>
              </a:p>
            </p:txBody>
          </p:sp>
        </p:grpSp>
        <p:grpSp>
          <p:nvGrpSpPr>
            <p:cNvPr id="1069" name="Graphic 3">
              <a:extLst>
                <a:ext uri="{FF2B5EF4-FFF2-40B4-BE49-F238E27FC236}">
                  <a16:creationId xmlns:a16="http://schemas.microsoft.com/office/drawing/2014/main" id="{DEBB1B73-4A6C-41EC-B390-B0725F6E58E5}"/>
                </a:ext>
              </a:extLst>
            </p:cNvPr>
            <p:cNvGrpSpPr/>
            <p:nvPr/>
          </p:nvGrpSpPr>
          <p:grpSpPr>
            <a:xfrm>
              <a:off x="4290044" y="3111562"/>
              <a:ext cx="112511" cy="34225"/>
              <a:chOff x="4290044" y="3111562"/>
              <a:chExt cx="112511" cy="34225"/>
            </a:xfrm>
            <a:grpFill/>
          </p:grpSpPr>
          <p:sp>
            <p:nvSpPr>
              <p:cNvPr id="2193" name="Vrije vorm: vorm 2192">
                <a:extLst>
                  <a:ext uri="{FF2B5EF4-FFF2-40B4-BE49-F238E27FC236}">
                    <a16:creationId xmlns:a16="http://schemas.microsoft.com/office/drawing/2014/main" id="{CB725AAF-76AE-4838-89C2-E0DD319909C2}"/>
                  </a:ext>
                </a:extLst>
              </p:cNvPr>
              <p:cNvSpPr/>
              <p:nvPr/>
            </p:nvSpPr>
            <p:spPr>
              <a:xfrm>
                <a:off x="4298484" y="3119106"/>
                <a:ext cx="95571" cy="19078"/>
              </a:xfrm>
              <a:custGeom>
                <a:avLst/>
                <a:gdLst>
                  <a:gd name="connsiteX0" fmla="*/ 95572 w 95571"/>
                  <a:gd name="connsiteY0" fmla="*/ 16088 h 19078"/>
                  <a:gd name="connsiteX1" fmla="*/ 95093 w 95571"/>
                  <a:gd name="connsiteY1" fmla="*/ 19079 h 19078"/>
                  <a:gd name="connsiteX2" fmla="*/ 0 w 95571"/>
                  <a:gd name="connsiteY2" fmla="*/ 3050 h 19078"/>
                  <a:gd name="connsiteX3" fmla="*/ 538 w 95571"/>
                  <a:gd name="connsiteY3" fmla="*/ 0 h 19078"/>
                </a:gdLst>
                <a:ahLst/>
                <a:cxnLst>
                  <a:cxn ang="0">
                    <a:pos x="connsiteX0" y="connsiteY0"/>
                  </a:cxn>
                  <a:cxn ang="0">
                    <a:pos x="connsiteX1" y="connsiteY1"/>
                  </a:cxn>
                  <a:cxn ang="0">
                    <a:pos x="connsiteX2" y="connsiteY2"/>
                  </a:cxn>
                  <a:cxn ang="0">
                    <a:pos x="connsiteX3" y="connsiteY3"/>
                  </a:cxn>
                </a:cxnLst>
                <a:rect l="l" t="t" r="r" b="b"/>
                <a:pathLst>
                  <a:path w="95571" h="19078">
                    <a:moveTo>
                      <a:pt x="95572" y="16088"/>
                    </a:moveTo>
                    <a:lnTo>
                      <a:pt x="95093" y="19079"/>
                    </a:lnTo>
                    <a:lnTo>
                      <a:pt x="0" y="3050"/>
                    </a:lnTo>
                    <a:lnTo>
                      <a:pt x="538" y="0"/>
                    </a:lnTo>
                    <a:close/>
                  </a:path>
                </a:pathLst>
              </a:custGeom>
              <a:grpFill/>
              <a:ln w="5978" cap="flat">
                <a:noFill/>
                <a:prstDash val="solid"/>
                <a:miter/>
              </a:ln>
            </p:spPr>
            <p:txBody>
              <a:bodyPr rtlCol="0" anchor="ctr"/>
              <a:lstStyle/>
              <a:p>
                <a:endParaRPr lang="en-GB"/>
              </a:p>
            </p:txBody>
          </p:sp>
          <p:sp>
            <p:nvSpPr>
              <p:cNvPr id="2194" name="Vrije vorm: vorm 2193">
                <a:extLst>
                  <a:ext uri="{FF2B5EF4-FFF2-40B4-BE49-F238E27FC236}">
                    <a16:creationId xmlns:a16="http://schemas.microsoft.com/office/drawing/2014/main" id="{38360CBC-5FD9-473E-8E65-662E422B8A35}"/>
                  </a:ext>
                </a:extLst>
              </p:cNvPr>
              <p:cNvSpPr/>
              <p:nvPr/>
            </p:nvSpPr>
            <p:spPr>
              <a:xfrm>
                <a:off x="4290044" y="3111562"/>
                <a:ext cx="18314" cy="18376"/>
              </a:xfrm>
              <a:custGeom>
                <a:avLst/>
                <a:gdLst>
                  <a:gd name="connsiteX0" fmla="*/ 7662 w 18314"/>
                  <a:gd name="connsiteY0" fmla="*/ 18250 h 18376"/>
                  <a:gd name="connsiteX1" fmla="*/ 127 w 18314"/>
                  <a:gd name="connsiteY1" fmla="*/ 7664 h 18376"/>
                  <a:gd name="connsiteX2" fmla="*/ 10653 w 18314"/>
                  <a:gd name="connsiteY2" fmla="*/ 128 h 18376"/>
                  <a:gd name="connsiteX3" fmla="*/ 18188 w 18314"/>
                  <a:gd name="connsiteY3" fmla="*/ 10714 h 18376"/>
                  <a:gd name="connsiteX4" fmla="*/ 7662 w 18314"/>
                  <a:gd name="connsiteY4" fmla="*/ 18250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76">
                    <a:moveTo>
                      <a:pt x="7662" y="18250"/>
                    </a:moveTo>
                    <a:cubicBezTo>
                      <a:pt x="2698" y="17412"/>
                      <a:pt x="-711" y="12628"/>
                      <a:pt x="127" y="7664"/>
                    </a:cubicBezTo>
                    <a:cubicBezTo>
                      <a:pt x="964" y="2640"/>
                      <a:pt x="5629" y="-709"/>
                      <a:pt x="10653" y="128"/>
                    </a:cubicBezTo>
                    <a:cubicBezTo>
                      <a:pt x="15616" y="965"/>
                      <a:pt x="19025" y="5750"/>
                      <a:pt x="18188" y="10714"/>
                    </a:cubicBezTo>
                    <a:cubicBezTo>
                      <a:pt x="17411" y="15678"/>
                      <a:pt x="12686" y="19087"/>
                      <a:pt x="7662" y="18250"/>
                    </a:cubicBezTo>
                    <a:close/>
                  </a:path>
                </a:pathLst>
              </a:custGeom>
              <a:grpFill/>
              <a:ln w="5978" cap="flat">
                <a:noFill/>
                <a:prstDash val="solid"/>
                <a:miter/>
              </a:ln>
            </p:spPr>
            <p:txBody>
              <a:bodyPr rtlCol="0" anchor="ctr"/>
              <a:lstStyle/>
              <a:p>
                <a:endParaRPr lang="en-GB"/>
              </a:p>
            </p:txBody>
          </p:sp>
          <p:sp>
            <p:nvSpPr>
              <p:cNvPr id="2195" name="Vrije vorm: vorm 2194">
                <a:extLst>
                  <a:ext uri="{FF2B5EF4-FFF2-40B4-BE49-F238E27FC236}">
                    <a16:creationId xmlns:a16="http://schemas.microsoft.com/office/drawing/2014/main" id="{941B13BC-6E0E-4A0D-80DD-D6870C028AF0}"/>
                  </a:ext>
                </a:extLst>
              </p:cNvPr>
              <p:cNvSpPr/>
              <p:nvPr/>
            </p:nvSpPr>
            <p:spPr>
              <a:xfrm>
                <a:off x="4384239" y="3127411"/>
                <a:ext cx="18316" cy="18376"/>
              </a:xfrm>
              <a:custGeom>
                <a:avLst/>
                <a:gdLst>
                  <a:gd name="connsiteX0" fmla="*/ 7664 w 18316"/>
                  <a:gd name="connsiteY0" fmla="*/ 18250 h 18376"/>
                  <a:gd name="connsiteX1" fmla="*/ 18190 w 18316"/>
                  <a:gd name="connsiteY1" fmla="*/ 10714 h 18376"/>
                  <a:gd name="connsiteX2" fmla="*/ 10654 w 18316"/>
                  <a:gd name="connsiteY2" fmla="*/ 128 h 18376"/>
                  <a:gd name="connsiteX3" fmla="*/ 128 w 18316"/>
                  <a:gd name="connsiteY3" fmla="*/ 7664 h 18376"/>
                  <a:gd name="connsiteX4" fmla="*/ 7664 w 18316"/>
                  <a:gd name="connsiteY4" fmla="*/ 18250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76">
                    <a:moveTo>
                      <a:pt x="7664" y="18250"/>
                    </a:moveTo>
                    <a:cubicBezTo>
                      <a:pt x="12628" y="19087"/>
                      <a:pt x="17353" y="15678"/>
                      <a:pt x="18190" y="10714"/>
                    </a:cubicBezTo>
                    <a:cubicBezTo>
                      <a:pt x="19027" y="5690"/>
                      <a:pt x="15618" y="965"/>
                      <a:pt x="10654" y="128"/>
                    </a:cubicBezTo>
                    <a:cubicBezTo>
                      <a:pt x="5630" y="-709"/>
                      <a:pt x="966" y="2640"/>
                      <a:pt x="128" y="7664"/>
                    </a:cubicBezTo>
                    <a:cubicBezTo>
                      <a:pt x="-709" y="12688"/>
                      <a:pt x="2640" y="17412"/>
                      <a:pt x="7664" y="18250"/>
                    </a:cubicBezTo>
                    <a:close/>
                  </a:path>
                </a:pathLst>
              </a:custGeom>
              <a:grpFill/>
              <a:ln w="5978" cap="flat">
                <a:noFill/>
                <a:prstDash val="solid"/>
                <a:miter/>
              </a:ln>
            </p:spPr>
            <p:txBody>
              <a:bodyPr rtlCol="0" anchor="ctr"/>
              <a:lstStyle/>
              <a:p>
                <a:endParaRPr lang="en-GB"/>
              </a:p>
            </p:txBody>
          </p:sp>
        </p:grpSp>
        <p:grpSp>
          <p:nvGrpSpPr>
            <p:cNvPr id="1070" name="Graphic 3">
              <a:extLst>
                <a:ext uri="{FF2B5EF4-FFF2-40B4-BE49-F238E27FC236}">
                  <a16:creationId xmlns:a16="http://schemas.microsoft.com/office/drawing/2014/main" id="{28583572-F871-47CE-939B-E7D943605FFF}"/>
                </a:ext>
              </a:extLst>
            </p:cNvPr>
            <p:cNvGrpSpPr/>
            <p:nvPr/>
          </p:nvGrpSpPr>
          <p:grpSpPr>
            <a:xfrm>
              <a:off x="4819037" y="4746703"/>
              <a:ext cx="225669" cy="290715"/>
              <a:chOff x="4819037" y="4746703"/>
              <a:chExt cx="225669" cy="290715"/>
            </a:xfrm>
            <a:grpFill/>
          </p:grpSpPr>
          <p:sp>
            <p:nvSpPr>
              <p:cNvPr id="2190" name="Vrije vorm: vorm 2189">
                <a:extLst>
                  <a:ext uri="{FF2B5EF4-FFF2-40B4-BE49-F238E27FC236}">
                    <a16:creationId xmlns:a16="http://schemas.microsoft.com/office/drawing/2014/main" id="{3E51B147-0A69-4B43-B621-9EBE96B121C4}"/>
                  </a:ext>
                </a:extLst>
              </p:cNvPr>
              <p:cNvSpPr/>
              <p:nvPr/>
            </p:nvSpPr>
            <p:spPr>
              <a:xfrm>
                <a:off x="4826761" y="4754594"/>
                <a:ext cx="210282" cy="274933"/>
              </a:xfrm>
              <a:custGeom>
                <a:avLst/>
                <a:gdLst>
                  <a:gd name="connsiteX0" fmla="*/ 210282 w 210282"/>
                  <a:gd name="connsiteY0" fmla="*/ 1914 h 274933"/>
                  <a:gd name="connsiteX1" fmla="*/ 2392 w 210282"/>
                  <a:gd name="connsiteY1" fmla="*/ 274934 h 274933"/>
                  <a:gd name="connsiteX2" fmla="*/ 0 w 210282"/>
                  <a:gd name="connsiteY2" fmla="*/ 273020 h 274933"/>
                  <a:gd name="connsiteX3" fmla="*/ 207890 w 210282"/>
                  <a:gd name="connsiteY3" fmla="*/ 0 h 274933"/>
                </a:gdLst>
                <a:ahLst/>
                <a:cxnLst>
                  <a:cxn ang="0">
                    <a:pos x="connsiteX0" y="connsiteY0"/>
                  </a:cxn>
                  <a:cxn ang="0">
                    <a:pos x="connsiteX1" y="connsiteY1"/>
                  </a:cxn>
                  <a:cxn ang="0">
                    <a:pos x="connsiteX2" y="connsiteY2"/>
                  </a:cxn>
                  <a:cxn ang="0">
                    <a:pos x="connsiteX3" y="connsiteY3"/>
                  </a:cxn>
                </a:cxnLst>
                <a:rect l="l" t="t" r="r" b="b"/>
                <a:pathLst>
                  <a:path w="210282" h="274933">
                    <a:moveTo>
                      <a:pt x="210282" y="1914"/>
                    </a:moveTo>
                    <a:lnTo>
                      <a:pt x="2392" y="274934"/>
                    </a:lnTo>
                    <a:lnTo>
                      <a:pt x="0" y="273020"/>
                    </a:lnTo>
                    <a:lnTo>
                      <a:pt x="207890" y="0"/>
                    </a:lnTo>
                    <a:close/>
                  </a:path>
                </a:pathLst>
              </a:custGeom>
              <a:grpFill/>
              <a:ln w="5978" cap="flat">
                <a:noFill/>
                <a:prstDash val="solid"/>
                <a:miter/>
              </a:ln>
            </p:spPr>
            <p:txBody>
              <a:bodyPr rtlCol="0" anchor="ctr"/>
              <a:lstStyle/>
              <a:p>
                <a:endParaRPr lang="en-GB"/>
              </a:p>
            </p:txBody>
          </p:sp>
          <p:sp>
            <p:nvSpPr>
              <p:cNvPr id="2191" name="Vrije vorm: vorm 2190">
                <a:extLst>
                  <a:ext uri="{FF2B5EF4-FFF2-40B4-BE49-F238E27FC236}">
                    <a16:creationId xmlns:a16="http://schemas.microsoft.com/office/drawing/2014/main" id="{3FA457CF-F23E-45A0-BE6D-4664CBDAB03F}"/>
                  </a:ext>
                </a:extLst>
              </p:cNvPr>
              <p:cNvSpPr/>
              <p:nvPr/>
            </p:nvSpPr>
            <p:spPr>
              <a:xfrm>
                <a:off x="4819037" y="5019005"/>
                <a:ext cx="18361" cy="18413"/>
              </a:xfrm>
              <a:custGeom>
                <a:avLst/>
                <a:gdLst>
                  <a:gd name="connsiteX0" fmla="*/ 16456 w 18361"/>
                  <a:gd name="connsiteY0" fmla="*/ 14829 h 18413"/>
                  <a:gd name="connsiteX1" fmla="*/ 3597 w 18361"/>
                  <a:gd name="connsiteY1" fmla="*/ 16503 h 18413"/>
                  <a:gd name="connsiteX2" fmla="*/ 1863 w 18361"/>
                  <a:gd name="connsiteY2" fmla="*/ 3585 h 18413"/>
                  <a:gd name="connsiteX3" fmla="*/ 14721 w 18361"/>
                  <a:gd name="connsiteY3" fmla="*/ 1910 h 18413"/>
                  <a:gd name="connsiteX4" fmla="*/ 16456 w 18361"/>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3">
                    <a:moveTo>
                      <a:pt x="16456" y="14829"/>
                    </a:moveTo>
                    <a:cubicBezTo>
                      <a:pt x="13405" y="18836"/>
                      <a:pt x="7604" y="19614"/>
                      <a:pt x="3597" y="16503"/>
                    </a:cubicBezTo>
                    <a:cubicBezTo>
                      <a:pt x="-410" y="13393"/>
                      <a:pt x="-1188" y="7592"/>
                      <a:pt x="1863" y="3585"/>
                    </a:cubicBezTo>
                    <a:cubicBezTo>
                      <a:pt x="4913" y="-422"/>
                      <a:pt x="10714" y="-1200"/>
                      <a:pt x="14721" y="1910"/>
                    </a:cubicBezTo>
                    <a:cubicBezTo>
                      <a:pt x="18788" y="5021"/>
                      <a:pt x="19566" y="10762"/>
                      <a:pt x="16456" y="14829"/>
                    </a:cubicBezTo>
                    <a:close/>
                  </a:path>
                </a:pathLst>
              </a:custGeom>
              <a:grpFill/>
              <a:ln w="5978" cap="flat">
                <a:noFill/>
                <a:prstDash val="solid"/>
                <a:miter/>
              </a:ln>
            </p:spPr>
            <p:txBody>
              <a:bodyPr rtlCol="0" anchor="ctr"/>
              <a:lstStyle/>
              <a:p>
                <a:endParaRPr lang="en-GB"/>
              </a:p>
            </p:txBody>
          </p:sp>
          <p:sp>
            <p:nvSpPr>
              <p:cNvPr id="2192" name="Vrije vorm: vorm 2191">
                <a:extLst>
                  <a:ext uri="{FF2B5EF4-FFF2-40B4-BE49-F238E27FC236}">
                    <a16:creationId xmlns:a16="http://schemas.microsoft.com/office/drawing/2014/main" id="{D9172976-E25B-470C-A3FE-C5C7017C9E62}"/>
                  </a:ext>
                </a:extLst>
              </p:cNvPr>
              <p:cNvSpPr/>
              <p:nvPr/>
            </p:nvSpPr>
            <p:spPr>
              <a:xfrm>
                <a:off x="5026389" y="4746703"/>
                <a:ext cx="18318" cy="18413"/>
              </a:xfrm>
              <a:custGeom>
                <a:avLst/>
                <a:gdLst>
                  <a:gd name="connsiteX0" fmla="*/ 16456 w 18318"/>
                  <a:gd name="connsiteY0" fmla="*/ 14829 h 18413"/>
                  <a:gd name="connsiteX1" fmla="*/ 14721 w 18318"/>
                  <a:gd name="connsiteY1" fmla="*/ 1910 h 18413"/>
                  <a:gd name="connsiteX2" fmla="*/ 1863 w 18318"/>
                  <a:gd name="connsiteY2" fmla="*/ 3585 h 18413"/>
                  <a:gd name="connsiteX3" fmla="*/ 3597 w 18318"/>
                  <a:gd name="connsiteY3" fmla="*/ 16503 h 18413"/>
                  <a:gd name="connsiteX4" fmla="*/ 16456 w 1831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6456" y="14829"/>
                    </a:moveTo>
                    <a:cubicBezTo>
                      <a:pt x="19506" y="10822"/>
                      <a:pt x="18728" y="5020"/>
                      <a:pt x="14721" y="1910"/>
                    </a:cubicBezTo>
                    <a:cubicBezTo>
                      <a:pt x="10714" y="-1200"/>
                      <a:pt x="4973" y="-422"/>
                      <a:pt x="1863" y="3585"/>
                    </a:cubicBezTo>
                    <a:cubicBezTo>
                      <a:pt x="-1187" y="7592"/>
                      <a:pt x="-410" y="13393"/>
                      <a:pt x="3597" y="16503"/>
                    </a:cubicBezTo>
                    <a:cubicBezTo>
                      <a:pt x="7664" y="19613"/>
                      <a:pt x="13405" y="18836"/>
                      <a:pt x="16456" y="14829"/>
                    </a:cubicBezTo>
                    <a:close/>
                  </a:path>
                </a:pathLst>
              </a:custGeom>
              <a:grpFill/>
              <a:ln w="5978" cap="flat">
                <a:noFill/>
                <a:prstDash val="solid"/>
                <a:miter/>
              </a:ln>
            </p:spPr>
            <p:txBody>
              <a:bodyPr rtlCol="0" anchor="ctr"/>
              <a:lstStyle/>
              <a:p>
                <a:endParaRPr lang="en-GB"/>
              </a:p>
            </p:txBody>
          </p:sp>
        </p:grpSp>
        <p:grpSp>
          <p:nvGrpSpPr>
            <p:cNvPr id="1071" name="Graphic 3">
              <a:extLst>
                <a:ext uri="{FF2B5EF4-FFF2-40B4-BE49-F238E27FC236}">
                  <a16:creationId xmlns:a16="http://schemas.microsoft.com/office/drawing/2014/main" id="{31E3FF48-F5A0-487D-ADE7-192C612DC7C1}"/>
                </a:ext>
              </a:extLst>
            </p:cNvPr>
            <p:cNvGrpSpPr/>
            <p:nvPr/>
          </p:nvGrpSpPr>
          <p:grpSpPr>
            <a:xfrm>
              <a:off x="4811653" y="4782058"/>
              <a:ext cx="284038" cy="330663"/>
              <a:chOff x="4811653" y="4782058"/>
              <a:chExt cx="284038" cy="330663"/>
            </a:xfrm>
            <a:grpFill/>
          </p:grpSpPr>
          <p:sp>
            <p:nvSpPr>
              <p:cNvPr id="2187" name="Vrije vorm: vorm 2186">
                <a:extLst>
                  <a:ext uri="{FF2B5EF4-FFF2-40B4-BE49-F238E27FC236}">
                    <a16:creationId xmlns:a16="http://schemas.microsoft.com/office/drawing/2014/main" id="{A48EA767-6A18-4DC3-818C-3ACA297A4930}"/>
                  </a:ext>
                </a:extLst>
              </p:cNvPr>
              <p:cNvSpPr/>
              <p:nvPr/>
            </p:nvSpPr>
            <p:spPr>
              <a:xfrm>
                <a:off x="4819345" y="4789940"/>
                <a:ext cx="268654" cy="314885"/>
              </a:xfrm>
              <a:custGeom>
                <a:avLst/>
                <a:gdLst>
                  <a:gd name="connsiteX0" fmla="*/ 268654 w 268654"/>
                  <a:gd name="connsiteY0" fmla="*/ 1974 h 314885"/>
                  <a:gd name="connsiteX1" fmla="*/ 2333 w 268654"/>
                  <a:gd name="connsiteY1" fmla="*/ 314885 h 314885"/>
                  <a:gd name="connsiteX2" fmla="*/ 0 w 268654"/>
                  <a:gd name="connsiteY2" fmla="*/ 312911 h 314885"/>
                  <a:gd name="connsiteX3" fmla="*/ 266382 w 268654"/>
                  <a:gd name="connsiteY3" fmla="*/ 0 h 314885"/>
                </a:gdLst>
                <a:ahLst/>
                <a:cxnLst>
                  <a:cxn ang="0">
                    <a:pos x="connsiteX0" y="connsiteY0"/>
                  </a:cxn>
                  <a:cxn ang="0">
                    <a:pos x="connsiteX1" y="connsiteY1"/>
                  </a:cxn>
                  <a:cxn ang="0">
                    <a:pos x="connsiteX2" y="connsiteY2"/>
                  </a:cxn>
                  <a:cxn ang="0">
                    <a:pos x="connsiteX3" y="connsiteY3"/>
                  </a:cxn>
                </a:cxnLst>
                <a:rect l="l" t="t" r="r" b="b"/>
                <a:pathLst>
                  <a:path w="268654" h="314885">
                    <a:moveTo>
                      <a:pt x="268654" y="1974"/>
                    </a:moveTo>
                    <a:lnTo>
                      <a:pt x="2333" y="314885"/>
                    </a:lnTo>
                    <a:lnTo>
                      <a:pt x="0" y="312911"/>
                    </a:lnTo>
                    <a:lnTo>
                      <a:pt x="266382" y="0"/>
                    </a:lnTo>
                    <a:close/>
                  </a:path>
                </a:pathLst>
              </a:custGeom>
              <a:grpFill/>
              <a:ln w="5978" cap="flat">
                <a:noFill/>
                <a:prstDash val="solid"/>
                <a:miter/>
              </a:ln>
            </p:spPr>
            <p:txBody>
              <a:bodyPr rtlCol="0" anchor="ctr"/>
              <a:lstStyle/>
              <a:p>
                <a:endParaRPr lang="en-GB"/>
              </a:p>
            </p:txBody>
          </p:sp>
          <p:sp>
            <p:nvSpPr>
              <p:cNvPr id="2188" name="Vrije vorm: vorm 2187">
                <a:extLst>
                  <a:ext uri="{FF2B5EF4-FFF2-40B4-BE49-F238E27FC236}">
                    <a16:creationId xmlns:a16="http://schemas.microsoft.com/office/drawing/2014/main" id="{AFA9C7D7-8F71-4918-9554-032817EC0B2B}"/>
                  </a:ext>
                </a:extLst>
              </p:cNvPr>
              <p:cNvSpPr/>
              <p:nvPr/>
            </p:nvSpPr>
            <p:spPr>
              <a:xfrm>
                <a:off x="5077376" y="4782058"/>
                <a:ext cx="18314" cy="18454"/>
              </a:xfrm>
              <a:custGeom>
                <a:avLst/>
                <a:gdLst>
                  <a:gd name="connsiteX0" fmla="*/ 2190 w 18314"/>
                  <a:gd name="connsiteY0" fmla="*/ 3217 h 18454"/>
                  <a:gd name="connsiteX1" fmla="*/ 15108 w 18314"/>
                  <a:gd name="connsiteY1" fmla="*/ 2260 h 18454"/>
                  <a:gd name="connsiteX2" fmla="*/ 16125 w 18314"/>
                  <a:gd name="connsiteY2" fmla="*/ 15238 h 18454"/>
                  <a:gd name="connsiteX3" fmla="*/ 3206 w 18314"/>
                  <a:gd name="connsiteY3" fmla="*/ 16195 h 18454"/>
                  <a:gd name="connsiteX4" fmla="*/ 2190 w 18314"/>
                  <a:gd name="connsiteY4" fmla="*/ 321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54">
                    <a:moveTo>
                      <a:pt x="2190" y="3217"/>
                    </a:moveTo>
                    <a:cubicBezTo>
                      <a:pt x="5479" y="-671"/>
                      <a:pt x="11281" y="-1089"/>
                      <a:pt x="15108" y="2260"/>
                    </a:cubicBezTo>
                    <a:cubicBezTo>
                      <a:pt x="18936" y="5549"/>
                      <a:pt x="19414" y="11410"/>
                      <a:pt x="16125" y="15238"/>
                    </a:cubicBezTo>
                    <a:cubicBezTo>
                      <a:pt x="12836" y="19125"/>
                      <a:pt x="7034" y="19544"/>
                      <a:pt x="3206" y="16195"/>
                    </a:cubicBezTo>
                    <a:cubicBezTo>
                      <a:pt x="-621" y="12846"/>
                      <a:pt x="-1099" y="7044"/>
                      <a:pt x="2190" y="3217"/>
                    </a:cubicBezTo>
                    <a:close/>
                  </a:path>
                </a:pathLst>
              </a:custGeom>
              <a:grpFill/>
              <a:ln w="5978" cap="flat">
                <a:noFill/>
                <a:prstDash val="solid"/>
                <a:miter/>
              </a:ln>
            </p:spPr>
            <p:txBody>
              <a:bodyPr rtlCol="0" anchor="ctr"/>
              <a:lstStyle/>
              <a:p>
                <a:endParaRPr lang="en-GB"/>
              </a:p>
            </p:txBody>
          </p:sp>
          <p:sp>
            <p:nvSpPr>
              <p:cNvPr id="2189" name="Vrije vorm: vorm 2188">
                <a:extLst>
                  <a:ext uri="{FF2B5EF4-FFF2-40B4-BE49-F238E27FC236}">
                    <a16:creationId xmlns:a16="http://schemas.microsoft.com/office/drawing/2014/main" id="{E84ED3FD-00A9-4742-A1A6-CE16B3CCA597}"/>
                  </a:ext>
                </a:extLst>
              </p:cNvPr>
              <p:cNvSpPr/>
              <p:nvPr/>
            </p:nvSpPr>
            <p:spPr>
              <a:xfrm>
                <a:off x="4811653" y="5094312"/>
                <a:ext cx="18314" cy="18410"/>
              </a:xfrm>
              <a:custGeom>
                <a:avLst/>
                <a:gdLst>
                  <a:gd name="connsiteX0" fmla="*/ 2190 w 18314"/>
                  <a:gd name="connsiteY0" fmla="*/ 3217 h 18410"/>
                  <a:gd name="connsiteX1" fmla="*/ 3207 w 18314"/>
                  <a:gd name="connsiteY1" fmla="*/ 16195 h 18410"/>
                  <a:gd name="connsiteX2" fmla="*/ 16125 w 18314"/>
                  <a:gd name="connsiteY2" fmla="*/ 15238 h 18410"/>
                  <a:gd name="connsiteX3" fmla="*/ 15108 w 18314"/>
                  <a:gd name="connsiteY3" fmla="*/ 2260 h 18410"/>
                  <a:gd name="connsiteX4" fmla="*/ 2190 w 18314"/>
                  <a:gd name="connsiteY4" fmla="*/ 3217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10">
                    <a:moveTo>
                      <a:pt x="2190" y="3217"/>
                    </a:moveTo>
                    <a:cubicBezTo>
                      <a:pt x="-1099" y="7104"/>
                      <a:pt x="-621" y="12905"/>
                      <a:pt x="3207" y="16195"/>
                    </a:cubicBezTo>
                    <a:cubicBezTo>
                      <a:pt x="7034" y="19484"/>
                      <a:pt x="12835" y="19066"/>
                      <a:pt x="16125" y="15238"/>
                    </a:cubicBezTo>
                    <a:cubicBezTo>
                      <a:pt x="19414" y="11410"/>
                      <a:pt x="18936" y="5549"/>
                      <a:pt x="15108" y="2260"/>
                    </a:cubicBezTo>
                    <a:cubicBezTo>
                      <a:pt x="11281" y="-1089"/>
                      <a:pt x="5479" y="-671"/>
                      <a:pt x="2190" y="3217"/>
                    </a:cubicBezTo>
                    <a:close/>
                  </a:path>
                </a:pathLst>
              </a:custGeom>
              <a:grpFill/>
              <a:ln w="5978" cap="flat">
                <a:noFill/>
                <a:prstDash val="solid"/>
                <a:miter/>
              </a:ln>
            </p:spPr>
            <p:txBody>
              <a:bodyPr rtlCol="0" anchor="ctr"/>
              <a:lstStyle/>
              <a:p>
                <a:endParaRPr lang="en-GB"/>
              </a:p>
            </p:txBody>
          </p:sp>
        </p:grpSp>
        <p:grpSp>
          <p:nvGrpSpPr>
            <p:cNvPr id="1072" name="Graphic 3">
              <a:extLst>
                <a:ext uri="{FF2B5EF4-FFF2-40B4-BE49-F238E27FC236}">
                  <a16:creationId xmlns:a16="http://schemas.microsoft.com/office/drawing/2014/main" id="{5FAF61DB-2E8D-495B-9FE1-17D19B25F33E}"/>
                </a:ext>
              </a:extLst>
            </p:cNvPr>
            <p:cNvGrpSpPr/>
            <p:nvPr/>
          </p:nvGrpSpPr>
          <p:grpSpPr>
            <a:xfrm>
              <a:off x="4793228" y="4746047"/>
              <a:ext cx="250794" cy="264375"/>
              <a:chOff x="4793228" y="4746047"/>
              <a:chExt cx="250794" cy="264375"/>
            </a:xfrm>
            <a:grpFill/>
          </p:grpSpPr>
          <p:sp>
            <p:nvSpPr>
              <p:cNvPr id="2184" name="Vrije vorm: vorm 2183">
                <a:extLst>
                  <a:ext uri="{FF2B5EF4-FFF2-40B4-BE49-F238E27FC236}">
                    <a16:creationId xmlns:a16="http://schemas.microsoft.com/office/drawing/2014/main" id="{7F534E12-0F98-4110-8072-C04C1AF43130}"/>
                  </a:ext>
                </a:extLst>
              </p:cNvPr>
              <p:cNvSpPr/>
              <p:nvPr/>
            </p:nvSpPr>
            <p:spPr>
              <a:xfrm>
                <a:off x="4800925" y="4753876"/>
                <a:ext cx="235341" cy="248738"/>
              </a:xfrm>
              <a:custGeom>
                <a:avLst/>
                <a:gdLst>
                  <a:gd name="connsiteX0" fmla="*/ 235341 w 235341"/>
                  <a:gd name="connsiteY0" fmla="*/ 2153 h 248738"/>
                  <a:gd name="connsiteX1" fmla="*/ 2213 w 235341"/>
                  <a:gd name="connsiteY1" fmla="*/ 248738 h 248738"/>
                  <a:gd name="connsiteX2" fmla="*/ 0 w 235341"/>
                  <a:gd name="connsiteY2" fmla="*/ 246585 h 248738"/>
                  <a:gd name="connsiteX3" fmla="*/ 233128 w 235341"/>
                  <a:gd name="connsiteY3" fmla="*/ 0 h 248738"/>
                </a:gdLst>
                <a:ahLst/>
                <a:cxnLst>
                  <a:cxn ang="0">
                    <a:pos x="connsiteX0" y="connsiteY0"/>
                  </a:cxn>
                  <a:cxn ang="0">
                    <a:pos x="connsiteX1" y="connsiteY1"/>
                  </a:cxn>
                  <a:cxn ang="0">
                    <a:pos x="connsiteX2" y="connsiteY2"/>
                  </a:cxn>
                  <a:cxn ang="0">
                    <a:pos x="connsiteX3" y="connsiteY3"/>
                  </a:cxn>
                </a:cxnLst>
                <a:rect l="l" t="t" r="r" b="b"/>
                <a:pathLst>
                  <a:path w="235341" h="248738">
                    <a:moveTo>
                      <a:pt x="235341" y="2153"/>
                    </a:moveTo>
                    <a:lnTo>
                      <a:pt x="2213" y="248738"/>
                    </a:lnTo>
                    <a:lnTo>
                      <a:pt x="0" y="246585"/>
                    </a:lnTo>
                    <a:lnTo>
                      <a:pt x="233128" y="0"/>
                    </a:lnTo>
                    <a:close/>
                  </a:path>
                </a:pathLst>
              </a:custGeom>
              <a:grpFill/>
              <a:ln w="5978" cap="flat">
                <a:noFill/>
                <a:prstDash val="solid"/>
                <a:miter/>
              </a:ln>
            </p:spPr>
            <p:txBody>
              <a:bodyPr rtlCol="0" anchor="ctr"/>
              <a:lstStyle/>
              <a:p>
                <a:endParaRPr lang="en-GB"/>
              </a:p>
            </p:txBody>
          </p:sp>
          <p:sp>
            <p:nvSpPr>
              <p:cNvPr id="2185" name="Vrije vorm: vorm 2184">
                <a:extLst>
                  <a:ext uri="{FF2B5EF4-FFF2-40B4-BE49-F238E27FC236}">
                    <a16:creationId xmlns:a16="http://schemas.microsoft.com/office/drawing/2014/main" id="{58FF6D59-C9F8-4D1A-8A7D-9A1A674A3208}"/>
                  </a:ext>
                </a:extLst>
              </p:cNvPr>
              <p:cNvSpPr/>
              <p:nvPr/>
            </p:nvSpPr>
            <p:spPr>
              <a:xfrm>
                <a:off x="5025677" y="4746047"/>
                <a:ext cx="18345" cy="18469"/>
              </a:xfrm>
              <a:custGeom>
                <a:avLst/>
                <a:gdLst>
                  <a:gd name="connsiteX0" fmla="*/ 2515 w 18345"/>
                  <a:gd name="connsiteY0" fmla="*/ 2866 h 18469"/>
                  <a:gd name="connsiteX1" fmla="*/ 15493 w 18345"/>
                  <a:gd name="connsiteY1" fmla="*/ 2567 h 18469"/>
                  <a:gd name="connsiteX2" fmla="*/ 15852 w 18345"/>
                  <a:gd name="connsiteY2" fmla="*/ 15605 h 18469"/>
                  <a:gd name="connsiteX3" fmla="*/ 2874 w 18345"/>
                  <a:gd name="connsiteY3" fmla="*/ 15903 h 18469"/>
                  <a:gd name="connsiteX4" fmla="*/ 2515 w 18345"/>
                  <a:gd name="connsiteY4" fmla="*/ 2866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9">
                    <a:moveTo>
                      <a:pt x="2515" y="2866"/>
                    </a:moveTo>
                    <a:cubicBezTo>
                      <a:pt x="5984" y="-842"/>
                      <a:pt x="11785" y="-962"/>
                      <a:pt x="15493" y="2567"/>
                    </a:cubicBezTo>
                    <a:cubicBezTo>
                      <a:pt x="19141" y="6095"/>
                      <a:pt x="19321" y="11897"/>
                      <a:pt x="15852" y="15605"/>
                    </a:cubicBezTo>
                    <a:cubicBezTo>
                      <a:pt x="12383" y="19313"/>
                      <a:pt x="6582" y="19432"/>
                      <a:pt x="2874" y="15903"/>
                    </a:cubicBezTo>
                    <a:cubicBezTo>
                      <a:pt x="-834" y="12375"/>
                      <a:pt x="-954" y="6574"/>
                      <a:pt x="2515" y="2866"/>
                    </a:cubicBezTo>
                    <a:close/>
                  </a:path>
                </a:pathLst>
              </a:custGeom>
              <a:grpFill/>
              <a:ln w="5978" cap="flat">
                <a:noFill/>
                <a:prstDash val="solid"/>
                <a:miter/>
              </a:ln>
            </p:spPr>
            <p:txBody>
              <a:bodyPr rtlCol="0" anchor="ctr"/>
              <a:lstStyle/>
              <a:p>
                <a:endParaRPr lang="en-GB"/>
              </a:p>
            </p:txBody>
          </p:sp>
          <p:sp>
            <p:nvSpPr>
              <p:cNvPr id="2186" name="Vrije vorm: vorm 2185">
                <a:extLst>
                  <a:ext uri="{FF2B5EF4-FFF2-40B4-BE49-F238E27FC236}">
                    <a16:creationId xmlns:a16="http://schemas.microsoft.com/office/drawing/2014/main" id="{DA381D93-07B0-4975-8375-26D19093C22E}"/>
                  </a:ext>
                </a:extLst>
              </p:cNvPr>
              <p:cNvSpPr/>
              <p:nvPr/>
            </p:nvSpPr>
            <p:spPr>
              <a:xfrm>
                <a:off x="4793228" y="4991974"/>
                <a:ext cx="18323" cy="18448"/>
              </a:xfrm>
              <a:custGeom>
                <a:avLst/>
                <a:gdLst>
                  <a:gd name="connsiteX0" fmla="*/ 2493 w 18323"/>
                  <a:gd name="connsiteY0" fmla="*/ 2866 h 18448"/>
                  <a:gd name="connsiteX1" fmla="*/ 2852 w 18323"/>
                  <a:gd name="connsiteY1" fmla="*/ 15903 h 18448"/>
                  <a:gd name="connsiteX2" fmla="*/ 15830 w 18323"/>
                  <a:gd name="connsiteY2" fmla="*/ 15605 h 18448"/>
                  <a:gd name="connsiteX3" fmla="*/ 15472 w 18323"/>
                  <a:gd name="connsiteY3" fmla="*/ 2567 h 18448"/>
                  <a:gd name="connsiteX4" fmla="*/ 2493 w 18323"/>
                  <a:gd name="connsiteY4" fmla="*/ 286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8">
                    <a:moveTo>
                      <a:pt x="2493" y="2866"/>
                    </a:moveTo>
                    <a:cubicBezTo>
                      <a:pt x="-975" y="6574"/>
                      <a:pt x="-796" y="12375"/>
                      <a:pt x="2852" y="15903"/>
                    </a:cubicBezTo>
                    <a:cubicBezTo>
                      <a:pt x="6501" y="19432"/>
                      <a:pt x="12302" y="19253"/>
                      <a:pt x="15830" y="15605"/>
                    </a:cubicBezTo>
                    <a:cubicBezTo>
                      <a:pt x="19299" y="11897"/>
                      <a:pt x="19120" y="6095"/>
                      <a:pt x="15472" y="2567"/>
                    </a:cubicBezTo>
                    <a:cubicBezTo>
                      <a:pt x="11764" y="-962"/>
                      <a:pt x="5962" y="-842"/>
                      <a:pt x="2493" y="2866"/>
                    </a:cubicBezTo>
                    <a:close/>
                  </a:path>
                </a:pathLst>
              </a:custGeom>
              <a:grpFill/>
              <a:ln w="5978" cap="flat">
                <a:noFill/>
                <a:prstDash val="solid"/>
                <a:miter/>
              </a:ln>
            </p:spPr>
            <p:txBody>
              <a:bodyPr rtlCol="0" anchor="ctr"/>
              <a:lstStyle/>
              <a:p>
                <a:endParaRPr lang="en-GB"/>
              </a:p>
            </p:txBody>
          </p:sp>
        </p:grpSp>
        <p:grpSp>
          <p:nvGrpSpPr>
            <p:cNvPr id="1073" name="Graphic 3">
              <a:extLst>
                <a:ext uri="{FF2B5EF4-FFF2-40B4-BE49-F238E27FC236}">
                  <a16:creationId xmlns:a16="http://schemas.microsoft.com/office/drawing/2014/main" id="{7D0E7FA8-1EEF-4BD8-A976-A1588C744585}"/>
                </a:ext>
              </a:extLst>
            </p:cNvPr>
            <p:cNvGrpSpPr/>
            <p:nvPr/>
          </p:nvGrpSpPr>
          <p:grpSpPr>
            <a:xfrm>
              <a:off x="4915472" y="4949478"/>
              <a:ext cx="147391" cy="217095"/>
              <a:chOff x="4915472" y="4949478"/>
              <a:chExt cx="147391" cy="217095"/>
            </a:xfrm>
            <a:grpFill/>
          </p:grpSpPr>
          <p:sp>
            <p:nvSpPr>
              <p:cNvPr id="2181" name="Vrije vorm: vorm 2180">
                <a:extLst>
                  <a:ext uri="{FF2B5EF4-FFF2-40B4-BE49-F238E27FC236}">
                    <a16:creationId xmlns:a16="http://schemas.microsoft.com/office/drawing/2014/main" id="{ED6D41D4-BEEC-4C8D-8D9E-E3303774973F}"/>
                  </a:ext>
                </a:extLst>
              </p:cNvPr>
              <p:cNvSpPr/>
              <p:nvPr/>
            </p:nvSpPr>
            <p:spPr>
              <a:xfrm>
                <a:off x="4923111" y="4957460"/>
                <a:ext cx="132113" cy="201131"/>
              </a:xfrm>
              <a:custGeom>
                <a:avLst/>
                <a:gdLst>
                  <a:gd name="connsiteX0" fmla="*/ 132114 w 132113"/>
                  <a:gd name="connsiteY0" fmla="*/ 1674 h 201131"/>
                  <a:gd name="connsiteX1" fmla="*/ 2512 w 132113"/>
                  <a:gd name="connsiteY1" fmla="*/ 201132 h 201131"/>
                  <a:gd name="connsiteX2" fmla="*/ 0 w 132113"/>
                  <a:gd name="connsiteY2" fmla="*/ 199457 h 201131"/>
                  <a:gd name="connsiteX3" fmla="*/ 129542 w 132113"/>
                  <a:gd name="connsiteY3" fmla="*/ 0 h 201131"/>
                </a:gdLst>
                <a:ahLst/>
                <a:cxnLst>
                  <a:cxn ang="0">
                    <a:pos x="connsiteX0" y="connsiteY0"/>
                  </a:cxn>
                  <a:cxn ang="0">
                    <a:pos x="connsiteX1" y="connsiteY1"/>
                  </a:cxn>
                  <a:cxn ang="0">
                    <a:pos x="connsiteX2" y="connsiteY2"/>
                  </a:cxn>
                  <a:cxn ang="0">
                    <a:pos x="connsiteX3" y="connsiteY3"/>
                  </a:cxn>
                </a:cxnLst>
                <a:rect l="l" t="t" r="r" b="b"/>
                <a:pathLst>
                  <a:path w="132113" h="201131">
                    <a:moveTo>
                      <a:pt x="132114" y="1674"/>
                    </a:moveTo>
                    <a:lnTo>
                      <a:pt x="2512" y="201132"/>
                    </a:lnTo>
                    <a:lnTo>
                      <a:pt x="0" y="199457"/>
                    </a:lnTo>
                    <a:lnTo>
                      <a:pt x="129542" y="0"/>
                    </a:lnTo>
                    <a:close/>
                  </a:path>
                </a:pathLst>
              </a:custGeom>
              <a:grpFill/>
              <a:ln w="5978" cap="flat">
                <a:noFill/>
                <a:prstDash val="solid"/>
                <a:miter/>
              </a:ln>
            </p:spPr>
            <p:txBody>
              <a:bodyPr rtlCol="0" anchor="ctr"/>
              <a:lstStyle/>
              <a:p>
                <a:endParaRPr lang="en-GB"/>
              </a:p>
            </p:txBody>
          </p:sp>
          <p:sp>
            <p:nvSpPr>
              <p:cNvPr id="2182" name="Vrije vorm: vorm 2181">
                <a:extLst>
                  <a:ext uri="{FF2B5EF4-FFF2-40B4-BE49-F238E27FC236}">
                    <a16:creationId xmlns:a16="http://schemas.microsoft.com/office/drawing/2014/main" id="{9FD5A48C-8BD5-4CFF-8121-FEC62355E566}"/>
                  </a:ext>
                </a:extLst>
              </p:cNvPr>
              <p:cNvSpPr/>
              <p:nvPr/>
            </p:nvSpPr>
            <p:spPr>
              <a:xfrm>
                <a:off x="4915472" y="5148157"/>
                <a:ext cx="18327" cy="18416"/>
              </a:xfrm>
              <a:custGeom>
                <a:avLst/>
                <a:gdLst>
                  <a:gd name="connsiteX0" fmla="*/ 16849 w 18327"/>
                  <a:gd name="connsiteY0" fmla="*/ 14262 h 18416"/>
                  <a:gd name="connsiteX1" fmla="*/ 4170 w 18327"/>
                  <a:gd name="connsiteY1" fmla="*/ 16893 h 18416"/>
                  <a:gd name="connsiteX2" fmla="*/ 1479 w 18327"/>
                  <a:gd name="connsiteY2" fmla="*/ 4155 h 18416"/>
                  <a:gd name="connsiteX3" fmla="*/ 14158 w 18327"/>
                  <a:gd name="connsiteY3" fmla="*/ 152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4098" y="18508"/>
                      <a:pt x="8416" y="19704"/>
                      <a:pt x="4170" y="16893"/>
                    </a:cubicBezTo>
                    <a:cubicBezTo>
                      <a:pt x="-76" y="14082"/>
                      <a:pt x="-1273" y="8401"/>
                      <a:pt x="1479" y="4155"/>
                    </a:cubicBezTo>
                    <a:cubicBezTo>
                      <a:pt x="4230" y="-92"/>
                      <a:pt x="9912" y="-1288"/>
                      <a:pt x="14158" y="1523"/>
                    </a:cubicBezTo>
                    <a:cubicBezTo>
                      <a:pt x="18404" y="4334"/>
                      <a:pt x="19600" y="10016"/>
                      <a:pt x="16849" y="14262"/>
                    </a:cubicBezTo>
                    <a:close/>
                  </a:path>
                </a:pathLst>
              </a:custGeom>
              <a:grpFill/>
              <a:ln w="5978" cap="flat">
                <a:noFill/>
                <a:prstDash val="solid"/>
                <a:miter/>
              </a:ln>
            </p:spPr>
            <p:txBody>
              <a:bodyPr rtlCol="0" anchor="ctr"/>
              <a:lstStyle/>
              <a:p>
                <a:endParaRPr lang="en-GB"/>
              </a:p>
            </p:txBody>
          </p:sp>
          <p:sp>
            <p:nvSpPr>
              <p:cNvPr id="2183" name="Vrije vorm: vorm 2182">
                <a:extLst>
                  <a:ext uri="{FF2B5EF4-FFF2-40B4-BE49-F238E27FC236}">
                    <a16:creationId xmlns:a16="http://schemas.microsoft.com/office/drawing/2014/main" id="{2C889049-4398-49D5-BAB5-C7FCE8C4846B}"/>
                  </a:ext>
                </a:extLst>
              </p:cNvPr>
              <p:cNvSpPr/>
              <p:nvPr/>
            </p:nvSpPr>
            <p:spPr>
              <a:xfrm>
                <a:off x="5044536" y="4949478"/>
                <a:ext cx="18327" cy="18416"/>
              </a:xfrm>
              <a:custGeom>
                <a:avLst/>
                <a:gdLst>
                  <a:gd name="connsiteX0" fmla="*/ 16849 w 18327"/>
                  <a:gd name="connsiteY0" fmla="*/ 14262 h 18416"/>
                  <a:gd name="connsiteX1" fmla="*/ 14158 w 18327"/>
                  <a:gd name="connsiteY1" fmla="*/ 1523 h 18416"/>
                  <a:gd name="connsiteX2" fmla="*/ 1479 w 18327"/>
                  <a:gd name="connsiteY2" fmla="*/ 4154 h 18416"/>
                  <a:gd name="connsiteX3" fmla="*/ 4170 w 18327"/>
                  <a:gd name="connsiteY3" fmla="*/ 1689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9600" y="10015"/>
                      <a:pt x="18404" y="4274"/>
                      <a:pt x="14158" y="1523"/>
                    </a:cubicBezTo>
                    <a:cubicBezTo>
                      <a:pt x="9911" y="-1288"/>
                      <a:pt x="4229" y="-92"/>
                      <a:pt x="1479" y="4154"/>
                    </a:cubicBezTo>
                    <a:cubicBezTo>
                      <a:pt x="-1273" y="8401"/>
                      <a:pt x="-76" y="14142"/>
                      <a:pt x="4170" y="16893"/>
                    </a:cubicBezTo>
                    <a:cubicBezTo>
                      <a:pt x="8416" y="19704"/>
                      <a:pt x="14098" y="18508"/>
                      <a:pt x="16849" y="14262"/>
                    </a:cubicBezTo>
                    <a:close/>
                  </a:path>
                </a:pathLst>
              </a:custGeom>
              <a:grpFill/>
              <a:ln w="5978" cap="flat">
                <a:noFill/>
                <a:prstDash val="solid"/>
                <a:miter/>
              </a:ln>
            </p:spPr>
            <p:txBody>
              <a:bodyPr rtlCol="0" anchor="ctr"/>
              <a:lstStyle/>
              <a:p>
                <a:endParaRPr lang="en-GB"/>
              </a:p>
            </p:txBody>
          </p:sp>
        </p:grpSp>
        <p:grpSp>
          <p:nvGrpSpPr>
            <p:cNvPr id="1074" name="Graphic 3">
              <a:extLst>
                <a:ext uri="{FF2B5EF4-FFF2-40B4-BE49-F238E27FC236}">
                  <a16:creationId xmlns:a16="http://schemas.microsoft.com/office/drawing/2014/main" id="{9435751C-0455-484A-B536-25B8F2112731}"/>
                </a:ext>
              </a:extLst>
            </p:cNvPr>
            <p:cNvGrpSpPr/>
            <p:nvPr/>
          </p:nvGrpSpPr>
          <p:grpSpPr>
            <a:xfrm>
              <a:off x="4221646" y="2884432"/>
              <a:ext cx="72098" cy="33830"/>
              <a:chOff x="4221646" y="2884432"/>
              <a:chExt cx="72098" cy="33830"/>
            </a:xfrm>
            <a:grpFill/>
          </p:grpSpPr>
          <p:sp>
            <p:nvSpPr>
              <p:cNvPr id="2178" name="Vrije vorm: vorm 2177">
                <a:extLst>
                  <a:ext uri="{FF2B5EF4-FFF2-40B4-BE49-F238E27FC236}">
                    <a16:creationId xmlns:a16="http://schemas.microsoft.com/office/drawing/2014/main" id="{F7DCF929-D35C-41F9-96F5-88F76C1B3705}"/>
                  </a:ext>
                </a:extLst>
              </p:cNvPr>
              <p:cNvSpPr/>
              <p:nvPr/>
            </p:nvSpPr>
            <p:spPr>
              <a:xfrm>
                <a:off x="4229945" y="2892018"/>
                <a:ext cx="55441" cy="18659"/>
              </a:xfrm>
              <a:custGeom>
                <a:avLst/>
                <a:gdLst>
                  <a:gd name="connsiteX0" fmla="*/ 55441 w 55441"/>
                  <a:gd name="connsiteY0" fmla="*/ 15729 h 18659"/>
                  <a:gd name="connsiteX1" fmla="*/ 54604 w 55441"/>
                  <a:gd name="connsiteY1" fmla="*/ 18660 h 18659"/>
                  <a:gd name="connsiteX2" fmla="*/ 0 w 55441"/>
                  <a:gd name="connsiteY2" fmla="*/ 2990 h 18659"/>
                  <a:gd name="connsiteX3" fmla="*/ 837 w 55441"/>
                  <a:gd name="connsiteY3" fmla="*/ 0 h 18659"/>
                </a:gdLst>
                <a:ahLst/>
                <a:cxnLst>
                  <a:cxn ang="0">
                    <a:pos x="connsiteX0" y="connsiteY0"/>
                  </a:cxn>
                  <a:cxn ang="0">
                    <a:pos x="connsiteX1" y="connsiteY1"/>
                  </a:cxn>
                  <a:cxn ang="0">
                    <a:pos x="connsiteX2" y="connsiteY2"/>
                  </a:cxn>
                  <a:cxn ang="0">
                    <a:pos x="connsiteX3" y="connsiteY3"/>
                  </a:cxn>
                </a:cxnLst>
                <a:rect l="l" t="t" r="r" b="b"/>
                <a:pathLst>
                  <a:path w="55441" h="18659">
                    <a:moveTo>
                      <a:pt x="55441" y="15729"/>
                    </a:moveTo>
                    <a:lnTo>
                      <a:pt x="54604" y="18660"/>
                    </a:lnTo>
                    <a:lnTo>
                      <a:pt x="0" y="2990"/>
                    </a:lnTo>
                    <a:lnTo>
                      <a:pt x="837" y="0"/>
                    </a:lnTo>
                    <a:close/>
                  </a:path>
                </a:pathLst>
              </a:custGeom>
              <a:grpFill/>
              <a:ln w="5978" cap="flat">
                <a:noFill/>
                <a:prstDash val="solid"/>
                <a:miter/>
              </a:ln>
            </p:spPr>
            <p:txBody>
              <a:bodyPr rtlCol="0" anchor="ctr"/>
              <a:lstStyle/>
              <a:p>
                <a:endParaRPr lang="en-GB"/>
              </a:p>
            </p:txBody>
          </p:sp>
          <p:sp>
            <p:nvSpPr>
              <p:cNvPr id="2179" name="Vrije vorm: vorm 2178">
                <a:extLst>
                  <a:ext uri="{FF2B5EF4-FFF2-40B4-BE49-F238E27FC236}">
                    <a16:creationId xmlns:a16="http://schemas.microsoft.com/office/drawing/2014/main" id="{AB69F557-6A72-4B21-9BA3-011A2E7DA889}"/>
                  </a:ext>
                </a:extLst>
              </p:cNvPr>
              <p:cNvSpPr/>
              <p:nvPr/>
            </p:nvSpPr>
            <p:spPr>
              <a:xfrm>
                <a:off x="4275412" y="2899863"/>
                <a:ext cx="18332" cy="18400"/>
              </a:xfrm>
              <a:custGeom>
                <a:avLst/>
                <a:gdLst>
                  <a:gd name="connsiteX0" fmla="*/ 11648 w 18332"/>
                  <a:gd name="connsiteY0" fmla="*/ 349 h 18400"/>
                  <a:gd name="connsiteX1" fmla="*/ 17988 w 18332"/>
                  <a:gd name="connsiteY1" fmla="*/ 11712 h 18400"/>
                  <a:gd name="connsiteX2" fmla="*/ 6684 w 18332"/>
                  <a:gd name="connsiteY2" fmla="*/ 18052 h 18400"/>
                  <a:gd name="connsiteX3" fmla="*/ 345 w 18332"/>
                  <a:gd name="connsiteY3" fmla="*/ 6688 h 18400"/>
                  <a:gd name="connsiteX4" fmla="*/ 11648 w 18332"/>
                  <a:gd name="connsiteY4" fmla="*/ 34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00">
                    <a:moveTo>
                      <a:pt x="11648" y="349"/>
                    </a:moveTo>
                    <a:cubicBezTo>
                      <a:pt x="16493" y="1725"/>
                      <a:pt x="19364" y="6868"/>
                      <a:pt x="17988" y="11712"/>
                    </a:cubicBezTo>
                    <a:cubicBezTo>
                      <a:pt x="16612" y="16616"/>
                      <a:pt x="11529" y="19427"/>
                      <a:pt x="6684" y="18052"/>
                    </a:cubicBezTo>
                    <a:cubicBezTo>
                      <a:pt x="1840" y="16676"/>
                      <a:pt x="-1031" y="11533"/>
                      <a:pt x="345" y="6688"/>
                    </a:cubicBezTo>
                    <a:cubicBezTo>
                      <a:pt x="1660" y="1784"/>
                      <a:pt x="6744" y="-1027"/>
                      <a:pt x="11648" y="349"/>
                    </a:cubicBezTo>
                    <a:close/>
                  </a:path>
                </a:pathLst>
              </a:custGeom>
              <a:grpFill/>
              <a:ln w="5978" cap="flat">
                <a:noFill/>
                <a:prstDash val="solid"/>
                <a:miter/>
              </a:ln>
            </p:spPr>
            <p:txBody>
              <a:bodyPr rtlCol="0" anchor="ctr"/>
              <a:lstStyle/>
              <a:p>
                <a:endParaRPr lang="en-GB"/>
              </a:p>
            </p:txBody>
          </p:sp>
          <p:sp>
            <p:nvSpPr>
              <p:cNvPr id="2180" name="Vrije vorm: vorm 2179">
                <a:extLst>
                  <a:ext uri="{FF2B5EF4-FFF2-40B4-BE49-F238E27FC236}">
                    <a16:creationId xmlns:a16="http://schemas.microsoft.com/office/drawing/2014/main" id="{F84481C1-D7E0-4C4D-AC68-3AD56A0B1F81}"/>
                  </a:ext>
                </a:extLst>
              </p:cNvPr>
              <p:cNvSpPr/>
              <p:nvPr/>
            </p:nvSpPr>
            <p:spPr>
              <a:xfrm>
                <a:off x="4221646" y="2884432"/>
                <a:ext cx="18311" cy="18400"/>
              </a:xfrm>
              <a:custGeom>
                <a:avLst/>
                <a:gdLst>
                  <a:gd name="connsiteX0" fmla="*/ 11648 w 18311"/>
                  <a:gd name="connsiteY0" fmla="*/ 349 h 18400"/>
                  <a:gd name="connsiteX1" fmla="*/ 345 w 18311"/>
                  <a:gd name="connsiteY1" fmla="*/ 6688 h 18400"/>
                  <a:gd name="connsiteX2" fmla="*/ 6684 w 18311"/>
                  <a:gd name="connsiteY2" fmla="*/ 18052 h 18400"/>
                  <a:gd name="connsiteX3" fmla="*/ 17988 w 18311"/>
                  <a:gd name="connsiteY3" fmla="*/ 11712 h 18400"/>
                  <a:gd name="connsiteX4" fmla="*/ 11648 w 18311"/>
                  <a:gd name="connsiteY4" fmla="*/ 34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0">
                    <a:moveTo>
                      <a:pt x="11648" y="349"/>
                    </a:moveTo>
                    <a:cubicBezTo>
                      <a:pt x="6804" y="-1027"/>
                      <a:pt x="1720" y="1784"/>
                      <a:pt x="345" y="6688"/>
                    </a:cubicBezTo>
                    <a:cubicBezTo>
                      <a:pt x="-1031" y="11593"/>
                      <a:pt x="1840" y="16676"/>
                      <a:pt x="6684" y="18052"/>
                    </a:cubicBezTo>
                    <a:cubicBezTo>
                      <a:pt x="11528" y="19427"/>
                      <a:pt x="16612" y="16616"/>
                      <a:pt x="17988" y="11712"/>
                    </a:cubicBezTo>
                    <a:cubicBezTo>
                      <a:pt x="19304" y="6868"/>
                      <a:pt x="16493" y="1724"/>
                      <a:pt x="11648" y="349"/>
                    </a:cubicBezTo>
                    <a:close/>
                  </a:path>
                </a:pathLst>
              </a:custGeom>
              <a:grpFill/>
              <a:ln w="5978" cap="flat">
                <a:noFill/>
                <a:prstDash val="solid"/>
                <a:miter/>
              </a:ln>
            </p:spPr>
            <p:txBody>
              <a:bodyPr rtlCol="0" anchor="ctr"/>
              <a:lstStyle/>
              <a:p>
                <a:endParaRPr lang="en-GB"/>
              </a:p>
            </p:txBody>
          </p:sp>
        </p:grpSp>
        <p:grpSp>
          <p:nvGrpSpPr>
            <p:cNvPr id="1075" name="Graphic 3">
              <a:extLst>
                <a:ext uri="{FF2B5EF4-FFF2-40B4-BE49-F238E27FC236}">
                  <a16:creationId xmlns:a16="http://schemas.microsoft.com/office/drawing/2014/main" id="{3034029B-6674-4D58-AECC-7C3B8C84E4AA}"/>
                </a:ext>
              </a:extLst>
            </p:cNvPr>
            <p:cNvGrpSpPr/>
            <p:nvPr/>
          </p:nvGrpSpPr>
          <p:grpSpPr>
            <a:xfrm>
              <a:off x="4806052" y="4660869"/>
              <a:ext cx="104095" cy="111613"/>
              <a:chOff x="4806052" y="4660869"/>
              <a:chExt cx="104095" cy="111613"/>
            </a:xfrm>
            <a:grpFill/>
          </p:grpSpPr>
          <p:sp>
            <p:nvSpPr>
              <p:cNvPr id="2175" name="Vrije vorm: vorm 2174">
                <a:extLst>
                  <a:ext uri="{FF2B5EF4-FFF2-40B4-BE49-F238E27FC236}">
                    <a16:creationId xmlns:a16="http://schemas.microsoft.com/office/drawing/2014/main" id="{48D1844C-F2D5-440D-AF4A-A232CB2D981F}"/>
                  </a:ext>
                </a:extLst>
              </p:cNvPr>
              <p:cNvSpPr/>
              <p:nvPr/>
            </p:nvSpPr>
            <p:spPr>
              <a:xfrm>
                <a:off x="4813783" y="4668711"/>
                <a:ext cx="88634" cy="95931"/>
              </a:xfrm>
              <a:custGeom>
                <a:avLst/>
                <a:gdLst>
                  <a:gd name="connsiteX0" fmla="*/ 88634 w 88634"/>
                  <a:gd name="connsiteY0" fmla="*/ 2093 h 95931"/>
                  <a:gd name="connsiteX1" fmla="*/ 2273 w 88634"/>
                  <a:gd name="connsiteY1" fmla="*/ 95931 h 95931"/>
                  <a:gd name="connsiteX2" fmla="*/ 0 w 88634"/>
                  <a:gd name="connsiteY2" fmla="*/ 93838 h 95931"/>
                  <a:gd name="connsiteX3" fmla="*/ 86422 w 88634"/>
                  <a:gd name="connsiteY3" fmla="*/ 0 h 95931"/>
                </a:gdLst>
                <a:ahLst/>
                <a:cxnLst>
                  <a:cxn ang="0">
                    <a:pos x="connsiteX0" y="connsiteY0"/>
                  </a:cxn>
                  <a:cxn ang="0">
                    <a:pos x="connsiteX1" y="connsiteY1"/>
                  </a:cxn>
                  <a:cxn ang="0">
                    <a:pos x="connsiteX2" y="connsiteY2"/>
                  </a:cxn>
                  <a:cxn ang="0">
                    <a:pos x="connsiteX3" y="connsiteY3"/>
                  </a:cxn>
                </a:cxnLst>
                <a:rect l="l" t="t" r="r" b="b"/>
                <a:pathLst>
                  <a:path w="88634" h="95931">
                    <a:moveTo>
                      <a:pt x="88634" y="2093"/>
                    </a:moveTo>
                    <a:lnTo>
                      <a:pt x="2273" y="95931"/>
                    </a:lnTo>
                    <a:lnTo>
                      <a:pt x="0" y="93838"/>
                    </a:lnTo>
                    <a:lnTo>
                      <a:pt x="86422" y="0"/>
                    </a:lnTo>
                    <a:close/>
                  </a:path>
                </a:pathLst>
              </a:custGeom>
              <a:grpFill/>
              <a:ln w="5978" cap="flat">
                <a:noFill/>
                <a:prstDash val="solid"/>
                <a:miter/>
              </a:ln>
            </p:spPr>
            <p:txBody>
              <a:bodyPr rtlCol="0" anchor="ctr"/>
              <a:lstStyle/>
              <a:p>
                <a:endParaRPr lang="en-GB"/>
              </a:p>
            </p:txBody>
          </p:sp>
          <p:sp>
            <p:nvSpPr>
              <p:cNvPr id="2176" name="Vrije vorm: vorm 2175">
                <a:extLst>
                  <a:ext uri="{FF2B5EF4-FFF2-40B4-BE49-F238E27FC236}">
                    <a16:creationId xmlns:a16="http://schemas.microsoft.com/office/drawing/2014/main" id="{7AC32BDE-8CF7-445A-BA2E-A01A686729E1}"/>
                  </a:ext>
                </a:extLst>
              </p:cNvPr>
              <p:cNvSpPr/>
              <p:nvPr/>
            </p:nvSpPr>
            <p:spPr>
              <a:xfrm>
                <a:off x="4806052" y="4754049"/>
                <a:ext cx="18331" cy="18434"/>
              </a:xfrm>
              <a:custGeom>
                <a:avLst/>
                <a:gdLst>
                  <a:gd name="connsiteX0" fmla="*/ 15924 w 18331"/>
                  <a:gd name="connsiteY0" fmla="*/ 15497 h 18434"/>
                  <a:gd name="connsiteX1" fmla="*/ 2946 w 18331"/>
                  <a:gd name="connsiteY1" fmla="*/ 15975 h 18434"/>
                  <a:gd name="connsiteX2" fmla="*/ 2408 w 18331"/>
                  <a:gd name="connsiteY2" fmla="*/ 2937 h 18434"/>
                  <a:gd name="connsiteX3" fmla="*/ 15386 w 18331"/>
                  <a:gd name="connsiteY3" fmla="*/ 2459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2515" y="19205"/>
                      <a:pt x="6714" y="19444"/>
                      <a:pt x="2946" y="15975"/>
                    </a:cubicBezTo>
                    <a:cubicBezTo>
                      <a:pt x="-762" y="12507"/>
                      <a:pt x="-1001" y="6705"/>
                      <a:pt x="2408" y="2937"/>
                    </a:cubicBezTo>
                    <a:cubicBezTo>
                      <a:pt x="5817" y="-771"/>
                      <a:pt x="11618" y="-1010"/>
                      <a:pt x="15386" y="2459"/>
                    </a:cubicBezTo>
                    <a:cubicBezTo>
                      <a:pt x="19094" y="5928"/>
                      <a:pt x="19333" y="11729"/>
                      <a:pt x="15924" y="15497"/>
                    </a:cubicBezTo>
                    <a:close/>
                  </a:path>
                </a:pathLst>
              </a:custGeom>
              <a:grpFill/>
              <a:ln w="5978" cap="flat">
                <a:noFill/>
                <a:prstDash val="solid"/>
                <a:miter/>
              </a:ln>
            </p:spPr>
            <p:txBody>
              <a:bodyPr rtlCol="0" anchor="ctr"/>
              <a:lstStyle/>
              <a:p>
                <a:endParaRPr lang="en-GB"/>
              </a:p>
            </p:txBody>
          </p:sp>
          <p:sp>
            <p:nvSpPr>
              <p:cNvPr id="2177" name="Vrije vorm: vorm 2176">
                <a:extLst>
                  <a:ext uri="{FF2B5EF4-FFF2-40B4-BE49-F238E27FC236}">
                    <a16:creationId xmlns:a16="http://schemas.microsoft.com/office/drawing/2014/main" id="{34E2D27F-087F-43C4-807B-4B9FE9A18FC1}"/>
                  </a:ext>
                </a:extLst>
              </p:cNvPr>
              <p:cNvSpPr/>
              <p:nvPr/>
            </p:nvSpPr>
            <p:spPr>
              <a:xfrm>
                <a:off x="4891816" y="4660869"/>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7" y="-771"/>
                      <a:pt x="2408" y="2937"/>
                    </a:cubicBezTo>
                    <a:cubicBezTo>
                      <a:pt x="-1001" y="6646"/>
                      <a:pt x="-762" y="12507"/>
                      <a:pt x="2946" y="15975"/>
                    </a:cubicBezTo>
                    <a:cubicBezTo>
                      <a:pt x="6714" y="19444"/>
                      <a:pt x="12515" y="19205"/>
                      <a:pt x="15924" y="15497"/>
                    </a:cubicBezTo>
                    <a:close/>
                  </a:path>
                </a:pathLst>
              </a:custGeom>
              <a:grpFill/>
              <a:ln w="5978" cap="flat">
                <a:noFill/>
                <a:prstDash val="solid"/>
                <a:miter/>
              </a:ln>
            </p:spPr>
            <p:txBody>
              <a:bodyPr rtlCol="0" anchor="ctr"/>
              <a:lstStyle/>
              <a:p>
                <a:endParaRPr lang="en-GB"/>
              </a:p>
            </p:txBody>
          </p:sp>
        </p:grpSp>
        <p:grpSp>
          <p:nvGrpSpPr>
            <p:cNvPr id="1076" name="Graphic 3">
              <a:extLst>
                <a:ext uri="{FF2B5EF4-FFF2-40B4-BE49-F238E27FC236}">
                  <a16:creationId xmlns:a16="http://schemas.microsoft.com/office/drawing/2014/main" id="{9D39DF31-D9D5-4A52-9A12-F57FA25863C7}"/>
                </a:ext>
              </a:extLst>
            </p:cNvPr>
            <p:cNvGrpSpPr/>
            <p:nvPr/>
          </p:nvGrpSpPr>
          <p:grpSpPr>
            <a:xfrm>
              <a:off x="4243965" y="3138270"/>
              <a:ext cx="155746" cy="39016"/>
              <a:chOff x="4243965" y="3138270"/>
              <a:chExt cx="155746" cy="39016"/>
            </a:xfrm>
            <a:grpFill/>
          </p:grpSpPr>
          <p:sp>
            <p:nvSpPr>
              <p:cNvPr id="2172" name="Vrije vorm: vorm 2171">
                <a:extLst>
                  <a:ext uri="{FF2B5EF4-FFF2-40B4-BE49-F238E27FC236}">
                    <a16:creationId xmlns:a16="http://schemas.microsoft.com/office/drawing/2014/main" id="{C06068DC-4712-494E-A5DD-26629A48189A}"/>
                  </a:ext>
                </a:extLst>
              </p:cNvPr>
              <p:cNvSpPr/>
              <p:nvPr/>
            </p:nvSpPr>
            <p:spPr>
              <a:xfrm>
                <a:off x="4252492" y="3145899"/>
                <a:ext cx="138692" cy="23743"/>
              </a:xfrm>
              <a:custGeom>
                <a:avLst/>
                <a:gdLst>
                  <a:gd name="connsiteX0" fmla="*/ 138693 w 138692"/>
                  <a:gd name="connsiteY0" fmla="*/ 20693 h 23743"/>
                  <a:gd name="connsiteX1" fmla="*/ 138274 w 138692"/>
                  <a:gd name="connsiteY1" fmla="*/ 23743 h 23743"/>
                  <a:gd name="connsiteX2" fmla="*/ 0 w 138692"/>
                  <a:gd name="connsiteY2" fmla="*/ 3050 h 23743"/>
                  <a:gd name="connsiteX3" fmla="*/ 419 w 138692"/>
                  <a:gd name="connsiteY3" fmla="*/ 0 h 23743"/>
                </a:gdLst>
                <a:ahLst/>
                <a:cxnLst>
                  <a:cxn ang="0">
                    <a:pos x="connsiteX0" y="connsiteY0"/>
                  </a:cxn>
                  <a:cxn ang="0">
                    <a:pos x="connsiteX1" y="connsiteY1"/>
                  </a:cxn>
                  <a:cxn ang="0">
                    <a:pos x="connsiteX2" y="connsiteY2"/>
                  </a:cxn>
                  <a:cxn ang="0">
                    <a:pos x="connsiteX3" y="connsiteY3"/>
                  </a:cxn>
                </a:cxnLst>
                <a:rect l="l" t="t" r="r" b="b"/>
                <a:pathLst>
                  <a:path w="138692" h="23743">
                    <a:moveTo>
                      <a:pt x="138693" y="20693"/>
                    </a:moveTo>
                    <a:lnTo>
                      <a:pt x="138274" y="23743"/>
                    </a:lnTo>
                    <a:lnTo>
                      <a:pt x="0" y="3050"/>
                    </a:lnTo>
                    <a:lnTo>
                      <a:pt x="419" y="0"/>
                    </a:lnTo>
                    <a:close/>
                  </a:path>
                </a:pathLst>
              </a:custGeom>
              <a:grpFill/>
              <a:ln w="5978" cap="flat">
                <a:noFill/>
                <a:prstDash val="solid"/>
                <a:miter/>
              </a:ln>
            </p:spPr>
            <p:txBody>
              <a:bodyPr rtlCol="0" anchor="ctr"/>
              <a:lstStyle/>
              <a:p>
                <a:endParaRPr lang="en-GB"/>
              </a:p>
            </p:txBody>
          </p:sp>
          <p:sp>
            <p:nvSpPr>
              <p:cNvPr id="2173" name="Vrije vorm: vorm 2172">
                <a:extLst>
                  <a:ext uri="{FF2B5EF4-FFF2-40B4-BE49-F238E27FC236}">
                    <a16:creationId xmlns:a16="http://schemas.microsoft.com/office/drawing/2014/main" id="{AA0B99BE-1BF4-4FB9-B181-BCE446F907D8}"/>
                  </a:ext>
                </a:extLst>
              </p:cNvPr>
              <p:cNvSpPr/>
              <p:nvPr/>
            </p:nvSpPr>
            <p:spPr>
              <a:xfrm>
                <a:off x="4243965" y="3138270"/>
                <a:ext cx="18369" cy="18444"/>
              </a:xfrm>
              <a:custGeom>
                <a:avLst/>
                <a:gdLst>
                  <a:gd name="connsiteX0" fmla="*/ 7869 w 18369"/>
                  <a:gd name="connsiteY0" fmla="*/ 18335 h 18444"/>
                  <a:gd name="connsiteX1" fmla="*/ 94 w 18369"/>
                  <a:gd name="connsiteY1" fmla="*/ 7869 h 18444"/>
                  <a:gd name="connsiteX2" fmla="*/ 10500 w 18369"/>
                  <a:gd name="connsiteY2" fmla="*/ 94 h 18444"/>
                  <a:gd name="connsiteX3" fmla="*/ 18276 w 18369"/>
                  <a:gd name="connsiteY3" fmla="*/ 10560 h 18444"/>
                  <a:gd name="connsiteX4" fmla="*/ 7869 w 18369"/>
                  <a:gd name="connsiteY4" fmla="*/ 1833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4">
                    <a:moveTo>
                      <a:pt x="7869" y="18335"/>
                    </a:moveTo>
                    <a:cubicBezTo>
                      <a:pt x="2845" y="17558"/>
                      <a:pt x="-624" y="12893"/>
                      <a:pt x="94" y="7869"/>
                    </a:cubicBezTo>
                    <a:cubicBezTo>
                      <a:pt x="812" y="2845"/>
                      <a:pt x="5477" y="-624"/>
                      <a:pt x="10500" y="94"/>
                    </a:cubicBezTo>
                    <a:cubicBezTo>
                      <a:pt x="15524" y="872"/>
                      <a:pt x="18993" y="5536"/>
                      <a:pt x="18276" y="10560"/>
                    </a:cubicBezTo>
                    <a:cubicBezTo>
                      <a:pt x="17558" y="15644"/>
                      <a:pt x="12893" y="19113"/>
                      <a:pt x="7869" y="18335"/>
                    </a:cubicBezTo>
                    <a:close/>
                  </a:path>
                </a:pathLst>
              </a:custGeom>
              <a:grpFill/>
              <a:ln w="5978" cap="flat">
                <a:noFill/>
                <a:prstDash val="solid"/>
                <a:miter/>
              </a:ln>
            </p:spPr>
            <p:txBody>
              <a:bodyPr rtlCol="0" anchor="ctr"/>
              <a:lstStyle/>
              <a:p>
                <a:endParaRPr lang="en-GB"/>
              </a:p>
            </p:txBody>
          </p:sp>
          <p:sp>
            <p:nvSpPr>
              <p:cNvPr id="2174" name="Vrije vorm: vorm 2173">
                <a:extLst>
                  <a:ext uri="{FF2B5EF4-FFF2-40B4-BE49-F238E27FC236}">
                    <a16:creationId xmlns:a16="http://schemas.microsoft.com/office/drawing/2014/main" id="{F50D0378-7BEA-4894-A0B0-01AEE437A64F}"/>
                  </a:ext>
                </a:extLst>
              </p:cNvPr>
              <p:cNvSpPr/>
              <p:nvPr/>
            </p:nvSpPr>
            <p:spPr>
              <a:xfrm>
                <a:off x="4381343" y="3158830"/>
                <a:ext cx="18369" cy="18456"/>
              </a:xfrm>
              <a:custGeom>
                <a:avLst/>
                <a:gdLst>
                  <a:gd name="connsiteX0" fmla="*/ 7869 w 18369"/>
                  <a:gd name="connsiteY0" fmla="*/ 18349 h 18456"/>
                  <a:gd name="connsiteX1" fmla="*/ 18275 w 18369"/>
                  <a:gd name="connsiteY1" fmla="*/ 10574 h 18456"/>
                  <a:gd name="connsiteX2" fmla="*/ 10500 w 18369"/>
                  <a:gd name="connsiteY2" fmla="*/ 107 h 18456"/>
                  <a:gd name="connsiteX3" fmla="*/ 94 w 18369"/>
                  <a:gd name="connsiteY3" fmla="*/ 7882 h 18456"/>
                  <a:gd name="connsiteX4" fmla="*/ 7869 w 18369"/>
                  <a:gd name="connsiteY4" fmla="*/ 1834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56">
                    <a:moveTo>
                      <a:pt x="7869" y="18349"/>
                    </a:moveTo>
                    <a:cubicBezTo>
                      <a:pt x="12893" y="19126"/>
                      <a:pt x="17558" y="15598"/>
                      <a:pt x="18275" y="10574"/>
                    </a:cubicBezTo>
                    <a:cubicBezTo>
                      <a:pt x="18993" y="5550"/>
                      <a:pt x="15524" y="825"/>
                      <a:pt x="10500" y="107"/>
                    </a:cubicBezTo>
                    <a:cubicBezTo>
                      <a:pt x="5476" y="-670"/>
                      <a:pt x="872" y="2859"/>
                      <a:pt x="94" y="7882"/>
                    </a:cubicBezTo>
                    <a:cubicBezTo>
                      <a:pt x="-624" y="12906"/>
                      <a:pt x="2845" y="17571"/>
                      <a:pt x="7869" y="18349"/>
                    </a:cubicBezTo>
                    <a:close/>
                  </a:path>
                </a:pathLst>
              </a:custGeom>
              <a:grpFill/>
              <a:ln w="5978" cap="flat">
                <a:noFill/>
                <a:prstDash val="solid"/>
                <a:miter/>
              </a:ln>
            </p:spPr>
            <p:txBody>
              <a:bodyPr rtlCol="0" anchor="ctr"/>
              <a:lstStyle/>
              <a:p>
                <a:endParaRPr lang="en-GB"/>
              </a:p>
            </p:txBody>
          </p:sp>
        </p:grpSp>
        <p:grpSp>
          <p:nvGrpSpPr>
            <p:cNvPr id="1077" name="Graphic 3">
              <a:extLst>
                <a:ext uri="{FF2B5EF4-FFF2-40B4-BE49-F238E27FC236}">
                  <a16:creationId xmlns:a16="http://schemas.microsoft.com/office/drawing/2014/main" id="{2DDA8557-C2B1-42B5-8CB2-AE28A6D95540}"/>
                </a:ext>
              </a:extLst>
            </p:cNvPr>
            <p:cNvGrpSpPr/>
            <p:nvPr/>
          </p:nvGrpSpPr>
          <p:grpSpPr>
            <a:xfrm>
              <a:off x="4964370" y="5141724"/>
              <a:ext cx="106962" cy="173206"/>
              <a:chOff x="4964370" y="5141724"/>
              <a:chExt cx="106962" cy="173206"/>
            </a:xfrm>
            <a:grpFill/>
          </p:grpSpPr>
          <p:sp>
            <p:nvSpPr>
              <p:cNvPr id="2169" name="Vrije vorm: vorm 2168">
                <a:extLst>
                  <a:ext uri="{FF2B5EF4-FFF2-40B4-BE49-F238E27FC236}">
                    <a16:creationId xmlns:a16="http://schemas.microsoft.com/office/drawing/2014/main" id="{462C70DF-F5A2-42CB-99AF-1B7D3EBB462C}"/>
                  </a:ext>
                </a:extLst>
              </p:cNvPr>
              <p:cNvSpPr/>
              <p:nvPr/>
            </p:nvSpPr>
            <p:spPr>
              <a:xfrm>
                <a:off x="4971973" y="5149800"/>
                <a:ext cx="91744" cy="157053"/>
              </a:xfrm>
              <a:custGeom>
                <a:avLst/>
                <a:gdLst>
                  <a:gd name="connsiteX0" fmla="*/ 91744 w 91744"/>
                  <a:gd name="connsiteY0" fmla="*/ 1495 h 157053"/>
                  <a:gd name="connsiteX1" fmla="*/ 2632 w 91744"/>
                  <a:gd name="connsiteY1" fmla="*/ 157054 h 157053"/>
                  <a:gd name="connsiteX2" fmla="*/ 0 w 91744"/>
                  <a:gd name="connsiteY2" fmla="*/ 155499 h 157053"/>
                  <a:gd name="connsiteX3" fmla="*/ 89053 w 91744"/>
                  <a:gd name="connsiteY3" fmla="*/ 0 h 157053"/>
                </a:gdLst>
                <a:ahLst/>
                <a:cxnLst>
                  <a:cxn ang="0">
                    <a:pos x="connsiteX0" y="connsiteY0"/>
                  </a:cxn>
                  <a:cxn ang="0">
                    <a:pos x="connsiteX1" y="connsiteY1"/>
                  </a:cxn>
                  <a:cxn ang="0">
                    <a:pos x="connsiteX2" y="connsiteY2"/>
                  </a:cxn>
                  <a:cxn ang="0">
                    <a:pos x="connsiteX3" y="connsiteY3"/>
                  </a:cxn>
                </a:cxnLst>
                <a:rect l="l" t="t" r="r" b="b"/>
                <a:pathLst>
                  <a:path w="91744" h="157053">
                    <a:moveTo>
                      <a:pt x="91744" y="1495"/>
                    </a:moveTo>
                    <a:lnTo>
                      <a:pt x="2632" y="157054"/>
                    </a:lnTo>
                    <a:lnTo>
                      <a:pt x="0" y="155499"/>
                    </a:lnTo>
                    <a:lnTo>
                      <a:pt x="89053" y="0"/>
                    </a:lnTo>
                    <a:close/>
                  </a:path>
                </a:pathLst>
              </a:custGeom>
              <a:grpFill/>
              <a:ln w="5978" cap="flat">
                <a:noFill/>
                <a:prstDash val="solid"/>
                <a:miter/>
              </a:ln>
            </p:spPr>
            <p:txBody>
              <a:bodyPr rtlCol="0" anchor="ctr"/>
              <a:lstStyle/>
              <a:p>
                <a:endParaRPr lang="en-GB"/>
              </a:p>
            </p:txBody>
          </p:sp>
          <p:sp>
            <p:nvSpPr>
              <p:cNvPr id="2170" name="Vrije vorm: vorm 2169">
                <a:extLst>
                  <a:ext uri="{FF2B5EF4-FFF2-40B4-BE49-F238E27FC236}">
                    <a16:creationId xmlns:a16="http://schemas.microsoft.com/office/drawing/2014/main" id="{AF0BB491-1E77-42C7-84D2-715A37CDC50E}"/>
                  </a:ext>
                </a:extLst>
              </p:cNvPr>
              <p:cNvSpPr/>
              <p:nvPr/>
            </p:nvSpPr>
            <p:spPr>
              <a:xfrm>
                <a:off x="4964370" y="5296445"/>
                <a:ext cx="18328" cy="18485"/>
              </a:xfrm>
              <a:custGeom>
                <a:avLst/>
                <a:gdLst>
                  <a:gd name="connsiteX0" fmla="*/ 17112 w 18328"/>
                  <a:gd name="connsiteY0" fmla="*/ 13878 h 18485"/>
                  <a:gd name="connsiteX1" fmla="*/ 4612 w 18328"/>
                  <a:gd name="connsiteY1" fmla="*/ 17227 h 18485"/>
                  <a:gd name="connsiteX2" fmla="*/ 1203 w 18328"/>
                  <a:gd name="connsiteY2" fmla="*/ 4608 h 18485"/>
                  <a:gd name="connsiteX3" fmla="*/ 13703 w 18328"/>
                  <a:gd name="connsiteY3" fmla="*/ 1258 h 18485"/>
                  <a:gd name="connsiteX4" fmla="*/ 17112 w 18328"/>
                  <a:gd name="connsiteY4" fmla="*/ 13878 h 18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85">
                    <a:moveTo>
                      <a:pt x="17112" y="13878"/>
                    </a:moveTo>
                    <a:cubicBezTo>
                      <a:pt x="14600" y="18303"/>
                      <a:pt x="8978" y="19799"/>
                      <a:pt x="4612" y="17227"/>
                    </a:cubicBezTo>
                    <a:cubicBezTo>
                      <a:pt x="247" y="14655"/>
                      <a:pt x="-1308" y="9033"/>
                      <a:pt x="1203" y="4608"/>
                    </a:cubicBezTo>
                    <a:cubicBezTo>
                      <a:pt x="3715" y="182"/>
                      <a:pt x="9337" y="-1314"/>
                      <a:pt x="13703" y="1258"/>
                    </a:cubicBezTo>
                    <a:cubicBezTo>
                      <a:pt x="18129" y="3830"/>
                      <a:pt x="19624" y="9452"/>
                      <a:pt x="17112" y="13878"/>
                    </a:cubicBezTo>
                    <a:close/>
                  </a:path>
                </a:pathLst>
              </a:custGeom>
              <a:grpFill/>
              <a:ln w="5978" cap="flat">
                <a:noFill/>
                <a:prstDash val="solid"/>
                <a:miter/>
              </a:ln>
            </p:spPr>
            <p:txBody>
              <a:bodyPr rtlCol="0" anchor="ctr"/>
              <a:lstStyle/>
              <a:p>
                <a:endParaRPr lang="en-GB"/>
              </a:p>
            </p:txBody>
          </p:sp>
          <p:sp>
            <p:nvSpPr>
              <p:cNvPr id="2171" name="Vrije vorm: vorm 2170">
                <a:extLst>
                  <a:ext uri="{FF2B5EF4-FFF2-40B4-BE49-F238E27FC236}">
                    <a16:creationId xmlns:a16="http://schemas.microsoft.com/office/drawing/2014/main" id="{C1C0EF00-CA89-4AE7-AD45-6F496671E4EB}"/>
                  </a:ext>
                </a:extLst>
              </p:cNvPr>
              <p:cNvSpPr/>
              <p:nvPr/>
            </p:nvSpPr>
            <p:spPr>
              <a:xfrm>
                <a:off x="5052992" y="5141724"/>
                <a:ext cx="18341" cy="18469"/>
              </a:xfrm>
              <a:custGeom>
                <a:avLst/>
                <a:gdLst>
                  <a:gd name="connsiteX0" fmla="*/ 17125 w 18341"/>
                  <a:gd name="connsiteY0" fmla="*/ 13818 h 18469"/>
                  <a:gd name="connsiteX1" fmla="*/ 13716 w 18341"/>
                  <a:gd name="connsiteY1" fmla="*/ 1258 h 18469"/>
                  <a:gd name="connsiteX2" fmla="*/ 1216 w 18341"/>
                  <a:gd name="connsiteY2" fmla="*/ 4608 h 18469"/>
                  <a:gd name="connsiteX3" fmla="*/ 4625 w 18341"/>
                  <a:gd name="connsiteY3" fmla="*/ 17227 h 18469"/>
                  <a:gd name="connsiteX4" fmla="*/ 17125 w 18341"/>
                  <a:gd name="connsiteY4" fmla="*/ 13818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69">
                    <a:moveTo>
                      <a:pt x="17125" y="13818"/>
                    </a:moveTo>
                    <a:cubicBezTo>
                      <a:pt x="19637" y="9392"/>
                      <a:pt x="18142" y="3770"/>
                      <a:pt x="13716" y="1258"/>
                    </a:cubicBezTo>
                    <a:cubicBezTo>
                      <a:pt x="9350" y="-1314"/>
                      <a:pt x="3728" y="182"/>
                      <a:pt x="1216" y="4608"/>
                    </a:cubicBezTo>
                    <a:cubicBezTo>
                      <a:pt x="-1295" y="9033"/>
                      <a:pt x="200" y="14655"/>
                      <a:pt x="4625" y="17227"/>
                    </a:cubicBezTo>
                    <a:cubicBezTo>
                      <a:pt x="9051" y="19799"/>
                      <a:pt x="14613" y="18243"/>
                      <a:pt x="17125" y="13818"/>
                    </a:cubicBezTo>
                    <a:close/>
                  </a:path>
                </a:pathLst>
              </a:custGeom>
              <a:grpFill/>
              <a:ln w="5978" cap="flat">
                <a:noFill/>
                <a:prstDash val="solid"/>
                <a:miter/>
              </a:ln>
            </p:spPr>
            <p:txBody>
              <a:bodyPr rtlCol="0" anchor="ctr"/>
              <a:lstStyle/>
              <a:p>
                <a:endParaRPr lang="en-GB"/>
              </a:p>
            </p:txBody>
          </p:sp>
        </p:grpSp>
        <p:grpSp>
          <p:nvGrpSpPr>
            <p:cNvPr id="1078" name="Graphic 3">
              <a:extLst>
                <a:ext uri="{FF2B5EF4-FFF2-40B4-BE49-F238E27FC236}">
                  <a16:creationId xmlns:a16="http://schemas.microsoft.com/office/drawing/2014/main" id="{DEC1E7CF-DE87-4E6A-A5C5-7AFF040F9044}"/>
                </a:ext>
              </a:extLst>
            </p:cNvPr>
            <p:cNvGrpSpPr/>
            <p:nvPr/>
          </p:nvGrpSpPr>
          <p:grpSpPr>
            <a:xfrm>
              <a:off x="4078491" y="2595763"/>
              <a:ext cx="121272" cy="60882"/>
              <a:chOff x="4078491" y="2595763"/>
              <a:chExt cx="121272" cy="60882"/>
            </a:xfrm>
            <a:grpFill/>
          </p:grpSpPr>
          <p:sp>
            <p:nvSpPr>
              <p:cNvPr id="2166" name="Vrije vorm: vorm 2165">
                <a:extLst>
                  <a:ext uri="{FF2B5EF4-FFF2-40B4-BE49-F238E27FC236}">
                    <a16:creationId xmlns:a16="http://schemas.microsoft.com/office/drawing/2014/main" id="{908DDE68-C31F-413E-803F-0F771B1E57F7}"/>
                  </a:ext>
                </a:extLst>
              </p:cNvPr>
              <p:cNvSpPr/>
              <p:nvPr/>
            </p:nvSpPr>
            <p:spPr>
              <a:xfrm>
                <a:off x="4086647" y="2603388"/>
                <a:ext cx="104902" cy="45632"/>
              </a:xfrm>
              <a:custGeom>
                <a:avLst/>
                <a:gdLst>
                  <a:gd name="connsiteX0" fmla="*/ 104902 w 104902"/>
                  <a:gd name="connsiteY0" fmla="*/ 42822 h 45632"/>
                  <a:gd name="connsiteX1" fmla="*/ 103766 w 104902"/>
                  <a:gd name="connsiteY1" fmla="*/ 45633 h 45632"/>
                  <a:gd name="connsiteX2" fmla="*/ 0 w 104902"/>
                  <a:gd name="connsiteY2" fmla="*/ 2811 h 45632"/>
                  <a:gd name="connsiteX3" fmla="*/ 1136 w 104902"/>
                  <a:gd name="connsiteY3" fmla="*/ 0 h 45632"/>
                </a:gdLst>
                <a:ahLst/>
                <a:cxnLst>
                  <a:cxn ang="0">
                    <a:pos x="connsiteX0" y="connsiteY0"/>
                  </a:cxn>
                  <a:cxn ang="0">
                    <a:pos x="connsiteX1" y="connsiteY1"/>
                  </a:cxn>
                  <a:cxn ang="0">
                    <a:pos x="connsiteX2" y="connsiteY2"/>
                  </a:cxn>
                  <a:cxn ang="0">
                    <a:pos x="connsiteX3" y="connsiteY3"/>
                  </a:cxn>
                </a:cxnLst>
                <a:rect l="l" t="t" r="r" b="b"/>
                <a:pathLst>
                  <a:path w="104902" h="45632">
                    <a:moveTo>
                      <a:pt x="104902" y="42822"/>
                    </a:moveTo>
                    <a:lnTo>
                      <a:pt x="103766" y="45633"/>
                    </a:lnTo>
                    <a:lnTo>
                      <a:pt x="0" y="2811"/>
                    </a:lnTo>
                    <a:lnTo>
                      <a:pt x="1136" y="0"/>
                    </a:lnTo>
                    <a:close/>
                  </a:path>
                </a:pathLst>
              </a:custGeom>
              <a:grpFill/>
              <a:ln w="5978" cap="flat">
                <a:noFill/>
                <a:prstDash val="solid"/>
                <a:miter/>
              </a:ln>
            </p:spPr>
            <p:txBody>
              <a:bodyPr rtlCol="0" anchor="ctr"/>
              <a:lstStyle/>
              <a:p>
                <a:endParaRPr lang="en-GB"/>
              </a:p>
            </p:txBody>
          </p:sp>
          <p:sp>
            <p:nvSpPr>
              <p:cNvPr id="2167" name="Vrije vorm: vorm 2166">
                <a:extLst>
                  <a:ext uri="{FF2B5EF4-FFF2-40B4-BE49-F238E27FC236}">
                    <a16:creationId xmlns:a16="http://schemas.microsoft.com/office/drawing/2014/main" id="{ADEA14E4-82E3-42C9-AAFD-C81F42059160}"/>
                  </a:ext>
                </a:extLst>
              </p:cNvPr>
              <p:cNvSpPr/>
              <p:nvPr/>
            </p:nvSpPr>
            <p:spPr>
              <a:xfrm>
                <a:off x="4078491" y="2595763"/>
                <a:ext cx="18343" cy="18419"/>
              </a:xfrm>
              <a:custGeom>
                <a:avLst/>
                <a:gdLst>
                  <a:gd name="connsiteX0" fmla="*/ 5703 w 18343"/>
                  <a:gd name="connsiteY0" fmla="*/ 17732 h 18419"/>
                  <a:gd name="connsiteX1" fmla="*/ 679 w 18343"/>
                  <a:gd name="connsiteY1" fmla="*/ 5711 h 18419"/>
                  <a:gd name="connsiteX2" fmla="*/ 12641 w 18343"/>
                  <a:gd name="connsiteY2" fmla="*/ 687 h 18419"/>
                  <a:gd name="connsiteX3" fmla="*/ 17665 w 18343"/>
                  <a:gd name="connsiteY3" fmla="*/ 12709 h 18419"/>
                  <a:gd name="connsiteX4" fmla="*/ 5703 w 18343"/>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9">
                    <a:moveTo>
                      <a:pt x="5703" y="17732"/>
                    </a:moveTo>
                    <a:cubicBezTo>
                      <a:pt x="1038" y="15818"/>
                      <a:pt x="-1234" y="10436"/>
                      <a:pt x="679" y="5711"/>
                    </a:cubicBezTo>
                    <a:cubicBezTo>
                      <a:pt x="2593" y="986"/>
                      <a:pt x="7916" y="-1226"/>
                      <a:pt x="12641" y="687"/>
                    </a:cubicBezTo>
                    <a:cubicBezTo>
                      <a:pt x="17306" y="2601"/>
                      <a:pt x="19578" y="7984"/>
                      <a:pt x="17665" y="12709"/>
                    </a:cubicBezTo>
                    <a:cubicBezTo>
                      <a:pt x="15751" y="17433"/>
                      <a:pt x="10368" y="19646"/>
                      <a:pt x="5703" y="17732"/>
                    </a:cubicBezTo>
                    <a:close/>
                  </a:path>
                </a:pathLst>
              </a:custGeom>
              <a:grpFill/>
              <a:ln w="5978" cap="flat">
                <a:noFill/>
                <a:prstDash val="solid"/>
                <a:miter/>
              </a:ln>
            </p:spPr>
            <p:txBody>
              <a:bodyPr rtlCol="0" anchor="ctr"/>
              <a:lstStyle/>
              <a:p>
                <a:endParaRPr lang="en-GB"/>
              </a:p>
            </p:txBody>
          </p:sp>
          <p:sp>
            <p:nvSpPr>
              <p:cNvPr id="2168" name="Vrije vorm: vorm 2167">
                <a:extLst>
                  <a:ext uri="{FF2B5EF4-FFF2-40B4-BE49-F238E27FC236}">
                    <a16:creationId xmlns:a16="http://schemas.microsoft.com/office/drawing/2014/main" id="{61025513-A009-4E00-81E0-DA086DE733ED}"/>
                  </a:ext>
                </a:extLst>
              </p:cNvPr>
              <p:cNvSpPr/>
              <p:nvPr/>
            </p:nvSpPr>
            <p:spPr>
              <a:xfrm>
                <a:off x="4181387" y="2638226"/>
                <a:ext cx="18377" cy="18419"/>
              </a:xfrm>
              <a:custGeom>
                <a:avLst/>
                <a:gdLst>
                  <a:gd name="connsiteX0" fmla="*/ 5736 w 18377"/>
                  <a:gd name="connsiteY0" fmla="*/ 17732 h 18419"/>
                  <a:gd name="connsiteX1" fmla="*/ 17698 w 18377"/>
                  <a:gd name="connsiteY1" fmla="*/ 12709 h 18419"/>
                  <a:gd name="connsiteX2" fmla="*/ 12674 w 18377"/>
                  <a:gd name="connsiteY2" fmla="*/ 687 h 18419"/>
                  <a:gd name="connsiteX3" fmla="*/ 712 w 18377"/>
                  <a:gd name="connsiteY3" fmla="*/ 5711 h 18419"/>
                  <a:gd name="connsiteX4" fmla="*/ 5736 w 18377"/>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19">
                    <a:moveTo>
                      <a:pt x="5736" y="17732"/>
                    </a:moveTo>
                    <a:cubicBezTo>
                      <a:pt x="10401" y="19646"/>
                      <a:pt x="15784" y="17433"/>
                      <a:pt x="17698" y="12709"/>
                    </a:cubicBezTo>
                    <a:cubicBezTo>
                      <a:pt x="19611" y="7984"/>
                      <a:pt x="17339" y="2601"/>
                      <a:pt x="12674" y="687"/>
                    </a:cubicBezTo>
                    <a:cubicBezTo>
                      <a:pt x="8009" y="-1227"/>
                      <a:pt x="2626" y="986"/>
                      <a:pt x="712" y="5711"/>
                    </a:cubicBezTo>
                    <a:cubicBezTo>
                      <a:pt x="-1261" y="10436"/>
                      <a:pt x="1011" y="15819"/>
                      <a:pt x="5736" y="17732"/>
                    </a:cubicBezTo>
                    <a:close/>
                  </a:path>
                </a:pathLst>
              </a:custGeom>
              <a:grpFill/>
              <a:ln w="5978" cap="flat">
                <a:noFill/>
                <a:prstDash val="solid"/>
                <a:miter/>
              </a:ln>
            </p:spPr>
            <p:txBody>
              <a:bodyPr rtlCol="0" anchor="ctr"/>
              <a:lstStyle/>
              <a:p>
                <a:endParaRPr lang="en-GB"/>
              </a:p>
            </p:txBody>
          </p:sp>
        </p:grpSp>
        <p:grpSp>
          <p:nvGrpSpPr>
            <p:cNvPr id="1079" name="Graphic 3">
              <a:extLst>
                <a:ext uri="{FF2B5EF4-FFF2-40B4-BE49-F238E27FC236}">
                  <a16:creationId xmlns:a16="http://schemas.microsoft.com/office/drawing/2014/main" id="{847945D6-A8C7-434E-994C-C803BBB66C4A}"/>
                </a:ext>
              </a:extLst>
            </p:cNvPr>
            <p:cNvGrpSpPr/>
            <p:nvPr/>
          </p:nvGrpSpPr>
          <p:grpSpPr>
            <a:xfrm>
              <a:off x="4772174" y="4826871"/>
              <a:ext cx="406835" cy="561035"/>
              <a:chOff x="4772174" y="4826871"/>
              <a:chExt cx="406835" cy="561035"/>
            </a:xfrm>
            <a:grpFill/>
          </p:grpSpPr>
          <p:sp>
            <p:nvSpPr>
              <p:cNvPr id="2163" name="Vrije vorm: vorm 2162">
                <a:extLst>
                  <a:ext uri="{FF2B5EF4-FFF2-40B4-BE49-F238E27FC236}">
                    <a16:creationId xmlns:a16="http://schemas.microsoft.com/office/drawing/2014/main" id="{1E318D89-94D1-43C6-9097-2F8FE1A6FE91}"/>
                  </a:ext>
                </a:extLst>
              </p:cNvPr>
              <p:cNvSpPr/>
              <p:nvPr/>
            </p:nvSpPr>
            <p:spPr>
              <a:xfrm>
                <a:off x="4779812" y="4834795"/>
                <a:ext cx="391557" cy="545142"/>
              </a:xfrm>
              <a:custGeom>
                <a:avLst/>
                <a:gdLst>
                  <a:gd name="connsiteX0" fmla="*/ 391558 w 391557"/>
                  <a:gd name="connsiteY0" fmla="*/ 1794 h 545142"/>
                  <a:gd name="connsiteX1" fmla="*/ 2512 w 391557"/>
                  <a:gd name="connsiteY1" fmla="*/ 545143 h 545142"/>
                  <a:gd name="connsiteX2" fmla="*/ 0 w 391557"/>
                  <a:gd name="connsiteY2" fmla="*/ 543348 h 545142"/>
                  <a:gd name="connsiteX3" fmla="*/ 389046 w 391557"/>
                  <a:gd name="connsiteY3" fmla="*/ 0 h 545142"/>
                </a:gdLst>
                <a:ahLst/>
                <a:cxnLst>
                  <a:cxn ang="0">
                    <a:pos x="connsiteX0" y="connsiteY0"/>
                  </a:cxn>
                  <a:cxn ang="0">
                    <a:pos x="connsiteX1" y="connsiteY1"/>
                  </a:cxn>
                  <a:cxn ang="0">
                    <a:pos x="connsiteX2" y="connsiteY2"/>
                  </a:cxn>
                  <a:cxn ang="0">
                    <a:pos x="connsiteX3" y="connsiteY3"/>
                  </a:cxn>
                </a:cxnLst>
                <a:rect l="l" t="t" r="r" b="b"/>
                <a:pathLst>
                  <a:path w="391557" h="545142">
                    <a:moveTo>
                      <a:pt x="391558" y="1794"/>
                    </a:moveTo>
                    <a:lnTo>
                      <a:pt x="2512" y="545143"/>
                    </a:lnTo>
                    <a:lnTo>
                      <a:pt x="0" y="543348"/>
                    </a:lnTo>
                    <a:lnTo>
                      <a:pt x="389046" y="0"/>
                    </a:lnTo>
                    <a:close/>
                  </a:path>
                </a:pathLst>
              </a:custGeom>
              <a:grpFill/>
              <a:ln w="5978" cap="flat">
                <a:noFill/>
                <a:prstDash val="solid"/>
                <a:miter/>
              </a:ln>
            </p:spPr>
            <p:txBody>
              <a:bodyPr rtlCol="0" anchor="ctr"/>
              <a:lstStyle/>
              <a:p>
                <a:endParaRPr lang="en-GB"/>
              </a:p>
            </p:txBody>
          </p:sp>
          <p:sp>
            <p:nvSpPr>
              <p:cNvPr id="2164" name="Vrije vorm: vorm 2163">
                <a:extLst>
                  <a:ext uri="{FF2B5EF4-FFF2-40B4-BE49-F238E27FC236}">
                    <a16:creationId xmlns:a16="http://schemas.microsoft.com/office/drawing/2014/main" id="{66C96163-1DE6-4E43-8EE9-52DB9DD60F5A}"/>
                  </a:ext>
                </a:extLst>
              </p:cNvPr>
              <p:cNvSpPr/>
              <p:nvPr/>
            </p:nvSpPr>
            <p:spPr>
              <a:xfrm>
                <a:off x="5160698" y="4826871"/>
                <a:ext cx="18311" cy="18421"/>
              </a:xfrm>
              <a:custGeom>
                <a:avLst/>
                <a:gdLst>
                  <a:gd name="connsiteX0" fmla="*/ 1701 w 18311"/>
                  <a:gd name="connsiteY0" fmla="*/ 3798 h 18421"/>
                  <a:gd name="connsiteX1" fmla="*/ 14500 w 18311"/>
                  <a:gd name="connsiteY1" fmla="*/ 1765 h 18421"/>
                  <a:gd name="connsiteX2" fmla="*/ 16593 w 18311"/>
                  <a:gd name="connsiteY2" fmla="*/ 14623 h 18421"/>
                  <a:gd name="connsiteX3" fmla="*/ 3794 w 18311"/>
                  <a:gd name="connsiteY3" fmla="*/ 16657 h 18421"/>
                  <a:gd name="connsiteX4" fmla="*/ 1701 w 18311"/>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1701" y="3798"/>
                    </a:moveTo>
                    <a:cubicBezTo>
                      <a:pt x="4632" y="-329"/>
                      <a:pt x="10373" y="-1226"/>
                      <a:pt x="14500" y="1765"/>
                    </a:cubicBezTo>
                    <a:cubicBezTo>
                      <a:pt x="18627" y="4755"/>
                      <a:pt x="19524" y="10497"/>
                      <a:pt x="16593" y="14623"/>
                    </a:cubicBezTo>
                    <a:cubicBezTo>
                      <a:pt x="13662" y="18750"/>
                      <a:pt x="7921" y="19647"/>
                      <a:pt x="3794" y="16657"/>
                    </a:cubicBezTo>
                    <a:cubicBezTo>
                      <a:pt x="-272" y="13666"/>
                      <a:pt x="-1230" y="7925"/>
                      <a:pt x="1701" y="3798"/>
                    </a:cubicBezTo>
                    <a:close/>
                  </a:path>
                </a:pathLst>
              </a:custGeom>
              <a:grpFill/>
              <a:ln w="5978" cap="flat">
                <a:noFill/>
                <a:prstDash val="solid"/>
                <a:miter/>
              </a:ln>
            </p:spPr>
            <p:txBody>
              <a:bodyPr rtlCol="0" anchor="ctr"/>
              <a:lstStyle/>
              <a:p>
                <a:endParaRPr lang="en-GB"/>
              </a:p>
            </p:txBody>
          </p:sp>
          <p:sp>
            <p:nvSpPr>
              <p:cNvPr id="2165" name="Vrije vorm: vorm 2164">
                <a:extLst>
                  <a:ext uri="{FF2B5EF4-FFF2-40B4-BE49-F238E27FC236}">
                    <a16:creationId xmlns:a16="http://schemas.microsoft.com/office/drawing/2014/main" id="{528CC28A-E2B5-4B49-A15C-3CEFED609BEF}"/>
                  </a:ext>
                </a:extLst>
              </p:cNvPr>
              <p:cNvSpPr/>
              <p:nvPr/>
            </p:nvSpPr>
            <p:spPr>
              <a:xfrm>
                <a:off x="4772174" y="5369502"/>
                <a:ext cx="18327" cy="18404"/>
              </a:xfrm>
              <a:custGeom>
                <a:avLst/>
                <a:gdLst>
                  <a:gd name="connsiteX0" fmla="*/ 1718 w 18327"/>
                  <a:gd name="connsiteY0" fmla="*/ 3798 h 18404"/>
                  <a:gd name="connsiteX1" fmla="*/ 3811 w 18327"/>
                  <a:gd name="connsiteY1" fmla="*/ 16657 h 18404"/>
                  <a:gd name="connsiteX2" fmla="*/ 16610 w 18327"/>
                  <a:gd name="connsiteY2" fmla="*/ 14623 h 18404"/>
                  <a:gd name="connsiteX3" fmla="*/ 14517 w 18327"/>
                  <a:gd name="connsiteY3" fmla="*/ 1765 h 18404"/>
                  <a:gd name="connsiteX4" fmla="*/ 1718 w 18327"/>
                  <a:gd name="connsiteY4" fmla="*/ 3798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4">
                    <a:moveTo>
                      <a:pt x="1718" y="3798"/>
                    </a:moveTo>
                    <a:cubicBezTo>
                      <a:pt x="-1213" y="7925"/>
                      <a:pt x="-316" y="13666"/>
                      <a:pt x="3811" y="16657"/>
                    </a:cubicBezTo>
                    <a:cubicBezTo>
                      <a:pt x="7938" y="19647"/>
                      <a:pt x="13620" y="18690"/>
                      <a:pt x="16610" y="14623"/>
                    </a:cubicBezTo>
                    <a:cubicBezTo>
                      <a:pt x="19540" y="10496"/>
                      <a:pt x="18644" y="4755"/>
                      <a:pt x="14517" y="1765"/>
                    </a:cubicBezTo>
                    <a:cubicBezTo>
                      <a:pt x="10390" y="-1226"/>
                      <a:pt x="4648" y="-329"/>
                      <a:pt x="1718" y="3798"/>
                    </a:cubicBezTo>
                    <a:close/>
                  </a:path>
                </a:pathLst>
              </a:custGeom>
              <a:grpFill/>
              <a:ln w="5978" cap="flat">
                <a:noFill/>
                <a:prstDash val="solid"/>
                <a:miter/>
              </a:ln>
            </p:spPr>
            <p:txBody>
              <a:bodyPr rtlCol="0" anchor="ctr"/>
              <a:lstStyle/>
              <a:p>
                <a:endParaRPr lang="en-GB"/>
              </a:p>
            </p:txBody>
          </p:sp>
        </p:grpSp>
        <p:grpSp>
          <p:nvGrpSpPr>
            <p:cNvPr id="1080" name="Graphic 3">
              <a:extLst>
                <a:ext uri="{FF2B5EF4-FFF2-40B4-BE49-F238E27FC236}">
                  <a16:creationId xmlns:a16="http://schemas.microsoft.com/office/drawing/2014/main" id="{0068D22F-969F-4523-8C30-8D327DDF0B08}"/>
                </a:ext>
              </a:extLst>
            </p:cNvPr>
            <p:cNvGrpSpPr/>
            <p:nvPr/>
          </p:nvGrpSpPr>
          <p:grpSpPr>
            <a:xfrm>
              <a:off x="3856688" y="2552159"/>
              <a:ext cx="601122" cy="279548"/>
              <a:chOff x="3856688" y="2552159"/>
              <a:chExt cx="601122" cy="279548"/>
            </a:xfrm>
            <a:grpFill/>
          </p:grpSpPr>
          <p:sp>
            <p:nvSpPr>
              <p:cNvPr id="2160" name="Vrije vorm: vorm 2159">
                <a:extLst>
                  <a:ext uri="{FF2B5EF4-FFF2-40B4-BE49-F238E27FC236}">
                    <a16:creationId xmlns:a16="http://schemas.microsoft.com/office/drawing/2014/main" id="{9EEEFCBA-80FA-4452-8B01-22140511AF40}"/>
                  </a:ext>
                </a:extLst>
              </p:cNvPr>
              <p:cNvSpPr/>
              <p:nvPr/>
            </p:nvSpPr>
            <p:spPr>
              <a:xfrm>
                <a:off x="3864822" y="2559789"/>
                <a:ext cx="584854" cy="264288"/>
              </a:xfrm>
              <a:custGeom>
                <a:avLst/>
                <a:gdLst>
                  <a:gd name="connsiteX0" fmla="*/ 584855 w 584854"/>
                  <a:gd name="connsiteY0" fmla="*/ 261477 h 264288"/>
                  <a:gd name="connsiteX1" fmla="*/ 583659 w 584854"/>
                  <a:gd name="connsiteY1" fmla="*/ 264288 h 264288"/>
                  <a:gd name="connsiteX2" fmla="*/ 0 w 584854"/>
                  <a:gd name="connsiteY2" fmla="*/ 2811 h 264288"/>
                  <a:gd name="connsiteX3" fmla="*/ 1196 w 584854"/>
                  <a:gd name="connsiteY3" fmla="*/ 0 h 264288"/>
                </a:gdLst>
                <a:ahLst/>
                <a:cxnLst>
                  <a:cxn ang="0">
                    <a:pos x="connsiteX0" y="connsiteY0"/>
                  </a:cxn>
                  <a:cxn ang="0">
                    <a:pos x="connsiteX1" y="connsiteY1"/>
                  </a:cxn>
                  <a:cxn ang="0">
                    <a:pos x="connsiteX2" y="connsiteY2"/>
                  </a:cxn>
                  <a:cxn ang="0">
                    <a:pos x="connsiteX3" y="connsiteY3"/>
                  </a:cxn>
                </a:cxnLst>
                <a:rect l="l" t="t" r="r" b="b"/>
                <a:pathLst>
                  <a:path w="584854" h="264288">
                    <a:moveTo>
                      <a:pt x="584855" y="261477"/>
                    </a:moveTo>
                    <a:lnTo>
                      <a:pt x="583659" y="264288"/>
                    </a:lnTo>
                    <a:lnTo>
                      <a:pt x="0" y="2811"/>
                    </a:lnTo>
                    <a:lnTo>
                      <a:pt x="1196" y="0"/>
                    </a:lnTo>
                    <a:close/>
                  </a:path>
                </a:pathLst>
              </a:custGeom>
              <a:grpFill/>
              <a:ln w="5978" cap="flat">
                <a:noFill/>
                <a:prstDash val="solid"/>
                <a:miter/>
              </a:ln>
            </p:spPr>
            <p:txBody>
              <a:bodyPr rtlCol="0" anchor="ctr"/>
              <a:lstStyle/>
              <a:p>
                <a:endParaRPr lang="en-GB"/>
              </a:p>
            </p:txBody>
          </p:sp>
          <p:sp>
            <p:nvSpPr>
              <p:cNvPr id="2161" name="Vrije vorm: vorm 2160">
                <a:extLst>
                  <a:ext uri="{FF2B5EF4-FFF2-40B4-BE49-F238E27FC236}">
                    <a16:creationId xmlns:a16="http://schemas.microsoft.com/office/drawing/2014/main" id="{BDF7AF52-442C-4D77-9754-AEA92BA76865}"/>
                  </a:ext>
                </a:extLst>
              </p:cNvPr>
              <p:cNvSpPr/>
              <p:nvPr/>
            </p:nvSpPr>
            <p:spPr>
              <a:xfrm>
                <a:off x="4439509" y="2813277"/>
                <a:ext cx="18301" cy="18430"/>
              </a:xfrm>
              <a:custGeom>
                <a:avLst/>
                <a:gdLst>
                  <a:gd name="connsiteX0" fmla="*/ 12859 w 18301"/>
                  <a:gd name="connsiteY0" fmla="*/ 812 h 18430"/>
                  <a:gd name="connsiteX1" fmla="*/ 17524 w 18301"/>
                  <a:gd name="connsiteY1" fmla="*/ 12953 h 18430"/>
                  <a:gd name="connsiteX2" fmla="*/ 5443 w 18301"/>
                  <a:gd name="connsiteY2" fmla="*/ 17618 h 18430"/>
                  <a:gd name="connsiteX3" fmla="*/ 777 w 18301"/>
                  <a:gd name="connsiteY3" fmla="*/ 5477 h 18430"/>
                  <a:gd name="connsiteX4" fmla="*/ 12859 w 1830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0">
                    <a:moveTo>
                      <a:pt x="12859" y="812"/>
                    </a:moveTo>
                    <a:cubicBezTo>
                      <a:pt x="17464" y="2906"/>
                      <a:pt x="19557" y="8348"/>
                      <a:pt x="17524" y="12953"/>
                    </a:cubicBezTo>
                    <a:cubicBezTo>
                      <a:pt x="15490" y="17618"/>
                      <a:pt x="10048" y="19711"/>
                      <a:pt x="5443" y="17618"/>
                    </a:cubicBezTo>
                    <a:cubicBezTo>
                      <a:pt x="837" y="15525"/>
                      <a:pt x="-1256" y="10082"/>
                      <a:pt x="777" y="5477"/>
                    </a:cubicBezTo>
                    <a:cubicBezTo>
                      <a:pt x="2811" y="812"/>
                      <a:pt x="8194" y="-1281"/>
                      <a:pt x="12859" y="812"/>
                    </a:cubicBezTo>
                    <a:close/>
                  </a:path>
                </a:pathLst>
              </a:custGeom>
              <a:grpFill/>
              <a:ln w="5978" cap="flat">
                <a:noFill/>
                <a:prstDash val="solid"/>
                <a:miter/>
              </a:ln>
            </p:spPr>
            <p:txBody>
              <a:bodyPr rtlCol="0" anchor="ctr"/>
              <a:lstStyle/>
              <a:p>
                <a:endParaRPr lang="en-GB"/>
              </a:p>
            </p:txBody>
          </p:sp>
          <p:sp>
            <p:nvSpPr>
              <p:cNvPr id="2162" name="Vrije vorm: vorm 2161">
                <a:extLst>
                  <a:ext uri="{FF2B5EF4-FFF2-40B4-BE49-F238E27FC236}">
                    <a16:creationId xmlns:a16="http://schemas.microsoft.com/office/drawing/2014/main" id="{ACF8AEC2-2B98-4961-BCC9-68DBB64BA6FB}"/>
                  </a:ext>
                </a:extLst>
              </p:cNvPr>
              <p:cNvSpPr/>
              <p:nvPr/>
            </p:nvSpPr>
            <p:spPr>
              <a:xfrm>
                <a:off x="3856688" y="2552159"/>
                <a:ext cx="18301" cy="18430"/>
              </a:xfrm>
              <a:custGeom>
                <a:avLst/>
                <a:gdLst>
                  <a:gd name="connsiteX0" fmla="*/ 12859 w 18301"/>
                  <a:gd name="connsiteY0" fmla="*/ 812 h 18430"/>
                  <a:gd name="connsiteX1" fmla="*/ 778 w 18301"/>
                  <a:gd name="connsiteY1" fmla="*/ 5477 h 18430"/>
                  <a:gd name="connsiteX2" fmla="*/ 5442 w 18301"/>
                  <a:gd name="connsiteY2" fmla="*/ 17618 h 18430"/>
                  <a:gd name="connsiteX3" fmla="*/ 17524 w 18301"/>
                  <a:gd name="connsiteY3" fmla="*/ 12953 h 18430"/>
                  <a:gd name="connsiteX4" fmla="*/ 12859 w 1830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0">
                    <a:moveTo>
                      <a:pt x="12859" y="812"/>
                    </a:moveTo>
                    <a:cubicBezTo>
                      <a:pt x="8254" y="-1281"/>
                      <a:pt x="2811" y="812"/>
                      <a:pt x="778" y="5477"/>
                    </a:cubicBezTo>
                    <a:cubicBezTo>
                      <a:pt x="-1256" y="10142"/>
                      <a:pt x="837" y="15585"/>
                      <a:pt x="5442" y="17618"/>
                    </a:cubicBezTo>
                    <a:cubicBezTo>
                      <a:pt x="10048" y="19711"/>
                      <a:pt x="15490" y="17618"/>
                      <a:pt x="17524" y="12953"/>
                    </a:cubicBezTo>
                    <a:cubicBezTo>
                      <a:pt x="19557" y="8288"/>
                      <a:pt x="17464" y="2846"/>
                      <a:pt x="12859" y="812"/>
                    </a:cubicBezTo>
                    <a:close/>
                  </a:path>
                </a:pathLst>
              </a:custGeom>
              <a:grpFill/>
              <a:ln w="5978" cap="flat">
                <a:noFill/>
                <a:prstDash val="solid"/>
                <a:miter/>
              </a:ln>
            </p:spPr>
            <p:txBody>
              <a:bodyPr rtlCol="0" anchor="ctr"/>
              <a:lstStyle/>
              <a:p>
                <a:endParaRPr lang="en-GB"/>
              </a:p>
            </p:txBody>
          </p:sp>
        </p:grpSp>
        <p:grpSp>
          <p:nvGrpSpPr>
            <p:cNvPr id="1081" name="Graphic 3">
              <a:extLst>
                <a:ext uri="{FF2B5EF4-FFF2-40B4-BE49-F238E27FC236}">
                  <a16:creationId xmlns:a16="http://schemas.microsoft.com/office/drawing/2014/main" id="{992A7F6D-676C-4D5A-87E9-A9936E9C6A5F}"/>
                </a:ext>
              </a:extLst>
            </p:cNvPr>
            <p:cNvGrpSpPr/>
            <p:nvPr/>
          </p:nvGrpSpPr>
          <p:grpSpPr>
            <a:xfrm>
              <a:off x="4052602" y="2541200"/>
              <a:ext cx="134714" cy="69055"/>
              <a:chOff x="4052602" y="2541200"/>
              <a:chExt cx="134714" cy="69055"/>
            </a:xfrm>
            <a:grpFill/>
          </p:grpSpPr>
          <p:sp>
            <p:nvSpPr>
              <p:cNvPr id="2157" name="Vrije vorm: vorm 2156">
                <a:extLst>
                  <a:ext uri="{FF2B5EF4-FFF2-40B4-BE49-F238E27FC236}">
                    <a16:creationId xmlns:a16="http://schemas.microsoft.com/office/drawing/2014/main" id="{7C34EDEB-AB80-4453-98FA-E74A4C6895EE}"/>
                  </a:ext>
                </a:extLst>
              </p:cNvPr>
              <p:cNvSpPr/>
              <p:nvPr/>
            </p:nvSpPr>
            <p:spPr>
              <a:xfrm>
                <a:off x="4060750" y="2548844"/>
                <a:ext cx="118478" cy="53766"/>
              </a:xfrm>
              <a:custGeom>
                <a:avLst/>
                <a:gdLst>
                  <a:gd name="connsiteX0" fmla="*/ 118478 w 118478"/>
                  <a:gd name="connsiteY0" fmla="*/ 50956 h 53766"/>
                  <a:gd name="connsiteX1" fmla="*/ 117282 w 118478"/>
                  <a:gd name="connsiteY1" fmla="*/ 53767 h 53766"/>
                  <a:gd name="connsiteX2" fmla="*/ 0 w 118478"/>
                  <a:gd name="connsiteY2" fmla="*/ 2811 h 53766"/>
                  <a:gd name="connsiteX3" fmla="*/ 1196 w 118478"/>
                  <a:gd name="connsiteY3" fmla="*/ 0 h 53766"/>
                </a:gdLst>
                <a:ahLst/>
                <a:cxnLst>
                  <a:cxn ang="0">
                    <a:pos x="connsiteX0" y="connsiteY0"/>
                  </a:cxn>
                  <a:cxn ang="0">
                    <a:pos x="connsiteX1" y="connsiteY1"/>
                  </a:cxn>
                  <a:cxn ang="0">
                    <a:pos x="connsiteX2" y="connsiteY2"/>
                  </a:cxn>
                  <a:cxn ang="0">
                    <a:pos x="connsiteX3" y="connsiteY3"/>
                  </a:cxn>
                </a:cxnLst>
                <a:rect l="l" t="t" r="r" b="b"/>
                <a:pathLst>
                  <a:path w="118478" h="53766">
                    <a:moveTo>
                      <a:pt x="118478" y="50956"/>
                    </a:moveTo>
                    <a:lnTo>
                      <a:pt x="117282" y="53767"/>
                    </a:lnTo>
                    <a:lnTo>
                      <a:pt x="0" y="2811"/>
                    </a:lnTo>
                    <a:lnTo>
                      <a:pt x="1196" y="0"/>
                    </a:lnTo>
                    <a:close/>
                  </a:path>
                </a:pathLst>
              </a:custGeom>
              <a:grpFill/>
              <a:ln w="5978" cap="flat">
                <a:noFill/>
                <a:prstDash val="solid"/>
                <a:miter/>
              </a:ln>
            </p:spPr>
            <p:txBody>
              <a:bodyPr rtlCol="0" anchor="ctr"/>
              <a:lstStyle/>
              <a:p>
                <a:endParaRPr lang="en-GB"/>
              </a:p>
            </p:txBody>
          </p:sp>
          <p:sp>
            <p:nvSpPr>
              <p:cNvPr id="2158" name="Vrije vorm: vorm 2157">
                <a:extLst>
                  <a:ext uri="{FF2B5EF4-FFF2-40B4-BE49-F238E27FC236}">
                    <a16:creationId xmlns:a16="http://schemas.microsoft.com/office/drawing/2014/main" id="{E2701BCD-FEC7-48D7-870E-DB66DDB02751}"/>
                  </a:ext>
                </a:extLst>
              </p:cNvPr>
              <p:cNvSpPr/>
              <p:nvPr/>
            </p:nvSpPr>
            <p:spPr>
              <a:xfrm>
                <a:off x="4052602" y="2541200"/>
                <a:ext cx="18304" cy="18458"/>
              </a:xfrm>
              <a:custGeom>
                <a:avLst/>
                <a:gdLst>
                  <a:gd name="connsiteX0" fmla="*/ 5576 w 18304"/>
                  <a:gd name="connsiteY0" fmla="*/ 17692 h 18458"/>
                  <a:gd name="connsiteX1" fmla="*/ 732 w 18304"/>
                  <a:gd name="connsiteY1" fmla="*/ 5551 h 18458"/>
                  <a:gd name="connsiteX2" fmla="*/ 12753 w 18304"/>
                  <a:gd name="connsiteY2" fmla="*/ 767 h 18458"/>
                  <a:gd name="connsiteX3" fmla="*/ 17538 w 18304"/>
                  <a:gd name="connsiteY3" fmla="*/ 12908 h 18458"/>
                  <a:gd name="connsiteX4" fmla="*/ 5576 w 18304"/>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8">
                    <a:moveTo>
                      <a:pt x="5576" y="17692"/>
                    </a:moveTo>
                    <a:cubicBezTo>
                      <a:pt x="911" y="15659"/>
                      <a:pt x="-1242" y="10216"/>
                      <a:pt x="732" y="5551"/>
                    </a:cubicBezTo>
                    <a:cubicBezTo>
                      <a:pt x="2705" y="886"/>
                      <a:pt x="8088" y="-1267"/>
                      <a:pt x="12753" y="767"/>
                    </a:cubicBezTo>
                    <a:cubicBezTo>
                      <a:pt x="17418" y="2800"/>
                      <a:pt x="19571" y="8243"/>
                      <a:pt x="17538" y="12908"/>
                    </a:cubicBezTo>
                    <a:cubicBezTo>
                      <a:pt x="15624" y="17572"/>
                      <a:pt x="10241" y="19725"/>
                      <a:pt x="5576" y="17692"/>
                    </a:cubicBezTo>
                    <a:close/>
                  </a:path>
                </a:pathLst>
              </a:custGeom>
              <a:grpFill/>
              <a:ln w="5978" cap="flat">
                <a:noFill/>
                <a:prstDash val="solid"/>
                <a:miter/>
              </a:ln>
            </p:spPr>
            <p:txBody>
              <a:bodyPr rtlCol="0" anchor="ctr"/>
              <a:lstStyle/>
              <a:p>
                <a:endParaRPr lang="en-GB"/>
              </a:p>
            </p:txBody>
          </p:sp>
          <p:sp>
            <p:nvSpPr>
              <p:cNvPr id="2159" name="Vrije vorm: vorm 2158">
                <a:extLst>
                  <a:ext uri="{FF2B5EF4-FFF2-40B4-BE49-F238E27FC236}">
                    <a16:creationId xmlns:a16="http://schemas.microsoft.com/office/drawing/2014/main" id="{7E879AD4-8170-4C94-A95C-217184C74E84}"/>
                  </a:ext>
                </a:extLst>
              </p:cNvPr>
              <p:cNvSpPr/>
              <p:nvPr/>
            </p:nvSpPr>
            <p:spPr>
              <a:xfrm>
                <a:off x="4169012" y="2591797"/>
                <a:ext cx="18305" cy="18458"/>
              </a:xfrm>
              <a:custGeom>
                <a:avLst/>
                <a:gdLst>
                  <a:gd name="connsiteX0" fmla="*/ 5551 w 18305"/>
                  <a:gd name="connsiteY0" fmla="*/ 17692 h 18458"/>
                  <a:gd name="connsiteX1" fmla="*/ 17573 w 18305"/>
                  <a:gd name="connsiteY1" fmla="*/ 12908 h 18458"/>
                  <a:gd name="connsiteX2" fmla="*/ 12788 w 18305"/>
                  <a:gd name="connsiteY2" fmla="*/ 767 h 18458"/>
                  <a:gd name="connsiteX3" fmla="*/ 767 w 18305"/>
                  <a:gd name="connsiteY3" fmla="*/ 5551 h 18458"/>
                  <a:gd name="connsiteX4" fmla="*/ 5551 w 1830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8">
                    <a:moveTo>
                      <a:pt x="5551" y="17692"/>
                    </a:moveTo>
                    <a:cubicBezTo>
                      <a:pt x="10216" y="19726"/>
                      <a:pt x="15599" y="17572"/>
                      <a:pt x="17573" y="12908"/>
                    </a:cubicBezTo>
                    <a:cubicBezTo>
                      <a:pt x="19546" y="8243"/>
                      <a:pt x="17393" y="2800"/>
                      <a:pt x="12788" y="767"/>
                    </a:cubicBezTo>
                    <a:cubicBezTo>
                      <a:pt x="8123" y="-1267"/>
                      <a:pt x="2740" y="886"/>
                      <a:pt x="767" y="5551"/>
                    </a:cubicBezTo>
                    <a:cubicBezTo>
                      <a:pt x="-1267" y="10216"/>
                      <a:pt x="886" y="15659"/>
                      <a:pt x="5551" y="17692"/>
                    </a:cubicBezTo>
                    <a:close/>
                  </a:path>
                </a:pathLst>
              </a:custGeom>
              <a:grpFill/>
              <a:ln w="5978" cap="flat">
                <a:noFill/>
                <a:prstDash val="solid"/>
                <a:miter/>
              </a:ln>
            </p:spPr>
            <p:txBody>
              <a:bodyPr rtlCol="0" anchor="ctr"/>
              <a:lstStyle/>
              <a:p>
                <a:endParaRPr lang="en-GB"/>
              </a:p>
            </p:txBody>
          </p:sp>
        </p:grpSp>
        <p:grpSp>
          <p:nvGrpSpPr>
            <p:cNvPr id="1082" name="Graphic 3">
              <a:extLst>
                <a:ext uri="{FF2B5EF4-FFF2-40B4-BE49-F238E27FC236}">
                  <a16:creationId xmlns:a16="http://schemas.microsoft.com/office/drawing/2014/main" id="{335442B7-4610-4AEE-8153-86360BC6F732}"/>
                </a:ext>
              </a:extLst>
            </p:cNvPr>
            <p:cNvGrpSpPr/>
            <p:nvPr/>
          </p:nvGrpSpPr>
          <p:grpSpPr>
            <a:xfrm>
              <a:off x="4778068" y="4650289"/>
              <a:ext cx="98126" cy="101855"/>
              <a:chOff x="4778068" y="4650289"/>
              <a:chExt cx="98126" cy="101855"/>
            </a:xfrm>
            <a:grpFill/>
          </p:grpSpPr>
          <p:sp>
            <p:nvSpPr>
              <p:cNvPr id="2154" name="Vrije vorm: vorm 2153">
                <a:extLst>
                  <a:ext uri="{FF2B5EF4-FFF2-40B4-BE49-F238E27FC236}">
                    <a16:creationId xmlns:a16="http://schemas.microsoft.com/office/drawing/2014/main" id="{3F817C18-1CA2-4C76-9183-1E1261EB93F3}"/>
                  </a:ext>
                </a:extLst>
              </p:cNvPr>
              <p:cNvSpPr/>
              <p:nvPr/>
            </p:nvSpPr>
            <p:spPr>
              <a:xfrm>
                <a:off x="4785793" y="4658125"/>
                <a:ext cx="82653" cy="86241"/>
              </a:xfrm>
              <a:custGeom>
                <a:avLst/>
                <a:gdLst>
                  <a:gd name="connsiteX0" fmla="*/ 82654 w 82653"/>
                  <a:gd name="connsiteY0" fmla="*/ 2093 h 86241"/>
                  <a:gd name="connsiteX1" fmla="*/ 2213 w 82653"/>
                  <a:gd name="connsiteY1" fmla="*/ 86242 h 86241"/>
                  <a:gd name="connsiteX2" fmla="*/ 0 w 82653"/>
                  <a:gd name="connsiteY2" fmla="*/ 84089 h 86241"/>
                  <a:gd name="connsiteX3" fmla="*/ 80441 w 82653"/>
                  <a:gd name="connsiteY3" fmla="*/ 0 h 86241"/>
                </a:gdLst>
                <a:ahLst/>
                <a:cxnLst>
                  <a:cxn ang="0">
                    <a:pos x="connsiteX0" y="connsiteY0"/>
                  </a:cxn>
                  <a:cxn ang="0">
                    <a:pos x="connsiteX1" y="connsiteY1"/>
                  </a:cxn>
                  <a:cxn ang="0">
                    <a:pos x="connsiteX2" y="connsiteY2"/>
                  </a:cxn>
                  <a:cxn ang="0">
                    <a:pos x="connsiteX3" y="connsiteY3"/>
                  </a:cxn>
                </a:cxnLst>
                <a:rect l="l" t="t" r="r" b="b"/>
                <a:pathLst>
                  <a:path w="82653" h="86241">
                    <a:moveTo>
                      <a:pt x="82654" y="2093"/>
                    </a:moveTo>
                    <a:lnTo>
                      <a:pt x="2213" y="86242"/>
                    </a:lnTo>
                    <a:lnTo>
                      <a:pt x="0" y="84089"/>
                    </a:lnTo>
                    <a:lnTo>
                      <a:pt x="80441" y="0"/>
                    </a:lnTo>
                    <a:close/>
                  </a:path>
                </a:pathLst>
              </a:custGeom>
              <a:grpFill/>
              <a:ln w="5978" cap="flat">
                <a:noFill/>
                <a:prstDash val="solid"/>
                <a:miter/>
              </a:ln>
            </p:spPr>
            <p:txBody>
              <a:bodyPr rtlCol="0" anchor="ctr"/>
              <a:lstStyle/>
              <a:p>
                <a:endParaRPr lang="en-GB"/>
              </a:p>
            </p:txBody>
          </p:sp>
          <p:sp>
            <p:nvSpPr>
              <p:cNvPr id="2155" name="Vrije vorm: vorm 2154">
                <a:extLst>
                  <a:ext uri="{FF2B5EF4-FFF2-40B4-BE49-F238E27FC236}">
                    <a16:creationId xmlns:a16="http://schemas.microsoft.com/office/drawing/2014/main" id="{0AFB5C4D-8714-45FB-8333-4CE24EC71FD9}"/>
                  </a:ext>
                </a:extLst>
              </p:cNvPr>
              <p:cNvSpPr/>
              <p:nvPr/>
            </p:nvSpPr>
            <p:spPr>
              <a:xfrm>
                <a:off x="4778068" y="4733720"/>
                <a:ext cx="18320" cy="18423"/>
              </a:xfrm>
              <a:custGeom>
                <a:avLst/>
                <a:gdLst>
                  <a:gd name="connsiteX0" fmla="*/ 15799 w 18320"/>
                  <a:gd name="connsiteY0" fmla="*/ 15611 h 18423"/>
                  <a:gd name="connsiteX1" fmla="*/ 2821 w 18320"/>
                  <a:gd name="connsiteY1" fmla="*/ 15851 h 18423"/>
                  <a:gd name="connsiteX2" fmla="*/ 2522 w 18320"/>
                  <a:gd name="connsiteY2" fmla="*/ 2813 h 18423"/>
                  <a:gd name="connsiteX3" fmla="*/ 15500 w 18320"/>
                  <a:gd name="connsiteY3" fmla="*/ 2573 h 18423"/>
                  <a:gd name="connsiteX4" fmla="*/ 15799 w 18320"/>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15799" y="15611"/>
                    </a:moveTo>
                    <a:cubicBezTo>
                      <a:pt x="12270" y="19260"/>
                      <a:pt x="6469" y="19379"/>
                      <a:pt x="2821" y="15851"/>
                    </a:cubicBezTo>
                    <a:cubicBezTo>
                      <a:pt x="-827" y="12322"/>
                      <a:pt x="-947" y="6461"/>
                      <a:pt x="2522" y="2813"/>
                    </a:cubicBezTo>
                    <a:cubicBezTo>
                      <a:pt x="6050" y="-836"/>
                      <a:pt x="11852" y="-955"/>
                      <a:pt x="15500" y="2573"/>
                    </a:cubicBezTo>
                    <a:cubicBezTo>
                      <a:pt x="19148" y="6102"/>
                      <a:pt x="19268" y="11963"/>
                      <a:pt x="15799" y="15611"/>
                    </a:cubicBezTo>
                    <a:close/>
                  </a:path>
                </a:pathLst>
              </a:custGeom>
              <a:grpFill/>
              <a:ln w="5978" cap="flat">
                <a:noFill/>
                <a:prstDash val="solid"/>
                <a:miter/>
              </a:ln>
            </p:spPr>
            <p:txBody>
              <a:bodyPr rtlCol="0" anchor="ctr"/>
              <a:lstStyle/>
              <a:p>
                <a:endParaRPr lang="en-GB"/>
              </a:p>
            </p:txBody>
          </p:sp>
          <p:sp>
            <p:nvSpPr>
              <p:cNvPr id="2156" name="Vrije vorm: vorm 2155">
                <a:extLst>
                  <a:ext uri="{FF2B5EF4-FFF2-40B4-BE49-F238E27FC236}">
                    <a16:creationId xmlns:a16="http://schemas.microsoft.com/office/drawing/2014/main" id="{DCC1B06C-D674-400A-AF9F-F0F5FF7D6E9B}"/>
                  </a:ext>
                </a:extLst>
              </p:cNvPr>
              <p:cNvSpPr/>
              <p:nvPr/>
            </p:nvSpPr>
            <p:spPr>
              <a:xfrm>
                <a:off x="4857828" y="4650289"/>
                <a:ext cx="18366" cy="18423"/>
              </a:xfrm>
              <a:custGeom>
                <a:avLst/>
                <a:gdLst>
                  <a:gd name="connsiteX0" fmla="*/ 15822 w 18366"/>
                  <a:gd name="connsiteY0" fmla="*/ 15611 h 18423"/>
                  <a:gd name="connsiteX1" fmla="*/ 15523 w 18366"/>
                  <a:gd name="connsiteY1" fmla="*/ 2573 h 18423"/>
                  <a:gd name="connsiteX2" fmla="*/ 2545 w 18366"/>
                  <a:gd name="connsiteY2" fmla="*/ 2813 h 18423"/>
                  <a:gd name="connsiteX3" fmla="*/ 2844 w 18366"/>
                  <a:gd name="connsiteY3" fmla="*/ 15851 h 18423"/>
                  <a:gd name="connsiteX4" fmla="*/ 15822 w 18366"/>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3">
                    <a:moveTo>
                      <a:pt x="15822" y="15611"/>
                    </a:moveTo>
                    <a:cubicBezTo>
                      <a:pt x="19351" y="11963"/>
                      <a:pt x="19171" y="6102"/>
                      <a:pt x="15523" y="2573"/>
                    </a:cubicBezTo>
                    <a:cubicBezTo>
                      <a:pt x="11875" y="-955"/>
                      <a:pt x="6073" y="-836"/>
                      <a:pt x="2545" y="2813"/>
                    </a:cubicBezTo>
                    <a:cubicBezTo>
                      <a:pt x="-984" y="6461"/>
                      <a:pt x="-805" y="12322"/>
                      <a:pt x="2844" y="15851"/>
                    </a:cubicBezTo>
                    <a:cubicBezTo>
                      <a:pt x="6492" y="19379"/>
                      <a:pt x="12293" y="19260"/>
                      <a:pt x="15822" y="15611"/>
                    </a:cubicBezTo>
                    <a:close/>
                  </a:path>
                </a:pathLst>
              </a:custGeom>
              <a:grpFill/>
              <a:ln w="5978" cap="flat">
                <a:noFill/>
                <a:prstDash val="solid"/>
                <a:miter/>
              </a:ln>
            </p:spPr>
            <p:txBody>
              <a:bodyPr rtlCol="0" anchor="ctr"/>
              <a:lstStyle/>
              <a:p>
                <a:endParaRPr lang="en-GB"/>
              </a:p>
            </p:txBody>
          </p:sp>
        </p:grpSp>
        <p:grpSp>
          <p:nvGrpSpPr>
            <p:cNvPr id="1083" name="Graphic 3">
              <a:extLst>
                <a:ext uri="{FF2B5EF4-FFF2-40B4-BE49-F238E27FC236}">
                  <a16:creationId xmlns:a16="http://schemas.microsoft.com/office/drawing/2014/main" id="{F6F8DCFA-CFCE-4D32-BD4F-2E7F26B3DBE1}"/>
                </a:ext>
              </a:extLst>
            </p:cNvPr>
            <p:cNvGrpSpPr/>
            <p:nvPr/>
          </p:nvGrpSpPr>
          <p:grpSpPr>
            <a:xfrm>
              <a:off x="4894036" y="4969487"/>
              <a:ext cx="113829" cy="159553"/>
              <a:chOff x="4894036" y="4969487"/>
              <a:chExt cx="113829" cy="159553"/>
            </a:xfrm>
            <a:grpFill/>
          </p:grpSpPr>
          <p:sp>
            <p:nvSpPr>
              <p:cNvPr id="2151" name="Vrije vorm: vorm 2150">
                <a:extLst>
                  <a:ext uri="{FF2B5EF4-FFF2-40B4-BE49-F238E27FC236}">
                    <a16:creationId xmlns:a16="http://schemas.microsoft.com/office/drawing/2014/main" id="{899DC0E7-7DDA-4B6E-84A7-5BA29ABED520}"/>
                  </a:ext>
                </a:extLst>
              </p:cNvPr>
              <p:cNvSpPr/>
              <p:nvPr/>
            </p:nvSpPr>
            <p:spPr>
              <a:xfrm>
                <a:off x="4901700" y="4977495"/>
                <a:ext cx="98502" cy="143597"/>
              </a:xfrm>
              <a:custGeom>
                <a:avLst/>
                <a:gdLst>
                  <a:gd name="connsiteX0" fmla="*/ 98502 w 98502"/>
                  <a:gd name="connsiteY0" fmla="*/ 1675 h 143597"/>
                  <a:gd name="connsiteX1" fmla="*/ 2512 w 98502"/>
                  <a:gd name="connsiteY1" fmla="*/ 143597 h 143597"/>
                  <a:gd name="connsiteX2" fmla="*/ 0 w 98502"/>
                  <a:gd name="connsiteY2" fmla="*/ 141863 h 143597"/>
                  <a:gd name="connsiteX3" fmla="*/ 95991 w 98502"/>
                  <a:gd name="connsiteY3" fmla="*/ 0 h 143597"/>
                </a:gdLst>
                <a:ahLst/>
                <a:cxnLst>
                  <a:cxn ang="0">
                    <a:pos x="connsiteX0" y="connsiteY0"/>
                  </a:cxn>
                  <a:cxn ang="0">
                    <a:pos x="connsiteX1" y="connsiteY1"/>
                  </a:cxn>
                  <a:cxn ang="0">
                    <a:pos x="connsiteX2" y="connsiteY2"/>
                  </a:cxn>
                  <a:cxn ang="0">
                    <a:pos x="connsiteX3" y="connsiteY3"/>
                  </a:cxn>
                </a:cxnLst>
                <a:rect l="l" t="t" r="r" b="b"/>
                <a:pathLst>
                  <a:path w="98502" h="143597">
                    <a:moveTo>
                      <a:pt x="98502" y="1675"/>
                    </a:moveTo>
                    <a:lnTo>
                      <a:pt x="2512" y="143597"/>
                    </a:lnTo>
                    <a:lnTo>
                      <a:pt x="0" y="141863"/>
                    </a:lnTo>
                    <a:lnTo>
                      <a:pt x="95991" y="0"/>
                    </a:lnTo>
                    <a:close/>
                  </a:path>
                </a:pathLst>
              </a:custGeom>
              <a:grpFill/>
              <a:ln w="5978" cap="flat">
                <a:noFill/>
                <a:prstDash val="solid"/>
                <a:miter/>
              </a:ln>
            </p:spPr>
            <p:txBody>
              <a:bodyPr rtlCol="0" anchor="ctr"/>
              <a:lstStyle/>
              <a:p>
                <a:endParaRPr lang="en-GB"/>
              </a:p>
            </p:txBody>
          </p:sp>
          <p:sp>
            <p:nvSpPr>
              <p:cNvPr id="2152" name="Vrije vorm: vorm 2151">
                <a:extLst>
                  <a:ext uri="{FF2B5EF4-FFF2-40B4-BE49-F238E27FC236}">
                    <a16:creationId xmlns:a16="http://schemas.microsoft.com/office/drawing/2014/main" id="{0291A2DD-3518-42D9-8A56-D759BA8734F8}"/>
                  </a:ext>
                </a:extLst>
              </p:cNvPr>
              <p:cNvSpPr/>
              <p:nvPr/>
            </p:nvSpPr>
            <p:spPr>
              <a:xfrm>
                <a:off x="4894036" y="5110632"/>
                <a:ext cx="18343" cy="18408"/>
              </a:xfrm>
              <a:custGeom>
                <a:avLst/>
                <a:gdLst>
                  <a:gd name="connsiteX0" fmla="*/ 16754 w 18343"/>
                  <a:gd name="connsiteY0" fmla="*/ 14408 h 18408"/>
                  <a:gd name="connsiteX1" fmla="*/ 4015 w 18343"/>
                  <a:gd name="connsiteY1" fmla="*/ 16800 h 18408"/>
                  <a:gd name="connsiteX2" fmla="*/ 1563 w 18343"/>
                  <a:gd name="connsiteY2" fmla="*/ 4001 h 18408"/>
                  <a:gd name="connsiteX3" fmla="*/ 14302 w 18343"/>
                  <a:gd name="connsiteY3" fmla="*/ 1609 h 18408"/>
                  <a:gd name="connsiteX4" fmla="*/ 16754 w 18343"/>
                  <a:gd name="connsiteY4" fmla="*/ 14408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6754" y="14408"/>
                    </a:moveTo>
                    <a:cubicBezTo>
                      <a:pt x="13943" y="18594"/>
                      <a:pt x="8202" y="19670"/>
                      <a:pt x="4015" y="16800"/>
                    </a:cubicBezTo>
                    <a:cubicBezTo>
                      <a:pt x="-171" y="13929"/>
                      <a:pt x="-1248" y="8187"/>
                      <a:pt x="1563" y="4001"/>
                    </a:cubicBezTo>
                    <a:cubicBezTo>
                      <a:pt x="4374" y="-185"/>
                      <a:pt x="10116" y="-1262"/>
                      <a:pt x="14302" y="1609"/>
                    </a:cubicBezTo>
                    <a:cubicBezTo>
                      <a:pt x="18489" y="4479"/>
                      <a:pt x="19625" y="10221"/>
                      <a:pt x="16754" y="14408"/>
                    </a:cubicBezTo>
                    <a:close/>
                  </a:path>
                </a:pathLst>
              </a:custGeom>
              <a:grpFill/>
              <a:ln w="5978" cap="flat">
                <a:noFill/>
                <a:prstDash val="solid"/>
                <a:miter/>
              </a:ln>
            </p:spPr>
            <p:txBody>
              <a:bodyPr rtlCol="0" anchor="ctr"/>
              <a:lstStyle/>
              <a:p>
                <a:endParaRPr lang="en-GB"/>
              </a:p>
            </p:txBody>
          </p:sp>
          <p:sp>
            <p:nvSpPr>
              <p:cNvPr id="2153" name="Vrije vorm: vorm 2152">
                <a:extLst>
                  <a:ext uri="{FF2B5EF4-FFF2-40B4-BE49-F238E27FC236}">
                    <a16:creationId xmlns:a16="http://schemas.microsoft.com/office/drawing/2014/main" id="{4DD94DFD-39C7-465B-9A16-1FD8959B9A19}"/>
                  </a:ext>
                </a:extLst>
              </p:cNvPr>
              <p:cNvSpPr/>
              <p:nvPr/>
            </p:nvSpPr>
            <p:spPr>
              <a:xfrm>
                <a:off x="4989522" y="4969487"/>
                <a:ext cx="18343" cy="18450"/>
              </a:xfrm>
              <a:custGeom>
                <a:avLst/>
                <a:gdLst>
                  <a:gd name="connsiteX0" fmla="*/ 16781 w 18343"/>
                  <a:gd name="connsiteY0" fmla="*/ 14407 h 18450"/>
                  <a:gd name="connsiteX1" fmla="*/ 14329 w 18343"/>
                  <a:gd name="connsiteY1" fmla="*/ 1609 h 18450"/>
                  <a:gd name="connsiteX2" fmla="*/ 1590 w 18343"/>
                  <a:gd name="connsiteY2" fmla="*/ 4001 h 18450"/>
                  <a:gd name="connsiteX3" fmla="*/ 4042 w 18343"/>
                  <a:gd name="connsiteY3" fmla="*/ 16800 h 18450"/>
                  <a:gd name="connsiteX4" fmla="*/ 16781 w 18343"/>
                  <a:gd name="connsiteY4" fmla="*/ 14407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0">
                    <a:moveTo>
                      <a:pt x="16781" y="14407"/>
                    </a:moveTo>
                    <a:cubicBezTo>
                      <a:pt x="19592" y="10221"/>
                      <a:pt x="18515" y="4480"/>
                      <a:pt x="14329" y="1609"/>
                    </a:cubicBezTo>
                    <a:cubicBezTo>
                      <a:pt x="10142" y="-1262"/>
                      <a:pt x="4460" y="-186"/>
                      <a:pt x="1590" y="4001"/>
                    </a:cubicBezTo>
                    <a:cubicBezTo>
                      <a:pt x="-1281" y="8188"/>
                      <a:pt x="-145" y="13929"/>
                      <a:pt x="4042" y="16800"/>
                    </a:cubicBezTo>
                    <a:cubicBezTo>
                      <a:pt x="8228" y="19730"/>
                      <a:pt x="13910" y="18654"/>
                      <a:pt x="16781" y="14407"/>
                    </a:cubicBezTo>
                    <a:close/>
                  </a:path>
                </a:pathLst>
              </a:custGeom>
              <a:grpFill/>
              <a:ln w="5978" cap="flat">
                <a:noFill/>
                <a:prstDash val="solid"/>
                <a:miter/>
              </a:ln>
            </p:spPr>
            <p:txBody>
              <a:bodyPr rtlCol="0" anchor="ctr"/>
              <a:lstStyle/>
              <a:p>
                <a:endParaRPr lang="en-GB"/>
              </a:p>
            </p:txBody>
          </p:sp>
        </p:grpSp>
        <p:grpSp>
          <p:nvGrpSpPr>
            <p:cNvPr id="1084" name="Graphic 3">
              <a:extLst>
                <a:ext uri="{FF2B5EF4-FFF2-40B4-BE49-F238E27FC236}">
                  <a16:creationId xmlns:a16="http://schemas.microsoft.com/office/drawing/2014/main" id="{9BA0F39B-B682-4891-89E1-8D67AC295556}"/>
                </a:ext>
              </a:extLst>
            </p:cNvPr>
            <p:cNvGrpSpPr/>
            <p:nvPr/>
          </p:nvGrpSpPr>
          <p:grpSpPr>
            <a:xfrm>
              <a:off x="4256387" y="3208345"/>
              <a:ext cx="135389" cy="31445"/>
              <a:chOff x="4256387" y="3208345"/>
              <a:chExt cx="135389" cy="31445"/>
            </a:xfrm>
            <a:grpFill/>
          </p:grpSpPr>
          <p:sp>
            <p:nvSpPr>
              <p:cNvPr id="2148" name="Vrije vorm: vorm 2147">
                <a:extLst>
                  <a:ext uri="{FF2B5EF4-FFF2-40B4-BE49-F238E27FC236}">
                    <a16:creationId xmlns:a16="http://schemas.microsoft.com/office/drawing/2014/main" id="{FCB0CE6F-FE4A-4424-805C-CE5E5EF8BA00}"/>
                  </a:ext>
                </a:extLst>
              </p:cNvPr>
              <p:cNvSpPr/>
              <p:nvPr/>
            </p:nvSpPr>
            <p:spPr>
              <a:xfrm>
                <a:off x="4264932" y="3215934"/>
                <a:ext cx="118298" cy="16207"/>
              </a:xfrm>
              <a:custGeom>
                <a:avLst/>
                <a:gdLst>
                  <a:gd name="connsiteX0" fmla="*/ 118299 w 118298"/>
                  <a:gd name="connsiteY0" fmla="*/ 13157 h 16207"/>
                  <a:gd name="connsiteX1" fmla="*/ 117940 w 118298"/>
                  <a:gd name="connsiteY1" fmla="*/ 16208 h 16207"/>
                  <a:gd name="connsiteX2" fmla="*/ 0 w 118298"/>
                  <a:gd name="connsiteY2" fmla="*/ 3050 h 16207"/>
                  <a:gd name="connsiteX3" fmla="*/ 299 w 118298"/>
                  <a:gd name="connsiteY3" fmla="*/ 0 h 16207"/>
                </a:gdLst>
                <a:ahLst/>
                <a:cxnLst>
                  <a:cxn ang="0">
                    <a:pos x="connsiteX0" y="connsiteY0"/>
                  </a:cxn>
                  <a:cxn ang="0">
                    <a:pos x="connsiteX1" y="connsiteY1"/>
                  </a:cxn>
                  <a:cxn ang="0">
                    <a:pos x="connsiteX2" y="connsiteY2"/>
                  </a:cxn>
                  <a:cxn ang="0">
                    <a:pos x="connsiteX3" y="connsiteY3"/>
                  </a:cxn>
                </a:cxnLst>
                <a:rect l="l" t="t" r="r" b="b"/>
                <a:pathLst>
                  <a:path w="118298" h="16207">
                    <a:moveTo>
                      <a:pt x="118299" y="13157"/>
                    </a:moveTo>
                    <a:lnTo>
                      <a:pt x="117940" y="16208"/>
                    </a:lnTo>
                    <a:lnTo>
                      <a:pt x="0" y="3050"/>
                    </a:lnTo>
                    <a:lnTo>
                      <a:pt x="299" y="0"/>
                    </a:lnTo>
                    <a:close/>
                  </a:path>
                </a:pathLst>
              </a:custGeom>
              <a:grpFill/>
              <a:ln w="5978" cap="flat">
                <a:noFill/>
                <a:prstDash val="solid"/>
                <a:miter/>
              </a:ln>
            </p:spPr>
            <p:txBody>
              <a:bodyPr rtlCol="0" anchor="ctr"/>
              <a:lstStyle/>
              <a:p>
                <a:endParaRPr lang="en-GB"/>
              </a:p>
            </p:txBody>
          </p:sp>
          <p:sp>
            <p:nvSpPr>
              <p:cNvPr id="2149" name="Vrije vorm: vorm 2148">
                <a:extLst>
                  <a:ext uri="{FF2B5EF4-FFF2-40B4-BE49-F238E27FC236}">
                    <a16:creationId xmlns:a16="http://schemas.microsoft.com/office/drawing/2014/main" id="{324480E8-36CE-48E3-BA57-23263071CD9B}"/>
                  </a:ext>
                </a:extLst>
              </p:cNvPr>
              <p:cNvSpPr/>
              <p:nvPr/>
            </p:nvSpPr>
            <p:spPr>
              <a:xfrm>
                <a:off x="4256387" y="3208345"/>
                <a:ext cx="18346" cy="18407"/>
              </a:xfrm>
              <a:custGeom>
                <a:avLst/>
                <a:gdLst>
                  <a:gd name="connsiteX0" fmla="*/ 8186 w 18346"/>
                  <a:gd name="connsiteY0" fmla="*/ 18354 h 18407"/>
                  <a:gd name="connsiteX1" fmla="*/ 53 w 18346"/>
                  <a:gd name="connsiteY1" fmla="*/ 8187 h 18407"/>
                  <a:gd name="connsiteX2" fmla="*/ 10160 w 18346"/>
                  <a:gd name="connsiteY2" fmla="*/ 53 h 18407"/>
                  <a:gd name="connsiteX3" fmla="*/ 18294 w 18346"/>
                  <a:gd name="connsiteY3" fmla="*/ 10221 h 18407"/>
                  <a:gd name="connsiteX4" fmla="*/ 8186 w 18346"/>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7">
                    <a:moveTo>
                      <a:pt x="8186" y="18354"/>
                    </a:moveTo>
                    <a:cubicBezTo>
                      <a:pt x="3163" y="17816"/>
                      <a:pt x="-485" y="13211"/>
                      <a:pt x="53" y="8187"/>
                    </a:cubicBezTo>
                    <a:cubicBezTo>
                      <a:pt x="591" y="3104"/>
                      <a:pt x="5136" y="-485"/>
                      <a:pt x="10160" y="53"/>
                    </a:cubicBezTo>
                    <a:cubicBezTo>
                      <a:pt x="15184" y="592"/>
                      <a:pt x="18832" y="5197"/>
                      <a:pt x="18294" y="10221"/>
                    </a:cubicBezTo>
                    <a:cubicBezTo>
                      <a:pt x="17756" y="15244"/>
                      <a:pt x="13210" y="18893"/>
                      <a:pt x="8186" y="18354"/>
                    </a:cubicBezTo>
                    <a:close/>
                  </a:path>
                </a:pathLst>
              </a:custGeom>
              <a:grpFill/>
              <a:ln w="5978" cap="flat">
                <a:noFill/>
                <a:prstDash val="solid"/>
                <a:miter/>
              </a:ln>
            </p:spPr>
            <p:txBody>
              <a:bodyPr rtlCol="0" anchor="ctr"/>
              <a:lstStyle/>
              <a:p>
                <a:endParaRPr lang="en-GB"/>
              </a:p>
            </p:txBody>
          </p:sp>
          <p:sp>
            <p:nvSpPr>
              <p:cNvPr id="2150" name="Vrije vorm: vorm 2149">
                <a:extLst>
                  <a:ext uri="{FF2B5EF4-FFF2-40B4-BE49-F238E27FC236}">
                    <a16:creationId xmlns:a16="http://schemas.microsoft.com/office/drawing/2014/main" id="{99A32180-DB86-4F8C-826C-3DE6933EA674}"/>
                  </a:ext>
                </a:extLst>
              </p:cNvPr>
              <p:cNvSpPr/>
              <p:nvPr/>
            </p:nvSpPr>
            <p:spPr>
              <a:xfrm>
                <a:off x="4373429" y="3221383"/>
                <a:ext cx="18346" cy="18406"/>
              </a:xfrm>
              <a:custGeom>
                <a:avLst/>
                <a:gdLst>
                  <a:gd name="connsiteX0" fmla="*/ 8186 w 18346"/>
                  <a:gd name="connsiteY0" fmla="*/ 18354 h 18406"/>
                  <a:gd name="connsiteX1" fmla="*/ 18294 w 18346"/>
                  <a:gd name="connsiteY1" fmla="*/ 10220 h 18406"/>
                  <a:gd name="connsiteX2" fmla="*/ 10160 w 18346"/>
                  <a:gd name="connsiteY2" fmla="*/ 53 h 18406"/>
                  <a:gd name="connsiteX3" fmla="*/ 53 w 18346"/>
                  <a:gd name="connsiteY3" fmla="*/ 8187 h 18406"/>
                  <a:gd name="connsiteX4" fmla="*/ 8186 w 18346"/>
                  <a:gd name="connsiteY4" fmla="*/ 18354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6">
                    <a:moveTo>
                      <a:pt x="8186" y="18354"/>
                    </a:moveTo>
                    <a:cubicBezTo>
                      <a:pt x="13210" y="18892"/>
                      <a:pt x="17756" y="15244"/>
                      <a:pt x="18294" y="10220"/>
                    </a:cubicBezTo>
                    <a:cubicBezTo>
                      <a:pt x="18832" y="5136"/>
                      <a:pt x="15184" y="591"/>
                      <a:pt x="10160" y="53"/>
                    </a:cubicBezTo>
                    <a:cubicBezTo>
                      <a:pt x="5136" y="-486"/>
                      <a:pt x="591" y="3163"/>
                      <a:pt x="53" y="8187"/>
                    </a:cubicBezTo>
                    <a:cubicBezTo>
                      <a:pt x="-486" y="13210"/>
                      <a:pt x="3163" y="17756"/>
                      <a:pt x="8186" y="18354"/>
                    </a:cubicBezTo>
                    <a:close/>
                  </a:path>
                </a:pathLst>
              </a:custGeom>
              <a:grpFill/>
              <a:ln w="5978" cap="flat">
                <a:noFill/>
                <a:prstDash val="solid"/>
                <a:miter/>
              </a:ln>
            </p:spPr>
            <p:txBody>
              <a:bodyPr rtlCol="0" anchor="ctr"/>
              <a:lstStyle/>
              <a:p>
                <a:endParaRPr lang="en-GB"/>
              </a:p>
            </p:txBody>
          </p:sp>
        </p:grpSp>
        <p:grpSp>
          <p:nvGrpSpPr>
            <p:cNvPr id="1085" name="Graphic 3">
              <a:extLst>
                <a:ext uri="{FF2B5EF4-FFF2-40B4-BE49-F238E27FC236}">
                  <a16:creationId xmlns:a16="http://schemas.microsoft.com/office/drawing/2014/main" id="{4E6E5D56-EB95-4EBC-B20C-D9DE06B6156D}"/>
                </a:ext>
              </a:extLst>
            </p:cNvPr>
            <p:cNvGrpSpPr/>
            <p:nvPr/>
          </p:nvGrpSpPr>
          <p:grpSpPr>
            <a:xfrm>
              <a:off x="4229281" y="3170761"/>
              <a:ext cx="166826" cy="37834"/>
              <a:chOff x="4229281" y="3170761"/>
              <a:chExt cx="166826" cy="37834"/>
            </a:xfrm>
            <a:grpFill/>
          </p:grpSpPr>
          <p:sp>
            <p:nvSpPr>
              <p:cNvPr id="2145" name="Vrije vorm: vorm 2144">
                <a:extLst>
                  <a:ext uri="{FF2B5EF4-FFF2-40B4-BE49-F238E27FC236}">
                    <a16:creationId xmlns:a16="http://schemas.microsoft.com/office/drawing/2014/main" id="{B705F219-5CFE-49B0-BE17-AE475FBD52BA}"/>
                  </a:ext>
                </a:extLst>
              </p:cNvPr>
              <p:cNvSpPr/>
              <p:nvPr/>
            </p:nvSpPr>
            <p:spPr>
              <a:xfrm>
                <a:off x="4237779" y="3178375"/>
                <a:ext cx="149817" cy="22547"/>
              </a:xfrm>
              <a:custGeom>
                <a:avLst/>
                <a:gdLst>
                  <a:gd name="connsiteX0" fmla="*/ 149817 w 149817"/>
                  <a:gd name="connsiteY0" fmla="*/ 19557 h 22547"/>
                  <a:gd name="connsiteX1" fmla="*/ 149458 w 149817"/>
                  <a:gd name="connsiteY1" fmla="*/ 22547 h 22547"/>
                  <a:gd name="connsiteX2" fmla="*/ 0 w 149817"/>
                  <a:gd name="connsiteY2" fmla="*/ 3050 h 22547"/>
                  <a:gd name="connsiteX3" fmla="*/ 359 w 149817"/>
                  <a:gd name="connsiteY3" fmla="*/ 0 h 22547"/>
                </a:gdLst>
                <a:ahLst/>
                <a:cxnLst>
                  <a:cxn ang="0">
                    <a:pos x="connsiteX0" y="connsiteY0"/>
                  </a:cxn>
                  <a:cxn ang="0">
                    <a:pos x="connsiteX1" y="connsiteY1"/>
                  </a:cxn>
                  <a:cxn ang="0">
                    <a:pos x="connsiteX2" y="connsiteY2"/>
                  </a:cxn>
                  <a:cxn ang="0">
                    <a:pos x="connsiteX3" y="connsiteY3"/>
                  </a:cxn>
                </a:cxnLst>
                <a:rect l="l" t="t" r="r" b="b"/>
                <a:pathLst>
                  <a:path w="149817" h="22547">
                    <a:moveTo>
                      <a:pt x="149817" y="19557"/>
                    </a:moveTo>
                    <a:lnTo>
                      <a:pt x="149458" y="22547"/>
                    </a:lnTo>
                    <a:lnTo>
                      <a:pt x="0" y="3050"/>
                    </a:lnTo>
                    <a:lnTo>
                      <a:pt x="359" y="0"/>
                    </a:lnTo>
                    <a:close/>
                  </a:path>
                </a:pathLst>
              </a:custGeom>
              <a:grpFill/>
              <a:ln w="5978" cap="flat">
                <a:noFill/>
                <a:prstDash val="solid"/>
                <a:miter/>
              </a:ln>
            </p:spPr>
            <p:txBody>
              <a:bodyPr rtlCol="0" anchor="ctr"/>
              <a:lstStyle/>
              <a:p>
                <a:endParaRPr lang="en-GB"/>
              </a:p>
            </p:txBody>
          </p:sp>
          <p:sp>
            <p:nvSpPr>
              <p:cNvPr id="2146" name="Vrije vorm: vorm 2145">
                <a:extLst>
                  <a:ext uri="{FF2B5EF4-FFF2-40B4-BE49-F238E27FC236}">
                    <a16:creationId xmlns:a16="http://schemas.microsoft.com/office/drawing/2014/main" id="{0CDB7F18-8CE6-4C34-BEAD-12D924BDB1D3}"/>
                  </a:ext>
                </a:extLst>
              </p:cNvPr>
              <p:cNvSpPr/>
              <p:nvPr/>
            </p:nvSpPr>
            <p:spPr>
              <a:xfrm>
                <a:off x="4229281" y="3170761"/>
                <a:ext cx="18313" cy="18456"/>
              </a:xfrm>
              <a:custGeom>
                <a:avLst/>
                <a:gdLst>
                  <a:gd name="connsiteX0" fmla="*/ 8020 w 18313"/>
                  <a:gd name="connsiteY0" fmla="*/ 18379 h 18456"/>
                  <a:gd name="connsiteX1" fmla="*/ 66 w 18313"/>
                  <a:gd name="connsiteY1" fmla="*/ 8032 h 18456"/>
                  <a:gd name="connsiteX2" fmla="*/ 10293 w 18313"/>
                  <a:gd name="connsiteY2" fmla="*/ 78 h 18456"/>
                  <a:gd name="connsiteX3" fmla="*/ 18247 w 18313"/>
                  <a:gd name="connsiteY3" fmla="*/ 10425 h 18456"/>
                  <a:gd name="connsiteX4" fmla="*/ 8020 w 18313"/>
                  <a:gd name="connsiteY4" fmla="*/ 1837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56">
                    <a:moveTo>
                      <a:pt x="8020" y="18379"/>
                    </a:moveTo>
                    <a:cubicBezTo>
                      <a:pt x="2997" y="17721"/>
                      <a:pt x="-532" y="13116"/>
                      <a:pt x="66" y="8032"/>
                    </a:cubicBezTo>
                    <a:cubicBezTo>
                      <a:pt x="724" y="3008"/>
                      <a:pt x="5269" y="-580"/>
                      <a:pt x="10293" y="78"/>
                    </a:cubicBezTo>
                    <a:cubicBezTo>
                      <a:pt x="15317" y="736"/>
                      <a:pt x="18845" y="5341"/>
                      <a:pt x="18247" y="10425"/>
                    </a:cubicBezTo>
                    <a:cubicBezTo>
                      <a:pt x="17590" y="15448"/>
                      <a:pt x="13044" y="19037"/>
                      <a:pt x="8020" y="18379"/>
                    </a:cubicBezTo>
                    <a:close/>
                  </a:path>
                </a:pathLst>
              </a:custGeom>
              <a:grpFill/>
              <a:ln w="5978" cap="flat">
                <a:noFill/>
                <a:prstDash val="solid"/>
                <a:miter/>
              </a:ln>
            </p:spPr>
            <p:txBody>
              <a:bodyPr rtlCol="0" anchor="ctr"/>
              <a:lstStyle/>
              <a:p>
                <a:endParaRPr lang="en-GB"/>
              </a:p>
            </p:txBody>
          </p:sp>
          <p:sp>
            <p:nvSpPr>
              <p:cNvPr id="2147" name="Vrije vorm: vorm 2146">
                <a:extLst>
                  <a:ext uri="{FF2B5EF4-FFF2-40B4-BE49-F238E27FC236}">
                    <a16:creationId xmlns:a16="http://schemas.microsoft.com/office/drawing/2014/main" id="{226EEB64-D980-4102-8FF8-235236841A18}"/>
                  </a:ext>
                </a:extLst>
              </p:cNvPr>
              <p:cNvSpPr/>
              <p:nvPr/>
            </p:nvSpPr>
            <p:spPr>
              <a:xfrm>
                <a:off x="4377782" y="3190139"/>
                <a:ext cx="18325" cy="18456"/>
              </a:xfrm>
              <a:custGeom>
                <a:avLst/>
                <a:gdLst>
                  <a:gd name="connsiteX0" fmla="*/ 8020 w 18325"/>
                  <a:gd name="connsiteY0" fmla="*/ 18379 h 18456"/>
                  <a:gd name="connsiteX1" fmla="*/ 18248 w 18325"/>
                  <a:gd name="connsiteY1" fmla="*/ 10424 h 18456"/>
                  <a:gd name="connsiteX2" fmla="*/ 10293 w 18325"/>
                  <a:gd name="connsiteY2" fmla="*/ 78 h 18456"/>
                  <a:gd name="connsiteX3" fmla="*/ 66 w 18325"/>
                  <a:gd name="connsiteY3" fmla="*/ 8032 h 18456"/>
                  <a:gd name="connsiteX4" fmla="*/ 8020 w 18325"/>
                  <a:gd name="connsiteY4" fmla="*/ 1837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6">
                    <a:moveTo>
                      <a:pt x="8020" y="18379"/>
                    </a:moveTo>
                    <a:cubicBezTo>
                      <a:pt x="13044" y="19037"/>
                      <a:pt x="17649" y="15448"/>
                      <a:pt x="18248" y="10424"/>
                    </a:cubicBezTo>
                    <a:cubicBezTo>
                      <a:pt x="18905" y="5401"/>
                      <a:pt x="15317" y="736"/>
                      <a:pt x="10293" y="78"/>
                    </a:cubicBezTo>
                    <a:cubicBezTo>
                      <a:pt x="5269" y="-580"/>
                      <a:pt x="664" y="3008"/>
                      <a:pt x="66" y="8032"/>
                    </a:cubicBezTo>
                    <a:cubicBezTo>
                      <a:pt x="-532" y="13056"/>
                      <a:pt x="2997" y="17721"/>
                      <a:pt x="8020" y="18379"/>
                    </a:cubicBezTo>
                    <a:close/>
                  </a:path>
                </a:pathLst>
              </a:custGeom>
              <a:grpFill/>
              <a:ln w="5978" cap="flat">
                <a:noFill/>
                <a:prstDash val="solid"/>
                <a:miter/>
              </a:ln>
            </p:spPr>
            <p:txBody>
              <a:bodyPr rtlCol="0" anchor="ctr"/>
              <a:lstStyle/>
              <a:p>
                <a:endParaRPr lang="en-GB"/>
              </a:p>
            </p:txBody>
          </p:sp>
        </p:grpSp>
        <p:grpSp>
          <p:nvGrpSpPr>
            <p:cNvPr id="1086" name="Graphic 3">
              <a:extLst>
                <a:ext uri="{FF2B5EF4-FFF2-40B4-BE49-F238E27FC236}">
                  <a16:creationId xmlns:a16="http://schemas.microsoft.com/office/drawing/2014/main" id="{0A924995-B70C-4D99-B620-FFAA57C84EA3}"/>
                </a:ext>
              </a:extLst>
            </p:cNvPr>
            <p:cNvGrpSpPr/>
            <p:nvPr/>
          </p:nvGrpSpPr>
          <p:grpSpPr>
            <a:xfrm>
              <a:off x="4090374" y="2926037"/>
              <a:ext cx="298339" cy="118560"/>
              <a:chOff x="4090374" y="2926037"/>
              <a:chExt cx="298339" cy="118560"/>
            </a:xfrm>
            <a:grpFill/>
          </p:grpSpPr>
          <p:sp>
            <p:nvSpPr>
              <p:cNvPr id="2142" name="Vrije vorm: vorm 2141">
                <a:extLst>
                  <a:ext uri="{FF2B5EF4-FFF2-40B4-BE49-F238E27FC236}">
                    <a16:creationId xmlns:a16="http://schemas.microsoft.com/office/drawing/2014/main" id="{D48BB430-338E-4ABC-870D-CA2755D09635}"/>
                  </a:ext>
                </a:extLst>
              </p:cNvPr>
              <p:cNvSpPr/>
              <p:nvPr/>
            </p:nvSpPr>
            <p:spPr>
              <a:xfrm>
                <a:off x="4098548" y="2933644"/>
                <a:ext cx="281930" cy="103346"/>
              </a:xfrm>
              <a:custGeom>
                <a:avLst/>
                <a:gdLst>
                  <a:gd name="connsiteX0" fmla="*/ 281931 w 281930"/>
                  <a:gd name="connsiteY0" fmla="*/ 100476 h 103346"/>
                  <a:gd name="connsiteX1" fmla="*/ 280914 w 281930"/>
                  <a:gd name="connsiteY1" fmla="*/ 103347 h 103346"/>
                  <a:gd name="connsiteX2" fmla="*/ 0 w 281930"/>
                  <a:gd name="connsiteY2" fmla="*/ 2871 h 103346"/>
                  <a:gd name="connsiteX3" fmla="*/ 1017 w 281930"/>
                  <a:gd name="connsiteY3" fmla="*/ 0 h 103346"/>
                </a:gdLst>
                <a:ahLst/>
                <a:cxnLst>
                  <a:cxn ang="0">
                    <a:pos x="connsiteX0" y="connsiteY0"/>
                  </a:cxn>
                  <a:cxn ang="0">
                    <a:pos x="connsiteX1" y="connsiteY1"/>
                  </a:cxn>
                  <a:cxn ang="0">
                    <a:pos x="connsiteX2" y="connsiteY2"/>
                  </a:cxn>
                  <a:cxn ang="0">
                    <a:pos x="connsiteX3" y="connsiteY3"/>
                  </a:cxn>
                </a:cxnLst>
                <a:rect l="l" t="t" r="r" b="b"/>
                <a:pathLst>
                  <a:path w="281930" h="103346">
                    <a:moveTo>
                      <a:pt x="281931" y="100476"/>
                    </a:moveTo>
                    <a:lnTo>
                      <a:pt x="280914" y="103347"/>
                    </a:lnTo>
                    <a:lnTo>
                      <a:pt x="0" y="2871"/>
                    </a:lnTo>
                    <a:lnTo>
                      <a:pt x="1017" y="0"/>
                    </a:lnTo>
                    <a:close/>
                  </a:path>
                </a:pathLst>
              </a:custGeom>
              <a:grpFill/>
              <a:ln w="5978" cap="flat">
                <a:noFill/>
                <a:prstDash val="solid"/>
                <a:miter/>
              </a:ln>
            </p:spPr>
            <p:txBody>
              <a:bodyPr rtlCol="0" anchor="ctr"/>
              <a:lstStyle/>
              <a:p>
                <a:endParaRPr lang="en-GB"/>
              </a:p>
            </p:txBody>
          </p:sp>
          <p:sp>
            <p:nvSpPr>
              <p:cNvPr id="2143" name="Vrije vorm: vorm 2142">
                <a:extLst>
                  <a:ext uri="{FF2B5EF4-FFF2-40B4-BE49-F238E27FC236}">
                    <a16:creationId xmlns:a16="http://schemas.microsoft.com/office/drawing/2014/main" id="{47249322-9D4A-4982-A1D2-1FD36C1FD271}"/>
                  </a:ext>
                </a:extLst>
              </p:cNvPr>
              <p:cNvSpPr/>
              <p:nvPr/>
            </p:nvSpPr>
            <p:spPr>
              <a:xfrm>
                <a:off x="4370392" y="3026178"/>
                <a:ext cx="18322" cy="18419"/>
              </a:xfrm>
              <a:custGeom>
                <a:avLst/>
                <a:gdLst>
                  <a:gd name="connsiteX0" fmla="*/ 12181 w 18322"/>
                  <a:gd name="connsiteY0" fmla="*/ 526 h 18419"/>
                  <a:gd name="connsiteX1" fmla="*/ 17803 w 18322"/>
                  <a:gd name="connsiteY1" fmla="*/ 12308 h 18419"/>
                  <a:gd name="connsiteX2" fmla="*/ 6141 w 18322"/>
                  <a:gd name="connsiteY2" fmla="*/ 17870 h 18419"/>
                  <a:gd name="connsiteX3" fmla="*/ 519 w 18322"/>
                  <a:gd name="connsiteY3" fmla="*/ 6088 h 18419"/>
                  <a:gd name="connsiteX4" fmla="*/ 12181 w 18322"/>
                  <a:gd name="connsiteY4" fmla="*/ 52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19">
                    <a:moveTo>
                      <a:pt x="12181" y="526"/>
                    </a:moveTo>
                    <a:cubicBezTo>
                      <a:pt x="16966" y="2260"/>
                      <a:pt x="19478" y="7523"/>
                      <a:pt x="17803" y="12308"/>
                    </a:cubicBezTo>
                    <a:cubicBezTo>
                      <a:pt x="16129" y="17092"/>
                      <a:pt x="10865" y="19604"/>
                      <a:pt x="6141" y="17870"/>
                    </a:cubicBezTo>
                    <a:cubicBezTo>
                      <a:pt x="1356" y="16136"/>
                      <a:pt x="-1156" y="10872"/>
                      <a:pt x="519" y="6088"/>
                    </a:cubicBezTo>
                    <a:cubicBezTo>
                      <a:pt x="2193" y="1303"/>
                      <a:pt x="7397" y="-1149"/>
                      <a:pt x="12181" y="526"/>
                    </a:cubicBezTo>
                    <a:close/>
                  </a:path>
                </a:pathLst>
              </a:custGeom>
              <a:grpFill/>
              <a:ln w="5978" cap="flat">
                <a:noFill/>
                <a:prstDash val="solid"/>
                <a:miter/>
              </a:ln>
            </p:spPr>
            <p:txBody>
              <a:bodyPr rtlCol="0" anchor="ctr"/>
              <a:lstStyle/>
              <a:p>
                <a:endParaRPr lang="en-GB"/>
              </a:p>
            </p:txBody>
          </p:sp>
          <p:sp>
            <p:nvSpPr>
              <p:cNvPr id="2144" name="Vrije vorm: vorm 2143">
                <a:extLst>
                  <a:ext uri="{FF2B5EF4-FFF2-40B4-BE49-F238E27FC236}">
                    <a16:creationId xmlns:a16="http://schemas.microsoft.com/office/drawing/2014/main" id="{FF39A5DA-55AC-4DA9-AAF9-0D657D742D41}"/>
                  </a:ext>
                </a:extLst>
              </p:cNvPr>
              <p:cNvSpPr/>
              <p:nvPr/>
            </p:nvSpPr>
            <p:spPr>
              <a:xfrm>
                <a:off x="4090374" y="2926037"/>
                <a:ext cx="18292" cy="18442"/>
              </a:xfrm>
              <a:custGeom>
                <a:avLst/>
                <a:gdLst>
                  <a:gd name="connsiteX0" fmla="*/ 12181 w 18292"/>
                  <a:gd name="connsiteY0" fmla="*/ 549 h 18442"/>
                  <a:gd name="connsiteX1" fmla="*/ 519 w 18292"/>
                  <a:gd name="connsiteY1" fmla="*/ 6111 h 18442"/>
                  <a:gd name="connsiteX2" fmla="*/ 6141 w 18292"/>
                  <a:gd name="connsiteY2" fmla="*/ 17894 h 18442"/>
                  <a:gd name="connsiteX3" fmla="*/ 17803 w 18292"/>
                  <a:gd name="connsiteY3" fmla="*/ 12331 h 18442"/>
                  <a:gd name="connsiteX4" fmla="*/ 12181 w 18292"/>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442">
                    <a:moveTo>
                      <a:pt x="12181" y="549"/>
                    </a:moveTo>
                    <a:cubicBezTo>
                      <a:pt x="7397" y="-1185"/>
                      <a:pt x="2194" y="1327"/>
                      <a:pt x="519" y="6111"/>
                    </a:cubicBezTo>
                    <a:cubicBezTo>
                      <a:pt x="-1156" y="10896"/>
                      <a:pt x="1356" y="16159"/>
                      <a:pt x="6141" y="17894"/>
                    </a:cubicBezTo>
                    <a:cubicBezTo>
                      <a:pt x="10925" y="19628"/>
                      <a:pt x="16128" y="17116"/>
                      <a:pt x="17803" y="12331"/>
                    </a:cubicBezTo>
                    <a:cubicBezTo>
                      <a:pt x="19418" y="7547"/>
                      <a:pt x="16906" y="2224"/>
                      <a:pt x="12181" y="549"/>
                    </a:cubicBezTo>
                    <a:close/>
                  </a:path>
                </a:pathLst>
              </a:custGeom>
              <a:grpFill/>
              <a:ln w="5978" cap="flat">
                <a:noFill/>
                <a:prstDash val="solid"/>
                <a:miter/>
              </a:ln>
            </p:spPr>
            <p:txBody>
              <a:bodyPr rtlCol="0" anchor="ctr"/>
              <a:lstStyle/>
              <a:p>
                <a:endParaRPr lang="en-GB"/>
              </a:p>
            </p:txBody>
          </p:sp>
        </p:grpSp>
        <p:grpSp>
          <p:nvGrpSpPr>
            <p:cNvPr id="1087" name="Graphic 3">
              <a:extLst>
                <a:ext uri="{FF2B5EF4-FFF2-40B4-BE49-F238E27FC236}">
                  <a16:creationId xmlns:a16="http://schemas.microsoft.com/office/drawing/2014/main" id="{7404DECD-456F-4FC0-80B5-33F1985623B2}"/>
                </a:ext>
              </a:extLst>
            </p:cNvPr>
            <p:cNvGrpSpPr/>
            <p:nvPr/>
          </p:nvGrpSpPr>
          <p:grpSpPr>
            <a:xfrm>
              <a:off x="4261362" y="3242626"/>
              <a:ext cx="129436" cy="28730"/>
              <a:chOff x="4261362" y="3242626"/>
              <a:chExt cx="129436" cy="28730"/>
            </a:xfrm>
            <a:grpFill/>
          </p:grpSpPr>
          <p:sp>
            <p:nvSpPr>
              <p:cNvPr id="2139" name="Vrije vorm: vorm 2138">
                <a:extLst>
                  <a:ext uri="{FF2B5EF4-FFF2-40B4-BE49-F238E27FC236}">
                    <a16:creationId xmlns:a16="http://schemas.microsoft.com/office/drawing/2014/main" id="{9AE70204-ACEA-4F12-82DE-8F91FC673EE5}"/>
                  </a:ext>
                </a:extLst>
              </p:cNvPr>
              <p:cNvSpPr/>
              <p:nvPr/>
            </p:nvSpPr>
            <p:spPr>
              <a:xfrm>
                <a:off x="4269896" y="3250263"/>
                <a:ext cx="112378" cy="13456"/>
              </a:xfrm>
              <a:custGeom>
                <a:avLst/>
                <a:gdLst>
                  <a:gd name="connsiteX0" fmla="*/ 112378 w 112378"/>
                  <a:gd name="connsiteY0" fmla="*/ 10406 h 13456"/>
                  <a:gd name="connsiteX1" fmla="*/ 112079 w 112378"/>
                  <a:gd name="connsiteY1" fmla="*/ 13457 h 13456"/>
                  <a:gd name="connsiteX2" fmla="*/ 0 w 112378"/>
                  <a:gd name="connsiteY2" fmla="*/ 3050 h 13456"/>
                  <a:gd name="connsiteX3" fmla="*/ 299 w 112378"/>
                  <a:gd name="connsiteY3" fmla="*/ 0 h 13456"/>
                </a:gdLst>
                <a:ahLst/>
                <a:cxnLst>
                  <a:cxn ang="0">
                    <a:pos x="connsiteX0" y="connsiteY0"/>
                  </a:cxn>
                  <a:cxn ang="0">
                    <a:pos x="connsiteX1" y="connsiteY1"/>
                  </a:cxn>
                  <a:cxn ang="0">
                    <a:pos x="connsiteX2" y="connsiteY2"/>
                  </a:cxn>
                  <a:cxn ang="0">
                    <a:pos x="connsiteX3" y="connsiteY3"/>
                  </a:cxn>
                </a:cxnLst>
                <a:rect l="l" t="t" r="r" b="b"/>
                <a:pathLst>
                  <a:path w="112378" h="13456">
                    <a:moveTo>
                      <a:pt x="112378" y="10406"/>
                    </a:moveTo>
                    <a:lnTo>
                      <a:pt x="112079" y="13457"/>
                    </a:lnTo>
                    <a:lnTo>
                      <a:pt x="0" y="3050"/>
                    </a:lnTo>
                    <a:lnTo>
                      <a:pt x="299" y="0"/>
                    </a:lnTo>
                    <a:close/>
                  </a:path>
                </a:pathLst>
              </a:custGeom>
              <a:grpFill/>
              <a:ln w="5978" cap="flat">
                <a:noFill/>
                <a:prstDash val="solid"/>
                <a:miter/>
              </a:ln>
            </p:spPr>
            <p:txBody>
              <a:bodyPr rtlCol="0" anchor="ctr"/>
              <a:lstStyle/>
              <a:p>
                <a:endParaRPr lang="en-GB"/>
              </a:p>
            </p:txBody>
          </p:sp>
          <p:sp>
            <p:nvSpPr>
              <p:cNvPr id="2140" name="Vrije vorm: vorm 2139">
                <a:extLst>
                  <a:ext uri="{FF2B5EF4-FFF2-40B4-BE49-F238E27FC236}">
                    <a16:creationId xmlns:a16="http://schemas.microsoft.com/office/drawing/2014/main" id="{4E4327DE-B4E0-49B4-8555-08DB402B7E83}"/>
                  </a:ext>
                </a:extLst>
              </p:cNvPr>
              <p:cNvSpPr/>
              <p:nvPr/>
            </p:nvSpPr>
            <p:spPr>
              <a:xfrm>
                <a:off x="4261362" y="3242626"/>
                <a:ext cx="18323" cy="18434"/>
              </a:xfrm>
              <a:custGeom>
                <a:avLst/>
                <a:gdLst>
                  <a:gd name="connsiteX0" fmla="*/ 8354 w 18323"/>
                  <a:gd name="connsiteY0" fmla="*/ 18402 h 18434"/>
                  <a:gd name="connsiteX1" fmla="*/ 41 w 18323"/>
                  <a:gd name="connsiteY1" fmla="*/ 8355 h 18434"/>
                  <a:gd name="connsiteX2" fmla="*/ 9969 w 18323"/>
                  <a:gd name="connsiteY2" fmla="*/ 42 h 18434"/>
                  <a:gd name="connsiteX3" fmla="*/ 18282 w 18323"/>
                  <a:gd name="connsiteY3" fmla="*/ 10089 h 18434"/>
                  <a:gd name="connsiteX4" fmla="*/ 8354 w 18323"/>
                  <a:gd name="connsiteY4" fmla="*/ 1840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4">
                    <a:moveTo>
                      <a:pt x="8354" y="18402"/>
                    </a:moveTo>
                    <a:cubicBezTo>
                      <a:pt x="3330" y="17924"/>
                      <a:pt x="-438" y="13438"/>
                      <a:pt x="41" y="8355"/>
                    </a:cubicBezTo>
                    <a:cubicBezTo>
                      <a:pt x="460" y="3271"/>
                      <a:pt x="4945" y="-437"/>
                      <a:pt x="9969" y="42"/>
                    </a:cubicBezTo>
                    <a:cubicBezTo>
                      <a:pt x="14993" y="520"/>
                      <a:pt x="18761" y="5005"/>
                      <a:pt x="18282" y="10089"/>
                    </a:cubicBezTo>
                    <a:cubicBezTo>
                      <a:pt x="17804" y="15113"/>
                      <a:pt x="13378" y="18821"/>
                      <a:pt x="8354" y="18402"/>
                    </a:cubicBezTo>
                    <a:close/>
                  </a:path>
                </a:pathLst>
              </a:custGeom>
              <a:grpFill/>
              <a:ln w="5978" cap="flat">
                <a:noFill/>
                <a:prstDash val="solid"/>
                <a:miter/>
              </a:ln>
            </p:spPr>
            <p:txBody>
              <a:bodyPr rtlCol="0" anchor="ctr"/>
              <a:lstStyle/>
              <a:p>
                <a:endParaRPr lang="en-GB"/>
              </a:p>
            </p:txBody>
          </p:sp>
          <p:sp>
            <p:nvSpPr>
              <p:cNvPr id="2141" name="Vrije vorm: vorm 2140">
                <a:extLst>
                  <a:ext uri="{FF2B5EF4-FFF2-40B4-BE49-F238E27FC236}">
                    <a16:creationId xmlns:a16="http://schemas.microsoft.com/office/drawing/2014/main" id="{CCC4DB8D-BA42-4D82-931E-2F8F48C90D17}"/>
                  </a:ext>
                </a:extLst>
              </p:cNvPr>
              <p:cNvSpPr/>
              <p:nvPr/>
            </p:nvSpPr>
            <p:spPr>
              <a:xfrm>
                <a:off x="4372493" y="3252914"/>
                <a:ext cx="18305" cy="18442"/>
              </a:xfrm>
              <a:custGeom>
                <a:avLst/>
                <a:gdLst>
                  <a:gd name="connsiteX0" fmla="*/ 8345 w 18305"/>
                  <a:gd name="connsiteY0" fmla="*/ 18402 h 18442"/>
                  <a:gd name="connsiteX1" fmla="*/ 18273 w 18305"/>
                  <a:gd name="connsiteY1" fmla="*/ 10089 h 18442"/>
                  <a:gd name="connsiteX2" fmla="*/ 9960 w 18305"/>
                  <a:gd name="connsiteY2" fmla="*/ 41 h 18442"/>
                  <a:gd name="connsiteX3" fmla="*/ 32 w 18305"/>
                  <a:gd name="connsiteY3" fmla="*/ 8354 h 18442"/>
                  <a:gd name="connsiteX4" fmla="*/ 8345 w 18305"/>
                  <a:gd name="connsiteY4" fmla="*/ 18402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42">
                    <a:moveTo>
                      <a:pt x="8345" y="18402"/>
                    </a:moveTo>
                    <a:cubicBezTo>
                      <a:pt x="13369" y="18880"/>
                      <a:pt x="17855" y="15112"/>
                      <a:pt x="18273" y="10089"/>
                    </a:cubicBezTo>
                    <a:cubicBezTo>
                      <a:pt x="18692" y="5005"/>
                      <a:pt x="14984" y="519"/>
                      <a:pt x="9960" y="41"/>
                    </a:cubicBezTo>
                    <a:cubicBezTo>
                      <a:pt x="4936" y="-438"/>
                      <a:pt x="451" y="3330"/>
                      <a:pt x="32" y="8354"/>
                    </a:cubicBezTo>
                    <a:cubicBezTo>
                      <a:pt x="-386" y="13438"/>
                      <a:pt x="3322" y="17923"/>
                      <a:pt x="8345" y="18402"/>
                    </a:cubicBezTo>
                    <a:close/>
                  </a:path>
                </a:pathLst>
              </a:custGeom>
              <a:grpFill/>
              <a:ln w="5978" cap="flat">
                <a:noFill/>
                <a:prstDash val="solid"/>
                <a:miter/>
              </a:ln>
            </p:spPr>
            <p:txBody>
              <a:bodyPr rtlCol="0" anchor="ctr"/>
              <a:lstStyle/>
              <a:p>
                <a:endParaRPr lang="en-GB"/>
              </a:p>
            </p:txBody>
          </p:sp>
        </p:grpSp>
        <p:grpSp>
          <p:nvGrpSpPr>
            <p:cNvPr id="1088" name="Graphic 3">
              <a:extLst>
                <a:ext uri="{FF2B5EF4-FFF2-40B4-BE49-F238E27FC236}">
                  <a16:creationId xmlns:a16="http://schemas.microsoft.com/office/drawing/2014/main" id="{6C50D310-3A73-410C-8B58-C1D1C1958813}"/>
                </a:ext>
              </a:extLst>
            </p:cNvPr>
            <p:cNvGrpSpPr/>
            <p:nvPr/>
          </p:nvGrpSpPr>
          <p:grpSpPr>
            <a:xfrm>
              <a:off x="4817558" y="4812889"/>
              <a:ext cx="91311" cy="107148"/>
              <a:chOff x="4817558" y="4812889"/>
              <a:chExt cx="91311" cy="107148"/>
            </a:xfrm>
            <a:grpFill/>
          </p:grpSpPr>
          <p:sp>
            <p:nvSpPr>
              <p:cNvPr id="2136" name="Vrije vorm: vorm 2135">
                <a:extLst>
                  <a:ext uri="{FF2B5EF4-FFF2-40B4-BE49-F238E27FC236}">
                    <a16:creationId xmlns:a16="http://schemas.microsoft.com/office/drawing/2014/main" id="{128BF765-2543-4A37-8EED-7AC3E9033FF6}"/>
                  </a:ext>
                </a:extLst>
              </p:cNvPr>
              <p:cNvSpPr/>
              <p:nvPr/>
            </p:nvSpPr>
            <p:spPr>
              <a:xfrm>
                <a:off x="4825266" y="4820741"/>
                <a:ext cx="75955" cy="91445"/>
              </a:xfrm>
              <a:custGeom>
                <a:avLst/>
                <a:gdLst>
                  <a:gd name="connsiteX0" fmla="*/ 75955 w 75955"/>
                  <a:gd name="connsiteY0" fmla="*/ 1973 h 91445"/>
                  <a:gd name="connsiteX1" fmla="*/ 2392 w 75955"/>
                  <a:gd name="connsiteY1" fmla="*/ 91445 h 91445"/>
                  <a:gd name="connsiteX2" fmla="*/ 0 w 75955"/>
                  <a:gd name="connsiteY2" fmla="*/ 89471 h 91445"/>
                  <a:gd name="connsiteX3" fmla="*/ 73563 w 75955"/>
                  <a:gd name="connsiteY3" fmla="*/ 0 h 91445"/>
                </a:gdLst>
                <a:ahLst/>
                <a:cxnLst>
                  <a:cxn ang="0">
                    <a:pos x="connsiteX0" y="connsiteY0"/>
                  </a:cxn>
                  <a:cxn ang="0">
                    <a:pos x="connsiteX1" y="connsiteY1"/>
                  </a:cxn>
                  <a:cxn ang="0">
                    <a:pos x="connsiteX2" y="connsiteY2"/>
                  </a:cxn>
                  <a:cxn ang="0">
                    <a:pos x="connsiteX3" y="connsiteY3"/>
                  </a:cxn>
                </a:cxnLst>
                <a:rect l="l" t="t" r="r" b="b"/>
                <a:pathLst>
                  <a:path w="75955" h="91445">
                    <a:moveTo>
                      <a:pt x="75955" y="1973"/>
                    </a:moveTo>
                    <a:lnTo>
                      <a:pt x="2392" y="91445"/>
                    </a:lnTo>
                    <a:lnTo>
                      <a:pt x="0" y="89471"/>
                    </a:lnTo>
                    <a:lnTo>
                      <a:pt x="73563" y="0"/>
                    </a:lnTo>
                    <a:close/>
                  </a:path>
                </a:pathLst>
              </a:custGeom>
              <a:grpFill/>
              <a:ln w="5978" cap="flat">
                <a:noFill/>
                <a:prstDash val="solid"/>
                <a:miter/>
              </a:ln>
            </p:spPr>
            <p:txBody>
              <a:bodyPr rtlCol="0" anchor="ctr"/>
              <a:lstStyle/>
              <a:p>
                <a:endParaRPr lang="en-GB"/>
              </a:p>
            </p:txBody>
          </p:sp>
          <p:sp>
            <p:nvSpPr>
              <p:cNvPr id="2137" name="Vrije vorm: vorm 2136">
                <a:extLst>
                  <a:ext uri="{FF2B5EF4-FFF2-40B4-BE49-F238E27FC236}">
                    <a16:creationId xmlns:a16="http://schemas.microsoft.com/office/drawing/2014/main" id="{3AEC0BE2-3E94-4D9D-B2E2-6205329AC280}"/>
                  </a:ext>
                </a:extLst>
              </p:cNvPr>
              <p:cNvSpPr/>
              <p:nvPr/>
            </p:nvSpPr>
            <p:spPr>
              <a:xfrm>
                <a:off x="4817558" y="4901643"/>
                <a:ext cx="18346" cy="18394"/>
              </a:xfrm>
              <a:custGeom>
                <a:avLst/>
                <a:gdLst>
                  <a:gd name="connsiteX0" fmla="*/ 16261 w 18346"/>
                  <a:gd name="connsiteY0" fmla="*/ 15089 h 18394"/>
                  <a:gd name="connsiteX1" fmla="*/ 3342 w 18346"/>
                  <a:gd name="connsiteY1" fmla="*/ 16285 h 18394"/>
                  <a:gd name="connsiteX2" fmla="*/ 2086 w 18346"/>
                  <a:gd name="connsiteY2" fmla="*/ 3306 h 18394"/>
                  <a:gd name="connsiteX3" fmla="*/ 15005 w 18346"/>
                  <a:gd name="connsiteY3" fmla="*/ 2111 h 18394"/>
                  <a:gd name="connsiteX4" fmla="*/ 16261 w 18346"/>
                  <a:gd name="connsiteY4" fmla="*/ 1508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4">
                    <a:moveTo>
                      <a:pt x="16261" y="15089"/>
                    </a:moveTo>
                    <a:cubicBezTo>
                      <a:pt x="13031" y="18976"/>
                      <a:pt x="7290" y="19514"/>
                      <a:pt x="3342" y="16285"/>
                    </a:cubicBezTo>
                    <a:cubicBezTo>
                      <a:pt x="-546" y="13055"/>
                      <a:pt x="-1143" y="7254"/>
                      <a:pt x="2086" y="3306"/>
                    </a:cubicBezTo>
                    <a:cubicBezTo>
                      <a:pt x="5316" y="-581"/>
                      <a:pt x="11057" y="-1119"/>
                      <a:pt x="15005" y="2111"/>
                    </a:cubicBezTo>
                    <a:cubicBezTo>
                      <a:pt x="18892" y="5340"/>
                      <a:pt x="19490" y="11141"/>
                      <a:pt x="16261" y="15089"/>
                    </a:cubicBezTo>
                    <a:close/>
                  </a:path>
                </a:pathLst>
              </a:custGeom>
              <a:grpFill/>
              <a:ln w="5978" cap="flat">
                <a:noFill/>
                <a:prstDash val="solid"/>
                <a:miter/>
              </a:ln>
            </p:spPr>
            <p:txBody>
              <a:bodyPr rtlCol="0" anchor="ctr"/>
              <a:lstStyle/>
              <a:p>
                <a:endParaRPr lang="en-GB"/>
              </a:p>
            </p:txBody>
          </p:sp>
          <p:sp>
            <p:nvSpPr>
              <p:cNvPr id="2138" name="Vrije vorm: vorm 2137">
                <a:extLst>
                  <a:ext uri="{FF2B5EF4-FFF2-40B4-BE49-F238E27FC236}">
                    <a16:creationId xmlns:a16="http://schemas.microsoft.com/office/drawing/2014/main" id="{9EB9F1A7-D23F-45C0-A23C-DAE15EDCCFBE}"/>
                  </a:ext>
                </a:extLst>
              </p:cNvPr>
              <p:cNvSpPr/>
              <p:nvPr/>
            </p:nvSpPr>
            <p:spPr>
              <a:xfrm>
                <a:off x="4890503" y="4812889"/>
                <a:ext cx="18365" cy="18394"/>
              </a:xfrm>
              <a:custGeom>
                <a:avLst/>
                <a:gdLst>
                  <a:gd name="connsiteX0" fmla="*/ 16280 w 18365"/>
                  <a:gd name="connsiteY0" fmla="*/ 15088 h 18394"/>
                  <a:gd name="connsiteX1" fmla="*/ 15024 w 18365"/>
                  <a:gd name="connsiteY1" fmla="*/ 2110 h 18394"/>
                  <a:gd name="connsiteX2" fmla="*/ 2105 w 18365"/>
                  <a:gd name="connsiteY2" fmla="*/ 3307 h 18394"/>
                  <a:gd name="connsiteX3" fmla="*/ 3361 w 18365"/>
                  <a:gd name="connsiteY3" fmla="*/ 16285 h 18394"/>
                  <a:gd name="connsiteX4" fmla="*/ 16280 w 18365"/>
                  <a:gd name="connsiteY4" fmla="*/ 150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4">
                    <a:moveTo>
                      <a:pt x="16280" y="15088"/>
                    </a:moveTo>
                    <a:cubicBezTo>
                      <a:pt x="19509" y="11201"/>
                      <a:pt x="18911" y="5340"/>
                      <a:pt x="15024" y="2110"/>
                    </a:cubicBezTo>
                    <a:cubicBezTo>
                      <a:pt x="11136" y="-1119"/>
                      <a:pt x="5335" y="-581"/>
                      <a:pt x="2105" y="3307"/>
                    </a:cubicBezTo>
                    <a:cubicBezTo>
                      <a:pt x="-1124" y="7194"/>
                      <a:pt x="-586" y="13055"/>
                      <a:pt x="3361" y="16285"/>
                    </a:cubicBezTo>
                    <a:cubicBezTo>
                      <a:pt x="7308" y="19514"/>
                      <a:pt x="13110" y="18976"/>
                      <a:pt x="16280" y="15088"/>
                    </a:cubicBezTo>
                    <a:close/>
                  </a:path>
                </a:pathLst>
              </a:custGeom>
              <a:grpFill/>
              <a:ln w="5978" cap="flat">
                <a:noFill/>
                <a:prstDash val="solid"/>
                <a:miter/>
              </a:ln>
            </p:spPr>
            <p:txBody>
              <a:bodyPr rtlCol="0" anchor="ctr"/>
              <a:lstStyle/>
              <a:p>
                <a:endParaRPr lang="en-GB"/>
              </a:p>
            </p:txBody>
          </p:sp>
        </p:grpSp>
        <p:grpSp>
          <p:nvGrpSpPr>
            <p:cNvPr id="1089" name="Graphic 3">
              <a:extLst>
                <a:ext uri="{FF2B5EF4-FFF2-40B4-BE49-F238E27FC236}">
                  <a16:creationId xmlns:a16="http://schemas.microsoft.com/office/drawing/2014/main" id="{F021E75D-957A-45EB-BEC9-FBEC9AAF00AE}"/>
                </a:ext>
              </a:extLst>
            </p:cNvPr>
            <p:cNvGrpSpPr/>
            <p:nvPr/>
          </p:nvGrpSpPr>
          <p:grpSpPr>
            <a:xfrm>
              <a:off x="4749004" y="4630793"/>
              <a:ext cx="101171" cy="101911"/>
              <a:chOff x="4749004" y="4630793"/>
              <a:chExt cx="101171" cy="101911"/>
            </a:xfrm>
            <a:grpFill/>
          </p:grpSpPr>
          <p:sp>
            <p:nvSpPr>
              <p:cNvPr id="2133" name="Vrije vorm: vorm 2132">
                <a:extLst>
                  <a:ext uri="{FF2B5EF4-FFF2-40B4-BE49-F238E27FC236}">
                    <a16:creationId xmlns:a16="http://schemas.microsoft.com/office/drawing/2014/main" id="{8B2B3518-0994-4959-96EC-93FB4BF62047}"/>
                  </a:ext>
                </a:extLst>
              </p:cNvPr>
              <p:cNvSpPr/>
              <p:nvPr/>
            </p:nvSpPr>
            <p:spPr>
              <a:xfrm>
                <a:off x="4756727" y="4638628"/>
                <a:ext cx="85703" cy="86301"/>
              </a:xfrm>
              <a:custGeom>
                <a:avLst/>
                <a:gdLst>
                  <a:gd name="connsiteX0" fmla="*/ 85703 w 85703"/>
                  <a:gd name="connsiteY0" fmla="*/ 2153 h 86301"/>
                  <a:gd name="connsiteX1" fmla="*/ 2213 w 85703"/>
                  <a:gd name="connsiteY1" fmla="*/ 86302 h 86301"/>
                  <a:gd name="connsiteX2" fmla="*/ 0 w 85703"/>
                  <a:gd name="connsiteY2" fmla="*/ 84089 h 86301"/>
                  <a:gd name="connsiteX3" fmla="*/ 83551 w 85703"/>
                  <a:gd name="connsiteY3" fmla="*/ 0 h 86301"/>
                </a:gdLst>
                <a:ahLst/>
                <a:cxnLst>
                  <a:cxn ang="0">
                    <a:pos x="connsiteX0" y="connsiteY0"/>
                  </a:cxn>
                  <a:cxn ang="0">
                    <a:pos x="connsiteX1" y="connsiteY1"/>
                  </a:cxn>
                  <a:cxn ang="0">
                    <a:pos x="connsiteX2" y="connsiteY2"/>
                  </a:cxn>
                  <a:cxn ang="0">
                    <a:pos x="connsiteX3" y="connsiteY3"/>
                  </a:cxn>
                </a:cxnLst>
                <a:rect l="l" t="t" r="r" b="b"/>
                <a:pathLst>
                  <a:path w="85703" h="86301">
                    <a:moveTo>
                      <a:pt x="85703" y="2153"/>
                    </a:moveTo>
                    <a:lnTo>
                      <a:pt x="2213" y="86302"/>
                    </a:lnTo>
                    <a:lnTo>
                      <a:pt x="0" y="84089"/>
                    </a:lnTo>
                    <a:lnTo>
                      <a:pt x="83551" y="0"/>
                    </a:lnTo>
                    <a:close/>
                  </a:path>
                </a:pathLst>
              </a:custGeom>
              <a:grpFill/>
              <a:ln w="5978" cap="flat">
                <a:noFill/>
                <a:prstDash val="solid"/>
                <a:miter/>
              </a:ln>
            </p:spPr>
            <p:txBody>
              <a:bodyPr rtlCol="0" anchor="ctr"/>
              <a:lstStyle/>
              <a:p>
                <a:endParaRPr lang="en-GB"/>
              </a:p>
            </p:txBody>
          </p:sp>
          <p:sp>
            <p:nvSpPr>
              <p:cNvPr id="2134" name="Vrije vorm: vorm 2133">
                <a:extLst>
                  <a:ext uri="{FF2B5EF4-FFF2-40B4-BE49-F238E27FC236}">
                    <a16:creationId xmlns:a16="http://schemas.microsoft.com/office/drawing/2014/main" id="{C6126C21-7C4B-423B-8FA6-6CF8B8826E72}"/>
                  </a:ext>
                </a:extLst>
              </p:cNvPr>
              <p:cNvSpPr/>
              <p:nvPr/>
            </p:nvSpPr>
            <p:spPr>
              <a:xfrm>
                <a:off x="4749004" y="4714284"/>
                <a:ext cx="18316" cy="18420"/>
              </a:xfrm>
              <a:custGeom>
                <a:avLst/>
                <a:gdLst>
                  <a:gd name="connsiteX0" fmla="*/ 15677 w 18316"/>
                  <a:gd name="connsiteY0" fmla="*/ 15729 h 18420"/>
                  <a:gd name="connsiteX1" fmla="*/ 2699 w 18316"/>
                  <a:gd name="connsiteY1" fmla="*/ 15729 h 18420"/>
                  <a:gd name="connsiteX2" fmla="*/ 2639 w 18316"/>
                  <a:gd name="connsiteY2" fmla="*/ 2691 h 18420"/>
                  <a:gd name="connsiteX3" fmla="*/ 15617 w 18316"/>
                  <a:gd name="connsiteY3" fmla="*/ 2691 h 18420"/>
                  <a:gd name="connsiteX4" fmla="*/ 15677 w 18316"/>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0">
                    <a:moveTo>
                      <a:pt x="15677" y="15729"/>
                    </a:moveTo>
                    <a:cubicBezTo>
                      <a:pt x="12089" y="19318"/>
                      <a:pt x="6287" y="19318"/>
                      <a:pt x="2699" y="15729"/>
                    </a:cubicBezTo>
                    <a:cubicBezTo>
                      <a:pt x="-890" y="12141"/>
                      <a:pt x="-890" y="6280"/>
                      <a:pt x="2639" y="2691"/>
                    </a:cubicBezTo>
                    <a:cubicBezTo>
                      <a:pt x="6228" y="-897"/>
                      <a:pt x="12029" y="-897"/>
                      <a:pt x="15617" y="2691"/>
                    </a:cubicBezTo>
                    <a:cubicBezTo>
                      <a:pt x="19206" y="6280"/>
                      <a:pt x="19206" y="12141"/>
                      <a:pt x="15677" y="15729"/>
                    </a:cubicBezTo>
                    <a:close/>
                  </a:path>
                </a:pathLst>
              </a:custGeom>
              <a:grpFill/>
              <a:ln w="5978" cap="flat">
                <a:noFill/>
                <a:prstDash val="solid"/>
                <a:miter/>
              </a:ln>
            </p:spPr>
            <p:txBody>
              <a:bodyPr rtlCol="0" anchor="ctr"/>
              <a:lstStyle/>
              <a:p>
                <a:endParaRPr lang="en-GB"/>
              </a:p>
            </p:txBody>
          </p:sp>
          <p:sp>
            <p:nvSpPr>
              <p:cNvPr id="2135" name="Vrije vorm: vorm 2134">
                <a:extLst>
                  <a:ext uri="{FF2B5EF4-FFF2-40B4-BE49-F238E27FC236}">
                    <a16:creationId xmlns:a16="http://schemas.microsoft.com/office/drawing/2014/main" id="{23ED7160-0336-4E90-99F3-7B00177A9EF7}"/>
                  </a:ext>
                </a:extLst>
              </p:cNvPr>
              <p:cNvSpPr/>
              <p:nvPr/>
            </p:nvSpPr>
            <p:spPr>
              <a:xfrm>
                <a:off x="4831815" y="4630793"/>
                <a:ext cx="18361" cy="18420"/>
              </a:xfrm>
              <a:custGeom>
                <a:avLst/>
                <a:gdLst>
                  <a:gd name="connsiteX0" fmla="*/ 15700 w 18361"/>
                  <a:gd name="connsiteY0" fmla="*/ 15729 h 18420"/>
                  <a:gd name="connsiteX1" fmla="*/ 15640 w 18361"/>
                  <a:gd name="connsiteY1" fmla="*/ 2691 h 18420"/>
                  <a:gd name="connsiteX2" fmla="*/ 2662 w 18361"/>
                  <a:gd name="connsiteY2" fmla="*/ 2691 h 18420"/>
                  <a:gd name="connsiteX3" fmla="*/ 2722 w 18361"/>
                  <a:gd name="connsiteY3" fmla="*/ 15729 h 18420"/>
                  <a:gd name="connsiteX4" fmla="*/ 15700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700" y="15729"/>
                    </a:moveTo>
                    <a:cubicBezTo>
                      <a:pt x="19288" y="12141"/>
                      <a:pt x="19228" y="6280"/>
                      <a:pt x="15640" y="2691"/>
                    </a:cubicBezTo>
                    <a:cubicBezTo>
                      <a:pt x="12052" y="-897"/>
                      <a:pt x="6250" y="-897"/>
                      <a:pt x="2662" y="2691"/>
                    </a:cubicBezTo>
                    <a:cubicBezTo>
                      <a:pt x="-927" y="6280"/>
                      <a:pt x="-867" y="12141"/>
                      <a:pt x="2722" y="15729"/>
                    </a:cubicBezTo>
                    <a:cubicBezTo>
                      <a:pt x="6370" y="19318"/>
                      <a:pt x="12171" y="19318"/>
                      <a:pt x="15700" y="15729"/>
                    </a:cubicBezTo>
                    <a:close/>
                  </a:path>
                </a:pathLst>
              </a:custGeom>
              <a:grpFill/>
              <a:ln w="5978" cap="flat">
                <a:noFill/>
                <a:prstDash val="solid"/>
                <a:miter/>
              </a:ln>
            </p:spPr>
            <p:txBody>
              <a:bodyPr rtlCol="0" anchor="ctr"/>
              <a:lstStyle/>
              <a:p>
                <a:endParaRPr lang="en-GB"/>
              </a:p>
            </p:txBody>
          </p:sp>
        </p:grpSp>
        <p:grpSp>
          <p:nvGrpSpPr>
            <p:cNvPr id="1090" name="Graphic 3">
              <a:extLst>
                <a:ext uri="{FF2B5EF4-FFF2-40B4-BE49-F238E27FC236}">
                  <a16:creationId xmlns:a16="http://schemas.microsoft.com/office/drawing/2014/main" id="{5387E12D-0228-4747-B9B4-E68934639834}"/>
                </a:ext>
              </a:extLst>
            </p:cNvPr>
            <p:cNvGrpSpPr/>
            <p:nvPr/>
          </p:nvGrpSpPr>
          <p:grpSpPr>
            <a:xfrm>
              <a:off x="4721304" y="4485210"/>
              <a:ext cx="51827" cy="46434"/>
              <a:chOff x="4721304" y="4485210"/>
              <a:chExt cx="51827" cy="46434"/>
            </a:xfrm>
            <a:grpFill/>
          </p:grpSpPr>
          <p:sp>
            <p:nvSpPr>
              <p:cNvPr id="2130" name="Vrije vorm: vorm 2129">
                <a:extLst>
                  <a:ext uri="{FF2B5EF4-FFF2-40B4-BE49-F238E27FC236}">
                    <a16:creationId xmlns:a16="http://schemas.microsoft.com/office/drawing/2014/main" id="{455F8C9C-55DC-45EC-9FE1-92A7A95A99D5}"/>
                  </a:ext>
                </a:extLst>
              </p:cNvPr>
              <p:cNvSpPr/>
              <p:nvPr/>
            </p:nvSpPr>
            <p:spPr>
              <a:xfrm>
                <a:off x="4729156" y="4492997"/>
                <a:ext cx="36183" cy="30920"/>
              </a:xfrm>
              <a:custGeom>
                <a:avLst/>
                <a:gdLst>
                  <a:gd name="connsiteX0" fmla="*/ 36183 w 36183"/>
                  <a:gd name="connsiteY0" fmla="*/ 2333 h 30920"/>
                  <a:gd name="connsiteX1" fmla="*/ 1914 w 36183"/>
                  <a:gd name="connsiteY1" fmla="*/ 30921 h 30920"/>
                  <a:gd name="connsiteX2" fmla="*/ 0 w 36183"/>
                  <a:gd name="connsiteY2" fmla="*/ 28528 h 30920"/>
                  <a:gd name="connsiteX3" fmla="*/ 34210 w 36183"/>
                  <a:gd name="connsiteY3" fmla="*/ 0 h 30920"/>
                </a:gdLst>
                <a:ahLst/>
                <a:cxnLst>
                  <a:cxn ang="0">
                    <a:pos x="connsiteX0" y="connsiteY0"/>
                  </a:cxn>
                  <a:cxn ang="0">
                    <a:pos x="connsiteX1" y="connsiteY1"/>
                  </a:cxn>
                  <a:cxn ang="0">
                    <a:pos x="connsiteX2" y="connsiteY2"/>
                  </a:cxn>
                  <a:cxn ang="0">
                    <a:pos x="connsiteX3" y="connsiteY3"/>
                  </a:cxn>
                </a:cxnLst>
                <a:rect l="l" t="t" r="r" b="b"/>
                <a:pathLst>
                  <a:path w="36183" h="30920">
                    <a:moveTo>
                      <a:pt x="36183" y="2333"/>
                    </a:moveTo>
                    <a:lnTo>
                      <a:pt x="1914" y="30921"/>
                    </a:lnTo>
                    <a:lnTo>
                      <a:pt x="0" y="28528"/>
                    </a:lnTo>
                    <a:lnTo>
                      <a:pt x="34210" y="0"/>
                    </a:lnTo>
                    <a:close/>
                  </a:path>
                </a:pathLst>
              </a:custGeom>
              <a:grpFill/>
              <a:ln w="5978" cap="flat">
                <a:noFill/>
                <a:prstDash val="solid"/>
                <a:miter/>
              </a:ln>
            </p:spPr>
            <p:txBody>
              <a:bodyPr rtlCol="0" anchor="ctr"/>
              <a:lstStyle/>
              <a:p>
                <a:endParaRPr lang="en-GB"/>
              </a:p>
            </p:txBody>
          </p:sp>
          <p:sp>
            <p:nvSpPr>
              <p:cNvPr id="2131" name="Vrije vorm: vorm 2130">
                <a:extLst>
                  <a:ext uri="{FF2B5EF4-FFF2-40B4-BE49-F238E27FC236}">
                    <a16:creationId xmlns:a16="http://schemas.microsoft.com/office/drawing/2014/main" id="{258D3FEA-E17C-42EF-95D3-451581835E2C}"/>
                  </a:ext>
                </a:extLst>
              </p:cNvPr>
              <p:cNvSpPr/>
              <p:nvPr/>
            </p:nvSpPr>
            <p:spPr>
              <a:xfrm>
                <a:off x="4721304" y="4513200"/>
                <a:ext cx="18335" cy="18444"/>
              </a:xfrm>
              <a:custGeom>
                <a:avLst/>
                <a:gdLst>
                  <a:gd name="connsiteX0" fmla="*/ 15029 w 18335"/>
                  <a:gd name="connsiteY0" fmla="*/ 16340 h 18444"/>
                  <a:gd name="connsiteX1" fmla="*/ 2110 w 18335"/>
                  <a:gd name="connsiteY1" fmla="*/ 15084 h 18444"/>
                  <a:gd name="connsiteX2" fmla="*/ 3307 w 18335"/>
                  <a:gd name="connsiteY2" fmla="*/ 2105 h 18444"/>
                  <a:gd name="connsiteX3" fmla="*/ 16225 w 18335"/>
                  <a:gd name="connsiteY3" fmla="*/ 3361 h 18444"/>
                  <a:gd name="connsiteX4" fmla="*/ 15029 w 18335"/>
                  <a:gd name="connsiteY4" fmla="*/ 163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40"/>
                    </a:moveTo>
                    <a:cubicBezTo>
                      <a:pt x="11141" y="19569"/>
                      <a:pt x="5340" y="19031"/>
                      <a:pt x="2110" y="15084"/>
                    </a:cubicBezTo>
                    <a:cubicBezTo>
                      <a:pt x="-1119" y="11136"/>
                      <a:pt x="-581" y="5335"/>
                      <a:pt x="3307" y="2105"/>
                    </a:cubicBezTo>
                    <a:cubicBezTo>
                      <a:pt x="7194" y="-1124"/>
                      <a:pt x="12995" y="-586"/>
                      <a:pt x="16225" y="3361"/>
                    </a:cubicBezTo>
                    <a:cubicBezTo>
                      <a:pt x="19454" y="7249"/>
                      <a:pt x="18916" y="13110"/>
                      <a:pt x="15029" y="16340"/>
                    </a:cubicBezTo>
                    <a:close/>
                  </a:path>
                </a:pathLst>
              </a:custGeom>
              <a:grpFill/>
              <a:ln w="5978" cap="flat">
                <a:noFill/>
                <a:prstDash val="solid"/>
                <a:miter/>
              </a:ln>
            </p:spPr>
            <p:txBody>
              <a:bodyPr rtlCol="0" anchor="ctr"/>
              <a:lstStyle/>
              <a:p>
                <a:endParaRPr lang="en-GB"/>
              </a:p>
            </p:txBody>
          </p:sp>
          <p:sp>
            <p:nvSpPr>
              <p:cNvPr id="2132" name="Vrije vorm: vorm 2131">
                <a:extLst>
                  <a:ext uri="{FF2B5EF4-FFF2-40B4-BE49-F238E27FC236}">
                    <a16:creationId xmlns:a16="http://schemas.microsoft.com/office/drawing/2014/main" id="{C7338352-825C-4266-A312-E6EA866A13F4}"/>
                  </a:ext>
                </a:extLst>
              </p:cNvPr>
              <p:cNvSpPr/>
              <p:nvPr/>
            </p:nvSpPr>
            <p:spPr>
              <a:xfrm>
                <a:off x="4754796" y="4485210"/>
                <a:ext cx="18335" cy="18444"/>
              </a:xfrm>
              <a:custGeom>
                <a:avLst/>
                <a:gdLst>
                  <a:gd name="connsiteX0" fmla="*/ 15029 w 18335"/>
                  <a:gd name="connsiteY0" fmla="*/ 16340 h 18444"/>
                  <a:gd name="connsiteX1" fmla="*/ 16225 w 18335"/>
                  <a:gd name="connsiteY1" fmla="*/ 3361 h 18444"/>
                  <a:gd name="connsiteX2" fmla="*/ 3307 w 18335"/>
                  <a:gd name="connsiteY2" fmla="*/ 2105 h 18444"/>
                  <a:gd name="connsiteX3" fmla="*/ 2110 w 18335"/>
                  <a:gd name="connsiteY3" fmla="*/ 15084 h 18444"/>
                  <a:gd name="connsiteX4" fmla="*/ 15029 w 18335"/>
                  <a:gd name="connsiteY4" fmla="*/ 163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40"/>
                    </a:moveTo>
                    <a:cubicBezTo>
                      <a:pt x="18916" y="13110"/>
                      <a:pt x="19455" y="7309"/>
                      <a:pt x="16225" y="3361"/>
                    </a:cubicBezTo>
                    <a:cubicBezTo>
                      <a:pt x="12995" y="-586"/>
                      <a:pt x="7194" y="-1124"/>
                      <a:pt x="3307" y="2105"/>
                    </a:cubicBezTo>
                    <a:cubicBezTo>
                      <a:pt x="-581" y="5335"/>
                      <a:pt x="-1119" y="11136"/>
                      <a:pt x="2110" y="15084"/>
                    </a:cubicBezTo>
                    <a:cubicBezTo>
                      <a:pt x="5400" y="19031"/>
                      <a:pt x="11201" y="19569"/>
                      <a:pt x="15029" y="16340"/>
                    </a:cubicBezTo>
                    <a:close/>
                  </a:path>
                </a:pathLst>
              </a:custGeom>
              <a:grpFill/>
              <a:ln w="5978" cap="flat">
                <a:noFill/>
                <a:prstDash val="solid"/>
                <a:miter/>
              </a:ln>
            </p:spPr>
            <p:txBody>
              <a:bodyPr rtlCol="0" anchor="ctr"/>
              <a:lstStyle/>
              <a:p>
                <a:endParaRPr lang="en-GB"/>
              </a:p>
            </p:txBody>
          </p:sp>
        </p:grpSp>
        <p:grpSp>
          <p:nvGrpSpPr>
            <p:cNvPr id="1091" name="Graphic 3">
              <a:extLst>
                <a:ext uri="{FF2B5EF4-FFF2-40B4-BE49-F238E27FC236}">
                  <a16:creationId xmlns:a16="http://schemas.microsoft.com/office/drawing/2014/main" id="{8BE19AE3-4F04-4171-BDE3-AB129B4EBC73}"/>
                </a:ext>
              </a:extLst>
            </p:cNvPr>
            <p:cNvGrpSpPr/>
            <p:nvPr/>
          </p:nvGrpSpPr>
          <p:grpSpPr>
            <a:xfrm>
              <a:off x="4929893" y="5147150"/>
              <a:ext cx="94686" cy="146266"/>
              <a:chOff x="4929893" y="5147150"/>
              <a:chExt cx="94686" cy="146266"/>
            </a:xfrm>
            <a:grpFill/>
          </p:grpSpPr>
          <p:sp>
            <p:nvSpPr>
              <p:cNvPr id="2127" name="Vrije vorm: vorm 2126">
                <a:extLst>
                  <a:ext uri="{FF2B5EF4-FFF2-40B4-BE49-F238E27FC236}">
                    <a16:creationId xmlns:a16="http://schemas.microsoft.com/office/drawing/2014/main" id="{720CEF0A-2BB3-4FCB-AF06-BF329960B16F}"/>
                  </a:ext>
                </a:extLst>
              </p:cNvPr>
              <p:cNvSpPr/>
              <p:nvPr/>
            </p:nvSpPr>
            <p:spPr>
              <a:xfrm>
                <a:off x="4937524" y="5155183"/>
                <a:ext cx="79483" cy="130200"/>
              </a:xfrm>
              <a:custGeom>
                <a:avLst/>
                <a:gdLst>
                  <a:gd name="connsiteX0" fmla="*/ 79484 w 79483"/>
                  <a:gd name="connsiteY0" fmla="*/ 1615 h 130200"/>
                  <a:gd name="connsiteX1" fmla="*/ 2572 w 79483"/>
                  <a:gd name="connsiteY1" fmla="*/ 130200 h 130200"/>
                  <a:gd name="connsiteX2" fmla="*/ 0 w 79483"/>
                  <a:gd name="connsiteY2" fmla="*/ 128645 h 130200"/>
                  <a:gd name="connsiteX3" fmla="*/ 76852 w 79483"/>
                  <a:gd name="connsiteY3" fmla="*/ 0 h 130200"/>
                </a:gdLst>
                <a:ahLst/>
                <a:cxnLst>
                  <a:cxn ang="0">
                    <a:pos x="connsiteX0" y="connsiteY0"/>
                  </a:cxn>
                  <a:cxn ang="0">
                    <a:pos x="connsiteX1" y="connsiteY1"/>
                  </a:cxn>
                  <a:cxn ang="0">
                    <a:pos x="connsiteX2" y="connsiteY2"/>
                  </a:cxn>
                  <a:cxn ang="0">
                    <a:pos x="connsiteX3" y="connsiteY3"/>
                  </a:cxn>
                </a:cxnLst>
                <a:rect l="l" t="t" r="r" b="b"/>
                <a:pathLst>
                  <a:path w="79483" h="130200">
                    <a:moveTo>
                      <a:pt x="79484" y="1615"/>
                    </a:moveTo>
                    <a:lnTo>
                      <a:pt x="2572" y="130200"/>
                    </a:lnTo>
                    <a:lnTo>
                      <a:pt x="0" y="128645"/>
                    </a:lnTo>
                    <a:lnTo>
                      <a:pt x="76852" y="0"/>
                    </a:lnTo>
                    <a:close/>
                  </a:path>
                </a:pathLst>
              </a:custGeom>
              <a:grpFill/>
              <a:ln w="5978" cap="flat">
                <a:noFill/>
                <a:prstDash val="solid"/>
                <a:miter/>
              </a:ln>
            </p:spPr>
            <p:txBody>
              <a:bodyPr rtlCol="0" anchor="ctr"/>
              <a:lstStyle/>
              <a:p>
                <a:endParaRPr lang="en-GB"/>
              </a:p>
            </p:txBody>
          </p:sp>
          <p:sp>
            <p:nvSpPr>
              <p:cNvPr id="2128" name="Vrije vorm: vorm 2127">
                <a:extLst>
                  <a:ext uri="{FF2B5EF4-FFF2-40B4-BE49-F238E27FC236}">
                    <a16:creationId xmlns:a16="http://schemas.microsoft.com/office/drawing/2014/main" id="{BC307170-8751-4FBE-8564-2EF428DB4BEE}"/>
                  </a:ext>
                </a:extLst>
              </p:cNvPr>
              <p:cNvSpPr/>
              <p:nvPr/>
            </p:nvSpPr>
            <p:spPr>
              <a:xfrm>
                <a:off x="4929893" y="5274958"/>
                <a:ext cx="18312" cy="18458"/>
              </a:xfrm>
              <a:custGeom>
                <a:avLst/>
                <a:gdLst>
                  <a:gd name="connsiteX0" fmla="*/ 17021 w 18312"/>
                  <a:gd name="connsiteY0" fmla="*/ 14014 h 18458"/>
                  <a:gd name="connsiteX1" fmla="*/ 4462 w 18312"/>
                  <a:gd name="connsiteY1" fmla="*/ 17124 h 18458"/>
                  <a:gd name="connsiteX2" fmla="*/ 1292 w 18312"/>
                  <a:gd name="connsiteY2" fmla="*/ 4445 h 18458"/>
                  <a:gd name="connsiteX3" fmla="*/ 13851 w 18312"/>
                  <a:gd name="connsiteY3" fmla="*/ 1335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4449" y="18380"/>
                      <a:pt x="8768" y="19755"/>
                      <a:pt x="4462" y="17124"/>
                    </a:cubicBezTo>
                    <a:cubicBezTo>
                      <a:pt x="96" y="14492"/>
                      <a:pt x="-1280" y="8811"/>
                      <a:pt x="1292" y="4445"/>
                    </a:cubicBezTo>
                    <a:cubicBezTo>
                      <a:pt x="3863" y="79"/>
                      <a:pt x="9545" y="-1297"/>
                      <a:pt x="13851" y="1335"/>
                    </a:cubicBezTo>
                    <a:cubicBezTo>
                      <a:pt x="18217" y="4026"/>
                      <a:pt x="19593" y="9648"/>
                      <a:pt x="17021" y="14014"/>
                    </a:cubicBezTo>
                    <a:close/>
                  </a:path>
                </a:pathLst>
              </a:custGeom>
              <a:grpFill/>
              <a:ln w="5978" cap="flat">
                <a:noFill/>
                <a:prstDash val="solid"/>
                <a:miter/>
              </a:ln>
            </p:spPr>
            <p:txBody>
              <a:bodyPr rtlCol="0" anchor="ctr"/>
              <a:lstStyle/>
              <a:p>
                <a:endParaRPr lang="en-GB"/>
              </a:p>
            </p:txBody>
          </p:sp>
          <p:sp>
            <p:nvSpPr>
              <p:cNvPr id="2129" name="Vrije vorm: vorm 2128">
                <a:extLst>
                  <a:ext uri="{FF2B5EF4-FFF2-40B4-BE49-F238E27FC236}">
                    <a16:creationId xmlns:a16="http://schemas.microsoft.com/office/drawing/2014/main" id="{25750979-3051-4669-BBE0-92B50D307C9A}"/>
                  </a:ext>
                </a:extLst>
              </p:cNvPr>
              <p:cNvSpPr/>
              <p:nvPr/>
            </p:nvSpPr>
            <p:spPr>
              <a:xfrm>
                <a:off x="5006240" y="5147150"/>
                <a:ext cx="18339" cy="18458"/>
              </a:xfrm>
              <a:custGeom>
                <a:avLst/>
                <a:gdLst>
                  <a:gd name="connsiteX0" fmla="*/ 17048 w 18339"/>
                  <a:gd name="connsiteY0" fmla="*/ 14014 h 18458"/>
                  <a:gd name="connsiteX1" fmla="*/ 13878 w 18339"/>
                  <a:gd name="connsiteY1" fmla="*/ 1335 h 18458"/>
                  <a:gd name="connsiteX2" fmla="*/ 1318 w 18339"/>
                  <a:gd name="connsiteY2" fmla="*/ 4444 h 18458"/>
                  <a:gd name="connsiteX3" fmla="*/ 4488 w 18339"/>
                  <a:gd name="connsiteY3" fmla="*/ 17124 h 18458"/>
                  <a:gd name="connsiteX4" fmla="*/ 17048 w 18339"/>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8">
                    <a:moveTo>
                      <a:pt x="17048" y="14014"/>
                    </a:moveTo>
                    <a:cubicBezTo>
                      <a:pt x="19619" y="9648"/>
                      <a:pt x="18244" y="3966"/>
                      <a:pt x="13878" y="1335"/>
                    </a:cubicBezTo>
                    <a:cubicBezTo>
                      <a:pt x="9512" y="-1297"/>
                      <a:pt x="3890" y="79"/>
                      <a:pt x="1318" y="4444"/>
                    </a:cubicBezTo>
                    <a:cubicBezTo>
                      <a:pt x="-1313" y="8811"/>
                      <a:pt x="122" y="14492"/>
                      <a:pt x="4488" y="17124"/>
                    </a:cubicBezTo>
                    <a:cubicBezTo>
                      <a:pt x="8854" y="19755"/>
                      <a:pt x="14476" y="18380"/>
                      <a:pt x="17048" y="14014"/>
                    </a:cubicBezTo>
                    <a:close/>
                  </a:path>
                </a:pathLst>
              </a:custGeom>
              <a:grpFill/>
              <a:ln w="5978" cap="flat">
                <a:noFill/>
                <a:prstDash val="solid"/>
                <a:miter/>
              </a:ln>
            </p:spPr>
            <p:txBody>
              <a:bodyPr rtlCol="0" anchor="ctr"/>
              <a:lstStyle/>
              <a:p>
                <a:endParaRPr lang="en-GB"/>
              </a:p>
            </p:txBody>
          </p:sp>
        </p:grpSp>
        <p:grpSp>
          <p:nvGrpSpPr>
            <p:cNvPr id="1092" name="Graphic 3">
              <a:extLst>
                <a:ext uri="{FF2B5EF4-FFF2-40B4-BE49-F238E27FC236}">
                  <a16:creationId xmlns:a16="http://schemas.microsoft.com/office/drawing/2014/main" id="{2F50E19A-668B-4121-AF6D-12224D91965A}"/>
                </a:ext>
              </a:extLst>
            </p:cNvPr>
            <p:cNvGrpSpPr/>
            <p:nvPr/>
          </p:nvGrpSpPr>
          <p:grpSpPr>
            <a:xfrm>
              <a:off x="4725305" y="4797912"/>
              <a:ext cx="397843" cy="504881"/>
              <a:chOff x="4725305" y="4797912"/>
              <a:chExt cx="397843" cy="504881"/>
            </a:xfrm>
            <a:grpFill/>
          </p:grpSpPr>
          <p:sp>
            <p:nvSpPr>
              <p:cNvPr id="2124" name="Vrije vorm: vorm 2123">
                <a:extLst>
                  <a:ext uri="{FF2B5EF4-FFF2-40B4-BE49-F238E27FC236}">
                    <a16:creationId xmlns:a16="http://schemas.microsoft.com/office/drawing/2014/main" id="{E179C035-9127-453E-86DA-D4BD0AE1FB17}"/>
                  </a:ext>
                </a:extLst>
              </p:cNvPr>
              <p:cNvSpPr/>
              <p:nvPr/>
            </p:nvSpPr>
            <p:spPr>
              <a:xfrm>
                <a:off x="4732983" y="4805849"/>
                <a:ext cx="382467" cy="489043"/>
              </a:xfrm>
              <a:custGeom>
                <a:avLst/>
                <a:gdLst>
                  <a:gd name="connsiteX0" fmla="*/ 382467 w 382467"/>
                  <a:gd name="connsiteY0" fmla="*/ 1914 h 489043"/>
                  <a:gd name="connsiteX1" fmla="*/ 2392 w 382467"/>
                  <a:gd name="connsiteY1" fmla="*/ 489044 h 489043"/>
                  <a:gd name="connsiteX2" fmla="*/ 0 w 382467"/>
                  <a:gd name="connsiteY2" fmla="*/ 487130 h 489043"/>
                  <a:gd name="connsiteX3" fmla="*/ 380075 w 382467"/>
                  <a:gd name="connsiteY3" fmla="*/ 0 h 489043"/>
                </a:gdLst>
                <a:ahLst/>
                <a:cxnLst>
                  <a:cxn ang="0">
                    <a:pos x="connsiteX0" y="connsiteY0"/>
                  </a:cxn>
                  <a:cxn ang="0">
                    <a:pos x="connsiteX1" y="connsiteY1"/>
                  </a:cxn>
                  <a:cxn ang="0">
                    <a:pos x="connsiteX2" y="connsiteY2"/>
                  </a:cxn>
                  <a:cxn ang="0">
                    <a:pos x="connsiteX3" y="connsiteY3"/>
                  </a:cxn>
                </a:cxnLst>
                <a:rect l="l" t="t" r="r" b="b"/>
                <a:pathLst>
                  <a:path w="382467" h="489043">
                    <a:moveTo>
                      <a:pt x="382467" y="1914"/>
                    </a:moveTo>
                    <a:lnTo>
                      <a:pt x="2392" y="489044"/>
                    </a:lnTo>
                    <a:lnTo>
                      <a:pt x="0" y="487130"/>
                    </a:lnTo>
                    <a:lnTo>
                      <a:pt x="380075" y="0"/>
                    </a:lnTo>
                    <a:close/>
                  </a:path>
                </a:pathLst>
              </a:custGeom>
              <a:grpFill/>
              <a:ln w="5978" cap="flat">
                <a:noFill/>
                <a:prstDash val="solid"/>
                <a:miter/>
              </a:ln>
            </p:spPr>
            <p:txBody>
              <a:bodyPr rtlCol="0" anchor="ctr"/>
              <a:lstStyle/>
              <a:p>
                <a:endParaRPr lang="en-GB"/>
              </a:p>
            </p:txBody>
          </p:sp>
          <p:sp>
            <p:nvSpPr>
              <p:cNvPr id="2125" name="Vrije vorm: vorm 2124">
                <a:extLst>
                  <a:ext uri="{FF2B5EF4-FFF2-40B4-BE49-F238E27FC236}">
                    <a16:creationId xmlns:a16="http://schemas.microsoft.com/office/drawing/2014/main" id="{177A4BCC-1FDD-4CB9-A7D2-95D0FD94790D}"/>
                  </a:ext>
                </a:extLst>
              </p:cNvPr>
              <p:cNvSpPr/>
              <p:nvPr/>
            </p:nvSpPr>
            <p:spPr>
              <a:xfrm>
                <a:off x="5104841" y="4797912"/>
                <a:ext cx="18306" cy="18384"/>
              </a:xfrm>
              <a:custGeom>
                <a:avLst/>
                <a:gdLst>
                  <a:gd name="connsiteX0" fmla="*/ 1937 w 18306"/>
                  <a:gd name="connsiteY0" fmla="*/ 3511 h 18384"/>
                  <a:gd name="connsiteX1" fmla="*/ 14796 w 18306"/>
                  <a:gd name="connsiteY1" fmla="*/ 1956 h 18384"/>
                  <a:gd name="connsiteX2" fmla="*/ 16351 w 18306"/>
                  <a:gd name="connsiteY2" fmla="*/ 14874 h 18384"/>
                  <a:gd name="connsiteX3" fmla="*/ 3492 w 18306"/>
                  <a:gd name="connsiteY3" fmla="*/ 16429 h 18384"/>
                  <a:gd name="connsiteX4" fmla="*/ 1937 w 18306"/>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84">
                    <a:moveTo>
                      <a:pt x="1937" y="3511"/>
                    </a:moveTo>
                    <a:cubicBezTo>
                      <a:pt x="5047" y="-496"/>
                      <a:pt x="10789" y="-1154"/>
                      <a:pt x="14796" y="1956"/>
                    </a:cubicBezTo>
                    <a:cubicBezTo>
                      <a:pt x="18803" y="5126"/>
                      <a:pt x="19461" y="10927"/>
                      <a:pt x="16351" y="14874"/>
                    </a:cubicBezTo>
                    <a:cubicBezTo>
                      <a:pt x="13241" y="18881"/>
                      <a:pt x="7499" y="19539"/>
                      <a:pt x="3492" y="16429"/>
                    </a:cubicBezTo>
                    <a:cubicBezTo>
                      <a:pt x="-455" y="13319"/>
                      <a:pt x="-1173" y="7518"/>
                      <a:pt x="1937" y="3511"/>
                    </a:cubicBezTo>
                    <a:close/>
                  </a:path>
                </a:pathLst>
              </a:custGeom>
              <a:grpFill/>
              <a:ln w="5978" cap="flat">
                <a:noFill/>
                <a:prstDash val="solid"/>
                <a:miter/>
              </a:ln>
            </p:spPr>
            <p:txBody>
              <a:bodyPr rtlCol="0" anchor="ctr"/>
              <a:lstStyle/>
              <a:p>
                <a:endParaRPr lang="en-GB"/>
              </a:p>
            </p:txBody>
          </p:sp>
          <p:sp>
            <p:nvSpPr>
              <p:cNvPr id="2126" name="Vrije vorm: vorm 2125">
                <a:extLst>
                  <a:ext uri="{FF2B5EF4-FFF2-40B4-BE49-F238E27FC236}">
                    <a16:creationId xmlns:a16="http://schemas.microsoft.com/office/drawing/2014/main" id="{A67657AB-1C6B-4CB7-8200-550C607DA867}"/>
                  </a:ext>
                </a:extLst>
              </p:cNvPr>
              <p:cNvSpPr/>
              <p:nvPr/>
            </p:nvSpPr>
            <p:spPr>
              <a:xfrm>
                <a:off x="4725305" y="5284384"/>
                <a:ext cx="18288" cy="18410"/>
              </a:xfrm>
              <a:custGeom>
                <a:avLst/>
                <a:gdLst>
                  <a:gd name="connsiteX0" fmla="*/ 1937 w 18288"/>
                  <a:gd name="connsiteY0" fmla="*/ 3511 h 18410"/>
                  <a:gd name="connsiteX1" fmla="*/ 3492 w 18288"/>
                  <a:gd name="connsiteY1" fmla="*/ 16429 h 18410"/>
                  <a:gd name="connsiteX2" fmla="*/ 16351 w 18288"/>
                  <a:gd name="connsiteY2" fmla="*/ 14874 h 18410"/>
                  <a:gd name="connsiteX3" fmla="*/ 14796 w 18288"/>
                  <a:gd name="connsiteY3" fmla="*/ 1956 h 18410"/>
                  <a:gd name="connsiteX4" fmla="*/ 1937 w 18288"/>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10">
                    <a:moveTo>
                      <a:pt x="1937" y="3511"/>
                    </a:moveTo>
                    <a:cubicBezTo>
                      <a:pt x="-1173" y="7518"/>
                      <a:pt x="-455" y="13319"/>
                      <a:pt x="3492" y="16429"/>
                    </a:cubicBezTo>
                    <a:cubicBezTo>
                      <a:pt x="7499" y="19599"/>
                      <a:pt x="13241" y="18881"/>
                      <a:pt x="16351" y="14874"/>
                    </a:cubicBezTo>
                    <a:cubicBezTo>
                      <a:pt x="19461" y="10867"/>
                      <a:pt x="18743" y="5066"/>
                      <a:pt x="14796" y="1956"/>
                    </a:cubicBezTo>
                    <a:cubicBezTo>
                      <a:pt x="10849" y="-1154"/>
                      <a:pt x="5047" y="-496"/>
                      <a:pt x="1937" y="3511"/>
                    </a:cubicBezTo>
                    <a:close/>
                  </a:path>
                </a:pathLst>
              </a:custGeom>
              <a:grpFill/>
              <a:ln w="5978" cap="flat">
                <a:noFill/>
                <a:prstDash val="solid"/>
                <a:miter/>
              </a:ln>
            </p:spPr>
            <p:txBody>
              <a:bodyPr rtlCol="0" anchor="ctr"/>
              <a:lstStyle/>
              <a:p>
                <a:endParaRPr lang="en-GB"/>
              </a:p>
            </p:txBody>
          </p:sp>
        </p:grpSp>
        <p:grpSp>
          <p:nvGrpSpPr>
            <p:cNvPr id="1093" name="Graphic 3">
              <a:extLst>
                <a:ext uri="{FF2B5EF4-FFF2-40B4-BE49-F238E27FC236}">
                  <a16:creationId xmlns:a16="http://schemas.microsoft.com/office/drawing/2014/main" id="{AC57E98D-148F-4C2F-9FFB-633D48AB12A7}"/>
                </a:ext>
              </a:extLst>
            </p:cNvPr>
            <p:cNvGrpSpPr/>
            <p:nvPr/>
          </p:nvGrpSpPr>
          <p:grpSpPr>
            <a:xfrm>
              <a:off x="4266045" y="3276607"/>
              <a:ext cx="126000" cy="26370"/>
              <a:chOff x="4266045" y="3276607"/>
              <a:chExt cx="126000" cy="26370"/>
            </a:xfrm>
            <a:grpFill/>
          </p:grpSpPr>
          <p:sp>
            <p:nvSpPr>
              <p:cNvPr id="2121" name="Vrije vorm: vorm 2120">
                <a:extLst>
                  <a:ext uri="{FF2B5EF4-FFF2-40B4-BE49-F238E27FC236}">
                    <a16:creationId xmlns:a16="http://schemas.microsoft.com/office/drawing/2014/main" id="{CDEE52E4-A28D-4012-8C9E-1C5474E2B777}"/>
                  </a:ext>
                </a:extLst>
              </p:cNvPr>
              <p:cNvSpPr/>
              <p:nvPr/>
            </p:nvSpPr>
            <p:spPr>
              <a:xfrm>
                <a:off x="4274621" y="3284293"/>
                <a:ext cx="108848" cy="11064"/>
              </a:xfrm>
              <a:custGeom>
                <a:avLst/>
                <a:gdLst>
                  <a:gd name="connsiteX0" fmla="*/ 108849 w 108848"/>
                  <a:gd name="connsiteY0" fmla="*/ 8014 h 11064"/>
                  <a:gd name="connsiteX1" fmla="*/ 108670 w 108848"/>
                  <a:gd name="connsiteY1" fmla="*/ 11064 h 11064"/>
                  <a:gd name="connsiteX2" fmla="*/ 0 w 108848"/>
                  <a:gd name="connsiteY2" fmla="*/ 3050 h 11064"/>
                  <a:gd name="connsiteX3" fmla="*/ 239 w 108848"/>
                  <a:gd name="connsiteY3" fmla="*/ 0 h 11064"/>
                </a:gdLst>
                <a:ahLst/>
                <a:cxnLst>
                  <a:cxn ang="0">
                    <a:pos x="connsiteX0" y="connsiteY0"/>
                  </a:cxn>
                  <a:cxn ang="0">
                    <a:pos x="connsiteX1" y="connsiteY1"/>
                  </a:cxn>
                  <a:cxn ang="0">
                    <a:pos x="connsiteX2" y="connsiteY2"/>
                  </a:cxn>
                  <a:cxn ang="0">
                    <a:pos x="connsiteX3" y="connsiteY3"/>
                  </a:cxn>
                </a:cxnLst>
                <a:rect l="l" t="t" r="r" b="b"/>
                <a:pathLst>
                  <a:path w="108848" h="11064">
                    <a:moveTo>
                      <a:pt x="108849" y="8014"/>
                    </a:moveTo>
                    <a:lnTo>
                      <a:pt x="108670" y="11064"/>
                    </a:lnTo>
                    <a:lnTo>
                      <a:pt x="0" y="3050"/>
                    </a:lnTo>
                    <a:lnTo>
                      <a:pt x="239" y="0"/>
                    </a:lnTo>
                    <a:close/>
                  </a:path>
                </a:pathLst>
              </a:custGeom>
              <a:grpFill/>
              <a:ln w="5978" cap="flat">
                <a:noFill/>
                <a:prstDash val="solid"/>
                <a:miter/>
              </a:ln>
            </p:spPr>
            <p:txBody>
              <a:bodyPr rtlCol="0" anchor="ctr"/>
              <a:lstStyle/>
              <a:p>
                <a:endParaRPr lang="en-GB"/>
              </a:p>
            </p:txBody>
          </p:sp>
          <p:sp>
            <p:nvSpPr>
              <p:cNvPr id="2122" name="Vrije vorm: vorm 2121">
                <a:extLst>
                  <a:ext uri="{FF2B5EF4-FFF2-40B4-BE49-F238E27FC236}">
                    <a16:creationId xmlns:a16="http://schemas.microsoft.com/office/drawing/2014/main" id="{8782C40E-067B-41C0-AF1E-F7AF837BFB99}"/>
                  </a:ext>
                </a:extLst>
              </p:cNvPr>
              <p:cNvSpPr/>
              <p:nvPr/>
            </p:nvSpPr>
            <p:spPr>
              <a:xfrm>
                <a:off x="4266045" y="3276607"/>
                <a:ext cx="18288" cy="18423"/>
              </a:xfrm>
              <a:custGeom>
                <a:avLst/>
                <a:gdLst>
                  <a:gd name="connsiteX0" fmla="*/ 8516 w 18288"/>
                  <a:gd name="connsiteY0" fmla="*/ 18392 h 18423"/>
                  <a:gd name="connsiteX1" fmla="*/ 23 w 18288"/>
                  <a:gd name="connsiteY1" fmla="*/ 8524 h 18423"/>
                  <a:gd name="connsiteX2" fmla="*/ 9772 w 18288"/>
                  <a:gd name="connsiteY2" fmla="*/ 31 h 18423"/>
                  <a:gd name="connsiteX3" fmla="*/ 18265 w 18288"/>
                  <a:gd name="connsiteY3" fmla="*/ 9899 h 18423"/>
                  <a:gd name="connsiteX4" fmla="*/ 8516 w 18288"/>
                  <a:gd name="connsiteY4" fmla="*/ 183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3">
                    <a:moveTo>
                      <a:pt x="8516" y="18392"/>
                    </a:moveTo>
                    <a:cubicBezTo>
                      <a:pt x="3492" y="18033"/>
                      <a:pt x="-336" y="13608"/>
                      <a:pt x="23" y="8524"/>
                    </a:cubicBezTo>
                    <a:cubicBezTo>
                      <a:pt x="382" y="3440"/>
                      <a:pt x="4748" y="-387"/>
                      <a:pt x="9772" y="31"/>
                    </a:cubicBezTo>
                    <a:cubicBezTo>
                      <a:pt x="14796" y="390"/>
                      <a:pt x="18624" y="4816"/>
                      <a:pt x="18265" y="9899"/>
                    </a:cubicBezTo>
                    <a:cubicBezTo>
                      <a:pt x="17965" y="14983"/>
                      <a:pt x="13540" y="18811"/>
                      <a:pt x="8516" y="18392"/>
                    </a:cubicBezTo>
                    <a:close/>
                  </a:path>
                </a:pathLst>
              </a:custGeom>
              <a:grpFill/>
              <a:ln w="5978" cap="flat">
                <a:noFill/>
                <a:prstDash val="solid"/>
                <a:miter/>
              </a:ln>
            </p:spPr>
            <p:txBody>
              <a:bodyPr rtlCol="0" anchor="ctr"/>
              <a:lstStyle/>
              <a:p>
                <a:endParaRPr lang="en-GB"/>
              </a:p>
            </p:txBody>
          </p:sp>
          <p:sp>
            <p:nvSpPr>
              <p:cNvPr id="2123" name="Vrije vorm: vorm 2122">
                <a:extLst>
                  <a:ext uri="{FF2B5EF4-FFF2-40B4-BE49-F238E27FC236}">
                    <a16:creationId xmlns:a16="http://schemas.microsoft.com/office/drawing/2014/main" id="{415E21EE-E69A-4CA4-BE40-6E4BFEC58474}"/>
                  </a:ext>
                </a:extLst>
              </p:cNvPr>
              <p:cNvSpPr/>
              <p:nvPr/>
            </p:nvSpPr>
            <p:spPr>
              <a:xfrm>
                <a:off x="4373758" y="3284569"/>
                <a:ext cx="18287" cy="18407"/>
              </a:xfrm>
              <a:custGeom>
                <a:avLst/>
                <a:gdLst>
                  <a:gd name="connsiteX0" fmla="*/ 8516 w 18287"/>
                  <a:gd name="connsiteY0" fmla="*/ 18384 h 18407"/>
                  <a:gd name="connsiteX1" fmla="*/ 18264 w 18287"/>
                  <a:gd name="connsiteY1" fmla="*/ 9892 h 18407"/>
                  <a:gd name="connsiteX2" fmla="*/ 9772 w 18287"/>
                  <a:gd name="connsiteY2" fmla="*/ 23 h 18407"/>
                  <a:gd name="connsiteX3" fmla="*/ 23 w 18287"/>
                  <a:gd name="connsiteY3" fmla="*/ 8516 h 18407"/>
                  <a:gd name="connsiteX4" fmla="*/ 8516 w 18287"/>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07">
                    <a:moveTo>
                      <a:pt x="8516" y="18384"/>
                    </a:moveTo>
                    <a:cubicBezTo>
                      <a:pt x="13540" y="18743"/>
                      <a:pt x="17965" y="14975"/>
                      <a:pt x="18264" y="9892"/>
                    </a:cubicBezTo>
                    <a:cubicBezTo>
                      <a:pt x="18623" y="4808"/>
                      <a:pt x="14796" y="382"/>
                      <a:pt x="9772" y="23"/>
                    </a:cubicBezTo>
                    <a:cubicBezTo>
                      <a:pt x="4748" y="-336"/>
                      <a:pt x="322" y="3492"/>
                      <a:pt x="23" y="8516"/>
                    </a:cubicBezTo>
                    <a:cubicBezTo>
                      <a:pt x="-336" y="13600"/>
                      <a:pt x="3492" y="18025"/>
                      <a:pt x="8516" y="18384"/>
                    </a:cubicBezTo>
                    <a:close/>
                  </a:path>
                </a:pathLst>
              </a:custGeom>
              <a:grpFill/>
              <a:ln w="5978" cap="flat">
                <a:noFill/>
                <a:prstDash val="solid"/>
                <a:miter/>
              </a:ln>
            </p:spPr>
            <p:txBody>
              <a:bodyPr rtlCol="0" anchor="ctr"/>
              <a:lstStyle/>
              <a:p>
                <a:endParaRPr lang="en-GB"/>
              </a:p>
            </p:txBody>
          </p:sp>
        </p:grpSp>
        <p:grpSp>
          <p:nvGrpSpPr>
            <p:cNvPr id="1094" name="Graphic 3">
              <a:extLst>
                <a:ext uri="{FF2B5EF4-FFF2-40B4-BE49-F238E27FC236}">
                  <a16:creationId xmlns:a16="http://schemas.microsoft.com/office/drawing/2014/main" id="{F8F67102-49D7-434C-A2A0-7AF1B630BBD4}"/>
                </a:ext>
              </a:extLst>
            </p:cNvPr>
            <p:cNvGrpSpPr/>
            <p:nvPr/>
          </p:nvGrpSpPr>
          <p:grpSpPr>
            <a:xfrm>
              <a:off x="4706553" y="4811906"/>
              <a:ext cx="444956" cy="595047"/>
              <a:chOff x="4706553" y="4811906"/>
              <a:chExt cx="444956" cy="595047"/>
            </a:xfrm>
            <a:grpFill/>
          </p:grpSpPr>
          <p:sp>
            <p:nvSpPr>
              <p:cNvPr id="2118" name="Vrije vorm: vorm 2117">
                <a:extLst>
                  <a:ext uri="{FF2B5EF4-FFF2-40B4-BE49-F238E27FC236}">
                    <a16:creationId xmlns:a16="http://schemas.microsoft.com/office/drawing/2014/main" id="{D7FB3904-9D4F-4857-BAFF-9E00DD46345A}"/>
                  </a:ext>
                </a:extLst>
              </p:cNvPr>
              <p:cNvSpPr/>
              <p:nvPr/>
            </p:nvSpPr>
            <p:spPr>
              <a:xfrm>
                <a:off x="4714204" y="4819844"/>
                <a:ext cx="429654" cy="579173"/>
              </a:xfrm>
              <a:custGeom>
                <a:avLst/>
                <a:gdLst>
                  <a:gd name="connsiteX0" fmla="*/ 429655 w 429654"/>
                  <a:gd name="connsiteY0" fmla="*/ 1854 h 579173"/>
                  <a:gd name="connsiteX1" fmla="*/ 2452 w 429654"/>
                  <a:gd name="connsiteY1" fmla="*/ 579173 h 579173"/>
                  <a:gd name="connsiteX2" fmla="*/ 0 w 429654"/>
                  <a:gd name="connsiteY2" fmla="*/ 577319 h 579173"/>
                  <a:gd name="connsiteX3" fmla="*/ 427203 w 429654"/>
                  <a:gd name="connsiteY3" fmla="*/ 0 h 579173"/>
                </a:gdLst>
                <a:ahLst/>
                <a:cxnLst>
                  <a:cxn ang="0">
                    <a:pos x="connsiteX0" y="connsiteY0"/>
                  </a:cxn>
                  <a:cxn ang="0">
                    <a:pos x="connsiteX1" y="connsiteY1"/>
                  </a:cxn>
                  <a:cxn ang="0">
                    <a:pos x="connsiteX2" y="connsiteY2"/>
                  </a:cxn>
                  <a:cxn ang="0">
                    <a:pos x="connsiteX3" y="connsiteY3"/>
                  </a:cxn>
                </a:cxnLst>
                <a:rect l="l" t="t" r="r" b="b"/>
                <a:pathLst>
                  <a:path w="429654" h="579173">
                    <a:moveTo>
                      <a:pt x="429655" y="1854"/>
                    </a:moveTo>
                    <a:lnTo>
                      <a:pt x="2452" y="579173"/>
                    </a:lnTo>
                    <a:lnTo>
                      <a:pt x="0" y="577319"/>
                    </a:lnTo>
                    <a:lnTo>
                      <a:pt x="427203" y="0"/>
                    </a:lnTo>
                    <a:close/>
                  </a:path>
                </a:pathLst>
              </a:custGeom>
              <a:grpFill/>
              <a:ln w="5978" cap="flat">
                <a:noFill/>
                <a:prstDash val="solid"/>
                <a:miter/>
              </a:ln>
            </p:spPr>
            <p:txBody>
              <a:bodyPr rtlCol="0" anchor="ctr"/>
              <a:lstStyle/>
              <a:p>
                <a:endParaRPr lang="en-GB"/>
              </a:p>
            </p:txBody>
          </p:sp>
          <p:sp>
            <p:nvSpPr>
              <p:cNvPr id="2119" name="Vrije vorm: vorm 2118">
                <a:extLst>
                  <a:ext uri="{FF2B5EF4-FFF2-40B4-BE49-F238E27FC236}">
                    <a16:creationId xmlns:a16="http://schemas.microsoft.com/office/drawing/2014/main" id="{19D8447F-18EA-4987-B8B0-E4BD0C5D2A34}"/>
                  </a:ext>
                </a:extLst>
              </p:cNvPr>
              <p:cNvSpPr/>
              <p:nvPr/>
            </p:nvSpPr>
            <p:spPr>
              <a:xfrm>
                <a:off x="5133218" y="4811906"/>
                <a:ext cx="18291" cy="18446"/>
              </a:xfrm>
              <a:custGeom>
                <a:avLst/>
                <a:gdLst>
                  <a:gd name="connsiteX0" fmla="*/ 1790 w 18291"/>
                  <a:gd name="connsiteY0" fmla="*/ 3691 h 18446"/>
                  <a:gd name="connsiteX1" fmla="*/ 14588 w 18291"/>
                  <a:gd name="connsiteY1" fmla="*/ 1837 h 18446"/>
                  <a:gd name="connsiteX2" fmla="*/ 16502 w 18291"/>
                  <a:gd name="connsiteY2" fmla="*/ 14755 h 18446"/>
                  <a:gd name="connsiteX3" fmla="*/ 3703 w 18291"/>
                  <a:gd name="connsiteY3" fmla="*/ 16609 h 18446"/>
                  <a:gd name="connsiteX4" fmla="*/ 1790 w 18291"/>
                  <a:gd name="connsiteY4" fmla="*/ 3691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6">
                    <a:moveTo>
                      <a:pt x="1790" y="3691"/>
                    </a:moveTo>
                    <a:cubicBezTo>
                      <a:pt x="4780" y="-376"/>
                      <a:pt x="10521" y="-1213"/>
                      <a:pt x="14588" y="1837"/>
                    </a:cubicBezTo>
                    <a:cubicBezTo>
                      <a:pt x="18655" y="4887"/>
                      <a:pt x="19492" y="10629"/>
                      <a:pt x="16502" y="14755"/>
                    </a:cubicBezTo>
                    <a:cubicBezTo>
                      <a:pt x="13512" y="18822"/>
                      <a:pt x="7770" y="19660"/>
                      <a:pt x="3703" y="16609"/>
                    </a:cubicBezTo>
                    <a:cubicBezTo>
                      <a:pt x="-363" y="13559"/>
                      <a:pt x="-1201" y="7758"/>
                      <a:pt x="1790" y="3691"/>
                    </a:cubicBezTo>
                    <a:close/>
                  </a:path>
                </a:pathLst>
              </a:custGeom>
              <a:grpFill/>
              <a:ln w="5978" cap="flat">
                <a:noFill/>
                <a:prstDash val="solid"/>
                <a:miter/>
              </a:ln>
            </p:spPr>
            <p:txBody>
              <a:bodyPr rtlCol="0" anchor="ctr"/>
              <a:lstStyle/>
              <a:p>
                <a:endParaRPr lang="en-GB"/>
              </a:p>
            </p:txBody>
          </p:sp>
          <p:sp>
            <p:nvSpPr>
              <p:cNvPr id="2120" name="Vrije vorm: vorm 2119">
                <a:extLst>
                  <a:ext uri="{FF2B5EF4-FFF2-40B4-BE49-F238E27FC236}">
                    <a16:creationId xmlns:a16="http://schemas.microsoft.com/office/drawing/2014/main" id="{7C55737E-1426-4499-B9C0-DADBDA8210A3}"/>
                  </a:ext>
                </a:extLst>
              </p:cNvPr>
              <p:cNvSpPr/>
              <p:nvPr/>
            </p:nvSpPr>
            <p:spPr>
              <a:xfrm>
                <a:off x="4706553" y="5388508"/>
                <a:ext cx="18291" cy="18445"/>
              </a:xfrm>
              <a:custGeom>
                <a:avLst/>
                <a:gdLst>
                  <a:gd name="connsiteX0" fmla="*/ 1790 w 18291"/>
                  <a:gd name="connsiteY0" fmla="*/ 3691 h 18445"/>
                  <a:gd name="connsiteX1" fmla="*/ 3703 w 18291"/>
                  <a:gd name="connsiteY1" fmla="*/ 16609 h 18445"/>
                  <a:gd name="connsiteX2" fmla="*/ 16502 w 18291"/>
                  <a:gd name="connsiteY2" fmla="*/ 14755 h 18445"/>
                  <a:gd name="connsiteX3" fmla="*/ 14588 w 18291"/>
                  <a:gd name="connsiteY3" fmla="*/ 1837 h 18445"/>
                  <a:gd name="connsiteX4" fmla="*/ 1790 w 18291"/>
                  <a:gd name="connsiteY4" fmla="*/ 369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790" y="3691"/>
                    </a:moveTo>
                    <a:cubicBezTo>
                      <a:pt x="-1201" y="7758"/>
                      <a:pt x="-363" y="13559"/>
                      <a:pt x="3703" y="16609"/>
                    </a:cubicBezTo>
                    <a:cubicBezTo>
                      <a:pt x="7770" y="19659"/>
                      <a:pt x="13512" y="18822"/>
                      <a:pt x="16502" y="14755"/>
                    </a:cubicBezTo>
                    <a:cubicBezTo>
                      <a:pt x="19493" y="10688"/>
                      <a:pt x="18655" y="4887"/>
                      <a:pt x="14588" y="1837"/>
                    </a:cubicBezTo>
                    <a:cubicBezTo>
                      <a:pt x="10522" y="-1213"/>
                      <a:pt x="4780" y="-376"/>
                      <a:pt x="1790" y="3691"/>
                    </a:cubicBezTo>
                    <a:close/>
                  </a:path>
                </a:pathLst>
              </a:custGeom>
              <a:grpFill/>
              <a:ln w="5978" cap="flat">
                <a:noFill/>
                <a:prstDash val="solid"/>
                <a:miter/>
              </a:ln>
            </p:spPr>
            <p:txBody>
              <a:bodyPr rtlCol="0" anchor="ctr"/>
              <a:lstStyle/>
              <a:p>
                <a:endParaRPr lang="en-GB"/>
              </a:p>
            </p:txBody>
          </p:sp>
        </p:grpSp>
        <p:grpSp>
          <p:nvGrpSpPr>
            <p:cNvPr id="1095" name="Graphic 3">
              <a:extLst>
                <a:ext uri="{FF2B5EF4-FFF2-40B4-BE49-F238E27FC236}">
                  <a16:creationId xmlns:a16="http://schemas.microsoft.com/office/drawing/2014/main" id="{89163C36-9874-46FC-B081-511E5FF8E6DE}"/>
                </a:ext>
              </a:extLst>
            </p:cNvPr>
            <p:cNvGrpSpPr/>
            <p:nvPr/>
          </p:nvGrpSpPr>
          <p:grpSpPr>
            <a:xfrm>
              <a:off x="4069057" y="2634721"/>
              <a:ext cx="80931" cy="42925"/>
              <a:chOff x="4069057" y="2634721"/>
              <a:chExt cx="80931" cy="42925"/>
            </a:xfrm>
            <a:grpFill/>
          </p:grpSpPr>
          <p:sp>
            <p:nvSpPr>
              <p:cNvPr id="2115" name="Vrije vorm: vorm 2114">
                <a:extLst>
                  <a:ext uri="{FF2B5EF4-FFF2-40B4-BE49-F238E27FC236}">
                    <a16:creationId xmlns:a16="http://schemas.microsoft.com/office/drawing/2014/main" id="{71063318-128A-411B-82E3-9EEFBF57BB6B}"/>
                  </a:ext>
                </a:extLst>
              </p:cNvPr>
              <p:cNvSpPr/>
              <p:nvPr/>
            </p:nvSpPr>
            <p:spPr>
              <a:xfrm>
                <a:off x="4077257" y="2642323"/>
                <a:ext cx="64591" cy="27690"/>
              </a:xfrm>
              <a:custGeom>
                <a:avLst/>
                <a:gdLst>
                  <a:gd name="connsiteX0" fmla="*/ 64592 w 64591"/>
                  <a:gd name="connsiteY0" fmla="*/ 24880 h 27690"/>
                  <a:gd name="connsiteX1" fmla="*/ 63455 w 64591"/>
                  <a:gd name="connsiteY1" fmla="*/ 27691 h 27690"/>
                  <a:gd name="connsiteX2" fmla="*/ 0 w 64591"/>
                  <a:gd name="connsiteY2" fmla="*/ 2871 h 27690"/>
                  <a:gd name="connsiteX3" fmla="*/ 1076 w 64591"/>
                  <a:gd name="connsiteY3" fmla="*/ 0 h 27690"/>
                </a:gdLst>
                <a:ahLst/>
                <a:cxnLst>
                  <a:cxn ang="0">
                    <a:pos x="connsiteX0" y="connsiteY0"/>
                  </a:cxn>
                  <a:cxn ang="0">
                    <a:pos x="connsiteX1" y="connsiteY1"/>
                  </a:cxn>
                  <a:cxn ang="0">
                    <a:pos x="connsiteX2" y="connsiteY2"/>
                  </a:cxn>
                  <a:cxn ang="0">
                    <a:pos x="connsiteX3" y="connsiteY3"/>
                  </a:cxn>
                </a:cxnLst>
                <a:rect l="l" t="t" r="r" b="b"/>
                <a:pathLst>
                  <a:path w="64591" h="27690">
                    <a:moveTo>
                      <a:pt x="64592" y="24880"/>
                    </a:moveTo>
                    <a:lnTo>
                      <a:pt x="63455" y="27691"/>
                    </a:lnTo>
                    <a:lnTo>
                      <a:pt x="0" y="2871"/>
                    </a:lnTo>
                    <a:lnTo>
                      <a:pt x="1076" y="0"/>
                    </a:lnTo>
                    <a:close/>
                  </a:path>
                </a:pathLst>
              </a:custGeom>
              <a:grpFill/>
              <a:ln w="5978" cap="flat">
                <a:noFill/>
                <a:prstDash val="solid"/>
                <a:miter/>
              </a:ln>
            </p:spPr>
            <p:txBody>
              <a:bodyPr rtlCol="0" anchor="ctr"/>
              <a:lstStyle/>
              <a:p>
                <a:endParaRPr lang="en-GB"/>
              </a:p>
            </p:txBody>
          </p:sp>
          <p:sp>
            <p:nvSpPr>
              <p:cNvPr id="2116" name="Vrije vorm: vorm 2115">
                <a:extLst>
                  <a:ext uri="{FF2B5EF4-FFF2-40B4-BE49-F238E27FC236}">
                    <a16:creationId xmlns:a16="http://schemas.microsoft.com/office/drawing/2014/main" id="{67739BD1-FD80-4FDA-940F-F4AB212FADEE}"/>
                  </a:ext>
                </a:extLst>
              </p:cNvPr>
              <p:cNvSpPr/>
              <p:nvPr/>
            </p:nvSpPr>
            <p:spPr>
              <a:xfrm>
                <a:off x="4069057" y="2634721"/>
                <a:ext cx="18313" cy="18404"/>
              </a:xfrm>
              <a:custGeom>
                <a:avLst/>
                <a:gdLst>
                  <a:gd name="connsiteX0" fmla="*/ 5867 w 18313"/>
                  <a:gd name="connsiteY0" fmla="*/ 17769 h 18404"/>
                  <a:gd name="connsiteX1" fmla="*/ 604 w 18313"/>
                  <a:gd name="connsiteY1" fmla="*/ 5867 h 18404"/>
                  <a:gd name="connsiteX2" fmla="*/ 12446 w 18313"/>
                  <a:gd name="connsiteY2" fmla="*/ 604 h 18404"/>
                  <a:gd name="connsiteX3" fmla="*/ 17709 w 18313"/>
                  <a:gd name="connsiteY3" fmla="*/ 12506 h 18404"/>
                  <a:gd name="connsiteX4" fmla="*/ 5867 w 18313"/>
                  <a:gd name="connsiteY4" fmla="*/ 1776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5867" y="17769"/>
                    </a:moveTo>
                    <a:cubicBezTo>
                      <a:pt x="1142" y="15915"/>
                      <a:pt x="-1190" y="10592"/>
                      <a:pt x="604" y="5867"/>
                    </a:cubicBezTo>
                    <a:cubicBezTo>
                      <a:pt x="2398" y="1142"/>
                      <a:pt x="7721" y="-1190"/>
                      <a:pt x="12446" y="604"/>
                    </a:cubicBezTo>
                    <a:cubicBezTo>
                      <a:pt x="17171" y="2458"/>
                      <a:pt x="19503" y="7781"/>
                      <a:pt x="17709" y="12506"/>
                    </a:cubicBezTo>
                    <a:cubicBezTo>
                      <a:pt x="15915" y="17290"/>
                      <a:pt x="10592" y="19623"/>
                      <a:pt x="5867" y="17769"/>
                    </a:cubicBezTo>
                    <a:close/>
                  </a:path>
                </a:pathLst>
              </a:custGeom>
              <a:grpFill/>
              <a:ln w="5978" cap="flat">
                <a:noFill/>
                <a:prstDash val="solid"/>
                <a:miter/>
              </a:ln>
            </p:spPr>
            <p:txBody>
              <a:bodyPr rtlCol="0" anchor="ctr"/>
              <a:lstStyle/>
              <a:p>
                <a:endParaRPr lang="en-GB"/>
              </a:p>
            </p:txBody>
          </p:sp>
          <p:sp>
            <p:nvSpPr>
              <p:cNvPr id="2117" name="Vrije vorm: vorm 2116">
                <a:extLst>
                  <a:ext uri="{FF2B5EF4-FFF2-40B4-BE49-F238E27FC236}">
                    <a16:creationId xmlns:a16="http://schemas.microsoft.com/office/drawing/2014/main" id="{5527E12A-334A-484B-A96C-4C47C6ED7869}"/>
                  </a:ext>
                </a:extLst>
              </p:cNvPr>
              <p:cNvSpPr/>
              <p:nvPr/>
            </p:nvSpPr>
            <p:spPr>
              <a:xfrm>
                <a:off x="4131675" y="2659210"/>
                <a:ext cx="18313" cy="18436"/>
              </a:xfrm>
              <a:custGeom>
                <a:avLst/>
                <a:gdLst>
                  <a:gd name="connsiteX0" fmla="*/ 5867 w 18313"/>
                  <a:gd name="connsiteY0" fmla="*/ 17801 h 18436"/>
                  <a:gd name="connsiteX1" fmla="*/ 17709 w 18313"/>
                  <a:gd name="connsiteY1" fmla="*/ 12538 h 18436"/>
                  <a:gd name="connsiteX2" fmla="*/ 12446 w 18313"/>
                  <a:gd name="connsiteY2" fmla="*/ 636 h 18436"/>
                  <a:gd name="connsiteX3" fmla="*/ 604 w 18313"/>
                  <a:gd name="connsiteY3" fmla="*/ 5899 h 18436"/>
                  <a:gd name="connsiteX4" fmla="*/ 5867 w 18313"/>
                  <a:gd name="connsiteY4" fmla="*/ 178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6">
                    <a:moveTo>
                      <a:pt x="5867" y="17801"/>
                    </a:moveTo>
                    <a:cubicBezTo>
                      <a:pt x="10592" y="19655"/>
                      <a:pt x="15915" y="17322"/>
                      <a:pt x="17709" y="12538"/>
                    </a:cubicBezTo>
                    <a:cubicBezTo>
                      <a:pt x="19503" y="7813"/>
                      <a:pt x="17171" y="2430"/>
                      <a:pt x="12446" y="636"/>
                    </a:cubicBezTo>
                    <a:cubicBezTo>
                      <a:pt x="7721" y="-1218"/>
                      <a:pt x="2399" y="1115"/>
                      <a:pt x="604" y="5899"/>
                    </a:cubicBezTo>
                    <a:cubicBezTo>
                      <a:pt x="-1190" y="10624"/>
                      <a:pt x="1143" y="15947"/>
                      <a:pt x="5867" y="17801"/>
                    </a:cubicBezTo>
                    <a:close/>
                  </a:path>
                </a:pathLst>
              </a:custGeom>
              <a:grpFill/>
              <a:ln w="5978" cap="flat">
                <a:noFill/>
                <a:prstDash val="solid"/>
                <a:miter/>
              </a:ln>
            </p:spPr>
            <p:txBody>
              <a:bodyPr rtlCol="0" anchor="ctr"/>
              <a:lstStyle/>
              <a:p>
                <a:endParaRPr lang="en-GB"/>
              </a:p>
            </p:txBody>
          </p:sp>
        </p:grpSp>
        <p:grpSp>
          <p:nvGrpSpPr>
            <p:cNvPr id="1096" name="Graphic 3">
              <a:extLst>
                <a:ext uri="{FF2B5EF4-FFF2-40B4-BE49-F238E27FC236}">
                  <a16:creationId xmlns:a16="http://schemas.microsoft.com/office/drawing/2014/main" id="{ED6934EE-A455-4CFD-B21C-497D7B94E78F}"/>
                </a:ext>
              </a:extLst>
            </p:cNvPr>
            <p:cNvGrpSpPr/>
            <p:nvPr/>
          </p:nvGrpSpPr>
          <p:grpSpPr>
            <a:xfrm>
              <a:off x="4827586" y="4878838"/>
              <a:ext cx="72425" cy="86790"/>
              <a:chOff x="4827586" y="4878838"/>
              <a:chExt cx="72425" cy="86790"/>
            </a:xfrm>
            <a:grpFill/>
          </p:grpSpPr>
          <p:sp>
            <p:nvSpPr>
              <p:cNvPr id="2112" name="Vrije vorm: vorm 2111">
                <a:extLst>
                  <a:ext uri="{FF2B5EF4-FFF2-40B4-BE49-F238E27FC236}">
                    <a16:creationId xmlns:a16="http://schemas.microsoft.com/office/drawing/2014/main" id="{9B32C0DB-4307-4FD6-9F82-B4BA36DB14D5}"/>
                  </a:ext>
                </a:extLst>
              </p:cNvPr>
              <p:cNvSpPr/>
              <p:nvPr/>
            </p:nvSpPr>
            <p:spPr>
              <a:xfrm>
                <a:off x="4835314" y="4886708"/>
                <a:ext cx="57055" cy="71050"/>
              </a:xfrm>
              <a:custGeom>
                <a:avLst/>
                <a:gdLst>
                  <a:gd name="connsiteX0" fmla="*/ 57056 w 57055"/>
                  <a:gd name="connsiteY0" fmla="*/ 1914 h 71050"/>
                  <a:gd name="connsiteX1" fmla="*/ 2392 w 57055"/>
                  <a:gd name="connsiteY1" fmla="*/ 71051 h 71050"/>
                  <a:gd name="connsiteX2" fmla="*/ 0 w 57055"/>
                  <a:gd name="connsiteY2" fmla="*/ 69137 h 71050"/>
                  <a:gd name="connsiteX3" fmla="*/ 54664 w 57055"/>
                  <a:gd name="connsiteY3" fmla="*/ 0 h 71050"/>
                </a:gdLst>
                <a:ahLst/>
                <a:cxnLst>
                  <a:cxn ang="0">
                    <a:pos x="connsiteX0" y="connsiteY0"/>
                  </a:cxn>
                  <a:cxn ang="0">
                    <a:pos x="connsiteX1" y="connsiteY1"/>
                  </a:cxn>
                  <a:cxn ang="0">
                    <a:pos x="connsiteX2" y="connsiteY2"/>
                  </a:cxn>
                  <a:cxn ang="0">
                    <a:pos x="connsiteX3" y="connsiteY3"/>
                  </a:cxn>
                </a:cxnLst>
                <a:rect l="l" t="t" r="r" b="b"/>
                <a:pathLst>
                  <a:path w="57055" h="71050">
                    <a:moveTo>
                      <a:pt x="57056" y="1914"/>
                    </a:moveTo>
                    <a:lnTo>
                      <a:pt x="2392" y="71051"/>
                    </a:lnTo>
                    <a:lnTo>
                      <a:pt x="0" y="69137"/>
                    </a:lnTo>
                    <a:lnTo>
                      <a:pt x="54664" y="0"/>
                    </a:lnTo>
                    <a:close/>
                  </a:path>
                </a:pathLst>
              </a:custGeom>
              <a:grpFill/>
              <a:ln w="5978" cap="flat">
                <a:noFill/>
                <a:prstDash val="solid"/>
                <a:miter/>
              </a:ln>
            </p:spPr>
            <p:txBody>
              <a:bodyPr rtlCol="0" anchor="ctr"/>
              <a:lstStyle/>
              <a:p>
                <a:endParaRPr lang="en-GB"/>
              </a:p>
            </p:txBody>
          </p:sp>
          <p:sp>
            <p:nvSpPr>
              <p:cNvPr id="2113" name="Vrije vorm: vorm 2112">
                <a:extLst>
                  <a:ext uri="{FF2B5EF4-FFF2-40B4-BE49-F238E27FC236}">
                    <a16:creationId xmlns:a16="http://schemas.microsoft.com/office/drawing/2014/main" id="{1B0668F5-AFA6-4D51-95F2-30B9A6284499}"/>
                  </a:ext>
                </a:extLst>
              </p:cNvPr>
              <p:cNvSpPr/>
              <p:nvPr/>
            </p:nvSpPr>
            <p:spPr>
              <a:xfrm>
                <a:off x="4881712" y="4878838"/>
                <a:ext cx="18299" cy="18371"/>
              </a:xfrm>
              <a:custGeom>
                <a:avLst/>
                <a:gdLst>
                  <a:gd name="connsiteX0" fmla="*/ 1985 w 18299"/>
                  <a:gd name="connsiteY0" fmla="*/ 3444 h 18371"/>
                  <a:gd name="connsiteX1" fmla="*/ 14844 w 18299"/>
                  <a:gd name="connsiteY1" fmla="*/ 2009 h 18371"/>
                  <a:gd name="connsiteX2" fmla="*/ 16339 w 18299"/>
                  <a:gd name="connsiteY2" fmla="*/ 14927 h 18371"/>
                  <a:gd name="connsiteX3" fmla="*/ 3481 w 18299"/>
                  <a:gd name="connsiteY3" fmla="*/ 16362 h 18371"/>
                  <a:gd name="connsiteX4" fmla="*/ 1985 w 18299"/>
                  <a:gd name="connsiteY4" fmla="*/ 3444 h 1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71">
                    <a:moveTo>
                      <a:pt x="1985" y="3444"/>
                    </a:moveTo>
                    <a:cubicBezTo>
                      <a:pt x="5155" y="-503"/>
                      <a:pt x="10897" y="-1161"/>
                      <a:pt x="14844" y="2009"/>
                    </a:cubicBezTo>
                    <a:cubicBezTo>
                      <a:pt x="18791" y="5178"/>
                      <a:pt x="19449" y="10980"/>
                      <a:pt x="16339" y="14927"/>
                    </a:cubicBezTo>
                    <a:cubicBezTo>
                      <a:pt x="13169" y="18874"/>
                      <a:pt x="7428" y="19532"/>
                      <a:pt x="3481" y="16362"/>
                    </a:cubicBezTo>
                    <a:cubicBezTo>
                      <a:pt x="-467" y="13193"/>
                      <a:pt x="-1184" y="7451"/>
                      <a:pt x="1985" y="3444"/>
                    </a:cubicBezTo>
                    <a:close/>
                  </a:path>
                </a:pathLst>
              </a:custGeom>
              <a:grpFill/>
              <a:ln w="5978" cap="flat">
                <a:noFill/>
                <a:prstDash val="solid"/>
                <a:miter/>
              </a:ln>
            </p:spPr>
            <p:txBody>
              <a:bodyPr rtlCol="0" anchor="ctr"/>
              <a:lstStyle/>
              <a:p>
                <a:endParaRPr lang="en-GB"/>
              </a:p>
            </p:txBody>
          </p:sp>
          <p:sp>
            <p:nvSpPr>
              <p:cNvPr id="2114" name="Vrije vorm: vorm 2113">
                <a:extLst>
                  <a:ext uri="{FF2B5EF4-FFF2-40B4-BE49-F238E27FC236}">
                    <a16:creationId xmlns:a16="http://schemas.microsoft.com/office/drawing/2014/main" id="{5D118BDB-408A-43C1-BD37-85DC8DD629BB}"/>
                  </a:ext>
                </a:extLst>
              </p:cNvPr>
              <p:cNvSpPr/>
              <p:nvPr/>
            </p:nvSpPr>
            <p:spPr>
              <a:xfrm>
                <a:off x="4827586" y="4947198"/>
                <a:ext cx="18324" cy="18431"/>
              </a:xfrm>
              <a:custGeom>
                <a:avLst/>
                <a:gdLst>
                  <a:gd name="connsiteX0" fmla="*/ 1986 w 18324"/>
                  <a:gd name="connsiteY0" fmla="*/ 3444 h 18431"/>
                  <a:gd name="connsiteX1" fmla="*/ 3481 w 18324"/>
                  <a:gd name="connsiteY1" fmla="*/ 16422 h 18431"/>
                  <a:gd name="connsiteX2" fmla="*/ 16339 w 18324"/>
                  <a:gd name="connsiteY2" fmla="*/ 14987 h 18431"/>
                  <a:gd name="connsiteX3" fmla="*/ 14844 w 18324"/>
                  <a:gd name="connsiteY3" fmla="*/ 2009 h 18431"/>
                  <a:gd name="connsiteX4" fmla="*/ 1986 w 18324"/>
                  <a:gd name="connsiteY4" fmla="*/ 3444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1">
                    <a:moveTo>
                      <a:pt x="1986" y="3444"/>
                    </a:moveTo>
                    <a:cubicBezTo>
                      <a:pt x="-1184" y="7392"/>
                      <a:pt x="-467" y="13193"/>
                      <a:pt x="3481" y="16422"/>
                    </a:cubicBezTo>
                    <a:cubicBezTo>
                      <a:pt x="7428" y="19592"/>
                      <a:pt x="13229" y="18934"/>
                      <a:pt x="16339" y="14987"/>
                    </a:cubicBezTo>
                    <a:cubicBezTo>
                      <a:pt x="19509" y="11040"/>
                      <a:pt x="18791" y="5238"/>
                      <a:pt x="14844" y="2009"/>
                    </a:cubicBezTo>
                    <a:cubicBezTo>
                      <a:pt x="10897" y="-1161"/>
                      <a:pt x="5155" y="-503"/>
                      <a:pt x="1986" y="3444"/>
                    </a:cubicBezTo>
                    <a:close/>
                  </a:path>
                </a:pathLst>
              </a:custGeom>
              <a:grpFill/>
              <a:ln w="5978" cap="flat">
                <a:noFill/>
                <a:prstDash val="solid"/>
                <a:miter/>
              </a:ln>
            </p:spPr>
            <p:txBody>
              <a:bodyPr rtlCol="0" anchor="ctr"/>
              <a:lstStyle/>
              <a:p>
                <a:endParaRPr lang="en-GB"/>
              </a:p>
            </p:txBody>
          </p:sp>
        </p:grpSp>
        <p:grpSp>
          <p:nvGrpSpPr>
            <p:cNvPr id="1097" name="Graphic 3">
              <a:extLst>
                <a:ext uri="{FF2B5EF4-FFF2-40B4-BE49-F238E27FC236}">
                  <a16:creationId xmlns:a16="http://schemas.microsoft.com/office/drawing/2014/main" id="{E463340A-F883-4798-82DF-DA14F2481F54}"/>
                </a:ext>
              </a:extLst>
            </p:cNvPr>
            <p:cNvGrpSpPr/>
            <p:nvPr/>
          </p:nvGrpSpPr>
          <p:grpSpPr>
            <a:xfrm>
              <a:off x="4084026" y="2805069"/>
              <a:ext cx="161375" cy="62356"/>
              <a:chOff x="4084026" y="2805069"/>
              <a:chExt cx="161375" cy="62356"/>
            </a:xfrm>
            <a:grpFill/>
          </p:grpSpPr>
          <p:sp>
            <p:nvSpPr>
              <p:cNvPr id="2109" name="Vrije vorm: vorm 2108">
                <a:extLst>
                  <a:ext uri="{FF2B5EF4-FFF2-40B4-BE49-F238E27FC236}">
                    <a16:creationId xmlns:a16="http://schemas.microsoft.com/office/drawing/2014/main" id="{83CF7C44-FFA4-4A44-898C-A4EE06E6E658}"/>
                  </a:ext>
                </a:extLst>
              </p:cNvPr>
              <p:cNvSpPr/>
              <p:nvPr/>
            </p:nvSpPr>
            <p:spPr>
              <a:xfrm>
                <a:off x="4092328" y="2812654"/>
                <a:ext cx="144733" cy="47127"/>
              </a:xfrm>
              <a:custGeom>
                <a:avLst/>
                <a:gdLst>
                  <a:gd name="connsiteX0" fmla="*/ 144734 w 144733"/>
                  <a:gd name="connsiteY0" fmla="*/ 44257 h 47127"/>
                  <a:gd name="connsiteX1" fmla="*/ 143896 w 144733"/>
                  <a:gd name="connsiteY1" fmla="*/ 47128 h 47127"/>
                  <a:gd name="connsiteX2" fmla="*/ 0 w 144733"/>
                  <a:gd name="connsiteY2" fmla="*/ 2930 h 47127"/>
                  <a:gd name="connsiteX3" fmla="*/ 837 w 144733"/>
                  <a:gd name="connsiteY3" fmla="*/ 0 h 47127"/>
                </a:gdLst>
                <a:ahLst/>
                <a:cxnLst>
                  <a:cxn ang="0">
                    <a:pos x="connsiteX0" y="connsiteY0"/>
                  </a:cxn>
                  <a:cxn ang="0">
                    <a:pos x="connsiteX1" y="connsiteY1"/>
                  </a:cxn>
                  <a:cxn ang="0">
                    <a:pos x="connsiteX2" y="connsiteY2"/>
                  </a:cxn>
                  <a:cxn ang="0">
                    <a:pos x="connsiteX3" y="connsiteY3"/>
                  </a:cxn>
                </a:cxnLst>
                <a:rect l="l" t="t" r="r" b="b"/>
                <a:pathLst>
                  <a:path w="144733" h="47127">
                    <a:moveTo>
                      <a:pt x="144734" y="44257"/>
                    </a:moveTo>
                    <a:lnTo>
                      <a:pt x="143896" y="47128"/>
                    </a:lnTo>
                    <a:lnTo>
                      <a:pt x="0" y="2930"/>
                    </a:lnTo>
                    <a:lnTo>
                      <a:pt x="837" y="0"/>
                    </a:lnTo>
                    <a:close/>
                  </a:path>
                </a:pathLst>
              </a:custGeom>
              <a:grpFill/>
              <a:ln w="5978" cap="flat">
                <a:noFill/>
                <a:prstDash val="solid"/>
                <a:miter/>
              </a:ln>
            </p:spPr>
            <p:txBody>
              <a:bodyPr rtlCol="0" anchor="ctr"/>
              <a:lstStyle/>
              <a:p>
                <a:endParaRPr lang="en-GB"/>
              </a:p>
            </p:txBody>
          </p:sp>
          <p:sp>
            <p:nvSpPr>
              <p:cNvPr id="2110" name="Vrije vorm: vorm 2109">
                <a:extLst>
                  <a:ext uri="{FF2B5EF4-FFF2-40B4-BE49-F238E27FC236}">
                    <a16:creationId xmlns:a16="http://schemas.microsoft.com/office/drawing/2014/main" id="{17E95BEC-FCE1-4094-BEBD-23859DA7B8D4}"/>
                  </a:ext>
                </a:extLst>
              </p:cNvPr>
              <p:cNvSpPr/>
              <p:nvPr/>
            </p:nvSpPr>
            <p:spPr>
              <a:xfrm>
                <a:off x="4084026" y="2805069"/>
                <a:ext cx="18338" cy="18398"/>
              </a:xfrm>
              <a:custGeom>
                <a:avLst/>
                <a:gdLst>
                  <a:gd name="connsiteX0" fmla="*/ 6508 w 18338"/>
                  <a:gd name="connsiteY0" fmla="*/ 17991 h 18398"/>
                  <a:gd name="connsiteX1" fmla="*/ 407 w 18338"/>
                  <a:gd name="connsiteY1" fmla="*/ 6508 h 18398"/>
                  <a:gd name="connsiteX2" fmla="*/ 11831 w 18338"/>
                  <a:gd name="connsiteY2" fmla="*/ 407 h 18398"/>
                  <a:gd name="connsiteX3" fmla="*/ 17931 w 18338"/>
                  <a:gd name="connsiteY3" fmla="*/ 11890 h 18398"/>
                  <a:gd name="connsiteX4" fmla="*/ 6508 w 18338"/>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6508" y="17991"/>
                    </a:moveTo>
                    <a:cubicBezTo>
                      <a:pt x="1664" y="16496"/>
                      <a:pt x="-1088" y="11352"/>
                      <a:pt x="407" y="6508"/>
                    </a:cubicBezTo>
                    <a:cubicBezTo>
                      <a:pt x="1843" y="1663"/>
                      <a:pt x="6986" y="-1088"/>
                      <a:pt x="11831" y="407"/>
                    </a:cubicBezTo>
                    <a:cubicBezTo>
                      <a:pt x="16675" y="1903"/>
                      <a:pt x="19426" y="7046"/>
                      <a:pt x="17931" y="11890"/>
                    </a:cubicBezTo>
                    <a:cubicBezTo>
                      <a:pt x="16496" y="16735"/>
                      <a:pt x="11352" y="19486"/>
                      <a:pt x="6508" y="17991"/>
                    </a:cubicBezTo>
                    <a:close/>
                  </a:path>
                </a:pathLst>
              </a:custGeom>
              <a:grpFill/>
              <a:ln w="5978" cap="flat">
                <a:noFill/>
                <a:prstDash val="solid"/>
                <a:miter/>
              </a:ln>
            </p:spPr>
            <p:txBody>
              <a:bodyPr rtlCol="0" anchor="ctr"/>
              <a:lstStyle/>
              <a:p>
                <a:endParaRPr lang="en-GB"/>
              </a:p>
            </p:txBody>
          </p:sp>
          <p:sp>
            <p:nvSpPr>
              <p:cNvPr id="2111" name="Vrije vorm: vorm 2110">
                <a:extLst>
                  <a:ext uri="{FF2B5EF4-FFF2-40B4-BE49-F238E27FC236}">
                    <a16:creationId xmlns:a16="http://schemas.microsoft.com/office/drawing/2014/main" id="{683D511A-CBA6-429D-900A-2BA218F37748}"/>
                  </a:ext>
                </a:extLst>
              </p:cNvPr>
              <p:cNvSpPr/>
              <p:nvPr/>
            </p:nvSpPr>
            <p:spPr>
              <a:xfrm>
                <a:off x="4227085" y="2849028"/>
                <a:ext cx="18316" cy="18398"/>
              </a:xfrm>
              <a:custGeom>
                <a:avLst/>
                <a:gdLst>
                  <a:gd name="connsiteX0" fmla="*/ 6508 w 18316"/>
                  <a:gd name="connsiteY0" fmla="*/ 17991 h 18398"/>
                  <a:gd name="connsiteX1" fmla="*/ 17931 w 18316"/>
                  <a:gd name="connsiteY1" fmla="*/ 11890 h 18398"/>
                  <a:gd name="connsiteX2" fmla="*/ 11831 w 18316"/>
                  <a:gd name="connsiteY2" fmla="*/ 407 h 18398"/>
                  <a:gd name="connsiteX3" fmla="*/ 407 w 18316"/>
                  <a:gd name="connsiteY3" fmla="*/ 6508 h 18398"/>
                  <a:gd name="connsiteX4" fmla="*/ 6508 w 18316"/>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8">
                    <a:moveTo>
                      <a:pt x="6508" y="17991"/>
                    </a:moveTo>
                    <a:cubicBezTo>
                      <a:pt x="11352" y="19486"/>
                      <a:pt x="16496" y="16735"/>
                      <a:pt x="17931" y="11890"/>
                    </a:cubicBezTo>
                    <a:cubicBezTo>
                      <a:pt x="19366" y="7046"/>
                      <a:pt x="16675" y="1903"/>
                      <a:pt x="11831" y="407"/>
                    </a:cubicBezTo>
                    <a:cubicBezTo>
                      <a:pt x="6986" y="-1088"/>
                      <a:pt x="1843" y="1663"/>
                      <a:pt x="407" y="6508"/>
                    </a:cubicBezTo>
                    <a:cubicBezTo>
                      <a:pt x="-1088" y="11352"/>
                      <a:pt x="1663" y="16496"/>
                      <a:pt x="6508" y="17991"/>
                    </a:cubicBezTo>
                    <a:close/>
                  </a:path>
                </a:pathLst>
              </a:custGeom>
              <a:grpFill/>
              <a:ln w="5978" cap="flat">
                <a:noFill/>
                <a:prstDash val="solid"/>
                <a:miter/>
              </a:ln>
            </p:spPr>
            <p:txBody>
              <a:bodyPr rtlCol="0" anchor="ctr"/>
              <a:lstStyle/>
              <a:p>
                <a:endParaRPr lang="en-GB"/>
              </a:p>
            </p:txBody>
          </p:sp>
        </p:grpSp>
        <p:grpSp>
          <p:nvGrpSpPr>
            <p:cNvPr id="1098" name="Graphic 3">
              <a:extLst>
                <a:ext uri="{FF2B5EF4-FFF2-40B4-BE49-F238E27FC236}">
                  <a16:creationId xmlns:a16="http://schemas.microsoft.com/office/drawing/2014/main" id="{875BED0C-1E57-40F2-A17A-0D60E5DD94D9}"/>
                </a:ext>
              </a:extLst>
            </p:cNvPr>
            <p:cNvGrpSpPr/>
            <p:nvPr/>
          </p:nvGrpSpPr>
          <p:grpSpPr>
            <a:xfrm>
              <a:off x="4172000" y="2907911"/>
              <a:ext cx="23307" cy="19708"/>
              <a:chOff x="4172000" y="2907911"/>
              <a:chExt cx="23307" cy="19708"/>
            </a:xfrm>
            <a:grpFill/>
          </p:grpSpPr>
          <p:sp>
            <p:nvSpPr>
              <p:cNvPr id="2106" name="Vrije vorm: vorm 2105">
                <a:extLst>
                  <a:ext uri="{FF2B5EF4-FFF2-40B4-BE49-F238E27FC236}">
                    <a16:creationId xmlns:a16="http://schemas.microsoft.com/office/drawing/2014/main" id="{3C3E1EF5-C5F9-4987-8226-F7C374BB6BE8}"/>
                  </a:ext>
                </a:extLst>
              </p:cNvPr>
              <p:cNvSpPr/>
              <p:nvPr/>
            </p:nvSpPr>
            <p:spPr>
              <a:xfrm>
                <a:off x="4180365" y="2915522"/>
                <a:ext cx="6578" cy="4485"/>
              </a:xfrm>
              <a:custGeom>
                <a:avLst/>
                <a:gdLst>
                  <a:gd name="connsiteX0" fmla="*/ 6579 w 6578"/>
                  <a:gd name="connsiteY0" fmla="*/ 1555 h 4485"/>
                  <a:gd name="connsiteX1" fmla="*/ 5801 w 6578"/>
                  <a:gd name="connsiteY1" fmla="*/ 4486 h 4485"/>
                  <a:gd name="connsiteX2" fmla="*/ 0 w 6578"/>
                  <a:gd name="connsiteY2" fmla="*/ 2990 h 4485"/>
                  <a:gd name="connsiteX3" fmla="*/ 778 w 6578"/>
                  <a:gd name="connsiteY3" fmla="*/ 0 h 4485"/>
                </a:gdLst>
                <a:ahLst/>
                <a:cxnLst>
                  <a:cxn ang="0">
                    <a:pos x="connsiteX0" y="connsiteY0"/>
                  </a:cxn>
                  <a:cxn ang="0">
                    <a:pos x="connsiteX1" y="connsiteY1"/>
                  </a:cxn>
                  <a:cxn ang="0">
                    <a:pos x="connsiteX2" y="connsiteY2"/>
                  </a:cxn>
                  <a:cxn ang="0">
                    <a:pos x="connsiteX3" y="connsiteY3"/>
                  </a:cxn>
                </a:cxnLst>
                <a:rect l="l" t="t" r="r" b="b"/>
                <a:pathLst>
                  <a:path w="6578" h="4485">
                    <a:moveTo>
                      <a:pt x="6579" y="1555"/>
                    </a:moveTo>
                    <a:lnTo>
                      <a:pt x="5801" y="4486"/>
                    </a:lnTo>
                    <a:lnTo>
                      <a:pt x="0" y="2990"/>
                    </a:lnTo>
                    <a:lnTo>
                      <a:pt x="778" y="0"/>
                    </a:lnTo>
                    <a:close/>
                  </a:path>
                </a:pathLst>
              </a:custGeom>
              <a:grpFill/>
              <a:ln w="5978" cap="flat">
                <a:noFill/>
                <a:prstDash val="solid"/>
                <a:miter/>
              </a:ln>
            </p:spPr>
            <p:txBody>
              <a:bodyPr rtlCol="0" anchor="ctr"/>
              <a:lstStyle/>
              <a:p>
                <a:endParaRPr lang="en-GB"/>
              </a:p>
            </p:txBody>
          </p:sp>
          <p:sp>
            <p:nvSpPr>
              <p:cNvPr id="2107" name="Vrije vorm: vorm 2106">
                <a:extLst>
                  <a:ext uri="{FF2B5EF4-FFF2-40B4-BE49-F238E27FC236}">
                    <a16:creationId xmlns:a16="http://schemas.microsoft.com/office/drawing/2014/main" id="{E3BEAC97-54B7-4EBD-AE46-FD565A91C09C}"/>
                  </a:ext>
                </a:extLst>
              </p:cNvPr>
              <p:cNvSpPr/>
              <p:nvPr/>
            </p:nvSpPr>
            <p:spPr>
              <a:xfrm>
                <a:off x="4176964" y="2909227"/>
                <a:ext cx="18343" cy="18392"/>
              </a:xfrm>
              <a:custGeom>
                <a:avLst/>
                <a:gdLst>
                  <a:gd name="connsiteX0" fmla="*/ 11474 w 18343"/>
                  <a:gd name="connsiteY0" fmla="*/ 315 h 18392"/>
                  <a:gd name="connsiteX1" fmla="*/ 18053 w 18343"/>
                  <a:gd name="connsiteY1" fmla="*/ 11559 h 18392"/>
                  <a:gd name="connsiteX2" fmla="*/ 6869 w 18343"/>
                  <a:gd name="connsiteY2" fmla="*/ 18078 h 18392"/>
                  <a:gd name="connsiteX3" fmla="*/ 291 w 18343"/>
                  <a:gd name="connsiteY3" fmla="*/ 6834 h 18392"/>
                  <a:gd name="connsiteX4" fmla="*/ 11474 w 18343"/>
                  <a:gd name="connsiteY4" fmla="*/ 315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11474" y="315"/>
                    </a:moveTo>
                    <a:cubicBezTo>
                      <a:pt x="16379" y="1631"/>
                      <a:pt x="19309" y="6654"/>
                      <a:pt x="18053" y="11559"/>
                    </a:cubicBezTo>
                    <a:cubicBezTo>
                      <a:pt x="16797" y="16463"/>
                      <a:pt x="11773" y="19393"/>
                      <a:pt x="6869" y="18078"/>
                    </a:cubicBezTo>
                    <a:cubicBezTo>
                      <a:pt x="1965" y="16762"/>
                      <a:pt x="-966" y="11738"/>
                      <a:pt x="291" y="6834"/>
                    </a:cubicBezTo>
                    <a:cubicBezTo>
                      <a:pt x="1547" y="1930"/>
                      <a:pt x="6570" y="-1001"/>
                      <a:pt x="11474" y="315"/>
                    </a:cubicBezTo>
                    <a:close/>
                  </a:path>
                </a:pathLst>
              </a:custGeom>
              <a:grpFill/>
              <a:ln w="5978" cap="flat">
                <a:noFill/>
                <a:prstDash val="solid"/>
                <a:miter/>
              </a:ln>
            </p:spPr>
            <p:txBody>
              <a:bodyPr rtlCol="0" anchor="ctr"/>
              <a:lstStyle/>
              <a:p>
                <a:endParaRPr lang="en-GB"/>
              </a:p>
            </p:txBody>
          </p:sp>
          <p:sp>
            <p:nvSpPr>
              <p:cNvPr id="2108" name="Vrije vorm: vorm 2107">
                <a:extLst>
                  <a:ext uri="{FF2B5EF4-FFF2-40B4-BE49-F238E27FC236}">
                    <a16:creationId xmlns:a16="http://schemas.microsoft.com/office/drawing/2014/main" id="{3B7F17D5-8797-4DE7-B8DC-FFC577CE0BF1}"/>
                  </a:ext>
                </a:extLst>
              </p:cNvPr>
              <p:cNvSpPr/>
              <p:nvPr/>
            </p:nvSpPr>
            <p:spPr>
              <a:xfrm>
                <a:off x="4172000" y="2907911"/>
                <a:ext cx="18343" cy="18392"/>
              </a:xfrm>
              <a:custGeom>
                <a:avLst/>
                <a:gdLst>
                  <a:gd name="connsiteX0" fmla="*/ 11474 w 18343"/>
                  <a:gd name="connsiteY0" fmla="*/ 315 h 18392"/>
                  <a:gd name="connsiteX1" fmla="*/ 290 w 18343"/>
                  <a:gd name="connsiteY1" fmla="*/ 6834 h 18392"/>
                  <a:gd name="connsiteX2" fmla="*/ 6869 w 18343"/>
                  <a:gd name="connsiteY2" fmla="*/ 18078 h 18392"/>
                  <a:gd name="connsiteX3" fmla="*/ 18053 w 18343"/>
                  <a:gd name="connsiteY3" fmla="*/ 11559 h 18392"/>
                  <a:gd name="connsiteX4" fmla="*/ 11474 w 18343"/>
                  <a:gd name="connsiteY4" fmla="*/ 315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11474" y="315"/>
                    </a:moveTo>
                    <a:cubicBezTo>
                      <a:pt x="6570" y="-1001"/>
                      <a:pt x="1547" y="1930"/>
                      <a:pt x="290" y="6834"/>
                    </a:cubicBezTo>
                    <a:cubicBezTo>
                      <a:pt x="-965" y="11738"/>
                      <a:pt x="1965" y="16822"/>
                      <a:pt x="6869" y="18078"/>
                    </a:cubicBezTo>
                    <a:cubicBezTo>
                      <a:pt x="11774" y="19393"/>
                      <a:pt x="16797" y="16463"/>
                      <a:pt x="18053" y="11559"/>
                    </a:cubicBezTo>
                    <a:cubicBezTo>
                      <a:pt x="19309" y="6654"/>
                      <a:pt x="16379" y="1631"/>
                      <a:pt x="11474" y="315"/>
                    </a:cubicBezTo>
                    <a:close/>
                  </a:path>
                </a:pathLst>
              </a:custGeom>
              <a:grpFill/>
              <a:ln w="5978" cap="flat">
                <a:noFill/>
                <a:prstDash val="solid"/>
                <a:miter/>
              </a:ln>
            </p:spPr>
            <p:txBody>
              <a:bodyPr rtlCol="0" anchor="ctr"/>
              <a:lstStyle/>
              <a:p>
                <a:endParaRPr lang="en-GB"/>
              </a:p>
            </p:txBody>
          </p:sp>
        </p:grpSp>
        <p:grpSp>
          <p:nvGrpSpPr>
            <p:cNvPr id="1099" name="Graphic 3">
              <a:extLst>
                <a:ext uri="{FF2B5EF4-FFF2-40B4-BE49-F238E27FC236}">
                  <a16:creationId xmlns:a16="http://schemas.microsoft.com/office/drawing/2014/main" id="{3A961D3B-3E88-46D4-BB85-1C82B6907F6D}"/>
                </a:ext>
              </a:extLst>
            </p:cNvPr>
            <p:cNvGrpSpPr/>
            <p:nvPr/>
          </p:nvGrpSpPr>
          <p:grpSpPr>
            <a:xfrm>
              <a:off x="3774124" y="2568338"/>
              <a:ext cx="679052" cy="295661"/>
              <a:chOff x="3774124" y="2568338"/>
              <a:chExt cx="679052" cy="295661"/>
            </a:xfrm>
            <a:grpFill/>
          </p:grpSpPr>
          <p:sp>
            <p:nvSpPr>
              <p:cNvPr id="2103" name="Vrije vorm: vorm 2102">
                <a:extLst>
                  <a:ext uri="{FF2B5EF4-FFF2-40B4-BE49-F238E27FC236}">
                    <a16:creationId xmlns:a16="http://schemas.microsoft.com/office/drawing/2014/main" id="{D2DB20A2-3053-4B8F-866E-5BE5A3B39250}"/>
                  </a:ext>
                </a:extLst>
              </p:cNvPr>
              <p:cNvSpPr/>
              <p:nvPr/>
            </p:nvSpPr>
            <p:spPr>
              <a:xfrm>
                <a:off x="3782288" y="2575997"/>
                <a:ext cx="662723" cy="280376"/>
              </a:xfrm>
              <a:custGeom>
                <a:avLst/>
                <a:gdLst>
                  <a:gd name="connsiteX0" fmla="*/ 662724 w 662723"/>
                  <a:gd name="connsiteY0" fmla="*/ 277565 h 280376"/>
                  <a:gd name="connsiteX1" fmla="*/ 661588 w 662723"/>
                  <a:gd name="connsiteY1" fmla="*/ 280376 h 280376"/>
                  <a:gd name="connsiteX2" fmla="*/ 0 w 662723"/>
                  <a:gd name="connsiteY2" fmla="*/ 2811 h 280376"/>
                  <a:gd name="connsiteX3" fmla="*/ 1136 w 662723"/>
                  <a:gd name="connsiteY3" fmla="*/ 0 h 280376"/>
                </a:gdLst>
                <a:ahLst/>
                <a:cxnLst>
                  <a:cxn ang="0">
                    <a:pos x="connsiteX0" y="connsiteY0"/>
                  </a:cxn>
                  <a:cxn ang="0">
                    <a:pos x="connsiteX1" y="connsiteY1"/>
                  </a:cxn>
                  <a:cxn ang="0">
                    <a:pos x="connsiteX2" y="connsiteY2"/>
                  </a:cxn>
                  <a:cxn ang="0">
                    <a:pos x="connsiteX3" y="connsiteY3"/>
                  </a:cxn>
                </a:cxnLst>
                <a:rect l="l" t="t" r="r" b="b"/>
                <a:pathLst>
                  <a:path w="662723" h="280376">
                    <a:moveTo>
                      <a:pt x="662724" y="277565"/>
                    </a:moveTo>
                    <a:lnTo>
                      <a:pt x="661588" y="280376"/>
                    </a:lnTo>
                    <a:lnTo>
                      <a:pt x="0" y="2811"/>
                    </a:lnTo>
                    <a:lnTo>
                      <a:pt x="1136" y="0"/>
                    </a:lnTo>
                    <a:close/>
                  </a:path>
                </a:pathLst>
              </a:custGeom>
              <a:grpFill/>
              <a:ln w="5978" cap="flat">
                <a:noFill/>
                <a:prstDash val="solid"/>
                <a:miter/>
              </a:ln>
            </p:spPr>
            <p:txBody>
              <a:bodyPr rtlCol="0" anchor="ctr"/>
              <a:lstStyle/>
              <a:p>
                <a:endParaRPr lang="en-GB"/>
              </a:p>
            </p:txBody>
          </p:sp>
          <p:sp>
            <p:nvSpPr>
              <p:cNvPr id="2104" name="Vrije vorm: vorm 2103">
                <a:extLst>
                  <a:ext uri="{FF2B5EF4-FFF2-40B4-BE49-F238E27FC236}">
                    <a16:creationId xmlns:a16="http://schemas.microsoft.com/office/drawing/2014/main" id="{E3B06AFE-A1DD-47F5-8EB9-811AD0163691}"/>
                  </a:ext>
                </a:extLst>
              </p:cNvPr>
              <p:cNvSpPr/>
              <p:nvPr/>
            </p:nvSpPr>
            <p:spPr>
              <a:xfrm>
                <a:off x="4434874" y="2845577"/>
                <a:ext cx="18301" cy="18421"/>
              </a:xfrm>
              <a:custGeom>
                <a:avLst/>
                <a:gdLst>
                  <a:gd name="connsiteX0" fmla="*/ 12650 w 18301"/>
                  <a:gd name="connsiteY0" fmla="*/ 688 h 18421"/>
                  <a:gd name="connsiteX1" fmla="*/ 17614 w 18301"/>
                  <a:gd name="connsiteY1" fmla="*/ 12769 h 18421"/>
                  <a:gd name="connsiteX2" fmla="*/ 5652 w 18301"/>
                  <a:gd name="connsiteY2" fmla="*/ 17733 h 18421"/>
                  <a:gd name="connsiteX3" fmla="*/ 688 w 18301"/>
                  <a:gd name="connsiteY3" fmla="*/ 5652 h 18421"/>
                  <a:gd name="connsiteX4" fmla="*/ 12650 w 18301"/>
                  <a:gd name="connsiteY4" fmla="*/ 68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1">
                    <a:moveTo>
                      <a:pt x="12650" y="688"/>
                    </a:moveTo>
                    <a:cubicBezTo>
                      <a:pt x="17314" y="2662"/>
                      <a:pt x="19528" y="8044"/>
                      <a:pt x="17614" y="12769"/>
                    </a:cubicBezTo>
                    <a:cubicBezTo>
                      <a:pt x="15700" y="17434"/>
                      <a:pt x="10317" y="19647"/>
                      <a:pt x="5652" y="17733"/>
                    </a:cubicBezTo>
                    <a:cubicBezTo>
                      <a:pt x="987" y="15760"/>
                      <a:pt x="-1226" y="10377"/>
                      <a:pt x="688" y="5652"/>
                    </a:cubicBezTo>
                    <a:cubicBezTo>
                      <a:pt x="2602" y="987"/>
                      <a:pt x="7985" y="-1226"/>
                      <a:pt x="12650" y="688"/>
                    </a:cubicBezTo>
                    <a:close/>
                  </a:path>
                </a:pathLst>
              </a:custGeom>
              <a:grpFill/>
              <a:ln w="5978" cap="flat">
                <a:noFill/>
                <a:prstDash val="solid"/>
                <a:miter/>
              </a:ln>
            </p:spPr>
            <p:txBody>
              <a:bodyPr rtlCol="0" anchor="ctr"/>
              <a:lstStyle/>
              <a:p>
                <a:endParaRPr lang="en-GB"/>
              </a:p>
            </p:txBody>
          </p:sp>
          <p:sp>
            <p:nvSpPr>
              <p:cNvPr id="2105" name="Vrije vorm: vorm 2104">
                <a:extLst>
                  <a:ext uri="{FF2B5EF4-FFF2-40B4-BE49-F238E27FC236}">
                    <a16:creationId xmlns:a16="http://schemas.microsoft.com/office/drawing/2014/main" id="{EA229E1E-18B0-469F-979F-736FAFEEB159}"/>
                  </a:ext>
                </a:extLst>
              </p:cNvPr>
              <p:cNvSpPr/>
              <p:nvPr/>
            </p:nvSpPr>
            <p:spPr>
              <a:xfrm>
                <a:off x="3774124" y="2568338"/>
                <a:ext cx="18301" cy="18488"/>
              </a:xfrm>
              <a:custGeom>
                <a:avLst/>
                <a:gdLst>
                  <a:gd name="connsiteX0" fmla="*/ 12650 w 18301"/>
                  <a:gd name="connsiteY0" fmla="*/ 722 h 18488"/>
                  <a:gd name="connsiteX1" fmla="*/ 688 w 18301"/>
                  <a:gd name="connsiteY1" fmla="*/ 5685 h 18488"/>
                  <a:gd name="connsiteX2" fmla="*/ 5652 w 18301"/>
                  <a:gd name="connsiteY2" fmla="*/ 17767 h 18488"/>
                  <a:gd name="connsiteX3" fmla="*/ 17613 w 18301"/>
                  <a:gd name="connsiteY3" fmla="*/ 12802 h 18488"/>
                  <a:gd name="connsiteX4" fmla="*/ 12650 w 18301"/>
                  <a:gd name="connsiteY4" fmla="*/ 722 h 18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88">
                    <a:moveTo>
                      <a:pt x="12650" y="722"/>
                    </a:moveTo>
                    <a:cubicBezTo>
                      <a:pt x="7985" y="-1252"/>
                      <a:pt x="2602" y="961"/>
                      <a:pt x="688" y="5685"/>
                    </a:cubicBezTo>
                    <a:cubicBezTo>
                      <a:pt x="-1226" y="10350"/>
                      <a:pt x="987" y="15793"/>
                      <a:pt x="5652" y="17767"/>
                    </a:cubicBezTo>
                    <a:cubicBezTo>
                      <a:pt x="10317" y="19740"/>
                      <a:pt x="15700" y="17527"/>
                      <a:pt x="17613" y="12802"/>
                    </a:cubicBezTo>
                    <a:cubicBezTo>
                      <a:pt x="19527" y="8078"/>
                      <a:pt x="17314" y="2695"/>
                      <a:pt x="12650" y="722"/>
                    </a:cubicBezTo>
                    <a:close/>
                  </a:path>
                </a:pathLst>
              </a:custGeom>
              <a:grpFill/>
              <a:ln w="5978" cap="flat">
                <a:noFill/>
                <a:prstDash val="solid"/>
                <a:miter/>
              </a:ln>
            </p:spPr>
            <p:txBody>
              <a:bodyPr rtlCol="0" anchor="ctr"/>
              <a:lstStyle/>
              <a:p>
                <a:endParaRPr lang="en-GB"/>
              </a:p>
            </p:txBody>
          </p:sp>
        </p:grpSp>
        <p:grpSp>
          <p:nvGrpSpPr>
            <p:cNvPr id="1100" name="Graphic 3">
              <a:extLst>
                <a:ext uri="{FF2B5EF4-FFF2-40B4-BE49-F238E27FC236}">
                  <a16:creationId xmlns:a16="http://schemas.microsoft.com/office/drawing/2014/main" id="{3111AEBC-BF82-4051-B1B4-4F8E57218F97}"/>
                </a:ext>
              </a:extLst>
            </p:cNvPr>
            <p:cNvGrpSpPr/>
            <p:nvPr/>
          </p:nvGrpSpPr>
          <p:grpSpPr>
            <a:xfrm>
              <a:off x="4198227" y="3203295"/>
              <a:ext cx="192858" cy="66426"/>
              <a:chOff x="4198227" y="3203295"/>
              <a:chExt cx="192858" cy="66426"/>
            </a:xfrm>
            <a:grpFill/>
          </p:grpSpPr>
          <p:sp>
            <p:nvSpPr>
              <p:cNvPr id="2100" name="Vrije vorm: vorm 2099">
                <a:extLst>
                  <a:ext uri="{FF2B5EF4-FFF2-40B4-BE49-F238E27FC236}">
                    <a16:creationId xmlns:a16="http://schemas.microsoft.com/office/drawing/2014/main" id="{05D86B37-91ED-4A56-8818-760F0B605E31}"/>
                  </a:ext>
                </a:extLst>
              </p:cNvPr>
              <p:cNvSpPr/>
              <p:nvPr/>
            </p:nvSpPr>
            <p:spPr>
              <a:xfrm>
                <a:off x="4206560" y="3210850"/>
                <a:ext cx="176191" cy="51314"/>
              </a:xfrm>
              <a:custGeom>
                <a:avLst/>
                <a:gdLst>
                  <a:gd name="connsiteX0" fmla="*/ 176192 w 176191"/>
                  <a:gd name="connsiteY0" fmla="*/ 48324 h 51314"/>
                  <a:gd name="connsiteX1" fmla="*/ 175414 w 176191"/>
                  <a:gd name="connsiteY1" fmla="*/ 51315 h 51314"/>
                  <a:gd name="connsiteX2" fmla="*/ 0 w 176191"/>
                  <a:gd name="connsiteY2" fmla="*/ 2990 h 51314"/>
                  <a:gd name="connsiteX3" fmla="*/ 778 w 176191"/>
                  <a:gd name="connsiteY3" fmla="*/ 0 h 51314"/>
                </a:gdLst>
                <a:ahLst/>
                <a:cxnLst>
                  <a:cxn ang="0">
                    <a:pos x="connsiteX0" y="connsiteY0"/>
                  </a:cxn>
                  <a:cxn ang="0">
                    <a:pos x="connsiteX1" y="connsiteY1"/>
                  </a:cxn>
                  <a:cxn ang="0">
                    <a:pos x="connsiteX2" y="connsiteY2"/>
                  </a:cxn>
                  <a:cxn ang="0">
                    <a:pos x="connsiteX3" y="connsiteY3"/>
                  </a:cxn>
                </a:cxnLst>
                <a:rect l="l" t="t" r="r" b="b"/>
                <a:pathLst>
                  <a:path w="176191" h="51314">
                    <a:moveTo>
                      <a:pt x="176192" y="48324"/>
                    </a:moveTo>
                    <a:lnTo>
                      <a:pt x="175414" y="51315"/>
                    </a:lnTo>
                    <a:lnTo>
                      <a:pt x="0" y="2990"/>
                    </a:lnTo>
                    <a:lnTo>
                      <a:pt x="778" y="0"/>
                    </a:lnTo>
                    <a:close/>
                  </a:path>
                </a:pathLst>
              </a:custGeom>
              <a:grpFill/>
              <a:ln w="5978" cap="flat">
                <a:noFill/>
                <a:prstDash val="solid"/>
                <a:miter/>
              </a:ln>
            </p:spPr>
            <p:txBody>
              <a:bodyPr rtlCol="0" anchor="ctr"/>
              <a:lstStyle/>
              <a:p>
                <a:endParaRPr lang="en-GB"/>
              </a:p>
            </p:txBody>
          </p:sp>
          <p:sp>
            <p:nvSpPr>
              <p:cNvPr id="2101" name="Vrije vorm: vorm 2100">
                <a:extLst>
                  <a:ext uri="{FF2B5EF4-FFF2-40B4-BE49-F238E27FC236}">
                    <a16:creationId xmlns:a16="http://schemas.microsoft.com/office/drawing/2014/main" id="{C5CA7624-EBB9-4ED9-8B72-7C7C5FDB7F9D}"/>
                  </a:ext>
                </a:extLst>
              </p:cNvPr>
              <p:cNvSpPr/>
              <p:nvPr/>
            </p:nvSpPr>
            <p:spPr>
              <a:xfrm>
                <a:off x="4372744" y="3251320"/>
                <a:ext cx="18341" cy="18400"/>
              </a:xfrm>
              <a:custGeom>
                <a:avLst/>
                <a:gdLst>
                  <a:gd name="connsiteX0" fmla="*/ 11563 w 18341"/>
                  <a:gd name="connsiteY0" fmla="*/ 319 h 18400"/>
                  <a:gd name="connsiteX1" fmla="*/ 18022 w 18341"/>
                  <a:gd name="connsiteY1" fmla="*/ 11623 h 18400"/>
                  <a:gd name="connsiteX2" fmla="*/ 6778 w 18341"/>
                  <a:gd name="connsiteY2" fmla="*/ 18082 h 18400"/>
                  <a:gd name="connsiteX3" fmla="*/ 319 w 18341"/>
                  <a:gd name="connsiteY3" fmla="*/ 6778 h 18400"/>
                  <a:gd name="connsiteX4" fmla="*/ 11563 w 18341"/>
                  <a:gd name="connsiteY4" fmla="*/ 31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1563" y="319"/>
                    </a:moveTo>
                    <a:cubicBezTo>
                      <a:pt x="16467" y="1635"/>
                      <a:pt x="19338" y="6718"/>
                      <a:pt x="18022" y="11623"/>
                    </a:cubicBezTo>
                    <a:cubicBezTo>
                      <a:pt x="16706" y="16527"/>
                      <a:pt x="11683" y="19398"/>
                      <a:pt x="6778" y="18082"/>
                    </a:cubicBezTo>
                    <a:cubicBezTo>
                      <a:pt x="1874" y="16766"/>
                      <a:pt x="-997" y="11682"/>
                      <a:pt x="319" y="6778"/>
                    </a:cubicBezTo>
                    <a:cubicBezTo>
                      <a:pt x="1694" y="1874"/>
                      <a:pt x="6718" y="-997"/>
                      <a:pt x="11563" y="319"/>
                    </a:cubicBezTo>
                    <a:close/>
                  </a:path>
                </a:pathLst>
              </a:custGeom>
              <a:grpFill/>
              <a:ln w="5978" cap="flat">
                <a:noFill/>
                <a:prstDash val="solid"/>
                <a:miter/>
              </a:ln>
            </p:spPr>
            <p:txBody>
              <a:bodyPr rtlCol="0" anchor="ctr"/>
              <a:lstStyle/>
              <a:p>
                <a:endParaRPr lang="en-GB"/>
              </a:p>
            </p:txBody>
          </p:sp>
          <p:sp>
            <p:nvSpPr>
              <p:cNvPr id="2102" name="Vrije vorm: vorm 2101">
                <a:extLst>
                  <a:ext uri="{FF2B5EF4-FFF2-40B4-BE49-F238E27FC236}">
                    <a16:creationId xmlns:a16="http://schemas.microsoft.com/office/drawing/2014/main" id="{8D76F4D4-4E88-488F-B15C-BCE328136F66}"/>
                  </a:ext>
                </a:extLst>
              </p:cNvPr>
              <p:cNvSpPr/>
              <p:nvPr/>
            </p:nvSpPr>
            <p:spPr>
              <a:xfrm>
                <a:off x="4198227" y="3203295"/>
                <a:ext cx="18337" cy="18400"/>
              </a:xfrm>
              <a:custGeom>
                <a:avLst/>
                <a:gdLst>
                  <a:gd name="connsiteX0" fmla="*/ 11563 w 18337"/>
                  <a:gd name="connsiteY0" fmla="*/ 319 h 18400"/>
                  <a:gd name="connsiteX1" fmla="*/ 319 w 18337"/>
                  <a:gd name="connsiteY1" fmla="*/ 6778 h 18400"/>
                  <a:gd name="connsiteX2" fmla="*/ 6778 w 18337"/>
                  <a:gd name="connsiteY2" fmla="*/ 18082 h 18400"/>
                  <a:gd name="connsiteX3" fmla="*/ 18022 w 18337"/>
                  <a:gd name="connsiteY3" fmla="*/ 11623 h 18400"/>
                  <a:gd name="connsiteX4" fmla="*/ 11563 w 18337"/>
                  <a:gd name="connsiteY4" fmla="*/ 31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00">
                    <a:moveTo>
                      <a:pt x="11563" y="319"/>
                    </a:moveTo>
                    <a:cubicBezTo>
                      <a:pt x="6659" y="-997"/>
                      <a:pt x="1635" y="1874"/>
                      <a:pt x="319" y="6778"/>
                    </a:cubicBezTo>
                    <a:cubicBezTo>
                      <a:pt x="-997" y="11682"/>
                      <a:pt x="1874" y="16766"/>
                      <a:pt x="6778" y="18082"/>
                    </a:cubicBezTo>
                    <a:cubicBezTo>
                      <a:pt x="11683" y="19398"/>
                      <a:pt x="16706" y="16527"/>
                      <a:pt x="18022" y="11623"/>
                    </a:cubicBezTo>
                    <a:cubicBezTo>
                      <a:pt x="19338" y="6718"/>
                      <a:pt x="16407" y="1635"/>
                      <a:pt x="11563" y="319"/>
                    </a:cubicBezTo>
                    <a:close/>
                  </a:path>
                </a:pathLst>
              </a:custGeom>
              <a:grpFill/>
              <a:ln w="5978" cap="flat">
                <a:noFill/>
                <a:prstDash val="solid"/>
                <a:miter/>
              </a:ln>
            </p:spPr>
            <p:txBody>
              <a:bodyPr rtlCol="0" anchor="ctr"/>
              <a:lstStyle/>
              <a:p>
                <a:endParaRPr lang="en-GB"/>
              </a:p>
            </p:txBody>
          </p:sp>
        </p:grpSp>
        <p:grpSp>
          <p:nvGrpSpPr>
            <p:cNvPr id="1101" name="Graphic 3">
              <a:extLst>
                <a:ext uri="{FF2B5EF4-FFF2-40B4-BE49-F238E27FC236}">
                  <a16:creationId xmlns:a16="http://schemas.microsoft.com/office/drawing/2014/main" id="{63B745A4-8D74-405A-AC0C-6FF85E47803A}"/>
                </a:ext>
              </a:extLst>
            </p:cNvPr>
            <p:cNvGrpSpPr/>
            <p:nvPr/>
          </p:nvGrpSpPr>
          <p:grpSpPr>
            <a:xfrm>
              <a:off x="4244402" y="3308978"/>
              <a:ext cx="148647" cy="25510"/>
              <a:chOff x="4244402" y="3308978"/>
              <a:chExt cx="148647" cy="25510"/>
            </a:xfrm>
            <a:grpFill/>
          </p:grpSpPr>
          <p:sp>
            <p:nvSpPr>
              <p:cNvPr id="2097" name="Vrije vorm: vorm 2096">
                <a:extLst>
                  <a:ext uri="{FF2B5EF4-FFF2-40B4-BE49-F238E27FC236}">
                    <a16:creationId xmlns:a16="http://schemas.microsoft.com/office/drawing/2014/main" id="{1B22D0B7-D829-4A42-BE2D-9C88DEB1AE99}"/>
                  </a:ext>
                </a:extLst>
              </p:cNvPr>
              <p:cNvSpPr/>
              <p:nvPr/>
            </p:nvSpPr>
            <p:spPr>
              <a:xfrm>
                <a:off x="4253030" y="3316589"/>
                <a:ext cx="131396" cy="10226"/>
              </a:xfrm>
              <a:custGeom>
                <a:avLst/>
                <a:gdLst>
                  <a:gd name="connsiteX0" fmla="*/ 131397 w 131396"/>
                  <a:gd name="connsiteY0" fmla="*/ 7177 h 10226"/>
                  <a:gd name="connsiteX1" fmla="*/ 131217 w 131396"/>
                  <a:gd name="connsiteY1" fmla="*/ 10227 h 10226"/>
                  <a:gd name="connsiteX2" fmla="*/ 0 w 131396"/>
                  <a:gd name="connsiteY2" fmla="*/ 3050 h 10226"/>
                  <a:gd name="connsiteX3" fmla="*/ 120 w 131396"/>
                  <a:gd name="connsiteY3" fmla="*/ 0 h 10226"/>
                </a:gdLst>
                <a:ahLst/>
                <a:cxnLst>
                  <a:cxn ang="0">
                    <a:pos x="connsiteX0" y="connsiteY0"/>
                  </a:cxn>
                  <a:cxn ang="0">
                    <a:pos x="connsiteX1" y="connsiteY1"/>
                  </a:cxn>
                  <a:cxn ang="0">
                    <a:pos x="connsiteX2" y="connsiteY2"/>
                  </a:cxn>
                  <a:cxn ang="0">
                    <a:pos x="connsiteX3" y="connsiteY3"/>
                  </a:cxn>
                </a:cxnLst>
                <a:rect l="l" t="t" r="r" b="b"/>
                <a:pathLst>
                  <a:path w="131396" h="10226">
                    <a:moveTo>
                      <a:pt x="131397" y="7177"/>
                    </a:moveTo>
                    <a:lnTo>
                      <a:pt x="131217" y="10227"/>
                    </a:lnTo>
                    <a:lnTo>
                      <a:pt x="0" y="3050"/>
                    </a:lnTo>
                    <a:lnTo>
                      <a:pt x="120" y="0"/>
                    </a:lnTo>
                    <a:close/>
                  </a:path>
                </a:pathLst>
              </a:custGeom>
              <a:grpFill/>
              <a:ln w="5978" cap="flat">
                <a:noFill/>
                <a:prstDash val="solid"/>
                <a:miter/>
              </a:ln>
            </p:spPr>
            <p:txBody>
              <a:bodyPr rtlCol="0" anchor="ctr"/>
              <a:lstStyle/>
              <a:p>
                <a:endParaRPr lang="en-GB"/>
              </a:p>
            </p:txBody>
          </p:sp>
          <p:sp>
            <p:nvSpPr>
              <p:cNvPr id="2098" name="Vrije vorm: vorm 2097">
                <a:extLst>
                  <a:ext uri="{FF2B5EF4-FFF2-40B4-BE49-F238E27FC236}">
                    <a16:creationId xmlns:a16="http://schemas.microsoft.com/office/drawing/2014/main" id="{C945489F-341D-44BF-965D-27756CDEDA95}"/>
                  </a:ext>
                </a:extLst>
              </p:cNvPr>
              <p:cNvSpPr/>
              <p:nvPr/>
            </p:nvSpPr>
            <p:spPr>
              <a:xfrm>
                <a:off x="4244402" y="3308978"/>
                <a:ext cx="18333" cy="18387"/>
              </a:xfrm>
              <a:custGeom>
                <a:avLst/>
                <a:gdLst>
                  <a:gd name="connsiteX0" fmla="*/ 8688 w 18333"/>
                  <a:gd name="connsiteY0" fmla="*/ 18377 h 18387"/>
                  <a:gd name="connsiteX1" fmla="*/ 16 w 18333"/>
                  <a:gd name="connsiteY1" fmla="*/ 8688 h 18387"/>
                  <a:gd name="connsiteX2" fmla="*/ 9645 w 18333"/>
                  <a:gd name="connsiteY2" fmla="*/ 16 h 18387"/>
                  <a:gd name="connsiteX3" fmla="*/ 18317 w 18333"/>
                  <a:gd name="connsiteY3" fmla="*/ 9705 h 18387"/>
                  <a:gd name="connsiteX4" fmla="*/ 8688 w 18333"/>
                  <a:gd name="connsiteY4" fmla="*/ 18377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87">
                    <a:moveTo>
                      <a:pt x="8688" y="18377"/>
                    </a:moveTo>
                    <a:cubicBezTo>
                      <a:pt x="3605" y="18078"/>
                      <a:pt x="-283" y="13772"/>
                      <a:pt x="16" y="8688"/>
                    </a:cubicBezTo>
                    <a:cubicBezTo>
                      <a:pt x="256" y="3605"/>
                      <a:pt x="4562" y="-283"/>
                      <a:pt x="9645" y="16"/>
                    </a:cubicBezTo>
                    <a:cubicBezTo>
                      <a:pt x="14729" y="315"/>
                      <a:pt x="18616" y="4621"/>
                      <a:pt x="18317" y="9705"/>
                    </a:cubicBezTo>
                    <a:cubicBezTo>
                      <a:pt x="18078" y="14729"/>
                      <a:pt x="13772" y="18616"/>
                      <a:pt x="8688" y="18377"/>
                    </a:cubicBezTo>
                    <a:close/>
                  </a:path>
                </a:pathLst>
              </a:custGeom>
              <a:grpFill/>
              <a:ln w="5978" cap="flat">
                <a:noFill/>
                <a:prstDash val="solid"/>
                <a:miter/>
              </a:ln>
            </p:spPr>
            <p:txBody>
              <a:bodyPr rtlCol="0" anchor="ctr"/>
              <a:lstStyle/>
              <a:p>
                <a:endParaRPr lang="en-GB"/>
              </a:p>
            </p:txBody>
          </p:sp>
          <p:sp>
            <p:nvSpPr>
              <p:cNvPr id="2099" name="Vrije vorm: vorm 2098">
                <a:extLst>
                  <a:ext uri="{FF2B5EF4-FFF2-40B4-BE49-F238E27FC236}">
                    <a16:creationId xmlns:a16="http://schemas.microsoft.com/office/drawing/2014/main" id="{D10DC954-5CBD-4B9B-9B71-37CAB330DF53}"/>
                  </a:ext>
                </a:extLst>
              </p:cNvPr>
              <p:cNvSpPr/>
              <p:nvPr/>
            </p:nvSpPr>
            <p:spPr>
              <a:xfrm>
                <a:off x="4374722" y="3316100"/>
                <a:ext cx="18327" cy="18387"/>
              </a:xfrm>
              <a:custGeom>
                <a:avLst/>
                <a:gdLst>
                  <a:gd name="connsiteX0" fmla="*/ 8688 w 18327"/>
                  <a:gd name="connsiteY0" fmla="*/ 18371 h 18387"/>
                  <a:gd name="connsiteX1" fmla="*/ 18317 w 18327"/>
                  <a:gd name="connsiteY1" fmla="*/ 9699 h 18387"/>
                  <a:gd name="connsiteX2" fmla="*/ 9645 w 18327"/>
                  <a:gd name="connsiteY2" fmla="*/ 11 h 18387"/>
                  <a:gd name="connsiteX3" fmla="*/ 16 w 18327"/>
                  <a:gd name="connsiteY3" fmla="*/ 8683 h 18387"/>
                  <a:gd name="connsiteX4" fmla="*/ 8688 w 18327"/>
                  <a:gd name="connsiteY4" fmla="*/ 18371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87">
                    <a:moveTo>
                      <a:pt x="8688" y="18371"/>
                    </a:moveTo>
                    <a:cubicBezTo>
                      <a:pt x="13772" y="18670"/>
                      <a:pt x="18077" y="14783"/>
                      <a:pt x="18317" y="9699"/>
                    </a:cubicBezTo>
                    <a:cubicBezTo>
                      <a:pt x="18556" y="4616"/>
                      <a:pt x="14668" y="250"/>
                      <a:pt x="9645" y="11"/>
                    </a:cubicBezTo>
                    <a:cubicBezTo>
                      <a:pt x="4621" y="-229"/>
                      <a:pt x="255" y="3599"/>
                      <a:pt x="16" y="8683"/>
                    </a:cubicBezTo>
                    <a:cubicBezTo>
                      <a:pt x="-283" y="13766"/>
                      <a:pt x="3664" y="18132"/>
                      <a:pt x="8688" y="18371"/>
                    </a:cubicBezTo>
                    <a:close/>
                  </a:path>
                </a:pathLst>
              </a:custGeom>
              <a:grpFill/>
              <a:ln w="5978" cap="flat">
                <a:noFill/>
                <a:prstDash val="solid"/>
                <a:miter/>
              </a:ln>
            </p:spPr>
            <p:txBody>
              <a:bodyPr rtlCol="0" anchor="ctr"/>
              <a:lstStyle/>
              <a:p>
                <a:endParaRPr lang="en-GB"/>
              </a:p>
            </p:txBody>
          </p:sp>
        </p:grpSp>
        <p:grpSp>
          <p:nvGrpSpPr>
            <p:cNvPr id="1102" name="Graphic 3">
              <a:extLst>
                <a:ext uri="{FF2B5EF4-FFF2-40B4-BE49-F238E27FC236}">
                  <a16:creationId xmlns:a16="http://schemas.microsoft.com/office/drawing/2014/main" id="{23A01FBB-4771-40FA-A2D0-B4DCAB5A03FF}"/>
                </a:ext>
              </a:extLst>
            </p:cNvPr>
            <p:cNvGrpSpPr/>
            <p:nvPr/>
          </p:nvGrpSpPr>
          <p:grpSpPr>
            <a:xfrm>
              <a:off x="4027563" y="2950248"/>
              <a:ext cx="364035" cy="127943"/>
              <a:chOff x="4027563" y="2950248"/>
              <a:chExt cx="364035" cy="127943"/>
            </a:xfrm>
            <a:grpFill/>
          </p:grpSpPr>
          <p:sp>
            <p:nvSpPr>
              <p:cNvPr id="2094" name="Vrije vorm: vorm 2093">
                <a:extLst>
                  <a:ext uri="{FF2B5EF4-FFF2-40B4-BE49-F238E27FC236}">
                    <a16:creationId xmlns:a16="http://schemas.microsoft.com/office/drawing/2014/main" id="{D6D94D1C-B5F8-4129-82EE-79E49CE9B2D1}"/>
                  </a:ext>
                </a:extLst>
              </p:cNvPr>
              <p:cNvSpPr/>
              <p:nvPr/>
            </p:nvSpPr>
            <p:spPr>
              <a:xfrm>
                <a:off x="4035870" y="2957866"/>
                <a:ext cx="347420" cy="112736"/>
              </a:xfrm>
              <a:custGeom>
                <a:avLst/>
                <a:gdLst>
                  <a:gd name="connsiteX0" fmla="*/ 347420 w 347420"/>
                  <a:gd name="connsiteY0" fmla="*/ 109806 h 112736"/>
                  <a:gd name="connsiteX1" fmla="*/ 346523 w 347420"/>
                  <a:gd name="connsiteY1" fmla="*/ 112736 h 112736"/>
                  <a:gd name="connsiteX2" fmla="*/ 0 w 347420"/>
                  <a:gd name="connsiteY2" fmla="*/ 2930 h 112736"/>
                  <a:gd name="connsiteX3" fmla="*/ 897 w 347420"/>
                  <a:gd name="connsiteY3" fmla="*/ 0 h 112736"/>
                </a:gdLst>
                <a:ahLst/>
                <a:cxnLst>
                  <a:cxn ang="0">
                    <a:pos x="connsiteX0" y="connsiteY0"/>
                  </a:cxn>
                  <a:cxn ang="0">
                    <a:pos x="connsiteX1" y="connsiteY1"/>
                  </a:cxn>
                  <a:cxn ang="0">
                    <a:pos x="connsiteX2" y="connsiteY2"/>
                  </a:cxn>
                  <a:cxn ang="0">
                    <a:pos x="connsiteX3" y="connsiteY3"/>
                  </a:cxn>
                </a:cxnLst>
                <a:rect l="l" t="t" r="r" b="b"/>
                <a:pathLst>
                  <a:path w="347420" h="112736">
                    <a:moveTo>
                      <a:pt x="347420" y="109806"/>
                    </a:moveTo>
                    <a:lnTo>
                      <a:pt x="346523" y="112736"/>
                    </a:lnTo>
                    <a:lnTo>
                      <a:pt x="0" y="2930"/>
                    </a:lnTo>
                    <a:lnTo>
                      <a:pt x="897" y="0"/>
                    </a:lnTo>
                    <a:close/>
                  </a:path>
                </a:pathLst>
              </a:custGeom>
              <a:grpFill/>
              <a:ln w="5978" cap="flat">
                <a:noFill/>
                <a:prstDash val="solid"/>
                <a:miter/>
              </a:ln>
            </p:spPr>
            <p:txBody>
              <a:bodyPr rtlCol="0" anchor="ctr"/>
              <a:lstStyle/>
              <a:p>
                <a:endParaRPr lang="en-GB"/>
              </a:p>
            </p:txBody>
          </p:sp>
          <p:sp>
            <p:nvSpPr>
              <p:cNvPr id="2095" name="Vrije vorm: vorm 2094">
                <a:extLst>
                  <a:ext uri="{FF2B5EF4-FFF2-40B4-BE49-F238E27FC236}">
                    <a16:creationId xmlns:a16="http://schemas.microsoft.com/office/drawing/2014/main" id="{6DFDB831-7F7B-41D6-8F94-48DC53032B54}"/>
                  </a:ext>
                </a:extLst>
              </p:cNvPr>
              <p:cNvSpPr/>
              <p:nvPr/>
            </p:nvSpPr>
            <p:spPr>
              <a:xfrm>
                <a:off x="4373249" y="3059755"/>
                <a:ext cx="18349" cy="18436"/>
              </a:xfrm>
              <a:custGeom>
                <a:avLst/>
                <a:gdLst>
                  <a:gd name="connsiteX0" fmla="*/ 11896 w 18349"/>
                  <a:gd name="connsiteY0" fmla="*/ 440 h 18436"/>
                  <a:gd name="connsiteX1" fmla="*/ 17936 w 18349"/>
                  <a:gd name="connsiteY1" fmla="*/ 11983 h 18436"/>
                  <a:gd name="connsiteX2" fmla="*/ 6453 w 18349"/>
                  <a:gd name="connsiteY2" fmla="*/ 18024 h 18436"/>
                  <a:gd name="connsiteX3" fmla="*/ 413 w 18349"/>
                  <a:gd name="connsiteY3" fmla="*/ 6481 h 18436"/>
                  <a:gd name="connsiteX4" fmla="*/ 11896 w 18349"/>
                  <a:gd name="connsiteY4" fmla="*/ 440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6">
                    <a:moveTo>
                      <a:pt x="11896" y="440"/>
                    </a:moveTo>
                    <a:cubicBezTo>
                      <a:pt x="16740" y="1996"/>
                      <a:pt x="19432" y="7139"/>
                      <a:pt x="17936" y="11983"/>
                    </a:cubicBezTo>
                    <a:cubicBezTo>
                      <a:pt x="16441" y="16828"/>
                      <a:pt x="11298" y="19519"/>
                      <a:pt x="6453" y="18024"/>
                    </a:cubicBezTo>
                    <a:cubicBezTo>
                      <a:pt x="1609" y="16469"/>
                      <a:pt x="-1082" y="11325"/>
                      <a:pt x="413" y="6481"/>
                    </a:cubicBezTo>
                    <a:cubicBezTo>
                      <a:pt x="1908" y="1577"/>
                      <a:pt x="7051" y="-1115"/>
                      <a:pt x="11896" y="440"/>
                    </a:cubicBezTo>
                    <a:close/>
                  </a:path>
                </a:pathLst>
              </a:custGeom>
              <a:grpFill/>
              <a:ln w="5978" cap="flat">
                <a:noFill/>
                <a:prstDash val="solid"/>
                <a:miter/>
              </a:ln>
            </p:spPr>
            <p:txBody>
              <a:bodyPr rtlCol="0" anchor="ctr"/>
              <a:lstStyle/>
              <a:p>
                <a:endParaRPr lang="en-GB"/>
              </a:p>
            </p:txBody>
          </p:sp>
          <p:sp>
            <p:nvSpPr>
              <p:cNvPr id="2096" name="Vrije vorm: vorm 2095">
                <a:extLst>
                  <a:ext uri="{FF2B5EF4-FFF2-40B4-BE49-F238E27FC236}">
                    <a16:creationId xmlns:a16="http://schemas.microsoft.com/office/drawing/2014/main" id="{775B3C1B-F7B5-4039-ADEF-F78E40EF0375}"/>
                  </a:ext>
                </a:extLst>
              </p:cNvPr>
              <p:cNvSpPr/>
              <p:nvPr/>
            </p:nvSpPr>
            <p:spPr>
              <a:xfrm>
                <a:off x="4027563" y="2950248"/>
                <a:ext cx="18349" cy="18464"/>
              </a:xfrm>
              <a:custGeom>
                <a:avLst/>
                <a:gdLst>
                  <a:gd name="connsiteX0" fmla="*/ 11896 w 18349"/>
                  <a:gd name="connsiteY0" fmla="*/ 440 h 18464"/>
                  <a:gd name="connsiteX1" fmla="*/ 413 w 18349"/>
                  <a:gd name="connsiteY1" fmla="*/ 6481 h 18464"/>
                  <a:gd name="connsiteX2" fmla="*/ 6453 w 18349"/>
                  <a:gd name="connsiteY2" fmla="*/ 18024 h 18464"/>
                  <a:gd name="connsiteX3" fmla="*/ 17936 w 18349"/>
                  <a:gd name="connsiteY3" fmla="*/ 11983 h 18464"/>
                  <a:gd name="connsiteX4" fmla="*/ 11896 w 18349"/>
                  <a:gd name="connsiteY4" fmla="*/ 440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4">
                    <a:moveTo>
                      <a:pt x="11896" y="440"/>
                    </a:moveTo>
                    <a:cubicBezTo>
                      <a:pt x="7052" y="-1115"/>
                      <a:pt x="1908" y="1577"/>
                      <a:pt x="413" y="6481"/>
                    </a:cubicBezTo>
                    <a:cubicBezTo>
                      <a:pt x="-1082" y="11325"/>
                      <a:pt x="1609" y="16529"/>
                      <a:pt x="6453" y="18024"/>
                    </a:cubicBezTo>
                    <a:cubicBezTo>
                      <a:pt x="11298" y="19579"/>
                      <a:pt x="16441" y="16887"/>
                      <a:pt x="17936" y="11983"/>
                    </a:cubicBezTo>
                    <a:cubicBezTo>
                      <a:pt x="19432" y="7139"/>
                      <a:pt x="16741" y="1936"/>
                      <a:pt x="11896" y="440"/>
                    </a:cubicBezTo>
                    <a:close/>
                  </a:path>
                </a:pathLst>
              </a:custGeom>
              <a:grpFill/>
              <a:ln w="5978" cap="flat">
                <a:noFill/>
                <a:prstDash val="solid"/>
                <a:miter/>
              </a:ln>
            </p:spPr>
            <p:txBody>
              <a:bodyPr rtlCol="0" anchor="ctr"/>
              <a:lstStyle/>
              <a:p>
                <a:endParaRPr lang="en-GB"/>
              </a:p>
            </p:txBody>
          </p:sp>
        </p:grpSp>
        <p:grpSp>
          <p:nvGrpSpPr>
            <p:cNvPr id="1103" name="Graphic 3">
              <a:extLst>
                <a:ext uri="{FF2B5EF4-FFF2-40B4-BE49-F238E27FC236}">
                  <a16:creationId xmlns:a16="http://schemas.microsoft.com/office/drawing/2014/main" id="{F0071E04-9556-47DB-8799-E8B9AE022467}"/>
                </a:ext>
              </a:extLst>
            </p:cNvPr>
            <p:cNvGrpSpPr/>
            <p:nvPr/>
          </p:nvGrpSpPr>
          <p:grpSpPr>
            <a:xfrm>
              <a:off x="4700260" y="4607766"/>
              <a:ext cx="127369" cy="124222"/>
              <a:chOff x="4700260" y="4607766"/>
              <a:chExt cx="127369" cy="124222"/>
            </a:xfrm>
            <a:grpFill/>
          </p:grpSpPr>
          <p:sp>
            <p:nvSpPr>
              <p:cNvPr id="2091" name="Vrije vorm: vorm 2090">
                <a:extLst>
                  <a:ext uri="{FF2B5EF4-FFF2-40B4-BE49-F238E27FC236}">
                    <a16:creationId xmlns:a16="http://schemas.microsoft.com/office/drawing/2014/main" id="{8FCD858D-9016-4255-8231-4D7EB97E4955}"/>
                  </a:ext>
                </a:extLst>
              </p:cNvPr>
              <p:cNvSpPr/>
              <p:nvPr/>
            </p:nvSpPr>
            <p:spPr>
              <a:xfrm>
                <a:off x="4708044" y="4615542"/>
                <a:ext cx="111839" cy="108609"/>
              </a:xfrm>
              <a:custGeom>
                <a:avLst/>
                <a:gdLst>
                  <a:gd name="connsiteX0" fmla="*/ 111840 w 111839"/>
                  <a:gd name="connsiteY0" fmla="*/ 2213 h 108609"/>
                  <a:gd name="connsiteX1" fmla="*/ 2153 w 111839"/>
                  <a:gd name="connsiteY1" fmla="*/ 108610 h 108609"/>
                  <a:gd name="connsiteX2" fmla="*/ 0 w 111839"/>
                  <a:gd name="connsiteY2" fmla="*/ 106397 h 108609"/>
                  <a:gd name="connsiteX3" fmla="*/ 109687 w 111839"/>
                  <a:gd name="connsiteY3" fmla="*/ 0 h 108609"/>
                </a:gdLst>
                <a:ahLst/>
                <a:cxnLst>
                  <a:cxn ang="0">
                    <a:pos x="connsiteX0" y="connsiteY0"/>
                  </a:cxn>
                  <a:cxn ang="0">
                    <a:pos x="connsiteX1" y="connsiteY1"/>
                  </a:cxn>
                  <a:cxn ang="0">
                    <a:pos x="connsiteX2" y="connsiteY2"/>
                  </a:cxn>
                  <a:cxn ang="0">
                    <a:pos x="connsiteX3" y="connsiteY3"/>
                  </a:cxn>
                </a:cxnLst>
                <a:rect l="l" t="t" r="r" b="b"/>
                <a:pathLst>
                  <a:path w="111839" h="108609">
                    <a:moveTo>
                      <a:pt x="111840" y="2213"/>
                    </a:moveTo>
                    <a:lnTo>
                      <a:pt x="2153" y="108610"/>
                    </a:lnTo>
                    <a:lnTo>
                      <a:pt x="0" y="106397"/>
                    </a:lnTo>
                    <a:lnTo>
                      <a:pt x="109687" y="0"/>
                    </a:lnTo>
                    <a:close/>
                  </a:path>
                </a:pathLst>
              </a:custGeom>
              <a:grpFill/>
              <a:ln w="5978" cap="flat">
                <a:noFill/>
                <a:prstDash val="solid"/>
                <a:miter/>
              </a:ln>
            </p:spPr>
            <p:txBody>
              <a:bodyPr rtlCol="0" anchor="ctr"/>
              <a:lstStyle/>
              <a:p>
                <a:endParaRPr lang="en-GB"/>
              </a:p>
            </p:txBody>
          </p:sp>
          <p:sp>
            <p:nvSpPr>
              <p:cNvPr id="2092" name="Vrije vorm: vorm 2091">
                <a:extLst>
                  <a:ext uri="{FF2B5EF4-FFF2-40B4-BE49-F238E27FC236}">
                    <a16:creationId xmlns:a16="http://schemas.microsoft.com/office/drawing/2014/main" id="{17CB255C-103B-4341-8D16-1582132306FF}"/>
                  </a:ext>
                </a:extLst>
              </p:cNvPr>
              <p:cNvSpPr/>
              <p:nvPr/>
            </p:nvSpPr>
            <p:spPr>
              <a:xfrm>
                <a:off x="4700260" y="4713565"/>
                <a:ext cx="18340" cy="18423"/>
              </a:xfrm>
              <a:custGeom>
                <a:avLst/>
                <a:gdLst>
                  <a:gd name="connsiteX0" fmla="*/ 15559 w 18340"/>
                  <a:gd name="connsiteY0" fmla="*/ 15851 h 18423"/>
                  <a:gd name="connsiteX1" fmla="*/ 2580 w 18340"/>
                  <a:gd name="connsiteY1" fmla="*/ 15611 h 18423"/>
                  <a:gd name="connsiteX2" fmla="*/ 2760 w 18340"/>
                  <a:gd name="connsiteY2" fmla="*/ 2573 h 18423"/>
                  <a:gd name="connsiteX3" fmla="*/ 15738 w 18340"/>
                  <a:gd name="connsiteY3" fmla="*/ 2813 h 18423"/>
                  <a:gd name="connsiteX4" fmla="*/ 15559 w 18340"/>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3">
                    <a:moveTo>
                      <a:pt x="15559" y="15851"/>
                    </a:moveTo>
                    <a:cubicBezTo>
                      <a:pt x="11910" y="19379"/>
                      <a:pt x="6109" y="19260"/>
                      <a:pt x="2580" y="15611"/>
                    </a:cubicBezTo>
                    <a:cubicBezTo>
                      <a:pt x="-948" y="11963"/>
                      <a:pt x="-829" y="6102"/>
                      <a:pt x="2760" y="2573"/>
                    </a:cubicBezTo>
                    <a:cubicBezTo>
                      <a:pt x="6408" y="-955"/>
                      <a:pt x="12209" y="-836"/>
                      <a:pt x="15738" y="2813"/>
                    </a:cubicBezTo>
                    <a:cubicBezTo>
                      <a:pt x="19267" y="6461"/>
                      <a:pt x="19207" y="12322"/>
                      <a:pt x="15559" y="15851"/>
                    </a:cubicBezTo>
                    <a:close/>
                  </a:path>
                </a:pathLst>
              </a:custGeom>
              <a:grpFill/>
              <a:ln w="5978" cap="flat">
                <a:noFill/>
                <a:prstDash val="solid"/>
                <a:miter/>
              </a:ln>
            </p:spPr>
            <p:txBody>
              <a:bodyPr rtlCol="0" anchor="ctr"/>
              <a:lstStyle/>
              <a:p>
                <a:endParaRPr lang="en-GB"/>
              </a:p>
            </p:txBody>
          </p:sp>
          <p:sp>
            <p:nvSpPr>
              <p:cNvPr id="2093" name="Vrije vorm: vorm 2092">
                <a:extLst>
                  <a:ext uri="{FF2B5EF4-FFF2-40B4-BE49-F238E27FC236}">
                    <a16:creationId xmlns:a16="http://schemas.microsoft.com/office/drawing/2014/main" id="{CCC1B363-F100-41DD-80E9-902AAB4B5A83}"/>
                  </a:ext>
                </a:extLst>
              </p:cNvPr>
              <p:cNvSpPr/>
              <p:nvPr/>
            </p:nvSpPr>
            <p:spPr>
              <a:xfrm>
                <a:off x="4809267" y="4607766"/>
                <a:ext cx="18362" cy="18424"/>
              </a:xfrm>
              <a:custGeom>
                <a:avLst/>
                <a:gdLst>
                  <a:gd name="connsiteX0" fmla="*/ 15581 w 18362"/>
                  <a:gd name="connsiteY0" fmla="*/ 15851 h 18424"/>
                  <a:gd name="connsiteX1" fmla="*/ 15760 w 18362"/>
                  <a:gd name="connsiteY1" fmla="*/ 2813 h 18424"/>
                  <a:gd name="connsiteX2" fmla="*/ 2782 w 18362"/>
                  <a:gd name="connsiteY2" fmla="*/ 2573 h 18424"/>
                  <a:gd name="connsiteX3" fmla="*/ 2602 w 18362"/>
                  <a:gd name="connsiteY3" fmla="*/ 15611 h 18424"/>
                  <a:gd name="connsiteX4" fmla="*/ 15581 w 18362"/>
                  <a:gd name="connsiteY4" fmla="*/ 15851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15581" y="15851"/>
                    </a:moveTo>
                    <a:cubicBezTo>
                      <a:pt x="19229" y="12322"/>
                      <a:pt x="19289" y="6521"/>
                      <a:pt x="15760" y="2813"/>
                    </a:cubicBezTo>
                    <a:cubicBezTo>
                      <a:pt x="12231" y="-836"/>
                      <a:pt x="6430" y="-955"/>
                      <a:pt x="2782" y="2573"/>
                    </a:cubicBezTo>
                    <a:cubicBezTo>
                      <a:pt x="-866" y="6102"/>
                      <a:pt x="-926" y="11903"/>
                      <a:pt x="2602" y="15611"/>
                    </a:cubicBezTo>
                    <a:cubicBezTo>
                      <a:pt x="6131" y="19260"/>
                      <a:pt x="11932" y="19379"/>
                      <a:pt x="15581" y="15851"/>
                    </a:cubicBezTo>
                    <a:close/>
                  </a:path>
                </a:pathLst>
              </a:custGeom>
              <a:grpFill/>
              <a:ln w="5978" cap="flat">
                <a:noFill/>
                <a:prstDash val="solid"/>
                <a:miter/>
              </a:ln>
            </p:spPr>
            <p:txBody>
              <a:bodyPr rtlCol="0" anchor="ctr"/>
              <a:lstStyle/>
              <a:p>
                <a:endParaRPr lang="en-GB"/>
              </a:p>
            </p:txBody>
          </p:sp>
        </p:grpSp>
        <p:grpSp>
          <p:nvGrpSpPr>
            <p:cNvPr id="1104" name="Graphic 3">
              <a:extLst>
                <a:ext uri="{FF2B5EF4-FFF2-40B4-BE49-F238E27FC236}">
                  <a16:creationId xmlns:a16="http://schemas.microsoft.com/office/drawing/2014/main" id="{74D92BB4-D5F6-4C63-A738-DCF792A63986}"/>
                </a:ext>
              </a:extLst>
            </p:cNvPr>
            <p:cNvGrpSpPr/>
            <p:nvPr/>
          </p:nvGrpSpPr>
          <p:grpSpPr>
            <a:xfrm>
              <a:off x="3899430" y="2119426"/>
              <a:ext cx="26056" cy="23090"/>
              <a:chOff x="3899430" y="2119426"/>
              <a:chExt cx="26056" cy="23090"/>
            </a:xfrm>
            <a:grpFill/>
          </p:grpSpPr>
          <p:sp>
            <p:nvSpPr>
              <p:cNvPr id="2088" name="Vrije vorm: vorm 2087">
                <a:extLst>
                  <a:ext uri="{FF2B5EF4-FFF2-40B4-BE49-F238E27FC236}">
                    <a16:creationId xmlns:a16="http://schemas.microsoft.com/office/drawing/2014/main" id="{10BE8330-722C-48BF-A9C7-6C1DBB24C216}"/>
                  </a:ext>
                </a:extLst>
              </p:cNvPr>
              <p:cNvSpPr/>
              <p:nvPr/>
            </p:nvSpPr>
            <p:spPr>
              <a:xfrm>
                <a:off x="3907464" y="2127084"/>
                <a:ext cx="10047" cy="7715"/>
              </a:xfrm>
              <a:custGeom>
                <a:avLst/>
                <a:gdLst>
                  <a:gd name="connsiteX0" fmla="*/ 10048 w 10047"/>
                  <a:gd name="connsiteY0" fmla="*/ 5084 h 7715"/>
                  <a:gd name="connsiteX1" fmla="*/ 8493 w 10047"/>
                  <a:gd name="connsiteY1" fmla="*/ 7715 h 7715"/>
                  <a:gd name="connsiteX2" fmla="*/ 0 w 10047"/>
                  <a:gd name="connsiteY2" fmla="*/ 2632 h 7715"/>
                  <a:gd name="connsiteX3" fmla="*/ 1555 w 10047"/>
                  <a:gd name="connsiteY3" fmla="*/ 0 h 7715"/>
                </a:gdLst>
                <a:ahLst/>
                <a:cxnLst>
                  <a:cxn ang="0">
                    <a:pos x="connsiteX0" y="connsiteY0"/>
                  </a:cxn>
                  <a:cxn ang="0">
                    <a:pos x="connsiteX1" y="connsiteY1"/>
                  </a:cxn>
                  <a:cxn ang="0">
                    <a:pos x="connsiteX2" y="connsiteY2"/>
                  </a:cxn>
                  <a:cxn ang="0">
                    <a:pos x="connsiteX3" y="connsiteY3"/>
                  </a:cxn>
                </a:cxnLst>
                <a:rect l="l" t="t" r="r" b="b"/>
                <a:pathLst>
                  <a:path w="10047" h="7715">
                    <a:moveTo>
                      <a:pt x="10048" y="5084"/>
                    </a:moveTo>
                    <a:lnTo>
                      <a:pt x="8493" y="7715"/>
                    </a:lnTo>
                    <a:lnTo>
                      <a:pt x="0" y="2632"/>
                    </a:lnTo>
                    <a:lnTo>
                      <a:pt x="1555" y="0"/>
                    </a:lnTo>
                    <a:close/>
                  </a:path>
                </a:pathLst>
              </a:custGeom>
              <a:grpFill/>
              <a:ln w="5978" cap="flat">
                <a:noFill/>
                <a:prstDash val="solid"/>
                <a:miter/>
              </a:ln>
            </p:spPr>
            <p:txBody>
              <a:bodyPr rtlCol="0" anchor="ctr"/>
              <a:lstStyle/>
              <a:p>
                <a:endParaRPr lang="en-GB"/>
              </a:p>
            </p:txBody>
          </p:sp>
          <p:sp>
            <p:nvSpPr>
              <p:cNvPr id="2089" name="Vrije vorm: vorm 2088">
                <a:extLst>
                  <a:ext uri="{FF2B5EF4-FFF2-40B4-BE49-F238E27FC236}">
                    <a16:creationId xmlns:a16="http://schemas.microsoft.com/office/drawing/2014/main" id="{C1F6D55E-3A77-4D80-B359-F62E477CE24B}"/>
                  </a:ext>
                </a:extLst>
              </p:cNvPr>
              <p:cNvSpPr/>
              <p:nvPr/>
            </p:nvSpPr>
            <p:spPr>
              <a:xfrm>
                <a:off x="3899430" y="2119426"/>
                <a:ext cx="18341" cy="18425"/>
              </a:xfrm>
              <a:custGeom>
                <a:avLst/>
                <a:gdLst>
                  <a:gd name="connsiteX0" fmla="*/ 4505 w 18341"/>
                  <a:gd name="connsiteY0" fmla="*/ 17108 h 18425"/>
                  <a:gd name="connsiteX1" fmla="*/ 1276 w 18341"/>
                  <a:gd name="connsiteY1" fmla="*/ 4488 h 18425"/>
                  <a:gd name="connsiteX2" fmla="*/ 13835 w 18341"/>
                  <a:gd name="connsiteY2" fmla="*/ 1318 h 18425"/>
                  <a:gd name="connsiteX3" fmla="*/ 17065 w 18341"/>
                  <a:gd name="connsiteY3" fmla="*/ 13938 h 18425"/>
                  <a:gd name="connsiteX4" fmla="*/ 4505 w 1834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4505" y="17108"/>
                    </a:moveTo>
                    <a:cubicBezTo>
                      <a:pt x="140" y="14476"/>
                      <a:pt x="-1296" y="8854"/>
                      <a:pt x="1276" y="4488"/>
                    </a:cubicBezTo>
                    <a:cubicBezTo>
                      <a:pt x="3848" y="122"/>
                      <a:pt x="9470" y="-1313"/>
                      <a:pt x="13835" y="1318"/>
                    </a:cubicBezTo>
                    <a:cubicBezTo>
                      <a:pt x="18202" y="3950"/>
                      <a:pt x="19637" y="9572"/>
                      <a:pt x="17065" y="13938"/>
                    </a:cubicBezTo>
                    <a:cubicBezTo>
                      <a:pt x="14493" y="18304"/>
                      <a:pt x="8872" y="19739"/>
                      <a:pt x="4505" y="17108"/>
                    </a:cubicBezTo>
                    <a:close/>
                  </a:path>
                </a:pathLst>
              </a:custGeom>
              <a:grpFill/>
              <a:ln w="5978" cap="flat">
                <a:noFill/>
                <a:prstDash val="solid"/>
                <a:miter/>
              </a:ln>
            </p:spPr>
            <p:txBody>
              <a:bodyPr rtlCol="0" anchor="ctr"/>
              <a:lstStyle/>
              <a:p>
                <a:endParaRPr lang="en-GB"/>
              </a:p>
            </p:txBody>
          </p:sp>
          <p:sp>
            <p:nvSpPr>
              <p:cNvPr id="2090" name="Vrije vorm: vorm 2089">
                <a:extLst>
                  <a:ext uri="{FF2B5EF4-FFF2-40B4-BE49-F238E27FC236}">
                    <a16:creationId xmlns:a16="http://schemas.microsoft.com/office/drawing/2014/main" id="{A0E93285-460E-43DF-B285-C8174CD00872}"/>
                  </a:ext>
                </a:extLst>
              </p:cNvPr>
              <p:cNvSpPr/>
              <p:nvPr/>
            </p:nvSpPr>
            <p:spPr>
              <a:xfrm>
                <a:off x="3907185" y="2124091"/>
                <a:ext cx="18301" cy="18425"/>
              </a:xfrm>
              <a:custGeom>
                <a:avLst/>
                <a:gdLst>
                  <a:gd name="connsiteX0" fmla="*/ 4466 w 18301"/>
                  <a:gd name="connsiteY0" fmla="*/ 17108 h 18425"/>
                  <a:gd name="connsiteX1" fmla="*/ 17025 w 18301"/>
                  <a:gd name="connsiteY1" fmla="*/ 13938 h 18425"/>
                  <a:gd name="connsiteX2" fmla="*/ 13796 w 18301"/>
                  <a:gd name="connsiteY2" fmla="*/ 1318 h 18425"/>
                  <a:gd name="connsiteX3" fmla="*/ 1236 w 18301"/>
                  <a:gd name="connsiteY3" fmla="*/ 4488 h 18425"/>
                  <a:gd name="connsiteX4" fmla="*/ 4466 w 1830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5">
                    <a:moveTo>
                      <a:pt x="4466" y="17108"/>
                    </a:moveTo>
                    <a:cubicBezTo>
                      <a:pt x="8832" y="19739"/>
                      <a:pt x="14453" y="18304"/>
                      <a:pt x="17025" y="13938"/>
                    </a:cubicBezTo>
                    <a:cubicBezTo>
                      <a:pt x="19597" y="9572"/>
                      <a:pt x="18161" y="3890"/>
                      <a:pt x="13796" y="1318"/>
                    </a:cubicBezTo>
                    <a:cubicBezTo>
                      <a:pt x="9430" y="-1313"/>
                      <a:pt x="3808" y="122"/>
                      <a:pt x="1236" y="4488"/>
                    </a:cubicBezTo>
                    <a:cubicBezTo>
                      <a:pt x="-1276" y="8794"/>
                      <a:pt x="159" y="14476"/>
                      <a:pt x="4466" y="17108"/>
                    </a:cubicBezTo>
                    <a:close/>
                  </a:path>
                </a:pathLst>
              </a:custGeom>
              <a:grpFill/>
              <a:ln w="5978" cap="flat">
                <a:noFill/>
                <a:prstDash val="solid"/>
                <a:miter/>
              </a:ln>
            </p:spPr>
            <p:txBody>
              <a:bodyPr rtlCol="0" anchor="ctr"/>
              <a:lstStyle/>
              <a:p>
                <a:endParaRPr lang="en-GB"/>
              </a:p>
            </p:txBody>
          </p:sp>
        </p:grpSp>
        <p:grpSp>
          <p:nvGrpSpPr>
            <p:cNvPr id="1105" name="Graphic 3">
              <a:extLst>
                <a:ext uri="{FF2B5EF4-FFF2-40B4-BE49-F238E27FC236}">
                  <a16:creationId xmlns:a16="http://schemas.microsoft.com/office/drawing/2014/main" id="{935828BE-2DA6-4C7B-A006-C03D51323646}"/>
                </a:ext>
              </a:extLst>
            </p:cNvPr>
            <p:cNvGrpSpPr/>
            <p:nvPr/>
          </p:nvGrpSpPr>
          <p:grpSpPr>
            <a:xfrm>
              <a:off x="4792625" y="4878898"/>
              <a:ext cx="107412" cy="130988"/>
              <a:chOff x="4792625" y="4878898"/>
              <a:chExt cx="107412" cy="130988"/>
            </a:xfrm>
            <a:grpFill/>
          </p:grpSpPr>
          <p:sp>
            <p:nvSpPr>
              <p:cNvPr id="2085" name="Vrije vorm: vorm 2084">
                <a:extLst>
                  <a:ext uri="{FF2B5EF4-FFF2-40B4-BE49-F238E27FC236}">
                    <a16:creationId xmlns:a16="http://schemas.microsoft.com/office/drawing/2014/main" id="{5467C3BB-25B0-4CB8-B601-A08CBAE40E19}"/>
                  </a:ext>
                </a:extLst>
              </p:cNvPr>
              <p:cNvSpPr/>
              <p:nvPr/>
            </p:nvSpPr>
            <p:spPr>
              <a:xfrm>
                <a:off x="4800266" y="4886708"/>
                <a:ext cx="92103" cy="115248"/>
              </a:xfrm>
              <a:custGeom>
                <a:avLst/>
                <a:gdLst>
                  <a:gd name="connsiteX0" fmla="*/ 92103 w 92103"/>
                  <a:gd name="connsiteY0" fmla="*/ 1914 h 115248"/>
                  <a:gd name="connsiteX1" fmla="*/ 2392 w 92103"/>
                  <a:gd name="connsiteY1" fmla="*/ 115249 h 115248"/>
                  <a:gd name="connsiteX2" fmla="*/ 0 w 92103"/>
                  <a:gd name="connsiteY2" fmla="*/ 113395 h 115248"/>
                  <a:gd name="connsiteX3" fmla="*/ 89711 w 92103"/>
                  <a:gd name="connsiteY3" fmla="*/ 0 h 115248"/>
                </a:gdLst>
                <a:ahLst/>
                <a:cxnLst>
                  <a:cxn ang="0">
                    <a:pos x="connsiteX0" y="connsiteY0"/>
                  </a:cxn>
                  <a:cxn ang="0">
                    <a:pos x="connsiteX1" y="connsiteY1"/>
                  </a:cxn>
                  <a:cxn ang="0">
                    <a:pos x="connsiteX2" y="connsiteY2"/>
                  </a:cxn>
                  <a:cxn ang="0">
                    <a:pos x="connsiteX3" y="connsiteY3"/>
                  </a:cxn>
                </a:cxnLst>
                <a:rect l="l" t="t" r="r" b="b"/>
                <a:pathLst>
                  <a:path w="92103" h="115248">
                    <a:moveTo>
                      <a:pt x="92103" y="1914"/>
                    </a:moveTo>
                    <a:lnTo>
                      <a:pt x="2392" y="115249"/>
                    </a:lnTo>
                    <a:lnTo>
                      <a:pt x="0" y="113395"/>
                    </a:lnTo>
                    <a:lnTo>
                      <a:pt x="89711" y="0"/>
                    </a:lnTo>
                    <a:close/>
                  </a:path>
                </a:pathLst>
              </a:custGeom>
              <a:grpFill/>
              <a:ln w="5978" cap="flat">
                <a:noFill/>
                <a:prstDash val="solid"/>
                <a:miter/>
              </a:ln>
            </p:spPr>
            <p:txBody>
              <a:bodyPr rtlCol="0" anchor="ctr"/>
              <a:lstStyle/>
              <a:p>
                <a:endParaRPr lang="en-GB"/>
              </a:p>
            </p:txBody>
          </p:sp>
          <p:sp>
            <p:nvSpPr>
              <p:cNvPr id="2086" name="Vrije vorm: vorm 2085">
                <a:extLst>
                  <a:ext uri="{FF2B5EF4-FFF2-40B4-BE49-F238E27FC236}">
                    <a16:creationId xmlns:a16="http://schemas.microsoft.com/office/drawing/2014/main" id="{24A0207B-B716-4323-BD18-42B2B2253CB8}"/>
                  </a:ext>
                </a:extLst>
              </p:cNvPr>
              <p:cNvSpPr/>
              <p:nvPr/>
            </p:nvSpPr>
            <p:spPr>
              <a:xfrm>
                <a:off x="4792625" y="4991455"/>
                <a:ext cx="18274" cy="18430"/>
              </a:xfrm>
              <a:custGeom>
                <a:avLst/>
                <a:gdLst>
                  <a:gd name="connsiteX0" fmla="*/ 16314 w 18274"/>
                  <a:gd name="connsiteY0" fmla="*/ 14987 h 18430"/>
                  <a:gd name="connsiteX1" fmla="*/ 3455 w 18274"/>
                  <a:gd name="connsiteY1" fmla="*/ 16422 h 18430"/>
                  <a:gd name="connsiteX2" fmla="*/ 1960 w 18274"/>
                  <a:gd name="connsiteY2" fmla="*/ 3444 h 18430"/>
                  <a:gd name="connsiteX3" fmla="*/ 14819 w 18274"/>
                  <a:gd name="connsiteY3" fmla="*/ 2009 h 18430"/>
                  <a:gd name="connsiteX4" fmla="*/ 16314 w 18274"/>
                  <a:gd name="connsiteY4" fmla="*/ 149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30">
                    <a:moveTo>
                      <a:pt x="16314" y="14987"/>
                    </a:moveTo>
                    <a:cubicBezTo>
                      <a:pt x="13144" y="18934"/>
                      <a:pt x="7403" y="19592"/>
                      <a:pt x="3455" y="16422"/>
                    </a:cubicBezTo>
                    <a:cubicBezTo>
                      <a:pt x="-492" y="13252"/>
                      <a:pt x="-1150" y="7451"/>
                      <a:pt x="1960" y="3444"/>
                    </a:cubicBezTo>
                    <a:cubicBezTo>
                      <a:pt x="5130" y="-503"/>
                      <a:pt x="10872" y="-1161"/>
                      <a:pt x="14819" y="2009"/>
                    </a:cubicBezTo>
                    <a:cubicBezTo>
                      <a:pt x="18766" y="5178"/>
                      <a:pt x="19424" y="10980"/>
                      <a:pt x="16314" y="14987"/>
                    </a:cubicBezTo>
                    <a:close/>
                  </a:path>
                </a:pathLst>
              </a:custGeom>
              <a:grpFill/>
              <a:ln w="5978" cap="flat">
                <a:noFill/>
                <a:prstDash val="solid"/>
                <a:miter/>
              </a:ln>
            </p:spPr>
            <p:txBody>
              <a:bodyPr rtlCol="0" anchor="ctr"/>
              <a:lstStyle/>
              <a:p>
                <a:endParaRPr lang="en-GB"/>
              </a:p>
            </p:txBody>
          </p:sp>
          <p:sp>
            <p:nvSpPr>
              <p:cNvPr id="2087" name="Vrije vorm: vorm 2086">
                <a:extLst>
                  <a:ext uri="{FF2B5EF4-FFF2-40B4-BE49-F238E27FC236}">
                    <a16:creationId xmlns:a16="http://schemas.microsoft.com/office/drawing/2014/main" id="{95C17A28-3358-41A1-B41E-3D41FF0455A7}"/>
                  </a:ext>
                </a:extLst>
              </p:cNvPr>
              <p:cNvSpPr/>
              <p:nvPr/>
            </p:nvSpPr>
            <p:spPr>
              <a:xfrm>
                <a:off x="4881712" y="4878898"/>
                <a:ext cx="18324" cy="18371"/>
              </a:xfrm>
              <a:custGeom>
                <a:avLst/>
                <a:gdLst>
                  <a:gd name="connsiteX0" fmla="*/ 16339 w 18324"/>
                  <a:gd name="connsiteY0" fmla="*/ 14927 h 18371"/>
                  <a:gd name="connsiteX1" fmla="*/ 14844 w 18324"/>
                  <a:gd name="connsiteY1" fmla="*/ 2009 h 18371"/>
                  <a:gd name="connsiteX2" fmla="*/ 1985 w 18324"/>
                  <a:gd name="connsiteY2" fmla="*/ 3444 h 18371"/>
                  <a:gd name="connsiteX3" fmla="*/ 3481 w 18324"/>
                  <a:gd name="connsiteY3" fmla="*/ 16362 h 18371"/>
                  <a:gd name="connsiteX4" fmla="*/ 16339 w 18324"/>
                  <a:gd name="connsiteY4" fmla="*/ 14927 h 1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71">
                    <a:moveTo>
                      <a:pt x="16339" y="14927"/>
                    </a:moveTo>
                    <a:cubicBezTo>
                      <a:pt x="19509" y="10980"/>
                      <a:pt x="18791" y="5178"/>
                      <a:pt x="14844" y="2009"/>
                    </a:cubicBezTo>
                    <a:cubicBezTo>
                      <a:pt x="10897" y="-1161"/>
                      <a:pt x="5095" y="-503"/>
                      <a:pt x="1985" y="3444"/>
                    </a:cubicBezTo>
                    <a:cubicBezTo>
                      <a:pt x="-1184" y="7391"/>
                      <a:pt x="-467" y="13193"/>
                      <a:pt x="3481" y="16362"/>
                    </a:cubicBezTo>
                    <a:cubicBezTo>
                      <a:pt x="7428" y="19532"/>
                      <a:pt x="13229" y="18875"/>
                      <a:pt x="16339" y="14927"/>
                    </a:cubicBezTo>
                    <a:close/>
                  </a:path>
                </a:pathLst>
              </a:custGeom>
              <a:grpFill/>
              <a:ln w="5978" cap="flat">
                <a:noFill/>
                <a:prstDash val="solid"/>
                <a:miter/>
              </a:ln>
            </p:spPr>
            <p:txBody>
              <a:bodyPr rtlCol="0" anchor="ctr"/>
              <a:lstStyle/>
              <a:p>
                <a:endParaRPr lang="en-GB"/>
              </a:p>
            </p:txBody>
          </p:sp>
        </p:grpSp>
        <p:grpSp>
          <p:nvGrpSpPr>
            <p:cNvPr id="1106" name="Graphic 3">
              <a:extLst>
                <a:ext uri="{FF2B5EF4-FFF2-40B4-BE49-F238E27FC236}">
                  <a16:creationId xmlns:a16="http://schemas.microsoft.com/office/drawing/2014/main" id="{1B0CB438-020F-4603-BC3B-1FC44184EEE4}"/>
                </a:ext>
              </a:extLst>
            </p:cNvPr>
            <p:cNvGrpSpPr/>
            <p:nvPr/>
          </p:nvGrpSpPr>
          <p:grpSpPr>
            <a:xfrm>
              <a:off x="4084048" y="2805069"/>
              <a:ext cx="113350" cy="47584"/>
              <a:chOff x="4084048" y="2805069"/>
              <a:chExt cx="113350" cy="47584"/>
            </a:xfrm>
            <a:grpFill/>
          </p:grpSpPr>
          <p:sp>
            <p:nvSpPr>
              <p:cNvPr id="2082" name="Vrije vorm: vorm 2081">
                <a:extLst>
                  <a:ext uri="{FF2B5EF4-FFF2-40B4-BE49-F238E27FC236}">
                    <a16:creationId xmlns:a16="http://schemas.microsoft.com/office/drawing/2014/main" id="{75FB8268-BC56-40D3-A47B-D0AACB07F1EB}"/>
                  </a:ext>
                </a:extLst>
              </p:cNvPr>
              <p:cNvSpPr/>
              <p:nvPr/>
            </p:nvSpPr>
            <p:spPr>
              <a:xfrm>
                <a:off x="4092328" y="2812654"/>
                <a:ext cx="96768" cy="32415"/>
              </a:xfrm>
              <a:custGeom>
                <a:avLst/>
                <a:gdLst>
                  <a:gd name="connsiteX0" fmla="*/ 96768 w 96768"/>
                  <a:gd name="connsiteY0" fmla="*/ 29485 h 32415"/>
                  <a:gd name="connsiteX1" fmla="*/ 95871 w 96768"/>
                  <a:gd name="connsiteY1" fmla="*/ 32415 h 32415"/>
                  <a:gd name="connsiteX2" fmla="*/ 0 w 96768"/>
                  <a:gd name="connsiteY2" fmla="*/ 2930 h 32415"/>
                  <a:gd name="connsiteX3" fmla="*/ 837 w 96768"/>
                  <a:gd name="connsiteY3" fmla="*/ 0 h 32415"/>
                </a:gdLst>
                <a:ahLst/>
                <a:cxnLst>
                  <a:cxn ang="0">
                    <a:pos x="connsiteX0" y="connsiteY0"/>
                  </a:cxn>
                  <a:cxn ang="0">
                    <a:pos x="connsiteX1" y="connsiteY1"/>
                  </a:cxn>
                  <a:cxn ang="0">
                    <a:pos x="connsiteX2" y="connsiteY2"/>
                  </a:cxn>
                  <a:cxn ang="0">
                    <a:pos x="connsiteX3" y="connsiteY3"/>
                  </a:cxn>
                </a:cxnLst>
                <a:rect l="l" t="t" r="r" b="b"/>
                <a:pathLst>
                  <a:path w="96768" h="32415">
                    <a:moveTo>
                      <a:pt x="96768" y="29485"/>
                    </a:moveTo>
                    <a:lnTo>
                      <a:pt x="95871" y="32415"/>
                    </a:lnTo>
                    <a:lnTo>
                      <a:pt x="0" y="2930"/>
                    </a:lnTo>
                    <a:lnTo>
                      <a:pt x="837" y="0"/>
                    </a:lnTo>
                    <a:close/>
                  </a:path>
                </a:pathLst>
              </a:custGeom>
              <a:grpFill/>
              <a:ln w="5978" cap="flat">
                <a:noFill/>
                <a:prstDash val="solid"/>
                <a:miter/>
              </a:ln>
            </p:spPr>
            <p:txBody>
              <a:bodyPr rtlCol="0" anchor="ctr"/>
              <a:lstStyle/>
              <a:p>
                <a:endParaRPr lang="en-GB"/>
              </a:p>
            </p:txBody>
          </p:sp>
          <p:sp>
            <p:nvSpPr>
              <p:cNvPr id="2083" name="Vrije vorm: vorm 2082">
                <a:extLst>
                  <a:ext uri="{FF2B5EF4-FFF2-40B4-BE49-F238E27FC236}">
                    <a16:creationId xmlns:a16="http://schemas.microsoft.com/office/drawing/2014/main" id="{9144B373-66A5-4121-B512-E5640000F964}"/>
                  </a:ext>
                </a:extLst>
              </p:cNvPr>
              <p:cNvSpPr/>
              <p:nvPr/>
            </p:nvSpPr>
            <p:spPr>
              <a:xfrm>
                <a:off x="4179060" y="2834255"/>
                <a:ext cx="18338" cy="18398"/>
              </a:xfrm>
              <a:custGeom>
                <a:avLst/>
                <a:gdLst>
                  <a:gd name="connsiteX0" fmla="*/ 11831 w 18338"/>
                  <a:gd name="connsiteY0" fmla="*/ 407 h 18398"/>
                  <a:gd name="connsiteX1" fmla="*/ 17931 w 18338"/>
                  <a:gd name="connsiteY1" fmla="*/ 11890 h 18398"/>
                  <a:gd name="connsiteX2" fmla="*/ 6508 w 18338"/>
                  <a:gd name="connsiteY2" fmla="*/ 17991 h 18398"/>
                  <a:gd name="connsiteX3" fmla="*/ 407 w 18338"/>
                  <a:gd name="connsiteY3" fmla="*/ 6508 h 18398"/>
                  <a:gd name="connsiteX4" fmla="*/ 11831 w 18338"/>
                  <a:gd name="connsiteY4" fmla="*/ 407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11831" y="407"/>
                    </a:moveTo>
                    <a:cubicBezTo>
                      <a:pt x="16675" y="1903"/>
                      <a:pt x="19426" y="7046"/>
                      <a:pt x="17931" y="11890"/>
                    </a:cubicBezTo>
                    <a:cubicBezTo>
                      <a:pt x="16496" y="16735"/>
                      <a:pt x="11352" y="19486"/>
                      <a:pt x="6508" y="17991"/>
                    </a:cubicBezTo>
                    <a:cubicBezTo>
                      <a:pt x="1664" y="16496"/>
                      <a:pt x="-1088" y="11352"/>
                      <a:pt x="407" y="6508"/>
                    </a:cubicBezTo>
                    <a:cubicBezTo>
                      <a:pt x="1843" y="1663"/>
                      <a:pt x="6986" y="-1088"/>
                      <a:pt x="11831" y="407"/>
                    </a:cubicBezTo>
                    <a:close/>
                  </a:path>
                </a:pathLst>
              </a:custGeom>
              <a:grpFill/>
              <a:ln w="5978" cap="flat">
                <a:noFill/>
                <a:prstDash val="solid"/>
                <a:miter/>
              </a:ln>
            </p:spPr>
            <p:txBody>
              <a:bodyPr rtlCol="0" anchor="ctr"/>
              <a:lstStyle/>
              <a:p>
                <a:endParaRPr lang="en-GB"/>
              </a:p>
            </p:txBody>
          </p:sp>
          <p:sp>
            <p:nvSpPr>
              <p:cNvPr id="2084" name="Vrije vorm: vorm 2083">
                <a:extLst>
                  <a:ext uri="{FF2B5EF4-FFF2-40B4-BE49-F238E27FC236}">
                    <a16:creationId xmlns:a16="http://schemas.microsoft.com/office/drawing/2014/main" id="{B1EED4F2-C266-4B20-AFD3-02C80025A7CB}"/>
                  </a:ext>
                </a:extLst>
              </p:cNvPr>
              <p:cNvSpPr/>
              <p:nvPr/>
            </p:nvSpPr>
            <p:spPr>
              <a:xfrm>
                <a:off x="4084048" y="2805069"/>
                <a:ext cx="18316" cy="18398"/>
              </a:xfrm>
              <a:custGeom>
                <a:avLst/>
                <a:gdLst>
                  <a:gd name="connsiteX0" fmla="*/ 11809 w 18316"/>
                  <a:gd name="connsiteY0" fmla="*/ 407 h 18398"/>
                  <a:gd name="connsiteX1" fmla="*/ 386 w 18316"/>
                  <a:gd name="connsiteY1" fmla="*/ 6508 h 18398"/>
                  <a:gd name="connsiteX2" fmla="*/ 6486 w 18316"/>
                  <a:gd name="connsiteY2" fmla="*/ 17991 h 18398"/>
                  <a:gd name="connsiteX3" fmla="*/ 17909 w 18316"/>
                  <a:gd name="connsiteY3" fmla="*/ 11890 h 18398"/>
                  <a:gd name="connsiteX4" fmla="*/ 11809 w 18316"/>
                  <a:gd name="connsiteY4" fmla="*/ 407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8">
                    <a:moveTo>
                      <a:pt x="11809" y="407"/>
                    </a:moveTo>
                    <a:cubicBezTo>
                      <a:pt x="6965" y="-1088"/>
                      <a:pt x="1821" y="1663"/>
                      <a:pt x="386" y="6508"/>
                    </a:cubicBezTo>
                    <a:cubicBezTo>
                      <a:pt x="-1050" y="11352"/>
                      <a:pt x="1642" y="16496"/>
                      <a:pt x="6486" y="17991"/>
                    </a:cubicBezTo>
                    <a:cubicBezTo>
                      <a:pt x="11330" y="19486"/>
                      <a:pt x="16474" y="16735"/>
                      <a:pt x="17909" y="11890"/>
                    </a:cubicBezTo>
                    <a:cubicBezTo>
                      <a:pt x="19404" y="7046"/>
                      <a:pt x="16653" y="1903"/>
                      <a:pt x="11809" y="407"/>
                    </a:cubicBezTo>
                    <a:close/>
                  </a:path>
                </a:pathLst>
              </a:custGeom>
              <a:grpFill/>
              <a:ln w="5978" cap="flat">
                <a:noFill/>
                <a:prstDash val="solid"/>
                <a:miter/>
              </a:ln>
            </p:spPr>
            <p:txBody>
              <a:bodyPr rtlCol="0" anchor="ctr"/>
              <a:lstStyle/>
              <a:p>
                <a:endParaRPr lang="en-GB"/>
              </a:p>
            </p:txBody>
          </p:sp>
        </p:grpSp>
        <p:grpSp>
          <p:nvGrpSpPr>
            <p:cNvPr id="1107" name="Graphic 3">
              <a:extLst>
                <a:ext uri="{FF2B5EF4-FFF2-40B4-BE49-F238E27FC236}">
                  <a16:creationId xmlns:a16="http://schemas.microsoft.com/office/drawing/2014/main" id="{47D34840-D82C-4A9D-B6F6-9AEE10442D36}"/>
                </a:ext>
              </a:extLst>
            </p:cNvPr>
            <p:cNvGrpSpPr/>
            <p:nvPr/>
          </p:nvGrpSpPr>
          <p:grpSpPr>
            <a:xfrm>
              <a:off x="3999669" y="2651304"/>
              <a:ext cx="176408" cy="76867"/>
              <a:chOff x="3999669" y="2651304"/>
              <a:chExt cx="176408" cy="76867"/>
            </a:xfrm>
            <a:grpFill/>
          </p:grpSpPr>
          <p:sp>
            <p:nvSpPr>
              <p:cNvPr id="2079" name="Vrije vorm: vorm 2078">
                <a:extLst>
                  <a:ext uri="{FF2B5EF4-FFF2-40B4-BE49-F238E27FC236}">
                    <a16:creationId xmlns:a16="http://schemas.microsoft.com/office/drawing/2014/main" id="{9ADC76AD-0ECA-44E5-87EB-68FB6CB438AA}"/>
                  </a:ext>
                </a:extLst>
              </p:cNvPr>
              <p:cNvSpPr/>
              <p:nvPr/>
            </p:nvSpPr>
            <p:spPr>
              <a:xfrm>
                <a:off x="4007940" y="2658949"/>
                <a:ext cx="159984" cy="61661"/>
              </a:xfrm>
              <a:custGeom>
                <a:avLst/>
                <a:gdLst>
                  <a:gd name="connsiteX0" fmla="*/ 159984 w 159984"/>
                  <a:gd name="connsiteY0" fmla="*/ 58731 h 61661"/>
                  <a:gd name="connsiteX1" fmla="*/ 158908 w 159984"/>
                  <a:gd name="connsiteY1" fmla="*/ 61661 h 61661"/>
                  <a:gd name="connsiteX2" fmla="*/ 0 w 159984"/>
                  <a:gd name="connsiteY2" fmla="*/ 2871 h 61661"/>
                  <a:gd name="connsiteX3" fmla="*/ 1017 w 159984"/>
                  <a:gd name="connsiteY3" fmla="*/ 0 h 61661"/>
                </a:gdLst>
                <a:ahLst/>
                <a:cxnLst>
                  <a:cxn ang="0">
                    <a:pos x="connsiteX0" y="connsiteY0"/>
                  </a:cxn>
                  <a:cxn ang="0">
                    <a:pos x="connsiteX1" y="connsiteY1"/>
                  </a:cxn>
                  <a:cxn ang="0">
                    <a:pos x="connsiteX2" y="connsiteY2"/>
                  </a:cxn>
                  <a:cxn ang="0">
                    <a:pos x="connsiteX3" y="connsiteY3"/>
                  </a:cxn>
                </a:cxnLst>
                <a:rect l="l" t="t" r="r" b="b"/>
                <a:pathLst>
                  <a:path w="159984" h="61661">
                    <a:moveTo>
                      <a:pt x="159984" y="58731"/>
                    </a:moveTo>
                    <a:lnTo>
                      <a:pt x="158908" y="61661"/>
                    </a:lnTo>
                    <a:lnTo>
                      <a:pt x="0" y="2871"/>
                    </a:lnTo>
                    <a:lnTo>
                      <a:pt x="1017" y="0"/>
                    </a:lnTo>
                    <a:close/>
                  </a:path>
                </a:pathLst>
              </a:custGeom>
              <a:grpFill/>
              <a:ln w="5978" cap="flat">
                <a:noFill/>
                <a:prstDash val="solid"/>
                <a:miter/>
              </a:ln>
            </p:spPr>
            <p:txBody>
              <a:bodyPr rtlCol="0" anchor="ctr"/>
              <a:lstStyle/>
              <a:p>
                <a:endParaRPr lang="en-GB"/>
              </a:p>
            </p:txBody>
          </p:sp>
          <p:sp>
            <p:nvSpPr>
              <p:cNvPr id="2080" name="Vrije vorm: vorm 2079">
                <a:extLst>
                  <a:ext uri="{FF2B5EF4-FFF2-40B4-BE49-F238E27FC236}">
                    <a16:creationId xmlns:a16="http://schemas.microsoft.com/office/drawing/2014/main" id="{619E4189-2CF3-455B-B201-F0B62FF875D3}"/>
                  </a:ext>
                </a:extLst>
              </p:cNvPr>
              <p:cNvSpPr/>
              <p:nvPr/>
            </p:nvSpPr>
            <p:spPr>
              <a:xfrm>
                <a:off x="3999669" y="2651304"/>
                <a:ext cx="18337" cy="18460"/>
              </a:xfrm>
              <a:custGeom>
                <a:avLst/>
                <a:gdLst>
                  <a:gd name="connsiteX0" fmla="*/ 6059 w 18337"/>
                  <a:gd name="connsiteY0" fmla="*/ 17872 h 18460"/>
                  <a:gd name="connsiteX1" fmla="*/ 557 w 18337"/>
                  <a:gd name="connsiteY1" fmla="*/ 6031 h 18460"/>
                  <a:gd name="connsiteX2" fmla="*/ 12279 w 18337"/>
                  <a:gd name="connsiteY2" fmla="*/ 588 h 18460"/>
                  <a:gd name="connsiteX3" fmla="*/ 17781 w 18337"/>
                  <a:gd name="connsiteY3" fmla="*/ 12430 h 18460"/>
                  <a:gd name="connsiteX4" fmla="*/ 6059 w 18337"/>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60">
                    <a:moveTo>
                      <a:pt x="6059" y="17872"/>
                    </a:moveTo>
                    <a:cubicBezTo>
                      <a:pt x="1274" y="16138"/>
                      <a:pt x="-1178" y="10815"/>
                      <a:pt x="557" y="6031"/>
                    </a:cubicBezTo>
                    <a:cubicBezTo>
                      <a:pt x="2291" y="1246"/>
                      <a:pt x="7554" y="-1206"/>
                      <a:pt x="12279" y="588"/>
                    </a:cubicBezTo>
                    <a:cubicBezTo>
                      <a:pt x="17063" y="2322"/>
                      <a:pt x="19516" y="7645"/>
                      <a:pt x="17781" y="12430"/>
                    </a:cubicBezTo>
                    <a:cubicBezTo>
                      <a:pt x="16106" y="17215"/>
                      <a:pt x="10843" y="19667"/>
                      <a:pt x="6059" y="17872"/>
                    </a:cubicBezTo>
                    <a:close/>
                  </a:path>
                </a:pathLst>
              </a:custGeom>
              <a:grpFill/>
              <a:ln w="5978" cap="flat">
                <a:noFill/>
                <a:prstDash val="solid"/>
                <a:miter/>
              </a:ln>
            </p:spPr>
            <p:txBody>
              <a:bodyPr rtlCol="0" anchor="ctr"/>
              <a:lstStyle/>
              <a:p>
                <a:endParaRPr lang="en-GB"/>
              </a:p>
            </p:txBody>
          </p:sp>
          <p:sp>
            <p:nvSpPr>
              <p:cNvPr id="2081" name="Vrije vorm: vorm 2080">
                <a:extLst>
                  <a:ext uri="{FF2B5EF4-FFF2-40B4-BE49-F238E27FC236}">
                    <a16:creationId xmlns:a16="http://schemas.microsoft.com/office/drawing/2014/main" id="{B1E9C123-1F84-4462-9406-617D6F17EE21}"/>
                  </a:ext>
                </a:extLst>
              </p:cNvPr>
              <p:cNvSpPr/>
              <p:nvPr/>
            </p:nvSpPr>
            <p:spPr>
              <a:xfrm>
                <a:off x="4157769" y="2709766"/>
                <a:ext cx="18307" cy="18405"/>
              </a:xfrm>
              <a:custGeom>
                <a:avLst/>
                <a:gdLst>
                  <a:gd name="connsiteX0" fmla="*/ 6029 w 18307"/>
                  <a:gd name="connsiteY0" fmla="*/ 17842 h 18405"/>
                  <a:gd name="connsiteX1" fmla="*/ 17751 w 18307"/>
                  <a:gd name="connsiteY1" fmla="*/ 12399 h 18405"/>
                  <a:gd name="connsiteX2" fmla="*/ 12248 w 18307"/>
                  <a:gd name="connsiteY2" fmla="*/ 557 h 18405"/>
                  <a:gd name="connsiteX3" fmla="*/ 526 w 18307"/>
                  <a:gd name="connsiteY3" fmla="*/ 6000 h 18405"/>
                  <a:gd name="connsiteX4" fmla="*/ 6029 w 18307"/>
                  <a:gd name="connsiteY4" fmla="*/ 1784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05">
                    <a:moveTo>
                      <a:pt x="6029" y="17842"/>
                    </a:moveTo>
                    <a:cubicBezTo>
                      <a:pt x="10813" y="19576"/>
                      <a:pt x="16016" y="17184"/>
                      <a:pt x="17751" y="12399"/>
                    </a:cubicBezTo>
                    <a:cubicBezTo>
                      <a:pt x="19485" y="7614"/>
                      <a:pt x="17033" y="2351"/>
                      <a:pt x="12248" y="557"/>
                    </a:cubicBezTo>
                    <a:cubicBezTo>
                      <a:pt x="7464" y="-1177"/>
                      <a:pt x="2261" y="1275"/>
                      <a:pt x="526" y="6000"/>
                    </a:cubicBezTo>
                    <a:cubicBezTo>
                      <a:pt x="-1148" y="10784"/>
                      <a:pt x="1304" y="16107"/>
                      <a:pt x="6029" y="17842"/>
                    </a:cubicBezTo>
                    <a:close/>
                  </a:path>
                </a:pathLst>
              </a:custGeom>
              <a:grpFill/>
              <a:ln w="5978" cap="flat">
                <a:noFill/>
                <a:prstDash val="solid"/>
                <a:miter/>
              </a:ln>
            </p:spPr>
            <p:txBody>
              <a:bodyPr rtlCol="0" anchor="ctr"/>
              <a:lstStyle/>
              <a:p>
                <a:endParaRPr lang="en-GB"/>
              </a:p>
            </p:txBody>
          </p:sp>
        </p:grpSp>
        <p:grpSp>
          <p:nvGrpSpPr>
            <p:cNvPr id="1108" name="Graphic 3">
              <a:extLst>
                <a:ext uri="{FF2B5EF4-FFF2-40B4-BE49-F238E27FC236}">
                  <a16:creationId xmlns:a16="http://schemas.microsoft.com/office/drawing/2014/main" id="{D2DBA687-7556-4817-BA26-F597C8A29B48}"/>
                </a:ext>
              </a:extLst>
            </p:cNvPr>
            <p:cNvGrpSpPr/>
            <p:nvPr/>
          </p:nvGrpSpPr>
          <p:grpSpPr>
            <a:xfrm>
              <a:off x="4638958" y="4504433"/>
              <a:ext cx="160114" cy="141313"/>
              <a:chOff x="4638958" y="4504433"/>
              <a:chExt cx="160114" cy="141313"/>
            </a:xfrm>
            <a:grpFill/>
          </p:grpSpPr>
          <p:sp>
            <p:nvSpPr>
              <p:cNvPr id="2076" name="Vrije vorm: vorm 2075">
                <a:extLst>
                  <a:ext uri="{FF2B5EF4-FFF2-40B4-BE49-F238E27FC236}">
                    <a16:creationId xmlns:a16="http://schemas.microsoft.com/office/drawing/2014/main" id="{5E440C1A-AD1B-42E1-915F-491C1B20FC0C}"/>
                  </a:ext>
                </a:extLst>
              </p:cNvPr>
              <p:cNvSpPr/>
              <p:nvPr/>
            </p:nvSpPr>
            <p:spPr>
              <a:xfrm>
                <a:off x="4646801" y="4512195"/>
                <a:ext cx="144434" cy="125834"/>
              </a:xfrm>
              <a:custGeom>
                <a:avLst/>
                <a:gdLst>
                  <a:gd name="connsiteX0" fmla="*/ 144434 w 144434"/>
                  <a:gd name="connsiteY0" fmla="*/ 2333 h 125834"/>
                  <a:gd name="connsiteX1" fmla="*/ 1974 w 144434"/>
                  <a:gd name="connsiteY1" fmla="*/ 125834 h 125834"/>
                  <a:gd name="connsiteX2" fmla="*/ 0 w 144434"/>
                  <a:gd name="connsiteY2" fmla="*/ 123502 h 125834"/>
                  <a:gd name="connsiteX3" fmla="*/ 142461 w 144434"/>
                  <a:gd name="connsiteY3" fmla="*/ 0 h 125834"/>
                </a:gdLst>
                <a:ahLst/>
                <a:cxnLst>
                  <a:cxn ang="0">
                    <a:pos x="connsiteX0" y="connsiteY0"/>
                  </a:cxn>
                  <a:cxn ang="0">
                    <a:pos x="connsiteX1" y="connsiteY1"/>
                  </a:cxn>
                  <a:cxn ang="0">
                    <a:pos x="connsiteX2" y="connsiteY2"/>
                  </a:cxn>
                  <a:cxn ang="0">
                    <a:pos x="connsiteX3" y="connsiteY3"/>
                  </a:cxn>
                </a:cxnLst>
                <a:rect l="l" t="t" r="r" b="b"/>
                <a:pathLst>
                  <a:path w="144434" h="125834">
                    <a:moveTo>
                      <a:pt x="144434" y="2333"/>
                    </a:moveTo>
                    <a:lnTo>
                      <a:pt x="1974" y="125834"/>
                    </a:lnTo>
                    <a:lnTo>
                      <a:pt x="0" y="123502"/>
                    </a:lnTo>
                    <a:lnTo>
                      <a:pt x="142461" y="0"/>
                    </a:lnTo>
                    <a:close/>
                  </a:path>
                </a:pathLst>
              </a:custGeom>
              <a:grpFill/>
              <a:ln w="5978" cap="flat">
                <a:noFill/>
                <a:prstDash val="solid"/>
                <a:miter/>
              </a:ln>
            </p:spPr>
            <p:txBody>
              <a:bodyPr rtlCol="0" anchor="ctr"/>
              <a:lstStyle/>
              <a:p>
                <a:endParaRPr lang="en-GB"/>
              </a:p>
            </p:txBody>
          </p:sp>
          <p:sp>
            <p:nvSpPr>
              <p:cNvPr id="2077" name="Vrije vorm: vorm 2076">
                <a:extLst>
                  <a:ext uri="{FF2B5EF4-FFF2-40B4-BE49-F238E27FC236}">
                    <a16:creationId xmlns:a16="http://schemas.microsoft.com/office/drawing/2014/main" id="{2E57411A-7BA5-4353-BE82-7239D93AD002}"/>
                  </a:ext>
                </a:extLst>
              </p:cNvPr>
              <p:cNvSpPr/>
              <p:nvPr/>
            </p:nvSpPr>
            <p:spPr>
              <a:xfrm>
                <a:off x="4638958" y="4627382"/>
                <a:ext cx="18301" cy="18365"/>
              </a:xfrm>
              <a:custGeom>
                <a:avLst/>
                <a:gdLst>
                  <a:gd name="connsiteX0" fmla="*/ 15139 w 18301"/>
                  <a:gd name="connsiteY0" fmla="*/ 16150 h 18365"/>
                  <a:gd name="connsiteX1" fmla="*/ 2221 w 18301"/>
                  <a:gd name="connsiteY1" fmla="*/ 15193 h 18365"/>
                  <a:gd name="connsiteX2" fmla="*/ 3118 w 18301"/>
                  <a:gd name="connsiteY2" fmla="*/ 2215 h 18365"/>
                  <a:gd name="connsiteX3" fmla="*/ 16036 w 18301"/>
                  <a:gd name="connsiteY3" fmla="*/ 3172 h 18365"/>
                  <a:gd name="connsiteX4" fmla="*/ 15139 w 18301"/>
                  <a:gd name="connsiteY4" fmla="*/ 1615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65">
                    <a:moveTo>
                      <a:pt x="15139" y="16150"/>
                    </a:moveTo>
                    <a:cubicBezTo>
                      <a:pt x="11312" y="19440"/>
                      <a:pt x="5510" y="19021"/>
                      <a:pt x="2221" y="15193"/>
                    </a:cubicBezTo>
                    <a:cubicBezTo>
                      <a:pt x="-1068" y="11306"/>
                      <a:pt x="-650" y="5505"/>
                      <a:pt x="3118" y="2215"/>
                    </a:cubicBezTo>
                    <a:cubicBezTo>
                      <a:pt x="6945" y="-1074"/>
                      <a:pt x="12747" y="-655"/>
                      <a:pt x="16036" y="3172"/>
                    </a:cubicBezTo>
                    <a:cubicBezTo>
                      <a:pt x="19385" y="7060"/>
                      <a:pt x="18967" y="12861"/>
                      <a:pt x="15139" y="16150"/>
                    </a:cubicBezTo>
                    <a:close/>
                  </a:path>
                </a:pathLst>
              </a:custGeom>
              <a:grpFill/>
              <a:ln w="5978" cap="flat">
                <a:noFill/>
                <a:prstDash val="solid"/>
                <a:miter/>
              </a:ln>
            </p:spPr>
            <p:txBody>
              <a:bodyPr rtlCol="0" anchor="ctr"/>
              <a:lstStyle/>
              <a:p>
                <a:endParaRPr lang="en-GB"/>
              </a:p>
            </p:txBody>
          </p:sp>
          <p:sp>
            <p:nvSpPr>
              <p:cNvPr id="2078" name="Vrije vorm: vorm 2077">
                <a:extLst>
                  <a:ext uri="{FF2B5EF4-FFF2-40B4-BE49-F238E27FC236}">
                    <a16:creationId xmlns:a16="http://schemas.microsoft.com/office/drawing/2014/main" id="{2EF7FDA2-D6EC-46D6-A41E-DF10070BAADE}"/>
                  </a:ext>
                </a:extLst>
              </p:cNvPr>
              <p:cNvSpPr/>
              <p:nvPr/>
            </p:nvSpPr>
            <p:spPr>
              <a:xfrm>
                <a:off x="4780767" y="4504433"/>
                <a:ext cx="18306" cy="18454"/>
              </a:xfrm>
              <a:custGeom>
                <a:avLst/>
                <a:gdLst>
                  <a:gd name="connsiteX0" fmla="*/ 15134 w 18306"/>
                  <a:gd name="connsiteY0" fmla="*/ 16195 h 18454"/>
                  <a:gd name="connsiteX1" fmla="*/ 16091 w 18306"/>
                  <a:gd name="connsiteY1" fmla="*/ 3217 h 18454"/>
                  <a:gd name="connsiteX2" fmla="*/ 3172 w 18306"/>
                  <a:gd name="connsiteY2" fmla="*/ 2260 h 18454"/>
                  <a:gd name="connsiteX3" fmla="*/ 2216 w 18306"/>
                  <a:gd name="connsiteY3" fmla="*/ 15238 h 18454"/>
                  <a:gd name="connsiteX4" fmla="*/ 15134 w 18306"/>
                  <a:gd name="connsiteY4" fmla="*/ 16195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54">
                    <a:moveTo>
                      <a:pt x="15134" y="16195"/>
                    </a:moveTo>
                    <a:cubicBezTo>
                      <a:pt x="18961" y="12905"/>
                      <a:pt x="19380" y="7044"/>
                      <a:pt x="16091" y="3217"/>
                    </a:cubicBezTo>
                    <a:cubicBezTo>
                      <a:pt x="12801" y="-671"/>
                      <a:pt x="7000" y="-1089"/>
                      <a:pt x="3172" y="2260"/>
                    </a:cubicBezTo>
                    <a:cubicBezTo>
                      <a:pt x="-655" y="5549"/>
                      <a:pt x="-1074" y="11410"/>
                      <a:pt x="2216" y="15238"/>
                    </a:cubicBezTo>
                    <a:cubicBezTo>
                      <a:pt x="5565" y="19125"/>
                      <a:pt x="11306" y="19544"/>
                      <a:pt x="15134" y="16195"/>
                    </a:cubicBezTo>
                    <a:close/>
                  </a:path>
                </a:pathLst>
              </a:custGeom>
              <a:grpFill/>
              <a:ln w="5978" cap="flat">
                <a:noFill/>
                <a:prstDash val="solid"/>
                <a:miter/>
              </a:ln>
            </p:spPr>
            <p:txBody>
              <a:bodyPr rtlCol="0" anchor="ctr"/>
              <a:lstStyle/>
              <a:p>
                <a:endParaRPr lang="en-GB"/>
              </a:p>
            </p:txBody>
          </p:sp>
        </p:grpSp>
        <p:grpSp>
          <p:nvGrpSpPr>
            <p:cNvPr id="1109" name="Graphic 3">
              <a:extLst>
                <a:ext uri="{FF2B5EF4-FFF2-40B4-BE49-F238E27FC236}">
                  <a16:creationId xmlns:a16="http://schemas.microsoft.com/office/drawing/2014/main" id="{9D4CE45C-426F-4455-BA53-47BC2AB71E81}"/>
                </a:ext>
              </a:extLst>
            </p:cNvPr>
            <p:cNvGrpSpPr/>
            <p:nvPr/>
          </p:nvGrpSpPr>
          <p:grpSpPr>
            <a:xfrm>
              <a:off x="3901667" y="2227133"/>
              <a:ext cx="80166" cy="52466"/>
              <a:chOff x="3901667" y="2227133"/>
              <a:chExt cx="80166" cy="52466"/>
            </a:xfrm>
            <a:grpFill/>
          </p:grpSpPr>
          <p:sp>
            <p:nvSpPr>
              <p:cNvPr id="2073" name="Vrije vorm: vorm 2072">
                <a:extLst>
                  <a:ext uri="{FF2B5EF4-FFF2-40B4-BE49-F238E27FC236}">
                    <a16:creationId xmlns:a16="http://schemas.microsoft.com/office/drawing/2014/main" id="{6C134788-EC6A-4AE4-B7B1-65B1DC87F9B1}"/>
                  </a:ext>
                </a:extLst>
              </p:cNvPr>
              <p:cNvSpPr/>
              <p:nvPr/>
            </p:nvSpPr>
            <p:spPr>
              <a:xfrm>
                <a:off x="3909737" y="2234737"/>
                <a:ext cx="64053" cy="37200"/>
              </a:xfrm>
              <a:custGeom>
                <a:avLst/>
                <a:gdLst>
                  <a:gd name="connsiteX0" fmla="*/ 64053 w 64053"/>
                  <a:gd name="connsiteY0" fmla="*/ 34509 h 37200"/>
                  <a:gd name="connsiteX1" fmla="*/ 62618 w 64053"/>
                  <a:gd name="connsiteY1" fmla="*/ 37200 h 37200"/>
                  <a:gd name="connsiteX2" fmla="*/ 0 w 64053"/>
                  <a:gd name="connsiteY2" fmla="*/ 2691 h 37200"/>
                  <a:gd name="connsiteX3" fmla="*/ 1435 w 64053"/>
                  <a:gd name="connsiteY3" fmla="*/ 0 h 37200"/>
                </a:gdLst>
                <a:ahLst/>
                <a:cxnLst>
                  <a:cxn ang="0">
                    <a:pos x="connsiteX0" y="connsiteY0"/>
                  </a:cxn>
                  <a:cxn ang="0">
                    <a:pos x="connsiteX1" y="connsiteY1"/>
                  </a:cxn>
                  <a:cxn ang="0">
                    <a:pos x="connsiteX2" y="connsiteY2"/>
                  </a:cxn>
                  <a:cxn ang="0">
                    <a:pos x="connsiteX3" y="connsiteY3"/>
                  </a:cxn>
                </a:cxnLst>
                <a:rect l="l" t="t" r="r" b="b"/>
                <a:pathLst>
                  <a:path w="64053" h="37200">
                    <a:moveTo>
                      <a:pt x="64053" y="34509"/>
                    </a:moveTo>
                    <a:lnTo>
                      <a:pt x="62618" y="37200"/>
                    </a:lnTo>
                    <a:lnTo>
                      <a:pt x="0" y="2691"/>
                    </a:lnTo>
                    <a:lnTo>
                      <a:pt x="1435" y="0"/>
                    </a:lnTo>
                    <a:close/>
                  </a:path>
                </a:pathLst>
              </a:custGeom>
              <a:grpFill/>
              <a:ln w="5978" cap="flat">
                <a:noFill/>
                <a:prstDash val="solid"/>
                <a:miter/>
              </a:ln>
            </p:spPr>
            <p:txBody>
              <a:bodyPr rtlCol="0" anchor="ctr"/>
              <a:lstStyle/>
              <a:p>
                <a:endParaRPr lang="en-GB"/>
              </a:p>
            </p:txBody>
          </p:sp>
          <p:sp>
            <p:nvSpPr>
              <p:cNvPr id="2074" name="Vrije vorm: vorm 2073">
                <a:extLst>
                  <a:ext uri="{FF2B5EF4-FFF2-40B4-BE49-F238E27FC236}">
                    <a16:creationId xmlns:a16="http://schemas.microsoft.com/office/drawing/2014/main" id="{412D9987-BA67-42A7-921C-16468EA4795C}"/>
                  </a:ext>
                </a:extLst>
              </p:cNvPr>
              <p:cNvSpPr/>
              <p:nvPr/>
            </p:nvSpPr>
            <p:spPr>
              <a:xfrm>
                <a:off x="3901667" y="2227133"/>
                <a:ext cx="18351" cy="18397"/>
              </a:xfrm>
              <a:custGeom>
                <a:avLst/>
                <a:gdLst>
                  <a:gd name="connsiteX0" fmla="*/ 4780 w 18351"/>
                  <a:gd name="connsiteY0" fmla="*/ 17292 h 18397"/>
                  <a:gd name="connsiteX1" fmla="*/ 1132 w 18351"/>
                  <a:gd name="connsiteY1" fmla="*/ 4792 h 18397"/>
                  <a:gd name="connsiteX2" fmla="*/ 13572 w 18351"/>
                  <a:gd name="connsiteY2" fmla="*/ 1144 h 18397"/>
                  <a:gd name="connsiteX3" fmla="*/ 17220 w 18351"/>
                  <a:gd name="connsiteY3" fmla="*/ 13644 h 18397"/>
                  <a:gd name="connsiteX4" fmla="*/ 4780 w 18351"/>
                  <a:gd name="connsiteY4" fmla="*/ 1729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97">
                    <a:moveTo>
                      <a:pt x="4780" y="17292"/>
                    </a:moveTo>
                    <a:cubicBezTo>
                      <a:pt x="354" y="14840"/>
                      <a:pt x="-1320" y="9218"/>
                      <a:pt x="1132" y="4792"/>
                    </a:cubicBezTo>
                    <a:cubicBezTo>
                      <a:pt x="3524" y="307"/>
                      <a:pt x="9086" y="-1308"/>
                      <a:pt x="13572" y="1144"/>
                    </a:cubicBezTo>
                    <a:cubicBezTo>
                      <a:pt x="17997" y="3596"/>
                      <a:pt x="19672" y="9218"/>
                      <a:pt x="17220" y="13644"/>
                    </a:cubicBezTo>
                    <a:cubicBezTo>
                      <a:pt x="14828" y="18069"/>
                      <a:pt x="9265" y="19684"/>
                      <a:pt x="4780" y="17292"/>
                    </a:cubicBezTo>
                    <a:close/>
                  </a:path>
                </a:pathLst>
              </a:custGeom>
              <a:grpFill/>
              <a:ln w="5978" cap="flat">
                <a:noFill/>
                <a:prstDash val="solid"/>
                <a:miter/>
              </a:ln>
            </p:spPr>
            <p:txBody>
              <a:bodyPr rtlCol="0" anchor="ctr"/>
              <a:lstStyle/>
              <a:p>
                <a:endParaRPr lang="en-GB"/>
              </a:p>
            </p:txBody>
          </p:sp>
          <p:sp>
            <p:nvSpPr>
              <p:cNvPr id="2075" name="Vrije vorm: vorm 2074">
                <a:extLst>
                  <a:ext uri="{FF2B5EF4-FFF2-40B4-BE49-F238E27FC236}">
                    <a16:creationId xmlns:a16="http://schemas.microsoft.com/office/drawing/2014/main" id="{B538112F-DB82-4A09-8E76-5C566ECF6AD4}"/>
                  </a:ext>
                </a:extLst>
              </p:cNvPr>
              <p:cNvSpPr/>
              <p:nvPr/>
            </p:nvSpPr>
            <p:spPr>
              <a:xfrm>
                <a:off x="3963508" y="2261164"/>
                <a:ext cx="18325" cy="18436"/>
              </a:xfrm>
              <a:custGeom>
                <a:avLst/>
                <a:gdLst>
                  <a:gd name="connsiteX0" fmla="*/ 4780 w 18325"/>
                  <a:gd name="connsiteY0" fmla="*/ 17292 h 18436"/>
                  <a:gd name="connsiteX1" fmla="*/ 17220 w 18325"/>
                  <a:gd name="connsiteY1" fmla="*/ 13644 h 18436"/>
                  <a:gd name="connsiteX2" fmla="*/ 13572 w 18325"/>
                  <a:gd name="connsiteY2" fmla="*/ 1144 h 18436"/>
                  <a:gd name="connsiteX3" fmla="*/ 1132 w 18325"/>
                  <a:gd name="connsiteY3" fmla="*/ 4792 h 18436"/>
                  <a:gd name="connsiteX4" fmla="*/ 4780 w 18325"/>
                  <a:gd name="connsiteY4" fmla="*/ 172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6">
                    <a:moveTo>
                      <a:pt x="4780" y="17292"/>
                    </a:moveTo>
                    <a:cubicBezTo>
                      <a:pt x="9206" y="19744"/>
                      <a:pt x="14768" y="18129"/>
                      <a:pt x="17220" y="13644"/>
                    </a:cubicBezTo>
                    <a:cubicBezTo>
                      <a:pt x="19612" y="9158"/>
                      <a:pt x="17998" y="3596"/>
                      <a:pt x="13572" y="1144"/>
                    </a:cubicBezTo>
                    <a:cubicBezTo>
                      <a:pt x="9146" y="-1308"/>
                      <a:pt x="3584" y="307"/>
                      <a:pt x="1132" y="4792"/>
                    </a:cubicBezTo>
                    <a:cubicBezTo>
                      <a:pt x="-1320" y="9218"/>
                      <a:pt x="354" y="14840"/>
                      <a:pt x="4780" y="17292"/>
                    </a:cubicBezTo>
                    <a:close/>
                  </a:path>
                </a:pathLst>
              </a:custGeom>
              <a:grpFill/>
              <a:ln w="5978" cap="flat">
                <a:noFill/>
                <a:prstDash val="solid"/>
                <a:miter/>
              </a:ln>
            </p:spPr>
            <p:txBody>
              <a:bodyPr rtlCol="0" anchor="ctr"/>
              <a:lstStyle/>
              <a:p>
                <a:endParaRPr lang="en-GB"/>
              </a:p>
            </p:txBody>
          </p:sp>
        </p:grpSp>
        <p:grpSp>
          <p:nvGrpSpPr>
            <p:cNvPr id="1110" name="Graphic 3">
              <a:extLst>
                <a:ext uri="{FF2B5EF4-FFF2-40B4-BE49-F238E27FC236}">
                  <a16:creationId xmlns:a16="http://schemas.microsoft.com/office/drawing/2014/main" id="{BF9894C3-51FA-4008-9F5A-799BFC48B676}"/>
                </a:ext>
              </a:extLst>
            </p:cNvPr>
            <p:cNvGrpSpPr/>
            <p:nvPr/>
          </p:nvGrpSpPr>
          <p:grpSpPr>
            <a:xfrm>
              <a:off x="4821848" y="4946100"/>
              <a:ext cx="71068" cy="87670"/>
              <a:chOff x="4821848" y="4946100"/>
              <a:chExt cx="71068" cy="87670"/>
            </a:xfrm>
            <a:grpFill/>
          </p:grpSpPr>
          <p:sp>
            <p:nvSpPr>
              <p:cNvPr id="2070" name="Vrije vorm: vorm 2069">
                <a:extLst>
                  <a:ext uri="{FF2B5EF4-FFF2-40B4-BE49-F238E27FC236}">
                    <a16:creationId xmlns:a16="http://schemas.microsoft.com/office/drawing/2014/main" id="{9C12BE90-6E54-4D95-BB38-AAC7DE444983}"/>
                  </a:ext>
                </a:extLst>
              </p:cNvPr>
              <p:cNvSpPr/>
              <p:nvPr/>
            </p:nvSpPr>
            <p:spPr>
              <a:xfrm>
                <a:off x="4829512" y="4954051"/>
                <a:ext cx="55680" cy="71828"/>
              </a:xfrm>
              <a:custGeom>
                <a:avLst/>
                <a:gdLst>
                  <a:gd name="connsiteX0" fmla="*/ 55681 w 55680"/>
                  <a:gd name="connsiteY0" fmla="*/ 1854 h 71828"/>
                  <a:gd name="connsiteX1" fmla="*/ 2392 w 55680"/>
                  <a:gd name="connsiteY1" fmla="*/ 71829 h 71828"/>
                  <a:gd name="connsiteX2" fmla="*/ 0 w 55680"/>
                  <a:gd name="connsiteY2" fmla="*/ 69975 h 71828"/>
                  <a:gd name="connsiteX3" fmla="*/ 53288 w 55680"/>
                  <a:gd name="connsiteY3" fmla="*/ 0 h 71828"/>
                </a:gdLst>
                <a:ahLst/>
                <a:cxnLst>
                  <a:cxn ang="0">
                    <a:pos x="connsiteX0" y="connsiteY0"/>
                  </a:cxn>
                  <a:cxn ang="0">
                    <a:pos x="connsiteX1" y="connsiteY1"/>
                  </a:cxn>
                  <a:cxn ang="0">
                    <a:pos x="connsiteX2" y="connsiteY2"/>
                  </a:cxn>
                  <a:cxn ang="0">
                    <a:pos x="connsiteX3" y="connsiteY3"/>
                  </a:cxn>
                </a:cxnLst>
                <a:rect l="l" t="t" r="r" b="b"/>
                <a:pathLst>
                  <a:path w="55680" h="71828">
                    <a:moveTo>
                      <a:pt x="55681" y="1854"/>
                    </a:moveTo>
                    <a:lnTo>
                      <a:pt x="2392" y="71829"/>
                    </a:lnTo>
                    <a:lnTo>
                      <a:pt x="0" y="69975"/>
                    </a:lnTo>
                    <a:lnTo>
                      <a:pt x="53288" y="0"/>
                    </a:lnTo>
                    <a:close/>
                  </a:path>
                </a:pathLst>
              </a:custGeom>
              <a:grpFill/>
              <a:ln w="5978" cap="flat">
                <a:noFill/>
                <a:prstDash val="solid"/>
                <a:miter/>
              </a:ln>
            </p:spPr>
            <p:txBody>
              <a:bodyPr rtlCol="0" anchor="ctr"/>
              <a:lstStyle/>
              <a:p>
                <a:endParaRPr lang="en-GB"/>
              </a:p>
            </p:txBody>
          </p:sp>
          <p:sp>
            <p:nvSpPr>
              <p:cNvPr id="2071" name="Vrije vorm: vorm 2070">
                <a:extLst>
                  <a:ext uri="{FF2B5EF4-FFF2-40B4-BE49-F238E27FC236}">
                    <a16:creationId xmlns:a16="http://schemas.microsoft.com/office/drawing/2014/main" id="{9A6F52D5-B178-4876-9F7D-BE27BE48E499}"/>
                  </a:ext>
                </a:extLst>
              </p:cNvPr>
              <p:cNvSpPr/>
              <p:nvPr/>
            </p:nvSpPr>
            <p:spPr>
              <a:xfrm>
                <a:off x="4874573" y="4946100"/>
                <a:ext cx="18343" cy="18413"/>
              </a:xfrm>
              <a:custGeom>
                <a:avLst/>
                <a:gdLst>
                  <a:gd name="connsiteX0" fmla="*/ 1888 w 18343"/>
                  <a:gd name="connsiteY0" fmla="*/ 3585 h 18413"/>
                  <a:gd name="connsiteX1" fmla="*/ 14747 w 18343"/>
                  <a:gd name="connsiteY1" fmla="*/ 1910 h 18413"/>
                  <a:gd name="connsiteX2" fmla="*/ 16481 w 18343"/>
                  <a:gd name="connsiteY2" fmla="*/ 14829 h 18413"/>
                  <a:gd name="connsiteX3" fmla="*/ 3623 w 18343"/>
                  <a:gd name="connsiteY3" fmla="*/ 16503 h 18413"/>
                  <a:gd name="connsiteX4" fmla="*/ 1888 w 18343"/>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3">
                    <a:moveTo>
                      <a:pt x="1888" y="3585"/>
                    </a:moveTo>
                    <a:cubicBezTo>
                      <a:pt x="4938" y="-422"/>
                      <a:pt x="10740" y="-1200"/>
                      <a:pt x="14747" y="1910"/>
                    </a:cubicBezTo>
                    <a:cubicBezTo>
                      <a:pt x="18754" y="5021"/>
                      <a:pt x="19531" y="10822"/>
                      <a:pt x="16481" y="14829"/>
                    </a:cubicBezTo>
                    <a:cubicBezTo>
                      <a:pt x="13431" y="18836"/>
                      <a:pt x="7630" y="19614"/>
                      <a:pt x="3623" y="16503"/>
                    </a:cubicBezTo>
                    <a:cubicBezTo>
                      <a:pt x="-384" y="13393"/>
                      <a:pt x="-1222" y="7652"/>
                      <a:pt x="1888" y="3585"/>
                    </a:cubicBezTo>
                    <a:close/>
                  </a:path>
                </a:pathLst>
              </a:custGeom>
              <a:grpFill/>
              <a:ln w="5978" cap="flat">
                <a:noFill/>
                <a:prstDash val="solid"/>
                <a:miter/>
              </a:ln>
            </p:spPr>
            <p:txBody>
              <a:bodyPr rtlCol="0" anchor="ctr"/>
              <a:lstStyle/>
              <a:p>
                <a:endParaRPr lang="en-GB"/>
              </a:p>
            </p:txBody>
          </p:sp>
          <p:sp>
            <p:nvSpPr>
              <p:cNvPr id="2072" name="Vrije vorm: vorm 2071">
                <a:extLst>
                  <a:ext uri="{FF2B5EF4-FFF2-40B4-BE49-F238E27FC236}">
                    <a16:creationId xmlns:a16="http://schemas.microsoft.com/office/drawing/2014/main" id="{0C0621A7-BA43-4547-9014-7E0B2407359D}"/>
                  </a:ext>
                </a:extLst>
              </p:cNvPr>
              <p:cNvSpPr/>
              <p:nvPr/>
            </p:nvSpPr>
            <p:spPr>
              <a:xfrm>
                <a:off x="4821848" y="5015357"/>
                <a:ext cx="18343" cy="18413"/>
              </a:xfrm>
              <a:custGeom>
                <a:avLst/>
                <a:gdLst>
                  <a:gd name="connsiteX0" fmla="*/ 1863 w 18343"/>
                  <a:gd name="connsiteY0" fmla="*/ 3585 h 18413"/>
                  <a:gd name="connsiteX1" fmla="*/ 3597 w 18343"/>
                  <a:gd name="connsiteY1" fmla="*/ 16503 h 18413"/>
                  <a:gd name="connsiteX2" fmla="*/ 16456 w 18343"/>
                  <a:gd name="connsiteY2" fmla="*/ 14829 h 18413"/>
                  <a:gd name="connsiteX3" fmla="*/ 14721 w 18343"/>
                  <a:gd name="connsiteY3" fmla="*/ 1910 h 18413"/>
                  <a:gd name="connsiteX4" fmla="*/ 1863 w 18343"/>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3">
                    <a:moveTo>
                      <a:pt x="1863" y="3585"/>
                    </a:moveTo>
                    <a:cubicBezTo>
                      <a:pt x="-1188" y="7592"/>
                      <a:pt x="-410" y="13393"/>
                      <a:pt x="3597" y="16503"/>
                    </a:cubicBezTo>
                    <a:cubicBezTo>
                      <a:pt x="7604" y="19613"/>
                      <a:pt x="13346" y="18836"/>
                      <a:pt x="16456" y="14829"/>
                    </a:cubicBezTo>
                    <a:cubicBezTo>
                      <a:pt x="19565" y="10822"/>
                      <a:pt x="18728" y="5021"/>
                      <a:pt x="14721" y="1910"/>
                    </a:cubicBezTo>
                    <a:cubicBezTo>
                      <a:pt x="10654" y="-1200"/>
                      <a:pt x="4913" y="-422"/>
                      <a:pt x="1863" y="3585"/>
                    </a:cubicBezTo>
                    <a:close/>
                  </a:path>
                </a:pathLst>
              </a:custGeom>
              <a:grpFill/>
              <a:ln w="5978" cap="flat">
                <a:noFill/>
                <a:prstDash val="solid"/>
                <a:miter/>
              </a:ln>
            </p:spPr>
            <p:txBody>
              <a:bodyPr rtlCol="0" anchor="ctr"/>
              <a:lstStyle/>
              <a:p>
                <a:endParaRPr lang="en-GB"/>
              </a:p>
            </p:txBody>
          </p:sp>
        </p:grpSp>
        <p:grpSp>
          <p:nvGrpSpPr>
            <p:cNvPr id="1111" name="Graphic 3">
              <a:extLst>
                <a:ext uri="{FF2B5EF4-FFF2-40B4-BE49-F238E27FC236}">
                  <a16:creationId xmlns:a16="http://schemas.microsoft.com/office/drawing/2014/main" id="{06D50C20-D1EF-45B5-B335-809AE6B1E0EB}"/>
                </a:ext>
              </a:extLst>
            </p:cNvPr>
            <p:cNvGrpSpPr/>
            <p:nvPr/>
          </p:nvGrpSpPr>
          <p:grpSpPr>
            <a:xfrm>
              <a:off x="4665933" y="4728364"/>
              <a:ext cx="352254" cy="376974"/>
              <a:chOff x="4665933" y="4728364"/>
              <a:chExt cx="352254" cy="376974"/>
            </a:xfrm>
            <a:grpFill/>
          </p:grpSpPr>
          <p:sp>
            <p:nvSpPr>
              <p:cNvPr id="2067" name="Vrije vorm: vorm 2066">
                <a:extLst>
                  <a:ext uri="{FF2B5EF4-FFF2-40B4-BE49-F238E27FC236}">
                    <a16:creationId xmlns:a16="http://schemas.microsoft.com/office/drawing/2014/main" id="{27D1BDB6-40A0-4B66-AAA2-21833D7F5736}"/>
                  </a:ext>
                </a:extLst>
              </p:cNvPr>
              <p:cNvSpPr/>
              <p:nvPr/>
            </p:nvSpPr>
            <p:spPr>
              <a:xfrm>
                <a:off x="4673655" y="4736233"/>
                <a:ext cx="336774" cy="361295"/>
              </a:xfrm>
              <a:custGeom>
                <a:avLst/>
                <a:gdLst>
                  <a:gd name="connsiteX0" fmla="*/ 336774 w 336774"/>
                  <a:gd name="connsiteY0" fmla="*/ 2093 h 361295"/>
                  <a:gd name="connsiteX1" fmla="*/ 2273 w 336774"/>
                  <a:gd name="connsiteY1" fmla="*/ 361295 h 361295"/>
                  <a:gd name="connsiteX2" fmla="*/ 0 w 336774"/>
                  <a:gd name="connsiteY2" fmla="*/ 359202 h 361295"/>
                  <a:gd name="connsiteX3" fmla="*/ 334562 w 336774"/>
                  <a:gd name="connsiteY3" fmla="*/ 0 h 361295"/>
                </a:gdLst>
                <a:ahLst/>
                <a:cxnLst>
                  <a:cxn ang="0">
                    <a:pos x="connsiteX0" y="connsiteY0"/>
                  </a:cxn>
                  <a:cxn ang="0">
                    <a:pos x="connsiteX1" y="connsiteY1"/>
                  </a:cxn>
                  <a:cxn ang="0">
                    <a:pos x="connsiteX2" y="connsiteY2"/>
                  </a:cxn>
                  <a:cxn ang="0">
                    <a:pos x="connsiteX3" y="connsiteY3"/>
                  </a:cxn>
                </a:cxnLst>
                <a:rect l="l" t="t" r="r" b="b"/>
                <a:pathLst>
                  <a:path w="336774" h="361295">
                    <a:moveTo>
                      <a:pt x="336774" y="2093"/>
                    </a:moveTo>
                    <a:lnTo>
                      <a:pt x="2273" y="361295"/>
                    </a:lnTo>
                    <a:lnTo>
                      <a:pt x="0" y="359202"/>
                    </a:lnTo>
                    <a:lnTo>
                      <a:pt x="334562" y="0"/>
                    </a:lnTo>
                    <a:close/>
                  </a:path>
                </a:pathLst>
              </a:custGeom>
              <a:grpFill/>
              <a:ln w="5978" cap="flat">
                <a:noFill/>
                <a:prstDash val="solid"/>
                <a:miter/>
              </a:ln>
            </p:spPr>
            <p:txBody>
              <a:bodyPr rtlCol="0" anchor="ctr"/>
              <a:lstStyle/>
              <a:p>
                <a:endParaRPr lang="en-GB"/>
              </a:p>
            </p:txBody>
          </p:sp>
          <p:sp>
            <p:nvSpPr>
              <p:cNvPr id="2068" name="Vrije vorm: vorm 2067">
                <a:extLst>
                  <a:ext uri="{FF2B5EF4-FFF2-40B4-BE49-F238E27FC236}">
                    <a16:creationId xmlns:a16="http://schemas.microsoft.com/office/drawing/2014/main" id="{6F85E823-BC6E-4655-8CEF-20B3F2B700C3}"/>
                  </a:ext>
                </a:extLst>
              </p:cNvPr>
              <p:cNvSpPr/>
              <p:nvPr/>
            </p:nvSpPr>
            <p:spPr>
              <a:xfrm>
                <a:off x="4999860" y="4728364"/>
                <a:ext cx="18327" cy="18429"/>
              </a:xfrm>
              <a:custGeom>
                <a:avLst/>
                <a:gdLst>
                  <a:gd name="connsiteX0" fmla="*/ 2435 w 18327"/>
                  <a:gd name="connsiteY0" fmla="*/ 2905 h 18429"/>
                  <a:gd name="connsiteX1" fmla="*/ 15414 w 18327"/>
                  <a:gd name="connsiteY1" fmla="*/ 2487 h 18429"/>
                  <a:gd name="connsiteX2" fmla="*/ 15892 w 18327"/>
                  <a:gd name="connsiteY2" fmla="*/ 15525 h 18429"/>
                  <a:gd name="connsiteX3" fmla="*/ 2914 w 18327"/>
                  <a:gd name="connsiteY3" fmla="*/ 15943 h 18429"/>
                  <a:gd name="connsiteX4" fmla="*/ 2435 w 18327"/>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2435" y="2905"/>
                    </a:moveTo>
                    <a:cubicBezTo>
                      <a:pt x="5904" y="-803"/>
                      <a:pt x="11706" y="-982"/>
                      <a:pt x="15414" y="2487"/>
                    </a:cubicBezTo>
                    <a:cubicBezTo>
                      <a:pt x="19122" y="5956"/>
                      <a:pt x="19301" y="11817"/>
                      <a:pt x="15892" y="15525"/>
                    </a:cubicBezTo>
                    <a:cubicBezTo>
                      <a:pt x="12423" y="19233"/>
                      <a:pt x="6622" y="19412"/>
                      <a:pt x="2914" y="15943"/>
                    </a:cubicBezTo>
                    <a:cubicBezTo>
                      <a:pt x="-794" y="12474"/>
                      <a:pt x="-974" y="6613"/>
                      <a:pt x="2435" y="2905"/>
                    </a:cubicBezTo>
                    <a:close/>
                  </a:path>
                </a:pathLst>
              </a:custGeom>
              <a:grpFill/>
              <a:ln w="5978" cap="flat">
                <a:noFill/>
                <a:prstDash val="solid"/>
                <a:miter/>
              </a:ln>
            </p:spPr>
            <p:txBody>
              <a:bodyPr rtlCol="0" anchor="ctr"/>
              <a:lstStyle/>
              <a:p>
                <a:endParaRPr lang="en-GB"/>
              </a:p>
            </p:txBody>
          </p:sp>
          <p:sp>
            <p:nvSpPr>
              <p:cNvPr id="2069" name="Vrije vorm: vorm 2068">
                <a:extLst>
                  <a:ext uri="{FF2B5EF4-FFF2-40B4-BE49-F238E27FC236}">
                    <a16:creationId xmlns:a16="http://schemas.microsoft.com/office/drawing/2014/main" id="{DF95AC33-6A65-4401-9B2C-F2EEEDE7A108}"/>
                  </a:ext>
                </a:extLst>
              </p:cNvPr>
              <p:cNvSpPr/>
              <p:nvPr/>
            </p:nvSpPr>
            <p:spPr>
              <a:xfrm>
                <a:off x="4665933" y="5086908"/>
                <a:ext cx="18374" cy="18429"/>
              </a:xfrm>
              <a:custGeom>
                <a:avLst/>
                <a:gdLst>
                  <a:gd name="connsiteX0" fmla="*/ 2459 w 18374"/>
                  <a:gd name="connsiteY0" fmla="*/ 2905 h 18429"/>
                  <a:gd name="connsiteX1" fmla="*/ 2937 w 18374"/>
                  <a:gd name="connsiteY1" fmla="*/ 15943 h 18429"/>
                  <a:gd name="connsiteX2" fmla="*/ 15915 w 18374"/>
                  <a:gd name="connsiteY2" fmla="*/ 15525 h 18429"/>
                  <a:gd name="connsiteX3" fmla="*/ 15437 w 18374"/>
                  <a:gd name="connsiteY3" fmla="*/ 2487 h 18429"/>
                  <a:gd name="connsiteX4" fmla="*/ 2459 w 18374"/>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9">
                    <a:moveTo>
                      <a:pt x="2459" y="2905"/>
                    </a:moveTo>
                    <a:cubicBezTo>
                      <a:pt x="-1010" y="6613"/>
                      <a:pt x="-771" y="12415"/>
                      <a:pt x="2937" y="15943"/>
                    </a:cubicBezTo>
                    <a:cubicBezTo>
                      <a:pt x="6645" y="19412"/>
                      <a:pt x="12447" y="19233"/>
                      <a:pt x="15915" y="15525"/>
                    </a:cubicBezTo>
                    <a:cubicBezTo>
                      <a:pt x="19384" y="11817"/>
                      <a:pt x="19145" y="6015"/>
                      <a:pt x="15437" y="2487"/>
                    </a:cubicBezTo>
                    <a:cubicBezTo>
                      <a:pt x="11729" y="-982"/>
                      <a:pt x="5928" y="-803"/>
                      <a:pt x="2459" y="2905"/>
                    </a:cubicBezTo>
                    <a:close/>
                  </a:path>
                </a:pathLst>
              </a:custGeom>
              <a:grpFill/>
              <a:ln w="5978" cap="flat">
                <a:noFill/>
                <a:prstDash val="solid"/>
                <a:miter/>
              </a:ln>
            </p:spPr>
            <p:txBody>
              <a:bodyPr rtlCol="0" anchor="ctr"/>
              <a:lstStyle/>
              <a:p>
                <a:endParaRPr lang="en-GB"/>
              </a:p>
            </p:txBody>
          </p:sp>
        </p:grpSp>
        <p:grpSp>
          <p:nvGrpSpPr>
            <p:cNvPr id="1112" name="Graphic 3">
              <a:extLst>
                <a:ext uri="{FF2B5EF4-FFF2-40B4-BE49-F238E27FC236}">
                  <a16:creationId xmlns:a16="http://schemas.microsoft.com/office/drawing/2014/main" id="{7AAFF401-C8C9-4EFA-97D3-C071BB944D5F}"/>
                </a:ext>
              </a:extLst>
            </p:cNvPr>
            <p:cNvGrpSpPr/>
            <p:nvPr/>
          </p:nvGrpSpPr>
          <p:grpSpPr>
            <a:xfrm>
              <a:off x="4058829" y="2995477"/>
              <a:ext cx="269207" cy="70470"/>
              <a:chOff x="4058829" y="2995477"/>
              <a:chExt cx="269207" cy="70470"/>
            </a:xfrm>
            <a:grpFill/>
          </p:grpSpPr>
          <p:sp>
            <p:nvSpPr>
              <p:cNvPr id="2064" name="Vrije vorm: vorm 2063">
                <a:extLst>
                  <a:ext uri="{FF2B5EF4-FFF2-40B4-BE49-F238E27FC236}">
                    <a16:creationId xmlns:a16="http://schemas.microsoft.com/office/drawing/2014/main" id="{28CBDF70-5197-44F1-9CC8-A9FB3A8DD973}"/>
                  </a:ext>
                </a:extLst>
              </p:cNvPr>
              <p:cNvSpPr/>
              <p:nvPr/>
            </p:nvSpPr>
            <p:spPr>
              <a:xfrm>
                <a:off x="4067269" y="3003080"/>
                <a:ext cx="252326" cy="55261"/>
              </a:xfrm>
              <a:custGeom>
                <a:avLst/>
                <a:gdLst>
                  <a:gd name="connsiteX0" fmla="*/ 252327 w 252326"/>
                  <a:gd name="connsiteY0" fmla="*/ 52271 h 55261"/>
                  <a:gd name="connsiteX1" fmla="*/ 251729 w 252326"/>
                  <a:gd name="connsiteY1" fmla="*/ 55262 h 55261"/>
                  <a:gd name="connsiteX2" fmla="*/ 0 w 252326"/>
                  <a:gd name="connsiteY2" fmla="*/ 2990 h 55261"/>
                  <a:gd name="connsiteX3" fmla="*/ 598 w 252326"/>
                  <a:gd name="connsiteY3" fmla="*/ 0 h 55261"/>
                </a:gdLst>
                <a:ahLst/>
                <a:cxnLst>
                  <a:cxn ang="0">
                    <a:pos x="connsiteX0" y="connsiteY0"/>
                  </a:cxn>
                  <a:cxn ang="0">
                    <a:pos x="connsiteX1" y="connsiteY1"/>
                  </a:cxn>
                  <a:cxn ang="0">
                    <a:pos x="connsiteX2" y="connsiteY2"/>
                  </a:cxn>
                  <a:cxn ang="0">
                    <a:pos x="connsiteX3" y="connsiteY3"/>
                  </a:cxn>
                </a:cxnLst>
                <a:rect l="l" t="t" r="r" b="b"/>
                <a:pathLst>
                  <a:path w="252326" h="55261">
                    <a:moveTo>
                      <a:pt x="252327" y="52271"/>
                    </a:moveTo>
                    <a:lnTo>
                      <a:pt x="251729" y="55262"/>
                    </a:lnTo>
                    <a:lnTo>
                      <a:pt x="0" y="2990"/>
                    </a:lnTo>
                    <a:lnTo>
                      <a:pt x="598" y="0"/>
                    </a:lnTo>
                    <a:close/>
                  </a:path>
                </a:pathLst>
              </a:custGeom>
              <a:grpFill/>
              <a:ln w="5978" cap="flat">
                <a:noFill/>
                <a:prstDash val="solid"/>
                <a:miter/>
              </a:ln>
            </p:spPr>
            <p:txBody>
              <a:bodyPr rtlCol="0" anchor="ctr"/>
              <a:lstStyle/>
              <a:p>
                <a:endParaRPr lang="en-GB"/>
              </a:p>
            </p:txBody>
          </p:sp>
          <p:sp>
            <p:nvSpPr>
              <p:cNvPr id="2065" name="Vrije vorm: vorm 2064">
                <a:extLst>
                  <a:ext uri="{FF2B5EF4-FFF2-40B4-BE49-F238E27FC236}">
                    <a16:creationId xmlns:a16="http://schemas.microsoft.com/office/drawing/2014/main" id="{991EE580-F6E2-47AB-AAF4-1124207C1978}"/>
                  </a:ext>
                </a:extLst>
              </p:cNvPr>
              <p:cNvSpPr/>
              <p:nvPr/>
            </p:nvSpPr>
            <p:spPr>
              <a:xfrm>
                <a:off x="4058829" y="2995477"/>
                <a:ext cx="18376" cy="18436"/>
              </a:xfrm>
              <a:custGeom>
                <a:avLst/>
                <a:gdLst>
                  <a:gd name="connsiteX0" fmla="*/ 7364 w 18376"/>
                  <a:gd name="connsiteY0" fmla="*/ 18249 h 18436"/>
                  <a:gd name="connsiteX1" fmla="*/ 187 w 18376"/>
                  <a:gd name="connsiteY1" fmla="*/ 7364 h 18436"/>
                  <a:gd name="connsiteX2" fmla="*/ 11012 w 18376"/>
                  <a:gd name="connsiteY2" fmla="*/ 187 h 18436"/>
                  <a:gd name="connsiteX3" fmla="*/ 18189 w 18376"/>
                  <a:gd name="connsiteY3" fmla="*/ 11072 h 18436"/>
                  <a:gd name="connsiteX4" fmla="*/ 7364 w 18376"/>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6">
                    <a:moveTo>
                      <a:pt x="7364" y="18249"/>
                    </a:moveTo>
                    <a:cubicBezTo>
                      <a:pt x="2400" y="17232"/>
                      <a:pt x="-830" y="12328"/>
                      <a:pt x="187" y="7364"/>
                    </a:cubicBezTo>
                    <a:cubicBezTo>
                      <a:pt x="1204" y="2400"/>
                      <a:pt x="6048" y="-830"/>
                      <a:pt x="11012" y="187"/>
                    </a:cubicBezTo>
                    <a:cubicBezTo>
                      <a:pt x="15976" y="1204"/>
                      <a:pt x="19206" y="6108"/>
                      <a:pt x="18189" y="11072"/>
                    </a:cubicBezTo>
                    <a:cubicBezTo>
                      <a:pt x="17173" y="16036"/>
                      <a:pt x="12328" y="19266"/>
                      <a:pt x="7364" y="18249"/>
                    </a:cubicBezTo>
                    <a:close/>
                  </a:path>
                </a:pathLst>
              </a:custGeom>
              <a:grpFill/>
              <a:ln w="5978" cap="flat">
                <a:noFill/>
                <a:prstDash val="solid"/>
                <a:miter/>
              </a:ln>
            </p:spPr>
            <p:txBody>
              <a:bodyPr rtlCol="0" anchor="ctr"/>
              <a:lstStyle/>
              <a:p>
                <a:endParaRPr lang="en-GB"/>
              </a:p>
            </p:txBody>
          </p:sp>
          <p:sp>
            <p:nvSpPr>
              <p:cNvPr id="2066" name="Vrije vorm: vorm 2065">
                <a:extLst>
                  <a:ext uri="{FF2B5EF4-FFF2-40B4-BE49-F238E27FC236}">
                    <a16:creationId xmlns:a16="http://schemas.microsoft.com/office/drawing/2014/main" id="{F05FD85B-C75C-434C-BAF3-64B4D70BE632}"/>
                  </a:ext>
                </a:extLst>
              </p:cNvPr>
              <p:cNvSpPr/>
              <p:nvPr/>
            </p:nvSpPr>
            <p:spPr>
              <a:xfrm>
                <a:off x="4309660" y="3047507"/>
                <a:ext cx="18376" cy="18440"/>
              </a:xfrm>
              <a:custGeom>
                <a:avLst/>
                <a:gdLst>
                  <a:gd name="connsiteX0" fmla="*/ 7364 w 18376"/>
                  <a:gd name="connsiteY0" fmla="*/ 18251 h 18440"/>
                  <a:gd name="connsiteX1" fmla="*/ 18189 w 18376"/>
                  <a:gd name="connsiteY1" fmla="*/ 11075 h 18440"/>
                  <a:gd name="connsiteX2" fmla="*/ 11012 w 18376"/>
                  <a:gd name="connsiteY2" fmla="*/ 190 h 18440"/>
                  <a:gd name="connsiteX3" fmla="*/ 187 w 18376"/>
                  <a:gd name="connsiteY3" fmla="*/ 7367 h 18440"/>
                  <a:gd name="connsiteX4" fmla="*/ 7364 w 18376"/>
                  <a:gd name="connsiteY4" fmla="*/ 18251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40">
                    <a:moveTo>
                      <a:pt x="7364" y="18251"/>
                    </a:moveTo>
                    <a:cubicBezTo>
                      <a:pt x="12328" y="19268"/>
                      <a:pt x="17173" y="16098"/>
                      <a:pt x="18189" y="11075"/>
                    </a:cubicBezTo>
                    <a:cubicBezTo>
                      <a:pt x="19206" y="6110"/>
                      <a:pt x="15976" y="1206"/>
                      <a:pt x="11012" y="190"/>
                    </a:cubicBezTo>
                    <a:cubicBezTo>
                      <a:pt x="6048" y="-827"/>
                      <a:pt x="1204" y="2343"/>
                      <a:pt x="187" y="7367"/>
                    </a:cubicBezTo>
                    <a:cubicBezTo>
                      <a:pt x="-830" y="12330"/>
                      <a:pt x="2400" y="17235"/>
                      <a:pt x="7364" y="18251"/>
                    </a:cubicBezTo>
                    <a:close/>
                  </a:path>
                </a:pathLst>
              </a:custGeom>
              <a:grpFill/>
              <a:ln w="5978" cap="flat">
                <a:noFill/>
                <a:prstDash val="solid"/>
                <a:miter/>
              </a:ln>
            </p:spPr>
            <p:txBody>
              <a:bodyPr rtlCol="0" anchor="ctr"/>
              <a:lstStyle/>
              <a:p>
                <a:endParaRPr lang="en-GB"/>
              </a:p>
            </p:txBody>
          </p:sp>
        </p:grpSp>
        <p:grpSp>
          <p:nvGrpSpPr>
            <p:cNvPr id="1113" name="Graphic 3">
              <a:extLst>
                <a:ext uri="{FF2B5EF4-FFF2-40B4-BE49-F238E27FC236}">
                  <a16:creationId xmlns:a16="http://schemas.microsoft.com/office/drawing/2014/main" id="{34D39654-A735-4328-911C-B5DABD90CF95}"/>
                </a:ext>
              </a:extLst>
            </p:cNvPr>
            <p:cNvGrpSpPr/>
            <p:nvPr/>
          </p:nvGrpSpPr>
          <p:grpSpPr>
            <a:xfrm>
              <a:off x="4814258" y="4976217"/>
              <a:ext cx="145755" cy="199383"/>
              <a:chOff x="4814258" y="4976217"/>
              <a:chExt cx="145755" cy="199383"/>
            </a:xfrm>
            <a:grpFill/>
          </p:grpSpPr>
          <p:sp>
            <p:nvSpPr>
              <p:cNvPr id="2061" name="Vrije vorm: vorm 2060">
                <a:extLst>
                  <a:ext uri="{FF2B5EF4-FFF2-40B4-BE49-F238E27FC236}">
                    <a16:creationId xmlns:a16="http://schemas.microsoft.com/office/drawing/2014/main" id="{86E89141-A4C6-4C55-B994-F6895A3BC99D}"/>
                  </a:ext>
                </a:extLst>
              </p:cNvPr>
              <p:cNvSpPr/>
              <p:nvPr/>
            </p:nvSpPr>
            <p:spPr>
              <a:xfrm>
                <a:off x="4821976" y="4984194"/>
                <a:ext cx="130379" cy="183428"/>
              </a:xfrm>
              <a:custGeom>
                <a:avLst/>
                <a:gdLst>
                  <a:gd name="connsiteX0" fmla="*/ 130380 w 130379"/>
                  <a:gd name="connsiteY0" fmla="*/ 1795 h 183428"/>
                  <a:gd name="connsiteX1" fmla="*/ 2512 w 130379"/>
                  <a:gd name="connsiteY1" fmla="*/ 183429 h 183428"/>
                  <a:gd name="connsiteX2" fmla="*/ 0 w 130379"/>
                  <a:gd name="connsiteY2" fmla="*/ 181694 h 183428"/>
                  <a:gd name="connsiteX3" fmla="*/ 127928 w 130379"/>
                  <a:gd name="connsiteY3" fmla="*/ 0 h 183428"/>
                </a:gdLst>
                <a:ahLst/>
                <a:cxnLst>
                  <a:cxn ang="0">
                    <a:pos x="connsiteX0" y="connsiteY0"/>
                  </a:cxn>
                  <a:cxn ang="0">
                    <a:pos x="connsiteX1" y="connsiteY1"/>
                  </a:cxn>
                  <a:cxn ang="0">
                    <a:pos x="connsiteX2" y="connsiteY2"/>
                  </a:cxn>
                  <a:cxn ang="0">
                    <a:pos x="connsiteX3" y="connsiteY3"/>
                  </a:cxn>
                </a:cxnLst>
                <a:rect l="l" t="t" r="r" b="b"/>
                <a:pathLst>
                  <a:path w="130379" h="183428">
                    <a:moveTo>
                      <a:pt x="130380" y="1795"/>
                    </a:moveTo>
                    <a:lnTo>
                      <a:pt x="2512" y="183429"/>
                    </a:lnTo>
                    <a:lnTo>
                      <a:pt x="0" y="181694"/>
                    </a:lnTo>
                    <a:lnTo>
                      <a:pt x="127928" y="0"/>
                    </a:lnTo>
                    <a:close/>
                  </a:path>
                </a:pathLst>
              </a:custGeom>
              <a:grpFill/>
              <a:ln w="5978" cap="flat">
                <a:noFill/>
                <a:prstDash val="solid"/>
                <a:miter/>
              </a:ln>
            </p:spPr>
            <p:txBody>
              <a:bodyPr rtlCol="0" anchor="ctr"/>
              <a:lstStyle/>
              <a:p>
                <a:endParaRPr lang="en-GB"/>
              </a:p>
            </p:txBody>
          </p:sp>
          <p:sp>
            <p:nvSpPr>
              <p:cNvPr id="2062" name="Vrije vorm: vorm 2061">
                <a:extLst>
                  <a:ext uri="{FF2B5EF4-FFF2-40B4-BE49-F238E27FC236}">
                    <a16:creationId xmlns:a16="http://schemas.microsoft.com/office/drawing/2014/main" id="{1418249E-60E6-4691-9842-3AD98D828AAD}"/>
                  </a:ext>
                </a:extLst>
              </p:cNvPr>
              <p:cNvSpPr/>
              <p:nvPr/>
            </p:nvSpPr>
            <p:spPr>
              <a:xfrm>
                <a:off x="4814258" y="5157193"/>
                <a:ext cx="18382" cy="18406"/>
              </a:xfrm>
              <a:custGeom>
                <a:avLst/>
                <a:gdLst>
                  <a:gd name="connsiteX0" fmla="*/ 16689 w 18382"/>
                  <a:gd name="connsiteY0" fmla="*/ 14556 h 18406"/>
                  <a:gd name="connsiteX1" fmla="*/ 3890 w 18382"/>
                  <a:gd name="connsiteY1" fmla="*/ 16709 h 18406"/>
                  <a:gd name="connsiteX2" fmla="*/ 1677 w 18382"/>
                  <a:gd name="connsiteY2" fmla="*/ 3850 h 18406"/>
                  <a:gd name="connsiteX3" fmla="*/ 14476 w 18382"/>
                  <a:gd name="connsiteY3" fmla="*/ 1697 h 18406"/>
                  <a:gd name="connsiteX4" fmla="*/ 16689 w 18382"/>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2" h="18406">
                    <a:moveTo>
                      <a:pt x="16689" y="14556"/>
                    </a:moveTo>
                    <a:cubicBezTo>
                      <a:pt x="13759" y="18683"/>
                      <a:pt x="8077" y="19640"/>
                      <a:pt x="3890" y="16709"/>
                    </a:cubicBezTo>
                    <a:cubicBezTo>
                      <a:pt x="-237" y="13779"/>
                      <a:pt x="-1253" y="7977"/>
                      <a:pt x="1677" y="3850"/>
                    </a:cubicBezTo>
                    <a:cubicBezTo>
                      <a:pt x="4608" y="-276"/>
                      <a:pt x="10290" y="-1233"/>
                      <a:pt x="14476" y="1697"/>
                    </a:cubicBezTo>
                    <a:cubicBezTo>
                      <a:pt x="18663" y="4628"/>
                      <a:pt x="19620" y="10370"/>
                      <a:pt x="16689" y="14556"/>
                    </a:cubicBezTo>
                    <a:close/>
                  </a:path>
                </a:pathLst>
              </a:custGeom>
              <a:grpFill/>
              <a:ln w="5978" cap="flat">
                <a:noFill/>
                <a:prstDash val="solid"/>
                <a:miter/>
              </a:ln>
            </p:spPr>
            <p:txBody>
              <a:bodyPr rtlCol="0" anchor="ctr"/>
              <a:lstStyle/>
              <a:p>
                <a:endParaRPr lang="en-GB"/>
              </a:p>
            </p:txBody>
          </p:sp>
          <p:sp>
            <p:nvSpPr>
              <p:cNvPr id="2063" name="Vrije vorm: vorm 2062">
                <a:extLst>
                  <a:ext uri="{FF2B5EF4-FFF2-40B4-BE49-F238E27FC236}">
                    <a16:creationId xmlns:a16="http://schemas.microsoft.com/office/drawing/2014/main" id="{557AC014-D589-4CB9-92D0-25660CDAB603}"/>
                  </a:ext>
                </a:extLst>
              </p:cNvPr>
              <p:cNvSpPr/>
              <p:nvPr/>
            </p:nvSpPr>
            <p:spPr>
              <a:xfrm>
                <a:off x="4941648" y="4976217"/>
                <a:ext cx="18366" cy="18449"/>
              </a:xfrm>
              <a:custGeom>
                <a:avLst/>
                <a:gdLst>
                  <a:gd name="connsiteX0" fmla="*/ 16689 w 18366"/>
                  <a:gd name="connsiteY0" fmla="*/ 14556 h 18449"/>
                  <a:gd name="connsiteX1" fmla="*/ 14476 w 18366"/>
                  <a:gd name="connsiteY1" fmla="*/ 1697 h 18449"/>
                  <a:gd name="connsiteX2" fmla="*/ 1678 w 18366"/>
                  <a:gd name="connsiteY2" fmla="*/ 3850 h 18449"/>
                  <a:gd name="connsiteX3" fmla="*/ 3890 w 18366"/>
                  <a:gd name="connsiteY3" fmla="*/ 16709 h 18449"/>
                  <a:gd name="connsiteX4" fmla="*/ 16689 w 18366"/>
                  <a:gd name="connsiteY4" fmla="*/ 14556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49">
                    <a:moveTo>
                      <a:pt x="16689" y="14556"/>
                    </a:moveTo>
                    <a:cubicBezTo>
                      <a:pt x="19620" y="10429"/>
                      <a:pt x="18603" y="4628"/>
                      <a:pt x="14476" y="1697"/>
                    </a:cubicBezTo>
                    <a:cubicBezTo>
                      <a:pt x="10349" y="-1233"/>
                      <a:pt x="4608" y="-276"/>
                      <a:pt x="1678" y="3850"/>
                    </a:cubicBezTo>
                    <a:cubicBezTo>
                      <a:pt x="-1253" y="7977"/>
                      <a:pt x="-236" y="13719"/>
                      <a:pt x="3890" y="16709"/>
                    </a:cubicBezTo>
                    <a:cubicBezTo>
                      <a:pt x="8077" y="19700"/>
                      <a:pt x="13818" y="18743"/>
                      <a:pt x="16689" y="14556"/>
                    </a:cubicBezTo>
                    <a:close/>
                  </a:path>
                </a:pathLst>
              </a:custGeom>
              <a:grpFill/>
              <a:ln w="5978" cap="flat">
                <a:noFill/>
                <a:prstDash val="solid"/>
                <a:miter/>
              </a:ln>
            </p:spPr>
            <p:txBody>
              <a:bodyPr rtlCol="0" anchor="ctr"/>
              <a:lstStyle/>
              <a:p>
                <a:endParaRPr lang="en-GB"/>
              </a:p>
            </p:txBody>
          </p:sp>
        </p:grpSp>
        <p:grpSp>
          <p:nvGrpSpPr>
            <p:cNvPr id="1114" name="Graphic 3">
              <a:extLst>
                <a:ext uri="{FF2B5EF4-FFF2-40B4-BE49-F238E27FC236}">
                  <a16:creationId xmlns:a16="http://schemas.microsoft.com/office/drawing/2014/main" id="{8AC6B303-6B81-4A33-9098-3B06A1CB1BC6}"/>
                </a:ext>
              </a:extLst>
            </p:cNvPr>
            <p:cNvGrpSpPr/>
            <p:nvPr/>
          </p:nvGrpSpPr>
          <p:grpSpPr>
            <a:xfrm>
              <a:off x="4736535" y="4788358"/>
              <a:ext cx="148515" cy="170863"/>
              <a:chOff x="4736535" y="4788358"/>
              <a:chExt cx="148515" cy="170863"/>
            </a:xfrm>
            <a:grpFill/>
          </p:grpSpPr>
          <p:sp>
            <p:nvSpPr>
              <p:cNvPr id="2058" name="Vrije vorm: vorm 2057">
                <a:extLst>
                  <a:ext uri="{FF2B5EF4-FFF2-40B4-BE49-F238E27FC236}">
                    <a16:creationId xmlns:a16="http://schemas.microsoft.com/office/drawing/2014/main" id="{9C2D56AA-FCB8-49FD-BEC8-2C4393E7B413}"/>
                  </a:ext>
                </a:extLst>
              </p:cNvPr>
              <p:cNvSpPr/>
              <p:nvPr/>
            </p:nvSpPr>
            <p:spPr>
              <a:xfrm>
                <a:off x="4744287" y="4796220"/>
                <a:ext cx="133071" cy="155139"/>
              </a:xfrm>
              <a:custGeom>
                <a:avLst/>
                <a:gdLst>
                  <a:gd name="connsiteX0" fmla="*/ 133071 w 133071"/>
                  <a:gd name="connsiteY0" fmla="*/ 2034 h 155139"/>
                  <a:gd name="connsiteX1" fmla="*/ 2273 w 133071"/>
                  <a:gd name="connsiteY1" fmla="*/ 155140 h 155139"/>
                  <a:gd name="connsiteX2" fmla="*/ 0 w 133071"/>
                  <a:gd name="connsiteY2" fmla="*/ 153166 h 155139"/>
                  <a:gd name="connsiteX3" fmla="*/ 130798 w 133071"/>
                  <a:gd name="connsiteY3" fmla="*/ 0 h 155139"/>
                </a:gdLst>
                <a:ahLst/>
                <a:cxnLst>
                  <a:cxn ang="0">
                    <a:pos x="connsiteX0" y="connsiteY0"/>
                  </a:cxn>
                  <a:cxn ang="0">
                    <a:pos x="connsiteX1" y="connsiteY1"/>
                  </a:cxn>
                  <a:cxn ang="0">
                    <a:pos x="connsiteX2" y="connsiteY2"/>
                  </a:cxn>
                  <a:cxn ang="0">
                    <a:pos x="connsiteX3" y="connsiteY3"/>
                  </a:cxn>
                </a:cxnLst>
                <a:rect l="l" t="t" r="r" b="b"/>
                <a:pathLst>
                  <a:path w="133071" h="155139">
                    <a:moveTo>
                      <a:pt x="133071" y="2034"/>
                    </a:moveTo>
                    <a:lnTo>
                      <a:pt x="2273" y="155140"/>
                    </a:lnTo>
                    <a:lnTo>
                      <a:pt x="0" y="153166"/>
                    </a:lnTo>
                    <a:lnTo>
                      <a:pt x="130798" y="0"/>
                    </a:lnTo>
                    <a:close/>
                  </a:path>
                </a:pathLst>
              </a:custGeom>
              <a:grpFill/>
              <a:ln w="5978" cap="flat">
                <a:noFill/>
                <a:prstDash val="solid"/>
                <a:miter/>
              </a:ln>
            </p:spPr>
            <p:txBody>
              <a:bodyPr rtlCol="0" anchor="ctr"/>
              <a:lstStyle/>
              <a:p>
                <a:endParaRPr lang="en-GB"/>
              </a:p>
            </p:txBody>
          </p:sp>
          <p:sp>
            <p:nvSpPr>
              <p:cNvPr id="2059" name="Vrije vorm: vorm 2058">
                <a:extLst>
                  <a:ext uri="{FF2B5EF4-FFF2-40B4-BE49-F238E27FC236}">
                    <a16:creationId xmlns:a16="http://schemas.microsoft.com/office/drawing/2014/main" id="{8C195579-DEC3-406C-9BBB-9D88A8B4F9D7}"/>
                  </a:ext>
                </a:extLst>
              </p:cNvPr>
              <p:cNvSpPr/>
              <p:nvPr/>
            </p:nvSpPr>
            <p:spPr>
              <a:xfrm>
                <a:off x="4736535" y="4940807"/>
                <a:ext cx="18334" cy="18414"/>
              </a:xfrm>
              <a:custGeom>
                <a:avLst/>
                <a:gdLst>
                  <a:gd name="connsiteX0" fmla="*/ 16125 w 18334"/>
                  <a:gd name="connsiteY0" fmla="*/ 15218 h 18414"/>
                  <a:gd name="connsiteX1" fmla="*/ 3207 w 18334"/>
                  <a:gd name="connsiteY1" fmla="*/ 16175 h 18414"/>
                  <a:gd name="connsiteX2" fmla="*/ 2190 w 18334"/>
                  <a:gd name="connsiteY2" fmla="*/ 3197 h 18414"/>
                  <a:gd name="connsiteX3" fmla="*/ 15108 w 18334"/>
                  <a:gd name="connsiteY3" fmla="*/ 2240 h 18414"/>
                  <a:gd name="connsiteX4" fmla="*/ 16125 w 18334"/>
                  <a:gd name="connsiteY4" fmla="*/ 1521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14">
                    <a:moveTo>
                      <a:pt x="16125" y="15218"/>
                    </a:moveTo>
                    <a:cubicBezTo>
                      <a:pt x="12835" y="19045"/>
                      <a:pt x="7034" y="19524"/>
                      <a:pt x="3207" y="16175"/>
                    </a:cubicBezTo>
                    <a:cubicBezTo>
                      <a:pt x="-621" y="12826"/>
                      <a:pt x="-1099" y="7025"/>
                      <a:pt x="2190" y="3197"/>
                    </a:cubicBezTo>
                    <a:cubicBezTo>
                      <a:pt x="5479" y="-631"/>
                      <a:pt x="11281" y="-1110"/>
                      <a:pt x="15108" y="2240"/>
                    </a:cubicBezTo>
                    <a:cubicBezTo>
                      <a:pt x="18996" y="5529"/>
                      <a:pt x="19414" y="11390"/>
                      <a:pt x="16125" y="15218"/>
                    </a:cubicBezTo>
                    <a:close/>
                  </a:path>
                </a:pathLst>
              </a:custGeom>
              <a:grpFill/>
              <a:ln w="5978" cap="flat">
                <a:noFill/>
                <a:prstDash val="solid"/>
                <a:miter/>
              </a:ln>
            </p:spPr>
            <p:txBody>
              <a:bodyPr rtlCol="0" anchor="ctr"/>
              <a:lstStyle/>
              <a:p>
                <a:endParaRPr lang="en-GB"/>
              </a:p>
            </p:txBody>
          </p:sp>
          <p:sp>
            <p:nvSpPr>
              <p:cNvPr id="2060" name="Vrije vorm: vorm 2059">
                <a:extLst>
                  <a:ext uri="{FF2B5EF4-FFF2-40B4-BE49-F238E27FC236}">
                    <a16:creationId xmlns:a16="http://schemas.microsoft.com/office/drawing/2014/main" id="{8FF7DC80-1E66-41BE-B32E-664F88AADE66}"/>
                  </a:ext>
                </a:extLst>
              </p:cNvPr>
              <p:cNvSpPr/>
              <p:nvPr/>
            </p:nvSpPr>
            <p:spPr>
              <a:xfrm>
                <a:off x="4866715" y="4788358"/>
                <a:ext cx="18334" cy="18434"/>
              </a:xfrm>
              <a:custGeom>
                <a:avLst/>
                <a:gdLst>
                  <a:gd name="connsiteX0" fmla="*/ 16145 w 18334"/>
                  <a:gd name="connsiteY0" fmla="*/ 15218 h 18434"/>
                  <a:gd name="connsiteX1" fmla="*/ 15128 w 18334"/>
                  <a:gd name="connsiteY1" fmla="*/ 2240 h 18434"/>
                  <a:gd name="connsiteX2" fmla="*/ 2210 w 18334"/>
                  <a:gd name="connsiteY2" fmla="*/ 3197 h 18434"/>
                  <a:gd name="connsiteX3" fmla="*/ 3227 w 18334"/>
                  <a:gd name="connsiteY3" fmla="*/ 16175 h 18434"/>
                  <a:gd name="connsiteX4" fmla="*/ 16145 w 18334"/>
                  <a:gd name="connsiteY4" fmla="*/ 15218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4">
                    <a:moveTo>
                      <a:pt x="16145" y="15218"/>
                    </a:moveTo>
                    <a:cubicBezTo>
                      <a:pt x="19435" y="11390"/>
                      <a:pt x="18956" y="5529"/>
                      <a:pt x="15128" y="2240"/>
                    </a:cubicBezTo>
                    <a:cubicBezTo>
                      <a:pt x="11301" y="-1110"/>
                      <a:pt x="5499" y="-631"/>
                      <a:pt x="2210" y="3197"/>
                    </a:cubicBezTo>
                    <a:cubicBezTo>
                      <a:pt x="-1080" y="7024"/>
                      <a:pt x="-661" y="12886"/>
                      <a:pt x="3227" y="16175"/>
                    </a:cubicBezTo>
                    <a:cubicBezTo>
                      <a:pt x="7114" y="19524"/>
                      <a:pt x="12856" y="19105"/>
                      <a:pt x="16145" y="15218"/>
                    </a:cubicBezTo>
                    <a:close/>
                  </a:path>
                </a:pathLst>
              </a:custGeom>
              <a:grpFill/>
              <a:ln w="5978" cap="flat">
                <a:noFill/>
                <a:prstDash val="solid"/>
                <a:miter/>
              </a:ln>
            </p:spPr>
            <p:txBody>
              <a:bodyPr rtlCol="0" anchor="ctr"/>
              <a:lstStyle/>
              <a:p>
                <a:endParaRPr lang="en-GB"/>
              </a:p>
            </p:txBody>
          </p:sp>
        </p:grpSp>
        <p:grpSp>
          <p:nvGrpSpPr>
            <p:cNvPr id="1115" name="Graphic 3">
              <a:extLst>
                <a:ext uri="{FF2B5EF4-FFF2-40B4-BE49-F238E27FC236}">
                  <a16:creationId xmlns:a16="http://schemas.microsoft.com/office/drawing/2014/main" id="{6322F58F-A90F-4508-B118-F9597E1A8E00}"/>
                </a:ext>
              </a:extLst>
            </p:cNvPr>
            <p:cNvGrpSpPr/>
            <p:nvPr/>
          </p:nvGrpSpPr>
          <p:grpSpPr>
            <a:xfrm>
              <a:off x="4640209" y="4567749"/>
              <a:ext cx="182998" cy="172258"/>
              <a:chOff x="4640209" y="4567749"/>
              <a:chExt cx="182998" cy="172258"/>
            </a:xfrm>
            <a:grpFill/>
          </p:grpSpPr>
          <p:sp>
            <p:nvSpPr>
              <p:cNvPr id="2055" name="Vrije vorm: vorm 2054">
                <a:extLst>
                  <a:ext uri="{FF2B5EF4-FFF2-40B4-BE49-F238E27FC236}">
                    <a16:creationId xmlns:a16="http://schemas.microsoft.com/office/drawing/2014/main" id="{DB5F5342-ED5C-4050-8652-81217495F07B}"/>
                  </a:ext>
                </a:extLst>
              </p:cNvPr>
              <p:cNvSpPr/>
              <p:nvPr/>
            </p:nvSpPr>
            <p:spPr>
              <a:xfrm>
                <a:off x="4648057" y="4575531"/>
                <a:ext cx="167340" cy="156694"/>
              </a:xfrm>
              <a:custGeom>
                <a:avLst/>
                <a:gdLst>
                  <a:gd name="connsiteX0" fmla="*/ 167341 w 167340"/>
                  <a:gd name="connsiteY0" fmla="*/ 2213 h 156694"/>
                  <a:gd name="connsiteX1" fmla="*/ 2093 w 167340"/>
                  <a:gd name="connsiteY1" fmla="*/ 156695 h 156694"/>
                  <a:gd name="connsiteX2" fmla="*/ 0 w 167340"/>
                  <a:gd name="connsiteY2" fmla="*/ 154482 h 156694"/>
                  <a:gd name="connsiteX3" fmla="*/ 165247 w 167340"/>
                  <a:gd name="connsiteY3" fmla="*/ 0 h 156694"/>
                </a:gdLst>
                <a:ahLst/>
                <a:cxnLst>
                  <a:cxn ang="0">
                    <a:pos x="connsiteX0" y="connsiteY0"/>
                  </a:cxn>
                  <a:cxn ang="0">
                    <a:pos x="connsiteX1" y="connsiteY1"/>
                  </a:cxn>
                  <a:cxn ang="0">
                    <a:pos x="connsiteX2" y="connsiteY2"/>
                  </a:cxn>
                  <a:cxn ang="0">
                    <a:pos x="connsiteX3" y="connsiteY3"/>
                  </a:cxn>
                </a:cxnLst>
                <a:rect l="l" t="t" r="r" b="b"/>
                <a:pathLst>
                  <a:path w="167340" h="156694">
                    <a:moveTo>
                      <a:pt x="167341" y="2213"/>
                    </a:moveTo>
                    <a:lnTo>
                      <a:pt x="2093" y="156695"/>
                    </a:lnTo>
                    <a:lnTo>
                      <a:pt x="0" y="154482"/>
                    </a:lnTo>
                    <a:lnTo>
                      <a:pt x="165247" y="0"/>
                    </a:lnTo>
                    <a:close/>
                  </a:path>
                </a:pathLst>
              </a:custGeom>
              <a:grpFill/>
              <a:ln w="5978" cap="flat">
                <a:noFill/>
                <a:prstDash val="solid"/>
                <a:miter/>
              </a:ln>
            </p:spPr>
            <p:txBody>
              <a:bodyPr rtlCol="0" anchor="ctr"/>
              <a:lstStyle/>
              <a:p>
                <a:endParaRPr lang="en-GB"/>
              </a:p>
            </p:txBody>
          </p:sp>
          <p:sp>
            <p:nvSpPr>
              <p:cNvPr id="2056" name="Vrije vorm: vorm 2055">
                <a:extLst>
                  <a:ext uri="{FF2B5EF4-FFF2-40B4-BE49-F238E27FC236}">
                    <a16:creationId xmlns:a16="http://schemas.microsoft.com/office/drawing/2014/main" id="{29351657-FE84-4BFB-98C4-D9B18DA8E630}"/>
                  </a:ext>
                </a:extLst>
              </p:cNvPr>
              <p:cNvSpPr/>
              <p:nvPr/>
            </p:nvSpPr>
            <p:spPr>
              <a:xfrm>
                <a:off x="4640209" y="4721574"/>
                <a:ext cx="18372" cy="18434"/>
              </a:xfrm>
              <a:custGeom>
                <a:avLst/>
                <a:gdLst>
                  <a:gd name="connsiteX0" fmla="*/ 15443 w 18372"/>
                  <a:gd name="connsiteY0" fmla="*/ 15975 h 18434"/>
                  <a:gd name="connsiteX1" fmla="*/ 2465 w 18372"/>
                  <a:gd name="connsiteY1" fmla="*/ 15497 h 18434"/>
                  <a:gd name="connsiteX2" fmla="*/ 2884 w 18372"/>
                  <a:gd name="connsiteY2" fmla="*/ 2459 h 18434"/>
                  <a:gd name="connsiteX3" fmla="*/ 15862 w 18372"/>
                  <a:gd name="connsiteY3" fmla="*/ 2937 h 18434"/>
                  <a:gd name="connsiteX4" fmla="*/ 15443 w 18372"/>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4">
                    <a:moveTo>
                      <a:pt x="15443" y="15975"/>
                    </a:moveTo>
                    <a:cubicBezTo>
                      <a:pt x="11735" y="19444"/>
                      <a:pt x="5934" y="19205"/>
                      <a:pt x="2465" y="15497"/>
                    </a:cubicBezTo>
                    <a:cubicBezTo>
                      <a:pt x="-1004" y="11789"/>
                      <a:pt x="-764" y="5928"/>
                      <a:pt x="2884" y="2459"/>
                    </a:cubicBezTo>
                    <a:cubicBezTo>
                      <a:pt x="6592" y="-1010"/>
                      <a:pt x="12393" y="-771"/>
                      <a:pt x="15862" y="2937"/>
                    </a:cubicBezTo>
                    <a:cubicBezTo>
                      <a:pt x="19391" y="6705"/>
                      <a:pt x="19151" y="12506"/>
                      <a:pt x="15443" y="15975"/>
                    </a:cubicBezTo>
                    <a:close/>
                  </a:path>
                </a:pathLst>
              </a:custGeom>
              <a:grpFill/>
              <a:ln w="5978" cap="flat">
                <a:noFill/>
                <a:prstDash val="solid"/>
                <a:miter/>
              </a:ln>
            </p:spPr>
            <p:txBody>
              <a:bodyPr rtlCol="0" anchor="ctr"/>
              <a:lstStyle/>
              <a:p>
                <a:endParaRPr lang="en-GB"/>
              </a:p>
            </p:txBody>
          </p:sp>
          <p:sp>
            <p:nvSpPr>
              <p:cNvPr id="2057" name="Vrije vorm: vorm 2056">
                <a:extLst>
                  <a:ext uri="{FF2B5EF4-FFF2-40B4-BE49-F238E27FC236}">
                    <a16:creationId xmlns:a16="http://schemas.microsoft.com/office/drawing/2014/main" id="{3366379D-6EFF-41FC-803B-A1A828B937F5}"/>
                  </a:ext>
                </a:extLst>
              </p:cNvPr>
              <p:cNvSpPr/>
              <p:nvPr/>
            </p:nvSpPr>
            <p:spPr>
              <a:xfrm>
                <a:off x="4804837" y="4567749"/>
                <a:ext cx="18370" cy="18434"/>
              </a:xfrm>
              <a:custGeom>
                <a:avLst/>
                <a:gdLst>
                  <a:gd name="connsiteX0" fmla="*/ 15465 w 18370"/>
                  <a:gd name="connsiteY0" fmla="*/ 15975 h 18434"/>
                  <a:gd name="connsiteX1" fmla="*/ 15884 w 18370"/>
                  <a:gd name="connsiteY1" fmla="*/ 2937 h 18434"/>
                  <a:gd name="connsiteX2" fmla="*/ 2905 w 18370"/>
                  <a:gd name="connsiteY2" fmla="*/ 2459 h 18434"/>
                  <a:gd name="connsiteX3" fmla="*/ 2487 w 18370"/>
                  <a:gd name="connsiteY3" fmla="*/ 15497 h 18434"/>
                  <a:gd name="connsiteX4" fmla="*/ 15465 w 18370"/>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4">
                    <a:moveTo>
                      <a:pt x="15465" y="15975"/>
                    </a:moveTo>
                    <a:cubicBezTo>
                      <a:pt x="19173" y="12507"/>
                      <a:pt x="19352" y="6705"/>
                      <a:pt x="15884" y="2937"/>
                    </a:cubicBezTo>
                    <a:cubicBezTo>
                      <a:pt x="12415" y="-771"/>
                      <a:pt x="6613" y="-1010"/>
                      <a:pt x="2905" y="2459"/>
                    </a:cubicBezTo>
                    <a:cubicBezTo>
                      <a:pt x="-803" y="5928"/>
                      <a:pt x="-982" y="11729"/>
                      <a:pt x="2487" y="15497"/>
                    </a:cubicBezTo>
                    <a:cubicBezTo>
                      <a:pt x="5955" y="19205"/>
                      <a:pt x="11757" y="19444"/>
                      <a:pt x="15465" y="15975"/>
                    </a:cubicBezTo>
                    <a:close/>
                  </a:path>
                </a:pathLst>
              </a:custGeom>
              <a:grpFill/>
              <a:ln w="5978" cap="flat">
                <a:noFill/>
                <a:prstDash val="solid"/>
                <a:miter/>
              </a:ln>
            </p:spPr>
            <p:txBody>
              <a:bodyPr rtlCol="0" anchor="ctr"/>
              <a:lstStyle/>
              <a:p>
                <a:endParaRPr lang="en-GB"/>
              </a:p>
            </p:txBody>
          </p:sp>
        </p:grpSp>
        <p:grpSp>
          <p:nvGrpSpPr>
            <p:cNvPr id="1116" name="Graphic 3">
              <a:extLst>
                <a:ext uri="{FF2B5EF4-FFF2-40B4-BE49-F238E27FC236}">
                  <a16:creationId xmlns:a16="http://schemas.microsoft.com/office/drawing/2014/main" id="{CABC6C27-A413-49B5-9331-73D434197F2E}"/>
                </a:ext>
              </a:extLst>
            </p:cNvPr>
            <p:cNvGrpSpPr/>
            <p:nvPr/>
          </p:nvGrpSpPr>
          <p:grpSpPr>
            <a:xfrm>
              <a:off x="3876097" y="2829491"/>
              <a:ext cx="532639" cy="187372"/>
              <a:chOff x="3876097" y="2829491"/>
              <a:chExt cx="532639" cy="187372"/>
            </a:xfrm>
            <a:grpFill/>
          </p:grpSpPr>
          <p:sp>
            <p:nvSpPr>
              <p:cNvPr id="2052" name="Vrije vorm: vorm 2051">
                <a:extLst>
                  <a:ext uri="{FF2B5EF4-FFF2-40B4-BE49-F238E27FC236}">
                    <a16:creationId xmlns:a16="http://schemas.microsoft.com/office/drawing/2014/main" id="{F95867E8-092E-4335-98E0-DE0F8AF0BABE}"/>
                  </a:ext>
                </a:extLst>
              </p:cNvPr>
              <p:cNvSpPr/>
              <p:nvPr/>
            </p:nvSpPr>
            <p:spPr>
              <a:xfrm>
                <a:off x="3884379" y="2837115"/>
                <a:ext cx="516076" cy="172125"/>
              </a:xfrm>
              <a:custGeom>
                <a:avLst/>
                <a:gdLst>
                  <a:gd name="connsiteX0" fmla="*/ 516076 w 516076"/>
                  <a:gd name="connsiteY0" fmla="*/ 169254 h 172125"/>
                  <a:gd name="connsiteX1" fmla="*/ 515179 w 516076"/>
                  <a:gd name="connsiteY1" fmla="*/ 172125 h 172125"/>
                  <a:gd name="connsiteX2" fmla="*/ 0 w 516076"/>
                  <a:gd name="connsiteY2" fmla="*/ 2930 h 172125"/>
                  <a:gd name="connsiteX3" fmla="*/ 957 w 516076"/>
                  <a:gd name="connsiteY3" fmla="*/ 0 h 172125"/>
                </a:gdLst>
                <a:ahLst/>
                <a:cxnLst>
                  <a:cxn ang="0">
                    <a:pos x="connsiteX0" y="connsiteY0"/>
                  </a:cxn>
                  <a:cxn ang="0">
                    <a:pos x="connsiteX1" y="connsiteY1"/>
                  </a:cxn>
                  <a:cxn ang="0">
                    <a:pos x="connsiteX2" y="connsiteY2"/>
                  </a:cxn>
                  <a:cxn ang="0">
                    <a:pos x="connsiteX3" y="connsiteY3"/>
                  </a:cxn>
                </a:cxnLst>
                <a:rect l="l" t="t" r="r" b="b"/>
                <a:pathLst>
                  <a:path w="516076" h="172125">
                    <a:moveTo>
                      <a:pt x="516076" y="169254"/>
                    </a:moveTo>
                    <a:lnTo>
                      <a:pt x="515179" y="172125"/>
                    </a:lnTo>
                    <a:lnTo>
                      <a:pt x="0" y="2930"/>
                    </a:lnTo>
                    <a:lnTo>
                      <a:pt x="957" y="0"/>
                    </a:lnTo>
                    <a:close/>
                  </a:path>
                </a:pathLst>
              </a:custGeom>
              <a:grpFill/>
              <a:ln w="5978" cap="flat">
                <a:noFill/>
                <a:prstDash val="solid"/>
                <a:miter/>
              </a:ln>
            </p:spPr>
            <p:txBody>
              <a:bodyPr rtlCol="0" anchor="ctr"/>
              <a:lstStyle/>
              <a:p>
                <a:endParaRPr lang="en-GB"/>
              </a:p>
            </p:txBody>
          </p:sp>
          <p:sp>
            <p:nvSpPr>
              <p:cNvPr id="2053" name="Vrije vorm: vorm 2052">
                <a:extLst>
                  <a:ext uri="{FF2B5EF4-FFF2-40B4-BE49-F238E27FC236}">
                    <a16:creationId xmlns:a16="http://schemas.microsoft.com/office/drawing/2014/main" id="{EF47D676-AE0D-45BF-87BD-BAB4EF32F715}"/>
                  </a:ext>
                </a:extLst>
              </p:cNvPr>
              <p:cNvSpPr/>
              <p:nvPr/>
            </p:nvSpPr>
            <p:spPr>
              <a:xfrm>
                <a:off x="4390380" y="2998447"/>
                <a:ext cx="18357" cy="18416"/>
              </a:xfrm>
              <a:custGeom>
                <a:avLst/>
                <a:gdLst>
                  <a:gd name="connsiteX0" fmla="*/ 11990 w 18357"/>
                  <a:gd name="connsiteY0" fmla="*/ 447 h 18416"/>
                  <a:gd name="connsiteX1" fmla="*/ 17910 w 18357"/>
                  <a:gd name="connsiteY1" fmla="*/ 12049 h 18416"/>
                  <a:gd name="connsiteX2" fmla="*/ 6368 w 18357"/>
                  <a:gd name="connsiteY2" fmla="*/ 17970 h 18416"/>
                  <a:gd name="connsiteX3" fmla="*/ 447 w 18357"/>
                  <a:gd name="connsiteY3" fmla="*/ 6368 h 18416"/>
                  <a:gd name="connsiteX4" fmla="*/ 11990 w 18357"/>
                  <a:gd name="connsiteY4" fmla="*/ 44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11990" y="447"/>
                    </a:moveTo>
                    <a:cubicBezTo>
                      <a:pt x="16834" y="2002"/>
                      <a:pt x="19465" y="7205"/>
                      <a:pt x="17910" y="12049"/>
                    </a:cubicBezTo>
                    <a:cubicBezTo>
                      <a:pt x="16355" y="16894"/>
                      <a:pt x="11212" y="19525"/>
                      <a:pt x="6368" y="17970"/>
                    </a:cubicBezTo>
                    <a:cubicBezTo>
                      <a:pt x="1523" y="16415"/>
                      <a:pt x="-1108" y="11212"/>
                      <a:pt x="447" y="6368"/>
                    </a:cubicBezTo>
                    <a:cubicBezTo>
                      <a:pt x="2001" y="1523"/>
                      <a:pt x="7205" y="-1108"/>
                      <a:pt x="11990" y="447"/>
                    </a:cubicBezTo>
                    <a:close/>
                  </a:path>
                </a:pathLst>
              </a:custGeom>
              <a:grpFill/>
              <a:ln w="5978" cap="flat">
                <a:noFill/>
                <a:prstDash val="solid"/>
                <a:miter/>
              </a:ln>
            </p:spPr>
            <p:txBody>
              <a:bodyPr rtlCol="0" anchor="ctr"/>
              <a:lstStyle/>
              <a:p>
                <a:endParaRPr lang="en-GB"/>
              </a:p>
            </p:txBody>
          </p:sp>
          <p:sp>
            <p:nvSpPr>
              <p:cNvPr id="2054" name="Vrije vorm: vorm 2053">
                <a:extLst>
                  <a:ext uri="{FF2B5EF4-FFF2-40B4-BE49-F238E27FC236}">
                    <a16:creationId xmlns:a16="http://schemas.microsoft.com/office/drawing/2014/main" id="{6A47E7CF-405B-475A-B4CF-B3AE9AA78D3F}"/>
                  </a:ext>
                </a:extLst>
              </p:cNvPr>
              <p:cNvSpPr/>
              <p:nvPr/>
            </p:nvSpPr>
            <p:spPr>
              <a:xfrm>
                <a:off x="3876097" y="2829491"/>
                <a:ext cx="18357" cy="18358"/>
              </a:xfrm>
              <a:custGeom>
                <a:avLst/>
                <a:gdLst>
                  <a:gd name="connsiteX0" fmla="*/ 11990 w 18357"/>
                  <a:gd name="connsiteY0" fmla="*/ 447 h 18358"/>
                  <a:gd name="connsiteX1" fmla="*/ 447 w 18357"/>
                  <a:gd name="connsiteY1" fmla="*/ 6308 h 18358"/>
                  <a:gd name="connsiteX2" fmla="*/ 6368 w 18357"/>
                  <a:gd name="connsiteY2" fmla="*/ 17911 h 18358"/>
                  <a:gd name="connsiteX3" fmla="*/ 17911 w 18357"/>
                  <a:gd name="connsiteY3" fmla="*/ 12050 h 18358"/>
                  <a:gd name="connsiteX4" fmla="*/ 11990 w 18357"/>
                  <a:gd name="connsiteY4" fmla="*/ 447 h 1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358">
                    <a:moveTo>
                      <a:pt x="11990" y="447"/>
                    </a:moveTo>
                    <a:cubicBezTo>
                      <a:pt x="7145" y="-1108"/>
                      <a:pt x="2002" y="1524"/>
                      <a:pt x="447" y="6308"/>
                    </a:cubicBezTo>
                    <a:cubicBezTo>
                      <a:pt x="-1108" y="11153"/>
                      <a:pt x="1523" y="16356"/>
                      <a:pt x="6368" y="17911"/>
                    </a:cubicBezTo>
                    <a:cubicBezTo>
                      <a:pt x="11152" y="19466"/>
                      <a:pt x="16356" y="16834"/>
                      <a:pt x="17911" y="12050"/>
                    </a:cubicBezTo>
                    <a:cubicBezTo>
                      <a:pt x="19466" y="7265"/>
                      <a:pt x="16834" y="2062"/>
                      <a:pt x="11990" y="447"/>
                    </a:cubicBezTo>
                    <a:close/>
                  </a:path>
                </a:pathLst>
              </a:custGeom>
              <a:grpFill/>
              <a:ln w="5978" cap="flat">
                <a:noFill/>
                <a:prstDash val="solid"/>
                <a:miter/>
              </a:ln>
            </p:spPr>
            <p:txBody>
              <a:bodyPr rtlCol="0" anchor="ctr"/>
              <a:lstStyle/>
              <a:p>
                <a:endParaRPr lang="en-GB"/>
              </a:p>
            </p:txBody>
          </p:sp>
        </p:grpSp>
        <p:grpSp>
          <p:nvGrpSpPr>
            <p:cNvPr id="1117" name="Graphic 3">
              <a:extLst>
                <a:ext uri="{FF2B5EF4-FFF2-40B4-BE49-F238E27FC236}">
                  <a16:creationId xmlns:a16="http://schemas.microsoft.com/office/drawing/2014/main" id="{D1273161-45D4-45B0-95BC-77BA2FD6EB68}"/>
                </a:ext>
              </a:extLst>
            </p:cNvPr>
            <p:cNvGrpSpPr/>
            <p:nvPr/>
          </p:nvGrpSpPr>
          <p:grpSpPr>
            <a:xfrm>
              <a:off x="4606341" y="4335183"/>
              <a:ext cx="51511" cy="40378"/>
              <a:chOff x="4606341" y="4335183"/>
              <a:chExt cx="51511" cy="40378"/>
            </a:xfrm>
            <a:grpFill/>
          </p:grpSpPr>
          <p:sp>
            <p:nvSpPr>
              <p:cNvPr id="2049" name="Vrije vorm: vorm 2048">
                <a:extLst>
                  <a:ext uri="{FF2B5EF4-FFF2-40B4-BE49-F238E27FC236}">
                    <a16:creationId xmlns:a16="http://schemas.microsoft.com/office/drawing/2014/main" id="{FB2D2B76-3817-4D37-BFAC-38DFBD477CC6}"/>
                  </a:ext>
                </a:extLst>
              </p:cNvPr>
              <p:cNvSpPr/>
              <p:nvPr/>
            </p:nvSpPr>
            <p:spPr>
              <a:xfrm>
                <a:off x="4614266" y="4342881"/>
                <a:ext cx="35645" cy="24939"/>
              </a:xfrm>
              <a:custGeom>
                <a:avLst/>
                <a:gdLst>
                  <a:gd name="connsiteX0" fmla="*/ 35645 w 35645"/>
                  <a:gd name="connsiteY0" fmla="*/ 2572 h 24939"/>
                  <a:gd name="connsiteX1" fmla="*/ 1674 w 35645"/>
                  <a:gd name="connsiteY1" fmla="*/ 24940 h 24939"/>
                  <a:gd name="connsiteX2" fmla="*/ 0 w 35645"/>
                  <a:gd name="connsiteY2" fmla="*/ 22428 h 24939"/>
                  <a:gd name="connsiteX3" fmla="*/ 33970 w 35645"/>
                  <a:gd name="connsiteY3" fmla="*/ 0 h 24939"/>
                </a:gdLst>
                <a:ahLst/>
                <a:cxnLst>
                  <a:cxn ang="0">
                    <a:pos x="connsiteX0" y="connsiteY0"/>
                  </a:cxn>
                  <a:cxn ang="0">
                    <a:pos x="connsiteX1" y="connsiteY1"/>
                  </a:cxn>
                  <a:cxn ang="0">
                    <a:pos x="connsiteX2" y="connsiteY2"/>
                  </a:cxn>
                  <a:cxn ang="0">
                    <a:pos x="connsiteX3" y="connsiteY3"/>
                  </a:cxn>
                </a:cxnLst>
                <a:rect l="l" t="t" r="r" b="b"/>
                <a:pathLst>
                  <a:path w="35645" h="24939">
                    <a:moveTo>
                      <a:pt x="35645" y="2572"/>
                    </a:moveTo>
                    <a:lnTo>
                      <a:pt x="1674" y="24940"/>
                    </a:lnTo>
                    <a:lnTo>
                      <a:pt x="0" y="22428"/>
                    </a:lnTo>
                    <a:lnTo>
                      <a:pt x="33970" y="0"/>
                    </a:lnTo>
                    <a:close/>
                  </a:path>
                </a:pathLst>
              </a:custGeom>
              <a:grpFill/>
              <a:ln w="5978" cap="flat">
                <a:noFill/>
                <a:prstDash val="solid"/>
                <a:miter/>
              </a:ln>
            </p:spPr>
            <p:txBody>
              <a:bodyPr rtlCol="0" anchor="ctr"/>
              <a:lstStyle/>
              <a:p>
                <a:endParaRPr lang="en-GB"/>
              </a:p>
            </p:txBody>
          </p:sp>
          <p:sp>
            <p:nvSpPr>
              <p:cNvPr id="2050" name="Vrije vorm: vorm 2049">
                <a:extLst>
                  <a:ext uri="{FF2B5EF4-FFF2-40B4-BE49-F238E27FC236}">
                    <a16:creationId xmlns:a16="http://schemas.microsoft.com/office/drawing/2014/main" id="{CE7D536A-0672-4DD7-B652-2E6A9E351200}"/>
                  </a:ext>
                </a:extLst>
              </p:cNvPr>
              <p:cNvSpPr/>
              <p:nvPr/>
            </p:nvSpPr>
            <p:spPr>
              <a:xfrm>
                <a:off x="4606341" y="4357090"/>
                <a:ext cx="18318" cy="18470"/>
              </a:xfrm>
              <a:custGeom>
                <a:avLst/>
                <a:gdLst>
                  <a:gd name="connsiteX0" fmla="*/ 14205 w 18318"/>
                  <a:gd name="connsiteY0" fmla="*/ 16951 h 18470"/>
                  <a:gd name="connsiteX1" fmla="*/ 1526 w 18318"/>
                  <a:gd name="connsiteY1" fmla="*/ 14259 h 18470"/>
                  <a:gd name="connsiteX2" fmla="*/ 4098 w 18318"/>
                  <a:gd name="connsiteY2" fmla="*/ 1520 h 18470"/>
                  <a:gd name="connsiteX3" fmla="*/ 16777 w 18318"/>
                  <a:gd name="connsiteY3" fmla="*/ 4212 h 18470"/>
                  <a:gd name="connsiteX4" fmla="*/ 14205 w 18318"/>
                  <a:gd name="connsiteY4" fmla="*/ 16951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0">
                    <a:moveTo>
                      <a:pt x="14205" y="16951"/>
                    </a:moveTo>
                    <a:cubicBezTo>
                      <a:pt x="9959" y="19761"/>
                      <a:pt x="4277" y="18565"/>
                      <a:pt x="1526" y="14259"/>
                    </a:cubicBezTo>
                    <a:cubicBezTo>
                      <a:pt x="-1285" y="10013"/>
                      <a:pt x="-89" y="4271"/>
                      <a:pt x="4098" y="1520"/>
                    </a:cubicBezTo>
                    <a:cubicBezTo>
                      <a:pt x="8344" y="-1291"/>
                      <a:pt x="14026" y="-95"/>
                      <a:pt x="16777" y="4212"/>
                    </a:cubicBezTo>
                    <a:cubicBezTo>
                      <a:pt x="19588" y="8458"/>
                      <a:pt x="18451" y="14139"/>
                      <a:pt x="14205" y="16951"/>
                    </a:cubicBezTo>
                    <a:close/>
                  </a:path>
                </a:pathLst>
              </a:custGeom>
              <a:grpFill/>
              <a:ln w="5978" cap="flat">
                <a:noFill/>
                <a:prstDash val="solid"/>
                <a:miter/>
              </a:ln>
            </p:spPr>
            <p:txBody>
              <a:bodyPr rtlCol="0" anchor="ctr"/>
              <a:lstStyle/>
              <a:p>
                <a:endParaRPr lang="en-GB"/>
              </a:p>
            </p:txBody>
          </p:sp>
          <p:sp>
            <p:nvSpPr>
              <p:cNvPr id="2051" name="Vrije vorm: vorm 2050">
                <a:extLst>
                  <a:ext uri="{FF2B5EF4-FFF2-40B4-BE49-F238E27FC236}">
                    <a16:creationId xmlns:a16="http://schemas.microsoft.com/office/drawing/2014/main" id="{A2DFD333-84F7-48F0-AEF8-4CB358F24E18}"/>
                  </a:ext>
                </a:extLst>
              </p:cNvPr>
              <p:cNvSpPr/>
              <p:nvPr/>
            </p:nvSpPr>
            <p:spPr>
              <a:xfrm>
                <a:off x="4639518" y="4335183"/>
                <a:ext cx="18333" cy="18428"/>
              </a:xfrm>
              <a:custGeom>
                <a:avLst/>
                <a:gdLst>
                  <a:gd name="connsiteX0" fmla="*/ 14220 w 18333"/>
                  <a:gd name="connsiteY0" fmla="*/ 16909 h 18428"/>
                  <a:gd name="connsiteX1" fmla="*/ 16792 w 18333"/>
                  <a:gd name="connsiteY1" fmla="*/ 4170 h 18428"/>
                  <a:gd name="connsiteX2" fmla="*/ 4113 w 18333"/>
                  <a:gd name="connsiteY2" fmla="*/ 1479 h 18428"/>
                  <a:gd name="connsiteX3" fmla="*/ 1541 w 18333"/>
                  <a:gd name="connsiteY3" fmla="*/ 14218 h 18428"/>
                  <a:gd name="connsiteX4" fmla="*/ 14220 w 18333"/>
                  <a:gd name="connsiteY4" fmla="*/ 16909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28">
                    <a:moveTo>
                      <a:pt x="14220" y="16909"/>
                    </a:moveTo>
                    <a:cubicBezTo>
                      <a:pt x="18467" y="14098"/>
                      <a:pt x="19603" y="8416"/>
                      <a:pt x="16792" y="4170"/>
                    </a:cubicBezTo>
                    <a:cubicBezTo>
                      <a:pt x="13981" y="-76"/>
                      <a:pt x="8300" y="-1273"/>
                      <a:pt x="4113" y="1479"/>
                    </a:cubicBezTo>
                    <a:cubicBezTo>
                      <a:pt x="-133" y="4289"/>
                      <a:pt x="-1269" y="9971"/>
                      <a:pt x="1541" y="14218"/>
                    </a:cubicBezTo>
                    <a:cubicBezTo>
                      <a:pt x="4352" y="18524"/>
                      <a:pt x="10034" y="19720"/>
                      <a:pt x="14220" y="16909"/>
                    </a:cubicBezTo>
                    <a:close/>
                  </a:path>
                </a:pathLst>
              </a:custGeom>
              <a:grpFill/>
              <a:ln w="5978" cap="flat">
                <a:noFill/>
                <a:prstDash val="solid"/>
                <a:miter/>
              </a:ln>
            </p:spPr>
            <p:txBody>
              <a:bodyPr rtlCol="0" anchor="ctr"/>
              <a:lstStyle/>
              <a:p>
                <a:endParaRPr lang="en-GB"/>
              </a:p>
            </p:txBody>
          </p:sp>
        </p:grpSp>
        <p:grpSp>
          <p:nvGrpSpPr>
            <p:cNvPr id="1118" name="Graphic 3">
              <a:extLst>
                <a:ext uri="{FF2B5EF4-FFF2-40B4-BE49-F238E27FC236}">
                  <a16:creationId xmlns:a16="http://schemas.microsoft.com/office/drawing/2014/main" id="{A07BDB78-BF93-4292-B904-C09A920F4E69}"/>
                </a:ext>
              </a:extLst>
            </p:cNvPr>
            <p:cNvGrpSpPr/>
            <p:nvPr/>
          </p:nvGrpSpPr>
          <p:grpSpPr>
            <a:xfrm>
              <a:off x="4617235" y="4531976"/>
              <a:ext cx="198204" cy="180289"/>
              <a:chOff x="4617235" y="4531976"/>
              <a:chExt cx="198204" cy="180289"/>
            </a:xfrm>
            <a:grpFill/>
          </p:grpSpPr>
          <p:sp>
            <p:nvSpPr>
              <p:cNvPr id="2046" name="Vrije vorm: vorm 2045">
                <a:extLst>
                  <a:ext uri="{FF2B5EF4-FFF2-40B4-BE49-F238E27FC236}">
                    <a16:creationId xmlns:a16="http://schemas.microsoft.com/office/drawing/2014/main" id="{8EBC7508-8E17-4841-9456-3F8CDBD9D367}"/>
                  </a:ext>
                </a:extLst>
              </p:cNvPr>
              <p:cNvSpPr/>
              <p:nvPr/>
            </p:nvSpPr>
            <p:spPr>
              <a:xfrm>
                <a:off x="4625031" y="4539706"/>
                <a:ext cx="182591" cy="164828"/>
              </a:xfrm>
              <a:custGeom>
                <a:avLst/>
                <a:gdLst>
                  <a:gd name="connsiteX0" fmla="*/ 182592 w 182591"/>
                  <a:gd name="connsiteY0" fmla="*/ 2273 h 164828"/>
                  <a:gd name="connsiteX1" fmla="*/ 2034 w 182591"/>
                  <a:gd name="connsiteY1" fmla="*/ 164829 h 164828"/>
                  <a:gd name="connsiteX2" fmla="*/ 0 w 182591"/>
                  <a:gd name="connsiteY2" fmla="*/ 162496 h 164828"/>
                  <a:gd name="connsiteX3" fmla="*/ 180558 w 182591"/>
                  <a:gd name="connsiteY3" fmla="*/ 0 h 164828"/>
                </a:gdLst>
                <a:ahLst/>
                <a:cxnLst>
                  <a:cxn ang="0">
                    <a:pos x="connsiteX0" y="connsiteY0"/>
                  </a:cxn>
                  <a:cxn ang="0">
                    <a:pos x="connsiteX1" y="connsiteY1"/>
                  </a:cxn>
                  <a:cxn ang="0">
                    <a:pos x="connsiteX2" y="connsiteY2"/>
                  </a:cxn>
                  <a:cxn ang="0">
                    <a:pos x="connsiteX3" y="connsiteY3"/>
                  </a:cxn>
                </a:cxnLst>
                <a:rect l="l" t="t" r="r" b="b"/>
                <a:pathLst>
                  <a:path w="182591" h="164828">
                    <a:moveTo>
                      <a:pt x="182592" y="2273"/>
                    </a:moveTo>
                    <a:lnTo>
                      <a:pt x="2034" y="164829"/>
                    </a:lnTo>
                    <a:lnTo>
                      <a:pt x="0" y="162496"/>
                    </a:lnTo>
                    <a:lnTo>
                      <a:pt x="180558" y="0"/>
                    </a:lnTo>
                    <a:close/>
                  </a:path>
                </a:pathLst>
              </a:custGeom>
              <a:grpFill/>
              <a:ln w="5978" cap="flat">
                <a:noFill/>
                <a:prstDash val="solid"/>
                <a:miter/>
              </a:ln>
            </p:spPr>
            <p:txBody>
              <a:bodyPr rtlCol="0" anchor="ctr"/>
              <a:lstStyle/>
              <a:p>
                <a:endParaRPr lang="en-GB"/>
              </a:p>
            </p:txBody>
          </p:sp>
          <p:sp>
            <p:nvSpPr>
              <p:cNvPr id="2047" name="Vrije vorm: vorm 2046">
                <a:extLst>
                  <a:ext uri="{FF2B5EF4-FFF2-40B4-BE49-F238E27FC236}">
                    <a16:creationId xmlns:a16="http://schemas.microsoft.com/office/drawing/2014/main" id="{47ED1465-F093-4D28-9EE1-96E24DEE782A}"/>
                  </a:ext>
                </a:extLst>
              </p:cNvPr>
              <p:cNvSpPr/>
              <p:nvPr/>
            </p:nvSpPr>
            <p:spPr>
              <a:xfrm>
                <a:off x="4617235" y="4693875"/>
                <a:ext cx="18303" cy="18391"/>
              </a:xfrm>
              <a:custGeom>
                <a:avLst/>
                <a:gdLst>
                  <a:gd name="connsiteX0" fmla="*/ 15272 w 18303"/>
                  <a:gd name="connsiteY0" fmla="*/ 16043 h 18391"/>
                  <a:gd name="connsiteX1" fmla="*/ 2354 w 18303"/>
                  <a:gd name="connsiteY1" fmla="*/ 15326 h 18391"/>
                  <a:gd name="connsiteX2" fmla="*/ 3011 w 18303"/>
                  <a:gd name="connsiteY2" fmla="*/ 2348 h 18391"/>
                  <a:gd name="connsiteX3" fmla="*/ 15930 w 18303"/>
                  <a:gd name="connsiteY3" fmla="*/ 3065 h 18391"/>
                  <a:gd name="connsiteX4" fmla="*/ 15272 w 18303"/>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91">
                    <a:moveTo>
                      <a:pt x="15272" y="16043"/>
                    </a:moveTo>
                    <a:cubicBezTo>
                      <a:pt x="11504" y="19452"/>
                      <a:pt x="5703" y="19094"/>
                      <a:pt x="2354" y="15326"/>
                    </a:cubicBezTo>
                    <a:cubicBezTo>
                      <a:pt x="-1055" y="11498"/>
                      <a:pt x="-697" y="5697"/>
                      <a:pt x="3011" y="2348"/>
                    </a:cubicBezTo>
                    <a:cubicBezTo>
                      <a:pt x="6779" y="-1061"/>
                      <a:pt x="12580" y="-703"/>
                      <a:pt x="15930" y="3065"/>
                    </a:cubicBezTo>
                    <a:cubicBezTo>
                      <a:pt x="19339" y="6833"/>
                      <a:pt x="19040" y="12694"/>
                      <a:pt x="15272" y="16043"/>
                    </a:cubicBezTo>
                    <a:close/>
                  </a:path>
                </a:pathLst>
              </a:custGeom>
              <a:grpFill/>
              <a:ln w="5978" cap="flat">
                <a:noFill/>
                <a:prstDash val="solid"/>
                <a:miter/>
              </a:ln>
            </p:spPr>
            <p:txBody>
              <a:bodyPr rtlCol="0" anchor="ctr"/>
              <a:lstStyle/>
              <a:p>
                <a:endParaRPr lang="en-GB"/>
              </a:p>
            </p:txBody>
          </p:sp>
          <p:sp>
            <p:nvSpPr>
              <p:cNvPr id="2048" name="Vrije vorm: vorm 2047">
                <a:extLst>
                  <a:ext uri="{FF2B5EF4-FFF2-40B4-BE49-F238E27FC236}">
                    <a16:creationId xmlns:a16="http://schemas.microsoft.com/office/drawing/2014/main" id="{A6B4E9F2-C487-45DB-B387-0882DE5AC82A}"/>
                  </a:ext>
                </a:extLst>
              </p:cNvPr>
              <p:cNvSpPr/>
              <p:nvPr/>
            </p:nvSpPr>
            <p:spPr>
              <a:xfrm>
                <a:off x="4797115" y="4531976"/>
                <a:ext cx="18325" cy="18391"/>
              </a:xfrm>
              <a:custGeom>
                <a:avLst/>
                <a:gdLst>
                  <a:gd name="connsiteX0" fmla="*/ 15293 w 18325"/>
                  <a:gd name="connsiteY0" fmla="*/ 16043 h 18391"/>
                  <a:gd name="connsiteX1" fmla="*/ 15951 w 18325"/>
                  <a:gd name="connsiteY1" fmla="*/ 3065 h 18391"/>
                  <a:gd name="connsiteX2" fmla="*/ 3032 w 18325"/>
                  <a:gd name="connsiteY2" fmla="*/ 2348 h 18391"/>
                  <a:gd name="connsiteX3" fmla="*/ 2374 w 18325"/>
                  <a:gd name="connsiteY3" fmla="*/ 15326 h 18391"/>
                  <a:gd name="connsiteX4" fmla="*/ 15293 w 18325"/>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91">
                    <a:moveTo>
                      <a:pt x="15293" y="16043"/>
                    </a:moveTo>
                    <a:cubicBezTo>
                      <a:pt x="19061" y="12634"/>
                      <a:pt x="19360" y="6833"/>
                      <a:pt x="15951" y="3065"/>
                    </a:cubicBezTo>
                    <a:cubicBezTo>
                      <a:pt x="12542" y="-703"/>
                      <a:pt x="6800" y="-1061"/>
                      <a:pt x="3032" y="2348"/>
                    </a:cubicBezTo>
                    <a:cubicBezTo>
                      <a:pt x="-735" y="5757"/>
                      <a:pt x="-1035" y="11558"/>
                      <a:pt x="2374" y="15326"/>
                    </a:cubicBezTo>
                    <a:cubicBezTo>
                      <a:pt x="5723" y="19094"/>
                      <a:pt x="11525" y="19452"/>
                      <a:pt x="15293" y="16043"/>
                    </a:cubicBezTo>
                    <a:close/>
                  </a:path>
                </a:pathLst>
              </a:custGeom>
              <a:grpFill/>
              <a:ln w="5978" cap="flat">
                <a:noFill/>
                <a:prstDash val="solid"/>
                <a:miter/>
              </a:ln>
            </p:spPr>
            <p:txBody>
              <a:bodyPr rtlCol="0" anchor="ctr"/>
              <a:lstStyle/>
              <a:p>
                <a:endParaRPr lang="en-GB"/>
              </a:p>
            </p:txBody>
          </p:sp>
        </p:grpSp>
        <p:grpSp>
          <p:nvGrpSpPr>
            <p:cNvPr id="1119" name="Graphic 3">
              <a:extLst>
                <a:ext uri="{FF2B5EF4-FFF2-40B4-BE49-F238E27FC236}">
                  <a16:creationId xmlns:a16="http://schemas.microsoft.com/office/drawing/2014/main" id="{8603F168-9058-48C1-873C-224893EC0FDE}"/>
                </a:ext>
              </a:extLst>
            </p:cNvPr>
            <p:cNvGrpSpPr/>
            <p:nvPr/>
          </p:nvGrpSpPr>
          <p:grpSpPr>
            <a:xfrm>
              <a:off x="4191543" y="3340865"/>
              <a:ext cx="191035" cy="24652"/>
              <a:chOff x="4191543" y="3340865"/>
              <a:chExt cx="191035" cy="24652"/>
            </a:xfrm>
            <a:grpFill/>
          </p:grpSpPr>
          <p:sp>
            <p:nvSpPr>
              <p:cNvPr id="2043" name="Vrije vorm: vorm 2042">
                <a:extLst>
                  <a:ext uri="{FF2B5EF4-FFF2-40B4-BE49-F238E27FC236}">
                    <a16:creationId xmlns:a16="http://schemas.microsoft.com/office/drawing/2014/main" id="{FDE04CB9-33BD-4B0F-8B27-0C3924E54332}"/>
                  </a:ext>
                </a:extLst>
              </p:cNvPr>
              <p:cNvSpPr/>
              <p:nvPr/>
            </p:nvSpPr>
            <p:spPr>
              <a:xfrm>
                <a:off x="4200221" y="3348526"/>
                <a:ext cx="173680" cy="9329"/>
              </a:xfrm>
              <a:custGeom>
                <a:avLst/>
                <a:gdLst>
                  <a:gd name="connsiteX0" fmla="*/ 173680 w 173680"/>
                  <a:gd name="connsiteY0" fmla="*/ 6220 h 9329"/>
                  <a:gd name="connsiteX1" fmla="*/ 173620 w 173680"/>
                  <a:gd name="connsiteY1" fmla="*/ 9330 h 9329"/>
                  <a:gd name="connsiteX2" fmla="*/ 0 w 173680"/>
                  <a:gd name="connsiteY2" fmla="*/ 3050 h 9329"/>
                  <a:gd name="connsiteX3" fmla="*/ 119 w 173680"/>
                  <a:gd name="connsiteY3" fmla="*/ 0 h 9329"/>
                </a:gdLst>
                <a:ahLst/>
                <a:cxnLst>
                  <a:cxn ang="0">
                    <a:pos x="connsiteX0" y="connsiteY0"/>
                  </a:cxn>
                  <a:cxn ang="0">
                    <a:pos x="connsiteX1" y="connsiteY1"/>
                  </a:cxn>
                  <a:cxn ang="0">
                    <a:pos x="connsiteX2" y="connsiteY2"/>
                  </a:cxn>
                  <a:cxn ang="0">
                    <a:pos x="connsiteX3" y="connsiteY3"/>
                  </a:cxn>
                </a:cxnLst>
                <a:rect l="l" t="t" r="r" b="b"/>
                <a:pathLst>
                  <a:path w="173680" h="9329">
                    <a:moveTo>
                      <a:pt x="173680" y="6220"/>
                    </a:moveTo>
                    <a:lnTo>
                      <a:pt x="173620" y="9330"/>
                    </a:lnTo>
                    <a:lnTo>
                      <a:pt x="0" y="3050"/>
                    </a:lnTo>
                    <a:lnTo>
                      <a:pt x="119" y="0"/>
                    </a:lnTo>
                    <a:close/>
                  </a:path>
                </a:pathLst>
              </a:custGeom>
              <a:grpFill/>
              <a:ln w="5978" cap="flat">
                <a:noFill/>
                <a:prstDash val="solid"/>
                <a:miter/>
              </a:ln>
            </p:spPr>
            <p:txBody>
              <a:bodyPr rtlCol="0" anchor="ctr"/>
              <a:lstStyle/>
              <a:p>
                <a:endParaRPr lang="en-GB"/>
              </a:p>
            </p:txBody>
          </p:sp>
          <p:sp>
            <p:nvSpPr>
              <p:cNvPr id="2044" name="Vrije vorm: vorm 2043">
                <a:extLst>
                  <a:ext uri="{FF2B5EF4-FFF2-40B4-BE49-F238E27FC236}">
                    <a16:creationId xmlns:a16="http://schemas.microsoft.com/office/drawing/2014/main" id="{69545F4B-48F7-4430-9DF8-1D331DD26FA9}"/>
                  </a:ext>
                </a:extLst>
              </p:cNvPr>
              <p:cNvSpPr/>
              <p:nvPr/>
            </p:nvSpPr>
            <p:spPr>
              <a:xfrm>
                <a:off x="4191543" y="3340865"/>
                <a:ext cx="18312" cy="18372"/>
              </a:xfrm>
              <a:custGeom>
                <a:avLst/>
                <a:gdLst>
                  <a:gd name="connsiteX0" fmla="*/ 8857 w 18312"/>
                  <a:gd name="connsiteY0" fmla="*/ 18367 h 18372"/>
                  <a:gd name="connsiteX1" fmla="*/ 6 w 18312"/>
                  <a:gd name="connsiteY1" fmla="*/ 8857 h 18372"/>
                  <a:gd name="connsiteX2" fmla="*/ 9455 w 18312"/>
                  <a:gd name="connsiteY2" fmla="*/ 6 h 18372"/>
                  <a:gd name="connsiteX3" fmla="*/ 18307 w 18312"/>
                  <a:gd name="connsiteY3" fmla="*/ 9515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3774" y="18187"/>
                      <a:pt x="-174" y="13941"/>
                      <a:pt x="6" y="8857"/>
                    </a:cubicBezTo>
                    <a:cubicBezTo>
                      <a:pt x="185" y="3774"/>
                      <a:pt x="4372" y="-174"/>
                      <a:pt x="9455" y="6"/>
                    </a:cubicBezTo>
                    <a:cubicBezTo>
                      <a:pt x="14539" y="185"/>
                      <a:pt x="18486" y="4432"/>
                      <a:pt x="18307" y="9515"/>
                    </a:cubicBezTo>
                    <a:cubicBezTo>
                      <a:pt x="18127" y="14599"/>
                      <a:pt x="13941" y="18546"/>
                      <a:pt x="8857" y="18367"/>
                    </a:cubicBezTo>
                    <a:close/>
                  </a:path>
                </a:pathLst>
              </a:custGeom>
              <a:grpFill/>
              <a:ln w="5978" cap="flat">
                <a:noFill/>
                <a:prstDash val="solid"/>
                <a:miter/>
              </a:ln>
            </p:spPr>
            <p:txBody>
              <a:bodyPr rtlCol="0" anchor="ctr"/>
              <a:lstStyle/>
              <a:p>
                <a:endParaRPr lang="en-GB"/>
              </a:p>
            </p:txBody>
          </p:sp>
          <p:sp>
            <p:nvSpPr>
              <p:cNvPr id="2045" name="Vrije vorm: vorm 2044">
                <a:extLst>
                  <a:ext uri="{FF2B5EF4-FFF2-40B4-BE49-F238E27FC236}">
                    <a16:creationId xmlns:a16="http://schemas.microsoft.com/office/drawing/2014/main" id="{1B721726-A463-44A2-93E3-8342AEC68EE6}"/>
                  </a:ext>
                </a:extLst>
              </p:cNvPr>
              <p:cNvSpPr/>
              <p:nvPr/>
            </p:nvSpPr>
            <p:spPr>
              <a:xfrm>
                <a:off x="4364266" y="3347145"/>
                <a:ext cx="18312" cy="18372"/>
              </a:xfrm>
              <a:custGeom>
                <a:avLst/>
                <a:gdLst>
                  <a:gd name="connsiteX0" fmla="*/ 8857 w 18312"/>
                  <a:gd name="connsiteY0" fmla="*/ 18367 h 18372"/>
                  <a:gd name="connsiteX1" fmla="*/ 18307 w 18312"/>
                  <a:gd name="connsiteY1" fmla="*/ 9515 h 18372"/>
                  <a:gd name="connsiteX2" fmla="*/ 9455 w 18312"/>
                  <a:gd name="connsiteY2" fmla="*/ 6 h 18372"/>
                  <a:gd name="connsiteX3" fmla="*/ 6 w 18312"/>
                  <a:gd name="connsiteY3" fmla="*/ 8857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13941" y="18546"/>
                      <a:pt x="18127" y="14599"/>
                      <a:pt x="18307" y="9515"/>
                    </a:cubicBezTo>
                    <a:cubicBezTo>
                      <a:pt x="18486" y="4432"/>
                      <a:pt x="14479" y="185"/>
                      <a:pt x="9455" y="6"/>
                    </a:cubicBezTo>
                    <a:cubicBezTo>
                      <a:pt x="4372" y="-174"/>
                      <a:pt x="185" y="3774"/>
                      <a:pt x="6" y="8857"/>
                    </a:cubicBezTo>
                    <a:cubicBezTo>
                      <a:pt x="-174" y="13881"/>
                      <a:pt x="3774" y="18187"/>
                      <a:pt x="8857" y="18367"/>
                    </a:cubicBezTo>
                    <a:close/>
                  </a:path>
                </a:pathLst>
              </a:custGeom>
              <a:grpFill/>
              <a:ln w="5978" cap="flat">
                <a:noFill/>
                <a:prstDash val="solid"/>
                <a:miter/>
              </a:ln>
            </p:spPr>
            <p:txBody>
              <a:bodyPr rtlCol="0" anchor="ctr"/>
              <a:lstStyle/>
              <a:p>
                <a:endParaRPr lang="en-GB"/>
              </a:p>
            </p:txBody>
          </p:sp>
        </p:grpSp>
        <p:grpSp>
          <p:nvGrpSpPr>
            <p:cNvPr id="1120" name="Graphic 3">
              <a:extLst>
                <a:ext uri="{FF2B5EF4-FFF2-40B4-BE49-F238E27FC236}">
                  <a16:creationId xmlns:a16="http://schemas.microsoft.com/office/drawing/2014/main" id="{FCAD4FA4-7DBC-4163-9565-449E1F990844}"/>
                </a:ext>
              </a:extLst>
            </p:cNvPr>
            <p:cNvGrpSpPr/>
            <p:nvPr/>
          </p:nvGrpSpPr>
          <p:grpSpPr>
            <a:xfrm>
              <a:off x="4065420" y="2958050"/>
              <a:ext cx="208277" cy="61591"/>
              <a:chOff x="4065420" y="2958050"/>
              <a:chExt cx="208277" cy="61591"/>
            </a:xfrm>
            <a:grpFill/>
          </p:grpSpPr>
          <p:sp>
            <p:nvSpPr>
              <p:cNvPr id="2040" name="Vrije vorm: vorm 2039">
                <a:extLst>
                  <a:ext uri="{FF2B5EF4-FFF2-40B4-BE49-F238E27FC236}">
                    <a16:creationId xmlns:a16="http://schemas.microsoft.com/office/drawing/2014/main" id="{ADDCA3FB-22E2-450E-BB97-44422D96D42F}"/>
                  </a:ext>
                </a:extLst>
              </p:cNvPr>
              <p:cNvSpPr/>
              <p:nvPr/>
            </p:nvSpPr>
            <p:spPr>
              <a:xfrm>
                <a:off x="4073788" y="2965641"/>
                <a:ext cx="191502" cy="46350"/>
              </a:xfrm>
              <a:custGeom>
                <a:avLst/>
                <a:gdLst>
                  <a:gd name="connsiteX0" fmla="*/ 191502 w 191502"/>
                  <a:gd name="connsiteY0" fmla="*/ 43360 h 46350"/>
                  <a:gd name="connsiteX1" fmla="*/ 190845 w 191502"/>
                  <a:gd name="connsiteY1" fmla="*/ 46351 h 46350"/>
                  <a:gd name="connsiteX2" fmla="*/ 0 w 191502"/>
                  <a:gd name="connsiteY2" fmla="*/ 2990 h 46350"/>
                  <a:gd name="connsiteX3" fmla="*/ 658 w 191502"/>
                  <a:gd name="connsiteY3" fmla="*/ 0 h 46350"/>
                </a:gdLst>
                <a:ahLst/>
                <a:cxnLst>
                  <a:cxn ang="0">
                    <a:pos x="connsiteX0" y="connsiteY0"/>
                  </a:cxn>
                  <a:cxn ang="0">
                    <a:pos x="connsiteX1" y="connsiteY1"/>
                  </a:cxn>
                  <a:cxn ang="0">
                    <a:pos x="connsiteX2" y="connsiteY2"/>
                  </a:cxn>
                  <a:cxn ang="0">
                    <a:pos x="connsiteX3" y="connsiteY3"/>
                  </a:cxn>
                </a:cxnLst>
                <a:rect l="l" t="t" r="r" b="b"/>
                <a:pathLst>
                  <a:path w="191502" h="46350">
                    <a:moveTo>
                      <a:pt x="191502" y="43360"/>
                    </a:moveTo>
                    <a:lnTo>
                      <a:pt x="190845" y="46351"/>
                    </a:lnTo>
                    <a:lnTo>
                      <a:pt x="0" y="2990"/>
                    </a:lnTo>
                    <a:lnTo>
                      <a:pt x="658" y="0"/>
                    </a:lnTo>
                    <a:close/>
                  </a:path>
                </a:pathLst>
              </a:custGeom>
              <a:grpFill/>
              <a:ln w="5978" cap="flat">
                <a:noFill/>
                <a:prstDash val="solid"/>
                <a:miter/>
              </a:ln>
            </p:spPr>
            <p:txBody>
              <a:bodyPr rtlCol="0" anchor="ctr"/>
              <a:lstStyle/>
              <a:p>
                <a:endParaRPr lang="en-GB"/>
              </a:p>
            </p:txBody>
          </p:sp>
          <p:sp>
            <p:nvSpPr>
              <p:cNvPr id="2041" name="Vrije vorm: vorm 2040">
                <a:extLst>
                  <a:ext uri="{FF2B5EF4-FFF2-40B4-BE49-F238E27FC236}">
                    <a16:creationId xmlns:a16="http://schemas.microsoft.com/office/drawing/2014/main" id="{389BB6CC-1B25-4AB7-A892-9E14DEF951D7}"/>
                  </a:ext>
                </a:extLst>
              </p:cNvPr>
              <p:cNvSpPr/>
              <p:nvPr/>
            </p:nvSpPr>
            <p:spPr>
              <a:xfrm>
                <a:off x="4065420" y="2958050"/>
                <a:ext cx="18350" cy="18410"/>
              </a:xfrm>
              <a:custGeom>
                <a:avLst/>
                <a:gdLst>
                  <a:gd name="connsiteX0" fmla="*/ 7172 w 18350"/>
                  <a:gd name="connsiteY0" fmla="*/ 18176 h 18410"/>
                  <a:gd name="connsiteX1" fmla="*/ 234 w 18350"/>
                  <a:gd name="connsiteY1" fmla="*/ 7172 h 18410"/>
                  <a:gd name="connsiteX2" fmla="*/ 11179 w 18350"/>
                  <a:gd name="connsiteY2" fmla="*/ 234 h 18410"/>
                  <a:gd name="connsiteX3" fmla="*/ 18116 w 18350"/>
                  <a:gd name="connsiteY3" fmla="*/ 11239 h 18410"/>
                  <a:gd name="connsiteX4" fmla="*/ 7172 w 18350"/>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0">
                    <a:moveTo>
                      <a:pt x="7172" y="18176"/>
                    </a:moveTo>
                    <a:cubicBezTo>
                      <a:pt x="2208" y="17040"/>
                      <a:pt x="-902" y="12136"/>
                      <a:pt x="234" y="7172"/>
                    </a:cubicBezTo>
                    <a:cubicBezTo>
                      <a:pt x="1311" y="2208"/>
                      <a:pt x="6215" y="-902"/>
                      <a:pt x="11179" y="234"/>
                    </a:cubicBezTo>
                    <a:cubicBezTo>
                      <a:pt x="16143" y="1371"/>
                      <a:pt x="19253" y="6275"/>
                      <a:pt x="18116" y="11239"/>
                    </a:cubicBezTo>
                    <a:cubicBezTo>
                      <a:pt x="16980" y="16203"/>
                      <a:pt x="12076" y="19313"/>
                      <a:pt x="7172" y="18176"/>
                    </a:cubicBezTo>
                    <a:close/>
                  </a:path>
                </a:pathLst>
              </a:custGeom>
              <a:grpFill/>
              <a:ln w="5978" cap="flat">
                <a:noFill/>
                <a:prstDash val="solid"/>
                <a:miter/>
              </a:ln>
            </p:spPr>
            <p:txBody>
              <a:bodyPr rtlCol="0" anchor="ctr"/>
              <a:lstStyle/>
              <a:p>
                <a:endParaRPr lang="en-GB"/>
              </a:p>
            </p:txBody>
          </p:sp>
          <p:sp>
            <p:nvSpPr>
              <p:cNvPr id="2042" name="Vrije vorm: vorm 2041">
                <a:extLst>
                  <a:ext uri="{FF2B5EF4-FFF2-40B4-BE49-F238E27FC236}">
                    <a16:creationId xmlns:a16="http://schemas.microsoft.com/office/drawing/2014/main" id="{A53C31D4-5C6A-4D5F-9103-26F74EFEF302}"/>
                  </a:ext>
                </a:extLst>
              </p:cNvPr>
              <p:cNvSpPr/>
              <p:nvPr/>
            </p:nvSpPr>
            <p:spPr>
              <a:xfrm>
                <a:off x="4255371" y="3001231"/>
                <a:ext cx="18326" cy="18410"/>
              </a:xfrm>
              <a:custGeom>
                <a:avLst/>
                <a:gdLst>
                  <a:gd name="connsiteX0" fmla="*/ 7169 w 18326"/>
                  <a:gd name="connsiteY0" fmla="*/ 18176 h 18410"/>
                  <a:gd name="connsiteX1" fmla="*/ 18114 w 18326"/>
                  <a:gd name="connsiteY1" fmla="*/ 11239 h 18410"/>
                  <a:gd name="connsiteX2" fmla="*/ 11176 w 18326"/>
                  <a:gd name="connsiteY2" fmla="*/ 234 h 18410"/>
                  <a:gd name="connsiteX3" fmla="*/ 231 w 18326"/>
                  <a:gd name="connsiteY3" fmla="*/ 7172 h 18410"/>
                  <a:gd name="connsiteX4" fmla="*/ 7169 w 18326"/>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0">
                    <a:moveTo>
                      <a:pt x="7169" y="18176"/>
                    </a:moveTo>
                    <a:cubicBezTo>
                      <a:pt x="12133" y="19313"/>
                      <a:pt x="16977" y="16203"/>
                      <a:pt x="18114" y="11239"/>
                    </a:cubicBezTo>
                    <a:cubicBezTo>
                      <a:pt x="19190" y="6275"/>
                      <a:pt x="16080" y="1371"/>
                      <a:pt x="11176" y="234"/>
                    </a:cubicBezTo>
                    <a:cubicBezTo>
                      <a:pt x="6212" y="-902"/>
                      <a:pt x="1368" y="2208"/>
                      <a:pt x="231" y="7172"/>
                    </a:cubicBezTo>
                    <a:cubicBezTo>
                      <a:pt x="-905" y="12076"/>
                      <a:pt x="2265" y="17040"/>
                      <a:pt x="7169" y="18176"/>
                    </a:cubicBezTo>
                    <a:close/>
                  </a:path>
                </a:pathLst>
              </a:custGeom>
              <a:grpFill/>
              <a:ln w="5978" cap="flat">
                <a:noFill/>
                <a:prstDash val="solid"/>
                <a:miter/>
              </a:ln>
            </p:spPr>
            <p:txBody>
              <a:bodyPr rtlCol="0" anchor="ctr"/>
              <a:lstStyle/>
              <a:p>
                <a:endParaRPr lang="en-GB"/>
              </a:p>
            </p:txBody>
          </p:sp>
        </p:grpSp>
        <p:grpSp>
          <p:nvGrpSpPr>
            <p:cNvPr id="1121" name="Graphic 3">
              <a:extLst>
                <a:ext uri="{FF2B5EF4-FFF2-40B4-BE49-F238E27FC236}">
                  <a16:creationId xmlns:a16="http://schemas.microsoft.com/office/drawing/2014/main" id="{B1E40D55-2D71-4BF8-8F41-2F476CCE4CA9}"/>
                </a:ext>
              </a:extLst>
            </p:cNvPr>
            <p:cNvGrpSpPr/>
            <p:nvPr/>
          </p:nvGrpSpPr>
          <p:grpSpPr>
            <a:xfrm>
              <a:off x="4323810" y="3537673"/>
              <a:ext cx="43662" cy="20322"/>
              <a:chOff x="4323810" y="3537673"/>
              <a:chExt cx="43662" cy="20322"/>
            </a:xfrm>
            <a:grpFill/>
          </p:grpSpPr>
          <p:sp>
            <p:nvSpPr>
              <p:cNvPr id="2037" name="Vrije vorm: vorm 2036">
                <a:extLst>
                  <a:ext uri="{FF2B5EF4-FFF2-40B4-BE49-F238E27FC236}">
                    <a16:creationId xmlns:a16="http://schemas.microsoft.com/office/drawing/2014/main" id="{4E99B8F3-4DF6-46F5-AFD9-721DFE386B04}"/>
                  </a:ext>
                </a:extLst>
              </p:cNvPr>
              <p:cNvSpPr/>
              <p:nvPr/>
            </p:nvSpPr>
            <p:spPr>
              <a:xfrm>
                <a:off x="4332395" y="3545292"/>
                <a:ext cx="26494" cy="5083"/>
              </a:xfrm>
              <a:custGeom>
                <a:avLst/>
                <a:gdLst>
                  <a:gd name="connsiteX0" fmla="*/ 26255 w 26494"/>
                  <a:gd name="connsiteY0" fmla="*/ 0 h 5083"/>
                  <a:gd name="connsiteX1" fmla="*/ 26495 w 26494"/>
                  <a:gd name="connsiteY1" fmla="*/ 3050 h 5083"/>
                  <a:gd name="connsiteX2" fmla="*/ 239 w 26494"/>
                  <a:gd name="connsiteY2" fmla="*/ 5083 h 5083"/>
                  <a:gd name="connsiteX3" fmla="*/ 0 w 26494"/>
                  <a:gd name="connsiteY3" fmla="*/ 2033 h 5083"/>
                </a:gdLst>
                <a:ahLst/>
                <a:cxnLst>
                  <a:cxn ang="0">
                    <a:pos x="connsiteX0" y="connsiteY0"/>
                  </a:cxn>
                  <a:cxn ang="0">
                    <a:pos x="connsiteX1" y="connsiteY1"/>
                  </a:cxn>
                  <a:cxn ang="0">
                    <a:pos x="connsiteX2" y="connsiteY2"/>
                  </a:cxn>
                  <a:cxn ang="0">
                    <a:pos x="connsiteX3" y="connsiteY3"/>
                  </a:cxn>
                </a:cxnLst>
                <a:rect l="l" t="t" r="r" b="b"/>
                <a:pathLst>
                  <a:path w="26494" h="5083">
                    <a:moveTo>
                      <a:pt x="26255" y="0"/>
                    </a:moveTo>
                    <a:lnTo>
                      <a:pt x="26495" y="3050"/>
                    </a:lnTo>
                    <a:lnTo>
                      <a:pt x="239" y="5083"/>
                    </a:lnTo>
                    <a:lnTo>
                      <a:pt x="0" y="2033"/>
                    </a:lnTo>
                    <a:close/>
                  </a:path>
                </a:pathLst>
              </a:custGeom>
              <a:grpFill/>
              <a:ln w="5978" cap="flat">
                <a:noFill/>
                <a:prstDash val="solid"/>
                <a:miter/>
              </a:ln>
            </p:spPr>
            <p:txBody>
              <a:bodyPr rtlCol="0" anchor="ctr"/>
              <a:lstStyle/>
              <a:p>
                <a:endParaRPr lang="en-GB"/>
              </a:p>
            </p:txBody>
          </p:sp>
          <p:sp>
            <p:nvSpPr>
              <p:cNvPr id="2038" name="Vrije vorm: vorm 2037">
                <a:extLst>
                  <a:ext uri="{FF2B5EF4-FFF2-40B4-BE49-F238E27FC236}">
                    <a16:creationId xmlns:a16="http://schemas.microsoft.com/office/drawing/2014/main" id="{E5E4F86F-E78E-4CD1-8FA1-2824E2993953}"/>
                  </a:ext>
                </a:extLst>
              </p:cNvPr>
              <p:cNvSpPr/>
              <p:nvPr/>
            </p:nvSpPr>
            <p:spPr>
              <a:xfrm>
                <a:off x="4323810" y="3539587"/>
                <a:ext cx="18356" cy="18408"/>
              </a:xfrm>
              <a:custGeom>
                <a:avLst/>
                <a:gdLst>
                  <a:gd name="connsiteX0" fmla="*/ 9900 w 18356"/>
                  <a:gd name="connsiteY0" fmla="*/ 18384 h 18408"/>
                  <a:gd name="connsiteX1" fmla="*/ 32 w 18356"/>
                  <a:gd name="connsiteY1" fmla="*/ 9892 h 18408"/>
                  <a:gd name="connsiteX2" fmla="*/ 8464 w 18356"/>
                  <a:gd name="connsiteY2" fmla="*/ 24 h 18408"/>
                  <a:gd name="connsiteX3" fmla="*/ 18333 w 18356"/>
                  <a:gd name="connsiteY3" fmla="*/ 8516 h 18408"/>
                  <a:gd name="connsiteX4" fmla="*/ 9900 w 18356"/>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8">
                    <a:moveTo>
                      <a:pt x="9900" y="18384"/>
                    </a:moveTo>
                    <a:cubicBezTo>
                      <a:pt x="4876" y="18743"/>
                      <a:pt x="450" y="14975"/>
                      <a:pt x="32" y="9892"/>
                    </a:cubicBezTo>
                    <a:cubicBezTo>
                      <a:pt x="-387" y="4808"/>
                      <a:pt x="3381" y="382"/>
                      <a:pt x="8464" y="24"/>
                    </a:cubicBezTo>
                    <a:cubicBezTo>
                      <a:pt x="13488" y="-335"/>
                      <a:pt x="17914" y="3433"/>
                      <a:pt x="18333" y="8516"/>
                    </a:cubicBezTo>
                    <a:cubicBezTo>
                      <a:pt x="18692" y="13600"/>
                      <a:pt x="14924" y="18026"/>
                      <a:pt x="9900" y="18384"/>
                    </a:cubicBezTo>
                    <a:close/>
                  </a:path>
                </a:pathLst>
              </a:custGeom>
              <a:grpFill/>
              <a:ln w="5978" cap="flat">
                <a:noFill/>
                <a:prstDash val="solid"/>
                <a:miter/>
              </a:ln>
            </p:spPr>
            <p:txBody>
              <a:bodyPr rtlCol="0" anchor="ctr"/>
              <a:lstStyle/>
              <a:p>
                <a:endParaRPr lang="en-GB"/>
              </a:p>
            </p:txBody>
          </p:sp>
          <p:sp>
            <p:nvSpPr>
              <p:cNvPr id="2039" name="Vrije vorm: vorm 2038">
                <a:extLst>
                  <a:ext uri="{FF2B5EF4-FFF2-40B4-BE49-F238E27FC236}">
                    <a16:creationId xmlns:a16="http://schemas.microsoft.com/office/drawing/2014/main" id="{97826A3A-4B1F-4A4E-924E-37A8091CDF66}"/>
                  </a:ext>
                </a:extLst>
              </p:cNvPr>
              <p:cNvSpPr/>
              <p:nvPr/>
            </p:nvSpPr>
            <p:spPr>
              <a:xfrm>
                <a:off x="4349117" y="3537673"/>
                <a:ext cx="18356" cy="18408"/>
              </a:xfrm>
              <a:custGeom>
                <a:avLst/>
                <a:gdLst>
                  <a:gd name="connsiteX0" fmla="*/ 9952 w 18356"/>
                  <a:gd name="connsiteY0" fmla="*/ 18384 h 18408"/>
                  <a:gd name="connsiteX1" fmla="*/ 18325 w 18356"/>
                  <a:gd name="connsiteY1" fmla="*/ 8516 h 18408"/>
                  <a:gd name="connsiteX2" fmla="*/ 8457 w 18356"/>
                  <a:gd name="connsiteY2" fmla="*/ 24 h 18408"/>
                  <a:gd name="connsiteX3" fmla="*/ 24 w 18356"/>
                  <a:gd name="connsiteY3" fmla="*/ 9892 h 18408"/>
                  <a:gd name="connsiteX4" fmla="*/ 9952 w 18356"/>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8">
                    <a:moveTo>
                      <a:pt x="9952" y="18384"/>
                    </a:moveTo>
                    <a:cubicBezTo>
                      <a:pt x="14975" y="18026"/>
                      <a:pt x="18743" y="13600"/>
                      <a:pt x="18325" y="8516"/>
                    </a:cubicBezTo>
                    <a:cubicBezTo>
                      <a:pt x="17906" y="3433"/>
                      <a:pt x="13480" y="-335"/>
                      <a:pt x="8457" y="24"/>
                    </a:cubicBezTo>
                    <a:cubicBezTo>
                      <a:pt x="3433" y="382"/>
                      <a:pt x="-335" y="4808"/>
                      <a:pt x="24" y="9892"/>
                    </a:cubicBezTo>
                    <a:cubicBezTo>
                      <a:pt x="442" y="14975"/>
                      <a:pt x="4868" y="18743"/>
                      <a:pt x="9952" y="18384"/>
                    </a:cubicBezTo>
                    <a:close/>
                  </a:path>
                </a:pathLst>
              </a:custGeom>
              <a:grpFill/>
              <a:ln w="5978" cap="flat">
                <a:noFill/>
                <a:prstDash val="solid"/>
                <a:miter/>
              </a:ln>
            </p:spPr>
            <p:txBody>
              <a:bodyPr rtlCol="0" anchor="ctr"/>
              <a:lstStyle/>
              <a:p>
                <a:endParaRPr lang="en-GB"/>
              </a:p>
            </p:txBody>
          </p:sp>
        </p:grpSp>
        <p:grpSp>
          <p:nvGrpSpPr>
            <p:cNvPr id="1122" name="Graphic 3">
              <a:extLst>
                <a:ext uri="{FF2B5EF4-FFF2-40B4-BE49-F238E27FC236}">
                  <a16:creationId xmlns:a16="http://schemas.microsoft.com/office/drawing/2014/main" id="{10B1EEDB-0922-4FC5-8697-4CBC4559F74E}"/>
                </a:ext>
              </a:extLst>
            </p:cNvPr>
            <p:cNvGrpSpPr/>
            <p:nvPr/>
          </p:nvGrpSpPr>
          <p:grpSpPr>
            <a:xfrm>
              <a:off x="4063169" y="3149972"/>
              <a:ext cx="328728" cy="88803"/>
              <a:chOff x="4063169" y="3149972"/>
              <a:chExt cx="328728" cy="88803"/>
            </a:xfrm>
            <a:grpFill/>
          </p:grpSpPr>
          <p:sp>
            <p:nvSpPr>
              <p:cNvPr id="2034" name="Vrije vorm: vorm 2033">
                <a:extLst>
                  <a:ext uri="{FF2B5EF4-FFF2-40B4-BE49-F238E27FC236}">
                    <a16:creationId xmlns:a16="http://schemas.microsoft.com/office/drawing/2014/main" id="{3ED97C9C-115B-471C-92A2-0F354FD75CF8}"/>
                  </a:ext>
                </a:extLst>
              </p:cNvPr>
              <p:cNvSpPr/>
              <p:nvPr/>
            </p:nvSpPr>
            <p:spPr>
              <a:xfrm>
                <a:off x="4071575" y="3157562"/>
                <a:ext cx="311954" cy="73562"/>
              </a:xfrm>
              <a:custGeom>
                <a:avLst/>
                <a:gdLst>
                  <a:gd name="connsiteX0" fmla="*/ 311954 w 311954"/>
                  <a:gd name="connsiteY0" fmla="*/ 70632 h 73562"/>
                  <a:gd name="connsiteX1" fmla="*/ 311297 w 311954"/>
                  <a:gd name="connsiteY1" fmla="*/ 73563 h 73562"/>
                  <a:gd name="connsiteX2" fmla="*/ 0 w 311954"/>
                  <a:gd name="connsiteY2" fmla="*/ 2990 h 73562"/>
                  <a:gd name="connsiteX3" fmla="*/ 658 w 311954"/>
                  <a:gd name="connsiteY3" fmla="*/ 0 h 73562"/>
                </a:gdLst>
                <a:ahLst/>
                <a:cxnLst>
                  <a:cxn ang="0">
                    <a:pos x="connsiteX0" y="connsiteY0"/>
                  </a:cxn>
                  <a:cxn ang="0">
                    <a:pos x="connsiteX1" y="connsiteY1"/>
                  </a:cxn>
                  <a:cxn ang="0">
                    <a:pos x="connsiteX2" y="connsiteY2"/>
                  </a:cxn>
                  <a:cxn ang="0">
                    <a:pos x="connsiteX3" y="connsiteY3"/>
                  </a:cxn>
                </a:cxnLst>
                <a:rect l="l" t="t" r="r" b="b"/>
                <a:pathLst>
                  <a:path w="311954" h="73562">
                    <a:moveTo>
                      <a:pt x="311954" y="70632"/>
                    </a:moveTo>
                    <a:lnTo>
                      <a:pt x="311297" y="73563"/>
                    </a:lnTo>
                    <a:lnTo>
                      <a:pt x="0" y="2990"/>
                    </a:lnTo>
                    <a:lnTo>
                      <a:pt x="658" y="0"/>
                    </a:lnTo>
                    <a:close/>
                  </a:path>
                </a:pathLst>
              </a:custGeom>
              <a:grpFill/>
              <a:ln w="5978" cap="flat">
                <a:noFill/>
                <a:prstDash val="solid"/>
                <a:miter/>
              </a:ln>
            </p:spPr>
            <p:txBody>
              <a:bodyPr rtlCol="0" anchor="ctr"/>
              <a:lstStyle/>
              <a:p>
                <a:endParaRPr lang="en-GB"/>
              </a:p>
            </p:txBody>
          </p:sp>
          <p:sp>
            <p:nvSpPr>
              <p:cNvPr id="2035" name="Vrije vorm: vorm 2034">
                <a:extLst>
                  <a:ext uri="{FF2B5EF4-FFF2-40B4-BE49-F238E27FC236}">
                    <a16:creationId xmlns:a16="http://schemas.microsoft.com/office/drawing/2014/main" id="{6623B1BD-D667-4EF8-96E3-B1BEC90C64CD}"/>
                  </a:ext>
                </a:extLst>
              </p:cNvPr>
              <p:cNvSpPr/>
              <p:nvPr/>
            </p:nvSpPr>
            <p:spPr>
              <a:xfrm>
                <a:off x="4373547" y="3220365"/>
                <a:ext cx="18350" cy="18410"/>
              </a:xfrm>
              <a:custGeom>
                <a:avLst/>
                <a:gdLst>
                  <a:gd name="connsiteX0" fmla="*/ 11179 w 18350"/>
                  <a:gd name="connsiteY0" fmla="*/ 234 h 18410"/>
                  <a:gd name="connsiteX1" fmla="*/ 18116 w 18350"/>
                  <a:gd name="connsiteY1" fmla="*/ 11239 h 18410"/>
                  <a:gd name="connsiteX2" fmla="*/ 7172 w 18350"/>
                  <a:gd name="connsiteY2" fmla="*/ 18176 h 18410"/>
                  <a:gd name="connsiteX3" fmla="*/ 234 w 18350"/>
                  <a:gd name="connsiteY3" fmla="*/ 7172 h 18410"/>
                  <a:gd name="connsiteX4" fmla="*/ 11179 w 18350"/>
                  <a:gd name="connsiteY4" fmla="*/ 234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0">
                    <a:moveTo>
                      <a:pt x="11179" y="234"/>
                    </a:moveTo>
                    <a:cubicBezTo>
                      <a:pt x="16143" y="1371"/>
                      <a:pt x="19253" y="6275"/>
                      <a:pt x="18116" y="11239"/>
                    </a:cubicBezTo>
                    <a:cubicBezTo>
                      <a:pt x="17040" y="16203"/>
                      <a:pt x="12136" y="19313"/>
                      <a:pt x="7172" y="18176"/>
                    </a:cubicBezTo>
                    <a:cubicBezTo>
                      <a:pt x="2208" y="17040"/>
                      <a:pt x="-902" y="12136"/>
                      <a:pt x="234" y="7172"/>
                    </a:cubicBezTo>
                    <a:cubicBezTo>
                      <a:pt x="1370" y="2208"/>
                      <a:pt x="6275" y="-902"/>
                      <a:pt x="11179" y="234"/>
                    </a:cubicBezTo>
                    <a:close/>
                  </a:path>
                </a:pathLst>
              </a:custGeom>
              <a:grpFill/>
              <a:ln w="5978" cap="flat">
                <a:noFill/>
                <a:prstDash val="solid"/>
                <a:miter/>
              </a:ln>
            </p:spPr>
            <p:txBody>
              <a:bodyPr rtlCol="0" anchor="ctr"/>
              <a:lstStyle/>
              <a:p>
                <a:endParaRPr lang="en-GB"/>
              </a:p>
            </p:txBody>
          </p:sp>
          <p:sp>
            <p:nvSpPr>
              <p:cNvPr id="2036" name="Vrije vorm: vorm 2035">
                <a:extLst>
                  <a:ext uri="{FF2B5EF4-FFF2-40B4-BE49-F238E27FC236}">
                    <a16:creationId xmlns:a16="http://schemas.microsoft.com/office/drawing/2014/main" id="{66E4AF59-32C6-458D-9FF3-39846FB2B7FA}"/>
                  </a:ext>
                </a:extLst>
              </p:cNvPr>
              <p:cNvSpPr/>
              <p:nvPr/>
            </p:nvSpPr>
            <p:spPr>
              <a:xfrm>
                <a:off x="4063169" y="3149972"/>
                <a:ext cx="18329" cy="18410"/>
              </a:xfrm>
              <a:custGeom>
                <a:avLst/>
                <a:gdLst>
                  <a:gd name="connsiteX0" fmla="*/ 11157 w 18329"/>
                  <a:gd name="connsiteY0" fmla="*/ 234 h 18410"/>
                  <a:gd name="connsiteX1" fmla="*/ 213 w 18329"/>
                  <a:gd name="connsiteY1" fmla="*/ 7172 h 18410"/>
                  <a:gd name="connsiteX2" fmla="*/ 7150 w 18329"/>
                  <a:gd name="connsiteY2" fmla="*/ 18176 h 18410"/>
                  <a:gd name="connsiteX3" fmla="*/ 18095 w 18329"/>
                  <a:gd name="connsiteY3" fmla="*/ 11239 h 18410"/>
                  <a:gd name="connsiteX4" fmla="*/ 11157 w 18329"/>
                  <a:gd name="connsiteY4" fmla="*/ 234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0">
                    <a:moveTo>
                      <a:pt x="11157" y="234"/>
                    </a:moveTo>
                    <a:cubicBezTo>
                      <a:pt x="6194" y="-902"/>
                      <a:pt x="1349" y="2208"/>
                      <a:pt x="213" y="7172"/>
                    </a:cubicBezTo>
                    <a:cubicBezTo>
                      <a:pt x="-863" y="12136"/>
                      <a:pt x="2246" y="17040"/>
                      <a:pt x="7150" y="18176"/>
                    </a:cubicBezTo>
                    <a:cubicBezTo>
                      <a:pt x="12115" y="19313"/>
                      <a:pt x="16959" y="16203"/>
                      <a:pt x="18095" y="11239"/>
                    </a:cubicBezTo>
                    <a:cubicBezTo>
                      <a:pt x="19232" y="6275"/>
                      <a:pt x="16122" y="1311"/>
                      <a:pt x="11157" y="234"/>
                    </a:cubicBezTo>
                    <a:close/>
                  </a:path>
                </a:pathLst>
              </a:custGeom>
              <a:grpFill/>
              <a:ln w="5978" cap="flat">
                <a:noFill/>
                <a:prstDash val="solid"/>
                <a:miter/>
              </a:ln>
            </p:spPr>
            <p:txBody>
              <a:bodyPr rtlCol="0" anchor="ctr"/>
              <a:lstStyle/>
              <a:p>
                <a:endParaRPr lang="en-GB"/>
              </a:p>
            </p:txBody>
          </p:sp>
        </p:grpSp>
        <p:grpSp>
          <p:nvGrpSpPr>
            <p:cNvPr id="1123" name="Graphic 3">
              <a:extLst>
                <a:ext uri="{FF2B5EF4-FFF2-40B4-BE49-F238E27FC236}">
                  <a16:creationId xmlns:a16="http://schemas.microsoft.com/office/drawing/2014/main" id="{4F50AC8B-4532-4F70-9B0F-205B7A4A7F18}"/>
                </a:ext>
              </a:extLst>
            </p:cNvPr>
            <p:cNvGrpSpPr/>
            <p:nvPr/>
          </p:nvGrpSpPr>
          <p:grpSpPr>
            <a:xfrm>
              <a:off x="3966353" y="2549473"/>
              <a:ext cx="113497" cy="57713"/>
              <a:chOff x="3966353" y="2549473"/>
              <a:chExt cx="113497" cy="57713"/>
            </a:xfrm>
            <a:grpFill/>
          </p:grpSpPr>
          <p:sp>
            <p:nvSpPr>
              <p:cNvPr id="2031" name="Vrije vorm: vorm 2030">
                <a:extLst>
                  <a:ext uri="{FF2B5EF4-FFF2-40B4-BE49-F238E27FC236}">
                    <a16:creationId xmlns:a16="http://schemas.microsoft.com/office/drawing/2014/main" id="{A31B382C-632B-49CC-8840-E4886A2C1320}"/>
                  </a:ext>
                </a:extLst>
              </p:cNvPr>
              <p:cNvSpPr/>
              <p:nvPr/>
            </p:nvSpPr>
            <p:spPr>
              <a:xfrm>
                <a:off x="3974508" y="2557098"/>
                <a:ext cx="97127" cy="42463"/>
              </a:xfrm>
              <a:custGeom>
                <a:avLst/>
                <a:gdLst>
                  <a:gd name="connsiteX0" fmla="*/ 97127 w 97127"/>
                  <a:gd name="connsiteY0" fmla="*/ 39592 h 42463"/>
                  <a:gd name="connsiteX1" fmla="*/ 95991 w 97127"/>
                  <a:gd name="connsiteY1" fmla="*/ 42463 h 42463"/>
                  <a:gd name="connsiteX2" fmla="*/ 0 w 97127"/>
                  <a:gd name="connsiteY2" fmla="*/ 2871 h 42463"/>
                  <a:gd name="connsiteX3" fmla="*/ 1136 w 97127"/>
                  <a:gd name="connsiteY3" fmla="*/ 0 h 42463"/>
                </a:gdLst>
                <a:ahLst/>
                <a:cxnLst>
                  <a:cxn ang="0">
                    <a:pos x="connsiteX0" y="connsiteY0"/>
                  </a:cxn>
                  <a:cxn ang="0">
                    <a:pos x="connsiteX1" y="connsiteY1"/>
                  </a:cxn>
                  <a:cxn ang="0">
                    <a:pos x="connsiteX2" y="connsiteY2"/>
                  </a:cxn>
                  <a:cxn ang="0">
                    <a:pos x="connsiteX3" y="connsiteY3"/>
                  </a:cxn>
                </a:cxnLst>
                <a:rect l="l" t="t" r="r" b="b"/>
                <a:pathLst>
                  <a:path w="97127" h="42463">
                    <a:moveTo>
                      <a:pt x="97127" y="39592"/>
                    </a:moveTo>
                    <a:lnTo>
                      <a:pt x="95991" y="42463"/>
                    </a:lnTo>
                    <a:lnTo>
                      <a:pt x="0" y="2871"/>
                    </a:lnTo>
                    <a:lnTo>
                      <a:pt x="1136" y="0"/>
                    </a:lnTo>
                    <a:close/>
                  </a:path>
                </a:pathLst>
              </a:custGeom>
              <a:grpFill/>
              <a:ln w="5978" cap="flat">
                <a:noFill/>
                <a:prstDash val="solid"/>
                <a:miter/>
              </a:ln>
            </p:spPr>
            <p:txBody>
              <a:bodyPr rtlCol="0" anchor="ctr"/>
              <a:lstStyle/>
              <a:p>
                <a:endParaRPr lang="en-GB"/>
              </a:p>
            </p:txBody>
          </p:sp>
          <p:sp>
            <p:nvSpPr>
              <p:cNvPr id="2032" name="Vrije vorm: vorm 2031">
                <a:extLst>
                  <a:ext uri="{FF2B5EF4-FFF2-40B4-BE49-F238E27FC236}">
                    <a16:creationId xmlns:a16="http://schemas.microsoft.com/office/drawing/2014/main" id="{51CA2BC3-530E-4987-AE46-DB2EFCB577A2}"/>
                  </a:ext>
                </a:extLst>
              </p:cNvPr>
              <p:cNvSpPr/>
              <p:nvPr/>
            </p:nvSpPr>
            <p:spPr>
              <a:xfrm>
                <a:off x="3966353" y="2549473"/>
                <a:ext cx="18343" cy="18444"/>
              </a:xfrm>
              <a:custGeom>
                <a:avLst/>
                <a:gdLst>
                  <a:gd name="connsiteX0" fmla="*/ 5703 w 18343"/>
                  <a:gd name="connsiteY0" fmla="*/ 17732 h 18444"/>
                  <a:gd name="connsiteX1" fmla="*/ 679 w 18343"/>
                  <a:gd name="connsiteY1" fmla="*/ 5711 h 18444"/>
                  <a:gd name="connsiteX2" fmla="*/ 12641 w 18343"/>
                  <a:gd name="connsiteY2" fmla="*/ 687 h 18444"/>
                  <a:gd name="connsiteX3" fmla="*/ 17665 w 18343"/>
                  <a:gd name="connsiteY3" fmla="*/ 12709 h 18444"/>
                  <a:gd name="connsiteX4" fmla="*/ 5703 w 18343"/>
                  <a:gd name="connsiteY4" fmla="*/ 177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4">
                    <a:moveTo>
                      <a:pt x="5703" y="17732"/>
                    </a:moveTo>
                    <a:cubicBezTo>
                      <a:pt x="1038" y="15819"/>
                      <a:pt x="-1234" y="10436"/>
                      <a:pt x="679" y="5711"/>
                    </a:cubicBezTo>
                    <a:cubicBezTo>
                      <a:pt x="2593" y="986"/>
                      <a:pt x="7916" y="-1227"/>
                      <a:pt x="12641" y="687"/>
                    </a:cubicBezTo>
                    <a:cubicBezTo>
                      <a:pt x="17306" y="2601"/>
                      <a:pt x="19578" y="7984"/>
                      <a:pt x="17665" y="12709"/>
                    </a:cubicBezTo>
                    <a:cubicBezTo>
                      <a:pt x="15751" y="17433"/>
                      <a:pt x="10428" y="19706"/>
                      <a:pt x="5703" y="17732"/>
                    </a:cubicBezTo>
                    <a:close/>
                  </a:path>
                </a:pathLst>
              </a:custGeom>
              <a:grpFill/>
              <a:ln w="5978" cap="flat">
                <a:noFill/>
                <a:prstDash val="solid"/>
                <a:miter/>
              </a:ln>
            </p:spPr>
            <p:txBody>
              <a:bodyPr rtlCol="0" anchor="ctr"/>
              <a:lstStyle/>
              <a:p>
                <a:endParaRPr lang="en-GB"/>
              </a:p>
            </p:txBody>
          </p:sp>
          <p:sp>
            <p:nvSpPr>
              <p:cNvPr id="2033" name="Vrije vorm: vorm 2032">
                <a:extLst>
                  <a:ext uri="{FF2B5EF4-FFF2-40B4-BE49-F238E27FC236}">
                    <a16:creationId xmlns:a16="http://schemas.microsoft.com/office/drawing/2014/main" id="{88D328E0-C8E7-4B7F-8259-04ADAC7A76EC}"/>
                  </a:ext>
                </a:extLst>
              </p:cNvPr>
              <p:cNvSpPr/>
              <p:nvPr/>
            </p:nvSpPr>
            <p:spPr>
              <a:xfrm>
                <a:off x="4061506" y="2588766"/>
                <a:ext cx="18343" cy="18419"/>
              </a:xfrm>
              <a:custGeom>
                <a:avLst/>
                <a:gdLst>
                  <a:gd name="connsiteX0" fmla="*/ 5703 w 18343"/>
                  <a:gd name="connsiteY0" fmla="*/ 17732 h 18419"/>
                  <a:gd name="connsiteX1" fmla="*/ 17664 w 18343"/>
                  <a:gd name="connsiteY1" fmla="*/ 12708 h 18419"/>
                  <a:gd name="connsiteX2" fmla="*/ 12641 w 18343"/>
                  <a:gd name="connsiteY2" fmla="*/ 687 h 18419"/>
                  <a:gd name="connsiteX3" fmla="*/ 679 w 18343"/>
                  <a:gd name="connsiteY3" fmla="*/ 5711 h 18419"/>
                  <a:gd name="connsiteX4" fmla="*/ 5703 w 18343"/>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9">
                    <a:moveTo>
                      <a:pt x="5703" y="17732"/>
                    </a:moveTo>
                    <a:cubicBezTo>
                      <a:pt x="10368" y="19646"/>
                      <a:pt x="15751" y="17433"/>
                      <a:pt x="17664" y="12708"/>
                    </a:cubicBezTo>
                    <a:cubicBezTo>
                      <a:pt x="19578" y="7984"/>
                      <a:pt x="17306" y="2601"/>
                      <a:pt x="12641" y="687"/>
                    </a:cubicBezTo>
                    <a:cubicBezTo>
                      <a:pt x="7976" y="-1227"/>
                      <a:pt x="2593" y="986"/>
                      <a:pt x="679" y="5711"/>
                    </a:cubicBezTo>
                    <a:cubicBezTo>
                      <a:pt x="-1235" y="10376"/>
                      <a:pt x="1038" y="15759"/>
                      <a:pt x="5703" y="17732"/>
                    </a:cubicBezTo>
                    <a:close/>
                  </a:path>
                </a:pathLst>
              </a:custGeom>
              <a:grpFill/>
              <a:ln w="5978" cap="flat">
                <a:noFill/>
                <a:prstDash val="solid"/>
                <a:miter/>
              </a:ln>
            </p:spPr>
            <p:txBody>
              <a:bodyPr rtlCol="0" anchor="ctr"/>
              <a:lstStyle/>
              <a:p>
                <a:endParaRPr lang="en-GB"/>
              </a:p>
            </p:txBody>
          </p:sp>
        </p:grpSp>
        <p:grpSp>
          <p:nvGrpSpPr>
            <p:cNvPr id="1124" name="Graphic 3">
              <a:extLst>
                <a:ext uri="{FF2B5EF4-FFF2-40B4-BE49-F238E27FC236}">
                  <a16:creationId xmlns:a16="http://schemas.microsoft.com/office/drawing/2014/main" id="{93255473-769B-4ED3-9564-038C8DB85626}"/>
                </a:ext>
              </a:extLst>
            </p:cNvPr>
            <p:cNvGrpSpPr/>
            <p:nvPr/>
          </p:nvGrpSpPr>
          <p:grpSpPr>
            <a:xfrm>
              <a:off x="4076399" y="2921658"/>
              <a:ext cx="131856" cy="46398"/>
              <a:chOff x="4076399" y="2921658"/>
              <a:chExt cx="131856" cy="46398"/>
            </a:xfrm>
            <a:grpFill/>
          </p:grpSpPr>
          <p:sp>
            <p:nvSpPr>
              <p:cNvPr id="2028" name="Vrije vorm: vorm 2027">
                <a:extLst>
                  <a:ext uri="{FF2B5EF4-FFF2-40B4-BE49-F238E27FC236}">
                    <a16:creationId xmlns:a16="http://schemas.microsoft.com/office/drawing/2014/main" id="{4891FB93-70A7-4AC3-94B1-22E89843E638}"/>
                  </a:ext>
                </a:extLst>
              </p:cNvPr>
              <p:cNvSpPr/>
              <p:nvPr/>
            </p:nvSpPr>
            <p:spPr>
              <a:xfrm>
                <a:off x="4084793" y="2929278"/>
                <a:ext cx="115069" cy="31159"/>
              </a:xfrm>
              <a:custGeom>
                <a:avLst/>
                <a:gdLst>
                  <a:gd name="connsiteX0" fmla="*/ 115069 w 115069"/>
                  <a:gd name="connsiteY0" fmla="*/ 28229 h 31159"/>
                  <a:gd name="connsiteX1" fmla="*/ 114351 w 115069"/>
                  <a:gd name="connsiteY1" fmla="*/ 31160 h 31159"/>
                  <a:gd name="connsiteX2" fmla="*/ 0 w 115069"/>
                  <a:gd name="connsiteY2" fmla="*/ 2930 h 31159"/>
                  <a:gd name="connsiteX3" fmla="*/ 718 w 115069"/>
                  <a:gd name="connsiteY3" fmla="*/ 0 h 31159"/>
                </a:gdLst>
                <a:ahLst/>
                <a:cxnLst>
                  <a:cxn ang="0">
                    <a:pos x="connsiteX0" y="connsiteY0"/>
                  </a:cxn>
                  <a:cxn ang="0">
                    <a:pos x="connsiteX1" y="connsiteY1"/>
                  </a:cxn>
                  <a:cxn ang="0">
                    <a:pos x="connsiteX2" y="connsiteY2"/>
                  </a:cxn>
                  <a:cxn ang="0">
                    <a:pos x="connsiteX3" y="connsiteY3"/>
                  </a:cxn>
                </a:cxnLst>
                <a:rect l="l" t="t" r="r" b="b"/>
                <a:pathLst>
                  <a:path w="115069" h="31159">
                    <a:moveTo>
                      <a:pt x="115069" y="28229"/>
                    </a:moveTo>
                    <a:lnTo>
                      <a:pt x="114351" y="31160"/>
                    </a:lnTo>
                    <a:lnTo>
                      <a:pt x="0" y="2930"/>
                    </a:lnTo>
                    <a:lnTo>
                      <a:pt x="718" y="0"/>
                    </a:lnTo>
                    <a:close/>
                  </a:path>
                </a:pathLst>
              </a:custGeom>
              <a:grpFill/>
              <a:ln w="5978" cap="flat">
                <a:noFill/>
                <a:prstDash val="solid"/>
                <a:miter/>
              </a:ln>
            </p:spPr>
            <p:txBody>
              <a:bodyPr rtlCol="0" anchor="ctr"/>
              <a:lstStyle/>
              <a:p>
                <a:endParaRPr lang="en-GB"/>
              </a:p>
            </p:txBody>
          </p:sp>
          <p:sp>
            <p:nvSpPr>
              <p:cNvPr id="2029" name="Vrije vorm: vorm 2028">
                <a:extLst>
                  <a:ext uri="{FF2B5EF4-FFF2-40B4-BE49-F238E27FC236}">
                    <a16:creationId xmlns:a16="http://schemas.microsoft.com/office/drawing/2014/main" id="{4181AE8B-5980-4E64-98FA-C98C74ABBDFF}"/>
                  </a:ext>
                </a:extLst>
              </p:cNvPr>
              <p:cNvSpPr/>
              <p:nvPr/>
            </p:nvSpPr>
            <p:spPr>
              <a:xfrm>
                <a:off x="4076399" y="2921658"/>
                <a:ext cx="18342" cy="18408"/>
              </a:xfrm>
              <a:custGeom>
                <a:avLst/>
                <a:gdLst>
                  <a:gd name="connsiteX0" fmla="*/ 7018 w 18342"/>
                  <a:gd name="connsiteY0" fmla="*/ 18145 h 18408"/>
                  <a:gd name="connsiteX1" fmla="*/ 260 w 18342"/>
                  <a:gd name="connsiteY1" fmla="*/ 7021 h 18408"/>
                  <a:gd name="connsiteX2" fmla="*/ 11324 w 18342"/>
                  <a:gd name="connsiteY2" fmla="*/ 263 h 18408"/>
                  <a:gd name="connsiteX3" fmla="*/ 18082 w 18342"/>
                  <a:gd name="connsiteY3" fmla="*/ 11387 h 18408"/>
                  <a:gd name="connsiteX4" fmla="*/ 7018 w 18342"/>
                  <a:gd name="connsiteY4" fmla="*/ 18145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7018" y="18145"/>
                    </a:moveTo>
                    <a:cubicBezTo>
                      <a:pt x="2114" y="16949"/>
                      <a:pt x="-936" y="11925"/>
                      <a:pt x="260" y="7021"/>
                    </a:cubicBezTo>
                    <a:cubicBezTo>
                      <a:pt x="1456" y="2057"/>
                      <a:pt x="6420" y="-933"/>
                      <a:pt x="11324" y="263"/>
                    </a:cubicBezTo>
                    <a:cubicBezTo>
                      <a:pt x="16228" y="1459"/>
                      <a:pt x="19279" y="6483"/>
                      <a:pt x="18082" y="11387"/>
                    </a:cubicBezTo>
                    <a:cubicBezTo>
                      <a:pt x="16886" y="16351"/>
                      <a:pt x="11922" y="19342"/>
                      <a:pt x="7018" y="18145"/>
                    </a:cubicBezTo>
                    <a:close/>
                  </a:path>
                </a:pathLst>
              </a:custGeom>
              <a:grpFill/>
              <a:ln w="5978" cap="flat">
                <a:noFill/>
                <a:prstDash val="solid"/>
                <a:miter/>
              </a:ln>
            </p:spPr>
            <p:txBody>
              <a:bodyPr rtlCol="0" anchor="ctr"/>
              <a:lstStyle/>
              <a:p>
                <a:endParaRPr lang="en-GB"/>
              </a:p>
            </p:txBody>
          </p:sp>
          <p:sp>
            <p:nvSpPr>
              <p:cNvPr id="2030" name="Vrije vorm: vorm 2029">
                <a:extLst>
                  <a:ext uri="{FF2B5EF4-FFF2-40B4-BE49-F238E27FC236}">
                    <a16:creationId xmlns:a16="http://schemas.microsoft.com/office/drawing/2014/main" id="{E5F5116E-DFD4-4BFF-BEC6-9D139E6A6202}"/>
                  </a:ext>
                </a:extLst>
              </p:cNvPr>
              <p:cNvSpPr/>
              <p:nvPr/>
            </p:nvSpPr>
            <p:spPr>
              <a:xfrm>
                <a:off x="4189910" y="2949648"/>
                <a:ext cx="18345" cy="18408"/>
              </a:xfrm>
              <a:custGeom>
                <a:avLst/>
                <a:gdLst>
                  <a:gd name="connsiteX0" fmla="*/ 7021 w 18345"/>
                  <a:gd name="connsiteY0" fmla="*/ 18145 h 18408"/>
                  <a:gd name="connsiteX1" fmla="*/ 18086 w 18345"/>
                  <a:gd name="connsiteY1" fmla="*/ 11387 h 18408"/>
                  <a:gd name="connsiteX2" fmla="*/ 11328 w 18345"/>
                  <a:gd name="connsiteY2" fmla="*/ 263 h 18408"/>
                  <a:gd name="connsiteX3" fmla="*/ 263 w 18345"/>
                  <a:gd name="connsiteY3" fmla="*/ 7021 h 18408"/>
                  <a:gd name="connsiteX4" fmla="*/ 7021 w 18345"/>
                  <a:gd name="connsiteY4" fmla="*/ 18145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8">
                    <a:moveTo>
                      <a:pt x="7021" y="18145"/>
                    </a:moveTo>
                    <a:cubicBezTo>
                      <a:pt x="11926" y="19342"/>
                      <a:pt x="16890" y="16351"/>
                      <a:pt x="18086" y="11387"/>
                    </a:cubicBezTo>
                    <a:cubicBezTo>
                      <a:pt x="19282" y="6423"/>
                      <a:pt x="16232" y="1459"/>
                      <a:pt x="11328" y="263"/>
                    </a:cubicBezTo>
                    <a:cubicBezTo>
                      <a:pt x="6423" y="-933"/>
                      <a:pt x="1459" y="2057"/>
                      <a:pt x="263" y="7021"/>
                    </a:cubicBezTo>
                    <a:cubicBezTo>
                      <a:pt x="-933" y="11985"/>
                      <a:pt x="2058" y="16949"/>
                      <a:pt x="7021" y="18145"/>
                    </a:cubicBezTo>
                    <a:close/>
                  </a:path>
                </a:pathLst>
              </a:custGeom>
              <a:grpFill/>
              <a:ln w="5978" cap="flat">
                <a:noFill/>
                <a:prstDash val="solid"/>
                <a:miter/>
              </a:ln>
            </p:spPr>
            <p:txBody>
              <a:bodyPr rtlCol="0" anchor="ctr"/>
              <a:lstStyle/>
              <a:p>
                <a:endParaRPr lang="en-GB"/>
              </a:p>
            </p:txBody>
          </p:sp>
        </p:grpSp>
        <p:grpSp>
          <p:nvGrpSpPr>
            <p:cNvPr id="1125" name="Graphic 3">
              <a:extLst>
                <a:ext uri="{FF2B5EF4-FFF2-40B4-BE49-F238E27FC236}">
                  <a16:creationId xmlns:a16="http://schemas.microsoft.com/office/drawing/2014/main" id="{396C2096-4853-4CD1-B963-90EA4F3DE280}"/>
                </a:ext>
              </a:extLst>
            </p:cNvPr>
            <p:cNvGrpSpPr/>
            <p:nvPr/>
          </p:nvGrpSpPr>
          <p:grpSpPr>
            <a:xfrm>
              <a:off x="4842648" y="5135049"/>
              <a:ext cx="144955" cy="221543"/>
              <a:chOff x="4842648" y="5135049"/>
              <a:chExt cx="144955" cy="221543"/>
            </a:xfrm>
            <a:grpFill/>
          </p:grpSpPr>
          <p:sp>
            <p:nvSpPr>
              <p:cNvPr id="2025" name="Vrije vorm: vorm 2024">
                <a:extLst>
                  <a:ext uri="{FF2B5EF4-FFF2-40B4-BE49-F238E27FC236}">
                    <a16:creationId xmlns:a16="http://schemas.microsoft.com/office/drawing/2014/main" id="{32BD956B-25FD-4E8A-8B30-7DE41D3BF8DF}"/>
                  </a:ext>
                </a:extLst>
              </p:cNvPr>
              <p:cNvSpPr/>
              <p:nvPr/>
            </p:nvSpPr>
            <p:spPr>
              <a:xfrm>
                <a:off x="4850265" y="5143042"/>
                <a:ext cx="129721" cy="205557"/>
              </a:xfrm>
              <a:custGeom>
                <a:avLst/>
                <a:gdLst>
                  <a:gd name="connsiteX0" fmla="*/ 129722 w 129721"/>
                  <a:gd name="connsiteY0" fmla="*/ 1615 h 205557"/>
                  <a:gd name="connsiteX1" fmla="*/ 2631 w 129721"/>
                  <a:gd name="connsiteY1" fmla="*/ 205557 h 205557"/>
                  <a:gd name="connsiteX2" fmla="*/ 0 w 129721"/>
                  <a:gd name="connsiteY2" fmla="*/ 203943 h 205557"/>
                  <a:gd name="connsiteX3" fmla="*/ 127150 w 129721"/>
                  <a:gd name="connsiteY3" fmla="*/ 0 h 205557"/>
                </a:gdLst>
                <a:ahLst/>
                <a:cxnLst>
                  <a:cxn ang="0">
                    <a:pos x="connsiteX0" y="connsiteY0"/>
                  </a:cxn>
                  <a:cxn ang="0">
                    <a:pos x="connsiteX1" y="connsiteY1"/>
                  </a:cxn>
                  <a:cxn ang="0">
                    <a:pos x="connsiteX2" y="connsiteY2"/>
                  </a:cxn>
                  <a:cxn ang="0">
                    <a:pos x="connsiteX3" y="connsiteY3"/>
                  </a:cxn>
                </a:cxnLst>
                <a:rect l="l" t="t" r="r" b="b"/>
                <a:pathLst>
                  <a:path w="129721" h="205557">
                    <a:moveTo>
                      <a:pt x="129722" y="1615"/>
                    </a:moveTo>
                    <a:lnTo>
                      <a:pt x="2631" y="205557"/>
                    </a:lnTo>
                    <a:lnTo>
                      <a:pt x="0" y="203943"/>
                    </a:lnTo>
                    <a:lnTo>
                      <a:pt x="127150" y="0"/>
                    </a:lnTo>
                    <a:close/>
                  </a:path>
                </a:pathLst>
              </a:custGeom>
              <a:grpFill/>
              <a:ln w="5978" cap="flat">
                <a:noFill/>
                <a:prstDash val="solid"/>
                <a:miter/>
              </a:ln>
            </p:spPr>
            <p:txBody>
              <a:bodyPr rtlCol="0" anchor="ctr"/>
              <a:lstStyle/>
              <a:p>
                <a:endParaRPr lang="en-GB"/>
              </a:p>
            </p:txBody>
          </p:sp>
          <p:sp>
            <p:nvSpPr>
              <p:cNvPr id="2026" name="Vrije vorm: vorm 2025">
                <a:extLst>
                  <a:ext uri="{FF2B5EF4-FFF2-40B4-BE49-F238E27FC236}">
                    <a16:creationId xmlns:a16="http://schemas.microsoft.com/office/drawing/2014/main" id="{235BB974-ABDA-4372-BB5E-7BA15607BB44}"/>
                  </a:ext>
                </a:extLst>
              </p:cNvPr>
              <p:cNvSpPr/>
              <p:nvPr/>
            </p:nvSpPr>
            <p:spPr>
              <a:xfrm>
                <a:off x="4842648" y="5338214"/>
                <a:ext cx="18343" cy="18378"/>
              </a:xfrm>
              <a:custGeom>
                <a:avLst/>
                <a:gdLst>
                  <a:gd name="connsiteX0" fmla="*/ 16947 w 18343"/>
                  <a:gd name="connsiteY0" fmla="*/ 14093 h 18378"/>
                  <a:gd name="connsiteX1" fmla="*/ 4327 w 18343"/>
                  <a:gd name="connsiteY1" fmla="*/ 16964 h 18378"/>
                  <a:gd name="connsiteX2" fmla="*/ 1397 w 18343"/>
                  <a:gd name="connsiteY2" fmla="*/ 4285 h 18378"/>
                  <a:gd name="connsiteX3" fmla="*/ 14016 w 18343"/>
                  <a:gd name="connsiteY3" fmla="*/ 1414 h 18378"/>
                  <a:gd name="connsiteX4" fmla="*/ 16947 w 18343"/>
                  <a:gd name="connsiteY4" fmla="*/ 14093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8">
                    <a:moveTo>
                      <a:pt x="16947" y="14093"/>
                    </a:moveTo>
                    <a:cubicBezTo>
                      <a:pt x="14256" y="18399"/>
                      <a:pt x="8634" y="19655"/>
                      <a:pt x="4327" y="16964"/>
                    </a:cubicBezTo>
                    <a:cubicBezTo>
                      <a:pt x="21" y="14273"/>
                      <a:pt x="-1294" y="8531"/>
                      <a:pt x="1397" y="4285"/>
                    </a:cubicBezTo>
                    <a:cubicBezTo>
                      <a:pt x="4088" y="-21"/>
                      <a:pt x="9710" y="-1277"/>
                      <a:pt x="14016" y="1414"/>
                    </a:cubicBezTo>
                    <a:cubicBezTo>
                      <a:pt x="18322" y="4105"/>
                      <a:pt x="19638" y="9787"/>
                      <a:pt x="16947" y="14093"/>
                    </a:cubicBezTo>
                    <a:close/>
                  </a:path>
                </a:pathLst>
              </a:custGeom>
              <a:grpFill/>
              <a:ln w="5978" cap="flat">
                <a:noFill/>
                <a:prstDash val="solid"/>
                <a:miter/>
              </a:ln>
            </p:spPr>
            <p:txBody>
              <a:bodyPr rtlCol="0" anchor="ctr"/>
              <a:lstStyle/>
              <a:p>
                <a:endParaRPr lang="en-GB"/>
              </a:p>
            </p:txBody>
          </p:sp>
          <p:sp>
            <p:nvSpPr>
              <p:cNvPr id="2027" name="Vrije vorm: vorm 2026">
                <a:extLst>
                  <a:ext uri="{FF2B5EF4-FFF2-40B4-BE49-F238E27FC236}">
                    <a16:creationId xmlns:a16="http://schemas.microsoft.com/office/drawing/2014/main" id="{E6C4F8EC-9530-45DD-B0D5-3FD77EF2717F}"/>
                  </a:ext>
                </a:extLst>
              </p:cNvPr>
              <p:cNvSpPr/>
              <p:nvPr/>
            </p:nvSpPr>
            <p:spPr>
              <a:xfrm>
                <a:off x="4969260" y="5135049"/>
                <a:ext cx="18343" cy="18404"/>
              </a:xfrm>
              <a:custGeom>
                <a:avLst/>
                <a:gdLst>
                  <a:gd name="connsiteX0" fmla="*/ 16947 w 18343"/>
                  <a:gd name="connsiteY0" fmla="*/ 14093 h 18404"/>
                  <a:gd name="connsiteX1" fmla="*/ 14016 w 18343"/>
                  <a:gd name="connsiteY1" fmla="*/ 1414 h 18404"/>
                  <a:gd name="connsiteX2" fmla="*/ 1397 w 18343"/>
                  <a:gd name="connsiteY2" fmla="*/ 4285 h 18404"/>
                  <a:gd name="connsiteX3" fmla="*/ 4328 w 18343"/>
                  <a:gd name="connsiteY3" fmla="*/ 16964 h 18404"/>
                  <a:gd name="connsiteX4" fmla="*/ 16947 w 18343"/>
                  <a:gd name="connsiteY4" fmla="*/ 14093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093"/>
                    </a:moveTo>
                    <a:cubicBezTo>
                      <a:pt x="19638" y="9787"/>
                      <a:pt x="18322" y="4105"/>
                      <a:pt x="14016" y="1414"/>
                    </a:cubicBezTo>
                    <a:cubicBezTo>
                      <a:pt x="9710" y="-1277"/>
                      <a:pt x="4088" y="-21"/>
                      <a:pt x="1397" y="4285"/>
                    </a:cubicBezTo>
                    <a:cubicBezTo>
                      <a:pt x="-1294" y="8591"/>
                      <a:pt x="21" y="14273"/>
                      <a:pt x="4328" y="16964"/>
                    </a:cubicBezTo>
                    <a:cubicBezTo>
                      <a:pt x="8634" y="19715"/>
                      <a:pt x="14255" y="18399"/>
                      <a:pt x="16947" y="14093"/>
                    </a:cubicBezTo>
                    <a:close/>
                  </a:path>
                </a:pathLst>
              </a:custGeom>
              <a:grpFill/>
              <a:ln w="5978" cap="flat">
                <a:noFill/>
                <a:prstDash val="solid"/>
                <a:miter/>
              </a:ln>
            </p:spPr>
            <p:txBody>
              <a:bodyPr rtlCol="0" anchor="ctr"/>
              <a:lstStyle/>
              <a:p>
                <a:endParaRPr lang="en-GB"/>
              </a:p>
            </p:txBody>
          </p:sp>
        </p:grpSp>
        <p:grpSp>
          <p:nvGrpSpPr>
            <p:cNvPr id="1126" name="Graphic 3">
              <a:extLst>
                <a:ext uri="{FF2B5EF4-FFF2-40B4-BE49-F238E27FC236}">
                  <a16:creationId xmlns:a16="http://schemas.microsoft.com/office/drawing/2014/main" id="{FC80F212-B3BF-41D1-AAA1-BBDBDD3BD476}"/>
                </a:ext>
              </a:extLst>
            </p:cNvPr>
            <p:cNvGrpSpPr/>
            <p:nvPr/>
          </p:nvGrpSpPr>
          <p:grpSpPr>
            <a:xfrm>
              <a:off x="3939441" y="2971341"/>
              <a:ext cx="461393" cy="141231"/>
              <a:chOff x="3939441" y="2971341"/>
              <a:chExt cx="461393" cy="141231"/>
            </a:xfrm>
            <a:grpFill/>
          </p:grpSpPr>
          <p:sp>
            <p:nvSpPr>
              <p:cNvPr id="2022" name="Vrije vorm: vorm 2021">
                <a:extLst>
                  <a:ext uri="{FF2B5EF4-FFF2-40B4-BE49-F238E27FC236}">
                    <a16:creationId xmlns:a16="http://schemas.microsoft.com/office/drawing/2014/main" id="{776E3173-CE5F-441E-BFAE-944E0D5409A4}"/>
                  </a:ext>
                </a:extLst>
              </p:cNvPr>
              <p:cNvSpPr/>
              <p:nvPr/>
            </p:nvSpPr>
            <p:spPr>
              <a:xfrm>
                <a:off x="3947774" y="2978918"/>
                <a:ext cx="444726" cy="126073"/>
              </a:xfrm>
              <a:custGeom>
                <a:avLst/>
                <a:gdLst>
                  <a:gd name="connsiteX0" fmla="*/ 444726 w 444726"/>
                  <a:gd name="connsiteY0" fmla="*/ 123143 h 126073"/>
                  <a:gd name="connsiteX1" fmla="*/ 443949 w 444726"/>
                  <a:gd name="connsiteY1" fmla="*/ 126074 h 126073"/>
                  <a:gd name="connsiteX2" fmla="*/ 0 w 444726"/>
                  <a:gd name="connsiteY2" fmla="*/ 2990 h 126073"/>
                  <a:gd name="connsiteX3" fmla="*/ 837 w 444726"/>
                  <a:gd name="connsiteY3" fmla="*/ 0 h 126073"/>
                </a:gdLst>
                <a:ahLst/>
                <a:cxnLst>
                  <a:cxn ang="0">
                    <a:pos x="connsiteX0" y="connsiteY0"/>
                  </a:cxn>
                  <a:cxn ang="0">
                    <a:pos x="connsiteX1" y="connsiteY1"/>
                  </a:cxn>
                  <a:cxn ang="0">
                    <a:pos x="connsiteX2" y="connsiteY2"/>
                  </a:cxn>
                  <a:cxn ang="0">
                    <a:pos x="connsiteX3" y="connsiteY3"/>
                  </a:cxn>
                </a:cxnLst>
                <a:rect l="l" t="t" r="r" b="b"/>
                <a:pathLst>
                  <a:path w="444726" h="126073">
                    <a:moveTo>
                      <a:pt x="444726" y="123143"/>
                    </a:moveTo>
                    <a:lnTo>
                      <a:pt x="443949" y="126074"/>
                    </a:lnTo>
                    <a:lnTo>
                      <a:pt x="0" y="2990"/>
                    </a:lnTo>
                    <a:lnTo>
                      <a:pt x="837" y="0"/>
                    </a:lnTo>
                    <a:close/>
                  </a:path>
                </a:pathLst>
              </a:custGeom>
              <a:grpFill/>
              <a:ln w="5978" cap="flat">
                <a:noFill/>
                <a:prstDash val="solid"/>
                <a:miter/>
              </a:ln>
            </p:spPr>
            <p:txBody>
              <a:bodyPr rtlCol="0" anchor="ctr"/>
              <a:lstStyle/>
              <a:p>
                <a:endParaRPr lang="en-GB"/>
              </a:p>
            </p:txBody>
          </p:sp>
          <p:sp>
            <p:nvSpPr>
              <p:cNvPr id="2023" name="Vrije vorm: vorm 2022">
                <a:extLst>
                  <a:ext uri="{FF2B5EF4-FFF2-40B4-BE49-F238E27FC236}">
                    <a16:creationId xmlns:a16="http://schemas.microsoft.com/office/drawing/2014/main" id="{517B82CC-9A3D-477F-BB04-DFF8B328C66B}"/>
                  </a:ext>
                </a:extLst>
              </p:cNvPr>
              <p:cNvSpPr/>
              <p:nvPr/>
            </p:nvSpPr>
            <p:spPr>
              <a:xfrm>
                <a:off x="4382493" y="3094185"/>
                <a:ext cx="18341" cy="18387"/>
              </a:xfrm>
              <a:custGeom>
                <a:avLst/>
                <a:gdLst>
                  <a:gd name="connsiteX0" fmla="*/ 11563 w 18341"/>
                  <a:gd name="connsiteY0" fmla="*/ 340 h 18387"/>
                  <a:gd name="connsiteX1" fmla="*/ 18022 w 18341"/>
                  <a:gd name="connsiteY1" fmla="*/ 11644 h 18387"/>
                  <a:gd name="connsiteX2" fmla="*/ 6778 w 18341"/>
                  <a:gd name="connsiteY2" fmla="*/ 18043 h 18387"/>
                  <a:gd name="connsiteX3" fmla="*/ 319 w 18341"/>
                  <a:gd name="connsiteY3" fmla="*/ 6739 h 18387"/>
                  <a:gd name="connsiteX4" fmla="*/ 11563 w 18341"/>
                  <a:gd name="connsiteY4" fmla="*/ 34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7">
                    <a:moveTo>
                      <a:pt x="11563" y="340"/>
                    </a:moveTo>
                    <a:cubicBezTo>
                      <a:pt x="16467" y="1716"/>
                      <a:pt x="19338" y="6799"/>
                      <a:pt x="18022" y="11644"/>
                    </a:cubicBezTo>
                    <a:cubicBezTo>
                      <a:pt x="16706" y="16548"/>
                      <a:pt x="11683" y="19418"/>
                      <a:pt x="6778" y="18043"/>
                    </a:cubicBezTo>
                    <a:cubicBezTo>
                      <a:pt x="1874" y="16667"/>
                      <a:pt x="-997" y="11644"/>
                      <a:pt x="319" y="6739"/>
                    </a:cubicBezTo>
                    <a:cubicBezTo>
                      <a:pt x="1635" y="1895"/>
                      <a:pt x="6718" y="-1035"/>
                      <a:pt x="11563" y="340"/>
                    </a:cubicBezTo>
                    <a:close/>
                  </a:path>
                </a:pathLst>
              </a:custGeom>
              <a:grpFill/>
              <a:ln w="5978" cap="flat">
                <a:noFill/>
                <a:prstDash val="solid"/>
                <a:miter/>
              </a:ln>
            </p:spPr>
            <p:txBody>
              <a:bodyPr rtlCol="0" anchor="ctr"/>
              <a:lstStyle/>
              <a:p>
                <a:endParaRPr lang="en-GB"/>
              </a:p>
            </p:txBody>
          </p:sp>
          <p:sp>
            <p:nvSpPr>
              <p:cNvPr id="2024" name="Vrije vorm: vorm 2023">
                <a:extLst>
                  <a:ext uri="{FF2B5EF4-FFF2-40B4-BE49-F238E27FC236}">
                    <a16:creationId xmlns:a16="http://schemas.microsoft.com/office/drawing/2014/main" id="{55EF57D8-D28A-4186-AAE2-CBBE58AD5F3C}"/>
                  </a:ext>
                </a:extLst>
              </p:cNvPr>
              <p:cNvSpPr/>
              <p:nvPr/>
            </p:nvSpPr>
            <p:spPr>
              <a:xfrm>
                <a:off x="3939441" y="2971341"/>
                <a:ext cx="18341" cy="18387"/>
              </a:xfrm>
              <a:custGeom>
                <a:avLst/>
                <a:gdLst>
                  <a:gd name="connsiteX0" fmla="*/ 11563 w 18341"/>
                  <a:gd name="connsiteY0" fmla="*/ 340 h 18387"/>
                  <a:gd name="connsiteX1" fmla="*/ 319 w 18341"/>
                  <a:gd name="connsiteY1" fmla="*/ 6739 h 18387"/>
                  <a:gd name="connsiteX2" fmla="*/ 6778 w 18341"/>
                  <a:gd name="connsiteY2" fmla="*/ 18043 h 18387"/>
                  <a:gd name="connsiteX3" fmla="*/ 18022 w 18341"/>
                  <a:gd name="connsiteY3" fmla="*/ 11644 h 18387"/>
                  <a:gd name="connsiteX4" fmla="*/ 11563 w 18341"/>
                  <a:gd name="connsiteY4" fmla="*/ 34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7">
                    <a:moveTo>
                      <a:pt x="11563" y="340"/>
                    </a:moveTo>
                    <a:cubicBezTo>
                      <a:pt x="6659" y="-1036"/>
                      <a:pt x="1635" y="1895"/>
                      <a:pt x="319" y="6739"/>
                    </a:cubicBezTo>
                    <a:cubicBezTo>
                      <a:pt x="-997" y="11644"/>
                      <a:pt x="1874" y="16727"/>
                      <a:pt x="6778" y="18043"/>
                    </a:cubicBezTo>
                    <a:cubicBezTo>
                      <a:pt x="11683" y="19419"/>
                      <a:pt x="16706" y="16548"/>
                      <a:pt x="18022" y="11644"/>
                    </a:cubicBezTo>
                    <a:cubicBezTo>
                      <a:pt x="19338" y="6739"/>
                      <a:pt x="16467" y="1656"/>
                      <a:pt x="11563" y="340"/>
                    </a:cubicBezTo>
                    <a:close/>
                  </a:path>
                </a:pathLst>
              </a:custGeom>
              <a:grpFill/>
              <a:ln w="5978" cap="flat">
                <a:noFill/>
                <a:prstDash val="solid"/>
                <a:miter/>
              </a:ln>
            </p:spPr>
            <p:txBody>
              <a:bodyPr rtlCol="0" anchor="ctr"/>
              <a:lstStyle/>
              <a:p>
                <a:endParaRPr lang="en-GB"/>
              </a:p>
            </p:txBody>
          </p:sp>
        </p:grpSp>
        <p:grpSp>
          <p:nvGrpSpPr>
            <p:cNvPr id="1127" name="Graphic 3">
              <a:extLst>
                <a:ext uri="{FF2B5EF4-FFF2-40B4-BE49-F238E27FC236}">
                  <a16:creationId xmlns:a16="http://schemas.microsoft.com/office/drawing/2014/main" id="{3DAA404C-E09A-4A1F-B260-310F0B59E04D}"/>
                </a:ext>
              </a:extLst>
            </p:cNvPr>
            <p:cNvGrpSpPr/>
            <p:nvPr/>
          </p:nvGrpSpPr>
          <p:grpSpPr>
            <a:xfrm>
              <a:off x="3909828" y="2707604"/>
              <a:ext cx="335813" cy="122481"/>
              <a:chOff x="3909828" y="2707604"/>
              <a:chExt cx="335813" cy="122481"/>
            </a:xfrm>
            <a:grpFill/>
          </p:grpSpPr>
          <p:sp>
            <p:nvSpPr>
              <p:cNvPr id="2019" name="Vrije vorm: vorm 2018">
                <a:extLst>
                  <a:ext uri="{FF2B5EF4-FFF2-40B4-BE49-F238E27FC236}">
                    <a16:creationId xmlns:a16="http://schemas.microsoft.com/office/drawing/2014/main" id="{E9FFD6C8-6C2C-4C78-AB7A-4D7D12934E0A}"/>
                  </a:ext>
                </a:extLst>
              </p:cNvPr>
              <p:cNvSpPr/>
              <p:nvPr/>
            </p:nvSpPr>
            <p:spPr>
              <a:xfrm>
                <a:off x="3918110" y="2715228"/>
                <a:ext cx="319310" cy="107294"/>
              </a:xfrm>
              <a:custGeom>
                <a:avLst/>
                <a:gdLst>
                  <a:gd name="connsiteX0" fmla="*/ 319311 w 319310"/>
                  <a:gd name="connsiteY0" fmla="*/ 104363 h 107294"/>
                  <a:gd name="connsiteX1" fmla="*/ 318354 w 319310"/>
                  <a:gd name="connsiteY1" fmla="*/ 107294 h 107294"/>
                  <a:gd name="connsiteX2" fmla="*/ 0 w 319310"/>
                  <a:gd name="connsiteY2" fmla="*/ 2930 h 107294"/>
                  <a:gd name="connsiteX3" fmla="*/ 957 w 319310"/>
                  <a:gd name="connsiteY3" fmla="*/ 0 h 107294"/>
                </a:gdLst>
                <a:ahLst/>
                <a:cxnLst>
                  <a:cxn ang="0">
                    <a:pos x="connsiteX0" y="connsiteY0"/>
                  </a:cxn>
                  <a:cxn ang="0">
                    <a:pos x="connsiteX1" y="connsiteY1"/>
                  </a:cxn>
                  <a:cxn ang="0">
                    <a:pos x="connsiteX2" y="connsiteY2"/>
                  </a:cxn>
                  <a:cxn ang="0">
                    <a:pos x="connsiteX3" y="connsiteY3"/>
                  </a:cxn>
                </a:cxnLst>
                <a:rect l="l" t="t" r="r" b="b"/>
                <a:pathLst>
                  <a:path w="319310" h="107294">
                    <a:moveTo>
                      <a:pt x="319311" y="104363"/>
                    </a:moveTo>
                    <a:lnTo>
                      <a:pt x="318354" y="107294"/>
                    </a:lnTo>
                    <a:lnTo>
                      <a:pt x="0" y="2930"/>
                    </a:lnTo>
                    <a:lnTo>
                      <a:pt x="957" y="0"/>
                    </a:lnTo>
                    <a:close/>
                  </a:path>
                </a:pathLst>
              </a:custGeom>
              <a:grpFill/>
              <a:ln w="5978" cap="flat">
                <a:noFill/>
                <a:prstDash val="solid"/>
                <a:miter/>
              </a:ln>
            </p:spPr>
            <p:txBody>
              <a:bodyPr rtlCol="0" anchor="ctr"/>
              <a:lstStyle/>
              <a:p>
                <a:endParaRPr lang="en-GB"/>
              </a:p>
            </p:txBody>
          </p:sp>
          <p:sp>
            <p:nvSpPr>
              <p:cNvPr id="2020" name="Vrije vorm: vorm 2019">
                <a:extLst>
                  <a:ext uri="{FF2B5EF4-FFF2-40B4-BE49-F238E27FC236}">
                    <a16:creationId xmlns:a16="http://schemas.microsoft.com/office/drawing/2014/main" id="{2352B813-5806-48EC-B265-B467C9DD5CE2}"/>
                  </a:ext>
                </a:extLst>
              </p:cNvPr>
              <p:cNvSpPr/>
              <p:nvPr/>
            </p:nvSpPr>
            <p:spPr>
              <a:xfrm>
                <a:off x="3909828" y="2707604"/>
                <a:ext cx="18357" cy="18439"/>
              </a:xfrm>
              <a:custGeom>
                <a:avLst/>
                <a:gdLst>
                  <a:gd name="connsiteX0" fmla="*/ 6368 w 18357"/>
                  <a:gd name="connsiteY0" fmla="*/ 17970 h 18439"/>
                  <a:gd name="connsiteX1" fmla="*/ 447 w 18357"/>
                  <a:gd name="connsiteY1" fmla="*/ 6368 h 18439"/>
                  <a:gd name="connsiteX2" fmla="*/ 11990 w 18357"/>
                  <a:gd name="connsiteY2" fmla="*/ 447 h 18439"/>
                  <a:gd name="connsiteX3" fmla="*/ 17911 w 18357"/>
                  <a:gd name="connsiteY3" fmla="*/ 12049 h 18439"/>
                  <a:gd name="connsiteX4" fmla="*/ 6368 w 18357"/>
                  <a:gd name="connsiteY4" fmla="*/ 1797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39">
                    <a:moveTo>
                      <a:pt x="6368" y="17970"/>
                    </a:moveTo>
                    <a:cubicBezTo>
                      <a:pt x="1523" y="16415"/>
                      <a:pt x="-1108" y="11212"/>
                      <a:pt x="447" y="6368"/>
                    </a:cubicBezTo>
                    <a:cubicBezTo>
                      <a:pt x="2002" y="1523"/>
                      <a:pt x="7145" y="-1108"/>
                      <a:pt x="11990" y="447"/>
                    </a:cubicBezTo>
                    <a:cubicBezTo>
                      <a:pt x="16834" y="2002"/>
                      <a:pt x="19465" y="7205"/>
                      <a:pt x="17911" y="12049"/>
                    </a:cubicBezTo>
                    <a:cubicBezTo>
                      <a:pt x="16356" y="16894"/>
                      <a:pt x="11212" y="19585"/>
                      <a:pt x="6368" y="17970"/>
                    </a:cubicBezTo>
                    <a:close/>
                  </a:path>
                </a:pathLst>
              </a:custGeom>
              <a:grpFill/>
              <a:ln w="5978" cap="flat">
                <a:noFill/>
                <a:prstDash val="solid"/>
                <a:miter/>
              </a:ln>
            </p:spPr>
            <p:txBody>
              <a:bodyPr rtlCol="0" anchor="ctr"/>
              <a:lstStyle/>
              <a:p>
                <a:endParaRPr lang="en-GB"/>
              </a:p>
            </p:txBody>
          </p:sp>
          <p:sp>
            <p:nvSpPr>
              <p:cNvPr id="2021" name="Vrije vorm: vorm 2020">
                <a:extLst>
                  <a:ext uri="{FF2B5EF4-FFF2-40B4-BE49-F238E27FC236}">
                    <a16:creationId xmlns:a16="http://schemas.microsoft.com/office/drawing/2014/main" id="{0AB0DACA-5920-4484-9F52-441266A0FA86}"/>
                  </a:ext>
                </a:extLst>
              </p:cNvPr>
              <p:cNvSpPr/>
              <p:nvPr/>
            </p:nvSpPr>
            <p:spPr>
              <a:xfrm>
                <a:off x="4227313" y="2811669"/>
                <a:ext cx="18329" cy="18416"/>
              </a:xfrm>
              <a:custGeom>
                <a:avLst/>
                <a:gdLst>
                  <a:gd name="connsiteX0" fmla="*/ 6340 w 18329"/>
                  <a:gd name="connsiteY0" fmla="*/ 17970 h 18416"/>
                  <a:gd name="connsiteX1" fmla="*/ 17882 w 18329"/>
                  <a:gd name="connsiteY1" fmla="*/ 12049 h 18416"/>
                  <a:gd name="connsiteX2" fmla="*/ 11962 w 18329"/>
                  <a:gd name="connsiteY2" fmla="*/ 447 h 18416"/>
                  <a:gd name="connsiteX3" fmla="*/ 419 w 18329"/>
                  <a:gd name="connsiteY3" fmla="*/ 6368 h 18416"/>
                  <a:gd name="connsiteX4" fmla="*/ 6340 w 18329"/>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6">
                    <a:moveTo>
                      <a:pt x="6340" y="17970"/>
                    </a:moveTo>
                    <a:cubicBezTo>
                      <a:pt x="11184" y="19525"/>
                      <a:pt x="16327" y="16894"/>
                      <a:pt x="17882" y="12049"/>
                    </a:cubicBezTo>
                    <a:cubicBezTo>
                      <a:pt x="19438" y="7205"/>
                      <a:pt x="16806" y="2002"/>
                      <a:pt x="11962" y="447"/>
                    </a:cubicBezTo>
                    <a:cubicBezTo>
                      <a:pt x="7117" y="-1108"/>
                      <a:pt x="1974" y="1523"/>
                      <a:pt x="419" y="6368"/>
                    </a:cubicBezTo>
                    <a:cubicBezTo>
                      <a:pt x="-1076" y="11212"/>
                      <a:pt x="1555" y="16415"/>
                      <a:pt x="6340" y="17970"/>
                    </a:cubicBezTo>
                    <a:close/>
                  </a:path>
                </a:pathLst>
              </a:custGeom>
              <a:grpFill/>
              <a:ln w="5978" cap="flat">
                <a:noFill/>
                <a:prstDash val="solid"/>
                <a:miter/>
              </a:ln>
            </p:spPr>
            <p:txBody>
              <a:bodyPr rtlCol="0" anchor="ctr"/>
              <a:lstStyle/>
              <a:p>
                <a:endParaRPr lang="en-GB"/>
              </a:p>
            </p:txBody>
          </p:sp>
        </p:grpSp>
        <p:grpSp>
          <p:nvGrpSpPr>
            <p:cNvPr id="1128" name="Graphic 3">
              <a:extLst>
                <a:ext uri="{FF2B5EF4-FFF2-40B4-BE49-F238E27FC236}">
                  <a16:creationId xmlns:a16="http://schemas.microsoft.com/office/drawing/2014/main" id="{E2F59303-998F-4823-B65B-F5CF9B414D37}"/>
                </a:ext>
              </a:extLst>
            </p:cNvPr>
            <p:cNvGrpSpPr/>
            <p:nvPr/>
          </p:nvGrpSpPr>
          <p:grpSpPr>
            <a:xfrm>
              <a:off x="4591904" y="4378757"/>
              <a:ext cx="58333" cy="45930"/>
              <a:chOff x="4591904" y="4378757"/>
              <a:chExt cx="58333" cy="45930"/>
            </a:xfrm>
            <a:grpFill/>
          </p:grpSpPr>
          <p:sp>
            <p:nvSpPr>
              <p:cNvPr id="2016" name="Vrije vorm: vorm 2015">
                <a:extLst>
                  <a:ext uri="{FF2B5EF4-FFF2-40B4-BE49-F238E27FC236}">
                    <a16:creationId xmlns:a16="http://schemas.microsoft.com/office/drawing/2014/main" id="{D558BED9-0B7B-449E-B6A0-FD06B97D9167}"/>
                  </a:ext>
                </a:extLst>
              </p:cNvPr>
              <p:cNvSpPr/>
              <p:nvPr/>
            </p:nvSpPr>
            <p:spPr>
              <a:xfrm>
                <a:off x="4599793" y="4386421"/>
                <a:ext cx="42522" cy="30561"/>
              </a:xfrm>
              <a:custGeom>
                <a:avLst/>
                <a:gdLst>
                  <a:gd name="connsiteX0" fmla="*/ 42523 w 42522"/>
                  <a:gd name="connsiteY0" fmla="*/ 2512 h 30561"/>
                  <a:gd name="connsiteX1" fmla="*/ 1734 w 42522"/>
                  <a:gd name="connsiteY1" fmla="*/ 30561 h 30561"/>
                  <a:gd name="connsiteX2" fmla="*/ 0 w 42522"/>
                  <a:gd name="connsiteY2" fmla="*/ 28049 h 30561"/>
                  <a:gd name="connsiteX3" fmla="*/ 40848 w 42522"/>
                  <a:gd name="connsiteY3" fmla="*/ 0 h 30561"/>
                </a:gdLst>
                <a:ahLst/>
                <a:cxnLst>
                  <a:cxn ang="0">
                    <a:pos x="connsiteX0" y="connsiteY0"/>
                  </a:cxn>
                  <a:cxn ang="0">
                    <a:pos x="connsiteX1" y="connsiteY1"/>
                  </a:cxn>
                  <a:cxn ang="0">
                    <a:pos x="connsiteX2" y="connsiteY2"/>
                  </a:cxn>
                  <a:cxn ang="0">
                    <a:pos x="connsiteX3" y="connsiteY3"/>
                  </a:cxn>
                </a:cxnLst>
                <a:rect l="l" t="t" r="r" b="b"/>
                <a:pathLst>
                  <a:path w="42522" h="30561">
                    <a:moveTo>
                      <a:pt x="42523" y="2512"/>
                    </a:moveTo>
                    <a:lnTo>
                      <a:pt x="1734" y="30561"/>
                    </a:lnTo>
                    <a:lnTo>
                      <a:pt x="0" y="28049"/>
                    </a:lnTo>
                    <a:lnTo>
                      <a:pt x="40848" y="0"/>
                    </a:lnTo>
                    <a:close/>
                  </a:path>
                </a:pathLst>
              </a:custGeom>
              <a:grpFill/>
              <a:ln w="5978" cap="flat">
                <a:noFill/>
                <a:prstDash val="solid"/>
                <a:miter/>
              </a:ln>
            </p:spPr>
            <p:txBody>
              <a:bodyPr rtlCol="0" anchor="ctr"/>
              <a:lstStyle/>
              <a:p>
                <a:endParaRPr lang="en-GB"/>
              </a:p>
            </p:txBody>
          </p:sp>
          <p:sp>
            <p:nvSpPr>
              <p:cNvPr id="2017" name="Vrije vorm: vorm 2016">
                <a:extLst>
                  <a:ext uri="{FF2B5EF4-FFF2-40B4-BE49-F238E27FC236}">
                    <a16:creationId xmlns:a16="http://schemas.microsoft.com/office/drawing/2014/main" id="{8037263B-6F3B-4C13-8A11-CAF57130AAA5}"/>
                  </a:ext>
                </a:extLst>
              </p:cNvPr>
              <p:cNvSpPr/>
              <p:nvPr/>
            </p:nvSpPr>
            <p:spPr>
              <a:xfrm>
                <a:off x="4591904" y="4406226"/>
                <a:ext cx="18306" cy="18461"/>
              </a:xfrm>
              <a:custGeom>
                <a:avLst/>
                <a:gdLst>
                  <a:gd name="connsiteX0" fmla="*/ 14348 w 18306"/>
                  <a:gd name="connsiteY0" fmla="*/ 16856 h 18461"/>
                  <a:gd name="connsiteX1" fmla="*/ 1609 w 18306"/>
                  <a:gd name="connsiteY1" fmla="*/ 14404 h 18461"/>
                  <a:gd name="connsiteX2" fmla="*/ 4001 w 18306"/>
                  <a:gd name="connsiteY2" fmla="*/ 1605 h 18461"/>
                  <a:gd name="connsiteX3" fmla="*/ 16740 w 18306"/>
                  <a:gd name="connsiteY3" fmla="*/ 4058 h 18461"/>
                  <a:gd name="connsiteX4" fmla="*/ 14348 w 18306"/>
                  <a:gd name="connsiteY4" fmla="*/ 1685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61">
                    <a:moveTo>
                      <a:pt x="14348" y="16856"/>
                    </a:moveTo>
                    <a:cubicBezTo>
                      <a:pt x="10161" y="19727"/>
                      <a:pt x="4480" y="18651"/>
                      <a:pt x="1609" y="14404"/>
                    </a:cubicBezTo>
                    <a:cubicBezTo>
                      <a:pt x="-1262" y="10218"/>
                      <a:pt x="-186" y="4476"/>
                      <a:pt x="4001" y="1605"/>
                    </a:cubicBezTo>
                    <a:cubicBezTo>
                      <a:pt x="8188" y="-1265"/>
                      <a:pt x="13869" y="-189"/>
                      <a:pt x="16740" y="4058"/>
                    </a:cubicBezTo>
                    <a:cubicBezTo>
                      <a:pt x="19551" y="8244"/>
                      <a:pt x="18474" y="13985"/>
                      <a:pt x="14348" y="16856"/>
                    </a:cubicBezTo>
                    <a:close/>
                  </a:path>
                </a:pathLst>
              </a:custGeom>
              <a:grpFill/>
              <a:ln w="5978" cap="flat">
                <a:noFill/>
                <a:prstDash val="solid"/>
                <a:miter/>
              </a:ln>
            </p:spPr>
            <p:txBody>
              <a:bodyPr rtlCol="0" anchor="ctr"/>
              <a:lstStyle/>
              <a:p>
                <a:endParaRPr lang="en-GB"/>
              </a:p>
            </p:txBody>
          </p:sp>
          <p:sp>
            <p:nvSpPr>
              <p:cNvPr id="2018" name="Vrije vorm: vorm 2017">
                <a:extLst>
                  <a:ext uri="{FF2B5EF4-FFF2-40B4-BE49-F238E27FC236}">
                    <a16:creationId xmlns:a16="http://schemas.microsoft.com/office/drawing/2014/main" id="{7008073B-6371-4960-91D0-AEAAC4B3BB73}"/>
                  </a:ext>
                </a:extLst>
              </p:cNvPr>
              <p:cNvSpPr/>
              <p:nvPr/>
            </p:nvSpPr>
            <p:spPr>
              <a:xfrm>
                <a:off x="4631941" y="4378757"/>
                <a:ext cx="18296" cy="18419"/>
              </a:xfrm>
              <a:custGeom>
                <a:avLst/>
                <a:gdLst>
                  <a:gd name="connsiteX0" fmla="*/ 14321 w 18296"/>
                  <a:gd name="connsiteY0" fmla="*/ 16814 h 18419"/>
                  <a:gd name="connsiteX1" fmla="*/ 16714 w 18296"/>
                  <a:gd name="connsiteY1" fmla="*/ 4015 h 18419"/>
                  <a:gd name="connsiteX2" fmla="*/ 3975 w 18296"/>
                  <a:gd name="connsiteY2" fmla="*/ 1563 h 18419"/>
                  <a:gd name="connsiteX3" fmla="*/ 1582 w 18296"/>
                  <a:gd name="connsiteY3" fmla="*/ 14362 h 18419"/>
                  <a:gd name="connsiteX4" fmla="*/ 14321 w 18296"/>
                  <a:gd name="connsiteY4" fmla="*/ 1681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9">
                    <a:moveTo>
                      <a:pt x="14321" y="16814"/>
                    </a:moveTo>
                    <a:cubicBezTo>
                      <a:pt x="18508" y="13944"/>
                      <a:pt x="19524" y="8202"/>
                      <a:pt x="16714" y="4015"/>
                    </a:cubicBezTo>
                    <a:cubicBezTo>
                      <a:pt x="13843" y="-171"/>
                      <a:pt x="8161" y="-1248"/>
                      <a:pt x="3975" y="1563"/>
                    </a:cubicBezTo>
                    <a:cubicBezTo>
                      <a:pt x="-212" y="4434"/>
                      <a:pt x="-1228" y="10176"/>
                      <a:pt x="1582" y="14362"/>
                    </a:cubicBezTo>
                    <a:cubicBezTo>
                      <a:pt x="4453" y="18608"/>
                      <a:pt x="10195" y="19685"/>
                      <a:pt x="14321" y="16814"/>
                    </a:cubicBezTo>
                    <a:close/>
                  </a:path>
                </a:pathLst>
              </a:custGeom>
              <a:grpFill/>
              <a:ln w="5978" cap="flat">
                <a:noFill/>
                <a:prstDash val="solid"/>
                <a:miter/>
              </a:ln>
            </p:spPr>
            <p:txBody>
              <a:bodyPr rtlCol="0" anchor="ctr"/>
              <a:lstStyle/>
              <a:p>
                <a:endParaRPr lang="en-GB"/>
              </a:p>
            </p:txBody>
          </p:sp>
        </p:grpSp>
        <p:grpSp>
          <p:nvGrpSpPr>
            <p:cNvPr id="1129" name="Graphic 3">
              <a:extLst>
                <a:ext uri="{FF2B5EF4-FFF2-40B4-BE49-F238E27FC236}">
                  <a16:creationId xmlns:a16="http://schemas.microsoft.com/office/drawing/2014/main" id="{DDAECF49-1E8D-433D-93E9-B1805766E461}"/>
                </a:ext>
              </a:extLst>
            </p:cNvPr>
            <p:cNvGrpSpPr/>
            <p:nvPr/>
          </p:nvGrpSpPr>
          <p:grpSpPr>
            <a:xfrm>
              <a:off x="4630038" y="4524933"/>
              <a:ext cx="95546" cy="82846"/>
              <a:chOff x="4630038" y="4524933"/>
              <a:chExt cx="95546" cy="82846"/>
            </a:xfrm>
            <a:grpFill/>
          </p:grpSpPr>
          <p:sp>
            <p:nvSpPr>
              <p:cNvPr id="2013" name="Vrije vorm: vorm 2012">
                <a:extLst>
                  <a:ext uri="{FF2B5EF4-FFF2-40B4-BE49-F238E27FC236}">
                    <a16:creationId xmlns:a16="http://schemas.microsoft.com/office/drawing/2014/main" id="{FF7E2016-2510-4648-BBA1-F06762481C70}"/>
                  </a:ext>
                </a:extLst>
              </p:cNvPr>
              <p:cNvSpPr/>
              <p:nvPr/>
            </p:nvSpPr>
            <p:spPr>
              <a:xfrm>
                <a:off x="4637890" y="4532709"/>
                <a:ext cx="79842" cy="67342"/>
              </a:xfrm>
              <a:custGeom>
                <a:avLst/>
                <a:gdLst>
                  <a:gd name="connsiteX0" fmla="*/ 79843 w 79842"/>
                  <a:gd name="connsiteY0" fmla="*/ 2333 h 67342"/>
                  <a:gd name="connsiteX1" fmla="*/ 1973 w 79842"/>
                  <a:gd name="connsiteY1" fmla="*/ 67343 h 67342"/>
                  <a:gd name="connsiteX2" fmla="*/ 0 w 79842"/>
                  <a:gd name="connsiteY2" fmla="*/ 64951 h 67342"/>
                  <a:gd name="connsiteX3" fmla="*/ 77869 w 79842"/>
                  <a:gd name="connsiteY3" fmla="*/ 0 h 67342"/>
                </a:gdLst>
                <a:ahLst/>
                <a:cxnLst>
                  <a:cxn ang="0">
                    <a:pos x="connsiteX0" y="connsiteY0"/>
                  </a:cxn>
                  <a:cxn ang="0">
                    <a:pos x="connsiteX1" y="connsiteY1"/>
                  </a:cxn>
                  <a:cxn ang="0">
                    <a:pos x="connsiteX2" y="connsiteY2"/>
                  </a:cxn>
                  <a:cxn ang="0">
                    <a:pos x="connsiteX3" y="connsiteY3"/>
                  </a:cxn>
                </a:cxnLst>
                <a:rect l="l" t="t" r="r" b="b"/>
                <a:pathLst>
                  <a:path w="79842" h="67342">
                    <a:moveTo>
                      <a:pt x="79843" y="2333"/>
                    </a:moveTo>
                    <a:lnTo>
                      <a:pt x="1973" y="67343"/>
                    </a:lnTo>
                    <a:lnTo>
                      <a:pt x="0" y="64951"/>
                    </a:lnTo>
                    <a:lnTo>
                      <a:pt x="77869" y="0"/>
                    </a:lnTo>
                    <a:close/>
                  </a:path>
                </a:pathLst>
              </a:custGeom>
              <a:grpFill/>
              <a:ln w="5978" cap="flat">
                <a:noFill/>
                <a:prstDash val="solid"/>
                <a:miter/>
              </a:ln>
            </p:spPr>
            <p:txBody>
              <a:bodyPr rtlCol="0" anchor="ctr"/>
              <a:lstStyle/>
              <a:p>
                <a:endParaRPr lang="en-GB"/>
              </a:p>
            </p:txBody>
          </p:sp>
          <p:sp>
            <p:nvSpPr>
              <p:cNvPr id="2014" name="Vrije vorm: vorm 2013">
                <a:extLst>
                  <a:ext uri="{FF2B5EF4-FFF2-40B4-BE49-F238E27FC236}">
                    <a16:creationId xmlns:a16="http://schemas.microsoft.com/office/drawing/2014/main" id="{89B13434-4C63-44E3-95EA-F37234769BDD}"/>
                  </a:ext>
                </a:extLst>
              </p:cNvPr>
              <p:cNvSpPr/>
              <p:nvPr/>
            </p:nvSpPr>
            <p:spPr>
              <a:xfrm>
                <a:off x="4630038" y="4589335"/>
                <a:ext cx="18335" cy="18444"/>
              </a:xfrm>
              <a:custGeom>
                <a:avLst/>
                <a:gdLst>
                  <a:gd name="connsiteX0" fmla="*/ 15029 w 18335"/>
                  <a:gd name="connsiteY0" fmla="*/ 16339 h 18444"/>
                  <a:gd name="connsiteX1" fmla="*/ 2110 w 18335"/>
                  <a:gd name="connsiteY1" fmla="*/ 15083 h 18444"/>
                  <a:gd name="connsiteX2" fmla="*/ 3307 w 18335"/>
                  <a:gd name="connsiteY2" fmla="*/ 2105 h 18444"/>
                  <a:gd name="connsiteX3" fmla="*/ 16225 w 18335"/>
                  <a:gd name="connsiteY3" fmla="*/ 3361 h 18444"/>
                  <a:gd name="connsiteX4" fmla="*/ 15029 w 18335"/>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39"/>
                    </a:moveTo>
                    <a:cubicBezTo>
                      <a:pt x="11141" y="19569"/>
                      <a:pt x="5340" y="19031"/>
                      <a:pt x="2110" y="15083"/>
                    </a:cubicBezTo>
                    <a:cubicBezTo>
                      <a:pt x="-1119" y="11136"/>
                      <a:pt x="-581" y="5335"/>
                      <a:pt x="3307" y="2105"/>
                    </a:cubicBezTo>
                    <a:cubicBezTo>
                      <a:pt x="7194" y="-1124"/>
                      <a:pt x="12995" y="-586"/>
                      <a:pt x="16225" y="3361"/>
                    </a:cubicBezTo>
                    <a:cubicBezTo>
                      <a:pt x="19455" y="7249"/>
                      <a:pt x="18916" y="13110"/>
                      <a:pt x="15029" y="16339"/>
                    </a:cubicBezTo>
                    <a:close/>
                  </a:path>
                </a:pathLst>
              </a:custGeom>
              <a:grpFill/>
              <a:ln w="5978" cap="flat">
                <a:noFill/>
                <a:prstDash val="solid"/>
                <a:miter/>
              </a:ln>
            </p:spPr>
            <p:txBody>
              <a:bodyPr rtlCol="0" anchor="ctr"/>
              <a:lstStyle/>
              <a:p>
                <a:endParaRPr lang="en-GB"/>
              </a:p>
            </p:txBody>
          </p:sp>
          <p:sp>
            <p:nvSpPr>
              <p:cNvPr id="2015" name="Vrije vorm: vorm 2014">
                <a:extLst>
                  <a:ext uri="{FF2B5EF4-FFF2-40B4-BE49-F238E27FC236}">
                    <a16:creationId xmlns:a16="http://schemas.microsoft.com/office/drawing/2014/main" id="{428DE328-416B-46B1-AB2C-1048FC9ADF25}"/>
                  </a:ext>
                </a:extLst>
              </p:cNvPr>
              <p:cNvSpPr/>
              <p:nvPr/>
            </p:nvSpPr>
            <p:spPr>
              <a:xfrm>
                <a:off x="4707249" y="4524933"/>
                <a:ext cx="18335" cy="18439"/>
              </a:xfrm>
              <a:custGeom>
                <a:avLst/>
                <a:gdLst>
                  <a:gd name="connsiteX0" fmla="*/ 15029 w 18335"/>
                  <a:gd name="connsiteY0" fmla="*/ 16329 h 18439"/>
                  <a:gd name="connsiteX1" fmla="*/ 16225 w 18335"/>
                  <a:gd name="connsiteY1" fmla="*/ 3351 h 18439"/>
                  <a:gd name="connsiteX2" fmla="*/ 3306 w 18335"/>
                  <a:gd name="connsiteY2" fmla="*/ 2154 h 18439"/>
                  <a:gd name="connsiteX3" fmla="*/ 2110 w 18335"/>
                  <a:gd name="connsiteY3" fmla="*/ 15133 h 18439"/>
                  <a:gd name="connsiteX4" fmla="*/ 15029 w 18335"/>
                  <a:gd name="connsiteY4" fmla="*/ 16329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9">
                    <a:moveTo>
                      <a:pt x="15029" y="16329"/>
                    </a:moveTo>
                    <a:cubicBezTo>
                      <a:pt x="18916" y="13099"/>
                      <a:pt x="19454" y="7298"/>
                      <a:pt x="16225" y="3351"/>
                    </a:cubicBezTo>
                    <a:cubicBezTo>
                      <a:pt x="12995" y="-596"/>
                      <a:pt x="7194" y="-1135"/>
                      <a:pt x="3306" y="2154"/>
                    </a:cubicBezTo>
                    <a:cubicBezTo>
                      <a:pt x="-581" y="5384"/>
                      <a:pt x="-1119" y="11185"/>
                      <a:pt x="2110" y="15133"/>
                    </a:cubicBezTo>
                    <a:cubicBezTo>
                      <a:pt x="5340" y="19020"/>
                      <a:pt x="11141" y="19559"/>
                      <a:pt x="15029" y="16329"/>
                    </a:cubicBezTo>
                    <a:close/>
                  </a:path>
                </a:pathLst>
              </a:custGeom>
              <a:grpFill/>
              <a:ln w="5978" cap="flat">
                <a:noFill/>
                <a:prstDash val="solid"/>
                <a:miter/>
              </a:ln>
            </p:spPr>
            <p:txBody>
              <a:bodyPr rtlCol="0" anchor="ctr"/>
              <a:lstStyle/>
              <a:p>
                <a:endParaRPr lang="en-GB"/>
              </a:p>
            </p:txBody>
          </p:sp>
        </p:grpSp>
        <p:grpSp>
          <p:nvGrpSpPr>
            <p:cNvPr id="1130" name="Graphic 3">
              <a:extLst>
                <a:ext uri="{FF2B5EF4-FFF2-40B4-BE49-F238E27FC236}">
                  <a16:creationId xmlns:a16="http://schemas.microsoft.com/office/drawing/2014/main" id="{6F7F621F-C5B3-4F2E-AFEE-67B06C3CD95E}"/>
                </a:ext>
              </a:extLst>
            </p:cNvPr>
            <p:cNvGrpSpPr/>
            <p:nvPr/>
          </p:nvGrpSpPr>
          <p:grpSpPr>
            <a:xfrm>
              <a:off x="4722313" y="4803920"/>
              <a:ext cx="103575" cy="114501"/>
              <a:chOff x="4722313" y="4803920"/>
              <a:chExt cx="103575" cy="114501"/>
            </a:xfrm>
            <a:grpFill/>
          </p:grpSpPr>
          <p:sp>
            <p:nvSpPr>
              <p:cNvPr id="2010" name="Vrije vorm: vorm 2009">
                <a:extLst>
                  <a:ext uri="{FF2B5EF4-FFF2-40B4-BE49-F238E27FC236}">
                    <a16:creationId xmlns:a16="http://schemas.microsoft.com/office/drawing/2014/main" id="{1CC71A2B-D4A0-4BF9-BB32-6D227EBFA6F4}"/>
                  </a:ext>
                </a:extLst>
              </p:cNvPr>
              <p:cNvSpPr/>
              <p:nvPr/>
            </p:nvSpPr>
            <p:spPr>
              <a:xfrm>
                <a:off x="4730053" y="4811770"/>
                <a:ext cx="88095" cy="98801"/>
              </a:xfrm>
              <a:custGeom>
                <a:avLst/>
                <a:gdLst>
                  <a:gd name="connsiteX0" fmla="*/ 88096 w 88095"/>
                  <a:gd name="connsiteY0" fmla="*/ 2033 h 98801"/>
                  <a:gd name="connsiteX1" fmla="*/ 2273 w 88095"/>
                  <a:gd name="connsiteY1" fmla="*/ 98801 h 98801"/>
                  <a:gd name="connsiteX2" fmla="*/ 0 w 88095"/>
                  <a:gd name="connsiteY2" fmla="*/ 96768 h 98801"/>
                  <a:gd name="connsiteX3" fmla="*/ 85824 w 88095"/>
                  <a:gd name="connsiteY3" fmla="*/ 0 h 98801"/>
                </a:gdLst>
                <a:ahLst/>
                <a:cxnLst>
                  <a:cxn ang="0">
                    <a:pos x="connsiteX0" y="connsiteY0"/>
                  </a:cxn>
                  <a:cxn ang="0">
                    <a:pos x="connsiteX1" y="connsiteY1"/>
                  </a:cxn>
                  <a:cxn ang="0">
                    <a:pos x="connsiteX2" y="connsiteY2"/>
                  </a:cxn>
                  <a:cxn ang="0">
                    <a:pos x="connsiteX3" y="connsiteY3"/>
                  </a:cxn>
                </a:cxnLst>
                <a:rect l="l" t="t" r="r" b="b"/>
                <a:pathLst>
                  <a:path w="88095" h="98801">
                    <a:moveTo>
                      <a:pt x="88096" y="2033"/>
                    </a:moveTo>
                    <a:lnTo>
                      <a:pt x="2273" y="98801"/>
                    </a:lnTo>
                    <a:lnTo>
                      <a:pt x="0" y="96768"/>
                    </a:lnTo>
                    <a:lnTo>
                      <a:pt x="85824" y="0"/>
                    </a:lnTo>
                    <a:close/>
                  </a:path>
                </a:pathLst>
              </a:custGeom>
              <a:grpFill/>
              <a:ln w="5978" cap="flat">
                <a:noFill/>
                <a:prstDash val="solid"/>
                <a:miter/>
              </a:ln>
            </p:spPr>
            <p:txBody>
              <a:bodyPr rtlCol="0" anchor="ctr"/>
              <a:lstStyle/>
              <a:p>
                <a:endParaRPr lang="en-GB"/>
              </a:p>
            </p:txBody>
          </p:sp>
          <p:sp>
            <p:nvSpPr>
              <p:cNvPr id="2011" name="Vrije vorm: vorm 2010">
                <a:extLst>
                  <a:ext uri="{FF2B5EF4-FFF2-40B4-BE49-F238E27FC236}">
                    <a16:creationId xmlns:a16="http://schemas.microsoft.com/office/drawing/2014/main" id="{8D2255CA-6E7C-4FB4-BB03-20FFB8B92860}"/>
                  </a:ext>
                </a:extLst>
              </p:cNvPr>
              <p:cNvSpPr/>
              <p:nvPr/>
            </p:nvSpPr>
            <p:spPr>
              <a:xfrm>
                <a:off x="4722313" y="4899970"/>
                <a:ext cx="18334" cy="18450"/>
              </a:xfrm>
              <a:custGeom>
                <a:avLst/>
                <a:gdLst>
                  <a:gd name="connsiteX0" fmla="*/ 15993 w 18334"/>
                  <a:gd name="connsiteY0" fmla="*/ 15385 h 18450"/>
                  <a:gd name="connsiteX1" fmla="*/ 3075 w 18334"/>
                  <a:gd name="connsiteY1" fmla="*/ 16103 h 18450"/>
                  <a:gd name="connsiteX2" fmla="*/ 2297 w 18334"/>
                  <a:gd name="connsiteY2" fmla="*/ 3065 h 18450"/>
                  <a:gd name="connsiteX3" fmla="*/ 15215 w 18334"/>
                  <a:gd name="connsiteY3" fmla="*/ 2348 h 18450"/>
                  <a:gd name="connsiteX4" fmla="*/ 15993 w 18334"/>
                  <a:gd name="connsiteY4" fmla="*/ 15385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0">
                    <a:moveTo>
                      <a:pt x="15993" y="15385"/>
                    </a:moveTo>
                    <a:cubicBezTo>
                      <a:pt x="12644" y="19153"/>
                      <a:pt x="6843" y="19512"/>
                      <a:pt x="3075" y="16103"/>
                    </a:cubicBezTo>
                    <a:cubicBezTo>
                      <a:pt x="-693" y="12694"/>
                      <a:pt x="-1052" y="6893"/>
                      <a:pt x="2297" y="3065"/>
                    </a:cubicBezTo>
                    <a:cubicBezTo>
                      <a:pt x="5646" y="-702"/>
                      <a:pt x="11447" y="-1062"/>
                      <a:pt x="15215" y="2348"/>
                    </a:cubicBezTo>
                    <a:cubicBezTo>
                      <a:pt x="19043" y="5816"/>
                      <a:pt x="19402" y="11618"/>
                      <a:pt x="15993" y="15385"/>
                    </a:cubicBezTo>
                    <a:close/>
                  </a:path>
                </a:pathLst>
              </a:custGeom>
              <a:grpFill/>
              <a:ln w="5978" cap="flat">
                <a:noFill/>
                <a:prstDash val="solid"/>
                <a:miter/>
              </a:ln>
            </p:spPr>
            <p:txBody>
              <a:bodyPr rtlCol="0" anchor="ctr"/>
              <a:lstStyle/>
              <a:p>
                <a:endParaRPr lang="en-GB"/>
              </a:p>
            </p:txBody>
          </p:sp>
          <p:sp>
            <p:nvSpPr>
              <p:cNvPr id="2012" name="Vrije vorm: vorm 2011">
                <a:extLst>
                  <a:ext uri="{FF2B5EF4-FFF2-40B4-BE49-F238E27FC236}">
                    <a16:creationId xmlns:a16="http://schemas.microsoft.com/office/drawing/2014/main" id="{660A62AC-7E6E-40C5-926E-7E6917825657}"/>
                  </a:ext>
                </a:extLst>
              </p:cNvPr>
              <p:cNvSpPr/>
              <p:nvPr/>
            </p:nvSpPr>
            <p:spPr>
              <a:xfrm>
                <a:off x="4807598" y="4803920"/>
                <a:ext cx="18290" cy="18450"/>
              </a:xfrm>
              <a:custGeom>
                <a:avLst/>
                <a:gdLst>
                  <a:gd name="connsiteX0" fmla="*/ 15993 w 18290"/>
                  <a:gd name="connsiteY0" fmla="*/ 15386 h 18450"/>
                  <a:gd name="connsiteX1" fmla="*/ 15216 w 18290"/>
                  <a:gd name="connsiteY1" fmla="*/ 2348 h 18450"/>
                  <a:gd name="connsiteX2" fmla="*/ 2297 w 18290"/>
                  <a:gd name="connsiteY2" fmla="*/ 3065 h 18450"/>
                  <a:gd name="connsiteX3" fmla="*/ 3074 w 18290"/>
                  <a:gd name="connsiteY3" fmla="*/ 16104 h 18450"/>
                  <a:gd name="connsiteX4" fmla="*/ 15993 w 18290"/>
                  <a:gd name="connsiteY4" fmla="*/ 1538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50">
                    <a:moveTo>
                      <a:pt x="15993" y="15386"/>
                    </a:moveTo>
                    <a:cubicBezTo>
                      <a:pt x="19342" y="11618"/>
                      <a:pt x="18983" y="5757"/>
                      <a:pt x="15216" y="2348"/>
                    </a:cubicBezTo>
                    <a:cubicBezTo>
                      <a:pt x="11448" y="-1061"/>
                      <a:pt x="5647" y="-703"/>
                      <a:pt x="2297" y="3065"/>
                    </a:cubicBezTo>
                    <a:cubicBezTo>
                      <a:pt x="-1052" y="6833"/>
                      <a:pt x="-693" y="12695"/>
                      <a:pt x="3074" y="16104"/>
                    </a:cubicBezTo>
                    <a:cubicBezTo>
                      <a:pt x="6783" y="19512"/>
                      <a:pt x="12584" y="19153"/>
                      <a:pt x="15993" y="15386"/>
                    </a:cubicBezTo>
                    <a:close/>
                  </a:path>
                </a:pathLst>
              </a:custGeom>
              <a:grpFill/>
              <a:ln w="5978" cap="flat">
                <a:noFill/>
                <a:prstDash val="solid"/>
                <a:miter/>
              </a:ln>
            </p:spPr>
            <p:txBody>
              <a:bodyPr rtlCol="0" anchor="ctr"/>
              <a:lstStyle/>
              <a:p>
                <a:endParaRPr lang="en-GB"/>
              </a:p>
            </p:txBody>
          </p:sp>
        </p:grpSp>
        <p:grpSp>
          <p:nvGrpSpPr>
            <p:cNvPr id="1131" name="Graphic 3">
              <a:extLst>
                <a:ext uri="{FF2B5EF4-FFF2-40B4-BE49-F238E27FC236}">
                  <a16:creationId xmlns:a16="http://schemas.microsoft.com/office/drawing/2014/main" id="{40C28B37-8D4F-4AAD-83EE-56619EC16FC5}"/>
                </a:ext>
              </a:extLst>
            </p:cNvPr>
            <p:cNvGrpSpPr/>
            <p:nvPr/>
          </p:nvGrpSpPr>
          <p:grpSpPr>
            <a:xfrm>
              <a:off x="4584779" y="4656358"/>
              <a:ext cx="371047" cy="357196"/>
              <a:chOff x="4584779" y="4656358"/>
              <a:chExt cx="371047" cy="357196"/>
            </a:xfrm>
            <a:grpFill/>
          </p:grpSpPr>
          <p:sp>
            <p:nvSpPr>
              <p:cNvPr id="2007" name="Vrije vorm: vorm 2006">
                <a:extLst>
                  <a:ext uri="{FF2B5EF4-FFF2-40B4-BE49-F238E27FC236}">
                    <a16:creationId xmlns:a16="http://schemas.microsoft.com/office/drawing/2014/main" id="{47ECB393-87B6-48F3-8EDC-7CA5458C71F0}"/>
                  </a:ext>
                </a:extLst>
              </p:cNvPr>
              <p:cNvSpPr/>
              <p:nvPr/>
            </p:nvSpPr>
            <p:spPr>
              <a:xfrm>
                <a:off x="4592556" y="4664165"/>
                <a:ext cx="355434" cy="341559"/>
              </a:xfrm>
              <a:custGeom>
                <a:avLst/>
                <a:gdLst>
                  <a:gd name="connsiteX0" fmla="*/ 355434 w 355434"/>
                  <a:gd name="connsiteY0" fmla="*/ 2213 h 341559"/>
                  <a:gd name="connsiteX1" fmla="*/ 2093 w 355434"/>
                  <a:gd name="connsiteY1" fmla="*/ 341559 h 341559"/>
                  <a:gd name="connsiteX2" fmla="*/ 0 w 355434"/>
                  <a:gd name="connsiteY2" fmla="*/ 339346 h 341559"/>
                  <a:gd name="connsiteX3" fmla="*/ 353341 w 355434"/>
                  <a:gd name="connsiteY3" fmla="*/ 0 h 341559"/>
                </a:gdLst>
                <a:ahLst/>
                <a:cxnLst>
                  <a:cxn ang="0">
                    <a:pos x="connsiteX0" y="connsiteY0"/>
                  </a:cxn>
                  <a:cxn ang="0">
                    <a:pos x="connsiteX1" y="connsiteY1"/>
                  </a:cxn>
                  <a:cxn ang="0">
                    <a:pos x="connsiteX2" y="connsiteY2"/>
                  </a:cxn>
                  <a:cxn ang="0">
                    <a:pos x="connsiteX3" y="connsiteY3"/>
                  </a:cxn>
                </a:cxnLst>
                <a:rect l="l" t="t" r="r" b="b"/>
                <a:pathLst>
                  <a:path w="355434" h="341559">
                    <a:moveTo>
                      <a:pt x="355434" y="2213"/>
                    </a:moveTo>
                    <a:lnTo>
                      <a:pt x="2093" y="341559"/>
                    </a:lnTo>
                    <a:lnTo>
                      <a:pt x="0" y="339346"/>
                    </a:lnTo>
                    <a:lnTo>
                      <a:pt x="353341" y="0"/>
                    </a:lnTo>
                    <a:close/>
                  </a:path>
                </a:pathLst>
              </a:custGeom>
              <a:grpFill/>
              <a:ln w="5978" cap="flat">
                <a:noFill/>
                <a:prstDash val="solid"/>
                <a:miter/>
              </a:ln>
            </p:spPr>
            <p:txBody>
              <a:bodyPr rtlCol="0" anchor="ctr"/>
              <a:lstStyle/>
              <a:p>
                <a:endParaRPr lang="en-GB"/>
              </a:p>
            </p:txBody>
          </p:sp>
          <p:sp>
            <p:nvSpPr>
              <p:cNvPr id="2008" name="Vrije vorm: vorm 2007">
                <a:extLst>
                  <a:ext uri="{FF2B5EF4-FFF2-40B4-BE49-F238E27FC236}">
                    <a16:creationId xmlns:a16="http://schemas.microsoft.com/office/drawing/2014/main" id="{B35CF1C0-0FCB-44AF-A547-11C74568EEC0}"/>
                  </a:ext>
                </a:extLst>
              </p:cNvPr>
              <p:cNvSpPr/>
              <p:nvPr/>
            </p:nvSpPr>
            <p:spPr>
              <a:xfrm>
                <a:off x="4937463" y="4656358"/>
                <a:ext cx="18364" cy="18426"/>
              </a:xfrm>
              <a:custGeom>
                <a:avLst/>
                <a:gdLst>
                  <a:gd name="connsiteX0" fmla="*/ 2813 w 18364"/>
                  <a:gd name="connsiteY0" fmla="*/ 2545 h 18426"/>
                  <a:gd name="connsiteX1" fmla="*/ 15791 w 18364"/>
                  <a:gd name="connsiteY1" fmla="*/ 2844 h 18426"/>
                  <a:gd name="connsiteX2" fmla="*/ 15552 w 18364"/>
                  <a:gd name="connsiteY2" fmla="*/ 15882 h 18426"/>
                  <a:gd name="connsiteX3" fmla="*/ 2573 w 18364"/>
                  <a:gd name="connsiteY3" fmla="*/ 15583 h 18426"/>
                  <a:gd name="connsiteX4" fmla="*/ 2813 w 18364"/>
                  <a:gd name="connsiteY4" fmla="*/ 254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2813" y="2545"/>
                    </a:moveTo>
                    <a:cubicBezTo>
                      <a:pt x="6461" y="-984"/>
                      <a:pt x="12262" y="-804"/>
                      <a:pt x="15791" y="2844"/>
                    </a:cubicBezTo>
                    <a:cubicBezTo>
                      <a:pt x="19320" y="6552"/>
                      <a:pt x="19200" y="12353"/>
                      <a:pt x="15552" y="15882"/>
                    </a:cubicBezTo>
                    <a:cubicBezTo>
                      <a:pt x="11903" y="19410"/>
                      <a:pt x="6102" y="19231"/>
                      <a:pt x="2573" y="15583"/>
                    </a:cubicBezTo>
                    <a:cubicBezTo>
                      <a:pt x="-955" y="11875"/>
                      <a:pt x="-836" y="6073"/>
                      <a:pt x="2813" y="2545"/>
                    </a:cubicBezTo>
                    <a:close/>
                  </a:path>
                </a:pathLst>
              </a:custGeom>
              <a:grpFill/>
              <a:ln w="5978" cap="flat">
                <a:noFill/>
                <a:prstDash val="solid"/>
                <a:miter/>
              </a:ln>
            </p:spPr>
            <p:txBody>
              <a:bodyPr rtlCol="0" anchor="ctr"/>
              <a:lstStyle/>
              <a:p>
                <a:endParaRPr lang="en-GB"/>
              </a:p>
            </p:txBody>
          </p:sp>
          <p:sp>
            <p:nvSpPr>
              <p:cNvPr id="2009" name="Vrije vorm: vorm 2008">
                <a:extLst>
                  <a:ext uri="{FF2B5EF4-FFF2-40B4-BE49-F238E27FC236}">
                    <a16:creationId xmlns:a16="http://schemas.microsoft.com/office/drawing/2014/main" id="{853A3146-8544-46BA-BA5C-B00DB469F999}"/>
                  </a:ext>
                </a:extLst>
              </p:cNvPr>
              <p:cNvSpPr/>
              <p:nvPr/>
            </p:nvSpPr>
            <p:spPr>
              <a:xfrm>
                <a:off x="4584779" y="4995084"/>
                <a:ext cx="18364" cy="18470"/>
              </a:xfrm>
              <a:custGeom>
                <a:avLst/>
                <a:gdLst>
                  <a:gd name="connsiteX0" fmla="*/ 2813 w 18364"/>
                  <a:gd name="connsiteY0" fmla="*/ 2566 h 18470"/>
                  <a:gd name="connsiteX1" fmla="*/ 2573 w 18364"/>
                  <a:gd name="connsiteY1" fmla="*/ 15604 h 18470"/>
                  <a:gd name="connsiteX2" fmla="*/ 15552 w 18364"/>
                  <a:gd name="connsiteY2" fmla="*/ 15904 h 18470"/>
                  <a:gd name="connsiteX3" fmla="*/ 15791 w 18364"/>
                  <a:gd name="connsiteY3" fmla="*/ 2866 h 18470"/>
                  <a:gd name="connsiteX4" fmla="*/ 2813 w 18364"/>
                  <a:gd name="connsiteY4" fmla="*/ 256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70">
                    <a:moveTo>
                      <a:pt x="2813" y="2566"/>
                    </a:moveTo>
                    <a:cubicBezTo>
                      <a:pt x="-836" y="6095"/>
                      <a:pt x="-955" y="11896"/>
                      <a:pt x="2573" y="15604"/>
                    </a:cubicBezTo>
                    <a:cubicBezTo>
                      <a:pt x="6102" y="19313"/>
                      <a:pt x="11903" y="19432"/>
                      <a:pt x="15552" y="15904"/>
                    </a:cubicBezTo>
                    <a:cubicBezTo>
                      <a:pt x="19200" y="12375"/>
                      <a:pt x="19319" y="6574"/>
                      <a:pt x="15791" y="2866"/>
                    </a:cubicBezTo>
                    <a:cubicBezTo>
                      <a:pt x="12262" y="-843"/>
                      <a:pt x="6461" y="-962"/>
                      <a:pt x="2813" y="2566"/>
                    </a:cubicBezTo>
                    <a:close/>
                  </a:path>
                </a:pathLst>
              </a:custGeom>
              <a:grpFill/>
              <a:ln w="5978" cap="flat">
                <a:noFill/>
                <a:prstDash val="solid"/>
                <a:miter/>
              </a:ln>
            </p:spPr>
            <p:txBody>
              <a:bodyPr rtlCol="0" anchor="ctr"/>
              <a:lstStyle/>
              <a:p>
                <a:endParaRPr lang="en-GB"/>
              </a:p>
            </p:txBody>
          </p:sp>
        </p:grpSp>
        <p:grpSp>
          <p:nvGrpSpPr>
            <p:cNvPr id="1132" name="Graphic 3">
              <a:extLst>
                <a:ext uri="{FF2B5EF4-FFF2-40B4-BE49-F238E27FC236}">
                  <a16:creationId xmlns:a16="http://schemas.microsoft.com/office/drawing/2014/main" id="{3327DAE6-EDE1-4DF7-AFCB-3107D199CD8B}"/>
                </a:ext>
              </a:extLst>
            </p:cNvPr>
            <p:cNvGrpSpPr/>
            <p:nvPr/>
          </p:nvGrpSpPr>
          <p:grpSpPr>
            <a:xfrm>
              <a:off x="4009168" y="3024744"/>
              <a:ext cx="324689" cy="76047"/>
              <a:chOff x="4009168" y="3024744"/>
              <a:chExt cx="324689" cy="76047"/>
            </a:xfrm>
            <a:grpFill/>
          </p:grpSpPr>
          <p:sp>
            <p:nvSpPr>
              <p:cNvPr id="2004" name="Vrije vorm: vorm 2003">
                <a:extLst>
                  <a:ext uri="{FF2B5EF4-FFF2-40B4-BE49-F238E27FC236}">
                    <a16:creationId xmlns:a16="http://schemas.microsoft.com/office/drawing/2014/main" id="{0D5F920A-3F26-41DD-92B7-F84425946F18}"/>
                  </a:ext>
                </a:extLst>
              </p:cNvPr>
              <p:cNvSpPr/>
              <p:nvPr/>
            </p:nvSpPr>
            <p:spPr>
              <a:xfrm>
                <a:off x="4017569" y="3032386"/>
                <a:ext cx="307827" cy="60823"/>
              </a:xfrm>
              <a:custGeom>
                <a:avLst/>
                <a:gdLst>
                  <a:gd name="connsiteX0" fmla="*/ 307828 w 307827"/>
                  <a:gd name="connsiteY0" fmla="*/ 57774 h 60823"/>
                  <a:gd name="connsiteX1" fmla="*/ 307290 w 307827"/>
                  <a:gd name="connsiteY1" fmla="*/ 60824 h 60823"/>
                  <a:gd name="connsiteX2" fmla="*/ 0 w 307827"/>
                  <a:gd name="connsiteY2" fmla="*/ 2990 h 60823"/>
                  <a:gd name="connsiteX3" fmla="*/ 538 w 307827"/>
                  <a:gd name="connsiteY3" fmla="*/ 0 h 60823"/>
                </a:gdLst>
                <a:ahLst/>
                <a:cxnLst>
                  <a:cxn ang="0">
                    <a:pos x="connsiteX0" y="connsiteY0"/>
                  </a:cxn>
                  <a:cxn ang="0">
                    <a:pos x="connsiteX1" y="connsiteY1"/>
                  </a:cxn>
                  <a:cxn ang="0">
                    <a:pos x="connsiteX2" y="connsiteY2"/>
                  </a:cxn>
                  <a:cxn ang="0">
                    <a:pos x="connsiteX3" y="connsiteY3"/>
                  </a:cxn>
                </a:cxnLst>
                <a:rect l="l" t="t" r="r" b="b"/>
                <a:pathLst>
                  <a:path w="307827" h="60823">
                    <a:moveTo>
                      <a:pt x="307828" y="57774"/>
                    </a:moveTo>
                    <a:lnTo>
                      <a:pt x="307290" y="60824"/>
                    </a:lnTo>
                    <a:lnTo>
                      <a:pt x="0" y="2990"/>
                    </a:lnTo>
                    <a:lnTo>
                      <a:pt x="538" y="0"/>
                    </a:lnTo>
                    <a:close/>
                  </a:path>
                </a:pathLst>
              </a:custGeom>
              <a:grpFill/>
              <a:ln w="5978" cap="flat">
                <a:noFill/>
                <a:prstDash val="solid"/>
                <a:miter/>
              </a:ln>
            </p:spPr>
            <p:txBody>
              <a:bodyPr rtlCol="0" anchor="ctr"/>
              <a:lstStyle/>
              <a:p>
                <a:endParaRPr lang="en-GB"/>
              </a:p>
            </p:txBody>
          </p:sp>
          <p:sp>
            <p:nvSpPr>
              <p:cNvPr id="2005" name="Vrije vorm: vorm 2004">
                <a:extLst>
                  <a:ext uri="{FF2B5EF4-FFF2-40B4-BE49-F238E27FC236}">
                    <a16:creationId xmlns:a16="http://schemas.microsoft.com/office/drawing/2014/main" id="{FEE792EB-EEAE-41E0-9E17-419672EE53BD}"/>
                  </a:ext>
                </a:extLst>
              </p:cNvPr>
              <p:cNvSpPr/>
              <p:nvPr/>
            </p:nvSpPr>
            <p:spPr>
              <a:xfrm>
                <a:off x="4009168" y="3024744"/>
                <a:ext cx="18296" cy="18452"/>
              </a:xfrm>
              <a:custGeom>
                <a:avLst/>
                <a:gdLst>
                  <a:gd name="connsiteX0" fmla="*/ 7504 w 18296"/>
                  <a:gd name="connsiteY0" fmla="*/ 18287 h 18452"/>
                  <a:gd name="connsiteX1" fmla="*/ 147 w 18296"/>
                  <a:gd name="connsiteY1" fmla="*/ 7522 h 18452"/>
                  <a:gd name="connsiteX2" fmla="*/ 10793 w 18296"/>
                  <a:gd name="connsiteY2" fmla="*/ 166 h 18452"/>
                  <a:gd name="connsiteX3" fmla="*/ 18149 w 18296"/>
                  <a:gd name="connsiteY3" fmla="*/ 10931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2540" y="17330"/>
                      <a:pt x="-750" y="12546"/>
                      <a:pt x="147" y="7522"/>
                    </a:cubicBezTo>
                    <a:cubicBezTo>
                      <a:pt x="1045" y="2498"/>
                      <a:pt x="5829" y="-791"/>
                      <a:pt x="10793" y="166"/>
                    </a:cubicBezTo>
                    <a:cubicBezTo>
                      <a:pt x="15757" y="1122"/>
                      <a:pt x="19047" y="5907"/>
                      <a:pt x="18149" y="10931"/>
                    </a:cubicBezTo>
                    <a:cubicBezTo>
                      <a:pt x="17253" y="15955"/>
                      <a:pt x="12468" y="19244"/>
                      <a:pt x="7504" y="18287"/>
                    </a:cubicBezTo>
                    <a:close/>
                  </a:path>
                </a:pathLst>
              </a:custGeom>
              <a:grpFill/>
              <a:ln w="5978" cap="flat">
                <a:noFill/>
                <a:prstDash val="solid"/>
                <a:miter/>
              </a:ln>
            </p:spPr>
            <p:txBody>
              <a:bodyPr rtlCol="0" anchor="ctr"/>
              <a:lstStyle/>
              <a:p>
                <a:endParaRPr lang="en-GB"/>
              </a:p>
            </p:txBody>
          </p:sp>
          <p:sp>
            <p:nvSpPr>
              <p:cNvPr id="2006" name="Vrije vorm: vorm 2005">
                <a:extLst>
                  <a:ext uri="{FF2B5EF4-FFF2-40B4-BE49-F238E27FC236}">
                    <a16:creationId xmlns:a16="http://schemas.microsoft.com/office/drawing/2014/main" id="{B22767E3-F99D-4335-9686-8D04C8C90953}"/>
                  </a:ext>
                </a:extLst>
              </p:cNvPr>
              <p:cNvSpPr/>
              <p:nvPr/>
            </p:nvSpPr>
            <p:spPr>
              <a:xfrm>
                <a:off x="4315545" y="3082338"/>
                <a:ext cx="18312" cy="18452"/>
              </a:xfrm>
              <a:custGeom>
                <a:avLst/>
                <a:gdLst>
                  <a:gd name="connsiteX0" fmla="*/ 7520 w 18312"/>
                  <a:gd name="connsiteY0" fmla="*/ 18287 h 18452"/>
                  <a:gd name="connsiteX1" fmla="*/ 18165 w 18312"/>
                  <a:gd name="connsiteY1" fmla="*/ 10931 h 18452"/>
                  <a:gd name="connsiteX2" fmla="*/ 10809 w 18312"/>
                  <a:gd name="connsiteY2" fmla="*/ 166 h 18452"/>
                  <a:gd name="connsiteX3" fmla="*/ 163 w 18312"/>
                  <a:gd name="connsiteY3" fmla="*/ 7522 h 18452"/>
                  <a:gd name="connsiteX4" fmla="*/ 7520 w 18312"/>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2">
                    <a:moveTo>
                      <a:pt x="7520" y="18287"/>
                    </a:moveTo>
                    <a:cubicBezTo>
                      <a:pt x="12484" y="19244"/>
                      <a:pt x="17268" y="15955"/>
                      <a:pt x="18165" y="10931"/>
                    </a:cubicBezTo>
                    <a:cubicBezTo>
                      <a:pt x="19062" y="5907"/>
                      <a:pt x="15773" y="1122"/>
                      <a:pt x="10809" y="166"/>
                    </a:cubicBezTo>
                    <a:cubicBezTo>
                      <a:pt x="5845" y="-791"/>
                      <a:pt x="1060" y="2498"/>
                      <a:pt x="163" y="7522"/>
                    </a:cubicBezTo>
                    <a:cubicBezTo>
                      <a:pt x="-794" y="12545"/>
                      <a:pt x="2556" y="17390"/>
                      <a:pt x="7520" y="18287"/>
                    </a:cubicBezTo>
                    <a:close/>
                  </a:path>
                </a:pathLst>
              </a:custGeom>
              <a:grpFill/>
              <a:ln w="5978" cap="flat">
                <a:noFill/>
                <a:prstDash val="solid"/>
                <a:miter/>
              </a:ln>
            </p:spPr>
            <p:txBody>
              <a:bodyPr rtlCol="0" anchor="ctr"/>
              <a:lstStyle/>
              <a:p>
                <a:endParaRPr lang="en-GB"/>
              </a:p>
            </p:txBody>
          </p:sp>
        </p:grpSp>
        <p:grpSp>
          <p:nvGrpSpPr>
            <p:cNvPr id="1133" name="Graphic 3">
              <a:extLst>
                <a:ext uri="{FF2B5EF4-FFF2-40B4-BE49-F238E27FC236}">
                  <a16:creationId xmlns:a16="http://schemas.microsoft.com/office/drawing/2014/main" id="{3A43EDCC-ACD7-49E4-8057-29CDD591B729}"/>
                </a:ext>
              </a:extLst>
            </p:cNvPr>
            <p:cNvGrpSpPr/>
            <p:nvPr/>
          </p:nvGrpSpPr>
          <p:grpSpPr>
            <a:xfrm>
              <a:off x="4074117" y="3226175"/>
              <a:ext cx="318112" cy="75791"/>
              <a:chOff x="4074117" y="3226175"/>
              <a:chExt cx="318112" cy="75791"/>
            </a:xfrm>
            <a:grpFill/>
          </p:grpSpPr>
          <p:sp>
            <p:nvSpPr>
              <p:cNvPr id="2001" name="Vrije vorm: vorm 2000">
                <a:extLst>
                  <a:ext uri="{FF2B5EF4-FFF2-40B4-BE49-F238E27FC236}">
                    <a16:creationId xmlns:a16="http://schemas.microsoft.com/office/drawing/2014/main" id="{CDAE313C-DE2D-4C6B-8BF7-992CD9F26670}"/>
                  </a:ext>
                </a:extLst>
              </p:cNvPr>
              <p:cNvSpPr/>
              <p:nvPr/>
            </p:nvSpPr>
            <p:spPr>
              <a:xfrm>
                <a:off x="4082580" y="3233816"/>
                <a:ext cx="301189" cy="60524"/>
              </a:xfrm>
              <a:custGeom>
                <a:avLst/>
                <a:gdLst>
                  <a:gd name="connsiteX0" fmla="*/ 301189 w 301189"/>
                  <a:gd name="connsiteY0" fmla="*/ 57475 h 60524"/>
                  <a:gd name="connsiteX1" fmla="*/ 300651 w 301189"/>
                  <a:gd name="connsiteY1" fmla="*/ 60525 h 60524"/>
                  <a:gd name="connsiteX2" fmla="*/ 0 w 301189"/>
                  <a:gd name="connsiteY2" fmla="*/ 2990 h 60524"/>
                  <a:gd name="connsiteX3" fmla="*/ 538 w 301189"/>
                  <a:gd name="connsiteY3" fmla="*/ 0 h 60524"/>
                </a:gdLst>
                <a:ahLst/>
                <a:cxnLst>
                  <a:cxn ang="0">
                    <a:pos x="connsiteX0" y="connsiteY0"/>
                  </a:cxn>
                  <a:cxn ang="0">
                    <a:pos x="connsiteX1" y="connsiteY1"/>
                  </a:cxn>
                  <a:cxn ang="0">
                    <a:pos x="connsiteX2" y="connsiteY2"/>
                  </a:cxn>
                  <a:cxn ang="0">
                    <a:pos x="connsiteX3" y="connsiteY3"/>
                  </a:cxn>
                </a:cxnLst>
                <a:rect l="l" t="t" r="r" b="b"/>
                <a:pathLst>
                  <a:path w="301189" h="60524">
                    <a:moveTo>
                      <a:pt x="301189" y="57475"/>
                    </a:moveTo>
                    <a:lnTo>
                      <a:pt x="300651" y="60525"/>
                    </a:lnTo>
                    <a:lnTo>
                      <a:pt x="0" y="2990"/>
                    </a:lnTo>
                    <a:lnTo>
                      <a:pt x="538" y="0"/>
                    </a:lnTo>
                    <a:close/>
                  </a:path>
                </a:pathLst>
              </a:custGeom>
              <a:grpFill/>
              <a:ln w="5978" cap="flat">
                <a:noFill/>
                <a:prstDash val="solid"/>
                <a:miter/>
              </a:ln>
            </p:spPr>
            <p:txBody>
              <a:bodyPr rtlCol="0" anchor="ctr"/>
              <a:lstStyle/>
              <a:p>
                <a:endParaRPr lang="en-GB"/>
              </a:p>
            </p:txBody>
          </p:sp>
          <p:sp>
            <p:nvSpPr>
              <p:cNvPr id="2002" name="Vrije vorm: vorm 2001">
                <a:extLst>
                  <a:ext uri="{FF2B5EF4-FFF2-40B4-BE49-F238E27FC236}">
                    <a16:creationId xmlns:a16="http://schemas.microsoft.com/office/drawing/2014/main" id="{E97E2C93-4BB9-4378-A496-FEC1922FEF6B}"/>
                  </a:ext>
                </a:extLst>
              </p:cNvPr>
              <p:cNvSpPr/>
              <p:nvPr/>
            </p:nvSpPr>
            <p:spPr>
              <a:xfrm>
                <a:off x="4373873" y="3283530"/>
                <a:ext cx="18356" cy="18436"/>
              </a:xfrm>
              <a:custGeom>
                <a:avLst/>
                <a:gdLst>
                  <a:gd name="connsiteX0" fmla="*/ 10853 w 18356"/>
                  <a:gd name="connsiteY0" fmla="*/ 166 h 18436"/>
                  <a:gd name="connsiteX1" fmla="*/ 18209 w 18356"/>
                  <a:gd name="connsiteY1" fmla="*/ 10931 h 18436"/>
                  <a:gd name="connsiteX2" fmla="*/ 7504 w 18356"/>
                  <a:gd name="connsiteY2" fmla="*/ 18287 h 18436"/>
                  <a:gd name="connsiteX3" fmla="*/ 147 w 18356"/>
                  <a:gd name="connsiteY3" fmla="*/ 7522 h 18436"/>
                  <a:gd name="connsiteX4" fmla="*/ 10853 w 18356"/>
                  <a:gd name="connsiteY4" fmla="*/ 16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6">
                    <a:moveTo>
                      <a:pt x="10853" y="166"/>
                    </a:moveTo>
                    <a:cubicBezTo>
                      <a:pt x="15817" y="1122"/>
                      <a:pt x="19106" y="5967"/>
                      <a:pt x="18209" y="10931"/>
                    </a:cubicBezTo>
                    <a:cubicBezTo>
                      <a:pt x="17312" y="15955"/>
                      <a:pt x="12468" y="19184"/>
                      <a:pt x="7504" y="18287"/>
                    </a:cubicBezTo>
                    <a:cubicBezTo>
                      <a:pt x="2540" y="17330"/>
                      <a:pt x="-750" y="12486"/>
                      <a:pt x="147" y="7522"/>
                    </a:cubicBezTo>
                    <a:cubicBezTo>
                      <a:pt x="1104" y="2498"/>
                      <a:pt x="5889" y="-791"/>
                      <a:pt x="10853" y="166"/>
                    </a:cubicBezTo>
                    <a:close/>
                  </a:path>
                </a:pathLst>
              </a:custGeom>
              <a:grpFill/>
              <a:ln w="5978" cap="flat">
                <a:noFill/>
                <a:prstDash val="solid"/>
                <a:miter/>
              </a:ln>
            </p:spPr>
            <p:txBody>
              <a:bodyPr rtlCol="0" anchor="ctr"/>
              <a:lstStyle/>
              <a:p>
                <a:endParaRPr lang="en-GB"/>
              </a:p>
            </p:txBody>
          </p:sp>
          <p:sp>
            <p:nvSpPr>
              <p:cNvPr id="2003" name="Vrije vorm: vorm 2002">
                <a:extLst>
                  <a:ext uri="{FF2B5EF4-FFF2-40B4-BE49-F238E27FC236}">
                    <a16:creationId xmlns:a16="http://schemas.microsoft.com/office/drawing/2014/main" id="{213478F0-6FF8-45DA-9BE5-BFC7335EF3F9}"/>
                  </a:ext>
                </a:extLst>
              </p:cNvPr>
              <p:cNvSpPr/>
              <p:nvPr/>
            </p:nvSpPr>
            <p:spPr>
              <a:xfrm>
                <a:off x="4074117" y="3226175"/>
                <a:ext cx="18358" cy="18452"/>
              </a:xfrm>
              <a:custGeom>
                <a:avLst/>
                <a:gdLst>
                  <a:gd name="connsiteX0" fmla="*/ 10855 w 18358"/>
                  <a:gd name="connsiteY0" fmla="*/ 166 h 18452"/>
                  <a:gd name="connsiteX1" fmla="*/ 149 w 18358"/>
                  <a:gd name="connsiteY1" fmla="*/ 7522 h 18452"/>
                  <a:gd name="connsiteX2" fmla="*/ 7506 w 18358"/>
                  <a:gd name="connsiteY2" fmla="*/ 18287 h 18452"/>
                  <a:gd name="connsiteX3" fmla="*/ 18211 w 18358"/>
                  <a:gd name="connsiteY3" fmla="*/ 10931 h 18452"/>
                  <a:gd name="connsiteX4" fmla="*/ 10855 w 18358"/>
                  <a:gd name="connsiteY4" fmla="*/ 166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52">
                    <a:moveTo>
                      <a:pt x="10855" y="166"/>
                    </a:moveTo>
                    <a:cubicBezTo>
                      <a:pt x="5891" y="-791"/>
                      <a:pt x="1106" y="2498"/>
                      <a:pt x="149" y="7522"/>
                    </a:cubicBezTo>
                    <a:cubicBezTo>
                      <a:pt x="-748" y="12546"/>
                      <a:pt x="2482" y="17330"/>
                      <a:pt x="7506" y="18287"/>
                    </a:cubicBezTo>
                    <a:cubicBezTo>
                      <a:pt x="12470" y="19244"/>
                      <a:pt x="17254" y="15955"/>
                      <a:pt x="18211" y="10931"/>
                    </a:cubicBezTo>
                    <a:cubicBezTo>
                      <a:pt x="19108" y="5967"/>
                      <a:pt x="15819" y="1122"/>
                      <a:pt x="10855" y="166"/>
                    </a:cubicBezTo>
                    <a:close/>
                  </a:path>
                </a:pathLst>
              </a:custGeom>
              <a:grpFill/>
              <a:ln w="5978" cap="flat">
                <a:noFill/>
                <a:prstDash val="solid"/>
                <a:miter/>
              </a:ln>
            </p:spPr>
            <p:txBody>
              <a:bodyPr rtlCol="0" anchor="ctr"/>
              <a:lstStyle/>
              <a:p>
                <a:endParaRPr lang="en-GB"/>
              </a:p>
            </p:txBody>
          </p:sp>
        </p:grpSp>
        <p:grpSp>
          <p:nvGrpSpPr>
            <p:cNvPr id="1134" name="Graphic 3">
              <a:extLst>
                <a:ext uri="{FF2B5EF4-FFF2-40B4-BE49-F238E27FC236}">
                  <a16:creationId xmlns:a16="http://schemas.microsoft.com/office/drawing/2014/main" id="{1EB0A744-89A2-413F-AA56-8C961183DA78}"/>
                </a:ext>
              </a:extLst>
            </p:cNvPr>
            <p:cNvGrpSpPr/>
            <p:nvPr/>
          </p:nvGrpSpPr>
          <p:grpSpPr>
            <a:xfrm>
              <a:off x="4594400" y="4712189"/>
              <a:ext cx="396421" cy="414287"/>
              <a:chOff x="4594400" y="4712189"/>
              <a:chExt cx="396421" cy="414287"/>
            </a:xfrm>
            <a:grpFill/>
          </p:grpSpPr>
          <p:sp>
            <p:nvSpPr>
              <p:cNvPr id="1998" name="Vrije vorm: vorm 1997">
                <a:extLst>
                  <a:ext uri="{FF2B5EF4-FFF2-40B4-BE49-F238E27FC236}">
                    <a16:creationId xmlns:a16="http://schemas.microsoft.com/office/drawing/2014/main" id="{16AD9612-E43C-4B32-9E4A-2B90DECD5624}"/>
                  </a:ext>
                </a:extLst>
              </p:cNvPr>
              <p:cNvSpPr/>
              <p:nvPr/>
            </p:nvSpPr>
            <p:spPr>
              <a:xfrm>
                <a:off x="4602125" y="4719966"/>
                <a:ext cx="380972" cy="398675"/>
              </a:xfrm>
              <a:custGeom>
                <a:avLst/>
                <a:gdLst>
                  <a:gd name="connsiteX0" fmla="*/ 380972 w 380972"/>
                  <a:gd name="connsiteY0" fmla="*/ 2153 h 398675"/>
                  <a:gd name="connsiteX1" fmla="*/ 2213 w 380972"/>
                  <a:gd name="connsiteY1" fmla="*/ 398675 h 398675"/>
                  <a:gd name="connsiteX2" fmla="*/ 0 w 380972"/>
                  <a:gd name="connsiteY2" fmla="*/ 396582 h 398675"/>
                  <a:gd name="connsiteX3" fmla="*/ 378759 w 380972"/>
                  <a:gd name="connsiteY3" fmla="*/ 0 h 398675"/>
                </a:gdLst>
                <a:ahLst/>
                <a:cxnLst>
                  <a:cxn ang="0">
                    <a:pos x="connsiteX0" y="connsiteY0"/>
                  </a:cxn>
                  <a:cxn ang="0">
                    <a:pos x="connsiteX1" y="connsiteY1"/>
                  </a:cxn>
                  <a:cxn ang="0">
                    <a:pos x="connsiteX2" y="connsiteY2"/>
                  </a:cxn>
                  <a:cxn ang="0">
                    <a:pos x="connsiteX3" y="connsiteY3"/>
                  </a:cxn>
                </a:cxnLst>
                <a:rect l="l" t="t" r="r" b="b"/>
                <a:pathLst>
                  <a:path w="380972" h="398675">
                    <a:moveTo>
                      <a:pt x="380972" y="2153"/>
                    </a:moveTo>
                    <a:lnTo>
                      <a:pt x="2213" y="398675"/>
                    </a:lnTo>
                    <a:lnTo>
                      <a:pt x="0" y="396582"/>
                    </a:lnTo>
                    <a:lnTo>
                      <a:pt x="378759" y="0"/>
                    </a:lnTo>
                    <a:close/>
                  </a:path>
                </a:pathLst>
              </a:custGeom>
              <a:grpFill/>
              <a:ln w="5978" cap="flat">
                <a:noFill/>
                <a:prstDash val="solid"/>
                <a:miter/>
              </a:ln>
            </p:spPr>
            <p:txBody>
              <a:bodyPr rtlCol="0" anchor="ctr"/>
              <a:lstStyle/>
              <a:p>
                <a:endParaRPr lang="en-GB"/>
              </a:p>
            </p:txBody>
          </p:sp>
          <p:sp>
            <p:nvSpPr>
              <p:cNvPr id="1999" name="Vrije vorm: vorm 1998">
                <a:extLst>
                  <a:ext uri="{FF2B5EF4-FFF2-40B4-BE49-F238E27FC236}">
                    <a16:creationId xmlns:a16="http://schemas.microsoft.com/office/drawing/2014/main" id="{A77C62BA-1502-40F8-953A-327C5A502427}"/>
                  </a:ext>
                </a:extLst>
              </p:cNvPr>
              <p:cNvSpPr/>
              <p:nvPr/>
            </p:nvSpPr>
            <p:spPr>
              <a:xfrm>
                <a:off x="4972502" y="4712189"/>
                <a:ext cx="18320" cy="18423"/>
              </a:xfrm>
              <a:custGeom>
                <a:avLst/>
                <a:gdLst>
                  <a:gd name="connsiteX0" fmla="*/ 2522 w 18320"/>
                  <a:gd name="connsiteY0" fmla="*/ 2812 h 18423"/>
                  <a:gd name="connsiteX1" fmla="*/ 15500 w 18320"/>
                  <a:gd name="connsiteY1" fmla="*/ 2573 h 18423"/>
                  <a:gd name="connsiteX2" fmla="*/ 15799 w 18320"/>
                  <a:gd name="connsiteY2" fmla="*/ 15611 h 18423"/>
                  <a:gd name="connsiteX3" fmla="*/ 2821 w 18320"/>
                  <a:gd name="connsiteY3" fmla="*/ 15851 h 18423"/>
                  <a:gd name="connsiteX4" fmla="*/ 2522 w 18320"/>
                  <a:gd name="connsiteY4" fmla="*/ 281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2522" y="2812"/>
                    </a:moveTo>
                    <a:cubicBezTo>
                      <a:pt x="5990" y="-836"/>
                      <a:pt x="11852" y="-955"/>
                      <a:pt x="15500" y="2573"/>
                    </a:cubicBezTo>
                    <a:cubicBezTo>
                      <a:pt x="19148" y="6102"/>
                      <a:pt x="19268" y="11963"/>
                      <a:pt x="15799" y="15611"/>
                    </a:cubicBezTo>
                    <a:cubicBezTo>
                      <a:pt x="12330" y="19259"/>
                      <a:pt x="6469" y="19379"/>
                      <a:pt x="2821" y="15851"/>
                    </a:cubicBezTo>
                    <a:cubicBezTo>
                      <a:pt x="-827" y="12322"/>
                      <a:pt x="-947" y="6461"/>
                      <a:pt x="2522" y="2812"/>
                    </a:cubicBezTo>
                    <a:close/>
                  </a:path>
                </a:pathLst>
              </a:custGeom>
              <a:grpFill/>
              <a:ln w="5978" cap="flat">
                <a:noFill/>
                <a:prstDash val="solid"/>
                <a:miter/>
              </a:ln>
            </p:spPr>
            <p:txBody>
              <a:bodyPr rtlCol="0" anchor="ctr"/>
              <a:lstStyle/>
              <a:p>
                <a:endParaRPr lang="en-GB"/>
              </a:p>
            </p:txBody>
          </p:sp>
          <p:sp>
            <p:nvSpPr>
              <p:cNvPr id="2000" name="Vrije vorm: vorm 1999">
                <a:extLst>
                  <a:ext uri="{FF2B5EF4-FFF2-40B4-BE49-F238E27FC236}">
                    <a16:creationId xmlns:a16="http://schemas.microsoft.com/office/drawing/2014/main" id="{9B264D61-1752-4755-AE39-4EE93EE0BB68}"/>
                  </a:ext>
                </a:extLst>
              </p:cNvPr>
              <p:cNvSpPr/>
              <p:nvPr/>
            </p:nvSpPr>
            <p:spPr>
              <a:xfrm>
                <a:off x="4594400" y="5108053"/>
                <a:ext cx="18320" cy="18423"/>
              </a:xfrm>
              <a:custGeom>
                <a:avLst/>
                <a:gdLst>
                  <a:gd name="connsiteX0" fmla="*/ 2522 w 18320"/>
                  <a:gd name="connsiteY0" fmla="*/ 2812 h 18423"/>
                  <a:gd name="connsiteX1" fmla="*/ 2821 w 18320"/>
                  <a:gd name="connsiteY1" fmla="*/ 15851 h 18423"/>
                  <a:gd name="connsiteX2" fmla="*/ 15799 w 18320"/>
                  <a:gd name="connsiteY2" fmla="*/ 15611 h 18423"/>
                  <a:gd name="connsiteX3" fmla="*/ 15500 w 18320"/>
                  <a:gd name="connsiteY3" fmla="*/ 2573 h 18423"/>
                  <a:gd name="connsiteX4" fmla="*/ 2522 w 18320"/>
                  <a:gd name="connsiteY4" fmla="*/ 281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2522" y="2812"/>
                    </a:moveTo>
                    <a:cubicBezTo>
                      <a:pt x="-947" y="6461"/>
                      <a:pt x="-828" y="12322"/>
                      <a:pt x="2821" y="15851"/>
                    </a:cubicBezTo>
                    <a:cubicBezTo>
                      <a:pt x="6469" y="19379"/>
                      <a:pt x="12270" y="19259"/>
                      <a:pt x="15799" y="15611"/>
                    </a:cubicBezTo>
                    <a:cubicBezTo>
                      <a:pt x="19268" y="11963"/>
                      <a:pt x="19148" y="6102"/>
                      <a:pt x="15500" y="2573"/>
                    </a:cubicBezTo>
                    <a:cubicBezTo>
                      <a:pt x="11792" y="-955"/>
                      <a:pt x="5991" y="-836"/>
                      <a:pt x="2522" y="2812"/>
                    </a:cubicBezTo>
                    <a:close/>
                  </a:path>
                </a:pathLst>
              </a:custGeom>
              <a:grpFill/>
              <a:ln w="5978" cap="flat">
                <a:noFill/>
                <a:prstDash val="solid"/>
                <a:miter/>
              </a:ln>
            </p:spPr>
            <p:txBody>
              <a:bodyPr rtlCol="0" anchor="ctr"/>
              <a:lstStyle/>
              <a:p>
                <a:endParaRPr lang="en-GB"/>
              </a:p>
            </p:txBody>
          </p:sp>
        </p:grpSp>
        <p:grpSp>
          <p:nvGrpSpPr>
            <p:cNvPr id="1135" name="Graphic 3">
              <a:extLst>
                <a:ext uri="{FF2B5EF4-FFF2-40B4-BE49-F238E27FC236}">
                  <a16:creationId xmlns:a16="http://schemas.microsoft.com/office/drawing/2014/main" id="{A713B444-4B98-496D-A97E-4131266E63B6}"/>
                </a:ext>
              </a:extLst>
            </p:cNvPr>
            <p:cNvGrpSpPr/>
            <p:nvPr/>
          </p:nvGrpSpPr>
          <p:grpSpPr>
            <a:xfrm>
              <a:off x="4557343" y="4503495"/>
              <a:ext cx="240995" cy="166259"/>
              <a:chOff x="4557343" y="4503495"/>
              <a:chExt cx="240995" cy="166259"/>
            </a:xfrm>
            <a:grpFill/>
          </p:grpSpPr>
          <p:sp>
            <p:nvSpPr>
              <p:cNvPr id="1995" name="Vrije vorm: vorm 1994">
                <a:extLst>
                  <a:ext uri="{FF2B5EF4-FFF2-40B4-BE49-F238E27FC236}">
                    <a16:creationId xmlns:a16="http://schemas.microsoft.com/office/drawing/2014/main" id="{51D38F09-99D5-4823-9E25-7AECE8585315}"/>
                  </a:ext>
                </a:extLst>
              </p:cNvPr>
              <p:cNvSpPr/>
              <p:nvPr/>
            </p:nvSpPr>
            <p:spPr>
              <a:xfrm>
                <a:off x="4565344" y="4511179"/>
                <a:ext cx="225114" cy="150893"/>
              </a:xfrm>
              <a:custGeom>
                <a:avLst/>
                <a:gdLst>
                  <a:gd name="connsiteX0" fmla="*/ 225114 w 225114"/>
                  <a:gd name="connsiteY0" fmla="*/ 2572 h 150893"/>
                  <a:gd name="connsiteX1" fmla="*/ 1674 w 225114"/>
                  <a:gd name="connsiteY1" fmla="*/ 150893 h 150893"/>
                  <a:gd name="connsiteX2" fmla="*/ 0 w 225114"/>
                  <a:gd name="connsiteY2" fmla="*/ 148322 h 150893"/>
                  <a:gd name="connsiteX3" fmla="*/ 223440 w 225114"/>
                  <a:gd name="connsiteY3" fmla="*/ 0 h 150893"/>
                </a:gdLst>
                <a:ahLst/>
                <a:cxnLst>
                  <a:cxn ang="0">
                    <a:pos x="connsiteX0" y="connsiteY0"/>
                  </a:cxn>
                  <a:cxn ang="0">
                    <a:pos x="connsiteX1" y="connsiteY1"/>
                  </a:cxn>
                  <a:cxn ang="0">
                    <a:pos x="connsiteX2" y="connsiteY2"/>
                  </a:cxn>
                  <a:cxn ang="0">
                    <a:pos x="connsiteX3" y="connsiteY3"/>
                  </a:cxn>
                </a:cxnLst>
                <a:rect l="l" t="t" r="r" b="b"/>
                <a:pathLst>
                  <a:path w="225114" h="150893">
                    <a:moveTo>
                      <a:pt x="225114" y="2572"/>
                    </a:moveTo>
                    <a:lnTo>
                      <a:pt x="1674" y="150893"/>
                    </a:lnTo>
                    <a:lnTo>
                      <a:pt x="0" y="148322"/>
                    </a:lnTo>
                    <a:lnTo>
                      <a:pt x="223440" y="0"/>
                    </a:lnTo>
                    <a:close/>
                  </a:path>
                </a:pathLst>
              </a:custGeom>
              <a:grpFill/>
              <a:ln w="5978" cap="flat">
                <a:noFill/>
                <a:prstDash val="solid"/>
                <a:miter/>
              </a:ln>
            </p:spPr>
            <p:txBody>
              <a:bodyPr rtlCol="0" anchor="ctr"/>
              <a:lstStyle/>
              <a:p>
                <a:endParaRPr lang="en-GB"/>
              </a:p>
            </p:txBody>
          </p:sp>
          <p:sp>
            <p:nvSpPr>
              <p:cNvPr id="1996" name="Vrije vorm: vorm 1995">
                <a:extLst>
                  <a:ext uri="{FF2B5EF4-FFF2-40B4-BE49-F238E27FC236}">
                    <a16:creationId xmlns:a16="http://schemas.microsoft.com/office/drawing/2014/main" id="{A13263DC-BDB2-4B40-B960-9A5F41C2F676}"/>
                  </a:ext>
                </a:extLst>
              </p:cNvPr>
              <p:cNvSpPr/>
              <p:nvPr/>
            </p:nvSpPr>
            <p:spPr>
              <a:xfrm>
                <a:off x="4780047" y="4503495"/>
                <a:ext cx="18291" cy="18416"/>
              </a:xfrm>
              <a:custGeom>
                <a:avLst/>
                <a:gdLst>
                  <a:gd name="connsiteX0" fmla="*/ 4071 w 18291"/>
                  <a:gd name="connsiteY0" fmla="*/ 1523 h 18416"/>
                  <a:gd name="connsiteX1" fmla="*/ 16751 w 18291"/>
                  <a:gd name="connsiteY1" fmla="*/ 4154 h 18416"/>
                  <a:gd name="connsiteX2" fmla="*/ 14179 w 18291"/>
                  <a:gd name="connsiteY2" fmla="*/ 16893 h 18416"/>
                  <a:gd name="connsiteX3" fmla="*/ 1499 w 18291"/>
                  <a:gd name="connsiteY3" fmla="*/ 14262 h 18416"/>
                  <a:gd name="connsiteX4" fmla="*/ 4071 w 18291"/>
                  <a:gd name="connsiteY4" fmla="*/ 152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16">
                    <a:moveTo>
                      <a:pt x="4071" y="1523"/>
                    </a:moveTo>
                    <a:cubicBezTo>
                      <a:pt x="8258" y="-1288"/>
                      <a:pt x="13999" y="-92"/>
                      <a:pt x="16751" y="4154"/>
                    </a:cubicBezTo>
                    <a:cubicBezTo>
                      <a:pt x="19561" y="8401"/>
                      <a:pt x="18425" y="14142"/>
                      <a:pt x="14179" y="16893"/>
                    </a:cubicBezTo>
                    <a:cubicBezTo>
                      <a:pt x="9932" y="19705"/>
                      <a:pt x="4251" y="18508"/>
                      <a:pt x="1499" y="14262"/>
                    </a:cubicBezTo>
                    <a:cubicBezTo>
                      <a:pt x="-1251" y="10075"/>
                      <a:pt x="-115" y="4334"/>
                      <a:pt x="4071" y="1523"/>
                    </a:cubicBezTo>
                    <a:close/>
                  </a:path>
                </a:pathLst>
              </a:custGeom>
              <a:grpFill/>
              <a:ln w="5978" cap="flat">
                <a:noFill/>
                <a:prstDash val="solid"/>
                <a:miter/>
              </a:ln>
            </p:spPr>
            <p:txBody>
              <a:bodyPr rtlCol="0" anchor="ctr"/>
              <a:lstStyle/>
              <a:p>
                <a:endParaRPr lang="en-GB"/>
              </a:p>
            </p:txBody>
          </p:sp>
          <p:sp>
            <p:nvSpPr>
              <p:cNvPr id="1997" name="Vrije vorm: vorm 1996">
                <a:extLst>
                  <a:ext uri="{FF2B5EF4-FFF2-40B4-BE49-F238E27FC236}">
                    <a16:creationId xmlns:a16="http://schemas.microsoft.com/office/drawing/2014/main" id="{121DDB20-41FA-40A8-9D1D-01837F124026}"/>
                  </a:ext>
                </a:extLst>
              </p:cNvPr>
              <p:cNvSpPr/>
              <p:nvPr/>
            </p:nvSpPr>
            <p:spPr>
              <a:xfrm>
                <a:off x="4557343" y="4651323"/>
                <a:ext cx="18318" cy="18431"/>
              </a:xfrm>
              <a:custGeom>
                <a:avLst/>
                <a:gdLst>
                  <a:gd name="connsiteX0" fmla="*/ 4113 w 18318"/>
                  <a:gd name="connsiteY0" fmla="*/ 1539 h 18431"/>
                  <a:gd name="connsiteX1" fmla="*/ 1541 w 18318"/>
                  <a:gd name="connsiteY1" fmla="*/ 14277 h 18431"/>
                  <a:gd name="connsiteX2" fmla="*/ 14220 w 18318"/>
                  <a:gd name="connsiteY2" fmla="*/ 16909 h 18431"/>
                  <a:gd name="connsiteX3" fmla="*/ 16792 w 18318"/>
                  <a:gd name="connsiteY3" fmla="*/ 4170 h 18431"/>
                  <a:gd name="connsiteX4" fmla="*/ 4113 w 18318"/>
                  <a:gd name="connsiteY4" fmla="*/ 153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1">
                    <a:moveTo>
                      <a:pt x="4113" y="1539"/>
                    </a:moveTo>
                    <a:cubicBezTo>
                      <a:pt x="-133" y="4349"/>
                      <a:pt x="-1269" y="10031"/>
                      <a:pt x="1541" y="14277"/>
                    </a:cubicBezTo>
                    <a:cubicBezTo>
                      <a:pt x="4352" y="18524"/>
                      <a:pt x="10034" y="19720"/>
                      <a:pt x="14220" y="16909"/>
                    </a:cubicBezTo>
                    <a:cubicBezTo>
                      <a:pt x="18407" y="14098"/>
                      <a:pt x="19603" y="8416"/>
                      <a:pt x="16792" y="4170"/>
                    </a:cubicBezTo>
                    <a:cubicBezTo>
                      <a:pt x="14041" y="-136"/>
                      <a:pt x="8359" y="-1273"/>
                      <a:pt x="4113" y="1539"/>
                    </a:cubicBezTo>
                    <a:close/>
                  </a:path>
                </a:pathLst>
              </a:custGeom>
              <a:grpFill/>
              <a:ln w="5978" cap="flat">
                <a:noFill/>
                <a:prstDash val="solid"/>
                <a:miter/>
              </a:ln>
            </p:spPr>
            <p:txBody>
              <a:bodyPr rtlCol="0" anchor="ctr"/>
              <a:lstStyle/>
              <a:p>
                <a:endParaRPr lang="en-GB"/>
              </a:p>
            </p:txBody>
          </p:sp>
        </p:grpSp>
        <p:grpSp>
          <p:nvGrpSpPr>
            <p:cNvPr id="1136" name="Graphic 3">
              <a:extLst>
                <a:ext uri="{FF2B5EF4-FFF2-40B4-BE49-F238E27FC236}">
                  <a16:creationId xmlns:a16="http://schemas.microsoft.com/office/drawing/2014/main" id="{6FF96169-0424-4062-AACB-B586C7FAA246}"/>
                </a:ext>
              </a:extLst>
            </p:cNvPr>
            <p:cNvGrpSpPr/>
            <p:nvPr/>
          </p:nvGrpSpPr>
          <p:grpSpPr>
            <a:xfrm>
              <a:off x="4592377" y="4697328"/>
              <a:ext cx="369526" cy="368495"/>
              <a:chOff x="4592377" y="4697328"/>
              <a:chExt cx="369526" cy="368495"/>
            </a:xfrm>
            <a:grpFill/>
          </p:grpSpPr>
          <p:sp>
            <p:nvSpPr>
              <p:cNvPr id="1992" name="Vrije vorm: vorm 1991">
                <a:extLst>
                  <a:ext uri="{FF2B5EF4-FFF2-40B4-BE49-F238E27FC236}">
                    <a16:creationId xmlns:a16="http://schemas.microsoft.com/office/drawing/2014/main" id="{4B89BF6F-E5EB-405F-91BF-251421F59233}"/>
                  </a:ext>
                </a:extLst>
              </p:cNvPr>
              <p:cNvSpPr/>
              <p:nvPr/>
            </p:nvSpPr>
            <p:spPr>
              <a:xfrm>
                <a:off x="4600152" y="4705133"/>
                <a:ext cx="353998" cy="352862"/>
              </a:xfrm>
              <a:custGeom>
                <a:avLst/>
                <a:gdLst>
                  <a:gd name="connsiteX0" fmla="*/ 353999 w 353998"/>
                  <a:gd name="connsiteY0" fmla="*/ 2153 h 352862"/>
                  <a:gd name="connsiteX1" fmla="*/ 2153 w 353998"/>
                  <a:gd name="connsiteY1" fmla="*/ 352863 h 352862"/>
                  <a:gd name="connsiteX2" fmla="*/ 0 w 353998"/>
                  <a:gd name="connsiteY2" fmla="*/ 350650 h 352862"/>
                  <a:gd name="connsiteX3" fmla="*/ 351846 w 353998"/>
                  <a:gd name="connsiteY3" fmla="*/ 0 h 352862"/>
                </a:gdLst>
                <a:ahLst/>
                <a:cxnLst>
                  <a:cxn ang="0">
                    <a:pos x="connsiteX0" y="connsiteY0"/>
                  </a:cxn>
                  <a:cxn ang="0">
                    <a:pos x="connsiteX1" y="connsiteY1"/>
                  </a:cxn>
                  <a:cxn ang="0">
                    <a:pos x="connsiteX2" y="connsiteY2"/>
                  </a:cxn>
                  <a:cxn ang="0">
                    <a:pos x="connsiteX3" y="connsiteY3"/>
                  </a:cxn>
                </a:cxnLst>
                <a:rect l="l" t="t" r="r" b="b"/>
                <a:pathLst>
                  <a:path w="353998" h="352862">
                    <a:moveTo>
                      <a:pt x="353999" y="2153"/>
                    </a:moveTo>
                    <a:lnTo>
                      <a:pt x="2153" y="352863"/>
                    </a:lnTo>
                    <a:lnTo>
                      <a:pt x="0" y="350650"/>
                    </a:lnTo>
                    <a:lnTo>
                      <a:pt x="351846" y="0"/>
                    </a:lnTo>
                    <a:close/>
                  </a:path>
                </a:pathLst>
              </a:custGeom>
              <a:grpFill/>
              <a:ln w="5978" cap="flat">
                <a:noFill/>
                <a:prstDash val="solid"/>
                <a:miter/>
              </a:ln>
            </p:spPr>
            <p:txBody>
              <a:bodyPr rtlCol="0" anchor="ctr"/>
              <a:lstStyle/>
              <a:p>
                <a:endParaRPr lang="en-GB"/>
              </a:p>
            </p:txBody>
          </p:sp>
          <p:sp>
            <p:nvSpPr>
              <p:cNvPr id="1993" name="Vrije vorm: vorm 1992">
                <a:extLst>
                  <a:ext uri="{FF2B5EF4-FFF2-40B4-BE49-F238E27FC236}">
                    <a16:creationId xmlns:a16="http://schemas.microsoft.com/office/drawing/2014/main" id="{4DB3B249-1406-40AD-BCA8-58D07DEBFAA4}"/>
                  </a:ext>
                </a:extLst>
              </p:cNvPr>
              <p:cNvSpPr/>
              <p:nvPr/>
            </p:nvSpPr>
            <p:spPr>
              <a:xfrm>
                <a:off x="4943565" y="4697328"/>
                <a:ext cx="18338" cy="18421"/>
              </a:xfrm>
              <a:custGeom>
                <a:avLst/>
                <a:gdLst>
                  <a:gd name="connsiteX0" fmla="*/ 2691 w 18338"/>
                  <a:gd name="connsiteY0" fmla="*/ 2662 h 18421"/>
                  <a:gd name="connsiteX1" fmla="*/ 15670 w 18338"/>
                  <a:gd name="connsiteY1" fmla="*/ 2721 h 18421"/>
                  <a:gd name="connsiteX2" fmla="*/ 15670 w 18338"/>
                  <a:gd name="connsiteY2" fmla="*/ 15760 h 18421"/>
                  <a:gd name="connsiteX3" fmla="*/ 2691 w 18338"/>
                  <a:gd name="connsiteY3" fmla="*/ 15700 h 18421"/>
                  <a:gd name="connsiteX4" fmla="*/ 2691 w 18338"/>
                  <a:gd name="connsiteY4" fmla="*/ 266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1">
                    <a:moveTo>
                      <a:pt x="2691" y="2662"/>
                    </a:moveTo>
                    <a:cubicBezTo>
                      <a:pt x="6280" y="-927"/>
                      <a:pt x="12081" y="-867"/>
                      <a:pt x="15670" y="2721"/>
                    </a:cubicBezTo>
                    <a:cubicBezTo>
                      <a:pt x="19258" y="6370"/>
                      <a:pt x="19198" y="12171"/>
                      <a:pt x="15670" y="15760"/>
                    </a:cubicBezTo>
                    <a:cubicBezTo>
                      <a:pt x="12081" y="19348"/>
                      <a:pt x="6280" y="19288"/>
                      <a:pt x="2691" y="15700"/>
                    </a:cubicBezTo>
                    <a:cubicBezTo>
                      <a:pt x="-897" y="12052"/>
                      <a:pt x="-897" y="6190"/>
                      <a:pt x="2691" y="2662"/>
                    </a:cubicBezTo>
                    <a:close/>
                  </a:path>
                </a:pathLst>
              </a:custGeom>
              <a:grpFill/>
              <a:ln w="5978" cap="flat">
                <a:noFill/>
                <a:prstDash val="solid"/>
                <a:miter/>
              </a:ln>
            </p:spPr>
            <p:txBody>
              <a:bodyPr rtlCol="0" anchor="ctr"/>
              <a:lstStyle/>
              <a:p>
                <a:endParaRPr lang="en-GB"/>
              </a:p>
            </p:txBody>
          </p:sp>
          <p:sp>
            <p:nvSpPr>
              <p:cNvPr id="1994" name="Vrije vorm: vorm 1993">
                <a:extLst>
                  <a:ext uri="{FF2B5EF4-FFF2-40B4-BE49-F238E27FC236}">
                    <a16:creationId xmlns:a16="http://schemas.microsoft.com/office/drawing/2014/main" id="{BF7B573A-729C-48D8-A32D-62B67771BA73}"/>
                  </a:ext>
                </a:extLst>
              </p:cNvPr>
              <p:cNvSpPr/>
              <p:nvPr/>
            </p:nvSpPr>
            <p:spPr>
              <a:xfrm>
                <a:off x="4592377" y="5047358"/>
                <a:ext cx="18360" cy="18465"/>
              </a:xfrm>
              <a:custGeom>
                <a:avLst/>
                <a:gdLst>
                  <a:gd name="connsiteX0" fmla="*/ 2691 w 18360"/>
                  <a:gd name="connsiteY0" fmla="*/ 2684 h 18465"/>
                  <a:gd name="connsiteX1" fmla="*/ 2691 w 18360"/>
                  <a:gd name="connsiteY1" fmla="*/ 15722 h 18465"/>
                  <a:gd name="connsiteX2" fmla="*/ 15670 w 18360"/>
                  <a:gd name="connsiteY2" fmla="*/ 15782 h 18465"/>
                  <a:gd name="connsiteX3" fmla="*/ 15670 w 18360"/>
                  <a:gd name="connsiteY3" fmla="*/ 2744 h 18465"/>
                  <a:gd name="connsiteX4" fmla="*/ 2691 w 18360"/>
                  <a:gd name="connsiteY4" fmla="*/ 268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65">
                    <a:moveTo>
                      <a:pt x="2691" y="2684"/>
                    </a:moveTo>
                    <a:cubicBezTo>
                      <a:pt x="-897" y="6272"/>
                      <a:pt x="-897" y="12074"/>
                      <a:pt x="2691" y="15722"/>
                    </a:cubicBezTo>
                    <a:cubicBezTo>
                      <a:pt x="6280" y="19370"/>
                      <a:pt x="12081" y="19370"/>
                      <a:pt x="15670" y="15782"/>
                    </a:cubicBezTo>
                    <a:cubicBezTo>
                      <a:pt x="19258" y="12193"/>
                      <a:pt x="19258" y="6392"/>
                      <a:pt x="15670" y="2744"/>
                    </a:cubicBezTo>
                    <a:cubicBezTo>
                      <a:pt x="12081" y="-905"/>
                      <a:pt x="6280" y="-905"/>
                      <a:pt x="2691" y="2684"/>
                    </a:cubicBezTo>
                    <a:close/>
                  </a:path>
                </a:pathLst>
              </a:custGeom>
              <a:grpFill/>
              <a:ln w="5978" cap="flat">
                <a:noFill/>
                <a:prstDash val="solid"/>
                <a:miter/>
              </a:ln>
            </p:spPr>
            <p:txBody>
              <a:bodyPr rtlCol="0" anchor="ctr"/>
              <a:lstStyle/>
              <a:p>
                <a:endParaRPr lang="en-GB"/>
              </a:p>
            </p:txBody>
          </p:sp>
        </p:grpSp>
        <p:grpSp>
          <p:nvGrpSpPr>
            <p:cNvPr id="1137" name="Graphic 3">
              <a:extLst>
                <a:ext uri="{FF2B5EF4-FFF2-40B4-BE49-F238E27FC236}">
                  <a16:creationId xmlns:a16="http://schemas.microsoft.com/office/drawing/2014/main" id="{E64741A3-9F6D-4FFA-8A71-1139E727ADB1}"/>
                </a:ext>
              </a:extLst>
            </p:cNvPr>
            <p:cNvGrpSpPr/>
            <p:nvPr/>
          </p:nvGrpSpPr>
          <p:grpSpPr>
            <a:xfrm>
              <a:off x="4565148" y="4531081"/>
              <a:ext cx="249565" cy="179926"/>
              <a:chOff x="4565148" y="4531081"/>
              <a:chExt cx="249565" cy="179926"/>
            </a:xfrm>
            <a:grpFill/>
          </p:grpSpPr>
          <p:sp>
            <p:nvSpPr>
              <p:cNvPr id="1989" name="Vrije vorm: vorm 1988">
                <a:extLst>
                  <a:ext uri="{FF2B5EF4-FFF2-40B4-BE49-F238E27FC236}">
                    <a16:creationId xmlns:a16="http://schemas.microsoft.com/office/drawing/2014/main" id="{E16DD8EE-596E-467B-9A4B-36DF3344A3E2}"/>
                  </a:ext>
                </a:extLst>
              </p:cNvPr>
              <p:cNvSpPr/>
              <p:nvPr/>
            </p:nvSpPr>
            <p:spPr>
              <a:xfrm>
                <a:off x="4573059" y="4538750"/>
                <a:ext cx="233786" cy="164589"/>
              </a:xfrm>
              <a:custGeom>
                <a:avLst/>
                <a:gdLst>
                  <a:gd name="connsiteX0" fmla="*/ 233787 w 233786"/>
                  <a:gd name="connsiteY0" fmla="*/ 2512 h 164589"/>
                  <a:gd name="connsiteX1" fmla="*/ 1734 w 233786"/>
                  <a:gd name="connsiteY1" fmla="*/ 164590 h 164589"/>
                  <a:gd name="connsiteX2" fmla="*/ 0 w 233786"/>
                  <a:gd name="connsiteY2" fmla="*/ 162077 h 164589"/>
                  <a:gd name="connsiteX3" fmla="*/ 231992 w 233786"/>
                  <a:gd name="connsiteY3" fmla="*/ 0 h 164589"/>
                </a:gdLst>
                <a:ahLst/>
                <a:cxnLst>
                  <a:cxn ang="0">
                    <a:pos x="connsiteX0" y="connsiteY0"/>
                  </a:cxn>
                  <a:cxn ang="0">
                    <a:pos x="connsiteX1" y="connsiteY1"/>
                  </a:cxn>
                  <a:cxn ang="0">
                    <a:pos x="connsiteX2" y="connsiteY2"/>
                  </a:cxn>
                  <a:cxn ang="0">
                    <a:pos x="connsiteX3" y="connsiteY3"/>
                  </a:cxn>
                </a:cxnLst>
                <a:rect l="l" t="t" r="r" b="b"/>
                <a:pathLst>
                  <a:path w="233786" h="164589">
                    <a:moveTo>
                      <a:pt x="233787" y="2512"/>
                    </a:moveTo>
                    <a:lnTo>
                      <a:pt x="1734" y="164590"/>
                    </a:lnTo>
                    <a:lnTo>
                      <a:pt x="0" y="162077"/>
                    </a:lnTo>
                    <a:lnTo>
                      <a:pt x="231992" y="0"/>
                    </a:lnTo>
                    <a:close/>
                  </a:path>
                </a:pathLst>
              </a:custGeom>
              <a:grpFill/>
              <a:ln w="5978" cap="flat">
                <a:noFill/>
                <a:prstDash val="solid"/>
                <a:miter/>
              </a:ln>
            </p:spPr>
            <p:txBody>
              <a:bodyPr rtlCol="0" anchor="ctr"/>
              <a:lstStyle/>
              <a:p>
                <a:endParaRPr lang="en-GB"/>
              </a:p>
            </p:txBody>
          </p:sp>
          <p:sp>
            <p:nvSpPr>
              <p:cNvPr id="1990" name="Vrije vorm: vorm 1989">
                <a:extLst>
                  <a:ext uri="{FF2B5EF4-FFF2-40B4-BE49-F238E27FC236}">
                    <a16:creationId xmlns:a16="http://schemas.microsoft.com/office/drawing/2014/main" id="{9A84CF9D-88BE-43D7-A996-A92CCD99D784}"/>
                  </a:ext>
                </a:extLst>
              </p:cNvPr>
              <p:cNvSpPr/>
              <p:nvPr/>
            </p:nvSpPr>
            <p:spPr>
              <a:xfrm>
                <a:off x="4796422" y="4531081"/>
                <a:ext cx="18290" cy="18387"/>
              </a:xfrm>
              <a:custGeom>
                <a:avLst/>
                <a:gdLst>
                  <a:gd name="connsiteX0" fmla="*/ 3904 w 18290"/>
                  <a:gd name="connsiteY0" fmla="*/ 1628 h 18387"/>
                  <a:gd name="connsiteX1" fmla="*/ 16643 w 18290"/>
                  <a:gd name="connsiteY1" fmla="*/ 3961 h 18387"/>
                  <a:gd name="connsiteX2" fmla="*/ 14370 w 18290"/>
                  <a:gd name="connsiteY2" fmla="*/ 16759 h 18387"/>
                  <a:gd name="connsiteX3" fmla="*/ 1631 w 18290"/>
                  <a:gd name="connsiteY3" fmla="*/ 14427 h 18387"/>
                  <a:gd name="connsiteX4" fmla="*/ 3904 w 18290"/>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87">
                    <a:moveTo>
                      <a:pt x="3904" y="1628"/>
                    </a:moveTo>
                    <a:cubicBezTo>
                      <a:pt x="8031" y="-1243"/>
                      <a:pt x="13772" y="-226"/>
                      <a:pt x="16643" y="3961"/>
                    </a:cubicBezTo>
                    <a:cubicBezTo>
                      <a:pt x="19514" y="8147"/>
                      <a:pt x="18557" y="13888"/>
                      <a:pt x="14370" y="16759"/>
                    </a:cubicBezTo>
                    <a:cubicBezTo>
                      <a:pt x="10244" y="19630"/>
                      <a:pt x="4502" y="18613"/>
                      <a:pt x="1631" y="14427"/>
                    </a:cubicBezTo>
                    <a:cubicBezTo>
                      <a:pt x="-1239" y="10240"/>
                      <a:pt x="-223" y="4499"/>
                      <a:pt x="3904" y="1628"/>
                    </a:cubicBezTo>
                    <a:close/>
                  </a:path>
                </a:pathLst>
              </a:custGeom>
              <a:grpFill/>
              <a:ln w="5978" cap="flat">
                <a:noFill/>
                <a:prstDash val="solid"/>
                <a:miter/>
              </a:ln>
            </p:spPr>
            <p:txBody>
              <a:bodyPr rtlCol="0" anchor="ctr"/>
              <a:lstStyle/>
              <a:p>
                <a:endParaRPr lang="en-GB"/>
              </a:p>
            </p:txBody>
          </p:sp>
          <p:sp>
            <p:nvSpPr>
              <p:cNvPr id="1991" name="Vrije vorm: vorm 1990">
                <a:extLst>
                  <a:ext uri="{FF2B5EF4-FFF2-40B4-BE49-F238E27FC236}">
                    <a16:creationId xmlns:a16="http://schemas.microsoft.com/office/drawing/2014/main" id="{65F59302-EBA0-424D-9E3E-71DF680DAED0}"/>
                  </a:ext>
                </a:extLst>
              </p:cNvPr>
              <p:cNvSpPr/>
              <p:nvPr/>
            </p:nvSpPr>
            <p:spPr>
              <a:xfrm>
                <a:off x="4565148" y="4692620"/>
                <a:ext cx="18274" cy="18387"/>
              </a:xfrm>
              <a:custGeom>
                <a:avLst/>
                <a:gdLst>
                  <a:gd name="connsiteX0" fmla="*/ 3904 w 18274"/>
                  <a:gd name="connsiteY0" fmla="*/ 1628 h 18387"/>
                  <a:gd name="connsiteX1" fmla="*/ 1631 w 18274"/>
                  <a:gd name="connsiteY1" fmla="*/ 14427 h 18387"/>
                  <a:gd name="connsiteX2" fmla="*/ 14370 w 18274"/>
                  <a:gd name="connsiteY2" fmla="*/ 16759 h 18387"/>
                  <a:gd name="connsiteX3" fmla="*/ 16643 w 18274"/>
                  <a:gd name="connsiteY3" fmla="*/ 3961 h 18387"/>
                  <a:gd name="connsiteX4" fmla="*/ 3904 w 18274"/>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3904" y="1628"/>
                    </a:moveTo>
                    <a:cubicBezTo>
                      <a:pt x="-223" y="4499"/>
                      <a:pt x="-1239" y="10240"/>
                      <a:pt x="1631" y="14427"/>
                    </a:cubicBezTo>
                    <a:cubicBezTo>
                      <a:pt x="4502" y="18613"/>
                      <a:pt x="10244" y="19630"/>
                      <a:pt x="14370" y="16759"/>
                    </a:cubicBezTo>
                    <a:cubicBezTo>
                      <a:pt x="18497" y="13888"/>
                      <a:pt x="19514" y="8147"/>
                      <a:pt x="16643" y="3961"/>
                    </a:cubicBezTo>
                    <a:cubicBezTo>
                      <a:pt x="13772" y="-226"/>
                      <a:pt x="8031" y="-1243"/>
                      <a:pt x="3904" y="1628"/>
                    </a:cubicBezTo>
                    <a:close/>
                  </a:path>
                </a:pathLst>
              </a:custGeom>
              <a:grpFill/>
              <a:ln w="5978" cap="flat">
                <a:noFill/>
                <a:prstDash val="solid"/>
                <a:miter/>
              </a:ln>
            </p:spPr>
            <p:txBody>
              <a:bodyPr rtlCol="0" anchor="ctr"/>
              <a:lstStyle/>
              <a:p>
                <a:endParaRPr lang="en-GB"/>
              </a:p>
            </p:txBody>
          </p:sp>
        </p:grpSp>
        <p:grpSp>
          <p:nvGrpSpPr>
            <p:cNvPr id="1138" name="Graphic 3">
              <a:extLst>
                <a:ext uri="{FF2B5EF4-FFF2-40B4-BE49-F238E27FC236}">
                  <a16:creationId xmlns:a16="http://schemas.microsoft.com/office/drawing/2014/main" id="{6504A5DD-061E-463A-8B1D-E72C6465E2D2}"/>
                </a:ext>
              </a:extLst>
            </p:cNvPr>
            <p:cNvGrpSpPr/>
            <p:nvPr/>
          </p:nvGrpSpPr>
          <p:grpSpPr>
            <a:xfrm>
              <a:off x="3814665" y="2124432"/>
              <a:ext cx="87601" cy="58292"/>
              <a:chOff x="3814665" y="2124432"/>
              <a:chExt cx="87601" cy="58292"/>
            </a:xfrm>
            <a:grpFill/>
          </p:grpSpPr>
          <p:sp>
            <p:nvSpPr>
              <p:cNvPr id="1986" name="Vrije vorm: vorm 1985">
                <a:extLst>
                  <a:ext uri="{FF2B5EF4-FFF2-40B4-BE49-F238E27FC236}">
                    <a16:creationId xmlns:a16="http://schemas.microsoft.com/office/drawing/2014/main" id="{E77A69FC-3F3D-42DA-AF9E-6E010253DE8C}"/>
                  </a:ext>
                </a:extLst>
              </p:cNvPr>
              <p:cNvSpPr/>
              <p:nvPr/>
            </p:nvSpPr>
            <p:spPr>
              <a:xfrm>
                <a:off x="3822658" y="2132108"/>
                <a:ext cx="71589" cy="42941"/>
              </a:xfrm>
              <a:custGeom>
                <a:avLst/>
                <a:gdLst>
                  <a:gd name="connsiteX0" fmla="*/ 71589 w 71589"/>
                  <a:gd name="connsiteY0" fmla="*/ 40310 h 42941"/>
                  <a:gd name="connsiteX1" fmla="*/ 70094 w 71589"/>
                  <a:gd name="connsiteY1" fmla="*/ 42942 h 42941"/>
                  <a:gd name="connsiteX2" fmla="*/ 0 w 71589"/>
                  <a:gd name="connsiteY2" fmla="*/ 2631 h 42941"/>
                  <a:gd name="connsiteX3" fmla="*/ 1495 w 71589"/>
                  <a:gd name="connsiteY3" fmla="*/ 0 h 42941"/>
                </a:gdLst>
                <a:ahLst/>
                <a:cxnLst>
                  <a:cxn ang="0">
                    <a:pos x="connsiteX0" y="connsiteY0"/>
                  </a:cxn>
                  <a:cxn ang="0">
                    <a:pos x="connsiteX1" y="connsiteY1"/>
                  </a:cxn>
                  <a:cxn ang="0">
                    <a:pos x="connsiteX2" y="connsiteY2"/>
                  </a:cxn>
                  <a:cxn ang="0">
                    <a:pos x="connsiteX3" y="connsiteY3"/>
                  </a:cxn>
                </a:cxnLst>
                <a:rect l="l" t="t" r="r" b="b"/>
                <a:pathLst>
                  <a:path w="71589" h="42941">
                    <a:moveTo>
                      <a:pt x="71589" y="40310"/>
                    </a:moveTo>
                    <a:lnTo>
                      <a:pt x="70094" y="42942"/>
                    </a:lnTo>
                    <a:lnTo>
                      <a:pt x="0" y="2631"/>
                    </a:lnTo>
                    <a:lnTo>
                      <a:pt x="1495" y="0"/>
                    </a:lnTo>
                    <a:close/>
                  </a:path>
                </a:pathLst>
              </a:custGeom>
              <a:grpFill/>
              <a:ln w="5978" cap="flat">
                <a:noFill/>
                <a:prstDash val="solid"/>
                <a:miter/>
              </a:ln>
            </p:spPr>
            <p:txBody>
              <a:bodyPr rtlCol="0" anchor="ctr"/>
              <a:lstStyle/>
              <a:p>
                <a:endParaRPr lang="en-GB"/>
              </a:p>
            </p:txBody>
          </p:sp>
          <p:sp>
            <p:nvSpPr>
              <p:cNvPr id="1987" name="Vrije vorm: vorm 1986">
                <a:extLst>
                  <a:ext uri="{FF2B5EF4-FFF2-40B4-BE49-F238E27FC236}">
                    <a16:creationId xmlns:a16="http://schemas.microsoft.com/office/drawing/2014/main" id="{C4485336-F71D-4548-9DBB-B3CB46E680C4}"/>
                  </a:ext>
                </a:extLst>
              </p:cNvPr>
              <p:cNvSpPr/>
              <p:nvPr/>
            </p:nvSpPr>
            <p:spPr>
              <a:xfrm>
                <a:off x="3814665" y="2124432"/>
                <a:ext cx="18318" cy="18427"/>
              </a:xfrm>
              <a:custGeom>
                <a:avLst/>
                <a:gdLst>
                  <a:gd name="connsiteX0" fmla="*/ 4644 w 18318"/>
                  <a:gd name="connsiteY0" fmla="*/ 17185 h 18427"/>
                  <a:gd name="connsiteX1" fmla="*/ 1175 w 18318"/>
                  <a:gd name="connsiteY1" fmla="*/ 4625 h 18427"/>
                  <a:gd name="connsiteX2" fmla="*/ 13675 w 18318"/>
                  <a:gd name="connsiteY2" fmla="*/ 1216 h 18427"/>
                  <a:gd name="connsiteX3" fmla="*/ 17143 w 18318"/>
                  <a:gd name="connsiteY3" fmla="*/ 13776 h 18427"/>
                  <a:gd name="connsiteX4" fmla="*/ 4644 w 18318"/>
                  <a:gd name="connsiteY4" fmla="*/ 17185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7">
                    <a:moveTo>
                      <a:pt x="4644" y="17185"/>
                    </a:moveTo>
                    <a:cubicBezTo>
                      <a:pt x="218" y="14673"/>
                      <a:pt x="-1277" y="9051"/>
                      <a:pt x="1175" y="4625"/>
                    </a:cubicBezTo>
                    <a:cubicBezTo>
                      <a:pt x="3687" y="200"/>
                      <a:pt x="9249" y="-1295"/>
                      <a:pt x="13675" y="1216"/>
                    </a:cubicBezTo>
                    <a:cubicBezTo>
                      <a:pt x="18101" y="3728"/>
                      <a:pt x="19596" y="9350"/>
                      <a:pt x="17143" y="13776"/>
                    </a:cubicBezTo>
                    <a:cubicBezTo>
                      <a:pt x="14632" y="18202"/>
                      <a:pt x="9010" y="19757"/>
                      <a:pt x="4644" y="17185"/>
                    </a:cubicBezTo>
                    <a:close/>
                  </a:path>
                </a:pathLst>
              </a:custGeom>
              <a:grpFill/>
              <a:ln w="5978" cap="flat">
                <a:noFill/>
                <a:prstDash val="solid"/>
                <a:miter/>
              </a:ln>
            </p:spPr>
            <p:txBody>
              <a:bodyPr rtlCol="0" anchor="ctr"/>
              <a:lstStyle/>
              <a:p>
                <a:endParaRPr lang="en-GB"/>
              </a:p>
            </p:txBody>
          </p:sp>
          <p:sp>
            <p:nvSpPr>
              <p:cNvPr id="1988" name="Vrije vorm: vorm 1987">
                <a:extLst>
                  <a:ext uri="{FF2B5EF4-FFF2-40B4-BE49-F238E27FC236}">
                    <a16:creationId xmlns:a16="http://schemas.microsoft.com/office/drawing/2014/main" id="{29A01E58-0C8C-46AF-8A5F-F6B369285599}"/>
                  </a:ext>
                </a:extLst>
              </p:cNvPr>
              <p:cNvSpPr/>
              <p:nvPr/>
            </p:nvSpPr>
            <p:spPr>
              <a:xfrm>
                <a:off x="3883921" y="2164323"/>
                <a:ext cx="18344" cy="18401"/>
              </a:xfrm>
              <a:custGeom>
                <a:avLst/>
                <a:gdLst>
                  <a:gd name="connsiteX0" fmla="*/ 4644 w 18344"/>
                  <a:gd name="connsiteY0" fmla="*/ 17185 h 18401"/>
                  <a:gd name="connsiteX1" fmla="*/ 17143 w 18344"/>
                  <a:gd name="connsiteY1" fmla="*/ 13776 h 18401"/>
                  <a:gd name="connsiteX2" fmla="*/ 13675 w 18344"/>
                  <a:gd name="connsiteY2" fmla="*/ 1216 h 18401"/>
                  <a:gd name="connsiteX3" fmla="*/ 1175 w 18344"/>
                  <a:gd name="connsiteY3" fmla="*/ 4625 h 18401"/>
                  <a:gd name="connsiteX4" fmla="*/ 4644 w 18344"/>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1">
                    <a:moveTo>
                      <a:pt x="4644" y="17185"/>
                    </a:moveTo>
                    <a:cubicBezTo>
                      <a:pt x="9069" y="19697"/>
                      <a:pt x="14632" y="18202"/>
                      <a:pt x="17143" y="13776"/>
                    </a:cubicBezTo>
                    <a:cubicBezTo>
                      <a:pt x="19655" y="9350"/>
                      <a:pt x="18100" y="3728"/>
                      <a:pt x="13675" y="1216"/>
                    </a:cubicBezTo>
                    <a:cubicBezTo>
                      <a:pt x="9249" y="-1295"/>
                      <a:pt x="3687" y="200"/>
                      <a:pt x="1175" y="4625"/>
                    </a:cubicBezTo>
                    <a:cubicBezTo>
                      <a:pt x="-1277" y="8991"/>
                      <a:pt x="218" y="14613"/>
                      <a:pt x="4644" y="17185"/>
                    </a:cubicBezTo>
                    <a:close/>
                  </a:path>
                </a:pathLst>
              </a:custGeom>
              <a:grpFill/>
              <a:ln w="5978" cap="flat">
                <a:noFill/>
                <a:prstDash val="solid"/>
                <a:miter/>
              </a:ln>
            </p:spPr>
            <p:txBody>
              <a:bodyPr rtlCol="0" anchor="ctr"/>
              <a:lstStyle/>
              <a:p>
                <a:endParaRPr lang="en-GB"/>
              </a:p>
            </p:txBody>
          </p:sp>
        </p:grpSp>
        <p:grpSp>
          <p:nvGrpSpPr>
            <p:cNvPr id="1139" name="Graphic 3">
              <a:extLst>
                <a:ext uri="{FF2B5EF4-FFF2-40B4-BE49-F238E27FC236}">
                  <a16:creationId xmlns:a16="http://schemas.microsoft.com/office/drawing/2014/main" id="{0DD41744-4C7A-43F4-A8E8-8BD6EF1262AA}"/>
                </a:ext>
              </a:extLst>
            </p:cNvPr>
            <p:cNvGrpSpPr/>
            <p:nvPr/>
          </p:nvGrpSpPr>
          <p:grpSpPr>
            <a:xfrm>
              <a:off x="4707610" y="4767506"/>
              <a:ext cx="104334" cy="111793"/>
              <a:chOff x="4707610" y="4767506"/>
              <a:chExt cx="104334" cy="111793"/>
            </a:xfrm>
            <a:grpFill/>
          </p:grpSpPr>
          <p:sp>
            <p:nvSpPr>
              <p:cNvPr id="1983" name="Vrije vorm: vorm 1982">
                <a:extLst>
                  <a:ext uri="{FF2B5EF4-FFF2-40B4-BE49-F238E27FC236}">
                    <a16:creationId xmlns:a16="http://schemas.microsoft.com/office/drawing/2014/main" id="{259BD057-0B76-4AD6-8920-298818480EFA}"/>
                  </a:ext>
                </a:extLst>
              </p:cNvPr>
              <p:cNvSpPr/>
              <p:nvPr/>
            </p:nvSpPr>
            <p:spPr>
              <a:xfrm>
                <a:off x="4715400" y="4775347"/>
                <a:ext cx="88813" cy="96110"/>
              </a:xfrm>
              <a:custGeom>
                <a:avLst/>
                <a:gdLst>
                  <a:gd name="connsiteX0" fmla="*/ 88814 w 88813"/>
                  <a:gd name="connsiteY0" fmla="*/ 2093 h 96110"/>
                  <a:gd name="connsiteX1" fmla="*/ 2213 w 88813"/>
                  <a:gd name="connsiteY1" fmla="*/ 96110 h 96110"/>
                  <a:gd name="connsiteX2" fmla="*/ 0 w 88813"/>
                  <a:gd name="connsiteY2" fmla="*/ 94017 h 96110"/>
                  <a:gd name="connsiteX3" fmla="*/ 86601 w 88813"/>
                  <a:gd name="connsiteY3" fmla="*/ 0 h 96110"/>
                </a:gdLst>
                <a:ahLst/>
                <a:cxnLst>
                  <a:cxn ang="0">
                    <a:pos x="connsiteX0" y="connsiteY0"/>
                  </a:cxn>
                  <a:cxn ang="0">
                    <a:pos x="connsiteX1" y="connsiteY1"/>
                  </a:cxn>
                  <a:cxn ang="0">
                    <a:pos x="connsiteX2" y="connsiteY2"/>
                  </a:cxn>
                  <a:cxn ang="0">
                    <a:pos x="connsiteX3" y="connsiteY3"/>
                  </a:cxn>
                </a:cxnLst>
                <a:rect l="l" t="t" r="r" b="b"/>
                <a:pathLst>
                  <a:path w="88813" h="96110">
                    <a:moveTo>
                      <a:pt x="88814" y="2093"/>
                    </a:moveTo>
                    <a:lnTo>
                      <a:pt x="2213" y="96110"/>
                    </a:lnTo>
                    <a:lnTo>
                      <a:pt x="0" y="94017"/>
                    </a:lnTo>
                    <a:lnTo>
                      <a:pt x="86601" y="0"/>
                    </a:lnTo>
                    <a:close/>
                  </a:path>
                </a:pathLst>
              </a:custGeom>
              <a:grpFill/>
              <a:ln w="5978" cap="flat">
                <a:noFill/>
                <a:prstDash val="solid"/>
                <a:miter/>
              </a:ln>
            </p:spPr>
            <p:txBody>
              <a:bodyPr rtlCol="0" anchor="ctr"/>
              <a:lstStyle/>
              <a:p>
                <a:endParaRPr lang="en-GB"/>
              </a:p>
            </p:txBody>
          </p:sp>
          <p:sp>
            <p:nvSpPr>
              <p:cNvPr id="1984" name="Vrije vorm: vorm 1983">
                <a:extLst>
                  <a:ext uri="{FF2B5EF4-FFF2-40B4-BE49-F238E27FC236}">
                    <a16:creationId xmlns:a16="http://schemas.microsoft.com/office/drawing/2014/main" id="{CAE3F671-EADE-428F-8A45-91A505929FBE}"/>
                  </a:ext>
                </a:extLst>
              </p:cNvPr>
              <p:cNvSpPr/>
              <p:nvPr/>
            </p:nvSpPr>
            <p:spPr>
              <a:xfrm>
                <a:off x="4707610" y="4860865"/>
                <a:ext cx="18376" cy="18434"/>
              </a:xfrm>
              <a:custGeom>
                <a:avLst/>
                <a:gdLst>
                  <a:gd name="connsiteX0" fmla="*/ 15924 w 18376"/>
                  <a:gd name="connsiteY0" fmla="*/ 15497 h 18434"/>
                  <a:gd name="connsiteX1" fmla="*/ 2946 w 18376"/>
                  <a:gd name="connsiteY1" fmla="*/ 15975 h 18434"/>
                  <a:gd name="connsiteX2" fmla="*/ 2408 w 18376"/>
                  <a:gd name="connsiteY2" fmla="*/ 2937 h 18434"/>
                  <a:gd name="connsiteX3" fmla="*/ 15386 w 18376"/>
                  <a:gd name="connsiteY3" fmla="*/ 2459 h 18434"/>
                  <a:gd name="connsiteX4" fmla="*/ 15924 w 18376"/>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4">
                    <a:moveTo>
                      <a:pt x="15924" y="15497"/>
                    </a:moveTo>
                    <a:cubicBezTo>
                      <a:pt x="12515" y="19205"/>
                      <a:pt x="6714" y="19444"/>
                      <a:pt x="2946" y="15975"/>
                    </a:cubicBezTo>
                    <a:cubicBezTo>
                      <a:pt x="-762" y="12507"/>
                      <a:pt x="-1001" y="6705"/>
                      <a:pt x="2408" y="2937"/>
                    </a:cubicBezTo>
                    <a:cubicBezTo>
                      <a:pt x="5817" y="-771"/>
                      <a:pt x="11618" y="-1010"/>
                      <a:pt x="15386" y="2459"/>
                    </a:cubicBezTo>
                    <a:cubicBezTo>
                      <a:pt x="19154" y="5928"/>
                      <a:pt x="19393" y="11729"/>
                      <a:pt x="15924" y="15497"/>
                    </a:cubicBezTo>
                    <a:close/>
                  </a:path>
                </a:pathLst>
              </a:custGeom>
              <a:grpFill/>
              <a:ln w="5978" cap="flat">
                <a:noFill/>
                <a:prstDash val="solid"/>
                <a:miter/>
              </a:ln>
            </p:spPr>
            <p:txBody>
              <a:bodyPr rtlCol="0" anchor="ctr"/>
              <a:lstStyle/>
              <a:p>
                <a:endParaRPr lang="en-GB"/>
              </a:p>
            </p:txBody>
          </p:sp>
          <p:sp>
            <p:nvSpPr>
              <p:cNvPr id="1985" name="Vrije vorm: vorm 1984">
                <a:extLst>
                  <a:ext uri="{FF2B5EF4-FFF2-40B4-BE49-F238E27FC236}">
                    <a16:creationId xmlns:a16="http://schemas.microsoft.com/office/drawing/2014/main" id="{ACB794FA-74BF-49C8-9FD0-F380FDE3BF66}"/>
                  </a:ext>
                </a:extLst>
              </p:cNvPr>
              <p:cNvSpPr/>
              <p:nvPr/>
            </p:nvSpPr>
            <p:spPr>
              <a:xfrm>
                <a:off x="4793612" y="4767506"/>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6" y="-771"/>
                      <a:pt x="2408" y="2937"/>
                    </a:cubicBezTo>
                    <a:cubicBezTo>
                      <a:pt x="-1001" y="6645"/>
                      <a:pt x="-762" y="12507"/>
                      <a:pt x="2946" y="15975"/>
                    </a:cubicBezTo>
                    <a:cubicBezTo>
                      <a:pt x="6654" y="19444"/>
                      <a:pt x="12455" y="19205"/>
                      <a:pt x="15924" y="15497"/>
                    </a:cubicBezTo>
                    <a:close/>
                  </a:path>
                </a:pathLst>
              </a:custGeom>
              <a:grpFill/>
              <a:ln w="5978" cap="flat">
                <a:noFill/>
                <a:prstDash val="solid"/>
                <a:miter/>
              </a:ln>
            </p:spPr>
            <p:txBody>
              <a:bodyPr rtlCol="0" anchor="ctr"/>
              <a:lstStyle/>
              <a:p>
                <a:endParaRPr lang="en-GB"/>
              </a:p>
            </p:txBody>
          </p:sp>
        </p:grpSp>
        <p:grpSp>
          <p:nvGrpSpPr>
            <p:cNvPr id="1140" name="Graphic 3">
              <a:extLst>
                <a:ext uri="{FF2B5EF4-FFF2-40B4-BE49-F238E27FC236}">
                  <a16:creationId xmlns:a16="http://schemas.microsoft.com/office/drawing/2014/main" id="{BCFFAF06-C529-4458-A612-558C4AD33417}"/>
                </a:ext>
              </a:extLst>
            </p:cNvPr>
            <p:cNvGrpSpPr/>
            <p:nvPr/>
          </p:nvGrpSpPr>
          <p:grpSpPr>
            <a:xfrm>
              <a:off x="4810724" y="5019005"/>
              <a:ext cx="26691" cy="29418"/>
              <a:chOff x="4810724" y="5019005"/>
              <a:chExt cx="26691" cy="29418"/>
            </a:xfrm>
            <a:grpFill/>
          </p:grpSpPr>
          <p:sp>
            <p:nvSpPr>
              <p:cNvPr id="1981" name="Vrije vorm: vorm 1980">
                <a:extLst>
                  <a:ext uri="{FF2B5EF4-FFF2-40B4-BE49-F238E27FC236}">
                    <a16:creationId xmlns:a16="http://schemas.microsoft.com/office/drawing/2014/main" id="{FD3AC7D5-757B-46F9-8A99-4ABFA50FED08}"/>
                  </a:ext>
                </a:extLst>
              </p:cNvPr>
              <p:cNvSpPr/>
              <p:nvPr/>
            </p:nvSpPr>
            <p:spPr>
              <a:xfrm>
                <a:off x="4810724" y="5030010"/>
                <a:ext cx="18318" cy="18413"/>
              </a:xfrm>
              <a:custGeom>
                <a:avLst/>
                <a:gdLst>
                  <a:gd name="connsiteX0" fmla="*/ 1863 w 18318"/>
                  <a:gd name="connsiteY0" fmla="*/ 3585 h 18413"/>
                  <a:gd name="connsiteX1" fmla="*/ 14721 w 18318"/>
                  <a:gd name="connsiteY1" fmla="*/ 1910 h 18413"/>
                  <a:gd name="connsiteX2" fmla="*/ 16456 w 18318"/>
                  <a:gd name="connsiteY2" fmla="*/ 14829 h 18413"/>
                  <a:gd name="connsiteX3" fmla="*/ 3597 w 18318"/>
                  <a:gd name="connsiteY3" fmla="*/ 16503 h 18413"/>
                  <a:gd name="connsiteX4" fmla="*/ 1863 w 18318"/>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863" y="3585"/>
                    </a:moveTo>
                    <a:cubicBezTo>
                      <a:pt x="4913" y="-422"/>
                      <a:pt x="10655" y="-1200"/>
                      <a:pt x="14721" y="1910"/>
                    </a:cubicBezTo>
                    <a:cubicBezTo>
                      <a:pt x="18728" y="5020"/>
                      <a:pt x="19506" y="10822"/>
                      <a:pt x="16456" y="14829"/>
                    </a:cubicBezTo>
                    <a:cubicBezTo>
                      <a:pt x="13405" y="18836"/>
                      <a:pt x="7664" y="19613"/>
                      <a:pt x="3597" y="16503"/>
                    </a:cubicBezTo>
                    <a:cubicBezTo>
                      <a:pt x="-410" y="13393"/>
                      <a:pt x="-1188" y="7592"/>
                      <a:pt x="1863" y="3585"/>
                    </a:cubicBezTo>
                    <a:close/>
                  </a:path>
                </a:pathLst>
              </a:custGeom>
              <a:grpFill/>
              <a:ln w="5978" cap="flat">
                <a:noFill/>
                <a:prstDash val="solid"/>
                <a:miter/>
              </a:ln>
            </p:spPr>
            <p:txBody>
              <a:bodyPr rtlCol="0" anchor="ctr"/>
              <a:lstStyle/>
              <a:p>
                <a:endParaRPr lang="en-GB"/>
              </a:p>
            </p:txBody>
          </p:sp>
          <p:sp>
            <p:nvSpPr>
              <p:cNvPr id="1982" name="Vrije vorm: vorm 1981">
                <a:extLst>
                  <a:ext uri="{FF2B5EF4-FFF2-40B4-BE49-F238E27FC236}">
                    <a16:creationId xmlns:a16="http://schemas.microsoft.com/office/drawing/2014/main" id="{19BACF3B-167E-4D62-8DC9-9B16B3B16F88}"/>
                  </a:ext>
                </a:extLst>
              </p:cNvPr>
              <p:cNvSpPr/>
              <p:nvPr/>
            </p:nvSpPr>
            <p:spPr>
              <a:xfrm>
                <a:off x="4819097" y="5019005"/>
                <a:ext cx="18318" cy="18413"/>
              </a:xfrm>
              <a:custGeom>
                <a:avLst/>
                <a:gdLst>
                  <a:gd name="connsiteX0" fmla="*/ 1863 w 18318"/>
                  <a:gd name="connsiteY0" fmla="*/ 3585 h 18413"/>
                  <a:gd name="connsiteX1" fmla="*/ 3597 w 18318"/>
                  <a:gd name="connsiteY1" fmla="*/ 16503 h 18413"/>
                  <a:gd name="connsiteX2" fmla="*/ 16456 w 18318"/>
                  <a:gd name="connsiteY2" fmla="*/ 14829 h 18413"/>
                  <a:gd name="connsiteX3" fmla="*/ 14721 w 18318"/>
                  <a:gd name="connsiteY3" fmla="*/ 1910 h 18413"/>
                  <a:gd name="connsiteX4" fmla="*/ 1863 w 18318"/>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863" y="3585"/>
                    </a:moveTo>
                    <a:cubicBezTo>
                      <a:pt x="-1188" y="7592"/>
                      <a:pt x="-410" y="13393"/>
                      <a:pt x="3597" y="16503"/>
                    </a:cubicBezTo>
                    <a:cubicBezTo>
                      <a:pt x="7604" y="19614"/>
                      <a:pt x="13346" y="18836"/>
                      <a:pt x="16456" y="14829"/>
                    </a:cubicBezTo>
                    <a:cubicBezTo>
                      <a:pt x="19506" y="10822"/>
                      <a:pt x="18728" y="5021"/>
                      <a:pt x="14721" y="1910"/>
                    </a:cubicBezTo>
                    <a:cubicBezTo>
                      <a:pt x="10654" y="-1200"/>
                      <a:pt x="4913" y="-422"/>
                      <a:pt x="1863" y="3585"/>
                    </a:cubicBezTo>
                    <a:close/>
                  </a:path>
                </a:pathLst>
              </a:custGeom>
              <a:grpFill/>
              <a:ln w="5978" cap="flat">
                <a:noFill/>
                <a:prstDash val="solid"/>
                <a:miter/>
              </a:ln>
            </p:spPr>
            <p:txBody>
              <a:bodyPr rtlCol="0" anchor="ctr"/>
              <a:lstStyle/>
              <a:p>
                <a:endParaRPr lang="en-GB"/>
              </a:p>
            </p:txBody>
          </p:sp>
        </p:grpSp>
        <p:grpSp>
          <p:nvGrpSpPr>
            <p:cNvPr id="1141" name="Graphic 3">
              <a:extLst>
                <a:ext uri="{FF2B5EF4-FFF2-40B4-BE49-F238E27FC236}">
                  <a16:creationId xmlns:a16="http://schemas.microsoft.com/office/drawing/2014/main" id="{2C9856C0-7D55-48F2-955A-E08D46F11520}"/>
                </a:ext>
              </a:extLst>
            </p:cNvPr>
            <p:cNvGrpSpPr/>
            <p:nvPr/>
          </p:nvGrpSpPr>
          <p:grpSpPr>
            <a:xfrm>
              <a:off x="3883388" y="2653892"/>
              <a:ext cx="334904" cy="128832"/>
              <a:chOff x="3883388" y="2653892"/>
              <a:chExt cx="334904" cy="128832"/>
            </a:xfrm>
            <a:grpFill/>
          </p:grpSpPr>
          <p:sp>
            <p:nvSpPr>
              <p:cNvPr id="1978" name="Vrije vorm: vorm 1977">
                <a:extLst>
                  <a:ext uri="{FF2B5EF4-FFF2-40B4-BE49-F238E27FC236}">
                    <a16:creationId xmlns:a16="http://schemas.microsoft.com/office/drawing/2014/main" id="{07710775-DE82-490B-9DDE-78EE1CD370B1}"/>
                  </a:ext>
                </a:extLst>
              </p:cNvPr>
              <p:cNvSpPr/>
              <p:nvPr/>
            </p:nvSpPr>
            <p:spPr>
              <a:xfrm>
                <a:off x="3891615" y="2661521"/>
                <a:ext cx="318413" cy="113573"/>
              </a:xfrm>
              <a:custGeom>
                <a:avLst/>
                <a:gdLst>
                  <a:gd name="connsiteX0" fmla="*/ 318414 w 318413"/>
                  <a:gd name="connsiteY0" fmla="*/ 110703 h 113573"/>
                  <a:gd name="connsiteX1" fmla="*/ 317397 w 318413"/>
                  <a:gd name="connsiteY1" fmla="*/ 113574 h 113573"/>
                  <a:gd name="connsiteX2" fmla="*/ 0 w 318413"/>
                  <a:gd name="connsiteY2" fmla="*/ 2930 h 113573"/>
                  <a:gd name="connsiteX3" fmla="*/ 1017 w 318413"/>
                  <a:gd name="connsiteY3" fmla="*/ 0 h 113573"/>
                </a:gdLst>
                <a:ahLst/>
                <a:cxnLst>
                  <a:cxn ang="0">
                    <a:pos x="connsiteX0" y="connsiteY0"/>
                  </a:cxn>
                  <a:cxn ang="0">
                    <a:pos x="connsiteX1" y="connsiteY1"/>
                  </a:cxn>
                  <a:cxn ang="0">
                    <a:pos x="connsiteX2" y="connsiteY2"/>
                  </a:cxn>
                  <a:cxn ang="0">
                    <a:pos x="connsiteX3" y="connsiteY3"/>
                  </a:cxn>
                </a:cxnLst>
                <a:rect l="l" t="t" r="r" b="b"/>
                <a:pathLst>
                  <a:path w="318413" h="113573">
                    <a:moveTo>
                      <a:pt x="318414" y="110703"/>
                    </a:moveTo>
                    <a:lnTo>
                      <a:pt x="317397" y="113574"/>
                    </a:lnTo>
                    <a:lnTo>
                      <a:pt x="0" y="2930"/>
                    </a:lnTo>
                    <a:lnTo>
                      <a:pt x="1017" y="0"/>
                    </a:lnTo>
                    <a:close/>
                  </a:path>
                </a:pathLst>
              </a:custGeom>
              <a:grpFill/>
              <a:ln w="5978" cap="flat">
                <a:noFill/>
                <a:prstDash val="solid"/>
                <a:miter/>
              </a:ln>
            </p:spPr>
            <p:txBody>
              <a:bodyPr rtlCol="0" anchor="ctr"/>
              <a:lstStyle/>
              <a:p>
                <a:endParaRPr lang="en-GB"/>
              </a:p>
            </p:txBody>
          </p:sp>
          <p:sp>
            <p:nvSpPr>
              <p:cNvPr id="1979" name="Vrije vorm: vorm 1978">
                <a:extLst>
                  <a:ext uri="{FF2B5EF4-FFF2-40B4-BE49-F238E27FC236}">
                    <a16:creationId xmlns:a16="http://schemas.microsoft.com/office/drawing/2014/main" id="{6AFB0981-D875-4D23-AB84-7CBA8E95A7B9}"/>
                  </a:ext>
                </a:extLst>
              </p:cNvPr>
              <p:cNvSpPr/>
              <p:nvPr/>
            </p:nvSpPr>
            <p:spPr>
              <a:xfrm>
                <a:off x="3883388" y="2653892"/>
                <a:ext cx="18368" cy="18434"/>
              </a:xfrm>
              <a:custGeom>
                <a:avLst/>
                <a:gdLst>
                  <a:gd name="connsiteX0" fmla="*/ 6194 w 18368"/>
                  <a:gd name="connsiteY0" fmla="*/ 17916 h 18434"/>
                  <a:gd name="connsiteX1" fmla="*/ 512 w 18368"/>
                  <a:gd name="connsiteY1" fmla="*/ 6194 h 18434"/>
                  <a:gd name="connsiteX2" fmla="*/ 12175 w 18368"/>
                  <a:gd name="connsiteY2" fmla="*/ 512 h 18434"/>
                  <a:gd name="connsiteX3" fmla="*/ 17856 w 18368"/>
                  <a:gd name="connsiteY3" fmla="*/ 12234 h 18434"/>
                  <a:gd name="connsiteX4" fmla="*/ 6194 w 18368"/>
                  <a:gd name="connsiteY4" fmla="*/ 1791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34">
                    <a:moveTo>
                      <a:pt x="6194" y="17916"/>
                    </a:moveTo>
                    <a:cubicBezTo>
                      <a:pt x="1409" y="16241"/>
                      <a:pt x="-1163" y="10978"/>
                      <a:pt x="512" y="6194"/>
                    </a:cubicBezTo>
                    <a:cubicBezTo>
                      <a:pt x="2127" y="1409"/>
                      <a:pt x="7390" y="-1162"/>
                      <a:pt x="12175" y="512"/>
                    </a:cubicBezTo>
                    <a:cubicBezTo>
                      <a:pt x="16959" y="2187"/>
                      <a:pt x="19531" y="7450"/>
                      <a:pt x="17856" y="12234"/>
                    </a:cubicBezTo>
                    <a:cubicBezTo>
                      <a:pt x="16182" y="17079"/>
                      <a:pt x="10978" y="19591"/>
                      <a:pt x="6194" y="17916"/>
                    </a:cubicBezTo>
                    <a:close/>
                  </a:path>
                </a:pathLst>
              </a:custGeom>
              <a:grpFill/>
              <a:ln w="5978" cap="flat">
                <a:noFill/>
                <a:prstDash val="solid"/>
                <a:miter/>
              </a:ln>
            </p:spPr>
            <p:txBody>
              <a:bodyPr rtlCol="0" anchor="ctr"/>
              <a:lstStyle/>
              <a:p>
                <a:endParaRPr lang="en-GB"/>
              </a:p>
            </p:txBody>
          </p:sp>
          <p:sp>
            <p:nvSpPr>
              <p:cNvPr id="1980" name="Vrije vorm: vorm 1979">
                <a:extLst>
                  <a:ext uri="{FF2B5EF4-FFF2-40B4-BE49-F238E27FC236}">
                    <a16:creationId xmlns:a16="http://schemas.microsoft.com/office/drawing/2014/main" id="{6C8478E9-9CE6-4F43-94E2-6BC2A3549A22}"/>
                  </a:ext>
                </a:extLst>
              </p:cNvPr>
              <p:cNvSpPr/>
              <p:nvPr/>
            </p:nvSpPr>
            <p:spPr>
              <a:xfrm>
                <a:off x="4199948" y="2764296"/>
                <a:ext cx="18345" cy="18428"/>
              </a:xfrm>
              <a:custGeom>
                <a:avLst/>
                <a:gdLst>
                  <a:gd name="connsiteX0" fmla="*/ 6194 w 18345"/>
                  <a:gd name="connsiteY0" fmla="*/ 17916 h 18428"/>
                  <a:gd name="connsiteX1" fmla="*/ 17856 w 18345"/>
                  <a:gd name="connsiteY1" fmla="*/ 12234 h 18428"/>
                  <a:gd name="connsiteX2" fmla="*/ 12175 w 18345"/>
                  <a:gd name="connsiteY2" fmla="*/ 512 h 18428"/>
                  <a:gd name="connsiteX3" fmla="*/ 512 w 18345"/>
                  <a:gd name="connsiteY3" fmla="*/ 6194 h 18428"/>
                  <a:gd name="connsiteX4" fmla="*/ 6194 w 18345"/>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8">
                    <a:moveTo>
                      <a:pt x="6194" y="17916"/>
                    </a:moveTo>
                    <a:cubicBezTo>
                      <a:pt x="10978" y="19591"/>
                      <a:pt x="16182" y="17019"/>
                      <a:pt x="17856" y="12234"/>
                    </a:cubicBezTo>
                    <a:cubicBezTo>
                      <a:pt x="19471" y="7450"/>
                      <a:pt x="16959" y="2187"/>
                      <a:pt x="12175" y="512"/>
                    </a:cubicBezTo>
                    <a:cubicBezTo>
                      <a:pt x="7390" y="-1163"/>
                      <a:pt x="2187" y="1409"/>
                      <a:pt x="512" y="6194"/>
                    </a:cubicBezTo>
                    <a:cubicBezTo>
                      <a:pt x="-1163" y="10978"/>
                      <a:pt x="1409" y="16241"/>
                      <a:pt x="6194" y="17916"/>
                    </a:cubicBezTo>
                    <a:close/>
                  </a:path>
                </a:pathLst>
              </a:custGeom>
              <a:grpFill/>
              <a:ln w="5978" cap="flat">
                <a:noFill/>
                <a:prstDash val="solid"/>
                <a:miter/>
              </a:ln>
            </p:spPr>
            <p:txBody>
              <a:bodyPr rtlCol="0" anchor="ctr"/>
              <a:lstStyle/>
              <a:p>
                <a:endParaRPr lang="en-GB"/>
              </a:p>
            </p:txBody>
          </p:sp>
        </p:grpSp>
        <p:grpSp>
          <p:nvGrpSpPr>
            <p:cNvPr id="1142" name="Graphic 3">
              <a:extLst>
                <a:ext uri="{FF2B5EF4-FFF2-40B4-BE49-F238E27FC236}">
                  <a16:creationId xmlns:a16="http://schemas.microsoft.com/office/drawing/2014/main" id="{6D850A82-0A9B-4BFF-B59B-887CD06DEDF5}"/>
                </a:ext>
              </a:extLst>
            </p:cNvPr>
            <p:cNvGrpSpPr/>
            <p:nvPr/>
          </p:nvGrpSpPr>
          <p:grpSpPr>
            <a:xfrm>
              <a:off x="3795263" y="2762591"/>
              <a:ext cx="616135" cy="222041"/>
              <a:chOff x="3795263" y="2762591"/>
              <a:chExt cx="616135" cy="222041"/>
            </a:xfrm>
            <a:grpFill/>
          </p:grpSpPr>
          <p:sp>
            <p:nvSpPr>
              <p:cNvPr id="1975" name="Vrije vorm: vorm 1974">
                <a:extLst>
                  <a:ext uri="{FF2B5EF4-FFF2-40B4-BE49-F238E27FC236}">
                    <a16:creationId xmlns:a16="http://schemas.microsoft.com/office/drawing/2014/main" id="{399FF4E3-0975-47C5-929B-DCF63C01D099}"/>
                  </a:ext>
                </a:extLst>
              </p:cNvPr>
              <p:cNvSpPr/>
              <p:nvPr/>
            </p:nvSpPr>
            <p:spPr>
              <a:xfrm>
                <a:off x="3803519" y="2770191"/>
                <a:ext cx="599627" cy="206873"/>
              </a:xfrm>
              <a:custGeom>
                <a:avLst/>
                <a:gdLst>
                  <a:gd name="connsiteX0" fmla="*/ 599627 w 599627"/>
                  <a:gd name="connsiteY0" fmla="*/ 203943 h 206873"/>
                  <a:gd name="connsiteX1" fmla="*/ 598670 w 599627"/>
                  <a:gd name="connsiteY1" fmla="*/ 206873 h 206873"/>
                  <a:gd name="connsiteX2" fmla="*/ 0 w 599627"/>
                  <a:gd name="connsiteY2" fmla="*/ 2871 h 206873"/>
                  <a:gd name="connsiteX3" fmla="*/ 957 w 599627"/>
                  <a:gd name="connsiteY3" fmla="*/ 0 h 206873"/>
                </a:gdLst>
                <a:ahLst/>
                <a:cxnLst>
                  <a:cxn ang="0">
                    <a:pos x="connsiteX0" y="connsiteY0"/>
                  </a:cxn>
                  <a:cxn ang="0">
                    <a:pos x="connsiteX1" y="connsiteY1"/>
                  </a:cxn>
                  <a:cxn ang="0">
                    <a:pos x="connsiteX2" y="connsiteY2"/>
                  </a:cxn>
                  <a:cxn ang="0">
                    <a:pos x="connsiteX3" y="connsiteY3"/>
                  </a:cxn>
                </a:cxnLst>
                <a:rect l="l" t="t" r="r" b="b"/>
                <a:pathLst>
                  <a:path w="599627" h="206873">
                    <a:moveTo>
                      <a:pt x="599627" y="203943"/>
                    </a:moveTo>
                    <a:lnTo>
                      <a:pt x="598670" y="206873"/>
                    </a:lnTo>
                    <a:lnTo>
                      <a:pt x="0" y="2871"/>
                    </a:lnTo>
                    <a:lnTo>
                      <a:pt x="957" y="0"/>
                    </a:lnTo>
                    <a:close/>
                  </a:path>
                </a:pathLst>
              </a:custGeom>
              <a:grpFill/>
              <a:ln w="5978" cap="flat">
                <a:noFill/>
                <a:prstDash val="solid"/>
                <a:miter/>
              </a:ln>
            </p:spPr>
            <p:txBody>
              <a:bodyPr rtlCol="0" anchor="ctr"/>
              <a:lstStyle/>
              <a:p>
                <a:endParaRPr lang="en-GB"/>
              </a:p>
            </p:txBody>
          </p:sp>
          <p:sp>
            <p:nvSpPr>
              <p:cNvPr id="1976" name="Vrije vorm: vorm 1975">
                <a:extLst>
                  <a:ext uri="{FF2B5EF4-FFF2-40B4-BE49-F238E27FC236}">
                    <a16:creationId xmlns:a16="http://schemas.microsoft.com/office/drawing/2014/main" id="{68DA5385-D7F2-4F2A-BA74-2F0671F423AB}"/>
                  </a:ext>
                </a:extLst>
              </p:cNvPr>
              <p:cNvSpPr/>
              <p:nvPr/>
            </p:nvSpPr>
            <p:spPr>
              <a:xfrm>
                <a:off x="4393041" y="2966235"/>
                <a:ext cx="18356" cy="18397"/>
              </a:xfrm>
              <a:custGeom>
                <a:avLst/>
                <a:gdLst>
                  <a:gd name="connsiteX0" fmla="*/ 12079 w 18356"/>
                  <a:gd name="connsiteY0" fmla="*/ 482 h 18397"/>
                  <a:gd name="connsiteX1" fmla="*/ 17880 w 18356"/>
                  <a:gd name="connsiteY1" fmla="*/ 12145 h 18397"/>
                  <a:gd name="connsiteX2" fmla="*/ 6277 w 18356"/>
                  <a:gd name="connsiteY2" fmla="*/ 17886 h 18397"/>
                  <a:gd name="connsiteX3" fmla="*/ 476 w 18356"/>
                  <a:gd name="connsiteY3" fmla="*/ 6224 h 18397"/>
                  <a:gd name="connsiteX4" fmla="*/ 12079 w 18356"/>
                  <a:gd name="connsiteY4" fmla="*/ 48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2079" y="482"/>
                    </a:moveTo>
                    <a:cubicBezTo>
                      <a:pt x="16863" y="2097"/>
                      <a:pt x="19495" y="7360"/>
                      <a:pt x="17880" y="12145"/>
                    </a:cubicBezTo>
                    <a:cubicBezTo>
                      <a:pt x="16265" y="16989"/>
                      <a:pt x="11062" y="19561"/>
                      <a:pt x="6277" y="17886"/>
                    </a:cubicBezTo>
                    <a:cubicBezTo>
                      <a:pt x="1493" y="16272"/>
                      <a:pt x="-1139" y="11008"/>
                      <a:pt x="476" y="6224"/>
                    </a:cubicBezTo>
                    <a:cubicBezTo>
                      <a:pt x="2091" y="1439"/>
                      <a:pt x="7294" y="-1132"/>
                      <a:pt x="12079" y="482"/>
                    </a:cubicBezTo>
                    <a:close/>
                  </a:path>
                </a:pathLst>
              </a:custGeom>
              <a:grpFill/>
              <a:ln w="5978" cap="flat">
                <a:noFill/>
                <a:prstDash val="solid"/>
                <a:miter/>
              </a:ln>
            </p:spPr>
            <p:txBody>
              <a:bodyPr rtlCol="0" anchor="ctr"/>
              <a:lstStyle/>
              <a:p>
                <a:endParaRPr lang="en-GB"/>
              </a:p>
            </p:txBody>
          </p:sp>
          <p:sp>
            <p:nvSpPr>
              <p:cNvPr id="1977" name="Vrije vorm: vorm 1976">
                <a:extLst>
                  <a:ext uri="{FF2B5EF4-FFF2-40B4-BE49-F238E27FC236}">
                    <a16:creationId xmlns:a16="http://schemas.microsoft.com/office/drawing/2014/main" id="{D6BC9588-6350-42C2-9DAE-C7C328D8C24E}"/>
                  </a:ext>
                </a:extLst>
              </p:cNvPr>
              <p:cNvSpPr/>
              <p:nvPr/>
            </p:nvSpPr>
            <p:spPr>
              <a:xfrm>
                <a:off x="3795263" y="2762591"/>
                <a:ext cx="18338" cy="18368"/>
              </a:xfrm>
              <a:custGeom>
                <a:avLst/>
                <a:gdLst>
                  <a:gd name="connsiteX0" fmla="*/ 12085 w 18338"/>
                  <a:gd name="connsiteY0" fmla="*/ 482 h 18368"/>
                  <a:gd name="connsiteX1" fmla="*/ 482 w 18338"/>
                  <a:gd name="connsiteY1" fmla="*/ 6224 h 18368"/>
                  <a:gd name="connsiteX2" fmla="*/ 6283 w 18338"/>
                  <a:gd name="connsiteY2" fmla="*/ 17886 h 18368"/>
                  <a:gd name="connsiteX3" fmla="*/ 17886 w 18338"/>
                  <a:gd name="connsiteY3" fmla="*/ 12145 h 18368"/>
                  <a:gd name="connsiteX4" fmla="*/ 12085 w 18338"/>
                  <a:gd name="connsiteY4" fmla="*/ 482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68">
                    <a:moveTo>
                      <a:pt x="12085" y="482"/>
                    </a:moveTo>
                    <a:cubicBezTo>
                      <a:pt x="7300" y="-1133"/>
                      <a:pt x="2096" y="1439"/>
                      <a:pt x="482" y="6224"/>
                    </a:cubicBezTo>
                    <a:cubicBezTo>
                      <a:pt x="-1133" y="11068"/>
                      <a:pt x="1439" y="16271"/>
                      <a:pt x="6283" y="17886"/>
                    </a:cubicBezTo>
                    <a:cubicBezTo>
                      <a:pt x="11068" y="19501"/>
                      <a:pt x="16271" y="16929"/>
                      <a:pt x="17886" y="12145"/>
                    </a:cubicBezTo>
                    <a:cubicBezTo>
                      <a:pt x="19441" y="7360"/>
                      <a:pt x="16869" y="2097"/>
                      <a:pt x="12085" y="482"/>
                    </a:cubicBezTo>
                    <a:close/>
                  </a:path>
                </a:pathLst>
              </a:custGeom>
              <a:grpFill/>
              <a:ln w="5978" cap="flat">
                <a:noFill/>
                <a:prstDash val="solid"/>
                <a:miter/>
              </a:ln>
            </p:spPr>
            <p:txBody>
              <a:bodyPr rtlCol="0" anchor="ctr"/>
              <a:lstStyle/>
              <a:p>
                <a:endParaRPr lang="en-GB"/>
              </a:p>
            </p:txBody>
          </p:sp>
        </p:grpSp>
        <p:grpSp>
          <p:nvGrpSpPr>
            <p:cNvPr id="1143" name="Graphic 3">
              <a:extLst>
                <a:ext uri="{FF2B5EF4-FFF2-40B4-BE49-F238E27FC236}">
                  <a16:creationId xmlns:a16="http://schemas.microsoft.com/office/drawing/2014/main" id="{306B5D53-E6A9-4497-A28C-A28D20BDDDD4}"/>
                </a:ext>
              </a:extLst>
            </p:cNvPr>
            <p:cNvGrpSpPr/>
            <p:nvPr/>
          </p:nvGrpSpPr>
          <p:grpSpPr>
            <a:xfrm>
              <a:off x="3680776" y="2632883"/>
              <a:ext cx="754805" cy="292413"/>
              <a:chOff x="3680776" y="2632883"/>
              <a:chExt cx="754805" cy="292413"/>
            </a:xfrm>
            <a:grpFill/>
          </p:grpSpPr>
          <p:sp>
            <p:nvSpPr>
              <p:cNvPr id="1972" name="Vrije vorm: vorm 1971">
                <a:extLst>
                  <a:ext uri="{FF2B5EF4-FFF2-40B4-BE49-F238E27FC236}">
                    <a16:creationId xmlns:a16="http://schemas.microsoft.com/office/drawing/2014/main" id="{82C2AF04-3DE5-470E-A772-1EFA1D24BB4D}"/>
                  </a:ext>
                </a:extLst>
              </p:cNvPr>
              <p:cNvSpPr/>
              <p:nvPr/>
            </p:nvSpPr>
            <p:spPr>
              <a:xfrm>
                <a:off x="3688988" y="2640529"/>
                <a:ext cx="738439" cy="277146"/>
              </a:xfrm>
              <a:custGeom>
                <a:avLst/>
                <a:gdLst>
                  <a:gd name="connsiteX0" fmla="*/ 738440 w 738439"/>
                  <a:gd name="connsiteY0" fmla="*/ 274276 h 277146"/>
                  <a:gd name="connsiteX1" fmla="*/ 737364 w 738439"/>
                  <a:gd name="connsiteY1" fmla="*/ 277147 h 277146"/>
                  <a:gd name="connsiteX2" fmla="*/ 0 w 738439"/>
                  <a:gd name="connsiteY2" fmla="*/ 2871 h 277146"/>
                  <a:gd name="connsiteX3" fmla="*/ 1017 w 738439"/>
                  <a:gd name="connsiteY3" fmla="*/ 0 h 277146"/>
                </a:gdLst>
                <a:ahLst/>
                <a:cxnLst>
                  <a:cxn ang="0">
                    <a:pos x="connsiteX0" y="connsiteY0"/>
                  </a:cxn>
                  <a:cxn ang="0">
                    <a:pos x="connsiteX1" y="connsiteY1"/>
                  </a:cxn>
                  <a:cxn ang="0">
                    <a:pos x="connsiteX2" y="connsiteY2"/>
                  </a:cxn>
                  <a:cxn ang="0">
                    <a:pos x="connsiteX3" y="connsiteY3"/>
                  </a:cxn>
                </a:cxnLst>
                <a:rect l="l" t="t" r="r" b="b"/>
                <a:pathLst>
                  <a:path w="738439" h="277146">
                    <a:moveTo>
                      <a:pt x="738440" y="274276"/>
                    </a:moveTo>
                    <a:lnTo>
                      <a:pt x="737364" y="277147"/>
                    </a:lnTo>
                    <a:lnTo>
                      <a:pt x="0" y="2871"/>
                    </a:lnTo>
                    <a:lnTo>
                      <a:pt x="1017" y="0"/>
                    </a:lnTo>
                    <a:close/>
                  </a:path>
                </a:pathLst>
              </a:custGeom>
              <a:grpFill/>
              <a:ln w="5978" cap="flat">
                <a:noFill/>
                <a:prstDash val="solid"/>
                <a:miter/>
              </a:ln>
            </p:spPr>
            <p:txBody>
              <a:bodyPr rtlCol="0" anchor="ctr"/>
              <a:lstStyle/>
              <a:p>
                <a:endParaRPr lang="en-GB"/>
              </a:p>
            </p:txBody>
          </p:sp>
          <p:sp>
            <p:nvSpPr>
              <p:cNvPr id="1973" name="Vrije vorm: vorm 1972">
                <a:extLst>
                  <a:ext uri="{FF2B5EF4-FFF2-40B4-BE49-F238E27FC236}">
                    <a16:creationId xmlns:a16="http://schemas.microsoft.com/office/drawing/2014/main" id="{D9AC3BA2-20F9-4F3A-9A5E-0730A6316E48}"/>
                  </a:ext>
                </a:extLst>
              </p:cNvPr>
              <p:cNvSpPr/>
              <p:nvPr/>
            </p:nvSpPr>
            <p:spPr>
              <a:xfrm>
                <a:off x="4417242" y="2906884"/>
                <a:ext cx="18339" cy="18412"/>
              </a:xfrm>
              <a:custGeom>
                <a:avLst/>
                <a:gdLst>
                  <a:gd name="connsiteX0" fmla="*/ 12339 w 18339"/>
                  <a:gd name="connsiteY0" fmla="*/ 564 h 18412"/>
                  <a:gd name="connsiteX1" fmla="*/ 17782 w 18339"/>
                  <a:gd name="connsiteY1" fmla="*/ 12406 h 18412"/>
                  <a:gd name="connsiteX2" fmla="*/ 6000 w 18339"/>
                  <a:gd name="connsiteY2" fmla="*/ 17848 h 18412"/>
                  <a:gd name="connsiteX3" fmla="*/ 557 w 18339"/>
                  <a:gd name="connsiteY3" fmla="*/ 6006 h 18412"/>
                  <a:gd name="connsiteX4" fmla="*/ 12339 w 18339"/>
                  <a:gd name="connsiteY4" fmla="*/ 564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2">
                    <a:moveTo>
                      <a:pt x="12339" y="564"/>
                    </a:moveTo>
                    <a:cubicBezTo>
                      <a:pt x="17064" y="2358"/>
                      <a:pt x="19516" y="7621"/>
                      <a:pt x="17782" y="12406"/>
                    </a:cubicBezTo>
                    <a:cubicBezTo>
                      <a:pt x="16047" y="17190"/>
                      <a:pt x="10784" y="19583"/>
                      <a:pt x="6000" y="17848"/>
                    </a:cubicBezTo>
                    <a:cubicBezTo>
                      <a:pt x="1275" y="16054"/>
                      <a:pt x="-1177" y="10791"/>
                      <a:pt x="557" y="6006"/>
                    </a:cubicBezTo>
                    <a:cubicBezTo>
                      <a:pt x="2352" y="1222"/>
                      <a:pt x="7615" y="-1170"/>
                      <a:pt x="12339" y="564"/>
                    </a:cubicBezTo>
                    <a:close/>
                  </a:path>
                </a:pathLst>
              </a:custGeom>
              <a:grpFill/>
              <a:ln w="5978" cap="flat">
                <a:noFill/>
                <a:prstDash val="solid"/>
                <a:miter/>
              </a:ln>
            </p:spPr>
            <p:txBody>
              <a:bodyPr rtlCol="0" anchor="ctr"/>
              <a:lstStyle/>
              <a:p>
                <a:endParaRPr lang="en-GB"/>
              </a:p>
            </p:txBody>
          </p:sp>
          <p:sp>
            <p:nvSpPr>
              <p:cNvPr id="1974" name="Vrije vorm: vorm 1973">
                <a:extLst>
                  <a:ext uri="{FF2B5EF4-FFF2-40B4-BE49-F238E27FC236}">
                    <a16:creationId xmlns:a16="http://schemas.microsoft.com/office/drawing/2014/main" id="{53EBFE25-7F88-47C0-AE54-16E0C671C3B5}"/>
                  </a:ext>
                </a:extLst>
              </p:cNvPr>
              <p:cNvSpPr/>
              <p:nvPr/>
            </p:nvSpPr>
            <p:spPr>
              <a:xfrm>
                <a:off x="3680776" y="2632883"/>
                <a:ext cx="18338" cy="18460"/>
              </a:xfrm>
              <a:custGeom>
                <a:avLst/>
                <a:gdLst>
                  <a:gd name="connsiteX0" fmla="*/ 12339 w 18338"/>
                  <a:gd name="connsiteY0" fmla="*/ 588 h 18460"/>
                  <a:gd name="connsiteX1" fmla="*/ 557 w 18338"/>
                  <a:gd name="connsiteY1" fmla="*/ 6031 h 18460"/>
                  <a:gd name="connsiteX2" fmla="*/ 6000 w 18338"/>
                  <a:gd name="connsiteY2" fmla="*/ 17872 h 18460"/>
                  <a:gd name="connsiteX3" fmla="*/ 17782 w 18338"/>
                  <a:gd name="connsiteY3" fmla="*/ 12430 h 18460"/>
                  <a:gd name="connsiteX4" fmla="*/ 12339 w 18338"/>
                  <a:gd name="connsiteY4" fmla="*/ 588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0">
                    <a:moveTo>
                      <a:pt x="12339" y="588"/>
                    </a:moveTo>
                    <a:cubicBezTo>
                      <a:pt x="7615" y="-1206"/>
                      <a:pt x="2352" y="1246"/>
                      <a:pt x="557" y="6031"/>
                    </a:cubicBezTo>
                    <a:cubicBezTo>
                      <a:pt x="-1177" y="10815"/>
                      <a:pt x="1275" y="16078"/>
                      <a:pt x="6000" y="17872"/>
                    </a:cubicBezTo>
                    <a:cubicBezTo>
                      <a:pt x="10724" y="19667"/>
                      <a:pt x="15988" y="17214"/>
                      <a:pt x="17782" y="12430"/>
                    </a:cubicBezTo>
                    <a:cubicBezTo>
                      <a:pt x="19516" y="7645"/>
                      <a:pt x="17064" y="2382"/>
                      <a:pt x="12339" y="588"/>
                    </a:cubicBezTo>
                    <a:close/>
                  </a:path>
                </a:pathLst>
              </a:custGeom>
              <a:grpFill/>
              <a:ln w="5978" cap="flat">
                <a:noFill/>
                <a:prstDash val="solid"/>
                <a:miter/>
              </a:ln>
            </p:spPr>
            <p:txBody>
              <a:bodyPr rtlCol="0" anchor="ctr"/>
              <a:lstStyle/>
              <a:p>
                <a:endParaRPr lang="en-GB"/>
              </a:p>
            </p:txBody>
          </p:sp>
        </p:grpSp>
        <p:grpSp>
          <p:nvGrpSpPr>
            <p:cNvPr id="1144" name="Graphic 3">
              <a:extLst>
                <a:ext uri="{FF2B5EF4-FFF2-40B4-BE49-F238E27FC236}">
                  <a16:creationId xmlns:a16="http://schemas.microsoft.com/office/drawing/2014/main" id="{1AE3B49B-EFB8-4730-B25B-AE573399B483}"/>
                </a:ext>
              </a:extLst>
            </p:cNvPr>
            <p:cNvGrpSpPr/>
            <p:nvPr/>
          </p:nvGrpSpPr>
          <p:grpSpPr>
            <a:xfrm>
              <a:off x="4773200" y="5001098"/>
              <a:ext cx="124227" cy="162957"/>
              <a:chOff x="4773200" y="5001098"/>
              <a:chExt cx="124227" cy="162957"/>
            </a:xfrm>
            <a:grpFill/>
          </p:grpSpPr>
          <p:sp>
            <p:nvSpPr>
              <p:cNvPr id="1969" name="Vrije vorm: vorm 1968">
                <a:extLst>
                  <a:ext uri="{FF2B5EF4-FFF2-40B4-BE49-F238E27FC236}">
                    <a16:creationId xmlns:a16="http://schemas.microsoft.com/office/drawing/2014/main" id="{AA794C73-D3A6-4C6E-AC62-C5841155959C}"/>
                  </a:ext>
                </a:extLst>
              </p:cNvPr>
              <p:cNvSpPr/>
              <p:nvPr/>
            </p:nvSpPr>
            <p:spPr>
              <a:xfrm>
                <a:off x="4780889" y="5009014"/>
                <a:ext cx="108849" cy="147125"/>
              </a:xfrm>
              <a:custGeom>
                <a:avLst/>
                <a:gdLst>
                  <a:gd name="connsiteX0" fmla="*/ 108849 w 108849"/>
                  <a:gd name="connsiteY0" fmla="*/ 1854 h 147125"/>
                  <a:gd name="connsiteX1" fmla="*/ 2452 w 108849"/>
                  <a:gd name="connsiteY1" fmla="*/ 147126 h 147125"/>
                  <a:gd name="connsiteX2" fmla="*/ 0 w 108849"/>
                  <a:gd name="connsiteY2" fmla="*/ 145331 h 147125"/>
                  <a:gd name="connsiteX3" fmla="*/ 106397 w 108849"/>
                  <a:gd name="connsiteY3" fmla="*/ 0 h 147125"/>
                </a:gdLst>
                <a:ahLst/>
                <a:cxnLst>
                  <a:cxn ang="0">
                    <a:pos x="connsiteX0" y="connsiteY0"/>
                  </a:cxn>
                  <a:cxn ang="0">
                    <a:pos x="connsiteX1" y="connsiteY1"/>
                  </a:cxn>
                  <a:cxn ang="0">
                    <a:pos x="connsiteX2" y="connsiteY2"/>
                  </a:cxn>
                  <a:cxn ang="0">
                    <a:pos x="connsiteX3" y="connsiteY3"/>
                  </a:cxn>
                </a:cxnLst>
                <a:rect l="l" t="t" r="r" b="b"/>
                <a:pathLst>
                  <a:path w="108849" h="147125">
                    <a:moveTo>
                      <a:pt x="108849" y="1854"/>
                    </a:moveTo>
                    <a:lnTo>
                      <a:pt x="2452" y="147126"/>
                    </a:lnTo>
                    <a:lnTo>
                      <a:pt x="0" y="145331"/>
                    </a:lnTo>
                    <a:lnTo>
                      <a:pt x="106397" y="0"/>
                    </a:lnTo>
                    <a:close/>
                  </a:path>
                </a:pathLst>
              </a:custGeom>
              <a:grpFill/>
              <a:ln w="5978" cap="flat">
                <a:noFill/>
                <a:prstDash val="solid"/>
                <a:miter/>
              </a:ln>
            </p:spPr>
            <p:txBody>
              <a:bodyPr rtlCol="0" anchor="ctr"/>
              <a:lstStyle/>
              <a:p>
                <a:endParaRPr lang="en-GB"/>
              </a:p>
            </p:txBody>
          </p:sp>
          <p:sp>
            <p:nvSpPr>
              <p:cNvPr id="1970" name="Vrije vorm: vorm 1969">
                <a:extLst>
                  <a:ext uri="{FF2B5EF4-FFF2-40B4-BE49-F238E27FC236}">
                    <a16:creationId xmlns:a16="http://schemas.microsoft.com/office/drawing/2014/main" id="{B60A452D-46D4-4049-A5F1-03415336E261}"/>
                  </a:ext>
                </a:extLst>
              </p:cNvPr>
              <p:cNvSpPr/>
              <p:nvPr/>
            </p:nvSpPr>
            <p:spPr>
              <a:xfrm>
                <a:off x="4773200" y="5145652"/>
                <a:ext cx="18326" cy="18402"/>
              </a:xfrm>
              <a:custGeom>
                <a:avLst/>
                <a:gdLst>
                  <a:gd name="connsiteX0" fmla="*/ 16541 w 18326"/>
                  <a:gd name="connsiteY0" fmla="*/ 14674 h 18402"/>
                  <a:gd name="connsiteX1" fmla="*/ 3742 w 18326"/>
                  <a:gd name="connsiteY1" fmla="*/ 16588 h 18402"/>
                  <a:gd name="connsiteX2" fmla="*/ 1768 w 18326"/>
                  <a:gd name="connsiteY2" fmla="*/ 3729 h 18402"/>
                  <a:gd name="connsiteX3" fmla="*/ 14567 w 18326"/>
                  <a:gd name="connsiteY3" fmla="*/ 1815 h 18402"/>
                  <a:gd name="connsiteX4" fmla="*/ 16541 w 18326"/>
                  <a:gd name="connsiteY4" fmla="*/ 14674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02">
                    <a:moveTo>
                      <a:pt x="16541" y="14674"/>
                    </a:moveTo>
                    <a:cubicBezTo>
                      <a:pt x="13550" y="18741"/>
                      <a:pt x="7809" y="19638"/>
                      <a:pt x="3742" y="16588"/>
                    </a:cubicBezTo>
                    <a:cubicBezTo>
                      <a:pt x="-325" y="13537"/>
                      <a:pt x="-1222" y="7796"/>
                      <a:pt x="1768" y="3729"/>
                    </a:cubicBezTo>
                    <a:cubicBezTo>
                      <a:pt x="4759" y="-338"/>
                      <a:pt x="10500" y="-1235"/>
                      <a:pt x="14567" y="1815"/>
                    </a:cubicBezTo>
                    <a:cubicBezTo>
                      <a:pt x="18694" y="4865"/>
                      <a:pt x="19531" y="10607"/>
                      <a:pt x="16541" y="14674"/>
                    </a:cubicBezTo>
                    <a:close/>
                  </a:path>
                </a:pathLst>
              </a:custGeom>
              <a:grpFill/>
              <a:ln w="5978" cap="flat">
                <a:noFill/>
                <a:prstDash val="solid"/>
                <a:miter/>
              </a:ln>
            </p:spPr>
            <p:txBody>
              <a:bodyPr rtlCol="0" anchor="ctr"/>
              <a:lstStyle/>
              <a:p>
                <a:endParaRPr lang="en-GB"/>
              </a:p>
            </p:txBody>
          </p:sp>
          <p:sp>
            <p:nvSpPr>
              <p:cNvPr id="1971" name="Vrije vorm: vorm 1970">
                <a:extLst>
                  <a:ext uri="{FF2B5EF4-FFF2-40B4-BE49-F238E27FC236}">
                    <a16:creationId xmlns:a16="http://schemas.microsoft.com/office/drawing/2014/main" id="{74EFA572-0582-44B4-8FE6-99079722E781}"/>
                  </a:ext>
                </a:extLst>
              </p:cNvPr>
              <p:cNvSpPr/>
              <p:nvPr/>
            </p:nvSpPr>
            <p:spPr>
              <a:xfrm>
                <a:off x="4879118" y="5001098"/>
                <a:ext cx="18309" cy="18420"/>
              </a:xfrm>
              <a:custGeom>
                <a:avLst/>
                <a:gdLst>
                  <a:gd name="connsiteX0" fmla="*/ 16541 w 18309"/>
                  <a:gd name="connsiteY0" fmla="*/ 14674 h 18420"/>
                  <a:gd name="connsiteX1" fmla="*/ 14567 w 18309"/>
                  <a:gd name="connsiteY1" fmla="*/ 1815 h 18420"/>
                  <a:gd name="connsiteX2" fmla="*/ 1768 w 18309"/>
                  <a:gd name="connsiteY2" fmla="*/ 3729 h 18420"/>
                  <a:gd name="connsiteX3" fmla="*/ 3742 w 18309"/>
                  <a:gd name="connsiteY3" fmla="*/ 16588 h 18420"/>
                  <a:gd name="connsiteX4" fmla="*/ 16541 w 18309"/>
                  <a:gd name="connsiteY4" fmla="*/ 1467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0">
                    <a:moveTo>
                      <a:pt x="16541" y="14674"/>
                    </a:moveTo>
                    <a:cubicBezTo>
                      <a:pt x="19531" y="10607"/>
                      <a:pt x="18634" y="4806"/>
                      <a:pt x="14567" y="1815"/>
                    </a:cubicBezTo>
                    <a:cubicBezTo>
                      <a:pt x="10500" y="-1235"/>
                      <a:pt x="4759" y="-338"/>
                      <a:pt x="1768" y="3729"/>
                    </a:cubicBezTo>
                    <a:cubicBezTo>
                      <a:pt x="-1222" y="7796"/>
                      <a:pt x="-325" y="13598"/>
                      <a:pt x="3742" y="16588"/>
                    </a:cubicBezTo>
                    <a:cubicBezTo>
                      <a:pt x="7809" y="19638"/>
                      <a:pt x="13490" y="18801"/>
                      <a:pt x="16541" y="14674"/>
                    </a:cubicBezTo>
                    <a:close/>
                  </a:path>
                </a:pathLst>
              </a:custGeom>
              <a:grpFill/>
              <a:ln w="5978" cap="flat">
                <a:noFill/>
                <a:prstDash val="solid"/>
                <a:miter/>
              </a:ln>
            </p:spPr>
            <p:txBody>
              <a:bodyPr rtlCol="0" anchor="ctr"/>
              <a:lstStyle/>
              <a:p>
                <a:endParaRPr lang="en-GB"/>
              </a:p>
            </p:txBody>
          </p:sp>
        </p:grpSp>
        <p:grpSp>
          <p:nvGrpSpPr>
            <p:cNvPr id="1145" name="Graphic 3">
              <a:extLst>
                <a:ext uri="{FF2B5EF4-FFF2-40B4-BE49-F238E27FC236}">
                  <a16:creationId xmlns:a16="http://schemas.microsoft.com/office/drawing/2014/main" id="{85C8F51C-7B9E-40E1-81F5-6C6F633DA4D3}"/>
                </a:ext>
              </a:extLst>
            </p:cNvPr>
            <p:cNvGrpSpPr/>
            <p:nvPr/>
          </p:nvGrpSpPr>
          <p:grpSpPr>
            <a:xfrm>
              <a:off x="4532947" y="4302789"/>
              <a:ext cx="117031" cy="80916"/>
              <a:chOff x="4532947" y="4302789"/>
              <a:chExt cx="117031" cy="80916"/>
            </a:xfrm>
            <a:grpFill/>
          </p:grpSpPr>
          <p:sp>
            <p:nvSpPr>
              <p:cNvPr id="1966" name="Vrije vorm: vorm 1965">
                <a:extLst>
                  <a:ext uri="{FF2B5EF4-FFF2-40B4-BE49-F238E27FC236}">
                    <a16:creationId xmlns:a16="http://schemas.microsoft.com/office/drawing/2014/main" id="{94B11764-AC03-47C2-9369-E14568074E0B}"/>
                  </a:ext>
                </a:extLst>
              </p:cNvPr>
              <p:cNvSpPr/>
              <p:nvPr/>
            </p:nvSpPr>
            <p:spPr>
              <a:xfrm>
                <a:off x="4540882" y="4310466"/>
                <a:ext cx="101134" cy="65548"/>
              </a:xfrm>
              <a:custGeom>
                <a:avLst/>
                <a:gdLst>
                  <a:gd name="connsiteX0" fmla="*/ 101134 w 101134"/>
                  <a:gd name="connsiteY0" fmla="*/ 2632 h 65548"/>
                  <a:gd name="connsiteX1" fmla="*/ 1615 w 101134"/>
                  <a:gd name="connsiteY1" fmla="*/ 65548 h 65548"/>
                  <a:gd name="connsiteX2" fmla="*/ 0 w 101134"/>
                  <a:gd name="connsiteY2" fmla="*/ 62977 h 65548"/>
                  <a:gd name="connsiteX3" fmla="*/ 99519 w 101134"/>
                  <a:gd name="connsiteY3" fmla="*/ 0 h 65548"/>
                </a:gdLst>
                <a:ahLst/>
                <a:cxnLst>
                  <a:cxn ang="0">
                    <a:pos x="connsiteX0" y="connsiteY0"/>
                  </a:cxn>
                  <a:cxn ang="0">
                    <a:pos x="connsiteX1" y="connsiteY1"/>
                  </a:cxn>
                  <a:cxn ang="0">
                    <a:pos x="connsiteX2" y="connsiteY2"/>
                  </a:cxn>
                  <a:cxn ang="0">
                    <a:pos x="connsiteX3" y="connsiteY3"/>
                  </a:cxn>
                </a:cxnLst>
                <a:rect l="l" t="t" r="r" b="b"/>
                <a:pathLst>
                  <a:path w="101134" h="65548">
                    <a:moveTo>
                      <a:pt x="101134" y="2632"/>
                    </a:moveTo>
                    <a:lnTo>
                      <a:pt x="1615" y="65548"/>
                    </a:lnTo>
                    <a:lnTo>
                      <a:pt x="0" y="62977"/>
                    </a:lnTo>
                    <a:lnTo>
                      <a:pt x="99519" y="0"/>
                    </a:lnTo>
                    <a:close/>
                  </a:path>
                </a:pathLst>
              </a:custGeom>
              <a:grpFill/>
              <a:ln w="5978" cap="flat">
                <a:noFill/>
                <a:prstDash val="solid"/>
                <a:miter/>
              </a:ln>
            </p:spPr>
            <p:txBody>
              <a:bodyPr rtlCol="0" anchor="ctr"/>
              <a:lstStyle/>
              <a:p>
                <a:endParaRPr lang="en-GB"/>
              </a:p>
            </p:txBody>
          </p:sp>
          <p:sp>
            <p:nvSpPr>
              <p:cNvPr id="1967" name="Vrije vorm: vorm 1966">
                <a:extLst>
                  <a:ext uri="{FF2B5EF4-FFF2-40B4-BE49-F238E27FC236}">
                    <a16:creationId xmlns:a16="http://schemas.microsoft.com/office/drawing/2014/main" id="{A99C530A-1554-4567-BA85-11C02F1D2FE5}"/>
                  </a:ext>
                </a:extLst>
              </p:cNvPr>
              <p:cNvSpPr/>
              <p:nvPr/>
            </p:nvSpPr>
            <p:spPr>
              <a:xfrm>
                <a:off x="4532947" y="4365273"/>
                <a:ext cx="18304" cy="18432"/>
              </a:xfrm>
              <a:custGeom>
                <a:avLst/>
                <a:gdLst>
                  <a:gd name="connsiteX0" fmla="*/ 14036 w 18304"/>
                  <a:gd name="connsiteY0" fmla="*/ 17021 h 18432"/>
                  <a:gd name="connsiteX1" fmla="*/ 1417 w 18304"/>
                  <a:gd name="connsiteY1" fmla="*/ 14090 h 18432"/>
                  <a:gd name="connsiteX2" fmla="*/ 4228 w 18304"/>
                  <a:gd name="connsiteY2" fmla="*/ 1411 h 18432"/>
                  <a:gd name="connsiteX3" fmla="*/ 16847 w 18304"/>
                  <a:gd name="connsiteY3" fmla="*/ 4342 h 18432"/>
                  <a:gd name="connsiteX4" fmla="*/ 14036 w 18304"/>
                  <a:gd name="connsiteY4" fmla="*/ 17021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2">
                    <a:moveTo>
                      <a:pt x="14036" y="17021"/>
                    </a:moveTo>
                    <a:cubicBezTo>
                      <a:pt x="9790" y="19712"/>
                      <a:pt x="4108" y="18456"/>
                      <a:pt x="1417" y="14090"/>
                    </a:cubicBezTo>
                    <a:cubicBezTo>
                      <a:pt x="-1275" y="9784"/>
                      <a:pt x="-19" y="4103"/>
                      <a:pt x="4228" y="1411"/>
                    </a:cubicBezTo>
                    <a:cubicBezTo>
                      <a:pt x="8474" y="-1280"/>
                      <a:pt x="14156" y="-24"/>
                      <a:pt x="16847" y="4342"/>
                    </a:cubicBezTo>
                    <a:cubicBezTo>
                      <a:pt x="19598" y="8648"/>
                      <a:pt x="18342" y="14330"/>
                      <a:pt x="14036" y="17021"/>
                    </a:cubicBezTo>
                    <a:close/>
                  </a:path>
                </a:pathLst>
              </a:custGeom>
              <a:grpFill/>
              <a:ln w="5978" cap="flat">
                <a:noFill/>
                <a:prstDash val="solid"/>
                <a:miter/>
              </a:ln>
            </p:spPr>
            <p:txBody>
              <a:bodyPr rtlCol="0" anchor="ctr"/>
              <a:lstStyle/>
              <a:p>
                <a:endParaRPr lang="en-GB"/>
              </a:p>
            </p:txBody>
          </p:sp>
          <p:sp>
            <p:nvSpPr>
              <p:cNvPr id="1968" name="Vrije vorm: vorm 1967">
                <a:extLst>
                  <a:ext uri="{FF2B5EF4-FFF2-40B4-BE49-F238E27FC236}">
                    <a16:creationId xmlns:a16="http://schemas.microsoft.com/office/drawing/2014/main" id="{35BA9060-50C4-4B03-9F62-32F9604FC135}"/>
                  </a:ext>
                </a:extLst>
              </p:cNvPr>
              <p:cNvSpPr/>
              <p:nvPr/>
            </p:nvSpPr>
            <p:spPr>
              <a:xfrm>
                <a:off x="4631662" y="4302789"/>
                <a:ext cx="18316" cy="18444"/>
              </a:xfrm>
              <a:custGeom>
                <a:avLst/>
                <a:gdLst>
                  <a:gd name="connsiteX0" fmla="*/ 14063 w 18316"/>
                  <a:gd name="connsiteY0" fmla="*/ 17007 h 18444"/>
                  <a:gd name="connsiteX1" fmla="*/ 16873 w 18316"/>
                  <a:gd name="connsiteY1" fmla="*/ 4327 h 18444"/>
                  <a:gd name="connsiteX2" fmla="*/ 4254 w 18316"/>
                  <a:gd name="connsiteY2" fmla="*/ 1397 h 18444"/>
                  <a:gd name="connsiteX3" fmla="*/ 1443 w 18316"/>
                  <a:gd name="connsiteY3" fmla="*/ 14076 h 18444"/>
                  <a:gd name="connsiteX4" fmla="*/ 14063 w 18316"/>
                  <a:gd name="connsiteY4" fmla="*/ 17007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14063" y="17007"/>
                    </a:moveTo>
                    <a:cubicBezTo>
                      <a:pt x="18309" y="14315"/>
                      <a:pt x="19625" y="8633"/>
                      <a:pt x="16873" y="4327"/>
                    </a:cubicBezTo>
                    <a:cubicBezTo>
                      <a:pt x="14182" y="21"/>
                      <a:pt x="8501" y="-1294"/>
                      <a:pt x="4254" y="1397"/>
                    </a:cubicBezTo>
                    <a:cubicBezTo>
                      <a:pt x="8" y="4088"/>
                      <a:pt x="-1308" y="9770"/>
                      <a:pt x="1443" y="14076"/>
                    </a:cubicBezTo>
                    <a:cubicBezTo>
                      <a:pt x="4134" y="18442"/>
                      <a:pt x="9756" y="19757"/>
                      <a:pt x="14063" y="17007"/>
                    </a:cubicBezTo>
                    <a:close/>
                  </a:path>
                </a:pathLst>
              </a:custGeom>
              <a:grpFill/>
              <a:ln w="5978" cap="flat">
                <a:noFill/>
                <a:prstDash val="solid"/>
                <a:miter/>
              </a:ln>
            </p:spPr>
            <p:txBody>
              <a:bodyPr rtlCol="0" anchor="ctr"/>
              <a:lstStyle/>
              <a:p>
                <a:endParaRPr lang="en-GB"/>
              </a:p>
            </p:txBody>
          </p:sp>
        </p:grpSp>
        <p:grpSp>
          <p:nvGrpSpPr>
            <p:cNvPr id="1146" name="Graphic 3">
              <a:extLst>
                <a:ext uri="{FF2B5EF4-FFF2-40B4-BE49-F238E27FC236}">
                  <a16:creationId xmlns:a16="http://schemas.microsoft.com/office/drawing/2014/main" id="{9EAEA98D-A2B8-4B01-8FD5-F7CC5899F30E}"/>
                </a:ext>
              </a:extLst>
            </p:cNvPr>
            <p:cNvGrpSpPr/>
            <p:nvPr/>
          </p:nvGrpSpPr>
          <p:grpSpPr>
            <a:xfrm>
              <a:off x="4684350" y="4746997"/>
              <a:ext cx="99382" cy="103111"/>
              <a:chOff x="4684350" y="4746997"/>
              <a:chExt cx="99382" cy="103111"/>
            </a:xfrm>
            <a:grpFill/>
          </p:grpSpPr>
          <p:sp>
            <p:nvSpPr>
              <p:cNvPr id="1963" name="Vrije vorm: vorm 1962">
                <a:extLst>
                  <a:ext uri="{FF2B5EF4-FFF2-40B4-BE49-F238E27FC236}">
                    <a16:creationId xmlns:a16="http://schemas.microsoft.com/office/drawing/2014/main" id="{44206D0F-B29F-448C-AE54-015AAE986651}"/>
                  </a:ext>
                </a:extLst>
              </p:cNvPr>
              <p:cNvSpPr/>
              <p:nvPr/>
            </p:nvSpPr>
            <p:spPr>
              <a:xfrm>
                <a:off x="4692135" y="4754833"/>
                <a:ext cx="83849" cy="87497"/>
              </a:xfrm>
              <a:custGeom>
                <a:avLst/>
                <a:gdLst>
                  <a:gd name="connsiteX0" fmla="*/ 83849 w 83849"/>
                  <a:gd name="connsiteY0" fmla="*/ 2093 h 87497"/>
                  <a:gd name="connsiteX1" fmla="*/ 2213 w 83849"/>
                  <a:gd name="connsiteY1" fmla="*/ 87498 h 87497"/>
                  <a:gd name="connsiteX2" fmla="*/ 0 w 83849"/>
                  <a:gd name="connsiteY2" fmla="*/ 85345 h 87497"/>
                  <a:gd name="connsiteX3" fmla="*/ 81637 w 83849"/>
                  <a:gd name="connsiteY3" fmla="*/ 0 h 87497"/>
                </a:gdLst>
                <a:ahLst/>
                <a:cxnLst>
                  <a:cxn ang="0">
                    <a:pos x="connsiteX0" y="connsiteY0"/>
                  </a:cxn>
                  <a:cxn ang="0">
                    <a:pos x="connsiteX1" y="connsiteY1"/>
                  </a:cxn>
                  <a:cxn ang="0">
                    <a:pos x="connsiteX2" y="connsiteY2"/>
                  </a:cxn>
                  <a:cxn ang="0">
                    <a:pos x="connsiteX3" y="connsiteY3"/>
                  </a:cxn>
                </a:cxnLst>
                <a:rect l="l" t="t" r="r" b="b"/>
                <a:pathLst>
                  <a:path w="83849" h="87497">
                    <a:moveTo>
                      <a:pt x="83849" y="2093"/>
                    </a:moveTo>
                    <a:lnTo>
                      <a:pt x="2213" y="87498"/>
                    </a:lnTo>
                    <a:lnTo>
                      <a:pt x="0" y="85345"/>
                    </a:lnTo>
                    <a:lnTo>
                      <a:pt x="81637" y="0"/>
                    </a:lnTo>
                    <a:close/>
                  </a:path>
                </a:pathLst>
              </a:custGeom>
              <a:grpFill/>
              <a:ln w="5978" cap="flat">
                <a:noFill/>
                <a:prstDash val="solid"/>
                <a:miter/>
              </a:ln>
            </p:spPr>
            <p:txBody>
              <a:bodyPr rtlCol="0" anchor="ctr"/>
              <a:lstStyle/>
              <a:p>
                <a:endParaRPr lang="en-GB"/>
              </a:p>
            </p:txBody>
          </p:sp>
          <p:sp>
            <p:nvSpPr>
              <p:cNvPr id="1964" name="Vrije vorm: vorm 1963">
                <a:extLst>
                  <a:ext uri="{FF2B5EF4-FFF2-40B4-BE49-F238E27FC236}">
                    <a16:creationId xmlns:a16="http://schemas.microsoft.com/office/drawing/2014/main" id="{5F97C3EE-1EE5-4469-BAC9-5379C49A44ED}"/>
                  </a:ext>
                </a:extLst>
              </p:cNvPr>
              <p:cNvSpPr/>
              <p:nvPr/>
            </p:nvSpPr>
            <p:spPr>
              <a:xfrm>
                <a:off x="4684350" y="4831684"/>
                <a:ext cx="18343" cy="18423"/>
              </a:xfrm>
              <a:custGeom>
                <a:avLst/>
                <a:gdLst>
                  <a:gd name="connsiteX0" fmla="*/ 15799 w 18343"/>
                  <a:gd name="connsiteY0" fmla="*/ 15611 h 18423"/>
                  <a:gd name="connsiteX1" fmla="*/ 2821 w 18343"/>
                  <a:gd name="connsiteY1" fmla="*/ 15851 h 18423"/>
                  <a:gd name="connsiteX2" fmla="*/ 2522 w 18343"/>
                  <a:gd name="connsiteY2" fmla="*/ 2813 h 18423"/>
                  <a:gd name="connsiteX3" fmla="*/ 15500 w 18343"/>
                  <a:gd name="connsiteY3" fmla="*/ 2573 h 18423"/>
                  <a:gd name="connsiteX4" fmla="*/ 15799 w 18343"/>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3">
                    <a:moveTo>
                      <a:pt x="15799" y="15611"/>
                    </a:moveTo>
                    <a:cubicBezTo>
                      <a:pt x="12270" y="19260"/>
                      <a:pt x="6469" y="19379"/>
                      <a:pt x="2821" y="15851"/>
                    </a:cubicBezTo>
                    <a:cubicBezTo>
                      <a:pt x="-827" y="12322"/>
                      <a:pt x="-947" y="6461"/>
                      <a:pt x="2522" y="2813"/>
                    </a:cubicBezTo>
                    <a:cubicBezTo>
                      <a:pt x="6050" y="-836"/>
                      <a:pt x="11852" y="-955"/>
                      <a:pt x="15500" y="2573"/>
                    </a:cubicBezTo>
                    <a:cubicBezTo>
                      <a:pt x="19148" y="6102"/>
                      <a:pt x="19328" y="11963"/>
                      <a:pt x="15799" y="15611"/>
                    </a:cubicBezTo>
                    <a:close/>
                  </a:path>
                </a:pathLst>
              </a:custGeom>
              <a:grpFill/>
              <a:ln w="5978" cap="flat">
                <a:noFill/>
                <a:prstDash val="solid"/>
                <a:miter/>
              </a:ln>
            </p:spPr>
            <p:txBody>
              <a:bodyPr rtlCol="0" anchor="ctr"/>
              <a:lstStyle/>
              <a:p>
                <a:endParaRPr lang="en-GB"/>
              </a:p>
            </p:txBody>
          </p:sp>
          <p:sp>
            <p:nvSpPr>
              <p:cNvPr id="1965" name="Vrije vorm: vorm 1964">
                <a:extLst>
                  <a:ext uri="{FF2B5EF4-FFF2-40B4-BE49-F238E27FC236}">
                    <a16:creationId xmlns:a16="http://schemas.microsoft.com/office/drawing/2014/main" id="{631757B7-41A4-4947-96B0-384766790A03}"/>
                  </a:ext>
                </a:extLst>
              </p:cNvPr>
              <p:cNvSpPr/>
              <p:nvPr/>
            </p:nvSpPr>
            <p:spPr>
              <a:xfrm>
                <a:off x="4765366" y="4746997"/>
                <a:ext cx="18366" cy="18423"/>
              </a:xfrm>
              <a:custGeom>
                <a:avLst/>
                <a:gdLst>
                  <a:gd name="connsiteX0" fmla="*/ 15822 w 18366"/>
                  <a:gd name="connsiteY0" fmla="*/ 15611 h 18423"/>
                  <a:gd name="connsiteX1" fmla="*/ 15523 w 18366"/>
                  <a:gd name="connsiteY1" fmla="*/ 2573 h 18423"/>
                  <a:gd name="connsiteX2" fmla="*/ 2545 w 18366"/>
                  <a:gd name="connsiteY2" fmla="*/ 2813 h 18423"/>
                  <a:gd name="connsiteX3" fmla="*/ 2844 w 18366"/>
                  <a:gd name="connsiteY3" fmla="*/ 15851 h 18423"/>
                  <a:gd name="connsiteX4" fmla="*/ 15822 w 18366"/>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3">
                    <a:moveTo>
                      <a:pt x="15822" y="15611"/>
                    </a:moveTo>
                    <a:cubicBezTo>
                      <a:pt x="19351" y="11963"/>
                      <a:pt x="19171" y="6102"/>
                      <a:pt x="15523" y="2573"/>
                    </a:cubicBezTo>
                    <a:cubicBezTo>
                      <a:pt x="11875" y="-955"/>
                      <a:pt x="6073" y="-836"/>
                      <a:pt x="2545" y="2813"/>
                    </a:cubicBezTo>
                    <a:cubicBezTo>
                      <a:pt x="-984" y="6461"/>
                      <a:pt x="-804" y="12322"/>
                      <a:pt x="2844" y="15851"/>
                    </a:cubicBezTo>
                    <a:cubicBezTo>
                      <a:pt x="6492" y="19379"/>
                      <a:pt x="12293" y="19260"/>
                      <a:pt x="15822" y="15611"/>
                    </a:cubicBezTo>
                    <a:close/>
                  </a:path>
                </a:pathLst>
              </a:custGeom>
              <a:grpFill/>
              <a:ln w="5978" cap="flat">
                <a:noFill/>
                <a:prstDash val="solid"/>
                <a:miter/>
              </a:ln>
            </p:spPr>
            <p:txBody>
              <a:bodyPr rtlCol="0" anchor="ctr"/>
              <a:lstStyle/>
              <a:p>
                <a:endParaRPr lang="en-GB"/>
              </a:p>
            </p:txBody>
          </p:sp>
        </p:grpSp>
        <p:grpSp>
          <p:nvGrpSpPr>
            <p:cNvPr id="1147" name="Graphic 3">
              <a:extLst>
                <a:ext uri="{FF2B5EF4-FFF2-40B4-BE49-F238E27FC236}">
                  <a16:creationId xmlns:a16="http://schemas.microsoft.com/office/drawing/2014/main" id="{BADEBC13-7168-4137-A281-1D036614286E}"/>
                </a:ext>
              </a:extLst>
            </p:cNvPr>
            <p:cNvGrpSpPr/>
            <p:nvPr/>
          </p:nvGrpSpPr>
          <p:grpSpPr>
            <a:xfrm>
              <a:off x="3957432" y="3096107"/>
              <a:ext cx="438809" cy="111685"/>
              <a:chOff x="3957432" y="3096107"/>
              <a:chExt cx="438809" cy="111685"/>
            </a:xfrm>
            <a:grpFill/>
          </p:grpSpPr>
          <p:sp>
            <p:nvSpPr>
              <p:cNvPr id="1960" name="Vrije vorm: vorm 1959">
                <a:extLst>
                  <a:ext uri="{FF2B5EF4-FFF2-40B4-BE49-F238E27FC236}">
                    <a16:creationId xmlns:a16="http://schemas.microsoft.com/office/drawing/2014/main" id="{1213B4CC-192C-4018-94D7-4DC5B0BED942}"/>
                  </a:ext>
                </a:extLst>
              </p:cNvPr>
              <p:cNvSpPr/>
              <p:nvPr/>
            </p:nvSpPr>
            <p:spPr>
              <a:xfrm>
                <a:off x="3965836" y="3103676"/>
                <a:ext cx="421999" cy="96469"/>
              </a:xfrm>
              <a:custGeom>
                <a:avLst/>
                <a:gdLst>
                  <a:gd name="connsiteX0" fmla="*/ 422000 w 421999"/>
                  <a:gd name="connsiteY0" fmla="*/ 93479 h 96469"/>
                  <a:gd name="connsiteX1" fmla="*/ 421401 w 421999"/>
                  <a:gd name="connsiteY1" fmla="*/ 96469 h 96469"/>
                  <a:gd name="connsiteX2" fmla="*/ 0 w 421999"/>
                  <a:gd name="connsiteY2" fmla="*/ 3050 h 96469"/>
                  <a:gd name="connsiteX3" fmla="*/ 658 w 421999"/>
                  <a:gd name="connsiteY3" fmla="*/ 0 h 96469"/>
                </a:gdLst>
                <a:ahLst/>
                <a:cxnLst>
                  <a:cxn ang="0">
                    <a:pos x="connsiteX0" y="connsiteY0"/>
                  </a:cxn>
                  <a:cxn ang="0">
                    <a:pos x="connsiteX1" y="connsiteY1"/>
                  </a:cxn>
                  <a:cxn ang="0">
                    <a:pos x="connsiteX2" y="connsiteY2"/>
                  </a:cxn>
                  <a:cxn ang="0">
                    <a:pos x="connsiteX3" y="connsiteY3"/>
                  </a:cxn>
                </a:cxnLst>
                <a:rect l="l" t="t" r="r" b="b"/>
                <a:pathLst>
                  <a:path w="421999" h="96469">
                    <a:moveTo>
                      <a:pt x="422000" y="93479"/>
                    </a:moveTo>
                    <a:lnTo>
                      <a:pt x="421401" y="96469"/>
                    </a:lnTo>
                    <a:lnTo>
                      <a:pt x="0" y="3050"/>
                    </a:lnTo>
                    <a:lnTo>
                      <a:pt x="658" y="0"/>
                    </a:lnTo>
                    <a:close/>
                  </a:path>
                </a:pathLst>
              </a:custGeom>
              <a:grpFill/>
              <a:ln w="5978" cap="flat">
                <a:noFill/>
                <a:prstDash val="solid"/>
                <a:miter/>
              </a:ln>
            </p:spPr>
            <p:txBody>
              <a:bodyPr rtlCol="0" anchor="ctr"/>
              <a:lstStyle/>
              <a:p>
                <a:endParaRPr lang="en-GB"/>
              </a:p>
            </p:txBody>
          </p:sp>
          <p:sp>
            <p:nvSpPr>
              <p:cNvPr id="1961" name="Vrije vorm: vorm 1960">
                <a:extLst>
                  <a:ext uri="{FF2B5EF4-FFF2-40B4-BE49-F238E27FC236}">
                    <a16:creationId xmlns:a16="http://schemas.microsoft.com/office/drawing/2014/main" id="{64427227-1DEF-45FB-A212-86762FF45F1E}"/>
                  </a:ext>
                </a:extLst>
              </p:cNvPr>
              <p:cNvSpPr/>
              <p:nvPr/>
            </p:nvSpPr>
            <p:spPr>
              <a:xfrm>
                <a:off x="4377934" y="3189346"/>
                <a:ext cx="18308" cy="18445"/>
              </a:xfrm>
              <a:custGeom>
                <a:avLst/>
                <a:gdLst>
                  <a:gd name="connsiteX0" fmla="*/ 11098 w 18308"/>
                  <a:gd name="connsiteY0" fmla="*/ 213 h 18445"/>
                  <a:gd name="connsiteX1" fmla="*/ 18095 w 18308"/>
                  <a:gd name="connsiteY1" fmla="*/ 11217 h 18445"/>
                  <a:gd name="connsiteX2" fmla="*/ 7210 w 18308"/>
                  <a:gd name="connsiteY2" fmla="*/ 18215 h 18445"/>
                  <a:gd name="connsiteX3" fmla="*/ 213 w 18308"/>
                  <a:gd name="connsiteY3" fmla="*/ 7210 h 18445"/>
                  <a:gd name="connsiteX4" fmla="*/ 11098 w 18308"/>
                  <a:gd name="connsiteY4" fmla="*/ 213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5">
                    <a:moveTo>
                      <a:pt x="11098" y="213"/>
                    </a:moveTo>
                    <a:cubicBezTo>
                      <a:pt x="16062" y="1289"/>
                      <a:pt x="19172" y="6253"/>
                      <a:pt x="18095" y="11217"/>
                    </a:cubicBezTo>
                    <a:cubicBezTo>
                      <a:pt x="17019" y="16181"/>
                      <a:pt x="12115" y="19351"/>
                      <a:pt x="7210" y="18215"/>
                    </a:cubicBezTo>
                    <a:cubicBezTo>
                      <a:pt x="2246" y="17138"/>
                      <a:pt x="-864" y="12174"/>
                      <a:pt x="213" y="7210"/>
                    </a:cubicBezTo>
                    <a:cubicBezTo>
                      <a:pt x="1289" y="2246"/>
                      <a:pt x="6134" y="-864"/>
                      <a:pt x="11098" y="213"/>
                    </a:cubicBezTo>
                    <a:close/>
                  </a:path>
                </a:pathLst>
              </a:custGeom>
              <a:grpFill/>
              <a:ln w="5978" cap="flat">
                <a:noFill/>
                <a:prstDash val="solid"/>
                <a:miter/>
              </a:ln>
            </p:spPr>
            <p:txBody>
              <a:bodyPr rtlCol="0" anchor="ctr"/>
              <a:lstStyle/>
              <a:p>
                <a:endParaRPr lang="en-GB"/>
              </a:p>
            </p:txBody>
          </p:sp>
          <p:sp>
            <p:nvSpPr>
              <p:cNvPr id="1962" name="Vrije vorm: vorm 1961">
                <a:extLst>
                  <a:ext uri="{FF2B5EF4-FFF2-40B4-BE49-F238E27FC236}">
                    <a16:creationId xmlns:a16="http://schemas.microsoft.com/office/drawing/2014/main" id="{4B602BB3-B49E-4416-AEC0-2E799BD64980}"/>
                  </a:ext>
                </a:extLst>
              </p:cNvPr>
              <p:cNvSpPr/>
              <p:nvPr/>
            </p:nvSpPr>
            <p:spPr>
              <a:xfrm>
                <a:off x="3957432" y="3096107"/>
                <a:ext cx="18323" cy="18427"/>
              </a:xfrm>
              <a:custGeom>
                <a:avLst/>
                <a:gdLst>
                  <a:gd name="connsiteX0" fmla="*/ 11095 w 18323"/>
                  <a:gd name="connsiteY0" fmla="*/ 213 h 18427"/>
                  <a:gd name="connsiteX1" fmla="*/ 210 w 18323"/>
                  <a:gd name="connsiteY1" fmla="*/ 7210 h 18427"/>
                  <a:gd name="connsiteX2" fmla="*/ 7208 w 18323"/>
                  <a:gd name="connsiteY2" fmla="*/ 18215 h 18427"/>
                  <a:gd name="connsiteX3" fmla="*/ 18093 w 18323"/>
                  <a:gd name="connsiteY3" fmla="*/ 11217 h 18427"/>
                  <a:gd name="connsiteX4" fmla="*/ 11095 w 18323"/>
                  <a:gd name="connsiteY4" fmla="*/ 213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7">
                    <a:moveTo>
                      <a:pt x="11095" y="213"/>
                    </a:moveTo>
                    <a:cubicBezTo>
                      <a:pt x="6131" y="-864"/>
                      <a:pt x="1287" y="2246"/>
                      <a:pt x="210" y="7210"/>
                    </a:cubicBezTo>
                    <a:cubicBezTo>
                      <a:pt x="-867" y="12174"/>
                      <a:pt x="2303" y="17079"/>
                      <a:pt x="7208" y="18215"/>
                    </a:cubicBezTo>
                    <a:cubicBezTo>
                      <a:pt x="12172" y="19291"/>
                      <a:pt x="17016" y="16181"/>
                      <a:pt x="18093" y="11217"/>
                    </a:cubicBezTo>
                    <a:cubicBezTo>
                      <a:pt x="19229" y="6194"/>
                      <a:pt x="16059" y="1289"/>
                      <a:pt x="11095" y="213"/>
                    </a:cubicBezTo>
                    <a:close/>
                  </a:path>
                </a:pathLst>
              </a:custGeom>
              <a:grpFill/>
              <a:ln w="5978" cap="flat">
                <a:noFill/>
                <a:prstDash val="solid"/>
                <a:miter/>
              </a:ln>
            </p:spPr>
            <p:txBody>
              <a:bodyPr rtlCol="0" anchor="ctr"/>
              <a:lstStyle/>
              <a:p>
                <a:endParaRPr lang="en-GB"/>
              </a:p>
            </p:txBody>
          </p:sp>
        </p:grpSp>
        <p:grpSp>
          <p:nvGrpSpPr>
            <p:cNvPr id="1148" name="Graphic 3">
              <a:extLst>
                <a:ext uri="{FF2B5EF4-FFF2-40B4-BE49-F238E27FC236}">
                  <a16:creationId xmlns:a16="http://schemas.microsoft.com/office/drawing/2014/main" id="{3F831A72-2D28-41B4-B4A1-05229A019D91}"/>
                </a:ext>
              </a:extLst>
            </p:cNvPr>
            <p:cNvGrpSpPr/>
            <p:nvPr/>
          </p:nvGrpSpPr>
          <p:grpSpPr>
            <a:xfrm>
              <a:off x="3632644" y="2566868"/>
              <a:ext cx="812014" cy="327931"/>
              <a:chOff x="3632644" y="2566868"/>
              <a:chExt cx="812014" cy="327931"/>
            </a:xfrm>
            <a:grpFill/>
          </p:grpSpPr>
          <p:sp>
            <p:nvSpPr>
              <p:cNvPr id="1957" name="Vrije vorm: vorm 1956">
                <a:extLst>
                  <a:ext uri="{FF2B5EF4-FFF2-40B4-BE49-F238E27FC236}">
                    <a16:creationId xmlns:a16="http://schemas.microsoft.com/office/drawing/2014/main" id="{64342625-59C0-4D92-9CC7-1D8002A541E4}"/>
                  </a:ext>
                </a:extLst>
              </p:cNvPr>
              <p:cNvSpPr/>
              <p:nvPr/>
            </p:nvSpPr>
            <p:spPr>
              <a:xfrm>
                <a:off x="3640844" y="2574502"/>
                <a:ext cx="795615" cy="312672"/>
              </a:xfrm>
              <a:custGeom>
                <a:avLst/>
                <a:gdLst>
                  <a:gd name="connsiteX0" fmla="*/ 795616 w 795615"/>
                  <a:gd name="connsiteY0" fmla="*/ 309861 h 312672"/>
                  <a:gd name="connsiteX1" fmla="*/ 794539 w 795615"/>
                  <a:gd name="connsiteY1" fmla="*/ 312672 h 312672"/>
                  <a:gd name="connsiteX2" fmla="*/ 0 w 795615"/>
                  <a:gd name="connsiteY2" fmla="*/ 2871 h 312672"/>
                  <a:gd name="connsiteX3" fmla="*/ 1076 w 795615"/>
                  <a:gd name="connsiteY3" fmla="*/ 0 h 312672"/>
                </a:gdLst>
                <a:ahLst/>
                <a:cxnLst>
                  <a:cxn ang="0">
                    <a:pos x="connsiteX0" y="connsiteY0"/>
                  </a:cxn>
                  <a:cxn ang="0">
                    <a:pos x="connsiteX1" y="connsiteY1"/>
                  </a:cxn>
                  <a:cxn ang="0">
                    <a:pos x="connsiteX2" y="connsiteY2"/>
                  </a:cxn>
                  <a:cxn ang="0">
                    <a:pos x="connsiteX3" y="connsiteY3"/>
                  </a:cxn>
                </a:cxnLst>
                <a:rect l="l" t="t" r="r" b="b"/>
                <a:pathLst>
                  <a:path w="795615" h="312672">
                    <a:moveTo>
                      <a:pt x="795616" y="309861"/>
                    </a:moveTo>
                    <a:lnTo>
                      <a:pt x="794539" y="312672"/>
                    </a:lnTo>
                    <a:lnTo>
                      <a:pt x="0" y="2871"/>
                    </a:lnTo>
                    <a:lnTo>
                      <a:pt x="1076" y="0"/>
                    </a:lnTo>
                    <a:close/>
                  </a:path>
                </a:pathLst>
              </a:custGeom>
              <a:grpFill/>
              <a:ln w="5978" cap="flat">
                <a:noFill/>
                <a:prstDash val="solid"/>
                <a:miter/>
              </a:ln>
            </p:spPr>
            <p:txBody>
              <a:bodyPr rtlCol="0" anchor="ctr"/>
              <a:lstStyle/>
              <a:p>
                <a:endParaRPr lang="en-GB"/>
              </a:p>
            </p:txBody>
          </p:sp>
          <p:sp>
            <p:nvSpPr>
              <p:cNvPr id="1958" name="Vrije vorm: vorm 1957">
                <a:extLst>
                  <a:ext uri="{FF2B5EF4-FFF2-40B4-BE49-F238E27FC236}">
                    <a16:creationId xmlns:a16="http://schemas.microsoft.com/office/drawing/2014/main" id="{1796F25B-2FE6-4F48-BDAA-56D73EB0C664}"/>
                  </a:ext>
                </a:extLst>
              </p:cNvPr>
              <p:cNvSpPr/>
              <p:nvPr/>
            </p:nvSpPr>
            <p:spPr>
              <a:xfrm>
                <a:off x="4426346" y="2876378"/>
                <a:ext cx="18313" cy="18421"/>
              </a:xfrm>
              <a:custGeom>
                <a:avLst/>
                <a:gdLst>
                  <a:gd name="connsiteX0" fmla="*/ 12446 w 18313"/>
                  <a:gd name="connsiteY0" fmla="*/ 629 h 18421"/>
                  <a:gd name="connsiteX1" fmla="*/ 17709 w 18313"/>
                  <a:gd name="connsiteY1" fmla="*/ 12530 h 18421"/>
                  <a:gd name="connsiteX2" fmla="*/ 5867 w 18313"/>
                  <a:gd name="connsiteY2" fmla="*/ 17793 h 18421"/>
                  <a:gd name="connsiteX3" fmla="*/ 604 w 18313"/>
                  <a:gd name="connsiteY3" fmla="*/ 5892 h 18421"/>
                  <a:gd name="connsiteX4" fmla="*/ 12446 w 18313"/>
                  <a:gd name="connsiteY4" fmla="*/ 62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1">
                    <a:moveTo>
                      <a:pt x="12446" y="629"/>
                    </a:moveTo>
                    <a:cubicBezTo>
                      <a:pt x="17171" y="2483"/>
                      <a:pt x="19503" y="7806"/>
                      <a:pt x="17709" y="12530"/>
                    </a:cubicBezTo>
                    <a:cubicBezTo>
                      <a:pt x="15915" y="17255"/>
                      <a:pt x="10592" y="19647"/>
                      <a:pt x="5867" y="17793"/>
                    </a:cubicBezTo>
                    <a:cubicBezTo>
                      <a:pt x="1143" y="15939"/>
                      <a:pt x="-1190" y="10617"/>
                      <a:pt x="604" y="5892"/>
                    </a:cubicBezTo>
                    <a:cubicBezTo>
                      <a:pt x="2398" y="1167"/>
                      <a:pt x="7721" y="-1225"/>
                      <a:pt x="12446" y="629"/>
                    </a:cubicBezTo>
                    <a:close/>
                  </a:path>
                </a:pathLst>
              </a:custGeom>
              <a:grpFill/>
              <a:ln w="5978" cap="flat">
                <a:noFill/>
                <a:prstDash val="solid"/>
                <a:miter/>
              </a:ln>
            </p:spPr>
            <p:txBody>
              <a:bodyPr rtlCol="0" anchor="ctr"/>
              <a:lstStyle/>
              <a:p>
                <a:endParaRPr lang="en-GB"/>
              </a:p>
            </p:txBody>
          </p:sp>
          <p:sp>
            <p:nvSpPr>
              <p:cNvPr id="1959" name="Vrije vorm: vorm 1958">
                <a:extLst>
                  <a:ext uri="{FF2B5EF4-FFF2-40B4-BE49-F238E27FC236}">
                    <a16:creationId xmlns:a16="http://schemas.microsoft.com/office/drawing/2014/main" id="{6AD6E18B-CA83-4228-AD25-F0CB3DCD6B37}"/>
                  </a:ext>
                </a:extLst>
              </p:cNvPr>
              <p:cNvSpPr/>
              <p:nvPr/>
            </p:nvSpPr>
            <p:spPr>
              <a:xfrm>
                <a:off x="3632644" y="2566868"/>
                <a:ext cx="18337" cy="18436"/>
              </a:xfrm>
              <a:custGeom>
                <a:avLst/>
                <a:gdLst>
                  <a:gd name="connsiteX0" fmla="*/ 12446 w 18337"/>
                  <a:gd name="connsiteY0" fmla="*/ 636 h 18436"/>
                  <a:gd name="connsiteX1" fmla="*/ 604 w 18337"/>
                  <a:gd name="connsiteY1" fmla="*/ 5899 h 18436"/>
                  <a:gd name="connsiteX2" fmla="*/ 5867 w 18337"/>
                  <a:gd name="connsiteY2" fmla="*/ 17801 h 18436"/>
                  <a:gd name="connsiteX3" fmla="*/ 17709 w 18337"/>
                  <a:gd name="connsiteY3" fmla="*/ 12538 h 18436"/>
                  <a:gd name="connsiteX4" fmla="*/ 12446 w 18337"/>
                  <a:gd name="connsiteY4" fmla="*/ 63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2446" y="636"/>
                    </a:moveTo>
                    <a:cubicBezTo>
                      <a:pt x="7721" y="-1218"/>
                      <a:pt x="2398" y="1115"/>
                      <a:pt x="604" y="5899"/>
                    </a:cubicBezTo>
                    <a:cubicBezTo>
                      <a:pt x="-1190" y="10624"/>
                      <a:pt x="1143" y="16007"/>
                      <a:pt x="5867" y="17801"/>
                    </a:cubicBezTo>
                    <a:cubicBezTo>
                      <a:pt x="10592" y="19655"/>
                      <a:pt x="15915" y="17322"/>
                      <a:pt x="17709" y="12538"/>
                    </a:cubicBezTo>
                    <a:cubicBezTo>
                      <a:pt x="19563" y="7813"/>
                      <a:pt x="17171" y="2490"/>
                      <a:pt x="12446" y="636"/>
                    </a:cubicBezTo>
                    <a:close/>
                  </a:path>
                </a:pathLst>
              </a:custGeom>
              <a:grpFill/>
              <a:ln w="5978" cap="flat">
                <a:noFill/>
                <a:prstDash val="solid"/>
                <a:miter/>
              </a:ln>
            </p:spPr>
            <p:txBody>
              <a:bodyPr rtlCol="0" anchor="ctr"/>
              <a:lstStyle/>
              <a:p>
                <a:endParaRPr lang="en-GB"/>
              </a:p>
            </p:txBody>
          </p:sp>
        </p:grpSp>
        <p:grpSp>
          <p:nvGrpSpPr>
            <p:cNvPr id="1149" name="Graphic 3">
              <a:extLst>
                <a:ext uri="{FF2B5EF4-FFF2-40B4-BE49-F238E27FC236}">
                  <a16:creationId xmlns:a16="http://schemas.microsoft.com/office/drawing/2014/main" id="{734D208F-D4E8-499F-A55B-261A58679DBC}"/>
                </a:ext>
              </a:extLst>
            </p:cNvPr>
            <p:cNvGrpSpPr/>
            <p:nvPr/>
          </p:nvGrpSpPr>
          <p:grpSpPr>
            <a:xfrm>
              <a:off x="4569342" y="4660296"/>
              <a:ext cx="340240" cy="311081"/>
              <a:chOff x="4569342" y="4660296"/>
              <a:chExt cx="340240" cy="311081"/>
            </a:xfrm>
            <a:grpFill/>
          </p:grpSpPr>
          <p:sp>
            <p:nvSpPr>
              <p:cNvPr id="1954" name="Vrije vorm: vorm 1953">
                <a:extLst>
                  <a:ext uri="{FF2B5EF4-FFF2-40B4-BE49-F238E27FC236}">
                    <a16:creationId xmlns:a16="http://schemas.microsoft.com/office/drawing/2014/main" id="{032B3D88-A8A0-49F7-840A-CA536D612BB0}"/>
                  </a:ext>
                </a:extLst>
              </p:cNvPr>
              <p:cNvSpPr/>
              <p:nvPr/>
            </p:nvSpPr>
            <p:spPr>
              <a:xfrm>
                <a:off x="4577126" y="4668053"/>
                <a:ext cx="324693" cy="295567"/>
              </a:xfrm>
              <a:custGeom>
                <a:avLst/>
                <a:gdLst>
                  <a:gd name="connsiteX0" fmla="*/ 324694 w 324693"/>
                  <a:gd name="connsiteY0" fmla="*/ 2273 h 295567"/>
                  <a:gd name="connsiteX1" fmla="*/ 2034 w 324693"/>
                  <a:gd name="connsiteY1" fmla="*/ 295567 h 295567"/>
                  <a:gd name="connsiteX2" fmla="*/ 0 w 324693"/>
                  <a:gd name="connsiteY2" fmla="*/ 293294 h 295567"/>
                  <a:gd name="connsiteX3" fmla="*/ 322600 w 324693"/>
                  <a:gd name="connsiteY3" fmla="*/ 0 h 295567"/>
                </a:gdLst>
                <a:ahLst/>
                <a:cxnLst>
                  <a:cxn ang="0">
                    <a:pos x="connsiteX0" y="connsiteY0"/>
                  </a:cxn>
                  <a:cxn ang="0">
                    <a:pos x="connsiteX1" y="connsiteY1"/>
                  </a:cxn>
                  <a:cxn ang="0">
                    <a:pos x="connsiteX2" y="connsiteY2"/>
                  </a:cxn>
                  <a:cxn ang="0">
                    <a:pos x="connsiteX3" y="connsiteY3"/>
                  </a:cxn>
                </a:cxnLst>
                <a:rect l="l" t="t" r="r" b="b"/>
                <a:pathLst>
                  <a:path w="324693" h="295567">
                    <a:moveTo>
                      <a:pt x="324694" y="2273"/>
                    </a:moveTo>
                    <a:lnTo>
                      <a:pt x="2034" y="295567"/>
                    </a:lnTo>
                    <a:lnTo>
                      <a:pt x="0" y="293294"/>
                    </a:lnTo>
                    <a:lnTo>
                      <a:pt x="322600" y="0"/>
                    </a:lnTo>
                    <a:close/>
                  </a:path>
                </a:pathLst>
              </a:custGeom>
              <a:grpFill/>
              <a:ln w="5978" cap="flat">
                <a:noFill/>
                <a:prstDash val="solid"/>
                <a:miter/>
              </a:ln>
            </p:spPr>
            <p:txBody>
              <a:bodyPr rtlCol="0" anchor="ctr"/>
              <a:lstStyle/>
              <a:p>
                <a:endParaRPr lang="en-GB"/>
              </a:p>
            </p:txBody>
          </p:sp>
          <p:sp>
            <p:nvSpPr>
              <p:cNvPr id="1955" name="Vrije vorm: vorm 1954">
                <a:extLst>
                  <a:ext uri="{FF2B5EF4-FFF2-40B4-BE49-F238E27FC236}">
                    <a16:creationId xmlns:a16="http://schemas.microsoft.com/office/drawing/2014/main" id="{3565E929-EE9F-475A-BAA6-51974B1B4CC5}"/>
                  </a:ext>
                </a:extLst>
              </p:cNvPr>
              <p:cNvSpPr/>
              <p:nvPr/>
            </p:nvSpPr>
            <p:spPr>
              <a:xfrm>
                <a:off x="4891284" y="4660296"/>
                <a:ext cx="18298" cy="18444"/>
              </a:xfrm>
              <a:custGeom>
                <a:avLst/>
                <a:gdLst>
                  <a:gd name="connsiteX0" fmla="*/ 3000 w 18298"/>
                  <a:gd name="connsiteY0" fmla="*/ 2374 h 18444"/>
                  <a:gd name="connsiteX1" fmla="*/ 15918 w 18298"/>
                  <a:gd name="connsiteY1" fmla="*/ 3032 h 18444"/>
                  <a:gd name="connsiteX2" fmla="*/ 15320 w 18298"/>
                  <a:gd name="connsiteY2" fmla="*/ 16070 h 18444"/>
                  <a:gd name="connsiteX3" fmla="*/ 2401 w 18298"/>
                  <a:gd name="connsiteY3" fmla="*/ 15412 h 18444"/>
                  <a:gd name="connsiteX4" fmla="*/ 3000 w 18298"/>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44">
                    <a:moveTo>
                      <a:pt x="3000" y="2374"/>
                    </a:moveTo>
                    <a:cubicBezTo>
                      <a:pt x="6768" y="-1035"/>
                      <a:pt x="12569" y="-736"/>
                      <a:pt x="15918" y="3032"/>
                    </a:cubicBezTo>
                    <a:cubicBezTo>
                      <a:pt x="19327" y="6800"/>
                      <a:pt x="19028" y="12661"/>
                      <a:pt x="15320" y="16070"/>
                    </a:cubicBezTo>
                    <a:cubicBezTo>
                      <a:pt x="11552" y="19479"/>
                      <a:pt x="5751" y="19180"/>
                      <a:pt x="2401" y="15412"/>
                    </a:cubicBezTo>
                    <a:cubicBezTo>
                      <a:pt x="-1008" y="11585"/>
                      <a:pt x="-768" y="5783"/>
                      <a:pt x="3000" y="2374"/>
                    </a:cubicBezTo>
                    <a:close/>
                  </a:path>
                </a:pathLst>
              </a:custGeom>
              <a:grpFill/>
              <a:ln w="5978" cap="flat">
                <a:noFill/>
                <a:prstDash val="solid"/>
                <a:miter/>
              </a:ln>
            </p:spPr>
            <p:txBody>
              <a:bodyPr rtlCol="0" anchor="ctr"/>
              <a:lstStyle/>
              <a:p>
                <a:endParaRPr lang="en-GB"/>
              </a:p>
            </p:txBody>
          </p:sp>
          <p:sp>
            <p:nvSpPr>
              <p:cNvPr id="1956" name="Vrije vorm: vorm 1955">
                <a:extLst>
                  <a:ext uri="{FF2B5EF4-FFF2-40B4-BE49-F238E27FC236}">
                    <a16:creationId xmlns:a16="http://schemas.microsoft.com/office/drawing/2014/main" id="{23C371BC-49D5-4F6C-928A-271EA650CE7D}"/>
                  </a:ext>
                </a:extLst>
              </p:cNvPr>
              <p:cNvSpPr/>
              <p:nvPr/>
            </p:nvSpPr>
            <p:spPr>
              <a:xfrm>
                <a:off x="4569342" y="4952933"/>
                <a:ext cx="18319" cy="18444"/>
              </a:xfrm>
              <a:custGeom>
                <a:avLst/>
                <a:gdLst>
                  <a:gd name="connsiteX0" fmla="*/ 2999 w 18319"/>
                  <a:gd name="connsiteY0" fmla="*/ 2374 h 18444"/>
                  <a:gd name="connsiteX1" fmla="*/ 2402 w 18319"/>
                  <a:gd name="connsiteY1" fmla="*/ 15412 h 18444"/>
                  <a:gd name="connsiteX2" fmla="*/ 15320 w 18319"/>
                  <a:gd name="connsiteY2" fmla="*/ 16070 h 18444"/>
                  <a:gd name="connsiteX3" fmla="*/ 15918 w 18319"/>
                  <a:gd name="connsiteY3" fmla="*/ 3032 h 18444"/>
                  <a:gd name="connsiteX4" fmla="*/ 2999 w 18319"/>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2999" y="2374"/>
                    </a:moveTo>
                    <a:cubicBezTo>
                      <a:pt x="-768" y="5783"/>
                      <a:pt x="-1008" y="11585"/>
                      <a:pt x="2402" y="15412"/>
                    </a:cubicBezTo>
                    <a:cubicBezTo>
                      <a:pt x="5811" y="19180"/>
                      <a:pt x="11612" y="19479"/>
                      <a:pt x="15320" y="16070"/>
                    </a:cubicBezTo>
                    <a:cubicBezTo>
                      <a:pt x="19088" y="12661"/>
                      <a:pt x="19327" y="6860"/>
                      <a:pt x="15918" y="3032"/>
                    </a:cubicBezTo>
                    <a:cubicBezTo>
                      <a:pt x="12509" y="-736"/>
                      <a:pt x="6707" y="-1035"/>
                      <a:pt x="2999" y="2374"/>
                    </a:cubicBezTo>
                    <a:close/>
                  </a:path>
                </a:pathLst>
              </a:custGeom>
              <a:grpFill/>
              <a:ln w="5978" cap="flat">
                <a:noFill/>
                <a:prstDash val="solid"/>
                <a:miter/>
              </a:ln>
            </p:spPr>
            <p:txBody>
              <a:bodyPr rtlCol="0" anchor="ctr"/>
              <a:lstStyle/>
              <a:p>
                <a:endParaRPr lang="en-GB"/>
              </a:p>
            </p:txBody>
          </p:sp>
        </p:grpSp>
        <p:grpSp>
          <p:nvGrpSpPr>
            <p:cNvPr id="1150" name="Graphic 3">
              <a:extLst>
                <a:ext uri="{FF2B5EF4-FFF2-40B4-BE49-F238E27FC236}">
                  <a16:creationId xmlns:a16="http://schemas.microsoft.com/office/drawing/2014/main" id="{AD177E1D-E794-44D3-A931-4100E0D991A6}"/>
                </a:ext>
              </a:extLst>
            </p:cNvPr>
            <p:cNvGrpSpPr/>
            <p:nvPr/>
          </p:nvGrpSpPr>
          <p:grpSpPr>
            <a:xfrm>
              <a:off x="4233636" y="3505743"/>
              <a:ext cx="132565" cy="25031"/>
              <a:chOff x="4233636" y="3505743"/>
              <a:chExt cx="132565" cy="25031"/>
            </a:xfrm>
            <a:grpFill/>
          </p:grpSpPr>
          <p:sp>
            <p:nvSpPr>
              <p:cNvPr id="1951" name="Vrije vorm: vorm 1950">
                <a:extLst>
                  <a:ext uri="{FF2B5EF4-FFF2-40B4-BE49-F238E27FC236}">
                    <a16:creationId xmlns:a16="http://schemas.microsoft.com/office/drawing/2014/main" id="{AE4B1B80-C7EB-492E-84EE-9DEFC302CBBE}"/>
                  </a:ext>
                </a:extLst>
              </p:cNvPr>
              <p:cNvSpPr/>
              <p:nvPr/>
            </p:nvSpPr>
            <p:spPr>
              <a:xfrm>
                <a:off x="4242205" y="3513415"/>
                <a:ext cx="115368" cy="9688"/>
              </a:xfrm>
              <a:custGeom>
                <a:avLst/>
                <a:gdLst>
                  <a:gd name="connsiteX0" fmla="*/ 115189 w 115368"/>
                  <a:gd name="connsiteY0" fmla="*/ 0 h 9688"/>
                  <a:gd name="connsiteX1" fmla="*/ 115368 w 115368"/>
                  <a:gd name="connsiteY1" fmla="*/ 3050 h 9688"/>
                  <a:gd name="connsiteX2" fmla="*/ 239 w 115368"/>
                  <a:gd name="connsiteY2" fmla="*/ 9689 h 9688"/>
                  <a:gd name="connsiteX3" fmla="*/ 0 w 115368"/>
                  <a:gd name="connsiteY3" fmla="*/ 6639 h 9688"/>
                </a:gdLst>
                <a:ahLst/>
                <a:cxnLst>
                  <a:cxn ang="0">
                    <a:pos x="connsiteX0" y="connsiteY0"/>
                  </a:cxn>
                  <a:cxn ang="0">
                    <a:pos x="connsiteX1" y="connsiteY1"/>
                  </a:cxn>
                  <a:cxn ang="0">
                    <a:pos x="connsiteX2" y="connsiteY2"/>
                  </a:cxn>
                  <a:cxn ang="0">
                    <a:pos x="connsiteX3" y="connsiteY3"/>
                  </a:cxn>
                </a:cxnLst>
                <a:rect l="l" t="t" r="r" b="b"/>
                <a:pathLst>
                  <a:path w="115368" h="9688">
                    <a:moveTo>
                      <a:pt x="115189" y="0"/>
                    </a:moveTo>
                    <a:lnTo>
                      <a:pt x="115368" y="3050"/>
                    </a:lnTo>
                    <a:lnTo>
                      <a:pt x="239" y="9689"/>
                    </a:lnTo>
                    <a:lnTo>
                      <a:pt x="0" y="6639"/>
                    </a:lnTo>
                    <a:close/>
                  </a:path>
                </a:pathLst>
              </a:custGeom>
              <a:grpFill/>
              <a:ln w="5978" cap="flat">
                <a:noFill/>
                <a:prstDash val="solid"/>
                <a:miter/>
              </a:ln>
            </p:spPr>
            <p:txBody>
              <a:bodyPr rtlCol="0" anchor="ctr"/>
              <a:lstStyle/>
              <a:p>
                <a:endParaRPr lang="en-GB"/>
              </a:p>
            </p:txBody>
          </p:sp>
          <p:sp>
            <p:nvSpPr>
              <p:cNvPr id="1952" name="Vrije vorm: vorm 1951">
                <a:extLst>
                  <a:ext uri="{FF2B5EF4-FFF2-40B4-BE49-F238E27FC236}">
                    <a16:creationId xmlns:a16="http://schemas.microsoft.com/office/drawing/2014/main" id="{6F7D6528-98E5-4A75-9083-8F6F713C477F}"/>
                  </a:ext>
                </a:extLst>
              </p:cNvPr>
              <p:cNvSpPr/>
              <p:nvPr/>
            </p:nvSpPr>
            <p:spPr>
              <a:xfrm>
                <a:off x="4233636" y="3512322"/>
                <a:ext cx="18333" cy="18452"/>
              </a:xfrm>
              <a:custGeom>
                <a:avLst/>
                <a:gdLst>
                  <a:gd name="connsiteX0" fmla="*/ 9705 w 18333"/>
                  <a:gd name="connsiteY0" fmla="*/ 18437 h 18452"/>
                  <a:gd name="connsiteX1" fmla="*/ 16 w 18333"/>
                  <a:gd name="connsiteY1" fmla="*/ 9765 h 18452"/>
                  <a:gd name="connsiteX2" fmla="*/ 8629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9" y="16"/>
                    </a:cubicBezTo>
                    <a:cubicBezTo>
                      <a:pt x="13653" y="-283"/>
                      <a:pt x="18018" y="3605"/>
                      <a:pt x="18317" y="8688"/>
                    </a:cubicBezTo>
                    <a:cubicBezTo>
                      <a:pt x="18616" y="13772"/>
                      <a:pt x="14789" y="18138"/>
                      <a:pt x="9705" y="18437"/>
                    </a:cubicBezTo>
                    <a:close/>
                  </a:path>
                </a:pathLst>
              </a:custGeom>
              <a:grpFill/>
              <a:ln w="5978" cap="flat">
                <a:noFill/>
                <a:prstDash val="solid"/>
                <a:miter/>
              </a:ln>
            </p:spPr>
            <p:txBody>
              <a:bodyPr rtlCol="0" anchor="ctr"/>
              <a:lstStyle/>
              <a:p>
                <a:endParaRPr lang="en-GB"/>
              </a:p>
            </p:txBody>
          </p:sp>
          <p:sp>
            <p:nvSpPr>
              <p:cNvPr id="1953" name="Vrije vorm: vorm 1952">
                <a:extLst>
                  <a:ext uri="{FF2B5EF4-FFF2-40B4-BE49-F238E27FC236}">
                    <a16:creationId xmlns:a16="http://schemas.microsoft.com/office/drawing/2014/main" id="{34FDE3E0-DE07-4327-8533-D46173DFBAD1}"/>
                  </a:ext>
                </a:extLst>
              </p:cNvPr>
              <p:cNvSpPr/>
              <p:nvPr/>
            </p:nvSpPr>
            <p:spPr>
              <a:xfrm>
                <a:off x="4347869" y="3505743"/>
                <a:ext cx="18333" cy="18452"/>
              </a:xfrm>
              <a:custGeom>
                <a:avLst/>
                <a:gdLst>
                  <a:gd name="connsiteX0" fmla="*/ 9705 w 18333"/>
                  <a:gd name="connsiteY0" fmla="*/ 18437 h 18452"/>
                  <a:gd name="connsiteX1" fmla="*/ 18317 w 18333"/>
                  <a:gd name="connsiteY1" fmla="*/ 8688 h 18452"/>
                  <a:gd name="connsiteX2" fmla="*/ 8628 w 18333"/>
                  <a:gd name="connsiteY2" fmla="*/ 16 h 18452"/>
                  <a:gd name="connsiteX3" fmla="*/ 16 w 18333"/>
                  <a:gd name="connsiteY3" fmla="*/ 9765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14729" y="18138"/>
                      <a:pt x="18616" y="13772"/>
                      <a:pt x="18317" y="8688"/>
                    </a:cubicBezTo>
                    <a:cubicBezTo>
                      <a:pt x="18018" y="3605"/>
                      <a:pt x="13652" y="-283"/>
                      <a:pt x="8628" y="16"/>
                    </a:cubicBezTo>
                    <a:cubicBezTo>
                      <a:pt x="3604" y="315"/>
                      <a:pt x="-283"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1151" name="Graphic 3">
              <a:extLst>
                <a:ext uri="{FF2B5EF4-FFF2-40B4-BE49-F238E27FC236}">
                  <a16:creationId xmlns:a16="http://schemas.microsoft.com/office/drawing/2014/main" id="{39271BCA-4D95-4989-B35A-D42AE8831F21}"/>
                </a:ext>
              </a:extLst>
            </p:cNvPr>
            <p:cNvGrpSpPr/>
            <p:nvPr/>
          </p:nvGrpSpPr>
          <p:grpSpPr>
            <a:xfrm>
              <a:off x="3906811" y="3047399"/>
              <a:ext cx="492983" cy="129120"/>
              <a:chOff x="3906811" y="3047399"/>
              <a:chExt cx="492983" cy="129120"/>
            </a:xfrm>
            <a:grpFill/>
          </p:grpSpPr>
          <p:sp>
            <p:nvSpPr>
              <p:cNvPr id="1948" name="Vrije vorm: vorm 1947">
                <a:extLst>
                  <a:ext uri="{FF2B5EF4-FFF2-40B4-BE49-F238E27FC236}">
                    <a16:creationId xmlns:a16="http://schemas.microsoft.com/office/drawing/2014/main" id="{7BF2C89D-0188-416E-B4A8-A5A1CA188877}"/>
                  </a:ext>
                </a:extLst>
              </p:cNvPr>
              <p:cNvSpPr/>
              <p:nvPr/>
            </p:nvSpPr>
            <p:spPr>
              <a:xfrm>
                <a:off x="3915179" y="3054993"/>
                <a:ext cx="476244" cy="113932"/>
              </a:xfrm>
              <a:custGeom>
                <a:avLst/>
                <a:gdLst>
                  <a:gd name="connsiteX0" fmla="*/ 476245 w 476244"/>
                  <a:gd name="connsiteY0" fmla="*/ 110942 h 113932"/>
                  <a:gd name="connsiteX1" fmla="*/ 475587 w 476244"/>
                  <a:gd name="connsiteY1" fmla="*/ 113933 h 113932"/>
                  <a:gd name="connsiteX2" fmla="*/ 0 w 476244"/>
                  <a:gd name="connsiteY2" fmla="*/ 2990 h 113932"/>
                  <a:gd name="connsiteX3" fmla="*/ 658 w 476244"/>
                  <a:gd name="connsiteY3" fmla="*/ 0 h 113932"/>
                </a:gdLst>
                <a:ahLst/>
                <a:cxnLst>
                  <a:cxn ang="0">
                    <a:pos x="connsiteX0" y="connsiteY0"/>
                  </a:cxn>
                  <a:cxn ang="0">
                    <a:pos x="connsiteX1" y="connsiteY1"/>
                  </a:cxn>
                  <a:cxn ang="0">
                    <a:pos x="connsiteX2" y="connsiteY2"/>
                  </a:cxn>
                  <a:cxn ang="0">
                    <a:pos x="connsiteX3" y="connsiteY3"/>
                  </a:cxn>
                </a:cxnLst>
                <a:rect l="l" t="t" r="r" b="b"/>
                <a:pathLst>
                  <a:path w="476244" h="113932">
                    <a:moveTo>
                      <a:pt x="476245" y="110942"/>
                    </a:moveTo>
                    <a:lnTo>
                      <a:pt x="475587" y="113933"/>
                    </a:lnTo>
                    <a:lnTo>
                      <a:pt x="0" y="2990"/>
                    </a:lnTo>
                    <a:lnTo>
                      <a:pt x="658" y="0"/>
                    </a:lnTo>
                    <a:close/>
                  </a:path>
                </a:pathLst>
              </a:custGeom>
              <a:grpFill/>
              <a:ln w="5978" cap="flat">
                <a:noFill/>
                <a:prstDash val="solid"/>
                <a:miter/>
              </a:ln>
            </p:spPr>
            <p:txBody>
              <a:bodyPr rtlCol="0" anchor="ctr"/>
              <a:lstStyle/>
              <a:p>
                <a:endParaRPr lang="en-GB"/>
              </a:p>
            </p:txBody>
          </p:sp>
          <p:sp>
            <p:nvSpPr>
              <p:cNvPr id="1949" name="Vrije vorm: vorm 1948">
                <a:extLst>
                  <a:ext uri="{FF2B5EF4-FFF2-40B4-BE49-F238E27FC236}">
                    <a16:creationId xmlns:a16="http://schemas.microsoft.com/office/drawing/2014/main" id="{F60AC7C6-60DC-4836-9724-5E76A39E3EEC}"/>
                  </a:ext>
                </a:extLst>
              </p:cNvPr>
              <p:cNvSpPr/>
              <p:nvPr/>
            </p:nvSpPr>
            <p:spPr>
              <a:xfrm>
                <a:off x="4381498" y="3158105"/>
                <a:ext cx="18297" cy="18413"/>
              </a:xfrm>
              <a:custGeom>
                <a:avLst/>
                <a:gdLst>
                  <a:gd name="connsiteX0" fmla="*/ 11182 w 18297"/>
                  <a:gd name="connsiteY0" fmla="*/ 234 h 18413"/>
                  <a:gd name="connsiteX1" fmla="*/ 18060 w 18297"/>
                  <a:gd name="connsiteY1" fmla="*/ 11299 h 18413"/>
                  <a:gd name="connsiteX2" fmla="*/ 7115 w 18297"/>
                  <a:gd name="connsiteY2" fmla="*/ 18176 h 18413"/>
                  <a:gd name="connsiteX3" fmla="*/ 237 w 18297"/>
                  <a:gd name="connsiteY3" fmla="*/ 7112 h 18413"/>
                  <a:gd name="connsiteX4" fmla="*/ 11182 w 18297"/>
                  <a:gd name="connsiteY4" fmla="*/ 23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1182" y="234"/>
                    </a:moveTo>
                    <a:cubicBezTo>
                      <a:pt x="16146" y="1371"/>
                      <a:pt x="19196" y="6335"/>
                      <a:pt x="18060" y="11299"/>
                    </a:cubicBezTo>
                    <a:cubicBezTo>
                      <a:pt x="16923" y="16263"/>
                      <a:pt x="12019" y="19313"/>
                      <a:pt x="7115" y="18176"/>
                    </a:cubicBezTo>
                    <a:cubicBezTo>
                      <a:pt x="2151" y="17040"/>
                      <a:pt x="-899" y="12076"/>
                      <a:pt x="237" y="7112"/>
                    </a:cubicBezTo>
                    <a:cubicBezTo>
                      <a:pt x="1374" y="2208"/>
                      <a:pt x="6278" y="-902"/>
                      <a:pt x="11182" y="234"/>
                    </a:cubicBezTo>
                    <a:close/>
                  </a:path>
                </a:pathLst>
              </a:custGeom>
              <a:grpFill/>
              <a:ln w="5978" cap="flat">
                <a:noFill/>
                <a:prstDash val="solid"/>
                <a:miter/>
              </a:ln>
            </p:spPr>
            <p:txBody>
              <a:bodyPr rtlCol="0" anchor="ctr"/>
              <a:lstStyle/>
              <a:p>
                <a:endParaRPr lang="en-GB"/>
              </a:p>
            </p:txBody>
          </p:sp>
          <p:sp>
            <p:nvSpPr>
              <p:cNvPr id="1950" name="Vrije vorm: vorm 1949">
                <a:extLst>
                  <a:ext uri="{FF2B5EF4-FFF2-40B4-BE49-F238E27FC236}">
                    <a16:creationId xmlns:a16="http://schemas.microsoft.com/office/drawing/2014/main" id="{B4C0995E-4722-46C8-AE86-3CB954912956}"/>
                  </a:ext>
                </a:extLst>
              </p:cNvPr>
              <p:cNvSpPr/>
              <p:nvPr/>
            </p:nvSpPr>
            <p:spPr>
              <a:xfrm>
                <a:off x="3906811" y="3047399"/>
                <a:ext cx="18329" cy="18416"/>
              </a:xfrm>
              <a:custGeom>
                <a:avLst/>
                <a:gdLst>
                  <a:gd name="connsiteX0" fmla="*/ 11179 w 18329"/>
                  <a:gd name="connsiteY0" fmla="*/ 237 h 18416"/>
                  <a:gd name="connsiteX1" fmla="*/ 234 w 18329"/>
                  <a:gd name="connsiteY1" fmla="*/ 7115 h 18416"/>
                  <a:gd name="connsiteX2" fmla="*/ 7112 w 18329"/>
                  <a:gd name="connsiteY2" fmla="*/ 18180 h 18416"/>
                  <a:gd name="connsiteX3" fmla="*/ 18117 w 18329"/>
                  <a:gd name="connsiteY3" fmla="*/ 11302 h 18416"/>
                  <a:gd name="connsiteX4" fmla="*/ 11179 w 18329"/>
                  <a:gd name="connsiteY4" fmla="*/ 23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6">
                    <a:moveTo>
                      <a:pt x="11179" y="237"/>
                    </a:moveTo>
                    <a:cubicBezTo>
                      <a:pt x="6215" y="-899"/>
                      <a:pt x="1311" y="2151"/>
                      <a:pt x="234" y="7115"/>
                    </a:cubicBezTo>
                    <a:cubicBezTo>
                      <a:pt x="-902" y="12079"/>
                      <a:pt x="2208" y="17043"/>
                      <a:pt x="7112" y="18180"/>
                    </a:cubicBezTo>
                    <a:cubicBezTo>
                      <a:pt x="12076" y="19316"/>
                      <a:pt x="16980" y="16266"/>
                      <a:pt x="18117" y="11302"/>
                    </a:cubicBezTo>
                    <a:cubicBezTo>
                      <a:pt x="19193" y="6338"/>
                      <a:pt x="16083" y="1374"/>
                      <a:pt x="11179" y="237"/>
                    </a:cubicBezTo>
                    <a:close/>
                  </a:path>
                </a:pathLst>
              </a:custGeom>
              <a:grpFill/>
              <a:ln w="5978" cap="flat">
                <a:noFill/>
                <a:prstDash val="solid"/>
                <a:miter/>
              </a:ln>
            </p:spPr>
            <p:txBody>
              <a:bodyPr rtlCol="0" anchor="ctr"/>
              <a:lstStyle/>
              <a:p>
                <a:endParaRPr lang="en-GB"/>
              </a:p>
            </p:txBody>
          </p:sp>
        </p:grpSp>
        <p:grpSp>
          <p:nvGrpSpPr>
            <p:cNvPr id="1152" name="Graphic 3">
              <a:extLst>
                <a:ext uri="{FF2B5EF4-FFF2-40B4-BE49-F238E27FC236}">
                  <a16:creationId xmlns:a16="http://schemas.microsoft.com/office/drawing/2014/main" id="{D50604B7-58CF-4F67-A580-A35D29A32B95}"/>
                </a:ext>
              </a:extLst>
            </p:cNvPr>
            <p:cNvGrpSpPr/>
            <p:nvPr/>
          </p:nvGrpSpPr>
          <p:grpSpPr>
            <a:xfrm>
              <a:off x="4435754" y="4024668"/>
              <a:ext cx="68692" cy="38353"/>
              <a:chOff x="4435754" y="4024668"/>
              <a:chExt cx="68692" cy="38353"/>
            </a:xfrm>
            <a:grpFill/>
          </p:grpSpPr>
          <p:sp>
            <p:nvSpPr>
              <p:cNvPr id="1945" name="Vrije vorm: vorm 1944">
                <a:extLst>
                  <a:ext uri="{FF2B5EF4-FFF2-40B4-BE49-F238E27FC236}">
                    <a16:creationId xmlns:a16="http://schemas.microsoft.com/office/drawing/2014/main" id="{99B6F208-D345-41E9-BCDA-3F95701D8EA8}"/>
                  </a:ext>
                </a:extLst>
              </p:cNvPr>
              <p:cNvSpPr/>
              <p:nvPr/>
            </p:nvSpPr>
            <p:spPr>
              <a:xfrm>
                <a:off x="4443875" y="4032302"/>
                <a:ext cx="52391" cy="23085"/>
              </a:xfrm>
              <a:custGeom>
                <a:avLst/>
                <a:gdLst>
                  <a:gd name="connsiteX0" fmla="*/ 52391 w 52391"/>
                  <a:gd name="connsiteY0" fmla="*/ 2811 h 23085"/>
                  <a:gd name="connsiteX1" fmla="*/ 1136 w 52391"/>
                  <a:gd name="connsiteY1" fmla="*/ 23085 h 23085"/>
                  <a:gd name="connsiteX2" fmla="*/ 0 w 52391"/>
                  <a:gd name="connsiteY2" fmla="*/ 20275 h 23085"/>
                  <a:gd name="connsiteX3" fmla="*/ 51255 w 52391"/>
                  <a:gd name="connsiteY3" fmla="*/ 0 h 23085"/>
                </a:gdLst>
                <a:ahLst/>
                <a:cxnLst>
                  <a:cxn ang="0">
                    <a:pos x="connsiteX0" y="connsiteY0"/>
                  </a:cxn>
                  <a:cxn ang="0">
                    <a:pos x="connsiteX1" y="connsiteY1"/>
                  </a:cxn>
                  <a:cxn ang="0">
                    <a:pos x="connsiteX2" y="connsiteY2"/>
                  </a:cxn>
                  <a:cxn ang="0">
                    <a:pos x="connsiteX3" y="connsiteY3"/>
                  </a:cxn>
                </a:cxnLst>
                <a:rect l="l" t="t" r="r" b="b"/>
                <a:pathLst>
                  <a:path w="52391" h="23085">
                    <a:moveTo>
                      <a:pt x="52391" y="2811"/>
                    </a:moveTo>
                    <a:lnTo>
                      <a:pt x="1136" y="23085"/>
                    </a:lnTo>
                    <a:lnTo>
                      <a:pt x="0" y="20275"/>
                    </a:lnTo>
                    <a:lnTo>
                      <a:pt x="51255" y="0"/>
                    </a:lnTo>
                    <a:close/>
                  </a:path>
                </a:pathLst>
              </a:custGeom>
              <a:grpFill/>
              <a:ln w="5978" cap="flat">
                <a:noFill/>
                <a:prstDash val="solid"/>
                <a:miter/>
              </a:ln>
            </p:spPr>
            <p:txBody>
              <a:bodyPr rtlCol="0" anchor="ctr"/>
              <a:lstStyle/>
              <a:p>
                <a:endParaRPr lang="en-GB"/>
              </a:p>
            </p:txBody>
          </p:sp>
          <p:sp>
            <p:nvSpPr>
              <p:cNvPr id="1946" name="Vrije vorm: vorm 1945">
                <a:extLst>
                  <a:ext uri="{FF2B5EF4-FFF2-40B4-BE49-F238E27FC236}">
                    <a16:creationId xmlns:a16="http://schemas.microsoft.com/office/drawing/2014/main" id="{3D63F089-BF0A-4B9E-B041-99526DEECBF0}"/>
                  </a:ext>
                </a:extLst>
              </p:cNvPr>
              <p:cNvSpPr/>
              <p:nvPr/>
            </p:nvSpPr>
            <p:spPr>
              <a:xfrm>
                <a:off x="4435754" y="4044584"/>
                <a:ext cx="18327" cy="18438"/>
              </a:xfrm>
              <a:custGeom>
                <a:avLst/>
                <a:gdLst>
                  <a:gd name="connsiteX0" fmla="*/ 12547 w 18327"/>
                  <a:gd name="connsiteY0" fmla="*/ 17801 h 18438"/>
                  <a:gd name="connsiteX1" fmla="*/ 645 w 18327"/>
                  <a:gd name="connsiteY1" fmla="*/ 12598 h 18438"/>
                  <a:gd name="connsiteX2" fmla="*/ 5788 w 18327"/>
                  <a:gd name="connsiteY2" fmla="*/ 637 h 18438"/>
                  <a:gd name="connsiteX3" fmla="*/ 17690 w 18327"/>
                  <a:gd name="connsiteY3" fmla="*/ 5840 h 18438"/>
                  <a:gd name="connsiteX4" fmla="*/ 12547 w 18327"/>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8">
                    <a:moveTo>
                      <a:pt x="12547" y="17801"/>
                    </a:moveTo>
                    <a:cubicBezTo>
                      <a:pt x="7822" y="19655"/>
                      <a:pt x="2499" y="17323"/>
                      <a:pt x="645" y="12598"/>
                    </a:cubicBezTo>
                    <a:cubicBezTo>
                      <a:pt x="-1209" y="7874"/>
                      <a:pt x="1064" y="2491"/>
                      <a:pt x="5788" y="637"/>
                    </a:cubicBezTo>
                    <a:cubicBezTo>
                      <a:pt x="10513" y="-1217"/>
                      <a:pt x="15836" y="1115"/>
                      <a:pt x="17690" y="5840"/>
                    </a:cubicBezTo>
                    <a:cubicBezTo>
                      <a:pt x="19544" y="10565"/>
                      <a:pt x="17211" y="15947"/>
                      <a:pt x="12547" y="17801"/>
                    </a:cubicBezTo>
                    <a:close/>
                  </a:path>
                </a:pathLst>
              </a:custGeom>
              <a:grpFill/>
              <a:ln w="5978" cap="flat">
                <a:noFill/>
                <a:prstDash val="solid"/>
                <a:miter/>
              </a:ln>
            </p:spPr>
            <p:txBody>
              <a:bodyPr rtlCol="0" anchor="ctr"/>
              <a:lstStyle/>
              <a:p>
                <a:endParaRPr lang="en-GB"/>
              </a:p>
            </p:txBody>
          </p:sp>
          <p:sp>
            <p:nvSpPr>
              <p:cNvPr id="1947" name="Vrije vorm: vorm 1946">
                <a:extLst>
                  <a:ext uri="{FF2B5EF4-FFF2-40B4-BE49-F238E27FC236}">
                    <a16:creationId xmlns:a16="http://schemas.microsoft.com/office/drawing/2014/main" id="{E65A98C5-1F8F-4D55-A739-1D929E61C37E}"/>
                  </a:ext>
                </a:extLst>
              </p:cNvPr>
              <p:cNvSpPr/>
              <p:nvPr/>
            </p:nvSpPr>
            <p:spPr>
              <a:xfrm>
                <a:off x="4486112" y="4024668"/>
                <a:ext cx="18335" cy="18438"/>
              </a:xfrm>
              <a:custGeom>
                <a:avLst/>
                <a:gdLst>
                  <a:gd name="connsiteX0" fmla="*/ 12547 w 18335"/>
                  <a:gd name="connsiteY0" fmla="*/ 17801 h 18438"/>
                  <a:gd name="connsiteX1" fmla="*/ 17690 w 18335"/>
                  <a:gd name="connsiteY1" fmla="*/ 5840 h 18438"/>
                  <a:gd name="connsiteX2" fmla="*/ 5788 w 18335"/>
                  <a:gd name="connsiteY2" fmla="*/ 637 h 18438"/>
                  <a:gd name="connsiteX3" fmla="*/ 645 w 18335"/>
                  <a:gd name="connsiteY3" fmla="*/ 12598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17272" y="15947"/>
                      <a:pt x="19544" y="10565"/>
                      <a:pt x="17690" y="5840"/>
                    </a:cubicBezTo>
                    <a:cubicBezTo>
                      <a:pt x="15836" y="1115"/>
                      <a:pt x="10513" y="-1217"/>
                      <a:pt x="5788" y="637"/>
                    </a:cubicBezTo>
                    <a:cubicBezTo>
                      <a:pt x="1064" y="2491"/>
                      <a:pt x="-1209" y="7873"/>
                      <a:pt x="645" y="12598"/>
                    </a:cubicBezTo>
                    <a:cubicBezTo>
                      <a:pt x="2499" y="17323"/>
                      <a:pt x="7822" y="19655"/>
                      <a:pt x="12547" y="17801"/>
                    </a:cubicBezTo>
                    <a:close/>
                  </a:path>
                </a:pathLst>
              </a:custGeom>
              <a:grpFill/>
              <a:ln w="5978" cap="flat">
                <a:noFill/>
                <a:prstDash val="solid"/>
                <a:miter/>
              </a:ln>
            </p:spPr>
            <p:txBody>
              <a:bodyPr rtlCol="0" anchor="ctr"/>
              <a:lstStyle/>
              <a:p>
                <a:endParaRPr lang="en-GB"/>
              </a:p>
            </p:txBody>
          </p:sp>
        </p:grpSp>
        <p:grpSp>
          <p:nvGrpSpPr>
            <p:cNvPr id="1153" name="Graphic 3">
              <a:extLst>
                <a:ext uri="{FF2B5EF4-FFF2-40B4-BE49-F238E27FC236}">
                  <a16:creationId xmlns:a16="http://schemas.microsoft.com/office/drawing/2014/main" id="{52B0F26A-331F-4167-B045-ACA33E49E6E1}"/>
                </a:ext>
              </a:extLst>
            </p:cNvPr>
            <p:cNvGrpSpPr/>
            <p:nvPr/>
          </p:nvGrpSpPr>
          <p:grpSpPr>
            <a:xfrm>
              <a:off x="4132458" y="3374600"/>
              <a:ext cx="233309" cy="22131"/>
              <a:chOff x="4132458" y="3374600"/>
              <a:chExt cx="233309" cy="22131"/>
            </a:xfrm>
            <a:grpFill/>
          </p:grpSpPr>
          <p:sp>
            <p:nvSpPr>
              <p:cNvPr id="1942" name="Vrije vorm: vorm 1941">
                <a:extLst>
                  <a:ext uri="{FF2B5EF4-FFF2-40B4-BE49-F238E27FC236}">
                    <a16:creationId xmlns:a16="http://schemas.microsoft.com/office/drawing/2014/main" id="{B9555D09-967C-4311-A471-8C08844077B4}"/>
                  </a:ext>
                </a:extLst>
              </p:cNvPr>
              <p:cNvSpPr/>
              <p:nvPr/>
            </p:nvSpPr>
            <p:spPr>
              <a:xfrm>
                <a:off x="4141131" y="3382258"/>
                <a:ext cx="216023" cy="6817"/>
              </a:xfrm>
              <a:custGeom>
                <a:avLst/>
                <a:gdLst>
                  <a:gd name="connsiteX0" fmla="*/ 216024 w 216023"/>
                  <a:gd name="connsiteY0" fmla="*/ 3768 h 6817"/>
                  <a:gd name="connsiteX1" fmla="*/ 215964 w 216023"/>
                  <a:gd name="connsiteY1" fmla="*/ 6818 h 6817"/>
                  <a:gd name="connsiteX2" fmla="*/ 0 w 216023"/>
                  <a:gd name="connsiteY2" fmla="*/ 3050 h 6817"/>
                  <a:gd name="connsiteX3" fmla="*/ 60 w 216023"/>
                  <a:gd name="connsiteY3" fmla="*/ 0 h 6817"/>
                </a:gdLst>
                <a:ahLst/>
                <a:cxnLst>
                  <a:cxn ang="0">
                    <a:pos x="connsiteX0" y="connsiteY0"/>
                  </a:cxn>
                  <a:cxn ang="0">
                    <a:pos x="connsiteX1" y="connsiteY1"/>
                  </a:cxn>
                  <a:cxn ang="0">
                    <a:pos x="connsiteX2" y="connsiteY2"/>
                  </a:cxn>
                  <a:cxn ang="0">
                    <a:pos x="connsiteX3" y="connsiteY3"/>
                  </a:cxn>
                </a:cxnLst>
                <a:rect l="l" t="t" r="r" b="b"/>
                <a:pathLst>
                  <a:path w="216023" h="6817">
                    <a:moveTo>
                      <a:pt x="216024" y="3768"/>
                    </a:moveTo>
                    <a:lnTo>
                      <a:pt x="215964" y="6818"/>
                    </a:lnTo>
                    <a:lnTo>
                      <a:pt x="0" y="3050"/>
                    </a:lnTo>
                    <a:lnTo>
                      <a:pt x="60" y="0"/>
                    </a:lnTo>
                    <a:close/>
                  </a:path>
                </a:pathLst>
              </a:custGeom>
              <a:grpFill/>
              <a:ln w="5978" cap="flat">
                <a:noFill/>
                <a:prstDash val="solid"/>
                <a:miter/>
              </a:ln>
            </p:spPr>
            <p:txBody>
              <a:bodyPr rtlCol="0" anchor="ctr"/>
              <a:lstStyle/>
              <a:p>
                <a:endParaRPr lang="en-GB"/>
              </a:p>
            </p:txBody>
          </p:sp>
          <p:sp>
            <p:nvSpPr>
              <p:cNvPr id="1943" name="Vrije vorm: vorm 1942">
                <a:extLst>
                  <a:ext uri="{FF2B5EF4-FFF2-40B4-BE49-F238E27FC236}">
                    <a16:creationId xmlns:a16="http://schemas.microsoft.com/office/drawing/2014/main" id="{6A82B533-8D15-41AB-806B-053B313CFFDB}"/>
                  </a:ext>
                </a:extLst>
              </p:cNvPr>
              <p:cNvSpPr/>
              <p:nvPr/>
            </p:nvSpPr>
            <p:spPr>
              <a:xfrm>
                <a:off x="4132458" y="3374600"/>
                <a:ext cx="18302" cy="18423"/>
              </a:xfrm>
              <a:custGeom>
                <a:avLst/>
                <a:gdLst>
                  <a:gd name="connsiteX0" fmla="*/ 9032 w 18302"/>
                  <a:gd name="connsiteY0" fmla="*/ 18423 h 18423"/>
                  <a:gd name="connsiteX1" fmla="*/ 1 w 18302"/>
                  <a:gd name="connsiteY1" fmla="*/ 9033 h 18423"/>
                  <a:gd name="connsiteX2" fmla="*/ 9271 w 18302"/>
                  <a:gd name="connsiteY2" fmla="*/ 3 h 18423"/>
                  <a:gd name="connsiteX3" fmla="*/ 18302 w 18302"/>
                  <a:gd name="connsiteY3" fmla="*/ 9392 h 18423"/>
                  <a:gd name="connsiteX4" fmla="*/ 9032 w 18302"/>
                  <a:gd name="connsiteY4" fmla="*/ 18423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3">
                    <a:moveTo>
                      <a:pt x="9032" y="18423"/>
                    </a:moveTo>
                    <a:cubicBezTo>
                      <a:pt x="3948" y="18363"/>
                      <a:pt x="-59" y="14117"/>
                      <a:pt x="1" y="9033"/>
                    </a:cubicBezTo>
                    <a:cubicBezTo>
                      <a:pt x="61" y="3950"/>
                      <a:pt x="4247" y="-117"/>
                      <a:pt x="9271" y="3"/>
                    </a:cubicBezTo>
                    <a:cubicBezTo>
                      <a:pt x="14295" y="122"/>
                      <a:pt x="18362" y="4309"/>
                      <a:pt x="18302" y="9392"/>
                    </a:cubicBezTo>
                    <a:cubicBezTo>
                      <a:pt x="18242" y="14416"/>
                      <a:pt x="14115" y="18483"/>
                      <a:pt x="9032" y="18423"/>
                    </a:cubicBezTo>
                    <a:close/>
                  </a:path>
                </a:pathLst>
              </a:custGeom>
              <a:grpFill/>
              <a:ln w="5978" cap="flat">
                <a:noFill/>
                <a:prstDash val="solid"/>
                <a:miter/>
              </a:ln>
            </p:spPr>
            <p:txBody>
              <a:bodyPr rtlCol="0" anchor="ctr"/>
              <a:lstStyle/>
              <a:p>
                <a:endParaRPr lang="en-GB"/>
              </a:p>
            </p:txBody>
          </p:sp>
          <p:sp>
            <p:nvSpPr>
              <p:cNvPr id="1944" name="Vrije vorm: vorm 1943">
                <a:extLst>
                  <a:ext uri="{FF2B5EF4-FFF2-40B4-BE49-F238E27FC236}">
                    <a16:creationId xmlns:a16="http://schemas.microsoft.com/office/drawing/2014/main" id="{C6EC9DD3-6D2D-43A6-86DD-030EDC788B7F}"/>
                  </a:ext>
                </a:extLst>
              </p:cNvPr>
              <p:cNvSpPr/>
              <p:nvPr/>
            </p:nvSpPr>
            <p:spPr>
              <a:xfrm>
                <a:off x="4347465" y="3378310"/>
                <a:ext cx="18302" cy="18421"/>
              </a:xfrm>
              <a:custGeom>
                <a:avLst/>
                <a:gdLst>
                  <a:gd name="connsiteX0" fmla="*/ 9031 w 18302"/>
                  <a:gd name="connsiteY0" fmla="*/ 18421 h 18421"/>
                  <a:gd name="connsiteX1" fmla="*/ 18302 w 18302"/>
                  <a:gd name="connsiteY1" fmla="*/ 9390 h 18421"/>
                  <a:gd name="connsiteX2" fmla="*/ 9271 w 18302"/>
                  <a:gd name="connsiteY2" fmla="*/ 1 h 18421"/>
                  <a:gd name="connsiteX3" fmla="*/ 1 w 18302"/>
                  <a:gd name="connsiteY3" fmla="*/ 9032 h 18421"/>
                  <a:gd name="connsiteX4" fmla="*/ 9031 w 18302"/>
                  <a:gd name="connsiteY4" fmla="*/ 184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1" y="18421"/>
                    </a:moveTo>
                    <a:cubicBezTo>
                      <a:pt x="14115" y="18481"/>
                      <a:pt x="18242" y="14474"/>
                      <a:pt x="18302" y="9390"/>
                    </a:cubicBezTo>
                    <a:cubicBezTo>
                      <a:pt x="18362" y="4307"/>
                      <a:pt x="14294" y="120"/>
                      <a:pt x="9271" y="1"/>
                    </a:cubicBezTo>
                    <a:cubicBezTo>
                      <a:pt x="4187" y="-59"/>
                      <a:pt x="60" y="3948"/>
                      <a:pt x="1" y="9032"/>
                    </a:cubicBezTo>
                    <a:cubicBezTo>
                      <a:pt x="-59" y="14175"/>
                      <a:pt x="4008" y="18362"/>
                      <a:pt x="9031" y="18421"/>
                    </a:cubicBezTo>
                    <a:close/>
                  </a:path>
                </a:pathLst>
              </a:custGeom>
              <a:grpFill/>
              <a:ln w="5978" cap="flat">
                <a:noFill/>
                <a:prstDash val="solid"/>
                <a:miter/>
              </a:ln>
            </p:spPr>
            <p:txBody>
              <a:bodyPr rtlCol="0" anchor="ctr"/>
              <a:lstStyle/>
              <a:p>
                <a:endParaRPr lang="en-GB"/>
              </a:p>
            </p:txBody>
          </p:sp>
        </p:grpSp>
        <p:grpSp>
          <p:nvGrpSpPr>
            <p:cNvPr id="1154" name="Graphic 3">
              <a:extLst>
                <a:ext uri="{FF2B5EF4-FFF2-40B4-BE49-F238E27FC236}">
                  <a16:creationId xmlns:a16="http://schemas.microsoft.com/office/drawing/2014/main" id="{8258E7D2-A1CB-4668-92F9-48D21B36319B}"/>
                </a:ext>
              </a:extLst>
            </p:cNvPr>
            <p:cNvGrpSpPr/>
            <p:nvPr/>
          </p:nvGrpSpPr>
          <p:grpSpPr>
            <a:xfrm>
              <a:off x="4441777" y="4055564"/>
              <a:ext cx="70462" cy="40129"/>
              <a:chOff x="4441777" y="4055564"/>
              <a:chExt cx="70462" cy="40129"/>
            </a:xfrm>
            <a:grpFill/>
          </p:grpSpPr>
          <p:sp>
            <p:nvSpPr>
              <p:cNvPr id="1939" name="Vrije vorm: vorm 1938">
                <a:extLst>
                  <a:ext uri="{FF2B5EF4-FFF2-40B4-BE49-F238E27FC236}">
                    <a16:creationId xmlns:a16="http://schemas.microsoft.com/office/drawing/2014/main" id="{8612771A-FDDC-4A4A-A9F6-2EC8E75B0FA1}"/>
                  </a:ext>
                </a:extLst>
              </p:cNvPr>
              <p:cNvSpPr/>
              <p:nvPr/>
            </p:nvSpPr>
            <p:spPr>
              <a:xfrm>
                <a:off x="4449775" y="4063238"/>
                <a:ext cx="54047" cy="24884"/>
              </a:xfrm>
              <a:custGeom>
                <a:avLst/>
                <a:gdLst>
                  <a:gd name="connsiteX0" fmla="*/ 0 w 54047"/>
                  <a:gd name="connsiteY0" fmla="*/ 22070 h 24884"/>
                  <a:gd name="connsiteX1" fmla="*/ 52872 w 54047"/>
                  <a:gd name="connsiteY1" fmla="*/ 0 h 24884"/>
                  <a:gd name="connsiteX2" fmla="*/ 54047 w 54047"/>
                  <a:gd name="connsiteY2" fmla="*/ 2815 h 24884"/>
                  <a:gd name="connsiteX3" fmla="*/ 1175 w 54047"/>
                  <a:gd name="connsiteY3" fmla="*/ 24885 h 24884"/>
                </a:gdLst>
                <a:ahLst/>
                <a:cxnLst>
                  <a:cxn ang="0">
                    <a:pos x="connsiteX0" y="connsiteY0"/>
                  </a:cxn>
                  <a:cxn ang="0">
                    <a:pos x="connsiteX1" y="connsiteY1"/>
                  </a:cxn>
                  <a:cxn ang="0">
                    <a:pos x="connsiteX2" y="connsiteY2"/>
                  </a:cxn>
                  <a:cxn ang="0">
                    <a:pos x="connsiteX3" y="connsiteY3"/>
                  </a:cxn>
                </a:cxnLst>
                <a:rect l="l" t="t" r="r" b="b"/>
                <a:pathLst>
                  <a:path w="54047" h="24884">
                    <a:moveTo>
                      <a:pt x="0" y="22070"/>
                    </a:moveTo>
                    <a:lnTo>
                      <a:pt x="52872" y="0"/>
                    </a:lnTo>
                    <a:lnTo>
                      <a:pt x="54047" y="2815"/>
                    </a:lnTo>
                    <a:lnTo>
                      <a:pt x="1175" y="24885"/>
                    </a:lnTo>
                    <a:close/>
                  </a:path>
                </a:pathLst>
              </a:custGeom>
              <a:grpFill/>
              <a:ln w="5978" cap="flat">
                <a:noFill/>
                <a:prstDash val="solid"/>
                <a:miter/>
              </a:ln>
            </p:spPr>
            <p:txBody>
              <a:bodyPr rtlCol="0" anchor="ctr"/>
              <a:lstStyle/>
              <a:p>
                <a:endParaRPr lang="en-GB"/>
              </a:p>
            </p:txBody>
          </p:sp>
          <p:sp>
            <p:nvSpPr>
              <p:cNvPr id="1940" name="Vrije vorm: vorm 1939">
                <a:extLst>
                  <a:ext uri="{FF2B5EF4-FFF2-40B4-BE49-F238E27FC236}">
                    <a16:creationId xmlns:a16="http://schemas.microsoft.com/office/drawing/2014/main" id="{6A5677F9-4997-4C23-849B-86FF68A45B78}"/>
                  </a:ext>
                </a:extLst>
              </p:cNvPr>
              <p:cNvSpPr/>
              <p:nvPr/>
            </p:nvSpPr>
            <p:spPr>
              <a:xfrm>
                <a:off x="4441777" y="4077282"/>
                <a:ext cx="18370" cy="18411"/>
              </a:xfrm>
              <a:custGeom>
                <a:avLst/>
                <a:gdLst>
                  <a:gd name="connsiteX0" fmla="*/ 12744 w 18370"/>
                  <a:gd name="connsiteY0" fmla="*/ 17698 h 18411"/>
                  <a:gd name="connsiteX1" fmla="*/ 722 w 18370"/>
                  <a:gd name="connsiteY1" fmla="*/ 12734 h 18411"/>
                  <a:gd name="connsiteX2" fmla="*/ 5626 w 18370"/>
                  <a:gd name="connsiteY2" fmla="*/ 713 h 18411"/>
                  <a:gd name="connsiteX3" fmla="*/ 17648 w 18370"/>
                  <a:gd name="connsiteY3" fmla="*/ 5677 h 18411"/>
                  <a:gd name="connsiteX4" fmla="*/ 12744 w 18370"/>
                  <a:gd name="connsiteY4" fmla="*/ 1769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1">
                    <a:moveTo>
                      <a:pt x="12744" y="17698"/>
                    </a:moveTo>
                    <a:cubicBezTo>
                      <a:pt x="8079" y="19672"/>
                      <a:pt x="2696" y="17399"/>
                      <a:pt x="722" y="12734"/>
                    </a:cubicBezTo>
                    <a:cubicBezTo>
                      <a:pt x="-1251" y="8010"/>
                      <a:pt x="962" y="2627"/>
                      <a:pt x="5626" y="713"/>
                    </a:cubicBezTo>
                    <a:cubicBezTo>
                      <a:pt x="10292" y="-1260"/>
                      <a:pt x="15674" y="1012"/>
                      <a:pt x="17648" y="5677"/>
                    </a:cubicBezTo>
                    <a:cubicBezTo>
                      <a:pt x="19622" y="10342"/>
                      <a:pt x="17409" y="15725"/>
                      <a:pt x="12744" y="17698"/>
                    </a:cubicBezTo>
                    <a:close/>
                  </a:path>
                </a:pathLst>
              </a:custGeom>
              <a:grpFill/>
              <a:ln w="5978" cap="flat">
                <a:noFill/>
                <a:prstDash val="solid"/>
                <a:miter/>
              </a:ln>
            </p:spPr>
            <p:txBody>
              <a:bodyPr rtlCol="0" anchor="ctr"/>
              <a:lstStyle/>
              <a:p>
                <a:endParaRPr lang="en-GB"/>
              </a:p>
            </p:txBody>
          </p:sp>
          <p:sp>
            <p:nvSpPr>
              <p:cNvPr id="1941" name="Vrije vorm: vorm 1940">
                <a:extLst>
                  <a:ext uri="{FF2B5EF4-FFF2-40B4-BE49-F238E27FC236}">
                    <a16:creationId xmlns:a16="http://schemas.microsoft.com/office/drawing/2014/main" id="{509C4B30-9446-4404-AD2C-DF93EB9CC53C}"/>
                  </a:ext>
                </a:extLst>
              </p:cNvPr>
              <p:cNvSpPr/>
              <p:nvPr/>
            </p:nvSpPr>
            <p:spPr>
              <a:xfrm>
                <a:off x="4493869" y="4055564"/>
                <a:ext cx="18370" cy="18394"/>
              </a:xfrm>
              <a:custGeom>
                <a:avLst/>
                <a:gdLst>
                  <a:gd name="connsiteX0" fmla="*/ 12744 w 18370"/>
                  <a:gd name="connsiteY0" fmla="*/ 17707 h 18394"/>
                  <a:gd name="connsiteX1" fmla="*/ 17648 w 18370"/>
                  <a:gd name="connsiteY1" fmla="*/ 5685 h 18394"/>
                  <a:gd name="connsiteX2" fmla="*/ 5627 w 18370"/>
                  <a:gd name="connsiteY2" fmla="*/ 722 h 18394"/>
                  <a:gd name="connsiteX3" fmla="*/ 722 w 18370"/>
                  <a:gd name="connsiteY3" fmla="*/ 12743 h 18394"/>
                  <a:gd name="connsiteX4" fmla="*/ 12744 w 18370"/>
                  <a:gd name="connsiteY4" fmla="*/ 17707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394">
                    <a:moveTo>
                      <a:pt x="12744" y="17707"/>
                    </a:moveTo>
                    <a:cubicBezTo>
                      <a:pt x="17409" y="15733"/>
                      <a:pt x="19621" y="10350"/>
                      <a:pt x="17648" y="5685"/>
                    </a:cubicBezTo>
                    <a:cubicBezTo>
                      <a:pt x="15674" y="961"/>
                      <a:pt x="10291" y="-1252"/>
                      <a:pt x="5627" y="722"/>
                    </a:cubicBezTo>
                    <a:cubicBezTo>
                      <a:pt x="962" y="2695"/>
                      <a:pt x="-1251" y="8078"/>
                      <a:pt x="722" y="12743"/>
                    </a:cubicBezTo>
                    <a:cubicBezTo>
                      <a:pt x="2696" y="17408"/>
                      <a:pt x="8079" y="19620"/>
                      <a:pt x="12744" y="17707"/>
                    </a:cubicBezTo>
                    <a:close/>
                  </a:path>
                </a:pathLst>
              </a:custGeom>
              <a:grpFill/>
              <a:ln w="5978" cap="flat">
                <a:noFill/>
                <a:prstDash val="solid"/>
                <a:miter/>
              </a:ln>
            </p:spPr>
            <p:txBody>
              <a:bodyPr rtlCol="0" anchor="ctr"/>
              <a:lstStyle/>
              <a:p>
                <a:endParaRPr lang="en-GB"/>
              </a:p>
            </p:txBody>
          </p:sp>
        </p:grpSp>
        <p:grpSp>
          <p:nvGrpSpPr>
            <p:cNvPr id="1155" name="Graphic 3">
              <a:extLst>
                <a:ext uri="{FF2B5EF4-FFF2-40B4-BE49-F238E27FC236}">
                  <a16:creationId xmlns:a16="http://schemas.microsoft.com/office/drawing/2014/main" id="{C77A5BBB-1AC6-446B-9A15-C985C9D2078B}"/>
                </a:ext>
              </a:extLst>
            </p:cNvPr>
            <p:cNvGrpSpPr/>
            <p:nvPr/>
          </p:nvGrpSpPr>
          <p:grpSpPr>
            <a:xfrm>
              <a:off x="4487932" y="4274742"/>
              <a:ext cx="147886" cy="96968"/>
              <a:chOff x="4487932" y="4274742"/>
              <a:chExt cx="147886" cy="96968"/>
            </a:xfrm>
            <a:grpFill/>
          </p:grpSpPr>
          <p:sp>
            <p:nvSpPr>
              <p:cNvPr id="1936" name="Vrije vorm: vorm 1935">
                <a:extLst>
                  <a:ext uri="{FF2B5EF4-FFF2-40B4-BE49-F238E27FC236}">
                    <a16:creationId xmlns:a16="http://schemas.microsoft.com/office/drawing/2014/main" id="{B2D5DC25-1094-49D2-A8A7-E5E1BDF62F99}"/>
                  </a:ext>
                </a:extLst>
              </p:cNvPr>
              <p:cNvSpPr/>
              <p:nvPr/>
            </p:nvSpPr>
            <p:spPr>
              <a:xfrm>
                <a:off x="4495908" y="4282356"/>
                <a:ext cx="131934" cy="81696"/>
              </a:xfrm>
              <a:custGeom>
                <a:avLst/>
                <a:gdLst>
                  <a:gd name="connsiteX0" fmla="*/ 131935 w 131934"/>
                  <a:gd name="connsiteY0" fmla="*/ 2632 h 81696"/>
                  <a:gd name="connsiteX1" fmla="*/ 1615 w 131934"/>
                  <a:gd name="connsiteY1" fmla="*/ 81696 h 81696"/>
                  <a:gd name="connsiteX2" fmla="*/ 0 w 131934"/>
                  <a:gd name="connsiteY2" fmla="*/ 79065 h 81696"/>
                  <a:gd name="connsiteX3" fmla="*/ 130380 w 131934"/>
                  <a:gd name="connsiteY3" fmla="*/ 0 h 81696"/>
                </a:gdLst>
                <a:ahLst/>
                <a:cxnLst>
                  <a:cxn ang="0">
                    <a:pos x="connsiteX0" y="connsiteY0"/>
                  </a:cxn>
                  <a:cxn ang="0">
                    <a:pos x="connsiteX1" y="connsiteY1"/>
                  </a:cxn>
                  <a:cxn ang="0">
                    <a:pos x="connsiteX2" y="connsiteY2"/>
                  </a:cxn>
                  <a:cxn ang="0">
                    <a:pos x="connsiteX3" y="connsiteY3"/>
                  </a:cxn>
                </a:cxnLst>
                <a:rect l="l" t="t" r="r" b="b"/>
                <a:pathLst>
                  <a:path w="131934" h="81696">
                    <a:moveTo>
                      <a:pt x="131935" y="2632"/>
                    </a:moveTo>
                    <a:lnTo>
                      <a:pt x="1615" y="81696"/>
                    </a:lnTo>
                    <a:lnTo>
                      <a:pt x="0" y="79065"/>
                    </a:lnTo>
                    <a:lnTo>
                      <a:pt x="130380" y="0"/>
                    </a:lnTo>
                    <a:close/>
                  </a:path>
                </a:pathLst>
              </a:custGeom>
              <a:grpFill/>
              <a:ln w="5978" cap="flat">
                <a:noFill/>
                <a:prstDash val="solid"/>
                <a:miter/>
              </a:ln>
            </p:spPr>
            <p:txBody>
              <a:bodyPr rtlCol="0" anchor="ctr"/>
              <a:lstStyle/>
              <a:p>
                <a:endParaRPr lang="en-GB"/>
              </a:p>
            </p:txBody>
          </p:sp>
          <p:sp>
            <p:nvSpPr>
              <p:cNvPr id="1937" name="Vrije vorm: vorm 1936">
                <a:extLst>
                  <a:ext uri="{FF2B5EF4-FFF2-40B4-BE49-F238E27FC236}">
                    <a16:creationId xmlns:a16="http://schemas.microsoft.com/office/drawing/2014/main" id="{4BFD401D-C8DD-4FD7-8C59-8175809E024C}"/>
                  </a:ext>
                </a:extLst>
              </p:cNvPr>
              <p:cNvSpPr/>
              <p:nvPr/>
            </p:nvSpPr>
            <p:spPr>
              <a:xfrm>
                <a:off x="4487932" y="4353283"/>
                <a:ext cx="18343" cy="18428"/>
              </a:xfrm>
              <a:custGeom>
                <a:avLst/>
                <a:gdLst>
                  <a:gd name="connsiteX0" fmla="*/ 13957 w 18343"/>
                  <a:gd name="connsiteY0" fmla="*/ 17110 h 18428"/>
                  <a:gd name="connsiteX1" fmla="*/ 1337 w 18343"/>
                  <a:gd name="connsiteY1" fmla="*/ 13940 h 18428"/>
                  <a:gd name="connsiteX2" fmla="*/ 4387 w 18343"/>
                  <a:gd name="connsiteY2" fmla="*/ 1321 h 18428"/>
                  <a:gd name="connsiteX3" fmla="*/ 17006 w 18343"/>
                  <a:gd name="connsiteY3" fmla="*/ 4431 h 18428"/>
                  <a:gd name="connsiteX4" fmla="*/ 13957 w 18343"/>
                  <a:gd name="connsiteY4" fmla="*/ 17110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8">
                    <a:moveTo>
                      <a:pt x="13957" y="17110"/>
                    </a:moveTo>
                    <a:cubicBezTo>
                      <a:pt x="9650" y="19741"/>
                      <a:pt x="3968" y="18306"/>
                      <a:pt x="1337" y="13940"/>
                    </a:cubicBezTo>
                    <a:cubicBezTo>
                      <a:pt x="-1295" y="9574"/>
                      <a:pt x="81" y="3892"/>
                      <a:pt x="4387" y="1321"/>
                    </a:cubicBezTo>
                    <a:cubicBezTo>
                      <a:pt x="8693" y="-1311"/>
                      <a:pt x="14375" y="125"/>
                      <a:pt x="17006" y="4431"/>
                    </a:cubicBezTo>
                    <a:cubicBezTo>
                      <a:pt x="19638" y="8856"/>
                      <a:pt x="18263" y="14478"/>
                      <a:pt x="13957" y="17110"/>
                    </a:cubicBezTo>
                    <a:close/>
                  </a:path>
                </a:pathLst>
              </a:custGeom>
              <a:grpFill/>
              <a:ln w="5978" cap="flat">
                <a:noFill/>
                <a:prstDash val="solid"/>
                <a:miter/>
              </a:ln>
            </p:spPr>
            <p:txBody>
              <a:bodyPr rtlCol="0" anchor="ctr"/>
              <a:lstStyle/>
              <a:p>
                <a:endParaRPr lang="en-GB"/>
              </a:p>
            </p:txBody>
          </p:sp>
          <p:sp>
            <p:nvSpPr>
              <p:cNvPr id="1938" name="Vrije vorm: vorm 1937">
                <a:extLst>
                  <a:ext uri="{FF2B5EF4-FFF2-40B4-BE49-F238E27FC236}">
                    <a16:creationId xmlns:a16="http://schemas.microsoft.com/office/drawing/2014/main" id="{8419D73D-05E4-4395-A03A-493C0605CFE1}"/>
                  </a:ext>
                </a:extLst>
              </p:cNvPr>
              <p:cNvSpPr/>
              <p:nvPr/>
            </p:nvSpPr>
            <p:spPr>
              <a:xfrm>
                <a:off x="4617474" y="4274742"/>
                <a:ext cx="18343" cy="18384"/>
              </a:xfrm>
              <a:custGeom>
                <a:avLst/>
                <a:gdLst>
                  <a:gd name="connsiteX0" fmla="*/ 13956 w 18343"/>
                  <a:gd name="connsiteY0" fmla="*/ 17064 h 18384"/>
                  <a:gd name="connsiteX1" fmla="*/ 17007 w 18343"/>
                  <a:gd name="connsiteY1" fmla="*/ 4444 h 18384"/>
                  <a:gd name="connsiteX2" fmla="*/ 4387 w 18343"/>
                  <a:gd name="connsiteY2" fmla="*/ 1335 h 18384"/>
                  <a:gd name="connsiteX3" fmla="*/ 1337 w 18343"/>
                  <a:gd name="connsiteY3" fmla="*/ 13954 h 18384"/>
                  <a:gd name="connsiteX4" fmla="*/ 13956 w 18343"/>
                  <a:gd name="connsiteY4" fmla="*/ 17064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84">
                    <a:moveTo>
                      <a:pt x="13956" y="17064"/>
                    </a:moveTo>
                    <a:cubicBezTo>
                      <a:pt x="18262" y="14432"/>
                      <a:pt x="19638" y="8751"/>
                      <a:pt x="17007" y="4444"/>
                    </a:cubicBezTo>
                    <a:cubicBezTo>
                      <a:pt x="14375" y="79"/>
                      <a:pt x="8753" y="-1297"/>
                      <a:pt x="4387" y="1335"/>
                    </a:cubicBezTo>
                    <a:cubicBezTo>
                      <a:pt x="81" y="3966"/>
                      <a:pt x="-1294" y="9648"/>
                      <a:pt x="1337" y="13954"/>
                    </a:cubicBezTo>
                    <a:cubicBezTo>
                      <a:pt x="3969" y="18260"/>
                      <a:pt x="9650" y="19695"/>
                      <a:pt x="13956" y="17064"/>
                    </a:cubicBezTo>
                    <a:close/>
                  </a:path>
                </a:pathLst>
              </a:custGeom>
              <a:grpFill/>
              <a:ln w="5978" cap="flat">
                <a:noFill/>
                <a:prstDash val="solid"/>
                <a:miter/>
              </a:ln>
            </p:spPr>
            <p:txBody>
              <a:bodyPr rtlCol="0" anchor="ctr"/>
              <a:lstStyle/>
              <a:p>
                <a:endParaRPr lang="en-GB"/>
              </a:p>
            </p:txBody>
          </p:sp>
        </p:grpSp>
        <p:grpSp>
          <p:nvGrpSpPr>
            <p:cNvPr id="1156" name="Graphic 3">
              <a:extLst>
                <a:ext uri="{FF2B5EF4-FFF2-40B4-BE49-F238E27FC236}">
                  <a16:creationId xmlns:a16="http://schemas.microsoft.com/office/drawing/2014/main" id="{84E0E4D3-4DAD-40C3-A48C-B62493A5A6C1}"/>
                </a:ext>
              </a:extLst>
            </p:cNvPr>
            <p:cNvGrpSpPr/>
            <p:nvPr/>
          </p:nvGrpSpPr>
          <p:grpSpPr>
            <a:xfrm>
              <a:off x="4656422" y="4727322"/>
              <a:ext cx="98001" cy="98622"/>
              <a:chOff x="4656422" y="4727322"/>
              <a:chExt cx="98001" cy="98622"/>
            </a:xfrm>
            <a:grpFill/>
          </p:grpSpPr>
          <p:sp>
            <p:nvSpPr>
              <p:cNvPr id="1933" name="Vrije vorm: vorm 1932">
                <a:extLst>
                  <a:ext uri="{FF2B5EF4-FFF2-40B4-BE49-F238E27FC236}">
                    <a16:creationId xmlns:a16="http://schemas.microsoft.com/office/drawing/2014/main" id="{B3E3DEFB-CC30-439C-B2BD-6650442D5797}"/>
                  </a:ext>
                </a:extLst>
              </p:cNvPr>
              <p:cNvSpPr/>
              <p:nvPr/>
            </p:nvSpPr>
            <p:spPr>
              <a:xfrm>
                <a:off x="4664205" y="4735097"/>
                <a:ext cx="82414" cy="83071"/>
              </a:xfrm>
              <a:custGeom>
                <a:avLst/>
                <a:gdLst>
                  <a:gd name="connsiteX0" fmla="*/ 82415 w 82414"/>
                  <a:gd name="connsiteY0" fmla="*/ 2153 h 83071"/>
                  <a:gd name="connsiteX1" fmla="*/ 2153 w 82414"/>
                  <a:gd name="connsiteY1" fmla="*/ 83072 h 83071"/>
                  <a:gd name="connsiteX2" fmla="*/ 0 w 82414"/>
                  <a:gd name="connsiteY2" fmla="*/ 80859 h 83071"/>
                  <a:gd name="connsiteX3" fmla="*/ 80262 w 82414"/>
                  <a:gd name="connsiteY3" fmla="*/ 0 h 83071"/>
                </a:gdLst>
                <a:ahLst/>
                <a:cxnLst>
                  <a:cxn ang="0">
                    <a:pos x="connsiteX0" y="connsiteY0"/>
                  </a:cxn>
                  <a:cxn ang="0">
                    <a:pos x="connsiteX1" y="connsiteY1"/>
                  </a:cxn>
                  <a:cxn ang="0">
                    <a:pos x="connsiteX2" y="connsiteY2"/>
                  </a:cxn>
                  <a:cxn ang="0">
                    <a:pos x="connsiteX3" y="connsiteY3"/>
                  </a:cxn>
                </a:cxnLst>
                <a:rect l="l" t="t" r="r" b="b"/>
                <a:pathLst>
                  <a:path w="82414" h="83071">
                    <a:moveTo>
                      <a:pt x="82415" y="2153"/>
                    </a:moveTo>
                    <a:lnTo>
                      <a:pt x="2153" y="83072"/>
                    </a:lnTo>
                    <a:lnTo>
                      <a:pt x="0" y="80859"/>
                    </a:lnTo>
                    <a:lnTo>
                      <a:pt x="80262" y="0"/>
                    </a:lnTo>
                    <a:close/>
                  </a:path>
                </a:pathLst>
              </a:custGeom>
              <a:grpFill/>
              <a:ln w="5978" cap="flat">
                <a:noFill/>
                <a:prstDash val="solid"/>
                <a:miter/>
              </a:ln>
            </p:spPr>
            <p:txBody>
              <a:bodyPr rtlCol="0" anchor="ctr"/>
              <a:lstStyle/>
              <a:p>
                <a:endParaRPr lang="en-GB"/>
              </a:p>
            </p:txBody>
          </p:sp>
          <p:sp>
            <p:nvSpPr>
              <p:cNvPr id="1934" name="Vrije vorm: vorm 1933">
                <a:extLst>
                  <a:ext uri="{FF2B5EF4-FFF2-40B4-BE49-F238E27FC236}">
                    <a16:creationId xmlns:a16="http://schemas.microsoft.com/office/drawing/2014/main" id="{CF8B178F-8703-4FD3-8C3B-16099695E6DF}"/>
                  </a:ext>
                </a:extLst>
              </p:cNvPr>
              <p:cNvSpPr/>
              <p:nvPr/>
            </p:nvSpPr>
            <p:spPr>
              <a:xfrm>
                <a:off x="4656422" y="4807523"/>
                <a:ext cx="18338" cy="18420"/>
              </a:xfrm>
              <a:custGeom>
                <a:avLst/>
                <a:gdLst>
                  <a:gd name="connsiteX0" fmla="*/ 15677 w 18338"/>
                  <a:gd name="connsiteY0" fmla="*/ 15729 h 18420"/>
                  <a:gd name="connsiteX1" fmla="*/ 2699 w 18338"/>
                  <a:gd name="connsiteY1" fmla="*/ 15729 h 18420"/>
                  <a:gd name="connsiteX2" fmla="*/ 2639 w 18338"/>
                  <a:gd name="connsiteY2" fmla="*/ 2691 h 18420"/>
                  <a:gd name="connsiteX3" fmla="*/ 15617 w 18338"/>
                  <a:gd name="connsiteY3" fmla="*/ 2691 h 18420"/>
                  <a:gd name="connsiteX4" fmla="*/ 15677 w 18338"/>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0">
                    <a:moveTo>
                      <a:pt x="15677" y="15729"/>
                    </a:moveTo>
                    <a:cubicBezTo>
                      <a:pt x="12089" y="19318"/>
                      <a:pt x="6287" y="19318"/>
                      <a:pt x="2699" y="15729"/>
                    </a:cubicBezTo>
                    <a:cubicBezTo>
                      <a:pt x="-890" y="12141"/>
                      <a:pt x="-890" y="6280"/>
                      <a:pt x="2639" y="2691"/>
                    </a:cubicBezTo>
                    <a:cubicBezTo>
                      <a:pt x="6227" y="-897"/>
                      <a:pt x="12029" y="-897"/>
                      <a:pt x="15617" y="2691"/>
                    </a:cubicBezTo>
                    <a:cubicBezTo>
                      <a:pt x="19206" y="6280"/>
                      <a:pt x="19266" y="12141"/>
                      <a:pt x="15677" y="15729"/>
                    </a:cubicBezTo>
                    <a:close/>
                  </a:path>
                </a:pathLst>
              </a:custGeom>
              <a:grpFill/>
              <a:ln w="5978" cap="flat">
                <a:noFill/>
                <a:prstDash val="solid"/>
                <a:miter/>
              </a:ln>
            </p:spPr>
            <p:txBody>
              <a:bodyPr rtlCol="0" anchor="ctr"/>
              <a:lstStyle/>
              <a:p>
                <a:endParaRPr lang="en-GB"/>
              </a:p>
            </p:txBody>
          </p:sp>
          <p:sp>
            <p:nvSpPr>
              <p:cNvPr id="1935" name="Vrije vorm: vorm 1934">
                <a:extLst>
                  <a:ext uri="{FF2B5EF4-FFF2-40B4-BE49-F238E27FC236}">
                    <a16:creationId xmlns:a16="http://schemas.microsoft.com/office/drawing/2014/main" id="{A7E2B4AA-C37E-48A2-B70E-FBEE6D4C7488}"/>
                  </a:ext>
                </a:extLst>
              </p:cNvPr>
              <p:cNvSpPr/>
              <p:nvPr/>
            </p:nvSpPr>
            <p:spPr>
              <a:xfrm>
                <a:off x="4736063" y="4727322"/>
                <a:ext cx="18361" cy="18420"/>
              </a:xfrm>
              <a:custGeom>
                <a:avLst/>
                <a:gdLst>
                  <a:gd name="connsiteX0" fmla="*/ 15700 w 18361"/>
                  <a:gd name="connsiteY0" fmla="*/ 15729 h 18420"/>
                  <a:gd name="connsiteX1" fmla="*/ 15640 w 18361"/>
                  <a:gd name="connsiteY1" fmla="*/ 2691 h 18420"/>
                  <a:gd name="connsiteX2" fmla="*/ 2662 w 18361"/>
                  <a:gd name="connsiteY2" fmla="*/ 2691 h 18420"/>
                  <a:gd name="connsiteX3" fmla="*/ 2721 w 18361"/>
                  <a:gd name="connsiteY3" fmla="*/ 15729 h 18420"/>
                  <a:gd name="connsiteX4" fmla="*/ 15700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700" y="15729"/>
                    </a:moveTo>
                    <a:cubicBezTo>
                      <a:pt x="19288" y="12141"/>
                      <a:pt x="19228" y="6280"/>
                      <a:pt x="15640" y="2691"/>
                    </a:cubicBezTo>
                    <a:cubicBezTo>
                      <a:pt x="12051" y="-897"/>
                      <a:pt x="6250" y="-897"/>
                      <a:pt x="2662" y="2691"/>
                    </a:cubicBezTo>
                    <a:cubicBezTo>
                      <a:pt x="-927" y="6280"/>
                      <a:pt x="-867" y="12141"/>
                      <a:pt x="2721" y="15729"/>
                    </a:cubicBezTo>
                    <a:cubicBezTo>
                      <a:pt x="6310" y="19318"/>
                      <a:pt x="12111" y="19318"/>
                      <a:pt x="15700" y="15729"/>
                    </a:cubicBezTo>
                    <a:close/>
                  </a:path>
                </a:pathLst>
              </a:custGeom>
              <a:grpFill/>
              <a:ln w="5978" cap="flat">
                <a:noFill/>
                <a:prstDash val="solid"/>
                <a:miter/>
              </a:ln>
            </p:spPr>
            <p:txBody>
              <a:bodyPr rtlCol="0" anchor="ctr"/>
              <a:lstStyle/>
              <a:p>
                <a:endParaRPr lang="en-GB"/>
              </a:p>
            </p:txBody>
          </p:sp>
        </p:grpSp>
        <p:grpSp>
          <p:nvGrpSpPr>
            <p:cNvPr id="1157" name="Graphic 3">
              <a:extLst>
                <a:ext uri="{FF2B5EF4-FFF2-40B4-BE49-F238E27FC236}">
                  <a16:creationId xmlns:a16="http://schemas.microsoft.com/office/drawing/2014/main" id="{4244CFAD-32D8-4706-8AD2-8BE73AC8D03F}"/>
                </a:ext>
              </a:extLst>
            </p:cNvPr>
            <p:cNvGrpSpPr/>
            <p:nvPr/>
          </p:nvGrpSpPr>
          <p:grpSpPr>
            <a:xfrm>
              <a:off x="4437894" y="4084405"/>
              <a:ext cx="86959" cy="48661"/>
              <a:chOff x="4437894" y="4084405"/>
              <a:chExt cx="86959" cy="48661"/>
            </a:xfrm>
            <a:grpFill/>
          </p:grpSpPr>
          <p:sp>
            <p:nvSpPr>
              <p:cNvPr id="1930" name="Vrije vorm: vorm 1929">
                <a:extLst>
                  <a:ext uri="{FF2B5EF4-FFF2-40B4-BE49-F238E27FC236}">
                    <a16:creationId xmlns:a16="http://schemas.microsoft.com/office/drawing/2014/main" id="{4D868BD2-8517-4AD8-9D0C-7E1655EE706D}"/>
                  </a:ext>
                </a:extLst>
              </p:cNvPr>
              <p:cNvSpPr/>
              <p:nvPr/>
            </p:nvSpPr>
            <p:spPr>
              <a:xfrm>
                <a:off x="4446028" y="4092050"/>
                <a:ext cx="70692" cy="33372"/>
              </a:xfrm>
              <a:custGeom>
                <a:avLst/>
                <a:gdLst>
                  <a:gd name="connsiteX0" fmla="*/ 70692 w 70692"/>
                  <a:gd name="connsiteY0" fmla="*/ 2811 h 33372"/>
                  <a:gd name="connsiteX1" fmla="*/ 1196 w 70692"/>
                  <a:gd name="connsiteY1" fmla="*/ 33373 h 33372"/>
                  <a:gd name="connsiteX2" fmla="*/ 0 w 70692"/>
                  <a:gd name="connsiteY2" fmla="*/ 30561 h 33372"/>
                  <a:gd name="connsiteX3" fmla="*/ 69496 w 70692"/>
                  <a:gd name="connsiteY3" fmla="*/ 0 h 33372"/>
                </a:gdLst>
                <a:ahLst/>
                <a:cxnLst>
                  <a:cxn ang="0">
                    <a:pos x="connsiteX0" y="connsiteY0"/>
                  </a:cxn>
                  <a:cxn ang="0">
                    <a:pos x="connsiteX1" y="connsiteY1"/>
                  </a:cxn>
                  <a:cxn ang="0">
                    <a:pos x="connsiteX2" y="connsiteY2"/>
                  </a:cxn>
                  <a:cxn ang="0">
                    <a:pos x="connsiteX3" y="connsiteY3"/>
                  </a:cxn>
                </a:cxnLst>
                <a:rect l="l" t="t" r="r" b="b"/>
                <a:pathLst>
                  <a:path w="70692" h="33372">
                    <a:moveTo>
                      <a:pt x="70692" y="2811"/>
                    </a:moveTo>
                    <a:lnTo>
                      <a:pt x="1196" y="33373"/>
                    </a:lnTo>
                    <a:lnTo>
                      <a:pt x="0" y="30561"/>
                    </a:lnTo>
                    <a:lnTo>
                      <a:pt x="69496" y="0"/>
                    </a:lnTo>
                    <a:close/>
                  </a:path>
                </a:pathLst>
              </a:custGeom>
              <a:grpFill/>
              <a:ln w="5978" cap="flat">
                <a:noFill/>
                <a:prstDash val="solid"/>
                <a:miter/>
              </a:ln>
            </p:spPr>
            <p:txBody>
              <a:bodyPr rtlCol="0" anchor="ctr"/>
              <a:lstStyle/>
              <a:p>
                <a:endParaRPr lang="en-GB"/>
              </a:p>
            </p:txBody>
          </p:sp>
          <p:sp>
            <p:nvSpPr>
              <p:cNvPr id="1931" name="Vrije vorm: vorm 1930">
                <a:extLst>
                  <a:ext uri="{FF2B5EF4-FFF2-40B4-BE49-F238E27FC236}">
                    <a16:creationId xmlns:a16="http://schemas.microsoft.com/office/drawing/2014/main" id="{64E0BA1F-0881-4878-B782-9952E25F09AA}"/>
                  </a:ext>
                </a:extLst>
              </p:cNvPr>
              <p:cNvSpPr/>
              <p:nvPr/>
            </p:nvSpPr>
            <p:spPr>
              <a:xfrm>
                <a:off x="4437894" y="4114608"/>
                <a:ext cx="18301" cy="18458"/>
              </a:xfrm>
              <a:custGeom>
                <a:avLst/>
                <a:gdLst>
                  <a:gd name="connsiteX0" fmla="*/ 12859 w 18301"/>
                  <a:gd name="connsiteY0" fmla="*/ 17692 h 18458"/>
                  <a:gd name="connsiteX1" fmla="*/ 778 w 18301"/>
                  <a:gd name="connsiteY1" fmla="*/ 12907 h 18458"/>
                  <a:gd name="connsiteX2" fmla="*/ 5442 w 18301"/>
                  <a:gd name="connsiteY2" fmla="*/ 767 h 18458"/>
                  <a:gd name="connsiteX3" fmla="*/ 17524 w 18301"/>
                  <a:gd name="connsiteY3" fmla="*/ 5551 h 18458"/>
                  <a:gd name="connsiteX4" fmla="*/ 12859 w 18301"/>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58">
                    <a:moveTo>
                      <a:pt x="12859" y="17692"/>
                    </a:moveTo>
                    <a:cubicBezTo>
                      <a:pt x="8254" y="19726"/>
                      <a:pt x="2811" y="17573"/>
                      <a:pt x="778" y="12907"/>
                    </a:cubicBezTo>
                    <a:cubicBezTo>
                      <a:pt x="-1256" y="8243"/>
                      <a:pt x="837" y="2800"/>
                      <a:pt x="5442" y="767"/>
                    </a:cubicBezTo>
                    <a:cubicBezTo>
                      <a:pt x="10048" y="-1267"/>
                      <a:pt x="15490" y="886"/>
                      <a:pt x="17524" y="5551"/>
                    </a:cubicBezTo>
                    <a:cubicBezTo>
                      <a:pt x="19557" y="10216"/>
                      <a:pt x="17464" y="15659"/>
                      <a:pt x="12859" y="17692"/>
                    </a:cubicBezTo>
                    <a:close/>
                  </a:path>
                </a:pathLst>
              </a:custGeom>
              <a:grpFill/>
              <a:ln w="5978" cap="flat">
                <a:noFill/>
                <a:prstDash val="solid"/>
                <a:miter/>
              </a:ln>
            </p:spPr>
            <p:txBody>
              <a:bodyPr rtlCol="0" anchor="ctr"/>
              <a:lstStyle/>
              <a:p>
                <a:endParaRPr lang="en-GB"/>
              </a:p>
            </p:txBody>
          </p:sp>
          <p:sp>
            <p:nvSpPr>
              <p:cNvPr id="1932" name="Vrije vorm: vorm 1931">
                <a:extLst>
                  <a:ext uri="{FF2B5EF4-FFF2-40B4-BE49-F238E27FC236}">
                    <a16:creationId xmlns:a16="http://schemas.microsoft.com/office/drawing/2014/main" id="{928811B1-6655-4D7F-A1C0-9171BDC66BA5}"/>
                  </a:ext>
                </a:extLst>
              </p:cNvPr>
              <p:cNvSpPr/>
              <p:nvPr/>
            </p:nvSpPr>
            <p:spPr>
              <a:xfrm>
                <a:off x="4506553" y="4084405"/>
                <a:ext cx="18301" cy="18467"/>
              </a:xfrm>
              <a:custGeom>
                <a:avLst/>
                <a:gdLst>
                  <a:gd name="connsiteX0" fmla="*/ 12859 w 18301"/>
                  <a:gd name="connsiteY0" fmla="*/ 17692 h 18467"/>
                  <a:gd name="connsiteX1" fmla="*/ 17524 w 18301"/>
                  <a:gd name="connsiteY1" fmla="*/ 5551 h 18467"/>
                  <a:gd name="connsiteX2" fmla="*/ 5442 w 18301"/>
                  <a:gd name="connsiteY2" fmla="*/ 767 h 18467"/>
                  <a:gd name="connsiteX3" fmla="*/ 778 w 18301"/>
                  <a:gd name="connsiteY3" fmla="*/ 12908 h 18467"/>
                  <a:gd name="connsiteX4" fmla="*/ 12859 w 18301"/>
                  <a:gd name="connsiteY4" fmla="*/ 1769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7">
                    <a:moveTo>
                      <a:pt x="12859" y="17692"/>
                    </a:moveTo>
                    <a:cubicBezTo>
                      <a:pt x="17464" y="15659"/>
                      <a:pt x="19557" y="10216"/>
                      <a:pt x="17524" y="5551"/>
                    </a:cubicBezTo>
                    <a:cubicBezTo>
                      <a:pt x="15490" y="886"/>
                      <a:pt x="10048" y="-1267"/>
                      <a:pt x="5442" y="767"/>
                    </a:cubicBezTo>
                    <a:cubicBezTo>
                      <a:pt x="838" y="2800"/>
                      <a:pt x="-1256" y="8242"/>
                      <a:pt x="778" y="12908"/>
                    </a:cubicBezTo>
                    <a:cubicBezTo>
                      <a:pt x="2811" y="17632"/>
                      <a:pt x="8194" y="19726"/>
                      <a:pt x="12859" y="17692"/>
                    </a:cubicBezTo>
                    <a:close/>
                  </a:path>
                </a:pathLst>
              </a:custGeom>
              <a:grpFill/>
              <a:ln w="5978" cap="flat">
                <a:noFill/>
                <a:prstDash val="solid"/>
                <a:miter/>
              </a:ln>
            </p:spPr>
            <p:txBody>
              <a:bodyPr rtlCol="0" anchor="ctr"/>
              <a:lstStyle/>
              <a:p>
                <a:endParaRPr lang="en-GB"/>
              </a:p>
            </p:txBody>
          </p:sp>
        </p:grpSp>
        <p:grpSp>
          <p:nvGrpSpPr>
            <p:cNvPr id="1158" name="Graphic 3">
              <a:extLst>
                <a:ext uri="{FF2B5EF4-FFF2-40B4-BE49-F238E27FC236}">
                  <a16:creationId xmlns:a16="http://schemas.microsoft.com/office/drawing/2014/main" id="{9A75918F-875F-4086-B1D2-FEECA8B3BA26}"/>
                </a:ext>
              </a:extLst>
            </p:cNvPr>
            <p:cNvGrpSpPr/>
            <p:nvPr/>
          </p:nvGrpSpPr>
          <p:grpSpPr>
            <a:xfrm>
              <a:off x="4411283" y="3992804"/>
              <a:ext cx="88478" cy="44691"/>
              <a:chOff x="4411283" y="3992804"/>
              <a:chExt cx="88478" cy="44691"/>
            </a:xfrm>
            <a:grpFill/>
          </p:grpSpPr>
          <p:sp>
            <p:nvSpPr>
              <p:cNvPr id="1927" name="Vrije vorm: vorm 1926">
                <a:extLst>
                  <a:ext uri="{FF2B5EF4-FFF2-40B4-BE49-F238E27FC236}">
                    <a16:creationId xmlns:a16="http://schemas.microsoft.com/office/drawing/2014/main" id="{3E6D13E6-FBDE-417C-B4FF-4E2281CB446A}"/>
                  </a:ext>
                </a:extLst>
              </p:cNvPr>
              <p:cNvSpPr/>
              <p:nvPr/>
            </p:nvSpPr>
            <p:spPr>
              <a:xfrm>
                <a:off x="4419659" y="4000242"/>
                <a:ext cx="72103" cy="29414"/>
              </a:xfrm>
              <a:custGeom>
                <a:avLst/>
                <a:gdLst>
                  <a:gd name="connsiteX0" fmla="*/ 0 w 72103"/>
                  <a:gd name="connsiteY0" fmla="*/ 26558 h 29414"/>
                  <a:gd name="connsiteX1" fmla="*/ 71035 w 72103"/>
                  <a:gd name="connsiteY1" fmla="*/ 0 h 29414"/>
                  <a:gd name="connsiteX2" fmla="*/ 72103 w 72103"/>
                  <a:gd name="connsiteY2" fmla="*/ 2857 h 29414"/>
                  <a:gd name="connsiteX3" fmla="*/ 1068 w 72103"/>
                  <a:gd name="connsiteY3" fmla="*/ 29415 h 29414"/>
                </a:gdLst>
                <a:ahLst/>
                <a:cxnLst>
                  <a:cxn ang="0">
                    <a:pos x="connsiteX0" y="connsiteY0"/>
                  </a:cxn>
                  <a:cxn ang="0">
                    <a:pos x="connsiteX1" y="connsiteY1"/>
                  </a:cxn>
                  <a:cxn ang="0">
                    <a:pos x="connsiteX2" y="connsiteY2"/>
                  </a:cxn>
                  <a:cxn ang="0">
                    <a:pos x="connsiteX3" y="connsiteY3"/>
                  </a:cxn>
                </a:cxnLst>
                <a:rect l="l" t="t" r="r" b="b"/>
                <a:pathLst>
                  <a:path w="72103" h="29414">
                    <a:moveTo>
                      <a:pt x="0" y="26558"/>
                    </a:moveTo>
                    <a:lnTo>
                      <a:pt x="71035" y="0"/>
                    </a:lnTo>
                    <a:lnTo>
                      <a:pt x="72103" y="2857"/>
                    </a:lnTo>
                    <a:lnTo>
                      <a:pt x="1068" y="29415"/>
                    </a:lnTo>
                    <a:close/>
                  </a:path>
                </a:pathLst>
              </a:custGeom>
              <a:grpFill/>
              <a:ln w="5978" cap="flat">
                <a:noFill/>
                <a:prstDash val="solid"/>
                <a:miter/>
              </a:ln>
            </p:spPr>
            <p:txBody>
              <a:bodyPr rtlCol="0" anchor="ctr"/>
              <a:lstStyle/>
              <a:p>
                <a:endParaRPr lang="en-GB"/>
              </a:p>
            </p:txBody>
          </p:sp>
          <p:sp>
            <p:nvSpPr>
              <p:cNvPr id="1928" name="Vrije vorm: vorm 1927">
                <a:extLst>
                  <a:ext uri="{FF2B5EF4-FFF2-40B4-BE49-F238E27FC236}">
                    <a16:creationId xmlns:a16="http://schemas.microsoft.com/office/drawing/2014/main" id="{19F7DBB9-EE6E-447F-A6E0-5FBC4A74B0B0}"/>
                  </a:ext>
                </a:extLst>
              </p:cNvPr>
              <p:cNvSpPr/>
              <p:nvPr/>
            </p:nvSpPr>
            <p:spPr>
              <a:xfrm>
                <a:off x="4411283" y="4019035"/>
                <a:ext cx="18349" cy="18460"/>
              </a:xfrm>
              <a:custGeom>
                <a:avLst/>
                <a:gdLst>
                  <a:gd name="connsiteX0" fmla="*/ 12378 w 18349"/>
                  <a:gd name="connsiteY0" fmla="*/ 17872 h 18460"/>
                  <a:gd name="connsiteX1" fmla="*/ 596 w 18349"/>
                  <a:gd name="connsiteY1" fmla="*/ 12430 h 18460"/>
                  <a:gd name="connsiteX2" fmla="*/ 5978 w 18349"/>
                  <a:gd name="connsiteY2" fmla="*/ 588 h 18460"/>
                  <a:gd name="connsiteX3" fmla="*/ 17760 w 18349"/>
                  <a:gd name="connsiteY3" fmla="*/ 6030 h 18460"/>
                  <a:gd name="connsiteX4" fmla="*/ 12378 w 18349"/>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0">
                    <a:moveTo>
                      <a:pt x="12378" y="17872"/>
                    </a:moveTo>
                    <a:cubicBezTo>
                      <a:pt x="7653" y="19667"/>
                      <a:pt x="2330" y="17214"/>
                      <a:pt x="596" y="12430"/>
                    </a:cubicBezTo>
                    <a:cubicBezTo>
                      <a:pt x="-1198" y="7645"/>
                      <a:pt x="1194" y="2382"/>
                      <a:pt x="5978" y="588"/>
                    </a:cubicBezTo>
                    <a:cubicBezTo>
                      <a:pt x="10703" y="-1206"/>
                      <a:pt x="16026" y="1246"/>
                      <a:pt x="17760" y="6030"/>
                    </a:cubicBezTo>
                    <a:cubicBezTo>
                      <a:pt x="19555" y="10755"/>
                      <a:pt x="17103" y="16078"/>
                      <a:pt x="12378" y="17872"/>
                    </a:cubicBezTo>
                    <a:close/>
                  </a:path>
                </a:pathLst>
              </a:custGeom>
              <a:grpFill/>
              <a:ln w="5978" cap="flat">
                <a:noFill/>
                <a:prstDash val="solid"/>
                <a:miter/>
              </a:ln>
            </p:spPr>
            <p:txBody>
              <a:bodyPr rtlCol="0" anchor="ctr"/>
              <a:lstStyle/>
              <a:p>
                <a:endParaRPr lang="en-GB"/>
              </a:p>
            </p:txBody>
          </p:sp>
          <p:sp>
            <p:nvSpPr>
              <p:cNvPr id="1929" name="Vrije vorm: vorm 1928">
                <a:extLst>
                  <a:ext uri="{FF2B5EF4-FFF2-40B4-BE49-F238E27FC236}">
                    <a16:creationId xmlns:a16="http://schemas.microsoft.com/office/drawing/2014/main" id="{04C94F67-C3F5-47B8-AEB8-2F5933C1D5BD}"/>
                  </a:ext>
                </a:extLst>
              </p:cNvPr>
              <p:cNvSpPr/>
              <p:nvPr/>
            </p:nvSpPr>
            <p:spPr>
              <a:xfrm>
                <a:off x="4481468" y="3992804"/>
                <a:ext cx="18293" cy="18436"/>
              </a:xfrm>
              <a:custGeom>
                <a:avLst/>
                <a:gdLst>
                  <a:gd name="connsiteX0" fmla="*/ 12347 w 18293"/>
                  <a:gd name="connsiteY0" fmla="*/ 17848 h 18436"/>
                  <a:gd name="connsiteX1" fmla="*/ 17729 w 18293"/>
                  <a:gd name="connsiteY1" fmla="*/ 6006 h 18436"/>
                  <a:gd name="connsiteX2" fmla="*/ 5947 w 18293"/>
                  <a:gd name="connsiteY2" fmla="*/ 564 h 18436"/>
                  <a:gd name="connsiteX3" fmla="*/ 565 w 18293"/>
                  <a:gd name="connsiteY3" fmla="*/ 12406 h 18436"/>
                  <a:gd name="connsiteX4" fmla="*/ 12347 w 18293"/>
                  <a:gd name="connsiteY4" fmla="*/ 17848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36">
                    <a:moveTo>
                      <a:pt x="12347" y="17848"/>
                    </a:moveTo>
                    <a:cubicBezTo>
                      <a:pt x="17071" y="16054"/>
                      <a:pt x="19464" y="10791"/>
                      <a:pt x="17729" y="6006"/>
                    </a:cubicBezTo>
                    <a:cubicBezTo>
                      <a:pt x="15935" y="1222"/>
                      <a:pt x="10672" y="-1170"/>
                      <a:pt x="5947" y="564"/>
                    </a:cubicBezTo>
                    <a:cubicBezTo>
                      <a:pt x="1223" y="2358"/>
                      <a:pt x="-1170" y="7621"/>
                      <a:pt x="565" y="12406"/>
                    </a:cubicBezTo>
                    <a:cubicBezTo>
                      <a:pt x="2359" y="17191"/>
                      <a:pt x="7622" y="19642"/>
                      <a:pt x="12347" y="17848"/>
                    </a:cubicBezTo>
                    <a:close/>
                  </a:path>
                </a:pathLst>
              </a:custGeom>
              <a:grpFill/>
              <a:ln w="5978" cap="flat">
                <a:noFill/>
                <a:prstDash val="solid"/>
                <a:miter/>
              </a:ln>
            </p:spPr>
            <p:txBody>
              <a:bodyPr rtlCol="0" anchor="ctr"/>
              <a:lstStyle/>
              <a:p>
                <a:endParaRPr lang="en-GB"/>
              </a:p>
            </p:txBody>
          </p:sp>
        </p:grpSp>
        <p:grpSp>
          <p:nvGrpSpPr>
            <p:cNvPr id="1159" name="Graphic 3">
              <a:extLst>
                <a:ext uri="{FF2B5EF4-FFF2-40B4-BE49-F238E27FC236}">
                  <a16:creationId xmlns:a16="http://schemas.microsoft.com/office/drawing/2014/main" id="{819B25AF-FF74-4C12-9F8B-A8538B911AEF}"/>
                </a:ext>
              </a:extLst>
            </p:cNvPr>
            <p:cNvGrpSpPr/>
            <p:nvPr/>
          </p:nvGrpSpPr>
          <p:grpSpPr>
            <a:xfrm>
              <a:off x="4536440" y="4566940"/>
              <a:ext cx="286177" cy="219107"/>
              <a:chOff x="4536440" y="4566940"/>
              <a:chExt cx="286177" cy="219107"/>
            </a:xfrm>
            <a:grpFill/>
          </p:grpSpPr>
          <p:sp>
            <p:nvSpPr>
              <p:cNvPr id="1924" name="Vrije vorm: vorm 1923">
                <a:extLst>
                  <a:ext uri="{FF2B5EF4-FFF2-40B4-BE49-F238E27FC236}">
                    <a16:creationId xmlns:a16="http://schemas.microsoft.com/office/drawing/2014/main" id="{DC41B673-A54F-4B37-A20E-5ED7F1A5B19F}"/>
                  </a:ext>
                </a:extLst>
              </p:cNvPr>
              <p:cNvSpPr/>
              <p:nvPr/>
            </p:nvSpPr>
            <p:spPr>
              <a:xfrm>
                <a:off x="4544351" y="4574694"/>
                <a:ext cx="270328" cy="203643"/>
              </a:xfrm>
              <a:custGeom>
                <a:avLst/>
                <a:gdLst>
                  <a:gd name="connsiteX0" fmla="*/ 270329 w 270328"/>
                  <a:gd name="connsiteY0" fmla="*/ 2452 h 203643"/>
                  <a:gd name="connsiteX1" fmla="*/ 1794 w 270328"/>
                  <a:gd name="connsiteY1" fmla="*/ 203643 h 203643"/>
                  <a:gd name="connsiteX2" fmla="*/ 0 w 270328"/>
                  <a:gd name="connsiteY2" fmla="*/ 201192 h 203643"/>
                  <a:gd name="connsiteX3" fmla="*/ 268475 w 270328"/>
                  <a:gd name="connsiteY3" fmla="*/ 0 h 203643"/>
                </a:gdLst>
                <a:ahLst/>
                <a:cxnLst>
                  <a:cxn ang="0">
                    <a:pos x="connsiteX0" y="connsiteY0"/>
                  </a:cxn>
                  <a:cxn ang="0">
                    <a:pos x="connsiteX1" y="connsiteY1"/>
                  </a:cxn>
                  <a:cxn ang="0">
                    <a:pos x="connsiteX2" y="connsiteY2"/>
                  </a:cxn>
                  <a:cxn ang="0">
                    <a:pos x="connsiteX3" y="connsiteY3"/>
                  </a:cxn>
                </a:cxnLst>
                <a:rect l="l" t="t" r="r" b="b"/>
                <a:pathLst>
                  <a:path w="270328" h="203643">
                    <a:moveTo>
                      <a:pt x="270329" y="2452"/>
                    </a:moveTo>
                    <a:lnTo>
                      <a:pt x="1794" y="203643"/>
                    </a:lnTo>
                    <a:lnTo>
                      <a:pt x="0" y="201192"/>
                    </a:lnTo>
                    <a:lnTo>
                      <a:pt x="268475" y="0"/>
                    </a:lnTo>
                    <a:close/>
                  </a:path>
                </a:pathLst>
              </a:custGeom>
              <a:grpFill/>
              <a:ln w="5978" cap="flat">
                <a:noFill/>
                <a:prstDash val="solid"/>
                <a:miter/>
              </a:ln>
            </p:spPr>
            <p:txBody>
              <a:bodyPr rtlCol="0" anchor="ctr"/>
              <a:lstStyle/>
              <a:p>
                <a:endParaRPr lang="en-GB"/>
              </a:p>
            </p:txBody>
          </p:sp>
          <p:sp>
            <p:nvSpPr>
              <p:cNvPr id="1925" name="Vrije vorm: vorm 1924">
                <a:extLst>
                  <a:ext uri="{FF2B5EF4-FFF2-40B4-BE49-F238E27FC236}">
                    <a16:creationId xmlns:a16="http://schemas.microsoft.com/office/drawing/2014/main" id="{4FE4CD5F-05F0-4231-922E-B909BFD4C364}"/>
                  </a:ext>
                </a:extLst>
              </p:cNvPr>
              <p:cNvSpPr/>
              <p:nvPr/>
            </p:nvSpPr>
            <p:spPr>
              <a:xfrm>
                <a:off x="4804244" y="4566940"/>
                <a:ext cx="18373" cy="18497"/>
              </a:xfrm>
              <a:custGeom>
                <a:avLst/>
                <a:gdLst>
                  <a:gd name="connsiteX0" fmla="*/ 3678 w 18373"/>
                  <a:gd name="connsiteY0" fmla="*/ 1833 h 18497"/>
                  <a:gd name="connsiteX1" fmla="*/ 16537 w 18373"/>
                  <a:gd name="connsiteY1" fmla="*/ 3747 h 18497"/>
                  <a:gd name="connsiteX2" fmla="*/ 14683 w 18373"/>
                  <a:gd name="connsiteY2" fmla="*/ 16665 h 18497"/>
                  <a:gd name="connsiteX3" fmla="*/ 1884 w 18373"/>
                  <a:gd name="connsiteY3" fmla="*/ 14751 h 18497"/>
                  <a:gd name="connsiteX4" fmla="*/ 3678 w 18373"/>
                  <a:gd name="connsiteY4" fmla="*/ 1833 h 18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97">
                    <a:moveTo>
                      <a:pt x="3678" y="1833"/>
                    </a:moveTo>
                    <a:cubicBezTo>
                      <a:pt x="7745" y="-1217"/>
                      <a:pt x="13487" y="-380"/>
                      <a:pt x="16537" y="3747"/>
                    </a:cubicBezTo>
                    <a:cubicBezTo>
                      <a:pt x="19587" y="7813"/>
                      <a:pt x="18750" y="13615"/>
                      <a:pt x="14683" y="16665"/>
                    </a:cubicBezTo>
                    <a:cubicBezTo>
                      <a:pt x="10616" y="19715"/>
                      <a:pt x="4875" y="18878"/>
                      <a:pt x="1884" y="14751"/>
                    </a:cubicBezTo>
                    <a:cubicBezTo>
                      <a:pt x="-1226" y="10684"/>
                      <a:pt x="-389" y="4883"/>
                      <a:pt x="3678" y="1833"/>
                    </a:cubicBezTo>
                    <a:close/>
                  </a:path>
                </a:pathLst>
              </a:custGeom>
              <a:grpFill/>
              <a:ln w="5978" cap="flat">
                <a:noFill/>
                <a:prstDash val="solid"/>
                <a:miter/>
              </a:ln>
            </p:spPr>
            <p:txBody>
              <a:bodyPr rtlCol="0" anchor="ctr"/>
              <a:lstStyle/>
              <a:p>
                <a:endParaRPr lang="en-GB"/>
              </a:p>
            </p:txBody>
          </p:sp>
          <p:sp>
            <p:nvSpPr>
              <p:cNvPr id="1926" name="Vrije vorm: vorm 1925">
                <a:extLst>
                  <a:ext uri="{FF2B5EF4-FFF2-40B4-BE49-F238E27FC236}">
                    <a16:creationId xmlns:a16="http://schemas.microsoft.com/office/drawing/2014/main" id="{DE5FB697-92D5-418B-8BED-755E33B2949A}"/>
                  </a:ext>
                </a:extLst>
              </p:cNvPr>
              <p:cNvSpPr/>
              <p:nvPr/>
            </p:nvSpPr>
            <p:spPr>
              <a:xfrm>
                <a:off x="4536440" y="4767653"/>
                <a:ext cx="18334" cy="18394"/>
              </a:xfrm>
              <a:custGeom>
                <a:avLst/>
                <a:gdLst>
                  <a:gd name="connsiteX0" fmla="*/ 3665 w 18334"/>
                  <a:gd name="connsiteY0" fmla="*/ 1833 h 18394"/>
                  <a:gd name="connsiteX1" fmla="*/ 1811 w 18334"/>
                  <a:gd name="connsiteY1" fmla="*/ 14691 h 18394"/>
                  <a:gd name="connsiteX2" fmla="*/ 14670 w 18334"/>
                  <a:gd name="connsiteY2" fmla="*/ 16605 h 18394"/>
                  <a:gd name="connsiteX3" fmla="*/ 16524 w 18334"/>
                  <a:gd name="connsiteY3" fmla="*/ 3747 h 18394"/>
                  <a:gd name="connsiteX4" fmla="*/ 3665 w 18334"/>
                  <a:gd name="connsiteY4" fmla="*/ 1833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94">
                    <a:moveTo>
                      <a:pt x="3665" y="1833"/>
                    </a:moveTo>
                    <a:cubicBezTo>
                      <a:pt x="-402" y="4883"/>
                      <a:pt x="-1179" y="10624"/>
                      <a:pt x="1811" y="14691"/>
                    </a:cubicBezTo>
                    <a:cubicBezTo>
                      <a:pt x="4861" y="18758"/>
                      <a:pt x="10603" y="19595"/>
                      <a:pt x="14670" y="16605"/>
                    </a:cubicBezTo>
                    <a:cubicBezTo>
                      <a:pt x="18737" y="13555"/>
                      <a:pt x="19514" y="7813"/>
                      <a:pt x="16524" y="3747"/>
                    </a:cubicBezTo>
                    <a:cubicBezTo>
                      <a:pt x="13474" y="-380"/>
                      <a:pt x="7732" y="-1217"/>
                      <a:pt x="3665" y="1833"/>
                    </a:cubicBezTo>
                    <a:close/>
                  </a:path>
                </a:pathLst>
              </a:custGeom>
              <a:grpFill/>
              <a:ln w="5978" cap="flat">
                <a:noFill/>
                <a:prstDash val="solid"/>
                <a:miter/>
              </a:ln>
            </p:spPr>
            <p:txBody>
              <a:bodyPr rtlCol="0" anchor="ctr"/>
              <a:lstStyle/>
              <a:p>
                <a:endParaRPr lang="en-GB"/>
              </a:p>
            </p:txBody>
          </p:sp>
        </p:grpSp>
        <p:grpSp>
          <p:nvGrpSpPr>
            <p:cNvPr id="1160" name="Graphic 3">
              <a:extLst>
                <a:ext uri="{FF2B5EF4-FFF2-40B4-BE49-F238E27FC236}">
                  <a16:creationId xmlns:a16="http://schemas.microsoft.com/office/drawing/2014/main" id="{3175BCFC-2FDF-4A03-8233-3F939D42E408}"/>
                </a:ext>
              </a:extLst>
            </p:cNvPr>
            <p:cNvGrpSpPr/>
            <p:nvPr/>
          </p:nvGrpSpPr>
          <p:grpSpPr>
            <a:xfrm>
              <a:off x="3879630" y="3000963"/>
              <a:ext cx="523058" cy="144146"/>
              <a:chOff x="3879630" y="3000963"/>
              <a:chExt cx="523058" cy="144146"/>
            </a:xfrm>
            <a:grpFill/>
          </p:grpSpPr>
          <p:sp>
            <p:nvSpPr>
              <p:cNvPr id="1921" name="Vrije vorm: vorm 1920">
                <a:extLst>
                  <a:ext uri="{FF2B5EF4-FFF2-40B4-BE49-F238E27FC236}">
                    <a16:creationId xmlns:a16="http://schemas.microsoft.com/office/drawing/2014/main" id="{FCC1BE66-5661-4A54-88BB-C30594294E27}"/>
                  </a:ext>
                </a:extLst>
              </p:cNvPr>
              <p:cNvSpPr/>
              <p:nvPr/>
            </p:nvSpPr>
            <p:spPr>
              <a:xfrm>
                <a:off x="3887967" y="3008582"/>
                <a:ext cx="506327" cy="128944"/>
              </a:xfrm>
              <a:custGeom>
                <a:avLst/>
                <a:gdLst>
                  <a:gd name="connsiteX0" fmla="*/ 506328 w 506327"/>
                  <a:gd name="connsiteY0" fmla="*/ 125954 h 128944"/>
                  <a:gd name="connsiteX1" fmla="*/ 505610 w 506327"/>
                  <a:gd name="connsiteY1" fmla="*/ 128944 h 128944"/>
                  <a:gd name="connsiteX2" fmla="*/ 0 w 506327"/>
                  <a:gd name="connsiteY2" fmla="*/ 2931 h 128944"/>
                  <a:gd name="connsiteX3" fmla="*/ 718 w 506327"/>
                  <a:gd name="connsiteY3" fmla="*/ 0 h 128944"/>
                </a:gdLst>
                <a:ahLst/>
                <a:cxnLst>
                  <a:cxn ang="0">
                    <a:pos x="connsiteX0" y="connsiteY0"/>
                  </a:cxn>
                  <a:cxn ang="0">
                    <a:pos x="connsiteX1" y="connsiteY1"/>
                  </a:cxn>
                  <a:cxn ang="0">
                    <a:pos x="connsiteX2" y="connsiteY2"/>
                  </a:cxn>
                  <a:cxn ang="0">
                    <a:pos x="connsiteX3" y="connsiteY3"/>
                  </a:cxn>
                </a:cxnLst>
                <a:rect l="l" t="t" r="r" b="b"/>
                <a:pathLst>
                  <a:path w="506327" h="128944">
                    <a:moveTo>
                      <a:pt x="506328" y="125954"/>
                    </a:moveTo>
                    <a:lnTo>
                      <a:pt x="505610" y="128944"/>
                    </a:lnTo>
                    <a:lnTo>
                      <a:pt x="0" y="2931"/>
                    </a:lnTo>
                    <a:lnTo>
                      <a:pt x="718" y="0"/>
                    </a:lnTo>
                    <a:close/>
                  </a:path>
                </a:pathLst>
              </a:custGeom>
              <a:grpFill/>
              <a:ln w="5978" cap="flat">
                <a:noFill/>
                <a:prstDash val="solid"/>
                <a:miter/>
              </a:ln>
            </p:spPr>
            <p:txBody>
              <a:bodyPr rtlCol="0" anchor="ctr"/>
              <a:lstStyle/>
              <a:p>
                <a:endParaRPr lang="en-GB"/>
              </a:p>
            </p:txBody>
          </p:sp>
          <p:sp>
            <p:nvSpPr>
              <p:cNvPr id="1922" name="Vrije vorm: vorm 1921">
                <a:extLst>
                  <a:ext uri="{FF2B5EF4-FFF2-40B4-BE49-F238E27FC236}">
                    <a16:creationId xmlns:a16="http://schemas.microsoft.com/office/drawing/2014/main" id="{0E327450-D315-4949-A32E-1E2277D7F35F}"/>
                  </a:ext>
                </a:extLst>
              </p:cNvPr>
              <p:cNvSpPr/>
              <p:nvPr/>
            </p:nvSpPr>
            <p:spPr>
              <a:xfrm>
                <a:off x="4384346" y="3126677"/>
                <a:ext cx="18342" cy="18432"/>
              </a:xfrm>
              <a:custGeom>
                <a:avLst/>
                <a:gdLst>
                  <a:gd name="connsiteX0" fmla="*/ 11324 w 18342"/>
                  <a:gd name="connsiteY0" fmla="*/ 263 h 18432"/>
                  <a:gd name="connsiteX1" fmla="*/ 18083 w 18342"/>
                  <a:gd name="connsiteY1" fmla="*/ 11447 h 18432"/>
                  <a:gd name="connsiteX2" fmla="*/ 7018 w 18342"/>
                  <a:gd name="connsiteY2" fmla="*/ 18146 h 18432"/>
                  <a:gd name="connsiteX3" fmla="*/ 260 w 18342"/>
                  <a:gd name="connsiteY3" fmla="*/ 6962 h 18432"/>
                  <a:gd name="connsiteX4" fmla="*/ 11324 w 18342"/>
                  <a:gd name="connsiteY4" fmla="*/ 263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32">
                    <a:moveTo>
                      <a:pt x="11324" y="263"/>
                    </a:moveTo>
                    <a:cubicBezTo>
                      <a:pt x="16229" y="1460"/>
                      <a:pt x="19279" y="6483"/>
                      <a:pt x="18083" y="11447"/>
                    </a:cubicBezTo>
                    <a:cubicBezTo>
                      <a:pt x="16886" y="16411"/>
                      <a:pt x="11922" y="19402"/>
                      <a:pt x="7018" y="18146"/>
                    </a:cubicBezTo>
                    <a:cubicBezTo>
                      <a:pt x="2114" y="16950"/>
                      <a:pt x="-936" y="11926"/>
                      <a:pt x="260" y="6962"/>
                    </a:cubicBezTo>
                    <a:cubicBezTo>
                      <a:pt x="1456" y="2058"/>
                      <a:pt x="6420" y="-933"/>
                      <a:pt x="11324" y="263"/>
                    </a:cubicBezTo>
                    <a:close/>
                  </a:path>
                </a:pathLst>
              </a:custGeom>
              <a:grpFill/>
              <a:ln w="5978" cap="flat">
                <a:noFill/>
                <a:prstDash val="solid"/>
                <a:miter/>
              </a:ln>
            </p:spPr>
            <p:txBody>
              <a:bodyPr rtlCol="0" anchor="ctr"/>
              <a:lstStyle/>
              <a:p>
                <a:endParaRPr lang="en-GB"/>
              </a:p>
            </p:txBody>
          </p:sp>
          <p:sp>
            <p:nvSpPr>
              <p:cNvPr id="1923" name="Vrije vorm: vorm 1922">
                <a:extLst>
                  <a:ext uri="{FF2B5EF4-FFF2-40B4-BE49-F238E27FC236}">
                    <a16:creationId xmlns:a16="http://schemas.microsoft.com/office/drawing/2014/main" id="{31CE7252-3E43-4C9C-9FB1-D25D8992314D}"/>
                  </a:ext>
                </a:extLst>
              </p:cNvPr>
              <p:cNvSpPr/>
              <p:nvPr/>
            </p:nvSpPr>
            <p:spPr>
              <a:xfrm>
                <a:off x="3879630" y="3000963"/>
                <a:ext cx="18345" cy="18409"/>
              </a:xfrm>
              <a:custGeom>
                <a:avLst/>
                <a:gdLst>
                  <a:gd name="connsiteX0" fmla="*/ 11327 w 18345"/>
                  <a:gd name="connsiteY0" fmla="*/ 263 h 18409"/>
                  <a:gd name="connsiteX1" fmla="*/ 263 w 18345"/>
                  <a:gd name="connsiteY1" fmla="*/ 6962 h 18409"/>
                  <a:gd name="connsiteX2" fmla="*/ 7021 w 18345"/>
                  <a:gd name="connsiteY2" fmla="*/ 18146 h 18409"/>
                  <a:gd name="connsiteX3" fmla="*/ 18086 w 18345"/>
                  <a:gd name="connsiteY3" fmla="*/ 11447 h 18409"/>
                  <a:gd name="connsiteX4" fmla="*/ 11327 w 18345"/>
                  <a:gd name="connsiteY4" fmla="*/ 26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9">
                    <a:moveTo>
                      <a:pt x="11327" y="263"/>
                    </a:moveTo>
                    <a:cubicBezTo>
                      <a:pt x="6423" y="-933"/>
                      <a:pt x="1459" y="2058"/>
                      <a:pt x="263" y="6962"/>
                    </a:cubicBezTo>
                    <a:cubicBezTo>
                      <a:pt x="-933" y="11926"/>
                      <a:pt x="2057" y="16890"/>
                      <a:pt x="7021" y="18146"/>
                    </a:cubicBezTo>
                    <a:cubicBezTo>
                      <a:pt x="11925" y="19342"/>
                      <a:pt x="16889" y="16351"/>
                      <a:pt x="18086" y="11447"/>
                    </a:cubicBezTo>
                    <a:cubicBezTo>
                      <a:pt x="19282" y="6483"/>
                      <a:pt x="16232" y="1459"/>
                      <a:pt x="11327" y="263"/>
                    </a:cubicBezTo>
                    <a:close/>
                  </a:path>
                </a:pathLst>
              </a:custGeom>
              <a:grpFill/>
              <a:ln w="5978" cap="flat">
                <a:noFill/>
                <a:prstDash val="solid"/>
                <a:miter/>
              </a:ln>
            </p:spPr>
            <p:txBody>
              <a:bodyPr rtlCol="0" anchor="ctr"/>
              <a:lstStyle/>
              <a:p>
                <a:endParaRPr lang="en-GB"/>
              </a:p>
            </p:txBody>
          </p:sp>
        </p:grpSp>
        <p:grpSp>
          <p:nvGrpSpPr>
            <p:cNvPr id="1161" name="Graphic 3">
              <a:extLst>
                <a:ext uri="{FF2B5EF4-FFF2-40B4-BE49-F238E27FC236}">
                  <a16:creationId xmlns:a16="http://schemas.microsoft.com/office/drawing/2014/main" id="{6BE109F7-45D2-4728-87A8-006DC2407FEC}"/>
                </a:ext>
              </a:extLst>
            </p:cNvPr>
            <p:cNvGrpSpPr/>
            <p:nvPr/>
          </p:nvGrpSpPr>
          <p:grpSpPr>
            <a:xfrm>
              <a:off x="4527869" y="4463243"/>
              <a:ext cx="222373" cy="182293"/>
              <a:chOff x="4527869" y="4463243"/>
              <a:chExt cx="222373" cy="182293"/>
            </a:xfrm>
            <a:grpFill/>
          </p:grpSpPr>
          <p:sp>
            <p:nvSpPr>
              <p:cNvPr id="1918" name="Vrije vorm: vorm 1917">
                <a:extLst>
                  <a:ext uri="{FF2B5EF4-FFF2-40B4-BE49-F238E27FC236}">
                    <a16:creationId xmlns:a16="http://schemas.microsoft.com/office/drawing/2014/main" id="{1334E85C-6EA6-4D33-8D85-EFF1194C0EB9}"/>
                  </a:ext>
                </a:extLst>
              </p:cNvPr>
              <p:cNvSpPr/>
              <p:nvPr/>
            </p:nvSpPr>
            <p:spPr>
              <a:xfrm>
                <a:off x="4535739" y="4470988"/>
                <a:ext cx="206633" cy="166802"/>
              </a:xfrm>
              <a:custGeom>
                <a:avLst/>
                <a:gdLst>
                  <a:gd name="connsiteX0" fmla="*/ 206634 w 206633"/>
                  <a:gd name="connsiteY0" fmla="*/ 2392 h 166802"/>
                  <a:gd name="connsiteX1" fmla="*/ 1854 w 206633"/>
                  <a:gd name="connsiteY1" fmla="*/ 166802 h 166802"/>
                  <a:gd name="connsiteX2" fmla="*/ 0 w 206633"/>
                  <a:gd name="connsiteY2" fmla="*/ 164410 h 166802"/>
                  <a:gd name="connsiteX3" fmla="*/ 204720 w 206633"/>
                  <a:gd name="connsiteY3" fmla="*/ 0 h 166802"/>
                </a:gdLst>
                <a:ahLst/>
                <a:cxnLst>
                  <a:cxn ang="0">
                    <a:pos x="connsiteX0" y="connsiteY0"/>
                  </a:cxn>
                  <a:cxn ang="0">
                    <a:pos x="connsiteX1" y="connsiteY1"/>
                  </a:cxn>
                  <a:cxn ang="0">
                    <a:pos x="connsiteX2" y="connsiteY2"/>
                  </a:cxn>
                  <a:cxn ang="0">
                    <a:pos x="connsiteX3" y="connsiteY3"/>
                  </a:cxn>
                </a:cxnLst>
                <a:rect l="l" t="t" r="r" b="b"/>
                <a:pathLst>
                  <a:path w="206633" h="166802">
                    <a:moveTo>
                      <a:pt x="206634" y="2392"/>
                    </a:moveTo>
                    <a:lnTo>
                      <a:pt x="1854" y="166802"/>
                    </a:lnTo>
                    <a:lnTo>
                      <a:pt x="0" y="164410"/>
                    </a:lnTo>
                    <a:lnTo>
                      <a:pt x="204720" y="0"/>
                    </a:lnTo>
                    <a:close/>
                  </a:path>
                </a:pathLst>
              </a:custGeom>
              <a:grpFill/>
              <a:ln w="5978" cap="flat">
                <a:noFill/>
                <a:prstDash val="solid"/>
                <a:miter/>
              </a:ln>
            </p:spPr>
            <p:txBody>
              <a:bodyPr rtlCol="0" anchor="ctr"/>
              <a:lstStyle/>
              <a:p>
                <a:endParaRPr lang="en-GB"/>
              </a:p>
            </p:txBody>
          </p:sp>
          <p:sp>
            <p:nvSpPr>
              <p:cNvPr id="1919" name="Vrije vorm: vorm 1918">
                <a:extLst>
                  <a:ext uri="{FF2B5EF4-FFF2-40B4-BE49-F238E27FC236}">
                    <a16:creationId xmlns:a16="http://schemas.microsoft.com/office/drawing/2014/main" id="{5D7DB39C-BDE9-4763-BC67-103AEBDB5349}"/>
                  </a:ext>
                </a:extLst>
              </p:cNvPr>
              <p:cNvSpPr/>
              <p:nvPr/>
            </p:nvSpPr>
            <p:spPr>
              <a:xfrm>
                <a:off x="4527869" y="4627114"/>
                <a:ext cx="18311" cy="18421"/>
              </a:xfrm>
              <a:custGeom>
                <a:avLst/>
                <a:gdLst>
                  <a:gd name="connsiteX0" fmla="*/ 14867 w 18311"/>
                  <a:gd name="connsiteY0" fmla="*/ 16418 h 18421"/>
                  <a:gd name="connsiteX1" fmla="*/ 2009 w 18311"/>
                  <a:gd name="connsiteY1" fmla="*/ 14923 h 18421"/>
                  <a:gd name="connsiteX2" fmla="*/ 3444 w 18311"/>
                  <a:gd name="connsiteY2" fmla="*/ 2004 h 18421"/>
                  <a:gd name="connsiteX3" fmla="*/ 16303 w 18311"/>
                  <a:gd name="connsiteY3" fmla="*/ 3499 h 18421"/>
                  <a:gd name="connsiteX4" fmla="*/ 14867 w 18311"/>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14867" y="16418"/>
                    </a:moveTo>
                    <a:cubicBezTo>
                      <a:pt x="10920" y="19587"/>
                      <a:pt x="5178" y="18930"/>
                      <a:pt x="2009" y="14923"/>
                    </a:cubicBezTo>
                    <a:cubicBezTo>
                      <a:pt x="-1161" y="10915"/>
                      <a:pt x="-503" y="5174"/>
                      <a:pt x="3444" y="2004"/>
                    </a:cubicBezTo>
                    <a:cubicBezTo>
                      <a:pt x="7391" y="-1166"/>
                      <a:pt x="13133" y="-508"/>
                      <a:pt x="16303" y="3499"/>
                    </a:cubicBezTo>
                    <a:cubicBezTo>
                      <a:pt x="19472" y="7447"/>
                      <a:pt x="18815" y="13248"/>
                      <a:pt x="14867" y="16418"/>
                    </a:cubicBezTo>
                    <a:close/>
                  </a:path>
                </a:pathLst>
              </a:custGeom>
              <a:grpFill/>
              <a:ln w="5978" cap="flat">
                <a:noFill/>
                <a:prstDash val="solid"/>
                <a:miter/>
              </a:ln>
            </p:spPr>
            <p:txBody>
              <a:bodyPr rtlCol="0" anchor="ctr"/>
              <a:lstStyle/>
              <a:p>
                <a:endParaRPr lang="en-GB"/>
              </a:p>
            </p:txBody>
          </p:sp>
          <p:sp>
            <p:nvSpPr>
              <p:cNvPr id="1920" name="Vrije vorm: vorm 1919">
                <a:extLst>
                  <a:ext uri="{FF2B5EF4-FFF2-40B4-BE49-F238E27FC236}">
                    <a16:creationId xmlns:a16="http://schemas.microsoft.com/office/drawing/2014/main" id="{17C544A8-937C-495F-AFE4-7566C774DE49}"/>
                  </a:ext>
                </a:extLst>
              </p:cNvPr>
              <p:cNvSpPr/>
              <p:nvPr/>
            </p:nvSpPr>
            <p:spPr>
              <a:xfrm>
                <a:off x="4731931" y="4463243"/>
                <a:ext cx="18311" cy="18421"/>
              </a:xfrm>
              <a:custGeom>
                <a:avLst/>
                <a:gdLst>
                  <a:gd name="connsiteX0" fmla="*/ 14867 w 18311"/>
                  <a:gd name="connsiteY0" fmla="*/ 16418 h 18421"/>
                  <a:gd name="connsiteX1" fmla="*/ 16303 w 18311"/>
                  <a:gd name="connsiteY1" fmla="*/ 3499 h 18421"/>
                  <a:gd name="connsiteX2" fmla="*/ 3444 w 18311"/>
                  <a:gd name="connsiteY2" fmla="*/ 2004 h 18421"/>
                  <a:gd name="connsiteX3" fmla="*/ 2009 w 18311"/>
                  <a:gd name="connsiteY3" fmla="*/ 14922 h 18421"/>
                  <a:gd name="connsiteX4" fmla="*/ 14867 w 18311"/>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14867" y="16418"/>
                    </a:moveTo>
                    <a:cubicBezTo>
                      <a:pt x="18815" y="13248"/>
                      <a:pt x="19472" y="7447"/>
                      <a:pt x="16303" y="3499"/>
                    </a:cubicBezTo>
                    <a:cubicBezTo>
                      <a:pt x="13133" y="-508"/>
                      <a:pt x="7391" y="-1166"/>
                      <a:pt x="3444" y="2004"/>
                    </a:cubicBezTo>
                    <a:cubicBezTo>
                      <a:pt x="-503" y="5174"/>
                      <a:pt x="-1161" y="10975"/>
                      <a:pt x="2009" y="14922"/>
                    </a:cubicBezTo>
                    <a:cubicBezTo>
                      <a:pt x="5178" y="18929"/>
                      <a:pt x="10920" y="19588"/>
                      <a:pt x="14867" y="16418"/>
                    </a:cubicBezTo>
                    <a:close/>
                  </a:path>
                </a:pathLst>
              </a:custGeom>
              <a:grpFill/>
              <a:ln w="5978" cap="flat">
                <a:noFill/>
                <a:prstDash val="solid"/>
                <a:miter/>
              </a:ln>
            </p:spPr>
            <p:txBody>
              <a:bodyPr rtlCol="0" anchor="ctr"/>
              <a:lstStyle/>
              <a:p>
                <a:endParaRPr lang="en-GB"/>
              </a:p>
            </p:txBody>
          </p:sp>
        </p:grpSp>
        <p:grpSp>
          <p:nvGrpSpPr>
            <p:cNvPr id="1162" name="Graphic 3">
              <a:extLst>
                <a:ext uri="{FF2B5EF4-FFF2-40B4-BE49-F238E27FC236}">
                  <a16:creationId xmlns:a16="http://schemas.microsoft.com/office/drawing/2014/main" id="{CBCC45E8-F158-4D19-8339-C1328B882AF3}"/>
                </a:ext>
              </a:extLst>
            </p:cNvPr>
            <p:cNvGrpSpPr/>
            <p:nvPr/>
          </p:nvGrpSpPr>
          <p:grpSpPr>
            <a:xfrm>
              <a:off x="4519568" y="4396525"/>
              <a:ext cx="161106" cy="120414"/>
              <a:chOff x="4519568" y="4396525"/>
              <a:chExt cx="161106" cy="120414"/>
            </a:xfrm>
            <a:grpFill/>
          </p:grpSpPr>
          <p:sp>
            <p:nvSpPr>
              <p:cNvPr id="1915" name="Vrije vorm: vorm 1914">
                <a:extLst>
                  <a:ext uri="{FF2B5EF4-FFF2-40B4-BE49-F238E27FC236}">
                    <a16:creationId xmlns:a16="http://schemas.microsoft.com/office/drawing/2014/main" id="{B845CA56-DC25-4250-B1F8-BB8A95FD9C26}"/>
                  </a:ext>
                </a:extLst>
              </p:cNvPr>
              <p:cNvSpPr/>
              <p:nvPr/>
            </p:nvSpPr>
            <p:spPr>
              <a:xfrm>
                <a:off x="4527486" y="4404243"/>
                <a:ext cx="145271" cy="105021"/>
              </a:xfrm>
              <a:custGeom>
                <a:avLst/>
                <a:gdLst>
                  <a:gd name="connsiteX0" fmla="*/ 145272 w 145271"/>
                  <a:gd name="connsiteY0" fmla="*/ 2452 h 105021"/>
                  <a:gd name="connsiteX1" fmla="*/ 1794 w 145271"/>
                  <a:gd name="connsiteY1" fmla="*/ 105021 h 105021"/>
                  <a:gd name="connsiteX2" fmla="*/ 0 w 145271"/>
                  <a:gd name="connsiteY2" fmla="*/ 102510 h 105021"/>
                  <a:gd name="connsiteX3" fmla="*/ 143537 w 145271"/>
                  <a:gd name="connsiteY3" fmla="*/ 0 h 105021"/>
                </a:gdLst>
                <a:ahLst/>
                <a:cxnLst>
                  <a:cxn ang="0">
                    <a:pos x="connsiteX0" y="connsiteY0"/>
                  </a:cxn>
                  <a:cxn ang="0">
                    <a:pos x="connsiteX1" y="connsiteY1"/>
                  </a:cxn>
                  <a:cxn ang="0">
                    <a:pos x="connsiteX2" y="connsiteY2"/>
                  </a:cxn>
                  <a:cxn ang="0">
                    <a:pos x="connsiteX3" y="connsiteY3"/>
                  </a:cxn>
                </a:cxnLst>
                <a:rect l="l" t="t" r="r" b="b"/>
                <a:pathLst>
                  <a:path w="145271" h="105021">
                    <a:moveTo>
                      <a:pt x="145272" y="2452"/>
                    </a:moveTo>
                    <a:lnTo>
                      <a:pt x="1794" y="105021"/>
                    </a:lnTo>
                    <a:lnTo>
                      <a:pt x="0" y="102510"/>
                    </a:lnTo>
                    <a:lnTo>
                      <a:pt x="143537" y="0"/>
                    </a:lnTo>
                    <a:close/>
                  </a:path>
                </a:pathLst>
              </a:custGeom>
              <a:grpFill/>
              <a:ln w="5978" cap="flat">
                <a:noFill/>
                <a:prstDash val="solid"/>
                <a:miter/>
              </a:ln>
            </p:spPr>
            <p:txBody>
              <a:bodyPr rtlCol="0" anchor="ctr"/>
              <a:lstStyle/>
              <a:p>
                <a:endParaRPr lang="en-GB"/>
              </a:p>
            </p:txBody>
          </p:sp>
          <p:sp>
            <p:nvSpPr>
              <p:cNvPr id="1916" name="Vrije vorm: vorm 1915">
                <a:extLst>
                  <a:ext uri="{FF2B5EF4-FFF2-40B4-BE49-F238E27FC236}">
                    <a16:creationId xmlns:a16="http://schemas.microsoft.com/office/drawing/2014/main" id="{DDF10E02-57CA-4DF4-BB12-FD655575D051}"/>
                  </a:ext>
                </a:extLst>
              </p:cNvPr>
              <p:cNvSpPr/>
              <p:nvPr/>
            </p:nvSpPr>
            <p:spPr>
              <a:xfrm>
                <a:off x="4519568" y="4498480"/>
                <a:ext cx="18346" cy="18459"/>
              </a:xfrm>
              <a:custGeom>
                <a:avLst/>
                <a:gdLst>
                  <a:gd name="connsiteX0" fmla="*/ 14496 w 18346"/>
                  <a:gd name="connsiteY0" fmla="*/ 16765 h 18459"/>
                  <a:gd name="connsiteX1" fmla="*/ 1697 w 18346"/>
                  <a:gd name="connsiteY1" fmla="*/ 14553 h 18459"/>
                  <a:gd name="connsiteX2" fmla="*/ 3850 w 18346"/>
                  <a:gd name="connsiteY2" fmla="*/ 1694 h 18459"/>
                  <a:gd name="connsiteX3" fmla="*/ 16649 w 18346"/>
                  <a:gd name="connsiteY3" fmla="*/ 3907 h 18459"/>
                  <a:gd name="connsiteX4" fmla="*/ 14496 w 18346"/>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9">
                    <a:moveTo>
                      <a:pt x="14496" y="16765"/>
                    </a:moveTo>
                    <a:cubicBezTo>
                      <a:pt x="10369" y="19696"/>
                      <a:pt x="4628" y="18739"/>
                      <a:pt x="1697" y="14553"/>
                    </a:cubicBezTo>
                    <a:cubicBezTo>
                      <a:pt x="-1233" y="10426"/>
                      <a:pt x="-276" y="4624"/>
                      <a:pt x="3850" y="1694"/>
                    </a:cubicBezTo>
                    <a:cubicBezTo>
                      <a:pt x="7977" y="-1237"/>
                      <a:pt x="13719" y="-280"/>
                      <a:pt x="16649" y="3907"/>
                    </a:cubicBezTo>
                    <a:cubicBezTo>
                      <a:pt x="19580" y="8093"/>
                      <a:pt x="18623" y="13835"/>
                      <a:pt x="14496" y="16765"/>
                    </a:cubicBezTo>
                    <a:close/>
                  </a:path>
                </a:pathLst>
              </a:custGeom>
              <a:grpFill/>
              <a:ln w="5978" cap="flat">
                <a:noFill/>
                <a:prstDash val="solid"/>
                <a:miter/>
              </a:ln>
            </p:spPr>
            <p:txBody>
              <a:bodyPr rtlCol="0" anchor="ctr"/>
              <a:lstStyle/>
              <a:p>
                <a:endParaRPr lang="en-GB"/>
              </a:p>
            </p:txBody>
          </p:sp>
          <p:sp>
            <p:nvSpPr>
              <p:cNvPr id="1917" name="Vrije vorm: vorm 1916">
                <a:extLst>
                  <a:ext uri="{FF2B5EF4-FFF2-40B4-BE49-F238E27FC236}">
                    <a16:creationId xmlns:a16="http://schemas.microsoft.com/office/drawing/2014/main" id="{7D98A986-7B43-4642-89F2-549851E42822}"/>
                  </a:ext>
                </a:extLst>
              </p:cNvPr>
              <p:cNvSpPr/>
              <p:nvPr/>
            </p:nvSpPr>
            <p:spPr>
              <a:xfrm>
                <a:off x="4662328" y="4396525"/>
                <a:ext cx="18346" cy="18426"/>
              </a:xfrm>
              <a:custGeom>
                <a:avLst/>
                <a:gdLst>
                  <a:gd name="connsiteX0" fmla="*/ 14496 w 18346"/>
                  <a:gd name="connsiteY0" fmla="*/ 16749 h 18426"/>
                  <a:gd name="connsiteX1" fmla="*/ 16649 w 18346"/>
                  <a:gd name="connsiteY1" fmla="*/ 3890 h 18426"/>
                  <a:gd name="connsiteX2" fmla="*/ 3850 w 18346"/>
                  <a:gd name="connsiteY2" fmla="*/ 1677 h 18426"/>
                  <a:gd name="connsiteX3" fmla="*/ 1697 w 18346"/>
                  <a:gd name="connsiteY3" fmla="*/ 14536 h 18426"/>
                  <a:gd name="connsiteX4" fmla="*/ 14496 w 18346"/>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6">
                    <a:moveTo>
                      <a:pt x="14496" y="16749"/>
                    </a:moveTo>
                    <a:cubicBezTo>
                      <a:pt x="18623" y="13818"/>
                      <a:pt x="19580" y="8077"/>
                      <a:pt x="16649" y="3890"/>
                    </a:cubicBezTo>
                    <a:cubicBezTo>
                      <a:pt x="13719" y="-237"/>
                      <a:pt x="7977" y="-1253"/>
                      <a:pt x="3850" y="1677"/>
                    </a:cubicBezTo>
                    <a:cubicBezTo>
                      <a:pt x="-276" y="4608"/>
                      <a:pt x="-1233" y="10349"/>
                      <a:pt x="1697" y="14536"/>
                    </a:cubicBezTo>
                    <a:cubicBezTo>
                      <a:pt x="4688" y="18663"/>
                      <a:pt x="10429" y="19679"/>
                      <a:pt x="14496" y="16749"/>
                    </a:cubicBezTo>
                    <a:close/>
                  </a:path>
                </a:pathLst>
              </a:custGeom>
              <a:grpFill/>
              <a:ln w="5978" cap="flat">
                <a:noFill/>
                <a:prstDash val="solid"/>
                <a:miter/>
              </a:ln>
            </p:spPr>
            <p:txBody>
              <a:bodyPr rtlCol="0" anchor="ctr"/>
              <a:lstStyle/>
              <a:p>
                <a:endParaRPr lang="en-GB"/>
              </a:p>
            </p:txBody>
          </p:sp>
        </p:grpSp>
        <p:grpSp>
          <p:nvGrpSpPr>
            <p:cNvPr id="1163" name="Graphic 3">
              <a:extLst>
                <a:ext uri="{FF2B5EF4-FFF2-40B4-BE49-F238E27FC236}">
                  <a16:creationId xmlns:a16="http://schemas.microsoft.com/office/drawing/2014/main" id="{53CDB60F-9D5A-4916-B686-4CF0AFB49E53}"/>
                </a:ext>
              </a:extLst>
            </p:cNvPr>
            <p:cNvGrpSpPr/>
            <p:nvPr/>
          </p:nvGrpSpPr>
          <p:grpSpPr>
            <a:xfrm>
              <a:off x="4072751" y="2920761"/>
              <a:ext cx="21990" cy="19305"/>
              <a:chOff x="4072751" y="2920761"/>
              <a:chExt cx="21990" cy="19305"/>
            </a:xfrm>
            <a:grpFill/>
          </p:grpSpPr>
          <p:sp>
            <p:nvSpPr>
              <p:cNvPr id="1913" name="Vrije vorm: vorm 1912">
                <a:extLst>
                  <a:ext uri="{FF2B5EF4-FFF2-40B4-BE49-F238E27FC236}">
                    <a16:creationId xmlns:a16="http://schemas.microsoft.com/office/drawing/2014/main" id="{874359A0-93B8-4038-B0D1-40DC31C0FB64}"/>
                  </a:ext>
                </a:extLst>
              </p:cNvPr>
              <p:cNvSpPr/>
              <p:nvPr/>
            </p:nvSpPr>
            <p:spPr>
              <a:xfrm>
                <a:off x="4072751" y="2920761"/>
                <a:ext cx="18342" cy="18408"/>
              </a:xfrm>
              <a:custGeom>
                <a:avLst/>
                <a:gdLst>
                  <a:gd name="connsiteX0" fmla="*/ 11324 w 18342"/>
                  <a:gd name="connsiteY0" fmla="*/ 263 h 18408"/>
                  <a:gd name="connsiteX1" fmla="*/ 18082 w 18342"/>
                  <a:gd name="connsiteY1" fmla="*/ 11387 h 18408"/>
                  <a:gd name="connsiteX2" fmla="*/ 7018 w 18342"/>
                  <a:gd name="connsiteY2" fmla="*/ 18145 h 18408"/>
                  <a:gd name="connsiteX3" fmla="*/ 260 w 18342"/>
                  <a:gd name="connsiteY3" fmla="*/ 7021 h 18408"/>
                  <a:gd name="connsiteX4" fmla="*/ 11324 w 18342"/>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11324" y="263"/>
                    </a:moveTo>
                    <a:cubicBezTo>
                      <a:pt x="16228" y="1459"/>
                      <a:pt x="19279" y="6483"/>
                      <a:pt x="18082" y="11387"/>
                    </a:cubicBezTo>
                    <a:cubicBezTo>
                      <a:pt x="16886" y="16351"/>
                      <a:pt x="11922" y="19342"/>
                      <a:pt x="7018" y="18145"/>
                    </a:cubicBezTo>
                    <a:cubicBezTo>
                      <a:pt x="2114" y="16949"/>
                      <a:pt x="-936" y="11925"/>
                      <a:pt x="260" y="7021"/>
                    </a:cubicBezTo>
                    <a:cubicBezTo>
                      <a:pt x="1456" y="2057"/>
                      <a:pt x="6420" y="-933"/>
                      <a:pt x="11324" y="263"/>
                    </a:cubicBezTo>
                    <a:close/>
                  </a:path>
                </a:pathLst>
              </a:custGeom>
              <a:grpFill/>
              <a:ln w="5978" cap="flat">
                <a:noFill/>
                <a:prstDash val="solid"/>
                <a:miter/>
              </a:ln>
            </p:spPr>
            <p:txBody>
              <a:bodyPr rtlCol="0" anchor="ctr"/>
              <a:lstStyle/>
              <a:p>
                <a:endParaRPr lang="en-GB"/>
              </a:p>
            </p:txBody>
          </p:sp>
          <p:sp>
            <p:nvSpPr>
              <p:cNvPr id="1914" name="Vrije vorm: vorm 1913">
                <a:extLst>
                  <a:ext uri="{FF2B5EF4-FFF2-40B4-BE49-F238E27FC236}">
                    <a16:creationId xmlns:a16="http://schemas.microsoft.com/office/drawing/2014/main" id="{C62BFDFC-71FE-4D12-900F-74E4359CF5E5}"/>
                  </a:ext>
                </a:extLst>
              </p:cNvPr>
              <p:cNvSpPr/>
              <p:nvPr/>
            </p:nvSpPr>
            <p:spPr>
              <a:xfrm>
                <a:off x="4076399" y="2921658"/>
                <a:ext cx="18342" cy="18408"/>
              </a:xfrm>
              <a:custGeom>
                <a:avLst/>
                <a:gdLst>
                  <a:gd name="connsiteX0" fmla="*/ 11324 w 18342"/>
                  <a:gd name="connsiteY0" fmla="*/ 263 h 18408"/>
                  <a:gd name="connsiteX1" fmla="*/ 260 w 18342"/>
                  <a:gd name="connsiteY1" fmla="*/ 7021 h 18408"/>
                  <a:gd name="connsiteX2" fmla="*/ 7018 w 18342"/>
                  <a:gd name="connsiteY2" fmla="*/ 18145 h 18408"/>
                  <a:gd name="connsiteX3" fmla="*/ 18082 w 18342"/>
                  <a:gd name="connsiteY3" fmla="*/ 11387 h 18408"/>
                  <a:gd name="connsiteX4" fmla="*/ 11324 w 18342"/>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11324" y="263"/>
                    </a:moveTo>
                    <a:cubicBezTo>
                      <a:pt x="6420" y="-933"/>
                      <a:pt x="1456" y="2057"/>
                      <a:pt x="260" y="7021"/>
                    </a:cubicBezTo>
                    <a:cubicBezTo>
                      <a:pt x="-936" y="11985"/>
                      <a:pt x="2114" y="16949"/>
                      <a:pt x="7018" y="18145"/>
                    </a:cubicBezTo>
                    <a:cubicBezTo>
                      <a:pt x="11922" y="19342"/>
                      <a:pt x="16886" y="16351"/>
                      <a:pt x="18082" y="11387"/>
                    </a:cubicBezTo>
                    <a:cubicBezTo>
                      <a:pt x="19279" y="6483"/>
                      <a:pt x="16228" y="1459"/>
                      <a:pt x="11324" y="263"/>
                    </a:cubicBezTo>
                    <a:close/>
                  </a:path>
                </a:pathLst>
              </a:custGeom>
              <a:grpFill/>
              <a:ln w="5978" cap="flat">
                <a:noFill/>
                <a:prstDash val="solid"/>
                <a:miter/>
              </a:ln>
            </p:spPr>
            <p:txBody>
              <a:bodyPr rtlCol="0" anchor="ctr"/>
              <a:lstStyle/>
              <a:p>
                <a:endParaRPr lang="en-GB"/>
              </a:p>
            </p:txBody>
          </p:sp>
        </p:grpSp>
        <p:grpSp>
          <p:nvGrpSpPr>
            <p:cNvPr id="1164" name="Graphic 3">
              <a:extLst>
                <a:ext uri="{FF2B5EF4-FFF2-40B4-BE49-F238E27FC236}">
                  <a16:creationId xmlns:a16="http://schemas.microsoft.com/office/drawing/2014/main" id="{8589B969-58BE-4EA1-B22B-9041882184D4}"/>
                </a:ext>
              </a:extLst>
            </p:cNvPr>
            <p:cNvGrpSpPr/>
            <p:nvPr/>
          </p:nvGrpSpPr>
          <p:grpSpPr>
            <a:xfrm>
              <a:off x="4540292" y="4649665"/>
              <a:ext cx="335324" cy="294185"/>
              <a:chOff x="4540292" y="4649665"/>
              <a:chExt cx="335324" cy="294185"/>
            </a:xfrm>
            <a:grpFill/>
          </p:grpSpPr>
          <p:sp>
            <p:nvSpPr>
              <p:cNvPr id="1910" name="Vrije vorm: vorm 1909">
                <a:extLst>
                  <a:ext uri="{FF2B5EF4-FFF2-40B4-BE49-F238E27FC236}">
                    <a16:creationId xmlns:a16="http://schemas.microsoft.com/office/drawing/2014/main" id="{78B301FF-135A-491A-BBC6-F0802C6FFE8E}"/>
                  </a:ext>
                </a:extLst>
              </p:cNvPr>
              <p:cNvSpPr/>
              <p:nvPr/>
            </p:nvSpPr>
            <p:spPr>
              <a:xfrm>
                <a:off x="4548119" y="4657467"/>
                <a:ext cx="319669" cy="278701"/>
              </a:xfrm>
              <a:custGeom>
                <a:avLst/>
                <a:gdLst>
                  <a:gd name="connsiteX0" fmla="*/ 319670 w 319669"/>
                  <a:gd name="connsiteY0" fmla="*/ 2273 h 278701"/>
                  <a:gd name="connsiteX1" fmla="*/ 1974 w 319669"/>
                  <a:gd name="connsiteY1" fmla="*/ 278702 h 278701"/>
                  <a:gd name="connsiteX2" fmla="*/ 0 w 319669"/>
                  <a:gd name="connsiteY2" fmla="*/ 276369 h 278701"/>
                  <a:gd name="connsiteX3" fmla="*/ 317696 w 319669"/>
                  <a:gd name="connsiteY3" fmla="*/ 0 h 278701"/>
                </a:gdLst>
                <a:ahLst/>
                <a:cxnLst>
                  <a:cxn ang="0">
                    <a:pos x="connsiteX0" y="connsiteY0"/>
                  </a:cxn>
                  <a:cxn ang="0">
                    <a:pos x="connsiteX1" y="connsiteY1"/>
                  </a:cxn>
                  <a:cxn ang="0">
                    <a:pos x="connsiteX2" y="connsiteY2"/>
                  </a:cxn>
                  <a:cxn ang="0">
                    <a:pos x="connsiteX3" y="connsiteY3"/>
                  </a:cxn>
                </a:cxnLst>
                <a:rect l="l" t="t" r="r" b="b"/>
                <a:pathLst>
                  <a:path w="319669" h="278701">
                    <a:moveTo>
                      <a:pt x="319670" y="2273"/>
                    </a:moveTo>
                    <a:lnTo>
                      <a:pt x="1974" y="278702"/>
                    </a:lnTo>
                    <a:lnTo>
                      <a:pt x="0" y="276369"/>
                    </a:lnTo>
                    <a:lnTo>
                      <a:pt x="317696" y="0"/>
                    </a:lnTo>
                    <a:close/>
                  </a:path>
                </a:pathLst>
              </a:custGeom>
              <a:grpFill/>
              <a:ln w="5978" cap="flat">
                <a:noFill/>
                <a:prstDash val="solid"/>
                <a:miter/>
              </a:ln>
            </p:spPr>
            <p:txBody>
              <a:bodyPr rtlCol="0" anchor="ctr"/>
              <a:lstStyle/>
              <a:p>
                <a:endParaRPr lang="en-GB"/>
              </a:p>
            </p:txBody>
          </p:sp>
          <p:sp>
            <p:nvSpPr>
              <p:cNvPr id="1911" name="Vrije vorm: vorm 1910">
                <a:extLst>
                  <a:ext uri="{FF2B5EF4-FFF2-40B4-BE49-F238E27FC236}">
                    <a16:creationId xmlns:a16="http://schemas.microsoft.com/office/drawing/2014/main" id="{B287F0D3-9151-4B43-A8DB-49D1488CF957}"/>
                  </a:ext>
                </a:extLst>
              </p:cNvPr>
              <p:cNvSpPr/>
              <p:nvPr/>
            </p:nvSpPr>
            <p:spPr>
              <a:xfrm>
                <a:off x="4857270" y="4649665"/>
                <a:ext cx="18346" cy="18414"/>
              </a:xfrm>
              <a:custGeom>
                <a:avLst/>
                <a:gdLst>
                  <a:gd name="connsiteX0" fmla="*/ 3162 w 18346"/>
                  <a:gd name="connsiteY0" fmla="*/ 2240 h 18414"/>
                  <a:gd name="connsiteX1" fmla="*/ 16081 w 18346"/>
                  <a:gd name="connsiteY1" fmla="*/ 3197 h 18414"/>
                  <a:gd name="connsiteX2" fmla="*/ 15184 w 18346"/>
                  <a:gd name="connsiteY2" fmla="*/ 16175 h 18414"/>
                  <a:gd name="connsiteX3" fmla="*/ 2265 w 18346"/>
                  <a:gd name="connsiteY3" fmla="*/ 15218 h 18414"/>
                  <a:gd name="connsiteX4" fmla="*/ 3162 w 18346"/>
                  <a:gd name="connsiteY4" fmla="*/ 2240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4">
                    <a:moveTo>
                      <a:pt x="3162" y="2240"/>
                    </a:moveTo>
                    <a:cubicBezTo>
                      <a:pt x="6990" y="-1110"/>
                      <a:pt x="12791" y="-631"/>
                      <a:pt x="16081" y="3197"/>
                    </a:cubicBezTo>
                    <a:cubicBezTo>
                      <a:pt x="19430" y="7024"/>
                      <a:pt x="19011" y="12886"/>
                      <a:pt x="15184" y="16175"/>
                    </a:cubicBezTo>
                    <a:cubicBezTo>
                      <a:pt x="11356" y="19524"/>
                      <a:pt x="5555" y="19045"/>
                      <a:pt x="2265" y="15218"/>
                    </a:cubicBezTo>
                    <a:cubicBezTo>
                      <a:pt x="-1084" y="11390"/>
                      <a:pt x="-665" y="5589"/>
                      <a:pt x="3162" y="2240"/>
                    </a:cubicBezTo>
                    <a:close/>
                  </a:path>
                </a:pathLst>
              </a:custGeom>
              <a:grpFill/>
              <a:ln w="5978" cap="flat">
                <a:noFill/>
                <a:prstDash val="solid"/>
                <a:miter/>
              </a:ln>
            </p:spPr>
            <p:txBody>
              <a:bodyPr rtlCol="0" anchor="ctr"/>
              <a:lstStyle/>
              <a:p>
                <a:endParaRPr lang="en-GB"/>
              </a:p>
            </p:txBody>
          </p:sp>
          <p:sp>
            <p:nvSpPr>
              <p:cNvPr id="1912" name="Vrije vorm: vorm 1911">
                <a:extLst>
                  <a:ext uri="{FF2B5EF4-FFF2-40B4-BE49-F238E27FC236}">
                    <a16:creationId xmlns:a16="http://schemas.microsoft.com/office/drawing/2014/main" id="{DB86D5CE-4D45-4052-83CD-1D40B8056475}"/>
                  </a:ext>
                </a:extLst>
              </p:cNvPr>
              <p:cNvSpPr/>
              <p:nvPr/>
            </p:nvSpPr>
            <p:spPr>
              <a:xfrm>
                <a:off x="4540292" y="4925461"/>
                <a:ext cx="18346" cy="18390"/>
              </a:xfrm>
              <a:custGeom>
                <a:avLst/>
                <a:gdLst>
                  <a:gd name="connsiteX0" fmla="*/ 3162 w 18346"/>
                  <a:gd name="connsiteY0" fmla="*/ 2216 h 18390"/>
                  <a:gd name="connsiteX1" fmla="*/ 2265 w 18346"/>
                  <a:gd name="connsiteY1" fmla="*/ 15194 h 18390"/>
                  <a:gd name="connsiteX2" fmla="*/ 15184 w 18346"/>
                  <a:gd name="connsiteY2" fmla="*/ 16150 h 18390"/>
                  <a:gd name="connsiteX3" fmla="*/ 16081 w 18346"/>
                  <a:gd name="connsiteY3" fmla="*/ 3172 h 18390"/>
                  <a:gd name="connsiteX4" fmla="*/ 3162 w 18346"/>
                  <a:gd name="connsiteY4" fmla="*/ 2216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0">
                    <a:moveTo>
                      <a:pt x="3162" y="2216"/>
                    </a:moveTo>
                    <a:cubicBezTo>
                      <a:pt x="-665" y="5565"/>
                      <a:pt x="-1084" y="11366"/>
                      <a:pt x="2265" y="15194"/>
                    </a:cubicBezTo>
                    <a:cubicBezTo>
                      <a:pt x="5615" y="19021"/>
                      <a:pt x="11356" y="19500"/>
                      <a:pt x="15184" y="16150"/>
                    </a:cubicBezTo>
                    <a:cubicBezTo>
                      <a:pt x="19011" y="12801"/>
                      <a:pt x="19430" y="7000"/>
                      <a:pt x="16081" y="3172"/>
                    </a:cubicBezTo>
                    <a:cubicBezTo>
                      <a:pt x="12732" y="-655"/>
                      <a:pt x="6990" y="-1074"/>
                      <a:pt x="3162" y="2216"/>
                    </a:cubicBezTo>
                    <a:close/>
                  </a:path>
                </a:pathLst>
              </a:custGeom>
              <a:grpFill/>
              <a:ln w="5978" cap="flat">
                <a:noFill/>
                <a:prstDash val="solid"/>
                <a:miter/>
              </a:ln>
            </p:spPr>
            <p:txBody>
              <a:bodyPr rtlCol="0" anchor="ctr"/>
              <a:lstStyle/>
              <a:p>
                <a:endParaRPr lang="en-GB"/>
              </a:p>
            </p:txBody>
          </p:sp>
        </p:grpSp>
        <p:grpSp>
          <p:nvGrpSpPr>
            <p:cNvPr id="1165" name="Graphic 3">
              <a:extLst>
                <a:ext uri="{FF2B5EF4-FFF2-40B4-BE49-F238E27FC236}">
                  <a16:creationId xmlns:a16="http://schemas.microsoft.com/office/drawing/2014/main" id="{F3346500-3377-42D4-8473-018A1CAC1D27}"/>
                </a:ext>
              </a:extLst>
            </p:cNvPr>
            <p:cNvGrpSpPr/>
            <p:nvPr/>
          </p:nvGrpSpPr>
          <p:grpSpPr>
            <a:xfrm>
              <a:off x="4503340" y="4484405"/>
              <a:ext cx="269158" cy="181999"/>
              <a:chOff x="4503340" y="4484405"/>
              <a:chExt cx="269158" cy="181999"/>
            </a:xfrm>
            <a:grpFill/>
          </p:grpSpPr>
          <p:sp>
            <p:nvSpPr>
              <p:cNvPr id="1907" name="Vrije vorm: vorm 1906">
                <a:extLst>
                  <a:ext uri="{FF2B5EF4-FFF2-40B4-BE49-F238E27FC236}">
                    <a16:creationId xmlns:a16="http://schemas.microsoft.com/office/drawing/2014/main" id="{9009B307-6F2A-432D-8EB4-568CDBC23CAD}"/>
                  </a:ext>
                </a:extLst>
              </p:cNvPr>
              <p:cNvSpPr/>
              <p:nvPr/>
            </p:nvSpPr>
            <p:spPr>
              <a:xfrm>
                <a:off x="4511278" y="4492040"/>
                <a:ext cx="253283" cy="166682"/>
              </a:xfrm>
              <a:custGeom>
                <a:avLst/>
                <a:gdLst>
                  <a:gd name="connsiteX0" fmla="*/ 253284 w 253283"/>
                  <a:gd name="connsiteY0" fmla="*/ 2572 h 166682"/>
                  <a:gd name="connsiteX1" fmla="*/ 1675 w 253283"/>
                  <a:gd name="connsiteY1" fmla="*/ 166683 h 166682"/>
                  <a:gd name="connsiteX2" fmla="*/ 0 w 253283"/>
                  <a:gd name="connsiteY2" fmla="*/ 164111 h 166682"/>
                  <a:gd name="connsiteX3" fmla="*/ 251609 w 253283"/>
                  <a:gd name="connsiteY3" fmla="*/ 0 h 166682"/>
                </a:gdLst>
                <a:ahLst/>
                <a:cxnLst>
                  <a:cxn ang="0">
                    <a:pos x="connsiteX0" y="connsiteY0"/>
                  </a:cxn>
                  <a:cxn ang="0">
                    <a:pos x="connsiteX1" y="connsiteY1"/>
                  </a:cxn>
                  <a:cxn ang="0">
                    <a:pos x="connsiteX2" y="connsiteY2"/>
                  </a:cxn>
                  <a:cxn ang="0">
                    <a:pos x="connsiteX3" y="connsiteY3"/>
                  </a:cxn>
                </a:cxnLst>
                <a:rect l="l" t="t" r="r" b="b"/>
                <a:pathLst>
                  <a:path w="253283" h="166682">
                    <a:moveTo>
                      <a:pt x="253284" y="2572"/>
                    </a:moveTo>
                    <a:lnTo>
                      <a:pt x="1675" y="166683"/>
                    </a:lnTo>
                    <a:lnTo>
                      <a:pt x="0" y="164111"/>
                    </a:lnTo>
                    <a:lnTo>
                      <a:pt x="251609" y="0"/>
                    </a:lnTo>
                    <a:close/>
                  </a:path>
                </a:pathLst>
              </a:custGeom>
              <a:grpFill/>
              <a:ln w="5978" cap="flat">
                <a:noFill/>
                <a:prstDash val="solid"/>
                <a:miter/>
              </a:ln>
            </p:spPr>
            <p:txBody>
              <a:bodyPr rtlCol="0" anchor="ctr"/>
              <a:lstStyle/>
              <a:p>
                <a:endParaRPr lang="en-GB"/>
              </a:p>
            </p:txBody>
          </p:sp>
          <p:sp>
            <p:nvSpPr>
              <p:cNvPr id="1908" name="Vrije vorm: vorm 1907">
                <a:extLst>
                  <a:ext uri="{FF2B5EF4-FFF2-40B4-BE49-F238E27FC236}">
                    <a16:creationId xmlns:a16="http://schemas.microsoft.com/office/drawing/2014/main" id="{F910B58B-60C1-4B70-A2BF-09C7530E992D}"/>
                  </a:ext>
                </a:extLst>
              </p:cNvPr>
              <p:cNvSpPr/>
              <p:nvPr/>
            </p:nvSpPr>
            <p:spPr>
              <a:xfrm>
                <a:off x="4754172" y="4484405"/>
                <a:ext cx="18327" cy="18441"/>
              </a:xfrm>
              <a:custGeom>
                <a:avLst/>
                <a:gdLst>
                  <a:gd name="connsiteX0" fmla="*/ 4170 w 18327"/>
                  <a:gd name="connsiteY0" fmla="*/ 1475 h 18441"/>
                  <a:gd name="connsiteX1" fmla="*/ 16849 w 18327"/>
                  <a:gd name="connsiteY1" fmla="*/ 4227 h 18441"/>
                  <a:gd name="connsiteX2" fmla="*/ 14158 w 18327"/>
                  <a:gd name="connsiteY2" fmla="*/ 16966 h 18441"/>
                  <a:gd name="connsiteX3" fmla="*/ 1479 w 18327"/>
                  <a:gd name="connsiteY3" fmla="*/ 14214 h 18441"/>
                  <a:gd name="connsiteX4" fmla="*/ 4170 w 18327"/>
                  <a:gd name="connsiteY4" fmla="*/ 147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4170" y="1475"/>
                    </a:moveTo>
                    <a:cubicBezTo>
                      <a:pt x="8416" y="-1275"/>
                      <a:pt x="14098" y="-79"/>
                      <a:pt x="16849" y="4227"/>
                    </a:cubicBezTo>
                    <a:cubicBezTo>
                      <a:pt x="19600" y="8473"/>
                      <a:pt x="18404" y="14214"/>
                      <a:pt x="14158" y="16966"/>
                    </a:cubicBezTo>
                    <a:cubicBezTo>
                      <a:pt x="9911" y="19717"/>
                      <a:pt x="4229" y="18521"/>
                      <a:pt x="1479" y="14214"/>
                    </a:cubicBezTo>
                    <a:cubicBezTo>
                      <a:pt x="-1273" y="9908"/>
                      <a:pt x="-76" y="4227"/>
                      <a:pt x="4170" y="1475"/>
                    </a:cubicBezTo>
                    <a:close/>
                  </a:path>
                </a:pathLst>
              </a:custGeom>
              <a:grpFill/>
              <a:ln w="5978" cap="flat">
                <a:noFill/>
                <a:prstDash val="solid"/>
                <a:miter/>
              </a:ln>
            </p:spPr>
            <p:txBody>
              <a:bodyPr rtlCol="0" anchor="ctr"/>
              <a:lstStyle/>
              <a:p>
                <a:endParaRPr lang="en-GB"/>
              </a:p>
            </p:txBody>
          </p:sp>
          <p:sp>
            <p:nvSpPr>
              <p:cNvPr id="1909" name="Vrije vorm: vorm 1908">
                <a:extLst>
                  <a:ext uri="{FF2B5EF4-FFF2-40B4-BE49-F238E27FC236}">
                    <a16:creationId xmlns:a16="http://schemas.microsoft.com/office/drawing/2014/main" id="{8F41CBD3-3E30-4E43-9226-DAEE00B6ECE6}"/>
                  </a:ext>
                </a:extLst>
              </p:cNvPr>
              <p:cNvSpPr/>
              <p:nvPr/>
            </p:nvSpPr>
            <p:spPr>
              <a:xfrm>
                <a:off x="4503340" y="4647977"/>
                <a:ext cx="18327" cy="18426"/>
              </a:xfrm>
              <a:custGeom>
                <a:avLst/>
                <a:gdLst>
                  <a:gd name="connsiteX0" fmla="*/ 4170 w 18327"/>
                  <a:gd name="connsiteY0" fmla="*/ 1476 h 18426"/>
                  <a:gd name="connsiteX1" fmla="*/ 1479 w 18327"/>
                  <a:gd name="connsiteY1" fmla="*/ 14215 h 18426"/>
                  <a:gd name="connsiteX2" fmla="*/ 14158 w 18327"/>
                  <a:gd name="connsiteY2" fmla="*/ 16966 h 18426"/>
                  <a:gd name="connsiteX3" fmla="*/ 16849 w 18327"/>
                  <a:gd name="connsiteY3" fmla="*/ 4227 h 18426"/>
                  <a:gd name="connsiteX4" fmla="*/ 4170 w 18327"/>
                  <a:gd name="connsiteY4" fmla="*/ 1476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6">
                    <a:moveTo>
                      <a:pt x="4170" y="1476"/>
                    </a:moveTo>
                    <a:cubicBezTo>
                      <a:pt x="-76" y="4227"/>
                      <a:pt x="-1273" y="9968"/>
                      <a:pt x="1479" y="14215"/>
                    </a:cubicBezTo>
                    <a:cubicBezTo>
                      <a:pt x="4229" y="18461"/>
                      <a:pt x="9911" y="19717"/>
                      <a:pt x="14158" y="16966"/>
                    </a:cubicBezTo>
                    <a:cubicBezTo>
                      <a:pt x="18404" y="14215"/>
                      <a:pt x="19600" y="8473"/>
                      <a:pt x="16849" y="4227"/>
                    </a:cubicBezTo>
                    <a:cubicBezTo>
                      <a:pt x="14098" y="-79"/>
                      <a:pt x="8416" y="-1276"/>
                      <a:pt x="4170" y="1476"/>
                    </a:cubicBezTo>
                    <a:close/>
                  </a:path>
                </a:pathLst>
              </a:custGeom>
              <a:grpFill/>
              <a:ln w="5978" cap="flat">
                <a:noFill/>
                <a:prstDash val="solid"/>
                <a:miter/>
              </a:ln>
            </p:spPr>
            <p:txBody>
              <a:bodyPr rtlCol="0" anchor="ctr"/>
              <a:lstStyle/>
              <a:p>
                <a:endParaRPr lang="en-GB"/>
              </a:p>
            </p:txBody>
          </p:sp>
        </p:grpSp>
        <p:grpSp>
          <p:nvGrpSpPr>
            <p:cNvPr id="1166" name="Graphic 3">
              <a:extLst>
                <a:ext uri="{FF2B5EF4-FFF2-40B4-BE49-F238E27FC236}">
                  <a16:creationId xmlns:a16="http://schemas.microsoft.com/office/drawing/2014/main" id="{F5B2D996-ED83-4B8C-A03C-84E5EF0C8015}"/>
                </a:ext>
              </a:extLst>
            </p:cNvPr>
            <p:cNvGrpSpPr/>
            <p:nvPr/>
          </p:nvGrpSpPr>
          <p:grpSpPr>
            <a:xfrm>
              <a:off x="3967623" y="3057137"/>
              <a:ext cx="322673" cy="69752"/>
              <a:chOff x="3967623" y="3057137"/>
              <a:chExt cx="322673" cy="69752"/>
            </a:xfrm>
            <a:grpFill/>
          </p:grpSpPr>
          <p:sp>
            <p:nvSpPr>
              <p:cNvPr id="1904" name="Vrije vorm: vorm 1903">
                <a:extLst>
                  <a:ext uri="{FF2B5EF4-FFF2-40B4-BE49-F238E27FC236}">
                    <a16:creationId xmlns:a16="http://schemas.microsoft.com/office/drawing/2014/main" id="{DE846730-975A-4B68-B2B1-B1F93ED3C825}"/>
                  </a:ext>
                </a:extLst>
              </p:cNvPr>
              <p:cNvSpPr/>
              <p:nvPr/>
            </p:nvSpPr>
            <p:spPr>
              <a:xfrm>
                <a:off x="3976063" y="3064681"/>
                <a:ext cx="305734" cy="54544"/>
              </a:xfrm>
              <a:custGeom>
                <a:avLst/>
                <a:gdLst>
                  <a:gd name="connsiteX0" fmla="*/ 305735 w 305734"/>
                  <a:gd name="connsiteY0" fmla="*/ 51554 h 54544"/>
                  <a:gd name="connsiteX1" fmla="*/ 305256 w 305734"/>
                  <a:gd name="connsiteY1" fmla="*/ 54544 h 54544"/>
                  <a:gd name="connsiteX2" fmla="*/ 0 w 305734"/>
                  <a:gd name="connsiteY2" fmla="*/ 3050 h 54544"/>
                  <a:gd name="connsiteX3" fmla="*/ 538 w 305734"/>
                  <a:gd name="connsiteY3" fmla="*/ 0 h 54544"/>
                </a:gdLst>
                <a:ahLst/>
                <a:cxnLst>
                  <a:cxn ang="0">
                    <a:pos x="connsiteX0" y="connsiteY0"/>
                  </a:cxn>
                  <a:cxn ang="0">
                    <a:pos x="connsiteX1" y="connsiteY1"/>
                  </a:cxn>
                  <a:cxn ang="0">
                    <a:pos x="connsiteX2" y="connsiteY2"/>
                  </a:cxn>
                  <a:cxn ang="0">
                    <a:pos x="connsiteX3" y="connsiteY3"/>
                  </a:cxn>
                </a:cxnLst>
                <a:rect l="l" t="t" r="r" b="b"/>
                <a:pathLst>
                  <a:path w="305734" h="54544">
                    <a:moveTo>
                      <a:pt x="305735" y="51554"/>
                    </a:moveTo>
                    <a:lnTo>
                      <a:pt x="305256" y="54544"/>
                    </a:lnTo>
                    <a:lnTo>
                      <a:pt x="0" y="3050"/>
                    </a:lnTo>
                    <a:lnTo>
                      <a:pt x="538" y="0"/>
                    </a:lnTo>
                    <a:close/>
                  </a:path>
                </a:pathLst>
              </a:custGeom>
              <a:grpFill/>
              <a:ln w="5978" cap="flat">
                <a:noFill/>
                <a:prstDash val="solid"/>
                <a:miter/>
              </a:ln>
            </p:spPr>
            <p:txBody>
              <a:bodyPr rtlCol="0" anchor="ctr"/>
              <a:lstStyle/>
              <a:p>
                <a:endParaRPr lang="en-GB"/>
              </a:p>
            </p:txBody>
          </p:sp>
          <p:sp>
            <p:nvSpPr>
              <p:cNvPr id="1905" name="Vrije vorm: vorm 1904">
                <a:extLst>
                  <a:ext uri="{FF2B5EF4-FFF2-40B4-BE49-F238E27FC236}">
                    <a16:creationId xmlns:a16="http://schemas.microsoft.com/office/drawing/2014/main" id="{985078EC-F3C3-4C9B-8F6B-6955081F4D44}"/>
                  </a:ext>
                </a:extLst>
              </p:cNvPr>
              <p:cNvSpPr/>
              <p:nvPr/>
            </p:nvSpPr>
            <p:spPr>
              <a:xfrm>
                <a:off x="3967623" y="3057137"/>
                <a:ext cx="18314" cy="18376"/>
              </a:xfrm>
              <a:custGeom>
                <a:avLst/>
                <a:gdLst>
                  <a:gd name="connsiteX0" fmla="*/ 7662 w 18314"/>
                  <a:gd name="connsiteY0" fmla="*/ 18250 h 18376"/>
                  <a:gd name="connsiteX1" fmla="*/ 126 w 18314"/>
                  <a:gd name="connsiteY1" fmla="*/ 7664 h 18376"/>
                  <a:gd name="connsiteX2" fmla="*/ 10653 w 18314"/>
                  <a:gd name="connsiteY2" fmla="*/ 128 h 18376"/>
                  <a:gd name="connsiteX3" fmla="*/ 18188 w 18314"/>
                  <a:gd name="connsiteY3" fmla="*/ 10714 h 18376"/>
                  <a:gd name="connsiteX4" fmla="*/ 7662 w 18314"/>
                  <a:gd name="connsiteY4" fmla="*/ 18250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76">
                    <a:moveTo>
                      <a:pt x="7662" y="18250"/>
                    </a:moveTo>
                    <a:cubicBezTo>
                      <a:pt x="2698" y="17412"/>
                      <a:pt x="-711" y="12628"/>
                      <a:pt x="126" y="7664"/>
                    </a:cubicBezTo>
                    <a:cubicBezTo>
                      <a:pt x="964" y="2640"/>
                      <a:pt x="5629" y="-709"/>
                      <a:pt x="10653" y="128"/>
                    </a:cubicBezTo>
                    <a:cubicBezTo>
                      <a:pt x="15617" y="965"/>
                      <a:pt x="19026" y="5750"/>
                      <a:pt x="18188" y="10714"/>
                    </a:cubicBezTo>
                    <a:cubicBezTo>
                      <a:pt x="17411" y="15678"/>
                      <a:pt x="12686" y="19087"/>
                      <a:pt x="7662" y="18250"/>
                    </a:cubicBezTo>
                    <a:close/>
                  </a:path>
                </a:pathLst>
              </a:custGeom>
              <a:grpFill/>
              <a:ln w="5978" cap="flat">
                <a:noFill/>
                <a:prstDash val="solid"/>
                <a:miter/>
              </a:ln>
            </p:spPr>
            <p:txBody>
              <a:bodyPr rtlCol="0" anchor="ctr"/>
              <a:lstStyle/>
              <a:p>
                <a:endParaRPr lang="en-GB"/>
              </a:p>
            </p:txBody>
          </p:sp>
          <p:sp>
            <p:nvSpPr>
              <p:cNvPr id="1906" name="Vrije vorm: vorm 1905">
                <a:extLst>
                  <a:ext uri="{FF2B5EF4-FFF2-40B4-BE49-F238E27FC236}">
                    <a16:creationId xmlns:a16="http://schemas.microsoft.com/office/drawing/2014/main" id="{01B99765-78A7-4821-830E-063B1254003B}"/>
                  </a:ext>
                </a:extLst>
              </p:cNvPr>
              <p:cNvSpPr/>
              <p:nvPr/>
            </p:nvSpPr>
            <p:spPr>
              <a:xfrm>
                <a:off x="4271981" y="3108511"/>
                <a:ext cx="18316" cy="18378"/>
              </a:xfrm>
              <a:custGeom>
                <a:avLst/>
                <a:gdLst>
                  <a:gd name="connsiteX0" fmla="*/ 7664 w 18316"/>
                  <a:gd name="connsiteY0" fmla="*/ 18250 h 18378"/>
                  <a:gd name="connsiteX1" fmla="*/ 18190 w 18316"/>
                  <a:gd name="connsiteY1" fmla="*/ 10714 h 18378"/>
                  <a:gd name="connsiteX2" fmla="*/ 10654 w 18316"/>
                  <a:gd name="connsiteY2" fmla="*/ 128 h 18378"/>
                  <a:gd name="connsiteX3" fmla="*/ 128 w 18316"/>
                  <a:gd name="connsiteY3" fmla="*/ 7664 h 18378"/>
                  <a:gd name="connsiteX4" fmla="*/ 7664 w 18316"/>
                  <a:gd name="connsiteY4" fmla="*/ 18250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78">
                    <a:moveTo>
                      <a:pt x="7664" y="18250"/>
                    </a:moveTo>
                    <a:cubicBezTo>
                      <a:pt x="12688" y="19087"/>
                      <a:pt x="17353" y="15738"/>
                      <a:pt x="18190" y="10714"/>
                    </a:cubicBezTo>
                    <a:cubicBezTo>
                      <a:pt x="19028" y="5690"/>
                      <a:pt x="15618" y="965"/>
                      <a:pt x="10654" y="128"/>
                    </a:cubicBezTo>
                    <a:cubicBezTo>
                      <a:pt x="5690" y="-709"/>
                      <a:pt x="966" y="2640"/>
                      <a:pt x="128" y="7664"/>
                    </a:cubicBezTo>
                    <a:cubicBezTo>
                      <a:pt x="-709" y="12628"/>
                      <a:pt x="2640" y="17353"/>
                      <a:pt x="7664" y="18250"/>
                    </a:cubicBezTo>
                    <a:close/>
                  </a:path>
                </a:pathLst>
              </a:custGeom>
              <a:grpFill/>
              <a:ln w="5978" cap="flat">
                <a:noFill/>
                <a:prstDash val="solid"/>
                <a:miter/>
              </a:ln>
            </p:spPr>
            <p:txBody>
              <a:bodyPr rtlCol="0" anchor="ctr"/>
              <a:lstStyle/>
              <a:p>
                <a:endParaRPr lang="en-GB"/>
              </a:p>
            </p:txBody>
          </p:sp>
        </p:grpSp>
        <p:grpSp>
          <p:nvGrpSpPr>
            <p:cNvPr id="1167" name="Graphic 3">
              <a:extLst>
                <a:ext uri="{FF2B5EF4-FFF2-40B4-BE49-F238E27FC236}">
                  <a16:creationId xmlns:a16="http://schemas.microsoft.com/office/drawing/2014/main" id="{2230DC31-3305-4A49-8060-7BCA7C6122BE}"/>
                </a:ext>
              </a:extLst>
            </p:cNvPr>
            <p:cNvGrpSpPr/>
            <p:nvPr/>
          </p:nvGrpSpPr>
          <p:grpSpPr>
            <a:xfrm>
              <a:off x="4532373" y="4630142"/>
              <a:ext cx="317251" cy="265787"/>
              <a:chOff x="4532373" y="4630142"/>
              <a:chExt cx="317251" cy="265787"/>
            </a:xfrm>
            <a:grpFill/>
          </p:grpSpPr>
          <p:sp>
            <p:nvSpPr>
              <p:cNvPr id="1901" name="Vrije vorm: vorm 1900">
                <a:extLst>
                  <a:ext uri="{FF2B5EF4-FFF2-40B4-BE49-F238E27FC236}">
                    <a16:creationId xmlns:a16="http://schemas.microsoft.com/office/drawing/2014/main" id="{26B82250-29D5-4D57-BC64-75508F234CFE}"/>
                  </a:ext>
                </a:extLst>
              </p:cNvPr>
              <p:cNvSpPr/>
              <p:nvPr/>
            </p:nvSpPr>
            <p:spPr>
              <a:xfrm>
                <a:off x="4540165" y="4637910"/>
                <a:ext cx="301607" cy="250293"/>
              </a:xfrm>
              <a:custGeom>
                <a:avLst/>
                <a:gdLst>
                  <a:gd name="connsiteX0" fmla="*/ 301608 w 301607"/>
                  <a:gd name="connsiteY0" fmla="*/ 2332 h 250293"/>
                  <a:gd name="connsiteX1" fmla="*/ 1974 w 301607"/>
                  <a:gd name="connsiteY1" fmla="*/ 250293 h 250293"/>
                  <a:gd name="connsiteX2" fmla="*/ 0 w 301607"/>
                  <a:gd name="connsiteY2" fmla="*/ 247901 h 250293"/>
                  <a:gd name="connsiteX3" fmla="*/ 299634 w 301607"/>
                  <a:gd name="connsiteY3" fmla="*/ 0 h 250293"/>
                </a:gdLst>
                <a:ahLst/>
                <a:cxnLst>
                  <a:cxn ang="0">
                    <a:pos x="connsiteX0" y="connsiteY0"/>
                  </a:cxn>
                  <a:cxn ang="0">
                    <a:pos x="connsiteX1" y="connsiteY1"/>
                  </a:cxn>
                  <a:cxn ang="0">
                    <a:pos x="connsiteX2" y="connsiteY2"/>
                  </a:cxn>
                  <a:cxn ang="0">
                    <a:pos x="connsiteX3" y="connsiteY3"/>
                  </a:cxn>
                </a:cxnLst>
                <a:rect l="l" t="t" r="r" b="b"/>
                <a:pathLst>
                  <a:path w="301607" h="250293">
                    <a:moveTo>
                      <a:pt x="301608" y="2332"/>
                    </a:moveTo>
                    <a:lnTo>
                      <a:pt x="1974" y="250293"/>
                    </a:lnTo>
                    <a:lnTo>
                      <a:pt x="0" y="247901"/>
                    </a:lnTo>
                    <a:lnTo>
                      <a:pt x="299634" y="0"/>
                    </a:lnTo>
                    <a:close/>
                  </a:path>
                </a:pathLst>
              </a:custGeom>
              <a:grpFill/>
              <a:ln w="5978" cap="flat">
                <a:noFill/>
                <a:prstDash val="solid"/>
                <a:miter/>
              </a:ln>
            </p:spPr>
            <p:txBody>
              <a:bodyPr rtlCol="0" anchor="ctr"/>
              <a:lstStyle/>
              <a:p>
                <a:endParaRPr lang="en-GB"/>
              </a:p>
            </p:txBody>
          </p:sp>
          <p:sp>
            <p:nvSpPr>
              <p:cNvPr id="1902" name="Vrije vorm: vorm 1901">
                <a:extLst>
                  <a:ext uri="{FF2B5EF4-FFF2-40B4-BE49-F238E27FC236}">
                    <a16:creationId xmlns:a16="http://schemas.microsoft.com/office/drawing/2014/main" id="{5F147587-9C4B-426D-B2EE-966497F762BA}"/>
                  </a:ext>
                </a:extLst>
              </p:cNvPr>
              <p:cNvSpPr/>
              <p:nvPr/>
            </p:nvSpPr>
            <p:spPr>
              <a:xfrm>
                <a:off x="4831289" y="4630142"/>
                <a:ext cx="18335" cy="18406"/>
              </a:xfrm>
              <a:custGeom>
                <a:avLst/>
                <a:gdLst>
                  <a:gd name="connsiteX0" fmla="*/ 3306 w 18335"/>
                  <a:gd name="connsiteY0" fmla="*/ 2086 h 18406"/>
                  <a:gd name="connsiteX1" fmla="*/ 16225 w 18335"/>
                  <a:gd name="connsiteY1" fmla="*/ 3342 h 18406"/>
                  <a:gd name="connsiteX2" fmla="*/ 15029 w 18335"/>
                  <a:gd name="connsiteY2" fmla="*/ 16320 h 18406"/>
                  <a:gd name="connsiteX3" fmla="*/ 2111 w 18335"/>
                  <a:gd name="connsiteY3" fmla="*/ 15064 h 18406"/>
                  <a:gd name="connsiteX4" fmla="*/ 3306 w 18335"/>
                  <a:gd name="connsiteY4" fmla="*/ 20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06">
                    <a:moveTo>
                      <a:pt x="3306" y="2086"/>
                    </a:moveTo>
                    <a:cubicBezTo>
                      <a:pt x="7194" y="-1143"/>
                      <a:pt x="12995" y="-546"/>
                      <a:pt x="16225" y="3342"/>
                    </a:cubicBezTo>
                    <a:cubicBezTo>
                      <a:pt x="19454" y="7289"/>
                      <a:pt x="18916" y="13090"/>
                      <a:pt x="15029" y="16320"/>
                    </a:cubicBezTo>
                    <a:cubicBezTo>
                      <a:pt x="11141" y="19550"/>
                      <a:pt x="5340" y="18952"/>
                      <a:pt x="2111" y="15064"/>
                    </a:cubicBezTo>
                    <a:cubicBezTo>
                      <a:pt x="-1119" y="11117"/>
                      <a:pt x="-581" y="5315"/>
                      <a:pt x="3306" y="2086"/>
                    </a:cubicBezTo>
                    <a:close/>
                  </a:path>
                </a:pathLst>
              </a:custGeom>
              <a:grpFill/>
              <a:ln w="5978" cap="flat">
                <a:noFill/>
                <a:prstDash val="solid"/>
                <a:miter/>
              </a:ln>
            </p:spPr>
            <p:txBody>
              <a:bodyPr rtlCol="0" anchor="ctr"/>
              <a:lstStyle/>
              <a:p>
                <a:endParaRPr lang="en-GB"/>
              </a:p>
            </p:txBody>
          </p:sp>
          <p:sp>
            <p:nvSpPr>
              <p:cNvPr id="1903" name="Vrije vorm: vorm 1902">
                <a:extLst>
                  <a:ext uri="{FF2B5EF4-FFF2-40B4-BE49-F238E27FC236}">
                    <a16:creationId xmlns:a16="http://schemas.microsoft.com/office/drawing/2014/main" id="{52386A68-177E-4AE2-94DF-6F7DFB404368}"/>
                  </a:ext>
                </a:extLst>
              </p:cNvPr>
              <p:cNvSpPr/>
              <p:nvPr/>
            </p:nvSpPr>
            <p:spPr>
              <a:xfrm>
                <a:off x="4532373" y="4877505"/>
                <a:ext cx="18335" cy="18425"/>
              </a:xfrm>
              <a:custGeom>
                <a:avLst/>
                <a:gdLst>
                  <a:gd name="connsiteX0" fmla="*/ 3306 w 18335"/>
                  <a:gd name="connsiteY0" fmla="*/ 2086 h 18425"/>
                  <a:gd name="connsiteX1" fmla="*/ 2110 w 18335"/>
                  <a:gd name="connsiteY1" fmla="*/ 15064 h 18425"/>
                  <a:gd name="connsiteX2" fmla="*/ 15029 w 18335"/>
                  <a:gd name="connsiteY2" fmla="*/ 16320 h 18425"/>
                  <a:gd name="connsiteX3" fmla="*/ 16225 w 18335"/>
                  <a:gd name="connsiteY3" fmla="*/ 3342 h 18425"/>
                  <a:gd name="connsiteX4" fmla="*/ 3306 w 18335"/>
                  <a:gd name="connsiteY4" fmla="*/ 2086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5">
                    <a:moveTo>
                      <a:pt x="3306" y="2086"/>
                    </a:moveTo>
                    <a:cubicBezTo>
                      <a:pt x="-581" y="5316"/>
                      <a:pt x="-1119" y="11117"/>
                      <a:pt x="2110" y="15064"/>
                    </a:cubicBezTo>
                    <a:cubicBezTo>
                      <a:pt x="5340" y="19012"/>
                      <a:pt x="11141" y="19550"/>
                      <a:pt x="15029" y="16320"/>
                    </a:cubicBezTo>
                    <a:cubicBezTo>
                      <a:pt x="18916" y="13091"/>
                      <a:pt x="19454" y="7289"/>
                      <a:pt x="16225" y="3342"/>
                    </a:cubicBezTo>
                    <a:cubicBezTo>
                      <a:pt x="12935" y="-546"/>
                      <a:pt x="7194" y="-1143"/>
                      <a:pt x="3306" y="2086"/>
                    </a:cubicBezTo>
                    <a:close/>
                  </a:path>
                </a:pathLst>
              </a:custGeom>
              <a:grpFill/>
              <a:ln w="5978" cap="flat">
                <a:noFill/>
                <a:prstDash val="solid"/>
                <a:miter/>
              </a:ln>
            </p:spPr>
            <p:txBody>
              <a:bodyPr rtlCol="0" anchor="ctr"/>
              <a:lstStyle/>
              <a:p>
                <a:endParaRPr lang="en-GB"/>
              </a:p>
            </p:txBody>
          </p:sp>
        </p:grpSp>
        <p:grpSp>
          <p:nvGrpSpPr>
            <p:cNvPr id="1168" name="Graphic 3">
              <a:extLst>
                <a:ext uri="{FF2B5EF4-FFF2-40B4-BE49-F238E27FC236}">
                  <a16:creationId xmlns:a16="http://schemas.microsoft.com/office/drawing/2014/main" id="{D2219FBE-3F4C-4C64-8CEB-9AC405BE02CC}"/>
                </a:ext>
              </a:extLst>
            </p:cNvPr>
            <p:cNvGrpSpPr/>
            <p:nvPr/>
          </p:nvGrpSpPr>
          <p:grpSpPr>
            <a:xfrm>
              <a:off x="4524173" y="4607030"/>
              <a:ext cx="302809" cy="242496"/>
              <a:chOff x="4524173" y="4607030"/>
              <a:chExt cx="302809" cy="242496"/>
            </a:xfrm>
            <a:grpFill/>
          </p:grpSpPr>
          <p:sp>
            <p:nvSpPr>
              <p:cNvPr id="1898" name="Vrije vorm: vorm 1897">
                <a:extLst>
                  <a:ext uri="{FF2B5EF4-FFF2-40B4-BE49-F238E27FC236}">
                    <a16:creationId xmlns:a16="http://schemas.microsoft.com/office/drawing/2014/main" id="{7A7CC5FD-A9A1-456B-A3E3-C88EE345FC33}"/>
                  </a:ext>
                </a:extLst>
              </p:cNvPr>
              <p:cNvSpPr/>
              <p:nvPr/>
            </p:nvSpPr>
            <p:spPr>
              <a:xfrm>
                <a:off x="4532091" y="4614765"/>
                <a:ext cx="287074" cy="227027"/>
              </a:xfrm>
              <a:custGeom>
                <a:avLst/>
                <a:gdLst>
                  <a:gd name="connsiteX0" fmla="*/ 287075 w 287074"/>
                  <a:gd name="connsiteY0" fmla="*/ 2392 h 227027"/>
                  <a:gd name="connsiteX1" fmla="*/ 1854 w 287074"/>
                  <a:gd name="connsiteY1" fmla="*/ 227028 h 227027"/>
                  <a:gd name="connsiteX2" fmla="*/ 0 w 287074"/>
                  <a:gd name="connsiteY2" fmla="*/ 224636 h 227027"/>
                  <a:gd name="connsiteX3" fmla="*/ 285161 w 287074"/>
                  <a:gd name="connsiteY3" fmla="*/ 0 h 227027"/>
                </a:gdLst>
                <a:ahLst/>
                <a:cxnLst>
                  <a:cxn ang="0">
                    <a:pos x="connsiteX0" y="connsiteY0"/>
                  </a:cxn>
                  <a:cxn ang="0">
                    <a:pos x="connsiteX1" y="connsiteY1"/>
                  </a:cxn>
                  <a:cxn ang="0">
                    <a:pos x="connsiteX2" y="connsiteY2"/>
                  </a:cxn>
                  <a:cxn ang="0">
                    <a:pos x="connsiteX3" y="connsiteY3"/>
                  </a:cxn>
                </a:cxnLst>
                <a:rect l="l" t="t" r="r" b="b"/>
                <a:pathLst>
                  <a:path w="287074" h="227027">
                    <a:moveTo>
                      <a:pt x="287075" y="2392"/>
                    </a:moveTo>
                    <a:lnTo>
                      <a:pt x="1854" y="227028"/>
                    </a:lnTo>
                    <a:lnTo>
                      <a:pt x="0" y="224636"/>
                    </a:lnTo>
                    <a:lnTo>
                      <a:pt x="285161" y="0"/>
                    </a:lnTo>
                    <a:close/>
                  </a:path>
                </a:pathLst>
              </a:custGeom>
              <a:grpFill/>
              <a:ln w="5978" cap="flat">
                <a:noFill/>
                <a:prstDash val="solid"/>
                <a:miter/>
              </a:ln>
            </p:spPr>
            <p:txBody>
              <a:bodyPr rtlCol="0" anchor="ctr"/>
              <a:lstStyle/>
              <a:p>
                <a:endParaRPr lang="en-GB"/>
              </a:p>
            </p:txBody>
          </p:sp>
          <p:sp>
            <p:nvSpPr>
              <p:cNvPr id="1899" name="Vrije vorm: vorm 1898">
                <a:extLst>
                  <a:ext uri="{FF2B5EF4-FFF2-40B4-BE49-F238E27FC236}">
                    <a16:creationId xmlns:a16="http://schemas.microsoft.com/office/drawing/2014/main" id="{0A026359-FBC6-4540-BA9F-6FDC09102E47}"/>
                  </a:ext>
                </a:extLst>
              </p:cNvPr>
              <p:cNvSpPr/>
              <p:nvPr/>
            </p:nvSpPr>
            <p:spPr>
              <a:xfrm>
                <a:off x="4808676" y="4607030"/>
                <a:ext cx="18306" cy="18398"/>
              </a:xfrm>
              <a:custGeom>
                <a:avLst/>
                <a:gdLst>
                  <a:gd name="connsiteX0" fmla="*/ 3492 w 18306"/>
                  <a:gd name="connsiteY0" fmla="*/ 1933 h 18398"/>
                  <a:gd name="connsiteX1" fmla="*/ 16351 w 18306"/>
                  <a:gd name="connsiteY1" fmla="*/ 3548 h 18398"/>
                  <a:gd name="connsiteX2" fmla="*/ 14796 w 18306"/>
                  <a:gd name="connsiteY2" fmla="*/ 16466 h 18398"/>
                  <a:gd name="connsiteX3" fmla="*/ 1937 w 18306"/>
                  <a:gd name="connsiteY3" fmla="*/ 14851 h 18398"/>
                  <a:gd name="connsiteX4" fmla="*/ 3492 w 18306"/>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8">
                    <a:moveTo>
                      <a:pt x="3492" y="1933"/>
                    </a:moveTo>
                    <a:cubicBezTo>
                      <a:pt x="7440" y="-1177"/>
                      <a:pt x="13241" y="-459"/>
                      <a:pt x="16351" y="3548"/>
                    </a:cubicBezTo>
                    <a:cubicBezTo>
                      <a:pt x="19461" y="7555"/>
                      <a:pt x="18803" y="13356"/>
                      <a:pt x="14796" y="16466"/>
                    </a:cubicBezTo>
                    <a:cubicBezTo>
                      <a:pt x="10849" y="19576"/>
                      <a:pt x="5047" y="18858"/>
                      <a:pt x="1937" y="14851"/>
                    </a:cubicBezTo>
                    <a:cubicBezTo>
                      <a:pt x="-1173" y="10904"/>
                      <a:pt x="-455" y="5103"/>
                      <a:pt x="3492" y="1933"/>
                    </a:cubicBezTo>
                    <a:close/>
                  </a:path>
                </a:pathLst>
              </a:custGeom>
              <a:grpFill/>
              <a:ln w="5978" cap="flat">
                <a:noFill/>
                <a:prstDash val="solid"/>
                <a:miter/>
              </a:ln>
            </p:spPr>
            <p:txBody>
              <a:bodyPr rtlCol="0" anchor="ctr"/>
              <a:lstStyle/>
              <a:p>
                <a:endParaRPr lang="en-GB"/>
              </a:p>
            </p:txBody>
          </p:sp>
          <p:sp>
            <p:nvSpPr>
              <p:cNvPr id="1900" name="Vrije vorm: vorm 1899">
                <a:extLst>
                  <a:ext uri="{FF2B5EF4-FFF2-40B4-BE49-F238E27FC236}">
                    <a16:creationId xmlns:a16="http://schemas.microsoft.com/office/drawing/2014/main" id="{330F7288-C152-4D98-AC14-4726C6C4D33B}"/>
                  </a:ext>
                </a:extLst>
              </p:cNvPr>
              <p:cNvSpPr/>
              <p:nvPr/>
            </p:nvSpPr>
            <p:spPr>
              <a:xfrm>
                <a:off x="4524173" y="4831128"/>
                <a:ext cx="18288" cy="18398"/>
              </a:xfrm>
              <a:custGeom>
                <a:avLst/>
                <a:gdLst>
                  <a:gd name="connsiteX0" fmla="*/ 3492 w 18288"/>
                  <a:gd name="connsiteY0" fmla="*/ 1933 h 18398"/>
                  <a:gd name="connsiteX1" fmla="*/ 1937 w 18288"/>
                  <a:gd name="connsiteY1" fmla="*/ 14851 h 18398"/>
                  <a:gd name="connsiteX2" fmla="*/ 14796 w 18288"/>
                  <a:gd name="connsiteY2" fmla="*/ 16466 h 18398"/>
                  <a:gd name="connsiteX3" fmla="*/ 16351 w 18288"/>
                  <a:gd name="connsiteY3" fmla="*/ 3548 h 18398"/>
                  <a:gd name="connsiteX4" fmla="*/ 3492 w 1828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98">
                    <a:moveTo>
                      <a:pt x="3492" y="1933"/>
                    </a:moveTo>
                    <a:cubicBezTo>
                      <a:pt x="-455" y="5043"/>
                      <a:pt x="-1173" y="10844"/>
                      <a:pt x="1937" y="14851"/>
                    </a:cubicBezTo>
                    <a:cubicBezTo>
                      <a:pt x="5047" y="18858"/>
                      <a:pt x="10849" y="19576"/>
                      <a:pt x="14796" y="16466"/>
                    </a:cubicBezTo>
                    <a:cubicBezTo>
                      <a:pt x="18743" y="13356"/>
                      <a:pt x="19461" y="7555"/>
                      <a:pt x="16351" y="3548"/>
                    </a:cubicBezTo>
                    <a:cubicBezTo>
                      <a:pt x="13241" y="-459"/>
                      <a:pt x="7499" y="-1177"/>
                      <a:pt x="3492" y="1933"/>
                    </a:cubicBezTo>
                    <a:close/>
                  </a:path>
                </a:pathLst>
              </a:custGeom>
              <a:grpFill/>
              <a:ln w="5978" cap="flat">
                <a:noFill/>
                <a:prstDash val="solid"/>
                <a:miter/>
              </a:ln>
            </p:spPr>
            <p:txBody>
              <a:bodyPr rtlCol="0" anchor="ctr"/>
              <a:lstStyle/>
              <a:p>
                <a:endParaRPr lang="en-GB"/>
              </a:p>
            </p:txBody>
          </p:sp>
        </p:grpSp>
        <p:grpSp>
          <p:nvGrpSpPr>
            <p:cNvPr id="1169" name="Graphic 3">
              <a:extLst>
                <a:ext uri="{FF2B5EF4-FFF2-40B4-BE49-F238E27FC236}">
                  <a16:creationId xmlns:a16="http://schemas.microsoft.com/office/drawing/2014/main" id="{DA159983-E29C-4126-ABBD-0C1B4299D760}"/>
                </a:ext>
              </a:extLst>
            </p:cNvPr>
            <p:cNvGrpSpPr/>
            <p:nvPr/>
          </p:nvGrpSpPr>
          <p:grpSpPr>
            <a:xfrm>
              <a:off x="3856861" y="2551769"/>
              <a:ext cx="213404" cy="94718"/>
              <a:chOff x="3856861" y="2551769"/>
              <a:chExt cx="213404" cy="94718"/>
            </a:xfrm>
            <a:grpFill/>
          </p:grpSpPr>
          <p:sp>
            <p:nvSpPr>
              <p:cNvPr id="1895" name="Vrije vorm: vorm 1894">
                <a:extLst>
                  <a:ext uri="{FF2B5EF4-FFF2-40B4-BE49-F238E27FC236}">
                    <a16:creationId xmlns:a16="http://schemas.microsoft.com/office/drawing/2014/main" id="{1FC118C5-5481-479F-B782-84F6E4B5377A}"/>
                  </a:ext>
                </a:extLst>
              </p:cNvPr>
              <p:cNvSpPr/>
              <p:nvPr/>
            </p:nvSpPr>
            <p:spPr>
              <a:xfrm>
                <a:off x="3865061" y="2559370"/>
                <a:ext cx="197005" cy="79483"/>
              </a:xfrm>
              <a:custGeom>
                <a:avLst/>
                <a:gdLst>
                  <a:gd name="connsiteX0" fmla="*/ 197005 w 197005"/>
                  <a:gd name="connsiteY0" fmla="*/ 76613 h 79483"/>
                  <a:gd name="connsiteX1" fmla="*/ 195929 w 197005"/>
                  <a:gd name="connsiteY1" fmla="*/ 79484 h 79483"/>
                  <a:gd name="connsiteX2" fmla="*/ 0 w 197005"/>
                  <a:gd name="connsiteY2" fmla="*/ 2871 h 79483"/>
                  <a:gd name="connsiteX3" fmla="*/ 1076 w 197005"/>
                  <a:gd name="connsiteY3" fmla="*/ 0 h 79483"/>
                </a:gdLst>
                <a:ahLst/>
                <a:cxnLst>
                  <a:cxn ang="0">
                    <a:pos x="connsiteX0" y="connsiteY0"/>
                  </a:cxn>
                  <a:cxn ang="0">
                    <a:pos x="connsiteX1" y="connsiteY1"/>
                  </a:cxn>
                  <a:cxn ang="0">
                    <a:pos x="connsiteX2" y="connsiteY2"/>
                  </a:cxn>
                  <a:cxn ang="0">
                    <a:pos x="connsiteX3" y="connsiteY3"/>
                  </a:cxn>
                </a:cxnLst>
                <a:rect l="l" t="t" r="r" b="b"/>
                <a:pathLst>
                  <a:path w="197005" h="79483">
                    <a:moveTo>
                      <a:pt x="197005" y="76613"/>
                    </a:moveTo>
                    <a:lnTo>
                      <a:pt x="195929" y="79484"/>
                    </a:lnTo>
                    <a:lnTo>
                      <a:pt x="0" y="2871"/>
                    </a:lnTo>
                    <a:lnTo>
                      <a:pt x="1076" y="0"/>
                    </a:lnTo>
                    <a:close/>
                  </a:path>
                </a:pathLst>
              </a:custGeom>
              <a:grpFill/>
              <a:ln w="5978" cap="flat">
                <a:noFill/>
                <a:prstDash val="solid"/>
                <a:miter/>
              </a:ln>
            </p:spPr>
            <p:txBody>
              <a:bodyPr rtlCol="0" anchor="ctr"/>
              <a:lstStyle/>
              <a:p>
                <a:endParaRPr lang="en-GB"/>
              </a:p>
            </p:txBody>
          </p:sp>
          <p:sp>
            <p:nvSpPr>
              <p:cNvPr id="1896" name="Vrije vorm: vorm 1895">
                <a:extLst>
                  <a:ext uri="{FF2B5EF4-FFF2-40B4-BE49-F238E27FC236}">
                    <a16:creationId xmlns:a16="http://schemas.microsoft.com/office/drawing/2014/main" id="{BE9E3786-2771-4CF7-BCFF-C06360CC39CD}"/>
                  </a:ext>
                </a:extLst>
              </p:cNvPr>
              <p:cNvSpPr/>
              <p:nvPr/>
            </p:nvSpPr>
            <p:spPr>
              <a:xfrm>
                <a:off x="3856861" y="2551769"/>
                <a:ext cx="18313" cy="18404"/>
              </a:xfrm>
              <a:custGeom>
                <a:avLst/>
                <a:gdLst>
                  <a:gd name="connsiteX0" fmla="*/ 5867 w 18313"/>
                  <a:gd name="connsiteY0" fmla="*/ 17769 h 18404"/>
                  <a:gd name="connsiteX1" fmla="*/ 604 w 18313"/>
                  <a:gd name="connsiteY1" fmla="*/ 5867 h 18404"/>
                  <a:gd name="connsiteX2" fmla="*/ 12446 w 18313"/>
                  <a:gd name="connsiteY2" fmla="*/ 604 h 18404"/>
                  <a:gd name="connsiteX3" fmla="*/ 17709 w 18313"/>
                  <a:gd name="connsiteY3" fmla="*/ 12506 h 18404"/>
                  <a:gd name="connsiteX4" fmla="*/ 5867 w 18313"/>
                  <a:gd name="connsiteY4" fmla="*/ 1776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5867" y="17769"/>
                    </a:moveTo>
                    <a:cubicBezTo>
                      <a:pt x="1142" y="15915"/>
                      <a:pt x="-1190" y="10592"/>
                      <a:pt x="604" y="5867"/>
                    </a:cubicBezTo>
                    <a:cubicBezTo>
                      <a:pt x="2399" y="1142"/>
                      <a:pt x="7721" y="-1190"/>
                      <a:pt x="12446" y="604"/>
                    </a:cubicBezTo>
                    <a:cubicBezTo>
                      <a:pt x="17171" y="2458"/>
                      <a:pt x="19503" y="7781"/>
                      <a:pt x="17709" y="12506"/>
                    </a:cubicBezTo>
                    <a:cubicBezTo>
                      <a:pt x="15855" y="17290"/>
                      <a:pt x="10592" y="19623"/>
                      <a:pt x="5867" y="17769"/>
                    </a:cubicBezTo>
                    <a:close/>
                  </a:path>
                </a:pathLst>
              </a:custGeom>
              <a:grpFill/>
              <a:ln w="5978" cap="flat">
                <a:noFill/>
                <a:prstDash val="solid"/>
                <a:miter/>
              </a:ln>
            </p:spPr>
            <p:txBody>
              <a:bodyPr rtlCol="0" anchor="ctr"/>
              <a:lstStyle/>
              <a:p>
                <a:endParaRPr lang="en-GB"/>
              </a:p>
            </p:txBody>
          </p:sp>
          <p:sp>
            <p:nvSpPr>
              <p:cNvPr id="1897" name="Vrije vorm: vorm 1896">
                <a:extLst>
                  <a:ext uri="{FF2B5EF4-FFF2-40B4-BE49-F238E27FC236}">
                    <a16:creationId xmlns:a16="http://schemas.microsoft.com/office/drawing/2014/main" id="{285FAEE5-4807-4D5E-AE3D-097BF5A1BED9}"/>
                  </a:ext>
                </a:extLst>
              </p:cNvPr>
              <p:cNvSpPr/>
              <p:nvPr/>
            </p:nvSpPr>
            <p:spPr>
              <a:xfrm>
                <a:off x="4051952" y="2628051"/>
                <a:ext cx="18313" cy="18436"/>
              </a:xfrm>
              <a:custGeom>
                <a:avLst/>
                <a:gdLst>
                  <a:gd name="connsiteX0" fmla="*/ 5867 w 18313"/>
                  <a:gd name="connsiteY0" fmla="*/ 17801 h 18436"/>
                  <a:gd name="connsiteX1" fmla="*/ 17709 w 18313"/>
                  <a:gd name="connsiteY1" fmla="*/ 12538 h 18436"/>
                  <a:gd name="connsiteX2" fmla="*/ 12446 w 18313"/>
                  <a:gd name="connsiteY2" fmla="*/ 636 h 18436"/>
                  <a:gd name="connsiteX3" fmla="*/ 604 w 18313"/>
                  <a:gd name="connsiteY3" fmla="*/ 5899 h 18436"/>
                  <a:gd name="connsiteX4" fmla="*/ 5867 w 18313"/>
                  <a:gd name="connsiteY4" fmla="*/ 178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6">
                    <a:moveTo>
                      <a:pt x="5867" y="17801"/>
                    </a:moveTo>
                    <a:cubicBezTo>
                      <a:pt x="10592" y="19655"/>
                      <a:pt x="15915" y="17322"/>
                      <a:pt x="17709" y="12538"/>
                    </a:cubicBezTo>
                    <a:cubicBezTo>
                      <a:pt x="19503" y="7813"/>
                      <a:pt x="17171" y="2430"/>
                      <a:pt x="12446" y="636"/>
                    </a:cubicBezTo>
                    <a:cubicBezTo>
                      <a:pt x="7721" y="-1218"/>
                      <a:pt x="2399" y="1114"/>
                      <a:pt x="604" y="5899"/>
                    </a:cubicBezTo>
                    <a:cubicBezTo>
                      <a:pt x="-1190" y="10564"/>
                      <a:pt x="1142" y="15947"/>
                      <a:pt x="5867" y="17801"/>
                    </a:cubicBezTo>
                    <a:close/>
                  </a:path>
                </a:pathLst>
              </a:custGeom>
              <a:grpFill/>
              <a:ln w="5978" cap="flat">
                <a:noFill/>
                <a:prstDash val="solid"/>
                <a:miter/>
              </a:ln>
            </p:spPr>
            <p:txBody>
              <a:bodyPr rtlCol="0" anchor="ctr"/>
              <a:lstStyle/>
              <a:p>
                <a:endParaRPr lang="en-GB"/>
              </a:p>
            </p:txBody>
          </p:sp>
        </p:grpSp>
        <p:grpSp>
          <p:nvGrpSpPr>
            <p:cNvPr id="1170" name="Graphic 3">
              <a:extLst>
                <a:ext uri="{FF2B5EF4-FFF2-40B4-BE49-F238E27FC236}">
                  <a16:creationId xmlns:a16="http://schemas.microsoft.com/office/drawing/2014/main" id="{B618CE63-CD3F-4BE2-BF65-92D24625A79C}"/>
                </a:ext>
              </a:extLst>
            </p:cNvPr>
            <p:cNvGrpSpPr/>
            <p:nvPr/>
          </p:nvGrpSpPr>
          <p:grpSpPr>
            <a:xfrm>
              <a:off x="4417476" y="4140291"/>
              <a:ext cx="136767" cy="75880"/>
              <a:chOff x="4417476" y="4140291"/>
              <a:chExt cx="136767" cy="75880"/>
            </a:xfrm>
            <a:grpFill/>
          </p:grpSpPr>
          <p:sp>
            <p:nvSpPr>
              <p:cNvPr id="1892" name="Vrije vorm: vorm 1891">
                <a:extLst>
                  <a:ext uri="{FF2B5EF4-FFF2-40B4-BE49-F238E27FC236}">
                    <a16:creationId xmlns:a16="http://schemas.microsoft.com/office/drawing/2014/main" id="{7BD59605-7D94-4B06-9A23-F821EC592DE8}"/>
                  </a:ext>
                </a:extLst>
              </p:cNvPr>
              <p:cNvSpPr/>
              <p:nvPr/>
            </p:nvSpPr>
            <p:spPr>
              <a:xfrm>
                <a:off x="4425574" y="4147969"/>
                <a:ext cx="120571" cy="60584"/>
              </a:xfrm>
              <a:custGeom>
                <a:avLst/>
                <a:gdLst>
                  <a:gd name="connsiteX0" fmla="*/ 120571 w 120571"/>
                  <a:gd name="connsiteY0" fmla="*/ 2751 h 60584"/>
                  <a:gd name="connsiteX1" fmla="*/ 1375 w 120571"/>
                  <a:gd name="connsiteY1" fmla="*/ 60585 h 60584"/>
                  <a:gd name="connsiteX2" fmla="*/ 0 w 120571"/>
                  <a:gd name="connsiteY2" fmla="*/ 57834 h 60584"/>
                  <a:gd name="connsiteX3" fmla="*/ 119256 w 120571"/>
                  <a:gd name="connsiteY3" fmla="*/ 0 h 60584"/>
                </a:gdLst>
                <a:ahLst/>
                <a:cxnLst>
                  <a:cxn ang="0">
                    <a:pos x="connsiteX0" y="connsiteY0"/>
                  </a:cxn>
                  <a:cxn ang="0">
                    <a:pos x="connsiteX1" y="connsiteY1"/>
                  </a:cxn>
                  <a:cxn ang="0">
                    <a:pos x="connsiteX2" y="connsiteY2"/>
                  </a:cxn>
                  <a:cxn ang="0">
                    <a:pos x="connsiteX3" y="connsiteY3"/>
                  </a:cxn>
                </a:cxnLst>
                <a:rect l="l" t="t" r="r" b="b"/>
                <a:pathLst>
                  <a:path w="120571" h="60584">
                    <a:moveTo>
                      <a:pt x="120571" y="2751"/>
                    </a:moveTo>
                    <a:lnTo>
                      <a:pt x="1375" y="60585"/>
                    </a:lnTo>
                    <a:lnTo>
                      <a:pt x="0" y="57834"/>
                    </a:lnTo>
                    <a:lnTo>
                      <a:pt x="119256" y="0"/>
                    </a:lnTo>
                    <a:close/>
                  </a:path>
                </a:pathLst>
              </a:custGeom>
              <a:grpFill/>
              <a:ln w="5978" cap="flat">
                <a:noFill/>
                <a:prstDash val="solid"/>
                <a:miter/>
              </a:ln>
            </p:spPr>
            <p:txBody>
              <a:bodyPr rtlCol="0" anchor="ctr"/>
              <a:lstStyle/>
              <a:p>
                <a:endParaRPr lang="en-GB"/>
              </a:p>
            </p:txBody>
          </p:sp>
          <p:sp>
            <p:nvSpPr>
              <p:cNvPr id="1893" name="Vrije vorm: vorm 1892">
                <a:extLst>
                  <a:ext uri="{FF2B5EF4-FFF2-40B4-BE49-F238E27FC236}">
                    <a16:creationId xmlns:a16="http://schemas.microsoft.com/office/drawing/2014/main" id="{F31FBE68-F5D0-4623-91FA-1D77CA36B0D8}"/>
                  </a:ext>
                </a:extLst>
              </p:cNvPr>
              <p:cNvSpPr/>
              <p:nvPr/>
            </p:nvSpPr>
            <p:spPr>
              <a:xfrm>
                <a:off x="4417476" y="4197706"/>
                <a:ext cx="18359" cy="18465"/>
              </a:xfrm>
              <a:custGeom>
                <a:avLst/>
                <a:gdLst>
                  <a:gd name="connsiteX0" fmla="*/ 13181 w 18359"/>
                  <a:gd name="connsiteY0" fmla="*/ 17546 h 18465"/>
                  <a:gd name="connsiteX1" fmla="*/ 921 w 18359"/>
                  <a:gd name="connsiteY1" fmla="*/ 13240 h 18465"/>
                  <a:gd name="connsiteX2" fmla="*/ 5168 w 18359"/>
                  <a:gd name="connsiteY2" fmla="*/ 920 h 18465"/>
                  <a:gd name="connsiteX3" fmla="*/ 17428 w 18359"/>
                  <a:gd name="connsiteY3" fmla="*/ 5226 h 18465"/>
                  <a:gd name="connsiteX4" fmla="*/ 13181 w 18359"/>
                  <a:gd name="connsiteY4" fmla="*/ 17546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65">
                    <a:moveTo>
                      <a:pt x="13181" y="17546"/>
                    </a:moveTo>
                    <a:cubicBezTo>
                      <a:pt x="8636" y="19759"/>
                      <a:pt x="3134" y="17845"/>
                      <a:pt x="921" y="13240"/>
                    </a:cubicBezTo>
                    <a:cubicBezTo>
                      <a:pt x="-1292" y="8635"/>
                      <a:pt x="622" y="3133"/>
                      <a:pt x="5168" y="920"/>
                    </a:cubicBezTo>
                    <a:cubicBezTo>
                      <a:pt x="9713" y="-1293"/>
                      <a:pt x="15215" y="621"/>
                      <a:pt x="17428" y="5226"/>
                    </a:cubicBezTo>
                    <a:cubicBezTo>
                      <a:pt x="19641" y="9831"/>
                      <a:pt x="17787" y="15333"/>
                      <a:pt x="13181" y="17546"/>
                    </a:cubicBezTo>
                    <a:close/>
                  </a:path>
                </a:pathLst>
              </a:custGeom>
              <a:grpFill/>
              <a:ln w="5978" cap="flat">
                <a:noFill/>
                <a:prstDash val="solid"/>
                <a:miter/>
              </a:ln>
            </p:spPr>
            <p:txBody>
              <a:bodyPr rtlCol="0" anchor="ctr"/>
              <a:lstStyle/>
              <a:p>
                <a:endParaRPr lang="en-GB"/>
              </a:p>
            </p:txBody>
          </p:sp>
          <p:sp>
            <p:nvSpPr>
              <p:cNvPr id="1894" name="Vrije vorm: vorm 1893">
                <a:extLst>
                  <a:ext uri="{FF2B5EF4-FFF2-40B4-BE49-F238E27FC236}">
                    <a16:creationId xmlns:a16="http://schemas.microsoft.com/office/drawing/2014/main" id="{C6BBF988-EFB2-4E08-B193-72969FB77686}"/>
                  </a:ext>
                </a:extLst>
              </p:cNvPr>
              <p:cNvSpPr/>
              <p:nvPr/>
            </p:nvSpPr>
            <p:spPr>
              <a:xfrm>
                <a:off x="4535895" y="4140291"/>
                <a:ext cx="18349" cy="18455"/>
              </a:xfrm>
              <a:custGeom>
                <a:avLst/>
                <a:gdLst>
                  <a:gd name="connsiteX0" fmla="*/ 13181 w 18349"/>
                  <a:gd name="connsiteY0" fmla="*/ 17546 h 18455"/>
                  <a:gd name="connsiteX1" fmla="*/ 17428 w 18349"/>
                  <a:gd name="connsiteY1" fmla="*/ 5226 h 18455"/>
                  <a:gd name="connsiteX2" fmla="*/ 5168 w 18349"/>
                  <a:gd name="connsiteY2" fmla="*/ 920 h 18455"/>
                  <a:gd name="connsiteX3" fmla="*/ 921 w 18349"/>
                  <a:gd name="connsiteY3" fmla="*/ 13240 h 18455"/>
                  <a:gd name="connsiteX4" fmla="*/ 13181 w 18349"/>
                  <a:gd name="connsiteY4" fmla="*/ 17546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5">
                    <a:moveTo>
                      <a:pt x="13181" y="17546"/>
                    </a:moveTo>
                    <a:cubicBezTo>
                      <a:pt x="17727" y="15333"/>
                      <a:pt x="19641" y="9831"/>
                      <a:pt x="17428" y="5226"/>
                    </a:cubicBezTo>
                    <a:cubicBezTo>
                      <a:pt x="15215" y="621"/>
                      <a:pt x="9713" y="-1293"/>
                      <a:pt x="5168" y="920"/>
                    </a:cubicBezTo>
                    <a:cubicBezTo>
                      <a:pt x="622" y="3133"/>
                      <a:pt x="-1292" y="8635"/>
                      <a:pt x="921" y="13240"/>
                    </a:cubicBezTo>
                    <a:cubicBezTo>
                      <a:pt x="3194" y="17785"/>
                      <a:pt x="8636" y="19759"/>
                      <a:pt x="13181" y="17546"/>
                    </a:cubicBezTo>
                    <a:close/>
                  </a:path>
                </a:pathLst>
              </a:custGeom>
              <a:grpFill/>
              <a:ln w="5978" cap="flat">
                <a:noFill/>
                <a:prstDash val="solid"/>
                <a:miter/>
              </a:ln>
            </p:spPr>
            <p:txBody>
              <a:bodyPr rtlCol="0" anchor="ctr"/>
              <a:lstStyle/>
              <a:p>
                <a:endParaRPr lang="en-GB"/>
              </a:p>
            </p:txBody>
          </p:sp>
        </p:grpSp>
        <p:grpSp>
          <p:nvGrpSpPr>
            <p:cNvPr id="1171" name="Graphic 3">
              <a:extLst>
                <a:ext uri="{FF2B5EF4-FFF2-40B4-BE49-F238E27FC236}">
                  <a16:creationId xmlns:a16="http://schemas.microsoft.com/office/drawing/2014/main" id="{0E0466D4-A392-4168-B555-B29E8E67A1EE}"/>
                </a:ext>
              </a:extLst>
            </p:cNvPr>
            <p:cNvGrpSpPr/>
            <p:nvPr/>
          </p:nvGrpSpPr>
          <p:grpSpPr>
            <a:xfrm>
              <a:off x="3795400" y="2762186"/>
              <a:ext cx="498344" cy="156076"/>
              <a:chOff x="3795400" y="2762186"/>
              <a:chExt cx="498344" cy="156076"/>
            </a:xfrm>
            <a:grpFill/>
          </p:grpSpPr>
          <p:sp>
            <p:nvSpPr>
              <p:cNvPr id="1889" name="Vrije vorm: vorm 1888">
                <a:extLst>
                  <a:ext uri="{FF2B5EF4-FFF2-40B4-BE49-F238E27FC236}">
                    <a16:creationId xmlns:a16="http://schemas.microsoft.com/office/drawing/2014/main" id="{1FECD315-29F4-4890-9214-C1418D32640B}"/>
                  </a:ext>
                </a:extLst>
              </p:cNvPr>
              <p:cNvSpPr/>
              <p:nvPr/>
            </p:nvSpPr>
            <p:spPr>
              <a:xfrm>
                <a:off x="3803699" y="2769772"/>
                <a:ext cx="481687" cy="140905"/>
              </a:xfrm>
              <a:custGeom>
                <a:avLst/>
                <a:gdLst>
                  <a:gd name="connsiteX0" fmla="*/ 481688 w 481687"/>
                  <a:gd name="connsiteY0" fmla="*/ 137975 h 140905"/>
                  <a:gd name="connsiteX1" fmla="*/ 480850 w 481687"/>
                  <a:gd name="connsiteY1" fmla="*/ 140906 h 140905"/>
                  <a:gd name="connsiteX2" fmla="*/ 0 w 481687"/>
                  <a:gd name="connsiteY2" fmla="*/ 2930 h 140905"/>
                  <a:gd name="connsiteX3" fmla="*/ 837 w 481687"/>
                  <a:gd name="connsiteY3" fmla="*/ 0 h 140905"/>
                </a:gdLst>
                <a:ahLst/>
                <a:cxnLst>
                  <a:cxn ang="0">
                    <a:pos x="connsiteX0" y="connsiteY0"/>
                  </a:cxn>
                  <a:cxn ang="0">
                    <a:pos x="connsiteX1" y="connsiteY1"/>
                  </a:cxn>
                  <a:cxn ang="0">
                    <a:pos x="connsiteX2" y="connsiteY2"/>
                  </a:cxn>
                  <a:cxn ang="0">
                    <a:pos x="connsiteX3" y="connsiteY3"/>
                  </a:cxn>
                </a:cxnLst>
                <a:rect l="l" t="t" r="r" b="b"/>
                <a:pathLst>
                  <a:path w="481687" h="140905">
                    <a:moveTo>
                      <a:pt x="481688" y="137975"/>
                    </a:moveTo>
                    <a:lnTo>
                      <a:pt x="480850" y="140906"/>
                    </a:lnTo>
                    <a:lnTo>
                      <a:pt x="0" y="2930"/>
                    </a:lnTo>
                    <a:lnTo>
                      <a:pt x="837" y="0"/>
                    </a:lnTo>
                    <a:close/>
                  </a:path>
                </a:pathLst>
              </a:custGeom>
              <a:grpFill/>
              <a:ln w="5978" cap="flat">
                <a:noFill/>
                <a:prstDash val="solid"/>
                <a:miter/>
              </a:ln>
            </p:spPr>
            <p:txBody>
              <a:bodyPr rtlCol="0" anchor="ctr"/>
              <a:lstStyle/>
              <a:p>
                <a:endParaRPr lang="en-GB"/>
              </a:p>
            </p:txBody>
          </p:sp>
          <p:sp>
            <p:nvSpPr>
              <p:cNvPr id="1890" name="Vrije vorm: vorm 1889">
                <a:extLst>
                  <a:ext uri="{FF2B5EF4-FFF2-40B4-BE49-F238E27FC236}">
                    <a16:creationId xmlns:a16="http://schemas.microsoft.com/office/drawing/2014/main" id="{5DFDA528-008D-42A5-B3B7-9D05092537E5}"/>
                  </a:ext>
                </a:extLst>
              </p:cNvPr>
              <p:cNvSpPr/>
              <p:nvPr/>
            </p:nvSpPr>
            <p:spPr>
              <a:xfrm>
                <a:off x="3795400" y="2762186"/>
                <a:ext cx="18332" cy="18400"/>
              </a:xfrm>
              <a:custGeom>
                <a:avLst/>
                <a:gdLst>
                  <a:gd name="connsiteX0" fmla="*/ 6684 w 18332"/>
                  <a:gd name="connsiteY0" fmla="*/ 18052 h 18400"/>
                  <a:gd name="connsiteX1" fmla="*/ 345 w 18332"/>
                  <a:gd name="connsiteY1" fmla="*/ 6688 h 18400"/>
                  <a:gd name="connsiteX2" fmla="*/ 11648 w 18332"/>
                  <a:gd name="connsiteY2" fmla="*/ 349 h 18400"/>
                  <a:gd name="connsiteX3" fmla="*/ 17987 w 18332"/>
                  <a:gd name="connsiteY3" fmla="*/ 11712 h 18400"/>
                  <a:gd name="connsiteX4" fmla="*/ 6684 w 18332"/>
                  <a:gd name="connsiteY4" fmla="*/ 18052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00">
                    <a:moveTo>
                      <a:pt x="6684" y="18052"/>
                    </a:moveTo>
                    <a:cubicBezTo>
                      <a:pt x="1840" y="16676"/>
                      <a:pt x="-1031" y="11533"/>
                      <a:pt x="345" y="6688"/>
                    </a:cubicBezTo>
                    <a:cubicBezTo>
                      <a:pt x="1720" y="1784"/>
                      <a:pt x="6804" y="-1027"/>
                      <a:pt x="11648" y="349"/>
                    </a:cubicBezTo>
                    <a:cubicBezTo>
                      <a:pt x="16492" y="1724"/>
                      <a:pt x="19363" y="6868"/>
                      <a:pt x="17987" y="11712"/>
                    </a:cubicBezTo>
                    <a:cubicBezTo>
                      <a:pt x="16612" y="16616"/>
                      <a:pt x="11529" y="19427"/>
                      <a:pt x="6684" y="18052"/>
                    </a:cubicBezTo>
                    <a:close/>
                  </a:path>
                </a:pathLst>
              </a:custGeom>
              <a:grpFill/>
              <a:ln w="5978" cap="flat">
                <a:noFill/>
                <a:prstDash val="solid"/>
                <a:miter/>
              </a:ln>
            </p:spPr>
            <p:txBody>
              <a:bodyPr rtlCol="0" anchor="ctr"/>
              <a:lstStyle/>
              <a:p>
                <a:endParaRPr lang="en-GB"/>
              </a:p>
            </p:txBody>
          </p:sp>
          <p:sp>
            <p:nvSpPr>
              <p:cNvPr id="1891" name="Vrije vorm: vorm 1890">
                <a:extLst>
                  <a:ext uri="{FF2B5EF4-FFF2-40B4-BE49-F238E27FC236}">
                    <a16:creationId xmlns:a16="http://schemas.microsoft.com/office/drawing/2014/main" id="{4BF65412-CE8A-4651-B54B-A0388D36529B}"/>
                  </a:ext>
                </a:extLst>
              </p:cNvPr>
              <p:cNvSpPr/>
              <p:nvPr/>
            </p:nvSpPr>
            <p:spPr>
              <a:xfrm>
                <a:off x="4275408" y="2899863"/>
                <a:ext cx="18336" cy="18400"/>
              </a:xfrm>
              <a:custGeom>
                <a:avLst/>
                <a:gdLst>
                  <a:gd name="connsiteX0" fmla="*/ 6689 w 18336"/>
                  <a:gd name="connsiteY0" fmla="*/ 18052 h 18400"/>
                  <a:gd name="connsiteX1" fmla="*/ 17992 w 18336"/>
                  <a:gd name="connsiteY1" fmla="*/ 11712 h 18400"/>
                  <a:gd name="connsiteX2" fmla="*/ 11652 w 18336"/>
                  <a:gd name="connsiteY2" fmla="*/ 349 h 18400"/>
                  <a:gd name="connsiteX3" fmla="*/ 349 w 18336"/>
                  <a:gd name="connsiteY3" fmla="*/ 6688 h 18400"/>
                  <a:gd name="connsiteX4" fmla="*/ 6689 w 18336"/>
                  <a:gd name="connsiteY4" fmla="*/ 18052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00">
                    <a:moveTo>
                      <a:pt x="6689" y="18052"/>
                    </a:moveTo>
                    <a:cubicBezTo>
                      <a:pt x="11533" y="19427"/>
                      <a:pt x="16617" y="16616"/>
                      <a:pt x="17992" y="11712"/>
                    </a:cubicBezTo>
                    <a:cubicBezTo>
                      <a:pt x="19368" y="6808"/>
                      <a:pt x="16497" y="1725"/>
                      <a:pt x="11652" y="349"/>
                    </a:cubicBezTo>
                    <a:cubicBezTo>
                      <a:pt x="6808" y="-1027"/>
                      <a:pt x="1725" y="1784"/>
                      <a:pt x="349" y="6688"/>
                    </a:cubicBezTo>
                    <a:cubicBezTo>
                      <a:pt x="-1027" y="11593"/>
                      <a:pt x="1784" y="16676"/>
                      <a:pt x="6689" y="18052"/>
                    </a:cubicBezTo>
                    <a:close/>
                  </a:path>
                </a:pathLst>
              </a:custGeom>
              <a:grpFill/>
              <a:ln w="5978" cap="flat">
                <a:noFill/>
                <a:prstDash val="solid"/>
                <a:miter/>
              </a:ln>
            </p:spPr>
            <p:txBody>
              <a:bodyPr rtlCol="0" anchor="ctr"/>
              <a:lstStyle/>
              <a:p>
                <a:endParaRPr lang="en-GB"/>
              </a:p>
            </p:txBody>
          </p:sp>
        </p:grpSp>
        <p:grpSp>
          <p:nvGrpSpPr>
            <p:cNvPr id="1172" name="Graphic 3">
              <a:extLst>
                <a:ext uri="{FF2B5EF4-FFF2-40B4-BE49-F238E27FC236}">
                  <a16:creationId xmlns:a16="http://schemas.microsoft.com/office/drawing/2014/main" id="{AE76C629-95F4-4F50-8154-FAF86A7D1C84}"/>
                </a:ext>
              </a:extLst>
            </p:cNvPr>
            <p:cNvGrpSpPr/>
            <p:nvPr/>
          </p:nvGrpSpPr>
          <p:grpSpPr>
            <a:xfrm>
              <a:off x="4426927" y="4112637"/>
              <a:ext cx="112218" cy="61763"/>
              <a:chOff x="4426927" y="4112637"/>
              <a:chExt cx="112218" cy="61763"/>
            </a:xfrm>
            <a:grpFill/>
          </p:grpSpPr>
          <p:sp>
            <p:nvSpPr>
              <p:cNvPr id="1886" name="Vrije vorm: vorm 1885">
                <a:extLst>
                  <a:ext uri="{FF2B5EF4-FFF2-40B4-BE49-F238E27FC236}">
                    <a16:creationId xmlns:a16="http://schemas.microsoft.com/office/drawing/2014/main" id="{6BD4C79D-6285-4ABF-9666-7CC9C8888714}"/>
                  </a:ext>
                </a:extLst>
              </p:cNvPr>
              <p:cNvSpPr/>
              <p:nvPr/>
            </p:nvSpPr>
            <p:spPr>
              <a:xfrm>
                <a:off x="4434762" y="4120198"/>
                <a:ext cx="95956" cy="46524"/>
              </a:xfrm>
              <a:custGeom>
                <a:avLst/>
                <a:gdLst>
                  <a:gd name="connsiteX0" fmla="*/ 0 w 95956"/>
                  <a:gd name="connsiteY0" fmla="*/ 43755 h 46524"/>
                  <a:gd name="connsiteX1" fmla="*/ 94677 w 95956"/>
                  <a:gd name="connsiteY1" fmla="*/ 0 h 46524"/>
                  <a:gd name="connsiteX2" fmla="*/ 95956 w 95956"/>
                  <a:gd name="connsiteY2" fmla="*/ 2768 h 46524"/>
                  <a:gd name="connsiteX3" fmla="*/ 1280 w 95956"/>
                  <a:gd name="connsiteY3" fmla="*/ 46524 h 46524"/>
                </a:gdLst>
                <a:ahLst/>
                <a:cxnLst>
                  <a:cxn ang="0">
                    <a:pos x="connsiteX0" y="connsiteY0"/>
                  </a:cxn>
                  <a:cxn ang="0">
                    <a:pos x="connsiteX1" y="connsiteY1"/>
                  </a:cxn>
                  <a:cxn ang="0">
                    <a:pos x="connsiteX2" y="connsiteY2"/>
                  </a:cxn>
                  <a:cxn ang="0">
                    <a:pos x="connsiteX3" y="connsiteY3"/>
                  </a:cxn>
                </a:cxnLst>
                <a:rect l="l" t="t" r="r" b="b"/>
                <a:pathLst>
                  <a:path w="95956" h="46524">
                    <a:moveTo>
                      <a:pt x="0" y="43755"/>
                    </a:moveTo>
                    <a:lnTo>
                      <a:pt x="94677" y="0"/>
                    </a:lnTo>
                    <a:lnTo>
                      <a:pt x="95956" y="2768"/>
                    </a:lnTo>
                    <a:lnTo>
                      <a:pt x="1280" y="46524"/>
                    </a:lnTo>
                    <a:close/>
                  </a:path>
                </a:pathLst>
              </a:custGeom>
              <a:grpFill/>
              <a:ln w="5978" cap="flat">
                <a:noFill/>
                <a:prstDash val="solid"/>
                <a:miter/>
              </a:ln>
            </p:spPr>
            <p:txBody>
              <a:bodyPr rtlCol="0" anchor="ctr"/>
              <a:lstStyle/>
              <a:p>
                <a:endParaRPr lang="en-GB"/>
              </a:p>
            </p:txBody>
          </p:sp>
          <p:sp>
            <p:nvSpPr>
              <p:cNvPr id="1887" name="Vrije vorm: vorm 1886">
                <a:extLst>
                  <a:ext uri="{FF2B5EF4-FFF2-40B4-BE49-F238E27FC236}">
                    <a16:creationId xmlns:a16="http://schemas.microsoft.com/office/drawing/2014/main" id="{EE95DE44-9189-4BE6-B417-DAF49D9FC6AD}"/>
                  </a:ext>
                </a:extLst>
              </p:cNvPr>
              <p:cNvSpPr/>
              <p:nvPr/>
            </p:nvSpPr>
            <p:spPr>
              <a:xfrm>
                <a:off x="4426927" y="4155988"/>
                <a:ext cx="18320" cy="18412"/>
              </a:xfrm>
              <a:custGeom>
                <a:avLst/>
                <a:gdLst>
                  <a:gd name="connsiteX0" fmla="*/ 13001 w 18320"/>
                  <a:gd name="connsiteY0" fmla="*/ 17579 h 18412"/>
                  <a:gd name="connsiteX1" fmla="*/ 860 w 18320"/>
                  <a:gd name="connsiteY1" fmla="*/ 13034 h 18412"/>
                  <a:gd name="connsiteX2" fmla="*/ 5346 w 18320"/>
                  <a:gd name="connsiteY2" fmla="*/ 833 h 18412"/>
                  <a:gd name="connsiteX3" fmla="*/ 17486 w 18320"/>
                  <a:gd name="connsiteY3" fmla="*/ 5379 h 18412"/>
                  <a:gd name="connsiteX4" fmla="*/ 13001 w 18320"/>
                  <a:gd name="connsiteY4" fmla="*/ 17579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2">
                    <a:moveTo>
                      <a:pt x="13001" y="17579"/>
                    </a:moveTo>
                    <a:cubicBezTo>
                      <a:pt x="8396" y="19672"/>
                      <a:pt x="2953" y="17699"/>
                      <a:pt x="860" y="13034"/>
                    </a:cubicBezTo>
                    <a:cubicBezTo>
                      <a:pt x="-1293" y="8429"/>
                      <a:pt x="740" y="2926"/>
                      <a:pt x="5346" y="833"/>
                    </a:cubicBezTo>
                    <a:cubicBezTo>
                      <a:pt x="9951" y="-1260"/>
                      <a:pt x="15393" y="714"/>
                      <a:pt x="17486" y="5379"/>
                    </a:cubicBezTo>
                    <a:cubicBezTo>
                      <a:pt x="19580" y="9984"/>
                      <a:pt x="17606" y="15486"/>
                      <a:pt x="13001" y="17579"/>
                    </a:cubicBezTo>
                    <a:close/>
                  </a:path>
                </a:pathLst>
              </a:custGeom>
              <a:grpFill/>
              <a:ln w="5978" cap="flat">
                <a:noFill/>
                <a:prstDash val="solid"/>
                <a:miter/>
              </a:ln>
            </p:spPr>
            <p:txBody>
              <a:bodyPr rtlCol="0" anchor="ctr"/>
              <a:lstStyle/>
              <a:p>
                <a:endParaRPr lang="en-GB"/>
              </a:p>
            </p:txBody>
          </p:sp>
          <p:sp>
            <p:nvSpPr>
              <p:cNvPr id="1888" name="Vrije vorm: vorm 1887">
                <a:extLst>
                  <a:ext uri="{FF2B5EF4-FFF2-40B4-BE49-F238E27FC236}">
                    <a16:creationId xmlns:a16="http://schemas.microsoft.com/office/drawing/2014/main" id="{7414F832-4EB1-4AA9-9854-EABD2D545285}"/>
                  </a:ext>
                </a:extLst>
              </p:cNvPr>
              <p:cNvSpPr/>
              <p:nvPr/>
            </p:nvSpPr>
            <p:spPr>
              <a:xfrm>
                <a:off x="4520850" y="4112637"/>
                <a:ext cx="18295" cy="18402"/>
              </a:xfrm>
              <a:custGeom>
                <a:avLst/>
                <a:gdLst>
                  <a:gd name="connsiteX0" fmla="*/ 12975 w 18295"/>
                  <a:gd name="connsiteY0" fmla="*/ 17570 h 18402"/>
                  <a:gd name="connsiteX1" fmla="*/ 17461 w 18295"/>
                  <a:gd name="connsiteY1" fmla="*/ 5369 h 18402"/>
                  <a:gd name="connsiteX2" fmla="*/ 5320 w 18295"/>
                  <a:gd name="connsiteY2" fmla="*/ 824 h 18402"/>
                  <a:gd name="connsiteX3" fmla="*/ 834 w 18295"/>
                  <a:gd name="connsiteY3" fmla="*/ 13024 h 18402"/>
                  <a:gd name="connsiteX4" fmla="*/ 12975 w 18295"/>
                  <a:gd name="connsiteY4" fmla="*/ 1757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02">
                    <a:moveTo>
                      <a:pt x="12975" y="17570"/>
                    </a:moveTo>
                    <a:cubicBezTo>
                      <a:pt x="17580" y="15477"/>
                      <a:pt x="19554" y="9974"/>
                      <a:pt x="17461" y="5369"/>
                    </a:cubicBezTo>
                    <a:cubicBezTo>
                      <a:pt x="15308" y="764"/>
                      <a:pt x="9865" y="-1270"/>
                      <a:pt x="5320" y="824"/>
                    </a:cubicBezTo>
                    <a:cubicBezTo>
                      <a:pt x="715" y="2917"/>
                      <a:pt x="-1259" y="8419"/>
                      <a:pt x="834" y="13024"/>
                    </a:cubicBezTo>
                    <a:cubicBezTo>
                      <a:pt x="2928" y="17690"/>
                      <a:pt x="8370" y="19663"/>
                      <a:pt x="12975" y="17570"/>
                    </a:cubicBezTo>
                    <a:close/>
                  </a:path>
                </a:pathLst>
              </a:custGeom>
              <a:grpFill/>
              <a:ln w="5978" cap="flat">
                <a:noFill/>
                <a:prstDash val="solid"/>
                <a:miter/>
              </a:ln>
            </p:spPr>
            <p:txBody>
              <a:bodyPr rtlCol="0" anchor="ctr"/>
              <a:lstStyle/>
              <a:p>
                <a:endParaRPr lang="en-GB"/>
              </a:p>
            </p:txBody>
          </p:sp>
        </p:grpSp>
        <p:grpSp>
          <p:nvGrpSpPr>
            <p:cNvPr id="1173" name="Graphic 3">
              <a:extLst>
                <a:ext uri="{FF2B5EF4-FFF2-40B4-BE49-F238E27FC236}">
                  <a16:creationId xmlns:a16="http://schemas.microsoft.com/office/drawing/2014/main" id="{A7811900-F879-4BBD-9C2F-FA6B7422D785}"/>
                </a:ext>
              </a:extLst>
            </p:cNvPr>
            <p:cNvGrpSpPr/>
            <p:nvPr/>
          </p:nvGrpSpPr>
          <p:grpSpPr>
            <a:xfrm>
              <a:off x="4445127" y="4249041"/>
              <a:ext cx="172492" cy="108062"/>
              <a:chOff x="4445127" y="4249041"/>
              <a:chExt cx="172492" cy="108062"/>
            </a:xfrm>
            <a:grpFill/>
          </p:grpSpPr>
          <p:sp>
            <p:nvSpPr>
              <p:cNvPr id="1883" name="Vrije vorm: vorm 1882">
                <a:extLst>
                  <a:ext uri="{FF2B5EF4-FFF2-40B4-BE49-F238E27FC236}">
                    <a16:creationId xmlns:a16="http://schemas.microsoft.com/office/drawing/2014/main" id="{6C605A47-2764-4545-B213-912936857A15}"/>
                  </a:ext>
                </a:extLst>
              </p:cNvPr>
              <p:cNvSpPr/>
              <p:nvPr/>
            </p:nvSpPr>
            <p:spPr>
              <a:xfrm>
                <a:off x="4453145" y="4256699"/>
                <a:ext cx="156455" cy="92701"/>
              </a:xfrm>
              <a:custGeom>
                <a:avLst/>
                <a:gdLst>
                  <a:gd name="connsiteX0" fmla="*/ 156456 w 156455"/>
                  <a:gd name="connsiteY0" fmla="*/ 2632 h 92701"/>
                  <a:gd name="connsiteX1" fmla="*/ 1555 w 156455"/>
                  <a:gd name="connsiteY1" fmla="*/ 92701 h 92701"/>
                  <a:gd name="connsiteX2" fmla="*/ 0 w 156455"/>
                  <a:gd name="connsiteY2" fmla="*/ 90070 h 92701"/>
                  <a:gd name="connsiteX3" fmla="*/ 154901 w 156455"/>
                  <a:gd name="connsiteY3" fmla="*/ 0 h 92701"/>
                </a:gdLst>
                <a:ahLst/>
                <a:cxnLst>
                  <a:cxn ang="0">
                    <a:pos x="connsiteX0" y="connsiteY0"/>
                  </a:cxn>
                  <a:cxn ang="0">
                    <a:pos x="connsiteX1" y="connsiteY1"/>
                  </a:cxn>
                  <a:cxn ang="0">
                    <a:pos x="connsiteX2" y="connsiteY2"/>
                  </a:cxn>
                  <a:cxn ang="0">
                    <a:pos x="connsiteX3" y="connsiteY3"/>
                  </a:cxn>
                </a:cxnLst>
                <a:rect l="l" t="t" r="r" b="b"/>
                <a:pathLst>
                  <a:path w="156455" h="92701">
                    <a:moveTo>
                      <a:pt x="156456" y="2632"/>
                    </a:moveTo>
                    <a:lnTo>
                      <a:pt x="1555" y="92701"/>
                    </a:lnTo>
                    <a:lnTo>
                      <a:pt x="0" y="90070"/>
                    </a:lnTo>
                    <a:lnTo>
                      <a:pt x="154901" y="0"/>
                    </a:lnTo>
                    <a:close/>
                  </a:path>
                </a:pathLst>
              </a:custGeom>
              <a:grpFill/>
              <a:ln w="5978" cap="flat">
                <a:noFill/>
                <a:prstDash val="solid"/>
                <a:miter/>
              </a:ln>
            </p:spPr>
            <p:txBody>
              <a:bodyPr rtlCol="0" anchor="ctr"/>
              <a:lstStyle/>
              <a:p>
                <a:endParaRPr lang="en-GB"/>
              </a:p>
            </p:txBody>
          </p:sp>
          <p:sp>
            <p:nvSpPr>
              <p:cNvPr id="1884" name="Vrije vorm: vorm 1883">
                <a:extLst>
                  <a:ext uri="{FF2B5EF4-FFF2-40B4-BE49-F238E27FC236}">
                    <a16:creationId xmlns:a16="http://schemas.microsoft.com/office/drawing/2014/main" id="{16440726-BA39-48CE-89BF-EC8D3856D7A1}"/>
                  </a:ext>
                </a:extLst>
              </p:cNvPr>
              <p:cNvSpPr/>
              <p:nvPr/>
            </p:nvSpPr>
            <p:spPr>
              <a:xfrm>
                <a:off x="4445127" y="4338706"/>
                <a:ext cx="18369" cy="18398"/>
              </a:xfrm>
              <a:custGeom>
                <a:avLst/>
                <a:gdLst>
                  <a:gd name="connsiteX0" fmla="*/ 13820 w 18369"/>
                  <a:gd name="connsiteY0" fmla="*/ 17154 h 18398"/>
                  <a:gd name="connsiteX1" fmla="*/ 1260 w 18369"/>
                  <a:gd name="connsiteY1" fmla="*/ 13804 h 18398"/>
                  <a:gd name="connsiteX2" fmla="*/ 4550 w 18369"/>
                  <a:gd name="connsiteY2" fmla="*/ 1245 h 18398"/>
                  <a:gd name="connsiteX3" fmla="*/ 17109 w 18369"/>
                  <a:gd name="connsiteY3" fmla="*/ 4594 h 18398"/>
                  <a:gd name="connsiteX4" fmla="*/ 13820 w 18369"/>
                  <a:gd name="connsiteY4" fmla="*/ 1715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8">
                    <a:moveTo>
                      <a:pt x="13820" y="17154"/>
                    </a:moveTo>
                    <a:cubicBezTo>
                      <a:pt x="9454" y="19725"/>
                      <a:pt x="3832" y="18171"/>
                      <a:pt x="1260" y="13804"/>
                    </a:cubicBezTo>
                    <a:cubicBezTo>
                      <a:pt x="-1311" y="9379"/>
                      <a:pt x="184" y="3757"/>
                      <a:pt x="4550" y="1245"/>
                    </a:cubicBezTo>
                    <a:cubicBezTo>
                      <a:pt x="8916" y="-1327"/>
                      <a:pt x="14537" y="228"/>
                      <a:pt x="17109" y="4594"/>
                    </a:cubicBezTo>
                    <a:cubicBezTo>
                      <a:pt x="19681" y="8960"/>
                      <a:pt x="18186" y="14582"/>
                      <a:pt x="13820" y="17154"/>
                    </a:cubicBezTo>
                    <a:close/>
                  </a:path>
                </a:pathLst>
              </a:custGeom>
              <a:grpFill/>
              <a:ln w="5978" cap="flat">
                <a:noFill/>
                <a:prstDash val="solid"/>
                <a:miter/>
              </a:ln>
            </p:spPr>
            <p:txBody>
              <a:bodyPr rtlCol="0" anchor="ctr"/>
              <a:lstStyle/>
              <a:p>
                <a:endParaRPr lang="en-GB"/>
              </a:p>
            </p:txBody>
          </p:sp>
          <p:sp>
            <p:nvSpPr>
              <p:cNvPr id="1885" name="Vrije vorm: vorm 1884">
                <a:extLst>
                  <a:ext uri="{FF2B5EF4-FFF2-40B4-BE49-F238E27FC236}">
                    <a16:creationId xmlns:a16="http://schemas.microsoft.com/office/drawing/2014/main" id="{7B0DEB89-294D-4E5F-BF7A-D50202BAD171}"/>
                  </a:ext>
                </a:extLst>
              </p:cNvPr>
              <p:cNvSpPr/>
              <p:nvPr/>
            </p:nvSpPr>
            <p:spPr>
              <a:xfrm>
                <a:off x="4599250" y="4249041"/>
                <a:ext cx="18369" cy="18411"/>
              </a:xfrm>
              <a:custGeom>
                <a:avLst/>
                <a:gdLst>
                  <a:gd name="connsiteX0" fmla="*/ 13820 w 18369"/>
                  <a:gd name="connsiteY0" fmla="*/ 17167 h 18411"/>
                  <a:gd name="connsiteX1" fmla="*/ 17109 w 18369"/>
                  <a:gd name="connsiteY1" fmla="*/ 4607 h 18411"/>
                  <a:gd name="connsiteX2" fmla="*/ 4550 w 18369"/>
                  <a:gd name="connsiteY2" fmla="*/ 1258 h 18411"/>
                  <a:gd name="connsiteX3" fmla="*/ 1260 w 18369"/>
                  <a:gd name="connsiteY3" fmla="*/ 13818 h 18411"/>
                  <a:gd name="connsiteX4" fmla="*/ 13820 w 18369"/>
                  <a:gd name="connsiteY4" fmla="*/ 17167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1">
                    <a:moveTo>
                      <a:pt x="13820" y="17167"/>
                    </a:moveTo>
                    <a:cubicBezTo>
                      <a:pt x="18186" y="14595"/>
                      <a:pt x="19681" y="8973"/>
                      <a:pt x="17109" y="4607"/>
                    </a:cubicBezTo>
                    <a:cubicBezTo>
                      <a:pt x="14537" y="182"/>
                      <a:pt x="8975" y="-1313"/>
                      <a:pt x="4550" y="1258"/>
                    </a:cubicBezTo>
                    <a:cubicBezTo>
                      <a:pt x="184" y="3830"/>
                      <a:pt x="-1311" y="9452"/>
                      <a:pt x="1260" y="13818"/>
                    </a:cubicBezTo>
                    <a:cubicBezTo>
                      <a:pt x="3832" y="18183"/>
                      <a:pt x="9454" y="19738"/>
                      <a:pt x="13820" y="17167"/>
                    </a:cubicBezTo>
                    <a:close/>
                  </a:path>
                </a:pathLst>
              </a:custGeom>
              <a:grpFill/>
              <a:ln w="5978" cap="flat">
                <a:noFill/>
                <a:prstDash val="solid"/>
                <a:miter/>
              </a:ln>
            </p:spPr>
            <p:txBody>
              <a:bodyPr rtlCol="0" anchor="ctr"/>
              <a:lstStyle/>
              <a:p>
                <a:endParaRPr lang="en-GB"/>
              </a:p>
            </p:txBody>
          </p:sp>
        </p:grpSp>
        <p:grpSp>
          <p:nvGrpSpPr>
            <p:cNvPr id="1174" name="Graphic 3">
              <a:extLst>
                <a:ext uri="{FF2B5EF4-FFF2-40B4-BE49-F238E27FC236}">
                  <a16:creationId xmlns:a16="http://schemas.microsoft.com/office/drawing/2014/main" id="{D9537A2C-F7ED-4489-83B1-8D842A74A75E}"/>
                </a:ext>
              </a:extLst>
            </p:cNvPr>
            <p:cNvGrpSpPr/>
            <p:nvPr/>
          </p:nvGrpSpPr>
          <p:grpSpPr>
            <a:xfrm>
              <a:off x="4352234" y="3884861"/>
              <a:ext cx="70126" cy="33460"/>
              <a:chOff x="4352234" y="3884861"/>
              <a:chExt cx="70126" cy="33460"/>
            </a:xfrm>
            <a:grpFill/>
          </p:grpSpPr>
          <p:sp>
            <p:nvSpPr>
              <p:cNvPr id="1880" name="Vrije vorm: vorm 1879">
                <a:extLst>
                  <a:ext uri="{FF2B5EF4-FFF2-40B4-BE49-F238E27FC236}">
                    <a16:creationId xmlns:a16="http://schemas.microsoft.com/office/drawing/2014/main" id="{13B39F84-C7C4-43B3-BA5D-279C79D8FDDB}"/>
                  </a:ext>
                </a:extLst>
              </p:cNvPr>
              <p:cNvSpPr/>
              <p:nvPr/>
            </p:nvSpPr>
            <p:spPr>
              <a:xfrm>
                <a:off x="4360504" y="3892473"/>
                <a:ext cx="53527" cy="18241"/>
              </a:xfrm>
              <a:custGeom>
                <a:avLst/>
                <a:gdLst>
                  <a:gd name="connsiteX0" fmla="*/ 52690 w 53527"/>
                  <a:gd name="connsiteY0" fmla="*/ 0 h 18241"/>
                  <a:gd name="connsiteX1" fmla="*/ 53528 w 53527"/>
                  <a:gd name="connsiteY1" fmla="*/ 2930 h 18241"/>
                  <a:gd name="connsiteX2" fmla="*/ 897 w 53527"/>
                  <a:gd name="connsiteY2" fmla="*/ 18241 h 18241"/>
                  <a:gd name="connsiteX3" fmla="*/ 0 w 53527"/>
                  <a:gd name="connsiteY3" fmla="*/ 15311 h 18241"/>
                </a:gdLst>
                <a:ahLst/>
                <a:cxnLst>
                  <a:cxn ang="0">
                    <a:pos x="connsiteX0" y="connsiteY0"/>
                  </a:cxn>
                  <a:cxn ang="0">
                    <a:pos x="connsiteX1" y="connsiteY1"/>
                  </a:cxn>
                  <a:cxn ang="0">
                    <a:pos x="connsiteX2" y="connsiteY2"/>
                  </a:cxn>
                  <a:cxn ang="0">
                    <a:pos x="connsiteX3" y="connsiteY3"/>
                  </a:cxn>
                </a:cxnLst>
                <a:rect l="l" t="t" r="r" b="b"/>
                <a:pathLst>
                  <a:path w="53527" h="18241">
                    <a:moveTo>
                      <a:pt x="52690" y="0"/>
                    </a:moveTo>
                    <a:lnTo>
                      <a:pt x="53528" y="2930"/>
                    </a:lnTo>
                    <a:lnTo>
                      <a:pt x="897" y="18241"/>
                    </a:lnTo>
                    <a:lnTo>
                      <a:pt x="0" y="15311"/>
                    </a:lnTo>
                    <a:close/>
                  </a:path>
                </a:pathLst>
              </a:custGeom>
              <a:grpFill/>
              <a:ln w="5978" cap="flat">
                <a:noFill/>
                <a:prstDash val="solid"/>
                <a:miter/>
              </a:ln>
            </p:spPr>
            <p:txBody>
              <a:bodyPr rtlCol="0" anchor="ctr"/>
              <a:lstStyle/>
              <a:p>
                <a:endParaRPr lang="en-GB"/>
              </a:p>
            </p:txBody>
          </p:sp>
          <p:sp>
            <p:nvSpPr>
              <p:cNvPr id="1881" name="Vrije vorm: vorm 1880">
                <a:extLst>
                  <a:ext uri="{FF2B5EF4-FFF2-40B4-BE49-F238E27FC236}">
                    <a16:creationId xmlns:a16="http://schemas.microsoft.com/office/drawing/2014/main" id="{2AB0054C-5726-4A0D-9536-F11948D710E1}"/>
                  </a:ext>
                </a:extLst>
              </p:cNvPr>
              <p:cNvSpPr/>
              <p:nvPr/>
            </p:nvSpPr>
            <p:spPr>
              <a:xfrm>
                <a:off x="4352234" y="3899877"/>
                <a:ext cx="18334" cy="18443"/>
              </a:xfrm>
              <a:custGeom>
                <a:avLst/>
                <a:gdLst>
                  <a:gd name="connsiteX0" fmla="*/ 11738 w 18334"/>
                  <a:gd name="connsiteY0" fmla="*/ 18073 h 18443"/>
                  <a:gd name="connsiteX1" fmla="*/ 375 w 18334"/>
                  <a:gd name="connsiteY1" fmla="*/ 11794 h 18443"/>
                  <a:gd name="connsiteX2" fmla="*/ 6595 w 18334"/>
                  <a:gd name="connsiteY2" fmla="*/ 370 h 18443"/>
                  <a:gd name="connsiteX3" fmla="*/ 17959 w 18334"/>
                  <a:gd name="connsiteY3" fmla="*/ 6650 h 18443"/>
                  <a:gd name="connsiteX4" fmla="*/ 11738 w 18334"/>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3">
                    <a:moveTo>
                      <a:pt x="11738" y="18073"/>
                    </a:moveTo>
                    <a:cubicBezTo>
                      <a:pt x="6894" y="19509"/>
                      <a:pt x="1811" y="16638"/>
                      <a:pt x="375" y="11794"/>
                    </a:cubicBezTo>
                    <a:cubicBezTo>
                      <a:pt x="-1060" y="6890"/>
                      <a:pt x="1751" y="1806"/>
                      <a:pt x="6595" y="370"/>
                    </a:cubicBezTo>
                    <a:cubicBezTo>
                      <a:pt x="11440" y="-1065"/>
                      <a:pt x="16523" y="1806"/>
                      <a:pt x="17959" y="6650"/>
                    </a:cubicBezTo>
                    <a:cubicBezTo>
                      <a:pt x="19394" y="11554"/>
                      <a:pt x="16583" y="16698"/>
                      <a:pt x="11738" y="18073"/>
                    </a:cubicBezTo>
                    <a:close/>
                  </a:path>
                </a:pathLst>
              </a:custGeom>
              <a:grpFill/>
              <a:ln w="5978" cap="flat">
                <a:noFill/>
                <a:prstDash val="solid"/>
                <a:miter/>
              </a:ln>
            </p:spPr>
            <p:txBody>
              <a:bodyPr rtlCol="0" anchor="ctr"/>
              <a:lstStyle/>
              <a:p>
                <a:endParaRPr lang="en-GB"/>
              </a:p>
            </p:txBody>
          </p:sp>
          <p:sp>
            <p:nvSpPr>
              <p:cNvPr id="1882" name="Vrije vorm: vorm 1881">
                <a:extLst>
                  <a:ext uri="{FF2B5EF4-FFF2-40B4-BE49-F238E27FC236}">
                    <a16:creationId xmlns:a16="http://schemas.microsoft.com/office/drawing/2014/main" id="{3863959C-058C-40AF-BED2-781C866DB920}"/>
                  </a:ext>
                </a:extLst>
              </p:cNvPr>
              <p:cNvSpPr/>
              <p:nvPr/>
            </p:nvSpPr>
            <p:spPr>
              <a:xfrm>
                <a:off x="4404027" y="3884861"/>
                <a:ext cx="18333" cy="18427"/>
              </a:xfrm>
              <a:custGeom>
                <a:avLst/>
                <a:gdLst>
                  <a:gd name="connsiteX0" fmla="*/ 11739 w 18333"/>
                  <a:gd name="connsiteY0" fmla="*/ 18078 h 18427"/>
                  <a:gd name="connsiteX1" fmla="*/ 17959 w 18333"/>
                  <a:gd name="connsiteY1" fmla="*/ 6655 h 18427"/>
                  <a:gd name="connsiteX2" fmla="*/ 6595 w 18333"/>
                  <a:gd name="connsiteY2" fmla="*/ 375 h 18427"/>
                  <a:gd name="connsiteX3" fmla="*/ 375 w 18333"/>
                  <a:gd name="connsiteY3" fmla="*/ 11798 h 18427"/>
                  <a:gd name="connsiteX4" fmla="*/ 11739 w 18333"/>
                  <a:gd name="connsiteY4" fmla="*/ 1807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27">
                    <a:moveTo>
                      <a:pt x="11739" y="18078"/>
                    </a:moveTo>
                    <a:cubicBezTo>
                      <a:pt x="16583" y="16643"/>
                      <a:pt x="19394" y="11559"/>
                      <a:pt x="17959" y="6655"/>
                    </a:cubicBezTo>
                    <a:cubicBezTo>
                      <a:pt x="16523" y="1751"/>
                      <a:pt x="11440" y="-1060"/>
                      <a:pt x="6595" y="375"/>
                    </a:cubicBezTo>
                    <a:cubicBezTo>
                      <a:pt x="1751" y="1810"/>
                      <a:pt x="-1060" y="6894"/>
                      <a:pt x="375" y="11798"/>
                    </a:cubicBezTo>
                    <a:cubicBezTo>
                      <a:pt x="1751" y="16643"/>
                      <a:pt x="6894" y="19453"/>
                      <a:pt x="11739" y="18078"/>
                    </a:cubicBezTo>
                    <a:close/>
                  </a:path>
                </a:pathLst>
              </a:custGeom>
              <a:grpFill/>
              <a:ln w="5978" cap="flat">
                <a:noFill/>
                <a:prstDash val="solid"/>
                <a:miter/>
              </a:ln>
            </p:spPr>
            <p:txBody>
              <a:bodyPr rtlCol="0" anchor="ctr"/>
              <a:lstStyle/>
              <a:p>
                <a:endParaRPr lang="en-GB"/>
              </a:p>
            </p:txBody>
          </p:sp>
        </p:grpSp>
        <p:grpSp>
          <p:nvGrpSpPr>
            <p:cNvPr id="1175" name="Graphic 3">
              <a:extLst>
                <a:ext uri="{FF2B5EF4-FFF2-40B4-BE49-F238E27FC236}">
                  <a16:creationId xmlns:a16="http://schemas.microsoft.com/office/drawing/2014/main" id="{8C24FA87-E4A1-4753-B502-56CBCD942761}"/>
                </a:ext>
              </a:extLst>
            </p:cNvPr>
            <p:cNvGrpSpPr/>
            <p:nvPr/>
          </p:nvGrpSpPr>
          <p:grpSpPr>
            <a:xfrm>
              <a:off x="4546750" y="4416615"/>
              <a:ext cx="48345" cy="39053"/>
              <a:chOff x="4546750" y="4416615"/>
              <a:chExt cx="48345" cy="39053"/>
            </a:xfrm>
            <a:grpFill/>
          </p:grpSpPr>
          <p:sp>
            <p:nvSpPr>
              <p:cNvPr id="1877" name="Vrije vorm: vorm 1876">
                <a:extLst>
                  <a:ext uri="{FF2B5EF4-FFF2-40B4-BE49-F238E27FC236}">
                    <a16:creationId xmlns:a16="http://schemas.microsoft.com/office/drawing/2014/main" id="{B33484DF-AA93-4C78-AC64-A7E99982F3BC}"/>
                  </a:ext>
                </a:extLst>
              </p:cNvPr>
              <p:cNvSpPr/>
              <p:nvPr/>
            </p:nvSpPr>
            <p:spPr>
              <a:xfrm>
                <a:off x="4554698" y="4424279"/>
                <a:ext cx="32475" cy="23683"/>
              </a:xfrm>
              <a:custGeom>
                <a:avLst/>
                <a:gdLst>
                  <a:gd name="connsiteX0" fmla="*/ 32475 w 32475"/>
                  <a:gd name="connsiteY0" fmla="*/ 2572 h 23683"/>
                  <a:gd name="connsiteX1" fmla="*/ 1675 w 32475"/>
                  <a:gd name="connsiteY1" fmla="*/ 23684 h 23683"/>
                  <a:gd name="connsiteX2" fmla="*/ 0 w 32475"/>
                  <a:gd name="connsiteY2" fmla="*/ 21172 h 23683"/>
                  <a:gd name="connsiteX3" fmla="*/ 30741 w 32475"/>
                  <a:gd name="connsiteY3" fmla="*/ 0 h 23683"/>
                </a:gdLst>
                <a:ahLst/>
                <a:cxnLst>
                  <a:cxn ang="0">
                    <a:pos x="connsiteX0" y="connsiteY0"/>
                  </a:cxn>
                  <a:cxn ang="0">
                    <a:pos x="connsiteX1" y="connsiteY1"/>
                  </a:cxn>
                  <a:cxn ang="0">
                    <a:pos x="connsiteX2" y="connsiteY2"/>
                  </a:cxn>
                  <a:cxn ang="0">
                    <a:pos x="connsiteX3" y="connsiteY3"/>
                  </a:cxn>
                </a:cxnLst>
                <a:rect l="l" t="t" r="r" b="b"/>
                <a:pathLst>
                  <a:path w="32475" h="23683">
                    <a:moveTo>
                      <a:pt x="32475" y="2572"/>
                    </a:moveTo>
                    <a:lnTo>
                      <a:pt x="1675" y="23684"/>
                    </a:lnTo>
                    <a:lnTo>
                      <a:pt x="0" y="21172"/>
                    </a:lnTo>
                    <a:lnTo>
                      <a:pt x="30741" y="0"/>
                    </a:lnTo>
                    <a:close/>
                  </a:path>
                </a:pathLst>
              </a:custGeom>
              <a:grpFill/>
              <a:ln w="5978" cap="flat">
                <a:noFill/>
                <a:prstDash val="solid"/>
                <a:miter/>
              </a:ln>
            </p:spPr>
            <p:txBody>
              <a:bodyPr rtlCol="0" anchor="ctr"/>
              <a:lstStyle/>
              <a:p>
                <a:endParaRPr lang="en-GB"/>
              </a:p>
            </p:txBody>
          </p:sp>
          <p:sp>
            <p:nvSpPr>
              <p:cNvPr id="1878" name="Vrije vorm: vorm 1877">
                <a:extLst>
                  <a:ext uri="{FF2B5EF4-FFF2-40B4-BE49-F238E27FC236}">
                    <a16:creationId xmlns:a16="http://schemas.microsoft.com/office/drawing/2014/main" id="{DF0F83BB-22CE-455C-A898-0A3F2460D7B7}"/>
                  </a:ext>
                </a:extLst>
              </p:cNvPr>
              <p:cNvSpPr/>
              <p:nvPr/>
            </p:nvSpPr>
            <p:spPr>
              <a:xfrm>
                <a:off x="4546750" y="4437206"/>
                <a:ext cx="18348" cy="18461"/>
              </a:xfrm>
              <a:custGeom>
                <a:avLst/>
                <a:gdLst>
                  <a:gd name="connsiteX0" fmla="*/ 14348 w 18348"/>
                  <a:gd name="connsiteY0" fmla="*/ 16856 h 18461"/>
                  <a:gd name="connsiteX1" fmla="*/ 1609 w 18348"/>
                  <a:gd name="connsiteY1" fmla="*/ 14404 h 18461"/>
                  <a:gd name="connsiteX2" fmla="*/ 4001 w 18348"/>
                  <a:gd name="connsiteY2" fmla="*/ 1605 h 18461"/>
                  <a:gd name="connsiteX3" fmla="*/ 16740 w 18348"/>
                  <a:gd name="connsiteY3" fmla="*/ 4058 h 18461"/>
                  <a:gd name="connsiteX4" fmla="*/ 14348 w 18348"/>
                  <a:gd name="connsiteY4" fmla="*/ 1685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61">
                    <a:moveTo>
                      <a:pt x="14348" y="16856"/>
                    </a:moveTo>
                    <a:cubicBezTo>
                      <a:pt x="10161" y="19727"/>
                      <a:pt x="4480" y="18651"/>
                      <a:pt x="1609" y="14404"/>
                    </a:cubicBezTo>
                    <a:cubicBezTo>
                      <a:pt x="-1262" y="10218"/>
                      <a:pt x="-186" y="4476"/>
                      <a:pt x="4001" y="1605"/>
                    </a:cubicBezTo>
                    <a:cubicBezTo>
                      <a:pt x="8188" y="-1265"/>
                      <a:pt x="13869" y="-189"/>
                      <a:pt x="16740" y="4058"/>
                    </a:cubicBezTo>
                    <a:cubicBezTo>
                      <a:pt x="19611" y="8244"/>
                      <a:pt x="18534" y="13985"/>
                      <a:pt x="14348" y="16856"/>
                    </a:cubicBezTo>
                    <a:close/>
                  </a:path>
                </a:pathLst>
              </a:custGeom>
              <a:grpFill/>
              <a:ln w="5978" cap="flat">
                <a:noFill/>
                <a:prstDash val="solid"/>
                <a:miter/>
              </a:ln>
            </p:spPr>
            <p:txBody>
              <a:bodyPr rtlCol="0" anchor="ctr"/>
              <a:lstStyle/>
              <a:p>
                <a:endParaRPr lang="en-GB"/>
              </a:p>
            </p:txBody>
          </p:sp>
          <p:sp>
            <p:nvSpPr>
              <p:cNvPr id="1879" name="Vrije vorm: vorm 1878">
                <a:extLst>
                  <a:ext uri="{FF2B5EF4-FFF2-40B4-BE49-F238E27FC236}">
                    <a16:creationId xmlns:a16="http://schemas.microsoft.com/office/drawing/2014/main" id="{2B8EE90E-E1ED-45EC-AB03-656EA8187DEA}"/>
                  </a:ext>
                </a:extLst>
              </p:cNvPr>
              <p:cNvSpPr/>
              <p:nvPr/>
            </p:nvSpPr>
            <p:spPr>
              <a:xfrm>
                <a:off x="4576813" y="4416615"/>
                <a:ext cx="18281" cy="18419"/>
              </a:xfrm>
              <a:custGeom>
                <a:avLst/>
                <a:gdLst>
                  <a:gd name="connsiteX0" fmla="*/ 14307 w 18281"/>
                  <a:gd name="connsiteY0" fmla="*/ 16814 h 18419"/>
                  <a:gd name="connsiteX1" fmla="*/ 16699 w 18281"/>
                  <a:gd name="connsiteY1" fmla="*/ 4015 h 18419"/>
                  <a:gd name="connsiteX2" fmla="*/ 3960 w 18281"/>
                  <a:gd name="connsiteY2" fmla="*/ 1563 h 18419"/>
                  <a:gd name="connsiteX3" fmla="*/ 1628 w 18281"/>
                  <a:gd name="connsiteY3" fmla="*/ 14362 h 18419"/>
                  <a:gd name="connsiteX4" fmla="*/ 14307 w 18281"/>
                  <a:gd name="connsiteY4" fmla="*/ 1681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19">
                    <a:moveTo>
                      <a:pt x="14307" y="16814"/>
                    </a:moveTo>
                    <a:cubicBezTo>
                      <a:pt x="18494" y="13943"/>
                      <a:pt x="19510" y="8202"/>
                      <a:pt x="16699" y="4015"/>
                    </a:cubicBezTo>
                    <a:cubicBezTo>
                      <a:pt x="13829" y="-171"/>
                      <a:pt x="8147" y="-1248"/>
                      <a:pt x="3960" y="1563"/>
                    </a:cubicBezTo>
                    <a:cubicBezTo>
                      <a:pt x="-226" y="4434"/>
                      <a:pt x="-1243" y="10176"/>
                      <a:pt x="1628" y="14362"/>
                    </a:cubicBezTo>
                    <a:cubicBezTo>
                      <a:pt x="4439" y="18608"/>
                      <a:pt x="10121" y="19685"/>
                      <a:pt x="14307" y="16814"/>
                    </a:cubicBezTo>
                    <a:close/>
                  </a:path>
                </a:pathLst>
              </a:custGeom>
              <a:grpFill/>
              <a:ln w="5978" cap="flat">
                <a:noFill/>
                <a:prstDash val="solid"/>
                <a:miter/>
              </a:ln>
            </p:spPr>
            <p:txBody>
              <a:bodyPr rtlCol="0" anchor="ctr"/>
              <a:lstStyle/>
              <a:p>
                <a:endParaRPr lang="en-GB"/>
              </a:p>
            </p:txBody>
          </p:sp>
        </p:grpSp>
        <p:grpSp>
          <p:nvGrpSpPr>
            <p:cNvPr id="1176" name="Graphic 3">
              <a:extLst>
                <a:ext uri="{FF2B5EF4-FFF2-40B4-BE49-F238E27FC236}">
                  <a16:creationId xmlns:a16="http://schemas.microsoft.com/office/drawing/2014/main" id="{9EB95F6A-953B-4D54-BDEA-44D3299D27D4}"/>
                </a:ext>
              </a:extLst>
            </p:cNvPr>
            <p:cNvGrpSpPr/>
            <p:nvPr/>
          </p:nvGrpSpPr>
          <p:grpSpPr>
            <a:xfrm>
              <a:off x="4424354" y="4222779"/>
              <a:ext cx="175940" cy="106117"/>
              <a:chOff x="4424354" y="4222779"/>
              <a:chExt cx="175940" cy="106117"/>
            </a:xfrm>
            <a:grpFill/>
          </p:grpSpPr>
          <p:sp>
            <p:nvSpPr>
              <p:cNvPr id="1874" name="Vrije vorm: vorm 1873">
                <a:extLst>
                  <a:ext uri="{FF2B5EF4-FFF2-40B4-BE49-F238E27FC236}">
                    <a16:creationId xmlns:a16="http://schemas.microsoft.com/office/drawing/2014/main" id="{D9A3D267-3D29-4C37-9BD4-19BEABBBD69D}"/>
                  </a:ext>
                </a:extLst>
              </p:cNvPr>
              <p:cNvSpPr/>
              <p:nvPr/>
            </p:nvSpPr>
            <p:spPr>
              <a:xfrm>
                <a:off x="4432392" y="4230384"/>
                <a:ext cx="159924" cy="90847"/>
              </a:xfrm>
              <a:custGeom>
                <a:avLst/>
                <a:gdLst>
                  <a:gd name="connsiteX0" fmla="*/ 159925 w 159924"/>
                  <a:gd name="connsiteY0" fmla="*/ 2691 h 90847"/>
                  <a:gd name="connsiteX1" fmla="*/ 1436 w 159924"/>
                  <a:gd name="connsiteY1" fmla="*/ 90847 h 90847"/>
                  <a:gd name="connsiteX2" fmla="*/ 0 w 159924"/>
                  <a:gd name="connsiteY2" fmla="*/ 88216 h 90847"/>
                  <a:gd name="connsiteX3" fmla="*/ 158430 w 159924"/>
                  <a:gd name="connsiteY3" fmla="*/ 0 h 90847"/>
                </a:gdLst>
                <a:ahLst/>
                <a:cxnLst>
                  <a:cxn ang="0">
                    <a:pos x="connsiteX0" y="connsiteY0"/>
                  </a:cxn>
                  <a:cxn ang="0">
                    <a:pos x="connsiteX1" y="connsiteY1"/>
                  </a:cxn>
                  <a:cxn ang="0">
                    <a:pos x="connsiteX2" y="connsiteY2"/>
                  </a:cxn>
                  <a:cxn ang="0">
                    <a:pos x="connsiteX3" y="connsiteY3"/>
                  </a:cxn>
                </a:cxnLst>
                <a:rect l="l" t="t" r="r" b="b"/>
                <a:pathLst>
                  <a:path w="159924" h="90847">
                    <a:moveTo>
                      <a:pt x="159925" y="2691"/>
                    </a:moveTo>
                    <a:lnTo>
                      <a:pt x="1436" y="90847"/>
                    </a:lnTo>
                    <a:lnTo>
                      <a:pt x="0" y="88216"/>
                    </a:lnTo>
                    <a:lnTo>
                      <a:pt x="158430" y="0"/>
                    </a:lnTo>
                    <a:close/>
                  </a:path>
                </a:pathLst>
              </a:custGeom>
              <a:grpFill/>
              <a:ln w="5978" cap="flat">
                <a:noFill/>
                <a:prstDash val="solid"/>
                <a:miter/>
              </a:ln>
            </p:spPr>
            <p:txBody>
              <a:bodyPr rtlCol="0" anchor="ctr"/>
              <a:lstStyle/>
              <a:p>
                <a:endParaRPr lang="en-GB"/>
              </a:p>
            </p:txBody>
          </p:sp>
          <p:sp>
            <p:nvSpPr>
              <p:cNvPr id="1875" name="Vrije vorm: vorm 1874">
                <a:extLst>
                  <a:ext uri="{FF2B5EF4-FFF2-40B4-BE49-F238E27FC236}">
                    <a16:creationId xmlns:a16="http://schemas.microsoft.com/office/drawing/2014/main" id="{68D5BF48-DE08-4D95-AA8D-B43A799598E6}"/>
                  </a:ext>
                </a:extLst>
              </p:cNvPr>
              <p:cNvSpPr/>
              <p:nvPr/>
            </p:nvSpPr>
            <p:spPr>
              <a:xfrm>
                <a:off x="4424354" y="4310516"/>
                <a:ext cx="18315" cy="18379"/>
              </a:xfrm>
              <a:custGeom>
                <a:avLst/>
                <a:gdLst>
                  <a:gd name="connsiteX0" fmla="*/ 13600 w 18315"/>
                  <a:gd name="connsiteY0" fmla="*/ 17234 h 18379"/>
                  <a:gd name="connsiteX1" fmla="*/ 1160 w 18315"/>
                  <a:gd name="connsiteY1" fmla="*/ 13646 h 18379"/>
                  <a:gd name="connsiteX2" fmla="*/ 4689 w 18315"/>
                  <a:gd name="connsiteY2" fmla="*/ 1146 h 18379"/>
                  <a:gd name="connsiteX3" fmla="*/ 17129 w 18315"/>
                  <a:gd name="connsiteY3" fmla="*/ 4734 h 18379"/>
                  <a:gd name="connsiteX4" fmla="*/ 13600 w 18315"/>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79">
                    <a:moveTo>
                      <a:pt x="13600" y="17234"/>
                    </a:moveTo>
                    <a:cubicBezTo>
                      <a:pt x="9174" y="19686"/>
                      <a:pt x="3612" y="18071"/>
                      <a:pt x="1160" y="13646"/>
                    </a:cubicBezTo>
                    <a:cubicBezTo>
                      <a:pt x="-1292" y="9220"/>
                      <a:pt x="263" y="3598"/>
                      <a:pt x="4689" y="1146"/>
                    </a:cubicBezTo>
                    <a:cubicBezTo>
                      <a:pt x="9115" y="-1306"/>
                      <a:pt x="14677" y="309"/>
                      <a:pt x="17129" y="4734"/>
                    </a:cubicBezTo>
                    <a:cubicBezTo>
                      <a:pt x="19641" y="9160"/>
                      <a:pt x="18026" y="14782"/>
                      <a:pt x="13600" y="17234"/>
                    </a:cubicBezTo>
                    <a:close/>
                  </a:path>
                </a:pathLst>
              </a:custGeom>
              <a:grpFill/>
              <a:ln w="5978" cap="flat">
                <a:noFill/>
                <a:prstDash val="solid"/>
                <a:miter/>
              </a:ln>
            </p:spPr>
            <p:txBody>
              <a:bodyPr rtlCol="0" anchor="ctr"/>
              <a:lstStyle/>
              <a:p>
                <a:endParaRPr lang="en-GB"/>
              </a:p>
            </p:txBody>
          </p:sp>
          <p:sp>
            <p:nvSpPr>
              <p:cNvPr id="1876" name="Vrije vorm: vorm 1875">
                <a:extLst>
                  <a:ext uri="{FF2B5EF4-FFF2-40B4-BE49-F238E27FC236}">
                    <a16:creationId xmlns:a16="http://schemas.microsoft.com/office/drawing/2014/main" id="{EF4D2239-084F-4E74-AE75-366B5644FF16}"/>
                  </a:ext>
                </a:extLst>
              </p:cNvPr>
              <p:cNvSpPr/>
              <p:nvPr/>
            </p:nvSpPr>
            <p:spPr>
              <a:xfrm>
                <a:off x="4582006" y="4222779"/>
                <a:ext cx="18289" cy="18380"/>
              </a:xfrm>
              <a:custGeom>
                <a:avLst/>
                <a:gdLst>
                  <a:gd name="connsiteX0" fmla="*/ 13600 w 18289"/>
                  <a:gd name="connsiteY0" fmla="*/ 17234 h 18380"/>
                  <a:gd name="connsiteX1" fmla="*/ 17129 w 18289"/>
                  <a:gd name="connsiteY1" fmla="*/ 4735 h 18380"/>
                  <a:gd name="connsiteX2" fmla="*/ 4689 w 18289"/>
                  <a:gd name="connsiteY2" fmla="*/ 1146 h 18380"/>
                  <a:gd name="connsiteX3" fmla="*/ 1160 w 18289"/>
                  <a:gd name="connsiteY3" fmla="*/ 13646 h 18380"/>
                  <a:gd name="connsiteX4" fmla="*/ 13600 w 18289"/>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80">
                    <a:moveTo>
                      <a:pt x="13600" y="17234"/>
                    </a:moveTo>
                    <a:cubicBezTo>
                      <a:pt x="18026" y="14782"/>
                      <a:pt x="19581" y="9160"/>
                      <a:pt x="17129" y="4735"/>
                    </a:cubicBezTo>
                    <a:cubicBezTo>
                      <a:pt x="14677" y="308"/>
                      <a:pt x="9055" y="-1306"/>
                      <a:pt x="4689" y="1146"/>
                    </a:cubicBezTo>
                    <a:cubicBezTo>
                      <a:pt x="263" y="3598"/>
                      <a:pt x="-1292" y="9220"/>
                      <a:pt x="1160" y="13646"/>
                    </a:cubicBezTo>
                    <a:cubicBezTo>
                      <a:pt x="3613" y="18071"/>
                      <a:pt x="9175" y="19686"/>
                      <a:pt x="13600" y="17234"/>
                    </a:cubicBezTo>
                    <a:close/>
                  </a:path>
                </a:pathLst>
              </a:custGeom>
              <a:grpFill/>
              <a:ln w="5978" cap="flat">
                <a:noFill/>
                <a:prstDash val="solid"/>
                <a:miter/>
              </a:ln>
            </p:spPr>
            <p:txBody>
              <a:bodyPr rtlCol="0" anchor="ctr"/>
              <a:lstStyle/>
              <a:p>
                <a:endParaRPr lang="en-GB"/>
              </a:p>
            </p:txBody>
          </p:sp>
        </p:grpSp>
        <p:grpSp>
          <p:nvGrpSpPr>
            <p:cNvPr id="1177" name="Graphic 3">
              <a:extLst>
                <a:ext uri="{FF2B5EF4-FFF2-40B4-BE49-F238E27FC236}">
                  <a16:creationId xmlns:a16="http://schemas.microsoft.com/office/drawing/2014/main" id="{732B34A1-837D-4614-9CCD-9A25BA486074}"/>
                </a:ext>
              </a:extLst>
            </p:cNvPr>
            <p:cNvGrpSpPr/>
            <p:nvPr/>
          </p:nvGrpSpPr>
          <p:grpSpPr>
            <a:xfrm>
              <a:off x="4153082" y="3474116"/>
              <a:ext cx="206351" cy="25728"/>
              <a:chOff x="4153082" y="3474116"/>
              <a:chExt cx="206351" cy="25728"/>
            </a:xfrm>
            <a:grpFill/>
          </p:grpSpPr>
          <p:sp>
            <p:nvSpPr>
              <p:cNvPr id="1871" name="Vrije vorm: vorm 1870">
                <a:extLst>
                  <a:ext uri="{FF2B5EF4-FFF2-40B4-BE49-F238E27FC236}">
                    <a16:creationId xmlns:a16="http://schemas.microsoft.com/office/drawing/2014/main" id="{95280375-FBF8-4EB9-A5E1-11CF4099FD2D}"/>
                  </a:ext>
                </a:extLst>
              </p:cNvPr>
              <p:cNvSpPr/>
              <p:nvPr/>
            </p:nvSpPr>
            <p:spPr>
              <a:xfrm>
                <a:off x="4161764" y="3481777"/>
                <a:ext cx="188991" cy="10406"/>
              </a:xfrm>
              <a:custGeom>
                <a:avLst/>
                <a:gdLst>
                  <a:gd name="connsiteX0" fmla="*/ 188871 w 188991"/>
                  <a:gd name="connsiteY0" fmla="*/ 0 h 10406"/>
                  <a:gd name="connsiteX1" fmla="*/ 188991 w 188991"/>
                  <a:gd name="connsiteY1" fmla="*/ 3050 h 10406"/>
                  <a:gd name="connsiteX2" fmla="*/ 120 w 188991"/>
                  <a:gd name="connsiteY2" fmla="*/ 10407 h 10406"/>
                  <a:gd name="connsiteX3" fmla="*/ 0 w 188991"/>
                  <a:gd name="connsiteY3" fmla="*/ 7356 h 10406"/>
                </a:gdLst>
                <a:ahLst/>
                <a:cxnLst>
                  <a:cxn ang="0">
                    <a:pos x="connsiteX0" y="connsiteY0"/>
                  </a:cxn>
                  <a:cxn ang="0">
                    <a:pos x="connsiteX1" y="connsiteY1"/>
                  </a:cxn>
                  <a:cxn ang="0">
                    <a:pos x="connsiteX2" y="connsiteY2"/>
                  </a:cxn>
                  <a:cxn ang="0">
                    <a:pos x="connsiteX3" y="connsiteY3"/>
                  </a:cxn>
                </a:cxnLst>
                <a:rect l="l" t="t" r="r" b="b"/>
                <a:pathLst>
                  <a:path w="188991" h="10406">
                    <a:moveTo>
                      <a:pt x="188871" y="0"/>
                    </a:moveTo>
                    <a:lnTo>
                      <a:pt x="188991" y="3050"/>
                    </a:lnTo>
                    <a:lnTo>
                      <a:pt x="120" y="10407"/>
                    </a:lnTo>
                    <a:lnTo>
                      <a:pt x="0" y="7356"/>
                    </a:lnTo>
                    <a:close/>
                  </a:path>
                </a:pathLst>
              </a:custGeom>
              <a:grpFill/>
              <a:ln w="5978" cap="flat">
                <a:noFill/>
                <a:prstDash val="solid"/>
                <a:miter/>
              </a:ln>
            </p:spPr>
            <p:txBody>
              <a:bodyPr rtlCol="0" anchor="ctr"/>
              <a:lstStyle/>
              <a:p>
                <a:endParaRPr lang="en-GB"/>
              </a:p>
            </p:txBody>
          </p:sp>
          <p:sp>
            <p:nvSpPr>
              <p:cNvPr id="1872" name="Vrije vorm: vorm 1871">
                <a:extLst>
                  <a:ext uri="{FF2B5EF4-FFF2-40B4-BE49-F238E27FC236}">
                    <a16:creationId xmlns:a16="http://schemas.microsoft.com/office/drawing/2014/main" id="{3474663A-73EB-4B83-A0BF-67B157DD4055}"/>
                  </a:ext>
                </a:extLst>
              </p:cNvPr>
              <p:cNvSpPr/>
              <p:nvPr/>
            </p:nvSpPr>
            <p:spPr>
              <a:xfrm>
                <a:off x="4153082" y="3481412"/>
                <a:ext cx="18377" cy="18432"/>
              </a:xfrm>
              <a:custGeom>
                <a:avLst/>
                <a:gdLst>
                  <a:gd name="connsiteX0" fmla="*/ 9579 w 18377"/>
                  <a:gd name="connsiteY0" fmla="*/ 18427 h 18432"/>
                  <a:gd name="connsiteX1" fmla="*/ 10 w 18377"/>
                  <a:gd name="connsiteY1" fmla="*/ 9575 h 18432"/>
                  <a:gd name="connsiteX2" fmla="*/ 8802 w 18377"/>
                  <a:gd name="connsiteY2" fmla="*/ 6 h 18432"/>
                  <a:gd name="connsiteX3" fmla="*/ 18371 w 18377"/>
                  <a:gd name="connsiteY3" fmla="*/ 8857 h 18432"/>
                  <a:gd name="connsiteX4" fmla="*/ 9579 w 18377"/>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32">
                    <a:moveTo>
                      <a:pt x="9579" y="18427"/>
                    </a:moveTo>
                    <a:cubicBezTo>
                      <a:pt x="4496" y="18606"/>
                      <a:pt x="249" y="14659"/>
                      <a:pt x="10" y="9575"/>
                    </a:cubicBezTo>
                    <a:cubicBezTo>
                      <a:pt x="-229" y="4491"/>
                      <a:pt x="3718" y="185"/>
                      <a:pt x="8802" y="6"/>
                    </a:cubicBezTo>
                    <a:cubicBezTo>
                      <a:pt x="13886" y="-174"/>
                      <a:pt x="18132" y="3774"/>
                      <a:pt x="18371" y="8857"/>
                    </a:cubicBezTo>
                    <a:cubicBezTo>
                      <a:pt x="18550" y="13941"/>
                      <a:pt x="14603" y="18247"/>
                      <a:pt x="9579" y="18427"/>
                    </a:cubicBezTo>
                    <a:close/>
                  </a:path>
                </a:pathLst>
              </a:custGeom>
              <a:grpFill/>
              <a:ln w="5978" cap="flat">
                <a:noFill/>
                <a:prstDash val="solid"/>
                <a:miter/>
              </a:ln>
            </p:spPr>
            <p:txBody>
              <a:bodyPr rtlCol="0" anchor="ctr"/>
              <a:lstStyle/>
              <a:p>
                <a:endParaRPr lang="en-GB"/>
              </a:p>
            </p:txBody>
          </p:sp>
          <p:sp>
            <p:nvSpPr>
              <p:cNvPr id="1873" name="Vrije vorm: vorm 1872">
                <a:extLst>
                  <a:ext uri="{FF2B5EF4-FFF2-40B4-BE49-F238E27FC236}">
                    <a16:creationId xmlns:a16="http://schemas.microsoft.com/office/drawing/2014/main" id="{1E3E9BBF-F263-4FC1-A547-E58D41AF0644}"/>
                  </a:ext>
                </a:extLst>
              </p:cNvPr>
              <p:cNvSpPr/>
              <p:nvPr/>
            </p:nvSpPr>
            <p:spPr>
              <a:xfrm>
                <a:off x="4341061" y="3474116"/>
                <a:ext cx="18372" cy="18432"/>
              </a:xfrm>
              <a:custGeom>
                <a:avLst/>
                <a:gdLst>
                  <a:gd name="connsiteX0" fmla="*/ 9575 w 18372"/>
                  <a:gd name="connsiteY0" fmla="*/ 18427 h 18432"/>
                  <a:gd name="connsiteX1" fmla="*/ 18367 w 18372"/>
                  <a:gd name="connsiteY1" fmla="*/ 8857 h 18432"/>
                  <a:gd name="connsiteX2" fmla="*/ 8797 w 18372"/>
                  <a:gd name="connsiteY2" fmla="*/ 6 h 18432"/>
                  <a:gd name="connsiteX3" fmla="*/ 6 w 18372"/>
                  <a:gd name="connsiteY3" fmla="*/ 9575 h 18432"/>
                  <a:gd name="connsiteX4" fmla="*/ 9575 w 1837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9575" y="18427"/>
                    </a:moveTo>
                    <a:cubicBezTo>
                      <a:pt x="14659" y="18247"/>
                      <a:pt x="18546" y="13941"/>
                      <a:pt x="18367" y="8857"/>
                    </a:cubicBezTo>
                    <a:cubicBezTo>
                      <a:pt x="18127" y="3774"/>
                      <a:pt x="13881" y="-174"/>
                      <a:pt x="8797" y="6"/>
                    </a:cubicBezTo>
                    <a:cubicBezTo>
                      <a:pt x="3714" y="185"/>
                      <a:pt x="-174" y="4491"/>
                      <a:pt x="6" y="9575"/>
                    </a:cubicBezTo>
                    <a:cubicBezTo>
                      <a:pt x="245" y="14659"/>
                      <a:pt x="4492" y="18606"/>
                      <a:pt x="9575" y="18427"/>
                    </a:cubicBezTo>
                    <a:close/>
                  </a:path>
                </a:pathLst>
              </a:custGeom>
              <a:grpFill/>
              <a:ln w="5978" cap="flat">
                <a:noFill/>
                <a:prstDash val="solid"/>
                <a:miter/>
              </a:ln>
            </p:spPr>
            <p:txBody>
              <a:bodyPr rtlCol="0" anchor="ctr"/>
              <a:lstStyle/>
              <a:p>
                <a:endParaRPr lang="en-GB"/>
              </a:p>
            </p:txBody>
          </p:sp>
        </p:grpSp>
        <p:grpSp>
          <p:nvGrpSpPr>
            <p:cNvPr id="1178" name="Graphic 3">
              <a:extLst>
                <a:ext uri="{FF2B5EF4-FFF2-40B4-BE49-F238E27FC236}">
                  <a16:creationId xmlns:a16="http://schemas.microsoft.com/office/drawing/2014/main" id="{2841D07F-A681-4A33-B66E-982D94D00045}"/>
                </a:ext>
              </a:extLst>
            </p:cNvPr>
            <p:cNvGrpSpPr/>
            <p:nvPr/>
          </p:nvGrpSpPr>
          <p:grpSpPr>
            <a:xfrm>
              <a:off x="4107340" y="3410188"/>
              <a:ext cx="236896" cy="18719"/>
              <a:chOff x="4107340" y="3410188"/>
              <a:chExt cx="236896" cy="18719"/>
            </a:xfrm>
            <a:grpFill/>
          </p:grpSpPr>
          <p:sp>
            <p:nvSpPr>
              <p:cNvPr id="1868" name="Vrije vorm: vorm 1867">
                <a:extLst>
                  <a:ext uri="{FF2B5EF4-FFF2-40B4-BE49-F238E27FC236}">
                    <a16:creationId xmlns:a16="http://schemas.microsoft.com/office/drawing/2014/main" id="{95A0391A-88BB-45A5-A59F-7153C17E1A6A}"/>
                  </a:ext>
                </a:extLst>
              </p:cNvPr>
              <p:cNvSpPr/>
              <p:nvPr/>
            </p:nvSpPr>
            <p:spPr>
              <a:xfrm>
                <a:off x="4116012" y="3417843"/>
                <a:ext cx="219552" cy="3409"/>
              </a:xfrm>
              <a:custGeom>
                <a:avLst/>
                <a:gdLst>
                  <a:gd name="connsiteX0" fmla="*/ 219493 w 219552"/>
                  <a:gd name="connsiteY0" fmla="*/ 0 h 3409"/>
                  <a:gd name="connsiteX1" fmla="*/ 219552 w 219552"/>
                  <a:gd name="connsiteY1" fmla="*/ 3110 h 3409"/>
                  <a:gd name="connsiteX2" fmla="*/ 60 w 219552"/>
                  <a:gd name="connsiteY2" fmla="*/ 3409 h 3409"/>
                  <a:gd name="connsiteX3" fmla="*/ 0 w 219552"/>
                  <a:gd name="connsiteY3" fmla="*/ 299 h 3409"/>
                </a:gdLst>
                <a:ahLst/>
                <a:cxnLst>
                  <a:cxn ang="0">
                    <a:pos x="connsiteX0" y="connsiteY0"/>
                  </a:cxn>
                  <a:cxn ang="0">
                    <a:pos x="connsiteX1" y="connsiteY1"/>
                  </a:cxn>
                  <a:cxn ang="0">
                    <a:pos x="connsiteX2" y="connsiteY2"/>
                  </a:cxn>
                  <a:cxn ang="0">
                    <a:pos x="connsiteX3" y="connsiteY3"/>
                  </a:cxn>
                </a:cxnLst>
                <a:rect l="l" t="t" r="r" b="b"/>
                <a:pathLst>
                  <a:path w="219552" h="3409">
                    <a:moveTo>
                      <a:pt x="219493" y="0"/>
                    </a:moveTo>
                    <a:lnTo>
                      <a:pt x="219552" y="3110"/>
                    </a:lnTo>
                    <a:lnTo>
                      <a:pt x="60" y="3409"/>
                    </a:lnTo>
                    <a:lnTo>
                      <a:pt x="0" y="299"/>
                    </a:lnTo>
                    <a:close/>
                  </a:path>
                </a:pathLst>
              </a:custGeom>
              <a:grpFill/>
              <a:ln w="5978" cap="flat">
                <a:noFill/>
                <a:prstDash val="solid"/>
                <a:miter/>
              </a:ln>
            </p:spPr>
            <p:txBody>
              <a:bodyPr rtlCol="0" anchor="ctr"/>
              <a:lstStyle/>
              <a:p>
                <a:endParaRPr lang="en-GB"/>
              </a:p>
            </p:txBody>
          </p:sp>
          <p:sp>
            <p:nvSpPr>
              <p:cNvPr id="1869" name="Vrije vorm: vorm 1868">
                <a:extLst>
                  <a:ext uri="{FF2B5EF4-FFF2-40B4-BE49-F238E27FC236}">
                    <a16:creationId xmlns:a16="http://schemas.microsoft.com/office/drawing/2014/main" id="{ED17A29A-F508-4520-9B92-38BE4BE2F863}"/>
                  </a:ext>
                </a:extLst>
              </p:cNvPr>
              <p:cNvSpPr/>
              <p:nvPr/>
            </p:nvSpPr>
            <p:spPr>
              <a:xfrm>
                <a:off x="4107340" y="3410487"/>
                <a:ext cx="18301" cy="18420"/>
              </a:xfrm>
              <a:custGeom>
                <a:avLst/>
                <a:gdLst>
                  <a:gd name="connsiteX0" fmla="*/ 9210 w 18301"/>
                  <a:gd name="connsiteY0" fmla="*/ 18421 h 18420"/>
                  <a:gd name="connsiteX1" fmla="*/ 0 w 18301"/>
                  <a:gd name="connsiteY1" fmla="*/ 9210 h 18420"/>
                  <a:gd name="connsiteX2" fmla="*/ 9091 w 18301"/>
                  <a:gd name="connsiteY2" fmla="*/ 0 h 18420"/>
                  <a:gd name="connsiteX3" fmla="*/ 18301 w 18301"/>
                  <a:gd name="connsiteY3" fmla="*/ 9210 h 18420"/>
                  <a:gd name="connsiteX4" fmla="*/ 9210 w 18301"/>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0">
                    <a:moveTo>
                      <a:pt x="9210" y="18421"/>
                    </a:moveTo>
                    <a:cubicBezTo>
                      <a:pt x="4127" y="18421"/>
                      <a:pt x="0" y="14294"/>
                      <a:pt x="0" y="9210"/>
                    </a:cubicBezTo>
                    <a:cubicBezTo>
                      <a:pt x="0" y="4127"/>
                      <a:pt x="4067" y="0"/>
                      <a:pt x="9091" y="0"/>
                    </a:cubicBezTo>
                    <a:cubicBezTo>
                      <a:pt x="14174" y="0"/>
                      <a:pt x="18301" y="4127"/>
                      <a:pt x="18301" y="9210"/>
                    </a:cubicBezTo>
                    <a:cubicBezTo>
                      <a:pt x="18361" y="14294"/>
                      <a:pt x="14294" y="18421"/>
                      <a:pt x="9210" y="18421"/>
                    </a:cubicBezTo>
                    <a:close/>
                  </a:path>
                </a:pathLst>
              </a:custGeom>
              <a:grpFill/>
              <a:ln w="5978" cap="flat">
                <a:noFill/>
                <a:prstDash val="solid"/>
                <a:miter/>
              </a:ln>
            </p:spPr>
            <p:txBody>
              <a:bodyPr rtlCol="0" anchor="ctr"/>
              <a:lstStyle/>
              <a:p>
                <a:endParaRPr lang="en-GB"/>
              </a:p>
            </p:txBody>
          </p:sp>
          <p:sp>
            <p:nvSpPr>
              <p:cNvPr id="1870" name="Vrije vorm: vorm 1869">
                <a:extLst>
                  <a:ext uri="{FF2B5EF4-FFF2-40B4-BE49-F238E27FC236}">
                    <a16:creationId xmlns:a16="http://schemas.microsoft.com/office/drawing/2014/main" id="{3382DEA4-84F5-446C-ACB0-733823C2B7B3}"/>
                  </a:ext>
                </a:extLst>
              </p:cNvPr>
              <p:cNvSpPr/>
              <p:nvPr/>
            </p:nvSpPr>
            <p:spPr>
              <a:xfrm>
                <a:off x="4325935" y="3410188"/>
                <a:ext cx="18302" cy="18420"/>
              </a:xfrm>
              <a:custGeom>
                <a:avLst/>
                <a:gdLst>
                  <a:gd name="connsiteX0" fmla="*/ 9211 w 18302"/>
                  <a:gd name="connsiteY0" fmla="*/ 18421 h 18420"/>
                  <a:gd name="connsiteX1" fmla="*/ 18302 w 18302"/>
                  <a:gd name="connsiteY1" fmla="*/ 9210 h 18420"/>
                  <a:gd name="connsiteX2" fmla="*/ 9091 w 18302"/>
                  <a:gd name="connsiteY2" fmla="*/ 0 h 18420"/>
                  <a:gd name="connsiteX3" fmla="*/ 1 w 18302"/>
                  <a:gd name="connsiteY3" fmla="*/ 9210 h 18420"/>
                  <a:gd name="connsiteX4" fmla="*/ 9211 w 18302"/>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211" y="18421"/>
                    </a:moveTo>
                    <a:cubicBezTo>
                      <a:pt x="14295" y="18421"/>
                      <a:pt x="18362" y="14294"/>
                      <a:pt x="18302" y="9210"/>
                    </a:cubicBezTo>
                    <a:cubicBezTo>
                      <a:pt x="18302" y="4127"/>
                      <a:pt x="14175" y="0"/>
                      <a:pt x="9091" y="0"/>
                    </a:cubicBezTo>
                    <a:cubicBezTo>
                      <a:pt x="4008" y="0"/>
                      <a:pt x="-59" y="4127"/>
                      <a:pt x="1" y="9210"/>
                    </a:cubicBezTo>
                    <a:cubicBezTo>
                      <a:pt x="1" y="14294"/>
                      <a:pt x="4127" y="18421"/>
                      <a:pt x="9211" y="18421"/>
                    </a:cubicBezTo>
                    <a:close/>
                  </a:path>
                </a:pathLst>
              </a:custGeom>
              <a:grpFill/>
              <a:ln w="5978" cap="flat">
                <a:noFill/>
                <a:prstDash val="solid"/>
                <a:miter/>
              </a:ln>
            </p:spPr>
            <p:txBody>
              <a:bodyPr rtlCol="0" anchor="ctr"/>
              <a:lstStyle/>
              <a:p>
                <a:endParaRPr lang="en-GB"/>
              </a:p>
            </p:txBody>
          </p:sp>
        </p:grpSp>
        <p:grpSp>
          <p:nvGrpSpPr>
            <p:cNvPr id="1179" name="Graphic 3">
              <a:extLst>
                <a:ext uri="{FF2B5EF4-FFF2-40B4-BE49-F238E27FC236}">
                  <a16:creationId xmlns:a16="http://schemas.microsoft.com/office/drawing/2014/main" id="{A5528184-7306-41E3-B838-1A58093089EB}"/>
                </a:ext>
              </a:extLst>
            </p:cNvPr>
            <p:cNvGrpSpPr/>
            <p:nvPr/>
          </p:nvGrpSpPr>
          <p:grpSpPr>
            <a:xfrm>
              <a:off x="4773200" y="5108691"/>
              <a:ext cx="45401" cy="55363"/>
              <a:chOff x="4773200" y="5108691"/>
              <a:chExt cx="45401" cy="55363"/>
            </a:xfrm>
            <a:grpFill/>
          </p:grpSpPr>
          <p:sp>
            <p:nvSpPr>
              <p:cNvPr id="1865" name="Vrije vorm: vorm 1864">
                <a:extLst>
                  <a:ext uri="{FF2B5EF4-FFF2-40B4-BE49-F238E27FC236}">
                    <a16:creationId xmlns:a16="http://schemas.microsoft.com/office/drawing/2014/main" id="{A896A170-356A-4CA9-B43A-C89DC7520F1A}"/>
                  </a:ext>
                </a:extLst>
              </p:cNvPr>
              <p:cNvSpPr/>
              <p:nvPr/>
            </p:nvSpPr>
            <p:spPr>
              <a:xfrm>
                <a:off x="4780889" y="5116607"/>
                <a:ext cx="30083" cy="39532"/>
              </a:xfrm>
              <a:custGeom>
                <a:avLst/>
                <a:gdLst>
                  <a:gd name="connsiteX0" fmla="*/ 30083 w 30083"/>
                  <a:gd name="connsiteY0" fmla="*/ 1854 h 39532"/>
                  <a:gd name="connsiteX1" fmla="*/ 2452 w 30083"/>
                  <a:gd name="connsiteY1" fmla="*/ 39532 h 39532"/>
                  <a:gd name="connsiteX2" fmla="*/ 0 w 30083"/>
                  <a:gd name="connsiteY2" fmla="*/ 37738 h 39532"/>
                  <a:gd name="connsiteX3" fmla="*/ 27631 w 30083"/>
                  <a:gd name="connsiteY3" fmla="*/ 0 h 39532"/>
                </a:gdLst>
                <a:ahLst/>
                <a:cxnLst>
                  <a:cxn ang="0">
                    <a:pos x="connsiteX0" y="connsiteY0"/>
                  </a:cxn>
                  <a:cxn ang="0">
                    <a:pos x="connsiteX1" y="connsiteY1"/>
                  </a:cxn>
                  <a:cxn ang="0">
                    <a:pos x="connsiteX2" y="connsiteY2"/>
                  </a:cxn>
                  <a:cxn ang="0">
                    <a:pos x="connsiteX3" y="connsiteY3"/>
                  </a:cxn>
                </a:cxnLst>
                <a:rect l="l" t="t" r="r" b="b"/>
                <a:pathLst>
                  <a:path w="30083" h="39532">
                    <a:moveTo>
                      <a:pt x="30083" y="1854"/>
                    </a:moveTo>
                    <a:lnTo>
                      <a:pt x="2452" y="39532"/>
                    </a:lnTo>
                    <a:lnTo>
                      <a:pt x="0" y="37738"/>
                    </a:lnTo>
                    <a:lnTo>
                      <a:pt x="27631" y="0"/>
                    </a:lnTo>
                    <a:close/>
                  </a:path>
                </a:pathLst>
              </a:custGeom>
              <a:grpFill/>
              <a:ln w="5978" cap="flat">
                <a:noFill/>
                <a:prstDash val="solid"/>
                <a:miter/>
              </a:ln>
            </p:spPr>
            <p:txBody>
              <a:bodyPr rtlCol="0" anchor="ctr"/>
              <a:lstStyle/>
              <a:p>
                <a:endParaRPr lang="en-GB"/>
              </a:p>
            </p:txBody>
          </p:sp>
          <p:sp>
            <p:nvSpPr>
              <p:cNvPr id="1866" name="Vrije vorm: vorm 1865">
                <a:extLst>
                  <a:ext uri="{FF2B5EF4-FFF2-40B4-BE49-F238E27FC236}">
                    <a16:creationId xmlns:a16="http://schemas.microsoft.com/office/drawing/2014/main" id="{75206C8E-E477-4CF2-9267-7FB08BDF0E1D}"/>
                  </a:ext>
                </a:extLst>
              </p:cNvPr>
              <p:cNvSpPr/>
              <p:nvPr/>
            </p:nvSpPr>
            <p:spPr>
              <a:xfrm>
                <a:off x="4800292" y="5108691"/>
                <a:ext cx="18309" cy="18403"/>
              </a:xfrm>
              <a:custGeom>
                <a:avLst/>
                <a:gdLst>
                  <a:gd name="connsiteX0" fmla="*/ 1768 w 18309"/>
                  <a:gd name="connsiteY0" fmla="*/ 3729 h 18403"/>
                  <a:gd name="connsiteX1" fmla="*/ 14567 w 18309"/>
                  <a:gd name="connsiteY1" fmla="*/ 1815 h 18403"/>
                  <a:gd name="connsiteX2" fmla="*/ 16541 w 18309"/>
                  <a:gd name="connsiteY2" fmla="*/ 14674 h 18403"/>
                  <a:gd name="connsiteX3" fmla="*/ 3742 w 18309"/>
                  <a:gd name="connsiteY3" fmla="*/ 16588 h 18403"/>
                  <a:gd name="connsiteX4" fmla="*/ 1768 w 18309"/>
                  <a:gd name="connsiteY4" fmla="*/ 372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3">
                    <a:moveTo>
                      <a:pt x="1768" y="3729"/>
                    </a:moveTo>
                    <a:cubicBezTo>
                      <a:pt x="4759" y="-338"/>
                      <a:pt x="10500" y="-1235"/>
                      <a:pt x="14567" y="1815"/>
                    </a:cubicBezTo>
                    <a:cubicBezTo>
                      <a:pt x="18634" y="4865"/>
                      <a:pt x="19531" y="10607"/>
                      <a:pt x="16541" y="14674"/>
                    </a:cubicBezTo>
                    <a:cubicBezTo>
                      <a:pt x="13551" y="18741"/>
                      <a:pt x="7809" y="19638"/>
                      <a:pt x="3742" y="16588"/>
                    </a:cubicBezTo>
                    <a:cubicBezTo>
                      <a:pt x="-325" y="13597"/>
                      <a:pt x="-1222" y="7796"/>
                      <a:pt x="1768" y="3729"/>
                    </a:cubicBezTo>
                    <a:close/>
                  </a:path>
                </a:pathLst>
              </a:custGeom>
              <a:grpFill/>
              <a:ln w="5978" cap="flat">
                <a:noFill/>
                <a:prstDash val="solid"/>
                <a:miter/>
              </a:ln>
            </p:spPr>
            <p:txBody>
              <a:bodyPr rtlCol="0" anchor="ctr"/>
              <a:lstStyle/>
              <a:p>
                <a:endParaRPr lang="en-GB"/>
              </a:p>
            </p:txBody>
          </p:sp>
          <p:sp>
            <p:nvSpPr>
              <p:cNvPr id="1867" name="Vrije vorm: vorm 1866">
                <a:extLst>
                  <a:ext uri="{FF2B5EF4-FFF2-40B4-BE49-F238E27FC236}">
                    <a16:creationId xmlns:a16="http://schemas.microsoft.com/office/drawing/2014/main" id="{E02ABD53-829F-4D81-A176-9BF23E291B03}"/>
                  </a:ext>
                </a:extLst>
              </p:cNvPr>
              <p:cNvSpPr/>
              <p:nvPr/>
            </p:nvSpPr>
            <p:spPr>
              <a:xfrm>
                <a:off x="4773200" y="5145652"/>
                <a:ext cx="18309" cy="18402"/>
              </a:xfrm>
              <a:custGeom>
                <a:avLst/>
                <a:gdLst>
                  <a:gd name="connsiteX0" fmla="*/ 1768 w 18309"/>
                  <a:gd name="connsiteY0" fmla="*/ 3729 h 18402"/>
                  <a:gd name="connsiteX1" fmla="*/ 3742 w 18309"/>
                  <a:gd name="connsiteY1" fmla="*/ 16588 h 18402"/>
                  <a:gd name="connsiteX2" fmla="*/ 16541 w 18309"/>
                  <a:gd name="connsiteY2" fmla="*/ 14674 h 18402"/>
                  <a:gd name="connsiteX3" fmla="*/ 14567 w 18309"/>
                  <a:gd name="connsiteY3" fmla="*/ 1815 h 18402"/>
                  <a:gd name="connsiteX4" fmla="*/ 1768 w 18309"/>
                  <a:gd name="connsiteY4" fmla="*/ 3729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2">
                    <a:moveTo>
                      <a:pt x="1768" y="3729"/>
                    </a:moveTo>
                    <a:cubicBezTo>
                      <a:pt x="-1222" y="7796"/>
                      <a:pt x="-325" y="13597"/>
                      <a:pt x="3742" y="16588"/>
                    </a:cubicBezTo>
                    <a:cubicBezTo>
                      <a:pt x="7809" y="19638"/>
                      <a:pt x="13550" y="18741"/>
                      <a:pt x="16541" y="14674"/>
                    </a:cubicBezTo>
                    <a:cubicBezTo>
                      <a:pt x="19531" y="10607"/>
                      <a:pt x="18634" y="4806"/>
                      <a:pt x="14567" y="1815"/>
                    </a:cubicBezTo>
                    <a:cubicBezTo>
                      <a:pt x="10500" y="-1235"/>
                      <a:pt x="4759" y="-338"/>
                      <a:pt x="1768" y="3729"/>
                    </a:cubicBezTo>
                    <a:close/>
                  </a:path>
                </a:pathLst>
              </a:custGeom>
              <a:grpFill/>
              <a:ln w="5978" cap="flat">
                <a:noFill/>
                <a:prstDash val="solid"/>
                <a:miter/>
              </a:ln>
            </p:spPr>
            <p:txBody>
              <a:bodyPr rtlCol="0" anchor="ctr"/>
              <a:lstStyle/>
              <a:p>
                <a:endParaRPr lang="en-GB"/>
              </a:p>
            </p:txBody>
          </p:sp>
        </p:grpSp>
        <p:grpSp>
          <p:nvGrpSpPr>
            <p:cNvPr id="1180" name="Graphic 3">
              <a:extLst>
                <a:ext uri="{FF2B5EF4-FFF2-40B4-BE49-F238E27FC236}">
                  <a16:creationId xmlns:a16="http://schemas.microsoft.com/office/drawing/2014/main" id="{D8005A5B-34FE-483B-AE74-67C43AABB644}"/>
                </a:ext>
              </a:extLst>
            </p:cNvPr>
            <p:cNvGrpSpPr/>
            <p:nvPr/>
          </p:nvGrpSpPr>
          <p:grpSpPr>
            <a:xfrm>
              <a:off x="4201426" y="3660312"/>
              <a:ext cx="208230" cy="47345"/>
              <a:chOff x="4201426" y="3660312"/>
              <a:chExt cx="208230" cy="47345"/>
            </a:xfrm>
            <a:grpFill/>
          </p:grpSpPr>
          <p:sp>
            <p:nvSpPr>
              <p:cNvPr id="1862" name="Vrije vorm: vorm 1861">
                <a:extLst>
                  <a:ext uri="{FF2B5EF4-FFF2-40B4-BE49-F238E27FC236}">
                    <a16:creationId xmlns:a16="http://schemas.microsoft.com/office/drawing/2014/main" id="{0AB75996-E48B-4B11-8065-AE303C2AAEAE}"/>
                  </a:ext>
                </a:extLst>
              </p:cNvPr>
              <p:cNvSpPr/>
              <p:nvPr/>
            </p:nvSpPr>
            <p:spPr>
              <a:xfrm>
                <a:off x="4209909" y="3667897"/>
                <a:ext cx="191203" cy="32116"/>
              </a:xfrm>
              <a:custGeom>
                <a:avLst/>
                <a:gdLst>
                  <a:gd name="connsiteX0" fmla="*/ 190785 w 191203"/>
                  <a:gd name="connsiteY0" fmla="*/ 0 h 32116"/>
                  <a:gd name="connsiteX1" fmla="*/ 191204 w 191203"/>
                  <a:gd name="connsiteY1" fmla="*/ 2990 h 32116"/>
                  <a:gd name="connsiteX2" fmla="*/ 478 w 191203"/>
                  <a:gd name="connsiteY2" fmla="*/ 32116 h 32116"/>
                  <a:gd name="connsiteX3" fmla="*/ 0 w 191203"/>
                  <a:gd name="connsiteY3" fmla="*/ 29066 h 32116"/>
                </a:gdLst>
                <a:ahLst/>
                <a:cxnLst>
                  <a:cxn ang="0">
                    <a:pos x="connsiteX0" y="connsiteY0"/>
                  </a:cxn>
                  <a:cxn ang="0">
                    <a:pos x="connsiteX1" y="connsiteY1"/>
                  </a:cxn>
                  <a:cxn ang="0">
                    <a:pos x="connsiteX2" y="connsiteY2"/>
                  </a:cxn>
                  <a:cxn ang="0">
                    <a:pos x="connsiteX3" y="connsiteY3"/>
                  </a:cxn>
                </a:cxnLst>
                <a:rect l="l" t="t" r="r" b="b"/>
                <a:pathLst>
                  <a:path w="191203" h="32116">
                    <a:moveTo>
                      <a:pt x="190785" y="0"/>
                    </a:moveTo>
                    <a:lnTo>
                      <a:pt x="191204" y="2990"/>
                    </a:lnTo>
                    <a:lnTo>
                      <a:pt x="478" y="32116"/>
                    </a:lnTo>
                    <a:lnTo>
                      <a:pt x="0" y="29066"/>
                    </a:lnTo>
                    <a:close/>
                  </a:path>
                </a:pathLst>
              </a:custGeom>
              <a:grpFill/>
              <a:ln w="5978" cap="flat">
                <a:noFill/>
                <a:prstDash val="solid"/>
                <a:miter/>
              </a:ln>
            </p:spPr>
            <p:txBody>
              <a:bodyPr rtlCol="0" anchor="ctr"/>
              <a:lstStyle/>
              <a:p>
                <a:endParaRPr lang="en-GB"/>
              </a:p>
            </p:txBody>
          </p:sp>
          <p:sp>
            <p:nvSpPr>
              <p:cNvPr id="1863" name="Vrije vorm: vorm 1862">
                <a:extLst>
                  <a:ext uri="{FF2B5EF4-FFF2-40B4-BE49-F238E27FC236}">
                    <a16:creationId xmlns:a16="http://schemas.microsoft.com/office/drawing/2014/main" id="{B0DFC1F0-8E8D-41D6-B0B5-CD21AF3FD0EF}"/>
                  </a:ext>
                </a:extLst>
              </p:cNvPr>
              <p:cNvSpPr/>
              <p:nvPr/>
            </p:nvSpPr>
            <p:spPr>
              <a:xfrm>
                <a:off x="4201426" y="3689259"/>
                <a:ext cx="18342" cy="18399"/>
              </a:xfrm>
              <a:custGeom>
                <a:avLst/>
                <a:gdLst>
                  <a:gd name="connsiteX0" fmla="*/ 10577 w 18342"/>
                  <a:gd name="connsiteY0" fmla="*/ 18290 h 18399"/>
                  <a:gd name="connsiteX1" fmla="*/ 110 w 18342"/>
                  <a:gd name="connsiteY1" fmla="*/ 10575 h 18399"/>
                  <a:gd name="connsiteX2" fmla="*/ 7766 w 18342"/>
                  <a:gd name="connsiteY2" fmla="*/ 109 h 18399"/>
                  <a:gd name="connsiteX3" fmla="*/ 18232 w 18342"/>
                  <a:gd name="connsiteY3" fmla="*/ 7824 h 18399"/>
                  <a:gd name="connsiteX4" fmla="*/ 10577 w 18342"/>
                  <a:gd name="connsiteY4" fmla="*/ 1829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9">
                    <a:moveTo>
                      <a:pt x="10577" y="18290"/>
                    </a:moveTo>
                    <a:cubicBezTo>
                      <a:pt x="5553" y="19068"/>
                      <a:pt x="888" y="15599"/>
                      <a:pt x="110" y="10575"/>
                    </a:cubicBezTo>
                    <a:cubicBezTo>
                      <a:pt x="-667" y="5551"/>
                      <a:pt x="2742" y="827"/>
                      <a:pt x="7766" y="109"/>
                    </a:cubicBezTo>
                    <a:cubicBezTo>
                      <a:pt x="12790" y="-669"/>
                      <a:pt x="17455" y="2800"/>
                      <a:pt x="18232" y="7824"/>
                    </a:cubicBezTo>
                    <a:cubicBezTo>
                      <a:pt x="19009" y="12848"/>
                      <a:pt x="15601" y="17513"/>
                      <a:pt x="10577" y="18290"/>
                    </a:cubicBezTo>
                    <a:close/>
                  </a:path>
                </a:pathLst>
              </a:custGeom>
              <a:grpFill/>
              <a:ln w="5978" cap="flat">
                <a:noFill/>
                <a:prstDash val="solid"/>
                <a:miter/>
              </a:ln>
            </p:spPr>
            <p:txBody>
              <a:bodyPr rtlCol="0" anchor="ctr"/>
              <a:lstStyle/>
              <a:p>
                <a:endParaRPr lang="en-GB"/>
              </a:p>
            </p:txBody>
          </p:sp>
          <p:sp>
            <p:nvSpPr>
              <p:cNvPr id="1864" name="Vrije vorm: vorm 1863">
                <a:extLst>
                  <a:ext uri="{FF2B5EF4-FFF2-40B4-BE49-F238E27FC236}">
                    <a16:creationId xmlns:a16="http://schemas.microsoft.com/office/drawing/2014/main" id="{A191AA21-BB49-4088-99BC-73D4206F1100}"/>
                  </a:ext>
                </a:extLst>
              </p:cNvPr>
              <p:cNvSpPr/>
              <p:nvPr/>
            </p:nvSpPr>
            <p:spPr>
              <a:xfrm>
                <a:off x="4391314" y="3660312"/>
                <a:ext cx="18342" cy="18384"/>
              </a:xfrm>
              <a:custGeom>
                <a:avLst/>
                <a:gdLst>
                  <a:gd name="connsiteX0" fmla="*/ 10577 w 18342"/>
                  <a:gd name="connsiteY0" fmla="*/ 18290 h 18384"/>
                  <a:gd name="connsiteX1" fmla="*/ 18232 w 18342"/>
                  <a:gd name="connsiteY1" fmla="*/ 7824 h 18384"/>
                  <a:gd name="connsiteX2" fmla="*/ 7766 w 18342"/>
                  <a:gd name="connsiteY2" fmla="*/ 109 h 18384"/>
                  <a:gd name="connsiteX3" fmla="*/ 110 w 18342"/>
                  <a:gd name="connsiteY3" fmla="*/ 10575 h 18384"/>
                  <a:gd name="connsiteX4" fmla="*/ 10577 w 18342"/>
                  <a:gd name="connsiteY4" fmla="*/ 18290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84">
                    <a:moveTo>
                      <a:pt x="10577" y="18290"/>
                    </a:moveTo>
                    <a:cubicBezTo>
                      <a:pt x="15601" y="17513"/>
                      <a:pt x="19009" y="12848"/>
                      <a:pt x="18232" y="7824"/>
                    </a:cubicBezTo>
                    <a:cubicBezTo>
                      <a:pt x="17455" y="2800"/>
                      <a:pt x="12790" y="-669"/>
                      <a:pt x="7766" y="109"/>
                    </a:cubicBezTo>
                    <a:cubicBezTo>
                      <a:pt x="2742" y="886"/>
                      <a:pt x="-667" y="5551"/>
                      <a:pt x="110" y="10575"/>
                    </a:cubicBezTo>
                    <a:cubicBezTo>
                      <a:pt x="888" y="15539"/>
                      <a:pt x="5553" y="19008"/>
                      <a:pt x="10577" y="18290"/>
                    </a:cubicBezTo>
                    <a:close/>
                  </a:path>
                </a:pathLst>
              </a:custGeom>
              <a:grpFill/>
              <a:ln w="5978" cap="flat">
                <a:noFill/>
                <a:prstDash val="solid"/>
                <a:miter/>
              </a:ln>
            </p:spPr>
            <p:txBody>
              <a:bodyPr rtlCol="0" anchor="ctr"/>
              <a:lstStyle/>
              <a:p>
                <a:endParaRPr lang="en-GB"/>
              </a:p>
            </p:txBody>
          </p:sp>
        </p:grpSp>
        <p:grpSp>
          <p:nvGrpSpPr>
            <p:cNvPr id="1181" name="Graphic 3">
              <a:extLst>
                <a:ext uri="{FF2B5EF4-FFF2-40B4-BE49-F238E27FC236}">
                  <a16:creationId xmlns:a16="http://schemas.microsoft.com/office/drawing/2014/main" id="{05EDE7E0-0EAE-4433-A287-7B8A03349C75}"/>
                </a:ext>
              </a:extLst>
            </p:cNvPr>
            <p:cNvGrpSpPr/>
            <p:nvPr/>
          </p:nvGrpSpPr>
          <p:grpSpPr>
            <a:xfrm>
              <a:off x="4356928" y="3968125"/>
              <a:ext cx="118572" cy="53751"/>
              <a:chOff x="4356928" y="3968125"/>
              <a:chExt cx="118572" cy="53751"/>
            </a:xfrm>
            <a:grpFill/>
          </p:grpSpPr>
          <p:sp>
            <p:nvSpPr>
              <p:cNvPr id="1859" name="Vrije vorm: vorm 1858">
                <a:extLst>
                  <a:ext uri="{FF2B5EF4-FFF2-40B4-BE49-F238E27FC236}">
                    <a16:creationId xmlns:a16="http://schemas.microsoft.com/office/drawing/2014/main" id="{636F3E64-491B-4AE2-8BE3-CB41827FFF09}"/>
                  </a:ext>
                </a:extLst>
              </p:cNvPr>
              <p:cNvSpPr/>
              <p:nvPr/>
            </p:nvSpPr>
            <p:spPr>
              <a:xfrm>
                <a:off x="4365401" y="3975647"/>
                <a:ext cx="102090" cy="38522"/>
              </a:xfrm>
              <a:custGeom>
                <a:avLst/>
                <a:gdLst>
                  <a:gd name="connsiteX0" fmla="*/ 0 w 102090"/>
                  <a:gd name="connsiteY0" fmla="*/ 35646 h 38522"/>
                  <a:gd name="connsiteX1" fmla="*/ 101076 w 102090"/>
                  <a:gd name="connsiteY1" fmla="*/ 0 h 38522"/>
                  <a:gd name="connsiteX2" fmla="*/ 102091 w 102090"/>
                  <a:gd name="connsiteY2" fmla="*/ 2877 h 38522"/>
                  <a:gd name="connsiteX3" fmla="*/ 1015 w 102090"/>
                  <a:gd name="connsiteY3" fmla="*/ 38523 h 38522"/>
                </a:gdLst>
                <a:ahLst/>
                <a:cxnLst>
                  <a:cxn ang="0">
                    <a:pos x="connsiteX0" y="connsiteY0"/>
                  </a:cxn>
                  <a:cxn ang="0">
                    <a:pos x="connsiteX1" y="connsiteY1"/>
                  </a:cxn>
                  <a:cxn ang="0">
                    <a:pos x="connsiteX2" y="connsiteY2"/>
                  </a:cxn>
                  <a:cxn ang="0">
                    <a:pos x="connsiteX3" y="connsiteY3"/>
                  </a:cxn>
                </a:cxnLst>
                <a:rect l="l" t="t" r="r" b="b"/>
                <a:pathLst>
                  <a:path w="102090" h="38522">
                    <a:moveTo>
                      <a:pt x="0" y="35646"/>
                    </a:moveTo>
                    <a:lnTo>
                      <a:pt x="101076" y="0"/>
                    </a:lnTo>
                    <a:lnTo>
                      <a:pt x="102091" y="2877"/>
                    </a:lnTo>
                    <a:lnTo>
                      <a:pt x="1015" y="38523"/>
                    </a:lnTo>
                    <a:close/>
                  </a:path>
                </a:pathLst>
              </a:custGeom>
              <a:grpFill/>
              <a:ln w="5978" cap="flat">
                <a:noFill/>
                <a:prstDash val="solid"/>
                <a:miter/>
              </a:ln>
            </p:spPr>
            <p:txBody>
              <a:bodyPr rtlCol="0" anchor="ctr"/>
              <a:lstStyle/>
              <a:p>
                <a:endParaRPr lang="en-GB"/>
              </a:p>
            </p:txBody>
          </p:sp>
          <p:sp>
            <p:nvSpPr>
              <p:cNvPr id="1860" name="Vrije vorm: vorm 1859">
                <a:extLst>
                  <a:ext uri="{FF2B5EF4-FFF2-40B4-BE49-F238E27FC236}">
                    <a16:creationId xmlns:a16="http://schemas.microsoft.com/office/drawing/2014/main" id="{7E4B323C-DFAE-4101-9C69-5D827BBCF32C}"/>
                  </a:ext>
                </a:extLst>
              </p:cNvPr>
              <p:cNvSpPr/>
              <p:nvPr/>
            </p:nvSpPr>
            <p:spPr>
              <a:xfrm>
                <a:off x="4356928" y="4003495"/>
                <a:ext cx="18359" cy="18381"/>
              </a:xfrm>
              <a:custGeom>
                <a:avLst/>
                <a:gdLst>
                  <a:gd name="connsiteX0" fmla="*/ 12248 w 18359"/>
                  <a:gd name="connsiteY0" fmla="*/ 17863 h 18381"/>
                  <a:gd name="connsiteX1" fmla="*/ 526 w 18359"/>
                  <a:gd name="connsiteY1" fmla="*/ 12241 h 18381"/>
                  <a:gd name="connsiteX2" fmla="*/ 6088 w 18359"/>
                  <a:gd name="connsiteY2" fmla="*/ 519 h 18381"/>
                  <a:gd name="connsiteX3" fmla="*/ 17810 w 18359"/>
                  <a:gd name="connsiteY3" fmla="*/ 6141 h 18381"/>
                  <a:gd name="connsiteX4" fmla="*/ 12248 w 18359"/>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81">
                    <a:moveTo>
                      <a:pt x="12248" y="17863"/>
                    </a:moveTo>
                    <a:cubicBezTo>
                      <a:pt x="7463" y="19538"/>
                      <a:pt x="2260" y="17025"/>
                      <a:pt x="526" y="12241"/>
                    </a:cubicBezTo>
                    <a:cubicBezTo>
                      <a:pt x="-1149" y="7456"/>
                      <a:pt x="1303" y="2193"/>
                      <a:pt x="6088" y="519"/>
                    </a:cubicBezTo>
                    <a:cubicBezTo>
                      <a:pt x="10872" y="-1156"/>
                      <a:pt x="16076" y="1356"/>
                      <a:pt x="17810" y="6141"/>
                    </a:cubicBezTo>
                    <a:cubicBezTo>
                      <a:pt x="19544" y="10925"/>
                      <a:pt x="17033" y="16188"/>
                      <a:pt x="12248" y="17863"/>
                    </a:cubicBezTo>
                    <a:close/>
                  </a:path>
                </a:pathLst>
              </a:custGeom>
              <a:grpFill/>
              <a:ln w="5978" cap="flat">
                <a:noFill/>
                <a:prstDash val="solid"/>
                <a:miter/>
              </a:ln>
            </p:spPr>
            <p:txBody>
              <a:bodyPr rtlCol="0" anchor="ctr"/>
              <a:lstStyle/>
              <a:p>
                <a:endParaRPr lang="en-GB"/>
              </a:p>
            </p:txBody>
          </p:sp>
          <p:sp>
            <p:nvSpPr>
              <p:cNvPr id="1861" name="Vrije vorm: vorm 1860">
                <a:extLst>
                  <a:ext uri="{FF2B5EF4-FFF2-40B4-BE49-F238E27FC236}">
                    <a16:creationId xmlns:a16="http://schemas.microsoft.com/office/drawing/2014/main" id="{60F3601B-3299-4F0A-AC18-65D271C10D4A}"/>
                  </a:ext>
                </a:extLst>
              </p:cNvPr>
              <p:cNvSpPr/>
              <p:nvPr/>
            </p:nvSpPr>
            <p:spPr>
              <a:xfrm>
                <a:off x="4457165" y="3968125"/>
                <a:ext cx="18335" cy="18428"/>
              </a:xfrm>
              <a:custGeom>
                <a:avLst/>
                <a:gdLst>
                  <a:gd name="connsiteX0" fmla="*/ 12248 w 18335"/>
                  <a:gd name="connsiteY0" fmla="*/ 17887 h 18428"/>
                  <a:gd name="connsiteX1" fmla="*/ 17810 w 18335"/>
                  <a:gd name="connsiteY1" fmla="*/ 6164 h 18428"/>
                  <a:gd name="connsiteX2" fmla="*/ 6088 w 18335"/>
                  <a:gd name="connsiteY2" fmla="*/ 542 h 18428"/>
                  <a:gd name="connsiteX3" fmla="*/ 526 w 18335"/>
                  <a:gd name="connsiteY3" fmla="*/ 12265 h 18428"/>
                  <a:gd name="connsiteX4" fmla="*/ 12248 w 18335"/>
                  <a:gd name="connsiteY4" fmla="*/ 1788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8">
                    <a:moveTo>
                      <a:pt x="12248" y="17887"/>
                    </a:moveTo>
                    <a:cubicBezTo>
                      <a:pt x="17033" y="16212"/>
                      <a:pt x="19485" y="10949"/>
                      <a:pt x="17810" y="6164"/>
                    </a:cubicBezTo>
                    <a:cubicBezTo>
                      <a:pt x="16135" y="1380"/>
                      <a:pt x="10872" y="-1192"/>
                      <a:pt x="6088" y="542"/>
                    </a:cubicBezTo>
                    <a:cubicBezTo>
                      <a:pt x="1303" y="2217"/>
                      <a:pt x="-1149" y="7480"/>
                      <a:pt x="526" y="12265"/>
                    </a:cubicBezTo>
                    <a:cubicBezTo>
                      <a:pt x="2260" y="17049"/>
                      <a:pt x="7463" y="19621"/>
                      <a:pt x="12248" y="17887"/>
                    </a:cubicBezTo>
                    <a:close/>
                  </a:path>
                </a:pathLst>
              </a:custGeom>
              <a:grpFill/>
              <a:ln w="5978" cap="flat">
                <a:noFill/>
                <a:prstDash val="solid"/>
                <a:miter/>
              </a:ln>
            </p:spPr>
            <p:txBody>
              <a:bodyPr rtlCol="0" anchor="ctr"/>
              <a:lstStyle/>
              <a:p>
                <a:endParaRPr lang="en-GB"/>
              </a:p>
            </p:txBody>
          </p:sp>
        </p:grpSp>
        <p:grpSp>
          <p:nvGrpSpPr>
            <p:cNvPr id="1182" name="Graphic 3">
              <a:extLst>
                <a:ext uri="{FF2B5EF4-FFF2-40B4-BE49-F238E27FC236}">
                  <a16:creationId xmlns:a16="http://schemas.microsoft.com/office/drawing/2014/main" id="{8FC5A48B-3AEF-47E4-B53D-F92181DC5D6F}"/>
                </a:ext>
              </a:extLst>
            </p:cNvPr>
            <p:cNvGrpSpPr/>
            <p:nvPr/>
          </p:nvGrpSpPr>
          <p:grpSpPr>
            <a:xfrm>
              <a:off x="4771815" y="5163588"/>
              <a:ext cx="151936" cy="224093"/>
              <a:chOff x="4771815" y="5163588"/>
              <a:chExt cx="151936" cy="224093"/>
            </a:xfrm>
            <a:grpFill/>
          </p:grpSpPr>
          <p:sp>
            <p:nvSpPr>
              <p:cNvPr id="1856" name="Vrije vorm: vorm 1855">
                <a:extLst>
                  <a:ext uri="{FF2B5EF4-FFF2-40B4-BE49-F238E27FC236}">
                    <a16:creationId xmlns:a16="http://schemas.microsoft.com/office/drawing/2014/main" id="{4303DCD2-013E-4815-9300-2D4CE95B10E7}"/>
                  </a:ext>
                </a:extLst>
              </p:cNvPr>
              <p:cNvSpPr/>
              <p:nvPr/>
            </p:nvSpPr>
            <p:spPr>
              <a:xfrm>
                <a:off x="4779454" y="5171570"/>
                <a:ext cx="136659" cy="208129"/>
              </a:xfrm>
              <a:custGeom>
                <a:avLst/>
                <a:gdLst>
                  <a:gd name="connsiteX0" fmla="*/ 136659 w 136659"/>
                  <a:gd name="connsiteY0" fmla="*/ 1675 h 208129"/>
                  <a:gd name="connsiteX1" fmla="*/ 2572 w 136659"/>
                  <a:gd name="connsiteY1" fmla="*/ 208129 h 208129"/>
                  <a:gd name="connsiteX2" fmla="*/ 0 w 136659"/>
                  <a:gd name="connsiteY2" fmla="*/ 206455 h 208129"/>
                  <a:gd name="connsiteX3" fmla="*/ 134148 w 136659"/>
                  <a:gd name="connsiteY3" fmla="*/ 0 h 208129"/>
                </a:gdLst>
                <a:ahLst/>
                <a:cxnLst>
                  <a:cxn ang="0">
                    <a:pos x="connsiteX0" y="connsiteY0"/>
                  </a:cxn>
                  <a:cxn ang="0">
                    <a:pos x="connsiteX1" y="connsiteY1"/>
                  </a:cxn>
                  <a:cxn ang="0">
                    <a:pos x="connsiteX2" y="connsiteY2"/>
                  </a:cxn>
                  <a:cxn ang="0">
                    <a:pos x="connsiteX3" y="connsiteY3"/>
                  </a:cxn>
                </a:cxnLst>
                <a:rect l="l" t="t" r="r" b="b"/>
                <a:pathLst>
                  <a:path w="136659" h="208129">
                    <a:moveTo>
                      <a:pt x="136659" y="1675"/>
                    </a:moveTo>
                    <a:lnTo>
                      <a:pt x="2572" y="208129"/>
                    </a:lnTo>
                    <a:lnTo>
                      <a:pt x="0" y="206455"/>
                    </a:lnTo>
                    <a:lnTo>
                      <a:pt x="134148" y="0"/>
                    </a:lnTo>
                    <a:close/>
                  </a:path>
                </a:pathLst>
              </a:custGeom>
              <a:grpFill/>
              <a:ln w="5978" cap="flat">
                <a:noFill/>
                <a:prstDash val="solid"/>
                <a:miter/>
              </a:ln>
            </p:spPr>
            <p:txBody>
              <a:bodyPr rtlCol="0" anchor="ctr"/>
              <a:lstStyle/>
              <a:p>
                <a:endParaRPr lang="en-GB"/>
              </a:p>
            </p:txBody>
          </p:sp>
          <p:sp>
            <p:nvSpPr>
              <p:cNvPr id="1857" name="Vrije vorm: vorm 1856">
                <a:extLst>
                  <a:ext uri="{FF2B5EF4-FFF2-40B4-BE49-F238E27FC236}">
                    <a16:creationId xmlns:a16="http://schemas.microsoft.com/office/drawing/2014/main" id="{E546A011-F945-4F16-9BA3-ED755B156911}"/>
                  </a:ext>
                </a:extLst>
              </p:cNvPr>
              <p:cNvSpPr/>
              <p:nvPr/>
            </p:nvSpPr>
            <p:spPr>
              <a:xfrm>
                <a:off x="4771815" y="5369265"/>
                <a:ext cx="18327" cy="18416"/>
              </a:xfrm>
              <a:custGeom>
                <a:avLst/>
                <a:gdLst>
                  <a:gd name="connsiteX0" fmla="*/ 16849 w 18327"/>
                  <a:gd name="connsiteY0" fmla="*/ 14262 h 18416"/>
                  <a:gd name="connsiteX1" fmla="*/ 4170 w 18327"/>
                  <a:gd name="connsiteY1" fmla="*/ 16893 h 18416"/>
                  <a:gd name="connsiteX2" fmla="*/ 1478 w 18327"/>
                  <a:gd name="connsiteY2" fmla="*/ 4154 h 18416"/>
                  <a:gd name="connsiteX3" fmla="*/ 14158 w 18327"/>
                  <a:gd name="connsiteY3" fmla="*/ 152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4098" y="18508"/>
                      <a:pt x="8416" y="19704"/>
                      <a:pt x="4170" y="16893"/>
                    </a:cubicBezTo>
                    <a:cubicBezTo>
                      <a:pt x="-76" y="14082"/>
                      <a:pt x="-1273" y="8401"/>
                      <a:pt x="1478" y="4154"/>
                    </a:cubicBezTo>
                    <a:cubicBezTo>
                      <a:pt x="4230" y="-92"/>
                      <a:pt x="9911" y="-1288"/>
                      <a:pt x="14158" y="1523"/>
                    </a:cubicBezTo>
                    <a:cubicBezTo>
                      <a:pt x="18404" y="4274"/>
                      <a:pt x="19600" y="10015"/>
                      <a:pt x="16849" y="14262"/>
                    </a:cubicBezTo>
                    <a:close/>
                  </a:path>
                </a:pathLst>
              </a:custGeom>
              <a:grpFill/>
              <a:ln w="5978" cap="flat">
                <a:noFill/>
                <a:prstDash val="solid"/>
                <a:miter/>
              </a:ln>
            </p:spPr>
            <p:txBody>
              <a:bodyPr rtlCol="0" anchor="ctr"/>
              <a:lstStyle/>
              <a:p>
                <a:endParaRPr lang="en-GB"/>
              </a:p>
            </p:txBody>
          </p:sp>
          <p:sp>
            <p:nvSpPr>
              <p:cNvPr id="1858" name="Vrije vorm: vorm 1857">
                <a:extLst>
                  <a:ext uri="{FF2B5EF4-FFF2-40B4-BE49-F238E27FC236}">
                    <a16:creationId xmlns:a16="http://schemas.microsoft.com/office/drawing/2014/main" id="{AFDD858E-1049-4D88-B4F6-BBCCAD82C54D}"/>
                  </a:ext>
                </a:extLst>
              </p:cNvPr>
              <p:cNvSpPr/>
              <p:nvPr/>
            </p:nvSpPr>
            <p:spPr>
              <a:xfrm>
                <a:off x="4905424" y="5163588"/>
                <a:ext cx="18327" cy="18416"/>
              </a:xfrm>
              <a:custGeom>
                <a:avLst/>
                <a:gdLst>
                  <a:gd name="connsiteX0" fmla="*/ 16849 w 18327"/>
                  <a:gd name="connsiteY0" fmla="*/ 14262 h 18416"/>
                  <a:gd name="connsiteX1" fmla="*/ 14158 w 18327"/>
                  <a:gd name="connsiteY1" fmla="*/ 1523 h 18416"/>
                  <a:gd name="connsiteX2" fmla="*/ 1479 w 18327"/>
                  <a:gd name="connsiteY2" fmla="*/ 4154 h 18416"/>
                  <a:gd name="connsiteX3" fmla="*/ 4170 w 18327"/>
                  <a:gd name="connsiteY3" fmla="*/ 1689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9600" y="10016"/>
                      <a:pt x="18404" y="4274"/>
                      <a:pt x="14158" y="1523"/>
                    </a:cubicBezTo>
                    <a:cubicBezTo>
                      <a:pt x="9911" y="-1288"/>
                      <a:pt x="4230" y="-92"/>
                      <a:pt x="1479" y="4154"/>
                    </a:cubicBezTo>
                    <a:cubicBezTo>
                      <a:pt x="-1273" y="8401"/>
                      <a:pt x="-76" y="14142"/>
                      <a:pt x="4170" y="16893"/>
                    </a:cubicBezTo>
                    <a:cubicBezTo>
                      <a:pt x="8416" y="19705"/>
                      <a:pt x="14098" y="18508"/>
                      <a:pt x="16849" y="14262"/>
                    </a:cubicBezTo>
                    <a:close/>
                  </a:path>
                </a:pathLst>
              </a:custGeom>
              <a:grpFill/>
              <a:ln w="5978" cap="flat">
                <a:noFill/>
                <a:prstDash val="solid"/>
                <a:miter/>
              </a:ln>
            </p:spPr>
            <p:txBody>
              <a:bodyPr rtlCol="0" anchor="ctr"/>
              <a:lstStyle/>
              <a:p>
                <a:endParaRPr lang="en-GB"/>
              </a:p>
            </p:txBody>
          </p:sp>
        </p:grpSp>
        <p:grpSp>
          <p:nvGrpSpPr>
            <p:cNvPr id="1183" name="Graphic 3">
              <a:extLst>
                <a:ext uri="{FF2B5EF4-FFF2-40B4-BE49-F238E27FC236}">
                  <a16:creationId xmlns:a16="http://schemas.microsoft.com/office/drawing/2014/main" id="{4EAF7C25-1D86-45E9-86FE-EB591FEA876C}"/>
                </a:ext>
              </a:extLst>
            </p:cNvPr>
            <p:cNvGrpSpPr/>
            <p:nvPr/>
          </p:nvGrpSpPr>
          <p:grpSpPr>
            <a:xfrm>
              <a:off x="4399949" y="4167739"/>
              <a:ext cx="169908" cy="95445"/>
              <a:chOff x="4399949" y="4167739"/>
              <a:chExt cx="169908" cy="95445"/>
            </a:xfrm>
            <a:grpFill/>
          </p:grpSpPr>
          <p:sp>
            <p:nvSpPr>
              <p:cNvPr id="1853" name="Vrije vorm: vorm 1852">
                <a:extLst>
                  <a:ext uri="{FF2B5EF4-FFF2-40B4-BE49-F238E27FC236}">
                    <a16:creationId xmlns:a16="http://schemas.microsoft.com/office/drawing/2014/main" id="{2B17E944-59E3-44AC-8DE4-A6D5AE898AC3}"/>
                  </a:ext>
                </a:extLst>
              </p:cNvPr>
              <p:cNvSpPr/>
              <p:nvPr/>
            </p:nvSpPr>
            <p:spPr>
              <a:xfrm>
                <a:off x="4407991" y="4175361"/>
                <a:ext cx="153824" cy="80201"/>
              </a:xfrm>
              <a:custGeom>
                <a:avLst/>
                <a:gdLst>
                  <a:gd name="connsiteX0" fmla="*/ 153824 w 153824"/>
                  <a:gd name="connsiteY0" fmla="*/ 2751 h 80201"/>
                  <a:gd name="connsiteX1" fmla="*/ 1375 w 153824"/>
                  <a:gd name="connsiteY1" fmla="*/ 80202 h 80201"/>
                  <a:gd name="connsiteX2" fmla="*/ 0 w 153824"/>
                  <a:gd name="connsiteY2" fmla="*/ 77450 h 80201"/>
                  <a:gd name="connsiteX3" fmla="*/ 152389 w 153824"/>
                  <a:gd name="connsiteY3" fmla="*/ 0 h 80201"/>
                </a:gdLst>
                <a:ahLst/>
                <a:cxnLst>
                  <a:cxn ang="0">
                    <a:pos x="connsiteX0" y="connsiteY0"/>
                  </a:cxn>
                  <a:cxn ang="0">
                    <a:pos x="connsiteX1" y="connsiteY1"/>
                  </a:cxn>
                  <a:cxn ang="0">
                    <a:pos x="connsiteX2" y="connsiteY2"/>
                  </a:cxn>
                  <a:cxn ang="0">
                    <a:pos x="connsiteX3" y="connsiteY3"/>
                  </a:cxn>
                </a:cxnLst>
                <a:rect l="l" t="t" r="r" b="b"/>
                <a:pathLst>
                  <a:path w="153824" h="80201">
                    <a:moveTo>
                      <a:pt x="153824" y="2751"/>
                    </a:moveTo>
                    <a:lnTo>
                      <a:pt x="1375" y="80202"/>
                    </a:lnTo>
                    <a:lnTo>
                      <a:pt x="0" y="77450"/>
                    </a:lnTo>
                    <a:lnTo>
                      <a:pt x="152389" y="0"/>
                    </a:lnTo>
                    <a:close/>
                  </a:path>
                </a:pathLst>
              </a:custGeom>
              <a:grpFill/>
              <a:ln w="5978" cap="flat">
                <a:noFill/>
                <a:prstDash val="solid"/>
                <a:miter/>
              </a:ln>
            </p:spPr>
            <p:txBody>
              <a:bodyPr rtlCol="0" anchor="ctr"/>
              <a:lstStyle/>
              <a:p>
                <a:endParaRPr lang="en-GB"/>
              </a:p>
            </p:txBody>
          </p:sp>
          <p:sp>
            <p:nvSpPr>
              <p:cNvPr id="1854" name="Vrije vorm: vorm 1853">
                <a:extLst>
                  <a:ext uri="{FF2B5EF4-FFF2-40B4-BE49-F238E27FC236}">
                    <a16:creationId xmlns:a16="http://schemas.microsoft.com/office/drawing/2014/main" id="{FB1FEDAD-C105-4457-B6CC-A9840DED8501}"/>
                  </a:ext>
                </a:extLst>
              </p:cNvPr>
              <p:cNvSpPr/>
              <p:nvPr/>
            </p:nvSpPr>
            <p:spPr>
              <a:xfrm>
                <a:off x="4399949" y="4244771"/>
                <a:ext cx="18297" cy="18413"/>
              </a:xfrm>
              <a:custGeom>
                <a:avLst/>
                <a:gdLst>
                  <a:gd name="connsiteX0" fmla="*/ 13305 w 18297"/>
                  <a:gd name="connsiteY0" fmla="*/ 17430 h 18413"/>
                  <a:gd name="connsiteX1" fmla="*/ 985 w 18297"/>
                  <a:gd name="connsiteY1" fmla="*/ 13364 h 18413"/>
                  <a:gd name="connsiteX2" fmla="*/ 4992 w 18297"/>
                  <a:gd name="connsiteY2" fmla="*/ 983 h 18413"/>
                  <a:gd name="connsiteX3" fmla="*/ 17312 w 18297"/>
                  <a:gd name="connsiteY3" fmla="*/ 5050 h 18413"/>
                  <a:gd name="connsiteX4" fmla="*/ 13305 w 18297"/>
                  <a:gd name="connsiteY4" fmla="*/ 17430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3305" y="17430"/>
                    </a:moveTo>
                    <a:cubicBezTo>
                      <a:pt x="8820" y="19703"/>
                      <a:pt x="3258" y="17909"/>
                      <a:pt x="985" y="13364"/>
                    </a:cubicBezTo>
                    <a:cubicBezTo>
                      <a:pt x="-1288" y="8818"/>
                      <a:pt x="506" y="3256"/>
                      <a:pt x="4992" y="983"/>
                    </a:cubicBezTo>
                    <a:cubicBezTo>
                      <a:pt x="9477" y="-1289"/>
                      <a:pt x="15039" y="505"/>
                      <a:pt x="17312" y="5050"/>
                    </a:cubicBezTo>
                    <a:cubicBezTo>
                      <a:pt x="19585" y="9596"/>
                      <a:pt x="17791" y="15158"/>
                      <a:pt x="13305" y="17430"/>
                    </a:cubicBezTo>
                    <a:close/>
                  </a:path>
                </a:pathLst>
              </a:custGeom>
              <a:grpFill/>
              <a:ln w="5978" cap="flat">
                <a:noFill/>
                <a:prstDash val="solid"/>
                <a:miter/>
              </a:ln>
            </p:spPr>
            <p:txBody>
              <a:bodyPr rtlCol="0" anchor="ctr"/>
              <a:lstStyle/>
              <a:p>
                <a:endParaRPr lang="en-GB"/>
              </a:p>
            </p:txBody>
          </p:sp>
          <p:sp>
            <p:nvSpPr>
              <p:cNvPr id="1855" name="Vrije vorm: vorm 1854">
                <a:extLst>
                  <a:ext uri="{FF2B5EF4-FFF2-40B4-BE49-F238E27FC236}">
                    <a16:creationId xmlns:a16="http://schemas.microsoft.com/office/drawing/2014/main" id="{A9ADFC09-2A96-4430-8673-EDBFEBA78D09}"/>
                  </a:ext>
                </a:extLst>
              </p:cNvPr>
              <p:cNvSpPr/>
              <p:nvPr/>
            </p:nvSpPr>
            <p:spPr>
              <a:xfrm>
                <a:off x="4551560" y="4167739"/>
                <a:ext cx="18297" cy="18402"/>
              </a:xfrm>
              <a:custGeom>
                <a:avLst/>
                <a:gdLst>
                  <a:gd name="connsiteX0" fmla="*/ 13305 w 18297"/>
                  <a:gd name="connsiteY0" fmla="*/ 17430 h 18402"/>
                  <a:gd name="connsiteX1" fmla="*/ 17312 w 18297"/>
                  <a:gd name="connsiteY1" fmla="*/ 5050 h 18402"/>
                  <a:gd name="connsiteX2" fmla="*/ 4992 w 18297"/>
                  <a:gd name="connsiteY2" fmla="*/ 983 h 18402"/>
                  <a:gd name="connsiteX3" fmla="*/ 985 w 18297"/>
                  <a:gd name="connsiteY3" fmla="*/ 13364 h 18402"/>
                  <a:gd name="connsiteX4" fmla="*/ 13305 w 18297"/>
                  <a:gd name="connsiteY4" fmla="*/ 1743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2">
                    <a:moveTo>
                      <a:pt x="13305" y="17430"/>
                    </a:moveTo>
                    <a:cubicBezTo>
                      <a:pt x="17791" y="15158"/>
                      <a:pt x="19585" y="9596"/>
                      <a:pt x="17312" y="5050"/>
                    </a:cubicBezTo>
                    <a:cubicBezTo>
                      <a:pt x="15039" y="505"/>
                      <a:pt x="9477" y="-1289"/>
                      <a:pt x="4992" y="983"/>
                    </a:cubicBezTo>
                    <a:cubicBezTo>
                      <a:pt x="506" y="3256"/>
                      <a:pt x="-1288" y="8818"/>
                      <a:pt x="985" y="13364"/>
                    </a:cubicBezTo>
                    <a:cubicBezTo>
                      <a:pt x="3258" y="17849"/>
                      <a:pt x="8760" y="19703"/>
                      <a:pt x="13305" y="17430"/>
                    </a:cubicBezTo>
                    <a:close/>
                  </a:path>
                </a:pathLst>
              </a:custGeom>
              <a:grpFill/>
              <a:ln w="5978" cap="flat">
                <a:noFill/>
                <a:prstDash val="solid"/>
                <a:miter/>
              </a:ln>
            </p:spPr>
            <p:txBody>
              <a:bodyPr rtlCol="0" anchor="ctr"/>
              <a:lstStyle/>
              <a:p>
                <a:endParaRPr lang="en-GB"/>
              </a:p>
            </p:txBody>
          </p:sp>
        </p:grpSp>
        <p:grpSp>
          <p:nvGrpSpPr>
            <p:cNvPr id="1184" name="Graphic 3">
              <a:extLst>
                <a:ext uri="{FF2B5EF4-FFF2-40B4-BE49-F238E27FC236}">
                  <a16:creationId xmlns:a16="http://schemas.microsoft.com/office/drawing/2014/main" id="{6B9245F0-3734-44B2-8391-20690223722F}"/>
                </a:ext>
              </a:extLst>
            </p:cNvPr>
            <p:cNvGrpSpPr/>
            <p:nvPr/>
          </p:nvGrpSpPr>
          <p:grpSpPr>
            <a:xfrm>
              <a:off x="3876253" y="2829025"/>
              <a:ext cx="318994" cy="98653"/>
              <a:chOff x="3876253" y="2829025"/>
              <a:chExt cx="318994" cy="98653"/>
            </a:xfrm>
            <a:grpFill/>
          </p:grpSpPr>
          <p:sp>
            <p:nvSpPr>
              <p:cNvPr id="1850" name="Vrije vorm: vorm 1849">
                <a:extLst>
                  <a:ext uri="{FF2B5EF4-FFF2-40B4-BE49-F238E27FC236}">
                    <a16:creationId xmlns:a16="http://schemas.microsoft.com/office/drawing/2014/main" id="{883B58AD-D953-426D-B645-7224ACFE91B6}"/>
                  </a:ext>
                </a:extLst>
              </p:cNvPr>
              <p:cNvSpPr/>
              <p:nvPr/>
            </p:nvSpPr>
            <p:spPr>
              <a:xfrm>
                <a:off x="3884618" y="2836636"/>
                <a:ext cx="302325" cy="83371"/>
              </a:xfrm>
              <a:custGeom>
                <a:avLst/>
                <a:gdLst>
                  <a:gd name="connsiteX0" fmla="*/ 302325 w 302325"/>
                  <a:gd name="connsiteY0" fmla="*/ 80441 h 83371"/>
                  <a:gd name="connsiteX1" fmla="*/ 301548 w 302325"/>
                  <a:gd name="connsiteY1" fmla="*/ 83371 h 83371"/>
                  <a:gd name="connsiteX2" fmla="*/ 0 w 302325"/>
                  <a:gd name="connsiteY2" fmla="*/ 2931 h 83371"/>
                  <a:gd name="connsiteX3" fmla="*/ 718 w 302325"/>
                  <a:gd name="connsiteY3" fmla="*/ 0 h 83371"/>
                </a:gdLst>
                <a:ahLst/>
                <a:cxnLst>
                  <a:cxn ang="0">
                    <a:pos x="connsiteX0" y="connsiteY0"/>
                  </a:cxn>
                  <a:cxn ang="0">
                    <a:pos x="connsiteX1" y="connsiteY1"/>
                  </a:cxn>
                  <a:cxn ang="0">
                    <a:pos x="connsiteX2" y="connsiteY2"/>
                  </a:cxn>
                  <a:cxn ang="0">
                    <a:pos x="connsiteX3" y="connsiteY3"/>
                  </a:cxn>
                </a:cxnLst>
                <a:rect l="l" t="t" r="r" b="b"/>
                <a:pathLst>
                  <a:path w="302325" h="83371">
                    <a:moveTo>
                      <a:pt x="302325" y="80441"/>
                    </a:moveTo>
                    <a:lnTo>
                      <a:pt x="301548" y="83371"/>
                    </a:lnTo>
                    <a:lnTo>
                      <a:pt x="0" y="2931"/>
                    </a:lnTo>
                    <a:lnTo>
                      <a:pt x="718" y="0"/>
                    </a:lnTo>
                    <a:close/>
                  </a:path>
                </a:pathLst>
              </a:custGeom>
              <a:grpFill/>
              <a:ln w="5978" cap="flat">
                <a:noFill/>
                <a:prstDash val="solid"/>
                <a:miter/>
              </a:ln>
            </p:spPr>
            <p:txBody>
              <a:bodyPr rtlCol="0" anchor="ctr"/>
              <a:lstStyle/>
              <a:p>
                <a:endParaRPr lang="en-GB"/>
              </a:p>
            </p:txBody>
          </p:sp>
          <p:sp>
            <p:nvSpPr>
              <p:cNvPr id="1851" name="Vrije vorm: vorm 1850">
                <a:extLst>
                  <a:ext uri="{FF2B5EF4-FFF2-40B4-BE49-F238E27FC236}">
                    <a16:creationId xmlns:a16="http://schemas.microsoft.com/office/drawing/2014/main" id="{73479935-BE10-47F5-8EFE-4D3AF416CE3A}"/>
                  </a:ext>
                </a:extLst>
              </p:cNvPr>
              <p:cNvSpPr/>
              <p:nvPr/>
            </p:nvSpPr>
            <p:spPr>
              <a:xfrm>
                <a:off x="3876253" y="2829025"/>
                <a:ext cx="18343" cy="18392"/>
              </a:xfrm>
              <a:custGeom>
                <a:avLst/>
                <a:gdLst>
                  <a:gd name="connsiteX0" fmla="*/ 6869 w 18343"/>
                  <a:gd name="connsiteY0" fmla="*/ 18078 h 18392"/>
                  <a:gd name="connsiteX1" fmla="*/ 290 w 18343"/>
                  <a:gd name="connsiteY1" fmla="*/ 6834 h 18392"/>
                  <a:gd name="connsiteX2" fmla="*/ 11475 w 18343"/>
                  <a:gd name="connsiteY2" fmla="*/ 315 h 18392"/>
                  <a:gd name="connsiteX3" fmla="*/ 18053 w 18343"/>
                  <a:gd name="connsiteY3" fmla="*/ 11559 h 18392"/>
                  <a:gd name="connsiteX4" fmla="*/ 6869 w 18343"/>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6869" y="18078"/>
                    </a:moveTo>
                    <a:cubicBezTo>
                      <a:pt x="1965" y="16762"/>
                      <a:pt x="-965" y="11738"/>
                      <a:pt x="290" y="6834"/>
                    </a:cubicBezTo>
                    <a:cubicBezTo>
                      <a:pt x="1547" y="1930"/>
                      <a:pt x="6571" y="-1001"/>
                      <a:pt x="11475" y="315"/>
                    </a:cubicBezTo>
                    <a:cubicBezTo>
                      <a:pt x="16379" y="1631"/>
                      <a:pt x="19309" y="6654"/>
                      <a:pt x="18053" y="11559"/>
                    </a:cubicBezTo>
                    <a:cubicBezTo>
                      <a:pt x="16737" y="16463"/>
                      <a:pt x="11774" y="19393"/>
                      <a:pt x="6869" y="18078"/>
                    </a:cubicBezTo>
                    <a:close/>
                  </a:path>
                </a:pathLst>
              </a:custGeom>
              <a:grpFill/>
              <a:ln w="5978" cap="flat">
                <a:noFill/>
                <a:prstDash val="solid"/>
                <a:miter/>
              </a:ln>
            </p:spPr>
            <p:txBody>
              <a:bodyPr rtlCol="0" anchor="ctr"/>
              <a:lstStyle/>
              <a:p>
                <a:endParaRPr lang="en-GB"/>
              </a:p>
            </p:txBody>
          </p:sp>
          <p:sp>
            <p:nvSpPr>
              <p:cNvPr id="1852" name="Vrije vorm: vorm 1851">
                <a:extLst>
                  <a:ext uri="{FF2B5EF4-FFF2-40B4-BE49-F238E27FC236}">
                    <a16:creationId xmlns:a16="http://schemas.microsoft.com/office/drawing/2014/main" id="{64A94667-A336-4A61-8FD4-8FA989B082A0}"/>
                  </a:ext>
                </a:extLst>
              </p:cNvPr>
              <p:cNvSpPr/>
              <p:nvPr/>
            </p:nvSpPr>
            <p:spPr>
              <a:xfrm>
                <a:off x="4176904" y="2909287"/>
                <a:ext cx="18343" cy="18392"/>
              </a:xfrm>
              <a:custGeom>
                <a:avLst/>
                <a:gdLst>
                  <a:gd name="connsiteX0" fmla="*/ 6869 w 18343"/>
                  <a:gd name="connsiteY0" fmla="*/ 18078 h 18392"/>
                  <a:gd name="connsiteX1" fmla="*/ 18053 w 18343"/>
                  <a:gd name="connsiteY1" fmla="*/ 11559 h 18392"/>
                  <a:gd name="connsiteX2" fmla="*/ 11474 w 18343"/>
                  <a:gd name="connsiteY2" fmla="*/ 315 h 18392"/>
                  <a:gd name="connsiteX3" fmla="*/ 290 w 18343"/>
                  <a:gd name="connsiteY3" fmla="*/ 6834 h 18392"/>
                  <a:gd name="connsiteX4" fmla="*/ 6869 w 18343"/>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6869" y="18078"/>
                    </a:moveTo>
                    <a:cubicBezTo>
                      <a:pt x="11773" y="19393"/>
                      <a:pt x="16797" y="16463"/>
                      <a:pt x="18053" y="11559"/>
                    </a:cubicBezTo>
                    <a:cubicBezTo>
                      <a:pt x="19309" y="6654"/>
                      <a:pt x="16379" y="1571"/>
                      <a:pt x="11474" y="315"/>
                    </a:cubicBezTo>
                    <a:cubicBezTo>
                      <a:pt x="6570" y="-1001"/>
                      <a:pt x="1547" y="1930"/>
                      <a:pt x="290" y="6834"/>
                    </a:cubicBezTo>
                    <a:cubicBezTo>
                      <a:pt x="-965" y="11678"/>
                      <a:pt x="1965" y="16762"/>
                      <a:pt x="6869" y="18078"/>
                    </a:cubicBezTo>
                    <a:close/>
                  </a:path>
                </a:pathLst>
              </a:custGeom>
              <a:grpFill/>
              <a:ln w="5978" cap="flat">
                <a:noFill/>
                <a:prstDash val="solid"/>
                <a:miter/>
              </a:ln>
            </p:spPr>
            <p:txBody>
              <a:bodyPr rtlCol="0" anchor="ctr"/>
              <a:lstStyle/>
              <a:p>
                <a:endParaRPr lang="en-GB"/>
              </a:p>
            </p:txBody>
          </p:sp>
        </p:grpSp>
        <p:grpSp>
          <p:nvGrpSpPr>
            <p:cNvPr id="1185" name="Graphic 3">
              <a:extLst>
                <a:ext uri="{FF2B5EF4-FFF2-40B4-BE49-F238E27FC236}">
                  <a16:creationId xmlns:a16="http://schemas.microsoft.com/office/drawing/2014/main" id="{969F94E6-FA2C-41C8-BC91-14930E2FF257}"/>
                </a:ext>
              </a:extLst>
            </p:cNvPr>
            <p:cNvGrpSpPr/>
            <p:nvPr/>
          </p:nvGrpSpPr>
          <p:grpSpPr>
            <a:xfrm>
              <a:off x="4167381" y="3599604"/>
              <a:ext cx="219921" cy="41504"/>
              <a:chOff x="4167381" y="3599604"/>
              <a:chExt cx="219921" cy="41504"/>
            </a:xfrm>
            <a:grpFill/>
          </p:grpSpPr>
          <p:sp>
            <p:nvSpPr>
              <p:cNvPr id="1847" name="Vrije vorm: vorm 1846">
                <a:extLst>
                  <a:ext uri="{FF2B5EF4-FFF2-40B4-BE49-F238E27FC236}">
                    <a16:creationId xmlns:a16="http://schemas.microsoft.com/office/drawing/2014/main" id="{DD50133B-4A89-4B0E-99DF-7DC50EE2CDE2}"/>
                  </a:ext>
                </a:extLst>
              </p:cNvPr>
              <p:cNvSpPr/>
              <p:nvPr/>
            </p:nvSpPr>
            <p:spPr>
              <a:xfrm>
                <a:off x="4175879" y="3607252"/>
                <a:ext cx="202925" cy="26195"/>
              </a:xfrm>
              <a:custGeom>
                <a:avLst/>
                <a:gdLst>
                  <a:gd name="connsiteX0" fmla="*/ 202567 w 202925"/>
                  <a:gd name="connsiteY0" fmla="*/ 0 h 26195"/>
                  <a:gd name="connsiteX1" fmla="*/ 202926 w 202925"/>
                  <a:gd name="connsiteY1" fmla="*/ 3050 h 26195"/>
                  <a:gd name="connsiteX2" fmla="*/ 359 w 202925"/>
                  <a:gd name="connsiteY2" fmla="*/ 26196 h 26195"/>
                  <a:gd name="connsiteX3" fmla="*/ 0 w 202925"/>
                  <a:gd name="connsiteY3" fmla="*/ 23145 h 26195"/>
                </a:gdLst>
                <a:ahLst/>
                <a:cxnLst>
                  <a:cxn ang="0">
                    <a:pos x="connsiteX0" y="connsiteY0"/>
                  </a:cxn>
                  <a:cxn ang="0">
                    <a:pos x="connsiteX1" y="connsiteY1"/>
                  </a:cxn>
                  <a:cxn ang="0">
                    <a:pos x="connsiteX2" y="connsiteY2"/>
                  </a:cxn>
                  <a:cxn ang="0">
                    <a:pos x="connsiteX3" y="connsiteY3"/>
                  </a:cxn>
                </a:cxnLst>
                <a:rect l="l" t="t" r="r" b="b"/>
                <a:pathLst>
                  <a:path w="202925" h="26195">
                    <a:moveTo>
                      <a:pt x="202567" y="0"/>
                    </a:moveTo>
                    <a:lnTo>
                      <a:pt x="202926" y="3050"/>
                    </a:lnTo>
                    <a:lnTo>
                      <a:pt x="359" y="26196"/>
                    </a:lnTo>
                    <a:lnTo>
                      <a:pt x="0" y="23145"/>
                    </a:lnTo>
                    <a:close/>
                  </a:path>
                </a:pathLst>
              </a:custGeom>
              <a:grpFill/>
              <a:ln w="5978" cap="flat">
                <a:noFill/>
                <a:prstDash val="solid"/>
                <a:miter/>
              </a:ln>
            </p:spPr>
            <p:txBody>
              <a:bodyPr rtlCol="0" anchor="ctr"/>
              <a:lstStyle/>
              <a:p>
                <a:endParaRPr lang="en-GB"/>
              </a:p>
            </p:txBody>
          </p:sp>
          <p:sp>
            <p:nvSpPr>
              <p:cNvPr id="1848" name="Vrije vorm: vorm 1847">
                <a:extLst>
                  <a:ext uri="{FF2B5EF4-FFF2-40B4-BE49-F238E27FC236}">
                    <a16:creationId xmlns:a16="http://schemas.microsoft.com/office/drawing/2014/main" id="{849AE9E5-B024-4465-8D9B-A476F9201D9A}"/>
                  </a:ext>
                </a:extLst>
              </p:cNvPr>
              <p:cNvSpPr/>
              <p:nvPr/>
            </p:nvSpPr>
            <p:spPr>
              <a:xfrm>
                <a:off x="4167381" y="3622678"/>
                <a:ext cx="18311" cy="18429"/>
              </a:xfrm>
              <a:custGeom>
                <a:avLst/>
                <a:gdLst>
                  <a:gd name="connsiteX0" fmla="*/ 10232 w 18311"/>
                  <a:gd name="connsiteY0" fmla="*/ 18365 h 18429"/>
                  <a:gd name="connsiteX1" fmla="*/ 65 w 18311"/>
                  <a:gd name="connsiteY1" fmla="*/ 10231 h 18429"/>
                  <a:gd name="connsiteX2" fmla="*/ 8079 w 18311"/>
                  <a:gd name="connsiteY2" fmla="*/ 64 h 18429"/>
                  <a:gd name="connsiteX3" fmla="*/ 18247 w 18311"/>
                  <a:gd name="connsiteY3" fmla="*/ 8198 h 18429"/>
                  <a:gd name="connsiteX4" fmla="*/ 10232 w 18311"/>
                  <a:gd name="connsiteY4" fmla="*/ 1836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9">
                    <a:moveTo>
                      <a:pt x="10232" y="18365"/>
                    </a:moveTo>
                    <a:cubicBezTo>
                      <a:pt x="5208" y="18963"/>
                      <a:pt x="663" y="15315"/>
                      <a:pt x="65" y="10231"/>
                    </a:cubicBezTo>
                    <a:cubicBezTo>
                      <a:pt x="-533" y="5148"/>
                      <a:pt x="3055" y="602"/>
                      <a:pt x="8079" y="64"/>
                    </a:cubicBezTo>
                    <a:cubicBezTo>
                      <a:pt x="13103" y="-534"/>
                      <a:pt x="17648" y="3114"/>
                      <a:pt x="18247" y="8198"/>
                    </a:cubicBezTo>
                    <a:cubicBezTo>
                      <a:pt x="18845" y="13222"/>
                      <a:pt x="15256" y="17767"/>
                      <a:pt x="10232" y="18365"/>
                    </a:cubicBezTo>
                    <a:close/>
                  </a:path>
                </a:pathLst>
              </a:custGeom>
              <a:grpFill/>
              <a:ln w="5978" cap="flat">
                <a:noFill/>
                <a:prstDash val="solid"/>
                <a:miter/>
              </a:ln>
            </p:spPr>
            <p:txBody>
              <a:bodyPr rtlCol="0" anchor="ctr"/>
              <a:lstStyle/>
              <a:p>
                <a:endParaRPr lang="en-GB"/>
              </a:p>
            </p:txBody>
          </p:sp>
          <p:sp>
            <p:nvSpPr>
              <p:cNvPr id="1849" name="Vrije vorm: vorm 1848">
                <a:extLst>
                  <a:ext uri="{FF2B5EF4-FFF2-40B4-BE49-F238E27FC236}">
                    <a16:creationId xmlns:a16="http://schemas.microsoft.com/office/drawing/2014/main" id="{3D58D110-2C08-4C82-A877-BC932C9EC613}"/>
                  </a:ext>
                </a:extLst>
              </p:cNvPr>
              <p:cNvSpPr/>
              <p:nvPr/>
            </p:nvSpPr>
            <p:spPr>
              <a:xfrm>
                <a:off x="4368991" y="3599604"/>
                <a:ext cx="18311" cy="18418"/>
              </a:xfrm>
              <a:custGeom>
                <a:avLst/>
                <a:gdLst>
                  <a:gd name="connsiteX0" fmla="*/ 10232 w 18311"/>
                  <a:gd name="connsiteY0" fmla="*/ 18354 h 18418"/>
                  <a:gd name="connsiteX1" fmla="*/ 18246 w 18311"/>
                  <a:gd name="connsiteY1" fmla="*/ 8187 h 18418"/>
                  <a:gd name="connsiteX2" fmla="*/ 8079 w 18311"/>
                  <a:gd name="connsiteY2" fmla="*/ 53 h 18418"/>
                  <a:gd name="connsiteX3" fmla="*/ 65 w 18311"/>
                  <a:gd name="connsiteY3" fmla="*/ 10221 h 18418"/>
                  <a:gd name="connsiteX4" fmla="*/ 10232 w 18311"/>
                  <a:gd name="connsiteY4" fmla="*/ 18354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0232" y="18354"/>
                    </a:moveTo>
                    <a:cubicBezTo>
                      <a:pt x="15256" y="17756"/>
                      <a:pt x="18845" y="13211"/>
                      <a:pt x="18246" y="8187"/>
                    </a:cubicBezTo>
                    <a:cubicBezTo>
                      <a:pt x="17648" y="3103"/>
                      <a:pt x="13103" y="-485"/>
                      <a:pt x="8079" y="53"/>
                    </a:cubicBezTo>
                    <a:cubicBezTo>
                      <a:pt x="3056" y="651"/>
                      <a:pt x="-533" y="5197"/>
                      <a:pt x="65" y="10221"/>
                    </a:cubicBezTo>
                    <a:cubicBezTo>
                      <a:pt x="663" y="15304"/>
                      <a:pt x="5208" y="18953"/>
                      <a:pt x="10232" y="18354"/>
                    </a:cubicBezTo>
                    <a:close/>
                  </a:path>
                </a:pathLst>
              </a:custGeom>
              <a:grpFill/>
              <a:ln w="5978" cap="flat">
                <a:noFill/>
                <a:prstDash val="solid"/>
                <a:miter/>
              </a:ln>
            </p:spPr>
            <p:txBody>
              <a:bodyPr rtlCol="0" anchor="ctr"/>
              <a:lstStyle/>
              <a:p>
                <a:endParaRPr lang="en-GB"/>
              </a:p>
            </p:txBody>
          </p:sp>
        </p:grpSp>
        <p:grpSp>
          <p:nvGrpSpPr>
            <p:cNvPr id="1186" name="Graphic 3">
              <a:extLst>
                <a:ext uri="{FF2B5EF4-FFF2-40B4-BE49-F238E27FC236}">
                  <a16:creationId xmlns:a16="http://schemas.microsoft.com/office/drawing/2014/main" id="{AF136CC4-42DE-42D5-82EB-A3A848D8AF85}"/>
                </a:ext>
              </a:extLst>
            </p:cNvPr>
            <p:cNvGrpSpPr/>
            <p:nvPr/>
          </p:nvGrpSpPr>
          <p:grpSpPr>
            <a:xfrm>
              <a:off x="4013976" y="3335231"/>
              <a:ext cx="351916" cy="60548"/>
              <a:chOff x="4013976" y="3335231"/>
              <a:chExt cx="351916" cy="60548"/>
            </a:xfrm>
            <a:grpFill/>
          </p:grpSpPr>
          <p:sp>
            <p:nvSpPr>
              <p:cNvPr id="1844" name="Vrije vorm: vorm 1843">
                <a:extLst>
                  <a:ext uri="{FF2B5EF4-FFF2-40B4-BE49-F238E27FC236}">
                    <a16:creationId xmlns:a16="http://schemas.microsoft.com/office/drawing/2014/main" id="{48D12B2C-1C9A-47C6-98B4-C66A39F96EF0}"/>
                  </a:ext>
                </a:extLst>
              </p:cNvPr>
              <p:cNvSpPr/>
              <p:nvPr/>
            </p:nvSpPr>
            <p:spPr>
              <a:xfrm>
                <a:off x="4022533" y="3342845"/>
                <a:ext cx="334800" cy="45273"/>
              </a:xfrm>
              <a:custGeom>
                <a:avLst/>
                <a:gdLst>
                  <a:gd name="connsiteX0" fmla="*/ 334801 w 334800"/>
                  <a:gd name="connsiteY0" fmla="*/ 42224 h 45273"/>
                  <a:gd name="connsiteX1" fmla="*/ 334442 w 334800"/>
                  <a:gd name="connsiteY1" fmla="*/ 45274 h 45273"/>
                  <a:gd name="connsiteX2" fmla="*/ 0 w 334800"/>
                  <a:gd name="connsiteY2" fmla="*/ 3050 h 45273"/>
                  <a:gd name="connsiteX3" fmla="*/ 359 w 334800"/>
                  <a:gd name="connsiteY3" fmla="*/ 0 h 45273"/>
                </a:gdLst>
                <a:ahLst/>
                <a:cxnLst>
                  <a:cxn ang="0">
                    <a:pos x="connsiteX0" y="connsiteY0"/>
                  </a:cxn>
                  <a:cxn ang="0">
                    <a:pos x="connsiteX1" y="connsiteY1"/>
                  </a:cxn>
                  <a:cxn ang="0">
                    <a:pos x="connsiteX2" y="connsiteY2"/>
                  </a:cxn>
                  <a:cxn ang="0">
                    <a:pos x="connsiteX3" y="connsiteY3"/>
                  </a:cxn>
                </a:cxnLst>
                <a:rect l="l" t="t" r="r" b="b"/>
                <a:pathLst>
                  <a:path w="334800" h="45273">
                    <a:moveTo>
                      <a:pt x="334801" y="42224"/>
                    </a:moveTo>
                    <a:lnTo>
                      <a:pt x="334442" y="45274"/>
                    </a:lnTo>
                    <a:lnTo>
                      <a:pt x="0" y="3050"/>
                    </a:lnTo>
                    <a:lnTo>
                      <a:pt x="359" y="0"/>
                    </a:lnTo>
                    <a:close/>
                  </a:path>
                </a:pathLst>
              </a:custGeom>
              <a:grpFill/>
              <a:ln w="5978" cap="flat">
                <a:noFill/>
                <a:prstDash val="solid"/>
                <a:miter/>
              </a:ln>
            </p:spPr>
            <p:txBody>
              <a:bodyPr rtlCol="0" anchor="ctr"/>
              <a:lstStyle/>
              <a:p>
                <a:endParaRPr lang="en-GB"/>
              </a:p>
            </p:txBody>
          </p:sp>
          <p:sp>
            <p:nvSpPr>
              <p:cNvPr id="1845" name="Vrije vorm: vorm 1844">
                <a:extLst>
                  <a:ext uri="{FF2B5EF4-FFF2-40B4-BE49-F238E27FC236}">
                    <a16:creationId xmlns:a16="http://schemas.microsoft.com/office/drawing/2014/main" id="{04AAF20C-04DE-404A-915F-D37BE8366129}"/>
                  </a:ext>
                </a:extLst>
              </p:cNvPr>
              <p:cNvSpPr/>
              <p:nvPr/>
            </p:nvSpPr>
            <p:spPr>
              <a:xfrm>
                <a:off x="4347520" y="3377336"/>
                <a:ext cx="18371" cy="18443"/>
              </a:xfrm>
              <a:custGeom>
                <a:avLst/>
                <a:gdLst>
                  <a:gd name="connsiteX0" fmla="*/ 10292 w 18371"/>
                  <a:gd name="connsiteY0" fmla="*/ 78 h 18443"/>
                  <a:gd name="connsiteX1" fmla="*/ 18307 w 18371"/>
                  <a:gd name="connsiteY1" fmla="*/ 10365 h 18443"/>
                  <a:gd name="connsiteX2" fmla="*/ 8079 w 18371"/>
                  <a:gd name="connsiteY2" fmla="*/ 18379 h 18443"/>
                  <a:gd name="connsiteX3" fmla="*/ 65 w 18371"/>
                  <a:gd name="connsiteY3" fmla="*/ 8092 h 18443"/>
                  <a:gd name="connsiteX4" fmla="*/ 10292 w 18371"/>
                  <a:gd name="connsiteY4" fmla="*/ 78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3">
                    <a:moveTo>
                      <a:pt x="10292" y="78"/>
                    </a:moveTo>
                    <a:cubicBezTo>
                      <a:pt x="15316" y="736"/>
                      <a:pt x="18905" y="5341"/>
                      <a:pt x="18307" y="10365"/>
                    </a:cubicBezTo>
                    <a:cubicBezTo>
                      <a:pt x="17708" y="15388"/>
                      <a:pt x="13103" y="18977"/>
                      <a:pt x="8079" y="18379"/>
                    </a:cubicBezTo>
                    <a:cubicBezTo>
                      <a:pt x="3055" y="17721"/>
                      <a:pt x="-533" y="13116"/>
                      <a:pt x="65" y="8092"/>
                    </a:cubicBezTo>
                    <a:cubicBezTo>
                      <a:pt x="723" y="3008"/>
                      <a:pt x="5268" y="-580"/>
                      <a:pt x="10292" y="78"/>
                    </a:cubicBezTo>
                    <a:close/>
                  </a:path>
                </a:pathLst>
              </a:custGeom>
              <a:grpFill/>
              <a:ln w="5978" cap="flat">
                <a:noFill/>
                <a:prstDash val="solid"/>
                <a:miter/>
              </a:ln>
            </p:spPr>
            <p:txBody>
              <a:bodyPr rtlCol="0" anchor="ctr"/>
              <a:lstStyle/>
              <a:p>
                <a:endParaRPr lang="en-GB"/>
              </a:p>
            </p:txBody>
          </p:sp>
          <p:sp>
            <p:nvSpPr>
              <p:cNvPr id="1846" name="Vrije vorm: vorm 1845">
                <a:extLst>
                  <a:ext uri="{FF2B5EF4-FFF2-40B4-BE49-F238E27FC236}">
                    <a16:creationId xmlns:a16="http://schemas.microsoft.com/office/drawing/2014/main" id="{B5840756-0F59-44BA-A6AC-4DC9A1A35CA9}"/>
                  </a:ext>
                </a:extLst>
              </p:cNvPr>
              <p:cNvSpPr/>
              <p:nvPr/>
            </p:nvSpPr>
            <p:spPr>
              <a:xfrm>
                <a:off x="4013976" y="3335231"/>
                <a:ext cx="18371" cy="18456"/>
              </a:xfrm>
              <a:custGeom>
                <a:avLst/>
                <a:gdLst>
                  <a:gd name="connsiteX0" fmla="*/ 10292 w 18371"/>
                  <a:gd name="connsiteY0" fmla="*/ 78 h 18456"/>
                  <a:gd name="connsiteX1" fmla="*/ 65 w 18371"/>
                  <a:gd name="connsiteY1" fmla="*/ 8092 h 18456"/>
                  <a:gd name="connsiteX2" fmla="*/ 8079 w 18371"/>
                  <a:gd name="connsiteY2" fmla="*/ 18379 h 18456"/>
                  <a:gd name="connsiteX3" fmla="*/ 18306 w 18371"/>
                  <a:gd name="connsiteY3" fmla="*/ 10365 h 18456"/>
                  <a:gd name="connsiteX4" fmla="*/ 10292 w 18371"/>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6">
                    <a:moveTo>
                      <a:pt x="10292" y="78"/>
                    </a:moveTo>
                    <a:cubicBezTo>
                      <a:pt x="5268" y="-580"/>
                      <a:pt x="723" y="3008"/>
                      <a:pt x="65" y="8092"/>
                    </a:cubicBezTo>
                    <a:cubicBezTo>
                      <a:pt x="-533" y="13116"/>
                      <a:pt x="3056" y="17721"/>
                      <a:pt x="8079" y="18379"/>
                    </a:cubicBezTo>
                    <a:cubicBezTo>
                      <a:pt x="13103" y="19037"/>
                      <a:pt x="17648" y="15448"/>
                      <a:pt x="18306" y="10365"/>
                    </a:cubicBezTo>
                    <a:cubicBezTo>
                      <a:pt x="18904" y="5341"/>
                      <a:pt x="15316" y="736"/>
                      <a:pt x="10292" y="78"/>
                    </a:cubicBezTo>
                    <a:close/>
                  </a:path>
                </a:pathLst>
              </a:custGeom>
              <a:grpFill/>
              <a:ln w="5978" cap="flat">
                <a:noFill/>
                <a:prstDash val="solid"/>
                <a:miter/>
              </a:ln>
            </p:spPr>
            <p:txBody>
              <a:bodyPr rtlCol="0" anchor="ctr"/>
              <a:lstStyle/>
              <a:p>
                <a:endParaRPr lang="en-GB"/>
              </a:p>
            </p:txBody>
          </p:sp>
        </p:grpSp>
        <p:grpSp>
          <p:nvGrpSpPr>
            <p:cNvPr id="1187" name="Graphic 3">
              <a:extLst>
                <a:ext uri="{FF2B5EF4-FFF2-40B4-BE49-F238E27FC236}">
                  <a16:creationId xmlns:a16="http://schemas.microsoft.com/office/drawing/2014/main" id="{B5446334-5F98-4CB3-8F88-1C0DD7FB7F6C}"/>
                </a:ext>
              </a:extLst>
            </p:cNvPr>
            <p:cNvGrpSpPr/>
            <p:nvPr/>
          </p:nvGrpSpPr>
          <p:grpSpPr>
            <a:xfrm>
              <a:off x="4158451" y="3553634"/>
              <a:ext cx="204416" cy="33315"/>
              <a:chOff x="4158451" y="3553634"/>
              <a:chExt cx="204416" cy="33315"/>
            </a:xfrm>
            <a:grpFill/>
          </p:grpSpPr>
          <p:sp>
            <p:nvSpPr>
              <p:cNvPr id="1841" name="Vrije vorm: vorm 1840">
                <a:extLst>
                  <a:ext uri="{FF2B5EF4-FFF2-40B4-BE49-F238E27FC236}">
                    <a16:creationId xmlns:a16="http://schemas.microsoft.com/office/drawing/2014/main" id="{8DEB3D24-4415-4B6C-9B91-F20909C595A1}"/>
                  </a:ext>
                </a:extLst>
              </p:cNvPr>
              <p:cNvSpPr/>
              <p:nvPr/>
            </p:nvSpPr>
            <p:spPr>
              <a:xfrm>
                <a:off x="4167027" y="3561321"/>
                <a:ext cx="187256" cy="18001"/>
              </a:xfrm>
              <a:custGeom>
                <a:avLst/>
                <a:gdLst>
                  <a:gd name="connsiteX0" fmla="*/ 187256 w 187256"/>
                  <a:gd name="connsiteY0" fmla="*/ 14952 h 18001"/>
                  <a:gd name="connsiteX1" fmla="*/ 187077 w 187256"/>
                  <a:gd name="connsiteY1" fmla="*/ 18002 h 18001"/>
                  <a:gd name="connsiteX2" fmla="*/ 0 w 187256"/>
                  <a:gd name="connsiteY2" fmla="*/ 3050 h 18001"/>
                  <a:gd name="connsiteX3" fmla="*/ 239 w 187256"/>
                  <a:gd name="connsiteY3" fmla="*/ 0 h 18001"/>
                </a:gdLst>
                <a:ahLst/>
                <a:cxnLst>
                  <a:cxn ang="0">
                    <a:pos x="connsiteX0" y="connsiteY0"/>
                  </a:cxn>
                  <a:cxn ang="0">
                    <a:pos x="connsiteX1" y="connsiteY1"/>
                  </a:cxn>
                  <a:cxn ang="0">
                    <a:pos x="connsiteX2" y="connsiteY2"/>
                  </a:cxn>
                  <a:cxn ang="0">
                    <a:pos x="connsiteX3" y="connsiteY3"/>
                  </a:cxn>
                </a:cxnLst>
                <a:rect l="l" t="t" r="r" b="b"/>
                <a:pathLst>
                  <a:path w="187256" h="18001">
                    <a:moveTo>
                      <a:pt x="187256" y="14952"/>
                    </a:moveTo>
                    <a:lnTo>
                      <a:pt x="187077" y="18002"/>
                    </a:lnTo>
                    <a:lnTo>
                      <a:pt x="0" y="3050"/>
                    </a:lnTo>
                    <a:lnTo>
                      <a:pt x="239" y="0"/>
                    </a:lnTo>
                    <a:close/>
                  </a:path>
                </a:pathLst>
              </a:custGeom>
              <a:grpFill/>
              <a:ln w="5978" cap="flat">
                <a:noFill/>
                <a:prstDash val="solid"/>
                <a:miter/>
              </a:ln>
            </p:spPr>
            <p:txBody>
              <a:bodyPr rtlCol="0" anchor="ctr"/>
              <a:lstStyle/>
              <a:p>
                <a:endParaRPr lang="en-GB"/>
              </a:p>
            </p:txBody>
          </p:sp>
          <p:sp>
            <p:nvSpPr>
              <p:cNvPr id="1842" name="Vrije vorm: vorm 1841">
                <a:extLst>
                  <a:ext uri="{FF2B5EF4-FFF2-40B4-BE49-F238E27FC236}">
                    <a16:creationId xmlns:a16="http://schemas.microsoft.com/office/drawing/2014/main" id="{03307F03-D522-4B53-BE43-87536C0E02F5}"/>
                  </a:ext>
                </a:extLst>
              </p:cNvPr>
              <p:cNvSpPr/>
              <p:nvPr/>
            </p:nvSpPr>
            <p:spPr>
              <a:xfrm>
                <a:off x="4344564" y="3568526"/>
                <a:ext cx="18304" cy="18423"/>
              </a:xfrm>
              <a:custGeom>
                <a:avLst/>
                <a:gdLst>
                  <a:gd name="connsiteX0" fmla="*/ 9840 w 18304"/>
                  <a:gd name="connsiteY0" fmla="*/ 31 h 18423"/>
                  <a:gd name="connsiteX1" fmla="*/ 18273 w 18304"/>
                  <a:gd name="connsiteY1" fmla="*/ 9959 h 18423"/>
                  <a:gd name="connsiteX2" fmla="*/ 8464 w 18304"/>
                  <a:gd name="connsiteY2" fmla="*/ 18392 h 18423"/>
                  <a:gd name="connsiteX3" fmla="*/ 31 w 18304"/>
                  <a:gd name="connsiteY3" fmla="*/ 8464 h 18423"/>
                  <a:gd name="connsiteX4" fmla="*/ 9840 w 18304"/>
                  <a:gd name="connsiteY4" fmla="*/ 3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3">
                    <a:moveTo>
                      <a:pt x="9840" y="31"/>
                    </a:moveTo>
                    <a:cubicBezTo>
                      <a:pt x="14864" y="450"/>
                      <a:pt x="18691" y="4876"/>
                      <a:pt x="18273" y="9959"/>
                    </a:cubicBezTo>
                    <a:cubicBezTo>
                      <a:pt x="17914" y="15043"/>
                      <a:pt x="13488" y="18811"/>
                      <a:pt x="8464" y="18392"/>
                    </a:cubicBezTo>
                    <a:cubicBezTo>
                      <a:pt x="3440" y="17974"/>
                      <a:pt x="-387" y="13548"/>
                      <a:pt x="31" y="8464"/>
                    </a:cubicBezTo>
                    <a:cubicBezTo>
                      <a:pt x="390" y="3440"/>
                      <a:pt x="4816" y="-387"/>
                      <a:pt x="9840" y="31"/>
                    </a:cubicBezTo>
                    <a:close/>
                  </a:path>
                </a:pathLst>
              </a:custGeom>
              <a:grpFill/>
              <a:ln w="5978" cap="flat">
                <a:noFill/>
                <a:prstDash val="solid"/>
                <a:miter/>
              </a:ln>
            </p:spPr>
            <p:txBody>
              <a:bodyPr rtlCol="0" anchor="ctr"/>
              <a:lstStyle/>
              <a:p>
                <a:endParaRPr lang="en-GB"/>
              </a:p>
            </p:txBody>
          </p:sp>
          <p:sp>
            <p:nvSpPr>
              <p:cNvPr id="1843" name="Vrije vorm: vorm 1842">
                <a:extLst>
                  <a:ext uri="{FF2B5EF4-FFF2-40B4-BE49-F238E27FC236}">
                    <a16:creationId xmlns:a16="http://schemas.microsoft.com/office/drawing/2014/main" id="{EE35F93E-6710-4D7B-A629-5898823705BA}"/>
                  </a:ext>
                </a:extLst>
              </p:cNvPr>
              <p:cNvSpPr/>
              <p:nvPr/>
            </p:nvSpPr>
            <p:spPr>
              <a:xfrm>
                <a:off x="4158451" y="3553634"/>
                <a:ext cx="18296" cy="18423"/>
              </a:xfrm>
              <a:custGeom>
                <a:avLst/>
                <a:gdLst>
                  <a:gd name="connsiteX0" fmla="*/ 9832 w 18296"/>
                  <a:gd name="connsiteY0" fmla="*/ 31 h 18423"/>
                  <a:gd name="connsiteX1" fmla="*/ 24 w 18296"/>
                  <a:gd name="connsiteY1" fmla="*/ 8464 h 18423"/>
                  <a:gd name="connsiteX2" fmla="*/ 8457 w 18296"/>
                  <a:gd name="connsiteY2" fmla="*/ 18392 h 18423"/>
                  <a:gd name="connsiteX3" fmla="*/ 18265 w 18296"/>
                  <a:gd name="connsiteY3" fmla="*/ 9959 h 18423"/>
                  <a:gd name="connsiteX4" fmla="*/ 9832 w 18296"/>
                  <a:gd name="connsiteY4" fmla="*/ 3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23">
                    <a:moveTo>
                      <a:pt x="9832" y="31"/>
                    </a:moveTo>
                    <a:cubicBezTo>
                      <a:pt x="4808" y="-387"/>
                      <a:pt x="382" y="3440"/>
                      <a:pt x="24" y="8464"/>
                    </a:cubicBezTo>
                    <a:cubicBezTo>
                      <a:pt x="-335" y="13548"/>
                      <a:pt x="3433" y="17974"/>
                      <a:pt x="8457" y="18392"/>
                    </a:cubicBezTo>
                    <a:cubicBezTo>
                      <a:pt x="13480" y="18811"/>
                      <a:pt x="17906" y="14983"/>
                      <a:pt x="18265" y="9959"/>
                    </a:cubicBezTo>
                    <a:cubicBezTo>
                      <a:pt x="18683" y="4876"/>
                      <a:pt x="14916" y="450"/>
                      <a:pt x="9832" y="31"/>
                    </a:cubicBezTo>
                    <a:close/>
                  </a:path>
                </a:pathLst>
              </a:custGeom>
              <a:grpFill/>
              <a:ln w="5978" cap="flat">
                <a:noFill/>
                <a:prstDash val="solid"/>
                <a:miter/>
              </a:ln>
            </p:spPr>
            <p:txBody>
              <a:bodyPr rtlCol="0" anchor="ctr"/>
              <a:lstStyle/>
              <a:p>
                <a:endParaRPr lang="en-GB"/>
              </a:p>
            </p:txBody>
          </p:sp>
        </p:grpSp>
        <p:grpSp>
          <p:nvGrpSpPr>
            <p:cNvPr id="1188" name="Graphic 3">
              <a:extLst>
                <a:ext uri="{FF2B5EF4-FFF2-40B4-BE49-F238E27FC236}">
                  <a16:creationId xmlns:a16="http://schemas.microsoft.com/office/drawing/2014/main" id="{1DCAEE36-D3AD-41ED-9E3D-313A9229EEE4}"/>
                </a:ext>
              </a:extLst>
            </p:cNvPr>
            <p:cNvGrpSpPr/>
            <p:nvPr/>
          </p:nvGrpSpPr>
          <p:grpSpPr>
            <a:xfrm>
              <a:off x="4607679" y="4639358"/>
              <a:ext cx="35765" cy="33541"/>
              <a:chOff x="4607679" y="4639358"/>
              <a:chExt cx="35765" cy="33541"/>
            </a:xfrm>
            <a:grpFill/>
          </p:grpSpPr>
          <p:sp>
            <p:nvSpPr>
              <p:cNvPr id="1838" name="Vrije vorm: vorm 1837">
                <a:extLst>
                  <a:ext uri="{FF2B5EF4-FFF2-40B4-BE49-F238E27FC236}">
                    <a16:creationId xmlns:a16="http://schemas.microsoft.com/office/drawing/2014/main" id="{785E5D79-ED65-41D9-8E3A-51CD05A30666}"/>
                  </a:ext>
                </a:extLst>
              </p:cNvPr>
              <p:cNvSpPr/>
              <p:nvPr/>
            </p:nvSpPr>
            <p:spPr>
              <a:xfrm>
                <a:off x="4615462" y="4647120"/>
                <a:ext cx="20155" cy="18061"/>
              </a:xfrm>
              <a:custGeom>
                <a:avLst/>
                <a:gdLst>
                  <a:gd name="connsiteX0" fmla="*/ 20155 w 20155"/>
                  <a:gd name="connsiteY0" fmla="*/ 2333 h 18061"/>
                  <a:gd name="connsiteX1" fmla="*/ 2033 w 20155"/>
                  <a:gd name="connsiteY1" fmla="*/ 18062 h 18061"/>
                  <a:gd name="connsiteX2" fmla="*/ 0 w 20155"/>
                  <a:gd name="connsiteY2" fmla="*/ 15729 h 18061"/>
                  <a:gd name="connsiteX3" fmla="*/ 18181 w 20155"/>
                  <a:gd name="connsiteY3" fmla="*/ 0 h 18061"/>
                </a:gdLst>
                <a:ahLst/>
                <a:cxnLst>
                  <a:cxn ang="0">
                    <a:pos x="connsiteX0" y="connsiteY0"/>
                  </a:cxn>
                  <a:cxn ang="0">
                    <a:pos x="connsiteX1" y="connsiteY1"/>
                  </a:cxn>
                  <a:cxn ang="0">
                    <a:pos x="connsiteX2" y="connsiteY2"/>
                  </a:cxn>
                  <a:cxn ang="0">
                    <a:pos x="connsiteX3" y="connsiteY3"/>
                  </a:cxn>
                </a:cxnLst>
                <a:rect l="l" t="t" r="r" b="b"/>
                <a:pathLst>
                  <a:path w="20155" h="18061">
                    <a:moveTo>
                      <a:pt x="20155" y="2333"/>
                    </a:moveTo>
                    <a:lnTo>
                      <a:pt x="2033" y="18062"/>
                    </a:lnTo>
                    <a:lnTo>
                      <a:pt x="0" y="15729"/>
                    </a:lnTo>
                    <a:lnTo>
                      <a:pt x="18181" y="0"/>
                    </a:lnTo>
                    <a:close/>
                  </a:path>
                </a:pathLst>
              </a:custGeom>
              <a:grpFill/>
              <a:ln w="5978" cap="flat">
                <a:noFill/>
                <a:prstDash val="solid"/>
                <a:miter/>
              </a:ln>
            </p:spPr>
            <p:txBody>
              <a:bodyPr rtlCol="0" anchor="ctr"/>
              <a:lstStyle/>
              <a:p>
                <a:endParaRPr lang="en-GB"/>
              </a:p>
            </p:txBody>
          </p:sp>
          <p:sp>
            <p:nvSpPr>
              <p:cNvPr id="1839" name="Vrije vorm: vorm 1838">
                <a:extLst>
                  <a:ext uri="{FF2B5EF4-FFF2-40B4-BE49-F238E27FC236}">
                    <a16:creationId xmlns:a16="http://schemas.microsoft.com/office/drawing/2014/main" id="{7E7ABA5D-16C7-4AD2-832F-AB78A2227239}"/>
                  </a:ext>
                </a:extLst>
              </p:cNvPr>
              <p:cNvSpPr/>
              <p:nvPr/>
            </p:nvSpPr>
            <p:spPr>
              <a:xfrm>
                <a:off x="4607679" y="4654534"/>
                <a:ext cx="18301" cy="18365"/>
              </a:xfrm>
              <a:custGeom>
                <a:avLst/>
                <a:gdLst>
                  <a:gd name="connsiteX0" fmla="*/ 15139 w 18301"/>
                  <a:gd name="connsiteY0" fmla="*/ 16150 h 18365"/>
                  <a:gd name="connsiteX1" fmla="*/ 2221 w 18301"/>
                  <a:gd name="connsiteY1" fmla="*/ 15194 h 18365"/>
                  <a:gd name="connsiteX2" fmla="*/ 3118 w 18301"/>
                  <a:gd name="connsiteY2" fmla="*/ 2215 h 18365"/>
                  <a:gd name="connsiteX3" fmla="*/ 16037 w 18301"/>
                  <a:gd name="connsiteY3" fmla="*/ 3172 h 18365"/>
                  <a:gd name="connsiteX4" fmla="*/ 15139 w 18301"/>
                  <a:gd name="connsiteY4" fmla="*/ 1615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65">
                    <a:moveTo>
                      <a:pt x="15139" y="16150"/>
                    </a:moveTo>
                    <a:cubicBezTo>
                      <a:pt x="11312" y="19440"/>
                      <a:pt x="5510" y="19021"/>
                      <a:pt x="2221" y="15194"/>
                    </a:cubicBezTo>
                    <a:cubicBezTo>
                      <a:pt x="-1069" y="11306"/>
                      <a:pt x="-650" y="5505"/>
                      <a:pt x="3118" y="2215"/>
                    </a:cubicBezTo>
                    <a:cubicBezTo>
                      <a:pt x="6946" y="-1074"/>
                      <a:pt x="12747" y="-655"/>
                      <a:pt x="16037" y="3172"/>
                    </a:cubicBezTo>
                    <a:cubicBezTo>
                      <a:pt x="19386" y="7000"/>
                      <a:pt x="18967" y="12861"/>
                      <a:pt x="15139" y="16150"/>
                    </a:cubicBezTo>
                    <a:close/>
                  </a:path>
                </a:pathLst>
              </a:custGeom>
              <a:grpFill/>
              <a:ln w="5978" cap="flat">
                <a:noFill/>
                <a:prstDash val="solid"/>
                <a:miter/>
              </a:ln>
            </p:spPr>
            <p:txBody>
              <a:bodyPr rtlCol="0" anchor="ctr"/>
              <a:lstStyle/>
              <a:p>
                <a:endParaRPr lang="en-GB"/>
              </a:p>
            </p:txBody>
          </p:sp>
          <p:sp>
            <p:nvSpPr>
              <p:cNvPr id="1840" name="Vrije vorm: vorm 1839">
                <a:extLst>
                  <a:ext uri="{FF2B5EF4-FFF2-40B4-BE49-F238E27FC236}">
                    <a16:creationId xmlns:a16="http://schemas.microsoft.com/office/drawing/2014/main" id="{30E00CB7-64D8-4831-8F8A-6376B12669FC}"/>
                  </a:ext>
                </a:extLst>
              </p:cNvPr>
              <p:cNvSpPr/>
              <p:nvPr/>
            </p:nvSpPr>
            <p:spPr>
              <a:xfrm>
                <a:off x="4625098" y="4639358"/>
                <a:ext cx="18346" cy="18434"/>
              </a:xfrm>
              <a:custGeom>
                <a:avLst/>
                <a:gdLst>
                  <a:gd name="connsiteX0" fmla="*/ 15184 w 18346"/>
                  <a:gd name="connsiteY0" fmla="*/ 16195 h 18434"/>
                  <a:gd name="connsiteX1" fmla="*/ 16081 w 18346"/>
                  <a:gd name="connsiteY1" fmla="*/ 3217 h 18434"/>
                  <a:gd name="connsiteX2" fmla="*/ 3162 w 18346"/>
                  <a:gd name="connsiteY2" fmla="*/ 2260 h 18434"/>
                  <a:gd name="connsiteX3" fmla="*/ 2265 w 18346"/>
                  <a:gd name="connsiteY3" fmla="*/ 15238 h 18434"/>
                  <a:gd name="connsiteX4" fmla="*/ 15184 w 18346"/>
                  <a:gd name="connsiteY4" fmla="*/ 1619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4">
                    <a:moveTo>
                      <a:pt x="15184" y="16195"/>
                    </a:moveTo>
                    <a:cubicBezTo>
                      <a:pt x="19011" y="12905"/>
                      <a:pt x="19430" y="7044"/>
                      <a:pt x="16081" y="3217"/>
                    </a:cubicBezTo>
                    <a:cubicBezTo>
                      <a:pt x="12791" y="-671"/>
                      <a:pt x="6990" y="-1089"/>
                      <a:pt x="3162" y="2260"/>
                    </a:cubicBezTo>
                    <a:cubicBezTo>
                      <a:pt x="-665" y="5549"/>
                      <a:pt x="-1084" y="11410"/>
                      <a:pt x="2265" y="15238"/>
                    </a:cubicBezTo>
                    <a:cubicBezTo>
                      <a:pt x="5555" y="19066"/>
                      <a:pt x="11356" y="19544"/>
                      <a:pt x="15184" y="16195"/>
                    </a:cubicBezTo>
                    <a:close/>
                  </a:path>
                </a:pathLst>
              </a:custGeom>
              <a:grpFill/>
              <a:ln w="5978" cap="flat">
                <a:noFill/>
                <a:prstDash val="solid"/>
                <a:miter/>
              </a:ln>
            </p:spPr>
            <p:txBody>
              <a:bodyPr rtlCol="0" anchor="ctr"/>
              <a:lstStyle/>
              <a:p>
                <a:endParaRPr lang="en-GB"/>
              </a:p>
            </p:txBody>
          </p:sp>
        </p:grpSp>
        <p:grpSp>
          <p:nvGrpSpPr>
            <p:cNvPr id="1189" name="Graphic 3">
              <a:extLst>
                <a:ext uri="{FF2B5EF4-FFF2-40B4-BE49-F238E27FC236}">
                  <a16:creationId xmlns:a16="http://schemas.microsoft.com/office/drawing/2014/main" id="{BD0711AA-8466-4DCD-8688-43FA278E5564}"/>
                </a:ext>
              </a:extLst>
            </p:cNvPr>
            <p:cNvGrpSpPr/>
            <p:nvPr/>
          </p:nvGrpSpPr>
          <p:grpSpPr>
            <a:xfrm>
              <a:off x="4175939" y="3658567"/>
              <a:ext cx="233606" cy="18719"/>
              <a:chOff x="4175939" y="3658567"/>
              <a:chExt cx="233606" cy="18719"/>
            </a:xfrm>
            <a:grpFill/>
          </p:grpSpPr>
          <p:sp>
            <p:nvSpPr>
              <p:cNvPr id="1835" name="Vrije vorm: vorm 1834">
                <a:extLst>
                  <a:ext uri="{FF2B5EF4-FFF2-40B4-BE49-F238E27FC236}">
                    <a16:creationId xmlns:a16="http://schemas.microsoft.com/office/drawing/2014/main" id="{11A7E815-91A4-4F8E-92E9-5815E85E7592}"/>
                  </a:ext>
                </a:extLst>
              </p:cNvPr>
              <p:cNvSpPr/>
              <p:nvPr/>
            </p:nvSpPr>
            <p:spPr>
              <a:xfrm>
                <a:off x="4184671" y="3666222"/>
                <a:ext cx="216143" cy="3409"/>
              </a:xfrm>
              <a:custGeom>
                <a:avLst/>
                <a:gdLst>
                  <a:gd name="connsiteX0" fmla="*/ 216143 w 216143"/>
                  <a:gd name="connsiteY0" fmla="*/ 299 h 3409"/>
                  <a:gd name="connsiteX1" fmla="*/ 216143 w 216143"/>
                  <a:gd name="connsiteY1" fmla="*/ 3409 h 3409"/>
                  <a:gd name="connsiteX2" fmla="*/ 0 w 216143"/>
                  <a:gd name="connsiteY2" fmla="*/ 3050 h 3409"/>
                  <a:gd name="connsiteX3" fmla="*/ 0 w 216143"/>
                  <a:gd name="connsiteY3" fmla="*/ 0 h 3409"/>
                </a:gdLst>
                <a:ahLst/>
                <a:cxnLst>
                  <a:cxn ang="0">
                    <a:pos x="connsiteX0" y="connsiteY0"/>
                  </a:cxn>
                  <a:cxn ang="0">
                    <a:pos x="connsiteX1" y="connsiteY1"/>
                  </a:cxn>
                  <a:cxn ang="0">
                    <a:pos x="connsiteX2" y="connsiteY2"/>
                  </a:cxn>
                  <a:cxn ang="0">
                    <a:pos x="connsiteX3" y="connsiteY3"/>
                  </a:cxn>
                </a:cxnLst>
                <a:rect l="l" t="t" r="r" b="b"/>
                <a:pathLst>
                  <a:path w="216143" h="3409">
                    <a:moveTo>
                      <a:pt x="216143" y="299"/>
                    </a:moveTo>
                    <a:lnTo>
                      <a:pt x="216143" y="3409"/>
                    </a:lnTo>
                    <a:lnTo>
                      <a:pt x="0" y="3050"/>
                    </a:lnTo>
                    <a:lnTo>
                      <a:pt x="0" y="0"/>
                    </a:lnTo>
                    <a:close/>
                  </a:path>
                </a:pathLst>
              </a:custGeom>
              <a:grpFill/>
              <a:ln w="5978" cap="flat">
                <a:noFill/>
                <a:prstDash val="solid"/>
                <a:miter/>
              </a:ln>
            </p:spPr>
            <p:txBody>
              <a:bodyPr rtlCol="0" anchor="ctr"/>
              <a:lstStyle/>
              <a:p>
                <a:endParaRPr lang="en-GB"/>
              </a:p>
            </p:txBody>
          </p:sp>
          <p:sp>
            <p:nvSpPr>
              <p:cNvPr id="1836" name="Vrije vorm: vorm 1835">
                <a:extLst>
                  <a:ext uri="{FF2B5EF4-FFF2-40B4-BE49-F238E27FC236}">
                    <a16:creationId xmlns:a16="http://schemas.microsoft.com/office/drawing/2014/main" id="{442C0B65-BAC5-43C1-A67B-9918D254190A}"/>
                  </a:ext>
                </a:extLst>
              </p:cNvPr>
              <p:cNvSpPr/>
              <p:nvPr/>
            </p:nvSpPr>
            <p:spPr>
              <a:xfrm>
                <a:off x="4391185" y="3658866"/>
                <a:ext cx="18360" cy="18420"/>
              </a:xfrm>
              <a:custGeom>
                <a:avLst/>
                <a:gdLst>
                  <a:gd name="connsiteX0" fmla="*/ 9150 w 18360"/>
                  <a:gd name="connsiteY0" fmla="*/ 0 h 18420"/>
                  <a:gd name="connsiteX1" fmla="*/ 18361 w 18360"/>
                  <a:gd name="connsiteY1" fmla="*/ 9210 h 18420"/>
                  <a:gd name="connsiteX2" fmla="*/ 9210 w 18360"/>
                  <a:gd name="connsiteY2" fmla="*/ 18421 h 18420"/>
                  <a:gd name="connsiteX3" fmla="*/ 0 w 18360"/>
                  <a:gd name="connsiteY3" fmla="*/ 9210 h 18420"/>
                  <a:gd name="connsiteX4" fmla="*/ 9150 w 18360"/>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9150" y="0"/>
                    </a:moveTo>
                    <a:cubicBezTo>
                      <a:pt x="14234" y="0"/>
                      <a:pt x="18301" y="4127"/>
                      <a:pt x="18361" y="9210"/>
                    </a:cubicBezTo>
                    <a:cubicBezTo>
                      <a:pt x="18361" y="14294"/>
                      <a:pt x="14294" y="18421"/>
                      <a:pt x="9210" y="18421"/>
                    </a:cubicBezTo>
                    <a:cubicBezTo>
                      <a:pt x="4127" y="18421"/>
                      <a:pt x="60" y="14294"/>
                      <a:pt x="0" y="9210"/>
                    </a:cubicBezTo>
                    <a:cubicBezTo>
                      <a:pt x="0" y="4127"/>
                      <a:pt x="4067" y="0"/>
                      <a:pt x="9150" y="0"/>
                    </a:cubicBezTo>
                    <a:close/>
                  </a:path>
                </a:pathLst>
              </a:custGeom>
              <a:grpFill/>
              <a:ln w="5978" cap="flat">
                <a:noFill/>
                <a:prstDash val="solid"/>
                <a:miter/>
              </a:ln>
            </p:spPr>
            <p:txBody>
              <a:bodyPr rtlCol="0" anchor="ctr"/>
              <a:lstStyle/>
              <a:p>
                <a:endParaRPr lang="en-GB"/>
              </a:p>
            </p:txBody>
          </p:sp>
          <p:sp>
            <p:nvSpPr>
              <p:cNvPr id="1837" name="Vrije vorm: vorm 1836">
                <a:extLst>
                  <a:ext uri="{FF2B5EF4-FFF2-40B4-BE49-F238E27FC236}">
                    <a16:creationId xmlns:a16="http://schemas.microsoft.com/office/drawing/2014/main" id="{D398AF19-92E7-4CD2-AB10-7058B8866547}"/>
                  </a:ext>
                </a:extLst>
              </p:cNvPr>
              <p:cNvSpPr/>
              <p:nvPr/>
            </p:nvSpPr>
            <p:spPr>
              <a:xfrm>
                <a:off x="4175939" y="3658567"/>
                <a:ext cx="18360" cy="18420"/>
              </a:xfrm>
              <a:custGeom>
                <a:avLst/>
                <a:gdLst>
                  <a:gd name="connsiteX0" fmla="*/ 9150 w 18360"/>
                  <a:gd name="connsiteY0" fmla="*/ 0 h 18420"/>
                  <a:gd name="connsiteX1" fmla="*/ 0 w 18360"/>
                  <a:gd name="connsiteY1" fmla="*/ 9210 h 18420"/>
                  <a:gd name="connsiteX2" fmla="*/ 9210 w 18360"/>
                  <a:gd name="connsiteY2" fmla="*/ 18421 h 18420"/>
                  <a:gd name="connsiteX3" fmla="*/ 18360 w 18360"/>
                  <a:gd name="connsiteY3" fmla="*/ 9210 h 18420"/>
                  <a:gd name="connsiteX4" fmla="*/ 9150 w 18360"/>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9150" y="0"/>
                    </a:moveTo>
                    <a:cubicBezTo>
                      <a:pt x="4067" y="0"/>
                      <a:pt x="0" y="4127"/>
                      <a:pt x="0" y="9210"/>
                    </a:cubicBezTo>
                    <a:cubicBezTo>
                      <a:pt x="0" y="14294"/>
                      <a:pt x="4126" y="18421"/>
                      <a:pt x="9210" y="18421"/>
                    </a:cubicBezTo>
                    <a:cubicBezTo>
                      <a:pt x="14294" y="18421"/>
                      <a:pt x="18360" y="14294"/>
                      <a:pt x="18360" y="9210"/>
                    </a:cubicBezTo>
                    <a:cubicBezTo>
                      <a:pt x="18301" y="4127"/>
                      <a:pt x="14234" y="0"/>
                      <a:pt x="9150" y="0"/>
                    </a:cubicBezTo>
                    <a:close/>
                  </a:path>
                </a:pathLst>
              </a:custGeom>
              <a:grpFill/>
              <a:ln w="5978" cap="flat">
                <a:noFill/>
                <a:prstDash val="solid"/>
                <a:miter/>
              </a:ln>
            </p:spPr>
            <p:txBody>
              <a:bodyPr rtlCol="0" anchor="ctr"/>
              <a:lstStyle/>
              <a:p>
                <a:endParaRPr lang="en-GB"/>
              </a:p>
            </p:txBody>
          </p:sp>
        </p:grpSp>
        <p:grpSp>
          <p:nvGrpSpPr>
            <p:cNvPr id="1190" name="Graphic 3">
              <a:extLst>
                <a:ext uri="{FF2B5EF4-FFF2-40B4-BE49-F238E27FC236}">
                  <a16:creationId xmlns:a16="http://schemas.microsoft.com/office/drawing/2014/main" id="{1A8A0745-C058-48B3-89CE-1F2DF16986EA}"/>
                </a:ext>
              </a:extLst>
            </p:cNvPr>
            <p:cNvGrpSpPr/>
            <p:nvPr/>
          </p:nvGrpSpPr>
          <p:grpSpPr>
            <a:xfrm>
              <a:off x="4208329" y="3690974"/>
              <a:ext cx="207924" cy="50973"/>
              <a:chOff x="4208329" y="3690974"/>
              <a:chExt cx="207924" cy="50973"/>
            </a:xfrm>
            <a:grpFill/>
          </p:grpSpPr>
          <p:sp>
            <p:nvSpPr>
              <p:cNvPr id="1832" name="Vrije vorm: vorm 1831">
                <a:extLst>
                  <a:ext uri="{FF2B5EF4-FFF2-40B4-BE49-F238E27FC236}">
                    <a16:creationId xmlns:a16="http://schemas.microsoft.com/office/drawing/2014/main" id="{A3615EF9-81C7-4E7B-BE07-0A16E67AA76B}"/>
                  </a:ext>
                </a:extLst>
              </p:cNvPr>
              <p:cNvSpPr/>
              <p:nvPr/>
            </p:nvSpPr>
            <p:spPr>
              <a:xfrm>
                <a:off x="4216787" y="3698578"/>
                <a:ext cx="191024" cy="35764"/>
              </a:xfrm>
              <a:custGeom>
                <a:avLst/>
                <a:gdLst>
                  <a:gd name="connsiteX0" fmla="*/ 190486 w 191024"/>
                  <a:gd name="connsiteY0" fmla="*/ 0 h 35764"/>
                  <a:gd name="connsiteX1" fmla="*/ 191024 w 191024"/>
                  <a:gd name="connsiteY1" fmla="*/ 3050 h 35764"/>
                  <a:gd name="connsiteX2" fmla="*/ 538 w 191024"/>
                  <a:gd name="connsiteY2" fmla="*/ 35765 h 35764"/>
                  <a:gd name="connsiteX3" fmla="*/ 0 w 191024"/>
                  <a:gd name="connsiteY3" fmla="*/ 32774 h 35764"/>
                </a:gdLst>
                <a:ahLst/>
                <a:cxnLst>
                  <a:cxn ang="0">
                    <a:pos x="connsiteX0" y="connsiteY0"/>
                  </a:cxn>
                  <a:cxn ang="0">
                    <a:pos x="connsiteX1" y="connsiteY1"/>
                  </a:cxn>
                  <a:cxn ang="0">
                    <a:pos x="connsiteX2" y="connsiteY2"/>
                  </a:cxn>
                  <a:cxn ang="0">
                    <a:pos x="connsiteX3" y="connsiteY3"/>
                  </a:cxn>
                </a:cxnLst>
                <a:rect l="l" t="t" r="r" b="b"/>
                <a:pathLst>
                  <a:path w="191024" h="35764">
                    <a:moveTo>
                      <a:pt x="190486" y="0"/>
                    </a:moveTo>
                    <a:lnTo>
                      <a:pt x="191024" y="3050"/>
                    </a:lnTo>
                    <a:lnTo>
                      <a:pt x="538" y="35765"/>
                    </a:lnTo>
                    <a:lnTo>
                      <a:pt x="0" y="32774"/>
                    </a:lnTo>
                    <a:close/>
                  </a:path>
                </a:pathLst>
              </a:custGeom>
              <a:grpFill/>
              <a:ln w="5978" cap="flat">
                <a:noFill/>
                <a:prstDash val="solid"/>
                <a:miter/>
              </a:ln>
            </p:spPr>
            <p:txBody>
              <a:bodyPr rtlCol="0" anchor="ctr"/>
              <a:lstStyle/>
              <a:p>
                <a:endParaRPr lang="en-GB"/>
              </a:p>
            </p:txBody>
          </p:sp>
          <p:sp>
            <p:nvSpPr>
              <p:cNvPr id="1833" name="Vrije vorm: vorm 1832">
                <a:extLst>
                  <a:ext uri="{FF2B5EF4-FFF2-40B4-BE49-F238E27FC236}">
                    <a16:creationId xmlns:a16="http://schemas.microsoft.com/office/drawing/2014/main" id="{8E5073F4-0B0C-47F0-ADA6-94F6494B6F78}"/>
                  </a:ext>
                </a:extLst>
              </p:cNvPr>
              <p:cNvSpPr/>
              <p:nvPr/>
            </p:nvSpPr>
            <p:spPr>
              <a:xfrm>
                <a:off x="4208329" y="3723509"/>
                <a:ext cx="18352" cy="18437"/>
              </a:xfrm>
              <a:custGeom>
                <a:avLst/>
                <a:gdLst>
                  <a:gd name="connsiteX0" fmla="*/ 10731 w 18352"/>
                  <a:gd name="connsiteY0" fmla="*/ 18310 h 18437"/>
                  <a:gd name="connsiteX1" fmla="*/ 145 w 18352"/>
                  <a:gd name="connsiteY1" fmla="*/ 10774 h 18437"/>
                  <a:gd name="connsiteX2" fmla="*/ 7621 w 18352"/>
                  <a:gd name="connsiteY2" fmla="*/ 128 h 18437"/>
                  <a:gd name="connsiteX3" fmla="*/ 18207 w 18352"/>
                  <a:gd name="connsiteY3" fmla="*/ 7664 h 18437"/>
                  <a:gd name="connsiteX4" fmla="*/ 10731 w 18352"/>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37">
                    <a:moveTo>
                      <a:pt x="10731" y="18310"/>
                    </a:moveTo>
                    <a:cubicBezTo>
                      <a:pt x="5767" y="19147"/>
                      <a:pt x="983" y="15798"/>
                      <a:pt x="145" y="10774"/>
                    </a:cubicBezTo>
                    <a:cubicBezTo>
                      <a:pt x="-752" y="5750"/>
                      <a:pt x="2598" y="1025"/>
                      <a:pt x="7621" y="128"/>
                    </a:cubicBezTo>
                    <a:cubicBezTo>
                      <a:pt x="12585" y="-709"/>
                      <a:pt x="17370" y="2640"/>
                      <a:pt x="18207" y="7664"/>
                    </a:cubicBezTo>
                    <a:cubicBezTo>
                      <a:pt x="19104" y="12748"/>
                      <a:pt x="15755" y="17472"/>
                      <a:pt x="10731" y="18310"/>
                    </a:cubicBezTo>
                    <a:close/>
                  </a:path>
                </a:pathLst>
              </a:custGeom>
              <a:grpFill/>
              <a:ln w="5978" cap="flat">
                <a:noFill/>
                <a:prstDash val="solid"/>
                <a:miter/>
              </a:ln>
            </p:spPr>
            <p:txBody>
              <a:bodyPr rtlCol="0" anchor="ctr"/>
              <a:lstStyle/>
              <a:p>
                <a:endParaRPr lang="en-GB"/>
              </a:p>
            </p:txBody>
          </p:sp>
          <p:sp>
            <p:nvSpPr>
              <p:cNvPr id="1834" name="Vrije vorm: vorm 1833">
                <a:extLst>
                  <a:ext uri="{FF2B5EF4-FFF2-40B4-BE49-F238E27FC236}">
                    <a16:creationId xmlns:a16="http://schemas.microsoft.com/office/drawing/2014/main" id="{C6AEA108-C1CB-426A-8B69-E387005983E9}"/>
                  </a:ext>
                </a:extLst>
              </p:cNvPr>
              <p:cNvSpPr/>
              <p:nvPr/>
            </p:nvSpPr>
            <p:spPr>
              <a:xfrm>
                <a:off x="4397935" y="3690974"/>
                <a:ext cx="18318" cy="18437"/>
              </a:xfrm>
              <a:custGeom>
                <a:avLst/>
                <a:gdLst>
                  <a:gd name="connsiteX0" fmla="*/ 10714 w 18318"/>
                  <a:gd name="connsiteY0" fmla="*/ 18310 h 18437"/>
                  <a:gd name="connsiteX1" fmla="*/ 18190 w 18318"/>
                  <a:gd name="connsiteY1" fmla="*/ 7664 h 18437"/>
                  <a:gd name="connsiteX2" fmla="*/ 7604 w 18318"/>
                  <a:gd name="connsiteY2" fmla="*/ 128 h 18437"/>
                  <a:gd name="connsiteX3" fmla="*/ 128 w 18318"/>
                  <a:gd name="connsiteY3" fmla="*/ 10774 h 18437"/>
                  <a:gd name="connsiteX4" fmla="*/ 10714 w 18318"/>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7">
                    <a:moveTo>
                      <a:pt x="10714" y="18310"/>
                    </a:moveTo>
                    <a:cubicBezTo>
                      <a:pt x="15678" y="17472"/>
                      <a:pt x="19028" y="12688"/>
                      <a:pt x="18190" y="7664"/>
                    </a:cubicBezTo>
                    <a:cubicBezTo>
                      <a:pt x="17293" y="2640"/>
                      <a:pt x="12568" y="-709"/>
                      <a:pt x="7604" y="128"/>
                    </a:cubicBezTo>
                    <a:cubicBezTo>
                      <a:pt x="2640" y="966"/>
                      <a:pt x="-709" y="5750"/>
                      <a:pt x="128" y="10774"/>
                    </a:cubicBezTo>
                    <a:cubicBezTo>
                      <a:pt x="1025" y="15798"/>
                      <a:pt x="5750" y="19147"/>
                      <a:pt x="10714" y="18310"/>
                    </a:cubicBezTo>
                    <a:close/>
                  </a:path>
                </a:pathLst>
              </a:custGeom>
              <a:grpFill/>
              <a:ln w="5978" cap="flat">
                <a:noFill/>
                <a:prstDash val="solid"/>
                <a:miter/>
              </a:ln>
            </p:spPr>
            <p:txBody>
              <a:bodyPr rtlCol="0" anchor="ctr"/>
              <a:lstStyle/>
              <a:p>
                <a:endParaRPr lang="en-GB"/>
              </a:p>
            </p:txBody>
          </p:sp>
        </p:grpSp>
        <p:grpSp>
          <p:nvGrpSpPr>
            <p:cNvPr id="1191" name="Graphic 3">
              <a:extLst>
                <a:ext uri="{FF2B5EF4-FFF2-40B4-BE49-F238E27FC236}">
                  <a16:creationId xmlns:a16="http://schemas.microsoft.com/office/drawing/2014/main" id="{4A641080-A9C3-4708-A3AE-F99C684C71B8}"/>
                </a:ext>
              </a:extLst>
            </p:cNvPr>
            <p:cNvGrpSpPr/>
            <p:nvPr/>
          </p:nvGrpSpPr>
          <p:grpSpPr>
            <a:xfrm>
              <a:off x="4403791" y="4195397"/>
              <a:ext cx="181003" cy="105020"/>
              <a:chOff x="4403791" y="4195397"/>
              <a:chExt cx="181003" cy="105020"/>
            </a:xfrm>
            <a:grpFill/>
          </p:grpSpPr>
          <p:sp>
            <p:nvSpPr>
              <p:cNvPr id="1829" name="Vrije vorm: vorm 1828">
                <a:extLst>
                  <a:ext uri="{FF2B5EF4-FFF2-40B4-BE49-F238E27FC236}">
                    <a16:creationId xmlns:a16="http://schemas.microsoft.com/office/drawing/2014/main" id="{586D5651-3767-4836-B915-3A9BE55F58A4}"/>
                  </a:ext>
                </a:extLst>
              </p:cNvPr>
              <p:cNvSpPr/>
              <p:nvPr/>
            </p:nvSpPr>
            <p:spPr>
              <a:xfrm>
                <a:off x="4411818" y="4203052"/>
                <a:ext cx="164948" cy="89710"/>
              </a:xfrm>
              <a:custGeom>
                <a:avLst/>
                <a:gdLst>
                  <a:gd name="connsiteX0" fmla="*/ 164948 w 164948"/>
                  <a:gd name="connsiteY0" fmla="*/ 2691 h 89710"/>
                  <a:gd name="connsiteX1" fmla="*/ 1436 w 164948"/>
                  <a:gd name="connsiteY1" fmla="*/ 89711 h 89710"/>
                  <a:gd name="connsiteX2" fmla="*/ 0 w 164948"/>
                  <a:gd name="connsiteY2" fmla="*/ 87019 h 89710"/>
                  <a:gd name="connsiteX3" fmla="*/ 163513 w 164948"/>
                  <a:gd name="connsiteY3" fmla="*/ 0 h 89710"/>
                </a:gdLst>
                <a:ahLst/>
                <a:cxnLst>
                  <a:cxn ang="0">
                    <a:pos x="connsiteX0" y="connsiteY0"/>
                  </a:cxn>
                  <a:cxn ang="0">
                    <a:pos x="connsiteX1" y="connsiteY1"/>
                  </a:cxn>
                  <a:cxn ang="0">
                    <a:pos x="connsiteX2" y="connsiteY2"/>
                  </a:cxn>
                  <a:cxn ang="0">
                    <a:pos x="connsiteX3" y="connsiteY3"/>
                  </a:cxn>
                </a:cxnLst>
                <a:rect l="l" t="t" r="r" b="b"/>
                <a:pathLst>
                  <a:path w="164948" h="89710">
                    <a:moveTo>
                      <a:pt x="164948" y="2691"/>
                    </a:moveTo>
                    <a:lnTo>
                      <a:pt x="1436" y="89711"/>
                    </a:lnTo>
                    <a:lnTo>
                      <a:pt x="0" y="87019"/>
                    </a:lnTo>
                    <a:lnTo>
                      <a:pt x="163513" y="0"/>
                    </a:lnTo>
                    <a:close/>
                  </a:path>
                </a:pathLst>
              </a:custGeom>
              <a:grpFill/>
              <a:ln w="5978" cap="flat">
                <a:noFill/>
                <a:prstDash val="solid"/>
                <a:miter/>
              </a:ln>
            </p:spPr>
            <p:txBody>
              <a:bodyPr rtlCol="0" anchor="ctr"/>
              <a:lstStyle/>
              <a:p>
                <a:endParaRPr lang="en-GB"/>
              </a:p>
            </p:txBody>
          </p:sp>
          <p:sp>
            <p:nvSpPr>
              <p:cNvPr id="1830" name="Vrije vorm: vorm 1829">
                <a:extLst>
                  <a:ext uri="{FF2B5EF4-FFF2-40B4-BE49-F238E27FC236}">
                    <a16:creationId xmlns:a16="http://schemas.microsoft.com/office/drawing/2014/main" id="{4681B98F-7C1D-4128-AE0B-C0710C643563}"/>
                  </a:ext>
                </a:extLst>
              </p:cNvPr>
              <p:cNvSpPr/>
              <p:nvPr/>
            </p:nvSpPr>
            <p:spPr>
              <a:xfrm>
                <a:off x="4403791" y="4281998"/>
                <a:ext cx="18315" cy="18420"/>
              </a:xfrm>
              <a:custGeom>
                <a:avLst/>
                <a:gdLst>
                  <a:gd name="connsiteX0" fmla="*/ 13470 w 18315"/>
                  <a:gd name="connsiteY0" fmla="*/ 17344 h 18420"/>
                  <a:gd name="connsiteX1" fmla="*/ 1090 w 18315"/>
                  <a:gd name="connsiteY1" fmla="*/ 13516 h 18420"/>
                  <a:gd name="connsiteX2" fmla="*/ 4858 w 18315"/>
                  <a:gd name="connsiteY2" fmla="*/ 1076 h 18420"/>
                  <a:gd name="connsiteX3" fmla="*/ 17238 w 18315"/>
                  <a:gd name="connsiteY3" fmla="*/ 4904 h 18420"/>
                  <a:gd name="connsiteX4" fmla="*/ 13470 w 18315"/>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0">
                    <a:moveTo>
                      <a:pt x="13470" y="17344"/>
                    </a:moveTo>
                    <a:cubicBezTo>
                      <a:pt x="8984" y="19736"/>
                      <a:pt x="3422" y="18002"/>
                      <a:pt x="1090" y="13516"/>
                    </a:cubicBezTo>
                    <a:cubicBezTo>
                      <a:pt x="-1303" y="9031"/>
                      <a:pt x="372" y="3469"/>
                      <a:pt x="4858" y="1076"/>
                    </a:cubicBezTo>
                    <a:cubicBezTo>
                      <a:pt x="9343" y="-1316"/>
                      <a:pt x="14845" y="419"/>
                      <a:pt x="17238" y="4904"/>
                    </a:cubicBezTo>
                    <a:cubicBezTo>
                      <a:pt x="19630" y="9390"/>
                      <a:pt x="17896" y="14952"/>
                      <a:pt x="13470" y="17344"/>
                    </a:cubicBezTo>
                    <a:close/>
                  </a:path>
                </a:pathLst>
              </a:custGeom>
              <a:grpFill/>
              <a:ln w="5978" cap="flat">
                <a:noFill/>
                <a:prstDash val="solid"/>
                <a:miter/>
              </a:ln>
            </p:spPr>
            <p:txBody>
              <a:bodyPr rtlCol="0" anchor="ctr"/>
              <a:lstStyle/>
              <a:p>
                <a:endParaRPr lang="en-GB"/>
              </a:p>
            </p:txBody>
          </p:sp>
          <p:sp>
            <p:nvSpPr>
              <p:cNvPr id="1831" name="Vrije vorm: vorm 1830">
                <a:extLst>
                  <a:ext uri="{FF2B5EF4-FFF2-40B4-BE49-F238E27FC236}">
                    <a16:creationId xmlns:a16="http://schemas.microsoft.com/office/drawing/2014/main" id="{46DA8BC1-BBA9-4ABF-844D-154C566844F5}"/>
                  </a:ext>
                </a:extLst>
              </p:cNvPr>
              <p:cNvSpPr/>
              <p:nvPr/>
            </p:nvSpPr>
            <p:spPr>
              <a:xfrm>
                <a:off x="4566467" y="4195397"/>
                <a:ext cx="18327" cy="18420"/>
              </a:xfrm>
              <a:custGeom>
                <a:avLst/>
                <a:gdLst>
                  <a:gd name="connsiteX0" fmla="*/ 13470 w 18327"/>
                  <a:gd name="connsiteY0" fmla="*/ 17344 h 18420"/>
                  <a:gd name="connsiteX1" fmla="*/ 17238 w 18327"/>
                  <a:gd name="connsiteY1" fmla="*/ 4904 h 18420"/>
                  <a:gd name="connsiteX2" fmla="*/ 4858 w 18327"/>
                  <a:gd name="connsiteY2" fmla="*/ 1076 h 18420"/>
                  <a:gd name="connsiteX3" fmla="*/ 1090 w 18327"/>
                  <a:gd name="connsiteY3" fmla="*/ 13516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17956" y="14952"/>
                      <a:pt x="19630" y="9389"/>
                      <a:pt x="17238" y="4904"/>
                    </a:cubicBezTo>
                    <a:cubicBezTo>
                      <a:pt x="14845" y="418"/>
                      <a:pt x="9283" y="-1316"/>
                      <a:pt x="4858" y="1076"/>
                    </a:cubicBezTo>
                    <a:cubicBezTo>
                      <a:pt x="372" y="3469"/>
                      <a:pt x="-1303" y="9031"/>
                      <a:pt x="1090" y="13516"/>
                    </a:cubicBezTo>
                    <a:cubicBezTo>
                      <a:pt x="3482" y="18002"/>
                      <a:pt x="9044" y="19736"/>
                      <a:pt x="13470" y="17344"/>
                    </a:cubicBezTo>
                    <a:close/>
                  </a:path>
                </a:pathLst>
              </a:custGeom>
              <a:grpFill/>
              <a:ln w="5978" cap="flat">
                <a:noFill/>
                <a:prstDash val="solid"/>
                <a:miter/>
              </a:ln>
            </p:spPr>
            <p:txBody>
              <a:bodyPr rtlCol="0" anchor="ctr"/>
              <a:lstStyle/>
              <a:p>
                <a:endParaRPr lang="en-GB"/>
              </a:p>
            </p:txBody>
          </p:sp>
        </p:grpSp>
        <p:grpSp>
          <p:nvGrpSpPr>
            <p:cNvPr id="1192" name="Graphic 3">
              <a:extLst>
                <a:ext uri="{FF2B5EF4-FFF2-40B4-BE49-F238E27FC236}">
                  <a16:creationId xmlns:a16="http://schemas.microsoft.com/office/drawing/2014/main" id="{6FBA8911-1D1D-459C-AF52-45F385654F01}"/>
                </a:ext>
              </a:extLst>
            </p:cNvPr>
            <p:cNvGrpSpPr/>
            <p:nvPr/>
          </p:nvGrpSpPr>
          <p:grpSpPr>
            <a:xfrm>
              <a:off x="4149462" y="3570130"/>
              <a:ext cx="213426" cy="37044"/>
              <a:chOff x="4149462" y="3570130"/>
              <a:chExt cx="213426" cy="37044"/>
            </a:xfrm>
            <a:grpFill/>
          </p:grpSpPr>
          <p:sp>
            <p:nvSpPr>
              <p:cNvPr id="1826" name="Vrije vorm: vorm 1825">
                <a:extLst>
                  <a:ext uri="{FF2B5EF4-FFF2-40B4-BE49-F238E27FC236}">
                    <a16:creationId xmlns:a16="http://schemas.microsoft.com/office/drawing/2014/main" id="{8068E21F-0276-4130-9355-3D4D54C15C71}"/>
                  </a:ext>
                </a:extLst>
              </p:cNvPr>
              <p:cNvSpPr/>
              <p:nvPr/>
            </p:nvSpPr>
            <p:spPr>
              <a:xfrm>
                <a:off x="4158056" y="3577767"/>
                <a:ext cx="196287" cy="21769"/>
              </a:xfrm>
              <a:custGeom>
                <a:avLst/>
                <a:gdLst>
                  <a:gd name="connsiteX0" fmla="*/ 195988 w 196287"/>
                  <a:gd name="connsiteY0" fmla="*/ 0 h 21769"/>
                  <a:gd name="connsiteX1" fmla="*/ 196287 w 196287"/>
                  <a:gd name="connsiteY1" fmla="*/ 3050 h 21769"/>
                  <a:gd name="connsiteX2" fmla="*/ 299 w 196287"/>
                  <a:gd name="connsiteY2" fmla="*/ 21770 h 21769"/>
                  <a:gd name="connsiteX3" fmla="*/ 0 w 196287"/>
                  <a:gd name="connsiteY3" fmla="*/ 18720 h 21769"/>
                </a:gdLst>
                <a:ahLst/>
                <a:cxnLst>
                  <a:cxn ang="0">
                    <a:pos x="connsiteX0" y="connsiteY0"/>
                  </a:cxn>
                  <a:cxn ang="0">
                    <a:pos x="connsiteX1" y="connsiteY1"/>
                  </a:cxn>
                  <a:cxn ang="0">
                    <a:pos x="connsiteX2" y="connsiteY2"/>
                  </a:cxn>
                  <a:cxn ang="0">
                    <a:pos x="connsiteX3" y="connsiteY3"/>
                  </a:cxn>
                </a:cxnLst>
                <a:rect l="l" t="t" r="r" b="b"/>
                <a:pathLst>
                  <a:path w="196287" h="21769">
                    <a:moveTo>
                      <a:pt x="195988" y="0"/>
                    </a:moveTo>
                    <a:lnTo>
                      <a:pt x="196287" y="3050"/>
                    </a:lnTo>
                    <a:lnTo>
                      <a:pt x="299" y="21770"/>
                    </a:lnTo>
                    <a:lnTo>
                      <a:pt x="0" y="18720"/>
                    </a:lnTo>
                    <a:close/>
                  </a:path>
                </a:pathLst>
              </a:custGeom>
              <a:grpFill/>
              <a:ln w="5978" cap="flat">
                <a:noFill/>
                <a:prstDash val="solid"/>
                <a:miter/>
              </a:ln>
            </p:spPr>
            <p:txBody>
              <a:bodyPr rtlCol="0" anchor="ctr"/>
              <a:lstStyle/>
              <a:p>
                <a:endParaRPr lang="en-GB"/>
              </a:p>
            </p:txBody>
          </p:sp>
          <p:sp>
            <p:nvSpPr>
              <p:cNvPr id="1827" name="Vrije vorm: vorm 1826">
                <a:extLst>
                  <a:ext uri="{FF2B5EF4-FFF2-40B4-BE49-F238E27FC236}">
                    <a16:creationId xmlns:a16="http://schemas.microsoft.com/office/drawing/2014/main" id="{7E2F6212-DB23-4C46-B453-F78E64F1DFBA}"/>
                  </a:ext>
                </a:extLst>
              </p:cNvPr>
              <p:cNvSpPr/>
              <p:nvPr/>
            </p:nvSpPr>
            <p:spPr>
              <a:xfrm>
                <a:off x="4149462" y="3588730"/>
                <a:ext cx="18335" cy="18443"/>
              </a:xfrm>
              <a:custGeom>
                <a:avLst/>
                <a:gdLst>
                  <a:gd name="connsiteX0" fmla="*/ 10090 w 18335"/>
                  <a:gd name="connsiteY0" fmla="*/ 18402 h 18443"/>
                  <a:gd name="connsiteX1" fmla="*/ 42 w 18335"/>
                  <a:gd name="connsiteY1" fmla="*/ 10089 h 18443"/>
                  <a:gd name="connsiteX2" fmla="*/ 8236 w 18335"/>
                  <a:gd name="connsiteY2" fmla="*/ 42 h 18443"/>
                  <a:gd name="connsiteX3" fmla="*/ 18283 w 18335"/>
                  <a:gd name="connsiteY3" fmla="*/ 8355 h 18443"/>
                  <a:gd name="connsiteX4" fmla="*/ 10090 w 1833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3">
                    <a:moveTo>
                      <a:pt x="10090" y="18402"/>
                    </a:moveTo>
                    <a:cubicBezTo>
                      <a:pt x="5066" y="18881"/>
                      <a:pt x="581" y="15173"/>
                      <a:pt x="42" y="10089"/>
                    </a:cubicBezTo>
                    <a:cubicBezTo>
                      <a:pt x="-436" y="5005"/>
                      <a:pt x="3212" y="520"/>
                      <a:pt x="8236" y="42"/>
                    </a:cubicBezTo>
                    <a:cubicBezTo>
                      <a:pt x="13260" y="-437"/>
                      <a:pt x="17745" y="3271"/>
                      <a:pt x="18283" y="8355"/>
                    </a:cubicBezTo>
                    <a:cubicBezTo>
                      <a:pt x="18822" y="13438"/>
                      <a:pt x="15114" y="17924"/>
                      <a:pt x="10090" y="18402"/>
                    </a:cubicBezTo>
                    <a:close/>
                  </a:path>
                </a:pathLst>
              </a:custGeom>
              <a:grpFill/>
              <a:ln w="5978" cap="flat">
                <a:noFill/>
                <a:prstDash val="solid"/>
                <a:miter/>
              </a:ln>
            </p:spPr>
            <p:txBody>
              <a:bodyPr rtlCol="0" anchor="ctr"/>
              <a:lstStyle/>
              <a:p>
                <a:endParaRPr lang="en-GB"/>
              </a:p>
            </p:txBody>
          </p:sp>
          <p:sp>
            <p:nvSpPr>
              <p:cNvPr id="1828" name="Vrije vorm: vorm 1827">
                <a:extLst>
                  <a:ext uri="{FF2B5EF4-FFF2-40B4-BE49-F238E27FC236}">
                    <a16:creationId xmlns:a16="http://schemas.microsoft.com/office/drawing/2014/main" id="{9E5DCCED-F915-4586-AF44-3FC310C9EBA8}"/>
                  </a:ext>
                </a:extLst>
              </p:cNvPr>
              <p:cNvSpPr/>
              <p:nvPr/>
            </p:nvSpPr>
            <p:spPr>
              <a:xfrm>
                <a:off x="4344543" y="3570130"/>
                <a:ext cx="18345" cy="18443"/>
              </a:xfrm>
              <a:custGeom>
                <a:avLst/>
                <a:gdLst>
                  <a:gd name="connsiteX0" fmla="*/ 10099 w 18345"/>
                  <a:gd name="connsiteY0" fmla="*/ 18402 h 18443"/>
                  <a:gd name="connsiteX1" fmla="*/ 18293 w 18345"/>
                  <a:gd name="connsiteY1" fmla="*/ 8355 h 18443"/>
                  <a:gd name="connsiteX2" fmla="*/ 8245 w 18345"/>
                  <a:gd name="connsiteY2" fmla="*/ 42 h 18443"/>
                  <a:gd name="connsiteX3" fmla="*/ 52 w 18345"/>
                  <a:gd name="connsiteY3" fmla="*/ 10089 h 18443"/>
                  <a:gd name="connsiteX4" fmla="*/ 10099 w 1834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3">
                    <a:moveTo>
                      <a:pt x="10099" y="18402"/>
                    </a:moveTo>
                    <a:cubicBezTo>
                      <a:pt x="15123" y="17924"/>
                      <a:pt x="18831" y="13438"/>
                      <a:pt x="18293" y="8355"/>
                    </a:cubicBezTo>
                    <a:cubicBezTo>
                      <a:pt x="17815" y="3271"/>
                      <a:pt x="13329" y="-437"/>
                      <a:pt x="8245" y="42"/>
                    </a:cubicBezTo>
                    <a:cubicBezTo>
                      <a:pt x="3222" y="520"/>
                      <a:pt x="-486" y="5006"/>
                      <a:pt x="52" y="10089"/>
                    </a:cubicBezTo>
                    <a:cubicBezTo>
                      <a:pt x="590" y="15173"/>
                      <a:pt x="5076" y="18881"/>
                      <a:pt x="10099" y="18402"/>
                    </a:cubicBezTo>
                    <a:close/>
                  </a:path>
                </a:pathLst>
              </a:custGeom>
              <a:grpFill/>
              <a:ln w="5978" cap="flat">
                <a:noFill/>
                <a:prstDash val="solid"/>
                <a:miter/>
              </a:ln>
            </p:spPr>
            <p:txBody>
              <a:bodyPr rtlCol="0" anchor="ctr"/>
              <a:lstStyle/>
              <a:p>
                <a:endParaRPr lang="en-GB"/>
              </a:p>
            </p:txBody>
          </p:sp>
        </p:grpSp>
        <p:grpSp>
          <p:nvGrpSpPr>
            <p:cNvPr id="1193" name="Graphic 3">
              <a:extLst>
                <a:ext uri="{FF2B5EF4-FFF2-40B4-BE49-F238E27FC236}">
                  <a16:creationId xmlns:a16="http://schemas.microsoft.com/office/drawing/2014/main" id="{3369F084-9B20-485A-A63C-DCF5266CFB54}"/>
                </a:ext>
              </a:extLst>
            </p:cNvPr>
            <p:cNvGrpSpPr/>
            <p:nvPr/>
          </p:nvGrpSpPr>
          <p:grpSpPr>
            <a:xfrm>
              <a:off x="4176397" y="3630486"/>
              <a:ext cx="219186" cy="45205"/>
              <a:chOff x="4176397" y="3630486"/>
              <a:chExt cx="219186" cy="45205"/>
            </a:xfrm>
            <a:grpFill/>
          </p:grpSpPr>
          <p:sp>
            <p:nvSpPr>
              <p:cNvPr id="1823" name="Vrije vorm: vorm 1822">
                <a:extLst>
                  <a:ext uri="{FF2B5EF4-FFF2-40B4-BE49-F238E27FC236}">
                    <a16:creationId xmlns:a16="http://schemas.microsoft.com/office/drawing/2014/main" id="{8768564B-F646-4721-83DD-407EA7B07843}"/>
                  </a:ext>
                </a:extLst>
              </p:cNvPr>
              <p:cNvSpPr/>
              <p:nvPr/>
            </p:nvSpPr>
            <p:spPr>
              <a:xfrm>
                <a:off x="4184910" y="3638113"/>
                <a:ext cx="202208" cy="29903"/>
              </a:xfrm>
              <a:custGeom>
                <a:avLst/>
                <a:gdLst>
                  <a:gd name="connsiteX0" fmla="*/ 201790 w 202208"/>
                  <a:gd name="connsiteY0" fmla="*/ 0 h 29903"/>
                  <a:gd name="connsiteX1" fmla="*/ 202208 w 202208"/>
                  <a:gd name="connsiteY1" fmla="*/ 2990 h 29903"/>
                  <a:gd name="connsiteX2" fmla="*/ 418 w 202208"/>
                  <a:gd name="connsiteY2" fmla="*/ 29904 h 29903"/>
                  <a:gd name="connsiteX3" fmla="*/ 0 w 202208"/>
                  <a:gd name="connsiteY3" fmla="*/ 26913 h 29903"/>
                </a:gdLst>
                <a:ahLst/>
                <a:cxnLst>
                  <a:cxn ang="0">
                    <a:pos x="connsiteX0" y="connsiteY0"/>
                  </a:cxn>
                  <a:cxn ang="0">
                    <a:pos x="connsiteX1" y="connsiteY1"/>
                  </a:cxn>
                  <a:cxn ang="0">
                    <a:pos x="connsiteX2" y="connsiteY2"/>
                  </a:cxn>
                  <a:cxn ang="0">
                    <a:pos x="connsiteX3" y="connsiteY3"/>
                  </a:cxn>
                </a:cxnLst>
                <a:rect l="l" t="t" r="r" b="b"/>
                <a:pathLst>
                  <a:path w="202208" h="29903">
                    <a:moveTo>
                      <a:pt x="201790" y="0"/>
                    </a:moveTo>
                    <a:lnTo>
                      <a:pt x="202208" y="2990"/>
                    </a:lnTo>
                    <a:lnTo>
                      <a:pt x="418" y="29904"/>
                    </a:lnTo>
                    <a:lnTo>
                      <a:pt x="0" y="26913"/>
                    </a:lnTo>
                    <a:close/>
                  </a:path>
                </a:pathLst>
              </a:custGeom>
              <a:grpFill/>
              <a:ln w="5978" cap="flat">
                <a:noFill/>
                <a:prstDash val="solid"/>
                <a:miter/>
              </a:ln>
            </p:spPr>
            <p:txBody>
              <a:bodyPr rtlCol="0" anchor="ctr"/>
              <a:lstStyle/>
              <a:p>
                <a:endParaRPr lang="en-GB"/>
              </a:p>
            </p:txBody>
          </p:sp>
          <p:sp>
            <p:nvSpPr>
              <p:cNvPr id="1824" name="Vrije vorm: vorm 1823">
                <a:extLst>
                  <a:ext uri="{FF2B5EF4-FFF2-40B4-BE49-F238E27FC236}">
                    <a16:creationId xmlns:a16="http://schemas.microsoft.com/office/drawing/2014/main" id="{BC1F8105-226E-4551-BD4F-A68BA42CF48C}"/>
                  </a:ext>
                </a:extLst>
              </p:cNvPr>
              <p:cNvSpPr/>
              <p:nvPr/>
            </p:nvSpPr>
            <p:spPr>
              <a:xfrm>
                <a:off x="4176397" y="3657292"/>
                <a:ext cx="18340" cy="18398"/>
              </a:xfrm>
              <a:custGeom>
                <a:avLst/>
                <a:gdLst>
                  <a:gd name="connsiteX0" fmla="*/ 10427 w 18340"/>
                  <a:gd name="connsiteY0" fmla="*/ 18320 h 18398"/>
                  <a:gd name="connsiteX1" fmla="*/ 80 w 18340"/>
                  <a:gd name="connsiteY1" fmla="*/ 10425 h 18398"/>
                  <a:gd name="connsiteX2" fmla="*/ 7915 w 18340"/>
                  <a:gd name="connsiteY2" fmla="*/ 79 h 18398"/>
                  <a:gd name="connsiteX3" fmla="*/ 18261 w 18340"/>
                  <a:gd name="connsiteY3" fmla="*/ 7974 h 18398"/>
                  <a:gd name="connsiteX4" fmla="*/ 10427 w 18340"/>
                  <a:gd name="connsiteY4" fmla="*/ 1832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8">
                    <a:moveTo>
                      <a:pt x="10427" y="18320"/>
                    </a:moveTo>
                    <a:cubicBezTo>
                      <a:pt x="5403" y="18978"/>
                      <a:pt x="798" y="15449"/>
                      <a:pt x="80" y="10425"/>
                    </a:cubicBezTo>
                    <a:cubicBezTo>
                      <a:pt x="-578" y="5402"/>
                      <a:pt x="2891" y="737"/>
                      <a:pt x="7915" y="79"/>
                    </a:cubicBezTo>
                    <a:cubicBezTo>
                      <a:pt x="12939" y="-579"/>
                      <a:pt x="17544" y="2950"/>
                      <a:pt x="18261" y="7974"/>
                    </a:cubicBezTo>
                    <a:cubicBezTo>
                      <a:pt x="18919" y="12997"/>
                      <a:pt x="15391" y="17602"/>
                      <a:pt x="10427" y="18320"/>
                    </a:cubicBezTo>
                    <a:close/>
                  </a:path>
                </a:pathLst>
              </a:custGeom>
              <a:grpFill/>
              <a:ln w="5978" cap="flat">
                <a:noFill/>
                <a:prstDash val="solid"/>
                <a:miter/>
              </a:ln>
            </p:spPr>
            <p:txBody>
              <a:bodyPr rtlCol="0" anchor="ctr"/>
              <a:lstStyle/>
              <a:p>
                <a:endParaRPr lang="en-GB"/>
              </a:p>
            </p:txBody>
          </p:sp>
          <p:sp>
            <p:nvSpPr>
              <p:cNvPr id="1825" name="Vrije vorm: vorm 1824">
                <a:extLst>
                  <a:ext uri="{FF2B5EF4-FFF2-40B4-BE49-F238E27FC236}">
                    <a16:creationId xmlns:a16="http://schemas.microsoft.com/office/drawing/2014/main" id="{EC6FE7DB-67EC-4AAF-911E-106E381EABC6}"/>
                  </a:ext>
                </a:extLst>
              </p:cNvPr>
              <p:cNvSpPr/>
              <p:nvPr/>
            </p:nvSpPr>
            <p:spPr>
              <a:xfrm>
                <a:off x="4377217" y="3630486"/>
                <a:ext cx="18366" cy="18411"/>
              </a:xfrm>
              <a:custGeom>
                <a:avLst/>
                <a:gdLst>
                  <a:gd name="connsiteX0" fmla="*/ 10439 w 18366"/>
                  <a:gd name="connsiteY0" fmla="*/ 18333 h 18411"/>
                  <a:gd name="connsiteX1" fmla="*/ 18274 w 18366"/>
                  <a:gd name="connsiteY1" fmla="*/ 7986 h 18411"/>
                  <a:gd name="connsiteX2" fmla="*/ 7927 w 18366"/>
                  <a:gd name="connsiteY2" fmla="*/ 91 h 18411"/>
                  <a:gd name="connsiteX3" fmla="*/ 93 w 18366"/>
                  <a:gd name="connsiteY3" fmla="*/ 10438 h 18411"/>
                  <a:gd name="connsiteX4" fmla="*/ 10439 w 18366"/>
                  <a:gd name="connsiteY4" fmla="*/ 1833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11">
                    <a:moveTo>
                      <a:pt x="10439" y="18333"/>
                    </a:moveTo>
                    <a:cubicBezTo>
                      <a:pt x="15463" y="17675"/>
                      <a:pt x="18992" y="13010"/>
                      <a:pt x="18274" y="7986"/>
                    </a:cubicBezTo>
                    <a:cubicBezTo>
                      <a:pt x="17616" y="2962"/>
                      <a:pt x="12951" y="-626"/>
                      <a:pt x="7927" y="91"/>
                    </a:cubicBezTo>
                    <a:cubicBezTo>
                      <a:pt x="2903" y="749"/>
                      <a:pt x="-625" y="5414"/>
                      <a:pt x="93" y="10438"/>
                    </a:cubicBezTo>
                    <a:cubicBezTo>
                      <a:pt x="810" y="15462"/>
                      <a:pt x="5416" y="18991"/>
                      <a:pt x="10439" y="18333"/>
                    </a:cubicBezTo>
                    <a:close/>
                  </a:path>
                </a:pathLst>
              </a:custGeom>
              <a:grpFill/>
              <a:ln w="5978" cap="flat">
                <a:noFill/>
                <a:prstDash val="solid"/>
                <a:miter/>
              </a:ln>
            </p:spPr>
            <p:txBody>
              <a:bodyPr rtlCol="0" anchor="ctr"/>
              <a:lstStyle/>
              <a:p>
                <a:endParaRPr lang="en-GB"/>
              </a:p>
            </p:txBody>
          </p:sp>
        </p:grpSp>
        <p:grpSp>
          <p:nvGrpSpPr>
            <p:cNvPr id="1194" name="Graphic 3">
              <a:extLst>
                <a:ext uri="{FF2B5EF4-FFF2-40B4-BE49-F238E27FC236}">
                  <a16:creationId xmlns:a16="http://schemas.microsoft.com/office/drawing/2014/main" id="{73A76EDA-A506-4075-B59D-1C543F8C204E}"/>
                </a:ext>
              </a:extLst>
            </p:cNvPr>
            <p:cNvGrpSpPr/>
            <p:nvPr/>
          </p:nvGrpSpPr>
          <p:grpSpPr>
            <a:xfrm>
              <a:off x="4027801" y="2949558"/>
              <a:ext cx="38066" cy="22836"/>
              <a:chOff x="4027801" y="2949558"/>
              <a:chExt cx="38066" cy="22836"/>
            </a:xfrm>
            <a:grpFill/>
          </p:grpSpPr>
          <p:sp>
            <p:nvSpPr>
              <p:cNvPr id="1820" name="Vrije vorm: vorm 1819">
                <a:extLst>
                  <a:ext uri="{FF2B5EF4-FFF2-40B4-BE49-F238E27FC236}">
                    <a16:creationId xmlns:a16="http://schemas.microsoft.com/office/drawing/2014/main" id="{15D29CCB-2BC5-4ED8-B7EF-C68EBD865230}"/>
                  </a:ext>
                </a:extLst>
              </p:cNvPr>
              <p:cNvSpPr/>
              <p:nvPr/>
            </p:nvSpPr>
            <p:spPr>
              <a:xfrm>
                <a:off x="4036169" y="2957148"/>
                <a:ext cx="21291" cy="7655"/>
              </a:xfrm>
              <a:custGeom>
                <a:avLst/>
                <a:gdLst>
                  <a:gd name="connsiteX0" fmla="*/ 21291 w 21291"/>
                  <a:gd name="connsiteY0" fmla="*/ 4665 h 7655"/>
                  <a:gd name="connsiteX1" fmla="*/ 20634 w 21291"/>
                  <a:gd name="connsiteY1" fmla="*/ 7655 h 7655"/>
                  <a:gd name="connsiteX2" fmla="*/ 0 w 21291"/>
                  <a:gd name="connsiteY2" fmla="*/ 2990 h 7655"/>
                  <a:gd name="connsiteX3" fmla="*/ 658 w 21291"/>
                  <a:gd name="connsiteY3" fmla="*/ 0 h 7655"/>
                </a:gdLst>
                <a:ahLst/>
                <a:cxnLst>
                  <a:cxn ang="0">
                    <a:pos x="connsiteX0" y="connsiteY0"/>
                  </a:cxn>
                  <a:cxn ang="0">
                    <a:pos x="connsiteX1" y="connsiteY1"/>
                  </a:cxn>
                  <a:cxn ang="0">
                    <a:pos x="connsiteX2" y="connsiteY2"/>
                  </a:cxn>
                  <a:cxn ang="0">
                    <a:pos x="connsiteX3" y="connsiteY3"/>
                  </a:cxn>
                </a:cxnLst>
                <a:rect l="l" t="t" r="r" b="b"/>
                <a:pathLst>
                  <a:path w="21291" h="7655">
                    <a:moveTo>
                      <a:pt x="21291" y="4665"/>
                    </a:moveTo>
                    <a:lnTo>
                      <a:pt x="20634" y="7655"/>
                    </a:lnTo>
                    <a:lnTo>
                      <a:pt x="0" y="2990"/>
                    </a:lnTo>
                    <a:lnTo>
                      <a:pt x="658" y="0"/>
                    </a:lnTo>
                    <a:close/>
                  </a:path>
                </a:pathLst>
              </a:custGeom>
              <a:grpFill/>
              <a:ln w="5978" cap="flat">
                <a:noFill/>
                <a:prstDash val="solid"/>
                <a:miter/>
              </a:ln>
            </p:spPr>
            <p:txBody>
              <a:bodyPr rtlCol="0" anchor="ctr"/>
              <a:lstStyle/>
              <a:p>
                <a:endParaRPr lang="en-GB"/>
              </a:p>
            </p:txBody>
          </p:sp>
          <p:sp>
            <p:nvSpPr>
              <p:cNvPr id="1821" name="Vrije vorm: vorm 1820">
                <a:extLst>
                  <a:ext uri="{FF2B5EF4-FFF2-40B4-BE49-F238E27FC236}">
                    <a16:creationId xmlns:a16="http://schemas.microsoft.com/office/drawing/2014/main" id="{3D29352A-5E34-4D16-8645-397151082C22}"/>
                  </a:ext>
                </a:extLst>
              </p:cNvPr>
              <p:cNvSpPr/>
              <p:nvPr/>
            </p:nvSpPr>
            <p:spPr>
              <a:xfrm>
                <a:off x="4027801" y="2949558"/>
                <a:ext cx="18350" cy="18389"/>
              </a:xfrm>
              <a:custGeom>
                <a:avLst/>
                <a:gdLst>
                  <a:gd name="connsiteX0" fmla="*/ 7172 w 18350"/>
                  <a:gd name="connsiteY0" fmla="*/ 18176 h 18389"/>
                  <a:gd name="connsiteX1" fmla="*/ 234 w 18350"/>
                  <a:gd name="connsiteY1" fmla="*/ 7172 h 18389"/>
                  <a:gd name="connsiteX2" fmla="*/ 11179 w 18350"/>
                  <a:gd name="connsiteY2" fmla="*/ 234 h 18389"/>
                  <a:gd name="connsiteX3" fmla="*/ 18116 w 18350"/>
                  <a:gd name="connsiteY3" fmla="*/ 11239 h 18389"/>
                  <a:gd name="connsiteX4" fmla="*/ 7172 w 18350"/>
                  <a:gd name="connsiteY4" fmla="*/ 18176 h 18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89">
                    <a:moveTo>
                      <a:pt x="7172" y="18176"/>
                    </a:moveTo>
                    <a:cubicBezTo>
                      <a:pt x="2208" y="17040"/>
                      <a:pt x="-902" y="12136"/>
                      <a:pt x="234" y="7172"/>
                    </a:cubicBezTo>
                    <a:cubicBezTo>
                      <a:pt x="1311" y="2208"/>
                      <a:pt x="6215" y="-902"/>
                      <a:pt x="11179" y="234"/>
                    </a:cubicBezTo>
                    <a:cubicBezTo>
                      <a:pt x="16143" y="1371"/>
                      <a:pt x="19253" y="6275"/>
                      <a:pt x="18116" y="11239"/>
                    </a:cubicBezTo>
                    <a:cubicBezTo>
                      <a:pt x="16980" y="16143"/>
                      <a:pt x="12076" y="19253"/>
                      <a:pt x="7172" y="18176"/>
                    </a:cubicBezTo>
                    <a:close/>
                  </a:path>
                </a:pathLst>
              </a:custGeom>
              <a:grpFill/>
              <a:ln w="5978" cap="flat">
                <a:noFill/>
                <a:prstDash val="solid"/>
                <a:miter/>
              </a:ln>
            </p:spPr>
            <p:txBody>
              <a:bodyPr rtlCol="0" anchor="ctr"/>
              <a:lstStyle/>
              <a:p>
                <a:endParaRPr lang="en-GB"/>
              </a:p>
            </p:txBody>
          </p:sp>
          <p:sp>
            <p:nvSpPr>
              <p:cNvPr id="1822" name="Vrije vorm: vorm 1821">
                <a:extLst>
                  <a:ext uri="{FF2B5EF4-FFF2-40B4-BE49-F238E27FC236}">
                    <a16:creationId xmlns:a16="http://schemas.microsoft.com/office/drawing/2014/main" id="{687B750C-D083-47EA-9407-0E26F1186D5F}"/>
                  </a:ext>
                </a:extLst>
              </p:cNvPr>
              <p:cNvSpPr/>
              <p:nvPr/>
            </p:nvSpPr>
            <p:spPr>
              <a:xfrm>
                <a:off x="4047538" y="2953983"/>
                <a:ext cx="18329" cy="18410"/>
              </a:xfrm>
              <a:custGeom>
                <a:avLst/>
                <a:gdLst>
                  <a:gd name="connsiteX0" fmla="*/ 7172 w 18329"/>
                  <a:gd name="connsiteY0" fmla="*/ 18176 h 18410"/>
                  <a:gd name="connsiteX1" fmla="*/ 18117 w 18329"/>
                  <a:gd name="connsiteY1" fmla="*/ 11239 h 18410"/>
                  <a:gd name="connsiteX2" fmla="*/ 11179 w 18329"/>
                  <a:gd name="connsiteY2" fmla="*/ 234 h 18410"/>
                  <a:gd name="connsiteX3" fmla="*/ 234 w 18329"/>
                  <a:gd name="connsiteY3" fmla="*/ 7172 h 18410"/>
                  <a:gd name="connsiteX4" fmla="*/ 7172 w 18329"/>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0">
                    <a:moveTo>
                      <a:pt x="7172" y="18176"/>
                    </a:moveTo>
                    <a:cubicBezTo>
                      <a:pt x="12136" y="19313"/>
                      <a:pt x="16980" y="16203"/>
                      <a:pt x="18117" y="11239"/>
                    </a:cubicBezTo>
                    <a:cubicBezTo>
                      <a:pt x="19193" y="6275"/>
                      <a:pt x="16083" y="1371"/>
                      <a:pt x="11179" y="234"/>
                    </a:cubicBezTo>
                    <a:cubicBezTo>
                      <a:pt x="6215" y="-902"/>
                      <a:pt x="1370" y="2208"/>
                      <a:pt x="234" y="7172"/>
                    </a:cubicBezTo>
                    <a:cubicBezTo>
                      <a:pt x="-902" y="12136"/>
                      <a:pt x="2208" y="17100"/>
                      <a:pt x="7172" y="18176"/>
                    </a:cubicBezTo>
                    <a:close/>
                  </a:path>
                </a:pathLst>
              </a:custGeom>
              <a:grpFill/>
              <a:ln w="5978" cap="flat">
                <a:noFill/>
                <a:prstDash val="solid"/>
                <a:miter/>
              </a:ln>
            </p:spPr>
            <p:txBody>
              <a:bodyPr rtlCol="0" anchor="ctr"/>
              <a:lstStyle/>
              <a:p>
                <a:endParaRPr lang="en-GB"/>
              </a:p>
            </p:txBody>
          </p:sp>
        </p:grpSp>
        <p:grpSp>
          <p:nvGrpSpPr>
            <p:cNvPr id="1195" name="Graphic 3">
              <a:extLst>
                <a:ext uri="{FF2B5EF4-FFF2-40B4-BE49-F238E27FC236}">
                  <a16:creationId xmlns:a16="http://schemas.microsoft.com/office/drawing/2014/main" id="{DC315261-7F83-4F56-9940-CCEB12A8D7B4}"/>
                </a:ext>
              </a:extLst>
            </p:cNvPr>
            <p:cNvGrpSpPr/>
            <p:nvPr/>
          </p:nvGrpSpPr>
          <p:grpSpPr>
            <a:xfrm>
              <a:off x="4612284" y="4726303"/>
              <a:ext cx="93159" cy="91029"/>
              <a:chOff x="4612284" y="4726303"/>
              <a:chExt cx="93159" cy="91029"/>
            </a:xfrm>
            <a:grpFill/>
          </p:grpSpPr>
          <p:sp>
            <p:nvSpPr>
              <p:cNvPr id="1817" name="Vrije vorm: vorm 1816">
                <a:extLst>
                  <a:ext uri="{FF2B5EF4-FFF2-40B4-BE49-F238E27FC236}">
                    <a16:creationId xmlns:a16="http://schemas.microsoft.com/office/drawing/2014/main" id="{5FDF7D8A-A2CC-4E19-AC0C-DB597D13D3DD}"/>
                  </a:ext>
                </a:extLst>
              </p:cNvPr>
              <p:cNvSpPr/>
              <p:nvPr/>
            </p:nvSpPr>
            <p:spPr>
              <a:xfrm>
                <a:off x="4620067" y="4734080"/>
                <a:ext cx="77570" cy="75477"/>
              </a:xfrm>
              <a:custGeom>
                <a:avLst/>
                <a:gdLst>
                  <a:gd name="connsiteX0" fmla="*/ 77570 w 77570"/>
                  <a:gd name="connsiteY0" fmla="*/ 2213 h 75477"/>
                  <a:gd name="connsiteX1" fmla="*/ 2153 w 77570"/>
                  <a:gd name="connsiteY1" fmla="*/ 75477 h 75477"/>
                  <a:gd name="connsiteX2" fmla="*/ 0 w 77570"/>
                  <a:gd name="connsiteY2" fmla="*/ 73264 h 75477"/>
                  <a:gd name="connsiteX3" fmla="*/ 75477 w 77570"/>
                  <a:gd name="connsiteY3" fmla="*/ 0 h 75477"/>
                </a:gdLst>
                <a:ahLst/>
                <a:cxnLst>
                  <a:cxn ang="0">
                    <a:pos x="connsiteX0" y="connsiteY0"/>
                  </a:cxn>
                  <a:cxn ang="0">
                    <a:pos x="connsiteX1" y="connsiteY1"/>
                  </a:cxn>
                  <a:cxn ang="0">
                    <a:pos x="connsiteX2" y="connsiteY2"/>
                  </a:cxn>
                  <a:cxn ang="0">
                    <a:pos x="connsiteX3" y="connsiteY3"/>
                  </a:cxn>
                </a:cxnLst>
                <a:rect l="l" t="t" r="r" b="b"/>
                <a:pathLst>
                  <a:path w="77570" h="75477">
                    <a:moveTo>
                      <a:pt x="77570" y="2213"/>
                    </a:moveTo>
                    <a:lnTo>
                      <a:pt x="2153" y="75477"/>
                    </a:lnTo>
                    <a:lnTo>
                      <a:pt x="0" y="73264"/>
                    </a:lnTo>
                    <a:lnTo>
                      <a:pt x="75477" y="0"/>
                    </a:lnTo>
                    <a:close/>
                  </a:path>
                </a:pathLst>
              </a:custGeom>
              <a:grpFill/>
              <a:ln w="5978" cap="flat">
                <a:noFill/>
                <a:prstDash val="solid"/>
                <a:miter/>
              </a:ln>
            </p:spPr>
            <p:txBody>
              <a:bodyPr rtlCol="0" anchor="ctr"/>
              <a:lstStyle/>
              <a:p>
                <a:endParaRPr lang="en-GB"/>
              </a:p>
            </p:txBody>
          </p:sp>
          <p:sp>
            <p:nvSpPr>
              <p:cNvPr id="1818" name="Vrije vorm: vorm 1817">
                <a:extLst>
                  <a:ext uri="{FF2B5EF4-FFF2-40B4-BE49-F238E27FC236}">
                    <a16:creationId xmlns:a16="http://schemas.microsoft.com/office/drawing/2014/main" id="{9372DF61-541A-4340-8B68-916FF687BCDF}"/>
                  </a:ext>
                </a:extLst>
              </p:cNvPr>
              <p:cNvSpPr/>
              <p:nvPr/>
            </p:nvSpPr>
            <p:spPr>
              <a:xfrm>
                <a:off x="4612284" y="4798909"/>
                <a:ext cx="18363" cy="18423"/>
              </a:xfrm>
              <a:custGeom>
                <a:avLst/>
                <a:gdLst>
                  <a:gd name="connsiteX0" fmla="*/ 15559 w 18363"/>
                  <a:gd name="connsiteY0" fmla="*/ 15851 h 18423"/>
                  <a:gd name="connsiteX1" fmla="*/ 2580 w 18363"/>
                  <a:gd name="connsiteY1" fmla="*/ 15611 h 18423"/>
                  <a:gd name="connsiteX2" fmla="*/ 2760 w 18363"/>
                  <a:gd name="connsiteY2" fmla="*/ 2573 h 18423"/>
                  <a:gd name="connsiteX3" fmla="*/ 15738 w 18363"/>
                  <a:gd name="connsiteY3" fmla="*/ 2812 h 18423"/>
                  <a:gd name="connsiteX4" fmla="*/ 15559 w 18363"/>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3">
                    <a:moveTo>
                      <a:pt x="15559" y="15851"/>
                    </a:moveTo>
                    <a:cubicBezTo>
                      <a:pt x="11910" y="19379"/>
                      <a:pt x="6109" y="19259"/>
                      <a:pt x="2580" y="15611"/>
                    </a:cubicBezTo>
                    <a:cubicBezTo>
                      <a:pt x="-948" y="11963"/>
                      <a:pt x="-829" y="6102"/>
                      <a:pt x="2760" y="2573"/>
                    </a:cubicBezTo>
                    <a:cubicBezTo>
                      <a:pt x="6408" y="-955"/>
                      <a:pt x="12210" y="-836"/>
                      <a:pt x="15738" y="2812"/>
                    </a:cubicBezTo>
                    <a:cubicBezTo>
                      <a:pt x="19326" y="6461"/>
                      <a:pt x="19207" y="12322"/>
                      <a:pt x="15559" y="15851"/>
                    </a:cubicBezTo>
                    <a:close/>
                  </a:path>
                </a:pathLst>
              </a:custGeom>
              <a:grpFill/>
              <a:ln w="5978" cap="flat">
                <a:noFill/>
                <a:prstDash val="solid"/>
                <a:miter/>
              </a:ln>
            </p:spPr>
            <p:txBody>
              <a:bodyPr rtlCol="0" anchor="ctr"/>
              <a:lstStyle/>
              <a:p>
                <a:endParaRPr lang="en-GB"/>
              </a:p>
            </p:txBody>
          </p:sp>
          <p:sp>
            <p:nvSpPr>
              <p:cNvPr id="1819" name="Vrije vorm: vorm 1818">
                <a:extLst>
                  <a:ext uri="{FF2B5EF4-FFF2-40B4-BE49-F238E27FC236}">
                    <a16:creationId xmlns:a16="http://schemas.microsoft.com/office/drawing/2014/main" id="{E6C764B1-91FA-4651-B81A-77A4D3337FD9}"/>
                  </a:ext>
                </a:extLst>
              </p:cNvPr>
              <p:cNvSpPr/>
              <p:nvPr/>
            </p:nvSpPr>
            <p:spPr>
              <a:xfrm>
                <a:off x="4687081" y="4726303"/>
                <a:ext cx="18362" cy="18423"/>
              </a:xfrm>
              <a:custGeom>
                <a:avLst/>
                <a:gdLst>
                  <a:gd name="connsiteX0" fmla="*/ 15580 w 18362"/>
                  <a:gd name="connsiteY0" fmla="*/ 15851 h 18423"/>
                  <a:gd name="connsiteX1" fmla="*/ 15760 w 18362"/>
                  <a:gd name="connsiteY1" fmla="*/ 2813 h 18423"/>
                  <a:gd name="connsiteX2" fmla="*/ 2782 w 18362"/>
                  <a:gd name="connsiteY2" fmla="*/ 2573 h 18423"/>
                  <a:gd name="connsiteX3" fmla="*/ 2602 w 18362"/>
                  <a:gd name="connsiteY3" fmla="*/ 15611 h 18423"/>
                  <a:gd name="connsiteX4" fmla="*/ 15580 w 18362"/>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3">
                    <a:moveTo>
                      <a:pt x="15580" y="15851"/>
                    </a:moveTo>
                    <a:cubicBezTo>
                      <a:pt x="19229" y="12322"/>
                      <a:pt x="19288" y="6461"/>
                      <a:pt x="15760" y="2813"/>
                    </a:cubicBezTo>
                    <a:cubicBezTo>
                      <a:pt x="12231" y="-836"/>
                      <a:pt x="6430" y="-955"/>
                      <a:pt x="2782" y="2573"/>
                    </a:cubicBezTo>
                    <a:cubicBezTo>
                      <a:pt x="-867" y="6102"/>
                      <a:pt x="-926" y="11903"/>
                      <a:pt x="2602" y="15611"/>
                    </a:cubicBezTo>
                    <a:cubicBezTo>
                      <a:pt x="6131" y="19260"/>
                      <a:pt x="11932" y="19379"/>
                      <a:pt x="15580" y="15851"/>
                    </a:cubicBezTo>
                    <a:close/>
                  </a:path>
                </a:pathLst>
              </a:custGeom>
              <a:grpFill/>
              <a:ln w="5978" cap="flat">
                <a:noFill/>
                <a:prstDash val="solid"/>
                <a:miter/>
              </a:ln>
            </p:spPr>
            <p:txBody>
              <a:bodyPr rtlCol="0" anchor="ctr"/>
              <a:lstStyle/>
              <a:p>
                <a:endParaRPr lang="en-GB"/>
              </a:p>
            </p:txBody>
          </p:sp>
        </p:grpSp>
        <p:grpSp>
          <p:nvGrpSpPr>
            <p:cNvPr id="1196" name="Graphic 3">
              <a:extLst>
                <a:ext uri="{FF2B5EF4-FFF2-40B4-BE49-F238E27FC236}">
                  <a16:creationId xmlns:a16="http://schemas.microsoft.com/office/drawing/2014/main" id="{648FC33F-1FC2-447F-A81A-9FC16543FCB5}"/>
                </a:ext>
              </a:extLst>
            </p:cNvPr>
            <p:cNvGrpSpPr/>
            <p:nvPr/>
          </p:nvGrpSpPr>
          <p:grpSpPr>
            <a:xfrm>
              <a:off x="4070436" y="3442242"/>
              <a:ext cx="282474" cy="23748"/>
              <a:chOff x="4070436" y="3442242"/>
              <a:chExt cx="282474" cy="23748"/>
            </a:xfrm>
            <a:grpFill/>
          </p:grpSpPr>
          <p:sp>
            <p:nvSpPr>
              <p:cNvPr id="1814" name="Vrije vorm: vorm 1813">
                <a:extLst>
                  <a:ext uri="{FF2B5EF4-FFF2-40B4-BE49-F238E27FC236}">
                    <a16:creationId xmlns:a16="http://schemas.microsoft.com/office/drawing/2014/main" id="{392D66F5-063F-4AD9-B519-F60D9B3D94FC}"/>
                  </a:ext>
                </a:extLst>
              </p:cNvPr>
              <p:cNvSpPr/>
              <p:nvPr/>
            </p:nvSpPr>
            <p:spPr>
              <a:xfrm>
                <a:off x="4079111" y="3449960"/>
                <a:ext cx="265125" cy="8372"/>
              </a:xfrm>
              <a:custGeom>
                <a:avLst/>
                <a:gdLst>
                  <a:gd name="connsiteX0" fmla="*/ 265006 w 265125"/>
                  <a:gd name="connsiteY0" fmla="*/ 0 h 8372"/>
                  <a:gd name="connsiteX1" fmla="*/ 265125 w 265125"/>
                  <a:gd name="connsiteY1" fmla="*/ 3050 h 8372"/>
                  <a:gd name="connsiteX2" fmla="*/ 60 w 265125"/>
                  <a:gd name="connsiteY2" fmla="*/ 8373 h 8372"/>
                  <a:gd name="connsiteX3" fmla="*/ 0 w 265125"/>
                  <a:gd name="connsiteY3" fmla="*/ 5323 h 8372"/>
                </a:gdLst>
                <a:ahLst/>
                <a:cxnLst>
                  <a:cxn ang="0">
                    <a:pos x="connsiteX0" y="connsiteY0"/>
                  </a:cxn>
                  <a:cxn ang="0">
                    <a:pos x="connsiteX1" y="connsiteY1"/>
                  </a:cxn>
                  <a:cxn ang="0">
                    <a:pos x="connsiteX2" y="connsiteY2"/>
                  </a:cxn>
                  <a:cxn ang="0">
                    <a:pos x="connsiteX3" y="connsiteY3"/>
                  </a:cxn>
                </a:cxnLst>
                <a:rect l="l" t="t" r="r" b="b"/>
                <a:pathLst>
                  <a:path w="265125" h="8372">
                    <a:moveTo>
                      <a:pt x="265006" y="0"/>
                    </a:moveTo>
                    <a:lnTo>
                      <a:pt x="265125" y="3050"/>
                    </a:lnTo>
                    <a:lnTo>
                      <a:pt x="60" y="8373"/>
                    </a:lnTo>
                    <a:lnTo>
                      <a:pt x="0" y="5323"/>
                    </a:lnTo>
                    <a:close/>
                  </a:path>
                </a:pathLst>
              </a:custGeom>
              <a:grpFill/>
              <a:ln w="5978" cap="flat">
                <a:noFill/>
                <a:prstDash val="solid"/>
                <a:miter/>
              </a:ln>
            </p:spPr>
            <p:txBody>
              <a:bodyPr rtlCol="0" anchor="ctr"/>
              <a:lstStyle/>
              <a:p>
                <a:endParaRPr lang="en-GB"/>
              </a:p>
            </p:txBody>
          </p:sp>
          <p:sp>
            <p:nvSpPr>
              <p:cNvPr id="1815" name="Vrije vorm: vorm 1814">
                <a:extLst>
                  <a:ext uri="{FF2B5EF4-FFF2-40B4-BE49-F238E27FC236}">
                    <a16:creationId xmlns:a16="http://schemas.microsoft.com/office/drawing/2014/main" id="{46EFBA0D-D2AC-4A84-A27D-D7E80159F480}"/>
                  </a:ext>
                </a:extLst>
              </p:cNvPr>
              <p:cNvSpPr/>
              <p:nvPr/>
            </p:nvSpPr>
            <p:spPr>
              <a:xfrm>
                <a:off x="4070436" y="3447565"/>
                <a:ext cx="18364" cy="18425"/>
              </a:xfrm>
              <a:custGeom>
                <a:avLst/>
                <a:gdLst>
                  <a:gd name="connsiteX0" fmla="*/ 9392 w 18364"/>
                  <a:gd name="connsiteY0" fmla="*/ 18423 h 18425"/>
                  <a:gd name="connsiteX1" fmla="*/ 3 w 18364"/>
                  <a:gd name="connsiteY1" fmla="*/ 9392 h 18425"/>
                  <a:gd name="connsiteX2" fmla="*/ 8974 w 18364"/>
                  <a:gd name="connsiteY2" fmla="*/ 3 h 18425"/>
                  <a:gd name="connsiteX3" fmla="*/ 18363 w 18364"/>
                  <a:gd name="connsiteY3" fmla="*/ 9034 h 18425"/>
                  <a:gd name="connsiteX4" fmla="*/ 9392 w 18364"/>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5">
                    <a:moveTo>
                      <a:pt x="9392" y="18423"/>
                    </a:moveTo>
                    <a:cubicBezTo>
                      <a:pt x="4309" y="18543"/>
                      <a:pt x="122" y="14476"/>
                      <a:pt x="3" y="9392"/>
                    </a:cubicBezTo>
                    <a:cubicBezTo>
                      <a:pt x="-117" y="4309"/>
                      <a:pt x="3890" y="122"/>
                      <a:pt x="8974" y="3"/>
                    </a:cubicBezTo>
                    <a:cubicBezTo>
                      <a:pt x="14057" y="-117"/>
                      <a:pt x="18244" y="3950"/>
                      <a:pt x="18363" y="9034"/>
                    </a:cubicBezTo>
                    <a:cubicBezTo>
                      <a:pt x="18423" y="14117"/>
                      <a:pt x="14416" y="18304"/>
                      <a:pt x="9392" y="18423"/>
                    </a:cubicBezTo>
                    <a:close/>
                  </a:path>
                </a:pathLst>
              </a:custGeom>
              <a:grpFill/>
              <a:ln w="5978" cap="flat">
                <a:noFill/>
                <a:prstDash val="solid"/>
                <a:miter/>
              </a:ln>
            </p:spPr>
            <p:txBody>
              <a:bodyPr rtlCol="0" anchor="ctr"/>
              <a:lstStyle/>
              <a:p>
                <a:endParaRPr lang="en-GB"/>
              </a:p>
            </p:txBody>
          </p:sp>
          <p:sp>
            <p:nvSpPr>
              <p:cNvPr id="1816" name="Vrije vorm: vorm 1815">
                <a:extLst>
                  <a:ext uri="{FF2B5EF4-FFF2-40B4-BE49-F238E27FC236}">
                    <a16:creationId xmlns:a16="http://schemas.microsoft.com/office/drawing/2014/main" id="{923802F5-44A5-4D2B-AABE-95C1E0E45DC7}"/>
                  </a:ext>
                </a:extLst>
              </p:cNvPr>
              <p:cNvSpPr/>
              <p:nvPr/>
            </p:nvSpPr>
            <p:spPr>
              <a:xfrm>
                <a:off x="4334545" y="3442242"/>
                <a:ext cx="18366" cy="18425"/>
              </a:xfrm>
              <a:custGeom>
                <a:avLst/>
                <a:gdLst>
                  <a:gd name="connsiteX0" fmla="*/ 9392 w 18366"/>
                  <a:gd name="connsiteY0" fmla="*/ 18423 h 18425"/>
                  <a:gd name="connsiteX1" fmla="*/ 18363 w 18366"/>
                  <a:gd name="connsiteY1" fmla="*/ 9034 h 18425"/>
                  <a:gd name="connsiteX2" fmla="*/ 8974 w 18366"/>
                  <a:gd name="connsiteY2" fmla="*/ 3 h 18425"/>
                  <a:gd name="connsiteX3" fmla="*/ 3 w 18366"/>
                  <a:gd name="connsiteY3" fmla="*/ 9392 h 18425"/>
                  <a:gd name="connsiteX4" fmla="*/ 9392 w 18366"/>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2" y="18423"/>
                    </a:moveTo>
                    <a:cubicBezTo>
                      <a:pt x="14476" y="18304"/>
                      <a:pt x="18483" y="14117"/>
                      <a:pt x="18363" y="9034"/>
                    </a:cubicBezTo>
                    <a:cubicBezTo>
                      <a:pt x="18244" y="3950"/>
                      <a:pt x="14058" y="-117"/>
                      <a:pt x="8974" y="3"/>
                    </a:cubicBezTo>
                    <a:cubicBezTo>
                      <a:pt x="3890" y="122"/>
                      <a:pt x="-117" y="4309"/>
                      <a:pt x="3" y="9392"/>
                    </a:cubicBezTo>
                    <a:cubicBezTo>
                      <a:pt x="122" y="14476"/>
                      <a:pt x="4369" y="18543"/>
                      <a:pt x="9392" y="18423"/>
                    </a:cubicBezTo>
                    <a:close/>
                  </a:path>
                </a:pathLst>
              </a:custGeom>
              <a:grpFill/>
              <a:ln w="5978" cap="flat">
                <a:noFill/>
                <a:prstDash val="solid"/>
                <a:miter/>
              </a:ln>
            </p:spPr>
            <p:txBody>
              <a:bodyPr rtlCol="0" anchor="ctr"/>
              <a:lstStyle/>
              <a:p>
                <a:endParaRPr lang="en-GB"/>
              </a:p>
            </p:txBody>
          </p:sp>
        </p:grpSp>
        <p:grpSp>
          <p:nvGrpSpPr>
            <p:cNvPr id="1197" name="Graphic 3">
              <a:extLst>
                <a:ext uri="{FF2B5EF4-FFF2-40B4-BE49-F238E27FC236}">
                  <a16:creationId xmlns:a16="http://schemas.microsoft.com/office/drawing/2014/main" id="{3A127E9C-AD07-44E9-A04D-DFC16B2ED420}"/>
                </a:ext>
              </a:extLst>
            </p:cNvPr>
            <p:cNvGrpSpPr/>
            <p:nvPr/>
          </p:nvGrpSpPr>
          <p:grpSpPr>
            <a:xfrm>
              <a:off x="4433961" y="4377498"/>
              <a:ext cx="215614" cy="113151"/>
              <a:chOff x="4433961" y="4377498"/>
              <a:chExt cx="215614" cy="113151"/>
            </a:xfrm>
            <a:grpFill/>
          </p:grpSpPr>
          <p:sp>
            <p:nvSpPr>
              <p:cNvPr id="1811" name="Vrije vorm: vorm 1810">
                <a:extLst>
                  <a:ext uri="{FF2B5EF4-FFF2-40B4-BE49-F238E27FC236}">
                    <a16:creationId xmlns:a16="http://schemas.microsoft.com/office/drawing/2014/main" id="{8193CD22-37B0-4D76-AF11-2687A3E7FBA8}"/>
                  </a:ext>
                </a:extLst>
              </p:cNvPr>
              <p:cNvSpPr/>
              <p:nvPr/>
            </p:nvSpPr>
            <p:spPr>
              <a:xfrm>
                <a:off x="4442021" y="4385165"/>
                <a:ext cx="199456" cy="97844"/>
              </a:xfrm>
              <a:custGeom>
                <a:avLst/>
                <a:gdLst>
                  <a:gd name="connsiteX0" fmla="*/ 199457 w 199456"/>
                  <a:gd name="connsiteY0" fmla="*/ 2751 h 97844"/>
                  <a:gd name="connsiteX1" fmla="*/ 1375 w 199456"/>
                  <a:gd name="connsiteY1" fmla="*/ 97845 h 97844"/>
                  <a:gd name="connsiteX2" fmla="*/ 0 w 199456"/>
                  <a:gd name="connsiteY2" fmla="*/ 95093 h 97844"/>
                  <a:gd name="connsiteX3" fmla="*/ 198141 w 199456"/>
                  <a:gd name="connsiteY3" fmla="*/ 0 h 97844"/>
                </a:gdLst>
                <a:ahLst/>
                <a:cxnLst>
                  <a:cxn ang="0">
                    <a:pos x="connsiteX0" y="connsiteY0"/>
                  </a:cxn>
                  <a:cxn ang="0">
                    <a:pos x="connsiteX1" y="connsiteY1"/>
                  </a:cxn>
                  <a:cxn ang="0">
                    <a:pos x="connsiteX2" y="connsiteY2"/>
                  </a:cxn>
                  <a:cxn ang="0">
                    <a:pos x="connsiteX3" y="connsiteY3"/>
                  </a:cxn>
                </a:cxnLst>
                <a:rect l="l" t="t" r="r" b="b"/>
                <a:pathLst>
                  <a:path w="199456" h="97844">
                    <a:moveTo>
                      <a:pt x="199457" y="2751"/>
                    </a:moveTo>
                    <a:lnTo>
                      <a:pt x="1375" y="97845"/>
                    </a:lnTo>
                    <a:lnTo>
                      <a:pt x="0" y="95093"/>
                    </a:lnTo>
                    <a:lnTo>
                      <a:pt x="198141" y="0"/>
                    </a:lnTo>
                    <a:close/>
                  </a:path>
                </a:pathLst>
              </a:custGeom>
              <a:grpFill/>
              <a:ln w="5978" cap="flat">
                <a:noFill/>
                <a:prstDash val="solid"/>
                <a:miter/>
              </a:ln>
            </p:spPr>
            <p:txBody>
              <a:bodyPr rtlCol="0" anchor="ctr"/>
              <a:lstStyle/>
              <a:p>
                <a:endParaRPr lang="en-GB"/>
              </a:p>
            </p:txBody>
          </p:sp>
          <p:sp>
            <p:nvSpPr>
              <p:cNvPr id="1812" name="Vrije vorm: vorm 1811">
                <a:extLst>
                  <a:ext uri="{FF2B5EF4-FFF2-40B4-BE49-F238E27FC236}">
                    <a16:creationId xmlns:a16="http://schemas.microsoft.com/office/drawing/2014/main" id="{B1DF3A1A-6BB4-4890-97BC-BEBF5EADC603}"/>
                  </a:ext>
                </a:extLst>
              </p:cNvPr>
              <p:cNvSpPr/>
              <p:nvPr/>
            </p:nvSpPr>
            <p:spPr>
              <a:xfrm>
                <a:off x="4631205" y="4377498"/>
                <a:ext cx="18369" cy="18442"/>
              </a:xfrm>
              <a:custGeom>
                <a:avLst/>
                <a:gdLst>
                  <a:gd name="connsiteX0" fmla="*/ 5190 w 18369"/>
                  <a:gd name="connsiteY0" fmla="*/ 908 h 18442"/>
                  <a:gd name="connsiteX1" fmla="*/ 17450 w 18369"/>
                  <a:gd name="connsiteY1" fmla="*/ 5274 h 18442"/>
                  <a:gd name="connsiteX2" fmla="*/ 13144 w 18369"/>
                  <a:gd name="connsiteY2" fmla="*/ 17534 h 18442"/>
                  <a:gd name="connsiteX3" fmla="*/ 884 w 18369"/>
                  <a:gd name="connsiteY3" fmla="*/ 13169 h 18442"/>
                  <a:gd name="connsiteX4" fmla="*/ 5190 w 18369"/>
                  <a:gd name="connsiteY4" fmla="*/ 908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2">
                    <a:moveTo>
                      <a:pt x="5190" y="908"/>
                    </a:moveTo>
                    <a:cubicBezTo>
                      <a:pt x="9735" y="-1305"/>
                      <a:pt x="15237" y="669"/>
                      <a:pt x="17450" y="5274"/>
                    </a:cubicBezTo>
                    <a:cubicBezTo>
                      <a:pt x="19663" y="9879"/>
                      <a:pt x="17749" y="15382"/>
                      <a:pt x="13144" y="17534"/>
                    </a:cubicBezTo>
                    <a:cubicBezTo>
                      <a:pt x="8599" y="19748"/>
                      <a:pt x="3096" y="17774"/>
                      <a:pt x="884" y="13169"/>
                    </a:cubicBezTo>
                    <a:cubicBezTo>
                      <a:pt x="-1269" y="8623"/>
                      <a:pt x="644" y="3121"/>
                      <a:pt x="5190" y="908"/>
                    </a:cubicBezTo>
                    <a:close/>
                  </a:path>
                </a:pathLst>
              </a:custGeom>
              <a:grpFill/>
              <a:ln w="5978" cap="flat">
                <a:noFill/>
                <a:prstDash val="solid"/>
                <a:miter/>
              </a:ln>
            </p:spPr>
            <p:txBody>
              <a:bodyPr rtlCol="0" anchor="ctr"/>
              <a:lstStyle/>
              <a:p>
                <a:endParaRPr lang="en-GB"/>
              </a:p>
            </p:txBody>
          </p:sp>
          <p:sp>
            <p:nvSpPr>
              <p:cNvPr id="1813" name="Vrije vorm: vorm 1812">
                <a:extLst>
                  <a:ext uri="{FF2B5EF4-FFF2-40B4-BE49-F238E27FC236}">
                    <a16:creationId xmlns:a16="http://schemas.microsoft.com/office/drawing/2014/main" id="{9DC42BAC-A0A9-4B61-9B1B-44256F8EB311}"/>
                  </a:ext>
                </a:extLst>
              </p:cNvPr>
              <p:cNvSpPr/>
              <p:nvPr/>
            </p:nvSpPr>
            <p:spPr>
              <a:xfrm>
                <a:off x="4433961" y="4472233"/>
                <a:ext cx="18333" cy="18416"/>
              </a:xfrm>
              <a:custGeom>
                <a:avLst/>
                <a:gdLst>
                  <a:gd name="connsiteX0" fmla="*/ 5189 w 18333"/>
                  <a:gd name="connsiteY0" fmla="*/ 908 h 18416"/>
                  <a:gd name="connsiteX1" fmla="*/ 884 w 18333"/>
                  <a:gd name="connsiteY1" fmla="*/ 13169 h 18416"/>
                  <a:gd name="connsiteX2" fmla="*/ 13144 w 18333"/>
                  <a:gd name="connsiteY2" fmla="*/ 17535 h 18416"/>
                  <a:gd name="connsiteX3" fmla="*/ 17450 w 18333"/>
                  <a:gd name="connsiteY3" fmla="*/ 5274 h 18416"/>
                  <a:gd name="connsiteX4" fmla="*/ 5189 w 18333"/>
                  <a:gd name="connsiteY4" fmla="*/ 90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5189" y="908"/>
                    </a:moveTo>
                    <a:cubicBezTo>
                      <a:pt x="644" y="3121"/>
                      <a:pt x="-1269" y="8623"/>
                      <a:pt x="884" y="13169"/>
                    </a:cubicBezTo>
                    <a:cubicBezTo>
                      <a:pt x="3096" y="17774"/>
                      <a:pt x="8539" y="19688"/>
                      <a:pt x="13144" y="17535"/>
                    </a:cubicBezTo>
                    <a:cubicBezTo>
                      <a:pt x="17689" y="15322"/>
                      <a:pt x="19603" y="9820"/>
                      <a:pt x="17450" y="5274"/>
                    </a:cubicBezTo>
                    <a:cubicBezTo>
                      <a:pt x="15237" y="669"/>
                      <a:pt x="9735" y="-1305"/>
                      <a:pt x="5189" y="908"/>
                    </a:cubicBezTo>
                    <a:close/>
                  </a:path>
                </a:pathLst>
              </a:custGeom>
              <a:grpFill/>
              <a:ln w="5978" cap="flat">
                <a:noFill/>
                <a:prstDash val="solid"/>
                <a:miter/>
              </a:ln>
            </p:spPr>
            <p:txBody>
              <a:bodyPr rtlCol="0" anchor="ctr"/>
              <a:lstStyle/>
              <a:p>
                <a:endParaRPr lang="en-GB"/>
              </a:p>
            </p:txBody>
          </p:sp>
        </p:grpSp>
        <p:grpSp>
          <p:nvGrpSpPr>
            <p:cNvPr id="1198" name="Graphic 3">
              <a:extLst>
                <a:ext uri="{FF2B5EF4-FFF2-40B4-BE49-F238E27FC236}">
                  <a16:creationId xmlns:a16="http://schemas.microsoft.com/office/drawing/2014/main" id="{99322741-A17E-43E0-9334-D0E4B7CAD233}"/>
                </a:ext>
              </a:extLst>
            </p:cNvPr>
            <p:cNvGrpSpPr/>
            <p:nvPr/>
          </p:nvGrpSpPr>
          <p:grpSpPr>
            <a:xfrm>
              <a:off x="4665468" y="4915817"/>
              <a:ext cx="158793" cy="189144"/>
              <a:chOff x="4665468" y="4915817"/>
              <a:chExt cx="158793" cy="189144"/>
            </a:xfrm>
            <a:grpFill/>
          </p:grpSpPr>
          <p:sp>
            <p:nvSpPr>
              <p:cNvPr id="1808" name="Vrije vorm: vorm 1807">
                <a:extLst>
                  <a:ext uri="{FF2B5EF4-FFF2-40B4-BE49-F238E27FC236}">
                    <a16:creationId xmlns:a16="http://schemas.microsoft.com/office/drawing/2014/main" id="{AF312BF2-B526-4314-8526-073100E28E5F}"/>
                  </a:ext>
                </a:extLst>
              </p:cNvPr>
              <p:cNvSpPr/>
              <p:nvPr/>
            </p:nvSpPr>
            <p:spPr>
              <a:xfrm>
                <a:off x="4673176" y="4923669"/>
                <a:ext cx="143358" cy="173440"/>
              </a:xfrm>
              <a:custGeom>
                <a:avLst/>
                <a:gdLst>
                  <a:gd name="connsiteX0" fmla="*/ 143358 w 143358"/>
                  <a:gd name="connsiteY0" fmla="*/ 1974 h 173440"/>
                  <a:gd name="connsiteX1" fmla="*/ 2392 w 143358"/>
                  <a:gd name="connsiteY1" fmla="*/ 173441 h 173440"/>
                  <a:gd name="connsiteX2" fmla="*/ 0 w 143358"/>
                  <a:gd name="connsiteY2" fmla="*/ 171468 h 173440"/>
                  <a:gd name="connsiteX3" fmla="*/ 141026 w 143358"/>
                  <a:gd name="connsiteY3" fmla="*/ 0 h 173440"/>
                </a:gdLst>
                <a:ahLst/>
                <a:cxnLst>
                  <a:cxn ang="0">
                    <a:pos x="connsiteX0" y="connsiteY0"/>
                  </a:cxn>
                  <a:cxn ang="0">
                    <a:pos x="connsiteX1" y="connsiteY1"/>
                  </a:cxn>
                  <a:cxn ang="0">
                    <a:pos x="connsiteX2" y="connsiteY2"/>
                  </a:cxn>
                  <a:cxn ang="0">
                    <a:pos x="connsiteX3" y="connsiteY3"/>
                  </a:cxn>
                </a:cxnLst>
                <a:rect l="l" t="t" r="r" b="b"/>
                <a:pathLst>
                  <a:path w="143358" h="173440">
                    <a:moveTo>
                      <a:pt x="143358" y="1974"/>
                    </a:moveTo>
                    <a:lnTo>
                      <a:pt x="2392" y="173441"/>
                    </a:lnTo>
                    <a:lnTo>
                      <a:pt x="0" y="171468"/>
                    </a:lnTo>
                    <a:lnTo>
                      <a:pt x="141026" y="0"/>
                    </a:lnTo>
                    <a:close/>
                  </a:path>
                </a:pathLst>
              </a:custGeom>
              <a:grpFill/>
              <a:ln w="5978" cap="flat">
                <a:noFill/>
                <a:prstDash val="solid"/>
                <a:miter/>
              </a:ln>
            </p:spPr>
            <p:txBody>
              <a:bodyPr rtlCol="0" anchor="ctr"/>
              <a:lstStyle/>
              <a:p>
                <a:endParaRPr lang="en-GB"/>
              </a:p>
            </p:txBody>
          </p:sp>
          <p:sp>
            <p:nvSpPr>
              <p:cNvPr id="1809" name="Vrije vorm: vorm 1808">
                <a:extLst>
                  <a:ext uri="{FF2B5EF4-FFF2-40B4-BE49-F238E27FC236}">
                    <a16:creationId xmlns:a16="http://schemas.microsoft.com/office/drawing/2014/main" id="{7FA8C545-D6F4-4FA7-98B4-474D115F58F8}"/>
                  </a:ext>
                </a:extLst>
              </p:cNvPr>
              <p:cNvSpPr/>
              <p:nvPr/>
            </p:nvSpPr>
            <p:spPr>
              <a:xfrm>
                <a:off x="4665468" y="5086567"/>
                <a:ext cx="18365" cy="18395"/>
              </a:xfrm>
              <a:custGeom>
                <a:avLst/>
                <a:gdLst>
                  <a:gd name="connsiteX0" fmla="*/ 16260 w 18365"/>
                  <a:gd name="connsiteY0" fmla="*/ 15089 h 18395"/>
                  <a:gd name="connsiteX1" fmla="*/ 3342 w 18365"/>
                  <a:gd name="connsiteY1" fmla="*/ 16285 h 18395"/>
                  <a:gd name="connsiteX2" fmla="*/ 2086 w 18365"/>
                  <a:gd name="connsiteY2" fmla="*/ 3307 h 18395"/>
                  <a:gd name="connsiteX3" fmla="*/ 15005 w 18365"/>
                  <a:gd name="connsiteY3" fmla="*/ 2110 h 18395"/>
                  <a:gd name="connsiteX4" fmla="*/ 16260 w 18365"/>
                  <a:gd name="connsiteY4" fmla="*/ 15089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5">
                    <a:moveTo>
                      <a:pt x="16260" y="15089"/>
                    </a:moveTo>
                    <a:cubicBezTo>
                      <a:pt x="13031" y="18976"/>
                      <a:pt x="7289" y="19514"/>
                      <a:pt x="3342" y="16285"/>
                    </a:cubicBezTo>
                    <a:cubicBezTo>
                      <a:pt x="-546" y="13055"/>
                      <a:pt x="-1143" y="7254"/>
                      <a:pt x="2086" y="3307"/>
                    </a:cubicBezTo>
                    <a:cubicBezTo>
                      <a:pt x="5316" y="-581"/>
                      <a:pt x="11057" y="-1119"/>
                      <a:pt x="15005" y="2110"/>
                    </a:cubicBezTo>
                    <a:cubicBezTo>
                      <a:pt x="18952" y="5340"/>
                      <a:pt x="19490" y="11141"/>
                      <a:pt x="16260" y="15089"/>
                    </a:cubicBezTo>
                    <a:close/>
                  </a:path>
                </a:pathLst>
              </a:custGeom>
              <a:grpFill/>
              <a:ln w="5978" cap="flat">
                <a:noFill/>
                <a:prstDash val="solid"/>
                <a:miter/>
              </a:ln>
            </p:spPr>
            <p:txBody>
              <a:bodyPr rtlCol="0" anchor="ctr"/>
              <a:lstStyle/>
              <a:p>
                <a:endParaRPr lang="en-GB"/>
              </a:p>
            </p:txBody>
          </p:sp>
          <p:sp>
            <p:nvSpPr>
              <p:cNvPr id="1810" name="Vrije vorm: vorm 1809">
                <a:extLst>
                  <a:ext uri="{FF2B5EF4-FFF2-40B4-BE49-F238E27FC236}">
                    <a16:creationId xmlns:a16="http://schemas.microsoft.com/office/drawing/2014/main" id="{59BA733C-81BA-4A13-9B2A-4512ECC36816}"/>
                  </a:ext>
                </a:extLst>
              </p:cNvPr>
              <p:cNvSpPr/>
              <p:nvPr/>
            </p:nvSpPr>
            <p:spPr>
              <a:xfrm>
                <a:off x="4805896" y="4915817"/>
                <a:ext cx="18365" cy="18394"/>
              </a:xfrm>
              <a:custGeom>
                <a:avLst/>
                <a:gdLst>
                  <a:gd name="connsiteX0" fmla="*/ 16260 w 18365"/>
                  <a:gd name="connsiteY0" fmla="*/ 15089 h 18394"/>
                  <a:gd name="connsiteX1" fmla="*/ 15004 w 18365"/>
                  <a:gd name="connsiteY1" fmla="*/ 2111 h 18394"/>
                  <a:gd name="connsiteX2" fmla="*/ 2086 w 18365"/>
                  <a:gd name="connsiteY2" fmla="*/ 3306 h 18394"/>
                  <a:gd name="connsiteX3" fmla="*/ 3342 w 18365"/>
                  <a:gd name="connsiteY3" fmla="*/ 16285 h 18394"/>
                  <a:gd name="connsiteX4" fmla="*/ 16260 w 18365"/>
                  <a:gd name="connsiteY4" fmla="*/ 1508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4">
                    <a:moveTo>
                      <a:pt x="16260" y="15089"/>
                    </a:moveTo>
                    <a:cubicBezTo>
                      <a:pt x="19490" y="11201"/>
                      <a:pt x="18952" y="5340"/>
                      <a:pt x="15004" y="2111"/>
                    </a:cubicBezTo>
                    <a:cubicBezTo>
                      <a:pt x="11117" y="-1119"/>
                      <a:pt x="5316" y="-581"/>
                      <a:pt x="2086" y="3306"/>
                    </a:cubicBezTo>
                    <a:cubicBezTo>
                      <a:pt x="-1144" y="7194"/>
                      <a:pt x="-545" y="13055"/>
                      <a:pt x="3342" y="16285"/>
                    </a:cubicBezTo>
                    <a:cubicBezTo>
                      <a:pt x="7289" y="19514"/>
                      <a:pt x="13031" y="18976"/>
                      <a:pt x="16260" y="15089"/>
                    </a:cubicBezTo>
                    <a:close/>
                  </a:path>
                </a:pathLst>
              </a:custGeom>
              <a:grpFill/>
              <a:ln w="5978" cap="flat">
                <a:noFill/>
                <a:prstDash val="solid"/>
                <a:miter/>
              </a:ln>
            </p:spPr>
            <p:txBody>
              <a:bodyPr rtlCol="0" anchor="ctr"/>
              <a:lstStyle/>
              <a:p>
                <a:endParaRPr lang="en-GB"/>
              </a:p>
            </p:txBody>
          </p:sp>
        </p:grpSp>
        <p:grpSp>
          <p:nvGrpSpPr>
            <p:cNvPr id="1199" name="Graphic 3">
              <a:extLst>
                <a:ext uri="{FF2B5EF4-FFF2-40B4-BE49-F238E27FC236}">
                  <a16:creationId xmlns:a16="http://schemas.microsoft.com/office/drawing/2014/main" id="{28B26DA7-91A3-4546-99AC-3A9527F5FCA6}"/>
                </a:ext>
              </a:extLst>
            </p:cNvPr>
            <p:cNvGrpSpPr/>
            <p:nvPr/>
          </p:nvGrpSpPr>
          <p:grpSpPr>
            <a:xfrm>
              <a:off x="4066775" y="3299229"/>
              <a:ext cx="177653" cy="27124"/>
              <a:chOff x="4066775" y="3299229"/>
              <a:chExt cx="177653" cy="27124"/>
            </a:xfrm>
            <a:grpFill/>
          </p:grpSpPr>
          <p:sp>
            <p:nvSpPr>
              <p:cNvPr id="1805" name="Vrije vorm: vorm 1804">
                <a:extLst>
                  <a:ext uri="{FF2B5EF4-FFF2-40B4-BE49-F238E27FC236}">
                    <a16:creationId xmlns:a16="http://schemas.microsoft.com/office/drawing/2014/main" id="{961EBB4D-92F2-4C79-A559-C4187447ABBD}"/>
                  </a:ext>
                </a:extLst>
              </p:cNvPr>
              <p:cNvSpPr/>
              <p:nvPr/>
            </p:nvSpPr>
            <p:spPr>
              <a:xfrm>
                <a:off x="4075403" y="3306841"/>
                <a:ext cx="160403" cy="11841"/>
              </a:xfrm>
              <a:custGeom>
                <a:avLst/>
                <a:gdLst>
                  <a:gd name="connsiteX0" fmla="*/ 160403 w 160403"/>
                  <a:gd name="connsiteY0" fmla="*/ 8792 h 11841"/>
                  <a:gd name="connsiteX1" fmla="*/ 160224 w 160403"/>
                  <a:gd name="connsiteY1" fmla="*/ 11842 h 11841"/>
                  <a:gd name="connsiteX2" fmla="*/ 0 w 160403"/>
                  <a:gd name="connsiteY2" fmla="*/ 3050 h 11841"/>
                  <a:gd name="connsiteX3" fmla="*/ 120 w 160403"/>
                  <a:gd name="connsiteY3" fmla="*/ 0 h 11841"/>
                </a:gdLst>
                <a:ahLst/>
                <a:cxnLst>
                  <a:cxn ang="0">
                    <a:pos x="connsiteX0" y="connsiteY0"/>
                  </a:cxn>
                  <a:cxn ang="0">
                    <a:pos x="connsiteX1" y="connsiteY1"/>
                  </a:cxn>
                  <a:cxn ang="0">
                    <a:pos x="connsiteX2" y="connsiteY2"/>
                  </a:cxn>
                  <a:cxn ang="0">
                    <a:pos x="connsiteX3" y="connsiteY3"/>
                  </a:cxn>
                </a:cxnLst>
                <a:rect l="l" t="t" r="r" b="b"/>
                <a:pathLst>
                  <a:path w="160403" h="11841">
                    <a:moveTo>
                      <a:pt x="160403" y="8792"/>
                    </a:moveTo>
                    <a:lnTo>
                      <a:pt x="160224" y="11842"/>
                    </a:lnTo>
                    <a:lnTo>
                      <a:pt x="0" y="3050"/>
                    </a:lnTo>
                    <a:lnTo>
                      <a:pt x="120" y="0"/>
                    </a:lnTo>
                    <a:close/>
                  </a:path>
                </a:pathLst>
              </a:custGeom>
              <a:grpFill/>
              <a:ln w="5978" cap="flat">
                <a:noFill/>
                <a:prstDash val="solid"/>
                <a:miter/>
              </a:ln>
            </p:spPr>
            <p:txBody>
              <a:bodyPr rtlCol="0" anchor="ctr"/>
              <a:lstStyle/>
              <a:p>
                <a:endParaRPr lang="en-GB"/>
              </a:p>
            </p:txBody>
          </p:sp>
          <p:sp>
            <p:nvSpPr>
              <p:cNvPr id="1806" name="Vrije vorm: vorm 1805">
                <a:extLst>
                  <a:ext uri="{FF2B5EF4-FFF2-40B4-BE49-F238E27FC236}">
                    <a16:creationId xmlns:a16="http://schemas.microsoft.com/office/drawing/2014/main" id="{489328FE-3ACC-41CE-B16D-AB1E3D45734E}"/>
                  </a:ext>
                </a:extLst>
              </p:cNvPr>
              <p:cNvSpPr/>
              <p:nvPr/>
            </p:nvSpPr>
            <p:spPr>
              <a:xfrm>
                <a:off x="4066775" y="3299229"/>
                <a:ext cx="18333" cy="18387"/>
              </a:xfrm>
              <a:custGeom>
                <a:avLst/>
                <a:gdLst>
                  <a:gd name="connsiteX0" fmla="*/ 8688 w 18333"/>
                  <a:gd name="connsiteY0" fmla="*/ 18377 h 18387"/>
                  <a:gd name="connsiteX1" fmla="*/ 16 w 18333"/>
                  <a:gd name="connsiteY1" fmla="*/ 8688 h 18387"/>
                  <a:gd name="connsiteX2" fmla="*/ 9645 w 18333"/>
                  <a:gd name="connsiteY2" fmla="*/ 16 h 18387"/>
                  <a:gd name="connsiteX3" fmla="*/ 18317 w 18333"/>
                  <a:gd name="connsiteY3" fmla="*/ 9705 h 18387"/>
                  <a:gd name="connsiteX4" fmla="*/ 8688 w 18333"/>
                  <a:gd name="connsiteY4" fmla="*/ 18377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87">
                    <a:moveTo>
                      <a:pt x="8688" y="18377"/>
                    </a:moveTo>
                    <a:cubicBezTo>
                      <a:pt x="3604" y="18078"/>
                      <a:pt x="-283" y="13772"/>
                      <a:pt x="16" y="8688"/>
                    </a:cubicBezTo>
                    <a:cubicBezTo>
                      <a:pt x="255" y="3605"/>
                      <a:pt x="4561" y="-283"/>
                      <a:pt x="9645" y="16"/>
                    </a:cubicBezTo>
                    <a:cubicBezTo>
                      <a:pt x="14729" y="315"/>
                      <a:pt x="18616" y="4621"/>
                      <a:pt x="18317" y="9705"/>
                    </a:cubicBezTo>
                    <a:cubicBezTo>
                      <a:pt x="18018" y="14789"/>
                      <a:pt x="13772" y="18616"/>
                      <a:pt x="8688" y="18377"/>
                    </a:cubicBezTo>
                    <a:close/>
                  </a:path>
                </a:pathLst>
              </a:custGeom>
              <a:grpFill/>
              <a:ln w="5978" cap="flat">
                <a:noFill/>
                <a:prstDash val="solid"/>
                <a:miter/>
              </a:ln>
            </p:spPr>
            <p:txBody>
              <a:bodyPr rtlCol="0" anchor="ctr"/>
              <a:lstStyle/>
              <a:p>
                <a:endParaRPr lang="en-GB"/>
              </a:p>
            </p:txBody>
          </p:sp>
          <p:sp>
            <p:nvSpPr>
              <p:cNvPr id="1807" name="Vrije vorm: vorm 1806">
                <a:extLst>
                  <a:ext uri="{FF2B5EF4-FFF2-40B4-BE49-F238E27FC236}">
                    <a16:creationId xmlns:a16="http://schemas.microsoft.com/office/drawing/2014/main" id="{196E3297-EA40-47B5-9F9F-20DF1DFF353A}"/>
                  </a:ext>
                </a:extLst>
              </p:cNvPr>
              <p:cNvSpPr/>
              <p:nvPr/>
            </p:nvSpPr>
            <p:spPr>
              <a:xfrm>
                <a:off x="4226101" y="3307961"/>
                <a:ext cx="18327" cy="18393"/>
              </a:xfrm>
              <a:custGeom>
                <a:avLst/>
                <a:gdLst>
                  <a:gd name="connsiteX0" fmla="*/ 8688 w 18327"/>
                  <a:gd name="connsiteY0" fmla="*/ 18377 h 18393"/>
                  <a:gd name="connsiteX1" fmla="*/ 18317 w 18327"/>
                  <a:gd name="connsiteY1" fmla="*/ 9705 h 18393"/>
                  <a:gd name="connsiteX2" fmla="*/ 9645 w 18327"/>
                  <a:gd name="connsiteY2" fmla="*/ 16 h 18393"/>
                  <a:gd name="connsiteX3" fmla="*/ 16 w 18327"/>
                  <a:gd name="connsiteY3" fmla="*/ 8688 h 18393"/>
                  <a:gd name="connsiteX4" fmla="*/ 8688 w 18327"/>
                  <a:gd name="connsiteY4" fmla="*/ 18377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3">
                    <a:moveTo>
                      <a:pt x="8688" y="18377"/>
                    </a:moveTo>
                    <a:cubicBezTo>
                      <a:pt x="13772" y="18676"/>
                      <a:pt x="18078" y="14789"/>
                      <a:pt x="18317" y="9705"/>
                    </a:cubicBezTo>
                    <a:cubicBezTo>
                      <a:pt x="18557" y="4621"/>
                      <a:pt x="14669" y="255"/>
                      <a:pt x="9645" y="16"/>
                    </a:cubicBezTo>
                    <a:cubicBezTo>
                      <a:pt x="4562" y="-283"/>
                      <a:pt x="256" y="3605"/>
                      <a:pt x="16" y="8688"/>
                    </a:cubicBezTo>
                    <a:cubicBezTo>
                      <a:pt x="-283" y="13772"/>
                      <a:pt x="3605" y="18078"/>
                      <a:pt x="8688" y="18377"/>
                    </a:cubicBezTo>
                    <a:close/>
                  </a:path>
                </a:pathLst>
              </a:custGeom>
              <a:grpFill/>
              <a:ln w="5978" cap="flat">
                <a:noFill/>
                <a:prstDash val="solid"/>
                <a:miter/>
              </a:ln>
            </p:spPr>
            <p:txBody>
              <a:bodyPr rtlCol="0" anchor="ctr"/>
              <a:lstStyle/>
              <a:p>
                <a:endParaRPr lang="en-GB"/>
              </a:p>
            </p:txBody>
          </p:sp>
        </p:grpSp>
        <p:grpSp>
          <p:nvGrpSpPr>
            <p:cNvPr id="1200" name="Graphic 3">
              <a:extLst>
                <a:ext uri="{FF2B5EF4-FFF2-40B4-BE49-F238E27FC236}">
                  <a16:creationId xmlns:a16="http://schemas.microsoft.com/office/drawing/2014/main" id="{F449CF72-42AF-47F2-9061-9B0AF90014BA}"/>
                </a:ext>
              </a:extLst>
            </p:cNvPr>
            <p:cNvGrpSpPr/>
            <p:nvPr/>
          </p:nvGrpSpPr>
          <p:grpSpPr>
            <a:xfrm>
              <a:off x="4193295" y="3722770"/>
              <a:ext cx="223655" cy="57670"/>
              <a:chOff x="4193295" y="3722770"/>
              <a:chExt cx="223655" cy="57670"/>
            </a:xfrm>
            <a:grpFill/>
          </p:grpSpPr>
          <p:sp>
            <p:nvSpPr>
              <p:cNvPr id="1802" name="Vrije vorm: vorm 1801">
                <a:extLst>
                  <a:ext uri="{FF2B5EF4-FFF2-40B4-BE49-F238E27FC236}">
                    <a16:creationId xmlns:a16="http://schemas.microsoft.com/office/drawing/2014/main" id="{EE62EF17-EB0B-4D08-86FA-7A891412EE72}"/>
                  </a:ext>
                </a:extLst>
              </p:cNvPr>
              <p:cNvSpPr/>
              <p:nvPr/>
            </p:nvSpPr>
            <p:spPr>
              <a:xfrm>
                <a:off x="4201716" y="3730395"/>
                <a:ext cx="206813" cy="42463"/>
              </a:xfrm>
              <a:custGeom>
                <a:avLst/>
                <a:gdLst>
                  <a:gd name="connsiteX0" fmla="*/ 206215 w 206813"/>
                  <a:gd name="connsiteY0" fmla="*/ 0 h 42463"/>
                  <a:gd name="connsiteX1" fmla="*/ 206813 w 206813"/>
                  <a:gd name="connsiteY1" fmla="*/ 3050 h 42463"/>
                  <a:gd name="connsiteX2" fmla="*/ 598 w 206813"/>
                  <a:gd name="connsiteY2" fmla="*/ 42463 h 42463"/>
                  <a:gd name="connsiteX3" fmla="*/ 0 w 206813"/>
                  <a:gd name="connsiteY3" fmla="*/ 39413 h 42463"/>
                </a:gdLst>
                <a:ahLst/>
                <a:cxnLst>
                  <a:cxn ang="0">
                    <a:pos x="connsiteX0" y="connsiteY0"/>
                  </a:cxn>
                  <a:cxn ang="0">
                    <a:pos x="connsiteX1" y="connsiteY1"/>
                  </a:cxn>
                  <a:cxn ang="0">
                    <a:pos x="connsiteX2" y="connsiteY2"/>
                  </a:cxn>
                  <a:cxn ang="0">
                    <a:pos x="connsiteX3" y="connsiteY3"/>
                  </a:cxn>
                </a:cxnLst>
                <a:rect l="l" t="t" r="r" b="b"/>
                <a:pathLst>
                  <a:path w="206813" h="42463">
                    <a:moveTo>
                      <a:pt x="206215" y="0"/>
                    </a:moveTo>
                    <a:lnTo>
                      <a:pt x="206813" y="3050"/>
                    </a:lnTo>
                    <a:lnTo>
                      <a:pt x="598" y="42463"/>
                    </a:lnTo>
                    <a:lnTo>
                      <a:pt x="0" y="39413"/>
                    </a:lnTo>
                    <a:close/>
                  </a:path>
                </a:pathLst>
              </a:custGeom>
              <a:grpFill/>
              <a:ln w="5978" cap="flat">
                <a:noFill/>
                <a:prstDash val="solid"/>
                <a:miter/>
              </a:ln>
            </p:spPr>
            <p:txBody>
              <a:bodyPr rtlCol="0" anchor="ctr"/>
              <a:lstStyle/>
              <a:p>
                <a:endParaRPr lang="en-GB"/>
              </a:p>
            </p:txBody>
          </p:sp>
          <p:sp>
            <p:nvSpPr>
              <p:cNvPr id="1803" name="Vrije vorm: vorm 1802">
                <a:extLst>
                  <a:ext uri="{FF2B5EF4-FFF2-40B4-BE49-F238E27FC236}">
                    <a16:creationId xmlns:a16="http://schemas.microsoft.com/office/drawing/2014/main" id="{624A7453-5A94-4B8B-AF25-56C1FB431C86}"/>
                  </a:ext>
                </a:extLst>
              </p:cNvPr>
              <p:cNvSpPr/>
              <p:nvPr/>
            </p:nvSpPr>
            <p:spPr>
              <a:xfrm>
                <a:off x="4193295" y="3761988"/>
                <a:ext cx="18337" cy="18452"/>
              </a:xfrm>
              <a:custGeom>
                <a:avLst/>
                <a:gdLst>
                  <a:gd name="connsiteX0" fmla="*/ 10933 w 18337"/>
                  <a:gd name="connsiteY0" fmla="*/ 18287 h 18452"/>
                  <a:gd name="connsiteX1" fmla="*/ 168 w 18337"/>
                  <a:gd name="connsiteY1" fmla="*/ 10931 h 18452"/>
                  <a:gd name="connsiteX2" fmla="*/ 7404 w 18337"/>
                  <a:gd name="connsiteY2" fmla="*/ 166 h 18452"/>
                  <a:gd name="connsiteX3" fmla="*/ 18170 w 18337"/>
                  <a:gd name="connsiteY3" fmla="*/ 7522 h 18452"/>
                  <a:gd name="connsiteX4" fmla="*/ 10933 w 18337"/>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2">
                    <a:moveTo>
                      <a:pt x="10933" y="18287"/>
                    </a:moveTo>
                    <a:cubicBezTo>
                      <a:pt x="5969" y="19244"/>
                      <a:pt x="1125" y="15955"/>
                      <a:pt x="168" y="10931"/>
                    </a:cubicBezTo>
                    <a:cubicBezTo>
                      <a:pt x="-789" y="5907"/>
                      <a:pt x="2441" y="1122"/>
                      <a:pt x="7404" y="166"/>
                    </a:cubicBezTo>
                    <a:cubicBezTo>
                      <a:pt x="12368" y="-791"/>
                      <a:pt x="17213" y="2498"/>
                      <a:pt x="18170" y="7522"/>
                    </a:cubicBezTo>
                    <a:cubicBezTo>
                      <a:pt x="19127" y="12546"/>
                      <a:pt x="15897" y="17330"/>
                      <a:pt x="10933" y="18287"/>
                    </a:cubicBezTo>
                    <a:close/>
                  </a:path>
                </a:pathLst>
              </a:custGeom>
              <a:grpFill/>
              <a:ln w="5978" cap="flat">
                <a:noFill/>
                <a:prstDash val="solid"/>
                <a:miter/>
              </a:ln>
            </p:spPr>
            <p:txBody>
              <a:bodyPr rtlCol="0" anchor="ctr"/>
              <a:lstStyle/>
              <a:p>
                <a:endParaRPr lang="en-GB"/>
              </a:p>
            </p:txBody>
          </p:sp>
          <p:sp>
            <p:nvSpPr>
              <p:cNvPr id="1804" name="Vrije vorm: vorm 1803">
                <a:extLst>
                  <a:ext uri="{FF2B5EF4-FFF2-40B4-BE49-F238E27FC236}">
                    <a16:creationId xmlns:a16="http://schemas.microsoft.com/office/drawing/2014/main" id="{B133E09E-67CF-457E-8EB1-850E0AB705A8}"/>
                  </a:ext>
                </a:extLst>
              </p:cNvPr>
              <p:cNvSpPr/>
              <p:nvPr/>
            </p:nvSpPr>
            <p:spPr>
              <a:xfrm>
                <a:off x="4398613" y="3722770"/>
                <a:ext cx="18337" cy="18436"/>
              </a:xfrm>
              <a:custGeom>
                <a:avLst/>
                <a:gdLst>
                  <a:gd name="connsiteX0" fmla="*/ 10933 w 18337"/>
                  <a:gd name="connsiteY0" fmla="*/ 18271 h 18436"/>
                  <a:gd name="connsiteX1" fmla="*/ 18170 w 18337"/>
                  <a:gd name="connsiteY1" fmla="*/ 7506 h 18436"/>
                  <a:gd name="connsiteX2" fmla="*/ 7405 w 18337"/>
                  <a:gd name="connsiteY2" fmla="*/ 149 h 18436"/>
                  <a:gd name="connsiteX3" fmla="*/ 168 w 18337"/>
                  <a:gd name="connsiteY3" fmla="*/ 10915 h 18436"/>
                  <a:gd name="connsiteX4" fmla="*/ 10933 w 18337"/>
                  <a:gd name="connsiteY4" fmla="*/ 1827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0933" y="18271"/>
                    </a:moveTo>
                    <a:cubicBezTo>
                      <a:pt x="15897" y="17314"/>
                      <a:pt x="19127" y="12470"/>
                      <a:pt x="18170" y="7506"/>
                    </a:cubicBezTo>
                    <a:cubicBezTo>
                      <a:pt x="17213" y="2482"/>
                      <a:pt x="12369" y="-748"/>
                      <a:pt x="7405" y="149"/>
                    </a:cubicBezTo>
                    <a:cubicBezTo>
                      <a:pt x="2441" y="1106"/>
                      <a:pt x="-789" y="5951"/>
                      <a:pt x="168" y="10915"/>
                    </a:cubicBezTo>
                    <a:cubicBezTo>
                      <a:pt x="1125" y="15939"/>
                      <a:pt x="5969" y="19228"/>
                      <a:pt x="10933" y="18271"/>
                    </a:cubicBezTo>
                    <a:close/>
                  </a:path>
                </a:pathLst>
              </a:custGeom>
              <a:grpFill/>
              <a:ln w="5978" cap="flat">
                <a:noFill/>
                <a:prstDash val="solid"/>
                <a:miter/>
              </a:ln>
            </p:spPr>
            <p:txBody>
              <a:bodyPr rtlCol="0" anchor="ctr"/>
              <a:lstStyle/>
              <a:p>
                <a:endParaRPr lang="en-GB"/>
              </a:p>
            </p:txBody>
          </p:sp>
        </p:grpSp>
        <p:grpSp>
          <p:nvGrpSpPr>
            <p:cNvPr id="1201" name="Graphic 3">
              <a:extLst>
                <a:ext uri="{FF2B5EF4-FFF2-40B4-BE49-F238E27FC236}">
                  <a16:creationId xmlns:a16="http://schemas.microsoft.com/office/drawing/2014/main" id="{F8822AE8-220E-4212-AC72-67EB4F86B231}"/>
                </a:ext>
              </a:extLst>
            </p:cNvPr>
            <p:cNvGrpSpPr/>
            <p:nvPr/>
          </p:nvGrpSpPr>
          <p:grpSpPr>
            <a:xfrm>
              <a:off x="4428149" y="4439981"/>
              <a:ext cx="300498" cy="236496"/>
              <a:chOff x="4428149" y="4439981"/>
              <a:chExt cx="300498" cy="236496"/>
            </a:xfrm>
            <a:grpFill/>
          </p:grpSpPr>
          <p:sp>
            <p:nvSpPr>
              <p:cNvPr id="1799" name="Vrije vorm: vorm 1798">
                <a:extLst>
                  <a:ext uri="{FF2B5EF4-FFF2-40B4-BE49-F238E27FC236}">
                    <a16:creationId xmlns:a16="http://schemas.microsoft.com/office/drawing/2014/main" id="{43E193DF-9D72-4031-A306-BD43A61BBD4F}"/>
                  </a:ext>
                </a:extLst>
              </p:cNvPr>
              <p:cNvSpPr/>
              <p:nvPr/>
            </p:nvSpPr>
            <p:spPr>
              <a:xfrm>
                <a:off x="4436041" y="4447723"/>
                <a:ext cx="284742" cy="221047"/>
              </a:xfrm>
              <a:custGeom>
                <a:avLst/>
                <a:gdLst>
                  <a:gd name="connsiteX0" fmla="*/ 284742 w 284742"/>
                  <a:gd name="connsiteY0" fmla="*/ 2452 h 221047"/>
                  <a:gd name="connsiteX1" fmla="*/ 1854 w 284742"/>
                  <a:gd name="connsiteY1" fmla="*/ 221047 h 221047"/>
                  <a:gd name="connsiteX2" fmla="*/ 0 w 284742"/>
                  <a:gd name="connsiteY2" fmla="*/ 218595 h 221047"/>
                  <a:gd name="connsiteX3" fmla="*/ 282888 w 284742"/>
                  <a:gd name="connsiteY3" fmla="*/ 0 h 221047"/>
                </a:gdLst>
                <a:ahLst/>
                <a:cxnLst>
                  <a:cxn ang="0">
                    <a:pos x="connsiteX0" y="connsiteY0"/>
                  </a:cxn>
                  <a:cxn ang="0">
                    <a:pos x="connsiteX1" y="connsiteY1"/>
                  </a:cxn>
                  <a:cxn ang="0">
                    <a:pos x="connsiteX2" y="connsiteY2"/>
                  </a:cxn>
                  <a:cxn ang="0">
                    <a:pos x="connsiteX3" y="connsiteY3"/>
                  </a:cxn>
                </a:cxnLst>
                <a:rect l="l" t="t" r="r" b="b"/>
                <a:pathLst>
                  <a:path w="284742" h="221047">
                    <a:moveTo>
                      <a:pt x="284742" y="2452"/>
                    </a:moveTo>
                    <a:lnTo>
                      <a:pt x="1854" y="221047"/>
                    </a:lnTo>
                    <a:lnTo>
                      <a:pt x="0" y="218595"/>
                    </a:lnTo>
                    <a:lnTo>
                      <a:pt x="282888" y="0"/>
                    </a:lnTo>
                    <a:close/>
                  </a:path>
                </a:pathLst>
              </a:custGeom>
              <a:grpFill/>
              <a:ln w="5978" cap="flat">
                <a:noFill/>
                <a:prstDash val="solid"/>
                <a:miter/>
              </a:ln>
            </p:spPr>
            <p:txBody>
              <a:bodyPr rtlCol="0" anchor="ctr"/>
              <a:lstStyle/>
              <a:p>
                <a:endParaRPr lang="en-GB"/>
              </a:p>
            </p:txBody>
          </p:sp>
          <p:sp>
            <p:nvSpPr>
              <p:cNvPr id="1800" name="Vrije vorm: vorm 1799">
                <a:extLst>
                  <a:ext uri="{FF2B5EF4-FFF2-40B4-BE49-F238E27FC236}">
                    <a16:creationId xmlns:a16="http://schemas.microsoft.com/office/drawing/2014/main" id="{783EEF08-597A-4603-B40A-E54606555096}"/>
                  </a:ext>
                </a:extLst>
              </p:cNvPr>
              <p:cNvSpPr/>
              <p:nvPr/>
            </p:nvSpPr>
            <p:spPr>
              <a:xfrm>
                <a:off x="4428149" y="4658013"/>
                <a:ext cx="18328" cy="18465"/>
              </a:xfrm>
              <a:custGeom>
                <a:avLst/>
                <a:gdLst>
                  <a:gd name="connsiteX0" fmla="*/ 14769 w 18328"/>
                  <a:gd name="connsiteY0" fmla="*/ 16559 h 18465"/>
                  <a:gd name="connsiteX1" fmla="*/ 1910 w 18328"/>
                  <a:gd name="connsiteY1" fmla="*/ 14824 h 18465"/>
                  <a:gd name="connsiteX2" fmla="*/ 3585 w 18328"/>
                  <a:gd name="connsiteY2" fmla="*/ 1906 h 18465"/>
                  <a:gd name="connsiteX3" fmla="*/ 16444 w 18328"/>
                  <a:gd name="connsiteY3" fmla="*/ 3641 h 18465"/>
                  <a:gd name="connsiteX4" fmla="*/ 14769 w 18328"/>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65">
                    <a:moveTo>
                      <a:pt x="14769" y="16559"/>
                    </a:moveTo>
                    <a:cubicBezTo>
                      <a:pt x="10762" y="19669"/>
                      <a:pt x="5020" y="18891"/>
                      <a:pt x="1910" y="14824"/>
                    </a:cubicBezTo>
                    <a:cubicBezTo>
                      <a:pt x="-1200" y="10817"/>
                      <a:pt x="-422" y="5016"/>
                      <a:pt x="3585" y="1906"/>
                    </a:cubicBezTo>
                    <a:cubicBezTo>
                      <a:pt x="7592" y="-1204"/>
                      <a:pt x="13333" y="-426"/>
                      <a:pt x="16444" y="3641"/>
                    </a:cubicBezTo>
                    <a:cubicBezTo>
                      <a:pt x="19494" y="7707"/>
                      <a:pt x="18776" y="13509"/>
                      <a:pt x="14769" y="16559"/>
                    </a:cubicBezTo>
                    <a:close/>
                  </a:path>
                </a:pathLst>
              </a:custGeom>
              <a:grpFill/>
              <a:ln w="5978" cap="flat">
                <a:noFill/>
                <a:prstDash val="solid"/>
                <a:miter/>
              </a:ln>
            </p:spPr>
            <p:txBody>
              <a:bodyPr rtlCol="0" anchor="ctr"/>
              <a:lstStyle/>
              <a:p>
                <a:endParaRPr lang="en-GB"/>
              </a:p>
            </p:txBody>
          </p:sp>
          <p:sp>
            <p:nvSpPr>
              <p:cNvPr id="1801" name="Vrije vorm: vorm 1800">
                <a:extLst>
                  <a:ext uri="{FF2B5EF4-FFF2-40B4-BE49-F238E27FC236}">
                    <a16:creationId xmlns:a16="http://schemas.microsoft.com/office/drawing/2014/main" id="{BD07302A-D7CE-4D16-B509-5DE4807BB9D7}"/>
                  </a:ext>
                </a:extLst>
              </p:cNvPr>
              <p:cNvSpPr/>
              <p:nvPr/>
            </p:nvSpPr>
            <p:spPr>
              <a:xfrm>
                <a:off x="4710345" y="4439981"/>
                <a:ext cx="18303" cy="18439"/>
              </a:xfrm>
              <a:custGeom>
                <a:avLst/>
                <a:gdLst>
                  <a:gd name="connsiteX0" fmla="*/ 14743 w 18303"/>
                  <a:gd name="connsiteY0" fmla="*/ 16534 h 18439"/>
                  <a:gd name="connsiteX1" fmla="*/ 16418 w 18303"/>
                  <a:gd name="connsiteY1" fmla="*/ 3615 h 18439"/>
                  <a:gd name="connsiteX2" fmla="*/ 3559 w 18303"/>
                  <a:gd name="connsiteY2" fmla="*/ 1881 h 18439"/>
                  <a:gd name="connsiteX3" fmla="*/ 1885 w 18303"/>
                  <a:gd name="connsiteY3" fmla="*/ 14799 h 18439"/>
                  <a:gd name="connsiteX4" fmla="*/ 14743 w 18303"/>
                  <a:gd name="connsiteY4" fmla="*/ 165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39">
                    <a:moveTo>
                      <a:pt x="14743" y="16534"/>
                    </a:moveTo>
                    <a:cubicBezTo>
                      <a:pt x="18751" y="13423"/>
                      <a:pt x="19468" y="7682"/>
                      <a:pt x="16418" y="3615"/>
                    </a:cubicBezTo>
                    <a:cubicBezTo>
                      <a:pt x="13308" y="-452"/>
                      <a:pt x="7567" y="-1170"/>
                      <a:pt x="3559" y="1881"/>
                    </a:cubicBezTo>
                    <a:cubicBezTo>
                      <a:pt x="-448" y="4991"/>
                      <a:pt x="-1165" y="10732"/>
                      <a:pt x="1885" y="14799"/>
                    </a:cubicBezTo>
                    <a:cubicBezTo>
                      <a:pt x="4995" y="18866"/>
                      <a:pt x="10736" y="19644"/>
                      <a:pt x="14743" y="16534"/>
                    </a:cubicBezTo>
                    <a:close/>
                  </a:path>
                </a:pathLst>
              </a:custGeom>
              <a:grpFill/>
              <a:ln w="5978" cap="flat">
                <a:noFill/>
                <a:prstDash val="solid"/>
                <a:miter/>
              </a:ln>
            </p:spPr>
            <p:txBody>
              <a:bodyPr rtlCol="0" anchor="ctr"/>
              <a:lstStyle/>
              <a:p>
                <a:endParaRPr lang="en-GB"/>
              </a:p>
            </p:txBody>
          </p:sp>
        </p:grpSp>
        <p:grpSp>
          <p:nvGrpSpPr>
            <p:cNvPr id="1202" name="Graphic 3">
              <a:extLst>
                <a:ext uri="{FF2B5EF4-FFF2-40B4-BE49-F238E27FC236}">
                  <a16:creationId xmlns:a16="http://schemas.microsoft.com/office/drawing/2014/main" id="{9A554C96-2677-40B9-A594-F77CEECF3792}"/>
                </a:ext>
              </a:extLst>
            </p:cNvPr>
            <p:cNvGrpSpPr/>
            <p:nvPr/>
          </p:nvGrpSpPr>
          <p:grpSpPr>
            <a:xfrm>
              <a:off x="4397341" y="4084331"/>
              <a:ext cx="45941" cy="29902"/>
              <a:chOff x="4397341" y="4084331"/>
              <a:chExt cx="45941" cy="29902"/>
            </a:xfrm>
            <a:grpFill/>
          </p:grpSpPr>
          <p:sp>
            <p:nvSpPr>
              <p:cNvPr id="1796" name="Vrije vorm: vorm 1795">
                <a:extLst>
                  <a:ext uri="{FF2B5EF4-FFF2-40B4-BE49-F238E27FC236}">
                    <a16:creationId xmlns:a16="http://schemas.microsoft.com/office/drawing/2014/main" id="{F0914659-599E-44D1-966B-2252F0D14072}"/>
                  </a:ext>
                </a:extLst>
              </p:cNvPr>
              <p:cNvSpPr/>
              <p:nvPr/>
            </p:nvSpPr>
            <p:spPr>
              <a:xfrm>
                <a:off x="4405677" y="4091841"/>
                <a:ext cx="29600" cy="14676"/>
              </a:xfrm>
              <a:custGeom>
                <a:avLst/>
                <a:gdLst>
                  <a:gd name="connsiteX0" fmla="*/ 0 w 29600"/>
                  <a:gd name="connsiteY0" fmla="*/ 11861 h 14676"/>
                  <a:gd name="connsiteX1" fmla="*/ 28426 w 29600"/>
                  <a:gd name="connsiteY1" fmla="*/ 0 h 14676"/>
                  <a:gd name="connsiteX2" fmla="*/ 29601 w 29600"/>
                  <a:gd name="connsiteY2" fmla="*/ 2815 h 14676"/>
                  <a:gd name="connsiteX3" fmla="*/ 1175 w 29600"/>
                  <a:gd name="connsiteY3" fmla="*/ 14676 h 14676"/>
                </a:gdLst>
                <a:ahLst/>
                <a:cxnLst>
                  <a:cxn ang="0">
                    <a:pos x="connsiteX0" y="connsiteY0"/>
                  </a:cxn>
                  <a:cxn ang="0">
                    <a:pos x="connsiteX1" y="connsiteY1"/>
                  </a:cxn>
                  <a:cxn ang="0">
                    <a:pos x="connsiteX2" y="connsiteY2"/>
                  </a:cxn>
                  <a:cxn ang="0">
                    <a:pos x="connsiteX3" y="connsiteY3"/>
                  </a:cxn>
                </a:cxnLst>
                <a:rect l="l" t="t" r="r" b="b"/>
                <a:pathLst>
                  <a:path w="29600" h="14676">
                    <a:moveTo>
                      <a:pt x="0" y="11861"/>
                    </a:moveTo>
                    <a:lnTo>
                      <a:pt x="28426" y="0"/>
                    </a:lnTo>
                    <a:lnTo>
                      <a:pt x="29601" y="2815"/>
                    </a:lnTo>
                    <a:lnTo>
                      <a:pt x="1175" y="14676"/>
                    </a:lnTo>
                    <a:close/>
                  </a:path>
                </a:pathLst>
              </a:custGeom>
              <a:grpFill/>
              <a:ln w="5978" cap="flat">
                <a:noFill/>
                <a:prstDash val="solid"/>
                <a:miter/>
              </a:ln>
            </p:spPr>
            <p:txBody>
              <a:bodyPr rtlCol="0" anchor="ctr"/>
              <a:lstStyle/>
              <a:p>
                <a:endParaRPr lang="en-GB"/>
              </a:p>
            </p:txBody>
          </p:sp>
          <p:sp>
            <p:nvSpPr>
              <p:cNvPr id="1797" name="Vrije vorm: vorm 1796">
                <a:extLst>
                  <a:ext uri="{FF2B5EF4-FFF2-40B4-BE49-F238E27FC236}">
                    <a16:creationId xmlns:a16="http://schemas.microsoft.com/office/drawing/2014/main" id="{FF6E9AFE-1F03-4F6B-9D34-A8E97A75E625}"/>
                  </a:ext>
                </a:extLst>
              </p:cNvPr>
              <p:cNvSpPr/>
              <p:nvPr/>
            </p:nvSpPr>
            <p:spPr>
              <a:xfrm>
                <a:off x="4397341" y="4095822"/>
                <a:ext cx="18370" cy="18411"/>
              </a:xfrm>
              <a:custGeom>
                <a:avLst/>
                <a:gdLst>
                  <a:gd name="connsiteX0" fmla="*/ 12744 w 18370"/>
                  <a:gd name="connsiteY0" fmla="*/ 17699 h 18411"/>
                  <a:gd name="connsiteX1" fmla="*/ 722 w 18370"/>
                  <a:gd name="connsiteY1" fmla="*/ 12735 h 18411"/>
                  <a:gd name="connsiteX2" fmla="*/ 5626 w 18370"/>
                  <a:gd name="connsiteY2" fmla="*/ 713 h 18411"/>
                  <a:gd name="connsiteX3" fmla="*/ 17648 w 18370"/>
                  <a:gd name="connsiteY3" fmla="*/ 5677 h 18411"/>
                  <a:gd name="connsiteX4" fmla="*/ 12744 w 18370"/>
                  <a:gd name="connsiteY4" fmla="*/ 17699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1">
                    <a:moveTo>
                      <a:pt x="12744" y="17699"/>
                    </a:moveTo>
                    <a:cubicBezTo>
                      <a:pt x="8079" y="19672"/>
                      <a:pt x="2696" y="17399"/>
                      <a:pt x="722" y="12735"/>
                    </a:cubicBezTo>
                    <a:cubicBezTo>
                      <a:pt x="-1251" y="8010"/>
                      <a:pt x="962" y="2627"/>
                      <a:pt x="5626" y="713"/>
                    </a:cubicBezTo>
                    <a:cubicBezTo>
                      <a:pt x="10292" y="-1260"/>
                      <a:pt x="15674" y="1012"/>
                      <a:pt x="17648" y="5677"/>
                    </a:cubicBezTo>
                    <a:cubicBezTo>
                      <a:pt x="19622" y="10402"/>
                      <a:pt x="17409" y="15785"/>
                      <a:pt x="12744" y="17699"/>
                    </a:cubicBezTo>
                    <a:close/>
                  </a:path>
                </a:pathLst>
              </a:custGeom>
              <a:grpFill/>
              <a:ln w="5978" cap="flat">
                <a:noFill/>
                <a:prstDash val="solid"/>
                <a:miter/>
              </a:ln>
            </p:spPr>
            <p:txBody>
              <a:bodyPr rtlCol="0" anchor="ctr"/>
              <a:lstStyle/>
              <a:p>
                <a:endParaRPr lang="en-GB"/>
              </a:p>
            </p:txBody>
          </p:sp>
          <p:sp>
            <p:nvSpPr>
              <p:cNvPr id="1798" name="Vrije vorm: vorm 1797">
                <a:extLst>
                  <a:ext uri="{FF2B5EF4-FFF2-40B4-BE49-F238E27FC236}">
                    <a16:creationId xmlns:a16="http://schemas.microsoft.com/office/drawing/2014/main" id="{4C63A9C0-50E4-478F-8E90-E099E0E744E8}"/>
                  </a:ext>
                </a:extLst>
              </p:cNvPr>
              <p:cNvSpPr/>
              <p:nvPr/>
            </p:nvSpPr>
            <p:spPr>
              <a:xfrm>
                <a:off x="4424912" y="4084331"/>
                <a:ext cx="18370" cy="18419"/>
              </a:xfrm>
              <a:custGeom>
                <a:avLst/>
                <a:gdLst>
                  <a:gd name="connsiteX0" fmla="*/ 12743 w 18370"/>
                  <a:gd name="connsiteY0" fmla="*/ 17707 h 18419"/>
                  <a:gd name="connsiteX1" fmla="*/ 17648 w 18370"/>
                  <a:gd name="connsiteY1" fmla="*/ 5685 h 18419"/>
                  <a:gd name="connsiteX2" fmla="*/ 5626 w 18370"/>
                  <a:gd name="connsiteY2" fmla="*/ 722 h 18419"/>
                  <a:gd name="connsiteX3" fmla="*/ 722 w 18370"/>
                  <a:gd name="connsiteY3" fmla="*/ 12743 h 18419"/>
                  <a:gd name="connsiteX4" fmla="*/ 12743 w 18370"/>
                  <a:gd name="connsiteY4" fmla="*/ 1770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9">
                    <a:moveTo>
                      <a:pt x="12743" y="17707"/>
                    </a:moveTo>
                    <a:cubicBezTo>
                      <a:pt x="17409" y="15733"/>
                      <a:pt x="19621" y="10350"/>
                      <a:pt x="17648" y="5685"/>
                    </a:cubicBezTo>
                    <a:cubicBezTo>
                      <a:pt x="15674" y="961"/>
                      <a:pt x="10291" y="-1252"/>
                      <a:pt x="5626" y="722"/>
                    </a:cubicBezTo>
                    <a:cubicBezTo>
                      <a:pt x="962" y="2695"/>
                      <a:pt x="-1251" y="8078"/>
                      <a:pt x="722" y="12743"/>
                    </a:cubicBezTo>
                    <a:cubicBezTo>
                      <a:pt x="2696" y="17408"/>
                      <a:pt x="8079" y="19680"/>
                      <a:pt x="12743" y="17707"/>
                    </a:cubicBezTo>
                    <a:close/>
                  </a:path>
                </a:pathLst>
              </a:custGeom>
              <a:grpFill/>
              <a:ln w="5978" cap="flat">
                <a:noFill/>
                <a:prstDash val="solid"/>
                <a:miter/>
              </a:ln>
            </p:spPr>
            <p:txBody>
              <a:bodyPr rtlCol="0" anchor="ctr"/>
              <a:lstStyle/>
              <a:p>
                <a:endParaRPr lang="en-GB"/>
              </a:p>
            </p:txBody>
          </p:sp>
        </p:grpSp>
        <p:grpSp>
          <p:nvGrpSpPr>
            <p:cNvPr id="1203" name="Graphic 3">
              <a:extLst>
                <a:ext uri="{FF2B5EF4-FFF2-40B4-BE49-F238E27FC236}">
                  <a16:creationId xmlns:a16="http://schemas.microsoft.com/office/drawing/2014/main" id="{33DE314B-CEB5-461E-9DD6-B07B6E788694}"/>
                </a:ext>
              </a:extLst>
            </p:cNvPr>
            <p:cNvGrpSpPr/>
            <p:nvPr/>
          </p:nvGrpSpPr>
          <p:grpSpPr>
            <a:xfrm>
              <a:off x="4432610" y="4417845"/>
              <a:ext cx="272857" cy="207616"/>
              <a:chOff x="4432610" y="4417845"/>
              <a:chExt cx="272857" cy="207616"/>
            </a:xfrm>
            <a:grpFill/>
          </p:grpSpPr>
          <p:sp>
            <p:nvSpPr>
              <p:cNvPr id="1793" name="Vrije vorm: vorm 1792">
                <a:extLst>
                  <a:ext uri="{FF2B5EF4-FFF2-40B4-BE49-F238E27FC236}">
                    <a16:creationId xmlns:a16="http://schemas.microsoft.com/office/drawing/2014/main" id="{935FF8FE-8151-40F1-86BB-1B999C746CF4}"/>
                  </a:ext>
                </a:extLst>
              </p:cNvPr>
              <p:cNvSpPr/>
              <p:nvPr/>
            </p:nvSpPr>
            <p:spPr>
              <a:xfrm>
                <a:off x="4440466" y="4425535"/>
                <a:ext cx="257111" cy="192220"/>
              </a:xfrm>
              <a:custGeom>
                <a:avLst/>
                <a:gdLst>
                  <a:gd name="connsiteX0" fmla="*/ 257111 w 257111"/>
                  <a:gd name="connsiteY0" fmla="*/ 2452 h 192220"/>
                  <a:gd name="connsiteX1" fmla="*/ 1794 w 257111"/>
                  <a:gd name="connsiteY1" fmla="*/ 192220 h 192220"/>
                  <a:gd name="connsiteX2" fmla="*/ 0 w 257111"/>
                  <a:gd name="connsiteY2" fmla="*/ 189768 h 192220"/>
                  <a:gd name="connsiteX3" fmla="*/ 255317 w 257111"/>
                  <a:gd name="connsiteY3" fmla="*/ 0 h 192220"/>
                </a:gdLst>
                <a:ahLst/>
                <a:cxnLst>
                  <a:cxn ang="0">
                    <a:pos x="connsiteX0" y="connsiteY0"/>
                  </a:cxn>
                  <a:cxn ang="0">
                    <a:pos x="connsiteX1" y="connsiteY1"/>
                  </a:cxn>
                  <a:cxn ang="0">
                    <a:pos x="connsiteX2" y="connsiteY2"/>
                  </a:cxn>
                  <a:cxn ang="0">
                    <a:pos x="connsiteX3" y="connsiteY3"/>
                  </a:cxn>
                </a:cxnLst>
                <a:rect l="l" t="t" r="r" b="b"/>
                <a:pathLst>
                  <a:path w="257111" h="192220">
                    <a:moveTo>
                      <a:pt x="257111" y="2452"/>
                    </a:moveTo>
                    <a:lnTo>
                      <a:pt x="1794" y="192220"/>
                    </a:lnTo>
                    <a:lnTo>
                      <a:pt x="0" y="189768"/>
                    </a:lnTo>
                    <a:lnTo>
                      <a:pt x="255317" y="0"/>
                    </a:lnTo>
                    <a:close/>
                  </a:path>
                </a:pathLst>
              </a:custGeom>
              <a:grpFill/>
              <a:ln w="5978" cap="flat">
                <a:noFill/>
                <a:prstDash val="solid"/>
                <a:miter/>
              </a:ln>
            </p:spPr>
            <p:txBody>
              <a:bodyPr rtlCol="0" anchor="ctr"/>
              <a:lstStyle/>
              <a:p>
                <a:endParaRPr lang="en-GB"/>
              </a:p>
            </p:txBody>
          </p:sp>
          <p:sp>
            <p:nvSpPr>
              <p:cNvPr id="1794" name="Vrije vorm: vorm 1793">
                <a:extLst>
                  <a:ext uri="{FF2B5EF4-FFF2-40B4-BE49-F238E27FC236}">
                    <a16:creationId xmlns:a16="http://schemas.microsoft.com/office/drawing/2014/main" id="{DC680C93-34DE-4ED3-AD0B-FD0C663AE3AE}"/>
                  </a:ext>
                </a:extLst>
              </p:cNvPr>
              <p:cNvSpPr/>
              <p:nvPr/>
            </p:nvSpPr>
            <p:spPr>
              <a:xfrm>
                <a:off x="4432610" y="4607058"/>
                <a:ext cx="18300" cy="18403"/>
              </a:xfrm>
              <a:custGeom>
                <a:avLst/>
                <a:gdLst>
                  <a:gd name="connsiteX0" fmla="*/ 14614 w 18300"/>
                  <a:gd name="connsiteY0" fmla="*/ 16618 h 18403"/>
                  <a:gd name="connsiteX1" fmla="*/ 1815 w 18300"/>
                  <a:gd name="connsiteY1" fmla="*/ 14644 h 18403"/>
                  <a:gd name="connsiteX2" fmla="*/ 3729 w 18300"/>
                  <a:gd name="connsiteY2" fmla="*/ 1786 h 18403"/>
                  <a:gd name="connsiteX3" fmla="*/ 16528 w 18300"/>
                  <a:gd name="connsiteY3" fmla="*/ 3759 h 18403"/>
                  <a:gd name="connsiteX4" fmla="*/ 14614 w 18300"/>
                  <a:gd name="connsiteY4" fmla="*/ 16618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03">
                    <a:moveTo>
                      <a:pt x="14614" y="16618"/>
                    </a:moveTo>
                    <a:cubicBezTo>
                      <a:pt x="10547" y="19608"/>
                      <a:pt x="4806" y="18771"/>
                      <a:pt x="1815" y="14644"/>
                    </a:cubicBezTo>
                    <a:cubicBezTo>
                      <a:pt x="-1235" y="10577"/>
                      <a:pt x="-338" y="4776"/>
                      <a:pt x="3729" y="1786"/>
                    </a:cubicBezTo>
                    <a:cubicBezTo>
                      <a:pt x="7796" y="-1205"/>
                      <a:pt x="13538" y="-367"/>
                      <a:pt x="16528" y="3759"/>
                    </a:cubicBezTo>
                    <a:cubicBezTo>
                      <a:pt x="19518" y="7826"/>
                      <a:pt x="18621" y="13568"/>
                      <a:pt x="14614" y="16618"/>
                    </a:cubicBezTo>
                    <a:close/>
                  </a:path>
                </a:pathLst>
              </a:custGeom>
              <a:grpFill/>
              <a:ln w="5978" cap="flat">
                <a:noFill/>
                <a:prstDash val="solid"/>
                <a:miter/>
              </a:ln>
            </p:spPr>
            <p:txBody>
              <a:bodyPr rtlCol="0" anchor="ctr"/>
              <a:lstStyle/>
              <a:p>
                <a:endParaRPr lang="en-GB"/>
              </a:p>
            </p:txBody>
          </p:sp>
          <p:sp>
            <p:nvSpPr>
              <p:cNvPr id="1795" name="Vrije vorm: vorm 1794">
                <a:extLst>
                  <a:ext uri="{FF2B5EF4-FFF2-40B4-BE49-F238E27FC236}">
                    <a16:creationId xmlns:a16="http://schemas.microsoft.com/office/drawing/2014/main" id="{131FDC44-A1FB-43F2-AC03-CC288B1D0CB9}"/>
                  </a:ext>
                </a:extLst>
              </p:cNvPr>
              <p:cNvSpPr/>
              <p:nvPr/>
            </p:nvSpPr>
            <p:spPr>
              <a:xfrm>
                <a:off x="4687176" y="4417845"/>
                <a:ext cx="18291" cy="18386"/>
              </a:xfrm>
              <a:custGeom>
                <a:avLst/>
                <a:gdLst>
                  <a:gd name="connsiteX0" fmla="*/ 14588 w 18291"/>
                  <a:gd name="connsiteY0" fmla="*/ 16601 h 18386"/>
                  <a:gd name="connsiteX1" fmla="*/ 16502 w 18291"/>
                  <a:gd name="connsiteY1" fmla="*/ 3742 h 18386"/>
                  <a:gd name="connsiteX2" fmla="*/ 3703 w 18291"/>
                  <a:gd name="connsiteY2" fmla="*/ 1768 h 18386"/>
                  <a:gd name="connsiteX3" fmla="*/ 1790 w 18291"/>
                  <a:gd name="connsiteY3" fmla="*/ 14627 h 18386"/>
                  <a:gd name="connsiteX4" fmla="*/ 14588 w 18291"/>
                  <a:gd name="connsiteY4" fmla="*/ 16601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386">
                    <a:moveTo>
                      <a:pt x="14588" y="16601"/>
                    </a:moveTo>
                    <a:cubicBezTo>
                      <a:pt x="18655" y="13550"/>
                      <a:pt x="19493" y="7809"/>
                      <a:pt x="16502" y="3742"/>
                    </a:cubicBezTo>
                    <a:cubicBezTo>
                      <a:pt x="13512" y="-325"/>
                      <a:pt x="7710" y="-1222"/>
                      <a:pt x="3703" y="1768"/>
                    </a:cubicBezTo>
                    <a:cubicBezTo>
                      <a:pt x="-363" y="4819"/>
                      <a:pt x="-1201" y="10560"/>
                      <a:pt x="1790" y="14627"/>
                    </a:cubicBezTo>
                    <a:cubicBezTo>
                      <a:pt x="4780" y="18754"/>
                      <a:pt x="10522" y="19591"/>
                      <a:pt x="14588" y="16601"/>
                    </a:cubicBezTo>
                    <a:close/>
                  </a:path>
                </a:pathLst>
              </a:custGeom>
              <a:grpFill/>
              <a:ln w="5978" cap="flat">
                <a:noFill/>
                <a:prstDash val="solid"/>
                <a:miter/>
              </a:ln>
            </p:spPr>
            <p:txBody>
              <a:bodyPr rtlCol="0" anchor="ctr"/>
              <a:lstStyle/>
              <a:p>
                <a:endParaRPr lang="en-GB"/>
              </a:p>
            </p:txBody>
          </p:sp>
        </p:grpSp>
        <p:grpSp>
          <p:nvGrpSpPr>
            <p:cNvPr id="1204" name="Graphic 3">
              <a:extLst>
                <a:ext uri="{FF2B5EF4-FFF2-40B4-BE49-F238E27FC236}">
                  <a16:creationId xmlns:a16="http://schemas.microsoft.com/office/drawing/2014/main" id="{69CC8B86-B7E3-4287-9D54-CA8092DEBAF4}"/>
                </a:ext>
              </a:extLst>
            </p:cNvPr>
            <p:cNvGrpSpPr/>
            <p:nvPr/>
          </p:nvGrpSpPr>
          <p:grpSpPr>
            <a:xfrm>
              <a:off x="4388506" y="4051342"/>
              <a:ext cx="48538" cy="30340"/>
              <a:chOff x="4388506" y="4051342"/>
              <a:chExt cx="48538" cy="30340"/>
            </a:xfrm>
            <a:grpFill/>
          </p:grpSpPr>
          <p:sp>
            <p:nvSpPr>
              <p:cNvPr id="1790" name="Vrije vorm: vorm 1789">
                <a:extLst>
                  <a:ext uri="{FF2B5EF4-FFF2-40B4-BE49-F238E27FC236}">
                    <a16:creationId xmlns:a16="http://schemas.microsoft.com/office/drawing/2014/main" id="{107BAFA0-6F18-4965-B6EC-DE700456382E}"/>
                  </a:ext>
                </a:extLst>
              </p:cNvPr>
              <p:cNvSpPr/>
              <p:nvPr/>
            </p:nvSpPr>
            <p:spPr>
              <a:xfrm>
                <a:off x="4396687" y="4058976"/>
                <a:ext cx="32176" cy="15071"/>
              </a:xfrm>
              <a:custGeom>
                <a:avLst/>
                <a:gdLst>
                  <a:gd name="connsiteX0" fmla="*/ 32176 w 32176"/>
                  <a:gd name="connsiteY0" fmla="*/ 2811 h 15071"/>
                  <a:gd name="connsiteX1" fmla="*/ 1136 w 32176"/>
                  <a:gd name="connsiteY1" fmla="*/ 15071 h 15071"/>
                  <a:gd name="connsiteX2" fmla="*/ 0 w 32176"/>
                  <a:gd name="connsiteY2" fmla="*/ 12201 h 15071"/>
                  <a:gd name="connsiteX3" fmla="*/ 31040 w 32176"/>
                  <a:gd name="connsiteY3" fmla="*/ 0 h 15071"/>
                </a:gdLst>
                <a:ahLst/>
                <a:cxnLst>
                  <a:cxn ang="0">
                    <a:pos x="connsiteX0" y="connsiteY0"/>
                  </a:cxn>
                  <a:cxn ang="0">
                    <a:pos x="connsiteX1" y="connsiteY1"/>
                  </a:cxn>
                  <a:cxn ang="0">
                    <a:pos x="connsiteX2" y="connsiteY2"/>
                  </a:cxn>
                  <a:cxn ang="0">
                    <a:pos x="connsiteX3" y="connsiteY3"/>
                  </a:cxn>
                </a:cxnLst>
                <a:rect l="l" t="t" r="r" b="b"/>
                <a:pathLst>
                  <a:path w="32176" h="15071">
                    <a:moveTo>
                      <a:pt x="32176" y="2811"/>
                    </a:moveTo>
                    <a:lnTo>
                      <a:pt x="1136" y="15071"/>
                    </a:lnTo>
                    <a:lnTo>
                      <a:pt x="0" y="12201"/>
                    </a:lnTo>
                    <a:lnTo>
                      <a:pt x="31040" y="0"/>
                    </a:lnTo>
                    <a:close/>
                  </a:path>
                </a:pathLst>
              </a:custGeom>
              <a:grpFill/>
              <a:ln w="5978" cap="flat">
                <a:noFill/>
                <a:prstDash val="solid"/>
                <a:miter/>
              </a:ln>
            </p:spPr>
            <p:txBody>
              <a:bodyPr rtlCol="0" anchor="ctr"/>
              <a:lstStyle/>
              <a:p>
                <a:endParaRPr lang="en-GB"/>
              </a:p>
            </p:txBody>
          </p:sp>
          <p:sp>
            <p:nvSpPr>
              <p:cNvPr id="1791" name="Vrije vorm: vorm 1790">
                <a:extLst>
                  <a:ext uri="{FF2B5EF4-FFF2-40B4-BE49-F238E27FC236}">
                    <a16:creationId xmlns:a16="http://schemas.microsoft.com/office/drawing/2014/main" id="{5F4AC2C2-169F-4061-BCBC-0A67A8CE915D}"/>
                  </a:ext>
                </a:extLst>
              </p:cNvPr>
              <p:cNvSpPr/>
              <p:nvPr/>
            </p:nvSpPr>
            <p:spPr>
              <a:xfrm>
                <a:off x="4388506" y="4063244"/>
                <a:ext cx="18335" cy="18438"/>
              </a:xfrm>
              <a:custGeom>
                <a:avLst/>
                <a:gdLst>
                  <a:gd name="connsiteX0" fmla="*/ 12547 w 18335"/>
                  <a:gd name="connsiteY0" fmla="*/ 17801 h 18438"/>
                  <a:gd name="connsiteX1" fmla="*/ 645 w 18335"/>
                  <a:gd name="connsiteY1" fmla="*/ 12598 h 18438"/>
                  <a:gd name="connsiteX2" fmla="*/ 5788 w 18335"/>
                  <a:gd name="connsiteY2" fmla="*/ 637 h 18438"/>
                  <a:gd name="connsiteX3" fmla="*/ 17690 w 18335"/>
                  <a:gd name="connsiteY3" fmla="*/ 5840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7822" y="19656"/>
                      <a:pt x="2499" y="17323"/>
                      <a:pt x="645" y="12598"/>
                    </a:cubicBezTo>
                    <a:cubicBezTo>
                      <a:pt x="-1209" y="7874"/>
                      <a:pt x="1064" y="2491"/>
                      <a:pt x="5788" y="637"/>
                    </a:cubicBezTo>
                    <a:cubicBezTo>
                      <a:pt x="10513" y="-1217"/>
                      <a:pt x="15836" y="1115"/>
                      <a:pt x="17690" y="5840"/>
                    </a:cubicBezTo>
                    <a:cubicBezTo>
                      <a:pt x="19544" y="10565"/>
                      <a:pt x="17272" y="15947"/>
                      <a:pt x="12547" y="17801"/>
                    </a:cubicBezTo>
                    <a:close/>
                  </a:path>
                </a:pathLst>
              </a:custGeom>
              <a:grpFill/>
              <a:ln w="5978" cap="flat">
                <a:noFill/>
                <a:prstDash val="solid"/>
                <a:miter/>
              </a:ln>
            </p:spPr>
            <p:txBody>
              <a:bodyPr rtlCol="0" anchor="ctr"/>
              <a:lstStyle/>
              <a:p>
                <a:endParaRPr lang="en-GB"/>
              </a:p>
            </p:txBody>
          </p:sp>
          <p:sp>
            <p:nvSpPr>
              <p:cNvPr id="1792" name="Vrije vorm: vorm 1791">
                <a:extLst>
                  <a:ext uri="{FF2B5EF4-FFF2-40B4-BE49-F238E27FC236}">
                    <a16:creationId xmlns:a16="http://schemas.microsoft.com/office/drawing/2014/main" id="{F52CD520-8DD2-468D-BF9C-63D75F95DFFC}"/>
                  </a:ext>
                </a:extLst>
              </p:cNvPr>
              <p:cNvSpPr/>
              <p:nvPr/>
            </p:nvSpPr>
            <p:spPr>
              <a:xfrm>
                <a:off x="4418709" y="4051342"/>
                <a:ext cx="18335" cy="18438"/>
              </a:xfrm>
              <a:custGeom>
                <a:avLst/>
                <a:gdLst>
                  <a:gd name="connsiteX0" fmla="*/ 12547 w 18335"/>
                  <a:gd name="connsiteY0" fmla="*/ 17801 h 18438"/>
                  <a:gd name="connsiteX1" fmla="*/ 17690 w 18335"/>
                  <a:gd name="connsiteY1" fmla="*/ 5840 h 18438"/>
                  <a:gd name="connsiteX2" fmla="*/ 5789 w 18335"/>
                  <a:gd name="connsiteY2" fmla="*/ 637 h 18438"/>
                  <a:gd name="connsiteX3" fmla="*/ 645 w 18335"/>
                  <a:gd name="connsiteY3" fmla="*/ 12598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17272" y="15947"/>
                      <a:pt x="19544" y="10565"/>
                      <a:pt x="17690" y="5840"/>
                    </a:cubicBezTo>
                    <a:cubicBezTo>
                      <a:pt x="15836" y="1115"/>
                      <a:pt x="10513" y="-1217"/>
                      <a:pt x="5789" y="637"/>
                    </a:cubicBezTo>
                    <a:cubicBezTo>
                      <a:pt x="1064" y="2491"/>
                      <a:pt x="-1209" y="7874"/>
                      <a:pt x="645" y="12598"/>
                    </a:cubicBezTo>
                    <a:cubicBezTo>
                      <a:pt x="2499" y="17323"/>
                      <a:pt x="7822" y="19655"/>
                      <a:pt x="12547" y="17801"/>
                    </a:cubicBezTo>
                    <a:close/>
                  </a:path>
                </a:pathLst>
              </a:custGeom>
              <a:grpFill/>
              <a:ln w="5978" cap="flat">
                <a:noFill/>
                <a:prstDash val="solid"/>
                <a:miter/>
              </a:ln>
            </p:spPr>
            <p:txBody>
              <a:bodyPr rtlCol="0" anchor="ctr"/>
              <a:lstStyle/>
              <a:p>
                <a:endParaRPr lang="en-GB"/>
              </a:p>
            </p:txBody>
          </p:sp>
        </p:grpSp>
        <p:grpSp>
          <p:nvGrpSpPr>
            <p:cNvPr id="1205" name="Graphic 3">
              <a:extLst>
                <a:ext uri="{FF2B5EF4-FFF2-40B4-BE49-F238E27FC236}">
                  <a16:creationId xmlns:a16="http://schemas.microsoft.com/office/drawing/2014/main" id="{3E7D185E-B44B-4C85-8843-08EEE6F58F5A}"/>
                </a:ext>
              </a:extLst>
            </p:cNvPr>
            <p:cNvGrpSpPr/>
            <p:nvPr/>
          </p:nvGrpSpPr>
          <p:grpSpPr>
            <a:xfrm>
              <a:off x="4319063" y="3916467"/>
              <a:ext cx="109583" cy="46811"/>
              <a:chOff x="4319063" y="3916467"/>
              <a:chExt cx="109583" cy="46811"/>
            </a:xfrm>
            <a:grpFill/>
          </p:grpSpPr>
          <p:sp>
            <p:nvSpPr>
              <p:cNvPr id="1787" name="Vrije vorm: vorm 1786">
                <a:extLst>
                  <a:ext uri="{FF2B5EF4-FFF2-40B4-BE49-F238E27FC236}">
                    <a16:creationId xmlns:a16="http://schemas.microsoft.com/office/drawing/2014/main" id="{857DBAB0-CED8-4F7F-A494-CF6B9F167C31}"/>
                  </a:ext>
                </a:extLst>
              </p:cNvPr>
              <p:cNvSpPr/>
              <p:nvPr/>
            </p:nvSpPr>
            <p:spPr>
              <a:xfrm>
                <a:off x="4327282" y="3923983"/>
                <a:ext cx="93006" cy="31611"/>
              </a:xfrm>
              <a:custGeom>
                <a:avLst/>
                <a:gdLst>
                  <a:gd name="connsiteX0" fmla="*/ 0 w 93006"/>
                  <a:gd name="connsiteY0" fmla="*/ 28699 h 31611"/>
                  <a:gd name="connsiteX1" fmla="*/ 92099 w 93006"/>
                  <a:gd name="connsiteY1" fmla="*/ 0 h 31611"/>
                  <a:gd name="connsiteX2" fmla="*/ 93006 w 93006"/>
                  <a:gd name="connsiteY2" fmla="*/ 2912 h 31611"/>
                  <a:gd name="connsiteX3" fmla="*/ 907 w 93006"/>
                  <a:gd name="connsiteY3" fmla="*/ 31612 h 31611"/>
                </a:gdLst>
                <a:ahLst/>
                <a:cxnLst>
                  <a:cxn ang="0">
                    <a:pos x="connsiteX0" y="connsiteY0"/>
                  </a:cxn>
                  <a:cxn ang="0">
                    <a:pos x="connsiteX1" y="connsiteY1"/>
                  </a:cxn>
                  <a:cxn ang="0">
                    <a:pos x="connsiteX2" y="connsiteY2"/>
                  </a:cxn>
                  <a:cxn ang="0">
                    <a:pos x="connsiteX3" y="connsiteY3"/>
                  </a:cxn>
                </a:cxnLst>
                <a:rect l="l" t="t" r="r" b="b"/>
                <a:pathLst>
                  <a:path w="93006" h="31611">
                    <a:moveTo>
                      <a:pt x="0" y="28699"/>
                    </a:moveTo>
                    <a:lnTo>
                      <a:pt x="92099" y="0"/>
                    </a:lnTo>
                    <a:lnTo>
                      <a:pt x="93006" y="2912"/>
                    </a:lnTo>
                    <a:lnTo>
                      <a:pt x="907" y="31612"/>
                    </a:lnTo>
                    <a:close/>
                  </a:path>
                </a:pathLst>
              </a:custGeom>
              <a:grpFill/>
              <a:ln w="5978" cap="flat">
                <a:noFill/>
                <a:prstDash val="solid"/>
                <a:miter/>
              </a:ln>
            </p:spPr>
            <p:txBody>
              <a:bodyPr rtlCol="0" anchor="ctr"/>
              <a:lstStyle/>
              <a:p>
                <a:endParaRPr lang="en-GB"/>
              </a:p>
            </p:txBody>
          </p:sp>
          <p:sp>
            <p:nvSpPr>
              <p:cNvPr id="1788" name="Vrije vorm: vorm 1787">
                <a:extLst>
                  <a:ext uri="{FF2B5EF4-FFF2-40B4-BE49-F238E27FC236}">
                    <a16:creationId xmlns:a16="http://schemas.microsoft.com/office/drawing/2014/main" id="{A05D3D5B-12BF-41DB-9403-2FE106FBEF76}"/>
                  </a:ext>
                </a:extLst>
              </p:cNvPr>
              <p:cNvSpPr/>
              <p:nvPr/>
            </p:nvSpPr>
            <p:spPr>
              <a:xfrm>
                <a:off x="4319063" y="3944811"/>
                <a:ext cx="18317" cy="18468"/>
              </a:xfrm>
              <a:custGeom>
                <a:avLst/>
                <a:gdLst>
                  <a:gd name="connsiteX0" fmla="*/ 11896 w 18317"/>
                  <a:gd name="connsiteY0" fmla="*/ 18056 h 18468"/>
                  <a:gd name="connsiteX1" fmla="*/ 413 w 18317"/>
                  <a:gd name="connsiteY1" fmla="*/ 11955 h 18468"/>
                  <a:gd name="connsiteX2" fmla="*/ 6394 w 18317"/>
                  <a:gd name="connsiteY2" fmla="*/ 413 h 18468"/>
                  <a:gd name="connsiteX3" fmla="*/ 17877 w 18317"/>
                  <a:gd name="connsiteY3" fmla="*/ 6513 h 18468"/>
                  <a:gd name="connsiteX4" fmla="*/ 11896 w 18317"/>
                  <a:gd name="connsiteY4" fmla="*/ 1805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68">
                    <a:moveTo>
                      <a:pt x="11896" y="18056"/>
                    </a:moveTo>
                    <a:cubicBezTo>
                      <a:pt x="7052" y="19551"/>
                      <a:pt x="1908" y="16859"/>
                      <a:pt x="413" y="11955"/>
                    </a:cubicBezTo>
                    <a:cubicBezTo>
                      <a:pt x="-1082" y="7111"/>
                      <a:pt x="1609" y="1908"/>
                      <a:pt x="6394" y="413"/>
                    </a:cubicBezTo>
                    <a:cubicBezTo>
                      <a:pt x="11238" y="-1083"/>
                      <a:pt x="16382" y="1609"/>
                      <a:pt x="17877" y="6513"/>
                    </a:cubicBezTo>
                    <a:cubicBezTo>
                      <a:pt x="19432" y="11417"/>
                      <a:pt x="16741" y="16561"/>
                      <a:pt x="11896" y="18056"/>
                    </a:cubicBezTo>
                    <a:close/>
                  </a:path>
                </a:pathLst>
              </a:custGeom>
              <a:grpFill/>
              <a:ln w="5978" cap="flat">
                <a:noFill/>
                <a:prstDash val="solid"/>
                <a:miter/>
              </a:ln>
            </p:spPr>
            <p:txBody>
              <a:bodyPr rtlCol="0" anchor="ctr"/>
              <a:lstStyle/>
              <a:p>
                <a:endParaRPr lang="en-GB"/>
              </a:p>
            </p:txBody>
          </p:sp>
          <p:sp>
            <p:nvSpPr>
              <p:cNvPr id="1789" name="Vrije vorm: vorm 1788">
                <a:extLst>
                  <a:ext uri="{FF2B5EF4-FFF2-40B4-BE49-F238E27FC236}">
                    <a16:creationId xmlns:a16="http://schemas.microsoft.com/office/drawing/2014/main" id="{D92B3EEA-D905-42AD-A3D9-992AEDA92E31}"/>
                  </a:ext>
                </a:extLst>
              </p:cNvPr>
              <p:cNvSpPr/>
              <p:nvPr/>
            </p:nvSpPr>
            <p:spPr>
              <a:xfrm>
                <a:off x="4410301" y="3916467"/>
                <a:ext cx="18345" cy="18457"/>
              </a:xfrm>
              <a:custGeom>
                <a:avLst/>
                <a:gdLst>
                  <a:gd name="connsiteX0" fmla="*/ 11924 w 18345"/>
                  <a:gd name="connsiteY0" fmla="*/ 18050 h 18457"/>
                  <a:gd name="connsiteX1" fmla="*/ 17905 w 18345"/>
                  <a:gd name="connsiteY1" fmla="*/ 6508 h 18457"/>
                  <a:gd name="connsiteX2" fmla="*/ 6421 w 18345"/>
                  <a:gd name="connsiteY2" fmla="*/ 407 h 18457"/>
                  <a:gd name="connsiteX3" fmla="*/ 441 w 18345"/>
                  <a:gd name="connsiteY3" fmla="*/ 11950 h 18457"/>
                  <a:gd name="connsiteX4" fmla="*/ 11924 w 18345"/>
                  <a:gd name="connsiteY4" fmla="*/ 1805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57">
                    <a:moveTo>
                      <a:pt x="11924" y="18050"/>
                    </a:moveTo>
                    <a:cubicBezTo>
                      <a:pt x="16768" y="16555"/>
                      <a:pt x="19459" y="11412"/>
                      <a:pt x="17905" y="6508"/>
                    </a:cubicBezTo>
                    <a:cubicBezTo>
                      <a:pt x="16410" y="1663"/>
                      <a:pt x="11266" y="-1088"/>
                      <a:pt x="6421" y="407"/>
                    </a:cubicBezTo>
                    <a:cubicBezTo>
                      <a:pt x="1577" y="1903"/>
                      <a:pt x="-1114" y="7046"/>
                      <a:pt x="441" y="11950"/>
                    </a:cubicBezTo>
                    <a:cubicBezTo>
                      <a:pt x="1936" y="16795"/>
                      <a:pt x="7080" y="19546"/>
                      <a:pt x="11924" y="18050"/>
                    </a:cubicBezTo>
                    <a:close/>
                  </a:path>
                </a:pathLst>
              </a:custGeom>
              <a:grpFill/>
              <a:ln w="5978" cap="flat">
                <a:noFill/>
                <a:prstDash val="solid"/>
                <a:miter/>
              </a:ln>
            </p:spPr>
            <p:txBody>
              <a:bodyPr rtlCol="0" anchor="ctr"/>
              <a:lstStyle/>
              <a:p>
                <a:endParaRPr lang="en-GB"/>
              </a:p>
            </p:txBody>
          </p:sp>
        </p:grpSp>
        <p:grpSp>
          <p:nvGrpSpPr>
            <p:cNvPr id="1206" name="Graphic 3">
              <a:extLst>
                <a:ext uri="{FF2B5EF4-FFF2-40B4-BE49-F238E27FC236}">
                  <a16:creationId xmlns:a16="http://schemas.microsoft.com/office/drawing/2014/main" id="{1A8A356D-B983-4D52-90D0-08554E3C19C1}"/>
                </a:ext>
              </a:extLst>
            </p:cNvPr>
            <p:cNvGrpSpPr/>
            <p:nvPr/>
          </p:nvGrpSpPr>
          <p:grpSpPr>
            <a:xfrm>
              <a:off x="3953661" y="3094850"/>
              <a:ext cx="290551" cy="59171"/>
              <a:chOff x="3953661" y="3094850"/>
              <a:chExt cx="290551" cy="59171"/>
            </a:xfrm>
            <a:grpFill/>
          </p:grpSpPr>
          <p:sp>
            <p:nvSpPr>
              <p:cNvPr id="1784" name="Vrije vorm: vorm 1783">
                <a:extLst>
                  <a:ext uri="{FF2B5EF4-FFF2-40B4-BE49-F238E27FC236}">
                    <a16:creationId xmlns:a16="http://schemas.microsoft.com/office/drawing/2014/main" id="{CC7660B3-22C6-4C9E-9B32-4F4762F476B1}"/>
                  </a:ext>
                </a:extLst>
              </p:cNvPr>
              <p:cNvSpPr/>
              <p:nvPr/>
            </p:nvSpPr>
            <p:spPr>
              <a:xfrm>
                <a:off x="3962128" y="3102480"/>
                <a:ext cx="273558" cy="43898"/>
              </a:xfrm>
              <a:custGeom>
                <a:avLst/>
                <a:gdLst>
                  <a:gd name="connsiteX0" fmla="*/ 273558 w 273558"/>
                  <a:gd name="connsiteY0" fmla="*/ 40848 h 43898"/>
                  <a:gd name="connsiteX1" fmla="*/ 273140 w 273558"/>
                  <a:gd name="connsiteY1" fmla="*/ 43898 h 43898"/>
                  <a:gd name="connsiteX2" fmla="*/ 0 w 273558"/>
                  <a:gd name="connsiteY2" fmla="*/ 3050 h 43898"/>
                  <a:gd name="connsiteX3" fmla="*/ 478 w 273558"/>
                  <a:gd name="connsiteY3" fmla="*/ 0 h 43898"/>
                </a:gdLst>
                <a:ahLst/>
                <a:cxnLst>
                  <a:cxn ang="0">
                    <a:pos x="connsiteX0" y="connsiteY0"/>
                  </a:cxn>
                  <a:cxn ang="0">
                    <a:pos x="connsiteX1" y="connsiteY1"/>
                  </a:cxn>
                  <a:cxn ang="0">
                    <a:pos x="connsiteX2" y="connsiteY2"/>
                  </a:cxn>
                  <a:cxn ang="0">
                    <a:pos x="connsiteX3" y="connsiteY3"/>
                  </a:cxn>
                </a:cxnLst>
                <a:rect l="l" t="t" r="r" b="b"/>
                <a:pathLst>
                  <a:path w="273558" h="43898">
                    <a:moveTo>
                      <a:pt x="273558" y="40848"/>
                    </a:moveTo>
                    <a:lnTo>
                      <a:pt x="273140" y="43898"/>
                    </a:lnTo>
                    <a:lnTo>
                      <a:pt x="0" y="3050"/>
                    </a:lnTo>
                    <a:lnTo>
                      <a:pt x="478" y="0"/>
                    </a:lnTo>
                    <a:close/>
                  </a:path>
                </a:pathLst>
              </a:custGeom>
              <a:grpFill/>
              <a:ln w="5978" cap="flat">
                <a:noFill/>
                <a:prstDash val="solid"/>
                <a:miter/>
              </a:ln>
            </p:spPr>
            <p:txBody>
              <a:bodyPr rtlCol="0" anchor="ctr"/>
              <a:lstStyle/>
              <a:p>
                <a:endParaRPr lang="en-GB"/>
              </a:p>
            </p:txBody>
          </p:sp>
          <p:sp>
            <p:nvSpPr>
              <p:cNvPr id="1785" name="Vrije vorm: vorm 1784">
                <a:extLst>
                  <a:ext uri="{FF2B5EF4-FFF2-40B4-BE49-F238E27FC236}">
                    <a16:creationId xmlns:a16="http://schemas.microsoft.com/office/drawing/2014/main" id="{FCC82D01-DB84-4366-9EAB-404FC956791A}"/>
                  </a:ext>
                </a:extLst>
              </p:cNvPr>
              <p:cNvSpPr/>
              <p:nvPr/>
            </p:nvSpPr>
            <p:spPr>
              <a:xfrm>
                <a:off x="3953661" y="3094850"/>
                <a:ext cx="18369" cy="18444"/>
              </a:xfrm>
              <a:custGeom>
                <a:avLst/>
                <a:gdLst>
                  <a:gd name="connsiteX0" fmla="*/ 7869 w 18369"/>
                  <a:gd name="connsiteY0" fmla="*/ 18335 h 18444"/>
                  <a:gd name="connsiteX1" fmla="*/ 94 w 18369"/>
                  <a:gd name="connsiteY1" fmla="*/ 7869 h 18444"/>
                  <a:gd name="connsiteX2" fmla="*/ 10500 w 18369"/>
                  <a:gd name="connsiteY2" fmla="*/ 94 h 18444"/>
                  <a:gd name="connsiteX3" fmla="*/ 18275 w 18369"/>
                  <a:gd name="connsiteY3" fmla="*/ 10560 h 18444"/>
                  <a:gd name="connsiteX4" fmla="*/ 7869 w 18369"/>
                  <a:gd name="connsiteY4" fmla="*/ 1833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4">
                    <a:moveTo>
                      <a:pt x="7869" y="18335"/>
                    </a:moveTo>
                    <a:cubicBezTo>
                      <a:pt x="2845" y="17558"/>
                      <a:pt x="-624" y="12893"/>
                      <a:pt x="94" y="7869"/>
                    </a:cubicBezTo>
                    <a:cubicBezTo>
                      <a:pt x="812" y="2845"/>
                      <a:pt x="5477" y="-624"/>
                      <a:pt x="10500" y="94"/>
                    </a:cubicBezTo>
                    <a:cubicBezTo>
                      <a:pt x="15524" y="872"/>
                      <a:pt x="18993" y="5536"/>
                      <a:pt x="18275" y="10560"/>
                    </a:cubicBezTo>
                    <a:cubicBezTo>
                      <a:pt x="17498" y="15644"/>
                      <a:pt x="12833" y="19113"/>
                      <a:pt x="7869" y="18335"/>
                    </a:cubicBezTo>
                    <a:close/>
                  </a:path>
                </a:pathLst>
              </a:custGeom>
              <a:grpFill/>
              <a:ln w="5978" cap="flat">
                <a:noFill/>
                <a:prstDash val="solid"/>
                <a:miter/>
              </a:ln>
            </p:spPr>
            <p:txBody>
              <a:bodyPr rtlCol="0" anchor="ctr"/>
              <a:lstStyle/>
              <a:p>
                <a:endParaRPr lang="en-GB"/>
              </a:p>
            </p:txBody>
          </p:sp>
          <p:sp>
            <p:nvSpPr>
              <p:cNvPr id="1786" name="Vrije vorm: vorm 1785">
                <a:extLst>
                  <a:ext uri="{FF2B5EF4-FFF2-40B4-BE49-F238E27FC236}">
                    <a16:creationId xmlns:a16="http://schemas.microsoft.com/office/drawing/2014/main" id="{49F99326-FCB8-4E6D-A4E4-E486A572EDC6}"/>
                  </a:ext>
                </a:extLst>
              </p:cNvPr>
              <p:cNvSpPr/>
              <p:nvPr/>
            </p:nvSpPr>
            <p:spPr>
              <a:xfrm>
                <a:off x="4225844" y="3135565"/>
                <a:ext cx="18369" cy="18456"/>
              </a:xfrm>
              <a:custGeom>
                <a:avLst/>
                <a:gdLst>
                  <a:gd name="connsiteX0" fmla="*/ 7869 w 18369"/>
                  <a:gd name="connsiteY0" fmla="*/ 18349 h 18456"/>
                  <a:gd name="connsiteX1" fmla="*/ 18275 w 18369"/>
                  <a:gd name="connsiteY1" fmla="*/ 10574 h 18456"/>
                  <a:gd name="connsiteX2" fmla="*/ 10500 w 18369"/>
                  <a:gd name="connsiteY2" fmla="*/ 107 h 18456"/>
                  <a:gd name="connsiteX3" fmla="*/ 94 w 18369"/>
                  <a:gd name="connsiteY3" fmla="*/ 7883 h 18456"/>
                  <a:gd name="connsiteX4" fmla="*/ 7869 w 18369"/>
                  <a:gd name="connsiteY4" fmla="*/ 1834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56">
                    <a:moveTo>
                      <a:pt x="7869" y="18349"/>
                    </a:moveTo>
                    <a:cubicBezTo>
                      <a:pt x="12893" y="19126"/>
                      <a:pt x="17558" y="15598"/>
                      <a:pt x="18275" y="10574"/>
                    </a:cubicBezTo>
                    <a:cubicBezTo>
                      <a:pt x="18993" y="5550"/>
                      <a:pt x="15524" y="825"/>
                      <a:pt x="10500" y="107"/>
                    </a:cubicBezTo>
                    <a:cubicBezTo>
                      <a:pt x="5476" y="-670"/>
                      <a:pt x="872" y="2859"/>
                      <a:pt x="94" y="7883"/>
                    </a:cubicBezTo>
                    <a:cubicBezTo>
                      <a:pt x="-624" y="12906"/>
                      <a:pt x="2845" y="17571"/>
                      <a:pt x="7869" y="18349"/>
                    </a:cubicBezTo>
                    <a:close/>
                  </a:path>
                </a:pathLst>
              </a:custGeom>
              <a:grpFill/>
              <a:ln w="5978" cap="flat">
                <a:noFill/>
                <a:prstDash val="solid"/>
                <a:miter/>
              </a:ln>
            </p:spPr>
            <p:txBody>
              <a:bodyPr rtlCol="0" anchor="ctr"/>
              <a:lstStyle/>
              <a:p>
                <a:endParaRPr lang="en-GB"/>
              </a:p>
            </p:txBody>
          </p:sp>
        </p:grpSp>
        <p:grpSp>
          <p:nvGrpSpPr>
            <p:cNvPr id="1207" name="Graphic 3">
              <a:extLst>
                <a:ext uri="{FF2B5EF4-FFF2-40B4-BE49-F238E27FC236}">
                  <a16:creationId xmlns:a16="http://schemas.microsoft.com/office/drawing/2014/main" id="{21B2E138-ACCD-4D85-901B-0703ADC073C5}"/>
                </a:ext>
              </a:extLst>
            </p:cNvPr>
            <p:cNvGrpSpPr/>
            <p:nvPr/>
          </p:nvGrpSpPr>
          <p:grpSpPr>
            <a:xfrm>
              <a:off x="4417158" y="4462515"/>
              <a:ext cx="332554" cy="223385"/>
              <a:chOff x="4417158" y="4462515"/>
              <a:chExt cx="332554" cy="223385"/>
            </a:xfrm>
            <a:grpFill/>
          </p:grpSpPr>
          <p:sp>
            <p:nvSpPr>
              <p:cNvPr id="1781" name="Vrije vorm: vorm 1780">
                <a:extLst>
                  <a:ext uri="{FF2B5EF4-FFF2-40B4-BE49-F238E27FC236}">
                    <a16:creationId xmlns:a16="http://schemas.microsoft.com/office/drawing/2014/main" id="{6F2F9481-9605-41EB-B479-40F74B0D8443}"/>
                  </a:ext>
                </a:extLst>
              </p:cNvPr>
              <p:cNvSpPr/>
              <p:nvPr/>
            </p:nvSpPr>
            <p:spPr>
              <a:xfrm>
                <a:off x="4425156" y="4470211"/>
                <a:ext cx="316619" cy="208009"/>
              </a:xfrm>
              <a:custGeom>
                <a:avLst/>
                <a:gdLst>
                  <a:gd name="connsiteX0" fmla="*/ 316619 w 316619"/>
                  <a:gd name="connsiteY0" fmla="*/ 2572 h 208009"/>
                  <a:gd name="connsiteX1" fmla="*/ 1674 w 316619"/>
                  <a:gd name="connsiteY1" fmla="*/ 208010 h 208009"/>
                  <a:gd name="connsiteX2" fmla="*/ 0 w 316619"/>
                  <a:gd name="connsiteY2" fmla="*/ 205438 h 208009"/>
                  <a:gd name="connsiteX3" fmla="*/ 314945 w 316619"/>
                  <a:gd name="connsiteY3" fmla="*/ 0 h 208009"/>
                </a:gdLst>
                <a:ahLst/>
                <a:cxnLst>
                  <a:cxn ang="0">
                    <a:pos x="connsiteX0" y="connsiteY0"/>
                  </a:cxn>
                  <a:cxn ang="0">
                    <a:pos x="connsiteX1" y="connsiteY1"/>
                  </a:cxn>
                  <a:cxn ang="0">
                    <a:pos x="connsiteX2" y="connsiteY2"/>
                  </a:cxn>
                  <a:cxn ang="0">
                    <a:pos x="connsiteX3" y="connsiteY3"/>
                  </a:cxn>
                </a:cxnLst>
                <a:rect l="l" t="t" r="r" b="b"/>
                <a:pathLst>
                  <a:path w="316619" h="208009">
                    <a:moveTo>
                      <a:pt x="316619" y="2572"/>
                    </a:moveTo>
                    <a:lnTo>
                      <a:pt x="1674" y="208010"/>
                    </a:lnTo>
                    <a:lnTo>
                      <a:pt x="0" y="205438"/>
                    </a:lnTo>
                    <a:lnTo>
                      <a:pt x="314945" y="0"/>
                    </a:lnTo>
                    <a:close/>
                  </a:path>
                </a:pathLst>
              </a:custGeom>
              <a:grpFill/>
              <a:ln w="5978" cap="flat">
                <a:noFill/>
                <a:prstDash val="solid"/>
                <a:miter/>
              </a:ln>
            </p:spPr>
            <p:txBody>
              <a:bodyPr rtlCol="0" anchor="ctr"/>
              <a:lstStyle/>
              <a:p>
                <a:endParaRPr lang="en-GB"/>
              </a:p>
            </p:txBody>
          </p:sp>
          <p:sp>
            <p:nvSpPr>
              <p:cNvPr id="1782" name="Vrije vorm: vorm 1781">
                <a:extLst>
                  <a:ext uri="{FF2B5EF4-FFF2-40B4-BE49-F238E27FC236}">
                    <a16:creationId xmlns:a16="http://schemas.microsoft.com/office/drawing/2014/main" id="{2F32F607-65CF-48EF-8E29-92BE27B62BD3}"/>
                  </a:ext>
                </a:extLst>
              </p:cNvPr>
              <p:cNvSpPr/>
              <p:nvPr/>
            </p:nvSpPr>
            <p:spPr>
              <a:xfrm>
                <a:off x="4731385" y="4462515"/>
                <a:ext cx="18327" cy="18441"/>
              </a:xfrm>
              <a:custGeom>
                <a:avLst/>
                <a:gdLst>
                  <a:gd name="connsiteX0" fmla="*/ 4170 w 18327"/>
                  <a:gd name="connsiteY0" fmla="*/ 1476 h 18441"/>
                  <a:gd name="connsiteX1" fmla="*/ 16849 w 18327"/>
                  <a:gd name="connsiteY1" fmla="*/ 4227 h 18441"/>
                  <a:gd name="connsiteX2" fmla="*/ 14158 w 18327"/>
                  <a:gd name="connsiteY2" fmla="*/ 16966 h 18441"/>
                  <a:gd name="connsiteX3" fmla="*/ 1479 w 18327"/>
                  <a:gd name="connsiteY3" fmla="*/ 14215 h 18441"/>
                  <a:gd name="connsiteX4" fmla="*/ 4170 w 18327"/>
                  <a:gd name="connsiteY4" fmla="*/ 147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4170" y="1476"/>
                    </a:moveTo>
                    <a:cubicBezTo>
                      <a:pt x="8416" y="-1276"/>
                      <a:pt x="14098" y="-79"/>
                      <a:pt x="16849" y="4227"/>
                    </a:cubicBezTo>
                    <a:cubicBezTo>
                      <a:pt x="19600" y="8473"/>
                      <a:pt x="18404" y="14215"/>
                      <a:pt x="14158" y="16966"/>
                    </a:cubicBezTo>
                    <a:cubicBezTo>
                      <a:pt x="9911" y="19717"/>
                      <a:pt x="4229" y="18521"/>
                      <a:pt x="1479" y="14215"/>
                    </a:cubicBezTo>
                    <a:cubicBezTo>
                      <a:pt x="-1273" y="9968"/>
                      <a:pt x="-76" y="4227"/>
                      <a:pt x="4170" y="1476"/>
                    </a:cubicBezTo>
                    <a:close/>
                  </a:path>
                </a:pathLst>
              </a:custGeom>
              <a:grpFill/>
              <a:ln w="5978" cap="flat">
                <a:noFill/>
                <a:prstDash val="solid"/>
                <a:miter/>
              </a:ln>
            </p:spPr>
            <p:txBody>
              <a:bodyPr rtlCol="0" anchor="ctr"/>
              <a:lstStyle/>
              <a:p>
                <a:endParaRPr lang="en-GB"/>
              </a:p>
            </p:txBody>
          </p:sp>
          <p:sp>
            <p:nvSpPr>
              <p:cNvPr id="1783" name="Vrije vorm: vorm 1782">
                <a:extLst>
                  <a:ext uri="{FF2B5EF4-FFF2-40B4-BE49-F238E27FC236}">
                    <a16:creationId xmlns:a16="http://schemas.microsoft.com/office/drawing/2014/main" id="{FCECF171-77C5-42F0-AAAD-43AF417DB12A}"/>
                  </a:ext>
                </a:extLst>
              </p:cNvPr>
              <p:cNvSpPr/>
              <p:nvPr/>
            </p:nvSpPr>
            <p:spPr>
              <a:xfrm>
                <a:off x="4417158" y="4667448"/>
                <a:ext cx="18327" cy="18452"/>
              </a:xfrm>
              <a:custGeom>
                <a:avLst/>
                <a:gdLst>
                  <a:gd name="connsiteX0" fmla="*/ 4170 w 18327"/>
                  <a:gd name="connsiteY0" fmla="*/ 1502 h 18452"/>
                  <a:gd name="connsiteX1" fmla="*/ 1478 w 18327"/>
                  <a:gd name="connsiteY1" fmla="*/ 14241 h 18452"/>
                  <a:gd name="connsiteX2" fmla="*/ 14158 w 18327"/>
                  <a:gd name="connsiteY2" fmla="*/ 16992 h 18452"/>
                  <a:gd name="connsiteX3" fmla="*/ 16849 w 18327"/>
                  <a:gd name="connsiteY3" fmla="*/ 4253 h 18452"/>
                  <a:gd name="connsiteX4" fmla="*/ 4170 w 18327"/>
                  <a:gd name="connsiteY4" fmla="*/ 1502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52">
                    <a:moveTo>
                      <a:pt x="4170" y="1502"/>
                    </a:moveTo>
                    <a:cubicBezTo>
                      <a:pt x="-77" y="4253"/>
                      <a:pt x="-1272" y="9995"/>
                      <a:pt x="1478" y="14241"/>
                    </a:cubicBezTo>
                    <a:cubicBezTo>
                      <a:pt x="4230" y="18487"/>
                      <a:pt x="9911" y="19743"/>
                      <a:pt x="14158" y="16992"/>
                    </a:cubicBezTo>
                    <a:cubicBezTo>
                      <a:pt x="18404" y="14241"/>
                      <a:pt x="19600" y="8500"/>
                      <a:pt x="16849" y="4253"/>
                    </a:cubicBezTo>
                    <a:cubicBezTo>
                      <a:pt x="14098" y="-53"/>
                      <a:pt x="8416" y="-1309"/>
                      <a:pt x="4170" y="1502"/>
                    </a:cubicBezTo>
                    <a:close/>
                  </a:path>
                </a:pathLst>
              </a:custGeom>
              <a:grpFill/>
              <a:ln w="5978" cap="flat">
                <a:noFill/>
                <a:prstDash val="solid"/>
                <a:miter/>
              </a:ln>
            </p:spPr>
            <p:txBody>
              <a:bodyPr rtlCol="0" anchor="ctr"/>
              <a:lstStyle/>
              <a:p>
                <a:endParaRPr lang="en-GB"/>
              </a:p>
            </p:txBody>
          </p:sp>
        </p:grpSp>
        <p:grpSp>
          <p:nvGrpSpPr>
            <p:cNvPr id="1208" name="Graphic 3">
              <a:extLst>
                <a:ext uri="{FF2B5EF4-FFF2-40B4-BE49-F238E27FC236}">
                  <a16:creationId xmlns:a16="http://schemas.microsoft.com/office/drawing/2014/main" id="{89A39173-8D32-426B-8798-F71E2136819F}"/>
                </a:ext>
              </a:extLst>
            </p:cNvPr>
            <p:cNvGrpSpPr/>
            <p:nvPr/>
          </p:nvGrpSpPr>
          <p:grpSpPr>
            <a:xfrm>
              <a:off x="4302852" y="3942833"/>
              <a:ext cx="148616" cy="61595"/>
              <a:chOff x="4302852" y="3942833"/>
              <a:chExt cx="148616" cy="61595"/>
            </a:xfrm>
            <a:grpFill/>
          </p:grpSpPr>
          <p:sp>
            <p:nvSpPr>
              <p:cNvPr id="1778" name="Vrije vorm: vorm 1777">
                <a:extLst>
                  <a:ext uri="{FF2B5EF4-FFF2-40B4-BE49-F238E27FC236}">
                    <a16:creationId xmlns:a16="http://schemas.microsoft.com/office/drawing/2014/main" id="{C6856043-9153-4E95-A430-2267C345C7AC}"/>
                  </a:ext>
                </a:extLst>
              </p:cNvPr>
              <p:cNvSpPr/>
              <p:nvPr/>
            </p:nvSpPr>
            <p:spPr>
              <a:xfrm>
                <a:off x="4311235" y="3950260"/>
                <a:ext cx="132057" cy="46495"/>
              </a:xfrm>
              <a:custGeom>
                <a:avLst/>
                <a:gdLst>
                  <a:gd name="connsiteX0" fmla="*/ 0 w 132057"/>
                  <a:gd name="connsiteY0" fmla="*/ 43602 h 46495"/>
                  <a:gd name="connsiteX1" fmla="*/ 131095 w 132057"/>
                  <a:gd name="connsiteY1" fmla="*/ 0 h 46495"/>
                  <a:gd name="connsiteX2" fmla="*/ 132058 w 132057"/>
                  <a:gd name="connsiteY2" fmla="*/ 2894 h 46495"/>
                  <a:gd name="connsiteX3" fmla="*/ 963 w 132057"/>
                  <a:gd name="connsiteY3" fmla="*/ 46496 h 46495"/>
                </a:gdLst>
                <a:ahLst/>
                <a:cxnLst>
                  <a:cxn ang="0">
                    <a:pos x="connsiteX0" y="connsiteY0"/>
                  </a:cxn>
                  <a:cxn ang="0">
                    <a:pos x="connsiteX1" y="connsiteY1"/>
                  </a:cxn>
                  <a:cxn ang="0">
                    <a:pos x="connsiteX2" y="connsiteY2"/>
                  </a:cxn>
                  <a:cxn ang="0">
                    <a:pos x="connsiteX3" y="connsiteY3"/>
                  </a:cxn>
                </a:cxnLst>
                <a:rect l="l" t="t" r="r" b="b"/>
                <a:pathLst>
                  <a:path w="132057" h="46495">
                    <a:moveTo>
                      <a:pt x="0" y="43602"/>
                    </a:moveTo>
                    <a:lnTo>
                      <a:pt x="131095" y="0"/>
                    </a:lnTo>
                    <a:lnTo>
                      <a:pt x="132058" y="2894"/>
                    </a:lnTo>
                    <a:lnTo>
                      <a:pt x="963" y="46496"/>
                    </a:lnTo>
                    <a:close/>
                  </a:path>
                </a:pathLst>
              </a:custGeom>
              <a:grpFill/>
              <a:ln w="5978" cap="flat">
                <a:noFill/>
                <a:prstDash val="solid"/>
                <a:miter/>
              </a:ln>
            </p:spPr>
            <p:txBody>
              <a:bodyPr rtlCol="0" anchor="ctr"/>
              <a:lstStyle/>
              <a:p>
                <a:endParaRPr lang="en-GB"/>
              </a:p>
            </p:txBody>
          </p:sp>
          <p:sp>
            <p:nvSpPr>
              <p:cNvPr id="1779" name="Vrije vorm: vorm 1778">
                <a:extLst>
                  <a:ext uri="{FF2B5EF4-FFF2-40B4-BE49-F238E27FC236}">
                    <a16:creationId xmlns:a16="http://schemas.microsoft.com/office/drawing/2014/main" id="{C5521527-F430-4758-A89C-6F85894D63EC}"/>
                  </a:ext>
                </a:extLst>
              </p:cNvPr>
              <p:cNvSpPr/>
              <p:nvPr/>
            </p:nvSpPr>
            <p:spPr>
              <a:xfrm>
                <a:off x="4302852" y="3986014"/>
                <a:ext cx="18361" cy="18414"/>
              </a:xfrm>
              <a:custGeom>
                <a:avLst/>
                <a:gdLst>
                  <a:gd name="connsiteX0" fmla="*/ 12079 w 18361"/>
                  <a:gd name="connsiteY0" fmla="*/ 17939 h 18414"/>
                  <a:gd name="connsiteX1" fmla="*/ 476 w 18361"/>
                  <a:gd name="connsiteY1" fmla="*/ 12078 h 18414"/>
                  <a:gd name="connsiteX2" fmla="*/ 6277 w 18361"/>
                  <a:gd name="connsiteY2" fmla="*/ 475 h 18414"/>
                  <a:gd name="connsiteX3" fmla="*/ 17880 w 18361"/>
                  <a:gd name="connsiteY3" fmla="*/ 6337 h 18414"/>
                  <a:gd name="connsiteX4" fmla="*/ 12079 w 18361"/>
                  <a:gd name="connsiteY4" fmla="*/ 17939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4">
                    <a:moveTo>
                      <a:pt x="12079" y="17939"/>
                    </a:moveTo>
                    <a:cubicBezTo>
                      <a:pt x="7294" y="19554"/>
                      <a:pt x="2091" y="16922"/>
                      <a:pt x="476" y="12078"/>
                    </a:cubicBezTo>
                    <a:cubicBezTo>
                      <a:pt x="-1139" y="7234"/>
                      <a:pt x="1493" y="2031"/>
                      <a:pt x="6277" y="475"/>
                    </a:cubicBezTo>
                    <a:cubicBezTo>
                      <a:pt x="11062" y="-1139"/>
                      <a:pt x="16265" y="1492"/>
                      <a:pt x="17880" y="6337"/>
                    </a:cubicBezTo>
                    <a:cubicBezTo>
                      <a:pt x="19495" y="11121"/>
                      <a:pt x="16923" y="16325"/>
                      <a:pt x="12079" y="17939"/>
                    </a:cubicBezTo>
                    <a:close/>
                  </a:path>
                </a:pathLst>
              </a:custGeom>
              <a:grpFill/>
              <a:ln w="5978" cap="flat">
                <a:noFill/>
                <a:prstDash val="solid"/>
                <a:miter/>
              </a:ln>
            </p:spPr>
            <p:txBody>
              <a:bodyPr rtlCol="0" anchor="ctr"/>
              <a:lstStyle/>
              <a:p>
                <a:endParaRPr lang="en-GB"/>
              </a:p>
            </p:txBody>
          </p:sp>
          <p:sp>
            <p:nvSpPr>
              <p:cNvPr id="1780" name="Vrije vorm: vorm 1779">
                <a:extLst>
                  <a:ext uri="{FF2B5EF4-FFF2-40B4-BE49-F238E27FC236}">
                    <a16:creationId xmlns:a16="http://schemas.microsoft.com/office/drawing/2014/main" id="{AD1E6434-AADF-41A5-9A1F-49B3299C7A01}"/>
                  </a:ext>
                </a:extLst>
              </p:cNvPr>
              <p:cNvSpPr/>
              <p:nvPr/>
            </p:nvSpPr>
            <p:spPr>
              <a:xfrm>
                <a:off x="4433112" y="3942833"/>
                <a:ext cx="18355" cy="18386"/>
              </a:xfrm>
              <a:custGeom>
                <a:avLst/>
                <a:gdLst>
                  <a:gd name="connsiteX0" fmla="*/ 12079 w 18355"/>
                  <a:gd name="connsiteY0" fmla="*/ 17939 h 18386"/>
                  <a:gd name="connsiteX1" fmla="*/ 17880 w 18355"/>
                  <a:gd name="connsiteY1" fmla="*/ 6337 h 18386"/>
                  <a:gd name="connsiteX2" fmla="*/ 6277 w 18355"/>
                  <a:gd name="connsiteY2" fmla="*/ 476 h 18386"/>
                  <a:gd name="connsiteX3" fmla="*/ 476 w 18355"/>
                  <a:gd name="connsiteY3" fmla="*/ 12138 h 18386"/>
                  <a:gd name="connsiteX4" fmla="*/ 12079 w 18355"/>
                  <a:gd name="connsiteY4" fmla="*/ 17939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386">
                    <a:moveTo>
                      <a:pt x="12079" y="17939"/>
                    </a:moveTo>
                    <a:cubicBezTo>
                      <a:pt x="16863" y="16325"/>
                      <a:pt x="19495" y="11121"/>
                      <a:pt x="17880" y="6337"/>
                    </a:cubicBezTo>
                    <a:cubicBezTo>
                      <a:pt x="16265" y="1492"/>
                      <a:pt x="11062" y="-1139"/>
                      <a:pt x="6277" y="476"/>
                    </a:cubicBezTo>
                    <a:cubicBezTo>
                      <a:pt x="1493" y="2091"/>
                      <a:pt x="-1139" y="7294"/>
                      <a:pt x="476" y="12138"/>
                    </a:cubicBezTo>
                    <a:cubicBezTo>
                      <a:pt x="2091" y="16863"/>
                      <a:pt x="7294" y="19494"/>
                      <a:pt x="12079" y="17939"/>
                    </a:cubicBezTo>
                    <a:close/>
                  </a:path>
                </a:pathLst>
              </a:custGeom>
              <a:grpFill/>
              <a:ln w="5978" cap="flat">
                <a:noFill/>
                <a:prstDash val="solid"/>
                <a:miter/>
              </a:ln>
            </p:spPr>
            <p:txBody>
              <a:bodyPr rtlCol="0" anchor="ctr"/>
              <a:lstStyle/>
              <a:p>
                <a:endParaRPr lang="en-GB"/>
              </a:p>
            </p:txBody>
          </p:sp>
        </p:grpSp>
        <p:grpSp>
          <p:nvGrpSpPr>
            <p:cNvPr id="1209" name="Graphic 3">
              <a:extLst>
                <a:ext uri="{FF2B5EF4-FFF2-40B4-BE49-F238E27FC236}">
                  <a16:creationId xmlns:a16="http://schemas.microsoft.com/office/drawing/2014/main" id="{8BBCEB52-A47A-4DDE-A9CD-6A2E251EAF96}"/>
                </a:ext>
              </a:extLst>
            </p:cNvPr>
            <p:cNvGrpSpPr/>
            <p:nvPr/>
          </p:nvGrpSpPr>
          <p:grpSpPr>
            <a:xfrm>
              <a:off x="4376774" y="4025459"/>
              <a:ext cx="35669" cy="24895"/>
              <a:chOff x="4376774" y="4025459"/>
              <a:chExt cx="35669" cy="24895"/>
            </a:xfrm>
            <a:grpFill/>
          </p:grpSpPr>
          <p:sp>
            <p:nvSpPr>
              <p:cNvPr id="1775" name="Vrije vorm: vorm 1774">
                <a:extLst>
                  <a:ext uri="{FF2B5EF4-FFF2-40B4-BE49-F238E27FC236}">
                    <a16:creationId xmlns:a16="http://schemas.microsoft.com/office/drawing/2014/main" id="{13A1FE6A-AA2C-4D1F-AE87-92F4691BDEFE}"/>
                  </a:ext>
                </a:extLst>
              </p:cNvPr>
              <p:cNvSpPr/>
              <p:nvPr/>
            </p:nvSpPr>
            <p:spPr>
              <a:xfrm>
                <a:off x="4385127" y="4033009"/>
                <a:ext cx="19275" cy="9664"/>
              </a:xfrm>
              <a:custGeom>
                <a:avLst/>
                <a:gdLst>
                  <a:gd name="connsiteX0" fmla="*/ 0 w 19275"/>
                  <a:gd name="connsiteY0" fmla="*/ 6807 h 9664"/>
                  <a:gd name="connsiteX1" fmla="*/ 18207 w 19275"/>
                  <a:gd name="connsiteY1" fmla="*/ 0 h 9664"/>
                  <a:gd name="connsiteX2" fmla="*/ 19275 w 19275"/>
                  <a:gd name="connsiteY2" fmla="*/ 2857 h 9664"/>
                  <a:gd name="connsiteX3" fmla="*/ 1068 w 19275"/>
                  <a:gd name="connsiteY3" fmla="*/ 9664 h 9664"/>
                </a:gdLst>
                <a:ahLst/>
                <a:cxnLst>
                  <a:cxn ang="0">
                    <a:pos x="connsiteX0" y="connsiteY0"/>
                  </a:cxn>
                  <a:cxn ang="0">
                    <a:pos x="connsiteX1" y="connsiteY1"/>
                  </a:cxn>
                  <a:cxn ang="0">
                    <a:pos x="connsiteX2" y="connsiteY2"/>
                  </a:cxn>
                  <a:cxn ang="0">
                    <a:pos x="connsiteX3" y="connsiteY3"/>
                  </a:cxn>
                </a:cxnLst>
                <a:rect l="l" t="t" r="r" b="b"/>
                <a:pathLst>
                  <a:path w="19275" h="9664">
                    <a:moveTo>
                      <a:pt x="0" y="6807"/>
                    </a:moveTo>
                    <a:lnTo>
                      <a:pt x="18207" y="0"/>
                    </a:lnTo>
                    <a:lnTo>
                      <a:pt x="19275" y="2857"/>
                    </a:lnTo>
                    <a:lnTo>
                      <a:pt x="1068" y="9664"/>
                    </a:lnTo>
                    <a:close/>
                  </a:path>
                </a:pathLst>
              </a:custGeom>
              <a:grpFill/>
              <a:ln w="5978" cap="flat">
                <a:noFill/>
                <a:prstDash val="solid"/>
                <a:miter/>
              </a:ln>
            </p:spPr>
            <p:txBody>
              <a:bodyPr rtlCol="0" anchor="ctr"/>
              <a:lstStyle/>
              <a:p>
                <a:endParaRPr lang="en-GB"/>
              </a:p>
            </p:txBody>
          </p:sp>
          <p:sp>
            <p:nvSpPr>
              <p:cNvPr id="1776" name="Vrije vorm: vorm 1775">
                <a:extLst>
                  <a:ext uri="{FF2B5EF4-FFF2-40B4-BE49-F238E27FC236}">
                    <a16:creationId xmlns:a16="http://schemas.microsoft.com/office/drawing/2014/main" id="{5CFBA3DD-C279-46D3-A49A-134437F20DF2}"/>
                  </a:ext>
                </a:extLst>
              </p:cNvPr>
              <p:cNvSpPr/>
              <p:nvPr/>
            </p:nvSpPr>
            <p:spPr>
              <a:xfrm>
                <a:off x="4376774" y="4031894"/>
                <a:ext cx="18349" cy="18460"/>
              </a:xfrm>
              <a:custGeom>
                <a:avLst/>
                <a:gdLst>
                  <a:gd name="connsiteX0" fmla="*/ 12378 w 18349"/>
                  <a:gd name="connsiteY0" fmla="*/ 17872 h 18460"/>
                  <a:gd name="connsiteX1" fmla="*/ 596 w 18349"/>
                  <a:gd name="connsiteY1" fmla="*/ 12430 h 18460"/>
                  <a:gd name="connsiteX2" fmla="*/ 5978 w 18349"/>
                  <a:gd name="connsiteY2" fmla="*/ 588 h 18460"/>
                  <a:gd name="connsiteX3" fmla="*/ 17760 w 18349"/>
                  <a:gd name="connsiteY3" fmla="*/ 6031 h 18460"/>
                  <a:gd name="connsiteX4" fmla="*/ 12378 w 18349"/>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0">
                    <a:moveTo>
                      <a:pt x="12378" y="17872"/>
                    </a:moveTo>
                    <a:cubicBezTo>
                      <a:pt x="7653" y="19667"/>
                      <a:pt x="2330" y="17215"/>
                      <a:pt x="596" y="12430"/>
                    </a:cubicBezTo>
                    <a:cubicBezTo>
                      <a:pt x="-1199" y="7646"/>
                      <a:pt x="1194" y="2383"/>
                      <a:pt x="5978" y="588"/>
                    </a:cubicBezTo>
                    <a:cubicBezTo>
                      <a:pt x="10703" y="-1206"/>
                      <a:pt x="16026" y="1246"/>
                      <a:pt x="17760" y="6031"/>
                    </a:cubicBezTo>
                    <a:cubicBezTo>
                      <a:pt x="19555" y="10815"/>
                      <a:pt x="17102" y="16138"/>
                      <a:pt x="12378" y="17872"/>
                    </a:cubicBezTo>
                    <a:close/>
                  </a:path>
                </a:pathLst>
              </a:custGeom>
              <a:grpFill/>
              <a:ln w="5978" cap="flat">
                <a:noFill/>
                <a:prstDash val="solid"/>
                <a:miter/>
              </a:ln>
            </p:spPr>
            <p:txBody>
              <a:bodyPr rtlCol="0" anchor="ctr"/>
              <a:lstStyle/>
              <a:p>
                <a:endParaRPr lang="en-GB"/>
              </a:p>
            </p:txBody>
          </p:sp>
          <p:sp>
            <p:nvSpPr>
              <p:cNvPr id="1777" name="Vrije vorm: vorm 1776">
                <a:extLst>
                  <a:ext uri="{FF2B5EF4-FFF2-40B4-BE49-F238E27FC236}">
                    <a16:creationId xmlns:a16="http://schemas.microsoft.com/office/drawing/2014/main" id="{DAD0EF83-61D5-41CA-88A4-D5166FF90820}"/>
                  </a:ext>
                </a:extLst>
              </p:cNvPr>
              <p:cNvSpPr/>
              <p:nvPr/>
            </p:nvSpPr>
            <p:spPr>
              <a:xfrm>
                <a:off x="4394149" y="4025459"/>
                <a:ext cx="18293" cy="18412"/>
              </a:xfrm>
              <a:custGeom>
                <a:avLst/>
                <a:gdLst>
                  <a:gd name="connsiteX0" fmla="*/ 12347 w 18293"/>
                  <a:gd name="connsiteY0" fmla="*/ 17848 h 18412"/>
                  <a:gd name="connsiteX1" fmla="*/ 17729 w 18293"/>
                  <a:gd name="connsiteY1" fmla="*/ 6006 h 18412"/>
                  <a:gd name="connsiteX2" fmla="*/ 5947 w 18293"/>
                  <a:gd name="connsiteY2" fmla="*/ 564 h 18412"/>
                  <a:gd name="connsiteX3" fmla="*/ 565 w 18293"/>
                  <a:gd name="connsiteY3" fmla="*/ 12406 h 18412"/>
                  <a:gd name="connsiteX4" fmla="*/ 12347 w 18293"/>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12">
                    <a:moveTo>
                      <a:pt x="12347" y="17848"/>
                    </a:moveTo>
                    <a:cubicBezTo>
                      <a:pt x="17071" y="16054"/>
                      <a:pt x="19464" y="10791"/>
                      <a:pt x="17729" y="6006"/>
                    </a:cubicBezTo>
                    <a:cubicBezTo>
                      <a:pt x="15935" y="1222"/>
                      <a:pt x="10672" y="-1171"/>
                      <a:pt x="5947" y="564"/>
                    </a:cubicBezTo>
                    <a:cubicBezTo>
                      <a:pt x="1222" y="2298"/>
                      <a:pt x="-1170" y="7621"/>
                      <a:pt x="565" y="12406"/>
                    </a:cubicBezTo>
                    <a:cubicBezTo>
                      <a:pt x="2359" y="17190"/>
                      <a:pt x="7622" y="19583"/>
                      <a:pt x="12347" y="17848"/>
                    </a:cubicBezTo>
                    <a:close/>
                  </a:path>
                </a:pathLst>
              </a:custGeom>
              <a:grpFill/>
              <a:ln w="5978" cap="flat">
                <a:noFill/>
                <a:prstDash val="solid"/>
                <a:miter/>
              </a:ln>
            </p:spPr>
            <p:txBody>
              <a:bodyPr rtlCol="0" anchor="ctr"/>
              <a:lstStyle/>
              <a:p>
                <a:endParaRPr lang="en-GB"/>
              </a:p>
            </p:txBody>
          </p:sp>
        </p:grpSp>
        <p:grpSp>
          <p:nvGrpSpPr>
            <p:cNvPr id="1210" name="Graphic 3">
              <a:extLst>
                <a:ext uri="{FF2B5EF4-FFF2-40B4-BE49-F238E27FC236}">
                  <a16:creationId xmlns:a16="http://schemas.microsoft.com/office/drawing/2014/main" id="{94B5FB70-3E93-4089-88B8-B5D92FFC2F3F}"/>
                </a:ext>
              </a:extLst>
            </p:cNvPr>
            <p:cNvGrpSpPr/>
            <p:nvPr/>
          </p:nvGrpSpPr>
          <p:grpSpPr>
            <a:xfrm>
              <a:off x="3992589" y="3217806"/>
              <a:ext cx="268787" cy="41528"/>
              <a:chOff x="3992589" y="3217806"/>
              <a:chExt cx="268787" cy="41528"/>
            </a:xfrm>
            <a:grpFill/>
          </p:grpSpPr>
          <p:sp>
            <p:nvSpPr>
              <p:cNvPr id="1772" name="Vrije vorm: vorm 1771">
                <a:extLst>
                  <a:ext uri="{FF2B5EF4-FFF2-40B4-BE49-F238E27FC236}">
                    <a16:creationId xmlns:a16="http://schemas.microsoft.com/office/drawing/2014/main" id="{7FF116A1-97A5-4D64-9874-16C005A9EBCB}"/>
                  </a:ext>
                </a:extLst>
              </p:cNvPr>
              <p:cNvSpPr/>
              <p:nvPr/>
            </p:nvSpPr>
            <p:spPr>
              <a:xfrm>
                <a:off x="4001122" y="3225383"/>
                <a:ext cx="251728" cy="26315"/>
              </a:xfrm>
              <a:custGeom>
                <a:avLst/>
                <a:gdLst>
                  <a:gd name="connsiteX0" fmla="*/ 251729 w 251728"/>
                  <a:gd name="connsiteY0" fmla="*/ 23265 h 26315"/>
                  <a:gd name="connsiteX1" fmla="*/ 251430 w 251728"/>
                  <a:gd name="connsiteY1" fmla="*/ 26315 h 26315"/>
                  <a:gd name="connsiteX2" fmla="*/ 0 w 251728"/>
                  <a:gd name="connsiteY2" fmla="*/ 3050 h 26315"/>
                  <a:gd name="connsiteX3" fmla="*/ 299 w 251728"/>
                  <a:gd name="connsiteY3" fmla="*/ 0 h 26315"/>
                </a:gdLst>
                <a:ahLst/>
                <a:cxnLst>
                  <a:cxn ang="0">
                    <a:pos x="connsiteX0" y="connsiteY0"/>
                  </a:cxn>
                  <a:cxn ang="0">
                    <a:pos x="connsiteX1" y="connsiteY1"/>
                  </a:cxn>
                  <a:cxn ang="0">
                    <a:pos x="connsiteX2" y="connsiteY2"/>
                  </a:cxn>
                  <a:cxn ang="0">
                    <a:pos x="connsiteX3" y="connsiteY3"/>
                  </a:cxn>
                </a:cxnLst>
                <a:rect l="l" t="t" r="r" b="b"/>
                <a:pathLst>
                  <a:path w="251728" h="26315">
                    <a:moveTo>
                      <a:pt x="251729" y="23265"/>
                    </a:moveTo>
                    <a:lnTo>
                      <a:pt x="251430" y="26315"/>
                    </a:lnTo>
                    <a:lnTo>
                      <a:pt x="0" y="3050"/>
                    </a:lnTo>
                    <a:lnTo>
                      <a:pt x="299" y="0"/>
                    </a:lnTo>
                    <a:close/>
                  </a:path>
                </a:pathLst>
              </a:custGeom>
              <a:grpFill/>
              <a:ln w="5978" cap="flat">
                <a:noFill/>
                <a:prstDash val="solid"/>
                <a:miter/>
              </a:ln>
            </p:spPr>
            <p:txBody>
              <a:bodyPr rtlCol="0" anchor="ctr"/>
              <a:lstStyle/>
              <a:p>
                <a:endParaRPr lang="en-GB"/>
              </a:p>
            </p:txBody>
          </p:sp>
          <p:sp>
            <p:nvSpPr>
              <p:cNvPr id="1773" name="Vrije vorm: vorm 1772">
                <a:extLst>
                  <a:ext uri="{FF2B5EF4-FFF2-40B4-BE49-F238E27FC236}">
                    <a16:creationId xmlns:a16="http://schemas.microsoft.com/office/drawing/2014/main" id="{206B8ABC-489B-437C-A3FF-B01457A9580B}"/>
                  </a:ext>
                </a:extLst>
              </p:cNvPr>
              <p:cNvSpPr/>
              <p:nvPr/>
            </p:nvSpPr>
            <p:spPr>
              <a:xfrm>
                <a:off x="3992589" y="3217806"/>
                <a:ext cx="18323" cy="18383"/>
              </a:xfrm>
              <a:custGeom>
                <a:avLst/>
                <a:gdLst>
                  <a:gd name="connsiteX0" fmla="*/ 8354 w 18323"/>
                  <a:gd name="connsiteY0" fmla="*/ 18343 h 18383"/>
                  <a:gd name="connsiteX1" fmla="*/ 41 w 18323"/>
                  <a:gd name="connsiteY1" fmla="*/ 8355 h 18383"/>
                  <a:gd name="connsiteX2" fmla="*/ 9969 w 18323"/>
                  <a:gd name="connsiteY2" fmla="*/ 42 h 18383"/>
                  <a:gd name="connsiteX3" fmla="*/ 18282 w 18323"/>
                  <a:gd name="connsiteY3" fmla="*/ 10089 h 18383"/>
                  <a:gd name="connsiteX4" fmla="*/ 8354 w 18323"/>
                  <a:gd name="connsiteY4" fmla="*/ 18343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83">
                    <a:moveTo>
                      <a:pt x="8354" y="18343"/>
                    </a:moveTo>
                    <a:cubicBezTo>
                      <a:pt x="3330" y="17864"/>
                      <a:pt x="-438" y="13378"/>
                      <a:pt x="41" y="8355"/>
                    </a:cubicBezTo>
                    <a:cubicBezTo>
                      <a:pt x="460" y="3271"/>
                      <a:pt x="4945" y="-437"/>
                      <a:pt x="9969" y="42"/>
                    </a:cubicBezTo>
                    <a:cubicBezTo>
                      <a:pt x="14993" y="520"/>
                      <a:pt x="18761" y="5005"/>
                      <a:pt x="18282" y="10089"/>
                    </a:cubicBezTo>
                    <a:cubicBezTo>
                      <a:pt x="17804" y="15053"/>
                      <a:pt x="13378" y="18821"/>
                      <a:pt x="8354" y="18343"/>
                    </a:cubicBezTo>
                    <a:close/>
                  </a:path>
                </a:pathLst>
              </a:custGeom>
              <a:grpFill/>
              <a:ln w="5978" cap="flat">
                <a:noFill/>
                <a:prstDash val="solid"/>
                <a:miter/>
              </a:ln>
            </p:spPr>
            <p:txBody>
              <a:bodyPr rtlCol="0" anchor="ctr"/>
              <a:lstStyle/>
              <a:p>
                <a:endParaRPr lang="en-GB"/>
              </a:p>
            </p:txBody>
          </p:sp>
          <p:sp>
            <p:nvSpPr>
              <p:cNvPr id="1774" name="Vrije vorm: vorm 1773">
                <a:extLst>
                  <a:ext uri="{FF2B5EF4-FFF2-40B4-BE49-F238E27FC236}">
                    <a16:creationId xmlns:a16="http://schemas.microsoft.com/office/drawing/2014/main" id="{8A75CF13-28CE-4D5D-ABD0-D6AB66F7ED0D}"/>
                  </a:ext>
                </a:extLst>
              </p:cNvPr>
              <p:cNvSpPr/>
              <p:nvPr/>
            </p:nvSpPr>
            <p:spPr>
              <a:xfrm>
                <a:off x="4243070" y="3240892"/>
                <a:ext cx="18305" cy="18442"/>
              </a:xfrm>
              <a:custGeom>
                <a:avLst/>
                <a:gdLst>
                  <a:gd name="connsiteX0" fmla="*/ 8346 w 18305"/>
                  <a:gd name="connsiteY0" fmla="*/ 18402 h 18442"/>
                  <a:gd name="connsiteX1" fmla="*/ 18273 w 18305"/>
                  <a:gd name="connsiteY1" fmla="*/ 10089 h 18442"/>
                  <a:gd name="connsiteX2" fmla="*/ 9960 w 18305"/>
                  <a:gd name="connsiteY2" fmla="*/ 41 h 18442"/>
                  <a:gd name="connsiteX3" fmla="*/ 32 w 18305"/>
                  <a:gd name="connsiteY3" fmla="*/ 8354 h 18442"/>
                  <a:gd name="connsiteX4" fmla="*/ 8346 w 18305"/>
                  <a:gd name="connsiteY4" fmla="*/ 18402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42">
                    <a:moveTo>
                      <a:pt x="8346" y="18402"/>
                    </a:moveTo>
                    <a:cubicBezTo>
                      <a:pt x="13369" y="18880"/>
                      <a:pt x="17855" y="15112"/>
                      <a:pt x="18273" y="10089"/>
                    </a:cubicBezTo>
                    <a:cubicBezTo>
                      <a:pt x="18692" y="5005"/>
                      <a:pt x="14984" y="519"/>
                      <a:pt x="9960" y="41"/>
                    </a:cubicBezTo>
                    <a:cubicBezTo>
                      <a:pt x="4936" y="-437"/>
                      <a:pt x="451" y="3330"/>
                      <a:pt x="32" y="8354"/>
                    </a:cubicBezTo>
                    <a:cubicBezTo>
                      <a:pt x="-386" y="13498"/>
                      <a:pt x="3322" y="17983"/>
                      <a:pt x="8346" y="18402"/>
                    </a:cubicBezTo>
                    <a:close/>
                  </a:path>
                </a:pathLst>
              </a:custGeom>
              <a:grpFill/>
              <a:ln w="5978" cap="flat">
                <a:noFill/>
                <a:prstDash val="solid"/>
                <a:miter/>
              </a:ln>
            </p:spPr>
            <p:txBody>
              <a:bodyPr rtlCol="0" anchor="ctr"/>
              <a:lstStyle/>
              <a:p>
                <a:endParaRPr lang="en-GB"/>
              </a:p>
            </p:txBody>
          </p:sp>
        </p:grpSp>
        <p:grpSp>
          <p:nvGrpSpPr>
            <p:cNvPr id="1211" name="Graphic 3">
              <a:extLst>
                <a:ext uri="{FF2B5EF4-FFF2-40B4-BE49-F238E27FC236}">
                  <a16:creationId xmlns:a16="http://schemas.microsoft.com/office/drawing/2014/main" id="{5905F9A5-A746-436C-AA5C-089A0DB807D2}"/>
                </a:ext>
              </a:extLst>
            </p:cNvPr>
            <p:cNvGrpSpPr/>
            <p:nvPr/>
          </p:nvGrpSpPr>
          <p:grpSpPr>
            <a:xfrm>
              <a:off x="3928930" y="3292242"/>
              <a:ext cx="453708" cy="72437"/>
              <a:chOff x="3928930" y="3292242"/>
              <a:chExt cx="453708" cy="72437"/>
            </a:xfrm>
            <a:grpFill/>
          </p:grpSpPr>
          <p:sp>
            <p:nvSpPr>
              <p:cNvPr id="1769" name="Vrije vorm: vorm 1768">
                <a:extLst>
                  <a:ext uri="{FF2B5EF4-FFF2-40B4-BE49-F238E27FC236}">
                    <a16:creationId xmlns:a16="http://schemas.microsoft.com/office/drawing/2014/main" id="{3688DA49-0195-4D3F-94F9-335FA51E4B98}"/>
                  </a:ext>
                </a:extLst>
              </p:cNvPr>
              <p:cNvSpPr/>
              <p:nvPr/>
            </p:nvSpPr>
            <p:spPr>
              <a:xfrm>
                <a:off x="3937428" y="3299843"/>
                <a:ext cx="436652" cy="57235"/>
              </a:xfrm>
              <a:custGeom>
                <a:avLst/>
                <a:gdLst>
                  <a:gd name="connsiteX0" fmla="*/ 436652 w 436652"/>
                  <a:gd name="connsiteY0" fmla="*/ 54185 h 57235"/>
                  <a:gd name="connsiteX1" fmla="*/ 436293 w 436652"/>
                  <a:gd name="connsiteY1" fmla="*/ 57236 h 57235"/>
                  <a:gd name="connsiteX2" fmla="*/ 0 w 436652"/>
                  <a:gd name="connsiteY2" fmla="*/ 3050 h 57235"/>
                  <a:gd name="connsiteX3" fmla="*/ 359 w 436652"/>
                  <a:gd name="connsiteY3" fmla="*/ 0 h 57235"/>
                </a:gdLst>
                <a:ahLst/>
                <a:cxnLst>
                  <a:cxn ang="0">
                    <a:pos x="connsiteX0" y="connsiteY0"/>
                  </a:cxn>
                  <a:cxn ang="0">
                    <a:pos x="connsiteX1" y="connsiteY1"/>
                  </a:cxn>
                  <a:cxn ang="0">
                    <a:pos x="connsiteX2" y="connsiteY2"/>
                  </a:cxn>
                  <a:cxn ang="0">
                    <a:pos x="connsiteX3" y="connsiteY3"/>
                  </a:cxn>
                </a:cxnLst>
                <a:rect l="l" t="t" r="r" b="b"/>
                <a:pathLst>
                  <a:path w="436652" h="57235">
                    <a:moveTo>
                      <a:pt x="436652" y="54185"/>
                    </a:moveTo>
                    <a:lnTo>
                      <a:pt x="436293" y="57236"/>
                    </a:lnTo>
                    <a:lnTo>
                      <a:pt x="0" y="3050"/>
                    </a:lnTo>
                    <a:lnTo>
                      <a:pt x="359" y="0"/>
                    </a:lnTo>
                    <a:close/>
                  </a:path>
                </a:pathLst>
              </a:custGeom>
              <a:grpFill/>
              <a:ln w="5978" cap="flat">
                <a:noFill/>
                <a:prstDash val="solid"/>
                <a:miter/>
              </a:ln>
            </p:spPr>
            <p:txBody>
              <a:bodyPr rtlCol="0" anchor="ctr"/>
              <a:lstStyle/>
              <a:p>
                <a:endParaRPr lang="en-GB"/>
              </a:p>
            </p:txBody>
          </p:sp>
          <p:sp>
            <p:nvSpPr>
              <p:cNvPr id="1770" name="Vrije vorm: vorm 1769">
                <a:extLst>
                  <a:ext uri="{FF2B5EF4-FFF2-40B4-BE49-F238E27FC236}">
                    <a16:creationId xmlns:a16="http://schemas.microsoft.com/office/drawing/2014/main" id="{C1AB665A-9F7F-4DB3-A848-79D0E10DB329}"/>
                  </a:ext>
                </a:extLst>
              </p:cNvPr>
              <p:cNvSpPr/>
              <p:nvPr/>
            </p:nvSpPr>
            <p:spPr>
              <a:xfrm>
                <a:off x="4364326" y="3346248"/>
                <a:ext cx="18311" cy="18431"/>
              </a:xfrm>
              <a:custGeom>
                <a:avLst/>
                <a:gdLst>
                  <a:gd name="connsiteX0" fmla="*/ 10232 w 18311"/>
                  <a:gd name="connsiteY0" fmla="*/ 65 h 18431"/>
                  <a:gd name="connsiteX1" fmla="*/ 18247 w 18311"/>
                  <a:gd name="connsiteY1" fmla="*/ 10352 h 18431"/>
                  <a:gd name="connsiteX2" fmla="*/ 8079 w 18311"/>
                  <a:gd name="connsiteY2" fmla="*/ 18366 h 18431"/>
                  <a:gd name="connsiteX3" fmla="*/ 65 w 18311"/>
                  <a:gd name="connsiteY3" fmla="*/ 8079 h 18431"/>
                  <a:gd name="connsiteX4" fmla="*/ 10232 w 18311"/>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10232" y="65"/>
                    </a:moveTo>
                    <a:cubicBezTo>
                      <a:pt x="15256" y="663"/>
                      <a:pt x="18845" y="5268"/>
                      <a:pt x="18247" y="10352"/>
                    </a:cubicBezTo>
                    <a:cubicBezTo>
                      <a:pt x="17648" y="15376"/>
                      <a:pt x="13103" y="18964"/>
                      <a:pt x="8079" y="18366"/>
                    </a:cubicBezTo>
                    <a:cubicBezTo>
                      <a:pt x="3055" y="17768"/>
                      <a:pt x="-533" y="13163"/>
                      <a:pt x="65" y="8079"/>
                    </a:cubicBezTo>
                    <a:cubicBezTo>
                      <a:pt x="663" y="3055"/>
                      <a:pt x="5209" y="-533"/>
                      <a:pt x="10232" y="65"/>
                    </a:cubicBezTo>
                    <a:close/>
                  </a:path>
                </a:pathLst>
              </a:custGeom>
              <a:grpFill/>
              <a:ln w="5978" cap="flat">
                <a:noFill/>
                <a:prstDash val="solid"/>
                <a:miter/>
              </a:ln>
            </p:spPr>
            <p:txBody>
              <a:bodyPr rtlCol="0" anchor="ctr"/>
              <a:lstStyle/>
              <a:p>
                <a:endParaRPr lang="en-GB"/>
              </a:p>
            </p:txBody>
          </p:sp>
          <p:sp>
            <p:nvSpPr>
              <p:cNvPr id="1771" name="Vrije vorm: vorm 1770">
                <a:extLst>
                  <a:ext uri="{FF2B5EF4-FFF2-40B4-BE49-F238E27FC236}">
                    <a16:creationId xmlns:a16="http://schemas.microsoft.com/office/drawing/2014/main" id="{3E56188E-2402-4104-915B-F37D6410F203}"/>
                  </a:ext>
                </a:extLst>
              </p:cNvPr>
              <p:cNvSpPr/>
              <p:nvPr/>
            </p:nvSpPr>
            <p:spPr>
              <a:xfrm>
                <a:off x="3928930" y="3292242"/>
                <a:ext cx="18311" cy="18431"/>
              </a:xfrm>
              <a:custGeom>
                <a:avLst/>
                <a:gdLst>
                  <a:gd name="connsiteX0" fmla="*/ 10232 w 18311"/>
                  <a:gd name="connsiteY0" fmla="*/ 65 h 18431"/>
                  <a:gd name="connsiteX1" fmla="*/ 65 w 18311"/>
                  <a:gd name="connsiteY1" fmla="*/ 8079 h 18431"/>
                  <a:gd name="connsiteX2" fmla="*/ 8079 w 18311"/>
                  <a:gd name="connsiteY2" fmla="*/ 18366 h 18431"/>
                  <a:gd name="connsiteX3" fmla="*/ 18247 w 18311"/>
                  <a:gd name="connsiteY3" fmla="*/ 10352 h 18431"/>
                  <a:gd name="connsiteX4" fmla="*/ 10232 w 18311"/>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10232" y="65"/>
                    </a:moveTo>
                    <a:cubicBezTo>
                      <a:pt x="5208" y="-533"/>
                      <a:pt x="663" y="3055"/>
                      <a:pt x="65" y="8079"/>
                    </a:cubicBezTo>
                    <a:cubicBezTo>
                      <a:pt x="-533" y="13103"/>
                      <a:pt x="3055" y="17708"/>
                      <a:pt x="8079" y="18366"/>
                    </a:cubicBezTo>
                    <a:cubicBezTo>
                      <a:pt x="13103" y="18964"/>
                      <a:pt x="17648" y="15376"/>
                      <a:pt x="18247" y="10352"/>
                    </a:cubicBezTo>
                    <a:cubicBezTo>
                      <a:pt x="18845" y="5268"/>
                      <a:pt x="15256" y="663"/>
                      <a:pt x="10232" y="65"/>
                    </a:cubicBezTo>
                    <a:close/>
                  </a:path>
                </a:pathLst>
              </a:custGeom>
              <a:grpFill/>
              <a:ln w="5978" cap="flat">
                <a:noFill/>
                <a:prstDash val="solid"/>
                <a:miter/>
              </a:ln>
            </p:spPr>
            <p:txBody>
              <a:bodyPr rtlCol="0" anchor="ctr"/>
              <a:lstStyle/>
              <a:p>
                <a:endParaRPr lang="en-GB"/>
              </a:p>
            </p:txBody>
          </p:sp>
        </p:grpSp>
        <p:grpSp>
          <p:nvGrpSpPr>
            <p:cNvPr id="1212" name="Graphic 3">
              <a:extLst>
                <a:ext uri="{FF2B5EF4-FFF2-40B4-BE49-F238E27FC236}">
                  <a16:creationId xmlns:a16="http://schemas.microsoft.com/office/drawing/2014/main" id="{C5BDEE7B-6847-423F-B0A4-BC476CF65EEF}"/>
                </a:ext>
              </a:extLst>
            </p:cNvPr>
            <p:cNvGrpSpPr/>
            <p:nvPr/>
          </p:nvGrpSpPr>
          <p:grpSpPr>
            <a:xfrm>
              <a:off x="4556769" y="4601067"/>
              <a:ext cx="77538" cy="67834"/>
              <a:chOff x="4556769" y="4601067"/>
              <a:chExt cx="77538" cy="67834"/>
            </a:xfrm>
            <a:grpFill/>
          </p:grpSpPr>
          <p:sp>
            <p:nvSpPr>
              <p:cNvPr id="1766" name="Vrije vorm: vorm 1765">
                <a:extLst>
                  <a:ext uri="{FF2B5EF4-FFF2-40B4-BE49-F238E27FC236}">
                    <a16:creationId xmlns:a16="http://schemas.microsoft.com/office/drawing/2014/main" id="{D7DEA7D6-ABEA-4274-9876-58E94C16185D}"/>
                  </a:ext>
                </a:extLst>
              </p:cNvPr>
              <p:cNvSpPr/>
              <p:nvPr/>
            </p:nvSpPr>
            <p:spPr>
              <a:xfrm>
                <a:off x="4564626" y="4608844"/>
                <a:ext cx="61840" cy="52331"/>
              </a:xfrm>
              <a:custGeom>
                <a:avLst/>
                <a:gdLst>
                  <a:gd name="connsiteX0" fmla="*/ 61840 w 61840"/>
                  <a:gd name="connsiteY0" fmla="*/ 2333 h 52331"/>
                  <a:gd name="connsiteX1" fmla="*/ 1914 w 61840"/>
                  <a:gd name="connsiteY1" fmla="*/ 52331 h 52331"/>
                  <a:gd name="connsiteX2" fmla="*/ 0 w 61840"/>
                  <a:gd name="connsiteY2" fmla="*/ 49999 h 52331"/>
                  <a:gd name="connsiteX3" fmla="*/ 59867 w 61840"/>
                  <a:gd name="connsiteY3" fmla="*/ 0 h 52331"/>
                </a:gdLst>
                <a:ahLst/>
                <a:cxnLst>
                  <a:cxn ang="0">
                    <a:pos x="connsiteX0" y="connsiteY0"/>
                  </a:cxn>
                  <a:cxn ang="0">
                    <a:pos x="connsiteX1" y="connsiteY1"/>
                  </a:cxn>
                  <a:cxn ang="0">
                    <a:pos x="connsiteX2" y="connsiteY2"/>
                  </a:cxn>
                  <a:cxn ang="0">
                    <a:pos x="connsiteX3" y="connsiteY3"/>
                  </a:cxn>
                </a:cxnLst>
                <a:rect l="l" t="t" r="r" b="b"/>
                <a:pathLst>
                  <a:path w="61840" h="52331">
                    <a:moveTo>
                      <a:pt x="61840" y="2333"/>
                    </a:moveTo>
                    <a:lnTo>
                      <a:pt x="1914" y="52331"/>
                    </a:lnTo>
                    <a:lnTo>
                      <a:pt x="0" y="49999"/>
                    </a:lnTo>
                    <a:lnTo>
                      <a:pt x="59867" y="0"/>
                    </a:lnTo>
                    <a:close/>
                  </a:path>
                </a:pathLst>
              </a:custGeom>
              <a:grpFill/>
              <a:ln w="5978" cap="flat">
                <a:noFill/>
                <a:prstDash val="solid"/>
                <a:miter/>
              </a:ln>
            </p:spPr>
            <p:txBody>
              <a:bodyPr rtlCol="0" anchor="ctr"/>
              <a:lstStyle/>
              <a:p>
                <a:endParaRPr lang="en-GB"/>
              </a:p>
            </p:txBody>
          </p:sp>
          <p:sp>
            <p:nvSpPr>
              <p:cNvPr id="1767" name="Vrije vorm: vorm 1766">
                <a:extLst>
                  <a:ext uri="{FF2B5EF4-FFF2-40B4-BE49-F238E27FC236}">
                    <a16:creationId xmlns:a16="http://schemas.microsoft.com/office/drawing/2014/main" id="{9DD62FD1-FB92-4DD4-9E8E-A6A73B9FE7C8}"/>
                  </a:ext>
                </a:extLst>
              </p:cNvPr>
              <p:cNvSpPr/>
              <p:nvPr/>
            </p:nvSpPr>
            <p:spPr>
              <a:xfrm>
                <a:off x="4556769" y="4650453"/>
                <a:ext cx="18329" cy="18449"/>
              </a:xfrm>
              <a:custGeom>
                <a:avLst/>
                <a:gdLst>
                  <a:gd name="connsiteX0" fmla="*/ 15034 w 18329"/>
                  <a:gd name="connsiteY0" fmla="*/ 16344 h 18449"/>
                  <a:gd name="connsiteX1" fmla="*/ 2115 w 18329"/>
                  <a:gd name="connsiteY1" fmla="*/ 15089 h 18449"/>
                  <a:gd name="connsiteX2" fmla="*/ 3252 w 18329"/>
                  <a:gd name="connsiteY2" fmla="*/ 2111 h 18449"/>
                  <a:gd name="connsiteX3" fmla="*/ 16170 w 18329"/>
                  <a:gd name="connsiteY3" fmla="*/ 3306 h 18449"/>
                  <a:gd name="connsiteX4" fmla="*/ 15034 w 18329"/>
                  <a:gd name="connsiteY4" fmla="*/ 16344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15034" y="16344"/>
                    </a:moveTo>
                    <a:cubicBezTo>
                      <a:pt x="11146" y="19574"/>
                      <a:pt x="5345" y="19036"/>
                      <a:pt x="2115" y="15089"/>
                    </a:cubicBezTo>
                    <a:cubicBezTo>
                      <a:pt x="-1114" y="11141"/>
                      <a:pt x="-576" y="5340"/>
                      <a:pt x="3252" y="2111"/>
                    </a:cubicBezTo>
                    <a:cubicBezTo>
                      <a:pt x="7139" y="-1119"/>
                      <a:pt x="12941" y="-581"/>
                      <a:pt x="16170" y="3306"/>
                    </a:cubicBezTo>
                    <a:cubicBezTo>
                      <a:pt x="19460" y="7314"/>
                      <a:pt x="18921" y="13115"/>
                      <a:pt x="15034" y="16344"/>
                    </a:cubicBezTo>
                    <a:close/>
                  </a:path>
                </a:pathLst>
              </a:custGeom>
              <a:grpFill/>
              <a:ln w="5978" cap="flat">
                <a:noFill/>
                <a:prstDash val="solid"/>
                <a:miter/>
              </a:ln>
            </p:spPr>
            <p:txBody>
              <a:bodyPr rtlCol="0" anchor="ctr"/>
              <a:lstStyle/>
              <a:p>
                <a:endParaRPr lang="en-GB"/>
              </a:p>
            </p:txBody>
          </p:sp>
          <p:sp>
            <p:nvSpPr>
              <p:cNvPr id="1768" name="Vrije vorm: vorm 1767">
                <a:extLst>
                  <a:ext uri="{FF2B5EF4-FFF2-40B4-BE49-F238E27FC236}">
                    <a16:creationId xmlns:a16="http://schemas.microsoft.com/office/drawing/2014/main" id="{31F0AA8F-9625-439D-B52D-44F2251E50E7}"/>
                  </a:ext>
                </a:extLst>
              </p:cNvPr>
              <p:cNvSpPr/>
              <p:nvPr/>
            </p:nvSpPr>
            <p:spPr>
              <a:xfrm>
                <a:off x="4615923" y="4601067"/>
                <a:ext cx="18384" cy="18439"/>
              </a:xfrm>
              <a:custGeom>
                <a:avLst/>
                <a:gdLst>
                  <a:gd name="connsiteX0" fmla="*/ 15089 w 18384"/>
                  <a:gd name="connsiteY0" fmla="*/ 16329 h 18439"/>
                  <a:gd name="connsiteX1" fmla="*/ 16225 w 18384"/>
                  <a:gd name="connsiteY1" fmla="*/ 3351 h 18439"/>
                  <a:gd name="connsiteX2" fmla="*/ 3307 w 18384"/>
                  <a:gd name="connsiteY2" fmla="*/ 2155 h 18439"/>
                  <a:gd name="connsiteX3" fmla="*/ 2110 w 18384"/>
                  <a:gd name="connsiteY3" fmla="*/ 15133 h 18439"/>
                  <a:gd name="connsiteX4" fmla="*/ 15089 w 18384"/>
                  <a:gd name="connsiteY4" fmla="*/ 16329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39">
                    <a:moveTo>
                      <a:pt x="15089" y="16329"/>
                    </a:moveTo>
                    <a:cubicBezTo>
                      <a:pt x="18976" y="13099"/>
                      <a:pt x="19514" y="7298"/>
                      <a:pt x="16225" y="3351"/>
                    </a:cubicBezTo>
                    <a:cubicBezTo>
                      <a:pt x="12995" y="-597"/>
                      <a:pt x="7194" y="-1135"/>
                      <a:pt x="3307" y="2155"/>
                    </a:cubicBezTo>
                    <a:cubicBezTo>
                      <a:pt x="-581" y="5384"/>
                      <a:pt x="-1119" y="11185"/>
                      <a:pt x="2110" y="15133"/>
                    </a:cubicBezTo>
                    <a:cubicBezTo>
                      <a:pt x="5400" y="19020"/>
                      <a:pt x="11201" y="19558"/>
                      <a:pt x="15089" y="16329"/>
                    </a:cubicBezTo>
                    <a:close/>
                  </a:path>
                </a:pathLst>
              </a:custGeom>
              <a:grpFill/>
              <a:ln w="5978" cap="flat">
                <a:noFill/>
                <a:prstDash val="solid"/>
                <a:miter/>
              </a:ln>
            </p:spPr>
            <p:txBody>
              <a:bodyPr rtlCol="0" anchor="ctr"/>
              <a:lstStyle/>
              <a:p>
                <a:endParaRPr lang="en-GB"/>
              </a:p>
            </p:txBody>
          </p:sp>
        </p:grpSp>
        <p:grpSp>
          <p:nvGrpSpPr>
            <p:cNvPr id="1213" name="Graphic 3">
              <a:extLst>
                <a:ext uri="{FF2B5EF4-FFF2-40B4-BE49-F238E27FC236}">
                  <a16:creationId xmlns:a16="http://schemas.microsoft.com/office/drawing/2014/main" id="{E9D9A757-B5C9-4534-85CD-5BE58E194905}"/>
                </a:ext>
              </a:extLst>
            </p:cNvPr>
            <p:cNvGrpSpPr/>
            <p:nvPr/>
          </p:nvGrpSpPr>
          <p:grpSpPr>
            <a:xfrm>
              <a:off x="4026117" y="3373641"/>
              <a:ext cx="318183" cy="53895"/>
              <a:chOff x="4026117" y="3373641"/>
              <a:chExt cx="318183" cy="53895"/>
            </a:xfrm>
            <a:grpFill/>
          </p:grpSpPr>
          <p:sp>
            <p:nvSpPr>
              <p:cNvPr id="1763" name="Vrije vorm: vorm 1762">
                <a:extLst>
                  <a:ext uri="{FF2B5EF4-FFF2-40B4-BE49-F238E27FC236}">
                    <a16:creationId xmlns:a16="http://schemas.microsoft.com/office/drawing/2014/main" id="{8F630CD5-4687-496E-B7CE-61BDD5A14D40}"/>
                  </a:ext>
                </a:extLst>
              </p:cNvPr>
              <p:cNvSpPr/>
              <p:nvPr/>
            </p:nvSpPr>
            <p:spPr>
              <a:xfrm>
                <a:off x="4034674" y="3381301"/>
                <a:ext cx="301069" cy="38575"/>
              </a:xfrm>
              <a:custGeom>
                <a:avLst/>
                <a:gdLst>
                  <a:gd name="connsiteX0" fmla="*/ 301070 w 301069"/>
                  <a:gd name="connsiteY0" fmla="*/ 35526 h 38575"/>
                  <a:gd name="connsiteX1" fmla="*/ 300771 w 301069"/>
                  <a:gd name="connsiteY1" fmla="*/ 38576 h 38575"/>
                  <a:gd name="connsiteX2" fmla="*/ 0 w 301069"/>
                  <a:gd name="connsiteY2" fmla="*/ 3050 h 38575"/>
                  <a:gd name="connsiteX3" fmla="*/ 359 w 301069"/>
                  <a:gd name="connsiteY3" fmla="*/ 0 h 38575"/>
                </a:gdLst>
                <a:ahLst/>
                <a:cxnLst>
                  <a:cxn ang="0">
                    <a:pos x="connsiteX0" y="connsiteY0"/>
                  </a:cxn>
                  <a:cxn ang="0">
                    <a:pos x="connsiteX1" y="connsiteY1"/>
                  </a:cxn>
                  <a:cxn ang="0">
                    <a:pos x="connsiteX2" y="connsiteY2"/>
                  </a:cxn>
                  <a:cxn ang="0">
                    <a:pos x="connsiteX3" y="connsiteY3"/>
                  </a:cxn>
                </a:cxnLst>
                <a:rect l="l" t="t" r="r" b="b"/>
                <a:pathLst>
                  <a:path w="301069" h="38575">
                    <a:moveTo>
                      <a:pt x="301070" y="35526"/>
                    </a:moveTo>
                    <a:lnTo>
                      <a:pt x="300771" y="38576"/>
                    </a:lnTo>
                    <a:lnTo>
                      <a:pt x="0" y="3050"/>
                    </a:lnTo>
                    <a:lnTo>
                      <a:pt x="359" y="0"/>
                    </a:lnTo>
                    <a:close/>
                  </a:path>
                </a:pathLst>
              </a:custGeom>
              <a:grpFill/>
              <a:ln w="5978" cap="flat">
                <a:noFill/>
                <a:prstDash val="solid"/>
                <a:miter/>
              </a:ln>
            </p:spPr>
            <p:txBody>
              <a:bodyPr rtlCol="0" anchor="ctr"/>
              <a:lstStyle/>
              <a:p>
                <a:endParaRPr lang="en-GB"/>
              </a:p>
            </p:txBody>
          </p:sp>
          <p:sp>
            <p:nvSpPr>
              <p:cNvPr id="1764" name="Vrije vorm: vorm 1763">
                <a:extLst>
                  <a:ext uri="{FF2B5EF4-FFF2-40B4-BE49-F238E27FC236}">
                    <a16:creationId xmlns:a16="http://schemas.microsoft.com/office/drawing/2014/main" id="{C2456EDC-6D83-497E-BAC9-46FAA6024C56}"/>
                  </a:ext>
                </a:extLst>
              </p:cNvPr>
              <p:cNvSpPr/>
              <p:nvPr/>
            </p:nvSpPr>
            <p:spPr>
              <a:xfrm>
                <a:off x="4325931" y="3409106"/>
                <a:ext cx="18369" cy="18430"/>
              </a:xfrm>
              <a:custGeom>
                <a:avLst/>
                <a:gdLst>
                  <a:gd name="connsiteX0" fmla="*/ 10231 w 18369"/>
                  <a:gd name="connsiteY0" fmla="*/ 65 h 18430"/>
                  <a:gd name="connsiteX1" fmla="*/ 18305 w 18369"/>
                  <a:gd name="connsiteY1" fmla="*/ 10292 h 18430"/>
                  <a:gd name="connsiteX2" fmla="*/ 8138 w 18369"/>
                  <a:gd name="connsiteY2" fmla="*/ 18366 h 18430"/>
                  <a:gd name="connsiteX3" fmla="*/ 64 w 18369"/>
                  <a:gd name="connsiteY3" fmla="*/ 8139 h 18430"/>
                  <a:gd name="connsiteX4" fmla="*/ 10231 w 18369"/>
                  <a:gd name="connsiteY4" fmla="*/ 65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30">
                    <a:moveTo>
                      <a:pt x="10231" y="65"/>
                    </a:moveTo>
                    <a:cubicBezTo>
                      <a:pt x="15255" y="663"/>
                      <a:pt x="18904" y="5268"/>
                      <a:pt x="18305" y="10292"/>
                    </a:cubicBezTo>
                    <a:cubicBezTo>
                      <a:pt x="17707" y="15316"/>
                      <a:pt x="13222" y="18964"/>
                      <a:pt x="8138" y="18366"/>
                    </a:cubicBezTo>
                    <a:cubicBezTo>
                      <a:pt x="3114" y="17768"/>
                      <a:pt x="-534" y="13223"/>
                      <a:pt x="64" y="8139"/>
                    </a:cubicBezTo>
                    <a:cubicBezTo>
                      <a:pt x="662" y="3055"/>
                      <a:pt x="5208" y="-533"/>
                      <a:pt x="10231" y="65"/>
                    </a:cubicBezTo>
                    <a:close/>
                  </a:path>
                </a:pathLst>
              </a:custGeom>
              <a:grpFill/>
              <a:ln w="5978" cap="flat">
                <a:noFill/>
                <a:prstDash val="solid"/>
                <a:miter/>
              </a:ln>
            </p:spPr>
            <p:txBody>
              <a:bodyPr rtlCol="0" anchor="ctr"/>
              <a:lstStyle/>
              <a:p>
                <a:endParaRPr lang="en-GB"/>
              </a:p>
            </p:txBody>
          </p:sp>
          <p:sp>
            <p:nvSpPr>
              <p:cNvPr id="1765" name="Vrije vorm: vorm 1764">
                <a:extLst>
                  <a:ext uri="{FF2B5EF4-FFF2-40B4-BE49-F238E27FC236}">
                    <a16:creationId xmlns:a16="http://schemas.microsoft.com/office/drawing/2014/main" id="{A5EFC606-68C6-4522-A3EF-2DA7C81064E2}"/>
                  </a:ext>
                </a:extLst>
              </p:cNvPr>
              <p:cNvSpPr/>
              <p:nvPr/>
            </p:nvSpPr>
            <p:spPr>
              <a:xfrm>
                <a:off x="4026117" y="3373641"/>
                <a:ext cx="18358" cy="18430"/>
              </a:xfrm>
              <a:custGeom>
                <a:avLst/>
                <a:gdLst>
                  <a:gd name="connsiteX0" fmla="*/ 10231 w 18358"/>
                  <a:gd name="connsiteY0" fmla="*/ 64 h 18430"/>
                  <a:gd name="connsiteX1" fmla="*/ 64 w 18358"/>
                  <a:gd name="connsiteY1" fmla="*/ 8138 h 18430"/>
                  <a:gd name="connsiteX2" fmla="*/ 8138 w 18358"/>
                  <a:gd name="connsiteY2" fmla="*/ 18365 h 18430"/>
                  <a:gd name="connsiteX3" fmla="*/ 18305 w 18358"/>
                  <a:gd name="connsiteY3" fmla="*/ 10291 h 18430"/>
                  <a:gd name="connsiteX4" fmla="*/ 10231 w 18358"/>
                  <a:gd name="connsiteY4" fmla="*/ 64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30">
                    <a:moveTo>
                      <a:pt x="10231" y="64"/>
                    </a:moveTo>
                    <a:cubicBezTo>
                      <a:pt x="5208" y="-534"/>
                      <a:pt x="662" y="3114"/>
                      <a:pt x="64" y="8138"/>
                    </a:cubicBezTo>
                    <a:cubicBezTo>
                      <a:pt x="-534" y="13162"/>
                      <a:pt x="3114" y="17767"/>
                      <a:pt x="8138" y="18365"/>
                    </a:cubicBezTo>
                    <a:cubicBezTo>
                      <a:pt x="13162" y="18963"/>
                      <a:pt x="17707" y="15375"/>
                      <a:pt x="18305" y="10291"/>
                    </a:cubicBezTo>
                    <a:cubicBezTo>
                      <a:pt x="18844" y="5267"/>
                      <a:pt x="15255" y="662"/>
                      <a:pt x="10231" y="64"/>
                    </a:cubicBezTo>
                    <a:close/>
                  </a:path>
                </a:pathLst>
              </a:custGeom>
              <a:grpFill/>
              <a:ln w="5978" cap="flat">
                <a:noFill/>
                <a:prstDash val="solid"/>
                <a:miter/>
              </a:ln>
            </p:spPr>
            <p:txBody>
              <a:bodyPr rtlCol="0" anchor="ctr"/>
              <a:lstStyle/>
              <a:p>
                <a:endParaRPr lang="en-GB"/>
              </a:p>
            </p:txBody>
          </p:sp>
        </p:grpSp>
        <p:grpSp>
          <p:nvGrpSpPr>
            <p:cNvPr id="1214" name="Graphic 3">
              <a:extLst>
                <a:ext uri="{FF2B5EF4-FFF2-40B4-BE49-F238E27FC236}">
                  <a16:creationId xmlns:a16="http://schemas.microsoft.com/office/drawing/2014/main" id="{725E7F47-1435-41FD-A8DB-C0366E140891}"/>
                </a:ext>
              </a:extLst>
            </p:cNvPr>
            <p:cNvGrpSpPr/>
            <p:nvPr/>
          </p:nvGrpSpPr>
          <p:grpSpPr>
            <a:xfrm>
              <a:off x="4254446" y="3854300"/>
              <a:ext cx="157931" cy="56190"/>
              <a:chOff x="4254446" y="3854300"/>
              <a:chExt cx="157931" cy="56190"/>
            </a:xfrm>
            <a:grpFill/>
          </p:grpSpPr>
          <p:sp>
            <p:nvSpPr>
              <p:cNvPr id="1760" name="Vrije vorm: vorm 1759">
                <a:extLst>
                  <a:ext uri="{FF2B5EF4-FFF2-40B4-BE49-F238E27FC236}">
                    <a16:creationId xmlns:a16="http://schemas.microsoft.com/office/drawing/2014/main" id="{D757D6F0-493D-43D8-BBF1-C79DB31F8241}"/>
                  </a:ext>
                </a:extLst>
              </p:cNvPr>
              <p:cNvSpPr/>
              <p:nvPr/>
            </p:nvSpPr>
            <p:spPr>
              <a:xfrm>
                <a:off x="4263078" y="3861841"/>
                <a:ext cx="141232" cy="41082"/>
              </a:xfrm>
              <a:custGeom>
                <a:avLst/>
                <a:gdLst>
                  <a:gd name="connsiteX0" fmla="*/ 0 w 141232"/>
                  <a:gd name="connsiteY0" fmla="*/ 38138 h 41082"/>
                  <a:gd name="connsiteX1" fmla="*/ 140433 w 141232"/>
                  <a:gd name="connsiteY1" fmla="*/ 0 h 41082"/>
                  <a:gd name="connsiteX2" fmla="*/ 141232 w 141232"/>
                  <a:gd name="connsiteY2" fmla="*/ 2944 h 41082"/>
                  <a:gd name="connsiteX3" fmla="*/ 799 w 141232"/>
                  <a:gd name="connsiteY3" fmla="*/ 41082 h 41082"/>
                </a:gdLst>
                <a:ahLst/>
                <a:cxnLst>
                  <a:cxn ang="0">
                    <a:pos x="connsiteX0" y="connsiteY0"/>
                  </a:cxn>
                  <a:cxn ang="0">
                    <a:pos x="connsiteX1" y="connsiteY1"/>
                  </a:cxn>
                  <a:cxn ang="0">
                    <a:pos x="connsiteX2" y="connsiteY2"/>
                  </a:cxn>
                  <a:cxn ang="0">
                    <a:pos x="connsiteX3" y="connsiteY3"/>
                  </a:cxn>
                </a:cxnLst>
                <a:rect l="l" t="t" r="r" b="b"/>
                <a:pathLst>
                  <a:path w="141232" h="41082">
                    <a:moveTo>
                      <a:pt x="0" y="38138"/>
                    </a:moveTo>
                    <a:lnTo>
                      <a:pt x="140433" y="0"/>
                    </a:lnTo>
                    <a:lnTo>
                      <a:pt x="141232" y="2944"/>
                    </a:lnTo>
                    <a:lnTo>
                      <a:pt x="799" y="41082"/>
                    </a:lnTo>
                    <a:close/>
                  </a:path>
                </a:pathLst>
              </a:custGeom>
              <a:grpFill/>
              <a:ln w="5978" cap="flat">
                <a:noFill/>
                <a:prstDash val="solid"/>
                <a:miter/>
              </a:ln>
            </p:spPr>
            <p:txBody>
              <a:bodyPr rtlCol="0" anchor="ctr"/>
              <a:lstStyle/>
              <a:p>
                <a:endParaRPr lang="en-GB"/>
              </a:p>
            </p:txBody>
          </p:sp>
          <p:sp>
            <p:nvSpPr>
              <p:cNvPr id="1761" name="Vrije vorm: vorm 1760">
                <a:extLst>
                  <a:ext uri="{FF2B5EF4-FFF2-40B4-BE49-F238E27FC236}">
                    <a16:creationId xmlns:a16="http://schemas.microsoft.com/office/drawing/2014/main" id="{BE0606FC-4F91-425C-9BA2-6EB65C8DB0FD}"/>
                  </a:ext>
                </a:extLst>
              </p:cNvPr>
              <p:cNvSpPr/>
              <p:nvPr/>
            </p:nvSpPr>
            <p:spPr>
              <a:xfrm>
                <a:off x="4254446" y="3892039"/>
                <a:ext cx="18336" cy="18452"/>
              </a:xfrm>
              <a:custGeom>
                <a:avLst/>
                <a:gdLst>
                  <a:gd name="connsiteX0" fmla="*/ 11563 w 18336"/>
                  <a:gd name="connsiteY0" fmla="*/ 18138 h 18452"/>
                  <a:gd name="connsiteX1" fmla="*/ 319 w 18336"/>
                  <a:gd name="connsiteY1" fmla="*/ 11618 h 18452"/>
                  <a:gd name="connsiteX2" fmla="*/ 6778 w 18336"/>
                  <a:gd name="connsiteY2" fmla="*/ 315 h 18452"/>
                  <a:gd name="connsiteX3" fmla="*/ 18022 w 18336"/>
                  <a:gd name="connsiteY3" fmla="*/ 6834 h 18452"/>
                  <a:gd name="connsiteX4" fmla="*/ 11563 w 18336"/>
                  <a:gd name="connsiteY4" fmla="*/ 1813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2">
                    <a:moveTo>
                      <a:pt x="11563" y="18138"/>
                    </a:moveTo>
                    <a:cubicBezTo>
                      <a:pt x="6659" y="19453"/>
                      <a:pt x="1635" y="16523"/>
                      <a:pt x="319" y="11618"/>
                    </a:cubicBezTo>
                    <a:cubicBezTo>
                      <a:pt x="-997" y="6714"/>
                      <a:pt x="1874" y="1631"/>
                      <a:pt x="6778" y="315"/>
                    </a:cubicBezTo>
                    <a:cubicBezTo>
                      <a:pt x="11682" y="-1001"/>
                      <a:pt x="16706" y="1930"/>
                      <a:pt x="18022" y="6834"/>
                    </a:cubicBezTo>
                    <a:cubicBezTo>
                      <a:pt x="19338" y="11738"/>
                      <a:pt x="16407" y="16822"/>
                      <a:pt x="11563" y="18138"/>
                    </a:cubicBezTo>
                    <a:close/>
                  </a:path>
                </a:pathLst>
              </a:custGeom>
              <a:grpFill/>
              <a:ln w="5978" cap="flat">
                <a:noFill/>
                <a:prstDash val="solid"/>
                <a:miter/>
              </a:ln>
            </p:spPr>
            <p:txBody>
              <a:bodyPr rtlCol="0" anchor="ctr"/>
              <a:lstStyle/>
              <a:p>
                <a:endParaRPr lang="en-GB"/>
              </a:p>
            </p:txBody>
          </p:sp>
          <p:sp>
            <p:nvSpPr>
              <p:cNvPr id="1762" name="Vrije vorm: vorm 1761">
                <a:extLst>
                  <a:ext uri="{FF2B5EF4-FFF2-40B4-BE49-F238E27FC236}">
                    <a16:creationId xmlns:a16="http://schemas.microsoft.com/office/drawing/2014/main" id="{1036D939-FB55-437C-8504-E0FD031B46BA}"/>
                  </a:ext>
                </a:extLst>
              </p:cNvPr>
              <p:cNvSpPr/>
              <p:nvPr/>
            </p:nvSpPr>
            <p:spPr>
              <a:xfrm>
                <a:off x="4394036" y="3854300"/>
                <a:ext cx="18341" cy="18452"/>
              </a:xfrm>
              <a:custGeom>
                <a:avLst/>
                <a:gdLst>
                  <a:gd name="connsiteX0" fmla="*/ 11563 w 18341"/>
                  <a:gd name="connsiteY0" fmla="*/ 18138 h 18452"/>
                  <a:gd name="connsiteX1" fmla="*/ 18022 w 18341"/>
                  <a:gd name="connsiteY1" fmla="*/ 6834 h 18452"/>
                  <a:gd name="connsiteX2" fmla="*/ 6778 w 18341"/>
                  <a:gd name="connsiteY2" fmla="*/ 315 h 18452"/>
                  <a:gd name="connsiteX3" fmla="*/ 319 w 18341"/>
                  <a:gd name="connsiteY3" fmla="*/ 11618 h 18452"/>
                  <a:gd name="connsiteX4" fmla="*/ 11563 w 18341"/>
                  <a:gd name="connsiteY4" fmla="*/ 1813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2">
                    <a:moveTo>
                      <a:pt x="11563" y="18138"/>
                    </a:moveTo>
                    <a:cubicBezTo>
                      <a:pt x="16467" y="16822"/>
                      <a:pt x="19338" y="11738"/>
                      <a:pt x="18022" y="6834"/>
                    </a:cubicBezTo>
                    <a:cubicBezTo>
                      <a:pt x="16706" y="1930"/>
                      <a:pt x="11623" y="-1001"/>
                      <a:pt x="6778" y="315"/>
                    </a:cubicBezTo>
                    <a:cubicBezTo>
                      <a:pt x="1874" y="1631"/>
                      <a:pt x="-997" y="6714"/>
                      <a:pt x="319" y="11618"/>
                    </a:cubicBezTo>
                    <a:cubicBezTo>
                      <a:pt x="1635" y="16523"/>
                      <a:pt x="6659" y="19453"/>
                      <a:pt x="11563" y="18138"/>
                    </a:cubicBezTo>
                    <a:close/>
                  </a:path>
                </a:pathLst>
              </a:custGeom>
              <a:grpFill/>
              <a:ln w="5978" cap="flat">
                <a:noFill/>
                <a:prstDash val="solid"/>
                <a:miter/>
              </a:ln>
            </p:spPr>
            <p:txBody>
              <a:bodyPr rtlCol="0" anchor="ctr"/>
              <a:lstStyle/>
              <a:p>
                <a:endParaRPr lang="en-GB"/>
              </a:p>
            </p:txBody>
          </p:sp>
        </p:grpSp>
        <p:grpSp>
          <p:nvGrpSpPr>
            <p:cNvPr id="1215" name="Graphic 3">
              <a:extLst>
                <a:ext uri="{FF2B5EF4-FFF2-40B4-BE49-F238E27FC236}">
                  <a16:creationId xmlns:a16="http://schemas.microsoft.com/office/drawing/2014/main" id="{D0880CBB-162B-4F56-A388-92C0BC70828F}"/>
                </a:ext>
              </a:extLst>
            </p:cNvPr>
            <p:cNvGrpSpPr/>
            <p:nvPr/>
          </p:nvGrpSpPr>
          <p:grpSpPr>
            <a:xfrm>
              <a:off x="3993982" y="3256571"/>
              <a:ext cx="272050" cy="37135"/>
              <a:chOff x="3993982" y="3256571"/>
              <a:chExt cx="272050" cy="37135"/>
            </a:xfrm>
            <a:grpFill/>
          </p:grpSpPr>
          <p:sp>
            <p:nvSpPr>
              <p:cNvPr id="1757" name="Vrije vorm: vorm 1756">
                <a:extLst>
                  <a:ext uri="{FF2B5EF4-FFF2-40B4-BE49-F238E27FC236}">
                    <a16:creationId xmlns:a16="http://schemas.microsoft.com/office/drawing/2014/main" id="{68BCA874-560B-4C3D-A5D4-10D2F25E7872}"/>
                  </a:ext>
                </a:extLst>
              </p:cNvPr>
              <p:cNvSpPr/>
              <p:nvPr/>
            </p:nvSpPr>
            <p:spPr>
              <a:xfrm>
                <a:off x="4002617" y="3264198"/>
                <a:ext cx="254838" cy="21829"/>
              </a:xfrm>
              <a:custGeom>
                <a:avLst/>
                <a:gdLst>
                  <a:gd name="connsiteX0" fmla="*/ 254838 w 254838"/>
                  <a:gd name="connsiteY0" fmla="*/ 18779 h 21829"/>
                  <a:gd name="connsiteX1" fmla="*/ 254659 w 254838"/>
                  <a:gd name="connsiteY1" fmla="*/ 21830 h 21829"/>
                  <a:gd name="connsiteX2" fmla="*/ 0 w 254838"/>
                  <a:gd name="connsiteY2" fmla="*/ 3050 h 21829"/>
                  <a:gd name="connsiteX3" fmla="*/ 180 w 254838"/>
                  <a:gd name="connsiteY3" fmla="*/ 0 h 21829"/>
                </a:gdLst>
                <a:ahLst/>
                <a:cxnLst>
                  <a:cxn ang="0">
                    <a:pos x="connsiteX0" y="connsiteY0"/>
                  </a:cxn>
                  <a:cxn ang="0">
                    <a:pos x="connsiteX1" y="connsiteY1"/>
                  </a:cxn>
                  <a:cxn ang="0">
                    <a:pos x="connsiteX2" y="connsiteY2"/>
                  </a:cxn>
                  <a:cxn ang="0">
                    <a:pos x="connsiteX3" y="connsiteY3"/>
                  </a:cxn>
                </a:cxnLst>
                <a:rect l="l" t="t" r="r" b="b"/>
                <a:pathLst>
                  <a:path w="254838" h="21829">
                    <a:moveTo>
                      <a:pt x="254838" y="18779"/>
                    </a:moveTo>
                    <a:lnTo>
                      <a:pt x="254659" y="21830"/>
                    </a:lnTo>
                    <a:lnTo>
                      <a:pt x="0" y="3050"/>
                    </a:lnTo>
                    <a:lnTo>
                      <a:pt x="180" y="0"/>
                    </a:lnTo>
                    <a:close/>
                  </a:path>
                </a:pathLst>
              </a:custGeom>
              <a:grpFill/>
              <a:ln w="5978" cap="flat">
                <a:noFill/>
                <a:prstDash val="solid"/>
                <a:miter/>
              </a:ln>
            </p:spPr>
            <p:txBody>
              <a:bodyPr rtlCol="0" anchor="ctr"/>
              <a:lstStyle/>
              <a:p>
                <a:endParaRPr lang="en-GB"/>
              </a:p>
            </p:txBody>
          </p:sp>
          <p:sp>
            <p:nvSpPr>
              <p:cNvPr id="1758" name="Vrije vorm: vorm 1757">
                <a:extLst>
                  <a:ext uri="{FF2B5EF4-FFF2-40B4-BE49-F238E27FC236}">
                    <a16:creationId xmlns:a16="http://schemas.microsoft.com/office/drawing/2014/main" id="{89EA880E-6B72-49B2-A16E-7F04E3C2587C}"/>
                  </a:ext>
                </a:extLst>
              </p:cNvPr>
              <p:cNvSpPr/>
              <p:nvPr/>
            </p:nvSpPr>
            <p:spPr>
              <a:xfrm>
                <a:off x="3993982" y="3256571"/>
                <a:ext cx="18287" cy="18415"/>
              </a:xfrm>
              <a:custGeom>
                <a:avLst/>
                <a:gdLst>
                  <a:gd name="connsiteX0" fmla="*/ 8516 w 18287"/>
                  <a:gd name="connsiteY0" fmla="*/ 18392 h 18415"/>
                  <a:gd name="connsiteX1" fmla="*/ 23 w 18287"/>
                  <a:gd name="connsiteY1" fmla="*/ 8524 h 18415"/>
                  <a:gd name="connsiteX2" fmla="*/ 9772 w 18287"/>
                  <a:gd name="connsiteY2" fmla="*/ 31 h 18415"/>
                  <a:gd name="connsiteX3" fmla="*/ 18264 w 18287"/>
                  <a:gd name="connsiteY3" fmla="*/ 9899 h 18415"/>
                  <a:gd name="connsiteX4" fmla="*/ 8516 w 18287"/>
                  <a:gd name="connsiteY4" fmla="*/ 18392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5">
                    <a:moveTo>
                      <a:pt x="8516" y="18392"/>
                    </a:moveTo>
                    <a:cubicBezTo>
                      <a:pt x="3492" y="18033"/>
                      <a:pt x="-336" y="13608"/>
                      <a:pt x="23" y="8524"/>
                    </a:cubicBezTo>
                    <a:cubicBezTo>
                      <a:pt x="382" y="3440"/>
                      <a:pt x="4748" y="-387"/>
                      <a:pt x="9772" y="31"/>
                    </a:cubicBezTo>
                    <a:cubicBezTo>
                      <a:pt x="14796" y="390"/>
                      <a:pt x="18623" y="4816"/>
                      <a:pt x="18264" y="9899"/>
                    </a:cubicBezTo>
                    <a:cubicBezTo>
                      <a:pt x="17965" y="14983"/>
                      <a:pt x="13600" y="18751"/>
                      <a:pt x="8516" y="18392"/>
                    </a:cubicBezTo>
                    <a:close/>
                  </a:path>
                </a:pathLst>
              </a:custGeom>
              <a:grpFill/>
              <a:ln w="5978" cap="flat">
                <a:noFill/>
                <a:prstDash val="solid"/>
                <a:miter/>
              </a:ln>
            </p:spPr>
            <p:txBody>
              <a:bodyPr rtlCol="0" anchor="ctr"/>
              <a:lstStyle/>
              <a:p>
                <a:endParaRPr lang="en-GB"/>
              </a:p>
            </p:txBody>
          </p:sp>
          <p:sp>
            <p:nvSpPr>
              <p:cNvPr id="1759" name="Vrije vorm: vorm 1758">
                <a:extLst>
                  <a:ext uri="{FF2B5EF4-FFF2-40B4-BE49-F238E27FC236}">
                    <a16:creationId xmlns:a16="http://schemas.microsoft.com/office/drawing/2014/main" id="{BE72037D-8B61-4016-8DD0-28697A72CC9F}"/>
                  </a:ext>
                </a:extLst>
              </p:cNvPr>
              <p:cNvSpPr/>
              <p:nvPr/>
            </p:nvSpPr>
            <p:spPr>
              <a:xfrm>
                <a:off x="4247744" y="3275299"/>
                <a:ext cx="18288" cy="18407"/>
              </a:xfrm>
              <a:custGeom>
                <a:avLst/>
                <a:gdLst>
                  <a:gd name="connsiteX0" fmla="*/ 8516 w 18288"/>
                  <a:gd name="connsiteY0" fmla="*/ 18384 h 18407"/>
                  <a:gd name="connsiteX1" fmla="*/ 18265 w 18288"/>
                  <a:gd name="connsiteY1" fmla="*/ 9891 h 18407"/>
                  <a:gd name="connsiteX2" fmla="*/ 9772 w 18288"/>
                  <a:gd name="connsiteY2" fmla="*/ 23 h 18407"/>
                  <a:gd name="connsiteX3" fmla="*/ 23 w 18288"/>
                  <a:gd name="connsiteY3" fmla="*/ 8516 h 18407"/>
                  <a:gd name="connsiteX4" fmla="*/ 8516 w 18288"/>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07">
                    <a:moveTo>
                      <a:pt x="8516" y="18384"/>
                    </a:moveTo>
                    <a:cubicBezTo>
                      <a:pt x="13540" y="18743"/>
                      <a:pt x="17965" y="14915"/>
                      <a:pt x="18265" y="9891"/>
                    </a:cubicBezTo>
                    <a:cubicBezTo>
                      <a:pt x="18624" y="4808"/>
                      <a:pt x="14796" y="382"/>
                      <a:pt x="9772" y="23"/>
                    </a:cubicBezTo>
                    <a:cubicBezTo>
                      <a:pt x="4748" y="-336"/>
                      <a:pt x="323" y="3492"/>
                      <a:pt x="23" y="8516"/>
                    </a:cubicBezTo>
                    <a:cubicBezTo>
                      <a:pt x="-336" y="13599"/>
                      <a:pt x="3492" y="18025"/>
                      <a:pt x="8516" y="18384"/>
                    </a:cubicBezTo>
                    <a:close/>
                  </a:path>
                </a:pathLst>
              </a:custGeom>
              <a:grpFill/>
              <a:ln w="5978" cap="flat">
                <a:noFill/>
                <a:prstDash val="solid"/>
                <a:miter/>
              </a:ln>
            </p:spPr>
            <p:txBody>
              <a:bodyPr rtlCol="0" anchor="ctr"/>
              <a:lstStyle/>
              <a:p>
                <a:endParaRPr lang="en-GB"/>
              </a:p>
            </p:txBody>
          </p:sp>
        </p:grpSp>
        <p:grpSp>
          <p:nvGrpSpPr>
            <p:cNvPr id="1216" name="Graphic 3">
              <a:extLst>
                <a:ext uri="{FF2B5EF4-FFF2-40B4-BE49-F238E27FC236}">
                  <a16:creationId xmlns:a16="http://schemas.microsoft.com/office/drawing/2014/main" id="{D47A1C72-54CB-4861-A897-809F76E3D440}"/>
                </a:ext>
              </a:extLst>
            </p:cNvPr>
            <p:cNvGrpSpPr/>
            <p:nvPr/>
          </p:nvGrpSpPr>
          <p:grpSpPr>
            <a:xfrm>
              <a:off x="4706241" y="5125824"/>
              <a:ext cx="195851" cy="280842"/>
              <a:chOff x="4706241" y="5125824"/>
              <a:chExt cx="195851" cy="280842"/>
            </a:xfrm>
            <a:grpFill/>
          </p:grpSpPr>
          <p:sp>
            <p:nvSpPr>
              <p:cNvPr id="1754" name="Vrije vorm: vorm 1753">
                <a:extLst>
                  <a:ext uri="{FF2B5EF4-FFF2-40B4-BE49-F238E27FC236}">
                    <a16:creationId xmlns:a16="http://schemas.microsoft.com/office/drawing/2014/main" id="{F48592EC-7914-4932-9BB0-0828B35448BC}"/>
                  </a:ext>
                </a:extLst>
              </p:cNvPr>
              <p:cNvSpPr/>
              <p:nvPr/>
            </p:nvSpPr>
            <p:spPr>
              <a:xfrm>
                <a:off x="4713845" y="5133772"/>
                <a:ext cx="180617" cy="264945"/>
              </a:xfrm>
              <a:custGeom>
                <a:avLst/>
                <a:gdLst>
                  <a:gd name="connsiteX0" fmla="*/ 180618 w 180617"/>
                  <a:gd name="connsiteY0" fmla="*/ 1735 h 264945"/>
                  <a:gd name="connsiteX1" fmla="*/ 2572 w 180617"/>
                  <a:gd name="connsiteY1" fmla="*/ 264946 h 264945"/>
                  <a:gd name="connsiteX2" fmla="*/ 0 w 180617"/>
                  <a:gd name="connsiteY2" fmla="*/ 263212 h 264945"/>
                  <a:gd name="connsiteX3" fmla="*/ 178106 w 180617"/>
                  <a:gd name="connsiteY3" fmla="*/ 0 h 264945"/>
                </a:gdLst>
                <a:ahLst/>
                <a:cxnLst>
                  <a:cxn ang="0">
                    <a:pos x="connsiteX0" y="connsiteY0"/>
                  </a:cxn>
                  <a:cxn ang="0">
                    <a:pos x="connsiteX1" y="connsiteY1"/>
                  </a:cxn>
                  <a:cxn ang="0">
                    <a:pos x="connsiteX2" y="connsiteY2"/>
                  </a:cxn>
                  <a:cxn ang="0">
                    <a:pos x="connsiteX3" y="connsiteY3"/>
                  </a:cxn>
                </a:cxnLst>
                <a:rect l="l" t="t" r="r" b="b"/>
                <a:pathLst>
                  <a:path w="180617" h="264945">
                    <a:moveTo>
                      <a:pt x="180618" y="1735"/>
                    </a:moveTo>
                    <a:lnTo>
                      <a:pt x="2572" y="264946"/>
                    </a:lnTo>
                    <a:lnTo>
                      <a:pt x="0" y="263212"/>
                    </a:lnTo>
                    <a:lnTo>
                      <a:pt x="178106" y="0"/>
                    </a:lnTo>
                    <a:close/>
                  </a:path>
                </a:pathLst>
              </a:custGeom>
              <a:grpFill/>
              <a:ln w="5978" cap="flat">
                <a:noFill/>
                <a:prstDash val="solid"/>
                <a:miter/>
              </a:ln>
            </p:spPr>
            <p:txBody>
              <a:bodyPr rtlCol="0" anchor="ctr"/>
              <a:lstStyle/>
              <a:p>
                <a:endParaRPr lang="en-GB"/>
              </a:p>
            </p:txBody>
          </p:sp>
          <p:sp>
            <p:nvSpPr>
              <p:cNvPr id="1755" name="Vrije vorm: vorm 1754">
                <a:extLst>
                  <a:ext uri="{FF2B5EF4-FFF2-40B4-BE49-F238E27FC236}">
                    <a16:creationId xmlns:a16="http://schemas.microsoft.com/office/drawing/2014/main" id="{94CE0399-63AA-4712-91FD-BB63A105BBBB}"/>
                  </a:ext>
                </a:extLst>
              </p:cNvPr>
              <p:cNvSpPr/>
              <p:nvPr/>
            </p:nvSpPr>
            <p:spPr>
              <a:xfrm>
                <a:off x="4706241" y="5388258"/>
                <a:ext cx="18317" cy="18408"/>
              </a:xfrm>
              <a:custGeom>
                <a:avLst/>
                <a:gdLst>
                  <a:gd name="connsiteX0" fmla="*/ 16754 w 18317"/>
                  <a:gd name="connsiteY0" fmla="*/ 14407 h 18408"/>
                  <a:gd name="connsiteX1" fmla="*/ 4015 w 18317"/>
                  <a:gd name="connsiteY1" fmla="*/ 16799 h 18408"/>
                  <a:gd name="connsiteX2" fmla="*/ 1563 w 18317"/>
                  <a:gd name="connsiteY2" fmla="*/ 4001 h 18408"/>
                  <a:gd name="connsiteX3" fmla="*/ 14302 w 18317"/>
                  <a:gd name="connsiteY3" fmla="*/ 1609 h 18408"/>
                  <a:gd name="connsiteX4" fmla="*/ 16754 w 1831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08">
                    <a:moveTo>
                      <a:pt x="16754" y="14407"/>
                    </a:moveTo>
                    <a:cubicBezTo>
                      <a:pt x="13884" y="18594"/>
                      <a:pt x="8202" y="19670"/>
                      <a:pt x="4015" y="16799"/>
                    </a:cubicBezTo>
                    <a:cubicBezTo>
                      <a:pt x="-171" y="13929"/>
                      <a:pt x="-1248" y="8187"/>
                      <a:pt x="1563" y="4001"/>
                    </a:cubicBezTo>
                    <a:cubicBezTo>
                      <a:pt x="4374" y="-186"/>
                      <a:pt x="10116" y="-1262"/>
                      <a:pt x="14302" y="1609"/>
                    </a:cubicBezTo>
                    <a:cubicBezTo>
                      <a:pt x="18489" y="4479"/>
                      <a:pt x="19565" y="10221"/>
                      <a:pt x="16754" y="14407"/>
                    </a:cubicBezTo>
                    <a:close/>
                  </a:path>
                </a:pathLst>
              </a:custGeom>
              <a:grpFill/>
              <a:ln w="5978" cap="flat">
                <a:noFill/>
                <a:prstDash val="solid"/>
                <a:miter/>
              </a:ln>
            </p:spPr>
            <p:txBody>
              <a:bodyPr rtlCol="0" anchor="ctr"/>
              <a:lstStyle/>
              <a:p>
                <a:endParaRPr lang="en-GB"/>
              </a:p>
            </p:txBody>
          </p:sp>
          <p:sp>
            <p:nvSpPr>
              <p:cNvPr id="1756" name="Vrije vorm: vorm 1755">
                <a:extLst>
                  <a:ext uri="{FF2B5EF4-FFF2-40B4-BE49-F238E27FC236}">
                    <a16:creationId xmlns:a16="http://schemas.microsoft.com/office/drawing/2014/main" id="{904E26BC-E750-4580-A534-18D07FB5C513}"/>
                  </a:ext>
                </a:extLst>
              </p:cNvPr>
              <p:cNvSpPr/>
              <p:nvPr/>
            </p:nvSpPr>
            <p:spPr>
              <a:xfrm>
                <a:off x="4883749" y="5125824"/>
                <a:ext cx="18343" cy="18408"/>
              </a:xfrm>
              <a:custGeom>
                <a:avLst/>
                <a:gdLst>
                  <a:gd name="connsiteX0" fmla="*/ 16754 w 18343"/>
                  <a:gd name="connsiteY0" fmla="*/ 14407 h 18408"/>
                  <a:gd name="connsiteX1" fmla="*/ 14302 w 18343"/>
                  <a:gd name="connsiteY1" fmla="*/ 1609 h 18408"/>
                  <a:gd name="connsiteX2" fmla="*/ 1563 w 18343"/>
                  <a:gd name="connsiteY2" fmla="*/ 4001 h 18408"/>
                  <a:gd name="connsiteX3" fmla="*/ 4015 w 18343"/>
                  <a:gd name="connsiteY3" fmla="*/ 16799 h 18408"/>
                  <a:gd name="connsiteX4" fmla="*/ 16754 w 18343"/>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6754" y="14407"/>
                    </a:moveTo>
                    <a:cubicBezTo>
                      <a:pt x="19625" y="10221"/>
                      <a:pt x="18489" y="4479"/>
                      <a:pt x="14302" y="1609"/>
                    </a:cubicBezTo>
                    <a:cubicBezTo>
                      <a:pt x="10116" y="-1262"/>
                      <a:pt x="4434" y="-186"/>
                      <a:pt x="1563" y="4001"/>
                    </a:cubicBezTo>
                    <a:cubicBezTo>
                      <a:pt x="-1248" y="8188"/>
                      <a:pt x="-171" y="13929"/>
                      <a:pt x="4015" y="16799"/>
                    </a:cubicBezTo>
                    <a:cubicBezTo>
                      <a:pt x="8202" y="19670"/>
                      <a:pt x="13944" y="18594"/>
                      <a:pt x="16754" y="14407"/>
                    </a:cubicBezTo>
                    <a:close/>
                  </a:path>
                </a:pathLst>
              </a:custGeom>
              <a:grpFill/>
              <a:ln w="5978" cap="flat">
                <a:noFill/>
                <a:prstDash val="solid"/>
                <a:miter/>
              </a:ln>
            </p:spPr>
            <p:txBody>
              <a:bodyPr rtlCol="0" anchor="ctr"/>
              <a:lstStyle/>
              <a:p>
                <a:endParaRPr lang="en-GB"/>
              </a:p>
            </p:txBody>
          </p:sp>
        </p:grpSp>
        <p:grpSp>
          <p:nvGrpSpPr>
            <p:cNvPr id="1217" name="Graphic 3">
              <a:extLst>
                <a:ext uri="{FF2B5EF4-FFF2-40B4-BE49-F238E27FC236}">
                  <a16:creationId xmlns:a16="http://schemas.microsoft.com/office/drawing/2014/main" id="{A1894874-4F10-4AE1-AF87-33FF2C31563A}"/>
                </a:ext>
              </a:extLst>
            </p:cNvPr>
            <p:cNvGrpSpPr/>
            <p:nvPr/>
          </p:nvGrpSpPr>
          <p:grpSpPr>
            <a:xfrm>
              <a:off x="4403266" y="4121964"/>
              <a:ext cx="36209" cy="26293"/>
              <a:chOff x="4403266" y="4121964"/>
              <a:chExt cx="36209" cy="26293"/>
            </a:xfrm>
            <a:grpFill/>
          </p:grpSpPr>
          <p:sp>
            <p:nvSpPr>
              <p:cNvPr id="1751" name="Vrije vorm: vorm 1750">
                <a:extLst>
                  <a:ext uri="{FF2B5EF4-FFF2-40B4-BE49-F238E27FC236}">
                    <a16:creationId xmlns:a16="http://schemas.microsoft.com/office/drawing/2014/main" id="{7E63281C-F5FD-46F9-BE99-0CE14469AEB3}"/>
                  </a:ext>
                </a:extLst>
              </p:cNvPr>
              <p:cNvSpPr/>
              <p:nvPr/>
            </p:nvSpPr>
            <p:spPr>
              <a:xfrm>
                <a:off x="4411400" y="4129609"/>
                <a:ext cx="19915" cy="11064"/>
              </a:xfrm>
              <a:custGeom>
                <a:avLst/>
                <a:gdLst>
                  <a:gd name="connsiteX0" fmla="*/ 19916 w 19915"/>
                  <a:gd name="connsiteY0" fmla="*/ 2811 h 11064"/>
                  <a:gd name="connsiteX1" fmla="*/ 1196 w 19915"/>
                  <a:gd name="connsiteY1" fmla="*/ 11064 h 11064"/>
                  <a:gd name="connsiteX2" fmla="*/ 0 w 19915"/>
                  <a:gd name="connsiteY2" fmla="*/ 8253 h 11064"/>
                  <a:gd name="connsiteX3" fmla="*/ 18660 w 19915"/>
                  <a:gd name="connsiteY3" fmla="*/ 0 h 11064"/>
                </a:gdLst>
                <a:ahLst/>
                <a:cxnLst>
                  <a:cxn ang="0">
                    <a:pos x="connsiteX0" y="connsiteY0"/>
                  </a:cxn>
                  <a:cxn ang="0">
                    <a:pos x="connsiteX1" y="connsiteY1"/>
                  </a:cxn>
                  <a:cxn ang="0">
                    <a:pos x="connsiteX2" y="connsiteY2"/>
                  </a:cxn>
                  <a:cxn ang="0">
                    <a:pos x="connsiteX3" y="connsiteY3"/>
                  </a:cxn>
                </a:cxnLst>
                <a:rect l="l" t="t" r="r" b="b"/>
                <a:pathLst>
                  <a:path w="19915" h="11064">
                    <a:moveTo>
                      <a:pt x="19916" y="2811"/>
                    </a:moveTo>
                    <a:lnTo>
                      <a:pt x="1196" y="11064"/>
                    </a:lnTo>
                    <a:lnTo>
                      <a:pt x="0" y="8253"/>
                    </a:lnTo>
                    <a:lnTo>
                      <a:pt x="18660" y="0"/>
                    </a:lnTo>
                    <a:close/>
                  </a:path>
                </a:pathLst>
              </a:custGeom>
              <a:grpFill/>
              <a:ln w="5978" cap="flat">
                <a:noFill/>
                <a:prstDash val="solid"/>
                <a:miter/>
              </a:ln>
            </p:spPr>
            <p:txBody>
              <a:bodyPr rtlCol="0" anchor="ctr"/>
              <a:lstStyle/>
              <a:p>
                <a:endParaRPr lang="en-GB"/>
              </a:p>
            </p:txBody>
          </p:sp>
          <p:sp>
            <p:nvSpPr>
              <p:cNvPr id="1752" name="Vrije vorm: vorm 1751">
                <a:extLst>
                  <a:ext uri="{FF2B5EF4-FFF2-40B4-BE49-F238E27FC236}">
                    <a16:creationId xmlns:a16="http://schemas.microsoft.com/office/drawing/2014/main" id="{68106B23-2BC3-4F87-B5A5-3259FECCE2A7}"/>
                  </a:ext>
                </a:extLst>
              </p:cNvPr>
              <p:cNvSpPr/>
              <p:nvPr/>
            </p:nvSpPr>
            <p:spPr>
              <a:xfrm>
                <a:off x="4403266" y="4129799"/>
                <a:ext cx="18301" cy="18458"/>
              </a:xfrm>
              <a:custGeom>
                <a:avLst/>
                <a:gdLst>
                  <a:gd name="connsiteX0" fmla="*/ 12859 w 18301"/>
                  <a:gd name="connsiteY0" fmla="*/ 17692 h 18458"/>
                  <a:gd name="connsiteX1" fmla="*/ 777 w 18301"/>
                  <a:gd name="connsiteY1" fmla="*/ 12908 h 18458"/>
                  <a:gd name="connsiteX2" fmla="*/ 5443 w 18301"/>
                  <a:gd name="connsiteY2" fmla="*/ 767 h 18458"/>
                  <a:gd name="connsiteX3" fmla="*/ 17523 w 18301"/>
                  <a:gd name="connsiteY3" fmla="*/ 5551 h 18458"/>
                  <a:gd name="connsiteX4" fmla="*/ 12859 w 18301"/>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58">
                    <a:moveTo>
                      <a:pt x="12859" y="17692"/>
                    </a:moveTo>
                    <a:cubicBezTo>
                      <a:pt x="8253" y="19726"/>
                      <a:pt x="2811" y="17573"/>
                      <a:pt x="777" y="12908"/>
                    </a:cubicBezTo>
                    <a:cubicBezTo>
                      <a:pt x="-1256" y="8243"/>
                      <a:pt x="837" y="2800"/>
                      <a:pt x="5443" y="767"/>
                    </a:cubicBezTo>
                    <a:cubicBezTo>
                      <a:pt x="10048" y="-1267"/>
                      <a:pt x="15490" y="886"/>
                      <a:pt x="17523" y="5551"/>
                    </a:cubicBezTo>
                    <a:cubicBezTo>
                      <a:pt x="19557" y="10216"/>
                      <a:pt x="17464" y="15659"/>
                      <a:pt x="12859" y="17692"/>
                    </a:cubicBezTo>
                    <a:close/>
                  </a:path>
                </a:pathLst>
              </a:custGeom>
              <a:grpFill/>
              <a:ln w="5978" cap="flat">
                <a:noFill/>
                <a:prstDash val="solid"/>
                <a:miter/>
              </a:ln>
            </p:spPr>
            <p:txBody>
              <a:bodyPr rtlCol="0" anchor="ctr"/>
              <a:lstStyle/>
              <a:p>
                <a:endParaRPr lang="en-GB"/>
              </a:p>
            </p:txBody>
          </p:sp>
          <p:sp>
            <p:nvSpPr>
              <p:cNvPr id="1753" name="Vrije vorm: vorm 1752">
                <a:extLst>
                  <a:ext uri="{FF2B5EF4-FFF2-40B4-BE49-F238E27FC236}">
                    <a16:creationId xmlns:a16="http://schemas.microsoft.com/office/drawing/2014/main" id="{DA03FF34-8DF9-4AFA-BA59-D3C79C5D4696}"/>
                  </a:ext>
                </a:extLst>
              </p:cNvPr>
              <p:cNvSpPr/>
              <p:nvPr/>
            </p:nvSpPr>
            <p:spPr>
              <a:xfrm>
                <a:off x="4421148" y="4121964"/>
                <a:ext cx="18326" cy="18458"/>
              </a:xfrm>
              <a:custGeom>
                <a:avLst/>
                <a:gdLst>
                  <a:gd name="connsiteX0" fmla="*/ 12859 w 18326"/>
                  <a:gd name="connsiteY0" fmla="*/ 17692 h 18458"/>
                  <a:gd name="connsiteX1" fmla="*/ 17524 w 18326"/>
                  <a:gd name="connsiteY1" fmla="*/ 5551 h 18458"/>
                  <a:gd name="connsiteX2" fmla="*/ 5443 w 18326"/>
                  <a:gd name="connsiteY2" fmla="*/ 767 h 18458"/>
                  <a:gd name="connsiteX3" fmla="*/ 777 w 18326"/>
                  <a:gd name="connsiteY3" fmla="*/ 12907 h 18458"/>
                  <a:gd name="connsiteX4" fmla="*/ 12859 w 18326"/>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8">
                    <a:moveTo>
                      <a:pt x="12859" y="17692"/>
                    </a:moveTo>
                    <a:cubicBezTo>
                      <a:pt x="17464" y="15659"/>
                      <a:pt x="19617" y="10216"/>
                      <a:pt x="17524" y="5551"/>
                    </a:cubicBezTo>
                    <a:cubicBezTo>
                      <a:pt x="15490" y="886"/>
                      <a:pt x="10048" y="-1267"/>
                      <a:pt x="5443" y="767"/>
                    </a:cubicBezTo>
                    <a:cubicBezTo>
                      <a:pt x="837" y="2800"/>
                      <a:pt x="-1256" y="8243"/>
                      <a:pt x="777" y="12907"/>
                    </a:cubicBezTo>
                    <a:cubicBezTo>
                      <a:pt x="2811" y="17573"/>
                      <a:pt x="8194" y="19726"/>
                      <a:pt x="12859" y="17692"/>
                    </a:cubicBezTo>
                    <a:close/>
                  </a:path>
                </a:pathLst>
              </a:custGeom>
              <a:grpFill/>
              <a:ln w="5978" cap="flat">
                <a:noFill/>
                <a:prstDash val="solid"/>
                <a:miter/>
              </a:ln>
            </p:spPr>
            <p:txBody>
              <a:bodyPr rtlCol="0" anchor="ctr"/>
              <a:lstStyle/>
              <a:p>
                <a:endParaRPr lang="en-GB"/>
              </a:p>
            </p:txBody>
          </p:sp>
        </p:grpSp>
        <p:grpSp>
          <p:nvGrpSpPr>
            <p:cNvPr id="1218" name="Graphic 3">
              <a:extLst>
                <a:ext uri="{FF2B5EF4-FFF2-40B4-BE49-F238E27FC236}">
                  <a16:creationId xmlns:a16="http://schemas.microsoft.com/office/drawing/2014/main" id="{1754E72C-31EA-4763-AAF0-330D81D460CF}"/>
                </a:ext>
              </a:extLst>
            </p:cNvPr>
            <p:cNvGrpSpPr/>
            <p:nvPr/>
          </p:nvGrpSpPr>
          <p:grpSpPr>
            <a:xfrm>
              <a:off x="4094236" y="3337337"/>
              <a:ext cx="97318" cy="21243"/>
              <a:chOff x="4094236" y="3337337"/>
              <a:chExt cx="97318" cy="21243"/>
            </a:xfrm>
            <a:grpFill/>
          </p:grpSpPr>
          <p:sp>
            <p:nvSpPr>
              <p:cNvPr id="1748" name="Vrije vorm: vorm 1747">
                <a:extLst>
                  <a:ext uri="{FF2B5EF4-FFF2-40B4-BE49-F238E27FC236}">
                    <a16:creationId xmlns:a16="http://schemas.microsoft.com/office/drawing/2014/main" id="{162B1966-1625-470B-917F-ECCA0A0D022B}"/>
                  </a:ext>
                </a:extLst>
              </p:cNvPr>
              <p:cNvSpPr/>
              <p:nvPr/>
            </p:nvSpPr>
            <p:spPr>
              <a:xfrm>
                <a:off x="4102854" y="3344998"/>
                <a:ext cx="80081" cy="5921"/>
              </a:xfrm>
              <a:custGeom>
                <a:avLst/>
                <a:gdLst>
                  <a:gd name="connsiteX0" fmla="*/ 80082 w 80081"/>
                  <a:gd name="connsiteY0" fmla="*/ 2871 h 5921"/>
                  <a:gd name="connsiteX1" fmla="*/ 79962 w 80081"/>
                  <a:gd name="connsiteY1" fmla="*/ 5921 h 5921"/>
                  <a:gd name="connsiteX2" fmla="*/ 0 w 80081"/>
                  <a:gd name="connsiteY2" fmla="*/ 3050 h 5921"/>
                  <a:gd name="connsiteX3" fmla="*/ 120 w 80081"/>
                  <a:gd name="connsiteY3" fmla="*/ 0 h 5921"/>
                </a:gdLst>
                <a:ahLst/>
                <a:cxnLst>
                  <a:cxn ang="0">
                    <a:pos x="connsiteX0" y="connsiteY0"/>
                  </a:cxn>
                  <a:cxn ang="0">
                    <a:pos x="connsiteX1" y="connsiteY1"/>
                  </a:cxn>
                  <a:cxn ang="0">
                    <a:pos x="connsiteX2" y="connsiteY2"/>
                  </a:cxn>
                  <a:cxn ang="0">
                    <a:pos x="connsiteX3" y="connsiteY3"/>
                  </a:cxn>
                </a:cxnLst>
                <a:rect l="l" t="t" r="r" b="b"/>
                <a:pathLst>
                  <a:path w="80081" h="5921">
                    <a:moveTo>
                      <a:pt x="80082" y="2871"/>
                    </a:moveTo>
                    <a:lnTo>
                      <a:pt x="79962" y="5921"/>
                    </a:lnTo>
                    <a:lnTo>
                      <a:pt x="0" y="3050"/>
                    </a:lnTo>
                    <a:lnTo>
                      <a:pt x="120" y="0"/>
                    </a:lnTo>
                    <a:close/>
                  </a:path>
                </a:pathLst>
              </a:custGeom>
              <a:grpFill/>
              <a:ln w="5978" cap="flat">
                <a:noFill/>
                <a:prstDash val="solid"/>
                <a:miter/>
              </a:ln>
            </p:spPr>
            <p:txBody>
              <a:bodyPr rtlCol="0" anchor="ctr"/>
              <a:lstStyle/>
              <a:p>
                <a:endParaRPr lang="en-GB"/>
              </a:p>
            </p:txBody>
          </p:sp>
          <p:sp>
            <p:nvSpPr>
              <p:cNvPr id="1749" name="Vrije vorm: vorm 1748">
                <a:extLst>
                  <a:ext uri="{FF2B5EF4-FFF2-40B4-BE49-F238E27FC236}">
                    <a16:creationId xmlns:a16="http://schemas.microsoft.com/office/drawing/2014/main" id="{D617F073-0295-480E-AAAE-1DF9E0638071}"/>
                  </a:ext>
                </a:extLst>
              </p:cNvPr>
              <p:cNvSpPr/>
              <p:nvPr/>
            </p:nvSpPr>
            <p:spPr>
              <a:xfrm>
                <a:off x="4094236" y="3337337"/>
                <a:ext cx="18312" cy="18376"/>
              </a:xfrm>
              <a:custGeom>
                <a:avLst/>
                <a:gdLst>
                  <a:gd name="connsiteX0" fmla="*/ 8857 w 18312"/>
                  <a:gd name="connsiteY0" fmla="*/ 18367 h 18376"/>
                  <a:gd name="connsiteX1" fmla="*/ 6 w 18312"/>
                  <a:gd name="connsiteY1" fmla="*/ 8857 h 18376"/>
                  <a:gd name="connsiteX2" fmla="*/ 9456 w 18312"/>
                  <a:gd name="connsiteY2" fmla="*/ 6 h 18376"/>
                  <a:gd name="connsiteX3" fmla="*/ 18307 w 18312"/>
                  <a:gd name="connsiteY3" fmla="*/ 9515 h 18376"/>
                  <a:gd name="connsiteX4" fmla="*/ 8857 w 18312"/>
                  <a:gd name="connsiteY4" fmla="*/ 18367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6">
                    <a:moveTo>
                      <a:pt x="8857" y="18367"/>
                    </a:moveTo>
                    <a:cubicBezTo>
                      <a:pt x="3774" y="18187"/>
                      <a:pt x="-173" y="13941"/>
                      <a:pt x="6" y="8857"/>
                    </a:cubicBezTo>
                    <a:cubicBezTo>
                      <a:pt x="185" y="3774"/>
                      <a:pt x="4372" y="-174"/>
                      <a:pt x="9456" y="6"/>
                    </a:cubicBezTo>
                    <a:cubicBezTo>
                      <a:pt x="14539" y="185"/>
                      <a:pt x="18486" y="4432"/>
                      <a:pt x="18307" y="9515"/>
                    </a:cubicBezTo>
                    <a:cubicBezTo>
                      <a:pt x="18128" y="14599"/>
                      <a:pt x="13881" y="18606"/>
                      <a:pt x="8857" y="18367"/>
                    </a:cubicBezTo>
                    <a:close/>
                  </a:path>
                </a:pathLst>
              </a:custGeom>
              <a:grpFill/>
              <a:ln w="5978" cap="flat">
                <a:noFill/>
                <a:prstDash val="solid"/>
                <a:miter/>
              </a:ln>
            </p:spPr>
            <p:txBody>
              <a:bodyPr rtlCol="0" anchor="ctr"/>
              <a:lstStyle/>
              <a:p>
                <a:endParaRPr lang="en-GB"/>
              </a:p>
            </p:txBody>
          </p:sp>
          <p:sp>
            <p:nvSpPr>
              <p:cNvPr id="1750" name="Vrije vorm: vorm 1749">
                <a:extLst>
                  <a:ext uri="{FF2B5EF4-FFF2-40B4-BE49-F238E27FC236}">
                    <a16:creationId xmlns:a16="http://schemas.microsoft.com/office/drawing/2014/main" id="{24F9A9AD-00FF-4A0E-ADF1-CED9237FEA3C}"/>
                  </a:ext>
                </a:extLst>
              </p:cNvPr>
              <p:cNvSpPr/>
              <p:nvPr/>
            </p:nvSpPr>
            <p:spPr>
              <a:xfrm>
                <a:off x="4173242" y="3340207"/>
                <a:ext cx="18312" cy="18372"/>
              </a:xfrm>
              <a:custGeom>
                <a:avLst/>
                <a:gdLst>
                  <a:gd name="connsiteX0" fmla="*/ 8857 w 18312"/>
                  <a:gd name="connsiteY0" fmla="*/ 18367 h 18372"/>
                  <a:gd name="connsiteX1" fmla="*/ 18307 w 18312"/>
                  <a:gd name="connsiteY1" fmla="*/ 9515 h 18372"/>
                  <a:gd name="connsiteX2" fmla="*/ 9455 w 18312"/>
                  <a:gd name="connsiteY2" fmla="*/ 6 h 18372"/>
                  <a:gd name="connsiteX3" fmla="*/ 6 w 18312"/>
                  <a:gd name="connsiteY3" fmla="*/ 8857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13941" y="18546"/>
                      <a:pt x="18127" y="14599"/>
                      <a:pt x="18307" y="9515"/>
                    </a:cubicBezTo>
                    <a:cubicBezTo>
                      <a:pt x="18486" y="4432"/>
                      <a:pt x="14479" y="185"/>
                      <a:pt x="9455" y="6"/>
                    </a:cubicBezTo>
                    <a:cubicBezTo>
                      <a:pt x="4372" y="-174"/>
                      <a:pt x="185" y="3774"/>
                      <a:pt x="6" y="8857"/>
                    </a:cubicBezTo>
                    <a:cubicBezTo>
                      <a:pt x="-174" y="13941"/>
                      <a:pt x="3833" y="18187"/>
                      <a:pt x="8857" y="18367"/>
                    </a:cubicBezTo>
                    <a:close/>
                  </a:path>
                </a:pathLst>
              </a:custGeom>
              <a:grpFill/>
              <a:ln w="5978" cap="flat">
                <a:noFill/>
                <a:prstDash val="solid"/>
                <a:miter/>
              </a:ln>
            </p:spPr>
            <p:txBody>
              <a:bodyPr rtlCol="0" anchor="ctr"/>
              <a:lstStyle/>
              <a:p>
                <a:endParaRPr lang="en-GB"/>
              </a:p>
            </p:txBody>
          </p:sp>
        </p:grpSp>
        <p:grpSp>
          <p:nvGrpSpPr>
            <p:cNvPr id="1219" name="Graphic 3">
              <a:extLst>
                <a:ext uri="{FF2B5EF4-FFF2-40B4-BE49-F238E27FC236}">
                  <a16:creationId xmlns:a16="http://schemas.microsoft.com/office/drawing/2014/main" id="{D438C9B6-6CE7-467E-8C85-617568C71383}"/>
                </a:ext>
              </a:extLst>
            </p:cNvPr>
            <p:cNvGrpSpPr/>
            <p:nvPr/>
          </p:nvGrpSpPr>
          <p:grpSpPr>
            <a:xfrm>
              <a:off x="4185118" y="3755307"/>
              <a:ext cx="230318" cy="63015"/>
              <a:chOff x="4185118" y="3755307"/>
              <a:chExt cx="230318" cy="63015"/>
            </a:xfrm>
            <a:grpFill/>
          </p:grpSpPr>
          <p:sp>
            <p:nvSpPr>
              <p:cNvPr id="1745" name="Vrije vorm: vorm 1744">
                <a:extLst>
                  <a:ext uri="{FF2B5EF4-FFF2-40B4-BE49-F238E27FC236}">
                    <a16:creationId xmlns:a16="http://schemas.microsoft.com/office/drawing/2014/main" id="{C64FE792-F3C0-4E33-B0CE-9DA8BE5CC28A}"/>
                  </a:ext>
                </a:extLst>
              </p:cNvPr>
              <p:cNvSpPr/>
              <p:nvPr/>
            </p:nvSpPr>
            <p:spPr>
              <a:xfrm>
                <a:off x="4193521" y="3762926"/>
                <a:ext cx="213450" cy="47945"/>
              </a:xfrm>
              <a:custGeom>
                <a:avLst/>
                <a:gdLst>
                  <a:gd name="connsiteX0" fmla="*/ 0 w 213450"/>
                  <a:gd name="connsiteY0" fmla="*/ 44961 h 47945"/>
                  <a:gd name="connsiteX1" fmla="*/ 212821 w 213450"/>
                  <a:gd name="connsiteY1" fmla="*/ 0 h 47945"/>
                  <a:gd name="connsiteX2" fmla="*/ 213451 w 213450"/>
                  <a:gd name="connsiteY2" fmla="*/ 2984 h 47945"/>
                  <a:gd name="connsiteX3" fmla="*/ 631 w 213450"/>
                  <a:gd name="connsiteY3" fmla="*/ 47945 h 47945"/>
                </a:gdLst>
                <a:ahLst/>
                <a:cxnLst>
                  <a:cxn ang="0">
                    <a:pos x="connsiteX0" y="connsiteY0"/>
                  </a:cxn>
                  <a:cxn ang="0">
                    <a:pos x="connsiteX1" y="connsiteY1"/>
                  </a:cxn>
                  <a:cxn ang="0">
                    <a:pos x="connsiteX2" y="connsiteY2"/>
                  </a:cxn>
                  <a:cxn ang="0">
                    <a:pos x="connsiteX3" y="connsiteY3"/>
                  </a:cxn>
                </a:cxnLst>
                <a:rect l="l" t="t" r="r" b="b"/>
                <a:pathLst>
                  <a:path w="213450" h="47945">
                    <a:moveTo>
                      <a:pt x="0" y="44961"/>
                    </a:moveTo>
                    <a:lnTo>
                      <a:pt x="212821" y="0"/>
                    </a:lnTo>
                    <a:lnTo>
                      <a:pt x="213451" y="2984"/>
                    </a:lnTo>
                    <a:lnTo>
                      <a:pt x="631" y="47945"/>
                    </a:lnTo>
                    <a:close/>
                  </a:path>
                </a:pathLst>
              </a:custGeom>
              <a:grpFill/>
              <a:ln w="5978" cap="flat">
                <a:noFill/>
                <a:prstDash val="solid"/>
                <a:miter/>
              </a:ln>
            </p:spPr>
            <p:txBody>
              <a:bodyPr rtlCol="0" anchor="ctr"/>
              <a:lstStyle/>
              <a:p>
                <a:endParaRPr lang="en-GB"/>
              </a:p>
            </p:txBody>
          </p:sp>
          <p:sp>
            <p:nvSpPr>
              <p:cNvPr id="1746" name="Vrije vorm: vorm 1745">
                <a:extLst>
                  <a:ext uri="{FF2B5EF4-FFF2-40B4-BE49-F238E27FC236}">
                    <a16:creationId xmlns:a16="http://schemas.microsoft.com/office/drawing/2014/main" id="{553198C2-9477-429B-8F52-6758A5F1D8AF}"/>
                  </a:ext>
                </a:extLst>
              </p:cNvPr>
              <p:cNvSpPr/>
              <p:nvPr/>
            </p:nvSpPr>
            <p:spPr>
              <a:xfrm>
                <a:off x="4185118" y="3799941"/>
                <a:ext cx="18362" cy="18381"/>
              </a:xfrm>
              <a:custGeom>
                <a:avLst/>
                <a:gdLst>
                  <a:gd name="connsiteX0" fmla="*/ 11095 w 18362"/>
                  <a:gd name="connsiteY0" fmla="*/ 18192 h 18381"/>
                  <a:gd name="connsiteX1" fmla="*/ 210 w 18362"/>
                  <a:gd name="connsiteY1" fmla="*/ 11075 h 18381"/>
                  <a:gd name="connsiteX2" fmla="*/ 7268 w 18362"/>
                  <a:gd name="connsiteY2" fmla="*/ 190 h 18381"/>
                  <a:gd name="connsiteX3" fmla="*/ 18152 w 18362"/>
                  <a:gd name="connsiteY3" fmla="*/ 7307 h 18381"/>
                  <a:gd name="connsiteX4" fmla="*/ 11095 w 18362"/>
                  <a:gd name="connsiteY4" fmla="*/ 18192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381">
                    <a:moveTo>
                      <a:pt x="11095" y="18192"/>
                    </a:moveTo>
                    <a:cubicBezTo>
                      <a:pt x="6131" y="19208"/>
                      <a:pt x="1287" y="16039"/>
                      <a:pt x="210" y="11075"/>
                    </a:cubicBezTo>
                    <a:cubicBezTo>
                      <a:pt x="-867" y="6111"/>
                      <a:pt x="2303" y="1206"/>
                      <a:pt x="7268" y="190"/>
                    </a:cubicBezTo>
                    <a:cubicBezTo>
                      <a:pt x="12231" y="-827"/>
                      <a:pt x="17076" y="2343"/>
                      <a:pt x="18152" y="7307"/>
                    </a:cubicBezTo>
                    <a:cubicBezTo>
                      <a:pt x="19229" y="12271"/>
                      <a:pt x="16059" y="17175"/>
                      <a:pt x="11095" y="18192"/>
                    </a:cubicBezTo>
                    <a:close/>
                  </a:path>
                </a:pathLst>
              </a:custGeom>
              <a:grpFill/>
              <a:ln w="5978" cap="flat">
                <a:noFill/>
                <a:prstDash val="solid"/>
                <a:miter/>
              </a:ln>
            </p:spPr>
            <p:txBody>
              <a:bodyPr rtlCol="0" anchor="ctr"/>
              <a:lstStyle/>
              <a:p>
                <a:endParaRPr lang="en-GB"/>
              </a:p>
            </p:txBody>
          </p:sp>
          <p:sp>
            <p:nvSpPr>
              <p:cNvPr id="1747" name="Vrije vorm: vorm 1746">
                <a:extLst>
                  <a:ext uri="{FF2B5EF4-FFF2-40B4-BE49-F238E27FC236}">
                    <a16:creationId xmlns:a16="http://schemas.microsoft.com/office/drawing/2014/main" id="{F365BD54-4BB4-4DB0-9A1C-5B4F79F354C4}"/>
                  </a:ext>
                </a:extLst>
              </p:cNvPr>
              <p:cNvSpPr/>
              <p:nvPr/>
            </p:nvSpPr>
            <p:spPr>
              <a:xfrm>
                <a:off x="4397075" y="3755307"/>
                <a:ext cx="18362" cy="18398"/>
              </a:xfrm>
              <a:custGeom>
                <a:avLst/>
                <a:gdLst>
                  <a:gd name="connsiteX0" fmla="*/ 11095 w 18362"/>
                  <a:gd name="connsiteY0" fmla="*/ 18209 h 18398"/>
                  <a:gd name="connsiteX1" fmla="*/ 18152 w 18362"/>
                  <a:gd name="connsiteY1" fmla="*/ 7324 h 18398"/>
                  <a:gd name="connsiteX2" fmla="*/ 7267 w 18362"/>
                  <a:gd name="connsiteY2" fmla="*/ 207 h 18398"/>
                  <a:gd name="connsiteX3" fmla="*/ 210 w 18362"/>
                  <a:gd name="connsiteY3" fmla="*/ 11092 h 18398"/>
                  <a:gd name="connsiteX4" fmla="*/ 11095 w 18362"/>
                  <a:gd name="connsiteY4" fmla="*/ 1820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398">
                    <a:moveTo>
                      <a:pt x="11095" y="18209"/>
                    </a:moveTo>
                    <a:cubicBezTo>
                      <a:pt x="16059" y="17192"/>
                      <a:pt x="19229" y="12288"/>
                      <a:pt x="18152" y="7324"/>
                    </a:cubicBezTo>
                    <a:cubicBezTo>
                      <a:pt x="17076" y="2360"/>
                      <a:pt x="12231" y="-869"/>
                      <a:pt x="7267" y="207"/>
                    </a:cubicBezTo>
                    <a:cubicBezTo>
                      <a:pt x="2303" y="1224"/>
                      <a:pt x="-867" y="6128"/>
                      <a:pt x="210" y="11092"/>
                    </a:cubicBezTo>
                    <a:cubicBezTo>
                      <a:pt x="1286" y="16056"/>
                      <a:pt x="6131" y="19226"/>
                      <a:pt x="11095" y="18209"/>
                    </a:cubicBezTo>
                    <a:close/>
                  </a:path>
                </a:pathLst>
              </a:custGeom>
              <a:grpFill/>
              <a:ln w="5978" cap="flat">
                <a:noFill/>
                <a:prstDash val="solid"/>
                <a:miter/>
              </a:ln>
            </p:spPr>
            <p:txBody>
              <a:bodyPr rtlCol="0" anchor="ctr"/>
              <a:lstStyle/>
              <a:p>
                <a:endParaRPr lang="en-GB"/>
              </a:p>
            </p:txBody>
          </p:sp>
        </p:grpSp>
        <p:grpSp>
          <p:nvGrpSpPr>
            <p:cNvPr id="1220" name="Graphic 3">
              <a:extLst>
                <a:ext uri="{FF2B5EF4-FFF2-40B4-BE49-F238E27FC236}">
                  <a16:creationId xmlns:a16="http://schemas.microsoft.com/office/drawing/2014/main" id="{A3BF9386-D852-424B-910E-FDD19FE04B20}"/>
                </a:ext>
              </a:extLst>
            </p:cNvPr>
            <p:cNvGrpSpPr/>
            <p:nvPr/>
          </p:nvGrpSpPr>
          <p:grpSpPr>
            <a:xfrm>
              <a:off x="4592634" y="4706195"/>
              <a:ext cx="29269" cy="28199"/>
              <a:chOff x="4592634" y="4706195"/>
              <a:chExt cx="29269" cy="28199"/>
            </a:xfrm>
            <a:grpFill/>
          </p:grpSpPr>
          <p:sp>
            <p:nvSpPr>
              <p:cNvPr id="1742" name="Vrije vorm: vorm 1741">
                <a:extLst>
                  <a:ext uri="{FF2B5EF4-FFF2-40B4-BE49-F238E27FC236}">
                    <a16:creationId xmlns:a16="http://schemas.microsoft.com/office/drawing/2014/main" id="{444C083D-1622-4ACC-95BD-824AB2AD93AB}"/>
                  </a:ext>
                </a:extLst>
              </p:cNvPr>
              <p:cNvSpPr/>
              <p:nvPr/>
            </p:nvSpPr>
            <p:spPr>
              <a:xfrm>
                <a:off x="4600451" y="4713865"/>
                <a:ext cx="13635" cy="12798"/>
              </a:xfrm>
              <a:custGeom>
                <a:avLst/>
                <a:gdLst>
                  <a:gd name="connsiteX0" fmla="*/ 13636 w 13635"/>
                  <a:gd name="connsiteY0" fmla="*/ 2332 h 12798"/>
                  <a:gd name="connsiteX1" fmla="*/ 2033 w 13635"/>
                  <a:gd name="connsiteY1" fmla="*/ 12798 h 12798"/>
                  <a:gd name="connsiteX2" fmla="*/ 0 w 13635"/>
                  <a:gd name="connsiteY2" fmla="*/ 10466 h 12798"/>
                  <a:gd name="connsiteX3" fmla="*/ 11603 w 13635"/>
                  <a:gd name="connsiteY3" fmla="*/ 0 h 12798"/>
                </a:gdLst>
                <a:ahLst/>
                <a:cxnLst>
                  <a:cxn ang="0">
                    <a:pos x="connsiteX0" y="connsiteY0"/>
                  </a:cxn>
                  <a:cxn ang="0">
                    <a:pos x="connsiteX1" y="connsiteY1"/>
                  </a:cxn>
                  <a:cxn ang="0">
                    <a:pos x="connsiteX2" y="connsiteY2"/>
                  </a:cxn>
                  <a:cxn ang="0">
                    <a:pos x="connsiteX3" y="connsiteY3"/>
                  </a:cxn>
                </a:cxnLst>
                <a:rect l="l" t="t" r="r" b="b"/>
                <a:pathLst>
                  <a:path w="13635" h="12798">
                    <a:moveTo>
                      <a:pt x="13636" y="2332"/>
                    </a:moveTo>
                    <a:lnTo>
                      <a:pt x="2033" y="12798"/>
                    </a:lnTo>
                    <a:lnTo>
                      <a:pt x="0" y="10466"/>
                    </a:lnTo>
                    <a:lnTo>
                      <a:pt x="11603" y="0"/>
                    </a:lnTo>
                    <a:close/>
                  </a:path>
                </a:pathLst>
              </a:custGeom>
              <a:grpFill/>
              <a:ln w="5978" cap="flat">
                <a:noFill/>
                <a:prstDash val="solid"/>
                <a:miter/>
              </a:ln>
            </p:spPr>
            <p:txBody>
              <a:bodyPr rtlCol="0" anchor="ctr"/>
              <a:lstStyle/>
              <a:p>
                <a:endParaRPr lang="en-GB"/>
              </a:p>
            </p:txBody>
          </p:sp>
          <p:sp>
            <p:nvSpPr>
              <p:cNvPr id="1743" name="Vrije vorm: vorm 1742">
                <a:extLst>
                  <a:ext uri="{FF2B5EF4-FFF2-40B4-BE49-F238E27FC236}">
                    <a16:creationId xmlns:a16="http://schemas.microsoft.com/office/drawing/2014/main" id="{44AF294D-BE5A-4467-ADF0-43B7B653D27D}"/>
                  </a:ext>
                </a:extLst>
              </p:cNvPr>
              <p:cNvSpPr/>
              <p:nvPr/>
            </p:nvSpPr>
            <p:spPr>
              <a:xfrm>
                <a:off x="4592634" y="4716003"/>
                <a:ext cx="18324" cy="18391"/>
              </a:xfrm>
              <a:custGeom>
                <a:avLst/>
                <a:gdLst>
                  <a:gd name="connsiteX0" fmla="*/ 15293 w 18324"/>
                  <a:gd name="connsiteY0" fmla="*/ 16043 h 18391"/>
                  <a:gd name="connsiteX1" fmla="*/ 2374 w 18324"/>
                  <a:gd name="connsiteY1" fmla="*/ 15326 h 18391"/>
                  <a:gd name="connsiteX2" fmla="*/ 3032 w 18324"/>
                  <a:gd name="connsiteY2" fmla="*/ 2348 h 18391"/>
                  <a:gd name="connsiteX3" fmla="*/ 15950 w 18324"/>
                  <a:gd name="connsiteY3" fmla="*/ 3065 h 18391"/>
                  <a:gd name="connsiteX4" fmla="*/ 15293 w 18324"/>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1">
                    <a:moveTo>
                      <a:pt x="15293" y="16043"/>
                    </a:moveTo>
                    <a:cubicBezTo>
                      <a:pt x="11525" y="19452"/>
                      <a:pt x="5723" y="19094"/>
                      <a:pt x="2374" y="15326"/>
                    </a:cubicBezTo>
                    <a:cubicBezTo>
                      <a:pt x="-1035" y="11558"/>
                      <a:pt x="-736" y="5697"/>
                      <a:pt x="3032" y="2348"/>
                    </a:cubicBezTo>
                    <a:cubicBezTo>
                      <a:pt x="6800" y="-1061"/>
                      <a:pt x="12601" y="-703"/>
                      <a:pt x="15950" y="3065"/>
                    </a:cubicBezTo>
                    <a:cubicBezTo>
                      <a:pt x="19360" y="6833"/>
                      <a:pt x="19061" y="12694"/>
                      <a:pt x="15293" y="16043"/>
                    </a:cubicBezTo>
                    <a:close/>
                  </a:path>
                </a:pathLst>
              </a:custGeom>
              <a:grpFill/>
              <a:ln w="5978" cap="flat">
                <a:noFill/>
                <a:prstDash val="solid"/>
                <a:miter/>
              </a:ln>
            </p:spPr>
            <p:txBody>
              <a:bodyPr rtlCol="0" anchor="ctr"/>
              <a:lstStyle/>
              <a:p>
                <a:endParaRPr lang="en-GB"/>
              </a:p>
            </p:txBody>
          </p:sp>
          <p:sp>
            <p:nvSpPr>
              <p:cNvPr id="1744" name="Vrije vorm: vorm 1743">
                <a:extLst>
                  <a:ext uri="{FF2B5EF4-FFF2-40B4-BE49-F238E27FC236}">
                    <a16:creationId xmlns:a16="http://schemas.microsoft.com/office/drawing/2014/main" id="{C9E77231-D780-4E07-B7D9-55627EFF71B4}"/>
                  </a:ext>
                </a:extLst>
              </p:cNvPr>
              <p:cNvSpPr/>
              <p:nvPr/>
            </p:nvSpPr>
            <p:spPr>
              <a:xfrm>
                <a:off x="4603578" y="4706195"/>
                <a:ext cx="18325" cy="18367"/>
              </a:xfrm>
              <a:custGeom>
                <a:avLst/>
                <a:gdLst>
                  <a:gd name="connsiteX0" fmla="*/ 15293 w 18325"/>
                  <a:gd name="connsiteY0" fmla="*/ 16043 h 18367"/>
                  <a:gd name="connsiteX1" fmla="*/ 15951 w 18325"/>
                  <a:gd name="connsiteY1" fmla="*/ 3065 h 18367"/>
                  <a:gd name="connsiteX2" fmla="*/ 3032 w 18325"/>
                  <a:gd name="connsiteY2" fmla="*/ 2348 h 18367"/>
                  <a:gd name="connsiteX3" fmla="*/ 2374 w 18325"/>
                  <a:gd name="connsiteY3" fmla="*/ 15326 h 18367"/>
                  <a:gd name="connsiteX4" fmla="*/ 15293 w 18325"/>
                  <a:gd name="connsiteY4" fmla="*/ 1604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67">
                    <a:moveTo>
                      <a:pt x="15293" y="16043"/>
                    </a:moveTo>
                    <a:cubicBezTo>
                      <a:pt x="19060" y="12634"/>
                      <a:pt x="19360" y="6833"/>
                      <a:pt x="15951" y="3065"/>
                    </a:cubicBezTo>
                    <a:cubicBezTo>
                      <a:pt x="12542" y="-703"/>
                      <a:pt x="6800" y="-1061"/>
                      <a:pt x="3032" y="2348"/>
                    </a:cubicBezTo>
                    <a:cubicBezTo>
                      <a:pt x="-736" y="5757"/>
                      <a:pt x="-1035" y="11558"/>
                      <a:pt x="2374" y="15326"/>
                    </a:cubicBezTo>
                    <a:cubicBezTo>
                      <a:pt x="5783" y="19094"/>
                      <a:pt x="11525" y="19393"/>
                      <a:pt x="15293" y="16043"/>
                    </a:cubicBezTo>
                    <a:close/>
                  </a:path>
                </a:pathLst>
              </a:custGeom>
              <a:grpFill/>
              <a:ln w="5978" cap="flat">
                <a:noFill/>
                <a:prstDash val="solid"/>
                <a:miter/>
              </a:ln>
            </p:spPr>
            <p:txBody>
              <a:bodyPr rtlCol="0" anchor="ctr"/>
              <a:lstStyle/>
              <a:p>
                <a:endParaRPr lang="en-GB"/>
              </a:p>
            </p:txBody>
          </p:sp>
        </p:grpSp>
        <p:grpSp>
          <p:nvGrpSpPr>
            <p:cNvPr id="1221" name="Graphic 3">
              <a:extLst>
                <a:ext uri="{FF2B5EF4-FFF2-40B4-BE49-F238E27FC236}">
                  <a16:creationId xmlns:a16="http://schemas.microsoft.com/office/drawing/2014/main" id="{ED4C1E9D-2364-470D-9BDC-8C9124565EB6}"/>
                </a:ext>
              </a:extLst>
            </p:cNvPr>
            <p:cNvGrpSpPr/>
            <p:nvPr/>
          </p:nvGrpSpPr>
          <p:grpSpPr>
            <a:xfrm>
              <a:off x="4255868" y="3991543"/>
              <a:ext cx="243542" cy="67224"/>
              <a:chOff x="4255868" y="3991543"/>
              <a:chExt cx="243542" cy="67224"/>
            </a:xfrm>
            <a:grpFill/>
          </p:grpSpPr>
          <p:sp>
            <p:nvSpPr>
              <p:cNvPr id="1739" name="Vrije vorm: vorm 1738">
                <a:extLst>
                  <a:ext uri="{FF2B5EF4-FFF2-40B4-BE49-F238E27FC236}">
                    <a16:creationId xmlns:a16="http://schemas.microsoft.com/office/drawing/2014/main" id="{8232C7B2-51FB-4731-9787-356B8EB627B0}"/>
                  </a:ext>
                </a:extLst>
              </p:cNvPr>
              <p:cNvSpPr/>
              <p:nvPr/>
            </p:nvSpPr>
            <p:spPr>
              <a:xfrm>
                <a:off x="4264585" y="3999138"/>
                <a:ext cx="226729" cy="52046"/>
              </a:xfrm>
              <a:custGeom>
                <a:avLst/>
                <a:gdLst>
                  <a:gd name="connsiteX0" fmla="*/ 0 w 226729"/>
                  <a:gd name="connsiteY0" fmla="*/ 49066 h 52046"/>
                  <a:gd name="connsiteX1" fmla="*/ 226083 w 226729"/>
                  <a:gd name="connsiteY1" fmla="*/ 0 h 52046"/>
                  <a:gd name="connsiteX2" fmla="*/ 226730 w 226729"/>
                  <a:gd name="connsiteY2" fmla="*/ 2981 h 52046"/>
                  <a:gd name="connsiteX3" fmla="*/ 647 w 226729"/>
                  <a:gd name="connsiteY3" fmla="*/ 52047 h 52046"/>
                </a:gdLst>
                <a:ahLst/>
                <a:cxnLst>
                  <a:cxn ang="0">
                    <a:pos x="connsiteX0" y="connsiteY0"/>
                  </a:cxn>
                  <a:cxn ang="0">
                    <a:pos x="connsiteX1" y="connsiteY1"/>
                  </a:cxn>
                  <a:cxn ang="0">
                    <a:pos x="connsiteX2" y="connsiteY2"/>
                  </a:cxn>
                  <a:cxn ang="0">
                    <a:pos x="connsiteX3" y="connsiteY3"/>
                  </a:cxn>
                </a:cxnLst>
                <a:rect l="l" t="t" r="r" b="b"/>
                <a:pathLst>
                  <a:path w="226729" h="52046">
                    <a:moveTo>
                      <a:pt x="0" y="49066"/>
                    </a:moveTo>
                    <a:lnTo>
                      <a:pt x="226083" y="0"/>
                    </a:lnTo>
                    <a:lnTo>
                      <a:pt x="226730" y="2981"/>
                    </a:lnTo>
                    <a:lnTo>
                      <a:pt x="647" y="52047"/>
                    </a:lnTo>
                    <a:close/>
                  </a:path>
                </a:pathLst>
              </a:custGeom>
              <a:grpFill/>
              <a:ln w="5978" cap="flat">
                <a:noFill/>
                <a:prstDash val="solid"/>
                <a:miter/>
              </a:ln>
            </p:spPr>
            <p:txBody>
              <a:bodyPr rtlCol="0" anchor="ctr"/>
              <a:lstStyle/>
              <a:p>
                <a:endParaRPr lang="en-GB"/>
              </a:p>
            </p:txBody>
          </p:sp>
          <p:sp>
            <p:nvSpPr>
              <p:cNvPr id="1740" name="Vrije vorm: vorm 1739">
                <a:extLst>
                  <a:ext uri="{FF2B5EF4-FFF2-40B4-BE49-F238E27FC236}">
                    <a16:creationId xmlns:a16="http://schemas.microsoft.com/office/drawing/2014/main" id="{A4EBED21-ADCA-4613-B3D0-7F513A7A2920}"/>
                  </a:ext>
                </a:extLst>
              </p:cNvPr>
              <p:cNvSpPr/>
              <p:nvPr/>
            </p:nvSpPr>
            <p:spPr>
              <a:xfrm>
                <a:off x="4481045" y="3991543"/>
                <a:ext cx="18365" cy="18421"/>
              </a:xfrm>
              <a:custGeom>
                <a:avLst/>
                <a:gdLst>
                  <a:gd name="connsiteX0" fmla="*/ 7207 w 18365"/>
                  <a:gd name="connsiteY0" fmla="*/ 210 h 18421"/>
                  <a:gd name="connsiteX1" fmla="*/ 18152 w 18365"/>
                  <a:gd name="connsiteY1" fmla="*/ 7267 h 18421"/>
                  <a:gd name="connsiteX2" fmla="*/ 11155 w 18365"/>
                  <a:gd name="connsiteY2" fmla="*/ 18212 h 18421"/>
                  <a:gd name="connsiteX3" fmla="*/ 210 w 18365"/>
                  <a:gd name="connsiteY3" fmla="*/ 11155 h 18421"/>
                  <a:gd name="connsiteX4" fmla="*/ 7207 w 18365"/>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1">
                    <a:moveTo>
                      <a:pt x="7207" y="210"/>
                    </a:moveTo>
                    <a:cubicBezTo>
                      <a:pt x="12172" y="-867"/>
                      <a:pt x="17016" y="2303"/>
                      <a:pt x="18152" y="7267"/>
                    </a:cubicBezTo>
                    <a:cubicBezTo>
                      <a:pt x="19229" y="12231"/>
                      <a:pt x="16119" y="17136"/>
                      <a:pt x="11155" y="18212"/>
                    </a:cubicBezTo>
                    <a:cubicBezTo>
                      <a:pt x="6191" y="19288"/>
                      <a:pt x="1346" y="16119"/>
                      <a:pt x="210" y="11155"/>
                    </a:cubicBezTo>
                    <a:cubicBezTo>
                      <a:pt x="-866" y="6191"/>
                      <a:pt x="2303" y="1286"/>
                      <a:pt x="7207" y="210"/>
                    </a:cubicBezTo>
                    <a:close/>
                  </a:path>
                </a:pathLst>
              </a:custGeom>
              <a:grpFill/>
              <a:ln w="5978" cap="flat">
                <a:noFill/>
                <a:prstDash val="solid"/>
                <a:miter/>
              </a:ln>
            </p:spPr>
            <p:txBody>
              <a:bodyPr rtlCol="0" anchor="ctr"/>
              <a:lstStyle/>
              <a:p>
                <a:endParaRPr lang="en-GB"/>
              </a:p>
            </p:txBody>
          </p:sp>
          <p:sp>
            <p:nvSpPr>
              <p:cNvPr id="1741" name="Vrije vorm: vorm 1740">
                <a:extLst>
                  <a:ext uri="{FF2B5EF4-FFF2-40B4-BE49-F238E27FC236}">
                    <a16:creationId xmlns:a16="http://schemas.microsoft.com/office/drawing/2014/main" id="{85E3BD56-AA21-4495-98E8-CD126E4A14A6}"/>
                  </a:ext>
                </a:extLst>
              </p:cNvPr>
              <p:cNvSpPr/>
              <p:nvPr/>
            </p:nvSpPr>
            <p:spPr>
              <a:xfrm>
                <a:off x="4255868" y="4040346"/>
                <a:ext cx="18367" cy="18421"/>
              </a:xfrm>
              <a:custGeom>
                <a:avLst/>
                <a:gdLst>
                  <a:gd name="connsiteX0" fmla="*/ 7210 w 18367"/>
                  <a:gd name="connsiteY0" fmla="*/ 210 h 18421"/>
                  <a:gd name="connsiteX1" fmla="*/ 213 w 18367"/>
                  <a:gd name="connsiteY1" fmla="*/ 11155 h 18421"/>
                  <a:gd name="connsiteX2" fmla="*/ 11158 w 18367"/>
                  <a:gd name="connsiteY2" fmla="*/ 18212 h 18421"/>
                  <a:gd name="connsiteX3" fmla="*/ 18155 w 18367"/>
                  <a:gd name="connsiteY3" fmla="*/ 7267 h 18421"/>
                  <a:gd name="connsiteX4" fmla="*/ 7210 w 18367"/>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21">
                    <a:moveTo>
                      <a:pt x="7210" y="210"/>
                    </a:moveTo>
                    <a:cubicBezTo>
                      <a:pt x="2246" y="1286"/>
                      <a:pt x="-864" y="6191"/>
                      <a:pt x="213" y="11155"/>
                    </a:cubicBezTo>
                    <a:cubicBezTo>
                      <a:pt x="1289" y="16119"/>
                      <a:pt x="6194" y="19288"/>
                      <a:pt x="11158" y="18212"/>
                    </a:cubicBezTo>
                    <a:cubicBezTo>
                      <a:pt x="16122" y="17136"/>
                      <a:pt x="19231" y="12231"/>
                      <a:pt x="18155" y="7267"/>
                    </a:cubicBezTo>
                    <a:cubicBezTo>
                      <a:pt x="17079" y="2303"/>
                      <a:pt x="12174" y="-867"/>
                      <a:pt x="7210" y="210"/>
                    </a:cubicBezTo>
                    <a:close/>
                  </a:path>
                </a:pathLst>
              </a:custGeom>
              <a:grpFill/>
              <a:ln w="5978" cap="flat">
                <a:noFill/>
                <a:prstDash val="solid"/>
                <a:miter/>
              </a:ln>
            </p:spPr>
            <p:txBody>
              <a:bodyPr rtlCol="0" anchor="ctr"/>
              <a:lstStyle/>
              <a:p>
                <a:endParaRPr lang="en-GB"/>
              </a:p>
            </p:txBody>
          </p:sp>
        </p:grpSp>
        <p:grpSp>
          <p:nvGrpSpPr>
            <p:cNvPr id="1222" name="Graphic 3">
              <a:extLst>
                <a:ext uri="{FF2B5EF4-FFF2-40B4-BE49-F238E27FC236}">
                  <a16:creationId xmlns:a16="http://schemas.microsoft.com/office/drawing/2014/main" id="{ACF899F5-03AC-42D4-8871-12C6F19502D4}"/>
                </a:ext>
              </a:extLst>
            </p:cNvPr>
            <p:cNvGrpSpPr/>
            <p:nvPr/>
          </p:nvGrpSpPr>
          <p:grpSpPr>
            <a:xfrm>
              <a:off x="4162100" y="3753943"/>
              <a:ext cx="253150" cy="33644"/>
              <a:chOff x="4162100" y="3753943"/>
              <a:chExt cx="253150" cy="33644"/>
            </a:xfrm>
            <a:grpFill/>
          </p:grpSpPr>
          <p:sp>
            <p:nvSpPr>
              <p:cNvPr id="1736" name="Vrije vorm: vorm 1735">
                <a:extLst>
                  <a:ext uri="{FF2B5EF4-FFF2-40B4-BE49-F238E27FC236}">
                    <a16:creationId xmlns:a16="http://schemas.microsoft.com/office/drawing/2014/main" id="{7380596D-1F95-4DD3-B25A-49C262FA56DE}"/>
                  </a:ext>
                </a:extLst>
              </p:cNvPr>
              <p:cNvSpPr/>
              <p:nvPr/>
            </p:nvSpPr>
            <p:spPr>
              <a:xfrm>
                <a:off x="4170676" y="3761615"/>
                <a:ext cx="235939" cy="18300"/>
              </a:xfrm>
              <a:custGeom>
                <a:avLst/>
                <a:gdLst>
                  <a:gd name="connsiteX0" fmla="*/ 235760 w 235939"/>
                  <a:gd name="connsiteY0" fmla="*/ 0 h 18300"/>
                  <a:gd name="connsiteX1" fmla="*/ 235939 w 235939"/>
                  <a:gd name="connsiteY1" fmla="*/ 3050 h 18300"/>
                  <a:gd name="connsiteX2" fmla="*/ 239 w 235939"/>
                  <a:gd name="connsiteY2" fmla="*/ 18301 h 18300"/>
                  <a:gd name="connsiteX3" fmla="*/ 0 w 235939"/>
                  <a:gd name="connsiteY3" fmla="*/ 15251 h 18300"/>
                </a:gdLst>
                <a:ahLst/>
                <a:cxnLst>
                  <a:cxn ang="0">
                    <a:pos x="connsiteX0" y="connsiteY0"/>
                  </a:cxn>
                  <a:cxn ang="0">
                    <a:pos x="connsiteX1" y="connsiteY1"/>
                  </a:cxn>
                  <a:cxn ang="0">
                    <a:pos x="connsiteX2" y="connsiteY2"/>
                  </a:cxn>
                  <a:cxn ang="0">
                    <a:pos x="connsiteX3" y="connsiteY3"/>
                  </a:cxn>
                </a:cxnLst>
                <a:rect l="l" t="t" r="r" b="b"/>
                <a:pathLst>
                  <a:path w="235939" h="18300">
                    <a:moveTo>
                      <a:pt x="235760" y="0"/>
                    </a:moveTo>
                    <a:lnTo>
                      <a:pt x="235939" y="3050"/>
                    </a:lnTo>
                    <a:lnTo>
                      <a:pt x="239" y="18301"/>
                    </a:lnTo>
                    <a:lnTo>
                      <a:pt x="0" y="15251"/>
                    </a:lnTo>
                    <a:close/>
                  </a:path>
                </a:pathLst>
              </a:custGeom>
              <a:grpFill/>
              <a:ln w="5978" cap="flat">
                <a:noFill/>
                <a:prstDash val="solid"/>
                <a:miter/>
              </a:ln>
            </p:spPr>
            <p:txBody>
              <a:bodyPr rtlCol="0" anchor="ctr"/>
              <a:lstStyle/>
              <a:p>
                <a:endParaRPr lang="en-GB"/>
              </a:p>
            </p:txBody>
          </p:sp>
          <p:sp>
            <p:nvSpPr>
              <p:cNvPr id="1737" name="Vrije vorm: vorm 1736">
                <a:extLst>
                  <a:ext uri="{FF2B5EF4-FFF2-40B4-BE49-F238E27FC236}">
                    <a16:creationId xmlns:a16="http://schemas.microsoft.com/office/drawing/2014/main" id="{9E7FA744-5B7F-4C70-9E1C-4B9A92DA17B4}"/>
                  </a:ext>
                </a:extLst>
              </p:cNvPr>
              <p:cNvSpPr/>
              <p:nvPr/>
            </p:nvSpPr>
            <p:spPr>
              <a:xfrm>
                <a:off x="4396955" y="3753943"/>
                <a:ext cx="18295" cy="18453"/>
              </a:xfrm>
              <a:custGeom>
                <a:avLst/>
                <a:gdLst>
                  <a:gd name="connsiteX0" fmla="*/ 8524 w 18295"/>
                  <a:gd name="connsiteY0" fmla="*/ 16 h 18453"/>
                  <a:gd name="connsiteX1" fmla="*/ 18272 w 18295"/>
                  <a:gd name="connsiteY1" fmla="*/ 8629 h 18453"/>
                  <a:gd name="connsiteX2" fmla="*/ 9780 w 18295"/>
                  <a:gd name="connsiteY2" fmla="*/ 18437 h 18453"/>
                  <a:gd name="connsiteX3" fmla="*/ 31 w 18295"/>
                  <a:gd name="connsiteY3" fmla="*/ 9825 h 18453"/>
                  <a:gd name="connsiteX4" fmla="*/ 8524 w 18295"/>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53">
                    <a:moveTo>
                      <a:pt x="8524" y="16"/>
                    </a:moveTo>
                    <a:cubicBezTo>
                      <a:pt x="13548" y="-283"/>
                      <a:pt x="17973" y="3545"/>
                      <a:pt x="18272" y="8629"/>
                    </a:cubicBezTo>
                    <a:cubicBezTo>
                      <a:pt x="18631" y="13712"/>
                      <a:pt x="14804" y="18078"/>
                      <a:pt x="9780" y="18437"/>
                    </a:cubicBezTo>
                    <a:cubicBezTo>
                      <a:pt x="4756" y="18736"/>
                      <a:pt x="330" y="14908"/>
                      <a:pt x="31" y="9825"/>
                    </a:cubicBezTo>
                    <a:cubicBezTo>
                      <a:pt x="-387" y="4741"/>
                      <a:pt x="3440" y="375"/>
                      <a:pt x="8524" y="16"/>
                    </a:cubicBezTo>
                    <a:close/>
                  </a:path>
                </a:pathLst>
              </a:custGeom>
              <a:grpFill/>
              <a:ln w="5978" cap="flat">
                <a:noFill/>
                <a:prstDash val="solid"/>
                <a:miter/>
              </a:ln>
            </p:spPr>
            <p:txBody>
              <a:bodyPr rtlCol="0" anchor="ctr"/>
              <a:lstStyle/>
              <a:p>
                <a:endParaRPr lang="en-GB"/>
              </a:p>
            </p:txBody>
          </p:sp>
          <p:sp>
            <p:nvSpPr>
              <p:cNvPr id="1738" name="Vrije vorm: vorm 1737">
                <a:extLst>
                  <a:ext uri="{FF2B5EF4-FFF2-40B4-BE49-F238E27FC236}">
                    <a16:creationId xmlns:a16="http://schemas.microsoft.com/office/drawing/2014/main" id="{CC4C1A17-57B4-4D78-8E20-FF0E769F9F75}"/>
                  </a:ext>
                </a:extLst>
              </p:cNvPr>
              <p:cNvSpPr/>
              <p:nvPr/>
            </p:nvSpPr>
            <p:spPr>
              <a:xfrm>
                <a:off x="4162100" y="3769134"/>
                <a:ext cx="18288" cy="18453"/>
              </a:xfrm>
              <a:custGeom>
                <a:avLst/>
                <a:gdLst>
                  <a:gd name="connsiteX0" fmla="*/ 8516 w 18288"/>
                  <a:gd name="connsiteY0" fmla="*/ 16 h 18453"/>
                  <a:gd name="connsiteX1" fmla="*/ 23 w 18288"/>
                  <a:gd name="connsiteY1" fmla="*/ 9825 h 18453"/>
                  <a:gd name="connsiteX2" fmla="*/ 9772 w 18288"/>
                  <a:gd name="connsiteY2" fmla="*/ 18437 h 18453"/>
                  <a:gd name="connsiteX3" fmla="*/ 18265 w 18288"/>
                  <a:gd name="connsiteY3" fmla="*/ 8629 h 18453"/>
                  <a:gd name="connsiteX4" fmla="*/ 8516 w 18288"/>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8516" y="16"/>
                    </a:moveTo>
                    <a:cubicBezTo>
                      <a:pt x="3492" y="315"/>
                      <a:pt x="-336" y="4741"/>
                      <a:pt x="23" y="9825"/>
                    </a:cubicBezTo>
                    <a:cubicBezTo>
                      <a:pt x="383" y="14908"/>
                      <a:pt x="4748" y="18736"/>
                      <a:pt x="9772" y="18437"/>
                    </a:cubicBezTo>
                    <a:cubicBezTo>
                      <a:pt x="14796" y="18138"/>
                      <a:pt x="18624" y="13712"/>
                      <a:pt x="18265" y="8629"/>
                    </a:cubicBezTo>
                    <a:cubicBezTo>
                      <a:pt x="17965" y="3545"/>
                      <a:pt x="13600" y="-283"/>
                      <a:pt x="8516" y="16"/>
                    </a:cubicBezTo>
                    <a:close/>
                  </a:path>
                </a:pathLst>
              </a:custGeom>
              <a:grpFill/>
              <a:ln w="5978" cap="flat">
                <a:noFill/>
                <a:prstDash val="solid"/>
                <a:miter/>
              </a:ln>
            </p:spPr>
            <p:txBody>
              <a:bodyPr rtlCol="0" anchor="ctr"/>
              <a:lstStyle/>
              <a:p>
                <a:endParaRPr lang="en-GB"/>
              </a:p>
            </p:txBody>
          </p:sp>
        </p:grpSp>
        <p:grpSp>
          <p:nvGrpSpPr>
            <p:cNvPr id="1223" name="Graphic 3">
              <a:extLst>
                <a:ext uri="{FF2B5EF4-FFF2-40B4-BE49-F238E27FC236}">
                  <a16:creationId xmlns:a16="http://schemas.microsoft.com/office/drawing/2014/main" id="{DC2C0E9F-16F1-4204-AA87-75A5A74AC71B}"/>
                </a:ext>
              </a:extLst>
            </p:cNvPr>
            <p:cNvGrpSpPr/>
            <p:nvPr/>
          </p:nvGrpSpPr>
          <p:grpSpPr>
            <a:xfrm>
              <a:off x="4135725" y="3721588"/>
              <a:ext cx="281133" cy="33943"/>
              <a:chOff x="4135725" y="3721588"/>
              <a:chExt cx="281133" cy="33943"/>
            </a:xfrm>
            <a:grpFill/>
          </p:grpSpPr>
          <p:sp>
            <p:nvSpPr>
              <p:cNvPr id="1733" name="Vrije vorm: vorm 1732">
                <a:extLst>
                  <a:ext uri="{FF2B5EF4-FFF2-40B4-BE49-F238E27FC236}">
                    <a16:creationId xmlns:a16="http://schemas.microsoft.com/office/drawing/2014/main" id="{4F3FFE1B-6B4A-4581-A98D-4316F74FE90A}"/>
                  </a:ext>
                </a:extLst>
              </p:cNvPr>
              <p:cNvSpPr/>
              <p:nvPr/>
            </p:nvSpPr>
            <p:spPr>
              <a:xfrm>
                <a:off x="4144301" y="3729259"/>
                <a:ext cx="263869" cy="18600"/>
              </a:xfrm>
              <a:custGeom>
                <a:avLst/>
                <a:gdLst>
                  <a:gd name="connsiteX0" fmla="*/ 263690 w 263869"/>
                  <a:gd name="connsiteY0" fmla="*/ 0 h 18600"/>
                  <a:gd name="connsiteX1" fmla="*/ 263869 w 263869"/>
                  <a:gd name="connsiteY1" fmla="*/ 3050 h 18600"/>
                  <a:gd name="connsiteX2" fmla="*/ 239 w 263869"/>
                  <a:gd name="connsiteY2" fmla="*/ 18600 h 18600"/>
                  <a:gd name="connsiteX3" fmla="*/ 0 w 263869"/>
                  <a:gd name="connsiteY3" fmla="*/ 15490 h 18600"/>
                </a:gdLst>
                <a:ahLst/>
                <a:cxnLst>
                  <a:cxn ang="0">
                    <a:pos x="connsiteX0" y="connsiteY0"/>
                  </a:cxn>
                  <a:cxn ang="0">
                    <a:pos x="connsiteX1" y="connsiteY1"/>
                  </a:cxn>
                  <a:cxn ang="0">
                    <a:pos x="connsiteX2" y="connsiteY2"/>
                  </a:cxn>
                  <a:cxn ang="0">
                    <a:pos x="connsiteX3" y="connsiteY3"/>
                  </a:cxn>
                </a:cxnLst>
                <a:rect l="l" t="t" r="r" b="b"/>
                <a:pathLst>
                  <a:path w="263869" h="18600">
                    <a:moveTo>
                      <a:pt x="263690" y="0"/>
                    </a:moveTo>
                    <a:lnTo>
                      <a:pt x="263869" y="3050"/>
                    </a:lnTo>
                    <a:lnTo>
                      <a:pt x="239" y="18600"/>
                    </a:lnTo>
                    <a:lnTo>
                      <a:pt x="0" y="15490"/>
                    </a:lnTo>
                    <a:close/>
                  </a:path>
                </a:pathLst>
              </a:custGeom>
              <a:grpFill/>
              <a:ln w="5978" cap="flat">
                <a:noFill/>
                <a:prstDash val="solid"/>
                <a:miter/>
              </a:ln>
            </p:spPr>
            <p:txBody>
              <a:bodyPr rtlCol="0" anchor="ctr"/>
              <a:lstStyle/>
              <a:p>
                <a:endParaRPr lang="en-GB"/>
              </a:p>
            </p:txBody>
          </p:sp>
          <p:sp>
            <p:nvSpPr>
              <p:cNvPr id="1734" name="Vrije vorm: vorm 1733">
                <a:extLst>
                  <a:ext uri="{FF2B5EF4-FFF2-40B4-BE49-F238E27FC236}">
                    <a16:creationId xmlns:a16="http://schemas.microsoft.com/office/drawing/2014/main" id="{15DD8F7D-63A4-4E4E-AF87-4BFAE5063975}"/>
                  </a:ext>
                </a:extLst>
              </p:cNvPr>
              <p:cNvSpPr/>
              <p:nvPr/>
            </p:nvSpPr>
            <p:spPr>
              <a:xfrm>
                <a:off x="4398584" y="3721588"/>
                <a:ext cx="18274" cy="18453"/>
              </a:xfrm>
              <a:custGeom>
                <a:avLst/>
                <a:gdLst>
                  <a:gd name="connsiteX0" fmla="*/ 8509 w 18274"/>
                  <a:gd name="connsiteY0" fmla="*/ 16 h 18453"/>
                  <a:gd name="connsiteX1" fmla="*/ 18258 w 18274"/>
                  <a:gd name="connsiteY1" fmla="*/ 8688 h 18453"/>
                  <a:gd name="connsiteX2" fmla="*/ 9706 w 18274"/>
                  <a:gd name="connsiteY2" fmla="*/ 18437 h 18453"/>
                  <a:gd name="connsiteX3" fmla="*/ 17 w 18274"/>
                  <a:gd name="connsiteY3" fmla="*/ 9765 h 18453"/>
                  <a:gd name="connsiteX4" fmla="*/ 8509 w 18274"/>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53">
                    <a:moveTo>
                      <a:pt x="8509" y="16"/>
                    </a:moveTo>
                    <a:cubicBezTo>
                      <a:pt x="13533" y="-283"/>
                      <a:pt x="17899" y="3605"/>
                      <a:pt x="18258" y="8688"/>
                    </a:cubicBezTo>
                    <a:cubicBezTo>
                      <a:pt x="18557" y="13772"/>
                      <a:pt x="14729" y="18138"/>
                      <a:pt x="9706" y="18437"/>
                    </a:cubicBezTo>
                    <a:cubicBezTo>
                      <a:pt x="4682" y="18736"/>
                      <a:pt x="316" y="14848"/>
                      <a:pt x="17" y="9765"/>
                    </a:cubicBezTo>
                    <a:cubicBezTo>
                      <a:pt x="-282" y="4681"/>
                      <a:pt x="3426" y="315"/>
                      <a:pt x="8509" y="16"/>
                    </a:cubicBezTo>
                    <a:close/>
                  </a:path>
                </a:pathLst>
              </a:custGeom>
              <a:grpFill/>
              <a:ln w="5978" cap="flat">
                <a:noFill/>
                <a:prstDash val="solid"/>
                <a:miter/>
              </a:ln>
            </p:spPr>
            <p:txBody>
              <a:bodyPr rtlCol="0" anchor="ctr"/>
              <a:lstStyle/>
              <a:p>
                <a:endParaRPr lang="en-GB"/>
              </a:p>
            </p:txBody>
          </p:sp>
          <p:sp>
            <p:nvSpPr>
              <p:cNvPr id="1735" name="Vrije vorm: vorm 1734">
                <a:extLst>
                  <a:ext uri="{FF2B5EF4-FFF2-40B4-BE49-F238E27FC236}">
                    <a16:creationId xmlns:a16="http://schemas.microsoft.com/office/drawing/2014/main" id="{F7D1B80E-9E5B-4102-AB78-906DCD0FB69A}"/>
                  </a:ext>
                </a:extLst>
              </p:cNvPr>
              <p:cNvSpPr/>
              <p:nvPr/>
            </p:nvSpPr>
            <p:spPr>
              <a:xfrm>
                <a:off x="4135725" y="3737078"/>
                <a:ext cx="18346" cy="18453"/>
              </a:xfrm>
              <a:custGeom>
                <a:avLst/>
                <a:gdLst>
                  <a:gd name="connsiteX0" fmla="*/ 8575 w 18346"/>
                  <a:gd name="connsiteY0" fmla="*/ 16 h 18453"/>
                  <a:gd name="connsiteX1" fmla="*/ 23 w 18346"/>
                  <a:gd name="connsiteY1" fmla="*/ 9765 h 18453"/>
                  <a:gd name="connsiteX2" fmla="*/ 9772 w 18346"/>
                  <a:gd name="connsiteY2" fmla="*/ 18437 h 18453"/>
                  <a:gd name="connsiteX3" fmla="*/ 18324 w 18346"/>
                  <a:gd name="connsiteY3" fmla="*/ 8688 h 18453"/>
                  <a:gd name="connsiteX4" fmla="*/ 8575 w 18346"/>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3">
                    <a:moveTo>
                      <a:pt x="8575" y="16"/>
                    </a:moveTo>
                    <a:cubicBezTo>
                      <a:pt x="3552" y="315"/>
                      <a:pt x="-336" y="4681"/>
                      <a:pt x="23" y="9765"/>
                    </a:cubicBezTo>
                    <a:cubicBezTo>
                      <a:pt x="322" y="14848"/>
                      <a:pt x="4688" y="18736"/>
                      <a:pt x="9772" y="18437"/>
                    </a:cubicBezTo>
                    <a:cubicBezTo>
                      <a:pt x="14796" y="18138"/>
                      <a:pt x="18683" y="13772"/>
                      <a:pt x="18324" y="8688"/>
                    </a:cubicBezTo>
                    <a:cubicBezTo>
                      <a:pt x="17965" y="3605"/>
                      <a:pt x="13599" y="-283"/>
                      <a:pt x="8575" y="16"/>
                    </a:cubicBezTo>
                    <a:close/>
                  </a:path>
                </a:pathLst>
              </a:custGeom>
              <a:grpFill/>
              <a:ln w="5978" cap="flat">
                <a:noFill/>
                <a:prstDash val="solid"/>
                <a:miter/>
              </a:ln>
            </p:spPr>
            <p:txBody>
              <a:bodyPr rtlCol="0" anchor="ctr"/>
              <a:lstStyle/>
              <a:p>
                <a:endParaRPr lang="en-GB"/>
              </a:p>
            </p:txBody>
          </p:sp>
        </p:grpSp>
        <p:grpSp>
          <p:nvGrpSpPr>
            <p:cNvPr id="1224" name="Graphic 3">
              <a:extLst>
                <a:ext uri="{FF2B5EF4-FFF2-40B4-BE49-F238E27FC236}">
                  <a16:creationId xmlns:a16="http://schemas.microsoft.com/office/drawing/2014/main" id="{888E2DF5-DBEB-405A-9545-93CB52391F79}"/>
                </a:ext>
              </a:extLst>
            </p:cNvPr>
            <p:cNvGrpSpPr/>
            <p:nvPr/>
          </p:nvGrpSpPr>
          <p:grpSpPr>
            <a:xfrm>
              <a:off x="4196465" y="3818265"/>
              <a:ext cx="227601" cy="70823"/>
              <a:chOff x="4196465" y="3818265"/>
              <a:chExt cx="227601" cy="70823"/>
            </a:xfrm>
            <a:grpFill/>
          </p:grpSpPr>
          <p:sp>
            <p:nvSpPr>
              <p:cNvPr id="1730" name="Vrije vorm: vorm 1729">
                <a:extLst>
                  <a:ext uri="{FF2B5EF4-FFF2-40B4-BE49-F238E27FC236}">
                    <a16:creationId xmlns:a16="http://schemas.microsoft.com/office/drawing/2014/main" id="{CEE81CA6-F631-4C0F-BA7F-272559DC5BAB}"/>
                  </a:ext>
                </a:extLst>
              </p:cNvPr>
              <p:cNvSpPr/>
              <p:nvPr/>
            </p:nvSpPr>
            <p:spPr>
              <a:xfrm>
                <a:off x="4204647" y="3825993"/>
                <a:ext cx="210864" cy="55597"/>
              </a:xfrm>
              <a:custGeom>
                <a:avLst/>
                <a:gdLst>
                  <a:gd name="connsiteX0" fmla="*/ 0 w 210864"/>
                  <a:gd name="connsiteY0" fmla="*/ 52639 h 55597"/>
                  <a:gd name="connsiteX1" fmla="*/ 210123 w 210864"/>
                  <a:gd name="connsiteY1" fmla="*/ 0 h 55597"/>
                  <a:gd name="connsiteX2" fmla="*/ 210864 w 210864"/>
                  <a:gd name="connsiteY2" fmla="*/ 2959 h 55597"/>
                  <a:gd name="connsiteX3" fmla="*/ 741 w 210864"/>
                  <a:gd name="connsiteY3" fmla="*/ 55598 h 55597"/>
                </a:gdLst>
                <a:ahLst/>
                <a:cxnLst>
                  <a:cxn ang="0">
                    <a:pos x="connsiteX0" y="connsiteY0"/>
                  </a:cxn>
                  <a:cxn ang="0">
                    <a:pos x="connsiteX1" y="connsiteY1"/>
                  </a:cxn>
                  <a:cxn ang="0">
                    <a:pos x="connsiteX2" y="connsiteY2"/>
                  </a:cxn>
                  <a:cxn ang="0">
                    <a:pos x="connsiteX3" y="connsiteY3"/>
                  </a:cxn>
                </a:cxnLst>
                <a:rect l="l" t="t" r="r" b="b"/>
                <a:pathLst>
                  <a:path w="210864" h="55597">
                    <a:moveTo>
                      <a:pt x="0" y="52639"/>
                    </a:moveTo>
                    <a:lnTo>
                      <a:pt x="210123" y="0"/>
                    </a:lnTo>
                    <a:lnTo>
                      <a:pt x="210864" y="2959"/>
                    </a:lnTo>
                    <a:lnTo>
                      <a:pt x="741" y="55598"/>
                    </a:lnTo>
                    <a:close/>
                  </a:path>
                </a:pathLst>
              </a:custGeom>
              <a:grpFill/>
              <a:ln w="5978" cap="flat">
                <a:noFill/>
                <a:prstDash val="solid"/>
                <a:miter/>
              </a:ln>
            </p:spPr>
            <p:txBody>
              <a:bodyPr rtlCol="0" anchor="ctr"/>
              <a:lstStyle/>
              <a:p>
                <a:endParaRPr lang="en-GB"/>
              </a:p>
            </p:txBody>
          </p:sp>
          <p:sp>
            <p:nvSpPr>
              <p:cNvPr id="1731" name="Vrije vorm: vorm 1730">
                <a:extLst>
                  <a:ext uri="{FF2B5EF4-FFF2-40B4-BE49-F238E27FC236}">
                    <a16:creationId xmlns:a16="http://schemas.microsoft.com/office/drawing/2014/main" id="{73CF495B-607B-4341-B8E2-84C8D7EE6461}"/>
                  </a:ext>
                </a:extLst>
              </p:cNvPr>
              <p:cNvSpPr/>
              <p:nvPr/>
            </p:nvSpPr>
            <p:spPr>
              <a:xfrm>
                <a:off x="4196465" y="3870660"/>
                <a:ext cx="18335" cy="18428"/>
              </a:xfrm>
              <a:custGeom>
                <a:avLst/>
                <a:gdLst>
                  <a:gd name="connsiteX0" fmla="*/ 11411 w 18335"/>
                  <a:gd name="connsiteY0" fmla="*/ 18165 h 18428"/>
                  <a:gd name="connsiteX1" fmla="*/ 287 w 18335"/>
                  <a:gd name="connsiteY1" fmla="*/ 11467 h 18428"/>
                  <a:gd name="connsiteX2" fmla="*/ 6925 w 18335"/>
                  <a:gd name="connsiteY2" fmla="*/ 283 h 18428"/>
                  <a:gd name="connsiteX3" fmla="*/ 18049 w 18335"/>
                  <a:gd name="connsiteY3" fmla="*/ 6981 h 18428"/>
                  <a:gd name="connsiteX4" fmla="*/ 11411 w 18335"/>
                  <a:gd name="connsiteY4" fmla="*/ 1816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8">
                    <a:moveTo>
                      <a:pt x="11411" y="18165"/>
                    </a:moveTo>
                    <a:cubicBezTo>
                      <a:pt x="6507" y="19361"/>
                      <a:pt x="1542" y="16371"/>
                      <a:pt x="287" y="11467"/>
                    </a:cubicBezTo>
                    <a:cubicBezTo>
                      <a:pt x="-969" y="6563"/>
                      <a:pt x="2021" y="1539"/>
                      <a:pt x="6925" y="283"/>
                    </a:cubicBezTo>
                    <a:cubicBezTo>
                      <a:pt x="11829" y="-973"/>
                      <a:pt x="16794" y="2077"/>
                      <a:pt x="18049" y="6981"/>
                    </a:cubicBezTo>
                    <a:cubicBezTo>
                      <a:pt x="19305" y="11945"/>
                      <a:pt x="16315" y="16909"/>
                      <a:pt x="11411" y="18165"/>
                    </a:cubicBezTo>
                    <a:close/>
                  </a:path>
                </a:pathLst>
              </a:custGeom>
              <a:grpFill/>
              <a:ln w="5978" cap="flat">
                <a:noFill/>
                <a:prstDash val="solid"/>
                <a:miter/>
              </a:ln>
            </p:spPr>
            <p:txBody>
              <a:bodyPr rtlCol="0" anchor="ctr"/>
              <a:lstStyle/>
              <a:p>
                <a:endParaRPr lang="en-GB"/>
              </a:p>
            </p:txBody>
          </p:sp>
          <p:sp>
            <p:nvSpPr>
              <p:cNvPr id="1732" name="Vrije vorm: vorm 1731">
                <a:extLst>
                  <a:ext uri="{FF2B5EF4-FFF2-40B4-BE49-F238E27FC236}">
                    <a16:creationId xmlns:a16="http://schemas.microsoft.com/office/drawing/2014/main" id="{6EB70C18-2C03-43B7-9A77-E749F5013854}"/>
                  </a:ext>
                </a:extLst>
              </p:cNvPr>
              <p:cNvSpPr/>
              <p:nvPr/>
            </p:nvSpPr>
            <p:spPr>
              <a:xfrm>
                <a:off x="4405731" y="3818265"/>
                <a:ext cx="18335" cy="18451"/>
              </a:xfrm>
              <a:custGeom>
                <a:avLst/>
                <a:gdLst>
                  <a:gd name="connsiteX0" fmla="*/ 11411 w 18335"/>
                  <a:gd name="connsiteY0" fmla="*/ 18169 h 18451"/>
                  <a:gd name="connsiteX1" fmla="*/ 18049 w 18335"/>
                  <a:gd name="connsiteY1" fmla="*/ 6985 h 18451"/>
                  <a:gd name="connsiteX2" fmla="*/ 6925 w 18335"/>
                  <a:gd name="connsiteY2" fmla="*/ 286 h 18451"/>
                  <a:gd name="connsiteX3" fmla="*/ 287 w 18335"/>
                  <a:gd name="connsiteY3" fmla="*/ 11470 h 18451"/>
                  <a:gd name="connsiteX4" fmla="*/ 11411 w 18335"/>
                  <a:gd name="connsiteY4" fmla="*/ 18169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1">
                    <a:moveTo>
                      <a:pt x="11411" y="18169"/>
                    </a:moveTo>
                    <a:cubicBezTo>
                      <a:pt x="16315" y="16973"/>
                      <a:pt x="19305" y="11949"/>
                      <a:pt x="18049" y="6985"/>
                    </a:cubicBezTo>
                    <a:cubicBezTo>
                      <a:pt x="16794" y="2021"/>
                      <a:pt x="11829" y="-970"/>
                      <a:pt x="6925" y="286"/>
                    </a:cubicBezTo>
                    <a:cubicBezTo>
                      <a:pt x="2021" y="1483"/>
                      <a:pt x="-969" y="6506"/>
                      <a:pt x="287" y="11470"/>
                    </a:cubicBezTo>
                    <a:cubicBezTo>
                      <a:pt x="1543" y="16375"/>
                      <a:pt x="6507" y="19425"/>
                      <a:pt x="11411" y="18169"/>
                    </a:cubicBezTo>
                    <a:close/>
                  </a:path>
                </a:pathLst>
              </a:custGeom>
              <a:grpFill/>
              <a:ln w="5978" cap="flat">
                <a:noFill/>
                <a:prstDash val="solid"/>
                <a:miter/>
              </a:ln>
            </p:spPr>
            <p:txBody>
              <a:bodyPr rtlCol="0" anchor="ctr"/>
              <a:lstStyle/>
              <a:p>
                <a:endParaRPr lang="en-GB"/>
              </a:p>
            </p:txBody>
          </p:sp>
        </p:grpSp>
        <p:grpSp>
          <p:nvGrpSpPr>
            <p:cNvPr id="1225" name="Graphic 3">
              <a:extLst>
                <a:ext uri="{FF2B5EF4-FFF2-40B4-BE49-F238E27FC236}">
                  <a16:creationId xmlns:a16="http://schemas.microsoft.com/office/drawing/2014/main" id="{D7F1B46C-AD9B-4001-A76B-F99DE0A1EA3D}"/>
                </a:ext>
              </a:extLst>
            </p:cNvPr>
            <p:cNvGrpSpPr/>
            <p:nvPr/>
          </p:nvGrpSpPr>
          <p:grpSpPr>
            <a:xfrm>
              <a:off x="3843213" y="3245939"/>
              <a:ext cx="549892" cy="87892"/>
              <a:chOff x="3843213" y="3245939"/>
              <a:chExt cx="549892" cy="87892"/>
            </a:xfrm>
            <a:grpFill/>
          </p:grpSpPr>
          <p:sp>
            <p:nvSpPr>
              <p:cNvPr id="1727" name="Vrije vorm: vorm 1726">
                <a:extLst>
                  <a:ext uri="{FF2B5EF4-FFF2-40B4-BE49-F238E27FC236}">
                    <a16:creationId xmlns:a16="http://schemas.microsoft.com/office/drawing/2014/main" id="{6E7AE51E-19D4-4D99-A3B9-83444A469C42}"/>
                  </a:ext>
                </a:extLst>
              </p:cNvPr>
              <p:cNvSpPr/>
              <p:nvPr/>
            </p:nvSpPr>
            <p:spPr>
              <a:xfrm>
                <a:off x="3851724" y="3253612"/>
                <a:ext cx="532882" cy="72546"/>
              </a:xfrm>
              <a:custGeom>
                <a:avLst/>
                <a:gdLst>
                  <a:gd name="connsiteX0" fmla="*/ 532882 w 532882"/>
                  <a:gd name="connsiteY0" fmla="*/ 69556 h 72546"/>
                  <a:gd name="connsiteX1" fmla="*/ 532464 w 532882"/>
                  <a:gd name="connsiteY1" fmla="*/ 72546 h 72546"/>
                  <a:gd name="connsiteX2" fmla="*/ 0 w 532882"/>
                  <a:gd name="connsiteY2" fmla="*/ 3050 h 72546"/>
                  <a:gd name="connsiteX3" fmla="*/ 359 w 532882"/>
                  <a:gd name="connsiteY3" fmla="*/ 0 h 72546"/>
                </a:gdLst>
                <a:ahLst/>
                <a:cxnLst>
                  <a:cxn ang="0">
                    <a:pos x="connsiteX0" y="connsiteY0"/>
                  </a:cxn>
                  <a:cxn ang="0">
                    <a:pos x="connsiteX1" y="connsiteY1"/>
                  </a:cxn>
                  <a:cxn ang="0">
                    <a:pos x="connsiteX2" y="connsiteY2"/>
                  </a:cxn>
                  <a:cxn ang="0">
                    <a:pos x="connsiteX3" y="connsiteY3"/>
                  </a:cxn>
                </a:cxnLst>
                <a:rect l="l" t="t" r="r" b="b"/>
                <a:pathLst>
                  <a:path w="532882" h="72546">
                    <a:moveTo>
                      <a:pt x="532882" y="69556"/>
                    </a:moveTo>
                    <a:lnTo>
                      <a:pt x="532464" y="72546"/>
                    </a:lnTo>
                    <a:lnTo>
                      <a:pt x="0" y="3050"/>
                    </a:lnTo>
                    <a:lnTo>
                      <a:pt x="359" y="0"/>
                    </a:lnTo>
                    <a:close/>
                  </a:path>
                </a:pathLst>
              </a:custGeom>
              <a:grpFill/>
              <a:ln w="5978" cap="flat">
                <a:noFill/>
                <a:prstDash val="solid"/>
                <a:miter/>
              </a:ln>
            </p:spPr>
            <p:txBody>
              <a:bodyPr rtlCol="0" anchor="ctr"/>
              <a:lstStyle/>
              <a:p>
                <a:endParaRPr lang="en-GB"/>
              </a:p>
            </p:txBody>
          </p:sp>
          <p:sp>
            <p:nvSpPr>
              <p:cNvPr id="1728" name="Vrije vorm: vorm 1727">
                <a:extLst>
                  <a:ext uri="{FF2B5EF4-FFF2-40B4-BE49-F238E27FC236}">
                    <a16:creationId xmlns:a16="http://schemas.microsoft.com/office/drawing/2014/main" id="{815F8D66-9F33-4F77-87B7-476A861DC7A0}"/>
                  </a:ext>
                </a:extLst>
              </p:cNvPr>
              <p:cNvSpPr/>
              <p:nvPr/>
            </p:nvSpPr>
            <p:spPr>
              <a:xfrm>
                <a:off x="4374792" y="3315375"/>
                <a:ext cx="18313" cy="18456"/>
              </a:xfrm>
              <a:custGeom>
                <a:avLst/>
                <a:gdLst>
                  <a:gd name="connsiteX0" fmla="*/ 10293 w 18313"/>
                  <a:gd name="connsiteY0" fmla="*/ 78 h 18456"/>
                  <a:gd name="connsiteX1" fmla="*/ 18248 w 18313"/>
                  <a:gd name="connsiteY1" fmla="*/ 10424 h 18456"/>
                  <a:gd name="connsiteX2" fmla="*/ 8020 w 18313"/>
                  <a:gd name="connsiteY2" fmla="*/ 18379 h 18456"/>
                  <a:gd name="connsiteX3" fmla="*/ 66 w 18313"/>
                  <a:gd name="connsiteY3" fmla="*/ 8032 h 18456"/>
                  <a:gd name="connsiteX4" fmla="*/ 10293 w 18313"/>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56">
                    <a:moveTo>
                      <a:pt x="10293" y="78"/>
                    </a:moveTo>
                    <a:cubicBezTo>
                      <a:pt x="15317" y="736"/>
                      <a:pt x="18846" y="5341"/>
                      <a:pt x="18248" y="10424"/>
                    </a:cubicBezTo>
                    <a:cubicBezTo>
                      <a:pt x="17589" y="15448"/>
                      <a:pt x="13044" y="19037"/>
                      <a:pt x="8020" y="18379"/>
                    </a:cubicBezTo>
                    <a:cubicBezTo>
                      <a:pt x="2997" y="17721"/>
                      <a:pt x="-532" y="13116"/>
                      <a:pt x="66" y="8032"/>
                    </a:cubicBezTo>
                    <a:cubicBezTo>
                      <a:pt x="664" y="3008"/>
                      <a:pt x="5269" y="-580"/>
                      <a:pt x="10293" y="78"/>
                    </a:cubicBezTo>
                    <a:close/>
                  </a:path>
                </a:pathLst>
              </a:custGeom>
              <a:grpFill/>
              <a:ln w="5978" cap="flat">
                <a:noFill/>
                <a:prstDash val="solid"/>
                <a:miter/>
              </a:ln>
            </p:spPr>
            <p:txBody>
              <a:bodyPr rtlCol="0" anchor="ctr"/>
              <a:lstStyle/>
              <a:p>
                <a:endParaRPr lang="en-GB"/>
              </a:p>
            </p:txBody>
          </p:sp>
          <p:sp>
            <p:nvSpPr>
              <p:cNvPr id="1729" name="Vrije vorm: vorm 1728">
                <a:extLst>
                  <a:ext uri="{FF2B5EF4-FFF2-40B4-BE49-F238E27FC236}">
                    <a16:creationId xmlns:a16="http://schemas.microsoft.com/office/drawing/2014/main" id="{02A7CC4D-E3F2-4961-9E6A-1E41D70D4729}"/>
                  </a:ext>
                </a:extLst>
              </p:cNvPr>
              <p:cNvSpPr/>
              <p:nvPr/>
            </p:nvSpPr>
            <p:spPr>
              <a:xfrm>
                <a:off x="3843213" y="3245939"/>
                <a:ext cx="18325" cy="18456"/>
              </a:xfrm>
              <a:custGeom>
                <a:avLst/>
                <a:gdLst>
                  <a:gd name="connsiteX0" fmla="*/ 10305 w 18325"/>
                  <a:gd name="connsiteY0" fmla="*/ 78 h 18456"/>
                  <a:gd name="connsiteX1" fmla="*/ 78 w 18325"/>
                  <a:gd name="connsiteY1" fmla="*/ 8032 h 18456"/>
                  <a:gd name="connsiteX2" fmla="*/ 8032 w 18325"/>
                  <a:gd name="connsiteY2" fmla="*/ 18379 h 18456"/>
                  <a:gd name="connsiteX3" fmla="*/ 18259 w 18325"/>
                  <a:gd name="connsiteY3" fmla="*/ 10424 h 18456"/>
                  <a:gd name="connsiteX4" fmla="*/ 10305 w 18325"/>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6">
                    <a:moveTo>
                      <a:pt x="10305" y="78"/>
                    </a:moveTo>
                    <a:cubicBezTo>
                      <a:pt x="5281" y="-580"/>
                      <a:pt x="676" y="3008"/>
                      <a:pt x="78" y="8032"/>
                    </a:cubicBezTo>
                    <a:cubicBezTo>
                      <a:pt x="-580" y="13056"/>
                      <a:pt x="3009" y="17721"/>
                      <a:pt x="8032" y="18379"/>
                    </a:cubicBezTo>
                    <a:cubicBezTo>
                      <a:pt x="13056" y="19037"/>
                      <a:pt x="17661" y="15448"/>
                      <a:pt x="18259" y="10424"/>
                    </a:cubicBezTo>
                    <a:cubicBezTo>
                      <a:pt x="18857" y="5401"/>
                      <a:pt x="15329" y="736"/>
                      <a:pt x="10305" y="78"/>
                    </a:cubicBezTo>
                    <a:close/>
                  </a:path>
                </a:pathLst>
              </a:custGeom>
              <a:grpFill/>
              <a:ln w="5978" cap="flat">
                <a:noFill/>
                <a:prstDash val="solid"/>
                <a:miter/>
              </a:ln>
            </p:spPr>
            <p:txBody>
              <a:bodyPr rtlCol="0" anchor="ctr"/>
              <a:lstStyle/>
              <a:p>
                <a:endParaRPr lang="en-GB"/>
              </a:p>
            </p:txBody>
          </p:sp>
        </p:grpSp>
        <p:grpSp>
          <p:nvGrpSpPr>
            <p:cNvPr id="1226" name="Graphic 3">
              <a:extLst>
                <a:ext uri="{FF2B5EF4-FFF2-40B4-BE49-F238E27FC236}">
                  <a16:creationId xmlns:a16="http://schemas.microsoft.com/office/drawing/2014/main" id="{13A1727C-EFDC-44ED-986D-2228F5D4DABA}"/>
                </a:ext>
              </a:extLst>
            </p:cNvPr>
            <p:cNvGrpSpPr/>
            <p:nvPr/>
          </p:nvGrpSpPr>
          <p:grpSpPr>
            <a:xfrm>
              <a:off x="4246166" y="3966770"/>
              <a:ext cx="228974" cy="57803"/>
              <a:chOff x="4246166" y="3966770"/>
              <a:chExt cx="228974" cy="57803"/>
            </a:xfrm>
            <a:grpFill/>
          </p:grpSpPr>
          <p:sp>
            <p:nvSpPr>
              <p:cNvPr id="1724" name="Vrije vorm: vorm 1723">
                <a:extLst>
                  <a:ext uri="{FF2B5EF4-FFF2-40B4-BE49-F238E27FC236}">
                    <a16:creationId xmlns:a16="http://schemas.microsoft.com/office/drawing/2014/main" id="{AB397E65-E556-4572-93EB-018DA65A7357}"/>
                  </a:ext>
                </a:extLst>
              </p:cNvPr>
              <p:cNvSpPr/>
              <p:nvPr/>
            </p:nvSpPr>
            <p:spPr>
              <a:xfrm>
                <a:off x="4254585" y="3974409"/>
                <a:ext cx="212136" cy="42522"/>
              </a:xfrm>
              <a:custGeom>
                <a:avLst/>
                <a:gdLst>
                  <a:gd name="connsiteX0" fmla="*/ 211538 w 212136"/>
                  <a:gd name="connsiteY0" fmla="*/ 0 h 42522"/>
                  <a:gd name="connsiteX1" fmla="*/ 212136 w 212136"/>
                  <a:gd name="connsiteY1" fmla="*/ 2990 h 42522"/>
                  <a:gd name="connsiteX2" fmla="*/ 598 w 212136"/>
                  <a:gd name="connsiteY2" fmla="*/ 42523 h 42522"/>
                  <a:gd name="connsiteX3" fmla="*/ 0 w 212136"/>
                  <a:gd name="connsiteY3" fmla="*/ 39473 h 42522"/>
                </a:gdLst>
                <a:ahLst/>
                <a:cxnLst>
                  <a:cxn ang="0">
                    <a:pos x="connsiteX0" y="connsiteY0"/>
                  </a:cxn>
                  <a:cxn ang="0">
                    <a:pos x="connsiteX1" y="connsiteY1"/>
                  </a:cxn>
                  <a:cxn ang="0">
                    <a:pos x="connsiteX2" y="connsiteY2"/>
                  </a:cxn>
                  <a:cxn ang="0">
                    <a:pos x="connsiteX3" y="connsiteY3"/>
                  </a:cxn>
                </a:cxnLst>
                <a:rect l="l" t="t" r="r" b="b"/>
                <a:pathLst>
                  <a:path w="212136" h="42522">
                    <a:moveTo>
                      <a:pt x="211538" y="0"/>
                    </a:moveTo>
                    <a:lnTo>
                      <a:pt x="212136" y="2990"/>
                    </a:lnTo>
                    <a:lnTo>
                      <a:pt x="598" y="42523"/>
                    </a:lnTo>
                    <a:lnTo>
                      <a:pt x="0" y="39473"/>
                    </a:lnTo>
                    <a:close/>
                  </a:path>
                </a:pathLst>
              </a:custGeom>
              <a:grpFill/>
              <a:ln w="5978" cap="flat">
                <a:noFill/>
                <a:prstDash val="solid"/>
                <a:miter/>
              </a:ln>
            </p:spPr>
            <p:txBody>
              <a:bodyPr rtlCol="0" anchor="ctr"/>
              <a:lstStyle/>
              <a:p>
                <a:endParaRPr lang="en-GB"/>
              </a:p>
            </p:txBody>
          </p:sp>
          <p:sp>
            <p:nvSpPr>
              <p:cNvPr id="1725" name="Vrije vorm: vorm 1724">
                <a:extLst>
                  <a:ext uri="{FF2B5EF4-FFF2-40B4-BE49-F238E27FC236}">
                    <a16:creationId xmlns:a16="http://schemas.microsoft.com/office/drawing/2014/main" id="{E3FC3527-866F-4CDC-BA79-44F98D37FCD4}"/>
                  </a:ext>
                </a:extLst>
              </p:cNvPr>
              <p:cNvSpPr/>
              <p:nvPr/>
            </p:nvSpPr>
            <p:spPr>
              <a:xfrm>
                <a:off x="4456807" y="3966770"/>
                <a:ext cx="18333" cy="18448"/>
              </a:xfrm>
              <a:custGeom>
                <a:avLst/>
                <a:gdLst>
                  <a:gd name="connsiteX0" fmla="*/ 7462 w 18333"/>
                  <a:gd name="connsiteY0" fmla="*/ 163 h 18448"/>
                  <a:gd name="connsiteX1" fmla="*/ 18168 w 18333"/>
                  <a:gd name="connsiteY1" fmla="*/ 7520 h 18448"/>
                  <a:gd name="connsiteX2" fmla="*/ 10871 w 18333"/>
                  <a:gd name="connsiteY2" fmla="*/ 18285 h 18448"/>
                  <a:gd name="connsiteX3" fmla="*/ 166 w 18333"/>
                  <a:gd name="connsiteY3" fmla="*/ 10929 h 18448"/>
                  <a:gd name="connsiteX4" fmla="*/ 7462 w 18333"/>
                  <a:gd name="connsiteY4" fmla="*/ 163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8">
                    <a:moveTo>
                      <a:pt x="7462" y="163"/>
                    </a:moveTo>
                    <a:cubicBezTo>
                      <a:pt x="12426" y="-794"/>
                      <a:pt x="17211" y="2556"/>
                      <a:pt x="18168" y="7520"/>
                    </a:cubicBezTo>
                    <a:cubicBezTo>
                      <a:pt x="19124" y="12544"/>
                      <a:pt x="15835" y="17328"/>
                      <a:pt x="10871" y="18285"/>
                    </a:cubicBezTo>
                    <a:cubicBezTo>
                      <a:pt x="5907" y="19242"/>
                      <a:pt x="1122" y="15893"/>
                      <a:pt x="166" y="10929"/>
                    </a:cubicBezTo>
                    <a:cubicBezTo>
                      <a:pt x="-791" y="5905"/>
                      <a:pt x="2498" y="1060"/>
                      <a:pt x="7462" y="163"/>
                    </a:cubicBezTo>
                    <a:close/>
                  </a:path>
                </a:pathLst>
              </a:custGeom>
              <a:grpFill/>
              <a:ln w="5978" cap="flat">
                <a:noFill/>
                <a:prstDash val="solid"/>
                <a:miter/>
              </a:ln>
            </p:spPr>
            <p:txBody>
              <a:bodyPr rtlCol="0" anchor="ctr"/>
              <a:lstStyle/>
              <a:p>
                <a:endParaRPr lang="en-GB"/>
              </a:p>
            </p:txBody>
          </p:sp>
          <p:sp>
            <p:nvSpPr>
              <p:cNvPr id="1726" name="Vrije vorm: vorm 1725">
                <a:extLst>
                  <a:ext uri="{FF2B5EF4-FFF2-40B4-BE49-F238E27FC236}">
                    <a16:creationId xmlns:a16="http://schemas.microsoft.com/office/drawing/2014/main" id="{0A429D9A-1DA4-4278-B2BA-E04911F22C5B}"/>
                  </a:ext>
                </a:extLst>
              </p:cNvPr>
              <p:cNvSpPr/>
              <p:nvPr/>
            </p:nvSpPr>
            <p:spPr>
              <a:xfrm>
                <a:off x="4246166" y="4006120"/>
                <a:ext cx="18333" cy="18452"/>
              </a:xfrm>
              <a:custGeom>
                <a:avLst/>
                <a:gdLst>
                  <a:gd name="connsiteX0" fmla="*/ 7462 w 18333"/>
                  <a:gd name="connsiteY0" fmla="*/ 165 h 18452"/>
                  <a:gd name="connsiteX1" fmla="*/ 166 w 18333"/>
                  <a:gd name="connsiteY1" fmla="*/ 10931 h 18452"/>
                  <a:gd name="connsiteX2" fmla="*/ 10871 w 18333"/>
                  <a:gd name="connsiteY2" fmla="*/ 18287 h 18452"/>
                  <a:gd name="connsiteX3" fmla="*/ 18168 w 18333"/>
                  <a:gd name="connsiteY3" fmla="*/ 7522 h 18452"/>
                  <a:gd name="connsiteX4" fmla="*/ 7462 w 18333"/>
                  <a:gd name="connsiteY4" fmla="*/ 1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7462" y="165"/>
                    </a:moveTo>
                    <a:cubicBezTo>
                      <a:pt x="2498" y="1123"/>
                      <a:pt x="-791" y="5907"/>
                      <a:pt x="166" y="10931"/>
                    </a:cubicBezTo>
                    <a:cubicBezTo>
                      <a:pt x="1123" y="15955"/>
                      <a:pt x="5907" y="19244"/>
                      <a:pt x="10871" y="18287"/>
                    </a:cubicBezTo>
                    <a:cubicBezTo>
                      <a:pt x="15835" y="17330"/>
                      <a:pt x="19124" y="12546"/>
                      <a:pt x="18168" y="7522"/>
                    </a:cubicBezTo>
                    <a:cubicBezTo>
                      <a:pt x="17211" y="2498"/>
                      <a:pt x="12426" y="-791"/>
                      <a:pt x="7462" y="165"/>
                    </a:cubicBezTo>
                    <a:close/>
                  </a:path>
                </a:pathLst>
              </a:custGeom>
              <a:grpFill/>
              <a:ln w="5978" cap="flat">
                <a:noFill/>
                <a:prstDash val="solid"/>
                <a:miter/>
              </a:ln>
            </p:spPr>
            <p:txBody>
              <a:bodyPr rtlCol="0" anchor="ctr"/>
              <a:lstStyle/>
              <a:p>
                <a:endParaRPr lang="en-GB"/>
              </a:p>
            </p:txBody>
          </p:sp>
        </p:grpSp>
        <p:grpSp>
          <p:nvGrpSpPr>
            <p:cNvPr id="1227" name="Graphic 3">
              <a:extLst>
                <a:ext uri="{FF2B5EF4-FFF2-40B4-BE49-F238E27FC236}">
                  <a16:creationId xmlns:a16="http://schemas.microsoft.com/office/drawing/2014/main" id="{433DE681-0490-4854-9DC3-BCAE4A21B38E}"/>
                </a:ext>
              </a:extLst>
            </p:cNvPr>
            <p:cNvGrpSpPr/>
            <p:nvPr/>
          </p:nvGrpSpPr>
          <p:grpSpPr>
            <a:xfrm>
              <a:off x="4589732" y="4734133"/>
              <a:ext cx="55429" cy="53062"/>
              <a:chOff x="4589732" y="4734133"/>
              <a:chExt cx="55429" cy="53062"/>
            </a:xfrm>
            <a:grpFill/>
          </p:grpSpPr>
          <p:sp>
            <p:nvSpPr>
              <p:cNvPr id="1721" name="Vrije vorm: vorm 1720">
                <a:extLst>
                  <a:ext uri="{FF2B5EF4-FFF2-40B4-BE49-F238E27FC236}">
                    <a16:creationId xmlns:a16="http://schemas.microsoft.com/office/drawing/2014/main" id="{3F50C63B-B6EF-40DB-9E77-38CBF7D0C45C}"/>
                  </a:ext>
                </a:extLst>
              </p:cNvPr>
              <p:cNvSpPr/>
              <p:nvPr/>
            </p:nvSpPr>
            <p:spPr>
              <a:xfrm>
                <a:off x="4597520" y="4741855"/>
                <a:ext cx="39891" cy="37558"/>
              </a:xfrm>
              <a:custGeom>
                <a:avLst/>
                <a:gdLst>
                  <a:gd name="connsiteX0" fmla="*/ 39891 w 39891"/>
                  <a:gd name="connsiteY0" fmla="*/ 2273 h 37558"/>
                  <a:gd name="connsiteX1" fmla="*/ 2093 w 39891"/>
                  <a:gd name="connsiteY1" fmla="*/ 37559 h 37558"/>
                  <a:gd name="connsiteX2" fmla="*/ 0 w 39891"/>
                  <a:gd name="connsiteY2" fmla="*/ 35346 h 37558"/>
                  <a:gd name="connsiteX3" fmla="*/ 37798 w 39891"/>
                  <a:gd name="connsiteY3" fmla="*/ 0 h 37558"/>
                </a:gdLst>
                <a:ahLst/>
                <a:cxnLst>
                  <a:cxn ang="0">
                    <a:pos x="connsiteX0" y="connsiteY0"/>
                  </a:cxn>
                  <a:cxn ang="0">
                    <a:pos x="connsiteX1" y="connsiteY1"/>
                  </a:cxn>
                  <a:cxn ang="0">
                    <a:pos x="connsiteX2" y="connsiteY2"/>
                  </a:cxn>
                  <a:cxn ang="0">
                    <a:pos x="connsiteX3" y="connsiteY3"/>
                  </a:cxn>
                </a:cxnLst>
                <a:rect l="l" t="t" r="r" b="b"/>
                <a:pathLst>
                  <a:path w="39891" h="37558">
                    <a:moveTo>
                      <a:pt x="39891" y="2273"/>
                    </a:moveTo>
                    <a:lnTo>
                      <a:pt x="2093" y="37559"/>
                    </a:lnTo>
                    <a:lnTo>
                      <a:pt x="0" y="35346"/>
                    </a:lnTo>
                    <a:lnTo>
                      <a:pt x="37798" y="0"/>
                    </a:lnTo>
                    <a:close/>
                  </a:path>
                </a:pathLst>
              </a:custGeom>
              <a:grpFill/>
              <a:ln w="5978" cap="flat">
                <a:noFill/>
                <a:prstDash val="solid"/>
                <a:miter/>
              </a:ln>
            </p:spPr>
            <p:txBody>
              <a:bodyPr rtlCol="0" anchor="ctr"/>
              <a:lstStyle/>
              <a:p>
                <a:endParaRPr lang="en-GB"/>
              </a:p>
            </p:txBody>
          </p:sp>
          <p:sp>
            <p:nvSpPr>
              <p:cNvPr id="1722" name="Vrije vorm: vorm 1721">
                <a:extLst>
                  <a:ext uri="{FF2B5EF4-FFF2-40B4-BE49-F238E27FC236}">
                    <a16:creationId xmlns:a16="http://schemas.microsoft.com/office/drawing/2014/main" id="{75CCD27E-BF91-4B60-A7FD-551327E93523}"/>
                  </a:ext>
                </a:extLst>
              </p:cNvPr>
              <p:cNvSpPr/>
              <p:nvPr/>
            </p:nvSpPr>
            <p:spPr>
              <a:xfrm>
                <a:off x="4589732" y="4768762"/>
                <a:ext cx="18348" cy="18434"/>
              </a:xfrm>
              <a:custGeom>
                <a:avLst/>
                <a:gdLst>
                  <a:gd name="connsiteX0" fmla="*/ 15443 w 18348"/>
                  <a:gd name="connsiteY0" fmla="*/ 15975 h 18434"/>
                  <a:gd name="connsiteX1" fmla="*/ 2465 w 18348"/>
                  <a:gd name="connsiteY1" fmla="*/ 15497 h 18434"/>
                  <a:gd name="connsiteX2" fmla="*/ 2884 w 18348"/>
                  <a:gd name="connsiteY2" fmla="*/ 2459 h 18434"/>
                  <a:gd name="connsiteX3" fmla="*/ 15862 w 18348"/>
                  <a:gd name="connsiteY3" fmla="*/ 2937 h 18434"/>
                  <a:gd name="connsiteX4" fmla="*/ 15443 w 18348"/>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4">
                    <a:moveTo>
                      <a:pt x="15443" y="15975"/>
                    </a:moveTo>
                    <a:cubicBezTo>
                      <a:pt x="11735" y="19444"/>
                      <a:pt x="5934" y="19205"/>
                      <a:pt x="2465" y="15497"/>
                    </a:cubicBezTo>
                    <a:cubicBezTo>
                      <a:pt x="-1004" y="11789"/>
                      <a:pt x="-764" y="5928"/>
                      <a:pt x="2884" y="2459"/>
                    </a:cubicBezTo>
                    <a:cubicBezTo>
                      <a:pt x="6592" y="-1010"/>
                      <a:pt x="12393" y="-771"/>
                      <a:pt x="15862" y="2937"/>
                    </a:cubicBezTo>
                    <a:cubicBezTo>
                      <a:pt x="19331" y="6645"/>
                      <a:pt x="19151" y="12566"/>
                      <a:pt x="15443" y="15975"/>
                    </a:cubicBezTo>
                    <a:close/>
                  </a:path>
                </a:pathLst>
              </a:custGeom>
              <a:grpFill/>
              <a:ln w="5978" cap="flat">
                <a:noFill/>
                <a:prstDash val="solid"/>
                <a:miter/>
              </a:ln>
            </p:spPr>
            <p:txBody>
              <a:bodyPr rtlCol="0" anchor="ctr"/>
              <a:lstStyle/>
              <a:p>
                <a:endParaRPr lang="en-GB"/>
              </a:p>
            </p:txBody>
          </p:sp>
          <p:sp>
            <p:nvSpPr>
              <p:cNvPr id="1723" name="Vrije vorm: vorm 1722">
                <a:extLst>
                  <a:ext uri="{FF2B5EF4-FFF2-40B4-BE49-F238E27FC236}">
                    <a16:creationId xmlns:a16="http://schemas.microsoft.com/office/drawing/2014/main" id="{55657A47-3F72-415C-B92C-F6BCEF23F933}"/>
                  </a:ext>
                </a:extLst>
              </p:cNvPr>
              <p:cNvSpPr/>
              <p:nvPr/>
            </p:nvSpPr>
            <p:spPr>
              <a:xfrm>
                <a:off x="4626791" y="4734133"/>
                <a:ext cx="18370" cy="18410"/>
              </a:xfrm>
              <a:custGeom>
                <a:avLst/>
                <a:gdLst>
                  <a:gd name="connsiteX0" fmla="*/ 15465 w 18370"/>
                  <a:gd name="connsiteY0" fmla="*/ 15975 h 18410"/>
                  <a:gd name="connsiteX1" fmla="*/ 15883 w 18370"/>
                  <a:gd name="connsiteY1" fmla="*/ 2937 h 18410"/>
                  <a:gd name="connsiteX2" fmla="*/ 2905 w 18370"/>
                  <a:gd name="connsiteY2" fmla="*/ 2459 h 18410"/>
                  <a:gd name="connsiteX3" fmla="*/ 2487 w 18370"/>
                  <a:gd name="connsiteY3" fmla="*/ 15497 h 18410"/>
                  <a:gd name="connsiteX4" fmla="*/ 15465 w 18370"/>
                  <a:gd name="connsiteY4" fmla="*/ 15975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0">
                    <a:moveTo>
                      <a:pt x="15465" y="15975"/>
                    </a:moveTo>
                    <a:cubicBezTo>
                      <a:pt x="19173" y="12507"/>
                      <a:pt x="19352" y="6705"/>
                      <a:pt x="15883" y="2937"/>
                    </a:cubicBezTo>
                    <a:cubicBezTo>
                      <a:pt x="12415" y="-771"/>
                      <a:pt x="6613" y="-1010"/>
                      <a:pt x="2905" y="2459"/>
                    </a:cubicBezTo>
                    <a:cubicBezTo>
                      <a:pt x="-803" y="5928"/>
                      <a:pt x="-982" y="11729"/>
                      <a:pt x="2487" y="15497"/>
                    </a:cubicBezTo>
                    <a:cubicBezTo>
                      <a:pt x="6015" y="19205"/>
                      <a:pt x="11817" y="19384"/>
                      <a:pt x="15465" y="15975"/>
                    </a:cubicBezTo>
                    <a:close/>
                  </a:path>
                </a:pathLst>
              </a:custGeom>
              <a:grpFill/>
              <a:ln w="5978" cap="flat">
                <a:noFill/>
                <a:prstDash val="solid"/>
                <a:miter/>
              </a:ln>
            </p:spPr>
            <p:txBody>
              <a:bodyPr rtlCol="0" anchor="ctr"/>
              <a:lstStyle/>
              <a:p>
                <a:endParaRPr lang="en-GB"/>
              </a:p>
            </p:txBody>
          </p:sp>
        </p:grpSp>
        <p:grpSp>
          <p:nvGrpSpPr>
            <p:cNvPr id="1228" name="Graphic 3">
              <a:extLst>
                <a:ext uri="{FF2B5EF4-FFF2-40B4-BE49-F238E27FC236}">
                  <a16:creationId xmlns:a16="http://schemas.microsoft.com/office/drawing/2014/main" id="{1407A50F-9CFE-4919-85EA-0B2A44636AA9}"/>
                </a:ext>
              </a:extLst>
            </p:cNvPr>
            <p:cNvGrpSpPr/>
            <p:nvPr/>
          </p:nvGrpSpPr>
          <p:grpSpPr>
            <a:xfrm>
              <a:off x="4121384" y="3689836"/>
              <a:ext cx="294751" cy="31000"/>
              <a:chOff x="4121384" y="3689836"/>
              <a:chExt cx="294751" cy="31000"/>
            </a:xfrm>
            <a:grpFill/>
          </p:grpSpPr>
          <p:sp>
            <p:nvSpPr>
              <p:cNvPr id="1718" name="Vrije vorm: vorm 1717">
                <a:extLst>
                  <a:ext uri="{FF2B5EF4-FFF2-40B4-BE49-F238E27FC236}">
                    <a16:creationId xmlns:a16="http://schemas.microsoft.com/office/drawing/2014/main" id="{E7BE299F-4AD0-4ED9-9496-BDA7754A3721}"/>
                  </a:ext>
                </a:extLst>
              </p:cNvPr>
              <p:cNvSpPr/>
              <p:nvPr/>
            </p:nvSpPr>
            <p:spPr>
              <a:xfrm>
                <a:off x="4130067" y="3697501"/>
                <a:ext cx="277445" cy="15669"/>
              </a:xfrm>
              <a:custGeom>
                <a:avLst/>
                <a:gdLst>
                  <a:gd name="connsiteX0" fmla="*/ 277266 w 277445"/>
                  <a:gd name="connsiteY0" fmla="*/ 0 h 15669"/>
                  <a:gd name="connsiteX1" fmla="*/ 277446 w 277445"/>
                  <a:gd name="connsiteY1" fmla="*/ 3050 h 15669"/>
                  <a:gd name="connsiteX2" fmla="*/ 120 w 277445"/>
                  <a:gd name="connsiteY2" fmla="*/ 15669 h 15669"/>
                  <a:gd name="connsiteX3" fmla="*/ 0 w 277445"/>
                  <a:gd name="connsiteY3" fmla="*/ 12619 h 15669"/>
                </a:gdLst>
                <a:ahLst/>
                <a:cxnLst>
                  <a:cxn ang="0">
                    <a:pos x="connsiteX0" y="connsiteY0"/>
                  </a:cxn>
                  <a:cxn ang="0">
                    <a:pos x="connsiteX1" y="connsiteY1"/>
                  </a:cxn>
                  <a:cxn ang="0">
                    <a:pos x="connsiteX2" y="connsiteY2"/>
                  </a:cxn>
                  <a:cxn ang="0">
                    <a:pos x="connsiteX3" y="connsiteY3"/>
                  </a:cxn>
                </a:cxnLst>
                <a:rect l="l" t="t" r="r" b="b"/>
                <a:pathLst>
                  <a:path w="277445" h="15669">
                    <a:moveTo>
                      <a:pt x="277266" y="0"/>
                    </a:moveTo>
                    <a:lnTo>
                      <a:pt x="277446" y="3050"/>
                    </a:lnTo>
                    <a:lnTo>
                      <a:pt x="120" y="15669"/>
                    </a:lnTo>
                    <a:lnTo>
                      <a:pt x="0" y="12619"/>
                    </a:lnTo>
                    <a:close/>
                  </a:path>
                </a:pathLst>
              </a:custGeom>
              <a:grpFill/>
              <a:ln w="5978" cap="flat">
                <a:noFill/>
                <a:prstDash val="solid"/>
                <a:miter/>
              </a:ln>
            </p:spPr>
            <p:txBody>
              <a:bodyPr rtlCol="0" anchor="ctr"/>
              <a:lstStyle/>
              <a:p>
                <a:endParaRPr lang="en-GB"/>
              </a:p>
            </p:txBody>
          </p:sp>
          <p:sp>
            <p:nvSpPr>
              <p:cNvPr id="1719" name="Vrije vorm: vorm 1718">
                <a:extLst>
                  <a:ext uri="{FF2B5EF4-FFF2-40B4-BE49-F238E27FC236}">
                    <a16:creationId xmlns:a16="http://schemas.microsoft.com/office/drawing/2014/main" id="{C4C54FAA-9937-4BAC-B333-7E0AD5D50C3A}"/>
                  </a:ext>
                </a:extLst>
              </p:cNvPr>
              <p:cNvSpPr/>
              <p:nvPr/>
            </p:nvSpPr>
            <p:spPr>
              <a:xfrm>
                <a:off x="4397758" y="3689836"/>
                <a:ext cx="18377" cy="18441"/>
              </a:xfrm>
              <a:custGeom>
                <a:avLst/>
                <a:gdLst>
                  <a:gd name="connsiteX0" fmla="*/ 8738 w 18377"/>
                  <a:gd name="connsiteY0" fmla="*/ 10 h 18441"/>
                  <a:gd name="connsiteX1" fmla="*/ 18367 w 18377"/>
                  <a:gd name="connsiteY1" fmla="*/ 8802 h 18441"/>
                  <a:gd name="connsiteX2" fmla="*/ 9635 w 18377"/>
                  <a:gd name="connsiteY2" fmla="*/ 18431 h 18441"/>
                  <a:gd name="connsiteX3" fmla="*/ 6 w 18377"/>
                  <a:gd name="connsiteY3" fmla="*/ 9639 h 18441"/>
                  <a:gd name="connsiteX4" fmla="*/ 8738 w 18377"/>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41">
                    <a:moveTo>
                      <a:pt x="8738" y="10"/>
                    </a:moveTo>
                    <a:cubicBezTo>
                      <a:pt x="13821" y="-229"/>
                      <a:pt x="18068" y="3718"/>
                      <a:pt x="18367" y="8802"/>
                    </a:cubicBezTo>
                    <a:cubicBezTo>
                      <a:pt x="18606" y="13886"/>
                      <a:pt x="14719" y="18192"/>
                      <a:pt x="9635" y="18431"/>
                    </a:cubicBezTo>
                    <a:cubicBezTo>
                      <a:pt x="4551" y="18670"/>
                      <a:pt x="305" y="14723"/>
                      <a:pt x="6" y="9639"/>
                    </a:cubicBezTo>
                    <a:cubicBezTo>
                      <a:pt x="-173" y="4556"/>
                      <a:pt x="3714" y="250"/>
                      <a:pt x="8738" y="10"/>
                    </a:cubicBezTo>
                    <a:close/>
                  </a:path>
                </a:pathLst>
              </a:custGeom>
              <a:grpFill/>
              <a:ln w="5978" cap="flat">
                <a:noFill/>
                <a:prstDash val="solid"/>
                <a:miter/>
              </a:ln>
            </p:spPr>
            <p:txBody>
              <a:bodyPr rtlCol="0" anchor="ctr"/>
              <a:lstStyle/>
              <a:p>
                <a:endParaRPr lang="en-GB"/>
              </a:p>
            </p:txBody>
          </p:sp>
          <p:sp>
            <p:nvSpPr>
              <p:cNvPr id="1720" name="Vrije vorm: vorm 1719">
                <a:extLst>
                  <a:ext uri="{FF2B5EF4-FFF2-40B4-BE49-F238E27FC236}">
                    <a16:creationId xmlns:a16="http://schemas.microsoft.com/office/drawing/2014/main" id="{297E44C2-62CA-406B-8C14-47F40FFE943B}"/>
                  </a:ext>
                </a:extLst>
              </p:cNvPr>
              <p:cNvSpPr/>
              <p:nvPr/>
            </p:nvSpPr>
            <p:spPr>
              <a:xfrm>
                <a:off x="4121384" y="3702395"/>
                <a:ext cx="18381" cy="18441"/>
              </a:xfrm>
              <a:custGeom>
                <a:avLst/>
                <a:gdLst>
                  <a:gd name="connsiteX0" fmla="*/ 8742 w 18381"/>
                  <a:gd name="connsiteY0" fmla="*/ 10 h 18441"/>
                  <a:gd name="connsiteX1" fmla="*/ 10 w 18381"/>
                  <a:gd name="connsiteY1" fmla="*/ 9639 h 18441"/>
                  <a:gd name="connsiteX2" fmla="*/ 9640 w 18381"/>
                  <a:gd name="connsiteY2" fmla="*/ 18431 h 18441"/>
                  <a:gd name="connsiteX3" fmla="*/ 18371 w 18381"/>
                  <a:gd name="connsiteY3" fmla="*/ 8802 h 18441"/>
                  <a:gd name="connsiteX4" fmla="*/ 8742 w 1838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1">
                    <a:moveTo>
                      <a:pt x="8742" y="10"/>
                    </a:moveTo>
                    <a:cubicBezTo>
                      <a:pt x="3659" y="250"/>
                      <a:pt x="-229" y="4556"/>
                      <a:pt x="10" y="9639"/>
                    </a:cubicBezTo>
                    <a:cubicBezTo>
                      <a:pt x="250" y="14723"/>
                      <a:pt x="4556" y="18670"/>
                      <a:pt x="9640" y="18431"/>
                    </a:cubicBezTo>
                    <a:cubicBezTo>
                      <a:pt x="14663" y="18192"/>
                      <a:pt x="18611" y="13886"/>
                      <a:pt x="18371" y="8802"/>
                    </a:cubicBezTo>
                    <a:cubicBezTo>
                      <a:pt x="18132" y="3718"/>
                      <a:pt x="13826" y="-229"/>
                      <a:pt x="8742" y="10"/>
                    </a:cubicBezTo>
                    <a:close/>
                  </a:path>
                </a:pathLst>
              </a:custGeom>
              <a:grpFill/>
              <a:ln w="5978" cap="flat">
                <a:noFill/>
                <a:prstDash val="solid"/>
                <a:miter/>
              </a:ln>
            </p:spPr>
            <p:txBody>
              <a:bodyPr rtlCol="0" anchor="ctr"/>
              <a:lstStyle/>
              <a:p>
                <a:endParaRPr lang="en-GB"/>
              </a:p>
            </p:txBody>
          </p:sp>
        </p:grpSp>
        <p:grpSp>
          <p:nvGrpSpPr>
            <p:cNvPr id="1229" name="Graphic 3">
              <a:extLst>
                <a:ext uri="{FF2B5EF4-FFF2-40B4-BE49-F238E27FC236}">
                  <a16:creationId xmlns:a16="http://schemas.microsoft.com/office/drawing/2014/main" id="{C236026F-7780-4A0A-885E-60BB737D276A}"/>
                </a:ext>
              </a:extLst>
            </p:cNvPr>
            <p:cNvGrpSpPr/>
            <p:nvPr/>
          </p:nvGrpSpPr>
          <p:grpSpPr>
            <a:xfrm>
              <a:off x="4348113" y="4003472"/>
              <a:ext cx="27234" cy="21574"/>
              <a:chOff x="4348113" y="4003472"/>
              <a:chExt cx="27234" cy="21574"/>
            </a:xfrm>
            <a:grpFill/>
          </p:grpSpPr>
          <p:sp>
            <p:nvSpPr>
              <p:cNvPr id="1716" name="Vrije vorm: vorm 1715">
                <a:extLst>
                  <a:ext uri="{FF2B5EF4-FFF2-40B4-BE49-F238E27FC236}">
                    <a16:creationId xmlns:a16="http://schemas.microsoft.com/office/drawing/2014/main" id="{949E9F19-5F6E-4408-96BD-0BD91EEBAD58}"/>
                  </a:ext>
                </a:extLst>
              </p:cNvPr>
              <p:cNvSpPr/>
              <p:nvPr/>
            </p:nvSpPr>
            <p:spPr>
              <a:xfrm>
                <a:off x="4348113" y="4006605"/>
                <a:ext cx="18359" cy="18440"/>
              </a:xfrm>
              <a:custGeom>
                <a:avLst/>
                <a:gdLst>
                  <a:gd name="connsiteX0" fmla="*/ 6112 w 18359"/>
                  <a:gd name="connsiteY0" fmla="*/ 518 h 18440"/>
                  <a:gd name="connsiteX1" fmla="*/ 17834 w 18359"/>
                  <a:gd name="connsiteY1" fmla="*/ 6200 h 18440"/>
                  <a:gd name="connsiteX2" fmla="*/ 12272 w 18359"/>
                  <a:gd name="connsiteY2" fmla="*/ 17922 h 18440"/>
                  <a:gd name="connsiteX3" fmla="*/ 549 w 18359"/>
                  <a:gd name="connsiteY3" fmla="*/ 12241 h 18440"/>
                  <a:gd name="connsiteX4" fmla="*/ 6112 w 18359"/>
                  <a:gd name="connsiteY4" fmla="*/ 518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40">
                    <a:moveTo>
                      <a:pt x="6112" y="518"/>
                    </a:moveTo>
                    <a:cubicBezTo>
                      <a:pt x="10896" y="-1156"/>
                      <a:pt x="16099" y="1356"/>
                      <a:pt x="17834" y="6200"/>
                    </a:cubicBezTo>
                    <a:cubicBezTo>
                      <a:pt x="19509" y="10984"/>
                      <a:pt x="17056" y="16248"/>
                      <a:pt x="12272" y="17922"/>
                    </a:cubicBezTo>
                    <a:cubicBezTo>
                      <a:pt x="7487" y="19597"/>
                      <a:pt x="2284" y="17085"/>
                      <a:pt x="549" y="12241"/>
                    </a:cubicBezTo>
                    <a:cubicBezTo>
                      <a:pt x="-1185" y="7456"/>
                      <a:pt x="1327" y="2193"/>
                      <a:pt x="6112" y="518"/>
                    </a:cubicBezTo>
                    <a:close/>
                  </a:path>
                </a:pathLst>
              </a:custGeom>
              <a:grpFill/>
              <a:ln w="5978" cap="flat">
                <a:noFill/>
                <a:prstDash val="solid"/>
                <a:miter/>
              </a:ln>
            </p:spPr>
            <p:txBody>
              <a:bodyPr rtlCol="0" anchor="ctr"/>
              <a:lstStyle/>
              <a:p>
                <a:endParaRPr lang="en-GB"/>
              </a:p>
            </p:txBody>
          </p:sp>
          <p:sp>
            <p:nvSpPr>
              <p:cNvPr id="1717" name="Vrije vorm: vorm 1716">
                <a:extLst>
                  <a:ext uri="{FF2B5EF4-FFF2-40B4-BE49-F238E27FC236}">
                    <a16:creationId xmlns:a16="http://schemas.microsoft.com/office/drawing/2014/main" id="{E552274C-7E35-4CA4-8492-4FC6D31C7AF1}"/>
                  </a:ext>
                </a:extLst>
              </p:cNvPr>
              <p:cNvSpPr/>
              <p:nvPr/>
            </p:nvSpPr>
            <p:spPr>
              <a:xfrm>
                <a:off x="4356964" y="4003472"/>
                <a:ext cx="18383" cy="18457"/>
              </a:xfrm>
              <a:custGeom>
                <a:avLst/>
                <a:gdLst>
                  <a:gd name="connsiteX0" fmla="*/ 6112 w 18383"/>
                  <a:gd name="connsiteY0" fmla="*/ 542 h 18457"/>
                  <a:gd name="connsiteX1" fmla="*/ 550 w 18383"/>
                  <a:gd name="connsiteY1" fmla="*/ 12264 h 18457"/>
                  <a:gd name="connsiteX2" fmla="*/ 12272 w 18383"/>
                  <a:gd name="connsiteY2" fmla="*/ 17946 h 18457"/>
                  <a:gd name="connsiteX3" fmla="*/ 17834 w 18383"/>
                  <a:gd name="connsiteY3" fmla="*/ 6223 h 18457"/>
                  <a:gd name="connsiteX4" fmla="*/ 6112 w 18383"/>
                  <a:gd name="connsiteY4" fmla="*/ 54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57">
                    <a:moveTo>
                      <a:pt x="6112" y="542"/>
                    </a:moveTo>
                    <a:cubicBezTo>
                      <a:pt x="1327" y="2216"/>
                      <a:pt x="-1185" y="7479"/>
                      <a:pt x="550" y="12264"/>
                    </a:cubicBezTo>
                    <a:cubicBezTo>
                      <a:pt x="2224" y="17048"/>
                      <a:pt x="7487" y="19620"/>
                      <a:pt x="12272" y="17946"/>
                    </a:cubicBezTo>
                    <a:cubicBezTo>
                      <a:pt x="17056" y="16271"/>
                      <a:pt x="19568" y="11008"/>
                      <a:pt x="17834" y="6223"/>
                    </a:cubicBezTo>
                    <a:cubicBezTo>
                      <a:pt x="16099" y="1379"/>
                      <a:pt x="10896" y="-1193"/>
                      <a:pt x="6112" y="542"/>
                    </a:cubicBezTo>
                    <a:close/>
                  </a:path>
                </a:pathLst>
              </a:custGeom>
              <a:grpFill/>
              <a:ln w="5978" cap="flat">
                <a:noFill/>
                <a:prstDash val="solid"/>
                <a:miter/>
              </a:ln>
            </p:spPr>
            <p:txBody>
              <a:bodyPr rtlCol="0" anchor="ctr"/>
              <a:lstStyle/>
              <a:p>
                <a:endParaRPr lang="en-GB"/>
              </a:p>
            </p:txBody>
          </p:sp>
        </p:grpSp>
        <p:grpSp>
          <p:nvGrpSpPr>
            <p:cNvPr id="1230" name="Graphic 3">
              <a:extLst>
                <a:ext uri="{FF2B5EF4-FFF2-40B4-BE49-F238E27FC236}">
                  <a16:creationId xmlns:a16="http://schemas.microsoft.com/office/drawing/2014/main" id="{DF38735B-C407-43D4-AB4A-030B83545D11}"/>
                </a:ext>
              </a:extLst>
            </p:cNvPr>
            <p:cNvGrpSpPr/>
            <p:nvPr/>
          </p:nvGrpSpPr>
          <p:grpSpPr>
            <a:xfrm>
              <a:off x="4017021" y="3487568"/>
              <a:ext cx="349175" cy="35606"/>
              <a:chOff x="4017021" y="3487568"/>
              <a:chExt cx="349175" cy="35606"/>
            </a:xfrm>
            <a:grpFill/>
          </p:grpSpPr>
          <p:sp>
            <p:nvSpPr>
              <p:cNvPr id="1713" name="Vrije vorm: vorm 1712">
                <a:extLst>
                  <a:ext uri="{FF2B5EF4-FFF2-40B4-BE49-F238E27FC236}">
                    <a16:creationId xmlns:a16="http://schemas.microsoft.com/office/drawing/2014/main" id="{2CE050F5-FD5B-41B4-A25B-81965ECB637B}"/>
                  </a:ext>
                </a:extLst>
              </p:cNvPr>
              <p:cNvSpPr/>
              <p:nvPr/>
            </p:nvSpPr>
            <p:spPr>
              <a:xfrm>
                <a:off x="4025643" y="3495233"/>
                <a:ext cx="331870" cy="20274"/>
              </a:xfrm>
              <a:custGeom>
                <a:avLst/>
                <a:gdLst>
                  <a:gd name="connsiteX0" fmla="*/ 331870 w 331870"/>
                  <a:gd name="connsiteY0" fmla="*/ 17225 h 20274"/>
                  <a:gd name="connsiteX1" fmla="*/ 331751 w 331870"/>
                  <a:gd name="connsiteY1" fmla="*/ 20275 h 20274"/>
                  <a:gd name="connsiteX2" fmla="*/ 0 w 331870"/>
                  <a:gd name="connsiteY2" fmla="*/ 3050 h 20274"/>
                  <a:gd name="connsiteX3" fmla="*/ 119 w 331870"/>
                  <a:gd name="connsiteY3" fmla="*/ 0 h 20274"/>
                </a:gdLst>
                <a:ahLst/>
                <a:cxnLst>
                  <a:cxn ang="0">
                    <a:pos x="connsiteX0" y="connsiteY0"/>
                  </a:cxn>
                  <a:cxn ang="0">
                    <a:pos x="connsiteX1" y="connsiteY1"/>
                  </a:cxn>
                  <a:cxn ang="0">
                    <a:pos x="connsiteX2" y="connsiteY2"/>
                  </a:cxn>
                  <a:cxn ang="0">
                    <a:pos x="connsiteX3" y="connsiteY3"/>
                  </a:cxn>
                </a:cxnLst>
                <a:rect l="l" t="t" r="r" b="b"/>
                <a:pathLst>
                  <a:path w="331870" h="20274">
                    <a:moveTo>
                      <a:pt x="331870" y="17225"/>
                    </a:moveTo>
                    <a:lnTo>
                      <a:pt x="331751" y="20275"/>
                    </a:lnTo>
                    <a:lnTo>
                      <a:pt x="0" y="3050"/>
                    </a:lnTo>
                    <a:lnTo>
                      <a:pt x="119" y="0"/>
                    </a:lnTo>
                    <a:close/>
                  </a:path>
                </a:pathLst>
              </a:custGeom>
              <a:grpFill/>
              <a:ln w="5978" cap="flat">
                <a:noFill/>
                <a:prstDash val="solid"/>
                <a:miter/>
              </a:ln>
            </p:spPr>
            <p:txBody>
              <a:bodyPr rtlCol="0" anchor="ctr"/>
              <a:lstStyle/>
              <a:p>
                <a:endParaRPr lang="en-GB"/>
              </a:p>
            </p:txBody>
          </p:sp>
          <p:sp>
            <p:nvSpPr>
              <p:cNvPr id="1714" name="Vrije vorm: vorm 1713">
                <a:extLst>
                  <a:ext uri="{FF2B5EF4-FFF2-40B4-BE49-F238E27FC236}">
                    <a16:creationId xmlns:a16="http://schemas.microsoft.com/office/drawing/2014/main" id="{87D3761B-9EBD-4637-9EBB-77E9B2B2334C}"/>
                  </a:ext>
                </a:extLst>
              </p:cNvPr>
              <p:cNvSpPr/>
              <p:nvPr/>
            </p:nvSpPr>
            <p:spPr>
              <a:xfrm>
                <a:off x="4347874" y="3504732"/>
                <a:ext cx="18321" cy="18441"/>
              </a:xfrm>
              <a:custGeom>
                <a:avLst/>
                <a:gdLst>
                  <a:gd name="connsiteX0" fmla="*/ 9580 w 18321"/>
                  <a:gd name="connsiteY0" fmla="*/ 10 h 18441"/>
                  <a:gd name="connsiteX1" fmla="*/ 18311 w 18321"/>
                  <a:gd name="connsiteY1" fmla="*/ 9699 h 18441"/>
                  <a:gd name="connsiteX2" fmla="*/ 8742 w 18321"/>
                  <a:gd name="connsiteY2" fmla="*/ 18431 h 18441"/>
                  <a:gd name="connsiteX3" fmla="*/ 10 w 18321"/>
                  <a:gd name="connsiteY3" fmla="*/ 8742 h 18441"/>
                  <a:gd name="connsiteX4" fmla="*/ 9580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80" y="10"/>
                    </a:moveTo>
                    <a:cubicBezTo>
                      <a:pt x="14603" y="250"/>
                      <a:pt x="18551" y="4616"/>
                      <a:pt x="18311" y="9699"/>
                    </a:cubicBezTo>
                    <a:cubicBezTo>
                      <a:pt x="18072" y="14783"/>
                      <a:pt x="13766" y="18670"/>
                      <a:pt x="8742" y="18431"/>
                    </a:cubicBezTo>
                    <a:cubicBezTo>
                      <a:pt x="3659" y="18192"/>
                      <a:pt x="-229" y="13826"/>
                      <a:pt x="10" y="8742"/>
                    </a:cubicBezTo>
                    <a:cubicBezTo>
                      <a:pt x="250" y="3659"/>
                      <a:pt x="4496" y="-229"/>
                      <a:pt x="9580" y="10"/>
                    </a:cubicBezTo>
                    <a:close/>
                  </a:path>
                </a:pathLst>
              </a:custGeom>
              <a:grpFill/>
              <a:ln w="5978" cap="flat">
                <a:noFill/>
                <a:prstDash val="solid"/>
                <a:miter/>
              </a:ln>
            </p:spPr>
            <p:txBody>
              <a:bodyPr rtlCol="0" anchor="ctr"/>
              <a:lstStyle/>
              <a:p>
                <a:endParaRPr lang="en-GB"/>
              </a:p>
            </p:txBody>
          </p:sp>
          <p:sp>
            <p:nvSpPr>
              <p:cNvPr id="1715" name="Vrije vorm: vorm 1714">
                <a:extLst>
                  <a:ext uri="{FF2B5EF4-FFF2-40B4-BE49-F238E27FC236}">
                    <a16:creationId xmlns:a16="http://schemas.microsoft.com/office/drawing/2014/main" id="{4DCFAE39-CC4F-4DEE-AD7A-C99B536D2D9F}"/>
                  </a:ext>
                </a:extLst>
              </p:cNvPr>
              <p:cNvSpPr/>
              <p:nvPr/>
            </p:nvSpPr>
            <p:spPr>
              <a:xfrm>
                <a:off x="4017021" y="3487568"/>
                <a:ext cx="18321" cy="18441"/>
              </a:xfrm>
              <a:custGeom>
                <a:avLst/>
                <a:gdLst>
                  <a:gd name="connsiteX0" fmla="*/ 9580 w 18321"/>
                  <a:gd name="connsiteY0" fmla="*/ 10 h 18441"/>
                  <a:gd name="connsiteX1" fmla="*/ 10 w 18321"/>
                  <a:gd name="connsiteY1" fmla="*/ 8742 h 18441"/>
                  <a:gd name="connsiteX2" fmla="*/ 8742 w 18321"/>
                  <a:gd name="connsiteY2" fmla="*/ 18431 h 18441"/>
                  <a:gd name="connsiteX3" fmla="*/ 18311 w 18321"/>
                  <a:gd name="connsiteY3" fmla="*/ 9699 h 18441"/>
                  <a:gd name="connsiteX4" fmla="*/ 9580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80" y="10"/>
                    </a:moveTo>
                    <a:cubicBezTo>
                      <a:pt x="4496" y="-229"/>
                      <a:pt x="250" y="3659"/>
                      <a:pt x="10" y="8742"/>
                    </a:cubicBezTo>
                    <a:cubicBezTo>
                      <a:pt x="-229" y="13826"/>
                      <a:pt x="3659" y="18132"/>
                      <a:pt x="8742" y="18431"/>
                    </a:cubicBezTo>
                    <a:cubicBezTo>
                      <a:pt x="13826" y="18670"/>
                      <a:pt x="18072" y="14783"/>
                      <a:pt x="18311" y="9699"/>
                    </a:cubicBezTo>
                    <a:cubicBezTo>
                      <a:pt x="18551" y="4616"/>
                      <a:pt x="14663" y="250"/>
                      <a:pt x="9580" y="10"/>
                    </a:cubicBezTo>
                    <a:close/>
                  </a:path>
                </a:pathLst>
              </a:custGeom>
              <a:grpFill/>
              <a:ln w="5978" cap="flat">
                <a:noFill/>
                <a:prstDash val="solid"/>
                <a:miter/>
              </a:ln>
            </p:spPr>
            <p:txBody>
              <a:bodyPr rtlCol="0" anchor="ctr"/>
              <a:lstStyle/>
              <a:p>
                <a:endParaRPr lang="en-GB"/>
              </a:p>
            </p:txBody>
          </p:sp>
        </p:grpSp>
        <p:grpSp>
          <p:nvGrpSpPr>
            <p:cNvPr id="1231" name="Graphic 3">
              <a:extLst>
                <a:ext uri="{FF2B5EF4-FFF2-40B4-BE49-F238E27FC236}">
                  <a16:creationId xmlns:a16="http://schemas.microsoft.com/office/drawing/2014/main" id="{D20615E2-A495-4D11-854A-D5CF976B01D6}"/>
                </a:ext>
              </a:extLst>
            </p:cNvPr>
            <p:cNvGrpSpPr/>
            <p:nvPr/>
          </p:nvGrpSpPr>
          <p:grpSpPr>
            <a:xfrm>
              <a:off x="4564564" y="4666511"/>
              <a:ext cx="47551" cy="43768"/>
              <a:chOff x="4564564" y="4666511"/>
              <a:chExt cx="47551" cy="43768"/>
            </a:xfrm>
            <a:grpFill/>
          </p:grpSpPr>
          <p:sp>
            <p:nvSpPr>
              <p:cNvPr id="1710" name="Vrije vorm: vorm 1709">
                <a:extLst>
                  <a:ext uri="{FF2B5EF4-FFF2-40B4-BE49-F238E27FC236}">
                    <a16:creationId xmlns:a16="http://schemas.microsoft.com/office/drawing/2014/main" id="{9588FA08-66EF-48B0-8A37-C0CB8F4CF553}"/>
                  </a:ext>
                </a:extLst>
              </p:cNvPr>
              <p:cNvSpPr/>
              <p:nvPr/>
            </p:nvSpPr>
            <p:spPr>
              <a:xfrm>
                <a:off x="4572341" y="4674273"/>
                <a:ext cx="31996" cy="28289"/>
              </a:xfrm>
              <a:custGeom>
                <a:avLst/>
                <a:gdLst>
                  <a:gd name="connsiteX0" fmla="*/ 31997 w 31996"/>
                  <a:gd name="connsiteY0" fmla="*/ 2273 h 28289"/>
                  <a:gd name="connsiteX1" fmla="*/ 2034 w 31996"/>
                  <a:gd name="connsiteY1" fmla="*/ 28289 h 28289"/>
                  <a:gd name="connsiteX2" fmla="*/ 0 w 31996"/>
                  <a:gd name="connsiteY2" fmla="*/ 25956 h 28289"/>
                  <a:gd name="connsiteX3" fmla="*/ 29963 w 31996"/>
                  <a:gd name="connsiteY3" fmla="*/ 0 h 28289"/>
                </a:gdLst>
                <a:ahLst/>
                <a:cxnLst>
                  <a:cxn ang="0">
                    <a:pos x="connsiteX0" y="connsiteY0"/>
                  </a:cxn>
                  <a:cxn ang="0">
                    <a:pos x="connsiteX1" y="connsiteY1"/>
                  </a:cxn>
                  <a:cxn ang="0">
                    <a:pos x="connsiteX2" y="connsiteY2"/>
                  </a:cxn>
                  <a:cxn ang="0">
                    <a:pos x="connsiteX3" y="connsiteY3"/>
                  </a:cxn>
                </a:cxnLst>
                <a:rect l="l" t="t" r="r" b="b"/>
                <a:pathLst>
                  <a:path w="31996" h="28289">
                    <a:moveTo>
                      <a:pt x="31997" y="2273"/>
                    </a:moveTo>
                    <a:lnTo>
                      <a:pt x="2034" y="28289"/>
                    </a:lnTo>
                    <a:lnTo>
                      <a:pt x="0" y="25956"/>
                    </a:lnTo>
                    <a:lnTo>
                      <a:pt x="29963" y="0"/>
                    </a:lnTo>
                    <a:close/>
                  </a:path>
                </a:pathLst>
              </a:custGeom>
              <a:grpFill/>
              <a:ln w="5978" cap="flat">
                <a:noFill/>
                <a:prstDash val="solid"/>
                <a:miter/>
              </a:ln>
            </p:spPr>
            <p:txBody>
              <a:bodyPr rtlCol="0" anchor="ctr"/>
              <a:lstStyle/>
              <a:p>
                <a:endParaRPr lang="en-GB"/>
              </a:p>
            </p:txBody>
          </p:sp>
          <p:sp>
            <p:nvSpPr>
              <p:cNvPr id="1711" name="Vrije vorm: vorm 1710">
                <a:extLst>
                  <a:ext uri="{FF2B5EF4-FFF2-40B4-BE49-F238E27FC236}">
                    <a16:creationId xmlns:a16="http://schemas.microsoft.com/office/drawing/2014/main" id="{2939480B-D846-4052-B518-0090748A9380}"/>
                  </a:ext>
                </a:extLst>
              </p:cNvPr>
              <p:cNvSpPr/>
              <p:nvPr/>
            </p:nvSpPr>
            <p:spPr>
              <a:xfrm>
                <a:off x="4564564" y="4691914"/>
                <a:ext cx="18305" cy="18365"/>
              </a:xfrm>
              <a:custGeom>
                <a:avLst/>
                <a:gdLst>
                  <a:gd name="connsiteX0" fmla="*/ 15133 w 18305"/>
                  <a:gd name="connsiteY0" fmla="*/ 16150 h 18365"/>
                  <a:gd name="connsiteX1" fmla="*/ 2215 w 18305"/>
                  <a:gd name="connsiteY1" fmla="*/ 15194 h 18365"/>
                  <a:gd name="connsiteX2" fmla="*/ 3172 w 18305"/>
                  <a:gd name="connsiteY2" fmla="*/ 2215 h 18365"/>
                  <a:gd name="connsiteX3" fmla="*/ 16091 w 18305"/>
                  <a:gd name="connsiteY3" fmla="*/ 3172 h 18365"/>
                  <a:gd name="connsiteX4" fmla="*/ 15133 w 18305"/>
                  <a:gd name="connsiteY4" fmla="*/ 1615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365">
                    <a:moveTo>
                      <a:pt x="15133" y="16150"/>
                    </a:moveTo>
                    <a:cubicBezTo>
                      <a:pt x="11306" y="19440"/>
                      <a:pt x="5505" y="19021"/>
                      <a:pt x="2215" y="15194"/>
                    </a:cubicBezTo>
                    <a:cubicBezTo>
                      <a:pt x="-1074" y="11306"/>
                      <a:pt x="-655" y="5505"/>
                      <a:pt x="3172" y="2215"/>
                    </a:cubicBezTo>
                    <a:cubicBezTo>
                      <a:pt x="7000" y="-1074"/>
                      <a:pt x="12801" y="-655"/>
                      <a:pt x="16091" y="3172"/>
                    </a:cubicBezTo>
                    <a:cubicBezTo>
                      <a:pt x="19380" y="7000"/>
                      <a:pt x="18961" y="12861"/>
                      <a:pt x="15133" y="16150"/>
                    </a:cubicBezTo>
                    <a:close/>
                  </a:path>
                </a:pathLst>
              </a:custGeom>
              <a:grpFill/>
              <a:ln w="5978" cap="flat">
                <a:noFill/>
                <a:prstDash val="solid"/>
                <a:miter/>
              </a:ln>
            </p:spPr>
            <p:txBody>
              <a:bodyPr rtlCol="0" anchor="ctr"/>
              <a:lstStyle/>
              <a:p>
                <a:endParaRPr lang="en-GB"/>
              </a:p>
            </p:txBody>
          </p:sp>
          <p:sp>
            <p:nvSpPr>
              <p:cNvPr id="1712" name="Vrije vorm: vorm 1711">
                <a:extLst>
                  <a:ext uri="{FF2B5EF4-FFF2-40B4-BE49-F238E27FC236}">
                    <a16:creationId xmlns:a16="http://schemas.microsoft.com/office/drawing/2014/main" id="{18731D44-9F5A-4397-823A-F49DBCB9CC6D}"/>
                  </a:ext>
                </a:extLst>
              </p:cNvPr>
              <p:cNvSpPr/>
              <p:nvPr/>
            </p:nvSpPr>
            <p:spPr>
              <a:xfrm>
                <a:off x="4593819" y="4666511"/>
                <a:ext cx="18296" cy="18410"/>
              </a:xfrm>
              <a:custGeom>
                <a:avLst/>
                <a:gdLst>
                  <a:gd name="connsiteX0" fmla="*/ 15124 w 18296"/>
                  <a:gd name="connsiteY0" fmla="*/ 16195 h 18410"/>
                  <a:gd name="connsiteX1" fmla="*/ 16081 w 18296"/>
                  <a:gd name="connsiteY1" fmla="*/ 3217 h 18410"/>
                  <a:gd name="connsiteX2" fmla="*/ 3163 w 18296"/>
                  <a:gd name="connsiteY2" fmla="*/ 2260 h 18410"/>
                  <a:gd name="connsiteX3" fmla="*/ 2266 w 18296"/>
                  <a:gd name="connsiteY3" fmla="*/ 15238 h 18410"/>
                  <a:gd name="connsiteX4" fmla="*/ 15124 w 18296"/>
                  <a:gd name="connsiteY4" fmla="*/ 16195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0">
                    <a:moveTo>
                      <a:pt x="15124" y="16195"/>
                    </a:moveTo>
                    <a:cubicBezTo>
                      <a:pt x="18952" y="12906"/>
                      <a:pt x="19370" y="7044"/>
                      <a:pt x="16081" y="3217"/>
                    </a:cubicBezTo>
                    <a:cubicBezTo>
                      <a:pt x="12791" y="-671"/>
                      <a:pt x="6990" y="-1089"/>
                      <a:pt x="3163" y="2260"/>
                    </a:cubicBezTo>
                    <a:cubicBezTo>
                      <a:pt x="-665" y="5549"/>
                      <a:pt x="-1084" y="11410"/>
                      <a:pt x="2266" y="15238"/>
                    </a:cubicBezTo>
                    <a:cubicBezTo>
                      <a:pt x="5555" y="19066"/>
                      <a:pt x="11296" y="19484"/>
                      <a:pt x="15124" y="16195"/>
                    </a:cubicBezTo>
                    <a:close/>
                  </a:path>
                </a:pathLst>
              </a:custGeom>
              <a:grpFill/>
              <a:ln w="5978" cap="flat">
                <a:noFill/>
                <a:prstDash val="solid"/>
                <a:miter/>
              </a:ln>
            </p:spPr>
            <p:txBody>
              <a:bodyPr rtlCol="0" anchor="ctr"/>
              <a:lstStyle/>
              <a:p>
                <a:endParaRPr lang="en-GB"/>
              </a:p>
            </p:txBody>
          </p:sp>
        </p:grpSp>
        <p:grpSp>
          <p:nvGrpSpPr>
            <p:cNvPr id="1232" name="Graphic 3">
              <a:extLst>
                <a:ext uri="{FF2B5EF4-FFF2-40B4-BE49-F238E27FC236}">
                  <a16:creationId xmlns:a16="http://schemas.microsoft.com/office/drawing/2014/main" id="{BA6319E4-8967-4001-A039-D8A544EC6727}"/>
                </a:ext>
              </a:extLst>
            </p:cNvPr>
            <p:cNvGrpSpPr/>
            <p:nvPr/>
          </p:nvGrpSpPr>
          <p:grpSpPr>
            <a:xfrm>
              <a:off x="4239287" y="4023487"/>
              <a:ext cx="264781" cy="79412"/>
              <a:chOff x="4239287" y="4023487"/>
              <a:chExt cx="264781" cy="79412"/>
            </a:xfrm>
            <a:grpFill/>
          </p:grpSpPr>
          <p:sp>
            <p:nvSpPr>
              <p:cNvPr id="1707" name="Vrije vorm: vorm 1706">
                <a:extLst>
                  <a:ext uri="{FF2B5EF4-FFF2-40B4-BE49-F238E27FC236}">
                    <a16:creationId xmlns:a16="http://schemas.microsoft.com/office/drawing/2014/main" id="{48D87F57-207D-4FB5-93D3-EA0F887A8735}"/>
                  </a:ext>
                </a:extLst>
              </p:cNvPr>
              <p:cNvSpPr/>
              <p:nvPr/>
            </p:nvSpPr>
            <p:spPr>
              <a:xfrm>
                <a:off x="4247554" y="4030997"/>
                <a:ext cx="247997" cy="64361"/>
              </a:xfrm>
              <a:custGeom>
                <a:avLst/>
                <a:gdLst>
                  <a:gd name="connsiteX0" fmla="*/ 0 w 247997"/>
                  <a:gd name="connsiteY0" fmla="*/ 61402 h 64361"/>
                  <a:gd name="connsiteX1" fmla="*/ 247263 w 247997"/>
                  <a:gd name="connsiteY1" fmla="*/ 0 h 64361"/>
                  <a:gd name="connsiteX2" fmla="*/ 247998 w 247997"/>
                  <a:gd name="connsiteY2" fmla="*/ 2960 h 64361"/>
                  <a:gd name="connsiteX3" fmla="*/ 735 w 247997"/>
                  <a:gd name="connsiteY3" fmla="*/ 64362 h 64361"/>
                </a:gdLst>
                <a:ahLst/>
                <a:cxnLst>
                  <a:cxn ang="0">
                    <a:pos x="connsiteX0" y="connsiteY0"/>
                  </a:cxn>
                  <a:cxn ang="0">
                    <a:pos x="connsiteX1" y="connsiteY1"/>
                  </a:cxn>
                  <a:cxn ang="0">
                    <a:pos x="connsiteX2" y="connsiteY2"/>
                  </a:cxn>
                  <a:cxn ang="0">
                    <a:pos x="connsiteX3" y="connsiteY3"/>
                  </a:cxn>
                </a:cxnLst>
                <a:rect l="l" t="t" r="r" b="b"/>
                <a:pathLst>
                  <a:path w="247997" h="64361">
                    <a:moveTo>
                      <a:pt x="0" y="61402"/>
                    </a:moveTo>
                    <a:lnTo>
                      <a:pt x="247263" y="0"/>
                    </a:lnTo>
                    <a:lnTo>
                      <a:pt x="247998" y="2960"/>
                    </a:lnTo>
                    <a:lnTo>
                      <a:pt x="735" y="64362"/>
                    </a:lnTo>
                    <a:close/>
                  </a:path>
                </a:pathLst>
              </a:custGeom>
              <a:grpFill/>
              <a:ln w="5978" cap="flat">
                <a:noFill/>
                <a:prstDash val="solid"/>
                <a:miter/>
              </a:ln>
            </p:spPr>
            <p:txBody>
              <a:bodyPr rtlCol="0" anchor="ctr"/>
              <a:lstStyle/>
              <a:p>
                <a:endParaRPr lang="en-GB"/>
              </a:p>
            </p:txBody>
          </p:sp>
          <p:sp>
            <p:nvSpPr>
              <p:cNvPr id="1708" name="Vrije vorm: vorm 1707">
                <a:extLst>
                  <a:ext uri="{FF2B5EF4-FFF2-40B4-BE49-F238E27FC236}">
                    <a16:creationId xmlns:a16="http://schemas.microsoft.com/office/drawing/2014/main" id="{C78B5FEB-854A-42E2-8B0A-0766844BDB06}"/>
                  </a:ext>
                </a:extLst>
              </p:cNvPr>
              <p:cNvSpPr/>
              <p:nvPr/>
            </p:nvSpPr>
            <p:spPr>
              <a:xfrm>
                <a:off x="4485753" y="4023487"/>
                <a:ext cx="18316" cy="18408"/>
              </a:xfrm>
              <a:custGeom>
                <a:avLst/>
                <a:gdLst>
                  <a:gd name="connsiteX0" fmla="*/ 6925 w 18316"/>
                  <a:gd name="connsiteY0" fmla="*/ 263 h 18408"/>
                  <a:gd name="connsiteX1" fmla="*/ 18049 w 18316"/>
                  <a:gd name="connsiteY1" fmla="*/ 7021 h 18408"/>
                  <a:gd name="connsiteX2" fmla="*/ 11411 w 18316"/>
                  <a:gd name="connsiteY2" fmla="*/ 18145 h 18408"/>
                  <a:gd name="connsiteX3" fmla="*/ 287 w 18316"/>
                  <a:gd name="connsiteY3" fmla="*/ 11387 h 18408"/>
                  <a:gd name="connsiteX4" fmla="*/ 6925 w 18316"/>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8">
                    <a:moveTo>
                      <a:pt x="6925" y="263"/>
                    </a:moveTo>
                    <a:cubicBezTo>
                      <a:pt x="11829" y="-933"/>
                      <a:pt x="16794" y="2057"/>
                      <a:pt x="18049" y="7021"/>
                    </a:cubicBezTo>
                    <a:cubicBezTo>
                      <a:pt x="19245" y="11985"/>
                      <a:pt x="16315" y="16949"/>
                      <a:pt x="11411" y="18145"/>
                    </a:cubicBezTo>
                    <a:cubicBezTo>
                      <a:pt x="6507" y="19342"/>
                      <a:pt x="1543" y="16351"/>
                      <a:pt x="287" y="11387"/>
                    </a:cubicBezTo>
                    <a:cubicBezTo>
                      <a:pt x="-969" y="6483"/>
                      <a:pt x="2021" y="1519"/>
                      <a:pt x="6925" y="263"/>
                    </a:cubicBezTo>
                    <a:close/>
                  </a:path>
                </a:pathLst>
              </a:custGeom>
              <a:grpFill/>
              <a:ln w="5978" cap="flat">
                <a:noFill/>
                <a:prstDash val="solid"/>
                <a:miter/>
              </a:ln>
            </p:spPr>
            <p:txBody>
              <a:bodyPr rtlCol="0" anchor="ctr"/>
              <a:lstStyle/>
              <a:p>
                <a:endParaRPr lang="en-GB"/>
              </a:p>
            </p:txBody>
          </p:sp>
          <p:sp>
            <p:nvSpPr>
              <p:cNvPr id="1709" name="Vrije vorm: vorm 1708">
                <a:extLst>
                  <a:ext uri="{FF2B5EF4-FFF2-40B4-BE49-F238E27FC236}">
                    <a16:creationId xmlns:a16="http://schemas.microsoft.com/office/drawing/2014/main" id="{45B78C61-9B50-45D7-92E5-6DE05B554616}"/>
                  </a:ext>
                </a:extLst>
              </p:cNvPr>
              <p:cNvSpPr/>
              <p:nvPr/>
            </p:nvSpPr>
            <p:spPr>
              <a:xfrm>
                <a:off x="4239287" y="4084490"/>
                <a:ext cx="18336" cy="18408"/>
              </a:xfrm>
              <a:custGeom>
                <a:avLst/>
                <a:gdLst>
                  <a:gd name="connsiteX0" fmla="*/ 6925 w 18336"/>
                  <a:gd name="connsiteY0" fmla="*/ 263 h 18408"/>
                  <a:gd name="connsiteX1" fmla="*/ 287 w 18336"/>
                  <a:gd name="connsiteY1" fmla="*/ 11387 h 18408"/>
                  <a:gd name="connsiteX2" fmla="*/ 11411 w 18336"/>
                  <a:gd name="connsiteY2" fmla="*/ 18145 h 18408"/>
                  <a:gd name="connsiteX3" fmla="*/ 18049 w 18336"/>
                  <a:gd name="connsiteY3" fmla="*/ 7021 h 18408"/>
                  <a:gd name="connsiteX4" fmla="*/ 6925 w 18336"/>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08">
                    <a:moveTo>
                      <a:pt x="6925" y="263"/>
                    </a:moveTo>
                    <a:cubicBezTo>
                      <a:pt x="2021" y="1459"/>
                      <a:pt x="-969" y="6483"/>
                      <a:pt x="287" y="11387"/>
                    </a:cubicBezTo>
                    <a:cubicBezTo>
                      <a:pt x="1543" y="16351"/>
                      <a:pt x="6507" y="19342"/>
                      <a:pt x="11411" y="18145"/>
                    </a:cubicBezTo>
                    <a:cubicBezTo>
                      <a:pt x="16315" y="16949"/>
                      <a:pt x="19305" y="11925"/>
                      <a:pt x="18049" y="7021"/>
                    </a:cubicBezTo>
                    <a:cubicBezTo>
                      <a:pt x="16853" y="2057"/>
                      <a:pt x="11829" y="-933"/>
                      <a:pt x="6925" y="263"/>
                    </a:cubicBezTo>
                    <a:close/>
                  </a:path>
                </a:pathLst>
              </a:custGeom>
              <a:grpFill/>
              <a:ln w="5978" cap="flat">
                <a:noFill/>
                <a:prstDash val="solid"/>
                <a:miter/>
              </a:ln>
            </p:spPr>
            <p:txBody>
              <a:bodyPr rtlCol="0" anchor="ctr"/>
              <a:lstStyle/>
              <a:p>
                <a:endParaRPr lang="en-GB"/>
              </a:p>
            </p:txBody>
          </p:sp>
        </p:grpSp>
        <p:grpSp>
          <p:nvGrpSpPr>
            <p:cNvPr id="1233" name="Graphic 3">
              <a:extLst>
                <a:ext uri="{FF2B5EF4-FFF2-40B4-BE49-F238E27FC236}">
                  <a16:creationId xmlns:a16="http://schemas.microsoft.com/office/drawing/2014/main" id="{AD6671E1-40D6-47D7-AE83-4BC77917F9D4}"/>
                </a:ext>
              </a:extLst>
            </p:cNvPr>
            <p:cNvGrpSpPr/>
            <p:nvPr/>
          </p:nvGrpSpPr>
          <p:grpSpPr>
            <a:xfrm>
              <a:off x="3774195" y="2567992"/>
              <a:ext cx="226586" cy="95408"/>
              <a:chOff x="3774195" y="2567992"/>
              <a:chExt cx="226586" cy="95408"/>
            </a:xfrm>
            <a:grpFill/>
          </p:grpSpPr>
          <p:sp>
            <p:nvSpPr>
              <p:cNvPr id="1704" name="Vrije vorm: vorm 1703">
                <a:extLst>
                  <a:ext uri="{FF2B5EF4-FFF2-40B4-BE49-F238E27FC236}">
                    <a16:creationId xmlns:a16="http://schemas.microsoft.com/office/drawing/2014/main" id="{0ED74BCE-C7A5-4296-8A3E-F7DAB5FC0E2B}"/>
                  </a:ext>
                </a:extLst>
              </p:cNvPr>
              <p:cNvSpPr/>
              <p:nvPr/>
            </p:nvSpPr>
            <p:spPr>
              <a:xfrm>
                <a:off x="3782467" y="2575578"/>
                <a:ext cx="210162" cy="80201"/>
              </a:xfrm>
              <a:custGeom>
                <a:avLst/>
                <a:gdLst>
                  <a:gd name="connsiteX0" fmla="*/ 210163 w 210162"/>
                  <a:gd name="connsiteY0" fmla="*/ 77331 h 80201"/>
                  <a:gd name="connsiteX1" fmla="*/ 209086 w 210162"/>
                  <a:gd name="connsiteY1" fmla="*/ 80201 h 80201"/>
                  <a:gd name="connsiteX2" fmla="*/ 0 w 210162"/>
                  <a:gd name="connsiteY2" fmla="*/ 2871 h 80201"/>
                  <a:gd name="connsiteX3" fmla="*/ 1017 w 210162"/>
                  <a:gd name="connsiteY3" fmla="*/ 0 h 80201"/>
                </a:gdLst>
                <a:ahLst/>
                <a:cxnLst>
                  <a:cxn ang="0">
                    <a:pos x="connsiteX0" y="connsiteY0"/>
                  </a:cxn>
                  <a:cxn ang="0">
                    <a:pos x="connsiteX1" y="connsiteY1"/>
                  </a:cxn>
                  <a:cxn ang="0">
                    <a:pos x="connsiteX2" y="connsiteY2"/>
                  </a:cxn>
                  <a:cxn ang="0">
                    <a:pos x="connsiteX3" y="connsiteY3"/>
                  </a:cxn>
                </a:cxnLst>
                <a:rect l="l" t="t" r="r" b="b"/>
                <a:pathLst>
                  <a:path w="210162" h="80201">
                    <a:moveTo>
                      <a:pt x="210163" y="77331"/>
                    </a:moveTo>
                    <a:lnTo>
                      <a:pt x="209086" y="80201"/>
                    </a:lnTo>
                    <a:lnTo>
                      <a:pt x="0" y="2871"/>
                    </a:lnTo>
                    <a:lnTo>
                      <a:pt x="1017" y="0"/>
                    </a:lnTo>
                    <a:close/>
                  </a:path>
                </a:pathLst>
              </a:custGeom>
              <a:grpFill/>
              <a:ln w="5978" cap="flat">
                <a:noFill/>
                <a:prstDash val="solid"/>
                <a:miter/>
              </a:ln>
            </p:spPr>
            <p:txBody>
              <a:bodyPr rtlCol="0" anchor="ctr"/>
              <a:lstStyle/>
              <a:p>
                <a:endParaRPr lang="en-GB"/>
              </a:p>
            </p:txBody>
          </p:sp>
          <p:sp>
            <p:nvSpPr>
              <p:cNvPr id="1705" name="Vrije vorm: vorm 1704">
                <a:extLst>
                  <a:ext uri="{FF2B5EF4-FFF2-40B4-BE49-F238E27FC236}">
                    <a16:creationId xmlns:a16="http://schemas.microsoft.com/office/drawing/2014/main" id="{BADBDEFA-240E-42E9-B169-2811FCF1E6A4}"/>
                  </a:ext>
                </a:extLst>
              </p:cNvPr>
              <p:cNvSpPr/>
              <p:nvPr/>
            </p:nvSpPr>
            <p:spPr>
              <a:xfrm>
                <a:off x="3774195" y="2567992"/>
                <a:ext cx="18337" cy="18429"/>
              </a:xfrm>
              <a:custGeom>
                <a:avLst/>
                <a:gdLst>
                  <a:gd name="connsiteX0" fmla="*/ 6059 w 18337"/>
                  <a:gd name="connsiteY0" fmla="*/ 17872 h 18429"/>
                  <a:gd name="connsiteX1" fmla="*/ 557 w 18337"/>
                  <a:gd name="connsiteY1" fmla="*/ 6031 h 18429"/>
                  <a:gd name="connsiteX2" fmla="*/ 12279 w 18337"/>
                  <a:gd name="connsiteY2" fmla="*/ 588 h 18429"/>
                  <a:gd name="connsiteX3" fmla="*/ 17781 w 18337"/>
                  <a:gd name="connsiteY3" fmla="*/ 12430 h 18429"/>
                  <a:gd name="connsiteX4" fmla="*/ 6059 w 18337"/>
                  <a:gd name="connsiteY4" fmla="*/ 1787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29">
                    <a:moveTo>
                      <a:pt x="6059" y="17872"/>
                    </a:moveTo>
                    <a:cubicBezTo>
                      <a:pt x="1274" y="16138"/>
                      <a:pt x="-1178" y="10815"/>
                      <a:pt x="557" y="6031"/>
                    </a:cubicBezTo>
                    <a:cubicBezTo>
                      <a:pt x="2291" y="1246"/>
                      <a:pt x="7554" y="-1206"/>
                      <a:pt x="12279" y="588"/>
                    </a:cubicBezTo>
                    <a:cubicBezTo>
                      <a:pt x="17064" y="2322"/>
                      <a:pt x="19516" y="7645"/>
                      <a:pt x="17781" y="12430"/>
                    </a:cubicBezTo>
                    <a:cubicBezTo>
                      <a:pt x="16106" y="17155"/>
                      <a:pt x="10843" y="19607"/>
                      <a:pt x="6059" y="17872"/>
                    </a:cubicBezTo>
                    <a:close/>
                  </a:path>
                </a:pathLst>
              </a:custGeom>
              <a:grpFill/>
              <a:ln w="5978" cap="flat">
                <a:noFill/>
                <a:prstDash val="solid"/>
                <a:miter/>
              </a:ln>
            </p:spPr>
            <p:txBody>
              <a:bodyPr rtlCol="0" anchor="ctr"/>
              <a:lstStyle/>
              <a:p>
                <a:endParaRPr lang="en-GB"/>
              </a:p>
            </p:txBody>
          </p:sp>
          <p:sp>
            <p:nvSpPr>
              <p:cNvPr id="1706" name="Vrije vorm: vorm 1705">
                <a:extLst>
                  <a:ext uri="{FF2B5EF4-FFF2-40B4-BE49-F238E27FC236}">
                    <a16:creationId xmlns:a16="http://schemas.microsoft.com/office/drawing/2014/main" id="{9873F962-6517-4AD3-82A3-0BE49BC56C9B}"/>
                  </a:ext>
                </a:extLst>
              </p:cNvPr>
              <p:cNvSpPr/>
              <p:nvPr/>
            </p:nvSpPr>
            <p:spPr>
              <a:xfrm>
                <a:off x="3982474" y="2644988"/>
                <a:ext cx="18307" cy="18412"/>
              </a:xfrm>
              <a:custGeom>
                <a:avLst/>
                <a:gdLst>
                  <a:gd name="connsiteX0" fmla="*/ 6029 w 18307"/>
                  <a:gd name="connsiteY0" fmla="*/ 17848 h 18412"/>
                  <a:gd name="connsiteX1" fmla="*/ 17751 w 18307"/>
                  <a:gd name="connsiteY1" fmla="*/ 12406 h 18412"/>
                  <a:gd name="connsiteX2" fmla="*/ 12248 w 18307"/>
                  <a:gd name="connsiteY2" fmla="*/ 564 h 18412"/>
                  <a:gd name="connsiteX3" fmla="*/ 526 w 18307"/>
                  <a:gd name="connsiteY3" fmla="*/ 6006 h 18412"/>
                  <a:gd name="connsiteX4" fmla="*/ 6029 w 18307"/>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12">
                    <a:moveTo>
                      <a:pt x="6029" y="17848"/>
                    </a:moveTo>
                    <a:cubicBezTo>
                      <a:pt x="10813" y="19583"/>
                      <a:pt x="16016" y="17190"/>
                      <a:pt x="17751" y="12406"/>
                    </a:cubicBezTo>
                    <a:cubicBezTo>
                      <a:pt x="19485" y="7621"/>
                      <a:pt x="17033" y="2358"/>
                      <a:pt x="12248" y="564"/>
                    </a:cubicBezTo>
                    <a:cubicBezTo>
                      <a:pt x="7464" y="-1170"/>
                      <a:pt x="2261" y="1222"/>
                      <a:pt x="526" y="6006"/>
                    </a:cubicBezTo>
                    <a:cubicBezTo>
                      <a:pt x="-1148" y="10791"/>
                      <a:pt x="1304" y="16114"/>
                      <a:pt x="6029" y="17848"/>
                    </a:cubicBezTo>
                    <a:close/>
                  </a:path>
                </a:pathLst>
              </a:custGeom>
              <a:grpFill/>
              <a:ln w="5978" cap="flat">
                <a:noFill/>
                <a:prstDash val="solid"/>
                <a:miter/>
              </a:ln>
            </p:spPr>
            <p:txBody>
              <a:bodyPr rtlCol="0" anchor="ctr"/>
              <a:lstStyle/>
              <a:p>
                <a:endParaRPr lang="en-GB"/>
              </a:p>
            </p:txBody>
          </p:sp>
        </p:grpSp>
        <p:grpSp>
          <p:nvGrpSpPr>
            <p:cNvPr id="1234" name="Graphic 3">
              <a:extLst>
                <a:ext uri="{FF2B5EF4-FFF2-40B4-BE49-F238E27FC236}">
                  <a16:creationId xmlns:a16="http://schemas.microsoft.com/office/drawing/2014/main" id="{1C157453-3830-4855-94BC-B3C3EE265801}"/>
                </a:ext>
              </a:extLst>
            </p:cNvPr>
            <p:cNvGrpSpPr/>
            <p:nvPr/>
          </p:nvGrpSpPr>
          <p:grpSpPr>
            <a:xfrm>
              <a:off x="4724907" y="5172205"/>
              <a:ext cx="97192" cy="130331"/>
              <a:chOff x="4724907" y="5172205"/>
              <a:chExt cx="97192" cy="130331"/>
            </a:xfrm>
            <a:grpFill/>
          </p:grpSpPr>
          <p:sp>
            <p:nvSpPr>
              <p:cNvPr id="1701" name="Vrije vorm: vorm 1700">
                <a:extLst>
                  <a:ext uri="{FF2B5EF4-FFF2-40B4-BE49-F238E27FC236}">
                    <a16:creationId xmlns:a16="http://schemas.microsoft.com/office/drawing/2014/main" id="{82C7A046-7201-4783-8F68-AD354B04EAFE}"/>
                  </a:ext>
                </a:extLst>
              </p:cNvPr>
              <p:cNvSpPr/>
              <p:nvPr/>
            </p:nvSpPr>
            <p:spPr>
              <a:xfrm>
                <a:off x="4732624" y="5180122"/>
                <a:ext cx="81816" cy="114471"/>
              </a:xfrm>
              <a:custGeom>
                <a:avLst/>
                <a:gdLst>
                  <a:gd name="connsiteX0" fmla="*/ 81816 w 81816"/>
                  <a:gd name="connsiteY0" fmla="*/ 1794 h 114471"/>
                  <a:gd name="connsiteX1" fmla="*/ 2452 w 81816"/>
                  <a:gd name="connsiteY1" fmla="*/ 114471 h 114471"/>
                  <a:gd name="connsiteX2" fmla="*/ 0 w 81816"/>
                  <a:gd name="connsiteY2" fmla="*/ 112677 h 114471"/>
                  <a:gd name="connsiteX3" fmla="*/ 79304 w 81816"/>
                  <a:gd name="connsiteY3" fmla="*/ 0 h 114471"/>
                </a:gdLst>
                <a:ahLst/>
                <a:cxnLst>
                  <a:cxn ang="0">
                    <a:pos x="connsiteX0" y="connsiteY0"/>
                  </a:cxn>
                  <a:cxn ang="0">
                    <a:pos x="connsiteX1" y="connsiteY1"/>
                  </a:cxn>
                  <a:cxn ang="0">
                    <a:pos x="connsiteX2" y="connsiteY2"/>
                  </a:cxn>
                  <a:cxn ang="0">
                    <a:pos x="connsiteX3" y="connsiteY3"/>
                  </a:cxn>
                </a:cxnLst>
                <a:rect l="l" t="t" r="r" b="b"/>
                <a:pathLst>
                  <a:path w="81816" h="114471">
                    <a:moveTo>
                      <a:pt x="81816" y="1794"/>
                    </a:moveTo>
                    <a:lnTo>
                      <a:pt x="2452" y="114471"/>
                    </a:lnTo>
                    <a:lnTo>
                      <a:pt x="0" y="112677"/>
                    </a:lnTo>
                    <a:lnTo>
                      <a:pt x="79304" y="0"/>
                    </a:lnTo>
                    <a:close/>
                  </a:path>
                </a:pathLst>
              </a:custGeom>
              <a:grpFill/>
              <a:ln w="5978" cap="flat">
                <a:noFill/>
                <a:prstDash val="solid"/>
                <a:miter/>
              </a:ln>
            </p:spPr>
            <p:txBody>
              <a:bodyPr rtlCol="0" anchor="ctr"/>
              <a:lstStyle/>
              <a:p>
                <a:endParaRPr lang="en-GB"/>
              </a:p>
            </p:txBody>
          </p:sp>
          <p:sp>
            <p:nvSpPr>
              <p:cNvPr id="1702" name="Vrije vorm: vorm 1701">
                <a:extLst>
                  <a:ext uri="{FF2B5EF4-FFF2-40B4-BE49-F238E27FC236}">
                    <a16:creationId xmlns:a16="http://schemas.microsoft.com/office/drawing/2014/main" id="{987D902E-9F74-4ED8-A039-F535307568F1}"/>
                  </a:ext>
                </a:extLst>
              </p:cNvPr>
              <p:cNvSpPr/>
              <p:nvPr/>
            </p:nvSpPr>
            <p:spPr>
              <a:xfrm>
                <a:off x="4724907" y="5284104"/>
                <a:ext cx="18366" cy="18432"/>
              </a:xfrm>
              <a:custGeom>
                <a:avLst/>
                <a:gdLst>
                  <a:gd name="connsiteX0" fmla="*/ 16689 w 18366"/>
                  <a:gd name="connsiteY0" fmla="*/ 14556 h 18432"/>
                  <a:gd name="connsiteX1" fmla="*/ 3890 w 18366"/>
                  <a:gd name="connsiteY1" fmla="*/ 16709 h 18432"/>
                  <a:gd name="connsiteX2" fmla="*/ 1677 w 18366"/>
                  <a:gd name="connsiteY2" fmla="*/ 3851 h 18432"/>
                  <a:gd name="connsiteX3" fmla="*/ 14476 w 18366"/>
                  <a:gd name="connsiteY3" fmla="*/ 1697 h 18432"/>
                  <a:gd name="connsiteX4" fmla="*/ 16689 w 18366"/>
                  <a:gd name="connsiteY4" fmla="*/ 1455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32">
                    <a:moveTo>
                      <a:pt x="16689" y="14556"/>
                    </a:moveTo>
                    <a:cubicBezTo>
                      <a:pt x="13758" y="18683"/>
                      <a:pt x="8077" y="19699"/>
                      <a:pt x="3890" y="16709"/>
                    </a:cubicBezTo>
                    <a:cubicBezTo>
                      <a:pt x="-236" y="13779"/>
                      <a:pt x="-1253" y="7977"/>
                      <a:pt x="1677" y="3851"/>
                    </a:cubicBezTo>
                    <a:cubicBezTo>
                      <a:pt x="4608" y="-276"/>
                      <a:pt x="10290" y="-1233"/>
                      <a:pt x="14476" y="1697"/>
                    </a:cubicBezTo>
                    <a:cubicBezTo>
                      <a:pt x="18603" y="4688"/>
                      <a:pt x="19619" y="10429"/>
                      <a:pt x="16689" y="14556"/>
                    </a:cubicBezTo>
                    <a:close/>
                  </a:path>
                </a:pathLst>
              </a:custGeom>
              <a:grpFill/>
              <a:ln w="5978" cap="flat">
                <a:noFill/>
                <a:prstDash val="solid"/>
                <a:miter/>
              </a:ln>
            </p:spPr>
            <p:txBody>
              <a:bodyPr rtlCol="0" anchor="ctr"/>
              <a:lstStyle/>
              <a:p>
                <a:endParaRPr lang="en-GB"/>
              </a:p>
            </p:txBody>
          </p:sp>
          <p:sp>
            <p:nvSpPr>
              <p:cNvPr id="1703" name="Vrije vorm: vorm 1702">
                <a:extLst>
                  <a:ext uri="{FF2B5EF4-FFF2-40B4-BE49-F238E27FC236}">
                    <a16:creationId xmlns:a16="http://schemas.microsoft.com/office/drawing/2014/main" id="{7C1A3A6B-A3AC-4126-94EA-37A07A0B97A4}"/>
                  </a:ext>
                </a:extLst>
              </p:cNvPr>
              <p:cNvSpPr/>
              <p:nvPr/>
            </p:nvSpPr>
            <p:spPr>
              <a:xfrm>
                <a:off x="4803733" y="5172205"/>
                <a:ext cx="18366" cy="18406"/>
              </a:xfrm>
              <a:custGeom>
                <a:avLst/>
                <a:gdLst>
                  <a:gd name="connsiteX0" fmla="*/ 16689 w 18366"/>
                  <a:gd name="connsiteY0" fmla="*/ 14556 h 18406"/>
                  <a:gd name="connsiteX1" fmla="*/ 14476 w 18366"/>
                  <a:gd name="connsiteY1" fmla="*/ 1697 h 18406"/>
                  <a:gd name="connsiteX2" fmla="*/ 1678 w 18366"/>
                  <a:gd name="connsiteY2" fmla="*/ 3850 h 18406"/>
                  <a:gd name="connsiteX3" fmla="*/ 3890 w 18366"/>
                  <a:gd name="connsiteY3" fmla="*/ 16709 h 18406"/>
                  <a:gd name="connsiteX4" fmla="*/ 16689 w 18366"/>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6689" y="14556"/>
                    </a:moveTo>
                    <a:cubicBezTo>
                      <a:pt x="19620" y="10429"/>
                      <a:pt x="18603" y="4688"/>
                      <a:pt x="14476" y="1697"/>
                    </a:cubicBezTo>
                    <a:cubicBezTo>
                      <a:pt x="10349" y="-1233"/>
                      <a:pt x="4608" y="-276"/>
                      <a:pt x="1678" y="3850"/>
                    </a:cubicBezTo>
                    <a:cubicBezTo>
                      <a:pt x="-1253" y="7977"/>
                      <a:pt x="-236" y="13719"/>
                      <a:pt x="3890" y="16709"/>
                    </a:cubicBezTo>
                    <a:cubicBezTo>
                      <a:pt x="8017" y="19640"/>
                      <a:pt x="13758" y="18683"/>
                      <a:pt x="16689" y="14556"/>
                    </a:cubicBezTo>
                    <a:close/>
                  </a:path>
                </a:pathLst>
              </a:custGeom>
              <a:grpFill/>
              <a:ln w="5978" cap="flat">
                <a:noFill/>
                <a:prstDash val="solid"/>
                <a:miter/>
              </a:ln>
            </p:spPr>
            <p:txBody>
              <a:bodyPr rtlCol="0" anchor="ctr"/>
              <a:lstStyle/>
              <a:p>
                <a:endParaRPr lang="en-GB"/>
              </a:p>
            </p:txBody>
          </p:sp>
        </p:grpSp>
        <p:grpSp>
          <p:nvGrpSpPr>
            <p:cNvPr id="1235" name="Graphic 3">
              <a:extLst>
                <a:ext uri="{FF2B5EF4-FFF2-40B4-BE49-F238E27FC236}">
                  <a16:creationId xmlns:a16="http://schemas.microsoft.com/office/drawing/2014/main" id="{F1CC5B7F-3F92-44D8-8AD7-83D7F19C7AC8}"/>
                </a:ext>
              </a:extLst>
            </p:cNvPr>
            <p:cNvGrpSpPr/>
            <p:nvPr/>
          </p:nvGrpSpPr>
          <p:grpSpPr>
            <a:xfrm>
              <a:off x="3939573" y="2970717"/>
              <a:ext cx="119629" cy="39430"/>
              <a:chOff x="3939573" y="2970717"/>
              <a:chExt cx="119629" cy="39430"/>
            </a:xfrm>
            <a:grpFill/>
          </p:grpSpPr>
          <p:sp>
            <p:nvSpPr>
              <p:cNvPr id="1698" name="Vrije vorm: vorm 1697">
                <a:extLst>
                  <a:ext uri="{FF2B5EF4-FFF2-40B4-BE49-F238E27FC236}">
                    <a16:creationId xmlns:a16="http://schemas.microsoft.com/office/drawing/2014/main" id="{843F556A-ACF7-402D-AC01-468D60A9CCDF}"/>
                  </a:ext>
                </a:extLst>
              </p:cNvPr>
              <p:cNvSpPr/>
              <p:nvPr/>
            </p:nvSpPr>
            <p:spPr>
              <a:xfrm>
                <a:off x="3948013" y="2978380"/>
                <a:ext cx="102748" cy="24162"/>
              </a:xfrm>
              <a:custGeom>
                <a:avLst/>
                <a:gdLst>
                  <a:gd name="connsiteX0" fmla="*/ 102749 w 102748"/>
                  <a:gd name="connsiteY0" fmla="*/ 21172 h 24162"/>
                  <a:gd name="connsiteX1" fmla="*/ 102151 w 102748"/>
                  <a:gd name="connsiteY1" fmla="*/ 24162 h 24162"/>
                  <a:gd name="connsiteX2" fmla="*/ 0 w 102748"/>
                  <a:gd name="connsiteY2" fmla="*/ 2990 h 24162"/>
                  <a:gd name="connsiteX3" fmla="*/ 598 w 102748"/>
                  <a:gd name="connsiteY3" fmla="*/ 0 h 24162"/>
                </a:gdLst>
                <a:ahLst/>
                <a:cxnLst>
                  <a:cxn ang="0">
                    <a:pos x="connsiteX0" y="connsiteY0"/>
                  </a:cxn>
                  <a:cxn ang="0">
                    <a:pos x="connsiteX1" y="connsiteY1"/>
                  </a:cxn>
                  <a:cxn ang="0">
                    <a:pos x="connsiteX2" y="connsiteY2"/>
                  </a:cxn>
                  <a:cxn ang="0">
                    <a:pos x="connsiteX3" y="connsiteY3"/>
                  </a:cxn>
                </a:cxnLst>
                <a:rect l="l" t="t" r="r" b="b"/>
                <a:pathLst>
                  <a:path w="102748" h="24162">
                    <a:moveTo>
                      <a:pt x="102749" y="21172"/>
                    </a:moveTo>
                    <a:lnTo>
                      <a:pt x="102151" y="24162"/>
                    </a:lnTo>
                    <a:lnTo>
                      <a:pt x="0" y="2990"/>
                    </a:lnTo>
                    <a:lnTo>
                      <a:pt x="598" y="0"/>
                    </a:lnTo>
                    <a:close/>
                  </a:path>
                </a:pathLst>
              </a:custGeom>
              <a:grpFill/>
              <a:ln w="5978" cap="flat">
                <a:noFill/>
                <a:prstDash val="solid"/>
                <a:miter/>
              </a:ln>
            </p:spPr>
            <p:txBody>
              <a:bodyPr rtlCol="0" anchor="ctr"/>
              <a:lstStyle/>
              <a:p>
                <a:endParaRPr lang="en-GB"/>
              </a:p>
            </p:txBody>
          </p:sp>
          <p:sp>
            <p:nvSpPr>
              <p:cNvPr id="1699" name="Vrije vorm: vorm 1698">
                <a:extLst>
                  <a:ext uri="{FF2B5EF4-FFF2-40B4-BE49-F238E27FC236}">
                    <a16:creationId xmlns:a16="http://schemas.microsoft.com/office/drawing/2014/main" id="{AC17A862-46E8-4FBB-B238-EA1D7BB7A896}"/>
                  </a:ext>
                </a:extLst>
              </p:cNvPr>
              <p:cNvSpPr/>
              <p:nvPr/>
            </p:nvSpPr>
            <p:spPr>
              <a:xfrm>
                <a:off x="3939573" y="2970717"/>
                <a:ext cx="18376" cy="18438"/>
              </a:xfrm>
              <a:custGeom>
                <a:avLst/>
                <a:gdLst>
                  <a:gd name="connsiteX0" fmla="*/ 7364 w 18376"/>
                  <a:gd name="connsiteY0" fmla="*/ 18249 h 18438"/>
                  <a:gd name="connsiteX1" fmla="*/ 187 w 18376"/>
                  <a:gd name="connsiteY1" fmla="*/ 7364 h 18438"/>
                  <a:gd name="connsiteX2" fmla="*/ 11012 w 18376"/>
                  <a:gd name="connsiteY2" fmla="*/ 187 h 18438"/>
                  <a:gd name="connsiteX3" fmla="*/ 18189 w 18376"/>
                  <a:gd name="connsiteY3" fmla="*/ 11072 h 18438"/>
                  <a:gd name="connsiteX4" fmla="*/ 7364 w 18376"/>
                  <a:gd name="connsiteY4" fmla="*/ 1824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7364" y="18249"/>
                    </a:moveTo>
                    <a:cubicBezTo>
                      <a:pt x="2400" y="17232"/>
                      <a:pt x="-830" y="12328"/>
                      <a:pt x="187" y="7364"/>
                    </a:cubicBezTo>
                    <a:cubicBezTo>
                      <a:pt x="1204" y="2400"/>
                      <a:pt x="6048" y="-830"/>
                      <a:pt x="11012" y="187"/>
                    </a:cubicBezTo>
                    <a:cubicBezTo>
                      <a:pt x="15976" y="1204"/>
                      <a:pt x="19206" y="6108"/>
                      <a:pt x="18189" y="11072"/>
                    </a:cubicBezTo>
                    <a:cubicBezTo>
                      <a:pt x="17173" y="16096"/>
                      <a:pt x="12328" y="19266"/>
                      <a:pt x="7364" y="18249"/>
                    </a:cubicBezTo>
                    <a:close/>
                  </a:path>
                </a:pathLst>
              </a:custGeom>
              <a:grpFill/>
              <a:ln w="5978" cap="flat">
                <a:noFill/>
                <a:prstDash val="solid"/>
                <a:miter/>
              </a:ln>
            </p:spPr>
            <p:txBody>
              <a:bodyPr rtlCol="0" anchor="ctr"/>
              <a:lstStyle/>
              <a:p>
                <a:endParaRPr lang="en-GB"/>
              </a:p>
            </p:txBody>
          </p:sp>
          <p:sp>
            <p:nvSpPr>
              <p:cNvPr id="1700" name="Vrije vorm: vorm 1699">
                <a:extLst>
                  <a:ext uri="{FF2B5EF4-FFF2-40B4-BE49-F238E27FC236}">
                    <a16:creationId xmlns:a16="http://schemas.microsoft.com/office/drawing/2014/main" id="{8BC79C66-73E4-4373-8C67-F168A1131D78}"/>
                  </a:ext>
                </a:extLst>
              </p:cNvPr>
              <p:cNvSpPr/>
              <p:nvPr/>
            </p:nvSpPr>
            <p:spPr>
              <a:xfrm>
                <a:off x="4040846" y="2991706"/>
                <a:ext cx="18357" cy="18441"/>
              </a:xfrm>
              <a:custGeom>
                <a:avLst/>
                <a:gdLst>
                  <a:gd name="connsiteX0" fmla="*/ 7345 w 18357"/>
                  <a:gd name="connsiteY0" fmla="*/ 18251 h 18441"/>
                  <a:gd name="connsiteX1" fmla="*/ 18170 w 18357"/>
                  <a:gd name="connsiteY1" fmla="*/ 11075 h 18441"/>
                  <a:gd name="connsiteX2" fmla="*/ 10993 w 18357"/>
                  <a:gd name="connsiteY2" fmla="*/ 190 h 18441"/>
                  <a:gd name="connsiteX3" fmla="*/ 168 w 18357"/>
                  <a:gd name="connsiteY3" fmla="*/ 7366 h 18441"/>
                  <a:gd name="connsiteX4" fmla="*/ 7345 w 18357"/>
                  <a:gd name="connsiteY4" fmla="*/ 1825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1">
                    <a:moveTo>
                      <a:pt x="7345" y="18251"/>
                    </a:moveTo>
                    <a:cubicBezTo>
                      <a:pt x="12309" y="19268"/>
                      <a:pt x="17153" y="16098"/>
                      <a:pt x="18170" y="11075"/>
                    </a:cubicBezTo>
                    <a:cubicBezTo>
                      <a:pt x="19187" y="6111"/>
                      <a:pt x="15957" y="1206"/>
                      <a:pt x="10993" y="190"/>
                    </a:cubicBezTo>
                    <a:cubicBezTo>
                      <a:pt x="6029" y="-827"/>
                      <a:pt x="1185" y="2343"/>
                      <a:pt x="168" y="7366"/>
                    </a:cubicBezTo>
                    <a:cubicBezTo>
                      <a:pt x="-789" y="12390"/>
                      <a:pt x="2441" y="17235"/>
                      <a:pt x="7345" y="18251"/>
                    </a:cubicBezTo>
                    <a:close/>
                  </a:path>
                </a:pathLst>
              </a:custGeom>
              <a:grpFill/>
              <a:ln w="5978" cap="flat">
                <a:noFill/>
                <a:prstDash val="solid"/>
                <a:miter/>
              </a:ln>
            </p:spPr>
            <p:txBody>
              <a:bodyPr rtlCol="0" anchor="ctr"/>
              <a:lstStyle/>
              <a:p>
                <a:endParaRPr lang="en-GB"/>
              </a:p>
            </p:txBody>
          </p:sp>
        </p:grpSp>
        <p:grpSp>
          <p:nvGrpSpPr>
            <p:cNvPr id="1236" name="Graphic 3">
              <a:extLst>
                <a:ext uri="{FF2B5EF4-FFF2-40B4-BE49-F238E27FC236}">
                  <a16:creationId xmlns:a16="http://schemas.microsoft.com/office/drawing/2014/main" id="{E17517E4-538B-454E-9E77-9397431969A6}"/>
                </a:ext>
              </a:extLst>
            </p:cNvPr>
            <p:cNvGrpSpPr/>
            <p:nvPr/>
          </p:nvGrpSpPr>
          <p:grpSpPr>
            <a:xfrm>
              <a:off x="4527869" y="4590931"/>
              <a:ext cx="63346" cy="54604"/>
              <a:chOff x="4527869" y="4590931"/>
              <a:chExt cx="63346" cy="54604"/>
            </a:xfrm>
            <a:grpFill/>
          </p:grpSpPr>
          <p:sp>
            <p:nvSpPr>
              <p:cNvPr id="1695" name="Vrije vorm: vorm 1694">
                <a:extLst>
                  <a:ext uri="{FF2B5EF4-FFF2-40B4-BE49-F238E27FC236}">
                    <a16:creationId xmlns:a16="http://schemas.microsoft.com/office/drawing/2014/main" id="{D0581C00-723C-48B9-B23A-8984AC0F0494}"/>
                  </a:ext>
                </a:extLst>
              </p:cNvPr>
              <p:cNvSpPr/>
              <p:nvPr/>
            </p:nvSpPr>
            <p:spPr>
              <a:xfrm>
                <a:off x="4535739" y="4598677"/>
                <a:ext cx="47666" cy="39113"/>
              </a:xfrm>
              <a:custGeom>
                <a:avLst/>
                <a:gdLst>
                  <a:gd name="connsiteX0" fmla="*/ 47666 w 47666"/>
                  <a:gd name="connsiteY0" fmla="*/ 2392 h 39113"/>
                  <a:gd name="connsiteX1" fmla="*/ 1854 w 47666"/>
                  <a:gd name="connsiteY1" fmla="*/ 39114 h 39113"/>
                  <a:gd name="connsiteX2" fmla="*/ 0 w 47666"/>
                  <a:gd name="connsiteY2" fmla="*/ 36721 h 39113"/>
                  <a:gd name="connsiteX3" fmla="*/ 45753 w 47666"/>
                  <a:gd name="connsiteY3" fmla="*/ 0 h 39113"/>
                </a:gdLst>
                <a:ahLst/>
                <a:cxnLst>
                  <a:cxn ang="0">
                    <a:pos x="connsiteX0" y="connsiteY0"/>
                  </a:cxn>
                  <a:cxn ang="0">
                    <a:pos x="connsiteX1" y="connsiteY1"/>
                  </a:cxn>
                  <a:cxn ang="0">
                    <a:pos x="connsiteX2" y="connsiteY2"/>
                  </a:cxn>
                  <a:cxn ang="0">
                    <a:pos x="connsiteX3" y="connsiteY3"/>
                  </a:cxn>
                </a:cxnLst>
                <a:rect l="l" t="t" r="r" b="b"/>
                <a:pathLst>
                  <a:path w="47666" h="39113">
                    <a:moveTo>
                      <a:pt x="47666" y="2392"/>
                    </a:moveTo>
                    <a:lnTo>
                      <a:pt x="1854" y="39114"/>
                    </a:lnTo>
                    <a:lnTo>
                      <a:pt x="0" y="36721"/>
                    </a:lnTo>
                    <a:lnTo>
                      <a:pt x="45753" y="0"/>
                    </a:lnTo>
                    <a:close/>
                  </a:path>
                </a:pathLst>
              </a:custGeom>
              <a:grpFill/>
              <a:ln w="5978" cap="flat">
                <a:noFill/>
                <a:prstDash val="solid"/>
                <a:miter/>
              </a:ln>
            </p:spPr>
            <p:txBody>
              <a:bodyPr rtlCol="0" anchor="ctr"/>
              <a:lstStyle/>
              <a:p>
                <a:endParaRPr lang="en-GB"/>
              </a:p>
            </p:txBody>
          </p:sp>
          <p:sp>
            <p:nvSpPr>
              <p:cNvPr id="1696" name="Vrije vorm: vorm 1695">
                <a:extLst>
                  <a:ext uri="{FF2B5EF4-FFF2-40B4-BE49-F238E27FC236}">
                    <a16:creationId xmlns:a16="http://schemas.microsoft.com/office/drawing/2014/main" id="{8831816B-ACD3-441B-9A9E-C2565D855152}"/>
                  </a:ext>
                </a:extLst>
              </p:cNvPr>
              <p:cNvSpPr/>
              <p:nvPr/>
            </p:nvSpPr>
            <p:spPr>
              <a:xfrm>
                <a:off x="4572904" y="4590931"/>
                <a:ext cx="18311" cy="18421"/>
              </a:xfrm>
              <a:custGeom>
                <a:avLst/>
                <a:gdLst>
                  <a:gd name="connsiteX0" fmla="*/ 3444 w 18311"/>
                  <a:gd name="connsiteY0" fmla="*/ 2004 h 18421"/>
                  <a:gd name="connsiteX1" fmla="*/ 16303 w 18311"/>
                  <a:gd name="connsiteY1" fmla="*/ 3499 h 18421"/>
                  <a:gd name="connsiteX2" fmla="*/ 14867 w 18311"/>
                  <a:gd name="connsiteY2" fmla="*/ 16417 h 18421"/>
                  <a:gd name="connsiteX3" fmla="*/ 2009 w 18311"/>
                  <a:gd name="connsiteY3" fmla="*/ 14922 h 18421"/>
                  <a:gd name="connsiteX4" fmla="*/ 3444 w 18311"/>
                  <a:gd name="connsiteY4" fmla="*/ 2004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3444" y="2004"/>
                    </a:moveTo>
                    <a:cubicBezTo>
                      <a:pt x="7391" y="-1166"/>
                      <a:pt x="13133" y="-508"/>
                      <a:pt x="16303" y="3499"/>
                    </a:cubicBezTo>
                    <a:cubicBezTo>
                      <a:pt x="19472" y="7506"/>
                      <a:pt x="18814" y="13248"/>
                      <a:pt x="14867" y="16417"/>
                    </a:cubicBezTo>
                    <a:cubicBezTo>
                      <a:pt x="10920" y="19587"/>
                      <a:pt x="5179" y="18930"/>
                      <a:pt x="2009" y="14922"/>
                    </a:cubicBezTo>
                    <a:cubicBezTo>
                      <a:pt x="-1161" y="10975"/>
                      <a:pt x="-503" y="5174"/>
                      <a:pt x="3444" y="2004"/>
                    </a:cubicBezTo>
                    <a:close/>
                  </a:path>
                </a:pathLst>
              </a:custGeom>
              <a:grpFill/>
              <a:ln w="5978" cap="flat">
                <a:noFill/>
                <a:prstDash val="solid"/>
                <a:miter/>
              </a:ln>
            </p:spPr>
            <p:txBody>
              <a:bodyPr rtlCol="0" anchor="ctr"/>
              <a:lstStyle/>
              <a:p>
                <a:endParaRPr lang="en-GB"/>
              </a:p>
            </p:txBody>
          </p:sp>
          <p:sp>
            <p:nvSpPr>
              <p:cNvPr id="1697" name="Vrije vorm: vorm 1696">
                <a:extLst>
                  <a:ext uri="{FF2B5EF4-FFF2-40B4-BE49-F238E27FC236}">
                    <a16:creationId xmlns:a16="http://schemas.microsoft.com/office/drawing/2014/main" id="{0521785E-405B-4C49-938F-F1C79EFC852E}"/>
                  </a:ext>
                </a:extLst>
              </p:cNvPr>
              <p:cNvSpPr/>
              <p:nvPr/>
            </p:nvSpPr>
            <p:spPr>
              <a:xfrm>
                <a:off x="4527869" y="4627114"/>
                <a:ext cx="18311" cy="18421"/>
              </a:xfrm>
              <a:custGeom>
                <a:avLst/>
                <a:gdLst>
                  <a:gd name="connsiteX0" fmla="*/ 3444 w 18311"/>
                  <a:gd name="connsiteY0" fmla="*/ 2004 h 18421"/>
                  <a:gd name="connsiteX1" fmla="*/ 2009 w 18311"/>
                  <a:gd name="connsiteY1" fmla="*/ 14923 h 18421"/>
                  <a:gd name="connsiteX2" fmla="*/ 14867 w 18311"/>
                  <a:gd name="connsiteY2" fmla="*/ 16418 h 18421"/>
                  <a:gd name="connsiteX3" fmla="*/ 16303 w 18311"/>
                  <a:gd name="connsiteY3" fmla="*/ 3499 h 18421"/>
                  <a:gd name="connsiteX4" fmla="*/ 3444 w 18311"/>
                  <a:gd name="connsiteY4" fmla="*/ 2004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3444" y="2004"/>
                    </a:moveTo>
                    <a:cubicBezTo>
                      <a:pt x="-503" y="5174"/>
                      <a:pt x="-1161" y="10975"/>
                      <a:pt x="2009" y="14923"/>
                    </a:cubicBezTo>
                    <a:cubicBezTo>
                      <a:pt x="5178" y="18930"/>
                      <a:pt x="10920" y="19587"/>
                      <a:pt x="14867" y="16418"/>
                    </a:cubicBezTo>
                    <a:cubicBezTo>
                      <a:pt x="18815" y="13248"/>
                      <a:pt x="19472" y="7447"/>
                      <a:pt x="16303" y="3499"/>
                    </a:cubicBezTo>
                    <a:cubicBezTo>
                      <a:pt x="13133" y="-508"/>
                      <a:pt x="7391" y="-1166"/>
                      <a:pt x="3444" y="2004"/>
                    </a:cubicBezTo>
                    <a:close/>
                  </a:path>
                </a:pathLst>
              </a:custGeom>
              <a:grpFill/>
              <a:ln w="5978" cap="flat">
                <a:noFill/>
                <a:prstDash val="solid"/>
                <a:miter/>
              </a:ln>
            </p:spPr>
            <p:txBody>
              <a:bodyPr rtlCol="0" anchor="ctr"/>
              <a:lstStyle/>
              <a:p>
                <a:endParaRPr lang="en-GB"/>
              </a:p>
            </p:txBody>
          </p:sp>
        </p:grpSp>
        <p:grpSp>
          <p:nvGrpSpPr>
            <p:cNvPr id="1237" name="Graphic 3">
              <a:extLst>
                <a:ext uri="{FF2B5EF4-FFF2-40B4-BE49-F238E27FC236}">
                  <a16:creationId xmlns:a16="http://schemas.microsoft.com/office/drawing/2014/main" id="{C04B8E81-FE51-4E6E-B4BE-D3D0CBF85A13}"/>
                </a:ext>
              </a:extLst>
            </p:cNvPr>
            <p:cNvGrpSpPr/>
            <p:nvPr/>
          </p:nvGrpSpPr>
          <p:grpSpPr>
            <a:xfrm>
              <a:off x="4386019" y="4163712"/>
              <a:ext cx="42602" cy="29586"/>
              <a:chOff x="4386019" y="4163712"/>
              <a:chExt cx="42602" cy="29586"/>
            </a:xfrm>
            <a:grpFill/>
          </p:grpSpPr>
          <p:sp>
            <p:nvSpPr>
              <p:cNvPr id="1692" name="Vrije vorm: vorm 1691">
                <a:extLst>
                  <a:ext uri="{FF2B5EF4-FFF2-40B4-BE49-F238E27FC236}">
                    <a16:creationId xmlns:a16="http://schemas.microsoft.com/office/drawing/2014/main" id="{8007E7C7-8BEF-4DEA-8091-C4C472B97247}"/>
                  </a:ext>
                </a:extLst>
              </p:cNvPr>
              <p:cNvSpPr/>
              <p:nvPr/>
            </p:nvSpPr>
            <p:spPr>
              <a:xfrm>
                <a:off x="4394048" y="4171457"/>
                <a:ext cx="26362" cy="14357"/>
              </a:xfrm>
              <a:custGeom>
                <a:avLst/>
                <a:gdLst>
                  <a:gd name="connsiteX0" fmla="*/ 0 w 26362"/>
                  <a:gd name="connsiteY0" fmla="*/ 11588 h 14357"/>
                  <a:gd name="connsiteX1" fmla="*/ 25083 w 26362"/>
                  <a:gd name="connsiteY1" fmla="*/ 0 h 14357"/>
                  <a:gd name="connsiteX2" fmla="*/ 26363 w 26362"/>
                  <a:gd name="connsiteY2" fmla="*/ 2769 h 14357"/>
                  <a:gd name="connsiteX3" fmla="*/ 1279 w 26362"/>
                  <a:gd name="connsiteY3" fmla="*/ 14357 h 14357"/>
                </a:gdLst>
                <a:ahLst/>
                <a:cxnLst>
                  <a:cxn ang="0">
                    <a:pos x="connsiteX0" y="connsiteY0"/>
                  </a:cxn>
                  <a:cxn ang="0">
                    <a:pos x="connsiteX1" y="connsiteY1"/>
                  </a:cxn>
                  <a:cxn ang="0">
                    <a:pos x="connsiteX2" y="connsiteY2"/>
                  </a:cxn>
                  <a:cxn ang="0">
                    <a:pos x="connsiteX3" y="connsiteY3"/>
                  </a:cxn>
                </a:cxnLst>
                <a:rect l="l" t="t" r="r" b="b"/>
                <a:pathLst>
                  <a:path w="26362" h="14357">
                    <a:moveTo>
                      <a:pt x="0" y="11588"/>
                    </a:moveTo>
                    <a:lnTo>
                      <a:pt x="25083" y="0"/>
                    </a:lnTo>
                    <a:lnTo>
                      <a:pt x="26363" y="2769"/>
                    </a:lnTo>
                    <a:lnTo>
                      <a:pt x="1279" y="14357"/>
                    </a:lnTo>
                    <a:close/>
                  </a:path>
                </a:pathLst>
              </a:custGeom>
              <a:grpFill/>
              <a:ln w="5978" cap="flat">
                <a:noFill/>
                <a:prstDash val="solid"/>
                <a:miter/>
              </a:ln>
            </p:spPr>
            <p:txBody>
              <a:bodyPr rtlCol="0" anchor="ctr"/>
              <a:lstStyle/>
              <a:p>
                <a:endParaRPr lang="en-GB"/>
              </a:p>
            </p:txBody>
          </p:sp>
          <p:sp>
            <p:nvSpPr>
              <p:cNvPr id="1693" name="Vrije vorm: vorm 1692">
                <a:extLst>
                  <a:ext uri="{FF2B5EF4-FFF2-40B4-BE49-F238E27FC236}">
                    <a16:creationId xmlns:a16="http://schemas.microsoft.com/office/drawing/2014/main" id="{875DE5E3-9F19-4A2B-AFAF-8CF51460BE7F}"/>
                  </a:ext>
                </a:extLst>
              </p:cNvPr>
              <p:cNvSpPr/>
              <p:nvPr/>
            </p:nvSpPr>
            <p:spPr>
              <a:xfrm>
                <a:off x="4386019" y="4174887"/>
                <a:ext cx="18320" cy="18412"/>
              </a:xfrm>
              <a:custGeom>
                <a:avLst/>
                <a:gdLst>
                  <a:gd name="connsiteX0" fmla="*/ 13001 w 18320"/>
                  <a:gd name="connsiteY0" fmla="*/ 17579 h 18412"/>
                  <a:gd name="connsiteX1" fmla="*/ 860 w 18320"/>
                  <a:gd name="connsiteY1" fmla="*/ 13034 h 18412"/>
                  <a:gd name="connsiteX2" fmla="*/ 5346 w 18320"/>
                  <a:gd name="connsiteY2" fmla="*/ 833 h 18412"/>
                  <a:gd name="connsiteX3" fmla="*/ 17487 w 18320"/>
                  <a:gd name="connsiteY3" fmla="*/ 5378 h 18412"/>
                  <a:gd name="connsiteX4" fmla="*/ 13001 w 18320"/>
                  <a:gd name="connsiteY4" fmla="*/ 17579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2">
                    <a:moveTo>
                      <a:pt x="13001" y="17579"/>
                    </a:moveTo>
                    <a:cubicBezTo>
                      <a:pt x="8396" y="19672"/>
                      <a:pt x="2954" y="17699"/>
                      <a:pt x="860" y="13034"/>
                    </a:cubicBezTo>
                    <a:cubicBezTo>
                      <a:pt x="-1293" y="8429"/>
                      <a:pt x="741" y="2927"/>
                      <a:pt x="5346" y="833"/>
                    </a:cubicBezTo>
                    <a:cubicBezTo>
                      <a:pt x="9951" y="-1260"/>
                      <a:pt x="15393" y="714"/>
                      <a:pt x="17487" y="5378"/>
                    </a:cubicBezTo>
                    <a:cubicBezTo>
                      <a:pt x="19580" y="9984"/>
                      <a:pt x="17606" y="15486"/>
                      <a:pt x="13001" y="17579"/>
                    </a:cubicBezTo>
                    <a:close/>
                  </a:path>
                </a:pathLst>
              </a:custGeom>
              <a:grpFill/>
              <a:ln w="5978" cap="flat">
                <a:noFill/>
                <a:prstDash val="solid"/>
                <a:miter/>
              </a:ln>
            </p:spPr>
            <p:txBody>
              <a:bodyPr rtlCol="0" anchor="ctr"/>
              <a:lstStyle/>
              <a:p>
                <a:endParaRPr lang="en-GB"/>
              </a:p>
            </p:txBody>
          </p:sp>
          <p:sp>
            <p:nvSpPr>
              <p:cNvPr id="1694" name="Vrije vorm: vorm 1693">
                <a:extLst>
                  <a:ext uri="{FF2B5EF4-FFF2-40B4-BE49-F238E27FC236}">
                    <a16:creationId xmlns:a16="http://schemas.microsoft.com/office/drawing/2014/main" id="{0505AA78-C1A1-4792-8C00-9B46DC90814C}"/>
                  </a:ext>
                </a:extLst>
              </p:cNvPr>
              <p:cNvSpPr/>
              <p:nvPr/>
            </p:nvSpPr>
            <p:spPr>
              <a:xfrm>
                <a:off x="4410326" y="4163712"/>
                <a:ext cx="18295" cy="18393"/>
              </a:xfrm>
              <a:custGeom>
                <a:avLst/>
                <a:gdLst>
                  <a:gd name="connsiteX0" fmla="*/ 12975 w 18295"/>
                  <a:gd name="connsiteY0" fmla="*/ 17570 h 18393"/>
                  <a:gd name="connsiteX1" fmla="*/ 17461 w 18295"/>
                  <a:gd name="connsiteY1" fmla="*/ 5369 h 18393"/>
                  <a:gd name="connsiteX2" fmla="*/ 5320 w 18295"/>
                  <a:gd name="connsiteY2" fmla="*/ 824 h 18393"/>
                  <a:gd name="connsiteX3" fmla="*/ 834 w 18295"/>
                  <a:gd name="connsiteY3" fmla="*/ 13024 h 18393"/>
                  <a:gd name="connsiteX4" fmla="*/ 12975 w 18295"/>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393">
                    <a:moveTo>
                      <a:pt x="12975" y="17570"/>
                    </a:moveTo>
                    <a:cubicBezTo>
                      <a:pt x="17580" y="15477"/>
                      <a:pt x="19554" y="9974"/>
                      <a:pt x="17461" y="5369"/>
                    </a:cubicBezTo>
                    <a:cubicBezTo>
                      <a:pt x="15308" y="764"/>
                      <a:pt x="9865" y="-1269"/>
                      <a:pt x="5320" y="824"/>
                    </a:cubicBezTo>
                    <a:cubicBezTo>
                      <a:pt x="715" y="2917"/>
                      <a:pt x="-1259" y="8419"/>
                      <a:pt x="834" y="13024"/>
                    </a:cubicBezTo>
                    <a:cubicBezTo>
                      <a:pt x="2928" y="17629"/>
                      <a:pt x="8370" y="19663"/>
                      <a:pt x="12975" y="17570"/>
                    </a:cubicBezTo>
                    <a:close/>
                  </a:path>
                </a:pathLst>
              </a:custGeom>
              <a:grpFill/>
              <a:ln w="5978" cap="flat">
                <a:noFill/>
                <a:prstDash val="solid"/>
                <a:miter/>
              </a:ln>
            </p:spPr>
            <p:txBody>
              <a:bodyPr rtlCol="0" anchor="ctr"/>
              <a:lstStyle/>
              <a:p>
                <a:endParaRPr lang="en-GB"/>
              </a:p>
            </p:txBody>
          </p:sp>
        </p:grpSp>
        <p:grpSp>
          <p:nvGrpSpPr>
            <p:cNvPr id="1238" name="Graphic 3">
              <a:extLst>
                <a:ext uri="{FF2B5EF4-FFF2-40B4-BE49-F238E27FC236}">
                  <a16:creationId xmlns:a16="http://schemas.microsoft.com/office/drawing/2014/main" id="{4A2C7345-2E5A-4D98-B5C6-DE8EB216786A}"/>
                </a:ext>
              </a:extLst>
            </p:cNvPr>
            <p:cNvGrpSpPr/>
            <p:nvPr/>
          </p:nvGrpSpPr>
          <p:grpSpPr>
            <a:xfrm>
              <a:off x="4207970" y="3941491"/>
              <a:ext cx="243168" cy="57584"/>
              <a:chOff x="4207970" y="3941491"/>
              <a:chExt cx="243168" cy="57584"/>
            </a:xfrm>
            <a:grpFill/>
          </p:grpSpPr>
          <p:sp>
            <p:nvSpPr>
              <p:cNvPr id="1689" name="Vrije vorm: vorm 1688">
                <a:extLst>
                  <a:ext uri="{FF2B5EF4-FFF2-40B4-BE49-F238E27FC236}">
                    <a16:creationId xmlns:a16="http://schemas.microsoft.com/office/drawing/2014/main" id="{7CF5B1CD-0FC9-48BE-8941-B29D100DDAD4}"/>
                  </a:ext>
                </a:extLst>
              </p:cNvPr>
              <p:cNvSpPr/>
              <p:nvPr/>
            </p:nvSpPr>
            <p:spPr>
              <a:xfrm>
                <a:off x="4216368" y="3949110"/>
                <a:ext cx="226310" cy="42343"/>
              </a:xfrm>
              <a:custGeom>
                <a:avLst/>
                <a:gdLst>
                  <a:gd name="connsiteX0" fmla="*/ 225772 w 226310"/>
                  <a:gd name="connsiteY0" fmla="*/ 0 h 42343"/>
                  <a:gd name="connsiteX1" fmla="*/ 226311 w 226310"/>
                  <a:gd name="connsiteY1" fmla="*/ 2990 h 42343"/>
                  <a:gd name="connsiteX2" fmla="*/ 538 w 226310"/>
                  <a:gd name="connsiteY2" fmla="*/ 42344 h 42343"/>
                  <a:gd name="connsiteX3" fmla="*/ 0 w 226310"/>
                  <a:gd name="connsiteY3" fmla="*/ 39353 h 42343"/>
                </a:gdLst>
                <a:ahLst/>
                <a:cxnLst>
                  <a:cxn ang="0">
                    <a:pos x="connsiteX0" y="connsiteY0"/>
                  </a:cxn>
                  <a:cxn ang="0">
                    <a:pos x="connsiteX1" y="connsiteY1"/>
                  </a:cxn>
                  <a:cxn ang="0">
                    <a:pos x="connsiteX2" y="connsiteY2"/>
                  </a:cxn>
                  <a:cxn ang="0">
                    <a:pos x="connsiteX3" y="connsiteY3"/>
                  </a:cxn>
                </a:cxnLst>
                <a:rect l="l" t="t" r="r" b="b"/>
                <a:pathLst>
                  <a:path w="226310" h="42343">
                    <a:moveTo>
                      <a:pt x="225772" y="0"/>
                    </a:moveTo>
                    <a:lnTo>
                      <a:pt x="226311" y="2990"/>
                    </a:lnTo>
                    <a:lnTo>
                      <a:pt x="538" y="42344"/>
                    </a:lnTo>
                    <a:lnTo>
                      <a:pt x="0" y="39353"/>
                    </a:lnTo>
                    <a:close/>
                  </a:path>
                </a:pathLst>
              </a:custGeom>
              <a:grpFill/>
              <a:ln w="5978" cap="flat">
                <a:noFill/>
                <a:prstDash val="solid"/>
                <a:miter/>
              </a:ln>
            </p:spPr>
            <p:txBody>
              <a:bodyPr rtlCol="0" anchor="ctr"/>
              <a:lstStyle/>
              <a:p>
                <a:endParaRPr lang="en-GB"/>
              </a:p>
            </p:txBody>
          </p:sp>
          <p:sp>
            <p:nvSpPr>
              <p:cNvPr id="1690" name="Vrije vorm: vorm 1689">
                <a:extLst>
                  <a:ext uri="{FF2B5EF4-FFF2-40B4-BE49-F238E27FC236}">
                    <a16:creationId xmlns:a16="http://schemas.microsoft.com/office/drawing/2014/main" id="{96C90191-7B79-471A-84C3-E203D05537AC}"/>
                  </a:ext>
                </a:extLst>
              </p:cNvPr>
              <p:cNvSpPr/>
              <p:nvPr/>
            </p:nvSpPr>
            <p:spPr>
              <a:xfrm>
                <a:off x="4432785" y="3941491"/>
                <a:ext cx="18352" cy="18453"/>
              </a:xfrm>
              <a:custGeom>
                <a:avLst/>
                <a:gdLst>
                  <a:gd name="connsiteX0" fmla="*/ 7561 w 18352"/>
                  <a:gd name="connsiteY0" fmla="*/ 143 h 18453"/>
                  <a:gd name="connsiteX1" fmla="*/ 18207 w 18352"/>
                  <a:gd name="connsiteY1" fmla="*/ 7679 h 18453"/>
                  <a:gd name="connsiteX2" fmla="*/ 10791 w 18352"/>
                  <a:gd name="connsiteY2" fmla="*/ 18325 h 18453"/>
                  <a:gd name="connsiteX3" fmla="*/ 145 w 18352"/>
                  <a:gd name="connsiteY3" fmla="*/ 10849 h 18453"/>
                  <a:gd name="connsiteX4" fmla="*/ 7561 w 18352"/>
                  <a:gd name="connsiteY4" fmla="*/ 143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53">
                    <a:moveTo>
                      <a:pt x="7561" y="143"/>
                    </a:moveTo>
                    <a:cubicBezTo>
                      <a:pt x="12526" y="-754"/>
                      <a:pt x="17310" y="2655"/>
                      <a:pt x="18207" y="7679"/>
                    </a:cubicBezTo>
                    <a:cubicBezTo>
                      <a:pt x="19104" y="12703"/>
                      <a:pt x="15755" y="17488"/>
                      <a:pt x="10791" y="18325"/>
                    </a:cubicBezTo>
                    <a:cubicBezTo>
                      <a:pt x="5827" y="19162"/>
                      <a:pt x="1043" y="15813"/>
                      <a:pt x="145" y="10849"/>
                    </a:cubicBezTo>
                    <a:cubicBezTo>
                      <a:pt x="-752" y="5765"/>
                      <a:pt x="2597" y="981"/>
                      <a:pt x="7561" y="143"/>
                    </a:cubicBezTo>
                    <a:close/>
                  </a:path>
                </a:pathLst>
              </a:custGeom>
              <a:grpFill/>
              <a:ln w="5978" cap="flat">
                <a:noFill/>
                <a:prstDash val="solid"/>
                <a:miter/>
              </a:ln>
            </p:spPr>
            <p:txBody>
              <a:bodyPr rtlCol="0" anchor="ctr"/>
              <a:lstStyle/>
              <a:p>
                <a:endParaRPr lang="en-GB"/>
              </a:p>
            </p:txBody>
          </p:sp>
          <p:sp>
            <p:nvSpPr>
              <p:cNvPr id="1691" name="Vrije vorm: vorm 1690">
                <a:extLst>
                  <a:ext uri="{FF2B5EF4-FFF2-40B4-BE49-F238E27FC236}">
                    <a16:creationId xmlns:a16="http://schemas.microsoft.com/office/drawing/2014/main" id="{B2C50ABD-EB89-48A1-A588-854F6C5317C2}"/>
                  </a:ext>
                </a:extLst>
              </p:cNvPr>
              <p:cNvSpPr/>
              <p:nvPr/>
            </p:nvSpPr>
            <p:spPr>
              <a:xfrm>
                <a:off x="4207970" y="3980665"/>
                <a:ext cx="18354" cy="18410"/>
              </a:xfrm>
              <a:custGeom>
                <a:avLst/>
                <a:gdLst>
                  <a:gd name="connsiteX0" fmla="*/ 7562 w 18354"/>
                  <a:gd name="connsiteY0" fmla="*/ 143 h 18410"/>
                  <a:gd name="connsiteX1" fmla="*/ 145 w 18354"/>
                  <a:gd name="connsiteY1" fmla="*/ 10789 h 18410"/>
                  <a:gd name="connsiteX2" fmla="*/ 10791 w 18354"/>
                  <a:gd name="connsiteY2" fmla="*/ 18265 h 18410"/>
                  <a:gd name="connsiteX3" fmla="*/ 18207 w 18354"/>
                  <a:gd name="connsiteY3" fmla="*/ 7619 h 18410"/>
                  <a:gd name="connsiteX4" fmla="*/ 7562 w 18354"/>
                  <a:gd name="connsiteY4" fmla="*/ 143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0">
                    <a:moveTo>
                      <a:pt x="7562" y="143"/>
                    </a:moveTo>
                    <a:cubicBezTo>
                      <a:pt x="2598" y="1040"/>
                      <a:pt x="-752" y="5765"/>
                      <a:pt x="145" y="10789"/>
                    </a:cubicBezTo>
                    <a:cubicBezTo>
                      <a:pt x="1043" y="15813"/>
                      <a:pt x="5767" y="19162"/>
                      <a:pt x="10791" y="18265"/>
                    </a:cubicBezTo>
                    <a:cubicBezTo>
                      <a:pt x="15815" y="17368"/>
                      <a:pt x="19105" y="12643"/>
                      <a:pt x="18207" y="7619"/>
                    </a:cubicBezTo>
                    <a:cubicBezTo>
                      <a:pt x="17250" y="2655"/>
                      <a:pt x="12525" y="-754"/>
                      <a:pt x="7562" y="143"/>
                    </a:cubicBezTo>
                    <a:close/>
                  </a:path>
                </a:pathLst>
              </a:custGeom>
              <a:grpFill/>
              <a:ln w="5978" cap="flat">
                <a:noFill/>
                <a:prstDash val="solid"/>
                <a:miter/>
              </a:ln>
            </p:spPr>
            <p:txBody>
              <a:bodyPr rtlCol="0" anchor="ctr"/>
              <a:lstStyle/>
              <a:p>
                <a:endParaRPr lang="en-GB"/>
              </a:p>
            </p:txBody>
          </p:sp>
        </p:grpSp>
        <p:grpSp>
          <p:nvGrpSpPr>
            <p:cNvPr id="1239" name="Graphic 3">
              <a:extLst>
                <a:ext uri="{FF2B5EF4-FFF2-40B4-BE49-F238E27FC236}">
                  <a16:creationId xmlns:a16="http://schemas.microsoft.com/office/drawing/2014/main" id="{3279BD11-AD60-4DBC-9530-7B1C6C7ADBF5}"/>
                </a:ext>
              </a:extLst>
            </p:cNvPr>
            <p:cNvGrpSpPr/>
            <p:nvPr/>
          </p:nvGrpSpPr>
          <p:grpSpPr>
            <a:xfrm>
              <a:off x="4496180" y="4509202"/>
              <a:ext cx="26843" cy="24483"/>
              <a:chOff x="4496180" y="4509202"/>
              <a:chExt cx="26843" cy="24483"/>
            </a:xfrm>
            <a:grpFill/>
          </p:grpSpPr>
          <p:sp>
            <p:nvSpPr>
              <p:cNvPr id="1686" name="Vrije vorm: vorm 1685">
                <a:extLst>
                  <a:ext uri="{FF2B5EF4-FFF2-40B4-BE49-F238E27FC236}">
                    <a16:creationId xmlns:a16="http://schemas.microsoft.com/office/drawing/2014/main" id="{EDB43558-6AB5-49F8-AB7D-C5AAE84EBD6A}"/>
                  </a:ext>
                </a:extLst>
              </p:cNvPr>
              <p:cNvSpPr/>
              <p:nvPr/>
            </p:nvSpPr>
            <p:spPr>
              <a:xfrm>
                <a:off x="4504101" y="4516920"/>
                <a:ext cx="11004" cy="9030"/>
              </a:xfrm>
              <a:custGeom>
                <a:avLst/>
                <a:gdLst>
                  <a:gd name="connsiteX0" fmla="*/ 11004 w 11004"/>
                  <a:gd name="connsiteY0" fmla="*/ 2452 h 9030"/>
                  <a:gd name="connsiteX1" fmla="*/ 1794 w 11004"/>
                  <a:gd name="connsiteY1" fmla="*/ 9031 h 9030"/>
                  <a:gd name="connsiteX2" fmla="*/ 0 w 11004"/>
                  <a:gd name="connsiteY2" fmla="*/ 6579 h 9030"/>
                  <a:gd name="connsiteX3" fmla="*/ 9210 w 11004"/>
                  <a:gd name="connsiteY3" fmla="*/ 0 h 9030"/>
                </a:gdLst>
                <a:ahLst/>
                <a:cxnLst>
                  <a:cxn ang="0">
                    <a:pos x="connsiteX0" y="connsiteY0"/>
                  </a:cxn>
                  <a:cxn ang="0">
                    <a:pos x="connsiteX1" y="connsiteY1"/>
                  </a:cxn>
                  <a:cxn ang="0">
                    <a:pos x="connsiteX2" y="connsiteY2"/>
                  </a:cxn>
                  <a:cxn ang="0">
                    <a:pos x="connsiteX3" y="connsiteY3"/>
                  </a:cxn>
                </a:cxnLst>
                <a:rect l="l" t="t" r="r" b="b"/>
                <a:pathLst>
                  <a:path w="11004" h="9030">
                    <a:moveTo>
                      <a:pt x="11004" y="2452"/>
                    </a:moveTo>
                    <a:lnTo>
                      <a:pt x="1794" y="9031"/>
                    </a:lnTo>
                    <a:lnTo>
                      <a:pt x="0" y="6579"/>
                    </a:lnTo>
                    <a:lnTo>
                      <a:pt x="9210" y="0"/>
                    </a:lnTo>
                    <a:close/>
                  </a:path>
                </a:pathLst>
              </a:custGeom>
              <a:grpFill/>
              <a:ln w="5978" cap="flat">
                <a:noFill/>
                <a:prstDash val="solid"/>
                <a:miter/>
              </a:ln>
            </p:spPr>
            <p:txBody>
              <a:bodyPr rtlCol="0" anchor="ctr"/>
              <a:lstStyle/>
              <a:p>
                <a:endParaRPr lang="en-GB"/>
              </a:p>
            </p:txBody>
          </p:sp>
          <p:sp>
            <p:nvSpPr>
              <p:cNvPr id="1687" name="Vrije vorm: vorm 1686">
                <a:extLst>
                  <a:ext uri="{FF2B5EF4-FFF2-40B4-BE49-F238E27FC236}">
                    <a16:creationId xmlns:a16="http://schemas.microsoft.com/office/drawing/2014/main" id="{47795F2A-8712-4001-9293-11BCC51FCF9F}"/>
                  </a:ext>
                </a:extLst>
              </p:cNvPr>
              <p:cNvSpPr/>
              <p:nvPr/>
            </p:nvSpPr>
            <p:spPr>
              <a:xfrm>
                <a:off x="4496180" y="4515226"/>
                <a:ext cx="18336" cy="18459"/>
              </a:xfrm>
              <a:custGeom>
                <a:avLst/>
                <a:gdLst>
                  <a:gd name="connsiteX0" fmla="*/ 14500 w 18336"/>
                  <a:gd name="connsiteY0" fmla="*/ 16765 h 18459"/>
                  <a:gd name="connsiteX1" fmla="*/ 1701 w 18336"/>
                  <a:gd name="connsiteY1" fmla="*/ 14553 h 18459"/>
                  <a:gd name="connsiteX2" fmla="*/ 3794 w 18336"/>
                  <a:gd name="connsiteY2" fmla="*/ 1694 h 18459"/>
                  <a:gd name="connsiteX3" fmla="*/ 16593 w 18336"/>
                  <a:gd name="connsiteY3" fmla="*/ 3907 h 18459"/>
                  <a:gd name="connsiteX4" fmla="*/ 14500 w 18336"/>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9">
                    <a:moveTo>
                      <a:pt x="14500" y="16765"/>
                    </a:moveTo>
                    <a:cubicBezTo>
                      <a:pt x="10373" y="19696"/>
                      <a:pt x="4631" y="18739"/>
                      <a:pt x="1701" y="14553"/>
                    </a:cubicBezTo>
                    <a:cubicBezTo>
                      <a:pt x="-1230" y="10426"/>
                      <a:pt x="-272" y="4625"/>
                      <a:pt x="3794" y="1694"/>
                    </a:cubicBezTo>
                    <a:cubicBezTo>
                      <a:pt x="7921" y="-1237"/>
                      <a:pt x="13662" y="-280"/>
                      <a:pt x="16593" y="3907"/>
                    </a:cubicBezTo>
                    <a:cubicBezTo>
                      <a:pt x="19583" y="8033"/>
                      <a:pt x="18627" y="13835"/>
                      <a:pt x="14500" y="16765"/>
                    </a:cubicBezTo>
                    <a:close/>
                  </a:path>
                </a:pathLst>
              </a:custGeom>
              <a:grpFill/>
              <a:ln w="5978" cap="flat">
                <a:noFill/>
                <a:prstDash val="solid"/>
                <a:miter/>
              </a:ln>
            </p:spPr>
            <p:txBody>
              <a:bodyPr rtlCol="0" anchor="ctr"/>
              <a:lstStyle/>
              <a:p>
                <a:endParaRPr lang="en-GB"/>
              </a:p>
            </p:txBody>
          </p:sp>
          <p:sp>
            <p:nvSpPr>
              <p:cNvPr id="1688" name="Vrije vorm: vorm 1687">
                <a:extLst>
                  <a:ext uri="{FF2B5EF4-FFF2-40B4-BE49-F238E27FC236}">
                    <a16:creationId xmlns:a16="http://schemas.microsoft.com/office/drawing/2014/main" id="{DE6E6E36-CC12-4587-87D2-E22236EA4F8D}"/>
                  </a:ext>
                </a:extLst>
              </p:cNvPr>
              <p:cNvSpPr/>
              <p:nvPr/>
            </p:nvSpPr>
            <p:spPr>
              <a:xfrm>
                <a:off x="4504676" y="4509202"/>
                <a:ext cx="18346" cy="18426"/>
              </a:xfrm>
              <a:custGeom>
                <a:avLst/>
                <a:gdLst>
                  <a:gd name="connsiteX0" fmla="*/ 14496 w 18346"/>
                  <a:gd name="connsiteY0" fmla="*/ 16749 h 18426"/>
                  <a:gd name="connsiteX1" fmla="*/ 16649 w 18346"/>
                  <a:gd name="connsiteY1" fmla="*/ 3890 h 18426"/>
                  <a:gd name="connsiteX2" fmla="*/ 3851 w 18346"/>
                  <a:gd name="connsiteY2" fmla="*/ 1678 h 18426"/>
                  <a:gd name="connsiteX3" fmla="*/ 1698 w 18346"/>
                  <a:gd name="connsiteY3" fmla="*/ 14536 h 18426"/>
                  <a:gd name="connsiteX4" fmla="*/ 14496 w 18346"/>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6">
                    <a:moveTo>
                      <a:pt x="14496" y="16749"/>
                    </a:moveTo>
                    <a:cubicBezTo>
                      <a:pt x="18623" y="13818"/>
                      <a:pt x="19580" y="8077"/>
                      <a:pt x="16649" y="3890"/>
                    </a:cubicBezTo>
                    <a:cubicBezTo>
                      <a:pt x="13719" y="-236"/>
                      <a:pt x="7977" y="-1253"/>
                      <a:pt x="3851" y="1678"/>
                    </a:cubicBezTo>
                    <a:cubicBezTo>
                      <a:pt x="-276" y="4608"/>
                      <a:pt x="-1233" y="10349"/>
                      <a:pt x="1698" y="14536"/>
                    </a:cubicBezTo>
                    <a:cubicBezTo>
                      <a:pt x="4688" y="18663"/>
                      <a:pt x="10369" y="19679"/>
                      <a:pt x="14496" y="16749"/>
                    </a:cubicBezTo>
                    <a:close/>
                  </a:path>
                </a:pathLst>
              </a:custGeom>
              <a:grpFill/>
              <a:ln w="5978" cap="flat">
                <a:noFill/>
                <a:prstDash val="solid"/>
                <a:miter/>
              </a:ln>
            </p:spPr>
            <p:txBody>
              <a:bodyPr rtlCol="0" anchor="ctr"/>
              <a:lstStyle/>
              <a:p>
                <a:endParaRPr lang="en-GB"/>
              </a:p>
            </p:txBody>
          </p:sp>
        </p:grpSp>
        <p:grpSp>
          <p:nvGrpSpPr>
            <p:cNvPr id="1240" name="Graphic 3">
              <a:extLst>
                <a:ext uri="{FF2B5EF4-FFF2-40B4-BE49-F238E27FC236}">
                  <a16:creationId xmlns:a16="http://schemas.microsoft.com/office/drawing/2014/main" id="{4B6470F3-9083-43DA-B554-DEBD69441E6D}"/>
                </a:ext>
              </a:extLst>
            </p:cNvPr>
            <p:cNvGrpSpPr/>
            <p:nvPr/>
          </p:nvGrpSpPr>
          <p:grpSpPr>
            <a:xfrm>
              <a:off x="3938720" y="3411420"/>
              <a:ext cx="414211" cy="48371"/>
              <a:chOff x="3938720" y="3411420"/>
              <a:chExt cx="414211" cy="48371"/>
            </a:xfrm>
            <a:grpFill/>
          </p:grpSpPr>
          <p:sp>
            <p:nvSpPr>
              <p:cNvPr id="1683" name="Vrije vorm: vorm 1682">
                <a:extLst>
                  <a:ext uri="{FF2B5EF4-FFF2-40B4-BE49-F238E27FC236}">
                    <a16:creationId xmlns:a16="http://schemas.microsoft.com/office/drawing/2014/main" id="{BC80D60C-891A-4C20-89A3-572A277C8040}"/>
                  </a:ext>
                </a:extLst>
              </p:cNvPr>
              <p:cNvSpPr/>
              <p:nvPr/>
            </p:nvSpPr>
            <p:spPr>
              <a:xfrm>
                <a:off x="3947356" y="3419039"/>
                <a:ext cx="396940" cy="33133"/>
              </a:xfrm>
              <a:custGeom>
                <a:avLst/>
                <a:gdLst>
                  <a:gd name="connsiteX0" fmla="*/ 396941 w 396940"/>
                  <a:gd name="connsiteY0" fmla="*/ 30083 h 33133"/>
                  <a:gd name="connsiteX1" fmla="*/ 396761 w 396940"/>
                  <a:gd name="connsiteY1" fmla="*/ 33133 h 33133"/>
                  <a:gd name="connsiteX2" fmla="*/ 0 w 396940"/>
                  <a:gd name="connsiteY2" fmla="*/ 3110 h 33133"/>
                  <a:gd name="connsiteX3" fmla="*/ 180 w 396940"/>
                  <a:gd name="connsiteY3" fmla="*/ 0 h 33133"/>
                </a:gdLst>
                <a:ahLst/>
                <a:cxnLst>
                  <a:cxn ang="0">
                    <a:pos x="connsiteX0" y="connsiteY0"/>
                  </a:cxn>
                  <a:cxn ang="0">
                    <a:pos x="connsiteX1" y="connsiteY1"/>
                  </a:cxn>
                  <a:cxn ang="0">
                    <a:pos x="connsiteX2" y="connsiteY2"/>
                  </a:cxn>
                  <a:cxn ang="0">
                    <a:pos x="connsiteX3" y="connsiteY3"/>
                  </a:cxn>
                </a:cxnLst>
                <a:rect l="l" t="t" r="r" b="b"/>
                <a:pathLst>
                  <a:path w="396940" h="33133">
                    <a:moveTo>
                      <a:pt x="396941" y="30083"/>
                    </a:moveTo>
                    <a:lnTo>
                      <a:pt x="396761" y="33133"/>
                    </a:lnTo>
                    <a:lnTo>
                      <a:pt x="0" y="3110"/>
                    </a:lnTo>
                    <a:lnTo>
                      <a:pt x="180" y="0"/>
                    </a:lnTo>
                    <a:close/>
                  </a:path>
                </a:pathLst>
              </a:custGeom>
              <a:grpFill/>
              <a:ln w="5978" cap="flat">
                <a:noFill/>
                <a:prstDash val="solid"/>
                <a:miter/>
              </a:ln>
            </p:spPr>
            <p:txBody>
              <a:bodyPr rtlCol="0" anchor="ctr"/>
              <a:lstStyle/>
              <a:p>
                <a:endParaRPr lang="en-GB"/>
              </a:p>
            </p:txBody>
          </p:sp>
          <p:sp>
            <p:nvSpPr>
              <p:cNvPr id="1684" name="Vrije vorm: vorm 1683">
                <a:extLst>
                  <a:ext uri="{FF2B5EF4-FFF2-40B4-BE49-F238E27FC236}">
                    <a16:creationId xmlns:a16="http://schemas.microsoft.com/office/drawing/2014/main" id="{FE676BE5-7473-439F-BBA9-699028A8E43D}"/>
                  </a:ext>
                </a:extLst>
              </p:cNvPr>
              <p:cNvSpPr/>
              <p:nvPr/>
            </p:nvSpPr>
            <p:spPr>
              <a:xfrm>
                <a:off x="4334584" y="3441383"/>
                <a:ext cx="18347" cy="18408"/>
              </a:xfrm>
              <a:custGeom>
                <a:avLst/>
                <a:gdLst>
                  <a:gd name="connsiteX0" fmla="*/ 9832 w 18347"/>
                  <a:gd name="connsiteY0" fmla="*/ 24 h 18408"/>
                  <a:gd name="connsiteX1" fmla="*/ 18324 w 18347"/>
                  <a:gd name="connsiteY1" fmla="*/ 9892 h 18408"/>
                  <a:gd name="connsiteX2" fmla="*/ 8516 w 18347"/>
                  <a:gd name="connsiteY2" fmla="*/ 18384 h 18408"/>
                  <a:gd name="connsiteX3" fmla="*/ 23 w 18347"/>
                  <a:gd name="connsiteY3" fmla="*/ 8516 h 18408"/>
                  <a:gd name="connsiteX4" fmla="*/ 9832 w 18347"/>
                  <a:gd name="connsiteY4" fmla="*/ 2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8">
                    <a:moveTo>
                      <a:pt x="9832" y="24"/>
                    </a:moveTo>
                    <a:cubicBezTo>
                      <a:pt x="14855" y="382"/>
                      <a:pt x="18683" y="4808"/>
                      <a:pt x="18324" y="9892"/>
                    </a:cubicBezTo>
                    <a:cubicBezTo>
                      <a:pt x="17965" y="14975"/>
                      <a:pt x="13600" y="18743"/>
                      <a:pt x="8516" y="18384"/>
                    </a:cubicBezTo>
                    <a:cubicBezTo>
                      <a:pt x="3492" y="18026"/>
                      <a:pt x="-336" y="13600"/>
                      <a:pt x="23" y="8516"/>
                    </a:cubicBezTo>
                    <a:cubicBezTo>
                      <a:pt x="382" y="3433"/>
                      <a:pt x="4748" y="-335"/>
                      <a:pt x="9832" y="24"/>
                    </a:cubicBezTo>
                    <a:close/>
                  </a:path>
                </a:pathLst>
              </a:custGeom>
              <a:grpFill/>
              <a:ln w="5978" cap="flat">
                <a:noFill/>
                <a:prstDash val="solid"/>
                <a:miter/>
              </a:ln>
            </p:spPr>
            <p:txBody>
              <a:bodyPr rtlCol="0" anchor="ctr"/>
              <a:lstStyle/>
              <a:p>
                <a:endParaRPr lang="en-GB"/>
              </a:p>
            </p:txBody>
          </p:sp>
          <p:sp>
            <p:nvSpPr>
              <p:cNvPr id="1685" name="Vrije vorm: vorm 1684">
                <a:extLst>
                  <a:ext uri="{FF2B5EF4-FFF2-40B4-BE49-F238E27FC236}">
                    <a16:creationId xmlns:a16="http://schemas.microsoft.com/office/drawing/2014/main" id="{F747A794-52EF-4C32-9A9B-C97C24121438}"/>
                  </a:ext>
                </a:extLst>
              </p:cNvPr>
              <p:cNvSpPr/>
              <p:nvPr/>
            </p:nvSpPr>
            <p:spPr>
              <a:xfrm>
                <a:off x="3938720" y="3411420"/>
                <a:ext cx="18347" cy="18407"/>
              </a:xfrm>
              <a:custGeom>
                <a:avLst/>
                <a:gdLst>
                  <a:gd name="connsiteX0" fmla="*/ 9832 w 18347"/>
                  <a:gd name="connsiteY0" fmla="*/ 24 h 18407"/>
                  <a:gd name="connsiteX1" fmla="*/ 23 w 18347"/>
                  <a:gd name="connsiteY1" fmla="*/ 8516 h 18407"/>
                  <a:gd name="connsiteX2" fmla="*/ 8516 w 18347"/>
                  <a:gd name="connsiteY2" fmla="*/ 18384 h 18407"/>
                  <a:gd name="connsiteX3" fmla="*/ 18324 w 18347"/>
                  <a:gd name="connsiteY3" fmla="*/ 9892 h 18407"/>
                  <a:gd name="connsiteX4" fmla="*/ 9832 w 18347"/>
                  <a:gd name="connsiteY4" fmla="*/ 2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9832" y="24"/>
                    </a:moveTo>
                    <a:cubicBezTo>
                      <a:pt x="4808" y="-335"/>
                      <a:pt x="382" y="3433"/>
                      <a:pt x="23" y="8516"/>
                    </a:cubicBezTo>
                    <a:cubicBezTo>
                      <a:pt x="-336" y="13600"/>
                      <a:pt x="3492" y="18025"/>
                      <a:pt x="8516" y="18384"/>
                    </a:cubicBezTo>
                    <a:cubicBezTo>
                      <a:pt x="13540" y="18743"/>
                      <a:pt x="17965" y="14975"/>
                      <a:pt x="18324" y="9892"/>
                    </a:cubicBezTo>
                    <a:cubicBezTo>
                      <a:pt x="18683" y="4808"/>
                      <a:pt x="14915" y="382"/>
                      <a:pt x="9832" y="24"/>
                    </a:cubicBezTo>
                    <a:close/>
                  </a:path>
                </a:pathLst>
              </a:custGeom>
              <a:grpFill/>
              <a:ln w="5978" cap="flat">
                <a:noFill/>
                <a:prstDash val="solid"/>
                <a:miter/>
              </a:ln>
            </p:spPr>
            <p:txBody>
              <a:bodyPr rtlCol="0" anchor="ctr"/>
              <a:lstStyle/>
              <a:p>
                <a:endParaRPr lang="en-GB"/>
              </a:p>
            </p:txBody>
          </p:sp>
        </p:grpSp>
        <p:grpSp>
          <p:nvGrpSpPr>
            <p:cNvPr id="1241" name="Graphic 3">
              <a:extLst>
                <a:ext uri="{FF2B5EF4-FFF2-40B4-BE49-F238E27FC236}">
                  <a16:creationId xmlns:a16="http://schemas.microsoft.com/office/drawing/2014/main" id="{A6C2577A-D742-40F2-9D32-C6D5B7530082}"/>
                </a:ext>
              </a:extLst>
            </p:cNvPr>
            <p:cNvGrpSpPr/>
            <p:nvPr/>
          </p:nvGrpSpPr>
          <p:grpSpPr>
            <a:xfrm>
              <a:off x="4591993" y="4913726"/>
              <a:ext cx="136469" cy="151701"/>
              <a:chOff x="4591993" y="4913726"/>
              <a:chExt cx="136469" cy="151701"/>
            </a:xfrm>
            <a:grpFill/>
          </p:grpSpPr>
          <p:sp>
            <p:nvSpPr>
              <p:cNvPr id="1680" name="Vrije vorm: vorm 1679">
                <a:extLst>
                  <a:ext uri="{FF2B5EF4-FFF2-40B4-BE49-F238E27FC236}">
                    <a16:creationId xmlns:a16="http://schemas.microsoft.com/office/drawing/2014/main" id="{897E57C6-6210-4655-91C3-92BEB92451F2}"/>
                  </a:ext>
                </a:extLst>
              </p:cNvPr>
              <p:cNvSpPr/>
              <p:nvPr/>
            </p:nvSpPr>
            <p:spPr>
              <a:xfrm>
                <a:off x="4599673" y="4921576"/>
                <a:ext cx="121109" cy="136001"/>
              </a:xfrm>
              <a:custGeom>
                <a:avLst/>
                <a:gdLst>
                  <a:gd name="connsiteX0" fmla="*/ 121110 w 121109"/>
                  <a:gd name="connsiteY0" fmla="*/ 2033 h 136001"/>
                  <a:gd name="connsiteX1" fmla="*/ 2273 w 121109"/>
                  <a:gd name="connsiteY1" fmla="*/ 136002 h 136001"/>
                  <a:gd name="connsiteX2" fmla="*/ 0 w 121109"/>
                  <a:gd name="connsiteY2" fmla="*/ 133908 h 136001"/>
                  <a:gd name="connsiteX3" fmla="*/ 118777 w 121109"/>
                  <a:gd name="connsiteY3" fmla="*/ 0 h 136001"/>
                </a:gdLst>
                <a:ahLst/>
                <a:cxnLst>
                  <a:cxn ang="0">
                    <a:pos x="connsiteX0" y="connsiteY0"/>
                  </a:cxn>
                  <a:cxn ang="0">
                    <a:pos x="connsiteX1" y="connsiteY1"/>
                  </a:cxn>
                  <a:cxn ang="0">
                    <a:pos x="connsiteX2" y="connsiteY2"/>
                  </a:cxn>
                  <a:cxn ang="0">
                    <a:pos x="connsiteX3" y="connsiteY3"/>
                  </a:cxn>
                </a:cxnLst>
                <a:rect l="l" t="t" r="r" b="b"/>
                <a:pathLst>
                  <a:path w="121109" h="136001">
                    <a:moveTo>
                      <a:pt x="121110" y="2033"/>
                    </a:moveTo>
                    <a:lnTo>
                      <a:pt x="2273" y="136002"/>
                    </a:lnTo>
                    <a:lnTo>
                      <a:pt x="0" y="133908"/>
                    </a:lnTo>
                    <a:lnTo>
                      <a:pt x="118777" y="0"/>
                    </a:lnTo>
                    <a:close/>
                  </a:path>
                </a:pathLst>
              </a:custGeom>
              <a:grpFill/>
              <a:ln w="5978" cap="flat">
                <a:noFill/>
                <a:prstDash val="solid"/>
                <a:miter/>
              </a:ln>
            </p:spPr>
            <p:txBody>
              <a:bodyPr rtlCol="0" anchor="ctr"/>
              <a:lstStyle/>
              <a:p>
                <a:endParaRPr lang="en-GB"/>
              </a:p>
            </p:txBody>
          </p:sp>
          <p:sp>
            <p:nvSpPr>
              <p:cNvPr id="1681" name="Vrije vorm: vorm 1680">
                <a:extLst>
                  <a:ext uri="{FF2B5EF4-FFF2-40B4-BE49-F238E27FC236}">
                    <a16:creationId xmlns:a16="http://schemas.microsoft.com/office/drawing/2014/main" id="{B6D417DD-344A-4A54-B17B-4AD8D569C584}"/>
                  </a:ext>
                </a:extLst>
              </p:cNvPr>
              <p:cNvSpPr/>
              <p:nvPr/>
            </p:nvSpPr>
            <p:spPr>
              <a:xfrm>
                <a:off x="4591993" y="5046976"/>
                <a:ext cx="18290" cy="18450"/>
              </a:xfrm>
              <a:custGeom>
                <a:avLst/>
                <a:gdLst>
                  <a:gd name="connsiteX0" fmla="*/ 15993 w 18290"/>
                  <a:gd name="connsiteY0" fmla="*/ 15386 h 18450"/>
                  <a:gd name="connsiteX1" fmla="*/ 3075 w 18290"/>
                  <a:gd name="connsiteY1" fmla="*/ 16103 h 18450"/>
                  <a:gd name="connsiteX2" fmla="*/ 2297 w 18290"/>
                  <a:gd name="connsiteY2" fmla="*/ 3065 h 18450"/>
                  <a:gd name="connsiteX3" fmla="*/ 15216 w 18290"/>
                  <a:gd name="connsiteY3" fmla="*/ 2348 h 18450"/>
                  <a:gd name="connsiteX4" fmla="*/ 15993 w 18290"/>
                  <a:gd name="connsiteY4" fmla="*/ 1538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50">
                    <a:moveTo>
                      <a:pt x="15993" y="15386"/>
                    </a:moveTo>
                    <a:cubicBezTo>
                      <a:pt x="12644" y="19153"/>
                      <a:pt x="6843" y="19512"/>
                      <a:pt x="3075" y="16103"/>
                    </a:cubicBezTo>
                    <a:cubicBezTo>
                      <a:pt x="-693" y="12694"/>
                      <a:pt x="-1052" y="6893"/>
                      <a:pt x="2297" y="3065"/>
                    </a:cubicBezTo>
                    <a:cubicBezTo>
                      <a:pt x="5646" y="-703"/>
                      <a:pt x="11448" y="-1061"/>
                      <a:pt x="15216" y="2348"/>
                    </a:cubicBezTo>
                    <a:cubicBezTo>
                      <a:pt x="18984" y="5757"/>
                      <a:pt x="19342" y="11558"/>
                      <a:pt x="15993" y="15386"/>
                    </a:cubicBezTo>
                    <a:close/>
                  </a:path>
                </a:pathLst>
              </a:custGeom>
              <a:grpFill/>
              <a:ln w="5978" cap="flat">
                <a:noFill/>
                <a:prstDash val="solid"/>
                <a:miter/>
              </a:ln>
            </p:spPr>
            <p:txBody>
              <a:bodyPr rtlCol="0" anchor="ctr"/>
              <a:lstStyle/>
              <a:p>
                <a:endParaRPr lang="en-GB"/>
              </a:p>
            </p:txBody>
          </p:sp>
          <p:sp>
            <p:nvSpPr>
              <p:cNvPr id="1682" name="Vrije vorm: vorm 1681">
                <a:extLst>
                  <a:ext uri="{FF2B5EF4-FFF2-40B4-BE49-F238E27FC236}">
                    <a16:creationId xmlns:a16="http://schemas.microsoft.com/office/drawing/2014/main" id="{1197A5E1-1B33-44E6-B065-FB014451578E}"/>
                  </a:ext>
                </a:extLst>
              </p:cNvPr>
              <p:cNvSpPr/>
              <p:nvPr/>
            </p:nvSpPr>
            <p:spPr>
              <a:xfrm>
                <a:off x="4710172" y="4913726"/>
                <a:ext cx="18290" cy="18426"/>
              </a:xfrm>
              <a:custGeom>
                <a:avLst/>
                <a:gdLst>
                  <a:gd name="connsiteX0" fmla="*/ 15993 w 18290"/>
                  <a:gd name="connsiteY0" fmla="*/ 15386 h 18426"/>
                  <a:gd name="connsiteX1" fmla="*/ 15216 w 18290"/>
                  <a:gd name="connsiteY1" fmla="*/ 2348 h 18426"/>
                  <a:gd name="connsiteX2" fmla="*/ 2297 w 18290"/>
                  <a:gd name="connsiteY2" fmla="*/ 3065 h 18426"/>
                  <a:gd name="connsiteX3" fmla="*/ 3075 w 18290"/>
                  <a:gd name="connsiteY3" fmla="*/ 16103 h 18426"/>
                  <a:gd name="connsiteX4" fmla="*/ 15993 w 18290"/>
                  <a:gd name="connsiteY4" fmla="*/ 15386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26">
                    <a:moveTo>
                      <a:pt x="15993" y="15386"/>
                    </a:moveTo>
                    <a:cubicBezTo>
                      <a:pt x="19342" y="11618"/>
                      <a:pt x="18984" y="5756"/>
                      <a:pt x="15216" y="2348"/>
                    </a:cubicBezTo>
                    <a:cubicBezTo>
                      <a:pt x="11448" y="-1061"/>
                      <a:pt x="5646" y="-703"/>
                      <a:pt x="2297" y="3065"/>
                    </a:cubicBezTo>
                    <a:cubicBezTo>
                      <a:pt x="-1052" y="6833"/>
                      <a:pt x="-693" y="12694"/>
                      <a:pt x="3075" y="16103"/>
                    </a:cubicBezTo>
                    <a:cubicBezTo>
                      <a:pt x="6843" y="19452"/>
                      <a:pt x="12644" y="19153"/>
                      <a:pt x="15993" y="15386"/>
                    </a:cubicBezTo>
                    <a:close/>
                  </a:path>
                </a:pathLst>
              </a:custGeom>
              <a:grpFill/>
              <a:ln w="5978" cap="flat">
                <a:noFill/>
                <a:prstDash val="solid"/>
                <a:miter/>
              </a:ln>
            </p:spPr>
            <p:txBody>
              <a:bodyPr rtlCol="0" anchor="ctr"/>
              <a:lstStyle/>
              <a:p>
                <a:endParaRPr lang="en-GB"/>
              </a:p>
            </p:txBody>
          </p:sp>
        </p:grpSp>
        <p:grpSp>
          <p:nvGrpSpPr>
            <p:cNvPr id="1242" name="Graphic 3">
              <a:extLst>
                <a:ext uri="{FF2B5EF4-FFF2-40B4-BE49-F238E27FC236}">
                  <a16:creationId xmlns:a16="http://schemas.microsoft.com/office/drawing/2014/main" id="{EF7BFB51-C122-45CC-A6B9-5887C5E1DA81}"/>
                </a:ext>
              </a:extLst>
            </p:cNvPr>
            <p:cNvGrpSpPr/>
            <p:nvPr/>
          </p:nvGrpSpPr>
          <p:grpSpPr>
            <a:xfrm>
              <a:off x="4302852" y="3976026"/>
              <a:ext cx="48319" cy="28402"/>
              <a:chOff x="4302852" y="3976026"/>
              <a:chExt cx="48319" cy="28402"/>
            </a:xfrm>
            <a:grpFill/>
          </p:grpSpPr>
          <p:sp>
            <p:nvSpPr>
              <p:cNvPr id="1677" name="Vrije vorm: vorm 1676">
                <a:extLst>
                  <a:ext uri="{FF2B5EF4-FFF2-40B4-BE49-F238E27FC236}">
                    <a16:creationId xmlns:a16="http://schemas.microsoft.com/office/drawing/2014/main" id="{22A13521-C374-45EB-9B32-551B71CDADFE}"/>
                  </a:ext>
                </a:extLst>
              </p:cNvPr>
              <p:cNvSpPr/>
              <p:nvPr/>
            </p:nvSpPr>
            <p:spPr>
              <a:xfrm>
                <a:off x="4311271" y="3983852"/>
                <a:ext cx="31781" cy="13137"/>
              </a:xfrm>
              <a:custGeom>
                <a:avLst/>
                <a:gdLst>
                  <a:gd name="connsiteX0" fmla="*/ 0 w 31781"/>
                  <a:gd name="connsiteY0" fmla="*/ 10243 h 13137"/>
                  <a:gd name="connsiteX1" fmla="*/ 30819 w 31781"/>
                  <a:gd name="connsiteY1" fmla="*/ 0 h 13137"/>
                  <a:gd name="connsiteX2" fmla="*/ 31781 w 31781"/>
                  <a:gd name="connsiteY2" fmla="*/ 2895 h 13137"/>
                  <a:gd name="connsiteX3" fmla="*/ 962 w 31781"/>
                  <a:gd name="connsiteY3" fmla="*/ 13138 h 13137"/>
                </a:gdLst>
                <a:ahLst/>
                <a:cxnLst>
                  <a:cxn ang="0">
                    <a:pos x="connsiteX0" y="connsiteY0"/>
                  </a:cxn>
                  <a:cxn ang="0">
                    <a:pos x="connsiteX1" y="connsiteY1"/>
                  </a:cxn>
                  <a:cxn ang="0">
                    <a:pos x="connsiteX2" y="connsiteY2"/>
                  </a:cxn>
                  <a:cxn ang="0">
                    <a:pos x="connsiteX3" y="connsiteY3"/>
                  </a:cxn>
                </a:cxnLst>
                <a:rect l="l" t="t" r="r" b="b"/>
                <a:pathLst>
                  <a:path w="31781" h="13137">
                    <a:moveTo>
                      <a:pt x="0" y="10243"/>
                    </a:moveTo>
                    <a:lnTo>
                      <a:pt x="30819" y="0"/>
                    </a:lnTo>
                    <a:lnTo>
                      <a:pt x="31781" y="2895"/>
                    </a:lnTo>
                    <a:lnTo>
                      <a:pt x="962" y="13138"/>
                    </a:lnTo>
                    <a:close/>
                  </a:path>
                </a:pathLst>
              </a:custGeom>
              <a:grpFill/>
              <a:ln w="5978" cap="flat">
                <a:noFill/>
                <a:prstDash val="solid"/>
                <a:miter/>
              </a:ln>
            </p:spPr>
            <p:txBody>
              <a:bodyPr rtlCol="0" anchor="ctr"/>
              <a:lstStyle/>
              <a:p>
                <a:endParaRPr lang="en-GB"/>
              </a:p>
            </p:txBody>
          </p:sp>
          <p:sp>
            <p:nvSpPr>
              <p:cNvPr id="1678" name="Vrije vorm: vorm 1677">
                <a:extLst>
                  <a:ext uri="{FF2B5EF4-FFF2-40B4-BE49-F238E27FC236}">
                    <a16:creationId xmlns:a16="http://schemas.microsoft.com/office/drawing/2014/main" id="{11FFCE8B-FE31-4545-BC05-952B5A3688F8}"/>
                  </a:ext>
                </a:extLst>
              </p:cNvPr>
              <p:cNvSpPr/>
              <p:nvPr/>
            </p:nvSpPr>
            <p:spPr>
              <a:xfrm>
                <a:off x="4332839" y="3976026"/>
                <a:ext cx="18333" cy="18474"/>
              </a:xfrm>
              <a:custGeom>
                <a:avLst/>
                <a:gdLst>
                  <a:gd name="connsiteX0" fmla="*/ 6254 w 18333"/>
                  <a:gd name="connsiteY0" fmla="*/ 476 h 18474"/>
                  <a:gd name="connsiteX1" fmla="*/ 17857 w 18333"/>
                  <a:gd name="connsiteY1" fmla="*/ 6337 h 18474"/>
                  <a:gd name="connsiteX2" fmla="*/ 12056 w 18333"/>
                  <a:gd name="connsiteY2" fmla="*/ 17999 h 18474"/>
                  <a:gd name="connsiteX3" fmla="*/ 453 w 18333"/>
                  <a:gd name="connsiteY3" fmla="*/ 12138 h 18474"/>
                  <a:gd name="connsiteX4" fmla="*/ 6254 w 18333"/>
                  <a:gd name="connsiteY4" fmla="*/ 476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74">
                    <a:moveTo>
                      <a:pt x="6254" y="476"/>
                    </a:moveTo>
                    <a:cubicBezTo>
                      <a:pt x="11039" y="-1139"/>
                      <a:pt x="16242" y="1492"/>
                      <a:pt x="17857" y="6337"/>
                    </a:cubicBezTo>
                    <a:cubicBezTo>
                      <a:pt x="19472" y="11181"/>
                      <a:pt x="16840" y="16385"/>
                      <a:pt x="12056" y="17999"/>
                    </a:cubicBezTo>
                    <a:cubicBezTo>
                      <a:pt x="7271" y="19614"/>
                      <a:pt x="2068" y="16982"/>
                      <a:pt x="453" y="12138"/>
                    </a:cubicBezTo>
                    <a:cubicBezTo>
                      <a:pt x="-1102" y="7294"/>
                      <a:pt x="1470" y="2091"/>
                      <a:pt x="6254" y="476"/>
                    </a:cubicBezTo>
                    <a:close/>
                  </a:path>
                </a:pathLst>
              </a:custGeom>
              <a:grpFill/>
              <a:ln w="5978" cap="flat">
                <a:noFill/>
                <a:prstDash val="solid"/>
                <a:miter/>
              </a:ln>
            </p:spPr>
            <p:txBody>
              <a:bodyPr rtlCol="0" anchor="ctr"/>
              <a:lstStyle/>
              <a:p>
                <a:endParaRPr lang="en-GB"/>
              </a:p>
            </p:txBody>
          </p:sp>
          <p:sp>
            <p:nvSpPr>
              <p:cNvPr id="1679" name="Vrije vorm: vorm 1678">
                <a:extLst>
                  <a:ext uri="{FF2B5EF4-FFF2-40B4-BE49-F238E27FC236}">
                    <a16:creationId xmlns:a16="http://schemas.microsoft.com/office/drawing/2014/main" id="{6562D332-1BD1-4286-BC93-4AE7AF87C612}"/>
                  </a:ext>
                </a:extLst>
              </p:cNvPr>
              <p:cNvSpPr/>
              <p:nvPr/>
            </p:nvSpPr>
            <p:spPr>
              <a:xfrm>
                <a:off x="4302852" y="3985983"/>
                <a:ext cx="18355" cy="18446"/>
              </a:xfrm>
              <a:custGeom>
                <a:avLst/>
                <a:gdLst>
                  <a:gd name="connsiteX0" fmla="*/ 6277 w 18355"/>
                  <a:gd name="connsiteY0" fmla="*/ 447 h 18446"/>
                  <a:gd name="connsiteX1" fmla="*/ 476 w 18355"/>
                  <a:gd name="connsiteY1" fmla="*/ 12109 h 18446"/>
                  <a:gd name="connsiteX2" fmla="*/ 12079 w 18355"/>
                  <a:gd name="connsiteY2" fmla="*/ 17971 h 18446"/>
                  <a:gd name="connsiteX3" fmla="*/ 17880 w 18355"/>
                  <a:gd name="connsiteY3" fmla="*/ 6308 h 18446"/>
                  <a:gd name="connsiteX4" fmla="*/ 6277 w 18355"/>
                  <a:gd name="connsiteY4" fmla="*/ 447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46">
                    <a:moveTo>
                      <a:pt x="6277" y="447"/>
                    </a:moveTo>
                    <a:cubicBezTo>
                      <a:pt x="1493" y="2062"/>
                      <a:pt x="-1139" y="7265"/>
                      <a:pt x="476" y="12109"/>
                    </a:cubicBezTo>
                    <a:cubicBezTo>
                      <a:pt x="2091" y="16954"/>
                      <a:pt x="7294" y="19585"/>
                      <a:pt x="12079" y="17971"/>
                    </a:cubicBezTo>
                    <a:cubicBezTo>
                      <a:pt x="16863" y="16356"/>
                      <a:pt x="19495" y="11153"/>
                      <a:pt x="17880" y="6308"/>
                    </a:cubicBezTo>
                    <a:cubicBezTo>
                      <a:pt x="16265" y="1524"/>
                      <a:pt x="11062" y="-1108"/>
                      <a:pt x="6277" y="447"/>
                    </a:cubicBezTo>
                    <a:close/>
                  </a:path>
                </a:pathLst>
              </a:custGeom>
              <a:grpFill/>
              <a:ln w="5978" cap="flat">
                <a:noFill/>
                <a:prstDash val="solid"/>
                <a:miter/>
              </a:ln>
            </p:spPr>
            <p:txBody>
              <a:bodyPr rtlCol="0" anchor="ctr"/>
              <a:lstStyle/>
              <a:p>
                <a:endParaRPr lang="en-GB"/>
              </a:p>
            </p:txBody>
          </p:sp>
        </p:grpSp>
        <p:grpSp>
          <p:nvGrpSpPr>
            <p:cNvPr id="1243" name="Graphic 3">
              <a:extLst>
                <a:ext uri="{FF2B5EF4-FFF2-40B4-BE49-F238E27FC236}">
                  <a16:creationId xmlns:a16="http://schemas.microsoft.com/office/drawing/2014/main" id="{3841AF03-3936-4505-88F4-7959F8410DE3}"/>
                </a:ext>
              </a:extLst>
            </p:cNvPr>
            <p:cNvGrpSpPr/>
            <p:nvPr/>
          </p:nvGrpSpPr>
          <p:grpSpPr>
            <a:xfrm>
              <a:off x="4584347" y="4874321"/>
              <a:ext cx="129214" cy="138766"/>
              <a:chOff x="4584347" y="4874321"/>
              <a:chExt cx="129214" cy="138766"/>
            </a:xfrm>
            <a:grpFill/>
          </p:grpSpPr>
          <p:sp>
            <p:nvSpPr>
              <p:cNvPr id="1674" name="Vrije vorm: vorm 1673">
                <a:extLst>
                  <a:ext uri="{FF2B5EF4-FFF2-40B4-BE49-F238E27FC236}">
                    <a16:creationId xmlns:a16="http://schemas.microsoft.com/office/drawing/2014/main" id="{E81416B9-0856-46AC-98B0-67745078BFA2}"/>
                  </a:ext>
                </a:extLst>
              </p:cNvPr>
              <p:cNvSpPr/>
              <p:nvPr/>
            </p:nvSpPr>
            <p:spPr>
              <a:xfrm>
                <a:off x="4592137" y="4882163"/>
                <a:ext cx="113693" cy="123143"/>
              </a:xfrm>
              <a:custGeom>
                <a:avLst/>
                <a:gdLst>
                  <a:gd name="connsiteX0" fmla="*/ 113694 w 113693"/>
                  <a:gd name="connsiteY0" fmla="*/ 2093 h 123143"/>
                  <a:gd name="connsiteX1" fmla="*/ 2213 w 113693"/>
                  <a:gd name="connsiteY1" fmla="*/ 123143 h 123143"/>
                  <a:gd name="connsiteX2" fmla="*/ 0 w 113693"/>
                  <a:gd name="connsiteY2" fmla="*/ 121050 h 123143"/>
                  <a:gd name="connsiteX3" fmla="*/ 111421 w 113693"/>
                  <a:gd name="connsiteY3" fmla="*/ 0 h 123143"/>
                </a:gdLst>
                <a:ahLst/>
                <a:cxnLst>
                  <a:cxn ang="0">
                    <a:pos x="connsiteX0" y="connsiteY0"/>
                  </a:cxn>
                  <a:cxn ang="0">
                    <a:pos x="connsiteX1" y="connsiteY1"/>
                  </a:cxn>
                  <a:cxn ang="0">
                    <a:pos x="connsiteX2" y="connsiteY2"/>
                  </a:cxn>
                  <a:cxn ang="0">
                    <a:pos x="connsiteX3" y="connsiteY3"/>
                  </a:cxn>
                </a:cxnLst>
                <a:rect l="l" t="t" r="r" b="b"/>
                <a:pathLst>
                  <a:path w="113693" h="123143">
                    <a:moveTo>
                      <a:pt x="113694" y="2093"/>
                    </a:moveTo>
                    <a:lnTo>
                      <a:pt x="2213" y="123143"/>
                    </a:lnTo>
                    <a:lnTo>
                      <a:pt x="0" y="121050"/>
                    </a:lnTo>
                    <a:lnTo>
                      <a:pt x="111421" y="0"/>
                    </a:lnTo>
                    <a:close/>
                  </a:path>
                </a:pathLst>
              </a:custGeom>
              <a:grpFill/>
              <a:ln w="5978" cap="flat">
                <a:noFill/>
                <a:prstDash val="solid"/>
                <a:miter/>
              </a:ln>
            </p:spPr>
            <p:txBody>
              <a:bodyPr rtlCol="0" anchor="ctr"/>
              <a:lstStyle/>
              <a:p>
                <a:endParaRPr lang="en-GB"/>
              </a:p>
            </p:txBody>
          </p:sp>
          <p:sp>
            <p:nvSpPr>
              <p:cNvPr id="1675" name="Vrije vorm: vorm 1674">
                <a:extLst>
                  <a:ext uri="{FF2B5EF4-FFF2-40B4-BE49-F238E27FC236}">
                    <a16:creationId xmlns:a16="http://schemas.microsoft.com/office/drawing/2014/main" id="{65C1BAFC-A532-4C9C-A31D-ECC8820A8F87}"/>
                  </a:ext>
                </a:extLst>
              </p:cNvPr>
              <p:cNvSpPr/>
              <p:nvPr/>
            </p:nvSpPr>
            <p:spPr>
              <a:xfrm>
                <a:off x="4584347" y="4994653"/>
                <a:ext cx="18376" cy="18434"/>
              </a:xfrm>
              <a:custGeom>
                <a:avLst/>
                <a:gdLst>
                  <a:gd name="connsiteX0" fmla="*/ 15924 w 18376"/>
                  <a:gd name="connsiteY0" fmla="*/ 15497 h 18434"/>
                  <a:gd name="connsiteX1" fmla="*/ 2946 w 18376"/>
                  <a:gd name="connsiteY1" fmla="*/ 15975 h 18434"/>
                  <a:gd name="connsiteX2" fmla="*/ 2408 w 18376"/>
                  <a:gd name="connsiteY2" fmla="*/ 2937 h 18434"/>
                  <a:gd name="connsiteX3" fmla="*/ 15386 w 18376"/>
                  <a:gd name="connsiteY3" fmla="*/ 2459 h 18434"/>
                  <a:gd name="connsiteX4" fmla="*/ 15924 w 18376"/>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4">
                    <a:moveTo>
                      <a:pt x="15924" y="15497"/>
                    </a:moveTo>
                    <a:cubicBezTo>
                      <a:pt x="12515" y="19205"/>
                      <a:pt x="6714" y="19444"/>
                      <a:pt x="2946" y="15975"/>
                    </a:cubicBezTo>
                    <a:cubicBezTo>
                      <a:pt x="-762" y="12507"/>
                      <a:pt x="-1001" y="6705"/>
                      <a:pt x="2408" y="2937"/>
                    </a:cubicBezTo>
                    <a:cubicBezTo>
                      <a:pt x="5817" y="-771"/>
                      <a:pt x="11618" y="-1010"/>
                      <a:pt x="15386" y="2459"/>
                    </a:cubicBezTo>
                    <a:cubicBezTo>
                      <a:pt x="19154" y="5987"/>
                      <a:pt x="19393" y="11789"/>
                      <a:pt x="15924" y="15497"/>
                    </a:cubicBezTo>
                    <a:close/>
                  </a:path>
                </a:pathLst>
              </a:custGeom>
              <a:grpFill/>
              <a:ln w="5978" cap="flat">
                <a:noFill/>
                <a:prstDash val="solid"/>
                <a:miter/>
              </a:ln>
            </p:spPr>
            <p:txBody>
              <a:bodyPr rtlCol="0" anchor="ctr"/>
              <a:lstStyle/>
              <a:p>
                <a:endParaRPr lang="en-GB"/>
              </a:p>
            </p:txBody>
          </p:sp>
          <p:sp>
            <p:nvSpPr>
              <p:cNvPr id="1676" name="Vrije vorm: vorm 1675">
                <a:extLst>
                  <a:ext uri="{FF2B5EF4-FFF2-40B4-BE49-F238E27FC236}">
                    <a16:creationId xmlns:a16="http://schemas.microsoft.com/office/drawing/2014/main" id="{B829B371-F2F6-48F0-9118-63E464E895F9}"/>
                  </a:ext>
                </a:extLst>
              </p:cNvPr>
              <p:cNvSpPr/>
              <p:nvPr/>
            </p:nvSpPr>
            <p:spPr>
              <a:xfrm>
                <a:off x="4695229" y="4874321"/>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7" y="-771"/>
                      <a:pt x="2408" y="2937"/>
                    </a:cubicBezTo>
                    <a:cubicBezTo>
                      <a:pt x="-1001" y="6645"/>
                      <a:pt x="-762" y="12507"/>
                      <a:pt x="2946" y="15975"/>
                    </a:cubicBezTo>
                    <a:cubicBezTo>
                      <a:pt x="6654" y="19444"/>
                      <a:pt x="12455" y="19205"/>
                      <a:pt x="15924" y="15497"/>
                    </a:cubicBezTo>
                    <a:close/>
                  </a:path>
                </a:pathLst>
              </a:custGeom>
              <a:grpFill/>
              <a:ln w="5978" cap="flat">
                <a:noFill/>
                <a:prstDash val="solid"/>
                <a:miter/>
              </a:ln>
            </p:spPr>
            <p:txBody>
              <a:bodyPr rtlCol="0" anchor="ctr"/>
              <a:lstStyle/>
              <a:p>
                <a:endParaRPr lang="en-GB"/>
              </a:p>
            </p:txBody>
          </p:sp>
        </p:grpSp>
        <p:grpSp>
          <p:nvGrpSpPr>
            <p:cNvPr id="1244" name="Graphic 3">
              <a:extLst>
                <a:ext uri="{FF2B5EF4-FFF2-40B4-BE49-F238E27FC236}">
                  <a16:creationId xmlns:a16="http://schemas.microsoft.com/office/drawing/2014/main" id="{2CB3753D-FF08-46BE-952B-E600E9B6BF3D}"/>
                </a:ext>
              </a:extLst>
            </p:cNvPr>
            <p:cNvGrpSpPr/>
            <p:nvPr/>
          </p:nvGrpSpPr>
          <p:grpSpPr>
            <a:xfrm>
              <a:off x="3856562" y="3122078"/>
              <a:ext cx="372862" cy="64747"/>
              <a:chOff x="3856562" y="3122078"/>
              <a:chExt cx="372862" cy="64747"/>
            </a:xfrm>
            <a:grpFill/>
          </p:grpSpPr>
          <p:sp>
            <p:nvSpPr>
              <p:cNvPr id="1671" name="Vrije vorm: vorm 1670">
                <a:extLst>
                  <a:ext uri="{FF2B5EF4-FFF2-40B4-BE49-F238E27FC236}">
                    <a16:creationId xmlns:a16="http://schemas.microsoft.com/office/drawing/2014/main" id="{E6CF3742-EACE-45E2-B230-870E9D5CD3A7}"/>
                  </a:ext>
                </a:extLst>
              </p:cNvPr>
              <p:cNvSpPr/>
              <p:nvPr/>
            </p:nvSpPr>
            <p:spPr>
              <a:xfrm>
                <a:off x="3865061" y="3129752"/>
                <a:ext cx="355793" cy="49400"/>
              </a:xfrm>
              <a:custGeom>
                <a:avLst/>
                <a:gdLst>
                  <a:gd name="connsiteX0" fmla="*/ 355793 w 355793"/>
                  <a:gd name="connsiteY0" fmla="*/ 46410 h 49400"/>
                  <a:gd name="connsiteX1" fmla="*/ 355434 w 355793"/>
                  <a:gd name="connsiteY1" fmla="*/ 49401 h 49400"/>
                  <a:gd name="connsiteX2" fmla="*/ 0 w 355793"/>
                  <a:gd name="connsiteY2" fmla="*/ 3050 h 49400"/>
                  <a:gd name="connsiteX3" fmla="*/ 359 w 355793"/>
                  <a:gd name="connsiteY3" fmla="*/ 0 h 49400"/>
                </a:gdLst>
                <a:ahLst/>
                <a:cxnLst>
                  <a:cxn ang="0">
                    <a:pos x="connsiteX0" y="connsiteY0"/>
                  </a:cxn>
                  <a:cxn ang="0">
                    <a:pos x="connsiteX1" y="connsiteY1"/>
                  </a:cxn>
                  <a:cxn ang="0">
                    <a:pos x="connsiteX2" y="connsiteY2"/>
                  </a:cxn>
                  <a:cxn ang="0">
                    <a:pos x="connsiteX3" y="connsiteY3"/>
                  </a:cxn>
                </a:cxnLst>
                <a:rect l="l" t="t" r="r" b="b"/>
                <a:pathLst>
                  <a:path w="355793" h="49400">
                    <a:moveTo>
                      <a:pt x="355793" y="46410"/>
                    </a:moveTo>
                    <a:lnTo>
                      <a:pt x="355434" y="49401"/>
                    </a:lnTo>
                    <a:lnTo>
                      <a:pt x="0" y="3050"/>
                    </a:lnTo>
                    <a:lnTo>
                      <a:pt x="359" y="0"/>
                    </a:lnTo>
                    <a:close/>
                  </a:path>
                </a:pathLst>
              </a:custGeom>
              <a:grpFill/>
              <a:ln w="5978" cap="flat">
                <a:noFill/>
                <a:prstDash val="solid"/>
                <a:miter/>
              </a:ln>
            </p:spPr>
            <p:txBody>
              <a:bodyPr rtlCol="0" anchor="ctr"/>
              <a:lstStyle/>
              <a:p>
                <a:endParaRPr lang="en-GB"/>
              </a:p>
            </p:txBody>
          </p:sp>
          <p:sp>
            <p:nvSpPr>
              <p:cNvPr id="1672" name="Vrije vorm: vorm 1671">
                <a:extLst>
                  <a:ext uri="{FF2B5EF4-FFF2-40B4-BE49-F238E27FC236}">
                    <a16:creationId xmlns:a16="http://schemas.microsoft.com/office/drawing/2014/main" id="{C644C4B1-AAA5-4484-AD4D-89DED1637C35}"/>
                  </a:ext>
                </a:extLst>
              </p:cNvPr>
              <p:cNvSpPr/>
              <p:nvPr/>
            </p:nvSpPr>
            <p:spPr>
              <a:xfrm>
                <a:off x="3856562" y="3122078"/>
                <a:ext cx="18325" cy="18457"/>
              </a:xfrm>
              <a:custGeom>
                <a:avLst/>
                <a:gdLst>
                  <a:gd name="connsiteX0" fmla="*/ 8020 w 18325"/>
                  <a:gd name="connsiteY0" fmla="*/ 18379 h 18457"/>
                  <a:gd name="connsiteX1" fmla="*/ 66 w 18325"/>
                  <a:gd name="connsiteY1" fmla="*/ 8032 h 18457"/>
                  <a:gd name="connsiteX2" fmla="*/ 10293 w 18325"/>
                  <a:gd name="connsiteY2" fmla="*/ 78 h 18457"/>
                  <a:gd name="connsiteX3" fmla="*/ 18247 w 18325"/>
                  <a:gd name="connsiteY3" fmla="*/ 10424 h 18457"/>
                  <a:gd name="connsiteX4" fmla="*/ 8020 w 18325"/>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7">
                    <a:moveTo>
                      <a:pt x="8020" y="18379"/>
                    </a:moveTo>
                    <a:cubicBezTo>
                      <a:pt x="2997" y="17721"/>
                      <a:pt x="-532" y="13116"/>
                      <a:pt x="66" y="8032"/>
                    </a:cubicBezTo>
                    <a:cubicBezTo>
                      <a:pt x="724" y="3008"/>
                      <a:pt x="5269" y="-580"/>
                      <a:pt x="10293" y="78"/>
                    </a:cubicBezTo>
                    <a:cubicBezTo>
                      <a:pt x="15317" y="736"/>
                      <a:pt x="18905" y="5341"/>
                      <a:pt x="18247" y="10424"/>
                    </a:cubicBezTo>
                    <a:cubicBezTo>
                      <a:pt x="17590" y="15508"/>
                      <a:pt x="13044" y="19037"/>
                      <a:pt x="8020" y="18379"/>
                    </a:cubicBezTo>
                    <a:close/>
                  </a:path>
                </a:pathLst>
              </a:custGeom>
              <a:grpFill/>
              <a:ln w="5978" cap="flat">
                <a:noFill/>
                <a:prstDash val="solid"/>
                <a:miter/>
              </a:ln>
            </p:spPr>
            <p:txBody>
              <a:bodyPr rtlCol="0" anchor="ctr"/>
              <a:lstStyle/>
              <a:p>
                <a:endParaRPr lang="en-GB"/>
              </a:p>
            </p:txBody>
          </p:sp>
          <p:sp>
            <p:nvSpPr>
              <p:cNvPr id="1673" name="Vrije vorm: vorm 1672">
                <a:extLst>
                  <a:ext uri="{FF2B5EF4-FFF2-40B4-BE49-F238E27FC236}">
                    <a16:creationId xmlns:a16="http://schemas.microsoft.com/office/drawing/2014/main" id="{595DEEA8-01BE-4334-9440-D45939C66B8F}"/>
                  </a:ext>
                </a:extLst>
              </p:cNvPr>
              <p:cNvSpPr/>
              <p:nvPr/>
            </p:nvSpPr>
            <p:spPr>
              <a:xfrm>
                <a:off x="4211087" y="3168369"/>
                <a:ext cx="18337" cy="18456"/>
              </a:xfrm>
              <a:custGeom>
                <a:avLst/>
                <a:gdLst>
                  <a:gd name="connsiteX0" fmla="*/ 8032 w 18337"/>
                  <a:gd name="connsiteY0" fmla="*/ 18379 h 18456"/>
                  <a:gd name="connsiteX1" fmla="*/ 18259 w 18337"/>
                  <a:gd name="connsiteY1" fmla="*/ 10424 h 18456"/>
                  <a:gd name="connsiteX2" fmla="*/ 10305 w 18337"/>
                  <a:gd name="connsiteY2" fmla="*/ 78 h 18456"/>
                  <a:gd name="connsiteX3" fmla="*/ 78 w 18337"/>
                  <a:gd name="connsiteY3" fmla="*/ 8032 h 18456"/>
                  <a:gd name="connsiteX4" fmla="*/ 8032 w 18337"/>
                  <a:gd name="connsiteY4" fmla="*/ 1837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6">
                    <a:moveTo>
                      <a:pt x="8032" y="18379"/>
                    </a:moveTo>
                    <a:cubicBezTo>
                      <a:pt x="13056" y="19037"/>
                      <a:pt x="17661" y="15448"/>
                      <a:pt x="18259" y="10424"/>
                    </a:cubicBezTo>
                    <a:cubicBezTo>
                      <a:pt x="18917" y="5401"/>
                      <a:pt x="15329" y="736"/>
                      <a:pt x="10305" y="78"/>
                    </a:cubicBezTo>
                    <a:cubicBezTo>
                      <a:pt x="5281" y="-580"/>
                      <a:pt x="676" y="3008"/>
                      <a:pt x="78" y="8032"/>
                    </a:cubicBezTo>
                    <a:cubicBezTo>
                      <a:pt x="-580" y="13116"/>
                      <a:pt x="3008" y="17721"/>
                      <a:pt x="8032" y="18379"/>
                    </a:cubicBezTo>
                    <a:close/>
                  </a:path>
                </a:pathLst>
              </a:custGeom>
              <a:grpFill/>
              <a:ln w="5978" cap="flat">
                <a:noFill/>
                <a:prstDash val="solid"/>
                <a:miter/>
              </a:ln>
            </p:spPr>
            <p:txBody>
              <a:bodyPr rtlCol="0" anchor="ctr"/>
              <a:lstStyle/>
              <a:p>
                <a:endParaRPr lang="en-GB"/>
              </a:p>
            </p:txBody>
          </p:sp>
        </p:grpSp>
        <p:grpSp>
          <p:nvGrpSpPr>
            <p:cNvPr id="1245" name="Graphic 3">
              <a:extLst>
                <a:ext uri="{FF2B5EF4-FFF2-40B4-BE49-F238E27FC236}">
                  <a16:creationId xmlns:a16="http://schemas.microsoft.com/office/drawing/2014/main" id="{E7536705-852D-4599-9A68-B3CC5C9F7A85}"/>
                </a:ext>
              </a:extLst>
            </p:cNvPr>
            <p:cNvGrpSpPr/>
            <p:nvPr/>
          </p:nvGrpSpPr>
          <p:grpSpPr>
            <a:xfrm>
              <a:off x="4502870" y="4590942"/>
              <a:ext cx="88405" cy="74753"/>
              <a:chOff x="4502870" y="4590942"/>
              <a:chExt cx="88405" cy="74753"/>
            </a:xfrm>
            <a:grpFill/>
          </p:grpSpPr>
          <p:sp>
            <p:nvSpPr>
              <p:cNvPr id="1668" name="Vrije vorm: vorm 1667">
                <a:extLst>
                  <a:ext uri="{FF2B5EF4-FFF2-40B4-BE49-F238E27FC236}">
                    <a16:creationId xmlns:a16="http://schemas.microsoft.com/office/drawing/2014/main" id="{A543670F-F779-4E1D-A6F2-8E269253590C}"/>
                  </a:ext>
                </a:extLst>
              </p:cNvPr>
              <p:cNvSpPr/>
              <p:nvPr/>
            </p:nvSpPr>
            <p:spPr>
              <a:xfrm>
                <a:off x="4510680" y="4598677"/>
                <a:ext cx="72725" cy="59268"/>
              </a:xfrm>
              <a:custGeom>
                <a:avLst/>
                <a:gdLst>
                  <a:gd name="connsiteX0" fmla="*/ 72725 w 72725"/>
                  <a:gd name="connsiteY0" fmla="*/ 2392 h 59268"/>
                  <a:gd name="connsiteX1" fmla="*/ 1914 w 72725"/>
                  <a:gd name="connsiteY1" fmla="*/ 59269 h 59268"/>
                  <a:gd name="connsiteX2" fmla="*/ 0 w 72725"/>
                  <a:gd name="connsiteY2" fmla="*/ 56877 h 59268"/>
                  <a:gd name="connsiteX3" fmla="*/ 70812 w 72725"/>
                  <a:gd name="connsiteY3" fmla="*/ 0 h 59268"/>
                </a:gdLst>
                <a:ahLst/>
                <a:cxnLst>
                  <a:cxn ang="0">
                    <a:pos x="connsiteX0" y="connsiteY0"/>
                  </a:cxn>
                  <a:cxn ang="0">
                    <a:pos x="connsiteX1" y="connsiteY1"/>
                  </a:cxn>
                  <a:cxn ang="0">
                    <a:pos x="connsiteX2" y="connsiteY2"/>
                  </a:cxn>
                  <a:cxn ang="0">
                    <a:pos x="connsiteX3" y="connsiteY3"/>
                  </a:cxn>
                </a:cxnLst>
                <a:rect l="l" t="t" r="r" b="b"/>
                <a:pathLst>
                  <a:path w="72725" h="59268">
                    <a:moveTo>
                      <a:pt x="72725" y="2392"/>
                    </a:moveTo>
                    <a:lnTo>
                      <a:pt x="1914" y="59269"/>
                    </a:lnTo>
                    <a:lnTo>
                      <a:pt x="0" y="56877"/>
                    </a:lnTo>
                    <a:lnTo>
                      <a:pt x="70812" y="0"/>
                    </a:lnTo>
                    <a:close/>
                  </a:path>
                </a:pathLst>
              </a:custGeom>
              <a:grpFill/>
              <a:ln w="5978" cap="flat">
                <a:noFill/>
                <a:prstDash val="solid"/>
                <a:miter/>
              </a:ln>
            </p:spPr>
            <p:txBody>
              <a:bodyPr rtlCol="0" anchor="ctr"/>
              <a:lstStyle/>
              <a:p>
                <a:endParaRPr lang="en-GB"/>
              </a:p>
            </p:txBody>
          </p:sp>
          <p:sp>
            <p:nvSpPr>
              <p:cNvPr id="1669" name="Vrije vorm: vorm 1668">
                <a:extLst>
                  <a:ext uri="{FF2B5EF4-FFF2-40B4-BE49-F238E27FC236}">
                    <a16:creationId xmlns:a16="http://schemas.microsoft.com/office/drawing/2014/main" id="{B7EC524D-D2BA-4464-B293-7346666C7CD1}"/>
                  </a:ext>
                </a:extLst>
              </p:cNvPr>
              <p:cNvSpPr/>
              <p:nvPr/>
            </p:nvSpPr>
            <p:spPr>
              <a:xfrm>
                <a:off x="4502870" y="4647329"/>
                <a:ext cx="18286" cy="18366"/>
              </a:xfrm>
              <a:custGeom>
                <a:avLst/>
                <a:gdLst>
                  <a:gd name="connsiteX0" fmla="*/ 14867 w 18286"/>
                  <a:gd name="connsiteY0" fmla="*/ 16358 h 18366"/>
                  <a:gd name="connsiteX1" fmla="*/ 2009 w 18286"/>
                  <a:gd name="connsiteY1" fmla="*/ 14923 h 18366"/>
                  <a:gd name="connsiteX2" fmla="*/ 3444 w 18286"/>
                  <a:gd name="connsiteY2" fmla="*/ 2004 h 18366"/>
                  <a:gd name="connsiteX3" fmla="*/ 16303 w 18286"/>
                  <a:gd name="connsiteY3" fmla="*/ 3499 h 18366"/>
                  <a:gd name="connsiteX4" fmla="*/ 14867 w 18286"/>
                  <a:gd name="connsiteY4" fmla="*/ 16358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366">
                    <a:moveTo>
                      <a:pt x="14867" y="16358"/>
                    </a:moveTo>
                    <a:cubicBezTo>
                      <a:pt x="10920" y="19527"/>
                      <a:pt x="5178" y="18870"/>
                      <a:pt x="2009" y="14923"/>
                    </a:cubicBezTo>
                    <a:cubicBezTo>
                      <a:pt x="-1161" y="10915"/>
                      <a:pt x="-503" y="5174"/>
                      <a:pt x="3444" y="2004"/>
                    </a:cubicBezTo>
                    <a:cubicBezTo>
                      <a:pt x="7391" y="-1166"/>
                      <a:pt x="13133" y="-508"/>
                      <a:pt x="16303" y="3499"/>
                    </a:cubicBezTo>
                    <a:cubicBezTo>
                      <a:pt x="19413" y="7387"/>
                      <a:pt x="18815" y="13188"/>
                      <a:pt x="14867" y="16358"/>
                    </a:cubicBezTo>
                    <a:close/>
                  </a:path>
                </a:pathLst>
              </a:custGeom>
              <a:grpFill/>
              <a:ln w="5978" cap="flat">
                <a:noFill/>
                <a:prstDash val="solid"/>
                <a:miter/>
              </a:ln>
            </p:spPr>
            <p:txBody>
              <a:bodyPr rtlCol="0" anchor="ctr"/>
              <a:lstStyle/>
              <a:p>
                <a:endParaRPr lang="en-GB"/>
              </a:p>
            </p:txBody>
          </p:sp>
          <p:sp>
            <p:nvSpPr>
              <p:cNvPr id="1670" name="Vrije vorm: vorm 1669">
                <a:extLst>
                  <a:ext uri="{FF2B5EF4-FFF2-40B4-BE49-F238E27FC236}">
                    <a16:creationId xmlns:a16="http://schemas.microsoft.com/office/drawing/2014/main" id="{B33C6BA6-7336-4A44-9E3C-C3359CA88110}"/>
                  </a:ext>
                </a:extLst>
              </p:cNvPr>
              <p:cNvSpPr/>
              <p:nvPr/>
            </p:nvSpPr>
            <p:spPr>
              <a:xfrm>
                <a:off x="4572964" y="4590942"/>
                <a:ext cx="18311" cy="18414"/>
              </a:xfrm>
              <a:custGeom>
                <a:avLst/>
                <a:gdLst>
                  <a:gd name="connsiteX0" fmla="*/ 14867 w 18311"/>
                  <a:gd name="connsiteY0" fmla="*/ 16406 h 18414"/>
                  <a:gd name="connsiteX1" fmla="*/ 16303 w 18311"/>
                  <a:gd name="connsiteY1" fmla="*/ 3488 h 18414"/>
                  <a:gd name="connsiteX2" fmla="*/ 3444 w 18311"/>
                  <a:gd name="connsiteY2" fmla="*/ 2053 h 18414"/>
                  <a:gd name="connsiteX3" fmla="*/ 2009 w 18311"/>
                  <a:gd name="connsiteY3" fmla="*/ 14971 h 18414"/>
                  <a:gd name="connsiteX4" fmla="*/ 14867 w 18311"/>
                  <a:gd name="connsiteY4" fmla="*/ 16406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4">
                    <a:moveTo>
                      <a:pt x="14867" y="16406"/>
                    </a:moveTo>
                    <a:cubicBezTo>
                      <a:pt x="18815" y="13236"/>
                      <a:pt x="19472" y="7435"/>
                      <a:pt x="16303" y="3488"/>
                    </a:cubicBezTo>
                    <a:cubicBezTo>
                      <a:pt x="13133" y="-519"/>
                      <a:pt x="7392" y="-1177"/>
                      <a:pt x="3444" y="2053"/>
                    </a:cubicBezTo>
                    <a:cubicBezTo>
                      <a:pt x="-503" y="5222"/>
                      <a:pt x="-1161" y="11024"/>
                      <a:pt x="2009" y="14971"/>
                    </a:cubicBezTo>
                    <a:cubicBezTo>
                      <a:pt x="5119" y="18918"/>
                      <a:pt x="10920" y="19576"/>
                      <a:pt x="14867" y="16406"/>
                    </a:cubicBezTo>
                    <a:close/>
                  </a:path>
                </a:pathLst>
              </a:custGeom>
              <a:grpFill/>
              <a:ln w="5978" cap="flat">
                <a:noFill/>
                <a:prstDash val="solid"/>
                <a:miter/>
              </a:ln>
            </p:spPr>
            <p:txBody>
              <a:bodyPr rtlCol="0" anchor="ctr"/>
              <a:lstStyle/>
              <a:p>
                <a:endParaRPr lang="en-GB"/>
              </a:p>
            </p:txBody>
          </p:sp>
        </p:grpSp>
        <p:grpSp>
          <p:nvGrpSpPr>
            <p:cNvPr id="1246" name="Graphic 3">
              <a:extLst>
                <a:ext uri="{FF2B5EF4-FFF2-40B4-BE49-F238E27FC236}">
                  <a16:creationId xmlns:a16="http://schemas.microsoft.com/office/drawing/2014/main" id="{C7165824-3CFD-4A45-B939-287E8A696844}"/>
                </a:ext>
              </a:extLst>
            </p:cNvPr>
            <p:cNvGrpSpPr/>
            <p:nvPr/>
          </p:nvGrpSpPr>
          <p:grpSpPr>
            <a:xfrm>
              <a:off x="4357483" y="4367179"/>
              <a:ext cx="251880" cy="172432"/>
              <a:chOff x="4357483" y="4367179"/>
              <a:chExt cx="251880" cy="172432"/>
            </a:xfrm>
            <a:grpFill/>
          </p:grpSpPr>
          <p:sp>
            <p:nvSpPr>
              <p:cNvPr id="1665" name="Vrije vorm: vorm 1664">
                <a:extLst>
                  <a:ext uri="{FF2B5EF4-FFF2-40B4-BE49-F238E27FC236}">
                    <a16:creationId xmlns:a16="http://schemas.microsoft.com/office/drawing/2014/main" id="{8E2C6405-7EA9-4920-A293-B6536FEAEC46}"/>
                  </a:ext>
                </a:extLst>
              </p:cNvPr>
              <p:cNvSpPr/>
              <p:nvPr/>
            </p:nvSpPr>
            <p:spPr>
              <a:xfrm>
                <a:off x="4365408" y="4374878"/>
                <a:ext cx="235999" cy="157053"/>
              </a:xfrm>
              <a:custGeom>
                <a:avLst/>
                <a:gdLst>
                  <a:gd name="connsiteX0" fmla="*/ 235999 w 235999"/>
                  <a:gd name="connsiteY0" fmla="*/ 2572 h 157053"/>
                  <a:gd name="connsiteX1" fmla="*/ 1674 w 235999"/>
                  <a:gd name="connsiteY1" fmla="*/ 157054 h 157053"/>
                  <a:gd name="connsiteX2" fmla="*/ 0 w 235999"/>
                  <a:gd name="connsiteY2" fmla="*/ 154482 h 157053"/>
                  <a:gd name="connsiteX3" fmla="*/ 234325 w 235999"/>
                  <a:gd name="connsiteY3" fmla="*/ 0 h 157053"/>
                </a:gdLst>
                <a:ahLst/>
                <a:cxnLst>
                  <a:cxn ang="0">
                    <a:pos x="connsiteX0" y="connsiteY0"/>
                  </a:cxn>
                  <a:cxn ang="0">
                    <a:pos x="connsiteX1" y="connsiteY1"/>
                  </a:cxn>
                  <a:cxn ang="0">
                    <a:pos x="connsiteX2" y="connsiteY2"/>
                  </a:cxn>
                  <a:cxn ang="0">
                    <a:pos x="connsiteX3" y="connsiteY3"/>
                  </a:cxn>
                </a:cxnLst>
                <a:rect l="l" t="t" r="r" b="b"/>
                <a:pathLst>
                  <a:path w="235999" h="157053">
                    <a:moveTo>
                      <a:pt x="235999" y="2572"/>
                    </a:moveTo>
                    <a:lnTo>
                      <a:pt x="1674" y="157054"/>
                    </a:lnTo>
                    <a:lnTo>
                      <a:pt x="0" y="154482"/>
                    </a:lnTo>
                    <a:lnTo>
                      <a:pt x="234325" y="0"/>
                    </a:lnTo>
                    <a:close/>
                  </a:path>
                </a:pathLst>
              </a:custGeom>
              <a:grpFill/>
              <a:ln w="5978" cap="flat">
                <a:noFill/>
                <a:prstDash val="solid"/>
                <a:miter/>
              </a:ln>
            </p:spPr>
            <p:txBody>
              <a:bodyPr rtlCol="0" anchor="ctr"/>
              <a:lstStyle/>
              <a:p>
                <a:endParaRPr lang="en-GB"/>
              </a:p>
            </p:txBody>
          </p:sp>
          <p:sp>
            <p:nvSpPr>
              <p:cNvPr id="1666" name="Vrije vorm: vorm 1665">
                <a:extLst>
                  <a:ext uri="{FF2B5EF4-FFF2-40B4-BE49-F238E27FC236}">
                    <a16:creationId xmlns:a16="http://schemas.microsoft.com/office/drawing/2014/main" id="{50178776-3D2C-4408-A878-BDF3533D11BD}"/>
                  </a:ext>
                </a:extLst>
              </p:cNvPr>
              <p:cNvSpPr/>
              <p:nvPr/>
            </p:nvSpPr>
            <p:spPr>
              <a:xfrm>
                <a:off x="4357483" y="4521142"/>
                <a:ext cx="18318" cy="18470"/>
              </a:xfrm>
              <a:custGeom>
                <a:avLst/>
                <a:gdLst>
                  <a:gd name="connsiteX0" fmla="*/ 14205 w 18318"/>
                  <a:gd name="connsiteY0" fmla="*/ 16950 h 18470"/>
                  <a:gd name="connsiteX1" fmla="*/ 1526 w 18318"/>
                  <a:gd name="connsiteY1" fmla="*/ 14259 h 18470"/>
                  <a:gd name="connsiteX2" fmla="*/ 4098 w 18318"/>
                  <a:gd name="connsiteY2" fmla="*/ 1520 h 18470"/>
                  <a:gd name="connsiteX3" fmla="*/ 16777 w 18318"/>
                  <a:gd name="connsiteY3" fmla="*/ 4211 h 18470"/>
                  <a:gd name="connsiteX4" fmla="*/ 14205 w 18318"/>
                  <a:gd name="connsiteY4" fmla="*/ 16950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0">
                    <a:moveTo>
                      <a:pt x="14205" y="16950"/>
                    </a:moveTo>
                    <a:cubicBezTo>
                      <a:pt x="9959" y="19761"/>
                      <a:pt x="4277" y="18565"/>
                      <a:pt x="1526" y="14259"/>
                    </a:cubicBezTo>
                    <a:cubicBezTo>
                      <a:pt x="-1285" y="10013"/>
                      <a:pt x="-89" y="4271"/>
                      <a:pt x="4098" y="1520"/>
                    </a:cubicBezTo>
                    <a:cubicBezTo>
                      <a:pt x="8344" y="-1291"/>
                      <a:pt x="14026" y="-95"/>
                      <a:pt x="16777" y="4211"/>
                    </a:cubicBezTo>
                    <a:cubicBezTo>
                      <a:pt x="19588" y="8458"/>
                      <a:pt x="18451" y="14199"/>
                      <a:pt x="14205" y="16950"/>
                    </a:cubicBezTo>
                    <a:close/>
                  </a:path>
                </a:pathLst>
              </a:custGeom>
              <a:grpFill/>
              <a:ln w="5978" cap="flat">
                <a:noFill/>
                <a:prstDash val="solid"/>
                <a:miter/>
              </a:ln>
            </p:spPr>
            <p:txBody>
              <a:bodyPr rtlCol="0" anchor="ctr"/>
              <a:lstStyle/>
              <a:p>
                <a:endParaRPr lang="en-GB"/>
              </a:p>
            </p:txBody>
          </p:sp>
          <p:sp>
            <p:nvSpPr>
              <p:cNvPr id="1667" name="Vrije vorm: vorm 1666">
                <a:extLst>
                  <a:ext uri="{FF2B5EF4-FFF2-40B4-BE49-F238E27FC236}">
                    <a16:creationId xmlns:a16="http://schemas.microsoft.com/office/drawing/2014/main" id="{8ED0E724-0049-4D69-BD01-D2B9B4C31A3B}"/>
                  </a:ext>
                </a:extLst>
              </p:cNvPr>
              <p:cNvSpPr/>
              <p:nvPr/>
            </p:nvSpPr>
            <p:spPr>
              <a:xfrm>
                <a:off x="4591074" y="4367179"/>
                <a:ext cx="18289" cy="18428"/>
              </a:xfrm>
              <a:custGeom>
                <a:avLst/>
                <a:gdLst>
                  <a:gd name="connsiteX0" fmla="*/ 14161 w 18289"/>
                  <a:gd name="connsiteY0" fmla="*/ 16909 h 18428"/>
                  <a:gd name="connsiteX1" fmla="*/ 16792 w 18289"/>
                  <a:gd name="connsiteY1" fmla="*/ 4170 h 18428"/>
                  <a:gd name="connsiteX2" fmla="*/ 4113 w 18289"/>
                  <a:gd name="connsiteY2" fmla="*/ 1479 h 18428"/>
                  <a:gd name="connsiteX3" fmla="*/ 1542 w 18289"/>
                  <a:gd name="connsiteY3" fmla="*/ 14218 h 18428"/>
                  <a:gd name="connsiteX4" fmla="*/ 14161 w 18289"/>
                  <a:gd name="connsiteY4" fmla="*/ 16909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28">
                    <a:moveTo>
                      <a:pt x="14161" y="16909"/>
                    </a:moveTo>
                    <a:cubicBezTo>
                      <a:pt x="18407" y="14098"/>
                      <a:pt x="19544" y="8416"/>
                      <a:pt x="16792" y="4170"/>
                    </a:cubicBezTo>
                    <a:cubicBezTo>
                      <a:pt x="13982" y="-76"/>
                      <a:pt x="8300" y="-1273"/>
                      <a:pt x="4113" y="1479"/>
                    </a:cubicBezTo>
                    <a:cubicBezTo>
                      <a:pt x="-133" y="4290"/>
                      <a:pt x="-1270" y="9971"/>
                      <a:pt x="1542" y="14218"/>
                    </a:cubicBezTo>
                    <a:cubicBezTo>
                      <a:pt x="4233" y="18523"/>
                      <a:pt x="9974" y="19720"/>
                      <a:pt x="14161" y="16909"/>
                    </a:cubicBezTo>
                    <a:close/>
                  </a:path>
                </a:pathLst>
              </a:custGeom>
              <a:grpFill/>
              <a:ln w="5978" cap="flat">
                <a:noFill/>
                <a:prstDash val="solid"/>
                <a:miter/>
              </a:ln>
            </p:spPr>
            <p:txBody>
              <a:bodyPr rtlCol="0" anchor="ctr"/>
              <a:lstStyle/>
              <a:p>
                <a:endParaRPr lang="en-GB"/>
              </a:p>
            </p:txBody>
          </p:sp>
        </p:grpSp>
        <p:grpSp>
          <p:nvGrpSpPr>
            <p:cNvPr id="1247" name="Graphic 3">
              <a:extLst>
                <a:ext uri="{FF2B5EF4-FFF2-40B4-BE49-F238E27FC236}">
                  <a16:creationId xmlns:a16="http://schemas.microsoft.com/office/drawing/2014/main" id="{76407262-9E00-416D-AEAE-036239C1060A}"/>
                </a:ext>
              </a:extLst>
            </p:cNvPr>
            <p:cNvGrpSpPr/>
            <p:nvPr/>
          </p:nvGrpSpPr>
          <p:grpSpPr>
            <a:xfrm>
              <a:off x="4295759" y="4334390"/>
              <a:ext cx="361687" cy="200252"/>
              <a:chOff x="4295759" y="4334390"/>
              <a:chExt cx="361687" cy="200252"/>
            </a:xfrm>
            <a:grpFill/>
          </p:grpSpPr>
          <p:sp>
            <p:nvSpPr>
              <p:cNvPr id="1662" name="Vrije vorm: vorm 1661">
                <a:extLst>
                  <a:ext uri="{FF2B5EF4-FFF2-40B4-BE49-F238E27FC236}">
                    <a16:creationId xmlns:a16="http://schemas.microsoft.com/office/drawing/2014/main" id="{F1AD7A78-5AE3-4728-B9D5-F36BE6C01AA7}"/>
                  </a:ext>
                </a:extLst>
              </p:cNvPr>
              <p:cNvSpPr/>
              <p:nvPr/>
            </p:nvSpPr>
            <p:spPr>
              <a:xfrm>
                <a:off x="4303807" y="4342104"/>
                <a:ext cx="345566" cy="184864"/>
              </a:xfrm>
              <a:custGeom>
                <a:avLst/>
                <a:gdLst>
                  <a:gd name="connsiteX0" fmla="*/ 345566 w 345566"/>
                  <a:gd name="connsiteY0" fmla="*/ 2691 h 184864"/>
                  <a:gd name="connsiteX1" fmla="*/ 1436 w 345566"/>
                  <a:gd name="connsiteY1" fmla="*/ 184864 h 184864"/>
                  <a:gd name="connsiteX2" fmla="*/ 0 w 345566"/>
                  <a:gd name="connsiteY2" fmla="*/ 182173 h 184864"/>
                  <a:gd name="connsiteX3" fmla="*/ 344131 w 345566"/>
                  <a:gd name="connsiteY3" fmla="*/ 0 h 184864"/>
                </a:gdLst>
                <a:ahLst/>
                <a:cxnLst>
                  <a:cxn ang="0">
                    <a:pos x="connsiteX0" y="connsiteY0"/>
                  </a:cxn>
                  <a:cxn ang="0">
                    <a:pos x="connsiteX1" y="connsiteY1"/>
                  </a:cxn>
                  <a:cxn ang="0">
                    <a:pos x="connsiteX2" y="connsiteY2"/>
                  </a:cxn>
                  <a:cxn ang="0">
                    <a:pos x="connsiteX3" y="connsiteY3"/>
                  </a:cxn>
                </a:cxnLst>
                <a:rect l="l" t="t" r="r" b="b"/>
                <a:pathLst>
                  <a:path w="345566" h="184864">
                    <a:moveTo>
                      <a:pt x="345566" y="2691"/>
                    </a:moveTo>
                    <a:lnTo>
                      <a:pt x="1436" y="184864"/>
                    </a:lnTo>
                    <a:lnTo>
                      <a:pt x="0" y="182173"/>
                    </a:lnTo>
                    <a:lnTo>
                      <a:pt x="344131" y="0"/>
                    </a:lnTo>
                    <a:close/>
                  </a:path>
                </a:pathLst>
              </a:custGeom>
              <a:grpFill/>
              <a:ln w="5978" cap="flat">
                <a:noFill/>
                <a:prstDash val="solid"/>
                <a:miter/>
              </a:ln>
            </p:spPr>
            <p:txBody>
              <a:bodyPr rtlCol="0" anchor="ctr"/>
              <a:lstStyle/>
              <a:p>
                <a:endParaRPr lang="en-GB"/>
              </a:p>
            </p:txBody>
          </p:sp>
          <p:sp>
            <p:nvSpPr>
              <p:cNvPr id="1663" name="Vrije vorm: vorm 1662">
                <a:extLst>
                  <a:ext uri="{FF2B5EF4-FFF2-40B4-BE49-F238E27FC236}">
                    <a16:creationId xmlns:a16="http://schemas.microsoft.com/office/drawing/2014/main" id="{C4FD3455-8B5A-40CA-960B-A920E3FE60D0}"/>
                  </a:ext>
                </a:extLst>
              </p:cNvPr>
              <p:cNvSpPr/>
              <p:nvPr/>
            </p:nvSpPr>
            <p:spPr>
              <a:xfrm>
                <a:off x="4639113" y="4334390"/>
                <a:ext cx="18333" cy="18476"/>
              </a:xfrm>
              <a:custGeom>
                <a:avLst/>
                <a:gdLst>
                  <a:gd name="connsiteX0" fmla="*/ 4877 w 18333"/>
                  <a:gd name="connsiteY0" fmla="*/ 1075 h 18476"/>
                  <a:gd name="connsiteX1" fmla="*/ 17258 w 18333"/>
                  <a:gd name="connsiteY1" fmla="*/ 4962 h 18476"/>
                  <a:gd name="connsiteX2" fmla="*/ 13430 w 18333"/>
                  <a:gd name="connsiteY2" fmla="*/ 17402 h 18476"/>
                  <a:gd name="connsiteX3" fmla="*/ 1050 w 18333"/>
                  <a:gd name="connsiteY3" fmla="*/ 13515 h 18476"/>
                  <a:gd name="connsiteX4" fmla="*/ 4877 w 18333"/>
                  <a:gd name="connsiteY4" fmla="*/ 1075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76">
                    <a:moveTo>
                      <a:pt x="4877" y="1075"/>
                    </a:moveTo>
                    <a:cubicBezTo>
                      <a:pt x="9363" y="-1318"/>
                      <a:pt x="14865" y="417"/>
                      <a:pt x="17258" y="4962"/>
                    </a:cubicBezTo>
                    <a:cubicBezTo>
                      <a:pt x="19650" y="9447"/>
                      <a:pt x="17915" y="15010"/>
                      <a:pt x="13430" y="17402"/>
                    </a:cubicBezTo>
                    <a:cubicBezTo>
                      <a:pt x="8944" y="19794"/>
                      <a:pt x="3382" y="18060"/>
                      <a:pt x="1050" y="13515"/>
                    </a:cubicBezTo>
                    <a:cubicBezTo>
                      <a:pt x="-1283" y="9029"/>
                      <a:pt x="392" y="3467"/>
                      <a:pt x="4877" y="1075"/>
                    </a:cubicBezTo>
                    <a:close/>
                  </a:path>
                </a:pathLst>
              </a:custGeom>
              <a:grpFill/>
              <a:ln w="5978" cap="flat">
                <a:noFill/>
                <a:prstDash val="solid"/>
                <a:miter/>
              </a:ln>
            </p:spPr>
            <p:txBody>
              <a:bodyPr rtlCol="0" anchor="ctr"/>
              <a:lstStyle/>
              <a:p>
                <a:endParaRPr lang="en-GB"/>
              </a:p>
            </p:txBody>
          </p:sp>
          <p:sp>
            <p:nvSpPr>
              <p:cNvPr id="1664" name="Vrije vorm: vorm 1663">
                <a:extLst>
                  <a:ext uri="{FF2B5EF4-FFF2-40B4-BE49-F238E27FC236}">
                    <a16:creationId xmlns:a16="http://schemas.microsoft.com/office/drawing/2014/main" id="{F5AE33DD-B177-4C16-B44D-CC3777218C3F}"/>
                  </a:ext>
                </a:extLst>
              </p:cNvPr>
              <p:cNvSpPr/>
              <p:nvPr/>
            </p:nvSpPr>
            <p:spPr>
              <a:xfrm>
                <a:off x="4295759" y="4516204"/>
                <a:ext cx="18307" cy="18438"/>
              </a:xfrm>
              <a:custGeom>
                <a:avLst/>
                <a:gdLst>
                  <a:gd name="connsiteX0" fmla="*/ 4878 w 18307"/>
                  <a:gd name="connsiteY0" fmla="*/ 1075 h 18438"/>
                  <a:gd name="connsiteX1" fmla="*/ 1050 w 18307"/>
                  <a:gd name="connsiteY1" fmla="*/ 13515 h 18438"/>
                  <a:gd name="connsiteX2" fmla="*/ 13430 w 18307"/>
                  <a:gd name="connsiteY2" fmla="*/ 17402 h 18438"/>
                  <a:gd name="connsiteX3" fmla="*/ 17258 w 18307"/>
                  <a:gd name="connsiteY3" fmla="*/ 4962 h 18438"/>
                  <a:gd name="connsiteX4" fmla="*/ 4878 w 18307"/>
                  <a:gd name="connsiteY4" fmla="*/ 1075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4878" y="1075"/>
                    </a:moveTo>
                    <a:cubicBezTo>
                      <a:pt x="392" y="3467"/>
                      <a:pt x="-1283" y="9029"/>
                      <a:pt x="1050" y="13515"/>
                    </a:cubicBezTo>
                    <a:cubicBezTo>
                      <a:pt x="3442" y="18000"/>
                      <a:pt x="8944" y="19735"/>
                      <a:pt x="13430" y="17402"/>
                    </a:cubicBezTo>
                    <a:cubicBezTo>
                      <a:pt x="17916" y="15010"/>
                      <a:pt x="19590" y="9448"/>
                      <a:pt x="17258" y="4962"/>
                    </a:cubicBezTo>
                    <a:cubicBezTo>
                      <a:pt x="14925" y="417"/>
                      <a:pt x="9363" y="-1318"/>
                      <a:pt x="4878" y="1075"/>
                    </a:cubicBezTo>
                    <a:close/>
                  </a:path>
                </a:pathLst>
              </a:custGeom>
              <a:grpFill/>
              <a:ln w="5978" cap="flat">
                <a:noFill/>
                <a:prstDash val="solid"/>
                <a:miter/>
              </a:ln>
            </p:spPr>
            <p:txBody>
              <a:bodyPr rtlCol="0" anchor="ctr"/>
              <a:lstStyle/>
              <a:p>
                <a:endParaRPr lang="en-GB"/>
              </a:p>
            </p:txBody>
          </p:sp>
        </p:grpSp>
        <p:grpSp>
          <p:nvGrpSpPr>
            <p:cNvPr id="1248" name="Graphic 3">
              <a:extLst>
                <a:ext uri="{FF2B5EF4-FFF2-40B4-BE49-F238E27FC236}">
                  <a16:creationId xmlns:a16="http://schemas.microsoft.com/office/drawing/2014/main" id="{E05A9B76-9259-4E2A-B03F-3F793E4259D6}"/>
                </a:ext>
              </a:extLst>
            </p:cNvPr>
            <p:cNvGrpSpPr/>
            <p:nvPr/>
          </p:nvGrpSpPr>
          <p:grpSpPr>
            <a:xfrm>
              <a:off x="3940707" y="3450840"/>
              <a:ext cx="418677" cy="40820"/>
              <a:chOff x="3940707" y="3450840"/>
              <a:chExt cx="418677" cy="40820"/>
            </a:xfrm>
            <a:grpFill/>
          </p:grpSpPr>
          <p:sp>
            <p:nvSpPr>
              <p:cNvPr id="1659" name="Vrije vorm: vorm 1658">
                <a:extLst>
                  <a:ext uri="{FF2B5EF4-FFF2-40B4-BE49-F238E27FC236}">
                    <a16:creationId xmlns:a16="http://schemas.microsoft.com/office/drawing/2014/main" id="{EB5E5192-05D0-44F8-A50F-377586798201}"/>
                  </a:ext>
                </a:extLst>
              </p:cNvPr>
              <p:cNvSpPr/>
              <p:nvPr/>
            </p:nvSpPr>
            <p:spPr>
              <a:xfrm>
                <a:off x="3949329" y="3458512"/>
                <a:ext cx="401426" cy="25477"/>
              </a:xfrm>
              <a:custGeom>
                <a:avLst/>
                <a:gdLst>
                  <a:gd name="connsiteX0" fmla="*/ 401426 w 401426"/>
                  <a:gd name="connsiteY0" fmla="*/ 22428 h 25477"/>
                  <a:gd name="connsiteX1" fmla="*/ 401306 w 401426"/>
                  <a:gd name="connsiteY1" fmla="*/ 25478 h 25477"/>
                  <a:gd name="connsiteX2" fmla="*/ 0 w 401426"/>
                  <a:gd name="connsiteY2" fmla="*/ 3050 h 25477"/>
                  <a:gd name="connsiteX3" fmla="*/ 179 w 401426"/>
                  <a:gd name="connsiteY3" fmla="*/ 0 h 25477"/>
                </a:gdLst>
                <a:ahLst/>
                <a:cxnLst>
                  <a:cxn ang="0">
                    <a:pos x="connsiteX0" y="connsiteY0"/>
                  </a:cxn>
                  <a:cxn ang="0">
                    <a:pos x="connsiteX1" y="connsiteY1"/>
                  </a:cxn>
                  <a:cxn ang="0">
                    <a:pos x="connsiteX2" y="connsiteY2"/>
                  </a:cxn>
                  <a:cxn ang="0">
                    <a:pos x="connsiteX3" y="connsiteY3"/>
                  </a:cxn>
                </a:cxnLst>
                <a:rect l="l" t="t" r="r" b="b"/>
                <a:pathLst>
                  <a:path w="401426" h="25477">
                    <a:moveTo>
                      <a:pt x="401426" y="22428"/>
                    </a:moveTo>
                    <a:lnTo>
                      <a:pt x="401306" y="25478"/>
                    </a:lnTo>
                    <a:lnTo>
                      <a:pt x="0" y="3050"/>
                    </a:lnTo>
                    <a:lnTo>
                      <a:pt x="179" y="0"/>
                    </a:lnTo>
                    <a:close/>
                  </a:path>
                </a:pathLst>
              </a:custGeom>
              <a:grpFill/>
              <a:ln w="5978" cap="flat">
                <a:noFill/>
                <a:prstDash val="solid"/>
                <a:miter/>
              </a:ln>
            </p:spPr>
            <p:txBody>
              <a:bodyPr rtlCol="0" anchor="ctr"/>
              <a:lstStyle/>
              <a:p>
                <a:endParaRPr lang="en-GB"/>
              </a:p>
            </p:txBody>
          </p:sp>
          <p:sp>
            <p:nvSpPr>
              <p:cNvPr id="1660" name="Vrije vorm: vorm 1659">
                <a:extLst>
                  <a:ext uri="{FF2B5EF4-FFF2-40B4-BE49-F238E27FC236}">
                    <a16:creationId xmlns:a16="http://schemas.microsoft.com/office/drawing/2014/main" id="{A068B3CF-D847-4EDF-AD83-30B219B7C7BA}"/>
                  </a:ext>
                </a:extLst>
              </p:cNvPr>
              <p:cNvSpPr/>
              <p:nvPr/>
            </p:nvSpPr>
            <p:spPr>
              <a:xfrm>
                <a:off x="4341051" y="3473268"/>
                <a:ext cx="18333" cy="18393"/>
              </a:xfrm>
              <a:custGeom>
                <a:avLst/>
                <a:gdLst>
                  <a:gd name="connsiteX0" fmla="*/ 9645 w 18333"/>
                  <a:gd name="connsiteY0" fmla="*/ 16 h 18393"/>
                  <a:gd name="connsiteX1" fmla="*/ 18317 w 18333"/>
                  <a:gd name="connsiteY1" fmla="*/ 9705 h 18393"/>
                  <a:gd name="connsiteX2" fmla="*/ 8688 w 18333"/>
                  <a:gd name="connsiteY2" fmla="*/ 18377 h 18393"/>
                  <a:gd name="connsiteX3" fmla="*/ 16 w 18333"/>
                  <a:gd name="connsiteY3" fmla="*/ 8688 h 18393"/>
                  <a:gd name="connsiteX4" fmla="*/ 9645 w 18333"/>
                  <a:gd name="connsiteY4" fmla="*/ 16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9645" y="16"/>
                    </a:moveTo>
                    <a:cubicBezTo>
                      <a:pt x="14728" y="315"/>
                      <a:pt x="18616" y="4621"/>
                      <a:pt x="18317" y="9705"/>
                    </a:cubicBezTo>
                    <a:cubicBezTo>
                      <a:pt x="18078" y="14789"/>
                      <a:pt x="13772" y="18676"/>
                      <a:pt x="8688" y="18377"/>
                    </a:cubicBezTo>
                    <a:cubicBezTo>
                      <a:pt x="3604" y="18078"/>
                      <a:pt x="-283" y="13772"/>
                      <a:pt x="16" y="8688"/>
                    </a:cubicBezTo>
                    <a:cubicBezTo>
                      <a:pt x="315" y="3605"/>
                      <a:pt x="4621" y="-283"/>
                      <a:pt x="9645" y="16"/>
                    </a:cubicBezTo>
                    <a:close/>
                  </a:path>
                </a:pathLst>
              </a:custGeom>
              <a:grpFill/>
              <a:ln w="5978" cap="flat">
                <a:noFill/>
                <a:prstDash val="solid"/>
                <a:miter/>
              </a:ln>
            </p:spPr>
            <p:txBody>
              <a:bodyPr rtlCol="0" anchor="ctr"/>
              <a:lstStyle/>
              <a:p>
                <a:endParaRPr lang="en-GB"/>
              </a:p>
            </p:txBody>
          </p:sp>
          <p:sp>
            <p:nvSpPr>
              <p:cNvPr id="1661" name="Vrije vorm: vorm 1660">
                <a:extLst>
                  <a:ext uri="{FF2B5EF4-FFF2-40B4-BE49-F238E27FC236}">
                    <a16:creationId xmlns:a16="http://schemas.microsoft.com/office/drawing/2014/main" id="{11541360-7A3E-4E29-8BFA-B34B4CDEE8E0}"/>
                  </a:ext>
                </a:extLst>
              </p:cNvPr>
              <p:cNvSpPr/>
              <p:nvPr/>
            </p:nvSpPr>
            <p:spPr>
              <a:xfrm>
                <a:off x="3940707" y="3450840"/>
                <a:ext cx="18321" cy="18393"/>
              </a:xfrm>
              <a:custGeom>
                <a:avLst/>
                <a:gdLst>
                  <a:gd name="connsiteX0" fmla="*/ 9639 w 18321"/>
                  <a:gd name="connsiteY0" fmla="*/ 16 h 18393"/>
                  <a:gd name="connsiteX1" fmla="*/ 10 w 18321"/>
                  <a:gd name="connsiteY1" fmla="*/ 8688 h 18393"/>
                  <a:gd name="connsiteX2" fmla="*/ 8683 w 18321"/>
                  <a:gd name="connsiteY2" fmla="*/ 18377 h 18393"/>
                  <a:gd name="connsiteX3" fmla="*/ 18311 w 18321"/>
                  <a:gd name="connsiteY3" fmla="*/ 9705 h 18393"/>
                  <a:gd name="connsiteX4" fmla="*/ 9639 w 18321"/>
                  <a:gd name="connsiteY4" fmla="*/ 16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93">
                    <a:moveTo>
                      <a:pt x="9639" y="16"/>
                    </a:moveTo>
                    <a:cubicBezTo>
                      <a:pt x="4556" y="-283"/>
                      <a:pt x="250" y="3605"/>
                      <a:pt x="10" y="8688"/>
                    </a:cubicBezTo>
                    <a:cubicBezTo>
                      <a:pt x="-229" y="13772"/>
                      <a:pt x="3659" y="18138"/>
                      <a:pt x="8683" y="18377"/>
                    </a:cubicBezTo>
                    <a:cubicBezTo>
                      <a:pt x="13766" y="18676"/>
                      <a:pt x="18072" y="14789"/>
                      <a:pt x="18311" y="9705"/>
                    </a:cubicBezTo>
                    <a:cubicBezTo>
                      <a:pt x="18551" y="4681"/>
                      <a:pt x="14663" y="315"/>
                      <a:pt x="9639" y="16"/>
                    </a:cubicBezTo>
                    <a:close/>
                  </a:path>
                </a:pathLst>
              </a:custGeom>
              <a:grpFill/>
              <a:ln w="5978" cap="flat">
                <a:noFill/>
                <a:prstDash val="solid"/>
                <a:miter/>
              </a:ln>
            </p:spPr>
            <p:txBody>
              <a:bodyPr rtlCol="0" anchor="ctr"/>
              <a:lstStyle/>
              <a:p>
                <a:endParaRPr lang="en-GB"/>
              </a:p>
            </p:txBody>
          </p:sp>
        </p:grpSp>
        <p:grpSp>
          <p:nvGrpSpPr>
            <p:cNvPr id="1249" name="Graphic 3">
              <a:extLst>
                <a:ext uri="{FF2B5EF4-FFF2-40B4-BE49-F238E27FC236}">
                  <a16:creationId xmlns:a16="http://schemas.microsoft.com/office/drawing/2014/main" id="{2AC5FB96-29DA-48FD-807D-EA2327339AA3}"/>
                </a:ext>
              </a:extLst>
            </p:cNvPr>
            <p:cNvGrpSpPr/>
            <p:nvPr/>
          </p:nvGrpSpPr>
          <p:grpSpPr>
            <a:xfrm>
              <a:off x="4300702" y="3950258"/>
              <a:ext cx="19214" cy="18762"/>
              <a:chOff x="4300702" y="3950258"/>
              <a:chExt cx="19214" cy="18762"/>
            </a:xfrm>
            <a:grpFill/>
          </p:grpSpPr>
          <p:sp>
            <p:nvSpPr>
              <p:cNvPr id="1656" name="Vrije vorm: vorm 1655">
                <a:extLst>
                  <a:ext uri="{FF2B5EF4-FFF2-40B4-BE49-F238E27FC236}">
                    <a16:creationId xmlns:a16="http://schemas.microsoft.com/office/drawing/2014/main" id="{3B1DA4ED-D919-4B5B-99AA-16B09DAD1970}"/>
                  </a:ext>
                </a:extLst>
              </p:cNvPr>
              <p:cNvSpPr/>
              <p:nvPr/>
            </p:nvSpPr>
            <p:spPr>
              <a:xfrm>
                <a:off x="4308924" y="3957962"/>
                <a:ext cx="2672" cy="3461"/>
              </a:xfrm>
              <a:custGeom>
                <a:avLst/>
                <a:gdLst>
                  <a:gd name="connsiteX0" fmla="*/ 0 w 2672"/>
                  <a:gd name="connsiteY0" fmla="*/ 547 h 3461"/>
                  <a:gd name="connsiteX1" fmla="*/ 1771 w 2672"/>
                  <a:gd name="connsiteY1" fmla="*/ 0 h 3461"/>
                  <a:gd name="connsiteX2" fmla="*/ 2672 w 2672"/>
                  <a:gd name="connsiteY2" fmla="*/ 2914 h 3461"/>
                  <a:gd name="connsiteX3" fmla="*/ 901 w 2672"/>
                  <a:gd name="connsiteY3" fmla="*/ 3462 h 3461"/>
                </a:gdLst>
                <a:ahLst/>
                <a:cxnLst>
                  <a:cxn ang="0">
                    <a:pos x="connsiteX0" y="connsiteY0"/>
                  </a:cxn>
                  <a:cxn ang="0">
                    <a:pos x="connsiteX1" y="connsiteY1"/>
                  </a:cxn>
                  <a:cxn ang="0">
                    <a:pos x="connsiteX2" y="connsiteY2"/>
                  </a:cxn>
                  <a:cxn ang="0">
                    <a:pos x="connsiteX3" y="connsiteY3"/>
                  </a:cxn>
                </a:cxnLst>
                <a:rect l="l" t="t" r="r" b="b"/>
                <a:pathLst>
                  <a:path w="2672" h="3461">
                    <a:moveTo>
                      <a:pt x="0" y="547"/>
                    </a:moveTo>
                    <a:lnTo>
                      <a:pt x="1771" y="0"/>
                    </a:lnTo>
                    <a:lnTo>
                      <a:pt x="2672" y="2914"/>
                    </a:lnTo>
                    <a:lnTo>
                      <a:pt x="901" y="3462"/>
                    </a:lnTo>
                    <a:close/>
                  </a:path>
                </a:pathLst>
              </a:custGeom>
              <a:grpFill/>
              <a:ln w="5978" cap="flat">
                <a:noFill/>
                <a:prstDash val="solid"/>
                <a:miter/>
              </a:ln>
            </p:spPr>
            <p:txBody>
              <a:bodyPr rtlCol="0" anchor="ctr"/>
              <a:lstStyle/>
              <a:p>
                <a:endParaRPr lang="en-GB"/>
              </a:p>
            </p:txBody>
          </p:sp>
          <p:sp>
            <p:nvSpPr>
              <p:cNvPr id="1657" name="Vrije vorm: vorm 1656">
                <a:extLst>
                  <a:ext uri="{FF2B5EF4-FFF2-40B4-BE49-F238E27FC236}">
                    <a16:creationId xmlns:a16="http://schemas.microsoft.com/office/drawing/2014/main" id="{31888BF5-F2FD-456B-9A5D-A459DD197404}"/>
                  </a:ext>
                </a:extLst>
              </p:cNvPr>
              <p:cNvSpPr/>
              <p:nvPr/>
            </p:nvSpPr>
            <p:spPr>
              <a:xfrm>
                <a:off x="4300702" y="3950552"/>
                <a:ext cx="18290" cy="18468"/>
              </a:xfrm>
              <a:custGeom>
                <a:avLst/>
                <a:gdLst>
                  <a:gd name="connsiteX0" fmla="*/ 11896 w 18290"/>
                  <a:gd name="connsiteY0" fmla="*/ 18056 h 18468"/>
                  <a:gd name="connsiteX1" fmla="*/ 413 w 18290"/>
                  <a:gd name="connsiteY1" fmla="*/ 11956 h 18468"/>
                  <a:gd name="connsiteX2" fmla="*/ 6394 w 18290"/>
                  <a:gd name="connsiteY2" fmla="*/ 413 h 18468"/>
                  <a:gd name="connsiteX3" fmla="*/ 17877 w 18290"/>
                  <a:gd name="connsiteY3" fmla="*/ 6513 h 18468"/>
                  <a:gd name="connsiteX4" fmla="*/ 11896 w 18290"/>
                  <a:gd name="connsiteY4" fmla="*/ 1805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68">
                    <a:moveTo>
                      <a:pt x="11896" y="18056"/>
                    </a:moveTo>
                    <a:cubicBezTo>
                      <a:pt x="7052" y="19551"/>
                      <a:pt x="1908" y="16859"/>
                      <a:pt x="413" y="11956"/>
                    </a:cubicBezTo>
                    <a:cubicBezTo>
                      <a:pt x="-1082" y="7111"/>
                      <a:pt x="1609" y="1908"/>
                      <a:pt x="6394" y="413"/>
                    </a:cubicBezTo>
                    <a:cubicBezTo>
                      <a:pt x="11238" y="-1083"/>
                      <a:pt x="16382" y="1609"/>
                      <a:pt x="17877" y="6513"/>
                    </a:cubicBezTo>
                    <a:cubicBezTo>
                      <a:pt x="19372" y="11417"/>
                      <a:pt x="16681" y="16561"/>
                      <a:pt x="11896" y="18056"/>
                    </a:cubicBezTo>
                    <a:close/>
                  </a:path>
                </a:pathLst>
              </a:custGeom>
              <a:grpFill/>
              <a:ln w="5978" cap="flat">
                <a:noFill/>
                <a:prstDash val="solid"/>
                <a:miter/>
              </a:ln>
            </p:spPr>
            <p:txBody>
              <a:bodyPr rtlCol="0" anchor="ctr"/>
              <a:lstStyle/>
              <a:p>
                <a:endParaRPr lang="en-GB"/>
              </a:p>
            </p:txBody>
          </p:sp>
          <p:sp>
            <p:nvSpPr>
              <p:cNvPr id="1658" name="Vrije vorm: vorm 1657">
                <a:extLst>
                  <a:ext uri="{FF2B5EF4-FFF2-40B4-BE49-F238E27FC236}">
                    <a16:creationId xmlns:a16="http://schemas.microsoft.com/office/drawing/2014/main" id="{DC8B5A73-DF12-46B3-B656-2FC3393B082A}"/>
                  </a:ext>
                </a:extLst>
              </p:cNvPr>
              <p:cNvSpPr/>
              <p:nvPr/>
            </p:nvSpPr>
            <p:spPr>
              <a:xfrm>
                <a:off x="4301571" y="3950258"/>
                <a:ext cx="18345" cy="18463"/>
              </a:xfrm>
              <a:custGeom>
                <a:avLst/>
                <a:gdLst>
                  <a:gd name="connsiteX0" fmla="*/ 11924 w 18345"/>
                  <a:gd name="connsiteY0" fmla="*/ 18051 h 18463"/>
                  <a:gd name="connsiteX1" fmla="*/ 17905 w 18345"/>
                  <a:gd name="connsiteY1" fmla="*/ 6508 h 18463"/>
                  <a:gd name="connsiteX2" fmla="*/ 6422 w 18345"/>
                  <a:gd name="connsiteY2" fmla="*/ 407 h 18463"/>
                  <a:gd name="connsiteX3" fmla="*/ 441 w 18345"/>
                  <a:gd name="connsiteY3" fmla="*/ 11950 h 18463"/>
                  <a:gd name="connsiteX4" fmla="*/ 11924 w 18345"/>
                  <a:gd name="connsiteY4" fmla="*/ 180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3">
                    <a:moveTo>
                      <a:pt x="11924" y="18051"/>
                    </a:moveTo>
                    <a:cubicBezTo>
                      <a:pt x="16769" y="16555"/>
                      <a:pt x="19460" y="11412"/>
                      <a:pt x="17905" y="6508"/>
                    </a:cubicBezTo>
                    <a:cubicBezTo>
                      <a:pt x="16410" y="1664"/>
                      <a:pt x="11266" y="-1088"/>
                      <a:pt x="6422" y="407"/>
                    </a:cubicBezTo>
                    <a:cubicBezTo>
                      <a:pt x="1577" y="1903"/>
                      <a:pt x="-1114" y="7046"/>
                      <a:pt x="441" y="11950"/>
                    </a:cubicBezTo>
                    <a:cubicBezTo>
                      <a:pt x="1936" y="16854"/>
                      <a:pt x="7079" y="19546"/>
                      <a:pt x="11924" y="18051"/>
                    </a:cubicBezTo>
                    <a:close/>
                  </a:path>
                </a:pathLst>
              </a:custGeom>
              <a:grpFill/>
              <a:ln w="5978" cap="flat">
                <a:noFill/>
                <a:prstDash val="solid"/>
                <a:miter/>
              </a:ln>
            </p:spPr>
            <p:txBody>
              <a:bodyPr rtlCol="0" anchor="ctr"/>
              <a:lstStyle/>
              <a:p>
                <a:endParaRPr lang="en-GB"/>
              </a:p>
            </p:txBody>
          </p:sp>
        </p:grpSp>
        <p:grpSp>
          <p:nvGrpSpPr>
            <p:cNvPr id="1250" name="Graphic 3">
              <a:extLst>
                <a:ext uri="{FF2B5EF4-FFF2-40B4-BE49-F238E27FC236}">
                  <a16:creationId xmlns:a16="http://schemas.microsoft.com/office/drawing/2014/main" id="{979D0051-DCC1-4EF5-B3D8-314902AAA8CF}"/>
                </a:ext>
              </a:extLst>
            </p:cNvPr>
            <p:cNvGrpSpPr/>
            <p:nvPr/>
          </p:nvGrpSpPr>
          <p:grpSpPr>
            <a:xfrm>
              <a:off x="4568863" y="4844961"/>
              <a:ext cx="121152" cy="125957"/>
              <a:chOff x="4568863" y="4844961"/>
              <a:chExt cx="121152" cy="125957"/>
            </a:xfrm>
            <a:grpFill/>
          </p:grpSpPr>
          <p:sp>
            <p:nvSpPr>
              <p:cNvPr id="1653" name="Vrije vorm: vorm 1652">
                <a:extLst>
                  <a:ext uri="{FF2B5EF4-FFF2-40B4-BE49-F238E27FC236}">
                    <a16:creationId xmlns:a16="http://schemas.microsoft.com/office/drawing/2014/main" id="{5E751E80-C606-4BAC-9E1B-444D72B98567}"/>
                  </a:ext>
                </a:extLst>
              </p:cNvPr>
              <p:cNvSpPr/>
              <p:nvPr/>
            </p:nvSpPr>
            <p:spPr>
              <a:xfrm>
                <a:off x="4576647" y="4852797"/>
                <a:ext cx="105619" cy="110284"/>
              </a:xfrm>
              <a:custGeom>
                <a:avLst/>
                <a:gdLst>
                  <a:gd name="connsiteX0" fmla="*/ 105619 w 105619"/>
                  <a:gd name="connsiteY0" fmla="*/ 2093 h 110284"/>
                  <a:gd name="connsiteX1" fmla="*/ 2153 w 105619"/>
                  <a:gd name="connsiteY1" fmla="*/ 110285 h 110284"/>
                  <a:gd name="connsiteX2" fmla="*/ 0 w 105619"/>
                  <a:gd name="connsiteY2" fmla="*/ 108191 h 110284"/>
                  <a:gd name="connsiteX3" fmla="*/ 103466 w 105619"/>
                  <a:gd name="connsiteY3" fmla="*/ 0 h 110284"/>
                </a:gdLst>
                <a:ahLst/>
                <a:cxnLst>
                  <a:cxn ang="0">
                    <a:pos x="connsiteX0" y="connsiteY0"/>
                  </a:cxn>
                  <a:cxn ang="0">
                    <a:pos x="connsiteX1" y="connsiteY1"/>
                  </a:cxn>
                  <a:cxn ang="0">
                    <a:pos x="connsiteX2" y="connsiteY2"/>
                  </a:cxn>
                  <a:cxn ang="0">
                    <a:pos x="connsiteX3" y="connsiteY3"/>
                  </a:cxn>
                </a:cxnLst>
                <a:rect l="l" t="t" r="r" b="b"/>
                <a:pathLst>
                  <a:path w="105619" h="110284">
                    <a:moveTo>
                      <a:pt x="105619" y="2093"/>
                    </a:moveTo>
                    <a:lnTo>
                      <a:pt x="2153" y="110285"/>
                    </a:lnTo>
                    <a:lnTo>
                      <a:pt x="0" y="108191"/>
                    </a:lnTo>
                    <a:lnTo>
                      <a:pt x="103466" y="0"/>
                    </a:lnTo>
                    <a:close/>
                  </a:path>
                </a:pathLst>
              </a:custGeom>
              <a:grpFill/>
              <a:ln w="5978" cap="flat">
                <a:noFill/>
                <a:prstDash val="solid"/>
                <a:miter/>
              </a:ln>
            </p:spPr>
            <p:txBody>
              <a:bodyPr rtlCol="0" anchor="ctr"/>
              <a:lstStyle/>
              <a:p>
                <a:endParaRPr lang="en-GB"/>
              </a:p>
            </p:txBody>
          </p:sp>
          <p:sp>
            <p:nvSpPr>
              <p:cNvPr id="1654" name="Vrije vorm: vorm 1653">
                <a:extLst>
                  <a:ext uri="{FF2B5EF4-FFF2-40B4-BE49-F238E27FC236}">
                    <a16:creationId xmlns:a16="http://schemas.microsoft.com/office/drawing/2014/main" id="{B8315E28-5307-44ED-B762-77E003E647EE}"/>
                  </a:ext>
                </a:extLst>
              </p:cNvPr>
              <p:cNvSpPr/>
              <p:nvPr/>
            </p:nvSpPr>
            <p:spPr>
              <a:xfrm>
                <a:off x="4568863" y="4952494"/>
                <a:ext cx="18365" cy="18423"/>
              </a:xfrm>
              <a:custGeom>
                <a:avLst/>
                <a:gdLst>
                  <a:gd name="connsiteX0" fmla="*/ 15799 w 18365"/>
                  <a:gd name="connsiteY0" fmla="*/ 15611 h 18423"/>
                  <a:gd name="connsiteX1" fmla="*/ 2821 w 18365"/>
                  <a:gd name="connsiteY1" fmla="*/ 15851 h 18423"/>
                  <a:gd name="connsiteX2" fmla="*/ 2522 w 18365"/>
                  <a:gd name="connsiteY2" fmla="*/ 2813 h 18423"/>
                  <a:gd name="connsiteX3" fmla="*/ 15500 w 18365"/>
                  <a:gd name="connsiteY3" fmla="*/ 2573 h 18423"/>
                  <a:gd name="connsiteX4" fmla="*/ 15799 w 18365"/>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3">
                    <a:moveTo>
                      <a:pt x="15799" y="15611"/>
                    </a:moveTo>
                    <a:cubicBezTo>
                      <a:pt x="12270" y="19260"/>
                      <a:pt x="6469" y="19379"/>
                      <a:pt x="2821" y="15851"/>
                    </a:cubicBezTo>
                    <a:cubicBezTo>
                      <a:pt x="-827" y="12322"/>
                      <a:pt x="-947" y="6461"/>
                      <a:pt x="2522" y="2813"/>
                    </a:cubicBezTo>
                    <a:cubicBezTo>
                      <a:pt x="6050" y="-836"/>
                      <a:pt x="11852" y="-955"/>
                      <a:pt x="15500" y="2573"/>
                    </a:cubicBezTo>
                    <a:cubicBezTo>
                      <a:pt x="19208" y="6102"/>
                      <a:pt x="19328" y="11963"/>
                      <a:pt x="15799" y="15611"/>
                    </a:cubicBezTo>
                    <a:close/>
                  </a:path>
                </a:pathLst>
              </a:custGeom>
              <a:grpFill/>
              <a:ln w="5978" cap="flat">
                <a:noFill/>
                <a:prstDash val="solid"/>
                <a:miter/>
              </a:ln>
            </p:spPr>
            <p:txBody>
              <a:bodyPr rtlCol="0" anchor="ctr"/>
              <a:lstStyle/>
              <a:p>
                <a:endParaRPr lang="en-GB"/>
              </a:p>
            </p:txBody>
          </p:sp>
          <p:sp>
            <p:nvSpPr>
              <p:cNvPr id="1655" name="Vrije vorm: vorm 1654">
                <a:extLst>
                  <a:ext uri="{FF2B5EF4-FFF2-40B4-BE49-F238E27FC236}">
                    <a16:creationId xmlns:a16="http://schemas.microsoft.com/office/drawing/2014/main" id="{4477EA34-7226-47B5-9C9C-6B4D8F421482}"/>
                  </a:ext>
                </a:extLst>
              </p:cNvPr>
              <p:cNvSpPr/>
              <p:nvPr/>
            </p:nvSpPr>
            <p:spPr>
              <a:xfrm>
                <a:off x="4671648" y="4844961"/>
                <a:ext cx="18366" cy="18423"/>
              </a:xfrm>
              <a:custGeom>
                <a:avLst/>
                <a:gdLst>
                  <a:gd name="connsiteX0" fmla="*/ 15822 w 18366"/>
                  <a:gd name="connsiteY0" fmla="*/ 15611 h 18423"/>
                  <a:gd name="connsiteX1" fmla="*/ 15523 w 18366"/>
                  <a:gd name="connsiteY1" fmla="*/ 2573 h 18423"/>
                  <a:gd name="connsiteX2" fmla="*/ 2545 w 18366"/>
                  <a:gd name="connsiteY2" fmla="*/ 2813 h 18423"/>
                  <a:gd name="connsiteX3" fmla="*/ 2844 w 18366"/>
                  <a:gd name="connsiteY3" fmla="*/ 15851 h 18423"/>
                  <a:gd name="connsiteX4" fmla="*/ 15822 w 18366"/>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3">
                    <a:moveTo>
                      <a:pt x="15822" y="15611"/>
                    </a:moveTo>
                    <a:cubicBezTo>
                      <a:pt x="19351" y="11963"/>
                      <a:pt x="19171" y="6102"/>
                      <a:pt x="15523" y="2573"/>
                    </a:cubicBezTo>
                    <a:cubicBezTo>
                      <a:pt x="11875" y="-955"/>
                      <a:pt x="6073" y="-836"/>
                      <a:pt x="2545" y="2813"/>
                    </a:cubicBezTo>
                    <a:cubicBezTo>
                      <a:pt x="-984" y="6461"/>
                      <a:pt x="-804" y="12322"/>
                      <a:pt x="2844" y="15851"/>
                    </a:cubicBezTo>
                    <a:cubicBezTo>
                      <a:pt x="6552" y="19379"/>
                      <a:pt x="12353" y="19260"/>
                      <a:pt x="15822" y="15611"/>
                    </a:cubicBezTo>
                    <a:close/>
                  </a:path>
                </a:pathLst>
              </a:custGeom>
              <a:grpFill/>
              <a:ln w="5978" cap="flat">
                <a:noFill/>
                <a:prstDash val="solid"/>
                <a:miter/>
              </a:ln>
            </p:spPr>
            <p:txBody>
              <a:bodyPr rtlCol="0" anchor="ctr"/>
              <a:lstStyle/>
              <a:p>
                <a:endParaRPr lang="en-GB"/>
              </a:p>
            </p:txBody>
          </p:sp>
        </p:grpSp>
        <p:grpSp>
          <p:nvGrpSpPr>
            <p:cNvPr id="1251" name="Graphic 3">
              <a:extLst>
                <a:ext uri="{FF2B5EF4-FFF2-40B4-BE49-F238E27FC236}">
                  <a16:creationId xmlns:a16="http://schemas.microsoft.com/office/drawing/2014/main" id="{FAAFA211-780C-4416-A407-B89FCD2F51B4}"/>
                </a:ext>
              </a:extLst>
            </p:cNvPr>
            <p:cNvGrpSpPr/>
            <p:nvPr/>
          </p:nvGrpSpPr>
          <p:grpSpPr>
            <a:xfrm>
              <a:off x="4160801" y="3915253"/>
              <a:ext cx="267533" cy="59820"/>
              <a:chOff x="4160801" y="3915253"/>
              <a:chExt cx="267533" cy="59820"/>
            </a:xfrm>
            <a:grpFill/>
          </p:grpSpPr>
          <p:sp>
            <p:nvSpPr>
              <p:cNvPr id="1650" name="Vrije vorm: vorm 1649">
                <a:extLst>
                  <a:ext uri="{FF2B5EF4-FFF2-40B4-BE49-F238E27FC236}">
                    <a16:creationId xmlns:a16="http://schemas.microsoft.com/office/drawing/2014/main" id="{64241DE2-B5AD-452C-BD64-BF5DFD89B449}"/>
                  </a:ext>
                </a:extLst>
              </p:cNvPr>
              <p:cNvSpPr/>
              <p:nvPr/>
            </p:nvSpPr>
            <p:spPr>
              <a:xfrm>
                <a:off x="4169300" y="3922915"/>
                <a:ext cx="250592" cy="44496"/>
              </a:xfrm>
              <a:custGeom>
                <a:avLst/>
                <a:gdLst>
                  <a:gd name="connsiteX0" fmla="*/ 250054 w 250592"/>
                  <a:gd name="connsiteY0" fmla="*/ 0 h 44496"/>
                  <a:gd name="connsiteX1" fmla="*/ 250592 w 250592"/>
                  <a:gd name="connsiteY1" fmla="*/ 2990 h 44496"/>
                  <a:gd name="connsiteX2" fmla="*/ 538 w 250592"/>
                  <a:gd name="connsiteY2" fmla="*/ 44496 h 44496"/>
                  <a:gd name="connsiteX3" fmla="*/ 0 w 250592"/>
                  <a:gd name="connsiteY3" fmla="*/ 41506 h 44496"/>
                </a:gdLst>
                <a:ahLst/>
                <a:cxnLst>
                  <a:cxn ang="0">
                    <a:pos x="connsiteX0" y="connsiteY0"/>
                  </a:cxn>
                  <a:cxn ang="0">
                    <a:pos x="connsiteX1" y="connsiteY1"/>
                  </a:cxn>
                  <a:cxn ang="0">
                    <a:pos x="connsiteX2" y="connsiteY2"/>
                  </a:cxn>
                  <a:cxn ang="0">
                    <a:pos x="connsiteX3" y="connsiteY3"/>
                  </a:cxn>
                </a:cxnLst>
                <a:rect l="l" t="t" r="r" b="b"/>
                <a:pathLst>
                  <a:path w="250592" h="44496">
                    <a:moveTo>
                      <a:pt x="250054" y="0"/>
                    </a:moveTo>
                    <a:lnTo>
                      <a:pt x="250592" y="2990"/>
                    </a:lnTo>
                    <a:lnTo>
                      <a:pt x="538" y="44496"/>
                    </a:lnTo>
                    <a:lnTo>
                      <a:pt x="0" y="41506"/>
                    </a:lnTo>
                    <a:close/>
                  </a:path>
                </a:pathLst>
              </a:custGeom>
              <a:grpFill/>
              <a:ln w="5978" cap="flat">
                <a:noFill/>
                <a:prstDash val="solid"/>
                <a:miter/>
              </a:ln>
            </p:spPr>
            <p:txBody>
              <a:bodyPr rtlCol="0" anchor="ctr"/>
              <a:lstStyle/>
              <a:p>
                <a:endParaRPr lang="en-GB"/>
              </a:p>
            </p:txBody>
          </p:sp>
          <p:sp>
            <p:nvSpPr>
              <p:cNvPr id="1651" name="Vrije vorm: vorm 1650">
                <a:extLst>
                  <a:ext uri="{FF2B5EF4-FFF2-40B4-BE49-F238E27FC236}">
                    <a16:creationId xmlns:a16="http://schemas.microsoft.com/office/drawing/2014/main" id="{E42A4339-63BE-4507-9CE9-084D0A633754}"/>
                  </a:ext>
                </a:extLst>
              </p:cNvPr>
              <p:cNvSpPr/>
              <p:nvPr/>
            </p:nvSpPr>
            <p:spPr>
              <a:xfrm>
                <a:off x="4409972" y="3915253"/>
                <a:ext cx="18361" cy="18434"/>
              </a:xfrm>
              <a:custGeom>
                <a:avLst/>
                <a:gdLst>
                  <a:gd name="connsiteX0" fmla="*/ 7648 w 18361"/>
                  <a:gd name="connsiteY0" fmla="*/ 126 h 18434"/>
                  <a:gd name="connsiteX1" fmla="*/ 18234 w 18361"/>
                  <a:gd name="connsiteY1" fmla="*/ 7722 h 18434"/>
                  <a:gd name="connsiteX2" fmla="*/ 10698 w 18361"/>
                  <a:gd name="connsiteY2" fmla="*/ 18308 h 18434"/>
                  <a:gd name="connsiteX3" fmla="*/ 112 w 18361"/>
                  <a:gd name="connsiteY3" fmla="*/ 10712 h 18434"/>
                  <a:gd name="connsiteX4" fmla="*/ 7648 w 18361"/>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34">
                    <a:moveTo>
                      <a:pt x="7648" y="126"/>
                    </a:moveTo>
                    <a:cubicBezTo>
                      <a:pt x="12612" y="-711"/>
                      <a:pt x="17396" y="2698"/>
                      <a:pt x="18234" y="7722"/>
                    </a:cubicBezTo>
                    <a:cubicBezTo>
                      <a:pt x="19071" y="12746"/>
                      <a:pt x="15722" y="17470"/>
                      <a:pt x="10698" y="18308"/>
                    </a:cubicBezTo>
                    <a:cubicBezTo>
                      <a:pt x="5734" y="19145"/>
                      <a:pt x="949" y="15736"/>
                      <a:pt x="112" y="10712"/>
                    </a:cubicBezTo>
                    <a:cubicBezTo>
                      <a:pt x="-665" y="5689"/>
                      <a:pt x="2684" y="964"/>
                      <a:pt x="7648" y="126"/>
                    </a:cubicBezTo>
                    <a:close/>
                  </a:path>
                </a:pathLst>
              </a:custGeom>
              <a:grpFill/>
              <a:ln w="5978" cap="flat">
                <a:noFill/>
                <a:prstDash val="solid"/>
                <a:miter/>
              </a:ln>
            </p:spPr>
            <p:txBody>
              <a:bodyPr rtlCol="0" anchor="ctr"/>
              <a:lstStyle/>
              <a:p>
                <a:endParaRPr lang="en-GB"/>
              </a:p>
            </p:txBody>
          </p:sp>
          <p:sp>
            <p:nvSpPr>
              <p:cNvPr id="1652" name="Vrije vorm: vorm 1651">
                <a:extLst>
                  <a:ext uri="{FF2B5EF4-FFF2-40B4-BE49-F238E27FC236}">
                    <a16:creationId xmlns:a16="http://schemas.microsoft.com/office/drawing/2014/main" id="{E33C8CA1-E10B-45E6-AC37-D90F45960D55}"/>
                  </a:ext>
                </a:extLst>
              </p:cNvPr>
              <p:cNvSpPr/>
              <p:nvPr/>
            </p:nvSpPr>
            <p:spPr>
              <a:xfrm>
                <a:off x="4160801" y="3956639"/>
                <a:ext cx="18374" cy="18434"/>
              </a:xfrm>
              <a:custGeom>
                <a:avLst/>
                <a:gdLst>
                  <a:gd name="connsiteX0" fmla="*/ 7662 w 18374"/>
                  <a:gd name="connsiteY0" fmla="*/ 126 h 18434"/>
                  <a:gd name="connsiteX1" fmla="*/ 127 w 18374"/>
                  <a:gd name="connsiteY1" fmla="*/ 10712 h 18434"/>
                  <a:gd name="connsiteX2" fmla="*/ 10712 w 18374"/>
                  <a:gd name="connsiteY2" fmla="*/ 18308 h 18434"/>
                  <a:gd name="connsiteX3" fmla="*/ 18248 w 18374"/>
                  <a:gd name="connsiteY3" fmla="*/ 7722 h 18434"/>
                  <a:gd name="connsiteX4" fmla="*/ 7662 w 18374"/>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34">
                    <a:moveTo>
                      <a:pt x="7662" y="126"/>
                    </a:moveTo>
                    <a:cubicBezTo>
                      <a:pt x="2698" y="964"/>
                      <a:pt x="-711" y="5689"/>
                      <a:pt x="127" y="10712"/>
                    </a:cubicBezTo>
                    <a:cubicBezTo>
                      <a:pt x="964" y="15736"/>
                      <a:pt x="5689" y="19145"/>
                      <a:pt x="10712" y="18308"/>
                    </a:cubicBezTo>
                    <a:cubicBezTo>
                      <a:pt x="15676" y="17471"/>
                      <a:pt x="19085" y="12746"/>
                      <a:pt x="18248" y="7722"/>
                    </a:cubicBezTo>
                    <a:cubicBezTo>
                      <a:pt x="17411" y="2698"/>
                      <a:pt x="12686" y="-711"/>
                      <a:pt x="7662" y="126"/>
                    </a:cubicBezTo>
                    <a:close/>
                  </a:path>
                </a:pathLst>
              </a:custGeom>
              <a:grpFill/>
              <a:ln w="5978" cap="flat">
                <a:noFill/>
                <a:prstDash val="solid"/>
                <a:miter/>
              </a:ln>
            </p:spPr>
            <p:txBody>
              <a:bodyPr rtlCol="0" anchor="ctr"/>
              <a:lstStyle/>
              <a:p>
                <a:endParaRPr lang="en-GB"/>
              </a:p>
            </p:txBody>
          </p:sp>
        </p:grpSp>
        <p:grpSp>
          <p:nvGrpSpPr>
            <p:cNvPr id="1252" name="Graphic 3">
              <a:extLst>
                <a:ext uri="{FF2B5EF4-FFF2-40B4-BE49-F238E27FC236}">
                  <a16:creationId xmlns:a16="http://schemas.microsoft.com/office/drawing/2014/main" id="{2203FFD1-0F48-476C-9A30-0C0CE6432237}"/>
                </a:ext>
              </a:extLst>
            </p:cNvPr>
            <p:cNvGrpSpPr/>
            <p:nvPr/>
          </p:nvGrpSpPr>
          <p:grpSpPr>
            <a:xfrm>
              <a:off x="4298539" y="4395808"/>
              <a:ext cx="381698" cy="231159"/>
              <a:chOff x="4298539" y="4395808"/>
              <a:chExt cx="381698" cy="231159"/>
            </a:xfrm>
            <a:grpFill/>
          </p:grpSpPr>
          <p:sp>
            <p:nvSpPr>
              <p:cNvPr id="1647" name="Vrije vorm: vorm 1646">
                <a:extLst>
                  <a:ext uri="{FF2B5EF4-FFF2-40B4-BE49-F238E27FC236}">
                    <a16:creationId xmlns:a16="http://schemas.microsoft.com/office/drawing/2014/main" id="{64743BD2-E2DC-466F-A10C-F1A8607594C3}"/>
                  </a:ext>
                </a:extLst>
              </p:cNvPr>
              <p:cNvSpPr/>
              <p:nvPr/>
            </p:nvSpPr>
            <p:spPr>
              <a:xfrm>
                <a:off x="4306558" y="4403466"/>
                <a:ext cx="365661" cy="215784"/>
              </a:xfrm>
              <a:custGeom>
                <a:avLst/>
                <a:gdLst>
                  <a:gd name="connsiteX0" fmla="*/ 365661 w 365661"/>
                  <a:gd name="connsiteY0" fmla="*/ 2632 h 215784"/>
                  <a:gd name="connsiteX1" fmla="*/ 1495 w 365661"/>
                  <a:gd name="connsiteY1" fmla="*/ 215785 h 215784"/>
                  <a:gd name="connsiteX2" fmla="*/ 0 w 365661"/>
                  <a:gd name="connsiteY2" fmla="*/ 213093 h 215784"/>
                  <a:gd name="connsiteX3" fmla="*/ 364166 w 365661"/>
                  <a:gd name="connsiteY3" fmla="*/ 0 h 215784"/>
                </a:gdLst>
                <a:ahLst/>
                <a:cxnLst>
                  <a:cxn ang="0">
                    <a:pos x="connsiteX0" y="connsiteY0"/>
                  </a:cxn>
                  <a:cxn ang="0">
                    <a:pos x="connsiteX1" y="connsiteY1"/>
                  </a:cxn>
                  <a:cxn ang="0">
                    <a:pos x="connsiteX2" y="connsiteY2"/>
                  </a:cxn>
                  <a:cxn ang="0">
                    <a:pos x="connsiteX3" y="connsiteY3"/>
                  </a:cxn>
                </a:cxnLst>
                <a:rect l="l" t="t" r="r" b="b"/>
                <a:pathLst>
                  <a:path w="365661" h="215784">
                    <a:moveTo>
                      <a:pt x="365661" y="2632"/>
                    </a:moveTo>
                    <a:lnTo>
                      <a:pt x="1495" y="215785"/>
                    </a:lnTo>
                    <a:lnTo>
                      <a:pt x="0" y="213093"/>
                    </a:lnTo>
                    <a:lnTo>
                      <a:pt x="364166" y="0"/>
                    </a:lnTo>
                    <a:close/>
                  </a:path>
                </a:pathLst>
              </a:custGeom>
              <a:grpFill/>
              <a:ln w="5978" cap="flat">
                <a:noFill/>
                <a:prstDash val="solid"/>
                <a:miter/>
              </a:ln>
            </p:spPr>
            <p:txBody>
              <a:bodyPr rtlCol="0" anchor="ctr"/>
              <a:lstStyle/>
              <a:p>
                <a:endParaRPr lang="en-GB"/>
              </a:p>
            </p:txBody>
          </p:sp>
          <p:sp>
            <p:nvSpPr>
              <p:cNvPr id="1648" name="Vrije vorm: vorm 1647">
                <a:extLst>
                  <a:ext uri="{FF2B5EF4-FFF2-40B4-BE49-F238E27FC236}">
                    <a16:creationId xmlns:a16="http://schemas.microsoft.com/office/drawing/2014/main" id="{0C9A4F10-8C4A-43A3-8FE1-7B5A903A5625}"/>
                  </a:ext>
                </a:extLst>
              </p:cNvPr>
              <p:cNvSpPr/>
              <p:nvPr/>
            </p:nvSpPr>
            <p:spPr>
              <a:xfrm>
                <a:off x="4661895" y="4395808"/>
                <a:ext cx="18343" cy="18484"/>
              </a:xfrm>
              <a:custGeom>
                <a:avLst/>
                <a:gdLst>
                  <a:gd name="connsiteX0" fmla="*/ 4523 w 18343"/>
                  <a:gd name="connsiteY0" fmla="*/ 1258 h 18484"/>
                  <a:gd name="connsiteX1" fmla="*/ 17083 w 18343"/>
                  <a:gd name="connsiteY1" fmla="*/ 4607 h 18484"/>
                  <a:gd name="connsiteX2" fmla="*/ 13793 w 18343"/>
                  <a:gd name="connsiteY2" fmla="*/ 17227 h 18484"/>
                  <a:gd name="connsiteX3" fmla="*/ 1234 w 18343"/>
                  <a:gd name="connsiteY3" fmla="*/ 13877 h 18484"/>
                  <a:gd name="connsiteX4" fmla="*/ 4523 w 18343"/>
                  <a:gd name="connsiteY4" fmla="*/ 125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4523" y="1258"/>
                    </a:moveTo>
                    <a:cubicBezTo>
                      <a:pt x="8889" y="-1313"/>
                      <a:pt x="14511" y="182"/>
                      <a:pt x="17083" y="4607"/>
                    </a:cubicBezTo>
                    <a:cubicBezTo>
                      <a:pt x="19654" y="9033"/>
                      <a:pt x="18159" y="14655"/>
                      <a:pt x="13793" y="17227"/>
                    </a:cubicBezTo>
                    <a:cubicBezTo>
                      <a:pt x="9427" y="19798"/>
                      <a:pt x="3805" y="18303"/>
                      <a:pt x="1234" y="13877"/>
                    </a:cubicBezTo>
                    <a:cubicBezTo>
                      <a:pt x="-1278" y="9452"/>
                      <a:pt x="157" y="3830"/>
                      <a:pt x="4523" y="1258"/>
                    </a:cubicBezTo>
                    <a:close/>
                  </a:path>
                </a:pathLst>
              </a:custGeom>
              <a:grpFill/>
              <a:ln w="5978" cap="flat">
                <a:noFill/>
                <a:prstDash val="solid"/>
                <a:miter/>
              </a:ln>
            </p:spPr>
            <p:txBody>
              <a:bodyPr rtlCol="0" anchor="ctr"/>
              <a:lstStyle/>
              <a:p>
                <a:endParaRPr lang="en-GB"/>
              </a:p>
            </p:txBody>
          </p:sp>
          <p:sp>
            <p:nvSpPr>
              <p:cNvPr id="1649" name="Vrije vorm: vorm 1648">
                <a:extLst>
                  <a:ext uri="{FF2B5EF4-FFF2-40B4-BE49-F238E27FC236}">
                    <a16:creationId xmlns:a16="http://schemas.microsoft.com/office/drawing/2014/main" id="{D2DFF84A-D034-410F-9C0F-076751B86DDE}"/>
                  </a:ext>
                </a:extLst>
              </p:cNvPr>
              <p:cNvSpPr/>
              <p:nvPr/>
            </p:nvSpPr>
            <p:spPr>
              <a:xfrm>
                <a:off x="4298539" y="4608483"/>
                <a:ext cx="18343" cy="18484"/>
              </a:xfrm>
              <a:custGeom>
                <a:avLst/>
                <a:gdLst>
                  <a:gd name="connsiteX0" fmla="*/ 4550 w 18343"/>
                  <a:gd name="connsiteY0" fmla="*/ 1258 h 18484"/>
                  <a:gd name="connsiteX1" fmla="*/ 1260 w 18343"/>
                  <a:gd name="connsiteY1" fmla="*/ 13877 h 18484"/>
                  <a:gd name="connsiteX2" fmla="*/ 13820 w 18343"/>
                  <a:gd name="connsiteY2" fmla="*/ 17227 h 18484"/>
                  <a:gd name="connsiteX3" fmla="*/ 17109 w 18343"/>
                  <a:gd name="connsiteY3" fmla="*/ 4607 h 18484"/>
                  <a:gd name="connsiteX4" fmla="*/ 4550 w 18343"/>
                  <a:gd name="connsiteY4" fmla="*/ 125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4550" y="1258"/>
                    </a:moveTo>
                    <a:cubicBezTo>
                      <a:pt x="184" y="3830"/>
                      <a:pt x="-1311" y="9452"/>
                      <a:pt x="1260" y="13877"/>
                    </a:cubicBezTo>
                    <a:cubicBezTo>
                      <a:pt x="3832" y="18303"/>
                      <a:pt x="9454" y="19798"/>
                      <a:pt x="13820" y="17227"/>
                    </a:cubicBezTo>
                    <a:cubicBezTo>
                      <a:pt x="18186" y="14655"/>
                      <a:pt x="19621" y="9033"/>
                      <a:pt x="17109" y="4607"/>
                    </a:cubicBezTo>
                    <a:cubicBezTo>
                      <a:pt x="14538" y="182"/>
                      <a:pt x="8916" y="-1313"/>
                      <a:pt x="4550" y="1258"/>
                    </a:cubicBezTo>
                    <a:close/>
                  </a:path>
                </a:pathLst>
              </a:custGeom>
              <a:grpFill/>
              <a:ln w="5978" cap="flat">
                <a:noFill/>
                <a:prstDash val="solid"/>
                <a:miter/>
              </a:ln>
            </p:spPr>
            <p:txBody>
              <a:bodyPr rtlCol="0" anchor="ctr"/>
              <a:lstStyle/>
              <a:p>
                <a:endParaRPr lang="en-GB"/>
              </a:p>
            </p:txBody>
          </p:sp>
        </p:grpSp>
        <p:grpSp>
          <p:nvGrpSpPr>
            <p:cNvPr id="1253" name="Graphic 3">
              <a:extLst>
                <a:ext uri="{FF2B5EF4-FFF2-40B4-BE49-F238E27FC236}">
                  <a16:creationId xmlns:a16="http://schemas.microsoft.com/office/drawing/2014/main" id="{D16793A5-ACCD-41ED-A7D5-E614E230A0D3}"/>
                </a:ext>
              </a:extLst>
            </p:cNvPr>
            <p:cNvGrpSpPr/>
            <p:nvPr/>
          </p:nvGrpSpPr>
          <p:grpSpPr>
            <a:xfrm>
              <a:off x="4352466" y="4205720"/>
              <a:ext cx="66912" cy="42030"/>
              <a:chOff x="4352466" y="4205720"/>
              <a:chExt cx="66912" cy="42030"/>
            </a:xfrm>
            <a:grpFill/>
          </p:grpSpPr>
          <p:sp>
            <p:nvSpPr>
              <p:cNvPr id="1644" name="Vrije vorm: vorm 1643">
                <a:extLst>
                  <a:ext uri="{FF2B5EF4-FFF2-40B4-BE49-F238E27FC236}">
                    <a16:creationId xmlns:a16="http://schemas.microsoft.com/office/drawing/2014/main" id="{81CFB5CD-36E8-4852-AC94-B5FBBEF3E083}"/>
                  </a:ext>
                </a:extLst>
              </p:cNvPr>
              <p:cNvSpPr/>
              <p:nvPr/>
            </p:nvSpPr>
            <p:spPr>
              <a:xfrm>
                <a:off x="4360564" y="4213398"/>
                <a:ext cx="50716" cy="26674"/>
              </a:xfrm>
              <a:custGeom>
                <a:avLst/>
                <a:gdLst>
                  <a:gd name="connsiteX0" fmla="*/ 50716 w 50716"/>
                  <a:gd name="connsiteY0" fmla="*/ 2751 h 26674"/>
                  <a:gd name="connsiteX1" fmla="*/ 1316 w 50716"/>
                  <a:gd name="connsiteY1" fmla="*/ 26674 h 26674"/>
                  <a:gd name="connsiteX2" fmla="*/ 0 w 50716"/>
                  <a:gd name="connsiteY2" fmla="*/ 23923 h 26674"/>
                  <a:gd name="connsiteX3" fmla="*/ 49400 w 50716"/>
                  <a:gd name="connsiteY3" fmla="*/ 0 h 26674"/>
                </a:gdLst>
                <a:ahLst/>
                <a:cxnLst>
                  <a:cxn ang="0">
                    <a:pos x="connsiteX0" y="connsiteY0"/>
                  </a:cxn>
                  <a:cxn ang="0">
                    <a:pos x="connsiteX1" y="connsiteY1"/>
                  </a:cxn>
                  <a:cxn ang="0">
                    <a:pos x="connsiteX2" y="connsiteY2"/>
                  </a:cxn>
                  <a:cxn ang="0">
                    <a:pos x="connsiteX3" y="connsiteY3"/>
                  </a:cxn>
                </a:cxnLst>
                <a:rect l="l" t="t" r="r" b="b"/>
                <a:pathLst>
                  <a:path w="50716" h="26674">
                    <a:moveTo>
                      <a:pt x="50716" y="2751"/>
                    </a:moveTo>
                    <a:lnTo>
                      <a:pt x="1316" y="26674"/>
                    </a:lnTo>
                    <a:lnTo>
                      <a:pt x="0" y="23923"/>
                    </a:lnTo>
                    <a:lnTo>
                      <a:pt x="49400" y="0"/>
                    </a:lnTo>
                    <a:close/>
                  </a:path>
                </a:pathLst>
              </a:custGeom>
              <a:grpFill/>
              <a:ln w="5978" cap="flat">
                <a:noFill/>
                <a:prstDash val="solid"/>
                <a:miter/>
              </a:ln>
            </p:spPr>
            <p:txBody>
              <a:bodyPr rtlCol="0" anchor="ctr"/>
              <a:lstStyle/>
              <a:p>
                <a:endParaRPr lang="en-GB"/>
              </a:p>
            </p:txBody>
          </p:sp>
          <p:sp>
            <p:nvSpPr>
              <p:cNvPr id="1645" name="Vrije vorm: vorm 1644">
                <a:extLst>
                  <a:ext uri="{FF2B5EF4-FFF2-40B4-BE49-F238E27FC236}">
                    <a16:creationId xmlns:a16="http://schemas.microsoft.com/office/drawing/2014/main" id="{8F9DDD95-7C28-4719-997E-FD17EE464632}"/>
                  </a:ext>
                </a:extLst>
              </p:cNvPr>
              <p:cNvSpPr/>
              <p:nvPr/>
            </p:nvSpPr>
            <p:spPr>
              <a:xfrm>
                <a:off x="4352466" y="4229284"/>
                <a:ext cx="18349" cy="18466"/>
              </a:xfrm>
              <a:custGeom>
                <a:avLst/>
                <a:gdLst>
                  <a:gd name="connsiteX0" fmla="*/ 13181 w 18349"/>
                  <a:gd name="connsiteY0" fmla="*/ 17546 h 18466"/>
                  <a:gd name="connsiteX1" fmla="*/ 921 w 18349"/>
                  <a:gd name="connsiteY1" fmla="*/ 13240 h 18466"/>
                  <a:gd name="connsiteX2" fmla="*/ 5167 w 18349"/>
                  <a:gd name="connsiteY2" fmla="*/ 920 h 18466"/>
                  <a:gd name="connsiteX3" fmla="*/ 17428 w 18349"/>
                  <a:gd name="connsiteY3" fmla="*/ 5226 h 18466"/>
                  <a:gd name="connsiteX4" fmla="*/ 13181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1" y="17546"/>
                    </a:moveTo>
                    <a:cubicBezTo>
                      <a:pt x="8636" y="19759"/>
                      <a:pt x="3134" y="17845"/>
                      <a:pt x="921" y="13240"/>
                    </a:cubicBezTo>
                    <a:cubicBezTo>
                      <a:pt x="-1292" y="8635"/>
                      <a:pt x="622" y="3133"/>
                      <a:pt x="5167" y="920"/>
                    </a:cubicBezTo>
                    <a:cubicBezTo>
                      <a:pt x="9713" y="-1293"/>
                      <a:pt x="15215" y="621"/>
                      <a:pt x="17428" y="5226"/>
                    </a:cubicBezTo>
                    <a:cubicBezTo>
                      <a:pt x="19641" y="9831"/>
                      <a:pt x="17727" y="15333"/>
                      <a:pt x="13181" y="17546"/>
                    </a:cubicBezTo>
                    <a:close/>
                  </a:path>
                </a:pathLst>
              </a:custGeom>
              <a:grpFill/>
              <a:ln w="5978" cap="flat">
                <a:noFill/>
                <a:prstDash val="solid"/>
                <a:miter/>
              </a:ln>
            </p:spPr>
            <p:txBody>
              <a:bodyPr rtlCol="0" anchor="ctr"/>
              <a:lstStyle/>
              <a:p>
                <a:endParaRPr lang="en-GB"/>
              </a:p>
            </p:txBody>
          </p:sp>
          <p:sp>
            <p:nvSpPr>
              <p:cNvPr id="1646" name="Vrije vorm: vorm 1645">
                <a:extLst>
                  <a:ext uri="{FF2B5EF4-FFF2-40B4-BE49-F238E27FC236}">
                    <a16:creationId xmlns:a16="http://schemas.microsoft.com/office/drawing/2014/main" id="{7F8415FC-4181-4F0D-B4FE-EED42BC45AD3}"/>
                  </a:ext>
                </a:extLst>
              </p:cNvPr>
              <p:cNvSpPr/>
              <p:nvPr/>
            </p:nvSpPr>
            <p:spPr>
              <a:xfrm>
                <a:off x="4401029" y="4205720"/>
                <a:ext cx="18349" cy="18466"/>
              </a:xfrm>
              <a:custGeom>
                <a:avLst/>
                <a:gdLst>
                  <a:gd name="connsiteX0" fmla="*/ 13181 w 18349"/>
                  <a:gd name="connsiteY0" fmla="*/ 17546 h 18466"/>
                  <a:gd name="connsiteX1" fmla="*/ 17428 w 18349"/>
                  <a:gd name="connsiteY1" fmla="*/ 5226 h 18466"/>
                  <a:gd name="connsiteX2" fmla="*/ 5168 w 18349"/>
                  <a:gd name="connsiteY2" fmla="*/ 920 h 18466"/>
                  <a:gd name="connsiteX3" fmla="*/ 921 w 18349"/>
                  <a:gd name="connsiteY3" fmla="*/ 13240 h 18466"/>
                  <a:gd name="connsiteX4" fmla="*/ 13181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1" y="17546"/>
                    </a:moveTo>
                    <a:cubicBezTo>
                      <a:pt x="17727" y="15333"/>
                      <a:pt x="19641" y="9831"/>
                      <a:pt x="17428" y="5226"/>
                    </a:cubicBezTo>
                    <a:cubicBezTo>
                      <a:pt x="15215" y="621"/>
                      <a:pt x="9713" y="-1293"/>
                      <a:pt x="5168" y="920"/>
                    </a:cubicBezTo>
                    <a:cubicBezTo>
                      <a:pt x="622" y="3133"/>
                      <a:pt x="-1292" y="8635"/>
                      <a:pt x="921" y="13240"/>
                    </a:cubicBezTo>
                    <a:cubicBezTo>
                      <a:pt x="3134" y="17845"/>
                      <a:pt x="8636" y="19759"/>
                      <a:pt x="13181" y="17546"/>
                    </a:cubicBezTo>
                    <a:close/>
                  </a:path>
                </a:pathLst>
              </a:custGeom>
              <a:grpFill/>
              <a:ln w="5978" cap="flat">
                <a:noFill/>
                <a:prstDash val="solid"/>
                <a:miter/>
              </a:ln>
            </p:spPr>
            <p:txBody>
              <a:bodyPr rtlCol="0" anchor="ctr"/>
              <a:lstStyle/>
              <a:p>
                <a:endParaRPr lang="en-GB"/>
              </a:p>
            </p:txBody>
          </p:sp>
        </p:grpSp>
        <p:grpSp>
          <p:nvGrpSpPr>
            <p:cNvPr id="1254" name="Graphic 3">
              <a:extLst>
                <a:ext uri="{FF2B5EF4-FFF2-40B4-BE49-F238E27FC236}">
                  <a16:creationId xmlns:a16="http://schemas.microsoft.com/office/drawing/2014/main" id="{4C16B91C-43CC-46E3-BF51-F2F05870CDCE}"/>
                </a:ext>
              </a:extLst>
            </p:cNvPr>
            <p:cNvGrpSpPr/>
            <p:nvPr/>
          </p:nvGrpSpPr>
          <p:grpSpPr>
            <a:xfrm>
              <a:off x="4535957" y="4728264"/>
              <a:ext cx="61365" cy="57145"/>
              <a:chOff x="4535957" y="4728264"/>
              <a:chExt cx="61365" cy="57145"/>
            </a:xfrm>
            <a:grpFill/>
          </p:grpSpPr>
          <p:sp>
            <p:nvSpPr>
              <p:cNvPr id="1641" name="Vrije vorm: vorm 1640">
                <a:extLst>
                  <a:ext uri="{FF2B5EF4-FFF2-40B4-BE49-F238E27FC236}">
                    <a16:creationId xmlns:a16="http://schemas.microsoft.com/office/drawing/2014/main" id="{D1454B45-034E-43EB-9493-3ABE3AEA4F95}"/>
                  </a:ext>
                </a:extLst>
              </p:cNvPr>
              <p:cNvSpPr/>
              <p:nvPr/>
            </p:nvSpPr>
            <p:spPr>
              <a:xfrm>
                <a:off x="4543753" y="4735994"/>
                <a:ext cx="45752" cy="41685"/>
              </a:xfrm>
              <a:custGeom>
                <a:avLst/>
                <a:gdLst>
                  <a:gd name="connsiteX0" fmla="*/ 45752 w 45752"/>
                  <a:gd name="connsiteY0" fmla="*/ 2273 h 41685"/>
                  <a:gd name="connsiteX1" fmla="*/ 2033 w 45752"/>
                  <a:gd name="connsiteY1" fmla="*/ 41686 h 41685"/>
                  <a:gd name="connsiteX2" fmla="*/ 0 w 45752"/>
                  <a:gd name="connsiteY2" fmla="*/ 39413 h 41685"/>
                  <a:gd name="connsiteX3" fmla="*/ 43719 w 45752"/>
                  <a:gd name="connsiteY3" fmla="*/ 0 h 41685"/>
                </a:gdLst>
                <a:ahLst/>
                <a:cxnLst>
                  <a:cxn ang="0">
                    <a:pos x="connsiteX0" y="connsiteY0"/>
                  </a:cxn>
                  <a:cxn ang="0">
                    <a:pos x="connsiteX1" y="connsiteY1"/>
                  </a:cxn>
                  <a:cxn ang="0">
                    <a:pos x="connsiteX2" y="connsiteY2"/>
                  </a:cxn>
                  <a:cxn ang="0">
                    <a:pos x="connsiteX3" y="connsiteY3"/>
                  </a:cxn>
                </a:cxnLst>
                <a:rect l="l" t="t" r="r" b="b"/>
                <a:pathLst>
                  <a:path w="45752" h="41685">
                    <a:moveTo>
                      <a:pt x="45752" y="2273"/>
                    </a:moveTo>
                    <a:lnTo>
                      <a:pt x="2033" y="41686"/>
                    </a:lnTo>
                    <a:lnTo>
                      <a:pt x="0" y="39413"/>
                    </a:lnTo>
                    <a:lnTo>
                      <a:pt x="43719" y="0"/>
                    </a:lnTo>
                    <a:close/>
                  </a:path>
                </a:pathLst>
              </a:custGeom>
              <a:grpFill/>
              <a:ln w="5978" cap="flat">
                <a:noFill/>
                <a:prstDash val="solid"/>
                <a:miter/>
              </a:ln>
            </p:spPr>
            <p:txBody>
              <a:bodyPr rtlCol="0" anchor="ctr"/>
              <a:lstStyle/>
              <a:p>
                <a:endParaRPr lang="en-GB"/>
              </a:p>
            </p:txBody>
          </p:sp>
          <p:sp>
            <p:nvSpPr>
              <p:cNvPr id="1642" name="Vrije vorm: vorm 1641">
                <a:extLst>
                  <a:ext uri="{FF2B5EF4-FFF2-40B4-BE49-F238E27FC236}">
                    <a16:creationId xmlns:a16="http://schemas.microsoft.com/office/drawing/2014/main" id="{616BC339-F3E9-4B33-8FAF-86F252511FCE}"/>
                  </a:ext>
                </a:extLst>
              </p:cNvPr>
              <p:cNvSpPr/>
              <p:nvPr/>
            </p:nvSpPr>
            <p:spPr>
              <a:xfrm>
                <a:off x="4535957" y="4767019"/>
                <a:ext cx="18304" cy="18391"/>
              </a:xfrm>
              <a:custGeom>
                <a:avLst/>
                <a:gdLst>
                  <a:gd name="connsiteX0" fmla="*/ 15272 w 18304"/>
                  <a:gd name="connsiteY0" fmla="*/ 16043 h 18391"/>
                  <a:gd name="connsiteX1" fmla="*/ 2354 w 18304"/>
                  <a:gd name="connsiteY1" fmla="*/ 15326 h 18391"/>
                  <a:gd name="connsiteX2" fmla="*/ 3011 w 18304"/>
                  <a:gd name="connsiteY2" fmla="*/ 2348 h 18391"/>
                  <a:gd name="connsiteX3" fmla="*/ 15930 w 18304"/>
                  <a:gd name="connsiteY3" fmla="*/ 3065 h 18391"/>
                  <a:gd name="connsiteX4" fmla="*/ 15272 w 18304"/>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391">
                    <a:moveTo>
                      <a:pt x="15272" y="16043"/>
                    </a:moveTo>
                    <a:cubicBezTo>
                      <a:pt x="11504" y="19452"/>
                      <a:pt x="5703" y="19094"/>
                      <a:pt x="2354" y="15326"/>
                    </a:cubicBezTo>
                    <a:cubicBezTo>
                      <a:pt x="-1055" y="11558"/>
                      <a:pt x="-697" y="5697"/>
                      <a:pt x="3011" y="2348"/>
                    </a:cubicBezTo>
                    <a:cubicBezTo>
                      <a:pt x="6779" y="-1061"/>
                      <a:pt x="12581" y="-703"/>
                      <a:pt x="15930" y="3065"/>
                    </a:cubicBezTo>
                    <a:cubicBezTo>
                      <a:pt x="19339" y="6833"/>
                      <a:pt x="19040" y="12694"/>
                      <a:pt x="15272" y="16043"/>
                    </a:cubicBezTo>
                    <a:close/>
                  </a:path>
                </a:pathLst>
              </a:custGeom>
              <a:grpFill/>
              <a:ln w="5978" cap="flat">
                <a:noFill/>
                <a:prstDash val="solid"/>
                <a:miter/>
              </a:ln>
            </p:spPr>
            <p:txBody>
              <a:bodyPr rtlCol="0" anchor="ctr"/>
              <a:lstStyle/>
              <a:p>
                <a:endParaRPr lang="en-GB"/>
              </a:p>
            </p:txBody>
          </p:sp>
          <p:sp>
            <p:nvSpPr>
              <p:cNvPr id="1643" name="Vrije vorm: vorm 1642">
                <a:extLst>
                  <a:ext uri="{FF2B5EF4-FFF2-40B4-BE49-F238E27FC236}">
                    <a16:creationId xmlns:a16="http://schemas.microsoft.com/office/drawing/2014/main" id="{AD98C96A-B3E2-4A52-BC7F-E03D8F90DC52}"/>
                  </a:ext>
                </a:extLst>
              </p:cNvPr>
              <p:cNvSpPr/>
              <p:nvPr/>
            </p:nvSpPr>
            <p:spPr>
              <a:xfrm>
                <a:off x="4578998" y="4728264"/>
                <a:ext cx="18324" cy="18411"/>
              </a:xfrm>
              <a:custGeom>
                <a:avLst/>
                <a:gdLst>
                  <a:gd name="connsiteX0" fmla="*/ 15293 w 18324"/>
                  <a:gd name="connsiteY0" fmla="*/ 16043 h 18411"/>
                  <a:gd name="connsiteX1" fmla="*/ 15951 w 18324"/>
                  <a:gd name="connsiteY1" fmla="*/ 3065 h 18411"/>
                  <a:gd name="connsiteX2" fmla="*/ 3032 w 18324"/>
                  <a:gd name="connsiteY2" fmla="*/ 2348 h 18411"/>
                  <a:gd name="connsiteX3" fmla="*/ 2374 w 18324"/>
                  <a:gd name="connsiteY3" fmla="*/ 15326 h 18411"/>
                  <a:gd name="connsiteX4" fmla="*/ 15293 w 18324"/>
                  <a:gd name="connsiteY4" fmla="*/ 1604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11">
                    <a:moveTo>
                      <a:pt x="15293" y="16043"/>
                    </a:moveTo>
                    <a:cubicBezTo>
                      <a:pt x="19060" y="12634"/>
                      <a:pt x="19359" y="6833"/>
                      <a:pt x="15951" y="3065"/>
                    </a:cubicBezTo>
                    <a:cubicBezTo>
                      <a:pt x="12542" y="-703"/>
                      <a:pt x="6800" y="-1061"/>
                      <a:pt x="3032" y="2348"/>
                    </a:cubicBezTo>
                    <a:cubicBezTo>
                      <a:pt x="-736" y="5757"/>
                      <a:pt x="-1035" y="11558"/>
                      <a:pt x="2374" y="15326"/>
                    </a:cubicBezTo>
                    <a:cubicBezTo>
                      <a:pt x="5724" y="19153"/>
                      <a:pt x="11525" y="19452"/>
                      <a:pt x="15293" y="16043"/>
                    </a:cubicBezTo>
                    <a:close/>
                  </a:path>
                </a:pathLst>
              </a:custGeom>
              <a:grpFill/>
              <a:ln w="5978" cap="flat">
                <a:noFill/>
                <a:prstDash val="solid"/>
                <a:miter/>
              </a:ln>
            </p:spPr>
            <p:txBody>
              <a:bodyPr rtlCol="0" anchor="ctr"/>
              <a:lstStyle/>
              <a:p>
                <a:endParaRPr lang="en-GB"/>
              </a:p>
            </p:txBody>
          </p:sp>
        </p:grpSp>
        <p:grpSp>
          <p:nvGrpSpPr>
            <p:cNvPr id="1255" name="Graphic 3">
              <a:extLst>
                <a:ext uri="{FF2B5EF4-FFF2-40B4-BE49-F238E27FC236}">
                  <a16:creationId xmlns:a16="http://schemas.microsoft.com/office/drawing/2014/main" id="{505C6B7A-426E-4125-873C-6A1458299C81}"/>
                </a:ext>
              </a:extLst>
            </p:cNvPr>
            <p:cNvGrpSpPr/>
            <p:nvPr/>
          </p:nvGrpSpPr>
          <p:grpSpPr>
            <a:xfrm>
              <a:off x="4093770" y="3786263"/>
              <a:ext cx="323196" cy="52268"/>
              <a:chOff x="4093770" y="3786263"/>
              <a:chExt cx="323196" cy="52268"/>
            </a:xfrm>
            <a:grpFill/>
          </p:grpSpPr>
          <p:sp>
            <p:nvSpPr>
              <p:cNvPr id="1638" name="Vrije vorm: vorm 1637">
                <a:extLst>
                  <a:ext uri="{FF2B5EF4-FFF2-40B4-BE49-F238E27FC236}">
                    <a16:creationId xmlns:a16="http://schemas.microsoft.com/office/drawing/2014/main" id="{C910D9EC-81F6-4B89-AB29-D21992689E5A}"/>
                  </a:ext>
                </a:extLst>
              </p:cNvPr>
              <p:cNvSpPr/>
              <p:nvPr/>
            </p:nvSpPr>
            <p:spPr>
              <a:xfrm>
                <a:off x="4102316" y="3793911"/>
                <a:ext cx="306093" cy="36960"/>
              </a:xfrm>
              <a:custGeom>
                <a:avLst/>
                <a:gdLst>
                  <a:gd name="connsiteX0" fmla="*/ 305735 w 306093"/>
                  <a:gd name="connsiteY0" fmla="*/ 0 h 36960"/>
                  <a:gd name="connsiteX1" fmla="*/ 306094 w 306093"/>
                  <a:gd name="connsiteY1" fmla="*/ 3050 h 36960"/>
                  <a:gd name="connsiteX2" fmla="*/ 359 w 306093"/>
                  <a:gd name="connsiteY2" fmla="*/ 36961 h 36960"/>
                  <a:gd name="connsiteX3" fmla="*/ 0 w 306093"/>
                  <a:gd name="connsiteY3" fmla="*/ 33911 h 36960"/>
                </a:gdLst>
                <a:ahLst/>
                <a:cxnLst>
                  <a:cxn ang="0">
                    <a:pos x="connsiteX0" y="connsiteY0"/>
                  </a:cxn>
                  <a:cxn ang="0">
                    <a:pos x="connsiteX1" y="connsiteY1"/>
                  </a:cxn>
                  <a:cxn ang="0">
                    <a:pos x="connsiteX2" y="connsiteY2"/>
                  </a:cxn>
                  <a:cxn ang="0">
                    <a:pos x="connsiteX3" y="connsiteY3"/>
                  </a:cxn>
                </a:cxnLst>
                <a:rect l="l" t="t" r="r" b="b"/>
                <a:pathLst>
                  <a:path w="306093" h="36960">
                    <a:moveTo>
                      <a:pt x="305735" y="0"/>
                    </a:moveTo>
                    <a:lnTo>
                      <a:pt x="306094" y="3050"/>
                    </a:lnTo>
                    <a:lnTo>
                      <a:pt x="359" y="36961"/>
                    </a:lnTo>
                    <a:lnTo>
                      <a:pt x="0" y="33911"/>
                    </a:lnTo>
                    <a:close/>
                  </a:path>
                </a:pathLst>
              </a:custGeom>
              <a:grpFill/>
              <a:ln w="5978" cap="flat">
                <a:noFill/>
                <a:prstDash val="solid"/>
                <a:miter/>
              </a:ln>
            </p:spPr>
            <p:txBody>
              <a:bodyPr rtlCol="0" anchor="ctr"/>
              <a:lstStyle/>
              <a:p>
                <a:endParaRPr lang="en-GB"/>
              </a:p>
            </p:txBody>
          </p:sp>
          <p:sp>
            <p:nvSpPr>
              <p:cNvPr id="1639" name="Vrije vorm: vorm 1638">
                <a:extLst>
                  <a:ext uri="{FF2B5EF4-FFF2-40B4-BE49-F238E27FC236}">
                    <a16:creationId xmlns:a16="http://schemas.microsoft.com/office/drawing/2014/main" id="{849E695B-0A91-4703-BC51-B9F13D294871}"/>
                  </a:ext>
                </a:extLst>
              </p:cNvPr>
              <p:cNvSpPr/>
              <p:nvPr/>
            </p:nvSpPr>
            <p:spPr>
              <a:xfrm>
                <a:off x="4398597" y="3786263"/>
                <a:ext cx="18369" cy="18406"/>
              </a:xfrm>
              <a:custGeom>
                <a:avLst/>
                <a:gdLst>
                  <a:gd name="connsiteX0" fmla="*/ 8138 w 18369"/>
                  <a:gd name="connsiteY0" fmla="*/ 53 h 18406"/>
                  <a:gd name="connsiteX1" fmla="*/ 18305 w 18369"/>
                  <a:gd name="connsiteY1" fmla="*/ 8186 h 18406"/>
                  <a:gd name="connsiteX2" fmla="*/ 10231 w 18369"/>
                  <a:gd name="connsiteY2" fmla="*/ 18354 h 18406"/>
                  <a:gd name="connsiteX3" fmla="*/ 64 w 18369"/>
                  <a:gd name="connsiteY3" fmla="*/ 10220 h 18406"/>
                  <a:gd name="connsiteX4" fmla="*/ 8138 w 18369"/>
                  <a:gd name="connsiteY4" fmla="*/ 5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6">
                    <a:moveTo>
                      <a:pt x="8138" y="53"/>
                    </a:moveTo>
                    <a:cubicBezTo>
                      <a:pt x="13162" y="-486"/>
                      <a:pt x="17707" y="3163"/>
                      <a:pt x="18305" y="8186"/>
                    </a:cubicBezTo>
                    <a:cubicBezTo>
                      <a:pt x="18903" y="13270"/>
                      <a:pt x="15255" y="17815"/>
                      <a:pt x="10231" y="18354"/>
                    </a:cubicBezTo>
                    <a:cubicBezTo>
                      <a:pt x="5208" y="18892"/>
                      <a:pt x="662" y="15244"/>
                      <a:pt x="64" y="10220"/>
                    </a:cubicBezTo>
                    <a:cubicBezTo>
                      <a:pt x="-534" y="5196"/>
                      <a:pt x="3114" y="651"/>
                      <a:pt x="8138" y="53"/>
                    </a:cubicBezTo>
                    <a:close/>
                  </a:path>
                </a:pathLst>
              </a:custGeom>
              <a:grpFill/>
              <a:ln w="5978" cap="flat">
                <a:noFill/>
                <a:prstDash val="solid"/>
                <a:miter/>
              </a:ln>
            </p:spPr>
            <p:txBody>
              <a:bodyPr rtlCol="0" anchor="ctr"/>
              <a:lstStyle/>
              <a:p>
                <a:endParaRPr lang="en-GB"/>
              </a:p>
            </p:txBody>
          </p:sp>
          <p:sp>
            <p:nvSpPr>
              <p:cNvPr id="1640" name="Vrije vorm: vorm 1639">
                <a:extLst>
                  <a:ext uri="{FF2B5EF4-FFF2-40B4-BE49-F238E27FC236}">
                    <a16:creationId xmlns:a16="http://schemas.microsoft.com/office/drawing/2014/main" id="{11A11B4B-2081-430F-9708-E89A2089FE77}"/>
                  </a:ext>
                </a:extLst>
              </p:cNvPr>
              <p:cNvSpPr/>
              <p:nvPr/>
            </p:nvSpPr>
            <p:spPr>
              <a:xfrm>
                <a:off x="4093770" y="3820102"/>
                <a:ext cx="18347" cy="18429"/>
              </a:xfrm>
              <a:custGeom>
                <a:avLst/>
                <a:gdLst>
                  <a:gd name="connsiteX0" fmla="*/ 8128 w 18347"/>
                  <a:gd name="connsiteY0" fmla="*/ 64 h 18429"/>
                  <a:gd name="connsiteX1" fmla="*/ 53 w 18347"/>
                  <a:gd name="connsiteY1" fmla="*/ 10231 h 18429"/>
                  <a:gd name="connsiteX2" fmla="*/ 10221 w 18347"/>
                  <a:gd name="connsiteY2" fmla="*/ 18365 h 18429"/>
                  <a:gd name="connsiteX3" fmla="*/ 18295 w 18347"/>
                  <a:gd name="connsiteY3" fmla="*/ 8198 h 18429"/>
                  <a:gd name="connsiteX4" fmla="*/ 8128 w 18347"/>
                  <a:gd name="connsiteY4" fmla="*/ 6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29">
                    <a:moveTo>
                      <a:pt x="8128" y="64"/>
                    </a:moveTo>
                    <a:cubicBezTo>
                      <a:pt x="3104" y="603"/>
                      <a:pt x="-485" y="5148"/>
                      <a:pt x="53" y="10231"/>
                    </a:cubicBezTo>
                    <a:cubicBezTo>
                      <a:pt x="592" y="15315"/>
                      <a:pt x="5197" y="18963"/>
                      <a:pt x="10221" y="18365"/>
                    </a:cubicBezTo>
                    <a:cubicBezTo>
                      <a:pt x="15245" y="17827"/>
                      <a:pt x="18833" y="13282"/>
                      <a:pt x="18295" y="8198"/>
                    </a:cubicBezTo>
                    <a:cubicBezTo>
                      <a:pt x="17697" y="3114"/>
                      <a:pt x="13151" y="-534"/>
                      <a:pt x="8128" y="64"/>
                    </a:cubicBezTo>
                    <a:close/>
                  </a:path>
                </a:pathLst>
              </a:custGeom>
              <a:grpFill/>
              <a:ln w="5978" cap="flat">
                <a:noFill/>
                <a:prstDash val="solid"/>
                <a:miter/>
              </a:ln>
            </p:spPr>
            <p:txBody>
              <a:bodyPr rtlCol="0" anchor="ctr"/>
              <a:lstStyle/>
              <a:p>
                <a:endParaRPr lang="en-GB"/>
              </a:p>
            </p:txBody>
          </p:sp>
        </p:grpSp>
        <p:grpSp>
          <p:nvGrpSpPr>
            <p:cNvPr id="1256" name="Graphic 3">
              <a:extLst>
                <a:ext uri="{FF2B5EF4-FFF2-40B4-BE49-F238E27FC236}">
                  <a16:creationId xmlns:a16="http://schemas.microsoft.com/office/drawing/2014/main" id="{54F9396C-B43D-4D33-AEE5-24B4547D8304}"/>
                </a:ext>
              </a:extLst>
            </p:cNvPr>
            <p:cNvGrpSpPr/>
            <p:nvPr/>
          </p:nvGrpSpPr>
          <p:grpSpPr>
            <a:xfrm>
              <a:off x="4594014" y="4954742"/>
              <a:ext cx="148933" cy="171401"/>
              <a:chOff x="4594014" y="4954742"/>
              <a:chExt cx="148933" cy="171401"/>
            </a:xfrm>
            <a:grpFill/>
          </p:grpSpPr>
          <p:sp>
            <p:nvSpPr>
              <p:cNvPr id="1635" name="Vrije vorm: vorm 1634">
                <a:extLst>
                  <a:ext uri="{FF2B5EF4-FFF2-40B4-BE49-F238E27FC236}">
                    <a16:creationId xmlns:a16="http://schemas.microsoft.com/office/drawing/2014/main" id="{D30AE4CA-446C-428E-930E-4A00F2735142}"/>
                  </a:ext>
                </a:extLst>
              </p:cNvPr>
              <p:cNvSpPr/>
              <p:nvPr/>
            </p:nvSpPr>
            <p:spPr>
              <a:xfrm>
                <a:off x="4601706" y="4962603"/>
                <a:ext cx="133549" cy="155678"/>
              </a:xfrm>
              <a:custGeom>
                <a:avLst/>
                <a:gdLst>
                  <a:gd name="connsiteX0" fmla="*/ 133550 w 133549"/>
                  <a:gd name="connsiteY0" fmla="*/ 2034 h 155678"/>
                  <a:gd name="connsiteX1" fmla="*/ 2273 w 133549"/>
                  <a:gd name="connsiteY1" fmla="*/ 155678 h 155678"/>
                  <a:gd name="connsiteX2" fmla="*/ 0 w 133549"/>
                  <a:gd name="connsiteY2" fmla="*/ 153645 h 155678"/>
                  <a:gd name="connsiteX3" fmla="*/ 131217 w 133549"/>
                  <a:gd name="connsiteY3" fmla="*/ 0 h 155678"/>
                </a:gdLst>
                <a:ahLst/>
                <a:cxnLst>
                  <a:cxn ang="0">
                    <a:pos x="connsiteX0" y="connsiteY0"/>
                  </a:cxn>
                  <a:cxn ang="0">
                    <a:pos x="connsiteX1" y="connsiteY1"/>
                  </a:cxn>
                  <a:cxn ang="0">
                    <a:pos x="connsiteX2" y="connsiteY2"/>
                  </a:cxn>
                  <a:cxn ang="0">
                    <a:pos x="connsiteX3" y="connsiteY3"/>
                  </a:cxn>
                </a:cxnLst>
                <a:rect l="l" t="t" r="r" b="b"/>
                <a:pathLst>
                  <a:path w="133549" h="155678">
                    <a:moveTo>
                      <a:pt x="133550" y="2034"/>
                    </a:moveTo>
                    <a:lnTo>
                      <a:pt x="2273" y="155678"/>
                    </a:lnTo>
                    <a:lnTo>
                      <a:pt x="0" y="153645"/>
                    </a:lnTo>
                    <a:lnTo>
                      <a:pt x="131217" y="0"/>
                    </a:lnTo>
                    <a:close/>
                  </a:path>
                </a:pathLst>
              </a:custGeom>
              <a:grpFill/>
              <a:ln w="5978" cap="flat">
                <a:noFill/>
                <a:prstDash val="solid"/>
                <a:miter/>
              </a:ln>
            </p:spPr>
            <p:txBody>
              <a:bodyPr rtlCol="0" anchor="ctr"/>
              <a:lstStyle/>
              <a:p>
                <a:endParaRPr lang="en-GB"/>
              </a:p>
            </p:txBody>
          </p:sp>
          <p:sp>
            <p:nvSpPr>
              <p:cNvPr id="1636" name="Vrije vorm: vorm 1635">
                <a:extLst>
                  <a:ext uri="{FF2B5EF4-FFF2-40B4-BE49-F238E27FC236}">
                    <a16:creationId xmlns:a16="http://schemas.microsoft.com/office/drawing/2014/main" id="{7815637B-02E5-4750-81C0-B3F898F30DF7}"/>
                  </a:ext>
                </a:extLst>
              </p:cNvPr>
              <p:cNvSpPr/>
              <p:nvPr/>
            </p:nvSpPr>
            <p:spPr>
              <a:xfrm>
                <a:off x="4594014" y="5107729"/>
                <a:ext cx="18314" cy="18414"/>
              </a:xfrm>
              <a:custGeom>
                <a:avLst/>
                <a:gdLst>
                  <a:gd name="connsiteX0" fmla="*/ 16125 w 18314"/>
                  <a:gd name="connsiteY0" fmla="*/ 15218 h 18414"/>
                  <a:gd name="connsiteX1" fmla="*/ 3206 w 18314"/>
                  <a:gd name="connsiteY1" fmla="*/ 16175 h 18414"/>
                  <a:gd name="connsiteX2" fmla="*/ 2190 w 18314"/>
                  <a:gd name="connsiteY2" fmla="*/ 3196 h 18414"/>
                  <a:gd name="connsiteX3" fmla="*/ 15108 w 18314"/>
                  <a:gd name="connsiteY3" fmla="*/ 2240 h 18414"/>
                  <a:gd name="connsiteX4" fmla="*/ 16125 w 18314"/>
                  <a:gd name="connsiteY4" fmla="*/ 1521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14">
                    <a:moveTo>
                      <a:pt x="16125" y="15218"/>
                    </a:moveTo>
                    <a:cubicBezTo>
                      <a:pt x="12836" y="19046"/>
                      <a:pt x="7034" y="19524"/>
                      <a:pt x="3206" y="16175"/>
                    </a:cubicBezTo>
                    <a:cubicBezTo>
                      <a:pt x="-621" y="12826"/>
                      <a:pt x="-1099" y="7024"/>
                      <a:pt x="2190" y="3196"/>
                    </a:cubicBezTo>
                    <a:cubicBezTo>
                      <a:pt x="5479" y="-631"/>
                      <a:pt x="11281" y="-1109"/>
                      <a:pt x="15108" y="2240"/>
                    </a:cubicBezTo>
                    <a:cubicBezTo>
                      <a:pt x="18936" y="5529"/>
                      <a:pt x="19414" y="11331"/>
                      <a:pt x="16125" y="15218"/>
                    </a:cubicBezTo>
                    <a:close/>
                  </a:path>
                </a:pathLst>
              </a:custGeom>
              <a:grpFill/>
              <a:ln w="5978" cap="flat">
                <a:noFill/>
                <a:prstDash val="solid"/>
                <a:miter/>
              </a:ln>
            </p:spPr>
            <p:txBody>
              <a:bodyPr rtlCol="0" anchor="ctr"/>
              <a:lstStyle/>
              <a:p>
                <a:endParaRPr lang="en-GB"/>
              </a:p>
            </p:txBody>
          </p:sp>
          <p:sp>
            <p:nvSpPr>
              <p:cNvPr id="1637" name="Vrije vorm: vorm 1636">
                <a:extLst>
                  <a:ext uri="{FF2B5EF4-FFF2-40B4-BE49-F238E27FC236}">
                    <a16:creationId xmlns:a16="http://schemas.microsoft.com/office/drawing/2014/main" id="{46D02758-BC6C-4AA3-B779-344FF3C5793B}"/>
                  </a:ext>
                </a:extLst>
              </p:cNvPr>
              <p:cNvSpPr/>
              <p:nvPr/>
            </p:nvSpPr>
            <p:spPr>
              <a:xfrm>
                <a:off x="4724633" y="4954742"/>
                <a:ext cx="18314" cy="18434"/>
              </a:xfrm>
              <a:custGeom>
                <a:avLst/>
                <a:gdLst>
                  <a:gd name="connsiteX0" fmla="*/ 16125 w 18314"/>
                  <a:gd name="connsiteY0" fmla="*/ 15218 h 18434"/>
                  <a:gd name="connsiteX1" fmla="*/ 15108 w 18314"/>
                  <a:gd name="connsiteY1" fmla="*/ 2240 h 18434"/>
                  <a:gd name="connsiteX2" fmla="*/ 2190 w 18314"/>
                  <a:gd name="connsiteY2" fmla="*/ 3197 h 18434"/>
                  <a:gd name="connsiteX3" fmla="*/ 3207 w 18314"/>
                  <a:gd name="connsiteY3" fmla="*/ 16175 h 18434"/>
                  <a:gd name="connsiteX4" fmla="*/ 16125 w 18314"/>
                  <a:gd name="connsiteY4" fmla="*/ 15218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34">
                    <a:moveTo>
                      <a:pt x="16125" y="15218"/>
                    </a:moveTo>
                    <a:cubicBezTo>
                      <a:pt x="19414" y="11390"/>
                      <a:pt x="18936" y="5529"/>
                      <a:pt x="15108" y="2240"/>
                    </a:cubicBezTo>
                    <a:cubicBezTo>
                      <a:pt x="11280" y="-1110"/>
                      <a:pt x="5479" y="-631"/>
                      <a:pt x="2190" y="3197"/>
                    </a:cubicBezTo>
                    <a:cubicBezTo>
                      <a:pt x="-1099" y="7024"/>
                      <a:pt x="-621" y="12886"/>
                      <a:pt x="3207" y="16175"/>
                    </a:cubicBezTo>
                    <a:cubicBezTo>
                      <a:pt x="7034" y="19524"/>
                      <a:pt x="12835" y="19105"/>
                      <a:pt x="16125" y="15218"/>
                    </a:cubicBezTo>
                    <a:close/>
                  </a:path>
                </a:pathLst>
              </a:custGeom>
              <a:grpFill/>
              <a:ln w="5978" cap="flat">
                <a:noFill/>
                <a:prstDash val="solid"/>
                <a:miter/>
              </a:ln>
            </p:spPr>
            <p:txBody>
              <a:bodyPr rtlCol="0" anchor="ctr"/>
              <a:lstStyle/>
              <a:p>
                <a:endParaRPr lang="en-GB"/>
              </a:p>
            </p:txBody>
          </p:sp>
        </p:grpSp>
        <p:grpSp>
          <p:nvGrpSpPr>
            <p:cNvPr id="1257" name="Graphic 3">
              <a:extLst>
                <a:ext uri="{FF2B5EF4-FFF2-40B4-BE49-F238E27FC236}">
                  <a16:creationId xmlns:a16="http://schemas.microsoft.com/office/drawing/2014/main" id="{2FE260E5-3BBC-4C10-807F-D8679FAE3884}"/>
                </a:ext>
              </a:extLst>
            </p:cNvPr>
            <p:cNvGrpSpPr/>
            <p:nvPr/>
          </p:nvGrpSpPr>
          <p:grpSpPr>
            <a:xfrm>
              <a:off x="4199527" y="3689199"/>
              <a:ext cx="20241" cy="18698"/>
              <a:chOff x="4199527" y="3689199"/>
              <a:chExt cx="20241" cy="18698"/>
            </a:xfrm>
            <a:grpFill/>
          </p:grpSpPr>
          <p:sp>
            <p:nvSpPr>
              <p:cNvPr id="1633" name="Vrije vorm: vorm 1632">
                <a:extLst>
                  <a:ext uri="{FF2B5EF4-FFF2-40B4-BE49-F238E27FC236}">
                    <a16:creationId xmlns:a16="http://schemas.microsoft.com/office/drawing/2014/main" id="{4A20C804-C5BA-4E62-B9DE-7FF00B317B11}"/>
                  </a:ext>
                </a:extLst>
              </p:cNvPr>
              <p:cNvSpPr/>
              <p:nvPr/>
            </p:nvSpPr>
            <p:spPr>
              <a:xfrm>
                <a:off x="4199527" y="3689498"/>
                <a:ext cx="18327" cy="18399"/>
              </a:xfrm>
              <a:custGeom>
                <a:avLst/>
                <a:gdLst>
                  <a:gd name="connsiteX0" fmla="*/ 7751 w 18327"/>
                  <a:gd name="connsiteY0" fmla="*/ 109 h 18399"/>
                  <a:gd name="connsiteX1" fmla="*/ 18217 w 18327"/>
                  <a:gd name="connsiteY1" fmla="*/ 7824 h 18399"/>
                  <a:gd name="connsiteX2" fmla="*/ 10562 w 18327"/>
                  <a:gd name="connsiteY2" fmla="*/ 18290 h 18399"/>
                  <a:gd name="connsiteX3" fmla="*/ 95 w 18327"/>
                  <a:gd name="connsiteY3" fmla="*/ 10575 h 18399"/>
                  <a:gd name="connsiteX4" fmla="*/ 7751 w 18327"/>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9">
                    <a:moveTo>
                      <a:pt x="7751" y="109"/>
                    </a:moveTo>
                    <a:cubicBezTo>
                      <a:pt x="12774" y="-668"/>
                      <a:pt x="17440" y="2800"/>
                      <a:pt x="18217" y="7824"/>
                    </a:cubicBezTo>
                    <a:cubicBezTo>
                      <a:pt x="18995" y="12848"/>
                      <a:pt x="15586" y="17573"/>
                      <a:pt x="10562" y="18290"/>
                    </a:cubicBezTo>
                    <a:cubicBezTo>
                      <a:pt x="5538" y="19068"/>
                      <a:pt x="873" y="15599"/>
                      <a:pt x="95" y="10575"/>
                    </a:cubicBezTo>
                    <a:cubicBezTo>
                      <a:pt x="-622" y="5551"/>
                      <a:pt x="2787" y="886"/>
                      <a:pt x="7751" y="109"/>
                    </a:cubicBezTo>
                    <a:close/>
                  </a:path>
                </a:pathLst>
              </a:custGeom>
              <a:grpFill/>
              <a:ln w="5978" cap="flat">
                <a:noFill/>
                <a:prstDash val="solid"/>
                <a:miter/>
              </a:ln>
            </p:spPr>
            <p:txBody>
              <a:bodyPr rtlCol="0" anchor="ctr"/>
              <a:lstStyle/>
              <a:p>
                <a:endParaRPr lang="en-GB"/>
              </a:p>
            </p:txBody>
          </p:sp>
          <p:sp>
            <p:nvSpPr>
              <p:cNvPr id="1634" name="Vrije vorm: vorm 1633">
                <a:extLst>
                  <a:ext uri="{FF2B5EF4-FFF2-40B4-BE49-F238E27FC236}">
                    <a16:creationId xmlns:a16="http://schemas.microsoft.com/office/drawing/2014/main" id="{A4F4BBC4-5444-48F5-93DD-F99C59352DAA}"/>
                  </a:ext>
                </a:extLst>
              </p:cNvPr>
              <p:cNvSpPr/>
              <p:nvPr/>
            </p:nvSpPr>
            <p:spPr>
              <a:xfrm>
                <a:off x="4201426" y="3689199"/>
                <a:ext cx="18342" cy="18399"/>
              </a:xfrm>
              <a:custGeom>
                <a:avLst/>
                <a:gdLst>
                  <a:gd name="connsiteX0" fmla="*/ 7766 w 18342"/>
                  <a:gd name="connsiteY0" fmla="*/ 109 h 18399"/>
                  <a:gd name="connsiteX1" fmla="*/ 110 w 18342"/>
                  <a:gd name="connsiteY1" fmla="*/ 10575 h 18399"/>
                  <a:gd name="connsiteX2" fmla="*/ 10577 w 18342"/>
                  <a:gd name="connsiteY2" fmla="*/ 18290 h 18399"/>
                  <a:gd name="connsiteX3" fmla="*/ 18232 w 18342"/>
                  <a:gd name="connsiteY3" fmla="*/ 7824 h 18399"/>
                  <a:gd name="connsiteX4" fmla="*/ 7766 w 18342"/>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9">
                    <a:moveTo>
                      <a:pt x="7766" y="109"/>
                    </a:moveTo>
                    <a:cubicBezTo>
                      <a:pt x="2742" y="886"/>
                      <a:pt x="-667" y="5551"/>
                      <a:pt x="110" y="10575"/>
                    </a:cubicBezTo>
                    <a:cubicBezTo>
                      <a:pt x="888" y="15599"/>
                      <a:pt x="5553" y="19068"/>
                      <a:pt x="10577" y="18290"/>
                    </a:cubicBezTo>
                    <a:cubicBezTo>
                      <a:pt x="15601" y="17513"/>
                      <a:pt x="19009" y="12848"/>
                      <a:pt x="18232" y="7824"/>
                    </a:cubicBezTo>
                    <a:cubicBezTo>
                      <a:pt x="17455" y="2800"/>
                      <a:pt x="12790" y="-669"/>
                      <a:pt x="7766" y="109"/>
                    </a:cubicBezTo>
                    <a:close/>
                  </a:path>
                </a:pathLst>
              </a:custGeom>
              <a:grpFill/>
              <a:ln w="5978" cap="flat">
                <a:noFill/>
                <a:prstDash val="solid"/>
                <a:miter/>
              </a:ln>
            </p:spPr>
            <p:txBody>
              <a:bodyPr rtlCol="0" anchor="ctr"/>
              <a:lstStyle/>
              <a:p>
                <a:endParaRPr lang="en-GB"/>
              </a:p>
            </p:txBody>
          </p:sp>
        </p:grpSp>
        <p:grpSp>
          <p:nvGrpSpPr>
            <p:cNvPr id="1258" name="Graphic 3">
              <a:extLst>
                <a:ext uri="{FF2B5EF4-FFF2-40B4-BE49-F238E27FC236}">
                  <a16:creationId xmlns:a16="http://schemas.microsoft.com/office/drawing/2014/main" id="{A6F9701D-F411-4694-9BD5-A1C664B5F709}"/>
                </a:ext>
              </a:extLst>
            </p:cNvPr>
            <p:cNvGrpSpPr/>
            <p:nvPr/>
          </p:nvGrpSpPr>
          <p:grpSpPr>
            <a:xfrm>
              <a:off x="4255555" y="4006641"/>
              <a:ext cx="110857" cy="51000"/>
              <a:chOff x="4255555" y="4006641"/>
              <a:chExt cx="110857" cy="51000"/>
            </a:xfrm>
            <a:grpFill/>
          </p:grpSpPr>
          <p:sp>
            <p:nvSpPr>
              <p:cNvPr id="1630" name="Vrije vorm: vorm 1629">
                <a:extLst>
                  <a:ext uri="{FF2B5EF4-FFF2-40B4-BE49-F238E27FC236}">
                    <a16:creationId xmlns:a16="http://schemas.microsoft.com/office/drawing/2014/main" id="{052CD467-C9D0-43A1-A7CE-E5CA1EA44814}"/>
                  </a:ext>
                </a:extLst>
              </p:cNvPr>
              <p:cNvSpPr/>
              <p:nvPr/>
            </p:nvSpPr>
            <p:spPr>
              <a:xfrm>
                <a:off x="4263908" y="4014229"/>
                <a:ext cx="94419" cy="35817"/>
              </a:xfrm>
              <a:custGeom>
                <a:avLst/>
                <a:gdLst>
                  <a:gd name="connsiteX0" fmla="*/ 0 w 94419"/>
                  <a:gd name="connsiteY0" fmla="*/ 32941 h 35817"/>
                  <a:gd name="connsiteX1" fmla="*/ 93405 w 94419"/>
                  <a:gd name="connsiteY1" fmla="*/ 0 h 35817"/>
                  <a:gd name="connsiteX2" fmla="*/ 94420 w 94419"/>
                  <a:gd name="connsiteY2" fmla="*/ 2877 h 35817"/>
                  <a:gd name="connsiteX3" fmla="*/ 1015 w 94419"/>
                  <a:gd name="connsiteY3" fmla="*/ 35818 h 35817"/>
                </a:gdLst>
                <a:ahLst/>
                <a:cxnLst>
                  <a:cxn ang="0">
                    <a:pos x="connsiteX0" y="connsiteY0"/>
                  </a:cxn>
                  <a:cxn ang="0">
                    <a:pos x="connsiteX1" y="connsiteY1"/>
                  </a:cxn>
                  <a:cxn ang="0">
                    <a:pos x="connsiteX2" y="connsiteY2"/>
                  </a:cxn>
                  <a:cxn ang="0">
                    <a:pos x="connsiteX3" y="connsiteY3"/>
                  </a:cxn>
                </a:cxnLst>
                <a:rect l="l" t="t" r="r" b="b"/>
                <a:pathLst>
                  <a:path w="94419" h="35817">
                    <a:moveTo>
                      <a:pt x="0" y="32941"/>
                    </a:moveTo>
                    <a:lnTo>
                      <a:pt x="93405" y="0"/>
                    </a:lnTo>
                    <a:lnTo>
                      <a:pt x="94420" y="2877"/>
                    </a:lnTo>
                    <a:lnTo>
                      <a:pt x="1015" y="35818"/>
                    </a:lnTo>
                    <a:close/>
                  </a:path>
                </a:pathLst>
              </a:custGeom>
              <a:grpFill/>
              <a:ln w="5978" cap="flat">
                <a:noFill/>
                <a:prstDash val="solid"/>
                <a:miter/>
              </a:ln>
            </p:spPr>
            <p:txBody>
              <a:bodyPr rtlCol="0" anchor="ctr"/>
              <a:lstStyle/>
              <a:p>
                <a:endParaRPr lang="en-GB"/>
              </a:p>
            </p:txBody>
          </p:sp>
          <p:sp>
            <p:nvSpPr>
              <p:cNvPr id="1631" name="Vrije vorm: vorm 1630">
                <a:extLst>
                  <a:ext uri="{FF2B5EF4-FFF2-40B4-BE49-F238E27FC236}">
                    <a16:creationId xmlns:a16="http://schemas.microsoft.com/office/drawing/2014/main" id="{FBACB6B6-9DF7-4DA2-83F0-313A07B58A5F}"/>
                  </a:ext>
                </a:extLst>
              </p:cNvPr>
              <p:cNvSpPr/>
              <p:nvPr/>
            </p:nvSpPr>
            <p:spPr>
              <a:xfrm>
                <a:off x="4255555" y="4039259"/>
                <a:ext cx="18335" cy="18381"/>
              </a:xfrm>
              <a:custGeom>
                <a:avLst/>
                <a:gdLst>
                  <a:gd name="connsiteX0" fmla="*/ 12248 w 18335"/>
                  <a:gd name="connsiteY0" fmla="*/ 17863 h 18381"/>
                  <a:gd name="connsiteX1" fmla="*/ 526 w 18335"/>
                  <a:gd name="connsiteY1" fmla="*/ 12241 h 18381"/>
                  <a:gd name="connsiteX2" fmla="*/ 6088 w 18335"/>
                  <a:gd name="connsiteY2" fmla="*/ 519 h 18381"/>
                  <a:gd name="connsiteX3" fmla="*/ 17810 w 18335"/>
                  <a:gd name="connsiteY3" fmla="*/ 6141 h 18381"/>
                  <a:gd name="connsiteX4" fmla="*/ 12248 w 18335"/>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81">
                    <a:moveTo>
                      <a:pt x="12248" y="17863"/>
                    </a:moveTo>
                    <a:cubicBezTo>
                      <a:pt x="7464" y="19538"/>
                      <a:pt x="2260" y="17026"/>
                      <a:pt x="526" y="12241"/>
                    </a:cubicBezTo>
                    <a:cubicBezTo>
                      <a:pt x="-1149" y="7456"/>
                      <a:pt x="1303" y="2193"/>
                      <a:pt x="6088" y="519"/>
                    </a:cubicBezTo>
                    <a:cubicBezTo>
                      <a:pt x="10872" y="-1156"/>
                      <a:pt x="16076" y="1356"/>
                      <a:pt x="17810" y="6141"/>
                    </a:cubicBezTo>
                    <a:cubicBezTo>
                      <a:pt x="19484" y="10925"/>
                      <a:pt x="17033" y="16188"/>
                      <a:pt x="12248" y="17863"/>
                    </a:cubicBezTo>
                    <a:close/>
                  </a:path>
                </a:pathLst>
              </a:custGeom>
              <a:grpFill/>
              <a:ln w="5978" cap="flat">
                <a:noFill/>
                <a:prstDash val="solid"/>
                <a:miter/>
              </a:ln>
            </p:spPr>
            <p:txBody>
              <a:bodyPr rtlCol="0" anchor="ctr"/>
              <a:lstStyle/>
              <a:p>
                <a:endParaRPr lang="en-GB"/>
              </a:p>
            </p:txBody>
          </p:sp>
          <p:sp>
            <p:nvSpPr>
              <p:cNvPr id="1632" name="Vrije vorm: vorm 1631">
                <a:extLst>
                  <a:ext uri="{FF2B5EF4-FFF2-40B4-BE49-F238E27FC236}">
                    <a16:creationId xmlns:a16="http://schemas.microsoft.com/office/drawing/2014/main" id="{75AFEE8D-551D-4D85-A976-58266C55BC2F}"/>
                  </a:ext>
                </a:extLst>
              </p:cNvPr>
              <p:cNvSpPr/>
              <p:nvPr/>
            </p:nvSpPr>
            <p:spPr>
              <a:xfrm>
                <a:off x="4348077" y="4006641"/>
                <a:ext cx="18335" cy="18399"/>
              </a:xfrm>
              <a:custGeom>
                <a:avLst/>
                <a:gdLst>
                  <a:gd name="connsiteX0" fmla="*/ 12248 w 18335"/>
                  <a:gd name="connsiteY0" fmla="*/ 17887 h 18399"/>
                  <a:gd name="connsiteX1" fmla="*/ 17810 w 18335"/>
                  <a:gd name="connsiteY1" fmla="*/ 6164 h 18399"/>
                  <a:gd name="connsiteX2" fmla="*/ 6088 w 18335"/>
                  <a:gd name="connsiteY2" fmla="*/ 542 h 18399"/>
                  <a:gd name="connsiteX3" fmla="*/ 526 w 18335"/>
                  <a:gd name="connsiteY3" fmla="*/ 12265 h 18399"/>
                  <a:gd name="connsiteX4" fmla="*/ 12248 w 18335"/>
                  <a:gd name="connsiteY4" fmla="*/ 17887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9">
                    <a:moveTo>
                      <a:pt x="12248" y="17887"/>
                    </a:moveTo>
                    <a:cubicBezTo>
                      <a:pt x="17032" y="16212"/>
                      <a:pt x="19485" y="10949"/>
                      <a:pt x="17810" y="6164"/>
                    </a:cubicBezTo>
                    <a:cubicBezTo>
                      <a:pt x="16135" y="1380"/>
                      <a:pt x="10872" y="-1192"/>
                      <a:pt x="6088" y="542"/>
                    </a:cubicBezTo>
                    <a:cubicBezTo>
                      <a:pt x="1303" y="2217"/>
                      <a:pt x="-1149" y="7480"/>
                      <a:pt x="526" y="12265"/>
                    </a:cubicBezTo>
                    <a:cubicBezTo>
                      <a:pt x="2260" y="16989"/>
                      <a:pt x="7463" y="19561"/>
                      <a:pt x="12248" y="17887"/>
                    </a:cubicBezTo>
                    <a:close/>
                  </a:path>
                </a:pathLst>
              </a:custGeom>
              <a:grpFill/>
              <a:ln w="5978" cap="flat">
                <a:noFill/>
                <a:prstDash val="solid"/>
                <a:miter/>
              </a:ln>
            </p:spPr>
            <p:txBody>
              <a:bodyPr rtlCol="0" anchor="ctr"/>
              <a:lstStyle/>
              <a:p>
                <a:endParaRPr lang="en-GB"/>
              </a:p>
            </p:txBody>
          </p:sp>
        </p:grpSp>
        <p:grpSp>
          <p:nvGrpSpPr>
            <p:cNvPr id="1259" name="Graphic 3">
              <a:extLst>
                <a:ext uri="{FF2B5EF4-FFF2-40B4-BE49-F238E27FC236}">
                  <a16:creationId xmlns:a16="http://schemas.microsoft.com/office/drawing/2014/main" id="{302B346F-7761-4721-8B07-BAF62DA5992B}"/>
                </a:ext>
              </a:extLst>
            </p:cNvPr>
            <p:cNvGrpSpPr/>
            <p:nvPr/>
          </p:nvGrpSpPr>
          <p:grpSpPr>
            <a:xfrm>
              <a:off x="4175798" y="4054594"/>
              <a:ext cx="336099" cy="112089"/>
              <a:chOff x="4175798" y="4054594"/>
              <a:chExt cx="336099" cy="112089"/>
            </a:xfrm>
            <a:grpFill/>
          </p:grpSpPr>
          <p:sp>
            <p:nvSpPr>
              <p:cNvPr id="1627" name="Vrije vorm: vorm 1626">
                <a:extLst>
                  <a:ext uri="{FF2B5EF4-FFF2-40B4-BE49-F238E27FC236}">
                    <a16:creationId xmlns:a16="http://schemas.microsoft.com/office/drawing/2014/main" id="{FE817063-6DAE-4FD7-9BF8-CD7399DAE397}"/>
                  </a:ext>
                </a:extLst>
              </p:cNvPr>
              <p:cNvSpPr/>
              <p:nvPr/>
            </p:nvSpPr>
            <p:spPr>
              <a:xfrm>
                <a:off x="4184315" y="4061821"/>
                <a:ext cx="319375" cy="97443"/>
              </a:xfrm>
              <a:custGeom>
                <a:avLst/>
                <a:gdLst>
                  <a:gd name="connsiteX0" fmla="*/ 0 w 319375"/>
                  <a:gd name="connsiteY0" fmla="*/ 94519 h 97443"/>
                  <a:gd name="connsiteX1" fmla="*/ 318508 w 319375"/>
                  <a:gd name="connsiteY1" fmla="*/ 0 h 97443"/>
                  <a:gd name="connsiteX2" fmla="*/ 319376 w 319375"/>
                  <a:gd name="connsiteY2" fmla="*/ 2924 h 97443"/>
                  <a:gd name="connsiteX3" fmla="*/ 868 w 319375"/>
                  <a:gd name="connsiteY3" fmla="*/ 97443 h 97443"/>
                </a:gdLst>
                <a:ahLst/>
                <a:cxnLst>
                  <a:cxn ang="0">
                    <a:pos x="connsiteX0" y="connsiteY0"/>
                  </a:cxn>
                  <a:cxn ang="0">
                    <a:pos x="connsiteX1" y="connsiteY1"/>
                  </a:cxn>
                  <a:cxn ang="0">
                    <a:pos x="connsiteX2" y="connsiteY2"/>
                  </a:cxn>
                  <a:cxn ang="0">
                    <a:pos x="connsiteX3" y="connsiteY3"/>
                  </a:cxn>
                </a:cxnLst>
                <a:rect l="l" t="t" r="r" b="b"/>
                <a:pathLst>
                  <a:path w="319375" h="97443">
                    <a:moveTo>
                      <a:pt x="0" y="94519"/>
                    </a:moveTo>
                    <a:lnTo>
                      <a:pt x="318508" y="0"/>
                    </a:lnTo>
                    <a:lnTo>
                      <a:pt x="319376" y="2924"/>
                    </a:lnTo>
                    <a:lnTo>
                      <a:pt x="868" y="97443"/>
                    </a:lnTo>
                    <a:close/>
                  </a:path>
                </a:pathLst>
              </a:custGeom>
              <a:grpFill/>
              <a:ln w="5978" cap="flat">
                <a:noFill/>
                <a:prstDash val="solid"/>
                <a:miter/>
              </a:ln>
            </p:spPr>
            <p:txBody>
              <a:bodyPr rtlCol="0" anchor="ctr"/>
              <a:lstStyle/>
              <a:p>
                <a:endParaRPr lang="en-GB"/>
              </a:p>
            </p:txBody>
          </p:sp>
          <p:sp>
            <p:nvSpPr>
              <p:cNvPr id="1628" name="Vrije vorm: vorm 1627">
                <a:extLst>
                  <a:ext uri="{FF2B5EF4-FFF2-40B4-BE49-F238E27FC236}">
                    <a16:creationId xmlns:a16="http://schemas.microsoft.com/office/drawing/2014/main" id="{8D5084E2-7D2B-4CE0-89CB-F1403A4AF42F}"/>
                  </a:ext>
                </a:extLst>
              </p:cNvPr>
              <p:cNvSpPr/>
              <p:nvPr/>
            </p:nvSpPr>
            <p:spPr>
              <a:xfrm>
                <a:off x="4493554" y="4054594"/>
                <a:ext cx="18344" cy="18453"/>
              </a:xfrm>
              <a:custGeom>
                <a:avLst/>
                <a:gdLst>
                  <a:gd name="connsiteX0" fmla="*/ 6540 w 18344"/>
                  <a:gd name="connsiteY0" fmla="*/ 375 h 18453"/>
                  <a:gd name="connsiteX1" fmla="*/ 17964 w 18344"/>
                  <a:gd name="connsiteY1" fmla="*/ 6655 h 18453"/>
                  <a:gd name="connsiteX2" fmla="*/ 11803 w 18344"/>
                  <a:gd name="connsiteY2" fmla="*/ 18078 h 18453"/>
                  <a:gd name="connsiteX3" fmla="*/ 380 w 18344"/>
                  <a:gd name="connsiteY3" fmla="*/ 11798 h 18453"/>
                  <a:gd name="connsiteX4" fmla="*/ 6540 w 18344"/>
                  <a:gd name="connsiteY4" fmla="*/ 37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53">
                    <a:moveTo>
                      <a:pt x="6540" y="375"/>
                    </a:moveTo>
                    <a:cubicBezTo>
                      <a:pt x="11385" y="-1060"/>
                      <a:pt x="16469" y="1751"/>
                      <a:pt x="17964" y="6655"/>
                    </a:cubicBezTo>
                    <a:cubicBezTo>
                      <a:pt x="19399" y="11559"/>
                      <a:pt x="16648" y="16643"/>
                      <a:pt x="11803" y="18078"/>
                    </a:cubicBezTo>
                    <a:cubicBezTo>
                      <a:pt x="6959" y="19513"/>
                      <a:pt x="1876" y="16703"/>
                      <a:pt x="380" y="11798"/>
                    </a:cubicBezTo>
                    <a:cubicBezTo>
                      <a:pt x="-1055" y="6894"/>
                      <a:pt x="1696" y="1810"/>
                      <a:pt x="6540" y="375"/>
                    </a:cubicBezTo>
                    <a:close/>
                  </a:path>
                </a:pathLst>
              </a:custGeom>
              <a:grpFill/>
              <a:ln w="5978" cap="flat">
                <a:noFill/>
                <a:prstDash val="solid"/>
                <a:miter/>
              </a:ln>
            </p:spPr>
            <p:txBody>
              <a:bodyPr rtlCol="0" anchor="ctr"/>
              <a:lstStyle/>
              <a:p>
                <a:endParaRPr lang="en-GB"/>
              </a:p>
            </p:txBody>
          </p:sp>
          <p:sp>
            <p:nvSpPr>
              <p:cNvPr id="1629" name="Vrije vorm: vorm 1628">
                <a:extLst>
                  <a:ext uri="{FF2B5EF4-FFF2-40B4-BE49-F238E27FC236}">
                    <a16:creationId xmlns:a16="http://schemas.microsoft.com/office/drawing/2014/main" id="{2348507F-B43C-48A0-97E8-E316811647BE}"/>
                  </a:ext>
                </a:extLst>
              </p:cNvPr>
              <p:cNvSpPr/>
              <p:nvPr/>
            </p:nvSpPr>
            <p:spPr>
              <a:xfrm>
                <a:off x="4175798" y="4148252"/>
                <a:ext cx="18344" cy="18431"/>
              </a:xfrm>
              <a:custGeom>
                <a:avLst/>
                <a:gdLst>
                  <a:gd name="connsiteX0" fmla="*/ 6540 w 18344"/>
                  <a:gd name="connsiteY0" fmla="*/ 375 h 18431"/>
                  <a:gd name="connsiteX1" fmla="*/ 380 w 18344"/>
                  <a:gd name="connsiteY1" fmla="*/ 11798 h 18431"/>
                  <a:gd name="connsiteX2" fmla="*/ 11803 w 18344"/>
                  <a:gd name="connsiteY2" fmla="*/ 18078 h 18431"/>
                  <a:gd name="connsiteX3" fmla="*/ 17964 w 18344"/>
                  <a:gd name="connsiteY3" fmla="*/ 6655 h 18431"/>
                  <a:gd name="connsiteX4" fmla="*/ 6540 w 18344"/>
                  <a:gd name="connsiteY4" fmla="*/ 37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31">
                    <a:moveTo>
                      <a:pt x="6540" y="375"/>
                    </a:moveTo>
                    <a:cubicBezTo>
                      <a:pt x="1696" y="1810"/>
                      <a:pt x="-1055" y="6894"/>
                      <a:pt x="380" y="11798"/>
                    </a:cubicBezTo>
                    <a:cubicBezTo>
                      <a:pt x="1816" y="16702"/>
                      <a:pt x="6899" y="19454"/>
                      <a:pt x="11803" y="18078"/>
                    </a:cubicBezTo>
                    <a:cubicBezTo>
                      <a:pt x="16648" y="16642"/>
                      <a:pt x="19399" y="11559"/>
                      <a:pt x="17964" y="6655"/>
                    </a:cubicBezTo>
                    <a:cubicBezTo>
                      <a:pt x="16469" y="1750"/>
                      <a:pt x="11385" y="-1060"/>
                      <a:pt x="6540" y="375"/>
                    </a:cubicBezTo>
                    <a:close/>
                  </a:path>
                </a:pathLst>
              </a:custGeom>
              <a:grpFill/>
              <a:ln w="5978" cap="flat">
                <a:noFill/>
                <a:prstDash val="solid"/>
                <a:miter/>
              </a:ln>
            </p:spPr>
            <p:txBody>
              <a:bodyPr rtlCol="0" anchor="ctr"/>
              <a:lstStyle/>
              <a:p>
                <a:endParaRPr lang="en-GB"/>
              </a:p>
            </p:txBody>
          </p:sp>
        </p:grpSp>
        <p:grpSp>
          <p:nvGrpSpPr>
            <p:cNvPr id="1260" name="Graphic 3">
              <a:extLst>
                <a:ext uri="{FF2B5EF4-FFF2-40B4-BE49-F238E27FC236}">
                  <a16:creationId xmlns:a16="http://schemas.microsoft.com/office/drawing/2014/main" id="{A7157620-8FA6-40D0-BF63-7CB1855DD328}"/>
                </a:ext>
              </a:extLst>
            </p:cNvPr>
            <p:cNvGrpSpPr/>
            <p:nvPr/>
          </p:nvGrpSpPr>
          <p:grpSpPr>
            <a:xfrm>
              <a:off x="4212166" y="3905016"/>
              <a:ext cx="140819" cy="53973"/>
              <a:chOff x="4212166" y="3905016"/>
              <a:chExt cx="140819" cy="53973"/>
            </a:xfrm>
            <a:grpFill/>
          </p:grpSpPr>
          <p:sp>
            <p:nvSpPr>
              <p:cNvPr id="1624" name="Vrije vorm: vorm 1623">
                <a:extLst>
                  <a:ext uri="{FF2B5EF4-FFF2-40B4-BE49-F238E27FC236}">
                    <a16:creationId xmlns:a16="http://schemas.microsoft.com/office/drawing/2014/main" id="{9AF5B119-1466-44FF-9ED1-1E7672058150}"/>
                  </a:ext>
                </a:extLst>
              </p:cNvPr>
              <p:cNvSpPr/>
              <p:nvPr/>
            </p:nvSpPr>
            <p:spPr>
              <a:xfrm>
                <a:off x="4220495" y="3912628"/>
                <a:ext cx="124159" cy="38754"/>
              </a:xfrm>
              <a:custGeom>
                <a:avLst/>
                <a:gdLst>
                  <a:gd name="connsiteX0" fmla="*/ 123322 w 124159"/>
                  <a:gd name="connsiteY0" fmla="*/ 0 h 38754"/>
                  <a:gd name="connsiteX1" fmla="*/ 124160 w 124159"/>
                  <a:gd name="connsiteY1" fmla="*/ 2930 h 38754"/>
                  <a:gd name="connsiteX2" fmla="*/ 837 w 124159"/>
                  <a:gd name="connsiteY2" fmla="*/ 38755 h 38754"/>
                  <a:gd name="connsiteX3" fmla="*/ 0 w 124159"/>
                  <a:gd name="connsiteY3" fmla="*/ 35824 h 38754"/>
                </a:gdLst>
                <a:ahLst/>
                <a:cxnLst>
                  <a:cxn ang="0">
                    <a:pos x="connsiteX0" y="connsiteY0"/>
                  </a:cxn>
                  <a:cxn ang="0">
                    <a:pos x="connsiteX1" y="connsiteY1"/>
                  </a:cxn>
                  <a:cxn ang="0">
                    <a:pos x="connsiteX2" y="connsiteY2"/>
                  </a:cxn>
                  <a:cxn ang="0">
                    <a:pos x="connsiteX3" y="connsiteY3"/>
                  </a:cxn>
                </a:cxnLst>
                <a:rect l="l" t="t" r="r" b="b"/>
                <a:pathLst>
                  <a:path w="124159" h="38754">
                    <a:moveTo>
                      <a:pt x="123322" y="0"/>
                    </a:moveTo>
                    <a:lnTo>
                      <a:pt x="124160" y="2930"/>
                    </a:lnTo>
                    <a:lnTo>
                      <a:pt x="837" y="38755"/>
                    </a:lnTo>
                    <a:lnTo>
                      <a:pt x="0" y="35824"/>
                    </a:lnTo>
                    <a:close/>
                  </a:path>
                </a:pathLst>
              </a:custGeom>
              <a:grpFill/>
              <a:ln w="5978" cap="flat">
                <a:noFill/>
                <a:prstDash val="solid"/>
                <a:miter/>
              </a:ln>
            </p:spPr>
            <p:txBody>
              <a:bodyPr rtlCol="0" anchor="ctr"/>
              <a:lstStyle/>
              <a:p>
                <a:endParaRPr lang="en-GB"/>
              </a:p>
            </p:txBody>
          </p:sp>
          <p:sp>
            <p:nvSpPr>
              <p:cNvPr id="1625" name="Vrije vorm: vorm 1624">
                <a:extLst>
                  <a:ext uri="{FF2B5EF4-FFF2-40B4-BE49-F238E27FC236}">
                    <a16:creationId xmlns:a16="http://schemas.microsoft.com/office/drawing/2014/main" id="{40FDCEAE-DB7B-498F-BFF1-24E34E91187B}"/>
                  </a:ext>
                </a:extLst>
              </p:cNvPr>
              <p:cNvSpPr/>
              <p:nvPr/>
            </p:nvSpPr>
            <p:spPr>
              <a:xfrm>
                <a:off x="4212166" y="3940546"/>
                <a:ext cx="18338" cy="18443"/>
              </a:xfrm>
              <a:custGeom>
                <a:avLst/>
                <a:gdLst>
                  <a:gd name="connsiteX0" fmla="*/ 11739 w 18338"/>
                  <a:gd name="connsiteY0" fmla="*/ 18073 h 18443"/>
                  <a:gd name="connsiteX1" fmla="*/ 375 w 18338"/>
                  <a:gd name="connsiteY1" fmla="*/ 11794 h 18443"/>
                  <a:gd name="connsiteX2" fmla="*/ 6595 w 18338"/>
                  <a:gd name="connsiteY2" fmla="*/ 370 h 18443"/>
                  <a:gd name="connsiteX3" fmla="*/ 17959 w 18338"/>
                  <a:gd name="connsiteY3" fmla="*/ 6650 h 18443"/>
                  <a:gd name="connsiteX4" fmla="*/ 11739 w 18338"/>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43">
                    <a:moveTo>
                      <a:pt x="11739" y="18073"/>
                    </a:moveTo>
                    <a:cubicBezTo>
                      <a:pt x="6894" y="19509"/>
                      <a:pt x="1811" y="16638"/>
                      <a:pt x="375" y="11794"/>
                    </a:cubicBezTo>
                    <a:cubicBezTo>
                      <a:pt x="-1060" y="6890"/>
                      <a:pt x="1751" y="1806"/>
                      <a:pt x="6595" y="370"/>
                    </a:cubicBezTo>
                    <a:cubicBezTo>
                      <a:pt x="11440" y="-1065"/>
                      <a:pt x="16523" y="1806"/>
                      <a:pt x="17959" y="6650"/>
                    </a:cubicBezTo>
                    <a:cubicBezTo>
                      <a:pt x="19394" y="11554"/>
                      <a:pt x="16643" y="16698"/>
                      <a:pt x="11739" y="18073"/>
                    </a:cubicBezTo>
                    <a:close/>
                  </a:path>
                </a:pathLst>
              </a:custGeom>
              <a:grpFill/>
              <a:ln w="5978" cap="flat">
                <a:noFill/>
                <a:prstDash val="solid"/>
                <a:miter/>
              </a:ln>
            </p:spPr>
            <p:txBody>
              <a:bodyPr rtlCol="0" anchor="ctr"/>
              <a:lstStyle/>
              <a:p>
                <a:endParaRPr lang="en-GB"/>
              </a:p>
            </p:txBody>
          </p:sp>
          <p:sp>
            <p:nvSpPr>
              <p:cNvPr id="1626" name="Vrije vorm: vorm 1625">
                <a:extLst>
                  <a:ext uri="{FF2B5EF4-FFF2-40B4-BE49-F238E27FC236}">
                    <a16:creationId xmlns:a16="http://schemas.microsoft.com/office/drawing/2014/main" id="{CF7086A3-82DB-44C9-BE37-98C4E5C321DF}"/>
                  </a:ext>
                </a:extLst>
              </p:cNvPr>
              <p:cNvSpPr/>
              <p:nvPr/>
            </p:nvSpPr>
            <p:spPr>
              <a:xfrm>
                <a:off x="4334651" y="3905016"/>
                <a:ext cx="18334" cy="18427"/>
              </a:xfrm>
              <a:custGeom>
                <a:avLst/>
                <a:gdLst>
                  <a:gd name="connsiteX0" fmla="*/ 11739 w 18334"/>
                  <a:gd name="connsiteY0" fmla="*/ 18078 h 18427"/>
                  <a:gd name="connsiteX1" fmla="*/ 17959 w 18334"/>
                  <a:gd name="connsiteY1" fmla="*/ 6655 h 18427"/>
                  <a:gd name="connsiteX2" fmla="*/ 6595 w 18334"/>
                  <a:gd name="connsiteY2" fmla="*/ 375 h 18427"/>
                  <a:gd name="connsiteX3" fmla="*/ 375 w 18334"/>
                  <a:gd name="connsiteY3" fmla="*/ 11798 h 18427"/>
                  <a:gd name="connsiteX4" fmla="*/ 11739 w 18334"/>
                  <a:gd name="connsiteY4" fmla="*/ 1807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7">
                    <a:moveTo>
                      <a:pt x="11739" y="18078"/>
                    </a:moveTo>
                    <a:cubicBezTo>
                      <a:pt x="16583" y="16643"/>
                      <a:pt x="19394" y="11559"/>
                      <a:pt x="17959" y="6655"/>
                    </a:cubicBezTo>
                    <a:cubicBezTo>
                      <a:pt x="16523" y="1751"/>
                      <a:pt x="11440" y="-1060"/>
                      <a:pt x="6595" y="375"/>
                    </a:cubicBezTo>
                    <a:cubicBezTo>
                      <a:pt x="1751" y="1811"/>
                      <a:pt x="-1060" y="6894"/>
                      <a:pt x="375" y="11798"/>
                    </a:cubicBezTo>
                    <a:cubicBezTo>
                      <a:pt x="1811" y="16643"/>
                      <a:pt x="6894" y="19453"/>
                      <a:pt x="11739" y="18078"/>
                    </a:cubicBezTo>
                    <a:close/>
                  </a:path>
                </a:pathLst>
              </a:custGeom>
              <a:grpFill/>
              <a:ln w="5978" cap="flat">
                <a:noFill/>
                <a:prstDash val="solid"/>
                <a:miter/>
              </a:ln>
            </p:spPr>
            <p:txBody>
              <a:bodyPr rtlCol="0" anchor="ctr"/>
              <a:lstStyle/>
              <a:p>
                <a:endParaRPr lang="en-GB"/>
              </a:p>
            </p:txBody>
          </p:sp>
        </p:grpSp>
        <p:grpSp>
          <p:nvGrpSpPr>
            <p:cNvPr id="1261" name="Graphic 3">
              <a:extLst>
                <a:ext uri="{FF2B5EF4-FFF2-40B4-BE49-F238E27FC236}">
                  <a16:creationId xmlns:a16="http://schemas.microsoft.com/office/drawing/2014/main" id="{0F59E4FA-F493-4CFF-BABA-F042D1D10EA4}"/>
                </a:ext>
              </a:extLst>
            </p:cNvPr>
            <p:cNvGrpSpPr/>
            <p:nvPr/>
          </p:nvGrpSpPr>
          <p:grpSpPr>
            <a:xfrm>
              <a:off x="4095201" y="3787277"/>
              <a:ext cx="321897" cy="88384"/>
              <a:chOff x="4095201" y="3787277"/>
              <a:chExt cx="321897" cy="88384"/>
            </a:xfrm>
            <a:grpFill/>
          </p:grpSpPr>
          <p:sp>
            <p:nvSpPr>
              <p:cNvPr id="1621" name="Vrije vorm: vorm 1620">
                <a:extLst>
                  <a:ext uri="{FF2B5EF4-FFF2-40B4-BE49-F238E27FC236}">
                    <a16:creationId xmlns:a16="http://schemas.microsoft.com/office/drawing/2014/main" id="{0C5CC9B4-75A5-4BA6-9AD3-E4364D1AF656}"/>
                  </a:ext>
                </a:extLst>
              </p:cNvPr>
              <p:cNvSpPr/>
              <p:nvPr/>
            </p:nvSpPr>
            <p:spPr>
              <a:xfrm>
                <a:off x="4103572" y="3794927"/>
                <a:ext cx="305136" cy="73144"/>
              </a:xfrm>
              <a:custGeom>
                <a:avLst/>
                <a:gdLst>
                  <a:gd name="connsiteX0" fmla="*/ 304479 w 305136"/>
                  <a:gd name="connsiteY0" fmla="*/ 0 h 73144"/>
                  <a:gd name="connsiteX1" fmla="*/ 305137 w 305136"/>
                  <a:gd name="connsiteY1" fmla="*/ 2990 h 73144"/>
                  <a:gd name="connsiteX2" fmla="*/ 718 w 305136"/>
                  <a:gd name="connsiteY2" fmla="*/ 73144 h 73144"/>
                  <a:gd name="connsiteX3" fmla="*/ 0 w 305136"/>
                  <a:gd name="connsiteY3" fmla="*/ 70154 h 73144"/>
                </a:gdLst>
                <a:ahLst/>
                <a:cxnLst>
                  <a:cxn ang="0">
                    <a:pos x="connsiteX0" y="connsiteY0"/>
                  </a:cxn>
                  <a:cxn ang="0">
                    <a:pos x="connsiteX1" y="connsiteY1"/>
                  </a:cxn>
                  <a:cxn ang="0">
                    <a:pos x="connsiteX2" y="connsiteY2"/>
                  </a:cxn>
                  <a:cxn ang="0">
                    <a:pos x="connsiteX3" y="connsiteY3"/>
                  </a:cxn>
                </a:cxnLst>
                <a:rect l="l" t="t" r="r" b="b"/>
                <a:pathLst>
                  <a:path w="305136" h="73144">
                    <a:moveTo>
                      <a:pt x="304479" y="0"/>
                    </a:moveTo>
                    <a:lnTo>
                      <a:pt x="305137" y="2990"/>
                    </a:lnTo>
                    <a:lnTo>
                      <a:pt x="718" y="73144"/>
                    </a:lnTo>
                    <a:lnTo>
                      <a:pt x="0" y="70154"/>
                    </a:lnTo>
                    <a:close/>
                  </a:path>
                </a:pathLst>
              </a:custGeom>
              <a:grpFill/>
              <a:ln w="5978" cap="flat">
                <a:noFill/>
                <a:prstDash val="solid"/>
                <a:miter/>
              </a:ln>
            </p:spPr>
            <p:txBody>
              <a:bodyPr rtlCol="0" anchor="ctr"/>
              <a:lstStyle/>
              <a:p>
                <a:endParaRPr lang="en-GB"/>
              </a:p>
            </p:txBody>
          </p:sp>
          <p:sp>
            <p:nvSpPr>
              <p:cNvPr id="1622" name="Vrije vorm: vorm 1621">
                <a:extLst>
                  <a:ext uri="{FF2B5EF4-FFF2-40B4-BE49-F238E27FC236}">
                    <a16:creationId xmlns:a16="http://schemas.microsoft.com/office/drawing/2014/main" id="{1301BC63-99A9-45EB-9D96-B66E25CC0D92}"/>
                  </a:ext>
                </a:extLst>
              </p:cNvPr>
              <p:cNvSpPr/>
              <p:nvPr/>
            </p:nvSpPr>
            <p:spPr>
              <a:xfrm>
                <a:off x="4095201" y="3857192"/>
                <a:ext cx="18319" cy="18470"/>
              </a:xfrm>
              <a:custGeom>
                <a:avLst/>
                <a:gdLst>
                  <a:gd name="connsiteX0" fmla="*/ 11242 w 18319"/>
                  <a:gd name="connsiteY0" fmla="*/ 18236 h 18470"/>
                  <a:gd name="connsiteX1" fmla="*/ 238 w 18319"/>
                  <a:gd name="connsiteY1" fmla="*/ 11298 h 18470"/>
                  <a:gd name="connsiteX2" fmla="*/ 7056 w 18319"/>
                  <a:gd name="connsiteY2" fmla="*/ 234 h 18470"/>
                  <a:gd name="connsiteX3" fmla="*/ 18060 w 18319"/>
                  <a:gd name="connsiteY3" fmla="*/ 7172 h 18470"/>
                  <a:gd name="connsiteX4" fmla="*/ 11242 w 18319"/>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1242" y="18236"/>
                    </a:moveTo>
                    <a:cubicBezTo>
                      <a:pt x="6338" y="19373"/>
                      <a:pt x="1374" y="16262"/>
                      <a:pt x="238" y="11298"/>
                    </a:cubicBezTo>
                    <a:cubicBezTo>
                      <a:pt x="-899" y="6334"/>
                      <a:pt x="2151" y="1371"/>
                      <a:pt x="7056" y="234"/>
                    </a:cubicBezTo>
                    <a:cubicBezTo>
                      <a:pt x="11960" y="-902"/>
                      <a:pt x="16924" y="2208"/>
                      <a:pt x="18060" y="7172"/>
                    </a:cubicBezTo>
                    <a:cubicBezTo>
                      <a:pt x="19256" y="12196"/>
                      <a:pt x="16206" y="17159"/>
                      <a:pt x="11242" y="18236"/>
                    </a:cubicBezTo>
                    <a:close/>
                  </a:path>
                </a:pathLst>
              </a:custGeom>
              <a:grpFill/>
              <a:ln w="5978" cap="flat">
                <a:noFill/>
                <a:prstDash val="solid"/>
                <a:miter/>
              </a:ln>
            </p:spPr>
            <p:txBody>
              <a:bodyPr rtlCol="0" anchor="ctr"/>
              <a:lstStyle/>
              <a:p>
                <a:endParaRPr lang="en-GB"/>
              </a:p>
            </p:txBody>
          </p:sp>
          <p:sp>
            <p:nvSpPr>
              <p:cNvPr id="1623" name="Vrije vorm: vorm 1622">
                <a:extLst>
                  <a:ext uri="{FF2B5EF4-FFF2-40B4-BE49-F238E27FC236}">
                    <a16:creationId xmlns:a16="http://schemas.microsoft.com/office/drawing/2014/main" id="{3D129AAE-273C-47A8-A304-E5D1F50CB2EF}"/>
                  </a:ext>
                </a:extLst>
              </p:cNvPr>
              <p:cNvSpPr/>
              <p:nvPr/>
            </p:nvSpPr>
            <p:spPr>
              <a:xfrm>
                <a:off x="4398764" y="3787277"/>
                <a:ext cx="18335" cy="18470"/>
              </a:xfrm>
              <a:custGeom>
                <a:avLst/>
                <a:gdLst>
                  <a:gd name="connsiteX0" fmla="*/ 11261 w 18335"/>
                  <a:gd name="connsiteY0" fmla="*/ 18236 h 18470"/>
                  <a:gd name="connsiteX1" fmla="*/ 18079 w 18335"/>
                  <a:gd name="connsiteY1" fmla="*/ 7172 h 18470"/>
                  <a:gd name="connsiteX2" fmla="*/ 7074 w 18335"/>
                  <a:gd name="connsiteY2" fmla="*/ 234 h 18470"/>
                  <a:gd name="connsiteX3" fmla="*/ 256 w 18335"/>
                  <a:gd name="connsiteY3" fmla="*/ 11298 h 18470"/>
                  <a:gd name="connsiteX4" fmla="*/ 11261 w 18335"/>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70">
                    <a:moveTo>
                      <a:pt x="11261" y="18236"/>
                    </a:moveTo>
                    <a:cubicBezTo>
                      <a:pt x="16165" y="17100"/>
                      <a:pt x="19275" y="12136"/>
                      <a:pt x="18079" y="7172"/>
                    </a:cubicBezTo>
                    <a:cubicBezTo>
                      <a:pt x="16942" y="2208"/>
                      <a:pt x="11978" y="-902"/>
                      <a:pt x="7074" y="234"/>
                    </a:cubicBezTo>
                    <a:cubicBezTo>
                      <a:pt x="2170" y="1370"/>
                      <a:pt x="-940" y="6334"/>
                      <a:pt x="256" y="11298"/>
                    </a:cubicBezTo>
                    <a:cubicBezTo>
                      <a:pt x="1393" y="16262"/>
                      <a:pt x="6297" y="19373"/>
                      <a:pt x="11261" y="18236"/>
                    </a:cubicBezTo>
                    <a:close/>
                  </a:path>
                </a:pathLst>
              </a:custGeom>
              <a:grpFill/>
              <a:ln w="5978" cap="flat">
                <a:noFill/>
                <a:prstDash val="solid"/>
                <a:miter/>
              </a:ln>
            </p:spPr>
            <p:txBody>
              <a:bodyPr rtlCol="0" anchor="ctr"/>
              <a:lstStyle/>
              <a:p>
                <a:endParaRPr lang="en-GB"/>
              </a:p>
            </p:txBody>
          </p:sp>
        </p:grpSp>
        <p:grpSp>
          <p:nvGrpSpPr>
            <p:cNvPr id="1262" name="Graphic 3">
              <a:extLst>
                <a:ext uri="{FF2B5EF4-FFF2-40B4-BE49-F238E27FC236}">
                  <a16:creationId xmlns:a16="http://schemas.microsoft.com/office/drawing/2014/main" id="{CF461B5D-C7C1-4F1C-8CDD-AD3C5C0223FC}"/>
                </a:ext>
              </a:extLst>
            </p:cNvPr>
            <p:cNvGrpSpPr/>
            <p:nvPr/>
          </p:nvGrpSpPr>
          <p:grpSpPr>
            <a:xfrm>
              <a:off x="4539798" y="4820561"/>
              <a:ext cx="122044" cy="122844"/>
              <a:chOff x="4539798" y="4820561"/>
              <a:chExt cx="122044" cy="122844"/>
            </a:xfrm>
            <a:grpFill/>
          </p:grpSpPr>
          <p:sp>
            <p:nvSpPr>
              <p:cNvPr id="1618" name="Vrije vorm: vorm 1617">
                <a:extLst>
                  <a:ext uri="{FF2B5EF4-FFF2-40B4-BE49-F238E27FC236}">
                    <a16:creationId xmlns:a16="http://schemas.microsoft.com/office/drawing/2014/main" id="{651C5AB8-0539-4367-BFF3-E0E98F71E45F}"/>
                  </a:ext>
                </a:extLst>
              </p:cNvPr>
              <p:cNvSpPr/>
              <p:nvPr/>
            </p:nvSpPr>
            <p:spPr>
              <a:xfrm>
                <a:off x="4547581" y="4828336"/>
                <a:ext cx="106516" cy="107234"/>
              </a:xfrm>
              <a:custGeom>
                <a:avLst/>
                <a:gdLst>
                  <a:gd name="connsiteX0" fmla="*/ 106517 w 106516"/>
                  <a:gd name="connsiteY0" fmla="*/ 2153 h 107234"/>
                  <a:gd name="connsiteX1" fmla="*/ 2153 w 106516"/>
                  <a:gd name="connsiteY1" fmla="*/ 107234 h 107234"/>
                  <a:gd name="connsiteX2" fmla="*/ 0 w 106516"/>
                  <a:gd name="connsiteY2" fmla="*/ 105081 h 107234"/>
                  <a:gd name="connsiteX3" fmla="*/ 104364 w 106516"/>
                  <a:gd name="connsiteY3" fmla="*/ 0 h 107234"/>
                </a:gdLst>
                <a:ahLst/>
                <a:cxnLst>
                  <a:cxn ang="0">
                    <a:pos x="connsiteX0" y="connsiteY0"/>
                  </a:cxn>
                  <a:cxn ang="0">
                    <a:pos x="connsiteX1" y="connsiteY1"/>
                  </a:cxn>
                  <a:cxn ang="0">
                    <a:pos x="connsiteX2" y="connsiteY2"/>
                  </a:cxn>
                  <a:cxn ang="0">
                    <a:pos x="connsiteX3" y="connsiteY3"/>
                  </a:cxn>
                </a:cxnLst>
                <a:rect l="l" t="t" r="r" b="b"/>
                <a:pathLst>
                  <a:path w="106516" h="107234">
                    <a:moveTo>
                      <a:pt x="106517" y="2153"/>
                    </a:moveTo>
                    <a:lnTo>
                      <a:pt x="2153" y="107234"/>
                    </a:lnTo>
                    <a:lnTo>
                      <a:pt x="0" y="105081"/>
                    </a:lnTo>
                    <a:lnTo>
                      <a:pt x="104364" y="0"/>
                    </a:lnTo>
                    <a:close/>
                  </a:path>
                </a:pathLst>
              </a:custGeom>
              <a:grpFill/>
              <a:ln w="5978" cap="flat">
                <a:noFill/>
                <a:prstDash val="solid"/>
                <a:miter/>
              </a:ln>
            </p:spPr>
            <p:txBody>
              <a:bodyPr rtlCol="0" anchor="ctr"/>
              <a:lstStyle/>
              <a:p>
                <a:endParaRPr lang="en-GB"/>
              </a:p>
            </p:txBody>
          </p:sp>
          <p:sp>
            <p:nvSpPr>
              <p:cNvPr id="1619" name="Vrije vorm: vorm 1618">
                <a:extLst>
                  <a:ext uri="{FF2B5EF4-FFF2-40B4-BE49-F238E27FC236}">
                    <a16:creationId xmlns:a16="http://schemas.microsoft.com/office/drawing/2014/main" id="{BBA7C3BE-6DB3-4C49-8F40-C66DC761B5CA}"/>
                  </a:ext>
                </a:extLst>
              </p:cNvPr>
              <p:cNvSpPr/>
              <p:nvPr/>
            </p:nvSpPr>
            <p:spPr>
              <a:xfrm>
                <a:off x="4539798" y="4924985"/>
                <a:ext cx="18361" cy="18420"/>
              </a:xfrm>
              <a:custGeom>
                <a:avLst/>
                <a:gdLst>
                  <a:gd name="connsiteX0" fmla="*/ 15677 w 18361"/>
                  <a:gd name="connsiteY0" fmla="*/ 15729 h 18420"/>
                  <a:gd name="connsiteX1" fmla="*/ 2699 w 18361"/>
                  <a:gd name="connsiteY1" fmla="*/ 15729 h 18420"/>
                  <a:gd name="connsiteX2" fmla="*/ 2639 w 18361"/>
                  <a:gd name="connsiteY2" fmla="*/ 2691 h 18420"/>
                  <a:gd name="connsiteX3" fmla="*/ 15617 w 18361"/>
                  <a:gd name="connsiteY3" fmla="*/ 2691 h 18420"/>
                  <a:gd name="connsiteX4" fmla="*/ 15677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677" y="15729"/>
                    </a:moveTo>
                    <a:cubicBezTo>
                      <a:pt x="12089" y="19318"/>
                      <a:pt x="6287" y="19318"/>
                      <a:pt x="2699" y="15729"/>
                    </a:cubicBezTo>
                    <a:cubicBezTo>
                      <a:pt x="-890" y="12141"/>
                      <a:pt x="-890" y="6280"/>
                      <a:pt x="2639" y="2691"/>
                    </a:cubicBezTo>
                    <a:cubicBezTo>
                      <a:pt x="6227" y="-897"/>
                      <a:pt x="12029" y="-897"/>
                      <a:pt x="15617" y="2691"/>
                    </a:cubicBezTo>
                    <a:cubicBezTo>
                      <a:pt x="19266" y="6280"/>
                      <a:pt x="19266" y="12141"/>
                      <a:pt x="15677" y="15729"/>
                    </a:cubicBezTo>
                    <a:close/>
                  </a:path>
                </a:pathLst>
              </a:custGeom>
              <a:grpFill/>
              <a:ln w="5978" cap="flat">
                <a:noFill/>
                <a:prstDash val="solid"/>
                <a:miter/>
              </a:ln>
            </p:spPr>
            <p:txBody>
              <a:bodyPr rtlCol="0" anchor="ctr"/>
              <a:lstStyle/>
              <a:p>
                <a:endParaRPr lang="en-GB"/>
              </a:p>
            </p:txBody>
          </p:sp>
          <p:sp>
            <p:nvSpPr>
              <p:cNvPr id="1620" name="Vrije vorm: vorm 1619">
                <a:extLst>
                  <a:ext uri="{FF2B5EF4-FFF2-40B4-BE49-F238E27FC236}">
                    <a16:creationId xmlns:a16="http://schemas.microsoft.com/office/drawing/2014/main" id="{5FED2E6D-9016-4E21-9874-DE12DE286F8D}"/>
                  </a:ext>
                </a:extLst>
              </p:cNvPr>
              <p:cNvSpPr/>
              <p:nvPr/>
            </p:nvSpPr>
            <p:spPr>
              <a:xfrm>
                <a:off x="4643482" y="4820561"/>
                <a:ext cx="18361" cy="18420"/>
              </a:xfrm>
              <a:custGeom>
                <a:avLst/>
                <a:gdLst>
                  <a:gd name="connsiteX0" fmla="*/ 15700 w 18361"/>
                  <a:gd name="connsiteY0" fmla="*/ 15729 h 18420"/>
                  <a:gd name="connsiteX1" fmla="*/ 15640 w 18361"/>
                  <a:gd name="connsiteY1" fmla="*/ 2691 h 18420"/>
                  <a:gd name="connsiteX2" fmla="*/ 2662 w 18361"/>
                  <a:gd name="connsiteY2" fmla="*/ 2691 h 18420"/>
                  <a:gd name="connsiteX3" fmla="*/ 2721 w 18361"/>
                  <a:gd name="connsiteY3" fmla="*/ 15729 h 18420"/>
                  <a:gd name="connsiteX4" fmla="*/ 15700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700" y="15729"/>
                    </a:moveTo>
                    <a:cubicBezTo>
                      <a:pt x="19288" y="12141"/>
                      <a:pt x="19228" y="6280"/>
                      <a:pt x="15640" y="2691"/>
                    </a:cubicBezTo>
                    <a:cubicBezTo>
                      <a:pt x="12051" y="-897"/>
                      <a:pt x="6250" y="-897"/>
                      <a:pt x="2662" y="2691"/>
                    </a:cubicBezTo>
                    <a:cubicBezTo>
                      <a:pt x="-927" y="6280"/>
                      <a:pt x="-867" y="12141"/>
                      <a:pt x="2721" y="15729"/>
                    </a:cubicBezTo>
                    <a:cubicBezTo>
                      <a:pt x="6310" y="19318"/>
                      <a:pt x="12111" y="19318"/>
                      <a:pt x="15700" y="15729"/>
                    </a:cubicBezTo>
                    <a:close/>
                  </a:path>
                </a:pathLst>
              </a:custGeom>
              <a:grpFill/>
              <a:ln w="5978" cap="flat">
                <a:noFill/>
                <a:prstDash val="solid"/>
                <a:miter/>
              </a:ln>
            </p:spPr>
            <p:txBody>
              <a:bodyPr rtlCol="0" anchor="ctr"/>
              <a:lstStyle/>
              <a:p>
                <a:endParaRPr lang="en-GB"/>
              </a:p>
            </p:txBody>
          </p:sp>
        </p:grpSp>
        <p:grpSp>
          <p:nvGrpSpPr>
            <p:cNvPr id="1263" name="Graphic 3">
              <a:extLst>
                <a:ext uri="{FF2B5EF4-FFF2-40B4-BE49-F238E27FC236}">
                  <a16:creationId xmlns:a16="http://schemas.microsoft.com/office/drawing/2014/main" id="{D5D8C8D3-B284-4864-9389-BFC9FD7491CC}"/>
                </a:ext>
              </a:extLst>
            </p:cNvPr>
            <p:cNvGrpSpPr/>
            <p:nvPr/>
          </p:nvGrpSpPr>
          <p:grpSpPr>
            <a:xfrm>
              <a:off x="4245856" y="3976026"/>
              <a:ext cx="105375" cy="47301"/>
              <a:chOff x="4245856" y="3976026"/>
              <a:chExt cx="105375" cy="47301"/>
            </a:xfrm>
            <a:grpFill/>
          </p:grpSpPr>
          <p:sp>
            <p:nvSpPr>
              <p:cNvPr id="1615" name="Vrije vorm: vorm 1614">
                <a:extLst>
                  <a:ext uri="{FF2B5EF4-FFF2-40B4-BE49-F238E27FC236}">
                    <a16:creationId xmlns:a16="http://schemas.microsoft.com/office/drawing/2014/main" id="{1CCE38BC-667F-45AA-A0D3-69024FF557A2}"/>
                  </a:ext>
                </a:extLst>
              </p:cNvPr>
              <p:cNvSpPr/>
              <p:nvPr/>
            </p:nvSpPr>
            <p:spPr>
              <a:xfrm>
                <a:off x="4254190" y="3983836"/>
                <a:ext cx="88821" cy="32094"/>
              </a:xfrm>
              <a:custGeom>
                <a:avLst/>
                <a:gdLst>
                  <a:gd name="connsiteX0" fmla="*/ 0 w 88821"/>
                  <a:gd name="connsiteY0" fmla="*/ 29200 h 32094"/>
                  <a:gd name="connsiteX1" fmla="*/ 87860 w 88821"/>
                  <a:gd name="connsiteY1" fmla="*/ 0 h 32094"/>
                  <a:gd name="connsiteX2" fmla="*/ 88822 w 88821"/>
                  <a:gd name="connsiteY2" fmla="*/ 2895 h 32094"/>
                  <a:gd name="connsiteX3" fmla="*/ 962 w 88821"/>
                  <a:gd name="connsiteY3" fmla="*/ 32095 h 32094"/>
                </a:gdLst>
                <a:ahLst/>
                <a:cxnLst>
                  <a:cxn ang="0">
                    <a:pos x="connsiteX0" y="connsiteY0"/>
                  </a:cxn>
                  <a:cxn ang="0">
                    <a:pos x="connsiteX1" y="connsiteY1"/>
                  </a:cxn>
                  <a:cxn ang="0">
                    <a:pos x="connsiteX2" y="connsiteY2"/>
                  </a:cxn>
                  <a:cxn ang="0">
                    <a:pos x="connsiteX3" y="connsiteY3"/>
                  </a:cxn>
                </a:cxnLst>
                <a:rect l="l" t="t" r="r" b="b"/>
                <a:pathLst>
                  <a:path w="88821" h="32094">
                    <a:moveTo>
                      <a:pt x="0" y="29200"/>
                    </a:moveTo>
                    <a:lnTo>
                      <a:pt x="87860" y="0"/>
                    </a:lnTo>
                    <a:lnTo>
                      <a:pt x="88822" y="2895"/>
                    </a:lnTo>
                    <a:lnTo>
                      <a:pt x="962" y="32095"/>
                    </a:lnTo>
                    <a:close/>
                  </a:path>
                </a:pathLst>
              </a:custGeom>
              <a:grpFill/>
              <a:ln w="5978" cap="flat">
                <a:noFill/>
                <a:prstDash val="solid"/>
                <a:miter/>
              </a:ln>
            </p:spPr>
            <p:txBody>
              <a:bodyPr rtlCol="0" anchor="ctr"/>
              <a:lstStyle/>
              <a:p>
                <a:endParaRPr lang="en-GB"/>
              </a:p>
            </p:txBody>
          </p:sp>
          <p:sp>
            <p:nvSpPr>
              <p:cNvPr id="1616" name="Vrije vorm: vorm 1615">
                <a:extLst>
                  <a:ext uri="{FF2B5EF4-FFF2-40B4-BE49-F238E27FC236}">
                    <a16:creationId xmlns:a16="http://schemas.microsoft.com/office/drawing/2014/main" id="{D9A385B5-7847-48B8-A16B-C0F7524DAAA2}"/>
                  </a:ext>
                </a:extLst>
              </p:cNvPr>
              <p:cNvSpPr/>
              <p:nvPr/>
            </p:nvSpPr>
            <p:spPr>
              <a:xfrm>
                <a:off x="4245856" y="4004854"/>
                <a:ext cx="18333" cy="18474"/>
              </a:xfrm>
              <a:custGeom>
                <a:avLst/>
                <a:gdLst>
                  <a:gd name="connsiteX0" fmla="*/ 12079 w 18333"/>
                  <a:gd name="connsiteY0" fmla="*/ 17999 h 18474"/>
                  <a:gd name="connsiteX1" fmla="*/ 476 w 18333"/>
                  <a:gd name="connsiteY1" fmla="*/ 12138 h 18474"/>
                  <a:gd name="connsiteX2" fmla="*/ 6277 w 18333"/>
                  <a:gd name="connsiteY2" fmla="*/ 476 h 18474"/>
                  <a:gd name="connsiteX3" fmla="*/ 17880 w 18333"/>
                  <a:gd name="connsiteY3" fmla="*/ 6337 h 18474"/>
                  <a:gd name="connsiteX4" fmla="*/ 12079 w 18333"/>
                  <a:gd name="connsiteY4" fmla="*/ 17999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74">
                    <a:moveTo>
                      <a:pt x="12079" y="17999"/>
                    </a:moveTo>
                    <a:cubicBezTo>
                      <a:pt x="7294" y="19614"/>
                      <a:pt x="2091" y="16982"/>
                      <a:pt x="476" y="12138"/>
                    </a:cubicBezTo>
                    <a:cubicBezTo>
                      <a:pt x="-1139" y="7294"/>
                      <a:pt x="1493" y="2091"/>
                      <a:pt x="6277" y="476"/>
                    </a:cubicBezTo>
                    <a:cubicBezTo>
                      <a:pt x="11062" y="-1139"/>
                      <a:pt x="16265" y="1492"/>
                      <a:pt x="17880" y="6337"/>
                    </a:cubicBezTo>
                    <a:cubicBezTo>
                      <a:pt x="19435" y="11241"/>
                      <a:pt x="16863" y="16444"/>
                      <a:pt x="12079" y="17999"/>
                    </a:cubicBezTo>
                    <a:close/>
                  </a:path>
                </a:pathLst>
              </a:custGeom>
              <a:grpFill/>
              <a:ln w="5978" cap="flat">
                <a:noFill/>
                <a:prstDash val="solid"/>
                <a:miter/>
              </a:ln>
            </p:spPr>
            <p:txBody>
              <a:bodyPr rtlCol="0" anchor="ctr"/>
              <a:lstStyle/>
              <a:p>
                <a:endParaRPr lang="en-GB"/>
              </a:p>
            </p:txBody>
          </p:sp>
          <p:sp>
            <p:nvSpPr>
              <p:cNvPr id="1617" name="Vrije vorm: vorm 1616">
                <a:extLst>
                  <a:ext uri="{FF2B5EF4-FFF2-40B4-BE49-F238E27FC236}">
                    <a16:creationId xmlns:a16="http://schemas.microsoft.com/office/drawing/2014/main" id="{A15AAD3B-4A01-4DA5-8201-D15C794AD82B}"/>
                  </a:ext>
                </a:extLst>
              </p:cNvPr>
              <p:cNvSpPr/>
              <p:nvPr/>
            </p:nvSpPr>
            <p:spPr>
              <a:xfrm>
                <a:off x="4332875" y="3976026"/>
                <a:ext cx="18356" cy="18446"/>
              </a:xfrm>
              <a:custGeom>
                <a:avLst/>
                <a:gdLst>
                  <a:gd name="connsiteX0" fmla="*/ 12079 w 18356"/>
                  <a:gd name="connsiteY0" fmla="*/ 17999 h 18446"/>
                  <a:gd name="connsiteX1" fmla="*/ 17880 w 18356"/>
                  <a:gd name="connsiteY1" fmla="*/ 6337 h 18446"/>
                  <a:gd name="connsiteX2" fmla="*/ 6277 w 18356"/>
                  <a:gd name="connsiteY2" fmla="*/ 476 h 18446"/>
                  <a:gd name="connsiteX3" fmla="*/ 476 w 18356"/>
                  <a:gd name="connsiteY3" fmla="*/ 12138 h 18446"/>
                  <a:gd name="connsiteX4" fmla="*/ 12079 w 18356"/>
                  <a:gd name="connsiteY4" fmla="*/ 17999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46">
                    <a:moveTo>
                      <a:pt x="12079" y="17999"/>
                    </a:moveTo>
                    <a:cubicBezTo>
                      <a:pt x="16863" y="16385"/>
                      <a:pt x="19495" y="11181"/>
                      <a:pt x="17880" y="6337"/>
                    </a:cubicBezTo>
                    <a:cubicBezTo>
                      <a:pt x="16265" y="1492"/>
                      <a:pt x="11062" y="-1139"/>
                      <a:pt x="6277" y="476"/>
                    </a:cubicBezTo>
                    <a:cubicBezTo>
                      <a:pt x="1493" y="2091"/>
                      <a:pt x="-1139" y="7294"/>
                      <a:pt x="476" y="12138"/>
                    </a:cubicBezTo>
                    <a:cubicBezTo>
                      <a:pt x="2031" y="16923"/>
                      <a:pt x="7234" y="19554"/>
                      <a:pt x="12079" y="17999"/>
                    </a:cubicBezTo>
                    <a:close/>
                  </a:path>
                </a:pathLst>
              </a:custGeom>
              <a:grpFill/>
              <a:ln w="5978" cap="flat">
                <a:noFill/>
                <a:prstDash val="solid"/>
                <a:miter/>
              </a:ln>
            </p:spPr>
            <p:txBody>
              <a:bodyPr rtlCol="0" anchor="ctr"/>
              <a:lstStyle/>
              <a:p>
                <a:endParaRPr lang="en-GB"/>
              </a:p>
            </p:txBody>
          </p:sp>
        </p:grpSp>
        <p:grpSp>
          <p:nvGrpSpPr>
            <p:cNvPr id="1264" name="Graphic 3">
              <a:extLst>
                <a:ext uri="{FF2B5EF4-FFF2-40B4-BE49-F238E27FC236}">
                  <a16:creationId xmlns:a16="http://schemas.microsoft.com/office/drawing/2014/main" id="{068FCB9E-A8A1-4181-8C01-D4445C94B22E}"/>
                </a:ext>
              </a:extLst>
            </p:cNvPr>
            <p:cNvGrpSpPr/>
            <p:nvPr/>
          </p:nvGrpSpPr>
          <p:grpSpPr>
            <a:xfrm>
              <a:off x="4190284" y="3725004"/>
              <a:ext cx="27827" cy="20067"/>
              <a:chOff x="4190284" y="3725004"/>
              <a:chExt cx="27827" cy="20067"/>
            </a:xfrm>
            <a:grpFill/>
          </p:grpSpPr>
          <p:sp>
            <p:nvSpPr>
              <p:cNvPr id="1613" name="Vrije vorm: vorm 1612">
                <a:extLst>
                  <a:ext uri="{FF2B5EF4-FFF2-40B4-BE49-F238E27FC236}">
                    <a16:creationId xmlns:a16="http://schemas.microsoft.com/office/drawing/2014/main" id="{02CF6068-D33D-47A0-BD8C-A42821A0277F}"/>
                  </a:ext>
                </a:extLst>
              </p:cNvPr>
              <p:cNvSpPr/>
              <p:nvPr/>
            </p:nvSpPr>
            <p:spPr>
              <a:xfrm>
                <a:off x="4199776" y="3725004"/>
                <a:ext cx="18335" cy="18437"/>
              </a:xfrm>
              <a:custGeom>
                <a:avLst/>
                <a:gdLst>
                  <a:gd name="connsiteX0" fmla="*/ 10731 w 18335"/>
                  <a:gd name="connsiteY0" fmla="*/ 18310 h 18437"/>
                  <a:gd name="connsiteX1" fmla="*/ 145 w 18335"/>
                  <a:gd name="connsiteY1" fmla="*/ 10774 h 18437"/>
                  <a:gd name="connsiteX2" fmla="*/ 7621 w 18335"/>
                  <a:gd name="connsiteY2" fmla="*/ 128 h 18437"/>
                  <a:gd name="connsiteX3" fmla="*/ 18207 w 18335"/>
                  <a:gd name="connsiteY3" fmla="*/ 7664 h 18437"/>
                  <a:gd name="connsiteX4" fmla="*/ 10731 w 18335"/>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7">
                    <a:moveTo>
                      <a:pt x="10731" y="18310"/>
                    </a:moveTo>
                    <a:cubicBezTo>
                      <a:pt x="5767" y="19147"/>
                      <a:pt x="983" y="15798"/>
                      <a:pt x="145" y="10774"/>
                    </a:cubicBezTo>
                    <a:cubicBezTo>
                      <a:pt x="-752" y="5750"/>
                      <a:pt x="2598" y="1025"/>
                      <a:pt x="7621" y="128"/>
                    </a:cubicBezTo>
                    <a:cubicBezTo>
                      <a:pt x="12585" y="-709"/>
                      <a:pt x="17370" y="2640"/>
                      <a:pt x="18207" y="7664"/>
                    </a:cubicBezTo>
                    <a:cubicBezTo>
                      <a:pt x="19045" y="12688"/>
                      <a:pt x="15695" y="17472"/>
                      <a:pt x="10731" y="18310"/>
                    </a:cubicBezTo>
                    <a:close/>
                  </a:path>
                </a:pathLst>
              </a:custGeom>
              <a:grpFill/>
              <a:ln w="5978" cap="flat">
                <a:noFill/>
                <a:prstDash val="solid"/>
                <a:miter/>
              </a:ln>
            </p:spPr>
            <p:txBody>
              <a:bodyPr rtlCol="0" anchor="ctr"/>
              <a:lstStyle/>
              <a:p>
                <a:endParaRPr lang="en-GB"/>
              </a:p>
            </p:txBody>
          </p:sp>
          <p:sp>
            <p:nvSpPr>
              <p:cNvPr id="1614" name="Vrije vorm: vorm 1613">
                <a:extLst>
                  <a:ext uri="{FF2B5EF4-FFF2-40B4-BE49-F238E27FC236}">
                    <a16:creationId xmlns:a16="http://schemas.microsoft.com/office/drawing/2014/main" id="{CB3444F0-5B69-480D-83FD-E913F0D99750}"/>
                  </a:ext>
                </a:extLst>
              </p:cNvPr>
              <p:cNvSpPr/>
              <p:nvPr/>
            </p:nvSpPr>
            <p:spPr>
              <a:xfrm>
                <a:off x="4190284" y="3726619"/>
                <a:ext cx="18318" cy="18452"/>
              </a:xfrm>
              <a:custGeom>
                <a:avLst/>
                <a:gdLst>
                  <a:gd name="connsiteX0" fmla="*/ 10714 w 18318"/>
                  <a:gd name="connsiteY0" fmla="*/ 18310 h 18452"/>
                  <a:gd name="connsiteX1" fmla="*/ 18190 w 18318"/>
                  <a:gd name="connsiteY1" fmla="*/ 7664 h 18452"/>
                  <a:gd name="connsiteX2" fmla="*/ 7604 w 18318"/>
                  <a:gd name="connsiteY2" fmla="*/ 128 h 18452"/>
                  <a:gd name="connsiteX3" fmla="*/ 128 w 18318"/>
                  <a:gd name="connsiteY3" fmla="*/ 10774 h 18452"/>
                  <a:gd name="connsiteX4" fmla="*/ 10714 w 18318"/>
                  <a:gd name="connsiteY4" fmla="*/ 18310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52">
                    <a:moveTo>
                      <a:pt x="10714" y="18310"/>
                    </a:moveTo>
                    <a:cubicBezTo>
                      <a:pt x="15678" y="17472"/>
                      <a:pt x="19027" y="12688"/>
                      <a:pt x="18190" y="7664"/>
                    </a:cubicBezTo>
                    <a:cubicBezTo>
                      <a:pt x="17293" y="2640"/>
                      <a:pt x="12568" y="-709"/>
                      <a:pt x="7604" y="128"/>
                    </a:cubicBezTo>
                    <a:cubicBezTo>
                      <a:pt x="2640" y="965"/>
                      <a:pt x="-709" y="5750"/>
                      <a:pt x="128" y="10774"/>
                    </a:cubicBezTo>
                    <a:cubicBezTo>
                      <a:pt x="1025" y="15798"/>
                      <a:pt x="5750" y="19207"/>
                      <a:pt x="10714" y="18310"/>
                    </a:cubicBezTo>
                    <a:close/>
                  </a:path>
                </a:pathLst>
              </a:custGeom>
              <a:grpFill/>
              <a:ln w="5978" cap="flat">
                <a:noFill/>
                <a:prstDash val="solid"/>
                <a:miter/>
              </a:ln>
            </p:spPr>
            <p:txBody>
              <a:bodyPr rtlCol="0" anchor="ctr"/>
              <a:lstStyle/>
              <a:p>
                <a:endParaRPr lang="en-GB"/>
              </a:p>
            </p:txBody>
          </p:sp>
        </p:grpSp>
        <p:grpSp>
          <p:nvGrpSpPr>
            <p:cNvPr id="1265" name="Graphic 3">
              <a:extLst>
                <a:ext uri="{FF2B5EF4-FFF2-40B4-BE49-F238E27FC236}">
                  <a16:creationId xmlns:a16="http://schemas.microsoft.com/office/drawing/2014/main" id="{2C8462DD-63F8-4E33-8B09-83025634CB7F}"/>
                </a:ext>
              </a:extLst>
            </p:cNvPr>
            <p:cNvGrpSpPr/>
            <p:nvPr/>
          </p:nvGrpSpPr>
          <p:grpSpPr>
            <a:xfrm>
              <a:off x="3786601" y="3155954"/>
              <a:ext cx="469891" cy="68764"/>
              <a:chOff x="3786601" y="3155954"/>
              <a:chExt cx="469891" cy="68764"/>
            </a:xfrm>
            <a:grpFill/>
          </p:grpSpPr>
          <p:sp>
            <p:nvSpPr>
              <p:cNvPr id="1610" name="Vrije vorm: vorm 1609">
                <a:extLst>
                  <a:ext uri="{FF2B5EF4-FFF2-40B4-BE49-F238E27FC236}">
                    <a16:creationId xmlns:a16="http://schemas.microsoft.com/office/drawing/2014/main" id="{1D71E5E4-CBB3-4C93-BE4E-FF6A053F5301}"/>
                  </a:ext>
                </a:extLst>
              </p:cNvPr>
              <p:cNvSpPr/>
              <p:nvPr/>
            </p:nvSpPr>
            <p:spPr>
              <a:xfrm>
                <a:off x="3795146" y="3163543"/>
                <a:ext cx="452800" cy="53527"/>
              </a:xfrm>
              <a:custGeom>
                <a:avLst/>
                <a:gdLst>
                  <a:gd name="connsiteX0" fmla="*/ 452801 w 452800"/>
                  <a:gd name="connsiteY0" fmla="*/ 50477 h 53527"/>
                  <a:gd name="connsiteX1" fmla="*/ 452442 w 452800"/>
                  <a:gd name="connsiteY1" fmla="*/ 53528 h 53527"/>
                  <a:gd name="connsiteX2" fmla="*/ 0 w 452800"/>
                  <a:gd name="connsiteY2" fmla="*/ 3050 h 53527"/>
                  <a:gd name="connsiteX3" fmla="*/ 299 w 452800"/>
                  <a:gd name="connsiteY3" fmla="*/ 0 h 53527"/>
                </a:gdLst>
                <a:ahLst/>
                <a:cxnLst>
                  <a:cxn ang="0">
                    <a:pos x="connsiteX0" y="connsiteY0"/>
                  </a:cxn>
                  <a:cxn ang="0">
                    <a:pos x="connsiteX1" y="connsiteY1"/>
                  </a:cxn>
                  <a:cxn ang="0">
                    <a:pos x="connsiteX2" y="connsiteY2"/>
                  </a:cxn>
                  <a:cxn ang="0">
                    <a:pos x="connsiteX3" y="connsiteY3"/>
                  </a:cxn>
                </a:cxnLst>
                <a:rect l="l" t="t" r="r" b="b"/>
                <a:pathLst>
                  <a:path w="452800" h="53527">
                    <a:moveTo>
                      <a:pt x="452801" y="50477"/>
                    </a:moveTo>
                    <a:lnTo>
                      <a:pt x="452442" y="53528"/>
                    </a:lnTo>
                    <a:lnTo>
                      <a:pt x="0" y="3050"/>
                    </a:lnTo>
                    <a:lnTo>
                      <a:pt x="299" y="0"/>
                    </a:lnTo>
                    <a:close/>
                  </a:path>
                </a:pathLst>
              </a:custGeom>
              <a:grpFill/>
              <a:ln w="5978" cap="flat">
                <a:noFill/>
                <a:prstDash val="solid"/>
                <a:miter/>
              </a:ln>
            </p:spPr>
            <p:txBody>
              <a:bodyPr rtlCol="0" anchor="ctr"/>
              <a:lstStyle/>
              <a:p>
                <a:endParaRPr lang="en-GB"/>
              </a:p>
            </p:txBody>
          </p:sp>
          <p:sp>
            <p:nvSpPr>
              <p:cNvPr id="1611" name="Vrije vorm: vorm 1610">
                <a:extLst>
                  <a:ext uri="{FF2B5EF4-FFF2-40B4-BE49-F238E27FC236}">
                    <a16:creationId xmlns:a16="http://schemas.microsoft.com/office/drawing/2014/main" id="{99CEBBF9-647E-4197-A398-9365A6B2DA60}"/>
                  </a:ext>
                </a:extLst>
              </p:cNvPr>
              <p:cNvSpPr/>
              <p:nvPr/>
            </p:nvSpPr>
            <p:spPr>
              <a:xfrm>
                <a:off x="3786601" y="3155954"/>
                <a:ext cx="18346" cy="18407"/>
              </a:xfrm>
              <a:custGeom>
                <a:avLst/>
                <a:gdLst>
                  <a:gd name="connsiteX0" fmla="*/ 8186 w 18346"/>
                  <a:gd name="connsiteY0" fmla="*/ 18354 h 18407"/>
                  <a:gd name="connsiteX1" fmla="*/ 53 w 18346"/>
                  <a:gd name="connsiteY1" fmla="*/ 8187 h 18407"/>
                  <a:gd name="connsiteX2" fmla="*/ 10160 w 18346"/>
                  <a:gd name="connsiteY2" fmla="*/ 53 h 18407"/>
                  <a:gd name="connsiteX3" fmla="*/ 18294 w 18346"/>
                  <a:gd name="connsiteY3" fmla="*/ 10221 h 18407"/>
                  <a:gd name="connsiteX4" fmla="*/ 8186 w 18346"/>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7">
                    <a:moveTo>
                      <a:pt x="8186" y="18354"/>
                    </a:moveTo>
                    <a:cubicBezTo>
                      <a:pt x="3163" y="17816"/>
                      <a:pt x="-486" y="13211"/>
                      <a:pt x="53" y="8187"/>
                    </a:cubicBezTo>
                    <a:cubicBezTo>
                      <a:pt x="591" y="3104"/>
                      <a:pt x="5136" y="-485"/>
                      <a:pt x="10160" y="53"/>
                    </a:cubicBezTo>
                    <a:cubicBezTo>
                      <a:pt x="15184" y="592"/>
                      <a:pt x="18832" y="5197"/>
                      <a:pt x="18294" y="10221"/>
                    </a:cubicBezTo>
                    <a:cubicBezTo>
                      <a:pt x="17696" y="15244"/>
                      <a:pt x="13210" y="18893"/>
                      <a:pt x="8186" y="18354"/>
                    </a:cubicBezTo>
                    <a:close/>
                  </a:path>
                </a:pathLst>
              </a:custGeom>
              <a:grpFill/>
              <a:ln w="5978" cap="flat">
                <a:noFill/>
                <a:prstDash val="solid"/>
                <a:miter/>
              </a:ln>
            </p:spPr>
            <p:txBody>
              <a:bodyPr rtlCol="0" anchor="ctr"/>
              <a:lstStyle/>
              <a:p>
                <a:endParaRPr lang="en-GB"/>
              </a:p>
            </p:txBody>
          </p:sp>
          <p:sp>
            <p:nvSpPr>
              <p:cNvPr id="1612" name="Vrije vorm: vorm 1611">
                <a:extLst>
                  <a:ext uri="{FF2B5EF4-FFF2-40B4-BE49-F238E27FC236}">
                    <a16:creationId xmlns:a16="http://schemas.microsoft.com/office/drawing/2014/main" id="{C7930187-F838-4751-8D5A-4AEA3A634EFF}"/>
                  </a:ext>
                </a:extLst>
              </p:cNvPr>
              <p:cNvSpPr/>
              <p:nvPr/>
            </p:nvSpPr>
            <p:spPr>
              <a:xfrm>
                <a:off x="4238145" y="3206312"/>
                <a:ext cx="18346" cy="18406"/>
              </a:xfrm>
              <a:custGeom>
                <a:avLst/>
                <a:gdLst>
                  <a:gd name="connsiteX0" fmla="*/ 8186 w 18346"/>
                  <a:gd name="connsiteY0" fmla="*/ 18354 h 18406"/>
                  <a:gd name="connsiteX1" fmla="*/ 18294 w 18346"/>
                  <a:gd name="connsiteY1" fmla="*/ 10220 h 18406"/>
                  <a:gd name="connsiteX2" fmla="*/ 10160 w 18346"/>
                  <a:gd name="connsiteY2" fmla="*/ 53 h 18406"/>
                  <a:gd name="connsiteX3" fmla="*/ 53 w 18346"/>
                  <a:gd name="connsiteY3" fmla="*/ 8186 h 18406"/>
                  <a:gd name="connsiteX4" fmla="*/ 8186 w 18346"/>
                  <a:gd name="connsiteY4" fmla="*/ 18354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6">
                    <a:moveTo>
                      <a:pt x="8186" y="18354"/>
                    </a:moveTo>
                    <a:cubicBezTo>
                      <a:pt x="13210" y="18892"/>
                      <a:pt x="17756" y="15244"/>
                      <a:pt x="18294" y="10220"/>
                    </a:cubicBezTo>
                    <a:cubicBezTo>
                      <a:pt x="18832" y="5136"/>
                      <a:pt x="15184" y="591"/>
                      <a:pt x="10160" y="53"/>
                    </a:cubicBezTo>
                    <a:cubicBezTo>
                      <a:pt x="5136" y="-486"/>
                      <a:pt x="591" y="3163"/>
                      <a:pt x="53" y="8186"/>
                    </a:cubicBezTo>
                    <a:cubicBezTo>
                      <a:pt x="-486" y="13210"/>
                      <a:pt x="3163" y="17756"/>
                      <a:pt x="8186" y="18354"/>
                    </a:cubicBezTo>
                    <a:close/>
                  </a:path>
                </a:pathLst>
              </a:custGeom>
              <a:grpFill/>
              <a:ln w="5978" cap="flat">
                <a:noFill/>
                <a:prstDash val="solid"/>
                <a:miter/>
              </a:ln>
            </p:spPr>
            <p:txBody>
              <a:bodyPr rtlCol="0" anchor="ctr"/>
              <a:lstStyle/>
              <a:p>
                <a:endParaRPr lang="en-GB"/>
              </a:p>
            </p:txBody>
          </p:sp>
        </p:grpSp>
        <p:grpSp>
          <p:nvGrpSpPr>
            <p:cNvPr id="1266" name="Graphic 3">
              <a:extLst>
                <a:ext uri="{FF2B5EF4-FFF2-40B4-BE49-F238E27FC236}">
                  <a16:creationId xmlns:a16="http://schemas.microsoft.com/office/drawing/2014/main" id="{A9E5E038-8AA2-4010-BE47-20F8AD54AF00}"/>
                </a:ext>
              </a:extLst>
            </p:cNvPr>
            <p:cNvGrpSpPr/>
            <p:nvPr/>
          </p:nvGrpSpPr>
          <p:grpSpPr>
            <a:xfrm>
              <a:off x="3992538" y="3217747"/>
              <a:ext cx="81770" cy="24244"/>
              <a:chOff x="3992538" y="3217747"/>
              <a:chExt cx="81770" cy="24244"/>
            </a:xfrm>
            <a:grpFill/>
          </p:grpSpPr>
          <p:sp>
            <p:nvSpPr>
              <p:cNvPr id="1607" name="Vrije vorm: vorm 1606">
                <a:extLst>
                  <a:ext uri="{FF2B5EF4-FFF2-40B4-BE49-F238E27FC236}">
                    <a16:creationId xmlns:a16="http://schemas.microsoft.com/office/drawing/2014/main" id="{ED375D7A-D5D0-4D22-B6CE-3E53BAA376FE}"/>
                  </a:ext>
                </a:extLst>
              </p:cNvPr>
              <p:cNvSpPr/>
              <p:nvPr/>
            </p:nvSpPr>
            <p:spPr>
              <a:xfrm>
                <a:off x="4001122" y="3225383"/>
                <a:ext cx="64651" cy="9030"/>
              </a:xfrm>
              <a:custGeom>
                <a:avLst/>
                <a:gdLst>
                  <a:gd name="connsiteX0" fmla="*/ 64652 w 64651"/>
                  <a:gd name="connsiteY0" fmla="*/ 5981 h 9030"/>
                  <a:gd name="connsiteX1" fmla="*/ 64353 w 64651"/>
                  <a:gd name="connsiteY1" fmla="*/ 9031 h 9030"/>
                  <a:gd name="connsiteX2" fmla="*/ 0 w 64651"/>
                  <a:gd name="connsiteY2" fmla="*/ 3050 h 9030"/>
                  <a:gd name="connsiteX3" fmla="*/ 299 w 64651"/>
                  <a:gd name="connsiteY3" fmla="*/ 0 h 9030"/>
                </a:gdLst>
                <a:ahLst/>
                <a:cxnLst>
                  <a:cxn ang="0">
                    <a:pos x="connsiteX0" y="connsiteY0"/>
                  </a:cxn>
                  <a:cxn ang="0">
                    <a:pos x="connsiteX1" y="connsiteY1"/>
                  </a:cxn>
                  <a:cxn ang="0">
                    <a:pos x="connsiteX2" y="connsiteY2"/>
                  </a:cxn>
                  <a:cxn ang="0">
                    <a:pos x="connsiteX3" y="connsiteY3"/>
                  </a:cxn>
                </a:cxnLst>
                <a:rect l="l" t="t" r="r" b="b"/>
                <a:pathLst>
                  <a:path w="64651" h="9030">
                    <a:moveTo>
                      <a:pt x="64652" y="5981"/>
                    </a:moveTo>
                    <a:lnTo>
                      <a:pt x="64353" y="9031"/>
                    </a:lnTo>
                    <a:lnTo>
                      <a:pt x="0" y="3050"/>
                    </a:lnTo>
                    <a:lnTo>
                      <a:pt x="299" y="0"/>
                    </a:lnTo>
                    <a:close/>
                  </a:path>
                </a:pathLst>
              </a:custGeom>
              <a:grpFill/>
              <a:ln w="5978" cap="flat">
                <a:noFill/>
                <a:prstDash val="solid"/>
                <a:miter/>
              </a:ln>
            </p:spPr>
            <p:txBody>
              <a:bodyPr rtlCol="0" anchor="ctr"/>
              <a:lstStyle/>
              <a:p>
                <a:endParaRPr lang="en-GB"/>
              </a:p>
            </p:txBody>
          </p:sp>
          <p:sp>
            <p:nvSpPr>
              <p:cNvPr id="1608" name="Vrije vorm: vorm 1607">
                <a:extLst>
                  <a:ext uri="{FF2B5EF4-FFF2-40B4-BE49-F238E27FC236}">
                    <a16:creationId xmlns:a16="http://schemas.microsoft.com/office/drawing/2014/main" id="{C49E3434-C12B-4C4A-8567-48E3E4E23F5A}"/>
                  </a:ext>
                </a:extLst>
              </p:cNvPr>
              <p:cNvSpPr/>
              <p:nvPr/>
            </p:nvSpPr>
            <p:spPr>
              <a:xfrm>
                <a:off x="4055984" y="3223608"/>
                <a:ext cx="18323" cy="18383"/>
              </a:xfrm>
              <a:custGeom>
                <a:avLst/>
                <a:gdLst>
                  <a:gd name="connsiteX0" fmla="*/ 9969 w 18323"/>
                  <a:gd name="connsiteY0" fmla="*/ 41 h 18383"/>
                  <a:gd name="connsiteX1" fmla="*/ 18282 w 18323"/>
                  <a:gd name="connsiteY1" fmla="*/ 10029 h 18383"/>
                  <a:gd name="connsiteX2" fmla="*/ 8354 w 18323"/>
                  <a:gd name="connsiteY2" fmla="*/ 18342 h 18383"/>
                  <a:gd name="connsiteX3" fmla="*/ 41 w 18323"/>
                  <a:gd name="connsiteY3" fmla="*/ 8354 h 18383"/>
                  <a:gd name="connsiteX4" fmla="*/ 9969 w 18323"/>
                  <a:gd name="connsiteY4" fmla="*/ 41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83">
                    <a:moveTo>
                      <a:pt x="9969" y="41"/>
                    </a:moveTo>
                    <a:cubicBezTo>
                      <a:pt x="14993" y="520"/>
                      <a:pt x="18761" y="5005"/>
                      <a:pt x="18282" y="10029"/>
                    </a:cubicBezTo>
                    <a:cubicBezTo>
                      <a:pt x="17864" y="15113"/>
                      <a:pt x="13378" y="18821"/>
                      <a:pt x="8354" y="18342"/>
                    </a:cubicBezTo>
                    <a:cubicBezTo>
                      <a:pt x="3331" y="17864"/>
                      <a:pt x="-437" y="13378"/>
                      <a:pt x="41" y="8354"/>
                    </a:cubicBezTo>
                    <a:cubicBezTo>
                      <a:pt x="460" y="3330"/>
                      <a:pt x="4945" y="-437"/>
                      <a:pt x="9969" y="41"/>
                    </a:cubicBezTo>
                    <a:close/>
                  </a:path>
                </a:pathLst>
              </a:custGeom>
              <a:grpFill/>
              <a:ln w="5978" cap="flat">
                <a:noFill/>
                <a:prstDash val="solid"/>
                <a:miter/>
              </a:ln>
            </p:spPr>
            <p:txBody>
              <a:bodyPr rtlCol="0" anchor="ctr"/>
              <a:lstStyle/>
              <a:p>
                <a:endParaRPr lang="en-GB"/>
              </a:p>
            </p:txBody>
          </p:sp>
          <p:sp>
            <p:nvSpPr>
              <p:cNvPr id="1609" name="Vrije vorm: vorm 1608">
                <a:extLst>
                  <a:ext uri="{FF2B5EF4-FFF2-40B4-BE49-F238E27FC236}">
                    <a16:creationId xmlns:a16="http://schemas.microsoft.com/office/drawing/2014/main" id="{7BDB10E1-697B-4730-91EB-787A445AD7B9}"/>
                  </a:ext>
                </a:extLst>
              </p:cNvPr>
              <p:cNvSpPr/>
              <p:nvPr/>
            </p:nvSpPr>
            <p:spPr>
              <a:xfrm>
                <a:off x="3992538" y="3217747"/>
                <a:ext cx="18314" cy="18382"/>
              </a:xfrm>
              <a:custGeom>
                <a:avLst/>
                <a:gdLst>
                  <a:gd name="connsiteX0" fmla="*/ 9960 w 18314"/>
                  <a:gd name="connsiteY0" fmla="*/ 41 h 18382"/>
                  <a:gd name="connsiteX1" fmla="*/ 32 w 18314"/>
                  <a:gd name="connsiteY1" fmla="*/ 8354 h 18382"/>
                  <a:gd name="connsiteX2" fmla="*/ 8346 w 18314"/>
                  <a:gd name="connsiteY2" fmla="*/ 18342 h 18382"/>
                  <a:gd name="connsiteX3" fmla="*/ 18273 w 18314"/>
                  <a:gd name="connsiteY3" fmla="*/ 10029 h 18382"/>
                  <a:gd name="connsiteX4" fmla="*/ 9960 w 18314"/>
                  <a:gd name="connsiteY4" fmla="*/ 41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82">
                    <a:moveTo>
                      <a:pt x="9960" y="41"/>
                    </a:moveTo>
                    <a:cubicBezTo>
                      <a:pt x="4936" y="-438"/>
                      <a:pt x="451" y="3330"/>
                      <a:pt x="32" y="8354"/>
                    </a:cubicBezTo>
                    <a:cubicBezTo>
                      <a:pt x="-386" y="13438"/>
                      <a:pt x="3322" y="17923"/>
                      <a:pt x="8346" y="18342"/>
                    </a:cubicBezTo>
                    <a:cubicBezTo>
                      <a:pt x="13369" y="18820"/>
                      <a:pt x="17855" y="15053"/>
                      <a:pt x="18273" y="10029"/>
                    </a:cubicBezTo>
                    <a:cubicBezTo>
                      <a:pt x="18752" y="5005"/>
                      <a:pt x="15044" y="519"/>
                      <a:pt x="9960" y="41"/>
                    </a:cubicBezTo>
                    <a:close/>
                  </a:path>
                </a:pathLst>
              </a:custGeom>
              <a:grpFill/>
              <a:ln w="5978" cap="flat">
                <a:noFill/>
                <a:prstDash val="solid"/>
                <a:miter/>
              </a:ln>
            </p:spPr>
            <p:txBody>
              <a:bodyPr rtlCol="0" anchor="ctr"/>
              <a:lstStyle/>
              <a:p>
                <a:endParaRPr lang="en-GB"/>
              </a:p>
            </p:txBody>
          </p:sp>
        </p:grpSp>
        <p:grpSp>
          <p:nvGrpSpPr>
            <p:cNvPr id="1267" name="Graphic 3">
              <a:extLst>
                <a:ext uri="{FF2B5EF4-FFF2-40B4-BE49-F238E27FC236}">
                  <a16:creationId xmlns:a16="http://schemas.microsoft.com/office/drawing/2014/main" id="{EB427DFA-20E9-43E2-B254-282C7E74EBA9}"/>
                </a:ext>
              </a:extLst>
            </p:cNvPr>
            <p:cNvGrpSpPr/>
            <p:nvPr/>
          </p:nvGrpSpPr>
          <p:grpSpPr>
            <a:xfrm>
              <a:off x="4238978" y="4038377"/>
              <a:ext cx="138956" cy="63530"/>
              <a:chOff x="4238978" y="4038377"/>
              <a:chExt cx="138956" cy="63530"/>
            </a:xfrm>
            <a:grpFill/>
          </p:grpSpPr>
          <p:sp>
            <p:nvSpPr>
              <p:cNvPr id="1604" name="Vrije vorm: vorm 1603">
                <a:extLst>
                  <a:ext uri="{FF2B5EF4-FFF2-40B4-BE49-F238E27FC236}">
                    <a16:creationId xmlns:a16="http://schemas.microsoft.com/office/drawing/2014/main" id="{90DF5013-A811-46C0-8C43-28BE97EF93B5}"/>
                  </a:ext>
                </a:extLst>
              </p:cNvPr>
              <p:cNvSpPr/>
              <p:nvPr/>
            </p:nvSpPr>
            <p:spPr>
              <a:xfrm>
                <a:off x="4247469" y="4045983"/>
                <a:ext cx="122578" cy="48298"/>
              </a:xfrm>
              <a:custGeom>
                <a:avLst/>
                <a:gdLst>
                  <a:gd name="connsiteX0" fmla="*/ 0 w 122578"/>
                  <a:gd name="connsiteY0" fmla="*/ 45442 h 48298"/>
                  <a:gd name="connsiteX1" fmla="*/ 121511 w 122578"/>
                  <a:gd name="connsiteY1" fmla="*/ 0 h 48298"/>
                  <a:gd name="connsiteX2" fmla="*/ 122579 w 122578"/>
                  <a:gd name="connsiteY2" fmla="*/ 2857 h 48298"/>
                  <a:gd name="connsiteX3" fmla="*/ 1069 w 122578"/>
                  <a:gd name="connsiteY3" fmla="*/ 48299 h 48298"/>
                </a:gdLst>
                <a:ahLst/>
                <a:cxnLst>
                  <a:cxn ang="0">
                    <a:pos x="connsiteX0" y="connsiteY0"/>
                  </a:cxn>
                  <a:cxn ang="0">
                    <a:pos x="connsiteX1" y="connsiteY1"/>
                  </a:cxn>
                  <a:cxn ang="0">
                    <a:pos x="connsiteX2" y="connsiteY2"/>
                  </a:cxn>
                  <a:cxn ang="0">
                    <a:pos x="connsiteX3" y="connsiteY3"/>
                  </a:cxn>
                </a:cxnLst>
                <a:rect l="l" t="t" r="r" b="b"/>
                <a:pathLst>
                  <a:path w="122578" h="48298">
                    <a:moveTo>
                      <a:pt x="0" y="45442"/>
                    </a:moveTo>
                    <a:lnTo>
                      <a:pt x="121511" y="0"/>
                    </a:lnTo>
                    <a:lnTo>
                      <a:pt x="122579" y="2857"/>
                    </a:lnTo>
                    <a:lnTo>
                      <a:pt x="1069" y="48299"/>
                    </a:lnTo>
                    <a:close/>
                  </a:path>
                </a:pathLst>
              </a:custGeom>
              <a:grpFill/>
              <a:ln w="5978" cap="flat">
                <a:noFill/>
                <a:prstDash val="solid"/>
                <a:miter/>
              </a:ln>
            </p:spPr>
            <p:txBody>
              <a:bodyPr rtlCol="0" anchor="ctr"/>
              <a:lstStyle/>
              <a:p>
                <a:endParaRPr lang="en-GB"/>
              </a:p>
            </p:txBody>
          </p:sp>
          <p:sp>
            <p:nvSpPr>
              <p:cNvPr id="1605" name="Vrije vorm: vorm 1604">
                <a:extLst>
                  <a:ext uri="{FF2B5EF4-FFF2-40B4-BE49-F238E27FC236}">
                    <a16:creationId xmlns:a16="http://schemas.microsoft.com/office/drawing/2014/main" id="{CD5923D0-7DBB-4AB7-8195-4A1E7A3E0BAA}"/>
                  </a:ext>
                </a:extLst>
              </p:cNvPr>
              <p:cNvSpPr/>
              <p:nvPr/>
            </p:nvSpPr>
            <p:spPr>
              <a:xfrm>
                <a:off x="4238978" y="4083447"/>
                <a:ext cx="18325" cy="18460"/>
              </a:xfrm>
              <a:custGeom>
                <a:avLst/>
                <a:gdLst>
                  <a:gd name="connsiteX0" fmla="*/ 12378 w 18325"/>
                  <a:gd name="connsiteY0" fmla="*/ 17872 h 18460"/>
                  <a:gd name="connsiteX1" fmla="*/ 596 w 18325"/>
                  <a:gd name="connsiteY1" fmla="*/ 12430 h 18460"/>
                  <a:gd name="connsiteX2" fmla="*/ 5978 w 18325"/>
                  <a:gd name="connsiteY2" fmla="*/ 588 h 18460"/>
                  <a:gd name="connsiteX3" fmla="*/ 17760 w 18325"/>
                  <a:gd name="connsiteY3" fmla="*/ 6031 h 18460"/>
                  <a:gd name="connsiteX4" fmla="*/ 12378 w 18325"/>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0">
                    <a:moveTo>
                      <a:pt x="12378" y="17872"/>
                    </a:moveTo>
                    <a:cubicBezTo>
                      <a:pt x="7653" y="19667"/>
                      <a:pt x="2330" y="17215"/>
                      <a:pt x="596" y="12430"/>
                    </a:cubicBezTo>
                    <a:cubicBezTo>
                      <a:pt x="-1198" y="7646"/>
                      <a:pt x="1194" y="2383"/>
                      <a:pt x="5978" y="588"/>
                    </a:cubicBezTo>
                    <a:cubicBezTo>
                      <a:pt x="10703" y="-1206"/>
                      <a:pt x="16026" y="1246"/>
                      <a:pt x="17760" y="6031"/>
                    </a:cubicBezTo>
                    <a:cubicBezTo>
                      <a:pt x="19495" y="10815"/>
                      <a:pt x="17103" y="16078"/>
                      <a:pt x="12378" y="17872"/>
                    </a:cubicBezTo>
                    <a:close/>
                  </a:path>
                </a:pathLst>
              </a:custGeom>
              <a:grpFill/>
              <a:ln w="5978" cap="flat">
                <a:noFill/>
                <a:prstDash val="solid"/>
                <a:miter/>
              </a:ln>
            </p:spPr>
            <p:txBody>
              <a:bodyPr rtlCol="0" anchor="ctr"/>
              <a:lstStyle/>
              <a:p>
                <a:endParaRPr lang="en-GB"/>
              </a:p>
            </p:txBody>
          </p:sp>
          <p:sp>
            <p:nvSpPr>
              <p:cNvPr id="1606" name="Vrije vorm: vorm 1605">
                <a:extLst>
                  <a:ext uri="{FF2B5EF4-FFF2-40B4-BE49-F238E27FC236}">
                    <a16:creationId xmlns:a16="http://schemas.microsoft.com/office/drawing/2014/main" id="{D42C539E-6C2E-4578-97C5-FD3EB609F07D}"/>
                  </a:ext>
                </a:extLst>
              </p:cNvPr>
              <p:cNvSpPr/>
              <p:nvPr/>
            </p:nvSpPr>
            <p:spPr>
              <a:xfrm>
                <a:off x="4359640" y="4038377"/>
                <a:ext cx="18293" cy="18412"/>
              </a:xfrm>
              <a:custGeom>
                <a:avLst/>
                <a:gdLst>
                  <a:gd name="connsiteX0" fmla="*/ 12347 w 18293"/>
                  <a:gd name="connsiteY0" fmla="*/ 17848 h 18412"/>
                  <a:gd name="connsiteX1" fmla="*/ 17729 w 18293"/>
                  <a:gd name="connsiteY1" fmla="*/ 6007 h 18412"/>
                  <a:gd name="connsiteX2" fmla="*/ 5947 w 18293"/>
                  <a:gd name="connsiteY2" fmla="*/ 564 h 18412"/>
                  <a:gd name="connsiteX3" fmla="*/ 565 w 18293"/>
                  <a:gd name="connsiteY3" fmla="*/ 12406 h 18412"/>
                  <a:gd name="connsiteX4" fmla="*/ 12347 w 18293"/>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12">
                    <a:moveTo>
                      <a:pt x="12347" y="17848"/>
                    </a:moveTo>
                    <a:cubicBezTo>
                      <a:pt x="17071" y="16054"/>
                      <a:pt x="19464" y="10791"/>
                      <a:pt x="17729" y="6007"/>
                    </a:cubicBezTo>
                    <a:cubicBezTo>
                      <a:pt x="15935" y="1222"/>
                      <a:pt x="10672" y="-1170"/>
                      <a:pt x="5947" y="564"/>
                    </a:cubicBezTo>
                    <a:cubicBezTo>
                      <a:pt x="1223" y="2358"/>
                      <a:pt x="-1170" y="7621"/>
                      <a:pt x="565" y="12406"/>
                    </a:cubicBezTo>
                    <a:cubicBezTo>
                      <a:pt x="2359" y="17191"/>
                      <a:pt x="7622" y="19583"/>
                      <a:pt x="12347" y="17848"/>
                    </a:cubicBezTo>
                    <a:close/>
                  </a:path>
                </a:pathLst>
              </a:custGeom>
              <a:grpFill/>
              <a:ln w="5978" cap="flat">
                <a:noFill/>
                <a:prstDash val="solid"/>
                <a:miter/>
              </a:ln>
            </p:spPr>
            <p:txBody>
              <a:bodyPr rtlCol="0" anchor="ctr"/>
              <a:lstStyle/>
              <a:p>
                <a:endParaRPr lang="en-GB"/>
              </a:p>
            </p:txBody>
          </p:sp>
        </p:grpSp>
        <p:grpSp>
          <p:nvGrpSpPr>
            <p:cNvPr id="1268" name="Graphic 3">
              <a:extLst>
                <a:ext uri="{FF2B5EF4-FFF2-40B4-BE49-F238E27FC236}">
                  <a16:creationId xmlns:a16="http://schemas.microsoft.com/office/drawing/2014/main" id="{97D4100F-3002-445E-8539-2989062FB7FC}"/>
                </a:ext>
              </a:extLst>
            </p:cNvPr>
            <p:cNvGrpSpPr/>
            <p:nvPr/>
          </p:nvGrpSpPr>
          <p:grpSpPr>
            <a:xfrm>
              <a:off x="4092380" y="3883852"/>
              <a:ext cx="329734" cy="71307"/>
              <a:chOff x="4092380" y="3883852"/>
              <a:chExt cx="329734" cy="71307"/>
            </a:xfrm>
            <a:grpFill/>
          </p:grpSpPr>
          <p:sp>
            <p:nvSpPr>
              <p:cNvPr id="1601" name="Vrije vorm: vorm 1600">
                <a:extLst>
                  <a:ext uri="{FF2B5EF4-FFF2-40B4-BE49-F238E27FC236}">
                    <a16:creationId xmlns:a16="http://schemas.microsoft.com/office/drawing/2014/main" id="{29CE97BB-ECA7-4CDD-816F-FB0CA1E35DE3}"/>
                  </a:ext>
                </a:extLst>
              </p:cNvPr>
              <p:cNvSpPr/>
              <p:nvPr/>
            </p:nvSpPr>
            <p:spPr>
              <a:xfrm>
                <a:off x="4100821" y="3891456"/>
                <a:ext cx="312851" cy="56099"/>
              </a:xfrm>
              <a:custGeom>
                <a:avLst/>
                <a:gdLst>
                  <a:gd name="connsiteX0" fmla="*/ 312314 w 312851"/>
                  <a:gd name="connsiteY0" fmla="*/ 0 h 56099"/>
                  <a:gd name="connsiteX1" fmla="*/ 312852 w 312851"/>
                  <a:gd name="connsiteY1" fmla="*/ 2990 h 56099"/>
                  <a:gd name="connsiteX2" fmla="*/ 538 w 312851"/>
                  <a:gd name="connsiteY2" fmla="*/ 56099 h 56099"/>
                  <a:gd name="connsiteX3" fmla="*/ 0 w 312851"/>
                  <a:gd name="connsiteY3" fmla="*/ 53049 h 56099"/>
                </a:gdLst>
                <a:ahLst/>
                <a:cxnLst>
                  <a:cxn ang="0">
                    <a:pos x="connsiteX0" y="connsiteY0"/>
                  </a:cxn>
                  <a:cxn ang="0">
                    <a:pos x="connsiteX1" y="connsiteY1"/>
                  </a:cxn>
                  <a:cxn ang="0">
                    <a:pos x="connsiteX2" y="connsiteY2"/>
                  </a:cxn>
                  <a:cxn ang="0">
                    <a:pos x="connsiteX3" y="connsiteY3"/>
                  </a:cxn>
                </a:cxnLst>
                <a:rect l="l" t="t" r="r" b="b"/>
                <a:pathLst>
                  <a:path w="312851" h="56099">
                    <a:moveTo>
                      <a:pt x="312314" y="0"/>
                    </a:moveTo>
                    <a:lnTo>
                      <a:pt x="312852" y="2990"/>
                    </a:lnTo>
                    <a:lnTo>
                      <a:pt x="538" y="56099"/>
                    </a:lnTo>
                    <a:lnTo>
                      <a:pt x="0" y="53049"/>
                    </a:lnTo>
                    <a:close/>
                  </a:path>
                </a:pathLst>
              </a:custGeom>
              <a:grpFill/>
              <a:ln w="5978" cap="flat">
                <a:noFill/>
                <a:prstDash val="solid"/>
                <a:miter/>
              </a:ln>
            </p:spPr>
            <p:txBody>
              <a:bodyPr rtlCol="0" anchor="ctr"/>
              <a:lstStyle/>
              <a:p>
                <a:endParaRPr lang="en-GB"/>
              </a:p>
            </p:txBody>
          </p:sp>
          <p:sp>
            <p:nvSpPr>
              <p:cNvPr id="1602" name="Vrije vorm: vorm 1601">
                <a:extLst>
                  <a:ext uri="{FF2B5EF4-FFF2-40B4-BE49-F238E27FC236}">
                    <a16:creationId xmlns:a16="http://schemas.microsoft.com/office/drawing/2014/main" id="{4162D0CE-39C5-4DDB-B616-0A2878DD129C}"/>
                  </a:ext>
                </a:extLst>
              </p:cNvPr>
              <p:cNvSpPr/>
              <p:nvPr/>
            </p:nvSpPr>
            <p:spPr>
              <a:xfrm>
                <a:off x="4403779" y="3883852"/>
                <a:ext cx="18335" cy="18437"/>
              </a:xfrm>
              <a:custGeom>
                <a:avLst/>
                <a:gdLst>
                  <a:gd name="connsiteX0" fmla="*/ 7621 w 18335"/>
                  <a:gd name="connsiteY0" fmla="*/ 128 h 18437"/>
                  <a:gd name="connsiteX1" fmla="*/ 18207 w 18335"/>
                  <a:gd name="connsiteY1" fmla="*/ 7664 h 18437"/>
                  <a:gd name="connsiteX2" fmla="*/ 10731 w 18335"/>
                  <a:gd name="connsiteY2" fmla="*/ 18310 h 18437"/>
                  <a:gd name="connsiteX3" fmla="*/ 145 w 18335"/>
                  <a:gd name="connsiteY3" fmla="*/ 10774 h 18437"/>
                  <a:gd name="connsiteX4" fmla="*/ 7621 w 18335"/>
                  <a:gd name="connsiteY4" fmla="*/ 128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7">
                    <a:moveTo>
                      <a:pt x="7621" y="128"/>
                    </a:moveTo>
                    <a:cubicBezTo>
                      <a:pt x="12585" y="-709"/>
                      <a:pt x="17370" y="2640"/>
                      <a:pt x="18207" y="7664"/>
                    </a:cubicBezTo>
                    <a:cubicBezTo>
                      <a:pt x="19044" y="12688"/>
                      <a:pt x="15695" y="17412"/>
                      <a:pt x="10731" y="18310"/>
                    </a:cubicBezTo>
                    <a:cubicBezTo>
                      <a:pt x="5767" y="19147"/>
                      <a:pt x="982" y="15798"/>
                      <a:pt x="145" y="10774"/>
                    </a:cubicBezTo>
                    <a:cubicBezTo>
                      <a:pt x="-752" y="5690"/>
                      <a:pt x="2597" y="965"/>
                      <a:pt x="7621" y="128"/>
                    </a:cubicBezTo>
                    <a:close/>
                  </a:path>
                </a:pathLst>
              </a:custGeom>
              <a:grpFill/>
              <a:ln w="5978" cap="flat">
                <a:noFill/>
                <a:prstDash val="solid"/>
                <a:miter/>
              </a:ln>
            </p:spPr>
            <p:txBody>
              <a:bodyPr rtlCol="0" anchor="ctr"/>
              <a:lstStyle/>
              <a:p>
                <a:endParaRPr lang="en-GB"/>
              </a:p>
            </p:txBody>
          </p:sp>
          <p:sp>
            <p:nvSpPr>
              <p:cNvPr id="1603" name="Vrije vorm: vorm 1602">
                <a:extLst>
                  <a:ext uri="{FF2B5EF4-FFF2-40B4-BE49-F238E27FC236}">
                    <a16:creationId xmlns:a16="http://schemas.microsoft.com/office/drawing/2014/main" id="{88355621-6DA1-4456-98C3-9F5C4FF04470}"/>
                  </a:ext>
                </a:extLst>
              </p:cNvPr>
              <p:cNvSpPr/>
              <p:nvPr/>
            </p:nvSpPr>
            <p:spPr>
              <a:xfrm>
                <a:off x="4092380" y="3936723"/>
                <a:ext cx="18318" cy="18436"/>
              </a:xfrm>
              <a:custGeom>
                <a:avLst/>
                <a:gdLst>
                  <a:gd name="connsiteX0" fmla="*/ 7604 w 18318"/>
                  <a:gd name="connsiteY0" fmla="*/ 127 h 18436"/>
                  <a:gd name="connsiteX1" fmla="*/ 128 w 18318"/>
                  <a:gd name="connsiteY1" fmla="*/ 10772 h 18436"/>
                  <a:gd name="connsiteX2" fmla="*/ 10714 w 18318"/>
                  <a:gd name="connsiteY2" fmla="*/ 18308 h 18436"/>
                  <a:gd name="connsiteX3" fmla="*/ 18190 w 18318"/>
                  <a:gd name="connsiteY3" fmla="*/ 7662 h 18436"/>
                  <a:gd name="connsiteX4" fmla="*/ 7604 w 18318"/>
                  <a:gd name="connsiteY4" fmla="*/ 127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6">
                    <a:moveTo>
                      <a:pt x="7604" y="127"/>
                    </a:moveTo>
                    <a:cubicBezTo>
                      <a:pt x="2640" y="964"/>
                      <a:pt x="-709" y="5748"/>
                      <a:pt x="128" y="10772"/>
                    </a:cubicBezTo>
                    <a:cubicBezTo>
                      <a:pt x="965" y="15796"/>
                      <a:pt x="5750" y="19145"/>
                      <a:pt x="10714" y="18308"/>
                    </a:cubicBezTo>
                    <a:cubicBezTo>
                      <a:pt x="15678" y="17471"/>
                      <a:pt x="19027" y="12686"/>
                      <a:pt x="18190" y="7662"/>
                    </a:cubicBezTo>
                    <a:cubicBezTo>
                      <a:pt x="17353" y="2698"/>
                      <a:pt x="12628" y="-711"/>
                      <a:pt x="7604" y="127"/>
                    </a:cubicBezTo>
                    <a:close/>
                  </a:path>
                </a:pathLst>
              </a:custGeom>
              <a:grpFill/>
              <a:ln w="5978" cap="flat">
                <a:noFill/>
                <a:prstDash val="solid"/>
                <a:miter/>
              </a:ln>
            </p:spPr>
            <p:txBody>
              <a:bodyPr rtlCol="0" anchor="ctr"/>
              <a:lstStyle/>
              <a:p>
                <a:endParaRPr lang="en-GB"/>
              </a:p>
            </p:txBody>
          </p:sp>
        </p:grpSp>
        <p:grpSp>
          <p:nvGrpSpPr>
            <p:cNvPr id="1269" name="Graphic 3">
              <a:extLst>
                <a:ext uri="{FF2B5EF4-FFF2-40B4-BE49-F238E27FC236}">
                  <a16:creationId xmlns:a16="http://schemas.microsoft.com/office/drawing/2014/main" id="{C562CE92-9C0A-4651-BB7C-D403B0434BC5}"/>
                </a:ext>
              </a:extLst>
            </p:cNvPr>
            <p:cNvGrpSpPr/>
            <p:nvPr/>
          </p:nvGrpSpPr>
          <p:grpSpPr>
            <a:xfrm>
              <a:off x="4247721" y="4439442"/>
              <a:ext cx="480508" cy="324031"/>
              <a:chOff x="4247721" y="4439442"/>
              <a:chExt cx="480508" cy="324031"/>
            </a:xfrm>
            <a:grpFill/>
          </p:grpSpPr>
          <p:sp>
            <p:nvSpPr>
              <p:cNvPr id="1598" name="Vrije vorm: vorm 1597">
                <a:extLst>
                  <a:ext uri="{FF2B5EF4-FFF2-40B4-BE49-F238E27FC236}">
                    <a16:creationId xmlns:a16="http://schemas.microsoft.com/office/drawing/2014/main" id="{D030CE30-1429-49FB-9B73-5C7A3FEDD6D5}"/>
                  </a:ext>
                </a:extLst>
              </p:cNvPr>
              <p:cNvSpPr/>
              <p:nvPr/>
            </p:nvSpPr>
            <p:spPr>
              <a:xfrm>
                <a:off x="4255662" y="4447125"/>
                <a:ext cx="464642" cy="308664"/>
              </a:xfrm>
              <a:custGeom>
                <a:avLst/>
                <a:gdLst>
                  <a:gd name="connsiteX0" fmla="*/ 464642 w 464642"/>
                  <a:gd name="connsiteY0" fmla="*/ 2572 h 308664"/>
                  <a:gd name="connsiteX1" fmla="*/ 1675 w 464642"/>
                  <a:gd name="connsiteY1" fmla="*/ 308665 h 308664"/>
                  <a:gd name="connsiteX2" fmla="*/ 0 w 464642"/>
                  <a:gd name="connsiteY2" fmla="*/ 306093 h 308664"/>
                  <a:gd name="connsiteX3" fmla="*/ 462968 w 464642"/>
                  <a:gd name="connsiteY3" fmla="*/ 0 h 308664"/>
                </a:gdLst>
                <a:ahLst/>
                <a:cxnLst>
                  <a:cxn ang="0">
                    <a:pos x="connsiteX0" y="connsiteY0"/>
                  </a:cxn>
                  <a:cxn ang="0">
                    <a:pos x="connsiteX1" y="connsiteY1"/>
                  </a:cxn>
                  <a:cxn ang="0">
                    <a:pos x="connsiteX2" y="connsiteY2"/>
                  </a:cxn>
                  <a:cxn ang="0">
                    <a:pos x="connsiteX3" y="connsiteY3"/>
                  </a:cxn>
                </a:cxnLst>
                <a:rect l="l" t="t" r="r" b="b"/>
                <a:pathLst>
                  <a:path w="464642" h="308664">
                    <a:moveTo>
                      <a:pt x="464642" y="2572"/>
                    </a:moveTo>
                    <a:lnTo>
                      <a:pt x="1675" y="308665"/>
                    </a:lnTo>
                    <a:lnTo>
                      <a:pt x="0" y="306093"/>
                    </a:lnTo>
                    <a:lnTo>
                      <a:pt x="462968" y="0"/>
                    </a:lnTo>
                    <a:close/>
                  </a:path>
                </a:pathLst>
              </a:custGeom>
              <a:grpFill/>
              <a:ln w="5978" cap="flat">
                <a:noFill/>
                <a:prstDash val="solid"/>
                <a:miter/>
              </a:ln>
            </p:spPr>
            <p:txBody>
              <a:bodyPr rtlCol="0" anchor="ctr"/>
              <a:lstStyle/>
              <a:p>
                <a:endParaRPr lang="en-GB"/>
              </a:p>
            </p:txBody>
          </p:sp>
          <p:sp>
            <p:nvSpPr>
              <p:cNvPr id="1599" name="Vrije vorm: vorm 1598">
                <a:extLst>
                  <a:ext uri="{FF2B5EF4-FFF2-40B4-BE49-F238E27FC236}">
                    <a16:creationId xmlns:a16="http://schemas.microsoft.com/office/drawing/2014/main" id="{59A03612-30C6-467C-81F9-C3C51E438005}"/>
                  </a:ext>
                </a:extLst>
              </p:cNvPr>
              <p:cNvSpPr/>
              <p:nvPr/>
            </p:nvSpPr>
            <p:spPr>
              <a:xfrm>
                <a:off x="4709911" y="4439442"/>
                <a:ext cx="18318" cy="18416"/>
              </a:xfrm>
              <a:custGeom>
                <a:avLst/>
                <a:gdLst>
                  <a:gd name="connsiteX0" fmla="*/ 4113 w 18318"/>
                  <a:gd name="connsiteY0" fmla="*/ 1523 h 18416"/>
                  <a:gd name="connsiteX1" fmla="*/ 16792 w 18318"/>
                  <a:gd name="connsiteY1" fmla="*/ 4155 h 18416"/>
                  <a:gd name="connsiteX2" fmla="*/ 14221 w 18318"/>
                  <a:gd name="connsiteY2" fmla="*/ 16893 h 18416"/>
                  <a:gd name="connsiteX3" fmla="*/ 1542 w 18318"/>
                  <a:gd name="connsiteY3" fmla="*/ 14262 h 18416"/>
                  <a:gd name="connsiteX4" fmla="*/ 4113 w 18318"/>
                  <a:gd name="connsiteY4" fmla="*/ 152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6">
                    <a:moveTo>
                      <a:pt x="4113" y="1523"/>
                    </a:moveTo>
                    <a:cubicBezTo>
                      <a:pt x="8360" y="-1288"/>
                      <a:pt x="14041" y="-92"/>
                      <a:pt x="16792" y="4155"/>
                    </a:cubicBezTo>
                    <a:cubicBezTo>
                      <a:pt x="19603" y="8401"/>
                      <a:pt x="18407" y="14142"/>
                      <a:pt x="14221" y="16893"/>
                    </a:cubicBezTo>
                    <a:cubicBezTo>
                      <a:pt x="9974" y="19704"/>
                      <a:pt x="4293" y="18508"/>
                      <a:pt x="1542" y="14262"/>
                    </a:cubicBezTo>
                    <a:cubicBezTo>
                      <a:pt x="-1270" y="10016"/>
                      <a:pt x="-133" y="4334"/>
                      <a:pt x="4113" y="1523"/>
                    </a:cubicBezTo>
                    <a:close/>
                  </a:path>
                </a:pathLst>
              </a:custGeom>
              <a:grpFill/>
              <a:ln w="5978" cap="flat">
                <a:noFill/>
                <a:prstDash val="solid"/>
                <a:miter/>
              </a:ln>
            </p:spPr>
            <p:txBody>
              <a:bodyPr rtlCol="0" anchor="ctr"/>
              <a:lstStyle/>
              <a:p>
                <a:endParaRPr lang="en-GB"/>
              </a:p>
            </p:txBody>
          </p:sp>
          <p:sp>
            <p:nvSpPr>
              <p:cNvPr id="1600" name="Vrije vorm: vorm 1599">
                <a:extLst>
                  <a:ext uri="{FF2B5EF4-FFF2-40B4-BE49-F238E27FC236}">
                    <a16:creationId xmlns:a16="http://schemas.microsoft.com/office/drawing/2014/main" id="{13CF7CAE-5620-4119-AA4B-B0D2522874E8}"/>
                  </a:ext>
                </a:extLst>
              </p:cNvPr>
              <p:cNvSpPr/>
              <p:nvPr/>
            </p:nvSpPr>
            <p:spPr>
              <a:xfrm>
                <a:off x="4247721" y="4745057"/>
                <a:ext cx="18333" cy="18416"/>
              </a:xfrm>
              <a:custGeom>
                <a:avLst/>
                <a:gdLst>
                  <a:gd name="connsiteX0" fmla="*/ 4113 w 18333"/>
                  <a:gd name="connsiteY0" fmla="*/ 1523 h 18416"/>
                  <a:gd name="connsiteX1" fmla="*/ 1541 w 18333"/>
                  <a:gd name="connsiteY1" fmla="*/ 14262 h 18416"/>
                  <a:gd name="connsiteX2" fmla="*/ 14220 w 18333"/>
                  <a:gd name="connsiteY2" fmla="*/ 16893 h 18416"/>
                  <a:gd name="connsiteX3" fmla="*/ 16792 w 18333"/>
                  <a:gd name="connsiteY3" fmla="*/ 4154 h 18416"/>
                  <a:gd name="connsiteX4" fmla="*/ 4113 w 18333"/>
                  <a:gd name="connsiteY4" fmla="*/ 152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4113" y="1523"/>
                    </a:moveTo>
                    <a:cubicBezTo>
                      <a:pt x="-133" y="4334"/>
                      <a:pt x="-1269" y="10015"/>
                      <a:pt x="1541" y="14262"/>
                    </a:cubicBezTo>
                    <a:cubicBezTo>
                      <a:pt x="4352" y="18508"/>
                      <a:pt x="10034" y="19704"/>
                      <a:pt x="14220" y="16893"/>
                    </a:cubicBezTo>
                    <a:cubicBezTo>
                      <a:pt x="18467" y="14082"/>
                      <a:pt x="19603" y="8401"/>
                      <a:pt x="16792" y="4154"/>
                    </a:cubicBezTo>
                    <a:cubicBezTo>
                      <a:pt x="13981" y="-92"/>
                      <a:pt x="8300" y="-1288"/>
                      <a:pt x="4113" y="1523"/>
                    </a:cubicBezTo>
                    <a:close/>
                  </a:path>
                </a:pathLst>
              </a:custGeom>
              <a:grpFill/>
              <a:ln w="5978" cap="flat">
                <a:noFill/>
                <a:prstDash val="solid"/>
                <a:miter/>
              </a:ln>
            </p:spPr>
            <p:txBody>
              <a:bodyPr rtlCol="0" anchor="ctr"/>
              <a:lstStyle/>
              <a:p>
                <a:endParaRPr lang="en-GB"/>
              </a:p>
            </p:txBody>
          </p:sp>
        </p:grpSp>
        <p:grpSp>
          <p:nvGrpSpPr>
            <p:cNvPr id="1270" name="Graphic 3">
              <a:extLst>
                <a:ext uri="{FF2B5EF4-FFF2-40B4-BE49-F238E27FC236}">
                  <a16:creationId xmlns:a16="http://schemas.microsoft.com/office/drawing/2014/main" id="{24091D4C-5B1F-4424-8F1C-5482B861E38A}"/>
                </a:ext>
              </a:extLst>
            </p:cNvPr>
            <p:cNvGrpSpPr/>
            <p:nvPr/>
          </p:nvGrpSpPr>
          <p:grpSpPr>
            <a:xfrm>
              <a:off x="4523645" y="4781321"/>
              <a:ext cx="71038" cy="67655"/>
              <a:chOff x="4523645" y="4781321"/>
              <a:chExt cx="71038" cy="67655"/>
            </a:xfrm>
            <a:grpFill/>
          </p:grpSpPr>
          <p:sp>
            <p:nvSpPr>
              <p:cNvPr id="1595" name="Vrije vorm: vorm 1594">
                <a:extLst>
                  <a:ext uri="{FF2B5EF4-FFF2-40B4-BE49-F238E27FC236}">
                    <a16:creationId xmlns:a16="http://schemas.microsoft.com/office/drawing/2014/main" id="{E8104690-31BE-4BDC-A5D2-9593E916C8CC}"/>
                  </a:ext>
                </a:extLst>
              </p:cNvPr>
              <p:cNvSpPr/>
              <p:nvPr/>
            </p:nvSpPr>
            <p:spPr>
              <a:xfrm>
                <a:off x="4531493" y="4789103"/>
                <a:ext cx="55381" cy="52092"/>
              </a:xfrm>
              <a:custGeom>
                <a:avLst/>
                <a:gdLst>
                  <a:gd name="connsiteX0" fmla="*/ 55382 w 55381"/>
                  <a:gd name="connsiteY0" fmla="*/ 2213 h 52092"/>
                  <a:gd name="connsiteX1" fmla="*/ 2093 w 55381"/>
                  <a:gd name="connsiteY1" fmla="*/ 52092 h 52092"/>
                  <a:gd name="connsiteX2" fmla="*/ 0 w 55381"/>
                  <a:gd name="connsiteY2" fmla="*/ 49820 h 52092"/>
                  <a:gd name="connsiteX3" fmla="*/ 53348 w 55381"/>
                  <a:gd name="connsiteY3" fmla="*/ 0 h 52092"/>
                </a:gdLst>
                <a:ahLst/>
                <a:cxnLst>
                  <a:cxn ang="0">
                    <a:pos x="connsiteX0" y="connsiteY0"/>
                  </a:cxn>
                  <a:cxn ang="0">
                    <a:pos x="connsiteX1" y="connsiteY1"/>
                  </a:cxn>
                  <a:cxn ang="0">
                    <a:pos x="connsiteX2" y="connsiteY2"/>
                  </a:cxn>
                  <a:cxn ang="0">
                    <a:pos x="connsiteX3" y="connsiteY3"/>
                  </a:cxn>
                </a:cxnLst>
                <a:rect l="l" t="t" r="r" b="b"/>
                <a:pathLst>
                  <a:path w="55381" h="52092">
                    <a:moveTo>
                      <a:pt x="55382" y="2213"/>
                    </a:moveTo>
                    <a:lnTo>
                      <a:pt x="2093" y="52092"/>
                    </a:lnTo>
                    <a:lnTo>
                      <a:pt x="0" y="49820"/>
                    </a:lnTo>
                    <a:lnTo>
                      <a:pt x="53348" y="0"/>
                    </a:lnTo>
                    <a:close/>
                  </a:path>
                </a:pathLst>
              </a:custGeom>
              <a:grpFill/>
              <a:ln w="5978" cap="flat">
                <a:noFill/>
                <a:prstDash val="solid"/>
                <a:miter/>
              </a:ln>
            </p:spPr>
            <p:txBody>
              <a:bodyPr rtlCol="0" anchor="ctr"/>
              <a:lstStyle/>
              <a:p>
                <a:endParaRPr lang="en-GB"/>
              </a:p>
            </p:txBody>
          </p:sp>
          <p:sp>
            <p:nvSpPr>
              <p:cNvPr id="1596" name="Vrije vorm: vorm 1595">
                <a:extLst>
                  <a:ext uri="{FF2B5EF4-FFF2-40B4-BE49-F238E27FC236}">
                    <a16:creationId xmlns:a16="http://schemas.microsoft.com/office/drawing/2014/main" id="{B1BD736B-5E86-4A5E-B2C3-7C39E5712B5E}"/>
                  </a:ext>
                </a:extLst>
              </p:cNvPr>
              <p:cNvSpPr/>
              <p:nvPr/>
            </p:nvSpPr>
            <p:spPr>
              <a:xfrm>
                <a:off x="4523645" y="4830542"/>
                <a:ext cx="18372" cy="18434"/>
              </a:xfrm>
              <a:custGeom>
                <a:avLst/>
                <a:gdLst>
                  <a:gd name="connsiteX0" fmla="*/ 15443 w 18372"/>
                  <a:gd name="connsiteY0" fmla="*/ 15975 h 18434"/>
                  <a:gd name="connsiteX1" fmla="*/ 2465 w 18372"/>
                  <a:gd name="connsiteY1" fmla="*/ 15497 h 18434"/>
                  <a:gd name="connsiteX2" fmla="*/ 2884 w 18372"/>
                  <a:gd name="connsiteY2" fmla="*/ 2459 h 18434"/>
                  <a:gd name="connsiteX3" fmla="*/ 15862 w 18372"/>
                  <a:gd name="connsiteY3" fmla="*/ 2937 h 18434"/>
                  <a:gd name="connsiteX4" fmla="*/ 15443 w 18372"/>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4">
                    <a:moveTo>
                      <a:pt x="15443" y="15975"/>
                    </a:moveTo>
                    <a:cubicBezTo>
                      <a:pt x="11735" y="19444"/>
                      <a:pt x="5934" y="19205"/>
                      <a:pt x="2465" y="15497"/>
                    </a:cubicBezTo>
                    <a:cubicBezTo>
                      <a:pt x="-1004" y="11789"/>
                      <a:pt x="-764" y="5928"/>
                      <a:pt x="2884" y="2459"/>
                    </a:cubicBezTo>
                    <a:cubicBezTo>
                      <a:pt x="6592" y="-1010"/>
                      <a:pt x="12393" y="-771"/>
                      <a:pt x="15862" y="2937"/>
                    </a:cubicBezTo>
                    <a:cubicBezTo>
                      <a:pt x="19391" y="6646"/>
                      <a:pt x="19151" y="12507"/>
                      <a:pt x="15443" y="15975"/>
                    </a:cubicBezTo>
                    <a:close/>
                  </a:path>
                </a:pathLst>
              </a:custGeom>
              <a:grpFill/>
              <a:ln w="5978" cap="flat">
                <a:noFill/>
                <a:prstDash val="solid"/>
                <a:miter/>
              </a:ln>
            </p:spPr>
            <p:txBody>
              <a:bodyPr rtlCol="0" anchor="ctr"/>
              <a:lstStyle/>
              <a:p>
                <a:endParaRPr lang="en-GB"/>
              </a:p>
            </p:txBody>
          </p:sp>
          <p:sp>
            <p:nvSpPr>
              <p:cNvPr id="1597" name="Vrije vorm: vorm 1596">
                <a:extLst>
                  <a:ext uri="{FF2B5EF4-FFF2-40B4-BE49-F238E27FC236}">
                    <a16:creationId xmlns:a16="http://schemas.microsoft.com/office/drawing/2014/main" id="{4B03742C-CB48-43DE-B444-7EC0EDAAC2AB}"/>
                  </a:ext>
                </a:extLst>
              </p:cNvPr>
              <p:cNvSpPr/>
              <p:nvPr/>
            </p:nvSpPr>
            <p:spPr>
              <a:xfrm>
                <a:off x="4576314" y="4781321"/>
                <a:ext cx="18370" cy="18410"/>
              </a:xfrm>
              <a:custGeom>
                <a:avLst/>
                <a:gdLst>
                  <a:gd name="connsiteX0" fmla="*/ 15465 w 18370"/>
                  <a:gd name="connsiteY0" fmla="*/ 15975 h 18410"/>
                  <a:gd name="connsiteX1" fmla="*/ 15883 w 18370"/>
                  <a:gd name="connsiteY1" fmla="*/ 2937 h 18410"/>
                  <a:gd name="connsiteX2" fmla="*/ 2905 w 18370"/>
                  <a:gd name="connsiteY2" fmla="*/ 2459 h 18410"/>
                  <a:gd name="connsiteX3" fmla="*/ 2487 w 18370"/>
                  <a:gd name="connsiteY3" fmla="*/ 15497 h 18410"/>
                  <a:gd name="connsiteX4" fmla="*/ 15465 w 18370"/>
                  <a:gd name="connsiteY4" fmla="*/ 15975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0">
                    <a:moveTo>
                      <a:pt x="15465" y="15975"/>
                    </a:moveTo>
                    <a:cubicBezTo>
                      <a:pt x="19173" y="12507"/>
                      <a:pt x="19352" y="6705"/>
                      <a:pt x="15883" y="2937"/>
                    </a:cubicBezTo>
                    <a:cubicBezTo>
                      <a:pt x="12415" y="-771"/>
                      <a:pt x="6613" y="-1010"/>
                      <a:pt x="2905" y="2459"/>
                    </a:cubicBezTo>
                    <a:cubicBezTo>
                      <a:pt x="-803" y="5928"/>
                      <a:pt x="-982" y="11729"/>
                      <a:pt x="2487" y="15497"/>
                    </a:cubicBezTo>
                    <a:cubicBezTo>
                      <a:pt x="5955" y="19205"/>
                      <a:pt x="11757" y="19384"/>
                      <a:pt x="15465" y="15975"/>
                    </a:cubicBezTo>
                    <a:close/>
                  </a:path>
                </a:pathLst>
              </a:custGeom>
              <a:grpFill/>
              <a:ln w="5978" cap="flat">
                <a:noFill/>
                <a:prstDash val="solid"/>
                <a:miter/>
              </a:ln>
            </p:spPr>
            <p:txBody>
              <a:bodyPr rtlCol="0" anchor="ctr"/>
              <a:lstStyle/>
              <a:p>
                <a:endParaRPr lang="en-GB"/>
              </a:p>
            </p:txBody>
          </p:sp>
        </p:grpSp>
        <p:grpSp>
          <p:nvGrpSpPr>
            <p:cNvPr id="1271" name="Graphic 3">
              <a:extLst>
                <a:ext uri="{FF2B5EF4-FFF2-40B4-BE49-F238E27FC236}">
                  <a16:creationId xmlns:a16="http://schemas.microsoft.com/office/drawing/2014/main" id="{F0DB174A-2012-4D22-937C-602B2CFCC864}"/>
                </a:ext>
              </a:extLst>
            </p:cNvPr>
            <p:cNvGrpSpPr/>
            <p:nvPr/>
          </p:nvGrpSpPr>
          <p:grpSpPr>
            <a:xfrm>
              <a:off x="4531843" y="4811648"/>
              <a:ext cx="85623" cy="83733"/>
              <a:chOff x="4531843" y="4811648"/>
              <a:chExt cx="85623" cy="83733"/>
            </a:xfrm>
            <a:grpFill/>
          </p:grpSpPr>
          <p:sp>
            <p:nvSpPr>
              <p:cNvPr id="1592" name="Vrije vorm: vorm 1591">
                <a:extLst>
                  <a:ext uri="{FF2B5EF4-FFF2-40B4-BE49-F238E27FC236}">
                    <a16:creationId xmlns:a16="http://schemas.microsoft.com/office/drawing/2014/main" id="{237F41E2-16E6-4051-9D87-ABEB663A10DF}"/>
                  </a:ext>
                </a:extLst>
              </p:cNvPr>
              <p:cNvSpPr/>
              <p:nvPr/>
            </p:nvSpPr>
            <p:spPr>
              <a:xfrm>
                <a:off x="4539627" y="4819425"/>
                <a:ext cx="70093" cy="68180"/>
              </a:xfrm>
              <a:custGeom>
                <a:avLst/>
                <a:gdLst>
                  <a:gd name="connsiteX0" fmla="*/ 70094 w 70093"/>
                  <a:gd name="connsiteY0" fmla="*/ 2213 h 68180"/>
                  <a:gd name="connsiteX1" fmla="*/ 2093 w 70093"/>
                  <a:gd name="connsiteY1" fmla="*/ 68180 h 68180"/>
                  <a:gd name="connsiteX2" fmla="*/ 0 w 70093"/>
                  <a:gd name="connsiteY2" fmla="*/ 65968 h 68180"/>
                  <a:gd name="connsiteX3" fmla="*/ 67941 w 70093"/>
                  <a:gd name="connsiteY3" fmla="*/ 0 h 68180"/>
                </a:gdLst>
                <a:ahLst/>
                <a:cxnLst>
                  <a:cxn ang="0">
                    <a:pos x="connsiteX0" y="connsiteY0"/>
                  </a:cxn>
                  <a:cxn ang="0">
                    <a:pos x="connsiteX1" y="connsiteY1"/>
                  </a:cxn>
                  <a:cxn ang="0">
                    <a:pos x="connsiteX2" y="connsiteY2"/>
                  </a:cxn>
                  <a:cxn ang="0">
                    <a:pos x="connsiteX3" y="connsiteY3"/>
                  </a:cxn>
                </a:cxnLst>
                <a:rect l="l" t="t" r="r" b="b"/>
                <a:pathLst>
                  <a:path w="70093" h="68180">
                    <a:moveTo>
                      <a:pt x="70094" y="2213"/>
                    </a:moveTo>
                    <a:lnTo>
                      <a:pt x="2093" y="68180"/>
                    </a:lnTo>
                    <a:lnTo>
                      <a:pt x="0" y="65968"/>
                    </a:lnTo>
                    <a:lnTo>
                      <a:pt x="67941" y="0"/>
                    </a:lnTo>
                    <a:close/>
                  </a:path>
                </a:pathLst>
              </a:custGeom>
              <a:grpFill/>
              <a:ln w="5978" cap="flat">
                <a:noFill/>
                <a:prstDash val="solid"/>
                <a:miter/>
              </a:ln>
            </p:spPr>
            <p:txBody>
              <a:bodyPr rtlCol="0" anchor="ctr"/>
              <a:lstStyle/>
              <a:p>
                <a:endParaRPr lang="en-GB"/>
              </a:p>
            </p:txBody>
          </p:sp>
          <p:sp>
            <p:nvSpPr>
              <p:cNvPr id="1593" name="Vrije vorm: vorm 1592">
                <a:extLst>
                  <a:ext uri="{FF2B5EF4-FFF2-40B4-BE49-F238E27FC236}">
                    <a16:creationId xmlns:a16="http://schemas.microsoft.com/office/drawing/2014/main" id="{A6E14C4F-F6E7-4557-A678-73CB2F73C13C}"/>
                  </a:ext>
                </a:extLst>
              </p:cNvPr>
              <p:cNvSpPr/>
              <p:nvPr/>
            </p:nvSpPr>
            <p:spPr>
              <a:xfrm>
                <a:off x="4531843" y="4876958"/>
                <a:ext cx="18340" cy="18423"/>
              </a:xfrm>
              <a:custGeom>
                <a:avLst/>
                <a:gdLst>
                  <a:gd name="connsiteX0" fmla="*/ 15559 w 18340"/>
                  <a:gd name="connsiteY0" fmla="*/ 15851 h 18423"/>
                  <a:gd name="connsiteX1" fmla="*/ 2580 w 18340"/>
                  <a:gd name="connsiteY1" fmla="*/ 15611 h 18423"/>
                  <a:gd name="connsiteX2" fmla="*/ 2760 w 18340"/>
                  <a:gd name="connsiteY2" fmla="*/ 2573 h 18423"/>
                  <a:gd name="connsiteX3" fmla="*/ 15738 w 18340"/>
                  <a:gd name="connsiteY3" fmla="*/ 2813 h 18423"/>
                  <a:gd name="connsiteX4" fmla="*/ 15559 w 18340"/>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3">
                    <a:moveTo>
                      <a:pt x="15559" y="15851"/>
                    </a:moveTo>
                    <a:cubicBezTo>
                      <a:pt x="11910" y="19379"/>
                      <a:pt x="6109" y="19260"/>
                      <a:pt x="2580" y="15611"/>
                    </a:cubicBezTo>
                    <a:cubicBezTo>
                      <a:pt x="-948" y="11963"/>
                      <a:pt x="-829" y="6102"/>
                      <a:pt x="2760" y="2573"/>
                    </a:cubicBezTo>
                    <a:cubicBezTo>
                      <a:pt x="6408" y="-955"/>
                      <a:pt x="12209" y="-836"/>
                      <a:pt x="15738" y="2813"/>
                    </a:cubicBezTo>
                    <a:cubicBezTo>
                      <a:pt x="19267" y="6521"/>
                      <a:pt x="19207" y="12322"/>
                      <a:pt x="15559" y="15851"/>
                    </a:cubicBezTo>
                    <a:close/>
                  </a:path>
                </a:pathLst>
              </a:custGeom>
              <a:grpFill/>
              <a:ln w="5978" cap="flat">
                <a:noFill/>
                <a:prstDash val="solid"/>
                <a:miter/>
              </a:ln>
            </p:spPr>
            <p:txBody>
              <a:bodyPr rtlCol="0" anchor="ctr"/>
              <a:lstStyle/>
              <a:p>
                <a:endParaRPr lang="en-GB"/>
              </a:p>
            </p:txBody>
          </p:sp>
          <p:sp>
            <p:nvSpPr>
              <p:cNvPr id="1594" name="Vrije vorm: vorm 1593">
                <a:extLst>
                  <a:ext uri="{FF2B5EF4-FFF2-40B4-BE49-F238E27FC236}">
                    <a16:creationId xmlns:a16="http://schemas.microsoft.com/office/drawing/2014/main" id="{525E4654-BF9E-4052-99AD-6702D3391D67}"/>
                  </a:ext>
                </a:extLst>
              </p:cNvPr>
              <p:cNvSpPr/>
              <p:nvPr/>
            </p:nvSpPr>
            <p:spPr>
              <a:xfrm>
                <a:off x="4599104" y="4811648"/>
                <a:ext cx="18362" cy="18424"/>
              </a:xfrm>
              <a:custGeom>
                <a:avLst/>
                <a:gdLst>
                  <a:gd name="connsiteX0" fmla="*/ 15581 w 18362"/>
                  <a:gd name="connsiteY0" fmla="*/ 15851 h 18424"/>
                  <a:gd name="connsiteX1" fmla="*/ 15760 w 18362"/>
                  <a:gd name="connsiteY1" fmla="*/ 2813 h 18424"/>
                  <a:gd name="connsiteX2" fmla="*/ 2782 w 18362"/>
                  <a:gd name="connsiteY2" fmla="*/ 2573 h 18424"/>
                  <a:gd name="connsiteX3" fmla="*/ 2602 w 18362"/>
                  <a:gd name="connsiteY3" fmla="*/ 15611 h 18424"/>
                  <a:gd name="connsiteX4" fmla="*/ 15581 w 18362"/>
                  <a:gd name="connsiteY4" fmla="*/ 15851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15581" y="15851"/>
                    </a:moveTo>
                    <a:cubicBezTo>
                      <a:pt x="19229" y="12322"/>
                      <a:pt x="19289" y="6461"/>
                      <a:pt x="15760" y="2813"/>
                    </a:cubicBezTo>
                    <a:cubicBezTo>
                      <a:pt x="12231" y="-836"/>
                      <a:pt x="6430" y="-955"/>
                      <a:pt x="2782" y="2573"/>
                    </a:cubicBezTo>
                    <a:cubicBezTo>
                      <a:pt x="-866" y="6102"/>
                      <a:pt x="-926" y="11903"/>
                      <a:pt x="2602" y="15611"/>
                    </a:cubicBezTo>
                    <a:cubicBezTo>
                      <a:pt x="6131" y="19260"/>
                      <a:pt x="11932" y="19379"/>
                      <a:pt x="15581" y="15851"/>
                    </a:cubicBezTo>
                    <a:close/>
                  </a:path>
                </a:pathLst>
              </a:custGeom>
              <a:grpFill/>
              <a:ln w="5978" cap="flat">
                <a:noFill/>
                <a:prstDash val="solid"/>
                <a:miter/>
              </a:ln>
            </p:spPr>
            <p:txBody>
              <a:bodyPr rtlCol="0" anchor="ctr"/>
              <a:lstStyle/>
              <a:p>
                <a:endParaRPr lang="en-GB"/>
              </a:p>
            </p:txBody>
          </p:sp>
        </p:grpSp>
        <p:grpSp>
          <p:nvGrpSpPr>
            <p:cNvPr id="1272" name="Graphic 3">
              <a:extLst>
                <a:ext uri="{FF2B5EF4-FFF2-40B4-BE49-F238E27FC236}">
                  <a16:creationId xmlns:a16="http://schemas.microsoft.com/office/drawing/2014/main" id="{34C74F9A-FFF7-4849-98ED-C103D7F8C97D}"/>
                </a:ext>
              </a:extLst>
            </p:cNvPr>
            <p:cNvGrpSpPr/>
            <p:nvPr/>
          </p:nvGrpSpPr>
          <p:grpSpPr>
            <a:xfrm>
              <a:off x="4014094" y="3334466"/>
              <a:ext cx="80153" cy="20585"/>
              <a:chOff x="4014094" y="3334466"/>
              <a:chExt cx="80153" cy="20585"/>
            </a:xfrm>
            <a:grpFill/>
          </p:grpSpPr>
          <p:sp>
            <p:nvSpPr>
              <p:cNvPr id="1589" name="Vrije vorm: vorm 1588">
                <a:extLst>
                  <a:ext uri="{FF2B5EF4-FFF2-40B4-BE49-F238E27FC236}">
                    <a16:creationId xmlns:a16="http://schemas.microsoft.com/office/drawing/2014/main" id="{090A50CA-EC53-485D-BCFF-35281C8232EE}"/>
                  </a:ext>
                </a:extLst>
              </p:cNvPr>
              <p:cNvSpPr/>
              <p:nvPr/>
            </p:nvSpPr>
            <p:spPr>
              <a:xfrm>
                <a:off x="4022713" y="3342067"/>
                <a:ext cx="62857" cy="5322"/>
              </a:xfrm>
              <a:custGeom>
                <a:avLst/>
                <a:gdLst>
                  <a:gd name="connsiteX0" fmla="*/ 62857 w 62857"/>
                  <a:gd name="connsiteY0" fmla="*/ 2273 h 5322"/>
                  <a:gd name="connsiteX1" fmla="*/ 62738 w 62857"/>
                  <a:gd name="connsiteY1" fmla="*/ 5323 h 5322"/>
                  <a:gd name="connsiteX2" fmla="*/ 0 w 62857"/>
                  <a:gd name="connsiteY2" fmla="*/ 3050 h 5322"/>
                  <a:gd name="connsiteX3" fmla="*/ 120 w 62857"/>
                  <a:gd name="connsiteY3" fmla="*/ 0 h 5322"/>
                </a:gdLst>
                <a:ahLst/>
                <a:cxnLst>
                  <a:cxn ang="0">
                    <a:pos x="connsiteX0" y="connsiteY0"/>
                  </a:cxn>
                  <a:cxn ang="0">
                    <a:pos x="connsiteX1" y="connsiteY1"/>
                  </a:cxn>
                  <a:cxn ang="0">
                    <a:pos x="connsiteX2" y="connsiteY2"/>
                  </a:cxn>
                  <a:cxn ang="0">
                    <a:pos x="connsiteX3" y="connsiteY3"/>
                  </a:cxn>
                </a:cxnLst>
                <a:rect l="l" t="t" r="r" b="b"/>
                <a:pathLst>
                  <a:path w="62857" h="5322">
                    <a:moveTo>
                      <a:pt x="62857" y="2273"/>
                    </a:moveTo>
                    <a:lnTo>
                      <a:pt x="62738" y="5323"/>
                    </a:lnTo>
                    <a:lnTo>
                      <a:pt x="0" y="3050"/>
                    </a:lnTo>
                    <a:lnTo>
                      <a:pt x="120" y="0"/>
                    </a:lnTo>
                    <a:close/>
                  </a:path>
                </a:pathLst>
              </a:custGeom>
              <a:grpFill/>
              <a:ln w="5978" cap="flat">
                <a:noFill/>
                <a:prstDash val="solid"/>
                <a:miter/>
              </a:ln>
            </p:spPr>
            <p:txBody>
              <a:bodyPr rtlCol="0" anchor="ctr"/>
              <a:lstStyle/>
              <a:p>
                <a:endParaRPr lang="en-GB"/>
              </a:p>
            </p:txBody>
          </p:sp>
          <p:sp>
            <p:nvSpPr>
              <p:cNvPr id="1590" name="Vrije vorm: vorm 1589">
                <a:extLst>
                  <a:ext uri="{FF2B5EF4-FFF2-40B4-BE49-F238E27FC236}">
                    <a16:creationId xmlns:a16="http://schemas.microsoft.com/office/drawing/2014/main" id="{4E7FBD1F-3030-45F8-984E-45DDE0F81BB8}"/>
                  </a:ext>
                </a:extLst>
              </p:cNvPr>
              <p:cNvSpPr/>
              <p:nvPr/>
            </p:nvSpPr>
            <p:spPr>
              <a:xfrm>
                <a:off x="4014094" y="3334466"/>
                <a:ext cx="18313" cy="18372"/>
              </a:xfrm>
              <a:custGeom>
                <a:avLst/>
                <a:gdLst>
                  <a:gd name="connsiteX0" fmla="*/ 8858 w 18313"/>
                  <a:gd name="connsiteY0" fmla="*/ 18367 h 18372"/>
                  <a:gd name="connsiteX1" fmla="*/ 6 w 18313"/>
                  <a:gd name="connsiteY1" fmla="*/ 8857 h 18372"/>
                  <a:gd name="connsiteX2" fmla="*/ 9456 w 18313"/>
                  <a:gd name="connsiteY2" fmla="*/ 6 h 18372"/>
                  <a:gd name="connsiteX3" fmla="*/ 18307 w 18313"/>
                  <a:gd name="connsiteY3" fmla="*/ 9515 h 18372"/>
                  <a:gd name="connsiteX4" fmla="*/ 8858 w 18313"/>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72">
                    <a:moveTo>
                      <a:pt x="8858" y="18367"/>
                    </a:moveTo>
                    <a:cubicBezTo>
                      <a:pt x="3774" y="18187"/>
                      <a:pt x="-173" y="13941"/>
                      <a:pt x="6" y="8857"/>
                    </a:cubicBezTo>
                    <a:cubicBezTo>
                      <a:pt x="185" y="3774"/>
                      <a:pt x="4372" y="-174"/>
                      <a:pt x="9456" y="6"/>
                    </a:cubicBezTo>
                    <a:cubicBezTo>
                      <a:pt x="14539" y="185"/>
                      <a:pt x="18486" y="4432"/>
                      <a:pt x="18307" y="9515"/>
                    </a:cubicBezTo>
                    <a:cubicBezTo>
                      <a:pt x="18128" y="14599"/>
                      <a:pt x="13941" y="18546"/>
                      <a:pt x="8858" y="18367"/>
                    </a:cubicBezTo>
                    <a:close/>
                  </a:path>
                </a:pathLst>
              </a:custGeom>
              <a:grpFill/>
              <a:ln w="5978" cap="flat">
                <a:noFill/>
                <a:prstDash val="solid"/>
                <a:miter/>
              </a:ln>
            </p:spPr>
            <p:txBody>
              <a:bodyPr rtlCol="0" anchor="ctr"/>
              <a:lstStyle/>
              <a:p>
                <a:endParaRPr lang="en-GB"/>
              </a:p>
            </p:txBody>
          </p:sp>
          <p:sp>
            <p:nvSpPr>
              <p:cNvPr id="1591" name="Vrije vorm: vorm 1590">
                <a:extLst>
                  <a:ext uri="{FF2B5EF4-FFF2-40B4-BE49-F238E27FC236}">
                    <a16:creationId xmlns:a16="http://schemas.microsoft.com/office/drawing/2014/main" id="{51683B66-AD8D-4609-A713-020D154789E3}"/>
                  </a:ext>
                </a:extLst>
              </p:cNvPr>
              <p:cNvSpPr/>
              <p:nvPr/>
            </p:nvSpPr>
            <p:spPr>
              <a:xfrm>
                <a:off x="4075935" y="3336679"/>
                <a:ext cx="18312" cy="18372"/>
              </a:xfrm>
              <a:custGeom>
                <a:avLst/>
                <a:gdLst>
                  <a:gd name="connsiteX0" fmla="*/ 8857 w 18312"/>
                  <a:gd name="connsiteY0" fmla="*/ 18367 h 18372"/>
                  <a:gd name="connsiteX1" fmla="*/ 18307 w 18312"/>
                  <a:gd name="connsiteY1" fmla="*/ 9515 h 18372"/>
                  <a:gd name="connsiteX2" fmla="*/ 9456 w 18312"/>
                  <a:gd name="connsiteY2" fmla="*/ 6 h 18372"/>
                  <a:gd name="connsiteX3" fmla="*/ 6 w 18312"/>
                  <a:gd name="connsiteY3" fmla="*/ 8857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13941" y="18546"/>
                      <a:pt x="18128" y="14599"/>
                      <a:pt x="18307" y="9515"/>
                    </a:cubicBezTo>
                    <a:cubicBezTo>
                      <a:pt x="18486" y="4432"/>
                      <a:pt x="14479" y="185"/>
                      <a:pt x="9456" y="6"/>
                    </a:cubicBezTo>
                    <a:cubicBezTo>
                      <a:pt x="4372" y="-174"/>
                      <a:pt x="185" y="3774"/>
                      <a:pt x="6" y="8857"/>
                    </a:cubicBezTo>
                    <a:cubicBezTo>
                      <a:pt x="-173" y="13941"/>
                      <a:pt x="3774" y="18187"/>
                      <a:pt x="8857" y="18367"/>
                    </a:cubicBezTo>
                    <a:close/>
                  </a:path>
                </a:pathLst>
              </a:custGeom>
              <a:grpFill/>
              <a:ln w="5978" cap="flat">
                <a:noFill/>
                <a:prstDash val="solid"/>
                <a:miter/>
              </a:ln>
            </p:spPr>
            <p:txBody>
              <a:bodyPr rtlCol="0" anchor="ctr"/>
              <a:lstStyle/>
              <a:p>
                <a:endParaRPr lang="en-GB"/>
              </a:p>
            </p:txBody>
          </p:sp>
        </p:grpSp>
        <p:grpSp>
          <p:nvGrpSpPr>
            <p:cNvPr id="1273" name="Graphic 3">
              <a:extLst>
                <a:ext uri="{FF2B5EF4-FFF2-40B4-BE49-F238E27FC236}">
                  <a16:creationId xmlns:a16="http://schemas.microsoft.com/office/drawing/2014/main" id="{28F78164-ACC1-4744-905B-9D546D4FB072}"/>
                </a:ext>
              </a:extLst>
            </p:cNvPr>
            <p:cNvGrpSpPr/>
            <p:nvPr/>
          </p:nvGrpSpPr>
          <p:grpSpPr>
            <a:xfrm>
              <a:off x="3879746" y="3000403"/>
              <a:ext cx="129657" cy="39385"/>
              <a:chOff x="3879746" y="3000403"/>
              <a:chExt cx="129657" cy="39385"/>
            </a:xfrm>
            <a:grpFill/>
          </p:grpSpPr>
          <p:sp>
            <p:nvSpPr>
              <p:cNvPr id="1586" name="Vrije vorm: vorm 1585">
                <a:extLst>
                  <a:ext uri="{FF2B5EF4-FFF2-40B4-BE49-F238E27FC236}">
                    <a16:creationId xmlns:a16="http://schemas.microsoft.com/office/drawing/2014/main" id="{52DAF6D9-48B4-4F51-884A-1020E28D9C68}"/>
                  </a:ext>
                </a:extLst>
              </p:cNvPr>
              <p:cNvSpPr/>
              <p:nvPr/>
            </p:nvSpPr>
            <p:spPr>
              <a:xfrm>
                <a:off x="3888206" y="3008044"/>
                <a:ext cx="112796" cy="24102"/>
              </a:xfrm>
              <a:custGeom>
                <a:avLst/>
                <a:gdLst>
                  <a:gd name="connsiteX0" fmla="*/ 112797 w 112796"/>
                  <a:gd name="connsiteY0" fmla="*/ 21112 h 24102"/>
                  <a:gd name="connsiteX1" fmla="*/ 112258 w 112796"/>
                  <a:gd name="connsiteY1" fmla="*/ 24102 h 24102"/>
                  <a:gd name="connsiteX2" fmla="*/ 0 w 112796"/>
                  <a:gd name="connsiteY2" fmla="*/ 2990 h 24102"/>
                  <a:gd name="connsiteX3" fmla="*/ 538 w 112796"/>
                  <a:gd name="connsiteY3" fmla="*/ 0 h 24102"/>
                </a:gdLst>
                <a:ahLst/>
                <a:cxnLst>
                  <a:cxn ang="0">
                    <a:pos x="connsiteX0" y="connsiteY0"/>
                  </a:cxn>
                  <a:cxn ang="0">
                    <a:pos x="connsiteX1" y="connsiteY1"/>
                  </a:cxn>
                  <a:cxn ang="0">
                    <a:pos x="connsiteX2" y="connsiteY2"/>
                  </a:cxn>
                  <a:cxn ang="0">
                    <a:pos x="connsiteX3" y="connsiteY3"/>
                  </a:cxn>
                </a:cxnLst>
                <a:rect l="l" t="t" r="r" b="b"/>
                <a:pathLst>
                  <a:path w="112796" h="24102">
                    <a:moveTo>
                      <a:pt x="112797" y="21112"/>
                    </a:moveTo>
                    <a:lnTo>
                      <a:pt x="112258" y="24102"/>
                    </a:lnTo>
                    <a:lnTo>
                      <a:pt x="0" y="2990"/>
                    </a:lnTo>
                    <a:lnTo>
                      <a:pt x="538" y="0"/>
                    </a:lnTo>
                    <a:close/>
                  </a:path>
                </a:pathLst>
              </a:custGeom>
              <a:grpFill/>
              <a:ln w="5978" cap="flat">
                <a:noFill/>
                <a:prstDash val="solid"/>
                <a:miter/>
              </a:ln>
            </p:spPr>
            <p:txBody>
              <a:bodyPr rtlCol="0" anchor="ctr"/>
              <a:lstStyle/>
              <a:p>
                <a:endParaRPr lang="en-GB"/>
              </a:p>
            </p:txBody>
          </p:sp>
          <p:sp>
            <p:nvSpPr>
              <p:cNvPr id="1587" name="Vrije vorm: vorm 1586">
                <a:extLst>
                  <a:ext uri="{FF2B5EF4-FFF2-40B4-BE49-F238E27FC236}">
                    <a16:creationId xmlns:a16="http://schemas.microsoft.com/office/drawing/2014/main" id="{18C89B5F-FB82-4ADF-BE20-9668DFBC94E5}"/>
                  </a:ext>
                </a:extLst>
              </p:cNvPr>
              <p:cNvSpPr/>
              <p:nvPr/>
            </p:nvSpPr>
            <p:spPr>
              <a:xfrm>
                <a:off x="3879746" y="3000403"/>
                <a:ext cx="18296" cy="18452"/>
              </a:xfrm>
              <a:custGeom>
                <a:avLst/>
                <a:gdLst>
                  <a:gd name="connsiteX0" fmla="*/ 7504 w 18296"/>
                  <a:gd name="connsiteY0" fmla="*/ 18287 h 18452"/>
                  <a:gd name="connsiteX1" fmla="*/ 147 w 18296"/>
                  <a:gd name="connsiteY1" fmla="*/ 7522 h 18452"/>
                  <a:gd name="connsiteX2" fmla="*/ 10793 w 18296"/>
                  <a:gd name="connsiteY2" fmla="*/ 166 h 18452"/>
                  <a:gd name="connsiteX3" fmla="*/ 18149 w 18296"/>
                  <a:gd name="connsiteY3" fmla="*/ 10931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2540" y="17330"/>
                      <a:pt x="-750" y="12546"/>
                      <a:pt x="147" y="7522"/>
                    </a:cubicBezTo>
                    <a:cubicBezTo>
                      <a:pt x="1044" y="2498"/>
                      <a:pt x="5829" y="-791"/>
                      <a:pt x="10793" y="166"/>
                    </a:cubicBezTo>
                    <a:cubicBezTo>
                      <a:pt x="15757" y="1122"/>
                      <a:pt x="19046" y="5907"/>
                      <a:pt x="18149" y="10931"/>
                    </a:cubicBezTo>
                    <a:cubicBezTo>
                      <a:pt x="17252" y="15955"/>
                      <a:pt x="12468" y="19244"/>
                      <a:pt x="7504" y="18287"/>
                    </a:cubicBezTo>
                    <a:close/>
                  </a:path>
                </a:pathLst>
              </a:custGeom>
              <a:grpFill/>
              <a:ln w="5978" cap="flat">
                <a:noFill/>
                <a:prstDash val="solid"/>
                <a:miter/>
              </a:ln>
            </p:spPr>
            <p:txBody>
              <a:bodyPr rtlCol="0" anchor="ctr"/>
              <a:lstStyle/>
              <a:p>
                <a:endParaRPr lang="en-GB"/>
              </a:p>
            </p:txBody>
          </p:sp>
          <p:sp>
            <p:nvSpPr>
              <p:cNvPr id="1588" name="Vrije vorm: vorm 1587">
                <a:extLst>
                  <a:ext uri="{FF2B5EF4-FFF2-40B4-BE49-F238E27FC236}">
                    <a16:creationId xmlns:a16="http://schemas.microsoft.com/office/drawing/2014/main" id="{509A1533-4A44-449F-A9A5-038772B5ED11}"/>
                  </a:ext>
                </a:extLst>
              </p:cNvPr>
              <p:cNvSpPr/>
              <p:nvPr/>
            </p:nvSpPr>
            <p:spPr>
              <a:xfrm>
                <a:off x="3991107" y="3021335"/>
                <a:ext cx="18296" cy="18452"/>
              </a:xfrm>
              <a:custGeom>
                <a:avLst/>
                <a:gdLst>
                  <a:gd name="connsiteX0" fmla="*/ 7504 w 18296"/>
                  <a:gd name="connsiteY0" fmla="*/ 18287 h 18452"/>
                  <a:gd name="connsiteX1" fmla="*/ 18149 w 18296"/>
                  <a:gd name="connsiteY1" fmla="*/ 10931 h 18452"/>
                  <a:gd name="connsiteX2" fmla="*/ 10793 w 18296"/>
                  <a:gd name="connsiteY2" fmla="*/ 166 h 18452"/>
                  <a:gd name="connsiteX3" fmla="*/ 147 w 18296"/>
                  <a:gd name="connsiteY3" fmla="*/ 7522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12468" y="19244"/>
                      <a:pt x="17252" y="15955"/>
                      <a:pt x="18149" y="10931"/>
                    </a:cubicBezTo>
                    <a:cubicBezTo>
                      <a:pt x="19046" y="5907"/>
                      <a:pt x="15757" y="1122"/>
                      <a:pt x="10793" y="166"/>
                    </a:cubicBezTo>
                    <a:cubicBezTo>
                      <a:pt x="5829" y="-791"/>
                      <a:pt x="1044" y="2498"/>
                      <a:pt x="147" y="7522"/>
                    </a:cubicBezTo>
                    <a:cubicBezTo>
                      <a:pt x="-750" y="12546"/>
                      <a:pt x="2540" y="17390"/>
                      <a:pt x="7504" y="18287"/>
                    </a:cubicBezTo>
                    <a:close/>
                  </a:path>
                </a:pathLst>
              </a:custGeom>
              <a:grpFill/>
              <a:ln w="5978" cap="flat">
                <a:noFill/>
                <a:prstDash val="solid"/>
                <a:miter/>
              </a:ln>
            </p:spPr>
            <p:txBody>
              <a:bodyPr rtlCol="0" anchor="ctr"/>
              <a:lstStyle/>
              <a:p>
                <a:endParaRPr lang="en-GB"/>
              </a:p>
            </p:txBody>
          </p:sp>
        </p:grpSp>
        <p:grpSp>
          <p:nvGrpSpPr>
            <p:cNvPr id="1274" name="Graphic 3">
              <a:extLst>
                <a:ext uri="{FF2B5EF4-FFF2-40B4-BE49-F238E27FC236}">
                  <a16:creationId xmlns:a16="http://schemas.microsoft.com/office/drawing/2014/main" id="{38185200-6A79-4F07-9E19-2AD1DD0674B4}"/>
                </a:ext>
              </a:extLst>
            </p:cNvPr>
            <p:cNvGrpSpPr/>
            <p:nvPr/>
          </p:nvGrpSpPr>
          <p:grpSpPr>
            <a:xfrm>
              <a:off x="4183965" y="3762047"/>
              <a:ext cx="27727" cy="20246"/>
              <a:chOff x="4183965" y="3762047"/>
              <a:chExt cx="27727" cy="20246"/>
            </a:xfrm>
            <a:grpFill/>
          </p:grpSpPr>
          <p:sp>
            <p:nvSpPr>
              <p:cNvPr id="1584" name="Vrije vorm: vorm 1583">
                <a:extLst>
                  <a:ext uri="{FF2B5EF4-FFF2-40B4-BE49-F238E27FC236}">
                    <a16:creationId xmlns:a16="http://schemas.microsoft.com/office/drawing/2014/main" id="{4AC23A2E-E691-4CE0-A366-5491F41E5FCF}"/>
                  </a:ext>
                </a:extLst>
              </p:cNvPr>
              <p:cNvSpPr/>
              <p:nvPr/>
            </p:nvSpPr>
            <p:spPr>
              <a:xfrm>
                <a:off x="4183965" y="3763842"/>
                <a:ext cx="18337" cy="18452"/>
              </a:xfrm>
              <a:custGeom>
                <a:avLst/>
                <a:gdLst>
                  <a:gd name="connsiteX0" fmla="*/ 7404 w 18337"/>
                  <a:gd name="connsiteY0" fmla="*/ 166 h 18452"/>
                  <a:gd name="connsiteX1" fmla="*/ 18170 w 18337"/>
                  <a:gd name="connsiteY1" fmla="*/ 7522 h 18452"/>
                  <a:gd name="connsiteX2" fmla="*/ 10933 w 18337"/>
                  <a:gd name="connsiteY2" fmla="*/ 18287 h 18452"/>
                  <a:gd name="connsiteX3" fmla="*/ 168 w 18337"/>
                  <a:gd name="connsiteY3" fmla="*/ 10931 h 18452"/>
                  <a:gd name="connsiteX4" fmla="*/ 7404 w 18337"/>
                  <a:gd name="connsiteY4" fmla="*/ 166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2">
                    <a:moveTo>
                      <a:pt x="7404" y="166"/>
                    </a:moveTo>
                    <a:cubicBezTo>
                      <a:pt x="12368" y="-791"/>
                      <a:pt x="17213" y="2498"/>
                      <a:pt x="18170" y="7522"/>
                    </a:cubicBezTo>
                    <a:cubicBezTo>
                      <a:pt x="19127" y="12546"/>
                      <a:pt x="15897" y="17330"/>
                      <a:pt x="10933" y="18287"/>
                    </a:cubicBezTo>
                    <a:cubicBezTo>
                      <a:pt x="5969" y="19244"/>
                      <a:pt x="1125" y="15955"/>
                      <a:pt x="168" y="10931"/>
                    </a:cubicBezTo>
                    <a:cubicBezTo>
                      <a:pt x="-789" y="5907"/>
                      <a:pt x="2441" y="1063"/>
                      <a:pt x="7404" y="166"/>
                    </a:cubicBezTo>
                    <a:close/>
                  </a:path>
                </a:pathLst>
              </a:custGeom>
              <a:grpFill/>
              <a:ln w="5978" cap="flat">
                <a:noFill/>
                <a:prstDash val="solid"/>
                <a:miter/>
              </a:ln>
            </p:spPr>
            <p:txBody>
              <a:bodyPr rtlCol="0" anchor="ctr"/>
              <a:lstStyle/>
              <a:p>
                <a:endParaRPr lang="en-GB"/>
              </a:p>
            </p:txBody>
          </p:sp>
          <p:sp>
            <p:nvSpPr>
              <p:cNvPr id="1585" name="Vrije vorm: vorm 1584">
                <a:extLst>
                  <a:ext uri="{FF2B5EF4-FFF2-40B4-BE49-F238E27FC236}">
                    <a16:creationId xmlns:a16="http://schemas.microsoft.com/office/drawing/2014/main" id="{DCADD65C-F177-4E20-A7DA-220B91A57293}"/>
                  </a:ext>
                </a:extLst>
              </p:cNvPr>
              <p:cNvSpPr/>
              <p:nvPr/>
            </p:nvSpPr>
            <p:spPr>
              <a:xfrm>
                <a:off x="4193354" y="3762047"/>
                <a:ext cx="18337" cy="18436"/>
              </a:xfrm>
              <a:custGeom>
                <a:avLst/>
                <a:gdLst>
                  <a:gd name="connsiteX0" fmla="*/ 7405 w 18337"/>
                  <a:gd name="connsiteY0" fmla="*/ 166 h 18436"/>
                  <a:gd name="connsiteX1" fmla="*/ 168 w 18337"/>
                  <a:gd name="connsiteY1" fmla="*/ 10931 h 18436"/>
                  <a:gd name="connsiteX2" fmla="*/ 10933 w 18337"/>
                  <a:gd name="connsiteY2" fmla="*/ 18287 h 18436"/>
                  <a:gd name="connsiteX3" fmla="*/ 18170 w 18337"/>
                  <a:gd name="connsiteY3" fmla="*/ 7522 h 18436"/>
                  <a:gd name="connsiteX4" fmla="*/ 7405 w 18337"/>
                  <a:gd name="connsiteY4" fmla="*/ 16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7405" y="166"/>
                    </a:moveTo>
                    <a:cubicBezTo>
                      <a:pt x="2441" y="1122"/>
                      <a:pt x="-789" y="5907"/>
                      <a:pt x="168" y="10931"/>
                    </a:cubicBezTo>
                    <a:cubicBezTo>
                      <a:pt x="1125" y="15955"/>
                      <a:pt x="5969" y="19184"/>
                      <a:pt x="10933" y="18287"/>
                    </a:cubicBezTo>
                    <a:cubicBezTo>
                      <a:pt x="15897" y="17330"/>
                      <a:pt x="19127" y="12486"/>
                      <a:pt x="18170" y="7522"/>
                    </a:cubicBezTo>
                    <a:cubicBezTo>
                      <a:pt x="17153" y="2498"/>
                      <a:pt x="12369" y="-791"/>
                      <a:pt x="7405" y="166"/>
                    </a:cubicBezTo>
                    <a:close/>
                  </a:path>
                </a:pathLst>
              </a:custGeom>
              <a:grpFill/>
              <a:ln w="5978" cap="flat">
                <a:noFill/>
                <a:prstDash val="solid"/>
                <a:miter/>
              </a:ln>
            </p:spPr>
            <p:txBody>
              <a:bodyPr rtlCol="0" anchor="ctr"/>
              <a:lstStyle/>
              <a:p>
                <a:endParaRPr lang="en-GB"/>
              </a:p>
            </p:txBody>
          </p:sp>
        </p:grpSp>
        <p:grpSp>
          <p:nvGrpSpPr>
            <p:cNvPr id="1275" name="Graphic 3">
              <a:extLst>
                <a:ext uri="{FF2B5EF4-FFF2-40B4-BE49-F238E27FC236}">
                  <a16:creationId xmlns:a16="http://schemas.microsoft.com/office/drawing/2014/main" id="{F51CD9D0-09D9-441E-8E08-67C3A3C17EA0}"/>
                </a:ext>
              </a:extLst>
            </p:cNvPr>
            <p:cNvGrpSpPr/>
            <p:nvPr/>
          </p:nvGrpSpPr>
          <p:grpSpPr>
            <a:xfrm>
              <a:off x="4005847" y="3372387"/>
              <a:ext cx="126613" cy="20277"/>
              <a:chOff x="4005847" y="3372387"/>
              <a:chExt cx="126613" cy="20277"/>
            </a:xfrm>
            <a:grpFill/>
          </p:grpSpPr>
          <p:sp>
            <p:nvSpPr>
              <p:cNvPr id="1581" name="Vrije vorm: vorm 1580">
                <a:extLst>
                  <a:ext uri="{FF2B5EF4-FFF2-40B4-BE49-F238E27FC236}">
                    <a16:creationId xmlns:a16="http://schemas.microsoft.com/office/drawing/2014/main" id="{499B61A3-19C1-40AA-89AC-D165CAA1CA22}"/>
                  </a:ext>
                </a:extLst>
              </p:cNvPr>
              <p:cNvSpPr/>
              <p:nvPr/>
            </p:nvSpPr>
            <p:spPr>
              <a:xfrm>
                <a:off x="4014519" y="3380045"/>
                <a:ext cx="109267" cy="4963"/>
              </a:xfrm>
              <a:custGeom>
                <a:avLst/>
                <a:gdLst>
                  <a:gd name="connsiteX0" fmla="*/ 109268 w 109267"/>
                  <a:gd name="connsiteY0" fmla="*/ 1914 h 4963"/>
                  <a:gd name="connsiteX1" fmla="*/ 109208 w 109267"/>
                  <a:gd name="connsiteY1" fmla="*/ 4964 h 4963"/>
                  <a:gd name="connsiteX2" fmla="*/ 0 w 109267"/>
                  <a:gd name="connsiteY2" fmla="*/ 3050 h 4963"/>
                  <a:gd name="connsiteX3" fmla="*/ 60 w 109267"/>
                  <a:gd name="connsiteY3" fmla="*/ 0 h 4963"/>
                </a:gdLst>
                <a:ahLst/>
                <a:cxnLst>
                  <a:cxn ang="0">
                    <a:pos x="connsiteX0" y="connsiteY0"/>
                  </a:cxn>
                  <a:cxn ang="0">
                    <a:pos x="connsiteX1" y="connsiteY1"/>
                  </a:cxn>
                  <a:cxn ang="0">
                    <a:pos x="connsiteX2" y="connsiteY2"/>
                  </a:cxn>
                  <a:cxn ang="0">
                    <a:pos x="connsiteX3" y="connsiteY3"/>
                  </a:cxn>
                </a:cxnLst>
                <a:rect l="l" t="t" r="r" b="b"/>
                <a:pathLst>
                  <a:path w="109267" h="4963">
                    <a:moveTo>
                      <a:pt x="109268" y="1914"/>
                    </a:moveTo>
                    <a:lnTo>
                      <a:pt x="109208" y="4964"/>
                    </a:lnTo>
                    <a:lnTo>
                      <a:pt x="0" y="3050"/>
                    </a:lnTo>
                    <a:lnTo>
                      <a:pt x="60" y="0"/>
                    </a:lnTo>
                    <a:close/>
                  </a:path>
                </a:pathLst>
              </a:custGeom>
              <a:grpFill/>
              <a:ln w="5978" cap="flat">
                <a:noFill/>
                <a:prstDash val="solid"/>
                <a:miter/>
              </a:ln>
            </p:spPr>
            <p:txBody>
              <a:bodyPr rtlCol="0" anchor="ctr"/>
              <a:lstStyle/>
              <a:p>
                <a:endParaRPr lang="en-GB"/>
              </a:p>
            </p:txBody>
          </p:sp>
          <p:sp>
            <p:nvSpPr>
              <p:cNvPr id="1582" name="Vrije vorm: vorm 1581">
                <a:extLst>
                  <a:ext uri="{FF2B5EF4-FFF2-40B4-BE49-F238E27FC236}">
                    <a16:creationId xmlns:a16="http://schemas.microsoft.com/office/drawing/2014/main" id="{C232E198-72C2-401B-BCBC-FC14B00BA024}"/>
                  </a:ext>
                </a:extLst>
              </p:cNvPr>
              <p:cNvSpPr/>
              <p:nvPr/>
            </p:nvSpPr>
            <p:spPr>
              <a:xfrm>
                <a:off x="4005847" y="3372387"/>
                <a:ext cx="18302" cy="18423"/>
              </a:xfrm>
              <a:custGeom>
                <a:avLst/>
                <a:gdLst>
                  <a:gd name="connsiteX0" fmla="*/ 9031 w 18302"/>
                  <a:gd name="connsiteY0" fmla="*/ 18423 h 18423"/>
                  <a:gd name="connsiteX1" fmla="*/ 1 w 18302"/>
                  <a:gd name="connsiteY1" fmla="*/ 9033 h 18423"/>
                  <a:gd name="connsiteX2" fmla="*/ 9271 w 18302"/>
                  <a:gd name="connsiteY2" fmla="*/ 3 h 18423"/>
                  <a:gd name="connsiteX3" fmla="*/ 18302 w 18302"/>
                  <a:gd name="connsiteY3" fmla="*/ 9392 h 18423"/>
                  <a:gd name="connsiteX4" fmla="*/ 9031 w 18302"/>
                  <a:gd name="connsiteY4" fmla="*/ 18423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3">
                    <a:moveTo>
                      <a:pt x="9031" y="18423"/>
                    </a:moveTo>
                    <a:cubicBezTo>
                      <a:pt x="3948" y="18363"/>
                      <a:pt x="-59" y="14117"/>
                      <a:pt x="1" y="9033"/>
                    </a:cubicBezTo>
                    <a:cubicBezTo>
                      <a:pt x="60" y="3950"/>
                      <a:pt x="4247" y="-117"/>
                      <a:pt x="9271" y="3"/>
                    </a:cubicBezTo>
                    <a:cubicBezTo>
                      <a:pt x="14294" y="122"/>
                      <a:pt x="18361" y="4309"/>
                      <a:pt x="18302" y="9392"/>
                    </a:cubicBezTo>
                    <a:cubicBezTo>
                      <a:pt x="18242" y="14476"/>
                      <a:pt x="14115" y="18483"/>
                      <a:pt x="9031" y="18423"/>
                    </a:cubicBezTo>
                    <a:close/>
                  </a:path>
                </a:pathLst>
              </a:custGeom>
              <a:grpFill/>
              <a:ln w="5978" cap="flat">
                <a:noFill/>
                <a:prstDash val="solid"/>
                <a:miter/>
              </a:ln>
            </p:spPr>
            <p:txBody>
              <a:bodyPr rtlCol="0" anchor="ctr"/>
              <a:lstStyle/>
              <a:p>
                <a:endParaRPr lang="en-GB"/>
              </a:p>
            </p:txBody>
          </p:sp>
          <p:sp>
            <p:nvSpPr>
              <p:cNvPr id="1583" name="Vrije vorm: vorm 1582">
                <a:extLst>
                  <a:ext uri="{FF2B5EF4-FFF2-40B4-BE49-F238E27FC236}">
                    <a16:creationId xmlns:a16="http://schemas.microsoft.com/office/drawing/2014/main" id="{63521EBE-7F16-4483-B845-D870F7127523}"/>
                  </a:ext>
                </a:extLst>
              </p:cNvPr>
              <p:cNvSpPr/>
              <p:nvPr/>
            </p:nvSpPr>
            <p:spPr>
              <a:xfrm>
                <a:off x="4114157" y="3374243"/>
                <a:ext cx="18302" cy="18421"/>
              </a:xfrm>
              <a:custGeom>
                <a:avLst/>
                <a:gdLst>
                  <a:gd name="connsiteX0" fmla="*/ 9032 w 18302"/>
                  <a:gd name="connsiteY0" fmla="*/ 18421 h 18421"/>
                  <a:gd name="connsiteX1" fmla="*/ 18302 w 18302"/>
                  <a:gd name="connsiteY1" fmla="*/ 9390 h 18421"/>
                  <a:gd name="connsiteX2" fmla="*/ 9271 w 18302"/>
                  <a:gd name="connsiteY2" fmla="*/ 1 h 18421"/>
                  <a:gd name="connsiteX3" fmla="*/ 1 w 18302"/>
                  <a:gd name="connsiteY3" fmla="*/ 9031 h 18421"/>
                  <a:gd name="connsiteX4" fmla="*/ 9032 w 18302"/>
                  <a:gd name="connsiteY4" fmla="*/ 184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2" y="18421"/>
                    </a:moveTo>
                    <a:cubicBezTo>
                      <a:pt x="14115" y="18481"/>
                      <a:pt x="18242" y="14474"/>
                      <a:pt x="18302" y="9390"/>
                    </a:cubicBezTo>
                    <a:cubicBezTo>
                      <a:pt x="18362" y="4307"/>
                      <a:pt x="14295" y="120"/>
                      <a:pt x="9271" y="1"/>
                    </a:cubicBezTo>
                    <a:cubicBezTo>
                      <a:pt x="4187" y="-59"/>
                      <a:pt x="61" y="3948"/>
                      <a:pt x="1" y="9031"/>
                    </a:cubicBezTo>
                    <a:cubicBezTo>
                      <a:pt x="-59" y="14175"/>
                      <a:pt x="3948" y="18361"/>
                      <a:pt x="9032" y="18421"/>
                    </a:cubicBezTo>
                    <a:close/>
                  </a:path>
                </a:pathLst>
              </a:custGeom>
              <a:grpFill/>
              <a:ln w="5978" cap="flat">
                <a:noFill/>
                <a:prstDash val="solid"/>
                <a:miter/>
              </a:ln>
            </p:spPr>
            <p:txBody>
              <a:bodyPr rtlCol="0" anchor="ctr"/>
              <a:lstStyle/>
              <a:p>
                <a:endParaRPr lang="en-GB"/>
              </a:p>
            </p:txBody>
          </p:sp>
        </p:grpSp>
        <p:grpSp>
          <p:nvGrpSpPr>
            <p:cNvPr id="1276" name="Graphic 3">
              <a:extLst>
                <a:ext uri="{FF2B5EF4-FFF2-40B4-BE49-F238E27FC236}">
                  <a16:creationId xmlns:a16="http://schemas.microsoft.com/office/drawing/2014/main" id="{786AE312-C725-461F-838E-0DA058F96916}"/>
                </a:ext>
              </a:extLst>
            </p:cNvPr>
            <p:cNvGrpSpPr/>
            <p:nvPr/>
          </p:nvGrpSpPr>
          <p:grpSpPr>
            <a:xfrm>
              <a:off x="4015246" y="3817426"/>
              <a:ext cx="408644" cy="77369"/>
              <a:chOff x="4015246" y="3817426"/>
              <a:chExt cx="408644" cy="77369"/>
            </a:xfrm>
            <a:grpFill/>
          </p:grpSpPr>
          <p:sp>
            <p:nvSpPr>
              <p:cNvPr id="1578" name="Vrije vorm: vorm 1577">
                <a:extLst>
                  <a:ext uri="{FF2B5EF4-FFF2-40B4-BE49-F238E27FC236}">
                    <a16:creationId xmlns:a16="http://schemas.microsoft.com/office/drawing/2014/main" id="{FEA96873-2D76-44DD-A2AD-A9B360E5C23E}"/>
                  </a:ext>
                </a:extLst>
              </p:cNvPr>
              <p:cNvSpPr/>
              <p:nvPr/>
            </p:nvSpPr>
            <p:spPr>
              <a:xfrm>
                <a:off x="4023730" y="3825070"/>
                <a:ext cx="391677" cy="62139"/>
              </a:xfrm>
              <a:custGeom>
                <a:avLst/>
                <a:gdLst>
                  <a:gd name="connsiteX0" fmla="*/ 391199 w 391677"/>
                  <a:gd name="connsiteY0" fmla="*/ 0 h 62139"/>
                  <a:gd name="connsiteX1" fmla="*/ 391677 w 391677"/>
                  <a:gd name="connsiteY1" fmla="*/ 2990 h 62139"/>
                  <a:gd name="connsiteX2" fmla="*/ 478 w 391677"/>
                  <a:gd name="connsiteY2" fmla="*/ 62140 h 62139"/>
                  <a:gd name="connsiteX3" fmla="*/ 0 w 391677"/>
                  <a:gd name="connsiteY3" fmla="*/ 59090 h 62139"/>
                </a:gdLst>
                <a:ahLst/>
                <a:cxnLst>
                  <a:cxn ang="0">
                    <a:pos x="connsiteX0" y="connsiteY0"/>
                  </a:cxn>
                  <a:cxn ang="0">
                    <a:pos x="connsiteX1" y="connsiteY1"/>
                  </a:cxn>
                  <a:cxn ang="0">
                    <a:pos x="connsiteX2" y="connsiteY2"/>
                  </a:cxn>
                  <a:cxn ang="0">
                    <a:pos x="connsiteX3" y="connsiteY3"/>
                  </a:cxn>
                </a:cxnLst>
                <a:rect l="l" t="t" r="r" b="b"/>
                <a:pathLst>
                  <a:path w="391677" h="62139">
                    <a:moveTo>
                      <a:pt x="391199" y="0"/>
                    </a:moveTo>
                    <a:lnTo>
                      <a:pt x="391677" y="2990"/>
                    </a:lnTo>
                    <a:lnTo>
                      <a:pt x="478" y="62140"/>
                    </a:lnTo>
                    <a:lnTo>
                      <a:pt x="0" y="59090"/>
                    </a:lnTo>
                    <a:close/>
                  </a:path>
                </a:pathLst>
              </a:custGeom>
              <a:grpFill/>
              <a:ln w="5978" cap="flat">
                <a:noFill/>
                <a:prstDash val="solid"/>
                <a:miter/>
              </a:ln>
            </p:spPr>
            <p:txBody>
              <a:bodyPr rtlCol="0" anchor="ctr"/>
              <a:lstStyle/>
              <a:p>
                <a:endParaRPr lang="en-GB"/>
              </a:p>
            </p:txBody>
          </p:sp>
          <p:sp>
            <p:nvSpPr>
              <p:cNvPr id="1579" name="Vrije vorm: vorm 1578">
                <a:extLst>
                  <a:ext uri="{FF2B5EF4-FFF2-40B4-BE49-F238E27FC236}">
                    <a16:creationId xmlns:a16="http://schemas.microsoft.com/office/drawing/2014/main" id="{5447B4E3-3475-45F7-8B7C-8138DE9DE767}"/>
                  </a:ext>
                </a:extLst>
              </p:cNvPr>
              <p:cNvSpPr/>
              <p:nvPr/>
            </p:nvSpPr>
            <p:spPr>
              <a:xfrm>
                <a:off x="4405549" y="3817426"/>
                <a:ext cx="18340" cy="18399"/>
              </a:xfrm>
              <a:custGeom>
                <a:avLst/>
                <a:gdLst>
                  <a:gd name="connsiteX0" fmla="*/ 7764 w 18340"/>
                  <a:gd name="connsiteY0" fmla="*/ 109 h 18399"/>
                  <a:gd name="connsiteX1" fmla="*/ 18230 w 18340"/>
                  <a:gd name="connsiteY1" fmla="*/ 7824 h 18399"/>
                  <a:gd name="connsiteX2" fmla="*/ 10575 w 18340"/>
                  <a:gd name="connsiteY2" fmla="*/ 18290 h 18399"/>
                  <a:gd name="connsiteX3" fmla="*/ 109 w 18340"/>
                  <a:gd name="connsiteY3" fmla="*/ 10575 h 18399"/>
                  <a:gd name="connsiteX4" fmla="*/ 7764 w 18340"/>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9">
                    <a:moveTo>
                      <a:pt x="7764" y="109"/>
                    </a:moveTo>
                    <a:cubicBezTo>
                      <a:pt x="12788" y="-668"/>
                      <a:pt x="17453" y="2800"/>
                      <a:pt x="18230" y="7824"/>
                    </a:cubicBezTo>
                    <a:cubicBezTo>
                      <a:pt x="19008" y="12848"/>
                      <a:pt x="15599" y="17573"/>
                      <a:pt x="10575" y="18290"/>
                    </a:cubicBezTo>
                    <a:cubicBezTo>
                      <a:pt x="5551" y="19068"/>
                      <a:pt x="887" y="15599"/>
                      <a:pt x="109" y="10575"/>
                    </a:cubicBezTo>
                    <a:cubicBezTo>
                      <a:pt x="-669" y="5552"/>
                      <a:pt x="2800" y="886"/>
                      <a:pt x="7764" y="109"/>
                    </a:cubicBezTo>
                    <a:close/>
                  </a:path>
                </a:pathLst>
              </a:custGeom>
              <a:grpFill/>
              <a:ln w="5978" cap="flat">
                <a:noFill/>
                <a:prstDash val="solid"/>
                <a:miter/>
              </a:ln>
            </p:spPr>
            <p:txBody>
              <a:bodyPr rtlCol="0" anchor="ctr"/>
              <a:lstStyle/>
              <a:p>
                <a:endParaRPr lang="en-GB"/>
              </a:p>
            </p:txBody>
          </p:sp>
          <p:sp>
            <p:nvSpPr>
              <p:cNvPr id="1580" name="Vrije vorm: vorm 1579">
                <a:extLst>
                  <a:ext uri="{FF2B5EF4-FFF2-40B4-BE49-F238E27FC236}">
                    <a16:creationId xmlns:a16="http://schemas.microsoft.com/office/drawing/2014/main" id="{F35C4A3C-7560-45B9-999E-BDE199C4905F}"/>
                  </a:ext>
                </a:extLst>
              </p:cNvPr>
              <p:cNvSpPr/>
              <p:nvPr/>
            </p:nvSpPr>
            <p:spPr>
              <a:xfrm>
                <a:off x="4015246" y="3876396"/>
                <a:ext cx="18342" cy="18399"/>
              </a:xfrm>
              <a:custGeom>
                <a:avLst/>
                <a:gdLst>
                  <a:gd name="connsiteX0" fmla="*/ 7766 w 18342"/>
                  <a:gd name="connsiteY0" fmla="*/ 109 h 18399"/>
                  <a:gd name="connsiteX1" fmla="*/ 110 w 18342"/>
                  <a:gd name="connsiteY1" fmla="*/ 10575 h 18399"/>
                  <a:gd name="connsiteX2" fmla="*/ 10577 w 18342"/>
                  <a:gd name="connsiteY2" fmla="*/ 18290 h 18399"/>
                  <a:gd name="connsiteX3" fmla="*/ 18232 w 18342"/>
                  <a:gd name="connsiteY3" fmla="*/ 7824 h 18399"/>
                  <a:gd name="connsiteX4" fmla="*/ 7766 w 18342"/>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9">
                    <a:moveTo>
                      <a:pt x="7766" y="109"/>
                    </a:moveTo>
                    <a:cubicBezTo>
                      <a:pt x="2742" y="886"/>
                      <a:pt x="-667" y="5551"/>
                      <a:pt x="110" y="10575"/>
                    </a:cubicBezTo>
                    <a:cubicBezTo>
                      <a:pt x="888" y="15599"/>
                      <a:pt x="5553" y="19068"/>
                      <a:pt x="10577" y="18290"/>
                    </a:cubicBezTo>
                    <a:cubicBezTo>
                      <a:pt x="15601" y="17513"/>
                      <a:pt x="19010" y="12848"/>
                      <a:pt x="18232" y="7824"/>
                    </a:cubicBezTo>
                    <a:cubicBezTo>
                      <a:pt x="17455" y="2800"/>
                      <a:pt x="12790" y="-669"/>
                      <a:pt x="7766" y="109"/>
                    </a:cubicBezTo>
                    <a:close/>
                  </a:path>
                </a:pathLst>
              </a:custGeom>
              <a:grpFill/>
              <a:ln w="5978" cap="flat">
                <a:noFill/>
                <a:prstDash val="solid"/>
                <a:miter/>
              </a:ln>
            </p:spPr>
            <p:txBody>
              <a:bodyPr rtlCol="0" anchor="ctr"/>
              <a:lstStyle/>
              <a:p>
                <a:endParaRPr lang="en-GB"/>
              </a:p>
            </p:txBody>
          </p:sp>
        </p:grpSp>
        <p:grpSp>
          <p:nvGrpSpPr>
            <p:cNvPr id="1277" name="Graphic 3">
              <a:extLst>
                <a:ext uri="{FF2B5EF4-FFF2-40B4-BE49-F238E27FC236}">
                  <a16:creationId xmlns:a16="http://schemas.microsoft.com/office/drawing/2014/main" id="{428020DA-694F-4275-ADC6-9B9EC97145E8}"/>
                </a:ext>
              </a:extLst>
            </p:cNvPr>
            <p:cNvGrpSpPr/>
            <p:nvPr/>
          </p:nvGrpSpPr>
          <p:grpSpPr>
            <a:xfrm>
              <a:off x="4121344" y="3689558"/>
              <a:ext cx="96570" cy="30300"/>
              <a:chOff x="4121344" y="3689558"/>
              <a:chExt cx="96570" cy="30300"/>
            </a:xfrm>
            <a:grpFill/>
          </p:grpSpPr>
          <p:sp>
            <p:nvSpPr>
              <p:cNvPr id="1575" name="Vrije vorm: vorm 1574">
                <a:extLst>
                  <a:ext uri="{FF2B5EF4-FFF2-40B4-BE49-F238E27FC236}">
                    <a16:creationId xmlns:a16="http://schemas.microsoft.com/office/drawing/2014/main" id="{61D9492F-3931-4CDF-B66D-7DDCE73CC63A}"/>
                  </a:ext>
                </a:extLst>
              </p:cNvPr>
              <p:cNvSpPr/>
              <p:nvPr/>
            </p:nvSpPr>
            <p:spPr>
              <a:xfrm>
                <a:off x="4129828" y="3697143"/>
                <a:ext cx="79543" cy="15071"/>
              </a:xfrm>
              <a:custGeom>
                <a:avLst/>
                <a:gdLst>
                  <a:gd name="connsiteX0" fmla="*/ 79125 w 79543"/>
                  <a:gd name="connsiteY0" fmla="*/ 0 h 15071"/>
                  <a:gd name="connsiteX1" fmla="*/ 79544 w 79543"/>
                  <a:gd name="connsiteY1" fmla="*/ 3050 h 15071"/>
                  <a:gd name="connsiteX2" fmla="*/ 479 w 79543"/>
                  <a:gd name="connsiteY2" fmla="*/ 15071 h 15071"/>
                  <a:gd name="connsiteX3" fmla="*/ 0 w 79543"/>
                  <a:gd name="connsiteY3" fmla="*/ 12081 h 15071"/>
                </a:gdLst>
                <a:ahLst/>
                <a:cxnLst>
                  <a:cxn ang="0">
                    <a:pos x="connsiteX0" y="connsiteY0"/>
                  </a:cxn>
                  <a:cxn ang="0">
                    <a:pos x="connsiteX1" y="connsiteY1"/>
                  </a:cxn>
                  <a:cxn ang="0">
                    <a:pos x="connsiteX2" y="connsiteY2"/>
                  </a:cxn>
                  <a:cxn ang="0">
                    <a:pos x="connsiteX3" y="connsiteY3"/>
                  </a:cxn>
                </a:cxnLst>
                <a:rect l="l" t="t" r="r" b="b"/>
                <a:pathLst>
                  <a:path w="79543" h="15071">
                    <a:moveTo>
                      <a:pt x="79125" y="0"/>
                    </a:moveTo>
                    <a:lnTo>
                      <a:pt x="79544" y="3050"/>
                    </a:lnTo>
                    <a:lnTo>
                      <a:pt x="479" y="15071"/>
                    </a:lnTo>
                    <a:lnTo>
                      <a:pt x="0" y="12081"/>
                    </a:lnTo>
                    <a:close/>
                  </a:path>
                </a:pathLst>
              </a:custGeom>
              <a:grpFill/>
              <a:ln w="5978" cap="flat">
                <a:noFill/>
                <a:prstDash val="solid"/>
                <a:miter/>
              </a:ln>
            </p:spPr>
            <p:txBody>
              <a:bodyPr rtlCol="0" anchor="ctr"/>
              <a:lstStyle/>
              <a:p>
                <a:endParaRPr lang="en-GB"/>
              </a:p>
            </p:txBody>
          </p:sp>
          <p:sp>
            <p:nvSpPr>
              <p:cNvPr id="1576" name="Vrije vorm: vorm 1575">
                <a:extLst>
                  <a:ext uri="{FF2B5EF4-FFF2-40B4-BE49-F238E27FC236}">
                    <a16:creationId xmlns:a16="http://schemas.microsoft.com/office/drawing/2014/main" id="{243DA4AC-B051-416F-A7E5-9291E7469063}"/>
                  </a:ext>
                </a:extLst>
              </p:cNvPr>
              <p:cNvSpPr/>
              <p:nvPr/>
            </p:nvSpPr>
            <p:spPr>
              <a:xfrm>
                <a:off x="4121344" y="3701459"/>
                <a:ext cx="18341" cy="18399"/>
              </a:xfrm>
              <a:custGeom>
                <a:avLst/>
                <a:gdLst>
                  <a:gd name="connsiteX0" fmla="*/ 10577 w 18341"/>
                  <a:gd name="connsiteY0" fmla="*/ 18290 h 18399"/>
                  <a:gd name="connsiteX1" fmla="*/ 110 w 18341"/>
                  <a:gd name="connsiteY1" fmla="*/ 10575 h 18399"/>
                  <a:gd name="connsiteX2" fmla="*/ 7766 w 18341"/>
                  <a:gd name="connsiteY2" fmla="*/ 109 h 18399"/>
                  <a:gd name="connsiteX3" fmla="*/ 18232 w 18341"/>
                  <a:gd name="connsiteY3" fmla="*/ 7824 h 18399"/>
                  <a:gd name="connsiteX4" fmla="*/ 10577 w 18341"/>
                  <a:gd name="connsiteY4" fmla="*/ 1829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9">
                    <a:moveTo>
                      <a:pt x="10577" y="18290"/>
                    </a:moveTo>
                    <a:cubicBezTo>
                      <a:pt x="5553" y="19068"/>
                      <a:pt x="888" y="15599"/>
                      <a:pt x="110" y="10575"/>
                    </a:cubicBezTo>
                    <a:cubicBezTo>
                      <a:pt x="-667" y="5551"/>
                      <a:pt x="2742" y="827"/>
                      <a:pt x="7766" y="109"/>
                    </a:cubicBezTo>
                    <a:cubicBezTo>
                      <a:pt x="12790" y="-668"/>
                      <a:pt x="17455" y="2800"/>
                      <a:pt x="18232" y="7824"/>
                    </a:cubicBezTo>
                    <a:cubicBezTo>
                      <a:pt x="19010" y="12848"/>
                      <a:pt x="15541" y="17513"/>
                      <a:pt x="10577" y="18290"/>
                    </a:cubicBezTo>
                    <a:close/>
                  </a:path>
                </a:pathLst>
              </a:custGeom>
              <a:grpFill/>
              <a:ln w="5978" cap="flat">
                <a:noFill/>
                <a:prstDash val="solid"/>
                <a:miter/>
              </a:ln>
            </p:spPr>
            <p:txBody>
              <a:bodyPr rtlCol="0" anchor="ctr"/>
              <a:lstStyle/>
              <a:p>
                <a:endParaRPr lang="en-GB"/>
              </a:p>
            </p:txBody>
          </p:sp>
          <p:sp>
            <p:nvSpPr>
              <p:cNvPr id="1577" name="Vrije vorm: vorm 1576">
                <a:extLst>
                  <a:ext uri="{FF2B5EF4-FFF2-40B4-BE49-F238E27FC236}">
                    <a16:creationId xmlns:a16="http://schemas.microsoft.com/office/drawing/2014/main" id="{C9891A63-B4E2-4164-87EB-3000B6056C46}"/>
                  </a:ext>
                </a:extLst>
              </p:cNvPr>
              <p:cNvSpPr/>
              <p:nvPr/>
            </p:nvSpPr>
            <p:spPr>
              <a:xfrm>
                <a:off x="4199572" y="3689558"/>
                <a:ext cx="18342" cy="18385"/>
              </a:xfrm>
              <a:custGeom>
                <a:avLst/>
                <a:gdLst>
                  <a:gd name="connsiteX0" fmla="*/ 10577 w 18342"/>
                  <a:gd name="connsiteY0" fmla="*/ 18290 h 18385"/>
                  <a:gd name="connsiteX1" fmla="*/ 18232 w 18342"/>
                  <a:gd name="connsiteY1" fmla="*/ 7824 h 18385"/>
                  <a:gd name="connsiteX2" fmla="*/ 7766 w 18342"/>
                  <a:gd name="connsiteY2" fmla="*/ 109 h 18385"/>
                  <a:gd name="connsiteX3" fmla="*/ 110 w 18342"/>
                  <a:gd name="connsiteY3" fmla="*/ 10575 h 18385"/>
                  <a:gd name="connsiteX4" fmla="*/ 10577 w 18342"/>
                  <a:gd name="connsiteY4" fmla="*/ 18290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85">
                    <a:moveTo>
                      <a:pt x="10577" y="18290"/>
                    </a:moveTo>
                    <a:cubicBezTo>
                      <a:pt x="15601" y="17513"/>
                      <a:pt x="19009" y="12848"/>
                      <a:pt x="18232" y="7824"/>
                    </a:cubicBezTo>
                    <a:cubicBezTo>
                      <a:pt x="17455" y="2800"/>
                      <a:pt x="12790" y="-669"/>
                      <a:pt x="7766" y="109"/>
                    </a:cubicBezTo>
                    <a:cubicBezTo>
                      <a:pt x="2742" y="886"/>
                      <a:pt x="-667" y="5551"/>
                      <a:pt x="110" y="10575"/>
                    </a:cubicBezTo>
                    <a:cubicBezTo>
                      <a:pt x="888" y="15599"/>
                      <a:pt x="5553" y="19008"/>
                      <a:pt x="10577" y="18290"/>
                    </a:cubicBezTo>
                    <a:close/>
                  </a:path>
                </a:pathLst>
              </a:custGeom>
              <a:grpFill/>
              <a:ln w="5978" cap="flat">
                <a:noFill/>
                <a:prstDash val="solid"/>
                <a:miter/>
              </a:ln>
            </p:spPr>
            <p:txBody>
              <a:bodyPr rtlCol="0" anchor="ctr"/>
              <a:lstStyle/>
              <a:p>
                <a:endParaRPr lang="en-GB"/>
              </a:p>
            </p:txBody>
          </p:sp>
        </p:grpSp>
        <p:grpSp>
          <p:nvGrpSpPr>
            <p:cNvPr id="1278" name="Graphic 3">
              <a:extLst>
                <a:ext uri="{FF2B5EF4-FFF2-40B4-BE49-F238E27FC236}">
                  <a16:creationId xmlns:a16="http://schemas.microsoft.com/office/drawing/2014/main" id="{44B74EBE-109A-4B14-99D0-CBD8B444941B}"/>
                </a:ext>
              </a:extLst>
            </p:cNvPr>
            <p:cNvGrpSpPr/>
            <p:nvPr/>
          </p:nvGrpSpPr>
          <p:grpSpPr>
            <a:xfrm>
              <a:off x="3786541" y="3155954"/>
              <a:ext cx="412057" cy="62256"/>
              <a:chOff x="3786541" y="3155954"/>
              <a:chExt cx="412057" cy="62256"/>
            </a:xfrm>
            <a:grpFill/>
          </p:grpSpPr>
          <p:sp>
            <p:nvSpPr>
              <p:cNvPr id="1572" name="Vrije vorm: vorm 1571">
                <a:extLst>
                  <a:ext uri="{FF2B5EF4-FFF2-40B4-BE49-F238E27FC236}">
                    <a16:creationId xmlns:a16="http://schemas.microsoft.com/office/drawing/2014/main" id="{135F63B6-0C67-492C-BA2A-6E663C48A456}"/>
                  </a:ext>
                </a:extLst>
              </p:cNvPr>
              <p:cNvSpPr/>
              <p:nvPr/>
            </p:nvSpPr>
            <p:spPr>
              <a:xfrm>
                <a:off x="3795146" y="3163543"/>
                <a:ext cx="394907" cy="47068"/>
              </a:xfrm>
              <a:custGeom>
                <a:avLst/>
                <a:gdLst>
                  <a:gd name="connsiteX0" fmla="*/ 394907 w 394907"/>
                  <a:gd name="connsiteY0" fmla="*/ 44018 h 47068"/>
                  <a:gd name="connsiteX1" fmla="*/ 394548 w 394907"/>
                  <a:gd name="connsiteY1" fmla="*/ 47068 h 47068"/>
                  <a:gd name="connsiteX2" fmla="*/ 0 w 394907"/>
                  <a:gd name="connsiteY2" fmla="*/ 3050 h 47068"/>
                  <a:gd name="connsiteX3" fmla="*/ 299 w 394907"/>
                  <a:gd name="connsiteY3" fmla="*/ 0 h 47068"/>
                </a:gdLst>
                <a:ahLst/>
                <a:cxnLst>
                  <a:cxn ang="0">
                    <a:pos x="connsiteX0" y="connsiteY0"/>
                  </a:cxn>
                  <a:cxn ang="0">
                    <a:pos x="connsiteX1" y="connsiteY1"/>
                  </a:cxn>
                  <a:cxn ang="0">
                    <a:pos x="connsiteX2" y="connsiteY2"/>
                  </a:cxn>
                  <a:cxn ang="0">
                    <a:pos x="connsiteX3" y="connsiteY3"/>
                  </a:cxn>
                </a:cxnLst>
                <a:rect l="l" t="t" r="r" b="b"/>
                <a:pathLst>
                  <a:path w="394907" h="47068">
                    <a:moveTo>
                      <a:pt x="394907" y="44018"/>
                    </a:moveTo>
                    <a:lnTo>
                      <a:pt x="394548" y="47068"/>
                    </a:lnTo>
                    <a:lnTo>
                      <a:pt x="0" y="3050"/>
                    </a:lnTo>
                    <a:lnTo>
                      <a:pt x="299" y="0"/>
                    </a:lnTo>
                    <a:close/>
                  </a:path>
                </a:pathLst>
              </a:custGeom>
              <a:grpFill/>
              <a:ln w="5978" cap="flat">
                <a:noFill/>
                <a:prstDash val="solid"/>
                <a:miter/>
              </a:ln>
            </p:spPr>
            <p:txBody>
              <a:bodyPr rtlCol="0" anchor="ctr"/>
              <a:lstStyle/>
              <a:p>
                <a:endParaRPr lang="en-GB"/>
              </a:p>
            </p:txBody>
          </p:sp>
          <p:sp>
            <p:nvSpPr>
              <p:cNvPr id="1573" name="Vrije vorm: vorm 1572">
                <a:extLst>
                  <a:ext uri="{FF2B5EF4-FFF2-40B4-BE49-F238E27FC236}">
                    <a16:creationId xmlns:a16="http://schemas.microsoft.com/office/drawing/2014/main" id="{AD09AE65-A7EC-42CA-8377-404697F12E42}"/>
                  </a:ext>
                </a:extLst>
              </p:cNvPr>
              <p:cNvSpPr/>
              <p:nvPr/>
            </p:nvSpPr>
            <p:spPr>
              <a:xfrm>
                <a:off x="4180252" y="3199793"/>
                <a:ext cx="18346" cy="18417"/>
              </a:xfrm>
              <a:custGeom>
                <a:avLst/>
                <a:gdLst>
                  <a:gd name="connsiteX0" fmla="*/ 10160 w 18346"/>
                  <a:gd name="connsiteY0" fmla="*/ 53 h 18417"/>
                  <a:gd name="connsiteX1" fmla="*/ 18294 w 18346"/>
                  <a:gd name="connsiteY1" fmla="*/ 10220 h 18417"/>
                  <a:gd name="connsiteX2" fmla="*/ 8186 w 18346"/>
                  <a:gd name="connsiteY2" fmla="*/ 18354 h 18417"/>
                  <a:gd name="connsiteX3" fmla="*/ 53 w 18346"/>
                  <a:gd name="connsiteY3" fmla="*/ 8186 h 18417"/>
                  <a:gd name="connsiteX4" fmla="*/ 10160 w 18346"/>
                  <a:gd name="connsiteY4" fmla="*/ 53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7">
                    <a:moveTo>
                      <a:pt x="10160" y="53"/>
                    </a:moveTo>
                    <a:cubicBezTo>
                      <a:pt x="15184" y="591"/>
                      <a:pt x="18832" y="5196"/>
                      <a:pt x="18294" y="10220"/>
                    </a:cubicBezTo>
                    <a:cubicBezTo>
                      <a:pt x="17755" y="15303"/>
                      <a:pt x="13210" y="18952"/>
                      <a:pt x="8186" y="18354"/>
                    </a:cubicBezTo>
                    <a:cubicBezTo>
                      <a:pt x="3163" y="17815"/>
                      <a:pt x="-486" y="13210"/>
                      <a:pt x="53" y="8186"/>
                    </a:cubicBezTo>
                    <a:cubicBezTo>
                      <a:pt x="591" y="3163"/>
                      <a:pt x="5136" y="-486"/>
                      <a:pt x="10160" y="53"/>
                    </a:cubicBezTo>
                    <a:close/>
                  </a:path>
                </a:pathLst>
              </a:custGeom>
              <a:grpFill/>
              <a:ln w="5978" cap="flat">
                <a:noFill/>
                <a:prstDash val="solid"/>
                <a:miter/>
              </a:ln>
            </p:spPr>
            <p:txBody>
              <a:bodyPr rtlCol="0" anchor="ctr"/>
              <a:lstStyle/>
              <a:p>
                <a:endParaRPr lang="en-GB"/>
              </a:p>
            </p:txBody>
          </p:sp>
          <p:sp>
            <p:nvSpPr>
              <p:cNvPr id="1574" name="Vrije vorm: vorm 1573">
                <a:extLst>
                  <a:ext uri="{FF2B5EF4-FFF2-40B4-BE49-F238E27FC236}">
                    <a16:creationId xmlns:a16="http://schemas.microsoft.com/office/drawing/2014/main" id="{18D169E5-2104-473C-B3FD-6F3800A9A069}"/>
                  </a:ext>
                </a:extLst>
              </p:cNvPr>
              <p:cNvSpPr/>
              <p:nvPr/>
            </p:nvSpPr>
            <p:spPr>
              <a:xfrm>
                <a:off x="3786541" y="3155954"/>
                <a:ext cx="18346" cy="18406"/>
              </a:xfrm>
              <a:custGeom>
                <a:avLst/>
                <a:gdLst>
                  <a:gd name="connsiteX0" fmla="*/ 10160 w 18346"/>
                  <a:gd name="connsiteY0" fmla="*/ 53 h 18406"/>
                  <a:gd name="connsiteX1" fmla="*/ 53 w 18346"/>
                  <a:gd name="connsiteY1" fmla="*/ 8187 h 18406"/>
                  <a:gd name="connsiteX2" fmla="*/ 8186 w 18346"/>
                  <a:gd name="connsiteY2" fmla="*/ 18354 h 18406"/>
                  <a:gd name="connsiteX3" fmla="*/ 18294 w 18346"/>
                  <a:gd name="connsiteY3" fmla="*/ 10220 h 18406"/>
                  <a:gd name="connsiteX4" fmla="*/ 10160 w 18346"/>
                  <a:gd name="connsiteY4" fmla="*/ 5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6">
                    <a:moveTo>
                      <a:pt x="10160" y="53"/>
                    </a:moveTo>
                    <a:cubicBezTo>
                      <a:pt x="5136" y="-486"/>
                      <a:pt x="591" y="3163"/>
                      <a:pt x="53" y="8187"/>
                    </a:cubicBezTo>
                    <a:cubicBezTo>
                      <a:pt x="-485" y="13270"/>
                      <a:pt x="3163" y="17815"/>
                      <a:pt x="8186" y="18354"/>
                    </a:cubicBezTo>
                    <a:cubicBezTo>
                      <a:pt x="13210" y="18892"/>
                      <a:pt x="17756" y="15244"/>
                      <a:pt x="18294" y="10220"/>
                    </a:cubicBezTo>
                    <a:cubicBezTo>
                      <a:pt x="18832" y="5136"/>
                      <a:pt x="15184" y="591"/>
                      <a:pt x="10160" y="53"/>
                    </a:cubicBezTo>
                    <a:close/>
                  </a:path>
                </a:pathLst>
              </a:custGeom>
              <a:grpFill/>
              <a:ln w="5978" cap="flat">
                <a:noFill/>
                <a:prstDash val="solid"/>
                <a:miter/>
              </a:ln>
            </p:spPr>
            <p:txBody>
              <a:bodyPr rtlCol="0" anchor="ctr"/>
              <a:lstStyle/>
              <a:p>
                <a:endParaRPr lang="en-GB"/>
              </a:p>
            </p:txBody>
          </p:sp>
        </p:grpSp>
        <p:grpSp>
          <p:nvGrpSpPr>
            <p:cNvPr id="1279" name="Graphic 3">
              <a:extLst>
                <a:ext uri="{FF2B5EF4-FFF2-40B4-BE49-F238E27FC236}">
                  <a16:creationId xmlns:a16="http://schemas.microsoft.com/office/drawing/2014/main" id="{B9435091-6FA4-4A01-9253-B630958003A8}"/>
                </a:ext>
              </a:extLst>
            </p:cNvPr>
            <p:cNvGrpSpPr/>
            <p:nvPr/>
          </p:nvGrpSpPr>
          <p:grpSpPr>
            <a:xfrm>
              <a:off x="4428175" y="4600777"/>
              <a:ext cx="92429" cy="75734"/>
              <a:chOff x="4428175" y="4600777"/>
              <a:chExt cx="92429" cy="75734"/>
            </a:xfrm>
            <a:grpFill/>
          </p:grpSpPr>
          <p:sp>
            <p:nvSpPr>
              <p:cNvPr id="1569" name="Vrije vorm: vorm 1568">
                <a:extLst>
                  <a:ext uri="{FF2B5EF4-FFF2-40B4-BE49-F238E27FC236}">
                    <a16:creationId xmlns:a16="http://schemas.microsoft.com/office/drawing/2014/main" id="{FF02790C-B8B6-4907-B256-9AB55F30DB54}"/>
                  </a:ext>
                </a:extLst>
              </p:cNvPr>
              <p:cNvSpPr/>
              <p:nvPr/>
            </p:nvSpPr>
            <p:spPr>
              <a:xfrm>
                <a:off x="4436041" y="4608545"/>
                <a:ext cx="76672" cy="60225"/>
              </a:xfrm>
              <a:custGeom>
                <a:avLst/>
                <a:gdLst>
                  <a:gd name="connsiteX0" fmla="*/ 76673 w 76672"/>
                  <a:gd name="connsiteY0" fmla="*/ 2392 h 60225"/>
                  <a:gd name="connsiteX1" fmla="*/ 1854 w 76672"/>
                  <a:gd name="connsiteY1" fmla="*/ 60226 h 60225"/>
                  <a:gd name="connsiteX2" fmla="*/ 0 w 76672"/>
                  <a:gd name="connsiteY2" fmla="*/ 57774 h 60225"/>
                  <a:gd name="connsiteX3" fmla="*/ 74819 w 76672"/>
                  <a:gd name="connsiteY3" fmla="*/ 0 h 60225"/>
                </a:gdLst>
                <a:ahLst/>
                <a:cxnLst>
                  <a:cxn ang="0">
                    <a:pos x="connsiteX0" y="connsiteY0"/>
                  </a:cxn>
                  <a:cxn ang="0">
                    <a:pos x="connsiteX1" y="connsiteY1"/>
                  </a:cxn>
                  <a:cxn ang="0">
                    <a:pos x="connsiteX2" y="connsiteY2"/>
                  </a:cxn>
                  <a:cxn ang="0">
                    <a:pos x="connsiteX3" y="connsiteY3"/>
                  </a:cxn>
                </a:cxnLst>
                <a:rect l="l" t="t" r="r" b="b"/>
                <a:pathLst>
                  <a:path w="76672" h="60225">
                    <a:moveTo>
                      <a:pt x="76673" y="2392"/>
                    </a:moveTo>
                    <a:lnTo>
                      <a:pt x="1854" y="60226"/>
                    </a:lnTo>
                    <a:lnTo>
                      <a:pt x="0" y="57774"/>
                    </a:lnTo>
                    <a:lnTo>
                      <a:pt x="74819" y="0"/>
                    </a:lnTo>
                    <a:close/>
                  </a:path>
                </a:pathLst>
              </a:custGeom>
              <a:grpFill/>
              <a:ln w="5978" cap="flat">
                <a:noFill/>
                <a:prstDash val="solid"/>
                <a:miter/>
              </a:ln>
            </p:spPr>
            <p:txBody>
              <a:bodyPr rtlCol="0" anchor="ctr"/>
              <a:lstStyle/>
              <a:p>
                <a:endParaRPr lang="en-GB"/>
              </a:p>
            </p:txBody>
          </p:sp>
          <p:sp>
            <p:nvSpPr>
              <p:cNvPr id="1570" name="Vrije vorm: vorm 1569">
                <a:extLst>
                  <a:ext uri="{FF2B5EF4-FFF2-40B4-BE49-F238E27FC236}">
                    <a16:creationId xmlns:a16="http://schemas.microsoft.com/office/drawing/2014/main" id="{C7CEDB8F-F9FF-40C9-BFC4-51BAD367EBED}"/>
                  </a:ext>
                </a:extLst>
              </p:cNvPr>
              <p:cNvSpPr/>
              <p:nvPr/>
            </p:nvSpPr>
            <p:spPr>
              <a:xfrm>
                <a:off x="4502251" y="4600777"/>
                <a:ext cx="18353" cy="18465"/>
              </a:xfrm>
              <a:custGeom>
                <a:avLst/>
                <a:gdLst>
                  <a:gd name="connsiteX0" fmla="*/ 3585 w 18353"/>
                  <a:gd name="connsiteY0" fmla="*/ 1906 h 18465"/>
                  <a:gd name="connsiteX1" fmla="*/ 16444 w 18353"/>
                  <a:gd name="connsiteY1" fmla="*/ 3641 h 18465"/>
                  <a:gd name="connsiteX2" fmla="*/ 14769 w 18353"/>
                  <a:gd name="connsiteY2" fmla="*/ 16559 h 18465"/>
                  <a:gd name="connsiteX3" fmla="*/ 1910 w 18353"/>
                  <a:gd name="connsiteY3" fmla="*/ 14824 h 18465"/>
                  <a:gd name="connsiteX4" fmla="*/ 3585 w 18353"/>
                  <a:gd name="connsiteY4" fmla="*/ 1906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65">
                    <a:moveTo>
                      <a:pt x="3585" y="1906"/>
                    </a:moveTo>
                    <a:cubicBezTo>
                      <a:pt x="7592" y="-1204"/>
                      <a:pt x="13334" y="-426"/>
                      <a:pt x="16444" y="3641"/>
                    </a:cubicBezTo>
                    <a:cubicBezTo>
                      <a:pt x="19553" y="7648"/>
                      <a:pt x="18776" y="13449"/>
                      <a:pt x="14769" y="16559"/>
                    </a:cubicBezTo>
                    <a:cubicBezTo>
                      <a:pt x="10762" y="19669"/>
                      <a:pt x="5020" y="18892"/>
                      <a:pt x="1910" y="14824"/>
                    </a:cubicBezTo>
                    <a:cubicBezTo>
                      <a:pt x="-1200" y="10817"/>
                      <a:pt x="-422" y="5016"/>
                      <a:pt x="3585" y="1906"/>
                    </a:cubicBezTo>
                    <a:close/>
                  </a:path>
                </a:pathLst>
              </a:custGeom>
              <a:grpFill/>
              <a:ln w="5978" cap="flat">
                <a:noFill/>
                <a:prstDash val="solid"/>
                <a:miter/>
              </a:ln>
            </p:spPr>
            <p:txBody>
              <a:bodyPr rtlCol="0" anchor="ctr"/>
              <a:lstStyle/>
              <a:p>
                <a:endParaRPr lang="en-GB"/>
              </a:p>
            </p:txBody>
          </p:sp>
          <p:sp>
            <p:nvSpPr>
              <p:cNvPr id="1571" name="Vrije vorm: vorm 1570">
                <a:extLst>
                  <a:ext uri="{FF2B5EF4-FFF2-40B4-BE49-F238E27FC236}">
                    <a16:creationId xmlns:a16="http://schemas.microsoft.com/office/drawing/2014/main" id="{0816DC2E-1F00-4C27-BEFA-897C83D13941}"/>
                  </a:ext>
                </a:extLst>
              </p:cNvPr>
              <p:cNvSpPr/>
              <p:nvPr/>
            </p:nvSpPr>
            <p:spPr>
              <a:xfrm>
                <a:off x="4428175" y="4658073"/>
                <a:ext cx="18303" cy="18439"/>
              </a:xfrm>
              <a:custGeom>
                <a:avLst/>
                <a:gdLst>
                  <a:gd name="connsiteX0" fmla="*/ 3559 w 18303"/>
                  <a:gd name="connsiteY0" fmla="*/ 1906 h 18439"/>
                  <a:gd name="connsiteX1" fmla="*/ 1885 w 18303"/>
                  <a:gd name="connsiteY1" fmla="*/ 14824 h 18439"/>
                  <a:gd name="connsiteX2" fmla="*/ 14743 w 18303"/>
                  <a:gd name="connsiteY2" fmla="*/ 16559 h 18439"/>
                  <a:gd name="connsiteX3" fmla="*/ 16418 w 18303"/>
                  <a:gd name="connsiteY3" fmla="*/ 3641 h 18439"/>
                  <a:gd name="connsiteX4" fmla="*/ 3559 w 18303"/>
                  <a:gd name="connsiteY4" fmla="*/ 1906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39">
                    <a:moveTo>
                      <a:pt x="3559" y="1906"/>
                    </a:moveTo>
                    <a:cubicBezTo>
                      <a:pt x="-448" y="5016"/>
                      <a:pt x="-1165" y="10758"/>
                      <a:pt x="1885" y="14824"/>
                    </a:cubicBezTo>
                    <a:cubicBezTo>
                      <a:pt x="4995" y="18891"/>
                      <a:pt x="10736" y="19609"/>
                      <a:pt x="14743" y="16559"/>
                    </a:cubicBezTo>
                    <a:cubicBezTo>
                      <a:pt x="18751" y="13449"/>
                      <a:pt x="19468" y="7707"/>
                      <a:pt x="16418" y="3641"/>
                    </a:cubicBezTo>
                    <a:cubicBezTo>
                      <a:pt x="13308" y="-426"/>
                      <a:pt x="7566" y="-1204"/>
                      <a:pt x="3559" y="1906"/>
                    </a:cubicBezTo>
                    <a:close/>
                  </a:path>
                </a:pathLst>
              </a:custGeom>
              <a:grpFill/>
              <a:ln w="5978" cap="flat">
                <a:noFill/>
                <a:prstDash val="solid"/>
                <a:miter/>
              </a:ln>
            </p:spPr>
            <p:txBody>
              <a:bodyPr rtlCol="0" anchor="ctr"/>
              <a:lstStyle/>
              <a:p>
                <a:endParaRPr lang="en-GB"/>
              </a:p>
            </p:txBody>
          </p:sp>
        </p:grpSp>
        <p:grpSp>
          <p:nvGrpSpPr>
            <p:cNvPr id="1280" name="Graphic 3">
              <a:extLst>
                <a:ext uri="{FF2B5EF4-FFF2-40B4-BE49-F238E27FC236}">
                  <a16:creationId xmlns:a16="http://schemas.microsoft.com/office/drawing/2014/main" id="{34E1AA77-154E-40B8-9E68-6690A8CEF9B2}"/>
                </a:ext>
              </a:extLst>
            </p:cNvPr>
            <p:cNvGrpSpPr/>
            <p:nvPr/>
          </p:nvGrpSpPr>
          <p:grpSpPr>
            <a:xfrm>
              <a:off x="4205323" y="4417303"/>
              <a:ext cx="499771" cy="324830"/>
              <a:chOff x="4205323" y="4417303"/>
              <a:chExt cx="499771" cy="324830"/>
            </a:xfrm>
            <a:grpFill/>
          </p:grpSpPr>
          <p:sp>
            <p:nvSpPr>
              <p:cNvPr id="1566" name="Vrije vorm: vorm 1565">
                <a:extLst>
                  <a:ext uri="{FF2B5EF4-FFF2-40B4-BE49-F238E27FC236}">
                    <a16:creationId xmlns:a16="http://schemas.microsoft.com/office/drawing/2014/main" id="{C76FCA43-23DA-4CDB-811D-2595A0BA3E6A}"/>
                  </a:ext>
                </a:extLst>
              </p:cNvPr>
              <p:cNvSpPr/>
              <p:nvPr/>
            </p:nvSpPr>
            <p:spPr>
              <a:xfrm>
                <a:off x="4213259" y="4424936"/>
                <a:ext cx="483900" cy="309562"/>
              </a:xfrm>
              <a:custGeom>
                <a:avLst/>
                <a:gdLst>
                  <a:gd name="connsiteX0" fmla="*/ 483900 w 483900"/>
                  <a:gd name="connsiteY0" fmla="*/ 2572 h 309562"/>
                  <a:gd name="connsiteX1" fmla="*/ 1615 w 483900"/>
                  <a:gd name="connsiteY1" fmla="*/ 309562 h 309562"/>
                  <a:gd name="connsiteX2" fmla="*/ 0 w 483900"/>
                  <a:gd name="connsiteY2" fmla="*/ 306931 h 309562"/>
                  <a:gd name="connsiteX3" fmla="*/ 482226 w 483900"/>
                  <a:gd name="connsiteY3" fmla="*/ 0 h 309562"/>
                </a:gdLst>
                <a:ahLst/>
                <a:cxnLst>
                  <a:cxn ang="0">
                    <a:pos x="connsiteX0" y="connsiteY0"/>
                  </a:cxn>
                  <a:cxn ang="0">
                    <a:pos x="connsiteX1" y="connsiteY1"/>
                  </a:cxn>
                  <a:cxn ang="0">
                    <a:pos x="connsiteX2" y="connsiteY2"/>
                  </a:cxn>
                  <a:cxn ang="0">
                    <a:pos x="connsiteX3" y="connsiteY3"/>
                  </a:cxn>
                </a:cxnLst>
                <a:rect l="l" t="t" r="r" b="b"/>
                <a:pathLst>
                  <a:path w="483900" h="309562">
                    <a:moveTo>
                      <a:pt x="483900" y="2572"/>
                    </a:moveTo>
                    <a:lnTo>
                      <a:pt x="1615" y="309562"/>
                    </a:lnTo>
                    <a:lnTo>
                      <a:pt x="0" y="306931"/>
                    </a:lnTo>
                    <a:lnTo>
                      <a:pt x="482226" y="0"/>
                    </a:lnTo>
                    <a:close/>
                  </a:path>
                </a:pathLst>
              </a:custGeom>
              <a:grpFill/>
              <a:ln w="5978" cap="flat">
                <a:noFill/>
                <a:prstDash val="solid"/>
                <a:miter/>
              </a:ln>
            </p:spPr>
            <p:txBody>
              <a:bodyPr rtlCol="0" anchor="ctr"/>
              <a:lstStyle/>
              <a:p>
                <a:endParaRPr lang="en-GB"/>
              </a:p>
            </p:txBody>
          </p:sp>
          <p:sp>
            <p:nvSpPr>
              <p:cNvPr id="1567" name="Vrije vorm: vorm 1566">
                <a:extLst>
                  <a:ext uri="{FF2B5EF4-FFF2-40B4-BE49-F238E27FC236}">
                    <a16:creationId xmlns:a16="http://schemas.microsoft.com/office/drawing/2014/main" id="{0A38960D-EF72-4F99-BC62-DB8E5CD90189}"/>
                  </a:ext>
                </a:extLst>
              </p:cNvPr>
              <p:cNvSpPr/>
              <p:nvPr/>
            </p:nvSpPr>
            <p:spPr>
              <a:xfrm>
                <a:off x="4686771" y="4417303"/>
                <a:ext cx="18323" cy="18437"/>
              </a:xfrm>
              <a:custGeom>
                <a:avLst/>
                <a:gdLst>
                  <a:gd name="connsiteX0" fmla="*/ 4228 w 18323"/>
                  <a:gd name="connsiteY0" fmla="*/ 1414 h 18437"/>
                  <a:gd name="connsiteX1" fmla="*/ 16907 w 18323"/>
                  <a:gd name="connsiteY1" fmla="*/ 4285 h 18437"/>
                  <a:gd name="connsiteX2" fmla="*/ 14096 w 18323"/>
                  <a:gd name="connsiteY2" fmla="*/ 17024 h 18437"/>
                  <a:gd name="connsiteX3" fmla="*/ 1417 w 18323"/>
                  <a:gd name="connsiteY3" fmla="*/ 14153 h 18437"/>
                  <a:gd name="connsiteX4" fmla="*/ 4228 w 18323"/>
                  <a:gd name="connsiteY4" fmla="*/ 141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7">
                    <a:moveTo>
                      <a:pt x="4228" y="1414"/>
                    </a:moveTo>
                    <a:cubicBezTo>
                      <a:pt x="8474" y="-1277"/>
                      <a:pt x="14156" y="-21"/>
                      <a:pt x="16907" y="4285"/>
                    </a:cubicBezTo>
                    <a:cubicBezTo>
                      <a:pt x="19598" y="8591"/>
                      <a:pt x="18342" y="14273"/>
                      <a:pt x="14096" y="17024"/>
                    </a:cubicBezTo>
                    <a:cubicBezTo>
                      <a:pt x="9850" y="19715"/>
                      <a:pt x="4168" y="18459"/>
                      <a:pt x="1417" y="14153"/>
                    </a:cubicBezTo>
                    <a:cubicBezTo>
                      <a:pt x="-1275" y="9787"/>
                      <a:pt x="-19" y="4105"/>
                      <a:pt x="4228" y="1414"/>
                    </a:cubicBezTo>
                    <a:close/>
                  </a:path>
                </a:pathLst>
              </a:custGeom>
              <a:grpFill/>
              <a:ln w="5978" cap="flat">
                <a:noFill/>
                <a:prstDash val="solid"/>
                <a:miter/>
              </a:ln>
            </p:spPr>
            <p:txBody>
              <a:bodyPr rtlCol="0" anchor="ctr"/>
              <a:lstStyle/>
              <a:p>
                <a:endParaRPr lang="en-GB"/>
              </a:p>
            </p:txBody>
          </p:sp>
          <p:sp>
            <p:nvSpPr>
              <p:cNvPr id="1568" name="Vrije vorm: vorm 1567">
                <a:extLst>
                  <a:ext uri="{FF2B5EF4-FFF2-40B4-BE49-F238E27FC236}">
                    <a16:creationId xmlns:a16="http://schemas.microsoft.com/office/drawing/2014/main" id="{E344B305-F151-4C47-8959-A7EB35BC70B6}"/>
                  </a:ext>
                </a:extLst>
              </p:cNvPr>
              <p:cNvSpPr/>
              <p:nvPr/>
            </p:nvSpPr>
            <p:spPr>
              <a:xfrm>
                <a:off x="4205323" y="4723726"/>
                <a:ext cx="18323" cy="18407"/>
              </a:xfrm>
              <a:custGeom>
                <a:avLst/>
                <a:gdLst>
                  <a:gd name="connsiteX0" fmla="*/ 4228 w 18323"/>
                  <a:gd name="connsiteY0" fmla="*/ 1443 h 18407"/>
                  <a:gd name="connsiteX1" fmla="*/ 1417 w 18323"/>
                  <a:gd name="connsiteY1" fmla="*/ 14122 h 18407"/>
                  <a:gd name="connsiteX2" fmla="*/ 14096 w 18323"/>
                  <a:gd name="connsiteY2" fmla="*/ 16993 h 18407"/>
                  <a:gd name="connsiteX3" fmla="*/ 16907 w 18323"/>
                  <a:gd name="connsiteY3" fmla="*/ 4254 h 18407"/>
                  <a:gd name="connsiteX4" fmla="*/ 4228 w 18323"/>
                  <a:gd name="connsiteY4" fmla="*/ 144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07">
                    <a:moveTo>
                      <a:pt x="4228" y="1443"/>
                    </a:moveTo>
                    <a:cubicBezTo>
                      <a:pt x="-19" y="4134"/>
                      <a:pt x="-1275" y="9876"/>
                      <a:pt x="1417" y="14122"/>
                    </a:cubicBezTo>
                    <a:cubicBezTo>
                      <a:pt x="4108" y="18428"/>
                      <a:pt x="9790" y="19684"/>
                      <a:pt x="14096" y="16993"/>
                    </a:cubicBezTo>
                    <a:cubicBezTo>
                      <a:pt x="18342" y="14302"/>
                      <a:pt x="19598" y="8560"/>
                      <a:pt x="16907" y="4254"/>
                    </a:cubicBezTo>
                    <a:cubicBezTo>
                      <a:pt x="14156" y="8"/>
                      <a:pt x="8474" y="-1308"/>
                      <a:pt x="4228" y="1443"/>
                    </a:cubicBezTo>
                    <a:close/>
                  </a:path>
                </a:pathLst>
              </a:custGeom>
              <a:grpFill/>
              <a:ln w="5978" cap="flat">
                <a:noFill/>
                <a:prstDash val="solid"/>
                <a:miter/>
              </a:ln>
            </p:spPr>
            <p:txBody>
              <a:bodyPr rtlCol="0" anchor="ctr"/>
              <a:lstStyle/>
              <a:p>
                <a:endParaRPr lang="en-GB"/>
              </a:p>
            </p:txBody>
          </p:sp>
        </p:grpSp>
        <p:grpSp>
          <p:nvGrpSpPr>
            <p:cNvPr id="1281" name="Graphic 3">
              <a:extLst>
                <a:ext uri="{FF2B5EF4-FFF2-40B4-BE49-F238E27FC236}">
                  <a16:creationId xmlns:a16="http://schemas.microsoft.com/office/drawing/2014/main" id="{D9EAC009-1DEB-4AD2-86E3-58E140601DCC}"/>
                </a:ext>
              </a:extLst>
            </p:cNvPr>
            <p:cNvGrpSpPr/>
            <p:nvPr/>
          </p:nvGrpSpPr>
          <p:grpSpPr>
            <a:xfrm>
              <a:off x="4416786" y="4600803"/>
              <a:ext cx="103792" cy="84466"/>
              <a:chOff x="4416786" y="4600803"/>
              <a:chExt cx="103792" cy="84466"/>
            </a:xfrm>
            <a:grpFill/>
          </p:grpSpPr>
          <p:sp>
            <p:nvSpPr>
              <p:cNvPr id="1563" name="Vrije vorm: vorm 1562">
                <a:extLst>
                  <a:ext uri="{FF2B5EF4-FFF2-40B4-BE49-F238E27FC236}">
                    <a16:creationId xmlns:a16="http://schemas.microsoft.com/office/drawing/2014/main" id="{CFDCABD1-DA43-4FAC-90AD-0870A9C3FB45}"/>
                  </a:ext>
                </a:extLst>
              </p:cNvPr>
              <p:cNvSpPr/>
              <p:nvPr/>
            </p:nvSpPr>
            <p:spPr>
              <a:xfrm>
                <a:off x="4424677" y="4608545"/>
                <a:ext cx="88036" cy="69017"/>
              </a:xfrm>
              <a:custGeom>
                <a:avLst/>
                <a:gdLst>
                  <a:gd name="connsiteX0" fmla="*/ 88036 w 88036"/>
                  <a:gd name="connsiteY0" fmla="*/ 2392 h 69017"/>
                  <a:gd name="connsiteX1" fmla="*/ 1854 w 88036"/>
                  <a:gd name="connsiteY1" fmla="*/ 69018 h 69017"/>
                  <a:gd name="connsiteX2" fmla="*/ 0 w 88036"/>
                  <a:gd name="connsiteY2" fmla="*/ 66565 h 69017"/>
                  <a:gd name="connsiteX3" fmla="*/ 86182 w 88036"/>
                  <a:gd name="connsiteY3" fmla="*/ 0 h 69017"/>
                </a:gdLst>
                <a:ahLst/>
                <a:cxnLst>
                  <a:cxn ang="0">
                    <a:pos x="connsiteX0" y="connsiteY0"/>
                  </a:cxn>
                  <a:cxn ang="0">
                    <a:pos x="connsiteX1" y="connsiteY1"/>
                  </a:cxn>
                  <a:cxn ang="0">
                    <a:pos x="connsiteX2" y="connsiteY2"/>
                  </a:cxn>
                  <a:cxn ang="0">
                    <a:pos x="connsiteX3" y="connsiteY3"/>
                  </a:cxn>
                </a:cxnLst>
                <a:rect l="l" t="t" r="r" b="b"/>
                <a:pathLst>
                  <a:path w="88036" h="69017">
                    <a:moveTo>
                      <a:pt x="88036" y="2392"/>
                    </a:moveTo>
                    <a:lnTo>
                      <a:pt x="1854" y="69018"/>
                    </a:lnTo>
                    <a:lnTo>
                      <a:pt x="0" y="66565"/>
                    </a:lnTo>
                    <a:lnTo>
                      <a:pt x="86182" y="0"/>
                    </a:lnTo>
                    <a:close/>
                  </a:path>
                </a:pathLst>
              </a:custGeom>
              <a:grpFill/>
              <a:ln w="5978" cap="flat">
                <a:noFill/>
                <a:prstDash val="solid"/>
                <a:miter/>
              </a:ln>
            </p:spPr>
            <p:txBody>
              <a:bodyPr rtlCol="0" anchor="ctr"/>
              <a:lstStyle/>
              <a:p>
                <a:endParaRPr lang="en-GB"/>
              </a:p>
            </p:txBody>
          </p:sp>
          <p:sp>
            <p:nvSpPr>
              <p:cNvPr id="1564" name="Vrije vorm: vorm 1563">
                <a:extLst>
                  <a:ext uri="{FF2B5EF4-FFF2-40B4-BE49-F238E27FC236}">
                    <a16:creationId xmlns:a16="http://schemas.microsoft.com/office/drawing/2014/main" id="{CE887F9F-849E-400B-BA22-28BDA80F7DA4}"/>
                  </a:ext>
                </a:extLst>
              </p:cNvPr>
              <p:cNvSpPr/>
              <p:nvPr/>
            </p:nvSpPr>
            <p:spPr>
              <a:xfrm>
                <a:off x="4416786" y="4666805"/>
                <a:ext cx="18328" cy="18465"/>
              </a:xfrm>
              <a:custGeom>
                <a:avLst/>
                <a:gdLst>
                  <a:gd name="connsiteX0" fmla="*/ 14769 w 18328"/>
                  <a:gd name="connsiteY0" fmla="*/ 16559 h 18465"/>
                  <a:gd name="connsiteX1" fmla="*/ 1910 w 18328"/>
                  <a:gd name="connsiteY1" fmla="*/ 14825 h 18465"/>
                  <a:gd name="connsiteX2" fmla="*/ 3585 w 18328"/>
                  <a:gd name="connsiteY2" fmla="*/ 1906 h 18465"/>
                  <a:gd name="connsiteX3" fmla="*/ 16444 w 18328"/>
                  <a:gd name="connsiteY3" fmla="*/ 3641 h 18465"/>
                  <a:gd name="connsiteX4" fmla="*/ 14769 w 18328"/>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65">
                    <a:moveTo>
                      <a:pt x="14769" y="16559"/>
                    </a:moveTo>
                    <a:cubicBezTo>
                      <a:pt x="10762" y="19669"/>
                      <a:pt x="5021" y="18891"/>
                      <a:pt x="1910" y="14825"/>
                    </a:cubicBezTo>
                    <a:cubicBezTo>
                      <a:pt x="-1200" y="10758"/>
                      <a:pt x="-422" y="5016"/>
                      <a:pt x="3585" y="1906"/>
                    </a:cubicBezTo>
                    <a:cubicBezTo>
                      <a:pt x="7592" y="-1204"/>
                      <a:pt x="13334" y="-426"/>
                      <a:pt x="16444" y="3641"/>
                    </a:cubicBezTo>
                    <a:cubicBezTo>
                      <a:pt x="19494" y="7707"/>
                      <a:pt x="18776" y="13509"/>
                      <a:pt x="14769" y="16559"/>
                    </a:cubicBezTo>
                    <a:close/>
                  </a:path>
                </a:pathLst>
              </a:custGeom>
              <a:grpFill/>
              <a:ln w="5978" cap="flat">
                <a:noFill/>
                <a:prstDash val="solid"/>
                <a:miter/>
              </a:ln>
            </p:spPr>
            <p:txBody>
              <a:bodyPr rtlCol="0" anchor="ctr"/>
              <a:lstStyle/>
              <a:p>
                <a:endParaRPr lang="en-GB"/>
              </a:p>
            </p:txBody>
          </p:sp>
          <p:sp>
            <p:nvSpPr>
              <p:cNvPr id="1565" name="Vrije vorm: vorm 1564">
                <a:extLst>
                  <a:ext uri="{FF2B5EF4-FFF2-40B4-BE49-F238E27FC236}">
                    <a16:creationId xmlns:a16="http://schemas.microsoft.com/office/drawing/2014/main" id="{96D38472-A82C-4F80-BA16-3292CF4690BA}"/>
                  </a:ext>
                </a:extLst>
              </p:cNvPr>
              <p:cNvSpPr/>
              <p:nvPr/>
            </p:nvSpPr>
            <p:spPr>
              <a:xfrm>
                <a:off x="4502276" y="4600803"/>
                <a:ext cx="18302" cy="18439"/>
              </a:xfrm>
              <a:custGeom>
                <a:avLst/>
                <a:gdLst>
                  <a:gd name="connsiteX0" fmla="*/ 14743 w 18302"/>
                  <a:gd name="connsiteY0" fmla="*/ 16534 h 18439"/>
                  <a:gd name="connsiteX1" fmla="*/ 16418 w 18302"/>
                  <a:gd name="connsiteY1" fmla="*/ 3615 h 18439"/>
                  <a:gd name="connsiteX2" fmla="*/ 3559 w 18302"/>
                  <a:gd name="connsiteY2" fmla="*/ 1881 h 18439"/>
                  <a:gd name="connsiteX3" fmla="*/ 1885 w 18302"/>
                  <a:gd name="connsiteY3" fmla="*/ 14799 h 18439"/>
                  <a:gd name="connsiteX4" fmla="*/ 14743 w 18302"/>
                  <a:gd name="connsiteY4" fmla="*/ 165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39">
                    <a:moveTo>
                      <a:pt x="14743" y="16534"/>
                    </a:moveTo>
                    <a:cubicBezTo>
                      <a:pt x="18750" y="13423"/>
                      <a:pt x="19468" y="7682"/>
                      <a:pt x="16418" y="3615"/>
                    </a:cubicBezTo>
                    <a:cubicBezTo>
                      <a:pt x="13308" y="-452"/>
                      <a:pt x="7566" y="-1170"/>
                      <a:pt x="3559" y="1881"/>
                    </a:cubicBezTo>
                    <a:cubicBezTo>
                      <a:pt x="-448" y="4991"/>
                      <a:pt x="-1165" y="10732"/>
                      <a:pt x="1885" y="14799"/>
                    </a:cubicBezTo>
                    <a:cubicBezTo>
                      <a:pt x="4995" y="18866"/>
                      <a:pt x="10736" y="19643"/>
                      <a:pt x="14743" y="16534"/>
                    </a:cubicBezTo>
                    <a:close/>
                  </a:path>
                </a:pathLst>
              </a:custGeom>
              <a:grpFill/>
              <a:ln w="5978" cap="flat">
                <a:noFill/>
                <a:prstDash val="solid"/>
                <a:miter/>
              </a:ln>
            </p:spPr>
            <p:txBody>
              <a:bodyPr rtlCol="0" anchor="ctr"/>
              <a:lstStyle/>
              <a:p>
                <a:endParaRPr lang="en-GB"/>
              </a:p>
            </p:txBody>
          </p:sp>
        </p:grpSp>
        <p:grpSp>
          <p:nvGrpSpPr>
            <p:cNvPr id="1282" name="Graphic 3">
              <a:extLst>
                <a:ext uri="{FF2B5EF4-FFF2-40B4-BE49-F238E27FC236}">
                  <a16:creationId xmlns:a16="http://schemas.microsoft.com/office/drawing/2014/main" id="{8D88358D-1DD1-4748-945E-FD77ACC471DD}"/>
                </a:ext>
              </a:extLst>
            </p:cNvPr>
            <p:cNvGrpSpPr/>
            <p:nvPr/>
          </p:nvGrpSpPr>
          <p:grpSpPr>
            <a:xfrm>
              <a:off x="4135603" y="3728114"/>
              <a:ext cx="64446" cy="26332"/>
              <a:chOff x="4135603" y="3728114"/>
              <a:chExt cx="64446" cy="26332"/>
            </a:xfrm>
            <a:grpFill/>
          </p:grpSpPr>
          <p:sp>
            <p:nvSpPr>
              <p:cNvPr id="1560" name="Vrije vorm: vorm 1559">
                <a:extLst>
                  <a:ext uri="{FF2B5EF4-FFF2-40B4-BE49-F238E27FC236}">
                    <a16:creationId xmlns:a16="http://schemas.microsoft.com/office/drawing/2014/main" id="{42EB1BC7-A70F-464C-8F0A-36BE12F5EC91}"/>
                  </a:ext>
                </a:extLst>
              </p:cNvPr>
              <p:cNvSpPr/>
              <p:nvPr/>
            </p:nvSpPr>
            <p:spPr>
              <a:xfrm>
                <a:off x="4144062" y="3735778"/>
                <a:ext cx="47486" cy="11064"/>
              </a:xfrm>
              <a:custGeom>
                <a:avLst/>
                <a:gdLst>
                  <a:gd name="connsiteX0" fmla="*/ 46949 w 47486"/>
                  <a:gd name="connsiteY0" fmla="*/ 0 h 11064"/>
                  <a:gd name="connsiteX1" fmla="*/ 47487 w 47486"/>
                  <a:gd name="connsiteY1" fmla="*/ 2990 h 11064"/>
                  <a:gd name="connsiteX2" fmla="*/ 479 w 47486"/>
                  <a:gd name="connsiteY2" fmla="*/ 11064 h 11064"/>
                  <a:gd name="connsiteX3" fmla="*/ 0 w 47486"/>
                  <a:gd name="connsiteY3" fmla="*/ 8074 h 11064"/>
                </a:gdLst>
                <a:ahLst/>
                <a:cxnLst>
                  <a:cxn ang="0">
                    <a:pos x="connsiteX0" y="connsiteY0"/>
                  </a:cxn>
                  <a:cxn ang="0">
                    <a:pos x="connsiteX1" y="connsiteY1"/>
                  </a:cxn>
                  <a:cxn ang="0">
                    <a:pos x="connsiteX2" y="connsiteY2"/>
                  </a:cxn>
                  <a:cxn ang="0">
                    <a:pos x="connsiteX3" y="connsiteY3"/>
                  </a:cxn>
                </a:cxnLst>
                <a:rect l="l" t="t" r="r" b="b"/>
                <a:pathLst>
                  <a:path w="47486" h="11064">
                    <a:moveTo>
                      <a:pt x="46949" y="0"/>
                    </a:moveTo>
                    <a:lnTo>
                      <a:pt x="47487" y="2990"/>
                    </a:lnTo>
                    <a:lnTo>
                      <a:pt x="479" y="11064"/>
                    </a:lnTo>
                    <a:lnTo>
                      <a:pt x="0" y="8074"/>
                    </a:lnTo>
                    <a:close/>
                  </a:path>
                </a:pathLst>
              </a:custGeom>
              <a:grpFill/>
              <a:ln w="5978" cap="flat">
                <a:noFill/>
                <a:prstDash val="solid"/>
                <a:miter/>
              </a:ln>
            </p:spPr>
            <p:txBody>
              <a:bodyPr rtlCol="0" anchor="ctr"/>
              <a:lstStyle/>
              <a:p>
                <a:endParaRPr lang="en-GB"/>
              </a:p>
            </p:txBody>
          </p:sp>
          <p:sp>
            <p:nvSpPr>
              <p:cNvPr id="1561" name="Vrije vorm: vorm 1560">
                <a:extLst>
                  <a:ext uri="{FF2B5EF4-FFF2-40B4-BE49-F238E27FC236}">
                    <a16:creationId xmlns:a16="http://schemas.microsoft.com/office/drawing/2014/main" id="{7D824C09-8A87-43C6-B751-703F5C1C5AB7}"/>
                  </a:ext>
                </a:extLst>
              </p:cNvPr>
              <p:cNvSpPr/>
              <p:nvPr/>
            </p:nvSpPr>
            <p:spPr>
              <a:xfrm>
                <a:off x="4135603" y="3736009"/>
                <a:ext cx="18335" cy="18437"/>
              </a:xfrm>
              <a:custGeom>
                <a:avLst/>
                <a:gdLst>
                  <a:gd name="connsiteX0" fmla="*/ 10731 w 18335"/>
                  <a:gd name="connsiteY0" fmla="*/ 18310 h 18437"/>
                  <a:gd name="connsiteX1" fmla="*/ 145 w 18335"/>
                  <a:gd name="connsiteY1" fmla="*/ 10774 h 18437"/>
                  <a:gd name="connsiteX2" fmla="*/ 7621 w 18335"/>
                  <a:gd name="connsiteY2" fmla="*/ 128 h 18437"/>
                  <a:gd name="connsiteX3" fmla="*/ 18207 w 18335"/>
                  <a:gd name="connsiteY3" fmla="*/ 7664 h 18437"/>
                  <a:gd name="connsiteX4" fmla="*/ 10731 w 18335"/>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7">
                    <a:moveTo>
                      <a:pt x="10731" y="18310"/>
                    </a:moveTo>
                    <a:cubicBezTo>
                      <a:pt x="5767" y="19147"/>
                      <a:pt x="983" y="15798"/>
                      <a:pt x="145" y="10774"/>
                    </a:cubicBezTo>
                    <a:cubicBezTo>
                      <a:pt x="-752" y="5750"/>
                      <a:pt x="2597" y="1025"/>
                      <a:pt x="7621" y="128"/>
                    </a:cubicBezTo>
                    <a:cubicBezTo>
                      <a:pt x="12585" y="-709"/>
                      <a:pt x="17370" y="2640"/>
                      <a:pt x="18207" y="7664"/>
                    </a:cubicBezTo>
                    <a:cubicBezTo>
                      <a:pt x="19044" y="12688"/>
                      <a:pt x="15695" y="17472"/>
                      <a:pt x="10731" y="18310"/>
                    </a:cubicBezTo>
                    <a:close/>
                  </a:path>
                </a:pathLst>
              </a:custGeom>
              <a:grpFill/>
              <a:ln w="5978" cap="flat">
                <a:noFill/>
                <a:prstDash val="solid"/>
                <a:miter/>
              </a:ln>
            </p:spPr>
            <p:txBody>
              <a:bodyPr rtlCol="0" anchor="ctr"/>
              <a:lstStyle/>
              <a:p>
                <a:endParaRPr lang="en-GB"/>
              </a:p>
            </p:txBody>
          </p:sp>
          <p:sp>
            <p:nvSpPr>
              <p:cNvPr id="1562" name="Vrije vorm: vorm 1561">
                <a:extLst>
                  <a:ext uri="{FF2B5EF4-FFF2-40B4-BE49-F238E27FC236}">
                    <a16:creationId xmlns:a16="http://schemas.microsoft.com/office/drawing/2014/main" id="{4B857FE9-861C-486C-9EB9-3424EB68DE65}"/>
                  </a:ext>
                </a:extLst>
              </p:cNvPr>
              <p:cNvSpPr/>
              <p:nvPr/>
            </p:nvSpPr>
            <p:spPr>
              <a:xfrm>
                <a:off x="4181732" y="3728114"/>
                <a:ext cx="18318" cy="18437"/>
              </a:xfrm>
              <a:custGeom>
                <a:avLst/>
                <a:gdLst>
                  <a:gd name="connsiteX0" fmla="*/ 10714 w 18318"/>
                  <a:gd name="connsiteY0" fmla="*/ 18310 h 18437"/>
                  <a:gd name="connsiteX1" fmla="*/ 18190 w 18318"/>
                  <a:gd name="connsiteY1" fmla="*/ 7664 h 18437"/>
                  <a:gd name="connsiteX2" fmla="*/ 7604 w 18318"/>
                  <a:gd name="connsiteY2" fmla="*/ 128 h 18437"/>
                  <a:gd name="connsiteX3" fmla="*/ 128 w 18318"/>
                  <a:gd name="connsiteY3" fmla="*/ 10774 h 18437"/>
                  <a:gd name="connsiteX4" fmla="*/ 10714 w 18318"/>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7">
                    <a:moveTo>
                      <a:pt x="10714" y="18310"/>
                    </a:moveTo>
                    <a:cubicBezTo>
                      <a:pt x="15678" y="17472"/>
                      <a:pt x="19027" y="12688"/>
                      <a:pt x="18190" y="7664"/>
                    </a:cubicBezTo>
                    <a:cubicBezTo>
                      <a:pt x="17293" y="2640"/>
                      <a:pt x="12568" y="-709"/>
                      <a:pt x="7604" y="128"/>
                    </a:cubicBezTo>
                    <a:cubicBezTo>
                      <a:pt x="2640" y="965"/>
                      <a:pt x="-709" y="5750"/>
                      <a:pt x="128" y="10774"/>
                    </a:cubicBezTo>
                    <a:cubicBezTo>
                      <a:pt x="965" y="15798"/>
                      <a:pt x="5690" y="19147"/>
                      <a:pt x="10714" y="18310"/>
                    </a:cubicBezTo>
                    <a:close/>
                  </a:path>
                </a:pathLst>
              </a:custGeom>
              <a:grpFill/>
              <a:ln w="5978" cap="flat">
                <a:noFill/>
                <a:prstDash val="solid"/>
                <a:miter/>
              </a:ln>
            </p:spPr>
            <p:txBody>
              <a:bodyPr rtlCol="0" anchor="ctr"/>
              <a:lstStyle/>
              <a:p>
                <a:endParaRPr lang="en-GB"/>
              </a:p>
            </p:txBody>
          </p:sp>
        </p:grpSp>
        <p:grpSp>
          <p:nvGrpSpPr>
            <p:cNvPr id="1283" name="Graphic 3">
              <a:extLst>
                <a:ext uri="{FF2B5EF4-FFF2-40B4-BE49-F238E27FC236}">
                  <a16:creationId xmlns:a16="http://schemas.microsoft.com/office/drawing/2014/main" id="{0AD31975-8904-466A-958C-25B8C26FE231}"/>
                </a:ext>
              </a:extLst>
            </p:cNvPr>
            <p:cNvGrpSpPr/>
            <p:nvPr/>
          </p:nvGrpSpPr>
          <p:grpSpPr>
            <a:xfrm>
              <a:off x="3906919" y="3046850"/>
              <a:ext cx="60957" cy="25614"/>
              <a:chOff x="3906919" y="3046850"/>
              <a:chExt cx="60957" cy="25614"/>
            </a:xfrm>
            <a:grpFill/>
          </p:grpSpPr>
          <p:sp>
            <p:nvSpPr>
              <p:cNvPr id="1557" name="Vrije vorm: vorm 1556">
                <a:extLst>
                  <a:ext uri="{FF2B5EF4-FFF2-40B4-BE49-F238E27FC236}">
                    <a16:creationId xmlns:a16="http://schemas.microsoft.com/office/drawing/2014/main" id="{29A48236-479C-4376-B43F-CF66B5517478}"/>
                  </a:ext>
                </a:extLst>
              </p:cNvPr>
              <p:cNvSpPr/>
              <p:nvPr/>
            </p:nvSpPr>
            <p:spPr>
              <a:xfrm>
                <a:off x="3915359" y="3054454"/>
                <a:ext cx="44018" cy="10346"/>
              </a:xfrm>
              <a:custGeom>
                <a:avLst/>
                <a:gdLst>
                  <a:gd name="connsiteX0" fmla="*/ 44018 w 44018"/>
                  <a:gd name="connsiteY0" fmla="*/ 7356 h 10346"/>
                  <a:gd name="connsiteX1" fmla="*/ 43539 w 44018"/>
                  <a:gd name="connsiteY1" fmla="*/ 10347 h 10346"/>
                  <a:gd name="connsiteX2" fmla="*/ 0 w 44018"/>
                  <a:gd name="connsiteY2" fmla="*/ 3050 h 10346"/>
                  <a:gd name="connsiteX3" fmla="*/ 478 w 44018"/>
                  <a:gd name="connsiteY3" fmla="*/ 0 h 10346"/>
                </a:gdLst>
                <a:ahLst/>
                <a:cxnLst>
                  <a:cxn ang="0">
                    <a:pos x="connsiteX0" y="connsiteY0"/>
                  </a:cxn>
                  <a:cxn ang="0">
                    <a:pos x="connsiteX1" y="connsiteY1"/>
                  </a:cxn>
                  <a:cxn ang="0">
                    <a:pos x="connsiteX2" y="connsiteY2"/>
                  </a:cxn>
                  <a:cxn ang="0">
                    <a:pos x="connsiteX3" y="connsiteY3"/>
                  </a:cxn>
                </a:cxnLst>
                <a:rect l="l" t="t" r="r" b="b"/>
                <a:pathLst>
                  <a:path w="44018" h="10346">
                    <a:moveTo>
                      <a:pt x="44018" y="7356"/>
                    </a:moveTo>
                    <a:lnTo>
                      <a:pt x="43539" y="10347"/>
                    </a:lnTo>
                    <a:lnTo>
                      <a:pt x="0" y="3050"/>
                    </a:lnTo>
                    <a:lnTo>
                      <a:pt x="478" y="0"/>
                    </a:lnTo>
                    <a:close/>
                  </a:path>
                </a:pathLst>
              </a:custGeom>
              <a:grpFill/>
              <a:ln w="5978" cap="flat">
                <a:noFill/>
                <a:prstDash val="solid"/>
                <a:miter/>
              </a:ln>
            </p:spPr>
            <p:txBody>
              <a:bodyPr rtlCol="0" anchor="ctr"/>
              <a:lstStyle/>
              <a:p>
                <a:endParaRPr lang="en-GB"/>
              </a:p>
            </p:txBody>
          </p:sp>
          <p:sp>
            <p:nvSpPr>
              <p:cNvPr id="1558" name="Vrije vorm: vorm 1557">
                <a:extLst>
                  <a:ext uri="{FF2B5EF4-FFF2-40B4-BE49-F238E27FC236}">
                    <a16:creationId xmlns:a16="http://schemas.microsoft.com/office/drawing/2014/main" id="{E4A9B04D-06EC-4E54-A6F8-048074C466FA}"/>
                  </a:ext>
                </a:extLst>
              </p:cNvPr>
              <p:cNvSpPr/>
              <p:nvPr/>
            </p:nvSpPr>
            <p:spPr>
              <a:xfrm>
                <a:off x="3906919" y="3046850"/>
                <a:ext cx="18316" cy="18393"/>
              </a:xfrm>
              <a:custGeom>
                <a:avLst/>
                <a:gdLst>
                  <a:gd name="connsiteX0" fmla="*/ 7662 w 18316"/>
                  <a:gd name="connsiteY0" fmla="*/ 18250 h 18393"/>
                  <a:gd name="connsiteX1" fmla="*/ 127 w 18316"/>
                  <a:gd name="connsiteY1" fmla="*/ 7664 h 18393"/>
                  <a:gd name="connsiteX2" fmla="*/ 10653 w 18316"/>
                  <a:gd name="connsiteY2" fmla="*/ 128 h 18393"/>
                  <a:gd name="connsiteX3" fmla="*/ 18188 w 18316"/>
                  <a:gd name="connsiteY3" fmla="*/ 10714 h 18393"/>
                  <a:gd name="connsiteX4" fmla="*/ 7662 w 18316"/>
                  <a:gd name="connsiteY4" fmla="*/ 1825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3">
                    <a:moveTo>
                      <a:pt x="7662" y="18250"/>
                    </a:moveTo>
                    <a:cubicBezTo>
                      <a:pt x="2698" y="17412"/>
                      <a:pt x="-711" y="12628"/>
                      <a:pt x="127" y="7664"/>
                    </a:cubicBezTo>
                    <a:cubicBezTo>
                      <a:pt x="964" y="2640"/>
                      <a:pt x="5629" y="-709"/>
                      <a:pt x="10653" y="128"/>
                    </a:cubicBezTo>
                    <a:cubicBezTo>
                      <a:pt x="15676" y="965"/>
                      <a:pt x="19025" y="5750"/>
                      <a:pt x="18188" y="10714"/>
                    </a:cubicBezTo>
                    <a:cubicBezTo>
                      <a:pt x="17351" y="15738"/>
                      <a:pt x="12626" y="19147"/>
                      <a:pt x="7662" y="18250"/>
                    </a:cubicBezTo>
                    <a:close/>
                  </a:path>
                </a:pathLst>
              </a:custGeom>
              <a:grpFill/>
              <a:ln w="5978" cap="flat">
                <a:noFill/>
                <a:prstDash val="solid"/>
                <a:miter/>
              </a:ln>
            </p:spPr>
            <p:txBody>
              <a:bodyPr rtlCol="0" anchor="ctr"/>
              <a:lstStyle/>
              <a:p>
                <a:endParaRPr lang="en-GB"/>
              </a:p>
            </p:txBody>
          </p:sp>
          <p:sp>
            <p:nvSpPr>
              <p:cNvPr id="1559" name="Vrije vorm: vorm 1558">
                <a:extLst>
                  <a:ext uri="{FF2B5EF4-FFF2-40B4-BE49-F238E27FC236}">
                    <a16:creationId xmlns:a16="http://schemas.microsoft.com/office/drawing/2014/main" id="{32220EDA-6EC7-41EA-9CDA-94AD3B7FF325}"/>
                  </a:ext>
                </a:extLst>
              </p:cNvPr>
              <p:cNvSpPr/>
              <p:nvPr/>
            </p:nvSpPr>
            <p:spPr>
              <a:xfrm>
                <a:off x="3949560" y="3054087"/>
                <a:ext cx="18316" cy="18378"/>
              </a:xfrm>
              <a:custGeom>
                <a:avLst/>
                <a:gdLst>
                  <a:gd name="connsiteX0" fmla="*/ 7664 w 18316"/>
                  <a:gd name="connsiteY0" fmla="*/ 18250 h 18378"/>
                  <a:gd name="connsiteX1" fmla="*/ 18190 w 18316"/>
                  <a:gd name="connsiteY1" fmla="*/ 10714 h 18378"/>
                  <a:gd name="connsiteX2" fmla="*/ 10654 w 18316"/>
                  <a:gd name="connsiteY2" fmla="*/ 128 h 18378"/>
                  <a:gd name="connsiteX3" fmla="*/ 128 w 18316"/>
                  <a:gd name="connsiteY3" fmla="*/ 7664 h 18378"/>
                  <a:gd name="connsiteX4" fmla="*/ 7664 w 18316"/>
                  <a:gd name="connsiteY4" fmla="*/ 18250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78">
                    <a:moveTo>
                      <a:pt x="7664" y="18250"/>
                    </a:moveTo>
                    <a:cubicBezTo>
                      <a:pt x="12688" y="19087"/>
                      <a:pt x="17353" y="15738"/>
                      <a:pt x="18190" y="10714"/>
                    </a:cubicBezTo>
                    <a:cubicBezTo>
                      <a:pt x="19027" y="5690"/>
                      <a:pt x="15618" y="966"/>
                      <a:pt x="10654" y="128"/>
                    </a:cubicBezTo>
                    <a:cubicBezTo>
                      <a:pt x="5690" y="-709"/>
                      <a:pt x="966" y="2640"/>
                      <a:pt x="128" y="7664"/>
                    </a:cubicBezTo>
                    <a:cubicBezTo>
                      <a:pt x="-709" y="12628"/>
                      <a:pt x="2640" y="17413"/>
                      <a:pt x="7664" y="18250"/>
                    </a:cubicBezTo>
                    <a:close/>
                  </a:path>
                </a:pathLst>
              </a:custGeom>
              <a:grpFill/>
              <a:ln w="5978" cap="flat">
                <a:noFill/>
                <a:prstDash val="solid"/>
                <a:miter/>
              </a:ln>
            </p:spPr>
            <p:txBody>
              <a:bodyPr rtlCol="0" anchor="ctr"/>
              <a:lstStyle/>
              <a:p>
                <a:endParaRPr lang="en-GB"/>
              </a:p>
            </p:txBody>
          </p:sp>
        </p:grpSp>
        <p:grpSp>
          <p:nvGrpSpPr>
            <p:cNvPr id="1284" name="Graphic 3">
              <a:extLst>
                <a:ext uri="{FF2B5EF4-FFF2-40B4-BE49-F238E27FC236}">
                  <a16:creationId xmlns:a16="http://schemas.microsoft.com/office/drawing/2014/main" id="{68F48D6B-9820-407F-8A99-F46215C821EA}"/>
                </a:ext>
              </a:extLst>
            </p:cNvPr>
            <p:cNvGrpSpPr/>
            <p:nvPr/>
          </p:nvGrpSpPr>
          <p:grpSpPr>
            <a:xfrm>
              <a:off x="3939427" y="3092757"/>
              <a:ext cx="32589" cy="20522"/>
              <a:chOff x="3939427" y="3092757"/>
              <a:chExt cx="32589" cy="20522"/>
            </a:xfrm>
            <a:grpFill/>
          </p:grpSpPr>
          <p:sp>
            <p:nvSpPr>
              <p:cNvPr id="1555" name="Vrije vorm: vorm 1554">
                <a:extLst>
                  <a:ext uri="{FF2B5EF4-FFF2-40B4-BE49-F238E27FC236}">
                    <a16:creationId xmlns:a16="http://schemas.microsoft.com/office/drawing/2014/main" id="{2D3F5A97-7471-469A-AE22-D3EDCB996C7F}"/>
                  </a:ext>
                </a:extLst>
              </p:cNvPr>
              <p:cNvSpPr/>
              <p:nvPr/>
            </p:nvSpPr>
            <p:spPr>
              <a:xfrm>
                <a:off x="3939427" y="3092757"/>
                <a:ext cx="18309" cy="18429"/>
              </a:xfrm>
              <a:custGeom>
                <a:avLst/>
                <a:gdLst>
                  <a:gd name="connsiteX0" fmla="*/ 10441 w 18309"/>
                  <a:gd name="connsiteY0" fmla="*/ 94 h 18429"/>
                  <a:gd name="connsiteX1" fmla="*/ 18216 w 18309"/>
                  <a:gd name="connsiteY1" fmla="*/ 10560 h 18429"/>
                  <a:gd name="connsiteX2" fmla="*/ 7869 w 18309"/>
                  <a:gd name="connsiteY2" fmla="*/ 18335 h 18429"/>
                  <a:gd name="connsiteX3" fmla="*/ 94 w 18309"/>
                  <a:gd name="connsiteY3" fmla="*/ 7869 h 18429"/>
                  <a:gd name="connsiteX4" fmla="*/ 10441 w 18309"/>
                  <a:gd name="connsiteY4" fmla="*/ 9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9">
                    <a:moveTo>
                      <a:pt x="10441" y="94"/>
                    </a:moveTo>
                    <a:cubicBezTo>
                      <a:pt x="15464" y="812"/>
                      <a:pt x="18933" y="5536"/>
                      <a:pt x="18216" y="10560"/>
                    </a:cubicBezTo>
                    <a:cubicBezTo>
                      <a:pt x="17498" y="15584"/>
                      <a:pt x="12833" y="19053"/>
                      <a:pt x="7869" y="18335"/>
                    </a:cubicBezTo>
                    <a:cubicBezTo>
                      <a:pt x="2845" y="17618"/>
                      <a:pt x="-624" y="12893"/>
                      <a:pt x="94" y="7869"/>
                    </a:cubicBezTo>
                    <a:cubicBezTo>
                      <a:pt x="812" y="2845"/>
                      <a:pt x="5477" y="-624"/>
                      <a:pt x="10441" y="94"/>
                    </a:cubicBezTo>
                    <a:close/>
                  </a:path>
                </a:pathLst>
              </a:custGeom>
              <a:grpFill/>
              <a:ln w="5978" cap="flat">
                <a:noFill/>
                <a:prstDash val="solid"/>
                <a:miter/>
              </a:ln>
            </p:spPr>
            <p:txBody>
              <a:bodyPr rtlCol="0" anchor="ctr"/>
              <a:lstStyle/>
              <a:p>
                <a:endParaRPr lang="en-GB"/>
              </a:p>
            </p:txBody>
          </p:sp>
          <p:sp>
            <p:nvSpPr>
              <p:cNvPr id="1556" name="Vrije vorm: vorm 1555">
                <a:extLst>
                  <a:ext uri="{FF2B5EF4-FFF2-40B4-BE49-F238E27FC236}">
                    <a16:creationId xmlns:a16="http://schemas.microsoft.com/office/drawing/2014/main" id="{8255004E-6D3F-41EF-84B5-DA1DF7A341E1}"/>
                  </a:ext>
                </a:extLst>
              </p:cNvPr>
              <p:cNvSpPr/>
              <p:nvPr/>
            </p:nvSpPr>
            <p:spPr>
              <a:xfrm>
                <a:off x="3953661" y="3094850"/>
                <a:ext cx="18355" cy="18429"/>
              </a:xfrm>
              <a:custGeom>
                <a:avLst/>
                <a:gdLst>
                  <a:gd name="connsiteX0" fmla="*/ 10500 w 18355"/>
                  <a:gd name="connsiteY0" fmla="*/ 94 h 18429"/>
                  <a:gd name="connsiteX1" fmla="*/ 94 w 18355"/>
                  <a:gd name="connsiteY1" fmla="*/ 7869 h 18429"/>
                  <a:gd name="connsiteX2" fmla="*/ 7869 w 18355"/>
                  <a:gd name="connsiteY2" fmla="*/ 18335 h 18429"/>
                  <a:gd name="connsiteX3" fmla="*/ 18275 w 18355"/>
                  <a:gd name="connsiteY3" fmla="*/ 10560 h 18429"/>
                  <a:gd name="connsiteX4" fmla="*/ 10500 w 18355"/>
                  <a:gd name="connsiteY4" fmla="*/ 9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9">
                    <a:moveTo>
                      <a:pt x="10500" y="94"/>
                    </a:moveTo>
                    <a:cubicBezTo>
                      <a:pt x="5477" y="-624"/>
                      <a:pt x="872" y="2845"/>
                      <a:pt x="94" y="7869"/>
                    </a:cubicBezTo>
                    <a:cubicBezTo>
                      <a:pt x="-624" y="12893"/>
                      <a:pt x="2845" y="17558"/>
                      <a:pt x="7869" y="18335"/>
                    </a:cubicBezTo>
                    <a:cubicBezTo>
                      <a:pt x="12893" y="19053"/>
                      <a:pt x="17498" y="15584"/>
                      <a:pt x="18275" y="10560"/>
                    </a:cubicBezTo>
                    <a:cubicBezTo>
                      <a:pt x="18933" y="5536"/>
                      <a:pt x="15464" y="872"/>
                      <a:pt x="10500" y="94"/>
                    </a:cubicBezTo>
                    <a:close/>
                  </a:path>
                </a:pathLst>
              </a:custGeom>
              <a:grpFill/>
              <a:ln w="5978" cap="flat">
                <a:noFill/>
                <a:prstDash val="solid"/>
                <a:miter/>
              </a:ln>
            </p:spPr>
            <p:txBody>
              <a:bodyPr rtlCol="0" anchor="ctr"/>
              <a:lstStyle/>
              <a:p>
                <a:endParaRPr lang="en-GB"/>
              </a:p>
            </p:txBody>
          </p:sp>
        </p:grpSp>
        <p:grpSp>
          <p:nvGrpSpPr>
            <p:cNvPr id="1285" name="Graphic 3">
              <a:extLst>
                <a:ext uri="{FF2B5EF4-FFF2-40B4-BE49-F238E27FC236}">
                  <a16:creationId xmlns:a16="http://schemas.microsoft.com/office/drawing/2014/main" id="{A5DFE19C-7B55-41F9-847C-76079CD68526}"/>
                </a:ext>
              </a:extLst>
            </p:cNvPr>
            <p:cNvGrpSpPr/>
            <p:nvPr/>
          </p:nvGrpSpPr>
          <p:grpSpPr>
            <a:xfrm>
              <a:off x="4161896" y="3763798"/>
              <a:ext cx="40406" cy="22682"/>
              <a:chOff x="4161896" y="3763798"/>
              <a:chExt cx="40406" cy="22682"/>
            </a:xfrm>
            <a:grpFill/>
          </p:grpSpPr>
          <p:sp>
            <p:nvSpPr>
              <p:cNvPr id="1552" name="Vrije vorm: vorm 1551">
                <a:extLst>
                  <a:ext uri="{FF2B5EF4-FFF2-40B4-BE49-F238E27FC236}">
                    <a16:creationId xmlns:a16="http://schemas.microsoft.com/office/drawing/2014/main" id="{08C78346-10D5-47E6-B3D3-1A7B37572979}"/>
                  </a:ext>
                </a:extLst>
              </p:cNvPr>
              <p:cNvSpPr/>
              <p:nvPr/>
            </p:nvSpPr>
            <p:spPr>
              <a:xfrm>
                <a:off x="4170377" y="3771423"/>
                <a:ext cx="23504" cy="7416"/>
              </a:xfrm>
              <a:custGeom>
                <a:avLst/>
                <a:gdLst>
                  <a:gd name="connsiteX0" fmla="*/ 22906 w 23504"/>
                  <a:gd name="connsiteY0" fmla="*/ 0 h 7416"/>
                  <a:gd name="connsiteX1" fmla="*/ 23505 w 23504"/>
                  <a:gd name="connsiteY1" fmla="*/ 3050 h 7416"/>
                  <a:gd name="connsiteX2" fmla="*/ 598 w 23504"/>
                  <a:gd name="connsiteY2" fmla="*/ 7416 h 7416"/>
                  <a:gd name="connsiteX3" fmla="*/ 0 w 23504"/>
                  <a:gd name="connsiteY3" fmla="*/ 4426 h 7416"/>
                </a:gdLst>
                <a:ahLst/>
                <a:cxnLst>
                  <a:cxn ang="0">
                    <a:pos x="connsiteX0" y="connsiteY0"/>
                  </a:cxn>
                  <a:cxn ang="0">
                    <a:pos x="connsiteX1" y="connsiteY1"/>
                  </a:cxn>
                  <a:cxn ang="0">
                    <a:pos x="connsiteX2" y="connsiteY2"/>
                  </a:cxn>
                  <a:cxn ang="0">
                    <a:pos x="connsiteX3" y="connsiteY3"/>
                  </a:cxn>
                </a:cxnLst>
                <a:rect l="l" t="t" r="r" b="b"/>
                <a:pathLst>
                  <a:path w="23504" h="7416">
                    <a:moveTo>
                      <a:pt x="22906" y="0"/>
                    </a:moveTo>
                    <a:lnTo>
                      <a:pt x="23505" y="3050"/>
                    </a:lnTo>
                    <a:lnTo>
                      <a:pt x="598" y="7416"/>
                    </a:lnTo>
                    <a:lnTo>
                      <a:pt x="0" y="4426"/>
                    </a:lnTo>
                    <a:close/>
                  </a:path>
                </a:pathLst>
              </a:custGeom>
              <a:grpFill/>
              <a:ln w="5978" cap="flat">
                <a:noFill/>
                <a:prstDash val="solid"/>
                <a:miter/>
              </a:ln>
            </p:spPr>
            <p:txBody>
              <a:bodyPr rtlCol="0" anchor="ctr"/>
              <a:lstStyle/>
              <a:p>
                <a:endParaRPr lang="en-GB"/>
              </a:p>
            </p:txBody>
          </p:sp>
          <p:sp>
            <p:nvSpPr>
              <p:cNvPr id="1553" name="Vrije vorm: vorm 1552">
                <a:extLst>
                  <a:ext uri="{FF2B5EF4-FFF2-40B4-BE49-F238E27FC236}">
                    <a16:creationId xmlns:a16="http://schemas.microsoft.com/office/drawing/2014/main" id="{74BA2835-268D-4551-B8AD-624160B49EF0}"/>
                  </a:ext>
                </a:extLst>
              </p:cNvPr>
              <p:cNvSpPr/>
              <p:nvPr/>
            </p:nvSpPr>
            <p:spPr>
              <a:xfrm>
                <a:off x="4161896" y="3768028"/>
                <a:ext cx="18339" cy="18452"/>
              </a:xfrm>
              <a:custGeom>
                <a:avLst/>
                <a:gdLst>
                  <a:gd name="connsiteX0" fmla="*/ 10933 w 18339"/>
                  <a:gd name="connsiteY0" fmla="*/ 18287 h 18452"/>
                  <a:gd name="connsiteX1" fmla="*/ 168 w 18339"/>
                  <a:gd name="connsiteY1" fmla="*/ 10931 h 18452"/>
                  <a:gd name="connsiteX2" fmla="*/ 7404 w 18339"/>
                  <a:gd name="connsiteY2" fmla="*/ 166 h 18452"/>
                  <a:gd name="connsiteX3" fmla="*/ 18170 w 18339"/>
                  <a:gd name="connsiteY3" fmla="*/ 7522 h 18452"/>
                  <a:gd name="connsiteX4" fmla="*/ 10933 w 18339"/>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2">
                    <a:moveTo>
                      <a:pt x="10933" y="18287"/>
                    </a:moveTo>
                    <a:cubicBezTo>
                      <a:pt x="5969" y="19244"/>
                      <a:pt x="1125" y="15955"/>
                      <a:pt x="168" y="10931"/>
                    </a:cubicBezTo>
                    <a:cubicBezTo>
                      <a:pt x="-789" y="5907"/>
                      <a:pt x="2441" y="1122"/>
                      <a:pt x="7404" y="166"/>
                    </a:cubicBezTo>
                    <a:cubicBezTo>
                      <a:pt x="12368" y="-791"/>
                      <a:pt x="17213" y="2498"/>
                      <a:pt x="18170" y="7522"/>
                    </a:cubicBezTo>
                    <a:cubicBezTo>
                      <a:pt x="19127" y="12546"/>
                      <a:pt x="15957" y="17330"/>
                      <a:pt x="10933" y="18287"/>
                    </a:cubicBezTo>
                    <a:close/>
                  </a:path>
                </a:pathLst>
              </a:custGeom>
              <a:grpFill/>
              <a:ln w="5978" cap="flat">
                <a:noFill/>
                <a:prstDash val="solid"/>
                <a:miter/>
              </a:ln>
            </p:spPr>
            <p:txBody>
              <a:bodyPr rtlCol="0" anchor="ctr"/>
              <a:lstStyle/>
              <a:p>
                <a:endParaRPr lang="en-GB"/>
              </a:p>
            </p:txBody>
          </p:sp>
          <p:sp>
            <p:nvSpPr>
              <p:cNvPr id="1554" name="Vrije vorm: vorm 1553">
                <a:extLst>
                  <a:ext uri="{FF2B5EF4-FFF2-40B4-BE49-F238E27FC236}">
                    <a16:creationId xmlns:a16="http://schemas.microsoft.com/office/drawing/2014/main" id="{BAFBE64A-2D45-47A4-AC9A-B0814496D984}"/>
                  </a:ext>
                </a:extLst>
              </p:cNvPr>
              <p:cNvSpPr/>
              <p:nvPr/>
            </p:nvSpPr>
            <p:spPr>
              <a:xfrm>
                <a:off x="4183965" y="3763798"/>
                <a:ext cx="18337" cy="18436"/>
              </a:xfrm>
              <a:custGeom>
                <a:avLst/>
                <a:gdLst>
                  <a:gd name="connsiteX0" fmla="*/ 10933 w 18337"/>
                  <a:gd name="connsiteY0" fmla="*/ 18271 h 18436"/>
                  <a:gd name="connsiteX1" fmla="*/ 18170 w 18337"/>
                  <a:gd name="connsiteY1" fmla="*/ 7506 h 18436"/>
                  <a:gd name="connsiteX2" fmla="*/ 7404 w 18337"/>
                  <a:gd name="connsiteY2" fmla="*/ 149 h 18436"/>
                  <a:gd name="connsiteX3" fmla="*/ 168 w 18337"/>
                  <a:gd name="connsiteY3" fmla="*/ 10915 h 18436"/>
                  <a:gd name="connsiteX4" fmla="*/ 10933 w 18337"/>
                  <a:gd name="connsiteY4" fmla="*/ 1827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0933" y="18271"/>
                    </a:moveTo>
                    <a:cubicBezTo>
                      <a:pt x="15897" y="17314"/>
                      <a:pt x="19127" y="12470"/>
                      <a:pt x="18170" y="7506"/>
                    </a:cubicBezTo>
                    <a:cubicBezTo>
                      <a:pt x="17213" y="2482"/>
                      <a:pt x="12368" y="-748"/>
                      <a:pt x="7404" y="149"/>
                    </a:cubicBezTo>
                    <a:cubicBezTo>
                      <a:pt x="2441" y="1106"/>
                      <a:pt x="-789" y="5951"/>
                      <a:pt x="168" y="10915"/>
                    </a:cubicBezTo>
                    <a:cubicBezTo>
                      <a:pt x="1125" y="15938"/>
                      <a:pt x="5969" y="19228"/>
                      <a:pt x="10933" y="18271"/>
                    </a:cubicBezTo>
                    <a:close/>
                  </a:path>
                </a:pathLst>
              </a:custGeom>
              <a:grpFill/>
              <a:ln w="5978" cap="flat">
                <a:noFill/>
                <a:prstDash val="solid"/>
                <a:miter/>
              </a:ln>
            </p:spPr>
            <p:txBody>
              <a:bodyPr rtlCol="0" anchor="ctr"/>
              <a:lstStyle/>
              <a:p>
                <a:endParaRPr lang="en-GB"/>
              </a:p>
            </p:txBody>
          </p:sp>
        </p:grpSp>
        <p:grpSp>
          <p:nvGrpSpPr>
            <p:cNvPr id="1286" name="Graphic 3">
              <a:extLst>
                <a:ext uri="{FF2B5EF4-FFF2-40B4-BE49-F238E27FC236}">
                  <a16:creationId xmlns:a16="http://schemas.microsoft.com/office/drawing/2014/main" id="{9DCA356A-39A8-419C-A3AE-783D18BD6481}"/>
                </a:ext>
              </a:extLst>
            </p:cNvPr>
            <p:cNvGrpSpPr/>
            <p:nvPr/>
          </p:nvGrpSpPr>
          <p:grpSpPr>
            <a:xfrm>
              <a:off x="4185118" y="3799923"/>
              <a:ext cx="18421" cy="18416"/>
              <a:chOff x="4185118" y="3799923"/>
              <a:chExt cx="18421" cy="18416"/>
            </a:xfrm>
            <a:grpFill/>
          </p:grpSpPr>
          <p:sp>
            <p:nvSpPr>
              <p:cNvPr id="1549" name="Vrije vorm: vorm 1548">
                <a:extLst>
                  <a:ext uri="{FF2B5EF4-FFF2-40B4-BE49-F238E27FC236}">
                    <a16:creationId xmlns:a16="http://schemas.microsoft.com/office/drawing/2014/main" id="{9C5518EC-5809-4705-9623-021963F200F4}"/>
                  </a:ext>
                </a:extLst>
              </p:cNvPr>
              <p:cNvSpPr/>
              <p:nvPr/>
            </p:nvSpPr>
            <p:spPr>
              <a:xfrm>
                <a:off x="4193582" y="3807547"/>
                <a:ext cx="1555" cy="3169"/>
              </a:xfrm>
              <a:custGeom>
                <a:avLst/>
                <a:gdLst>
                  <a:gd name="connsiteX0" fmla="*/ 897 w 1555"/>
                  <a:gd name="connsiteY0" fmla="*/ 0 h 3169"/>
                  <a:gd name="connsiteX1" fmla="*/ 1555 w 1555"/>
                  <a:gd name="connsiteY1" fmla="*/ 2990 h 3169"/>
                  <a:gd name="connsiteX2" fmla="*/ 598 w 1555"/>
                  <a:gd name="connsiteY2" fmla="*/ 3170 h 3169"/>
                  <a:gd name="connsiteX3" fmla="*/ 0 w 1555"/>
                  <a:gd name="connsiteY3" fmla="*/ 180 h 3169"/>
                </a:gdLst>
                <a:ahLst/>
                <a:cxnLst>
                  <a:cxn ang="0">
                    <a:pos x="connsiteX0" y="connsiteY0"/>
                  </a:cxn>
                  <a:cxn ang="0">
                    <a:pos x="connsiteX1" y="connsiteY1"/>
                  </a:cxn>
                  <a:cxn ang="0">
                    <a:pos x="connsiteX2" y="connsiteY2"/>
                  </a:cxn>
                  <a:cxn ang="0">
                    <a:pos x="connsiteX3" y="connsiteY3"/>
                  </a:cxn>
                </a:cxnLst>
                <a:rect l="l" t="t" r="r" b="b"/>
                <a:pathLst>
                  <a:path w="1555" h="3169">
                    <a:moveTo>
                      <a:pt x="897" y="0"/>
                    </a:moveTo>
                    <a:lnTo>
                      <a:pt x="1555" y="2990"/>
                    </a:lnTo>
                    <a:lnTo>
                      <a:pt x="598" y="3170"/>
                    </a:lnTo>
                    <a:lnTo>
                      <a:pt x="0" y="180"/>
                    </a:lnTo>
                    <a:close/>
                  </a:path>
                </a:pathLst>
              </a:custGeom>
              <a:grpFill/>
              <a:ln w="5978" cap="flat">
                <a:noFill/>
                <a:prstDash val="solid"/>
                <a:miter/>
              </a:ln>
            </p:spPr>
            <p:txBody>
              <a:bodyPr rtlCol="0" anchor="ctr"/>
              <a:lstStyle/>
              <a:p>
                <a:endParaRPr lang="en-GB"/>
              </a:p>
            </p:txBody>
          </p:sp>
          <p:sp>
            <p:nvSpPr>
              <p:cNvPr id="1550" name="Vrije vorm: vorm 1549">
                <a:extLst>
                  <a:ext uri="{FF2B5EF4-FFF2-40B4-BE49-F238E27FC236}">
                    <a16:creationId xmlns:a16="http://schemas.microsoft.com/office/drawing/2014/main" id="{B53A47B2-0F6E-4046-81CA-623F61A02A40}"/>
                  </a:ext>
                </a:extLst>
              </p:cNvPr>
              <p:cNvSpPr/>
              <p:nvPr/>
            </p:nvSpPr>
            <p:spPr>
              <a:xfrm>
                <a:off x="4185199" y="3799941"/>
                <a:ext cx="18341" cy="18381"/>
              </a:xfrm>
              <a:custGeom>
                <a:avLst/>
                <a:gdLst>
                  <a:gd name="connsiteX0" fmla="*/ 7247 w 18341"/>
                  <a:gd name="connsiteY0" fmla="*/ 190 h 18381"/>
                  <a:gd name="connsiteX1" fmla="*/ 18132 w 18341"/>
                  <a:gd name="connsiteY1" fmla="*/ 7307 h 18381"/>
                  <a:gd name="connsiteX2" fmla="*/ 11075 w 18341"/>
                  <a:gd name="connsiteY2" fmla="*/ 18192 h 18381"/>
                  <a:gd name="connsiteX3" fmla="*/ 190 w 18341"/>
                  <a:gd name="connsiteY3" fmla="*/ 11075 h 18381"/>
                  <a:gd name="connsiteX4" fmla="*/ 7247 w 18341"/>
                  <a:gd name="connsiteY4" fmla="*/ 190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1">
                    <a:moveTo>
                      <a:pt x="7247" y="190"/>
                    </a:moveTo>
                    <a:cubicBezTo>
                      <a:pt x="12211" y="-827"/>
                      <a:pt x="17055" y="2343"/>
                      <a:pt x="18132" y="7307"/>
                    </a:cubicBezTo>
                    <a:cubicBezTo>
                      <a:pt x="19208" y="12271"/>
                      <a:pt x="16039" y="17175"/>
                      <a:pt x="11075" y="18192"/>
                    </a:cubicBezTo>
                    <a:cubicBezTo>
                      <a:pt x="6111" y="19208"/>
                      <a:pt x="1266" y="16039"/>
                      <a:pt x="190" y="11075"/>
                    </a:cubicBezTo>
                    <a:cubicBezTo>
                      <a:pt x="-827" y="6111"/>
                      <a:pt x="2343" y="1206"/>
                      <a:pt x="7247" y="190"/>
                    </a:cubicBezTo>
                    <a:close/>
                  </a:path>
                </a:pathLst>
              </a:custGeom>
              <a:grpFill/>
              <a:ln w="5978" cap="flat">
                <a:noFill/>
                <a:prstDash val="solid"/>
                <a:miter/>
              </a:ln>
            </p:spPr>
            <p:txBody>
              <a:bodyPr rtlCol="0" anchor="ctr"/>
              <a:lstStyle/>
              <a:p>
                <a:endParaRPr lang="en-GB"/>
              </a:p>
            </p:txBody>
          </p:sp>
          <p:sp>
            <p:nvSpPr>
              <p:cNvPr id="1551" name="Vrije vorm: vorm 1550">
                <a:extLst>
                  <a:ext uri="{FF2B5EF4-FFF2-40B4-BE49-F238E27FC236}">
                    <a16:creationId xmlns:a16="http://schemas.microsoft.com/office/drawing/2014/main" id="{D6675653-EF21-4F6F-8529-3A0BEEED5F48}"/>
                  </a:ext>
                </a:extLst>
              </p:cNvPr>
              <p:cNvSpPr/>
              <p:nvPr/>
            </p:nvSpPr>
            <p:spPr>
              <a:xfrm>
                <a:off x="4185118" y="3799923"/>
                <a:ext cx="18362" cy="18416"/>
              </a:xfrm>
              <a:custGeom>
                <a:avLst/>
                <a:gdLst>
                  <a:gd name="connsiteX0" fmla="*/ 7268 w 18362"/>
                  <a:gd name="connsiteY0" fmla="*/ 207 h 18416"/>
                  <a:gd name="connsiteX1" fmla="*/ 210 w 18362"/>
                  <a:gd name="connsiteY1" fmla="*/ 11092 h 18416"/>
                  <a:gd name="connsiteX2" fmla="*/ 11095 w 18362"/>
                  <a:gd name="connsiteY2" fmla="*/ 18209 h 18416"/>
                  <a:gd name="connsiteX3" fmla="*/ 18152 w 18362"/>
                  <a:gd name="connsiteY3" fmla="*/ 7324 h 18416"/>
                  <a:gd name="connsiteX4" fmla="*/ 7268 w 18362"/>
                  <a:gd name="connsiteY4" fmla="*/ 20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16">
                    <a:moveTo>
                      <a:pt x="7268" y="207"/>
                    </a:moveTo>
                    <a:cubicBezTo>
                      <a:pt x="2303" y="1224"/>
                      <a:pt x="-867" y="6128"/>
                      <a:pt x="210" y="11092"/>
                    </a:cubicBezTo>
                    <a:cubicBezTo>
                      <a:pt x="1287" y="16056"/>
                      <a:pt x="6131" y="19286"/>
                      <a:pt x="11095" y="18209"/>
                    </a:cubicBezTo>
                    <a:cubicBezTo>
                      <a:pt x="16059" y="17193"/>
                      <a:pt x="19229" y="12288"/>
                      <a:pt x="18152" y="7324"/>
                    </a:cubicBezTo>
                    <a:cubicBezTo>
                      <a:pt x="17136" y="2360"/>
                      <a:pt x="12231" y="-869"/>
                      <a:pt x="7268" y="207"/>
                    </a:cubicBezTo>
                    <a:close/>
                  </a:path>
                </a:pathLst>
              </a:custGeom>
              <a:grpFill/>
              <a:ln w="5978" cap="flat">
                <a:noFill/>
                <a:prstDash val="solid"/>
                <a:miter/>
              </a:ln>
            </p:spPr>
            <p:txBody>
              <a:bodyPr rtlCol="0" anchor="ctr"/>
              <a:lstStyle/>
              <a:p>
                <a:endParaRPr lang="en-GB"/>
              </a:p>
            </p:txBody>
          </p:sp>
        </p:grpSp>
        <p:grpSp>
          <p:nvGrpSpPr>
            <p:cNvPr id="1287" name="Graphic 3">
              <a:extLst>
                <a:ext uri="{FF2B5EF4-FFF2-40B4-BE49-F238E27FC236}">
                  <a16:creationId xmlns:a16="http://schemas.microsoft.com/office/drawing/2014/main" id="{BB5A302C-6409-4FB9-8C99-2F4DFB5A01BE}"/>
                </a:ext>
              </a:extLst>
            </p:cNvPr>
            <p:cNvGrpSpPr/>
            <p:nvPr/>
          </p:nvGrpSpPr>
          <p:grpSpPr>
            <a:xfrm>
              <a:off x="4023719" y="3482130"/>
              <a:ext cx="129438" cy="22738"/>
              <a:chOff x="4023719" y="3482130"/>
              <a:chExt cx="129438" cy="22738"/>
            </a:xfrm>
            <a:grpFill/>
          </p:grpSpPr>
          <p:sp>
            <p:nvSpPr>
              <p:cNvPr id="1546" name="Vrije vorm: vorm 1545">
                <a:extLst>
                  <a:ext uri="{FF2B5EF4-FFF2-40B4-BE49-F238E27FC236}">
                    <a16:creationId xmlns:a16="http://schemas.microsoft.com/office/drawing/2014/main" id="{3844503F-11A9-4304-91E8-B08F0E75FCC2}"/>
                  </a:ext>
                </a:extLst>
              </p:cNvPr>
              <p:cNvSpPr/>
              <p:nvPr/>
            </p:nvSpPr>
            <p:spPr>
              <a:xfrm>
                <a:off x="4032402" y="3489791"/>
                <a:ext cx="112078" cy="7416"/>
              </a:xfrm>
              <a:custGeom>
                <a:avLst/>
                <a:gdLst>
                  <a:gd name="connsiteX0" fmla="*/ 111959 w 112078"/>
                  <a:gd name="connsiteY0" fmla="*/ 0 h 7416"/>
                  <a:gd name="connsiteX1" fmla="*/ 112079 w 112078"/>
                  <a:gd name="connsiteY1" fmla="*/ 3050 h 7416"/>
                  <a:gd name="connsiteX2" fmla="*/ 119 w 112078"/>
                  <a:gd name="connsiteY2" fmla="*/ 7416 h 7416"/>
                  <a:gd name="connsiteX3" fmla="*/ 0 w 112078"/>
                  <a:gd name="connsiteY3" fmla="*/ 4366 h 7416"/>
                </a:gdLst>
                <a:ahLst/>
                <a:cxnLst>
                  <a:cxn ang="0">
                    <a:pos x="connsiteX0" y="connsiteY0"/>
                  </a:cxn>
                  <a:cxn ang="0">
                    <a:pos x="connsiteX1" y="connsiteY1"/>
                  </a:cxn>
                  <a:cxn ang="0">
                    <a:pos x="connsiteX2" y="connsiteY2"/>
                  </a:cxn>
                  <a:cxn ang="0">
                    <a:pos x="connsiteX3" y="connsiteY3"/>
                  </a:cxn>
                </a:cxnLst>
                <a:rect l="l" t="t" r="r" b="b"/>
                <a:pathLst>
                  <a:path w="112078" h="7416">
                    <a:moveTo>
                      <a:pt x="111959" y="0"/>
                    </a:moveTo>
                    <a:lnTo>
                      <a:pt x="112079" y="3050"/>
                    </a:lnTo>
                    <a:lnTo>
                      <a:pt x="119" y="7416"/>
                    </a:lnTo>
                    <a:lnTo>
                      <a:pt x="0" y="4366"/>
                    </a:lnTo>
                    <a:close/>
                  </a:path>
                </a:pathLst>
              </a:custGeom>
              <a:grpFill/>
              <a:ln w="5978" cap="flat">
                <a:noFill/>
                <a:prstDash val="solid"/>
                <a:miter/>
              </a:ln>
            </p:spPr>
            <p:txBody>
              <a:bodyPr rtlCol="0" anchor="ctr"/>
              <a:lstStyle/>
              <a:p>
                <a:endParaRPr lang="en-GB"/>
              </a:p>
            </p:txBody>
          </p:sp>
          <p:sp>
            <p:nvSpPr>
              <p:cNvPr id="1547" name="Vrije vorm: vorm 1546">
                <a:extLst>
                  <a:ext uri="{FF2B5EF4-FFF2-40B4-BE49-F238E27FC236}">
                    <a16:creationId xmlns:a16="http://schemas.microsoft.com/office/drawing/2014/main" id="{5A1B45D8-92BF-44DD-A199-EDFCDDBDC3E6}"/>
                  </a:ext>
                </a:extLst>
              </p:cNvPr>
              <p:cNvSpPr/>
              <p:nvPr/>
            </p:nvSpPr>
            <p:spPr>
              <a:xfrm>
                <a:off x="4023719" y="3486436"/>
                <a:ext cx="18377" cy="18432"/>
              </a:xfrm>
              <a:custGeom>
                <a:avLst/>
                <a:gdLst>
                  <a:gd name="connsiteX0" fmla="*/ 9579 w 18377"/>
                  <a:gd name="connsiteY0" fmla="*/ 18427 h 18432"/>
                  <a:gd name="connsiteX1" fmla="*/ 10 w 18377"/>
                  <a:gd name="connsiteY1" fmla="*/ 9575 h 18432"/>
                  <a:gd name="connsiteX2" fmla="*/ 8802 w 18377"/>
                  <a:gd name="connsiteY2" fmla="*/ 6 h 18432"/>
                  <a:gd name="connsiteX3" fmla="*/ 18371 w 18377"/>
                  <a:gd name="connsiteY3" fmla="*/ 8857 h 18432"/>
                  <a:gd name="connsiteX4" fmla="*/ 9579 w 18377"/>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32">
                    <a:moveTo>
                      <a:pt x="9579" y="18427"/>
                    </a:moveTo>
                    <a:cubicBezTo>
                      <a:pt x="4496" y="18606"/>
                      <a:pt x="249" y="14659"/>
                      <a:pt x="10" y="9575"/>
                    </a:cubicBezTo>
                    <a:cubicBezTo>
                      <a:pt x="-229" y="4491"/>
                      <a:pt x="3718" y="185"/>
                      <a:pt x="8802" y="6"/>
                    </a:cubicBezTo>
                    <a:cubicBezTo>
                      <a:pt x="13886" y="-174"/>
                      <a:pt x="18132" y="3774"/>
                      <a:pt x="18371" y="8857"/>
                    </a:cubicBezTo>
                    <a:cubicBezTo>
                      <a:pt x="18550" y="13941"/>
                      <a:pt x="14663" y="18247"/>
                      <a:pt x="9579" y="18427"/>
                    </a:cubicBezTo>
                    <a:close/>
                  </a:path>
                </a:pathLst>
              </a:custGeom>
              <a:grpFill/>
              <a:ln w="5978" cap="flat">
                <a:noFill/>
                <a:prstDash val="solid"/>
                <a:miter/>
              </a:ln>
            </p:spPr>
            <p:txBody>
              <a:bodyPr rtlCol="0" anchor="ctr"/>
              <a:lstStyle/>
              <a:p>
                <a:endParaRPr lang="en-GB"/>
              </a:p>
            </p:txBody>
          </p:sp>
          <p:sp>
            <p:nvSpPr>
              <p:cNvPr id="1548" name="Vrije vorm: vorm 1547">
                <a:extLst>
                  <a:ext uri="{FF2B5EF4-FFF2-40B4-BE49-F238E27FC236}">
                    <a16:creationId xmlns:a16="http://schemas.microsoft.com/office/drawing/2014/main" id="{41C1B038-0092-4447-B95B-2F754655EB97}"/>
                  </a:ext>
                </a:extLst>
              </p:cNvPr>
              <p:cNvSpPr/>
              <p:nvPr/>
            </p:nvSpPr>
            <p:spPr>
              <a:xfrm>
                <a:off x="4134786" y="3482130"/>
                <a:ext cx="18372" cy="18432"/>
              </a:xfrm>
              <a:custGeom>
                <a:avLst/>
                <a:gdLst>
                  <a:gd name="connsiteX0" fmla="*/ 9575 w 18372"/>
                  <a:gd name="connsiteY0" fmla="*/ 18427 h 18432"/>
                  <a:gd name="connsiteX1" fmla="*/ 18366 w 18372"/>
                  <a:gd name="connsiteY1" fmla="*/ 8857 h 18432"/>
                  <a:gd name="connsiteX2" fmla="*/ 8797 w 18372"/>
                  <a:gd name="connsiteY2" fmla="*/ 6 h 18432"/>
                  <a:gd name="connsiteX3" fmla="*/ 6 w 18372"/>
                  <a:gd name="connsiteY3" fmla="*/ 9575 h 18432"/>
                  <a:gd name="connsiteX4" fmla="*/ 9575 w 1837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9575" y="18427"/>
                    </a:moveTo>
                    <a:cubicBezTo>
                      <a:pt x="14658" y="18247"/>
                      <a:pt x="18546" y="13941"/>
                      <a:pt x="18366" y="8857"/>
                    </a:cubicBezTo>
                    <a:cubicBezTo>
                      <a:pt x="18127" y="3774"/>
                      <a:pt x="13881" y="-174"/>
                      <a:pt x="8797" y="6"/>
                    </a:cubicBezTo>
                    <a:cubicBezTo>
                      <a:pt x="3714" y="185"/>
                      <a:pt x="-174" y="4491"/>
                      <a:pt x="6" y="9575"/>
                    </a:cubicBezTo>
                    <a:cubicBezTo>
                      <a:pt x="245" y="14659"/>
                      <a:pt x="4492" y="18606"/>
                      <a:pt x="9575" y="18427"/>
                    </a:cubicBezTo>
                    <a:close/>
                  </a:path>
                </a:pathLst>
              </a:custGeom>
              <a:grpFill/>
              <a:ln w="5978" cap="flat">
                <a:noFill/>
                <a:prstDash val="solid"/>
                <a:miter/>
              </a:ln>
            </p:spPr>
            <p:txBody>
              <a:bodyPr rtlCol="0" anchor="ctr"/>
              <a:lstStyle/>
              <a:p>
                <a:endParaRPr lang="en-GB"/>
              </a:p>
            </p:txBody>
          </p:sp>
        </p:grpSp>
        <p:grpSp>
          <p:nvGrpSpPr>
            <p:cNvPr id="1288" name="Graphic 3">
              <a:extLst>
                <a:ext uri="{FF2B5EF4-FFF2-40B4-BE49-F238E27FC236}">
                  <a16:creationId xmlns:a16="http://schemas.microsoft.com/office/drawing/2014/main" id="{16374AE6-7BF4-4B73-A4A1-908D2247D5DD}"/>
                </a:ext>
              </a:extLst>
            </p:cNvPr>
            <p:cNvGrpSpPr/>
            <p:nvPr/>
          </p:nvGrpSpPr>
          <p:grpSpPr>
            <a:xfrm>
              <a:off x="4207642" y="3955999"/>
              <a:ext cx="93854" cy="41967"/>
              <a:chOff x="4207642" y="3955999"/>
              <a:chExt cx="93854" cy="41967"/>
            </a:xfrm>
            <a:grpFill/>
          </p:grpSpPr>
          <p:sp>
            <p:nvSpPr>
              <p:cNvPr id="1543" name="Vrije vorm: vorm 1542">
                <a:extLst>
                  <a:ext uri="{FF2B5EF4-FFF2-40B4-BE49-F238E27FC236}">
                    <a16:creationId xmlns:a16="http://schemas.microsoft.com/office/drawing/2014/main" id="{EFA4FD40-105D-4AB5-A482-6272A1708D99}"/>
                  </a:ext>
                </a:extLst>
              </p:cNvPr>
              <p:cNvSpPr/>
              <p:nvPr/>
            </p:nvSpPr>
            <p:spPr>
              <a:xfrm>
                <a:off x="4215900" y="3963403"/>
                <a:ext cx="77304" cy="26718"/>
              </a:xfrm>
              <a:custGeom>
                <a:avLst/>
                <a:gdLst>
                  <a:gd name="connsiteX0" fmla="*/ 0 w 77304"/>
                  <a:gd name="connsiteY0" fmla="*/ 23807 h 26718"/>
                  <a:gd name="connsiteX1" fmla="*/ 76397 w 77304"/>
                  <a:gd name="connsiteY1" fmla="*/ 0 h 26718"/>
                  <a:gd name="connsiteX2" fmla="*/ 77304 w 77304"/>
                  <a:gd name="connsiteY2" fmla="*/ 2912 h 26718"/>
                  <a:gd name="connsiteX3" fmla="*/ 907 w 77304"/>
                  <a:gd name="connsiteY3" fmla="*/ 26719 h 26718"/>
                </a:gdLst>
                <a:ahLst/>
                <a:cxnLst>
                  <a:cxn ang="0">
                    <a:pos x="connsiteX0" y="connsiteY0"/>
                  </a:cxn>
                  <a:cxn ang="0">
                    <a:pos x="connsiteX1" y="connsiteY1"/>
                  </a:cxn>
                  <a:cxn ang="0">
                    <a:pos x="connsiteX2" y="connsiteY2"/>
                  </a:cxn>
                  <a:cxn ang="0">
                    <a:pos x="connsiteX3" y="connsiteY3"/>
                  </a:cxn>
                </a:cxnLst>
                <a:rect l="l" t="t" r="r" b="b"/>
                <a:pathLst>
                  <a:path w="77304" h="26718">
                    <a:moveTo>
                      <a:pt x="0" y="23807"/>
                    </a:moveTo>
                    <a:lnTo>
                      <a:pt x="76397" y="0"/>
                    </a:lnTo>
                    <a:lnTo>
                      <a:pt x="77304" y="2912"/>
                    </a:lnTo>
                    <a:lnTo>
                      <a:pt x="907" y="26719"/>
                    </a:lnTo>
                    <a:close/>
                  </a:path>
                </a:pathLst>
              </a:custGeom>
              <a:grpFill/>
              <a:ln w="5978" cap="flat">
                <a:noFill/>
                <a:prstDash val="solid"/>
                <a:miter/>
              </a:ln>
            </p:spPr>
            <p:txBody>
              <a:bodyPr rtlCol="0" anchor="ctr"/>
              <a:lstStyle/>
              <a:p>
                <a:endParaRPr lang="en-GB"/>
              </a:p>
            </p:txBody>
          </p:sp>
          <p:sp>
            <p:nvSpPr>
              <p:cNvPr id="1544" name="Vrije vorm: vorm 1543">
                <a:extLst>
                  <a:ext uri="{FF2B5EF4-FFF2-40B4-BE49-F238E27FC236}">
                    <a16:creationId xmlns:a16="http://schemas.microsoft.com/office/drawing/2014/main" id="{D8249B15-A15D-40DD-9ABA-853CC450977C}"/>
                  </a:ext>
                </a:extLst>
              </p:cNvPr>
              <p:cNvSpPr/>
              <p:nvPr/>
            </p:nvSpPr>
            <p:spPr>
              <a:xfrm>
                <a:off x="4207642" y="3979499"/>
                <a:ext cx="18317" cy="18468"/>
              </a:xfrm>
              <a:custGeom>
                <a:avLst/>
                <a:gdLst>
                  <a:gd name="connsiteX0" fmla="*/ 11896 w 18317"/>
                  <a:gd name="connsiteY0" fmla="*/ 18056 h 18468"/>
                  <a:gd name="connsiteX1" fmla="*/ 413 w 18317"/>
                  <a:gd name="connsiteY1" fmla="*/ 11955 h 18468"/>
                  <a:gd name="connsiteX2" fmla="*/ 6394 w 18317"/>
                  <a:gd name="connsiteY2" fmla="*/ 413 h 18468"/>
                  <a:gd name="connsiteX3" fmla="*/ 17877 w 18317"/>
                  <a:gd name="connsiteY3" fmla="*/ 6513 h 18468"/>
                  <a:gd name="connsiteX4" fmla="*/ 11896 w 18317"/>
                  <a:gd name="connsiteY4" fmla="*/ 1805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68">
                    <a:moveTo>
                      <a:pt x="11896" y="18056"/>
                    </a:moveTo>
                    <a:cubicBezTo>
                      <a:pt x="7052" y="19551"/>
                      <a:pt x="1908" y="16859"/>
                      <a:pt x="413" y="11955"/>
                    </a:cubicBezTo>
                    <a:cubicBezTo>
                      <a:pt x="-1082" y="7111"/>
                      <a:pt x="1609" y="1908"/>
                      <a:pt x="6394" y="413"/>
                    </a:cubicBezTo>
                    <a:cubicBezTo>
                      <a:pt x="11238" y="-1083"/>
                      <a:pt x="16382" y="1609"/>
                      <a:pt x="17877" y="6513"/>
                    </a:cubicBezTo>
                    <a:cubicBezTo>
                      <a:pt x="19432" y="11357"/>
                      <a:pt x="16741" y="16561"/>
                      <a:pt x="11896" y="18056"/>
                    </a:cubicBezTo>
                    <a:close/>
                  </a:path>
                </a:pathLst>
              </a:custGeom>
              <a:grpFill/>
              <a:ln w="5978" cap="flat">
                <a:noFill/>
                <a:prstDash val="solid"/>
                <a:miter/>
              </a:ln>
            </p:spPr>
            <p:txBody>
              <a:bodyPr rtlCol="0" anchor="ctr"/>
              <a:lstStyle/>
              <a:p>
                <a:endParaRPr lang="en-GB"/>
              </a:p>
            </p:txBody>
          </p:sp>
          <p:sp>
            <p:nvSpPr>
              <p:cNvPr id="1545" name="Vrije vorm: vorm 1544">
                <a:extLst>
                  <a:ext uri="{FF2B5EF4-FFF2-40B4-BE49-F238E27FC236}">
                    <a16:creationId xmlns:a16="http://schemas.microsoft.com/office/drawing/2014/main" id="{F65AF3F6-31A5-41B0-B09B-63BDAA252301}"/>
                  </a:ext>
                </a:extLst>
              </p:cNvPr>
              <p:cNvSpPr/>
              <p:nvPr/>
            </p:nvSpPr>
            <p:spPr>
              <a:xfrm>
                <a:off x="4283151" y="3955999"/>
                <a:ext cx="18345" cy="18463"/>
              </a:xfrm>
              <a:custGeom>
                <a:avLst/>
                <a:gdLst>
                  <a:gd name="connsiteX0" fmla="*/ 11924 w 18345"/>
                  <a:gd name="connsiteY0" fmla="*/ 18051 h 18463"/>
                  <a:gd name="connsiteX1" fmla="*/ 17905 w 18345"/>
                  <a:gd name="connsiteY1" fmla="*/ 6508 h 18463"/>
                  <a:gd name="connsiteX2" fmla="*/ 6422 w 18345"/>
                  <a:gd name="connsiteY2" fmla="*/ 407 h 18463"/>
                  <a:gd name="connsiteX3" fmla="*/ 441 w 18345"/>
                  <a:gd name="connsiteY3" fmla="*/ 11950 h 18463"/>
                  <a:gd name="connsiteX4" fmla="*/ 11924 w 18345"/>
                  <a:gd name="connsiteY4" fmla="*/ 180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3">
                    <a:moveTo>
                      <a:pt x="11924" y="18051"/>
                    </a:moveTo>
                    <a:cubicBezTo>
                      <a:pt x="16768" y="16555"/>
                      <a:pt x="19460" y="11412"/>
                      <a:pt x="17905" y="6508"/>
                    </a:cubicBezTo>
                    <a:cubicBezTo>
                      <a:pt x="16409" y="1664"/>
                      <a:pt x="11266" y="-1088"/>
                      <a:pt x="6422" y="407"/>
                    </a:cubicBezTo>
                    <a:cubicBezTo>
                      <a:pt x="1577" y="1903"/>
                      <a:pt x="-1114" y="7046"/>
                      <a:pt x="441" y="11950"/>
                    </a:cubicBezTo>
                    <a:cubicBezTo>
                      <a:pt x="1936" y="16854"/>
                      <a:pt x="7079" y="19546"/>
                      <a:pt x="11924" y="18051"/>
                    </a:cubicBezTo>
                    <a:close/>
                  </a:path>
                </a:pathLst>
              </a:custGeom>
              <a:grpFill/>
              <a:ln w="5978" cap="flat">
                <a:noFill/>
                <a:prstDash val="solid"/>
                <a:miter/>
              </a:ln>
            </p:spPr>
            <p:txBody>
              <a:bodyPr rtlCol="0" anchor="ctr"/>
              <a:lstStyle/>
              <a:p>
                <a:endParaRPr lang="en-GB"/>
              </a:p>
            </p:txBody>
          </p:sp>
        </p:grpSp>
        <p:grpSp>
          <p:nvGrpSpPr>
            <p:cNvPr id="1289" name="Graphic 3">
              <a:extLst>
                <a:ext uri="{FF2B5EF4-FFF2-40B4-BE49-F238E27FC236}">
                  <a16:creationId xmlns:a16="http://schemas.microsoft.com/office/drawing/2014/main" id="{C69DF2E9-64D2-435C-B4E2-3A95BF502565}"/>
                </a:ext>
              </a:extLst>
            </p:cNvPr>
            <p:cNvGrpSpPr/>
            <p:nvPr/>
          </p:nvGrpSpPr>
          <p:grpSpPr>
            <a:xfrm>
              <a:off x="3856550" y="3122138"/>
              <a:ext cx="206897" cy="43037"/>
              <a:chOff x="3856550" y="3122138"/>
              <a:chExt cx="206897" cy="43037"/>
            </a:xfrm>
            <a:grpFill/>
          </p:grpSpPr>
          <p:sp>
            <p:nvSpPr>
              <p:cNvPr id="1540" name="Vrije vorm: vorm 1539">
                <a:extLst>
                  <a:ext uri="{FF2B5EF4-FFF2-40B4-BE49-F238E27FC236}">
                    <a16:creationId xmlns:a16="http://schemas.microsoft.com/office/drawing/2014/main" id="{8BBF30DC-9BA7-4C53-86D4-6FC84AA9FD6D}"/>
                  </a:ext>
                </a:extLst>
              </p:cNvPr>
              <p:cNvSpPr/>
              <p:nvPr/>
            </p:nvSpPr>
            <p:spPr>
              <a:xfrm>
                <a:off x="3865061" y="3129752"/>
                <a:ext cx="189887" cy="27810"/>
              </a:xfrm>
              <a:custGeom>
                <a:avLst/>
                <a:gdLst>
                  <a:gd name="connsiteX0" fmla="*/ 189888 w 189887"/>
                  <a:gd name="connsiteY0" fmla="*/ 24760 h 27810"/>
                  <a:gd name="connsiteX1" fmla="*/ 189529 w 189887"/>
                  <a:gd name="connsiteY1" fmla="*/ 27810 h 27810"/>
                  <a:gd name="connsiteX2" fmla="*/ 0 w 189887"/>
                  <a:gd name="connsiteY2" fmla="*/ 3050 h 27810"/>
                  <a:gd name="connsiteX3" fmla="*/ 359 w 189887"/>
                  <a:gd name="connsiteY3" fmla="*/ 0 h 27810"/>
                </a:gdLst>
                <a:ahLst/>
                <a:cxnLst>
                  <a:cxn ang="0">
                    <a:pos x="connsiteX0" y="connsiteY0"/>
                  </a:cxn>
                  <a:cxn ang="0">
                    <a:pos x="connsiteX1" y="connsiteY1"/>
                  </a:cxn>
                  <a:cxn ang="0">
                    <a:pos x="connsiteX2" y="connsiteY2"/>
                  </a:cxn>
                  <a:cxn ang="0">
                    <a:pos x="connsiteX3" y="connsiteY3"/>
                  </a:cxn>
                </a:cxnLst>
                <a:rect l="l" t="t" r="r" b="b"/>
                <a:pathLst>
                  <a:path w="189887" h="27810">
                    <a:moveTo>
                      <a:pt x="189888" y="24760"/>
                    </a:moveTo>
                    <a:lnTo>
                      <a:pt x="189529" y="27810"/>
                    </a:lnTo>
                    <a:lnTo>
                      <a:pt x="0" y="3050"/>
                    </a:lnTo>
                    <a:lnTo>
                      <a:pt x="359" y="0"/>
                    </a:lnTo>
                    <a:close/>
                  </a:path>
                </a:pathLst>
              </a:custGeom>
              <a:grpFill/>
              <a:ln w="5978" cap="flat">
                <a:noFill/>
                <a:prstDash val="solid"/>
                <a:miter/>
              </a:ln>
            </p:spPr>
            <p:txBody>
              <a:bodyPr rtlCol="0" anchor="ctr"/>
              <a:lstStyle/>
              <a:p>
                <a:endParaRPr lang="en-GB"/>
              </a:p>
            </p:txBody>
          </p:sp>
          <p:sp>
            <p:nvSpPr>
              <p:cNvPr id="1541" name="Vrije vorm: vorm 1540">
                <a:extLst>
                  <a:ext uri="{FF2B5EF4-FFF2-40B4-BE49-F238E27FC236}">
                    <a16:creationId xmlns:a16="http://schemas.microsoft.com/office/drawing/2014/main" id="{AF86B4C4-B7ED-4E80-940D-4B59551F3004}"/>
                  </a:ext>
                </a:extLst>
              </p:cNvPr>
              <p:cNvSpPr/>
              <p:nvPr/>
            </p:nvSpPr>
            <p:spPr>
              <a:xfrm>
                <a:off x="4045134" y="3146719"/>
                <a:ext cx="18313" cy="18456"/>
              </a:xfrm>
              <a:custGeom>
                <a:avLst/>
                <a:gdLst>
                  <a:gd name="connsiteX0" fmla="*/ 10293 w 18313"/>
                  <a:gd name="connsiteY0" fmla="*/ 78 h 18456"/>
                  <a:gd name="connsiteX1" fmla="*/ 18248 w 18313"/>
                  <a:gd name="connsiteY1" fmla="*/ 10424 h 18456"/>
                  <a:gd name="connsiteX2" fmla="*/ 8020 w 18313"/>
                  <a:gd name="connsiteY2" fmla="*/ 18379 h 18456"/>
                  <a:gd name="connsiteX3" fmla="*/ 66 w 18313"/>
                  <a:gd name="connsiteY3" fmla="*/ 8032 h 18456"/>
                  <a:gd name="connsiteX4" fmla="*/ 10293 w 18313"/>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56">
                    <a:moveTo>
                      <a:pt x="10293" y="78"/>
                    </a:moveTo>
                    <a:cubicBezTo>
                      <a:pt x="15317" y="736"/>
                      <a:pt x="18846" y="5341"/>
                      <a:pt x="18248" y="10424"/>
                    </a:cubicBezTo>
                    <a:cubicBezTo>
                      <a:pt x="17589" y="15448"/>
                      <a:pt x="13044" y="19037"/>
                      <a:pt x="8020" y="18379"/>
                    </a:cubicBezTo>
                    <a:cubicBezTo>
                      <a:pt x="2997" y="17721"/>
                      <a:pt x="-532" y="13116"/>
                      <a:pt x="66" y="8032"/>
                    </a:cubicBezTo>
                    <a:cubicBezTo>
                      <a:pt x="724" y="3008"/>
                      <a:pt x="5269" y="-580"/>
                      <a:pt x="10293" y="78"/>
                    </a:cubicBezTo>
                    <a:close/>
                  </a:path>
                </a:pathLst>
              </a:custGeom>
              <a:grpFill/>
              <a:ln w="5978" cap="flat">
                <a:noFill/>
                <a:prstDash val="solid"/>
                <a:miter/>
              </a:ln>
            </p:spPr>
            <p:txBody>
              <a:bodyPr rtlCol="0" anchor="ctr"/>
              <a:lstStyle/>
              <a:p>
                <a:endParaRPr lang="en-GB"/>
              </a:p>
            </p:txBody>
          </p:sp>
          <p:sp>
            <p:nvSpPr>
              <p:cNvPr id="1542" name="Vrije vorm: vorm 1541">
                <a:extLst>
                  <a:ext uri="{FF2B5EF4-FFF2-40B4-BE49-F238E27FC236}">
                    <a16:creationId xmlns:a16="http://schemas.microsoft.com/office/drawing/2014/main" id="{D9485F20-7097-4DE4-B366-224EE9FEDC7D}"/>
                  </a:ext>
                </a:extLst>
              </p:cNvPr>
              <p:cNvSpPr/>
              <p:nvPr/>
            </p:nvSpPr>
            <p:spPr>
              <a:xfrm>
                <a:off x="3856550" y="3122138"/>
                <a:ext cx="18325" cy="18456"/>
              </a:xfrm>
              <a:custGeom>
                <a:avLst/>
                <a:gdLst>
                  <a:gd name="connsiteX0" fmla="*/ 10305 w 18325"/>
                  <a:gd name="connsiteY0" fmla="*/ 78 h 18456"/>
                  <a:gd name="connsiteX1" fmla="*/ 78 w 18325"/>
                  <a:gd name="connsiteY1" fmla="*/ 8032 h 18456"/>
                  <a:gd name="connsiteX2" fmla="*/ 8032 w 18325"/>
                  <a:gd name="connsiteY2" fmla="*/ 18379 h 18456"/>
                  <a:gd name="connsiteX3" fmla="*/ 18259 w 18325"/>
                  <a:gd name="connsiteY3" fmla="*/ 10424 h 18456"/>
                  <a:gd name="connsiteX4" fmla="*/ 10305 w 18325"/>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6">
                    <a:moveTo>
                      <a:pt x="10305" y="78"/>
                    </a:moveTo>
                    <a:cubicBezTo>
                      <a:pt x="5281" y="-580"/>
                      <a:pt x="676" y="3008"/>
                      <a:pt x="78" y="8032"/>
                    </a:cubicBezTo>
                    <a:cubicBezTo>
                      <a:pt x="-580" y="13056"/>
                      <a:pt x="3008" y="17721"/>
                      <a:pt x="8032" y="18379"/>
                    </a:cubicBezTo>
                    <a:cubicBezTo>
                      <a:pt x="13056" y="19037"/>
                      <a:pt x="17661" y="15448"/>
                      <a:pt x="18259" y="10424"/>
                    </a:cubicBezTo>
                    <a:cubicBezTo>
                      <a:pt x="18857" y="5401"/>
                      <a:pt x="15329" y="736"/>
                      <a:pt x="10305" y="78"/>
                    </a:cubicBezTo>
                    <a:close/>
                  </a:path>
                </a:pathLst>
              </a:custGeom>
              <a:grpFill/>
              <a:ln w="5978" cap="flat">
                <a:noFill/>
                <a:prstDash val="solid"/>
                <a:miter/>
              </a:ln>
            </p:spPr>
            <p:txBody>
              <a:bodyPr rtlCol="0" anchor="ctr"/>
              <a:lstStyle/>
              <a:p>
                <a:endParaRPr lang="en-GB"/>
              </a:p>
            </p:txBody>
          </p:sp>
        </p:grpSp>
        <p:grpSp>
          <p:nvGrpSpPr>
            <p:cNvPr id="1290" name="Graphic 3">
              <a:extLst>
                <a:ext uri="{FF2B5EF4-FFF2-40B4-BE49-F238E27FC236}">
                  <a16:creationId xmlns:a16="http://schemas.microsoft.com/office/drawing/2014/main" id="{C993AFD4-AE22-4537-A0B5-9620033DA23B}"/>
                </a:ext>
              </a:extLst>
            </p:cNvPr>
            <p:cNvGrpSpPr/>
            <p:nvPr/>
          </p:nvGrpSpPr>
          <p:grpSpPr>
            <a:xfrm>
              <a:off x="4432576" y="4589030"/>
              <a:ext cx="42539" cy="36414"/>
              <a:chOff x="4432576" y="4589030"/>
              <a:chExt cx="42539" cy="36414"/>
            </a:xfrm>
            <a:grpFill/>
          </p:grpSpPr>
          <p:sp>
            <p:nvSpPr>
              <p:cNvPr id="1537" name="Vrije vorm: vorm 1536">
                <a:extLst>
                  <a:ext uri="{FF2B5EF4-FFF2-40B4-BE49-F238E27FC236}">
                    <a16:creationId xmlns:a16="http://schemas.microsoft.com/office/drawing/2014/main" id="{D5C47392-9555-4A8C-BA55-2ECFF16A273E}"/>
                  </a:ext>
                </a:extLst>
              </p:cNvPr>
              <p:cNvSpPr/>
              <p:nvPr/>
            </p:nvSpPr>
            <p:spPr>
              <a:xfrm>
                <a:off x="4440466" y="4596703"/>
                <a:ext cx="26793" cy="21052"/>
              </a:xfrm>
              <a:custGeom>
                <a:avLst/>
                <a:gdLst>
                  <a:gd name="connsiteX0" fmla="*/ 26794 w 26793"/>
                  <a:gd name="connsiteY0" fmla="*/ 2512 h 21052"/>
                  <a:gd name="connsiteX1" fmla="*/ 1794 w 26793"/>
                  <a:gd name="connsiteY1" fmla="*/ 21052 h 21052"/>
                  <a:gd name="connsiteX2" fmla="*/ 0 w 26793"/>
                  <a:gd name="connsiteY2" fmla="*/ 18600 h 21052"/>
                  <a:gd name="connsiteX3" fmla="*/ 24940 w 26793"/>
                  <a:gd name="connsiteY3" fmla="*/ 0 h 21052"/>
                </a:gdLst>
                <a:ahLst/>
                <a:cxnLst>
                  <a:cxn ang="0">
                    <a:pos x="connsiteX0" y="connsiteY0"/>
                  </a:cxn>
                  <a:cxn ang="0">
                    <a:pos x="connsiteX1" y="connsiteY1"/>
                  </a:cxn>
                  <a:cxn ang="0">
                    <a:pos x="connsiteX2" y="connsiteY2"/>
                  </a:cxn>
                  <a:cxn ang="0">
                    <a:pos x="connsiteX3" y="connsiteY3"/>
                  </a:cxn>
                </a:cxnLst>
                <a:rect l="l" t="t" r="r" b="b"/>
                <a:pathLst>
                  <a:path w="26793" h="21052">
                    <a:moveTo>
                      <a:pt x="26794" y="2512"/>
                    </a:moveTo>
                    <a:lnTo>
                      <a:pt x="1794" y="21052"/>
                    </a:lnTo>
                    <a:lnTo>
                      <a:pt x="0" y="18600"/>
                    </a:lnTo>
                    <a:lnTo>
                      <a:pt x="24940" y="0"/>
                    </a:lnTo>
                    <a:close/>
                  </a:path>
                </a:pathLst>
              </a:custGeom>
              <a:grpFill/>
              <a:ln w="5978" cap="flat">
                <a:noFill/>
                <a:prstDash val="solid"/>
                <a:miter/>
              </a:ln>
            </p:spPr>
            <p:txBody>
              <a:bodyPr rtlCol="0" anchor="ctr"/>
              <a:lstStyle/>
              <a:p>
                <a:endParaRPr lang="en-GB"/>
              </a:p>
            </p:txBody>
          </p:sp>
          <p:sp>
            <p:nvSpPr>
              <p:cNvPr id="1538" name="Vrije vorm: vorm 1537">
                <a:extLst>
                  <a:ext uri="{FF2B5EF4-FFF2-40B4-BE49-F238E27FC236}">
                    <a16:creationId xmlns:a16="http://schemas.microsoft.com/office/drawing/2014/main" id="{DDA65295-F4EA-4795-A3F8-213D74A3AF01}"/>
                  </a:ext>
                </a:extLst>
              </p:cNvPr>
              <p:cNvSpPr/>
              <p:nvPr/>
            </p:nvSpPr>
            <p:spPr>
              <a:xfrm>
                <a:off x="4456798" y="4589030"/>
                <a:ext cx="18317" cy="18429"/>
              </a:xfrm>
              <a:custGeom>
                <a:avLst/>
                <a:gdLst>
                  <a:gd name="connsiteX0" fmla="*/ 3703 w 18317"/>
                  <a:gd name="connsiteY0" fmla="*/ 1812 h 18429"/>
                  <a:gd name="connsiteX1" fmla="*/ 16502 w 18317"/>
                  <a:gd name="connsiteY1" fmla="*/ 3785 h 18429"/>
                  <a:gd name="connsiteX2" fmla="*/ 14588 w 18317"/>
                  <a:gd name="connsiteY2" fmla="*/ 16644 h 18429"/>
                  <a:gd name="connsiteX3" fmla="*/ 1790 w 18317"/>
                  <a:gd name="connsiteY3" fmla="*/ 14670 h 18429"/>
                  <a:gd name="connsiteX4" fmla="*/ 3703 w 18317"/>
                  <a:gd name="connsiteY4" fmla="*/ 181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29">
                    <a:moveTo>
                      <a:pt x="3703" y="1812"/>
                    </a:moveTo>
                    <a:cubicBezTo>
                      <a:pt x="7770" y="-1239"/>
                      <a:pt x="13512" y="-342"/>
                      <a:pt x="16502" y="3785"/>
                    </a:cubicBezTo>
                    <a:cubicBezTo>
                      <a:pt x="19552" y="7852"/>
                      <a:pt x="18655" y="13653"/>
                      <a:pt x="14588" y="16644"/>
                    </a:cubicBezTo>
                    <a:cubicBezTo>
                      <a:pt x="10522" y="19634"/>
                      <a:pt x="4780" y="18797"/>
                      <a:pt x="1790" y="14670"/>
                    </a:cubicBezTo>
                    <a:cubicBezTo>
                      <a:pt x="-1201" y="10543"/>
                      <a:pt x="-363" y="4802"/>
                      <a:pt x="3703" y="1812"/>
                    </a:cubicBezTo>
                    <a:close/>
                  </a:path>
                </a:pathLst>
              </a:custGeom>
              <a:grpFill/>
              <a:ln w="5978" cap="flat">
                <a:noFill/>
                <a:prstDash val="solid"/>
                <a:miter/>
              </a:ln>
            </p:spPr>
            <p:txBody>
              <a:bodyPr rtlCol="0" anchor="ctr"/>
              <a:lstStyle/>
              <a:p>
                <a:endParaRPr lang="en-GB"/>
              </a:p>
            </p:txBody>
          </p:sp>
          <p:sp>
            <p:nvSpPr>
              <p:cNvPr id="1539" name="Vrije vorm: vorm 1538">
                <a:extLst>
                  <a:ext uri="{FF2B5EF4-FFF2-40B4-BE49-F238E27FC236}">
                    <a16:creationId xmlns:a16="http://schemas.microsoft.com/office/drawing/2014/main" id="{BB6AB54D-4977-4999-B689-55D16046D8F8}"/>
                  </a:ext>
                </a:extLst>
              </p:cNvPr>
              <p:cNvSpPr/>
              <p:nvPr/>
            </p:nvSpPr>
            <p:spPr>
              <a:xfrm>
                <a:off x="4432576" y="4607032"/>
                <a:ext cx="18291" cy="18412"/>
              </a:xfrm>
              <a:custGeom>
                <a:avLst/>
                <a:gdLst>
                  <a:gd name="connsiteX0" fmla="*/ 3703 w 18291"/>
                  <a:gd name="connsiteY0" fmla="*/ 1811 h 18412"/>
                  <a:gd name="connsiteX1" fmla="*/ 1790 w 18291"/>
                  <a:gd name="connsiteY1" fmla="*/ 14670 h 18412"/>
                  <a:gd name="connsiteX2" fmla="*/ 14588 w 18291"/>
                  <a:gd name="connsiteY2" fmla="*/ 16644 h 18412"/>
                  <a:gd name="connsiteX3" fmla="*/ 16502 w 18291"/>
                  <a:gd name="connsiteY3" fmla="*/ 3785 h 18412"/>
                  <a:gd name="connsiteX4" fmla="*/ 3703 w 18291"/>
                  <a:gd name="connsiteY4" fmla="*/ 181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12">
                    <a:moveTo>
                      <a:pt x="3703" y="1811"/>
                    </a:moveTo>
                    <a:cubicBezTo>
                      <a:pt x="-363" y="4802"/>
                      <a:pt x="-1201" y="10603"/>
                      <a:pt x="1790" y="14670"/>
                    </a:cubicBezTo>
                    <a:cubicBezTo>
                      <a:pt x="4780" y="18737"/>
                      <a:pt x="10522" y="19634"/>
                      <a:pt x="14588" y="16644"/>
                    </a:cubicBezTo>
                    <a:cubicBezTo>
                      <a:pt x="18655" y="13593"/>
                      <a:pt x="19493" y="7852"/>
                      <a:pt x="16502" y="3785"/>
                    </a:cubicBezTo>
                    <a:cubicBezTo>
                      <a:pt x="13512" y="-342"/>
                      <a:pt x="7770" y="-1239"/>
                      <a:pt x="3703" y="1811"/>
                    </a:cubicBezTo>
                    <a:close/>
                  </a:path>
                </a:pathLst>
              </a:custGeom>
              <a:grpFill/>
              <a:ln w="5978" cap="flat">
                <a:noFill/>
                <a:prstDash val="solid"/>
                <a:miter/>
              </a:ln>
            </p:spPr>
            <p:txBody>
              <a:bodyPr rtlCol="0" anchor="ctr"/>
              <a:lstStyle/>
              <a:p>
                <a:endParaRPr lang="en-GB"/>
              </a:p>
            </p:txBody>
          </p:sp>
        </p:grpSp>
        <p:grpSp>
          <p:nvGrpSpPr>
            <p:cNvPr id="1291" name="Graphic 3">
              <a:extLst>
                <a:ext uri="{FF2B5EF4-FFF2-40B4-BE49-F238E27FC236}">
                  <a16:creationId xmlns:a16="http://schemas.microsoft.com/office/drawing/2014/main" id="{EC96EA97-5A53-4DC2-A0BB-C2F604B5C7E0}"/>
                </a:ext>
              </a:extLst>
            </p:cNvPr>
            <p:cNvGrpSpPr/>
            <p:nvPr/>
          </p:nvGrpSpPr>
          <p:grpSpPr>
            <a:xfrm>
              <a:off x="4013479" y="3853412"/>
              <a:ext cx="398647" cy="82188"/>
              <a:chOff x="4013479" y="3853412"/>
              <a:chExt cx="398647" cy="82188"/>
            </a:xfrm>
            <a:grpFill/>
          </p:grpSpPr>
          <p:sp>
            <p:nvSpPr>
              <p:cNvPr id="1534" name="Vrije vorm: vorm 1533">
                <a:extLst>
                  <a:ext uri="{FF2B5EF4-FFF2-40B4-BE49-F238E27FC236}">
                    <a16:creationId xmlns:a16="http://schemas.microsoft.com/office/drawing/2014/main" id="{199F89B3-0DFE-4957-831B-E23136306ED8}"/>
                  </a:ext>
                </a:extLst>
              </p:cNvPr>
              <p:cNvSpPr/>
              <p:nvPr/>
            </p:nvSpPr>
            <p:spPr>
              <a:xfrm>
                <a:off x="4021935" y="3861074"/>
                <a:ext cx="381749" cy="66924"/>
              </a:xfrm>
              <a:custGeom>
                <a:avLst/>
                <a:gdLst>
                  <a:gd name="connsiteX0" fmla="*/ 381211 w 381749"/>
                  <a:gd name="connsiteY0" fmla="*/ 0 h 66924"/>
                  <a:gd name="connsiteX1" fmla="*/ 381749 w 381749"/>
                  <a:gd name="connsiteY1" fmla="*/ 2990 h 66924"/>
                  <a:gd name="connsiteX2" fmla="*/ 538 w 381749"/>
                  <a:gd name="connsiteY2" fmla="*/ 66924 h 66924"/>
                  <a:gd name="connsiteX3" fmla="*/ 0 w 381749"/>
                  <a:gd name="connsiteY3" fmla="*/ 63874 h 66924"/>
                </a:gdLst>
                <a:ahLst/>
                <a:cxnLst>
                  <a:cxn ang="0">
                    <a:pos x="connsiteX0" y="connsiteY0"/>
                  </a:cxn>
                  <a:cxn ang="0">
                    <a:pos x="connsiteX1" y="connsiteY1"/>
                  </a:cxn>
                  <a:cxn ang="0">
                    <a:pos x="connsiteX2" y="connsiteY2"/>
                  </a:cxn>
                  <a:cxn ang="0">
                    <a:pos x="connsiteX3" y="connsiteY3"/>
                  </a:cxn>
                </a:cxnLst>
                <a:rect l="l" t="t" r="r" b="b"/>
                <a:pathLst>
                  <a:path w="381749" h="66924">
                    <a:moveTo>
                      <a:pt x="381211" y="0"/>
                    </a:moveTo>
                    <a:lnTo>
                      <a:pt x="381749" y="2990"/>
                    </a:lnTo>
                    <a:lnTo>
                      <a:pt x="538" y="66924"/>
                    </a:lnTo>
                    <a:lnTo>
                      <a:pt x="0" y="63874"/>
                    </a:lnTo>
                    <a:close/>
                  </a:path>
                </a:pathLst>
              </a:custGeom>
              <a:grpFill/>
              <a:ln w="5978" cap="flat">
                <a:noFill/>
                <a:prstDash val="solid"/>
                <a:miter/>
              </a:ln>
            </p:spPr>
            <p:txBody>
              <a:bodyPr rtlCol="0" anchor="ctr"/>
              <a:lstStyle/>
              <a:p>
                <a:endParaRPr lang="en-GB"/>
              </a:p>
            </p:txBody>
          </p:sp>
          <p:sp>
            <p:nvSpPr>
              <p:cNvPr id="1535" name="Vrije vorm: vorm 1534">
                <a:extLst>
                  <a:ext uri="{FF2B5EF4-FFF2-40B4-BE49-F238E27FC236}">
                    <a16:creationId xmlns:a16="http://schemas.microsoft.com/office/drawing/2014/main" id="{0196356C-630C-45C7-9C44-FF06A5CD79D1}"/>
                  </a:ext>
                </a:extLst>
              </p:cNvPr>
              <p:cNvSpPr/>
              <p:nvPr/>
            </p:nvSpPr>
            <p:spPr>
              <a:xfrm>
                <a:off x="4393808" y="3853412"/>
                <a:ext cx="18318" cy="18434"/>
              </a:xfrm>
              <a:custGeom>
                <a:avLst/>
                <a:gdLst>
                  <a:gd name="connsiteX0" fmla="*/ 7604 w 18318"/>
                  <a:gd name="connsiteY0" fmla="*/ 126 h 18434"/>
                  <a:gd name="connsiteX1" fmla="*/ 18190 w 18318"/>
                  <a:gd name="connsiteY1" fmla="*/ 7722 h 18434"/>
                  <a:gd name="connsiteX2" fmla="*/ 10714 w 18318"/>
                  <a:gd name="connsiteY2" fmla="*/ 18308 h 18434"/>
                  <a:gd name="connsiteX3" fmla="*/ 128 w 18318"/>
                  <a:gd name="connsiteY3" fmla="*/ 10712 h 18434"/>
                  <a:gd name="connsiteX4" fmla="*/ 7604 w 18318"/>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7604" y="126"/>
                    </a:moveTo>
                    <a:cubicBezTo>
                      <a:pt x="12568" y="-711"/>
                      <a:pt x="17353" y="2698"/>
                      <a:pt x="18190" y="7722"/>
                    </a:cubicBezTo>
                    <a:cubicBezTo>
                      <a:pt x="19028" y="12746"/>
                      <a:pt x="15678" y="17471"/>
                      <a:pt x="10714" y="18308"/>
                    </a:cubicBezTo>
                    <a:cubicBezTo>
                      <a:pt x="5750" y="19145"/>
                      <a:pt x="966" y="15736"/>
                      <a:pt x="128" y="10712"/>
                    </a:cubicBezTo>
                    <a:cubicBezTo>
                      <a:pt x="-709" y="5748"/>
                      <a:pt x="2640" y="964"/>
                      <a:pt x="7604" y="126"/>
                    </a:cubicBezTo>
                    <a:close/>
                  </a:path>
                </a:pathLst>
              </a:custGeom>
              <a:grpFill/>
              <a:ln w="5978" cap="flat">
                <a:noFill/>
                <a:prstDash val="solid"/>
                <a:miter/>
              </a:ln>
            </p:spPr>
            <p:txBody>
              <a:bodyPr rtlCol="0" anchor="ctr"/>
              <a:lstStyle/>
              <a:p>
                <a:endParaRPr lang="en-GB"/>
              </a:p>
            </p:txBody>
          </p:sp>
          <p:sp>
            <p:nvSpPr>
              <p:cNvPr id="1536" name="Vrije vorm: vorm 1535">
                <a:extLst>
                  <a:ext uri="{FF2B5EF4-FFF2-40B4-BE49-F238E27FC236}">
                    <a16:creationId xmlns:a16="http://schemas.microsoft.com/office/drawing/2014/main" id="{D579B832-D438-4DC3-9B32-DA2F191D2046}"/>
                  </a:ext>
                </a:extLst>
              </p:cNvPr>
              <p:cNvSpPr/>
              <p:nvPr/>
            </p:nvSpPr>
            <p:spPr>
              <a:xfrm>
                <a:off x="4013479" y="3917167"/>
                <a:ext cx="18348" cy="18434"/>
              </a:xfrm>
              <a:custGeom>
                <a:avLst/>
                <a:gdLst>
                  <a:gd name="connsiteX0" fmla="*/ 7619 w 18348"/>
                  <a:gd name="connsiteY0" fmla="*/ 126 h 18434"/>
                  <a:gd name="connsiteX1" fmla="*/ 143 w 18348"/>
                  <a:gd name="connsiteY1" fmla="*/ 10712 h 18434"/>
                  <a:gd name="connsiteX2" fmla="*/ 10729 w 18348"/>
                  <a:gd name="connsiteY2" fmla="*/ 18308 h 18434"/>
                  <a:gd name="connsiteX3" fmla="*/ 18205 w 18348"/>
                  <a:gd name="connsiteY3" fmla="*/ 7722 h 18434"/>
                  <a:gd name="connsiteX4" fmla="*/ 7619 w 18348"/>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4">
                    <a:moveTo>
                      <a:pt x="7619" y="126"/>
                    </a:moveTo>
                    <a:cubicBezTo>
                      <a:pt x="2655" y="964"/>
                      <a:pt x="-754" y="5689"/>
                      <a:pt x="143" y="10712"/>
                    </a:cubicBezTo>
                    <a:cubicBezTo>
                      <a:pt x="981" y="15736"/>
                      <a:pt x="5706" y="19145"/>
                      <a:pt x="10729" y="18308"/>
                    </a:cubicBezTo>
                    <a:cubicBezTo>
                      <a:pt x="15693" y="17470"/>
                      <a:pt x="19102" y="12746"/>
                      <a:pt x="18205" y="7722"/>
                    </a:cubicBezTo>
                    <a:cubicBezTo>
                      <a:pt x="17368" y="2698"/>
                      <a:pt x="12583" y="-711"/>
                      <a:pt x="7619" y="126"/>
                    </a:cubicBezTo>
                    <a:close/>
                  </a:path>
                </a:pathLst>
              </a:custGeom>
              <a:grpFill/>
              <a:ln w="5978" cap="flat">
                <a:noFill/>
                <a:prstDash val="solid"/>
                <a:miter/>
              </a:ln>
            </p:spPr>
            <p:txBody>
              <a:bodyPr rtlCol="0" anchor="ctr"/>
              <a:lstStyle/>
              <a:p>
                <a:endParaRPr lang="en-GB"/>
              </a:p>
            </p:txBody>
          </p:sp>
        </p:grpSp>
        <p:grpSp>
          <p:nvGrpSpPr>
            <p:cNvPr id="1292" name="Graphic 3">
              <a:extLst>
                <a:ext uri="{FF2B5EF4-FFF2-40B4-BE49-F238E27FC236}">
                  <a16:creationId xmlns:a16="http://schemas.microsoft.com/office/drawing/2014/main" id="{5219D3DB-F553-40DF-BA59-5636AA858C77}"/>
                </a:ext>
              </a:extLst>
            </p:cNvPr>
            <p:cNvGrpSpPr/>
            <p:nvPr/>
          </p:nvGrpSpPr>
          <p:grpSpPr>
            <a:xfrm>
              <a:off x="3947997" y="3513399"/>
              <a:ext cx="285671" cy="33823"/>
              <a:chOff x="3947997" y="3513399"/>
              <a:chExt cx="285671" cy="33823"/>
            </a:xfrm>
            <a:grpFill/>
          </p:grpSpPr>
          <p:sp>
            <p:nvSpPr>
              <p:cNvPr id="1531" name="Vrije vorm: vorm 1530">
                <a:extLst>
                  <a:ext uri="{FF2B5EF4-FFF2-40B4-BE49-F238E27FC236}">
                    <a16:creationId xmlns:a16="http://schemas.microsoft.com/office/drawing/2014/main" id="{D38BF93C-F741-4EE7-9F2C-51D090972393}"/>
                  </a:ext>
                </a:extLst>
              </p:cNvPr>
              <p:cNvSpPr/>
              <p:nvPr/>
            </p:nvSpPr>
            <p:spPr>
              <a:xfrm>
                <a:off x="3956566" y="3521070"/>
                <a:ext cx="268474" cy="18540"/>
              </a:xfrm>
              <a:custGeom>
                <a:avLst/>
                <a:gdLst>
                  <a:gd name="connsiteX0" fmla="*/ 268295 w 268474"/>
                  <a:gd name="connsiteY0" fmla="*/ 0 h 18540"/>
                  <a:gd name="connsiteX1" fmla="*/ 268475 w 268474"/>
                  <a:gd name="connsiteY1" fmla="*/ 3050 h 18540"/>
                  <a:gd name="connsiteX2" fmla="*/ 180 w 268474"/>
                  <a:gd name="connsiteY2" fmla="*/ 18540 h 18540"/>
                  <a:gd name="connsiteX3" fmla="*/ 0 w 268474"/>
                  <a:gd name="connsiteY3" fmla="*/ 15430 h 18540"/>
                </a:gdLst>
                <a:ahLst/>
                <a:cxnLst>
                  <a:cxn ang="0">
                    <a:pos x="connsiteX0" y="connsiteY0"/>
                  </a:cxn>
                  <a:cxn ang="0">
                    <a:pos x="connsiteX1" y="connsiteY1"/>
                  </a:cxn>
                  <a:cxn ang="0">
                    <a:pos x="connsiteX2" y="connsiteY2"/>
                  </a:cxn>
                  <a:cxn ang="0">
                    <a:pos x="connsiteX3" y="connsiteY3"/>
                  </a:cxn>
                </a:cxnLst>
                <a:rect l="l" t="t" r="r" b="b"/>
                <a:pathLst>
                  <a:path w="268474" h="18540">
                    <a:moveTo>
                      <a:pt x="268295" y="0"/>
                    </a:moveTo>
                    <a:lnTo>
                      <a:pt x="268475" y="3050"/>
                    </a:lnTo>
                    <a:lnTo>
                      <a:pt x="180" y="18540"/>
                    </a:lnTo>
                    <a:lnTo>
                      <a:pt x="0" y="15430"/>
                    </a:lnTo>
                    <a:close/>
                  </a:path>
                </a:pathLst>
              </a:custGeom>
              <a:grpFill/>
              <a:ln w="5978" cap="flat">
                <a:noFill/>
                <a:prstDash val="solid"/>
                <a:miter/>
              </a:ln>
            </p:spPr>
            <p:txBody>
              <a:bodyPr rtlCol="0" anchor="ctr"/>
              <a:lstStyle/>
              <a:p>
                <a:endParaRPr lang="en-GB"/>
              </a:p>
            </p:txBody>
          </p:sp>
          <p:sp>
            <p:nvSpPr>
              <p:cNvPr id="1532" name="Vrije vorm: vorm 1531">
                <a:extLst>
                  <a:ext uri="{FF2B5EF4-FFF2-40B4-BE49-F238E27FC236}">
                    <a16:creationId xmlns:a16="http://schemas.microsoft.com/office/drawing/2014/main" id="{C841B681-B5B2-474E-91F8-8581AEAAD74C}"/>
                  </a:ext>
                </a:extLst>
              </p:cNvPr>
              <p:cNvSpPr/>
              <p:nvPr/>
            </p:nvSpPr>
            <p:spPr>
              <a:xfrm>
                <a:off x="3947997" y="3528769"/>
                <a:ext cx="18333" cy="18452"/>
              </a:xfrm>
              <a:custGeom>
                <a:avLst/>
                <a:gdLst>
                  <a:gd name="connsiteX0" fmla="*/ 9705 w 18333"/>
                  <a:gd name="connsiteY0" fmla="*/ 18437 h 18452"/>
                  <a:gd name="connsiteX1" fmla="*/ 16 w 18333"/>
                  <a:gd name="connsiteY1" fmla="*/ 9765 h 18452"/>
                  <a:gd name="connsiteX2" fmla="*/ 8629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9" y="16"/>
                    </a:cubicBezTo>
                    <a:cubicBezTo>
                      <a:pt x="13653" y="-283"/>
                      <a:pt x="18018" y="3605"/>
                      <a:pt x="18317" y="8688"/>
                    </a:cubicBezTo>
                    <a:cubicBezTo>
                      <a:pt x="18617" y="13832"/>
                      <a:pt x="14729" y="18198"/>
                      <a:pt x="9705" y="18437"/>
                    </a:cubicBezTo>
                    <a:close/>
                  </a:path>
                </a:pathLst>
              </a:custGeom>
              <a:grpFill/>
              <a:ln w="5978" cap="flat">
                <a:noFill/>
                <a:prstDash val="solid"/>
                <a:miter/>
              </a:ln>
            </p:spPr>
            <p:txBody>
              <a:bodyPr rtlCol="0" anchor="ctr"/>
              <a:lstStyle/>
              <a:p>
                <a:endParaRPr lang="en-GB"/>
              </a:p>
            </p:txBody>
          </p:sp>
          <p:sp>
            <p:nvSpPr>
              <p:cNvPr id="1533" name="Vrije vorm: vorm 1532">
                <a:extLst>
                  <a:ext uri="{FF2B5EF4-FFF2-40B4-BE49-F238E27FC236}">
                    <a16:creationId xmlns:a16="http://schemas.microsoft.com/office/drawing/2014/main" id="{175A6E3F-858A-4E69-AC85-99352634CB97}"/>
                  </a:ext>
                </a:extLst>
              </p:cNvPr>
              <p:cNvSpPr/>
              <p:nvPr/>
            </p:nvSpPr>
            <p:spPr>
              <a:xfrm>
                <a:off x="4215336" y="3513399"/>
                <a:ext cx="18333" cy="18453"/>
              </a:xfrm>
              <a:custGeom>
                <a:avLst/>
                <a:gdLst>
                  <a:gd name="connsiteX0" fmla="*/ 9705 w 18333"/>
                  <a:gd name="connsiteY0" fmla="*/ 18437 h 18453"/>
                  <a:gd name="connsiteX1" fmla="*/ 18317 w 18333"/>
                  <a:gd name="connsiteY1" fmla="*/ 8688 h 18453"/>
                  <a:gd name="connsiteX2" fmla="*/ 8628 w 18333"/>
                  <a:gd name="connsiteY2" fmla="*/ 16 h 18453"/>
                  <a:gd name="connsiteX3" fmla="*/ 16 w 18333"/>
                  <a:gd name="connsiteY3" fmla="*/ 9765 h 18453"/>
                  <a:gd name="connsiteX4" fmla="*/ 9705 w 18333"/>
                  <a:gd name="connsiteY4" fmla="*/ 18437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8437"/>
                    </a:moveTo>
                    <a:cubicBezTo>
                      <a:pt x="14729" y="18138"/>
                      <a:pt x="18616" y="13772"/>
                      <a:pt x="18317" y="8688"/>
                    </a:cubicBezTo>
                    <a:cubicBezTo>
                      <a:pt x="18018" y="3605"/>
                      <a:pt x="13652" y="-283"/>
                      <a:pt x="8628" y="16"/>
                    </a:cubicBezTo>
                    <a:cubicBezTo>
                      <a:pt x="3604" y="315"/>
                      <a:pt x="-283"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1293" name="Graphic 3">
              <a:extLst>
                <a:ext uri="{FF2B5EF4-FFF2-40B4-BE49-F238E27FC236}">
                  <a16:creationId xmlns:a16="http://schemas.microsoft.com/office/drawing/2014/main" id="{727BFF1F-BC15-4DD1-97A5-C65BA6568289}"/>
                </a:ext>
              </a:extLst>
            </p:cNvPr>
            <p:cNvGrpSpPr/>
            <p:nvPr/>
          </p:nvGrpSpPr>
          <p:grpSpPr>
            <a:xfrm>
              <a:off x="4090083" y="3659744"/>
              <a:ext cx="85936" cy="27442"/>
              <a:chOff x="4090083" y="3659744"/>
              <a:chExt cx="85936" cy="27442"/>
            </a:xfrm>
            <a:grpFill/>
          </p:grpSpPr>
          <p:sp>
            <p:nvSpPr>
              <p:cNvPr id="1528" name="Vrije vorm: vorm 1527">
                <a:extLst>
                  <a:ext uri="{FF2B5EF4-FFF2-40B4-BE49-F238E27FC236}">
                    <a16:creationId xmlns:a16="http://schemas.microsoft.com/office/drawing/2014/main" id="{3BE62985-66A3-4711-B953-20C542802B70}"/>
                  </a:ext>
                </a:extLst>
              </p:cNvPr>
              <p:cNvSpPr/>
              <p:nvPr/>
            </p:nvSpPr>
            <p:spPr>
              <a:xfrm>
                <a:off x="4098608" y="3667359"/>
                <a:ext cx="68898" cy="12200"/>
              </a:xfrm>
              <a:custGeom>
                <a:avLst/>
                <a:gdLst>
                  <a:gd name="connsiteX0" fmla="*/ 68479 w 68898"/>
                  <a:gd name="connsiteY0" fmla="*/ 0 h 12200"/>
                  <a:gd name="connsiteX1" fmla="*/ 68898 w 68898"/>
                  <a:gd name="connsiteY1" fmla="*/ 3050 h 12200"/>
                  <a:gd name="connsiteX2" fmla="*/ 419 w 68898"/>
                  <a:gd name="connsiteY2" fmla="*/ 12201 h 12200"/>
                  <a:gd name="connsiteX3" fmla="*/ 0 w 68898"/>
                  <a:gd name="connsiteY3" fmla="*/ 9150 h 12200"/>
                </a:gdLst>
                <a:ahLst/>
                <a:cxnLst>
                  <a:cxn ang="0">
                    <a:pos x="connsiteX0" y="connsiteY0"/>
                  </a:cxn>
                  <a:cxn ang="0">
                    <a:pos x="connsiteX1" y="connsiteY1"/>
                  </a:cxn>
                  <a:cxn ang="0">
                    <a:pos x="connsiteX2" y="connsiteY2"/>
                  </a:cxn>
                  <a:cxn ang="0">
                    <a:pos x="connsiteX3" y="connsiteY3"/>
                  </a:cxn>
                </a:cxnLst>
                <a:rect l="l" t="t" r="r" b="b"/>
                <a:pathLst>
                  <a:path w="68898" h="12200">
                    <a:moveTo>
                      <a:pt x="68479" y="0"/>
                    </a:moveTo>
                    <a:lnTo>
                      <a:pt x="68898" y="3050"/>
                    </a:lnTo>
                    <a:lnTo>
                      <a:pt x="419" y="12201"/>
                    </a:lnTo>
                    <a:lnTo>
                      <a:pt x="0" y="9150"/>
                    </a:lnTo>
                    <a:close/>
                  </a:path>
                </a:pathLst>
              </a:custGeom>
              <a:grpFill/>
              <a:ln w="5978" cap="flat">
                <a:noFill/>
                <a:prstDash val="solid"/>
                <a:miter/>
              </a:ln>
            </p:spPr>
            <p:txBody>
              <a:bodyPr rtlCol="0" anchor="ctr"/>
              <a:lstStyle/>
              <a:p>
                <a:endParaRPr lang="en-GB"/>
              </a:p>
            </p:txBody>
          </p:sp>
          <p:sp>
            <p:nvSpPr>
              <p:cNvPr id="1529" name="Vrije vorm: vorm 1528">
                <a:extLst>
                  <a:ext uri="{FF2B5EF4-FFF2-40B4-BE49-F238E27FC236}">
                    <a16:creationId xmlns:a16="http://schemas.microsoft.com/office/drawing/2014/main" id="{DEBB7980-CF62-44EE-9A07-AA491BC8F6A3}"/>
                  </a:ext>
                </a:extLst>
              </p:cNvPr>
              <p:cNvSpPr/>
              <p:nvPr/>
            </p:nvSpPr>
            <p:spPr>
              <a:xfrm>
                <a:off x="4157678" y="3659744"/>
                <a:ext cx="18340" cy="18398"/>
              </a:xfrm>
              <a:custGeom>
                <a:avLst/>
                <a:gdLst>
                  <a:gd name="connsiteX0" fmla="*/ 7914 w 18340"/>
                  <a:gd name="connsiteY0" fmla="*/ 79 h 18398"/>
                  <a:gd name="connsiteX1" fmla="*/ 18261 w 18340"/>
                  <a:gd name="connsiteY1" fmla="*/ 7973 h 18398"/>
                  <a:gd name="connsiteX2" fmla="*/ 10425 w 18340"/>
                  <a:gd name="connsiteY2" fmla="*/ 18320 h 18398"/>
                  <a:gd name="connsiteX3" fmla="*/ 79 w 18340"/>
                  <a:gd name="connsiteY3" fmla="*/ 10425 h 18398"/>
                  <a:gd name="connsiteX4" fmla="*/ 7914 w 18340"/>
                  <a:gd name="connsiteY4" fmla="*/ 7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8">
                    <a:moveTo>
                      <a:pt x="7914" y="79"/>
                    </a:moveTo>
                    <a:cubicBezTo>
                      <a:pt x="12938" y="-579"/>
                      <a:pt x="17543" y="2950"/>
                      <a:pt x="18261" y="7973"/>
                    </a:cubicBezTo>
                    <a:cubicBezTo>
                      <a:pt x="18918" y="12997"/>
                      <a:pt x="15449" y="17662"/>
                      <a:pt x="10425" y="18320"/>
                    </a:cubicBezTo>
                    <a:cubicBezTo>
                      <a:pt x="5402" y="18978"/>
                      <a:pt x="797" y="15449"/>
                      <a:pt x="79" y="10425"/>
                    </a:cubicBezTo>
                    <a:cubicBezTo>
                      <a:pt x="-579" y="5402"/>
                      <a:pt x="2950" y="737"/>
                      <a:pt x="7914" y="79"/>
                    </a:cubicBezTo>
                    <a:close/>
                  </a:path>
                </a:pathLst>
              </a:custGeom>
              <a:grpFill/>
              <a:ln w="5978" cap="flat">
                <a:noFill/>
                <a:prstDash val="solid"/>
                <a:miter/>
              </a:ln>
            </p:spPr>
            <p:txBody>
              <a:bodyPr rtlCol="0" anchor="ctr"/>
              <a:lstStyle/>
              <a:p>
                <a:endParaRPr lang="en-GB"/>
              </a:p>
            </p:txBody>
          </p:sp>
          <p:sp>
            <p:nvSpPr>
              <p:cNvPr id="1530" name="Vrije vorm: vorm 1529">
                <a:extLst>
                  <a:ext uri="{FF2B5EF4-FFF2-40B4-BE49-F238E27FC236}">
                    <a16:creationId xmlns:a16="http://schemas.microsoft.com/office/drawing/2014/main" id="{A4A0C6B4-49B0-48EE-B200-AB3CE67984F5}"/>
                  </a:ext>
                </a:extLst>
              </p:cNvPr>
              <p:cNvSpPr/>
              <p:nvPr/>
            </p:nvSpPr>
            <p:spPr>
              <a:xfrm>
                <a:off x="4090083" y="3668775"/>
                <a:ext cx="18366" cy="18411"/>
              </a:xfrm>
              <a:custGeom>
                <a:avLst/>
                <a:gdLst>
                  <a:gd name="connsiteX0" fmla="*/ 7927 w 18366"/>
                  <a:gd name="connsiteY0" fmla="*/ 79 h 18411"/>
                  <a:gd name="connsiteX1" fmla="*/ 93 w 18366"/>
                  <a:gd name="connsiteY1" fmla="*/ 10426 h 18411"/>
                  <a:gd name="connsiteX2" fmla="*/ 10439 w 18366"/>
                  <a:gd name="connsiteY2" fmla="*/ 18320 h 18411"/>
                  <a:gd name="connsiteX3" fmla="*/ 18274 w 18366"/>
                  <a:gd name="connsiteY3" fmla="*/ 7973 h 18411"/>
                  <a:gd name="connsiteX4" fmla="*/ 7927 w 18366"/>
                  <a:gd name="connsiteY4" fmla="*/ 79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11">
                    <a:moveTo>
                      <a:pt x="7927" y="79"/>
                    </a:moveTo>
                    <a:cubicBezTo>
                      <a:pt x="2903" y="737"/>
                      <a:pt x="-625" y="5402"/>
                      <a:pt x="93" y="10426"/>
                    </a:cubicBezTo>
                    <a:cubicBezTo>
                      <a:pt x="750" y="15449"/>
                      <a:pt x="5416" y="19038"/>
                      <a:pt x="10439" y="18320"/>
                    </a:cubicBezTo>
                    <a:cubicBezTo>
                      <a:pt x="15463" y="17662"/>
                      <a:pt x="18992" y="12997"/>
                      <a:pt x="18274" y="7973"/>
                    </a:cubicBezTo>
                    <a:cubicBezTo>
                      <a:pt x="17556" y="2950"/>
                      <a:pt x="12951" y="-579"/>
                      <a:pt x="7927" y="79"/>
                    </a:cubicBezTo>
                    <a:close/>
                  </a:path>
                </a:pathLst>
              </a:custGeom>
              <a:grpFill/>
              <a:ln w="5978" cap="flat">
                <a:noFill/>
                <a:prstDash val="solid"/>
                <a:miter/>
              </a:ln>
            </p:spPr>
            <p:txBody>
              <a:bodyPr rtlCol="0" anchor="ctr"/>
              <a:lstStyle/>
              <a:p>
                <a:endParaRPr lang="en-GB"/>
              </a:p>
            </p:txBody>
          </p:sp>
        </p:grpSp>
        <p:grpSp>
          <p:nvGrpSpPr>
            <p:cNvPr id="1294" name="Graphic 3">
              <a:extLst>
                <a:ext uri="{FF2B5EF4-FFF2-40B4-BE49-F238E27FC236}">
                  <a16:creationId xmlns:a16="http://schemas.microsoft.com/office/drawing/2014/main" id="{3C132173-BB11-43F9-9DA2-AA6F1120E875}"/>
                </a:ext>
              </a:extLst>
            </p:cNvPr>
            <p:cNvGrpSpPr/>
            <p:nvPr/>
          </p:nvGrpSpPr>
          <p:grpSpPr>
            <a:xfrm>
              <a:off x="4090095" y="3659672"/>
              <a:ext cx="86474" cy="27502"/>
              <a:chOff x="4090095" y="3659672"/>
              <a:chExt cx="86474" cy="27502"/>
            </a:xfrm>
            <a:grpFill/>
          </p:grpSpPr>
          <p:sp>
            <p:nvSpPr>
              <p:cNvPr id="1525" name="Vrije vorm: vorm 1524">
                <a:extLst>
                  <a:ext uri="{FF2B5EF4-FFF2-40B4-BE49-F238E27FC236}">
                    <a16:creationId xmlns:a16="http://schemas.microsoft.com/office/drawing/2014/main" id="{F7ED148A-0700-43E2-8880-7271DD4E1282}"/>
                  </a:ext>
                </a:extLst>
              </p:cNvPr>
              <p:cNvSpPr/>
              <p:nvPr/>
            </p:nvSpPr>
            <p:spPr>
              <a:xfrm>
                <a:off x="4098608" y="3667299"/>
                <a:ext cx="69436" cy="12260"/>
              </a:xfrm>
              <a:custGeom>
                <a:avLst/>
                <a:gdLst>
                  <a:gd name="connsiteX0" fmla="*/ 69018 w 69436"/>
                  <a:gd name="connsiteY0" fmla="*/ 0 h 12260"/>
                  <a:gd name="connsiteX1" fmla="*/ 69436 w 69436"/>
                  <a:gd name="connsiteY1" fmla="*/ 3050 h 12260"/>
                  <a:gd name="connsiteX2" fmla="*/ 419 w 69436"/>
                  <a:gd name="connsiteY2" fmla="*/ 12260 h 12260"/>
                  <a:gd name="connsiteX3" fmla="*/ 0 w 69436"/>
                  <a:gd name="connsiteY3" fmla="*/ 9210 h 12260"/>
                </a:gdLst>
                <a:ahLst/>
                <a:cxnLst>
                  <a:cxn ang="0">
                    <a:pos x="connsiteX0" y="connsiteY0"/>
                  </a:cxn>
                  <a:cxn ang="0">
                    <a:pos x="connsiteX1" y="connsiteY1"/>
                  </a:cxn>
                  <a:cxn ang="0">
                    <a:pos x="connsiteX2" y="connsiteY2"/>
                  </a:cxn>
                  <a:cxn ang="0">
                    <a:pos x="connsiteX3" y="connsiteY3"/>
                  </a:cxn>
                </a:cxnLst>
                <a:rect l="l" t="t" r="r" b="b"/>
                <a:pathLst>
                  <a:path w="69436" h="12260">
                    <a:moveTo>
                      <a:pt x="69018" y="0"/>
                    </a:moveTo>
                    <a:lnTo>
                      <a:pt x="69436" y="3050"/>
                    </a:lnTo>
                    <a:lnTo>
                      <a:pt x="419" y="12260"/>
                    </a:lnTo>
                    <a:lnTo>
                      <a:pt x="0" y="9210"/>
                    </a:lnTo>
                    <a:close/>
                  </a:path>
                </a:pathLst>
              </a:custGeom>
              <a:grpFill/>
              <a:ln w="5978" cap="flat">
                <a:noFill/>
                <a:prstDash val="solid"/>
                <a:miter/>
              </a:ln>
            </p:spPr>
            <p:txBody>
              <a:bodyPr rtlCol="0" anchor="ctr"/>
              <a:lstStyle/>
              <a:p>
                <a:endParaRPr lang="en-GB"/>
              </a:p>
            </p:txBody>
          </p:sp>
          <p:sp>
            <p:nvSpPr>
              <p:cNvPr id="1526" name="Vrije vorm: vorm 1525">
                <a:extLst>
                  <a:ext uri="{FF2B5EF4-FFF2-40B4-BE49-F238E27FC236}">
                    <a16:creationId xmlns:a16="http://schemas.microsoft.com/office/drawing/2014/main" id="{2C4DE275-6946-4B1B-9626-4E7227BE1AD1}"/>
                  </a:ext>
                </a:extLst>
              </p:cNvPr>
              <p:cNvSpPr/>
              <p:nvPr/>
            </p:nvSpPr>
            <p:spPr>
              <a:xfrm>
                <a:off x="4090095" y="3668775"/>
                <a:ext cx="18341" cy="18399"/>
              </a:xfrm>
              <a:custGeom>
                <a:avLst/>
                <a:gdLst>
                  <a:gd name="connsiteX0" fmla="*/ 10427 w 18341"/>
                  <a:gd name="connsiteY0" fmla="*/ 18320 h 18399"/>
                  <a:gd name="connsiteX1" fmla="*/ 80 w 18341"/>
                  <a:gd name="connsiteY1" fmla="*/ 10426 h 18399"/>
                  <a:gd name="connsiteX2" fmla="*/ 7915 w 18341"/>
                  <a:gd name="connsiteY2" fmla="*/ 79 h 18399"/>
                  <a:gd name="connsiteX3" fmla="*/ 18261 w 18341"/>
                  <a:gd name="connsiteY3" fmla="*/ 7973 h 18399"/>
                  <a:gd name="connsiteX4" fmla="*/ 10427 w 18341"/>
                  <a:gd name="connsiteY4" fmla="*/ 1832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9">
                    <a:moveTo>
                      <a:pt x="10427" y="18320"/>
                    </a:moveTo>
                    <a:cubicBezTo>
                      <a:pt x="5403" y="18978"/>
                      <a:pt x="798" y="15449"/>
                      <a:pt x="80" y="10426"/>
                    </a:cubicBezTo>
                    <a:cubicBezTo>
                      <a:pt x="-578" y="5402"/>
                      <a:pt x="2891" y="737"/>
                      <a:pt x="7915" y="79"/>
                    </a:cubicBezTo>
                    <a:cubicBezTo>
                      <a:pt x="12939" y="-579"/>
                      <a:pt x="17544" y="2950"/>
                      <a:pt x="18261" y="7973"/>
                    </a:cubicBezTo>
                    <a:cubicBezTo>
                      <a:pt x="18919" y="13057"/>
                      <a:pt x="15450" y="17662"/>
                      <a:pt x="10427" y="18320"/>
                    </a:cubicBezTo>
                    <a:close/>
                  </a:path>
                </a:pathLst>
              </a:custGeom>
              <a:grpFill/>
              <a:ln w="5978" cap="flat">
                <a:noFill/>
                <a:prstDash val="solid"/>
                <a:miter/>
              </a:ln>
            </p:spPr>
            <p:txBody>
              <a:bodyPr rtlCol="0" anchor="ctr"/>
              <a:lstStyle/>
              <a:p>
                <a:endParaRPr lang="en-GB"/>
              </a:p>
            </p:txBody>
          </p:sp>
          <p:sp>
            <p:nvSpPr>
              <p:cNvPr id="1527" name="Vrije vorm: vorm 1526">
                <a:extLst>
                  <a:ext uri="{FF2B5EF4-FFF2-40B4-BE49-F238E27FC236}">
                    <a16:creationId xmlns:a16="http://schemas.microsoft.com/office/drawing/2014/main" id="{C0175461-EC17-4038-90EF-DC00112861F4}"/>
                  </a:ext>
                </a:extLst>
              </p:cNvPr>
              <p:cNvSpPr/>
              <p:nvPr/>
            </p:nvSpPr>
            <p:spPr>
              <a:xfrm>
                <a:off x="4158203" y="3659672"/>
                <a:ext cx="18366" cy="18411"/>
              </a:xfrm>
              <a:custGeom>
                <a:avLst/>
                <a:gdLst>
                  <a:gd name="connsiteX0" fmla="*/ 10439 w 18366"/>
                  <a:gd name="connsiteY0" fmla="*/ 18333 h 18411"/>
                  <a:gd name="connsiteX1" fmla="*/ 18274 w 18366"/>
                  <a:gd name="connsiteY1" fmla="*/ 7986 h 18411"/>
                  <a:gd name="connsiteX2" fmla="*/ 7927 w 18366"/>
                  <a:gd name="connsiteY2" fmla="*/ 91 h 18411"/>
                  <a:gd name="connsiteX3" fmla="*/ 93 w 18366"/>
                  <a:gd name="connsiteY3" fmla="*/ 10438 h 18411"/>
                  <a:gd name="connsiteX4" fmla="*/ 10439 w 18366"/>
                  <a:gd name="connsiteY4" fmla="*/ 1833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11">
                    <a:moveTo>
                      <a:pt x="10439" y="18333"/>
                    </a:moveTo>
                    <a:cubicBezTo>
                      <a:pt x="15463" y="17675"/>
                      <a:pt x="18992" y="13010"/>
                      <a:pt x="18274" y="7986"/>
                    </a:cubicBezTo>
                    <a:cubicBezTo>
                      <a:pt x="17616" y="2962"/>
                      <a:pt x="12951" y="-626"/>
                      <a:pt x="7927" y="91"/>
                    </a:cubicBezTo>
                    <a:cubicBezTo>
                      <a:pt x="2903" y="749"/>
                      <a:pt x="-625" y="5414"/>
                      <a:pt x="93" y="10438"/>
                    </a:cubicBezTo>
                    <a:cubicBezTo>
                      <a:pt x="810" y="15462"/>
                      <a:pt x="5415" y="18991"/>
                      <a:pt x="10439" y="18333"/>
                    </a:cubicBezTo>
                    <a:close/>
                  </a:path>
                </a:pathLst>
              </a:custGeom>
              <a:grpFill/>
              <a:ln w="5978" cap="flat">
                <a:noFill/>
                <a:prstDash val="solid"/>
                <a:miter/>
              </a:ln>
            </p:spPr>
            <p:txBody>
              <a:bodyPr rtlCol="0" anchor="ctr"/>
              <a:lstStyle/>
              <a:p>
                <a:endParaRPr lang="en-GB"/>
              </a:p>
            </p:txBody>
          </p:sp>
        </p:grpSp>
        <p:grpSp>
          <p:nvGrpSpPr>
            <p:cNvPr id="1295" name="Graphic 3">
              <a:extLst>
                <a:ext uri="{FF2B5EF4-FFF2-40B4-BE49-F238E27FC236}">
                  <a16:creationId xmlns:a16="http://schemas.microsoft.com/office/drawing/2014/main" id="{47330A7F-904B-4B2C-9011-AF4C2474D254}"/>
                </a:ext>
              </a:extLst>
            </p:cNvPr>
            <p:cNvGrpSpPr/>
            <p:nvPr/>
          </p:nvGrpSpPr>
          <p:grpSpPr>
            <a:xfrm>
              <a:off x="4298191" y="4447595"/>
              <a:ext cx="251809" cy="178762"/>
              <a:chOff x="4298191" y="4447595"/>
              <a:chExt cx="251809" cy="178762"/>
            </a:xfrm>
            <a:grpFill/>
          </p:grpSpPr>
          <p:sp>
            <p:nvSpPr>
              <p:cNvPr id="1522" name="Vrije vorm: vorm 1521">
                <a:extLst>
                  <a:ext uri="{FF2B5EF4-FFF2-40B4-BE49-F238E27FC236}">
                    <a16:creationId xmlns:a16="http://schemas.microsoft.com/office/drawing/2014/main" id="{61138B3A-87CD-4FE8-8540-A960D786FE48}"/>
                  </a:ext>
                </a:extLst>
              </p:cNvPr>
              <p:cNvSpPr/>
              <p:nvPr/>
            </p:nvSpPr>
            <p:spPr>
              <a:xfrm>
                <a:off x="4306079" y="4455319"/>
                <a:ext cx="235939" cy="163333"/>
              </a:xfrm>
              <a:custGeom>
                <a:avLst/>
                <a:gdLst>
                  <a:gd name="connsiteX0" fmla="*/ 235940 w 235939"/>
                  <a:gd name="connsiteY0" fmla="*/ 2512 h 163333"/>
                  <a:gd name="connsiteX1" fmla="*/ 1735 w 235939"/>
                  <a:gd name="connsiteY1" fmla="*/ 163333 h 163333"/>
                  <a:gd name="connsiteX2" fmla="*/ 0 w 235939"/>
                  <a:gd name="connsiteY2" fmla="*/ 160822 h 163333"/>
                  <a:gd name="connsiteX3" fmla="*/ 234265 w 235939"/>
                  <a:gd name="connsiteY3" fmla="*/ 0 h 163333"/>
                </a:gdLst>
                <a:ahLst/>
                <a:cxnLst>
                  <a:cxn ang="0">
                    <a:pos x="connsiteX0" y="connsiteY0"/>
                  </a:cxn>
                  <a:cxn ang="0">
                    <a:pos x="connsiteX1" y="connsiteY1"/>
                  </a:cxn>
                  <a:cxn ang="0">
                    <a:pos x="connsiteX2" y="connsiteY2"/>
                  </a:cxn>
                  <a:cxn ang="0">
                    <a:pos x="connsiteX3" y="connsiteY3"/>
                  </a:cxn>
                </a:cxnLst>
                <a:rect l="l" t="t" r="r" b="b"/>
                <a:pathLst>
                  <a:path w="235939" h="163333">
                    <a:moveTo>
                      <a:pt x="235940" y="2512"/>
                    </a:moveTo>
                    <a:lnTo>
                      <a:pt x="1735" y="163333"/>
                    </a:lnTo>
                    <a:lnTo>
                      <a:pt x="0" y="160822"/>
                    </a:lnTo>
                    <a:lnTo>
                      <a:pt x="234265" y="0"/>
                    </a:lnTo>
                    <a:close/>
                  </a:path>
                </a:pathLst>
              </a:custGeom>
              <a:grpFill/>
              <a:ln w="5978" cap="flat">
                <a:noFill/>
                <a:prstDash val="solid"/>
                <a:miter/>
              </a:ln>
            </p:spPr>
            <p:txBody>
              <a:bodyPr rtlCol="0" anchor="ctr"/>
              <a:lstStyle/>
              <a:p>
                <a:endParaRPr lang="en-GB"/>
              </a:p>
            </p:txBody>
          </p:sp>
          <p:sp>
            <p:nvSpPr>
              <p:cNvPr id="1523" name="Vrije vorm: vorm 1522">
                <a:extLst>
                  <a:ext uri="{FF2B5EF4-FFF2-40B4-BE49-F238E27FC236}">
                    <a16:creationId xmlns:a16="http://schemas.microsoft.com/office/drawing/2014/main" id="{91F29781-3B18-40FD-8FF0-C917F32B8D3E}"/>
                  </a:ext>
                </a:extLst>
              </p:cNvPr>
              <p:cNvSpPr/>
              <p:nvPr/>
            </p:nvSpPr>
            <p:spPr>
              <a:xfrm>
                <a:off x="4298191" y="4607896"/>
                <a:ext cx="18322" cy="18461"/>
              </a:xfrm>
              <a:custGeom>
                <a:avLst/>
                <a:gdLst>
                  <a:gd name="connsiteX0" fmla="*/ 14348 w 18322"/>
                  <a:gd name="connsiteY0" fmla="*/ 16856 h 18461"/>
                  <a:gd name="connsiteX1" fmla="*/ 1609 w 18322"/>
                  <a:gd name="connsiteY1" fmla="*/ 14404 h 18461"/>
                  <a:gd name="connsiteX2" fmla="*/ 4001 w 18322"/>
                  <a:gd name="connsiteY2" fmla="*/ 1606 h 18461"/>
                  <a:gd name="connsiteX3" fmla="*/ 16740 w 18322"/>
                  <a:gd name="connsiteY3" fmla="*/ 4057 h 18461"/>
                  <a:gd name="connsiteX4" fmla="*/ 14348 w 18322"/>
                  <a:gd name="connsiteY4" fmla="*/ 1685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61">
                    <a:moveTo>
                      <a:pt x="14348" y="16856"/>
                    </a:moveTo>
                    <a:cubicBezTo>
                      <a:pt x="10161" y="19727"/>
                      <a:pt x="4479" y="18650"/>
                      <a:pt x="1609" y="14404"/>
                    </a:cubicBezTo>
                    <a:cubicBezTo>
                      <a:pt x="-1262" y="10218"/>
                      <a:pt x="-186" y="4476"/>
                      <a:pt x="4001" y="1606"/>
                    </a:cubicBezTo>
                    <a:cubicBezTo>
                      <a:pt x="8188" y="-1265"/>
                      <a:pt x="13869" y="-189"/>
                      <a:pt x="16740" y="4057"/>
                    </a:cubicBezTo>
                    <a:cubicBezTo>
                      <a:pt x="19551" y="8244"/>
                      <a:pt x="18534" y="13986"/>
                      <a:pt x="14348" y="16856"/>
                    </a:cubicBezTo>
                    <a:close/>
                  </a:path>
                </a:pathLst>
              </a:custGeom>
              <a:grpFill/>
              <a:ln w="5978" cap="flat">
                <a:noFill/>
                <a:prstDash val="solid"/>
                <a:miter/>
              </a:ln>
            </p:spPr>
            <p:txBody>
              <a:bodyPr rtlCol="0" anchor="ctr"/>
              <a:lstStyle/>
              <a:p>
                <a:endParaRPr lang="en-GB"/>
              </a:p>
            </p:txBody>
          </p:sp>
          <p:sp>
            <p:nvSpPr>
              <p:cNvPr id="1524" name="Vrije vorm: vorm 1523">
                <a:extLst>
                  <a:ext uri="{FF2B5EF4-FFF2-40B4-BE49-F238E27FC236}">
                    <a16:creationId xmlns:a16="http://schemas.microsoft.com/office/drawing/2014/main" id="{61ABEA2A-CC70-4020-A12B-6BE2E9BC53EE}"/>
                  </a:ext>
                </a:extLst>
              </p:cNvPr>
              <p:cNvSpPr/>
              <p:nvPr/>
            </p:nvSpPr>
            <p:spPr>
              <a:xfrm>
                <a:off x="4531705" y="4447595"/>
                <a:ext cx="18296" cy="18419"/>
              </a:xfrm>
              <a:custGeom>
                <a:avLst/>
                <a:gdLst>
                  <a:gd name="connsiteX0" fmla="*/ 14321 w 18296"/>
                  <a:gd name="connsiteY0" fmla="*/ 16814 h 18419"/>
                  <a:gd name="connsiteX1" fmla="*/ 16714 w 18296"/>
                  <a:gd name="connsiteY1" fmla="*/ 4015 h 18419"/>
                  <a:gd name="connsiteX2" fmla="*/ 3975 w 18296"/>
                  <a:gd name="connsiteY2" fmla="*/ 1563 h 18419"/>
                  <a:gd name="connsiteX3" fmla="*/ 1583 w 18296"/>
                  <a:gd name="connsiteY3" fmla="*/ 14362 h 18419"/>
                  <a:gd name="connsiteX4" fmla="*/ 14321 w 18296"/>
                  <a:gd name="connsiteY4" fmla="*/ 1681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9">
                    <a:moveTo>
                      <a:pt x="14321" y="16814"/>
                    </a:moveTo>
                    <a:cubicBezTo>
                      <a:pt x="18508" y="13944"/>
                      <a:pt x="19525" y="8202"/>
                      <a:pt x="16714" y="4015"/>
                    </a:cubicBezTo>
                    <a:cubicBezTo>
                      <a:pt x="13843" y="-171"/>
                      <a:pt x="8161" y="-1248"/>
                      <a:pt x="3975" y="1563"/>
                    </a:cubicBezTo>
                    <a:cubicBezTo>
                      <a:pt x="-212" y="4434"/>
                      <a:pt x="-1229" y="10176"/>
                      <a:pt x="1583" y="14362"/>
                    </a:cubicBezTo>
                    <a:cubicBezTo>
                      <a:pt x="4393" y="18608"/>
                      <a:pt x="10135" y="19685"/>
                      <a:pt x="14321" y="16814"/>
                    </a:cubicBezTo>
                    <a:close/>
                  </a:path>
                </a:pathLst>
              </a:custGeom>
              <a:grpFill/>
              <a:ln w="5978" cap="flat">
                <a:noFill/>
                <a:prstDash val="solid"/>
                <a:miter/>
              </a:ln>
            </p:spPr>
            <p:txBody>
              <a:bodyPr rtlCol="0" anchor="ctr"/>
              <a:lstStyle/>
              <a:p>
                <a:endParaRPr lang="en-GB"/>
              </a:p>
            </p:txBody>
          </p:sp>
        </p:grpSp>
        <p:grpSp>
          <p:nvGrpSpPr>
            <p:cNvPr id="1296" name="Graphic 3">
              <a:extLst>
                <a:ext uri="{FF2B5EF4-FFF2-40B4-BE49-F238E27FC236}">
                  <a16:creationId xmlns:a16="http://schemas.microsoft.com/office/drawing/2014/main" id="{693F3083-C028-42E9-9D1D-66C1DF448C07}"/>
                </a:ext>
              </a:extLst>
            </p:cNvPr>
            <p:cNvGrpSpPr/>
            <p:nvPr/>
          </p:nvGrpSpPr>
          <p:grpSpPr>
            <a:xfrm>
              <a:off x="3802263" y="3536979"/>
              <a:ext cx="565178" cy="19198"/>
              <a:chOff x="3802263" y="3536979"/>
              <a:chExt cx="565178" cy="19198"/>
            </a:xfrm>
            <a:grpFill/>
          </p:grpSpPr>
          <p:sp>
            <p:nvSpPr>
              <p:cNvPr id="1519" name="Vrije vorm: vorm 1518">
                <a:extLst>
                  <a:ext uri="{FF2B5EF4-FFF2-40B4-BE49-F238E27FC236}">
                    <a16:creationId xmlns:a16="http://schemas.microsoft.com/office/drawing/2014/main" id="{05436849-A8B2-40AF-9FA8-15B571E8F7B2}"/>
                  </a:ext>
                </a:extLst>
              </p:cNvPr>
              <p:cNvSpPr/>
              <p:nvPr/>
            </p:nvSpPr>
            <p:spPr>
              <a:xfrm>
                <a:off x="3810935" y="3544634"/>
                <a:ext cx="547834" cy="3827"/>
              </a:xfrm>
              <a:custGeom>
                <a:avLst/>
                <a:gdLst>
                  <a:gd name="connsiteX0" fmla="*/ 547775 w 547834"/>
                  <a:gd name="connsiteY0" fmla="*/ 0 h 3827"/>
                  <a:gd name="connsiteX1" fmla="*/ 547834 w 547834"/>
                  <a:gd name="connsiteY1" fmla="*/ 3050 h 3827"/>
                  <a:gd name="connsiteX2" fmla="*/ 60 w 547834"/>
                  <a:gd name="connsiteY2" fmla="*/ 3828 h 3827"/>
                  <a:gd name="connsiteX3" fmla="*/ 0 w 547834"/>
                  <a:gd name="connsiteY3" fmla="*/ 778 h 3827"/>
                </a:gdLst>
                <a:ahLst/>
                <a:cxnLst>
                  <a:cxn ang="0">
                    <a:pos x="connsiteX0" y="connsiteY0"/>
                  </a:cxn>
                  <a:cxn ang="0">
                    <a:pos x="connsiteX1" y="connsiteY1"/>
                  </a:cxn>
                  <a:cxn ang="0">
                    <a:pos x="connsiteX2" y="connsiteY2"/>
                  </a:cxn>
                  <a:cxn ang="0">
                    <a:pos x="connsiteX3" y="connsiteY3"/>
                  </a:cxn>
                </a:cxnLst>
                <a:rect l="l" t="t" r="r" b="b"/>
                <a:pathLst>
                  <a:path w="547834" h="3827">
                    <a:moveTo>
                      <a:pt x="547775" y="0"/>
                    </a:moveTo>
                    <a:lnTo>
                      <a:pt x="547834" y="3050"/>
                    </a:lnTo>
                    <a:lnTo>
                      <a:pt x="60" y="3828"/>
                    </a:lnTo>
                    <a:lnTo>
                      <a:pt x="0" y="778"/>
                    </a:lnTo>
                    <a:close/>
                  </a:path>
                </a:pathLst>
              </a:custGeom>
              <a:grpFill/>
              <a:ln w="5978" cap="flat">
                <a:noFill/>
                <a:prstDash val="solid"/>
                <a:miter/>
              </a:ln>
            </p:spPr>
            <p:txBody>
              <a:bodyPr rtlCol="0" anchor="ctr"/>
              <a:lstStyle/>
              <a:p>
                <a:endParaRPr lang="en-GB"/>
              </a:p>
            </p:txBody>
          </p:sp>
          <p:sp>
            <p:nvSpPr>
              <p:cNvPr id="1520" name="Vrije vorm: vorm 1519">
                <a:extLst>
                  <a:ext uri="{FF2B5EF4-FFF2-40B4-BE49-F238E27FC236}">
                    <a16:creationId xmlns:a16="http://schemas.microsoft.com/office/drawing/2014/main" id="{4E4C3E0A-0E67-4801-BD26-4BB375E6B4F2}"/>
                  </a:ext>
                </a:extLst>
              </p:cNvPr>
              <p:cNvSpPr/>
              <p:nvPr/>
            </p:nvSpPr>
            <p:spPr>
              <a:xfrm>
                <a:off x="4349140" y="3536979"/>
                <a:ext cx="18301" cy="18420"/>
              </a:xfrm>
              <a:custGeom>
                <a:avLst/>
                <a:gdLst>
                  <a:gd name="connsiteX0" fmla="*/ 9091 w 18301"/>
                  <a:gd name="connsiteY0" fmla="*/ 0 h 18420"/>
                  <a:gd name="connsiteX1" fmla="*/ 18302 w 18301"/>
                  <a:gd name="connsiteY1" fmla="*/ 9210 h 18420"/>
                  <a:gd name="connsiteX2" fmla="*/ 9211 w 18301"/>
                  <a:gd name="connsiteY2" fmla="*/ 18421 h 18420"/>
                  <a:gd name="connsiteX3" fmla="*/ 1 w 18301"/>
                  <a:gd name="connsiteY3" fmla="*/ 9210 h 18420"/>
                  <a:gd name="connsiteX4" fmla="*/ 9091 w 18301"/>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0">
                    <a:moveTo>
                      <a:pt x="9091" y="0"/>
                    </a:moveTo>
                    <a:cubicBezTo>
                      <a:pt x="14175" y="0"/>
                      <a:pt x="18302" y="4127"/>
                      <a:pt x="18302" y="9210"/>
                    </a:cubicBezTo>
                    <a:cubicBezTo>
                      <a:pt x="18302" y="14294"/>
                      <a:pt x="14235" y="18421"/>
                      <a:pt x="9211" y="18421"/>
                    </a:cubicBezTo>
                    <a:cubicBezTo>
                      <a:pt x="4127" y="18421"/>
                      <a:pt x="1" y="14294"/>
                      <a:pt x="1" y="9210"/>
                    </a:cubicBezTo>
                    <a:cubicBezTo>
                      <a:pt x="-59" y="4127"/>
                      <a:pt x="4008" y="0"/>
                      <a:pt x="9091" y="0"/>
                    </a:cubicBezTo>
                    <a:close/>
                  </a:path>
                </a:pathLst>
              </a:custGeom>
              <a:grpFill/>
              <a:ln w="5978" cap="flat">
                <a:noFill/>
                <a:prstDash val="solid"/>
                <a:miter/>
              </a:ln>
            </p:spPr>
            <p:txBody>
              <a:bodyPr rtlCol="0" anchor="ctr"/>
              <a:lstStyle/>
              <a:p>
                <a:endParaRPr lang="en-GB"/>
              </a:p>
            </p:txBody>
          </p:sp>
          <p:sp>
            <p:nvSpPr>
              <p:cNvPr id="1521" name="Vrije vorm: vorm 1520">
                <a:extLst>
                  <a:ext uri="{FF2B5EF4-FFF2-40B4-BE49-F238E27FC236}">
                    <a16:creationId xmlns:a16="http://schemas.microsoft.com/office/drawing/2014/main" id="{90AA1CF5-7D1A-4AA2-BF3C-223531DEDA4E}"/>
                  </a:ext>
                </a:extLst>
              </p:cNvPr>
              <p:cNvSpPr/>
              <p:nvPr/>
            </p:nvSpPr>
            <p:spPr>
              <a:xfrm>
                <a:off x="3802263" y="3537756"/>
                <a:ext cx="18302" cy="18420"/>
              </a:xfrm>
              <a:custGeom>
                <a:avLst/>
                <a:gdLst>
                  <a:gd name="connsiteX0" fmla="*/ 9091 w 18302"/>
                  <a:gd name="connsiteY0" fmla="*/ 0 h 18420"/>
                  <a:gd name="connsiteX1" fmla="*/ 1 w 18302"/>
                  <a:gd name="connsiteY1" fmla="*/ 9210 h 18420"/>
                  <a:gd name="connsiteX2" fmla="*/ 9211 w 18302"/>
                  <a:gd name="connsiteY2" fmla="*/ 18421 h 18420"/>
                  <a:gd name="connsiteX3" fmla="*/ 18302 w 18302"/>
                  <a:gd name="connsiteY3" fmla="*/ 9210 h 18420"/>
                  <a:gd name="connsiteX4" fmla="*/ 9091 w 18302"/>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091" y="0"/>
                    </a:moveTo>
                    <a:cubicBezTo>
                      <a:pt x="4008" y="0"/>
                      <a:pt x="-59" y="4127"/>
                      <a:pt x="1" y="9210"/>
                    </a:cubicBezTo>
                    <a:cubicBezTo>
                      <a:pt x="1" y="14294"/>
                      <a:pt x="4127" y="18421"/>
                      <a:pt x="9211" y="18421"/>
                    </a:cubicBezTo>
                    <a:cubicBezTo>
                      <a:pt x="14295" y="18421"/>
                      <a:pt x="18362" y="14294"/>
                      <a:pt x="18302" y="9210"/>
                    </a:cubicBezTo>
                    <a:cubicBezTo>
                      <a:pt x="18242" y="4127"/>
                      <a:pt x="14175" y="0"/>
                      <a:pt x="9091" y="0"/>
                    </a:cubicBezTo>
                    <a:close/>
                  </a:path>
                </a:pathLst>
              </a:custGeom>
              <a:grpFill/>
              <a:ln w="5978" cap="flat">
                <a:noFill/>
                <a:prstDash val="solid"/>
                <a:miter/>
              </a:ln>
            </p:spPr>
            <p:txBody>
              <a:bodyPr rtlCol="0" anchor="ctr"/>
              <a:lstStyle/>
              <a:p>
                <a:endParaRPr lang="en-GB"/>
              </a:p>
            </p:txBody>
          </p:sp>
        </p:grpSp>
        <p:grpSp>
          <p:nvGrpSpPr>
            <p:cNvPr id="1297" name="Graphic 3">
              <a:extLst>
                <a:ext uri="{FF2B5EF4-FFF2-40B4-BE49-F238E27FC236}">
                  <a16:creationId xmlns:a16="http://schemas.microsoft.com/office/drawing/2014/main" id="{92306D04-303B-43AA-AE46-80282D414C1E}"/>
                </a:ext>
              </a:extLst>
            </p:cNvPr>
            <p:cNvGrpSpPr/>
            <p:nvPr/>
          </p:nvGrpSpPr>
          <p:grpSpPr>
            <a:xfrm>
              <a:off x="4045856" y="3447923"/>
              <a:ext cx="24585" cy="18545"/>
              <a:chOff x="4045856" y="3447923"/>
              <a:chExt cx="24585" cy="18545"/>
            </a:xfrm>
            <a:grpFill/>
          </p:grpSpPr>
          <p:sp>
            <p:nvSpPr>
              <p:cNvPr id="1516" name="Vrije vorm: vorm 1515">
                <a:extLst>
                  <a:ext uri="{FF2B5EF4-FFF2-40B4-BE49-F238E27FC236}">
                    <a16:creationId xmlns:a16="http://schemas.microsoft.com/office/drawing/2014/main" id="{503A2479-4AFB-4B0B-9DE9-6A08B673EBE5}"/>
                  </a:ext>
                </a:extLst>
              </p:cNvPr>
              <p:cNvSpPr/>
              <p:nvPr/>
            </p:nvSpPr>
            <p:spPr>
              <a:xfrm>
                <a:off x="4054530" y="3455581"/>
                <a:ext cx="7236" cy="3229"/>
              </a:xfrm>
              <a:custGeom>
                <a:avLst/>
                <a:gdLst>
                  <a:gd name="connsiteX0" fmla="*/ 7177 w 7236"/>
                  <a:gd name="connsiteY0" fmla="*/ 0 h 3229"/>
                  <a:gd name="connsiteX1" fmla="*/ 7237 w 7236"/>
                  <a:gd name="connsiteY1" fmla="*/ 3110 h 3229"/>
                  <a:gd name="connsiteX2" fmla="*/ 60 w 7236"/>
                  <a:gd name="connsiteY2" fmla="*/ 3229 h 3229"/>
                  <a:gd name="connsiteX3" fmla="*/ 0 w 7236"/>
                  <a:gd name="connsiteY3" fmla="*/ 179 h 3229"/>
                </a:gdLst>
                <a:ahLst/>
                <a:cxnLst>
                  <a:cxn ang="0">
                    <a:pos x="connsiteX0" y="connsiteY0"/>
                  </a:cxn>
                  <a:cxn ang="0">
                    <a:pos x="connsiteX1" y="connsiteY1"/>
                  </a:cxn>
                  <a:cxn ang="0">
                    <a:pos x="connsiteX2" y="connsiteY2"/>
                  </a:cxn>
                  <a:cxn ang="0">
                    <a:pos x="connsiteX3" y="connsiteY3"/>
                  </a:cxn>
                </a:cxnLst>
                <a:rect l="l" t="t" r="r" b="b"/>
                <a:pathLst>
                  <a:path w="7236" h="3229">
                    <a:moveTo>
                      <a:pt x="7177" y="0"/>
                    </a:moveTo>
                    <a:lnTo>
                      <a:pt x="7237" y="3110"/>
                    </a:lnTo>
                    <a:lnTo>
                      <a:pt x="60" y="3229"/>
                    </a:lnTo>
                    <a:lnTo>
                      <a:pt x="0" y="179"/>
                    </a:lnTo>
                    <a:close/>
                  </a:path>
                </a:pathLst>
              </a:custGeom>
              <a:grpFill/>
              <a:ln w="5978" cap="flat">
                <a:noFill/>
                <a:prstDash val="solid"/>
                <a:miter/>
              </a:ln>
            </p:spPr>
            <p:txBody>
              <a:bodyPr rtlCol="0" anchor="ctr"/>
              <a:lstStyle/>
              <a:p>
                <a:endParaRPr lang="en-GB"/>
              </a:p>
            </p:txBody>
          </p:sp>
          <p:sp>
            <p:nvSpPr>
              <p:cNvPr id="1517" name="Vrije vorm: vorm 1516">
                <a:extLst>
                  <a:ext uri="{FF2B5EF4-FFF2-40B4-BE49-F238E27FC236}">
                    <a16:creationId xmlns:a16="http://schemas.microsoft.com/office/drawing/2014/main" id="{F3FA59FD-F12D-462C-86C5-135F639BAC3F}"/>
                  </a:ext>
                </a:extLst>
              </p:cNvPr>
              <p:cNvSpPr/>
              <p:nvPr/>
            </p:nvSpPr>
            <p:spPr>
              <a:xfrm>
                <a:off x="4045856" y="3448043"/>
                <a:ext cx="18363" cy="18425"/>
              </a:xfrm>
              <a:custGeom>
                <a:avLst/>
                <a:gdLst>
                  <a:gd name="connsiteX0" fmla="*/ 9392 w 18363"/>
                  <a:gd name="connsiteY0" fmla="*/ 18423 h 18425"/>
                  <a:gd name="connsiteX1" fmla="*/ 3 w 18363"/>
                  <a:gd name="connsiteY1" fmla="*/ 9392 h 18425"/>
                  <a:gd name="connsiteX2" fmla="*/ 8974 w 18363"/>
                  <a:gd name="connsiteY2" fmla="*/ 3 h 18425"/>
                  <a:gd name="connsiteX3" fmla="*/ 18363 w 18363"/>
                  <a:gd name="connsiteY3" fmla="*/ 9034 h 18425"/>
                  <a:gd name="connsiteX4" fmla="*/ 9392 w 18363"/>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5">
                    <a:moveTo>
                      <a:pt x="9392" y="18423"/>
                    </a:moveTo>
                    <a:cubicBezTo>
                      <a:pt x="4309" y="18543"/>
                      <a:pt x="122" y="14476"/>
                      <a:pt x="3" y="9392"/>
                    </a:cubicBezTo>
                    <a:cubicBezTo>
                      <a:pt x="-117" y="4309"/>
                      <a:pt x="3890" y="122"/>
                      <a:pt x="8974" y="3"/>
                    </a:cubicBezTo>
                    <a:cubicBezTo>
                      <a:pt x="14057" y="-117"/>
                      <a:pt x="18244" y="3950"/>
                      <a:pt x="18363" y="9034"/>
                    </a:cubicBezTo>
                    <a:cubicBezTo>
                      <a:pt x="18423" y="14117"/>
                      <a:pt x="14416" y="18363"/>
                      <a:pt x="9392" y="18423"/>
                    </a:cubicBezTo>
                    <a:close/>
                  </a:path>
                </a:pathLst>
              </a:custGeom>
              <a:grpFill/>
              <a:ln w="5978" cap="flat">
                <a:noFill/>
                <a:prstDash val="solid"/>
                <a:miter/>
              </a:ln>
            </p:spPr>
            <p:txBody>
              <a:bodyPr rtlCol="0" anchor="ctr"/>
              <a:lstStyle/>
              <a:p>
                <a:endParaRPr lang="en-GB"/>
              </a:p>
            </p:txBody>
          </p:sp>
          <p:sp>
            <p:nvSpPr>
              <p:cNvPr id="1518" name="Vrije vorm: vorm 1517">
                <a:extLst>
                  <a:ext uri="{FF2B5EF4-FFF2-40B4-BE49-F238E27FC236}">
                    <a16:creationId xmlns:a16="http://schemas.microsoft.com/office/drawing/2014/main" id="{335F0E3B-7A24-45DD-8006-2C5620E616F8}"/>
                  </a:ext>
                </a:extLst>
              </p:cNvPr>
              <p:cNvSpPr/>
              <p:nvPr/>
            </p:nvSpPr>
            <p:spPr>
              <a:xfrm>
                <a:off x="4052076" y="3447923"/>
                <a:ext cx="18366" cy="18425"/>
              </a:xfrm>
              <a:custGeom>
                <a:avLst/>
                <a:gdLst>
                  <a:gd name="connsiteX0" fmla="*/ 9392 w 18366"/>
                  <a:gd name="connsiteY0" fmla="*/ 18423 h 18425"/>
                  <a:gd name="connsiteX1" fmla="*/ 18363 w 18366"/>
                  <a:gd name="connsiteY1" fmla="*/ 9034 h 18425"/>
                  <a:gd name="connsiteX2" fmla="*/ 8974 w 18366"/>
                  <a:gd name="connsiteY2" fmla="*/ 3 h 18425"/>
                  <a:gd name="connsiteX3" fmla="*/ 3 w 18366"/>
                  <a:gd name="connsiteY3" fmla="*/ 9392 h 18425"/>
                  <a:gd name="connsiteX4" fmla="*/ 9392 w 18366"/>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2" y="18423"/>
                    </a:moveTo>
                    <a:cubicBezTo>
                      <a:pt x="14476" y="18304"/>
                      <a:pt x="18483" y="14117"/>
                      <a:pt x="18363" y="9034"/>
                    </a:cubicBezTo>
                    <a:cubicBezTo>
                      <a:pt x="18244" y="3950"/>
                      <a:pt x="14057" y="-117"/>
                      <a:pt x="8974" y="3"/>
                    </a:cubicBezTo>
                    <a:cubicBezTo>
                      <a:pt x="3890" y="122"/>
                      <a:pt x="-117" y="4309"/>
                      <a:pt x="3" y="9392"/>
                    </a:cubicBezTo>
                    <a:cubicBezTo>
                      <a:pt x="182" y="14476"/>
                      <a:pt x="4368" y="18543"/>
                      <a:pt x="9392" y="18423"/>
                    </a:cubicBezTo>
                    <a:close/>
                  </a:path>
                </a:pathLst>
              </a:custGeom>
              <a:grpFill/>
              <a:ln w="5978" cap="flat">
                <a:noFill/>
                <a:prstDash val="solid"/>
                <a:miter/>
              </a:ln>
            </p:spPr>
            <p:txBody>
              <a:bodyPr rtlCol="0" anchor="ctr"/>
              <a:lstStyle/>
              <a:p>
                <a:endParaRPr lang="en-GB"/>
              </a:p>
            </p:txBody>
          </p:sp>
        </p:grpSp>
        <p:grpSp>
          <p:nvGrpSpPr>
            <p:cNvPr id="1298" name="Graphic 3">
              <a:extLst>
                <a:ext uri="{FF2B5EF4-FFF2-40B4-BE49-F238E27FC236}">
                  <a16:creationId xmlns:a16="http://schemas.microsoft.com/office/drawing/2014/main" id="{70387BE4-6EEE-4E4F-AEC9-201086C88AC4}"/>
                </a:ext>
              </a:extLst>
            </p:cNvPr>
            <p:cNvGrpSpPr/>
            <p:nvPr/>
          </p:nvGrpSpPr>
          <p:grpSpPr>
            <a:xfrm>
              <a:off x="3680886" y="2632546"/>
              <a:ext cx="229895" cy="87793"/>
              <a:chOff x="3680886" y="2632546"/>
              <a:chExt cx="229895" cy="87793"/>
            </a:xfrm>
            <a:grpFill/>
          </p:grpSpPr>
          <p:sp>
            <p:nvSpPr>
              <p:cNvPr id="1513" name="Vrije vorm: vorm 1512">
                <a:extLst>
                  <a:ext uri="{FF2B5EF4-FFF2-40B4-BE49-F238E27FC236}">
                    <a16:creationId xmlns:a16="http://schemas.microsoft.com/office/drawing/2014/main" id="{FFAC0CCD-6C68-4541-86CB-5A18B868B600}"/>
                  </a:ext>
                </a:extLst>
              </p:cNvPr>
              <p:cNvSpPr/>
              <p:nvPr/>
            </p:nvSpPr>
            <p:spPr>
              <a:xfrm>
                <a:off x="3689168" y="2640170"/>
                <a:ext cx="213332" cy="72546"/>
              </a:xfrm>
              <a:custGeom>
                <a:avLst/>
                <a:gdLst>
                  <a:gd name="connsiteX0" fmla="*/ 213332 w 213332"/>
                  <a:gd name="connsiteY0" fmla="*/ 69616 h 72546"/>
                  <a:gd name="connsiteX1" fmla="*/ 212376 w 213332"/>
                  <a:gd name="connsiteY1" fmla="*/ 72546 h 72546"/>
                  <a:gd name="connsiteX2" fmla="*/ 0 w 213332"/>
                  <a:gd name="connsiteY2" fmla="*/ 2931 h 72546"/>
                  <a:gd name="connsiteX3" fmla="*/ 897 w 213332"/>
                  <a:gd name="connsiteY3" fmla="*/ 0 h 72546"/>
                </a:gdLst>
                <a:ahLst/>
                <a:cxnLst>
                  <a:cxn ang="0">
                    <a:pos x="connsiteX0" y="connsiteY0"/>
                  </a:cxn>
                  <a:cxn ang="0">
                    <a:pos x="connsiteX1" y="connsiteY1"/>
                  </a:cxn>
                  <a:cxn ang="0">
                    <a:pos x="connsiteX2" y="connsiteY2"/>
                  </a:cxn>
                  <a:cxn ang="0">
                    <a:pos x="connsiteX3" y="connsiteY3"/>
                  </a:cxn>
                </a:cxnLst>
                <a:rect l="l" t="t" r="r" b="b"/>
                <a:pathLst>
                  <a:path w="213332" h="72546">
                    <a:moveTo>
                      <a:pt x="213332" y="69616"/>
                    </a:moveTo>
                    <a:lnTo>
                      <a:pt x="212376" y="72546"/>
                    </a:lnTo>
                    <a:lnTo>
                      <a:pt x="0" y="2931"/>
                    </a:lnTo>
                    <a:lnTo>
                      <a:pt x="897" y="0"/>
                    </a:lnTo>
                    <a:close/>
                  </a:path>
                </a:pathLst>
              </a:custGeom>
              <a:grpFill/>
              <a:ln w="5978" cap="flat">
                <a:noFill/>
                <a:prstDash val="solid"/>
                <a:miter/>
              </a:ln>
            </p:spPr>
            <p:txBody>
              <a:bodyPr rtlCol="0" anchor="ctr"/>
              <a:lstStyle/>
              <a:p>
                <a:endParaRPr lang="en-GB"/>
              </a:p>
            </p:txBody>
          </p:sp>
          <p:sp>
            <p:nvSpPr>
              <p:cNvPr id="1514" name="Vrije vorm: vorm 1513">
                <a:extLst>
                  <a:ext uri="{FF2B5EF4-FFF2-40B4-BE49-F238E27FC236}">
                    <a16:creationId xmlns:a16="http://schemas.microsoft.com/office/drawing/2014/main" id="{D0804835-6A3D-4A5A-A3E2-7DEA86C5A89A}"/>
                  </a:ext>
                </a:extLst>
              </p:cNvPr>
              <p:cNvSpPr/>
              <p:nvPr/>
            </p:nvSpPr>
            <p:spPr>
              <a:xfrm>
                <a:off x="3680886" y="2632546"/>
                <a:ext cx="18357" cy="18439"/>
              </a:xfrm>
              <a:custGeom>
                <a:avLst/>
                <a:gdLst>
                  <a:gd name="connsiteX0" fmla="*/ 6368 w 18357"/>
                  <a:gd name="connsiteY0" fmla="*/ 17970 h 18439"/>
                  <a:gd name="connsiteX1" fmla="*/ 447 w 18357"/>
                  <a:gd name="connsiteY1" fmla="*/ 6368 h 18439"/>
                  <a:gd name="connsiteX2" fmla="*/ 11990 w 18357"/>
                  <a:gd name="connsiteY2" fmla="*/ 447 h 18439"/>
                  <a:gd name="connsiteX3" fmla="*/ 17910 w 18357"/>
                  <a:gd name="connsiteY3" fmla="*/ 12049 h 18439"/>
                  <a:gd name="connsiteX4" fmla="*/ 6368 w 18357"/>
                  <a:gd name="connsiteY4" fmla="*/ 1797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39">
                    <a:moveTo>
                      <a:pt x="6368" y="17970"/>
                    </a:moveTo>
                    <a:cubicBezTo>
                      <a:pt x="1523" y="16415"/>
                      <a:pt x="-1108" y="11212"/>
                      <a:pt x="447" y="6368"/>
                    </a:cubicBezTo>
                    <a:cubicBezTo>
                      <a:pt x="2002" y="1523"/>
                      <a:pt x="7145" y="-1108"/>
                      <a:pt x="11990" y="447"/>
                    </a:cubicBezTo>
                    <a:cubicBezTo>
                      <a:pt x="16834" y="2002"/>
                      <a:pt x="19466" y="7205"/>
                      <a:pt x="17910" y="12049"/>
                    </a:cubicBezTo>
                    <a:cubicBezTo>
                      <a:pt x="16355" y="16894"/>
                      <a:pt x="11152" y="19585"/>
                      <a:pt x="6368" y="17970"/>
                    </a:cubicBezTo>
                    <a:close/>
                  </a:path>
                </a:pathLst>
              </a:custGeom>
              <a:grpFill/>
              <a:ln w="5978" cap="flat">
                <a:noFill/>
                <a:prstDash val="solid"/>
                <a:miter/>
              </a:ln>
            </p:spPr>
            <p:txBody>
              <a:bodyPr rtlCol="0" anchor="ctr"/>
              <a:lstStyle/>
              <a:p>
                <a:endParaRPr lang="en-GB"/>
              </a:p>
            </p:txBody>
          </p:sp>
          <p:sp>
            <p:nvSpPr>
              <p:cNvPr id="1515" name="Vrije vorm: vorm 1514">
                <a:extLst>
                  <a:ext uri="{FF2B5EF4-FFF2-40B4-BE49-F238E27FC236}">
                    <a16:creationId xmlns:a16="http://schemas.microsoft.com/office/drawing/2014/main" id="{34F133A9-5717-4F27-BB50-F77285B6BC21}"/>
                  </a:ext>
                </a:extLst>
              </p:cNvPr>
              <p:cNvSpPr/>
              <p:nvPr/>
            </p:nvSpPr>
            <p:spPr>
              <a:xfrm>
                <a:off x="3892425" y="2701923"/>
                <a:ext cx="18357" cy="18416"/>
              </a:xfrm>
              <a:custGeom>
                <a:avLst/>
                <a:gdLst>
                  <a:gd name="connsiteX0" fmla="*/ 6368 w 18357"/>
                  <a:gd name="connsiteY0" fmla="*/ 17970 h 18416"/>
                  <a:gd name="connsiteX1" fmla="*/ 17910 w 18357"/>
                  <a:gd name="connsiteY1" fmla="*/ 12049 h 18416"/>
                  <a:gd name="connsiteX2" fmla="*/ 11990 w 18357"/>
                  <a:gd name="connsiteY2" fmla="*/ 447 h 18416"/>
                  <a:gd name="connsiteX3" fmla="*/ 447 w 18357"/>
                  <a:gd name="connsiteY3" fmla="*/ 6368 h 18416"/>
                  <a:gd name="connsiteX4" fmla="*/ 6368 w 18357"/>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6368" y="17970"/>
                    </a:moveTo>
                    <a:cubicBezTo>
                      <a:pt x="11212" y="19525"/>
                      <a:pt x="16355" y="16894"/>
                      <a:pt x="17910" y="12049"/>
                    </a:cubicBezTo>
                    <a:cubicBezTo>
                      <a:pt x="19465" y="7205"/>
                      <a:pt x="16834" y="2002"/>
                      <a:pt x="11990" y="447"/>
                    </a:cubicBezTo>
                    <a:cubicBezTo>
                      <a:pt x="7145" y="-1108"/>
                      <a:pt x="2002" y="1523"/>
                      <a:pt x="447" y="6368"/>
                    </a:cubicBezTo>
                    <a:cubicBezTo>
                      <a:pt x="-1108" y="11152"/>
                      <a:pt x="1523" y="16355"/>
                      <a:pt x="6368" y="17970"/>
                    </a:cubicBezTo>
                    <a:close/>
                  </a:path>
                </a:pathLst>
              </a:custGeom>
              <a:grpFill/>
              <a:ln w="5978" cap="flat">
                <a:noFill/>
                <a:prstDash val="solid"/>
                <a:miter/>
              </a:ln>
            </p:spPr>
            <p:txBody>
              <a:bodyPr rtlCol="0" anchor="ctr"/>
              <a:lstStyle/>
              <a:p>
                <a:endParaRPr lang="en-GB"/>
              </a:p>
            </p:txBody>
          </p:sp>
        </p:grpSp>
        <p:grpSp>
          <p:nvGrpSpPr>
            <p:cNvPr id="1299" name="Graphic 3">
              <a:extLst>
                <a:ext uri="{FF2B5EF4-FFF2-40B4-BE49-F238E27FC236}">
                  <a16:creationId xmlns:a16="http://schemas.microsoft.com/office/drawing/2014/main" id="{971B954A-1F45-44D5-971C-AFF1387CD046}"/>
                </a:ext>
              </a:extLst>
            </p:cNvPr>
            <p:cNvGrpSpPr/>
            <p:nvPr/>
          </p:nvGrpSpPr>
          <p:grpSpPr>
            <a:xfrm>
              <a:off x="4175533" y="4070002"/>
              <a:ext cx="214323" cy="95888"/>
              <a:chOff x="4175533" y="4070002"/>
              <a:chExt cx="214323" cy="95888"/>
            </a:xfrm>
            <a:grpFill/>
          </p:grpSpPr>
          <p:sp>
            <p:nvSpPr>
              <p:cNvPr id="1510" name="Vrije vorm: vorm 1509">
                <a:extLst>
                  <a:ext uri="{FF2B5EF4-FFF2-40B4-BE49-F238E27FC236}">
                    <a16:creationId xmlns:a16="http://schemas.microsoft.com/office/drawing/2014/main" id="{22DEDEAD-A223-4321-8EE6-7E51FCDF9EA1}"/>
                  </a:ext>
                </a:extLst>
              </p:cNvPr>
              <p:cNvSpPr/>
              <p:nvPr/>
            </p:nvSpPr>
            <p:spPr>
              <a:xfrm>
                <a:off x="4183728" y="4077402"/>
                <a:ext cx="197942" cy="80684"/>
              </a:xfrm>
              <a:custGeom>
                <a:avLst/>
                <a:gdLst>
                  <a:gd name="connsiteX0" fmla="*/ 0 w 197942"/>
                  <a:gd name="connsiteY0" fmla="*/ 77848 h 80684"/>
                  <a:gd name="connsiteX1" fmla="*/ 196821 w 197942"/>
                  <a:gd name="connsiteY1" fmla="*/ 0 h 80684"/>
                  <a:gd name="connsiteX2" fmla="*/ 197942 w 197942"/>
                  <a:gd name="connsiteY2" fmla="*/ 2836 h 80684"/>
                  <a:gd name="connsiteX3" fmla="*/ 1122 w 197942"/>
                  <a:gd name="connsiteY3" fmla="*/ 80684 h 80684"/>
                </a:gdLst>
                <a:ahLst/>
                <a:cxnLst>
                  <a:cxn ang="0">
                    <a:pos x="connsiteX0" y="connsiteY0"/>
                  </a:cxn>
                  <a:cxn ang="0">
                    <a:pos x="connsiteX1" y="connsiteY1"/>
                  </a:cxn>
                  <a:cxn ang="0">
                    <a:pos x="connsiteX2" y="connsiteY2"/>
                  </a:cxn>
                  <a:cxn ang="0">
                    <a:pos x="connsiteX3" y="connsiteY3"/>
                  </a:cxn>
                </a:cxnLst>
                <a:rect l="l" t="t" r="r" b="b"/>
                <a:pathLst>
                  <a:path w="197942" h="80684">
                    <a:moveTo>
                      <a:pt x="0" y="77848"/>
                    </a:moveTo>
                    <a:lnTo>
                      <a:pt x="196821" y="0"/>
                    </a:lnTo>
                    <a:lnTo>
                      <a:pt x="197942" y="2836"/>
                    </a:lnTo>
                    <a:lnTo>
                      <a:pt x="1122" y="80684"/>
                    </a:lnTo>
                    <a:close/>
                  </a:path>
                </a:pathLst>
              </a:custGeom>
              <a:grpFill/>
              <a:ln w="5978" cap="flat">
                <a:noFill/>
                <a:prstDash val="solid"/>
                <a:miter/>
              </a:ln>
            </p:spPr>
            <p:txBody>
              <a:bodyPr rtlCol="0" anchor="ctr"/>
              <a:lstStyle/>
              <a:p>
                <a:endParaRPr lang="en-GB"/>
              </a:p>
            </p:txBody>
          </p:sp>
          <p:sp>
            <p:nvSpPr>
              <p:cNvPr id="1511" name="Vrije vorm: vorm 1510">
                <a:extLst>
                  <a:ext uri="{FF2B5EF4-FFF2-40B4-BE49-F238E27FC236}">
                    <a16:creationId xmlns:a16="http://schemas.microsoft.com/office/drawing/2014/main" id="{47BA97DC-4142-4AE3-8DA8-A885465B04B0}"/>
                  </a:ext>
                </a:extLst>
              </p:cNvPr>
              <p:cNvSpPr/>
              <p:nvPr/>
            </p:nvSpPr>
            <p:spPr>
              <a:xfrm>
                <a:off x="4175533" y="4147452"/>
                <a:ext cx="18327" cy="18438"/>
              </a:xfrm>
              <a:custGeom>
                <a:avLst/>
                <a:gdLst>
                  <a:gd name="connsiteX0" fmla="*/ 12547 w 18327"/>
                  <a:gd name="connsiteY0" fmla="*/ 17801 h 18438"/>
                  <a:gd name="connsiteX1" fmla="*/ 645 w 18327"/>
                  <a:gd name="connsiteY1" fmla="*/ 12598 h 18438"/>
                  <a:gd name="connsiteX2" fmla="*/ 5788 w 18327"/>
                  <a:gd name="connsiteY2" fmla="*/ 637 h 18438"/>
                  <a:gd name="connsiteX3" fmla="*/ 17690 w 18327"/>
                  <a:gd name="connsiteY3" fmla="*/ 5840 h 18438"/>
                  <a:gd name="connsiteX4" fmla="*/ 12547 w 18327"/>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8">
                    <a:moveTo>
                      <a:pt x="12547" y="17801"/>
                    </a:moveTo>
                    <a:cubicBezTo>
                      <a:pt x="7822" y="19655"/>
                      <a:pt x="2499" y="17323"/>
                      <a:pt x="645" y="12598"/>
                    </a:cubicBezTo>
                    <a:cubicBezTo>
                      <a:pt x="-1209" y="7874"/>
                      <a:pt x="1064" y="2491"/>
                      <a:pt x="5788" y="637"/>
                    </a:cubicBezTo>
                    <a:cubicBezTo>
                      <a:pt x="10513" y="-1217"/>
                      <a:pt x="15836" y="1115"/>
                      <a:pt x="17690" y="5840"/>
                    </a:cubicBezTo>
                    <a:cubicBezTo>
                      <a:pt x="19544" y="10624"/>
                      <a:pt x="17212" y="15947"/>
                      <a:pt x="12547" y="17801"/>
                    </a:cubicBezTo>
                    <a:close/>
                  </a:path>
                </a:pathLst>
              </a:custGeom>
              <a:grpFill/>
              <a:ln w="5978" cap="flat">
                <a:noFill/>
                <a:prstDash val="solid"/>
                <a:miter/>
              </a:ln>
            </p:spPr>
            <p:txBody>
              <a:bodyPr rtlCol="0" anchor="ctr"/>
              <a:lstStyle/>
              <a:p>
                <a:endParaRPr lang="en-GB"/>
              </a:p>
            </p:txBody>
          </p:sp>
          <p:sp>
            <p:nvSpPr>
              <p:cNvPr id="1512" name="Vrije vorm: vorm 1511">
                <a:extLst>
                  <a:ext uri="{FF2B5EF4-FFF2-40B4-BE49-F238E27FC236}">
                    <a16:creationId xmlns:a16="http://schemas.microsoft.com/office/drawing/2014/main" id="{2FAC80EC-5B47-4CEA-A03B-80F0BDFEA412}"/>
                  </a:ext>
                </a:extLst>
              </p:cNvPr>
              <p:cNvSpPr/>
              <p:nvPr/>
            </p:nvSpPr>
            <p:spPr>
              <a:xfrm>
                <a:off x="4371521" y="4070002"/>
                <a:ext cx="18335" cy="18438"/>
              </a:xfrm>
              <a:custGeom>
                <a:avLst/>
                <a:gdLst>
                  <a:gd name="connsiteX0" fmla="*/ 12547 w 18335"/>
                  <a:gd name="connsiteY0" fmla="*/ 17801 h 18438"/>
                  <a:gd name="connsiteX1" fmla="*/ 17690 w 18335"/>
                  <a:gd name="connsiteY1" fmla="*/ 5840 h 18438"/>
                  <a:gd name="connsiteX2" fmla="*/ 5789 w 18335"/>
                  <a:gd name="connsiteY2" fmla="*/ 637 h 18438"/>
                  <a:gd name="connsiteX3" fmla="*/ 645 w 18335"/>
                  <a:gd name="connsiteY3" fmla="*/ 12598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17271" y="15947"/>
                      <a:pt x="19544" y="10565"/>
                      <a:pt x="17690" y="5840"/>
                    </a:cubicBezTo>
                    <a:cubicBezTo>
                      <a:pt x="15836" y="1115"/>
                      <a:pt x="10513" y="-1217"/>
                      <a:pt x="5789" y="637"/>
                    </a:cubicBezTo>
                    <a:cubicBezTo>
                      <a:pt x="1064" y="2491"/>
                      <a:pt x="-1209" y="7874"/>
                      <a:pt x="645" y="12598"/>
                    </a:cubicBezTo>
                    <a:cubicBezTo>
                      <a:pt x="2499" y="17323"/>
                      <a:pt x="7822" y="19655"/>
                      <a:pt x="12547" y="17801"/>
                    </a:cubicBezTo>
                    <a:close/>
                  </a:path>
                </a:pathLst>
              </a:custGeom>
              <a:grpFill/>
              <a:ln w="5978" cap="flat">
                <a:noFill/>
                <a:prstDash val="solid"/>
                <a:miter/>
              </a:ln>
            </p:spPr>
            <p:txBody>
              <a:bodyPr rtlCol="0" anchor="ctr"/>
              <a:lstStyle/>
              <a:p>
                <a:endParaRPr lang="en-GB"/>
              </a:p>
            </p:txBody>
          </p:sp>
        </p:grpSp>
        <p:grpSp>
          <p:nvGrpSpPr>
            <p:cNvPr id="1300" name="Graphic 3">
              <a:extLst>
                <a:ext uri="{FF2B5EF4-FFF2-40B4-BE49-F238E27FC236}">
                  <a16:creationId xmlns:a16="http://schemas.microsoft.com/office/drawing/2014/main" id="{7AF626E9-223A-4737-AA4D-3E0F26028776}"/>
                </a:ext>
              </a:extLst>
            </p:cNvPr>
            <p:cNvGrpSpPr/>
            <p:nvPr/>
          </p:nvGrpSpPr>
          <p:grpSpPr>
            <a:xfrm>
              <a:off x="4154209" y="3896763"/>
              <a:ext cx="100840" cy="40820"/>
              <a:chOff x="4154209" y="3896763"/>
              <a:chExt cx="100840" cy="40820"/>
            </a:xfrm>
            <a:grpFill/>
          </p:grpSpPr>
          <p:sp>
            <p:nvSpPr>
              <p:cNvPr id="1507" name="Vrije vorm: vorm 1506">
                <a:extLst>
                  <a:ext uri="{FF2B5EF4-FFF2-40B4-BE49-F238E27FC236}">
                    <a16:creationId xmlns:a16="http://schemas.microsoft.com/office/drawing/2014/main" id="{3391C583-119D-4CC8-B9D8-159FC995258D}"/>
                  </a:ext>
                </a:extLst>
              </p:cNvPr>
              <p:cNvSpPr/>
              <p:nvPr/>
            </p:nvSpPr>
            <p:spPr>
              <a:xfrm>
                <a:off x="4162596" y="3904438"/>
                <a:ext cx="84219" cy="25517"/>
              </a:xfrm>
              <a:custGeom>
                <a:avLst/>
                <a:gdLst>
                  <a:gd name="connsiteX0" fmla="*/ 0 w 84219"/>
                  <a:gd name="connsiteY0" fmla="*/ 22573 h 25517"/>
                  <a:gd name="connsiteX1" fmla="*/ 83423 w 84219"/>
                  <a:gd name="connsiteY1" fmla="*/ 0 h 25517"/>
                  <a:gd name="connsiteX2" fmla="*/ 84219 w 84219"/>
                  <a:gd name="connsiteY2" fmla="*/ 2944 h 25517"/>
                  <a:gd name="connsiteX3" fmla="*/ 797 w 84219"/>
                  <a:gd name="connsiteY3" fmla="*/ 25518 h 25517"/>
                </a:gdLst>
                <a:ahLst/>
                <a:cxnLst>
                  <a:cxn ang="0">
                    <a:pos x="connsiteX0" y="connsiteY0"/>
                  </a:cxn>
                  <a:cxn ang="0">
                    <a:pos x="connsiteX1" y="connsiteY1"/>
                  </a:cxn>
                  <a:cxn ang="0">
                    <a:pos x="connsiteX2" y="connsiteY2"/>
                  </a:cxn>
                  <a:cxn ang="0">
                    <a:pos x="connsiteX3" y="connsiteY3"/>
                  </a:cxn>
                </a:cxnLst>
                <a:rect l="l" t="t" r="r" b="b"/>
                <a:pathLst>
                  <a:path w="84219" h="25517">
                    <a:moveTo>
                      <a:pt x="0" y="22573"/>
                    </a:moveTo>
                    <a:lnTo>
                      <a:pt x="83423" y="0"/>
                    </a:lnTo>
                    <a:lnTo>
                      <a:pt x="84219" y="2944"/>
                    </a:lnTo>
                    <a:lnTo>
                      <a:pt x="797" y="25518"/>
                    </a:lnTo>
                    <a:close/>
                  </a:path>
                </a:pathLst>
              </a:custGeom>
              <a:grpFill/>
              <a:ln w="5978" cap="flat">
                <a:noFill/>
                <a:prstDash val="solid"/>
                <a:miter/>
              </a:ln>
            </p:spPr>
            <p:txBody>
              <a:bodyPr rtlCol="0" anchor="ctr"/>
              <a:lstStyle/>
              <a:p>
                <a:endParaRPr lang="en-GB"/>
              </a:p>
            </p:txBody>
          </p:sp>
          <p:sp>
            <p:nvSpPr>
              <p:cNvPr id="1508" name="Vrije vorm: vorm 1507">
                <a:extLst>
                  <a:ext uri="{FF2B5EF4-FFF2-40B4-BE49-F238E27FC236}">
                    <a16:creationId xmlns:a16="http://schemas.microsoft.com/office/drawing/2014/main" id="{3126E5A4-1940-4017-BAB7-E62E2D00AB86}"/>
                  </a:ext>
                </a:extLst>
              </p:cNvPr>
              <p:cNvSpPr/>
              <p:nvPr/>
            </p:nvSpPr>
            <p:spPr>
              <a:xfrm>
                <a:off x="4154209" y="3919131"/>
                <a:ext cx="18340" cy="18452"/>
              </a:xfrm>
              <a:custGeom>
                <a:avLst/>
                <a:gdLst>
                  <a:gd name="connsiteX0" fmla="*/ 11563 w 18340"/>
                  <a:gd name="connsiteY0" fmla="*/ 18137 h 18452"/>
                  <a:gd name="connsiteX1" fmla="*/ 319 w 18340"/>
                  <a:gd name="connsiteY1" fmla="*/ 11619 h 18452"/>
                  <a:gd name="connsiteX2" fmla="*/ 6778 w 18340"/>
                  <a:gd name="connsiteY2" fmla="*/ 315 h 18452"/>
                  <a:gd name="connsiteX3" fmla="*/ 18022 w 18340"/>
                  <a:gd name="connsiteY3" fmla="*/ 6834 h 18452"/>
                  <a:gd name="connsiteX4" fmla="*/ 11563 w 18340"/>
                  <a:gd name="connsiteY4" fmla="*/ 181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52">
                    <a:moveTo>
                      <a:pt x="11563" y="18137"/>
                    </a:moveTo>
                    <a:cubicBezTo>
                      <a:pt x="6659" y="19453"/>
                      <a:pt x="1635" y="16522"/>
                      <a:pt x="319" y="11619"/>
                    </a:cubicBezTo>
                    <a:cubicBezTo>
                      <a:pt x="-997" y="6714"/>
                      <a:pt x="1874" y="1630"/>
                      <a:pt x="6778" y="315"/>
                    </a:cubicBezTo>
                    <a:cubicBezTo>
                      <a:pt x="11682" y="-1001"/>
                      <a:pt x="16706" y="1929"/>
                      <a:pt x="18022" y="6834"/>
                    </a:cubicBezTo>
                    <a:cubicBezTo>
                      <a:pt x="19338" y="11738"/>
                      <a:pt x="16467" y="16762"/>
                      <a:pt x="11563" y="18137"/>
                    </a:cubicBezTo>
                    <a:close/>
                  </a:path>
                </a:pathLst>
              </a:custGeom>
              <a:grpFill/>
              <a:ln w="5978" cap="flat">
                <a:noFill/>
                <a:prstDash val="solid"/>
                <a:miter/>
              </a:ln>
            </p:spPr>
            <p:txBody>
              <a:bodyPr rtlCol="0" anchor="ctr"/>
              <a:lstStyle/>
              <a:p>
                <a:endParaRPr lang="en-GB"/>
              </a:p>
            </p:txBody>
          </p:sp>
          <p:sp>
            <p:nvSpPr>
              <p:cNvPr id="1509" name="Vrije vorm: vorm 1508">
                <a:extLst>
                  <a:ext uri="{FF2B5EF4-FFF2-40B4-BE49-F238E27FC236}">
                    <a16:creationId xmlns:a16="http://schemas.microsoft.com/office/drawing/2014/main" id="{A296BE71-873B-49C4-97A0-8923B37B6B65}"/>
                  </a:ext>
                </a:extLst>
              </p:cNvPr>
              <p:cNvSpPr/>
              <p:nvPr/>
            </p:nvSpPr>
            <p:spPr>
              <a:xfrm>
                <a:off x="4236718" y="3896763"/>
                <a:ext cx="18331" cy="18476"/>
              </a:xfrm>
              <a:custGeom>
                <a:avLst/>
                <a:gdLst>
                  <a:gd name="connsiteX0" fmla="*/ 11588 w 18331"/>
                  <a:gd name="connsiteY0" fmla="*/ 18137 h 18476"/>
                  <a:gd name="connsiteX1" fmla="*/ 17987 w 18331"/>
                  <a:gd name="connsiteY1" fmla="*/ 6834 h 18476"/>
                  <a:gd name="connsiteX2" fmla="*/ 6744 w 18331"/>
                  <a:gd name="connsiteY2" fmla="*/ 315 h 18476"/>
                  <a:gd name="connsiteX3" fmla="*/ 344 w 18331"/>
                  <a:gd name="connsiteY3" fmla="*/ 11618 h 18476"/>
                  <a:gd name="connsiteX4" fmla="*/ 11588 w 18331"/>
                  <a:gd name="connsiteY4" fmla="*/ 18137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76">
                    <a:moveTo>
                      <a:pt x="11588" y="18137"/>
                    </a:moveTo>
                    <a:cubicBezTo>
                      <a:pt x="16492" y="16821"/>
                      <a:pt x="19363" y="11738"/>
                      <a:pt x="17987" y="6834"/>
                    </a:cubicBezTo>
                    <a:cubicBezTo>
                      <a:pt x="16671" y="1929"/>
                      <a:pt x="11588" y="-1001"/>
                      <a:pt x="6744" y="315"/>
                    </a:cubicBezTo>
                    <a:cubicBezTo>
                      <a:pt x="1839" y="1630"/>
                      <a:pt x="-1031" y="6714"/>
                      <a:pt x="344" y="11618"/>
                    </a:cubicBezTo>
                    <a:cubicBezTo>
                      <a:pt x="1660" y="16582"/>
                      <a:pt x="6744" y="19513"/>
                      <a:pt x="11588" y="18137"/>
                    </a:cubicBezTo>
                    <a:close/>
                  </a:path>
                </a:pathLst>
              </a:custGeom>
              <a:grpFill/>
              <a:ln w="5978" cap="flat">
                <a:noFill/>
                <a:prstDash val="solid"/>
                <a:miter/>
              </a:ln>
            </p:spPr>
            <p:txBody>
              <a:bodyPr rtlCol="0" anchor="ctr"/>
              <a:lstStyle/>
              <a:p>
                <a:endParaRPr lang="en-GB"/>
              </a:p>
            </p:txBody>
          </p:sp>
        </p:grpSp>
        <p:grpSp>
          <p:nvGrpSpPr>
            <p:cNvPr id="1301" name="Graphic 3">
              <a:extLst>
                <a:ext uri="{FF2B5EF4-FFF2-40B4-BE49-F238E27FC236}">
                  <a16:creationId xmlns:a16="http://schemas.microsoft.com/office/drawing/2014/main" id="{6D3FB10D-D9E3-4EF8-95B3-B939FA409220}"/>
                </a:ext>
              </a:extLst>
            </p:cNvPr>
            <p:cNvGrpSpPr/>
            <p:nvPr/>
          </p:nvGrpSpPr>
          <p:grpSpPr>
            <a:xfrm>
              <a:off x="3928979" y="3291634"/>
              <a:ext cx="137822" cy="24971"/>
              <a:chOff x="3928979" y="3291634"/>
              <a:chExt cx="137822" cy="24971"/>
            </a:xfrm>
            <a:grpFill/>
          </p:grpSpPr>
          <p:sp>
            <p:nvSpPr>
              <p:cNvPr id="1504" name="Vrije vorm: vorm 1503">
                <a:extLst>
                  <a:ext uri="{FF2B5EF4-FFF2-40B4-BE49-F238E27FC236}">
                    <a16:creationId xmlns:a16="http://schemas.microsoft.com/office/drawing/2014/main" id="{B4F9145E-0238-47B5-A1B6-4B4D6DA4DC0B}"/>
                  </a:ext>
                </a:extLst>
              </p:cNvPr>
              <p:cNvSpPr/>
              <p:nvPr/>
            </p:nvSpPr>
            <p:spPr>
              <a:xfrm>
                <a:off x="3937607" y="3299245"/>
                <a:ext cx="120571" cy="9688"/>
              </a:xfrm>
              <a:custGeom>
                <a:avLst/>
                <a:gdLst>
                  <a:gd name="connsiteX0" fmla="*/ 120572 w 120571"/>
                  <a:gd name="connsiteY0" fmla="*/ 6639 h 9688"/>
                  <a:gd name="connsiteX1" fmla="*/ 120392 w 120571"/>
                  <a:gd name="connsiteY1" fmla="*/ 9689 h 9688"/>
                  <a:gd name="connsiteX2" fmla="*/ 0 w 120571"/>
                  <a:gd name="connsiteY2" fmla="*/ 3050 h 9688"/>
                  <a:gd name="connsiteX3" fmla="*/ 120 w 120571"/>
                  <a:gd name="connsiteY3" fmla="*/ 0 h 9688"/>
                </a:gdLst>
                <a:ahLst/>
                <a:cxnLst>
                  <a:cxn ang="0">
                    <a:pos x="connsiteX0" y="connsiteY0"/>
                  </a:cxn>
                  <a:cxn ang="0">
                    <a:pos x="connsiteX1" y="connsiteY1"/>
                  </a:cxn>
                  <a:cxn ang="0">
                    <a:pos x="connsiteX2" y="connsiteY2"/>
                  </a:cxn>
                  <a:cxn ang="0">
                    <a:pos x="connsiteX3" y="connsiteY3"/>
                  </a:cxn>
                </a:cxnLst>
                <a:rect l="l" t="t" r="r" b="b"/>
                <a:pathLst>
                  <a:path w="120571" h="9688">
                    <a:moveTo>
                      <a:pt x="120572" y="6639"/>
                    </a:moveTo>
                    <a:lnTo>
                      <a:pt x="120392" y="9689"/>
                    </a:lnTo>
                    <a:lnTo>
                      <a:pt x="0" y="3050"/>
                    </a:lnTo>
                    <a:lnTo>
                      <a:pt x="120" y="0"/>
                    </a:lnTo>
                    <a:close/>
                  </a:path>
                </a:pathLst>
              </a:custGeom>
              <a:grpFill/>
              <a:ln w="5978" cap="flat">
                <a:noFill/>
                <a:prstDash val="solid"/>
                <a:miter/>
              </a:ln>
            </p:spPr>
            <p:txBody>
              <a:bodyPr rtlCol="0" anchor="ctr"/>
              <a:lstStyle/>
              <a:p>
                <a:endParaRPr lang="en-GB"/>
              </a:p>
            </p:txBody>
          </p:sp>
          <p:sp>
            <p:nvSpPr>
              <p:cNvPr id="1505" name="Vrije vorm: vorm 1504">
                <a:extLst>
                  <a:ext uri="{FF2B5EF4-FFF2-40B4-BE49-F238E27FC236}">
                    <a16:creationId xmlns:a16="http://schemas.microsoft.com/office/drawing/2014/main" id="{F429AFCD-0D3D-4193-988C-54431F6DC8A3}"/>
                  </a:ext>
                </a:extLst>
              </p:cNvPr>
              <p:cNvSpPr/>
              <p:nvPr/>
            </p:nvSpPr>
            <p:spPr>
              <a:xfrm>
                <a:off x="3928979" y="3291634"/>
                <a:ext cx="18333" cy="18393"/>
              </a:xfrm>
              <a:custGeom>
                <a:avLst/>
                <a:gdLst>
                  <a:gd name="connsiteX0" fmla="*/ 8688 w 18333"/>
                  <a:gd name="connsiteY0" fmla="*/ 18377 h 18393"/>
                  <a:gd name="connsiteX1" fmla="*/ 16 w 18333"/>
                  <a:gd name="connsiteY1" fmla="*/ 8688 h 18393"/>
                  <a:gd name="connsiteX2" fmla="*/ 9645 w 18333"/>
                  <a:gd name="connsiteY2" fmla="*/ 16 h 18393"/>
                  <a:gd name="connsiteX3" fmla="*/ 18317 w 18333"/>
                  <a:gd name="connsiteY3" fmla="*/ 9705 h 18393"/>
                  <a:gd name="connsiteX4" fmla="*/ 8688 w 18333"/>
                  <a:gd name="connsiteY4" fmla="*/ 18377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8688" y="18377"/>
                    </a:moveTo>
                    <a:cubicBezTo>
                      <a:pt x="3605" y="18078"/>
                      <a:pt x="-283" y="13772"/>
                      <a:pt x="16" y="8688"/>
                    </a:cubicBezTo>
                    <a:cubicBezTo>
                      <a:pt x="256" y="3604"/>
                      <a:pt x="4562" y="-283"/>
                      <a:pt x="9645" y="16"/>
                    </a:cubicBezTo>
                    <a:cubicBezTo>
                      <a:pt x="14729" y="315"/>
                      <a:pt x="18616" y="4621"/>
                      <a:pt x="18317" y="9705"/>
                    </a:cubicBezTo>
                    <a:cubicBezTo>
                      <a:pt x="18078" y="14789"/>
                      <a:pt x="13772" y="18676"/>
                      <a:pt x="8688" y="18377"/>
                    </a:cubicBezTo>
                    <a:close/>
                  </a:path>
                </a:pathLst>
              </a:custGeom>
              <a:grpFill/>
              <a:ln w="5978" cap="flat">
                <a:noFill/>
                <a:prstDash val="solid"/>
                <a:miter/>
              </a:ln>
            </p:spPr>
            <p:txBody>
              <a:bodyPr rtlCol="0" anchor="ctr"/>
              <a:lstStyle/>
              <a:p>
                <a:endParaRPr lang="en-GB"/>
              </a:p>
            </p:txBody>
          </p:sp>
          <p:sp>
            <p:nvSpPr>
              <p:cNvPr id="1506" name="Vrije vorm: vorm 1505">
                <a:extLst>
                  <a:ext uri="{FF2B5EF4-FFF2-40B4-BE49-F238E27FC236}">
                    <a16:creationId xmlns:a16="http://schemas.microsoft.com/office/drawing/2014/main" id="{17ACCFA0-DE99-4500-AC97-1B6663E661A7}"/>
                  </a:ext>
                </a:extLst>
              </p:cNvPr>
              <p:cNvSpPr/>
              <p:nvPr/>
            </p:nvSpPr>
            <p:spPr>
              <a:xfrm>
                <a:off x="4048473" y="3298212"/>
                <a:ext cx="18327" cy="18393"/>
              </a:xfrm>
              <a:custGeom>
                <a:avLst/>
                <a:gdLst>
                  <a:gd name="connsiteX0" fmla="*/ 8688 w 18327"/>
                  <a:gd name="connsiteY0" fmla="*/ 18377 h 18393"/>
                  <a:gd name="connsiteX1" fmla="*/ 18318 w 18327"/>
                  <a:gd name="connsiteY1" fmla="*/ 9705 h 18393"/>
                  <a:gd name="connsiteX2" fmla="*/ 9645 w 18327"/>
                  <a:gd name="connsiteY2" fmla="*/ 16 h 18393"/>
                  <a:gd name="connsiteX3" fmla="*/ 16 w 18327"/>
                  <a:gd name="connsiteY3" fmla="*/ 8688 h 18393"/>
                  <a:gd name="connsiteX4" fmla="*/ 8688 w 18327"/>
                  <a:gd name="connsiteY4" fmla="*/ 18377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3">
                    <a:moveTo>
                      <a:pt x="8688" y="18377"/>
                    </a:moveTo>
                    <a:cubicBezTo>
                      <a:pt x="13772" y="18676"/>
                      <a:pt x="18078" y="14789"/>
                      <a:pt x="18318" y="9705"/>
                    </a:cubicBezTo>
                    <a:cubicBezTo>
                      <a:pt x="18557" y="4621"/>
                      <a:pt x="14669" y="255"/>
                      <a:pt x="9645" y="16"/>
                    </a:cubicBezTo>
                    <a:cubicBezTo>
                      <a:pt x="4562" y="-283"/>
                      <a:pt x="256" y="3605"/>
                      <a:pt x="16" y="8688"/>
                    </a:cubicBezTo>
                    <a:cubicBezTo>
                      <a:pt x="-283" y="13772"/>
                      <a:pt x="3605" y="18078"/>
                      <a:pt x="8688" y="18377"/>
                    </a:cubicBezTo>
                    <a:close/>
                  </a:path>
                </a:pathLst>
              </a:custGeom>
              <a:grpFill/>
              <a:ln w="5978" cap="flat">
                <a:noFill/>
                <a:prstDash val="solid"/>
                <a:miter/>
              </a:ln>
            </p:spPr>
            <p:txBody>
              <a:bodyPr rtlCol="0" anchor="ctr"/>
              <a:lstStyle/>
              <a:p>
                <a:endParaRPr lang="en-GB"/>
              </a:p>
            </p:txBody>
          </p:sp>
        </p:grpSp>
        <p:grpSp>
          <p:nvGrpSpPr>
            <p:cNvPr id="1302" name="Graphic 3">
              <a:extLst>
                <a:ext uri="{FF2B5EF4-FFF2-40B4-BE49-F238E27FC236}">
                  <a16:creationId xmlns:a16="http://schemas.microsoft.com/office/drawing/2014/main" id="{B3FB0EB8-930B-49D9-BB5E-894D295CA47A}"/>
                </a:ext>
              </a:extLst>
            </p:cNvPr>
            <p:cNvGrpSpPr/>
            <p:nvPr/>
          </p:nvGrpSpPr>
          <p:grpSpPr>
            <a:xfrm>
              <a:off x="3632736" y="2566573"/>
              <a:ext cx="251652" cy="99706"/>
              <a:chOff x="3632736" y="2566573"/>
              <a:chExt cx="251652" cy="99706"/>
            </a:xfrm>
            <a:grpFill/>
          </p:grpSpPr>
          <p:sp>
            <p:nvSpPr>
              <p:cNvPr id="1501" name="Vrije vorm: vorm 1500">
                <a:extLst>
                  <a:ext uri="{FF2B5EF4-FFF2-40B4-BE49-F238E27FC236}">
                    <a16:creationId xmlns:a16="http://schemas.microsoft.com/office/drawing/2014/main" id="{8EE2E0B2-5CC4-429A-A511-D5908D4E83CA}"/>
                  </a:ext>
                </a:extLst>
              </p:cNvPr>
              <p:cNvSpPr/>
              <p:nvPr/>
            </p:nvSpPr>
            <p:spPr>
              <a:xfrm>
                <a:off x="3641023" y="2574143"/>
                <a:ext cx="235102" cy="84567"/>
              </a:xfrm>
              <a:custGeom>
                <a:avLst/>
                <a:gdLst>
                  <a:gd name="connsiteX0" fmla="*/ 235102 w 235102"/>
                  <a:gd name="connsiteY0" fmla="*/ 81637 h 84567"/>
                  <a:gd name="connsiteX1" fmla="*/ 234145 w 235102"/>
                  <a:gd name="connsiteY1" fmla="*/ 84567 h 84567"/>
                  <a:gd name="connsiteX2" fmla="*/ 0 w 235102"/>
                  <a:gd name="connsiteY2" fmla="*/ 2930 h 84567"/>
                  <a:gd name="connsiteX3" fmla="*/ 957 w 235102"/>
                  <a:gd name="connsiteY3" fmla="*/ 0 h 84567"/>
                </a:gdLst>
                <a:ahLst/>
                <a:cxnLst>
                  <a:cxn ang="0">
                    <a:pos x="connsiteX0" y="connsiteY0"/>
                  </a:cxn>
                  <a:cxn ang="0">
                    <a:pos x="connsiteX1" y="connsiteY1"/>
                  </a:cxn>
                  <a:cxn ang="0">
                    <a:pos x="connsiteX2" y="connsiteY2"/>
                  </a:cxn>
                  <a:cxn ang="0">
                    <a:pos x="connsiteX3" y="connsiteY3"/>
                  </a:cxn>
                </a:cxnLst>
                <a:rect l="l" t="t" r="r" b="b"/>
                <a:pathLst>
                  <a:path w="235102" h="84567">
                    <a:moveTo>
                      <a:pt x="235102" y="81637"/>
                    </a:moveTo>
                    <a:lnTo>
                      <a:pt x="234145" y="84567"/>
                    </a:lnTo>
                    <a:lnTo>
                      <a:pt x="0" y="2930"/>
                    </a:lnTo>
                    <a:lnTo>
                      <a:pt x="957" y="0"/>
                    </a:lnTo>
                    <a:close/>
                  </a:path>
                </a:pathLst>
              </a:custGeom>
              <a:grpFill/>
              <a:ln w="5978" cap="flat">
                <a:noFill/>
                <a:prstDash val="solid"/>
                <a:miter/>
              </a:ln>
            </p:spPr>
            <p:txBody>
              <a:bodyPr rtlCol="0" anchor="ctr"/>
              <a:lstStyle/>
              <a:p>
                <a:endParaRPr lang="en-GB"/>
              </a:p>
            </p:txBody>
          </p:sp>
          <p:sp>
            <p:nvSpPr>
              <p:cNvPr id="1502" name="Vrije vorm: vorm 1501">
                <a:extLst>
                  <a:ext uri="{FF2B5EF4-FFF2-40B4-BE49-F238E27FC236}">
                    <a16:creationId xmlns:a16="http://schemas.microsoft.com/office/drawing/2014/main" id="{C2AECA2C-E8E2-485C-B8EC-604043425025}"/>
                  </a:ext>
                </a:extLst>
              </p:cNvPr>
              <p:cNvSpPr/>
              <p:nvPr/>
            </p:nvSpPr>
            <p:spPr>
              <a:xfrm>
                <a:off x="3632736" y="2566573"/>
                <a:ext cx="18368" cy="18428"/>
              </a:xfrm>
              <a:custGeom>
                <a:avLst/>
                <a:gdLst>
                  <a:gd name="connsiteX0" fmla="*/ 6194 w 18368"/>
                  <a:gd name="connsiteY0" fmla="*/ 17916 h 18428"/>
                  <a:gd name="connsiteX1" fmla="*/ 512 w 18368"/>
                  <a:gd name="connsiteY1" fmla="*/ 6194 h 18428"/>
                  <a:gd name="connsiteX2" fmla="*/ 12174 w 18368"/>
                  <a:gd name="connsiteY2" fmla="*/ 512 h 18428"/>
                  <a:gd name="connsiteX3" fmla="*/ 17856 w 18368"/>
                  <a:gd name="connsiteY3" fmla="*/ 12234 h 18428"/>
                  <a:gd name="connsiteX4" fmla="*/ 6194 w 18368"/>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6194" y="17916"/>
                    </a:moveTo>
                    <a:cubicBezTo>
                      <a:pt x="1409" y="16241"/>
                      <a:pt x="-1162" y="10978"/>
                      <a:pt x="512" y="6194"/>
                    </a:cubicBezTo>
                    <a:cubicBezTo>
                      <a:pt x="2127" y="1409"/>
                      <a:pt x="7390" y="-1162"/>
                      <a:pt x="12174" y="512"/>
                    </a:cubicBezTo>
                    <a:cubicBezTo>
                      <a:pt x="16959" y="2187"/>
                      <a:pt x="19531" y="7450"/>
                      <a:pt x="17856" y="12234"/>
                    </a:cubicBezTo>
                    <a:cubicBezTo>
                      <a:pt x="16241" y="17019"/>
                      <a:pt x="11038" y="19591"/>
                      <a:pt x="6194" y="17916"/>
                    </a:cubicBezTo>
                    <a:close/>
                  </a:path>
                </a:pathLst>
              </a:custGeom>
              <a:grpFill/>
              <a:ln w="5978" cap="flat">
                <a:noFill/>
                <a:prstDash val="solid"/>
                <a:miter/>
              </a:ln>
            </p:spPr>
            <p:txBody>
              <a:bodyPr rtlCol="0" anchor="ctr"/>
              <a:lstStyle/>
              <a:p>
                <a:endParaRPr lang="en-GB"/>
              </a:p>
            </p:txBody>
          </p:sp>
          <p:sp>
            <p:nvSpPr>
              <p:cNvPr id="1503" name="Vrije vorm: vorm 1502">
                <a:extLst>
                  <a:ext uri="{FF2B5EF4-FFF2-40B4-BE49-F238E27FC236}">
                    <a16:creationId xmlns:a16="http://schemas.microsoft.com/office/drawing/2014/main" id="{D08BB6E4-0DAF-4EFC-8295-B73170E8E353}"/>
                  </a:ext>
                </a:extLst>
              </p:cNvPr>
              <p:cNvSpPr/>
              <p:nvPr/>
            </p:nvSpPr>
            <p:spPr>
              <a:xfrm>
                <a:off x="3866044" y="2647851"/>
                <a:ext cx="18344" cy="18427"/>
              </a:xfrm>
              <a:custGeom>
                <a:avLst/>
                <a:gdLst>
                  <a:gd name="connsiteX0" fmla="*/ 6194 w 18344"/>
                  <a:gd name="connsiteY0" fmla="*/ 17916 h 18427"/>
                  <a:gd name="connsiteX1" fmla="*/ 17856 w 18344"/>
                  <a:gd name="connsiteY1" fmla="*/ 12234 h 18427"/>
                  <a:gd name="connsiteX2" fmla="*/ 12175 w 18344"/>
                  <a:gd name="connsiteY2" fmla="*/ 512 h 18427"/>
                  <a:gd name="connsiteX3" fmla="*/ 512 w 18344"/>
                  <a:gd name="connsiteY3" fmla="*/ 6194 h 18427"/>
                  <a:gd name="connsiteX4" fmla="*/ 6194 w 18344"/>
                  <a:gd name="connsiteY4" fmla="*/ 1791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7">
                    <a:moveTo>
                      <a:pt x="6194" y="17916"/>
                    </a:moveTo>
                    <a:cubicBezTo>
                      <a:pt x="10978" y="19590"/>
                      <a:pt x="16181" y="17019"/>
                      <a:pt x="17856" y="12234"/>
                    </a:cubicBezTo>
                    <a:cubicBezTo>
                      <a:pt x="19471" y="7450"/>
                      <a:pt x="16959" y="2187"/>
                      <a:pt x="12175" y="512"/>
                    </a:cubicBezTo>
                    <a:cubicBezTo>
                      <a:pt x="7390" y="-1162"/>
                      <a:pt x="2187" y="1409"/>
                      <a:pt x="512" y="6194"/>
                    </a:cubicBezTo>
                    <a:cubicBezTo>
                      <a:pt x="-1162" y="11038"/>
                      <a:pt x="1409" y="16301"/>
                      <a:pt x="6194" y="17916"/>
                    </a:cubicBezTo>
                    <a:close/>
                  </a:path>
                </a:pathLst>
              </a:custGeom>
              <a:grpFill/>
              <a:ln w="5978" cap="flat">
                <a:noFill/>
                <a:prstDash val="solid"/>
                <a:miter/>
              </a:ln>
            </p:spPr>
            <p:txBody>
              <a:bodyPr rtlCol="0" anchor="ctr"/>
              <a:lstStyle/>
              <a:p>
                <a:endParaRPr lang="en-GB"/>
              </a:p>
            </p:txBody>
          </p:sp>
        </p:grpSp>
        <p:grpSp>
          <p:nvGrpSpPr>
            <p:cNvPr id="1303" name="Graphic 3">
              <a:extLst>
                <a:ext uri="{FF2B5EF4-FFF2-40B4-BE49-F238E27FC236}">
                  <a16:creationId xmlns:a16="http://schemas.microsoft.com/office/drawing/2014/main" id="{75DC20AF-8304-4502-9B87-9A433F9C2386}"/>
                </a:ext>
              </a:extLst>
            </p:cNvPr>
            <p:cNvGrpSpPr/>
            <p:nvPr/>
          </p:nvGrpSpPr>
          <p:grpSpPr>
            <a:xfrm>
              <a:off x="4038761" y="4083763"/>
              <a:ext cx="485835" cy="180685"/>
              <a:chOff x="4038761" y="4083763"/>
              <a:chExt cx="485835" cy="180685"/>
            </a:xfrm>
            <a:grpFill/>
          </p:grpSpPr>
          <p:sp>
            <p:nvSpPr>
              <p:cNvPr id="1498" name="Vrije vorm: vorm 1497">
                <a:extLst>
                  <a:ext uri="{FF2B5EF4-FFF2-40B4-BE49-F238E27FC236}">
                    <a16:creationId xmlns:a16="http://schemas.microsoft.com/office/drawing/2014/main" id="{73CB06AB-F5EC-438A-8E98-DBC487737497}"/>
                  </a:ext>
                </a:extLst>
              </p:cNvPr>
              <p:cNvSpPr/>
              <p:nvPr/>
            </p:nvSpPr>
            <p:spPr>
              <a:xfrm>
                <a:off x="4046858" y="4091558"/>
                <a:ext cx="469384" cy="165454"/>
              </a:xfrm>
              <a:custGeom>
                <a:avLst/>
                <a:gdLst>
                  <a:gd name="connsiteX0" fmla="*/ 0 w 469384"/>
                  <a:gd name="connsiteY0" fmla="*/ 162574 h 165454"/>
                  <a:gd name="connsiteX1" fmla="*/ 468384 w 469384"/>
                  <a:gd name="connsiteY1" fmla="*/ 0 h 165454"/>
                  <a:gd name="connsiteX2" fmla="*/ 469384 w 469384"/>
                  <a:gd name="connsiteY2" fmla="*/ 2882 h 165454"/>
                  <a:gd name="connsiteX3" fmla="*/ 1000 w 469384"/>
                  <a:gd name="connsiteY3" fmla="*/ 165455 h 165454"/>
                </a:gdLst>
                <a:ahLst/>
                <a:cxnLst>
                  <a:cxn ang="0">
                    <a:pos x="connsiteX0" y="connsiteY0"/>
                  </a:cxn>
                  <a:cxn ang="0">
                    <a:pos x="connsiteX1" y="connsiteY1"/>
                  </a:cxn>
                  <a:cxn ang="0">
                    <a:pos x="connsiteX2" y="connsiteY2"/>
                  </a:cxn>
                  <a:cxn ang="0">
                    <a:pos x="connsiteX3" y="connsiteY3"/>
                  </a:cxn>
                </a:cxnLst>
                <a:rect l="l" t="t" r="r" b="b"/>
                <a:pathLst>
                  <a:path w="469384" h="165454">
                    <a:moveTo>
                      <a:pt x="0" y="162574"/>
                    </a:moveTo>
                    <a:lnTo>
                      <a:pt x="468384" y="0"/>
                    </a:lnTo>
                    <a:lnTo>
                      <a:pt x="469384" y="2882"/>
                    </a:lnTo>
                    <a:lnTo>
                      <a:pt x="1000" y="165455"/>
                    </a:lnTo>
                    <a:close/>
                  </a:path>
                </a:pathLst>
              </a:custGeom>
              <a:grpFill/>
              <a:ln w="5978" cap="flat">
                <a:noFill/>
                <a:prstDash val="solid"/>
                <a:miter/>
              </a:ln>
            </p:spPr>
            <p:txBody>
              <a:bodyPr rtlCol="0" anchor="ctr"/>
              <a:lstStyle/>
              <a:p>
                <a:endParaRPr lang="en-GB"/>
              </a:p>
            </p:txBody>
          </p:sp>
          <p:sp>
            <p:nvSpPr>
              <p:cNvPr id="1499" name="Vrije vorm: vorm 1498">
                <a:extLst>
                  <a:ext uri="{FF2B5EF4-FFF2-40B4-BE49-F238E27FC236}">
                    <a16:creationId xmlns:a16="http://schemas.microsoft.com/office/drawing/2014/main" id="{78D1E19C-9C60-4746-8708-688EA32AA183}"/>
                  </a:ext>
                </a:extLst>
              </p:cNvPr>
              <p:cNvSpPr/>
              <p:nvPr/>
            </p:nvSpPr>
            <p:spPr>
              <a:xfrm>
                <a:off x="4506274" y="4083763"/>
                <a:ext cx="18322" cy="18428"/>
              </a:xfrm>
              <a:custGeom>
                <a:avLst/>
                <a:gdLst>
                  <a:gd name="connsiteX0" fmla="*/ 6141 w 18322"/>
                  <a:gd name="connsiteY0" fmla="*/ 512 h 18428"/>
                  <a:gd name="connsiteX1" fmla="*/ 17803 w 18322"/>
                  <a:gd name="connsiteY1" fmla="*/ 6194 h 18428"/>
                  <a:gd name="connsiteX2" fmla="*/ 12181 w 18322"/>
                  <a:gd name="connsiteY2" fmla="*/ 17916 h 18428"/>
                  <a:gd name="connsiteX3" fmla="*/ 519 w 18322"/>
                  <a:gd name="connsiteY3" fmla="*/ 12234 h 18428"/>
                  <a:gd name="connsiteX4" fmla="*/ 6141 w 18322"/>
                  <a:gd name="connsiteY4" fmla="*/ 512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6141" y="512"/>
                    </a:moveTo>
                    <a:cubicBezTo>
                      <a:pt x="10926" y="-1163"/>
                      <a:pt x="16129" y="1409"/>
                      <a:pt x="17803" y="6194"/>
                    </a:cubicBezTo>
                    <a:cubicBezTo>
                      <a:pt x="19478" y="10978"/>
                      <a:pt x="16966" y="16242"/>
                      <a:pt x="12181" y="17916"/>
                    </a:cubicBezTo>
                    <a:cubicBezTo>
                      <a:pt x="7397" y="19591"/>
                      <a:pt x="2194" y="17019"/>
                      <a:pt x="519" y="12234"/>
                    </a:cubicBezTo>
                    <a:cubicBezTo>
                      <a:pt x="-1156" y="7390"/>
                      <a:pt x="1356" y="2187"/>
                      <a:pt x="6141" y="512"/>
                    </a:cubicBezTo>
                    <a:close/>
                  </a:path>
                </a:pathLst>
              </a:custGeom>
              <a:grpFill/>
              <a:ln w="5978" cap="flat">
                <a:noFill/>
                <a:prstDash val="solid"/>
                <a:miter/>
              </a:ln>
            </p:spPr>
            <p:txBody>
              <a:bodyPr rtlCol="0" anchor="ctr"/>
              <a:lstStyle/>
              <a:p>
                <a:endParaRPr lang="en-GB"/>
              </a:p>
            </p:txBody>
          </p:sp>
          <p:sp>
            <p:nvSpPr>
              <p:cNvPr id="1500" name="Vrije vorm: vorm 1499">
                <a:extLst>
                  <a:ext uri="{FF2B5EF4-FFF2-40B4-BE49-F238E27FC236}">
                    <a16:creationId xmlns:a16="http://schemas.microsoft.com/office/drawing/2014/main" id="{42875B5A-17B1-48DF-82E1-8A33CFBBB03D}"/>
                  </a:ext>
                </a:extLst>
              </p:cNvPr>
              <p:cNvSpPr/>
              <p:nvPr/>
            </p:nvSpPr>
            <p:spPr>
              <a:xfrm>
                <a:off x="4038761" y="4246043"/>
                <a:ext cx="18321" cy="18404"/>
              </a:xfrm>
              <a:custGeom>
                <a:avLst/>
                <a:gdLst>
                  <a:gd name="connsiteX0" fmla="*/ 6141 w 18321"/>
                  <a:gd name="connsiteY0" fmla="*/ 489 h 18404"/>
                  <a:gd name="connsiteX1" fmla="*/ 519 w 18321"/>
                  <a:gd name="connsiteY1" fmla="*/ 12211 h 18404"/>
                  <a:gd name="connsiteX2" fmla="*/ 12181 w 18321"/>
                  <a:gd name="connsiteY2" fmla="*/ 17893 h 18404"/>
                  <a:gd name="connsiteX3" fmla="*/ 17803 w 18321"/>
                  <a:gd name="connsiteY3" fmla="*/ 6171 h 18404"/>
                  <a:gd name="connsiteX4" fmla="*/ 6141 w 18321"/>
                  <a:gd name="connsiteY4" fmla="*/ 48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04">
                    <a:moveTo>
                      <a:pt x="6141" y="489"/>
                    </a:moveTo>
                    <a:cubicBezTo>
                      <a:pt x="1356" y="2163"/>
                      <a:pt x="-1156" y="7366"/>
                      <a:pt x="519" y="12211"/>
                    </a:cubicBezTo>
                    <a:cubicBezTo>
                      <a:pt x="2194" y="16996"/>
                      <a:pt x="7397" y="19567"/>
                      <a:pt x="12181" y="17893"/>
                    </a:cubicBezTo>
                    <a:cubicBezTo>
                      <a:pt x="16966" y="16218"/>
                      <a:pt x="19478" y="11015"/>
                      <a:pt x="17803" y="6171"/>
                    </a:cubicBezTo>
                    <a:cubicBezTo>
                      <a:pt x="16188" y="1386"/>
                      <a:pt x="10925" y="-1126"/>
                      <a:pt x="6141" y="489"/>
                    </a:cubicBezTo>
                    <a:close/>
                  </a:path>
                </a:pathLst>
              </a:custGeom>
              <a:grpFill/>
              <a:ln w="5978" cap="flat">
                <a:noFill/>
                <a:prstDash val="solid"/>
                <a:miter/>
              </a:ln>
            </p:spPr>
            <p:txBody>
              <a:bodyPr rtlCol="0" anchor="ctr"/>
              <a:lstStyle/>
              <a:p>
                <a:endParaRPr lang="en-GB"/>
              </a:p>
            </p:txBody>
          </p:sp>
        </p:grpSp>
        <p:grpSp>
          <p:nvGrpSpPr>
            <p:cNvPr id="1304" name="Graphic 3">
              <a:extLst>
                <a:ext uri="{FF2B5EF4-FFF2-40B4-BE49-F238E27FC236}">
                  <a16:creationId xmlns:a16="http://schemas.microsoft.com/office/drawing/2014/main" id="{F6C9A389-CCE9-42A8-BD18-F1CDCF098645}"/>
                </a:ext>
              </a:extLst>
            </p:cNvPr>
            <p:cNvGrpSpPr/>
            <p:nvPr/>
          </p:nvGrpSpPr>
          <p:grpSpPr>
            <a:xfrm>
              <a:off x="4249175" y="4253084"/>
              <a:ext cx="152743" cy="86773"/>
              <a:chOff x="4249175" y="4253084"/>
              <a:chExt cx="152743" cy="86773"/>
            </a:xfrm>
            <a:grpFill/>
          </p:grpSpPr>
          <p:sp>
            <p:nvSpPr>
              <p:cNvPr id="1495" name="Vrije vorm: vorm 1494">
                <a:extLst>
                  <a:ext uri="{FF2B5EF4-FFF2-40B4-BE49-F238E27FC236}">
                    <a16:creationId xmlns:a16="http://schemas.microsoft.com/office/drawing/2014/main" id="{6FD1E801-A606-454F-B031-FF5920FCB536}"/>
                  </a:ext>
                </a:extLst>
              </p:cNvPr>
              <p:cNvSpPr/>
              <p:nvPr/>
            </p:nvSpPr>
            <p:spPr>
              <a:xfrm>
                <a:off x="4257217" y="4260706"/>
                <a:ext cx="136659" cy="71529"/>
              </a:xfrm>
              <a:custGeom>
                <a:avLst/>
                <a:gdLst>
                  <a:gd name="connsiteX0" fmla="*/ 136659 w 136659"/>
                  <a:gd name="connsiteY0" fmla="*/ 2751 h 71529"/>
                  <a:gd name="connsiteX1" fmla="*/ 1375 w 136659"/>
                  <a:gd name="connsiteY1" fmla="*/ 71529 h 71529"/>
                  <a:gd name="connsiteX2" fmla="*/ 0 w 136659"/>
                  <a:gd name="connsiteY2" fmla="*/ 68838 h 71529"/>
                  <a:gd name="connsiteX3" fmla="*/ 135284 w 136659"/>
                  <a:gd name="connsiteY3" fmla="*/ 0 h 71529"/>
                </a:gdLst>
                <a:ahLst/>
                <a:cxnLst>
                  <a:cxn ang="0">
                    <a:pos x="connsiteX0" y="connsiteY0"/>
                  </a:cxn>
                  <a:cxn ang="0">
                    <a:pos x="connsiteX1" y="connsiteY1"/>
                  </a:cxn>
                  <a:cxn ang="0">
                    <a:pos x="connsiteX2" y="connsiteY2"/>
                  </a:cxn>
                  <a:cxn ang="0">
                    <a:pos x="connsiteX3" y="connsiteY3"/>
                  </a:cxn>
                </a:cxnLst>
                <a:rect l="l" t="t" r="r" b="b"/>
                <a:pathLst>
                  <a:path w="136659" h="71529">
                    <a:moveTo>
                      <a:pt x="136659" y="2751"/>
                    </a:moveTo>
                    <a:lnTo>
                      <a:pt x="1375" y="71529"/>
                    </a:lnTo>
                    <a:lnTo>
                      <a:pt x="0" y="68838"/>
                    </a:lnTo>
                    <a:lnTo>
                      <a:pt x="135284" y="0"/>
                    </a:lnTo>
                    <a:close/>
                  </a:path>
                </a:pathLst>
              </a:custGeom>
              <a:grpFill/>
              <a:ln w="5978" cap="flat">
                <a:noFill/>
                <a:prstDash val="solid"/>
                <a:miter/>
              </a:ln>
            </p:spPr>
            <p:txBody>
              <a:bodyPr rtlCol="0" anchor="ctr"/>
              <a:lstStyle/>
              <a:p>
                <a:endParaRPr lang="en-GB"/>
              </a:p>
            </p:txBody>
          </p:sp>
          <p:sp>
            <p:nvSpPr>
              <p:cNvPr id="1496" name="Vrije vorm: vorm 1495">
                <a:extLst>
                  <a:ext uri="{FF2B5EF4-FFF2-40B4-BE49-F238E27FC236}">
                    <a16:creationId xmlns:a16="http://schemas.microsoft.com/office/drawing/2014/main" id="{7654FBA4-FB1C-4B51-B214-DA4056F98150}"/>
                  </a:ext>
                </a:extLst>
              </p:cNvPr>
              <p:cNvSpPr/>
              <p:nvPr/>
            </p:nvSpPr>
            <p:spPr>
              <a:xfrm>
                <a:off x="4249175" y="4321444"/>
                <a:ext cx="18297" cy="18413"/>
              </a:xfrm>
              <a:custGeom>
                <a:avLst/>
                <a:gdLst>
                  <a:gd name="connsiteX0" fmla="*/ 13305 w 18297"/>
                  <a:gd name="connsiteY0" fmla="*/ 17430 h 18413"/>
                  <a:gd name="connsiteX1" fmla="*/ 985 w 18297"/>
                  <a:gd name="connsiteY1" fmla="*/ 13364 h 18413"/>
                  <a:gd name="connsiteX2" fmla="*/ 4992 w 18297"/>
                  <a:gd name="connsiteY2" fmla="*/ 983 h 18413"/>
                  <a:gd name="connsiteX3" fmla="*/ 17312 w 18297"/>
                  <a:gd name="connsiteY3" fmla="*/ 5050 h 18413"/>
                  <a:gd name="connsiteX4" fmla="*/ 13305 w 18297"/>
                  <a:gd name="connsiteY4" fmla="*/ 17430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3305" y="17430"/>
                    </a:moveTo>
                    <a:cubicBezTo>
                      <a:pt x="8820" y="19703"/>
                      <a:pt x="3258" y="17909"/>
                      <a:pt x="985" y="13364"/>
                    </a:cubicBezTo>
                    <a:cubicBezTo>
                      <a:pt x="-1288" y="8818"/>
                      <a:pt x="506" y="3256"/>
                      <a:pt x="4992" y="983"/>
                    </a:cubicBezTo>
                    <a:cubicBezTo>
                      <a:pt x="9477" y="-1289"/>
                      <a:pt x="15039" y="505"/>
                      <a:pt x="17312" y="5050"/>
                    </a:cubicBezTo>
                    <a:cubicBezTo>
                      <a:pt x="19585" y="9596"/>
                      <a:pt x="17791" y="15158"/>
                      <a:pt x="13305" y="17430"/>
                    </a:cubicBezTo>
                    <a:close/>
                  </a:path>
                </a:pathLst>
              </a:custGeom>
              <a:grpFill/>
              <a:ln w="5978" cap="flat">
                <a:noFill/>
                <a:prstDash val="solid"/>
                <a:miter/>
              </a:ln>
            </p:spPr>
            <p:txBody>
              <a:bodyPr rtlCol="0" anchor="ctr"/>
              <a:lstStyle/>
              <a:p>
                <a:endParaRPr lang="en-GB"/>
              </a:p>
            </p:txBody>
          </p:sp>
          <p:sp>
            <p:nvSpPr>
              <p:cNvPr id="1497" name="Vrije vorm: vorm 1496">
                <a:extLst>
                  <a:ext uri="{FF2B5EF4-FFF2-40B4-BE49-F238E27FC236}">
                    <a16:creationId xmlns:a16="http://schemas.microsoft.com/office/drawing/2014/main" id="{B69ED71B-E1B7-4F00-821D-C7074C5E044E}"/>
                  </a:ext>
                </a:extLst>
              </p:cNvPr>
              <p:cNvSpPr/>
              <p:nvPr/>
            </p:nvSpPr>
            <p:spPr>
              <a:xfrm>
                <a:off x="4383621" y="4253084"/>
                <a:ext cx="18297" cy="18439"/>
              </a:xfrm>
              <a:custGeom>
                <a:avLst/>
                <a:gdLst>
                  <a:gd name="connsiteX0" fmla="*/ 13305 w 18297"/>
                  <a:gd name="connsiteY0" fmla="*/ 17430 h 18439"/>
                  <a:gd name="connsiteX1" fmla="*/ 17312 w 18297"/>
                  <a:gd name="connsiteY1" fmla="*/ 5050 h 18439"/>
                  <a:gd name="connsiteX2" fmla="*/ 4992 w 18297"/>
                  <a:gd name="connsiteY2" fmla="*/ 983 h 18439"/>
                  <a:gd name="connsiteX3" fmla="*/ 985 w 18297"/>
                  <a:gd name="connsiteY3" fmla="*/ 13363 h 18439"/>
                  <a:gd name="connsiteX4" fmla="*/ 13305 w 18297"/>
                  <a:gd name="connsiteY4" fmla="*/ 1743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9">
                    <a:moveTo>
                      <a:pt x="13305" y="17430"/>
                    </a:moveTo>
                    <a:cubicBezTo>
                      <a:pt x="17791" y="15158"/>
                      <a:pt x="19585" y="9596"/>
                      <a:pt x="17312" y="5050"/>
                    </a:cubicBezTo>
                    <a:cubicBezTo>
                      <a:pt x="15040" y="505"/>
                      <a:pt x="9478" y="-1289"/>
                      <a:pt x="4992" y="983"/>
                    </a:cubicBezTo>
                    <a:cubicBezTo>
                      <a:pt x="507" y="3256"/>
                      <a:pt x="-1288" y="8818"/>
                      <a:pt x="985" y="13363"/>
                    </a:cubicBezTo>
                    <a:cubicBezTo>
                      <a:pt x="3258" y="17909"/>
                      <a:pt x="8820" y="19763"/>
                      <a:pt x="13305" y="17430"/>
                    </a:cubicBezTo>
                    <a:close/>
                  </a:path>
                </a:pathLst>
              </a:custGeom>
              <a:grpFill/>
              <a:ln w="5978" cap="flat">
                <a:noFill/>
                <a:prstDash val="solid"/>
                <a:miter/>
              </a:ln>
            </p:spPr>
            <p:txBody>
              <a:bodyPr rtlCol="0" anchor="ctr"/>
              <a:lstStyle/>
              <a:p>
                <a:endParaRPr lang="en-GB"/>
              </a:p>
            </p:txBody>
          </p:sp>
        </p:grpSp>
        <p:grpSp>
          <p:nvGrpSpPr>
            <p:cNvPr id="1305" name="Graphic 3">
              <a:extLst>
                <a:ext uri="{FF2B5EF4-FFF2-40B4-BE49-F238E27FC236}">
                  <a16:creationId xmlns:a16="http://schemas.microsoft.com/office/drawing/2014/main" id="{27418BFD-AD7F-466B-AA13-837AB376A9B8}"/>
                </a:ext>
              </a:extLst>
            </p:cNvPr>
            <p:cNvGrpSpPr/>
            <p:nvPr/>
          </p:nvGrpSpPr>
          <p:grpSpPr>
            <a:xfrm>
              <a:off x="4357467" y="4481250"/>
              <a:ext cx="78902" cy="58380"/>
              <a:chOff x="4357467" y="4481250"/>
              <a:chExt cx="78902" cy="58380"/>
            </a:xfrm>
            <a:grpFill/>
          </p:grpSpPr>
          <p:sp>
            <p:nvSpPr>
              <p:cNvPr id="1492" name="Vrije vorm: vorm 1491">
                <a:extLst>
                  <a:ext uri="{FF2B5EF4-FFF2-40B4-BE49-F238E27FC236}">
                    <a16:creationId xmlns:a16="http://schemas.microsoft.com/office/drawing/2014/main" id="{05D586B8-CCC3-4BB3-8281-07DC4EF7C7A4}"/>
                  </a:ext>
                </a:extLst>
              </p:cNvPr>
              <p:cNvSpPr/>
              <p:nvPr/>
            </p:nvSpPr>
            <p:spPr>
              <a:xfrm>
                <a:off x="4365408" y="4488930"/>
                <a:ext cx="63036" cy="43001"/>
              </a:xfrm>
              <a:custGeom>
                <a:avLst/>
                <a:gdLst>
                  <a:gd name="connsiteX0" fmla="*/ 63037 w 63036"/>
                  <a:gd name="connsiteY0" fmla="*/ 2572 h 43001"/>
                  <a:gd name="connsiteX1" fmla="*/ 1674 w 63036"/>
                  <a:gd name="connsiteY1" fmla="*/ 43001 h 43001"/>
                  <a:gd name="connsiteX2" fmla="*/ 0 w 63036"/>
                  <a:gd name="connsiteY2" fmla="*/ 40430 h 43001"/>
                  <a:gd name="connsiteX3" fmla="*/ 61362 w 63036"/>
                  <a:gd name="connsiteY3" fmla="*/ 0 h 43001"/>
                </a:gdLst>
                <a:ahLst/>
                <a:cxnLst>
                  <a:cxn ang="0">
                    <a:pos x="connsiteX0" y="connsiteY0"/>
                  </a:cxn>
                  <a:cxn ang="0">
                    <a:pos x="connsiteX1" y="connsiteY1"/>
                  </a:cxn>
                  <a:cxn ang="0">
                    <a:pos x="connsiteX2" y="connsiteY2"/>
                  </a:cxn>
                  <a:cxn ang="0">
                    <a:pos x="connsiteX3" y="connsiteY3"/>
                  </a:cxn>
                </a:cxnLst>
                <a:rect l="l" t="t" r="r" b="b"/>
                <a:pathLst>
                  <a:path w="63036" h="43001">
                    <a:moveTo>
                      <a:pt x="63037" y="2572"/>
                    </a:moveTo>
                    <a:lnTo>
                      <a:pt x="1674" y="43001"/>
                    </a:lnTo>
                    <a:lnTo>
                      <a:pt x="0" y="40430"/>
                    </a:lnTo>
                    <a:lnTo>
                      <a:pt x="61362" y="0"/>
                    </a:lnTo>
                    <a:close/>
                  </a:path>
                </a:pathLst>
              </a:custGeom>
              <a:grpFill/>
              <a:ln w="5978" cap="flat">
                <a:noFill/>
                <a:prstDash val="solid"/>
                <a:miter/>
              </a:ln>
            </p:spPr>
            <p:txBody>
              <a:bodyPr rtlCol="0" anchor="ctr"/>
              <a:lstStyle/>
              <a:p>
                <a:endParaRPr lang="en-GB"/>
              </a:p>
            </p:txBody>
          </p:sp>
          <p:sp>
            <p:nvSpPr>
              <p:cNvPr id="1493" name="Vrije vorm: vorm 1492">
                <a:extLst>
                  <a:ext uri="{FF2B5EF4-FFF2-40B4-BE49-F238E27FC236}">
                    <a16:creationId xmlns:a16="http://schemas.microsoft.com/office/drawing/2014/main" id="{1D0120BA-FD6C-49A7-86B2-205866C53B88}"/>
                  </a:ext>
                </a:extLst>
              </p:cNvPr>
              <p:cNvSpPr/>
              <p:nvPr/>
            </p:nvSpPr>
            <p:spPr>
              <a:xfrm>
                <a:off x="4418052" y="4481250"/>
                <a:ext cx="18318" cy="18470"/>
              </a:xfrm>
              <a:custGeom>
                <a:avLst/>
                <a:gdLst>
                  <a:gd name="connsiteX0" fmla="*/ 4113 w 18318"/>
                  <a:gd name="connsiteY0" fmla="*/ 1520 h 18470"/>
                  <a:gd name="connsiteX1" fmla="*/ 16792 w 18318"/>
                  <a:gd name="connsiteY1" fmla="*/ 4212 h 18470"/>
                  <a:gd name="connsiteX2" fmla="*/ 14221 w 18318"/>
                  <a:gd name="connsiteY2" fmla="*/ 16950 h 18470"/>
                  <a:gd name="connsiteX3" fmla="*/ 1542 w 18318"/>
                  <a:gd name="connsiteY3" fmla="*/ 14259 h 18470"/>
                  <a:gd name="connsiteX4" fmla="*/ 4113 w 18318"/>
                  <a:gd name="connsiteY4" fmla="*/ 1520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0">
                    <a:moveTo>
                      <a:pt x="4113" y="1520"/>
                    </a:moveTo>
                    <a:cubicBezTo>
                      <a:pt x="8359" y="-1291"/>
                      <a:pt x="14041" y="-95"/>
                      <a:pt x="16792" y="4212"/>
                    </a:cubicBezTo>
                    <a:cubicBezTo>
                      <a:pt x="19603" y="8458"/>
                      <a:pt x="18407" y="14199"/>
                      <a:pt x="14221" y="16950"/>
                    </a:cubicBezTo>
                    <a:cubicBezTo>
                      <a:pt x="9974" y="19761"/>
                      <a:pt x="4292" y="18565"/>
                      <a:pt x="1542" y="14259"/>
                    </a:cubicBezTo>
                    <a:cubicBezTo>
                      <a:pt x="-1270" y="10013"/>
                      <a:pt x="-133" y="4271"/>
                      <a:pt x="4113" y="1520"/>
                    </a:cubicBezTo>
                    <a:close/>
                  </a:path>
                </a:pathLst>
              </a:custGeom>
              <a:grpFill/>
              <a:ln w="5978" cap="flat">
                <a:noFill/>
                <a:prstDash val="solid"/>
                <a:miter/>
              </a:ln>
            </p:spPr>
            <p:txBody>
              <a:bodyPr rtlCol="0" anchor="ctr"/>
              <a:lstStyle/>
              <a:p>
                <a:endParaRPr lang="en-GB"/>
              </a:p>
            </p:txBody>
          </p:sp>
          <p:sp>
            <p:nvSpPr>
              <p:cNvPr id="1494" name="Vrije vorm: vorm 1493">
                <a:extLst>
                  <a:ext uri="{FF2B5EF4-FFF2-40B4-BE49-F238E27FC236}">
                    <a16:creationId xmlns:a16="http://schemas.microsoft.com/office/drawing/2014/main" id="{979957E5-5F75-4508-995B-3118BBA349DA}"/>
                  </a:ext>
                </a:extLst>
              </p:cNvPr>
              <p:cNvSpPr/>
              <p:nvPr/>
            </p:nvSpPr>
            <p:spPr>
              <a:xfrm>
                <a:off x="4357467" y="4521201"/>
                <a:ext cx="18348" cy="18428"/>
              </a:xfrm>
              <a:custGeom>
                <a:avLst/>
                <a:gdLst>
                  <a:gd name="connsiteX0" fmla="*/ 4113 w 18348"/>
                  <a:gd name="connsiteY0" fmla="*/ 1520 h 18428"/>
                  <a:gd name="connsiteX1" fmla="*/ 1542 w 18348"/>
                  <a:gd name="connsiteY1" fmla="*/ 14259 h 18428"/>
                  <a:gd name="connsiteX2" fmla="*/ 14221 w 18348"/>
                  <a:gd name="connsiteY2" fmla="*/ 16951 h 18428"/>
                  <a:gd name="connsiteX3" fmla="*/ 16852 w 18348"/>
                  <a:gd name="connsiteY3" fmla="*/ 4212 h 18428"/>
                  <a:gd name="connsiteX4" fmla="*/ 4113 w 18348"/>
                  <a:gd name="connsiteY4" fmla="*/ 1520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8">
                    <a:moveTo>
                      <a:pt x="4113" y="1520"/>
                    </a:moveTo>
                    <a:cubicBezTo>
                      <a:pt x="-133" y="4331"/>
                      <a:pt x="-1270" y="10013"/>
                      <a:pt x="1542" y="14259"/>
                    </a:cubicBezTo>
                    <a:cubicBezTo>
                      <a:pt x="4352" y="18505"/>
                      <a:pt x="10034" y="19701"/>
                      <a:pt x="14221" y="16951"/>
                    </a:cubicBezTo>
                    <a:cubicBezTo>
                      <a:pt x="18467" y="14139"/>
                      <a:pt x="19603" y="8458"/>
                      <a:pt x="16852" y="4212"/>
                    </a:cubicBezTo>
                    <a:cubicBezTo>
                      <a:pt x="14041" y="-95"/>
                      <a:pt x="8360" y="-1291"/>
                      <a:pt x="4113" y="1520"/>
                    </a:cubicBezTo>
                    <a:close/>
                  </a:path>
                </a:pathLst>
              </a:custGeom>
              <a:grpFill/>
              <a:ln w="5978" cap="flat">
                <a:noFill/>
                <a:prstDash val="solid"/>
                <a:miter/>
              </a:ln>
            </p:spPr>
            <p:txBody>
              <a:bodyPr rtlCol="0" anchor="ctr"/>
              <a:lstStyle/>
              <a:p>
                <a:endParaRPr lang="en-GB"/>
              </a:p>
            </p:txBody>
          </p:sp>
        </p:grpSp>
        <p:grpSp>
          <p:nvGrpSpPr>
            <p:cNvPr id="1306" name="Graphic 3">
              <a:extLst>
                <a:ext uri="{FF2B5EF4-FFF2-40B4-BE49-F238E27FC236}">
                  <a16:creationId xmlns:a16="http://schemas.microsoft.com/office/drawing/2014/main" id="{DF31E1B4-8A04-4767-9E05-0EBC8A8AFB1F}"/>
                </a:ext>
              </a:extLst>
            </p:cNvPr>
            <p:cNvGrpSpPr/>
            <p:nvPr/>
          </p:nvGrpSpPr>
          <p:grpSpPr>
            <a:xfrm>
              <a:off x="3949688" y="3410487"/>
              <a:ext cx="157652" cy="18659"/>
              <a:chOff x="3949688" y="3410487"/>
              <a:chExt cx="157652" cy="18659"/>
            </a:xfrm>
            <a:grpFill/>
          </p:grpSpPr>
          <p:sp>
            <p:nvSpPr>
              <p:cNvPr id="1489" name="Vrije vorm: vorm 1488">
                <a:extLst>
                  <a:ext uri="{FF2B5EF4-FFF2-40B4-BE49-F238E27FC236}">
                    <a16:creationId xmlns:a16="http://schemas.microsoft.com/office/drawing/2014/main" id="{A11CBD49-AE32-4B7B-8854-0A98FFFF0B32}"/>
                  </a:ext>
                </a:extLst>
              </p:cNvPr>
              <p:cNvSpPr/>
              <p:nvPr/>
            </p:nvSpPr>
            <p:spPr>
              <a:xfrm>
                <a:off x="3958420" y="3418202"/>
                <a:ext cx="140248" cy="3229"/>
              </a:xfrm>
              <a:custGeom>
                <a:avLst/>
                <a:gdLst>
                  <a:gd name="connsiteX0" fmla="*/ 140188 w 140248"/>
                  <a:gd name="connsiteY0" fmla="*/ 0 h 3229"/>
                  <a:gd name="connsiteX1" fmla="*/ 140248 w 140248"/>
                  <a:gd name="connsiteY1" fmla="*/ 3050 h 3229"/>
                  <a:gd name="connsiteX2" fmla="*/ 0 w 140248"/>
                  <a:gd name="connsiteY2" fmla="*/ 3229 h 3229"/>
                  <a:gd name="connsiteX3" fmla="*/ 0 w 140248"/>
                  <a:gd name="connsiteY3" fmla="*/ 179 h 3229"/>
                </a:gdLst>
                <a:ahLst/>
                <a:cxnLst>
                  <a:cxn ang="0">
                    <a:pos x="connsiteX0" y="connsiteY0"/>
                  </a:cxn>
                  <a:cxn ang="0">
                    <a:pos x="connsiteX1" y="connsiteY1"/>
                  </a:cxn>
                  <a:cxn ang="0">
                    <a:pos x="connsiteX2" y="connsiteY2"/>
                  </a:cxn>
                  <a:cxn ang="0">
                    <a:pos x="connsiteX3" y="connsiteY3"/>
                  </a:cxn>
                </a:cxnLst>
                <a:rect l="l" t="t" r="r" b="b"/>
                <a:pathLst>
                  <a:path w="140248" h="3229">
                    <a:moveTo>
                      <a:pt x="140188" y="0"/>
                    </a:moveTo>
                    <a:lnTo>
                      <a:pt x="140248" y="3050"/>
                    </a:lnTo>
                    <a:lnTo>
                      <a:pt x="0" y="3229"/>
                    </a:lnTo>
                    <a:lnTo>
                      <a:pt x="0" y="179"/>
                    </a:lnTo>
                    <a:close/>
                  </a:path>
                </a:pathLst>
              </a:custGeom>
              <a:grpFill/>
              <a:ln w="5978" cap="flat">
                <a:noFill/>
                <a:prstDash val="solid"/>
                <a:miter/>
              </a:ln>
            </p:spPr>
            <p:txBody>
              <a:bodyPr rtlCol="0" anchor="ctr"/>
              <a:lstStyle/>
              <a:p>
                <a:endParaRPr lang="en-GB"/>
              </a:p>
            </p:txBody>
          </p:sp>
          <p:sp>
            <p:nvSpPr>
              <p:cNvPr id="1490" name="Vrije vorm: vorm 1489">
                <a:extLst>
                  <a:ext uri="{FF2B5EF4-FFF2-40B4-BE49-F238E27FC236}">
                    <a16:creationId xmlns:a16="http://schemas.microsoft.com/office/drawing/2014/main" id="{BA87ACFD-A40E-4DF4-9A61-47BE124717B4}"/>
                  </a:ext>
                </a:extLst>
              </p:cNvPr>
              <p:cNvSpPr/>
              <p:nvPr/>
            </p:nvSpPr>
            <p:spPr>
              <a:xfrm>
                <a:off x="3949688" y="3410726"/>
                <a:ext cx="18300" cy="18420"/>
              </a:xfrm>
              <a:custGeom>
                <a:avLst/>
                <a:gdLst>
                  <a:gd name="connsiteX0" fmla="*/ 9210 w 18300"/>
                  <a:gd name="connsiteY0" fmla="*/ 18421 h 18420"/>
                  <a:gd name="connsiteX1" fmla="*/ 0 w 18300"/>
                  <a:gd name="connsiteY1" fmla="*/ 9210 h 18420"/>
                  <a:gd name="connsiteX2" fmla="*/ 9090 w 18300"/>
                  <a:gd name="connsiteY2" fmla="*/ 0 h 18420"/>
                  <a:gd name="connsiteX3" fmla="*/ 18301 w 18300"/>
                  <a:gd name="connsiteY3" fmla="*/ 9210 h 18420"/>
                  <a:gd name="connsiteX4" fmla="*/ 9210 w 18300"/>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20">
                    <a:moveTo>
                      <a:pt x="9210" y="18421"/>
                    </a:moveTo>
                    <a:cubicBezTo>
                      <a:pt x="4127" y="18421"/>
                      <a:pt x="0" y="14294"/>
                      <a:pt x="0" y="9210"/>
                    </a:cubicBezTo>
                    <a:cubicBezTo>
                      <a:pt x="0" y="4127"/>
                      <a:pt x="4067" y="0"/>
                      <a:pt x="9090" y="0"/>
                    </a:cubicBezTo>
                    <a:cubicBezTo>
                      <a:pt x="14174" y="0"/>
                      <a:pt x="18301" y="4127"/>
                      <a:pt x="18301" y="9210"/>
                    </a:cubicBezTo>
                    <a:cubicBezTo>
                      <a:pt x="18301" y="14294"/>
                      <a:pt x="14294" y="18421"/>
                      <a:pt x="9210" y="18421"/>
                    </a:cubicBezTo>
                    <a:close/>
                  </a:path>
                </a:pathLst>
              </a:custGeom>
              <a:grpFill/>
              <a:ln w="5978" cap="flat">
                <a:noFill/>
                <a:prstDash val="solid"/>
                <a:miter/>
              </a:ln>
            </p:spPr>
            <p:txBody>
              <a:bodyPr rtlCol="0" anchor="ctr"/>
              <a:lstStyle/>
              <a:p>
                <a:endParaRPr lang="en-GB"/>
              </a:p>
            </p:txBody>
          </p:sp>
          <p:sp>
            <p:nvSpPr>
              <p:cNvPr id="1491" name="Vrije vorm: vorm 1490">
                <a:extLst>
                  <a:ext uri="{FF2B5EF4-FFF2-40B4-BE49-F238E27FC236}">
                    <a16:creationId xmlns:a16="http://schemas.microsoft.com/office/drawing/2014/main" id="{F6BF7325-E4B0-4DE9-B2E5-4345055FF338}"/>
                  </a:ext>
                </a:extLst>
              </p:cNvPr>
              <p:cNvSpPr/>
              <p:nvPr/>
            </p:nvSpPr>
            <p:spPr>
              <a:xfrm>
                <a:off x="4089038" y="3410487"/>
                <a:ext cx="18302" cy="18420"/>
              </a:xfrm>
              <a:custGeom>
                <a:avLst/>
                <a:gdLst>
                  <a:gd name="connsiteX0" fmla="*/ 9211 w 18302"/>
                  <a:gd name="connsiteY0" fmla="*/ 18421 h 18420"/>
                  <a:gd name="connsiteX1" fmla="*/ 18302 w 18302"/>
                  <a:gd name="connsiteY1" fmla="*/ 9210 h 18420"/>
                  <a:gd name="connsiteX2" fmla="*/ 9091 w 18302"/>
                  <a:gd name="connsiteY2" fmla="*/ 0 h 18420"/>
                  <a:gd name="connsiteX3" fmla="*/ 1 w 18302"/>
                  <a:gd name="connsiteY3" fmla="*/ 9210 h 18420"/>
                  <a:gd name="connsiteX4" fmla="*/ 9211 w 18302"/>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211" y="18421"/>
                    </a:moveTo>
                    <a:cubicBezTo>
                      <a:pt x="14295" y="18421"/>
                      <a:pt x="18362" y="14294"/>
                      <a:pt x="18302" y="9210"/>
                    </a:cubicBezTo>
                    <a:cubicBezTo>
                      <a:pt x="18302" y="4127"/>
                      <a:pt x="14175" y="0"/>
                      <a:pt x="9091" y="0"/>
                    </a:cubicBezTo>
                    <a:cubicBezTo>
                      <a:pt x="4008" y="0"/>
                      <a:pt x="-59" y="4127"/>
                      <a:pt x="1" y="9210"/>
                    </a:cubicBezTo>
                    <a:cubicBezTo>
                      <a:pt x="1" y="14354"/>
                      <a:pt x="4127" y="18421"/>
                      <a:pt x="9211" y="18421"/>
                    </a:cubicBezTo>
                    <a:close/>
                  </a:path>
                </a:pathLst>
              </a:custGeom>
              <a:grpFill/>
              <a:ln w="5978" cap="flat">
                <a:noFill/>
                <a:prstDash val="solid"/>
                <a:miter/>
              </a:ln>
            </p:spPr>
            <p:txBody>
              <a:bodyPr rtlCol="0" anchor="ctr"/>
              <a:lstStyle/>
              <a:p>
                <a:endParaRPr lang="en-GB"/>
              </a:p>
            </p:txBody>
          </p:sp>
        </p:grpSp>
        <p:grpSp>
          <p:nvGrpSpPr>
            <p:cNvPr id="1307" name="Graphic 3">
              <a:extLst>
                <a:ext uri="{FF2B5EF4-FFF2-40B4-BE49-F238E27FC236}">
                  <a16:creationId xmlns:a16="http://schemas.microsoft.com/office/drawing/2014/main" id="{421C8D6A-A86D-4E72-96DA-64FC68F21ED6}"/>
                </a:ext>
              </a:extLst>
            </p:cNvPr>
            <p:cNvGrpSpPr/>
            <p:nvPr/>
          </p:nvGrpSpPr>
          <p:grpSpPr>
            <a:xfrm>
              <a:off x="4156633" y="3875082"/>
              <a:ext cx="40404" cy="23953"/>
              <a:chOff x="4156633" y="3875082"/>
              <a:chExt cx="40404" cy="23953"/>
            </a:xfrm>
            <a:grpFill/>
          </p:grpSpPr>
          <p:sp>
            <p:nvSpPr>
              <p:cNvPr id="1486" name="Vrije vorm: vorm 1485">
                <a:extLst>
                  <a:ext uri="{FF2B5EF4-FFF2-40B4-BE49-F238E27FC236}">
                    <a16:creationId xmlns:a16="http://schemas.microsoft.com/office/drawing/2014/main" id="{34C6333D-03E2-4E78-B151-50DEE1B84739}"/>
                  </a:ext>
                </a:extLst>
              </p:cNvPr>
              <p:cNvSpPr/>
              <p:nvPr/>
            </p:nvSpPr>
            <p:spPr>
              <a:xfrm>
                <a:off x="4164994" y="3882724"/>
                <a:ext cx="23683" cy="8731"/>
              </a:xfrm>
              <a:custGeom>
                <a:avLst/>
                <a:gdLst>
                  <a:gd name="connsiteX0" fmla="*/ 22906 w 23683"/>
                  <a:gd name="connsiteY0" fmla="*/ 0 h 8731"/>
                  <a:gd name="connsiteX1" fmla="*/ 23683 w 23683"/>
                  <a:gd name="connsiteY1" fmla="*/ 2930 h 8731"/>
                  <a:gd name="connsiteX2" fmla="*/ 718 w 23683"/>
                  <a:gd name="connsiteY2" fmla="*/ 8732 h 8731"/>
                  <a:gd name="connsiteX3" fmla="*/ 0 w 23683"/>
                  <a:gd name="connsiteY3" fmla="*/ 5742 h 8731"/>
                </a:gdLst>
                <a:ahLst/>
                <a:cxnLst>
                  <a:cxn ang="0">
                    <a:pos x="connsiteX0" y="connsiteY0"/>
                  </a:cxn>
                  <a:cxn ang="0">
                    <a:pos x="connsiteX1" y="connsiteY1"/>
                  </a:cxn>
                  <a:cxn ang="0">
                    <a:pos x="connsiteX2" y="connsiteY2"/>
                  </a:cxn>
                  <a:cxn ang="0">
                    <a:pos x="connsiteX3" y="connsiteY3"/>
                  </a:cxn>
                </a:cxnLst>
                <a:rect l="l" t="t" r="r" b="b"/>
                <a:pathLst>
                  <a:path w="23683" h="8731">
                    <a:moveTo>
                      <a:pt x="22906" y="0"/>
                    </a:moveTo>
                    <a:lnTo>
                      <a:pt x="23683" y="2930"/>
                    </a:lnTo>
                    <a:lnTo>
                      <a:pt x="718" y="8732"/>
                    </a:lnTo>
                    <a:lnTo>
                      <a:pt x="0" y="5742"/>
                    </a:lnTo>
                    <a:close/>
                  </a:path>
                </a:pathLst>
              </a:custGeom>
              <a:grpFill/>
              <a:ln w="5978" cap="flat">
                <a:noFill/>
                <a:prstDash val="solid"/>
                <a:miter/>
              </a:ln>
            </p:spPr>
            <p:txBody>
              <a:bodyPr rtlCol="0" anchor="ctr"/>
              <a:lstStyle/>
              <a:p>
                <a:endParaRPr lang="en-GB"/>
              </a:p>
            </p:txBody>
          </p:sp>
          <p:sp>
            <p:nvSpPr>
              <p:cNvPr id="1487" name="Vrije vorm: vorm 1486">
                <a:extLst>
                  <a:ext uri="{FF2B5EF4-FFF2-40B4-BE49-F238E27FC236}">
                    <a16:creationId xmlns:a16="http://schemas.microsoft.com/office/drawing/2014/main" id="{56FC74ED-5675-4E1B-AF60-43C0519A027A}"/>
                  </a:ext>
                </a:extLst>
              </p:cNvPr>
              <p:cNvSpPr/>
              <p:nvPr/>
            </p:nvSpPr>
            <p:spPr>
              <a:xfrm>
                <a:off x="4156633" y="3880587"/>
                <a:ext cx="18336" cy="18448"/>
              </a:xfrm>
              <a:custGeom>
                <a:avLst/>
                <a:gdLst>
                  <a:gd name="connsiteX0" fmla="*/ 11411 w 18336"/>
                  <a:gd name="connsiteY0" fmla="*/ 18165 h 18448"/>
                  <a:gd name="connsiteX1" fmla="*/ 287 w 18336"/>
                  <a:gd name="connsiteY1" fmla="*/ 11467 h 18448"/>
                  <a:gd name="connsiteX2" fmla="*/ 6925 w 18336"/>
                  <a:gd name="connsiteY2" fmla="*/ 283 h 18448"/>
                  <a:gd name="connsiteX3" fmla="*/ 18049 w 18336"/>
                  <a:gd name="connsiteY3" fmla="*/ 6981 h 18448"/>
                  <a:gd name="connsiteX4" fmla="*/ 11411 w 18336"/>
                  <a:gd name="connsiteY4" fmla="*/ 18165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48">
                    <a:moveTo>
                      <a:pt x="11411" y="18165"/>
                    </a:moveTo>
                    <a:cubicBezTo>
                      <a:pt x="6507" y="19421"/>
                      <a:pt x="1543" y="16371"/>
                      <a:pt x="287" y="11467"/>
                    </a:cubicBezTo>
                    <a:cubicBezTo>
                      <a:pt x="-969" y="6503"/>
                      <a:pt x="2021" y="1539"/>
                      <a:pt x="6925" y="283"/>
                    </a:cubicBezTo>
                    <a:cubicBezTo>
                      <a:pt x="11830" y="-973"/>
                      <a:pt x="16793" y="2077"/>
                      <a:pt x="18049" y="6981"/>
                    </a:cubicBezTo>
                    <a:cubicBezTo>
                      <a:pt x="19306" y="11945"/>
                      <a:pt x="16315" y="16969"/>
                      <a:pt x="11411" y="18165"/>
                    </a:cubicBezTo>
                    <a:close/>
                  </a:path>
                </a:pathLst>
              </a:custGeom>
              <a:grpFill/>
              <a:ln w="5978" cap="flat">
                <a:noFill/>
                <a:prstDash val="solid"/>
                <a:miter/>
              </a:ln>
            </p:spPr>
            <p:txBody>
              <a:bodyPr rtlCol="0" anchor="ctr"/>
              <a:lstStyle/>
              <a:p>
                <a:endParaRPr lang="en-GB"/>
              </a:p>
            </p:txBody>
          </p:sp>
          <p:sp>
            <p:nvSpPr>
              <p:cNvPr id="1488" name="Vrije vorm: vorm 1487">
                <a:extLst>
                  <a:ext uri="{FF2B5EF4-FFF2-40B4-BE49-F238E27FC236}">
                    <a16:creationId xmlns:a16="http://schemas.microsoft.com/office/drawing/2014/main" id="{2B284193-6FE5-4E54-AADF-171CDBBEE53F}"/>
                  </a:ext>
                </a:extLst>
              </p:cNvPr>
              <p:cNvSpPr/>
              <p:nvPr/>
            </p:nvSpPr>
            <p:spPr>
              <a:xfrm>
                <a:off x="4178702" y="3875082"/>
                <a:ext cx="18336" cy="18451"/>
              </a:xfrm>
              <a:custGeom>
                <a:avLst/>
                <a:gdLst>
                  <a:gd name="connsiteX0" fmla="*/ 11411 w 18336"/>
                  <a:gd name="connsiteY0" fmla="*/ 18169 h 18451"/>
                  <a:gd name="connsiteX1" fmla="*/ 18049 w 18336"/>
                  <a:gd name="connsiteY1" fmla="*/ 6985 h 18451"/>
                  <a:gd name="connsiteX2" fmla="*/ 6925 w 18336"/>
                  <a:gd name="connsiteY2" fmla="*/ 286 h 18451"/>
                  <a:gd name="connsiteX3" fmla="*/ 287 w 18336"/>
                  <a:gd name="connsiteY3" fmla="*/ 11470 h 18451"/>
                  <a:gd name="connsiteX4" fmla="*/ 11411 w 18336"/>
                  <a:gd name="connsiteY4" fmla="*/ 18169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1">
                    <a:moveTo>
                      <a:pt x="11411" y="18169"/>
                    </a:moveTo>
                    <a:cubicBezTo>
                      <a:pt x="16315" y="16913"/>
                      <a:pt x="19305" y="11949"/>
                      <a:pt x="18049" y="6985"/>
                    </a:cubicBezTo>
                    <a:cubicBezTo>
                      <a:pt x="16793" y="2021"/>
                      <a:pt x="11829" y="-970"/>
                      <a:pt x="6925" y="286"/>
                    </a:cubicBezTo>
                    <a:cubicBezTo>
                      <a:pt x="2021" y="1542"/>
                      <a:pt x="-969" y="6506"/>
                      <a:pt x="287" y="11470"/>
                    </a:cubicBezTo>
                    <a:cubicBezTo>
                      <a:pt x="1483" y="16375"/>
                      <a:pt x="6507" y="19425"/>
                      <a:pt x="11411" y="18169"/>
                    </a:cubicBezTo>
                    <a:close/>
                  </a:path>
                </a:pathLst>
              </a:custGeom>
              <a:grpFill/>
              <a:ln w="5978" cap="flat">
                <a:noFill/>
                <a:prstDash val="solid"/>
                <a:miter/>
              </a:ln>
            </p:spPr>
            <p:txBody>
              <a:bodyPr rtlCol="0" anchor="ctr"/>
              <a:lstStyle/>
              <a:p>
                <a:endParaRPr lang="en-GB"/>
              </a:p>
            </p:txBody>
          </p:sp>
        </p:grpSp>
        <p:grpSp>
          <p:nvGrpSpPr>
            <p:cNvPr id="1308" name="Graphic 3">
              <a:extLst>
                <a:ext uri="{FF2B5EF4-FFF2-40B4-BE49-F238E27FC236}">
                  <a16:creationId xmlns:a16="http://schemas.microsoft.com/office/drawing/2014/main" id="{452FADEA-73DB-4190-964C-1941D0623698}"/>
                </a:ext>
              </a:extLst>
            </p:cNvPr>
            <p:cNvGrpSpPr/>
            <p:nvPr/>
          </p:nvGrpSpPr>
          <p:grpSpPr>
            <a:xfrm>
              <a:off x="4005847" y="3372389"/>
              <a:ext cx="20335" cy="18483"/>
              <a:chOff x="4005847" y="3372389"/>
              <a:chExt cx="20335" cy="18483"/>
            </a:xfrm>
            <a:grpFill/>
          </p:grpSpPr>
          <p:sp>
            <p:nvSpPr>
              <p:cNvPr id="1483" name="Vrije vorm: vorm 1482">
                <a:extLst>
                  <a:ext uri="{FF2B5EF4-FFF2-40B4-BE49-F238E27FC236}">
                    <a16:creationId xmlns:a16="http://schemas.microsoft.com/office/drawing/2014/main" id="{CCC56544-544C-4125-84B5-223FC70DCBE2}"/>
                  </a:ext>
                </a:extLst>
              </p:cNvPr>
              <p:cNvSpPr/>
              <p:nvPr/>
            </p:nvSpPr>
            <p:spPr>
              <a:xfrm>
                <a:off x="4014519" y="3380045"/>
                <a:ext cx="2990" cy="3109"/>
              </a:xfrm>
              <a:custGeom>
                <a:avLst/>
                <a:gdLst>
                  <a:gd name="connsiteX0" fmla="*/ 2990 w 2990"/>
                  <a:gd name="connsiteY0" fmla="*/ 60 h 3109"/>
                  <a:gd name="connsiteX1" fmla="*/ 2931 w 2990"/>
                  <a:gd name="connsiteY1" fmla="*/ 3110 h 3109"/>
                  <a:gd name="connsiteX2" fmla="*/ 0 w 2990"/>
                  <a:gd name="connsiteY2" fmla="*/ 3050 h 3109"/>
                  <a:gd name="connsiteX3" fmla="*/ 60 w 2990"/>
                  <a:gd name="connsiteY3" fmla="*/ 0 h 3109"/>
                </a:gdLst>
                <a:ahLst/>
                <a:cxnLst>
                  <a:cxn ang="0">
                    <a:pos x="connsiteX0" y="connsiteY0"/>
                  </a:cxn>
                  <a:cxn ang="0">
                    <a:pos x="connsiteX1" y="connsiteY1"/>
                  </a:cxn>
                  <a:cxn ang="0">
                    <a:pos x="connsiteX2" y="connsiteY2"/>
                  </a:cxn>
                  <a:cxn ang="0">
                    <a:pos x="connsiteX3" y="connsiteY3"/>
                  </a:cxn>
                </a:cxnLst>
                <a:rect l="l" t="t" r="r" b="b"/>
                <a:pathLst>
                  <a:path w="2990" h="3109">
                    <a:moveTo>
                      <a:pt x="2990" y="60"/>
                    </a:moveTo>
                    <a:lnTo>
                      <a:pt x="2931" y="3110"/>
                    </a:lnTo>
                    <a:lnTo>
                      <a:pt x="0" y="3050"/>
                    </a:lnTo>
                    <a:lnTo>
                      <a:pt x="60" y="0"/>
                    </a:lnTo>
                    <a:close/>
                  </a:path>
                </a:pathLst>
              </a:custGeom>
              <a:grpFill/>
              <a:ln w="5978" cap="flat">
                <a:noFill/>
                <a:prstDash val="solid"/>
                <a:miter/>
              </a:ln>
            </p:spPr>
            <p:txBody>
              <a:bodyPr rtlCol="0" anchor="ctr"/>
              <a:lstStyle/>
              <a:p>
                <a:endParaRPr lang="en-GB"/>
              </a:p>
            </p:txBody>
          </p:sp>
          <p:sp>
            <p:nvSpPr>
              <p:cNvPr id="1484" name="Vrije vorm: vorm 1483">
                <a:extLst>
                  <a:ext uri="{FF2B5EF4-FFF2-40B4-BE49-F238E27FC236}">
                    <a16:creationId xmlns:a16="http://schemas.microsoft.com/office/drawing/2014/main" id="{9C75D19E-986E-4739-9F27-2858529FA48C}"/>
                  </a:ext>
                </a:extLst>
              </p:cNvPr>
              <p:cNvSpPr/>
              <p:nvPr/>
            </p:nvSpPr>
            <p:spPr>
              <a:xfrm>
                <a:off x="4007880" y="3372447"/>
                <a:ext cx="18302" cy="18425"/>
              </a:xfrm>
              <a:custGeom>
                <a:avLst/>
                <a:gdLst>
                  <a:gd name="connsiteX0" fmla="*/ 9271 w 18302"/>
                  <a:gd name="connsiteY0" fmla="*/ 3 h 18425"/>
                  <a:gd name="connsiteX1" fmla="*/ 18302 w 18302"/>
                  <a:gd name="connsiteY1" fmla="*/ 9392 h 18425"/>
                  <a:gd name="connsiteX2" fmla="*/ 9032 w 18302"/>
                  <a:gd name="connsiteY2" fmla="*/ 18423 h 18425"/>
                  <a:gd name="connsiteX3" fmla="*/ 1 w 18302"/>
                  <a:gd name="connsiteY3" fmla="*/ 9034 h 18425"/>
                  <a:gd name="connsiteX4" fmla="*/ 9271 w 18302"/>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5">
                    <a:moveTo>
                      <a:pt x="9271" y="3"/>
                    </a:moveTo>
                    <a:cubicBezTo>
                      <a:pt x="14355" y="62"/>
                      <a:pt x="18362" y="4309"/>
                      <a:pt x="18302" y="9392"/>
                    </a:cubicBezTo>
                    <a:cubicBezTo>
                      <a:pt x="18242" y="14476"/>
                      <a:pt x="14056" y="18543"/>
                      <a:pt x="9032" y="18423"/>
                    </a:cubicBezTo>
                    <a:cubicBezTo>
                      <a:pt x="3948" y="18363"/>
                      <a:pt x="-59" y="14117"/>
                      <a:pt x="1" y="9034"/>
                    </a:cubicBezTo>
                    <a:cubicBezTo>
                      <a:pt x="61" y="3950"/>
                      <a:pt x="4187" y="-117"/>
                      <a:pt x="9271" y="3"/>
                    </a:cubicBezTo>
                    <a:close/>
                  </a:path>
                </a:pathLst>
              </a:custGeom>
              <a:grpFill/>
              <a:ln w="5978" cap="flat">
                <a:noFill/>
                <a:prstDash val="solid"/>
                <a:miter/>
              </a:ln>
            </p:spPr>
            <p:txBody>
              <a:bodyPr rtlCol="0" anchor="ctr"/>
              <a:lstStyle/>
              <a:p>
                <a:endParaRPr lang="en-GB"/>
              </a:p>
            </p:txBody>
          </p:sp>
          <p:sp>
            <p:nvSpPr>
              <p:cNvPr id="1485" name="Vrije vorm: vorm 1484">
                <a:extLst>
                  <a:ext uri="{FF2B5EF4-FFF2-40B4-BE49-F238E27FC236}">
                    <a16:creationId xmlns:a16="http://schemas.microsoft.com/office/drawing/2014/main" id="{51DFD4B0-D7BE-4654-85BF-57BAC84BD3D5}"/>
                  </a:ext>
                </a:extLst>
              </p:cNvPr>
              <p:cNvSpPr/>
              <p:nvPr/>
            </p:nvSpPr>
            <p:spPr>
              <a:xfrm>
                <a:off x="4005847" y="3372389"/>
                <a:ext cx="18302" cy="18421"/>
              </a:xfrm>
              <a:custGeom>
                <a:avLst/>
                <a:gdLst>
                  <a:gd name="connsiteX0" fmla="*/ 9271 w 18302"/>
                  <a:gd name="connsiteY0" fmla="*/ 1 h 18421"/>
                  <a:gd name="connsiteX1" fmla="*/ 1 w 18302"/>
                  <a:gd name="connsiteY1" fmla="*/ 9031 h 18421"/>
                  <a:gd name="connsiteX2" fmla="*/ 9031 w 18302"/>
                  <a:gd name="connsiteY2" fmla="*/ 18421 h 18421"/>
                  <a:gd name="connsiteX3" fmla="*/ 18302 w 18302"/>
                  <a:gd name="connsiteY3" fmla="*/ 9390 h 18421"/>
                  <a:gd name="connsiteX4" fmla="*/ 9271 w 18302"/>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271" y="1"/>
                    </a:moveTo>
                    <a:cubicBezTo>
                      <a:pt x="4187" y="-59"/>
                      <a:pt x="60" y="3948"/>
                      <a:pt x="1" y="9031"/>
                    </a:cubicBezTo>
                    <a:cubicBezTo>
                      <a:pt x="-59" y="14115"/>
                      <a:pt x="4008" y="18302"/>
                      <a:pt x="9031" y="18421"/>
                    </a:cubicBezTo>
                    <a:cubicBezTo>
                      <a:pt x="14115" y="18481"/>
                      <a:pt x="18242" y="14474"/>
                      <a:pt x="18302" y="9390"/>
                    </a:cubicBezTo>
                    <a:cubicBezTo>
                      <a:pt x="18361" y="4307"/>
                      <a:pt x="14354" y="60"/>
                      <a:pt x="9271" y="1"/>
                    </a:cubicBezTo>
                    <a:close/>
                  </a:path>
                </a:pathLst>
              </a:custGeom>
              <a:grpFill/>
              <a:ln w="5978" cap="flat">
                <a:noFill/>
                <a:prstDash val="solid"/>
                <a:miter/>
              </a:ln>
            </p:spPr>
            <p:txBody>
              <a:bodyPr rtlCol="0" anchor="ctr"/>
              <a:lstStyle/>
              <a:p>
                <a:endParaRPr lang="en-GB"/>
              </a:p>
            </p:txBody>
          </p:sp>
        </p:grpSp>
        <p:grpSp>
          <p:nvGrpSpPr>
            <p:cNvPr id="1309" name="Graphic 3">
              <a:extLst>
                <a:ext uri="{FF2B5EF4-FFF2-40B4-BE49-F238E27FC236}">
                  <a16:creationId xmlns:a16="http://schemas.microsoft.com/office/drawing/2014/main" id="{15A4646F-C2C7-446E-8353-2FEC1D663D85}"/>
                </a:ext>
              </a:extLst>
            </p:cNvPr>
            <p:cNvGrpSpPr/>
            <p:nvPr/>
          </p:nvGrpSpPr>
          <p:grpSpPr>
            <a:xfrm>
              <a:off x="4218421" y="4375096"/>
              <a:ext cx="317341" cy="207647"/>
              <a:chOff x="4218421" y="4375096"/>
              <a:chExt cx="317341" cy="207647"/>
            </a:xfrm>
            <a:grpFill/>
          </p:grpSpPr>
          <p:sp>
            <p:nvSpPr>
              <p:cNvPr id="1480" name="Vrije vorm: vorm 1479">
                <a:extLst>
                  <a:ext uri="{FF2B5EF4-FFF2-40B4-BE49-F238E27FC236}">
                    <a16:creationId xmlns:a16="http://schemas.microsoft.com/office/drawing/2014/main" id="{FC90113C-CAD5-4418-86EC-1B5C5341BFC5}"/>
                  </a:ext>
                </a:extLst>
              </p:cNvPr>
              <p:cNvSpPr/>
              <p:nvPr/>
            </p:nvSpPr>
            <p:spPr>
              <a:xfrm>
                <a:off x="4226356" y="4382772"/>
                <a:ext cx="301488" cy="192340"/>
              </a:xfrm>
              <a:custGeom>
                <a:avLst/>
                <a:gdLst>
                  <a:gd name="connsiteX0" fmla="*/ 301488 w 301488"/>
                  <a:gd name="connsiteY0" fmla="*/ 2572 h 192340"/>
                  <a:gd name="connsiteX1" fmla="*/ 1615 w 301488"/>
                  <a:gd name="connsiteY1" fmla="*/ 192340 h 192340"/>
                  <a:gd name="connsiteX2" fmla="*/ 0 w 301488"/>
                  <a:gd name="connsiteY2" fmla="*/ 189709 h 192340"/>
                  <a:gd name="connsiteX3" fmla="*/ 299814 w 301488"/>
                  <a:gd name="connsiteY3" fmla="*/ 0 h 192340"/>
                </a:gdLst>
                <a:ahLst/>
                <a:cxnLst>
                  <a:cxn ang="0">
                    <a:pos x="connsiteX0" y="connsiteY0"/>
                  </a:cxn>
                  <a:cxn ang="0">
                    <a:pos x="connsiteX1" y="connsiteY1"/>
                  </a:cxn>
                  <a:cxn ang="0">
                    <a:pos x="connsiteX2" y="connsiteY2"/>
                  </a:cxn>
                  <a:cxn ang="0">
                    <a:pos x="connsiteX3" y="connsiteY3"/>
                  </a:cxn>
                </a:cxnLst>
                <a:rect l="l" t="t" r="r" b="b"/>
                <a:pathLst>
                  <a:path w="301488" h="192340">
                    <a:moveTo>
                      <a:pt x="301488" y="2572"/>
                    </a:moveTo>
                    <a:lnTo>
                      <a:pt x="1615" y="192340"/>
                    </a:lnTo>
                    <a:lnTo>
                      <a:pt x="0" y="189709"/>
                    </a:lnTo>
                    <a:lnTo>
                      <a:pt x="299814" y="0"/>
                    </a:lnTo>
                    <a:close/>
                  </a:path>
                </a:pathLst>
              </a:custGeom>
              <a:grpFill/>
              <a:ln w="5978" cap="flat">
                <a:noFill/>
                <a:prstDash val="solid"/>
                <a:miter/>
              </a:ln>
            </p:spPr>
            <p:txBody>
              <a:bodyPr rtlCol="0" anchor="ctr"/>
              <a:lstStyle/>
              <a:p>
                <a:endParaRPr lang="en-GB"/>
              </a:p>
            </p:txBody>
          </p:sp>
          <p:sp>
            <p:nvSpPr>
              <p:cNvPr id="1481" name="Vrije vorm: vorm 1480">
                <a:extLst>
                  <a:ext uri="{FF2B5EF4-FFF2-40B4-BE49-F238E27FC236}">
                    <a16:creationId xmlns:a16="http://schemas.microsoft.com/office/drawing/2014/main" id="{0D80D6D0-1ECE-4A86-B4B8-E8C565A6D227}"/>
                  </a:ext>
                </a:extLst>
              </p:cNvPr>
              <p:cNvSpPr/>
              <p:nvPr/>
            </p:nvSpPr>
            <p:spPr>
              <a:xfrm>
                <a:off x="4218421" y="4564326"/>
                <a:ext cx="18263" cy="18417"/>
              </a:xfrm>
              <a:custGeom>
                <a:avLst/>
                <a:gdLst>
                  <a:gd name="connsiteX0" fmla="*/ 14036 w 18263"/>
                  <a:gd name="connsiteY0" fmla="*/ 17007 h 18417"/>
                  <a:gd name="connsiteX1" fmla="*/ 1417 w 18263"/>
                  <a:gd name="connsiteY1" fmla="*/ 14076 h 18417"/>
                  <a:gd name="connsiteX2" fmla="*/ 4228 w 18263"/>
                  <a:gd name="connsiteY2" fmla="*/ 1397 h 18417"/>
                  <a:gd name="connsiteX3" fmla="*/ 16847 w 18263"/>
                  <a:gd name="connsiteY3" fmla="*/ 4327 h 18417"/>
                  <a:gd name="connsiteX4" fmla="*/ 14036 w 18263"/>
                  <a:gd name="connsiteY4" fmla="*/ 1700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3" h="18417">
                    <a:moveTo>
                      <a:pt x="14036" y="17007"/>
                    </a:moveTo>
                    <a:cubicBezTo>
                      <a:pt x="9730" y="19698"/>
                      <a:pt x="4108" y="18442"/>
                      <a:pt x="1417" y="14076"/>
                    </a:cubicBezTo>
                    <a:cubicBezTo>
                      <a:pt x="-1275" y="9770"/>
                      <a:pt x="-19" y="4088"/>
                      <a:pt x="4228" y="1397"/>
                    </a:cubicBezTo>
                    <a:cubicBezTo>
                      <a:pt x="8474" y="-1294"/>
                      <a:pt x="14156" y="21"/>
                      <a:pt x="16847" y="4327"/>
                    </a:cubicBezTo>
                    <a:cubicBezTo>
                      <a:pt x="19538" y="8633"/>
                      <a:pt x="18282" y="14315"/>
                      <a:pt x="14036" y="17007"/>
                    </a:cubicBezTo>
                    <a:close/>
                  </a:path>
                </a:pathLst>
              </a:custGeom>
              <a:grpFill/>
              <a:ln w="5978" cap="flat">
                <a:noFill/>
                <a:prstDash val="solid"/>
                <a:miter/>
              </a:ln>
            </p:spPr>
            <p:txBody>
              <a:bodyPr rtlCol="0" anchor="ctr"/>
              <a:lstStyle/>
              <a:p>
                <a:endParaRPr lang="en-GB"/>
              </a:p>
            </p:txBody>
          </p:sp>
          <p:sp>
            <p:nvSpPr>
              <p:cNvPr id="1482" name="Vrije vorm: vorm 1481">
                <a:extLst>
                  <a:ext uri="{FF2B5EF4-FFF2-40B4-BE49-F238E27FC236}">
                    <a16:creationId xmlns:a16="http://schemas.microsoft.com/office/drawing/2014/main" id="{5473AF7A-92AC-4C28-B542-53E003A45421}"/>
                  </a:ext>
                </a:extLst>
              </p:cNvPr>
              <p:cNvSpPr/>
              <p:nvPr/>
            </p:nvSpPr>
            <p:spPr>
              <a:xfrm>
                <a:off x="4517430" y="4375096"/>
                <a:ext cx="18331" cy="18403"/>
              </a:xfrm>
              <a:custGeom>
                <a:avLst/>
                <a:gdLst>
                  <a:gd name="connsiteX0" fmla="*/ 14062 w 18331"/>
                  <a:gd name="connsiteY0" fmla="*/ 17007 h 18403"/>
                  <a:gd name="connsiteX1" fmla="*/ 16874 w 18331"/>
                  <a:gd name="connsiteY1" fmla="*/ 4327 h 18403"/>
                  <a:gd name="connsiteX2" fmla="*/ 4254 w 18331"/>
                  <a:gd name="connsiteY2" fmla="*/ 1397 h 18403"/>
                  <a:gd name="connsiteX3" fmla="*/ 1443 w 18331"/>
                  <a:gd name="connsiteY3" fmla="*/ 14076 h 18403"/>
                  <a:gd name="connsiteX4" fmla="*/ 14062 w 18331"/>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03">
                    <a:moveTo>
                      <a:pt x="14062" y="17007"/>
                    </a:moveTo>
                    <a:cubicBezTo>
                      <a:pt x="18369" y="14315"/>
                      <a:pt x="19625" y="8634"/>
                      <a:pt x="16874" y="4327"/>
                    </a:cubicBezTo>
                    <a:cubicBezTo>
                      <a:pt x="14182" y="21"/>
                      <a:pt x="8500" y="-1294"/>
                      <a:pt x="4254" y="1397"/>
                    </a:cubicBezTo>
                    <a:cubicBezTo>
                      <a:pt x="8" y="4088"/>
                      <a:pt x="-1308" y="9770"/>
                      <a:pt x="1443" y="14076"/>
                    </a:cubicBezTo>
                    <a:cubicBezTo>
                      <a:pt x="4135" y="18382"/>
                      <a:pt x="9816" y="19698"/>
                      <a:pt x="14062" y="17007"/>
                    </a:cubicBezTo>
                    <a:close/>
                  </a:path>
                </a:pathLst>
              </a:custGeom>
              <a:grpFill/>
              <a:ln w="5978" cap="flat">
                <a:noFill/>
                <a:prstDash val="solid"/>
                <a:miter/>
              </a:ln>
            </p:spPr>
            <p:txBody>
              <a:bodyPr rtlCol="0" anchor="ctr"/>
              <a:lstStyle/>
              <a:p>
                <a:endParaRPr lang="en-GB"/>
              </a:p>
            </p:txBody>
          </p:sp>
        </p:grpSp>
        <p:grpSp>
          <p:nvGrpSpPr>
            <p:cNvPr id="1310" name="Graphic 3">
              <a:extLst>
                <a:ext uri="{FF2B5EF4-FFF2-40B4-BE49-F238E27FC236}">
                  <a16:creationId xmlns:a16="http://schemas.microsoft.com/office/drawing/2014/main" id="{3E8E41D2-9976-499A-B935-EDAF075CD36F}"/>
                </a:ext>
              </a:extLst>
            </p:cNvPr>
            <p:cNvGrpSpPr/>
            <p:nvPr/>
          </p:nvGrpSpPr>
          <p:grpSpPr>
            <a:xfrm>
              <a:off x="4093614" y="3799923"/>
              <a:ext cx="109926" cy="37716"/>
              <a:chOff x="4093614" y="3799923"/>
              <a:chExt cx="109926" cy="37716"/>
            </a:xfrm>
            <a:grpFill/>
          </p:grpSpPr>
          <p:sp>
            <p:nvSpPr>
              <p:cNvPr id="1477" name="Vrije vorm: vorm 1476">
                <a:extLst>
                  <a:ext uri="{FF2B5EF4-FFF2-40B4-BE49-F238E27FC236}">
                    <a16:creationId xmlns:a16="http://schemas.microsoft.com/office/drawing/2014/main" id="{DF3970DE-0554-4A6E-AA61-9B733EBAA6C6}"/>
                  </a:ext>
                </a:extLst>
              </p:cNvPr>
              <p:cNvSpPr/>
              <p:nvPr/>
            </p:nvSpPr>
            <p:spPr>
              <a:xfrm>
                <a:off x="4102077" y="3807547"/>
                <a:ext cx="93060" cy="22487"/>
              </a:xfrm>
              <a:custGeom>
                <a:avLst/>
                <a:gdLst>
                  <a:gd name="connsiteX0" fmla="*/ 92402 w 93060"/>
                  <a:gd name="connsiteY0" fmla="*/ 0 h 22487"/>
                  <a:gd name="connsiteX1" fmla="*/ 93060 w 93060"/>
                  <a:gd name="connsiteY1" fmla="*/ 2990 h 22487"/>
                  <a:gd name="connsiteX2" fmla="*/ 598 w 93060"/>
                  <a:gd name="connsiteY2" fmla="*/ 22488 h 22487"/>
                  <a:gd name="connsiteX3" fmla="*/ 0 w 93060"/>
                  <a:gd name="connsiteY3" fmla="*/ 19497 h 22487"/>
                </a:gdLst>
                <a:ahLst/>
                <a:cxnLst>
                  <a:cxn ang="0">
                    <a:pos x="connsiteX0" y="connsiteY0"/>
                  </a:cxn>
                  <a:cxn ang="0">
                    <a:pos x="connsiteX1" y="connsiteY1"/>
                  </a:cxn>
                  <a:cxn ang="0">
                    <a:pos x="connsiteX2" y="connsiteY2"/>
                  </a:cxn>
                  <a:cxn ang="0">
                    <a:pos x="connsiteX3" y="connsiteY3"/>
                  </a:cxn>
                </a:cxnLst>
                <a:rect l="l" t="t" r="r" b="b"/>
                <a:pathLst>
                  <a:path w="93060" h="22487">
                    <a:moveTo>
                      <a:pt x="92402" y="0"/>
                    </a:moveTo>
                    <a:lnTo>
                      <a:pt x="93060" y="2990"/>
                    </a:lnTo>
                    <a:lnTo>
                      <a:pt x="598" y="22488"/>
                    </a:lnTo>
                    <a:lnTo>
                      <a:pt x="0" y="19497"/>
                    </a:lnTo>
                    <a:close/>
                  </a:path>
                </a:pathLst>
              </a:custGeom>
              <a:grpFill/>
              <a:ln w="5978" cap="flat">
                <a:noFill/>
                <a:prstDash val="solid"/>
                <a:miter/>
              </a:ln>
            </p:spPr>
            <p:txBody>
              <a:bodyPr rtlCol="0" anchor="ctr"/>
              <a:lstStyle/>
              <a:p>
                <a:endParaRPr lang="en-GB"/>
              </a:p>
            </p:txBody>
          </p:sp>
          <p:sp>
            <p:nvSpPr>
              <p:cNvPr id="1478" name="Vrije vorm: vorm 1477">
                <a:extLst>
                  <a:ext uri="{FF2B5EF4-FFF2-40B4-BE49-F238E27FC236}">
                    <a16:creationId xmlns:a16="http://schemas.microsoft.com/office/drawing/2014/main" id="{8DBA7A79-77AC-4701-8D64-5D8C89012D4A}"/>
                  </a:ext>
                </a:extLst>
              </p:cNvPr>
              <p:cNvSpPr/>
              <p:nvPr/>
            </p:nvSpPr>
            <p:spPr>
              <a:xfrm>
                <a:off x="4093614" y="3819259"/>
                <a:ext cx="18362" cy="18381"/>
              </a:xfrm>
              <a:custGeom>
                <a:avLst/>
                <a:gdLst>
                  <a:gd name="connsiteX0" fmla="*/ 11095 w 18362"/>
                  <a:gd name="connsiteY0" fmla="*/ 18192 h 18381"/>
                  <a:gd name="connsiteX1" fmla="*/ 210 w 18362"/>
                  <a:gd name="connsiteY1" fmla="*/ 11075 h 18381"/>
                  <a:gd name="connsiteX2" fmla="*/ 7267 w 18362"/>
                  <a:gd name="connsiteY2" fmla="*/ 190 h 18381"/>
                  <a:gd name="connsiteX3" fmla="*/ 18152 w 18362"/>
                  <a:gd name="connsiteY3" fmla="*/ 7307 h 18381"/>
                  <a:gd name="connsiteX4" fmla="*/ 11095 w 18362"/>
                  <a:gd name="connsiteY4" fmla="*/ 18192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381">
                    <a:moveTo>
                      <a:pt x="11095" y="18192"/>
                    </a:moveTo>
                    <a:cubicBezTo>
                      <a:pt x="6131" y="19208"/>
                      <a:pt x="1286" y="16039"/>
                      <a:pt x="210" y="11075"/>
                    </a:cubicBezTo>
                    <a:cubicBezTo>
                      <a:pt x="-867" y="6111"/>
                      <a:pt x="2303" y="1207"/>
                      <a:pt x="7267" y="190"/>
                    </a:cubicBezTo>
                    <a:cubicBezTo>
                      <a:pt x="12231" y="-827"/>
                      <a:pt x="17076" y="2343"/>
                      <a:pt x="18152" y="7307"/>
                    </a:cubicBezTo>
                    <a:cubicBezTo>
                      <a:pt x="19229" y="12271"/>
                      <a:pt x="16059" y="17115"/>
                      <a:pt x="11095" y="18192"/>
                    </a:cubicBezTo>
                    <a:close/>
                  </a:path>
                </a:pathLst>
              </a:custGeom>
              <a:grpFill/>
              <a:ln w="5978" cap="flat">
                <a:noFill/>
                <a:prstDash val="solid"/>
                <a:miter/>
              </a:ln>
            </p:spPr>
            <p:txBody>
              <a:bodyPr rtlCol="0" anchor="ctr"/>
              <a:lstStyle/>
              <a:p>
                <a:endParaRPr lang="en-GB"/>
              </a:p>
            </p:txBody>
          </p:sp>
          <p:sp>
            <p:nvSpPr>
              <p:cNvPr id="1479" name="Vrije vorm: vorm 1478">
                <a:extLst>
                  <a:ext uri="{FF2B5EF4-FFF2-40B4-BE49-F238E27FC236}">
                    <a16:creationId xmlns:a16="http://schemas.microsoft.com/office/drawing/2014/main" id="{B78E4061-16EF-49B6-8A21-2FB337BF3380}"/>
                  </a:ext>
                </a:extLst>
              </p:cNvPr>
              <p:cNvSpPr/>
              <p:nvPr/>
            </p:nvSpPr>
            <p:spPr>
              <a:xfrm>
                <a:off x="4185178" y="3799923"/>
                <a:ext cx="18362" cy="18416"/>
              </a:xfrm>
              <a:custGeom>
                <a:avLst/>
                <a:gdLst>
                  <a:gd name="connsiteX0" fmla="*/ 11095 w 18362"/>
                  <a:gd name="connsiteY0" fmla="*/ 18209 h 18416"/>
                  <a:gd name="connsiteX1" fmla="*/ 18152 w 18362"/>
                  <a:gd name="connsiteY1" fmla="*/ 7324 h 18416"/>
                  <a:gd name="connsiteX2" fmla="*/ 7267 w 18362"/>
                  <a:gd name="connsiteY2" fmla="*/ 207 h 18416"/>
                  <a:gd name="connsiteX3" fmla="*/ 210 w 18362"/>
                  <a:gd name="connsiteY3" fmla="*/ 11092 h 18416"/>
                  <a:gd name="connsiteX4" fmla="*/ 11095 w 18362"/>
                  <a:gd name="connsiteY4" fmla="*/ 18209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16">
                    <a:moveTo>
                      <a:pt x="11095" y="18209"/>
                    </a:moveTo>
                    <a:cubicBezTo>
                      <a:pt x="16059" y="17193"/>
                      <a:pt x="19229" y="12288"/>
                      <a:pt x="18152" y="7324"/>
                    </a:cubicBezTo>
                    <a:cubicBezTo>
                      <a:pt x="17076" y="2360"/>
                      <a:pt x="12231" y="-869"/>
                      <a:pt x="7267" y="207"/>
                    </a:cubicBezTo>
                    <a:cubicBezTo>
                      <a:pt x="2303" y="1224"/>
                      <a:pt x="-867" y="6128"/>
                      <a:pt x="210" y="11092"/>
                    </a:cubicBezTo>
                    <a:cubicBezTo>
                      <a:pt x="1286" y="16056"/>
                      <a:pt x="6191" y="19286"/>
                      <a:pt x="11095" y="18209"/>
                    </a:cubicBezTo>
                    <a:close/>
                  </a:path>
                </a:pathLst>
              </a:custGeom>
              <a:grpFill/>
              <a:ln w="5978" cap="flat">
                <a:noFill/>
                <a:prstDash val="solid"/>
                <a:miter/>
              </a:ln>
            </p:spPr>
            <p:txBody>
              <a:bodyPr rtlCol="0" anchor="ctr"/>
              <a:lstStyle/>
              <a:p>
                <a:endParaRPr lang="en-GB"/>
              </a:p>
            </p:txBody>
          </p:sp>
        </p:grpSp>
        <p:grpSp>
          <p:nvGrpSpPr>
            <p:cNvPr id="1311" name="Graphic 3">
              <a:extLst>
                <a:ext uri="{FF2B5EF4-FFF2-40B4-BE49-F238E27FC236}">
                  <a16:creationId xmlns:a16="http://schemas.microsoft.com/office/drawing/2014/main" id="{C4373846-0ADC-4228-BC71-A6AA92E4FE26}"/>
                </a:ext>
              </a:extLst>
            </p:cNvPr>
            <p:cNvGrpSpPr/>
            <p:nvPr/>
          </p:nvGrpSpPr>
          <p:grpSpPr>
            <a:xfrm>
              <a:off x="4160612" y="3945685"/>
              <a:ext cx="52304" cy="28316"/>
              <a:chOff x="4160612" y="3945685"/>
              <a:chExt cx="52304" cy="28316"/>
            </a:xfrm>
            <a:grpFill/>
          </p:grpSpPr>
          <p:sp>
            <p:nvSpPr>
              <p:cNvPr id="1474" name="Vrije vorm: vorm 1473">
                <a:extLst>
                  <a:ext uri="{FF2B5EF4-FFF2-40B4-BE49-F238E27FC236}">
                    <a16:creationId xmlns:a16="http://schemas.microsoft.com/office/drawing/2014/main" id="{F04B6AA3-C65F-4DAB-A2A7-54640702D21B}"/>
                  </a:ext>
                </a:extLst>
              </p:cNvPr>
              <p:cNvSpPr/>
              <p:nvPr/>
            </p:nvSpPr>
            <p:spPr>
              <a:xfrm>
                <a:off x="4168881" y="3953297"/>
                <a:ext cx="35764" cy="13097"/>
              </a:xfrm>
              <a:custGeom>
                <a:avLst/>
                <a:gdLst>
                  <a:gd name="connsiteX0" fmla="*/ 34868 w 35764"/>
                  <a:gd name="connsiteY0" fmla="*/ 0 h 13097"/>
                  <a:gd name="connsiteX1" fmla="*/ 35765 w 35764"/>
                  <a:gd name="connsiteY1" fmla="*/ 2930 h 13097"/>
                  <a:gd name="connsiteX2" fmla="*/ 897 w 35764"/>
                  <a:gd name="connsiteY2" fmla="*/ 13098 h 13097"/>
                  <a:gd name="connsiteX3" fmla="*/ 0 w 35764"/>
                  <a:gd name="connsiteY3" fmla="*/ 10107 h 13097"/>
                </a:gdLst>
                <a:ahLst/>
                <a:cxnLst>
                  <a:cxn ang="0">
                    <a:pos x="connsiteX0" y="connsiteY0"/>
                  </a:cxn>
                  <a:cxn ang="0">
                    <a:pos x="connsiteX1" y="connsiteY1"/>
                  </a:cxn>
                  <a:cxn ang="0">
                    <a:pos x="connsiteX2" y="connsiteY2"/>
                  </a:cxn>
                  <a:cxn ang="0">
                    <a:pos x="connsiteX3" y="connsiteY3"/>
                  </a:cxn>
                </a:cxnLst>
                <a:rect l="l" t="t" r="r" b="b"/>
                <a:pathLst>
                  <a:path w="35764" h="13097">
                    <a:moveTo>
                      <a:pt x="34868" y="0"/>
                    </a:moveTo>
                    <a:lnTo>
                      <a:pt x="35765" y="2930"/>
                    </a:lnTo>
                    <a:lnTo>
                      <a:pt x="897" y="13098"/>
                    </a:lnTo>
                    <a:lnTo>
                      <a:pt x="0" y="10107"/>
                    </a:lnTo>
                    <a:close/>
                  </a:path>
                </a:pathLst>
              </a:custGeom>
              <a:grpFill/>
              <a:ln w="5978" cap="flat">
                <a:noFill/>
                <a:prstDash val="solid"/>
                <a:miter/>
              </a:ln>
            </p:spPr>
            <p:txBody>
              <a:bodyPr rtlCol="0" anchor="ctr"/>
              <a:lstStyle/>
              <a:p>
                <a:endParaRPr lang="en-GB"/>
              </a:p>
            </p:txBody>
          </p:sp>
          <p:sp>
            <p:nvSpPr>
              <p:cNvPr id="1475" name="Vrije vorm: vorm 1474">
                <a:extLst>
                  <a:ext uri="{FF2B5EF4-FFF2-40B4-BE49-F238E27FC236}">
                    <a16:creationId xmlns:a16="http://schemas.microsoft.com/office/drawing/2014/main" id="{56A75A8D-3FFD-4D71-9F85-D7F432669329}"/>
                  </a:ext>
                </a:extLst>
              </p:cNvPr>
              <p:cNvSpPr/>
              <p:nvPr/>
            </p:nvSpPr>
            <p:spPr>
              <a:xfrm>
                <a:off x="4160612" y="3955558"/>
                <a:ext cx="18333" cy="18443"/>
              </a:xfrm>
              <a:custGeom>
                <a:avLst/>
                <a:gdLst>
                  <a:gd name="connsiteX0" fmla="*/ 11739 w 18333"/>
                  <a:gd name="connsiteY0" fmla="*/ 18073 h 18443"/>
                  <a:gd name="connsiteX1" fmla="*/ 375 w 18333"/>
                  <a:gd name="connsiteY1" fmla="*/ 11794 h 18443"/>
                  <a:gd name="connsiteX2" fmla="*/ 6595 w 18333"/>
                  <a:gd name="connsiteY2" fmla="*/ 370 h 18443"/>
                  <a:gd name="connsiteX3" fmla="*/ 17958 w 18333"/>
                  <a:gd name="connsiteY3" fmla="*/ 6650 h 18443"/>
                  <a:gd name="connsiteX4" fmla="*/ 11739 w 18333"/>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3">
                    <a:moveTo>
                      <a:pt x="11739" y="18073"/>
                    </a:moveTo>
                    <a:cubicBezTo>
                      <a:pt x="6894" y="19509"/>
                      <a:pt x="1811" y="16638"/>
                      <a:pt x="375" y="11794"/>
                    </a:cubicBezTo>
                    <a:cubicBezTo>
                      <a:pt x="-1060" y="6890"/>
                      <a:pt x="1751" y="1806"/>
                      <a:pt x="6595" y="370"/>
                    </a:cubicBezTo>
                    <a:cubicBezTo>
                      <a:pt x="11440" y="-1065"/>
                      <a:pt x="16523" y="1806"/>
                      <a:pt x="17958" y="6650"/>
                    </a:cubicBezTo>
                    <a:cubicBezTo>
                      <a:pt x="19394" y="11554"/>
                      <a:pt x="16583" y="16638"/>
                      <a:pt x="11739" y="18073"/>
                    </a:cubicBezTo>
                    <a:close/>
                  </a:path>
                </a:pathLst>
              </a:custGeom>
              <a:grpFill/>
              <a:ln w="5978" cap="flat">
                <a:noFill/>
                <a:prstDash val="solid"/>
                <a:miter/>
              </a:ln>
            </p:spPr>
            <p:txBody>
              <a:bodyPr rtlCol="0" anchor="ctr"/>
              <a:lstStyle/>
              <a:p>
                <a:endParaRPr lang="en-GB"/>
              </a:p>
            </p:txBody>
          </p:sp>
          <p:sp>
            <p:nvSpPr>
              <p:cNvPr id="1476" name="Vrije vorm: vorm 1475">
                <a:extLst>
                  <a:ext uri="{FF2B5EF4-FFF2-40B4-BE49-F238E27FC236}">
                    <a16:creationId xmlns:a16="http://schemas.microsoft.com/office/drawing/2014/main" id="{4C79DC66-382B-4B55-91D1-0FCD5A091512}"/>
                  </a:ext>
                </a:extLst>
              </p:cNvPr>
              <p:cNvSpPr/>
              <p:nvPr/>
            </p:nvSpPr>
            <p:spPr>
              <a:xfrm>
                <a:off x="4194582" y="3945685"/>
                <a:ext cx="18334" cy="18448"/>
              </a:xfrm>
              <a:custGeom>
                <a:avLst/>
                <a:gdLst>
                  <a:gd name="connsiteX0" fmla="*/ 11739 w 18334"/>
                  <a:gd name="connsiteY0" fmla="*/ 18078 h 18448"/>
                  <a:gd name="connsiteX1" fmla="*/ 17959 w 18334"/>
                  <a:gd name="connsiteY1" fmla="*/ 6655 h 18448"/>
                  <a:gd name="connsiteX2" fmla="*/ 6595 w 18334"/>
                  <a:gd name="connsiteY2" fmla="*/ 375 h 18448"/>
                  <a:gd name="connsiteX3" fmla="*/ 375 w 18334"/>
                  <a:gd name="connsiteY3" fmla="*/ 11798 h 18448"/>
                  <a:gd name="connsiteX4" fmla="*/ 11739 w 18334"/>
                  <a:gd name="connsiteY4" fmla="*/ 180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8">
                    <a:moveTo>
                      <a:pt x="11739" y="18078"/>
                    </a:moveTo>
                    <a:cubicBezTo>
                      <a:pt x="16583" y="16643"/>
                      <a:pt x="19394" y="11559"/>
                      <a:pt x="17959" y="6655"/>
                    </a:cubicBezTo>
                    <a:cubicBezTo>
                      <a:pt x="16523" y="1751"/>
                      <a:pt x="11440" y="-1061"/>
                      <a:pt x="6595" y="375"/>
                    </a:cubicBezTo>
                    <a:cubicBezTo>
                      <a:pt x="1751" y="1810"/>
                      <a:pt x="-1060" y="6894"/>
                      <a:pt x="375" y="11798"/>
                    </a:cubicBezTo>
                    <a:cubicBezTo>
                      <a:pt x="1811" y="16643"/>
                      <a:pt x="6894" y="19513"/>
                      <a:pt x="11739" y="18078"/>
                    </a:cubicBezTo>
                    <a:close/>
                  </a:path>
                </a:pathLst>
              </a:custGeom>
              <a:grpFill/>
              <a:ln w="5978" cap="flat">
                <a:noFill/>
                <a:prstDash val="solid"/>
                <a:miter/>
              </a:ln>
            </p:spPr>
            <p:txBody>
              <a:bodyPr rtlCol="0" anchor="ctr"/>
              <a:lstStyle/>
              <a:p>
                <a:endParaRPr lang="en-GB"/>
              </a:p>
            </p:txBody>
          </p:sp>
        </p:grpSp>
        <p:grpSp>
          <p:nvGrpSpPr>
            <p:cNvPr id="1312" name="Graphic 3">
              <a:extLst>
                <a:ext uri="{FF2B5EF4-FFF2-40B4-BE49-F238E27FC236}">
                  <a16:creationId xmlns:a16="http://schemas.microsoft.com/office/drawing/2014/main" id="{EE5686FE-0AF0-4865-B000-B175D5C4193E}"/>
                </a:ext>
              </a:extLst>
            </p:cNvPr>
            <p:cNvGrpSpPr/>
            <p:nvPr/>
          </p:nvGrpSpPr>
          <p:grpSpPr>
            <a:xfrm>
              <a:off x="4005423" y="3486675"/>
              <a:ext cx="29919" cy="18910"/>
              <a:chOff x="4005423" y="3486675"/>
              <a:chExt cx="29919" cy="18910"/>
            </a:xfrm>
            <a:grpFill/>
          </p:grpSpPr>
          <p:sp>
            <p:nvSpPr>
              <p:cNvPr id="1472" name="Vrije vorm: vorm 1471">
                <a:extLst>
                  <a:ext uri="{FF2B5EF4-FFF2-40B4-BE49-F238E27FC236}">
                    <a16:creationId xmlns:a16="http://schemas.microsoft.com/office/drawing/2014/main" id="{3866A140-6ECE-497D-A430-C71F6D05E05C}"/>
                  </a:ext>
                </a:extLst>
              </p:cNvPr>
              <p:cNvSpPr/>
              <p:nvPr/>
            </p:nvSpPr>
            <p:spPr>
              <a:xfrm>
                <a:off x="4016961" y="3486675"/>
                <a:ext cx="18381" cy="18432"/>
              </a:xfrm>
              <a:custGeom>
                <a:avLst/>
                <a:gdLst>
                  <a:gd name="connsiteX0" fmla="*/ 9579 w 18381"/>
                  <a:gd name="connsiteY0" fmla="*/ 18427 h 18432"/>
                  <a:gd name="connsiteX1" fmla="*/ 10 w 18381"/>
                  <a:gd name="connsiteY1" fmla="*/ 9575 h 18432"/>
                  <a:gd name="connsiteX2" fmla="*/ 8802 w 18381"/>
                  <a:gd name="connsiteY2" fmla="*/ 6 h 18432"/>
                  <a:gd name="connsiteX3" fmla="*/ 18371 w 18381"/>
                  <a:gd name="connsiteY3" fmla="*/ 8857 h 18432"/>
                  <a:gd name="connsiteX4" fmla="*/ 9579 w 18381"/>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32">
                    <a:moveTo>
                      <a:pt x="9579" y="18427"/>
                    </a:moveTo>
                    <a:cubicBezTo>
                      <a:pt x="4496" y="18606"/>
                      <a:pt x="249" y="14659"/>
                      <a:pt x="10" y="9575"/>
                    </a:cubicBezTo>
                    <a:cubicBezTo>
                      <a:pt x="-229" y="4491"/>
                      <a:pt x="3718" y="185"/>
                      <a:pt x="8802" y="6"/>
                    </a:cubicBezTo>
                    <a:cubicBezTo>
                      <a:pt x="13886" y="-174"/>
                      <a:pt x="18132" y="3774"/>
                      <a:pt x="18371" y="8857"/>
                    </a:cubicBezTo>
                    <a:cubicBezTo>
                      <a:pt x="18610" y="14001"/>
                      <a:pt x="14663" y="18247"/>
                      <a:pt x="9579" y="18427"/>
                    </a:cubicBezTo>
                    <a:close/>
                  </a:path>
                </a:pathLst>
              </a:custGeom>
              <a:grpFill/>
              <a:ln w="5978" cap="flat">
                <a:noFill/>
                <a:prstDash val="solid"/>
                <a:miter/>
              </a:ln>
            </p:spPr>
            <p:txBody>
              <a:bodyPr rtlCol="0" anchor="ctr"/>
              <a:lstStyle/>
              <a:p>
                <a:endParaRPr lang="en-GB"/>
              </a:p>
            </p:txBody>
          </p:sp>
          <p:sp>
            <p:nvSpPr>
              <p:cNvPr id="1473" name="Vrije vorm: vorm 1472">
                <a:extLst>
                  <a:ext uri="{FF2B5EF4-FFF2-40B4-BE49-F238E27FC236}">
                    <a16:creationId xmlns:a16="http://schemas.microsoft.com/office/drawing/2014/main" id="{876E8388-B244-4F18-BF84-FC2B2D452C31}"/>
                  </a:ext>
                </a:extLst>
              </p:cNvPr>
              <p:cNvSpPr/>
              <p:nvPr/>
            </p:nvSpPr>
            <p:spPr>
              <a:xfrm>
                <a:off x="4005423" y="3487154"/>
                <a:ext cx="18372" cy="18432"/>
              </a:xfrm>
              <a:custGeom>
                <a:avLst/>
                <a:gdLst>
                  <a:gd name="connsiteX0" fmla="*/ 9575 w 18372"/>
                  <a:gd name="connsiteY0" fmla="*/ 18426 h 18432"/>
                  <a:gd name="connsiteX1" fmla="*/ 18367 w 18372"/>
                  <a:gd name="connsiteY1" fmla="*/ 8857 h 18432"/>
                  <a:gd name="connsiteX2" fmla="*/ 8797 w 18372"/>
                  <a:gd name="connsiteY2" fmla="*/ 6 h 18432"/>
                  <a:gd name="connsiteX3" fmla="*/ 6 w 18372"/>
                  <a:gd name="connsiteY3" fmla="*/ 9575 h 18432"/>
                  <a:gd name="connsiteX4" fmla="*/ 9575 w 18372"/>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9575" y="18426"/>
                    </a:moveTo>
                    <a:cubicBezTo>
                      <a:pt x="14658" y="18247"/>
                      <a:pt x="18546" y="13941"/>
                      <a:pt x="18367" y="8857"/>
                    </a:cubicBezTo>
                    <a:cubicBezTo>
                      <a:pt x="18127" y="3774"/>
                      <a:pt x="13881" y="-174"/>
                      <a:pt x="8797" y="6"/>
                    </a:cubicBezTo>
                    <a:cubicBezTo>
                      <a:pt x="3714" y="185"/>
                      <a:pt x="-174" y="4491"/>
                      <a:pt x="6" y="9575"/>
                    </a:cubicBezTo>
                    <a:cubicBezTo>
                      <a:pt x="245" y="14659"/>
                      <a:pt x="4551" y="18606"/>
                      <a:pt x="9575" y="18426"/>
                    </a:cubicBezTo>
                    <a:close/>
                  </a:path>
                </a:pathLst>
              </a:custGeom>
              <a:grpFill/>
              <a:ln w="5978" cap="flat">
                <a:noFill/>
                <a:prstDash val="solid"/>
                <a:miter/>
              </a:ln>
            </p:spPr>
            <p:txBody>
              <a:bodyPr rtlCol="0" anchor="ctr"/>
              <a:lstStyle/>
              <a:p>
                <a:endParaRPr lang="en-GB"/>
              </a:p>
            </p:txBody>
          </p:sp>
        </p:grpSp>
        <p:grpSp>
          <p:nvGrpSpPr>
            <p:cNvPr id="1313" name="Graphic 3">
              <a:extLst>
                <a:ext uri="{FF2B5EF4-FFF2-40B4-BE49-F238E27FC236}">
                  <a16:creationId xmlns:a16="http://schemas.microsoft.com/office/drawing/2014/main" id="{0C20A418-C41F-4BEB-A00A-2A3A96D8610C}"/>
                </a:ext>
              </a:extLst>
            </p:cNvPr>
            <p:cNvGrpSpPr/>
            <p:nvPr/>
          </p:nvGrpSpPr>
          <p:grpSpPr>
            <a:xfrm>
              <a:off x="4095242" y="3842539"/>
              <a:ext cx="82070" cy="33182"/>
              <a:chOff x="4095242" y="3842539"/>
              <a:chExt cx="82070" cy="33182"/>
            </a:xfrm>
            <a:grpFill/>
          </p:grpSpPr>
          <p:sp>
            <p:nvSpPr>
              <p:cNvPr id="1469" name="Vrije vorm: vorm 1468">
                <a:extLst>
                  <a:ext uri="{FF2B5EF4-FFF2-40B4-BE49-F238E27FC236}">
                    <a16:creationId xmlns:a16="http://schemas.microsoft.com/office/drawing/2014/main" id="{F130233D-011A-4B94-AAC1-BD2D0062FABF}"/>
                  </a:ext>
                </a:extLst>
              </p:cNvPr>
              <p:cNvSpPr/>
              <p:nvPr/>
            </p:nvSpPr>
            <p:spPr>
              <a:xfrm>
                <a:off x="4103572" y="3850189"/>
                <a:ext cx="65369" cy="17882"/>
              </a:xfrm>
              <a:custGeom>
                <a:avLst/>
                <a:gdLst>
                  <a:gd name="connsiteX0" fmla="*/ 64711 w 65369"/>
                  <a:gd name="connsiteY0" fmla="*/ 0 h 17882"/>
                  <a:gd name="connsiteX1" fmla="*/ 65369 w 65369"/>
                  <a:gd name="connsiteY1" fmla="*/ 2990 h 17882"/>
                  <a:gd name="connsiteX2" fmla="*/ 718 w 65369"/>
                  <a:gd name="connsiteY2" fmla="*/ 17882 h 17882"/>
                  <a:gd name="connsiteX3" fmla="*/ 0 w 65369"/>
                  <a:gd name="connsiteY3" fmla="*/ 14892 h 17882"/>
                </a:gdLst>
                <a:ahLst/>
                <a:cxnLst>
                  <a:cxn ang="0">
                    <a:pos x="connsiteX0" y="connsiteY0"/>
                  </a:cxn>
                  <a:cxn ang="0">
                    <a:pos x="connsiteX1" y="connsiteY1"/>
                  </a:cxn>
                  <a:cxn ang="0">
                    <a:pos x="connsiteX2" y="connsiteY2"/>
                  </a:cxn>
                  <a:cxn ang="0">
                    <a:pos x="connsiteX3" y="connsiteY3"/>
                  </a:cxn>
                </a:cxnLst>
                <a:rect l="l" t="t" r="r" b="b"/>
                <a:pathLst>
                  <a:path w="65369" h="17882">
                    <a:moveTo>
                      <a:pt x="64711" y="0"/>
                    </a:moveTo>
                    <a:lnTo>
                      <a:pt x="65369" y="2990"/>
                    </a:lnTo>
                    <a:lnTo>
                      <a:pt x="718" y="17882"/>
                    </a:lnTo>
                    <a:lnTo>
                      <a:pt x="0" y="14892"/>
                    </a:lnTo>
                    <a:close/>
                  </a:path>
                </a:pathLst>
              </a:custGeom>
              <a:grpFill/>
              <a:ln w="5978" cap="flat">
                <a:noFill/>
                <a:prstDash val="solid"/>
                <a:miter/>
              </a:ln>
            </p:spPr>
            <p:txBody>
              <a:bodyPr rtlCol="0" anchor="ctr"/>
              <a:lstStyle/>
              <a:p>
                <a:endParaRPr lang="en-GB"/>
              </a:p>
            </p:txBody>
          </p:sp>
          <p:sp>
            <p:nvSpPr>
              <p:cNvPr id="1470" name="Vrije vorm: vorm 1469">
                <a:extLst>
                  <a:ext uri="{FF2B5EF4-FFF2-40B4-BE49-F238E27FC236}">
                    <a16:creationId xmlns:a16="http://schemas.microsoft.com/office/drawing/2014/main" id="{6E3A6566-0706-4163-BED4-8847A1DF7447}"/>
                  </a:ext>
                </a:extLst>
              </p:cNvPr>
              <p:cNvSpPr/>
              <p:nvPr/>
            </p:nvSpPr>
            <p:spPr>
              <a:xfrm>
                <a:off x="4159015" y="3842539"/>
                <a:ext cx="18297" cy="18470"/>
              </a:xfrm>
              <a:custGeom>
                <a:avLst/>
                <a:gdLst>
                  <a:gd name="connsiteX0" fmla="*/ 7056 w 18297"/>
                  <a:gd name="connsiteY0" fmla="*/ 234 h 18470"/>
                  <a:gd name="connsiteX1" fmla="*/ 18060 w 18297"/>
                  <a:gd name="connsiteY1" fmla="*/ 7172 h 18470"/>
                  <a:gd name="connsiteX2" fmla="*/ 11242 w 18297"/>
                  <a:gd name="connsiteY2" fmla="*/ 18236 h 18470"/>
                  <a:gd name="connsiteX3" fmla="*/ 238 w 18297"/>
                  <a:gd name="connsiteY3" fmla="*/ 11298 h 18470"/>
                  <a:gd name="connsiteX4" fmla="*/ 7056 w 18297"/>
                  <a:gd name="connsiteY4" fmla="*/ 234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70">
                    <a:moveTo>
                      <a:pt x="7056" y="234"/>
                    </a:moveTo>
                    <a:cubicBezTo>
                      <a:pt x="11960" y="-902"/>
                      <a:pt x="16924" y="2208"/>
                      <a:pt x="18060" y="7172"/>
                    </a:cubicBezTo>
                    <a:cubicBezTo>
                      <a:pt x="19196" y="12136"/>
                      <a:pt x="16146" y="17100"/>
                      <a:pt x="11242" y="18236"/>
                    </a:cubicBezTo>
                    <a:cubicBezTo>
                      <a:pt x="6338" y="19373"/>
                      <a:pt x="1374" y="16262"/>
                      <a:pt x="238" y="11298"/>
                    </a:cubicBezTo>
                    <a:cubicBezTo>
                      <a:pt x="-899" y="6335"/>
                      <a:pt x="2151" y="1371"/>
                      <a:pt x="7056" y="234"/>
                    </a:cubicBezTo>
                    <a:close/>
                  </a:path>
                </a:pathLst>
              </a:custGeom>
              <a:grpFill/>
              <a:ln w="5978" cap="flat">
                <a:noFill/>
                <a:prstDash val="solid"/>
                <a:miter/>
              </a:ln>
            </p:spPr>
            <p:txBody>
              <a:bodyPr rtlCol="0" anchor="ctr"/>
              <a:lstStyle/>
              <a:p>
                <a:endParaRPr lang="en-GB"/>
              </a:p>
            </p:txBody>
          </p:sp>
          <p:sp>
            <p:nvSpPr>
              <p:cNvPr id="1471" name="Vrije vorm: vorm 1470">
                <a:extLst>
                  <a:ext uri="{FF2B5EF4-FFF2-40B4-BE49-F238E27FC236}">
                    <a16:creationId xmlns:a16="http://schemas.microsoft.com/office/drawing/2014/main" id="{476B8A61-0CED-4C3B-81E5-21418F917989}"/>
                  </a:ext>
                </a:extLst>
              </p:cNvPr>
              <p:cNvSpPr/>
              <p:nvPr/>
            </p:nvSpPr>
            <p:spPr>
              <a:xfrm>
                <a:off x="4095242" y="3857252"/>
                <a:ext cx="18335" cy="18469"/>
              </a:xfrm>
              <a:custGeom>
                <a:avLst/>
                <a:gdLst>
                  <a:gd name="connsiteX0" fmla="*/ 7074 w 18335"/>
                  <a:gd name="connsiteY0" fmla="*/ 234 h 18469"/>
                  <a:gd name="connsiteX1" fmla="*/ 256 w 18335"/>
                  <a:gd name="connsiteY1" fmla="*/ 11298 h 18469"/>
                  <a:gd name="connsiteX2" fmla="*/ 11261 w 18335"/>
                  <a:gd name="connsiteY2" fmla="*/ 18236 h 18469"/>
                  <a:gd name="connsiteX3" fmla="*/ 18079 w 18335"/>
                  <a:gd name="connsiteY3" fmla="*/ 7172 h 18469"/>
                  <a:gd name="connsiteX4" fmla="*/ 7074 w 18335"/>
                  <a:gd name="connsiteY4" fmla="*/ 234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69">
                    <a:moveTo>
                      <a:pt x="7074" y="234"/>
                    </a:moveTo>
                    <a:cubicBezTo>
                      <a:pt x="2170" y="1371"/>
                      <a:pt x="-940" y="6334"/>
                      <a:pt x="256" y="11298"/>
                    </a:cubicBezTo>
                    <a:cubicBezTo>
                      <a:pt x="1393" y="16262"/>
                      <a:pt x="6356" y="19372"/>
                      <a:pt x="11261" y="18236"/>
                    </a:cubicBezTo>
                    <a:cubicBezTo>
                      <a:pt x="16165" y="17099"/>
                      <a:pt x="19275" y="12136"/>
                      <a:pt x="18079" y="7172"/>
                    </a:cubicBezTo>
                    <a:cubicBezTo>
                      <a:pt x="16883" y="2208"/>
                      <a:pt x="11978" y="-902"/>
                      <a:pt x="7074" y="234"/>
                    </a:cubicBezTo>
                    <a:close/>
                  </a:path>
                </a:pathLst>
              </a:custGeom>
              <a:grpFill/>
              <a:ln w="5978" cap="flat">
                <a:noFill/>
                <a:prstDash val="solid"/>
                <a:miter/>
              </a:ln>
            </p:spPr>
            <p:txBody>
              <a:bodyPr rtlCol="0" anchor="ctr"/>
              <a:lstStyle/>
              <a:p>
                <a:endParaRPr lang="en-GB"/>
              </a:p>
            </p:txBody>
          </p:sp>
        </p:grpSp>
        <p:grpSp>
          <p:nvGrpSpPr>
            <p:cNvPr id="1314" name="Graphic 3">
              <a:extLst>
                <a:ext uri="{FF2B5EF4-FFF2-40B4-BE49-F238E27FC236}">
                  <a16:creationId xmlns:a16="http://schemas.microsoft.com/office/drawing/2014/main" id="{35AC99EE-F3E6-4993-B64F-E56D3F05EFC8}"/>
                </a:ext>
              </a:extLst>
            </p:cNvPr>
            <p:cNvGrpSpPr/>
            <p:nvPr/>
          </p:nvGrpSpPr>
          <p:grpSpPr>
            <a:xfrm>
              <a:off x="3940715" y="3448402"/>
              <a:ext cx="105146" cy="20220"/>
              <a:chOff x="3940715" y="3448402"/>
              <a:chExt cx="105146" cy="20220"/>
            </a:xfrm>
            <a:grpFill/>
          </p:grpSpPr>
          <p:sp>
            <p:nvSpPr>
              <p:cNvPr id="1466" name="Vrije vorm: vorm 1465">
                <a:extLst>
                  <a:ext uri="{FF2B5EF4-FFF2-40B4-BE49-F238E27FC236}">
                    <a16:creationId xmlns:a16="http://schemas.microsoft.com/office/drawing/2014/main" id="{1C750F34-712C-4921-A6A8-AE50979E0228}"/>
                  </a:ext>
                </a:extLst>
              </p:cNvPr>
              <p:cNvSpPr/>
              <p:nvPr/>
            </p:nvSpPr>
            <p:spPr>
              <a:xfrm>
                <a:off x="3949389" y="3456120"/>
                <a:ext cx="87796" cy="4784"/>
              </a:xfrm>
              <a:custGeom>
                <a:avLst/>
                <a:gdLst>
                  <a:gd name="connsiteX0" fmla="*/ 87737 w 87796"/>
                  <a:gd name="connsiteY0" fmla="*/ 0 h 4784"/>
                  <a:gd name="connsiteX1" fmla="*/ 87797 w 87796"/>
                  <a:gd name="connsiteY1" fmla="*/ 3050 h 4784"/>
                  <a:gd name="connsiteX2" fmla="*/ 60 w 87796"/>
                  <a:gd name="connsiteY2" fmla="*/ 4785 h 4784"/>
                  <a:gd name="connsiteX3" fmla="*/ 0 w 87796"/>
                  <a:gd name="connsiteY3" fmla="*/ 1734 h 4784"/>
                </a:gdLst>
                <a:ahLst/>
                <a:cxnLst>
                  <a:cxn ang="0">
                    <a:pos x="connsiteX0" y="connsiteY0"/>
                  </a:cxn>
                  <a:cxn ang="0">
                    <a:pos x="connsiteX1" y="connsiteY1"/>
                  </a:cxn>
                  <a:cxn ang="0">
                    <a:pos x="connsiteX2" y="connsiteY2"/>
                  </a:cxn>
                  <a:cxn ang="0">
                    <a:pos x="connsiteX3" y="connsiteY3"/>
                  </a:cxn>
                </a:cxnLst>
                <a:rect l="l" t="t" r="r" b="b"/>
                <a:pathLst>
                  <a:path w="87796" h="4784">
                    <a:moveTo>
                      <a:pt x="87737" y="0"/>
                    </a:moveTo>
                    <a:lnTo>
                      <a:pt x="87797" y="3050"/>
                    </a:lnTo>
                    <a:lnTo>
                      <a:pt x="60" y="4785"/>
                    </a:lnTo>
                    <a:lnTo>
                      <a:pt x="0" y="1734"/>
                    </a:lnTo>
                    <a:close/>
                  </a:path>
                </a:pathLst>
              </a:custGeom>
              <a:grpFill/>
              <a:ln w="5978" cap="flat">
                <a:noFill/>
                <a:prstDash val="solid"/>
                <a:miter/>
              </a:ln>
            </p:spPr>
            <p:txBody>
              <a:bodyPr rtlCol="0" anchor="ctr"/>
              <a:lstStyle/>
              <a:p>
                <a:endParaRPr lang="en-GB"/>
              </a:p>
            </p:txBody>
          </p:sp>
          <p:sp>
            <p:nvSpPr>
              <p:cNvPr id="1467" name="Vrije vorm: vorm 1466">
                <a:extLst>
                  <a:ext uri="{FF2B5EF4-FFF2-40B4-BE49-F238E27FC236}">
                    <a16:creationId xmlns:a16="http://schemas.microsoft.com/office/drawing/2014/main" id="{09A87711-F834-4178-A08F-0CAAAACD7E89}"/>
                  </a:ext>
                </a:extLst>
              </p:cNvPr>
              <p:cNvSpPr/>
              <p:nvPr/>
            </p:nvSpPr>
            <p:spPr>
              <a:xfrm>
                <a:off x="3940715" y="3450196"/>
                <a:ext cx="18364" cy="18425"/>
              </a:xfrm>
              <a:custGeom>
                <a:avLst/>
                <a:gdLst>
                  <a:gd name="connsiteX0" fmla="*/ 9392 w 18364"/>
                  <a:gd name="connsiteY0" fmla="*/ 18423 h 18425"/>
                  <a:gd name="connsiteX1" fmla="*/ 3 w 18364"/>
                  <a:gd name="connsiteY1" fmla="*/ 9392 h 18425"/>
                  <a:gd name="connsiteX2" fmla="*/ 8974 w 18364"/>
                  <a:gd name="connsiteY2" fmla="*/ 3 h 18425"/>
                  <a:gd name="connsiteX3" fmla="*/ 18363 w 18364"/>
                  <a:gd name="connsiteY3" fmla="*/ 9034 h 18425"/>
                  <a:gd name="connsiteX4" fmla="*/ 9392 w 18364"/>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5">
                    <a:moveTo>
                      <a:pt x="9392" y="18423"/>
                    </a:moveTo>
                    <a:cubicBezTo>
                      <a:pt x="4309" y="18543"/>
                      <a:pt x="122" y="14476"/>
                      <a:pt x="3" y="9392"/>
                    </a:cubicBezTo>
                    <a:cubicBezTo>
                      <a:pt x="-117" y="4309"/>
                      <a:pt x="3890" y="122"/>
                      <a:pt x="8974" y="3"/>
                    </a:cubicBezTo>
                    <a:cubicBezTo>
                      <a:pt x="14057" y="-117"/>
                      <a:pt x="18244" y="3950"/>
                      <a:pt x="18363" y="9034"/>
                    </a:cubicBezTo>
                    <a:cubicBezTo>
                      <a:pt x="18423" y="14117"/>
                      <a:pt x="14416" y="18304"/>
                      <a:pt x="9392" y="18423"/>
                    </a:cubicBezTo>
                    <a:close/>
                  </a:path>
                </a:pathLst>
              </a:custGeom>
              <a:grpFill/>
              <a:ln w="5978" cap="flat">
                <a:noFill/>
                <a:prstDash val="solid"/>
                <a:miter/>
              </a:ln>
            </p:spPr>
            <p:txBody>
              <a:bodyPr rtlCol="0" anchor="ctr"/>
              <a:lstStyle/>
              <a:p>
                <a:endParaRPr lang="en-GB"/>
              </a:p>
            </p:txBody>
          </p:sp>
          <p:sp>
            <p:nvSpPr>
              <p:cNvPr id="1468" name="Vrije vorm: vorm 1467">
                <a:extLst>
                  <a:ext uri="{FF2B5EF4-FFF2-40B4-BE49-F238E27FC236}">
                    <a16:creationId xmlns:a16="http://schemas.microsoft.com/office/drawing/2014/main" id="{FF069F0C-EFAD-4103-A015-17B5CC9DD1FB}"/>
                  </a:ext>
                </a:extLst>
              </p:cNvPr>
              <p:cNvSpPr/>
              <p:nvPr/>
            </p:nvSpPr>
            <p:spPr>
              <a:xfrm>
                <a:off x="4027551" y="3448402"/>
                <a:ext cx="18309" cy="18425"/>
              </a:xfrm>
              <a:custGeom>
                <a:avLst/>
                <a:gdLst>
                  <a:gd name="connsiteX0" fmla="*/ 9336 w 18309"/>
                  <a:gd name="connsiteY0" fmla="*/ 18423 h 18425"/>
                  <a:gd name="connsiteX1" fmla="*/ 18307 w 18309"/>
                  <a:gd name="connsiteY1" fmla="*/ 9034 h 18425"/>
                  <a:gd name="connsiteX2" fmla="*/ 8917 w 18309"/>
                  <a:gd name="connsiteY2" fmla="*/ 3 h 18425"/>
                  <a:gd name="connsiteX3" fmla="*/ 6 w 18309"/>
                  <a:gd name="connsiteY3" fmla="*/ 9392 h 18425"/>
                  <a:gd name="connsiteX4" fmla="*/ 9336 w 18309"/>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5">
                    <a:moveTo>
                      <a:pt x="9336" y="18423"/>
                    </a:moveTo>
                    <a:cubicBezTo>
                      <a:pt x="14420" y="18304"/>
                      <a:pt x="18427" y="14117"/>
                      <a:pt x="18307" y="9034"/>
                    </a:cubicBezTo>
                    <a:cubicBezTo>
                      <a:pt x="18187" y="3950"/>
                      <a:pt x="14001" y="-117"/>
                      <a:pt x="8917" y="3"/>
                    </a:cubicBezTo>
                    <a:cubicBezTo>
                      <a:pt x="3834" y="122"/>
                      <a:pt x="-173" y="4309"/>
                      <a:pt x="6" y="9392"/>
                    </a:cubicBezTo>
                    <a:cubicBezTo>
                      <a:pt x="126" y="14536"/>
                      <a:pt x="4312" y="18543"/>
                      <a:pt x="9336" y="18423"/>
                    </a:cubicBezTo>
                    <a:close/>
                  </a:path>
                </a:pathLst>
              </a:custGeom>
              <a:grpFill/>
              <a:ln w="5978" cap="flat">
                <a:noFill/>
                <a:prstDash val="solid"/>
                <a:miter/>
              </a:ln>
            </p:spPr>
            <p:txBody>
              <a:bodyPr rtlCol="0" anchor="ctr"/>
              <a:lstStyle/>
              <a:p>
                <a:endParaRPr lang="en-GB"/>
              </a:p>
            </p:txBody>
          </p:sp>
        </p:grpSp>
        <p:grpSp>
          <p:nvGrpSpPr>
            <p:cNvPr id="1315" name="Graphic 3">
              <a:extLst>
                <a:ext uri="{FF2B5EF4-FFF2-40B4-BE49-F238E27FC236}">
                  <a16:creationId xmlns:a16="http://schemas.microsoft.com/office/drawing/2014/main" id="{C452F1B5-6EEF-4B4E-B917-8189676B77BF}"/>
                </a:ext>
              </a:extLst>
            </p:cNvPr>
            <p:cNvGrpSpPr/>
            <p:nvPr/>
          </p:nvGrpSpPr>
          <p:grpSpPr>
            <a:xfrm>
              <a:off x="3843268" y="3245447"/>
              <a:ext cx="153379" cy="30683"/>
              <a:chOff x="3843268" y="3245447"/>
              <a:chExt cx="153379" cy="30683"/>
            </a:xfrm>
            <a:grpFill/>
          </p:grpSpPr>
          <p:sp>
            <p:nvSpPr>
              <p:cNvPr id="1463" name="Vrije vorm: vorm 1462">
                <a:extLst>
                  <a:ext uri="{FF2B5EF4-FFF2-40B4-BE49-F238E27FC236}">
                    <a16:creationId xmlns:a16="http://schemas.microsoft.com/office/drawing/2014/main" id="{3C36FC84-4180-41B8-9030-C5FFCFED4A3D}"/>
                  </a:ext>
                </a:extLst>
              </p:cNvPr>
              <p:cNvSpPr/>
              <p:nvPr/>
            </p:nvSpPr>
            <p:spPr>
              <a:xfrm>
                <a:off x="3851844" y="3253134"/>
                <a:ext cx="133609" cy="12858"/>
              </a:xfrm>
              <a:custGeom>
                <a:avLst/>
                <a:gdLst>
                  <a:gd name="connsiteX0" fmla="*/ 133609 w 133609"/>
                  <a:gd name="connsiteY0" fmla="*/ 9808 h 12858"/>
                  <a:gd name="connsiteX1" fmla="*/ 133370 w 133609"/>
                  <a:gd name="connsiteY1" fmla="*/ 12859 h 12858"/>
                  <a:gd name="connsiteX2" fmla="*/ 0 w 133609"/>
                  <a:gd name="connsiteY2" fmla="*/ 3050 h 12858"/>
                  <a:gd name="connsiteX3" fmla="*/ 239 w 133609"/>
                  <a:gd name="connsiteY3" fmla="*/ 0 h 12858"/>
                </a:gdLst>
                <a:ahLst/>
                <a:cxnLst>
                  <a:cxn ang="0">
                    <a:pos x="connsiteX0" y="connsiteY0"/>
                  </a:cxn>
                  <a:cxn ang="0">
                    <a:pos x="connsiteX1" y="connsiteY1"/>
                  </a:cxn>
                  <a:cxn ang="0">
                    <a:pos x="connsiteX2" y="connsiteY2"/>
                  </a:cxn>
                  <a:cxn ang="0">
                    <a:pos x="connsiteX3" y="connsiteY3"/>
                  </a:cxn>
                </a:cxnLst>
                <a:rect l="l" t="t" r="r" b="b"/>
                <a:pathLst>
                  <a:path w="133609" h="12858">
                    <a:moveTo>
                      <a:pt x="133609" y="9808"/>
                    </a:moveTo>
                    <a:lnTo>
                      <a:pt x="133370" y="12859"/>
                    </a:lnTo>
                    <a:lnTo>
                      <a:pt x="0" y="3050"/>
                    </a:lnTo>
                    <a:lnTo>
                      <a:pt x="239" y="0"/>
                    </a:lnTo>
                    <a:close/>
                  </a:path>
                </a:pathLst>
              </a:custGeom>
              <a:grpFill/>
              <a:ln w="5978" cap="flat">
                <a:noFill/>
                <a:prstDash val="solid"/>
                <a:miter/>
              </a:ln>
            </p:spPr>
            <p:txBody>
              <a:bodyPr rtlCol="0" anchor="ctr"/>
              <a:lstStyle/>
              <a:p>
                <a:endParaRPr lang="en-GB"/>
              </a:p>
            </p:txBody>
          </p:sp>
          <p:sp>
            <p:nvSpPr>
              <p:cNvPr id="1464" name="Vrije vorm: vorm 1463">
                <a:extLst>
                  <a:ext uri="{FF2B5EF4-FFF2-40B4-BE49-F238E27FC236}">
                    <a16:creationId xmlns:a16="http://schemas.microsoft.com/office/drawing/2014/main" id="{2F2FD6B3-F1F0-4FDE-90EE-5E0247462CDC}"/>
                  </a:ext>
                </a:extLst>
              </p:cNvPr>
              <p:cNvSpPr/>
              <p:nvPr/>
            </p:nvSpPr>
            <p:spPr>
              <a:xfrm>
                <a:off x="3843268" y="3245447"/>
                <a:ext cx="18288" cy="18423"/>
              </a:xfrm>
              <a:custGeom>
                <a:avLst/>
                <a:gdLst>
                  <a:gd name="connsiteX0" fmla="*/ 8516 w 18288"/>
                  <a:gd name="connsiteY0" fmla="*/ 18392 h 18423"/>
                  <a:gd name="connsiteX1" fmla="*/ 23 w 18288"/>
                  <a:gd name="connsiteY1" fmla="*/ 8524 h 18423"/>
                  <a:gd name="connsiteX2" fmla="*/ 9772 w 18288"/>
                  <a:gd name="connsiteY2" fmla="*/ 31 h 18423"/>
                  <a:gd name="connsiteX3" fmla="*/ 18265 w 18288"/>
                  <a:gd name="connsiteY3" fmla="*/ 9899 h 18423"/>
                  <a:gd name="connsiteX4" fmla="*/ 8516 w 18288"/>
                  <a:gd name="connsiteY4" fmla="*/ 183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3">
                    <a:moveTo>
                      <a:pt x="8516" y="18392"/>
                    </a:moveTo>
                    <a:cubicBezTo>
                      <a:pt x="3492" y="18033"/>
                      <a:pt x="-336" y="13608"/>
                      <a:pt x="23" y="8524"/>
                    </a:cubicBezTo>
                    <a:cubicBezTo>
                      <a:pt x="382" y="3440"/>
                      <a:pt x="4748" y="-387"/>
                      <a:pt x="9772" y="31"/>
                    </a:cubicBezTo>
                    <a:cubicBezTo>
                      <a:pt x="14796" y="390"/>
                      <a:pt x="18624" y="4816"/>
                      <a:pt x="18265" y="9899"/>
                    </a:cubicBezTo>
                    <a:cubicBezTo>
                      <a:pt x="17965" y="14983"/>
                      <a:pt x="13540" y="18811"/>
                      <a:pt x="8516" y="18392"/>
                    </a:cubicBezTo>
                    <a:close/>
                  </a:path>
                </a:pathLst>
              </a:custGeom>
              <a:grpFill/>
              <a:ln w="5978" cap="flat">
                <a:noFill/>
                <a:prstDash val="solid"/>
                <a:miter/>
              </a:ln>
            </p:spPr>
            <p:txBody>
              <a:bodyPr rtlCol="0" anchor="ctr"/>
              <a:lstStyle/>
              <a:p>
                <a:endParaRPr lang="en-GB"/>
              </a:p>
            </p:txBody>
          </p:sp>
          <p:sp>
            <p:nvSpPr>
              <p:cNvPr id="1465" name="Vrije vorm: vorm 1464">
                <a:extLst>
                  <a:ext uri="{FF2B5EF4-FFF2-40B4-BE49-F238E27FC236}">
                    <a16:creationId xmlns:a16="http://schemas.microsoft.com/office/drawing/2014/main" id="{7A957181-BE76-4E20-BB77-3336C02E7978}"/>
                  </a:ext>
                </a:extLst>
              </p:cNvPr>
              <p:cNvSpPr/>
              <p:nvPr/>
            </p:nvSpPr>
            <p:spPr>
              <a:xfrm>
                <a:off x="3973422" y="3252830"/>
                <a:ext cx="23225" cy="23300"/>
              </a:xfrm>
              <a:custGeom>
                <a:avLst/>
                <a:gdLst>
                  <a:gd name="connsiteX0" fmla="*/ 20285 w 23225"/>
                  <a:gd name="connsiteY0" fmla="*/ 8729 h 23300"/>
                  <a:gd name="connsiteX1" fmla="*/ 14553 w 23225"/>
                  <a:gd name="connsiteY1" fmla="*/ 20379 h 23300"/>
                  <a:gd name="connsiteX2" fmla="*/ 2940 w 23225"/>
                  <a:gd name="connsiteY2" fmla="*/ 14572 h 23300"/>
                  <a:gd name="connsiteX3" fmla="*/ 8672 w 23225"/>
                  <a:gd name="connsiteY3" fmla="*/ 2922 h 23300"/>
                  <a:gd name="connsiteX4" fmla="*/ 20285 w 23225"/>
                  <a:gd name="connsiteY4" fmla="*/ 8729 h 2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25" h="23300">
                    <a:moveTo>
                      <a:pt x="20285" y="8729"/>
                    </a:moveTo>
                    <a:cubicBezTo>
                      <a:pt x="21909" y="13549"/>
                      <a:pt x="19343" y="18765"/>
                      <a:pt x="14553" y="20379"/>
                    </a:cubicBezTo>
                    <a:cubicBezTo>
                      <a:pt x="9764" y="21993"/>
                      <a:pt x="4565" y="19393"/>
                      <a:pt x="2940" y="14572"/>
                    </a:cubicBezTo>
                    <a:cubicBezTo>
                      <a:pt x="1316" y="9752"/>
                      <a:pt x="3882" y="4535"/>
                      <a:pt x="8672" y="2922"/>
                    </a:cubicBezTo>
                    <a:cubicBezTo>
                      <a:pt x="13461" y="1308"/>
                      <a:pt x="18660" y="3908"/>
                      <a:pt x="20285" y="8729"/>
                    </a:cubicBezTo>
                    <a:close/>
                  </a:path>
                </a:pathLst>
              </a:custGeom>
              <a:grpFill/>
              <a:ln w="5978" cap="flat">
                <a:noFill/>
                <a:prstDash val="solid"/>
                <a:miter/>
              </a:ln>
            </p:spPr>
            <p:txBody>
              <a:bodyPr rtlCol="0" anchor="ctr"/>
              <a:lstStyle/>
              <a:p>
                <a:endParaRPr lang="en-GB"/>
              </a:p>
            </p:txBody>
          </p:sp>
        </p:grpSp>
        <p:grpSp>
          <p:nvGrpSpPr>
            <p:cNvPr id="1316" name="Graphic 3">
              <a:extLst>
                <a:ext uri="{FF2B5EF4-FFF2-40B4-BE49-F238E27FC236}">
                  <a16:creationId xmlns:a16="http://schemas.microsoft.com/office/drawing/2014/main" id="{1E753BA2-A2E4-44C3-A82F-7B3B27107E58}"/>
                </a:ext>
              </a:extLst>
            </p:cNvPr>
            <p:cNvGrpSpPr/>
            <p:nvPr/>
          </p:nvGrpSpPr>
          <p:grpSpPr>
            <a:xfrm>
              <a:off x="3722748" y="3541022"/>
              <a:ext cx="601066" cy="62964"/>
              <a:chOff x="3722748" y="3541022"/>
              <a:chExt cx="601066" cy="62964"/>
            </a:xfrm>
            <a:grpFill/>
          </p:grpSpPr>
          <p:sp>
            <p:nvSpPr>
              <p:cNvPr id="1460" name="Vrije vorm: vorm 1459">
                <a:extLst>
                  <a:ext uri="{FF2B5EF4-FFF2-40B4-BE49-F238E27FC236}">
                    <a16:creationId xmlns:a16="http://schemas.microsoft.com/office/drawing/2014/main" id="{26E0A25E-46D8-424B-BB3E-9F5CC24A9498}"/>
                  </a:ext>
                </a:extLst>
              </p:cNvPr>
              <p:cNvSpPr/>
              <p:nvPr/>
            </p:nvSpPr>
            <p:spPr>
              <a:xfrm>
                <a:off x="3731332" y="3548641"/>
                <a:ext cx="583957" cy="47726"/>
              </a:xfrm>
              <a:custGeom>
                <a:avLst/>
                <a:gdLst>
                  <a:gd name="connsiteX0" fmla="*/ 583659 w 583957"/>
                  <a:gd name="connsiteY0" fmla="*/ 0 h 47726"/>
                  <a:gd name="connsiteX1" fmla="*/ 583958 w 583957"/>
                  <a:gd name="connsiteY1" fmla="*/ 3050 h 47726"/>
                  <a:gd name="connsiteX2" fmla="*/ 239 w 583957"/>
                  <a:gd name="connsiteY2" fmla="*/ 47726 h 47726"/>
                  <a:gd name="connsiteX3" fmla="*/ 0 w 583957"/>
                  <a:gd name="connsiteY3" fmla="*/ 44676 h 47726"/>
                </a:gdLst>
                <a:ahLst/>
                <a:cxnLst>
                  <a:cxn ang="0">
                    <a:pos x="connsiteX0" y="connsiteY0"/>
                  </a:cxn>
                  <a:cxn ang="0">
                    <a:pos x="connsiteX1" y="connsiteY1"/>
                  </a:cxn>
                  <a:cxn ang="0">
                    <a:pos x="connsiteX2" y="connsiteY2"/>
                  </a:cxn>
                  <a:cxn ang="0">
                    <a:pos x="connsiteX3" y="connsiteY3"/>
                  </a:cxn>
                </a:cxnLst>
                <a:rect l="l" t="t" r="r" b="b"/>
                <a:pathLst>
                  <a:path w="583957" h="47726">
                    <a:moveTo>
                      <a:pt x="583659" y="0"/>
                    </a:moveTo>
                    <a:lnTo>
                      <a:pt x="583958" y="3050"/>
                    </a:lnTo>
                    <a:lnTo>
                      <a:pt x="239" y="47726"/>
                    </a:lnTo>
                    <a:lnTo>
                      <a:pt x="0" y="44676"/>
                    </a:lnTo>
                    <a:close/>
                  </a:path>
                </a:pathLst>
              </a:custGeom>
              <a:grpFill/>
              <a:ln w="5978" cap="flat">
                <a:noFill/>
                <a:prstDash val="solid"/>
                <a:miter/>
              </a:ln>
            </p:spPr>
            <p:txBody>
              <a:bodyPr rtlCol="0" anchor="ctr"/>
              <a:lstStyle/>
              <a:p>
                <a:endParaRPr lang="en-GB"/>
              </a:p>
            </p:txBody>
          </p:sp>
          <p:sp>
            <p:nvSpPr>
              <p:cNvPr id="1461" name="Vrije vorm: vorm 1460">
                <a:extLst>
                  <a:ext uri="{FF2B5EF4-FFF2-40B4-BE49-F238E27FC236}">
                    <a16:creationId xmlns:a16="http://schemas.microsoft.com/office/drawing/2014/main" id="{08D90C8D-3093-4564-AC2F-24ABCEB30AD9}"/>
                  </a:ext>
                </a:extLst>
              </p:cNvPr>
              <p:cNvSpPr/>
              <p:nvPr/>
            </p:nvSpPr>
            <p:spPr>
              <a:xfrm>
                <a:off x="3722748" y="3585579"/>
                <a:ext cx="18304" cy="18408"/>
              </a:xfrm>
              <a:custGeom>
                <a:avLst/>
                <a:gdLst>
                  <a:gd name="connsiteX0" fmla="*/ 9900 w 18304"/>
                  <a:gd name="connsiteY0" fmla="*/ 18384 h 18408"/>
                  <a:gd name="connsiteX1" fmla="*/ 32 w 18304"/>
                  <a:gd name="connsiteY1" fmla="*/ 9892 h 18408"/>
                  <a:gd name="connsiteX2" fmla="*/ 8405 w 18304"/>
                  <a:gd name="connsiteY2" fmla="*/ 24 h 18408"/>
                  <a:gd name="connsiteX3" fmla="*/ 18273 w 18304"/>
                  <a:gd name="connsiteY3" fmla="*/ 8516 h 18408"/>
                  <a:gd name="connsiteX4" fmla="*/ 9900 w 18304"/>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08">
                    <a:moveTo>
                      <a:pt x="9900" y="18384"/>
                    </a:moveTo>
                    <a:cubicBezTo>
                      <a:pt x="4876" y="18743"/>
                      <a:pt x="450" y="14975"/>
                      <a:pt x="32" y="9892"/>
                    </a:cubicBezTo>
                    <a:cubicBezTo>
                      <a:pt x="-387" y="4808"/>
                      <a:pt x="3381" y="382"/>
                      <a:pt x="8405" y="24"/>
                    </a:cubicBezTo>
                    <a:cubicBezTo>
                      <a:pt x="13429" y="-335"/>
                      <a:pt x="17854" y="3433"/>
                      <a:pt x="18273" y="8516"/>
                    </a:cubicBezTo>
                    <a:cubicBezTo>
                      <a:pt x="18692" y="13600"/>
                      <a:pt x="14924" y="18026"/>
                      <a:pt x="9900" y="18384"/>
                    </a:cubicBezTo>
                    <a:close/>
                  </a:path>
                </a:pathLst>
              </a:custGeom>
              <a:grpFill/>
              <a:ln w="5978" cap="flat">
                <a:noFill/>
                <a:prstDash val="solid"/>
                <a:miter/>
              </a:ln>
            </p:spPr>
            <p:txBody>
              <a:bodyPr rtlCol="0" anchor="ctr"/>
              <a:lstStyle/>
              <a:p>
                <a:endParaRPr lang="en-GB"/>
              </a:p>
            </p:txBody>
          </p:sp>
          <p:sp>
            <p:nvSpPr>
              <p:cNvPr id="1462" name="Vrije vorm: vorm 1461">
                <a:extLst>
                  <a:ext uri="{FF2B5EF4-FFF2-40B4-BE49-F238E27FC236}">
                    <a16:creationId xmlns:a16="http://schemas.microsoft.com/office/drawing/2014/main" id="{D950EAFD-09F0-4F9A-A91C-E01FAC83E552}"/>
                  </a:ext>
                </a:extLst>
              </p:cNvPr>
              <p:cNvSpPr/>
              <p:nvPr/>
            </p:nvSpPr>
            <p:spPr>
              <a:xfrm>
                <a:off x="4305509" y="3541022"/>
                <a:ext cx="18304" cy="18408"/>
              </a:xfrm>
              <a:custGeom>
                <a:avLst/>
                <a:gdLst>
                  <a:gd name="connsiteX0" fmla="*/ 9900 w 18304"/>
                  <a:gd name="connsiteY0" fmla="*/ 18384 h 18408"/>
                  <a:gd name="connsiteX1" fmla="*/ 18273 w 18304"/>
                  <a:gd name="connsiteY1" fmla="*/ 8516 h 18408"/>
                  <a:gd name="connsiteX2" fmla="*/ 8405 w 18304"/>
                  <a:gd name="connsiteY2" fmla="*/ 24 h 18408"/>
                  <a:gd name="connsiteX3" fmla="*/ 32 w 18304"/>
                  <a:gd name="connsiteY3" fmla="*/ 9892 h 18408"/>
                  <a:gd name="connsiteX4" fmla="*/ 9900 w 18304"/>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08">
                    <a:moveTo>
                      <a:pt x="9900" y="18384"/>
                    </a:moveTo>
                    <a:cubicBezTo>
                      <a:pt x="14924" y="18026"/>
                      <a:pt x="18692" y="13600"/>
                      <a:pt x="18273" y="8516"/>
                    </a:cubicBezTo>
                    <a:cubicBezTo>
                      <a:pt x="17854" y="3433"/>
                      <a:pt x="13429" y="-335"/>
                      <a:pt x="8405" y="24"/>
                    </a:cubicBezTo>
                    <a:cubicBezTo>
                      <a:pt x="3381" y="382"/>
                      <a:pt x="-387" y="4808"/>
                      <a:pt x="32" y="9892"/>
                    </a:cubicBezTo>
                    <a:cubicBezTo>
                      <a:pt x="450" y="14975"/>
                      <a:pt x="4876" y="18743"/>
                      <a:pt x="9900" y="18384"/>
                    </a:cubicBezTo>
                    <a:close/>
                  </a:path>
                </a:pathLst>
              </a:custGeom>
              <a:grpFill/>
              <a:ln w="5978" cap="flat">
                <a:noFill/>
                <a:prstDash val="solid"/>
                <a:miter/>
              </a:ln>
            </p:spPr>
            <p:txBody>
              <a:bodyPr rtlCol="0" anchor="ctr"/>
              <a:lstStyle/>
              <a:p>
                <a:endParaRPr lang="en-GB"/>
              </a:p>
            </p:txBody>
          </p:sp>
        </p:grpSp>
        <p:grpSp>
          <p:nvGrpSpPr>
            <p:cNvPr id="1317" name="Graphic 3">
              <a:extLst>
                <a:ext uri="{FF2B5EF4-FFF2-40B4-BE49-F238E27FC236}">
                  <a16:creationId xmlns:a16="http://schemas.microsoft.com/office/drawing/2014/main" id="{012069B6-7AE0-4403-9916-0AA7173E2F7B}"/>
                </a:ext>
              </a:extLst>
            </p:cNvPr>
            <p:cNvGrpSpPr/>
            <p:nvPr/>
          </p:nvGrpSpPr>
          <p:grpSpPr>
            <a:xfrm>
              <a:off x="4013373" y="4302338"/>
              <a:ext cx="636308" cy="357847"/>
              <a:chOff x="4013373" y="4302338"/>
              <a:chExt cx="636308" cy="357847"/>
            </a:xfrm>
            <a:grpFill/>
          </p:grpSpPr>
          <p:sp>
            <p:nvSpPr>
              <p:cNvPr id="1457" name="Vrije vorm: vorm 1456">
                <a:extLst>
                  <a:ext uri="{FF2B5EF4-FFF2-40B4-BE49-F238E27FC236}">
                    <a16:creationId xmlns:a16="http://schemas.microsoft.com/office/drawing/2014/main" id="{F60F5101-FF6A-420D-9832-29B52BD02D28}"/>
                  </a:ext>
                </a:extLst>
              </p:cNvPr>
              <p:cNvSpPr/>
              <p:nvPr/>
            </p:nvSpPr>
            <p:spPr>
              <a:xfrm>
                <a:off x="4021397" y="4309987"/>
                <a:ext cx="620260" cy="342575"/>
              </a:xfrm>
              <a:custGeom>
                <a:avLst/>
                <a:gdLst>
                  <a:gd name="connsiteX0" fmla="*/ 620261 w 620260"/>
                  <a:gd name="connsiteY0" fmla="*/ 2691 h 342575"/>
                  <a:gd name="connsiteX1" fmla="*/ 1435 w 620260"/>
                  <a:gd name="connsiteY1" fmla="*/ 342576 h 342575"/>
                  <a:gd name="connsiteX2" fmla="*/ 0 w 620260"/>
                  <a:gd name="connsiteY2" fmla="*/ 339885 h 342575"/>
                  <a:gd name="connsiteX3" fmla="*/ 618825 w 620260"/>
                  <a:gd name="connsiteY3" fmla="*/ 0 h 342575"/>
                </a:gdLst>
                <a:ahLst/>
                <a:cxnLst>
                  <a:cxn ang="0">
                    <a:pos x="connsiteX0" y="connsiteY0"/>
                  </a:cxn>
                  <a:cxn ang="0">
                    <a:pos x="connsiteX1" y="connsiteY1"/>
                  </a:cxn>
                  <a:cxn ang="0">
                    <a:pos x="connsiteX2" y="connsiteY2"/>
                  </a:cxn>
                  <a:cxn ang="0">
                    <a:pos x="connsiteX3" y="connsiteY3"/>
                  </a:cxn>
                </a:cxnLst>
                <a:rect l="l" t="t" r="r" b="b"/>
                <a:pathLst>
                  <a:path w="620260" h="342575">
                    <a:moveTo>
                      <a:pt x="620261" y="2691"/>
                    </a:moveTo>
                    <a:lnTo>
                      <a:pt x="1435" y="342576"/>
                    </a:lnTo>
                    <a:lnTo>
                      <a:pt x="0" y="339885"/>
                    </a:lnTo>
                    <a:lnTo>
                      <a:pt x="618825" y="0"/>
                    </a:lnTo>
                    <a:close/>
                  </a:path>
                </a:pathLst>
              </a:custGeom>
              <a:grpFill/>
              <a:ln w="5978" cap="flat">
                <a:noFill/>
                <a:prstDash val="solid"/>
                <a:miter/>
              </a:ln>
            </p:spPr>
            <p:txBody>
              <a:bodyPr rtlCol="0" anchor="ctr"/>
              <a:lstStyle/>
              <a:p>
                <a:endParaRPr lang="en-GB"/>
              </a:p>
            </p:txBody>
          </p:sp>
          <p:sp>
            <p:nvSpPr>
              <p:cNvPr id="1458" name="Vrije vorm: vorm 1457">
                <a:extLst>
                  <a:ext uri="{FF2B5EF4-FFF2-40B4-BE49-F238E27FC236}">
                    <a16:creationId xmlns:a16="http://schemas.microsoft.com/office/drawing/2014/main" id="{31113E1F-03A4-4DE3-AAEE-78BE59B5C0B7}"/>
                  </a:ext>
                </a:extLst>
              </p:cNvPr>
              <p:cNvSpPr/>
              <p:nvPr/>
            </p:nvSpPr>
            <p:spPr>
              <a:xfrm>
                <a:off x="4631361" y="4302338"/>
                <a:ext cx="18320" cy="18467"/>
              </a:xfrm>
              <a:custGeom>
                <a:avLst/>
                <a:gdLst>
                  <a:gd name="connsiteX0" fmla="*/ 4734 w 18320"/>
                  <a:gd name="connsiteY0" fmla="*/ 1130 h 18467"/>
                  <a:gd name="connsiteX1" fmla="*/ 17174 w 18320"/>
                  <a:gd name="connsiteY1" fmla="*/ 4838 h 18467"/>
                  <a:gd name="connsiteX2" fmla="*/ 13586 w 18320"/>
                  <a:gd name="connsiteY2" fmla="*/ 17338 h 18467"/>
                  <a:gd name="connsiteX3" fmla="*/ 1146 w 18320"/>
                  <a:gd name="connsiteY3" fmla="*/ 13630 h 18467"/>
                  <a:gd name="connsiteX4" fmla="*/ 4734 w 18320"/>
                  <a:gd name="connsiteY4" fmla="*/ 11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67">
                    <a:moveTo>
                      <a:pt x="4734" y="1130"/>
                    </a:moveTo>
                    <a:cubicBezTo>
                      <a:pt x="9160" y="-1322"/>
                      <a:pt x="14722" y="353"/>
                      <a:pt x="17174" y="4838"/>
                    </a:cubicBezTo>
                    <a:cubicBezTo>
                      <a:pt x="19626" y="9324"/>
                      <a:pt x="18012" y="14886"/>
                      <a:pt x="13586" y="17338"/>
                    </a:cubicBezTo>
                    <a:cubicBezTo>
                      <a:pt x="9160" y="19790"/>
                      <a:pt x="3598" y="18115"/>
                      <a:pt x="1146" y="13630"/>
                    </a:cubicBezTo>
                    <a:cubicBezTo>
                      <a:pt x="-1306" y="9144"/>
                      <a:pt x="308" y="3522"/>
                      <a:pt x="4734" y="1130"/>
                    </a:cubicBezTo>
                    <a:close/>
                  </a:path>
                </a:pathLst>
              </a:custGeom>
              <a:grpFill/>
              <a:ln w="5978" cap="flat">
                <a:noFill/>
                <a:prstDash val="solid"/>
                <a:miter/>
              </a:ln>
            </p:spPr>
            <p:txBody>
              <a:bodyPr rtlCol="0" anchor="ctr"/>
              <a:lstStyle/>
              <a:p>
                <a:endParaRPr lang="en-GB"/>
              </a:p>
            </p:txBody>
          </p:sp>
          <p:sp>
            <p:nvSpPr>
              <p:cNvPr id="1459" name="Vrije vorm: vorm 1458">
                <a:extLst>
                  <a:ext uri="{FF2B5EF4-FFF2-40B4-BE49-F238E27FC236}">
                    <a16:creationId xmlns:a16="http://schemas.microsoft.com/office/drawing/2014/main" id="{A2BFFC9E-CEEB-499C-A22E-B4A42ABBDC47}"/>
                  </a:ext>
                </a:extLst>
              </p:cNvPr>
              <p:cNvSpPr/>
              <p:nvPr/>
            </p:nvSpPr>
            <p:spPr>
              <a:xfrm>
                <a:off x="4013373" y="4641771"/>
                <a:ext cx="18320" cy="18414"/>
              </a:xfrm>
              <a:custGeom>
                <a:avLst/>
                <a:gdLst>
                  <a:gd name="connsiteX0" fmla="*/ 4734 w 18320"/>
                  <a:gd name="connsiteY0" fmla="*/ 1103 h 18414"/>
                  <a:gd name="connsiteX1" fmla="*/ 1146 w 18320"/>
                  <a:gd name="connsiteY1" fmla="*/ 13603 h 18414"/>
                  <a:gd name="connsiteX2" fmla="*/ 13586 w 18320"/>
                  <a:gd name="connsiteY2" fmla="*/ 17311 h 18414"/>
                  <a:gd name="connsiteX3" fmla="*/ 17174 w 18320"/>
                  <a:gd name="connsiteY3" fmla="*/ 4812 h 18414"/>
                  <a:gd name="connsiteX4" fmla="*/ 4734 w 18320"/>
                  <a:gd name="connsiteY4" fmla="*/ 11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4">
                    <a:moveTo>
                      <a:pt x="4734" y="1103"/>
                    </a:moveTo>
                    <a:cubicBezTo>
                      <a:pt x="309" y="3556"/>
                      <a:pt x="-1306" y="9118"/>
                      <a:pt x="1146" y="13603"/>
                    </a:cubicBezTo>
                    <a:cubicBezTo>
                      <a:pt x="3598" y="18089"/>
                      <a:pt x="9160" y="19704"/>
                      <a:pt x="13586" y="17311"/>
                    </a:cubicBezTo>
                    <a:cubicBezTo>
                      <a:pt x="18011" y="14859"/>
                      <a:pt x="19626" y="9297"/>
                      <a:pt x="17174" y="4812"/>
                    </a:cubicBezTo>
                    <a:cubicBezTo>
                      <a:pt x="14722" y="326"/>
                      <a:pt x="9160" y="-1289"/>
                      <a:pt x="4734" y="1103"/>
                    </a:cubicBezTo>
                    <a:close/>
                  </a:path>
                </a:pathLst>
              </a:custGeom>
              <a:grpFill/>
              <a:ln w="5978" cap="flat">
                <a:noFill/>
                <a:prstDash val="solid"/>
                <a:miter/>
              </a:ln>
            </p:spPr>
            <p:txBody>
              <a:bodyPr rtlCol="0" anchor="ctr"/>
              <a:lstStyle/>
              <a:p>
                <a:endParaRPr lang="en-GB"/>
              </a:p>
            </p:txBody>
          </p:sp>
        </p:grpSp>
        <p:grpSp>
          <p:nvGrpSpPr>
            <p:cNvPr id="1318" name="Graphic 3">
              <a:extLst>
                <a:ext uri="{FF2B5EF4-FFF2-40B4-BE49-F238E27FC236}">
                  <a16:creationId xmlns:a16="http://schemas.microsoft.com/office/drawing/2014/main" id="{C55BADDB-9643-436E-BBDB-8B2402BE478A}"/>
                </a:ext>
              </a:extLst>
            </p:cNvPr>
            <p:cNvGrpSpPr/>
            <p:nvPr/>
          </p:nvGrpSpPr>
          <p:grpSpPr>
            <a:xfrm>
              <a:off x="3972640" y="4167154"/>
              <a:ext cx="596905" cy="265322"/>
              <a:chOff x="3972640" y="4167154"/>
              <a:chExt cx="596905" cy="265322"/>
            </a:xfrm>
            <a:grpFill/>
          </p:grpSpPr>
          <p:sp>
            <p:nvSpPr>
              <p:cNvPr id="1454" name="Vrije vorm: vorm 1453">
                <a:extLst>
                  <a:ext uri="{FF2B5EF4-FFF2-40B4-BE49-F238E27FC236}">
                    <a16:creationId xmlns:a16="http://schemas.microsoft.com/office/drawing/2014/main" id="{8C55C603-30A5-4093-BC4F-5FD07D521E46}"/>
                  </a:ext>
                </a:extLst>
              </p:cNvPr>
              <p:cNvSpPr/>
              <p:nvPr/>
            </p:nvSpPr>
            <p:spPr>
              <a:xfrm>
                <a:off x="3981008" y="4174703"/>
                <a:ext cx="580679" cy="250084"/>
              </a:xfrm>
              <a:custGeom>
                <a:avLst/>
                <a:gdLst>
                  <a:gd name="connsiteX0" fmla="*/ 0 w 580679"/>
                  <a:gd name="connsiteY0" fmla="*/ 247278 h 250084"/>
                  <a:gd name="connsiteX1" fmla="*/ 579483 w 580679"/>
                  <a:gd name="connsiteY1" fmla="*/ 0 h 250084"/>
                  <a:gd name="connsiteX2" fmla="*/ 580680 w 580679"/>
                  <a:gd name="connsiteY2" fmla="*/ 2805 h 250084"/>
                  <a:gd name="connsiteX3" fmla="*/ 1197 w 580679"/>
                  <a:gd name="connsiteY3" fmla="*/ 250084 h 250084"/>
                </a:gdLst>
                <a:ahLst/>
                <a:cxnLst>
                  <a:cxn ang="0">
                    <a:pos x="connsiteX0" y="connsiteY0"/>
                  </a:cxn>
                  <a:cxn ang="0">
                    <a:pos x="connsiteX1" y="connsiteY1"/>
                  </a:cxn>
                  <a:cxn ang="0">
                    <a:pos x="connsiteX2" y="connsiteY2"/>
                  </a:cxn>
                  <a:cxn ang="0">
                    <a:pos x="connsiteX3" y="connsiteY3"/>
                  </a:cxn>
                </a:cxnLst>
                <a:rect l="l" t="t" r="r" b="b"/>
                <a:pathLst>
                  <a:path w="580679" h="250084">
                    <a:moveTo>
                      <a:pt x="0" y="247278"/>
                    </a:moveTo>
                    <a:lnTo>
                      <a:pt x="579483" y="0"/>
                    </a:lnTo>
                    <a:lnTo>
                      <a:pt x="580680" y="2805"/>
                    </a:lnTo>
                    <a:lnTo>
                      <a:pt x="1197" y="250084"/>
                    </a:lnTo>
                    <a:close/>
                  </a:path>
                </a:pathLst>
              </a:custGeom>
              <a:grpFill/>
              <a:ln w="5978" cap="flat">
                <a:noFill/>
                <a:prstDash val="solid"/>
                <a:miter/>
              </a:ln>
            </p:spPr>
            <p:txBody>
              <a:bodyPr rtlCol="0" anchor="ctr"/>
              <a:lstStyle/>
              <a:p>
                <a:endParaRPr lang="en-GB"/>
              </a:p>
            </p:txBody>
          </p:sp>
          <p:sp>
            <p:nvSpPr>
              <p:cNvPr id="1455" name="Vrije vorm: vorm 1454">
                <a:extLst>
                  <a:ext uri="{FF2B5EF4-FFF2-40B4-BE49-F238E27FC236}">
                    <a16:creationId xmlns:a16="http://schemas.microsoft.com/office/drawing/2014/main" id="{EBDFD1F9-134B-4E6E-94D3-C678FC83F2F0}"/>
                  </a:ext>
                </a:extLst>
              </p:cNvPr>
              <p:cNvSpPr/>
              <p:nvPr/>
            </p:nvSpPr>
            <p:spPr>
              <a:xfrm>
                <a:off x="4551274" y="4167154"/>
                <a:ext cx="18271" cy="18446"/>
              </a:xfrm>
              <a:custGeom>
                <a:avLst/>
                <a:gdLst>
                  <a:gd name="connsiteX0" fmla="*/ 5517 w 18271"/>
                  <a:gd name="connsiteY0" fmla="*/ 731 h 18446"/>
                  <a:gd name="connsiteX1" fmla="*/ 17538 w 18271"/>
                  <a:gd name="connsiteY1" fmla="*/ 5635 h 18446"/>
                  <a:gd name="connsiteX2" fmla="*/ 12754 w 18271"/>
                  <a:gd name="connsiteY2" fmla="*/ 17716 h 18446"/>
                  <a:gd name="connsiteX3" fmla="*/ 733 w 18271"/>
                  <a:gd name="connsiteY3" fmla="*/ 12812 h 18446"/>
                  <a:gd name="connsiteX4" fmla="*/ 5517 w 18271"/>
                  <a:gd name="connsiteY4" fmla="*/ 731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1" h="18446">
                    <a:moveTo>
                      <a:pt x="5517" y="731"/>
                    </a:moveTo>
                    <a:cubicBezTo>
                      <a:pt x="10182" y="-1243"/>
                      <a:pt x="15565" y="910"/>
                      <a:pt x="17538" y="5635"/>
                    </a:cubicBezTo>
                    <a:cubicBezTo>
                      <a:pt x="19512" y="10300"/>
                      <a:pt x="17359" y="15742"/>
                      <a:pt x="12754" y="17716"/>
                    </a:cubicBezTo>
                    <a:cubicBezTo>
                      <a:pt x="8149" y="19690"/>
                      <a:pt x="2706" y="17537"/>
                      <a:pt x="733" y="12812"/>
                    </a:cubicBezTo>
                    <a:cubicBezTo>
                      <a:pt x="-1241" y="8147"/>
                      <a:pt x="912" y="2705"/>
                      <a:pt x="5517" y="731"/>
                    </a:cubicBezTo>
                    <a:close/>
                  </a:path>
                </a:pathLst>
              </a:custGeom>
              <a:grpFill/>
              <a:ln w="5978" cap="flat">
                <a:noFill/>
                <a:prstDash val="solid"/>
                <a:miter/>
              </a:ln>
            </p:spPr>
            <p:txBody>
              <a:bodyPr rtlCol="0" anchor="ctr"/>
              <a:lstStyle/>
              <a:p>
                <a:endParaRPr lang="en-GB"/>
              </a:p>
            </p:txBody>
          </p:sp>
          <p:sp>
            <p:nvSpPr>
              <p:cNvPr id="1456" name="Vrije vorm: vorm 1455">
                <a:extLst>
                  <a:ext uri="{FF2B5EF4-FFF2-40B4-BE49-F238E27FC236}">
                    <a16:creationId xmlns:a16="http://schemas.microsoft.com/office/drawing/2014/main" id="{8918BBCF-0EB4-430C-A0A1-0D12DA9117D2}"/>
                  </a:ext>
                </a:extLst>
              </p:cNvPr>
              <p:cNvSpPr/>
              <p:nvPr/>
            </p:nvSpPr>
            <p:spPr>
              <a:xfrm>
                <a:off x="3972640" y="4414039"/>
                <a:ext cx="18304" cy="18438"/>
              </a:xfrm>
              <a:custGeom>
                <a:avLst/>
                <a:gdLst>
                  <a:gd name="connsiteX0" fmla="*/ 5576 w 18304"/>
                  <a:gd name="connsiteY0" fmla="*/ 731 h 18438"/>
                  <a:gd name="connsiteX1" fmla="*/ 732 w 18304"/>
                  <a:gd name="connsiteY1" fmla="*/ 12812 h 18438"/>
                  <a:gd name="connsiteX2" fmla="*/ 12753 w 18304"/>
                  <a:gd name="connsiteY2" fmla="*/ 17716 h 18438"/>
                  <a:gd name="connsiteX3" fmla="*/ 17537 w 18304"/>
                  <a:gd name="connsiteY3" fmla="*/ 5635 h 18438"/>
                  <a:gd name="connsiteX4" fmla="*/ 5576 w 18304"/>
                  <a:gd name="connsiteY4" fmla="*/ 73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8">
                    <a:moveTo>
                      <a:pt x="5576" y="731"/>
                    </a:moveTo>
                    <a:cubicBezTo>
                      <a:pt x="911" y="2704"/>
                      <a:pt x="-1242" y="8147"/>
                      <a:pt x="732" y="12812"/>
                    </a:cubicBezTo>
                    <a:cubicBezTo>
                      <a:pt x="2705" y="17477"/>
                      <a:pt x="8088" y="19690"/>
                      <a:pt x="12753" y="17716"/>
                    </a:cubicBezTo>
                    <a:cubicBezTo>
                      <a:pt x="17418" y="15743"/>
                      <a:pt x="19571" y="10300"/>
                      <a:pt x="17537" y="5635"/>
                    </a:cubicBezTo>
                    <a:cubicBezTo>
                      <a:pt x="15624" y="910"/>
                      <a:pt x="10181" y="-1243"/>
                      <a:pt x="5576" y="731"/>
                    </a:cubicBezTo>
                    <a:close/>
                  </a:path>
                </a:pathLst>
              </a:custGeom>
              <a:grpFill/>
              <a:ln w="5978" cap="flat">
                <a:noFill/>
                <a:prstDash val="solid"/>
                <a:miter/>
              </a:ln>
            </p:spPr>
            <p:txBody>
              <a:bodyPr rtlCol="0" anchor="ctr"/>
              <a:lstStyle/>
              <a:p>
                <a:endParaRPr lang="en-GB"/>
              </a:p>
            </p:txBody>
          </p:sp>
        </p:grpSp>
        <p:grpSp>
          <p:nvGrpSpPr>
            <p:cNvPr id="1319" name="Graphic 3">
              <a:extLst>
                <a:ext uri="{FF2B5EF4-FFF2-40B4-BE49-F238E27FC236}">
                  <a16:creationId xmlns:a16="http://schemas.microsoft.com/office/drawing/2014/main" id="{2184640F-D89A-41C6-A157-DFB4DFBF75FC}"/>
                </a:ext>
              </a:extLst>
            </p:cNvPr>
            <p:cNvGrpSpPr/>
            <p:nvPr/>
          </p:nvGrpSpPr>
          <p:grpSpPr>
            <a:xfrm>
              <a:off x="3996610" y="4248493"/>
              <a:ext cx="620721" cy="318940"/>
              <a:chOff x="3996610" y="4248493"/>
              <a:chExt cx="620721" cy="318940"/>
            </a:xfrm>
            <a:grpFill/>
          </p:grpSpPr>
          <p:sp>
            <p:nvSpPr>
              <p:cNvPr id="1451" name="Vrije vorm: vorm 1450">
                <a:extLst>
                  <a:ext uri="{FF2B5EF4-FFF2-40B4-BE49-F238E27FC236}">
                    <a16:creationId xmlns:a16="http://schemas.microsoft.com/office/drawing/2014/main" id="{52D89957-8826-4E4B-A211-380CB807C19A}"/>
                  </a:ext>
                </a:extLst>
              </p:cNvPr>
              <p:cNvSpPr/>
              <p:nvPr/>
            </p:nvSpPr>
            <p:spPr>
              <a:xfrm>
                <a:off x="4004711" y="4256161"/>
                <a:ext cx="604531" cy="303641"/>
              </a:xfrm>
              <a:custGeom>
                <a:avLst/>
                <a:gdLst>
                  <a:gd name="connsiteX0" fmla="*/ 604531 w 604531"/>
                  <a:gd name="connsiteY0" fmla="*/ 2751 h 303641"/>
                  <a:gd name="connsiteX1" fmla="*/ 1316 w 604531"/>
                  <a:gd name="connsiteY1" fmla="*/ 303641 h 303641"/>
                  <a:gd name="connsiteX2" fmla="*/ 0 w 604531"/>
                  <a:gd name="connsiteY2" fmla="*/ 300890 h 303641"/>
                  <a:gd name="connsiteX3" fmla="*/ 603216 w 604531"/>
                  <a:gd name="connsiteY3" fmla="*/ 0 h 303641"/>
                </a:gdLst>
                <a:ahLst/>
                <a:cxnLst>
                  <a:cxn ang="0">
                    <a:pos x="connsiteX0" y="connsiteY0"/>
                  </a:cxn>
                  <a:cxn ang="0">
                    <a:pos x="connsiteX1" y="connsiteY1"/>
                  </a:cxn>
                  <a:cxn ang="0">
                    <a:pos x="connsiteX2" y="connsiteY2"/>
                  </a:cxn>
                  <a:cxn ang="0">
                    <a:pos x="connsiteX3" y="connsiteY3"/>
                  </a:cxn>
                </a:cxnLst>
                <a:rect l="l" t="t" r="r" b="b"/>
                <a:pathLst>
                  <a:path w="604531" h="303641">
                    <a:moveTo>
                      <a:pt x="604531" y="2751"/>
                    </a:moveTo>
                    <a:lnTo>
                      <a:pt x="1316" y="303641"/>
                    </a:lnTo>
                    <a:lnTo>
                      <a:pt x="0" y="300890"/>
                    </a:lnTo>
                    <a:lnTo>
                      <a:pt x="603216" y="0"/>
                    </a:lnTo>
                    <a:close/>
                  </a:path>
                </a:pathLst>
              </a:custGeom>
              <a:grpFill/>
              <a:ln w="5978" cap="flat">
                <a:noFill/>
                <a:prstDash val="solid"/>
                <a:miter/>
              </a:ln>
            </p:spPr>
            <p:txBody>
              <a:bodyPr rtlCol="0" anchor="ctr"/>
              <a:lstStyle/>
              <a:p>
                <a:endParaRPr lang="en-GB"/>
              </a:p>
            </p:txBody>
          </p:sp>
          <p:sp>
            <p:nvSpPr>
              <p:cNvPr id="1452" name="Vrije vorm: vorm 1451">
                <a:extLst>
                  <a:ext uri="{FF2B5EF4-FFF2-40B4-BE49-F238E27FC236}">
                    <a16:creationId xmlns:a16="http://schemas.microsoft.com/office/drawing/2014/main" id="{09630746-6F32-4A53-B44A-9F16DBB4E4DE}"/>
                  </a:ext>
                </a:extLst>
              </p:cNvPr>
              <p:cNvSpPr/>
              <p:nvPr/>
            </p:nvSpPr>
            <p:spPr>
              <a:xfrm>
                <a:off x="4598999" y="4248493"/>
                <a:ext cx="18332" cy="18446"/>
              </a:xfrm>
              <a:custGeom>
                <a:avLst/>
                <a:gdLst>
                  <a:gd name="connsiteX0" fmla="*/ 5039 w 18332"/>
                  <a:gd name="connsiteY0" fmla="*/ 970 h 18446"/>
                  <a:gd name="connsiteX1" fmla="*/ 17360 w 18332"/>
                  <a:gd name="connsiteY1" fmla="*/ 5156 h 18446"/>
                  <a:gd name="connsiteX2" fmla="*/ 13293 w 18332"/>
                  <a:gd name="connsiteY2" fmla="*/ 17476 h 18446"/>
                  <a:gd name="connsiteX3" fmla="*/ 973 w 18332"/>
                  <a:gd name="connsiteY3" fmla="*/ 13290 h 18446"/>
                  <a:gd name="connsiteX4" fmla="*/ 5039 w 18332"/>
                  <a:gd name="connsiteY4" fmla="*/ 970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46">
                    <a:moveTo>
                      <a:pt x="5039" y="970"/>
                    </a:moveTo>
                    <a:cubicBezTo>
                      <a:pt x="9585" y="-1303"/>
                      <a:pt x="15087" y="551"/>
                      <a:pt x="17360" y="5156"/>
                    </a:cubicBezTo>
                    <a:cubicBezTo>
                      <a:pt x="19632" y="9702"/>
                      <a:pt x="17778" y="15264"/>
                      <a:pt x="13293" y="17476"/>
                    </a:cubicBezTo>
                    <a:cubicBezTo>
                      <a:pt x="8747" y="19749"/>
                      <a:pt x="3245" y="17895"/>
                      <a:pt x="973" y="13290"/>
                    </a:cubicBezTo>
                    <a:cubicBezTo>
                      <a:pt x="-1300" y="8744"/>
                      <a:pt x="554" y="3242"/>
                      <a:pt x="5039" y="970"/>
                    </a:cubicBezTo>
                    <a:close/>
                  </a:path>
                </a:pathLst>
              </a:custGeom>
              <a:grpFill/>
              <a:ln w="5978" cap="flat">
                <a:noFill/>
                <a:prstDash val="solid"/>
                <a:miter/>
              </a:ln>
            </p:spPr>
            <p:txBody>
              <a:bodyPr rtlCol="0" anchor="ctr"/>
              <a:lstStyle/>
              <a:p>
                <a:endParaRPr lang="en-GB"/>
              </a:p>
            </p:txBody>
          </p:sp>
          <p:sp>
            <p:nvSpPr>
              <p:cNvPr id="1453" name="Vrije vorm: vorm 1452">
                <a:extLst>
                  <a:ext uri="{FF2B5EF4-FFF2-40B4-BE49-F238E27FC236}">
                    <a16:creationId xmlns:a16="http://schemas.microsoft.com/office/drawing/2014/main" id="{EC57D074-5728-4C2A-B9CD-7A51307FEA60}"/>
                  </a:ext>
                </a:extLst>
              </p:cNvPr>
              <p:cNvSpPr/>
              <p:nvPr/>
            </p:nvSpPr>
            <p:spPr>
              <a:xfrm>
                <a:off x="3996610" y="4549024"/>
                <a:ext cx="18353" cy="18409"/>
              </a:xfrm>
              <a:custGeom>
                <a:avLst/>
                <a:gdLst>
                  <a:gd name="connsiteX0" fmla="*/ 5050 w 18353"/>
                  <a:gd name="connsiteY0" fmla="*/ 970 h 18409"/>
                  <a:gd name="connsiteX1" fmla="*/ 983 w 18353"/>
                  <a:gd name="connsiteY1" fmla="*/ 13290 h 18409"/>
                  <a:gd name="connsiteX2" fmla="*/ 13304 w 18353"/>
                  <a:gd name="connsiteY2" fmla="*/ 17476 h 18409"/>
                  <a:gd name="connsiteX3" fmla="*/ 17371 w 18353"/>
                  <a:gd name="connsiteY3" fmla="*/ 5156 h 18409"/>
                  <a:gd name="connsiteX4" fmla="*/ 5050 w 18353"/>
                  <a:gd name="connsiteY4" fmla="*/ 970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9">
                    <a:moveTo>
                      <a:pt x="5050" y="970"/>
                    </a:moveTo>
                    <a:cubicBezTo>
                      <a:pt x="505" y="3242"/>
                      <a:pt x="-1289" y="8744"/>
                      <a:pt x="983" y="13290"/>
                    </a:cubicBezTo>
                    <a:cubicBezTo>
                      <a:pt x="3256" y="17835"/>
                      <a:pt x="8758" y="19689"/>
                      <a:pt x="13304" y="17476"/>
                    </a:cubicBezTo>
                    <a:cubicBezTo>
                      <a:pt x="17849" y="15204"/>
                      <a:pt x="19643" y="9702"/>
                      <a:pt x="17371" y="5156"/>
                    </a:cubicBezTo>
                    <a:cubicBezTo>
                      <a:pt x="15098" y="551"/>
                      <a:pt x="9596" y="-1303"/>
                      <a:pt x="5050" y="970"/>
                    </a:cubicBezTo>
                    <a:close/>
                  </a:path>
                </a:pathLst>
              </a:custGeom>
              <a:grpFill/>
              <a:ln w="5978" cap="flat">
                <a:noFill/>
                <a:prstDash val="solid"/>
                <a:miter/>
              </a:ln>
            </p:spPr>
            <p:txBody>
              <a:bodyPr rtlCol="0" anchor="ctr"/>
              <a:lstStyle/>
              <a:p>
                <a:endParaRPr lang="en-GB"/>
              </a:p>
            </p:txBody>
          </p:sp>
        </p:grpSp>
        <p:grpSp>
          <p:nvGrpSpPr>
            <p:cNvPr id="1320" name="Graphic 3">
              <a:extLst>
                <a:ext uri="{FF2B5EF4-FFF2-40B4-BE49-F238E27FC236}">
                  <a16:creationId xmlns:a16="http://schemas.microsoft.com/office/drawing/2014/main" id="{496B980F-744D-403F-9236-3F6727BD5FE1}"/>
                </a:ext>
              </a:extLst>
            </p:cNvPr>
            <p:cNvGrpSpPr/>
            <p:nvPr/>
          </p:nvGrpSpPr>
          <p:grpSpPr>
            <a:xfrm>
              <a:off x="4158940" y="4290610"/>
              <a:ext cx="246970" cy="140127"/>
              <a:chOff x="4158940" y="4290610"/>
              <a:chExt cx="246970" cy="140127"/>
            </a:xfrm>
            <a:grpFill/>
          </p:grpSpPr>
          <p:sp>
            <p:nvSpPr>
              <p:cNvPr id="1448" name="Vrije vorm: vorm 1447">
                <a:extLst>
                  <a:ext uri="{FF2B5EF4-FFF2-40B4-BE49-F238E27FC236}">
                    <a16:creationId xmlns:a16="http://schemas.microsoft.com/office/drawing/2014/main" id="{B29D2809-A228-4A18-86BF-815A73E1B347}"/>
                  </a:ext>
                </a:extLst>
              </p:cNvPr>
              <p:cNvSpPr/>
              <p:nvPr/>
            </p:nvSpPr>
            <p:spPr>
              <a:xfrm>
                <a:off x="4166968" y="4298205"/>
                <a:ext cx="230915" cy="124877"/>
              </a:xfrm>
              <a:custGeom>
                <a:avLst/>
                <a:gdLst>
                  <a:gd name="connsiteX0" fmla="*/ 230916 w 230915"/>
                  <a:gd name="connsiteY0" fmla="*/ 2751 h 124877"/>
                  <a:gd name="connsiteX1" fmla="*/ 1435 w 230915"/>
                  <a:gd name="connsiteY1" fmla="*/ 124877 h 124877"/>
                  <a:gd name="connsiteX2" fmla="*/ 0 w 230915"/>
                  <a:gd name="connsiteY2" fmla="*/ 122186 h 124877"/>
                  <a:gd name="connsiteX3" fmla="*/ 229480 w 230915"/>
                  <a:gd name="connsiteY3" fmla="*/ 0 h 124877"/>
                </a:gdLst>
                <a:ahLst/>
                <a:cxnLst>
                  <a:cxn ang="0">
                    <a:pos x="connsiteX0" y="connsiteY0"/>
                  </a:cxn>
                  <a:cxn ang="0">
                    <a:pos x="connsiteX1" y="connsiteY1"/>
                  </a:cxn>
                  <a:cxn ang="0">
                    <a:pos x="connsiteX2" y="connsiteY2"/>
                  </a:cxn>
                  <a:cxn ang="0">
                    <a:pos x="connsiteX3" y="connsiteY3"/>
                  </a:cxn>
                </a:cxnLst>
                <a:rect l="l" t="t" r="r" b="b"/>
                <a:pathLst>
                  <a:path w="230915" h="124877">
                    <a:moveTo>
                      <a:pt x="230916" y="2751"/>
                    </a:moveTo>
                    <a:lnTo>
                      <a:pt x="1435" y="124877"/>
                    </a:lnTo>
                    <a:lnTo>
                      <a:pt x="0" y="122186"/>
                    </a:lnTo>
                    <a:lnTo>
                      <a:pt x="229480" y="0"/>
                    </a:lnTo>
                    <a:close/>
                  </a:path>
                </a:pathLst>
              </a:custGeom>
              <a:grpFill/>
              <a:ln w="5978" cap="flat">
                <a:noFill/>
                <a:prstDash val="solid"/>
                <a:miter/>
              </a:ln>
            </p:spPr>
            <p:txBody>
              <a:bodyPr rtlCol="0" anchor="ctr"/>
              <a:lstStyle/>
              <a:p>
                <a:endParaRPr lang="en-GB"/>
              </a:p>
            </p:txBody>
          </p:sp>
          <p:sp>
            <p:nvSpPr>
              <p:cNvPr id="1449" name="Vrije vorm: vorm 1448">
                <a:extLst>
                  <a:ext uri="{FF2B5EF4-FFF2-40B4-BE49-F238E27FC236}">
                    <a16:creationId xmlns:a16="http://schemas.microsoft.com/office/drawing/2014/main" id="{8C23D171-7FE0-4942-B30E-CD034081E026}"/>
                  </a:ext>
                </a:extLst>
              </p:cNvPr>
              <p:cNvSpPr/>
              <p:nvPr/>
            </p:nvSpPr>
            <p:spPr>
              <a:xfrm>
                <a:off x="4158940" y="4412317"/>
                <a:ext cx="18327" cy="18420"/>
              </a:xfrm>
              <a:custGeom>
                <a:avLst/>
                <a:gdLst>
                  <a:gd name="connsiteX0" fmla="*/ 13470 w 18327"/>
                  <a:gd name="connsiteY0" fmla="*/ 17344 h 18420"/>
                  <a:gd name="connsiteX1" fmla="*/ 1090 w 18327"/>
                  <a:gd name="connsiteY1" fmla="*/ 13516 h 18420"/>
                  <a:gd name="connsiteX2" fmla="*/ 4858 w 18327"/>
                  <a:gd name="connsiteY2" fmla="*/ 1076 h 18420"/>
                  <a:gd name="connsiteX3" fmla="*/ 17238 w 18327"/>
                  <a:gd name="connsiteY3" fmla="*/ 4904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8984" y="19736"/>
                      <a:pt x="3482" y="18002"/>
                      <a:pt x="1090" y="13516"/>
                    </a:cubicBezTo>
                    <a:cubicBezTo>
                      <a:pt x="-1303" y="9031"/>
                      <a:pt x="372" y="3469"/>
                      <a:pt x="4858" y="1076"/>
                    </a:cubicBezTo>
                    <a:cubicBezTo>
                      <a:pt x="9343" y="-1316"/>
                      <a:pt x="14845" y="418"/>
                      <a:pt x="17238" y="4904"/>
                    </a:cubicBezTo>
                    <a:cubicBezTo>
                      <a:pt x="19630" y="9389"/>
                      <a:pt x="17956" y="15011"/>
                      <a:pt x="13470" y="17344"/>
                    </a:cubicBezTo>
                    <a:close/>
                  </a:path>
                </a:pathLst>
              </a:custGeom>
              <a:grpFill/>
              <a:ln w="5978" cap="flat">
                <a:noFill/>
                <a:prstDash val="solid"/>
                <a:miter/>
              </a:ln>
            </p:spPr>
            <p:txBody>
              <a:bodyPr rtlCol="0" anchor="ctr"/>
              <a:lstStyle/>
              <a:p>
                <a:endParaRPr lang="en-GB"/>
              </a:p>
            </p:txBody>
          </p:sp>
          <p:sp>
            <p:nvSpPr>
              <p:cNvPr id="1450" name="Vrije vorm: vorm 1449">
                <a:extLst>
                  <a:ext uri="{FF2B5EF4-FFF2-40B4-BE49-F238E27FC236}">
                    <a16:creationId xmlns:a16="http://schemas.microsoft.com/office/drawing/2014/main" id="{74D1CCA4-CB57-4916-A1E4-6E02D8E0A64A}"/>
                  </a:ext>
                </a:extLst>
              </p:cNvPr>
              <p:cNvSpPr/>
              <p:nvPr/>
            </p:nvSpPr>
            <p:spPr>
              <a:xfrm>
                <a:off x="4387583" y="4290610"/>
                <a:ext cx="18327" cy="18420"/>
              </a:xfrm>
              <a:custGeom>
                <a:avLst/>
                <a:gdLst>
                  <a:gd name="connsiteX0" fmla="*/ 13470 w 18327"/>
                  <a:gd name="connsiteY0" fmla="*/ 17344 h 18420"/>
                  <a:gd name="connsiteX1" fmla="*/ 17238 w 18327"/>
                  <a:gd name="connsiteY1" fmla="*/ 4904 h 18420"/>
                  <a:gd name="connsiteX2" fmla="*/ 4858 w 18327"/>
                  <a:gd name="connsiteY2" fmla="*/ 1076 h 18420"/>
                  <a:gd name="connsiteX3" fmla="*/ 1090 w 18327"/>
                  <a:gd name="connsiteY3" fmla="*/ 13516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17955" y="14952"/>
                      <a:pt x="19630" y="9390"/>
                      <a:pt x="17238" y="4904"/>
                    </a:cubicBezTo>
                    <a:cubicBezTo>
                      <a:pt x="14846" y="419"/>
                      <a:pt x="9283" y="-1316"/>
                      <a:pt x="4858" y="1076"/>
                    </a:cubicBezTo>
                    <a:cubicBezTo>
                      <a:pt x="372" y="3469"/>
                      <a:pt x="-1302" y="9031"/>
                      <a:pt x="1090" y="13516"/>
                    </a:cubicBezTo>
                    <a:cubicBezTo>
                      <a:pt x="3482" y="18002"/>
                      <a:pt x="9044" y="19736"/>
                      <a:pt x="13470" y="17344"/>
                    </a:cubicBezTo>
                    <a:close/>
                  </a:path>
                </a:pathLst>
              </a:custGeom>
              <a:grpFill/>
              <a:ln w="5978" cap="flat">
                <a:noFill/>
                <a:prstDash val="solid"/>
                <a:miter/>
              </a:ln>
            </p:spPr>
            <p:txBody>
              <a:bodyPr rtlCol="0" anchor="ctr"/>
              <a:lstStyle/>
              <a:p>
                <a:endParaRPr lang="en-GB"/>
              </a:p>
            </p:txBody>
          </p:sp>
        </p:grpSp>
        <p:grpSp>
          <p:nvGrpSpPr>
            <p:cNvPr id="1321" name="Graphic 3">
              <a:extLst>
                <a:ext uri="{FF2B5EF4-FFF2-40B4-BE49-F238E27FC236}">
                  <a16:creationId xmlns:a16="http://schemas.microsoft.com/office/drawing/2014/main" id="{F2523EA7-3E05-49DE-B67A-03047038546B}"/>
                </a:ext>
              </a:extLst>
            </p:cNvPr>
            <p:cNvGrpSpPr/>
            <p:nvPr/>
          </p:nvGrpSpPr>
          <p:grpSpPr>
            <a:xfrm>
              <a:off x="4038557" y="4102871"/>
              <a:ext cx="360228" cy="161120"/>
              <a:chOff x="4038557" y="4102871"/>
              <a:chExt cx="360228" cy="161120"/>
            </a:xfrm>
            <a:grpFill/>
          </p:grpSpPr>
          <p:sp>
            <p:nvSpPr>
              <p:cNvPr id="1445" name="Vrije vorm: vorm 1444">
                <a:extLst>
                  <a:ext uri="{FF2B5EF4-FFF2-40B4-BE49-F238E27FC236}">
                    <a16:creationId xmlns:a16="http://schemas.microsoft.com/office/drawing/2014/main" id="{D6B4AFA6-8CED-47F4-9D07-2D11801D2577}"/>
                  </a:ext>
                </a:extLst>
              </p:cNvPr>
              <p:cNvSpPr/>
              <p:nvPr/>
            </p:nvSpPr>
            <p:spPr>
              <a:xfrm>
                <a:off x="4046811" y="4110593"/>
                <a:ext cx="343887" cy="145819"/>
              </a:xfrm>
              <a:custGeom>
                <a:avLst/>
                <a:gdLst>
                  <a:gd name="connsiteX0" fmla="*/ 0 w 343887"/>
                  <a:gd name="connsiteY0" fmla="*/ 143004 h 145819"/>
                  <a:gd name="connsiteX1" fmla="*/ 342713 w 343887"/>
                  <a:gd name="connsiteY1" fmla="*/ 0 h 145819"/>
                  <a:gd name="connsiteX2" fmla="*/ 343887 w 343887"/>
                  <a:gd name="connsiteY2" fmla="*/ 2815 h 145819"/>
                  <a:gd name="connsiteX3" fmla="*/ 1175 w 343887"/>
                  <a:gd name="connsiteY3" fmla="*/ 145819 h 145819"/>
                </a:gdLst>
                <a:ahLst/>
                <a:cxnLst>
                  <a:cxn ang="0">
                    <a:pos x="connsiteX0" y="connsiteY0"/>
                  </a:cxn>
                  <a:cxn ang="0">
                    <a:pos x="connsiteX1" y="connsiteY1"/>
                  </a:cxn>
                  <a:cxn ang="0">
                    <a:pos x="connsiteX2" y="connsiteY2"/>
                  </a:cxn>
                  <a:cxn ang="0">
                    <a:pos x="connsiteX3" y="connsiteY3"/>
                  </a:cxn>
                </a:cxnLst>
                <a:rect l="l" t="t" r="r" b="b"/>
                <a:pathLst>
                  <a:path w="343887" h="145819">
                    <a:moveTo>
                      <a:pt x="0" y="143004"/>
                    </a:moveTo>
                    <a:lnTo>
                      <a:pt x="342713" y="0"/>
                    </a:lnTo>
                    <a:lnTo>
                      <a:pt x="343887" y="2815"/>
                    </a:lnTo>
                    <a:lnTo>
                      <a:pt x="1175" y="145819"/>
                    </a:lnTo>
                    <a:close/>
                  </a:path>
                </a:pathLst>
              </a:custGeom>
              <a:grpFill/>
              <a:ln w="5978" cap="flat">
                <a:noFill/>
                <a:prstDash val="solid"/>
                <a:miter/>
              </a:ln>
            </p:spPr>
            <p:txBody>
              <a:bodyPr rtlCol="0" anchor="ctr"/>
              <a:lstStyle/>
              <a:p>
                <a:endParaRPr lang="en-GB"/>
              </a:p>
            </p:txBody>
          </p:sp>
          <p:sp>
            <p:nvSpPr>
              <p:cNvPr id="1446" name="Vrije vorm: vorm 1445">
                <a:extLst>
                  <a:ext uri="{FF2B5EF4-FFF2-40B4-BE49-F238E27FC236}">
                    <a16:creationId xmlns:a16="http://schemas.microsoft.com/office/drawing/2014/main" id="{E8DF26DF-4EEE-498A-B4C7-704CC3F7F6BF}"/>
                  </a:ext>
                </a:extLst>
              </p:cNvPr>
              <p:cNvSpPr/>
              <p:nvPr/>
            </p:nvSpPr>
            <p:spPr>
              <a:xfrm>
                <a:off x="4038557" y="4245579"/>
                <a:ext cx="18370" cy="18411"/>
              </a:xfrm>
              <a:custGeom>
                <a:avLst/>
                <a:gdLst>
                  <a:gd name="connsiteX0" fmla="*/ 12744 w 18370"/>
                  <a:gd name="connsiteY0" fmla="*/ 17698 h 18411"/>
                  <a:gd name="connsiteX1" fmla="*/ 722 w 18370"/>
                  <a:gd name="connsiteY1" fmla="*/ 12734 h 18411"/>
                  <a:gd name="connsiteX2" fmla="*/ 5627 w 18370"/>
                  <a:gd name="connsiteY2" fmla="*/ 713 h 18411"/>
                  <a:gd name="connsiteX3" fmla="*/ 17648 w 18370"/>
                  <a:gd name="connsiteY3" fmla="*/ 5677 h 18411"/>
                  <a:gd name="connsiteX4" fmla="*/ 12744 w 18370"/>
                  <a:gd name="connsiteY4" fmla="*/ 1769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1">
                    <a:moveTo>
                      <a:pt x="12744" y="17698"/>
                    </a:moveTo>
                    <a:cubicBezTo>
                      <a:pt x="8079" y="19672"/>
                      <a:pt x="2696" y="17400"/>
                      <a:pt x="722" y="12734"/>
                    </a:cubicBezTo>
                    <a:cubicBezTo>
                      <a:pt x="-1251" y="8010"/>
                      <a:pt x="962" y="2627"/>
                      <a:pt x="5627" y="713"/>
                    </a:cubicBezTo>
                    <a:cubicBezTo>
                      <a:pt x="10292" y="-1260"/>
                      <a:pt x="15674" y="1012"/>
                      <a:pt x="17648" y="5677"/>
                    </a:cubicBezTo>
                    <a:cubicBezTo>
                      <a:pt x="19622" y="10342"/>
                      <a:pt x="17409" y="15725"/>
                      <a:pt x="12744" y="17698"/>
                    </a:cubicBezTo>
                    <a:close/>
                  </a:path>
                </a:pathLst>
              </a:custGeom>
              <a:grpFill/>
              <a:ln w="5978" cap="flat">
                <a:noFill/>
                <a:prstDash val="solid"/>
                <a:miter/>
              </a:ln>
            </p:spPr>
            <p:txBody>
              <a:bodyPr rtlCol="0" anchor="ctr"/>
              <a:lstStyle/>
              <a:p>
                <a:endParaRPr lang="en-GB"/>
              </a:p>
            </p:txBody>
          </p:sp>
          <p:sp>
            <p:nvSpPr>
              <p:cNvPr id="1447" name="Vrije vorm: vorm 1446">
                <a:extLst>
                  <a:ext uri="{FF2B5EF4-FFF2-40B4-BE49-F238E27FC236}">
                    <a16:creationId xmlns:a16="http://schemas.microsoft.com/office/drawing/2014/main" id="{BDCFE8E9-8661-4818-A1F5-9021D2BDC73B}"/>
                  </a:ext>
                </a:extLst>
              </p:cNvPr>
              <p:cNvSpPr/>
              <p:nvPr/>
            </p:nvSpPr>
            <p:spPr>
              <a:xfrm>
                <a:off x="4380415" y="4102871"/>
                <a:ext cx="18370" cy="18428"/>
              </a:xfrm>
              <a:custGeom>
                <a:avLst/>
                <a:gdLst>
                  <a:gd name="connsiteX0" fmla="*/ 12743 w 18370"/>
                  <a:gd name="connsiteY0" fmla="*/ 17707 h 18428"/>
                  <a:gd name="connsiteX1" fmla="*/ 17648 w 18370"/>
                  <a:gd name="connsiteY1" fmla="*/ 5686 h 18428"/>
                  <a:gd name="connsiteX2" fmla="*/ 5626 w 18370"/>
                  <a:gd name="connsiteY2" fmla="*/ 721 h 18428"/>
                  <a:gd name="connsiteX3" fmla="*/ 722 w 18370"/>
                  <a:gd name="connsiteY3" fmla="*/ 12743 h 18428"/>
                  <a:gd name="connsiteX4" fmla="*/ 12743 w 18370"/>
                  <a:gd name="connsiteY4" fmla="*/ 1770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8">
                    <a:moveTo>
                      <a:pt x="12743" y="17707"/>
                    </a:moveTo>
                    <a:cubicBezTo>
                      <a:pt x="17409" y="15733"/>
                      <a:pt x="19621" y="10350"/>
                      <a:pt x="17648" y="5686"/>
                    </a:cubicBezTo>
                    <a:cubicBezTo>
                      <a:pt x="15674" y="961"/>
                      <a:pt x="10291" y="-1252"/>
                      <a:pt x="5626" y="721"/>
                    </a:cubicBezTo>
                    <a:cubicBezTo>
                      <a:pt x="962" y="2695"/>
                      <a:pt x="-1251" y="8078"/>
                      <a:pt x="722" y="12743"/>
                    </a:cubicBezTo>
                    <a:cubicBezTo>
                      <a:pt x="2696" y="17467"/>
                      <a:pt x="8079" y="19680"/>
                      <a:pt x="12743" y="17707"/>
                    </a:cubicBezTo>
                    <a:close/>
                  </a:path>
                </a:pathLst>
              </a:custGeom>
              <a:grpFill/>
              <a:ln w="5978" cap="flat">
                <a:noFill/>
                <a:prstDash val="solid"/>
                <a:miter/>
              </a:ln>
            </p:spPr>
            <p:txBody>
              <a:bodyPr rtlCol="0" anchor="ctr"/>
              <a:lstStyle/>
              <a:p>
                <a:endParaRPr lang="en-GB"/>
              </a:p>
            </p:txBody>
          </p:sp>
        </p:grpSp>
        <p:grpSp>
          <p:nvGrpSpPr>
            <p:cNvPr id="1322" name="Graphic 3">
              <a:extLst>
                <a:ext uri="{FF2B5EF4-FFF2-40B4-BE49-F238E27FC236}">
                  <a16:creationId xmlns:a16="http://schemas.microsoft.com/office/drawing/2014/main" id="{009D2A1E-01EB-437A-8033-668C8E031E67}"/>
                </a:ext>
              </a:extLst>
            </p:cNvPr>
            <p:cNvGrpSpPr/>
            <p:nvPr/>
          </p:nvGrpSpPr>
          <p:grpSpPr>
            <a:xfrm>
              <a:off x="3966448" y="4194824"/>
              <a:ext cx="618080" cy="289331"/>
              <a:chOff x="3966448" y="4194824"/>
              <a:chExt cx="618080" cy="289331"/>
            </a:xfrm>
            <a:grpFill/>
          </p:grpSpPr>
          <p:sp>
            <p:nvSpPr>
              <p:cNvPr id="1442" name="Vrije vorm: vorm 1441">
                <a:extLst>
                  <a:ext uri="{FF2B5EF4-FFF2-40B4-BE49-F238E27FC236}">
                    <a16:creationId xmlns:a16="http://schemas.microsoft.com/office/drawing/2014/main" id="{05E4DDDB-B86F-47E1-8176-78BCE92C96CD}"/>
                  </a:ext>
                </a:extLst>
              </p:cNvPr>
              <p:cNvSpPr/>
              <p:nvPr/>
            </p:nvSpPr>
            <p:spPr>
              <a:xfrm>
                <a:off x="3974568" y="4202454"/>
                <a:ext cx="601840" cy="274036"/>
              </a:xfrm>
              <a:custGeom>
                <a:avLst/>
                <a:gdLst>
                  <a:gd name="connsiteX0" fmla="*/ 601840 w 601840"/>
                  <a:gd name="connsiteY0" fmla="*/ 2811 h 274036"/>
                  <a:gd name="connsiteX1" fmla="*/ 1256 w 601840"/>
                  <a:gd name="connsiteY1" fmla="*/ 274037 h 274036"/>
                  <a:gd name="connsiteX2" fmla="*/ 0 w 601840"/>
                  <a:gd name="connsiteY2" fmla="*/ 271226 h 274036"/>
                  <a:gd name="connsiteX3" fmla="*/ 600584 w 601840"/>
                  <a:gd name="connsiteY3" fmla="*/ 0 h 274036"/>
                </a:gdLst>
                <a:ahLst/>
                <a:cxnLst>
                  <a:cxn ang="0">
                    <a:pos x="connsiteX0" y="connsiteY0"/>
                  </a:cxn>
                  <a:cxn ang="0">
                    <a:pos x="connsiteX1" y="connsiteY1"/>
                  </a:cxn>
                  <a:cxn ang="0">
                    <a:pos x="connsiteX2" y="connsiteY2"/>
                  </a:cxn>
                  <a:cxn ang="0">
                    <a:pos x="connsiteX3" y="connsiteY3"/>
                  </a:cxn>
                </a:cxnLst>
                <a:rect l="l" t="t" r="r" b="b"/>
                <a:pathLst>
                  <a:path w="601840" h="274036">
                    <a:moveTo>
                      <a:pt x="601840" y="2811"/>
                    </a:moveTo>
                    <a:lnTo>
                      <a:pt x="1256" y="274037"/>
                    </a:lnTo>
                    <a:lnTo>
                      <a:pt x="0" y="271226"/>
                    </a:lnTo>
                    <a:lnTo>
                      <a:pt x="600584" y="0"/>
                    </a:lnTo>
                    <a:close/>
                  </a:path>
                </a:pathLst>
              </a:custGeom>
              <a:grpFill/>
              <a:ln w="5978" cap="flat">
                <a:noFill/>
                <a:prstDash val="solid"/>
                <a:miter/>
              </a:ln>
            </p:spPr>
            <p:txBody>
              <a:bodyPr rtlCol="0" anchor="ctr"/>
              <a:lstStyle/>
              <a:p>
                <a:endParaRPr lang="en-GB"/>
              </a:p>
            </p:txBody>
          </p:sp>
          <p:sp>
            <p:nvSpPr>
              <p:cNvPr id="1443" name="Vrije vorm: vorm 1442">
                <a:extLst>
                  <a:ext uri="{FF2B5EF4-FFF2-40B4-BE49-F238E27FC236}">
                    <a16:creationId xmlns:a16="http://schemas.microsoft.com/office/drawing/2014/main" id="{C02A9334-6319-4208-9F9F-D2FCFFC4DEC6}"/>
                  </a:ext>
                </a:extLst>
              </p:cNvPr>
              <p:cNvSpPr/>
              <p:nvPr/>
            </p:nvSpPr>
            <p:spPr>
              <a:xfrm>
                <a:off x="4566195" y="4194824"/>
                <a:ext cx="18333" cy="18490"/>
              </a:xfrm>
              <a:custGeom>
                <a:avLst/>
                <a:gdLst>
                  <a:gd name="connsiteX0" fmla="*/ 5369 w 18333"/>
                  <a:gd name="connsiteY0" fmla="*/ 812 h 18490"/>
                  <a:gd name="connsiteX1" fmla="*/ 17510 w 18333"/>
                  <a:gd name="connsiteY1" fmla="*/ 5477 h 18490"/>
                  <a:gd name="connsiteX2" fmla="*/ 12965 w 18333"/>
                  <a:gd name="connsiteY2" fmla="*/ 17678 h 18490"/>
                  <a:gd name="connsiteX3" fmla="*/ 824 w 18333"/>
                  <a:gd name="connsiteY3" fmla="*/ 13013 h 18490"/>
                  <a:gd name="connsiteX4" fmla="*/ 5369 w 18333"/>
                  <a:gd name="connsiteY4" fmla="*/ 812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90">
                    <a:moveTo>
                      <a:pt x="5369" y="812"/>
                    </a:moveTo>
                    <a:cubicBezTo>
                      <a:pt x="9974" y="-1281"/>
                      <a:pt x="15417" y="812"/>
                      <a:pt x="17510" y="5477"/>
                    </a:cubicBezTo>
                    <a:cubicBezTo>
                      <a:pt x="19603" y="10142"/>
                      <a:pt x="17570" y="15584"/>
                      <a:pt x="12965" y="17678"/>
                    </a:cubicBezTo>
                    <a:cubicBezTo>
                      <a:pt x="8359" y="19771"/>
                      <a:pt x="2917" y="17678"/>
                      <a:pt x="824" y="13013"/>
                    </a:cubicBezTo>
                    <a:cubicBezTo>
                      <a:pt x="-1269" y="8348"/>
                      <a:pt x="764" y="2905"/>
                      <a:pt x="5369" y="812"/>
                    </a:cubicBezTo>
                    <a:close/>
                  </a:path>
                </a:pathLst>
              </a:custGeom>
              <a:grpFill/>
              <a:ln w="5978" cap="flat">
                <a:noFill/>
                <a:prstDash val="solid"/>
                <a:miter/>
              </a:ln>
            </p:spPr>
            <p:txBody>
              <a:bodyPr rtlCol="0" anchor="ctr"/>
              <a:lstStyle/>
              <a:p>
                <a:endParaRPr lang="en-GB"/>
              </a:p>
            </p:txBody>
          </p:sp>
          <p:sp>
            <p:nvSpPr>
              <p:cNvPr id="1444" name="Vrije vorm: vorm 1443">
                <a:extLst>
                  <a:ext uri="{FF2B5EF4-FFF2-40B4-BE49-F238E27FC236}">
                    <a16:creationId xmlns:a16="http://schemas.microsoft.com/office/drawing/2014/main" id="{CA05B747-1AA8-465C-818D-1003721315C6}"/>
                  </a:ext>
                </a:extLst>
              </p:cNvPr>
              <p:cNvSpPr/>
              <p:nvPr/>
            </p:nvSpPr>
            <p:spPr>
              <a:xfrm>
                <a:off x="3966448" y="4465690"/>
                <a:ext cx="18333" cy="18464"/>
              </a:xfrm>
              <a:custGeom>
                <a:avLst/>
                <a:gdLst>
                  <a:gd name="connsiteX0" fmla="*/ 5369 w 18333"/>
                  <a:gd name="connsiteY0" fmla="*/ 812 h 18464"/>
                  <a:gd name="connsiteX1" fmla="*/ 824 w 18333"/>
                  <a:gd name="connsiteY1" fmla="*/ 13013 h 18464"/>
                  <a:gd name="connsiteX2" fmla="*/ 12965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6"/>
                      <a:pt x="-1270" y="8348"/>
                      <a:pt x="824" y="13013"/>
                    </a:cubicBezTo>
                    <a:cubicBezTo>
                      <a:pt x="2917" y="17678"/>
                      <a:pt x="8360" y="19711"/>
                      <a:pt x="12965" y="17678"/>
                    </a:cubicBezTo>
                    <a:cubicBezTo>
                      <a:pt x="17570" y="15585"/>
                      <a:pt x="19603"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323" name="Graphic 3">
              <a:extLst>
                <a:ext uri="{FF2B5EF4-FFF2-40B4-BE49-F238E27FC236}">
                  <a16:creationId xmlns:a16="http://schemas.microsoft.com/office/drawing/2014/main" id="{2A29B141-4D16-4BF4-8DBB-B41598EC3080}"/>
                </a:ext>
              </a:extLst>
            </p:cNvPr>
            <p:cNvGrpSpPr/>
            <p:nvPr/>
          </p:nvGrpSpPr>
          <p:grpSpPr>
            <a:xfrm>
              <a:off x="3698654" y="3629896"/>
              <a:ext cx="696860" cy="65176"/>
              <a:chOff x="3698654" y="3629896"/>
              <a:chExt cx="696860" cy="65176"/>
            </a:xfrm>
            <a:grpFill/>
          </p:grpSpPr>
          <p:sp>
            <p:nvSpPr>
              <p:cNvPr id="1439" name="Vrije vorm: vorm 1438">
                <a:extLst>
                  <a:ext uri="{FF2B5EF4-FFF2-40B4-BE49-F238E27FC236}">
                    <a16:creationId xmlns:a16="http://schemas.microsoft.com/office/drawing/2014/main" id="{88A156FF-8196-4AB6-B459-3DD766E33EE1}"/>
                  </a:ext>
                </a:extLst>
              </p:cNvPr>
              <p:cNvSpPr/>
              <p:nvPr/>
            </p:nvSpPr>
            <p:spPr>
              <a:xfrm>
                <a:off x="3707290" y="3637515"/>
                <a:ext cx="679649" cy="49939"/>
              </a:xfrm>
              <a:custGeom>
                <a:avLst/>
                <a:gdLst>
                  <a:gd name="connsiteX0" fmla="*/ 679410 w 679649"/>
                  <a:gd name="connsiteY0" fmla="*/ 0 h 49939"/>
                  <a:gd name="connsiteX1" fmla="*/ 679649 w 679649"/>
                  <a:gd name="connsiteY1" fmla="*/ 3050 h 49939"/>
                  <a:gd name="connsiteX2" fmla="*/ 179 w 679649"/>
                  <a:gd name="connsiteY2" fmla="*/ 49939 h 49939"/>
                  <a:gd name="connsiteX3" fmla="*/ 0 w 679649"/>
                  <a:gd name="connsiteY3" fmla="*/ 46889 h 49939"/>
                </a:gdLst>
                <a:ahLst/>
                <a:cxnLst>
                  <a:cxn ang="0">
                    <a:pos x="connsiteX0" y="connsiteY0"/>
                  </a:cxn>
                  <a:cxn ang="0">
                    <a:pos x="connsiteX1" y="connsiteY1"/>
                  </a:cxn>
                  <a:cxn ang="0">
                    <a:pos x="connsiteX2" y="connsiteY2"/>
                  </a:cxn>
                  <a:cxn ang="0">
                    <a:pos x="connsiteX3" y="connsiteY3"/>
                  </a:cxn>
                </a:cxnLst>
                <a:rect l="l" t="t" r="r" b="b"/>
                <a:pathLst>
                  <a:path w="679649" h="49939">
                    <a:moveTo>
                      <a:pt x="679410" y="0"/>
                    </a:moveTo>
                    <a:lnTo>
                      <a:pt x="679649" y="3050"/>
                    </a:lnTo>
                    <a:lnTo>
                      <a:pt x="179" y="49939"/>
                    </a:lnTo>
                    <a:lnTo>
                      <a:pt x="0" y="46889"/>
                    </a:lnTo>
                    <a:close/>
                  </a:path>
                </a:pathLst>
              </a:custGeom>
              <a:grpFill/>
              <a:ln w="5978" cap="flat">
                <a:noFill/>
                <a:prstDash val="solid"/>
                <a:miter/>
              </a:ln>
            </p:spPr>
            <p:txBody>
              <a:bodyPr rtlCol="0" anchor="ctr"/>
              <a:lstStyle/>
              <a:p>
                <a:endParaRPr lang="en-GB"/>
              </a:p>
            </p:txBody>
          </p:sp>
          <p:sp>
            <p:nvSpPr>
              <p:cNvPr id="1440" name="Vrije vorm: vorm 1439">
                <a:extLst>
                  <a:ext uri="{FF2B5EF4-FFF2-40B4-BE49-F238E27FC236}">
                    <a16:creationId xmlns:a16="http://schemas.microsoft.com/office/drawing/2014/main" id="{B28741F1-B2A6-42D2-89BD-0EE2441FB3D9}"/>
                  </a:ext>
                </a:extLst>
              </p:cNvPr>
              <p:cNvSpPr/>
              <p:nvPr/>
            </p:nvSpPr>
            <p:spPr>
              <a:xfrm>
                <a:off x="4377173" y="3629896"/>
                <a:ext cx="18341" cy="18407"/>
              </a:xfrm>
              <a:custGeom>
                <a:avLst/>
                <a:gdLst>
                  <a:gd name="connsiteX0" fmla="*/ 8509 w 18341"/>
                  <a:gd name="connsiteY0" fmla="*/ 23 h 18407"/>
                  <a:gd name="connsiteX1" fmla="*/ 18318 w 18341"/>
                  <a:gd name="connsiteY1" fmla="*/ 8576 h 18407"/>
                  <a:gd name="connsiteX2" fmla="*/ 9825 w 18341"/>
                  <a:gd name="connsiteY2" fmla="*/ 18384 h 18407"/>
                  <a:gd name="connsiteX3" fmla="*/ 17 w 18341"/>
                  <a:gd name="connsiteY3" fmla="*/ 9832 h 18407"/>
                  <a:gd name="connsiteX4" fmla="*/ 8509 w 18341"/>
                  <a:gd name="connsiteY4" fmla="*/ 2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7">
                    <a:moveTo>
                      <a:pt x="8509" y="23"/>
                    </a:moveTo>
                    <a:cubicBezTo>
                      <a:pt x="13533" y="-336"/>
                      <a:pt x="17959" y="3492"/>
                      <a:pt x="18318" y="8576"/>
                    </a:cubicBezTo>
                    <a:cubicBezTo>
                      <a:pt x="18676" y="13659"/>
                      <a:pt x="14909" y="18025"/>
                      <a:pt x="9825" y="18384"/>
                    </a:cubicBezTo>
                    <a:cubicBezTo>
                      <a:pt x="4801" y="18743"/>
                      <a:pt x="375" y="14915"/>
                      <a:pt x="17" y="9832"/>
                    </a:cubicBezTo>
                    <a:cubicBezTo>
                      <a:pt x="-282" y="4748"/>
                      <a:pt x="3486" y="322"/>
                      <a:pt x="8509" y="23"/>
                    </a:cubicBezTo>
                    <a:close/>
                  </a:path>
                </a:pathLst>
              </a:custGeom>
              <a:grpFill/>
              <a:ln w="5978" cap="flat">
                <a:noFill/>
                <a:prstDash val="solid"/>
                <a:miter/>
              </a:ln>
            </p:spPr>
            <p:txBody>
              <a:bodyPr rtlCol="0" anchor="ctr"/>
              <a:lstStyle/>
              <a:p>
                <a:endParaRPr lang="en-GB"/>
              </a:p>
            </p:txBody>
          </p:sp>
          <p:sp>
            <p:nvSpPr>
              <p:cNvPr id="1441" name="Vrije vorm: vorm 1440">
                <a:extLst>
                  <a:ext uri="{FF2B5EF4-FFF2-40B4-BE49-F238E27FC236}">
                    <a16:creationId xmlns:a16="http://schemas.microsoft.com/office/drawing/2014/main" id="{8758B337-F34C-48EB-A1B7-B49816DF0C3B}"/>
                  </a:ext>
                </a:extLst>
              </p:cNvPr>
              <p:cNvSpPr/>
              <p:nvPr/>
            </p:nvSpPr>
            <p:spPr>
              <a:xfrm>
                <a:off x="3698654" y="3676672"/>
                <a:ext cx="18347" cy="18400"/>
              </a:xfrm>
              <a:custGeom>
                <a:avLst/>
                <a:gdLst>
                  <a:gd name="connsiteX0" fmla="*/ 8516 w 18347"/>
                  <a:gd name="connsiteY0" fmla="*/ 16 h 18400"/>
                  <a:gd name="connsiteX1" fmla="*/ 23 w 18347"/>
                  <a:gd name="connsiteY1" fmla="*/ 9825 h 18400"/>
                  <a:gd name="connsiteX2" fmla="*/ 9832 w 18347"/>
                  <a:gd name="connsiteY2" fmla="*/ 18377 h 18400"/>
                  <a:gd name="connsiteX3" fmla="*/ 18324 w 18347"/>
                  <a:gd name="connsiteY3" fmla="*/ 8569 h 18400"/>
                  <a:gd name="connsiteX4" fmla="*/ 8516 w 18347"/>
                  <a:gd name="connsiteY4" fmla="*/ 1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8516" y="16"/>
                    </a:moveTo>
                    <a:cubicBezTo>
                      <a:pt x="3492" y="375"/>
                      <a:pt x="-336" y="4741"/>
                      <a:pt x="23" y="9825"/>
                    </a:cubicBezTo>
                    <a:cubicBezTo>
                      <a:pt x="382" y="14909"/>
                      <a:pt x="4808" y="18736"/>
                      <a:pt x="9832" y="18377"/>
                    </a:cubicBezTo>
                    <a:cubicBezTo>
                      <a:pt x="14855" y="18018"/>
                      <a:pt x="18683" y="13653"/>
                      <a:pt x="18324" y="8569"/>
                    </a:cubicBezTo>
                    <a:cubicBezTo>
                      <a:pt x="17965" y="3545"/>
                      <a:pt x="13599" y="-283"/>
                      <a:pt x="8516" y="16"/>
                    </a:cubicBezTo>
                    <a:close/>
                  </a:path>
                </a:pathLst>
              </a:custGeom>
              <a:grpFill/>
              <a:ln w="5978" cap="flat">
                <a:noFill/>
                <a:prstDash val="solid"/>
                <a:miter/>
              </a:ln>
            </p:spPr>
            <p:txBody>
              <a:bodyPr rtlCol="0" anchor="ctr"/>
              <a:lstStyle/>
              <a:p>
                <a:endParaRPr lang="en-GB"/>
              </a:p>
            </p:txBody>
          </p:sp>
        </p:grpSp>
        <p:grpSp>
          <p:nvGrpSpPr>
            <p:cNvPr id="1324" name="Graphic 3">
              <a:extLst>
                <a:ext uri="{FF2B5EF4-FFF2-40B4-BE49-F238E27FC236}">
                  <a16:creationId xmlns:a16="http://schemas.microsoft.com/office/drawing/2014/main" id="{F44EC259-7399-4C4C-BC37-FEF0A217FA73}"/>
                </a:ext>
              </a:extLst>
            </p:cNvPr>
            <p:cNvGrpSpPr/>
            <p:nvPr/>
          </p:nvGrpSpPr>
          <p:grpSpPr>
            <a:xfrm>
              <a:off x="4147985" y="4319427"/>
              <a:ext cx="278689" cy="163292"/>
              <a:chOff x="4147985" y="4319427"/>
              <a:chExt cx="278689" cy="163292"/>
            </a:xfrm>
            <a:grpFill/>
          </p:grpSpPr>
          <p:sp>
            <p:nvSpPr>
              <p:cNvPr id="1436" name="Vrije vorm: vorm 1435">
                <a:extLst>
                  <a:ext uri="{FF2B5EF4-FFF2-40B4-BE49-F238E27FC236}">
                    <a16:creationId xmlns:a16="http://schemas.microsoft.com/office/drawing/2014/main" id="{79DF14A5-24EE-4345-964D-AD0321C4A68B}"/>
                  </a:ext>
                </a:extLst>
              </p:cNvPr>
              <p:cNvSpPr/>
              <p:nvPr/>
            </p:nvSpPr>
            <p:spPr>
              <a:xfrm>
                <a:off x="4156023" y="4327032"/>
                <a:ext cx="262613" cy="148082"/>
              </a:xfrm>
              <a:custGeom>
                <a:avLst/>
                <a:gdLst>
                  <a:gd name="connsiteX0" fmla="*/ 262613 w 262613"/>
                  <a:gd name="connsiteY0" fmla="*/ 2691 h 148082"/>
                  <a:gd name="connsiteX1" fmla="*/ 1435 w 262613"/>
                  <a:gd name="connsiteY1" fmla="*/ 148083 h 148082"/>
                  <a:gd name="connsiteX2" fmla="*/ 0 w 262613"/>
                  <a:gd name="connsiteY2" fmla="*/ 145391 h 148082"/>
                  <a:gd name="connsiteX3" fmla="*/ 261118 w 262613"/>
                  <a:gd name="connsiteY3" fmla="*/ 0 h 148082"/>
                </a:gdLst>
                <a:ahLst/>
                <a:cxnLst>
                  <a:cxn ang="0">
                    <a:pos x="connsiteX0" y="connsiteY0"/>
                  </a:cxn>
                  <a:cxn ang="0">
                    <a:pos x="connsiteX1" y="connsiteY1"/>
                  </a:cxn>
                  <a:cxn ang="0">
                    <a:pos x="connsiteX2" y="connsiteY2"/>
                  </a:cxn>
                  <a:cxn ang="0">
                    <a:pos x="connsiteX3" y="connsiteY3"/>
                  </a:cxn>
                </a:cxnLst>
                <a:rect l="l" t="t" r="r" b="b"/>
                <a:pathLst>
                  <a:path w="262613" h="148082">
                    <a:moveTo>
                      <a:pt x="262613" y="2691"/>
                    </a:moveTo>
                    <a:lnTo>
                      <a:pt x="1435" y="148083"/>
                    </a:lnTo>
                    <a:lnTo>
                      <a:pt x="0" y="145391"/>
                    </a:lnTo>
                    <a:lnTo>
                      <a:pt x="261118" y="0"/>
                    </a:lnTo>
                    <a:close/>
                  </a:path>
                </a:pathLst>
              </a:custGeom>
              <a:grpFill/>
              <a:ln w="5978" cap="flat">
                <a:noFill/>
                <a:prstDash val="solid"/>
                <a:miter/>
              </a:ln>
            </p:spPr>
            <p:txBody>
              <a:bodyPr rtlCol="0" anchor="ctr"/>
              <a:lstStyle/>
              <a:p>
                <a:endParaRPr lang="en-GB"/>
              </a:p>
            </p:txBody>
          </p:sp>
          <p:sp>
            <p:nvSpPr>
              <p:cNvPr id="1437" name="Vrije vorm: vorm 1436">
                <a:extLst>
                  <a:ext uri="{FF2B5EF4-FFF2-40B4-BE49-F238E27FC236}">
                    <a16:creationId xmlns:a16="http://schemas.microsoft.com/office/drawing/2014/main" id="{CB53A5C8-FC14-4201-A5CA-9D6ABEC1EE32}"/>
                  </a:ext>
                </a:extLst>
              </p:cNvPr>
              <p:cNvSpPr/>
              <p:nvPr/>
            </p:nvSpPr>
            <p:spPr>
              <a:xfrm>
                <a:off x="4147985" y="4464340"/>
                <a:ext cx="18315" cy="18379"/>
              </a:xfrm>
              <a:custGeom>
                <a:avLst/>
                <a:gdLst>
                  <a:gd name="connsiteX0" fmla="*/ 13600 w 18315"/>
                  <a:gd name="connsiteY0" fmla="*/ 17234 h 18379"/>
                  <a:gd name="connsiteX1" fmla="*/ 1160 w 18315"/>
                  <a:gd name="connsiteY1" fmla="*/ 13646 h 18379"/>
                  <a:gd name="connsiteX2" fmla="*/ 4689 w 18315"/>
                  <a:gd name="connsiteY2" fmla="*/ 1146 h 18379"/>
                  <a:gd name="connsiteX3" fmla="*/ 17129 w 18315"/>
                  <a:gd name="connsiteY3" fmla="*/ 4734 h 18379"/>
                  <a:gd name="connsiteX4" fmla="*/ 13600 w 18315"/>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79">
                    <a:moveTo>
                      <a:pt x="13600" y="17234"/>
                    </a:moveTo>
                    <a:cubicBezTo>
                      <a:pt x="9174" y="19686"/>
                      <a:pt x="3612" y="18071"/>
                      <a:pt x="1160" y="13646"/>
                    </a:cubicBezTo>
                    <a:cubicBezTo>
                      <a:pt x="-1292" y="9220"/>
                      <a:pt x="263" y="3598"/>
                      <a:pt x="4689" y="1146"/>
                    </a:cubicBezTo>
                    <a:cubicBezTo>
                      <a:pt x="9115" y="-1306"/>
                      <a:pt x="14677" y="308"/>
                      <a:pt x="17129" y="4734"/>
                    </a:cubicBezTo>
                    <a:cubicBezTo>
                      <a:pt x="19641" y="9160"/>
                      <a:pt x="18026" y="14782"/>
                      <a:pt x="13600" y="17234"/>
                    </a:cubicBezTo>
                    <a:close/>
                  </a:path>
                </a:pathLst>
              </a:custGeom>
              <a:grpFill/>
              <a:ln w="5978" cap="flat">
                <a:noFill/>
                <a:prstDash val="solid"/>
                <a:miter/>
              </a:ln>
            </p:spPr>
            <p:txBody>
              <a:bodyPr rtlCol="0" anchor="ctr"/>
              <a:lstStyle/>
              <a:p>
                <a:endParaRPr lang="en-GB"/>
              </a:p>
            </p:txBody>
          </p:sp>
          <p:sp>
            <p:nvSpPr>
              <p:cNvPr id="1438" name="Vrije vorm: vorm 1437">
                <a:extLst>
                  <a:ext uri="{FF2B5EF4-FFF2-40B4-BE49-F238E27FC236}">
                    <a16:creationId xmlns:a16="http://schemas.microsoft.com/office/drawing/2014/main" id="{F1FE1F89-B15A-4A43-8919-3DCF4395F1BB}"/>
                  </a:ext>
                </a:extLst>
              </p:cNvPr>
              <p:cNvSpPr/>
              <p:nvPr/>
            </p:nvSpPr>
            <p:spPr>
              <a:xfrm>
                <a:off x="4408386" y="4319427"/>
                <a:ext cx="18288" cy="18379"/>
              </a:xfrm>
              <a:custGeom>
                <a:avLst/>
                <a:gdLst>
                  <a:gd name="connsiteX0" fmla="*/ 13600 w 18288"/>
                  <a:gd name="connsiteY0" fmla="*/ 17234 h 18379"/>
                  <a:gd name="connsiteX1" fmla="*/ 17129 w 18288"/>
                  <a:gd name="connsiteY1" fmla="*/ 4734 h 18379"/>
                  <a:gd name="connsiteX2" fmla="*/ 4689 w 18288"/>
                  <a:gd name="connsiteY2" fmla="*/ 1146 h 18379"/>
                  <a:gd name="connsiteX3" fmla="*/ 1160 w 18288"/>
                  <a:gd name="connsiteY3" fmla="*/ 13646 h 18379"/>
                  <a:gd name="connsiteX4" fmla="*/ 13600 w 18288"/>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79">
                    <a:moveTo>
                      <a:pt x="13600" y="17234"/>
                    </a:moveTo>
                    <a:cubicBezTo>
                      <a:pt x="18026" y="14782"/>
                      <a:pt x="19581" y="9160"/>
                      <a:pt x="17129" y="4734"/>
                    </a:cubicBezTo>
                    <a:cubicBezTo>
                      <a:pt x="14677" y="309"/>
                      <a:pt x="9055" y="-1306"/>
                      <a:pt x="4689" y="1146"/>
                    </a:cubicBezTo>
                    <a:cubicBezTo>
                      <a:pt x="263" y="3598"/>
                      <a:pt x="-1292" y="9220"/>
                      <a:pt x="1160" y="13646"/>
                    </a:cubicBezTo>
                    <a:cubicBezTo>
                      <a:pt x="3552" y="18071"/>
                      <a:pt x="9174" y="19686"/>
                      <a:pt x="13600" y="17234"/>
                    </a:cubicBezTo>
                    <a:close/>
                  </a:path>
                </a:pathLst>
              </a:custGeom>
              <a:grpFill/>
              <a:ln w="5978" cap="flat">
                <a:noFill/>
                <a:prstDash val="solid"/>
                <a:miter/>
              </a:ln>
            </p:spPr>
            <p:txBody>
              <a:bodyPr rtlCol="0" anchor="ctr"/>
              <a:lstStyle/>
              <a:p>
                <a:endParaRPr lang="en-GB"/>
              </a:p>
            </p:txBody>
          </p:sp>
        </p:grpSp>
        <p:grpSp>
          <p:nvGrpSpPr>
            <p:cNvPr id="1325" name="Graphic 3">
              <a:extLst>
                <a:ext uri="{FF2B5EF4-FFF2-40B4-BE49-F238E27FC236}">
                  <a16:creationId xmlns:a16="http://schemas.microsoft.com/office/drawing/2014/main" id="{47442E73-B5BE-4A14-878F-DB0A389A28AA}"/>
                </a:ext>
              </a:extLst>
            </p:cNvPr>
            <p:cNvGrpSpPr/>
            <p:nvPr/>
          </p:nvGrpSpPr>
          <p:grpSpPr>
            <a:xfrm>
              <a:off x="4092189" y="3923856"/>
              <a:ext cx="62658" cy="30473"/>
              <a:chOff x="4092189" y="3923856"/>
              <a:chExt cx="62658" cy="30473"/>
            </a:xfrm>
            <a:grpFill/>
          </p:grpSpPr>
          <p:sp>
            <p:nvSpPr>
              <p:cNvPr id="1433" name="Vrije vorm: vorm 1432">
                <a:extLst>
                  <a:ext uri="{FF2B5EF4-FFF2-40B4-BE49-F238E27FC236}">
                    <a16:creationId xmlns:a16="http://schemas.microsoft.com/office/drawing/2014/main" id="{3904DC68-C3C9-4EA0-988F-EBA953D8F108}"/>
                  </a:ext>
                </a:extLst>
              </p:cNvPr>
              <p:cNvSpPr/>
              <p:nvPr/>
            </p:nvSpPr>
            <p:spPr>
              <a:xfrm>
                <a:off x="4100499" y="3931314"/>
                <a:ext cx="45993" cy="15203"/>
              </a:xfrm>
              <a:custGeom>
                <a:avLst/>
                <a:gdLst>
                  <a:gd name="connsiteX0" fmla="*/ 0 w 45993"/>
                  <a:gd name="connsiteY0" fmla="*/ 12260 h 15203"/>
                  <a:gd name="connsiteX1" fmla="*/ 45195 w 45993"/>
                  <a:gd name="connsiteY1" fmla="*/ 0 h 15203"/>
                  <a:gd name="connsiteX2" fmla="*/ 45993 w 45993"/>
                  <a:gd name="connsiteY2" fmla="*/ 2944 h 15203"/>
                  <a:gd name="connsiteX3" fmla="*/ 798 w 45993"/>
                  <a:gd name="connsiteY3" fmla="*/ 15204 h 15203"/>
                </a:gdLst>
                <a:ahLst/>
                <a:cxnLst>
                  <a:cxn ang="0">
                    <a:pos x="connsiteX0" y="connsiteY0"/>
                  </a:cxn>
                  <a:cxn ang="0">
                    <a:pos x="connsiteX1" y="connsiteY1"/>
                  </a:cxn>
                  <a:cxn ang="0">
                    <a:pos x="connsiteX2" y="connsiteY2"/>
                  </a:cxn>
                  <a:cxn ang="0">
                    <a:pos x="connsiteX3" y="connsiteY3"/>
                  </a:cxn>
                </a:cxnLst>
                <a:rect l="l" t="t" r="r" b="b"/>
                <a:pathLst>
                  <a:path w="45993" h="15203">
                    <a:moveTo>
                      <a:pt x="0" y="12260"/>
                    </a:moveTo>
                    <a:lnTo>
                      <a:pt x="45195" y="0"/>
                    </a:lnTo>
                    <a:lnTo>
                      <a:pt x="45993" y="2944"/>
                    </a:lnTo>
                    <a:lnTo>
                      <a:pt x="798" y="15204"/>
                    </a:lnTo>
                    <a:close/>
                  </a:path>
                </a:pathLst>
              </a:custGeom>
              <a:grpFill/>
              <a:ln w="5978" cap="flat">
                <a:noFill/>
                <a:prstDash val="solid"/>
                <a:miter/>
              </a:ln>
            </p:spPr>
            <p:txBody>
              <a:bodyPr rtlCol="0" anchor="ctr"/>
              <a:lstStyle/>
              <a:p>
                <a:endParaRPr lang="en-GB"/>
              </a:p>
            </p:txBody>
          </p:sp>
          <p:sp>
            <p:nvSpPr>
              <p:cNvPr id="1434" name="Vrije vorm: vorm 1433">
                <a:extLst>
                  <a:ext uri="{FF2B5EF4-FFF2-40B4-BE49-F238E27FC236}">
                    <a16:creationId xmlns:a16="http://schemas.microsoft.com/office/drawing/2014/main" id="{3125C934-0C72-433D-8FB1-9A1873792BF9}"/>
                  </a:ext>
                </a:extLst>
              </p:cNvPr>
              <p:cNvSpPr/>
              <p:nvPr/>
            </p:nvSpPr>
            <p:spPr>
              <a:xfrm>
                <a:off x="4092189" y="3935877"/>
                <a:ext cx="18340" cy="18452"/>
              </a:xfrm>
              <a:custGeom>
                <a:avLst/>
                <a:gdLst>
                  <a:gd name="connsiteX0" fmla="*/ 11563 w 18340"/>
                  <a:gd name="connsiteY0" fmla="*/ 18137 h 18452"/>
                  <a:gd name="connsiteX1" fmla="*/ 319 w 18340"/>
                  <a:gd name="connsiteY1" fmla="*/ 11618 h 18452"/>
                  <a:gd name="connsiteX2" fmla="*/ 6778 w 18340"/>
                  <a:gd name="connsiteY2" fmla="*/ 315 h 18452"/>
                  <a:gd name="connsiteX3" fmla="*/ 18022 w 18340"/>
                  <a:gd name="connsiteY3" fmla="*/ 6834 h 18452"/>
                  <a:gd name="connsiteX4" fmla="*/ 11563 w 18340"/>
                  <a:gd name="connsiteY4" fmla="*/ 181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52">
                    <a:moveTo>
                      <a:pt x="11563" y="18137"/>
                    </a:moveTo>
                    <a:cubicBezTo>
                      <a:pt x="6659" y="19453"/>
                      <a:pt x="1635" y="16523"/>
                      <a:pt x="319" y="11618"/>
                    </a:cubicBezTo>
                    <a:cubicBezTo>
                      <a:pt x="-997" y="6714"/>
                      <a:pt x="1874" y="1630"/>
                      <a:pt x="6778" y="315"/>
                    </a:cubicBezTo>
                    <a:cubicBezTo>
                      <a:pt x="11682" y="-1001"/>
                      <a:pt x="16706" y="1930"/>
                      <a:pt x="18022" y="6834"/>
                    </a:cubicBezTo>
                    <a:cubicBezTo>
                      <a:pt x="19338" y="11738"/>
                      <a:pt x="16467" y="16822"/>
                      <a:pt x="11563" y="18137"/>
                    </a:cubicBezTo>
                    <a:close/>
                  </a:path>
                </a:pathLst>
              </a:custGeom>
              <a:grpFill/>
              <a:ln w="5978" cap="flat">
                <a:noFill/>
                <a:prstDash val="solid"/>
                <a:miter/>
              </a:ln>
            </p:spPr>
            <p:txBody>
              <a:bodyPr rtlCol="0" anchor="ctr"/>
              <a:lstStyle/>
              <a:p>
                <a:endParaRPr lang="en-GB"/>
              </a:p>
            </p:txBody>
          </p:sp>
          <p:sp>
            <p:nvSpPr>
              <p:cNvPr id="1435" name="Vrije vorm: vorm 1434">
                <a:extLst>
                  <a:ext uri="{FF2B5EF4-FFF2-40B4-BE49-F238E27FC236}">
                    <a16:creationId xmlns:a16="http://schemas.microsoft.com/office/drawing/2014/main" id="{E6A06F5D-52CF-40BA-AE83-31804B036319}"/>
                  </a:ext>
                </a:extLst>
              </p:cNvPr>
              <p:cNvSpPr/>
              <p:nvPr/>
            </p:nvSpPr>
            <p:spPr>
              <a:xfrm>
                <a:off x="4136506" y="3923856"/>
                <a:ext cx="18341" cy="18456"/>
              </a:xfrm>
              <a:custGeom>
                <a:avLst/>
                <a:gdLst>
                  <a:gd name="connsiteX0" fmla="*/ 11563 w 18341"/>
                  <a:gd name="connsiteY0" fmla="*/ 18137 h 18456"/>
                  <a:gd name="connsiteX1" fmla="*/ 18022 w 18341"/>
                  <a:gd name="connsiteY1" fmla="*/ 6834 h 18456"/>
                  <a:gd name="connsiteX2" fmla="*/ 6778 w 18341"/>
                  <a:gd name="connsiteY2" fmla="*/ 315 h 18456"/>
                  <a:gd name="connsiteX3" fmla="*/ 319 w 18341"/>
                  <a:gd name="connsiteY3" fmla="*/ 11618 h 18456"/>
                  <a:gd name="connsiteX4" fmla="*/ 11563 w 18341"/>
                  <a:gd name="connsiteY4" fmla="*/ 1813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6">
                    <a:moveTo>
                      <a:pt x="11563" y="18137"/>
                    </a:moveTo>
                    <a:cubicBezTo>
                      <a:pt x="16467" y="16822"/>
                      <a:pt x="19338" y="11738"/>
                      <a:pt x="18022" y="6834"/>
                    </a:cubicBezTo>
                    <a:cubicBezTo>
                      <a:pt x="16706" y="1930"/>
                      <a:pt x="11623" y="-1001"/>
                      <a:pt x="6778" y="315"/>
                    </a:cubicBezTo>
                    <a:cubicBezTo>
                      <a:pt x="1874" y="1631"/>
                      <a:pt x="-997" y="6714"/>
                      <a:pt x="319" y="11618"/>
                    </a:cubicBezTo>
                    <a:cubicBezTo>
                      <a:pt x="1694" y="16582"/>
                      <a:pt x="6718" y="19453"/>
                      <a:pt x="11563" y="18137"/>
                    </a:cubicBezTo>
                    <a:close/>
                  </a:path>
                </a:pathLst>
              </a:custGeom>
              <a:grpFill/>
              <a:ln w="5978" cap="flat">
                <a:noFill/>
                <a:prstDash val="solid"/>
                <a:miter/>
              </a:ln>
            </p:spPr>
            <p:txBody>
              <a:bodyPr rtlCol="0" anchor="ctr"/>
              <a:lstStyle/>
              <a:p>
                <a:endParaRPr lang="en-GB"/>
              </a:p>
            </p:txBody>
          </p:sp>
        </p:grpSp>
        <p:grpSp>
          <p:nvGrpSpPr>
            <p:cNvPr id="1326" name="Graphic 3">
              <a:extLst>
                <a:ext uri="{FF2B5EF4-FFF2-40B4-BE49-F238E27FC236}">
                  <a16:creationId xmlns:a16="http://schemas.microsoft.com/office/drawing/2014/main" id="{E068733F-1236-4560-9ACB-307F2F86ACA2}"/>
                </a:ext>
              </a:extLst>
            </p:cNvPr>
            <p:cNvGrpSpPr/>
            <p:nvPr/>
          </p:nvGrpSpPr>
          <p:grpSpPr>
            <a:xfrm>
              <a:off x="3931387" y="3410726"/>
              <a:ext cx="25658" cy="18420"/>
              <a:chOff x="3931387" y="3410726"/>
              <a:chExt cx="25658" cy="18420"/>
            </a:xfrm>
            <a:grpFill/>
          </p:grpSpPr>
          <p:sp>
            <p:nvSpPr>
              <p:cNvPr id="1431" name="Vrije vorm: vorm 1430">
                <a:extLst>
                  <a:ext uri="{FF2B5EF4-FFF2-40B4-BE49-F238E27FC236}">
                    <a16:creationId xmlns:a16="http://schemas.microsoft.com/office/drawing/2014/main" id="{3416D82D-F919-46A3-B904-B7AE70DA5519}"/>
                  </a:ext>
                </a:extLst>
              </p:cNvPr>
              <p:cNvSpPr/>
              <p:nvPr/>
            </p:nvSpPr>
            <p:spPr>
              <a:xfrm>
                <a:off x="3938743" y="3410726"/>
                <a:ext cx="18301" cy="18420"/>
              </a:xfrm>
              <a:custGeom>
                <a:avLst/>
                <a:gdLst>
                  <a:gd name="connsiteX0" fmla="*/ 9210 w 18301"/>
                  <a:gd name="connsiteY0" fmla="*/ 18421 h 18420"/>
                  <a:gd name="connsiteX1" fmla="*/ 0 w 18301"/>
                  <a:gd name="connsiteY1" fmla="*/ 9210 h 18420"/>
                  <a:gd name="connsiteX2" fmla="*/ 9091 w 18301"/>
                  <a:gd name="connsiteY2" fmla="*/ 0 h 18420"/>
                  <a:gd name="connsiteX3" fmla="*/ 18301 w 18301"/>
                  <a:gd name="connsiteY3" fmla="*/ 9210 h 18420"/>
                  <a:gd name="connsiteX4" fmla="*/ 9210 w 18301"/>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0">
                    <a:moveTo>
                      <a:pt x="9210" y="18421"/>
                    </a:moveTo>
                    <a:cubicBezTo>
                      <a:pt x="4127" y="18421"/>
                      <a:pt x="0" y="14294"/>
                      <a:pt x="0" y="9210"/>
                    </a:cubicBezTo>
                    <a:cubicBezTo>
                      <a:pt x="0" y="4127"/>
                      <a:pt x="4067" y="0"/>
                      <a:pt x="9091" y="0"/>
                    </a:cubicBezTo>
                    <a:cubicBezTo>
                      <a:pt x="14174" y="0"/>
                      <a:pt x="18301" y="4127"/>
                      <a:pt x="18301" y="9210"/>
                    </a:cubicBezTo>
                    <a:cubicBezTo>
                      <a:pt x="18361" y="14294"/>
                      <a:pt x="14294" y="18421"/>
                      <a:pt x="9210" y="18421"/>
                    </a:cubicBezTo>
                    <a:close/>
                  </a:path>
                </a:pathLst>
              </a:custGeom>
              <a:grpFill/>
              <a:ln w="5978" cap="flat">
                <a:noFill/>
                <a:prstDash val="solid"/>
                <a:miter/>
              </a:ln>
            </p:spPr>
            <p:txBody>
              <a:bodyPr rtlCol="0" anchor="ctr"/>
              <a:lstStyle/>
              <a:p>
                <a:endParaRPr lang="en-GB"/>
              </a:p>
            </p:txBody>
          </p:sp>
          <p:sp>
            <p:nvSpPr>
              <p:cNvPr id="1432" name="Vrije vorm: vorm 1431">
                <a:extLst>
                  <a:ext uri="{FF2B5EF4-FFF2-40B4-BE49-F238E27FC236}">
                    <a16:creationId xmlns:a16="http://schemas.microsoft.com/office/drawing/2014/main" id="{6C4C577E-1766-4335-8D00-5FECBFFBF314}"/>
                  </a:ext>
                </a:extLst>
              </p:cNvPr>
              <p:cNvSpPr/>
              <p:nvPr/>
            </p:nvSpPr>
            <p:spPr>
              <a:xfrm>
                <a:off x="3931387" y="3410726"/>
                <a:ext cx="18302" cy="18420"/>
              </a:xfrm>
              <a:custGeom>
                <a:avLst/>
                <a:gdLst>
                  <a:gd name="connsiteX0" fmla="*/ 9211 w 18302"/>
                  <a:gd name="connsiteY0" fmla="*/ 18421 h 18420"/>
                  <a:gd name="connsiteX1" fmla="*/ 18302 w 18302"/>
                  <a:gd name="connsiteY1" fmla="*/ 9210 h 18420"/>
                  <a:gd name="connsiteX2" fmla="*/ 9091 w 18302"/>
                  <a:gd name="connsiteY2" fmla="*/ 0 h 18420"/>
                  <a:gd name="connsiteX3" fmla="*/ 1 w 18302"/>
                  <a:gd name="connsiteY3" fmla="*/ 9210 h 18420"/>
                  <a:gd name="connsiteX4" fmla="*/ 9211 w 18302"/>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211" y="18421"/>
                    </a:moveTo>
                    <a:cubicBezTo>
                      <a:pt x="14295" y="18421"/>
                      <a:pt x="18362" y="14294"/>
                      <a:pt x="18302" y="9210"/>
                    </a:cubicBezTo>
                    <a:cubicBezTo>
                      <a:pt x="18302" y="4127"/>
                      <a:pt x="14175" y="0"/>
                      <a:pt x="9091" y="0"/>
                    </a:cubicBezTo>
                    <a:cubicBezTo>
                      <a:pt x="4008" y="0"/>
                      <a:pt x="-59" y="4127"/>
                      <a:pt x="1" y="9210"/>
                    </a:cubicBezTo>
                    <a:cubicBezTo>
                      <a:pt x="1" y="14294"/>
                      <a:pt x="4127" y="18421"/>
                      <a:pt x="9211" y="18421"/>
                    </a:cubicBezTo>
                    <a:close/>
                  </a:path>
                </a:pathLst>
              </a:custGeom>
              <a:grpFill/>
              <a:ln w="5978" cap="flat">
                <a:noFill/>
                <a:prstDash val="solid"/>
                <a:miter/>
              </a:ln>
            </p:spPr>
            <p:txBody>
              <a:bodyPr rtlCol="0" anchor="ctr"/>
              <a:lstStyle/>
              <a:p>
                <a:endParaRPr lang="en-GB"/>
              </a:p>
            </p:txBody>
          </p:sp>
        </p:grpSp>
        <p:grpSp>
          <p:nvGrpSpPr>
            <p:cNvPr id="1327" name="Graphic 3">
              <a:extLst>
                <a:ext uri="{FF2B5EF4-FFF2-40B4-BE49-F238E27FC236}">
                  <a16:creationId xmlns:a16="http://schemas.microsoft.com/office/drawing/2014/main" id="{BE6D8FAE-64D5-4732-B8EC-70A426B7F558}"/>
                </a:ext>
              </a:extLst>
            </p:cNvPr>
            <p:cNvGrpSpPr/>
            <p:nvPr/>
          </p:nvGrpSpPr>
          <p:grpSpPr>
            <a:xfrm>
              <a:off x="4205042" y="4525888"/>
              <a:ext cx="294596" cy="215866"/>
              <a:chOff x="4205042" y="4525888"/>
              <a:chExt cx="294596" cy="215866"/>
            </a:xfrm>
            <a:grpFill/>
          </p:grpSpPr>
          <p:sp>
            <p:nvSpPr>
              <p:cNvPr id="1428" name="Vrije vorm: vorm 1427">
                <a:extLst>
                  <a:ext uri="{FF2B5EF4-FFF2-40B4-BE49-F238E27FC236}">
                    <a16:creationId xmlns:a16="http://schemas.microsoft.com/office/drawing/2014/main" id="{055867D4-21CA-41B9-927B-B81D45A7D433}"/>
                  </a:ext>
                </a:extLst>
              </p:cNvPr>
              <p:cNvSpPr/>
              <p:nvPr/>
            </p:nvSpPr>
            <p:spPr>
              <a:xfrm>
                <a:off x="4212959" y="4533606"/>
                <a:ext cx="278761" cy="200473"/>
              </a:xfrm>
              <a:custGeom>
                <a:avLst/>
                <a:gdLst>
                  <a:gd name="connsiteX0" fmla="*/ 278762 w 278761"/>
                  <a:gd name="connsiteY0" fmla="*/ 2512 h 200473"/>
                  <a:gd name="connsiteX1" fmla="*/ 1735 w 278761"/>
                  <a:gd name="connsiteY1" fmla="*/ 200474 h 200473"/>
                  <a:gd name="connsiteX2" fmla="*/ 0 w 278761"/>
                  <a:gd name="connsiteY2" fmla="*/ 197962 h 200473"/>
                  <a:gd name="connsiteX3" fmla="*/ 276968 w 278761"/>
                  <a:gd name="connsiteY3" fmla="*/ 0 h 200473"/>
                </a:gdLst>
                <a:ahLst/>
                <a:cxnLst>
                  <a:cxn ang="0">
                    <a:pos x="connsiteX0" y="connsiteY0"/>
                  </a:cxn>
                  <a:cxn ang="0">
                    <a:pos x="connsiteX1" y="connsiteY1"/>
                  </a:cxn>
                  <a:cxn ang="0">
                    <a:pos x="connsiteX2" y="connsiteY2"/>
                  </a:cxn>
                  <a:cxn ang="0">
                    <a:pos x="connsiteX3" y="connsiteY3"/>
                  </a:cxn>
                </a:cxnLst>
                <a:rect l="l" t="t" r="r" b="b"/>
                <a:pathLst>
                  <a:path w="278761" h="200473">
                    <a:moveTo>
                      <a:pt x="278762" y="2512"/>
                    </a:moveTo>
                    <a:lnTo>
                      <a:pt x="1735" y="200474"/>
                    </a:lnTo>
                    <a:lnTo>
                      <a:pt x="0" y="197962"/>
                    </a:lnTo>
                    <a:lnTo>
                      <a:pt x="276968" y="0"/>
                    </a:lnTo>
                    <a:close/>
                  </a:path>
                </a:pathLst>
              </a:custGeom>
              <a:grpFill/>
              <a:ln w="5978" cap="flat">
                <a:noFill/>
                <a:prstDash val="solid"/>
                <a:miter/>
              </a:ln>
            </p:spPr>
            <p:txBody>
              <a:bodyPr rtlCol="0" anchor="ctr"/>
              <a:lstStyle/>
              <a:p>
                <a:endParaRPr lang="en-GB"/>
              </a:p>
            </p:txBody>
          </p:sp>
          <p:sp>
            <p:nvSpPr>
              <p:cNvPr id="1429" name="Vrije vorm: vorm 1428">
                <a:extLst>
                  <a:ext uri="{FF2B5EF4-FFF2-40B4-BE49-F238E27FC236}">
                    <a16:creationId xmlns:a16="http://schemas.microsoft.com/office/drawing/2014/main" id="{DCF0931C-AA03-4471-AC96-2C7A88978FF7}"/>
                  </a:ext>
                </a:extLst>
              </p:cNvPr>
              <p:cNvSpPr/>
              <p:nvPr/>
            </p:nvSpPr>
            <p:spPr>
              <a:xfrm>
                <a:off x="4205042" y="4723296"/>
                <a:ext cx="18320" cy="18459"/>
              </a:xfrm>
              <a:custGeom>
                <a:avLst/>
                <a:gdLst>
                  <a:gd name="connsiteX0" fmla="*/ 14496 w 18320"/>
                  <a:gd name="connsiteY0" fmla="*/ 16765 h 18459"/>
                  <a:gd name="connsiteX1" fmla="*/ 1697 w 18320"/>
                  <a:gd name="connsiteY1" fmla="*/ 14552 h 18459"/>
                  <a:gd name="connsiteX2" fmla="*/ 3850 w 18320"/>
                  <a:gd name="connsiteY2" fmla="*/ 1694 h 18459"/>
                  <a:gd name="connsiteX3" fmla="*/ 16649 w 18320"/>
                  <a:gd name="connsiteY3" fmla="*/ 3907 h 18459"/>
                  <a:gd name="connsiteX4" fmla="*/ 14496 w 18320"/>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59">
                    <a:moveTo>
                      <a:pt x="14496" y="16765"/>
                    </a:moveTo>
                    <a:cubicBezTo>
                      <a:pt x="10370" y="19696"/>
                      <a:pt x="4628" y="18739"/>
                      <a:pt x="1697" y="14552"/>
                    </a:cubicBezTo>
                    <a:cubicBezTo>
                      <a:pt x="-1233" y="10426"/>
                      <a:pt x="-276" y="4624"/>
                      <a:pt x="3850" y="1694"/>
                    </a:cubicBezTo>
                    <a:cubicBezTo>
                      <a:pt x="7977" y="-1237"/>
                      <a:pt x="13719" y="-280"/>
                      <a:pt x="16649" y="3907"/>
                    </a:cubicBezTo>
                    <a:cubicBezTo>
                      <a:pt x="19520" y="8093"/>
                      <a:pt x="18623" y="13835"/>
                      <a:pt x="14496" y="16765"/>
                    </a:cubicBezTo>
                    <a:close/>
                  </a:path>
                </a:pathLst>
              </a:custGeom>
              <a:grpFill/>
              <a:ln w="5978" cap="flat">
                <a:noFill/>
                <a:prstDash val="solid"/>
                <a:miter/>
              </a:ln>
            </p:spPr>
            <p:txBody>
              <a:bodyPr rtlCol="0" anchor="ctr"/>
              <a:lstStyle/>
              <a:p>
                <a:endParaRPr lang="en-GB"/>
              </a:p>
            </p:txBody>
          </p:sp>
          <p:sp>
            <p:nvSpPr>
              <p:cNvPr id="1430" name="Vrije vorm: vorm 1429">
                <a:extLst>
                  <a:ext uri="{FF2B5EF4-FFF2-40B4-BE49-F238E27FC236}">
                    <a16:creationId xmlns:a16="http://schemas.microsoft.com/office/drawing/2014/main" id="{CBC9F85D-09B0-40D4-B798-AF12D0D9B1F5}"/>
                  </a:ext>
                </a:extLst>
              </p:cNvPr>
              <p:cNvSpPr/>
              <p:nvPr/>
            </p:nvSpPr>
            <p:spPr>
              <a:xfrm>
                <a:off x="4481292" y="4525888"/>
                <a:ext cx="18346" cy="18442"/>
              </a:xfrm>
              <a:custGeom>
                <a:avLst/>
                <a:gdLst>
                  <a:gd name="connsiteX0" fmla="*/ 14496 w 18346"/>
                  <a:gd name="connsiteY0" fmla="*/ 16749 h 18442"/>
                  <a:gd name="connsiteX1" fmla="*/ 16649 w 18346"/>
                  <a:gd name="connsiteY1" fmla="*/ 3890 h 18442"/>
                  <a:gd name="connsiteX2" fmla="*/ 3850 w 18346"/>
                  <a:gd name="connsiteY2" fmla="*/ 1677 h 18442"/>
                  <a:gd name="connsiteX3" fmla="*/ 1697 w 18346"/>
                  <a:gd name="connsiteY3" fmla="*/ 14536 h 18442"/>
                  <a:gd name="connsiteX4" fmla="*/ 14496 w 18346"/>
                  <a:gd name="connsiteY4" fmla="*/ 167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2">
                    <a:moveTo>
                      <a:pt x="14496" y="16749"/>
                    </a:moveTo>
                    <a:cubicBezTo>
                      <a:pt x="18623" y="13818"/>
                      <a:pt x="19580" y="8077"/>
                      <a:pt x="16649" y="3890"/>
                    </a:cubicBezTo>
                    <a:cubicBezTo>
                      <a:pt x="13719" y="-237"/>
                      <a:pt x="7977" y="-1253"/>
                      <a:pt x="3850" y="1677"/>
                    </a:cubicBezTo>
                    <a:cubicBezTo>
                      <a:pt x="-276" y="4608"/>
                      <a:pt x="-1233" y="10349"/>
                      <a:pt x="1697" y="14536"/>
                    </a:cubicBezTo>
                    <a:cubicBezTo>
                      <a:pt x="4688" y="18722"/>
                      <a:pt x="10370" y="19679"/>
                      <a:pt x="14496" y="16749"/>
                    </a:cubicBezTo>
                    <a:close/>
                  </a:path>
                </a:pathLst>
              </a:custGeom>
              <a:grpFill/>
              <a:ln w="5978" cap="flat">
                <a:noFill/>
                <a:prstDash val="solid"/>
                <a:miter/>
              </a:ln>
            </p:spPr>
            <p:txBody>
              <a:bodyPr rtlCol="0" anchor="ctr"/>
              <a:lstStyle/>
              <a:p>
                <a:endParaRPr lang="en-GB"/>
              </a:p>
            </p:txBody>
          </p:sp>
        </p:grpSp>
        <p:grpSp>
          <p:nvGrpSpPr>
            <p:cNvPr id="1328" name="Graphic 3">
              <a:extLst>
                <a:ext uri="{FF2B5EF4-FFF2-40B4-BE49-F238E27FC236}">
                  <a16:creationId xmlns:a16="http://schemas.microsoft.com/office/drawing/2014/main" id="{73F89389-D074-4896-8658-ACFA1630BD48}"/>
                </a:ext>
              </a:extLst>
            </p:cNvPr>
            <p:cNvGrpSpPr/>
            <p:nvPr/>
          </p:nvGrpSpPr>
          <p:grpSpPr>
            <a:xfrm>
              <a:off x="3907742" y="4139755"/>
              <a:ext cx="646268" cy="275034"/>
              <a:chOff x="3907742" y="4139755"/>
              <a:chExt cx="646268" cy="275034"/>
            </a:xfrm>
            <a:grpFill/>
          </p:grpSpPr>
          <p:sp>
            <p:nvSpPr>
              <p:cNvPr id="1425" name="Vrije vorm: vorm 1424">
                <a:extLst>
                  <a:ext uri="{FF2B5EF4-FFF2-40B4-BE49-F238E27FC236}">
                    <a16:creationId xmlns:a16="http://schemas.microsoft.com/office/drawing/2014/main" id="{CCEEF305-AB2A-415C-810D-1CC99536DA51}"/>
                  </a:ext>
                </a:extLst>
              </p:cNvPr>
              <p:cNvSpPr/>
              <p:nvPr/>
            </p:nvSpPr>
            <p:spPr>
              <a:xfrm>
                <a:off x="3915738" y="4147508"/>
                <a:ext cx="629917" cy="259708"/>
              </a:xfrm>
              <a:custGeom>
                <a:avLst/>
                <a:gdLst>
                  <a:gd name="connsiteX0" fmla="*/ 0 w 629917"/>
                  <a:gd name="connsiteY0" fmla="*/ 256885 h 259708"/>
                  <a:gd name="connsiteX1" fmla="*/ 628764 w 629917"/>
                  <a:gd name="connsiteY1" fmla="*/ 0 h 259708"/>
                  <a:gd name="connsiteX2" fmla="*/ 629917 w 629917"/>
                  <a:gd name="connsiteY2" fmla="*/ 2824 h 259708"/>
                  <a:gd name="connsiteX3" fmla="*/ 1154 w 629917"/>
                  <a:gd name="connsiteY3" fmla="*/ 259709 h 259708"/>
                </a:gdLst>
                <a:ahLst/>
                <a:cxnLst>
                  <a:cxn ang="0">
                    <a:pos x="connsiteX0" y="connsiteY0"/>
                  </a:cxn>
                  <a:cxn ang="0">
                    <a:pos x="connsiteX1" y="connsiteY1"/>
                  </a:cxn>
                  <a:cxn ang="0">
                    <a:pos x="connsiteX2" y="connsiteY2"/>
                  </a:cxn>
                  <a:cxn ang="0">
                    <a:pos x="connsiteX3" y="connsiteY3"/>
                  </a:cxn>
                </a:cxnLst>
                <a:rect l="l" t="t" r="r" b="b"/>
                <a:pathLst>
                  <a:path w="629917" h="259708">
                    <a:moveTo>
                      <a:pt x="0" y="256885"/>
                    </a:moveTo>
                    <a:lnTo>
                      <a:pt x="628764" y="0"/>
                    </a:lnTo>
                    <a:lnTo>
                      <a:pt x="629917" y="2824"/>
                    </a:lnTo>
                    <a:lnTo>
                      <a:pt x="1154" y="259709"/>
                    </a:lnTo>
                    <a:close/>
                  </a:path>
                </a:pathLst>
              </a:custGeom>
              <a:grpFill/>
              <a:ln w="5978" cap="flat">
                <a:noFill/>
                <a:prstDash val="solid"/>
                <a:miter/>
              </a:ln>
            </p:spPr>
            <p:txBody>
              <a:bodyPr rtlCol="0" anchor="ctr"/>
              <a:lstStyle/>
              <a:p>
                <a:endParaRPr lang="en-GB"/>
              </a:p>
            </p:txBody>
          </p:sp>
          <p:sp>
            <p:nvSpPr>
              <p:cNvPr id="1426" name="Vrije vorm: vorm 1425">
                <a:extLst>
                  <a:ext uri="{FF2B5EF4-FFF2-40B4-BE49-F238E27FC236}">
                    <a16:creationId xmlns:a16="http://schemas.microsoft.com/office/drawing/2014/main" id="{054BBF11-BAA3-453A-A28C-8545EB05B7C6}"/>
                  </a:ext>
                </a:extLst>
              </p:cNvPr>
              <p:cNvSpPr/>
              <p:nvPr/>
            </p:nvSpPr>
            <p:spPr>
              <a:xfrm>
                <a:off x="4535683" y="4139755"/>
                <a:ext cx="18327" cy="18461"/>
              </a:xfrm>
              <a:custGeom>
                <a:avLst/>
                <a:gdLst>
                  <a:gd name="connsiteX0" fmla="*/ 5678 w 18327"/>
                  <a:gd name="connsiteY0" fmla="*/ 679 h 18461"/>
                  <a:gd name="connsiteX1" fmla="*/ 17640 w 18327"/>
                  <a:gd name="connsiteY1" fmla="*/ 5762 h 18461"/>
                  <a:gd name="connsiteX2" fmla="*/ 12616 w 18327"/>
                  <a:gd name="connsiteY2" fmla="*/ 17783 h 18461"/>
                  <a:gd name="connsiteX3" fmla="*/ 654 w 18327"/>
                  <a:gd name="connsiteY3" fmla="*/ 12699 h 18461"/>
                  <a:gd name="connsiteX4" fmla="*/ 5678 w 18327"/>
                  <a:gd name="connsiteY4" fmla="*/ 679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1">
                    <a:moveTo>
                      <a:pt x="5678" y="679"/>
                    </a:moveTo>
                    <a:cubicBezTo>
                      <a:pt x="10343" y="-1235"/>
                      <a:pt x="15726" y="1037"/>
                      <a:pt x="17640" y="5762"/>
                    </a:cubicBezTo>
                    <a:cubicBezTo>
                      <a:pt x="19554" y="10487"/>
                      <a:pt x="17341" y="15869"/>
                      <a:pt x="12616" y="17783"/>
                    </a:cubicBezTo>
                    <a:cubicBezTo>
                      <a:pt x="7951" y="19697"/>
                      <a:pt x="2568" y="17424"/>
                      <a:pt x="654" y="12699"/>
                    </a:cubicBezTo>
                    <a:cubicBezTo>
                      <a:pt x="-1200" y="7975"/>
                      <a:pt x="1013" y="2592"/>
                      <a:pt x="5678" y="679"/>
                    </a:cubicBezTo>
                    <a:close/>
                  </a:path>
                </a:pathLst>
              </a:custGeom>
              <a:grpFill/>
              <a:ln w="5978" cap="flat">
                <a:noFill/>
                <a:prstDash val="solid"/>
                <a:miter/>
              </a:ln>
            </p:spPr>
            <p:txBody>
              <a:bodyPr rtlCol="0" anchor="ctr"/>
              <a:lstStyle/>
              <a:p>
                <a:endParaRPr lang="en-GB"/>
              </a:p>
            </p:txBody>
          </p:sp>
          <p:sp>
            <p:nvSpPr>
              <p:cNvPr id="1427" name="Vrije vorm: vorm 1426">
                <a:extLst>
                  <a:ext uri="{FF2B5EF4-FFF2-40B4-BE49-F238E27FC236}">
                    <a16:creationId xmlns:a16="http://schemas.microsoft.com/office/drawing/2014/main" id="{69822D34-0FBD-4C36-B246-AEFAFFBE78A9}"/>
                  </a:ext>
                </a:extLst>
              </p:cNvPr>
              <p:cNvSpPr/>
              <p:nvPr/>
            </p:nvSpPr>
            <p:spPr>
              <a:xfrm>
                <a:off x="3907742" y="4396328"/>
                <a:ext cx="18344" cy="18461"/>
              </a:xfrm>
              <a:custGeom>
                <a:avLst/>
                <a:gdLst>
                  <a:gd name="connsiteX0" fmla="*/ 5703 w 18344"/>
                  <a:gd name="connsiteY0" fmla="*/ 679 h 18461"/>
                  <a:gd name="connsiteX1" fmla="*/ 679 w 18344"/>
                  <a:gd name="connsiteY1" fmla="*/ 12700 h 18461"/>
                  <a:gd name="connsiteX2" fmla="*/ 12641 w 18344"/>
                  <a:gd name="connsiteY2" fmla="*/ 17783 h 18461"/>
                  <a:gd name="connsiteX3" fmla="*/ 17665 w 18344"/>
                  <a:gd name="connsiteY3" fmla="*/ 5762 h 18461"/>
                  <a:gd name="connsiteX4" fmla="*/ 5703 w 18344"/>
                  <a:gd name="connsiteY4" fmla="*/ 679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61">
                    <a:moveTo>
                      <a:pt x="5703" y="679"/>
                    </a:moveTo>
                    <a:cubicBezTo>
                      <a:pt x="1038" y="2592"/>
                      <a:pt x="-1235" y="7975"/>
                      <a:pt x="679" y="12700"/>
                    </a:cubicBezTo>
                    <a:cubicBezTo>
                      <a:pt x="2593" y="17424"/>
                      <a:pt x="7976" y="19697"/>
                      <a:pt x="12641" y="17783"/>
                    </a:cubicBezTo>
                    <a:cubicBezTo>
                      <a:pt x="17306" y="15870"/>
                      <a:pt x="19579" y="10487"/>
                      <a:pt x="17665" y="5762"/>
                    </a:cubicBezTo>
                    <a:cubicBezTo>
                      <a:pt x="15751" y="1037"/>
                      <a:pt x="10368" y="-1235"/>
                      <a:pt x="5703" y="679"/>
                    </a:cubicBezTo>
                    <a:close/>
                  </a:path>
                </a:pathLst>
              </a:custGeom>
              <a:grpFill/>
              <a:ln w="5978" cap="flat">
                <a:noFill/>
                <a:prstDash val="solid"/>
                <a:miter/>
              </a:ln>
            </p:spPr>
            <p:txBody>
              <a:bodyPr rtlCol="0" anchor="ctr"/>
              <a:lstStyle/>
              <a:p>
                <a:endParaRPr lang="en-GB"/>
              </a:p>
            </p:txBody>
          </p:sp>
        </p:grpSp>
        <p:grpSp>
          <p:nvGrpSpPr>
            <p:cNvPr id="1329" name="Graphic 3">
              <a:extLst>
                <a:ext uri="{FF2B5EF4-FFF2-40B4-BE49-F238E27FC236}">
                  <a16:creationId xmlns:a16="http://schemas.microsoft.com/office/drawing/2014/main" id="{B855CA34-AC8D-4CDA-93E6-101040A0721B}"/>
                </a:ext>
              </a:extLst>
            </p:cNvPr>
            <p:cNvGrpSpPr/>
            <p:nvPr/>
          </p:nvGrpSpPr>
          <p:grpSpPr>
            <a:xfrm>
              <a:off x="4015119" y="3842539"/>
              <a:ext cx="162212" cy="51603"/>
              <a:chOff x="4015119" y="3842539"/>
              <a:chExt cx="162212" cy="51603"/>
            </a:xfrm>
            <a:grpFill/>
          </p:grpSpPr>
          <p:sp>
            <p:nvSpPr>
              <p:cNvPr id="1422" name="Vrije vorm: vorm 1421">
                <a:extLst>
                  <a:ext uri="{FF2B5EF4-FFF2-40B4-BE49-F238E27FC236}">
                    <a16:creationId xmlns:a16="http://schemas.microsoft.com/office/drawing/2014/main" id="{84B8EBC6-B320-4960-A4DE-06633C668B44}"/>
                  </a:ext>
                </a:extLst>
              </p:cNvPr>
              <p:cNvSpPr/>
              <p:nvPr/>
            </p:nvSpPr>
            <p:spPr>
              <a:xfrm>
                <a:off x="4023532" y="3849874"/>
                <a:ext cx="145416" cy="36486"/>
              </a:xfrm>
              <a:custGeom>
                <a:avLst/>
                <a:gdLst>
                  <a:gd name="connsiteX0" fmla="*/ 0 w 145416"/>
                  <a:gd name="connsiteY0" fmla="*/ 33515 h 36486"/>
                  <a:gd name="connsiteX1" fmla="*/ 144729 w 145416"/>
                  <a:gd name="connsiteY1" fmla="*/ 0 h 36486"/>
                  <a:gd name="connsiteX2" fmla="*/ 145417 w 145416"/>
                  <a:gd name="connsiteY2" fmla="*/ 2972 h 36486"/>
                  <a:gd name="connsiteX3" fmla="*/ 688 w 145416"/>
                  <a:gd name="connsiteY3" fmla="*/ 36487 h 36486"/>
                </a:gdLst>
                <a:ahLst/>
                <a:cxnLst>
                  <a:cxn ang="0">
                    <a:pos x="connsiteX0" y="connsiteY0"/>
                  </a:cxn>
                  <a:cxn ang="0">
                    <a:pos x="connsiteX1" y="connsiteY1"/>
                  </a:cxn>
                  <a:cxn ang="0">
                    <a:pos x="connsiteX2" y="connsiteY2"/>
                  </a:cxn>
                  <a:cxn ang="0">
                    <a:pos x="connsiteX3" y="connsiteY3"/>
                  </a:cxn>
                </a:cxnLst>
                <a:rect l="l" t="t" r="r" b="b"/>
                <a:pathLst>
                  <a:path w="145416" h="36486">
                    <a:moveTo>
                      <a:pt x="0" y="33515"/>
                    </a:moveTo>
                    <a:lnTo>
                      <a:pt x="144729" y="0"/>
                    </a:lnTo>
                    <a:lnTo>
                      <a:pt x="145417" y="2972"/>
                    </a:lnTo>
                    <a:lnTo>
                      <a:pt x="688" y="36487"/>
                    </a:lnTo>
                    <a:close/>
                  </a:path>
                </a:pathLst>
              </a:custGeom>
              <a:grpFill/>
              <a:ln w="5978" cap="flat">
                <a:noFill/>
                <a:prstDash val="solid"/>
                <a:miter/>
              </a:ln>
            </p:spPr>
            <p:txBody>
              <a:bodyPr rtlCol="0" anchor="ctr"/>
              <a:lstStyle/>
              <a:p>
                <a:endParaRPr lang="en-GB"/>
              </a:p>
            </p:txBody>
          </p:sp>
          <p:sp>
            <p:nvSpPr>
              <p:cNvPr id="1423" name="Vrije vorm: vorm 1422">
                <a:extLst>
                  <a:ext uri="{FF2B5EF4-FFF2-40B4-BE49-F238E27FC236}">
                    <a16:creationId xmlns:a16="http://schemas.microsoft.com/office/drawing/2014/main" id="{CEC32515-888C-4EAE-8A52-DABAF7744502}"/>
                  </a:ext>
                </a:extLst>
              </p:cNvPr>
              <p:cNvSpPr/>
              <p:nvPr/>
            </p:nvSpPr>
            <p:spPr>
              <a:xfrm>
                <a:off x="4015119" y="3875672"/>
                <a:ext cx="18319" cy="18470"/>
              </a:xfrm>
              <a:custGeom>
                <a:avLst/>
                <a:gdLst>
                  <a:gd name="connsiteX0" fmla="*/ 11242 w 18319"/>
                  <a:gd name="connsiteY0" fmla="*/ 18236 h 18470"/>
                  <a:gd name="connsiteX1" fmla="*/ 238 w 18319"/>
                  <a:gd name="connsiteY1" fmla="*/ 11299 h 18470"/>
                  <a:gd name="connsiteX2" fmla="*/ 7056 w 18319"/>
                  <a:gd name="connsiteY2" fmla="*/ 234 h 18470"/>
                  <a:gd name="connsiteX3" fmla="*/ 18060 w 18319"/>
                  <a:gd name="connsiteY3" fmla="*/ 7172 h 18470"/>
                  <a:gd name="connsiteX4" fmla="*/ 11242 w 18319"/>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1242" y="18236"/>
                    </a:moveTo>
                    <a:cubicBezTo>
                      <a:pt x="6338" y="19373"/>
                      <a:pt x="1374" y="16262"/>
                      <a:pt x="238" y="11299"/>
                    </a:cubicBezTo>
                    <a:cubicBezTo>
                      <a:pt x="-899" y="6335"/>
                      <a:pt x="2151" y="1370"/>
                      <a:pt x="7056" y="234"/>
                    </a:cubicBezTo>
                    <a:cubicBezTo>
                      <a:pt x="11960" y="-902"/>
                      <a:pt x="16924" y="2208"/>
                      <a:pt x="18060" y="7172"/>
                    </a:cubicBezTo>
                    <a:cubicBezTo>
                      <a:pt x="19256" y="12136"/>
                      <a:pt x="16206" y="17100"/>
                      <a:pt x="11242" y="18236"/>
                    </a:cubicBezTo>
                    <a:close/>
                  </a:path>
                </a:pathLst>
              </a:custGeom>
              <a:grpFill/>
              <a:ln w="5978" cap="flat">
                <a:noFill/>
                <a:prstDash val="solid"/>
                <a:miter/>
              </a:ln>
            </p:spPr>
            <p:txBody>
              <a:bodyPr rtlCol="0" anchor="ctr"/>
              <a:lstStyle/>
              <a:p>
                <a:endParaRPr lang="en-GB"/>
              </a:p>
            </p:txBody>
          </p:sp>
          <p:sp>
            <p:nvSpPr>
              <p:cNvPr id="1424" name="Vrije vorm: vorm 1423">
                <a:extLst>
                  <a:ext uri="{FF2B5EF4-FFF2-40B4-BE49-F238E27FC236}">
                    <a16:creationId xmlns:a16="http://schemas.microsoft.com/office/drawing/2014/main" id="{1C66B30F-1FA2-41B7-95B7-A05BCE5C3276}"/>
                  </a:ext>
                </a:extLst>
              </p:cNvPr>
              <p:cNvSpPr/>
              <p:nvPr/>
            </p:nvSpPr>
            <p:spPr>
              <a:xfrm>
                <a:off x="4158996" y="3842539"/>
                <a:ext cx="18335" cy="18470"/>
              </a:xfrm>
              <a:custGeom>
                <a:avLst/>
                <a:gdLst>
                  <a:gd name="connsiteX0" fmla="*/ 11261 w 18335"/>
                  <a:gd name="connsiteY0" fmla="*/ 18236 h 18470"/>
                  <a:gd name="connsiteX1" fmla="*/ 18079 w 18335"/>
                  <a:gd name="connsiteY1" fmla="*/ 7172 h 18470"/>
                  <a:gd name="connsiteX2" fmla="*/ 7075 w 18335"/>
                  <a:gd name="connsiteY2" fmla="*/ 234 h 18470"/>
                  <a:gd name="connsiteX3" fmla="*/ 256 w 18335"/>
                  <a:gd name="connsiteY3" fmla="*/ 11298 h 18470"/>
                  <a:gd name="connsiteX4" fmla="*/ 11261 w 18335"/>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70">
                    <a:moveTo>
                      <a:pt x="11261" y="18236"/>
                    </a:moveTo>
                    <a:cubicBezTo>
                      <a:pt x="16165" y="17100"/>
                      <a:pt x="19275" y="12136"/>
                      <a:pt x="18079" y="7172"/>
                    </a:cubicBezTo>
                    <a:cubicBezTo>
                      <a:pt x="16943" y="2208"/>
                      <a:pt x="11979" y="-902"/>
                      <a:pt x="7075" y="234"/>
                    </a:cubicBezTo>
                    <a:cubicBezTo>
                      <a:pt x="2170" y="1371"/>
                      <a:pt x="-940" y="6335"/>
                      <a:pt x="256" y="11298"/>
                    </a:cubicBezTo>
                    <a:cubicBezTo>
                      <a:pt x="1393" y="16262"/>
                      <a:pt x="6357" y="19373"/>
                      <a:pt x="11261" y="18236"/>
                    </a:cubicBezTo>
                    <a:close/>
                  </a:path>
                </a:pathLst>
              </a:custGeom>
              <a:grpFill/>
              <a:ln w="5978" cap="flat">
                <a:noFill/>
                <a:prstDash val="solid"/>
                <a:miter/>
              </a:ln>
            </p:spPr>
            <p:txBody>
              <a:bodyPr rtlCol="0" anchor="ctr"/>
              <a:lstStyle/>
              <a:p>
                <a:endParaRPr lang="en-GB"/>
              </a:p>
            </p:txBody>
          </p:sp>
        </p:grpSp>
        <p:grpSp>
          <p:nvGrpSpPr>
            <p:cNvPr id="1330" name="Graphic 3">
              <a:extLst>
                <a:ext uri="{FF2B5EF4-FFF2-40B4-BE49-F238E27FC236}">
                  <a16:creationId xmlns:a16="http://schemas.microsoft.com/office/drawing/2014/main" id="{A083868B-3E7C-4F77-B936-3D746FA94128}"/>
                </a:ext>
              </a:extLst>
            </p:cNvPr>
            <p:cNvGrpSpPr/>
            <p:nvPr/>
          </p:nvGrpSpPr>
          <p:grpSpPr>
            <a:xfrm>
              <a:off x="4247473" y="4589073"/>
              <a:ext cx="227676" cy="174004"/>
              <a:chOff x="4247473" y="4589073"/>
              <a:chExt cx="227676" cy="174004"/>
            </a:xfrm>
            <a:grpFill/>
          </p:grpSpPr>
          <p:sp>
            <p:nvSpPr>
              <p:cNvPr id="1419" name="Vrije vorm: vorm 1418">
                <a:extLst>
                  <a:ext uri="{FF2B5EF4-FFF2-40B4-BE49-F238E27FC236}">
                    <a16:creationId xmlns:a16="http://schemas.microsoft.com/office/drawing/2014/main" id="{A6424927-6EB0-4021-81A3-566CA4A61FEC}"/>
                  </a:ext>
                </a:extLst>
              </p:cNvPr>
              <p:cNvSpPr/>
              <p:nvPr/>
            </p:nvSpPr>
            <p:spPr>
              <a:xfrm>
                <a:off x="4255303" y="4596703"/>
                <a:ext cx="211956" cy="158668"/>
              </a:xfrm>
              <a:custGeom>
                <a:avLst/>
                <a:gdLst>
                  <a:gd name="connsiteX0" fmla="*/ 211957 w 211956"/>
                  <a:gd name="connsiteY0" fmla="*/ 2512 h 158668"/>
                  <a:gd name="connsiteX1" fmla="*/ 1794 w 211956"/>
                  <a:gd name="connsiteY1" fmla="*/ 158668 h 158668"/>
                  <a:gd name="connsiteX2" fmla="*/ 0 w 211956"/>
                  <a:gd name="connsiteY2" fmla="*/ 156216 h 158668"/>
                  <a:gd name="connsiteX3" fmla="*/ 210103 w 211956"/>
                  <a:gd name="connsiteY3" fmla="*/ 0 h 158668"/>
                </a:gdLst>
                <a:ahLst/>
                <a:cxnLst>
                  <a:cxn ang="0">
                    <a:pos x="connsiteX0" y="connsiteY0"/>
                  </a:cxn>
                  <a:cxn ang="0">
                    <a:pos x="connsiteX1" y="connsiteY1"/>
                  </a:cxn>
                  <a:cxn ang="0">
                    <a:pos x="connsiteX2" y="connsiteY2"/>
                  </a:cxn>
                  <a:cxn ang="0">
                    <a:pos x="connsiteX3" y="connsiteY3"/>
                  </a:cxn>
                </a:cxnLst>
                <a:rect l="l" t="t" r="r" b="b"/>
                <a:pathLst>
                  <a:path w="211956" h="158668">
                    <a:moveTo>
                      <a:pt x="211957" y="2512"/>
                    </a:moveTo>
                    <a:lnTo>
                      <a:pt x="1794" y="158668"/>
                    </a:lnTo>
                    <a:lnTo>
                      <a:pt x="0" y="156216"/>
                    </a:lnTo>
                    <a:lnTo>
                      <a:pt x="210103" y="0"/>
                    </a:lnTo>
                    <a:close/>
                  </a:path>
                </a:pathLst>
              </a:custGeom>
              <a:grpFill/>
              <a:ln w="5978" cap="flat">
                <a:noFill/>
                <a:prstDash val="solid"/>
                <a:miter/>
              </a:ln>
            </p:spPr>
            <p:txBody>
              <a:bodyPr rtlCol="0" anchor="ctr"/>
              <a:lstStyle/>
              <a:p>
                <a:endParaRPr lang="en-GB"/>
              </a:p>
            </p:txBody>
          </p:sp>
          <p:sp>
            <p:nvSpPr>
              <p:cNvPr id="1420" name="Vrije vorm: vorm 1419">
                <a:extLst>
                  <a:ext uri="{FF2B5EF4-FFF2-40B4-BE49-F238E27FC236}">
                    <a16:creationId xmlns:a16="http://schemas.microsoft.com/office/drawing/2014/main" id="{3E8A19E7-386C-46FB-97FE-0E60A6225DC1}"/>
                  </a:ext>
                </a:extLst>
              </p:cNvPr>
              <p:cNvSpPr/>
              <p:nvPr/>
            </p:nvSpPr>
            <p:spPr>
              <a:xfrm>
                <a:off x="4247473" y="4744649"/>
                <a:ext cx="18291" cy="18429"/>
              </a:xfrm>
              <a:custGeom>
                <a:avLst/>
                <a:gdLst>
                  <a:gd name="connsiteX0" fmla="*/ 14588 w 18291"/>
                  <a:gd name="connsiteY0" fmla="*/ 16644 h 18429"/>
                  <a:gd name="connsiteX1" fmla="*/ 1790 w 18291"/>
                  <a:gd name="connsiteY1" fmla="*/ 14670 h 18429"/>
                  <a:gd name="connsiteX2" fmla="*/ 3703 w 18291"/>
                  <a:gd name="connsiteY2" fmla="*/ 1811 h 18429"/>
                  <a:gd name="connsiteX3" fmla="*/ 16502 w 18291"/>
                  <a:gd name="connsiteY3" fmla="*/ 3785 h 18429"/>
                  <a:gd name="connsiteX4" fmla="*/ 14588 w 18291"/>
                  <a:gd name="connsiteY4" fmla="*/ 1664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29">
                    <a:moveTo>
                      <a:pt x="14588" y="16644"/>
                    </a:moveTo>
                    <a:cubicBezTo>
                      <a:pt x="10522" y="19634"/>
                      <a:pt x="4780" y="18797"/>
                      <a:pt x="1790" y="14670"/>
                    </a:cubicBezTo>
                    <a:cubicBezTo>
                      <a:pt x="-1201" y="10603"/>
                      <a:pt x="-363" y="4802"/>
                      <a:pt x="3703" y="1811"/>
                    </a:cubicBezTo>
                    <a:cubicBezTo>
                      <a:pt x="7770" y="-1239"/>
                      <a:pt x="13512" y="-342"/>
                      <a:pt x="16502" y="3785"/>
                    </a:cubicBezTo>
                    <a:cubicBezTo>
                      <a:pt x="19493" y="7852"/>
                      <a:pt x="18655" y="13594"/>
                      <a:pt x="14588" y="16644"/>
                    </a:cubicBezTo>
                    <a:close/>
                  </a:path>
                </a:pathLst>
              </a:custGeom>
              <a:grpFill/>
              <a:ln w="5978" cap="flat">
                <a:noFill/>
                <a:prstDash val="solid"/>
                <a:miter/>
              </a:ln>
            </p:spPr>
            <p:txBody>
              <a:bodyPr rtlCol="0" anchor="ctr"/>
              <a:lstStyle/>
              <a:p>
                <a:endParaRPr lang="en-GB"/>
              </a:p>
            </p:txBody>
          </p:sp>
          <p:sp>
            <p:nvSpPr>
              <p:cNvPr id="1421" name="Vrije vorm: vorm 1420">
                <a:extLst>
                  <a:ext uri="{FF2B5EF4-FFF2-40B4-BE49-F238E27FC236}">
                    <a16:creationId xmlns:a16="http://schemas.microsoft.com/office/drawing/2014/main" id="{B2B617D0-49B7-4304-A7EF-B4860E2B6E2C}"/>
                  </a:ext>
                </a:extLst>
              </p:cNvPr>
              <p:cNvSpPr/>
              <p:nvPr/>
            </p:nvSpPr>
            <p:spPr>
              <a:xfrm>
                <a:off x="4456858" y="4589073"/>
                <a:ext cx="18291" cy="18368"/>
              </a:xfrm>
              <a:custGeom>
                <a:avLst/>
                <a:gdLst>
                  <a:gd name="connsiteX0" fmla="*/ 14588 w 18291"/>
                  <a:gd name="connsiteY0" fmla="*/ 16601 h 18368"/>
                  <a:gd name="connsiteX1" fmla="*/ 16502 w 18291"/>
                  <a:gd name="connsiteY1" fmla="*/ 3742 h 18368"/>
                  <a:gd name="connsiteX2" fmla="*/ 3703 w 18291"/>
                  <a:gd name="connsiteY2" fmla="*/ 1768 h 18368"/>
                  <a:gd name="connsiteX3" fmla="*/ 1790 w 18291"/>
                  <a:gd name="connsiteY3" fmla="*/ 14627 h 18368"/>
                  <a:gd name="connsiteX4" fmla="*/ 14588 w 18291"/>
                  <a:gd name="connsiteY4" fmla="*/ 16601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368">
                    <a:moveTo>
                      <a:pt x="14588" y="16601"/>
                    </a:moveTo>
                    <a:cubicBezTo>
                      <a:pt x="18655" y="13610"/>
                      <a:pt x="19493" y="7809"/>
                      <a:pt x="16502" y="3742"/>
                    </a:cubicBezTo>
                    <a:cubicBezTo>
                      <a:pt x="13512" y="-325"/>
                      <a:pt x="7770" y="-1222"/>
                      <a:pt x="3703" y="1768"/>
                    </a:cubicBezTo>
                    <a:cubicBezTo>
                      <a:pt x="-363" y="4759"/>
                      <a:pt x="-1201" y="10560"/>
                      <a:pt x="1790" y="14627"/>
                    </a:cubicBezTo>
                    <a:cubicBezTo>
                      <a:pt x="4780" y="18694"/>
                      <a:pt x="10522" y="19591"/>
                      <a:pt x="14588" y="16601"/>
                    </a:cubicBezTo>
                    <a:close/>
                  </a:path>
                </a:pathLst>
              </a:custGeom>
              <a:grpFill/>
              <a:ln w="5978" cap="flat">
                <a:noFill/>
                <a:prstDash val="solid"/>
                <a:miter/>
              </a:ln>
            </p:spPr>
            <p:txBody>
              <a:bodyPr rtlCol="0" anchor="ctr"/>
              <a:lstStyle/>
              <a:p>
                <a:endParaRPr lang="en-GB"/>
              </a:p>
            </p:txBody>
          </p:sp>
        </p:grpSp>
        <p:grpSp>
          <p:nvGrpSpPr>
            <p:cNvPr id="1331" name="Graphic 3">
              <a:extLst>
                <a:ext uri="{FF2B5EF4-FFF2-40B4-BE49-F238E27FC236}">
                  <a16:creationId xmlns:a16="http://schemas.microsoft.com/office/drawing/2014/main" id="{A93A166C-9CF4-45DC-8E07-7A8CFE4E09F0}"/>
                </a:ext>
              </a:extLst>
            </p:cNvPr>
            <p:cNvGrpSpPr/>
            <p:nvPr/>
          </p:nvGrpSpPr>
          <p:grpSpPr>
            <a:xfrm>
              <a:off x="4118460" y="4347903"/>
              <a:ext cx="329187" cy="199089"/>
              <a:chOff x="4118460" y="4347903"/>
              <a:chExt cx="329187" cy="199089"/>
            </a:xfrm>
            <a:grpFill/>
          </p:grpSpPr>
          <p:sp>
            <p:nvSpPr>
              <p:cNvPr id="1416" name="Vrije vorm: vorm 1415">
                <a:extLst>
                  <a:ext uri="{FF2B5EF4-FFF2-40B4-BE49-F238E27FC236}">
                    <a16:creationId xmlns:a16="http://schemas.microsoft.com/office/drawing/2014/main" id="{BCDD27BF-5927-45E1-B414-C8892250BAB8}"/>
                  </a:ext>
                </a:extLst>
              </p:cNvPr>
              <p:cNvSpPr/>
              <p:nvPr/>
            </p:nvSpPr>
            <p:spPr>
              <a:xfrm>
                <a:off x="4126538" y="4355500"/>
                <a:ext cx="313090" cy="183847"/>
              </a:xfrm>
              <a:custGeom>
                <a:avLst/>
                <a:gdLst>
                  <a:gd name="connsiteX0" fmla="*/ 313091 w 313090"/>
                  <a:gd name="connsiteY0" fmla="*/ 2691 h 183847"/>
                  <a:gd name="connsiteX1" fmla="*/ 1495 w 313090"/>
                  <a:gd name="connsiteY1" fmla="*/ 183847 h 183847"/>
                  <a:gd name="connsiteX2" fmla="*/ 0 w 313090"/>
                  <a:gd name="connsiteY2" fmla="*/ 181216 h 183847"/>
                  <a:gd name="connsiteX3" fmla="*/ 311596 w 313090"/>
                  <a:gd name="connsiteY3" fmla="*/ 0 h 183847"/>
                </a:gdLst>
                <a:ahLst/>
                <a:cxnLst>
                  <a:cxn ang="0">
                    <a:pos x="connsiteX0" y="connsiteY0"/>
                  </a:cxn>
                  <a:cxn ang="0">
                    <a:pos x="connsiteX1" y="connsiteY1"/>
                  </a:cxn>
                  <a:cxn ang="0">
                    <a:pos x="connsiteX2" y="connsiteY2"/>
                  </a:cxn>
                  <a:cxn ang="0">
                    <a:pos x="connsiteX3" y="connsiteY3"/>
                  </a:cxn>
                </a:cxnLst>
                <a:rect l="l" t="t" r="r" b="b"/>
                <a:pathLst>
                  <a:path w="313090" h="183847">
                    <a:moveTo>
                      <a:pt x="313091" y="2691"/>
                    </a:moveTo>
                    <a:lnTo>
                      <a:pt x="1495" y="183847"/>
                    </a:lnTo>
                    <a:lnTo>
                      <a:pt x="0" y="181216"/>
                    </a:lnTo>
                    <a:lnTo>
                      <a:pt x="311596" y="0"/>
                    </a:lnTo>
                    <a:close/>
                  </a:path>
                </a:pathLst>
              </a:custGeom>
              <a:grpFill/>
              <a:ln w="5978" cap="flat">
                <a:noFill/>
                <a:prstDash val="solid"/>
                <a:miter/>
              </a:ln>
            </p:spPr>
            <p:txBody>
              <a:bodyPr rtlCol="0" anchor="ctr"/>
              <a:lstStyle/>
              <a:p>
                <a:endParaRPr lang="en-GB"/>
              </a:p>
            </p:txBody>
          </p:sp>
          <p:sp>
            <p:nvSpPr>
              <p:cNvPr id="1417" name="Vrije vorm: vorm 1416">
                <a:extLst>
                  <a:ext uri="{FF2B5EF4-FFF2-40B4-BE49-F238E27FC236}">
                    <a16:creationId xmlns:a16="http://schemas.microsoft.com/office/drawing/2014/main" id="{36567516-5905-4776-A751-1197838BE4FB}"/>
                  </a:ext>
                </a:extLst>
              </p:cNvPr>
              <p:cNvSpPr/>
              <p:nvPr/>
            </p:nvSpPr>
            <p:spPr>
              <a:xfrm>
                <a:off x="4118460" y="4528593"/>
                <a:ext cx="18369" cy="18398"/>
              </a:xfrm>
              <a:custGeom>
                <a:avLst/>
                <a:gdLst>
                  <a:gd name="connsiteX0" fmla="*/ 13820 w 18369"/>
                  <a:gd name="connsiteY0" fmla="*/ 17154 h 18398"/>
                  <a:gd name="connsiteX1" fmla="*/ 1260 w 18369"/>
                  <a:gd name="connsiteY1" fmla="*/ 13804 h 18398"/>
                  <a:gd name="connsiteX2" fmla="*/ 4550 w 18369"/>
                  <a:gd name="connsiteY2" fmla="*/ 1245 h 18398"/>
                  <a:gd name="connsiteX3" fmla="*/ 17109 w 18369"/>
                  <a:gd name="connsiteY3" fmla="*/ 4594 h 18398"/>
                  <a:gd name="connsiteX4" fmla="*/ 13820 w 18369"/>
                  <a:gd name="connsiteY4" fmla="*/ 1715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8">
                    <a:moveTo>
                      <a:pt x="13820" y="17154"/>
                    </a:moveTo>
                    <a:cubicBezTo>
                      <a:pt x="9454" y="19725"/>
                      <a:pt x="3832" y="18171"/>
                      <a:pt x="1260" y="13804"/>
                    </a:cubicBezTo>
                    <a:cubicBezTo>
                      <a:pt x="-1311" y="9379"/>
                      <a:pt x="184" y="3757"/>
                      <a:pt x="4550" y="1245"/>
                    </a:cubicBezTo>
                    <a:cubicBezTo>
                      <a:pt x="8915" y="-1327"/>
                      <a:pt x="14537" y="228"/>
                      <a:pt x="17109" y="4594"/>
                    </a:cubicBezTo>
                    <a:cubicBezTo>
                      <a:pt x="19681" y="9020"/>
                      <a:pt x="18186" y="14642"/>
                      <a:pt x="13820" y="17154"/>
                    </a:cubicBezTo>
                    <a:close/>
                  </a:path>
                </a:pathLst>
              </a:custGeom>
              <a:grpFill/>
              <a:ln w="5978" cap="flat">
                <a:noFill/>
                <a:prstDash val="solid"/>
                <a:miter/>
              </a:ln>
            </p:spPr>
            <p:txBody>
              <a:bodyPr rtlCol="0" anchor="ctr"/>
              <a:lstStyle/>
              <a:p>
                <a:endParaRPr lang="en-GB"/>
              </a:p>
            </p:txBody>
          </p:sp>
          <p:sp>
            <p:nvSpPr>
              <p:cNvPr id="1418" name="Vrije vorm: vorm 1417">
                <a:extLst>
                  <a:ext uri="{FF2B5EF4-FFF2-40B4-BE49-F238E27FC236}">
                    <a16:creationId xmlns:a16="http://schemas.microsoft.com/office/drawing/2014/main" id="{507542BB-9495-4576-8726-A4F9D8E0AAD3}"/>
                  </a:ext>
                </a:extLst>
              </p:cNvPr>
              <p:cNvSpPr/>
              <p:nvPr/>
            </p:nvSpPr>
            <p:spPr>
              <a:xfrm>
                <a:off x="4429278" y="4347903"/>
                <a:ext cx="18369" cy="18385"/>
              </a:xfrm>
              <a:custGeom>
                <a:avLst/>
                <a:gdLst>
                  <a:gd name="connsiteX0" fmla="*/ 13820 w 18369"/>
                  <a:gd name="connsiteY0" fmla="*/ 17167 h 18385"/>
                  <a:gd name="connsiteX1" fmla="*/ 17109 w 18369"/>
                  <a:gd name="connsiteY1" fmla="*/ 4607 h 18385"/>
                  <a:gd name="connsiteX2" fmla="*/ 4550 w 18369"/>
                  <a:gd name="connsiteY2" fmla="*/ 1258 h 18385"/>
                  <a:gd name="connsiteX3" fmla="*/ 1260 w 18369"/>
                  <a:gd name="connsiteY3" fmla="*/ 13818 h 18385"/>
                  <a:gd name="connsiteX4" fmla="*/ 13820 w 18369"/>
                  <a:gd name="connsiteY4" fmla="*/ 17167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85">
                    <a:moveTo>
                      <a:pt x="13820" y="17167"/>
                    </a:moveTo>
                    <a:cubicBezTo>
                      <a:pt x="18186" y="14595"/>
                      <a:pt x="19681" y="8974"/>
                      <a:pt x="17109" y="4607"/>
                    </a:cubicBezTo>
                    <a:cubicBezTo>
                      <a:pt x="14538" y="182"/>
                      <a:pt x="8976" y="-1313"/>
                      <a:pt x="4550" y="1258"/>
                    </a:cubicBezTo>
                    <a:cubicBezTo>
                      <a:pt x="184" y="3830"/>
                      <a:pt x="-1311" y="9452"/>
                      <a:pt x="1260" y="13818"/>
                    </a:cubicBezTo>
                    <a:cubicBezTo>
                      <a:pt x="3832" y="18184"/>
                      <a:pt x="9454" y="19679"/>
                      <a:pt x="13820" y="17167"/>
                    </a:cubicBezTo>
                    <a:close/>
                  </a:path>
                </a:pathLst>
              </a:custGeom>
              <a:grpFill/>
              <a:ln w="5978" cap="flat">
                <a:noFill/>
                <a:prstDash val="solid"/>
                <a:miter/>
              </a:ln>
            </p:spPr>
            <p:txBody>
              <a:bodyPr rtlCol="0" anchor="ctr"/>
              <a:lstStyle/>
              <a:p>
                <a:endParaRPr lang="en-GB"/>
              </a:p>
            </p:txBody>
          </p:sp>
        </p:grpSp>
        <p:grpSp>
          <p:nvGrpSpPr>
            <p:cNvPr id="1332" name="Graphic 3">
              <a:extLst>
                <a:ext uri="{FF2B5EF4-FFF2-40B4-BE49-F238E27FC236}">
                  <a16:creationId xmlns:a16="http://schemas.microsoft.com/office/drawing/2014/main" id="{B4FA2658-1D98-4E30-B06B-49A7C260F9F1}"/>
                </a:ext>
              </a:extLst>
            </p:cNvPr>
            <p:cNvGrpSpPr/>
            <p:nvPr/>
          </p:nvGrpSpPr>
          <p:grpSpPr>
            <a:xfrm>
              <a:off x="4013335" y="3885069"/>
              <a:ext cx="143871" cy="49830"/>
              <a:chOff x="4013335" y="3885069"/>
              <a:chExt cx="143871" cy="49830"/>
            </a:xfrm>
            <a:grpFill/>
          </p:grpSpPr>
          <p:sp>
            <p:nvSpPr>
              <p:cNvPr id="1413" name="Vrije vorm: vorm 1412">
                <a:extLst>
                  <a:ext uri="{FF2B5EF4-FFF2-40B4-BE49-F238E27FC236}">
                    <a16:creationId xmlns:a16="http://schemas.microsoft.com/office/drawing/2014/main" id="{8A605970-396D-42DD-87CB-23671E5F6FF1}"/>
                  </a:ext>
                </a:extLst>
              </p:cNvPr>
              <p:cNvSpPr/>
              <p:nvPr/>
            </p:nvSpPr>
            <p:spPr>
              <a:xfrm>
                <a:off x="4021714" y="3892769"/>
                <a:ext cx="127152" cy="34652"/>
              </a:xfrm>
              <a:custGeom>
                <a:avLst/>
                <a:gdLst>
                  <a:gd name="connsiteX0" fmla="*/ 0 w 127152"/>
                  <a:gd name="connsiteY0" fmla="*/ 31694 h 34652"/>
                  <a:gd name="connsiteX1" fmla="*/ 126410 w 127152"/>
                  <a:gd name="connsiteY1" fmla="*/ 0 h 34652"/>
                  <a:gd name="connsiteX2" fmla="*/ 127152 w 127152"/>
                  <a:gd name="connsiteY2" fmla="*/ 2959 h 34652"/>
                  <a:gd name="connsiteX3" fmla="*/ 742 w 127152"/>
                  <a:gd name="connsiteY3" fmla="*/ 34652 h 34652"/>
                </a:gdLst>
                <a:ahLst/>
                <a:cxnLst>
                  <a:cxn ang="0">
                    <a:pos x="connsiteX0" y="connsiteY0"/>
                  </a:cxn>
                  <a:cxn ang="0">
                    <a:pos x="connsiteX1" y="connsiteY1"/>
                  </a:cxn>
                  <a:cxn ang="0">
                    <a:pos x="connsiteX2" y="connsiteY2"/>
                  </a:cxn>
                  <a:cxn ang="0">
                    <a:pos x="connsiteX3" y="connsiteY3"/>
                  </a:cxn>
                </a:cxnLst>
                <a:rect l="l" t="t" r="r" b="b"/>
                <a:pathLst>
                  <a:path w="127152" h="34652">
                    <a:moveTo>
                      <a:pt x="0" y="31694"/>
                    </a:moveTo>
                    <a:lnTo>
                      <a:pt x="126410" y="0"/>
                    </a:lnTo>
                    <a:lnTo>
                      <a:pt x="127152" y="2959"/>
                    </a:lnTo>
                    <a:lnTo>
                      <a:pt x="742" y="34652"/>
                    </a:lnTo>
                    <a:close/>
                  </a:path>
                </a:pathLst>
              </a:custGeom>
              <a:grpFill/>
              <a:ln w="5978" cap="flat">
                <a:noFill/>
                <a:prstDash val="solid"/>
                <a:miter/>
              </a:ln>
            </p:spPr>
            <p:txBody>
              <a:bodyPr rtlCol="0" anchor="ctr"/>
              <a:lstStyle/>
              <a:p>
                <a:endParaRPr lang="en-GB"/>
              </a:p>
            </p:txBody>
          </p:sp>
          <p:sp>
            <p:nvSpPr>
              <p:cNvPr id="1414" name="Vrije vorm: vorm 1413">
                <a:extLst>
                  <a:ext uri="{FF2B5EF4-FFF2-40B4-BE49-F238E27FC236}">
                    <a16:creationId xmlns:a16="http://schemas.microsoft.com/office/drawing/2014/main" id="{6206A9C7-CB30-4A7B-80D1-2F619486BD42}"/>
                  </a:ext>
                </a:extLst>
              </p:cNvPr>
              <p:cNvSpPr/>
              <p:nvPr/>
            </p:nvSpPr>
            <p:spPr>
              <a:xfrm>
                <a:off x="4013335" y="3916472"/>
                <a:ext cx="18335" cy="18428"/>
              </a:xfrm>
              <a:custGeom>
                <a:avLst/>
                <a:gdLst>
                  <a:gd name="connsiteX0" fmla="*/ 11411 w 18335"/>
                  <a:gd name="connsiteY0" fmla="*/ 18165 h 18428"/>
                  <a:gd name="connsiteX1" fmla="*/ 287 w 18335"/>
                  <a:gd name="connsiteY1" fmla="*/ 11467 h 18428"/>
                  <a:gd name="connsiteX2" fmla="*/ 6925 w 18335"/>
                  <a:gd name="connsiteY2" fmla="*/ 283 h 18428"/>
                  <a:gd name="connsiteX3" fmla="*/ 18049 w 18335"/>
                  <a:gd name="connsiteY3" fmla="*/ 6981 h 18428"/>
                  <a:gd name="connsiteX4" fmla="*/ 11411 w 18335"/>
                  <a:gd name="connsiteY4" fmla="*/ 1816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8">
                    <a:moveTo>
                      <a:pt x="11411" y="18165"/>
                    </a:moveTo>
                    <a:cubicBezTo>
                      <a:pt x="6507" y="19361"/>
                      <a:pt x="1542" y="16371"/>
                      <a:pt x="287" y="11467"/>
                    </a:cubicBezTo>
                    <a:cubicBezTo>
                      <a:pt x="-969" y="6503"/>
                      <a:pt x="2021" y="1539"/>
                      <a:pt x="6925" y="283"/>
                    </a:cubicBezTo>
                    <a:cubicBezTo>
                      <a:pt x="11829" y="-973"/>
                      <a:pt x="16794" y="2077"/>
                      <a:pt x="18049" y="6981"/>
                    </a:cubicBezTo>
                    <a:cubicBezTo>
                      <a:pt x="19305" y="11945"/>
                      <a:pt x="16315" y="16909"/>
                      <a:pt x="11411" y="18165"/>
                    </a:cubicBezTo>
                    <a:close/>
                  </a:path>
                </a:pathLst>
              </a:custGeom>
              <a:grpFill/>
              <a:ln w="5978" cap="flat">
                <a:noFill/>
                <a:prstDash val="solid"/>
                <a:miter/>
              </a:ln>
            </p:spPr>
            <p:txBody>
              <a:bodyPr rtlCol="0" anchor="ctr"/>
              <a:lstStyle/>
              <a:p>
                <a:endParaRPr lang="en-GB"/>
              </a:p>
            </p:txBody>
          </p:sp>
          <p:sp>
            <p:nvSpPr>
              <p:cNvPr id="1415" name="Vrije vorm: vorm 1414">
                <a:extLst>
                  <a:ext uri="{FF2B5EF4-FFF2-40B4-BE49-F238E27FC236}">
                    <a16:creationId xmlns:a16="http://schemas.microsoft.com/office/drawing/2014/main" id="{2E24C2B1-A391-40C8-95AE-A828EBF5FD6A}"/>
                  </a:ext>
                </a:extLst>
              </p:cNvPr>
              <p:cNvSpPr/>
              <p:nvPr/>
            </p:nvSpPr>
            <p:spPr>
              <a:xfrm>
                <a:off x="4138871" y="3885069"/>
                <a:ext cx="18335" cy="18432"/>
              </a:xfrm>
              <a:custGeom>
                <a:avLst/>
                <a:gdLst>
                  <a:gd name="connsiteX0" fmla="*/ 11411 w 18335"/>
                  <a:gd name="connsiteY0" fmla="*/ 18169 h 18432"/>
                  <a:gd name="connsiteX1" fmla="*/ 18049 w 18335"/>
                  <a:gd name="connsiteY1" fmla="*/ 6985 h 18432"/>
                  <a:gd name="connsiteX2" fmla="*/ 6925 w 18335"/>
                  <a:gd name="connsiteY2" fmla="*/ 286 h 18432"/>
                  <a:gd name="connsiteX3" fmla="*/ 287 w 18335"/>
                  <a:gd name="connsiteY3" fmla="*/ 11470 h 18432"/>
                  <a:gd name="connsiteX4" fmla="*/ 11411 w 18335"/>
                  <a:gd name="connsiteY4" fmla="*/ 18169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2">
                    <a:moveTo>
                      <a:pt x="11411" y="18169"/>
                    </a:moveTo>
                    <a:cubicBezTo>
                      <a:pt x="16315" y="16973"/>
                      <a:pt x="19305" y="11949"/>
                      <a:pt x="18049" y="6985"/>
                    </a:cubicBezTo>
                    <a:cubicBezTo>
                      <a:pt x="16794" y="2021"/>
                      <a:pt x="11829" y="-970"/>
                      <a:pt x="6925" y="286"/>
                    </a:cubicBezTo>
                    <a:cubicBezTo>
                      <a:pt x="2021" y="1483"/>
                      <a:pt x="-969" y="6506"/>
                      <a:pt x="287" y="11470"/>
                    </a:cubicBezTo>
                    <a:cubicBezTo>
                      <a:pt x="1483" y="16375"/>
                      <a:pt x="6507" y="19365"/>
                      <a:pt x="11411" y="18169"/>
                    </a:cubicBezTo>
                    <a:close/>
                  </a:path>
                </a:pathLst>
              </a:custGeom>
              <a:grpFill/>
              <a:ln w="5978" cap="flat">
                <a:noFill/>
                <a:prstDash val="solid"/>
                <a:miter/>
              </a:ln>
            </p:spPr>
            <p:txBody>
              <a:bodyPr rtlCol="0" anchor="ctr"/>
              <a:lstStyle/>
              <a:p>
                <a:endParaRPr lang="en-GB"/>
              </a:p>
            </p:txBody>
          </p:sp>
        </p:grpSp>
        <p:grpSp>
          <p:nvGrpSpPr>
            <p:cNvPr id="1333" name="Graphic 3">
              <a:extLst>
                <a:ext uri="{FF2B5EF4-FFF2-40B4-BE49-F238E27FC236}">
                  <a16:creationId xmlns:a16="http://schemas.microsoft.com/office/drawing/2014/main" id="{6E8AA8F8-5FB9-4F44-9980-574C442F239A}"/>
                </a:ext>
              </a:extLst>
            </p:cNvPr>
            <p:cNvGrpSpPr/>
            <p:nvPr/>
          </p:nvGrpSpPr>
          <p:grpSpPr>
            <a:xfrm>
              <a:off x="4061387" y="4362838"/>
              <a:ext cx="429219" cy="267718"/>
              <a:chOff x="4061387" y="4362838"/>
              <a:chExt cx="429219" cy="267718"/>
            </a:xfrm>
            <a:grpFill/>
          </p:grpSpPr>
          <p:sp>
            <p:nvSpPr>
              <p:cNvPr id="1410" name="Vrije vorm: vorm 1409">
                <a:extLst>
                  <a:ext uri="{FF2B5EF4-FFF2-40B4-BE49-F238E27FC236}">
                    <a16:creationId xmlns:a16="http://schemas.microsoft.com/office/drawing/2014/main" id="{AD78B29D-14BA-49F0-8701-3842E7A68581}"/>
                  </a:ext>
                </a:extLst>
              </p:cNvPr>
              <p:cNvSpPr/>
              <p:nvPr/>
            </p:nvSpPr>
            <p:spPr>
              <a:xfrm>
                <a:off x="4069363" y="4370452"/>
                <a:ext cx="413267" cy="252446"/>
              </a:xfrm>
              <a:custGeom>
                <a:avLst/>
                <a:gdLst>
                  <a:gd name="connsiteX0" fmla="*/ 413268 w 413267"/>
                  <a:gd name="connsiteY0" fmla="*/ 2632 h 252446"/>
                  <a:gd name="connsiteX1" fmla="*/ 1615 w 413267"/>
                  <a:gd name="connsiteY1" fmla="*/ 252446 h 252446"/>
                  <a:gd name="connsiteX2" fmla="*/ 0 w 413267"/>
                  <a:gd name="connsiteY2" fmla="*/ 249815 h 252446"/>
                  <a:gd name="connsiteX3" fmla="*/ 411653 w 413267"/>
                  <a:gd name="connsiteY3" fmla="*/ 0 h 252446"/>
                </a:gdLst>
                <a:ahLst/>
                <a:cxnLst>
                  <a:cxn ang="0">
                    <a:pos x="connsiteX0" y="connsiteY0"/>
                  </a:cxn>
                  <a:cxn ang="0">
                    <a:pos x="connsiteX1" y="connsiteY1"/>
                  </a:cxn>
                  <a:cxn ang="0">
                    <a:pos x="connsiteX2" y="connsiteY2"/>
                  </a:cxn>
                  <a:cxn ang="0">
                    <a:pos x="connsiteX3" y="connsiteY3"/>
                  </a:cxn>
                </a:cxnLst>
                <a:rect l="l" t="t" r="r" b="b"/>
                <a:pathLst>
                  <a:path w="413267" h="252446">
                    <a:moveTo>
                      <a:pt x="413268" y="2632"/>
                    </a:moveTo>
                    <a:lnTo>
                      <a:pt x="1615" y="252446"/>
                    </a:lnTo>
                    <a:lnTo>
                      <a:pt x="0" y="249815"/>
                    </a:lnTo>
                    <a:lnTo>
                      <a:pt x="411653" y="0"/>
                    </a:lnTo>
                    <a:close/>
                  </a:path>
                </a:pathLst>
              </a:custGeom>
              <a:grpFill/>
              <a:ln w="5978" cap="flat">
                <a:noFill/>
                <a:prstDash val="solid"/>
                <a:miter/>
              </a:ln>
            </p:spPr>
            <p:txBody>
              <a:bodyPr rtlCol="0" anchor="ctr"/>
              <a:lstStyle/>
              <a:p>
                <a:endParaRPr lang="en-GB"/>
              </a:p>
            </p:txBody>
          </p:sp>
          <p:sp>
            <p:nvSpPr>
              <p:cNvPr id="1411" name="Vrije vorm: vorm 1410">
                <a:extLst>
                  <a:ext uri="{FF2B5EF4-FFF2-40B4-BE49-F238E27FC236}">
                    <a16:creationId xmlns:a16="http://schemas.microsoft.com/office/drawing/2014/main" id="{C555A7FF-7798-456E-90F8-2B9FEC1B3C04}"/>
                  </a:ext>
                </a:extLst>
              </p:cNvPr>
              <p:cNvSpPr/>
              <p:nvPr/>
            </p:nvSpPr>
            <p:spPr>
              <a:xfrm>
                <a:off x="4061387" y="4612130"/>
                <a:ext cx="18343" cy="18426"/>
              </a:xfrm>
              <a:custGeom>
                <a:avLst/>
                <a:gdLst>
                  <a:gd name="connsiteX0" fmla="*/ 13957 w 18343"/>
                  <a:gd name="connsiteY0" fmla="*/ 17108 h 18426"/>
                  <a:gd name="connsiteX1" fmla="*/ 1337 w 18343"/>
                  <a:gd name="connsiteY1" fmla="*/ 13938 h 18426"/>
                  <a:gd name="connsiteX2" fmla="*/ 4387 w 18343"/>
                  <a:gd name="connsiteY2" fmla="*/ 1318 h 18426"/>
                  <a:gd name="connsiteX3" fmla="*/ 17006 w 18343"/>
                  <a:gd name="connsiteY3" fmla="*/ 4488 h 18426"/>
                  <a:gd name="connsiteX4" fmla="*/ 13957 w 18343"/>
                  <a:gd name="connsiteY4" fmla="*/ 1710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6">
                    <a:moveTo>
                      <a:pt x="13957" y="17108"/>
                    </a:moveTo>
                    <a:cubicBezTo>
                      <a:pt x="9650" y="19739"/>
                      <a:pt x="3968" y="18304"/>
                      <a:pt x="1337" y="13938"/>
                    </a:cubicBezTo>
                    <a:cubicBezTo>
                      <a:pt x="-1295" y="9572"/>
                      <a:pt x="81" y="3890"/>
                      <a:pt x="4387" y="1318"/>
                    </a:cubicBezTo>
                    <a:cubicBezTo>
                      <a:pt x="8693" y="-1313"/>
                      <a:pt x="14375" y="122"/>
                      <a:pt x="17006" y="4488"/>
                    </a:cubicBezTo>
                    <a:cubicBezTo>
                      <a:pt x="19638" y="8854"/>
                      <a:pt x="18263" y="14476"/>
                      <a:pt x="13957" y="17108"/>
                    </a:cubicBezTo>
                    <a:close/>
                  </a:path>
                </a:pathLst>
              </a:custGeom>
              <a:grpFill/>
              <a:ln w="5978" cap="flat">
                <a:noFill/>
                <a:prstDash val="solid"/>
                <a:miter/>
              </a:ln>
            </p:spPr>
            <p:txBody>
              <a:bodyPr rtlCol="0" anchor="ctr"/>
              <a:lstStyle/>
              <a:p>
                <a:endParaRPr lang="en-GB"/>
              </a:p>
            </p:txBody>
          </p:sp>
          <p:sp>
            <p:nvSpPr>
              <p:cNvPr id="1412" name="Vrije vorm: vorm 1411">
                <a:extLst>
                  <a:ext uri="{FF2B5EF4-FFF2-40B4-BE49-F238E27FC236}">
                    <a16:creationId xmlns:a16="http://schemas.microsoft.com/office/drawing/2014/main" id="{63A60CDD-424B-4859-87C7-67A38DBEBDE6}"/>
                  </a:ext>
                </a:extLst>
              </p:cNvPr>
              <p:cNvSpPr/>
              <p:nvPr/>
            </p:nvSpPr>
            <p:spPr>
              <a:xfrm>
                <a:off x="4472262" y="4362838"/>
                <a:ext cx="18343" cy="18398"/>
              </a:xfrm>
              <a:custGeom>
                <a:avLst/>
                <a:gdLst>
                  <a:gd name="connsiteX0" fmla="*/ 13956 w 18343"/>
                  <a:gd name="connsiteY0" fmla="*/ 17064 h 18398"/>
                  <a:gd name="connsiteX1" fmla="*/ 17006 w 18343"/>
                  <a:gd name="connsiteY1" fmla="*/ 4445 h 18398"/>
                  <a:gd name="connsiteX2" fmla="*/ 4387 w 18343"/>
                  <a:gd name="connsiteY2" fmla="*/ 1335 h 18398"/>
                  <a:gd name="connsiteX3" fmla="*/ 1337 w 18343"/>
                  <a:gd name="connsiteY3" fmla="*/ 13954 h 18398"/>
                  <a:gd name="connsiteX4" fmla="*/ 13956 w 18343"/>
                  <a:gd name="connsiteY4" fmla="*/ 1706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8">
                    <a:moveTo>
                      <a:pt x="13956" y="17064"/>
                    </a:moveTo>
                    <a:cubicBezTo>
                      <a:pt x="18263" y="14432"/>
                      <a:pt x="19638" y="8751"/>
                      <a:pt x="17006" y="4445"/>
                    </a:cubicBezTo>
                    <a:cubicBezTo>
                      <a:pt x="14375" y="79"/>
                      <a:pt x="8753" y="-1297"/>
                      <a:pt x="4387" y="1335"/>
                    </a:cubicBezTo>
                    <a:cubicBezTo>
                      <a:pt x="81" y="3966"/>
                      <a:pt x="-1295" y="9648"/>
                      <a:pt x="1337" y="13954"/>
                    </a:cubicBezTo>
                    <a:cubicBezTo>
                      <a:pt x="3968" y="18320"/>
                      <a:pt x="9590" y="19695"/>
                      <a:pt x="13956" y="17064"/>
                    </a:cubicBezTo>
                    <a:close/>
                  </a:path>
                </a:pathLst>
              </a:custGeom>
              <a:grpFill/>
              <a:ln w="5978" cap="flat">
                <a:noFill/>
                <a:prstDash val="solid"/>
                <a:miter/>
              </a:ln>
            </p:spPr>
            <p:txBody>
              <a:bodyPr rtlCol="0" anchor="ctr"/>
              <a:lstStyle/>
              <a:p>
                <a:endParaRPr lang="en-GB"/>
              </a:p>
            </p:txBody>
          </p:sp>
        </p:grpSp>
        <p:grpSp>
          <p:nvGrpSpPr>
            <p:cNvPr id="1334" name="Graphic 3">
              <a:extLst>
                <a:ext uri="{FF2B5EF4-FFF2-40B4-BE49-F238E27FC236}">
                  <a16:creationId xmlns:a16="http://schemas.microsoft.com/office/drawing/2014/main" id="{93053662-723F-4BF2-AF63-F01DF5B9B018}"/>
                </a:ext>
              </a:extLst>
            </p:cNvPr>
            <p:cNvGrpSpPr/>
            <p:nvPr/>
          </p:nvGrpSpPr>
          <p:grpSpPr>
            <a:xfrm>
              <a:off x="3803233" y="4112106"/>
              <a:ext cx="735655" cy="300217"/>
              <a:chOff x="3803233" y="4112106"/>
              <a:chExt cx="735655" cy="300217"/>
            </a:xfrm>
            <a:grpFill/>
          </p:grpSpPr>
          <p:sp>
            <p:nvSpPr>
              <p:cNvPr id="1407" name="Vrije vorm: vorm 1406">
                <a:extLst>
                  <a:ext uri="{FF2B5EF4-FFF2-40B4-BE49-F238E27FC236}">
                    <a16:creationId xmlns:a16="http://schemas.microsoft.com/office/drawing/2014/main" id="{006E5FF0-71E7-4777-AB57-22085E971574}"/>
                  </a:ext>
                </a:extLst>
              </p:cNvPr>
              <p:cNvSpPr/>
              <p:nvPr/>
            </p:nvSpPr>
            <p:spPr>
              <a:xfrm>
                <a:off x="3811414" y="4119740"/>
                <a:ext cx="719301" cy="285041"/>
              </a:xfrm>
              <a:custGeom>
                <a:avLst/>
                <a:gdLst>
                  <a:gd name="connsiteX0" fmla="*/ 719301 w 719301"/>
                  <a:gd name="connsiteY0" fmla="*/ 2871 h 285041"/>
                  <a:gd name="connsiteX1" fmla="*/ 1136 w 719301"/>
                  <a:gd name="connsiteY1" fmla="*/ 285041 h 285041"/>
                  <a:gd name="connsiteX2" fmla="*/ 0 w 719301"/>
                  <a:gd name="connsiteY2" fmla="*/ 282170 h 285041"/>
                  <a:gd name="connsiteX3" fmla="*/ 718165 w 719301"/>
                  <a:gd name="connsiteY3" fmla="*/ 0 h 285041"/>
                </a:gdLst>
                <a:ahLst/>
                <a:cxnLst>
                  <a:cxn ang="0">
                    <a:pos x="connsiteX0" y="connsiteY0"/>
                  </a:cxn>
                  <a:cxn ang="0">
                    <a:pos x="connsiteX1" y="connsiteY1"/>
                  </a:cxn>
                  <a:cxn ang="0">
                    <a:pos x="connsiteX2" y="connsiteY2"/>
                  </a:cxn>
                  <a:cxn ang="0">
                    <a:pos x="connsiteX3" y="connsiteY3"/>
                  </a:cxn>
                </a:cxnLst>
                <a:rect l="l" t="t" r="r" b="b"/>
                <a:pathLst>
                  <a:path w="719301" h="285041">
                    <a:moveTo>
                      <a:pt x="719301" y="2871"/>
                    </a:moveTo>
                    <a:lnTo>
                      <a:pt x="1136" y="285041"/>
                    </a:lnTo>
                    <a:lnTo>
                      <a:pt x="0" y="282170"/>
                    </a:lnTo>
                    <a:lnTo>
                      <a:pt x="718165" y="0"/>
                    </a:lnTo>
                    <a:close/>
                  </a:path>
                </a:pathLst>
              </a:custGeom>
              <a:grpFill/>
              <a:ln w="5978" cap="flat">
                <a:noFill/>
                <a:prstDash val="solid"/>
                <a:miter/>
              </a:ln>
            </p:spPr>
            <p:txBody>
              <a:bodyPr rtlCol="0" anchor="ctr"/>
              <a:lstStyle/>
              <a:p>
                <a:endParaRPr lang="en-GB"/>
              </a:p>
            </p:txBody>
          </p:sp>
          <p:sp>
            <p:nvSpPr>
              <p:cNvPr id="1408" name="Vrije vorm: vorm 1407">
                <a:extLst>
                  <a:ext uri="{FF2B5EF4-FFF2-40B4-BE49-F238E27FC236}">
                    <a16:creationId xmlns:a16="http://schemas.microsoft.com/office/drawing/2014/main" id="{049B8434-E486-446E-B99B-0B44D238C69D}"/>
                  </a:ext>
                </a:extLst>
              </p:cNvPr>
              <p:cNvSpPr/>
              <p:nvPr/>
            </p:nvSpPr>
            <p:spPr>
              <a:xfrm>
                <a:off x="4520568" y="4112106"/>
                <a:ext cx="18320" cy="18437"/>
              </a:xfrm>
              <a:custGeom>
                <a:avLst/>
                <a:gdLst>
                  <a:gd name="connsiteX0" fmla="*/ 5781 w 18320"/>
                  <a:gd name="connsiteY0" fmla="*/ 637 h 18437"/>
                  <a:gd name="connsiteX1" fmla="*/ 17682 w 18320"/>
                  <a:gd name="connsiteY1" fmla="*/ 5840 h 18437"/>
                  <a:gd name="connsiteX2" fmla="*/ 12539 w 18320"/>
                  <a:gd name="connsiteY2" fmla="*/ 17801 h 18437"/>
                  <a:gd name="connsiteX3" fmla="*/ 638 w 18320"/>
                  <a:gd name="connsiteY3" fmla="*/ 12538 h 18437"/>
                  <a:gd name="connsiteX4" fmla="*/ 5781 w 18320"/>
                  <a:gd name="connsiteY4" fmla="*/ 637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7">
                    <a:moveTo>
                      <a:pt x="5781" y="637"/>
                    </a:moveTo>
                    <a:cubicBezTo>
                      <a:pt x="10506" y="-1217"/>
                      <a:pt x="15828" y="1115"/>
                      <a:pt x="17682" y="5840"/>
                    </a:cubicBezTo>
                    <a:cubicBezTo>
                      <a:pt x="19536" y="10565"/>
                      <a:pt x="17204" y="15947"/>
                      <a:pt x="12539" y="17801"/>
                    </a:cubicBezTo>
                    <a:cubicBezTo>
                      <a:pt x="7814" y="19655"/>
                      <a:pt x="2492" y="17323"/>
                      <a:pt x="638" y="12538"/>
                    </a:cubicBezTo>
                    <a:cubicBezTo>
                      <a:pt x="-1216" y="7813"/>
                      <a:pt x="1116" y="2491"/>
                      <a:pt x="5781" y="637"/>
                    </a:cubicBezTo>
                    <a:close/>
                  </a:path>
                </a:pathLst>
              </a:custGeom>
              <a:grpFill/>
              <a:ln w="5978" cap="flat">
                <a:noFill/>
                <a:prstDash val="solid"/>
                <a:miter/>
              </a:ln>
            </p:spPr>
            <p:txBody>
              <a:bodyPr rtlCol="0" anchor="ctr"/>
              <a:lstStyle/>
              <a:p>
                <a:endParaRPr lang="en-GB"/>
              </a:p>
            </p:txBody>
          </p:sp>
          <p:sp>
            <p:nvSpPr>
              <p:cNvPr id="1409" name="Vrije vorm: vorm 1408">
                <a:extLst>
                  <a:ext uri="{FF2B5EF4-FFF2-40B4-BE49-F238E27FC236}">
                    <a16:creationId xmlns:a16="http://schemas.microsoft.com/office/drawing/2014/main" id="{D7AEE0FB-B42D-4C0A-965F-BA3B69924430}"/>
                  </a:ext>
                </a:extLst>
              </p:cNvPr>
              <p:cNvSpPr/>
              <p:nvPr/>
            </p:nvSpPr>
            <p:spPr>
              <a:xfrm>
                <a:off x="3803233" y="4393950"/>
                <a:ext cx="18335" cy="18373"/>
              </a:xfrm>
              <a:custGeom>
                <a:avLst/>
                <a:gdLst>
                  <a:gd name="connsiteX0" fmla="*/ 5788 w 18335"/>
                  <a:gd name="connsiteY0" fmla="*/ 605 h 18373"/>
                  <a:gd name="connsiteX1" fmla="*/ 645 w 18335"/>
                  <a:gd name="connsiteY1" fmla="*/ 12507 h 18373"/>
                  <a:gd name="connsiteX2" fmla="*/ 12547 w 18335"/>
                  <a:gd name="connsiteY2" fmla="*/ 17770 h 18373"/>
                  <a:gd name="connsiteX3" fmla="*/ 17690 w 18335"/>
                  <a:gd name="connsiteY3" fmla="*/ 5808 h 18373"/>
                  <a:gd name="connsiteX4" fmla="*/ 5788 w 18335"/>
                  <a:gd name="connsiteY4" fmla="*/ 605 h 18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73">
                    <a:moveTo>
                      <a:pt x="5788" y="605"/>
                    </a:moveTo>
                    <a:cubicBezTo>
                      <a:pt x="1064" y="2459"/>
                      <a:pt x="-1209" y="7782"/>
                      <a:pt x="645" y="12507"/>
                    </a:cubicBezTo>
                    <a:cubicBezTo>
                      <a:pt x="2499" y="17231"/>
                      <a:pt x="7822" y="19564"/>
                      <a:pt x="12547" y="17770"/>
                    </a:cubicBezTo>
                    <a:cubicBezTo>
                      <a:pt x="17271" y="15916"/>
                      <a:pt x="19544" y="10593"/>
                      <a:pt x="17690" y="5808"/>
                    </a:cubicBezTo>
                    <a:cubicBezTo>
                      <a:pt x="15836" y="1143"/>
                      <a:pt x="10513" y="-1189"/>
                      <a:pt x="5788" y="605"/>
                    </a:cubicBezTo>
                    <a:close/>
                  </a:path>
                </a:pathLst>
              </a:custGeom>
              <a:grpFill/>
              <a:ln w="5978" cap="flat">
                <a:noFill/>
                <a:prstDash val="solid"/>
                <a:miter/>
              </a:ln>
            </p:spPr>
            <p:txBody>
              <a:bodyPr rtlCol="0" anchor="ctr"/>
              <a:lstStyle/>
              <a:p>
                <a:endParaRPr lang="en-GB"/>
              </a:p>
            </p:txBody>
          </p:sp>
        </p:grpSp>
        <p:grpSp>
          <p:nvGrpSpPr>
            <p:cNvPr id="1335" name="Graphic 3">
              <a:extLst>
                <a:ext uri="{FF2B5EF4-FFF2-40B4-BE49-F238E27FC236}">
                  <a16:creationId xmlns:a16="http://schemas.microsoft.com/office/drawing/2014/main" id="{02DE9764-9CE3-497F-98E6-F7327F19433D}"/>
                </a:ext>
              </a:extLst>
            </p:cNvPr>
            <p:cNvGrpSpPr/>
            <p:nvPr/>
          </p:nvGrpSpPr>
          <p:grpSpPr>
            <a:xfrm>
              <a:off x="3775943" y="3624782"/>
              <a:ext cx="391508" cy="61061"/>
              <a:chOff x="3775943" y="3624782"/>
              <a:chExt cx="391508" cy="61061"/>
            </a:xfrm>
            <a:grpFill/>
          </p:grpSpPr>
          <p:sp>
            <p:nvSpPr>
              <p:cNvPr id="1404" name="Vrije vorm: vorm 1403">
                <a:extLst>
                  <a:ext uri="{FF2B5EF4-FFF2-40B4-BE49-F238E27FC236}">
                    <a16:creationId xmlns:a16="http://schemas.microsoft.com/office/drawing/2014/main" id="{A827C2A6-2CD2-4177-9B8C-7E15DA5B4D63}"/>
                  </a:ext>
                </a:extLst>
              </p:cNvPr>
              <p:cNvSpPr/>
              <p:nvPr/>
            </p:nvSpPr>
            <p:spPr>
              <a:xfrm>
                <a:off x="3784441" y="3632372"/>
                <a:ext cx="374512" cy="45872"/>
              </a:xfrm>
              <a:custGeom>
                <a:avLst/>
                <a:gdLst>
                  <a:gd name="connsiteX0" fmla="*/ 374154 w 374512"/>
                  <a:gd name="connsiteY0" fmla="*/ 0 h 45872"/>
                  <a:gd name="connsiteX1" fmla="*/ 374513 w 374512"/>
                  <a:gd name="connsiteY1" fmla="*/ 3050 h 45872"/>
                  <a:gd name="connsiteX2" fmla="*/ 359 w 374512"/>
                  <a:gd name="connsiteY2" fmla="*/ 45872 h 45872"/>
                  <a:gd name="connsiteX3" fmla="*/ 0 w 374512"/>
                  <a:gd name="connsiteY3" fmla="*/ 42822 h 45872"/>
                </a:gdLst>
                <a:ahLst/>
                <a:cxnLst>
                  <a:cxn ang="0">
                    <a:pos x="connsiteX0" y="connsiteY0"/>
                  </a:cxn>
                  <a:cxn ang="0">
                    <a:pos x="connsiteX1" y="connsiteY1"/>
                  </a:cxn>
                  <a:cxn ang="0">
                    <a:pos x="connsiteX2" y="connsiteY2"/>
                  </a:cxn>
                  <a:cxn ang="0">
                    <a:pos x="connsiteX3" y="connsiteY3"/>
                  </a:cxn>
                </a:cxnLst>
                <a:rect l="l" t="t" r="r" b="b"/>
                <a:pathLst>
                  <a:path w="374512" h="45872">
                    <a:moveTo>
                      <a:pt x="374154" y="0"/>
                    </a:moveTo>
                    <a:lnTo>
                      <a:pt x="374513" y="3050"/>
                    </a:lnTo>
                    <a:lnTo>
                      <a:pt x="359" y="45872"/>
                    </a:lnTo>
                    <a:lnTo>
                      <a:pt x="0" y="42822"/>
                    </a:lnTo>
                    <a:close/>
                  </a:path>
                </a:pathLst>
              </a:custGeom>
              <a:grpFill/>
              <a:ln w="5978" cap="flat">
                <a:noFill/>
                <a:prstDash val="solid"/>
                <a:miter/>
              </a:ln>
            </p:spPr>
            <p:txBody>
              <a:bodyPr rtlCol="0" anchor="ctr"/>
              <a:lstStyle/>
              <a:p>
                <a:endParaRPr lang="en-GB"/>
              </a:p>
            </p:txBody>
          </p:sp>
          <p:sp>
            <p:nvSpPr>
              <p:cNvPr id="1405" name="Vrije vorm: vorm 1404">
                <a:extLst>
                  <a:ext uri="{FF2B5EF4-FFF2-40B4-BE49-F238E27FC236}">
                    <a16:creationId xmlns:a16="http://schemas.microsoft.com/office/drawing/2014/main" id="{89FE28E6-5824-4ED6-B925-A115DFAE4E2D}"/>
                  </a:ext>
                </a:extLst>
              </p:cNvPr>
              <p:cNvSpPr/>
              <p:nvPr/>
            </p:nvSpPr>
            <p:spPr>
              <a:xfrm>
                <a:off x="3775943" y="3667414"/>
                <a:ext cx="18311" cy="18429"/>
              </a:xfrm>
              <a:custGeom>
                <a:avLst/>
                <a:gdLst>
                  <a:gd name="connsiteX0" fmla="*/ 10232 w 18311"/>
                  <a:gd name="connsiteY0" fmla="*/ 18365 h 18429"/>
                  <a:gd name="connsiteX1" fmla="*/ 65 w 18311"/>
                  <a:gd name="connsiteY1" fmla="*/ 10231 h 18429"/>
                  <a:gd name="connsiteX2" fmla="*/ 8079 w 18311"/>
                  <a:gd name="connsiteY2" fmla="*/ 64 h 18429"/>
                  <a:gd name="connsiteX3" fmla="*/ 18247 w 18311"/>
                  <a:gd name="connsiteY3" fmla="*/ 8198 h 18429"/>
                  <a:gd name="connsiteX4" fmla="*/ 10232 w 18311"/>
                  <a:gd name="connsiteY4" fmla="*/ 1836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9">
                    <a:moveTo>
                      <a:pt x="10232" y="18365"/>
                    </a:moveTo>
                    <a:cubicBezTo>
                      <a:pt x="5209" y="18963"/>
                      <a:pt x="663" y="15315"/>
                      <a:pt x="65" y="10231"/>
                    </a:cubicBezTo>
                    <a:cubicBezTo>
                      <a:pt x="-533" y="5148"/>
                      <a:pt x="3055" y="602"/>
                      <a:pt x="8079" y="64"/>
                    </a:cubicBezTo>
                    <a:cubicBezTo>
                      <a:pt x="13103" y="-534"/>
                      <a:pt x="17648" y="3114"/>
                      <a:pt x="18247" y="8198"/>
                    </a:cubicBezTo>
                    <a:cubicBezTo>
                      <a:pt x="18845" y="13222"/>
                      <a:pt x="15256" y="17827"/>
                      <a:pt x="10232" y="18365"/>
                    </a:cubicBezTo>
                    <a:close/>
                  </a:path>
                </a:pathLst>
              </a:custGeom>
              <a:grpFill/>
              <a:ln w="5978" cap="flat">
                <a:noFill/>
                <a:prstDash val="solid"/>
                <a:miter/>
              </a:ln>
            </p:spPr>
            <p:txBody>
              <a:bodyPr rtlCol="0" anchor="ctr"/>
              <a:lstStyle/>
              <a:p>
                <a:endParaRPr lang="en-GB"/>
              </a:p>
            </p:txBody>
          </p:sp>
          <p:sp>
            <p:nvSpPr>
              <p:cNvPr id="1406" name="Vrije vorm: vorm 1405">
                <a:extLst>
                  <a:ext uri="{FF2B5EF4-FFF2-40B4-BE49-F238E27FC236}">
                    <a16:creationId xmlns:a16="http://schemas.microsoft.com/office/drawing/2014/main" id="{8D8ECC94-00FF-42A9-8C8D-D3875D6CC93C}"/>
                  </a:ext>
                </a:extLst>
              </p:cNvPr>
              <p:cNvSpPr/>
              <p:nvPr/>
            </p:nvSpPr>
            <p:spPr>
              <a:xfrm>
                <a:off x="4149140" y="3624782"/>
                <a:ext cx="18311" cy="18407"/>
              </a:xfrm>
              <a:custGeom>
                <a:avLst/>
                <a:gdLst>
                  <a:gd name="connsiteX0" fmla="*/ 10232 w 18311"/>
                  <a:gd name="connsiteY0" fmla="*/ 18354 h 18407"/>
                  <a:gd name="connsiteX1" fmla="*/ 18246 w 18311"/>
                  <a:gd name="connsiteY1" fmla="*/ 8187 h 18407"/>
                  <a:gd name="connsiteX2" fmla="*/ 8079 w 18311"/>
                  <a:gd name="connsiteY2" fmla="*/ 53 h 18407"/>
                  <a:gd name="connsiteX3" fmla="*/ 65 w 18311"/>
                  <a:gd name="connsiteY3" fmla="*/ 10221 h 18407"/>
                  <a:gd name="connsiteX4" fmla="*/ 10232 w 18311"/>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7">
                    <a:moveTo>
                      <a:pt x="10232" y="18354"/>
                    </a:moveTo>
                    <a:cubicBezTo>
                      <a:pt x="15256" y="17756"/>
                      <a:pt x="18845" y="13211"/>
                      <a:pt x="18246" y="8187"/>
                    </a:cubicBezTo>
                    <a:cubicBezTo>
                      <a:pt x="17648" y="3104"/>
                      <a:pt x="13103" y="-485"/>
                      <a:pt x="8079" y="53"/>
                    </a:cubicBezTo>
                    <a:cubicBezTo>
                      <a:pt x="3055" y="652"/>
                      <a:pt x="-533" y="5197"/>
                      <a:pt x="65" y="10221"/>
                    </a:cubicBezTo>
                    <a:cubicBezTo>
                      <a:pt x="663" y="15304"/>
                      <a:pt x="5208" y="18893"/>
                      <a:pt x="10232" y="18354"/>
                    </a:cubicBezTo>
                    <a:close/>
                  </a:path>
                </a:pathLst>
              </a:custGeom>
              <a:grpFill/>
              <a:ln w="5978" cap="flat">
                <a:noFill/>
                <a:prstDash val="solid"/>
                <a:miter/>
              </a:ln>
            </p:spPr>
            <p:txBody>
              <a:bodyPr rtlCol="0" anchor="ctr"/>
              <a:lstStyle/>
              <a:p>
                <a:endParaRPr lang="en-GB"/>
              </a:p>
            </p:txBody>
          </p:sp>
        </p:grpSp>
        <p:grpSp>
          <p:nvGrpSpPr>
            <p:cNvPr id="1336" name="Graphic 3">
              <a:extLst>
                <a:ext uri="{FF2B5EF4-FFF2-40B4-BE49-F238E27FC236}">
                  <a16:creationId xmlns:a16="http://schemas.microsoft.com/office/drawing/2014/main" id="{BAEEA806-F062-4A8E-BC3E-F873E844E0B8}"/>
                </a:ext>
              </a:extLst>
            </p:cNvPr>
            <p:cNvGrpSpPr/>
            <p:nvPr/>
          </p:nvGrpSpPr>
          <p:grpSpPr>
            <a:xfrm>
              <a:off x="3722748" y="3553642"/>
              <a:ext cx="435759" cy="50345"/>
              <a:chOff x="3722748" y="3553642"/>
              <a:chExt cx="435759" cy="50345"/>
            </a:xfrm>
            <a:grpFill/>
          </p:grpSpPr>
          <p:sp>
            <p:nvSpPr>
              <p:cNvPr id="1401" name="Vrije vorm: vorm 1400">
                <a:extLst>
                  <a:ext uri="{FF2B5EF4-FFF2-40B4-BE49-F238E27FC236}">
                    <a16:creationId xmlns:a16="http://schemas.microsoft.com/office/drawing/2014/main" id="{371F48E5-8E49-43FB-8CBD-B2197A811214}"/>
                  </a:ext>
                </a:extLst>
              </p:cNvPr>
              <p:cNvSpPr/>
              <p:nvPr/>
            </p:nvSpPr>
            <p:spPr>
              <a:xfrm>
                <a:off x="3731332" y="3561261"/>
                <a:ext cx="418590" cy="35106"/>
              </a:xfrm>
              <a:custGeom>
                <a:avLst/>
                <a:gdLst>
                  <a:gd name="connsiteX0" fmla="*/ 418352 w 418590"/>
                  <a:gd name="connsiteY0" fmla="*/ 0 h 35106"/>
                  <a:gd name="connsiteX1" fmla="*/ 418591 w 418590"/>
                  <a:gd name="connsiteY1" fmla="*/ 3050 h 35106"/>
                  <a:gd name="connsiteX2" fmla="*/ 239 w 418590"/>
                  <a:gd name="connsiteY2" fmla="*/ 35107 h 35106"/>
                  <a:gd name="connsiteX3" fmla="*/ 0 w 418590"/>
                  <a:gd name="connsiteY3" fmla="*/ 32057 h 35106"/>
                </a:gdLst>
                <a:ahLst/>
                <a:cxnLst>
                  <a:cxn ang="0">
                    <a:pos x="connsiteX0" y="connsiteY0"/>
                  </a:cxn>
                  <a:cxn ang="0">
                    <a:pos x="connsiteX1" y="connsiteY1"/>
                  </a:cxn>
                  <a:cxn ang="0">
                    <a:pos x="connsiteX2" y="connsiteY2"/>
                  </a:cxn>
                  <a:cxn ang="0">
                    <a:pos x="connsiteX3" y="connsiteY3"/>
                  </a:cxn>
                </a:cxnLst>
                <a:rect l="l" t="t" r="r" b="b"/>
                <a:pathLst>
                  <a:path w="418590" h="35106">
                    <a:moveTo>
                      <a:pt x="418352" y="0"/>
                    </a:moveTo>
                    <a:lnTo>
                      <a:pt x="418591" y="3050"/>
                    </a:lnTo>
                    <a:lnTo>
                      <a:pt x="239" y="35107"/>
                    </a:lnTo>
                    <a:lnTo>
                      <a:pt x="0" y="32057"/>
                    </a:lnTo>
                    <a:close/>
                  </a:path>
                </a:pathLst>
              </a:custGeom>
              <a:grpFill/>
              <a:ln w="5978" cap="flat">
                <a:noFill/>
                <a:prstDash val="solid"/>
                <a:miter/>
              </a:ln>
            </p:spPr>
            <p:txBody>
              <a:bodyPr rtlCol="0" anchor="ctr"/>
              <a:lstStyle/>
              <a:p>
                <a:endParaRPr lang="en-GB"/>
              </a:p>
            </p:txBody>
          </p:sp>
          <p:sp>
            <p:nvSpPr>
              <p:cNvPr id="1402" name="Vrije vorm: vorm 1401">
                <a:extLst>
                  <a:ext uri="{FF2B5EF4-FFF2-40B4-BE49-F238E27FC236}">
                    <a16:creationId xmlns:a16="http://schemas.microsoft.com/office/drawing/2014/main" id="{4FBD069C-D54F-47DD-95A5-35D7FB8C6869}"/>
                  </a:ext>
                </a:extLst>
              </p:cNvPr>
              <p:cNvSpPr/>
              <p:nvPr/>
            </p:nvSpPr>
            <p:spPr>
              <a:xfrm>
                <a:off x="4140202" y="3553642"/>
                <a:ext cx="18304" cy="18407"/>
              </a:xfrm>
              <a:custGeom>
                <a:avLst/>
                <a:gdLst>
                  <a:gd name="connsiteX0" fmla="*/ 8405 w 18304"/>
                  <a:gd name="connsiteY0" fmla="*/ 24 h 18407"/>
                  <a:gd name="connsiteX1" fmla="*/ 18273 w 18304"/>
                  <a:gd name="connsiteY1" fmla="*/ 8516 h 18407"/>
                  <a:gd name="connsiteX2" fmla="*/ 9900 w 18304"/>
                  <a:gd name="connsiteY2" fmla="*/ 18384 h 18407"/>
                  <a:gd name="connsiteX3" fmla="*/ 32 w 18304"/>
                  <a:gd name="connsiteY3" fmla="*/ 9892 h 18407"/>
                  <a:gd name="connsiteX4" fmla="*/ 8405 w 18304"/>
                  <a:gd name="connsiteY4" fmla="*/ 2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07">
                    <a:moveTo>
                      <a:pt x="8405" y="24"/>
                    </a:moveTo>
                    <a:cubicBezTo>
                      <a:pt x="13429" y="-335"/>
                      <a:pt x="17854" y="3433"/>
                      <a:pt x="18273" y="8516"/>
                    </a:cubicBezTo>
                    <a:cubicBezTo>
                      <a:pt x="18692" y="13600"/>
                      <a:pt x="14924" y="18025"/>
                      <a:pt x="9900" y="18384"/>
                    </a:cubicBezTo>
                    <a:cubicBezTo>
                      <a:pt x="4876" y="18743"/>
                      <a:pt x="450" y="14975"/>
                      <a:pt x="32" y="9892"/>
                    </a:cubicBezTo>
                    <a:cubicBezTo>
                      <a:pt x="-387" y="4808"/>
                      <a:pt x="3381" y="382"/>
                      <a:pt x="8405" y="24"/>
                    </a:cubicBezTo>
                    <a:close/>
                  </a:path>
                </a:pathLst>
              </a:custGeom>
              <a:grpFill/>
              <a:ln w="5978" cap="flat">
                <a:noFill/>
                <a:prstDash val="solid"/>
                <a:miter/>
              </a:ln>
            </p:spPr>
            <p:txBody>
              <a:bodyPr rtlCol="0" anchor="ctr"/>
              <a:lstStyle/>
              <a:p>
                <a:endParaRPr lang="en-GB"/>
              </a:p>
            </p:txBody>
          </p:sp>
          <p:sp>
            <p:nvSpPr>
              <p:cNvPr id="1403" name="Vrije vorm: vorm 1402">
                <a:extLst>
                  <a:ext uri="{FF2B5EF4-FFF2-40B4-BE49-F238E27FC236}">
                    <a16:creationId xmlns:a16="http://schemas.microsoft.com/office/drawing/2014/main" id="{64475095-3EF4-4737-9BC2-59C68579D9CB}"/>
                  </a:ext>
                </a:extLst>
              </p:cNvPr>
              <p:cNvSpPr/>
              <p:nvPr/>
            </p:nvSpPr>
            <p:spPr>
              <a:xfrm>
                <a:off x="3722748" y="3585579"/>
                <a:ext cx="18356" cy="18408"/>
              </a:xfrm>
              <a:custGeom>
                <a:avLst/>
                <a:gdLst>
                  <a:gd name="connsiteX0" fmla="*/ 8405 w 18356"/>
                  <a:gd name="connsiteY0" fmla="*/ 24 h 18408"/>
                  <a:gd name="connsiteX1" fmla="*/ 32 w 18356"/>
                  <a:gd name="connsiteY1" fmla="*/ 9892 h 18408"/>
                  <a:gd name="connsiteX2" fmla="*/ 9900 w 18356"/>
                  <a:gd name="connsiteY2" fmla="*/ 18384 h 18408"/>
                  <a:gd name="connsiteX3" fmla="*/ 18333 w 18356"/>
                  <a:gd name="connsiteY3" fmla="*/ 8516 h 18408"/>
                  <a:gd name="connsiteX4" fmla="*/ 8405 w 18356"/>
                  <a:gd name="connsiteY4" fmla="*/ 2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8">
                    <a:moveTo>
                      <a:pt x="8405" y="24"/>
                    </a:moveTo>
                    <a:cubicBezTo>
                      <a:pt x="3381" y="382"/>
                      <a:pt x="-387" y="4808"/>
                      <a:pt x="32" y="9892"/>
                    </a:cubicBezTo>
                    <a:cubicBezTo>
                      <a:pt x="450" y="14975"/>
                      <a:pt x="4876" y="18743"/>
                      <a:pt x="9900" y="18384"/>
                    </a:cubicBezTo>
                    <a:cubicBezTo>
                      <a:pt x="14924" y="18026"/>
                      <a:pt x="18692" y="13600"/>
                      <a:pt x="18333" y="8516"/>
                    </a:cubicBezTo>
                    <a:cubicBezTo>
                      <a:pt x="17854" y="3433"/>
                      <a:pt x="13429" y="-335"/>
                      <a:pt x="8405" y="24"/>
                    </a:cubicBezTo>
                    <a:close/>
                  </a:path>
                </a:pathLst>
              </a:custGeom>
              <a:grpFill/>
              <a:ln w="5978" cap="flat">
                <a:noFill/>
                <a:prstDash val="solid"/>
                <a:miter/>
              </a:ln>
            </p:spPr>
            <p:txBody>
              <a:bodyPr rtlCol="0" anchor="ctr"/>
              <a:lstStyle/>
              <a:p>
                <a:endParaRPr lang="en-GB"/>
              </a:p>
            </p:txBody>
          </p:sp>
        </p:grpSp>
        <p:grpSp>
          <p:nvGrpSpPr>
            <p:cNvPr id="1337" name="Graphic 3">
              <a:extLst>
                <a:ext uri="{FF2B5EF4-FFF2-40B4-BE49-F238E27FC236}">
                  <a16:creationId xmlns:a16="http://schemas.microsoft.com/office/drawing/2014/main" id="{2F6F7F82-5784-41DE-B7D3-726ABC1F8EE4}"/>
                </a:ext>
              </a:extLst>
            </p:cNvPr>
            <p:cNvGrpSpPr/>
            <p:nvPr/>
          </p:nvGrpSpPr>
          <p:grpSpPr>
            <a:xfrm>
              <a:off x="3517139" y="3599103"/>
              <a:ext cx="870174" cy="68750"/>
              <a:chOff x="3517139" y="3599103"/>
              <a:chExt cx="870174" cy="68750"/>
            </a:xfrm>
            <a:grpFill/>
          </p:grpSpPr>
          <p:sp>
            <p:nvSpPr>
              <p:cNvPr id="1398" name="Vrije vorm: vorm 1397">
                <a:extLst>
                  <a:ext uri="{FF2B5EF4-FFF2-40B4-BE49-F238E27FC236}">
                    <a16:creationId xmlns:a16="http://schemas.microsoft.com/office/drawing/2014/main" id="{1C0DE8A2-0529-44B7-AF39-95CF4E674F8B}"/>
                  </a:ext>
                </a:extLst>
              </p:cNvPr>
              <p:cNvSpPr/>
              <p:nvPr/>
            </p:nvSpPr>
            <p:spPr>
              <a:xfrm>
                <a:off x="3525775" y="3606774"/>
                <a:ext cx="852910" cy="53407"/>
              </a:xfrm>
              <a:custGeom>
                <a:avLst/>
                <a:gdLst>
                  <a:gd name="connsiteX0" fmla="*/ 852732 w 852910"/>
                  <a:gd name="connsiteY0" fmla="*/ 0 h 53407"/>
                  <a:gd name="connsiteX1" fmla="*/ 852911 w 852910"/>
                  <a:gd name="connsiteY1" fmla="*/ 3050 h 53407"/>
                  <a:gd name="connsiteX2" fmla="*/ 179 w 852910"/>
                  <a:gd name="connsiteY2" fmla="*/ 53408 h 53407"/>
                  <a:gd name="connsiteX3" fmla="*/ 0 w 852910"/>
                  <a:gd name="connsiteY3" fmla="*/ 50358 h 53407"/>
                </a:gdLst>
                <a:ahLst/>
                <a:cxnLst>
                  <a:cxn ang="0">
                    <a:pos x="connsiteX0" y="connsiteY0"/>
                  </a:cxn>
                  <a:cxn ang="0">
                    <a:pos x="connsiteX1" y="connsiteY1"/>
                  </a:cxn>
                  <a:cxn ang="0">
                    <a:pos x="connsiteX2" y="connsiteY2"/>
                  </a:cxn>
                  <a:cxn ang="0">
                    <a:pos x="connsiteX3" y="connsiteY3"/>
                  </a:cxn>
                </a:cxnLst>
                <a:rect l="l" t="t" r="r" b="b"/>
                <a:pathLst>
                  <a:path w="852910" h="53407">
                    <a:moveTo>
                      <a:pt x="852732" y="0"/>
                    </a:moveTo>
                    <a:lnTo>
                      <a:pt x="852911" y="3050"/>
                    </a:lnTo>
                    <a:lnTo>
                      <a:pt x="179" y="53408"/>
                    </a:lnTo>
                    <a:lnTo>
                      <a:pt x="0" y="50358"/>
                    </a:lnTo>
                    <a:close/>
                  </a:path>
                </a:pathLst>
              </a:custGeom>
              <a:grpFill/>
              <a:ln w="5978" cap="flat">
                <a:noFill/>
                <a:prstDash val="solid"/>
                <a:miter/>
              </a:ln>
            </p:spPr>
            <p:txBody>
              <a:bodyPr rtlCol="0" anchor="ctr"/>
              <a:lstStyle/>
              <a:p>
                <a:endParaRPr lang="en-GB"/>
              </a:p>
            </p:txBody>
          </p:sp>
          <p:sp>
            <p:nvSpPr>
              <p:cNvPr id="1399" name="Vrije vorm: vorm 1398">
                <a:extLst>
                  <a:ext uri="{FF2B5EF4-FFF2-40B4-BE49-F238E27FC236}">
                    <a16:creationId xmlns:a16="http://schemas.microsoft.com/office/drawing/2014/main" id="{0D24D3CA-535B-4259-9A5B-FC02883068F4}"/>
                  </a:ext>
                </a:extLst>
              </p:cNvPr>
              <p:cNvSpPr/>
              <p:nvPr/>
            </p:nvSpPr>
            <p:spPr>
              <a:xfrm>
                <a:off x="4368980" y="3599103"/>
                <a:ext cx="18333" cy="18452"/>
              </a:xfrm>
              <a:custGeom>
                <a:avLst/>
                <a:gdLst>
                  <a:gd name="connsiteX0" fmla="*/ 8569 w 18333"/>
                  <a:gd name="connsiteY0" fmla="*/ 16 h 18452"/>
                  <a:gd name="connsiteX1" fmla="*/ 18317 w 18333"/>
                  <a:gd name="connsiteY1" fmla="*/ 8688 h 18452"/>
                  <a:gd name="connsiteX2" fmla="*/ 9765 w 18333"/>
                  <a:gd name="connsiteY2" fmla="*/ 18437 h 18452"/>
                  <a:gd name="connsiteX3" fmla="*/ 16 w 18333"/>
                  <a:gd name="connsiteY3" fmla="*/ 9765 h 18452"/>
                  <a:gd name="connsiteX4" fmla="*/ 8569 w 18333"/>
                  <a:gd name="connsiteY4" fmla="*/ 16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8569" y="16"/>
                    </a:moveTo>
                    <a:cubicBezTo>
                      <a:pt x="13593" y="-283"/>
                      <a:pt x="17959" y="3604"/>
                      <a:pt x="18317" y="8688"/>
                    </a:cubicBezTo>
                    <a:cubicBezTo>
                      <a:pt x="18616" y="13772"/>
                      <a:pt x="14789" y="18138"/>
                      <a:pt x="9765" y="18437"/>
                    </a:cubicBezTo>
                    <a:cubicBezTo>
                      <a:pt x="4741" y="18736"/>
                      <a:pt x="375" y="14848"/>
                      <a:pt x="16" y="9765"/>
                    </a:cubicBezTo>
                    <a:cubicBezTo>
                      <a:pt x="-283" y="4681"/>
                      <a:pt x="3545" y="315"/>
                      <a:pt x="8569" y="16"/>
                    </a:cubicBezTo>
                    <a:close/>
                  </a:path>
                </a:pathLst>
              </a:custGeom>
              <a:grpFill/>
              <a:ln w="5978" cap="flat">
                <a:noFill/>
                <a:prstDash val="solid"/>
                <a:miter/>
              </a:ln>
            </p:spPr>
            <p:txBody>
              <a:bodyPr rtlCol="0" anchor="ctr"/>
              <a:lstStyle/>
              <a:p>
                <a:endParaRPr lang="en-GB"/>
              </a:p>
            </p:txBody>
          </p:sp>
          <p:sp>
            <p:nvSpPr>
              <p:cNvPr id="1400" name="Vrije vorm: vorm 1399">
                <a:extLst>
                  <a:ext uri="{FF2B5EF4-FFF2-40B4-BE49-F238E27FC236}">
                    <a16:creationId xmlns:a16="http://schemas.microsoft.com/office/drawing/2014/main" id="{18648CB7-C416-4A30-96EE-B7C69F358292}"/>
                  </a:ext>
                </a:extLst>
              </p:cNvPr>
              <p:cNvSpPr/>
              <p:nvPr/>
            </p:nvSpPr>
            <p:spPr>
              <a:xfrm>
                <a:off x="3517139" y="3649400"/>
                <a:ext cx="18346" cy="18453"/>
              </a:xfrm>
              <a:custGeom>
                <a:avLst/>
                <a:gdLst>
                  <a:gd name="connsiteX0" fmla="*/ 8575 w 18346"/>
                  <a:gd name="connsiteY0" fmla="*/ 16 h 18453"/>
                  <a:gd name="connsiteX1" fmla="*/ 23 w 18346"/>
                  <a:gd name="connsiteY1" fmla="*/ 9765 h 18453"/>
                  <a:gd name="connsiteX2" fmla="*/ 9772 w 18346"/>
                  <a:gd name="connsiteY2" fmla="*/ 18437 h 18453"/>
                  <a:gd name="connsiteX3" fmla="*/ 18324 w 18346"/>
                  <a:gd name="connsiteY3" fmla="*/ 8688 h 18453"/>
                  <a:gd name="connsiteX4" fmla="*/ 8575 w 18346"/>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3">
                    <a:moveTo>
                      <a:pt x="8575" y="16"/>
                    </a:moveTo>
                    <a:cubicBezTo>
                      <a:pt x="3552" y="315"/>
                      <a:pt x="-336" y="4681"/>
                      <a:pt x="23" y="9765"/>
                    </a:cubicBezTo>
                    <a:cubicBezTo>
                      <a:pt x="322" y="14848"/>
                      <a:pt x="4688" y="18736"/>
                      <a:pt x="9772" y="18437"/>
                    </a:cubicBezTo>
                    <a:cubicBezTo>
                      <a:pt x="14795" y="18138"/>
                      <a:pt x="18683" y="13772"/>
                      <a:pt x="18324" y="8688"/>
                    </a:cubicBezTo>
                    <a:cubicBezTo>
                      <a:pt x="17965" y="3605"/>
                      <a:pt x="13659" y="-283"/>
                      <a:pt x="8575" y="16"/>
                    </a:cubicBezTo>
                    <a:close/>
                  </a:path>
                </a:pathLst>
              </a:custGeom>
              <a:grpFill/>
              <a:ln w="5978" cap="flat">
                <a:noFill/>
                <a:prstDash val="solid"/>
                <a:miter/>
              </a:ln>
            </p:spPr>
            <p:txBody>
              <a:bodyPr rtlCol="0" anchor="ctr"/>
              <a:lstStyle/>
              <a:p>
                <a:endParaRPr lang="en-GB"/>
              </a:p>
            </p:txBody>
          </p:sp>
        </p:grpSp>
        <p:grpSp>
          <p:nvGrpSpPr>
            <p:cNvPr id="1338" name="Graphic 3">
              <a:extLst>
                <a:ext uri="{FF2B5EF4-FFF2-40B4-BE49-F238E27FC236}">
                  <a16:creationId xmlns:a16="http://schemas.microsoft.com/office/drawing/2014/main" id="{B08372E1-3003-4BBE-8D42-8B8112C7C1A6}"/>
                </a:ext>
              </a:extLst>
            </p:cNvPr>
            <p:cNvGrpSpPr/>
            <p:nvPr/>
          </p:nvGrpSpPr>
          <p:grpSpPr>
            <a:xfrm>
              <a:off x="4218394" y="4525391"/>
              <a:ext cx="79831" cy="57397"/>
              <a:chOff x="4218394" y="4525391"/>
              <a:chExt cx="79831" cy="57397"/>
            </a:xfrm>
            <a:grpFill/>
          </p:grpSpPr>
          <p:sp>
            <p:nvSpPr>
              <p:cNvPr id="1395" name="Vrije vorm: vorm 1394">
                <a:extLst>
                  <a:ext uri="{FF2B5EF4-FFF2-40B4-BE49-F238E27FC236}">
                    <a16:creationId xmlns:a16="http://schemas.microsoft.com/office/drawing/2014/main" id="{0CBAF84C-8FCD-4287-AF3E-FE198CA07E1E}"/>
                  </a:ext>
                </a:extLst>
              </p:cNvPr>
              <p:cNvSpPr/>
              <p:nvPr/>
            </p:nvSpPr>
            <p:spPr>
              <a:xfrm>
                <a:off x="4226356" y="4533068"/>
                <a:ext cx="63933" cy="42044"/>
              </a:xfrm>
              <a:custGeom>
                <a:avLst/>
                <a:gdLst>
                  <a:gd name="connsiteX0" fmla="*/ 63934 w 63933"/>
                  <a:gd name="connsiteY0" fmla="*/ 2572 h 42044"/>
                  <a:gd name="connsiteX1" fmla="*/ 1615 w 63933"/>
                  <a:gd name="connsiteY1" fmla="*/ 42045 h 42044"/>
                  <a:gd name="connsiteX2" fmla="*/ 0 w 63933"/>
                  <a:gd name="connsiteY2" fmla="*/ 39413 h 42044"/>
                  <a:gd name="connsiteX3" fmla="*/ 62319 w 63933"/>
                  <a:gd name="connsiteY3" fmla="*/ 0 h 42044"/>
                </a:gdLst>
                <a:ahLst/>
                <a:cxnLst>
                  <a:cxn ang="0">
                    <a:pos x="connsiteX0" y="connsiteY0"/>
                  </a:cxn>
                  <a:cxn ang="0">
                    <a:pos x="connsiteX1" y="connsiteY1"/>
                  </a:cxn>
                  <a:cxn ang="0">
                    <a:pos x="connsiteX2" y="connsiteY2"/>
                  </a:cxn>
                  <a:cxn ang="0">
                    <a:pos x="connsiteX3" y="connsiteY3"/>
                  </a:cxn>
                </a:cxnLst>
                <a:rect l="l" t="t" r="r" b="b"/>
                <a:pathLst>
                  <a:path w="63933" h="42044">
                    <a:moveTo>
                      <a:pt x="63934" y="2572"/>
                    </a:moveTo>
                    <a:lnTo>
                      <a:pt x="1615" y="42045"/>
                    </a:lnTo>
                    <a:lnTo>
                      <a:pt x="0" y="39413"/>
                    </a:lnTo>
                    <a:lnTo>
                      <a:pt x="62319" y="0"/>
                    </a:lnTo>
                    <a:close/>
                  </a:path>
                </a:pathLst>
              </a:custGeom>
              <a:grpFill/>
              <a:ln w="5978" cap="flat">
                <a:noFill/>
                <a:prstDash val="solid"/>
                <a:miter/>
              </a:ln>
            </p:spPr>
            <p:txBody>
              <a:bodyPr rtlCol="0" anchor="ctr"/>
              <a:lstStyle/>
              <a:p>
                <a:endParaRPr lang="en-GB"/>
              </a:p>
            </p:txBody>
          </p:sp>
          <p:sp>
            <p:nvSpPr>
              <p:cNvPr id="1396" name="Vrije vorm: vorm 1395">
                <a:extLst>
                  <a:ext uri="{FF2B5EF4-FFF2-40B4-BE49-F238E27FC236}">
                    <a16:creationId xmlns:a16="http://schemas.microsoft.com/office/drawing/2014/main" id="{89FDDFC6-997B-48D7-94A0-40FA5413C056}"/>
                  </a:ext>
                </a:extLst>
              </p:cNvPr>
              <p:cNvSpPr/>
              <p:nvPr/>
            </p:nvSpPr>
            <p:spPr>
              <a:xfrm>
                <a:off x="4279936" y="4525391"/>
                <a:ext cx="18290" cy="18417"/>
              </a:xfrm>
              <a:custGeom>
                <a:avLst/>
                <a:gdLst>
                  <a:gd name="connsiteX0" fmla="*/ 4254 w 18290"/>
                  <a:gd name="connsiteY0" fmla="*/ 1397 h 18417"/>
                  <a:gd name="connsiteX1" fmla="*/ 16873 w 18290"/>
                  <a:gd name="connsiteY1" fmla="*/ 4327 h 18417"/>
                  <a:gd name="connsiteX2" fmla="*/ 14063 w 18290"/>
                  <a:gd name="connsiteY2" fmla="*/ 17007 h 18417"/>
                  <a:gd name="connsiteX3" fmla="*/ 1443 w 18290"/>
                  <a:gd name="connsiteY3" fmla="*/ 14076 h 18417"/>
                  <a:gd name="connsiteX4" fmla="*/ 4254 w 18290"/>
                  <a:gd name="connsiteY4" fmla="*/ 139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17">
                    <a:moveTo>
                      <a:pt x="4254" y="1397"/>
                    </a:moveTo>
                    <a:cubicBezTo>
                      <a:pt x="8501" y="-1294"/>
                      <a:pt x="14182" y="21"/>
                      <a:pt x="16873" y="4327"/>
                    </a:cubicBezTo>
                    <a:cubicBezTo>
                      <a:pt x="19565" y="8634"/>
                      <a:pt x="18309" y="14315"/>
                      <a:pt x="14063" y="17007"/>
                    </a:cubicBezTo>
                    <a:cubicBezTo>
                      <a:pt x="9816" y="19698"/>
                      <a:pt x="4134" y="18442"/>
                      <a:pt x="1443" y="14076"/>
                    </a:cubicBezTo>
                    <a:cubicBezTo>
                      <a:pt x="-1308" y="9770"/>
                      <a:pt x="8" y="4088"/>
                      <a:pt x="4254" y="1397"/>
                    </a:cubicBezTo>
                    <a:close/>
                  </a:path>
                </a:pathLst>
              </a:custGeom>
              <a:grpFill/>
              <a:ln w="5978" cap="flat">
                <a:noFill/>
                <a:prstDash val="solid"/>
                <a:miter/>
              </a:ln>
            </p:spPr>
            <p:txBody>
              <a:bodyPr rtlCol="0" anchor="ctr"/>
              <a:lstStyle/>
              <a:p>
                <a:endParaRPr lang="en-GB"/>
              </a:p>
            </p:txBody>
          </p:sp>
          <p:sp>
            <p:nvSpPr>
              <p:cNvPr id="1397" name="Vrije vorm: vorm 1396">
                <a:extLst>
                  <a:ext uri="{FF2B5EF4-FFF2-40B4-BE49-F238E27FC236}">
                    <a16:creationId xmlns:a16="http://schemas.microsoft.com/office/drawing/2014/main" id="{B5305C9E-0E9E-436B-BCBE-63472A2EA1E5}"/>
                  </a:ext>
                </a:extLst>
              </p:cNvPr>
              <p:cNvSpPr/>
              <p:nvPr/>
            </p:nvSpPr>
            <p:spPr>
              <a:xfrm>
                <a:off x="4218394" y="4564345"/>
                <a:ext cx="18316" cy="18444"/>
              </a:xfrm>
              <a:custGeom>
                <a:avLst/>
                <a:gdLst>
                  <a:gd name="connsiteX0" fmla="*/ 4254 w 18316"/>
                  <a:gd name="connsiteY0" fmla="*/ 1438 h 18444"/>
                  <a:gd name="connsiteX1" fmla="*/ 1443 w 18316"/>
                  <a:gd name="connsiteY1" fmla="*/ 14117 h 18444"/>
                  <a:gd name="connsiteX2" fmla="*/ 14062 w 18316"/>
                  <a:gd name="connsiteY2" fmla="*/ 17048 h 18444"/>
                  <a:gd name="connsiteX3" fmla="*/ 16874 w 18316"/>
                  <a:gd name="connsiteY3" fmla="*/ 4368 h 18444"/>
                  <a:gd name="connsiteX4" fmla="*/ 4254 w 18316"/>
                  <a:gd name="connsiteY4" fmla="*/ 143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4254" y="1438"/>
                    </a:moveTo>
                    <a:cubicBezTo>
                      <a:pt x="8" y="4129"/>
                      <a:pt x="-1308" y="9811"/>
                      <a:pt x="1443" y="14117"/>
                    </a:cubicBezTo>
                    <a:cubicBezTo>
                      <a:pt x="4135" y="18423"/>
                      <a:pt x="9816" y="19739"/>
                      <a:pt x="14062" y="17048"/>
                    </a:cubicBezTo>
                    <a:cubicBezTo>
                      <a:pt x="18309" y="14356"/>
                      <a:pt x="19625" y="8674"/>
                      <a:pt x="16874" y="4368"/>
                    </a:cubicBezTo>
                    <a:cubicBezTo>
                      <a:pt x="14182" y="3"/>
                      <a:pt x="8500" y="-1313"/>
                      <a:pt x="4254" y="1438"/>
                    </a:cubicBezTo>
                    <a:close/>
                  </a:path>
                </a:pathLst>
              </a:custGeom>
              <a:grpFill/>
              <a:ln w="5978" cap="flat">
                <a:noFill/>
                <a:prstDash val="solid"/>
                <a:miter/>
              </a:ln>
            </p:spPr>
            <p:txBody>
              <a:bodyPr rtlCol="0" anchor="ctr"/>
              <a:lstStyle/>
              <a:p>
                <a:endParaRPr lang="en-GB"/>
              </a:p>
            </p:txBody>
          </p:sp>
        </p:grpSp>
        <p:grpSp>
          <p:nvGrpSpPr>
            <p:cNvPr id="1339" name="Graphic 3">
              <a:extLst>
                <a:ext uri="{FF2B5EF4-FFF2-40B4-BE49-F238E27FC236}">
                  <a16:creationId xmlns:a16="http://schemas.microsoft.com/office/drawing/2014/main" id="{1724166D-BDEA-411B-886D-0913A1DC00D0}"/>
                </a:ext>
              </a:extLst>
            </p:cNvPr>
            <p:cNvGrpSpPr/>
            <p:nvPr/>
          </p:nvGrpSpPr>
          <p:grpSpPr>
            <a:xfrm>
              <a:off x="3812463" y="4274269"/>
              <a:ext cx="823168" cy="451032"/>
              <a:chOff x="3812463" y="4274269"/>
              <a:chExt cx="823168" cy="451032"/>
            </a:xfrm>
            <a:grpFill/>
          </p:grpSpPr>
          <p:sp>
            <p:nvSpPr>
              <p:cNvPr id="1392" name="Vrije vorm: vorm 1391">
                <a:extLst>
                  <a:ext uri="{FF2B5EF4-FFF2-40B4-BE49-F238E27FC236}">
                    <a16:creationId xmlns:a16="http://schemas.microsoft.com/office/drawing/2014/main" id="{D5ED55B8-57DA-4DA9-9FC8-D1485FA16296}"/>
                  </a:ext>
                </a:extLst>
              </p:cNvPr>
              <p:cNvSpPr/>
              <p:nvPr/>
            </p:nvSpPr>
            <p:spPr>
              <a:xfrm>
                <a:off x="3820445" y="4281878"/>
                <a:ext cx="807098" cy="435815"/>
              </a:xfrm>
              <a:custGeom>
                <a:avLst/>
                <a:gdLst>
                  <a:gd name="connsiteX0" fmla="*/ 807098 w 807098"/>
                  <a:gd name="connsiteY0" fmla="*/ 2751 h 435815"/>
                  <a:gd name="connsiteX1" fmla="*/ 1495 w 807098"/>
                  <a:gd name="connsiteY1" fmla="*/ 435815 h 435815"/>
                  <a:gd name="connsiteX2" fmla="*/ 0 w 807098"/>
                  <a:gd name="connsiteY2" fmla="*/ 433124 h 435815"/>
                  <a:gd name="connsiteX3" fmla="*/ 805663 w 807098"/>
                  <a:gd name="connsiteY3" fmla="*/ 0 h 435815"/>
                </a:gdLst>
                <a:ahLst/>
                <a:cxnLst>
                  <a:cxn ang="0">
                    <a:pos x="connsiteX0" y="connsiteY0"/>
                  </a:cxn>
                  <a:cxn ang="0">
                    <a:pos x="connsiteX1" y="connsiteY1"/>
                  </a:cxn>
                  <a:cxn ang="0">
                    <a:pos x="connsiteX2" y="connsiteY2"/>
                  </a:cxn>
                  <a:cxn ang="0">
                    <a:pos x="connsiteX3" y="connsiteY3"/>
                  </a:cxn>
                </a:cxnLst>
                <a:rect l="l" t="t" r="r" b="b"/>
                <a:pathLst>
                  <a:path w="807098" h="435815">
                    <a:moveTo>
                      <a:pt x="807098" y="2751"/>
                    </a:moveTo>
                    <a:lnTo>
                      <a:pt x="1495" y="435815"/>
                    </a:lnTo>
                    <a:lnTo>
                      <a:pt x="0" y="433124"/>
                    </a:lnTo>
                    <a:lnTo>
                      <a:pt x="805663" y="0"/>
                    </a:lnTo>
                    <a:close/>
                  </a:path>
                </a:pathLst>
              </a:custGeom>
              <a:grpFill/>
              <a:ln w="5978" cap="flat">
                <a:noFill/>
                <a:prstDash val="solid"/>
                <a:miter/>
              </a:ln>
            </p:spPr>
            <p:txBody>
              <a:bodyPr rtlCol="0" anchor="ctr"/>
              <a:lstStyle/>
              <a:p>
                <a:endParaRPr lang="en-GB"/>
              </a:p>
            </p:txBody>
          </p:sp>
          <p:sp>
            <p:nvSpPr>
              <p:cNvPr id="1393" name="Vrije vorm: vorm 1392">
                <a:extLst>
                  <a:ext uri="{FF2B5EF4-FFF2-40B4-BE49-F238E27FC236}">
                    <a16:creationId xmlns:a16="http://schemas.microsoft.com/office/drawing/2014/main" id="{2AF3B805-0662-457F-A912-BF451C8A6741}"/>
                  </a:ext>
                </a:extLst>
              </p:cNvPr>
              <p:cNvSpPr/>
              <p:nvPr/>
            </p:nvSpPr>
            <p:spPr>
              <a:xfrm>
                <a:off x="4617263" y="4274269"/>
                <a:ext cx="18369" cy="18387"/>
              </a:xfrm>
              <a:custGeom>
                <a:avLst/>
                <a:gdLst>
                  <a:gd name="connsiteX0" fmla="*/ 4838 w 18369"/>
                  <a:gd name="connsiteY0" fmla="*/ 1090 h 18387"/>
                  <a:gd name="connsiteX1" fmla="*/ 17278 w 18369"/>
                  <a:gd name="connsiteY1" fmla="*/ 4858 h 18387"/>
                  <a:gd name="connsiteX2" fmla="*/ 13570 w 18369"/>
                  <a:gd name="connsiteY2" fmla="*/ 17297 h 18387"/>
                  <a:gd name="connsiteX3" fmla="*/ 1130 w 18369"/>
                  <a:gd name="connsiteY3" fmla="*/ 13529 h 18387"/>
                  <a:gd name="connsiteX4" fmla="*/ 4838 w 18369"/>
                  <a:gd name="connsiteY4" fmla="*/ 109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87">
                    <a:moveTo>
                      <a:pt x="4838" y="1090"/>
                    </a:moveTo>
                    <a:cubicBezTo>
                      <a:pt x="9264" y="-1303"/>
                      <a:pt x="14826" y="372"/>
                      <a:pt x="17278" y="4858"/>
                    </a:cubicBezTo>
                    <a:cubicBezTo>
                      <a:pt x="19670" y="9343"/>
                      <a:pt x="17996" y="14905"/>
                      <a:pt x="13570" y="17297"/>
                    </a:cubicBezTo>
                    <a:cubicBezTo>
                      <a:pt x="9144" y="19690"/>
                      <a:pt x="3582" y="18015"/>
                      <a:pt x="1130" y="13529"/>
                    </a:cubicBezTo>
                    <a:cubicBezTo>
                      <a:pt x="-1322" y="9044"/>
                      <a:pt x="353" y="3482"/>
                      <a:pt x="4838" y="1090"/>
                    </a:cubicBezTo>
                    <a:close/>
                  </a:path>
                </a:pathLst>
              </a:custGeom>
              <a:grpFill/>
              <a:ln w="5978" cap="flat">
                <a:noFill/>
                <a:prstDash val="solid"/>
                <a:miter/>
              </a:ln>
            </p:spPr>
            <p:txBody>
              <a:bodyPr rtlCol="0" anchor="ctr"/>
              <a:lstStyle/>
              <a:p>
                <a:endParaRPr lang="en-GB"/>
              </a:p>
            </p:txBody>
          </p:sp>
          <p:sp>
            <p:nvSpPr>
              <p:cNvPr id="1394" name="Vrije vorm: vorm 1393">
                <a:extLst>
                  <a:ext uri="{FF2B5EF4-FFF2-40B4-BE49-F238E27FC236}">
                    <a16:creationId xmlns:a16="http://schemas.microsoft.com/office/drawing/2014/main" id="{53EA235D-E4BC-496C-91EC-33C5C01B5FFE}"/>
                  </a:ext>
                </a:extLst>
              </p:cNvPr>
              <p:cNvSpPr/>
              <p:nvPr/>
            </p:nvSpPr>
            <p:spPr>
              <a:xfrm>
                <a:off x="3812463" y="4706914"/>
                <a:ext cx="18343" cy="18387"/>
              </a:xfrm>
              <a:custGeom>
                <a:avLst/>
                <a:gdLst>
                  <a:gd name="connsiteX0" fmla="*/ 4812 w 18343"/>
                  <a:gd name="connsiteY0" fmla="*/ 1090 h 18387"/>
                  <a:gd name="connsiteX1" fmla="*/ 1104 w 18343"/>
                  <a:gd name="connsiteY1" fmla="*/ 13530 h 18387"/>
                  <a:gd name="connsiteX2" fmla="*/ 13544 w 18343"/>
                  <a:gd name="connsiteY2" fmla="*/ 17298 h 18387"/>
                  <a:gd name="connsiteX3" fmla="*/ 17252 w 18343"/>
                  <a:gd name="connsiteY3" fmla="*/ 4858 h 18387"/>
                  <a:gd name="connsiteX4" fmla="*/ 4812 w 18343"/>
                  <a:gd name="connsiteY4" fmla="*/ 109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87">
                    <a:moveTo>
                      <a:pt x="4812" y="1090"/>
                    </a:moveTo>
                    <a:cubicBezTo>
                      <a:pt x="326" y="3482"/>
                      <a:pt x="-1289" y="9044"/>
                      <a:pt x="1104" y="13530"/>
                    </a:cubicBezTo>
                    <a:cubicBezTo>
                      <a:pt x="3496" y="18015"/>
                      <a:pt x="9058" y="19690"/>
                      <a:pt x="13544" y="17298"/>
                    </a:cubicBezTo>
                    <a:cubicBezTo>
                      <a:pt x="17969" y="14905"/>
                      <a:pt x="19644" y="9343"/>
                      <a:pt x="17252" y="4858"/>
                    </a:cubicBezTo>
                    <a:cubicBezTo>
                      <a:pt x="14799" y="372"/>
                      <a:pt x="9237" y="-1302"/>
                      <a:pt x="4812" y="1090"/>
                    </a:cubicBezTo>
                    <a:close/>
                  </a:path>
                </a:pathLst>
              </a:custGeom>
              <a:grpFill/>
              <a:ln w="5978" cap="flat">
                <a:noFill/>
                <a:prstDash val="solid"/>
                <a:miter/>
              </a:ln>
            </p:spPr>
            <p:txBody>
              <a:bodyPr rtlCol="0" anchor="ctr"/>
              <a:lstStyle/>
              <a:p>
                <a:endParaRPr lang="en-GB"/>
              </a:p>
            </p:txBody>
          </p:sp>
        </p:grpSp>
        <p:grpSp>
          <p:nvGrpSpPr>
            <p:cNvPr id="1340" name="Graphic 3">
              <a:extLst>
                <a:ext uri="{FF2B5EF4-FFF2-40B4-BE49-F238E27FC236}">
                  <a16:creationId xmlns:a16="http://schemas.microsoft.com/office/drawing/2014/main" id="{264951FD-3156-49A6-9C89-3670DDA3BF12}"/>
                </a:ext>
              </a:extLst>
            </p:cNvPr>
            <p:cNvGrpSpPr/>
            <p:nvPr/>
          </p:nvGrpSpPr>
          <p:grpSpPr>
            <a:xfrm>
              <a:off x="3799656" y="4222286"/>
              <a:ext cx="800471" cy="400075"/>
              <a:chOff x="3799656" y="4222286"/>
              <a:chExt cx="800471" cy="400075"/>
            </a:xfrm>
            <a:grpFill/>
          </p:grpSpPr>
          <p:sp>
            <p:nvSpPr>
              <p:cNvPr id="1389" name="Vrije vorm: vorm 1388">
                <a:extLst>
                  <a:ext uri="{FF2B5EF4-FFF2-40B4-BE49-F238E27FC236}">
                    <a16:creationId xmlns:a16="http://schemas.microsoft.com/office/drawing/2014/main" id="{704B461C-3AA2-435C-AB16-D31B66F1C425}"/>
                  </a:ext>
                </a:extLst>
              </p:cNvPr>
              <p:cNvSpPr/>
              <p:nvPr/>
            </p:nvSpPr>
            <p:spPr>
              <a:xfrm>
                <a:off x="3807765" y="4229905"/>
                <a:ext cx="784252" cy="384799"/>
              </a:xfrm>
              <a:custGeom>
                <a:avLst/>
                <a:gdLst>
                  <a:gd name="connsiteX0" fmla="*/ 784252 w 784252"/>
                  <a:gd name="connsiteY0" fmla="*/ 2751 h 384799"/>
                  <a:gd name="connsiteX1" fmla="*/ 1316 w 784252"/>
                  <a:gd name="connsiteY1" fmla="*/ 384800 h 384799"/>
                  <a:gd name="connsiteX2" fmla="*/ 0 w 784252"/>
                  <a:gd name="connsiteY2" fmla="*/ 382049 h 384799"/>
                  <a:gd name="connsiteX3" fmla="*/ 782937 w 784252"/>
                  <a:gd name="connsiteY3" fmla="*/ 0 h 384799"/>
                </a:gdLst>
                <a:ahLst/>
                <a:cxnLst>
                  <a:cxn ang="0">
                    <a:pos x="connsiteX0" y="connsiteY0"/>
                  </a:cxn>
                  <a:cxn ang="0">
                    <a:pos x="connsiteX1" y="connsiteY1"/>
                  </a:cxn>
                  <a:cxn ang="0">
                    <a:pos x="connsiteX2" y="connsiteY2"/>
                  </a:cxn>
                  <a:cxn ang="0">
                    <a:pos x="connsiteX3" y="connsiteY3"/>
                  </a:cxn>
                </a:cxnLst>
                <a:rect l="l" t="t" r="r" b="b"/>
                <a:pathLst>
                  <a:path w="784252" h="384799">
                    <a:moveTo>
                      <a:pt x="784252" y="2751"/>
                    </a:moveTo>
                    <a:lnTo>
                      <a:pt x="1316" y="384800"/>
                    </a:lnTo>
                    <a:lnTo>
                      <a:pt x="0" y="382049"/>
                    </a:lnTo>
                    <a:lnTo>
                      <a:pt x="782937" y="0"/>
                    </a:lnTo>
                    <a:close/>
                  </a:path>
                </a:pathLst>
              </a:custGeom>
              <a:grpFill/>
              <a:ln w="5978" cap="flat">
                <a:noFill/>
                <a:prstDash val="solid"/>
                <a:miter/>
              </a:ln>
            </p:spPr>
            <p:txBody>
              <a:bodyPr rtlCol="0" anchor="ctr"/>
              <a:lstStyle/>
              <a:p>
                <a:endParaRPr lang="en-GB"/>
              </a:p>
            </p:txBody>
          </p:sp>
          <p:sp>
            <p:nvSpPr>
              <p:cNvPr id="1390" name="Vrije vorm: vorm 1389">
                <a:extLst>
                  <a:ext uri="{FF2B5EF4-FFF2-40B4-BE49-F238E27FC236}">
                    <a16:creationId xmlns:a16="http://schemas.microsoft.com/office/drawing/2014/main" id="{0A679FF3-EAB2-4378-B2BC-104E9540194F}"/>
                  </a:ext>
                </a:extLst>
              </p:cNvPr>
              <p:cNvSpPr/>
              <p:nvPr/>
            </p:nvSpPr>
            <p:spPr>
              <a:xfrm>
                <a:off x="4581788" y="4222286"/>
                <a:ext cx="18338" cy="18408"/>
              </a:xfrm>
              <a:custGeom>
                <a:avLst/>
                <a:gdLst>
                  <a:gd name="connsiteX0" fmla="*/ 5146 w 18338"/>
                  <a:gd name="connsiteY0" fmla="*/ 921 h 18408"/>
                  <a:gd name="connsiteX1" fmla="*/ 17406 w 18338"/>
                  <a:gd name="connsiteY1" fmla="*/ 5168 h 18408"/>
                  <a:gd name="connsiteX2" fmla="*/ 13219 w 18338"/>
                  <a:gd name="connsiteY2" fmla="*/ 17488 h 18408"/>
                  <a:gd name="connsiteX3" fmla="*/ 959 w 18338"/>
                  <a:gd name="connsiteY3" fmla="*/ 13241 h 18408"/>
                  <a:gd name="connsiteX4" fmla="*/ 5146 w 18338"/>
                  <a:gd name="connsiteY4" fmla="*/ 9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8">
                    <a:moveTo>
                      <a:pt x="5146" y="921"/>
                    </a:moveTo>
                    <a:cubicBezTo>
                      <a:pt x="9691" y="-1292"/>
                      <a:pt x="15193" y="622"/>
                      <a:pt x="17406" y="5168"/>
                    </a:cubicBezTo>
                    <a:cubicBezTo>
                      <a:pt x="19619" y="9772"/>
                      <a:pt x="17765" y="15275"/>
                      <a:pt x="13219" y="17488"/>
                    </a:cubicBezTo>
                    <a:cubicBezTo>
                      <a:pt x="8674" y="19701"/>
                      <a:pt x="3172" y="17787"/>
                      <a:pt x="959" y="13241"/>
                    </a:cubicBezTo>
                    <a:cubicBezTo>
                      <a:pt x="-1314" y="8636"/>
                      <a:pt x="600" y="3134"/>
                      <a:pt x="5146" y="921"/>
                    </a:cubicBezTo>
                    <a:close/>
                  </a:path>
                </a:pathLst>
              </a:custGeom>
              <a:grpFill/>
              <a:ln w="5978" cap="flat">
                <a:noFill/>
                <a:prstDash val="solid"/>
                <a:miter/>
              </a:ln>
            </p:spPr>
            <p:txBody>
              <a:bodyPr rtlCol="0" anchor="ctr"/>
              <a:lstStyle/>
              <a:p>
                <a:endParaRPr lang="en-GB"/>
              </a:p>
            </p:txBody>
          </p:sp>
          <p:sp>
            <p:nvSpPr>
              <p:cNvPr id="1391" name="Vrije vorm: vorm 1390">
                <a:extLst>
                  <a:ext uri="{FF2B5EF4-FFF2-40B4-BE49-F238E27FC236}">
                    <a16:creationId xmlns:a16="http://schemas.microsoft.com/office/drawing/2014/main" id="{9E4D0CE1-5918-4AD0-984B-7C742A23DA69}"/>
                  </a:ext>
                </a:extLst>
              </p:cNvPr>
              <p:cNvSpPr/>
              <p:nvPr/>
            </p:nvSpPr>
            <p:spPr>
              <a:xfrm>
                <a:off x="3799656" y="4603916"/>
                <a:ext cx="18312" cy="18445"/>
              </a:xfrm>
              <a:custGeom>
                <a:avLst/>
                <a:gdLst>
                  <a:gd name="connsiteX0" fmla="*/ 5119 w 18312"/>
                  <a:gd name="connsiteY0" fmla="*/ 921 h 18445"/>
                  <a:gd name="connsiteX1" fmla="*/ 933 w 18312"/>
                  <a:gd name="connsiteY1" fmla="*/ 13241 h 18445"/>
                  <a:gd name="connsiteX2" fmla="*/ 13193 w 18312"/>
                  <a:gd name="connsiteY2" fmla="*/ 17488 h 18445"/>
                  <a:gd name="connsiteX3" fmla="*/ 17380 w 18312"/>
                  <a:gd name="connsiteY3" fmla="*/ 5168 h 18445"/>
                  <a:gd name="connsiteX4" fmla="*/ 5119 w 18312"/>
                  <a:gd name="connsiteY4" fmla="*/ 92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5">
                    <a:moveTo>
                      <a:pt x="5119" y="921"/>
                    </a:moveTo>
                    <a:cubicBezTo>
                      <a:pt x="574" y="3134"/>
                      <a:pt x="-1280" y="8636"/>
                      <a:pt x="933" y="13241"/>
                    </a:cubicBezTo>
                    <a:cubicBezTo>
                      <a:pt x="3146" y="17847"/>
                      <a:pt x="8648" y="19760"/>
                      <a:pt x="13193" y="17488"/>
                    </a:cubicBezTo>
                    <a:cubicBezTo>
                      <a:pt x="17739" y="15275"/>
                      <a:pt x="19593" y="9773"/>
                      <a:pt x="17380" y="5168"/>
                    </a:cubicBezTo>
                    <a:cubicBezTo>
                      <a:pt x="15167" y="622"/>
                      <a:pt x="9664" y="-1292"/>
                      <a:pt x="5119" y="921"/>
                    </a:cubicBezTo>
                    <a:close/>
                  </a:path>
                </a:pathLst>
              </a:custGeom>
              <a:grpFill/>
              <a:ln w="5978" cap="flat">
                <a:noFill/>
                <a:prstDash val="solid"/>
                <a:miter/>
              </a:ln>
            </p:spPr>
            <p:txBody>
              <a:bodyPr rtlCol="0" anchor="ctr"/>
              <a:lstStyle/>
              <a:p>
                <a:endParaRPr lang="en-GB"/>
              </a:p>
            </p:txBody>
          </p:sp>
        </p:grpSp>
        <p:grpSp>
          <p:nvGrpSpPr>
            <p:cNvPr id="1341" name="Graphic 3">
              <a:extLst>
                <a:ext uri="{FF2B5EF4-FFF2-40B4-BE49-F238E27FC236}">
                  <a16:creationId xmlns:a16="http://schemas.microsoft.com/office/drawing/2014/main" id="{5F4567C8-994B-4F2D-8112-0D6D873DEF51}"/>
                </a:ext>
              </a:extLst>
            </p:cNvPr>
            <p:cNvGrpSpPr/>
            <p:nvPr/>
          </p:nvGrpSpPr>
          <p:grpSpPr>
            <a:xfrm>
              <a:off x="3693551" y="3590465"/>
              <a:ext cx="456004" cy="60189"/>
              <a:chOff x="3693551" y="3590465"/>
              <a:chExt cx="456004" cy="60189"/>
            </a:xfrm>
            <a:grpFill/>
          </p:grpSpPr>
          <p:sp>
            <p:nvSpPr>
              <p:cNvPr id="1386" name="Vrije vorm: vorm 1385">
                <a:extLst>
                  <a:ext uri="{FF2B5EF4-FFF2-40B4-BE49-F238E27FC236}">
                    <a16:creationId xmlns:a16="http://schemas.microsoft.com/office/drawing/2014/main" id="{9D1F968E-0FDA-416E-A8C7-27F540D30D57}"/>
                  </a:ext>
                </a:extLst>
              </p:cNvPr>
              <p:cNvSpPr/>
              <p:nvPr/>
            </p:nvSpPr>
            <p:spPr>
              <a:xfrm>
                <a:off x="3702146" y="3598162"/>
                <a:ext cx="438865" cy="44855"/>
              </a:xfrm>
              <a:custGeom>
                <a:avLst/>
                <a:gdLst>
                  <a:gd name="connsiteX0" fmla="*/ 438566 w 438865"/>
                  <a:gd name="connsiteY0" fmla="*/ 0 h 44855"/>
                  <a:gd name="connsiteX1" fmla="*/ 438865 w 438865"/>
                  <a:gd name="connsiteY1" fmla="*/ 3050 h 44855"/>
                  <a:gd name="connsiteX2" fmla="*/ 299 w 438865"/>
                  <a:gd name="connsiteY2" fmla="*/ 44855 h 44855"/>
                  <a:gd name="connsiteX3" fmla="*/ 0 w 438865"/>
                  <a:gd name="connsiteY3" fmla="*/ 41805 h 44855"/>
                </a:gdLst>
                <a:ahLst/>
                <a:cxnLst>
                  <a:cxn ang="0">
                    <a:pos x="connsiteX0" y="connsiteY0"/>
                  </a:cxn>
                  <a:cxn ang="0">
                    <a:pos x="connsiteX1" y="connsiteY1"/>
                  </a:cxn>
                  <a:cxn ang="0">
                    <a:pos x="connsiteX2" y="connsiteY2"/>
                  </a:cxn>
                  <a:cxn ang="0">
                    <a:pos x="connsiteX3" y="connsiteY3"/>
                  </a:cxn>
                </a:cxnLst>
                <a:rect l="l" t="t" r="r" b="b"/>
                <a:pathLst>
                  <a:path w="438865" h="44855">
                    <a:moveTo>
                      <a:pt x="438566" y="0"/>
                    </a:moveTo>
                    <a:lnTo>
                      <a:pt x="438865" y="3050"/>
                    </a:lnTo>
                    <a:lnTo>
                      <a:pt x="299" y="44855"/>
                    </a:lnTo>
                    <a:lnTo>
                      <a:pt x="0" y="41805"/>
                    </a:lnTo>
                    <a:close/>
                  </a:path>
                </a:pathLst>
              </a:custGeom>
              <a:grpFill/>
              <a:ln w="5978" cap="flat">
                <a:noFill/>
                <a:prstDash val="solid"/>
                <a:miter/>
              </a:ln>
            </p:spPr>
            <p:txBody>
              <a:bodyPr rtlCol="0" anchor="ctr"/>
              <a:lstStyle/>
              <a:p>
                <a:endParaRPr lang="en-GB"/>
              </a:p>
            </p:txBody>
          </p:sp>
          <p:sp>
            <p:nvSpPr>
              <p:cNvPr id="1387" name="Vrije vorm: vorm 1386">
                <a:extLst>
                  <a:ext uri="{FF2B5EF4-FFF2-40B4-BE49-F238E27FC236}">
                    <a16:creationId xmlns:a16="http://schemas.microsoft.com/office/drawing/2014/main" id="{0FF98A0C-5F3C-4800-AD72-AFA13DBD276F}"/>
                  </a:ext>
                </a:extLst>
              </p:cNvPr>
              <p:cNvSpPr/>
              <p:nvPr/>
            </p:nvSpPr>
            <p:spPr>
              <a:xfrm>
                <a:off x="3693551" y="3632210"/>
                <a:ext cx="18335" cy="18443"/>
              </a:xfrm>
              <a:custGeom>
                <a:avLst/>
                <a:gdLst>
                  <a:gd name="connsiteX0" fmla="*/ 10090 w 18335"/>
                  <a:gd name="connsiteY0" fmla="*/ 18402 h 18443"/>
                  <a:gd name="connsiteX1" fmla="*/ 42 w 18335"/>
                  <a:gd name="connsiteY1" fmla="*/ 10089 h 18443"/>
                  <a:gd name="connsiteX2" fmla="*/ 8236 w 18335"/>
                  <a:gd name="connsiteY2" fmla="*/ 42 h 18443"/>
                  <a:gd name="connsiteX3" fmla="*/ 18283 w 18335"/>
                  <a:gd name="connsiteY3" fmla="*/ 8355 h 18443"/>
                  <a:gd name="connsiteX4" fmla="*/ 10090 w 1833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3">
                    <a:moveTo>
                      <a:pt x="10090" y="18402"/>
                    </a:moveTo>
                    <a:cubicBezTo>
                      <a:pt x="5066" y="18881"/>
                      <a:pt x="580" y="15173"/>
                      <a:pt x="42" y="10089"/>
                    </a:cubicBezTo>
                    <a:cubicBezTo>
                      <a:pt x="-436" y="5006"/>
                      <a:pt x="3212" y="520"/>
                      <a:pt x="8236" y="42"/>
                    </a:cubicBezTo>
                    <a:cubicBezTo>
                      <a:pt x="13260" y="-437"/>
                      <a:pt x="17745" y="3271"/>
                      <a:pt x="18283" y="8355"/>
                    </a:cubicBezTo>
                    <a:cubicBezTo>
                      <a:pt x="18822" y="13438"/>
                      <a:pt x="15173" y="17924"/>
                      <a:pt x="10090" y="18402"/>
                    </a:cubicBezTo>
                    <a:close/>
                  </a:path>
                </a:pathLst>
              </a:custGeom>
              <a:grpFill/>
              <a:ln w="5978" cap="flat">
                <a:noFill/>
                <a:prstDash val="solid"/>
                <a:miter/>
              </a:ln>
            </p:spPr>
            <p:txBody>
              <a:bodyPr rtlCol="0" anchor="ctr"/>
              <a:lstStyle/>
              <a:p>
                <a:endParaRPr lang="en-GB"/>
              </a:p>
            </p:txBody>
          </p:sp>
          <p:sp>
            <p:nvSpPr>
              <p:cNvPr id="1388" name="Vrije vorm: vorm 1387">
                <a:extLst>
                  <a:ext uri="{FF2B5EF4-FFF2-40B4-BE49-F238E27FC236}">
                    <a16:creationId xmlns:a16="http://schemas.microsoft.com/office/drawing/2014/main" id="{F689D623-664B-49B9-8922-DAAC1BB88E16}"/>
                  </a:ext>
                </a:extLst>
              </p:cNvPr>
              <p:cNvSpPr/>
              <p:nvPr/>
            </p:nvSpPr>
            <p:spPr>
              <a:xfrm>
                <a:off x="4131211" y="3590465"/>
                <a:ext cx="18345" cy="18443"/>
              </a:xfrm>
              <a:custGeom>
                <a:avLst/>
                <a:gdLst>
                  <a:gd name="connsiteX0" fmla="*/ 10100 w 18345"/>
                  <a:gd name="connsiteY0" fmla="*/ 18402 h 18443"/>
                  <a:gd name="connsiteX1" fmla="*/ 18293 w 18345"/>
                  <a:gd name="connsiteY1" fmla="*/ 8355 h 18443"/>
                  <a:gd name="connsiteX2" fmla="*/ 8246 w 18345"/>
                  <a:gd name="connsiteY2" fmla="*/ 42 h 18443"/>
                  <a:gd name="connsiteX3" fmla="*/ 52 w 18345"/>
                  <a:gd name="connsiteY3" fmla="*/ 10089 h 18443"/>
                  <a:gd name="connsiteX4" fmla="*/ 10100 w 1834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3">
                    <a:moveTo>
                      <a:pt x="10100" y="18402"/>
                    </a:moveTo>
                    <a:cubicBezTo>
                      <a:pt x="15124" y="17924"/>
                      <a:pt x="18832" y="13438"/>
                      <a:pt x="18293" y="8355"/>
                    </a:cubicBezTo>
                    <a:cubicBezTo>
                      <a:pt x="17815" y="3271"/>
                      <a:pt x="13329" y="-437"/>
                      <a:pt x="8246" y="42"/>
                    </a:cubicBezTo>
                    <a:cubicBezTo>
                      <a:pt x="3222" y="520"/>
                      <a:pt x="-486" y="5005"/>
                      <a:pt x="52" y="10089"/>
                    </a:cubicBezTo>
                    <a:cubicBezTo>
                      <a:pt x="590" y="15173"/>
                      <a:pt x="5076" y="18881"/>
                      <a:pt x="10100" y="18402"/>
                    </a:cubicBezTo>
                    <a:close/>
                  </a:path>
                </a:pathLst>
              </a:custGeom>
              <a:grpFill/>
              <a:ln w="5978" cap="flat">
                <a:noFill/>
                <a:prstDash val="solid"/>
                <a:miter/>
              </a:ln>
            </p:spPr>
            <p:txBody>
              <a:bodyPr rtlCol="0" anchor="ctr"/>
              <a:lstStyle/>
              <a:p>
                <a:endParaRPr lang="en-GB"/>
              </a:p>
            </p:txBody>
          </p:sp>
        </p:grpSp>
        <p:grpSp>
          <p:nvGrpSpPr>
            <p:cNvPr id="1342" name="Graphic 3">
              <a:extLst>
                <a:ext uri="{FF2B5EF4-FFF2-40B4-BE49-F238E27FC236}">
                  <a16:creationId xmlns:a16="http://schemas.microsoft.com/office/drawing/2014/main" id="{BFA9B9F8-4415-40CB-BC90-6AAE6D5F42C1}"/>
                </a:ext>
              </a:extLst>
            </p:cNvPr>
            <p:cNvGrpSpPr/>
            <p:nvPr/>
          </p:nvGrpSpPr>
          <p:grpSpPr>
            <a:xfrm>
              <a:off x="3972451" y="4237239"/>
              <a:ext cx="381857" cy="194837"/>
              <a:chOff x="3972451" y="4237239"/>
              <a:chExt cx="381857" cy="194837"/>
            </a:xfrm>
            <a:grpFill/>
          </p:grpSpPr>
          <p:sp>
            <p:nvSpPr>
              <p:cNvPr id="1383" name="Vrije vorm: vorm 1382">
                <a:extLst>
                  <a:ext uri="{FF2B5EF4-FFF2-40B4-BE49-F238E27FC236}">
                    <a16:creationId xmlns:a16="http://schemas.microsoft.com/office/drawing/2014/main" id="{27AE7227-71EA-4EF6-94E3-B36EE4C81F5C}"/>
                  </a:ext>
                </a:extLst>
              </p:cNvPr>
              <p:cNvSpPr/>
              <p:nvPr/>
            </p:nvSpPr>
            <p:spPr>
              <a:xfrm>
                <a:off x="3980549" y="4244917"/>
                <a:ext cx="365661" cy="179541"/>
              </a:xfrm>
              <a:custGeom>
                <a:avLst/>
                <a:gdLst>
                  <a:gd name="connsiteX0" fmla="*/ 365661 w 365661"/>
                  <a:gd name="connsiteY0" fmla="*/ 2751 h 179541"/>
                  <a:gd name="connsiteX1" fmla="*/ 1316 w 365661"/>
                  <a:gd name="connsiteY1" fmla="*/ 179541 h 179541"/>
                  <a:gd name="connsiteX2" fmla="*/ 0 w 365661"/>
                  <a:gd name="connsiteY2" fmla="*/ 176730 h 179541"/>
                  <a:gd name="connsiteX3" fmla="*/ 364346 w 365661"/>
                  <a:gd name="connsiteY3" fmla="*/ 0 h 179541"/>
                </a:gdLst>
                <a:ahLst/>
                <a:cxnLst>
                  <a:cxn ang="0">
                    <a:pos x="connsiteX0" y="connsiteY0"/>
                  </a:cxn>
                  <a:cxn ang="0">
                    <a:pos x="connsiteX1" y="connsiteY1"/>
                  </a:cxn>
                  <a:cxn ang="0">
                    <a:pos x="connsiteX2" y="connsiteY2"/>
                  </a:cxn>
                  <a:cxn ang="0">
                    <a:pos x="connsiteX3" y="connsiteY3"/>
                  </a:cxn>
                </a:cxnLst>
                <a:rect l="l" t="t" r="r" b="b"/>
                <a:pathLst>
                  <a:path w="365661" h="179541">
                    <a:moveTo>
                      <a:pt x="365661" y="2751"/>
                    </a:moveTo>
                    <a:lnTo>
                      <a:pt x="1316" y="179541"/>
                    </a:lnTo>
                    <a:lnTo>
                      <a:pt x="0" y="176730"/>
                    </a:lnTo>
                    <a:lnTo>
                      <a:pt x="364346" y="0"/>
                    </a:lnTo>
                    <a:close/>
                  </a:path>
                </a:pathLst>
              </a:custGeom>
              <a:grpFill/>
              <a:ln w="5978" cap="flat">
                <a:noFill/>
                <a:prstDash val="solid"/>
                <a:miter/>
              </a:ln>
            </p:spPr>
            <p:txBody>
              <a:bodyPr rtlCol="0" anchor="ctr"/>
              <a:lstStyle/>
              <a:p>
                <a:endParaRPr lang="en-GB"/>
              </a:p>
            </p:txBody>
          </p:sp>
          <p:sp>
            <p:nvSpPr>
              <p:cNvPr id="1384" name="Vrije vorm: vorm 1383">
                <a:extLst>
                  <a:ext uri="{FF2B5EF4-FFF2-40B4-BE49-F238E27FC236}">
                    <a16:creationId xmlns:a16="http://schemas.microsoft.com/office/drawing/2014/main" id="{F637925F-4B73-482A-AFB3-9433DA57262E}"/>
                  </a:ext>
                </a:extLst>
              </p:cNvPr>
              <p:cNvSpPr/>
              <p:nvPr/>
            </p:nvSpPr>
            <p:spPr>
              <a:xfrm>
                <a:off x="3972451" y="4413610"/>
                <a:ext cx="18349" cy="18466"/>
              </a:xfrm>
              <a:custGeom>
                <a:avLst/>
                <a:gdLst>
                  <a:gd name="connsiteX0" fmla="*/ 13182 w 18349"/>
                  <a:gd name="connsiteY0" fmla="*/ 17546 h 18466"/>
                  <a:gd name="connsiteX1" fmla="*/ 921 w 18349"/>
                  <a:gd name="connsiteY1" fmla="*/ 13240 h 18466"/>
                  <a:gd name="connsiteX2" fmla="*/ 5168 w 18349"/>
                  <a:gd name="connsiteY2" fmla="*/ 920 h 18466"/>
                  <a:gd name="connsiteX3" fmla="*/ 17428 w 18349"/>
                  <a:gd name="connsiteY3" fmla="*/ 5226 h 18466"/>
                  <a:gd name="connsiteX4" fmla="*/ 13182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2" y="17546"/>
                    </a:moveTo>
                    <a:cubicBezTo>
                      <a:pt x="8636" y="19759"/>
                      <a:pt x="3134" y="17845"/>
                      <a:pt x="921" y="13240"/>
                    </a:cubicBezTo>
                    <a:cubicBezTo>
                      <a:pt x="-1292" y="8635"/>
                      <a:pt x="622" y="3133"/>
                      <a:pt x="5168" y="920"/>
                    </a:cubicBezTo>
                    <a:cubicBezTo>
                      <a:pt x="9713" y="-1293"/>
                      <a:pt x="15215" y="621"/>
                      <a:pt x="17428" y="5226"/>
                    </a:cubicBezTo>
                    <a:cubicBezTo>
                      <a:pt x="19641" y="9831"/>
                      <a:pt x="17727" y="15333"/>
                      <a:pt x="13182" y="17546"/>
                    </a:cubicBezTo>
                    <a:close/>
                  </a:path>
                </a:pathLst>
              </a:custGeom>
              <a:grpFill/>
              <a:ln w="5978" cap="flat">
                <a:noFill/>
                <a:prstDash val="solid"/>
                <a:miter/>
              </a:ln>
            </p:spPr>
            <p:txBody>
              <a:bodyPr rtlCol="0" anchor="ctr"/>
              <a:lstStyle/>
              <a:p>
                <a:endParaRPr lang="en-GB"/>
              </a:p>
            </p:txBody>
          </p:sp>
          <p:sp>
            <p:nvSpPr>
              <p:cNvPr id="1385" name="Vrije vorm: vorm 1384">
                <a:extLst>
                  <a:ext uri="{FF2B5EF4-FFF2-40B4-BE49-F238E27FC236}">
                    <a16:creationId xmlns:a16="http://schemas.microsoft.com/office/drawing/2014/main" id="{4877F76D-1C2B-4011-B704-9E9C69398F2E}"/>
                  </a:ext>
                </a:extLst>
              </p:cNvPr>
              <p:cNvSpPr/>
              <p:nvPr/>
            </p:nvSpPr>
            <p:spPr>
              <a:xfrm>
                <a:off x="4335959" y="4237239"/>
                <a:ext cx="18349" cy="18466"/>
              </a:xfrm>
              <a:custGeom>
                <a:avLst/>
                <a:gdLst>
                  <a:gd name="connsiteX0" fmla="*/ 13181 w 18349"/>
                  <a:gd name="connsiteY0" fmla="*/ 17546 h 18466"/>
                  <a:gd name="connsiteX1" fmla="*/ 17428 w 18349"/>
                  <a:gd name="connsiteY1" fmla="*/ 5226 h 18466"/>
                  <a:gd name="connsiteX2" fmla="*/ 5168 w 18349"/>
                  <a:gd name="connsiteY2" fmla="*/ 920 h 18466"/>
                  <a:gd name="connsiteX3" fmla="*/ 921 w 18349"/>
                  <a:gd name="connsiteY3" fmla="*/ 13240 h 18466"/>
                  <a:gd name="connsiteX4" fmla="*/ 13181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1" y="17546"/>
                    </a:moveTo>
                    <a:cubicBezTo>
                      <a:pt x="17727" y="15333"/>
                      <a:pt x="19641" y="9831"/>
                      <a:pt x="17428" y="5226"/>
                    </a:cubicBezTo>
                    <a:cubicBezTo>
                      <a:pt x="15215" y="621"/>
                      <a:pt x="9713" y="-1293"/>
                      <a:pt x="5168" y="920"/>
                    </a:cubicBezTo>
                    <a:cubicBezTo>
                      <a:pt x="622" y="3133"/>
                      <a:pt x="-1292" y="8635"/>
                      <a:pt x="921" y="13240"/>
                    </a:cubicBezTo>
                    <a:cubicBezTo>
                      <a:pt x="3194" y="17845"/>
                      <a:pt x="8636" y="19759"/>
                      <a:pt x="13181" y="17546"/>
                    </a:cubicBezTo>
                    <a:close/>
                  </a:path>
                </a:pathLst>
              </a:custGeom>
              <a:grpFill/>
              <a:ln w="5978" cap="flat">
                <a:noFill/>
                <a:prstDash val="solid"/>
                <a:miter/>
              </a:ln>
            </p:spPr>
            <p:txBody>
              <a:bodyPr rtlCol="0" anchor="ctr"/>
              <a:lstStyle/>
              <a:p>
                <a:endParaRPr lang="en-GB"/>
              </a:p>
            </p:txBody>
          </p:sp>
        </p:grpSp>
        <p:grpSp>
          <p:nvGrpSpPr>
            <p:cNvPr id="1343" name="Graphic 3">
              <a:extLst>
                <a:ext uri="{FF2B5EF4-FFF2-40B4-BE49-F238E27FC236}">
                  <a16:creationId xmlns:a16="http://schemas.microsoft.com/office/drawing/2014/main" id="{1033401F-0577-4C33-9456-23E7BA879CE5}"/>
                </a:ext>
              </a:extLst>
            </p:cNvPr>
            <p:cNvGrpSpPr/>
            <p:nvPr/>
          </p:nvGrpSpPr>
          <p:grpSpPr>
            <a:xfrm>
              <a:off x="3907561" y="4182611"/>
              <a:ext cx="480152" cy="231795"/>
              <a:chOff x="3907561" y="4182611"/>
              <a:chExt cx="480152" cy="231795"/>
            </a:xfrm>
            <a:grpFill/>
          </p:grpSpPr>
          <p:sp>
            <p:nvSpPr>
              <p:cNvPr id="1380" name="Vrije vorm: vorm 1379">
                <a:extLst>
                  <a:ext uri="{FF2B5EF4-FFF2-40B4-BE49-F238E27FC236}">
                    <a16:creationId xmlns:a16="http://schemas.microsoft.com/office/drawing/2014/main" id="{A99E467C-4D16-43C8-B028-F3E3644182BD}"/>
                  </a:ext>
                </a:extLst>
              </p:cNvPr>
              <p:cNvSpPr/>
              <p:nvPr/>
            </p:nvSpPr>
            <p:spPr>
              <a:xfrm>
                <a:off x="3915931" y="4190201"/>
                <a:ext cx="463910" cy="216553"/>
              </a:xfrm>
              <a:custGeom>
                <a:avLst/>
                <a:gdLst>
                  <a:gd name="connsiteX0" fmla="*/ 0 w 463910"/>
                  <a:gd name="connsiteY0" fmla="*/ 213784 h 216553"/>
                  <a:gd name="connsiteX1" fmla="*/ 462631 w 463910"/>
                  <a:gd name="connsiteY1" fmla="*/ 0 h 216553"/>
                  <a:gd name="connsiteX2" fmla="*/ 463910 w 463910"/>
                  <a:gd name="connsiteY2" fmla="*/ 2769 h 216553"/>
                  <a:gd name="connsiteX3" fmla="*/ 1280 w 463910"/>
                  <a:gd name="connsiteY3" fmla="*/ 216553 h 216553"/>
                </a:gdLst>
                <a:ahLst/>
                <a:cxnLst>
                  <a:cxn ang="0">
                    <a:pos x="connsiteX0" y="connsiteY0"/>
                  </a:cxn>
                  <a:cxn ang="0">
                    <a:pos x="connsiteX1" y="connsiteY1"/>
                  </a:cxn>
                  <a:cxn ang="0">
                    <a:pos x="connsiteX2" y="connsiteY2"/>
                  </a:cxn>
                  <a:cxn ang="0">
                    <a:pos x="connsiteX3" y="connsiteY3"/>
                  </a:cxn>
                </a:cxnLst>
                <a:rect l="l" t="t" r="r" b="b"/>
                <a:pathLst>
                  <a:path w="463910" h="216553">
                    <a:moveTo>
                      <a:pt x="0" y="213784"/>
                    </a:moveTo>
                    <a:lnTo>
                      <a:pt x="462631" y="0"/>
                    </a:lnTo>
                    <a:lnTo>
                      <a:pt x="463910" y="2769"/>
                    </a:lnTo>
                    <a:lnTo>
                      <a:pt x="1280" y="216553"/>
                    </a:lnTo>
                    <a:close/>
                  </a:path>
                </a:pathLst>
              </a:custGeom>
              <a:grpFill/>
              <a:ln w="5978" cap="flat">
                <a:noFill/>
                <a:prstDash val="solid"/>
                <a:miter/>
              </a:ln>
            </p:spPr>
            <p:txBody>
              <a:bodyPr rtlCol="0" anchor="ctr"/>
              <a:lstStyle/>
              <a:p>
                <a:endParaRPr lang="en-GB"/>
              </a:p>
            </p:txBody>
          </p:sp>
          <p:sp>
            <p:nvSpPr>
              <p:cNvPr id="1381" name="Vrije vorm: vorm 1380">
                <a:extLst>
                  <a:ext uri="{FF2B5EF4-FFF2-40B4-BE49-F238E27FC236}">
                    <a16:creationId xmlns:a16="http://schemas.microsoft.com/office/drawing/2014/main" id="{F156B81F-A3A4-4B04-8EFB-612C6CB5CB58}"/>
                  </a:ext>
                </a:extLst>
              </p:cNvPr>
              <p:cNvSpPr/>
              <p:nvPr/>
            </p:nvSpPr>
            <p:spPr>
              <a:xfrm>
                <a:off x="3907561" y="4395994"/>
                <a:ext cx="18357" cy="18412"/>
              </a:xfrm>
              <a:custGeom>
                <a:avLst/>
                <a:gdLst>
                  <a:gd name="connsiteX0" fmla="*/ 13061 w 18357"/>
                  <a:gd name="connsiteY0" fmla="*/ 17579 h 18412"/>
                  <a:gd name="connsiteX1" fmla="*/ 860 w 18357"/>
                  <a:gd name="connsiteY1" fmla="*/ 13034 h 18412"/>
                  <a:gd name="connsiteX2" fmla="*/ 5346 w 18357"/>
                  <a:gd name="connsiteY2" fmla="*/ 833 h 18412"/>
                  <a:gd name="connsiteX3" fmla="*/ 17487 w 18357"/>
                  <a:gd name="connsiteY3" fmla="*/ 5379 h 18412"/>
                  <a:gd name="connsiteX4" fmla="*/ 13061 w 18357"/>
                  <a:gd name="connsiteY4" fmla="*/ 17579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2">
                    <a:moveTo>
                      <a:pt x="13061" y="17579"/>
                    </a:moveTo>
                    <a:cubicBezTo>
                      <a:pt x="8456" y="19672"/>
                      <a:pt x="3013" y="17699"/>
                      <a:pt x="860" y="13034"/>
                    </a:cubicBezTo>
                    <a:cubicBezTo>
                      <a:pt x="-1293" y="8429"/>
                      <a:pt x="741" y="2926"/>
                      <a:pt x="5346" y="833"/>
                    </a:cubicBezTo>
                    <a:cubicBezTo>
                      <a:pt x="9951" y="-1260"/>
                      <a:pt x="15393" y="714"/>
                      <a:pt x="17487" y="5379"/>
                    </a:cubicBezTo>
                    <a:cubicBezTo>
                      <a:pt x="19640" y="9984"/>
                      <a:pt x="17666" y="15426"/>
                      <a:pt x="13061" y="17579"/>
                    </a:cubicBezTo>
                    <a:close/>
                  </a:path>
                </a:pathLst>
              </a:custGeom>
              <a:grpFill/>
              <a:ln w="5978" cap="flat">
                <a:noFill/>
                <a:prstDash val="solid"/>
                <a:miter/>
              </a:ln>
            </p:spPr>
            <p:txBody>
              <a:bodyPr rtlCol="0" anchor="ctr"/>
              <a:lstStyle/>
              <a:p>
                <a:endParaRPr lang="en-GB"/>
              </a:p>
            </p:txBody>
          </p:sp>
          <p:sp>
            <p:nvSpPr>
              <p:cNvPr id="1382" name="Vrije vorm: vorm 1381">
                <a:extLst>
                  <a:ext uri="{FF2B5EF4-FFF2-40B4-BE49-F238E27FC236}">
                    <a16:creationId xmlns:a16="http://schemas.microsoft.com/office/drawing/2014/main" id="{31CBF3A8-B7FF-4BD6-B5D8-704D6C47640E}"/>
                  </a:ext>
                </a:extLst>
              </p:cNvPr>
              <p:cNvSpPr/>
              <p:nvPr/>
            </p:nvSpPr>
            <p:spPr>
              <a:xfrm>
                <a:off x="4369418" y="4182611"/>
                <a:ext cx="18295" cy="18393"/>
              </a:xfrm>
              <a:custGeom>
                <a:avLst/>
                <a:gdLst>
                  <a:gd name="connsiteX0" fmla="*/ 12975 w 18295"/>
                  <a:gd name="connsiteY0" fmla="*/ 17570 h 18393"/>
                  <a:gd name="connsiteX1" fmla="*/ 17461 w 18295"/>
                  <a:gd name="connsiteY1" fmla="*/ 5369 h 18393"/>
                  <a:gd name="connsiteX2" fmla="*/ 5320 w 18295"/>
                  <a:gd name="connsiteY2" fmla="*/ 824 h 18393"/>
                  <a:gd name="connsiteX3" fmla="*/ 834 w 18295"/>
                  <a:gd name="connsiteY3" fmla="*/ 13024 h 18393"/>
                  <a:gd name="connsiteX4" fmla="*/ 12975 w 18295"/>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393">
                    <a:moveTo>
                      <a:pt x="12975" y="17570"/>
                    </a:moveTo>
                    <a:cubicBezTo>
                      <a:pt x="17580" y="15476"/>
                      <a:pt x="19554" y="9974"/>
                      <a:pt x="17461" y="5369"/>
                    </a:cubicBezTo>
                    <a:cubicBezTo>
                      <a:pt x="15308" y="764"/>
                      <a:pt x="9865" y="-1270"/>
                      <a:pt x="5320" y="824"/>
                    </a:cubicBezTo>
                    <a:cubicBezTo>
                      <a:pt x="715" y="2917"/>
                      <a:pt x="-1259" y="8419"/>
                      <a:pt x="834" y="13024"/>
                    </a:cubicBezTo>
                    <a:cubicBezTo>
                      <a:pt x="2928" y="17630"/>
                      <a:pt x="8370" y="19663"/>
                      <a:pt x="12975" y="17570"/>
                    </a:cubicBezTo>
                    <a:close/>
                  </a:path>
                </a:pathLst>
              </a:custGeom>
              <a:grpFill/>
              <a:ln w="5978" cap="flat">
                <a:noFill/>
                <a:prstDash val="solid"/>
                <a:miter/>
              </a:ln>
            </p:spPr>
            <p:txBody>
              <a:bodyPr rtlCol="0" anchor="ctr"/>
              <a:lstStyle/>
              <a:p>
                <a:endParaRPr lang="en-GB"/>
              </a:p>
            </p:txBody>
          </p:sp>
        </p:grpSp>
        <p:grpSp>
          <p:nvGrpSpPr>
            <p:cNvPr id="1344" name="Graphic 3">
              <a:extLst>
                <a:ext uri="{FF2B5EF4-FFF2-40B4-BE49-F238E27FC236}">
                  <a16:creationId xmlns:a16="http://schemas.microsoft.com/office/drawing/2014/main" id="{EAF699AD-CC0A-46E6-8812-A6D84B623AE3}"/>
                </a:ext>
              </a:extLst>
            </p:cNvPr>
            <p:cNvGrpSpPr/>
            <p:nvPr/>
          </p:nvGrpSpPr>
          <p:grpSpPr>
            <a:xfrm>
              <a:off x="3802247" y="3529846"/>
              <a:ext cx="145782" cy="25809"/>
              <a:chOff x="3802247" y="3529846"/>
              <a:chExt cx="145782" cy="25809"/>
            </a:xfrm>
            <a:grpFill/>
          </p:grpSpPr>
          <p:sp>
            <p:nvSpPr>
              <p:cNvPr id="1377" name="Vrije vorm: vorm 1376">
                <a:extLst>
                  <a:ext uri="{FF2B5EF4-FFF2-40B4-BE49-F238E27FC236}">
                    <a16:creationId xmlns:a16="http://schemas.microsoft.com/office/drawing/2014/main" id="{CB6B4B94-3DD8-4180-8FBC-F0513EEA977B}"/>
                  </a:ext>
                </a:extLst>
              </p:cNvPr>
              <p:cNvSpPr/>
              <p:nvPr/>
            </p:nvSpPr>
            <p:spPr>
              <a:xfrm>
                <a:off x="3810876" y="3537517"/>
                <a:ext cx="128525" cy="10466"/>
              </a:xfrm>
              <a:custGeom>
                <a:avLst/>
                <a:gdLst>
                  <a:gd name="connsiteX0" fmla="*/ 128346 w 128525"/>
                  <a:gd name="connsiteY0" fmla="*/ 0 h 10466"/>
                  <a:gd name="connsiteX1" fmla="*/ 128526 w 128525"/>
                  <a:gd name="connsiteY1" fmla="*/ 3050 h 10466"/>
                  <a:gd name="connsiteX2" fmla="*/ 180 w 128525"/>
                  <a:gd name="connsiteY2" fmla="*/ 10466 h 10466"/>
                  <a:gd name="connsiteX3" fmla="*/ 0 w 128525"/>
                  <a:gd name="connsiteY3" fmla="*/ 7416 h 10466"/>
                </a:gdLst>
                <a:ahLst/>
                <a:cxnLst>
                  <a:cxn ang="0">
                    <a:pos x="connsiteX0" y="connsiteY0"/>
                  </a:cxn>
                  <a:cxn ang="0">
                    <a:pos x="connsiteX1" y="connsiteY1"/>
                  </a:cxn>
                  <a:cxn ang="0">
                    <a:pos x="connsiteX2" y="connsiteY2"/>
                  </a:cxn>
                  <a:cxn ang="0">
                    <a:pos x="connsiteX3" y="connsiteY3"/>
                  </a:cxn>
                </a:cxnLst>
                <a:rect l="l" t="t" r="r" b="b"/>
                <a:pathLst>
                  <a:path w="128525" h="10466">
                    <a:moveTo>
                      <a:pt x="128346" y="0"/>
                    </a:moveTo>
                    <a:lnTo>
                      <a:pt x="128526" y="3050"/>
                    </a:lnTo>
                    <a:lnTo>
                      <a:pt x="180" y="10466"/>
                    </a:lnTo>
                    <a:lnTo>
                      <a:pt x="0" y="7416"/>
                    </a:lnTo>
                    <a:close/>
                  </a:path>
                </a:pathLst>
              </a:custGeom>
              <a:grpFill/>
              <a:ln w="5978" cap="flat">
                <a:noFill/>
                <a:prstDash val="solid"/>
                <a:miter/>
              </a:ln>
            </p:spPr>
            <p:txBody>
              <a:bodyPr rtlCol="0" anchor="ctr"/>
              <a:lstStyle/>
              <a:p>
                <a:endParaRPr lang="en-GB"/>
              </a:p>
            </p:txBody>
          </p:sp>
          <p:sp>
            <p:nvSpPr>
              <p:cNvPr id="1378" name="Vrije vorm: vorm 1377">
                <a:extLst>
                  <a:ext uri="{FF2B5EF4-FFF2-40B4-BE49-F238E27FC236}">
                    <a16:creationId xmlns:a16="http://schemas.microsoft.com/office/drawing/2014/main" id="{BB929F01-6CD3-48EA-9E88-B6F6A74370C0}"/>
                  </a:ext>
                </a:extLst>
              </p:cNvPr>
              <p:cNvSpPr/>
              <p:nvPr/>
            </p:nvSpPr>
            <p:spPr>
              <a:xfrm>
                <a:off x="3802247" y="3537202"/>
                <a:ext cx="18333" cy="18452"/>
              </a:xfrm>
              <a:custGeom>
                <a:avLst/>
                <a:gdLst>
                  <a:gd name="connsiteX0" fmla="*/ 9705 w 18333"/>
                  <a:gd name="connsiteY0" fmla="*/ 18437 h 18452"/>
                  <a:gd name="connsiteX1" fmla="*/ 16 w 18333"/>
                  <a:gd name="connsiteY1" fmla="*/ 9765 h 18452"/>
                  <a:gd name="connsiteX2" fmla="*/ 8629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9" y="16"/>
                    </a:cubicBezTo>
                    <a:cubicBezTo>
                      <a:pt x="13653" y="-283"/>
                      <a:pt x="18018" y="3605"/>
                      <a:pt x="18317" y="8688"/>
                    </a:cubicBezTo>
                    <a:cubicBezTo>
                      <a:pt x="18616" y="13772"/>
                      <a:pt x="14789" y="18138"/>
                      <a:pt x="9705" y="18437"/>
                    </a:cubicBezTo>
                    <a:close/>
                  </a:path>
                </a:pathLst>
              </a:custGeom>
              <a:grpFill/>
              <a:ln w="5978" cap="flat">
                <a:noFill/>
                <a:prstDash val="solid"/>
                <a:miter/>
              </a:ln>
            </p:spPr>
            <p:txBody>
              <a:bodyPr rtlCol="0" anchor="ctr"/>
              <a:lstStyle/>
              <a:p>
                <a:endParaRPr lang="en-GB"/>
              </a:p>
            </p:txBody>
          </p:sp>
          <p:sp>
            <p:nvSpPr>
              <p:cNvPr id="1379" name="Vrije vorm: vorm 1378">
                <a:extLst>
                  <a:ext uri="{FF2B5EF4-FFF2-40B4-BE49-F238E27FC236}">
                    <a16:creationId xmlns:a16="http://schemas.microsoft.com/office/drawing/2014/main" id="{BAD8892C-A1BD-4935-AB5D-4F9EB51003B5}"/>
                  </a:ext>
                </a:extLst>
              </p:cNvPr>
              <p:cNvSpPr/>
              <p:nvPr/>
            </p:nvSpPr>
            <p:spPr>
              <a:xfrm>
                <a:off x="3929696" y="3529846"/>
                <a:ext cx="18333" cy="18453"/>
              </a:xfrm>
              <a:custGeom>
                <a:avLst/>
                <a:gdLst>
                  <a:gd name="connsiteX0" fmla="*/ 9705 w 18333"/>
                  <a:gd name="connsiteY0" fmla="*/ 18437 h 18453"/>
                  <a:gd name="connsiteX1" fmla="*/ 18317 w 18333"/>
                  <a:gd name="connsiteY1" fmla="*/ 8688 h 18453"/>
                  <a:gd name="connsiteX2" fmla="*/ 8628 w 18333"/>
                  <a:gd name="connsiteY2" fmla="*/ 16 h 18453"/>
                  <a:gd name="connsiteX3" fmla="*/ 16 w 18333"/>
                  <a:gd name="connsiteY3" fmla="*/ 9765 h 18453"/>
                  <a:gd name="connsiteX4" fmla="*/ 9705 w 18333"/>
                  <a:gd name="connsiteY4" fmla="*/ 18437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8437"/>
                    </a:moveTo>
                    <a:cubicBezTo>
                      <a:pt x="14729" y="18138"/>
                      <a:pt x="18616" y="13772"/>
                      <a:pt x="18317" y="8688"/>
                    </a:cubicBezTo>
                    <a:cubicBezTo>
                      <a:pt x="18018" y="3605"/>
                      <a:pt x="13652" y="-283"/>
                      <a:pt x="8628" y="16"/>
                    </a:cubicBezTo>
                    <a:cubicBezTo>
                      <a:pt x="3605" y="315"/>
                      <a:pt x="-283"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1345" name="Graphic 3">
              <a:extLst>
                <a:ext uri="{FF2B5EF4-FFF2-40B4-BE49-F238E27FC236}">
                  <a16:creationId xmlns:a16="http://schemas.microsoft.com/office/drawing/2014/main" id="{C6BE8850-4553-4139-8B9D-76FA97CE559F}"/>
                </a:ext>
              </a:extLst>
            </p:cNvPr>
            <p:cNvGrpSpPr/>
            <p:nvPr/>
          </p:nvGrpSpPr>
          <p:grpSpPr>
            <a:xfrm>
              <a:off x="3803101" y="4137155"/>
              <a:ext cx="601660" cy="274852"/>
              <a:chOff x="3803101" y="4137155"/>
              <a:chExt cx="601660" cy="274852"/>
            </a:xfrm>
            <a:grpFill/>
          </p:grpSpPr>
          <p:sp>
            <p:nvSpPr>
              <p:cNvPr id="1374" name="Vrije vorm: vorm 1373">
                <a:extLst>
                  <a:ext uri="{FF2B5EF4-FFF2-40B4-BE49-F238E27FC236}">
                    <a16:creationId xmlns:a16="http://schemas.microsoft.com/office/drawing/2014/main" id="{5FEF0A7D-2137-4DE9-99E7-EE6E086CB7B2}"/>
                  </a:ext>
                </a:extLst>
              </p:cNvPr>
              <p:cNvSpPr/>
              <p:nvPr/>
            </p:nvSpPr>
            <p:spPr>
              <a:xfrm>
                <a:off x="3811234" y="4144860"/>
                <a:ext cx="585452" cy="259563"/>
              </a:xfrm>
              <a:custGeom>
                <a:avLst/>
                <a:gdLst>
                  <a:gd name="connsiteX0" fmla="*/ 585453 w 585452"/>
                  <a:gd name="connsiteY0" fmla="*/ 2811 h 259563"/>
                  <a:gd name="connsiteX1" fmla="*/ 1256 w 585452"/>
                  <a:gd name="connsiteY1" fmla="*/ 259563 h 259563"/>
                  <a:gd name="connsiteX2" fmla="*/ 0 w 585452"/>
                  <a:gd name="connsiteY2" fmla="*/ 256752 h 259563"/>
                  <a:gd name="connsiteX3" fmla="*/ 584197 w 585452"/>
                  <a:gd name="connsiteY3" fmla="*/ 0 h 259563"/>
                </a:gdLst>
                <a:ahLst/>
                <a:cxnLst>
                  <a:cxn ang="0">
                    <a:pos x="connsiteX0" y="connsiteY0"/>
                  </a:cxn>
                  <a:cxn ang="0">
                    <a:pos x="connsiteX1" y="connsiteY1"/>
                  </a:cxn>
                  <a:cxn ang="0">
                    <a:pos x="connsiteX2" y="connsiteY2"/>
                  </a:cxn>
                  <a:cxn ang="0">
                    <a:pos x="connsiteX3" y="connsiteY3"/>
                  </a:cxn>
                </a:cxnLst>
                <a:rect l="l" t="t" r="r" b="b"/>
                <a:pathLst>
                  <a:path w="585452" h="259563">
                    <a:moveTo>
                      <a:pt x="585453" y="2811"/>
                    </a:moveTo>
                    <a:lnTo>
                      <a:pt x="1256" y="259563"/>
                    </a:lnTo>
                    <a:lnTo>
                      <a:pt x="0" y="256752"/>
                    </a:lnTo>
                    <a:lnTo>
                      <a:pt x="584197" y="0"/>
                    </a:lnTo>
                    <a:close/>
                  </a:path>
                </a:pathLst>
              </a:custGeom>
              <a:grpFill/>
              <a:ln w="5978" cap="flat">
                <a:noFill/>
                <a:prstDash val="solid"/>
                <a:miter/>
              </a:ln>
            </p:spPr>
            <p:txBody>
              <a:bodyPr rtlCol="0" anchor="ctr"/>
              <a:lstStyle/>
              <a:p>
                <a:endParaRPr lang="en-GB"/>
              </a:p>
            </p:txBody>
          </p:sp>
          <p:sp>
            <p:nvSpPr>
              <p:cNvPr id="1375" name="Vrije vorm: vorm 1374">
                <a:extLst>
                  <a:ext uri="{FF2B5EF4-FFF2-40B4-BE49-F238E27FC236}">
                    <a16:creationId xmlns:a16="http://schemas.microsoft.com/office/drawing/2014/main" id="{94A501AF-0189-45B5-9045-54DB0AE18E6D}"/>
                  </a:ext>
                </a:extLst>
              </p:cNvPr>
              <p:cNvSpPr/>
              <p:nvPr/>
            </p:nvSpPr>
            <p:spPr>
              <a:xfrm>
                <a:off x="3803101" y="4393549"/>
                <a:ext cx="18335" cy="18458"/>
              </a:xfrm>
              <a:custGeom>
                <a:avLst/>
                <a:gdLst>
                  <a:gd name="connsiteX0" fmla="*/ 12859 w 18335"/>
                  <a:gd name="connsiteY0" fmla="*/ 17692 h 18458"/>
                  <a:gd name="connsiteX1" fmla="*/ 778 w 18335"/>
                  <a:gd name="connsiteY1" fmla="*/ 12908 h 18458"/>
                  <a:gd name="connsiteX2" fmla="*/ 5442 w 18335"/>
                  <a:gd name="connsiteY2" fmla="*/ 767 h 18458"/>
                  <a:gd name="connsiteX3" fmla="*/ 17524 w 18335"/>
                  <a:gd name="connsiteY3" fmla="*/ 5551 h 18458"/>
                  <a:gd name="connsiteX4" fmla="*/ 12859 w 1833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8">
                    <a:moveTo>
                      <a:pt x="12859" y="17692"/>
                    </a:moveTo>
                    <a:cubicBezTo>
                      <a:pt x="8254" y="19726"/>
                      <a:pt x="2811" y="17572"/>
                      <a:pt x="778" y="12908"/>
                    </a:cubicBezTo>
                    <a:cubicBezTo>
                      <a:pt x="-1256" y="8242"/>
                      <a:pt x="838" y="2800"/>
                      <a:pt x="5442" y="767"/>
                    </a:cubicBezTo>
                    <a:cubicBezTo>
                      <a:pt x="10048" y="-1267"/>
                      <a:pt x="15490" y="886"/>
                      <a:pt x="17524" y="5551"/>
                    </a:cubicBezTo>
                    <a:cubicBezTo>
                      <a:pt x="19617" y="10276"/>
                      <a:pt x="17524" y="15718"/>
                      <a:pt x="12859" y="17692"/>
                    </a:cubicBezTo>
                    <a:close/>
                  </a:path>
                </a:pathLst>
              </a:custGeom>
              <a:grpFill/>
              <a:ln w="5978" cap="flat">
                <a:noFill/>
                <a:prstDash val="solid"/>
                <a:miter/>
              </a:ln>
            </p:spPr>
            <p:txBody>
              <a:bodyPr rtlCol="0" anchor="ctr"/>
              <a:lstStyle/>
              <a:p>
                <a:endParaRPr lang="en-GB"/>
              </a:p>
            </p:txBody>
          </p:sp>
          <p:sp>
            <p:nvSpPr>
              <p:cNvPr id="1376" name="Vrije vorm: vorm 1375">
                <a:extLst>
                  <a:ext uri="{FF2B5EF4-FFF2-40B4-BE49-F238E27FC236}">
                    <a16:creationId xmlns:a16="http://schemas.microsoft.com/office/drawing/2014/main" id="{609E7264-93D7-4BCC-8E9C-13D95F38B791}"/>
                  </a:ext>
                </a:extLst>
              </p:cNvPr>
              <p:cNvSpPr/>
              <p:nvPr/>
            </p:nvSpPr>
            <p:spPr>
              <a:xfrm>
                <a:off x="4386460" y="4137155"/>
                <a:ext cx="18301" cy="18467"/>
              </a:xfrm>
              <a:custGeom>
                <a:avLst/>
                <a:gdLst>
                  <a:gd name="connsiteX0" fmla="*/ 12859 w 18301"/>
                  <a:gd name="connsiteY0" fmla="*/ 17692 h 18467"/>
                  <a:gd name="connsiteX1" fmla="*/ 17523 w 18301"/>
                  <a:gd name="connsiteY1" fmla="*/ 5551 h 18467"/>
                  <a:gd name="connsiteX2" fmla="*/ 5443 w 18301"/>
                  <a:gd name="connsiteY2" fmla="*/ 767 h 18467"/>
                  <a:gd name="connsiteX3" fmla="*/ 777 w 18301"/>
                  <a:gd name="connsiteY3" fmla="*/ 12908 h 18467"/>
                  <a:gd name="connsiteX4" fmla="*/ 12859 w 18301"/>
                  <a:gd name="connsiteY4" fmla="*/ 1769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7">
                    <a:moveTo>
                      <a:pt x="12859" y="17692"/>
                    </a:moveTo>
                    <a:cubicBezTo>
                      <a:pt x="17464" y="15659"/>
                      <a:pt x="19557" y="10216"/>
                      <a:pt x="17523" y="5551"/>
                    </a:cubicBezTo>
                    <a:cubicBezTo>
                      <a:pt x="15490" y="886"/>
                      <a:pt x="10048" y="-1267"/>
                      <a:pt x="5443" y="767"/>
                    </a:cubicBezTo>
                    <a:cubicBezTo>
                      <a:pt x="837" y="2800"/>
                      <a:pt x="-1256" y="8242"/>
                      <a:pt x="777" y="12908"/>
                    </a:cubicBezTo>
                    <a:cubicBezTo>
                      <a:pt x="2871" y="17632"/>
                      <a:pt x="8253" y="19726"/>
                      <a:pt x="12859" y="17692"/>
                    </a:cubicBezTo>
                    <a:close/>
                  </a:path>
                </a:pathLst>
              </a:custGeom>
              <a:grpFill/>
              <a:ln w="5978" cap="flat">
                <a:noFill/>
                <a:prstDash val="solid"/>
                <a:miter/>
              </a:ln>
            </p:spPr>
            <p:txBody>
              <a:bodyPr rtlCol="0" anchor="ctr"/>
              <a:lstStyle/>
              <a:p>
                <a:endParaRPr lang="en-GB"/>
              </a:p>
            </p:txBody>
          </p:sp>
        </p:grpSp>
        <p:grpSp>
          <p:nvGrpSpPr>
            <p:cNvPr id="1346" name="Graphic 3">
              <a:extLst>
                <a:ext uri="{FF2B5EF4-FFF2-40B4-BE49-F238E27FC236}">
                  <a16:creationId xmlns:a16="http://schemas.microsoft.com/office/drawing/2014/main" id="{9A5119B6-2528-4EBD-ADB5-3C8734496086}"/>
                </a:ext>
              </a:extLst>
            </p:cNvPr>
            <p:cNvGrpSpPr/>
            <p:nvPr/>
          </p:nvGrpSpPr>
          <p:grpSpPr>
            <a:xfrm>
              <a:off x="3966287" y="4329757"/>
              <a:ext cx="284857" cy="153936"/>
              <a:chOff x="3966287" y="4329757"/>
              <a:chExt cx="284857" cy="153936"/>
            </a:xfrm>
            <a:grpFill/>
          </p:grpSpPr>
          <p:sp>
            <p:nvSpPr>
              <p:cNvPr id="1371" name="Vrije vorm: vorm 1370">
                <a:extLst>
                  <a:ext uri="{FF2B5EF4-FFF2-40B4-BE49-F238E27FC236}">
                    <a16:creationId xmlns:a16="http://schemas.microsoft.com/office/drawing/2014/main" id="{D738350A-6941-4CF7-A223-735F667C10E9}"/>
                  </a:ext>
                </a:extLst>
              </p:cNvPr>
              <p:cNvSpPr/>
              <p:nvPr/>
            </p:nvSpPr>
            <p:spPr>
              <a:xfrm>
                <a:off x="3974329" y="4337379"/>
                <a:ext cx="268713" cy="138692"/>
              </a:xfrm>
              <a:custGeom>
                <a:avLst/>
                <a:gdLst>
                  <a:gd name="connsiteX0" fmla="*/ 268714 w 268713"/>
                  <a:gd name="connsiteY0" fmla="*/ 2751 h 138692"/>
                  <a:gd name="connsiteX1" fmla="*/ 1375 w 268713"/>
                  <a:gd name="connsiteY1" fmla="*/ 138693 h 138692"/>
                  <a:gd name="connsiteX2" fmla="*/ 0 w 268713"/>
                  <a:gd name="connsiteY2" fmla="*/ 135942 h 138692"/>
                  <a:gd name="connsiteX3" fmla="*/ 267338 w 268713"/>
                  <a:gd name="connsiteY3" fmla="*/ 0 h 138692"/>
                </a:gdLst>
                <a:ahLst/>
                <a:cxnLst>
                  <a:cxn ang="0">
                    <a:pos x="connsiteX0" y="connsiteY0"/>
                  </a:cxn>
                  <a:cxn ang="0">
                    <a:pos x="connsiteX1" y="connsiteY1"/>
                  </a:cxn>
                  <a:cxn ang="0">
                    <a:pos x="connsiteX2" y="connsiteY2"/>
                  </a:cxn>
                  <a:cxn ang="0">
                    <a:pos x="connsiteX3" y="connsiteY3"/>
                  </a:cxn>
                </a:cxnLst>
                <a:rect l="l" t="t" r="r" b="b"/>
                <a:pathLst>
                  <a:path w="268713" h="138692">
                    <a:moveTo>
                      <a:pt x="268714" y="2751"/>
                    </a:moveTo>
                    <a:lnTo>
                      <a:pt x="1375" y="138693"/>
                    </a:lnTo>
                    <a:lnTo>
                      <a:pt x="0" y="135942"/>
                    </a:lnTo>
                    <a:lnTo>
                      <a:pt x="267338" y="0"/>
                    </a:lnTo>
                    <a:close/>
                  </a:path>
                </a:pathLst>
              </a:custGeom>
              <a:grpFill/>
              <a:ln w="5978" cap="flat">
                <a:noFill/>
                <a:prstDash val="solid"/>
                <a:miter/>
              </a:ln>
            </p:spPr>
            <p:txBody>
              <a:bodyPr rtlCol="0" anchor="ctr"/>
              <a:lstStyle/>
              <a:p>
                <a:endParaRPr lang="en-GB"/>
              </a:p>
            </p:txBody>
          </p:sp>
          <p:sp>
            <p:nvSpPr>
              <p:cNvPr id="1372" name="Vrije vorm: vorm 1371">
                <a:extLst>
                  <a:ext uri="{FF2B5EF4-FFF2-40B4-BE49-F238E27FC236}">
                    <a16:creationId xmlns:a16="http://schemas.microsoft.com/office/drawing/2014/main" id="{FC495A61-3BA3-441F-8341-C096987E66E3}"/>
                  </a:ext>
                </a:extLst>
              </p:cNvPr>
              <p:cNvSpPr/>
              <p:nvPr/>
            </p:nvSpPr>
            <p:spPr>
              <a:xfrm>
                <a:off x="3966287" y="4465280"/>
                <a:ext cx="18297" cy="18413"/>
              </a:xfrm>
              <a:custGeom>
                <a:avLst/>
                <a:gdLst>
                  <a:gd name="connsiteX0" fmla="*/ 13305 w 18297"/>
                  <a:gd name="connsiteY0" fmla="*/ 17430 h 18413"/>
                  <a:gd name="connsiteX1" fmla="*/ 985 w 18297"/>
                  <a:gd name="connsiteY1" fmla="*/ 13364 h 18413"/>
                  <a:gd name="connsiteX2" fmla="*/ 4992 w 18297"/>
                  <a:gd name="connsiteY2" fmla="*/ 983 h 18413"/>
                  <a:gd name="connsiteX3" fmla="*/ 17312 w 18297"/>
                  <a:gd name="connsiteY3" fmla="*/ 5050 h 18413"/>
                  <a:gd name="connsiteX4" fmla="*/ 13305 w 18297"/>
                  <a:gd name="connsiteY4" fmla="*/ 17430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3305" y="17430"/>
                    </a:moveTo>
                    <a:cubicBezTo>
                      <a:pt x="8820" y="19703"/>
                      <a:pt x="3258" y="17909"/>
                      <a:pt x="985" y="13364"/>
                    </a:cubicBezTo>
                    <a:cubicBezTo>
                      <a:pt x="-1288" y="8818"/>
                      <a:pt x="506" y="3256"/>
                      <a:pt x="4992" y="983"/>
                    </a:cubicBezTo>
                    <a:cubicBezTo>
                      <a:pt x="9477" y="-1289"/>
                      <a:pt x="15039" y="505"/>
                      <a:pt x="17312" y="5050"/>
                    </a:cubicBezTo>
                    <a:cubicBezTo>
                      <a:pt x="19585" y="9596"/>
                      <a:pt x="17791" y="15158"/>
                      <a:pt x="13305" y="17430"/>
                    </a:cubicBezTo>
                    <a:close/>
                  </a:path>
                </a:pathLst>
              </a:custGeom>
              <a:grpFill/>
              <a:ln w="5978" cap="flat">
                <a:noFill/>
                <a:prstDash val="solid"/>
                <a:miter/>
              </a:ln>
            </p:spPr>
            <p:txBody>
              <a:bodyPr rtlCol="0" anchor="ctr"/>
              <a:lstStyle/>
              <a:p>
                <a:endParaRPr lang="en-GB"/>
              </a:p>
            </p:txBody>
          </p:sp>
          <p:sp>
            <p:nvSpPr>
              <p:cNvPr id="1373" name="Vrije vorm: vorm 1372">
                <a:extLst>
                  <a:ext uri="{FF2B5EF4-FFF2-40B4-BE49-F238E27FC236}">
                    <a16:creationId xmlns:a16="http://schemas.microsoft.com/office/drawing/2014/main" id="{14B90EE0-341E-4553-B5A6-A84ED87879A1}"/>
                  </a:ext>
                </a:extLst>
              </p:cNvPr>
              <p:cNvSpPr/>
              <p:nvPr/>
            </p:nvSpPr>
            <p:spPr>
              <a:xfrm>
                <a:off x="4232847" y="4329757"/>
                <a:ext cx="18297" cy="18439"/>
              </a:xfrm>
              <a:custGeom>
                <a:avLst/>
                <a:gdLst>
                  <a:gd name="connsiteX0" fmla="*/ 13305 w 18297"/>
                  <a:gd name="connsiteY0" fmla="*/ 17430 h 18439"/>
                  <a:gd name="connsiteX1" fmla="*/ 17312 w 18297"/>
                  <a:gd name="connsiteY1" fmla="*/ 5050 h 18439"/>
                  <a:gd name="connsiteX2" fmla="*/ 4992 w 18297"/>
                  <a:gd name="connsiteY2" fmla="*/ 983 h 18439"/>
                  <a:gd name="connsiteX3" fmla="*/ 985 w 18297"/>
                  <a:gd name="connsiteY3" fmla="*/ 13363 h 18439"/>
                  <a:gd name="connsiteX4" fmla="*/ 13305 w 18297"/>
                  <a:gd name="connsiteY4" fmla="*/ 1743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9">
                    <a:moveTo>
                      <a:pt x="13305" y="17430"/>
                    </a:moveTo>
                    <a:cubicBezTo>
                      <a:pt x="17791" y="15158"/>
                      <a:pt x="19585" y="9595"/>
                      <a:pt x="17312" y="5050"/>
                    </a:cubicBezTo>
                    <a:cubicBezTo>
                      <a:pt x="15039" y="505"/>
                      <a:pt x="9477" y="-1289"/>
                      <a:pt x="4992" y="983"/>
                    </a:cubicBezTo>
                    <a:cubicBezTo>
                      <a:pt x="506" y="3256"/>
                      <a:pt x="-1288" y="8818"/>
                      <a:pt x="985" y="13363"/>
                    </a:cubicBezTo>
                    <a:cubicBezTo>
                      <a:pt x="3258" y="17909"/>
                      <a:pt x="8760" y="19763"/>
                      <a:pt x="13305" y="17430"/>
                    </a:cubicBezTo>
                    <a:close/>
                  </a:path>
                </a:pathLst>
              </a:custGeom>
              <a:grpFill/>
              <a:ln w="5978" cap="flat">
                <a:noFill/>
                <a:prstDash val="solid"/>
                <a:miter/>
              </a:ln>
            </p:spPr>
            <p:txBody>
              <a:bodyPr rtlCol="0" anchor="ctr"/>
              <a:lstStyle/>
              <a:p>
                <a:endParaRPr lang="en-GB"/>
              </a:p>
            </p:txBody>
          </p:sp>
        </p:grpSp>
        <p:grpSp>
          <p:nvGrpSpPr>
            <p:cNvPr id="1347" name="Graphic 3">
              <a:extLst>
                <a:ext uri="{FF2B5EF4-FFF2-40B4-BE49-F238E27FC236}">
                  <a16:creationId xmlns:a16="http://schemas.microsoft.com/office/drawing/2014/main" id="{53302D82-434B-4001-A819-9ACE8C476591}"/>
                </a:ext>
              </a:extLst>
            </p:cNvPr>
            <p:cNvGrpSpPr/>
            <p:nvPr/>
          </p:nvGrpSpPr>
          <p:grpSpPr>
            <a:xfrm>
              <a:off x="3996433" y="4473251"/>
              <a:ext cx="153872" cy="93856"/>
              <a:chOff x="3996433" y="4473251"/>
              <a:chExt cx="153872" cy="93856"/>
            </a:xfrm>
            <a:grpFill/>
          </p:grpSpPr>
          <p:sp>
            <p:nvSpPr>
              <p:cNvPr id="1368" name="Vrije vorm: vorm 1367">
                <a:extLst>
                  <a:ext uri="{FF2B5EF4-FFF2-40B4-BE49-F238E27FC236}">
                    <a16:creationId xmlns:a16="http://schemas.microsoft.com/office/drawing/2014/main" id="{7C871CE8-BEAF-492B-9D09-106CA4657976}"/>
                  </a:ext>
                </a:extLst>
              </p:cNvPr>
              <p:cNvSpPr/>
              <p:nvPr/>
            </p:nvSpPr>
            <p:spPr>
              <a:xfrm>
                <a:off x="4004471" y="4480856"/>
                <a:ext cx="137796" cy="78586"/>
              </a:xfrm>
              <a:custGeom>
                <a:avLst/>
                <a:gdLst>
                  <a:gd name="connsiteX0" fmla="*/ 137796 w 137796"/>
                  <a:gd name="connsiteY0" fmla="*/ 2691 h 78586"/>
                  <a:gd name="connsiteX1" fmla="*/ 1435 w 137796"/>
                  <a:gd name="connsiteY1" fmla="*/ 78587 h 78586"/>
                  <a:gd name="connsiteX2" fmla="*/ 0 w 137796"/>
                  <a:gd name="connsiteY2" fmla="*/ 75895 h 78586"/>
                  <a:gd name="connsiteX3" fmla="*/ 136301 w 137796"/>
                  <a:gd name="connsiteY3" fmla="*/ 0 h 78586"/>
                </a:gdLst>
                <a:ahLst/>
                <a:cxnLst>
                  <a:cxn ang="0">
                    <a:pos x="connsiteX0" y="connsiteY0"/>
                  </a:cxn>
                  <a:cxn ang="0">
                    <a:pos x="connsiteX1" y="connsiteY1"/>
                  </a:cxn>
                  <a:cxn ang="0">
                    <a:pos x="connsiteX2" y="connsiteY2"/>
                  </a:cxn>
                  <a:cxn ang="0">
                    <a:pos x="connsiteX3" y="connsiteY3"/>
                  </a:cxn>
                </a:cxnLst>
                <a:rect l="l" t="t" r="r" b="b"/>
                <a:pathLst>
                  <a:path w="137796" h="78586">
                    <a:moveTo>
                      <a:pt x="137796" y="2691"/>
                    </a:moveTo>
                    <a:lnTo>
                      <a:pt x="1435" y="78587"/>
                    </a:lnTo>
                    <a:lnTo>
                      <a:pt x="0" y="75895"/>
                    </a:lnTo>
                    <a:lnTo>
                      <a:pt x="136301" y="0"/>
                    </a:lnTo>
                    <a:close/>
                  </a:path>
                </a:pathLst>
              </a:custGeom>
              <a:grpFill/>
              <a:ln w="5978" cap="flat">
                <a:noFill/>
                <a:prstDash val="solid"/>
                <a:miter/>
              </a:ln>
            </p:spPr>
            <p:txBody>
              <a:bodyPr rtlCol="0" anchor="ctr"/>
              <a:lstStyle/>
              <a:p>
                <a:endParaRPr lang="en-GB"/>
              </a:p>
            </p:txBody>
          </p:sp>
          <p:sp>
            <p:nvSpPr>
              <p:cNvPr id="1369" name="Vrije vorm: vorm 1368">
                <a:extLst>
                  <a:ext uri="{FF2B5EF4-FFF2-40B4-BE49-F238E27FC236}">
                    <a16:creationId xmlns:a16="http://schemas.microsoft.com/office/drawing/2014/main" id="{2AB11EB0-E706-477A-8713-F63A37794557}"/>
                  </a:ext>
                </a:extLst>
              </p:cNvPr>
              <p:cNvSpPr/>
              <p:nvPr/>
            </p:nvSpPr>
            <p:spPr>
              <a:xfrm>
                <a:off x="3996433" y="4548728"/>
                <a:ext cx="18315" cy="18380"/>
              </a:xfrm>
              <a:custGeom>
                <a:avLst/>
                <a:gdLst>
                  <a:gd name="connsiteX0" fmla="*/ 13600 w 18315"/>
                  <a:gd name="connsiteY0" fmla="*/ 17234 h 18380"/>
                  <a:gd name="connsiteX1" fmla="*/ 1160 w 18315"/>
                  <a:gd name="connsiteY1" fmla="*/ 13646 h 18380"/>
                  <a:gd name="connsiteX2" fmla="*/ 4689 w 18315"/>
                  <a:gd name="connsiteY2" fmla="*/ 1146 h 18380"/>
                  <a:gd name="connsiteX3" fmla="*/ 17129 w 18315"/>
                  <a:gd name="connsiteY3" fmla="*/ 4735 h 18380"/>
                  <a:gd name="connsiteX4" fmla="*/ 13600 w 18315"/>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80">
                    <a:moveTo>
                      <a:pt x="13600" y="17234"/>
                    </a:moveTo>
                    <a:cubicBezTo>
                      <a:pt x="9174" y="19686"/>
                      <a:pt x="3612" y="18071"/>
                      <a:pt x="1160" y="13646"/>
                    </a:cubicBezTo>
                    <a:cubicBezTo>
                      <a:pt x="-1292" y="9220"/>
                      <a:pt x="263" y="3598"/>
                      <a:pt x="4689" y="1146"/>
                    </a:cubicBezTo>
                    <a:cubicBezTo>
                      <a:pt x="9115" y="-1306"/>
                      <a:pt x="14677" y="308"/>
                      <a:pt x="17129" y="4735"/>
                    </a:cubicBezTo>
                    <a:cubicBezTo>
                      <a:pt x="19641" y="9160"/>
                      <a:pt x="18026" y="14782"/>
                      <a:pt x="13600" y="17234"/>
                    </a:cubicBezTo>
                    <a:close/>
                  </a:path>
                </a:pathLst>
              </a:custGeom>
              <a:grpFill/>
              <a:ln w="5978" cap="flat">
                <a:noFill/>
                <a:prstDash val="solid"/>
                <a:miter/>
              </a:ln>
            </p:spPr>
            <p:txBody>
              <a:bodyPr rtlCol="0" anchor="ctr"/>
              <a:lstStyle/>
              <a:p>
                <a:endParaRPr lang="en-GB"/>
              </a:p>
            </p:txBody>
          </p:sp>
          <p:sp>
            <p:nvSpPr>
              <p:cNvPr id="1370" name="Vrije vorm: vorm 1369">
                <a:extLst>
                  <a:ext uri="{FF2B5EF4-FFF2-40B4-BE49-F238E27FC236}">
                    <a16:creationId xmlns:a16="http://schemas.microsoft.com/office/drawing/2014/main" id="{3703446C-9E7B-49CF-9D8A-4D83F294268E}"/>
                  </a:ext>
                </a:extLst>
              </p:cNvPr>
              <p:cNvSpPr/>
              <p:nvPr/>
            </p:nvSpPr>
            <p:spPr>
              <a:xfrm>
                <a:off x="4132016" y="4473251"/>
                <a:ext cx="18289" cy="18380"/>
              </a:xfrm>
              <a:custGeom>
                <a:avLst/>
                <a:gdLst>
                  <a:gd name="connsiteX0" fmla="*/ 13600 w 18289"/>
                  <a:gd name="connsiteY0" fmla="*/ 17234 h 18380"/>
                  <a:gd name="connsiteX1" fmla="*/ 17129 w 18289"/>
                  <a:gd name="connsiteY1" fmla="*/ 4735 h 18380"/>
                  <a:gd name="connsiteX2" fmla="*/ 4689 w 18289"/>
                  <a:gd name="connsiteY2" fmla="*/ 1146 h 18380"/>
                  <a:gd name="connsiteX3" fmla="*/ 1160 w 18289"/>
                  <a:gd name="connsiteY3" fmla="*/ 13646 h 18380"/>
                  <a:gd name="connsiteX4" fmla="*/ 13600 w 18289"/>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80">
                    <a:moveTo>
                      <a:pt x="13600" y="17234"/>
                    </a:moveTo>
                    <a:cubicBezTo>
                      <a:pt x="18026" y="14782"/>
                      <a:pt x="19581" y="9160"/>
                      <a:pt x="17129" y="4735"/>
                    </a:cubicBezTo>
                    <a:cubicBezTo>
                      <a:pt x="14677" y="308"/>
                      <a:pt x="9055" y="-1306"/>
                      <a:pt x="4689" y="1146"/>
                    </a:cubicBezTo>
                    <a:cubicBezTo>
                      <a:pt x="263" y="3598"/>
                      <a:pt x="-1292" y="9220"/>
                      <a:pt x="1160" y="13646"/>
                    </a:cubicBezTo>
                    <a:cubicBezTo>
                      <a:pt x="3553" y="18071"/>
                      <a:pt x="9174" y="19686"/>
                      <a:pt x="13600" y="17234"/>
                    </a:cubicBezTo>
                    <a:close/>
                  </a:path>
                </a:pathLst>
              </a:custGeom>
              <a:grpFill/>
              <a:ln w="5978" cap="flat">
                <a:noFill/>
                <a:prstDash val="solid"/>
                <a:miter/>
              </a:ln>
            </p:spPr>
            <p:txBody>
              <a:bodyPr rtlCol="0" anchor="ctr"/>
              <a:lstStyle/>
              <a:p>
                <a:endParaRPr lang="en-GB"/>
              </a:p>
            </p:txBody>
          </p:sp>
        </p:grpSp>
        <p:grpSp>
          <p:nvGrpSpPr>
            <p:cNvPr id="1348" name="Graphic 3">
              <a:extLst>
                <a:ext uri="{FF2B5EF4-FFF2-40B4-BE49-F238E27FC236}">
                  <a16:creationId xmlns:a16="http://schemas.microsoft.com/office/drawing/2014/main" id="{00A9C155-BEC0-4F63-8F3F-D4B70772D99B}"/>
                </a:ext>
              </a:extLst>
            </p:cNvPr>
            <p:cNvGrpSpPr/>
            <p:nvPr/>
          </p:nvGrpSpPr>
          <p:grpSpPr>
            <a:xfrm>
              <a:off x="3698672" y="3669518"/>
              <a:ext cx="77341" cy="25176"/>
              <a:chOff x="3698672" y="3669518"/>
              <a:chExt cx="77341" cy="25176"/>
            </a:xfrm>
            <a:grpFill/>
          </p:grpSpPr>
          <p:sp>
            <p:nvSpPr>
              <p:cNvPr id="1365" name="Vrije vorm: vorm 1364">
                <a:extLst>
                  <a:ext uri="{FF2B5EF4-FFF2-40B4-BE49-F238E27FC236}">
                    <a16:creationId xmlns:a16="http://schemas.microsoft.com/office/drawing/2014/main" id="{62976C33-13E0-4697-9998-83311C39B9C6}"/>
                  </a:ext>
                </a:extLst>
              </p:cNvPr>
              <p:cNvSpPr/>
              <p:nvPr/>
            </p:nvSpPr>
            <p:spPr>
              <a:xfrm>
                <a:off x="3707170" y="3677167"/>
                <a:ext cx="60345" cy="9868"/>
              </a:xfrm>
              <a:custGeom>
                <a:avLst/>
                <a:gdLst>
                  <a:gd name="connsiteX0" fmla="*/ 59987 w 60345"/>
                  <a:gd name="connsiteY0" fmla="*/ 0 h 9868"/>
                  <a:gd name="connsiteX1" fmla="*/ 60345 w 60345"/>
                  <a:gd name="connsiteY1" fmla="*/ 3050 h 9868"/>
                  <a:gd name="connsiteX2" fmla="*/ 359 w 60345"/>
                  <a:gd name="connsiteY2" fmla="*/ 9868 h 9868"/>
                  <a:gd name="connsiteX3" fmla="*/ 0 w 60345"/>
                  <a:gd name="connsiteY3" fmla="*/ 6878 h 9868"/>
                </a:gdLst>
                <a:ahLst/>
                <a:cxnLst>
                  <a:cxn ang="0">
                    <a:pos x="connsiteX0" y="connsiteY0"/>
                  </a:cxn>
                  <a:cxn ang="0">
                    <a:pos x="connsiteX1" y="connsiteY1"/>
                  </a:cxn>
                  <a:cxn ang="0">
                    <a:pos x="connsiteX2" y="connsiteY2"/>
                  </a:cxn>
                  <a:cxn ang="0">
                    <a:pos x="connsiteX3" y="connsiteY3"/>
                  </a:cxn>
                </a:cxnLst>
                <a:rect l="l" t="t" r="r" b="b"/>
                <a:pathLst>
                  <a:path w="60345" h="9868">
                    <a:moveTo>
                      <a:pt x="59987" y="0"/>
                    </a:moveTo>
                    <a:lnTo>
                      <a:pt x="60345" y="3050"/>
                    </a:lnTo>
                    <a:lnTo>
                      <a:pt x="359" y="9868"/>
                    </a:lnTo>
                    <a:lnTo>
                      <a:pt x="0" y="6878"/>
                    </a:lnTo>
                    <a:close/>
                  </a:path>
                </a:pathLst>
              </a:custGeom>
              <a:grpFill/>
              <a:ln w="5978" cap="flat">
                <a:noFill/>
                <a:prstDash val="solid"/>
                <a:miter/>
              </a:ln>
            </p:spPr>
            <p:txBody>
              <a:bodyPr rtlCol="0" anchor="ctr"/>
              <a:lstStyle/>
              <a:p>
                <a:endParaRPr lang="en-GB"/>
              </a:p>
            </p:txBody>
          </p:sp>
          <p:sp>
            <p:nvSpPr>
              <p:cNvPr id="1366" name="Vrije vorm: vorm 1365">
                <a:extLst>
                  <a:ext uri="{FF2B5EF4-FFF2-40B4-BE49-F238E27FC236}">
                    <a16:creationId xmlns:a16="http://schemas.microsoft.com/office/drawing/2014/main" id="{6C1C9C6A-E05A-4FE2-80DF-5DE4F366F788}"/>
                  </a:ext>
                </a:extLst>
              </p:cNvPr>
              <p:cNvSpPr/>
              <p:nvPr/>
            </p:nvSpPr>
            <p:spPr>
              <a:xfrm>
                <a:off x="3698672" y="3676265"/>
                <a:ext cx="18311" cy="18429"/>
              </a:xfrm>
              <a:custGeom>
                <a:avLst/>
                <a:gdLst>
                  <a:gd name="connsiteX0" fmla="*/ 10232 w 18311"/>
                  <a:gd name="connsiteY0" fmla="*/ 18365 h 18429"/>
                  <a:gd name="connsiteX1" fmla="*/ 65 w 18311"/>
                  <a:gd name="connsiteY1" fmla="*/ 10231 h 18429"/>
                  <a:gd name="connsiteX2" fmla="*/ 8079 w 18311"/>
                  <a:gd name="connsiteY2" fmla="*/ 64 h 18429"/>
                  <a:gd name="connsiteX3" fmla="*/ 18247 w 18311"/>
                  <a:gd name="connsiteY3" fmla="*/ 8198 h 18429"/>
                  <a:gd name="connsiteX4" fmla="*/ 10232 w 18311"/>
                  <a:gd name="connsiteY4" fmla="*/ 1836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9">
                    <a:moveTo>
                      <a:pt x="10232" y="18365"/>
                    </a:moveTo>
                    <a:cubicBezTo>
                      <a:pt x="5209" y="18963"/>
                      <a:pt x="663" y="15315"/>
                      <a:pt x="65" y="10231"/>
                    </a:cubicBezTo>
                    <a:cubicBezTo>
                      <a:pt x="-533" y="5148"/>
                      <a:pt x="3055" y="603"/>
                      <a:pt x="8079" y="64"/>
                    </a:cubicBezTo>
                    <a:cubicBezTo>
                      <a:pt x="13103" y="-534"/>
                      <a:pt x="17648" y="3114"/>
                      <a:pt x="18247" y="8198"/>
                    </a:cubicBezTo>
                    <a:cubicBezTo>
                      <a:pt x="18845" y="13222"/>
                      <a:pt x="15256" y="17827"/>
                      <a:pt x="10232" y="18365"/>
                    </a:cubicBezTo>
                    <a:close/>
                  </a:path>
                </a:pathLst>
              </a:custGeom>
              <a:grpFill/>
              <a:ln w="5978" cap="flat">
                <a:noFill/>
                <a:prstDash val="solid"/>
                <a:miter/>
              </a:ln>
            </p:spPr>
            <p:txBody>
              <a:bodyPr rtlCol="0" anchor="ctr"/>
              <a:lstStyle/>
              <a:p>
                <a:endParaRPr lang="en-GB"/>
              </a:p>
            </p:txBody>
          </p:sp>
          <p:sp>
            <p:nvSpPr>
              <p:cNvPr id="1367" name="Vrije vorm: vorm 1366">
                <a:extLst>
                  <a:ext uri="{FF2B5EF4-FFF2-40B4-BE49-F238E27FC236}">
                    <a16:creationId xmlns:a16="http://schemas.microsoft.com/office/drawing/2014/main" id="{62A6DE1B-13ED-47AE-AB29-56AA602FD032}"/>
                  </a:ext>
                </a:extLst>
              </p:cNvPr>
              <p:cNvSpPr/>
              <p:nvPr/>
            </p:nvSpPr>
            <p:spPr>
              <a:xfrm>
                <a:off x="3757702" y="3669518"/>
                <a:ext cx="18311" cy="18418"/>
              </a:xfrm>
              <a:custGeom>
                <a:avLst/>
                <a:gdLst>
                  <a:gd name="connsiteX0" fmla="*/ 10232 w 18311"/>
                  <a:gd name="connsiteY0" fmla="*/ 18354 h 18418"/>
                  <a:gd name="connsiteX1" fmla="*/ 18247 w 18311"/>
                  <a:gd name="connsiteY1" fmla="*/ 8187 h 18418"/>
                  <a:gd name="connsiteX2" fmla="*/ 8079 w 18311"/>
                  <a:gd name="connsiteY2" fmla="*/ 53 h 18418"/>
                  <a:gd name="connsiteX3" fmla="*/ 65 w 18311"/>
                  <a:gd name="connsiteY3" fmla="*/ 10221 h 18418"/>
                  <a:gd name="connsiteX4" fmla="*/ 10232 w 18311"/>
                  <a:gd name="connsiteY4" fmla="*/ 18354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0232" y="18354"/>
                    </a:moveTo>
                    <a:cubicBezTo>
                      <a:pt x="15256" y="17756"/>
                      <a:pt x="18845" y="13211"/>
                      <a:pt x="18247" y="8187"/>
                    </a:cubicBezTo>
                    <a:cubicBezTo>
                      <a:pt x="17648" y="3103"/>
                      <a:pt x="13103" y="-485"/>
                      <a:pt x="8079" y="53"/>
                    </a:cubicBezTo>
                    <a:cubicBezTo>
                      <a:pt x="3055" y="651"/>
                      <a:pt x="-533" y="5197"/>
                      <a:pt x="65" y="10221"/>
                    </a:cubicBezTo>
                    <a:cubicBezTo>
                      <a:pt x="663" y="15304"/>
                      <a:pt x="5209" y="18952"/>
                      <a:pt x="10232" y="18354"/>
                    </a:cubicBezTo>
                    <a:close/>
                  </a:path>
                </a:pathLst>
              </a:custGeom>
              <a:grpFill/>
              <a:ln w="5978" cap="flat">
                <a:noFill/>
                <a:prstDash val="solid"/>
                <a:miter/>
              </a:ln>
            </p:spPr>
            <p:txBody>
              <a:bodyPr rtlCol="0" anchor="ctr"/>
              <a:lstStyle/>
              <a:p>
                <a:endParaRPr lang="en-GB"/>
              </a:p>
            </p:txBody>
          </p:sp>
        </p:grpSp>
        <p:grpSp>
          <p:nvGrpSpPr>
            <p:cNvPr id="1349" name="Graphic 3">
              <a:extLst>
                <a:ext uri="{FF2B5EF4-FFF2-40B4-BE49-F238E27FC236}">
                  <a16:creationId xmlns:a16="http://schemas.microsoft.com/office/drawing/2014/main" id="{1994B3CF-48F0-4452-8030-67ECEA2C88DC}"/>
                </a:ext>
              </a:extLst>
            </p:cNvPr>
            <p:cNvGrpSpPr/>
            <p:nvPr/>
          </p:nvGrpSpPr>
          <p:grpSpPr>
            <a:xfrm>
              <a:off x="4013122" y="4621684"/>
              <a:ext cx="50938" cy="38180"/>
              <a:chOff x="4013122" y="4621684"/>
              <a:chExt cx="50938" cy="38180"/>
            </a:xfrm>
            <a:grpFill/>
          </p:grpSpPr>
          <p:sp>
            <p:nvSpPr>
              <p:cNvPr id="1362" name="Vrije vorm: vorm 1361">
                <a:extLst>
                  <a:ext uri="{FF2B5EF4-FFF2-40B4-BE49-F238E27FC236}">
                    <a16:creationId xmlns:a16="http://schemas.microsoft.com/office/drawing/2014/main" id="{3C16F43C-577C-4010-8CBA-73BB0B5F9043}"/>
                  </a:ext>
                </a:extLst>
              </p:cNvPr>
              <p:cNvSpPr/>
              <p:nvPr/>
            </p:nvSpPr>
            <p:spPr>
              <a:xfrm>
                <a:off x="4021098" y="4629298"/>
                <a:ext cx="34987" cy="22905"/>
              </a:xfrm>
              <a:custGeom>
                <a:avLst/>
                <a:gdLst>
                  <a:gd name="connsiteX0" fmla="*/ 34987 w 34987"/>
                  <a:gd name="connsiteY0" fmla="*/ 2632 h 22905"/>
                  <a:gd name="connsiteX1" fmla="*/ 1615 w 34987"/>
                  <a:gd name="connsiteY1" fmla="*/ 22906 h 22905"/>
                  <a:gd name="connsiteX2" fmla="*/ 0 w 34987"/>
                  <a:gd name="connsiteY2" fmla="*/ 20275 h 22905"/>
                  <a:gd name="connsiteX3" fmla="*/ 33432 w 34987"/>
                  <a:gd name="connsiteY3" fmla="*/ 0 h 22905"/>
                </a:gdLst>
                <a:ahLst/>
                <a:cxnLst>
                  <a:cxn ang="0">
                    <a:pos x="connsiteX0" y="connsiteY0"/>
                  </a:cxn>
                  <a:cxn ang="0">
                    <a:pos x="connsiteX1" y="connsiteY1"/>
                  </a:cxn>
                  <a:cxn ang="0">
                    <a:pos x="connsiteX2" y="connsiteY2"/>
                  </a:cxn>
                  <a:cxn ang="0">
                    <a:pos x="connsiteX3" y="connsiteY3"/>
                  </a:cxn>
                </a:cxnLst>
                <a:rect l="l" t="t" r="r" b="b"/>
                <a:pathLst>
                  <a:path w="34987" h="22905">
                    <a:moveTo>
                      <a:pt x="34987" y="2632"/>
                    </a:moveTo>
                    <a:lnTo>
                      <a:pt x="1615" y="22906"/>
                    </a:lnTo>
                    <a:lnTo>
                      <a:pt x="0" y="20275"/>
                    </a:lnTo>
                    <a:lnTo>
                      <a:pt x="33432" y="0"/>
                    </a:lnTo>
                    <a:close/>
                  </a:path>
                </a:pathLst>
              </a:custGeom>
              <a:grpFill/>
              <a:ln w="5978" cap="flat">
                <a:noFill/>
                <a:prstDash val="solid"/>
                <a:miter/>
              </a:ln>
            </p:spPr>
            <p:txBody>
              <a:bodyPr rtlCol="0" anchor="ctr"/>
              <a:lstStyle/>
              <a:p>
                <a:endParaRPr lang="en-GB"/>
              </a:p>
            </p:txBody>
          </p:sp>
          <p:sp>
            <p:nvSpPr>
              <p:cNvPr id="1363" name="Vrije vorm: vorm 1362">
                <a:extLst>
                  <a:ext uri="{FF2B5EF4-FFF2-40B4-BE49-F238E27FC236}">
                    <a16:creationId xmlns:a16="http://schemas.microsoft.com/office/drawing/2014/main" id="{4570256D-5C9F-4689-9A44-BAA43F774893}"/>
                  </a:ext>
                </a:extLst>
              </p:cNvPr>
              <p:cNvSpPr/>
              <p:nvPr/>
            </p:nvSpPr>
            <p:spPr>
              <a:xfrm>
                <a:off x="4013122" y="4641494"/>
                <a:ext cx="18343" cy="18370"/>
              </a:xfrm>
              <a:custGeom>
                <a:avLst/>
                <a:gdLst>
                  <a:gd name="connsiteX0" fmla="*/ 13956 w 18343"/>
                  <a:gd name="connsiteY0" fmla="*/ 17050 h 18370"/>
                  <a:gd name="connsiteX1" fmla="*/ 1337 w 18343"/>
                  <a:gd name="connsiteY1" fmla="*/ 13940 h 18370"/>
                  <a:gd name="connsiteX2" fmla="*/ 4387 w 18343"/>
                  <a:gd name="connsiteY2" fmla="*/ 1321 h 18370"/>
                  <a:gd name="connsiteX3" fmla="*/ 17007 w 18343"/>
                  <a:gd name="connsiteY3" fmla="*/ 4431 h 18370"/>
                  <a:gd name="connsiteX4" fmla="*/ 13956 w 18343"/>
                  <a:gd name="connsiteY4" fmla="*/ 17050 h 18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0">
                    <a:moveTo>
                      <a:pt x="13956" y="17050"/>
                    </a:moveTo>
                    <a:cubicBezTo>
                      <a:pt x="9650" y="19681"/>
                      <a:pt x="3968" y="18246"/>
                      <a:pt x="1337" y="13940"/>
                    </a:cubicBezTo>
                    <a:cubicBezTo>
                      <a:pt x="-1294" y="9574"/>
                      <a:pt x="81" y="3892"/>
                      <a:pt x="4387" y="1321"/>
                    </a:cubicBezTo>
                    <a:cubicBezTo>
                      <a:pt x="8693" y="-1311"/>
                      <a:pt x="14375" y="125"/>
                      <a:pt x="17007" y="4431"/>
                    </a:cubicBezTo>
                    <a:cubicBezTo>
                      <a:pt x="19638" y="8737"/>
                      <a:pt x="18262" y="14419"/>
                      <a:pt x="13956" y="17050"/>
                    </a:cubicBezTo>
                    <a:close/>
                  </a:path>
                </a:pathLst>
              </a:custGeom>
              <a:grpFill/>
              <a:ln w="5978" cap="flat">
                <a:noFill/>
                <a:prstDash val="solid"/>
                <a:miter/>
              </a:ln>
            </p:spPr>
            <p:txBody>
              <a:bodyPr rtlCol="0" anchor="ctr"/>
              <a:lstStyle/>
              <a:p>
                <a:endParaRPr lang="en-GB"/>
              </a:p>
            </p:txBody>
          </p:sp>
          <p:sp>
            <p:nvSpPr>
              <p:cNvPr id="1364" name="Vrije vorm: vorm 1363">
                <a:extLst>
                  <a:ext uri="{FF2B5EF4-FFF2-40B4-BE49-F238E27FC236}">
                    <a16:creationId xmlns:a16="http://schemas.microsoft.com/office/drawing/2014/main" id="{DB23CB57-C27B-46CA-B15C-47FA75563A7F}"/>
                  </a:ext>
                </a:extLst>
              </p:cNvPr>
              <p:cNvSpPr/>
              <p:nvPr/>
            </p:nvSpPr>
            <p:spPr>
              <a:xfrm>
                <a:off x="4045717" y="4621684"/>
                <a:ext cx="18343" cy="18398"/>
              </a:xfrm>
              <a:custGeom>
                <a:avLst/>
                <a:gdLst>
                  <a:gd name="connsiteX0" fmla="*/ 13957 w 18343"/>
                  <a:gd name="connsiteY0" fmla="*/ 17064 h 18398"/>
                  <a:gd name="connsiteX1" fmla="*/ 17006 w 18343"/>
                  <a:gd name="connsiteY1" fmla="*/ 4444 h 18398"/>
                  <a:gd name="connsiteX2" fmla="*/ 4387 w 18343"/>
                  <a:gd name="connsiteY2" fmla="*/ 1335 h 18398"/>
                  <a:gd name="connsiteX3" fmla="*/ 1337 w 18343"/>
                  <a:gd name="connsiteY3" fmla="*/ 13954 h 18398"/>
                  <a:gd name="connsiteX4" fmla="*/ 13957 w 18343"/>
                  <a:gd name="connsiteY4" fmla="*/ 1706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8">
                    <a:moveTo>
                      <a:pt x="13957" y="17064"/>
                    </a:moveTo>
                    <a:cubicBezTo>
                      <a:pt x="18263" y="14432"/>
                      <a:pt x="19638" y="8751"/>
                      <a:pt x="17006" y="4444"/>
                    </a:cubicBezTo>
                    <a:cubicBezTo>
                      <a:pt x="14375" y="79"/>
                      <a:pt x="8753" y="-1297"/>
                      <a:pt x="4387" y="1335"/>
                    </a:cubicBezTo>
                    <a:cubicBezTo>
                      <a:pt x="81" y="3966"/>
                      <a:pt x="-1295" y="9648"/>
                      <a:pt x="1337" y="13954"/>
                    </a:cubicBezTo>
                    <a:cubicBezTo>
                      <a:pt x="3968" y="18320"/>
                      <a:pt x="9590" y="19695"/>
                      <a:pt x="13957" y="17064"/>
                    </a:cubicBezTo>
                    <a:close/>
                  </a:path>
                </a:pathLst>
              </a:custGeom>
              <a:grpFill/>
              <a:ln w="5978" cap="flat">
                <a:noFill/>
                <a:prstDash val="solid"/>
                <a:miter/>
              </a:ln>
            </p:spPr>
            <p:txBody>
              <a:bodyPr rtlCol="0" anchor="ctr"/>
              <a:lstStyle/>
              <a:p>
                <a:endParaRPr lang="en-GB"/>
              </a:p>
            </p:txBody>
          </p:sp>
        </p:grpSp>
        <p:grpSp>
          <p:nvGrpSpPr>
            <p:cNvPr id="1350" name="Graphic 3">
              <a:extLst>
                <a:ext uri="{FF2B5EF4-FFF2-40B4-BE49-F238E27FC236}">
                  <a16:creationId xmlns:a16="http://schemas.microsoft.com/office/drawing/2014/main" id="{B9589922-1AC8-4323-B3A0-4B6C8B204136}"/>
                </a:ext>
              </a:extLst>
            </p:cNvPr>
            <p:cNvGrpSpPr/>
            <p:nvPr/>
          </p:nvGrpSpPr>
          <p:grpSpPr>
            <a:xfrm>
              <a:off x="3799499" y="4420930"/>
              <a:ext cx="361620" cy="201131"/>
              <a:chOff x="3799499" y="4420930"/>
              <a:chExt cx="361620" cy="201131"/>
            </a:xfrm>
            <a:grpFill/>
          </p:grpSpPr>
          <p:sp>
            <p:nvSpPr>
              <p:cNvPr id="1359" name="Vrije vorm: vorm 1358">
                <a:extLst>
                  <a:ext uri="{FF2B5EF4-FFF2-40B4-BE49-F238E27FC236}">
                    <a16:creationId xmlns:a16="http://schemas.microsoft.com/office/drawing/2014/main" id="{2F9C95F6-821A-42E0-96A8-2D69685E4F80}"/>
                  </a:ext>
                </a:extLst>
              </p:cNvPr>
              <p:cNvSpPr/>
              <p:nvPr/>
            </p:nvSpPr>
            <p:spPr>
              <a:xfrm>
                <a:off x="3807586" y="4428585"/>
                <a:ext cx="345446" cy="185821"/>
              </a:xfrm>
              <a:custGeom>
                <a:avLst/>
                <a:gdLst>
                  <a:gd name="connsiteX0" fmla="*/ 345447 w 345446"/>
                  <a:gd name="connsiteY0" fmla="*/ 2691 h 185821"/>
                  <a:gd name="connsiteX1" fmla="*/ 1435 w 345446"/>
                  <a:gd name="connsiteY1" fmla="*/ 185821 h 185821"/>
                  <a:gd name="connsiteX2" fmla="*/ 0 w 345446"/>
                  <a:gd name="connsiteY2" fmla="*/ 183130 h 185821"/>
                  <a:gd name="connsiteX3" fmla="*/ 344011 w 345446"/>
                  <a:gd name="connsiteY3" fmla="*/ 0 h 185821"/>
                </a:gdLst>
                <a:ahLst/>
                <a:cxnLst>
                  <a:cxn ang="0">
                    <a:pos x="connsiteX0" y="connsiteY0"/>
                  </a:cxn>
                  <a:cxn ang="0">
                    <a:pos x="connsiteX1" y="connsiteY1"/>
                  </a:cxn>
                  <a:cxn ang="0">
                    <a:pos x="connsiteX2" y="connsiteY2"/>
                  </a:cxn>
                  <a:cxn ang="0">
                    <a:pos x="connsiteX3" y="connsiteY3"/>
                  </a:cxn>
                </a:cxnLst>
                <a:rect l="l" t="t" r="r" b="b"/>
                <a:pathLst>
                  <a:path w="345446" h="185821">
                    <a:moveTo>
                      <a:pt x="345447" y="2691"/>
                    </a:moveTo>
                    <a:lnTo>
                      <a:pt x="1435" y="185821"/>
                    </a:lnTo>
                    <a:lnTo>
                      <a:pt x="0" y="183130"/>
                    </a:lnTo>
                    <a:lnTo>
                      <a:pt x="344011" y="0"/>
                    </a:lnTo>
                    <a:close/>
                  </a:path>
                </a:pathLst>
              </a:custGeom>
              <a:grpFill/>
              <a:ln w="5978" cap="flat">
                <a:noFill/>
                <a:prstDash val="solid"/>
                <a:miter/>
              </a:ln>
            </p:spPr>
            <p:txBody>
              <a:bodyPr rtlCol="0" anchor="ctr"/>
              <a:lstStyle/>
              <a:p>
                <a:endParaRPr lang="en-GB"/>
              </a:p>
            </p:txBody>
          </p:sp>
          <p:sp>
            <p:nvSpPr>
              <p:cNvPr id="1360" name="Vrije vorm: vorm 1359">
                <a:extLst>
                  <a:ext uri="{FF2B5EF4-FFF2-40B4-BE49-F238E27FC236}">
                    <a16:creationId xmlns:a16="http://schemas.microsoft.com/office/drawing/2014/main" id="{497D01A8-4441-40A3-8D81-849479D77826}"/>
                  </a:ext>
                </a:extLst>
              </p:cNvPr>
              <p:cNvSpPr/>
              <p:nvPr/>
            </p:nvSpPr>
            <p:spPr>
              <a:xfrm>
                <a:off x="3799499" y="4603641"/>
                <a:ext cx="18327" cy="18420"/>
              </a:xfrm>
              <a:custGeom>
                <a:avLst/>
                <a:gdLst>
                  <a:gd name="connsiteX0" fmla="*/ 13470 w 18327"/>
                  <a:gd name="connsiteY0" fmla="*/ 17344 h 18420"/>
                  <a:gd name="connsiteX1" fmla="*/ 1090 w 18327"/>
                  <a:gd name="connsiteY1" fmla="*/ 13516 h 18420"/>
                  <a:gd name="connsiteX2" fmla="*/ 4858 w 18327"/>
                  <a:gd name="connsiteY2" fmla="*/ 1076 h 18420"/>
                  <a:gd name="connsiteX3" fmla="*/ 17237 w 18327"/>
                  <a:gd name="connsiteY3" fmla="*/ 4904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8984" y="19736"/>
                      <a:pt x="3482" y="18002"/>
                      <a:pt x="1090" y="13516"/>
                    </a:cubicBezTo>
                    <a:cubicBezTo>
                      <a:pt x="-1303" y="9031"/>
                      <a:pt x="372" y="3469"/>
                      <a:pt x="4858" y="1076"/>
                    </a:cubicBezTo>
                    <a:cubicBezTo>
                      <a:pt x="9343" y="-1316"/>
                      <a:pt x="14845" y="418"/>
                      <a:pt x="17237" y="4904"/>
                    </a:cubicBezTo>
                    <a:cubicBezTo>
                      <a:pt x="19630" y="9389"/>
                      <a:pt x="17956" y="14951"/>
                      <a:pt x="13470" y="17344"/>
                    </a:cubicBezTo>
                    <a:close/>
                  </a:path>
                </a:pathLst>
              </a:custGeom>
              <a:grpFill/>
              <a:ln w="5978" cap="flat">
                <a:noFill/>
                <a:prstDash val="solid"/>
                <a:miter/>
              </a:ln>
            </p:spPr>
            <p:txBody>
              <a:bodyPr rtlCol="0" anchor="ctr"/>
              <a:lstStyle/>
              <a:p>
                <a:endParaRPr lang="en-GB"/>
              </a:p>
            </p:txBody>
          </p:sp>
          <p:sp>
            <p:nvSpPr>
              <p:cNvPr id="1361" name="Vrije vorm: vorm 1360">
                <a:extLst>
                  <a:ext uri="{FF2B5EF4-FFF2-40B4-BE49-F238E27FC236}">
                    <a16:creationId xmlns:a16="http://schemas.microsoft.com/office/drawing/2014/main" id="{77698F67-9583-4F86-8EAD-EABCF8DC7128}"/>
                  </a:ext>
                </a:extLst>
              </p:cNvPr>
              <p:cNvSpPr/>
              <p:nvPr/>
            </p:nvSpPr>
            <p:spPr>
              <a:xfrm>
                <a:off x="4142792" y="4420930"/>
                <a:ext cx="18327" cy="18420"/>
              </a:xfrm>
              <a:custGeom>
                <a:avLst/>
                <a:gdLst>
                  <a:gd name="connsiteX0" fmla="*/ 13470 w 18327"/>
                  <a:gd name="connsiteY0" fmla="*/ 17344 h 18420"/>
                  <a:gd name="connsiteX1" fmla="*/ 17238 w 18327"/>
                  <a:gd name="connsiteY1" fmla="*/ 4904 h 18420"/>
                  <a:gd name="connsiteX2" fmla="*/ 4858 w 18327"/>
                  <a:gd name="connsiteY2" fmla="*/ 1076 h 18420"/>
                  <a:gd name="connsiteX3" fmla="*/ 1090 w 18327"/>
                  <a:gd name="connsiteY3" fmla="*/ 13516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17955" y="14952"/>
                      <a:pt x="19630" y="9389"/>
                      <a:pt x="17238" y="4904"/>
                    </a:cubicBezTo>
                    <a:cubicBezTo>
                      <a:pt x="14845" y="418"/>
                      <a:pt x="9283" y="-1316"/>
                      <a:pt x="4858" y="1076"/>
                    </a:cubicBezTo>
                    <a:cubicBezTo>
                      <a:pt x="372" y="3469"/>
                      <a:pt x="-1302" y="9031"/>
                      <a:pt x="1090" y="13516"/>
                    </a:cubicBezTo>
                    <a:cubicBezTo>
                      <a:pt x="3422" y="18002"/>
                      <a:pt x="8984" y="19736"/>
                      <a:pt x="13470" y="17344"/>
                    </a:cubicBezTo>
                    <a:close/>
                  </a:path>
                </a:pathLst>
              </a:custGeom>
              <a:grpFill/>
              <a:ln w="5978" cap="flat">
                <a:noFill/>
                <a:prstDash val="solid"/>
                <a:miter/>
              </a:ln>
            </p:spPr>
            <p:txBody>
              <a:bodyPr rtlCol="0" anchor="ctr"/>
              <a:lstStyle/>
              <a:p>
                <a:endParaRPr lang="en-GB"/>
              </a:p>
            </p:txBody>
          </p:sp>
        </p:grpSp>
        <p:grpSp>
          <p:nvGrpSpPr>
            <p:cNvPr id="1351" name="Graphic 3">
              <a:extLst>
                <a:ext uri="{FF2B5EF4-FFF2-40B4-BE49-F238E27FC236}">
                  <a16:creationId xmlns:a16="http://schemas.microsoft.com/office/drawing/2014/main" id="{418FF9DF-766D-447B-A0FF-CA831B9E1A9F}"/>
                </a:ext>
              </a:extLst>
            </p:cNvPr>
            <p:cNvGrpSpPr/>
            <p:nvPr/>
          </p:nvGrpSpPr>
          <p:grpSpPr>
            <a:xfrm>
              <a:off x="3812247" y="4537791"/>
              <a:ext cx="308793" cy="187307"/>
              <a:chOff x="3812247" y="4537791"/>
              <a:chExt cx="308793" cy="187307"/>
            </a:xfrm>
            <a:grpFill/>
          </p:grpSpPr>
          <p:sp>
            <p:nvSpPr>
              <p:cNvPr id="1356" name="Vrije vorm: vorm 1355">
                <a:extLst>
                  <a:ext uri="{FF2B5EF4-FFF2-40B4-BE49-F238E27FC236}">
                    <a16:creationId xmlns:a16="http://schemas.microsoft.com/office/drawing/2014/main" id="{A33ECDAB-2984-451D-9435-10F7CE77C1CA}"/>
                  </a:ext>
                </a:extLst>
              </p:cNvPr>
              <p:cNvSpPr/>
              <p:nvPr/>
            </p:nvSpPr>
            <p:spPr>
              <a:xfrm>
                <a:off x="3820265" y="4545448"/>
                <a:ext cx="292756" cy="171945"/>
              </a:xfrm>
              <a:custGeom>
                <a:avLst/>
                <a:gdLst>
                  <a:gd name="connsiteX0" fmla="*/ 292756 w 292756"/>
                  <a:gd name="connsiteY0" fmla="*/ 2632 h 171945"/>
                  <a:gd name="connsiteX1" fmla="*/ 1555 w 292756"/>
                  <a:gd name="connsiteY1" fmla="*/ 171946 h 171945"/>
                  <a:gd name="connsiteX2" fmla="*/ 0 w 292756"/>
                  <a:gd name="connsiteY2" fmla="*/ 169314 h 171945"/>
                  <a:gd name="connsiteX3" fmla="*/ 291201 w 292756"/>
                  <a:gd name="connsiteY3" fmla="*/ 0 h 171945"/>
                </a:gdLst>
                <a:ahLst/>
                <a:cxnLst>
                  <a:cxn ang="0">
                    <a:pos x="connsiteX0" y="connsiteY0"/>
                  </a:cxn>
                  <a:cxn ang="0">
                    <a:pos x="connsiteX1" y="connsiteY1"/>
                  </a:cxn>
                  <a:cxn ang="0">
                    <a:pos x="connsiteX2" y="connsiteY2"/>
                  </a:cxn>
                  <a:cxn ang="0">
                    <a:pos x="connsiteX3" y="connsiteY3"/>
                  </a:cxn>
                </a:cxnLst>
                <a:rect l="l" t="t" r="r" b="b"/>
                <a:pathLst>
                  <a:path w="292756" h="171945">
                    <a:moveTo>
                      <a:pt x="292756" y="2632"/>
                    </a:moveTo>
                    <a:lnTo>
                      <a:pt x="1555" y="171946"/>
                    </a:lnTo>
                    <a:lnTo>
                      <a:pt x="0" y="169314"/>
                    </a:lnTo>
                    <a:lnTo>
                      <a:pt x="291201" y="0"/>
                    </a:lnTo>
                    <a:close/>
                  </a:path>
                </a:pathLst>
              </a:custGeom>
              <a:grpFill/>
              <a:ln w="5978" cap="flat">
                <a:noFill/>
                <a:prstDash val="solid"/>
                <a:miter/>
              </a:ln>
            </p:spPr>
            <p:txBody>
              <a:bodyPr rtlCol="0" anchor="ctr"/>
              <a:lstStyle/>
              <a:p>
                <a:endParaRPr lang="en-GB"/>
              </a:p>
            </p:txBody>
          </p:sp>
          <p:sp>
            <p:nvSpPr>
              <p:cNvPr id="1357" name="Vrije vorm: vorm 1356">
                <a:extLst>
                  <a:ext uri="{FF2B5EF4-FFF2-40B4-BE49-F238E27FC236}">
                    <a16:creationId xmlns:a16="http://schemas.microsoft.com/office/drawing/2014/main" id="{E526379D-1999-4683-8DAE-FC8F2802BEC8}"/>
                  </a:ext>
                </a:extLst>
              </p:cNvPr>
              <p:cNvSpPr/>
              <p:nvPr/>
            </p:nvSpPr>
            <p:spPr>
              <a:xfrm>
                <a:off x="3812247" y="4706699"/>
                <a:ext cx="18369" cy="18399"/>
              </a:xfrm>
              <a:custGeom>
                <a:avLst/>
                <a:gdLst>
                  <a:gd name="connsiteX0" fmla="*/ 13820 w 18369"/>
                  <a:gd name="connsiteY0" fmla="*/ 17154 h 18399"/>
                  <a:gd name="connsiteX1" fmla="*/ 1260 w 18369"/>
                  <a:gd name="connsiteY1" fmla="*/ 13805 h 18399"/>
                  <a:gd name="connsiteX2" fmla="*/ 4550 w 18369"/>
                  <a:gd name="connsiteY2" fmla="*/ 1245 h 18399"/>
                  <a:gd name="connsiteX3" fmla="*/ 17109 w 18369"/>
                  <a:gd name="connsiteY3" fmla="*/ 4594 h 18399"/>
                  <a:gd name="connsiteX4" fmla="*/ 13820 w 18369"/>
                  <a:gd name="connsiteY4" fmla="*/ 17154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9">
                    <a:moveTo>
                      <a:pt x="13820" y="17154"/>
                    </a:moveTo>
                    <a:cubicBezTo>
                      <a:pt x="9454" y="19726"/>
                      <a:pt x="3832" y="18171"/>
                      <a:pt x="1260" y="13805"/>
                    </a:cubicBezTo>
                    <a:cubicBezTo>
                      <a:pt x="-1311" y="9379"/>
                      <a:pt x="184" y="3757"/>
                      <a:pt x="4550" y="1245"/>
                    </a:cubicBezTo>
                    <a:cubicBezTo>
                      <a:pt x="8916" y="-1327"/>
                      <a:pt x="14538" y="228"/>
                      <a:pt x="17109" y="4594"/>
                    </a:cubicBezTo>
                    <a:cubicBezTo>
                      <a:pt x="19681" y="8960"/>
                      <a:pt x="18186" y="14582"/>
                      <a:pt x="13820" y="17154"/>
                    </a:cubicBezTo>
                    <a:close/>
                  </a:path>
                </a:pathLst>
              </a:custGeom>
              <a:grpFill/>
              <a:ln w="5978" cap="flat">
                <a:noFill/>
                <a:prstDash val="solid"/>
                <a:miter/>
              </a:ln>
            </p:spPr>
            <p:txBody>
              <a:bodyPr rtlCol="0" anchor="ctr"/>
              <a:lstStyle/>
              <a:p>
                <a:endParaRPr lang="en-GB"/>
              </a:p>
            </p:txBody>
          </p:sp>
          <p:sp>
            <p:nvSpPr>
              <p:cNvPr id="1358" name="Vrije vorm: vorm 1357">
                <a:extLst>
                  <a:ext uri="{FF2B5EF4-FFF2-40B4-BE49-F238E27FC236}">
                    <a16:creationId xmlns:a16="http://schemas.microsoft.com/office/drawing/2014/main" id="{202CDAE2-BC45-4446-B580-F0F110ECEED8}"/>
                  </a:ext>
                </a:extLst>
              </p:cNvPr>
              <p:cNvSpPr/>
              <p:nvPr/>
            </p:nvSpPr>
            <p:spPr>
              <a:xfrm>
                <a:off x="4102671" y="4537791"/>
                <a:ext cx="18369" cy="18425"/>
              </a:xfrm>
              <a:custGeom>
                <a:avLst/>
                <a:gdLst>
                  <a:gd name="connsiteX0" fmla="*/ 13820 w 18369"/>
                  <a:gd name="connsiteY0" fmla="*/ 17167 h 18425"/>
                  <a:gd name="connsiteX1" fmla="*/ 17109 w 18369"/>
                  <a:gd name="connsiteY1" fmla="*/ 4607 h 18425"/>
                  <a:gd name="connsiteX2" fmla="*/ 4550 w 18369"/>
                  <a:gd name="connsiteY2" fmla="*/ 1258 h 18425"/>
                  <a:gd name="connsiteX3" fmla="*/ 1260 w 18369"/>
                  <a:gd name="connsiteY3" fmla="*/ 13818 h 18425"/>
                  <a:gd name="connsiteX4" fmla="*/ 13820 w 18369"/>
                  <a:gd name="connsiteY4" fmla="*/ 17167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25">
                    <a:moveTo>
                      <a:pt x="13820" y="17167"/>
                    </a:moveTo>
                    <a:cubicBezTo>
                      <a:pt x="18186" y="14595"/>
                      <a:pt x="19681" y="8974"/>
                      <a:pt x="17109" y="4607"/>
                    </a:cubicBezTo>
                    <a:cubicBezTo>
                      <a:pt x="14538" y="182"/>
                      <a:pt x="8976" y="-1313"/>
                      <a:pt x="4550" y="1258"/>
                    </a:cubicBezTo>
                    <a:cubicBezTo>
                      <a:pt x="184" y="3830"/>
                      <a:pt x="-1311" y="9452"/>
                      <a:pt x="1260" y="13818"/>
                    </a:cubicBezTo>
                    <a:cubicBezTo>
                      <a:pt x="3832" y="18244"/>
                      <a:pt x="9394" y="19739"/>
                      <a:pt x="13820" y="17167"/>
                    </a:cubicBezTo>
                    <a:close/>
                  </a:path>
                </a:pathLst>
              </a:custGeom>
              <a:grpFill/>
              <a:ln w="5978" cap="flat">
                <a:noFill/>
                <a:prstDash val="solid"/>
                <a:miter/>
              </a:ln>
            </p:spPr>
            <p:txBody>
              <a:bodyPr rtlCol="0" anchor="ctr"/>
              <a:lstStyle/>
              <a:p>
                <a:endParaRPr lang="en-GB"/>
              </a:p>
            </p:txBody>
          </p:sp>
        </p:grpSp>
        <p:grpSp>
          <p:nvGrpSpPr>
            <p:cNvPr id="1352" name="Graphic 3">
              <a:extLst>
                <a:ext uri="{FF2B5EF4-FFF2-40B4-BE49-F238E27FC236}">
                  <a16:creationId xmlns:a16="http://schemas.microsoft.com/office/drawing/2014/main" id="{03F47FAE-EBD5-4F49-88EB-473A9B0BE779}"/>
                </a:ext>
              </a:extLst>
            </p:cNvPr>
            <p:cNvGrpSpPr/>
            <p:nvPr/>
          </p:nvGrpSpPr>
          <p:grpSpPr>
            <a:xfrm>
              <a:off x="8047141" y="4300144"/>
              <a:ext cx="174028" cy="87866"/>
              <a:chOff x="8047141" y="4300144"/>
              <a:chExt cx="174028" cy="87866"/>
            </a:xfrm>
            <a:grpFill/>
          </p:grpSpPr>
          <p:sp>
            <p:nvSpPr>
              <p:cNvPr id="1353" name="Vrije vorm: vorm 1352">
                <a:extLst>
                  <a:ext uri="{FF2B5EF4-FFF2-40B4-BE49-F238E27FC236}">
                    <a16:creationId xmlns:a16="http://schemas.microsoft.com/office/drawing/2014/main" id="{64E1B8EA-F1CE-4D26-B19B-903BA50A73B7}"/>
                  </a:ext>
                </a:extLst>
              </p:cNvPr>
              <p:cNvSpPr/>
              <p:nvPr/>
            </p:nvSpPr>
            <p:spPr>
              <a:xfrm>
                <a:off x="8055275" y="4307774"/>
                <a:ext cx="157711" cy="72606"/>
              </a:xfrm>
              <a:custGeom>
                <a:avLst/>
                <a:gdLst>
                  <a:gd name="connsiteX0" fmla="*/ 157712 w 157711"/>
                  <a:gd name="connsiteY0" fmla="*/ 69795 h 72606"/>
                  <a:gd name="connsiteX1" fmla="*/ 156515 w 157711"/>
                  <a:gd name="connsiteY1" fmla="*/ 72606 h 72606"/>
                  <a:gd name="connsiteX2" fmla="*/ 0 w 157711"/>
                  <a:gd name="connsiteY2" fmla="*/ 2811 h 72606"/>
                  <a:gd name="connsiteX3" fmla="*/ 1256 w 157711"/>
                  <a:gd name="connsiteY3" fmla="*/ 0 h 72606"/>
                </a:gdLst>
                <a:ahLst/>
                <a:cxnLst>
                  <a:cxn ang="0">
                    <a:pos x="connsiteX0" y="connsiteY0"/>
                  </a:cxn>
                  <a:cxn ang="0">
                    <a:pos x="connsiteX1" y="connsiteY1"/>
                  </a:cxn>
                  <a:cxn ang="0">
                    <a:pos x="connsiteX2" y="connsiteY2"/>
                  </a:cxn>
                  <a:cxn ang="0">
                    <a:pos x="connsiteX3" y="connsiteY3"/>
                  </a:cxn>
                </a:cxnLst>
                <a:rect l="l" t="t" r="r" b="b"/>
                <a:pathLst>
                  <a:path w="157711" h="72606">
                    <a:moveTo>
                      <a:pt x="157712" y="69795"/>
                    </a:moveTo>
                    <a:lnTo>
                      <a:pt x="156515" y="72606"/>
                    </a:lnTo>
                    <a:lnTo>
                      <a:pt x="0" y="2811"/>
                    </a:lnTo>
                    <a:lnTo>
                      <a:pt x="1256" y="0"/>
                    </a:lnTo>
                    <a:close/>
                  </a:path>
                </a:pathLst>
              </a:custGeom>
              <a:grpFill/>
              <a:ln w="5978" cap="flat">
                <a:noFill/>
                <a:prstDash val="solid"/>
                <a:miter/>
              </a:ln>
            </p:spPr>
            <p:txBody>
              <a:bodyPr rtlCol="0" anchor="ctr"/>
              <a:lstStyle/>
              <a:p>
                <a:endParaRPr lang="en-GB"/>
              </a:p>
            </p:txBody>
          </p:sp>
          <p:sp>
            <p:nvSpPr>
              <p:cNvPr id="1354" name="Vrije vorm: vorm 1353">
                <a:extLst>
                  <a:ext uri="{FF2B5EF4-FFF2-40B4-BE49-F238E27FC236}">
                    <a16:creationId xmlns:a16="http://schemas.microsoft.com/office/drawing/2014/main" id="{E08D1816-CD38-4449-9973-F9DED0DC9C56}"/>
                  </a:ext>
                </a:extLst>
              </p:cNvPr>
              <p:cNvSpPr/>
              <p:nvPr/>
            </p:nvSpPr>
            <p:spPr>
              <a:xfrm>
                <a:off x="8202829" y="4369580"/>
                <a:ext cx="18341" cy="18430"/>
              </a:xfrm>
              <a:custGeom>
                <a:avLst/>
                <a:gdLst>
                  <a:gd name="connsiteX0" fmla="*/ 12849 w 18341"/>
                  <a:gd name="connsiteY0" fmla="*/ 812 h 18430"/>
                  <a:gd name="connsiteX1" fmla="*/ 17574 w 18341"/>
                  <a:gd name="connsiteY1" fmla="*/ 12953 h 18430"/>
                  <a:gd name="connsiteX2" fmla="*/ 5493 w 18341"/>
                  <a:gd name="connsiteY2" fmla="*/ 17618 h 18430"/>
                  <a:gd name="connsiteX3" fmla="*/ 768 w 18341"/>
                  <a:gd name="connsiteY3" fmla="*/ 5477 h 18430"/>
                  <a:gd name="connsiteX4" fmla="*/ 12849 w 1834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0">
                    <a:moveTo>
                      <a:pt x="12849" y="812"/>
                    </a:moveTo>
                    <a:cubicBezTo>
                      <a:pt x="17454" y="2906"/>
                      <a:pt x="19607" y="8348"/>
                      <a:pt x="17574" y="12953"/>
                    </a:cubicBezTo>
                    <a:cubicBezTo>
                      <a:pt x="15540" y="17618"/>
                      <a:pt x="10158" y="19711"/>
                      <a:pt x="5493" y="17618"/>
                    </a:cubicBezTo>
                    <a:cubicBezTo>
                      <a:pt x="887" y="15525"/>
                      <a:pt x="-1266" y="10083"/>
                      <a:pt x="768" y="5477"/>
                    </a:cubicBezTo>
                    <a:cubicBezTo>
                      <a:pt x="2802" y="812"/>
                      <a:pt x="8184" y="-1281"/>
                      <a:pt x="12849" y="812"/>
                    </a:cubicBezTo>
                    <a:close/>
                  </a:path>
                </a:pathLst>
              </a:custGeom>
              <a:grpFill/>
              <a:ln w="5978" cap="flat">
                <a:noFill/>
                <a:prstDash val="solid"/>
                <a:miter/>
              </a:ln>
            </p:spPr>
            <p:txBody>
              <a:bodyPr rtlCol="0" anchor="ctr"/>
              <a:lstStyle/>
              <a:p>
                <a:endParaRPr lang="en-GB"/>
              </a:p>
            </p:txBody>
          </p:sp>
          <p:sp>
            <p:nvSpPr>
              <p:cNvPr id="1355" name="Vrije vorm: vorm 1354">
                <a:extLst>
                  <a:ext uri="{FF2B5EF4-FFF2-40B4-BE49-F238E27FC236}">
                    <a16:creationId xmlns:a16="http://schemas.microsoft.com/office/drawing/2014/main" id="{B7F5F39E-FA40-4E2D-8A75-742697ABE0C3}"/>
                  </a:ext>
                </a:extLst>
              </p:cNvPr>
              <p:cNvSpPr/>
              <p:nvPr/>
            </p:nvSpPr>
            <p:spPr>
              <a:xfrm>
                <a:off x="8047141" y="4300144"/>
                <a:ext cx="18359" cy="18421"/>
              </a:xfrm>
              <a:custGeom>
                <a:avLst/>
                <a:gdLst>
                  <a:gd name="connsiteX0" fmla="*/ 12858 w 18359"/>
                  <a:gd name="connsiteY0" fmla="*/ 812 h 18421"/>
                  <a:gd name="connsiteX1" fmla="*/ 776 w 18359"/>
                  <a:gd name="connsiteY1" fmla="*/ 5477 h 18421"/>
                  <a:gd name="connsiteX2" fmla="*/ 5501 w 18359"/>
                  <a:gd name="connsiteY2" fmla="*/ 17618 h 18421"/>
                  <a:gd name="connsiteX3" fmla="*/ 17583 w 18359"/>
                  <a:gd name="connsiteY3" fmla="*/ 12953 h 18421"/>
                  <a:gd name="connsiteX4" fmla="*/ 12858 w 18359"/>
                  <a:gd name="connsiteY4" fmla="*/ 81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21">
                    <a:moveTo>
                      <a:pt x="12858" y="812"/>
                    </a:moveTo>
                    <a:cubicBezTo>
                      <a:pt x="8252" y="-1281"/>
                      <a:pt x="2810" y="812"/>
                      <a:pt x="776" y="5477"/>
                    </a:cubicBezTo>
                    <a:cubicBezTo>
                      <a:pt x="-1257" y="10142"/>
                      <a:pt x="836" y="15585"/>
                      <a:pt x="5501" y="17618"/>
                    </a:cubicBezTo>
                    <a:cubicBezTo>
                      <a:pt x="10107" y="19711"/>
                      <a:pt x="15549" y="17558"/>
                      <a:pt x="17583" y="12953"/>
                    </a:cubicBezTo>
                    <a:cubicBezTo>
                      <a:pt x="19616" y="8348"/>
                      <a:pt x="17523" y="2906"/>
                      <a:pt x="12858" y="812"/>
                    </a:cubicBezTo>
                    <a:close/>
                  </a:path>
                </a:pathLst>
              </a:custGeom>
              <a:grpFill/>
              <a:ln w="5978" cap="flat">
                <a:noFill/>
                <a:prstDash val="solid"/>
                <a:miter/>
              </a:ln>
            </p:spPr>
            <p:txBody>
              <a:bodyPr rtlCol="0" anchor="ctr"/>
              <a:lstStyle/>
              <a:p>
                <a:endParaRPr lang="en-GB"/>
              </a:p>
            </p:txBody>
          </p:sp>
        </p:grpSp>
      </p:grpSp>
    </p:spTree>
    <p:extLst>
      <p:ext uri="{BB962C8B-B14F-4D97-AF65-F5344CB8AC3E}">
        <p14:creationId xmlns:p14="http://schemas.microsoft.com/office/powerpoint/2010/main" val="2204184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ext slide full page">
    <p:spTree>
      <p:nvGrpSpPr>
        <p:cNvPr id="1" name=""/>
        <p:cNvGrpSpPr/>
        <p:nvPr/>
      </p:nvGrpSpPr>
      <p:grpSpPr>
        <a:xfrm>
          <a:off x="0" y="0"/>
          <a:ext cx="0" cy="0"/>
          <a:chOff x="0" y="0"/>
          <a:chExt cx="0" cy="0"/>
        </a:xfrm>
      </p:grpSpPr>
      <p:sp>
        <p:nvSpPr>
          <p:cNvPr id="3" name="Tijdelijke aanduiding voor tekst 2"/>
          <p:cNvSpPr>
            <a:spLocks noGrp="1"/>
          </p:cNvSpPr>
          <p:nvPr>
            <p:ph type="body" sz="quarter" idx="10" hasCustomPrompt="1"/>
          </p:nvPr>
        </p:nvSpPr>
        <p:spPr>
          <a:xfrm>
            <a:off x="624000" y="811200"/>
            <a:ext cx="10634379" cy="792432"/>
          </a:xfrm>
          <a:prstGeom prst="rect">
            <a:avLst/>
          </a:prstGeom>
        </p:spPr>
        <p:txBody>
          <a:bodyPr/>
          <a:lstStyle>
            <a:lvl1pPr marL="0" indent="0">
              <a:buNone/>
              <a:defRPr sz="3733" b="1" i="0">
                <a:solidFill>
                  <a:schemeClr val="tx2"/>
                </a:solidFill>
                <a:latin typeface="Calibri" charset="0"/>
                <a:ea typeface="Calibri" charset="0"/>
                <a:cs typeface="Calibri" charset="0"/>
              </a:defRPr>
            </a:lvl1pPr>
            <a:lvl2pPr>
              <a:defRPr sz="3733" b="1" i="0"/>
            </a:lvl2pPr>
            <a:lvl3pPr>
              <a:defRPr sz="3733" b="1" i="0"/>
            </a:lvl3pPr>
            <a:lvl4pPr>
              <a:defRPr sz="3733" b="1" i="0"/>
            </a:lvl4pPr>
            <a:lvl5pPr>
              <a:defRPr sz="3733" b="1" i="0"/>
            </a:lvl5pPr>
          </a:lstStyle>
          <a:p>
            <a:pPr lvl="0"/>
            <a:r>
              <a:rPr lang="nl-NL" dirty="0"/>
              <a:t>Titel</a:t>
            </a:r>
          </a:p>
        </p:txBody>
      </p:sp>
      <p:sp>
        <p:nvSpPr>
          <p:cNvPr id="4" name="Tijdelijke aanduiding voor tekst 3"/>
          <p:cNvSpPr>
            <a:spLocks noGrp="1"/>
          </p:cNvSpPr>
          <p:nvPr>
            <p:ph type="body" sz="quarter" idx="11" hasCustomPrompt="1"/>
          </p:nvPr>
        </p:nvSpPr>
        <p:spPr>
          <a:xfrm>
            <a:off x="624417" y="1430401"/>
            <a:ext cx="9941983" cy="570527"/>
          </a:xfrm>
          <a:prstGeom prst="rect">
            <a:avLst/>
          </a:prstGeom>
        </p:spPr>
        <p:txBody>
          <a:bodyPr/>
          <a:lstStyle>
            <a:lvl1pPr marL="0" indent="0">
              <a:buNone/>
              <a:defRPr sz="2933" b="1" i="0">
                <a:solidFill>
                  <a:schemeClr val="accent2"/>
                </a:solidFill>
                <a:latin typeface="Calibri" charset="0"/>
                <a:ea typeface="Calibri" charset="0"/>
                <a:cs typeface="Calibri" charset="0"/>
              </a:defRPr>
            </a:lvl1pPr>
            <a:lvl2pPr marL="609585" indent="0">
              <a:buNone/>
              <a:defRPr sz="2933" b="1" i="0">
                <a:latin typeface="Calibri" charset="0"/>
                <a:ea typeface="Calibri" charset="0"/>
                <a:cs typeface="Calibri" charset="0"/>
              </a:defRPr>
            </a:lvl2pPr>
            <a:lvl3pPr marL="1219170" indent="0">
              <a:buNone/>
              <a:defRPr sz="2933" b="1" i="0">
                <a:latin typeface="Calibri" charset="0"/>
                <a:ea typeface="Calibri" charset="0"/>
                <a:cs typeface="Calibri" charset="0"/>
              </a:defRPr>
            </a:lvl3pPr>
            <a:lvl4pPr marL="1828754" indent="0">
              <a:buNone/>
              <a:defRPr sz="2933" b="1" i="0">
                <a:latin typeface="Calibri" charset="0"/>
                <a:ea typeface="Calibri" charset="0"/>
                <a:cs typeface="Calibri" charset="0"/>
              </a:defRPr>
            </a:lvl4pPr>
            <a:lvl5pPr marL="2438339" indent="0">
              <a:buNone/>
              <a:defRPr sz="2933" b="1" i="0">
                <a:latin typeface="Calibri" charset="0"/>
                <a:ea typeface="Calibri" charset="0"/>
                <a:cs typeface="Calibri" charset="0"/>
              </a:defRPr>
            </a:lvl5pPr>
          </a:lstStyle>
          <a:p>
            <a:pPr lvl="0"/>
            <a:r>
              <a:rPr lang="nl-NL" dirty="0"/>
              <a:t>Subtitel</a:t>
            </a:r>
          </a:p>
        </p:txBody>
      </p:sp>
      <p:sp>
        <p:nvSpPr>
          <p:cNvPr id="11" name="Tijdelijke aanduiding voor tekst 10"/>
          <p:cNvSpPr>
            <a:spLocks noGrp="1"/>
          </p:cNvSpPr>
          <p:nvPr>
            <p:ph type="body" sz="quarter" idx="12" hasCustomPrompt="1"/>
          </p:nvPr>
        </p:nvSpPr>
        <p:spPr>
          <a:xfrm>
            <a:off x="624000" y="2246400"/>
            <a:ext cx="10456563" cy="1219200"/>
          </a:xfrm>
          <a:prstGeom prst="rect">
            <a:avLst/>
          </a:prstGeom>
        </p:spPr>
        <p:txBody>
          <a:bodyPr/>
          <a:lstStyle>
            <a:lvl1pPr marL="0" indent="0">
              <a:lnSpc>
                <a:spcPts val="3200"/>
              </a:lnSpc>
              <a:spcBef>
                <a:spcPts val="0"/>
              </a:spcBef>
              <a:buNone/>
              <a:defRPr sz="2400">
                <a:latin typeface="Calibri" charset="0"/>
                <a:ea typeface="Calibri" charset="0"/>
                <a:cs typeface="Calibri" charset="0"/>
              </a:defRPr>
            </a:lvl1pPr>
            <a:lvl2pPr>
              <a:defRPr sz="2400">
                <a:latin typeface="Calibri" charset="0"/>
                <a:ea typeface="Calibri" charset="0"/>
                <a:cs typeface="Calibri" charset="0"/>
              </a:defRPr>
            </a:lvl2pPr>
            <a:lvl3pPr>
              <a:defRPr sz="2400">
                <a:latin typeface="Calibri" charset="0"/>
                <a:ea typeface="Calibri" charset="0"/>
                <a:cs typeface="Calibri" charset="0"/>
              </a:defRPr>
            </a:lvl3pPr>
            <a:lvl4pPr>
              <a:defRPr sz="2400">
                <a:latin typeface="Calibri" charset="0"/>
                <a:ea typeface="Calibri" charset="0"/>
                <a:cs typeface="Calibri" charset="0"/>
              </a:defRPr>
            </a:lvl4pPr>
            <a:lvl5pPr>
              <a:defRPr sz="2400">
                <a:latin typeface="Calibri" charset="0"/>
                <a:ea typeface="Calibri" charset="0"/>
                <a:cs typeface="Calibri" charset="0"/>
              </a:defRPr>
            </a:lvl5pPr>
          </a:lstStyle>
          <a:p>
            <a:pPr lvl="0"/>
            <a:r>
              <a:rPr lang="nl-NL" dirty="0"/>
              <a:t>Platte tekst</a:t>
            </a:r>
          </a:p>
        </p:txBody>
      </p:sp>
    </p:spTree>
    <p:extLst>
      <p:ext uri="{BB962C8B-B14F-4D97-AF65-F5344CB8AC3E}">
        <p14:creationId xmlns:p14="http://schemas.microsoft.com/office/powerpoint/2010/main" val="8772612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ext slide half page">
    <p:spTree>
      <p:nvGrpSpPr>
        <p:cNvPr id="1" name=""/>
        <p:cNvGrpSpPr/>
        <p:nvPr/>
      </p:nvGrpSpPr>
      <p:grpSpPr>
        <a:xfrm>
          <a:off x="0" y="0"/>
          <a:ext cx="0" cy="0"/>
          <a:chOff x="0" y="0"/>
          <a:chExt cx="0" cy="0"/>
        </a:xfrm>
      </p:grpSpPr>
      <p:sp>
        <p:nvSpPr>
          <p:cNvPr id="14" name="Tijdelijke aanduiding voor afbeelding 13"/>
          <p:cNvSpPr>
            <a:spLocks noGrp="1"/>
          </p:cNvSpPr>
          <p:nvPr>
            <p:ph type="pic" sz="quarter" idx="10"/>
          </p:nvPr>
        </p:nvSpPr>
        <p:spPr>
          <a:xfrm>
            <a:off x="6123517" y="-10584"/>
            <a:ext cx="6068484" cy="6904568"/>
          </a:xfrm>
          <a:prstGeom prst="rect">
            <a:avLst/>
          </a:prstGeom>
        </p:spPr>
        <p:txBody>
          <a:bodyPr/>
          <a:lstStyle>
            <a:lvl1pPr marL="0" indent="0">
              <a:buNone/>
              <a:defRPr sz="3200">
                <a:latin typeface="Calibri" charset="0"/>
                <a:ea typeface="Calibri" charset="0"/>
                <a:cs typeface="Calibri" charset="0"/>
              </a:defRPr>
            </a:lvl1pPr>
          </a:lstStyle>
          <a:p>
            <a:endParaRPr lang="nl-NL" dirty="0"/>
          </a:p>
        </p:txBody>
      </p:sp>
      <p:sp>
        <p:nvSpPr>
          <p:cNvPr id="6" name="Tijdelijke aanduiding voor tekst 2"/>
          <p:cNvSpPr>
            <a:spLocks noGrp="1"/>
          </p:cNvSpPr>
          <p:nvPr>
            <p:ph type="body" sz="quarter" idx="11" hasCustomPrompt="1"/>
          </p:nvPr>
        </p:nvSpPr>
        <p:spPr>
          <a:xfrm>
            <a:off x="624002" y="811200"/>
            <a:ext cx="4823957" cy="792432"/>
          </a:xfrm>
          <a:prstGeom prst="rect">
            <a:avLst/>
          </a:prstGeom>
        </p:spPr>
        <p:txBody>
          <a:bodyPr/>
          <a:lstStyle>
            <a:lvl1pPr marL="0" indent="0">
              <a:buNone/>
              <a:defRPr sz="3733" b="1" i="0">
                <a:solidFill>
                  <a:schemeClr val="tx2"/>
                </a:solidFill>
                <a:latin typeface="Calibri" charset="0"/>
                <a:ea typeface="Calibri" charset="0"/>
                <a:cs typeface="Calibri" charset="0"/>
              </a:defRPr>
            </a:lvl1pPr>
            <a:lvl2pPr>
              <a:defRPr sz="3733" b="1" i="0"/>
            </a:lvl2pPr>
            <a:lvl3pPr>
              <a:defRPr sz="3733" b="1" i="0"/>
            </a:lvl3pPr>
            <a:lvl4pPr>
              <a:defRPr sz="3733" b="1" i="0"/>
            </a:lvl4pPr>
            <a:lvl5pPr>
              <a:defRPr sz="3733" b="1" i="0"/>
            </a:lvl5pPr>
          </a:lstStyle>
          <a:p>
            <a:pPr lvl="0"/>
            <a:r>
              <a:rPr lang="nl-NL" dirty="0"/>
              <a:t>Titel</a:t>
            </a:r>
          </a:p>
        </p:txBody>
      </p:sp>
      <p:sp>
        <p:nvSpPr>
          <p:cNvPr id="10" name="Tijdelijke aanduiding voor tekst 3"/>
          <p:cNvSpPr>
            <a:spLocks noGrp="1"/>
          </p:cNvSpPr>
          <p:nvPr>
            <p:ph type="body" sz="quarter" idx="12" hasCustomPrompt="1"/>
          </p:nvPr>
        </p:nvSpPr>
        <p:spPr>
          <a:xfrm>
            <a:off x="624417" y="1430401"/>
            <a:ext cx="4823543" cy="570527"/>
          </a:xfrm>
          <a:prstGeom prst="rect">
            <a:avLst/>
          </a:prstGeom>
        </p:spPr>
        <p:txBody>
          <a:bodyPr/>
          <a:lstStyle>
            <a:lvl1pPr marL="0" indent="0">
              <a:buNone/>
              <a:defRPr sz="2933" b="1" i="0">
                <a:solidFill>
                  <a:schemeClr val="accent2"/>
                </a:solidFill>
                <a:latin typeface="Calibri" charset="0"/>
                <a:ea typeface="Calibri" charset="0"/>
                <a:cs typeface="Calibri" charset="0"/>
              </a:defRPr>
            </a:lvl1pPr>
            <a:lvl2pPr marL="609585" indent="0">
              <a:buNone/>
              <a:defRPr sz="2933" b="1" i="0">
                <a:latin typeface="Calibri" charset="0"/>
                <a:ea typeface="Calibri" charset="0"/>
                <a:cs typeface="Calibri" charset="0"/>
              </a:defRPr>
            </a:lvl2pPr>
            <a:lvl3pPr marL="1219170" indent="0">
              <a:buNone/>
              <a:defRPr sz="2933" b="1" i="0">
                <a:latin typeface="Calibri" charset="0"/>
                <a:ea typeface="Calibri" charset="0"/>
                <a:cs typeface="Calibri" charset="0"/>
              </a:defRPr>
            </a:lvl3pPr>
            <a:lvl4pPr marL="1828754" indent="0">
              <a:buNone/>
              <a:defRPr sz="2933" b="1" i="0">
                <a:latin typeface="Calibri" charset="0"/>
                <a:ea typeface="Calibri" charset="0"/>
                <a:cs typeface="Calibri" charset="0"/>
              </a:defRPr>
            </a:lvl4pPr>
            <a:lvl5pPr marL="2438339" indent="0">
              <a:buNone/>
              <a:defRPr sz="2933" b="1" i="0">
                <a:latin typeface="Calibri" charset="0"/>
                <a:ea typeface="Calibri" charset="0"/>
                <a:cs typeface="Calibri" charset="0"/>
              </a:defRPr>
            </a:lvl5pPr>
          </a:lstStyle>
          <a:p>
            <a:pPr lvl="0"/>
            <a:r>
              <a:rPr lang="nl-NL" dirty="0"/>
              <a:t>Subtitel</a:t>
            </a:r>
          </a:p>
        </p:txBody>
      </p:sp>
      <p:sp>
        <p:nvSpPr>
          <p:cNvPr id="11" name="Tijdelijke aanduiding voor tekst 10"/>
          <p:cNvSpPr>
            <a:spLocks noGrp="1"/>
          </p:cNvSpPr>
          <p:nvPr>
            <p:ph type="body" sz="quarter" idx="13" hasCustomPrompt="1"/>
          </p:nvPr>
        </p:nvSpPr>
        <p:spPr>
          <a:xfrm>
            <a:off x="624001" y="2246400"/>
            <a:ext cx="4823959" cy="1219200"/>
          </a:xfrm>
          <a:prstGeom prst="rect">
            <a:avLst/>
          </a:prstGeom>
        </p:spPr>
        <p:txBody>
          <a:bodyPr/>
          <a:lstStyle>
            <a:lvl1pPr marL="0" indent="0">
              <a:lnSpc>
                <a:spcPts val="3200"/>
              </a:lnSpc>
              <a:spcBef>
                <a:spcPts val="0"/>
              </a:spcBef>
              <a:buNone/>
              <a:defRPr sz="2400">
                <a:latin typeface="Calibri" charset="0"/>
                <a:ea typeface="Calibri" charset="0"/>
                <a:cs typeface="Calibri" charset="0"/>
              </a:defRPr>
            </a:lvl1pPr>
            <a:lvl2pPr>
              <a:defRPr sz="2400">
                <a:latin typeface="Calibri" charset="0"/>
                <a:ea typeface="Calibri" charset="0"/>
                <a:cs typeface="Calibri" charset="0"/>
              </a:defRPr>
            </a:lvl2pPr>
            <a:lvl3pPr>
              <a:defRPr sz="2400">
                <a:latin typeface="Calibri" charset="0"/>
                <a:ea typeface="Calibri" charset="0"/>
                <a:cs typeface="Calibri" charset="0"/>
              </a:defRPr>
            </a:lvl3pPr>
            <a:lvl4pPr>
              <a:defRPr sz="2400">
                <a:latin typeface="Calibri" charset="0"/>
                <a:ea typeface="Calibri" charset="0"/>
                <a:cs typeface="Calibri" charset="0"/>
              </a:defRPr>
            </a:lvl4pPr>
            <a:lvl5pPr>
              <a:defRPr sz="2400">
                <a:latin typeface="Calibri" charset="0"/>
                <a:ea typeface="Calibri" charset="0"/>
                <a:cs typeface="Calibri" charset="0"/>
              </a:defRPr>
            </a:lvl5pPr>
          </a:lstStyle>
          <a:p>
            <a:pPr lvl="0"/>
            <a:r>
              <a:rPr lang="nl-NL" dirty="0"/>
              <a:t>Platte tekst</a:t>
            </a:r>
          </a:p>
        </p:txBody>
      </p:sp>
    </p:spTree>
    <p:extLst>
      <p:ext uri="{BB962C8B-B14F-4D97-AF65-F5344CB8AC3E}">
        <p14:creationId xmlns:p14="http://schemas.microsoft.com/office/powerpoint/2010/main" val="13137795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image slide A">
    <p:spTree>
      <p:nvGrpSpPr>
        <p:cNvPr id="1" name=""/>
        <p:cNvGrpSpPr/>
        <p:nvPr/>
      </p:nvGrpSpPr>
      <p:grpSpPr>
        <a:xfrm>
          <a:off x="0" y="0"/>
          <a:ext cx="0" cy="0"/>
          <a:chOff x="0" y="0"/>
          <a:chExt cx="0" cy="0"/>
        </a:xfrm>
      </p:grpSpPr>
      <p:sp>
        <p:nvSpPr>
          <p:cNvPr id="5" name="Tijdelijke aanduiding voor afbeelding 4"/>
          <p:cNvSpPr>
            <a:spLocks noGrp="1"/>
          </p:cNvSpPr>
          <p:nvPr>
            <p:ph type="pic" sz="quarter" idx="10"/>
          </p:nvPr>
        </p:nvSpPr>
        <p:spPr>
          <a:xfrm>
            <a:off x="0" y="-10584"/>
            <a:ext cx="6123461" cy="6868584"/>
          </a:xfrm>
          <a:prstGeom prst="rect">
            <a:avLst/>
          </a:prstGeom>
        </p:spPr>
        <p:txBody>
          <a:bodyPr/>
          <a:lstStyle>
            <a:lvl1pPr marL="0" indent="0">
              <a:buNone/>
              <a:defRPr/>
            </a:lvl1pPr>
          </a:lstStyle>
          <a:p>
            <a:endParaRPr lang="nl-NL" dirty="0"/>
          </a:p>
        </p:txBody>
      </p:sp>
      <p:sp>
        <p:nvSpPr>
          <p:cNvPr id="2" name="Rechthoek 1"/>
          <p:cNvSpPr/>
          <p:nvPr userDrawn="1"/>
        </p:nvSpPr>
        <p:spPr>
          <a:xfrm>
            <a:off x="6123461" y="0"/>
            <a:ext cx="6068540" cy="68685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7" name="Tijdelijke aanduiding voor tekst 13"/>
          <p:cNvSpPr>
            <a:spLocks noGrp="1"/>
          </p:cNvSpPr>
          <p:nvPr>
            <p:ph type="body" sz="quarter" idx="12" hasCustomPrompt="1"/>
          </p:nvPr>
        </p:nvSpPr>
        <p:spPr>
          <a:xfrm>
            <a:off x="6941753" y="820065"/>
            <a:ext cx="4657124" cy="1549400"/>
          </a:xfrm>
          <a:prstGeom prst="rect">
            <a:avLst/>
          </a:prstGeom>
        </p:spPr>
        <p:txBody>
          <a:bodyPr/>
          <a:lstStyle>
            <a:lvl1pPr marL="0" indent="0">
              <a:lnSpc>
                <a:spcPts val="3200"/>
              </a:lnSpc>
              <a:spcBef>
                <a:spcPts val="0"/>
              </a:spcBef>
              <a:buNone/>
              <a:defRPr sz="2400">
                <a:solidFill>
                  <a:schemeClr val="bg1"/>
                </a:solidFill>
                <a:latin typeface="Calibri" charset="0"/>
                <a:ea typeface="Calibri" charset="0"/>
                <a:cs typeface="Calibri" charset="0"/>
              </a:defRPr>
            </a:lvl1pPr>
            <a:lvl2pPr marL="457189" indent="0">
              <a:buNone/>
              <a:defRPr sz="2400"/>
            </a:lvl2pPr>
            <a:lvl3pPr marL="914377" indent="0">
              <a:buNone/>
              <a:defRPr sz="2400"/>
            </a:lvl3pPr>
            <a:lvl4pPr marL="1371566" indent="0">
              <a:buNone/>
              <a:defRPr sz="2400"/>
            </a:lvl4pPr>
            <a:lvl5pPr marL="1828754" indent="0">
              <a:buNone/>
              <a:defRPr sz="2400"/>
            </a:lvl5pPr>
          </a:lstStyle>
          <a:p>
            <a:pPr lvl="0"/>
            <a:r>
              <a:rPr lang="nl-NL" dirty="0"/>
              <a:t>Platte tekst</a:t>
            </a:r>
          </a:p>
        </p:txBody>
      </p:sp>
      <p:sp>
        <p:nvSpPr>
          <p:cNvPr id="9" name="Driehoek 8"/>
          <p:cNvSpPr/>
          <p:nvPr userDrawn="1"/>
        </p:nvSpPr>
        <p:spPr>
          <a:xfrm rot="5400000">
            <a:off x="6091371" y="852154"/>
            <a:ext cx="465267" cy="40109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nl-NL" sz="2400"/>
          </a:p>
        </p:txBody>
      </p:sp>
    </p:spTree>
    <p:extLst>
      <p:ext uri="{BB962C8B-B14F-4D97-AF65-F5344CB8AC3E}">
        <p14:creationId xmlns:p14="http://schemas.microsoft.com/office/powerpoint/2010/main" val="1933235458"/>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image slide A">
    <p:spTree>
      <p:nvGrpSpPr>
        <p:cNvPr id="1" name=""/>
        <p:cNvGrpSpPr/>
        <p:nvPr/>
      </p:nvGrpSpPr>
      <p:grpSpPr>
        <a:xfrm>
          <a:off x="0" y="0"/>
          <a:ext cx="0" cy="0"/>
          <a:chOff x="0" y="0"/>
          <a:chExt cx="0" cy="0"/>
        </a:xfrm>
      </p:grpSpPr>
      <p:sp>
        <p:nvSpPr>
          <p:cNvPr id="5" name="Tijdelijke aanduiding voor afbeelding 4"/>
          <p:cNvSpPr>
            <a:spLocks noGrp="1"/>
          </p:cNvSpPr>
          <p:nvPr>
            <p:ph type="pic" sz="quarter" idx="10"/>
          </p:nvPr>
        </p:nvSpPr>
        <p:spPr>
          <a:xfrm>
            <a:off x="0" y="-10584"/>
            <a:ext cx="6123461" cy="6868584"/>
          </a:xfrm>
          <a:prstGeom prst="rect">
            <a:avLst/>
          </a:prstGeom>
        </p:spPr>
        <p:txBody>
          <a:bodyPr/>
          <a:lstStyle>
            <a:lvl1pPr marL="0" indent="0">
              <a:buNone/>
              <a:defRPr/>
            </a:lvl1pPr>
          </a:lstStyle>
          <a:p>
            <a:endParaRPr lang="nl-NL" dirty="0"/>
          </a:p>
        </p:txBody>
      </p:sp>
      <p:sp>
        <p:nvSpPr>
          <p:cNvPr id="2" name="Rechthoek 1"/>
          <p:cNvSpPr/>
          <p:nvPr userDrawn="1"/>
        </p:nvSpPr>
        <p:spPr>
          <a:xfrm>
            <a:off x="6123461" y="0"/>
            <a:ext cx="6068540" cy="68685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7" name="Tijdelijke aanduiding voor tekst 13"/>
          <p:cNvSpPr>
            <a:spLocks noGrp="1"/>
          </p:cNvSpPr>
          <p:nvPr>
            <p:ph type="body" sz="quarter" idx="12" hasCustomPrompt="1"/>
          </p:nvPr>
        </p:nvSpPr>
        <p:spPr>
          <a:xfrm>
            <a:off x="6941753" y="820065"/>
            <a:ext cx="4657124" cy="1549400"/>
          </a:xfrm>
          <a:prstGeom prst="rect">
            <a:avLst/>
          </a:prstGeom>
        </p:spPr>
        <p:txBody>
          <a:bodyPr/>
          <a:lstStyle>
            <a:lvl1pPr marL="0" indent="0">
              <a:lnSpc>
                <a:spcPts val="3200"/>
              </a:lnSpc>
              <a:spcBef>
                <a:spcPts val="0"/>
              </a:spcBef>
              <a:buNone/>
              <a:defRPr sz="2400">
                <a:solidFill>
                  <a:schemeClr val="bg1"/>
                </a:solidFill>
                <a:latin typeface="Calibri" charset="0"/>
                <a:ea typeface="Calibri" charset="0"/>
                <a:cs typeface="Calibri" charset="0"/>
              </a:defRPr>
            </a:lvl1pPr>
            <a:lvl2pPr marL="457189" indent="0">
              <a:buNone/>
              <a:defRPr sz="2400"/>
            </a:lvl2pPr>
            <a:lvl3pPr marL="914377" indent="0">
              <a:buNone/>
              <a:defRPr sz="2400"/>
            </a:lvl3pPr>
            <a:lvl4pPr marL="1371566" indent="0">
              <a:buNone/>
              <a:defRPr sz="2400"/>
            </a:lvl4pPr>
            <a:lvl5pPr marL="1828754" indent="0">
              <a:buNone/>
              <a:defRPr sz="2400"/>
            </a:lvl5pPr>
          </a:lstStyle>
          <a:p>
            <a:pPr lvl="0"/>
            <a:r>
              <a:rPr lang="nl-NL" dirty="0"/>
              <a:t>Platte tekst</a:t>
            </a:r>
          </a:p>
        </p:txBody>
      </p:sp>
      <p:sp>
        <p:nvSpPr>
          <p:cNvPr id="9" name="Driehoek 8"/>
          <p:cNvSpPr/>
          <p:nvPr userDrawn="1"/>
        </p:nvSpPr>
        <p:spPr>
          <a:xfrm rot="5400000">
            <a:off x="6091371" y="852154"/>
            <a:ext cx="465267" cy="40109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nl-NL" sz="2400"/>
          </a:p>
        </p:txBody>
      </p:sp>
    </p:spTree>
    <p:extLst>
      <p:ext uri="{BB962C8B-B14F-4D97-AF65-F5344CB8AC3E}">
        <p14:creationId xmlns:p14="http://schemas.microsoft.com/office/powerpoint/2010/main" val="16140652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image slide B">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0"/>
          </p:nvPr>
        </p:nvSpPr>
        <p:spPr>
          <a:xfrm>
            <a:off x="0" y="0"/>
            <a:ext cx="12192000" cy="6858000"/>
          </a:xfrm>
          <a:prstGeom prst="rect">
            <a:avLst/>
          </a:prstGeom>
        </p:spPr>
        <p:txBody>
          <a:bodyPr/>
          <a:lstStyle>
            <a:lvl1pPr marL="0" indent="0">
              <a:buNone/>
              <a:defRPr baseline="0"/>
            </a:lvl1pPr>
          </a:lstStyle>
          <a:p>
            <a:endParaRPr lang="nl-NL" dirty="0"/>
          </a:p>
        </p:txBody>
      </p:sp>
    </p:spTree>
    <p:extLst>
      <p:ext uri="{BB962C8B-B14F-4D97-AF65-F5344CB8AC3E}">
        <p14:creationId xmlns:p14="http://schemas.microsoft.com/office/powerpoint/2010/main" val="19582284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las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693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or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F2FC1E29-32F8-447D-8167-6C2077F05D96}"/>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406" y="-4186"/>
            <a:ext cx="12198626" cy="6862185"/>
          </a:xfrm>
          <a:prstGeom prst="rect">
            <a:avLst/>
          </a:prstGeom>
        </p:spPr>
      </p:pic>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Background</a:t>
            </a:r>
          </a:p>
        </p:txBody>
      </p:sp>
      <p:grpSp>
        <p:nvGrpSpPr>
          <p:cNvPr id="2" name="Groep 1">
            <a:extLst>
              <a:ext uri="{FF2B5EF4-FFF2-40B4-BE49-F238E27FC236}">
                <a16:creationId xmlns:a16="http://schemas.microsoft.com/office/drawing/2014/main" id="{C12ACD37-E29B-4A82-BC42-97D049547FA0}"/>
              </a:ext>
            </a:extLst>
          </p:cNvPr>
          <p:cNvGrpSpPr/>
          <p:nvPr userDrawn="1"/>
        </p:nvGrpSpPr>
        <p:grpSpPr>
          <a:xfrm>
            <a:off x="3549233" y="935996"/>
            <a:ext cx="5394814" cy="5532128"/>
            <a:chOff x="3549233" y="935996"/>
            <a:chExt cx="5394814" cy="5532128"/>
          </a:xfrm>
        </p:grpSpPr>
        <p:grpSp>
          <p:nvGrpSpPr>
            <p:cNvPr id="4" name="DATALIJNEN_cirkel">
              <a:extLst>
                <a:ext uri="{FF2B5EF4-FFF2-40B4-BE49-F238E27FC236}">
                  <a16:creationId xmlns:a16="http://schemas.microsoft.com/office/drawing/2014/main" id="{E3B341A9-05CB-47FB-BD38-4627062D09FF}"/>
                </a:ext>
              </a:extLst>
            </p:cNvPr>
            <p:cNvGrpSpPr/>
            <p:nvPr userDrawn="1"/>
          </p:nvGrpSpPr>
          <p:grpSpPr>
            <a:xfrm>
              <a:off x="3549233" y="935996"/>
              <a:ext cx="5394814" cy="5532128"/>
              <a:chOff x="3517139" y="752476"/>
              <a:chExt cx="5394814" cy="5532128"/>
            </a:xfrm>
            <a:solidFill>
              <a:srgbClr val="00B0F0">
                <a:alpha val="60000"/>
              </a:srgbClr>
            </a:solidFill>
          </p:grpSpPr>
          <p:grpSp>
            <p:nvGrpSpPr>
              <p:cNvPr id="6" name="Graphic 3">
                <a:extLst>
                  <a:ext uri="{FF2B5EF4-FFF2-40B4-BE49-F238E27FC236}">
                    <a16:creationId xmlns:a16="http://schemas.microsoft.com/office/drawing/2014/main" id="{A8F63885-67EF-4DD1-9FC9-E5BE9A27DB91}"/>
                  </a:ext>
                </a:extLst>
              </p:cNvPr>
              <p:cNvGrpSpPr/>
              <p:nvPr/>
            </p:nvGrpSpPr>
            <p:grpSpPr>
              <a:xfrm>
                <a:off x="8465492" y="3427232"/>
                <a:ext cx="446461" cy="21830"/>
                <a:chOff x="8465492" y="3427232"/>
                <a:chExt cx="446461" cy="21830"/>
              </a:xfrm>
              <a:grpFill/>
            </p:grpSpPr>
            <p:sp>
              <p:nvSpPr>
                <p:cNvPr id="5351" name="Vrije vorm: vorm 5350">
                  <a:extLst>
                    <a:ext uri="{FF2B5EF4-FFF2-40B4-BE49-F238E27FC236}">
                      <a16:creationId xmlns:a16="http://schemas.microsoft.com/office/drawing/2014/main" id="{5D84A7D9-2B04-4C60-900F-7BC8993B62FE}"/>
                    </a:ext>
                  </a:extLst>
                </p:cNvPr>
                <p:cNvSpPr/>
                <p:nvPr/>
              </p:nvSpPr>
              <p:spPr>
                <a:xfrm>
                  <a:off x="8474224" y="3434888"/>
                  <a:ext cx="428997" cy="6518"/>
                </a:xfrm>
                <a:custGeom>
                  <a:avLst/>
                  <a:gdLst>
                    <a:gd name="connsiteX0" fmla="*/ 428997 w 428997"/>
                    <a:gd name="connsiteY0" fmla="*/ 3409 h 6518"/>
                    <a:gd name="connsiteX1" fmla="*/ 428997 w 428997"/>
                    <a:gd name="connsiteY1" fmla="*/ 6519 h 6518"/>
                    <a:gd name="connsiteX2" fmla="*/ 0 w 428997"/>
                    <a:gd name="connsiteY2" fmla="*/ 3050 h 6518"/>
                    <a:gd name="connsiteX3" fmla="*/ 0 w 428997"/>
                    <a:gd name="connsiteY3" fmla="*/ 0 h 6518"/>
                  </a:gdLst>
                  <a:ahLst/>
                  <a:cxnLst>
                    <a:cxn ang="0">
                      <a:pos x="connsiteX0" y="connsiteY0"/>
                    </a:cxn>
                    <a:cxn ang="0">
                      <a:pos x="connsiteX1" y="connsiteY1"/>
                    </a:cxn>
                    <a:cxn ang="0">
                      <a:pos x="connsiteX2" y="connsiteY2"/>
                    </a:cxn>
                    <a:cxn ang="0">
                      <a:pos x="connsiteX3" y="connsiteY3"/>
                    </a:cxn>
                  </a:cxnLst>
                  <a:rect l="l" t="t" r="r" b="b"/>
                  <a:pathLst>
                    <a:path w="428997" h="6518">
                      <a:moveTo>
                        <a:pt x="428997" y="3409"/>
                      </a:moveTo>
                      <a:lnTo>
                        <a:pt x="428997" y="6519"/>
                      </a:lnTo>
                      <a:lnTo>
                        <a:pt x="0" y="3050"/>
                      </a:lnTo>
                      <a:lnTo>
                        <a:pt x="0" y="0"/>
                      </a:lnTo>
                      <a:close/>
                    </a:path>
                  </a:pathLst>
                </a:custGeom>
                <a:grpFill/>
                <a:ln w="5978" cap="flat">
                  <a:noFill/>
                  <a:prstDash val="solid"/>
                  <a:miter/>
                </a:ln>
              </p:spPr>
              <p:txBody>
                <a:bodyPr rtlCol="0" anchor="ctr"/>
                <a:lstStyle/>
                <a:p>
                  <a:endParaRPr lang="en-GB"/>
                </a:p>
              </p:txBody>
            </p:sp>
            <p:sp>
              <p:nvSpPr>
                <p:cNvPr id="5352" name="Vrije vorm: vorm 5351">
                  <a:extLst>
                    <a:ext uri="{FF2B5EF4-FFF2-40B4-BE49-F238E27FC236}">
                      <a16:creationId xmlns:a16="http://schemas.microsoft.com/office/drawing/2014/main" id="{DABA1B1F-FC79-4981-A905-2F0661CF1502}"/>
                    </a:ext>
                  </a:extLst>
                </p:cNvPr>
                <p:cNvSpPr/>
                <p:nvPr/>
              </p:nvSpPr>
              <p:spPr>
                <a:xfrm>
                  <a:off x="8893592" y="3430641"/>
                  <a:ext cx="18361" cy="18421"/>
                </a:xfrm>
                <a:custGeom>
                  <a:avLst/>
                  <a:gdLst>
                    <a:gd name="connsiteX0" fmla="*/ 9211 w 18361"/>
                    <a:gd name="connsiteY0" fmla="*/ 1 h 18421"/>
                    <a:gd name="connsiteX1" fmla="*/ 18361 w 18361"/>
                    <a:gd name="connsiteY1" fmla="*/ 9271 h 18421"/>
                    <a:gd name="connsiteX2" fmla="*/ 9151 w 18361"/>
                    <a:gd name="connsiteY2" fmla="*/ 18421 h 18421"/>
                    <a:gd name="connsiteX3" fmla="*/ 0 w 18361"/>
                    <a:gd name="connsiteY3" fmla="*/ 9151 h 18421"/>
                    <a:gd name="connsiteX4" fmla="*/ 9211 w 1836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9211" y="1"/>
                      </a:moveTo>
                      <a:cubicBezTo>
                        <a:pt x="14294" y="61"/>
                        <a:pt x="18361" y="4187"/>
                        <a:pt x="18361" y="9271"/>
                      </a:cubicBezTo>
                      <a:cubicBezTo>
                        <a:pt x="18361" y="14354"/>
                        <a:pt x="14234" y="18421"/>
                        <a:pt x="9151" y="18421"/>
                      </a:cubicBezTo>
                      <a:cubicBezTo>
                        <a:pt x="4067" y="18362"/>
                        <a:pt x="0" y="14235"/>
                        <a:pt x="0" y="9151"/>
                      </a:cubicBezTo>
                      <a:cubicBezTo>
                        <a:pt x="0" y="4067"/>
                        <a:pt x="4127" y="-59"/>
                        <a:pt x="9211" y="1"/>
                      </a:cubicBezTo>
                      <a:close/>
                    </a:path>
                  </a:pathLst>
                </a:custGeom>
                <a:grpFill/>
                <a:ln w="5978" cap="flat">
                  <a:noFill/>
                  <a:prstDash val="solid"/>
                  <a:miter/>
                </a:ln>
              </p:spPr>
              <p:txBody>
                <a:bodyPr rtlCol="0" anchor="ctr"/>
                <a:lstStyle/>
                <a:p>
                  <a:endParaRPr lang="en-GB"/>
                </a:p>
              </p:txBody>
            </p:sp>
            <p:sp>
              <p:nvSpPr>
                <p:cNvPr id="5353" name="Vrije vorm: vorm 5352">
                  <a:extLst>
                    <a:ext uri="{FF2B5EF4-FFF2-40B4-BE49-F238E27FC236}">
                      <a16:creationId xmlns:a16="http://schemas.microsoft.com/office/drawing/2014/main" id="{D59FE0CF-2273-4A6A-8DCC-FFB574C82729}"/>
                    </a:ext>
                  </a:extLst>
                </p:cNvPr>
                <p:cNvSpPr/>
                <p:nvPr/>
              </p:nvSpPr>
              <p:spPr>
                <a:xfrm>
                  <a:off x="8465492" y="3427232"/>
                  <a:ext cx="18360" cy="18422"/>
                </a:xfrm>
                <a:custGeom>
                  <a:avLst/>
                  <a:gdLst>
                    <a:gd name="connsiteX0" fmla="*/ 9211 w 18360"/>
                    <a:gd name="connsiteY0" fmla="*/ 1 h 18422"/>
                    <a:gd name="connsiteX1" fmla="*/ 0 w 18360"/>
                    <a:gd name="connsiteY1" fmla="*/ 9151 h 18422"/>
                    <a:gd name="connsiteX2" fmla="*/ 9151 w 18360"/>
                    <a:gd name="connsiteY2" fmla="*/ 18421 h 18422"/>
                    <a:gd name="connsiteX3" fmla="*/ 18360 w 18360"/>
                    <a:gd name="connsiteY3" fmla="*/ 9271 h 18422"/>
                    <a:gd name="connsiteX4" fmla="*/ 9211 w 18360"/>
                    <a:gd name="connsiteY4" fmla="*/ 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2">
                      <a:moveTo>
                        <a:pt x="9211" y="1"/>
                      </a:moveTo>
                      <a:cubicBezTo>
                        <a:pt x="4126" y="-59"/>
                        <a:pt x="0" y="4067"/>
                        <a:pt x="0" y="9151"/>
                      </a:cubicBezTo>
                      <a:cubicBezTo>
                        <a:pt x="0" y="14235"/>
                        <a:pt x="4066" y="18421"/>
                        <a:pt x="9151" y="18421"/>
                      </a:cubicBezTo>
                      <a:cubicBezTo>
                        <a:pt x="14234" y="18481"/>
                        <a:pt x="18360" y="14354"/>
                        <a:pt x="18360" y="9271"/>
                      </a:cubicBezTo>
                      <a:cubicBezTo>
                        <a:pt x="18360" y="4187"/>
                        <a:pt x="14294" y="1"/>
                        <a:pt x="9211" y="1"/>
                      </a:cubicBezTo>
                      <a:close/>
                    </a:path>
                  </a:pathLst>
                </a:custGeom>
                <a:grpFill/>
                <a:ln w="5978" cap="flat">
                  <a:noFill/>
                  <a:prstDash val="solid"/>
                  <a:miter/>
                </a:ln>
              </p:spPr>
              <p:txBody>
                <a:bodyPr rtlCol="0" anchor="ctr"/>
                <a:lstStyle/>
                <a:p>
                  <a:endParaRPr lang="en-GB"/>
                </a:p>
              </p:txBody>
            </p:sp>
          </p:grpSp>
          <p:grpSp>
            <p:nvGrpSpPr>
              <p:cNvPr id="7" name="Graphic 3">
                <a:extLst>
                  <a:ext uri="{FF2B5EF4-FFF2-40B4-BE49-F238E27FC236}">
                    <a16:creationId xmlns:a16="http://schemas.microsoft.com/office/drawing/2014/main" id="{A46CFD8C-0A5E-429E-BFF8-AB2A51CFB7FA}"/>
                  </a:ext>
                </a:extLst>
              </p:cNvPr>
              <p:cNvGrpSpPr/>
              <p:nvPr/>
            </p:nvGrpSpPr>
            <p:grpSpPr>
              <a:xfrm>
                <a:off x="8248086" y="2963183"/>
                <a:ext cx="558134" cy="106034"/>
                <a:chOff x="8248086" y="2963183"/>
                <a:chExt cx="558134" cy="106034"/>
              </a:xfrm>
              <a:grpFill/>
            </p:grpSpPr>
            <p:sp>
              <p:nvSpPr>
                <p:cNvPr id="5348" name="Vrije vorm: vorm 5347">
                  <a:extLst>
                    <a:ext uri="{FF2B5EF4-FFF2-40B4-BE49-F238E27FC236}">
                      <a16:creationId xmlns:a16="http://schemas.microsoft.com/office/drawing/2014/main" id="{17F22430-A18A-4A0A-AF07-4F58D4176130}"/>
                    </a:ext>
                  </a:extLst>
                </p:cNvPr>
                <p:cNvSpPr/>
                <p:nvPr/>
              </p:nvSpPr>
              <p:spPr>
                <a:xfrm>
                  <a:off x="8256238" y="2970849"/>
                  <a:ext cx="541201" cy="90937"/>
                </a:xfrm>
                <a:custGeom>
                  <a:avLst/>
                  <a:gdLst>
                    <a:gd name="connsiteX0" fmla="*/ 0 w 541201"/>
                    <a:gd name="connsiteY0" fmla="*/ 87927 h 90937"/>
                    <a:gd name="connsiteX1" fmla="*/ 540712 w 541201"/>
                    <a:gd name="connsiteY1" fmla="*/ 0 h 90937"/>
                    <a:gd name="connsiteX2" fmla="*/ 541202 w 541201"/>
                    <a:gd name="connsiteY2" fmla="*/ 3011 h 90937"/>
                    <a:gd name="connsiteX3" fmla="*/ 490 w 541201"/>
                    <a:gd name="connsiteY3" fmla="*/ 90938 h 90937"/>
                  </a:gdLst>
                  <a:ahLst/>
                  <a:cxnLst>
                    <a:cxn ang="0">
                      <a:pos x="connsiteX0" y="connsiteY0"/>
                    </a:cxn>
                    <a:cxn ang="0">
                      <a:pos x="connsiteX1" y="connsiteY1"/>
                    </a:cxn>
                    <a:cxn ang="0">
                      <a:pos x="connsiteX2" y="connsiteY2"/>
                    </a:cxn>
                    <a:cxn ang="0">
                      <a:pos x="connsiteX3" y="connsiteY3"/>
                    </a:cxn>
                  </a:cxnLst>
                  <a:rect l="l" t="t" r="r" b="b"/>
                  <a:pathLst>
                    <a:path w="541201" h="90937">
                      <a:moveTo>
                        <a:pt x="0" y="87927"/>
                      </a:moveTo>
                      <a:lnTo>
                        <a:pt x="540712" y="0"/>
                      </a:lnTo>
                      <a:lnTo>
                        <a:pt x="541202" y="3011"/>
                      </a:lnTo>
                      <a:lnTo>
                        <a:pt x="490" y="90938"/>
                      </a:lnTo>
                      <a:close/>
                    </a:path>
                  </a:pathLst>
                </a:custGeom>
                <a:grpFill/>
                <a:ln w="5978" cap="flat">
                  <a:noFill/>
                  <a:prstDash val="solid"/>
                  <a:miter/>
                </a:ln>
              </p:spPr>
              <p:txBody>
                <a:bodyPr rtlCol="0" anchor="ctr"/>
                <a:lstStyle/>
                <a:p>
                  <a:endParaRPr lang="en-GB"/>
                </a:p>
              </p:txBody>
            </p:sp>
            <p:sp>
              <p:nvSpPr>
                <p:cNvPr id="5349" name="Vrije vorm: vorm 5348">
                  <a:extLst>
                    <a:ext uri="{FF2B5EF4-FFF2-40B4-BE49-F238E27FC236}">
                      <a16:creationId xmlns:a16="http://schemas.microsoft.com/office/drawing/2014/main" id="{E5915EC7-E9FC-48F5-8F83-E11AE822665F}"/>
                    </a:ext>
                  </a:extLst>
                </p:cNvPr>
                <p:cNvSpPr/>
                <p:nvPr/>
              </p:nvSpPr>
              <p:spPr>
                <a:xfrm>
                  <a:off x="8787906" y="2963183"/>
                  <a:ext cx="18314" cy="18490"/>
                </a:xfrm>
                <a:custGeom>
                  <a:avLst/>
                  <a:gdLst>
                    <a:gd name="connsiteX0" fmla="*/ 7662 w 18314"/>
                    <a:gd name="connsiteY0" fmla="*/ 125 h 18490"/>
                    <a:gd name="connsiteX1" fmla="*/ 18188 w 18314"/>
                    <a:gd name="connsiteY1" fmla="*/ 7780 h 18490"/>
                    <a:gd name="connsiteX2" fmla="*/ 10652 w 18314"/>
                    <a:gd name="connsiteY2" fmla="*/ 18366 h 18490"/>
                    <a:gd name="connsiteX3" fmla="*/ 126 w 18314"/>
                    <a:gd name="connsiteY3" fmla="*/ 10711 h 18490"/>
                    <a:gd name="connsiteX4" fmla="*/ 7662 w 18314"/>
                    <a:gd name="connsiteY4" fmla="*/ 125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90">
                      <a:moveTo>
                        <a:pt x="7662" y="125"/>
                      </a:moveTo>
                      <a:cubicBezTo>
                        <a:pt x="12686" y="-712"/>
                        <a:pt x="17351" y="2756"/>
                        <a:pt x="18188" y="7780"/>
                      </a:cubicBezTo>
                      <a:cubicBezTo>
                        <a:pt x="19026" y="12804"/>
                        <a:pt x="15617" y="17529"/>
                        <a:pt x="10652" y="18366"/>
                      </a:cubicBezTo>
                      <a:cubicBezTo>
                        <a:pt x="5689" y="19203"/>
                        <a:pt x="964" y="15735"/>
                        <a:pt x="126" y="10711"/>
                      </a:cubicBezTo>
                      <a:cubicBezTo>
                        <a:pt x="-710" y="5687"/>
                        <a:pt x="2698" y="902"/>
                        <a:pt x="7662" y="125"/>
                      </a:cubicBezTo>
                      <a:close/>
                    </a:path>
                  </a:pathLst>
                </a:custGeom>
                <a:grpFill/>
                <a:ln w="5978" cap="flat">
                  <a:noFill/>
                  <a:prstDash val="solid"/>
                  <a:miter/>
                </a:ln>
              </p:spPr>
              <p:txBody>
                <a:bodyPr rtlCol="0" anchor="ctr"/>
                <a:lstStyle/>
                <a:p>
                  <a:endParaRPr lang="en-GB"/>
                </a:p>
              </p:txBody>
            </p:sp>
            <p:sp>
              <p:nvSpPr>
                <p:cNvPr id="5350" name="Vrije vorm: vorm 5349">
                  <a:extLst>
                    <a:ext uri="{FF2B5EF4-FFF2-40B4-BE49-F238E27FC236}">
                      <a16:creationId xmlns:a16="http://schemas.microsoft.com/office/drawing/2014/main" id="{2A93F2A1-4683-43AA-9AE6-A1A4F7602E02}"/>
                    </a:ext>
                  </a:extLst>
                </p:cNvPr>
                <p:cNvSpPr/>
                <p:nvPr/>
              </p:nvSpPr>
              <p:spPr>
                <a:xfrm>
                  <a:off x="8248086" y="3050739"/>
                  <a:ext cx="18315" cy="18478"/>
                </a:xfrm>
                <a:custGeom>
                  <a:avLst/>
                  <a:gdLst>
                    <a:gd name="connsiteX0" fmla="*/ 7662 w 18315"/>
                    <a:gd name="connsiteY0" fmla="*/ 126 h 18478"/>
                    <a:gd name="connsiteX1" fmla="*/ 127 w 18315"/>
                    <a:gd name="connsiteY1" fmla="*/ 10712 h 18478"/>
                    <a:gd name="connsiteX2" fmla="*/ 10652 w 18315"/>
                    <a:gd name="connsiteY2" fmla="*/ 18368 h 18478"/>
                    <a:gd name="connsiteX3" fmla="*/ 18188 w 18315"/>
                    <a:gd name="connsiteY3" fmla="*/ 7782 h 18478"/>
                    <a:gd name="connsiteX4" fmla="*/ 7662 w 18315"/>
                    <a:gd name="connsiteY4" fmla="*/ 126 h 1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78">
                      <a:moveTo>
                        <a:pt x="7662" y="126"/>
                      </a:moveTo>
                      <a:cubicBezTo>
                        <a:pt x="2698" y="964"/>
                        <a:pt x="-711" y="5688"/>
                        <a:pt x="127" y="10712"/>
                      </a:cubicBezTo>
                      <a:cubicBezTo>
                        <a:pt x="963" y="15736"/>
                        <a:pt x="5688" y="19145"/>
                        <a:pt x="10652" y="18368"/>
                      </a:cubicBezTo>
                      <a:cubicBezTo>
                        <a:pt x="15676" y="17530"/>
                        <a:pt x="19025" y="12806"/>
                        <a:pt x="18188" y="7782"/>
                      </a:cubicBezTo>
                      <a:cubicBezTo>
                        <a:pt x="17351" y="2698"/>
                        <a:pt x="12686" y="-711"/>
                        <a:pt x="7662" y="126"/>
                      </a:cubicBezTo>
                      <a:close/>
                    </a:path>
                  </a:pathLst>
                </a:custGeom>
                <a:grpFill/>
                <a:ln w="5978" cap="flat">
                  <a:noFill/>
                  <a:prstDash val="solid"/>
                  <a:miter/>
                </a:ln>
              </p:spPr>
              <p:txBody>
                <a:bodyPr rtlCol="0" anchor="ctr"/>
                <a:lstStyle/>
                <a:p>
                  <a:endParaRPr lang="en-GB"/>
                </a:p>
              </p:txBody>
            </p:sp>
          </p:grpSp>
          <p:grpSp>
            <p:nvGrpSpPr>
              <p:cNvPr id="8" name="Graphic 3">
                <a:extLst>
                  <a:ext uri="{FF2B5EF4-FFF2-40B4-BE49-F238E27FC236}">
                    <a16:creationId xmlns:a16="http://schemas.microsoft.com/office/drawing/2014/main" id="{85708331-9D1D-42C4-AD25-CA4517F30AB1}"/>
                  </a:ext>
                </a:extLst>
              </p:cNvPr>
              <p:cNvGrpSpPr/>
              <p:nvPr/>
            </p:nvGrpSpPr>
            <p:grpSpPr>
              <a:xfrm>
                <a:off x="7716805" y="2962871"/>
                <a:ext cx="1089381" cy="160619"/>
                <a:chOff x="7716805" y="2962871"/>
                <a:chExt cx="1089381" cy="160619"/>
              </a:xfrm>
              <a:grpFill/>
            </p:grpSpPr>
            <p:sp>
              <p:nvSpPr>
                <p:cNvPr id="5345" name="Vrije vorm: vorm 5344">
                  <a:extLst>
                    <a:ext uri="{FF2B5EF4-FFF2-40B4-BE49-F238E27FC236}">
                      <a16:creationId xmlns:a16="http://schemas.microsoft.com/office/drawing/2014/main" id="{A4665606-F381-46C6-ABDB-9348B15C3D09}"/>
                    </a:ext>
                  </a:extLst>
                </p:cNvPr>
                <p:cNvSpPr/>
                <p:nvPr/>
              </p:nvSpPr>
              <p:spPr>
                <a:xfrm>
                  <a:off x="7725258" y="2970545"/>
                  <a:ext cx="1072463" cy="145331"/>
                </a:xfrm>
                <a:custGeom>
                  <a:avLst/>
                  <a:gdLst>
                    <a:gd name="connsiteX0" fmla="*/ 1072045 w 1072463"/>
                    <a:gd name="connsiteY0" fmla="*/ 0 h 145331"/>
                    <a:gd name="connsiteX1" fmla="*/ 1072464 w 1072463"/>
                    <a:gd name="connsiteY1" fmla="*/ 3050 h 145331"/>
                    <a:gd name="connsiteX2" fmla="*/ 419 w 1072463"/>
                    <a:gd name="connsiteY2" fmla="*/ 145331 h 145331"/>
                    <a:gd name="connsiteX3" fmla="*/ 0 w 1072463"/>
                    <a:gd name="connsiteY3" fmla="*/ 142281 h 145331"/>
                  </a:gdLst>
                  <a:ahLst/>
                  <a:cxnLst>
                    <a:cxn ang="0">
                      <a:pos x="connsiteX0" y="connsiteY0"/>
                    </a:cxn>
                    <a:cxn ang="0">
                      <a:pos x="connsiteX1" y="connsiteY1"/>
                    </a:cxn>
                    <a:cxn ang="0">
                      <a:pos x="connsiteX2" y="connsiteY2"/>
                    </a:cxn>
                    <a:cxn ang="0">
                      <a:pos x="connsiteX3" y="connsiteY3"/>
                    </a:cxn>
                  </a:cxnLst>
                  <a:rect l="l" t="t" r="r" b="b"/>
                  <a:pathLst>
                    <a:path w="1072463" h="145331">
                      <a:moveTo>
                        <a:pt x="1072045" y="0"/>
                      </a:moveTo>
                      <a:lnTo>
                        <a:pt x="1072464" y="3050"/>
                      </a:lnTo>
                      <a:lnTo>
                        <a:pt x="419" y="145331"/>
                      </a:lnTo>
                      <a:lnTo>
                        <a:pt x="0" y="142281"/>
                      </a:lnTo>
                      <a:close/>
                    </a:path>
                  </a:pathLst>
                </a:custGeom>
                <a:grpFill/>
                <a:ln w="5978" cap="flat">
                  <a:noFill/>
                  <a:prstDash val="solid"/>
                  <a:miter/>
                </a:ln>
              </p:spPr>
              <p:txBody>
                <a:bodyPr rtlCol="0" anchor="ctr"/>
                <a:lstStyle/>
                <a:p>
                  <a:endParaRPr lang="en-GB"/>
                </a:p>
              </p:txBody>
            </p:sp>
            <p:sp>
              <p:nvSpPr>
                <p:cNvPr id="5346" name="Vrije vorm: vorm 5345">
                  <a:extLst>
                    <a:ext uri="{FF2B5EF4-FFF2-40B4-BE49-F238E27FC236}">
                      <a16:creationId xmlns:a16="http://schemas.microsoft.com/office/drawing/2014/main" id="{3C8B5B20-289E-47C9-AC7B-78FDD70F9F17}"/>
                    </a:ext>
                  </a:extLst>
                </p:cNvPr>
                <p:cNvSpPr/>
                <p:nvPr/>
              </p:nvSpPr>
              <p:spPr>
                <a:xfrm>
                  <a:off x="7716805" y="3105032"/>
                  <a:ext cx="18281" cy="18458"/>
                </a:xfrm>
                <a:custGeom>
                  <a:avLst/>
                  <a:gdLst>
                    <a:gd name="connsiteX0" fmla="*/ 10367 w 18281"/>
                    <a:gd name="connsiteY0" fmla="*/ 18380 h 18458"/>
                    <a:gd name="connsiteX1" fmla="*/ 80 w 18281"/>
                    <a:gd name="connsiteY1" fmla="*/ 10425 h 18458"/>
                    <a:gd name="connsiteX2" fmla="*/ 7915 w 18281"/>
                    <a:gd name="connsiteY2" fmla="*/ 79 h 18458"/>
                    <a:gd name="connsiteX3" fmla="*/ 18202 w 18281"/>
                    <a:gd name="connsiteY3" fmla="*/ 8033 h 18458"/>
                    <a:gd name="connsiteX4" fmla="*/ 10367 w 18281"/>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8">
                      <a:moveTo>
                        <a:pt x="10367" y="18380"/>
                      </a:moveTo>
                      <a:cubicBezTo>
                        <a:pt x="5343" y="19038"/>
                        <a:pt x="738" y="15509"/>
                        <a:pt x="80" y="10425"/>
                      </a:cubicBezTo>
                      <a:cubicBezTo>
                        <a:pt x="-578" y="5402"/>
                        <a:pt x="2891" y="737"/>
                        <a:pt x="7915" y="79"/>
                      </a:cubicBezTo>
                      <a:cubicBezTo>
                        <a:pt x="12939" y="-579"/>
                        <a:pt x="17544" y="2950"/>
                        <a:pt x="18202" y="8033"/>
                      </a:cubicBezTo>
                      <a:cubicBezTo>
                        <a:pt x="18860" y="13117"/>
                        <a:pt x="15391" y="17722"/>
                        <a:pt x="10367" y="18380"/>
                      </a:cubicBezTo>
                      <a:close/>
                    </a:path>
                  </a:pathLst>
                </a:custGeom>
                <a:grpFill/>
                <a:ln w="5978" cap="flat">
                  <a:noFill/>
                  <a:prstDash val="solid"/>
                  <a:miter/>
                </a:ln>
              </p:spPr>
              <p:txBody>
                <a:bodyPr rtlCol="0" anchor="ctr"/>
                <a:lstStyle/>
                <a:p>
                  <a:endParaRPr lang="en-GB"/>
                </a:p>
              </p:txBody>
            </p:sp>
            <p:sp>
              <p:nvSpPr>
                <p:cNvPr id="5347" name="Vrije vorm: vorm 5346">
                  <a:extLst>
                    <a:ext uri="{FF2B5EF4-FFF2-40B4-BE49-F238E27FC236}">
                      <a16:creationId xmlns:a16="http://schemas.microsoft.com/office/drawing/2014/main" id="{E69997DF-6BB3-4390-AF39-F152CA9FEBB5}"/>
                    </a:ext>
                  </a:extLst>
                </p:cNvPr>
                <p:cNvSpPr/>
                <p:nvPr/>
              </p:nvSpPr>
              <p:spPr>
                <a:xfrm>
                  <a:off x="8787880" y="2962871"/>
                  <a:ext cx="18306" cy="18457"/>
                </a:xfrm>
                <a:custGeom>
                  <a:avLst/>
                  <a:gdLst>
                    <a:gd name="connsiteX0" fmla="*/ 10379 w 18306"/>
                    <a:gd name="connsiteY0" fmla="*/ 18379 h 18457"/>
                    <a:gd name="connsiteX1" fmla="*/ 18214 w 18306"/>
                    <a:gd name="connsiteY1" fmla="*/ 8032 h 18457"/>
                    <a:gd name="connsiteX2" fmla="*/ 7927 w 18306"/>
                    <a:gd name="connsiteY2" fmla="*/ 78 h 18457"/>
                    <a:gd name="connsiteX3" fmla="*/ 93 w 18306"/>
                    <a:gd name="connsiteY3" fmla="*/ 10424 h 18457"/>
                    <a:gd name="connsiteX4" fmla="*/ 10379 w 18306"/>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57">
                      <a:moveTo>
                        <a:pt x="10379" y="18379"/>
                      </a:moveTo>
                      <a:cubicBezTo>
                        <a:pt x="15403" y="17721"/>
                        <a:pt x="18931" y="13056"/>
                        <a:pt x="18214" y="8032"/>
                      </a:cubicBezTo>
                      <a:cubicBezTo>
                        <a:pt x="17556" y="3008"/>
                        <a:pt x="12891" y="-580"/>
                        <a:pt x="7927" y="78"/>
                      </a:cubicBezTo>
                      <a:cubicBezTo>
                        <a:pt x="2903" y="736"/>
                        <a:pt x="-625" y="5401"/>
                        <a:pt x="93" y="10424"/>
                      </a:cubicBezTo>
                      <a:cubicBezTo>
                        <a:pt x="750" y="15508"/>
                        <a:pt x="5415" y="19037"/>
                        <a:pt x="10379" y="18379"/>
                      </a:cubicBezTo>
                      <a:close/>
                    </a:path>
                  </a:pathLst>
                </a:custGeom>
                <a:grpFill/>
                <a:ln w="5978" cap="flat">
                  <a:noFill/>
                  <a:prstDash val="solid"/>
                  <a:miter/>
                </a:ln>
              </p:spPr>
              <p:txBody>
                <a:bodyPr rtlCol="0" anchor="ctr"/>
                <a:lstStyle/>
                <a:p>
                  <a:endParaRPr lang="en-GB"/>
                </a:p>
              </p:txBody>
            </p:sp>
          </p:grpSp>
          <p:grpSp>
            <p:nvGrpSpPr>
              <p:cNvPr id="9" name="Graphic 3">
                <a:extLst>
                  <a:ext uri="{FF2B5EF4-FFF2-40B4-BE49-F238E27FC236}">
                    <a16:creationId xmlns:a16="http://schemas.microsoft.com/office/drawing/2014/main" id="{2D7DB9DE-06AF-4B48-B758-1DFCEC22CE49}"/>
                  </a:ext>
                </a:extLst>
              </p:cNvPr>
              <p:cNvGrpSpPr/>
              <p:nvPr/>
            </p:nvGrpSpPr>
            <p:grpSpPr>
              <a:xfrm>
                <a:off x="8273809" y="3382078"/>
                <a:ext cx="189111" cy="20275"/>
                <a:chOff x="8273809" y="3382078"/>
                <a:chExt cx="189111" cy="20275"/>
              </a:xfrm>
              <a:grpFill/>
            </p:grpSpPr>
            <p:sp>
              <p:nvSpPr>
                <p:cNvPr id="5342" name="Vrije vorm: vorm 5341">
                  <a:extLst>
                    <a:ext uri="{FF2B5EF4-FFF2-40B4-BE49-F238E27FC236}">
                      <a16:creationId xmlns:a16="http://schemas.microsoft.com/office/drawing/2014/main" id="{47DC2CA1-2F3F-4BC4-A0C9-4B28C2BBF8FE}"/>
                    </a:ext>
                  </a:extLst>
                </p:cNvPr>
                <p:cNvSpPr/>
                <p:nvPr/>
              </p:nvSpPr>
              <p:spPr>
                <a:xfrm>
                  <a:off x="8282482" y="3389793"/>
                  <a:ext cx="171766" cy="4844"/>
                </a:xfrm>
                <a:custGeom>
                  <a:avLst/>
                  <a:gdLst>
                    <a:gd name="connsiteX0" fmla="*/ 171706 w 171766"/>
                    <a:gd name="connsiteY0" fmla="*/ 0 h 4844"/>
                    <a:gd name="connsiteX1" fmla="*/ 171766 w 171766"/>
                    <a:gd name="connsiteY1" fmla="*/ 3050 h 4844"/>
                    <a:gd name="connsiteX2" fmla="*/ 60 w 171766"/>
                    <a:gd name="connsiteY2" fmla="*/ 4844 h 4844"/>
                    <a:gd name="connsiteX3" fmla="*/ 0 w 171766"/>
                    <a:gd name="connsiteY3" fmla="*/ 1794 h 4844"/>
                  </a:gdLst>
                  <a:ahLst/>
                  <a:cxnLst>
                    <a:cxn ang="0">
                      <a:pos x="connsiteX0" y="connsiteY0"/>
                    </a:cxn>
                    <a:cxn ang="0">
                      <a:pos x="connsiteX1" y="connsiteY1"/>
                    </a:cxn>
                    <a:cxn ang="0">
                      <a:pos x="connsiteX2" y="connsiteY2"/>
                    </a:cxn>
                    <a:cxn ang="0">
                      <a:pos x="connsiteX3" y="connsiteY3"/>
                    </a:cxn>
                  </a:cxnLst>
                  <a:rect l="l" t="t" r="r" b="b"/>
                  <a:pathLst>
                    <a:path w="171766" h="4844">
                      <a:moveTo>
                        <a:pt x="171706" y="0"/>
                      </a:moveTo>
                      <a:lnTo>
                        <a:pt x="171766" y="3050"/>
                      </a:lnTo>
                      <a:lnTo>
                        <a:pt x="60" y="4844"/>
                      </a:lnTo>
                      <a:lnTo>
                        <a:pt x="0" y="1794"/>
                      </a:lnTo>
                      <a:close/>
                    </a:path>
                  </a:pathLst>
                </a:custGeom>
                <a:grpFill/>
                <a:ln w="5978" cap="flat">
                  <a:noFill/>
                  <a:prstDash val="solid"/>
                  <a:miter/>
                </a:ln>
              </p:spPr>
              <p:txBody>
                <a:bodyPr rtlCol="0" anchor="ctr"/>
                <a:lstStyle/>
                <a:p>
                  <a:endParaRPr lang="en-GB"/>
                </a:p>
              </p:txBody>
            </p:sp>
            <p:sp>
              <p:nvSpPr>
                <p:cNvPr id="5343" name="Vrije vorm: vorm 5342">
                  <a:extLst>
                    <a:ext uri="{FF2B5EF4-FFF2-40B4-BE49-F238E27FC236}">
                      <a16:creationId xmlns:a16="http://schemas.microsoft.com/office/drawing/2014/main" id="{AD2644AA-330C-4EB4-A365-D54670C51372}"/>
                    </a:ext>
                  </a:extLst>
                </p:cNvPr>
                <p:cNvSpPr/>
                <p:nvPr/>
              </p:nvSpPr>
              <p:spPr>
                <a:xfrm>
                  <a:off x="8444619" y="3382078"/>
                  <a:ext cx="18301" cy="18421"/>
                </a:xfrm>
                <a:custGeom>
                  <a:avLst/>
                  <a:gdLst>
                    <a:gd name="connsiteX0" fmla="*/ 9032 w 18301"/>
                    <a:gd name="connsiteY0" fmla="*/ 1 h 18421"/>
                    <a:gd name="connsiteX1" fmla="*/ 18301 w 18301"/>
                    <a:gd name="connsiteY1" fmla="*/ 9091 h 18421"/>
                    <a:gd name="connsiteX2" fmla="*/ 9270 w 18301"/>
                    <a:gd name="connsiteY2" fmla="*/ 18421 h 18421"/>
                    <a:gd name="connsiteX3" fmla="*/ 1 w 18301"/>
                    <a:gd name="connsiteY3" fmla="*/ 9331 h 18421"/>
                    <a:gd name="connsiteX4" fmla="*/ 9032 w 1830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1">
                      <a:moveTo>
                        <a:pt x="9032" y="1"/>
                      </a:moveTo>
                      <a:cubicBezTo>
                        <a:pt x="14115" y="-59"/>
                        <a:pt x="18241" y="4008"/>
                        <a:pt x="18301" y="9091"/>
                      </a:cubicBezTo>
                      <a:cubicBezTo>
                        <a:pt x="18361" y="14175"/>
                        <a:pt x="14355" y="18362"/>
                        <a:pt x="9270" y="18421"/>
                      </a:cubicBezTo>
                      <a:cubicBezTo>
                        <a:pt x="4187" y="18481"/>
                        <a:pt x="61" y="14414"/>
                        <a:pt x="1" y="9331"/>
                      </a:cubicBezTo>
                      <a:cubicBezTo>
                        <a:pt x="-59" y="4247"/>
                        <a:pt x="3948" y="60"/>
                        <a:pt x="9032" y="1"/>
                      </a:cubicBezTo>
                      <a:close/>
                    </a:path>
                  </a:pathLst>
                </a:custGeom>
                <a:grpFill/>
                <a:ln w="5978" cap="flat">
                  <a:noFill/>
                  <a:prstDash val="solid"/>
                  <a:miter/>
                </a:ln>
              </p:spPr>
              <p:txBody>
                <a:bodyPr rtlCol="0" anchor="ctr"/>
                <a:lstStyle/>
                <a:p>
                  <a:endParaRPr lang="en-GB"/>
                </a:p>
              </p:txBody>
            </p:sp>
            <p:sp>
              <p:nvSpPr>
                <p:cNvPr id="5344" name="Vrije vorm: vorm 5343">
                  <a:extLst>
                    <a:ext uri="{FF2B5EF4-FFF2-40B4-BE49-F238E27FC236}">
                      <a16:creationId xmlns:a16="http://schemas.microsoft.com/office/drawing/2014/main" id="{C5FB27DB-FD26-4FC0-BC19-D0E29391A0C9}"/>
                    </a:ext>
                  </a:extLst>
                </p:cNvPr>
                <p:cNvSpPr/>
                <p:nvPr/>
              </p:nvSpPr>
              <p:spPr>
                <a:xfrm>
                  <a:off x="8273809" y="3383932"/>
                  <a:ext cx="18302" cy="18421"/>
                </a:xfrm>
                <a:custGeom>
                  <a:avLst/>
                  <a:gdLst>
                    <a:gd name="connsiteX0" fmla="*/ 9032 w 18302"/>
                    <a:gd name="connsiteY0" fmla="*/ 1 h 18421"/>
                    <a:gd name="connsiteX1" fmla="*/ 1 w 18302"/>
                    <a:gd name="connsiteY1" fmla="*/ 9331 h 18421"/>
                    <a:gd name="connsiteX2" fmla="*/ 9271 w 18302"/>
                    <a:gd name="connsiteY2" fmla="*/ 18421 h 18421"/>
                    <a:gd name="connsiteX3" fmla="*/ 18302 w 18302"/>
                    <a:gd name="connsiteY3" fmla="*/ 9091 h 18421"/>
                    <a:gd name="connsiteX4" fmla="*/ 9032 w 18302"/>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2" y="1"/>
                      </a:moveTo>
                      <a:cubicBezTo>
                        <a:pt x="3948" y="61"/>
                        <a:pt x="-59" y="4247"/>
                        <a:pt x="1" y="9331"/>
                      </a:cubicBezTo>
                      <a:cubicBezTo>
                        <a:pt x="61" y="14414"/>
                        <a:pt x="4247" y="18481"/>
                        <a:pt x="9271" y="18421"/>
                      </a:cubicBezTo>
                      <a:cubicBezTo>
                        <a:pt x="14355" y="18362"/>
                        <a:pt x="18362" y="14175"/>
                        <a:pt x="18302" y="9091"/>
                      </a:cubicBezTo>
                      <a:cubicBezTo>
                        <a:pt x="18242" y="4008"/>
                        <a:pt x="14115" y="-59"/>
                        <a:pt x="9032" y="1"/>
                      </a:cubicBezTo>
                      <a:close/>
                    </a:path>
                  </a:pathLst>
                </a:custGeom>
                <a:grpFill/>
                <a:ln w="5978" cap="flat">
                  <a:noFill/>
                  <a:prstDash val="solid"/>
                  <a:miter/>
                </a:ln>
              </p:spPr>
              <p:txBody>
                <a:bodyPr rtlCol="0" anchor="ctr"/>
                <a:lstStyle/>
                <a:p>
                  <a:endParaRPr lang="en-GB"/>
                </a:p>
              </p:txBody>
            </p:sp>
          </p:grpSp>
          <p:grpSp>
            <p:nvGrpSpPr>
              <p:cNvPr id="10" name="Graphic 3">
                <a:extLst>
                  <a:ext uri="{FF2B5EF4-FFF2-40B4-BE49-F238E27FC236}">
                    <a16:creationId xmlns:a16="http://schemas.microsoft.com/office/drawing/2014/main" id="{B9394F9A-FFA9-46D5-AF5D-9160B24281B3}"/>
                  </a:ext>
                </a:extLst>
              </p:cNvPr>
              <p:cNvGrpSpPr/>
              <p:nvPr/>
            </p:nvGrpSpPr>
            <p:grpSpPr>
              <a:xfrm>
                <a:off x="8293724" y="3467959"/>
                <a:ext cx="194498" cy="23150"/>
                <a:chOff x="8293724" y="3467959"/>
                <a:chExt cx="194498" cy="23150"/>
              </a:xfrm>
              <a:grpFill/>
            </p:grpSpPr>
            <p:sp>
              <p:nvSpPr>
                <p:cNvPr id="5339" name="Vrije vorm: vorm 5338">
                  <a:extLst>
                    <a:ext uri="{FF2B5EF4-FFF2-40B4-BE49-F238E27FC236}">
                      <a16:creationId xmlns:a16="http://schemas.microsoft.com/office/drawing/2014/main" id="{1EB63C22-6C93-4979-9BB0-D057A96C0D73}"/>
                    </a:ext>
                  </a:extLst>
                </p:cNvPr>
                <p:cNvSpPr/>
                <p:nvPr/>
              </p:nvSpPr>
              <p:spPr>
                <a:xfrm>
                  <a:off x="8302398" y="3475617"/>
                  <a:ext cx="177148" cy="7834"/>
                </a:xfrm>
                <a:custGeom>
                  <a:avLst/>
                  <a:gdLst>
                    <a:gd name="connsiteX0" fmla="*/ 177149 w 177148"/>
                    <a:gd name="connsiteY0" fmla="*/ 4785 h 7834"/>
                    <a:gd name="connsiteX1" fmla="*/ 177089 w 177148"/>
                    <a:gd name="connsiteY1" fmla="*/ 7835 h 7834"/>
                    <a:gd name="connsiteX2" fmla="*/ 0 w 177148"/>
                    <a:gd name="connsiteY2" fmla="*/ 3110 h 7834"/>
                    <a:gd name="connsiteX3" fmla="*/ 60 w 177148"/>
                    <a:gd name="connsiteY3" fmla="*/ 0 h 7834"/>
                  </a:gdLst>
                  <a:ahLst/>
                  <a:cxnLst>
                    <a:cxn ang="0">
                      <a:pos x="connsiteX0" y="connsiteY0"/>
                    </a:cxn>
                    <a:cxn ang="0">
                      <a:pos x="connsiteX1" y="connsiteY1"/>
                    </a:cxn>
                    <a:cxn ang="0">
                      <a:pos x="connsiteX2" y="connsiteY2"/>
                    </a:cxn>
                    <a:cxn ang="0">
                      <a:pos x="connsiteX3" y="connsiteY3"/>
                    </a:cxn>
                  </a:cxnLst>
                  <a:rect l="l" t="t" r="r" b="b"/>
                  <a:pathLst>
                    <a:path w="177148" h="7834">
                      <a:moveTo>
                        <a:pt x="177149" y="4785"/>
                      </a:moveTo>
                      <a:lnTo>
                        <a:pt x="177089" y="7835"/>
                      </a:lnTo>
                      <a:lnTo>
                        <a:pt x="0" y="3110"/>
                      </a:lnTo>
                      <a:lnTo>
                        <a:pt x="60" y="0"/>
                      </a:lnTo>
                      <a:close/>
                    </a:path>
                  </a:pathLst>
                </a:custGeom>
                <a:grpFill/>
                <a:ln w="5978" cap="flat">
                  <a:noFill/>
                  <a:prstDash val="solid"/>
                  <a:miter/>
                </a:ln>
              </p:spPr>
              <p:txBody>
                <a:bodyPr rtlCol="0" anchor="ctr"/>
                <a:lstStyle/>
                <a:p>
                  <a:endParaRPr lang="en-GB"/>
                </a:p>
              </p:txBody>
            </p:sp>
            <p:sp>
              <p:nvSpPr>
                <p:cNvPr id="5340" name="Vrije vorm: vorm 5339">
                  <a:extLst>
                    <a:ext uri="{FF2B5EF4-FFF2-40B4-BE49-F238E27FC236}">
                      <a16:creationId xmlns:a16="http://schemas.microsoft.com/office/drawing/2014/main" id="{A595354B-D8EA-4D8F-98E6-50913F775CD1}"/>
                    </a:ext>
                  </a:extLst>
                </p:cNvPr>
                <p:cNvSpPr/>
                <p:nvPr/>
              </p:nvSpPr>
              <p:spPr>
                <a:xfrm>
                  <a:off x="8469856" y="3472684"/>
                  <a:ext cx="18366" cy="18425"/>
                </a:xfrm>
                <a:custGeom>
                  <a:avLst/>
                  <a:gdLst>
                    <a:gd name="connsiteX0" fmla="*/ 9393 w 18366"/>
                    <a:gd name="connsiteY0" fmla="*/ 3 h 18425"/>
                    <a:gd name="connsiteX1" fmla="*/ 18364 w 18366"/>
                    <a:gd name="connsiteY1" fmla="*/ 9452 h 18425"/>
                    <a:gd name="connsiteX2" fmla="*/ 8974 w 18366"/>
                    <a:gd name="connsiteY2" fmla="*/ 18423 h 18425"/>
                    <a:gd name="connsiteX3" fmla="*/ 3 w 18366"/>
                    <a:gd name="connsiteY3" fmla="*/ 8974 h 18425"/>
                    <a:gd name="connsiteX4" fmla="*/ 9393 w 18366"/>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3" y="3"/>
                      </a:moveTo>
                      <a:cubicBezTo>
                        <a:pt x="14476" y="122"/>
                        <a:pt x="18483" y="4369"/>
                        <a:pt x="18364" y="9452"/>
                      </a:cubicBezTo>
                      <a:cubicBezTo>
                        <a:pt x="18244" y="14536"/>
                        <a:pt x="14057" y="18543"/>
                        <a:pt x="8974" y="18423"/>
                      </a:cubicBezTo>
                      <a:cubicBezTo>
                        <a:pt x="3890" y="18304"/>
                        <a:pt x="-117" y="14057"/>
                        <a:pt x="3" y="8974"/>
                      </a:cubicBezTo>
                      <a:cubicBezTo>
                        <a:pt x="122" y="3890"/>
                        <a:pt x="4368" y="-117"/>
                        <a:pt x="9393" y="3"/>
                      </a:cubicBezTo>
                      <a:close/>
                    </a:path>
                  </a:pathLst>
                </a:custGeom>
                <a:grpFill/>
                <a:ln w="5978" cap="flat">
                  <a:noFill/>
                  <a:prstDash val="solid"/>
                  <a:miter/>
                </a:ln>
              </p:spPr>
              <p:txBody>
                <a:bodyPr rtlCol="0" anchor="ctr"/>
                <a:lstStyle/>
                <a:p>
                  <a:endParaRPr lang="en-GB"/>
                </a:p>
              </p:txBody>
            </p:sp>
            <p:sp>
              <p:nvSpPr>
                <p:cNvPr id="5341" name="Vrije vorm: vorm 5340">
                  <a:extLst>
                    <a:ext uri="{FF2B5EF4-FFF2-40B4-BE49-F238E27FC236}">
                      <a16:creationId xmlns:a16="http://schemas.microsoft.com/office/drawing/2014/main" id="{1196F975-2CFA-4B19-8C54-5D004C7A11E2}"/>
                    </a:ext>
                  </a:extLst>
                </p:cNvPr>
                <p:cNvSpPr/>
                <p:nvPr/>
              </p:nvSpPr>
              <p:spPr>
                <a:xfrm>
                  <a:off x="8293724" y="3467959"/>
                  <a:ext cx="18363" cy="18425"/>
                </a:xfrm>
                <a:custGeom>
                  <a:avLst/>
                  <a:gdLst>
                    <a:gd name="connsiteX0" fmla="*/ 9392 w 18363"/>
                    <a:gd name="connsiteY0" fmla="*/ 3 h 18425"/>
                    <a:gd name="connsiteX1" fmla="*/ 3 w 18363"/>
                    <a:gd name="connsiteY1" fmla="*/ 8974 h 18425"/>
                    <a:gd name="connsiteX2" fmla="*/ 8974 w 18363"/>
                    <a:gd name="connsiteY2" fmla="*/ 18423 h 18425"/>
                    <a:gd name="connsiteX3" fmla="*/ 18363 w 18363"/>
                    <a:gd name="connsiteY3" fmla="*/ 9452 h 18425"/>
                    <a:gd name="connsiteX4" fmla="*/ 9392 w 18363"/>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5">
                      <a:moveTo>
                        <a:pt x="9392" y="3"/>
                      </a:moveTo>
                      <a:cubicBezTo>
                        <a:pt x="4309" y="-117"/>
                        <a:pt x="122" y="3890"/>
                        <a:pt x="3" y="8974"/>
                      </a:cubicBezTo>
                      <a:cubicBezTo>
                        <a:pt x="-117" y="14057"/>
                        <a:pt x="3890" y="18304"/>
                        <a:pt x="8974" y="18423"/>
                      </a:cubicBezTo>
                      <a:cubicBezTo>
                        <a:pt x="14057" y="18543"/>
                        <a:pt x="18243" y="14536"/>
                        <a:pt x="18363" y="9452"/>
                      </a:cubicBezTo>
                      <a:cubicBezTo>
                        <a:pt x="18423" y="4369"/>
                        <a:pt x="14416" y="182"/>
                        <a:pt x="9392" y="3"/>
                      </a:cubicBezTo>
                      <a:close/>
                    </a:path>
                  </a:pathLst>
                </a:custGeom>
                <a:grpFill/>
                <a:ln w="5978" cap="flat">
                  <a:noFill/>
                  <a:prstDash val="solid"/>
                  <a:miter/>
                </a:ln>
              </p:spPr>
              <p:txBody>
                <a:bodyPr rtlCol="0" anchor="ctr"/>
                <a:lstStyle/>
                <a:p>
                  <a:endParaRPr lang="en-GB"/>
                </a:p>
              </p:txBody>
            </p:sp>
          </p:grpSp>
          <p:grpSp>
            <p:nvGrpSpPr>
              <p:cNvPr id="11" name="Graphic 3">
                <a:extLst>
                  <a:ext uri="{FF2B5EF4-FFF2-40B4-BE49-F238E27FC236}">
                    <a16:creationId xmlns:a16="http://schemas.microsoft.com/office/drawing/2014/main" id="{0B5C74F5-0D05-4EBB-B27B-121D25A410FB}"/>
                  </a:ext>
                </a:extLst>
              </p:cNvPr>
              <p:cNvGrpSpPr/>
              <p:nvPr/>
            </p:nvGrpSpPr>
            <p:grpSpPr>
              <a:xfrm>
                <a:off x="8115810" y="3083906"/>
                <a:ext cx="214132" cy="46416"/>
                <a:chOff x="8115810" y="3083906"/>
                <a:chExt cx="214132" cy="46416"/>
              </a:xfrm>
              <a:grpFill/>
            </p:grpSpPr>
            <p:sp>
              <p:nvSpPr>
                <p:cNvPr id="5336" name="Vrije vorm: vorm 5335">
                  <a:extLst>
                    <a:ext uri="{FF2B5EF4-FFF2-40B4-BE49-F238E27FC236}">
                      <a16:creationId xmlns:a16="http://schemas.microsoft.com/office/drawing/2014/main" id="{49F4F5AB-AD59-4B8F-B1DF-F479AE390849}"/>
                    </a:ext>
                  </a:extLst>
                </p:cNvPr>
                <p:cNvSpPr/>
                <p:nvPr/>
              </p:nvSpPr>
              <p:spPr>
                <a:xfrm>
                  <a:off x="8124292" y="3091535"/>
                  <a:ext cx="197184" cy="31159"/>
                </a:xfrm>
                <a:custGeom>
                  <a:avLst/>
                  <a:gdLst>
                    <a:gd name="connsiteX0" fmla="*/ 196706 w 197184"/>
                    <a:gd name="connsiteY0" fmla="*/ 0 h 31159"/>
                    <a:gd name="connsiteX1" fmla="*/ 197185 w 197184"/>
                    <a:gd name="connsiteY1" fmla="*/ 3050 h 31159"/>
                    <a:gd name="connsiteX2" fmla="*/ 419 w 197184"/>
                    <a:gd name="connsiteY2" fmla="*/ 31160 h 31159"/>
                    <a:gd name="connsiteX3" fmla="*/ 0 w 197184"/>
                    <a:gd name="connsiteY3" fmla="*/ 28169 h 31159"/>
                  </a:gdLst>
                  <a:ahLst/>
                  <a:cxnLst>
                    <a:cxn ang="0">
                      <a:pos x="connsiteX0" y="connsiteY0"/>
                    </a:cxn>
                    <a:cxn ang="0">
                      <a:pos x="connsiteX1" y="connsiteY1"/>
                    </a:cxn>
                    <a:cxn ang="0">
                      <a:pos x="connsiteX2" y="connsiteY2"/>
                    </a:cxn>
                    <a:cxn ang="0">
                      <a:pos x="connsiteX3" y="connsiteY3"/>
                    </a:cxn>
                  </a:cxnLst>
                  <a:rect l="l" t="t" r="r" b="b"/>
                  <a:pathLst>
                    <a:path w="197184" h="31159">
                      <a:moveTo>
                        <a:pt x="196706" y="0"/>
                      </a:moveTo>
                      <a:lnTo>
                        <a:pt x="197185" y="3050"/>
                      </a:lnTo>
                      <a:lnTo>
                        <a:pt x="419" y="31160"/>
                      </a:lnTo>
                      <a:lnTo>
                        <a:pt x="0" y="28169"/>
                      </a:lnTo>
                      <a:close/>
                    </a:path>
                  </a:pathLst>
                </a:custGeom>
                <a:grpFill/>
                <a:ln w="5978" cap="flat">
                  <a:noFill/>
                  <a:prstDash val="solid"/>
                  <a:miter/>
                </a:ln>
              </p:spPr>
              <p:txBody>
                <a:bodyPr rtlCol="0" anchor="ctr"/>
                <a:lstStyle/>
                <a:p>
                  <a:endParaRPr lang="en-GB"/>
                </a:p>
              </p:txBody>
            </p:sp>
            <p:sp>
              <p:nvSpPr>
                <p:cNvPr id="5337" name="Vrije vorm: vorm 5336">
                  <a:extLst>
                    <a:ext uri="{FF2B5EF4-FFF2-40B4-BE49-F238E27FC236}">
                      <a16:creationId xmlns:a16="http://schemas.microsoft.com/office/drawing/2014/main" id="{3BC72AD3-0AEF-4F7B-B835-972255441155}"/>
                    </a:ext>
                  </a:extLst>
                </p:cNvPr>
                <p:cNvSpPr/>
                <p:nvPr/>
              </p:nvSpPr>
              <p:spPr>
                <a:xfrm>
                  <a:off x="8311619" y="3083906"/>
                  <a:ext cx="18324" cy="18426"/>
                </a:xfrm>
                <a:custGeom>
                  <a:avLst/>
                  <a:gdLst>
                    <a:gd name="connsiteX0" fmla="*/ 7824 w 18324"/>
                    <a:gd name="connsiteY0" fmla="*/ 93 h 18426"/>
                    <a:gd name="connsiteX1" fmla="*/ 18230 w 18324"/>
                    <a:gd name="connsiteY1" fmla="*/ 7927 h 18426"/>
                    <a:gd name="connsiteX2" fmla="*/ 10515 w 18324"/>
                    <a:gd name="connsiteY2" fmla="*/ 18334 h 18426"/>
                    <a:gd name="connsiteX3" fmla="*/ 109 w 18324"/>
                    <a:gd name="connsiteY3" fmla="*/ 10499 h 18426"/>
                    <a:gd name="connsiteX4" fmla="*/ 7824 w 18324"/>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6">
                      <a:moveTo>
                        <a:pt x="7824" y="93"/>
                      </a:moveTo>
                      <a:cubicBezTo>
                        <a:pt x="12848" y="-625"/>
                        <a:pt x="17512" y="2904"/>
                        <a:pt x="18230" y="7927"/>
                      </a:cubicBezTo>
                      <a:cubicBezTo>
                        <a:pt x="18948" y="12951"/>
                        <a:pt x="15479" y="17616"/>
                        <a:pt x="10515" y="18334"/>
                      </a:cubicBezTo>
                      <a:cubicBezTo>
                        <a:pt x="5491" y="19051"/>
                        <a:pt x="827" y="15523"/>
                        <a:pt x="109" y="10499"/>
                      </a:cubicBezTo>
                      <a:cubicBezTo>
                        <a:pt x="-669" y="5475"/>
                        <a:pt x="2800" y="810"/>
                        <a:pt x="7824" y="93"/>
                      </a:cubicBezTo>
                      <a:close/>
                    </a:path>
                  </a:pathLst>
                </a:custGeom>
                <a:grpFill/>
                <a:ln w="5978" cap="flat">
                  <a:noFill/>
                  <a:prstDash val="solid"/>
                  <a:miter/>
                </a:ln>
              </p:spPr>
              <p:txBody>
                <a:bodyPr rtlCol="0" anchor="ctr"/>
                <a:lstStyle/>
                <a:p>
                  <a:endParaRPr lang="en-GB"/>
                </a:p>
              </p:txBody>
            </p:sp>
            <p:sp>
              <p:nvSpPr>
                <p:cNvPr id="5338" name="Vrije vorm: vorm 5337">
                  <a:extLst>
                    <a:ext uri="{FF2B5EF4-FFF2-40B4-BE49-F238E27FC236}">
                      <a16:creationId xmlns:a16="http://schemas.microsoft.com/office/drawing/2014/main" id="{4336FDCF-19F1-4B8D-85B1-87B41A5DF062}"/>
                    </a:ext>
                  </a:extLst>
                </p:cNvPr>
                <p:cNvSpPr/>
                <p:nvPr/>
              </p:nvSpPr>
              <p:spPr>
                <a:xfrm>
                  <a:off x="8115810" y="3111896"/>
                  <a:ext cx="18338" cy="18426"/>
                </a:xfrm>
                <a:custGeom>
                  <a:avLst/>
                  <a:gdLst>
                    <a:gd name="connsiteX0" fmla="*/ 7824 w 18338"/>
                    <a:gd name="connsiteY0" fmla="*/ 93 h 18426"/>
                    <a:gd name="connsiteX1" fmla="*/ 109 w 18338"/>
                    <a:gd name="connsiteY1" fmla="*/ 10499 h 18426"/>
                    <a:gd name="connsiteX2" fmla="*/ 10515 w 18338"/>
                    <a:gd name="connsiteY2" fmla="*/ 18334 h 18426"/>
                    <a:gd name="connsiteX3" fmla="*/ 18230 w 18338"/>
                    <a:gd name="connsiteY3" fmla="*/ 7927 h 18426"/>
                    <a:gd name="connsiteX4" fmla="*/ 7824 w 18338"/>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6">
                      <a:moveTo>
                        <a:pt x="7824" y="93"/>
                      </a:moveTo>
                      <a:cubicBezTo>
                        <a:pt x="2800" y="810"/>
                        <a:pt x="-669" y="5475"/>
                        <a:pt x="109" y="10499"/>
                      </a:cubicBezTo>
                      <a:cubicBezTo>
                        <a:pt x="827" y="15523"/>
                        <a:pt x="5491" y="19051"/>
                        <a:pt x="10515" y="18334"/>
                      </a:cubicBezTo>
                      <a:cubicBezTo>
                        <a:pt x="15539" y="17616"/>
                        <a:pt x="19008" y="12951"/>
                        <a:pt x="18230" y="7927"/>
                      </a:cubicBezTo>
                      <a:cubicBezTo>
                        <a:pt x="17452" y="2904"/>
                        <a:pt x="12847" y="-625"/>
                        <a:pt x="7824" y="93"/>
                      </a:cubicBezTo>
                      <a:close/>
                    </a:path>
                  </a:pathLst>
                </a:custGeom>
                <a:grpFill/>
                <a:ln w="5978" cap="flat">
                  <a:noFill/>
                  <a:prstDash val="solid"/>
                  <a:miter/>
                </a:ln>
              </p:spPr>
              <p:txBody>
                <a:bodyPr rtlCol="0" anchor="ctr"/>
                <a:lstStyle/>
                <a:p>
                  <a:endParaRPr lang="en-GB"/>
                </a:p>
              </p:txBody>
            </p:sp>
          </p:grpSp>
          <p:grpSp>
            <p:nvGrpSpPr>
              <p:cNvPr id="12" name="Graphic 3">
                <a:extLst>
                  <a:ext uri="{FF2B5EF4-FFF2-40B4-BE49-F238E27FC236}">
                    <a16:creationId xmlns:a16="http://schemas.microsoft.com/office/drawing/2014/main" id="{4D137D69-A0AB-4FD9-B3E8-1E48A3093ED4}"/>
                  </a:ext>
                </a:extLst>
              </p:cNvPr>
              <p:cNvGrpSpPr/>
              <p:nvPr/>
            </p:nvGrpSpPr>
            <p:grpSpPr>
              <a:xfrm>
                <a:off x="7738709" y="3390087"/>
                <a:ext cx="1173190" cy="58742"/>
                <a:chOff x="7738709" y="3390087"/>
                <a:chExt cx="1173190" cy="58742"/>
              </a:xfrm>
              <a:grpFill/>
            </p:grpSpPr>
            <p:sp>
              <p:nvSpPr>
                <p:cNvPr id="5333" name="Vrije vorm: vorm 5332">
                  <a:extLst>
                    <a:ext uri="{FF2B5EF4-FFF2-40B4-BE49-F238E27FC236}">
                      <a16:creationId xmlns:a16="http://schemas.microsoft.com/office/drawing/2014/main" id="{7A6FE1AE-1DC5-400D-912E-B4BA46E073F9}"/>
                    </a:ext>
                  </a:extLst>
                </p:cNvPr>
                <p:cNvSpPr/>
                <p:nvPr/>
              </p:nvSpPr>
              <p:spPr>
                <a:xfrm>
                  <a:off x="7747327" y="3397748"/>
                  <a:ext cx="1155953" cy="43420"/>
                </a:xfrm>
                <a:custGeom>
                  <a:avLst/>
                  <a:gdLst>
                    <a:gd name="connsiteX0" fmla="*/ 1155954 w 1155953"/>
                    <a:gd name="connsiteY0" fmla="*/ 40370 h 43420"/>
                    <a:gd name="connsiteX1" fmla="*/ 1155834 w 1155953"/>
                    <a:gd name="connsiteY1" fmla="*/ 43420 h 43420"/>
                    <a:gd name="connsiteX2" fmla="*/ 0 w 1155953"/>
                    <a:gd name="connsiteY2" fmla="*/ 3050 h 43420"/>
                    <a:gd name="connsiteX3" fmla="*/ 59 w 1155953"/>
                    <a:gd name="connsiteY3" fmla="*/ 0 h 43420"/>
                  </a:gdLst>
                  <a:ahLst/>
                  <a:cxnLst>
                    <a:cxn ang="0">
                      <a:pos x="connsiteX0" y="connsiteY0"/>
                    </a:cxn>
                    <a:cxn ang="0">
                      <a:pos x="connsiteX1" y="connsiteY1"/>
                    </a:cxn>
                    <a:cxn ang="0">
                      <a:pos x="connsiteX2" y="connsiteY2"/>
                    </a:cxn>
                    <a:cxn ang="0">
                      <a:pos x="connsiteX3" y="connsiteY3"/>
                    </a:cxn>
                  </a:cxnLst>
                  <a:rect l="l" t="t" r="r" b="b"/>
                  <a:pathLst>
                    <a:path w="1155953" h="43420">
                      <a:moveTo>
                        <a:pt x="1155954" y="40370"/>
                      </a:moveTo>
                      <a:lnTo>
                        <a:pt x="1155834" y="43420"/>
                      </a:lnTo>
                      <a:lnTo>
                        <a:pt x="0" y="3050"/>
                      </a:lnTo>
                      <a:lnTo>
                        <a:pt x="59" y="0"/>
                      </a:lnTo>
                      <a:close/>
                    </a:path>
                  </a:pathLst>
                </a:custGeom>
                <a:grpFill/>
                <a:ln w="5978" cap="flat">
                  <a:noFill/>
                  <a:prstDash val="solid"/>
                  <a:miter/>
                </a:ln>
              </p:spPr>
              <p:txBody>
                <a:bodyPr rtlCol="0" anchor="ctr"/>
                <a:lstStyle/>
                <a:p>
                  <a:endParaRPr lang="en-GB"/>
                </a:p>
              </p:txBody>
            </p:sp>
            <p:sp>
              <p:nvSpPr>
                <p:cNvPr id="5334" name="Vrije vorm: vorm 5333">
                  <a:extLst>
                    <a:ext uri="{FF2B5EF4-FFF2-40B4-BE49-F238E27FC236}">
                      <a16:creationId xmlns:a16="http://schemas.microsoft.com/office/drawing/2014/main" id="{B122960B-0D4A-4F7D-AD7A-67A8A75FC007}"/>
                    </a:ext>
                  </a:extLst>
                </p:cNvPr>
                <p:cNvSpPr/>
                <p:nvPr/>
              </p:nvSpPr>
              <p:spPr>
                <a:xfrm>
                  <a:off x="7738709" y="3390087"/>
                  <a:ext cx="18313" cy="18432"/>
                </a:xfrm>
                <a:custGeom>
                  <a:avLst/>
                  <a:gdLst>
                    <a:gd name="connsiteX0" fmla="*/ 8857 w 18313"/>
                    <a:gd name="connsiteY0" fmla="*/ 18426 h 18432"/>
                    <a:gd name="connsiteX1" fmla="*/ 6 w 18313"/>
                    <a:gd name="connsiteY1" fmla="*/ 8917 h 18432"/>
                    <a:gd name="connsiteX2" fmla="*/ 9455 w 18313"/>
                    <a:gd name="connsiteY2" fmla="*/ 6 h 18432"/>
                    <a:gd name="connsiteX3" fmla="*/ 18307 w 18313"/>
                    <a:gd name="connsiteY3" fmla="*/ 9515 h 18432"/>
                    <a:gd name="connsiteX4" fmla="*/ 8857 w 18313"/>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2">
                      <a:moveTo>
                        <a:pt x="8857" y="18426"/>
                      </a:moveTo>
                      <a:cubicBezTo>
                        <a:pt x="3774" y="18247"/>
                        <a:pt x="-174" y="14001"/>
                        <a:pt x="6" y="8917"/>
                      </a:cubicBezTo>
                      <a:cubicBezTo>
                        <a:pt x="185" y="3833"/>
                        <a:pt x="4372" y="-174"/>
                        <a:pt x="9455" y="6"/>
                      </a:cubicBezTo>
                      <a:cubicBezTo>
                        <a:pt x="14539" y="185"/>
                        <a:pt x="18486" y="4431"/>
                        <a:pt x="18307" y="9515"/>
                      </a:cubicBezTo>
                      <a:cubicBezTo>
                        <a:pt x="18128" y="14599"/>
                        <a:pt x="13882" y="18606"/>
                        <a:pt x="8857" y="18426"/>
                      </a:cubicBezTo>
                      <a:close/>
                    </a:path>
                  </a:pathLst>
                </a:custGeom>
                <a:grpFill/>
                <a:ln w="5978" cap="flat">
                  <a:noFill/>
                  <a:prstDash val="solid"/>
                  <a:miter/>
                </a:ln>
              </p:spPr>
              <p:txBody>
                <a:bodyPr rtlCol="0" anchor="ctr"/>
                <a:lstStyle/>
                <a:p>
                  <a:endParaRPr lang="en-GB"/>
                </a:p>
              </p:txBody>
            </p:sp>
            <p:sp>
              <p:nvSpPr>
                <p:cNvPr id="5335" name="Vrije vorm: vorm 5334">
                  <a:extLst>
                    <a:ext uri="{FF2B5EF4-FFF2-40B4-BE49-F238E27FC236}">
                      <a16:creationId xmlns:a16="http://schemas.microsoft.com/office/drawing/2014/main" id="{0A636427-7638-44BA-94A0-9CB859027C62}"/>
                    </a:ext>
                  </a:extLst>
                </p:cNvPr>
                <p:cNvSpPr/>
                <p:nvPr/>
              </p:nvSpPr>
              <p:spPr>
                <a:xfrm>
                  <a:off x="8893586" y="3430397"/>
                  <a:ext cx="18312" cy="18432"/>
                </a:xfrm>
                <a:custGeom>
                  <a:avLst/>
                  <a:gdLst>
                    <a:gd name="connsiteX0" fmla="*/ 8857 w 18312"/>
                    <a:gd name="connsiteY0" fmla="*/ 18427 h 18432"/>
                    <a:gd name="connsiteX1" fmla="*/ 18307 w 18312"/>
                    <a:gd name="connsiteY1" fmla="*/ 9515 h 18432"/>
                    <a:gd name="connsiteX2" fmla="*/ 9456 w 18312"/>
                    <a:gd name="connsiteY2" fmla="*/ 6 h 18432"/>
                    <a:gd name="connsiteX3" fmla="*/ 6 w 18312"/>
                    <a:gd name="connsiteY3" fmla="*/ 8917 h 18432"/>
                    <a:gd name="connsiteX4" fmla="*/ 8857 w 1831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8857" y="18427"/>
                      </a:moveTo>
                      <a:cubicBezTo>
                        <a:pt x="13941" y="18606"/>
                        <a:pt x="18128" y="14599"/>
                        <a:pt x="18307" y="9515"/>
                      </a:cubicBezTo>
                      <a:cubicBezTo>
                        <a:pt x="18487" y="4432"/>
                        <a:pt x="14479" y="185"/>
                        <a:pt x="9456" y="6"/>
                      </a:cubicBezTo>
                      <a:cubicBezTo>
                        <a:pt x="4372" y="-174"/>
                        <a:pt x="185" y="3834"/>
                        <a:pt x="6" y="8917"/>
                      </a:cubicBezTo>
                      <a:cubicBezTo>
                        <a:pt x="-173" y="14001"/>
                        <a:pt x="3834" y="18247"/>
                        <a:pt x="8857" y="18427"/>
                      </a:cubicBezTo>
                      <a:close/>
                    </a:path>
                  </a:pathLst>
                </a:custGeom>
                <a:grpFill/>
                <a:ln w="5978" cap="flat">
                  <a:noFill/>
                  <a:prstDash val="solid"/>
                  <a:miter/>
                </a:ln>
              </p:spPr>
              <p:txBody>
                <a:bodyPr rtlCol="0" anchor="ctr"/>
                <a:lstStyle/>
                <a:p>
                  <a:endParaRPr lang="en-GB"/>
                </a:p>
              </p:txBody>
            </p:sp>
          </p:grpSp>
          <p:grpSp>
            <p:nvGrpSpPr>
              <p:cNvPr id="13" name="Graphic 3">
                <a:extLst>
                  <a:ext uri="{FF2B5EF4-FFF2-40B4-BE49-F238E27FC236}">
                    <a16:creationId xmlns:a16="http://schemas.microsoft.com/office/drawing/2014/main" id="{C8FEB63B-87C1-4947-B62C-AABFF98A9522}"/>
                  </a:ext>
                </a:extLst>
              </p:cNvPr>
              <p:cNvGrpSpPr/>
              <p:nvPr/>
            </p:nvGrpSpPr>
            <p:grpSpPr>
              <a:xfrm>
                <a:off x="7539283" y="1562800"/>
                <a:ext cx="256641" cy="272331"/>
                <a:chOff x="7539283" y="1562800"/>
                <a:chExt cx="256641" cy="272331"/>
              </a:xfrm>
              <a:grpFill/>
            </p:grpSpPr>
            <p:sp>
              <p:nvSpPr>
                <p:cNvPr id="5330" name="Vrije vorm: vorm 5329">
                  <a:extLst>
                    <a:ext uri="{FF2B5EF4-FFF2-40B4-BE49-F238E27FC236}">
                      <a16:creationId xmlns:a16="http://schemas.microsoft.com/office/drawing/2014/main" id="{BE7651F9-797A-4860-8388-7D711F28E73B}"/>
                    </a:ext>
                  </a:extLst>
                </p:cNvPr>
                <p:cNvSpPr/>
                <p:nvPr/>
              </p:nvSpPr>
              <p:spPr>
                <a:xfrm>
                  <a:off x="7547032" y="1570578"/>
                  <a:ext cx="241083" cy="256692"/>
                </a:xfrm>
                <a:custGeom>
                  <a:avLst/>
                  <a:gdLst>
                    <a:gd name="connsiteX0" fmla="*/ 241083 w 241083"/>
                    <a:gd name="connsiteY0" fmla="*/ 2153 h 256692"/>
                    <a:gd name="connsiteX1" fmla="*/ 2214 w 241083"/>
                    <a:gd name="connsiteY1" fmla="*/ 256693 h 256692"/>
                    <a:gd name="connsiteX2" fmla="*/ 0 w 241083"/>
                    <a:gd name="connsiteY2" fmla="*/ 254599 h 256692"/>
                    <a:gd name="connsiteX3" fmla="*/ 238870 w 241083"/>
                    <a:gd name="connsiteY3" fmla="*/ 0 h 256692"/>
                  </a:gdLst>
                  <a:ahLst/>
                  <a:cxnLst>
                    <a:cxn ang="0">
                      <a:pos x="connsiteX0" y="connsiteY0"/>
                    </a:cxn>
                    <a:cxn ang="0">
                      <a:pos x="connsiteX1" y="connsiteY1"/>
                    </a:cxn>
                    <a:cxn ang="0">
                      <a:pos x="connsiteX2" y="connsiteY2"/>
                    </a:cxn>
                    <a:cxn ang="0">
                      <a:pos x="connsiteX3" y="connsiteY3"/>
                    </a:cxn>
                  </a:cxnLst>
                  <a:rect l="l" t="t" r="r" b="b"/>
                  <a:pathLst>
                    <a:path w="241083" h="256692">
                      <a:moveTo>
                        <a:pt x="241083" y="2153"/>
                      </a:moveTo>
                      <a:lnTo>
                        <a:pt x="2214" y="256693"/>
                      </a:lnTo>
                      <a:lnTo>
                        <a:pt x="0" y="254599"/>
                      </a:lnTo>
                      <a:lnTo>
                        <a:pt x="238870" y="0"/>
                      </a:lnTo>
                      <a:close/>
                    </a:path>
                  </a:pathLst>
                </a:custGeom>
                <a:grpFill/>
                <a:ln w="5978" cap="flat">
                  <a:noFill/>
                  <a:prstDash val="solid"/>
                  <a:miter/>
                </a:ln>
              </p:spPr>
              <p:txBody>
                <a:bodyPr rtlCol="0" anchor="ctr"/>
                <a:lstStyle/>
                <a:p>
                  <a:endParaRPr lang="en-GB"/>
                </a:p>
              </p:txBody>
            </p:sp>
            <p:sp>
              <p:nvSpPr>
                <p:cNvPr id="5331" name="Vrije vorm: vorm 5330">
                  <a:extLst>
                    <a:ext uri="{FF2B5EF4-FFF2-40B4-BE49-F238E27FC236}">
                      <a16:creationId xmlns:a16="http://schemas.microsoft.com/office/drawing/2014/main" id="{B24298B6-6085-4377-BBB0-DCFCAB1A0571}"/>
                    </a:ext>
                  </a:extLst>
                </p:cNvPr>
                <p:cNvSpPr/>
                <p:nvPr/>
              </p:nvSpPr>
              <p:spPr>
                <a:xfrm>
                  <a:off x="7777555" y="1562800"/>
                  <a:ext cx="18370" cy="18426"/>
                </a:xfrm>
                <a:custGeom>
                  <a:avLst/>
                  <a:gdLst>
                    <a:gd name="connsiteX0" fmla="*/ 2487 w 18370"/>
                    <a:gd name="connsiteY0" fmla="*/ 2874 h 18426"/>
                    <a:gd name="connsiteX1" fmla="*/ 15465 w 18370"/>
                    <a:gd name="connsiteY1" fmla="*/ 2515 h 18426"/>
                    <a:gd name="connsiteX2" fmla="*/ 15884 w 18370"/>
                    <a:gd name="connsiteY2" fmla="*/ 15553 h 18426"/>
                    <a:gd name="connsiteX3" fmla="*/ 2905 w 18370"/>
                    <a:gd name="connsiteY3" fmla="*/ 15912 h 18426"/>
                    <a:gd name="connsiteX4" fmla="*/ 2487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7" y="2874"/>
                      </a:moveTo>
                      <a:cubicBezTo>
                        <a:pt x="5956" y="-834"/>
                        <a:pt x="11757" y="-954"/>
                        <a:pt x="15465" y="2515"/>
                      </a:cubicBezTo>
                      <a:cubicBezTo>
                        <a:pt x="19173" y="6043"/>
                        <a:pt x="19352" y="11845"/>
                        <a:pt x="15884" y="15553"/>
                      </a:cubicBezTo>
                      <a:cubicBezTo>
                        <a:pt x="12415" y="19261"/>
                        <a:pt x="6613" y="19380"/>
                        <a:pt x="2905" y="15912"/>
                      </a:cubicBezTo>
                      <a:cubicBezTo>
                        <a:pt x="-803" y="12383"/>
                        <a:pt x="-982" y="6522"/>
                        <a:pt x="2487" y="2874"/>
                      </a:cubicBezTo>
                      <a:close/>
                    </a:path>
                  </a:pathLst>
                </a:custGeom>
                <a:grpFill/>
                <a:ln w="5978" cap="flat">
                  <a:noFill/>
                  <a:prstDash val="solid"/>
                  <a:miter/>
                </a:ln>
              </p:spPr>
              <p:txBody>
                <a:bodyPr rtlCol="0" anchor="ctr"/>
                <a:lstStyle/>
                <a:p>
                  <a:endParaRPr lang="en-GB"/>
                </a:p>
              </p:txBody>
            </p:sp>
            <p:sp>
              <p:nvSpPr>
                <p:cNvPr id="5332" name="Vrije vorm: vorm 5331">
                  <a:extLst>
                    <a:ext uri="{FF2B5EF4-FFF2-40B4-BE49-F238E27FC236}">
                      <a16:creationId xmlns:a16="http://schemas.microsoft.com/office/drawing/2014/main" id="{E2502148-BCAD-4265-AC16-A87BB6AB0DD3}"/>
                    </a:ext>
                  </a:extLst>
                </p:cNvPr>
                <p:cNvSpPr/>
                <p:nvPr/>
              </p:nvSpPr>
              <p:spPr>
                <a:xfrm>
                  <a:off x="7539283" y="1816658"/>
                  <a:ext cx="18370" cy="18472"/>
                </a:xfrm>
                <a:custGeom>
                  <a:avLst/>
                  <a:gdLst>
                    <a:gd name="connsiteX0" fmla="*/ 2487 w 18370"/>
                    <a:gd name="connsiteY0" fmla="*/ 2897 h 18472"/>
                    <a:gd name="connsiteX1" fmla="*/ 2905 w 18370"/>
                    <a:gd name="connsiteY1" fmla="*/ 15935 h 18472"/>
                    <a:gd name="connsiteX2" fmla="*/ 15884 w 18370"/>
                    <a:gd name="connsiteY2" fmla="*/ 15576 h 18472"/>
                    <a:gd name="connsiteX3" fmla="*/ 15465 w 18370"/>
                    <a:gd name="connsiteY3" fmla="*/ 2538 h 18472"/>
                    <a:gd name="connsiteX4" fmla="*/ 2487 w 18370"/>
                    <a:gd name="connsiteY4" fmla="*/ 2897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72">
                      <a:moveTo>
                        <a:pt x="2487" y="2897"/>
                      </a:moveTo>
                      <a:cubicBezTo>
                        <a:pt x="-982" y="6605"/>
                        <a:pt x="-803" y="12406"/>
                        <a:pt x="2905" y="15935"/>
                      </a:cubicBezTo>
                      <a:cubicBezTo>
                        <a:pt x="6613" y="19464"/>
                        <a:pt x="12414" y="19284"/>
                        <a:pt x="15884" y="15576"/>
                      </a:cubicBezTo>
                      <a:cubicBezTo>
                        <a:pt x="19352" y="11868"/>
                        <a:pt x="19173" y="6067"/>
                        <a:pt x="15465" y="2538"/>
                      </a:cubicBezTo>
                      <a:cubicBezTo>
                        <a:pt x="11757" y="-991"/>
                        <a:pt x="5956" y="-811"/>
                        <a:pt x="2487" y="2897"/>
                      </a:cubicBezTo>
                      <a:close/>
                    </a:path>
                  </a:pathLst>
                </a:custGeom>
                <a:grpFill/>
                <a:ln w="5978" cap="flat">
                  <a:noFill/>
                  <a:prstDash val="solid"/>
                  <a:miter/>
                </a:ln>
              </p:spPr>
              <p:txBody>
                <a:bodyPr rtlCol="0" anchor="ctr"/>
                <a:lstStyle/>
                <a:p>
                  <a:endParaRPr lang="en-GB"/>
                </a:p>
              </p:txBody>
            </p:sp>
          </p:grpSp>
          <p:grpSp>
            <p:nvGrpSpPr>
              <p:cNvPr id="14" name="Graphic 3">
                <a:extLst>
                  <a:ext uri="{FF2B5EF4-FFF2-40B4-BE49-F238E27FC236}">
                    <a16:creationId xmlns:a16="http://schemas.microsoft.com/office/drawing/2014/main" id="{165908B4-087E-42DD-98D5-812C13F8ECBC}"/>
                  </a:ext>
                </a:extLst>
              </p:cNvPr>
              <p:cNvGrpSpPr/>
              <p:nvPr/>
            </p:nvGrpSpPr>
            <p:grpSpPr>
              <a:xfrm>
                <a:off x="7874988" y="2991452"/>
                <a:ext cx="483836" cy="102862"/>
                <a:chOff x="7874988" y="2991452"/>
                <a:chExt cx="483836" cy="102862"/>
              </a:xfrm>
              <a:grpFill/>
            </p:grpSpPr>
            <p:sp>
              <p:nvSpPr>
                <p:cNvPr id="5327" name="Vrije vorm: vorm 5326">
                  <a:extLst>
                    <a:ext uri="{FF2B5EF4-FFF2-40B4-BE49-F238E27FC236}">
                      <a16:creationId xmlns:a16="http://schemas.microsoft.com/office/drawing/2014/main" id="{E04FD85D-13DA-469E-8C87-FA8EDA0705E8}"/>
                    </a:ext>
                  </a:extLst>
                </p:cNvPr>
                <p:cNvSpPr/>
                <p:nvPr/>
              </p:nvSpPr>
              <p:spPr>
                <a:xfrm>
                  <a:off x="7883389" y="2999073"/>
                  <a:ext cx="466974" cy="87617"/>
                </a:xfrm>
                <a:custGeom>
                  <a:avLst/>
                  <a:gdLst>
                    <a:gd name="connsiteX0" fmla="*/ 466377 w 466974"/>
                    <a:gd name="connsiteY0" fmla="*/ 0 h 87617"/>
                    <a:gd name="connsiteX1" fmla="*/ 466975 w 466974"/>
                    <a:gd name="connsiteY1" fmla="*/ 2990 h 87617"/>
                    <a:gd name="connsiteX2" fmla="*/ 538 w 466974"/>
                    <a:gd name="connsiteY2" fmla="*/ 87618 h 87617"/>
                    <a:gd name="connsiteX3" fmla="*/ 0 w 466974"/>
                    <a:gd name="connsiteY3" fmla="*/ 84627 h 87617"/>
                  </a:gdLst>
                  <a:ahLst/>
                  <a:cxnLst>
                    <a:cxn ang="0">
                      <a:pos x="connsiteX0" y="connsiteY0"/>
                    </a:cxn>
                    <a:cxn ang="0">
                      <a:pos x="connsiteX1" y="connsiteY1"/>
                    </a:cxn>
                    <a:cxn ang="0">
                      <a:pos x="connsiteX2" y="connsiteY2"/>
                    </a:cxn>
                    <a:cxn ang="0">
                      <a:pos x="connsiteX3" y="connsiteY3"/>
                    </a:cxn>
                  </a:cxnLst>
                  <a:rect l="l" t="t" r="r" b="b"/>
                  <a:pathLst>
                    <a:path w="466974" h="87617">
                      <a:moveTo>
                        <a:pt x="466377" y="0"/>
                      </a:moveTo>
                      <a:lnTo>
                        <a:pt x="466975" y="2990"/>
                      </a:lnTo>
                      <a:lnTo>
                        <a:pt x="538" y="87618"/>
                      </a:lnTo>
                      <a:lnTo>
                        <a:pt x="0" y="84627"/>
                      </a:lnTo>
                      <a:close/>
                    </a:path>
                  </a:pathLst>
                </a:custGeom>
                <a:grpFill/>
                <a:ln w="5978" cap="flat">
                  <a:noFill/>
                  <a:prstDash val="solid"/>
                  <a:miter/>
                </a:ln>
              </p:spPr>
              <p:txBody>
                <a:bodyPr rtlCol="0" anchor="ctr"/>
                <a:lstStyle/>
                <a:p>
                  <a:endParaRPr lang="en-GB"/>
                </a:p>
              </p:txBody>
            </p:sp>
            <p:sp>
              <p:nvSpPr>
                <p:cNvPr id="5328" name="Vrije vorm: vorm 5327">
                  <a:extLst>
                    <a:ext uri="{FF2B5EF4-FFF2-40B4-BE49-F238E27FC236}">
                      <a16:creationId xmlns:a16="http://schemas.microsoft.com/office/drawing/2014/main" id="{69E2E0E5-0901-4CE5-84B1-CC06DE377872}"/>
                    </a:ext>
                  </a:extLst>
                </p:cNvPr>
                <p:cNvSpPr/>
                <p:nvPr/>
              </p:nvSpPr>
              <p:spPr>
                <a:xfrm>
                  <a:off x="8340449" y="2991452"/>
                  <a:ext cx="18374" cy="18412"/>
                </a:xfrm>
                <a:custGeom>
                  <a:avLst/>
                  <a:gdLst>
                    <a:gd name="connsiteX0" fmla="*/ 7522 w 18374"/>
                    <a:gd name="connsiteY0" fmla="*/ 145 h 18412"/>
                    <a:gd name="connsiteX1" fmla="*/ 18227 w 18374"/>
                    <a:gd name="connsiteY1" fmla="*/ 7561 h 18412"/>
                    <a:gd name="connsiteX2" fmla="*/ 10871 w 18374"/>
                    <a:gd name="connsiteY2" fmla="*/ 18267 h 18412"/>
                    <a:gd name="connsiteX3" fmla="*/ 166 w 18374"/>
                    <a:gd name="connsiteY3" fmla="*/ 10851 h 18412"/>
                    <a:gd name="connsiteX4" fmla="*/ 7522 w 18374"/>
                    <a:gd name="connsiteY4" fmla="*/ 145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12">
                      <a:moveTo>
                        <a:pt x="7522" y="145"/>
                      </a:moveTo>
                      <a:cubicBezTo>
                        <a:pt x="12485" y="-752"/>
                        <a:pt x="17270" y="2598"/>
                        <a:pt x="18227" y="7561"/>
                      </a:cubicBezTo>
                      <a:cubicBezTo>
                        <a:pt x="19125" y="12585"/>
                        <a:pt x="15835" y="17370"/>
                        <a:pt x="10871" y="18267"/>
                      </a:cubicBezTo>
                      <a:cubicBezTo>
                        <a:pt x="5907" y="19164"/>
                        <a:pt x="1123" y="15815"/>
                        <a:pt x="166" y="10851"/>
                      </a:cubicBezTo>
                      <a:cubicBezTo>
                        <a:pt x="-792" y="5827"/>
                        <a:pt x="2498" y="1042"/>
                        <a:pt x="7522" y="145"/>
                      </a:cubicBezTo>
                      <a:close/>
                    </a:path>
                  </a:pathLst>
                </a:custGeom>
                <a:grpFill/>
                <a:ln w="5978" cap="flat">
                  <a:noFill/>
                  <a:prstDash val="solid"/>
                  <a:miter/>
                </a:ln>
              </p:spPr>
              <p:txBody>
                <a:bodyPr rtlCol="0" anchor="ctr"/>
                <a:lstStyle/>
                <a:p>
                  <a:endParaRPr lang="en-GB"/>
                </a:p>
              </p:txBody>
            </p:sp>
            <p:sp>
              <p:nvSpPr>
                <p:cNvPr id="5329" name="Vrije vorm: vorm 5328">
                  <a:extLst>
                    <a:ext uri="{FF2B5EF4-FFF2-40B4-BE49-F238E27FC236}">
                      <a16:creationId xmlns:a16="http://schemas.microsoft.com/office/drawing/2014/main" id="{26048E5F-8D18-4D27-988E-C234054AE0E5}"/>
                    </a:ext>
                  </a:extLst>
                </p:cNvPr>
                <p:cNvSpPr/>
                <p:nvPr/>
              </p:nvSpPr>
              <p:spPr>
                <a:xfrm>
                  <a:off x="7874988" y="3075899"/>
                  <a:ext cx="18356" cy="18414"/>
                </a:xfrm>
                <a:custGeom>
                  <a:avLst/>
                  <a:gdLst>
                    <a:gd name="connsiteX0" fmla="*/ 7504 w 18356"/>
                    <a:gd name="connsiteY0" fmla="*/ 145 h 18414"/>
                    <a:gd name="connsiteX1" fmla="*/ 147 w 18356"/>
                    <a:gd name="connsiteY1" fmla="*/ 10851 h 18414"/>
                    <a:gd name="connsiteX2" fmla="*/ 10852 w 18356"/>
                    <a:gd name="connsiteY2" fmla="*/ 18267 h 18414"/>
                    <a:gd name="connsiteX3" fmla="*/ 18209 w 18356"/>
                    <a:gd name="connsiteY3" fmla="*/ 7562 h 18414"/>
                    <a:gd name="connsiteX4" fmla="*/ 7504 w 18356"/>
                    <a:gd name="connsiteY4" fmla="*/ 14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4">
                      <a:moveTo>
                        <a:pt x="7504" y="145"/>
                      </a:moveTo>
                      <a:cubicBezTo>
                        <a:pt x="2539" y="1042"/>
                        <a:pt x="-750" y="5827"/>
                        <a:pt x="147" y="10851"/>
                      </a:cubicBezTo>
                      <a:cubicBezTo>
                        <a:pt x="1044" y="15875"/>
                        <a:pt x="5829" y="19164"/>
                        <a:pt x="10852" y="18267"/>
                      </a:cubicBezTo>
                      <a:cubicBezTo>
                        <a:pt x="15817" y="17370"/>
                        <a:pt x="19106" y="12585"/>
                        <a:pt x="18209" y="7562"/>
                      </a:cubicBezTo>
                      <a:cubicBezTo>
                        <a:pt x="17252" y="2598"/>
                        <a:pt x="12467" y="-752"/>
                        <a:pt x="7504" y="145"/>
                      </a:cubicBezTo>
                      <a:close/>
                    </a:path>
                  </a:pathLst>
                </a:custGeom>
                <a:grpFill/>
                <a:ln w="5978" cap="flat">
                  <a:noFill/>
                  <a:prstDash val="solid"/>
                  <a:miter/>
                </a:ln>
              </p:spPr>
              <p:txBody>
                <a:bodyPr rtlCol="0" anchor="ctr"/>
                <a:lstStyle/>
                <a:p>
                  <a:endParaRPr lang="en-GB"/>
                </a:p>
              </p:txBody>
            </p:sp>
          </p:grpSp>
          <p:grpSp>
            <p:nvGrpSpPr>
              <p:cNvPr id="15" name="Graphic 3">
                <a:extLst>
                  <a:ext uri="{FF2B5EF4-FFF2-40B4-BE49-F238E27FC236}">
                    <a16:creationId xmlns:a16="http://schemas.microsoft.com/office/drawing/2014/main" id="{CD7B65CF-F9D4-4A21-9722-6EB663EE2F88}"/>
                  </a:ext>
                </a:extLst>
              </p:cNvPr>
              <p:cNvGrpSpPr/>
              <p:nvPr/>
            </p:nvGrpSpPr>
            <p:grpSpPr>
              <a:xfrm>
                <a:off x="7855213" y="2612713"/>
                <a:ext cx="276346" cy="117644"/>
                <a:chOff x="7855213" y="2612713"/>
                <a:chExt cx="276346" cy="117644"/>
              </a:xfrm>
              <a:grpFill/>
            </p:grpSpPr>
            <p:sp>
              <p:nvSpPr>
                <p:cNvPr id="5324" name="Vrije vorm: vorm 5323">
                  <a:extLst>
                    <a:ext uri="{FF2B5EF4-FFF2-40B4-BE49-F238E27FC236}">
                      <a16:creationId xmlns:a16="http://schemas.microsoft.com/office/drawing/2014/main" id="{92324759-FACB-4A03-84AD-B6BB75695E33}"/>
                    </a:ext>
                  </a:extLst>
                </p:cNvPr>
                <p:cNvSpPr/>
                <p:nvPr/>
              </p:nvSpPr>
              <p:spPr>
                <a:xfrm>
                  <a:off x="7863156" y="2620137"/>
                  <a:ext cx="259923" cy="102406"/>
                </a:xfrm>
                <a:custGeom>
                  <a:avLst/>
                  <a:gdLst>
                    <a:gd name="connsiteX0" fmla="*/ 0 w 259923"/>
                    <a:gd name="connsiteY0" fmla="*/ 99560 h 102406"/>
                    <a:gd name="connsiteX1" fmla="*/ 258829 w 259923"/>
                    <a:gd name="connsiteY1" fmla="*/ 0 h 102406"/>
                    <a:gd name="connsiteX2" fmla="*/ 259924 w 259923"/>
                    <a:gd name="connsiteY2" fmla="*/ 2847 h 102406"/>
                    <a:gd name="connsiteX3" fmla="*/ 1095 w 259923"/>
                    <a:gd name="connsiteY3" fmla="*/ 102407 h 102406"/>
                  </a:gdLst>
                  <a:ahLst/>
                  <a:cxnLst>
                    <a:cxn ang="0">
                      <a:pos x="connsiteX0" y="connsiteY0"/>
                    </a:cxn>
                    <a:cxn ang="0">
                      <a:pos x="connsiteX1" y="connsiteY1"/>
                    </a:cxn>
                    <a:cxn ang="0">
                      <a:pos x="connsiteX2" y="connsiteY2"/>
                    </a:cxn>
                    <a:cxn ang="0">
                      <a:pos x="connsiteX3" y="connsiteY3"/>
                    </a:cxn>
                  </a:cxnLst>
                  <a:rect l="l" t="t" r="r" b="b"/>
                  <a:pathLst>
                    <a:path w="259923" h="102406">
                      <a:moveTo>
                        <a:pt x="0" y="99560"/>
                      </a:moveTo>
                      <a:lnTo>
                        <a:pt x="258829" y="0"/>
                      </a:lnTo>
                      <a:lnTo>
                        <a:pt x="259924" y="2847"/>
                      </a:lnTo>
                      <a:lnTo>
                        <a:pt x="1095" y="102407"/>
                      </a:lnTo>
                      <a:close/>
                    </a:path>
                  </a:pathLst>
                </a:custGeom>
                <a:grpFill/>
                <a:ln w="5978" cap="flat">
                  <a:noFill/>
                  <a:prstDash val="solid"/>
                  <a:miter/>
                </a:ln>
              </p:spPr>
              <p:txBody>
                <a:bodyPr rtlCol="0" anchor="ctr"/>
                <a:lstStyle/>
                <a:p>
                  <a:endParaRPr lang="en-GB"/>
                </a:p>
              </p:txBody>
            </p:sp>
            <p:sp>
              <p:nvSpPr>
                <p:cNvPr id="5325" name="Vrije vorm: vorm 5324">
                  <a:extLst>
                    <a:ext uri="{FF2B5EF4-FFF2-40B4-BE49-F238E27FC236}">
                      <a16:creationId xmlns:a16="http://schemas.microsoft.com/office/drawing/2014/main" id="{24BB863D-2E52-4A6E-9CB8-A3B777C89CBA}"/>
                    </a:ext>
                  </a:extLst>
                </p:cNvPr>
                <p:cNvSpPr/>
                <p:nvPr/>
              </p:nvSpPr>
              <p:spPr>
                <a:xfrm>
                  <a:off x="8113197" y="2612713"/>
                  <a:ext cx="18362" cy="18431"/>
                </a:xfrm>
                <a:custGeom>
                  <a:avLst/>
                  <a:gdLst>
                    <a:gd name="connsiteX0" fmla="*/ 5892 w 18362"/>
                    <a:gd name="connsiteY0" fmla="*/ 603 h 18431"/>
                    <a:gd name="connsiteX1" fmla="*/ 17733 w 18362"/>
                    <a:gd name="connsiteY1" fmla="*/ 5926 h 18431"/>
                    <a:gd name="connsiteX2" fmla="*/ 12470 w 18362"/>
                    <a:gd name="connsiteY2" fmla="*/ 17828 h 18431"/>
                    <a:gd name="connsiteX3" fmla="*/ 628 w 18362"/>
                    <a:gd name="connsiteY3" fmla="*/ 12505 h 18431"/>
                    <a:gd name="connsiteX4" fmla="*/ 5892 w 18362"/>
                    <a:gd name="connsiteY4" fmla="*/ 603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31">
                      <a:moveTo>
                        <a:pt x="5892" y="603"/>
                      </a:moveTo>
                      <a:cubicBezTo>
                        <a:pt x="10617" y="-1191"/>
                        <a:pt x="15939" y="1142"/>
                        <a:pt x="17733" y="5926"/>
                      </a:cubicBezTo>
                      <a:cubicBezTo>
                        <a:pt x="19588" y="10651"/>
                        <a:pt x="17195" y="16034"/>
                        <a:pt x="12470" y="17828"/>
                      </a:cubicBezTo>
                      <a:cubicBezTo>
                        <a:pt x="7746" y="19622"/>
                        <a:pt x="2423" y="17290"/>
                        <a:pt x="628" y="12505"/>
                      </a:cubicBezTo>
                      <a:cubicBezTo>
                        <a:pt x="-1225" y="7721"/>
                        <a:pt x="1167" y="2398"/>
                        <a:pt x="5892" y="603"/>
                      </a:cubicBezTo>
                      <a:close/>
                    </a:path>
                  </a:pathLst>
                </a:custGeom>
                <a:grpFill/>
                <a:ln w="5978" cap="flat">
                  <a:noFill/>
                  <a:prstDash val="solid"/>
                  <a:miter/>
                </a:ln>
              </p:spPr>
              <p:txBody>
                <a:bodyPr rtlCol="0" anchor="ctr"/>
                <a:lstStyle/>
                <a:p>
                  <a:endParaRPr lang="en-GB"/>
                </a:p>
              </p:txBody>
            </p:sp>
            <p:sp>
              <p:nvSpPr>
                <p:cNvPr id="5326" name="Vrije vorm: vorm 5325">
                  <a:extLst>
                    <a:ext uri="{FF2B5EF4-FFF2-40B4-BE49-F238E27FC236}">
                      <a16:creationId xmlns:a16="http://schemas.microsoft.com/office/drawing/2014/main" id="{66F71B95-882A-4A90-889B-C37B621DECAE}"/>
                    </a:ext>
                  </a:extLst>
                </p:cNvPr>
                <p:cNvSpPr/>
                <p:nvPr/>
              </p:nvSpPr>
              <p:spPr>
                <a:xfrm>
                  <a:off x="7855213" y="2711933"/>
                  <a:ext cx="18313" cy="18424"/>
                </a:xfrm>
                <a:custGeom>
                  <a:avLst/>
                  <a:gdLst>
                    <a:gd name="connsiteX0" fmla="*/ 5867 w 18313"/>
                    <a:gd name="connsiteY0" fmla="*/ 603 h 18424"/>
                    <a:gd name="connsiteX1" fmla="*/ 604 w 18313"/>
                    <a:gd name="connsiteY1" fmla="*/ 12505 h 18424"/>
                    <a:gd name="connsiteX2" fmla="*/ 12446 w 18313"/>
                    <a:gd name="connsiteY2" fmla="*/ 17828 h 18424"/>
                    <a:gd name="connsiteX3" fmla="*/ 17710 w 18313"/>
                    <a:gd name="connsiteY3" fmla="*/ 5926 h 18424"/>
                    <a:gd name="connsiteX4" fmla="*/ 5867 w 18313"/>
                    <a:gd name="connsiteY4" fmla="*/ 60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4">
                      <a:moveTo>
                        <a:pt x="5867" y="603"/>
                      </a:moveTo>
                      <a:cubicBezTo>
                        <a:pt x="1143" y="2398"/>
                        <a:pt x="-1190" y="7721"/>
                        <a:pt x="604" y="12505"/>
                      </a:cubicBezTo>
                      <a:cubicBezTo>
                        <a:pt x="2399" y="17230"/>
                        <a:pt x="7721" y="19622"/>
                        <a:pt x="12446" y="17828"/>
                      </a:cubicBezTo>
                      <a:cubicBezTo>
                        <a:pt x="17171" y="16034"/>
                        <a:pt x="19503" y="10711"/>
                        <a:pt x="17710" y="5926"/>
                      </a:cubicBezTo>
                      <a:cubicBezTo>
                        <a:pt x="15915" y="1142"/>
                        <a:pt x="10592" y="-1191"/>
                        <a:pt x="5867" y="603"/>
                      </a:cubicBezTo>
                      <a:close/>
                    </a:path>
                  </a:pathLst>
                </a:custGeom>
                <a:grpFill/>
                <a:ln w="5978" cap="flat">
                  <a:noFill/>
                  <a:prstDash val="solid"/>
                  <a:miter/>
                </a:ln>
              </p:spPr>
              <p:txBody>
                <a:bodyPr rtlCol="0" anchor="ctr"/>
                <a:lstStyle/>
                <a:p>
                  <a:endParaRPr lang="en-GB"/>
                </a:p>
              </p:txBody>
            </p:sp>
          </p:grpSp>
          <p:grpSp>
            <p:nvGrpSpPr>
              <p:cNvPr id="16" name="Graphic 3">
                <a:extLst>
                  <a:ext uri="{FF2B5EF4-FFF2-40B4-BE49-F238E27FC236}">
                    <a16:creationId xmlns:a16="http://schemas.microsoft.com/office/drawing/2014/main" id="{E5246265-49A0-427E-8BDD-18524958F805}"/>
                  </a:ext>
                </a:extLst>
              </p:cNvPr>
              <p:cNvGrpSpPr/>
              <p:nvPr/>
            </p:nvGrpSpPr>
            <p:grpSpPr>
              <a:xfrm>
                <a:off x="7998348" y="2984771"/>
                <a:ext cx="171345" cy="49174"/>
                <a:chOff x="7998348" y="2984771"/>
                <a:chExt cx="171345" cy="49174"/>
              </a:xfrm>
              <a:grpFill/>
            </p:grpSpPr>
            <p:sp>
              <p:nvSpPr>
                <p:cNvPr id="5321" name="Vrije vorm: vorm 5320">
                  <a:extLst>
                    <a:ext uri="{FF2B5EF4-FFF2-40B4-BE49-F238E27FC236}">
                      <a16:creationId xmlns:a16="http://schemas.microsoft.com/office/drawing/2014/main" id="{00E54A8D-2049-4F0B-9DD0-357D5FCAEA5A}"/>
                    </a:ext>
                  </a:extLst>
                </p:cNvPr>
                <p:cNvSpPr/>
                <p:nvPr/>
              </p:nvSpPr>
              <p:spPr>
                <a:xfrm>
                  <a:off x="8006771" y="2992434"/>
                  <a:ext cx="154541" cy="33910"/>
                </a:xfrm>
                <a:custGeom>
                  <a:avLst/>
                  <a:gdLst>
                    <a:gd name="connsiteX0" fmla="*/ 153884 w 154541"/>
                    <a:gd name="connsiteY0" fmla="*/ 0 h 33910"/>
                    <a:gd name="connsiteX1" fmla="*/ 154542 w 154541"/>
                    <a:gd name="connsiteY1" fmla="*/ 2990 h 33910"/>
                    <a:gd name="connsiteX2" fmla="*/ 598 w 154541"/>
                    <a:gd name="connsiteY2" fmla="*/ 33911 h 33910"/>
                    <a:gd name="connsiteX3" fmla="*/ 0 w 154541"/>
                    <a:gd name="connsiteY3" fmla="*/ 30920 h 33910"/>
                  </a:gdLst>
                  <a:ahLst/>
                  <a:cxnLst>
                    <a:cxn ang="0">
                      <a:pos x="connsiteX0" y="connsiteY0"/>
                    </a:cxn>
                    <a:cxn ang="0">
                      <a:pos x="connsiteX1" y="connsiteY1"/>
                    </a:cxn>
                    <a:cxn ang="0">
                      <a:pos x="connsiteX2" y="connsiteY2"/>
                    </a:cxn>
                    <a:cxn ang="0">
                      <a:pos x="connsiteX3" y="connsiteY3"/>
                    </a:cxn>
                  </a:cxnLst>
                  <a:rect l="l" t="t" r="r" b="b"/>
                  <a:pathLst>
                    <a:path w="154541" h="33910">
                      <a:moveTo>
                        <a:pt x="153884" y="0"/>
                      </a:moveTo>
                      <a:lnTo>
                        <a:pt x="154542" y="2990"/>
                      </a:lnTo>
                      <a:lnTo>
                        <a:pt x="598" y="33911"/>
                      </a:lnTo>
                      <a:lnTo>
                        <a:pt x="0" y="30920"/>
                      </a:lnTo>
                      <a:close/>
                    </a:path>
                  </a:pathLst>
                </a:custGeom>
                <a:grpFill/>
                <a:ln w="5978" cap="flat">
                  <a:noFill/>
                  <a:prstDash val="solid"/>
                  <a:miter/>
                </a:ln>
              </p:spPr>
              <p:txBody>
                <a:bodyPr rtlCol="0" anchor="ctr"/>
                <a:lstStyle/>
                <a:p>
                  <a:endParaRPr lang="en-GB"/>
                </a:p>
              </p:txBody>
            </p:sp>
            <p:sp>
              <p:nvSpPr>
                <p:cNvPr id="5322" name="Vrije vorm: vorm 5321">
                  <a:extLst>
                    <a:ext uri="{FF2B5EF4-FFF2-40B4-BE49-F238E27FC236}">
                      <a16:creationId xmlns:a16="http://schemas.microsoft.com/office/drawing/2014/main" id="{1BE3333C-E3F9-40CB-912E-C027869BEBF0}"/>
                    </a:ext>
                  </a:extLst>
                </p:cNvPr>
                <p:cNvSpPr/>
                <p:nvPr/>
              </p:nvSpPr>
              <p:spPr>
                <a:xfrm>
                  <a:off x="8151320" y="2984771"/>
                  <a:ext cx="18373" cy="18435"/>
                </a:xfrm>
                <a:custGeom>
                  <a:avLst/>
                  <a:gdLst>
                    <a:gd name="connsiteX0" fmla="*/ 7361 w 18373"/>
                    <a:gd name="connsiteY0" fmla="*/ 187 h 18435"/>
                    <a:gd name="connsiteX1" fmla="*/ 18187 w 18373"/>
                    <a:gd name="connsiteY1" fmla="*/ 7424 h 18435"/>
                    <a:gd name="connsiteX2" fmla="*/ 11010 w 18373"/>
                    <a:gd name="connsiteY2" fmla="*/ 18249 h 18435"/>
                    <a:gd name="connsiteX3" fmla="*/ 185 w 18373"/>
                    <a:gd name="connsiteY3" fmla="*/ 11012 h 18435"/>
                    <a:gd name="connsiteX4" fmla="*/ 7361 w 18373"/>
                    <a:gd name="connsiteY4" fmla="*/ 187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35">
                      <a:moveTo>
                        <a:pt x="7361" y="187"/>
                      </a:moveTo>
                      <a:cubicBezTo>
                        <a:pt x="12326" y="-830"/>
                        <a:pt x="17170" y="2400"/>
                        <a:pt x="18187" y="7424"/>
                      </a:cubicBezTo>
                      <a:cubicBezTo>
                        <a:pt x="19203" y="12447"/>
                        <a:pt x="15974" y="17292"/>
                        <a:pt x="11010" y="18249"/>
                      </a:cubicBezTo>
                      <a:cubicBezTo>
                        <a:pt x="6046" y="19266"/>
                        <a:pt x="1202" y="16036"/>
                        <a:pt x="185" y="11012"/>
                      </a:cubicBezTo>
                      <a:cubicBezTo>
                        <a:pt x="-832" y="5988"/>
                        <a:pt x="2458" y="1204"/>
                        <a:pt x="7361" y="187"/>
                      </a:cubicBezTo>
                      <a:close/>
                    </a:path>
                  </a:pathLst>
                </a:custGeom>
                <a:grpFill/>
                <a:ln w="5978" cap="flat">
                  <a:noFill/>
                  <a:prstDash val="solid"/>
                  <a:miter/>
                </a:ln>
              </p:spPr>
              <p:txBody>
                <a:bodyPr rtlCol="0" anchor="ctr"/>
                <a:lstStyle/>
                <a:p>
                  <a:endParaRPr lang="en-GB"/>
                </a:p>
              </p:txBody>
            </p:sp>
            <p:sp>
              <p:nvSpPr>
                <p:cNvPr id="5323" name="Vrije vorm: vorm 5322">
                  <a:extLst>
                    <a:ext uri="{FF2B5EF4-FFF2-40B4-BE49-F238E27FC236}">
                      <a16:creationId xmlns:a16="http://schemas.microsoft.com/office/drawing/2014/main" id="{8B7A7F04-0F12-49C0-A1D6-1DE44E8DC681}"/>
                    </a:ext>
                  </a:extLst>
                </p:cNvPr>
                <p:cNvSpPr/>
                <p:nvPr/>
              </p:nvSpPr>
              <p:spPr>
                <a:xfrm>
                  <a:off x="7998348" y="3015531"/>
                  <a:ext cx="18341" cy="18414"/>
                </a:xfrm>
                <a:custGeom>
                  <a:avLst/>
                  <a:gdLst>
                    <a:gd name="connsiteX0" fmla="*/ 7347 w 18341"/>
                    <a:gd name="connsiteY0" fmla="*/ 168 h 18414"/>
                    <a:gd name="connsiteX1" fmla="*/ 170 w 18341"/>
                    <a:gd name="connsiteY1" fmla="*/ 10993 h 18414"/>
                    <a:gd name="connsiteX2" fmla="*/ 10995 w 18341"/>
                    <a:gd name="connsiteY2" fmla="*/ 18230 h 18414"/>
                    <a:gd name="connsiteX3" fmla="*/ 18172 w 18341"/>
                    <a:gd name="connsiteY3" fmla="*/ 7405 h 18414"/>
                    <a:gd name="connsiteX4" fmla="*/ 7347 w 18341"/>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14">
                      <a:moveTo>
                        <a:pt x="7347" y="168"/>
                      </a:moveTo>
                      <a:cubicBezTo>
                        <a:pt x="2383" y="1185"/>
                        <a:pt x="-787" y="6029"/>
                        <a:pt x="170" y="10993"/>
                      </a:cubicBezTo>
                      <a:cubicBezTo>
                        <a:pt x="1127" y="15957"/>
                        <a:pt x="6031" y="19246"/>
                        <a:pt x="10995" y="18230"/>
                      </a:cubicBezTo>
                      <a:cubicBezTo>
                        <a:pt x="15959" y="17213"/>
                        <a:pt x="19129" y="12369"/>
                        <a:pt x="18172" y="7405"/>
                      </a:cubicBezTo>
                      <a:cubicBezTo>
                        <a:pt x="17155" y="2441"/>
                        <a:pt x="12311" y="-789"/>
                        <a:pt x="7347" y="168"/>
                      </a:cubicBezTo>
                      <a:close/>
                    </a:path>
                  </a:pathLst>
                </a:custGeom>
                <a:grpFill/>
                <a:ln w="5978" cap="flat">
                  <a:noFill/>
                  <a:prstDash val="solid"/>
                  <a:miter/>
                </a:ln>
              </p:spPr>
              <p:txBody>
                <a:bodyPr rtlCol="0" anchor="ctr"/>
                <a:lstStyle/>
                <a:p>
                  <a:endParaRPr lang="en-GB"/>
                </a:p>
              </p:txBody>
            </p:sp>
          </p:grpSp>
          <p:grpSp>
            <p:nvGrpSpPr>
              <p:cNvPr id="17" name="Graphic 3">
                <a:extLst>
                  <a:ext uri="{FF2B5EF4-FFF2-40B4-BE49-F238E27FC236}">
                    <a16:creationId xmlns:a16="http://schemas.microsoft.com/office/drawing/2014/main" id="{F123963C-153D-4911-A682-642A78C390FA}"/>
                  </a:ext>
                </a:extLst>
              </p:cNvPr>
              <p:cNvGrpSpPr/>
              <p:nvPr/>
            </p:nvGrpSpPr>
            <p:grpSpPr>
              <a:xfrm>
                <a:off x="7612206" y="2073158"/>
                <a:ext cx="357364" cy="255907"/>
                <a:chOff x="7612206" y="2073158"/>
                <a:chExt cx="357364" cy="255907"/>
              </a:xfrm>
              <a:grpFill/>
            </p:grpSpPr>
            <p:sp>
              <p:nvSpPr>
                <p:cNvPr id="5318" name="Vrije vorm: vorm 5317">
                  <a:extLst>
                    <a:ext uri="{FF2B5EF4-FFF2-40B4-BE49-F238E27FC236}">
                      <a16:creationId xmlns:a16="http://schemas.microsoft.com/office/drawing/2014/main" id="{74FBC809-8968-407A-8470-7FF329E8ECB7}"/>
                    </a:ext>
                  </a:extLst>
                </p:cNvPr>
                <p:cNvSpPr/>
                <p:nvPr/>
              </p:nvSpPr>
              <p:spPr>
                <a:xfrm>
                  <a:off x="7620117" y="2080853"/>
                  <a:ext cx="341499" cy="240544"/>
                </a:xfrm>
                <a:custGeom>
                  <a:avLst/>
                  <a:gdLst>
                    <a:gd name="connsiteX0" fmla="*/ 341499 w 341499"/>
                    <a:gd name="connsiteY0" fmla="*/ 2512 h 240544"/>
                    <a:gd name="connsiteX1" fmla="*/ 1734 w 341499"/>
                    <a:gd name="connsiteY1" fmla="*/ 240545 h 240544"/>
                    <a:gd name="connsiteX2" fmla="*/ 0 w 341499"/>
                    <a:gd name="connsiteY2" fmla="*/ 238033 h 240544"/>
                    <a:gd name="connsiteX3" fmla="*/ 339764 w 341499"/>
                    <a:gd name="connsiteY3" fmla="*/ 0 h 240544"/>
                  </a:gdLst>
                  <a:ahLst/>
                  <a:cxnLst>
                    <a:cxn ang="0">
                      <a:pos x="connsiteX0" y="connsiteY0"/>
                    </a:cxn>
                    <a:cxn ang="0">
                      <a:pos x="connsiteX1" y="connsiteY1"/>
                    </a:cxn>
                    <a:cxn ang="0">
                      <a:pos x="connsiteX2" y="connsiteY2"/>
                    </a:cxn>
                    <a:cxn ang="0">
                      <a:pos x="connsiteX3" y="connsiteY3"/>
                    </a:cxn>
                  </a:cxnLst>
                  <a:rect l="l" t="t" r="r" b="b"/>
                  <a:pathLst>
                    <a:path w="341499" h="240544">
                      <a:moveTo>
                        <a:pt x="341499" y="2512"/>
                      </a:moveTo>
                      <a:lnTo>
                        <a:pt x="1734" y="240545"/>
                      </a:lnTo>
                      <a:lnTo>
                        <a:pt x="0" y="238033"/>
                      </a:lnTo>
                      <a:lnTo>
                        <a:pt x="339764" y="0"/>
                      </a:lnTo>
                      <a:close/>
                    </a:path>
                  </a:pathLst>
                </a:custGeom>
                <a:grpFill/>
                <a:ln w="5978" cap="flat">
                  <a:noFill/>
                  <a:prstDash val="solid"/>
                  <a:miter/>
                </a:ln>
              </p:spPr>
              <p:txBody>
                <a:bodyPr rtlCol="0" anchor="ctr"/>
                <a:lstStyle/>
                <a:p>
                  <a:endParaRPr lang="en-GB"/>
                </a:p>
              </p:txBody>
            </p:sp>
            <p:sp>
              <p:nvSpPr>
                <p:cNvPr id="5319" name="Vrije vorm: vorm 5318">
                  <a:extLst>
                    <a:ext uri="{FF2B5EF4-FFF2-40B4-BE49-F238E27FC236}">
                      <a16:creationId xmlns:a16="http://schemas.microsoft.com/office/drawing/2014/main" id="{0F69AC86-07E3-4069-AC7B-941336D73C6D}"/>
                    </a:ext>
                  </a:extLst>
                </p:cNvPr>
                <p:cNvSpPr/>
                <p:nvPr/>
              </p:nvSpPr>
              <p:spPr>
                <a:xfrm>
                  <a:off x="7951237" y="2073158"/>
                  <a:ext cx="18333" cy="18439"/>
                </a:xfrm>
                <a:custGeom>
                  <a:avLst/>
                  <a:gdLst>
                    <a:gd name="connsiteX0" fmla="*/ 3921 w 18333"/>
                    <a:gd name="connsiteY0" fmla="*/ 1654 h 18439"/>
                    <a:gd name="connsiteX1" fmla="*/ 16660 w 18333"/>
                    <a:gd name="connsiteY1" fmla="*/ 3987 h 18439"/>
                    <a:gd name="connsiteX2" fmla="*/ 14387 w 18333"/>
                    <a:gd name="connsiteY2" fmla="*/ 16785 h 18439"/>
                    <a:gd name="connsiteX3" fmla="*/ 1648 w 18333"/>
                    <a:gd name="connsiteY3" fmla="*/ 14453 h 18439"/>
                    <a:gd name="connsiteX4" fmla="*/ 3921 w 18333"/>
                    <a:gd name="connsiteY4" fmla="*/ 165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9">
                      <a:moveTo>
                        <a:pt x="3921" y="1654"/>
                      </a:moveTo>
                      <a:cubicBezTo>
                        <a:pt x="8047" y="-1276"/>
                        <a:pt x="13788" y="-200"/>
                        <a:pt x="16660" y="3987"/>
                      </a:cubicBezTo>
                      <a:cubicBezTo>
                        <a:pt x="19590" y="8173"/>
                        <a:pt x="18573" y="13915"/>
                        <a:pt x="14387" y="16785"/>
                      </a:cubicBezTo>
                      <a:cubicBezTo>
                        <a:pt x="10260" y="19716"/>
                        <a:pt x="4519" y="18639"/>
                        <a:pt x="1648" y="14453"/>
                      </a:cubicBezTo>
                      <a:cubicBezTo>
                        <a:pt x="-1223" y="10326"/>
                        <a:pt x="-266" y="4585"/>
                        <a:pt x="3921" y="1654"/>
                      </a:cubicBezTo>
                      <a:close/>
                    </a:path>
                  </a:pathLst>
                </a:custGeom>
                <a:grpFill/>
                <a:ln w="5978" cap="flat">
                  <a:noFill/>
                  <a:prstDash val="solid"/>
                  <a:miter/>
                </a:ln>
              </p:spPr>
              <p:txBody>
                <a:bodyPr rtlCol="0" anchor="ctr"/>
                <a:lstStyle/>
                <a:p>
                  <a:endParaRPr lang="en-GB"/>
                </a:p>
              </p:txBody>
            </p:sp>
            <p:sp>
              <p:nvSpPr>
                <p:cNvPr id="5320" name="Vrije vorm: vorm 5319">
                  <a:extLst>
                    <a:ext uri="{FF2B5EF4-FFF2-40B4-BE49-F238E27FC236}">
                      <a16:creationId xmlns:a16="http://schemas.microsoft.com/office/drawing/2014/main" id="{6BD8397A-7974-4CF2-BE03-C5C0AE42EB15}"/>
                    </a:ext>
                  </a:extLst>
                </p:cNvPr>
                <p:cNvSpPr/>
                <p:nvPr/>
              </p:nvSpPr>
              <p:spPr>
                <a:xfrm>
                  <a:off x="7612206" y="2310679"/>
                  <a:ext cx="18274" cy="18387"/>
                </a:xfrm>
                <a:custGeom>
                  <a:avLst/>
                  <a:gdLst>
                    <a:gd name="connsiteX0" fmla="*/ 3904 w 18274"/>
                    <a:gd name="connsiteY0" fmla="*/ 1628 h 18387"/>
                    <a:gd name="connsiteX1" fmla="*/ 1631 w 18274"/>
                    <a:gd name="connsiteY1" fmla="*/ 14427 h 18387"/>
                    <a:gd name="connsiteX2" fmla="*/ 14370 w 18274"/>
                    <a:gd name="connsiteY2" fmla="*/ 16759 h 18387"/>
                    <a:gd name="connsiteX3" fmla="*/ 16643 w 18274"/>
                    <a:gd name="connsiteY3" fmla="*/ 3960 h 18387"/>
                    <a:gd name="connsiteX4" fmla="*/ 3904 w 18274"/>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3904" y="1628"/>
                      </a:moveTo>
                      <a:cubicBezTo>
                        <a:pt x="-222" y="4559"/>
                        <a:pt x="-1239" y="10300"/>
                        <a:pt x="1631" y="14427"/>
                      </a:cubicBezTo>
                      <a:cubicBezTo>
                        <a:pt x="4562" y="18613"/>
                        <a:pt x="10244" y="19630"/>
                        <a:pt x="14370" y="16759"/>
                      </a:cubicBezTo>
                      <a:cubicBezTo>
                        <a:pt x="18497" y="13829"/>
                        <a:pt x="19514" y="8087"/>
                        <a:pt x="16643" y="3960"/>
                      </a:cubicBezTo>
                      <a:cubicBezTo>
                        <a:pt x="13772" y="-226"/>
                        <a:pt x="8031" y="-1243"/>
                        <a:pt x="3904" y="1628"/>
                      </a:cubicBezTo>
                      <a:close/>
                    </a:path>
                  </a:pathLst>
                </a:custGeom>
                <a:grpFill/>
                <a:ln w="5978" cap="flat">
                  <a:noFill/>
                  <a:prstDash val="solid"/>
                  <a:miter/>
                </a:ln>
              </p:spPr>
              <p:txBody>
                <a:bodyPr rtlCol="0" anchor="ctr"/>
                <a:lstStyle/>
                <a:p>
                  <a:endParaRPr lang="en-GB"/>
                </a:p>
              </p:txBody>
            </p:sp>
          </p:grpSp>
          <p:grpSp>
            <p:nvGrpSpPr>
              <p:cNvPr id="18" name="Graphic 3">
                <a:extLst>
                  <a:ext uri="{FF2B5EF4-FFF2-40B4-BE49-F238E27FC236}">
                    <a16:creationId xmlns:a16="http://schemas.microsoft.com/office/drawing/2014/main" id="{49C932BA-BBD4-4D00-8561-A6FDB08FBDA7}"/>
                  </a:ext>
                </a:extLst>
              </p:cNvPr>
              <p:cNvGrpSpPr/>
              <p:nvPr/>
            </p:nvGrpSpPr>
            <p:grpSpPr>
              <a:xfrm>
                <a:off x="7962514" y="3423165"/>
                <a:ext cx="503038" cy="22308"/>
                <a:chOff x="7962514" y="3423165"/>
                <a:chExt cx="503038" cy="22308"/>
              </a:xfrm>
              <a:grpFill/>
            </p:grpSpPr>
            <p:sp>
              <p:nvSpPr>
                <p:cNvPr id="5315" name="Vrije vorm: vorm 5314">
                  <a:extLst>
                    <a:ext uri="{FF2B5EF4-FFF2-40B4-BE49-F238E27FC236}">
                      <a16:creationId xmlns:a16="http://schemas.microsoft.com/office/drawing/2014/main" id="{D1C86020-07FC-45CD-9275-439B99100D86}"/>
                    </a:ext>
                  </a:extLst>
                </p:cNvPr>
                <p:cNvSpPr/>
                <p:nvPr/>
              </p:nvSpPr>
              <p:spPr>
                <a:xfrm>
                  <a:off x="7971245" y="3430881"/>
                  <a:ext cx="485575" cy="6937"/>
                </a:xfrm>
                <a:custGeom>
                  <a:avLst/>
                  <a:gdLst>
                    <a:gd name="connsiteX0" fmla="*/ 485575 w 485575"/>
                    <a:gd name="connsiteY0" fmla="*/ 3887 h 6937"/>
                    <a:gd name="connsiteX1" fmla="*/ 485515 w 485575"/>
                    <a:gd name="connsiteY1" fmla="*/ 6938 h 6937"/>
                    <a:gd name="connsiteX2" fmla="*/ 0 w 485575"/>
                    <a:gd name="connsiteY2" fmla="*/ 3050 h 6937"/>
                    <a:gd name="connsiteX3" fmla="*/ 0 w 485575"/>
                    <a:gd name="connsiteY3" fmla="*/ 0 h 6937"/>
                  </a:gdLst>
                  <a:ahLst/>
                  <a:cxnLst>
                    <a:cxn ang="0">
                      <a:pos x="connsiteX0" y="connsiteY0"/>
                    </a:cxn>
                    <a:cxn ang="0">
                      <a:pos x="connsiteX1" y="connsiteY1"/>
                    </a:cxn>
                    <a:cxn ang="0">
                      <a:pos x="connsiteX2" y="connsiteY2"/>
                    </a:cxn>
                    <a:cxn ang="0">
                      <a:pos x="connsiteX3" y="connsiteY3"/>
                    </a:cxn>
                  </a:cxnLst>
                  <a:rect l="l" t="t" r="r" b="b"/>
                  <a:pathLst>
                    <a:path w="485575" h="6937">
                      <a:moveTo>
                        <a:pt x="485575" y="3887"/>
                      </a:moveTo>
                      <a:lnTo>
                        <a:pt x="485515" y="6938"/>
                      </a:lnTo>
                      <a:lnTo>
                        <a:pt x="0" y="3050"/>
                      </a:lnTo>
                      <a:lnTo>
                        <a:pt x="0" y="0"/>
                      </a:lnTo>
                      <a:close/>
                    </a:path>
                  </a:pathLst>
                </a:custGeom>
                <a:grpFill/>
                <a:ln w="5978" cap="flat">
                  <a:noFill/>
                  <a:prstDash val="solid"/>
                  <a:miter/>
                </a:ln>
              </p:spPr>
              <p:txBody>
                <a:bodyPr rtlCol="0" anchor="ctr"/>
                <a:lstStyle/>
                <a:p>
                  <a:endParaRPr lang="en-GB"/>
                </a:p>
              </p:txBody>
            </p:sp>
            <p:sp>
              <p:nvSpPr>
                <p:cNvPr id="5316" name="Vrije vorm: vorm 5315">
                  <a:extLst>
                    <a:ext uri="{FF2B5EF4-FFF2-40B4-BE49-F238E27FC236}">
                      <a16:creationId xmlns:a16="http://schemas.microsoft.com/office/drawing/2014/main" id="{47170E0D-EF1C-41EB-A3C4-0F7741F4F11F}"/>
                    </a:ext>
                  </a:extLst>
                </p:cNvPr>
                <p:cNvSpPr/>
                <p:nvPr/>
              </p:nvSpPr>
              <p:spPr>
                <a:xfrm>
                  <a:off x="8447191" y="3427053"/>
                  <a:ext cx="18361" cy="18420"/>
                </a:xfrm>
                <a:custGeom>
                  <a:avLst/>
                  <a:gdLst>
                    <a:gd name="connsiteX0" fmla="*/ 9211 w 18361"/>
                    <a:gd name="connsiteY0" fmla="*/ 0 h 18420"/>
                    <a:gd name="connsiteX1" fmla="*/ 18361 w 18361"/>
                    <a:gd name="connsiteY1" fmla="*/ 9270 h 18420"/>
                    <a:gd name="connsiteX2" fmla="*/ 9151 w 18361"/>
                    <a:gd name="connsiteY2" fmla="*/ 18421 h 18420"/>
                    <a:gd name="connsiteX3" fmla="*/ 0 w 18361"/>
                    <a:gd name="connsiteY3" fmla="*/ 9150 h 18420"/>
                    <a:gd name="connsiteX4" fmla="*/ 9211 w 18361"/>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9211" y="0"/>
                      </a:moveTo>
                      <a:cubicBezTo>
                        <a:pt x="14294" y="60"/>
                        <a:pt x="18361" y="4187"/>
                        <a:pt x="18361" y="9270"/>
                      </a:cubicBezTo>
                      <a:cubicBezTo>
                        <a:pt x="18361" y="14354"/>
                        <a:pt x="14234" y="18421"/>
                        <a:pt x="9151" y="18421"/>
                      </a:cubicBezTo>
                      <a:cubicBezTo>
                        <a:pt x="4067" y="18361"/>
                        <a:pt x="0" y="14234"/>
                        <a:pt x="0" y="9150"/>
                      </a:cubicBezTo>
                      <a:cubicBezTo>
                        <a:pt x="0" y="4067"/>
                        <a:pt x="4127" y="0"/>
                        <a:pt x="9211" y="0"/>
                      </a:cubicBezTo>
                      <a:close/>
                    </a:path>
                  </a:pathLst>
                </a:custGeom>
                <a:grpFill/>
                <a:ln w="5978" cap="flat">
                  <a:noFill/>
                  <a:prstDash val="solid"/>
                  <a:miter/>
                </a:ln>
              </p:spPr>
              <p:txBody>
                <a:bodyPr rtlCol="0" anchor="ctr"/>
                <a:lstStyle/>
                <a:p>
                  <a:endParaRPr lang="en-GB"/>
                </a:p>
              </p:txBody>
            </p:sp>
            <p:sp>
              <p:nvSpPr>
                <p:cNvPr id="5317" name="Vrije vorm: vorm 5316">
                  <a:extLst>
                    <a:ext uri="{FF2B5EF4-FFF2-40B4-BE49-F238E27FC236}">
                      <a16:creationId xmlns:a16="http://schemas.microsoft.com/office/drawing/2014/main" id="{1D01EEF5-24BF-4377-B992-E46E8C742068}"/>
                    </a:ext>
                  </a:extLst>
                </p:cNvPr>
                <p:cNvSpPr/>
                <p:nvPr/>
              </p:nvSpPr>
              <p:spPr>
                <a:xfrm>
                  <a:off x="7962514" y="3423165"/>
                  <a:ext cx="18360" cy="18421"/>
                </a:xfrm>
                <a:custGeom>
                  <a:avLst/>
                  <a:gdLst>
                    <a:gd name="connsiteX0" fmla="*/ 9210 w 18360"/>
                    <a:gd name="connsiteY0" fmla="*/ 1 h 18421"/>
                    <a:gd name="connsiteX1" fmla="*/ 0 w 18360"/>
                    <a:gd name="connsiteY1" fmla="*/ 9151 h 18421"/>
                    <a:gd name="connsiteX2" fmla="*/ 9150 w 18360"/>
                    <a:gd name="connsiteY2" fmla="*/ 18421 h 18421"/>
                    <a:gd name="connsiteX3" fmla="*/ 18360 w 18360"/>
                    <a:gd name="connsiteY3" fmla="*/ 9271 h 18421"/>
                    <a:gd name="connsiteX4" fmla="*/ 9210 w 18360"/>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9210" y="1"/>
                      </a:moveTo>
                      <a:cubicBezTo>
                        <a:pt x="4126" y="-59"/>
                        <a:pt x="0" y="4067"/>
                        <a:pt x="0" y="9151"/>
                      </a:cubicBezTo>
                      <a:cubicBezTo>
                        <a:pt x="0" y="14235"/>
                        <a:pt x="4066" y="18421"/>
                        <a:pt x="9150" y="18421"/>
                      </a:cubicBezTo>
                      <a:cubicBezTo>
                        <a:pt x="14234" y="18481"/>
                        <a:pt x="18360" y="14354"/>
                        <a:pt x="18360" y="9271"/>
                      </a:cubicBezTo>
                      <a:cubicBezTo>
                        <a:pt x="18360" y="4187"/>
                        <a:pt x="14294" y="61"/>
                        <a:pt x="9210" y="1"/>
                      </a:cubicBezTo>
                      <a:close/>
                    </a:path>
                  </a:pathLst>
                </a:custGeom>
                <a:grpFill/>
                <a:ln w="5978" cap="flat">
                  <a:noFill/>
                  <a:prstDash val="solid"/>
                  <a:miter/>
                </a:ln>
              </p:spPr>
              <p:txBody>
                <a:bodyPr rtlCol="0" anchor="ctr"/>
                <a:lstStyle/>
                <a:p>
                  <a:endParaRPr lang="en-GB"/>
                </a:p>
              </p:txBody>
            </p:sp>
          </p:grpSp>
          <p:grpSp>
            <p:nvGrpSpPr>
              <p:cNvPr id="19" name="Graphic 3">
                <a:extLst>
                  <a:ext uri="{FF2B5EF4-FFF2-40B4-BE49-F238E27FC236}">
                    <a16:creationId xmlns:a16="http://schemas.microsoft.com/office/drawing/2014/main" id="{FF390B8F-F966-4B13-9D27-0F3E76A8A890}"/>
                  </a:ext>
                </a:extLst>
              </p:cNvPr>
              <p:cNvGrpSpPr/>
              <p:nvPr/>
            </p:nvGrpSpPr>
            <p:grpSpPr>
              <a:xfrm>
                <a:off x="8071596" y="3146791"/>
                <a:ext cx="100201" cy="28538"/>
                <a:chOff x="8071596" y="3146791"/>
                <a:chExt cx="100201" cy="28538"/>
              </a:xfrm>
              <a:grpFill/>
            </p:grpSpPr>
            <p:sp>
              <p:nvSpPr>
                <p:cNvPr id="5312" name="Vrije vorm: vorm 5311">
                  <a:extLst>
                    <a:ext uri="{FF2B5EF4-FFF2-40B4-BE49-F238E27FC236}">
                      <a16:creationId xmlns:a16="http://schemas.microsoft.com/office/drawing/2014/main" id="{8A77EFDA-AA2D-4152-B2BF-4E4E9328A4E2}"/>
                    </a:ext>
                  </a:extLst>
                </p:cNvPr>
                <p:cNvSpPr/>
                <p:nvPr/>
              </p:nvSpPr>
              <p:spPr>
                <a:xfrm>
                  <a:off x="8080154" y="3154392"/>
                  <a:ext cx="83192" cy="13337"/>
                </a:xfrm>
                <a:custGeom>
                  <a:avLst/>
                  <a:gdLst>
                    <a:gd name="connsiteX0" fmla="*/ 82774 w 83192"/>
                    <a:gd name="connsiteY0" fmla="*/ 0 h 13337"/>
                    <a:gd name="connsiteX1" fmla="*/ 83192 w 83192"/>
                    <a:gd name="connsiteY1" fmla="*/ 3050 h 13337"/>
                    <a:gd name="connsiteX2" fmla="*/ 359 w 83192"/>
                    <a:gd name="connsiteY2" fmla="*/ 13337 h 13337"/>
                    <a:gd name="connsiteX3" fmla="*/ 0 w 83192"/>
                    <a:gd name="connsiteY3" fmla="*/ 10287 h 13337"/>
                  </a:gdLst>
                  <a:ahLst/>
                  <a:cxnLst>
                    <a:cxn ang="0">
                      <a:pos x="connsiteX0" y="connsiteY0"/>
                    </a:cxn>
                    <a:cxn ang="0">
                      <a:pos x="connsiteX1" y="connsiteY1"/>
                    </a:cxn>
                    <a:cxn ang="0">
                      <a:pos x="connsiteX2" y="connsiteY2"/>
                    </a:cxn>
                    <a:cxn ang="0">
                      <a:pos x="connsiteX3" y="connsiteY3"/>
                    </a:cxn>
                  </a:cxnLst>
                  <a:rect l="l" t="t" r="r" b="b"/>
                  <a:pathLst>
                    <a:path w="83192" h="13337">
                      <a:moveTo>
                        <a:pt x="82774" y="0"/>
                      </a:moveTo>
                      <a:lnTo>
                        <a:pt x="83192" y="3050"/>
                      </a:lnTo>
                      <a:lnTo>
                        <a:pt x="359" y="13337"/>
                      </a:lnTo>
                      <a:lnTo>
                        <a:pt x="0" y="10287"/>
                      </a:lnTo>
                      <a:close/>
                    </a:path>
                  </a:pathLst>
                </a:custGeom>
                <a:grpFill/>
                <a:ln w="5978" cap="flat">
                  <a:noFill/>
                  <a:prstDash val="solid"/>
                  <a:miter/>
                </a:ln>
              </p:spPr>
              <p:txBody>
                <a:bodyPr rtlCol="0" anchor="ctr"/>
                <a:lstStyle/>
                <a:p>
                  <a:endParaRPr lang="en-GB"/>
                </a:p>
              </p:txBody>
            </p:sp>
            <p:sp>
              <p:nvSpPr>
                <p:cNvPr id="5313" name="Vrije vorm: vorm 5312">
                  <a:extLst>
                    <a:ext uri="{FF2B5EF4-FFF2-40B4-BE49-F238E27FC236}">
                      <a16:creationId xmlns:a16="http://schemas.microsoft.com/office/drawing/2014/main" id="{45A3136A-FDF3-4790-9B9E-0AADA16384E1}"/>
                    </a:ext>
                  </a:extLst>
                </p:cNvPr>
                <p:cNvSpPr/>
                <p:nvPr/>
              </p:nvSpPr>
              <p:spPr>
                <a:xfrm>
                  <a:off x="8153472" y="3146791"/>
                  <a:ext cx="18325" cy="18431"/>
                </a:xfrm>
                <a:custGeom>
                  <a:avLst/>
                  <a:gdLst>
                    <a:gd name="connsiteX0" fmla="*/ 8021 w 18325"/>
                    <a:gd name="connsiteY0" fmla="*/ 65 h 18431"/>
                    <a:gd name="connsiteX1" fmla="*/ 18248 w 18325"/>
                    <a:gd name="connsiteY1" fmla="*/ 8079 h 18431"/>
                    <a:gd name="connsiteX2" fmla="*/ 10294 w 18325"/>
                    <a:gd name="connsiteY2" fmla="*/ 18366 h 18431"/>
                    <a:gd name="connsiteX3" fmla="*/ 66 w 18325"/>
                    <a:gd name="connsiteY3" fmla="*/ 10352 h 18431"/>
                    <a:gd name="connsiteX4" fmla="*/ 8021 w 18325"/>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1">
                      <a:moveTo>
                        <a:pt x="8021" y="65"/>
                      </a:moveTo>
                      <a:cubicBezTo>
                        <a:pt x="13044" y="-533"/>
                        <a:pt x="17650" y="3055"/>
                        <a:pt x="18248" y="8079"/>
                      </a:cubicBezTo>
                      <a:cubicBezTo>
                        <a:pt x="18905" y="13103"/>
                        <a:pt x="15317" y="17708"/>
                        <a:pt x="10294" y="18366"/>
                      </a:cubicBezTo>
                      <a:cubicBezTo>
                        <a:pt x="5269" y="18964"/>
                        <a:pt x="664" y="15376"/>
                        <a:pt x="66" y="10352"/>
                      </a:cubicBezTo>
                      <a:cubicBezTo>
                        <a:pt x="-532" y="5268"/>
                        <a:pt x="2997" y="663"/>
                        <a:pt x="8021" y="65"/>
                      </a:cubicBezTo>
                      <a:close/>
                    </a:path>
                  </a:pathLst>
                </a:custGeom>
                <a:grpFill/>
                <a:ln w="5978" cap="flat">
                  <a:noFill/>
                  <a:prstDash val="solid"/>
                  <a:miter/>
                </a:ln>
              </p:spPr>
              <p:txBody>
                <a:bodyPr rtlCol="0" anchor="ctr"/>
                <a:lstStyle/>
                <a:p>
                  <a:endParaRPr lang="en-GB"/>
                </a:p>
              </p:txBody>
            </p:sp>
            <p:sp>
              <p:nvSpPr>
                <p:cNvPr id="5314" name="Vrije vorm: vorm 5313">
                  <a:extLst>
                    <a:ext uri="{FF2B5EF4-FFF2-40B4-BE49-F238E27FC236}">
                      <a16:creationId xmlns:a16="http://schemas.microsoft.com/office/drawing/2014/main" id="{0CB0A058-5E85-44AD-AB91-5FB4EE919D96}"/>
                    </a:ext>
                  </a:extLst>
                </p:cNvPr>
                <p:cNvSpPr/>
                <p:nvPr/>
              </p:nvSpPr>
              <p:spPr>
                <a:xfrm>
                  <a:off x="8071596" y="3156899"/>
                  <a:ext cx="18313" cy="18431"/>
                </a:xfrm>
                <a:custGeom>
                  <a:avLst/>
                  <a:gdLst>
                    <a:gd name="connsiteX0" fmla="*/ 8020 w 18313"/>
                    <a:gd name="connsiteY0" fmla="*/ 65 h 18431"/>
                    <a:gd name="connsiteX1" fmla="*/ 66 w 18313"/>
                    <a:gd name="connsiteY1" fmla="*/ 10352 h 18431"/>
                    <a:gd name="connsiteX2" fmla="*/ 10293 w 18313"/>
                    <a:gd name="connsiteY2" fmla="*/ 18366 h 18431"/>
                    <a:gd name="connsiteX3" fmla="*/ 18247 w 18313"/>
                    <a:gd name="connsiteY3" fmla="*/ 8079 h 18431"/>
                    <a:gd name="connsiteX4" fmla="*/ 8020 w 18313"/>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8020" y="65"/>
                      </a:moveTo>
                      <a:cubicBezTo>
                        <a:pt x="2997" y="663"/>
                        <a:pt x="-532" y="5268"/>
                        <a:pt x="66" y="10352"/>
                      </a:cubicBezTo>
                      <a:cubicBezTo>
                        <a:pt x="724" y="15376"/>
                        <a:pt x="5269" y="18964"/>
                        <a:pt x="10293" y="18366"/>
                      </a:cubicBezTo>
                      <a:cubicBezTo>
                        <a:pt x="15316" y="17768"/>
                        <a:pt x="18846" y="13163"/>
                        <a:pt x="18247" y="8079"/>
                      </a:cubicBezTo>
                      <a:cubicBezTo>
                        <a:pt x="17649" y="3055"/>
                        <a:pt x="13044" y="-533"/>
                        <a:pt x="8020" y="65"/>
                      </a:cubicBezTo>
                      <a:close/>
                    </a:path>
                  </a:pathLst>
                </a:custGeom>
                <a:grpFill/>
                <a:ln w="5978" cap="flat">
                  <a:noFill/>
                  <a:prstDash val="solid"/>
                  <a:miter/>
                </a:ln>
              </p:spPr>
              <p:txBody>
                <a:bodyPr rtlCol="0" anchor="ctr"/>
                <a:lstStyle/>
                <a:p>
                  <a:endParaRPr lang="en-GB"/>
                </a:p>
              </p:txBody>
            </p:sp>
          </p:grpSp>
          <p:grpSp>
            <p:nvGrpSpPr>
              <p:cNvPr id="20" name="Graphic 3">
                <a:extLst>
                  <a:ext uri="{FF2B5EF4-FFF2-40B4-BE49-F238E27FC236}">
                    <a16:creationId xmlns:a16="http://schemas.microsoft.com/office/drawing/2014/main" id="{475BC94C-0430-4F7E-A94C-365F26411184}"/>
                  </a:ext>
                </a:extLst>
              </p:cNvPr>
              <p:cNvGrpSpPr/>
              <p:nvPr/>
            </p:nvGrpSpPr>
            <p:grpSpPr>
              <a:xfrm>
                <a:off x="8150188" y="3384111"/>
                <a:ext cx="123622" cy="19558"/>
                <a:chOff x="8150188" y="3384111"/>
                <a:chExt cx="123622" cy="19558"/>
              </a:xfrm>
              <a:grpFill/>
            </p:grpSpPr>
            <p:sp>
              <p:nvSpPr>
                <p:cNvPr id="5309" name="Vrije vorm: vorm 5308">
                  <a:extLst>
                    <a:ext uri="{FF2B5EF4-FFF2-40B4-BE49-F238E27FC236}">
                      <a16:creationId xmlns:a16="http://schemas.microsoft.com/office/drawing/2014/main" id="{6097BB5F-EA7C-4FDE-99C4-27AB28878EE1}"/>
                    </a:ext>
                  </a:extLst>
                </p:cNvPr>
                <p:cNvSpPr/>
                <p:nvPr/>
              </p:nvSpPr>
              <p:spPr>
                <a:xfrm>
                  <a:off x="8158861" y="3391767"/>
                  <a:ext cx="106277" cy="4246"/>
                </a:xfrm>
                <a:custGeom>
                  <a:avLst/>
                  <a:gdLst>
                    <a:gd name="connsiteX0" fmla="*/ 106218 w 106277"/>
                    <a:gd name="connsiteY0" fmla="*/ 0 h 4246"/>
                    <a:gd name="connsiteX1" fmla="*/ 106278 w 106277"/>
                    <a:gd name="connsiteY1" fmla="*/ 3110 h 4246"/>
                    <a:gd name="connsiteX2" fmla="*/ 0 w 106277"/>
                    <a:gd name="connsiteY2" fmla="*/ 4246 h 4246"/>
                    <a:gd name="connsiteX3" fmla="*/ 0 w 106277"/>
                    <a:gd name="connsiteY3" fmla="*/ 1196 h 4246"/>
                  </a:gdLst>
                  <a:ahLst/>
                  <a:cxnLst>
                    <a:cxn ang="0">
                      <a:pos x="connsiteX0" y="connsiteY0"/>
                    </a:cxn>
                    <a:cxn ang="0">
                      <a:pos x="connsiteX1" y="connsiteY1"/>
                    </a:cxn>
                    <a:cxn ang="0">
                      <a:pos x="connsiteX2" y="connsiteY2"/>
                    </a:cxn>
                    <a:cxn ang="0">
                      <a:pos x="connsiteX3" y="connsiteY3"/>
                    </a:cxn>
                  </a:cxnLst>
                  <a:rect l="l" t="t" r="r" b="b"/>
                  <a:pathLst>
                    <a:path w="106277" h="4246">
                      <a:moveTo>
                        <a:pt x="106218" y="0"/>
                      </a:moveTo>
                      <a:lnTo>
                        <a:pt x="106278" y="3110"/>
                      </a:lnTo>
                      <a:lnTo>
                        <a:pt x="0" y="4246"/>
                      </a:lnTo>
                      <a:lnTo>
                        <a:pt x="0" y="1196"/>
                      </a:lnTo>
                      <a:close/>
                    </a:path>
                  </a:pathLst>
                </a:custGeom>
                <a:grpFill/>
                <a:ln w="5978" cap="flat">
                  <a:noFill/>
                  <a:prstDash val="solid"/>
                  <a:miter/>
                </a:ln>
              </p:spPr>
              <p:txBody>
                <a:bodyPr rtlCol="0" anchor="ctr"/>
                <a:lstStyle/>
                <a:p>
                  <a:endParaRPr lang="en-GB"/>
                </a:p>
              </p:txBody>
            </p:sp>
            <p:sp>
              <p:nvSpPr>
                <p:cNvPr id="5310" name="Vrije vorm: vorm 5309">
                  <a:extLst>
                    <a:ext uri="{FF2B5EF4-FFF2-40B4-BE49-F238E27FC236}">
                      <a16:creationId xmlns:a16="http://schemas.microsoft.com/office/drawing/2014/main" id="{C9954854-B8C9-415F-9630-34ABB3B99299}"/>
                    </a:ext>
                  </a:extLst>
                </p:cNvPr>
                <p:cNvSpPr/>
                <p:nvPr/>
              </p:nvSpPr>
              <p:spPr>
                <a:xfrm>
                  <a:off x="8255507" y="3384111"/>
                  <a:ext cx="18303" cy="18421"/>
                </a:xfrm>
                <a:custGeom>
                  <a:avLst/>
                  <a:gdLst>
                    <a:gd name="connsiteX0" fmla="*/ 9034 w 18303"/>
                    <a:gd name="connsiteY0" fmla="*/ 1 h 18421"/>
                    <a:gd name="connsiteX1" fmla="*/ 18303 w 18303"/>
                    <a:gd name="connsiteY1" fmla="*/ 9091 h 18421"/>
                    <a:gd name="connsiteX2" fmla="*/ 9272 w 18303"/>
                    <a:gd name="connsiteY2" fmla="*/ 18421 h 18421"/>
                    <a:gd name="connsiteX3" fmla="*/ 3 w 18303"/>
                    <a:gd name="connsiteY3" fmla="*/ 9331 h 18421"/>
                    <a:gd name="connsiteX4" fmla="*/ 9034 w 18303"/>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21">
                      <a:moveTo>
                        <a:pt x="9034" y="1"/>
                      </a:moveTo>
                      <a:cubicBezTo>
                        <a:pt x="14117" y="-59"/>
                        <a:pt x="18243" y="4008"/>
                        <a:pt x="18303" y="9091"/>
                      </a:cubicBezTo>
                      <a:cubicBezTo>
                        <a:pt x="18363" y="14175"/>
                        <a:pt x="14356" y="18362"/>
                        <a:pt x="9272" y="18421"/>
                      </a:cubicBezTo>
                      <a:cubicBezTo>
                        <a:pt x="4189" y="18481"/>
                        <a:pt x="62" y="14414"/>
                        <a:pt x="3" y="9331"/>
                      </a:cubicBezTo>
                      <a:cubicBezTo>
                        <a:pt x="-117" y="4247"/>
                        <a:pt x="3950" y="61"/>
                        <a:pt x="9034" y="1"/>
                      </a:cubicBezTo>
                      <a:close/>
                    </a:path>
                  </a:pathLst>
                </a:custGeom>
                <a:grpFill/>
                <a:ln w="5978" cap="flat">
                  <a:noFill/>
                  <a:prstDash val="solid"/>
                  <a:miter/>
                </a:ln>
              </p:spPr>
              <p:txBody>
                <a:bodyPr rtlCol="0" anchor="ctr"/>
                <a:lstStyle/>
                <a:p>
                  <a:endParaRPr lang="en-GB"/>
                </a:p>
              </p:txBody>
            </p:sp>
            <p:sp>
              <p:nvSpPr>
                <p:cNvPr id="5311" name="Vrije vorm: vorm 5310">
                  <a:extLst>
                    <a:ext uri="{FF2B5EF4-FFF2-40B4-BE49-F238E27FC236}">
                      <a16:creationId xmlns:a16="http://schemas.microsoft.com/office/drawing/2014/main" id="{857180A0-B019-48EA-A2E4-71AA2C521889}"/>
                    </a:ext>
                  </a:extLst>
                </p:cNvPr>
                <p:cNvSpPr/>
                <p:nvPr/>
              </p:nvSpPr>
              <p:spPr>
                <a:xfrm>
                  <a:off x="8150188" y="3385247"/>
                  <a:ext cx="18301" cy="18421"/>
                </a:xfrm>
                <a:custGeom>
                  <a:avLst/>
                  <a:gdLst>
                    <a:gd name="connsiteX0" fmla="*/ 9032 w 18301"/>
                    <a:gd name="connsiteY0" fmla="*/ 1 h 18421"/>
                    <a:gd name="connsiteX1" fmla="*/ 1 w 18301"/>
                    <a:gd name="connsiteY1" fmla="*/ 9331 h 18421"/>
                    <a:gd name="connsiteX2" fmla="*/ 9270 w 18301"/>
                    <a:gd name="connsiteY2" fmla="*/ 18421 h 18421"/>
                    <a:gd name="connsiteX3" fmla="*/ 18301 w 18301"/>
                    <a:gd name="connsiteY3" fmla="*/ 9091 h 18421"/>
                    <a:gd name="connsiteX4" fmla="*/ 9032 w 1830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1">
                      <a:moveTo>
                        <a:pt x="9032" y="1"/>
                      </a:moveTo>
                      <a:cubicBezTo>
                        <a:pt x="3947" y="61"/>
                        <a:pt x="-59" y="4247"/>
                        <a:pt x="1" y="9331"/>
                      </a:cubicBezTo>
                      <a:cubicBezTo>
                        <a:pt x="61" y="14414"/>
                        <a:pt x="4247" y="18481"/>
                        <a:pt x="9270" y="18421"/>
                      </a:cubicBezTo>
                      <a:cubicBezTo>
                        <a:pt x="14354" y="18362"/>
                        <a:pt x="18361" y="14175"/>
                        <a:pt x="18301" y="9091"/>
                      </a:cubicBezTo>
                      <a:cubicBezTo>
                        <a:pt x="18241" y="4008"/>
                        <a:pt x="14055" y="-59"/>
                        <a:pt x="9032" y="1"/>
                      </a:cubicBezTo>
                      <a:close/>
                    </a:path>
                  </a:pathLst>
                </a:custGeom>
                <a:grpFill/>
                <a:ln w="5978" cap="flat">
                  <a:noFill/>
                  <a:prstDash val="solid"/>
                  <a:miter/>
                </a:ln>
              </p:spPr>
              <p:txBody>
                <a:bodyPr rtlCol="0" anchor="ctr"/>
                <a:lstStyle/>
                <a:p>
                  <a:endParaRPr lang="en-GB"/>
                </a:p>
              </p:txBody>
            </p:sp>
          </p:grpSp>
          <p:grpSp>
            <p:nvGrpSpPr>
              <p:cNvPr id="21" name="Graphic 3">
                <a:extLst>
                  <a:ext uri="{FF2B5EF4-FFF2-40B4-BE49-F238E27FC236}">
                    <a16:creationId xmlns:a16="http://schemas.microsoft.com/office/drawing/2014/main" id="{FF5A6FD4-8378-45BB-9AF0-E971F42F927E}"/>
                  </a:ext>
                </a:extLst>
              </p:cNvPr>
              <p:cNvGrpSpPr/>
              <p:nvPr/>
            </p:nvGrpSpPr>
            <p:grpSpPr>
              <a:xfrm>
                <a:off x="7699434" y="2121871"/>
                <a:ext cx="129320" cy="99272"/>
                <a:chOff x="7699434" y="2121871"/>
                <a:chExt cx="129320" cy="99272"/>
              </a:xfrm>
              <a:grpFill/>
            </p:grpSpPr>
            <p:sp>
              <p:nvSpPr>
                <p:cNvPr id="5306" name="Vrije vorm: vorm 5305">
                  <a:extLst>
                    <a:ext uri="{FF2B5EF4-FFF2-40B4-BE49-F238E27FC236}">
                      <a16:creationId xmlns:a16="http://schemas.microsoft.com/office/drawing/2014/main" id="{4E2B5639-2C6B-4551-8649-0B2298D6FD04}"/>
                    </a:ext>
                  </a:extLst>
                </p:cNvPr>
                <p:cNvSpPr/>
                <p:nvPr/>
              </p:nvSpPr>
              <p:spPr>
                <a:xfrm>
                  <a:off x="7707316" y="2129536"/>
                  <a:ext cx="113513" cy="83909"/>
                </a:xfrm>
                <a:custGeom>
                  <a:avLst/>
                  <a:gdLst>
                    <a:gd name="connsiteX0" fmla="*/ 113514 w 113513"/>
                    <a:gd name="connsiteY0" fmla="*/ 2512 h 83909"/>
                    <a:gd name="connsiteX1" fmla="*/ 1795 w 113513"/>
                    <a:gd name="connsiteY1" fmla="*/ 83910 h 83909"/>
                    <a:gd name="connsiteX2" fmla="*/ 0 w 113513"/>
                    <a:gd name="connsiteY2" fmla="*/ 81457 h 83909"/>
                    <a:gd name="connsiteX3" fmla="*/ 111720 w 113513"/>
                    <a:gd name="connsiteY3" fmla="*/ 0 h 83909"/>
                  </a:gdLst>
                  <a:ahLst/>
                  <a:cxnLst>
                    <a:cxn ang="0">
                      <a:pos x="connsiteX0" y="connsiteY0"/>
                    </a:cxn>
                    <a:cxn ang="0">
                      <a:pos x="connsiteX1" y="connsiteY1"/>
                    </a:cxn>
                    <a:cxn ang="0">
                      <a:pos x="connsiteX2" y="connsiteY2"/>
                    </a:cxn>
                    <a:cxn ang="0">
                      <a:pos x="connsiteX3" y="connsiteY3"/>
                    </a:cxn>
                  </a:cxnLst>
                  <a:rect l="l" t="t" r="r" b="b"/>
                  <a:pathLst>
                    <a:path w="113513" h="83909">
                      <a:moveTo>
                        <a:pt x="113514" y="2512"/>
                      </a:moveTo>
                      <a:lnTo>
                        <a:pt x="1795" y="83910"/>
                      </a:lnTo>
                      <a:lnTo>
                        <a:pt x="0" y="81457"/>
                      </a:lnTo>
                      <a:lnTo>
                        <a:pt x="111720" y="0"/>
                      </a:lnTo>
                      <a:close/>
                    </a:path>
                  </a:pathLst>
                </a:custGeom>
                <a:grpFill/>
                <a:ln w="5978" cap="flat">
                  <a:noFill/>
                  <a:prstDash val="solid"/>
                  <a:miter/>
                </a:ln>
              </p:spPr>
              <p:txBody>
                <a:bodyPr rtlCol="0" anchor="ctr"/>
                <a:lstStyle/>
                <a:p>
                  <a:endParaRPr lang="en-GB"/>
                </a:p>
              </p:txBody>
            </p:sp>
            <p:sp>
              <p:nvSpPr>
                <p:cNvPr id="5307" name="Vrije vorm: vorm 5306">
                  <a:extLst>
                    <a:ext uri="{FF2B5EF4-FFF2-40B4-BE49-F238E27FC236}">
                      <a16:creationId xmlns:a16="http://schemas.microsoft.com/office/drawing/2014/main" id="{FC95A832-04D0-41A6-A513-85F6F033DF21}"/>
                    </a:ext>
                  </a:extLst>
                </p:cNvPr>
                <p:cNvSpPr/>
                <p:nvPr/>
              </p:nvSpPr>
              <p:spPr>
                <a:xfrm>
                  <a:off x="7810437" y="2121871"/>
                  <a:ext cx="18318" cy="18439"/>
                </a:xfrm>
                <a:custGeom>
                  <a:avLst/>
                  <a:gdLst>
                    <a:gd name="connsiteX0" fmla="*/ 3755 w 18318"/>
                    <a:gd name="connsiteY0" fmla="*/ 1744 h 18439"/>
                    <a:gd name="connsiteX1" fmla="*/ 16554 w 18318"/>
                    <a:gd name="connsiteY1" fmla="*/ 3837 h 18439"/>
                    <a:gd name="connsiteX2" fmla="*/ 14520 w 18318"/>
                    <a:gd name="connsiteY2" fmla="*/ 16696 h 18439"/>
                    <a:gd name="connsiteX3" fmla="*/ 1722 w 18318"/>
                    <a:gd name="connsiteY3" fmla="*/ 14602 h 18439"/>
                    <a:gd name="connsiteX4" fmla="*/ 3755 w 18318"/>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9">
                      <a:moveTo>
                        <a:pt x="3755" y="1744"/>
                      </a:moveTo>
                      <a:cubicBezTo>
                        <a:pt x="7822" y="-1246"/>
                        <a:pt x="13563" y="-290"/>
                        <a:pt x="16554" y="3837"/>
                      </a:cubicBezTo>
                      <a:cubicBezTo>
                        <a:pt x="19544" y="7964"/>
                        <a:pt x="18647" y="13705"/>
                        <a:pt x="14520" y="16696"/>
                      </a:cubicBezTo>
                      <a:cubicBezTo>
                        <a:pt x="10453" y="19686"/>
                        <a:pt x="4712" y="18729"/>
                        <a:pt x="1722" y="14602"/>
                      </a:cubicBezTo>
                      <a:cubicBezTo>
                        <a:pt x="-1209" y="10476"/>
                        <a:pt x="-312" y="4674"/>
                        <a:pt x="3755" y="1744"/>
                      </a:cubicBezTo>
                      <a:close/>
                    </a:path>
                  </a:pathLst>
                </a:custGeom>
                <a:grpFill/>
                <a:ln w="5978" cap="flat">
                  <a:noFill/>
                  <a:prstDash val="solid"/>
                  <a:miter/>
                </a:ln>
              </p:spPr>
              <p:txBody>
                <a:bodyPr rtlCol="0" anchor="ctr"/>
                <a:lstStyle/>
                <a:p>
                  <a:endParaRPr lang="en-GB"/>
                </a:p>
              </p:txBody>
            </p:sp>
            <p:sp>
              <p:nvSpPr>
                <p:cNvPr id="5308" name="Vrije vorm: vorm 5307">
                  <a:extLst>
                    <a:ext uri="{FF2B5EF4-FFF2-40B4-BE49-F238E27FC236}">
                      <a16:creationId xmlns:a16="http://schemas.microsoft.com/office/drawing/2014/main" id="{9AA699FF-B5AE-4238-B53F-0AD0A0522E4A}"/>
                    </a:ext>
                  </a:extLst>
                </p:cNvPr>
                <p:cNvSpPr/>
                <p:nvPr/>
              </p:nvSpPr>
              <p:spPr>
                <a:xfrm>
                  <a:off x="7699434" y="2202730"/>
                  <a:ext cx="18275" cy="18413"/>
                </a:xfrm>
                <a:custGeom>
                  <a:avLst/>
                  <a:gdLst>
                    <a:gd name="connsiteX0" fmla="*/ 3755 w 18275"/>
                    <a:gd name="connsiteY0" fmla="*/ 1744 h 18413"/>
                    <a:gd name="connsiteX1" fmla="*/ 1722 w 18275"/>
                    <a:gd name="connsiteY1" fmla="*/ 14602 h 18413"/>
                    <a:gd name="connsiteX2" fmla="*/ 14520 w 18275"/>
                    <a:gd name="connsiteY2" fmla="*/ 16696 h 18413"/>
                    <a:gd name="connsiteX3" fmla="*/ 16554 w 18275"/>
                    <a:gd name="connsiteY3" fmla="*/ 3837 h 18413"/>
                    <a:gd name="connsiteX4" fmla="*/ 3755 w 18275"/>
                    <a:gd name="connsiteY4" fmla="*/ 174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13">
                      <a:moveTo>
                        <a:pt x="3755" y="1744"/>
                      </a:moveTo>
                      <a:cubicBezTo>
                        <a:pt x="-312" y="4734"/>
                        <a:pt x="-1209" y="10476"/>
                        <a:pt x="1722" y="14602"/>
                      </a:cubicBezTo>
                      <a:cubicBezTo>
                        <a:pt x="4712" y="18729"/>
                        <a:pt x="10454" y="19626"/>
                        <a:pt x="14520" y="16696"/>
                      </a:cubicBezTo>
                      <a:cubicBezTo>
                        <a:pt x="18588" y="13705"/>
                        <a:pt x="19485" y="7964"/>
                        <a:pt x="16554" y="3837"/>
                      </a:cubicBezTo>
                      <a:cubicBezTo>
                        <a:pt x="13623" y="-290"/>
                        <a:pt x="7882" y="-1246"/>
                        <a:pt x="3755" y="1744"/>
                      </a:cubicBezTo>
                      <a:close/>
                    </a:path>
                  </a:pathLst>
                </a:custGeom>
                <a:grpFill/>
                <a:ln w="5978" cap="flat">
                  <a:noFill/>
                  <a:prstDash val="solid"/>
                  <a:miter/>
                </a:ln>
              </p:spPr>
              <p:txBody>
                <a:bodyPr rtlCol="0" anchor="ctr"/>
                <a:lstStyle/>
                <a:p>
                  <a:endParaRPr lang="en-GB"/>
                </a:p>
              </p:txBody>
            </p:sp>
          </p:grpSp>
          <p:grpSp>
            <p:nvGrpSpPr>
              <p:cNvPr id="22" name="Graphic 3">
                <a:extLst>
                  <a:ext uri="{FF2B5EF4-FFF2-40B4-BE49-F238E27FC236}">
                    <a16:creationId xmlns:a16="http://schemas.microsoft.com/office/drawing/2014/main" id="{34ED8F86-7546-4237-A083-5A6981F19193}"/>
                  </a:ext>
                </a:extLst>
              </p:cNvPr>
              <p:cNvGrpSpPr/>
              <p:nvPr/>
            </p:nvGrpSpPr>
            <p:grpSpPr>
              <a:xfrm>
                <a:off x="7775656" y="2422524"/>
                <a:ext cx="182272" cy="103731"/>
                <a:chOff x="7775656" y="2422524"/>
                <a:chExt cx="182272" cy="103731"/>
              </a:xfrm>
              <a:grpFill/>
            </p:grpSpPr>
            <p:sp>
              <p:nvSpPr>
                <p:cNvPr id="5303" name="Vrije vorm: vorm 5302">
                  <a:extLst>
                    <a:ext uri="{FF2B5EF4-FFF2-40B4-BE49-F238E27FC236}">
                      <a16:creationId xmlns:a16="http://schemas.microsoft.com/office/drawing/2014/main" id="{1E751260-381F-4831-B49F-30CEC34FD097}"/>
                    </a:ext>
                  </a:extLst>
                </p:cNvPr>
                <p:cNvSpPr/>
                <p:nvPr/>
              </p:nvSpPr>
              <p:spPr>
                <a:xfrm>
                  <a:off x="7783690" y="2430187"/>
                  <a:ext cx="166144" cy="88454"/>
                </a:xfrm>
                <a:custGeom>
                  <a:avLst/>
                  <a:gdLst>
                    <a:gd name="connsiteX0" fmla="*/ 166145 w 166144"/>
                    <a:gd name="connsiteY0" fmla="*/ 2691 h 88454"/>
                    <a:gd name="connsiteX1" fmla="*/ 1375 w 166144"/>
                    <a:gd name="connsiteY1" fmla="*/ 88455 h 88454"/>
                    <a:gd name="connsiteX2" fmla="*/ 0 w 166144"/>
                    <a:gd name="connsiteY2" fmla="*/ 85704 h 88454"/>
                    <a:gd name="connsiteX3" fmla="*/ 164769 w 166144"/>
                    <a:gd name="connsiteY3" fmla="*/ 0 h 88454"/>
                  </a:gdLst>
                  <a:ahLst/>
                  <a:cxnLst>
                    <a:cxn ang="0">
                      <a:pos x="connsiteX0" y="connsiteY0"/>
                    </a:cxn>
                    <a:cxn ang="0">
                      <a:pos x="connsiteX1" y="connsiteY1"/>
                    </a:cxn>
                    <a:cxn ang="0">
                      <a:pos x="connsiteX2" y="connsiteY2"/>
                    </a:cxn>
                    <a:cxn ang="0">
                      <a:pos x="connsiteX3" y="connsiteY3"/>
                    </a:cxn>
                  </a:cxnLst>
                  <a:rect l="l" t="t" r="r" b="b"/>
                  <a:pathLst>
                    <a:path w="166144" h="88454">
                      <a:moveTo>
                        <a:pt x="166145" y="2691"/>
                      </a:moveTo>
                      <a:lnTo>
                        <a:pt x="1375" y="88455"/>
                      </a:lnTo>
                      <a:lnTo>
                        <a:pt x="0" y="85704"/>
                      </a:lnTo>
                      <a:lnTo>
                        <a:pt x="164769" y="0"/>
                      </a:lnTo>
                      <a:close/>
                    </a:path>
                  </a:pathLst>
                </a:custGeom>
                <a:grpFill/>
                <a:ln w="5978" cap="flat">
                  <a:noFill/>
                  <a:prstDash val="solid"/>
                  <a:miter/>
                </a:ln>
              </p:spPr>
              <p:txBody>
                <a:bodyPr rtlCol="0" anchor="ctr"/>
                <a:lstStyle/>
                <a:p>
                  <a:endParaRPr lang="en-GB"/>
                </a:p>
              </p:txBody>
            </p:sp>
            <p:sp>
              <p:nvSpPr>
                <p:cNvPr id="5304" name="Vrije vorm: vorm 5303">
                  <a:extLst>
                    <a:ext uri="{FF2B5EF4-FFF2-40B4-BE49-F238E27FC236}">
                      <a16:creationId xmlns:a16="http://schemas.microsoft.com/office/drawing/2014/main" id="{4C34812A-A321-4999-AA85-6B96325CACCD}"/>
                    </a:ext>
                  </a:extLst>
                </p:cNvPr>
                <p:cNvSpPr/>
                <p:nvPr/>
              </p:nvSpPr>
              <p:spPr>
                <a:xfrm>
                  <a:off x="7939587" y="2422524"/>
                  <a:ext cx="18340" cy="18434"/>
                </a:xfrm>
                <a:custGeom>
                  <a:avLst/>
                  <a:gdLst>
                    <a:gd name="connsiteX0" fmla="*/ 4924 w 18340"/>
                    <a:gd name="connsiteY0" fmla="*/ 1024 h 18434"/>
                    <a:gd name="connsiteX1" fmla="*/ 17304 w 18340"/>
                    <a:gd name="connsiteY1" fmla="*/ 4971 h 18434"/>
                    <a:gd name="connsiteX2" fmla="*/ 13417 w 18340"/>
                    <a:gd name="connsiteY2" fmla="*/ 17411 h 18434"/>
                    <a:gd name="connsiteX3" fmla="*/ 1037 w 18340"/>
                    <a:gd name="connsiteY3" fmla="*/ 13464 h 18434"/>
                    <a:gd name="connsiteX4" fmla="*/ 4924 w 18340"/>
                    <a:gd name="connsiteY4" fmla="*/ 102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34">
                      <a:moveTo>
                        <a:pt x="4924" y="1024"/>
                      </a:moveTo>
                      <a:cubicBezTo>
                        <a:pt x="9410" y="-1309"/>
                        <a:pt x="14972" y="486"/>
                        <a:pt x="17304" y="4971"/>
                      </a:cubicBezTo>
                      <a:cubicBezTo>
                        <a:pt x="19637" y="9516"/>
                        <a:pt x="17902" y="15079"/>
                        <a:pt x="13417" y="17411"/>
                      </a:cubicBezTo>
                      <a:cubicBezTo>
                        <a:pt x="8931" y="19743"/>
                        <a:pt x="3369" y="17949"/>
                        <a:pt x="1037" y="13464"/>
                      </a:cubicBezTo>
                      <a:cubicBezTo>
                        <a:pt x="-1296" y="8918"/>
                        <a:pt x="439" y="3356"/>
                        <a:pt x="4924" y="1024"/>
                      </a:cubicBezTo>
                      <a:close/>
                    </a:path>
                  </a:pathLst>
                </a:custGeom>
                <a:grpFill/>
                <a:ln w="5978" cap="flat">
                  <a:noFill/>
                  <a:prstDash val="solid"/>
                  <a:miter/>
                </a:ln>
              </p:spPr>
              <p:txBody>
                <a:bodyPr rtlCol="0" anchor="ctr"/>
                <a:lstStyle/>
                <a:p>
                  <a:endParaRPr lang="en-GB"/>
                </a:p>
              </p:txBody>
            </p:sp>
            <p:sp>
              <p:nvSpPr>
                <p:cNvPr id="5305" name="Vrije vorm: vorm 5304">
                  <a:extLst>
                    <a:ext uri="{FF2B5EF4-FFF2-40B4-BE49-F238E27FC236}">
                      <a16:creationId xmlns:a16="http://schemas.microsoft.com/office/drawing/2014/main" id="{438E8826-ED76-407E-A400-15C32F6BEDC9}"/>
                    </a:ext>
                  </a:extLst>
                </p:cNvPr>
                <p:cNvSpPr/>
                <p:nvPr/>
              </p:nvSpPr>
              <p:spPr>
                <a:xfrm>
                  <a:off x="7775656" y="2507809"/>
                  <a:ext cx="18341" cy="18446"/>
                </a:xfrm>
                <a:custGeom>
                  <a:avLst/>
                  <a:gdLst>
                    <a:gd name="connsiteX0" fmla="*/ 4924 w 18341"/>
                    <a:gd name="connsiteY0" fmla="*/ 1024 h 18446"/>
                    <a:gd name="connsiteX1" fmla="*/ 1037 w 18341"/>
                    <a:gd name="connsiteY1" fmla="*/ 13464 h 18446"/>
                    <a:gd name="connsiteX2" fmla="*/ 13417 w 18341"/>
                    <a:gd name="connsiteY2" fmla="*/ 17411 h 18446"/>
                    <a:gd name="connsiteX3" fmla="*/ 17305 w 18341"/>
                    <a:gd name="connsiteY3" fmla="*/ 4971 h 18446"/>
                    <a:gd name="connsiteX4" fmla="*/ 4924 w 18341"/>
                    <a:gd name="connsiteY4" fmla="*/ 1024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46">
                      <a:moveTo>
                        <a:pt x="4924" y="1024"/>
                      </a:moveTo>
                      <a:cubicBezTo>
                        <a:pt x="439" y="3356"/>
                        <a:pt x="-1296" y="8918"/>
                        <a:pt x="1037" y="13464"/>
                      </a:cubicBezTo>
                      <a:cubicBezTo>
                        <a:pt x="3369" y="18009"/>
                        <a:pt x="8932" y="19743"/>
                        <a:pt x="13417" y="17411"/>
                      </a:cubicBezTo>
                      <a:cubicBezTo>
                        <a:pt x="17903" y="15079"/>
                        <a:pt x="19637" y="9516"/>
                        <a:pt x="17305" y="4971"/>
                      </a:cubicBezTo>
                      <a:cubicBezTo>
                        <a:pt x="14912" y="486"/>
                        <a:pt x="9410" y="-1309"/>
                        <a:pt x="4924" y="1024"/>
                      </a:cubicBezTo>
                      <a:close/>
                    </a:path>
                  </a:pathLst>
                </a:custGeom>
                <a:grpFill/>
                <a:ln w="5978" cap="flat">
                  <a:noFill/>
                  <a:prstDash val="solid"/>
                  <a:miter/>
                </a:ln>
              </p:spPr>
              <p:txBody>
                <a:bodyPr rtlCol="0" anchor="ctr"/>
                <a:lstStyle/>
                <a:p>
                  <a:endParaRPr lang="en-GB"/>
                </a:p>
              </p:txBody>
            </p:sp>
          </p:grpSp>
          <p:grpSp>
            <p:nvGrpSpPr>
              <p:cNvPr id="23" name="Graphic 3">
                <a:extLst>
                  <a:ext uri="{FF2B5EF4-FFF2-40B4-BE49-F238E27FC236}">
                    <a16:creationId xmlns:a16="http://schemas.microsoft.com/office/drawing/2014/main" id="{598E857E-B4C8-4C7C-81DF-D36C78DFA1F0}"/>
                  </a:ext>
                </a:extLst>
              </p:cNvPr>
              <p:cNvGrpSpPr/>
              <p:nvPr/>
            </p:nvGrpSpPr>
            <p:grpSpPr>
              <a:xfrm>
                <a:off x="7999120" y="2969913"/>
                <a:ext cx="50924" cy="25562"/>
                <a:chOff x="7999120" y="2969913"/>
                <a:chExt cx="50924" cy="25562"/>
              </a:xfrm>
              <a:grpFill/>
            </p:grpSpPr>
            <p:sp>
              <p:nvSpPr>
                <p:cNvPr id="5300" name="Vrije vorm: vorm 5299">
                  <a:extLst>
                    <a:ext uri="{FF2B5EF4-FFF2-40B4-BE49-F238E27FC236}">
                      <a16:creationId xmlns:a16="http://schemas.microsoft.com/office/drawing/2014/main" id="{0BF2B0FA-9055-4141-945A-93EA6B1A2BB8}"/>
                    </a:ext>
                  </a:extLst>
                </p:cNvPr>
                <p:cNvSpPr/>
                <p:nvPr/>
              </p:nvSpPr>
              <p:spPr>
                <a:xfrm>
                  <a:off x="8007548" y="2977542"/>
                  <a:ext cx="34090" cy="10346"/>
                </a:xfrm>
                <a:custGeom>
                  <a:avLst/>
                  <a:gdLst>
                    <a:gd name="connsiteX0" fmla="*/ 33433 w 34090"/>
                    <a:gd name="connsiteY0" fmla="*/ 0 h 10346"/>
                    <a:gd name="connsiteX1" fmla="*/ 34091 w 34090"/>
                    <a:gd name="connsiteY1" fmla="*/ 2990 h 10346"/>
                    <a:gd name="connsiteX2" fmla="*/ 659 w 34090"/>
                    <a:gd name="connsiteY2" fmla="*/ 10347 h 10346"/>
                    <a:gd name="connsiteX3" fmla="*/ 0 w 34090"/>
                    <a:gd name="connsiteY3" fmla="*/ 7356 h 10346"/>
                  </a:gdLst>
                  <a:ahLst/>
                  <a:cxnLst>
                    <a:cxn ang="0">
                      <a:pos x="connsiteX0" y="connsiteY0"/>
                    </a:cxn>
                    <a:cxn ang="0">
                      <a:pos x="connsiteX1" y="connsiteY1"/>
                    </a:cxn>
                    <a:cxn ang="0">
                      <a:pos x="connsiteX2" y="connsiteY2"/>
                    </a:cxn>
                    <a:cxn ang="0">
                      <a:pos x="connsiteX3" y="connsiteY3"/>
                    </a:cxn>
                  </a:cxnLst>
                  <a:rect l="l" t="t" r="r" b="b"/>
                  <a:pathLst>
                    <a:path w="34090" h="10346">
                      <a:moveTo>
                        <a:pt x="33433" y="0"/>
                      </a:moveTo>
                      <a:lnTo>
                        <a:pt x="34091" y="2990"/>
                      </a:lnTo>
                      <a:lnTo>
                        <a:pt x="659" y="10347"/>
                      </a:lnTo>
                      <a:lnTo>
                        <a:pt x="0" y="7356"/>
                      </a:lnTo>
                      <a:close/>
                    </a:path>
                  </a:pathLst>
                </a:custGeom>
                <a:grpFill/>
                <a:ln w="5978" cap="flat">
                  <a:noFill/>
                  <a:prstDash val="solid"/>
                  <a:miter/>
                </a:ln>
              </p:spPr>
              <p:txBody>
                <a:bodyPr rtlCol="0" anchor="ctr"/>
                <a:lstStyle/>
                <a:p>
                  <a:endParaRPr lang="en-GB"/>
                </a:p>
              </p:txBody>
            </p:sp>
            <p:sp>
              <p:nvSpPr>
                <p:cNvPr id="5301" name="Vrije vorm: vorm 5300">
                  <a:extLst>
                    <a:ext uri="{FF2B5EF4-FFF2-40B4-BE49-F238E27FC236}">
                      <a16:creationId xmlns:a16="http://schemas.microsoft.com/office/drawing/2014/main" id="{EBCE6F68-AF91-47E6-8466-7841DB87890E}"/>
                    </a:ext>
                  </a:extLst>
                </p:cNvPr>
                <p:cNvSpPr/>
                <p:nvPr/>
              </p:nvSpPr>
              <p:spPr>
                <a:xfrm>
                  <a:off x="8031716" y="2969913"/>
                  <a:ext cx="18329" cy="18367"/>
                </a:xfrm>
                <a:custGeom>
                  <a:avLst/>
                  <a:gdLst>
                    <a:gd name="connsiteX0" fmla="*/ 7172 w 18329"/>
                    <a:gd name="connsiteY0" fmla="*/ 213 h 18367"/>
                    <a:gd name="connsiteX1" fmla="*/ 18117 w 18329"/>
                    <a:gd name="connsiteY1" fmla="*/ 7210 h 18367"/>
                    <a:gd name="connsiteX2" fmla="*/ 11179 w 18329"/>
                    <a:gd name="connsiteY2" fmla="*/ 18155 h 18367"/>
                    <a:gd name="connsiteX3" fmla="*/ 234 w 18329"/>
                    <a:gd name="connsiteY3" fmla="*/ 11157 h 18367"/>
                    <a:gd name="connsiteX4" fmla="*/ 7172 w 18329"/>
                    <a:gd name="connsiteY4" fmla="*/ 21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67">
                      <a:moveTo>
                        <a:pt x="7172" y="213"/>
                      </a:moveTo>
                      <a:cubicBezTo>
                        <a:pt x="12136" y="-864"/>
                        <a:pt x="16980" y="2246"/>
                        <a:pt x="18117" y="7210"/>
                      </a:cubicBezTo>
                      <a:cubicBezTo>
                        <a:pt x="19193" y="12174"/>
                        <a:pt x="16083" y="17079"/>
                        <a:pt x="11179" y="18155"/>
                      </a:cubicBezTo>
                      <a:cubicBezTo>
                        <a:pt x="6215" y="19231"/>
                        <a:pt x="1310" y="16122"/>
                        <a:pt x="234" y="11157"/>
                      </a:cubicBezTo>
                      <a:cubicBezTo>
                        <a:pt x="-902" y="6194"/>
                        <a:pt x="2208" y="1289"/>
                        <a:pt x="7172" y="213"/>
                      </a:cubicBezTo>
                      <a:close/>
                    </a:path>
                  </a:pathLst>
                </a:custGeom>
                <a:grpFill/>
                <a:ln w="5978" cap="flat">
                  <a:noFill/>
                  <a:prstDash val="solid"/>
                  <a:miter/>
                </a:ln>
              </p:spPr>
              <p:txBody>
                <a:bodyPr rtlCol="0" anchor="ctr"/>
                <a:lstStyle/>
                <a:p>
                  <a:endParaRPr lang="en-GB"/>
                </a:p>
              </p:txBody>
            </p:sp>
            <p:sp>
              <p:nvSpPr>
                <p:cNvPr id="5302" name="Vrije vorm: vorm 5301">
                  <a:extLst>
                    <a:ext uri="{FF2B5EF4-FFF2-40B4-BE49-F238E27FC236}">
                      <a16:creationId xmlns:a16="http://schemas.microsoft.com/office/drawing/2014/main" id="{C2B67D63-2B08-46D1-866A-4CB18A5876B4}"/>
                    </a:ext>
                  </a:extLst>
                </p:cNvPr>
                <p:cNvSpPr/>
                <p:nvPr/>
              </p:nvSpPr>
              <p:spPr>
                <a:xfrm>
                  <a:off x="7999120" y="2977093"/>
                  <a:ext cx="18351" cy="18383"/>
                </a:xfrm>
                <a:custGeom>
                  <a:avLst/>
                  <a:gdLst>
                    <a:gd name="connsiteX0" fmla="*/ 7172 w 18351"/>
                    <a:gd name="connsiteY0" fmla="*/ 210 h 18383"/>
                    <a:gd name="connsiteX1" fmla="*/ 234 w 18351"/>
                    <a:gd name="connsiteY1" fmla="*/ 11155 h 18383"/>
                    <a:gd name="connsiteX2" fmla="*/ 11179 w 18351"/>
                    <a:gd name="connsiteY2" fmla="*/ 18152 h 18383"/>
                    <a:gd name="connsiteX3" fmla="*/ 18117 w 18351"/>
                    <a:gd name="connsiteY3" fmla="*/ 7208 h 18383"/>
                    <a:gd name="connsiteX4" fmla="*/ 7172 w 18351"/>
                    <a:gd name="connsiteY4" fmla="*/ 210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3">
                      <a:moveTo>
                        <a:pt x="7172" y="210"/>
                      </a:moveTo>
                      <a:cubicBezTo>
                        <a:pt x="2208" y="1287"/>
                        <a:pt x="-902" y="6191"/>
                        <a:pt x="234" y="11155"/>
                      </a:cubicBezTo>
                      <a:cubicBezTo>
                        <a:pt x="1311" y="16119"/>
                        <a:pt x="6215" y="19289"/>
                        <a:pt x="11179" y="18152"/>
                      </a:cubicBezTo>
                      <a:cubicBezTo>
                        <a:pt x="16143" y="17076"/>
                        <a:pt x="19253" y="12172"/>
                        <a:pt x="18117" y="7208"/>
                      </a:cubicBezTo>
                      <a:cubicBezTo>
                        <a:pt x="17040" y="2303"/>
                        <a:pt x="12136" y="-867"/>
                        <a:pt x="7172" y="210"/>
                      </a:cubicBezTo>
                      <a:close/>
                    </a:path>
                  </a:pathLst>
                </a:custGeom>
                <a:grpFill/>
                <a:ln w="5978" cap="flat">
                  <a:noFill/>
                  <a:prstDash val="solid"/>
                  <a:miter/>
                </a:ln>
              </p:spPr>
              <p:txBody>
                <a:bodyPr rtlCol="0" anchor="ctr"/>
                <a:lstStyle/>
                <a:p>
                  <a:endParaRPr lang="en-GB"/>
                </a:p>
              </p:txBody>
            </p:sp>
          </p:grpSp>
          <p:grpSp>
            <p:nvGrpSpPr>
              <p:cNvPr id="24" name="Graphic 3">
                <a:extLst>
                  <a:ext uri="{FF2B5EF4-FFF2-40B4-BE49-F238E27FC236}">
                    <a16:creationId xmlns:a16="http://schemas.microsoft.com/office/drawing/2014/main" id="{02C3B97D-D3A2-40B8-B342-CF1C825FDA75}"/>
                  </a:ext>
                </a:extLst>
              </p:cNvPr>
              <p:cNvGrpSpPr/>
              <p:nvPr/>
            </p:nvGrpSpPr>
            <p:grpSpPr>
              <a:xfrm>
                <a:off x="7899111" y="3053672"/>
                <a:ext cx="349228" cy="72123"/>
                <a:chOff x="7899111" y="3053672"/>
                <a:chExt cx="349228" cy="72123"/>
              </a:xfrm>
              <a:grpFill/>
            </p:grpSpPr>
            <p:sp>
              <p:nvSpPr>
                <p:cNvPr id="5297" name="Vrije vorm: vorm 5296">
                  <a:extLst>
                    <a:ext uri="{FF2B5EF4-FFF2-40B4-BE49-F238E27FC236}">
                      <a16:creationId xmlns:a16="http://schemas.microsoft.com/office/drawing/2014/main" id="{1228D3A9-5C3C-485E-A28C-588D73C6B7F0}"/>
                    </a:ext>
                  </a:extLst>
                </p:cNvPr>
                <p:cNvSpPr/>
                <p:nvPr/>
              </p:nvSpPr>
              <p:spPr>
                <a:xfrm>
                  <a:off x="7907278" y="3061375"/>
                  <a:ext cx="332295" cy="56966"/>
                </a:xfrm>
                <a:custGeom>
                  <a:avLst/>
                  <a:gdLst>
                    <a:gd name="connsiteX0" fmla="*/ 0 w 332295"/>
                    <a:gd name="connsiteY0" fmla="*/ 53956 h 56966"/>
                    <a:gd name="connsiteX1" fmla="*/ 331806 w 332295"/>
                    <a:gd name="connsiteY1" fmla="*/ 0 h 56966"/>
                    <a:gd name="connsiteX2" fmla="*/ 332296 w 332295"/>
                    <a:gd name="connsiteY2" fmla="*/ 3011 h 56966"/>
                    <a:gd name="connsiteX3" fmla="*/ 490 w 332295"/>
                    <a:gd name="connsiteY3" fmla="*/ 56967 h 56966"/>
                  </a:gdLst>
                  <a:ahLst/>
                  <a:cxnLst>
                    <a:cxn ang="0">
                      <a:pos x="connsiteX0" y="connsiteY0"/>
                    </a:cxn>
                    <a:cxn ang="0">
                      <a:pos x="connsiteX1" y="connsiteY1"/>
                    </a:cxn>
                    <a:cxn ang="0">
                      <a:pos x="connsiteX2" y="connsiteY2"/>
                    </a:cxn>
                    <a:cxn ang="0">
                      <a:pos x="connsiteX3" y="connsiteY3"/>
                    </a:cxn>
                  </a:cxnLst>
                  <a:rect l="l" t="t" r="r" b="b"/>
                  <a:pathLst>
                    <a:path w="332295" h="56966">
                      <a:moveTo>
                        <a:pt x="0" y="53956"/>
                      </a:moveTo>
                      <a:lnTo>
                        <a:pt x="331806" y="0"/>
                      </a:lnTo>
                      <a:lnTo>
                        <a:pt x="332296" y="3011"/>
                      </a:lnTo>
                      <a:lnTo>
                        <a:pt x="490" y="56967"/>
                      </a:lnTo>
                      <a:close/>
                    </a:path>
                  </a:pathLst>
                </a:custGeom>
                <a:grpFill/>
                <a:ln w="5978" cap="flat">
                  <a:noFill/>
                  <a:prstDash val="solid"/>
                  <a:miter/>
                </a:ln>
              </p:spPr>
              <p:txBody>
                <a:bodyPr rtlCol="0" anchor="ctr"/>
                <a:lstStyle/>
                <a:p>
                  <a:endParaRPr lang="en-GB"/>
                </a:p>
              </p:txBody>
            </p:sp>
            <p:sp>
              <p:nvSpPr>
                <p:cNvPr id="5298" name="Vrije vorm: vorm 5297">
                  <a:extLst>
                    <a:ext uri="{FF2B5EF4-FFF2-40B4-BE49-F238E27FC236}">
                      <a16:creationId xmlns:a16="http://schemas.microsoft.com/office/drawing/2014/main" id="{4D9C9A04-9EBD-4C67-9F54-41F6A963645E}"/>
                    </a:ext>
                  </a:extLst>
                </p:cNvPr>
                <p:cNvSpPr/>
                <p:nvPr/>
              </p:nvSpPr>
              <p:spPr>
                <a:xfrm>
                  <a:off x="8230023" y="3053672"/>
                  <a:ext cx="18316" cy="18490"/>
                </a:xfrm>
                <a:custGeom>
                  <a:avLst/>
                  <a:gdLst>
                    <a:gd name="connsiteX0" fmla="*/ 7664 w 18316"/>
                    <a:gd name="connsiteY0" fmla="*/ 125 h 18490"/>
                    <a:gd name="connsiteX1" fmla="*/ 18190 w 18316"/>
                    <a:gd name="connsiteY1" fmla="*/ 7780 h 18490"/>
                    <a:gd name="connsiteX2" fmla="*/ 10654 w 18316"/>
                    <a:gd name="connsiteY2" fmla="*/ 18366 h 18490"/>
                    <a:gd name="connsiteX3" fmla="*/ 128 w 18316"/>
                    <a:gd name="connsiteY3" fmla="*/ 10711 h 18490"/>
                    <a:gd name="connsiteX4" fmla="*/ 7664 w 18316"/>
                    <a:gd name="connsiteY4" fmla="*/ 125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90">
                      <a:moveTo>
                        <a:pt x="7664" y="125"/>
                      </a:moveTo>
                      <a:cubicBezTo>
                        <a:pt x="12628" y="-712"/>
                        <a:pt x="17353" y="2756"/>
                        <a:pt x="18190" y="7780"/>
                      </a:cubicBezTo>
                      <a:cubicBezTo>
                        <a:pt x="19027" y="12804"/>
                        <a:pt x="15618" y="17529"/>
                        <a:pt x="10654" y="18366"/>
                      </a:cubicBezTo>
                      <a:cubicBezTo>
                        <a:pt x="5690" y="19203"/>
                        <a:pt x="966" y="15735"/>
                        <a:pt x="128" y="10711"/>
                      </a:cubicBezTo>
                      <a:cubicBezTo>
                        <a:pt x="-709" y="5627"/>
                        <a:pt x="2640" y="902"/>
                        <a:pt x="7664" y="125"/>
                      </a:cubicBezTo>
                      <a:close/>
                    </a:path>
                  </a:pathLst>
                </a:custGeom>
                <a:grpFill/>
                <a:ln w="5978" cap="flat">
                  <a:noFill/>
                  <a:prstDash val="solid"/>
                  <a:miter/>
                </a:ln>
              </p:spPr>
              <p:txBody>
                <a:bodyPr rtlCol="0" anchor="ctr"/>
                <a:lstStyle/>
                <a:p>
                  <a:endParaRPr lang="en-GB"/>
                </a:p>
              </p:txBody>
            </p:sp>
            <p:sp>
              <p:nvSpPr>
                <p:cNvPr id="5299" name="Vrije vorm: vorm 5298">
                  <a:extLst>
                    <a:ext uri="{FF2B5EF4-FFF2-40B4-BE49-F238E27FC236}">
                      <a16:creationId xmlns:a16="http://schemas.microsoft.com/office/drawing/2014/main" id="{918E6B3A-5B8B-4E78-AE91-CA4125AAB6F8}"/>
                    </a:ext>
                  </a:extLst>
                </p:cNvPr>
                <p:cNvSpPr/>
                <p:nvPr/>
              </p:nvSpPr>
              <p:spPr>
                <a:xfrm>
                  <a:off x="7899111" y="3107333"/>
                  <a:ext cx="18315" cy="18462"/>
                </a:xfrm>
                <a:custGeom>
                  <a:avLst/>
                  <a:gdLst>
                    <a:gd name="connsiteX0" fmla="*/ 7662 w 18315"/>
                    <a:gd name="connsiteY0" fmla="*/ 110 h 18462"/>
                    <a:gd name="connsiteX1" fmla="*/ 127 w 18315"/>
                    <a:gd name="connsiteY1" fmla="*/ 10696 h 18462"/>
                    <a:gd name="connsiteX2" fmla="*/ 10653 w 18315"/>
                    <a:gd name="connsiteY2" fmla="*/ 18352 h 18462"/>
                    <a:gd name="connsiteX3" fmla="*/ 18188 w 18315"/>
                    <a:gd name="connsiteY3" fmla="*/ 7766 h 18462"/>
                    <a:gd name="connsiteX4" fmla="*/ 7662 w 18315"/>
                    <a:gd name="connsiteY4" fmla="*/ 11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62">
                      <a:moveTo>
                        <a:pt x="7662" y="110"/>
                      </a:moveTo>
                      <a:cubicBezTo>
                        <a:pt x="2699" y="948"/>
                        <a:pt x="-711" y="5672"/>
                        <a:pt x="127" y="10696"/>
                      </a:cubicBezTo>
                      <a:cubicBezTo>
                        <a:pt x="964" y="15720"/>
                        <a:pt x="5689" y="19129"/>
                        <a:pt x="10653" y="18352"/>
                      </a:cubicBezTo>
                      <a:cubicBezTo>
                        <a:pt x="15617" y="17514"/>
                        <a:pt x="19026" y="12790"/>
                        <a:pt x="18188" y="7766"/>
                      </a:cubicBezTo>
                      <a:cubicBezTo>
                        <a:pt x="17351" y="2742"/>
                        <a:pt x="12627" y="-667"/>
                        <a:pt x="7662" y="110"/>
                      </a:cubicBezTo>
                      <a:close/>
                    </a:path>
                  </a:pathLst>
                </a:custGeom>
                <a:grpFill/>
                <a:ln w="5978" cap="flat">
                  <a:noFill/>
                  <a:prstDash val="solid"/>
                  <a:miter/>
                </a:ln>
              </p:spPr>
              <p:txBody>
                <a:bodyPr rtlCol="0" anchor="ctr"/>
                <a:lstStyle/>
                <a:p>
                  <a:endParaRPr lang="en-GB"/>
                </a:p>
              </p:txBody>
            </p:sp>
          </p:grpSp>
          <p:grpSp>
            <p:nvGrpSpPr>
              <p:cNvPr id="25" name="Graphic 3">
                <a:extLst>
                  <a:ext uri="{FF2B5EF4-FFF2-40B4-BE49-F238E27FC236}">
                    <a16:creationId xmlns:a16="http://schemas.microsoft.com/office/drawing/2014/main" id="{CD8DD8B8-B64F-4014-82FC-0E5C89448AD3}"/>
                  </a:ext>
                </a:extLst>
              </p:cNvPr>
              <p:cNvGrpSpPr/>
              <p:nvPr/>
            </p:nvGrpSpPr>
            <p:grpSpPr>
              <a:xfrm>
                <a:off x="7693165" y="1997629"/>
                <a:ext cx="29259" cy="27753"/>
                <a:chOff x="7693165" y="1997629"/>
                <a:chExt cx="29259" cy="27753"/>
              </a:xfrm>
              <a:grpFill/>
            </p:grpSpPr>
            <p:sp>
              <p:nvSpPr>
                <p:cNvPr id="5295" name="Vrije vorm: vorm 5294">
                  <a:extLst>
                    <a:ext uri="{FF2B5EF4-FFF2-40B4-BE49-F238E27FC236}">
                      <a16:creationId xmlns:a16="http://schemas.microsoft.com/office/drawing/2014/main" id="{E9CE67F9-7D56-48BD-97B9-7DF41CF9AFE0}"/>
                    </a:ext>
                  </a:extLst>
                </p:cNvPr>
                <p:cNvSpPr/>
                <p:nvPr/>
              </p:nvSpPr>
              <p:spPr>
                <a:xfrm>
                  <a:off x="7704109" y="1997629"/>
                  <a:ext cx="18314" cy="18423"/>
                </a:xfrm>
                <a:custGeom>
                  <a:avLst/>
                  <a:gdLst>
                    <a:gd name="connsiteX0" fmla="*/ 15108 w 18314"/>
                    <a:gd name="connsiteY0" fmla="*/ 16239 h 18423"/>
                    <a:gd name="connsiteX1" fmla="*/ 2190 w 18314"/>
                    <a:gd name="connsiteY1" fmla="*/ 15163 h 18423"/>
                    <a:gd name="connsiteX2" fmla="*/ 3207 w 18314"/>
                    <a:gd name="connsiteY2" fmla="*/ 2185 h 18423"/>
                    <a:gd name="connsiteX3" fmla="*/ 16125 w 18314"/>
                    <a:gd name="connsiteY3" fmla="*/ 3261 h 18423"/>
                    <a:gd name="connsiteX4" fmla="*/ 15108 w 18314"/>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23">
                      <a:moveTo>
                        <a:pt x="15108" y="16239"/>
                      </a:moveTo>
                      <a:cubicBezTo>
                        <a:pt x="11280" y="19529"/>
                        <a:pt x="5479" y="19050"/>
                        <a:pt x="2190" y="15163"/>
                      </a:cubicBezTo>
                      <a:cubicBezTo>
                        <a:pt x="-1099" y="11275"/>
                        <a:pt x="-621" y="5474"/>
                        <a:pt x="3207" y="2185"/>
                      </a:cubicBezTo>
                      <a:cubicBezTo>
                        <a:pt x="7034" y="-1105"/>
                        <a:pt x="12836" y="-626"/>
                        <a:pt x="16125" y="3261"/>
                      </a:cubicBezTo>
                      <a:cubicBezTo>
                        <a:pt x="19414" y="7149"/>
                        <a:pt x="18936" y="12950"/>
                        <a:pt x="15108" y="16239"/>
                      </a:cubicBezTo>
                      <a:close/>
                    </a:path>
                  </a:pathLst>
                </a:custGeom>
                <a:grpFill/>
                <a:ln w="5978" cap="flat">
                  <a:noFill/>
                  <a:prstDash val="solid"/>
                  <a:miter/>
                </a:ln>
              </p:spPr>
              <p:txBody>
                <a:bodyPr rtlCol="0" anchor="ctr"/>
                <a:lstStyle/>
                <a:p>
                  <a:endParaRPr lang="en-GB"/>
                </a:p>
              </p:txBody>
            </p:sp>
            <p:sp>
              <p:nvSpPr>
                <p:cNvPr id="5296" name="Vrije vorm: vorm 5295">
                  <a:extLst>
                    <a:ext uri="{FF2B5EF4-FFF2-40B4-BE49-F238E27FC236}">
                      <a16:creationId xmlns:a16="http://schemas.microsoft.com/office/drawing/2014/main" id="{AA6E6816-3602-408B-9AE2-9C63B4403DEC}"/>
                    </a:ext>
                  </a:extLst>
                </p:cNvPr>
                <p:cNvSpPr/>
                <p:nvPr/>
              </p:nvSpPr>
              <p:spPr>
                <a:xfrm>
                  <a:off x="7693165" y="2006959"/>
                  <a:ext cx="18315" cy="18423"/>
                </a:xfrm>
                <a:custGeom>
                  <a:avLst/>
                  <a:gdLst>
                    <a:gd name="connsiteX0" fmla="*/ 15109 w 18315"/>
                    <a:gd name="connsiteY0" fmla="*/ 16239 h 18423"/>
                    <a:gd name="connsiteX1" fmla="*/ 16125 w 18315"/>
                    <a:gd name="connsiteY1" fmla="*/ 3261 h 18423"/>
                    <a:gd name="connsiteX2" fmla="*/ 3207 w 18315"/>
                    <a:gd name="connsiteY2" fmla="*/ 2185 h 18423"/>
                    <a:gd name="connsiteX3" fmla="*/ 2190 w 18315"/>
                    <a:gd name="connsiteY3" fmla="*/ 15163 h 18423"/>
                    <a:gd name="connsiteX4" fmla="*/ 15109 w 18315"/>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3">
                      <a:moveTo>
                        <a:pt x="15109" y="16239"/>
                      </a:moveTo>
                      <a:cubicBezTo>
                        <a:pt x="18936" y="12950"/>
                        <a:pt x="19414" y="7149"/>
                        <a:pt x="16125" y="3261"/>
                      </a:cubicBezTo>
                      <a:cubicBezTo>
                        <a:pt x="12836" y="-626"/>
                        <a:pt x="7035" y="-1105"/>
                        <a:pt x="3207" y="2185"/>
                      </a:cubicBezTo>
                      <a:cubicBezTo>
                        <a:pt x="-621" y="5474"/>
                        <a:pt x="-1100" y="11275"/>
                        <a:pt x="2190" y="15163"/>
                      </a:cubicBezTo>
                      <a:cubicBezTo>
                        <a:pt x="5480" y="19050"/>
                        <a:pt x="11281" y="19529"/>
                        <a:pt x="15109" y="16239"/>
                      </a:cubicBezTo>
                      <a:close/>
                    </a:path>
                  </a:pathLst>
                </a:custGeom>
                <a:grpFill/>
                <a:ln w="5978" cap="flat">
                  <a:noFill/>
                  <a:prstDash val="solid"/>
                  <a:miter/>
                </a:ln>
              </p:spPr>
              <p:txBody>
                <a:bodyPr rtlCol="0" anchor="ctr"/>
                <a:lstStyle/>
                <a:p>
                  <a:endParaRPr lang="en-GB"/>
                </a:p>
              </p:txBody>
            </p:sp>
          </p:grpSp>
          <p:grpSp>
            <p:nvGrpSpPr>
              <p:cNvPr id="26" name="Graphic 3">
                <a:extLst>
                  <a:ext uri="{FF2B5EF4-FFF2-40B4-BE49-F238E27FC236}">
                    <a16:creationId xmlns:a16="http://schemas.microsoft.com/office/drawing/2014/main" id="{47822B4D-F6A3-47C5-BC08-43CA3CB0A8E1}"/>
                  </a:ext>
                </a:extLst>
              </p:cNvPr>
              <p:cNvGrpSpPr/>
              <p:nvPr/>
            </p:nvGrpSpPr>
            <p:grpSpPr>
              <a:xfrm>
                <a:off x="7939916" y="2718470"/>
                <a:ext cx="22197" cy="19854"/>
                <a:chOff x="7939916" y="2718470"/>
                <a:chExt cx="22197" cy="19854"/>
              </a:xfrm>
              <a:grpFill/>
            </p:grpSpPr>
            <p:sp>
              <p:nvSpPr>
                <p:cNvPr id="5293" name="Vrije vorm: vorm 5292">
                  <a:extLst>
                    <a:ext uri="{FF2B5EF4-FFF2-40B4-BE49-F238E27FC236}">
                      <a16:creationId xmlns:a16="http://schemas.microsoft.com/office/drawing/2014/main" id="{411A3D86-425A-40D5-98D4-CD28FC3E3288}"/>
                    </a:ext>
                  </a:extLst>
                </p:cNvPr>
                <p:cNvSpPr/>
                <p:nvPr/>
              </p:nvSpPr>
              <p:spPr>
                <a:xfrm>
                  <a:off x="7939916" y="2719882"/>
                  <a:ext cx="18309" cy="18442"/>
                </a:xfrm>
                <a:custGeom>
                  <a:avLst/>
                  <a:gdLst>
                    <a:gd name="connsiteX0" fmla="*/ 6031 w 18309"/>
                    <a:gd name="connsiteY0" fmla="*/ 549 h 18442"/>
                    <a:gd name="connsiteX1" fmla="*/ 17753 w 18309"/>
                    <a:gd name="connsiteY1" fmla="*/ 6111 h 18442"/>
                    <a:gd name="connsiteX2" fmla="*/ 12310 w 18309"/>
                    <a:gd name="connsiteY2" fmla="*/ 17894 h 18442"/>
                    <a:gd name="connsiteX3" fmla="*/ 588 w 18309"/>
                    <a:gd name="connsiteY3" fmla="*/ 12331 h 18442"/>
                    <a:gd name="connsiteX4" fmla="*/ 6031 w 18309"/>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42">
                      <a:moveTo>
                        <a:pt x="6031" y="549"/>
                      </a:moveTo>
                      <a:cubicBezTo>
                        <a:pt x="10756" y="-1185"/>
                        <a:pt x="16019" y="1327"/>
                        <a:pt x="17753" y="6111"/>
                      </a:cubicBezTo>
                      <a:cubicBezTo>
                        <a:pt x="19487" y="10896"/>
                        <a:pt x="17035" y="16159"/>
                        <a:pt x="12310" y="17894"/>
                      </a:cubicBezTo>
                      <a:cubicBezTo>
                        <a:pt x="7586" y="19628"/>
                        <a:pt x="2323" y="17116"/>
                        <a:pt x="588" y="12331"/>
                      </a:cubicBezTo>
                      <a:cubicBezTo>
                        <a:pt x="-1206" y="7547"/>
                        <a:pt x="1246" y="2284"/>
                        <a:pt x="6031" y="549"/>
                      </a:cubicBezTo>
                      <a:close/>
                    </a:path>
                  </a:pathLst>
                </a:custGeom>
                <a:grpFill/>
                <a:ln w="5978" cap="flat">
                  <a:noFill/>
                  <a:prstDash val="solid"/>
                  <a:miter/>
                </a:ln>
              </p:spPr>
              <p:txBody>
                <a:bodyPr rtlCol="0" anchor="ctr"/>
                <a:lstStyle/>
                <a:p>
                  <a:endParaRPr lang="en-GB"/>
                </a:p>
              </p:txBody>
            </p:sp>
            <p:sp>
              <p:nvSpPr>
                <p:cNvPr id="5294" name="Vrije vorm: vorm 5293">
                  <a:extLst>
                    <a:ext uri="{FF2B5EF4-FFF2-40B4-BE49-F238E27FC236}">
                      <a16:creationId xmlns:a16="http://schemas.microsoft.com/office/drawing/2014/main" id="{A99E7F64-BDFF-4D6A-8D68-094986ECF616}"/>
                    </a:ext>
                  </a:extLst>
                </p:cNvPr>
                <p:cNvSpPr/>
                <p:nvPr/>
              </p:nvSpPr>
              <p:spPr>
                <a:xfrm>
                  <a:off x="7943775" y="2718470"/>
                  <a:ext cx="18339" cy="18419"/>
                </a:xfrm>
                <a:custGeom>
                  <a:avLst/>
                  <a:gdLst>
                    <a:gd name="connsiteX0" fmla="*/ 6000 w 18339"/>
                    <a:gd name="connsiteY0" fmla="*/ 526 h 18419"/>
                    <a:gd name="connsiteX1" fmla="*/ 557 w 18339"/>
                    <a:gd name="connsiteY1" fmla="*/ 12308 h 18419"/>
                    <a:gd name="connsiteX2" fmla="*/ 12339 w 18339"/>
                    <a:gd name="connsiteY2" fmla="*/ 17870 h 18419"/>
                    <a:gd name="connsiteX3" fmla="*/ 17782 w 18339"/>
                    <a:gd name="connsiteY3" fmla="*/ 6088 h 18419"/>
                    <a:gd name="connsiteX4" fmla="*/ 6000 w 18339"/>
                    <a:gd name="connsiteY4" fmla="*/ 52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9">
                      <a:moveTo>
                        <a:pt x="6000" y="526"/>
                      </a:moveTo>
                      <a:cubicBezTo>
                        <a:pt x="1275" y="2260"/>
                        <a:pt x="-1177" y="7523"/>
                        <a:pt x="557" y="12308"/>
                      </a:cubicBezTo>
                      <a:cubicBezTo>
                        <a:pt x="2292" y="17092"/>
                        <a:pt x="7555" y="19604"/>
                        <a:pt x="12339" y="17870"/>
                      </a:cubicBezTo>
                      <a:cubicBezTo>
                        <a:pt x="17064" y="16135"/>
                        <a:pt x="19517" y="10872"/>
                        <a:pt x="17782" y="6088"/>
                      </a:cubicBezTo>
                      <a:cubicBezTo>
                        <a:pt x="16047" y="1303"/>
                        <a:pt x="10784" y="-1149"/>
                        <a:pt x="6000" y="526"/>
                      </a:cubicBezTo>
                      <a:close/>
                    </a:path>
                  </a:pathLst>
                </a:custGeom>
                <a:grpFill/>
                <a:ln w="5978" cap="flat">
                  <a:noFill/>
                  <a:prstDash val="solid"/>
                  <a:miter/>
                </a:ln>
              </p:spPr>
              <p:txBody>
                <a:bodyPr rtlCol="0" anchor="ctr"/>
                <a:lstStyle/>
                <a:p>
                  <a:endParaRPr lang="en-GB"/>
                </a:p>
              </p:txBody>
            </p:sp>
          </p:grpSp>
          <p:grpSp>
            <p:nvGrpSpPr>
              <p:cNvPr id="27" name="Graphic 3">
                <a:extLst>
                  <a:ext uri="{FF2B5EF4-FFF2-40B4-BE49-F238E27FC236}">
                    <a16:creationId xmlns:a16="http://schemas.microsoft.com/office/drawing/2014/main" id="{A461A2BC-0AC8-438A-8FD8-BB3583896EC7}"/>
                  </a:ext>
                </a:extLst>
              </p:cNvPr>
              <p:cNvGrpSpPr/>
              <p:nvPr/>
            </p:nvGrpSpPr>
            <p:grpSpPr>
              <a:xfrm>
                <a:off x="8085411" y="3344457"/>
                <a:ext cx="127042" cy="21598"/>
                <a:chOff x="8085411" y="3344457"/>
                <a:chExt cx="127042" cy="21598"/>
              </a:xfrm>
              <a:grpFill/>
            </p:grpSpPr>
            <p:sp>
              <p:nvSpPr>
                <p:cNvPr id="5290" name="Vrije vorm: vorm 5289">
                  <a:extLst>
                    <a:ext uri="{FF2B5EF4-FFF2-40B4-BE49-F238E27FC236}">
                      <a16:creationId xmlns:a16="http://schemas.microsoft.com/office/drawing/2014/main" id="{2FB6A83B-87D0-4C3B-9726-E2761B521673}"/>
                    </a:ext>
                  </a:extLst>
                </p:cNvPr>
                <p:cNvSpPr/>
                <p:nvPr/>
              </p:nvSpPr>
              <p:spPr>
                <a:xfrm>
                  <a:off x="8094090" y="3352175"/>
                  <a:ext cx="109746" cy="6279"/>
                </a:xfrm>
                <a:custGeom>
                  <a:avLst/>
                  <a:gdLst>
                    <a:gd name="connsiteX0" fmla="*/ 109626 w 109746"/>
                    <a:gd name="connsiteY0" fmla="*/ 0 h 6279"/>
                    <a:gd name="connsiteX1" fmla="*/ 109746 w 109746"/>
                    <a:gd name="connsiteY1" fmla="*/ 3050 h 6279"/>
                    <a:gd name="connsiteX2" fmla="*/ 120 w 109746"/>
                    <a:gd name="connsiteY2" fmla="*/ 6280 h 6279"/>
                    <a:gd name="connsiteX3" fmla="*/ 0 w 109746"/>
                    <a:gd name="connsiteY3" fmla="*/ 3230 h 6279"/>
                  </a:gdLst>
                  <a:ahLst/>
                  <a:cxnLst>
                    <a:cxn ang="0">
                      <a:pos x="connsiteX0" y="connsiteY0"/>
                    </a:cxn>
                    <a:cxn ang="0">
                      <a:pos x="connsiteX1" y="connsiteY1"/>
                    </a:cxn>
                    <a:cxn ang="0">
                      <a:pos x="connsiteX2" y="connsiteY2"/>
                    </a:cxn>
                    <a:cxn ang="0">
                      <a:pos x="connsiteX3" y="connsiteY3"/>
                    </a:cxn>
                  </a:cxnLst>
                  <a:rect l="l" t="t" r="r" b="b"/>
                  <a:pathLst>
                    <a:path w="109746" h="6279">
                      <a:moveTo>
                        <a:pt x="109626" y="0"/>
                      </a:moveTo>
                      <a:lnTo>
                        <a:pt x="109746" y="3050"/>
                      </a:lnTo>
                      <a:lnTo>
                        <a:pt x="120" y="6280"/>
                      </a:lnTo>
                      <a:lnTo>
                        <a:pt x="0" y="3230"/>
                      </a:lnTo>
                      <a:close/>
                    </a:path>
                  </a:pathLst>
                </a:custGeom>
                <a:grpFill/>
                <a:ln w="5978" cap="flat">
                  <a:noFill/>
                  <a:prstDash val="solid"/>
                  <a:miter/>
                </a:ln>
              </p:spPr>
              <p:txBody>
                <a:bodyPr rtlCol="0" anchor="ctr"/>
                <a:lstStyle/>
                <a:p>
                  <a:endParaRPr lang="en-GB"/>
                </a:p>
              </p:txBody>
            </p:sp>
            <p:sp>
              <p:nvSpPr>
                <p:cNvPr id="5291" name="Vrije vorm: vorm 5290">
                  <a:extLst>
                    <a:ext uri="{FF2B5EF4-FFF2-40B4-BE49-F238E27FC236}">
                      <a16:creationId xmlns:a16="http://schemas.microsoft.com/office/drawing/2014/main" id="{261A4A03-3B79-4060-A5F2-AFA355211961}"/>
                    </a:ext>
                  </a:extLst>
                </p:cNvPr>
                <p:cNvSpPr/>
                <p:nvPr/>
              </p:nvSpPr>
              <p:spPr>
                <a:xfrm>
                  <a:off x="8194141" y="3344457"/>
                  <a:ext cx="18312" cy="18366"/>
                </a:xfrm>
                <a:custGeom>
                  <a:avLst/>
                  <a:gdLst>
                    <a:gd name="connsiteX0" fmla="*/ 8857 w 18312"/>
                    <a:gd name="connsiteY0" fmla="*/ 3 h 18366"/>
                    <a:gd name="connsiteX1" fmla="*/ 18307 w 18312"/>
                    <a:gd name="connsiteY1" fmla="*/ 8914 h 18366"/>
                    <a:gd name="connsiteX2" fmla="*/ 9455 w 18312"/>
                    <a:gd name="connsiteY2" fmla="*/ 18364 h 18366"/>
                    <a:gd name="connsiteX3" fmla="*/ 6 w 18312"/>
                    <a:gd name="connsiteY3" fmla="*/ 9452 h 18366"/>
                    <a:gd name="connsiteX4" fmla="*/ 8857 w 18312"/>
                    <a:gd name="connsiteY4" fmla="*/ 3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66">
                      <a:moveTo>
                        <a:pt x="8857" y="3"/>
                      </a:moveTo>
                      <a:cubicBezTo>
                        <a:pt x="13941" y="-117"/>
                        <a:pt x="18128" y="3830"/>
                        <a:pt x="18307" y="8914"/>
                      </a:cubicBezTo>
                      <a:cubicBezTo>
                        <a:pt x="18486" y="13998"/>
                        <a:pt x="14539" y="18244"/>
                        <a:pt x="9455" y="18364"/>
                      </a:cubicBezTo>
                      <a:cubicBezTo>
                        <a:pt x="4372" y="18483"/>
                        <a:pt x="185" y="14536"/>
                        <a:pt x="6" y="9452"/>
                      </a:cubicBezTo>
                      <a:cubicBezTo>
                        <a:pt x="-174" y="4428"/>
                        <a:pt x="3774" y="182"/>
                        <a:pt x="8857" y="3"/>
                      </a:cubicBezTo>
                      <a:close/>
                    </a:path>
                  </a:pathLst>
                </a:custGeom>
                <a:grpFill/>
                <a:ln w="5978" cap="flat">
                  <a:noFill/>
                  <a:prstDash val="solid"/>
                  <a:miter/>
                </a:ln>
              </p:spPr>
              <p:txBody>
                <a:bodyPr rtlCol="0" anchor="ctr"/>
                <a:lstStyle/>
                <a:p>
                  <a:endParaRPr lang="en-GB"/>
                </a:p>
              </p:txBody>
            </p:sp>
            <p:sp>
              <p:nvSpPr>
                <p:cNvPr id="5292" name="Vrije vorm: vorm 5291">
                  <a:extLst>
                    <a:ext uri="{FF2B5EF4-FFF2-40B4-BE49-F238E27FC236}">
                      <a16:creationId xmlns:a16="http://schemas.microsoft.com/office/drawing/2014/main" id="{09AE84F4-7FCB-454E-A70E-DC4EB9F388A7}"/>
                    </a:ext>
                  </a:extLst>
                </p:cNvPr>
                <p:cNvSpPr/>
                <p:nvPr/>
              </p:nvSpPr>
              <p:spPr>
                <a:xfrm>
                  <a:off x="8085411" y="3347687"/>
                  <a:ext cx="18313" cy="18369"/>
                </a:xfrm>
                <a:custGeom>
                  <a:avLst/>
                  <a:gdLst>
                    <a:gd name="connsiteX0" fmla="*/ 8857 w 18313"/>
                    <a:gd name="connsiteY0" fmla="*/ 3 h 18369"/>
                    <a:gd name="connsiteX1" fmla="*/ 6 w 18313"/>
                    <a:gd name="connsiteY1" fmla="*/ 9452 h 18369"/>
                    <a:gd name="connsiteX2" fmla="*/ 9456 w 18313"/>
                    <a:gd name="connsiteY2" fmla="*/ 18363 h 18369"/>
                    <a:gd name="connsiteX3" fmla="*/ 18307 w 18313"/>
                    <a:gd name="connsiteY3" fmla="*/ 8914 h 18369"/>
                    <a:gd name="connsiteX4" fmla="*/ 8857 w 18313"/>
                    <a:gd name="connsiteY4" fmla="*/ 3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69">
                      <a:moveTo>
                        <a:pt x="8857" y="3"/>
                      </a:moveTo>
                      <a:cubicBezTo>
                        <a:pt x="3774" y="122"/>
                        <a:pt x="-173" y="4368"/>
                        <a:pt x="6" y="9452"/>
                      </a:cubicBezTo>
                      <a:cubicBezTo>
                        <a:pt x="185" y="14536"/>
                        <a:pt x="4432" y="18543"/>
                        <a:pt x="9456" y="18363"/>
                      </a:cubicBezTo>
                      <a:cubicBezTo>
                        <a:pt x="14539" y="18244"/>
                        <a:pt x="18487" y="13997"/>
                        <a:pt x="18307" y="8914"/>
                      </a:cubicBezTo>
                      <a:cubicBezTo>
                        <a:pt x="18187" y="3890"/>
                        <a:pt x="13941" y="-117"/>
                        <a:pt x="8857" y="3"/>
                      </a:cubicBezTo>
                      <a:close/>
                    </a:path>
                  </a:pathLst>
                </a:custGeom>
                <a:grpFill/>
                <a:ln w="5978" cap="flat">
                  <a:noFill/>
                  <a:prstDash val="solid"/>
                  <a:miter/>
                </a:ln>
              </p:spPr>
              <p:txBody>
                <a:bodyPr rtlCol="0" anchor="ctr"/>
                <a:lstStyle/>
                <a:p>
                  <a:endParaRPr lang="en-GB"/>
                </a:p>
              </p:txBody>
            </p:sp>
          </p:grpSp>
          <p:grpSp>
            <p:nvGrpSpPr>
              <p:cNvPr id="28" name="Graphic 3">
                <a:extLst>
                  <a:ext uri="{FF2B5EF4-FFF2-40B4-BE49-F238E27FC236}">
                    <a16:creationId xmlns:a16="http://schemas.microsoft.com/office/drawing/2014/main" id="{80262C6F-D6B9-4F16-A949-E98EF141ADE5}"/>
                  </a:ext>
                </a:extLst>
              </p:cNvPr>
              <p:cNvGrpSpPr/>
              <p:nvPr/>
            </p:nvGrpSpPr>
            <p:grpSpPr>
              <a:xfrm>
                <a:off x="7595726" y="2137324"/>
                <a:ext cx="356684" cy="246079"/>
                <a:chOff x="7595726" y="2137324"/>
                <a:chExt cx="356684" cy="246079"/>
              </a:xfrm>
              <a:grpFill/>
            </p:grpSpPr>
            <p:sp>
              <p:nvSpPr>
                <p:cNvPr id="5287" name="Vrije vorm: vorm 5286">
                  <a:extLst>
                    <a:ext uri="{FF2B5EF4-FFF2-40B4-BE49-F238E27FC236}">
                      <a16:creationId xmlns:a16="http://schemas.microsoft.com/office/drawing/2014/main" id="{D2262F87-1BFE-4F06-A710-483A2436A123}"/>
                    </a:ext>
                  </a:extLst>
                </p:cNvPr>
                <p:cNvSpPr/>
                <p:nvPr/>
              </p:nvSpPr>
              <p:spPr>
                <a:xfrm>
                  <a:off x="7603670" y="2145026"/>
                  <a:ext cx="340781" cy="230676"/>
                </a:xfrm>
                <a:custGeom>
                  <a:avLst/>
                  <a:gdLst>
                    <a:gd name="connsiteX0" fmla="*/ 340781 w 340781"/>
                    <a:gd name="connsiteY0" fmla="*/ 2512 h 230676"/>
                    <a:gd name="connsiteX1" fmla="*/ 1734 w 340781"/>
                    <a:gd name="connsiteY1" fmla="*/ 230676 h 230676"/>
                    <a:gd name="connsiteX2" fmla="*/ 0 w 340781"/>
                    <a:gd name="connsiteY2" fmla="*/ 228105 h 230676"/>
                    <a:gd name="connsiteX3" fmla="*/ 339047 w 340781"/>
                    <a:gd name="connsiteY3" fmla="*/ 0 h 230676"/>
                  </a:gdLst>
                  <a:ahLst/>
                  <a:cxnLst>
                    <a:cxn ang="0">
                      <a:pos x="connsiteX0" y="connsiteY0"/>
                    </a:cxn>
                    <a:cxn ang="0">
                      <a:pos x="connsiteX1" y="connsiteY1"/>
                    </a:cxn>
                    <a:cxn ang="0">
                      <a:pos x="connsiteX2" y="connsiteY2"/>
                    </a:cxn>
                    <a:cxn ang="0">
                      <a:pos x="connsiteX3" y="connsiteY3"/>
                    </a:cxn>
                  </a:cxnLst>
                  <a:rect l="l" t="t" r="r" b="b"/>
                  <a:pathLst>
                    <a:path w="340781" h="230676">
                      <a:moveTo>
                        <a:pt x="340781" y="2512"/>
                      </a:moveTo>
                      <a:lnTo>
                        <a:pt x="1734" y="230676"/>
                      </a:lnTo>
                      <a:lnTo>
                        <a:pt x="0" y="228105"/>
                      </a:lnTo>
                      <a:lnTo>
                        <a:pt x="339047" y="0"/>
                      </a:lnTo>
                      <a:close/>
                    </a:path>
                  </a:pathLst>
                </a:custGeom>
                <a:grpFill/>
                <a:ln w="5978" cap="flat">
                  <a:noFill/>
                  <a:prstDash val="solid"/>
                  <a:miter/>
                </a:ln>
              </p:spPr>
              <p:txBody>
                <a:bodyPr rtlCol="0" anchor="ctr"/>
                <a:lstStyle/>
                <a:p>
                  <a:endParaRPr lang="en-GB"/>
                </a:p>
              </p:txBody>
            </p:sp>
            <p:sp>
              <p:nvSpPr>
                <p:cNvPr id="5288" name="Vrije vorm: vorm 5287">
                  <a:extLst>
                    <a:ext uri="{FF2B5EF4-FFF2-40B4-BE49-F238E27FC236}">
                      <a16:creationId xmlns:a16="http://schemas.microsoft.com/office/drawing/2014/main" id="{D49F8078-59AB-46D4-AC80-BE43C9D48259}"/>
                    </a:ext>
                  </a:extLst>
                </p:cNvPr>
                <p:cNvSpPr/>
                <p:nvPr/>
              </p:nvSpPr>
              <p:spPr>
                <a:xfrm>
                  <a:off x="7934040" y="2137324"/>
                  <a:ext cx="18371" cy="18453"/>
                </a:xfrm>
                <a:custGeom>
                  <a:avLst/>
                  <a:gdLst>
                    <a:gd name="connsiteX0" fmla="*/ 4072 w 18371"/>
                    <a:gd name="connsiteY0" fmla="*/ 1541 h 18453"/>
                    <a:gd name="connsiteX1" fmla="*/ 16811 w 18371"/>
                    <a:gd name="connsiteY1" fmla="*/ 4113 h 18453"/>
                    <a:gd name="connsiteX2" fmla="*/ 14299 w 18371"/>
                    <a:gd name="connsiteY2" fmla="*/ 16912 h 18453"/>
                    <a:gd name="connsiteX3" fmla="*/ 1560 w 18371"/>
                    <a:gd name="connsiteY3" fmla="*/ 14340 h 18453"/>
                    <a:gd name="connsiteX4" fmla="*/ 4072 w 18371"/>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3">
                      <a:moveTo>
                        <a:pt x="4072" y="1541"/>
                      </a:moveTo>
                      <a:cubicBezTo>
                        <a:pt x="8259" y="-1270"/>
                        <a:pt x="13940" y="-133"/>
                        <a:pt x="16811" y="4113"/>
                      </a:cubicBezTo>
                      <a:cubicBezTo>
                        <a:pt x="19622" y="8359"/>
                        <a:pt x="18546" y="14041"/>
                        <a:pt x="14299" y="16912"/>
                      </a:cubicBezTo>
                      <a:cubicBezTo>
                        <a:pt x="10112" y="19723"/>
                        <a:pt x="4431" y="18587"/>
                        <a:pt x="1560" y="14340"/>
                      </a:cubicBezTo>
                      <a:cubicBezTo>
                        <a:pt x="-1251" y="10094"/>
                        <a:pt x="-174" y="4352"/>
                        <a:pt x="4072" y="1541"/>
                      </a:cubicBezTo>
                      <a:close/>
                    </a:path>
                  </a:pathLst>
                </a:custGeom>
                <a:grpFill/>
                <a:ln w="5978" cap="flat">
                  <a:noFill/>
                  <a:prstDash val="solid"/>
                  <a:miter/>
                </a:ln>
              </p:spPr>
              <p:txBody>
                <a:bodyPr rtlCol="0" anchor="ctr"/>
                <a:lstStyle/>
                <a:p>
                  <a:endParaRPr lang="en-GB"/>
                </a:p>
              </p:txBody>
            </p:sp>
            <p:sp>
              <p:nvSpPr>
                <p:cNvPr id="5289" name="Vrije vorm: vorm 5288">
                  <a:extLst>
                    <a:ext uri="{FF2B5EF4-FFF2-40B4-BE49-F238E27FC236}">
                      <a16:creationId xmlns:a16="http://schemas.microsoft.com/office/drawing/2014/main" id="{07FE025C-E9A0-4C3F-B25B-F4DB911B0DE3}"/>
                    </a:ext>
                  </a:extLst>
                </p:cNvPr>
                <p:cNvSpPr/>
                <p:nvPr/>
              </p:nvSpPr>
              <p:spPr>
                <a:xfrm>
                  <a:off x="7595726" y="2364951"/>
                  <a:ext cx="18325" cy="18453"/>
                </a:xfrm>
                <a:custGeom>
                  <a:avLst/>
                  <a:gdLst>
                    <a:gd name="connsiteX0" fmla="*/ 4056 w 18325"/>
                    <a:gd name="connsiteY0" fmla="*/ 1541 h 18453"/>
                    <a:gd name="connsiteX1" fmla="*/ 1544 w 18325"/>
                    <a:gd name="connsiteY1" fmla="*/ 14340 h 18453"/>
                    <a:gd name="connsiteX2" fmla="*/ 14283 w 18325"/>
                    <a:gd name="connsiteY2" fmla="*/ 16912 h 18453"/>
                    <a:gd name="connsiteX3" fmla="*/ 16736 w 18325"/>
                    <a:gd name="connsiteY3" fmla="*/ 4113 h 18453"/>
                    <a:gd name="connsiteX4" fmla="*/ 4056 w 18325"/>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3">
                      <a:moveTo>
                        <a:pt x="4056" y="1541"/>
                      </a:moveTo>
                      <a:cubicBezTo>
                        <a:pt x="-130" y="4352"/>
                        <a:pt x="-1267" y="10094"/>
                        <a:pt x="1544" y="14340"/>
                      </a:cubicBezTo>
                      <a:cubicBezTo>
                        <a:pt x="4356" y="18587"/>
                        <a:pt x="10097" y="19723"/>
                        <a:pt x="14283" y="16912"/>
                      </a:cubicBezTo>
                      <a:cubicBezTo>
                        <a:pt x="18470" y="14101"/>
                        <a:pt x="19606" y="8359"/>
                        <a:pt x="16736" y="4113"/>
                      </a:cubicBezTo>
                      <a:cubicBezTo>
                        <a:pt x="13985" y="-133"/>
                        <a:pt x="8243" y="-1270"/>
                        <a:pt x="4056" y="1541"/>
                      </a:cubicBezTo>
                      <a:close/>
                    </a:path>
                  </a:pathLst>
                </a:custGeom>
                <a:grpFill/>
                <a:ln w="5978" cap="flat">
                  <a:noFill/>
                  <a:prstDash val="solid"/>
                  <a:miter/>
                </a:ln>
              </p:spPr>
              <p:txBody>
                <a:bodyPr rtlCol="0" anchor="ctr"/>
                <a:lstStyle/>
                <a:p>
                  <a:endParaRPr lang="en-GB"/>
                </a:p>
              </p:txBody>
            </p:sp>
          </p:grpSp>
          <p:grpSp>
            <p:nvGrpSpPr>
              <p:cNvPr id="29" name="Graphic 3">
                <a:extLst>
                  <a:ext uri="{FF2B5EF4-FFF2-40B4-BE49-F238E27FC236}">
                    <a16:creationId xmlns:a16="http://schemas.microsoft.com/office/drawing/2014/main" id="{983FA609-203E-4D5B-A143-1AE100C64980}"/>
                  </a:ext>
                </a:extLst>
              </p:cNvPr>
              <p:cNvGrpSpPr/>
              <p:nvPr/>
            </p:nvGrpSpPr>
            <p:grpSpPr>
              <a:xfrm>
                <a:off x="7740010" y="2373544"/>
                <a:ext cx="142129" cy="88824"/>
                <a:chOff x="7740010" y="2373544"/>
                <a:chExt cx="142129" cy="88824"/>
              </a:xfrm>
              <a:grpFill/>
            </p:grpSpPr>
            <p:sp>
              <p:nvSpPr>
                <p:cNvPr id="5284" name="Vrije vorm: vorm 5283">
                  <a:extLst>
                    <a:ext uri="{FF2B5EF4-FFF2-40B4-BE49-F238E27FC236}">
                      <a16:creationId xmlns:a16="http://schemas.microsoft.com/office/drawing/2014/main" id="{A9CB5C2A-183C-4E22-9112-F75AB5431D17}"/>
                    </a:ext>
                  </a:extLst>
                </p:cNvPr>
                <p:cNvSpPr/>
                <p:nvPr/>
              </p:nvSpPr>
              <p:spPr>
                <a:xfrm>
                  <a:off x="7748174" y="2381315"/>
                  <a:ext cx="126063" cy="73512"/>
                </a:xfrm>
                <a:custGeom>
                  <a:avLst/>
                  <a:gdLst>
                    <a:gd name="connsiteX0" fmla="*/ 0 w 126063"/>
                    <a:gd name="connsiteY0" fmla="*/ 70861 h 73512"/>
                    <a:gd name="connsiteX1" fmla="*/ 124554 w 126063"/>
                    <a:gd name="connsiteY1" fmla="*/ 0 h 73512"/>
                    <a:gd name="connsiteX2" fmla="*/ 126063 w 126063"/>
                    <a:gd name="connsiteY2" fmla="*/ 2652 h 73512"/>
                    <a:gd name="connsiteX3" fmla="*/ 1508 w 126063"/>
                    <a:gd name="connsiteY3" fmla="*/ 73512 h 73512"/>
                  </a:gdLst>
                  <a:ahLst/>
                  <a:cxnLst>
                    <a:cxn ang="0">
                      <a:pos x="connsiteX0" y="connsiteY0"/>
                    </a:cxn>
                    <a:cxn ang="0">
                      <a:pos x="connsiteX1" y="connsiteY1"/>
                    </a:cxn>
                    <a:cxn ang="0">
                      <a:pos x="connsiteX2" y="connsiteY2"/>
                    </a:cxn>
                    <a:cxn ang="0">
                      <a:pos x="connsiteX3" y="connsiteY3"/>
                    </a:cxn>
                  </a:cxnLst>
                  <a:rect l="l" t="t" r="r" b="b"/>
                  <a:pathLst>
                    <a:path w="126063" h="73512">
                      <a:moveTo>
                        <a:pt x="0" y="70861"/>
                      </a:moveTo>
                      <a:lnTo>
                        <a:pt x="124554" y="0"/>
                      </a:lnTo>
                      <a:lnTo>
                        <a:pt x="126063" y="2652"/>
                      </a:lnTo>
                      <a:lnTo>
                        <a:pt x="1508" y="73512"/>
                      </a:lnTo>
                      <a:close/>
                    </a:path>
                  </a:pathLst>
                </a:custGeom>
                <a:grpFill/>
                <a:ln w="5978" cap="flat">
                  <a:noFill/>
                  <a:prstDash val="solid"/>
                  <a:miter/>
                </a:ln>
              </p:spPr>
              <p:txBody>
                <a:bodyPr rtlCol="0" anchor="ctr"/>
                <a:lstStyle/>
                <a:p>
                  <a:endParaRPr lang="en-GB"/>
                </a:p>
              </p:txBody>
            </p:sp>
            <p:sp>
              <p:nvSpPr>
                <p:cNvPr id="5285" name="Vrije vorm: vorm 5284">
                  <a:extLst>
                    <a:ext uri="{FF2B5EF4-FFF2-40B4-BE49-F238E27FC236}">
                      <a16:creationId xmlns:a16="http://schemas.microsoft.com/office/drawing/2014/main" id="{D7CA4E63-88D8-4EAC-B77C-ADB984B9DC4D}"/>
                    </a:ext>
                  </a:extLst>
                </p:cNvPr>
                <p:cNvSpPr/>
                <p:nvPr/>
              </p:nvSpPr>
              <p:spPr>
                <a:xfrm>
                  <a:off x="7863811" y="2373544"/>
                  <a:ext cx="18328" cy="18431"/>
                </a:xfrm>
                <a:custGeom>
                  <a:avLst/>
                  <a:gdLst>
                    <a:gd name="connsiteX0" fmla="*/ 4626 w 18328"/>
                    <a:gd name="connsiteY0" fmla="*/ 1202 h 18431"/>
                    <a:gd name="connsiteX1" fmla="*/ 17125 w 18328"/>
                    <a:gd name="connsiteY1" fmla="*/ 4670 h 18431"/>
                    <a:gd name="connsiteX2" fmla="*/ 13716 w 18328"/>
                    <a:gd name="connsiteY2" fmla="*/ 17230 h 18431"/>
                    <a:gd name="connsiteX3" fmla="*/ 1217 w 18328"/>
                    <a:gd name="connsiteY3" fmla="*/ 13761 h 18431"/>
                    <a:gd name="connsiteX4" fmla="*/ 4626 w 18328"/>
                    <a:gd name="connsiteY4" fmla="*/ 12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26" y="1202"/>
                      </a:moveTo>
                      <a:cubicBezTo>
                        <a:pt x="8992" y="-1310"/>
                        <a:pt x="14613" y="245"/>
                        <a:pt x="17125" y="4670"/>
                      </a:cubicBezTo>
                      <a:cubicBezTo>
                        <a:pt x="19637" y="9096"/>
                        <a:pt x="18083" y="14718"/>
                        <a:pt x="13716" y="17230"/>
                      </a:cubicBezTo>
                      <a:cubicBezTo>
                        <a:pt x="9350" y="19742"/>
                        <a:pt x="3729" y="18187"/>
                        <a:pt x="1217" y="13761"/>
                      </a:cubicBezTo>
                      <a:cubicBezTo>
                        <a:pt x="-1296" y="9275"/>
                        <a:pt x="200" y="3653"/>
                        <a:pt x="4626" y="1202"/>
                      </a:cubicBezTo>
                      <a:close/>
                    </a:path>
                  </a:pathLst>
                </a:custGeom>
                <a:grpFill/>
                <a:ln w="5978" cap="flat">
                  <a:noFill/>
                  <a:prstDash val="solid"/>
                  <a:miter/>
                </a:ln>
              </p:spPr>
              <p:txBody>
                <a:bodyPr rtlCol="0" anchor="ctr"/>
                <a:lstStyle/>
                <a:p>
                  <a:endParaRPr lang="en-GB"/>
                </a:p>
              </p:txBody>
            </p:sp>
            <p:sp>
              <p:nvSpPr>
                <p:cNvPr id="5286" name="Vrije vorm: vorm 5285">
                  <a:extLst>
                    <a:ext uri="{FF2B5EF4-FFF2-40B4-BE49-F238E27FC236}">
                      <a16:creationId xmlns:a16="http://schemas.microsoft.com/office/drawing/2014/main" id="{7236BFBF-C59C-4997-B7A2-367AFEDB3378}"/>
                    </a:ext>
                  </a:extLst>
                </p:cNvPr>
                <p:cNvSpPr/>
                <p:nvPr/>
              </p:nvSpPr>
              <p:spPr>
                <a:xfrm>
                  <a:off x="7740010" y="2443937"/>
                  <a:ext cx="18341" cy="18431"/>
                </a:xfrm>
                <a:custGeom>
                  <a:avLst/>
                  <a:gdLst>
                    <a:gd name="connsiteX0" fmla="*/ 4625 w 18341"/>
                    <a:gd name="connsiteY0" fmla="*/ 1202 h 18431"/>
                    <a:gd name="connsiteX1" fmla="*/ 1217 w 18341"/>
                    <a:gd name="connsiteY1" fmla="*/ 13761 h 18431"/>
                    <a:gd name="connsiteX2" fmla="*/ 13716 w 18341"/>
                    <a:gd name="connsiteY2" fmla="*/ 17230 h 18431"/>
                    <a:gd name="connsiteX3" fmla="*/ 17125 w 18341"/>
                    <a:gd name="connsiteY3" fmla="*/ 4670 h 18431"/>
                    <a:gd name="connsiteX4" fmla="*/ 4625 w 18341"/>
                    <a:gd name="connsiteY4" fmla="*/ 12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1">
                      <a:moveTo>
                        <a:pt x="4625" y="1202"/>
                      </a:moveTo>
                      <a:cubicBezTo>
                        <a:pt x="200" y="3713"/>
                        <a:pt x="-1296" y="9335"/>
                        <a:pt x="1217" y="13761"/>
                      </a:cubicBezTo>
                      <a:cubicBezTo>
                        <a:pt x="3728" y="18187"/>
                        <a:pt x="9290" y="19742"/>
                        <a:pt x="13716" y="17230"/>
                      </a:cubicBezTo>
                      <a:cubicBezTo>
                        <a:pt x="18142" y="14718"/>
                        <a:pt x="19637" y="9096"/>
                        <a:pt x="17125" y="4670"/>
                      </a:cubicBezTo>
                      <a:cubicBezTo>
                        <a:pt x="14613" y="245"/>
                        <a:pt x="9051" y="-1310"/>
                        <a:pt x="4625" y="1202"/>
                      </a:cubicBezTo>
                      <a:close/>
                    </a:path>
                  </a:pathLst>
                </a:custGeom>
                <a:grpFill/>
                <a:ln w="5978" cap="flat">
                  <a:noFill/>
                  <a:prstDash val="solid"/>
                  <a:miter/>
                </a:ln>
              </p:spPr>
              <p:txBody>
                <a:bodyPr rtlCol="0" anchor="ctr"/>
                <a:lstStyle/>
                <a:p>
                  <a:endParaRPr lang="en-GB"/>
                </a:p>
              </p:txBody>
            </p:sp>
          </p:grpSp>
          <p:grpSp>
            <p:nvGrpSpPr>
              <p:cNvPr id="30" name="Graphic 3">
                <a:extLst>
                  <a:ext uri="{FF2B5EF4-FFF2-40B4-BE49-F238E27FC236}">
                    <a16:creationId xmlns:a16="http://schemas.microsoft.com/office/drawing/2014/main" id="{9EDF87BA-4A7F-47A7-82B7-BA314331A81E}"/>
                  </a:ext>
                </a:extLst>
              </p:cNvPr>
              <p:cNvGrpSpPr/>
              <p:nvPr/>
            </p:nvGrpSpPr>
            <p:grpSpPr>
              <a:xfrm>
                <a:off x="7695812" y="2274387"/>
                <a:ext cx="197392" cy="129386"/>
                <a:chOff x="7695812" y="2274387"/>
                <a:chExt cx="197392" cy="129386"/>
              </a:xfrm>
              <a:grpFill/>
            </p:grpSpPr>
            <p:sp>
              <p:nvSpPr>
                <p:cNvPr id="5281" name="Vrije vorm: vorm 5280">
                  <a:extLst>
                    <a:ext uri="{FF2B5EF4-FFF2-40B4-BE49-F238E27FC236}">
                      <a16:creationId xmlns:a16="http://schemas.microsoft.com/office/drawing/2014/main" id="{984468AD-674D-4F31-9C8A-23AFBB852184}"/>
                    </a:ext>
                  </a:extLst>
                </p:cNvPr>
                <p:cNvSpPr/>
                <p:nvPr/>
              </p:nvSpPr>
              <p:spPr>
                <a:xfrm>
                  <a:off x="7703728" y="2282044"/>
                  <a:ext cx="181514" cy="114052"/>
                </a:xfrm>
                <a:custGeom>
                  <a:avLst/>
                  <a:gdLst>
                    <a:gd name="connsiteX0" fmla="*/ 181515 w 181514"/>
                    <a:gd name="connsiteY0" fmla="*/ 2631 h 114052"/>
                    <a:gd name="connsiteX1" fmla="*/ 1615 w 181514"/>
                    <a:gd name="connsiteY1" fmla="*/ 114052 h 114052"/>
                    <a:gd name="connsiteX2" fmla="*/ 0 w 181514"/>
                    <a:gd name="connsiteY2" fmla="*/ 111481 h 114052"/>
                    <a:gd name="connsiteX3" fmla="*/ 179900 w 181514"/>
                    <a:gd name="connsiteY3" fmla="*/ 0 h 114052"/>
                  </a:gdLst>
                  <a:ahLst/>
                  <a:cxnLst>
                    <a:cxn ang="0">
                      <a:pos x="connsiteX0" y="connsiteY0"/>
                    </a:cxn>
                    <a:cxn ang="0">
                      <a:pos x="connsiteX1" y="connsiteY1"/>
                    </a:cxn>
                    <a:cxn ang="0">
                      <a:pos x="connsiteX2" y="connsiteY2"/>
                    </a:cxn>
                    <a:cxn ang="0">
                      <a:pos x="connsiteX3" y="connsiteY3"/>
                    </a:cxn>
                  </a:cxnLst>
                  <a:rect l="l" t="t" r="r" b="b"/>
                  <a:pathLst>
                    <a:path w="181514" h="114052">
                      <a:moveTo>
                        <a:pt x="181515" y="2631"/>
                      </a:moveTo>
                      <a:lnTo>
                        <a:pt x="1615" y="114052"/>
                      </a:lnTo>
                      <a:lnTo>
                        <a:pt x="0" y="111481"/>
                      </a:lnTo>
                      <a:lnTo>
                        <a:pt x="179900" y="0"/>
                      </a:lnTo>
                      <a:close/>
                    </a:path>
                  </a:pathLst>
                </a:custGeom>
                <a:grpFill/>
                <a:ln w="5978" cap="flat">
                  <a:noFill/>
                  <a:prstDash val="solid"/>
                  <a:miter/>
                </a:ln>
              </p:spPr>
              <p:txBody>
                <a:bodyPr rtlCol="0" anchor="ctr"/>
                <a:lstStyle/>
                <a:p>
                  <a:endParaRPr lang="en-GB"/>
                </a:p>
              </p:txBody>
            </p:sp>
            <p:sp>
              <p:nvSpPr>
                <p:cNvPr id="5282" name="Vrije vorm: vorm 5281">
                  <a:extLst>
                    <a:ext uri="{FF2B5EF4-FFF2-40B4-BE49-F238E27FC236}">
                      <a16:creationId xmlns:a16="http://schemas.microsoft.com/office/drawing/2014/main" id="{37300261-4EF7-442A-ADB3-B7B125E20DF4}"/>
                    </a:ext>
                  </a:extLst>
                </p:cNvPr>
                <p:cNvSpPr/>
                <p:nvPr/>
              </p:nvSpPr>
              <p:spPr>
                <a:xfrm>
                  <a:off x="7874875" y="2274387"/>
                  <a:ext cx="18329" cy="18484"/>
                </a:xfrm>
                <a:custGeom>
                  <a:avLst/>
                  <a:gdLst>
                    <a:gd name="connsiteX0" fmla="*/ 4327 w 18329"/>
                    <a:gd name="connsiteY0" fmla="*/ 1378 h 18484"/>
                    <a:gd name="connsiteX1" fmla="*/ 16946 w 18329"/>
                    <a:gd name="connsiteY1" fmla="*/ 4428 h 18484"/>
                    <a:gd name="connsiteX2" fmla="*/ 14016 w 18329"/>
                    <a:gd name="connsiteY2" fmla="*/ 17107 h 18484"/>
                    <a:gd name="connsiteX3" fmla="*/ 1397 w 18329"/>
                    <a:gd name="connsiteY3" fmla="*/ 14057 h 18484"/>
                    <a:gd name="connsiteX4" fmla="*/ 4327 w 18329"/>
                    <a:gd name="connsiteY4" fmla="*/ 137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84">
                      <a:moveTo>
                        <a:pt x="4327" y="1378"/>
                      </a:moveTo>
                      <a:cubicBezTo>
                        <a:pt x="8633" y="-1314"/>
                        <a:pt x="14255" y="62"/>
                        <a:pt x="16946" y="4428"/>
                      </a:cubicBezTo>
                      <a:cubicBezTo>
                        <a:pt x="19638" y="8734"/>
                        <a:pt x="18263" y="14415"/>
                        <a:pt x="14016" y="17107"/>
                      </a:cubicBezTo>
                      <a:cubicBezTo>
                        <a:pt x="9710" y="19798"/>
                        <a:pt x="4088" y="18423"/>
                        <a:pt x="1397" y="14057"/>
                      </a:cubicBezTo>
                      <a:cubicBezTo>
                        <a:pt x="-1294" y="9691"/>
                        <a:pt x="21" y="4009"/>
                        <a:pt x="4327" y="1378"/>
                      </a:cubicBezTo>
                      <a:close/>
                    </a:path>
                  </a:pathLst>
                </a:custGeom>
                <a:grpFill/>
                <a:ln w="5978" cap="flat">
                  <a:noFill/>
                  <a:prstDash val="solid"/>
                  <a:miter/>
                </a:ln>
              </p:spPr>
              <p:txBody>
                <a:bodyPr rtlCol="0" anchor="ctr"/>
                <a:lstStyle/>
                <a:p>
                  <a:endParaRPr lang="en-GB"/>
                </a:p>
              </p:txBody>
            </p:sp>
            <p:sp>
              <p:nvSpPr>
                <p:cNvPr id="5283" name="Vrije vorm: vorm 5282">
                  <a:extLst>
                    <a:ext uri="{FF2B5EF4-FFF2-40B4-BE49-F238E27FC236}">
                      <a16:creationId xmlns:a16="http://schemas.microsoft.com/office/drawing/2014/main" id="{05AF4B18-64D6-46E4-BDCF-B4BDB6B2B191}"/>
                    </a:ext>
                  </a:extLst>
                </p:cNvPr>
                <p:cNvSpPr/>
                <p:nvPr/>
              </p:nvSpPr>
              <p:spPr>
                <a:xfrm>
                  <a:off x="7695812" y="2385356"/>
                  <a:ext cx="18343" cy="18417"/>
                </a:xfrm>
                <a:custGeom>
                  <a:avLst/>
                  <a:gdLst>
                    <a:gd name="connsiteX0" fmla="*/ 4328 w 18343"/>
                    <a:gd name="connsiteY0" fmla="*/ 1351 h 18417"/>
                    <a:gd name="connsiteX1" fmla="*/ 1397 w 18343"/>
                    <a:gd name="connsiteY1" fmla="*/ 14030 h 18417"/>
                    <a:gd name="connsiteX2" fmla="*/ 14016 w 18343"/>
                    <a:gd name="connsiteY2" fmla="*/ 17080 h 18417"/>
                    <a:gd name="connsiteX3" fmla="*/ 16947 w 18343"/>
                    <a:gd name="connsiteY3" fmla="*/ 4401 h 18417"/>
                    <a:gd name="connsiteX4" fmla="*/ 4328 w 18343"/>
                    <a:gd name="connsiteY4" fmla="*/ 1351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7">
                      <a:moveTo>
                        <a:pt x="4328" y="1351"/>
                      </a:moveTo>
                      <a:cubicBezTo>
                        <a:pt x="21" y="4042"/>
                        <a:pt x="-1295" y="9664"/>
                        <a:pt x="1397" y="14030"/>
                      </a:cubicBezTo>
                      <a:cubicBezTo>
                        <a:pt x="4088" y="18336"/>
                        <a:pt x="9710" y="19712"/>
                        <a:pt x="14016" y="17080"/>
                      </a:cubicBezTo>
                      <a:cubicBezTo>
                        <a:pt x="18322" y="14389"/>
                        <a:pt x="19638" y="8767"/>
                        <a:pt x="16947" y="4401"/>
                      </a:cubicBezTo>
                      <a:cubicBezTo>
                        <a:pt x="14255" y="35"/>
                        <a:pt x="8634" y="-1280"/>
                        <a:pt x="4328" y="1351"/>
                      </a:cubicBezTo>
                      <a:close/>
                    </a:path>
                  </a:pathLst>
                </a:custGeom>
                <a:grpFill/>
                <a:ln w="5978" cap="flat">
                  <a:noFill/>
                  <a:prstDash val="solid"/>
                  <a:miter/>
                </a:ln>
              </p:spPr>
              <p:txBody>
                <a:bodyPr rtlCol="0" anchor="ctr"/>
                <a:lstStyle/>
                <a:p>
                  <a:endParaRPr lang="en-GB"/>
                </a:p>
              </p:txBody>
            </p:sp>
          </p:grpSp>
          <p:grpSp>
            <p:nvGrpSpPr>
              <p:cNvPr id="31" name="Graphic 3">
                <a:extLst>
                  <a:ext uri="{FF2B5EF4-FFF2-40B4-BE49-F238E27FC236}">
                    <a16:creationId xmlns:a16="http://schemas.microsoft.com/office/drawing/2014/main" id="{2858F916-EBC8-45F5-A7A7-B920C2A561D4}"/>
                  </a:ext>
                </a:extLst>
              </p:cNvPr>
              <p:cNvGrpSpPr/>
              <p:nvPr/>
            </p:nvGrpSpPr>
            <p:grpSpPr>
              <a:xfrm>
                <a:off x="7438561" y="1556095"/>
                <a:ext cx="299538" cy="329556"/>
                <a:chOff x="7438561" y="1556095"/>
                <a:chExt cx="299538" cy="329556"/>
              </a:xfrm>
              <a:grpFill/>
            </p:grpSpPr>
            <p:sp>
              <p:nvSpPr>
                <p:cNvPr id="5278" name="Vrije vorm: vorm 5277">
                  <a:extLst>
                    <a:ext uri="{FF2B5EF4-FFF2-40B4-BE49-F238E27FC236}">
                      <a16:creationId xmlns:a16="http://schemas.microsoft.com/office/drawing/2014/main" id="{5E7A9D54-D832-4D33-9C27-426BD691FB57}"/>
                    </a:ext>
                  </a:extLst>
                </p:cNvPr>
                <p:cNvSpPr/>
                <p:nvPr/>
              </p:nvSpPr>
              <p:spPr>
                <a:xfrm>
                  <a:off x="7446257" y="1563939"/>
                  <a:ext cx="284144" cy="313868"/>
                </a:xfrm>
                <a:custGeom>
                  <a:avLst/>
                  <a:gdLst>
                    <a:gd name="connsiteX0" fmla="*/ 284144 w 284144"/>
                    <a:gd name="connsiteY0" fmla="*/ 2033 h 313868"/>
                    <a:gd name="connsiteX1" fmla="*/ 2273 w 284144"/>
                    <a:gd name="connsiteY1" fmla="*/ 313868 h 313868"/>
                    <a:gd name="connsiteX2" fmla="*/ 0 w 284144"/>
                    <a:gd name="connsiteY2" fmla="*/ 311775 h 313868"/>
                    <a:gd name="connsiteX3" fmla="*/ 281871 w 284144"/>
                    <a:gd name="connsiteY3" fmla="*/ 0 h 313868"/>
                  </a:gdLst>
                  <a:ahLst/>
                  <a:cxnLst>
                    <a:cxn ang="0">
                      <a:pos x="connsiteX0" y="connsiteY0"/>
                    </a:cxn>
                    <a:cxn ang="0">
                      <a:pos x="connsiteX1" y="connsiteY1"/>
                    </a:cxn>
                    <a:cxn ang="0">
                      <a:pos x="connsiteX2" y="connsiteY2"/>
                    </a:cxn>
                    <a:cxn ang="0">
                      <a:pos x="connsiteX3" y="connsiteY3"/>
                    </a:cxn>
                  </a:cxnLst>
                  <a:rect l="l" t="t" r="r" b="b"/>
                  <a:pathLst>
                    <a:path w="284144" h="313868">
                      <a:moveTo>
                        <a:pt x="284144" y="2033"/>
                      </a:moveTo>
                      <a:lnTo>
                        <a:pt x="2273" y="313868"/>
                      </a:lnTo>
                      <a:lnTo>
                        <a:pt x="0" y="311775"/>
                      </a:lnTo>
                      <a:lnTo>
                        <a:pt x="281871" y="0"/>
                      </a:lnTo>
                      <a:close/>
                    </a:path>
                  </a:pathLst>
                </a:custGeom>
                <a:grpFill/>
                <a:ln w="5978" cap="flat">
                  <a:noFill/>
                  <a:prstDash val="solid"/>
                  <a:miter/>
                </a:ln>
              </p:spPr>
              <p:txBody>
                <a:bodyPr rtlCol="0" anchor="ctr"/>
                <a:lstStyle/>
                <a:p>
                  <a:endParaRPr lang="en-GB"/>
                </a:p>
              </p:txBody>
            </p:sp>
            <p:sp>
              <p:nvSpPr>
                <p:cNvPr id="5279" name="Vrije vorm: vorm 5278">
                  <a:extLst>
                    <a:ext uri="{FF2B5EF4-FFF2-40B4-BE49-F238E27FC236}">
                      <a16:creationId xmlns:a16="http://schemas.microsoft.com/office/drawing/2014/main" id="{5E505FC5-4D67-4BA7-9959-9425DD5B1865}"/>
                    </a:ext>
                  </a:extLst>
                </p:cNvPr>
                <p:cNvSpPr/>
                <p:nvPr/>
              </p:nvSpPr>
              <p:spPr>
                <a:xfrm>
                  <a:off x="7719774" y="1556095"/>
                  <a:ext cx="18325" cy="18438"/>
                </a:xfrm>
                <a:custGeom>
                  <a:avLst/>
                  <a:gdLst>
                    <a:gd name="connsiteX0" fmla="*/ 2374 w 18325"/>
                    <a:gd name="connsiteY0" fmla="*/ 2999 h 18438"/>
                    <a:gd name="connsiteX1" fmla="*/ 15293 w 18325"/>
                    <a:gd name="connsiteY1" fmla="*/ 2401 h 18438"/>
                    <a:gd name="connsiteX2" fmla="*/ 15951 w 18325"/>
                    <a:gd name="connsiteY2" fmla="*/ 15439 h 18438"/>
                    <a:gd name="connsiteX3" fmla="*/ 3032 w 18325"/>
                    <a:gd name="connsiteY3" fmla="*/ 16038 h 18438"/>
                    <a:gd name="connsiteX4" fmla="*/ 2374 w 18325"/>
                    <a:gd name="connsiteY4" fmla="*/ 299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8">
                      <a:moveTo>
                        <a:pt x="2374" y="2999"/>
                      </a:moveTo>
                      <a:cubicBezTo>
                        <a:pt x="5784" y="-768"/>
                        <a:pt x="11585" y="-1008"/>
                        <a:pt x="15293" y="2401"/>
                      </a:cubicBezTo>
                      <a:cubicBezTo>
                        <a:pt x="19061" y="5810"/>
                        <a:pt x="19360" y="11672"/>
                        <a:pt x="15951" y="15439"/>
                      </a:cubicBezTo>
                      <a:cubicBezTo>
                        <a:pt x="12542" y="19207"/>
                        <a:pt x="6740" y="19446"/>
                        <a:pt x="3032" y="16038"/>
                      </a:cubicBezTo>
                      <a:cubicBezTo>
                        <a:pt x="-736" y="12569"/>
                        <a:pt x="-1034" y="6767"/>
                        <a:pt x="2374" y="2999"/>
                      </a:cubicBezTo>
                      <a:close/>
                    </a:path>
                  </a:pathLst>
                </a:custGeom>
                <a:grpFill/>
                <a:ln w="5978" cap="flat">
                  <a:noFill/>
                  <a:prstDash val="solid"/>
                  <a:miter/>
                </a:ln>
              </p:spPr>
              <p:txBody>
                <a:bodyPr rtlCol="0" anchor="ctr"/>
                <a:lstStyle/>
                <a:p>
                  <a:endParaRPr lang="en-GB"/>
                </a:p>
              </p:txBody>
            </p:sp>
            <p:sp>
              <p:nvSpPr>
                <p:cNvPr id="5280" name="Vrije vorm: vorm 5279">
                  <a:extLst>
                    <a:ext uri="{FF2B5EF4-FFF2-40B4-BE49-F238E27FC236}">
                      <a16:creationId xmlns:a16="http://schemas.microsoft.com/office/drawing/2014/main" id="{9142C70B-9CE5-46CB-96AC-A47D2D71E49D}"/>
                    </a:ext>
                  </a:extLst>
                </p:cNvPr>
                <p:cNvSpPr/>
                <p:nvPr/>
              </p:nvSpPr>
              <p:spPr>
                <a:xfrm>
                  <a:off x="7438561" y="1867189"/>
                  <a:ext cx="18324" cy="18462"/>
                </a:xfrm>
                <a:custGeom>
                  <a:avLst/>
                  <a:gdLst>
                    <a:gd name="connsiteX0" fmla="*/ 2374 w 18324"/>
                    <a:gd name="connsiteY0" fmla="*/ 3023 h 18462"/>
                    <a:gd name="connsiteX1" fmla="*/ 3032 w 18324"/>
                    <a:gd name="connsiteY1" fmla="*/ 16061 h 18462"/>
                    <a:gd name="connsiteX2" fmla="*/ 15950 w 18324"/>
                    <a:gd name="connsiteY2" fmla="*/ 15463 h 18462"/>
                    <a:gd name="connsiteX3" fmla="*/ 15292 w 18324"/>
                    <a:gd name="connsiteY3" fmla="*/ 2425 h 18462"/>
                    <a:gd name="connsiteX4" fmla="*/ 2374 w 18324"/>
                    <a:gd name="connsiteY4" fmla="*/ 3023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2">
                      <a:moveTo>
                        <a:pt x="2374" y="3023"/>
                      </a:moveTo>
                      <a:cubicBezTo>
                        <a:pt x="-1035" y="6791"/>
                        <a:pt x="-735" y="12592"/>
                        <a:pt x="3032" y="16061"/>
                      </a:cubicBezTo>
                      <a:cubicBezTo>
                        <a:pt x="6800" y="19470"/>
                        <a:pt x="12601" y="19231"/>
                        <a:pt x="15950" y="15463"/>
                      </a:cubicBezTo>
                      <a:cubicBezTo>
                        <a:pt x="19360" y="11695"/>
                        <a:pt x="19060" y="5894"/>
                        <a:pt x="15292" y="2425"/>
                      </a:cubicBezTo>
                      <a:cubicBezTo>
                        <a:pt x="11525" y="-1044"/>
                        <a:pt x="5783" y="-745"/>
                        <a:pt x="2374" y="3023"/>
                      </a:cubicBezTo>
                      <a:close/>
                    </a:path>
                  </a:pathLst>
                </a:custGeom>
                <a:grpFill/>
                <a:ln w="5978" cap="flat">
                  <a:noFill/>
                  <a:prstDash val="solid"/>
                  <a:miter/>
                </a:ln>
              </p:spPr>
              <p:txBody>
                <a:bodyPr rtlCol="0" anchor="ctr"/>
                <a:lstStyle/>
                <a:p>
                  <a:endParaRPr lang="en-GB"/>
                </a:p>
              </p:txBody>
            </p:sp>
          </p:grpSp>
          <p:grpSp>
            <p:nvGrpSpPr>
              <p:cNvPr id="32" name="Graphic 3">
                <a:extLst>
                  <a:ext uri="{FF2B5EF4-FFF2-40B4-BE49-F238E27FC236}">
                    <a16:creationId xmlns:a16="http://schemas.microsoft.com/office/drawing/2014/main" id="{598B86F6-77C5-49D2-A3E0-39CCD73C7A8A}"/>
                  </a:ext>
                </a:extLst>
              </p:cNvPr>
              <p:cNvGrpSpPr/>
              <p:nvPr/>
            </p:nvGrpSpPr>
            <p:grpSpPr>
              <a:xfrm>
                <a:off x="7904006" y="2887780"/>
                <a:ext cx="158819" cy="55001"/>
                <a:chOff x="7904006" y="2887780"/>
                <a:chExt cx="158819" cy="55001"/>
              </a:xfrm>
              <a:grpFill/>
            </p:grpSpPr>
            <p:sp>
              <p:nvSpPr>
                <p:cNvPr id="5275" name="Vrije vorm: vorm 5274">
                  <a:extLst>
                    <a:ext uri="{FF2B5EF4-FFF2-40B4-BE49-F238E27FC236}">
                      <a16:creationId xmlns:a16="http://schemas.microsoft.com/office/drawing/2014/main" id="{10246E55-040F-479E-84B8-3FBA5927E6C5}"/>
                    </a:ext>
                  </a:extLst>
                </p:cNvPr>
                <p:cNvSpPr/>
                <p:nvPr/>
              </p:nvSpPr>
              <p:spPr>
                <a:xfrm>
                  <a:off x="7912321" y="2895629"/>
                  <a:ext cx="142158" cy="39785"/>
                </a:xfrm>
                <a:custGeom>
                  <a:avLst/>
                  <a:gdLst>
                    <a:gd name="connsiteX0" fmla="*/ 0 w 142158"/>
                    <a:gd name="connsiteY0" fmla="*/ 36834 h 39785"/>
                    <a:gd name="connsiteX1" fmla="*/ 141390 w 142158"/>
                    <a:gd name="connsiteY1" fmla="*/ 0 h 39785"/>
                    <a:gd name="connsiteX2" fmla="*/ 142159 w 142158"/>
                    <a:gd name="connsiteY2" fmla="*/ 2952 h 39785"/>
                    <a:gd name="connsiteX3" fmla="*/ 769 w 142158"/>
                    <a:gd name="connsiteY3" fmla="*/ 39786 h 39785"/>
                  </a:gdLst>
                  <a:ahLst/>
                  <a:cxnLst>
                    <a:cxn ang="0">
                      <a:pos x="connsiteX0" y="connsiteY0"/>
                    </a:cxn>
                    <a:cxn ang="0">
                      <a:pos x="connsiteX1" y="connsiteY1"/>
                    </a:cxn>
                    <a:cxn ang="0">
                      <a:pos x="connsiteX2" y="connsiteY2"/>
                    </a:cxn>
                    <a:cxn ang="0">
                      <a:pos x="connsiteX3" y="connsiteY3"/>
                    </a:cxn>
                  </a:cxnLst>
                  <a:rect l="l" t="t" r="r" b="b"/>
                  <a:pathLst>
                    <a:path w="142158" h="39785">
                      <a:moveTo>
                        <a:pt x="0" y="36834"/>
                      </a:moveTo>
                      <a:lnTo>
                        <a:pt x="141390" y="0"/>
                      </a:lnTo>
                      <a:lnTo>
                        <a:pt x="142159" y="2952"/>
                      </a:lnTo>
                      <a:lnTo>
                        <a:pt x="769" y="39786"/>
                      </a:lnTo>
                      <a:close/>
                    </a:path>
                  </a:pathLst>
                </a:custGeom>
                <a:grpFill/>
                <a:ln w="5978" cap="flat">
                  <a:noFill/>
                  <a:prstDash val="solid"/>
                  <a:miter/>
                </a:ln>
              </p:spPr>
              <p:txBody>
                <a:bodyPr rtlCol="0" anchor="ctr"/>
                <a:lstStyle/>
                <a:p>
                  <a:endParaRPr lang="en-GB"/>
                </a:p>
              </p:txBody>
            </p:sp>
            <p:sp>
              <p:nvSpPr>
                <p:cNvPr id="5276" name="Vrije vorm: vorm 5275">
                  <a:extLst>
                    <a:ext uri="{FF2B5EF4-FFF2-40B4-BE49-F238E27FC236}">
                      <a16:creationId xmlns:a16="http://schemas.microsoft.com/office/drawing/2014/main" id="{049D14D3-F7E2-426E-95BA-DE2095F16E48}"/>
                    </a:ext>
                  </a:extLst>
                </p:cNvPr>
                <p:cNvSpPr/>
                <p:nvPr/>
              </p:nvSpPr>
              <p:spPr>
                <a:xfrm>
                  <a:off x="8044514" y="2887780"/>
                  <a:ext cx="18312" cy="18462"/>
                </a:xfrm>
                <a:custGeom>
                  <a:avLst/>
                  <a:gdLst>
                    <a:gd name="connsiteX0" fmla="*/ 6814 w 18312"/>
                    <a:gd name="connsiteY0" fmla="*/ 290 h 18462"/>
                    <a:gd name="connsiteX1" fmla="*/ 17997 w 18312"/>
                    <a:gd name="connsiteY1" fmla="*/ 6929 h 18462"/>
                    <a:gd name="connsiteX2" fmla="*/ 11479 w 18312"/>
                    <a:gd name="connsiteY2" fmla="*/ 18173 h 18462"/>
                    <a:gd name="connsiteX3" fmla="*/ 295 w 18312"/>
                    <a:gd name="connsiteY3" fmla="*/ 11534 h 18462"/>
                    <a:gd name="connsiteX4" fmla="*/ 6814 w 18312"/>
                    <a:gd name="connsiteY4" fmla="*/ 29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62">
                      <a:moveTo>
                        <a:pt x="6814" y="290"/>
                      </a:moveTo>
                      <a:cubicBezTo>
                        <a:pt x="11717" y="-966"/>
                        <a:pt x="16742" y="1965"/>
                        <a:pt x="17997" y="6929"/>
                      </a:cubicBezTo>
                      <a:cubicBezTo>
                        <a:pt x="19313" y="11833"/>
                        <a:pt x="16383" y="16857"/>
                        <a:pt x="11479" y="18173"/>
                      </a:cubicBezTo>
                      <a:cubicBezTo>
                        <a:pt x="6574" y="19429"/>
                        <a:pt x="1550" y="16498"/>
                        <a:pt x="295" y="11534"/>
                      </a:cubicBezTo>
                      <a:cubicBezTo>
                        <a:pt x="-962" y="6570"/>
                        <a:pt x="1909" y="1546"/>
                        <a:pt x="6814" y="290"/>
                      </a:cubicBezTo>
                      <a:close/>
                    </a:path>
                  </a:pathLst>
                </a:custGeom>
                <a:grpFill/>
                <a:ln w="5978" cap="flat">
                  <a:noFill/>
                  <a:prstDash val="solid"/>
                  <a:miter/>
                </a:ln>
              </p:spPr>
              <p:txBody>
                <a:bodyPr rtlCol="0" anchor="ctr"/>
                <a:lstStyle/>
                <a:p>
                  <a:endParaRPr lang="en-GB"/>
                </a:p>
              </p:txBody>
            </p:sp>
            <p:sp>
              <p:nvSpPr>
                <p:cNvPr id="5277" name="Vrije vorm: vorm 5276">
                  <a:extLst>
                    <a:ext uri="{FF2B5EF4-FFF2-40B4-BE49-F238E27FC236}">
                      <a16:creationId xmlns:a16="http://schemas.microsoft.com/office/drawing/2014/main" id="{14802A4C-9753-4335-AFB1-D6F2406087DF}"/>
                    </a:ext>
                  </a:extLst>
                </p:cNvPr>
                <p:cNvSpPr/>
                <p:nvPr/>
              </p:nvSpPr>
              <p:spPr>
                <a:xfrm>
                  <a:off x="7904006" y="2924323"/>
                  <a:ext cx="18332" cy="18459"/>
                </a:xfrm>
                <a:custGeom>
                  <a:avLst/>
                  <a:gdLst>
                    <a:gd name="connsiteX0" fmla="*/ 6834 w 18332"/>
                    <a:gd name="connsiteY0" fmla="*/ 290 h 18459"/>
                    <a:gd name="connsiteX1" fmla="*/ 315 w 18332"/>
                    <a:gd name="connsiteY1" fmla="*/ 11534 h 18459"/>
                    <a:gd name="connsiteX2" fmla="*/ 11499 w 18332"/>
                    <a:gd name="connsiteY2" fmla="*/ 18173 h 18459"/>
                    <a:gd name="connsiteX3" fmla="*/ 18018 w 18332"/>
                    <a:gd name="connsiteY3" fmla="*/ 6929 h 18459"/>
                    <a:gd name="connsiteX4" fmla="*/ 6834 w 18332"/>
                    <a:gd name="connsiteY4" fmla="*/ 290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9">
                      <a:moveTo>
                        <a:pt x="6834" y="290"/>
                      </a:moveTo>
                      <a:cubicBezTo>
                        <a:pt x="1929" y="1546"/>
                        <a:pt x="-1001" y="6570"/>
                        <a:pt x="315" y="11534"/>
                      </a:cubicBezTo>
                      <a:cubicBezTo>
                        <a:pt x="1571" y="16438"/>
                        <a:pt x="6594" y="19429"/>
                        <a:pt x="11499" y="18173"/>
                      </a:cubicBezTo>
                      <a:cubicBezTo>
                        <a:pt x="16403" y="16917"/>
                        <a:pt x="19333" y="11893"/>
                        <a:pt x="18018" y="6929"/>
                      </a:cubicBezTo>
                      <a:cubicBezTo>
                        <a:pt x="16762" y="1965"/>
                        <a:pt x="11738" y="-966"/>
                        <a:pt x="6834" y="290"/>
                      </a:cubicBezTo>
                      <a:close/>
                    </a:path>
                  </a:pathLst>
                </a:custGeom>
                <a:grpFill/>
                <a:ln w="5978" cap="flat">
                  <a:noFill/>
                  <a:prstDash val="solid"/>
                  <a:miter/>
                </a:ln>
              </p:spPr>
              <p:txBody>
                <a:bodyPr rtlCol="0" anchor="ctr"/>
                <a:lstStyle/>
                <a:p>
                  <a:endParaRPr lang="en-GB"/>
                </a:p>
              </p:txBody>
            </p:sp>
          </p:grpSp>
          <p:grpSp>
            <p:nvGrpSpPr>
              <p:cNvPr id="33" name="Graphic 3">
                <a:extLst>
                  <a:ext uri="{FF2B5EF4-FFF2-40B4-BE49-F238E27FC236}">
                    <a16:creationId xmlns:a16="http://schemas.microsoft.com/office/drawing/2014/main" id="{42E69855-AC28-4DF6-A652-C171F6FB646A}"/>
                  </a:ext>
                </a:extLst>
              </p:cNvPr>
              <p:cNvGrpSpPr/>
              <p:nvPr/>
            </p:nvGrpSpPr>
            <p:grpSpPr>
              <a:xfrm>
                <a:off x="7823747" y="2502850"/>
                <a:ext cx="62467" cy="40314"/>
                <a:chOff x="7823747" y="2502850"/>
                <a:chExt cx="62467" cy="40314"/>
              </a:xfrm>
              <a:grpFill/>
            </p:grpSpPr>
            <p:sp>
              <p:nvSpPr>
                <p:cNvPr id="5272" name="Vrije vorm: vorm 5271">
                  <a:extLst>
                    <a:ext uri="{FF2B5EF4-FFF2-40B4-BE49-F238E27FC236}">
                      <a16:creationId xmlns:a16="http://schemas.microsoft.com/office/drawing/2014/main" id="{F56360C0-D026-48B0-A001-5B96AE71A3CC}"/>
                    </a:ext>
                  </a:extLst>
                </p:cNvPr>
                <p:cNvSpPr/>
                <p:nvPr/>
              </p:nvSpPr>
              <p:spPr>
                <a:xfrm>
                  <a:off x="7831835" y="2510508"/>
                  <a:ext cx="46350" cy="25059"/>
                </a:xfrm>
                <a:custGeom>
                  <a:avLst/>
                  <a:gdLst>
                    <a:gd name="connsiteX0" fmla="*/ 46351 w 46350"/>
                    <a:gd name="connsiteY0" fmla="*/ 2751 h 25059"/>
                    <a:gd name="connsiteX1" fmla="*/ 1375 w 46350"/>
                    <a:gd name="connsiteY1" fmla="*/ 25059 h 25059"/>
                    <a:gd name="connsiteX2" fmla="*/ 0 w 46350"/>
                    <a:gd name="connsiteY2" fmla="*/ 22308 h 25059"/>
                    <a:gd name="connsiteX3" fmla="*/ 44974 w 46350"/>
                    <a:gd name="connsiteY3" fmla="*/ 0 h 25059"/>
                  </a:gdLst>
                  <a:ahLst/>
                  <a:cxnLst>
                    <a:cxn ang="0">
                      <a:pos x="connsiteX0" y="connsiteY0"/>
                    </a:cxn>
                    <a:cxn ang="0">
                      <a:pos x="connsiteX1" y="connsiteY1"/>
                    </a:cxn>
                    <a:cxn ang="0">
                      <a:pos x="connsiteX2" y="connsiteY2"/>
                    </a:cxn>
                    <a:cxn ang="0">
                      <a:pos x="connsiteX3" y="connsiteY3"/>
                    </a:cxn>
                  </a:cxnLst>
                  <a:rect l="l" t="t" r="r" b="b"/>
                  <a:pathLst>
                    <a:path w="46350" h="25059">
                      <a:moveTo>
                        <a:pt x="46351" y="2751"/>
                      </a:moveTo>
                      <a:lnTo>
                        <a:pt x="1375" y="25059"/>
                      </a:lnTo>
                      <a:lnTo>
                        <a:pt x="0" y="22308"/>
                      </a:lnTo>
                      <a:lnTo>
                        <a:pt x="44974" y="0"/>
                      </a:lnTo>
                      <a:close/>
                    </a:path>
                  </a:pathLst>
                </a:custGeom>
                <a:grpFill/>
                <a:ln w="5978" cap="flat">
                  <a:noFill/>
                  <a:prstDash val="solid"/>
                  <a:miter/>
                </a:ln>
              </p:spPr>
              <p:txBody>
                <a:bodyPr rtlCol="0" anchor="ctr"/>
                <a:lstStyle/>
                <a:p>
                  <a:endParaRPr lang="en-GB"/>
                </a:p>
              </p:txBody>
            </p:sp>
            <p:sp>
              <p:nvSpPr>
                <p:cNvPr id="5273" name="Vrije vorm: vorm 5272">
                  <a:extLst>
                    <a:ext uri="{FF2B5EF4-FFF2-40B4-BE49-F238E27FC236}">
                      <a16:creationId xmlns:a16="http://schemas.microsoft.com/office/drawing/2014/main" id="{E38F1FA8-B460-4E38-BC45-3ADB75D2CC75}"/>
                    </a:ext>
                  </a:extLst>
                </p:cNvPr>
                <p:cNvSpPr/>
                <p:nvPr/>
              </p:nvSpPr>
              <p:spPr>
                <a:xfrm>
                  <a:off x="7867921" y="2502850"/>
                  <a:ext cx="18292" cy="18424"/>
                </a:xfrm>
                <a:custGeom>
                  <a:avLst/>
                  <a:gdLst>
                    <a:gd name="connsiteX0" fmla="*/ 5061 w 18292"/>
                    <a:gd name="connsiteY0" fmla="*/ 959 h 18424"/>
                    <a:gd name="connsiteX1" fmla="*/ 17321 w 18292"/>
                    <a:gd name="connsiteY1" fmla="*/ 5146 h 18424"/>
                    <a:gd name="connsiteX2" fmla="*/ 13195 w 18292"/>
                    <a:gd name="connsiteY2" fmla="*/ 17466 h 18424"/>
                    <a:gd name="connsiteX3" fmla="*/ 934 w 18292"/>
                    <a:gd name="connsiteY3" fmla="*/ 13279 h 18424"/>
                    <a:gd name="connsiteX4" fmla="*/ 5061 w 18292"/>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424">
                      <a:moveTo>
                        <a:pt x="5061" y="959"/>
                      </a:moveTo>
                      <a:cubicBezTo>
                        <a:pt x="9606" y="-1314"/>
                        <a:pt x="15109" y="600"/>
                        <a:pt x="17321" y="5146"/>
                      </a:cubicBezTo>
                      <a:cubicBezTo>
                        <a:pt x="19594" y="9691"/>
                        <a:pt x="17740" y="15253"/>
                        <a:pt x="13195" y="17466"/>
                      </a:cubicBezTo>
                      <a:cubicBezTo>
                        <a:pt x="8650" y="19739"/>
                        <a:pt x="3147" y="17825"/>
                        <a:pt x="934" y="13279"/>
                      </a:cubicBezTo>
                      <a:cubicBezTo>
                        <a:pt x="-1279" y="8734"/>
                        <a:pt x="575" y="3172"/>
                        <a:pt x="5061" y="959"/>
                      </a:cubicBezTo>
                      <a:close/>
                    </a:path>
                  </a:pathLst>
                </a:custGeom>
                <a:grpFill/>
                <a:ln w="5978" cap="flat">
                  <a:noFill/>
                  <a:prstDash val="solid"/>
                  <a:miter/>
                </a:ln>
              </p:spPr>
              <p:txBody>
                <a:bodyPr rtlCol="0" anchor="ctr"/>
                <a:lstStyle/>
                <a:p>
                  <a:endParaRPr lang="en-GB"/>
                </a:p>
              </p:txBody>
            </p:sp>
            <p:sp>
              <p:nvSpPr>
                <p:cNvPr id="5274" name="Vrije vorm: vorm 5273">
                  <a:extLst>
                    <a:ext uri="{FF2B5EF4-FFF2-40B4-BE49-F238E27FC236}">
                      <a16:creationId xmlns:a16="http://schemas.microsoft.com/office/drawing/2014/main" id="{4D76159A-1DEA-45B5-8773-B6EFA1B191D3}"/>
                    </a:ext>
                  </a:extLst>
                </p:cNvPr>
                <p:cNvSpPr/>
                <p:nvPr/>
              </p:nvSpPr>
              <p:spPr>
                <a:xfrm>
                  <a:off x="7823747" y="2524766"/>
                  <a:ext cx="18329" cy="18398"/>
                </a:xfrm>
                <a:custGeom>
                  <a:avLst/>
                  <a:gdLst>
                    <a:gd name="connsiteX0" fmla="*/ 5098 w 18329"/>
                    <a:gd name="connsiteY0" fmla="*/ 933 h 18398"/>
                    <a:gd name="connsiteX1" fmla="*/ 971 w 18329"/>
                    <a:gd name="connsiteY1" fmla="*/ 13253 h 18398"/>
                    <a:gd name="connsiteX2" fmla="*/ 13232 w 18329"/>
                    <a:gd name="connsiteY2" fmla="*/ 17440 h 18398"/>
                    <a:gd name="connsiteX3" fmla="*/ 17358 w 18329"/>
                    <a:gd name="connsiteY3" fmla="*/ 5119 h 18398"/>
                    <a:gd name="connsiteX4" fmla="*/ 5098 w 18329"/>
                    <a:gd name="connsiteY4" fmla="*/ 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98">
                      <a:moveTo>
                        <a:pt x="5098" y="933"/>
                      </a:moveTo>
                      <a:cubicBezTo>
                        <a:pt x="553" y="3206"/>
                        <a:pt x="-1302" y="8708"/>
                        <a:pt x="971" y="13253"/>
                      </a:cubicBezTo>
                      <a:cubicBezTo>
                        <a:pt x="3244" y="17799"/>
                        <a:pt x="8746" y="19712"/>
                        <a:pt x="13232" y="17440"/>
                      </a:cubicBezTo>
                      <a:cubicBezTo>
                        <a:pt x="17777" y="15167"/>
                        <a:pt x="19631" y="9665"/>
                        <a:pt x="17358" y="5119"/>
                      </a:cubicBezTo>
                      <a:cubicBezTo>
                        <a:pt x="15145" y="574"/>
                        <a:pt x="9643" y="-1280"/>
                        <a:pt x="5098" y="933"/>
                      </a:cubicBezTo>
                      <a:close/>
                    </a:path>
                  </a:pathLst>
                </a:custGeom>
                <a:grpFill/>
                <a:ln w="5978" cap="flat">
                  <a:noFill/>
                  <a:prstDash val="solid"/>
                  <a:miter/>
                </a:ln>
              </p:spPr>
              <p:txBody>
                <a:bodyPr rtlCol="0" anchor="ctr"/>
                <a:lstStyle/>
                <a:p>
                  <a:endParaRPr lang="en-GB"/>
                </a:p>
              </p:txBody>
            </p:sp>
          </p:grpSp>
          <p:grpSp>
            <p:nvGrpSpPr>
              <p:cNvPr id="34" name="Graphic 3">
                <a:extLst>
                  <a:ext uri="{FF2B5EF4-FFF2-40B4-BE49-F238E27FC236}">
                    <a16:creationId xmlns:a16="http://schemas.microsoft.com/office/drawing/2014/main" id="{65F8931E-F773-4FEA-8C23-390AD6CA088B}"/>
                  </a:ext>
                </a:extLst>
              </p:cNvPr>
              <p:cNvGrpSpPr/>
              <p:nvPr/>
            </p:nvGrpSpPr>
            <p:grpSpPr>
              <a:xfrm>
                <a:off x="7705861" y="2990981"/>
                <a:ext cx="652848" cy="102367"/>
                <a:chOff x="7705861" y="2990981"/>
                <a:chExt cx="652848" cy="102367"/>
              </a:xfrm>
              <a:grpFill/>
            </p:grpSpPr>
            <p:sp>
              <p:nvSpPr>
                <p:cNvPr id="5269" name="Vrije vorm: vorm 5268">
                  <a:extLst>
                    <a:ext uri="{FF2B5EF4-FFF2-40B4-BE49-F238E27FC236}">
                      <a16:creationId xmlns:a16="http://schemas.microsoft.com/office/drawing/2014/main" id="{C0EBF7BE-2827-4874-9962-6FAE192A5F89}"/>
                    </a:ext>
                  </a:extLst>
                </p:cNvPr>
                <p:cNvSpPr/>
                <p:nvPr/>
              </p:nvSpPr>
              <p:spPr>
                <a:xfrm>
                  <a:off x="7714314" y="2998654"/>
                  <a:ext cx="635870" cy="87079"/>
                </a:xfrm>
                <a:custGeom>
                  <a:avLst/>
                  <a:gdLst>
                    <a:gd name="connsiteX0" fmla="*/ 635452 w 635870"/>
                    <a:gd name="connsiteY0" fmla="*/ 0 h 87079"/>
                    <a:gd name="connsiteX1" fmla="*/ 635870 w 635870"/>
                    <a:gd name="connsiteY1" fmla="*/ 3050 h 87079"/>
                    <a:gd name="connsiteX2" fmla="*/ 418 w 635870"/>
                    <a:gd name="connsiteY2" fmla="*/ 87079 h 87079"/>
                    <a:gd name="connsiteX3" fmla="*/ 0 w 635870"/>
                    <a:gd name="connsiteY3" fmla="*/ 84029 h 87079"/>
                  </a:gdLst>
                  <a:ahLst/>
                  <a:cxnLst>
                    <a:cxn ang="0">
                      <a:pos x="connsiteX0" y="connsiteY0"/>
                    </a:cxn>
                    <a:cxn ang="0">
                      <a:pos x="connsiteX1" y="connsiteY1"/>
                    </a:cxn>
                    <a:cxn ang="0">
                      <a:pos x="connsiteX2" y="connsiteY2"/>
                    </a:cxn>
                    <a:cxn ang="0">
                      <a:pos x="connsiteX3" y="connsiteY3"/>
                    </a:cxn>
                  </a:cxnLst>
                  <a:rect l="l" t="t" r="r" b="b"/>
                  <a:pathLst>
                    <a:path w="635870" h="87079">
                      <a:moveTo>
                        <a:pt x="635452" y="0"/>
                      </a:moveTo>
                      <a:lnTo>
                        <a:pt x="635870" y="3050"/>
                      </a:lnTo>
                      <a:lnTo>
                        <a:pt x="418" y="87079"/>
                      </a:lnTo>
                      <a:lnTo>
                        <a:pt x="0" y="84029"/>
                      </a:lnTo>
                      <a:close/>
                    </a:path>
                  </a:pathLst>
                </a:custGeom>
                <a:grpFill/>
                <a:ln w="5978" cap="flat">
                  <a:noFill/>
                  <a:prstDash val="solid"/>
                  <a:miter/>
                </a:ln>
              </p:spPr>
              <p:txBody>
                <a:bodyPr rtlCol="0" anchor="ctr"/>
                <a:lstStyle/>
                <a:p>
                  <a:endParaRPr lang="en-GB"/>
                </a:p>
              </p:txBody>
            </p:sp>
            <p:sp>
              <p:nvSpPr>
                <p:cNvPr id="5270" name="Vrije vorm: vorm 5269">
                  <a:extLst>
                    <a:ext uri="{FF2B5EF4-FFF2-40B4-BE49-F238E27FC236}">
                      <a16:creationId xmlns:a16="http://schemas.microsoft.com/office/drawing/2014/main" id="{6479E1E9-05AD-4227-893E-BCEDE10DFDB9}"/>
                    </a:ext>
                  </a:extLst>
                </p:cNvPr>
                <p:cNvSpPr/>
                <p:nvPr/>
              </p:nvSpPr>
              <p:spPr>
                <a:xfrm>
                  <a:off x="7705861" y="3074889"/>
                  <a:ext cx="18294" cy="18458"/>
                </a:xfrm>
                <a:custGeom>
                  <a:avLst/>
                  <a:gdLst>
                    <a:gd name="connsiteX0" fmla="*/ 10367 w 18294"/>
                    <a:gd name="connsiteY0" fmla="*/ 18380 h 18458"/>
                    <a:gd name="connsiteX1" fmla="*/ 80 w 18294"/>
                    <a:gd name="connsiteY1" fmla="*/ 10426 h 18458"/>
                    <a:gd name="connsiteX2" fmla="*/ 7914 w 18294"/>
                    <a:gd name="connsiteY2" fmla="*/ 79 h 18458"/>
                    <a:gd name="connsiteX3" fmla="*/ 18202 w 18294"/>
                    <a:gd name="connsiteY3" fmla="*/ 8033 h 18458"/>
                    <a:gd name="connsiteX4" fmla="*/ 10367 w 18294"/>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58">
                      <a:moveTo>
                        <a:pt x="10367" y="18380"/>
                      </a:moveTo>
                      <a:cubicBezTo>
                        <a:pt x="5343" y="19038"/>
                        <a:pt x="738" y="15509"/>
                        <a:pt x="80" y="10426"/>
                      </a:cubicBezTo>
                      <a:cubicBezTo>
                        <a:pt x="-578" y="5402"/>
                        <a:pt x="2891" y="737"/>
                        <a:pt x="7914" y="79"/>
                      </a:cubicBezTo>
                      <a:cubicBezTo>
                        <a:pt x="12939" y="-579"/>
                        <a:pt x="17544" y="2950"/>
                        <a:pt x="18202" y="8033"/>
                      </a:cubicBezTo>
                      <a:cubicBezTo>
                        <a:pt x="18919" y="13117"/>
                        <a:pt x="15390" y="17722"/>
                        <a:pt x="10367" y="18380"/>
                      </a:cubicBezTo>
                      <a:close/>
                    </a:path>
                  </a:pathLst>
                </a:custGeom>
                <a:grpFill/>
                <a:ln w="5978" cap="flat">
                  <a:noFill/>
                  <a:prstDash val="solid"/>
                  <a:miter/>
                </a:ln>
              </p:spPr>
              <p:txBody>
                <a:bodyPr rtlCol="0" anchor="ctr"/>
                <a:lstStyle/>
                <a:p>
                  <a:endParaRPr lang="en-GB"/>
                </a:p>
              </p:txBody>
            </p:sp>
            <p:sp>
              <p:nvSpPr>
                <p:cNvPr id="5271" name="Vrije vorm: vorm 5270">
                  <a:extLst>
                    <a:ext uri="{FF2B5EF4-FFF2-40B4-BE49-F238E27FC236}">
                      <a16:creationId xmlns:a16="http://schemas.microsoft.com/office/drawing/2014/main" id="{930DC5C8-577E-414C-A7A3-45D9C7D034D3}"/>
                    </a:ext>
                  </a:extLst>
                </p:cNvPr>
                <p:cNvSpPr/>
                <p:nvPr/>
              </p:nvSpPr>
              <p:spPr>
                <a:xfrm>
                  <a:off x="8340402" y="2990981"/>
                  <a:ext cx="18307" cy="18457"/>
                </a:xfrm>
                <a:custGeom>
                  <a:avLst/>
                  <a:gdLst>
                    <a:gd name="connsiteX0" fmla="*/ 10379 w 18307"/>
                    <a:gd name="connsiteY0" fmla="*/ 18379 h 18457"/>
                    <a:gd name="connsiteX1" fmla="*/ 18214 w 18307"/>
                    <a:gd name="connsiteY1" fmla="*/ 8032 h 18457"/>
                    <a:gd name="connsiteX2" fmla="*/ 7928 w 18307"/>
                    <a:gd name="connsiteY2" fmla="*/ 78 h 18457"/>
                    <a:gd name="connsiteX3" fmla="*/ 93 w 18307"/>
                    <a:gd name="connsiteY3" fmla="*/ 10425 h 18457"/>
                    <a:gd name="connsiteX4" fmla="*/ 10379 w 18307"/>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57">
                      <a:moveTo>
                        <a:pt x="10379" y="18379"/>
                      </a:moveTo>
                      <a:cubicBezTo>
                        <a:pt x="15404" y="17721"/>
                        <a:pt x="18932" y="13056"/>
                        <a:pt x="18214" y="8032"/>
                      </a:cubicBezTo>
                      <a:cubicBezTo>
                        <a:pt x="17557" y="3008"/>
                        <a:pt x="12892" y="-580"/>
                        <a:pt x="7928" y="78"/>
                      </a:cubicBezTo>
                      <a:cubicBezTo>
                        <a:pt x="2903" y="736"/>
                        <a:pt x="-625" y="5341"/>
                        <a:pt x="93" y="10425"/>
                      </a:cubicBezTo>
                      <a:cubicBezTo>
                        <a:pt x="750" y="15508"/>
                        <a:pt x="5356" y="19037"/>
                        <a:pt x="10379" y="18379"/>
                      </a:cubicBezTo>
                      <a:close/>
                    </a:path>
                  </a:pathLst>
                </a:custGeom>
                <a:grpFill/>
                <a:ln w="5978" cap="flat">
                  <a:noFill/>
                  <a:prstDash val="solid"/>
                  <a:miter/>
                </a:ln>
              </p:spPr>
              <p:txBody>
                <a:bodyPr rtlCol="0" anchor="ctr"/>
                <a:lstStyle/>
                <a:p>
                  <a:endParaRPr lang="en-GB"/>
                </a:p>
              </p:txBody>
            </p:sp>
          </p:grpSp>
          <p:grpSp>
            <p:nvGrpSpPr>
              <p:cNvPr id="35" name="Graphic 3">
                <a:extLst>
                  <a:ext uri="{FF2B5EF4-FFF2-40B4-BE49-F238E27FC236}">
                    <a16:creationId xmlns:a16="http://schemas.microsoft.com/office/drawing/2014/main" id="{D020D717-A324-4A09-9146-93F5431E632F}"/>
                  </a:ext>
                </a:extLst>
              </p:cNvPr>
              <p:cNvGrpSpPr/>
              <p:nvPr/>
            </p:nvGrpSpPr>
            <p:grpSpPr>
              <a:xfrm>
                <a:off x="7633250" y="1957571"/>
                <a:ext cx="72894" cy="66662"/>
                <a:chOff x="7633250" y="1957571"/>
                <a:chExt cx="72894" cy="66662"/>
              </a:xfrm>
              <a:grpFill/>
            </p:grpSpPr>
            <p:sp>
              <p:nvSpPr>
                <p:cNvPr id="5266" name="Vrije vorm: vorm 5265">
                  <a:extLst>
                    <a:ext uri="{FF2B5EF4-FFF2-40B4-BE49-F238E27FC236}">
                      <a16:creationId xmlns:a16="http://schemas.microsoft.com/office/drawing/2014/main" id="{CE4206A5-538E-46F5-9FC3-95CF2AA570AE}"/>
                    </a:ext>
                  </a:extLst>
                </p:cNvPr>
                <p:cNvSpPr/>
                <p:nvPr/>
              </p:nvSpPr>
              <p:spPr>
                <a:xfrm>
                  <a:off x="7640990" y="1965305"/>
                  <a:ext cx="57354" cy="51194"/>
                </a:xfrm>
                <a:custGeom>
                  <a:avLst/>
                  <a:gdLst>
                    <a:gd name="connsiteX0" fmla="*/ 57355 w 57354"/>
                    <a:gd name="connsiteY0" fmla="*/ 2332 h 51194"/>
                    <a:gd name="connsiteX1" fmla="*/ 2033 w 57354"/>
                    <a:gd name="connsiteY1" fmla="*/ 51195 h 51194"/>
                    <a:gd name="connsiteX2" fmla="*/ 0 w 57354"/>
                    <a:gd name="connsiteY2" fmla="*/ 48922 h 51194"/>
                    <a:gd name="connsiteX3" fmla="*/ 55382 w 57354"/>
                    <a:gd name="connsiteY3" fmla="*/ 0 h 51194"/>
                  </a:gdLst>
                  <a:ahLst/>
                  <a:cxnLst>
                    <a:cxn ang="0">
                      <a:pos x="connsiteX0" y="connsiteY0"/>
                    </a:cxn>
                    <a:cxn ang="0">
                      <a:pos x="connsiteX1" y="connsiteY1"/>
                    </a:cxn>
                    <a:cxn ang="0">
                      <a:pos x="connsiteX2" y="connsiteY2"/>
                    </a:cxn>
                    <a:cxn ang="0">
                      <a:pos x="connsiteX3" y="connsiteY3"/>
                    </a:cxn>
                  </a:cxnLst>
                  <a:rect l="l" t="t" r="r" b="b"/>
                  <a:pathLst>
                    <a:path w="57354" h="51194">
                      <a:moveTo>
                        <a:pt x="57355" y="2332"/>
                      </a:moveTo>
                      <a:lnTo>
                        <a:pt x="2033" y="51195"/>
                      </a:lnTo>
                      <a:lnTo>
                        <a:pt x="0" y="48922"/>
                      </a:lnTo>
                      <a:lnTo>
                        <a:pt x="55382" y="0"/>
                      </a:lnTo>
                      <a:close/>
                    </a:path>
                  </a:pathLst>
                </a:custGeom>
                <a:grpFill/>
                <a:ln w="5978" cap="flat">
                  <a:noFill/>
                  <a:prstDash val="solid"/>
                  <a:miter/>
                </a:ln>
              </p:spPr>
              <p:txBody>
                <a:bodyPr rtlCol="0" anchor="ctr"/>
                <a:lstStyle/>
                <a:p>
                  <a:endParaRPr lang="en-GB"/>
                </a:p>
              </p:txBody>
            </p:sp>
            <p:sp>
              <p:nvSpPr>
                <p:cNvPr id="5267" name="Vrije vorm: vorm 5266">
                  <a:extLst>
                    <a:ext uri="{FF2B5EF4-FFF2-40B4-BE49-F238E27FC236}">
                      <a16:creationId xmlns:a16="http://schemas.microsoft.com/office/drawing/2014/main" id="{576CDFCE-E8A6-4097-9957-5AE2A521C634}"/>
                    </a:ext>
                  </a:extLst>
                </p:cNvPr>
                <p:cNvSpPr/>
                <p:nvPr/>
              </p:nvSpPr>
              <p:spPr>
                <a:xfrm>
                  <a:off x="7687854" y="1957571"/>
                  <a:ext cx="18290" cy="18398"/>
                </a:xfrm>
                <a:custGeom>
                  <a:avLst/>
                  <a:gdLst>
                    <a:gd name="connsiteX0" fmla="*/ 3075 w 18290"/>
                    <a:gd name="connsiteY0" fmla="*/ 2291 h 18398"/>
                    <a:gd name="connsiteX1" fmla="*/ 15993 w 18290"/>
                    <a:gd name="connsiteY1" fmla="*/ 3129 h 18398"/>
                    <a:gd name="connsiteX2" fmla="*/ 15216 w 18290"/>
                    <a:gd name="connsiteY2" fmla="*/ 16107 h 18398"/>
                    <a:gd name="connsiteX3" fmla="*/ 2297 w 18290"/>
                    <a:gd name="connsiteY3" fmla="*/ 15269 h 18398"/>
                    <a:gd name="connsiteX4" fmla="*/ 3075 w 18290"/>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98">
                      <a:moveTo>
                        <a:pt x="3075" y="2291"/>
                      </a:moveTo>
                      <a:cubicBezTo>
                        <a:pt x="6842" y="-1058"/>
                        <a:pt x="12644" y="-699"/>
                        <a:pt x="15993" y="3129"/>
                      </a:cubicBezTo>
                      <a:cubicBezTo>
                        <a:pt x="19342" y="6956"/>
                        <a:pt x="18983" y="12758"/>
                        <a:pt x="15216" y="16107"/>
                      </a:cubicBezTo>
                      <a:cubicBezTo>
                        <a:pt x="11448" y="19456"/>
                        <a:pt x="5647" y="19097"/>
                        <a:pt x="2297" y="15269"/>
                      </a:cubicBezTo>
                      <a:cubicBezTo>
                        <a:pt x="-1052" y="11442"/>
                        <a:pt x="-693" y="5641"/>
                        <a:pt x="3075" y="2291"/>
                      </a:cubicBezTo>
                      <a:close/>
                    </a:path>
                  </a:pathLst>
                </a:custGeom>
                <a:grpFill/>
                <a:ln w="5978" cap="flat">
                  <a:noFill/>
                  <a:prstDash val="solid"/>
                  <a:miter/>
                </a:ln>
              </p:spPr>
              <p:txBody>
                <a:bodyPr rtlCol="0" anchor="ctr"/>
                <a:lstStyle/>
                <a:p>
                  <a:endParaRPr lang="en-GB"/>
                </a:p>
              </p:txBody>
            </p:sp>
            <p:sp>
              <p:nvSpPr>
                <p:cNvPr id="5268" name="Vrije vorm: vorm 5267">
                  <a:extLst>
                    <a:ext uri="{FF2B5EF4-FFF2-40B4-BE49-F238E27FC236}">
                      <a16:creationId xmlns:a16="http://schemas.microsoft.com/office/drawing/2014/main" id="{BC2AF5C7-E7FD-4C16-9D50-311DF3BB7D47}"/>
                    </a:ext>
                  </a:extLst>
                </p:cNvPr>
                <p:cNvSpPr/>
                <p:nvPr/>
              </p:nvSpPr>
              <p:spPr>
                <a:xfrm>
                  <a:off x="7633250" y="2005836"/>
                  <a:ext cx="18299" cy="18398"/>
                </a:xfrm>
                <a:custGeom>
                  <a:avLst/>
                  <a:gdLst>
                    <a:gd name="connsiteX0" fmla="*/ 3075 w 18299"/>
                    <a:gd name="connsiteY0" fmla="*/ 2291 h 18398"/>
                    <a:gd name="connsiteX1" fmla="*/ 2297 w 18299"/>
                    <a:gd name="connsiteY1" fmla="*/ 15269 h 18398"/>
                    <a:gd name="connsiteX2" fmla="*/ 15216 w 18299"/>
                    <a:gd name="connsiteY2" fmla="*/ 16107 h 18398"/>
                    <a:gd name="connsiteX3" fmla="*/ 16053 w 18299"/>
                    <a:gd name="connsiteY3" fmla="*/ 3129 h 18398"/>
                    <a:gd name="connsiteX4" fmla="*/ 3075 w 18299"/>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98">
                      <a:moveTo>
                        <a:pt x="3075" y="2291"/>
                      </a:moveTo>
                      <a:cubicBezTo>
                        <a:pt x="-693" y="5641"/>
                        <a:pt x="-1052" y="11442"/>
                        <a:pt x="2297" y="15269"/>
                      </a:cubicBezTo>
                      <a:cubicBezTo>
                        <a:pt x="5647" y="19097"/>
                        <a:pt x="11448" y="19456"/>
                        <a:pt x="15216" y="16107"/>
                      </a:cubicBezTo>
                      <a:cubicBezTo>
                        <a:pt x="18983" y="12758"/>
                        <a:pt x="19342" y="6956"/>
                        <a:pt x="16053" y="3129"/>
                      </a:cubicBezTo>
                      <a:cubicBezTo>
                        <a:pt x="12644" y="-699"/>
                        <a:pt x="6842" y="-1058"/>
                        <a:pt x="3075" y="2291"/>
                      </a:cubicBezTo>
                      <a:close/>
                    </a:path>
                  </a:pathLst>
                </a:custGeom>
                <a:grpFill/>
                <a:ln w="5978" cap="flat">
                  <a:noFill/>
                  <a:prstDash val="solid"/>
                  <a:miter/>
                </a:ln>
              </p:spPr>
              <p:txBody>
                <a:bodyPr rtlCol="0" anchor="ctr"/>
                <a:lstStyle/>
                <a:p>
                  <a:endParaRPr lang="en-GB"/>
                </a:p>
              </p:txBody>
            </p:sp>
          </p:grpSp>
          <p:grpSp>
            <p:nvGrpSpPr>
              <p:cNvPr id="36" name="Graphic 3">
                <a:extLst>
                  <a:ext uri="{FF2B5EF4-FFF2-40B4-BE49-F238E27FC236}">
                    <a16:creationId xmlns:a16="http://schemas.microsoft.com/office/drawing/2014/main" id="{D8C6ED17-73C4-4DFF-B415-93E4673E3820}"/>
                  </a:ext>
                </a:extLst>
              </p:cNvPr>
              <p:cNvGrpSpPr/>
              <p:nvPr/>
            </p:nvGrpSpPr>
            <p:grpSpPr>
              <a:xfrm>
                <a:off x="7879336" y="2850945"/>
                <a:ext cx="171203" cy="61273"/>
                <a:chOff x="7879336" y="2850945"/>
                <a:chExt cx="171203" cy="61273"/>
              </a:xfrm>
              <a:grpFill/>
            </p:grpSpPr>
            <p:sp>
              <p:nvSpPr>
                <p:cNvPr id="5263" name="Vrije vorm: vorm 5262">
                  <a:extLst>
                    <a:ext uri="{FF2B5EF4-FFF2-40B4-BE49-F238E27FC236}">
                      <a16:creationId xmlns:a16="http://schemas.microsoft.com/office/drawing/2014/main" id="{0995D159-193E-4A11-B93A-A9DEE3C599E0}"/>
                    </a:ext>
                  </a:extLst>
                </p:cNvPr>
                <p:cNvSpPr/>
                <p:nvPr/>
              </p:nvSpPr>
              <p:spPr>
                <a:xfrm>
                  <a:off x="7887546" y="2858183"/>
                  <a:ext cx="154554" cy="46131"/>
                </a:xfrm>
                <a:custGeom>
                  <a:avLst/>
                  <a:gdLst>
                    <a:gd name="connsiteX0" fmla="*/ 0 w 154554"/>
                    <a:gd name="connsiteY0" fmla="*/ 43195 h 46131"/>
                    <a:gd name="connsiteX1" fmla="*/ 153729 w 154554"/>
                    <a:gd name="connsiteY1" fmla="*/ 0 h 46131"/>
                    <a:gd name="connsiteX2" fmla="*/ 154554 w 154554"/>
                    <a:gd name="connsiteY2" fmla="*/ 2937 h 46131"/>
                    <a:gd name="connsiteX3" fmla="*/ 825 w 154554"/>
                    <a:gd name="connsiteY3" fmla="*/ 46131 h 46131"/>
                  </a:gdLst>
                  <a:ahLst/>
                  <a:cxnLst>
                    <a:cxn ang="0">
                      <a:pos x="connsiteX0" y="connsiteY0"/>
                    </a:cxn>
                    <a:cxn ang="0">
                      <a:pos x="connsiteX1" y="connsiteY1"/>
                    </a:cxn>
                    <a:cxn ang="0">
                      <a:pos x="connsiteX2" y="connsiteY2"/>
                    </a:cxn>
                    <a:cxn ang="0">
                      <a:pos x="connsiteX3" y="connsiteY3"/>
                    </a:cxn>
                  </a:cxnLst>
                  <a:rect l="l" t="t" r="r" b="b"/>
                  <a:pathLst>
                    <a:path w="154554" h="46131">
                      <a:moveTo>
                        <a:pt x="0" y="43195"/>
                      </a:moveTo>
                      <a:lnTo>
                        <a:pt x="153729" y="0"/>
                      </a:lnTo>
                      <a:lnTo>
                        <a:pt x="154554" y="2937"/>
                      </a:lnTo>
                      <a:lnTo>
                        <a:pt x="825" y="46131"/>
                      </a:lnTo>
                      <a:close/>
                    </a:path>
                  </a:pathLst>
                </a:custGeom>
                <a:grpFill/>
                <a:ln w="5978" cap="flat">
                  <a:noFill/>
                  <a:prstDash val="solid"/>
                  <a:miter/>
                </a:ln>
              </p:spPr>
              <p:txBody>
                <a:bodyPr rtlCol="0" anchor="ctr"/>
                <a:lstStyle/>
                <a:p>
                  <a:endParaRPr lang="en-GB"/>
                </a:p>
              </p:txBody>
            </p:sp>
            <p:sp>
              <p:nvSpPr>
                <p:cNvPr id="5264" name="Vrije vorm: vorm 5263">
                  <a:extLst>
                    <a:ext uri="{FF2B5EF4-FFF2-40B4-BE49-F238E27FC236}">
                      <a16:creationId xmlns:a16="http://schemas.microsoft.com/office/drawing/2014/main" id="{02857C84-21C6-431D-9FA6-E0F1F4E5FF3B}"/>
                    </a:ext>
                  </a:extLst>
                </p:cNvPr>
                <p:cNvSpPr/>
                <p:nvPr/>
              </p:nvSpPr>
              <p:spPr>
                <a:xfrm>
                  <a:off x="8032203" y="2850945"/>
                  <a:ext cx="18336" cy="18451"/>
                </a:xfrm>
                <a:custGeom>
                  <a:avLst/>
                  <a:gdLst>
                    <a:gd name="connsiteX0" fmla="*/ 6684 w 18336"/>
                    <a:gd name="connsiteY0" fmla="*/ 344 h 18451"/>
                    <a:gd name="connsiteX1" fmla="*/ 17987 w 18336"/>
                    <a:gd name="connsiteY1" fmla="*/ 6744 h 18451"/>
                    <a:gd name="connsiteX2" fmla="*/ 11648 w 18336"/>
                    <a:gd name="connsiteY2" fmla="*/ 18107 h 18451"/>
                    <a:gd name="connsiteX3" fmla="*/ 345 w 18336"/>
                    <a:gd name="connsiteY3" fmla="*/ 11708 h 18451"/>
                    <a:gd name="connsiteX4" fmla="*/ 6684 w 18336"/>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1">
                      <a:moveTo>
                        <a:pt x="6684" y="344"/>
                      </a:moveTo>
                      <a:cubicBezTo>
                        <a:pt x="11528" y="-1031"/>
                        <a:pt x="16612" y="1839"/>
                        <a:pt x="17987" y="6744"/>
                      </a:cubicBezTo>
                      <a:cubicBezTo>
                        <a:pt x="19364" y="11648"/>
                        <a:pt x="16552" y="16731"/>
                        <a:pt x="11648" y="18107"/>
                      </a:cubicBezTo>
                      <a:cubicBezTo>
                        <a:pt x="6803" y="19482"/>
                        <a:pt x="1720" y="16612"/>
                        <a:pt x="345" y="11708"/>
                      </a:cubicBezTo>
                      <a:cubicBezTo>
                        <a:pt x="-1031" y="6803"/>
                        <a:pt x="1840" y="1720"/>
                        <a:pt x="6684" y="344"/>
                      </a:cubicBezTo>
                      <a:close/>
                    </a:path>
                  </a:pathLst>
                </a:custGeom>
                <a:grpFill/>
                <a:ln w="5978" cap="flat">
                  <a:noFill/>
                  <a:prstDash val="solid"/>
                  <a:miter/>
                </a:ln>
              </p:spPr>
              <p:txBody>
                <a:bodyPr rtlCol="0" anchor="ctr"/>
                <a:lstStyle/>
                <a:p>
                  <a:endParaRPr lang="en-GB"/>
                </a:p>
              </p:txBody>
            </p:sp>
            <p:sp>
              <p:nvSpPr>
                <p:cNvPr id="5265" name="Vrije vorm: vorm 5264">
                  <a:extLst>
                    <a:ext uri="{FF2B5EF4-FFF2-40B4-BE49-F238E27FC236}">
                      <a16:creationId xmlns:a16="http://schemas.microsoft.com/office/drawing/2014/main" id="{9C622C54-B66A-4E02-A90C-0A7652B9840A}"/>
                    </a:ext>
                  </a:extLst>
                </p:cNvPr>
                <p:cNvSpPr/>
                <p:nvPr/>
              </p:nvSpPr>
              <p:spPr>
                <a:xfrm>
                  <a:off x="7879336" y="2893792"/>
                  <a:ext cx="18332" cy="18426"/>
                </a:xfrm>
                <a:custGeom>
                  <a:avLst/>
                  <a:gdLst>
                    <a:gd name="connsiteX0" fmla="*/ 6684 w 18332"/>
                    <a:gd name="connsiteY0" fmla="*/ 319 h 18426"/>
                    <a:gd name="connsiteX1" fmla="*/ 345 w 18332"/>
                    <a:gd name="connsiteY1" fmla="*/ 11683 h 18426"/>
                    <a:gd name="connsiteX2" fmla="*/ 11648 w 18332"/>
                    <a:gd name="connsiteY2" fmla="*/ 18082 h 18426"/>
                    <a:gd name="connsiteX3" fmla="*/ 17988 w 18332"/>
                    <a:gd name="connsiteY3" fmla="*/ 6719 h 18426"/>
                    <a:gd name="connsiteX4" fmla="*/ 6684 w 18332"/>
                    <a:gd name="connsiteY4" fmla="*/ 31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6">
                      <a:moveTo>
                        <a:pt x="6684" y="319"/>
                      </a:moveTo>
                      <a:cubicBezTo>
                        <a:pt x="1840" y="1695"/>
                        <a:pt x="-1031" y="6778"/>
                        <a:pt x="345" y="11683"/>
                      </a:cubicBezTo>
                      <a:cubicBezTo>
                        <a:pt x="1720" y="16587"/>
                        <a:pt x="6804" y="19458"/>
                        <a:pt x="11648" y="18082"/>
                      </a:cubicBezTo>
                      <a:cubicBezTo>
                        <a:pt x="16492" y="16706"/>
                        <a:pt x="19363" y="11623"/>
                        <a:pt x="17988" y="6719"/>
                      </a:cubicBezTo>
                      <a:cubicBezTo>
                        <a:pt x="16612" y="1874"/>
                        <a:pt x="11588" y="-996"/>
                        <a:pt x="6684" y="319"/>
                      </a:cubicBezTo>
                      <a:close/>
                    </a:path>
                  </a:pathLst>
                </a:custGeom>
                <a:grpFill/>
                <a:ln w="5978" cap="flat">
                  <a:noFill/>
                  <a:prstDash val="solid"/>
                  <a:miter/>
                </a:ln>
              </p:spPr>
              <p:txBody>
                <a:bodyPr rtlCol="0" anchor="ctr"/>
                <a:lstStyle/>
                <a:p>
                  <a:endParaRPr lang="en-GB"/>
                </a:p>
              </p:txBody>
            </p:sp>
          </p:grpSp>
          <p:grpSp>
            <p:nvGrpSpPr>
              <p:cNvPr id="37" name="Graphic 3">
                <a:extLst>
                  <a:ext uri="{FF2B5EF4-FFF2-40B4-BE49-F238E27FC236}">
                    <a16:creationId xmlns:a16="http://schemas.microsoft.com/office/drawing/2014/main" id="{F48C8B9C-2115-4C5B-95A0-6DE7BB890AB1}"/>
                  </a:ext>
                </a:extLst>
              </p:cNvPr>
              <p:cNvGrpSpPr/>
              <p:nvPr/>
            </p:nvGrpSpPr>
            <p:grpSpPr>
              <a:xfrm>
                <a:off x="7715328" y="2329631"/>
                <a:ext cx="163836" cy="104908"/>
                <a:chOff x="7715328" y="2329631"/>
                <a:chExt cx="163836" cy="104908"/>
              </a:xfrm>
              <a:grpFill/>
            </p:grpSpPr>
            <p:sp>
              <p:nvSpPr>
                <p:cNvPr id="5260" name="Vrije vorm: vorm 5259">
                  <a:extLst>
                    <a:ext uri="{FF2B5EF4-FFF2-40B4-BE49-F238E27FC236}">
                      <a16:creationId xmlns:a16="http://schemas.microsoft.com/office/drawing/2014/main" id="{16E97A1C-516A-4674-9B18-6031DBDDA6EC}"/>
                    </a:ext>
                  </a:extLst>
                </p:cNvPr>
                <p:cNvSpPr/>
                <p:nvPr/>
              </p:nvSpPr>
              <p:spPr>
                <a:xfrm>
                  <a:off x="7723285" y="2337306"/>
                  <a:ext cx="147903" cy="89591"/>
                </a:xfrm>
                <a:custGeom>
                  <a:avLst/>
                  <a:gdLst>
                    <a:gd name="connsiteX0" fmla="*/ 147903 w 147903"/>
                    <a:gd name="connsiteY0" fmla="*/ 2632 h 89591"/>
                    <a:gd name="connsiteX1" fmla="*/ 1555 w 147903"/>
                    <a:gd name="connsiteY1" fmla="*/ 89591 h 89591"/>
                    <a:gd name="connsiteX2" fmla="*/ 0 w 147903"/>
                    <a:gd name="connsiteY2" fmla="*/ 86960 h 89591"/>
                    <a:gd name="connsiteX3" fmla="*/ 146348 w 147903"/>
                    <a:gd name="connsiteY3" fmla="*/ 0 h 89591"/>
                  </a:gdLst>
                  <a:ahLst/>
                  <a:cxnLst>
                    <a:cxn ang="0">
                      <a:pos x="connsiteX0" y="connsiteY0"/>
                    </a:cxn>
                    <a:cxn ang="0">
                      <a:pos x="connsiteX1" y="connsiteY1"/>
                    </a:cxn>
                    <a:cxn ang="0">
                      <a:pos x="connsiteX2" y="connsiteY2"/>
                    </a:cxn>
                    <a:cxn ang="0">
                      <a:pos x="connsiteX3" y="connsiteY3"/>
                    </a:cxn>
                  </a:cxnLst>
                  <a:rect l="l" t="t" r="r" b="b"/>
                  <a:pathLst>
                    <a:path w="147903" h="89591">
                      <a:moveTo>
                        <a:pt x="147903" y="2632"/>
                      </a:moveTo>
                      <a:lnTo>
                        <a:pt x="1555" y="89591"/>
                      </a:lnTo>
                      <a:lnTo>
                        <a:pt x="0" y="86960"/>
                      </a:lnTo>
                      <a:lnTo>
                        <a:pt x="146348" y="0"/>
                      </a:lnTo>
                      <a:close/>
                    </a:path>
                  </a:pathLst>
                </a:custGeom>
                <a:grpFill/>
                <a:ln w="5978" cap="flat">
                  <a:noFill/>
                  <a:prstDash val="solid"/>
                  <a:miter/>
                </a:ln>
              </p:spPr>
              <p:txBody>
                <a:bodyPr rtlCol="0" anchor="ctr"/>
                <a:lstStyle/>
                <a:p>
                  <a:endParaRPr lang="en-GB"/>
                </a:p>
              </p:txBody>
            </p:sp>
            <p:sp>
              <p:nvSpPr>
                <p:cNvPr id="5261" name="Vrije vorm: vorm 5260">
                  <a:extLst>
                    <a:ext uri="{FF2B5EF4-FFF2-40B4-BE49-F238E27FC236}">
                      <a16:creationId xmlns:a16="http://schemas.microsoft.com/office/drawing/2014/main" id="{FD4901A9-943F-4DAD-A2AE-C2C97B20C605}"/>
                    </a:ext>
                  </a:extLst>
                </p:cNvPr>
                <p:cNvSpPr/>
                <p:nvPr/>
              </p:nvSpPr>
              <p:spPr>
                <a:xfrm>
                  <a:off x="7860865" y="2329631"/>
                  <a:ext cx="18299" cy="18400"/>
                </a:xfrm>
                <a:custGeom>
                  <a:avLst/>
                  <a:gdLst>
                    <a:gd name="connsiteX0" fmla="*/ 4462 w 18299"/>
                    <a:gd name="connsiteY0" fmla="*/ 1276 h 18400"/>
                    <a:gd name="connsiteX1" fmla="*/ 17021 w 18299"/>
                    <a:gd name="connsiteY1" fmla="*/ 4506 h 18400"/>
                    <a:gd name="connsiteX2" fmla="*/ 13851 w 18299"/>
                    <a:gd name="connsiteY2" fmla="*/ 17125 h 18400"/>
                    <a:gd name="connsiteX3" fmla="*/ 1292 w 18299"/>
                    <a:gd name="connsiteY3" fmla="*/ 13895 h 18400"/>
                    <a:gd name="connsiteX4" fmla="*/ 4462 w 18299"/>
                    <a:gd name="connsiteY4" fmla="*/ 127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00">
                      <a:moveTo>
                        <a:pt x="4462" y="1276"/>
                      </a:moveTo>
                      <a:cubicBezTo>
                        <a:pt x="8828" y="-1296"/>
                        <a:pt x="14449" y="140"/>
                        <a:pt x="17021" y="4506"/>
                      </a:cubicBezTo>
                      <a:cubicBezTo>
                        <a:pt x="19593" y="8871"/>
                        <a:pt x="18157" y="14553"/>
                        <a:pt x="13851" y="17125"/>
                      </a:cubicBezTo>
                      <a:cubicBezTo>
                        <a:pt x="9485" y="19697"/>
                        <a:pt x="3864" y="18261"/>
                        <a:pt x="1292" y="13895"/>
                      </a:cubicBezTo>
                      <a:cubicBezTo>
                        <a:pt x="-1280" y="9529"/>
                        <a:pt x="96" y="3848"/>
                        <a:pt x="4462" y="1276"/>
                      </a:cubicBezTo>
                      <a:close/>
                    </a:path>
                  </a:pathLst>
                </a:custGeom>
                <a:grpFill/>
                <a:ln w="5978" cap="flat">
                  <a:noFill/>
                  <a:prstDash val="solid"/>
                  <a:miter/>
                </a:ln>
              </p:spPr>
              <p:txBody>
                <a:bodyPr rtlCol="0" anchor="ctr"/>
                <a:lstStyle/>
                <a:p>
                  <a:endParaRPr lang="en-GB"/>
                </a:p>
              </p:txBody>
            </p:sp>
            <p:sp>
              <p:nvSpPr>
                <p:cNvPr id="5262" name="Vrije vorm: vorm 5261">
                  <a:extLst>
                    <a:ext uri="{FF2B5EF4-FFF2-40B4-BE49-F238E27FC236}">
                      <a16:creationId xmlns:a16="http://schemas.microsoft.com/office/drawing/2014/main" id="{4B69D079-77A8-4112-B468-DD697D9C1FB9}"/>
                    </a:ext>
                  </a:extLst>
                </p:cNvPr>
                <p:cNvSpPr/>
                <p:nvPr/>
              </p:nvSpPr>
              <p:spPr>
                <a:xfrm>
                  <a:off x="7715328" y="2416112"/>
                  <a:ext cx="18366" cy="18427"/>
                </a:xfrm>
                <a:custGeom>
                  <a:avLst/>
                  <a:gdLst>
                    <a:gd name="connsiteX0" fmla="*/ 4488 w 18366"/>
                    <a:gd name="connsiteY0" fmla="*/ 1276 h 18427"/>
                    <a:gd name="connsiteX1" fmla="*/ 1319 w 18366"/>
                    <a:gd name="connsiteY1" fmla="*/ 13895 h 18427"/>
                    <a:gd name="connsiteX2" fmla="*/ 13878 w 18366"/>
                    <a:gd name="connsiteY2" fmla="*/ 17125 h 18427"/>
                    <a:gd name="connsiteX3" fmla="*/ 17048 w 18366"/>
                    <a:gd name="connsiteY3" fmla="*/ 4506 h 18427"/>
                    <a:gd name="connsiteX4" fmla="*/ 4488 w 18366"/>
                    <a:gd name="connsiteY4" fmla="*/ 127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7">
                      <a:moveTo>
                        <a:pt x="4488" y="1276"/>
                      </a:moveTo>
                      <a:cubicBezTo>
                        <a:pt x="122" y="3848"/>
                        <a:pt x="-1313" y="9529"/>
                        <a:pt x="1319" y="13895"/>
                      </a:cubicBezTo>
                      <a:cubicBezTo>
                        <a:pt x="3890" y="18261"/>
                        <a:pt x="9512" y="19757"/>
                        <a:pt x="13878" y="17125"/>
                      </a:cubicBezTo>
                      <a:cubicBezTo>
                        <a:pt x="18244" y="14493"/>
                        <a:pt x="19679" y="8872"/>
                        <a:pt x="17048" y="4506"/>
                      </a:cubicBezTo>
                      <a:cubicBezTo>
                        <a:pt x="14416" y="140"/>
                        <a:pt x="8795" y="-1296"/>
                        <a:pt x="4488" y="1276"/>
                      </a:cubicBezTo>
                      <a:close/>
                    </a:path>
                  </a:pathLst>
                </a:custGeom>
                <a:grpFill/>
                <a:ln w="5978" cap="flat">
                  <a:noFill/>
                  <a:prstDash val="solid"/>
                  <a:miter/>
                </a:ln>
              </p:spPr>
              <p:txBody>
                <a:bodyPr rtlCol="0" anchor="ctr"/>
                <a:lstStyle/>
                <a:p>
                  <a:endParaRPr lang="en-GB"/>
                </a:p>
              </p:txBody>
            </p:sp>
          </p:grpSp>
          <p:grpSp>
            <p:nvGrpSpPr>
              <p:cNvPr id="38" name="Graphic 3">
                <a:extLst>
                  <a:ext uri="{FF2B5EF4-FFF2-40B4-BE49-F238E27FC236}">
                    <a16:creationId xmlns:a16="http://schemas.microsoft.com/office/drawing/2014/main" id="{571A293B-8E89-4E6C-919B-254B19A53D0C}"/>
                  </a:ext>
                </a:extLst>
              </p:cNvPr>
              <p:cNvGrpSpPr/>
              <p:nvPr/>
            </p:nvGrpSpPr>
            <p:grpSpPr>
              <a:xfrm>
                <a:off x="7813201" y="2730236"/>
                <a:ext cx="231580" cy="91362"/>
                <a:chOff x="7813201" y="2730236"/>
                <a:chExt cx="231580" cy="91362"/>
              </a:xfrm>
              <a:grpFill/>
            </p:grpSpPr>
            <p:sp>
              <p:nvSpPr>
                <p:cNvPr id="5257" name="Vrije vorm: vorm 5256">
                  <a:extLst>
                    <a:ext uri="{FF2B5EF4-FFF2-40B4-BE49-F238E27FC236}">
                      <a16:creationId xmlns:a16="http://schemas.microsoft.com/office/drawing/2014/main" id="{DFAC0620-1B62-42AC-83B9-587B28E099C8}"/>
                    </a:ext>
                  </a:extLst>
                </p:cNvPr>
                <p:cNvSpPr/>
                <p:nvPr/>
              </p:nvSpPr>
              <p:spPr>
                <a:xfrm>
                  <a:off x="7821201" y="2737459"/>
                  <a:ext cx="215100" cy="76165"/>
                </a:xfrm>
                <a:custGeom>
                  <a:avLst/>
                  <a:gdLst>
                    <a:gd name="connsiteX0" fmla="*/ 0 w 215100"/>
                    <a:gd name="connsiteY0" fmla="*/ 73279 h 76165"/>
                    <a:gd name="connsiteX1" fmla="*/ 214112 w 215100"/>
                    <a:gd name="connsiteY1" fmla="*/ 0 h 76165"/>
                    <a:gd name="connsiteX2" fmla="*/ 215100 w 215100"/>
                    <a:gd name="connsiteY2" fmla="*/ 2886 h 76165"/>
                    <a:gd name="connsiteX3" fmla="*/ 988 w 215100"/>
                    <a:gd name="connsiteY3" fmla="*/ 76165 h 76165"/>
                  </a:gdLst>
                  <a:ahLst/>
                  <a:cxnLst>
                    <a:cxn ang="0">
                      <a:pos x="connsiteX0" y="connsiteY0"/>
                    </a:cxn>
                    <a:cxn ang="0">
                      <a:pos x="connsiteX1" y="connsiteY1"/>
                    </a:cxn>
                    <a:cxn ang="0">
                      <a:pos x="connsiteX2" y="connsiteY2"/>
                    </a:cxn>
                    <a:cxn ang="0">
                      <a:pos x="connsiteX3" y="connsiteY3"/>
                    </a:cxn>
                  </a:cxnLst>
                  <a:rect l="l" t="t" r="r" b="b"/>
                  <a:pathLst>
                    <a:path w="215100" h="76165">
                      <a:moveTo>
                        <a:pt x="0" y="73279"/>
                      </a:moveTo>
                      <a:lnTo>
                        <a:pt x="214112" y="0"/>
                      </a:lnTo>
                      <a:lnTo>
                        <a:pt x="215100" y="2886"/>
                      </a:lnTo>
                      <a:lnTo>
                        <a:pt x="988" y="76165"/>
                      </a:lnTo>
                      <a:close/>
                    </a:path>
                  </a:pathLst>
                </a:custGeom>
                <a:grpFill/>
                <a:ln w="5978" cap="flat">
                  <a:noFill/>
                  <a:prstDash val="solid"/>
                  <a:miter/>
                </a:ln>
              </p:spPr>
              <p:txBody>
                <a:bodyPr rtlCol="0" anchor="ctr"/>
                <a:lstStyle/>
                <a:p>
                  <a:endParaRPr lang="en-GB"/>
                </a:p>
              </p:txBody>
            </p:sp>
            <p:sp>
              <p:nvSpPr>
                <p:cNvPr id="5258" name="Vrije vorm: vorm 5257">
                  <a:extLst>
                    <a:ext uri="{FF2B5EF4-FFF2-40B4-BE49-F238E27FC236}">
                      <a16:creationId xmlns:a16="http://schemas.microsoft.com/office/drawing/2014/main" id="{DC9E8CF9-A0D5-468B-8790-9EA1DC157E1B}"/>
                    </a:ext>
                  </a:extLst>
                </p:cNvPr>
                <p:cNvSpPr/>
                <p:nvPr/>
              </p:nvSpPr>
              <p:spPr>
                <a:xfrm>
                  <a:off x="8026437" y="2730236"/>
                  <a:ext cx="18344" cy="18368"/>
                </a:xfrm>
                <a:custGeom>
                  <a:avLst/>
                  <a:gdLst>
                    <a:gd name="connsiteX0" fmla="*/ 6170 w 18344"/>
                    <a:gd name="connsiteY0" fmla="*/ 482 h 18368"/>
                    <a:gd name="connsiteX1" fmla="*/ 17832 w 18344"/>
                    <a:gd name="connsiteY1" fmla="*/ 6224 h 18368"/>
                    <a:gd name="connsiteX2" fmla="*/ 12151 w 18344"/>
                    <a:gd name="connsiteY2" fmla="*/ 17886 h 18368"/>
                    <a:gd name="connsiteX3" fmla="*/ 489 w 18344"/>
                    <a:gd name="connsiteY3" fmla="*/ 12145 h 18368"/>
                    <a:gd name="connsiteX4" fmla="*/ 6170 w 18344"/>
                    <a:gd name="connsiteY4" fmla="*/ 482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68">
                      <a:moveTo>
                        <a:pt x="6170" y="482"/>
                      </a:moveTo>
                      <a:cubicBezTo>
                        <a:pt x="10955" y="-1132"/>
                        <a:pt x="16158" y="1439"/>
                        <a:pt x="17832" y="6224"/>
                      </a:cubicBezTo>
                      <a:cubicBezTo>
                        <a:pt x="19507" y="11068"/>
                        <a:pt x="16936" y="16271"/>
                        <a:pt x="12151" y="17886"/>
                      </a:cubicBezTo>
                      <a:cubicBezTo>
                        <a:pt x="7366" y="19501"/>
                        <a:pt x="2163" y="16929"/>
                        <a:pt x="489" y="12145"/>
                      </a:cubicBezTo>
                      <a:cubicBezTo>
                        <a:pt x="-1126" y="7360"/>
                        <a:pt x="1385" y="2157"/>
                        <a:pt x="6170" y="482"/>
                      </a:cubicBezTo>
                      <a:close/>
                    </a:path>
                  </a:pathLst>
                </a:custGeom>
                <a:grpFill/>
                <a:ln w="5978" cap="flat">
                  <a:noFill/>
                  <a:prstDash val="solid"/>
                  <a:miter/>
                </a:ln>
              </p:spPr>
              <p:txBody>
                <a:bodyPr rtlCol="0" anchor="ctr"/>
                <a:lstStyle/>
                <a:p>
                  <a:endParaRPr lang="en-GB"/>
                </a:p>
              </p:txBody>
            </p:sp>
            <p:sp>
              <p:nvSpPr>
                <p:cNvPr id="5259" name="Vrije vorm: vorm 5258">
                  <a:extLst>
                    <a:ext uri="{FF2B5EF4-FFF2-40B4-BE49-F238E27FC236}">
                      <a16:creationId xmlns:a16="http://schemas.microsoft.com/office/drawing/2014/main" id="{D3271F75-5FA9-416E-9675-3A93892BE643}"/>
                    </a:ext>
                  </a:extLst>
                </p:cNvPr>
                <p:cNvSpPr/>
                <p:nvPr/>
              </p:nvSpPr>
              <p:spPr>
                <a:xfrm>
                  <a:off x="7813201" y="2803200"/>
                  <a:ext cx="18368" cy="18397"/>
                </a:xfrm>
                <a:custGeom>
                  <a:avLst/>
                  <a:gdLst>
                    <a:gd name="connsiteX0" fmla="*/ 6194 w 18368"/>
                    <a:gd name="connsiteY0" fmla="*/ 482 h 18397"/>
                    <a:gd name="connsiteX1" fmla="*/ 512 w 18368"/>
                    <a:gd name="connsiteY1" fmla="*/ 12145 h 18397"/>
                    <a:gd name="connsiteX2" fmla="*/ 12174 w 18368"/>
                    <a:gd name="connsiteY2" fmla="*/ 17886 h 18397"/>
                    <a:gd name="connsiteX3" fmla="*/ 17856 w 18368"/>
                    <a:gd name="connsiteY3" fmla="*/ 6224 h 18397"/>
                    <a:gd name="connsiteX4" fmla="*/ 6194 w 18368"/>
                    <a:gd name="connsiteY4" fmla="*/ 48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397">
                      <a:moveTo>
                        <a:pt x="6194" y="482"/>
                      </a:moveTo>
                      <a:cubicBezTo>
                        <a:pt x="1409" y="2097"/>
                        <a:pt x="-1163" y="7360"/>
                        <a:pt x="512" y="12145"/>
                      </a:cubicBezTo>
                      <a:cubicBezTo>
                        <a:pt x="2187" y="16989"/>
                        <a:pt x="7390" y="19561"/>
                        <a:pt x="12174" y="17886"/>
                      </a:cubicBezTo>
                      <a:cubicBezTo>
                        <a:pt x="16959" y="16271"/>
                        <a:pt x="19530" y="11008"/>
                        <a:pt x="17856" y="6224"/>
                      </a:cubicBezTo>
                      <a:cubicBezTo>
                        <a:pt x="16182" y="1439"/>
                        <a:pt x="10978" y="-1132"/>
                        <a:pt x="6194" y="482"/>
                      </a:cubicBezTo>
                      <a:close/>
                    </a:path>
                  </a:pathLst>
                </a:custGeom>
                <a:grpFill/>
                <a:ln w="5978" cap="flat">
                  <a:noFill/>
                  <a:prstDash val="solid"/>
                  <a:miter/>
                </a:ln>
              </p:spPr>
              <p:txBody>
                <a:bodyPr rtlCol="0" anchor="ctr"/>
                <a:lstStyle/>
                <a:p>
                  <a:endParaRPr lang="en-GB"/>
                </a:p>
              </p:txBody>
            </p:sp>
          </p:grpSp>
          <p:grpSp>
            <p:nvGrpSpPr>
              <p:cNvPr id="39" name="Graphic 3">
                <a:extLst>
                  <a:ext uri="{FF2B5EF4-FFF2-40B4-BE49-F238E27FC236}">
                    <a16:creationId xmlns:a16="http://schemas.microsoft.com/office/drawing/2014/main" id="{B4BE4A19-D4DF-4944-82E3-3F2554D8E1E9}"/>
                  </a:ext>
                </a:extLst>
              </p:cNvPr>
              <p:cNvGrpSpPr/>
              <p:nvPr/>
            </p:nvGrpSpPr>
            <p:grpSpPr>
              <a:xfrm>
                <a:off x="7481932" y="1730442"/>
                <a:ext cx="216682" cy="222027"/>
                <a:chOff x="7481932" y="1730442"/>
                <a:chExt cx="216682" cy="222027"/>
              </a:xfrm>
              <a:grpFill/>
            </p:grpSpPr>
            <p:sp>
              <p:nvSpPr>
                <p:cNvPr id="5254" name="Vrije vorm: vorm 5253">
                  <a:extLst>
                    <a:ext uri="{FF2B5EF4-FFF2-40B4-BE49-F238E27FC236}">
                      <a16:creationId xmlns:a16="http://schemas.microsoft.com/office/drawing/2014/main" id="{B51FB483-AF74-4C99-AAD1-D77E3733ABAA}"/>
                    </a:ext>
                  </a:extLst>
                </p:cNvPr>
                <p:cNvSpPr/>
                <p:nvPr/>
              </p:nvSpPr>
              <p:spPr>
                <a:xfrm>
                  <a:off x="7489678" y="1738277"/>
                  <a:ext cx="201191" cy="206334"/>
                </a:xfrm>
                <a:custGeom>
                  <a:avLst/>
                  <a:gdLst>
                    <a:gd name="connsiteX0" fmla="*/ 201192 w 201191"/>
                    <a:gd name="connsiteY0" fmla="*/ 2153 h 206334"/>
                    <a:gd name="connsiteX1" fmla="*/ 2213 w 201191"/>
                    <a:gd name="connsiteY1" fmla="*/ 206335 h 206334"/>
                    <a:gd name="connsiteX2" fmla="*/ 0 w 201191"/>
                    <a:gd name="connsiteY2" fmla="*/ 204182 h 206334"/>
                    <a:gd name="connsiteX3" fmla="*/ 198979 w 201191"/>
                    <a:gd name="connsiteY3" fmla="*/ 0 h 206334"/>
                  </a:gdLst>
                  <a:ahLst/>
                  <a:cxnLst>
                    <a:cxn ang="0">
                      <a:pos x="connsiteX0" y="connsiteY0"/>
                    </a:cxn>
                    <a:cxn ang="0">
                      <a:pos x="connsiteX1" y="connsiteY1"/>
                    </a:cxn>
                    <a:cxn ang="0">
                      <a:pos x="connsiteX2" y="connsiteY2"/>
                    </a:cxn>
                    <a:cxn ang="0">
                      <a:pos x="connsiteX3" y="connsiteY3"/>
                    </a:cxn>
                  </a:cxnLst>
                  <a:rect l="l" t="t" r="r" b="b"/>
                  <a:pathLst>
                    <a:path w="201191" h="206334">
                      <a:moveTo>
                        <a:pt x="201192" y="2153"/>
                      </a:moveTo>
                      <a:lnTo>
                        <a:pt x="2213" y="206335"/>
                      </a:lnTo>
                      <a:lnTo>
                        <a:pt x="0" y="204182"/>
                      </a:lnTo>
                      <a:lnTo>
                        <a:pt x="198979" y="0"/>
                      </a:lnTo>
                      <a:close/>
                    </a:path>
                  </a:pathLst>
                </a:custGeom>
                <a:grpFill/>
                <a:ln w="5978" cap="flat">
                  <a:noFill/>
                  <a:prstDash val="solid"/>
                  <a:miter/>
                </a:ln>
              </p:spPr>
              <p:txBody>
                <a:bodyPr rtlCol="0" anchor="ctr"/>
                <a:lstStyle/>
                <a:p>
                  <a:endParaRPr lang="en-GB"/>
                </a:p>
              </p:txBody>
            </p:sp>
            <p:sp>
              <p:nvSpPr>
                <p:cNvPr id="5255" name="Vrije vorm: vorm 5254">
                  <a:extLst>
                    <a:ext uri="{FF2B5EF4-FFF2-40B4-BE49-F238E27FC236}">
                      <a16:creationId xmlns:a16="http://schemas.microsoft.com/office/drawing/2014/main" id="{C00DA0E9-100D-4A14-9CA0-570B5217E57B}"/>
                    </a:ext>
                  </a:extLst>
                </p:cNvPr>
                <p:cNvSpPr/>
                <p:nvPr/>
              </p:nvSpPr>
              <p:spPr>
                <a:xfrm>
                  <a:off x="7680275" y="1730442"/>
                  <a:ext cx="18340" cy="18421"/>
                </a:xfrm>
                <a:custGeom>
                  <a:avLst/>
                  <a:gdLst>
                    <a:gd name="connsiteX0" fmla="*/ 2580 w 18340"/>
                    <a:gd name="connsiteY0" fmla="*/ 2751 h 18421"/>
                    <a:gd name="connsiteX1" fmla="*/ 15558 w 18340"/>
                    <a:gd name="connsiteY1" fmla="*/ 2632 h 18421"/>
                    <a:gd name="connsiteX2" fmla="*/ 15738 w 18340"/>
                    <a:gd name="connsiteY2" fmla="*/ 15670 h 18421"/>
                    <a:gd name="connsiteX3" fmla="*/ 2760 w 18340"/>
                    <a:gd name="connsiteY3" fmla="*/ 15789 h 18421"/>
                    <a:gd name="connsiteX4" fmla="*/ 2580 w 18340"/>
                    <a:gd name="connsiteY4" fmla="*/ 27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1">
                      <a:moveTo>
                        <a:pt x="2580" y="2751"/>
                      </a:moveTo>
                      <a:cubicBezTo>
                        <a:pt x="6109" y="-897"/>
                        <a:pt x="11910" y="-897"/>
                        <a:pt x="15558" y="2632"/>
                      </a:cubicBezTo>
                      <a:cubicBezTo>
                        <a:pt x="19207" y="6220"/>
                        <a:pt x="19266" y="12021"/>
                        <a:pt x="15738" y="15670"/>
                      </a:cubicBezTo>
                      <a:cubicBezTo>
                        <a:pt x="12209" y="19318"/>
                        <a:pt x="6408" y="19318"/>
                        <a:pt x="2760" y="15789"/>
                      </a:cubicBezTo>
                      <a:cubicBezTo>
                        <a:pt x="-829" y="12201"/>
                        <a:pt x="-948" y="6400"/>
                        <a:pt x="2580" y="2751"/>
                      </a:cubicBezTo>
                      <a:close/>
                    </a:path>
                  </a:pathLst>
                </a:custGeom>
                <a:grpFill/>
                <a:ln w="5978" cap="flat">
                  <a:noFill/>
                  <a:prstDash val="solid"/>
                  <a:miter/>
                </a:ln>
              </p:spPr>
              <p:txBody>
                <a:bodyPr rtlCol="0" anchor="ctr"/>
                <a:lstStyle/>
                <a:p>
                  <a:endParaRPr lang="en-GB"/>
                </a:p>
              </p:txBody>
            </p:sp>
            <p:sp>
              <p:nvSpPr>
                <p:cNvPr id="5256" name="Vrije vorm: vorm 5255">
                  <a:extLst>
                    <a:ext uri="{FF2B5EF4-FFF2-40B4-BE49-F238E27FC236}">
                      <a16:creationId xmlns:a16="http://schemas.microsoft.com/office/drawing/2014/main" id="{9A4CE151-B53A-4CBA-A577-07D63CE72FBA}"/>
                    </a:ext>
                  </a:extLst>
                </p:cNvPr>
                <p:cNvSpPr/>
                <p:nvPr/>
              </p:nvSpPr>
              <p:spPr>
                <a:xfrm>
                  <a:off x="7481932" y="1934003"/>
                  <a:ext cx="18362" cy="18466"/>
                </a:xfrm>
                <a:custGeom>
                  <a:avLst/>
                  <a:gdLst>
                    <a:gd name="connsiteX0" fmla="*/ 2602 w 18362"/>
                    <a:gd name="connsiteY0" fmla="*/ 2774 h 18466"/>
                    <a:gd name="connsiteX1" fmla="*/ 2782 w 18362"/>
                    <a:gd name="connsiteY1" fmla="*/ 15812 h 18466"/>
                    <a:gd name="connsiteX2" fmla="*/ 15759 w 18362"/>
                    <a:gd name="connsiteY2" fmla="*/ 15692 h 18466"/>
                    <a:gd name="connsiteX3" fmla="*/ 15581 w 18362"/>
                    <a:gd name="connsiteY3" fmla="*/ 2654 h 18466"/>
                    <a:gd name="connsiteX4" fmla="*/ 2602 w 18362"/>
                    <a:gd name="connsiteY4" fmla="*/ 277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66">
                      <a:moveTo>
                        <a:pt x="2602" y="2774"/>
                      </a:moveTo>
                      <a:cubicBezTo>
                        <a:pt x="-926" y="6422"/>
                        <a:pt x="-866" y="12224"/>
                        <a:pt x="2782" y="15812"/>
                      </a:cubicBezTo>
                      <a:cubicBezTo>
                        <a:pt x="6430" y="19400"/>
                        <a:pt x="12231" y="19341"/>
                        <a:pt x="15759" y="15692"/>
                      </a:cubicBezTo>
                      <a:cubicBezTo>
                        <a:pt x="19289" y="12044"/>
                        <a:pt x="19229" y="6243"/>
                        <a:pt x="15581" y="2654"/>
                      </a:cubicBezTo>
                      <a:cubicBezTo>
                        <a:pt x="11932" y="-934"/>
                        <a:pt x="6131" y="-874"/>
                        <a:pt x="2602" y="2774"/>
                      </a:cubicBezTo>
                      <a:close/>
                    </a:path>
                  </a:pathLst>
                </a:custGeom>
                <a:grpFill/>
                <a:ln w="5978" cap="flat">
                  <a:noFill/>
                  <a:prstDash val="solid"/>
                  <a:miter/>
                </a:ln>
              </p:spPr>
              <p:txBody>
                <a:bodyPr rtlCol="0" anchor="ctr"/>
                <a:lstStyle/>
                <a:p>
                  <a:endParaRPr lang="en-GB"/>
                </a:p>
              </p:txBody>
            </p:sp>
          </p:grpSp>
          <p:grpSp>
            <p:nvGrpSpPr>
              <p:cNvPr id="40" name="Graphic 3">
                <a:extLst>
                  <a:ext uri="{FF2B5EF4-FFF2-40B4-BE49-F238E27FC236}">
                    <a16:creationId xmlns:a16="http://schemas.microsoft.com/office/drawing/2014/main" id="{9802C21E-A783-4BC6-85C7-AF6E21DD59E0}"/>
                  </a:ext>
                </a:extLst>
              </p:cNvPr>
              <p:cNvGrpSpPr/>
              <p:nvPr/>
            </p:nvGrpSpPr>
            <p:grpSpPr>
              <a:xfrm>
                <a:off x="8028608" y="3198478"/>
                <a:ext cx="31803" cy="19840"/>
                <a:chOff x="8028608" y="3198478"/>
                <a:chExt cx="31803" cy="19840"/>
              </a:xfrm>
              <a:grpFill/>
            </p:grpSpPr>
            <p:sp>
              <p:nvSpPr>
                <p:cNvPr id="5251" name="Vrije vorm: vorm 5250">
                  <a:extLst>
                    <a:ext uri="{FF2B5EF4-FFF2-40B4-BE49-F238E27FC236}">
                      <a16:creationId xmlns:a16="http://schemas.microsoft.com/office/drawing/2014/main" id="{0990BFF9-8E9E-4219-A881-D58A8C9E451E}"/>
                    </a:ext>
                  </a:extLst>
                </p:cNvPr>
                <p:cNvSpPr/>
                <p:nvPr/>
              </p:nvSpPr>
              <p:spPr>
                <a:xfrm>
                  <a:off x="8037153" y="3206125"/>
                  <a:ext cx="14712" cy="4545"/>
                </a:xfrm>
                <a:custGeom>
                  <a:avLst/>
                  <a:gdLst>
                    <a:gd name="connsiteX0" fmla="*/ 14414 w 14712"/>
                    <a:gd name="connsiteY0" fmla="*/ 0 h 4545"/>
                    <a:gd name="connsiteX1" fmla="*/ 14712 w 14712"/>
                    <a:gd name="connsiteY1" fmla="*/ 3050 h 4545"/>
                    <a:gd name="connsiteX2" fmla="*/ 358 w 14712"/>
                    <a:gd name="connsiteY2" fmla="*/ 4545 h 4545"/>
                    <a:gd name="connsiteX3" fmla="*/ 0 w 14712"/>
                    <a:gd name="connsiteY3" fmla="*/ 1495 h 4545"/>
                  </a:gdLst>
                  <a:ahLst/>
                  <a:cxnLst>
                    <a:cxn ang="0">
                      <a:pos x="connsiteX0" y="connsiteY0"/>
                    </a:cxn>
                    <a:cxn ang="0">
                      <a:pos x="connsiteX1" y="connsiteY1"/>
                    </a:cxn>
                    <a:cxn ang="0">
                      <a:pos x="connsiteX2" y="connsiteY2"/>
                    </a:cxn>
                    <a:cxn ang="0">
                      <a:pos x="connsiteX3" y="connsiteY3"/>
                    </a:cxn>
                  </a:cxnLst>
                  <a:rect l="l" t="t" r="r" b="b"/>
                  <a:pathLst>
                    <a:path w="14712" h="4545">
                      <a:moveTo>
                        <a:pt x="14414" y="0"/>
                      </a:moveTo>
                      <a:lnTo>
                        <a:pt x="14712" y="3050"/>
                      </a:lnTo>
                      <a:lnTo>
                        <a:pt x="358" y="4545"/>
                      </a:lnTo>
                      <a:lnTo>
                        <a:pt x="0" y="1495"/>
                      </a:lnTo>
                      <a:close/>
                    </a:path>
                  </a:pathLst>
                </a:custGeom>
                <a:grpFill/>
                <a:ln w="5978" cap="flat">
                  <a:noFill/>
                  <a:prstDash val="solid"/>
                  <a:miter/>
                </a:ln>
              </p:spPr>
              <p:txBody>
                <a:bodyPr rtlCol="0" anchor="ctr"/>
                <a:lstStyle/>
                <a:p>
                  <a:endParaRPr lang="en-GB"/>
                </a:p>
              </p:txBody>
            </p:sp>
            <p:sp>
              <p:nvSpPr>
                <p:cNvPr id="5252" name="Vrije vorm: vorm 5251">
                  <a:extLst>
                    <a:ext uri="{FF2B5EF4-FFF2-40B4-BE49-F238E27FC236}">
                      <a16:creationId xmlns:a16="http://schemas.microsoft.com/office/drawing/2014/main" id="{A1326DB7-D94A-4BA3-8357-5790899625B4}"/>
                    </a:ext>
                  </a:extLst>
                </p:cNvPr>
                <p:cNvSpPr/>
                <p:nvPr/>
              </p:nvSpPr>
              <p:spPr>
                <a:xfrm>
                  <a:off x="8042064" y="3198478"/>
                  <a:ext cx="18346" cy="18404"/>
                </a:xfrm>
                <a:custGeom>
                  <a:avLst/>
                  <a:gdLst>
                    <a:gd name="connsiteX0" fmla="*/ 8186 w 18346"/>
                    <a:gd name="connsiteY0" fmla="*/ 52 h 18404"/>
                    <a:gd name="connsiteX1" fmla="*/ 18294 w 18346"/>
                    <a:gd name="connsiteY1" fmla="*/ 8246 h 18404"/>
                    <a:gd name="connsiteX2" fmla="*/ 10160 w 18346"/>
                    <a:gd name="connsiteY2" fmla="*/ 18353 h 18404"/>
                    <a:gd name="connsiteX3" fmla="*/ 53 w 18346"/>
                    <a:gd name="connsiteY3" fmla="*/ 10159 h 18404"/>
                    <a:gd name="connsiteX4" fmla="*/ 8186 w 18346"/>
                    <a:gd name="connsiteY4" fmla="*/ 52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4">
                      <a:moveTo>
                        <a:pt x="8186" y="52"/>
                      </a:moveTo>
                      <a:cubicBezTo>
                        <a:pt x="13211" y="-486"/>
                        <a:pt x="17756" y="3222"/>
                        <a:pt x="18294" y="8246"/>
                      </a:cubicBezTo>
                      <a:cubicBezTo>
                        <a:pt x="18832" y="13329"/>
                        <a:pt x="15184" y="17815"/>
                        <a:pt x="10160" y="18353"/>
                      </a:cubicBezTo>
                      <a:cubicBezTo>
                        <a:pt x="5136" y="18891"/>
                        <a:pt x="591" y="15183"/>
                        <a:pt x="53" y="10159"/>
                      </a:cubicBezTo>
                      <a:cubicBezTo>
                        <a:pt x="-485" y="5136"/>
                        <a:pt x="3163" y="590"/>
                        <a:pt x="8186" y="52"/>
                      </a:cubicBezTo>
                      <a:close/>
                    </a:path>
                  </a:pathLst>
                </a:custGeom>
                <a:grpFill/>
                <a:ln w="5978" cap="flat">
                  <a:noFill/>
                  <a:prstDash val="solid"/>
                  <a:miter/>
                </a:ln>
              </p:spPr>
              <p:txBody>
                <a:bodyPr rtlCol="0" anchor="ctr"/>
                <a:lstStyle/>
                <a:p>
                  <a:endParaRPr lang="en-GB"/>
                </a:p>
              </p:txBody>
            </p:sp>
            <p:sp>
              <p:nvSpPr>
                <p:cNvPr id="5253" name="Vrije vorm: vorm 5252">
                  <a:extLst>
                    <a:ext uri="{FF2B5EF4-FFF2-40B4-BE49-F238E27FC236}">
                      <a16:creationId xmlns:a16="http://schemas.microsoft.com/office/drawing/2014/main" id="{8F709F46-698A-4146-A4A8-4734D4677C05}"/>
                    </a:ext>
                  </a:extLst>
                </p:cNvPr>
                <p:cNvSpPr/>
                <p:nvPr/>
              </p:nvSpPr>
              <p:spPr>
                <a:xfrm>
                  <a:off x="8028608" y="3199913"/>
                  <a:ext cx="18346" cy="18405"/>
                </a:xfrm>
                <a:custGeom>
                  <a:avLst/>
                  <a:gdLst>
                    <a:gd name="connsiteX0" fmla="*/ 8186 w 18346"/>
                    <a:gd name="connsiteY0" fmla="*/ 52 h 18405"/>
                    <a:gd name="connsiteX1" fmla="*/ 53 w 18346"/>
                    <a:gd name="connsiteY1" fmla="*/ 10159 h 18405"/>
                    <a:gd name="connsiteX2" fmla="*/ 10160 w 18346"/>
                    <a:gd name="connsiteY2" fmla="*/ 18353 h 18405"/>
                    <a:gd name="connsiteX3" fmla="*/ 18294 w 18346"/>
                    <a:gd name="connsiteY3" fmla="*/ 8246 h 18405"/>
                    <a:gd name="connsiteX4" fmla="*/ 8186 w 18346"/>
                    <a:gd name="connsiteY4" fmla="*/ 5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5">
                      <a:moveTo>
                        <a:pt x="8186" y="52"/>
                      </a:moveTo>
                      <a:cubicBezTo>
                        <a:pt x="3163" y="590"/>
                        <a:pt x="-485" y="5136"/>
                        <a:pt x="53" y="10159"/>
                      </a:cubicBezTo>
                      <a:cubicBezTo>
                        <a:pt x="591" y="15243"/>
                        <a:pt x="5136" y="18891"/>
                        <a:pt x="10160" y="18353"/>
                      </a:cubicBezTo>
                      <a:cubicBezTo>
                        <a:pt x="15184" y="17815"/>
                        <a:pt x="18832" y="13269"/>
                        <a:pt x="18294" y="8246"/>
                      </a:cubicBezTo>
                      <a:cubicBezTo>
                        <a:pt x="17756" y="3222"/>
                        <a:pt x="13211" y="-486"/>
                        <a:pt x="8186" y="52"/>
                      </a:cubicBezTo>
                      <a:close/>
                    </a:path>
                  </a:pathLst>
                </a:custGeom>
                <a:grpFill/>
                <a:ln w="5978" cap="flat">
                  <a:noFill/>
                  <a:prstDash val="solid"/>
                  <a:miter/>
                </a:ln>
              </p:spPr>
              <p:txBody>
                <a:bodyPr rtlCol="0" anchor="ctr"/>
                <a:lstStyle/>
                <a:p>
                  <a:endParaRPr lang="en-GB"/>
                </a:p>
              </p:txBody>
            </p:sp>
          </p:grpSp>
          <p:grpSp>
            <p:nvGrpSpPr>
              <p:cNvPr id="41" name="Graphic 3">
                <a:extLst>
                  <a:ext uri="{FF2B5EF4-FFF2-40B4-BE49-F238E27FC236}">
                    <a16:creationId xmlns:a16="http://schemas.microsoft.com/office/drawing/2014/main" id="{DEE12B2E-0301-4CBD-998C-22F24AFA4C82}"/>
                  </a:ext>
                </a:extLst>
              </p:cNvPr>
              <p:cNvGrpSpPr/>
              <p:nvPr/>
            </p:nvGrpSpPr>
            <p:grpSpPr>
              <a:xfrm>
                <a:off x="7871048" y="2922619"/>
                <a:ext cx="212599" cy="65111"/>
                <a:chOff x="7871048" y="2922619"/>
                <a:chExt cx="212599" cy="65111"/>
              </a:xfrm>
              <a:grpFill/>
            </p:grpSpPr>
            <p:sp>
              <p:nvSpPr>
                <p:cNvPr id="5248" name="Vrije vorm: vorm 5247">
                  <a:extLst>
                    <a:ext uri="{FF2B5EF4-FFF2-40B4-BE49-F238E27FC236}">
                      <a16:creationId xmlns:a16="http://schemas.microsoft.com/office/drawing/2014/main" id="{7DD29244-2082-49AF-BC90-4BF344D0F1D3}"/>
                    </a:ext>
                  </a:extLst>
                </p:cNvPr>
                <p:cNvSpPr/>
                <p:nvPr/>
              </p:nvSpPr>
              <p:spPr>
                <a:xfrm>
                  <a:off x="7879177" y="2930067"/>
                  <a:ext cx="195807" cy="49838"/>
                </a:xfrm>
                <a:custGeom>
                  <a:avLst/>
                  <a:gdLst>
                    <a:gd name="connsiteX0" fmla="*/ 0 w 195807"/>
                    <a:gd name="connsiteY0" fmla="*/ 46873 h 49838"/>
                    <a:gd name="connsiteX1" fmla="*/ 195095 w 195807"/>
                    <a:gd name="connsiteY1" fmla="*/ 0 h 49838"/>
                    <a:gd name="connsiteX2" fmla="*/ 195808 w 195807"/>
                    <a:gd name="connsiteY2" fmla="*/ 2966 h 49838"/>
                    <a:gd name="connsiteX3" fmla="*/ 712 w 195807"/>
                    <a:gd name="connsiteY3" fmla="*/ 49838 h 49838"/>
                  </a:gdLst>
                  <a:ahLst/>
                  <a:cxnLst>
                    <a:cxn ang="0">
                      <a:pos x="connsiteX0" y="connsiteY0"/>
                    </a:cxn>
                    <a:cxn ang="0">
                      <a:pos x="connsiteX1" y="connsiteY1"/>
                    </a:cxn>
                    <a:cxn ang="0">
                      <a:pos x="connsiteX2" y="connsiteY2"/>
                    </a:cxn>
                    <a:cxn ang="0">
                      <a:pos x="connsiteX3" y="connsiteY3"/>
                    </a:cxn>
                  </a:cxnLst>
                  <a:rect l="l" t="t" r="r" b="b"/>
                  <a:pathLst>
                    <a:path w="195807" h="49838">
                      <a:moveTo>
                        <a:pt x="0" y="46873"/>
                      </a:moveTo>
                      <a:lnTo>
                        <a:pt x="195095" y="0"/>
                      </a:lnTo>
                      <a:lnTo>
                        <a:pt x="195808" y="2966"/>
                      </a:lnTo>
                      <a:lnTo>
                        <a:pt x="712" y="49838"/>
                      </a:lnTo>
                      <a:close/>
                    </a:path>
                  </a:pathLst>
                </a:custGeom>
                <a:grpFill/>
                <a:ln w="5978" cap="flat">
                  <a:noFill/>
                  <a:prstDash val="solid"/>
                  <a:miter/>
                </a:ln>
              </p:spPr>
              <p:txBody>
                <a:bodyPr rtlCol="0" anchor="ctr"/>
                <a:lstStyle/>
                <a:p>
                  <a:endParaRPr lang="en-GB"/>
                </a:p>
              </p:txBody>
            </p:sp>
            <p:sp>
              <p:nvSpPr>
                <p:cNvPr id="5249" name="Vrije vorm: vorm 5248">
                  <a:extLst>
                    <a:ext uri="{FF2B5EF4-FFF2-40B4-BE49-F238E27FC236}">
                      <a16:creationId xmlns:a16="http://schemas.microsoft.com/office/drawing/2014/main" id="{8DA66D11-F3DA-4400-895F-B60D605D3761}"/>
                    </a:ext>
                  </a:extLst>
                </p:cNvPr>
                <p:cNvSpPr/>
                <p:nvPr/>
              </p:nvSpPr>
              <p:spPr>
                <a:xfrm>
                  <a:off x="8065298" y="2922619"/>
                  <a:ext cx="18348" cy="18461"/>
                </a:xfrm>
                <a:custGeom>
                  <a:avLst/>
                  <a:gdLst>
                    <a:gd name="connsiteX0" fmla="*/ 7022 w 18348"/>
                    <a:gd name="connsiteY0" fmla="*/ 260 h 18461"/>
                    <a:gd name="connsiteX1" fmla="*/ 18086 w 18348"/>
                    <a:gd name="connsiteY1" fmla="*/ 7078 h 18461"/>
                    <a:gd name="connsiteX2" fmla="*/ 11328 w 18348"/>
                    <a:gd name="connsiteY2" fmla="*/ 18202 h 18461"/>
                    <a:gd name="connsiteX3" fmla="*/ 263 w 18348"/>
                    <a:gd name="connsiteY3" fmla="*/ 11384 h 18461"/>
                    <a:gd name="connsiteX4" fmla="*/ 7022 w 18348"/>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61">
                      <a:moveTo>
                        <a:pt x="7022" y="260"/>
                      </a:moveTo>
                      <a:cubicBezTo>
                        <a:pt x="11925" y="-937"/>
                        <a:pt x="16890" y="2114"/>
                        <a:pt x="18086" y="7078"/>
                      </a:cubicBezTo>
                      <a:cubicBezTo>
                        <a:pt x="19282" y="12042"/>
                        <a:pt x="16291" y="17006"/>
                        <a:pt x="11328" y="18202"/>
                      </a:cubicBezTo>
                      <a:cubicBezTo>
                        <a:pt x="6424" y="19398"/>
                        <a:pt x="1459" y="16348"/>
                        <a:pt x="263" y="11384"/>
                      </a:cubicBezTo>
                      <a:cubicBezTo>
                        <a:pt x="-933" y="6420"/>
                        <a:pt x="2057" y="1396"/>
                        <a:pt x="7022" y="260"/>
                      </a:cubicBezTo>
                      <a:close/>
                    </a:path>
                  </a:pathLst>
                </a:custGeom>
                <a:grpFill/>
                <a:ln w="5978" cap="flat">
                  <a:noFill/>
                  <a:prstDash val="solid"/>
                  <a:miter/>
                </a:ln>
              </p:spPr>
              <p:txBody>
                <a:bodyPr rtlCol="0" anchor="ctr"/>
                <a:lstStyle/>
                <a:p>
                  <a:endParaRPr lang="en-GB"/>
                </a:p>
              </p:txBody>
            </p:sp>
            <p:sp>
              <p:nvSpPr>
                <p:cNvPr id="5250" name="Vrije vorm: vorm 5249">
                  <a:extLst>
                    <a:ext uri="{FF2B5EF4-FFF2-40B4-BE49-F238E27FC236}">
                      <a16:creationId xmlns:a16="http://schemas.microsoft.com/office/drawing/2014/main" id="{89E815C4-44B2-4D52-BD8C-56903633B898}"/>
                    </a:ext>
                  </a:extLst>
                </p:cNvPr>
                <p:cNvSpPr/>
                <p:nvPr/>
              </p:nvSpPr>
              <p:spPr>
                <a:xfrm>
                  <a:off x="7871048" y="2969268"/>
                  <a:ext cx="18342" cy="18461"/>
                </a:xfrm>
                <a:custGeom>
                  <a:avLst/>
                  <a:gdLst>
                    <a:gd name="connsiteX0" fmla="*/ 7018 w 18342"/>
                    <a:gd name="connsiteY0" fmla="*/ 260 h 18461"/>
                    <a:gd name="connsiteX1" fmla="*/ 260 w 18342"/>
                    <a:gd name="connsiteY1" fmla="*/ 11384 h 18461"/>
                    <a:gd name="connsiteX2" fmla="*/ 11324 w 18342"/>
                    <a:gd name="connsiteY2" fmla="*/ 18202 h 18461"/>
                    <a:gd name="connsiteX3" fmla="*/ 18082 w 18342"/>
                    <a:gd name="connsiteY3" fmla="*/ 7078 h 18461"/>
                    <a:gd name="connsiteX4" fmla="*/ 7018 w 18342"/>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1">
                      <a:moveTo>
                        <a:pt x="7018" y="260"/>
                      </a:moveTo>
                      <a:cubicBezTo>
                        <a:pt x="2114" y="1456"/>
                        <a:pt x="-937" y="6420"/>
                        <a:pt x="260" y="11384"/>
                      </a:cubicBezTo>
                      <a:cubicBezTo>
                        <a:pt x="1456" y="16348"/>
                        <a:pt x="6420" y="19398"/>
                        <a:pt x="11324" y="18202"/>
                      </a:cubicBezTo>
                      <a:cubicBezTo>
                        <a:pt x="16228" y="17006"/>
                        <a:pt x="19278" y="12042"/>
                        <a:pt x="18082" y="7078"/>
                      </a:cubicBezTo>
                      <a:cubicBezTo>
                        <a:pt x="16886" y="2114"/>
                        <a:pt x="11922" y="-936"/>
                        <a:pt x="7018" y="260"/>
                      </a:cubicBezTo>
                      <a:close/>
                    </a:path>
                  </a:pathLst>
                </a:custGeom>
                <a:grpFill/>
                <a:ln w="5978" cap="flat">
                  <a:noFill/>
                  <a:prstDash val="solid"/>
                  <a:miter/>
                </a:ln>
              </p:spPr>
              <p:txBody>
                <a:bodyPr rtlCol="0" anchor="ctr"/>
                <a:lstStyle/>
                <a:p>
                  <a:endParaRPr lang="en-GB"/>
                </a:p>
              </p:txBody>
            </p:sp>
          </p:grpSp>
          <p:grpSp>
            <p:nvGrpSpPr>
              <p:cNvPr id="42" name="Graphic 3">
                <a:extLst>
                  <a:ext uri="{FF2B5EF4-FFF2-40B4-BE49-F238E27FC236}">
                    <a16:creationId xmlns:a16="http://schemas.microsoft.com/office/drawing/2014/main" id="{1D574070-BE00-42F8-9FEB-C39B7B787951}"/>
                  </a:ext>
                </a:extLst>
              </p:cNvPr>
              <p:cNvGrpSpPr/>
              <p:nvPr/>
            </p:nvGrpSpPr>
            <p:grpSpPr>
              <a:xfrm>
                <a:off x="7643100" y="2244223"/>
                <a:ext cx="222389" cy="150254"/>
                <a:chOff x="7643100" y="2244223"/>
                <a:chExt cx="222389" cy="150254"/>
              </a:xfrm>
              <a:grpFill/>
            </p:grpSpPr>
            <p:sp>
              <p:nvSpPr>
                <p:cNvPr id="5245" name="Vrije vorm: vorm 5244">
                  <a:extLst>
                    <a:ext uri="{FF2B5EF4-FFF2-40B4-BE49-F238E27FC236}">
                      <a16:creationId xmlns:a16="http://schemas.microsoft.com/office/drawing/2014/main" id="{86144383-32D3-4870-B99C-B58CA5C2F8BE}"/>
                    </a:ext>
                  </a:extLst>
                </p:cNvPr>
                <p:cNvSpPr/>
                <p:nvPr/>
              </p:nvSpPr>
              <p:spPr>
                <a:xfrm>
                  <a:off x="7651037" y="2251901"/>
                  <a:ext cx="206514" cy="134925"/>
                </a:xfrm>
                <a:custGeom>
                  <a:avLst/>
                  <a:gdLst>
                    <a:gd name="connsiteX0" fmla="*/ 206515 w 206514"/>
                    <a:gd name="connsiteY0" fmla="*/ 2572 h 134925"/>
                    <a:gd name="connsiteX1" fmla="*/ 1675 w 206514"/>
                    <a:gd name="connsiteY1" fmla="*/ 134925 h 134925"/>
                    <a:gd name="connsiteX2" fmla="*/ 0 w 206514"/>
                    <a:gd name="connsiteY2" fmla="*/ 132353 h 134925"/>
                    <a:gd name="connsiteX3" fmla="*/ 204840 w 206514"/>
                    <a:gd name="connsiteY3" fmla="*/ 0 h 134925"/>
                  </a:gdLst>
                  <a:ahLst/>
                  <a:cxnLst>
                    <a:cxn ang="0">
                      <a:pos x="connsiteX0" y="connsiteY0"/>
                    </a:cxn>
                    <a:cxn ang="0">
                      <a:pos x="connsiteX1" y="connsiteY1"/>
                    </a:cxn>
                    <a:cxn ang="0">
                      <a:pos x="connsiteX2" y="connsiteY2"/>
                    </a:cxn>
                    <a:cxn ang="0">
                      <a:pos x="connsiteX3" y="connsiteY3"/>
                    </a:cxn>
                  </a:cxnLst>
                  <a:rect l="l" t="t" r="r" b="b"/>
                  <a:pathLst>
                    <a:path w="206514" h="134925">
                      <a:moveTo>
                        <a:pt x="206515" y="2572"/>
                      </a:moveTo>
                      <a:lnTo>
                        <a:pt x="1675" y="134925"/>
                      </a:lnTo>
                      <a:lnTo>
                        <a:pt x="0" y="132353"/>
                      </a:lnTo>
                      <a:lnTo>
                        <a:pt x="204840" y="0"/>
                      </a:lnTo>
                      <a:close/>
                    </a:path>
                  </a:pathLst>
                </a:custGeom>
                <a:grpFill/>
                <a:ln w="5978" cap="flat">
                  <a:noFill/>
                  <a:prstDash val="solid"/>
                  <a:miter/>
                </a:ln>
              </p:spPr>
              <p:txBody>
                <a:bodyPr rtlCol="0" anchor="ctr"/>
                <a:lstStyle/>
                <a:p>
                  <a:endParaRPr lang="en-GB"/>
                </a:p>
              </p:txBody>
            </p:sp>
            <p:sp>
              <p:nvSpPr>
                <p:cNvPr id="5246" name="Vrije vorm: vorm 5245">
                  <a:extLst>
                    <a:ext uri="{FF2B5EF4-FFF2-40B4-BE49-F238E27FC236}">
                      <a16:creationId xmlns:a16="http://schemas.microsoft.com/office/drawing/2014/main" id="{1B1AE85B-13E9-4B26-85F8-3D4175F5D88F}"/>
                    </a:ext>
                  </a:extLst>
                </p:cNvPr>
                <p:cNvSpPr/>
                <p:nvPr/>
              </p:nvSpPr>
              <p:spPr>
                <a:xfrm>
                  <a:off x="7847162" y="2244223"/>
                  <a:ext cx="18327" cy="18465"/>
                </a:xfrm>
                <a:custGeom>
                  <a:avLst/>
                  <a:gdLst>
                    <a:gd name="connsiteX0" fmla="*/ 4169 w 18327"/>
                    <a:gd name="connsiteY0" fmla="*/ 1458 h 18465"/>
                    <a:gd name="connsiteX1" fmla="*/ 16849 w 18327"/>
                    <a:gd name="connsiteY1" fmla="*/ 4269 h 18465"/>
                    <a:gd name="connsiteX2" fmla="*/ 14158 w 18327"/>
                    <a:gd name="connsiteY2" fmla="*/ 17008 h 18465"/>
                    <a:gd name="connsiteX3" fmla="*/ 1478 w 18327"/>
                    <a:gd name="connsiteY3" fmla="*/ 14197 h 18465"/>
                    <a:gd name="connsiteX4" fmla="*/ 4169 w 18327"/>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5">
                      <a:moveTo>
                        <a:pt x="4169" y="1458"/>
                      </a:moveTo>
                      <a:cubicBezTo>
                        <a:pt x="8416" y="-1293"/>
                        <a:pt x="14098" y="-37"/>
                        <a:pt x="16849" y="4269"/>
                      </a:cubicBezTo>
                      <a:cubicBezTo>
                        <a:pt x="19600" y="8575"/>
                        <a:pt x="18404" y="14257"/>
                        <a:pt x="14158" y="17008"/>
                      </a:cubicBezTo>
                      <a:cubicBezTo>
                        <a:pt x="9911" y="19759"/>
                        <a:pt x="4229" y="18503"/>
                        <a:pt x="1478" y="14197"/>
                      </a:cubicBezTo>
                      <a:cubicBezTo>
                        <a:pt x="-1272" y="9891"/>
                        <a:pt x="-77" y="4209"/>
                        <a:pt x="4169" y="1458"/>
                      </a:cubicBezTo>
                      <a:close/>
                    </a:path>
                  </a:pathLst>
                </a:custGeom>
                <a:grpFill/>
                <a:ln w="5978" cap="flat">
                  <a:noFill/>
                  <a:prstDash val="solid"/>
                  <a:miter/>
                </a:ln>
              </p:spPr>
              <p:txBody>
                <a:bodyPr rtlCol="0" anchor="ctr"/>
                <a:lstStyle/>
                <a:p>
                  <a:endParaRPr lang="en-GB"/>
                </a:p>
              </p:txBody>
            </p:sp>
            <p:sp>
              <p:nvSpPr>
                <p:cNvPr id="5247" name="Vrije vorm: vorm 5246">
                  <a:extLst>
                    <a:ext uri="{FF2B5EF4-FFF2-40B4-BE49-F238E27FC236}">
                      <a16:creationId xmlns:a16="http://schemas.microsoft.com/office/drawing/2014/main" id="{62604E73-C2DC-4B0C-A509-CDA22E4659F0}"/>
                    </a:ext>
                  </a:extLst>
                </p:cNvPr>
                <p:cNvSpPr/>
                <p:nvPr/>
              </p:nvSpPr>
              <p:spPr>
                <a:xfrm>
                  <a:off x="7643100" y="2376039"/>
                  <a:ext cx="18327" cy="18439"/>
                </a:xfrm>
                <a:custGeom>
                  <a:avLst/>
                  <a:gdLst>
                    <a:gd name="connsiteX0" fmla="*/ 4169 w 18327"/>
                    <a:gd name="connsiteY0" fmla="*/ 1458 h 18439"/>
                    <a:gd name="connsiteX1" fmla="*/ 1478 w 18327"/>
                    <a:gd name="connsiteY1" fmla="*/ 14197 h 18439"/>
                    <a:gd name="connsiteX2" fmla="*/ 14158 w 18327"/>
                    <a:gd name="connsiteY2" fmla="*/ 17008 h 18439"/>
                    <a:gd name="connsiteX3" fmla="*/ 16849 w 18327"/>
                    <a:gd name="connsiteY3" fmla="*/ 4269 h 18439"/>
                    <a:gd name="connsiteX4" fmla="*/ 4169 w 18327"/>
                    <a:gd name="connsiteY4" fmla="*/ 1458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9">
                      <a:moveTo>
                        <a:pt x="4169" y="1458"/>
                      </a:moveTo>
                      <a:cubicBezTo>
                        <a:pt x="-77" y="4209"/>
                        <a:pt x="-1272" y="9891"/>
                        <a:pt x="1478" y="14197"/>
                      </a:cubicBezTo>
                      <a:cubicBezTo>
                        <a:pt x="4229" y="18503"/>
                        <a:pt x="9911" y="19699"/>
                        <a:pt x="14158" y="17008"/>
                      </a:cubicBezTo>
                      <a:cubicBezTo>
                        <a:pt x="18404" y="14257"/>
                        <a:pt x="19600" y="8575"/>
                        <a:pt x="16849" y="4269"/>
                      </a:cubicBezTo>
                      <a:cubicBezTo>
                        <a:pt x="14098" y="-37"/>
                        <a:pt x="8476" y="-1293"/>
                        <a:pt x="4169" y="1458"/>
                      </a:cubicBezTo>
                      <a:close/>
                    </a:path>
                  </a:pathLst>
                </a:custGeom>
                <a:grpFill/>
                <a:ln w="5978" cap="flat">
                  <a:noFill/>
                  <a:prstDash val="solid"/>
                  <a:miter/>
                </a:ln>
              </p:spPr>
              <p:txBody>
                <a:bodyPr rtlCol="0" anchor="ctr"/>
                <a:lstStyle/>
                <a:p>
                  <a:endParaRPr lang="en-GB"/>
                </a:p>
              </p:txBody>
            </p:sp>
          </p:grpSp>
          <p:grpSp>
            <p:nvGrpSpPr>
              <p:cNvPr id="43" name="Graphic 3">
                <a:extLst>
                  <a:ext uri="{FF2B5EF4-FFF2-40B4-BE49-F238E27FC236}">
                    <a16:creationId xmlns:a16="http://schemas.microsoft.com/office/drawing/2014/main" id="{801B5D1C-9378-4403-8A25-24DB6720D2E4}"/>
                  </a:ext>
                </a:extLst>
              </p:cNvPr>
              <p:cNvGrpSpPr/>
              <p:nvPr/>
            </p:nvGrpSpPr>
            <p:grpSpPr>
              <a:xfrm>
                <a:off x="7681654" y="2148452"/>
                <a:ext cx="44188" cy="38062"/>
                <a:chOff x="7681654" y="2148452"/>
                <a:chExt cx="44188" cy="38062"/>
              </a:xfrm>
              <a:grpFill/>
            </p:grpSpPr>
            <p:sp>
              <p:nvSpPr>
                <p:cNvPr id="5242" name="Vrije vorm: vorm 5241">
                  <a:extLst>
                    <a:ext uri="{FF2B5EF4-FFF2-40B4-BE49-F238E27FC236}">
                      <a16:creationId xmlns:a16="http://schemas.microsoft.com/office/drawing/2014/main" id="{F275A093-908D-4085-B2E7-94D2B4A3190D}"/>
                    </a:ext>
                  </a:extLst>
                </p:cNvPr>
                <p:cNvSpPr/>
                <p:nvPr/>
              </p:nvSpPr>
              <p:spPr>
                <a:xfrm>
                  <a:off x="7689554" y="2156210"/>
                  <a:ext cx="28408" cy="22607"/>
                </a:xfrm>
                <a:custGeom>
                  <a:avLst/>
                  <a:gdLst>
                    <a:gd name="connsiteX0" fmla="*/ 28408 w 28408"/>
                    <a:gd name="connsiteY0" fmla="*/ 2452 h 22607"/>
                    <a:gd name="connsiteX1" fmla="*/ 1794 w 28408"/>
                    <a:gd name="connsiteY1" fmla="*/ 22607 h 22607"/>
                    <a:gd name="connsiteX2" fmla="*/ 0 w 28408"/>
                    <a:gd name="connsiteY2" fmla="*/ 20155 h 22607"/>
                    <a:gd name="connsiteX3" fmla="*/ 26554 w 28408"/>
                    <a:gd name="connsiteY3" fmla="*/ 0 h 22607"/>
                  </a:gdLst>
                  <a:ahLst/>
                  <a:cxnLst>
                    <a:cxn ang="0">
                      <a:pos x="connsiteX0" y="connsiteY0"/>
                    </a:cxn>
                    <a:cxn ang="0">
                      <a:pos x="connsiteX1" y="connsiteY1"/>
                    </a:cxn>
                    <a:cxn ang="0">
                      <a:pos x="connsiteX2" y="connsiteY2"/>
                    </a:cxn>
                    <a:cxn ang="0">
                      <a:pos x="connsiteX3" y="connsiteY3"/>
                    </a:cxn>
                  </a:cxnLst>
                  <a:rect l="l" t="t" r="r" b="b"/>
                  <a:pathLst>
                    <a:path w="28408" h="22607">
                      <a:moveTo>
                        <a:pt x="28408" y="2452"/>
                      </a:moveTo>
                      <a:lnTo>
                        <a:pt x="1794" y="22607"/>
                      </a:lnTo>
                      <a:lnTo>
                        <a:pt x="0" y="20155"/>
                      </a:lnTo>
                      <a:lnTo>
                        <a:pt x="26554" y="0"/>
                      </a:lnTo>
                      <a:close/>
                    </a:path>
                  </a:pathLst>
                </a:custGeom>
                <a:grpFill/>
                <a:ln w="5978" cap="flat">
                  <a:noFill/>
                  <a:prstDash val="solid"/>
                  <a:miter/>
                </a:ln>
              </p:spPr>
              <p:txBody>
                <a:bodyPr rtlCol="0" anchor="ctr"/>
                <a:lstStyle/>
                <a:p>
                  <a:endParaRPr lang="en-GB"/>
                </a:p>
              </p:txBody>
            </p:sp>
            <p:sp>
              <p:nvSpPr>
                <p:cNvPr id="5243" name="Vrije vorm: vorm 5242">
                  <a:extLst>
                    <a:ext uri="{FF2B5EF4-FFF2-40B4-BE49-F238E27FC236}">
                      <a16:creationId xmlns:a16="http://schemas.microsoft.com/office/drawing/2014/main" id="{4AB41C71-7704-469B-A2A6-D1F7A982C99F}"/>
                    </a:ext>
                  </a:extLst>
                </p:cNvPr>
                <p:cNvSpPr/>
                <p:nvPr/>
              </p:nvSpPr>
              <p:spPr>
                <a:xfrm>
                  <a:off x="7681654" y="2168069"/>
                  <a:ext cx="18326" cy="18445"/>
                </a:xfrm>
                <a:custGeom>
                  <a:avLst/>
                  <a:gdLst>
                    <a:gd name="connsiteX0" fmla="*/ 14717 w 18326"/>
                    <a:gd name="connsiteY0" fmla="*/ 16609 h 18445"/>
                    <a:gd name="connsiteX1" fmla="*/ 1859 w 18326"/>
                    <a:gd name="connsiteY1" fmla="*/ 14755 h 18445"/>
                    <a:gd name="connsiteX2" fmla="*/ 3653 w 18326"/>
                    <a:gd name="connsiteY2" fmla="*/ 1837 h 18445"/>
                    <a:gd name="connsiteX3" fmla="*/ 16511 w 18326"/>
                    <a:gd name="connsiteY3" fmla="*/ 3691 h 18445"/>
                    <a:gd name="connsiteX4" fmla="*/ 14717 w 18326"/>
                    <a:gd name="connsiteY4" fmla="*/ 16609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45">
                      <a:moveTo>
                        <a:pt x="14717" y="16609"/>
                      </a:moveTo>
                      <a:cubicBezTo>
                        <a:pt x="10710" y="19659"/>
                        <a:pt x="4909" y="18822"/>
                        <a:pt x="1859" y="14755"/>
                      </a:cubicBezTo>
                      <a:cubicBezTo>
                        <a:pt x="-1192" y="10688"/>
                        <a:pt x="-414" y="4887"/>
                        <a:pt x="3653" y="1837"/>
                      </a:cubicBezTo>
                      <a:cubicBezTo>
                        <a:pt x="7660" y="-1213"/>
                        <a:pt x="13461" y="-376"/>
                        <a:pt x="16511" y="3691"/>
                      </a:cubicBezTo>
                      <a:cubicBezTo>
                        <a:pt x="19501" y="7758"/>
                        <a:pt x="18724" y="13559"/>
                        <a:pt x="14717" y="16609"/>
                      </a:cubicBezTo>
                      <a:close/>
                    </a:path>
                  </a:pathLst>
                </a:custGeom>
                <a:grpFill/>
                <a:ln w="5978" cap="flat">
                  <a:noFill/>
                  <a:prstDash val="solid"/>
                  <a:miter/>
                </a:ln>
              </p:spPr>
              <p:txBody>
                <a:bodyPr rtlCol="0" anchor="ctr"/>
                <a:lstStyle/>
                <a:p>
                  <a:endParaRPr lang="en-GB"/>
                </a:p>
              </p:txBody>
            </p:sp>
            <p:sp>
              <p:nvSpPr>
                <p:cNvPr id="5244" name="Vrije vorm: vorm 5243">
                  <a:extLst>
                    <a:ext uri="{FF2B5EF4-FFF2-40B4-BE49-F238E27FC236}">
                      <a16:creationId xmlns:a16="http://schemas.microsoft.com/office/drawing/2014/main" id="{56E9AAE6-DA37-472B-837F-4EA1DC16E530}"/>
                    </a:ext>
                  </a:extLst>
                </p:cNvPr>
                <p:cNvSpPr/>
                <p:nvPr/>
              </p:nvSpPr>
              <p:spPr>
                <a:xfrm>
                  <a:off x="7707509" y="2148452"/>
                  <a:ext cx="18334" cy="18463"/>
                </a:xfrm>
                <a:custGeom>
                  <a:avLst/>
                  <a:gdLst>
                    <a:gd name="connsiteX0" fmla="*/ 14699 w 18334"/>
                    <a:gd name="connsiteY0" fmla="*/ 16609 h 18463"/>
                    <a:gd name="connsiteX1" fmla="*/ 16494 w 18334"/>
                    <a:gd name="connsiteY1" fmla="*/ 3691 h 18463"/>
                    <a:gd name="connsiteX2" fmla="*/ 3635 w 18334"/>
                    <a:gd name="connsiteY2" fmla="*/ 1837 h 18463"/>
                    <a:gd name="connsiteX3" fmla="*/ 1841 w 18334"/>
                    <a:gd name="connsiteY3" fmla="*/ 14755 h 18463"/>
                    <a:gd name="connsiteX4" fmla="*/ 14699 w 18334"/>
                    <a:gd name="connsiteY4" fmla="*/ 16609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3">
                      <a:moveTo>
                        <a:pt x="14699" y="16609"/>
                      </a:moveTo>
                      <a:cubicBezTo>
                        <a:pt x="18707" y="13559"/>
                        <a:pt x="19544" y="7758"/>
                        <a:pt x="16494" y="3691"/>
                      </a:cubicBezTo>
                      <a:cubicBezTo>
                        <a:pt x="13444" y="-376"/>
                        <a:pt x="7702" y="-1213"/>
                        <a:pt x="3635" y="1837"/>
                      </a:cubicBezTo>
                      <a:cubicBezTo>
                        <a:pt x="-372" y="4887"/>
                        <a:pt x="-1209" y="10688"/>
                        <a:pt x="1841" y="14755"/>
                      </a:cubicBezTo>
                      <a:cubicBezTo>
                        <a:pt x="4951" y="18882"/>
                        <a:pt x="10693" y="19659"/>
                        <a:pt x="14699" y="16609"/>
                      </a:cubicBezTo>
                      <a:close/>
                    </a:path>
                  </a:pathLst>
                </a:custGeom>
                <a:grpFill/>
                <a:ln w="5978" cap="flat">
                  <a:noFill/>
                  <a:prstDash val="solid"/>
                  <a:miter/>
                </a:ln>
              </p:spPr>
              <p:txBody>
                <a:bodyPr rtlCol="0" anchor="ctr"/>
                <a:lstStyle/>
                <a:p>
                  <a:endParaRPr lang="en-GB"/>
                </a:p>
              </p:txBody>
            </p:sp>
          </p:grpSp>
          <p:grpSp>
            <p:nvGrpSpPr>
              <p:cNvPr id="44" name="Graphic 3">
                <a:extLst>
                  <a:ext uri="{FF2B5EF4-FFF2-40B4-BE49-F238E27FC236}">
                    <a16:creationId xmlns:a16="http://schemas.microsoft.com/office/drawing/2014/main" id="{00AB13CD-A859-449B-A692-163318406FAC}"/>
                  </a:ext>
                </a:extLst>
              </p:cNvPr>
              <p:cNvGrpSpPr/>
              <p:nvPr/>
            </p:nvGrpSpPr>
            <p:grpSpPr>
              <a:xfrm>
                <a:off x="7738473" y="3358508"/>
                <a:ext cx="724510" cy="41577"/>
                <a:chOff x="7738473" y="3358508"/>
                <a:chExt cx="724510" cy="41577"/>
              </a:xfrm>
              <a:grpFill/>
            </p:grpSpPr>
            <p:sp>
              <p:nvSpPr>
                <p:cNvPr id="5239" name="Vrije vorm: vorm 5238">
                  <a:extLst>
                    <a:ext uri="{FF2B5EF4-FFF2-40B4-BE49-F238E27FC236}">
                      <a16:creationId xmlns:a16="http://schemas.microsoft.com/office/drawing/2014/main" id="{F3C2D257-7875-4209-8C5A-4CEF51E3B33C}"/>
                    </a:ext>
                  </a:extLst>
                </p:cNvPr>
                <p:cNvSpPr/>
                <p:nvPr/>
              </p:nvSpPr>
              <p:spPr>
                <a:xfrm>
                  <a:off x="7747148" y="3366170"/>
                  <a:ext cx="707100" cy="26255"/>
                </a:xfrm>
                <a:custGeom>
                  <a:avLst/>
                  <a:gdLst>
                    <a:gd name="connsiteX0" fmla="*/ 707101 w 707100"/>
                    <a:gd name="connsiteY0" fmla="*/ 23205 h 26255"/>
                    <a:gd name="connsiteX1" fmla="*/ 707041 w 707100"/>
                    <a:gd name="connsiteY1" fmla="*/ 26255 h 26255"/>
                    <a:gd name="connsiteX2" fmla="*/ 0 w 707100"/>
                    <a:gd name="connsiteY2" fmla="*/ 3050 h 26255"/>
                    <a:gd name="connsiteX3" fmla="*/ 120 w 707100"/>
                    <a:gd name="connsiteY3" fmla="*/ 0 h 26255"/>
                  </a:gdLst>
                  <a:ahLst/>
                  <a:cxnLst>
                    <a:cxn ang="0">
                      <a:pos x="connsiteX0" y="connsiteY0"/>
                    </a:cxn>
                    <a:cxn ang="0">
                      <a:pos x="connsiteX1" y="connsiteY1"/>
                    </a:cxn>
                    <a:cxn ang="0">
                      <a:pos x="connsiteX2" y="connsiteY2"/>
                    </a:cxn>
                    <a:cxn ang="0">
                      <a:pos x="connsiteX3" y="connsiteY3"/>
                    </a:cxn>
                  </a:cxnLst>
                  <a:rect l="l" t="t" r="r" b="b"/>
                  <a:pathLst>
                    <a:path w="707100" h="26255">
                      <a:moveTo>
                        <a:pt x="707101" y="23205"/>
                      </a:moveTo>
                      <a:lnTo>
                        <a:pt x="707041" y="26255"/>
                      </a:lnTo>
                      <a:lnTo>
                        <a:pt x="0" y="3050"/>
                      </a:lnTo>
                      <a:lnTo>
                        <a:pt x="120" y="0"/>
                      </a:lnTo>
                      <a:close/>
                    </a:path>
                  </a:pathLst>
                </a:custGeom>
                <a:grpFill/>
                <a:ln w="5978" cap="flat">
                  <a:noFill/>
                  <a:prstDash val="solid"/>
                  <a:miter/>
                </a:ln>
              </p:spPr>
              <p:txBody>
                <a:bodyPr rtlCol="0" anchor="ctr"/>
                <a:lstStyle/>
                <a:p>
                  <a:endParaRPr lang="en-GB"/>
                </a:p>
              </p:txBody>
            </p:sp>
            <p:sp>
              <p:nvSpPr>
                <p:cNvPr id="5240" name="Vrije vorm: vorm 5239">
                  <a:extLst>
                    <a:ext uri="{FF2B5EF4-FFF2-40B4-BE49-F238E27FC236}">
                      <a16:creationId xmlns:a16="http://schemas.microsoft.com/office/drawing/2014/main" id="{6B147443-851C-4FEA-B59E-94108432823F}"/>
                    </a:ext>
                  </a:extLst>
                </p:cNvPr>
                <p:cNvSpPr/>
                <p:nvPr/>
              </p:nvSpPr>
              <p:spPr>
                <a:xfrm>
                  <a:off x="7738473" y="3358508"/>
                  <a:ext cx="18366" cy="18428"/>
                </a:xfrm>
                <a:custGeom>
                  <a:avLst/>
                  <a:gdLst>
                    <a:gd name="connsiteX0" fmla="*/ 8914 w 18366"/>
                    <a:gd name="connsiteY0" fmla="*/ 18426 h 18428"/>
                    <a:gd name="connsiteX1" fmla="*/ 3 w 18366"/>
                    <a:gd name="connsiteY1" fmla="*/ 8917 h 18428"/>
                    <a:gd name="connsiteX2" fmla="*/ 9453 w 18366"/>
                    <a:gd name="connsiteY2" fmla="*/ 6 h 18428"/>
                    <a:gd name="connsiteX3" fmla="*/ 18364 w 18366"/>
                    <a:gd name="connsiteY3" fmla="*/ 9515 h 18428"/>
                    <a:gd name="connsiteX4" fmla="*/ 8914 w 18366"/>
                    <a:gd name="connsiteY4" fmla="*/ 1842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8">
                      <a:moveTo>
                        <a:pt x="8914" y="18426"/>
                      </a:moveTo>
                      <a:cubicBezTo>
                        <a:pt x="3830" y="18247"/>
                        <a:pt x="-116" y="14001"/>
                        <a:pt x="3" y="8917"/>
                      </a:cubicBezTo>
                      <a:cubicBezTo>
                        <a:pt x="122" y="3833"/>
                        <a:pt x="4369" y="-174"/>
                        <a:pt x="9453" y="6"/>
                      </a:cubicBezTo>
                      <a:cubicBezTo>
                        <a:pt x="14536" y="185"/>
                        <a:pt x="18484" y="4431"/>
                        <a:pt x="18364" y="9515"/>
                      </a:cubicBezTo>
                      <a:cubicBezTo>
                        <a:pt x="18184" y="14599"/>
                        <a:pt x="13998" y="18546"/>
                        <a:pt x="8914" y="18426"/>
                      </a:cubicBezTo>
                      <a:close/>
                    </a:path>
                  </a:pathLst>
                </a:custGeom>
                <a:grpFill/>
                <a:ln w="5978" cap="flat">
                  <a:noFill/>
                  <a:prstDash val="solid"/>
                  <a:miter/>
                </a:ln>
              </p:spPr>
              <p:txBody>
                <a:bodyPr rtlCol="0" anchor="ctr"/>
                <a:lstStyle/>
                <a:p>
                  <a:endParaRPr lang="en-GB"/>
                </a:p>
              </p:txBody>
            </p:sp>
            <p:sp>
              <p:nvSpPr>
                <p:cNvPr id="5241" name="Vrije vorm: vorm 5240">
                  <a:extLst>
                    <a:ext uri="{FF2B5EF4-FFF2-40B4-BE49-F238E27FC236}">
                      <a16:creationId xmlns:a16="http://schemas.microsoft.com/office/drawing/2014/main" id="{2798EBF6-C0D8-4E7B-A95E-6C509C3060AC}"/>
                    </a:ext>
                  </a:extLst>
                </p:cNvPr>
                <p:cNvSpPr/>
                <p:nvPr/>
              </p:nvSpPr>
              <p:spPr>
                <a:xfrm>
                  <a:off x="8444614" y="3381654"/>
                  <a:ext cx="18368" cy="18432"/>
                </a:xfrm>
                <a:custGeom>
                  <a:avLst/>
                  <a:gdLst>
                    <a:gd name="connsiteX0" fmla="*/ 8917 w 18368"/>
                    <a:gd name="connsiteY0" fmla="*/ 18426 h 18432"/>
                    <a:gd name="connsiteX1" fmla="*/ 18366 w 18368"/>
                    <a:gd name="connsiteY1" fmla="*/ 9515 h 18432"/>
                    <a:gd name="connsiteX2" fmla="*/ 9455 w 18368"/>
                    <a:gd name="connsiteY2" fmla="*/ 6 h 18432"/>
                    <a:gd name="connsiteX3" fmla="*/ 6 w 18368"/>
                    <a:gd name="connsiteY3" fmla="*/ 8917 h 18432"/>
                    <a:gd name="connsiteX4" fmla="*/ 8917 w 18368"/>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32">
                      <a:moveTo>
                        <a:pt x="8917" y="18426"/>
                      </a:moveTo>
                      <a:cubicBezTo>
                        <a:pt x="14000" y="18606"/>
                        <a:pt x="18187" y="14599"/>
                        <a:pt x="18366" y="9515"/>
                      </a:cubicBezTo>
                      <a:cubicBezTo>
                        <a:pt x="18486" y="4431"/>
                        <a:pt x="14539" y="185"/>
                        <a:pt x="9455" y="6"/>
                      </a:cubicBezTo>
                      <a:cubicBezTo>
                        <a:pt x="4372" y="-174"/>
                        <a:pt x="185" y="3834"/>
                        <a:pt x="6" y="8917"/>
                      </a:cubicBezTo>
                      <a:cubicBezTo>
                        <a:pt x="-174" y="14001"/>
                        <a:pt x="3834" y="18307"/>
                        <a:pt x="8917" y="18426"/>
                      </a:cubicBezTo>
                      <a:close/>
                    </a:path>
                  </a:pathLst>
                </a:custGeom>
                <a:grpFill/>
                <a:ln w="5978" cap="flat">
                  <a:noFill/>
                  <a:prstDash val="solid"/>
                  <a:miter/>
                </a:ln>
              </p:spPr>
              <p:txBody>
                <a:bodyPr rtlCol="0" anchor="ctr"/>
                <a:lstStyle/>
                <a:p>
                  <a:endParaRPr lang="en-GB"/>
                </a:p>
              </p:txBody>
            </p:sp>
          </p:grpSp>
          <p:grpSp>
            <p:nvGrpSpPr>
              <p:cNvPr id="45" name="Graphic 3">
                <a:extLst>
                  <a:ext uri="{FF2B5EF4-FFF2-40B4-BE49-F238E27FC236}">
                    <a16:creationId xmlns:a16="http://schemas.microsoft.com/office/drawing/2014/main" id="{4CFDC899-1A8B-49FB-9D9F-7A974B70C43E}"/>
                  </a:ext>
                </a:extLst>
              </p:cNvPr>
              <p:cNvGrpSpPr/>
              <p:nvPr/>
            </p:nvGrpSpPr>
            <p:grpSpPr>
              <a:xfrm>
                <a:off x="7704045" y="3083539"/>
                <a:ext cx="625846" cy="74482"/>
                <a:chOff x="7704045" y="3083539"/>
                <a:chExt cx="625846" cy="74482"/>
              </a:xfrm>
              <a:grpFill/>
            </p:grpSpPr>
            <p:sp>
              <p:nvSpPr>
                <p:cNvPr id="5236" name="Vrije vorm: vorm 5235">
                  <a:extLst>
                    <a:ext uri="{FF2B5EF4-FFF2-40B4-BE49-F238E27FC236}">
                      <a16:creationId xmlns:a16="http://schemas.microsoft.com/office/drawing/2014/main" id="{94ACBFBA-EA70-4C1A-BCF3-AD137A677575}"/>
                    </a:ext>
                  </a:extLst>
                </p:cNvPr>
                <p:cNvSpPr/>
                <p:nvPr/>
              </p:nvSpPr>
              <p:spPr>
                <a:xfrm>
                  <a:off x="7712639" y="3091116"/>
                  <a:ext cx="608658" cy="59268"/>
                </a:xfrm>
                <a:custGeom>
                  <a:avLst/>
                  <a:gdLst>
                    <a:gd name="connsiteX0" fmla="*/ 608359 w 608658"/>
                    <a:gd name="connsiteY0" fmla="*/ 0 h 59268"/>
                    <a:gd name="connsiteX1" fmla="*/ 608658 w 608658"/>
                    <a:gd name="connsiteY1" fmla="*/ 3050 h 59268"/>
                    <a:gd name="connsiteX2" fmla="*/ 299 w 608658"/>
                    <a:gd name="connsiteY2" fmla="*/ 59269 h 59268"/>
                    <a:gd name="connsiteX3" fmla="*/ 0 w 608658"/>
                    <a:gd name="connsiteY3" fmla="*/ 56219 h 59268"/>
                  </a:gdLst>
                  <a:ahLst/>
                  <a:cxnLst>
                    <a:cxn ang="0">
                      <a:pos x="connsiteX0" y="connsiteY0"/>
                    </a:cxn>
                    <a:cxn ang="0">
                      <a:pos x="connsiteX1" y="connsiteY1"/>
                    </a:cxn>
                    <a:cxn ang="0">
                      <a:pos x="connsiteX2" y="connsiteY2"/>
                    </a:cxn>
                    <a:cxn ang="0">
                      <a:pos x="connsiteX3" y="connsiteY3"/>
                    </a:cxn>
                  </a:cxnLst>
                  <a:rect l="l" t="t" r="r" b="b"/>
                  <a:pathLst>
                    <a:path w="608658" h="59268">
                      <a:moveTo>
                        <a:pt x="608359" y="0"/>
                      </a:moveTo>
                      <a:lnTo>
                        <a:pt x="608658" y="3050"/>
                      </a:lnTo>
                      <a:lnTo>
                        <a:pt x="299" y="59269"/>
                      </a:lnTo>
                      <a:lnTo>
                        <a:pt x="0" y="56219"/>
                      </a:lnTo>
                      <a:close/>
                    </a:path>
                  </a:pathLst>
                </a:custGeom>
                <a:grpFill/>
                <a:ln w="5978" cap="flat">
                  <a:noFill/>
                  <a:prstDash val="solid"/>
                  <a:miter/>
                </a:ln>
              </p:spPr>
              <p:txBody>
                <a:bodyPr rtlCol="0" anchor="ctr"/>
                <a:lstStyle/>
                <a:p>
                  <a:endParaRPr lang="en-GB"/>
                </a:p>
              </p:txBody>
            </p:sp>
            <p:sp>
              <p:nvSpPr>
                <p:cNvPr id="5237" name="Vrije vorm: vorm 5236">
                  <a:extLst>
                    <a:ext uri="{FF2B5EF4-FFF2-40B4-BE49-F238E27FC236}">
                      <a16:creationId xmlns:a16="http://schemas.microsoft.com/office/drawing/2014/main" id="{98636521-D35F-43E6-A3A5-5F9FF00DC13D}"/>
                    </a:ext>
                  </a:extLst>
                </p:cNvPr>
                <p:cNvSpPr/>
                <p:nvPr/>
              </p:nvSpPr>
              <p:spPr>
                <a:xfrm>
                  <a:off x="7704045" y="3139639"/>
                  <a:ext cx="18325" cy="18382"/>
                </a:xfrm>
                <a:custGeom>
                  <a:avLst/>
                  <a:gdLst>
                    <a:gd name="connsiteX0" fmla="*/ 10030 w 18325"/>
                    <a:gd name="connsiteY0" fmla="*/ 18342 h 18382"/>
                    <a:gd name="connsiteX1" fmla="*/ 42 w 18325"/>
                    <a:gd name="connsiteY1" fmla="*/ 10029 h 18382"/>
                    <a:gd name="connsiteX2" fmla="*/ 8295 w 18325"/>
                    <a:gd name="connsiteY2" fmla="*/ 41 h 18382"/>
                    <a:gd name="connsiteX3" fmla="*/ 18283 w 18325"/>
                    <a:gd name="connsiteY3" fmla="*/ 8354 h 18382"/>
                    <a:gd name="connsiteX4" fmla="*/ 10030 w 18325"/>
                    <a:gd name="connsiteY4" fmla="*/ 18342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2">
                      <a:moveTo>
                        <a:pt x="10030" y="18342"/>
                      </a:moveTo>
                      <a:cubicBezTo>
                        <a:pt x="5006" y="18820"/>
                        <a:pt x="520" y="15052"/>
                        <a:pt x="42" y="10029"/>
                      </a:cubicBezTo>
                      <a:cubicBezTo>
                        <a:pt x="-437" y="4945"/>
                        <a:pt x="3271" y="460"/>
                        <a:pt x="8295" y="41"/>
                      </a:cubicBezTo>
                      <a:cubicBezTo>
                        <a:pt x="13319" y="-438"/>
                        <a:pt x="17805" y="3330"/>
                        <a:pt x="18283" y="8354"/>
                      </a:cubicBezTo>
                      <a:cubicBezTo>
                        <a:pt x="18761" y="13378"/>
                        <a:pt x="15113" y="17863"/>
                        <a:pt x="10030" y="18342"/>
                      </a:cubicBezTo>
                      <a:close/>
                    </a:path>
                  </a:pathLst>
                </a:custGeom>
                <a:grpFill/>
                <a:ln w="5978" cap="flat">
                  <a:noFill/>
                  <a:prstDash val="solid"/>
                  <a:miter/>
                </a:ln>
              </p:spPr>
              <p:txBody>
                <a:bodyPr rtlCol="0" anchor="ctr"/>
                <a:lstStyle/>
                <a:p>
                  <a:endParaRPr lang="en-GB"/>
                </a:p>
              </p:txBody>
            </p:sp>
            <p:sp>
              <p:nvSpPr>
                <p:cNvPr id="5238" name="Vrije vorm: vorm 5237">
                  <a:extLst>
                    <a:ext uri="{FF2B5EF4-FFF2-40B4-BE49-F238E27FC236}">
                      <a16:creationId xmlns:a16="http://schemas.microsoft.com/office/drawing/2014/main" id="{C2DA593D-11E3-48C9-83EA-00ACBB0B32CD}"/>
                    </a:ext>
                  </a:extLst>
                </p:cNvPr>
                <p:cNvSpPr/>
                <p:nvPr/>
              </p:nvSpPr>
              <p:spPr>
                <a:xfrm>
                  <a:off x="8311567" y="3083539"/>
                  <a:ext cx="18324" cy="18374"/>
                </a:xfrm>
                <a:custGeom>
                  <a:avLst/>
                  <a:gdLst>
                    <a:gd name="connsiteX0" fmla="*/ 10029 w 18324"/>
                    <a:gd name="connsiteY0" fmla="*/ 18343 h 18374"/>
                    <a:gd name="connsiteX1" fmla="*/ 18282 w 18324"/>
                    <a:gd name="connsiteY1" fmla="*/ 8355 h 18374"/>
                    <a:gd name="connsiteX2" fmla="*/ 8295 w 18324"/>
                    <a:gd name="connsiteY2" fmla="*/ 42 h 18374"/>
                    <a:gd name="connsiteX3" fmla="*/ 42 w 18324"/>
                    <a:gd name="connsiteY3" fmla="*/ 10029 h 18374"/>
                    <a:gd name="connsiteX4" fmla="*/ 10029 w 18324"/>
                    <a:gd name="connsiteY4" fmla="*/ 18343 h 1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74">
                      <a:moveTo>
                        <a:pt x="10029" y="18343"/>
                      </a:moveTo>
                      <a:cubicBezTo>
                        <a:pt x="15053" y="17864"/>
                        <a:pt x="18761" y="13379"/>
                        <a:pt x="18282" y="8355"/>
                      </a:cubicBezTo>
                      <a:cubicBezTo>
                        <a:pt x="17804" y="3271"/>
                        <a:pt x="13319" y="-437"/>
                        <a:pt x="8295" y="42"/>
                      </a:cubicBezTo>
                      <a:cubicBezTo>
                        <a:pt x="3271" y="520"/>
                        <a:pt x="-437" y="5005"/>
                        <a:pt x="42" y="10029"/>
                      </a:cubicBezTo>
                      <a:cubicBezTo>
                        <a:pt x="520" y="15053"/>
                        <a:pt x="5005" y="18761"/>
                        <a:pt x="10029" y="18343"/>
                      </a:cubicBezTo>
                      <a:close/>
                    </a:path>
                  </a:pathLst>
                </a:custGeom>
                <a:grpFill/>
                <a:ln w="5978" cap="flat">
                  <a:noFill/>
                  <a:prstDash val="solid"/>
                  <a:miter/>
                </a:ln>
              </p:spPr>
              <p:txBody>
                <a:bodyPr rtlCol="0" anchor="ctr"/>
                <a:lstStyle/>
                <a:p>
                  <a:endParaRPr lang="en-GB"/>
                </a:p>
              </p:txBody>
            </p:sp>
          </p:grpSp>
          <p:grpSp>
            <p:nvGrpSpPr>
              <p:cNvPr id="46" name="Graphic 3">
                <a:extLst>
                  <a:ext uri="{FF2B5EF4-FFF2-40B4-BE49-F238E27FC236}">
                    <a16:creationId xmlns:a16="http://schemas.microsoft.com/office/drawing/2014/main" id="{B777E050-6084-471C-9607-CDDFEB2E3DD7}"/>
                  </a:ext>
                </a:extLst>
              </p:cNvPr>
              <p:cNvGrpSpPr/>
              <p:nvPr/>
            </p:nvGrpSpPr>
            <p:grpSpPr>
              <a:xfrm>
                <a:off x="7590604" y="2612218"/>
                <a:ext cx="540714" cy="187121"/>
                <a:chOff x="7590604" y="2612218"/>
                <a:chExt cx="540714" cy="187121"/>
              </a:xfrm>
              <a:grpFill/>
            </p:grpSpPr>
            <p:sp>
              <p:nvSpPr>
                <p:cNvPr id="5233" name="Vrije vorm: vorm 5232">
                  <a:extLst>
                    <a:ext uri="{FF2B5EF4-FFF2-40B4-BE49-F238E27FC236}">
                      <a16:creationId xmlns:a16="http://schemas.microsoft.com/office/drawing/2014/main" id="{4250DB70-39D8-4EE9-9116-53989CFE0C06}"/>
                    </a:ext>
                  </a:extLst>
                </p:cNvPr>
                <p:cNvSpPr/>
                <p:nvPr/>
              </p:nvSpPr>
              <p:spPr>
                <a:xfrm>
                  <a:off x="7598826" y="2619835"/>
                  <a:ext cx="524270" cy="171886"/>
                </a:xfrm>
                <a:custGeom>
                  <a:avLst/>
                  <a:gdLst>
                    <a:gd name="connsiteX0" fmla="*/ 523313 w 524270"/>
                    <a:gd name="connsiteY0" fmla="*/ 0 h 171886"/>
                    <a:gd name="connsiteX1" fmla="*/ 524270 w 524270"/>
                    <a:gd name="connsiteY1" fmla="*/ 2931 h 171886"/>
                    <a:gd name="connsiteX2" fmla="*/ 957 w 524270"/>
                    <a:gd name="connsiteY2" fmla="*/ 171886 h 171886"/>
                    <a:gd name="connsiteX3" fmla="*/ 0 w 524270"/>
                    <a:gd name="connsiteY3" fmla="*/ 169015 h 171886"/>
                  </a:gdLst>
                  <a:ahLst/>
                  <a:cxnLst>
                    <a:cxn ang="0">
                      <a:pos x="connsiteX0" y="connsiteY0"/>
                    </a:cxn>
                    <a:cxn ang="0">
                      <a:pos x="connsiteX1" y="connsiteY1"/>
                    </a:cxn>
                    <a:cxn ang="0">
                      <a:pos x="connsiteX2" y="connsiteY2"/>
                    </a:cxn>
                    <a:cxn ang="0">
                      <a:pos x="connsiteX3" y="connsiteY3"/>
                    </a:cxn>
                  </a:cxnLst>
                  <a:rect l="l" t="t" r="r" b="b"/>
                  <a:pathLst>
                    <a:path w="524270" h="171886">
                      <a:moveTo>
                        <a:pt x="523313" y="0"/>
                      </a:moveTo>
                      <a:lnTo>
                        <a:pt x="524270" y="2931"/>
                      </a:lnTo>
                      <a:lnTo>
                        <a:pt x="957" y="171886"/>
                      </a:lnTo>
                      <a:lnTo>
                        <a:pt x="0" y="169015"/>
                      </a:lnTo>
                      <a:close/>
                    </a:path>
                  </a:pathLst>
                </a:custGeom>
                <a:grpFill/>
                <a:ln w="5978" cap="flat">
                  <a:noFill/>
                  <a:prstDash val="solid"/>
                  <a:miter/>
                </a:ln>
              </p:spPr>
              <p:txBody>
                <a:bodyPr rtlCol="0" anchor="ctr"/>
                <a:lstStyle/>
                <a:p>
                  <a:endParaRPr lang="en-GB"/>
                </a:p>
              </p:txBody>
            </p:sp>
            <p:sp>
              <p:nvSpPr>
                <p:cNvPr id="5234" name="Vrije vorm: vorm 5233">
                  <a:extLst>
                    <a:ext uri="{FF2B5EF4-FFF2-40B4-BE49-F238E27FC236}">
                      <a16:creationId xmlns:a16="http://schemas.microsoft.com/office/drawing/2014/main" id="{0B3D4C1B-7A51-4CC8-9947-828D67748F95}"/>
                    </a:ext>
                  </a:extLst>
                </p:cNvPr>
                <p:cNvSpPr/>
                <p:nvPr/>
              </p:nvSpPr>
              <p:spPr>
                <a:xfrm>
                  <a:off x="7590604" y="2780874"/>
                  <a:ext cx="18297" cy="18465"/>
                </a:xfrm>
                <a:custGeom>
                  <a:avLst/>
                  <a:gdLst>
                    <a:gd name="connsiteX0" fmla="*/ 11990 w 18297"/>
                    <a:gd name="connsiteY0" fmla="*/ 18024 h 18465"/>
                    <a:gd name="connsiteX1" fmla="*/ 447 w 18297"/>
                    <a:gd name="connsiteY1" fmla="*/ 12043 h 18465"/>
                    <a:gd name="connsiteX2" fmla="*/ 6308 w 18297"/>
                    <a:gd name="connsiteY2" fmla="*/ 441 h 18465"/>
                    <a:gd name="connsiteX3" fmla="*/ 17851 w 18297"/>
                    <a:gd name="connsiteY3" fmla="*/ 6422 h 18465"/>
                    <a:gd name="connsiteX4" fmla="*/ 11990 w 18297"/>
                    <a:gd name="connsiteY4" fmla="*/ 1802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65">
                      <a:moveTo>
                        <a:pt x="11990" y="18024"/>
                      </a:moveTo>
                      <a:cubicBezTo>
                        <a:pt x="7205" y="19579"/>
                        <a:pt x="2002" y="16888"/>
                        <a:pt x="447" y="12043"/>
                      </a:cubicBezTo>
                      <a:cubicBezTo>
                        <a:pt x="-1108" y="7199"/>
                        <a:pt x="1523" y="1996"/>
                        <a:pt x="6308" y="441"/>
                      </a:cubicBezTo>
                      <a:cubicBezTo>
                        <a:pt x="11092" y="-1114"/>
                        <a:pt x="16296" y="1577"/>
                        <a:pt x="17851" y="6422"/>
                      </a:cubicBezTo>
                      <a:cubicBezTo>
                        <a:pt x="19406" y="11326"/>
                        <a:pt x="16774" y="16469"/>
                        <a:pt x="11990" y="18024"/>
                      </a:cubicBezTo>
                      <a:close/>
                    </a:path>
                  </a:pathLst>
                </a:custGeom>
                <a:grpFill/>
                <a:ln w="5978" cap="flat">
                  <a:noFill/>
                  <a:prstDash val="solid"/>
                  <a:miter/>
                </a:ln>
              </p:spPr>
              <p:txBody>
                <a:bodyPr rtlCol="0" anchor="ctr"/>
                <a:lstStyle/>
                <a:p>
                  <a:endParaRPr lang="en-GB"/>
                </a:p>
              </p:txBody>
            </p:sp>
            <p:sp>
              <p:nvSpPr>
                <p:cNvPr id="5235" name="Vrije vorm: vorm 5234">
                  <a:extLst>
                    <a:ext uri="{FF2B5EF4-FFF2-40B4-BE49-F238E27FC236}">
                      <a16:creationId xmlns:a16="http://schemas.microsoft.com/office/drawing/2014/main" id="{DF716C6C-918F-48BA-85B5-CEAA3387C74D}"/>
                    </a:ext>
                  </a:extLst>
                </p:cNvPr>
                <p:cNvSpPr/>
                <p:nvPr/>
              </p:nvSpPr>
              <p:spPr>
                <a:xfrm>
                  <a:off x="8113020" y="2612218"/>
                  <a:ext cx="18298" cy="18465"/>
                </a:xfrm>
                <a:custGeom>
                  <a:avLst/>
                  <a:gdLst>
                    <a:gd name="connsiteX0" fmla="*/ 11990 w 18298"/>
                    <a:gd name="connsiteY0" fmla="*/ 18024 h 18465"/>
                    <a:gd name="connsiteX1" fmla="*/ 17851 w 18298"/>
                    <a:gd name="connsiteY1" fmla="*/ 6422 h 18465"/>
                    <a:gd name="connsiteX2" fmla="*/ 6308 w 18298"/>
                    <a:gd name="connsiteY2" fmla="*/ 441 h 18465"/>
                    <a:gd name="connsiteX3" fmla="*/ 447 w 18298"/>
                    <a:gd name="connsiteY3" fmla="*/ 12044 h 18465"/>
                    <a:gd name="connsiteX4" fmla="*/ 11990 w 18298"/>
                    <a:gd name="connsiteY4" fmla="*/ 1802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65">
                      <a:moveTo>
                        <a:pt x="11990" y="18024"/>
                      </a:moveTo>
                      <a:cubicBezTo>
                        <a:pt x="16774" y="16469"/>
                        <a:pt x="19406" y="11266"/>
                        <a:pt x="17851" y="6422"/>
                      </a:cubicBezTo>
                      <a:cubicBezTo>
                        <a:pt x="16296" y="1577"/>
                        <a:pt x="11093" y="-1114"/>
                        <a:pt x="6308" y="441"/>
                      </a:cubicBezTo>
                      <a:cubicBezTo>
                        <a:pt x="1523" y="1996"/>
                        <a:pt x="-1108" y="7199"/>
                        <a:pt x="447" y="12044"/>
                      </a:cubicBezTo>
                      <a:cubicBezTo>
                        <a:pt x="2002" y="16888"/>
                        <a:pt x="7205" y="19579"/>
                        <a:pt x="11990" y="18024"/>
                      </a:cubicBezTo>
                      <a:close/>
                    </a:path>
                  </a:pathLst>
                </a:custGeom>
                <a:grpFill/>
                <a:ln w="5978" cap="flat">
                  <a:noFill/>
                  <a:prstDash val="solid"/>
                  <a:miter/>
                </a:ln>
              </p:spPr>
              <p:txBody>
                <a:bodyPr rtlCol="0" anchor="ctr"/>
                <a:lstStyle/>
                <a:p>
                  <a:endParaRPr lang="en-GB"/>
                </a:p>
              </p:txBody>
            </p:sp>
          </p:grpSp>
          <p:grpSp>
            <p:nvGrpSpPr>
              <p:cNvPr id="47" name="Graphic 3">
                <a:extLst>
                  <a:ext uri="{FF2B5EF4-FFF2-40B4-BE49-F238E27FC236}">
                    <a16:creationId xmlns:a16="http://schemas.microsoft.com/office/drawing/2014/main" id="{7F37EA2E-A7C8-49D6-8E25-F7806BC0D538}"/>
                  </a:ext>
                </a:extLst>
              </p:cNvPr>
              <p:cNvGrpSpPr/>
              <p:nvPr/>
            </p:nvGrpSpPr>
            <p:grpSpPr>
              <a:xfrm>
                <a:off x="8057482" y="3499410"/>
                <a:ext cx="152759" cy="24541"/>
                <a:chOff x="8057482" y="3499410"/>
                <a:chExt cx="152759" cy="24541"/>
              </a:xfrm>
              <a:grpFill/>
            </p:grpSpPr>
            <p:sp>
              <p:nvSpPr>
                <p:cNvPr id="5230" name="Vrije vorm: vorm 5229">
                  <a:extLst>
                    <a:ext uri="{FF2B5EF4-FFF2-40B4-BE49-F238E27FC236}">
                      <a16:creationId xmlns:a16="http://schemas.microsoft.com/office/drawing/2014/main" id="{03717AE8-D3D3-41D0-B91C-DF835FDFB622}"/>
                    </a:ext>
                  </a:extLst>
                </p:cNvPr>
                <p:cNvSpPr/>
                <p:nvPr/>
              </p:nvSpPr>
              <p:spPr>
                <a:xfrm>
                  <a:off x="8066100" y="3507075"/>
                  <a:ext cx="135463" cy="9210"/>
                </a:xfrm>
                <a:custGeom>
                  <a:avLst/>
                  <a:gdLst>
                    <a:gd name="connsiteX0" fmla="*/ 135464 w 135463"/>
                    <a:gd name="connsiteY0" fmla="*/ 6160 h 9210"/>
                    <a:gd name="connsiteX1" fmla="*/ 135344 w 135463"/>
                    <a:gd name="connsiteY1" fmla="*/ 9210 h 9210"/>
                    <a:gd name="connsiteX2" fmla="*/ 0 w 135463"/>
                    <a:gd name="connsiteY2" fmla="*/ 3050 h 9210"/>
                    <a:gd name="connsiteX3" fmla="*/ 120 w 135463"/>
                    <a:gd name="connsiteY3" fmla="*/ 0 h 9210"/>
                  </a:gdLst>
                  <a:ahLst/>
                  <a:cxnLst>
                    <a:cxn ang="0">
                      <a:pos x="connsiteX0" y="connsiteY0"/>
                    </a:cxn>
                    <a:cxn ang="0">
                      <a:pos x="connsiteX1" y="connsiteY1"/>
                    </a:cxn>
                    <a:cxn ang="0">
                      <a:pos x="connsiteX2" y="connsiteY2"/>
                    </a:cxn>
                    <a:cxn ang="0">
                      <a:pos x="connsiteX3" y="connsiteY3"/>
                    </a:cxn>
                  </a:cxnLst>
                  <a:rect l="l" t="t" r="r" b="b"/>
                  <a:pathLst>
                    <a:path w="135463" h="9210">
                      <a:moveTo>
                        <a:pt x="135464" y="6160"/>
                      </a:moveTo>
                      <a:lnTo>
                        <a:pt x="135344" y="9210"/>
                      </a:lnTo>
                      <a:lnTo>
                        <a:pt x="0" y="3050"/>
                      </a:lnTo>
                      <a:lnTo>
                        <a:pt x="120" y="0"/>
                      </a:lnTo>
                      <a:close/>
                    </a:path>
                  </a:pathLst>
                </a:custGeom>
                <a:grpFill/>
                <a:ln w="5978" cap="flat">
                  <a:noFill/>
                  <a:prstDash val="solid"/>
                  <a:miter/>
                </a:ln>
              </p:spPr>
              <p:txBody>
                <a:bodyPr rtlCol="0" anchor="ctr"/>
                <a:lstStyle/>
                <a:p>
                  <a:endParaRPr lang="en-GB"/>
                </a:p>
              </p:txBody>
            </p:sp>
            <p:sp>
              <p:nvSpPr>
                <p:cNvPr id="5231" name="Vrije vorm: vorm 5230">
                  <a:extLst>
                    <a:ext uri="{FF2B5EF4-FFF2-40B4-BE49-F238E27FC236}">
                      <a16:creationId xmlns:a16="http://schemas.microsoft.com/office/drawing/2014/main" id="{F7C63DBD-6864-4C94-B3DD-79E7C233DFEC}"/>
                    </a:ext>
                  </a:extLst>
                </p:cNvPr>
                <p:cNvSpPr/>
                <p:nvPr/>
              </p:nvSpPr>
              <p:spPr>
                <a:xfrm>
                  <a:off x="8191928" y="3505510"/>
                  <a:ext cx="18312" cy="18441"/>
                </a:xfrm>
                <a:custGeom>
                  <a:avLst/>
                  <a:gdLst>
                    <a:gd name="connsiteX0" fmla="*/ 9515 w 18312"/>
                    <a:gd name="connsiteY0" fmla="*/ 10 h 18441"/>
                    <a:gd name="connsiteX1" fmla="*/ 18307 w 18312"/>
                    <a:gd name="connsiteY1" fmla="*/ 9639 h 18441"/>
                    <a:gd name="connsiteX2" fmla="*/ 8797 w 18312"/>
                    <a:gd name="connsiteY2" fmla="*/ 18431 h 18441"/>
                    <a:gd name="connsiteX3" fmla="*/ 6 w 18312"/>
                    <a:gd name="connsiteY3" fmla="*/ 8802 h 18441"/>
                    <a:gd name="connsiteX4" fmla="*/ 9515 w 18312"/>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1">
                      <a:moveTo>
                        <a:pt x="9515" y="10"/>
                      </a:moveTo>
                      <a:cubicBezTo>
                        <a:pt x="14599" y="250"/>
                        <a:pt x="18486" y="4556"/>
                        <a:pt x="18307" y="9639"/>
                      </a:cubicBezTo>
                      <a:cubicBezTo>
                        <a:pt x="18068" y="14723"/>
                        <a:pt x="13821" y="18670"/>
                        <a:pt x="8797" y="18431"/>
                      </a:cubicBezTo>
                      <a:cubicBezTo>
                        <a:pt x="3714" y="18192"/>
                        <a:pt x="-174" y="13886"/>
                        <a:pt x="6" y="8802"/>
                      </a:cubicBezTo>
                      <a:cubicBezTo>
                        <a:pt x="186" y="3718"/>
                        <a:pt x="4432" y="-229"/>
                        <a:pt x="9515" y="10"/>
                      </a:cubicBezTo>
                      <a:close/>
                    </a:path>
                  </a:pathLst>
                </a:custGeom>
                <a:grpFill/>
                <a:ln w="5978" cap="flat">
                  <a:noFill/>
                  <a:prstDash val="solid"/>
                  <a:miter/>
                </a:ln>
              </p:spPr>
              <p:txBody>
                <a:bodyPr rtlCol="0" anchor="ctr"/>
                <a:lstStyle/>
                <a:p>
                  <a:endParaRPr lang="en-GB"/>
                </a:p>
              </p:txBody>
            </p:sp>
            <p:sp>
              <p:nvSpPr>
                <p:cNvPr id="5232" name="Vrije vorm: vorm 5231">
                  <a:extLst>
                    <a:ext uri="{FF2B5EF4-FFF2-40B4-BE49-F238E27FC236}">
                      <a16:creationId xmlns:a16="http://schemas.microsoft.com/office/drawing/2014/main" id="{9E0E7151-B8FC-41EA-8610-89078D19A5DF}"/>
                    </a:ext>
                  </a:extLst>
                </p:cNvPr>
                <p:cNvSpPr/>
                <p:nvPr/>
              </p:nvSpPr>
              <p:spPr>
                <a:xfrm>
                  <a:off x="8057482" y="3499410"/>
                  <a:ext cx="18312" cy="18441"/>
                </a:xfrm>
                <a:custGeom>
                  <a:avLst/>
                  <a:gdLst>
                    <a:gd name="connsiteX0" fmla="*/ 9515 w 18312"/>
                    <a:gd name="connsiteY0" fmla="*/ 10 h 18441"/>
                    <a:gd name="connsiteX1" fmla="*/ 6 w 18312"/>
                    <a:gd name="connsiteY1" fmla="*/ 8802 h 18441"/>
                    <a:gd name="connsiteX2" fmla="*/ 8797 w 18312"/>
                    <a:gd name="connsiteY2" fmla="*/ 18431 h 18441"/>
                    <a:gd name="connsiteX3" fmla="*/ 18307 w 18312"/>
                    <a:gd name="connsiteY3" fmla="*/ 9639 h 18441"/>
                    <a:gd name="connsiteX4" fmla="*/ 9515 w 18312"/>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1">
                      <a:moveTo>
                        <a:pt x="9515" y="10"/>
                      </a:moveTo>
                      <a:cubicBezTo>
                        <a:pt x="4432" y="-229"/>
                        <a:pt x="185" y="3718"/>
                        <a:pt x="6" y="8802"/>
                      </a:cubicBezTo>
                      <a:cubicBezTo>
                        <a:pt x="-174" y="13886"/>
                        <a:pt x="3714" y="18192"/>
                        <a:pt x="8797" y="18431"/>
                      </a:cubicBezTo>
                      <a:cubicBezTo>
                        <a:pt x="13881" y="18670"/>
                        <a:pt x="18127" y="14723"/>
                        <a:pt x="18307" y="9639"/>
                      </a:cubicBezTo>
                      <a:cubicBezTo>
                        <a:pt x="18486" y="4556"/>
                        <a:pt x="14539" y="250"/>
                        <a:pt x="9515" y="10"/>
                      </a:cubicBezTo>
                      <a:close/>
                    </a:path>
                  </a:pathLst>
                </a:custGeom>
                <a:grpFill/>
                <a:ln w="5978" cap="flat">
                  <a:noFill/>
                  <a:prstDash val="solid"/>
                  <a:miter/>
                </a:ln>
              </p:spPr>
              <p:txBody>
                <a:bodyPr rtlCol="0" anchor="ctr"/>
                <a:lstStyle/>
                <a:p>
                  <a:endParaRPr lang="en-GB"/>
                </a:p>
              </p:txBody>
            </p:sp>
          </p:grpSp>
          <p:grpSp>
            <p:nvGrpSpPr>
              <p:cNvPr id="48" name="Graphic 3">
                <a:extLst>
                  <a:ext uri="{FF2B5EF4-FFF2-40B4-BE49-F238E27FC236}">
                    <a16:creationId xmlns:a16="http://schemas.microsoft.com/office/drawing/2014/main" id="{BFE674B9-8847-4AFB-B63F-009776E97278}"/>
                  </a:ext>
                </a:extLst>
              </p:cNvPr>
              <p:cNvGrpSpPr/>
              <p:nvPr/>
            </p:nvGrpSpPr>
            <p:grpSpPr>
              <a:xfrm>
                <a:off x="7527864" y="1845451"/>
                <a:ext cx="116781" cy="115750"/>
                <a:chOff x="7527864" y="1845451"/>
                <a:chExt cx="116781" cy="115750"/>
              </a:xfrm>
              <a:grpFill/>
            </p:grpSpPr>
            <p:sp>
              <p:nvSpPr>
                <p:cNvPr id="5227" name="Vrije vorm: vorm 5226">
                  <a:extLst>
                    <a:ext uri="{FF2B5EF4-FFF2-40B4-BE49-F238E27FC236}">
                      <a16:creationId xmlns:a16="http://schemas.microsoft.com/office/drawing/2014/main" id="{E96F12F4-6AFF-4ABE-AADC-8A760F7B5AED}"/>
                    </a:ext>
                  </a:extLst>
                </p:cNvPr>
                <p:cNvSpPr/>
                <p:nvPr/>
              </p:nvSpPr>
              <p:spPr>
                <a:xfrm>
                  <a:off x="7535670" y="1853226"/>
                  <a:ext cx="101193" cy="100177"/>
                </a:xfrm>
                <a:custGeom>
                  <a:avLst/>
                  <a:gdLst>
                    <a:gd name="connsiteX0" fmla="*/ 101193 w 101193"/>
                    <a:gd name="connsiteY0" fmla="*/ 2213 h 100177"/>
                    <a:gd name="connsiteX1" fmla="*/ 2153 w 101193"/>
                    <a:gd name="connsiteY1" fmla="*/ 100177 h 100177"/>
                    <a:gd name="connsiteX2" fmla="*/ 0 w 101193"/>
                    <a:gd name="connsiteY2" fmla="*/ 97964 h 100177"/>
                    <a:gd name="connsiteX3" fmla="*/ 99040 w 101193"/>
                    <a:gd name="connsiteY3" fmla="*/ 0 h 100177"/>
                  </a:gdLst>
                  <a:ahLst/>
                  <a:cxnLst>
                    <a:cxn ang="0">
                      <a:pos x="connsiteX0" y="connsiteY0"/>
                    </a:cxn>
                    <a:cxn ang="0">
                      <a:pos x="connsiteX1" y="connsiteY1"/>
                    </a:cxn>
                    <a:cxn ang="0">
                      <a:pos x="connsiteX2" y="connsiteY2"/>
                    </a:cxn>
                    <a:cxn ang="0">
                      <a:pos x="connsiteX3" y="connsiteY3"/>
                    </a:cxn>
                  </a:cxnLst>
                  <a:rect l="l" t="t" r="r" b="b"/>
                  <a:pathLst>
                    <a:path w="101193" h="100177">
                      <a:moveTo>
                        <a:pt x="101193" y="2213"/>
                      </a:moveTo>
                      <a:lnTo>
                        <a:pt x="2153" y="100177"/>
                      </a:lnTo>
                      <a:lnTo>
                        <a:pt x="0" y="97964"/>
                      </a:lnTo>
                      <a:lnTo>
                        <a:pt x="99040" y="0"/>
                      </a:lnTo>
                      <a:close/>
                    </a:path>
                  </a:pathLst>
                </a:custGeom>
                <a:grpFill/>
                <a:ln w="5978" cap="flat">
                  <a:noFill/>
                  <a:prstDash val="solid"/>
                  <a:miter/>
                </a:ln>
              </p:spPr>
              <p:txBody>
                <a:bodyPr rtlCol="0" anchor="ctr"/>
                <a:lstStyle/>
                <a:p>
                  <a:endParaRPr lang="en-GB"/>
                </a:p>
              </p:txBody>
            </p:sp>
            <p:sp>
              <p:nvSpPr>
                <p:cNvPr id="5228" name="Vrije vorm: vorm 5227">
                  <a:extLst>
                    <a:ext uri="{FF2B5EF4-FFF2-40B4-BE49-F238E27FC236}">
                      <a16:creationId xmlns:a16="http://schemas.microsoft.com/office/drawing/2014/main" id="{75A2447F-6569-4CD8-B577-9CCEE5D1BCA2}"/>
                    </a:ext>
                  </a:extLst>
                </p:cNvPr>
                <p:cNvSpPr/>
                <p:nvPr/>
              </p:nvSpPr>
              <p:spPr>
                <a:xfrm>
                  <a:off x="7626307" y="1845451"/>
                  <a:ext cx="18338" cy="18444"/>
                </a:xfrm>
                <a:custGeom>
                  <a:avLst/>
                  <a:gdLst>
                    <a:gd name="connsiteX0" fmla="*/ 2721 w 18338"/>
                    <a:gd name="connsiteY0" fmla="*/ 2632 h 18444"/>
                    <a:gd name="connsiteX1" fmla="*/ 15699 w 18338"/>
                    <a:gd name="connsiteY1" fmla="*/ 2752 h 18444"/>
                    <a:gd name="connsiteX2" fmla="*/ 15640 w 18338"/>
                    <a:gd name="connsiteY2" fmla="*/ 15790 h 18444"/>
                    <a:gd name="connsiteX3" fmla="*/ 2661 w 18338"/>
                    <a:gd name="connsiteY3" fmla="*/ 15670 h 18444"/>
                    <a:gd name="connsiteX4" fmla="*/ 2721 w 18338"/>
                    <a:gd name="connsiteY4" fmla="*/ 26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44">
                      <a:moveTo>
                        <a:pt x="2721" y="2632"/>
                      </a:moveTo>
                      <a:cubicBezTo>
                        <a:pt x="6310" y="-956"/>
                        <a:pt x="12111" y="-837"/>
                        <a:pt x="15699" y="2752"/>
                      </a:cubicBezTo>
                      <a:cubicBezTo>
                        <a:pt x="19228" y="6400"/>
                        <a:pt x="19228" y="12201"/>
                        <a:pt x="15640" y="15790"/>
                      </a:cubicBezTo>
                      <a:cubicBezTo>
                        <a:pt x="12051" y="19378"/>
                        <a:pt x="6250" y="19318"/>
                        <a:pt x="2661" y="15670"/>
                      </a:cubicBezTo>
                      <a:cubicBezTo>
                        <a:pt x="-927" y="12022"/>
                        <a:pt x="-867" y="6161"/>
                        <a:pt x="2721" y="2632"/>
                      </a:cubicBezTo>
                      <a:close/>
                    </a:path>
                  </a:pathLst>
                </a:custGeom>
                <a:grpFill/>
                <a:ln w="5978" cap="flat">
                  <a:noFill/>
                  <a:prstDash val="solid"/>
                  <a:miter/>
                </a:ln>
              </p:spPr>
              <p:txBody>
                <a:bodyPr rtlCol="0" anchor="ctr"/>
                <a:lstStyle/>
                <a:p>
                  <a:endParaRPr lang="en-GB"/>
                </a:p>
              </p:txBody>
            </p:sp>
            <p:sp>
              <p:nvSpPr>
                <p:cNvPr id="5229" name="Vrije vorm: vorm 5228">
                  <a:extLst>
                    <a:ext uri="{FF2B5EF4-FFF2-40B4-BE49-F238E27FC236}">
                      <a16:creationId xmlns:a16="http://schemas.microsoft.com/office/drawing/2014/main" id="{69245FC8-6DD9-4A51-AC20-16BF3C4AF622}"/>
                    </a:ext>
                  </a:extLst>
                </p:cNvPr>
                <p:cNvSpPr/>
                <p:nvPr/>
              </p:nvSpPr>
              <p:spPr>
                <a:xfrm>
                  <a:off x="7527864" y="1942780"/>
                  <a:ext cx="18361" cy="18421"/>
                </a:xfrm>
                <a:custGeom>
                  <a:avLst/>
                  <a:gdLst>
                    <a:gd name="connsiteX0" fmla="*/ 2721 w 18361"/>
                    <a:gd name="connsiteY0" fmla="*/ 2610 h 18421"/>
                    <a:gd name="connsiteX1" fmla="*/ 2662 w 18361"/>
                    <a:gd name="connsiteY1" fmla="*/ 15647 h 18421"/>
                    <a:gd name="connsiteX2" fmla="*/ 15640 w 18361"/>
                    <a:gd name="connsiteY2" fmla="*/ 15767 h 18421"/>
                    <a:gd name="connsiteX3" fmla="*/ 15700 w 18361"/>
                    <a:gd name="connsiteY3" fmla="*/ 2729 h 18421"/>
                    <a:gd name="connsiteX4" fmla="*/ 2721 w 18361"/>
                    <a:gd name="connsiteY4" fmla="*/ 26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2721" y="2610"/>
                      </a:moveTo>
                      <a:cubicBezTo>
                        <a:pt x="-867" y="6198"/>
                        <a:pt x="-927" y="11999"/>
                        <a:pt x="2662" y="15647"/>
                      </a:cubicBezTo>
                      <a:cubicBezTo>
                        <a:pt x="6191" y="19296"/>
                        <a:pt x="11992" y="19355"/>
                        <a:pt x="15640" y="15767"/>
                      </a:cubicBezTo>
                      <a:cubicBezTo>
                        <a:pt x="19228" y="12239"/>
                        <a:pt x="19288" y="6377"/>
                        <a:pt x="15700" y="2729"/>
                      </a:cubicBezTo>
                      <a:cubicBezTo>
                        <a:pt x="12171" y="-859"/>
                        <a:pt x="6370" y="-919"/>
                        <a:pt x="2721" y="2610"/>
                      </a:cubicBezTo>
                      <a:close/>
                    </a:path>
                  </a:pathLst>
                </a:custGeom>
                <a:grpFill/>
                <a:ln w="5978" cap="flat">
                  <a:noFill/>
                  <a:prstDash val="solid"/>
                  <a:miter/>
                </a:ln>
              </p:spPr>
              <p:txBody>
                <a:bodyPr rtlCol="0" anchor="ctr"/>
                <a:lstStyle/>
                <a:p>
                  <a:endParaRPr lang="en-GB"/>
                </a:p>
              </p:txBody>
            </p:sp>
          </p:grpSp>
          <p:grpSp>
            <p:nvGrpSpPr>
              <p:cNvPr id="49" name="Graphic 3">
                <a:extLst>
                  <a:ext uri="{FF2B5EF4-FFF2-40B4-BE49-F238E27FC236}">
                    <a16:creationId xmlns:a16="http://schemas.microsoft.com/office/drawing/2014/main" id="{87FC05CE-2294-4A4B-A4A4-7BC011A11FB0}"/>
                  </a:ext>
                </a:extLst>
              </p:cNvPr>
              <p:cNvGrpSpPr/>
              <p:nvPr/>
            </p:nvGrpSpPr>
            <p:grpSpPr>
              <a:xfrm>
                <a:off x="7550110" y="1913509"/>
                <a:ext cx="83414" cy="80410"/>
                <a:chOff x="7550110" y="1913509"/>
                <a:chExt cx="83414" cy="80410"/>
              </a:xfrm>
              <a:grpFill/>
            </p:grpSpPr>
            <p:sp>
              <p:nvSpPr>
                <p:cNvPr id="5224" name="Vrije vorm: vorm 5223">
                  <a:extLst>
                    <a:ext uri="{FF2B5EF4-FFF2-40B4-BE49-F238E27FC236}">
                      <a16:creationId xmlns:a16="http://schemas.microsoft.com/office/drawing/2014/main" id="{B5600F57-F8A4-443F-BD4D-1D6C7882B8F1}"/>
                    </a:ext>
                  </a:extLst>
                </p:cNvPr>
                <p:cNvSpPr/>
                <p:nvPr/>
              </p:nvSpPr>
              <p:spPr>
                <a:xfrm>
                  <a:off x="7557858" y="1921287"/>
                  <a:ext cx="67881" cy="64830"/>
                </a:xfrm>
                <a:custGeom>
                  <a:avLst/>
                  <a:gdLst>
                    <a:gd name="connsiteX0" fmla="*/ 67881 w 67881"/>
                    <a:gd name="connsiteY0" fmla="*/ 2213 h 64830"/>
                    <a:gd name="connsiteX1" fmla="*/ 2093 w 67881"/>
                    <a:gd name="connsiteY1" fmla="*/ 64831 h 64830"/>
                    <a:gd name="connsiteX2" fmla="*/ 0 w 67881"/>
                    <a:gd name="connsiteY2" fmla="*/ 62618 h 64830"/>
                    <a:gd name="connsiteX3" fmla="*/ 65728 w 67881"/>
                    <a:gd name="connsiteY3" fmla="*/ 0 h 64830"/>
                  </a:gdLst>
                  <a:ahLst/>
                  <a:cxnLst>
                    <a:cxn ang="0">
                      <a:pos x="connsiteX0" y="connsiteY0"/>
                    </a:cxn>
                    <a:cxn ang="0">
                      <a:pos x="connsiteX1" y="connsiteY1"/>
                    </a:cxn>
                    <a:cxn ang="0">
                      <a:pos x="connsiteX2" y="connsiteY2"/>
                    </a:cxn>
                    <a:cxn ang="0">
                      <a:pos x="connsiteX3" y="connsiteY3"/>
                    </a:cxn>
                  </a:cxnLst>
                  <a:rect l="l" t="t" r="r" b="b"/>
                  <a:pathLst>
                    <a:path w="67881" h="64830">
                      <a:moveTo>
                        <a:pt x="67881" y="2213"/>
                      </a:moveTo>
                      <a:lnTo>
                        <a:pt x="2093" y="64831"/>
                      </a:lnTo>
                      <a:lnTo>
                        <a:pt x="0" y="62618"/>
                      </a:lnTo>
                      <a:lnTo>
                        <a:pt x="65728" y="0"/>
                      </a:lnTo>
                      <a:close/>
                    </a:path>
                  </a:pathLst>
                </a:custGeom>
                <a:grpFill/>
                <a:ln w="5978" cap="flat">
                  <a:noFill/>
                  <a:prstDash val="solid"/>
                  <a:miter/>
                </a:ln>
              </p:spPr>
              <p:txBody>
                <a:bodyPr rtlCol="0" anchor="ctr"/>
                <a:lstStyle/>
                <a:p>
                  <a:endParaRPr lang="en-GB"/>
                </a:p>
              </p:txBody>
            </p:sp>
            <p:sp>
              <p:nvSpPr>
                <p:cNvPr id="5225" name="Vrije vorm: vorm 5224">
                  <a:extLst>
                    <a:ext uri="{FF2B5EF4-FFF2-40B4-BE49-F238E27FC236}">
                      <a16:creationId xmlns:a16="http://schemas.microsoft.com/office/drawing/2014/main" id="{7E23BD69-DBF3-49B6-BAB2-EE2749C93CBF}"/>
                    </a:ext>
                  </a:extLst>
                </p:cNvPr>
                <p:cNvSpPr/>
                <p:nvPr/>
              </p:nvSpPr>
              <p:spPr>
                <a:xfrm>
                  <a:off x="7615180" y="1913509"/>
                  <a:ext cx="18343" cy="18426"/>
                </a:xfrm>
                <a:custGeom>
                  <a:avLst/>
                  <a:gdLst>
                    <a:gd name="connsiteX0" fmla="*/ 2844 w 18343"/>
                    <a:gd name="connsiteY0" fmla="*/ 2515 h 18426"/>
                    <a:gd name="connsiteX1" fmla="*/ 15822 w 18343"/>
                    <a:gd name="connsiteY1" fmla="*/ 2874 h 18426"/>
                    <a:gd name="connsiteX2" fmla="*/ 15523 w 18343"/>
                    <a:gd name="connsiteY2" fmla="*/ 15912 h 18426"/>
                    <a:gd name="connsiteX3" fmla="*/ 2545 w 18343"/>
                    <a:gd name="connsiteY3" fmla="*/ 15553 h 18426"/>
                    <a:gd name="connsiteX4" fmla="*/ 2844 w 18343"/>
                    <a:gd name="connsiteY4" fmla="*/ 25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6">
                      <a:moveTo>
                        <a:pt x="2844" y="2515"/>
                      </a:moveTo>
                      <a:cubicBezTo>
                        <a:pt x="6492" y="-954"/>
                        <a:pt x="12293" y="-834"/>
                        <a:pt x="15822" y="2874"/>
                      </a:cubicBezTo>
                      <a:cubicBezTo>
                        <a:pt x="19291" y="6582"/>
                        <a:pt x="19171" y="12383"/>
                        <a:pt x="15523" y="15912"/>
                      </a:cubicBezTo>
                      <a:cubicBezTo>
                        <a:pt x="11874" y="19380"/>
                        <a:pt x="6073" y="19261"/>
                        <a:pt x="2545" y="15553"/>
                      </a:cubicBezTo>
                      <a:cubicBezTo>
                        <a:pt x="-984" y="11845"/>
                        <a:pt x="-805" y="5984"/>
                        <a:pt x="2844" y="2515"/>
                      </a:cubicBezTo>
                      <a:close/>
                    </a:path>
                  </a:pathLst>
                </a:custGeom>
                <a:grpFill/>
                <a:ln w="5978" cap="flat">
                  <a:noFill/>
                  <a:prstDash val="solid"/>
                  <a:miter/>
                </a:ln>
              </p:spPr>
              <p:txBody>
                <a:bodyPr rtlCol="0" anchor="ctr"/>
                <a:lstStyle/>
                <a:p>
                  <a:endParaRPr lang="en-GB"/>
                </a:p>
              </p:txBody>
            </p:sp>
            <p:sp>
              <p:nvSpPr>
                <p:cNvPr id="5226" name="Vrije vorm: vorm 5225">
                  <a:extLst>
                    <a:ext uri="{FF2B5EF4-FFF2-40B4-BE49-F238E27FC236}">
                      <a16:creationId xmlns:a16="http://schemas.microsoft.com/office/drawing/2014/main" id="{4A673EBA-FD37-4B6B-BB39-3163B8FA6111}"/>
                    </a:ext>
                  </a:extLst>
                </p:cNvPr>
                <p:cNvSpPr/>
                <p:nvPr/>
              </p:nvSpPr>
              <p:spPr>
                <a:xfrm>
                  <a:off x="7550110" y="1975491"/>
                  <a:ext cx="18366" cy="18428"/>
                </a:xfrm>
                <a:custGeom>
                  <a:avLst/>
                  <a:gdLst>
                    <a:gd name="connsiteX0" fmla="*/ 2844 w 18366"/>
                    <a:gd name="connsiteY0" fmla="*/ 2493 h 18428"/>
                    <a:gd name="connsiteX1" fmla="*/ 2545 w 18366"/>
                    <a:gd name="connsiteY1" fmla="*/ 15531 h 18428"/>
                    <a:gd name="connsiteX2" fmla="*/ 15523 w 18366"/>
                    <a:gd name="connsiteY2" fmla="*/ 15890 h 18428"/>
                    <a:gd name="connsiteX3" fmla="*/ 15822 w 18366"/>
                    <a:gd name="connsiteY3" fmla="*/ 2852 h 18428"/>
                    <a:gd name="connsiteX4" fmla="*/ 2844 w 18366"/>
                    <a:gd name="connsiteY4" fmla="*/ 2493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8">
                      <a:moveTo>
                        <a:pt x="2844" y="2493"/>
                      </a:moveTo>
                      <a:cubicBezTo>
                        <a:pt x="-805" y="5962"/>
                        <a:pt x="-984" y="11823"/>
                        <a:pt x="2545" y="15531"/>
                      </a:cubicBezTo>
                      <a:cubicBezTo>
                        <a:pt x="6013" y="19239"/>
                        <a:pt x="11815" y="19419"/>
                        <a:pt x="15523" y="15890"/>
                      </a:cubicBezTo>
                      <a:cubicBezTo>
                        <a:pt x="19171" y="12421"/>
                        <a:pt x="19350" y="6560"/>
                        <a:pt x="15822" y="2852"/>
                      </a:cubicBezTo>
                      <a:cubicBezTo>
                        <a:pt x="12293" y="-796"/>
                        <a:pt x="6492" y="-976"/>
                        <a:pt x="2844" y="2493"/>
                      </a:cubicBezTo>
                      <a:close/>
                    </a:path>
                  </a:pathLst>
                </a:custGeom>
                <a:grpFill/>
                <a:ln w="5978" cap="flat">
                  <a:noFill/>
                  <a:prstDash val="solid"/>
                  <a:miter/>
                </a:ln>
              </p:spPr>
              <p:txBody>
                <a:bodyPr rtlCol="0" anchor="ctr"/>
                <a:lstStyle/>
                <a:p>
                  <a:endParaRPr lang="en-GB"/>
                </a:p>
              </p:txBody>
            </p:sp>
          </p:grpSp>
          <p:grpSp>
            <p:nvGrpSpPr>
              <p:cNvPr id="50" name="Graphic 3">
                <a:extLst>
                  <a:ext uri="{FF2B5EF4-FFF2-40B4-BE49-F238E27FC236}">
                    <a16:creationId xmlns:a16="http://schemas.microsoft.com/office/drawing/2014/main" id="{6C80F267-FCA0-459B-BCCD-88646651B129}"/>
                  </a:ext>
                </a:extLst>
              </p:cNvPr>
              <p:cNvGrpSpPr/>
              <p:nvPr/>
            </p:nvGrpSpPr>
            <p:grpSpPr>
              <a:xfrm>
                <a:off x="7559792" y="1938682"/>
                <a:ext cx="106331" cy="99142"/>
                <a:chOff x="7559792" y="1938682"/>
                <a:chExt cx="106331" cy="99142"/>
              </a:xfrm>
              <a:grpFill/>
            </p:grpSpPr>
            <p:sp>
              <p:nvSpPr>
                <p:cNvPr id="5221" name="Vrije vorm: vorm 5220">
                  <a:extLst>
                    <a:ext uri="{FF2B5EF4-FFF2-40B4-BE49-F238E27FC236}">
                      <a16:creationId xmlns:a16="http://schemas.microsoft.com/office/drawing/2014/main" id="{B2858173-FF00-42C6-BCB0-406AF9F87CE9}"/>
                    </a:ext>
                  </a:extLst>
                </p:cNvPr>
                <p:cNvSpPr/>
                <p:nvPr/>
              </p:nvSpPr>
              <p:spPr>
                <a:xfrm>
                  <a:off x="7567547" y="1946466"/>
                  <a:ext cx="90727" cy="83550"/>
                </a:xfrm>
                <a:custGeom>
                  <a:avLst/>
                  <a:gdLst>
                    <a:gd name="connsiteX0" fmla="*/ 90728 w 90727"/>
                    <a:gd name="connsiteY0" fmla="*/ 2273 h 83550"/>
                    <a:gd name="connsiteX1" fmla="*/ 2093 w 90727"/>
                    <a:gd name="connsiteY1" fmla="*/ 83551 h 83550"/>
                    <a:gd name="connsiteX2" fmla="*/ 0 w 90727"/>
                    <a:gd name="connsiteY2" fmla="*/ 81278 h 83550"/>
                    <a:gd name="connsiteX3" fmla="*/ 88694 w 90727"/>
                    <a:gd name="connsiteY3" fmla="*/ 0 h 83550"/>
                  </a:gdLst>
                  <a:ahLst/>
                  <a:cxnLst>
                    <a:cxn ang="0">
                      <a:pos x="connsiteX0" y="connsiteY0"/>
                    </a:cxn>
                    <a:cxn ang="0">
                      <a:pos x="connsiteX1" y="connsiteY1"/>
                    </a:cxn>
                    <a:cxn ang="0">
                      <a:pos x="connsiteX2" y="connsiteY2"/>
                    </a:cxn>
                    <a:cxn ang="0">
                      <a:pos x="connsiteX3" y="connsiteY3"/>
                    </a:cxn>
                  </a:cxnLst>
                  <a:rect l="l" t="t" r="r" b="b"/>
                  <a:pathLst>
                    <a:path w="90727" h="83550">
                      <a:moveTo>
                        <a:pt x="90728" y="2273"/>
                      </a:moveTo>
                      <a:lnTo>
                        <a:pt x="2093" y="83551"/>
                      </a:lnTo>
                      <a:lnTo>
                        <a:pt x="0" y="81278"/>
                      </a:lnTo>
                      <a:lnTo>
                        <a:pt x="88694" y="0"/>
                      </a:lnTo>
                      <a:close/>
                    </a:path>
                  </a:pathLst>
                </a:custGeom>
                <a:grpFill/>
                <a:ln w="5978" cap="flat">
                  <a:noFill/>
                  <a:prstDash val="solid"/>
                  <a:miter/>
                </a:ln>
              </p:spPr>
              <p:txBody>
                <a:bodyPr rtlCol="0" anchor="ctr"/>
                <a:lstStyle/>
                <a:p>
                  <a:endParaRPr lang="en-GB"/>
                </a:p>
              </p:txBody>
            </p:sp>
            <p:sp>
              <p:nvSpPr>
                <p:cNvPr id="5222" name="Vrije vorm: vorm 5221">
                  <a:extLst>
                    <a:ext uri="{FF2B5EF4-FFF2-40B4-BE49-F238E27FC236}">
                      <a16:creationId xmlns:a16="http://schemas.microsoft.com/office/drawing/2014/main" id="{05F9BD5F-C07E-410A-976E-0F5CB126D7B7}"/>
                    </a:ext>
                  </a:extLst>
                </p:cNvPr>
                <p:cNvSpPr/>
                <p:nvPr/>
              </p:nvSpPr>
              <p:spPr>
                <a:xfrm>
                  <a:off x="7647756" y="1938682"/>
                  <a:ext cx="18367" cy="18438"/>
                </a:xfrm>
                <a:custGeom>
                  <a:avLst/>
                  <a:gdLst>
                    <a:gd name="connsiteX0" fmla="*/ 2982 w 18367"/>
                    <a:gd name="connsiteY0" fmla="*/ 2401 h 18438"/>
                    <a:gd name="connsiteX1" fmla="*/ 15960 w 18367"/>
                    <a:gd name="connsiteY1" fmla="*/ 2999 h 18438"/>
                    <a:gd name="connsiteX2" fmla="*/ 15422 w 18367"/>
                    <a:gd name="connsiteY2" fmla="*/ 16038 h 18438"/>
                    <a:gd name="connsiteX3" fmla="*/ 2503 w 18367"/>
                    <a:gd name="connsiteY3" fmla="*/ 15439 h 18438"/>
                    <a:gd name="connsiteX4" fmla="*/ 2982 w 18367"/>
                    <a:gd name="connsiteY4" fmla="*/ 24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38">
                      <a:moveTo>
                        <a:pt x="2982" y="2401"/>
                      </a:moveTo>
                      <a:cubicBezTo>
                        <a:pt x="6690" y="-1008"/>
                        <a:pt x="12491" y="-768"/>
                        <a:pt x="15960" y="2999"/>
                      </a:cubicBezTo>
                      <a:cubicBezTo>
                        <a:pt x="19369" y="6767"/>
                        <a:pt x="19130" y="12569"/>
                        <a:pt x="15422" y="16038"/>
                      </a:cubicBezTo>
                      <a:cubicBezTo>
                        <a:pt x="11714" y="19446"/>
                        <a:pt x="5913" y="19207"/>
                        <a:pt x="2503" y="15439"/>
                      </a:cubicBezTo>
                      <a:cubicBezTo>
                        <a:pt x="-1025" y="11612"/>
                        <a:pt x="-786" y="5810"/>
                        <a:pt x="2982" y="2401"/>
                      </a:cubicBezTo>
                      <a:close/>
                    </a:path>
                  </a:pathLst>
                </a:custGeom>
                <a:grpFill/>
                <a:ln w="5978" cap="flat">
                  <a:noFill/>
                  <a:prstDash val="solid"/>
                  <a:miter/>
                </a:ln>
              </p:spPr>
              <p:txBody>
                <a:bodyPr rtlCol="0" anchor="ctr"/>
                <a:lstStyle/>
                <a:p>
                  <a:endParaRPr lang="en-GB"/>
                </a:p>
              </p:txBody>
            </p:sp>
            <p:sp>
              <p:nvSpPr>
                <p:cNvPr id="5223" name="Vrije vorm: vorm 5222">
                  <a:extLst>
                    <a:ext uri="{FF2B5EF4-FFF2-40B4-BE49-F238E27FC236}">
                      <a16:creationId xmlns:a16="http://schemas.microsoft.com/office/drawing/2014/main" id="{21A12824-82FA-4605-9426-6686444D0BE1}"/>
                    </a:ext>
                  </a:extLst>
                </p:cNvPr>
                <p:cNvSpPr/>
                <p:nvPr/>
              </p:nvSpPr>
              <p:spPr>
                <a:xfrm>
                  <a:off x="7559792" y="2019383"/>
                  <a:ext cx="18379" cy="18441"/>
                </a:xfrm>
                <a:custGeom>
                  <a:avLst/>
                  <a:gdLst>
                    <a:gd name="connsiteX0" fmla="*/ 2969 w 18379"/>
                    <a:gd name="connsiteY0" fmla="*/ 2380 h 18441"/>
                    <a:gd name="connsiteX1" fmla="*/ 2431 w 18379"/>
                    <a:gd name="connsiteY1" fmla="*/ 15418 h 18441"/>
                    <a:gd name="connsiteX2" fmla="*/ 15410 w 18379"/>
                    <a:gd name="connsiteY2" fmla="*/ 16016 h 18441"/>
                    <a:gd name="connsiteX3" fmla="*/ 15948 w 18379"/>
                    <a:gd name="connsiteY3" fmla="*/ 2979 h 18441"/>
                    <a:gd name="connsiteX4" fmla="*/ 2969 w 18379"/>
                    <a:gd name="connsiteY4" fmla="*/ 238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41">
                      <a:moveTo>
                        <a:pt x="2969" y="2380"/>
                      </a:moveTo>
                      <a:cubicBezTo>
                        <a:pt x="-739" y="5789"/>
                        <a:pt x="-1037" y="11651"/>
                        <a:pt x="2431" y="15418"/>
                      </a:cubicBezTo>
                      <a:cubicBezTo>
                        <a:pt x="5841" y="19186"/>
                        <a:pt x="11642" y="19485"/>
                        <a:pt x="15410" y="16016"/>
                      </a:cubicBezTo>
                      <a:cubicBezTo>
                        <a:pt x="19118" y="12607"/>
                        <a:pt x="19416" y="6746"/>
                        <a:pt x="15948" y="2979"/>
                      </a:cubicBezTo>
                      <a:cubicBezTo>
                        <a:pt x="12479" y="-730"/>
                        <a:pt x="6677" y="-1029"/>
                        <a:pt x="2969" y="2380"/>
                      </a:cubicBezTo>
                      <a:close/>
                    </a:path>
                  </a:pathLst>
                </a:custGeom>
                <a:grpFill/>
                <a:ln w="5978" cap="flat">
                  <a:noFill/>
                  <a:prstDash val="solid"/>
                  <a:miter/>
                </a:ln>
              </p:spPr>
              <p:txBody>
                <a:bodyPr rtlCol="0" anchor="ctr"/>
                <a:lstStyle/>
                <a:p>
                  <a:endParaRPr lang="en-GB"/>
                </a:p>
              </p:txBody>
            </p:sp>
          </p:grpSp>
          <p:grpSp>
            <p:nvGrpSpPr>
              <p:cNvPr id="51" name="Graphic 3">
                <a:extLst>
                  <a:ext uri="{FF2B5EF4-FFF2-40B4-BE49-F238E27FC236}">
                    <a16:creationId xmlns:a16="http://schemas.microsoft.com/office/drawing/2014/main" id="{58D521CC-573C-411A-BB36-0ACB4D99961F}"/>
                  </a:ext>
                </a:extLst>
              </p:cNvPr>
              <p:cNvGrpSpPr/>
              <p:nvPr/>
            </p:nvGrpSpPr>
            <p:grpSpPr>
              <a:xfrm>
                <a:off x="7738274" y="3421946"/>
                <a:ext cx="749962" cy="68765"/>
                <a:chOff x="7738274" y="3421946"/>
                <a:chExt cx="749962" cy="68765"/>
              </a:xfrm>
              <a:grpFill/>
            </p:grpSpPr>
            <p:sp>
              <p:nvSpPr>
                <p:cNvPr id="5218" name="Vrije vorm: vorm 5217">
                  <a:extLst>
                    <a:ext uri="{FF2B5EF4-FFF2-40B4-BE49-F238E27FC236}">
                      <a16:creationId xmlns:a16="http://schemas.microsoft.com/office/drawing/2014/main" id="{735D828D-4A4A-41E8-920E-B726903CBB68}"/>
                    </a:ext>
                  </a:extLst>
                </p:cNvPr>
                <p:cNvSpPr/>
                <p:nvPr/>
              </p:nvSpPr>
              <p:spPr>
                <a:xfrm>
                  <a:off x="7746849" y="3429565"/>
                  <a:ext cx="732758" cy="53527"/>
                </a:xfrm>
                <a:custGeom>
                  <a:avLst/>
                  <a:gdLst>
                    <a:gd name="connsiteX0" fmla="*/ 732758 w 732758"/>
                    <a:gd name="connsiteY0" fmla="*/ 50477 h 53527"/>
                    <a:gd name="connsiteX1" fmla="*/ 732579 w 732758"/>
                    <a:gd name="connsiteY1" fmla="*/ 53527 h 53527"/>
                    <a:gd name="connsiteX2" fmla="*/ 0 w 732758"/>
                    <a:gd name="connsiteY2" fmla="*/ 3050 h 53527"/>
                    <a:gd name="connsiteX3" fmla="*/ 180 w 732758"/>
                    <a:gd name="connsiteY3" fmla="*/ 0 h 53527"/>
                  </a:gdLst>
                  <a:ahLst/>
                  <a:cxnLst>
                    <a:cxn ang="0">
                      <a:pos x="connsiteX0" y="connsiteY0"/>
                    </a:cxn>
                    <a:cxn ang="0">
                      <a:pos x="connsiteX1" y="connsiteY1"/>
                    </a:cxn>
                    <a:cxn ang="0">
                      <a:pos x="connsiteX2" y="connsiteY2"/>
                    </a:cxn>
                    <a:cxn ang="0">
                      <a:pos x="connsiteX3" y="connsiteY3"/>
                    </a:cxn>
                  </a:cxnLst>
                  <a:rect l="l" t="t" r="r" b="b"/>
                  <a:pathLst>
                    <a:path w="732758" h="53527">
                      <a:moveTo>
                        <a:pt x="732758" y="50477"/>
                      </a:moveTo>
                      <a:lnTo>
                        <a:pt x="732579" y="53527"/>
                      </a:lnTo>
                      <a:lnTo>
                        <a:pt x="0" y="3050"/>
                      </a:lnTo>
                      <a:lnTo>
                        <a:pt x="180" y="0"/>
                      </a:lnTo>
                      <a:close/>
                    </a:path>
                  </a:pathLst>
                </a:custGeom>
                <a:grpFill/>
                <a:ln w="5978" cap="flat">
                  <a:noFill/>
                  <a:prstDash val="solid"/>
                  <a:miter/>
                </a:ln>
              </p:spPr>
              <p:txBody>
                <a:bodyPr rtlCol="0" anchor="ctr"/>
                <a:lstStyle/>
                <a:p>
                  <a:endParaRPr lang="en-GB"/>
                </a:p>
              </p:txBody>
            </p:sp>
            <p:sp>
              <p:nvSpPr>
                <p:cNvPr id="5219" name="Vrije vorm: vorm 5218">
                  <a:extLst>
                    <a:ext uri="{FF2B5EF4-FFF2-40B4-BE49-F238E27FC236}">
                      <a16:creationId xmlns:a16="http://schemas.microsoft.com/office/drawing/2014/main" id="{0653147B-7A7F-4F80-A9C2-54B2FC762856}"/>
                    </a:ext>
                  </a:extLst>
                </p:cNvPr>
                <p:cNvSpPr/>
                <p:nvPr/>
              </p:nvSpPr>
              <p:spPr>
                <a:xfrm>
                  <a:off x="7738274" y="3421946"/>
                  <a:ext cx="18340" cy="18407"/>
                </a:xfrm>
                <a:custGeom>
                  <a:avLst/>
                  <a:gdLst>
                    <a:gd name="connsiteX0" fmla="*/ 8575 w 18340"/>
                    <a:gd name="connsiteY0" fmla="*/ 18384 h 18407"/>
                    <a:gd name="connsiteX1" fmla="*/ 23 w 18340"/>
                    <a:gd name="connsiteY1" fmla="*/ 8576 h 18407"/>
                    <a:gd name="connsiteX2" fmla="*/ 9772 w 18340"/>
                    <a:gd name="connsiteY2" fmla="*/ 23 h 18407"/>
                    <a:gd name="connsiteX3" fmla="*/ 18324 w 18340"/>
                    <a:gd name="connsiteY3" fmla="*/ 9832 h 18407"/>
                    <a:gd name="connsiteX4" fmla="*/ 8575 w 18340"/>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7">
                      <a:moveTo>
                        <a:pt x="8575" y="18384"/>
                      </a:moveTo>
                      <a:cubicBezTo>
                        <a:pt x="3551" y="18025"/>
                        <a:pt x="-336" y="13659"/>
                        <a:pt x="23" y="8576"/>
                      </a:cubicBezTo>
                      <a:cubicBezTo>
                        <a:pt x="322" y="3492"/>
                        <a:pt x="4687" y="-336"/>
                        <a:pt x="9772" y="23"/>
                      </a:cubicBezTo>
                      <a:cubicBezTo>
                        <a:pt x="14795" y="382"/>
                        <a:pt x="18623" y="4748"/>
                        <a:pt x="18324" y="9832"/>
                      </a:cubicBezTo>
                      <a:cubicBezTo>
                        <a:pt x="17965" y="14915"/>
                        <a:pt x="13599" y="18743"/>
                        <a:pt x="8575" y="18384"/>
                      </a:cubicBezTo>
                      <a:close/>
                    </a:path>
                  </a:pathLst>
                </a:custGeom>
                <a:grpFill/>
                <a:ln w="5978" cap="flat">
                  <a:noFill/>
                  <a:prstDash val="solid"/>
                  <a:miter/>
                </a:ln>
              </p:spPr>
              <p:txBody>
                <a:bodyPr rtlCol="0" anchor="ctr"/>
                <a:lstStyle/>
                <a:p>
                  <a:endParaRPr lang="en-GB"/>
                </a:p>
              </p:txBody>
            </p:sp>
            <p:sp>
              <p:nvSpPr>
                <p:cNvPr id="5220" name="Vrije vorm: vorm 5219">
                  <a:extLst>
                    <a:ext uri="{FF2B5EF4-FFF2-40B4-BE49-F238E27FC236}">
                      <a16:creationId xmlns:a16="http://schemas.microsoft.com/office/drawing/2014/main" id="{865BDC63-9366-47FA-B6A9-F37FABA4ACD1}"/>
                    </a:ext>
                  </a:extLst>
                </p:cNvPr>
                <p:cNvSpPr/>
                <p:nvPr/>
              </p:nvSpPr>
              <p:spPr>
                <a:xfrm>
                  <a:off x="8469902" y="3472304"/>
                  <a:ext cx="18334" cy="18407"/>
                </a:xfrm>
                <a:custGeom>
                  <a:avLst/>
                  <a:gdLst>
                    <a:gd name="connsiteX0" fmla="*/ 8569 w 18334"/>
                    <a:gd name="connsiteY0" fmla="*/ 18384 h 18407"/>
                    <a:gd name="connsiteX1" fmla="*/ 18318 w 18334"/>
                    <a:gd name="connsiteY1" fmla="*/ 9832 h 18407"/>
                    <a:gd name="connsiteX2" fmla="*/ 9765 w 18334"/>
                    <a:gd name="connsiteY2" fmla="*/ 23 h 18407"/>
                    <a:gd name="connsiteX3" fmla="*/ 16 w 18334"/>
                    <a:gd name="connsiteY3" fmla="*/ 8576 h 18407"/>
                    <a:gd name="connsiteX4" fmla="*/ 8569 w 18334"/>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7">
                      <a:moveTo>
                        <a:pt x="8569" y="18384"/>
                      </a:moveTo>
                      <a:cubicBezTo>
                        <a:pt x="13593" y="18743"/>
                        <a:pt x="17959" y="14915"/>
                        <a:pt x="18318" y="9832"/>
                      </a:cubicBezTo>
                      <a:cubicBezTo>
                        <a:pt x="18616" y="4748"/>
                        <a:pt x="14789" y="382"/>
                        <a:pt x="9765" y="23"/>
                      </a:cubicBezTo>
                      <a:cubicBezTo>
                        <a:pt x="4741" y="-336"/>
                        <a:pt x="376" y="3492"/>
                        <a:pt x="16" y="8576"/>
                      </a:cubicBezTo>
                      <a:cubicBezTo>
                        <a:pt x="-283" y="13659"/>
                        <a:pt x="3545" y="18025"/>
                        <a:pt x="8569" y="18384"/>
                      </a:cubicBezTo>
                      <a:close/>
                    </a:path>
                  </a:pathLst>
                </a:custGeom>
                <a:grpFill/>
                <a:ln w="5978" cap="flat">
                  <a:noFill/>
                  <a:prstDash val="solid"/>
                  <a:miter/>
                </a:ln>
              </p:spPr>
              <p:txBody>
                <a:bodyPr rtlCol="0" anchor="ctr"/>
                <a:lstStyle/>
                <a:p>
                  <a:endParaRPr lang="en-GB"/>
                </a:p>
              </p:txBody>
            </p:sp>
          </p:grpSp>
          <p:grpSp>
            <p:nvGrpSpPr>
              <p:cNvPr id="52" name="Graphic 3">
                <a:extLst>
                  <a:ext uri="{FF2B5EF4-FFF2-40B4-BE49-F238E27FC236}">
                    <a16:creationId xmlns:a16="http://schemas.microsoft.com/office/drawing/2014/main" id="{6052AD4B-2367-4EE8-B54D-4A151818CF16}"/>
                  </a:ext>
                </a:extLst>
              </p:cNvPr>
              <p:cNvGrpSpPr/>
              <p:nvPr/>
            </p:nvGrpSpPr>
            <p:grpSpPr>
              <a:xfrm>
                <a:off x="7831089" y="2801388"/>
                <a:ext cx="120687" cy="51359"/>
                <a:chOff x="7831089" y="2801388"/>
                <a:chExt cx="120687" cy="51359"/>
              </a:xfrm>
              <a:grpFill/>
            </p:grpSpPr>
            <p:sp>
              <p:nvSpPr>
                <p:cNvPr id="5215" name="Vrije vorm: vorm 5214">
                  <a:extLst>
                    <a:ext uri="{FF2B5EF4-FFF2-40B4-BE49-F238E27FC236}">
                      <a16:creationId xmlns:a16="http://schemas.microsoft.com/office/drawing/2014/main" id="{592A7568-C927-4E54-AE8F-440E9F53EFF4}"/>
                    </a:ext>
                  </a:extLst>
                </p:cNvPr>
                <p:cNvSpPr/>
                <p:nvPr/>
              </p:nvSpPr>
              <p:spPr>
                <a:xfrm>
                  <a:off x="7839370" y="2809006"/>
                  <a:ext cx="104124" cy="36063"/>
                </a:xfrm>
                <a:custGeom>
                  <a:avLst/>
                  <a:gdLst>
                    <a:gd name="connsiteX0" fmla="*/ 103167 w 104124"/>
                    <a:gd name="connsiteY0" fmla="*/ 0 h 36063"/>
                    <a:gd name="connsiteX1" fmla="*/ 104125 w 104124"/>
                    <a:gd name="connsiteY1" fmla="*/ 2930 h 36063"/>
                    <a:gd name="connsiteX2" fmla="*/ 897 w 104124"/>
                    <a:gd name="connsiteY2" fmla="*/ 36064 h 36063"/>
                    <a:gd name="connsiteX3" fmla="*/ 0 w 104124"/>
                    <a:gd name="connsiteY3" fmla="*/ 33133 h 36063"/>
                  </a:gdLst>
                  <a:ahLst/>
                  <a:cxnLst>
                    <a:cxn ang="0">
                      <a:pos x="connsiteX0" y="connsiteY0"/>
                    </a:cxn>
                    <a:cxn ang="0">
                      <a:pos x="connsiteX1" y="connsiteY1"/>
                    </a:cxn>
                    <a:cxn ang="0">
                      <a:pos x="connsiteX2" y="connsiteY2"/>
                    </a:cxn>
                    <a:cxn ang="0">
                      <a:pos x="connsiteX3" y="connsiteY3"/>
                    </a:cxn>
                  </a:cxnLst>
                  <a:rect l="l" t="t" r="r" b="b"/>
                  <a:pathLst>
                    <a:path w="104124" h="36063">
                      <a:moveTo>
                        <a:pt x="103167" y="0"/>
                      </a:moveTo>
                      <a:lnTo>
                        <a:pt x="104125" y="2930"/>
                      </a:lnTo>
                      <a:lnTo>
                        <a:pt x="897" y="36064"/>
                      </a:lnTo>
                      <a:lnTo>
                        <a:pt x="0" y="33133"/>
                      </a:lnTo>
                      <a:close/>
                    </a:path>
                  </a:pathLst>
                </a:custGeom>
                <a:grpFill/>
                <a:ln w="5978" cap="flat">
                  <a:noFill/>
                  <a:prstDash val="solid"/>
                  <a:miter/>
                </a:ln>
              </p:spPr>
              <p:txBody>
                <a:bodyPr rtlCol="0" anchor="ctr"/>
                <a:lstStyle/>
                <a:p>
                  <a:endParaRPr lang="en-GB"/>
                </a:p>
              </p:txBody>
            </p:sp>
            <p:sp>
              <p:nvSpPr>
                <p:cNvPr id="5216" name="Vrije vorm: vorm 5215">
                  <a:extLst>
                    <a:ext uri="{FF2B5EF4-FFF2-40B4-BE49-F238E27FC236}">
                      <a16:creationId xmlns:a16="http://schemas.microsoft.com/office/drawing/2014/main" id="{ABC43A1E-8E0C-4B28-B89F-8DCD3DC33F49}"/>
                    </a:ext>
                  </a:extLst>
                </p:cNvPr>
                <p:cNvSpPr/>
                <p:nvPr/>
              </p:nvSpPr>
              <p:spPr>
                <a:xfrm>
                  <a:off x="7933419" y="2801388"/>
                  <a:ext cx="18357" cy="18465"/>
                </a:xfrm>
                <a:custGeom>
                  <a:avLst/>
                  <a:gdLst>
                    <a:gd name="connsiteX0" fmla="*/ 6368 w 18357"/>
                    <a:gd name="connsiteY0" fmla="*/ 441 h 18465"/>
                    <a:gd name="connsiteX1" fmla="*/ 17911 w 18357"/>
                    <a:gd name="connsiteY1" fmla="*/ 6422 h 18465"/>
                    <a:gd name="connsiteX2" fmla="*/ 11990 w 18357"/>
                    <a:gd name="connsiteY2" fmla="*/ 18024 h 18465"/>
                    <a:gd name="connsiteX3" fmla="*/ 447 w 18357"/>
                    <a:gd name="connsiteY3" fmla="*/ 12043 h 18465"/>
                    <a:gd name="connsiteX4" fmla="*/ 6368 w 18357"/>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65">
                      <a:moveTo>
                        <a:pt x="6368" y="441"/>
                      </a:moveTo>
                      <a:cubicBezTo>
                        <a:pt x="11212" y="-1114"/>
                        <a:pt x="16356" y="1577"/>
                        <a:pt x="17911" y="6422"/>
                      </a:cubicBezTo>
                      <a:cubicBezTo>
                        <a:pt x="19466" y="11266"/>
                        <a:pt x="16834" y="16469"/>
                        <a:pt x="11990" y="18024"/>
                      </a:cubicBezTo>
                      <a:cubicBezTo>
                        <a:pt x="7145" y="19579"/>
                        <a:pt x="2002" y="16888"/>
                        <a:pt x="447" y="12043"/>
                      </a:cubicBezTo>
                      <a:cubicBezTo>
                        <a:pt x="-1108" y="7139"/>
                        <a:pt x="1524" y="1996"/>
                        <a:pt x="6368" y="441"/>
                      </a:cubicBezTo>
                      <a:close/>
                    </a:path>
                  </a:pathLst>
                </a:custGeom>
                <a:grpFill/>
                <a:ln w="5978" cap="flat">
                  <a:noFill/>
                  <a:prstDash val="solid"/>
                  <a:miter/>
                </a:ln>
              </p:spPr>
              <p:txBody>
                <a:bodyPr rtlCol="0" anchor="ctr"/>
                <a:lstStyle/>
                <a:p>
                  <a:endParaRPr lang="en-GB"/>
                </a:p>
              </p:txBody>
            </p:sp>
            <p:sp>
              <p:nvSpPr>
                <p:cNvPr id="5217" name="Vrije vorm: vorm 5216">
                  <a:extLst>
                    <a:ext uri="{FF2B5EF4-FFF2-40B4-BE49-F238E27FC236}">
                      <a16:creationId xmlns:a16="http://schemas.microsoft.com/office/drawing/2014/main" id="{26C8F8C5-8E17-4AA1-9C11-755353EC264C}"/>
                    </a:ext>
                  </a:extLst>
                </p:cNvPr>
                <p:cNvSpPr/>
                <p:nvPr/>
              </p:nvSpPr>
              <p:spPr>
                <a:xfrm>
                  <a:off x="7831089" y="2834282"/>
                  <a:ext cx="18357" cy="18465"/>
                </a:xfrm>
                <a:custGeom>
                  <a:avLst/>
                  <a:gdLst>
                    <a:gd name="connsiteX0" fmla="*/ 6368 w 18357"/>
                    <a:gd name="connsiteY0" fmla="*/ 441 h 18465"/>
                    <a:gd name="connsiteX1" fmla="*/ 447 w 18357"/>
                    <a:gd name="connsiteY1" fmla="*/ 12043 h 18465"/>
                    <a:gd name="connsiteX2" fmla="*/ 11989 w 18357"/>
                    <a:gd name="connsiteY2" fmla="*/ 18024 h 18465"/>
                    <a:gd name="connsiteX3" fmla="*/ 17911 w 18357"/>
                    <a:gd name="connsiteY3" fmla="*/ 6422 h 18465"/>
                    <a:gd name="connsiteX4" fmla="*/ 6368 w 18357"/>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65">
                      <a:moveTo>
                        <a:pt x="6368" y="441"/>
                      </a:moveTo>
                      <a:cubicBezTo>
                        <a:pt x="1523" y="1996"/>
                        <a:pt x="-1108" y="7199"/>
                        <a:pt x="447" y="12043"/>
                      </a:cubicBezTo>
                      <a:cubicBezTo>
                        <a:pt x="2002" y="16888"/>
                        <a:pt x="7145" y="19579"/>
                        <a:pt x="11989" y="18024"/>
                      </a:cubicBezTo>
                      <a:cubicBezTo>
                        <a:pt x="16834" y="16469"/>
                        <a:pt x="19465" y="11266"/>
                        <a:pt x="17911" y="6422"/>
                      </a:cubicBezTo>
                      <a:cubicBezTo>
                        <a:pt x="16356" y="1577"/>
                        <a:pt x="11153" y="-1114"/>
                        <a:pt x="6368" y="441"/>
                      </a:cubicBezTo>
                      <a:close/>
                    </a:path>
                  </a:pathLst>
                </a:custGeom>
                <a:grpFill/>
                <a:ln w="5978" cap="flat">
                  <a:noFill/>
                  <a:prstDash val="solid"/>
                  <a:miter/>
                </a:ln>
              </p:spPr>
              <p:txBody>
                <a:bodyPr rtlCol="0" anchor="ctr"/>
                <a:lstStyle/>
                <a:p>
                  <a:endParaRPr lang="en-GB"/>
                </a:p>
              </p:txBody>
            </p:sp>
          </p:grpSp>
          <p:grpSp>
            <p:nvGrpSpPr>
              <p:cNvPr id="53" name="Graphic 3">
                <a:extLst>
                  <a:ext uri="{FF2B5EF4-FFF2-40B4-BE49-F238E27FC236}">
                    <a16:creationId xmlns:a16="http://schemas.microsoft.com/office/drawing/2014/main" id="{255106EC-B4D6-4880-8633-CAD3219F1C48}"/>
                  </a:ext>
                </a:extLst>
              </p:cNvPr>
              <p:cNvGrpSpPr/>
              <p:nvPr/>
            </p:nvGrpSpPr>
            <p:grpSpPr>
              <a:xfrm>
                <a:off x="7856067" y="3114528"/>
                <a:ext cx="259946" cy="52935"/>
                <a:chOff x="7856067" y="3114528"/>
                <a:chExt cx="259946" cy="52935"/>
              </a:xfrm>
              <a:grpFill/>
            </p:grpSpPr>
            <p:sp>
              <p:nvSpPr>
                <p:cNvPr id="5212" name="Vrije vorm: vorm 5211">
                  <a:extLst>
                    <a:ext uri="{FF2B5EF4-FFF2-40B4-BE49-F238E27FC236}">
                      <a16:creationId xmlns:a16="http://schemas.microsoft.com/office/drawing/2014/main" id="{9DC58017-574A-4F2B-93C5-45E06B97A446}"/>
                    </a:ext>
                  </a:extLst>
                </p:cNvPr>
                <p:cNvSpPr/>
                <p:nvPr/>
              </p:nvSpPr>
              <p:spPr>
                <a:xfrm>
                  <a:off x="7864490" y="3122156"/>
                  <a:ext cx="242996" cy="37678"/>
                </a:xfrm>
                <a:custGeom>
                  <a:avLst/>
                  <a:gdLst>
                    <a:gd name="connsiteX0" fmla="*/ 242578 w 242996"/>
                    <a:gd name="connsiteY0" fmla="*/ 0 h 37678"/>
                    <a:gd name="connsiteX1" fmla="*/ 242997 w 242996"/>
                    <a:gd name="connsiteY1" fmla="*/ 3050 h 37678"/>
                    <a:gd name="connsiteX2" fmla="*/ 478 w 242996"/>
                    <a:gd name="connsiteY2" fmla="*/ 37678 h 37678"/>
                    <a:gd name="connsiteX3" fmla="*/ 0 w 242996"/>
                    <a:gd name="connsiteY3" fmla="*/ 34688 h 37678"/>
                  </a:gdLst>
                  <a:ahLst/>
                  <a:cxnLst>
                    <a:cxn ang="0">
                      <a:pos x="connsiteX0" y="connsiteY0"/>
                    </a:cxn>
                    <a:cxn ang="0">
                      <a:pos x="connsiteX1" y="connsiteY1"/>
                    </a:cxn>
                    <a:cxn ang="0">
                      <a:pos x="connsiteX2" y="connsiteY2"/>
                    </a:cxn>
                    <a:cxn ang="0">
                      <a:pos x="connsiteX3" y="connsiteY3"/>
                    </a:cxn>
                  </a:cxnLst>
                  <a:rect l="l" t="t" r="r" b="b"/>
                  <a:pathLst>
                    <a:path w="242996" h="37678">
                      <a:moveTo>
                        <a:pt x="242578" y="0"/>
                      </a:moveTo>
                      <a:lnTo>
                        <a:pt x="242997" y="3050"/>
                      </a:lnTo>
                      <a:lnTo>
                        <a:pt x="478" y="37678"/>
                      </a:lnTo>
                      <a:lnTo>
                        <a:pt x="0" y="34688"/>
                      </a:lnTo>
                      <a:close/>
                    </a:path>
                  </a:pathLst>
                </a:custGeom>
                <a:grpFill/>
                <a:ln w="5978" cap="flat">
                  <a:noFill/>
                  <a:prstDash val="solid"/>
                  <a:miter/>
                </a:ln>
              </p:spPr>
              <p:txBody>
                <a:bodyPr rtlCol="0" anchor="ctr"/>
                <a:lstStyle/>
                <a:p>
                  <a:endParaRPr lang="en-GB"/>
                </a:p>
              </p:txBody>
            </p:sp>
            <p:sp>
              <p:nvSpPr>
                <p:cNvPr id="5213" name="Vrije vorm: vorm 5212">
                  <a:extLst>
                    <a:ext uri="{FF2B5EF4-FFF2-40B4-BE49-F238E27FC236}">
                      <a16:creationId xmlns:a16="http://schemas.microsoft.com/office/drawing/2014/main" id="{8B09652F-8DE5-49F6-9A97-85F7B1264D8C}"/>
                    </a:ext>
                  </a:extLst>
                </p:cNvPr>
                <p:cNvSpPr/>
                <p:nvPr/>
              </p:nvSpPr>
              <p:spPr>
                <a:xfrm>
                  <a:off x="8097689" y="3114528"/>
                  <a:ext cx="18324" cy="18426"/>
                </a:xfrm>
                <a:custGeom>
                  <a:avLst/>
                  <a:gdLst>
                    <a:gd name="connsiteX0" fmla="*/ 7824 w 18324"/>
                    <a:gd name="connsiteY0" fmla="*/ 93 h 18426"/>
                    <a:gd name="connsiteX1" fmla="*/ 18231 w 18324"/>
                    <a:gd name="connsiteY1" fmla="*/ 7927 h 18426"/>
                    <a:gd name="connsiteX2" fmla="*/ 10515 w 18324"/>
                    <a:gd name="connsiteY2" fmla="*/ 18334 h 18426"/>
                    <a:gd name="connsiteX3" fmla="*/ 109 w 18324"/>
                    <a:gd name="connsiteY3" fmla="*/ 10499 h 18426"/>
                    <a:gd name="connsiteX4" fmla="*/ 7824 w 18324"/>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6">
                      <a:moveTo>
                        <a:pt x="7824" y="93"/>
                      </a:moveTo>
                      <a:cubicBezTo>
                        <a:pt x="12848" y="-625"/>
                        <a:pt x="17512" y="2904"/>
                        <a:pt x="18231" y="7927"/>
                      </a:cubicBezTo>
                      <a:cubicBezTo>
                        <a:pt x="18948" y="12951"/>
                        <a:pt x="15479" y="17616"/>
                        <a:pt x="10515" y="18334"/>
                      </a:cubicBezTo>
                      <a:cubicBezTo>
                        <a:pt x="5492" y="19051"/>
                        <a:pt x="827" y="15523"/>
                        <a:pt x="109" y="10499"/>
                      </a:cubicBezTo>
                      <a:cubicBezTo>
                        <a:pt x="-669" y="5475"/>
                        <a:pt x="2800" y="810"/>
                        <a:pt x="7824" y="93"/>
                      </a:cubicBezTo>
                      <a:close/>
                    </a:path>
                  </a:pathLst>
                </a:custGeom>
                <a:grpFill/>
                <a:ln w="5978" cap="flat">
                  <a:noFill/>
                  <a:prstDash val="solid"/>
                  <a:miter/>
                </a:ln>
              </p:spPr>
              <p:txBody>
                <a:bodyPr rtlCol="0" anchor="ctr"/>
                <a:lstStyle/>
                <a:p>
                  <a:endParaRPr lang="en-GB"/>
                </a:p>
              </p:txBody>
            </p:sp>
            <p:sp>
              <p:nvSpPr>
                <p:cNvPr id="5214" name="Vrije vorm: vorm 5213">
                  <a:extLst>
                    <a:ext uri="{FF2B5EF4-FFF2-40B4-BE49-F238E27FC236}">
                      <a16:creationId xmlns:a16="http://schemas.microsoft.com/office/drawing/2014/main" id="{4FC977D0-B825-43D9-8B6A-EFC97C60E41A}"/>
                    </a:ext>
                  </a:extLst>
                </p:cNvPr>
                <p:cNvSpPr/>
                <p:nvPr/>
              </p:nvSpPr>
              <p:spPr>
                <a:xfrm>
                  <a:off x="7856067" y="3149036"/>
                  <a:ext cx="18339" cy="18426"/>
                </a:xfrm>
                <a:custGeom>
                  <a:avLst/>
                  <a:gdLst>
                    <a:gd name="connsiteX0" fmla="*/ 7824 w 18339"/>
                    <a:gd name="connsiteY0" fmla="*/ 93 h 18426"/>
                    <a:gd name="connsiteX1" fmla="*/ 109 w 18339"/>
                    <a:gd name="connsiteY1" fmla="*/ 10499 h 18426"/>
                    <a:gd name="connsiteX2" fmla="*/ 10515 w 18339"/>
                    <a:gd name="connsiteY2" fmla="*/ 18334 h 18426"/>
                    <a:gd name="connsiteX3" fmla="*/ 18231 w 18339"/>
                    <a:gd name="connsiteY3" fmla="*/ 7927 h 18426"/>
                    <a:gd name="connsiteX4" fmla="*/ 7824 w 18339"/>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6">
                      <a:moveTo>
                        <a:pt x="7824" y="93"/>
                      </a:moveTo>
                      <a:cubicBezTo>
                        <a:pt x="2800" y="810"/>
                        <a:pt x="-669" y="5475"/>
                        <a:pt x="109" y="10499"/>
                      </a:cubicBezTo>
                      <a:cubicBezTo>
                        <a:pt x="827" y="15523"/>
                        <a:pt x="5492" y="19052"/>
                        <a:pt x="10515" y="18334"/>
                      </a:cubicBezTo>
                      <a:cubicBezTo>
                        <a:pt x="15539" y="17616"/>
                        <a:pt x="19008" y="12951"/>
                        <a:pt x="18231" y="7927"/>
                      </a:cubicBezTo>
                      <a:cubicBezTo>
                        <a:pt x="17453" y="2904"/>
                        <a:pt x="12788" y="-625"/>
                        <a:pt x="7824" y="93"/>
                      </a:cubicBezTo>
                      <a:close/>
                    </a:path>
                  </a:pathLst>
                </a:custGeom>
                <a:grpFill/>
                <a:ln w="5978" cap="flat">
                  <a:noFill/>
                  <a:prstDash val="solid"/>
                  <a:miter/>
                </a:ln>
              </p:spPr>
              <p:txBody>
                <a:bodyPr rtlCol="0" anchor="ctr"/>
                <a:lstStyle/>
                <a:p>
                  <a:endParaRPr lang="en-GB"/>
                </a:p>
              </p:txBody>
            </p:sp>
          </p:grpSp>
          <p:grpSp>
            <p:nvGrpSpPr>
              <p:cNvPr id="54" name="Graphic 3">
                <a:extLst>
                  <a:ext uri="{FF2B5EF4-FFF2-40B4-BE49-F238E27FC236}">
                    <a16:creationId xmlns:a16="http://schemas.microsoft.com/office/drawing/2014/main" id="{4FCF5329-E5CA-4CE4-8F5C-EA3C73B376D7}"/>
                  </a:ext>
                </a:extLst>
              </p:cNvPr>
              <p:cNvGrpSpPr/>
              <p:nvPr/>
            </p:nvGrpSpPr>
            <p:grpSpPr>
              <a:xfrm>
                <a:off x="7819944" y="2828362"/>
                <a:ext cx="171265" cy="64454"/>
                <a:chOff x="7819944" y="2828362"/>
                <a:chExt cx="171265" cy="64454"/>
              </a:xfrm>
              <a:grpFill/>
            </p:grpSpPr>
            <p:sp>
              <p:nvSpPr>
                <p:cNvPr id="5209" name="Vrije vorm: vorm 5208">
                  <a:extLst>
                    <a:ext uri="{FF2B5EF4-FFF2-40B4-BE49-F238E27FC236}">
                      <a16:creationId xmlns:a16="http://schemas.microsoft.com/office/drawing/2014/main" id="{4DA32234-C75E-4A8B-A15E-5C2F7E637123}"/>
                    </a:ext>
                  </a:extLst>
                </p:cNvPr>
                <p:cNvSpPr/>
                <p:nvPr/>
              </p:nvSpPr>
              <p:spPr>
                <a:xfrm>
                  <a:off x="7828246" y="2835979"/>
                  <a:ext cx="154661" cy="49221"/>
                </a:xfrm>
                <a:custGeom>
                  <a:avLst/>
                  <a:gdLst>
                    <a:gd name="connsiteX0" fmla="*/ 153765 w 154661"/>
                    <a:gd name="connsiteY0" fmla="*/ 0 h 49221"/>
                    <a:gd name="connsiteX1" fmla="*/ 154661 w 154661"/>
                    <a:gd name="connsiteY1" fmla="*/ 2930 h 49221"/>
                    <a:gd name="connsiteX2" fmla="*/ 897 w 154661"/>
                    <a:gd name="connsiteY2" fmla="*/ 49221 h 49221"/>
                    <a:gd name="connsiteX3" fmla="*/ 0 w 154661"/>
                    <a:gd name="connsiteY3" fmla="*/ 46231 h 49221"/>
                  </a:gdLst>
                  <a:ahLst/>
                  <a:cxnLst>
                    <a:cxn ang="0">
                      <a:pos x="connsiteX0" y="connsiteY0"/>
                    </a:cxn>
                    <a:cxn ang="0">
                      <a:pos x="connsiteX1" y="connsiteY1"/>
                    </a:cxn>
                    <a:cxn ang="0">
                      <a:pos x="connsiteX2" y="connsiteY2"/>
                    </a:cxn>
                    <a:cxn ang="0">
                      <a:pos x="connsiteX3" y="connsiteY3"/>
                    </a:cxn>
                  </a:cxnLst>
                  <a:rect l="l" t="t" r="r" b="b"/>
                  <a:pathLst>
                    <a:path w="154661" h="49221">
                      <a:moveTo>
                        <a:pt x="153765" y="0"/>
                      </a:moveTo>
                      <a:lnTo>
                        <a:pt x="154661" y="2930"/>
                      </a:lnTo>
                      <a:lnTo>
                        <a:pt x="897" y="49221"/>
                      </a:lnTo>
                      <a:lnTo>
                        <a:pt x="0" y="46231"/>
                      </a:lnTo>
                      <a:close/>
                    </a:path>
                  </a:pathLst>
                </a:custGeom>
                <a:grpFill/>
                <a:ln w="5978" cap="flat">
                  <a:noFill/>
                  <a:prstDash val="solid"/>
                  <a:miter/>
                </a:ln>
              </p:spPr>
              <p:txBody>
                <a:bodyPr rtlCol="0" anchor="ctr"/>
                <a:lstStyle/>
                <a:p>
                  <a:endParaRPr lang="en-GB"/>
                </a:p>
              </p:txBody>
            </p:sp>
            <p:sp>
              <p:nvSpPr>
                <p:cNvPr id="5210" name="Vrije vorm: vorm 5209">
                  <a:extLst>
                    <a:ext uri="{FF2B5EF4-FFF2-40B4-BE49-F238E27FC236}">
                      <a16:creationId xmlns:a16="http://schemas.microsoft.com/office/drawing/2014/main" id="{67021009-AD1F-443B-835C-620439B3A327}"/>
                    </a:ext>
                  </a:extLst>
                </p:cNvPr>
                <p:cNvSpPr/>
                <p:nvPr/>
              </p:nvSpPr>
              <p:spPr>
                <a:xfrm>
                  <a:off x="7972871" y="2828362"/>
                  <a:ext cx="18338" cy="18463"/>
                </a:xfrm>
                <a:custGeom>
                  <a:avLst/>
                  <a:gdLst>
                    <a:gd name="connsiteX0" fmla="*/ 6508 w 18338"/>
                    <a:gd name="connsiteY0" fmla="*/ 380 h 18463"/>
                    <a:gd name="connsiteX1" fmla="*/ 17931 w 18338"/>
                    <a:gd name="connsiteY1" fmla="*/ 6600 h 18463"/>
                    <a:gd name="connsiteX2" fmla="*/ 11831 w 18338"/>
                    <a:gd name="connsiteY2" fmla="*/ 18083 h 18463"/>
                    <a:gd name="connsiteX3" fmla="*/ 407 w 18338"/>
                    <a:gd name="connsiteY3" fmla="*/ 11863 h 18463"/>
                    <a:gd name="connsiteX4" fmla="*/ 6508 w 18338"/>
                    <a:gd name="connsiteY4" fmla="*/ 380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3">
                      <a:moveTo>
                        <a:pt x="6508" y="380"/>
                      </a:moveTo>
                      <a:cubicBezTo>
                        <a:pt x="11353" y="-1055"/>
                        <a:pt x="16496" y="1696"/>
                        <a:pt x="17931" y="6600"/>
                      </a:cubicBezTo>
                      <a:cubicBezTo>
                        <a:pt x="19426" y="11444"/>
                        <a:pt x="16676" y="16588"/>
                        <a:pt x="11831" y="18083"/>
                      </a:cubicBezTo>
                      <a:cubicBezTo>
                        <a:pt x="6987" y="19518"/>
                        <a:pt x="1843" y="16767"/>
                        <a:pt x="407" y="11863"/>
                      </a:cubicBezTo>
                      <a:cubicBezTo>
                        <a:pt x="-1088" y="7019"/>
                        <a:pt x="1664" y="1875"/>
                        <a:pt x="6508" y="380"/>
                      </a:cubicBezTo>
                      <a:close/>
                    </a:path>
                  </a:pathLst>
                </a:custGeom>
                <a:grpFill/>
                <a:ln w="5978" cap="flat">
                  <a:noFill/>
                  <a:prstDash val="solid"/>
                  <a:miter/>
                </a:ln>
              </p:spPr>
              <p:txBody>
                <a:bodyPr rtlCol="0" anchor="ctr"/>
                <a:lstStyle/>
                <a:p>
                  <a:endParaRPr lang="en-GB"/>
                </a:p>
              </p:txBody>
            </p:sp>
            <p:sp>
              <p:nvSpPr>
                <p:cNvPr id="5211" name="Vrije vorm: vorm 5210">
                  <a:extLst>
                    <a:ext uri="{FF2B5EF4-FFF2-40B4-BE49-F238E27FC236}">
                      <a16:creationId xmlns:a16="http://schemas.microsoft.com/office/drawing/2014/main" id="{5572F803-1CDC-452B-8EA5-D6DFBFB0D37A}"/>
                    </a:ext>
                  </a:extLst>
                </p:cNvPr>
                <p:cNvSpPr/>
                <p:nvPr/>
              </p:nvSpPr>
              <p:spPr>
                <a:xfrm>
                  <a:off x="7819944" y="2874354"/>
                  <a:ext cx="18338" cy="18463"/>
                </a:xfrm>
                <a:custGeom>
                  <a:avLst/>
                  <a:gdLst>
                    <a:gd name="connsiteX0" fmla="*/ 6508 w 18338"/>
                    <a:gd name="connsiteY0" fmla="*/ 380 h 18463"/>
                    <a:gd name="connsiteX1" fmla="*/ 407 w 18338"/>
                    <a:gd name="connsiteY1" fmla="*/ 11863 h 18463"/>
                    <a:gd name="connsiteX2" fmla="*/ 11831 w 18338"/>
                    <a:gd name="connsiteY2" fmla="*/ 18083 h 18463"/>
                    <a:gd name="connsiteX3" fmla="*/ 17931 w 18338"/>
                    <a:gd name="connsiteY3" fmla="*/ 6600 h 18463"/>
                    <a:gd name="connsiteX4" fmla="*/ 6508 w 18338"/>
                    <a:gd name="connsiteY4" fmla="*/ 380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3">
                      <a:moveTo>
                        <a:pt x="6508" y="380"/>
                      </a:moveTo>
                      <a:cubicBezTo>
                        <a:pt x="1663" y="1816"/>
                        <a:pt x="-1088" y="6959"/>
                        <a:pt x="407" y="11863"/>
                      </a:cubicBezTo>
                      <a:cubicBezTo>
                        <a:pt x="1903" y="16767"/>
                        <a:pt x="6986" y="19518"/>
                        <a:pt x="11831" y="18083"/>
                      </a:cubicBezTo>
                      <a:cubicBezTo>
                        <a:pt x="16675" y="16648"/>
                        <a:pt x="19426" y="11504"/>
                        <a:pt x="17931" y="6600"/>
                      </a:cubicBezTo>
                      <a:cubicBezTo>
                        <a:pt x="16495" y="1696"/>
                        <a:pt x="11352" y="-1055"/>
                        <a:pt x="6508" y="380"/>
                      </a:cubicBezTo>
                      <a:close/>
                    </a:path>
                  </a:pathLst>
                </a:custGeom>
                <a:grpFill/>
                <a:ln w="5978" cap="flat">
                  <a:noFill/>
                  <a:prstDash val="solid"/>
                  <a:miter/>
                </a:ln>
              </p:spPr>
              <p:txBody>
                <a:bodyPr rtlCol="0" anchor="ctr"/>
                <a:lstStyle/>
                <a:p>
                  <a:endParaRPr lang="en-GB"/>
                </a:p>
              </p:txBody>
            </p:sp>
          </p:grpSp>
          <p:grpSp>
            <p:nvGrpSpPr>
              <p:cNvPr id="55" name="Graphic 3">
                <a:extLst>
                  <a:ext uri="{FF2B5EF4-FFF2-40B4-BE49-F238E27FC236}">
                    <a16:creationId xmlns:a16="http://schemas.microsoft.com/office/drawing/2014/main" id="{DD524E87-1DA8-4B0E-8AEF-4B50A90A8C44}"/>
                  </a:ext>
                </a:extLst>
              </p:cNvPr>
              <p:cNvGrpSpPr/>
              <p:nvPr/>
            </p:nvGrpSpPr>
            <p:grpSpPr>
              <a:xfrm>
                <a:off x="7395141" y="2072833"/>
                <a:ext cx="574198" cy="370848"/>
                <a:chOff x="7395141" y="2072833"/>
                <a:chExt cx="574198" cy="370848"/>
              </a:xfrm>
              <a:grpFill/>
            </p:grpSpPr>
            <p:sp>
              <p:nvSpPr>
                <p:cNvPr id="5206" name="Vrije vorm: vorm 5205">
                  <a:extLst>
                    <a:ext uri="{FF2B5EF4-FFF2-40B4-BE49-F238E27FC236}">
                      <a16:creationId xmlns:a16="http://schemas.microsoft.com/office/drawing/2014/main" id="{B9170EFF-930E-4424-A6FC-4CFAF7804E3E}"/>
                    </a:ext>
                  </a:extLst>
                </p:cNvPr>
                <p:cNvSpPr/>
                <p:nvPr/>
              </p:nvSpPr>
              <p:spPr>
                <a:xfrm>
                  <a:off x="7403407" y="2080331"/>
                  <a:ext cx="558288" cy="355511"/>
                </a:xfrm>
                <a:custGeom>
                  <a:avLst/>
                  <a:gdLst>
                    <a:gd name="connsiteX0" fmla="*/ 0 w 558288"/>
                    <a:gd name="connsiteY0" fmla="*/ 352935 h 355511"/>
                    <a:gd name="connsiteX1" fmla="*/ 556655 w 558288"/>
                    <a:gd name="connsiteY1" fmla="*/ 0 h 355511"/>
                    <a:gd name="connsiteX2" fmla="*/ 558288 w 558288"/>
                    <a:gd name="connsiteY2" fmla="*/ 2577 h 355511"/>
                    <a:gd name="connsiteX3" fmla="*/ 1633 w 558288"/>
                    <a:gd name="connsiteY3" fmla="*/ 355511 h 355511"/>
                  </a:gdLst>
                  <a:ahLst/>
                  <a:cxnLst>
                    <a:cxn ang="0">
                      <a:pos x="connsiteX0" y="connsiteY0"/>
                    </a:cxn>
                    <a:cxn ang="0">
                      <a:pos x="connsiteX1" y="connsiteY1"/>
                    </a:cxn>
                    <a:cxn ang="0">
                      <a:pos x="connsiteX2" y="connsiteY2"/>
                    </a:cxn>
                    <a:cxn ang="0">
                      <a:pos x="connsiteX3" y="connsiteY3"/>
                    </a:cxn>
                  </a:cxnLst>
                  <a:rect l="l" t="t" r="r" b="b"/>
                  <a:pathLst>
                    <a:path w="558288" h="355511">
                      <a:moveTo>
                        <a:pt x="0" y="352935"/>
                      </a:moveTo>
                      <a:lnTo>
                        <a:pt x="556655" y="0"/>
                      </a:lnTo>
                      <a:lnTo>
                        <a:pt x="558288" y="2577"/>
                      </a:lnTo>
                      <a:lnTo>
                        <a:pt x="1633" y="355511"/>
                      </a:lnTo>
                      <a:close/>
                    </a:path>
                  </a:pathLst>
                </a:custGeom>
                <a:grpFill/>
                <a:ln w="5978" cap="flat">
                  <a:noFill/>
                  <a:prstDash val="solid"/>
                  <a:miter/>
                </a:ln>
              </p:spPr>
              <p:txBody>
                <a:bodyPr rtlCol="0" anchor="ctr"/>
                <a:lstStyle/>
                <a:p>
                  <a:endParaRPr lang="en-GB"/>
                </a:p>
              </p:txBody>
            </p:sp>
            <p:sp>
              <p:nvSpPr>
                <p:cNvPr id="5207" name="Vrije vorm: vorm 5206">
                  <a:extLst>
                    <a:ext uri="{FF2B5EF4-FFF2-40B4-BE49-F238E27FC236}">
                      <a16:creationId xmlns:a16="http://schemas.microsoft.com/office/drawing/2014/main" id="{8CD8B6C6-B490-49A0-880C-8ED57B5E3AE4}"/>
                    </a:ext>
                  </a:extLst>
                </p:cNvPr>
                <p:cNvSpPr/>
                <p:nvPr/>
              </p:nvSpPr>
              <p:spPr>
                <a:xfrm>
                  <a:off x="7395141" y="2425304"/>
                  <a:ext cx="18320" cy="18377"/>
                </a:xfrm>
                <a:custGeom>
                  <a:avLst/>
                  <a:gdLst>
                    <a:gd name="connsiteX0" fmla="*/ 14036 w 18320"/>
                    <a:gd name="connsiteY0" fmla="*/ 16964 h 18377"/>
                    <a:gd name="connsiteX1" fmla="*/ 1417 w 18320"/>
                    <a:gd name="connsiteY1" fmla="*/ 14093 h 18377"/>
                    <a:gd name="connsiteX2" fmla="*/ 4228 w 18320"/>
                    <a:gd name="connsiteY2" fmla="*/ 1414 h 18377"/>
                    <a:gd name="connsiteX3" fmla="*/ 16907 w 18320"/>
                    <a:gd name="connsiteY3" fmla="*/ 4285 h 18377"/>
                    <a:gd name="connsiteX4" fmla="*/ 14036 w 18320"/>
                    <a:gd name="connsiteY4" fmla="*/ 16964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7">
                      <a:moveTo>
                        <a:pt x="14036" y="16964"/>
                      </a:moveTo>
                      <a:cubicBezTo>
                        <a:pt x="9790" y="19655"/>
                        <a:pt x="4108" y="18399"/>
                        <a:pt x="1417" y="14093"/>
                      </a:cubicBezTo>
                      <a:cubicBezTo>
                        <a:pt x="-1275" y="9787"/>
                        <a:pt x="-18" y="4105"/>
                        <a:pt x="4228" y="1414"/>
                      </a:cubicBezTo>
                      <a:cubicBezTo>
                        <a:pt x="8474" y="-1277"/>
                        <a:pt x="14156" y="-21"/>
                        <a:pt x="16907" y="4285"/>
                      </a:cubicBezTo>
                      <a:cubicBezTo>
                        <a:pt x="19598" y="8591"/>
                        <a:pt x="18342" y="14273"/>
                        <a:pt x="14036" y="16964"/>
                      </a:cubicBezTo>
                      <a:close/>
                    </a:path>
                  </a:pathLst>
                </a:custGeom>
                <a:grpFill/>
                <a:ln w="5978" cap="flat">
                  <a:noFill/>
                  <a:prstDash val="solid"/>
                  <a:miter/>
                </a:ln>
              </p:spPr>
              <p:txBody>
                <a:bodyPr rtlCol="0" anchor="ctr"/>
                <a:lstStyle/>
                <a:p>
                  <a:endParaRPr lang="en-GB"/>
                </a:p>
              </p:txBody>
            </p:sp>
            <p:sp>
              <p:nvSpPr>
                <p:cNvPr id="5208" name="Vrije vorm: vorm 5207">
                  <a:extLst>
                    <a:ext uri="{FF2B5EF4-FFF2-40B4-BE49-F238E27FC236}">
                      <a16:creationId xmlns:a16="http://schemas.microsoft.com/office/drawing/2014/main" id="{E3C2EB86-26BC-45EA-A5DF-54316AD12290}"/>
                    </a:ext>
                  </a:extLst>
                </p:cNvPr>
                <p:cNvSpPr/>
                <p:nvPr/>
              </p:nvSpPr>
              <p:spPr>
                <a:xfrm>
                  <a:off x="7951023" y="2072833"/>
                  <a:ext cx="18316" cy="18430"/>
                </a:xfrm>
                <a:custGeom>
                  <a:avLst/>
                  <a:gdLst>
                    <a:gd name="connsiteX0" fmla="*/ 14062 w 18316"/>
                    <a:gd name="connsiteY0" fmla="*/ 16990 h 18430"/>
                    <a:gd name="connsiteX1" fmla="*/ 16874 w 18316"/>
                    <a:gd name="connsiteY1" fmla="*/ 4311 h 18430"/>
                    <a:gd name="connsiteX2" fmla="*/ 4254 w 18316"/>
                    <a:gd name="connsiteY2" fmla="*/ 1440 h 18430"/>
                    <a:gd name="connsiteX3" fmla="*/ 1443 w 18316"/>
                    <a:gd name="connsiteY3" fmla="*/ 14120 h 18430"/>
                    <a:gd name="connsiteX4" fmla="*/ 14062 w 18316"/>
                    <a:gd name="connsiteY4" fmla="*/ 1699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0">
                      <a:moveTo>
                        <a:pt x="14062" y="16990"/>
                      </a:moveTo>
                      <a:cubicBezTo>
                        <a:pt x="18309" y="14299"/>
                        <a:pt x="19625" y="8617"/>
                        <a:pt x="16874" y="4311"/>
                      </a:cubicBezTo>
                      <a:cubicBezTo>
                        <a:pt x="14182" y="5"/>
                        <a:pt x="8501" y="-1311"/>
                        <a:pt x="4254" y="1440"/>
                      </a:cubicBezTo>
                      <a:cubicBezTo>
                        <a:pt x="8" y="4132"/>
                        <a:pt x="-1308" y="9814"/>
                        <a:pt x="1443" y="14120"/>
                      </a:cubicBezTo>
                      <a:cubicBezTo>
                        <a:pt x="4135" y="18426"/>
                        <a:pt x="9756" y="19742"/>
                        <a:pt x="14062" y="16990"/>
                      </a:cubicBezTo>
                      <a:close/>
                    </a:path>
                  </a:pathLst>
                </a:custGeom>
                <a:grpFill/>
                <a:ln w="5978" cap="flat">
                  <a:noFill/>
                  <a:prstDash val="solid"/>
                  <a:miter/>
                </a:ln>
              </p:spPr>
              <p:txBody>
                <a:bodyPr rtlCol="0" anchor="ctr"/>
                <a:lstStyle/>
                <a:p>
                  <a:endParaRPr lang="en-GB"/>
                </a:p>
              </p:txBody>
            </p:sp>
          </p:grpSp>
          <p:grpSp>
            <p:nvGrpSpPr>
              <p:cNvPr id="56" name="Graphic 3">
                <a:extLst>
                  <a:ext uri="{FF2B5EF4-FFF2-40B4-BE49-F238E27FC236}">
                    <a16:creationId xmlns:a16="http://schemas.microsoft.com/office/drawing/2014/main" id="{C48E2455-622B-45E1-B71E-78A9BEFB5C80}"/>
                  </a:ext>
                </a:extLst>
              </p:cNvPr>
              <p:cNvGrpSpPr/>
              <p:nvPr/>
            </p:nvGrpSpPr>
            <p:grpSpPr>
              <a:xfrm>
                <a:off x="7386637" y="1594063"/>
                <a:ext cx="256474" cy="292016"/>
                <a:chOff x="7386637" y="1594063"/>
                <a:chExt cx="256474" cy="292016"/>
              </a:xfrm>
              <a:grpFill/>
            </p:grpSpPr>
            <p:sp>
              <p:nvSpPr>
                <p:cNvPr id="5203" name="Vrije vorm: vorm 5202">
                  <a:extLst>
                    <a:ext uri="{FF2B5EF4-FFF2-40B4-BE49-F238E27FC236}">
                      <a16:creationId xmlns:a16="http://schemas.microsoft.com/office/drawing/2014/main" id="{813CC4D8-9C6E-432E-9C1D-431B84EB8398}"/>
                    </a:ext>
                  </a:extLst>
                </p:cNvPr>
                <p:cNvSpPr/>
                <p:nvPr/>
              </p:nvSpPr>
              <p:spPr>
                <a:xfrm>
                  <a:off x="7394345" y="1601917"/>
                  <a:ext cx="241082" cy="276309"/>
                </a:xfrm>
                <a:custGeom>
                  <a:avLst/>
                  <a:gdLst>
                    <a:gd name="connsiteX0" fmla="*/ 241083 w 241082"/>
                    <a:gd name="connsiteY0" fmla="*/ 2033 h 276309"/>
                    <a:gd name="connsiteX1" fmla="*/ 2333 w 241082"/>
                    <a:gd name="connsiteY1" fmla="*/ 276309 h 276309"/>
                    <a:gd name="connsiteX2" fmla="*/ 0 w 241082"/>
                    <a:gd name="connsiteY2" fmla="*/ 274276 h 276309"/>
                    <a:gd name="connsiteX3" fmla="*/ 238810 w 241082"/>
                    <a:gd name="connsiteY3" fmla="*/ 0 h 276309"/>
                  </a:gdLst>
                  <a:ahLst/>
                  <a:cxnLst>
                    <a:cxn ang="0">
                      <a:pos x="connsiteX0" y="connsiteY0"/>
                    </a:cxn>
                    <a:cxn ang="0">
                      <a:pos x="connsiteX1" y="connsiteY1"/>
                    </a:cxn>
                    <a:cxn ang="0">
                      <a:pos x="connsiteX2" y="connsiteY2"/>
                    </a:cxn>
                    <a:cxn ang="0">
                      <a:pos x="connsiteX3" y="connsiteY3"/>
                    </a:cxn>
                  </a:cxnLst>
                  <a:rect l="l" t="t" r="r" b="b"/>
                  <a:pathLst>
                    <a:path w="241082" h="276309">
                      <a:moveTo>
                        <a:pt x="241083" y="2033"/>
                      </a:moveTo>
                      <a:lnTo>
                        <a:pt x="2333" y="276309"/>
                      </a:lnTo>
                      <a:lnTo>
                        <a:pt x="0" y="274276"/>
                      </a:lnTo>
                      <a:lnTo>
                        <a:pt x="238810" y="0"/>
                      </a:lnTo>
                      <a:close/>
                    </a:path>
                  </a:pathLst>
                </a:custGeom>
                <a:grpFill/>
                <a:ln w="5978" cap="flat">
                  <a:noFill/>
                  <a:prstDash val="solid"/>
                  <a:miter/>
                </a:ln>
              </p:spPr>
              <p:txBody>
                <a:bodyPr rtlCol="0" anchor="ctr"/>
                <a:lstStyle/>
                <a:p>
                  <a:endParaRPr lang="en-GB"/>
                </a:p>
              </p:txBody>
            </p:sp>
            <p:sp>
              <p:nvSpPr>
                <p:cNvPr id="5204" name="Vrije vorm: vorm 5203">
                  <a:extLst>
                    <a:ext uri="{FF2B5EF4-FFF2-40B4-BE49-F238E27FC236}">
                      <a16:creationId xmlns:a16="http://schemas.microsoft.com/office/drawing/2014/main" id="{DBEED19E-2CD6-40EE-8E5C-52EB330194DF}"/>
                    </a:ext>
                  </a:extLst>
                </p:cNvPr>
                <p:cNvSpPr/>
                <p:nvPr/>
              </p:nvSpPr>
              <p:spPr>
                <a:xfrm>
                  <a:off x="7624814" y="1594063"/>
                  <a:ext cx="18297" cy="18398"/>
                </a:xfrm>
                <a:custGeom>
                  <a:avLst/>
                  <a:gdLst>
                    <a:gd name="connsiteX0" fmla="*/ 2241 w 18297"/>
                    <a:gd name="connsiteY0" fmla="*/ 3129 h 18398"/>
                    <a:gd name="connsiteX1" fmla="*/ 15159 w 18297"/>
                    <a:gd name="connsiteY1" fmla="*/ 2291 h 18398"/>
                    <a:gd name="connsiteX2" fmla="*/ 16057 w 18297"/>
                    <a:gd name="connsiteY2" fmla="*/ 15269 h 18398"/>
                    <a:gd name="connsiteX3" fmla="*/ 3138 w 18297"/>
                    <a:gd name="connsiteY3" fmla="*/ 16107 h 18398"/>
                    <a:gd name="connsiteX4" fmla="*/ 2241 w 18297"/>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8">
                      <a:moveTo>
                        <a:pt x="2241" y="3129"/>
                      </a:moveTo>
                      <a:cubicBezTo>
                        <a:pt x="5590" y="-699"/>
                        <a:pt x="11332" y="-1058"/>
                        <a:pt x="15159" y="2291"/>
                      </a:cubicBezTo>
                      <a:cubicBezTo>
                        <a:pt x="18987" y="5641"/>
                        <a:pt x="19346" y="11442"/>
                        <a:pt x="16057" y="15269"/>
                      </a:cubicBezTo>
                      <a:cubicBezTo>
                        <a:pt x="12707" y="19097"/>
                        <a:pt x="6966" y="19456"/>
                        <a:pt x="3138" y="16107"/>
                      </a:cubicBezTo>
                      <a:cubicBezTo>
                        <a:pt x="-690" y="12758"/>
                        <a:pt x="-1048" y="6956"/>
                        <a:pt x="2241" y="3129"/>
                      </a:cubicBezTo>
                      <a:close/>
                    </a:path>
                  </a:pathLst>
                </a:custGeom>
                <a:grpFill/>
                <a:ln w="5978" cap="flat">
                  <a:noFill/>
                  <a:prstDash val="solid"/>
                  <a:miter/>
                </a:ln>
              </p:spPr>
              <p:txBody>
                <a:bodyPr rtlCol="0" anchor="ctr"/>
                <a:lstStyle/>
                <a:p>
                  <a:endParaRPr lang="en-GB"/>
                </a:p>
              </p:txBody>
            </p:sp>
            <p:sp>
              <p:nvSpPr>
                <p:cNvPr id="5205" name="Vrije vorm: vorm 5204">
                  <a:extLst>
                    <a:ext uri="{FF2B5EF4-FFF2-40B4-BE49-F238E27FC236}">
                      <a16:creationId xmlns:a16="http://schemas.microsoft.com/office/drawing/2014/main" id="{5BEFFFCE-B278-40DB-AFFF-58E1C2E821A1}"/>
                    </a:ext>
                  </a:extLst>
                </p:cNvPr>
                <p:cNvSpPr/>
                <p:nvPr/>
              </p:nvSpPr>
              <p:spPr>
                <a:xfrm>
                  <a:off x="7386637" y="1867657"/>
                  <a:ext cx="18346" cy="18422"/>
                </a:xfrm>
                <a:custGeom>
                  <a:avLst/>
                  <a:gdLst>
                    <a:gd name="connsiteX0" fmla="*/ 2265 w 18346"/>
                    <a:gd name="connsiteY0" fmla="*/ 3153 h 18422"/>
                    <a:gd name="connsiteX1" fmla="*/ 3163 w 18346"/>
                    <a:gd name="connsiteY1" fmla="*/ 16131 h 18422"/>
                    <a:gd name="connsiteX2" fmla="*/ 16081 w 18346"/>
                    <a:gd name="connsiteY2" fmla="*/ 15294 h 18422"/>
                    <a:gd name="connsiteX3" fmla="*/ 15184 w 18346"/>
                    <a:gd name="connsiteY3" fmla="*/ 2316 h 18422"/>
                    <a:gd name="connsiteX4" fmla="*/ 2265 w 18346"/>
                    <a:gd name="connsiteY4" fmla="*/ 3153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2">
                      <a:moveTo>
                        <a:pt x="2265" y="3153"/>
                      </a:moveTo>
                      <a:cubicBezTo>
                        <a:pt x="-1084" y="6980"/>
                        <a:pt x="-665" y="12782"/>
                        <a:pt x="3163" y="16131"/>
                      </a:cubicBezTo>
                      <a:cubicBezTo>
                        <a:pt x="6990" y="19480"/>
                        <a:pt x="12792" y="19121"/>
                        <a:pt x="16081" y="15294"/>
                      </a:cubicBezTo>
                      <a:cubicBezTo>
                        <a:pt x="19430" y="11466"/>
                        <a:pt x="19012" y="5665"/>
                        <a:pt x="15184" y="2316"/>
                      </a:cubicBezTo>
                      <a:cubicBezTo>
                        <a:pt x="11416" y="-1094"/>
                        <a:pt x="5615" y="-675"/>
                        <a:pt x="2265" y="3153"/>
                      </a:cubicBezTo>
                      <a:close/>
                    </a:path>
                  </a:pathLst>
                </a:custGeom>
                <a:grpFill/>
                <a:ln w="5978" cap="flat">
                  <a:noFill/>
                  <a:prstDash val="solid"/>
                  <a:miter/>
                </a:ln>
              </p:spPr>
              <p:txBody>
                <a:bodyPr rtlCol="0" anchor="ctr"/>
                <a:lstStyle/>
                <a:p>
                  <a:endParaRPr lang="en-GB"/>
                </a:p>
              </p:txBody>
            </p:sp>
          </p:grpSp>
          <p:grpSp>
            <p:nvGrpSpPr>
              <p:cNvPr id="57" name="Graphic 3">
                <a:extLst>
                  <a:ext uri="{FF2B5EF4-FFF2-40B4-BE49-F238E27FC236}">
                    <a16:creationId xmlns:a16="http://schemas.microsoft.com/office/drawing/2014/main" id="{F21C3C2F-7CAD-40BE-A5DE-4AE1AD35985A}"/>
                  </a:ext>
                </a:extLst>
              </p:cNvPr>
              <p:cNvGrpSpPr/>
              <p:nvPr/>
            </p:nvGrpSpPr>
            <p:grpSpPr>
              <a:xfrm>
                <a:off x="7694677" y="2984209"/>
                <a:ext cx="474922" cy="79235"/>
                <a:chOff x="7694677" y="2984209"/>
                <a:chExt cx="474922" cy="79235"/>
              </a:xfrm>
              <a:grpFill/>
            </p:grpSpPr>
            <p:sp>
              <p:nvSpPr>
                <p:cNvPr id="5200" name="Vrije vorm: vorm 5199">
                  <a:extLst>
                    <a:ext uri="{FF2B5EF4-FFF2-40B4-BE49-F238E27FC236}">
                      <a16:creationId xmlns:a16="http://schemas.microsoft.com/office/drawing/2014/main" id="{742E712F-9931-4D3B-A7C5-F404255536F0}"/>
                    </a:ext>
                  </a:extLst>
                </p:cNvPr>
                <p:cNvSpPr/>
                <p:nvPr/>
              </p:nvSpPr>
              <p:spPr>
                <a:xfrm>
                  <a:off x="7703190" y="2991836"/>
                  <a:ext cx="457883" cy="63993"/>
                </a:xfrm>
                <a:custGeom>
                  <a:avLst/>
                  <a:gdLst>
                    <a:gd name="connsiteX0" fmla="*/ 457525 w 457883"/>
                    <a:gd name="connsiteY0" fmla="*/ 0 h 63993"/>
                    <a:gd name="connsiteX1" fmla="*/ 457884 w 457883"/>
                    <a:gd name="connsiteY1" fmla="*/ 3050 h 63993"/>
                    <a:gd name="connsiteX2" fmla="*/ 418 w 457883"/>
                    <a:gd name="connsiteY2" fmla="*/ 63994 h 63993"/>
                    <a:gd name="connsiteX3" fmla="*/ 0 w 457883"/>
                    <a:gd name="connsiteY3" fmla="*/ 60944 h 63993"/>
                  </a:gdLst>
                  <a:ahLst/>
                  <a:cxnLst>
                    <a:cxn ang="0">
                      <a:pos x="connsiteX0" y="connsiteY0"/>
                    </a:cxn>
                    <a:cxn ang="0">
                      <a:pos x="connsiteX1" y="connsiteY1"/>
                    </a:cxn>
                    <a:cxn ang="0">
                      <a:pos x="connsiteX2" y="connsiteY2"/>
                    </a:cxn>
                    <a:cxn ang="0">
                      <a:pos x="connsiteX3" y="connsiteY3"/>
                    </a:cxn>
                  </a:cxnLst>
                  <a:rect l="l" t="t" r="r" b="b"/>
                  <a:pathLst>
                    <a:path w="457883" h="63993">
                      <a:moveTo>
                        <a:pt x="457525" y="0"/>
                      </a:moveTo>
                      <a:lnTo>
                        <a:pt x="457884" y="3050"/>
                      </a:lnTo>
                      <a:lnTo>
                        <a:pt x="418" y="63994"/>
                      </a:lnTo>
                      <a:lnTo>
                        <a:pt x="0" y="60944"/>
                      </a:lnTo>
                      <a:close/>
                    </a:path>
                  </a:pathLst>
                </a:custGeom>
                <a:grpFill/>
                <a:ln w="5978" cap="flat">
                  <a:noFill/>
                  <a:prstDash val="solid"/>
                  <a:miter/>
                </a:ln>
              </p:spPr>
              <p:txBody>
                <a:bodyPr rtlCol="0" anchor="ctr"/>
                <a:lstStyle/>
                <a:p>
                  <a:endParaRPr lang="en-GB"/>
                </a:p>
              </p:txBody>
            </p:sp>
            <p:sp>
              <p:nvSpPr>
                <p:cNvPr id="5201" name="Vrije vorm: vorm 5200">
                  <a:extLst>
                    <a:ext uri="{FF2B5EF4-FFF2-40B4-BE49-F238E27FC236}">
                      <a16:creationId xmlns:a16="http://schemas.microsoft.com/office/drawing/2014/main" id="{051BCD54-FB63-4669-A017-7E29B7A9E5E1}"/>
                    </a:ext>
                  </a:extLst>
                </p:cNvPr>
                <p:cNvSpPr/>
                <p:nvPr/>
              </p:nvSpPr>
              <p:spPr>
                <a:xfrm>
                  <a:off x="7694677" y="3045046"/>
                  <a:ext cx="18341" cy="18398"/>
                </a:xfrm>
                <a:custGeom>
                  <a:avLst/>
                  <a:gdLst>
                    <a:gd name="connsiteX0" fmla="*/ 10427 w 18341"/>
                    <a:gd name="connsiteY0" fmla="*/ 18320 h 18398"/>
                    <a:gd name="connsiteX1" fmla="*/ 80 w 18341"/>
                    <a:gd name="connsiteY1" fmla="*/ 10425 h 18398"/>
                    <a:gd name="connsiteX2" fmla="*/ 7914 w 18341"/>
                    <a:gd name="connsiteY2" fmla="*/ 79 h 18398"/>
                    <a:gd name="connsiteX3" fmla="*/ 18262 w 18341"/>
                    <a:gd name="connsiteY3" fmla="*/ 7973 h 18398"/>
                    <a:gd name="connsiteX4" fmla="*/ 10427 w 18341"/>
                    <a:gd name="connsiteY4" fmla="*/ 1832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8">
                      <a:moveTo>
                        <a:pt x="10427" y="18320"/>
                      </a:moveTo>
                      <a:cubicBezTo>
                        <a:pt x="5403" y="18978"/>
                        <a:pt x="798" y="15449"/>
                        <a:pt x="80" y="10425"/>
                      </a:cubicBezTo>
                      <a:cubicBezTo>
                        <a:pt x="-578" y="5402"/>
                        <a:pt x="2891" y="737"/>
                        <a:pt x="7914" y="79"/>
                      </a:cubicBezTo>
                      <a:cubicBezTo>
                        <a:pt x="12939" y="-579"/>
                        <a:pt x="17544" y="2950"/>
                        <a:pt x="18262" y="7973"/>
                      </a:cubicBezTo>
                      <a:cubicBezTo>
                        <a:pt x="18919" y="13057"/>
                        <a:pt x="15450" y="17662"/>
                        <a:pt x="10427" y="18320"/>
                      </a:cubicBezTo>
                      <a:close/>
                    </a:path>
                  </a:pathLst>
                </a:custGeom>
                <a:grpFill/>
                <a:ln w="5978" cap="flat">
                  <a:noFill/>
                  <a:prstDash val="solid"/>
                  <a:miter/>
                </a:ln>
              </p:spPr>
              <p:txBody>
                <a:bodyPr rtlCol="0" anchor="ctr"/>
                <a:lstStyle/>
                <a:p>
                  <a:endParaRPr lang="en-GB"/>
                </a:p>
              </p:txBody>
            </p:sp>
            <p:sp>
              <p:nvSpPr>
                <p:cNvPr id="5202" name="Vrije vorm: vorm 5201">
                  <a:extLst>
                    <a:ext uri="{FF2B5EF4-FFF2-40B4-BE49-F238E27FC236}">
                      <a16:creationId xmlns:a16="http://schemas.microsoft.com/office/drawing/2014/main" id="{09B50CC8-E9C8-4362-BC3A-2C3EA6C22844}"/>
                    </a:ext>
                  </a:extLst>
                </p:cNvPr>
                <p:cNvSpPr/>
                <p:nvPr/>
              </p:nvSpPr>
              <p:spPr>
                <a:xfrm>
                  <a:off x="8151232" y="2984209"/>
                  <a:ext cx="18367" cy="18411"/>
                </a:xfrm>
                <a:custGeom>
                  <a:avLst/>
                  <a:gdLst>
                    <a:gd name="connsiteX0" fmla="*/ 10439 w 18367"/>
                    <a:gd name="connsiteY0" fmla="*/ 18333 h 18411"/>
                    <a:gd name="connsiteX1" fmla="*/ 18274 w 18367"/>
                    <a:gd name="connsiteY1" fmla="*/ 7986 h 18411"/>
                    <a:gd name="connsiteX2" fmla="*/ 7928 w 18367"/>
                    <a:gd name="connsiteY2" fmla="*/ 91 h 18411"/>
                    <a:gd name="connsiteX3" fmla="*/ 93 w 18367"/>
                    <a:gd name="connsiteY3" fmla="*/ 10438 h 18411"/>
                    <a:gd name="connsiteX4" fmla="*/ 10439 w 18367"/>
                    <a:gd name="connsiteY4" fmla="*/ 1833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11">
                      <a:moveTo>
                        <a:pt x="10439" y="18333"/>
                      </a:moveTo>
                      <a:cubicBezTo>
                        <a:pt x="15464" y="17675"/>
                        <a:pt x="18992" y="13010"/>
                        <a:pt x="18274" y="7986"/>
                      </a:cubicBezTo>
                      <a:cubicBezTo>
                        <a:pt x="17617" y="2962"/>
                        <a:pt x="12951" y="-626"/>
                        <a:pt x="7928" y="91"/>
                      </a:cubicBezTo>
                      <a:cubicBezTo>
                        <a:pt x="2903" y="749"/>
                        <a:pt x="-625" y="5414"/>
                        <a:pt x="93" y="10438"/>
                      </a:cubicBezTo>
                      <a:cubicBezTo>
                        <a:pt x="810" y="15462"/>
                        <a:pt x="5416" y="18991"/>
                        <a:pt x="10439" y="18333"/>
                      </a:cubicBezTo>
                      <a:close/>
                    </a:path>
                  </a:pathLst>
                </a:custGeom>
                <a:grpFill/>
                <a:ln w="5978" cap="flat">
                  <a:noFill/>
                  <a:prstDash val="solid"/>
                  <a:miter/>
                </a:ln>
              </p:spPr>
              <p:txBody>
                <a:bodyPr rtlCol="0" anchor="ctr"/>
                <a:lstStyle/>
                <a:p>
                  <a:endParaRPr lang="en-GB"/>
                </a:p>
              </p:txBody>
            </p:sp>
          </p:grpSp>
          <p:grpSp>
            <p:nvGrpSpPr>
              <p:cNvPr id="58" name="Graphic 3">
                <a:extLst>
                  <a:ext uri="{FF2B5EF4-FFF2-40B4-BE49-F238E27FC236}">
                    <a16:creationId xmlns:a16="http://schemas.microsoft.com/office/drawing/2014/main" id="{47F6DE90-34E1-4241-AF4E-DC2E7D7B097E}"/>
                  </a:ext>
                </a:extLst>
              </p:cNvPr>
              <p:cNvGrpSpPr/>
              <p:nvPr/>
            </p:nvGrpSpPr>
            <p:grpSpPr>
              <a:xfrm>
                <a:off x="7754425" y="2724726"/>
                <a:ext cx="190404" cy="80977"/>
                <a:chOff x="7754425" y="2724726"/>
                <a:chExt cx="190404" cy="80977"/>
              </a:xfrm>
              <a:grpFill/>
            </p:grpSpPr>
            <p:sp>
              <p:nvSpPr>
                <p:cNvPr id="5197" name="Vrije vorm: vorm 5196">
                  <a:extLst>
                    <a:ext uri="{FF2B5EF4-FFF2-40B4-BE49-F238E27FC236}">
                      <a16:creationId xmlns:a16="http://schemas.microsoft.com/office/drawing/2014/main" id="{8CBEA69E-8D6A-4ED3-A1EE-A18CAC8B2AB4}"/>
                    </a:ext>
                  </a:extLst>
                </p:cNvPr>
                <p:cNvSpPr/>
                <p:nvPr/>
              </p:nvSpPr>
              <p:spPr>
                <a:xfrm>
                  <a:off x="7762512" y="2732598"/>
                  <a:ext cx="174064" cy="65714"/>
                </a:xfrm>
                <a:custGeom>
                  <a:avLst/>
                  <a:gdLst>
                    <a:gd name="connsiteX0" fmla="*/ 0 w 174064"/>
                    <a:gd name="connsiteY0" fmla="*/ 62847 h 65714"/>
                    <a:gd name="connsiteX1" fmla="*/ 173023 w 174064"/>
                    <a:gd name="connsiteY1" fmla="*/ 0 h 65714"/>
                    <a:gd name="connsiteX2" fmla="*/ 174065 w 174064"/>
                    <a:gd name="connsiteY2" fmla="*/ 2867 h 65714"/>
                    <a:gd name="connsiteX3" fmla="*/ 1042 w 174064"/>
                    <a:gd name="connsiteY3" fmla="*/ 65714 h 65714"/>
                  </a:gdLst>
                  <a:ahLst/>
                  <a:cxnLst>
                    <a:cxn ang="0">
                      <a:pos x="connsiteX0" y="connsiteY0"/>
                    </a:cxn>
                    <a:cxn ang="0">
                      <a:pos x="connsiteX1" y="connsiteY1"/>
                    </a:cxn>
                    <a:cxn ang="0">
                      <a:pos x="connsiteX2" y="connsiteY2"/>
                    </a:cxn>
                    <a:cxn ang="0">
                      <a:pos x="connsiteX3" y="connsiteY3"/>
                    </a:cxn>
                  </a:cxnLst>
                  <a:rect l="l" t="t" r="r" b="b"/>
                  <a:pathLst>
                    <a:path w="174064" h="65714">
                      <a:moveTo>
                        <a:pt x="0" y="62847"/>
                      </a:moveTo>
                      <a:lnTo>
                        <a:pt x="173023" y="0"/>
                      </a:lnTo>
                      <a:lnTo>
                        <a:pt x="174065" y="2867"/>
                      </a:lnTo>
                      <a:lnTo>
                        <a:pt x="1042" y="65714"/>
                      </a:lnTo>
                      <a:close/>
                    </a:path>
                  </a:pathLst>
                </a:custGeom>
                <a:grpFill/>
                <a:ln w="5978" cap="flat">
                  <a:noFill/>
                  <a:prstDash val="solid"/>
                  <a:miter/>
                </a:ln>
              </p:spPr>
              <p:txBody>
                <a:bodyPr rtlCol="0" anchor="ctr"/>
                <a:lstStyle/>
                <a:p>
                  <a:endParaRPr lang="en-GB"/>
                </a:p>
              </p:txBody>
            </p:sp>
            <p:sp>
              <p:nvSpPr>
                <p:cNvPr id="5198" name="Vrije vorm: vorm 5197">
                  <a:extLst>
                    <a:ext uri="{FF2B5EF4-FFF2-40B4-BE49-F238E27FC236}">
                      <a16:creationId xmlns:a16="http://schemas.microsoft.com/office/drawing/2014/main" id="{5754447E-88B8-465C-ADA9-F597EFEE0F15}"/>
                    </a:ext>
                  </a:extLst>
                </p:cNvPr>
                <p:cNvSpPr/>
                <p:nvPr/>
              </p:nvSpPr>
              <p:spPr>
                <a:xfrm>
                  <a:off x="7926550" y="2724726"/>
                  <a:ext cx="18279" cy="18442"/>
                </a:xfrm>
                <a:custGeom>
                  <a:avLst/>
                  <a:gdLst>
                    <a:gd name="connsiteX0" fmla="*/ 6000 w 18279"/>
                    <a:gd name="connsiteY0" fmla="*/ 549 h 18442"/>
                    <a:gd name="connsiteX1" fmla="*/ 17722 w 18279"/>
                    <a:gd name="connsiteY1" fmla="*/ 6111 h 18442"/>
                    <a:gd name="connsiteX2" fmla="*/ 12279 w 18279"/>
                    <a:gd name="connsiteY2" fmla="*/ 17894 h 18442"/>
                    <a:gd name="connsiteX3" fmla="*/ 557 w 18279"/>
                    <a:gd name="connsiteY3" fmla="*/ 12331 h 18442"/>
                    <a:gd name="connsiteX4" fmla="*/ 6000 w 18279"/>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9" h="18442">
                      <a:moveTo>
                        <a:pt x="6000" y="549"/>
                      </a:moveTo>
                      <a:cubicBezTo>
                        <a:pt x="10724" y="-1185"/>
                        <a:pt x="15987" y="1327"/>
                        <a:pt x="17722" y="6111"/>
                      </a:cubicBezTo>
                      <a:cubicBezTo>
                        <a:pt x="19457" y="10896"/>
                        <a:pt x="17004" y="16159"/>
                        <a:pt x="12279" y="17894"/>
                      </a:cubicBezTo>
                      <a:cubicBezTo>
                        <a:pt x="7555" y="19628"/>
                        <a:pt x="2292" y="17116"/>
                        <a:pt x="557" y="12331"/>
                      </a:cubicBezTo>
                      <a:cubicBezTo>
                        <a:pt x="-1177" y="7547"/>
                        <a:pt x="1275" y="2284"/>
                        <a:pt x="6000" y="549"/>
                      </a:cubicBezTo>
                      <a:close/>
                    </a:path>
                  </a:pathLst>
                </a:custGeom>
                <a:grpFill/>
                <a:ln w="5978" cap="flat">
                  <a:noFill/>
                  <a:prstDash val="solid"/>
                  <a:miter/>
                </a:ln>
              </p:spPr>
              <p:txBody>
                <a:bodyPr rtlCol="0" anchor="ctr"/>
                <a:lstStyle/>
                <a:p>
                  <a:endParaRPr lang="en-GB"/>
                </a:p>
              </p:txBody>
            </p:sp>
            <p:sp>
              <p:nvSpPr>
                <p:cNvPr id="5199" name="Vrije vorm: vorm 5198">
                  <a:extLst>
                    <a:ext uri="{FF2B5EF4-FFF2-40B4-BE49-F238E27FC236}">
                      <a16:creationId xmlns:a16="http://schemas.microsoft.com/office/drawing/2014/main" id="{5D3AD73C-B4FB-44F3-B586-6DD69B696525}"/>
                    </a:ext>
                  </a:extLst>
                </p:cNvPr>
                <p:cNvSpPr/>
                <p:nvPr/>
              </p:nvSpPr>
              <p:spPr>
                <a:xfrm>
                  <a:off x="7754425" y="2787278"/>
                  <a:ext cx="18338" cy="18425"/>
                </a:xfrm>
                <a:custGeom>
                  <a:avLst/>
                  <a:gdLst>
                    <a:gd name="connsiteX0" fmla="*/ 6000 w 18338"/>
                    <a:gd name="connsiteY0" fmla="*/ 556 h 18425"/>
                    <a:gd name="connsiteX1" fmla="*/ 557 w 18338"/>
                    <a:gd name="connsiteY1" fmla="*/ 12338 h 18425"/>
                    <a:gd name="connsiteX2" fmla="*/ 12340 w 18338"/>
                    <a:gd name="connsiteY2" fmla="*/ 17900 h 18425"/>
                    <a:gd name="connsiteX3" fmla="*/ 17782 w 18338"/>
                    <a:gd name="connsiteY3" fmla="*/ 6118 h 18425"/>
                    <a:gd name="connsiteX4" fmla="*/ 6000 w 18338"/>
                    <a:gd name="connsiteY4" fmla="*/ 556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5">
                      <a:moveTo>
                        <a:pt x="6000" y="556"/>
                      </a:moveTo>
                      <a:cubicBezTo>
                        <a:pt x="1275" y="2290"/>
                        <a:pt x="-1177" y="7553"/>
                        <a:pt x="557" y="12338"/>
                      </a:cubicBezTo>
                      <a:cubicBezTo>
                        <a:pt x="2292" y="17123"/>
                        <a:pt x="7555" y="19575"/>
                        <a:pt x="12340" y="17900"/>
                      </a:cubicBezTo>
                      <a:cubicBezTo>
                        <a:pt x="17064" y="16166"/>
                        <a:pt x="19516" y="10903"/>
                        <a:pt x="17782" y="6118"/>
                      </a:cubicBezTo>
                      <a:cubicBezTo>
                        <a:pt x="15988" y="1274"/>
                        <a:pt x="10725" y="-1178"/>
                        <a:pt x="6000" y="556"/>
                      </a:cubicBezTo>
                      <a:close/>
                    </a:path>
                  </a:pathLst>
                </a:custGeom>
                <a:grpFill/>
                <a:ln w="5978" cap="flat">
                  <a:noFill/>
                  <a:prstDash val="solid"/>
                  <a:miter/>
                </a:ln>
              </p:spPr>
              <p:txBody>
                <a:bodyPr rtlCol="0" anchor="ctr"/>
                <a:lstStyle/>
                <a:p>
                  <a:endParaRPr lang="en-GB"/>
                </a:p>
              </p:txBody>
            </p:sp>
          </p:grpSp>
          <p:grpSp>
            <p:nvGrpSpPr>
              <p:cNvPr id="59" name="Graphic 3">
                <a:extLst>
                  <a:ext uri="{FF2B5EF4-FFF2-40B4-BE49-F238E27FC236}">
                    <a16:creationId xmlns:a16="http://schemas.microsoft.com/office/drawing/2014/main" id="{2CBDD3E8-D06B-423C-A95B-E385CD061602}"/>
                  </a:ext>
                </a:extLst>
              </p:cNvPr>
              <p:cNvGrpSpPr/>
              <p:nvPr/>
            </p:nvGrpSpPr>
            <p:grpSpPr>
              <a:xfrm>
                <a:off x="7422868" y="2136949"/>
                <a:ext cx="529244" cy="325595"/>
                <a:chOff x="7422868" y="2136949"/>
                <a:chExt cx="529244" cy="325595"/>
              </a:xfrm>
              <a:grpFill/>
            </p:grpSpPr>
            <p:sp>
              <p:nvSpPr>
                <p:cNvPr id="5194" name="Vrije vorm: vorm 5193">
                  <a:extLst>
                    <a:ext uri="{FF2B5EF4-FFF2-40B4-BE49-F238E27FC236}">
                      <a16:creationId xmlns:a16="http://schemas.microsoft.com/office/drawing/2014/main" id="{5F6B0519-5059-4A50-B754-04A50362CB2A}"/>
                    </a:ext>
                  </a:extLst>
                </p:cNvPr>
                <p:cNvSpPr/>
                <p:nvPr/>
              </p:nvSpPr>
              <p:spPr>
                <a:xfrm>
                  <a:off x="7430827" y="2144607"/>
                  <a:ext cx="513325" cy="310219"/>
                </a:xfrm>
                <a:custGeom>
                  <a:avLst/>
                  <a:gdLst>
                    <a:gd name="connsiteX0" fmla="*/ 513325 w 513325"/>
                    <a:gd name="connsiteY0" fmla="*/ 2632 h 310219"/>
                    <a:gd name="connsiteX1" fmla="*/ 1615 w 513325"/>
                    <a:gd name="connsiteY1" fmla="*/ 310220 h 310219"/>
                    <a:gd name="connsiteX2" fmla="*/ 0 w 513325"/>
                    <a:gd name="connsiteY2" fmla="*/ 307588 h 310219"/>
                    <a:gd name="connsiteX3" fmla="*/ 511710 w 513325"/>
                    <a:gd name="connsiteY3" fmla="*/ 0 h 310219"/>
                  </a:gdLst>
                  <a:ahLst/>
                  <a:cxnLst>
                    <a:cxn ang="0">
                      <a:pos x="connsiteX0" y="connsiteY0"/>
                    </a:cxn>
                    <a:cxn ang="0">
                      <a:pos x="connsiteX1" y="connsiteY1"/>
                    </a:cxn>
                    <a:cxn ang="0">
                      <a:pos x="connsiteX2" y="connsiteY2"/>
                    </a:cxn>
                    <a:cxn ang="0">
                      <a:pos x="connsiteX3" y="connsiteY3"/>
                    </a:cxn>
                  </a:cxnLst>
                  <a:rect l="l" t="t" r="r" b="b"/>
                  <a:pathLst>
                    <a:path w="513325" h="310219">
                      <a:moveTo>
                        <a:pt x="513325" y="2632"/>
                      </a:moveTo>
                      <a:lnTo>
                        <a:pt x="1615" y="310220"/>
                      </a:lnTo>
                      <a:lnTo>
                        <a:pt x="0" y="307588"/>
                      </a:lnTo>
                      <a:lnTo>
                        <a:pt x="511710" y="0"/>
                      </a:lnTo>
                      <a:close/>
                    </a:path>
                  </a:pathLst>
                </a:custGeom>
                <a:grpFill/>
                <a:ln w="5978" cap="flat">
                  <a:noFill/>
                  <a:prstDash val="solid"/>
                  <a:miter/>
                </a:ln>
              </p:spPr>
              <p:txBody>
                <a:bodyPr rtlCol="0" anchor="ctr"/>
                <a:lstStyle/>
                <a:p>
                  <a:endParaRPr lang="en-GB"/>
                </a:p>
              </p:txBody>
            </p:sp>
            <p:sp>
              <p:nvSpPr>
                <p:cNvPr id="5195" name="Vrije vorm: vorm 5194">
                  <a:extLst>
                    <a:ext uri="{FF2B5EF4-FFF2-40B4-BE49-F238E27FC236}">
                      <a16:creationId xmlns:a16="http://schemas.microsoft.com/office/drawing/2014/main" id="{255923AA-F8AF-473B-A12D-8E9CDAD35DD8}"/>
                    </a:ext>
                  </a:extLst>
                </p:cNvPr>
                <p:cNvSpPr/>
                <p:nvPr/>
              </p:nvSpPr>
              <p:spPr>
                <a:xfrm>
                  <a:off x="7422868" y="2444119"/>
                  <a:ext cx="18311" cy="18425"/>
                </a:xfrm>
                <a:custGeom>
                  <a:avLst/>
                  <a:gdLst>
                    <a:gd name="connsiteX0" fmla="*/ 13880 w 18311"/>
                    <a:gd name="connsiteY0" fmla="*/ 17108 h 18425"/>
                    <a:gd name="connsiteX1" fmla="*/ 1321 w 18311"/>
                    <a:gd name="connsiteY1" fmla="*/ 13938 h 18425"/>
                    <a:gd name="connsiteX2" fmla="*/ 4431 w 18311"/>
                    <a:gd name="connsiteY2" fmla="*/ 1318 h 18425"/>
                    <a:gd name="connsiteX3" fmla="*/ 16990 w 18311"/>
                    <a:gd name="connsiteY3" fmla="*/ 4488 h 18425"/>
                    <a:gd name="connsiteX4" fmla="*/ 13880 w 1831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5">
                      <a:moveTo>
                        <a:pt x="13880" y="17108"/>
                      </a:moveTo>
                      <a:cubicBezTo>
                        <a:pt x="9574" y="19739"/>
                        <a:pt x="3892" y="18304"/>
                        <a:pt x="1321" y="13938"/>
                      </a:cubicBezTo>
                      <a:cubicBezTo>
                        <a:pt x="-1311" y="9572"/>
                        <a:pt x="124" y="3890"/>
                        <a:pt x="4431" y="1318"/>
                      </a:cubicBezTo>
                      <a:cubicBezTo>
                        <a:pt x="8737" y="-1313"/>
                        <a:pt x="14418" y="122"/>
                        <a:pt x="16990" y="4488"/>
                      </a:cubicBezTo>
                      <a:cubicBezTo>
                        <a:pt x="19622" y="8854"/>
                        <a:pt x="18186" y="14476"/>
                        <a:pt x="13880" y="17108"/>
                      </a:cubicBezTo>
                      <a:close/>
                    </a:path>
                  </a:pathLst>
                </a:custGeom>
                <a:grpFill/>
                <a:ln w="5978" cap="flat">
                  <a:noFill/>
                  <a:prstDash val="solid"/>
                  <a:miter/>
                </a:ln>
              </p:spPr>
              <p:txBody>
                <a:bodyPr rtlCol="0" anchor="ctr"/>
                <a:lstStyle/>
                <a:p>
                  <a:endParaRPr lang="en-GB"/>
                </a:p>
              </p:txBody>
            </p:sp>
            <p:sp>
              <p:nvSpPr>
                <p:cNvPr id="5196" name="Vrije vorm: vorm 5195">
                  <a:extLst>
                    <a:ext uri="{FF2B5EF4-FFF2-40B4-BE49-F238E27FC236}">
                      <a16:creationId xmlns:a16="http://schemas.microsoft.com/office/drawing/2014/main" id="{200F5730-ACFA-43B7-9260-A03192A011EB}"/>
                    </a:ext>
                  </a:extLst>
                </p:cNvPr>
                <p:cNvSpPr/>
                <p:nvPr/>
              </p:nvSpPr>
              <p:spPr>
                <a:xfrm>
                  <a:off x="7933801" y="2136949"/>
                  <a:ext cx="18311" cy="18399"/>
                </a:xfrm>
                <a:custGeom>
                  <a:avLst/>
                  <a:gdLst>
                    <a:gd name="connsiteX0" fmla="*/ 13881 w 18311"/>
                    <a:gd name="connsiteY0" fmla="*/ 17108 h 18399"/>
                    <a:gd name="connsiteX1" fmla="*/ 16990 w 18311"/>
                    <a:gd name="connsiteY1" fmla="*/ 4488 h 18399"/>
                    <a:gd name="connsiteX2" fmla="*/ 4431 w 18311"/>
                    <a:gd name="connsiteY2" fmla="*/ 1318 h 18399"/>
                    <a:gd name="connsiteX3" fmla="*/ 1321 w 18311"/>
                    <a:gd name="connsiteY3" fmla="*/ 13938 h 18399"/>
                    <a:gd name="connsiteX4" fmla="*/ 13881 w 18311"/>
                    <a:gd name="connsiteY4" fmla="*/ 17108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399">
                      <a:moveTo>
                        <a:pt x="13881" y="17108"/>
                      </a:moveTo>
                      <a:cubicBezTo>
                        <a:pt x="18187" y="14476"/>
                        <a:pt x="19622" y="8854"/>
                        <a:pt x="16990" y="4488"/>
                      </a:cubicBezTo>
                      <a:cubicBezTo>
                        <a:pt x="14359" y="122"/>
                        <a:pt x="8737" y="-1313"/>
                        <a:pt x="4431" y="1318"/>
                      </a:cubicBezTo>
                      <a:cubicBezTo>
                        <a:pt x="125" y="3950"/>
                        <a:pt x="-1311" y="9572"/>
                        <a:pt x="1321" y="13938"/>
                      </a:cubicBezTo>
                      <a:cubicBezTo>
                        <a:pt x="3893" y="18304"/>
                        <a:pt x="9514" y="19679"/>
                        <a:pt x="13881" y="17108"/>
                      </a:cubicBezTo>
                      <a:close/>
                    </a:path>
                  </a:pathLst>
                </a:custGeom>
                <a:grpFill/>
                <a:ln w="5978" cap="flat">
                  <a:noFill/>
                  <a:prstDash val="solid"/>
                  <a:miter/>
                </a:ln>
              </p:spPr>
              <p:txBody>
                <a:bodyPr rtlCol="0" anchor="ctr"/>
                <a:lstStyle/>
                <a:p>
                  <a:endParaRPr lang="en-GB"/>
                </a:p>
              </p:txBody>
            </p:sp>
          </p:grpSp>
          <p:grpSp>
            <p:nvGrpSpPr>
              <p:cNvPr id="60" name="Graphic 3">
                <a:extLst>
                  <a:ext uri="{FF2B5EF4-FFF2-40B4-BE49-F238E27FC236}">
                    <a16:creationId xmlns:a16="http://schemas.microsoft.com/office/drawing/2014/main" id="{653FB44B-D020-4E39-97E3-F0FF1A8A99A7}"/>
                  </a:ext>
                </a:extLst>
              </p:cNvPr>
              <p:cNvGrpSpPr/>
              <p:nvPr/>
            </p:nvGrpSpPr>
            <p:grpSpPr>
              <a:xfrm>
                <a:off x="7843622" y="2981037"/>
                <a:ext cx="155945" cy="48807"/>
                <a:chOff x="7843622" y="2981037"/>
                <a:chExt cx="155945" cy="48807"/>
              </a:xfrm>
              <a:grpFill/>
            </p:grpSpPr>
            <p:sp>
              <p:nvSpPr>
                <p:cNvPr id="5191" name="Vrije vorm: vorm 5190">
                  <a:extLst>
                    <a:ext uri="{FF2B5EF4-FFF2-40B4-BE49-F238E27FC236}">
                      <a16:creationId xmlns:a16="http://schemas.microsoft.com/office/drawing/2014/main" id="{F29B971F-2A23-4E13-A8EF-D1103D7FF587}"/>
                    </a:ext>
                  </a:extLst>
                </p:cNvPr>
                <p:cNvSpPr/>
                <p:nvPr/>
              </p:nvSpPr>
              <p:spPr>
                <a:xfrm>
                  <a:off x="7851990" y="2988666"/>
                  <a:ext cx="139230" cy="33551"/>
                </a:xfrm>
                <a:custGeom>
                  <a:avLst/>
                  <a:gdLst>
                    <a:gd name="connsiteX0" fmla="*/ 138513 w 139230"/>
                    <a:gd name="connsiteY0" fmla="*/ 0 h 33551"/>
                    <a:gd name="connsiteX1" fmla="*/ 139231 w 139230"/>
                    <a:gd name="connsiteY1" fmla="*/ 2990 h 33551"/>
                    <a:gd name="connsiteX2" fmla="*/ 658 w 139230"/>
                    <a:gd name="connsiteY2" fmla="*/ 33552 h 33551"/>
                    <a:gd name="connsiteX3" fmla="*/ 0 w 139230"/>
                    <a:gd name="connsiteY3" fmla="*/ 30561 h 33551"/>
                  </a:gdLst>
                  <a:ahLst/>
                  <a:cxnLst>
                    <a:cxn ang="0">
                      <a:pos x="connsiteX0" y="connsiteY0"/>
                    </a:cxn>
                    <a:cxn ang="0">
                      <a:pos x="connsiteX1" y="connsiteY1"/>
                    </a:cxn>
                    <a:cxn ang="0">
                      <a:pos x="connsiteX2" y="connsiteY2"/>
                    </a:cxn>
                    <a:cxn ang="0">
                      <a:pos x="connsiteX3" y="connsiteY3"/>
                    </a:cxn>
                  </a:cxnLst>
                  <a:rect l="l" t="t" r="r" b="b"/>
                  <a:pathLst>
                    <a:path w="139230" h="33551">
                      <a:moveTo>
                        <a:pt x="138513" y="0"/>
                      </a:moveTo>
                      <a:lnTo>
                        <a:pt x="139231" y="2990"/>
                      </a:lnTo>
                      <a:lnTo>
                        <a:pt x="658" y="33552"/>
                      </a:lnTo>
                      <a:lnTo>
                        <a:pt x="0" y="30561"/>
                      </a:lnTo>
                      <a:close/>
                    </a:path>
                  </a:pathLst>
                </a:custGeom>
                <a:grpFill/>
                <a:ln w="5978" cap="flat">
                  <a:noFill/>
                  <a:prstDash val="solid"/>
                  <a:miter/>
                </a:ln>
              </p:spPr>
              <p:txBody>
                <a:bodyPr rtlCol="0" anchor="ctr"/>
                <a:lstStyle/>
                <a:p>
                  <a:endParaRPr lang="en-GB"/>
                </a:p>
              </p:txBody>
            </p:sp>
            <p:sp>
              <p:nvSpPr>
                <p:cNvPr id="5192" name="Vrije vorm: vorm 5191">
                  <a:extLst>
                    <a:ext uri="{FF2B5EF4-FFF2-40B4-BE49-F238E27FC236}">
                      <a16:creationId xmlns:a16="http://schemas.microsoft.com/office/drawing/2014/main" id="{A4498C66-9DFD-4715-99CF-C0BD4D2D2E95}"/>
                    </a:ext>
                  </a:extLst>
                </p:cNvPr>
                <p:cNvSpPr/>
                <p:nvPr/>
              </p:nvSpPr>
              <p:spPr>
                <a:xfrm>
                  <a:off x="7981259" y="2981037"/>
                  <a:ext cx="18308" cy="18367"/>
                </a:xfrm>
                <a:custGeom>
                  <a:avLst/>
                  <a:gdLst>
                    <a:gd name="connsiteX0" fmla="*/ 7151 w 18308"/>
                    <a:gd name="connsiteY0" fmla="*/ 213 h 18367"/>
                    <a:gd name="connsiteX1" fmla="*/ 18095 w 18308"/>
                    <a:gd name="connsiteY1" fmla="*/ 7210 h 18367"/>
                    <a:gd name="connsiteX2" fmla="*/ 11158 w 18308"/>
                    <a:gd name="connsiteY2" fmla="*/ 18155 h 18367"/>
                    <a:gd name="connsiteX3" fmla="*/ 213 w 18308"/>
                    <a:gd name="connsiteY3" fmla="*/ 11158 h 18367"/>
                    <a:gd name="connsiteX4" fmla="*/ 7151 w 18308"/>
                    <a:gd name="connsiteY4" fmla="*/ 21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367">
                      <a:moveTo>
                        <a:pt x="7151" y="213"/>
                      </a:moveTo>
                      <a:cubicBezTo>
                        <a:pt x="12114" y="-864"/>
                        <a:pt x="17019" y="2246"/>
                        <a:pt x="18095" y="7210"/>
                      </a:cubicBezTo>
                      <a:cubicBezTo>
                        <a:pt x="19172" y="12174"/>
                        <a:pt x="16062" y="17079"/>
                        <a:pt x="11158" y="18155"/>
                      </a:cubicBezTo>
                      <a:cubicBezTo>
                        <a:pt x="6194" y="19232"/>
                        <a:pt x="1290" y="16122"/>
                        <a:pt x="213" y="11158"/>
                      </a:cubicBezTo>
                      <a:cubicBezTo>
                        <a:pt x="-863" y="6253"/>
                        <a:pt x="2247" y="1349"/>
                        <a:pt x="7151" y="213"/>
                      </a:cubicBezTo>
                      <a:close/>
                    </a:path>
                  </a:pathLst>
                </a:custGeom>
                <a:grpFill/>
                <a:ln w="5978" cap="flat">
                  <a:noFill/>
                  <a:prstDash val="solid"/>
                  <a:miter/>
                </a:ln>
              </p:spPr>
              <p:txBody>
                <a:bodyPr rtlCol="0" anchor="ctr"/>
                <a:lstStyle/>
                <a:p>
                  <a:endParaRPr lang="en-GB"/>
                </a:p>
              </p:txBody>
            </p:sp>
            <p:sp>
              <p:nvSpPr>
                <p:cNvPr id="5193" name="Vrije vorm: vorm 5192">
                  <a:extLst>
                    <a:ext uri="{FF2B5EF4-FFF2-40B4-BE49-F238E27FC236}">
                      <a16:creationId xmlns:a16="http://schemas.microsoft.com/office/drawing/2014/main" id="{7D22349D-8C42-4388-BBA6-7AB1274196FA}"/>
                    </a:ext>
                  </a:extLst>
                </p:cNvPr>
                <p:cNvSpPr/>
                <p:nvPr/>
              </p:nvSpPr>
              <p:spPr>
                <a:xfrm>
                  <a:off x="7843622" y="3011422"/>
                  <a:ext cx="18351" cy="18421"/>
                </a:xfrm>
                <a:custGeom>
                  <a:avLst/>
                  <a:gdLst>
                    <a:gd name="connsiteX0" fmla="*/ 7172 w 18351"/>
                    <a:gd name="connsiteY0" fmla="*/ 210 h 18421"/>
                    <a:gd name="connsiteX1" fmla="*/ 234 w 18351"/>
                    <a:gd name="connsiteY1" fmla="*/ 11155 h 18421"/>
                    <a:gd name="connsiteX2" fmla="*/ 11179 w 18351"/>
                    <a:gd name="connsiteY2" fmla="*/ 18212 h 18421"/>
                    <a:gd name="connsiteX3" fmla="*/ 18117 w 18351"/>
                    <a:gd name="connsiteY3" fmla="*/ 7267 h 18421"/>
                    <a:gd name="connsiteX4" fmla="*/ 7172 w 18351"/>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1">
                      <a:moveTo>
                        <a:pt x="7172" y="210"/>
                      </a:moveTo>
                      <a:cubicBezTo>
                        <a:pt x="2208" y="1286"/>
                        <a:pt x="-902" y="6191"/>
                        <a:pt x="234" y="11155"/>
                      </a:cubicBezTo>
                      <a:cubicBezTo>
                        <a:pt x="1311" y="16119"/>
                        <a:pt x="6215" y="19288"/>
                        <a:pt x="11179" y="18212"/>
                      </a:cubicBezTo>
                      <a:cubicBezTo>
                        <a:pt x="16143" y="17135"/>
                        <a:pt x="19253" y="12231"/>
                        <a:pt x="18117" y="7267"/>
                      </a:cubicBezTo>
                      <a:cubicBezTo>
                        <a:pt x="16980" y="2303"/>
                        <a:pt x="12076" y="-867"/>
                        <a:pt x="7172" y="210"/>
                      </a:cubicBezTo>
                      <a:close/>
                    </a:path>
                  </a:pathLst>
                </a:custGeom>
                <a:grpFill/>
                <a:ln w="5978" cap="flat">
                  <a:noFill/>
                  <a:prstDash val="solid"/>
                  <a:miter/>
                </a:ln>
              </p:spPr>
              <p:txBody>
                <a:bodyPr rtlCol="0" anchor="ctr"/>
                <a:lstStyle/>
                <a:p>
                  <a:endParaRPr lang="en-GB"/>
                </a:p>
              </p:txBody>
            </p:sp>
          </p:grpSp>
          <p:grpSp>
            <p:nvGrpSpPr>
              <p:cNvPr id="61" name="Graphic 3">
                <a:extLst>
                  <a:ext uri="{FF2B5EF4-FFF2-40B4-BE49-F238E27FC236}">
                    <a16:creationId xmlns:a16="http://schemas.microsoft.com/office/drawing/2014/main" id="{D0736012-3632-4F32-83C8-4537BAEA3A07}"/>
                  </a:ext>
                </a:extLst>
              </p:cNvPr>
              <p:cNvGrpSpPr/>
              <p:nvPr/>
            </p:nvGrpSpPr>
            <p:grpSpPr>
              <a:xfrm>
                <a:off x="8006765" y="3348225"/>
                <a:ext cx="78657" cy="20163"/>
                <a:chOff x="8006765" y="3348225"/>
                <a:chExt cx="78657" cy="20163"/>
              </a:xfrm>
              <a:grpFill/>
            </p:grpSpPr>
            <p:sp>
              <p:nvSpPr>
                <p:cNvPr id="5188" name="Vrije vorm: vorm 5187">
                  <a:extLst>
                    <a:ext uri="{FF2B5EF4-FFF2-40B4-BE49-F238E27FC236}">
                      <a16:creationId xmlns:a16="http://schemas.microsoft.com/office/drawing/2014/main" id="{13C034E1-367F-42DD-9335-B7EE2A9C1E4C}"/>
                    </a:ext>
                  </a:extLst>
                </p:cNvPr>
                <p:cNvSpPr/>
                <p:nvPr/>
              </p:nvSpPr>
              <p:spPr>
                <a:xfrm>
                  <a:off x="8015443" y="3355883"/>
                  <a:ext cx="61362" cy="4904"/>
                </a:xfrm>
                <a:custGeom>
                  <a:avLst/>
                  <a:gdLst>
                    <a:gd name="connsiteX0" fmla="*/ 61243 w 61362"/>
                    <a:gd name="connsiteY0" fmla="*/ 0 h 4904"/>
                    <a:gd name="connsiteX1" fmla="*/ 61362 w 61362"/>
                    <a:gd name="connsiteY1" fmla="*/ 3110 h 4904"/>
                    <a:gd name="connsiteX2" fmla="*/ 120 w 61362"/>
                    <a:gd name="connsiteY2" fmla="*/ 4904 h 4904"/>
                    <a:gd name="connsiteX3" fmla="*/ 0 w 61362"/>
                    <a:gd name="connsiteY3" fmla="*/ 1854 h 4904"/>
                  </a:gdLst>
                  <a:ahLst/>
                  <a:cxnLst>
                    <a:cxn ang="0">
                      <a:pos x="connsiteX0" y="connsiteY0"/>
                    </a:cxn>
                    <a:cxn ang="0">
                      <a:pos x="connsiteX1" y="connsiteY1"/>
                    </a:cxn>
                    <a:cxn ang="0">
                      <a:pos x="connsiteX2" y="connsiteY2"/>
                    </a:cxn>
                    <a:cxn ang="0">
                      <a:pos x="connsiteX3" y="connsiteY3"/>
                    </a:cxn>
                  </a:cxnLst>
                  <a:rect l="l" t="t" r="r" b="b"/>
                  <a:pathLst>
                    <a:path w="61362" h="4904">
                      <a:moveTo>
                        <a:pt x="61243" y="0"/>
                      </a:moveTo>
                      <a:lnTo>
                        <a:pt x="61362" y="3110"/>
                      </a:lnTo>
                      <a:lnTo>
                        <a:pt x="120" y="4904"/>
                      </a:lnTo>
                      <a:lnTo>
                        <a:pt x="0" y="1854"/>
                      </a:lnTo>
                      <a:close/>
                    </a:path>
                  </a:pathLst>
                </a:custGeom>
                <a:grpFill/>
                <a:ln w="5978" cap="flat">
                  <a:noFill/>
                  <a:prstDash val="solid"/>
                  <a:miter/>
                </a:ln>
              </p:spPr>
              <p:txBody>
                <a:bodyPr rtlCol="0" anchor="ctr"/>
                <a:lstStyle/>
                <a:p>
                  <a:endParaRPr lang="en-GB"/>
                </a:p>
              </p:txBody>
            </p:sp>
            <p:sp>
              <p:nvSpPr>
                <p:cNvPr id="5189" name="Vrije vorm: vorm 5188">
                  <a:extLst>
                    <a:ext uri="{FF2B5EF4-FFF2-40B4-BE49-F238E27FC236}">
                      <a16:creationId xmlns:a16="http://schemas.microsoft.com/office/drawing/2014/main" id="{8DC5A092-82FC-4DD9-AFC5-2D0CA15B7D68}"/>
                    </a:ext>
                  </a:extLst>
                </p:cNvPr>
                <p:cNvSpPr/>
                <p:nvPr/>
              </p:nvSpPr>
              <p:spPr>
                <a:xfrm>
                  <a:off x="8067111" y="3348225"/>
                  <a:ext cx="18312" cy="18366"/>
                </a:xfrm>
                <a:custGeom>
                  <a:avLst/>
                  <a:gdLst>
                    <a:gd name="connsiteX0" fmla="*/ 8857 w 18312"/>
                    <a:gd name="connsiteY0" fmla="*/ 3 h 18366"/>
                    <a:gd name="connsiteX1" fmla="*/ 18306 w 18312"/>
                    <a:gd name="connsiteY1" fmla="*/ 8914 h 18366"/>
                    <a:gd name="connsiteX2" fmla="*/ 9455 w 18312"/>
                    <a:gd name="connsiteY2" fmla="*/ 18364 h 18366"/>
                    <a:gd name="connsiteX3" fmla="*/ 6 w 18312"/>
                    <a:gd name="connsiteY3" fmla="*/ 9452 h 18366"/>
                    <a:gd name="connsiteX4" fmla="*/ 8857 w 18312"/>
                    <a:gd name="connsiteY4" fmla="*/ 3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66">
                      <a:moveTo>
                        <a:pt x="8857" y="3"/>
                      </a:moveTo>
                      <a:cubicBezTo>
                        <a:pt x="13941" y="-117"/>
                        <a:pt x="18128" y="3830"/>
                        <a:pt x="18306" y="8914"/>
                      </a:cubicBezTo>
                      <a:cubicBezTo>
                        <a:pt x="18486" y="13998"/>
                        <a:pt x="14539" y="18244"/>
                        <a:pt x="9455" y="18364"/>
                      </a:cubicBezTo>
                      <a:cubicBezTo>
                        <a:pt x="4372" y="18483"/>
                        <a:pt x="185" y="14536"/>
                        <a:pt x="6" y="9452"/>
                      </a:cubicBezTo>
                      <a:cubicBezTo>
                        <a:pt x="-174" y="4428"/>
                        <a:pt x="3834" y="182"/>
                        <a:pt x="8857" y="3"/>
                      </a:cubicBezTo>
                      <a:close/>
                    </a:path>
                  </a:pathLst>
                </a:custGeom>
                <a:grpFill/>
                <a:ln w="5978" cap="flat">
                  <a:noFill/>
                  <a:prstDash val="solid"/>
                  <a:miter/>
                </a:ln>
              </p:spPr>
              <p:txBody>
                <a:bodyPr rtlCol="0" anchor="ctr"/>
                <a:lstStyle/>
                <a:p>
                  <a:endParaRPr lang="en-GB"/>
                </a:p>
              </p:txBody>
            </p:sp>
            <p:sp>
              <p:nvSpPr>
                <p:cNvPr id="5190" name="Vrije vorm: vorm 5189">
                  <a:extLst>
                    <a:ext uri="{FF2B5EF4-FFF2-40B4-BE49-F238E27FC236}">
                      <a16:creationId xmlns:a16="http://schemas.microsoft.com/office/drawing/2014/main" id="{C8DFBA75-79A4-41CE-9C56-39BA2ACE10B4}"/>
                    </a:ext>
                  </a:extLst>
                </p:cNvPr>
                <p:cNvSpPr/>
                <p:nvPr/>
              </p:nvSpPr>
              <p:spPr>
                <a:xfrm>
                  <a:off x="8006765" y="3350016"/>
                  <a:ext cx="18312" cy="18372"/>
                </a:xfrm>
                <a:custGeom>
                  <a:avLst/>
                  <a:gdLst>
                    <a:gd name="connsiteX0" fmla="*/ 8857 w 18312"/>
                    <a:gd name="connsiteY0" fmla="*/ 6 h 18372"/>
                    <a:gd name="connsiteX1" fmla="*/ 6 w 18312"/>
                    <a:gd name="connsiteY1" fmla="*/ 9455 h 18372"/>
                    <a:gd name="connsiteX2" fmla="*/ 9455 w 18312"/>
                    <a:gd name="connsiteY2" fmla="*/ 18367 h 18372"/>
                    <a:gd name="connsiteX3" fmla="*/ 18307 w 18312"/>
                    <a:gd name="connsiteY3" fmla="*/ 8917 h 18372"/>
                    <a:gd name="connsiteX4" fmla="*/ 8857 w 18312"/>
                    <a:gd name="connsiteY4" fmla="*/ 6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6"/>
                      </a:moveTo>
                      <a:cubicBezTo>
                        <a:pt x="3773" y="126"/>
                        <a:pt x="-174" y="4372"/>
                        <a:pt x="6" y="9455"/>
                      </a:cubicBezTo>
                      <a:cubicBezTo>
                        <a:pt x="185" y="14539"/>
                        <a:pt x="4432" y="18546"/>
                        <a:pt x="9455" y="18367"/>
                      </a:cubicBezTo>
                      <a:cubicBezTo>
                        <a:pt x="14539" y="18247"/>
                        <a:pt x="18486" y="14001"/>
                        <a:pt x="18307" y="8917"/>
                      </a:cubicBezTo>
                      <a:cubicBezTo>
                        <a:pt x="18187" y="3834"/>
                        <a:pt x="13941" y="-174"/>
                        <a:pt x="8857" y="6"/>
                      </a:cubicBezTo>
                      <a:close/>
                    </a:path>
                  </a:pathLst>
                </a:custGeom>
                <a:grpFill/>
                <a:ln w="5978" cap="flat">
                  <a:noFill/>
                  <a:prstDash val="solid"/>
                  <a:miter/>
                </a:ln>
              </p:spPr>
              <p:txBody>
                <a:bodyPr rtlCol="0" anchor="ctr"/>
                <a:lstStyle/>
                <a:p>
                  <a:endParaRPr lang="en-GB"/>
                </a:p>
              </p:txBody>
            </p:sp>
          </p:grpSp>
          <p:grpSp>
            <p:nvGrpSpPr>
              <p:cNvPr id="62" name="Graphic 3">
                <a:extLst>
                  <a:ext uri="{FF2B5EF4-FFF2-40B4-BE49-F238E27FC236}">
                    <a16:creationId xmlns:a16="http://schemas.microsoft.com/office/drawing/2014/main" id="{B3165EAC-4141-4C11-AEB6-D6B1F9B5769C}"/>
                  </a:ext>
                </a:extLst>
              </p:cNvPr>
              <p:cNvGrpSpPr/>
              <p:nvPr/>
            </p:nvGrpSpPr>
            <p:grpSpPr>
              <a:xfrm>
                <a:off x="7860839" y="3456416"/>
                <a:ext cx="432889" cy="29490"/>
                <a:chOff x="7860839" y="3456416"/>
                <a:chExt cx="432889" cy="29490"/>
              </a:xfrm>
              <a:grpFill/>
            </p:grpSpPr>
            <p:sp>
              <p:nvSpPr>
                <p:cNvPr id="5185" name="Vrije vorm: vorm 5184">
                  <a:extLst>
                    <a:ext uri="{FF2B5EF4-FFF2-40B4-BE49-F238E27FC236}">
                      <a16:creationId xmlns:a16="http://schemas.microsoft.com/office/drawing/2014/main" id="{AA34957F-2D80-42C8-9970-7F5964766279}"/>
                    </a:ext>
                  </a:extLst>
                </p:cNvPr>
                <p:cNvSpPr/>
                <p:nvPr/>
              </p:nvSpPr>
              <p:spPr>
                <a:xfrm>
                  <a:off x="7869573" y="3464074"/>
                  <a:ext cx="415480" cy="14174"/>
                </a:xfrm>
                <a:custGeom>
                  <a:avLst/>
                  <a:gdLst>
                    <a:gd name="connsiteX0" fmla="*/ 415481 w 415480"/>
                    <a:gd name="connsiteY0" fmla="*/ 11124 h 14174"/>
                    <a:gd name="connsiteX1" fmla="*/ 415421 w 415480"/>
                    <a:gd name="connsiteY1" fmla="*/ 14174 h 14174"/>
                    <a:gd name="connsiteX2" fmla="*/ 0 w 415480"/>
                    <a:gd name="connsiteY2" fmla="*/ 3050 h 14174"/>
                    <a:gd name="connsiteX3" fmla="*/ 60 w 415480"/>
                    <a:gd name="connsiteY3" fmla="*/ 0 h 14174"/>
                  </a:gdLst>
                  <a:ahLst/>
                  <a:cxnLst>
                    <a:cxn ang="0">
                      <a:pos x="connsiteX0" y="connsiteY0"/>
                    </a:cxn>
                    <a:cxn ang="0">
                      <a:pos x="connsiteX1" y="connsiteY1"/>
                    </a:cxn>
                    <a:cxn ang="0">
                      <a:pos x="connsiteX2" y="connsiteY2"/>
                    </a:cxn>
                    <a:cxn ang="0">
                      <a:pos x="connsiteX3" y="connsiteY3"/>
                    </a:cxn>
                  </a:cxnLst>
                  <a:rect l="l" t="t" r="r" b="b"/>
                  <a:pathLst>
                    <a:path w="415480" h="14174">
                      <a:moveTo>
                        <a:pt x="415481" y="11124"/>
                      </a:moveTo>
                      <a:lnTo>
                        <a:pt x="415421" y="14174"/>
                      </a:lnTo>
                      <a:lnTo>
                        <a:pt x="0" y="3050"/>
                      </a:lnTo>
                      <a:lnTo>
                        <a:pt x="60" y="0"/>
                      </a:lnTo>
                      <a:close/>
                    </a:path>
                  </a:pathLst>
                </a:custGeom>
                <a:grpFill/>
                <a:ln w="5978" cap="flat">
                  <a:noFill/>
                  <a:prstDash val="solid"/>
                  <a:miter/>
                </a:ln>
              </p:spPr>
              <p:txBody>
                <a:bodyPr rtlCol="0" anchor="ctr"/>
                <a:lstStyle/>
                <a:p>
                  <a:endParaRPr lang="en-GB"/>
                </a:p>
              </p:txBody>
            </p:sp>
            <p:sp>
              <p:nvSpPr>
                <p:cNvPr id="5186" name="Vrije vorm: vorm 5185">
                  <a:extLst>
                    <a:ext uri="{FF2B5EF4-FFF2-40B4-BE49-F238E27FC236}">
                      <a16:creationId xmlns:a16="http://schemas.microsoft.com/office/drawing/2014/main" id="{860F1A41-7392-4B48-8DB2-E141ED390A53}"/>
                    </a:ext>
                  </a:extLst>
                </p:cNvPr>
                <p:cNvSpPr/>
                <p:nvPr/>
              </p:nvSpPr>
              <p:spPr>
                <a:xfrm>
                  <a:off x="8275362" y="3467480"/>
                  <a:ext cx="18366" cy="18425"/>
                </a:xfrm>
                <a:custGeom>
                  <a:avLst/>
                  <a:gdLst>
                    <a:gd name="connsiteX0" fmla="*/ 9393 w 18366"/>
                    <a:gd name="connsiteY0" fmla="*/ 3 h 18425"/>
                    <a:gd name="connsiteX1" fmla="*/ 18364 w 18366"/>
                    <a:gd name="connsiteY1" fmla="*/ 9452 h 18425"/>
                    <a:gd name="connsiteX2" fmla="*/ 8974 w 18366"/>
                    <a:gd name="connsiteY2" fmla="*/ 18423 h 18425"/>
                    <a:gd name="connsiteX3" fmla="*/ 3 w 18366"/>
                    <a:gd name="connsiteY3" fmla="*/ 8974 h 18425"/>
                    <a:gd name="connsiteX4" fmla="*/ 9393 w 18366"/>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3" y="3"/>
                      </a:moveTo>
                      <a:cubicBezTo>
                        <a:pt x="14476" y="122"/>
                        <a:pt x="18484" y="4368"/>
                        <a:pt x="18364" y="9452"/>
                      </a:cubicBezTo>
                      <a:cubicBezTo>
                        <a:pt x="18244" y="14536"/>
                        <a:pt x="14057" y="18543"/>
                        <a:pt x="8974" y="18423"/>
                      </a:cubicBezTo>
                      <a:cubicBezTo>
                        <a:pt x="3890" y="18304"/>
                        <a:pt x="-117" y="14057"/>
                        <a:pt x="3" y="8974"/>
                      </a:cubicBezTo>
                      <a:cubicBezTo>
                        <a:pt x="182" y="3890"/>
                        <a:pt x="4368" y="-117"/>
                        <a:pt x="9393" y="3"/>
                      </a:cubicBezTo>
                      <a:close/>
                    </a:path>
                  </a:pathLst>
                </a:custGeom>
                <a:grpFill/>
                <a:ln w="5978" cap="flat">
                  <a:noFill/>
                  <a:prstDash val="solid"/>
                  <a:miter/>
                </a:ln>
              </p:spPr>
              <p:txBody>
                <a:bodyPr rtlCol="0" anchor="ctr"/>
                <a:lstStyle/>
                <a:p>
                  <a:endParaRPr lang="en-GB"/>
                </a:p>
              </p:txBody>
            </p:sp>
            <p:sp>
              <p:nvSpPr>
                <p:cNvPr id="5187" name="Vrije vorm: vorm 5186">
                  <a:extLst>
                    <a:ext uri="{FF2B5EF4-FFF2-40B4-BE49-F238E27FC236}">
                      <a16:creationId xmlns:a16="http://schemas.microsoft.com/office/drawing/2014/main" id="{7473A778-C209-4792-BD57-02806201D97E}"/>
                    </a:ext>
                  </a:extLst>
                </p:cNvPr>
                <p:cNvSpPr/>
                <p:nvPr/>
              </p:nvSpPr>
              <p:spPr>
                <a:xfrm>
                  <a:off x="7860839" y="3456416"/>
                  <a:ext cx="18365" cy="18425"/>
                </a:xfrm>
                <a:custGeom>
                  <a:avLst/>
                  <a:gdLst>
                    <a:gd name="connsiteX0" fmla="*/ 9392 w 18365"/>
                    <a:gd name="connsiteY0" fmla="*/ 3 h 18425"/>
                    <a:gd name="connsiteX1" fmla="*/ 3 w 18365"/>
                    <a:gd name="connsiteY1" fmla="*/ 8974 h 18425"/>
                    <a:gd name="connsiteX2" fmla="*/ 8974 w 18365"/>
                    <a:gd name="connsiteY2" fmla="*/ 18423 h 18425"/>
                    <a:gd name="connsiteX3" fmla="*/ 18363 w 18365"/>
                    <a:gd name="connsiteY3" fmla="*/ 9452 h 18425"/>
                    <a:gd name="connsiteX4" fmla="*/ 9392 w 18365"/>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5">
                      <a:moveTo>
                        <a:pt x="9392" y="3"/>
                      </a:moveTo>
                      <a:cubicBezTo>
                        <a:pt x="4309" y="-117"/>
                        <a:pt x="122" y="3890"/>
                        <a:pt x="3" y="8974"/>
                      </a:cubicBezTo>
                      <a:cubicBezTo>
                        <a:pt x="-117" y="14057"/>
                        <a:pt x="3890" y="18304"/>
                        <a:pt x="8974" y="18423"/>
                      </a:cubicBezTo>
                      <a:cubicBezTo>
                        <a:pt x="14057" y="18543"/>
                        <a:pt x="18243" y="14536"/>
                        <a:pt x="18363" y="9452"/>
                      </a:cubicBezTo>
                      <a:cubicBezTo>
                        <a:pt x="18483" y="4369"/>
                        <a:pt x="14475" y="122"/>
                        <a:pt x="9392" y="3"/>
                      </a:cubicBezTo>
                      <a:close/>
                    </a:path>
                  </a:pathLst>
                </a:custGeom>
                <a:grpFill/>
                <a:ln w="5978" cap="flat">
                  <a:noFill/>
                  <a:prstDash val="solid"/>
                  <a:miter/>
                </a:ln>
              </p:spPr>
              <p:txBody>
                <a:bodyPr rtlCol="0" anchor="ctr"/>
                <a:lstStyle/>
                <a:p>
                  <a:endParaRPr lang="en-GB"/>
                </a:p>
              </p:txBody>
            </p:sp>
          </p:grpSp>
          <p:grpSp>
            <p:nvGrpSpPr>
              <p:cNvPr id="63" name="Graphic 3">
                <a:extLst>
                  <a:ext uri="{FF2B5EF4-FFF2-40B4-BE49-F238E27FC236}">
                    <a16:creationId xmlns:a16="http://schemas.microsoft.com/office/drawing/2014/main" id="{5330C3F4-24A8-4D28-A5A1-D5E732639662}"/>
                  </a:ext>
                </a:extLst>
              </p:cNvPr>
              <p:cNvGrpSpPr/>
              <p:nvPr/>
            </p:nvGrpSpPr>
            <p:grpSpPr>
              <a:xfrm>
                <a:off x="7981396" y="3532298"/>
                <a:ext cx="222874" cy="31610"/>
                <a:chOff x="7981396" y="3532298"/>
                <a:chExt cx="222874" cy="31610"/>
              </a:xfrm>
              <a:grpFill/>
            </p:grpSpPr>
            <p:sp>
              <p:nvSpPr>
                <p:cNvPr id="5182" name="Vrije vorm: vorm 5181">
                  <a:extLst>
                    <a:ext uri="{FF2B5EF4-FFF2-40B4-BE49-F238E27FC236}">
                      <a16:creationId xmlns:a16="http://schemas.microsoft.com/office/drawing/2014/main" id="{59F88E7D-D211-4141-9F59-BD944F8AEB96}"/>
                    </a:ext>
                  </a:extLst>
                </p:cNvPr>
                <p:cNvSpPr/>
                <p:nvPr/>
              </p:nvSpPr>
              <p:spPr>
                <a:xfrm>
                  <a:off x="7990025" y="3539969"/>
                  <a:ext cx="205617" cy="16267"/>
                </a:xfrm>
                <a:custGeom>
                  <a:avLst/>
                  <a:gdLst>
                    <a:gd name="connsiteX0" fmla="*/ 205617 w 205617"/>
                    <a:gd name="connsiteY0" fmla="*/ 13217 h 16267"/>
                    <a:gd name="connsiteX1" fmla="*/ 205438 w 205617"/>
                    <a:gd name="connsiteY1" fmla="*/ 16268 h 16267"/>
                    <a:gd name="connsiteX2" fmla="*/ 0 w 205617"/>
                    <a:gd name="connsiteY2" fmla="*/ 3050 h 16267"/>
                    <a:gd name="connsiteX3" fmla="*/ 180 w 205617"/>
                    <a:gd name="connsiteY3" fmla="*/ 0 h 16267"/>
                  </a:gdLst>
                  <a:ahLst/>
                  <a:cxnLst>
                    <a:cxn ang="0">
                      <a:pos x="connsiteX0" y="connsiteY0"/>
                    </a:cxn>
                    <a:cxn ang="0">
                      <a:pos x="connsiteX1" y="connsiteY1"/>
                    </a:cxn>
                    <a:cxn ang="0">
                      <a:pos x="connsiteX2" y="connsiteY2"/>
                    </a:cxn>
                    <a:cxn ang="0">
                      <a:pos x="connsiteX3" y="connsiteY3"/>
                    </a:cxn>
                  </a:cxnLst>
                  <a:rect l="l" t="t" r="r" b="b"/>
                  <a:pathLst>
                    <a:path w="205617" h="16267">
                      <a:moveTo>
                        <a:pt x="205617" y="13217"/>
                      </a:moveTo>
                      <a:lnTo>
                        <a:pt x="205438" y="16268"/>
                      </a:lnTo>
                      <a:lnTo>
                        <a:pt x="0" y="3050"/>
                      </a:lnTo>
                      <a:lnTo>
                        <a:pt x="180" y="0"/>
                      </a:lnTo>
                      <a:close/>
                    </a:path>
                  </a:pathLst>
                </a:custGeom>
                <a:grpFill/>
                <a:ln w="5978" cap="flat">
                  <a:noFill/>
                  <a:prstDash val="solid"/>
                  <a:miter/>
                </a:ln>
              </p:spPr>
              <p:txBody>
                <a:bodyPr rtlCol="0" anchor="ctr"/>
                <a:lstStyle/>
                <a:p>
                  <a:endParaRPr lang="en-GB"/>
                </a:p>
              </p:txBody>
            </p:sp>
            <p:sp>
              <p:nvSpPr>
                <p:cNvPr id="5183" name="Vrije vorm: vorm 5182">
                  <a:extLst>
                    <a:ext uri="{FF2B5EF4-FFF2-40B4-BE49-F238E27FC236}">
                      <a16:creationId xmlns:a16="http://schemas.microsoft.com/office/drawing/2014/main" id="{E5C1E5AD-6CB2-4DD3-AF99-6E90168692C9}"/>
                    </a:ext>
                  </a:extLst>
                </p:cNvPr>
                <p:cNvSpPr/>
                <p:nvPr/>
              </p:nvSpPr>
              <p:spPr>
                <a:xfrm>
                  <a:off x="8185937" y="3545449"/>
                  <a:ext cx="18333" cy="18459"/>
                </a:xfrm>
                <a:custGeom>
                  <a:avLst/>
                  <a:gdLst>
                    <a:gd name="connsiteX0" fmla="*/ 9705 w 18333"/>
                    <a:gd name="connsiteY0" fmla="*/ 23 h 18459"/>
                    <a:gd name="connsiteX1" fmla="*/ 18317 w 18333"/>
                    <a:gd name="connsiteY1" fmla="*/ 9831 h 18459"/>
                    <a:gd name="connsiteX2" fmla="*/ 8628 w 18333"/>
                    <a:gd name="connsiteY2" fmla="*/ 18444 h 18459"/>
                    <a:gd name="connsiteX3" fmla="*/ 16 w 18333"/>
                    <a:gd name="connsiteY3" fmla="*/ 8635 h 18459"/>
                    <a:gd name="connsiteX4" fmla="*/ 9705 w 18333"/>
                    <a:gd name="connsiteY4" fmla="*/ 23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9">
                      <a:moveTo>
                        <a:pt x="9705" y="23"/>
                      </a:moveTo>
                      <a:cubicBezTo>
                        <a:pt x="14729" y="322"/>
                        <a:pt x="18616" y="4748"/>
                        <a:pt x="18317" y="9831"/>
                      </a:cubicBezTo>
                      <a:cubicBezTo>
                        <a:pt x="18018" y="14915"/>
                        <a:pt x="13652" y="18743"/>
                        <a:pt x="8628" y="18444"/>
                      </a:cubicBezTo>
                      <a:cubicBezTo>
                        <a:pt x="3604" y="18145"/>
                        <a:pt x="-283" y="13719"/>
                        <a:pt x="16" y="8635"/>
                      </a:cubicBezTo>
                      <a:cubicBezTo>
                        <a:pt x="315" y="3552"/>
                        <a:pt x="4681" y="-336"/>
                        <a:pt x="9705" y="23"/>
                      </a:cubicBezTo>
                      <a:close/>
                    </a:path>
                  </a:pathLst>
                </a:custGeom>
                <a:grpFill/>
                <a:ln w="5978" cap="flat">
                  <a:noFill/>
                  <a:prstDash val="solid"/>
                  <a:miter/>
                </a:ln>
              </p:spPr>
              <p:txBody>
                <a:bodyPr rtlCol="0" anchor="ctr"/>
                <a:lstStyle/>
                <a:p>
                  <a:endParaRPr lang="en-GB"/>
                </a:p>
              </p:txBody>
            </p:sp>
            <p:sp>
              <p:nvSpPr>
                <p:cNvPr id="5184" name="Vrije vorm: vorm 5183">
                  <a:extLst>
                    <a:ext uri="{FF2B5EF4-FFF2-40B4-BE49-F238E27FC236}">
                      <a16:creationId xmlns:a16="http://schemas.microsoft.com/office/drawing/2014/main" id="{557FB9D3-44A1-4121-B81A-A7E363431754}"/>
                    </a:ext>
                  </a:extLst>
                </p:cNvPr>
                <p:cNvSpPr/>
                <p:nvPr/>
              </p:nvSpPr>
              <p:spPr>
                <a:xfrm>
                  <a:off x="7981396" y="3532298"/>
                  <a:ext cx="18334" cy="18453"/>
                </a:xfrm>
                <a:custGeom>
                  <a:avLst/>
                  <a:gdLst>
                    <a:gd name="connsiteX0" fmla="*/ 9705 w 18334"/>
                    <a:gd name="connsiteY0" fmla="*/ 16 h 18453"/>
                    <a:gd name="connsiteX1" fmla="*/ 16 w 18334"/>
                    <a:gd name="connsiteY1" fmla="*/ 8629 h 18453"/>
                    <a:gd name="connsiteX2" fmla="*/ 8629 w 18334"/>
                    <a:gd name="connsiteY2" fmla="*/ 18437 h 18453"/>
                    <a:gd name="connsiteX3" fmla="*/ 18318 w 18334"/>
                    <a:gd name="connsiteY3" fmla="*/ 9825 h 18453"/>
                    <a:gd name="connsiteX4" fmla="*/ 9705 w 18334"/>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3">
                      <a:moveTo>
                        <a:pt x="9705" y="16"/>
                      </a:moveTo>
                      <a:cubicBezTo>
                        <a:pt x="4681" y="-283"/>
                        <a:pt x="316" y="3545"/>
                        <a:pt x="16" y="8629"/>
                      </a:cubicBezTo>
                      <a:cubicBezTo>
                        <a:pt x="-282" y="13712"/>
                        <a:pt x="3545" y="18078"/>
                        <a:pt x="8629" y="18437"/>
                      </a:cubicBezTo>
                      <a:cubicBezTo>
                        <a:pt x="13653" y="18736"/>
                        <a:pt x="18018" y="14908"/>
                        <a:pt x="18318" y="9825"/>
                      </a:cubicBezTo>
                      <a:cubicBezTo>
                        <a:pt x="18617" y="4741"/>
                        <a:pt x="14789" y="315"/>
                        <a:pt x="9705" y="16"/>
                      </a:cubicBezTo>
                      <a:close/>
                    </a:path>
                  </a:pathLst>
                </a:custGeom>
                <a:grpFill/>
                <a:ln w="5978" cap="flat">
                  <a:noFill/>
                  <a:prstDash val="solid"/>
                  <a:miter/>
                </a:ln>
              </p:spPr>
              <p:txBody>
                <a:bodyPr rtlCol="0" anchor="ctr"/>
                <a:lstStyle/>
                <a:p>
                  <a:endParaRPr lang="en-GB"/>
                </a:p>
              </p:txBody>
            </p:sp>
          </p:grpSp>
          <p:grpSp>
            <p:nvGrpSpPr>
              <p:cNvPr id="64" name="Graphic 3">
                <a:extLst>
                  <a:ext uri="{FF2B5EF4-FFF2-40B4-BE49-F238E27FC236}">
                    <a16:creationId xmlns:a16="http://schemas.microsoft.com/office/drawing/2014/main" id="{694F7FC3-8F33-4F4A-87C6-564E22DB308B}"/>
                  </a:ext>
                </a:extLst>
              </p:cNvPr>
              <p:cNvGrpSpPr/>
              <p:nvPr/>
            </p:nvGrpSpPr>
            <p:grpSpPr>
              <a:xfrm>
                <a:off x="7516351" y="2421994"/>
                <a:ext cx="441258" cy="204658"/>
                <a:chOff x="7516351" y="2421994"/>
                <a:chExt cx="441258" cy="204658"/>
              </a:xfrm>
              <a:grpFill/>
            </p:grpSpPr>
            <p:sp>
              <p:nvSpPr>
                <p:cNvPr id="5179" name="Vrije vorm: vorm 5178">
                  <a:extLst>
                    <a:ext uri="{FF2B5EF4-FFF2-40B4-BE49-F238E27FC236}">
                      <a16:creationId xmlns:a16="http://schemas.microsoft.com/office/drawing/2014/main" id="{FA003C9D-02F4-4100-AB05-E0FB9419E4A6}"/>
                    </a:ext>
                  </a:extLst>
                </p:cNvPr>
                <p:cNvSpPr/>
                <p:nvPr/>
              </p:nvSpPr>
              <p:spPr>
                <a:xfrm>
                  <a:off x="7524411" y="2429234"/>
                  <a:ext cx="424992" cy="189391"/>
                </a:xfrm>
                <a:custGeom>
                  <a:avLst/>
                  <a:gdLst>
                    <a:gd name="connsiteX0" fmla="*/ 0 w 424992"/>
                    <a:gd name="connsiteY0" fmla="*/ 186600 h 189391"/>
                    <a:gd name="connsiteX1" fmla="*/ 423763 w 424992"/>
                    <a:gd name="connsiteY1" fmla="*/ 0 h 189391"/>
                    <a:gd name="connsiteX2" fmla="*/ 424992 w 424992"/>
                    <a:gd name="connsiteY2" fmla="*/ 2792 h 189391"/>
                    <a:gd name="connsiteX3" fmla="*/ 1229 w 424992"/>
                    <a:gd name="connsiteY3" fmla="*/ 189392 h 189391"/>
                  </a:gdLst>
                  <a:ahLst/>
                  <a:cxnLst>
                    <a:cxn ang="0">
                      <a:pos x="connsiteX0" y="connsiteY0"/>
                    </a:cxn>
                    <a:cxn ang="0">
                      <a:pos x="connsiteX1" y="connsiteY1"/>
                    </a:cxn>
                    <a:cxn ang="0">
                      <a:pos x="connsiteX2" y="connsiteY2"/>
                    </a:cxn>
                    <a:cxn ang="0">
                      <a:pos x="connsiteX3" y="connsiteY3"/>
                    </a:cxn>
                  </a:cxnLst>
                  <a:rect l="l" t="t" r="r" b="b"/>
                  <a:pathLst>
                    <a:path w="424992" h="189391">
                      <a:moveTo>
                        <a:pt x="0" y="186600"/>
                      </a:moveTo>
                      <a:lnTo>
                        <a:pt x="423763" y="0"/>
                      </a:lnTo>
                      <a:lnTo>
                        <a:pt x="424992" y="2792"/>
                      </a:lnTo>
                      <a:lnTo>
                        <a:pt x="1229" y="189392"/>
                      </a:lnTo>
                      <a:close/>
                    </a:path>
                  </a:pathLst>
                </a:custGeom>
                <a:grpFill/>
                <a:ln w="5978" cap="flat">
                  <a:noFill/>
                  <a:prstDash val="solid"/>
                  <a:miter/>
                </a:ln>
              </p:spPr>
              <p:txBody>
                <a:bodyPr rtlCol="0" anchor="ctr"/>
                <a:lstStyle/>
                <a:p>
                  <a:endParaRPr lang="en-GB"/>
                </a:p>
              </p:txBody>
            </p:sp>
            <p:sp>
              <p:nvSpPr>
                <p:cNvPr id="5180" name="Vrije vorm: vorm 5179">
                  <a:extLst>
                    <a:ext uri="{FF2B5EF4-FFF2-40B4-BE49-F238E27FC236}">
                      <a16:creationId xmlns:a16="http://schemas.microsoft.com/office/drawing/2014/main" id="{EFDF77EC-7E9B-4B19-8044-320C18065457}"/>
                    </a:ext>
                  </a:extLst>
                </p:cNvPr>
                <p:cNvSpPr/>
                <p:nvPr/>
              </p:nvSpPr>
              <p:spPr>
                <a:xfrm>
                  <a:off x="7516351" y="2608234"/>
                  <a:ext cx="18326" cy="18418"/>
                </a:xfrm>
                <a:custGeom>
                  <a:avLst/>
                  <a:gdLst>
                    <a:gd name="connsiteX0" fmla="*/ 12859 w 18326"/>
                    <a:gd name="connsiteY0" fmla="*/ 17642 h 18418"/>
                    <a:gd name="connsiteX1" fmla="*/ 777 w 18326"/>
                    <a:gd name="connsiteY1" fmla="*/ 12917 h 18418"/>
                    <a:gd name="connsiteX2" fmla="*/ 5443 w 18326"/>
                    <a:gd name="connsiteY2" fmla="*/ 777 h 18418"/>
                    <a:gd name="connsiteX3" fmla="*/ 17524 w 18326"/>
                    <a:gd name="connsiteY3" fmla="*/ 5501 h 18418"/>
                    <a:gd name="connsiteX4" fmla="*/ 12859 w 18326"/>
                    <a:gd name="connsiteY4" fmla="*/ 1764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8">
                      <a:moveTo>
                        <a:pt x="12859" y="17642"/>
                      </a:moveTo>
                      <a:cubicBezTo>
                        <a:pt x="8253" y="19676"/>
                        <a:pt x="2811" y="17582"/>
                        <a:pt x="777" y="12917"/>
                      </a:cubicBezTo>
                      <a:cubicBezTo>
                        <a:pt x="-1256" y="8252"/>
                        <a:pt x="837" y="2810"/>
                        <a:pt x="5443" y="777"/>
                      </a:cubicBezTo>
                      <a:cubicBezTo>
                        <a:pt x="10048" y="-1257"/>
                        <a:pt x="15491" y="836"/>
                        <a:pt x="17524" y="5501"/>
                      </a:cubicBezTo>
                      <a:cubicBezTo>
                        <a:pt x="19617" y="10166"/>
                        <a:pt x="17464" y="15609"/>
                        <a:pt x="12859" y="17642"/>
                      </a:cubicBezTo>
                      <a:close/>
                    </a:path>
                  </a:pathLst>
                </a:custGeom>
                <a:grpFill/>
                <a:ln w="5978" cap="flat">
                  <a:noFill/>
                  <a:prstDash val="solid"/>
                  <a:miter/>
                </a:ln>
              </p:spPr>
              <p:txBody>
                <a:bodyPr rtlCol="0" anchor="ctr"/>
                <a:lstStyle/>
                <a:p>
                  <a:endParaRPr lang="en-GB"/>
                </a:p>
              </p:txBody>
            </p:sp>
            <p:sp>
              <p:nvSpPr>
                <p:cNvPr id="5181" name="Vrije vorm: vorm 5180">
                  <a:extLst>
                    <a:ext uri="{FF2B5EF4-FFF2-40B4-BE49-F238E27FC236}">
                      <a16:creationId xmlns:a16="http://schemas.microsoft.com/office/drawing/2014/main" id="{BF6DDCC2-65E1-472A-B128-1EE11A3E1D31}"/>
                    </a:ext>
                  </a:extLst>
                </p:cNvPr>
                <p:cNvSpPr/>
                <p:nvPr/>
              </p:nvSpPr>
              <p:spPr>
                <a:xfrm>
                  <a:off x="7939308" y="2421994"/>
                  <a:ext cx="18301" cy="18418"/>
                </a:xfrm>
                <a:custGeom>
                  <a:avLst/>
                  <a:gdLst>
                    <a:gd name="connsiteX0" fmla="*/ 12859 w 18301"/>
                    <a:gd name="connsiteY0" fmla="*/ 17642 h 18418"/>
                    <a:gd name="connsiteX1" fmla="*/ 17523 w 18301"/>
                    <a:gd name="connsiteY1" fmla="*/ 5501 h 18418"/>
                    <a:gd name="connsiteX2" fmla="*/ 5442 w 18301"/>
                    <a:gd name="connsiteY2" fmla="*/ 777 h 18418"/>
                    <a:gd name="connsiteX3" fmla="*/ 778 w 18301"/>
                    <a:gd name="connsiteY3" fmla="*/ 12917 h 18418"/>
                    <a:gd name="connsiteX4" fmla="*/ 12859 w 18301"/>
                    <a:gd name="connsiteY4" fmla="*/ 1764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18">
                      <a:moveTo>
                        <a:pt x="12859" y="17642"/>
                      </a:moveTo>
                      <a:cubicBezTo>
                        <a:pt x="17464" y="15609"/>
                        <a:pt x="19557" y="10166"/>
                        <a:pt x="17523" y="5501"/>
                      </a:cubicBezTo>
                      <a:cubicBezTo>
                        <a:pt x="15490" y="836"/>
                        <a:pt x="10047" y="-1257"/>
                        <a:pt x="5442" y="777"/>
                      </a:cubicBezTo>
                      <a:cubicBezTo>
                        <a:pt x="838" y="2810"/>
                        <a:pt x="-1256" y="8253"/>
                        <a:pt x="778" y="12917"/>
                      </a:cubicBezTo>
                      <a:cubicBezTo>
                        <a:pt x="2811" y="17582"/>
                        <a:pt x="8254" y="19676"/>
                        <a:pt x="12859" y="17642"/>
                      </a:cubicBezTo>
                      <a:close/>
                    </a:path>
                  </a:pathLst>
                </a:custGeom>
                <a:grpFill/>
                <a:ln w="5978" cap="flat">
                  <a:noFill/>
                  <a:prstDash val="solid"/>
                  <a:miter/>
                </a:ln>
              </p:spPr>
              <p:txBody>
                <a:bodyPr rtlCol="0" anchor="ctr"/>
                <a:lstStyle/>
                <a:p>
                  <a:endParaRPr lang="en-GB"/>
                </a:p>
              </p:txBody>
            </p:sp>
          </p:grpSp>
          <p:grpSp>
            <p:nvGrpSpPr>
              <p:cNvPr id="65" name="Graphic 3">
                <a:extLst>
                  <a:ext uri="{FF2B5EF4-FFF2-40B4-BE49-F238E27FC236}">
                    <a16:creationId xmlns:a16="http://schemas.microsoft.com/office/drawing/2014/main" id="{B28AEA3D-4BA4-44E4-9B50-8D65DB932C5A}"/>
                  </a:ext>
                </a:extLst>
              </p:cNvPr>
              <p:cNvGrpSpPr/>
              <p:nvPr/>
            </p:nvGrpSpPr>
            <p:grpSpPr>
              <a:xfrm>
                <a:off x="7975939" y="3568286"/>
                <a:ext cx="219009" cy="35110"/>
                <a:chOff x="7975939" y="3568286"/>
                <a:chExt cx="219009" cy="35110"/>
              </a:xfrm>
              <a:grpFill/>
            </p:grpSpPr>
            <p:sp>
              <p:nvSpPr>
                <p:cNvPr id="5176" name="Vrije vorm: vorm 5175">
                  <a:extLst>
                    <a:ext uri="{FF2B5EF4-FFF2-40B4-BE49-F238E27FC236}">
                      <a16:creationId xmlns:a16="http://schemas.microsoft.com/office/drawing/2014/main" id="{591FC9DF-B934-4FF5-BFF6-95F4C5707EBF}"/>
                    </a:ext>
                  </a:extLst>
                </p:cNvPr>
                <p:cNvSpPr/>
                <p:nvPr/>
              </p:nvSpPr>
              <p:spPr>
                <a:xfrm>
                  <a:off x="7984582" y="3575973"/>
                  <a:ext cx="201789" cy="19796"/>
                </a:xfrm>
                <a:custGeom>
                  <a:avLst/>
                  <a:gdLst>
                    <a:gd name="connsiteX0" fmla="*/ 201790 w 201789"/>
                    <a:gd name="connsiteY0" fmla="*/ 16746 h 19796"/>
                    <a:gd name="connsiteX1" fmla="*/ 201551 w 201789"/>
                    <a:gd name="connsiteY1" fmla="*/ 19796 h 19796"/>
                    <a:gd name="connsiteX2" fmla="*/ 0 w 201789"/>
                    <a:gd name="connsiteY2" fmla="*/ 3050 h 19796"/>
                    <a:gd name="connsiteX3" fmla="*/ 239 w 201789"/>
                    <a:gd name="connsiteY3" fmla="*/ 0 h 19796"/>
                  </a:gdLst>
                  <a:ahLst/>
                  <a:cxnLst>
                    <a:cxn ang="0">
                      <a:pos x="connsiteX0" y="connsiteY0"/>
                    </a:cxn>
                    <a:cxn ang="0">
                      <a:pos x="connsiteX1" y="connsiteY1"/>
                    </a:cxn>
                    <a:cxn ang="0">
                      <a:pos x="connsiteX2" y="connsiteY2"/>
                    </a:cxn>
                    <a:cxn ang="0">
                      <a:pos x="connsiteX3" y="connsiteY3"/>
                    </a:cxn>
                  </a:cxnLst>
                  <a:rect l="l" t="t" r="r" b="b"/>
                  <a:pathLst>
                    <a:path w="201789" h="19796">
                      <a:moveTo>
                        <a:pt x="201790" y="16746"/>
                      </a:moveTo>
                      <a:lnTo>
                        <a:pt x="201551" y="19796"/>
                      </a:lnTo>
                      <a:lnTo>
                        <a:pt x="0" y="3050"/>
                      </a:lnTo>
                      <a:lnTo>
                        <a:pt x="239" y="0"/>
                      </a:lnTo>
                      <a:close/>
                    </a:path>
                  </a:pathLst>
                </a:custGeom>
                <a:grpFill/>
                <a:ln w="5978" cap="flat">
                  <a:noFill/>
                  <a:prstDash val="solid"/>
                  <a:miter/>
                </a:ln>
              </p:spPr>
              <p:txBody>
                <a:bodyPr rtlCol="0" anchor="ctr"/>
                <a:lstStyle/>
                <a:p>
                  <a:endParaRPr lang="en-GB"/>
                </a:p>
              </p:txBody>
            </p:sp>
            <p:sp>
              <p:nvSpPr>
                <p:cNvPr id="5177" name="Vrije vorm: vorm 5176">
                  <a:extLst>
                    <a:ext uri="{FF2B5EF4-FFF2-40B4-BE49-F238E27FC236}">
                      <a16:creationId xmlns:a16="http://schemas.microsoft.com/office/drawing/2014/main" id="{16A88A94-7BA2-48FE-8380-30A59259A33E}"/>
                    </a:ext>
                  </a:extLst>
                </p:cNvPr>
                <p:cNvSpPr/>
                <p:nvPr/>
              </p:nvSpPr>
              <p:spPr>
                <a:xfrm>
                  <a:off x="8176600" y="3584972"/>
                  <a:ext cx="18348" cy="18424"/>
                </a:xfrm>
                <a:custGeom>
                  <a:avLst/>
                  <a:gdLst>
                    <a:gd name="connsiteX0" fmla="*/ 9892 w 18348"/>
                    <a:gd name="connsiteY0" fmla="*/ 32 h 18424"/>
                    <a:gd name="connsiteX1" fmla="*/ 18325 w 18348"/>
                    <a:gd name="connsiteY1" fmla="*/ 9960 h 18424"/>
                    <a:gd name="connsiteX2" fmla="*/ 8457 w 18348"/>
                    <a:gd name="connsiteY2" fmla="*/ 18393 h 18424"/>
                    <a:gd name="connsiteX3" fmla="*/ 24 w 18348"/>
                    <a:gd name="connsiteY3" fmla="*/ 8465 h 18424"/>
                    <a:gd name="connsiteX4" fmla="*/ 9892 w 18348"/>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4">
                      <a:moveTo>
                        <a:pt x="9892" y="32"/>
                      </a:moveTo>
                      <a:cubicBezTo>
                        <a:pt x="14916" y="450"/>
                        <a:pt x="18683" y="4876"/>
                        <a:pt x="18325" y="9960"/>
                      </a:cubicBezTo>
                      <a:cubicBezTo>
                        <a:pt x="17906" y="15043"/>
                        <a:pt x="13540" y="18811"/>
                        <a:pt x="8457" y="18393"/>
                      </a:cubicBezTo>
                      <a:cubicBezTo>
                        <a:pt x="3433" y="17974"/>
                        <a:pt x="-335" y="13548"/>
                        <a:pt x="24" y="8465"/>
                      </a:cubicBezTo>
                      <a:cubicBezTo>
                        <a:pt x="443" y="3381"/>
                        <a:pt x="4868" y="-387"/>
                        <a:pt x="9892" y="32"/>
                      </a:cubicBezTo>
                      <a:close/>
                    </a:path>
                  </a:pathLst>
                </a:custGeom>
                <a:grpFill/>
                <a:ln w="5978" cap="flat">
                  <a:noFill/>
                  <a:prstDash val="solid"/>
                  <a:miter/>
                </a:ln>
              </p:spPr>
              <p:txBody>
                <a:bodyPr rtlCol="0" anchor="ctr"/>
                <a:lstStyle/>
                <a:p>
                  <a:endParaRPr lang="en-GB"/>
                </a:p>
              </p:txBody>
            </p:sp>
            <p:sp>
              <p:nvSpPr>
                <p:cNvPr id="5178" name="Vrije vorm: vorm 5177">
                  <a:extLst>
                    <a:ext uri="{FF2B5EF4-FFF2-40B4-BE49-F238E27FC236}">
                      <a16:creationId xmlns:a16="http://schemas.microsoft.com/office/drawing/2014/main" id="{F1912CE0-7182-4408-9172-7D6F606FE17E}"/>
                    </a:ext>
                  </a:extLst>
                </p:cNvPr>
                <p:cNvSpPr/>
                <p:nvPr/>
              </p:nvSpPr>
              <p:spPr>
                <a:xfrm>
                  <a:off x="7975939" y="3568286"/>
                  <a:ext cx="18364" cy="18424"/>
                </a:xfrm>
                <a:custGeom>
                  <a:avLst/>
                  <a:gdLst>
                    <a:gd name="connsiteX0" fmla="*/ 9900 w 18364"/>
                    <a:gd name="connsiteY0" fmla="*/ 32 h 18424"/>
                    <a:gd name="connsiteX1" fmla="*/ 32 w 18364"/>
                    <a:gd name="connsiteY1" fmla="*/ 8465 h 18424"/>
                    <a:gd name="connsiteX2" fmla="*/ 8464 w 18364"/>
                    <a:gd name="connsiteY2" fmla="*/ 18393 h 18424"/>
                    <a:gd name="connsiteX3" fmla="*/ 18332 w 18364"/>
                    <a:gd name="connsiteY3" fmla="*/ 9960 h 18424"/>
                    <a:gd name="connsiteX4" fmla="*/ 9900 w 18364"/>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9900" y="32"/>
                      </a:moveTo>
                      <a:cubicBezTo>
                        <a:pt x="4876" y="-387"/>
                        <a:pt x="450" y="3381"/>
                        <a:pt x="32" y="8465"/>
                      </a:cubicBezTo>
                      <a:cubicBezTo>
                        <a:pt x="-387" y="13548"/>
                        <a:pt x="3381" y="17974"/>
                        <a:pt x="8464" y="18393"/>
                      </a:cubicBezTo>
                      <a:cubicBezTo>
                        <a:pt x="13488" y="18811"/>
                        <a:pt x="17914" y="15043"/>
                        <a:pt x="18332" y="9960"/>
                      </a:cubicBezTo>
                      <a:cubicBezTo>
                        <a:pt x="18752" y="4936"/>
                        <a:pt x="14984" y="450"/>
                        <a:pt x="9900" y="32"/>
                      </a:cubicBezTo>
                      <a:close/>
                    </a:path>
                  </a:pathLst>
                </a:custGeom>
                <a:grpFill/>
                <a:ln w="5978" cap="flat">
                  <a:noFill/>
                  <a:prstDash val="solid"/>
                  <a:miter/>
                </a:ln>
              </p:spPr>
              <p:txBody>
                <a:bodyPr rtlCol="0" anchor="ctr"/>
                <a:lstStyle/>
                <a:p>
                  <a:endParaRPr lang="en-GB"/>
                </a:p>
              </p:txBody>
            </p:sp>
          </p:grpSp>
          <p:grpSp>
            <p:nvGrpSpPr>
              <p:cNvPr id="66" name="Graphic 3">
                <a:extLst>
                  <a:ext uri="{FF2B5EF4-FFF2-40B4-BE49-F238E27FC236}">
                    <a16:creationId xmlns:a16="http://schemas.microsoft.com/office/drawing/2014/main" id="{DB70DE87-4B35-4DCB-AE43-986C6D4C6C8F}"/>
                  </a:ext>
                </a:extLst>
              </p:cNvPr>
              <p:cNvGrpSpPr/>
              <p:nvPr/>
            </p:nvGrpSpPr>
            <p:grpSpPr>
              <a:xfrm>
                <a:off x="7612984" y="2729650"/>
                <a:ext cx="431604" cy="128233"/>
                <a:chOff x="7612984" y="2729650"/>
                <a:chExt cx="431604" cy="128233"/>
              </a:xfrm>
              <a:grpFill/>
            </p:grpSpPr>
            <p:sp>
              <p:nvSpPr>
                <p:cNvPr id="5173" name="Vrije vorm: vorm 5172">
                  <a:extLst>
                    <a:ext uri="{FF2B5EF4-FFF2-40B4-BE49-F238E27FC236}">
                      <a16:creationId xmlns:a16="http://schemas.microsoft.com/office/drawing/2014/main" id="{D7B78401-0044-40B4-9B09-4C079364A5E9}"/>
                    </a:ext>
                  </a:extLst>
                </p:cNvPr>
                <p:cNvSpPr/>
                <p:nvPr/>
              </p:nvSpPr>
              <p:spPr>
                <a:xfrm>
                  <a:off x="7621153" y="2737490"/>
                  <a:ext cx="414987" cy="112734"/>
                </a:xfrm>
                <a:custGeom>
                  <a:avLst/>
                  <a:gdLst>
                    <a:gd name="connsiteX0" fmla="*/ 0 w 414987"/>
                    <a:gd name="connsiteY0" fmla="*/ 109787 h 112734"/>
                    <a:gd name="connsiteX1" fmla="*/ 414206 w 414987"/>
                    <a:gd name="connsiteY1" fmla="*/ 0 h 112734"/>
                    <a:gd name="connsiteX2" fmla="*/ 414988 w 414987"/>
                    <a:gd name="connsiteY2" fmla="*/ 2948 h 112734"/>
                    <a:gd name="connsiteX3" fmla="*/ 781 w 414987"/>
                    <a:gd name="connsiteY3" fmla="*/ 112735 h 112734"/>
                  </a:gdLst>
                  <a:ahLst/>
                  <a:cxnLst>
                    <a:cxn ang="0">
                      <a:pos x="connsiteX0" y="connsiteY0"/>
                    </a:cxn>
                    <a:cxn ang="0">
                      <a:pos x="connsiteX1" y="connsiteY1"/>
                    </a:cxn>
                    <a:cxn ang="0">
                      <a:pos x="connsiteX2" y="connsiteY2"/>
                    </a:cxn>
                    <a:cxn ang="0">
                      <a:pos x="connsiteX3" y="connsiteY3"/>
                    </a:cxn>
                  </a:cxnLst>
                  <a:rect l="l" t="t" r="r" b="b"/>
                  <a:pathLst>
                    <a:path w="414987" h="112734">
                      <a:moveTo>
                        <a:pt x="0" y="109787"/>
                      </a:moveTo>
                      <a:lnTo>
                        <a:pt x="414206" y="0"/>
                      </a:lnTo>
                      <a:lnTo>
                        <a:pt x="414988" y="2948"/>
                      </a:lnTo>
                      <a:lnTo>
                        <a:pt x="781" y="112735"/>
                      </a:lnTo>
                      <a:close/>
                    </a:path>
                  </a:pathLst>
                </a:custGeom>
                <a:grpFill/>
                <a:ln w="5978" cap="flat">
                  <a:noFill/>
                  <a:prstDash val="solid"/>
                  <a:miter/>
                </a:ln>
              </p:spPr>
              <p:txBody>
                <a:bodyPr rtlCol="0" anchor="ctr"/>
                <a:lstStyle/>
                <a:p>
                  <a:endParaRPr lang="en-GB"/>
                </a:p>
              </p:txBody>
            </p:sp>
            <p:sp>
              <p:nvSpPr>
                <p:cNvPr id="5174" name="Vrije vorm: vorm 5173">
                  <a:extLst>
                    <a:ext uri="{FF2B5EF4-FFF2-40B4-BE49-F238E27FC236}">
                      <a16:creationId xmlns:a16="http://schemas.microsoft.com/office/drawing/2014/main" id="{BE67296F-660F-4C46-A884-15C05ECC0CA9}"/>
                    </a:ext>
                  </a:extLst>
                </p:cNvPr>
                <p:cNvSpPr/>
                <p:nvPr/>
              </p:nvSpPr>
              <p:spPr>
                <a:xfrm>
                  <a:off x="7612984" y="2839432"/>
                  <a:ext cx="18336" cy="18451"/>
                </a:xfrm>
                <a:custGeom>
                  <a:avLst/>
                  <a:gdLst>
                    <a:gd name="connsiteX0" fmla="*/ 11559 w 18336"/>
                    <a:gd name="connsiteY0" fmla="*/ 18137 h 18451"/>
                    <a:gd name="connsiteX1" fmla="*/ 315 w 18336"/>
                    <a:gd name="connsiteY1" fmla="*/ 11558 h 18451"/>
                    <a:gd name="connsiteX2" fmla="*/ 6774 w 18336"/>
                    <a:gd name="connsiteY2" fmla="*/ 315 h 18451"/>
                    <a:gd name="connsiteX3" fmla="*/ 18018 w 18336"/>
                    <a:gd name="connsiteY3" fmla="*/ 6893 h 18451"/>
                    <a:gd name="connsiteX4" fmla="*/ 11559 w 18336"/>
                    <a:gd name="connsiteY4" fmla="*/ 1813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1">
                      <a:moveTo>
                        <a:pt x="11559" y="18137"/>
                      </a:moveTo>
                      <a:cubicBezTo>
                        <a:pt x="6654" y="19453"/>
                        <a:pt x="1631" y="16522"/>
                        <a:pt x="315" y="11558"/>
                      </a:cubicBezTo>
                      <a:cubicBezTo>
                        <a:pt x="-1001" y="6654"/>
                        <a:pt x="1930" y="1570"/>
                        <a:pt x="6774" y="315"/>
                      </a:cubicBezTo>
                      <a:cubicBezTo>
                        <a:pt x="11679" y="-1001"/>
                        <a:pt x="16702" y="1929"/>
                        <a:pt x="18018" y="6893"/>
                      </a:cubicBezTo>
                      <a:cubicBezTo>
                        <a:pt x="19333" y="11797"/>
                        <a:pt x="16463" y="16881"/>
                        <a:pt x="11559" y="18137"/>
                      </a:cubicBezTo>
                      <a:close/>
                    </a:path>
                  </a:pathLst>
                </a:custGeom>
                <a:grpFill/>
                <a:ln w="5978" cap="flat">
                  <a:noFill/>
                  <a:prstDash val="solid"/>
                  <a:miter/>
                </a:ln>
              </p:spPr>
              <p:txBody>
                <a:bodyPr rtlCol="0" anchor="ctr"/>
                <a:lstStyle/>
                <a:p>
                  <a:endParaRPr lang="en-GB"/>
                </a:p>
              </p:txBody>
            </p:sp>
            <p:sp>
              <p:nvSpPr>
                <p:cNvPr id="5175" name="Vrije vorm: vorm 5174">
                  <a:extLst>
                    <a:ext uri="{FF2B5EF4-FFF2-40B4-BE49-F238E27FC236}">
                      <a16:creationId xmlns:a16="http://schemas.microsoft.com/office/drawing/2014/main" id="{F2FF2B99-C54D-49BE-8026-28C2721E3CF0}"/>
                    </a:ext>
                  </a:extLst>
                </p:cNvPr>
                <p:cNvSpPr/>
                <p:nvPr/>
              </p:nvSpPr>
              <p:spPr>
                <a:xfrm>
                  <a:off x="8026248" y="2729650"/>
                  <a:ext cx="18340" cy="18403"/>
                </a:xfrm>
                <a:custGeom>
                  <a:avLst/>
                  <a:gdLst>
                    <a:gd name="connsiteX0" fmla="*/ 11563 w 18340"/>
                    <a:gd name="connsiteY0" fmla="*/ 18113 h 18403"/>
                    <a:gd name="connsiteX1" fmla="*/ 18022 w 18340"/>
                    <a:gd name="connsiteY1" fmla="*/ 6869 h 18403"/>
                    <a:gd name="connsiteX2" fmla="*/ 6778 w 18340"/>
                    <a:gd name="connsiteY2" fmla="*/ 291 h 18403"/>
                    <a:gd name="connsiteX3" fmla="*/ 319 w 18340"/>
                    <a:gd name="connsiteY3" fmla="*/ 11534 h 18403"/>
                    <a:gd name="connsiteX4" fmla="*/ 11563 w 18340"/>
                    <a:gd name="connsiteY4" fmla="*/ 1811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3">
                      <a:moveTo>
                        <a:pt x="11563" y="18113"/>
                      </a:moveTo>
                      <a:cubicBezTo>
                        <a:pt x="16467" y="16797"/>
                        <a:pt x="19338" y="11774"/>
                        <a:pt x="18022" y="6869"/>
                      </a:cubicBezTo>
                      <a:cubicBezTo>
                        <a:pt x="16706" y="1965"/>
                        <a:pt x="11683" y="-965"/>
                        <a:pt x="6778" y="291"/>
                      </a:cubicBezTo>
                      <a:cubicBezTo>
                        <a:pt x="1874" y="1606"/>
                        <a:pt x="-997" y="6630"/>
                        <a:pt x="319" y="11534"/>
                      </a:cubicBezTo>
                      <a:cubicBezTo>
                        <a:pt x="1635" y="16439"/>
                        <a:pt x="6659" y="19369"/>
                        <a:pt x="11563" y="18113"/>
                      </a:cubicBezTo>
                      <a:close/>
                    </a:path>
                  </a:pathLst>
                </a:custGeom>
                <a:grpFill/>
                <a:ln w="5978" cap="flat">
                  <a:noFill/>
                  <a:prstDash val="solid"/>
                  <a:miter/>
                </a:ln>
              </p:spPr>
              <p:txBody>
                <a:bodyPr rtlCol="0" anchor="ctr"/>
                <a:lstStyle/>
                <a:p>
                  <a:endParaRPr lang="en-GB"/>
                </a:p>
              </p:txBody>
            </p:sp>
          </p:grpSp>
          <p:grpSp>
            <p:nvGrpSpPr>
              <p:cNvPr id="67" name="Graphic 3">
                <a:extLst>
                  <a:ext uri="{FF2B5EF4-FFF2-40B4-BE49-F238E27FC236}">
                    <a16:creationId xmlns:a16="http://schemas.microsoft.com/office/drawing/2014/main" id="{CF42634B-33F0-4663-BB34-ABC796A4005B}"/>
                  </a:ext>
                </a:extLst>
              </p:cNvPr>
              <p:cNvGrpSpPr/>
              <p:nvPr/>
            </p:nvGrpSpPr>
            <p:grpSpPr>
              <a:xfrm>
                <a:off x="7502592" y="2043306"/>
                <a:ext cx="228395" cy="190461"/>
                <a:chOff x="7502592" y="2043306"/>
                <a:chExt cx="228395" cy="190461"/>
              </a:xfrm>
              <a:grpFill/>
            </p:grpSpPr>
            <p:sp>
              <p:nvSpPr>
                <p:cNvPr id="5170" name="Vrije vorm: vorm 5169">
                  <a:extLst>
                    <a:ext uri="{FF2B5EF4-FFF2-40B4-BE49-F238E27FC236}">
                      <a16:creationId xmlns:a16="http://schemas.microsoft.com/office/drawing/2014/main" id="{67ECB4C8-1B67-4CB6-8C17-D4A04D30F8AE}"/>
                    </a:ext>
                  </a:extLst>
                </p:cNvPr>
                <p:cNvSpPr/>
                <p:nvPr/>
              </p:nvSpPr>
              <p:spPr>
                <a:xfrm>
                  <a:off x="7510430" y="2051069"/>
                  <a:ext cx="212674" cy="174936"/>
                </a:xfrm>
                <a:custGeom>
                  <a:avLst/>
                  <a:gdLst>
                    <a:gd name="connsiteX0" fmla="*/ 212675 w 212674"/>
                    <a:gd name="connsiteY0" fmla="*/ 2392 h 174936"/>
                    <a:gd name="connsiteX1" fmla="*/ 1914 w 212674"/>
                    <a:gd name="connsiteY1" fmla="*/ 174936 h 174936"/>
                    <a:gd name="connsiteX2" fmla="*/ 0 w 212674"/>
                    <a:gd name="connsiteY2" fmla="*/ 172544 h 174936"/>
                    <a:gd name="connsiteX3" fmla="*/ 210701 w 212674"/>
                    <a:gd name="connsiteY3" fmla="*/ 0 h 174936"/>
                  </a:gdLst>
                  <a:ahLst/>
                  <a:cxnLst>
                    <a:cxn ang="0">
                      <a:pos x="connsiteX0" y="connsiteY0"/>
                    </a:cxn>
                    <a:cxn ang="0">
                      <a:pos x="connsiteX1" y="connsiteY1"/>
                    </a:cxn>
                    <a:cxn ang="0">
                      <a:pos x="connsiteX2" y="connsiteY2"/>
                    </a:cxn>
                    <a:cxn ang="0">
                      <a:pos x="connsiteX3" y="connsiteY3"/>
                    </a:cxn>
                  </a:cxnLst>
                  <a:rect l="l" t="t" r="r" b="b"/>
                  <a:pathLst>
                    <a:path w="212674" h="174936">
                      <a:moveTo>
                        <a:pt x="212675" y="2392"/>
                      </a:moveTo>
                      <a:lnTo>
                        <a:pt x="1914" y="174936"/>
                      </a:lnTo>
                      <a:lnTo>
                        <a:pt x="0" y="172544"/>
                      </a:lnTo>
                      <a:lnTo>
                        <a:pt x="210701" y="0"/>
                      </a:lnTo>
                      <a:close/>
                    </a:path>
                  </a:pathLst>
                </a:custGeom>
                <a:grpFill/>
                <a:ln w="5978" cap="flat">
                  <a:noFill/>
                  <a:prstDash val="solid"/>
                  <a:miter/>
                </a:ln>
              </p:spPr>
              <p:txBody>
                <a:bodyPr rtlCol="0" anchor="ctr"/>
                <a:lstStyle/>
                <a:p>
                  <a:endParaRPr lang="en-GB"/>
                </a:p>
              </p:txBody>
            </p:sp>
            <p:sp>
              <p:nvSpPr>
                <p:cNvPr id="5171" name="Vrije vorm: vorm 5170">
                  <a:extLst>
                    <a:ext uri="{FF2B5EF4-FFF2-40B4-BE49-F238E27FC236}">
                      <a16:creationId xmlns:a16="http://schemas.microsoft.com/office/drawing/2014/main" id="{1F898A38-935F-4B64-BD2F-FF835B023F73}"/>
                    </a:ext>
                  </a:extLst>
                </p:cNvPr>
                <p:cNvSpPr/>
                <p:nvPr/>
              </p:nvSpPr>
              <p:spPr>
                <a:xfrm>
                  <a:off x="7712616" y="2043306"/>
                  <a:ext cx="18371" cy="18451"/>
                </a:xfrm>
                <a:custGeom>
                  <a:avLst/>
                  <a:gdLst>
                    <a:gd name="connsiteX0" fmla="*/ 3372 w 18371"/>
                    <a:gd name="connsiteY0" fmla="*/ 2081 h 18451"/>
                    <a:gd name="connsiteX1" fmla="*/ 16290 w 18371"/>
                    <a:gd name="connsiteY1" fmla="*/ 3397 h 18451"/>
                    <a:gd name="connsiteX2" fmla="*/ 14975 w 18371"/>
                    <a:gd name="connsiteY2" fmla="*/ 16375 h 18451"/>
                    <a:gd name="connsiteX3" fmla="*/ 2056 w 18371"/>
                    <a:gd name="connsiteY3" fmla="*/ 14999 h 18451"/>
                    <a:gd name="connsiteX4" fmla="*/ 3372 w 18371"/>
                    <a:gd name="connsiteY4" fmla="*/ 2081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1">
                      <a:moveTo>
                        <a:pt x="3372" y="2081"/>
                      </a:moveTo>
                      <a:cubicBezTo>
                        <a:pt x="7259" y="-1148"/>
                        <a:pt x="13061" y="-550"/>
                        <a:pt x="16290" y="3397"/>
                      </a:cubicBezTo>
                      <a:cubicBezTo>
                        <a:pt x="19520" y="7344"/>
                        <a:pt x="18922" y="13145"/>
                        <a:pt x="14975" y="16375"/>
                      </a:cubicBezTo>
                      <a:cubicBezTo>
                        <a:pt x="11087" y="19605"/>
                        <a:pt x="5286" y="19007"/>
                        <a:pt x="2056" y="14999"/>
                      </a:cubicBezTo>
                      <a:cubicBezTo>
                        <a:pt x="-1114" y="11112"/>
                        <a:pt x="-575" y="5311"/>
                        <a:pt x="3372" y="2081"/>
                      </a:cubicBezTo>
                      <a:close/>
                    </a:path>
                  </a:pathLst>
                </a:custGeom>
                <a:grpFill/>
                <a:ln w="5978" cap="flat">
                  <a:noFill/>
                  <a:prstDash val="solid"/>
                  <a:miter/>
                </a:ln>
              </p:spPr>
              <p:txBody>
                <a:bodyPr rtlCol="0" anchor="ctr"/>
                <a:lstStyle/>
                <a:p>
                  <a:endParaRPr lang="en-GB"/>
                </a:p>
              </p:txBody>
            </p:sp>
            <p:sp>
              <p:nvSpPr>
                <p:cNvPr id="5172" name="Vrije vorm: vorm 5171">
                  <a:extLst>
                    <a:ext uri="{FF2B5EF4-FFF2-40B4-BE49-F238E27FC236}">
                      <a16:creationId xmlns:a16="http://schemas.microsoft.com/office/drawing/2014/main" id="{2F6F8DE6-8A5D-4CB2-9462-7F104900FB5C}"/>
                    </a:ext>
                  </a:extLst>
                </p:cNvPr>
                <p:cNvSpPr/>
                <p:nvPr/>
              </p:nvSpPr>
              <p:spPr>
                <a:xfrm>
                  <a:off x="7502592" y="2215311"/>
                  <a:ext cx="18327" cy="18456"/>
                </a:xfrm>
                <a:custGeom>
                  <a:avLst/>
                  <a:gdLst>
                    <a:gd name="connsiteX0" fmla="*/ 3353 w 18327"/>
                    <a:gd name="connsiteY0" fmla="*/ 2081 h 18456"/>
                    <a:gd name="connsiteX1" fmla="*/ 2037 w 18327"/>
                    <a:gd name="connsiteY1" fmla="*/ 15059 h 18456"/>
                    <a:gd name="connsiteX2" fmla="*/ 14956 w 18327"/>
                    <a:gd name="connsiteY2" fmla="*/ 16375 h 18456"/>
                    <a:gd name="connsiteX3" fmla="*/ 16271 w 18327"/>
                    <a:gd name="connsiteY3" fmla="*/ 3397 h 18456"/>
                    <a:gd name="connsiteX4" fmla="*/ 3353 w 18327"/>
                    <a:gd name="connsiteY4" fmla="*/ 2081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56">
                      <a:moveTo>
                        <a:pt x="3353" y="2081"/>
                      </a:moveTo>
                      <a:cubicBezTo>
                        <a:pt x="-534" y="5311"/>
                        <a:pt x="-1133" y="11112"/>
                        <a:pt x="2037" y="15059"/>
                      </a:cubicBezTo>
                      <a:cubicBezTo>
                        <a:pt x="5267" y="19007"/>
                        <a:pt x="11008" y="19605"/>
                        <a:pt x="14956" y="16375"/>
                      </a:cubicBezTo>
                      <a:cubicBezTo>
                        <a:pt x="18903" y="13146"/>
                        <a:pt x="19441" y="7344"/>
                        <a:pt x="16271" y="3397"/>
                      </a:cubicBezTo>
                      <a:cubicBezTo>
                        <a:pt x="13041" y="-550"/>
                        <a:pt x="7240" y="-1148"/>
                        <a:pt x="3353" y="2081"/>
                      </a:cubicBezTo>
                      <a:close/>
                    </a:path>
                  </a:pathLst>
                </a:custGeom>
                <a:grpFill/>
                <a:ln w="5978" cap="flat">
                  <a:noFill/>
                  <a:prstDash val="solid"/>
                  <a:miter/>
                </a:ln>
              </p:spPr>
              <p:txBody>
                <a:bodyPr rtlCol="0" anchor="ctr"/>
                <a:lstStyle/>
                <a:p>
                  <a:endParaRPr lang="en-GB"/>
                </a:p>
              </p:txBody>
            </p:sp>
          </p:grpSp>
          <p:grpSp>
            <p:nvGrpSpPr>
              <p:cNvPr id="68" name="Graphic 3">
                <a:extLst>
                  <a:ext uri="{FF2B5EF4-FFF2-40B4-BE49-F238E27FC236}">
                    <a16:creationId xmlns:a16="http://schemas.microsoft.com/office/drawing/2014/main" id="{810A190B-8B23-4ACD-82E9-6CF37B48AD31}"/>
                  </a:ext>
                </a:extLst>
              </p:cNvPr>
              <p:cNvGrpSpPr/>
              <p:nvPr/>
            </p:nvGrpSpPr>
            <p:grpSpPr>
              <a:xfrm>
                <a:off x="7678004" y="2921931"/>
                <a:ext cx="405492" cy="80541"/>
                <a:chOff x="7678004" y="2921931"/>
                <a:chExt cx="405492" cy="80541"/>
              </a:xfrm>
              <a:grpFill/>
            </p:grpSpPr>
            <p:sp>
              <p:nvSpPr>
                <p:cNvPr id="5167" name="Vrije vorm: vorm 5166">
                  <a:extLst>
                    <a:ext uri="{FF2B5EF4-FFF2-40B4-BE49-F238E27FC236}">
                      <a16:creationId xmlns:a16="http://schemas.microsoft.com/office/drawing/2014/main" id="{0470572E-9CB4-4D3C-A7A5-44BBEB5D7467}"/>
                    </a:ext>
                  </a:extLst>
                </p:cNvPr>
                <p:cNvSpPr/>
                <p:nvPr/>
              </p:nvSpPr>
              <p:spPr>
                <a:xfrm>
                  <a:off x="7686443" y="2929577"/>
                  <a:ext cx="388567" cy="65249"/>
                </a:xfrm>
                <a:custGeom>
                  <a:avLst/>
                  <a:gdLst>
                    <a:gd name="connsiteX0" fmla="*/ 388089 w 388567"/>
                    <a:gd name="connsiteY0" fmla="*/ 0 h 65249"/>
                    <a:gd name="connsiteX1" fmla="*/ 388567 w 388567"/>
                    <a:gd name="connsiteY1" fmla="*/ 2990 h 65249"/>
                    <a:gd name="connsiteX2" fmla="*/ 478 w 388567"/>
                    <a:gd name="connsiteY2" fmla="*/ 65250 h 65249"/>
                    <a:gd name="connsiteX3" fmla="*/ 0 w 388567"/>
                    <a:gd name="connsiteY3" fmla="*/ 62259 h 65249"/>
                  </a:gdLst>
                  <a:ahLst/>
                  <a:cxnLst>
                    <a:cxn ang="0">
                      <a:pos x="connsiteX0" y="connsiteY0"/>
                    </a:cxn>
                    <a:cxn ang="0">
                      <a:pos x="connsiteX1" y="connsiteY1"/>
                    </a:cxn>
                    <a:cxn ang="0">
                      <a:pos x="connsiteX2" y="connsiteY2"/>
                    </a:cxn>
                    <a:cxn ang="0">
                      <a:pos x="connsiteX3" y="connsiteY3"/>
                    </a:cxn>
                  </a:cxnLst>
                  <a:rect l="l" t="t" r="r" b="b"/>
                  <a:pathLst>
                    <a:path w="388567" h="65249">
                      <a:moveTo>
                        <a:pt x="388089" y="0"/>
                      </a:moveTo>
                      <a:lnTo>
                        <a:pt x="388567" y="2990"/>
                      </a:lnTo>
                      <a:lnTo>
                        <a:pt x="478" y="65250"/>
                      </a:lnTo>
                      <a:lnTo>
                        <a:pt x="0" y="62259"/>
                      </a:lnTo>
                      <a:close/>
                    </a:path>
                  </a:pathLst>
                </a:custGeom>
                <a:grpFill/>
                <a:ln w="5978" cap="flat">
                  <a:noFill/>
                  <a:prstDash val="solid"/>
                  <a:miter/>
                </a:ln>
              </p:spPr>
              <p:txBody>
                <a:bodyPr rtlCol="0" anchor="ctr"/>
                <a:lstStyle/>
                <a:p>
                  <a:endParaRPr lang="en-GB"/>
                </a:p>
              </p:txBody>
            </p:sp>
            <p:sp>
              <p:nvSpPr>
                <p:cNvPr id="5168" name="Vrije vorm: vorm 5167">
                  <a:extLst>
                    <a:ext uri="{FF2B5EF4-FFF2-40B4-BE49-F238E27FC236}">
                      <a16:creationId xmlns:a16="http://schemas.microsoft.com/office/drawing/2014/main" id="{8715C424-8BD3-41A5-A963-1D61E825EF43}"/>
                    </a:ext>
                  </a:extLst>
                </p:cNvPr>
                <p:cNvSpPr/>
                <p:nvPr/>
              </p:nvSpPr>
              <p:spPr>
                <a:xfrm>
                  <a:off x="7678004" y="2984070"/>
                  <a:ext cx="18314" cy="18402"/>
                </a:xfrm>
                <a:custGeom>
                  <a:avLst/>
                  <a:gdLst>
                    <a:gd name="connsiteX0" fmla="*/ 10653 w 18314"/>
                    <a:gd name="connsiteY0" fmla="*/ 18292 h 18402"/>
                    <a:gd name="connsiteX1" fmla="*/ 127 w 18314"/>
                    <a:gd name="connsiteY1" fmla="*/ 10636 h 18402"/>
                    <a:gd name="connsiteX2" fmla="*/ 7662 w 18314"/>
                    <a:gd name="connsiteY2" fmla="*/ 110 h 18402"/>
                    <a:gd name="connsiteX3" fmla="*/ 18188 w 18314"/>
                    <a:gd name="connsiteY3" fmla="*/ 7766 h 18402"/>
                    <a:gd name="connsiteX4" fmla="*/ 10653 w 18314"/>
                    <a:gd name="connsiteY4" fmla="*/ 18292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02">
                      <a:moveTo>
                        <a:pt x="10653" y="18292"/>
                      </a:moveTo>
                      <a:cubicBezTo>
                        <a:pt x="5629" y="19069"/>
                        <a:pt x="964" y="15660"/>
                        <a:pt x="127" y="10636"/>
                      </a:cubicBezTo>
                      <a:cubicBezTo>
                        <a:pt x="-711" y="5613"/>
                        <a:pt x="2699" y="888"/>
                        <a:pt x="7662" y="110"/>
                      </a:cubicBezTo>
                      <a:cubicBezTo>
                        <a:pt x="12686" y="-667"/>
                        <a:pt x="17351" y="2742"/>
                        <a:pt x="18188" y="7766"/>
                      </a:cubicBezTo>
                      <a:cubicBezTo>
                        <a:pt x="19026" y="12730"/>
                        <a:pt x="15616" y="17455"/>
                        <a:pt x="10653" y="18292"/>
                      </a:cubicBezTo>
                      <a:close/>
                    </a:path>
                  </a:pathLst>
                </a:custGeom>
                <a:grpFill/>
                <a:ln w="5978" cap="flat">
                  <a:noFill/>
                  <a:prstDash val="solid"/>
                  <a:miter/>
                </a:ln>
              </p:spPr>
              <p:txBody>
                <a:bodyPr rtlCol="0" anchor="ctr"/>
                <a:lstStyle/>
                <a:p>
                  <a:endParaRPr lang="en-GB"/>
                </a:p>
              </p:txBody>
            </p:sp>
            <p:sp>
              <p:nvSpPr>
                <p:cNvPr id="5169" name="Vrije vorm: vorm 5168">
                  <a:extLst>
                    <a:ext uri="{FF2B5EF4-FFF2-40B4-BE49-F238E27FC236}">
                      <a16:creationId xmlns:a16="http://schemas.microsoft.com/office/drawing/2014/main" id="{7894F1AF-1654-4721-9182-336D63D45544}"/>
                    </a:ext>
                  </a:extLst>
                </p:cNvPr>
                <p:cNvSpPr/>
                <p:nvPr/>
              </p:nvSpPr>
              <p:spPr>
                <a:xfrm>
                  <a:off x="8065194" y="2921931"/>
                  <a:ext cx="18302" cy="18416"/>
                </a:xfrm>
                <a:custGeom>
                  <a:avLst/>
                  <a:gdLst>
                    <a:gd name="connsiteX0" fmla="*/ 10595 w 18302"/>
                    <a:gd name="connsiteY0" fmla="*/ 18292 h 18416"/>
                    <a:gd name="connsiteX1" fmla="*/ 18190 w 18302"/>
                    <a:gd name="connsiteY1" fmla="*/ 7766 h 18416"/>
                    <a:gd name="connsiteX2" fmla="*/ 7664 w 18302"/>
                    <a:gd name="connsiteY2" fmla="*/ 110 h 18416"/>
                    <a:gd name="connsiteX3" fmla="*/ 128 w 18302"/>
                    <a:gd name="connsiteY3" fmla="*/ 10637 h 18416"/>
                    <a:gd name="connsiteX4" fmla="*/ 10595 w 18302"/>
                    <a:gd name="connsiteY4" fmla="*/ 1829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16">
                      <a:moveTo>
                        <a:pt x="10595" y="18292"/>
                      </a:moveTo>
                      <a:cubicBezTo>
                        <a:pt x="15618" y="17514"/>
                        <a:pt x="18968" y="12790"/>
                        <a:pt x="18190" y="7766"/>
                      </a:cubicBezTo>
                      <a:cubicBezTo>
                        <a:pt x="17353" y="2742"/>
                        <a:pt x="12688" y="-667"/>
                        <a:pt x="7664" y="110"/>
                      </a:cubicBezTo>
                      <a:cubicBezTo>
                        <a:pt x="2640" y="888"/>
                        <a:pt x="-709" y="5613"/>
                        <a:pt x="128" y="10637"/>
                      </a:cubicBezTo>
                      <a:cubicBezTo>
                        <a:pt x="906" y="15660"/>
                        <a:pt x="5631" y="19129"/>
                        <a:pt x="10595" y="18292"/>
                      </a:cubicBezTo>
                      <a:close/>
                    </a:path>
                  </a:pathLst>
                </a:custGeom>
                <a:grpFill/>
                <a:ln w="5978" cap="flat">
                  <a:noFill/>
                  <a:prstDash val="solid"/>
                  <a:miter/>
                </a:ln>
              </p:spPr>
              <p:txBody>
                <a:bodyPr rtlCol="0" anchor="ctr"/>
                <a:lstStyle/>
                <a:p>
                  <a:endParaRPr lang="en-GB"/>
                </a:p>
              </p:txBody>
            </p:sp>
          </p:grpSp>
          <p:grpSp>
            <p:nvGrpSpPr>
              <p:cNvPr id="69" name="Graphic 3">
                <a:extLst>
                  <a:ext uri="{FF2B5EF4-FFF2-40B4-BE49-F238E27FC236}">
                    <a16:creationId xmlns:a16="http://schemas.microsoft.com/office/drawing/2014/main" id="{33CD1680-86B4-4168-8F68-4A3727063DD2}"/>
                  </a:ext>
                </a:extLst>
              </p:cNvPr>
              <p:cNvGrpSpPr/>
              <p:nvPr/>
            </p:nvGrpSpPr>
            <p:grpSpPr>
              <a:xfrm>
                <a:off x="7670985" y="2887028"/>
                <a:ext cx="391731" cy="84558"/>
                <a:chOff x="7670985" y="2887028"/>
                <a:chExt cx="391731" cy="84558"/>
              </a:xfrm>
              <a:grpFill/>
            </p:grpSpPr>
            <p:sp>
              <p:nvSpPr>
                <p:cNvPr id="5164" name="Vrije vorm: vorm 5163">
                  <a:extLst>
                    <a:ext uri="{FF2B5EF4-FFF2-40B4-BE49-F238E27FC236}">
                      <a16:creationId xmlns:a16="http://schemas.microsoft.com/office/drawing/2014/main" id="{E4CDAFE6-882C-40C1-A652-440CE7C62FC7}"/>
                    </a:ext>
                  </a:extLst>
                </p:cNvPr>
                <p:cNvSpPr/>
                <p:nvPr/>
              </p:nvSpPr>
              <p:spPr>
                <a:xfrm>
                  <a:off x="7679446" y="2894650"/>
                  <a:ext cx="374812" cy="69316"/>
                </a:xfrm>
                <a:custGeom>
                  <a:avLst/>
                  <a:gdLst>
                    <a:gd name="connsiteX0" fmla="*/ 374274 w 374812"/>
                    <a:gd name="connsiteY0" fmla="*/ 0 h 69316"/>
                    <a:gd name="connsiteX1" fmla="*/ 374812 w 374812"/>
                    <a:gd name="connsiteY1" fmla="*/ 3050 h 69316"/>
                    <a:gd name="connsiteX2" fmla="*/ 539 w 374812"/>
                    <a:gd name="connsiteY2" fmla="*/ 69317 h 69316"/>
                    <a:gd name="connsiteX3" fmla="*/ 0 w 374812"/>
                    <a:gd name="connsiteY3" fmla="*/ 66266 h 69316"/>
                  </a:gdLst>
                  <a:ahLst/>
                  <a:cxnLst>
                    <a:cxn ang="0">
                      <a:pos x="connsiteX0" y="connsiteY0"/>
                    </a:cxn>
                    <a:cxn ang="0">
                      <a:pos x="connsiteX1" y="connsiteY1"/>
                    </a:cxn>
                    <a:cxn ang="0">
                      <a:pos x="connsiteX2" y="connsiteY2"/>
                    </a:cxn>
                    <a:cxn ang="0">
                      <a:pos x="connsiteX3" y="connsiteY3"/>
                    </a:cxn>
                  </a:cxnLst>
                  <a:rect l="l" t="t" r="r" b="b"/>
                  <a:pathLst>
                    <a:path w="374812" h="69316">
                      <a:moveTo>
                        <a:pt x="374274" y="0"/>
                      </a:moveTo>
                      <a:lnTo>
                        <a:pt x="374812" y="3050"/>
                      </a:lnTo>
                      <a:lnTo>
                        <a:pt x="539" y="69317"/>
                      </a:lnTo>
                      <a:lnTo>
                        <a:pt x="0" y="66266"/>
                      </a:lnTo>
                      <a:close/>
                    </a:path>
                  </a:pathLst>
                </a:custGeom>
                <a:grpFill/>
                <a:ln w="5978" cap="flat">
                  <a:noFill/>
                  <a:prstDash val="solid"/>
                  <a:miter/>
                </a:ln>
              </p:spPr>
              <p:txBody>
                <a:bodyPr rtlCol="0" anchor="ctr"/>
                <a:lstStyle/>
                <a:p>
                  <a:endParaRPr lang="en-GB"/>
                </a:p>
              </p:txBody>
            </p:sp>
            <p:sp>
              <p:nvSpPr>
                <p:cNvPr id="5165" name="Vrije vorm: vorm 5164">
                  <a:extLst>
                    <a:ext uri="{FF2B5EF4-FFF2-40B4-BE49-F238E27FC236}">
                      <a16:creationId xmlns:a16="http://schemas.microsoft.com/office/drawing/2014/main" id="{394F58DB-7D33-463D-8A78-0FCD986504FA}"/>
                    </a:ext>
                  </a:extLst>
                </p:cNvPr>
                <p:cNvSpPr/>
                <p:nvPr/>
              </p:nvSpPr>
              <p:spPr>
                <a:xfrm>
                  <a:off x="7670985" y="2953175"/>
                  <a:ext cx="18354" cy="18412"/>
                </a:xfrm>
                <a:custGeom>
                  <a:avLst/>
                  <a:gdLst>
                    <a:gd name="connsiteX0" fmla="*/ 10793 w 18354"/>
                    <a:gd name="connsiteY0" fmla="*/ 18267 h 18412"/>
                    <a:gd name="connsiteX1" fmla="*/ 147 w 18354"/>
                    <a:gd name="connsiteY1" fmla="*/ 10791 h 18412"/>
                    <a:gd name="connsiteX2" fmla="*/ 7564 w 18354"/>
                    <a:gd name="connsiteY2" fmla="*/ 145 h 18412"/>
                    <a:gd name="connsiteX3" fmla="*/ 18209 w 18354"/>
                    <a:gd name="connsiteY3" fmla="*/ 7621 h 18412"/>
                    <a:gd name="connsiteX4" fmla="*/ 10793 w 18354"/>
                    <a:gd name="connsiteY4" fmla="*/ 1826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0793" y="18267"/>
                      </a:moveTo>
                      <a:cubicBezTo>
                        <a:pt x="5829" y="19164"/>
                        <a:pt x="1044" y="15815"/>
                        <a:pt x="147" y="10791"/>
                      </a:cubicBezTo>
                      <a:cubicBezTo>
                        <a:pt x="-749" y="5767"/>
                        <a:pt x="2540" y="983"/>
                        <a:pt x="7564" y="145"/>
                      </a:cubicBezTo>
                      <a:cubicBezTo>
                        <a:pt x="12528" y="-752"/>
                        <a:pt x="17313" y="2597"/>
                        <a:pt x="18209" y="7621"/>
                      </a:cubicBezTo>
                      <a:cubicBezTo>
                        <a:pt x="19106" y="12585"/>
                        <a:pt x="15758" y="17370"/>
                        <a:pt x="10793" y="18267"/>
                      </a:cubicBezTo>
                      <a:close/>
                    </a:path>
                  </a:pathLst>
                </a:custGeom>
                <a:grpFill/>
                <a:ln w="5978" cap="flat">
                  <a:noFill/>
                  <a:prstDash val="solid"/>
                  <a:miter/>
                </a:ln>
              </p:spPr>
              <p:txBody>
                <a:bodyPr rtlCol="0" anchor="ctr"/>
                <a:lstStyle/>
                <a:p>
                  <a:endParaRPr lang="en-GB"/>
                </a:p>
              </p:txBody>
            </p:sp>
            <p:sp>
              <p:nvSpPr>
                <p:cNvPr id="5166" name="Vrije vorm: vorm 5165">
                  <a:extLst>
                    <a:ext uri="{FF2B5EF4-FFF2-40B4-BE49-F238E27FC236}">
                      <a16:creationId xmlns:a16="http://schemas.microsoft.com/office/drawing/2014/main" id="{429DB4ED-1BA5-4151-82E8-62A68163DAD7}"/>
                    </a:ext>
                  </a:extLst>
                </p:cNvPr>
                <p:cNvSpPr/>
                <p:nvPr/>
              </p:nvSpPr>
              <p:spPr>
                <a:xfrm>
                  <a:off x="8044364" y="2887028"/>
                  <a:ext cx="18352" cy="18412"/>
                </a:xfrm>
                <a:custGeom>
                  <a:avLst/>
                  <a:gdLst>
                    <a:gd name="connsiteX0" fmla="*/ 10791 w 18352"/>
                    <a:gd name="connsiteY0" fmla="*/ 18267 h 18412"/>
                    <a:gd name="connsiteX1" fmla="*/ 18207 w 18352"/>
                    <a:gd name="connsiteY1" fmla="*/ 7621 h 18412"/>
                    <a:gd name="connsiteX2" fmla="*/ 7561 w 18352"/>
                    <a:gd name="connsiteY2" fmla="*/ 145 h 18412"/>
                    <a:gd name="connsiteX3" fmla="*/ 145 w 18352"/>
                    <a:gd name="connsiteY3" fmla="*/ 10791 h 18412"/>
                    <a:gd name="connsiteX4" fmla="*/ 10791 w 18352"/>
                    <a:gd name="connsiteY4" fmla="*/ 1826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2">
                      <a:moveTo>
                        <a:pt x="10791" y="18267"/>
                      </a:moveTo>
                      <a:cubicBezTo>
                        <a:pt x="15755" y="17370"/>
                        <a:pt x="19105" y="12585"/>
                        <a:pt x="18207" y="7621"/>
                      </a:cubicBezTo>
                      <a:cubicBezTo>
                        <a:pt x="17310" y="2597"/>
                        <a:pt x="12525" y="-752"/>
                        <a:pt x="7561" y="145"/>
                      </a:cubicBezTo>
                      <a:cubicBezTo>
                        <a:pt x="2598" y="1042"/>
                        <a:pt x="-752" y="5827"/>
                        <a:pt x="145" y="10791"/>
                      </a:cubicBezTo>
                      <a:cubicBezTo>
                        <a:pt x="1043" y="15815"/>
                        <a:pt x="5827" y="19164"/>
                        <a:pt x="10791" y="18267"/>
                      </a:cubicBezTo>
                      <a:close/>
                    </a:path>
                  </a:pathLst>
                </a:custGeom>
                <a:grpFill/>
                <a:ln w="5978" cap="flat">
                  <a:noFill/>
                  <a:prstDash val="solid"/>
                  <a:miter/>
                </a:ln>
              </p:spPr>
              <p:txBody>
                <a:bodyPr rtlCol="0" anchor="ctr"/>
                <a:lstStyle/>
                <a:p>
                  <a:endParaRPr lang="en-GB"/>
                </a:p>
              </p:txBody>
            </p:sp>
          </p:grpSp>
          <p:grpSp>
            <p:nvGrpSpPr>
              <p:cNvPr id="70" name="Graphic 3">
                <a:extLst>
                  <a:ext uri="{FF2B5EF4-FFF2-40B4-BE49-F238E27FC236}">
                    <a16:creationId xmlns:a16="http://schemas.microsoft.com/office/drawing/2014/main" id="{40B0DB1E-857A-4862-8653-9E9227A783CE}"/>
                  </a:ext>
                </a:extLst>
              </p:cNvPr>
              <p:cNvGrpSpPr/>
              <p:nvPr/>
            </p:nvGrpSpPr>
            <p:grpSpPr>
              <a:xfrm>
                <a:off x="7355249" y="1601765"/>
                <a:ext cx="222745" cy="262317"/>
                <a:chOff x="7355249" y="1601765"/>
                <a:chExt cx="222745" cy="262317"/>
              </a:xfrm>
              <a:grpFill/>
            </p:grpSpPr>
            <p:sp>
              <p:nvSpPr>
                <p:cNvPr id="5161" name="Vrije vorm: vorm 5160">
                  <a:extLst>
                    <a:ext uri="{FF2B5EF4-FFF2-40B4-BE49-F238E27FC236}">
                      <a16:creationId xmlns:a16="http://schemas.microsoft.com/office/drawing/2014/main" id="{20E06F5F-DFB7-4B72-BDEA-EE6426B0FB1B}"/>
                    </a:ext>
                  </a:extLst>
                </p:cNvPr>
                <p:cNvSpPr/>
                <p:nvPr/>
              </p:nvSpPr>
              <p:spPr>
                <a:xfrm>
                  <a:off x="7362946" y="1609692"/>
                  <a:ext cx="207351" cy="246525"/>
                </a:xfrm>
                <a:custGeom>
                  <a:avLst/>
                  <a:gdLst>
                    <a:gd name="connsiteX0" fmla="*/ 207351 w 207351"/>
                    <a:gd name="connsiteY0" fmla="*/ 1974 h 246525"/>
                    <a:gd name="connsiteX1" fmla="*/ 2333 w 207351"/>
                    <a:gd name="connsiteY1" fmla="*/ 246525 h 246525"/>
                    <a:gd name="connsiteX2" fmla="*/ 0 w 207351"/>
                    <a:gd name="connsiteY2" fmla="*/ 244552 h 246525"/>
                    <a:gd name="connsiteX3" fmla="*/ 205019 w 207351"/>
                    <a:gd name="connsiteY3" fmla="*/ 0 h 246525"/>
                  </a:gdLst>
                  <a:ahLst/>
                  <a:cxnLst>
                    <a:cxn ang="0">
                      <a:pos x="connsiteX0" y="connsiteY0"/>
                    </a:cxn>
                    <a:cxn ang="0">
                      <a:pos x="connsiteX1" y="connsiteY1"/>
                    </a:cxn>
                    <a:cxn ang="0">
                      <a:pos x="connsiteX2" y="connsiteY2"/>
                    </a:cxn>
                    <a:cxn ang="0">
                      <a:pos x="connsiteX3" y="connsiteY3"/>
                    </a:cxn>
                  </a:cxnLst>
                  <a:rect l="l" t="t" r="r" b="b"/>
                  <a:pathLst>
                    <a:path w="207351" h="246525">
                      <a:moveTo>
                        <a:pt x="207351" y="1974"/>
                      </a:moveTo>
                      <a:lnTo>
                        <a:pt x="2333" y="246525"/>
                      </a:lnTo>
                      <a:lnTo>
                        <a:pt x="0" y="244552"/>
                      </a:lnTo>
                      <a:lnTo>
                        <a:pt x="205019" y="0"/>
                      </a:lnTo>
                      <a:close/>
                    </a:path>
                  </a:pathLst>
                </a:custGeom>
                <a:grpFill/>
                <a:ln w="5978" cap="flat">
                  <a:noFill/>
                  <a:prstDash val="solid"/>
                  <a:miter/>
                </a:ln>
              </p:spPr>
              <p:txBody>
                <a:bodyPr rtlCol="0" anchor="ctr"/>
                <a:lstStyle/>
                <a:p>
                  <a:endParaRPr lang="en-GB"/>
                </a:p>
              </p:txBody>
            </p:sp>
            <p:sp>
              <p:nvSpPr>
                <p:cNvPr id="5162" name="Vrije vorm: vorm 5161">
                  <a:extLst>
                    <a:ext uri="{FF2B5EF4-FFF2-40B4-BE49-F238E27FC236}">
                      <a16:creationId xmlns:a16="http://schemas.microsoft.com/office/drawing/2014/main" id="{B65D08BD-9A9A-44BE-9D98-32234C10069C}"/>
                    </a:ext>
                  </a:extLst>
                </p:cNvPr>
                <p:cNvSpPr/>
                <p:nvPr/>
              </p:nvSpPr>
              <p:spPr>
                <a:xfrm>
                  <a:off x="7559645" y="1601765"/>
                  <a:ext cx="18349" cy="18423"/>
                </a:xfrm>
                <a:custGeom>
                  <a:avLst/>
                  <a:gdLst>
                    <a:gd name="connsiteX0" fmla="*/ 2160 w 18349"/>
                    <a:gd name="connsiteY0" fmla="*/ 3261 h 18423"/>
                    <a:gd name="connsiteX1" fmla="*/ 15078 w 18349"/>
                    <a:gd name="connsiteY1" fmla="*/ 2185 h 18423"/>
                    <a:gd name="connsiteX2" fmla="*/ 16215 w 18349"/>
                    <a:gd name="connsiteY2" fmla="*/ 15163 h 18423"/>
                    <a:gd name="connsiteX3" fmla="*/ 3296 w 18349"/>
                    <a:gd name="connsiteY3" fmla="*/ 16239 h 18423"/>
                    <a:gd name="connsiteX4" fmla="*/ 2160 w 18349"/>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3">
                      <a:moveTo>
                        <a:pt x="2160" y="3261"/>
                      </a:moveTo>
                      <a:cubicBezTo>
                        <a:pt x="5389" y="-626"/>
                        <a:pt x="11191" y="-1105"/>
                        <a:pt x="15078" y="2185"/>
                      </a:cubicBezTo>
                      <a:cubicBezTo>
                        <a:pt x="18965" y="5474"/>
                        <a:pt x="19444" y="11275"/>
                        <a:pt x="16215" y="15163"/>
                      </a:cubicBezTo>
                      <a:cubicBezTo>
                        <a:pt x="12985" y="19050"/>
                        <a:pt x="7184" y="19529"/>
                        <a:pt x="3296" y="16239"/>
                      </a:cubicBezTo>
                      <a:cubicBezTo>
                        <a:pt x="-592" y="13010"/>
                        <a:pt x="-1130" y="7149"/>
                        <a:pt x="2160" y="3261"/>
                      </a:cubicBezTo>
                      <a:close/>
                    </a:path>
                  </a:pathLst>
                </a:custGeom>
                <a:grpFill/>
                <a:ln w="5978" cap="flat">
                  <a:noFill/>
                  <a:prstDash val="solid"/>
                  <a:miter/>
                </a:ln>
              </p:spPr>
              <p:txBody>
                <a:bodyPr rtlCol="0" anchor="ctr"/>
                <a:lstStyle/>
                <a:p>
                  <a:endParaRPr lang="en-GB"/>
                </a:p>
              </p:txBody>
            </p:sp>
            <p:sp>
              <p:nvSpPr>
                <p:cNvPr id="5163" name="Vrije vorm: vorm 5162">
                  <a:extLst>
                    <a:ext uri="{FF2B5EF4-FFF2-40B4-BE49-F238E27FC236}">
                      <a16:creationId xmlns:a16="http://schemas.microsoft.com/office/drawing/2014/main" id="{AED15CB9-EA3D-4C00-B792-226AEBE667D1}"/>
                    </a:ext>
                  </a:extLst>
                </p:cNvPr>
                <p:cNvSpPr/>
                <p:nvPr/>
              </p:nvSpPr>
              <p:spPr>
                <a:xfrm>
                  <a:off x="7355249" y="1845659"/>
                  <a:ext cx="18324" cy="18423"/>
                </a:xfrm>
                <a:custGeom>
                  <a:avLst/>
                  <a:gdLst>
                    <a:gd name="connsiteX0" fmla="*/ 2135 w 18324"/>
                    <a:gd name="connsiteY0" fmla="*/ 3261 h 18423"/>
                    <a:gd name="connsiteX1" fmla="*/ 3272 w 18324"/>
                    <a:gd name="connsiteY1" fmla="*/ 16239 h 18423"/>
                    <a:gd name="connsiteX2" fmla="*/ 16190 w 18324"/>
                    <a:gd name="connsiteY2" fmla="*/ 15163 h 18423"/>
                    <a:gd name="connsiteX3" fmla="*/ 15054 w 18324"/>
                    <a:gd name="connsiteY3" fmla="*/ 2185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1095" y="7149"/>
                        <a:pt x="-616" y="12950"/>
                        <a:pt x="3272" y="16239"/>
                      </a:cubicBezTo>
                      <a:cubicBezTo>
                        <a:pt x="7159" y="19529"/>
                        <a:pt x="12901" y="19050"/>
                        <a:pt x="16190" y="15163"/>
                      </a:cubicBezTo>
                      <a:cubicBezTo>
                        <a:pt x="19419" y="11275"/>
                        <a:pt x="18941" y="5474"/>
                        <a:pt x="15054" y="2185"/>
                      </a:cubicBezTo>
                      <a:cubicBezTo>
                        <a:pt x="11166" y="-1105"/>
                        <a:pt x="5425" y="-626"/>
                        <a:pt x="2135" y="3261"/>
                      </a:cubicBezTo>
                      <a:close/>
                    </a:path>
                  </a:pathLst>
                </a:custGeom>
                <a:grpFill/>
                <a:ln w="5978" cap="flat">
                  <a:noFill/>
                  <a:prstDash val="solid"/>
                  <a:miter/>
                </a:ln>
              </p:spPr>
              <p:txBody>
                <a:bodyPr rtlCol="0" anchor="ctr"/>
                <a:lstStyle/>
                <a:p>
                  <a:endParaRPr lang="en-GB"/>
                </a:p>
              </p:txBody>
            </p:sp>
          </p:grpSp>
          <p:grpSp>
            <p:nvGrpSpPr>
              <p:cNvPr id="71" name="Graphic 3">
                <a:extLst>
                  <a:ext uri="{FF2B5EF4-FFF2-40B4-BE49-F238E27FC236}">
                    <a16:creationId xmlns:a16="http://schemas.microsoft.com/office/drawing/2014/main" id="{9FA77A83-CD8F-48C3-8A24-DC75E80FE352}"/>
                  </a:ext>
                </a:extLst>
              </p:cNvPr>
              <p:cNvGrpSpPr/>
              <p:nvPr/>
            </p:nvGrpSpPr>
            <p:grpSpPr>
              <a:xfrm>
                <a:off x="7687884" y="2479142"/>
                <a:ext cx="82285" cy="53249"/>
                <a:chOff x="7687884" y="2479142"/>
                <a:chExt cx="82285" cy="53249"/>
              </a:xfrm>
              <a:grpFill/>
            </p:grpSpPr>
            <p:sp>
              <p:nvSpPr>
                <p:cNvPr id="5158" name="Vrije vorm: vorm 5157">
                  <a:extLst>
                    <a:ext uri="{FF2B5EF4-FFF2-40B4-BE49-F238E27FC236}">
                      <a16:creationId xmlns:a16="http://schemas.microsoft.com/office/drawing/2014/main" id="{CF3D1863-C570-46D8-B953-1ADC4B8962DC}"/>
                    </a:ext>
                  </a:extLst>
                </p:cNvPr>
                <p:cNvSpPr/>
                <p:nvPr/>
              </p:nvSpPr>
              <p:spPr>
                <a:xfrm>
                  <a:off x="7695953" y="2486824"/>
                  <a:ext cx="66207" cy="37917"/>
                </a:xfrm>
                <a:custGeom>
                  <a:avLst/>
                  <a:gdLst>
                    <a:gd name="connsiteX0" fmla="*/ 66207 w 66207"/>
                    <a:gd name="connsiteY0" fmla="*/ 2691 h 37917"/>
                    <a:gd name="connsiteX1" fmla="*/ 1435 w 66207"/>
                    <a:gd name="connsiteY1" fmla="*/ 37918 h 37917"/>
                    <a:gd name="connsiteX2" fmla="*/ 0 w 66207"/>
                    <a:gd name="connsiteY2" fmla="*/ 35226 h 37917"/>
                    <a:gd name="connsiteX3" fmla="*/ 64712 w 66207"/>
                    <a:gd name="connsiteY3" fmla="*/ 0 h 37917"/>
                  </a:gdLst>
                  <a:ahLst/>
                  <a:cxnLst>
                    <a:cxn ang="0">
                      <a:pos x="connsiteX0" y="connsiteY0"/>
                    </a:cxn>
                    <a:cxn ang="0">
                      <a:pos x="connsiteX1" y="connsiteY1"/>
                    </a:cxn>
                    <a:cxn ang="0">
                      <a:pos x="connsiteX2" y="connsiteY2"/>
                    </a:cxn>
                    <a:cxn ang="0">
                      <a:pos x="connsiteX3" y="connsiteY3"/>
                    </a:cxn>
                  </a:cxnLst>
                  <a:rect l="l" t="t" r="r" b="b"/>
                  <a:pathLst>
                    <a:path w="66207" h="37917">
                      <a:moveTo>
                        <a:pt x="66207" y="2691"/>
                      </a:moveTo>
                      <a:lnTo>
                        <a:pt x="1435" y="37918"/>
                      </a:lnTo>
                      <a:lnTo>
                        <a:pt x="0" y="35226"/>
                      </a:lnTo>
                      <a:lnTo>
                        <a:pt x="64712" y="0"/>
                      </a:lnTo>
                      <a:close/>
                    </a:path>
                  </a:pathLst>
                </a:custGeom>
                <a:grpFill/>
                <a:ln w="5978" cap="flat">
                  <a:noFill/>
                  <a:prstDash val="solid"/>
                  <a:miter/>
                </a:ln>
              </p:spPr>
              <p:txBody>
                <a:bodyPr rtlCol="0" anchor="ctr"/>
                <a:lstStyle/>
                <a:p>
                  <a:endParaRPr lang="en-GB"/>
                </a:p>
              </p:txBody>
            </p:sp>
            <p:sp>
              <p:nvSpPr>
                <p:cNvPr id="5159" name="Vrije vorm: vorm 5158">
                  <a:extLst>
                    <a:ext uri="{FF2B5EF4-FFF2-40B4-BE49-F238E27FC236}">
                      <a16:creationId xmlns:a16="http://schemas.microsoft.com/office/drawing/2014/main" id="{DB2878F8-6578-441E-A331-438F596D3119}"/>
                    </a:ext>
                  </a:extLst>
                </p:cNvPr>
                <p:cNvSpPr/>
                <p:nvPr/>
              </p:nvSpPr>
              <p:spPr>
                <a:xfrm>
                  <a:off x="7751844" y="2479142"/>
                  <a:ext cx="18325" cy="18414"/>
                </a:xfrm>
                <a:custGeom>
                  <a:avLst/>
                  <a:gdLst>
                    <a:gd name="connsiteX0" fmla="*/ 4754 w 18325"/>
                    <a:gd name="connsiteY0" fmla="*/ 1103 h 18414"/>
                    <a:gd name="connsiteX1" fmla="*/ 17194 w 18325"/>
                    <a:gd name="connsiteY1" fmla="*/ 4812 h 18414"/>
                    <a:gd name="connsiteX2" fmla="*/ 13545 w 18325"/>
                    <a:gd name="connsiteY2" fmla="*/ 17311 h 18414"/>
                    <a:gd name="connsiteX3" fmla="*/ 1105 w 18325"/>
                    <a:gd name="connsiteY3" fmla="*/ 13603 h 18414"/>
                    <a:gd name="connsiteX4" fmla="*/ 4754 w 18325"/>
                    <a:gd name="connsiteY4" fmla="*/ 11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14">
                      <a:moveTo>
                        <a:pt x="4754" y="1103"/>
                      </a:moveTo>
                      <a:cubicBezTo>
                        <a:pt x="9179" y="-1289"/>
                        <a:pt x="14742" y="326"/>
                        <a:pt x="17194" y="4812"/>
                      </a:cubicBezTo>
                      <a:cubicBezTo>
                        <a:pt x="19645" y="9297"/>
                        <a:pt x="17971" y="14859"/>
                        <a:pt x="13545" y="17311"/>
                      </a:cubicBezTo>
                      <a:cubicBezTo>
                        <a:pt x="9119" y="19704"/>
                        <a:pt x="3558" y="18089"/>
                        <a:pt x="1105" y="13603"/>
                      </a:cubicBezTo>
                      <a:cubicBezTo>
                        <a:pt x="-1287" y="9118"/>
                        <a:pt x="328" y="3556"/>
                        <a:pt x="4754" y="1103"/>
                      </a:cubicBezTo>
                      <a:close/>
                    </a:path>
                  </a:pathLst>
                </a:custGeom>
                <a:grpFill/>
                <a:ln w="5978" cap="flat">
                  <a:noFill/>
                  <a:prstDash val="solid"/>
                  <a:miter/>
                </a:ln>
              </p:spPr>
              <p:txBody>
                <a:bodyPr rtlCol="0" anchor="ctr"/>
                <a:lstStyle/>
                <a:p>
                  <a:endParaRPr lang="en-GB"/>
                </a:p>
              </p:txBody>
            </p:sp>
            <p:sp>
              <p:nvSpPr>
                <p:cNvPr id="5160" name="Vrije vorm: vorm 5159">
                  <a:extLst>
                    <a:ext uri="{FF2B5EF4-FFF2-40B4-BE49-F238E27FC236}">
                      <a16:creationId xmlns:a16="http://schemas.microsoft.com/office/drawing/2014/main" id="{FBEFD56B-19EF-47A2-B7C1-0931014FB3E9}"/>
                    </a:ext>
                  </a:extLst>
                </p:cNvPr>
                <p:cNvSpPr/>
                <p:nvPr/>
              </p:nvSpPr>
              <p:spPr>
                <a:xfrm>
                  <a:off x="7687884" y="2513962"/>
                  <a:ext cx="18351" cy="18429"/>
                </a:xfrm>
                <a:custGeom>
                  <a:avLst/>
                  <a:gdLst>
                    <a:gd name="connsiteX0" fmla="*/ 4780 w 18351"/>
                    <a:gd name="connsiteY0" fmla="*/ 1092 h 18429"/>
                    <a:gd name="connsiteX1" fmla="*/ 1132 w 18351"/>
                    <a:gd name="connsiteY1" fmla="*/ 13591 h 18429"/>
                    <a:gd name="connsiteX2" fmla="*/ 13572 w 18351"/>
                    <a:gd name="connsiteY2" fmla="*/ 17299 h 18429"/>
                    <a:gd name="connsiteX3" fmla="*/ 17220 w 18351"/>
                    <a:gd name="connsiteY3" fmla="*/ 4800 h 18429"/>
                    <a:gd name="connsiteX4" fmla="*/ 4780 w 18351"/>
                    <a:gd name="connsiteY4" fmla="*/ 109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9">
                      <a:moveTo>
                        <a:pt x="4780" y="1092"/>
                      </a:moveTo>
                      <a:cubicBezTo>
                        <a:pt x="354" y="3484"/>
                        <a:pt x="-1320" y="9106"/>
                        <a:pt x="1132" y="13591"/>
                      </a:cubicBezTo>
                      <a:cubicBezTo>
                        <a:pt x="3584" y="18077"/>
                        <a:pt x="9146" y="19751"/>
                        <a:pt x="13572" y="17299"/>
                      </a:cubicBezTo>
                      <a:cubicBezTo>
                        <a:pt x="17997" y="14907"/>
                        <a:pt x="19672" y="9285"/>
                        <a:pt x="17220" y="4800"/>
                      </a:cubicBezTo>
                      <a:cubicBezTo>
                        <a:pt x="14827" y="374"/>
                        <a:pt x="9206" y="-1301"/>
                        <a:pt x="4780" y="1092"/>
                      </a:cubicBezTo>
                      <a:close/>
                    </a:path>
                  </a:pathLst>
                </a:custGeom>
                <a:grpFill/>
                <a:ln w="5978" cap="flat">
                  <a:noFill/>
                  <a:prstDash val="solid"/>
                  <a:miter/>
                </a:ln>
              </p:spPr>
              <p:txBody>
                <a:bodyPr rtlCol="0" anchor="ctr"/>
                <a:lstStyle/>
                <a:p>
                  <a:endParaRPr lang="en-GB"/>
                </a:p>
              </p:txBody>
            </p:sp>
          </p:grpSp>
          <p:grpSp>
            <p:nvGrpSpPr>
              <p:cNvPr id="72" name="Graphic 3">
                <a:extLst>
                  <a:ext uri="{FF2B5EF4-FFF2-40B4-BE49-F238E27FC236}">
                    <a16:creationId xmlns:a16="http://schemas.microsoft.com/office/drawing/2014/main" id="{CAD8E91C-9FEA-4384-A3D3-EFF958B3728D}"/>
                  </a:ext>
                </a:extLst>
              </p:cNvPr>
              <p:cNvGrpSpPr/>
              <p:nvPr/>
            </p:nvGrpSpPr>
            <p:grpSpPr>
              <a:xfrm>
                <a:off x="7662513" y="2850227"/>
                <a:ext cx="387864" cy="90821"/>
                <a:chOff x="7662513" y="2850227"/>
                <a:chExt cx="387864" cy="90821"/>
              </a:xfrm>
              <a:grpFill/>
            </p:grpSpPr>
            <p:sp>
              <p:nvSpPr>
                <p:cNvPr id="5155" name="Vrije vorm: vorm 5154">
                  <a:extLst>
                    <a:ext uri="{FF2B5EF4-FFF2-40B4-BE49-F238E27FC236}">
                      <a16:creationId xmlns:a16="http://schemas.microsoft.com/office/drawing/2014/main" id="{2889C2FE-8BE4-4654-ACEE-328D7AB95900}"/>
                    </a:ext>
                  </a:extLst>
                </p:cNvPr>
                <p:cNvSpPr/>
                <p:nvPr/>
              </p:nvSpPr>
              <p:spPr>
                <a:xfrm>
                  <a:off x="7670894" y="2857868"/>
                  <a:ext cx="371103" cy="75596"/>
                </a:xfrm>
                <a:custGeom>
                  <a:avLst/>
                  <a:gdLst>
                    <a:gd name="connsiteX0" fmla="*/ 370505 w 371103"/>
                    <a:gd name="connsiteY0" fmla="*/ 0 h 75596"/>
                    <a:gd name="connsiteX1" fmla="*/ 371103 w 371103"/>
                    <a:gd name="connsiteY1" fmla="*/ 2990 h 75596"/>
                    <a:gd name="connsiteX2" fmla="*/ 598 w 371103"/>
                    <a:gd name="connsiteY2" fmla="*/ 75596 h 75596"/>
                    <a:gd name="connsiteX3" fmla="*/ 0 w 371103"/>
                    <a:gd name="connsiteY3" fmla="*/ 72606 h 75596"/>
                  </a:gdLst>
                  <a:ahLst/>
                  <a:cxnLst>
                    <a:cxn ang="0">
                      <a:pos x="connsiteX0" y="connsiteY0"/>
                    </a:cxn>
                    <a:cxn ang="0">
                      <a:pos x="connsiteX1" y="connsiteY1"/>
                    </a:cxn>
                    <a:cxn ang="0">
                      <a:pos x="connsiteX2" y="connsiteY2"/>
                    </a:cxn>
                    <a:cxn ang="0">
                      <a:pos x="connsiteX3" y="connsiteY3"/>
                    </a:cxn>
                  </a:cxnLst>
                  <a:rect l="l" t="t" r="r" b="b"/>
                  <a:pathLst>
                    <a:path w="371103" h="75596">
                      <a:moveTo>
                        <a:pt x="370505" y="0"/>
                      </a:moveTo>
                      <a:lnTo>
                        <a:pt x="371103" y="2990"/>
                      </a:lnTo>
                      <a:lnTo>
                        <a:pt x="598" y="75596"/>
                      </a:lnTo>
                      <a:lnTo>
                        <a:pt x="0" y="72606"/>
                      </a:lnTo>
                      <a:close/>
                    </a:path>
                  </a:pathLst>
                </a:custGeom>
                <a:grpFill/>
                <a:ln w="5978" cap="flat">
                  <a:noFill/>
                  <a:prstDash val="solid"/>
                  <a:miter/>
                </a:ln>
              </p:spPr>
              <p:txBody>
                <a:bodyPr rtlCol="0" anchor="ctr"/>
                <a:lstStyle/>
                <a:p>
                  <a:endParaRPr lang="en-GB"/>
                </a:p>
              </p:txBody>
            </p:sp>
            <p:sp>
              <p:nvSpPr>
                <p:cNvPr id="5156" name="Vrije vorm: vorm 5155">
                  <a:extLst>
                    <a:ext uri="{FF2B5EF4-FFF2-40B4-BE49-F238E27FC236}">
                      <a16:creationId xmlns:a16="http://schemas.microsoft.com/office/drawing/2014/main" id="{9F203717-AE66-4641-A42B-ADD6DC05CA2B}"/>
                    </a:ext>
                  </a:extLst>
                </p:cNvPr>
                <p:cNvSpPr/>
                <p:nvPr/>
              </p:nvSpPr>
              <p:spPr>
                <a:xfrm>
                  <a:off x="7662513" y="2922591"/>
                  <a:ext cx="18316" cy="18457"/>
                </a:xfrm>
                <a:custGeom>
                  <a:avLst/>
                  <a:gdLst>
                    <a:gd name="connsiteX0" fmla="*/ 10952 w 18316"/>
                    <a:gd name="connsiteY0" fmla="*/ 18289 h 18457"/>
                    <a:gd name="connsiteX1" fmla="*/ 187 w 18316"/>
                    <a:gd name="connsiteY1" fmla="*/ 10993 h 18457"/>
                    <a:gd name="connsiteX2" fmla="*/ 7364 w 18316"/>
                    <a:gd name="connsiteY2" fmla="*/ 168 h 18457"/>
                    <a:gd name="connsiteX3" fmla="*/ 18129 w 18316"/>
                    <a:gd name="connsiteY3" fmla="*/ 7464 h 18457"/>
                    <a:gd name="connsiteX4" fmla="*/ 10952 w 18316"/>
                    <a:gd name="connsiteY4" fmla="*/ 1828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7">
                      <a:moveTo>
                        <a:pt x="10952" y="18289"/>
                      </a:moveTo>
                      <a:cubicBezTo>
                        <a:pt x="5988" y="19246"/>
                        <a:pt x="1144" y="16017"/>
                        <a:pt x="187" y="10993"/>
                      </a:cubicBezTo>
                      <a:cubicBezTo>
                        <a:pt x="-830" y="6029"/>
                        <a:pt x="2400" y="1185"/>
                        <a:pt x="7364" y="168"/>
                      </a:cubicBezTo>
                      <a:cubicBezTo>
                        <a:pt x="12328" y="-789"/>
                        <a:pt x="17172" y="2440"/>
                        <a:pt x="18129" y="7464"/>
                      </a:cubicBezTo>
                      <a:cubicBezTo>
                        <a:pt x="19146" y="12488"/>
                        <a:pt x="15917" y="17333"/>
                        <a:pt x="10952" y="18289"/>
                      </a:cubicBezTo>
                      <a:close/>
                    </a:path>
                  </a:pathLst>
                </a:custGeom>
                <a:grpFill/>
                <a:ln w="5978" cap="flat">
                  <a:noFill/>
                  <a:prstDash val="solid"/>
                  <a:miter/>
                </a:ln>
              </p:spPr>
              <p:txBody>
                <a:bodyPr rtlCol="0" anchor="ctr"/>
                <a:lstStyle/>
                <a:p>
                  <a:endParaRPr lang="en-GB"/>
                </a:p>
              </p:txBody>
            </p:sp>
            <p:sp>
              <p:nvSpPr>
                <p:cNvPr id="5157" name="Vrije vorm: vorm 5156">
                  <a:extLst>
                    <a:ext uri="{FF2B5EF4-FFF2-40B4-BE49-F238E27FC236}">
                      <a16:creationId xmlns:a16="http://schemas.microsoft.com/office/drawing/2014/main" id="{691751E3-AC3F-4A18-A5D5-440142538BE0}"/>
                    </a:ext>
                  </a:extLst>
                </p:cNvPr>
                <p:cNvSpPr/>
                <p:nvPr/>
              </p:nvSpPr>
              <p:spPr>
                <a:xfrm>
                  <a:off x="8032061" y="2850227"/>
                  <a:ext cx="18316" cy="18452"/>
                </a:xfrm>
                <a:custGeom>
                  <a:avLst/>
                  <a:gdLst>
                    <a:gd name="connsiteX0" fmla="*/ 10953 w 18316"/>
                    <a:gd name="connsiteY0" fmla="*/ 18287 h 18452"/>
                    <a:gd name="connsiteX1" fmla="*/ 18129 w 18316"/>
                    <a:gd name="connsiteY1" fmla="*/ 7462 h 18452"/>
                    <a:gd name="connsiteX2" fmla="*/ 7364 w 18316"/>
                    <a:gd name="connsiteY2" fmla="*/ 166 h 18452"/>
                    <a:gd name="connsiteX3" fmla="*/ 187 w 18316"/>
                    <a:gd name="connsiteY3" fmla="*/ 10991 h 18452"/>
                    <a:gd name="connsiteX4" fmla="*/ 10953 w 1831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2">
                      <a:moveTo>
                        <a:pt x="10953" y="18287"/>
                      </a:moveTo>
                      <a:cubicBezTo>
                        <a:pt x="15916" y="17330"/>
                        <a:pt x="19146" y="12486"/>
                        <a:pt x="18129" y="7462"/>
                      </a:cubicBezTo>
                      <a:cubicBezTo>
                        <a:pt x="17113" y="2498"/>
                        <a:pt x="12328" y="-791"/>
                        <a:pt x="7364" y="166"/>
                      </a:cubicBezTo>
                      <a:cubicBezTo>
                        <a:pt x="2400" y="1122"/>
                        <a:pt x="-829" y="5967"/>
                        <a:pt x="187" y="10991"/>
                      </a:cubicBezTo>
                      <a:cubicBezTo>
                        <a:pt x="1144" y="15955"/>
                        <a:pt x="5989" y="19244"/>
                        <a:pt x="10953" y="18287"/>
                      </a:cubicBezTo>
                      <a:close/>
                    </a:path>
                  </a:pathLst>
                </a:custGeom>
                <a:grpFill/>
                <a:ln w="5978" cap="flat">
                  <a:noFill/>
                  <a:prstDash val="solid"/>
                  <a:miter/>
                </a:ln>
              </p:spPr>
              <p:txBody>
                <a:bodyPr rtlCol="0" anchor="ctr"/>
                <a:lstStyle/>
                <a:p>
                  <a:endParaRPr lang="en-GB"/>
                </a:p>
              </p:txBody>
            </p:sp>
          </p:grpSp>
          <p:grpSp>
            <p:nvGrpSpPr>
              <p:cNvPr id="73" name="Graphic 3">
                <a:extLst>
                  <a:ext uri="{FF2B5EF4-FFF2-40B4-BE49-F238E27FC236}">
                    <a16:creationId xmlns:a16="http://schemas.microsoft.com/office/drawing/2014/main" id="{27F8AF86-33E8-432B-8F03-C63FF21246D6}"/>
                  </a:ext>
                </a:extLst>
              </p:cNvPr>
              <p:cNvGrpSpPr/>
              <p:nvPr/>
            </p:nvGrpSpPr>
            <p:grpSpPr>
              <a:xfrm>
                <a:off x="7959661" y="3243225"/>
                <a:ext cx="19758" cy="18553"/>
                <a:chOff x="7959661" y="3243225"/>
                <a:chExt cx="19758" cy="18553"/>
              </a:xfrm>
              <a:grpFill/>
            </p:grpSpPr>
            <p:sp>
              <p:nvSpPr>
                <p:cNvPr id="5152" name="Vrije vorm: vorm 5151">
                  <a:extLst>
                    <a:ext uri="{FF2B5EF4-FFF2-40B4-BE49-F238E27FC236}">
                      <a16:creationId xmlns:a16="http://schemas.microsoft.com/office/drawing/2014/main" id="{5EE6BA7E-AF6E-4C63-9F3B-BF0E497C4028}"/>
                    </a:ext>
                  </a:extLst>
                </p:cNvPr>
                <p:cNvSpPr/>
                <p:nvPr/>
              </p:nvSpPr>
              <p:spPr>
                <a:xfrm>
                  <a:off x="7968195" y="3250921"/>
                  <a:ext cx="2631" cy="3229"/>
                </a:xfrm>
                <a:custGeom>
                  <a:avLst/>
                  <a:gdLst>
                    <a:gd name="connsiteX0" fmla="*/ 2392 w 2631"/>
                    <a:gd name="connsiteY0" fmla="*/ 0 h 3229"/>
                    <a:gd name="connsiteX1" fmla="*/ 2632 w 2631"/>
                    <a:gd name="connsiteY1" fmla="*/ 3050 h 3229"/>
                    <a:gd name="connsiteX2" fmla="*/ 299 w 2631"/>
                    <a:gd name="connsiteY2" fmla="*/ 3229 h 3229"/>
                    <a:gd name="connsiteX3" fmla="*/ 0 w 2631"/>
                    <a:gd name="connsiteY3" fmla="*/ 179 h 3229"/>
                  </a:gdLst>
                  <a:ahLst/>
                  <a:cxnLst>
                    <a:cxn ang="0">
                      <a:pos x="connsiteX0" y="connsiteY0"/>
                    </a:cxn>
                    <a:cxn ang="0">
                      <a:pos x="connsiteX1" y="connsiteY1"/>
                    </a:cxn>
                    <a:cxn ang="0">
                      <a:pos x="connsiteX2" y="connsiteY2"/>
                    </a:cxn>
                    <a:cxn ang="0">
                      <a:pos x="connsiteX3" y="connsiteY3"/>
                    </a:cxn>
                  </a:cxnLst>
                  <a:rect l="l" t="t" r="r" b="b"/>
                  <a:pathLst>
                    <a:path w="2631" h="3229">
                      <a:moveTo>
                        <a:pt x="2392" y="0"/>
                      </a:moveTo>
                      <a:lnTo>
                        <a:pt x="2632" y="3050"/>
                      </a:lnTo>
                      <a:lnTo>
                        <a:pt x="299" y="3229"/>
                      </a:lnTo>
                      <a:lnTo>
                        <a:pt x="0" y="179"/>
                      </a:lnTo>
                      <a:close/>
                    </a:path>
                  </a:pathLst>
                </a:custGeom>
                <a:grpFill/>
                <a:ln w="5978" cap="flat">
                  <a:noFill/>
                  <a:prstDash val="solid"/>
                  <a:miter/>
                </a:ln>
              </p:spPr>
              <p:txBody>
                <a:bodyPr rtlCol="0" anchor="ctr"/>
                <a:lstStyle/>
                <a:p>
                  <a:endParaRPr lang="en-GB"/>
                </a:p>
              </p:txBody>
            </p:sp>
            <p:sp>
              <p:nvSpPr>
                <p:cNvPr id="5153" name="Vrije vorm: vorm 5152">
                  <a:extLst>
                    <a:ext uri="{FF2B5EF4-FFF2-40B4-BE49-F238E27FC236}">
                      <a16:creationId xmlns:a16="http://schemas.microsoft.com/office/drawing/2014/main" id="{0369B97D-2429-4338-8959-F986D0B5C60F}"/>
                    </a:ext>
                  </a:extLst>
                </p:cNvPr>
                <p:cNvSpPr/>
                <p:nvPr/>
              </p:nvSpPr>
              <p:spPr>
                <a:xfrm>
                  <a:off x="7959661" y="3243354"/>
                  <a:ext cx="18323" cy="18424"/>
                </a:xfrm>
                <a:custGeom>
                  <a:avLst/>
                  <a:gdLst>
                    <a:gd name="connsiteX0" fmla="*/ 9969 w 18323"/>
                    <a:gd name="connsiteY0" fmla="*/ 18393 h 18424"/>
                    <a:gd name="connsiteX1" fmla="*/ 41 w 18323"/>
                    <a:gd name="connsiteY1" fmla="*/ 10019 h 18424"/>
                    <a:gd name="connsiteX2" fmla="*/ 8354 w 18323"/>
                    <a:gd name="connsiteY2" fmla="*/ 32 h 18424"/>
                    <a:gd name="connsiteX3" fmla="*/ 18282 w 18323"/>
                    <a:gd name="connsiteY3" fmla="*/ 8405 h 18424"/>
                    <a:gd name="connsiteX4" fmla="*/ 9969 w 18323"/>
                    <a:gd name="connsiteY4" fmla="*/ 1839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4">
                      <a:moveTo>
                        <a:pt x="9969" y="18393"/>
                      </a:moveTo>
                      <a:cubicBezTo>
                        <a:pt x="4946" y="18811"/>
                        <a:pt x="460" y="15043"/>
                        <a:pt x="41" y="10019"/>
                      </a:cubicBezTo>
                      <a:cubicBezTo>
                        <a:pt x="-437" y="4936"/>
                        <a:pt x="3331" y="510"/>
                        <a:pt x="8354" y="32"/>
                      </a:cubicBezTo>
                      <a:cubicBezTo>
                        <a:pt x="13379" y="-387"/>
                        <a:pt x="17864" y="3381"/>
                        <a:pt x="18282" y="8405"/>
                      </a:cubicBezTo>
                      <a:cubicBezTo>
                        <a:pt x="18761" y="13488"/>
                        <a:pt x="14993" y="17974"/>
                        <a:pt x="9969" y="18393"/>
                      </a:cubicBezTo>
                      <a:close/>
                    </a:path>
                  </a:pathLst>
                </a:custGeom>
                <a:grpFill/>
                <a:ln w="5978" cap="flat">
                  <a:noFill/>
                  <a:prstDash val="solid"/>
                  <a:miter/>
                </a:ln>
              </p:spPr>
              <p:txBody>
                <a:bodyPr rtlCol="0" anchor="ctr"/>
                <a:lstStyle/>
                <a:p>
                  <a:endParaRPr lang="en-GB"/>
                </a:p>
              </p:txBody>
            </p:sp>
            <p:sp>
              <p:nvSpPr>
                <p:cNvPr id="5154" name="Vrije vorm: vorm 5153">
                  <a:extLst>
                    <a:ext uri="{FF2B5EF4-FFF2-40B4-BE49-F238E27FC236}">
                      <a16:creationId xmlns:a16="http://schemas.microsoft.com/office/drawing/2014/main" id="{5194FD89-9409-4899-8E19-0BEFC527DF2E}"/>
                    </a:ext>
                  </a:extLst>
                </p:cNvPr>
                <p:cNvSpPr/>
                <p:nvPr/>
              </p:nvSpPr>
              <p:spPr>
                <a:xfrm>
                  <a:off x="7961097" y="3243225"/>
                  <a:ext cx="18322" cy="18433"/>
                </a:xfrm>
                <a:custGeom>
                  <a:avLst/>
                  <a:gdLst>
                    <a:gd name="connsiteX0" fmla="*/ 9969 w 18322"/>
                    <a:gd name="connsiteY0" fmla="*/ 18402 h 18433"/>
                    <a:gd name="connsiteX1" fmla="*/ 18282 w 18322"/>
                    <a:gd name="connsiteY1" fmla="*/ 8414 h 18433"/>
                    <a:gd name="connsiteX2" fmla="*/ 8354 w 18322"/>
                    <a:gd name="connsiteY2" fmla="*/ 41 h 18433"/>
                    <a:gd name="connsiteX3" fmla="*/ 41 w 18322"/>
                    <a:gd name="connsiteY3" fmla="*/ 10029 h 18433"/>
                    <a:gd name="connsiteX4" fmla="*/ 9969 w 18322"/>
                    <a:gd name="connsiteY4" fmla="*/ 18402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33">
                      <a:moveTo>
                        <a:pt x="9969" y="18402"/>
                      </a:moveTo>
                      <a:cubicBezTo>
                        <a:pt x="14993" y="17983"/>
                        <a:pt x="18761" y="13498"/>
                        <a:pt x="18282" y="8414"/>
                      </a:cubicBezTo>
                      <a:cubicBezTo>
                        <a:pt x="17804" y="3330"/>
                        <a:pt x="13378" y="-438"/>
                        <a:pt x="8354" y="41"/>
                      </a:cubicBezTo>
                      <a:cubicBezTo>
                        <a:pt x="3330" y="460"/>
                        <a:pt x="-438" y="4945"/>
                        <a:pt x="41" y="10029"/>
                      </a:cubicBezTo>
                      <a:cubicBezTo>
                        <a:pt x="459" y="15112"/>
                        <a:pt x="4945" y="18820"/>
                        <a:pt x="9969" y="18402"/>
                      </a:cubicBezTo>
                      <a:close/>
                    </a:path>
                  </a:pathLst>
                </a:custGeom>
                <a:grpFill/>
                <a:ln w="5978" cap="flat">
                  <a:noFill/>
                  <a:prstDash val="solid"/>
                  <a:miter/>
                </a:ln>
              </p:spPr>
              <p:txBody>
                <a:bodyPr rtlCol="0" anchor="ctr"/>
                <a:lstStyle/>
                <a:p>
                  <a:endParaRPr lang="en-GB"/>
                </a:p>
              </p:txBody>
            </p:sp>
          </p:grpSp>
          <p:grpSp>
            <p:nvGrpSpPr>
              <p:cNvPr id="74" name="Graphic 3">
                <a:extLst>
                  <a:ext uri="{FF2B5EF4-FFF2-40B4-BE49-F238E27FC236}">
                    <a16:creationId xmlns:a16="http://schemas.microsoft.com/office/drawing/2014/main" id="{0994A674-F4F7-4A29-9DD6-CB70B09C0E09}"/>
                  </a:ext>
                </a:extLst>
              </p:cNvPr>
              <p:cNvGrpSpPr/>
              <p:nvPr/>
            </p:nvGrpSpPr>
            <p:grpSpPr>
              <a:xfrm>
                <a:off x="7876398" y="3201827"/>
                <a:ext cx="152374" cy="32460"/>
                <a:chOff x="7876398" y="3201827"/>
                <a:chExt cx="152374" cy="32460"/>
              </a:xfrm>
              <a:grpFill/>
            </p:grpSpPr>
            <p:sp>
              <p:nvSpPr>
                <p:cNvPr id="5149" name="Vrije vorm: vorm 5148">
                  <a:extLst>
                    <a:ext uri="{FF2B5EF4-FFF2-40B4-BE49-F238E27FC236}">
                      <a16:creationId xmlns:a16="http://schemas.microsoft.com/office/drawing/2014/main" id="{B4A38A52-DE3A-4943-AB0E-BA446451B33E}"/>
                    </a:ext>
                  </a:extLst>
                </p:cNvPr>
                <p:cNvSpPr/>
                <p:nvPr/>
              </p:nvSpPr>
              <p:spPr>
                <a:xfrm>
                  <a:off x="7884943" y="3209475"/>
                  <a:ext cx="135224" cy="17164"/>
                </a:xfrm>
                <a:custGeom>
                  <a:avLst/>
                  <a:gdLst>
                    <a:gd name="connsiteX0" fmla="*/ 134925 w 135224"/>
                    <a:gd name="connsiteY0" fmla="*/ 0 h 17164"/>
                    <a:gd name="connsiteX1" fmla="*/ 135225 w 135224"/>
                    <a:gd name="connsiteY1" fmla="*/ 3050 h 17164"/>
                    <a:gd name="connsiteX2" fmla="*/ 359 w 135224"/>
                    <a:gd name="connsiteY2" fmla="*/ 17165 h 17164"/>
                    <a:gd name="connsiteX3" fmla="*/ 0 w 135224"/>
                    <a:gd name="connsiteY3" fmla="*/ 14115 h 17164"/>
                  </a:gdLst>
                  <a:ahLst/>
                  <a:cxnLst>
                    <a:cxn ang="0">
                      <a:pos x="connsiteX0" y="connsiteY0"/>
                    </a:cxn>
                    <a:cxn ang="0">
                      <a:pos x="connsiteX1" y="connsiteY1"/>
                    </a:cxn>
                    <a:cxn ang="0">
                      <a:pos x="connsiteX2" y="connsiteY2"/>
                    </a:cxn>
                    <a:cxn ang="0">
                      <a:pos x="connsiteX3" y="connsiteY3"/>
                    </a:cxn>
                  </a:cxnLst>
                  <a:rect l="l" t="t" r="r" b="b"/>
                  <a:pathLst>
                    <a:path w="135224" h="17164">
                      <a:moveTo>
                        <a:pt x="134925" y="0"/>
                      </a:moveTo>
                      <a:lnTo>
                        <a:pt x="135225" y="3050"/>
                      </a:lnTo>
                      <a:lnTo>
                        <a:pt x="359" y="17165"/>
                      </a:lnTo>
                      <a:lnTo>
                        <a:pt x="0" y="14115"/>
                      </a:lnTo>
                      <a:close/>
                    </a:path>
                  </a:pathLst>
                </a:custGeom>
                <a:grpFill/>
                <a:ln w="5978" cap="flat">
                  <a:noFill/>
                  <a:prstDash val="solid"/>
                  <a:miter/>
                </a:ln>
              </p:spPr>
              <p:txBody>
                <a:bodyPr rtlCol="0" anchor="ctr"/>
                <a:lstStyle/>
                <a:p>
                  <a:endParaRPr lang="en-GB"/>
                </a:p>
              </p:txBody>
            </p:sp>
            <p:sp>
              <p:nvSpPr>
                <p:cNvPr id="5150" name="Vrije vorm: vorm 5149">
                  <a:extLst>
                    <a:ext uri="{FF2B5EF4-FFF2-40B4-BE49-F238E27FC236}">
                      <a16:creationId xmlns:a16="http://schemas.microsoft.com/office/drawing/2014/main" id="{1A493FA9-BDC2-4425-B64A-C58E15EA3ED3}"/>
                    </a:ext>
                  </a:extLst>
                </p:cNvPr>
                <p:cNvSpPr/>
                <p:nvPr/>
              </p:nvSpPr>
              <p:spPr>
                <a:xfrm>
                  <a:off x="8010426" y="3201827"/>
                  <a:ext cx="18346" cy="18404"/>
                </a:xfrm>
                <a:custGeom>
                  <a:avLst/>
                  <a:gdLst>
                    <a:gd name="connsiteX0" fmla="*/ 8187 w 18346"/>
                    <a:gd name="connsiteY0" fmla="*/ 52 h 18404"/>
                    <a:gd name="connsiteX1" fmla="*/ 18294 w 18346"/>
                    <a:gd name="connsiteY1" fmla="*/ 8246 h 18404"/>
                    <a:gd name="connsiteX2" fmla="*/ 10161 w 18346"/>
                    <a:gd name="connsiteY2" fmla="*/ 18353 h 18404"/>
                    <a:gd name="connsiteX3" fmla="*/ 54 w 18346"/>
                    <a:gd name="connsiteY3" fmla="*/ 10159 h 18404"/>
                    <a:gd name="connsiteX4" fmla="*/ 8187 w 18346"/>
                    <a:gd name="connsiteY4" fmla="*/ 52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4">
                      <a:moveTo>
                        <a:pt x="8187" y="52"/>
                      </a:moveTo>
                      <a:cubicBezTo>
                        <a:pt x="13211" y="-486"/>
                        <a:pt x="17756" y="3222"/>
                        <a:pt x="18294" y="8246"/>
                      </a:cubicBezTo>
                      <a:cubicBezTo>
                        <a:pt x="18832" y="13329"/>
                        <a:pt x="15184" y="17815"/>
                        <a:pt x="10161" y="18353"/>
                      </a:cubicBezTo>
                      <a:cubicBezTo>
                        <a:pt x="5137" y="18891"/>
                        <a:pt x="592" y="15183"/>
                        <a:pt x="54" y="10159"/>
                      </a:cubicBezTo>
                      <a:cubicBezTo>
                        <a:pt x="-485" y="5136"/>
                        <a:pt x="3103" y="590"/>
                        <a:pt x="8187" y="52"/>
                      </a:cubicBezTo>
                      <a:close/>
                    </a:path>
                  </a:pathLst>
                </a:custGeom>
                <a:grpFill/>
                <a:ln w="5978" cap="flat">
                  <a:noFill/>
                  <a:prstDash val="solid"/>
                  <a:miter/>
                </a:ln>
              </p:spPr>
              <p:txBody>
                <a:bodyPr rtlCol="0" anchor="ctr"/>
                <a:lstStyle/>
                <a:p>
                  <a:endParaRPr lang="en-GB"/>
                </a:p>
              </p:txBody>
            </p:sp>
            <p:sp>
              <p:nvSpPr>
                <p:cNvPr id="5151" name="Vrije vorm: vorm 5150">
                  <a:extLst>
                    <a:ext uri="{FF2B5EF4-FFF2-40B4-BE49-F238E27FC236}">
                      <a16:creationId xmlns:a16="http://schemas.microsoft.com/office/drawing/2014/main" id="{204F0BD3-EAD8-4BC7-8AD4-CB5A8A6557D7}"/>
                    </a:ext>
                  </a:extLst>
                </p:cNvPr>
                <p:cNvSpPr/>
                <p:nvPr/>
              </p:nvSpPr>
              <p:spPr>
                <a:xfrm>
                  <a:off x="7876398" y="3215882"/>
                  <a:ext cx="18346" cy="18405"/>
                </a:xfrm>
                <a:custGeom>
                  <a:avLst/>
                  <a:gdLst>
                    <a:gd name="connsiteX0" fmla="*/ 8186 w 18346"/>
                    <a:gd name="connsiteY0" fmla="*/ 52 h 18405"/>
                    <a:gd name="connsiteX1" fmla="*/ 53 w 18346"/>
                    <a:gd name="connsiteY1" fmla="*/ 10159 h 18405"/>
                    <a:gd name="connsiteX2" fmla="*/ 10160 w 18346"/>
                    <a:gd name="connsiteY2" fmla="*/ 18353 h 18405"/>
                    <a:gd name="connsiteX3" fmla="*/ 18293 w 18346"/>
                    <a:gd name="connsiteY3" fmla="*/ 8246 h 18405"/>
                    <a:gd name="connsiteX4" fmla="*/ 8186 w 18346"/>
                    <a:gd name="connsiteY4" fmla="*/ 5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5">
                      <a:moveTo>
                        <a:pt x="8186" y="52"/>
                      </a:moveTo>
                      <a:cubicBezTo>
                        <a:pt x="3163" y="590"/>
                        <a:pt x="-485" y="5136"/>
                        <a:pt x="53" y="10159"/>
                      </a:cubicBezTo>
                      <a:cubicBezTo>
                        <a:pt x="591" y="15243"/>
                        <a:pt x="5136" y="18891"/>
                        <a:pt x="10160" y="18353"/>
                      </a:cubicBezTo>
                      <a:cubicBezTo>
                        <a:pt x="15184" y="17815"/>
                        <a:pt x="18832" y="13269"/>
                        <a:pt x="18293" y="8246"/>
                      </a:cubicBezTo>
                      <a:cubicBezTo>
                        <a:pt x="17755" y="3222"/>
                        <a:pt x="13210" y="-486"/>
                        <a:pt x="8186" y="52"/>
                      </a:cubicBezTo>
                      <a:close/>
                    </a:path>
                  </a:pathLst>
                </a:custGeom>
                <a:grpFill/>
                <a:ln w="5978" cap="flat">
                  <a:noFill/>
                  <a:prstDash val="solid"/>
                  <a:miter/>
                </a:ln>
              </p:spPr>
              <p:txBody>
                <a:bodyPr rtlCol="0" anchor="ctr"/>
                <a:lstStyle/>
                <a:p>
                  <a:endParaRPr lang="en-GB"/>
                </a:p>
              </p:txBody>
            </p:sp>
          </p:grpSp>
          <p:grpSp>
            <p:nvGrpSpPr>
              <p:cNvPr id="75" name="Graphic 3">
                <a:extLst>
                  <a:ext uri="{FF2B5EF4-FFF2-40B4-BE49-F238E27FC236}">
                    <a16:creationId xmlns:a16="http://schemas.microsoft.com/office/drawing/2014/main" id="{012DC0D2-1AEA-4028-92B5-5F9B8D0D76C6}"/>
                  </a:ext>
                </a:extLst>
              </p:cNvPr>
              <p:cNvGrpSpPr/>
              <p:nvPr/>
            </p:nvGrpSpPr>
            <p:grpSpPr>
              <a:xfrm>
                <a:off x="7681286" y="2532933"/>
                <a:ext cx="144402" cy="80983"/>
                <a:chOff x="7681286" y="2532933"/>
                <a:chExt cx="144402" cy="80983"/>
              </a:xfrm>
              <a:grpFill/>
            </p:grpSpPr>
            <p:sp>
              <p:nvSpPr>
                <p:cNvPr id="5146" name="Vrije vorm: vorm 5145">
                  <a:extLst>
                    <a:ext uri="{FF2B5EF4-FFF2-40B4-BE49-F238E27FC236}">
                      <a16:creationId xmlns:a16="http://schemas.microsoft.com/office/drawing/2014/main" id="{27937E51-C337-4DCB-AEF4-368AAA8689E6}"/>
                    </a:ext>
                  </a:extLst>
                </p:cNvPr>
                <p:cNvSpPr/>
                <p:nvPr/>
              </p:nvSpPr>
              <p:spPr>
                <a:xfrm>
                  <a:off x="7689472" y="2540278"/>
                  <a:ext cx="128248" cy="65766"/>
                </a:xfrm>
                <a:custGeom>
                  <a:avLst/>
                  <a:gdLst>
                    <a:gd name="connsiteX0" fmla="*/ 0 w 128248"/>
                    <a:gd name="connsiteY0" fmla="*/ 63035 h 65766"/>
                    <a:gd name="connsiteX1" fmla="*/ 126891 w 128248"/>
                    <a:gd name="connsiteY1" fmla="*/ 0 h 65766"/>
                    <a:gd name="connsiteX2" fmla="*/ 128248 w 128248"/>
                    <a:gd name="connsiteY2" fmla="*/ 2732 h 65766"/>
                    <a:gd name="connsiteX3" fmla="*/ 1357 w 128248"/>
                    <a:gd name="connsiteY3" fmla="*/ 65767 h 65766"/>
                  </a:gdLst>
                  <a:ahLst/>
                  <a:cxnLst>
                    <a:cxn ang="0">
                      <a:pos x="connsiteX0" y="connsiteY0"/>
                    </a:cxn>
                    <a:cxn ang="0">
                      <a:pos x="connsiteX1" y="connsiteY1"/>
                    </a:cxn>
                    <a:cxn ang="0">
                      <a:pos x="connsiteX2" y="connsiteY2"/>
                    </a:cxn>
                    <a:cxn ang="0">
                      <a:pos x="connsiteX3" y="connsiteY3"/>
                    </a:cxn>
                  </a:cxnLst>
                  <a:rect l="l" t="t" r="r" b="b"/>
                  <a:pathLst>
                    <a:path w="128248" h="65766">
                      <a:moveTo>
                        <a:pt x="0" y="63035"/>
                      </a:moveTo>
                      <a:lnTo>
                        <a:pt x="126891" y="0"/>
                      </a:lnTo>
                      <a:lnTo>
                        <a:pt x="128248" y="2732"/>
                      </a:lnTo>
                      <a:lnTo>
                        <a:pt x="1357" y="65767"/>
                      </a:lnTo>
                      <a:close/>
                    </a:path>
                  </a:pathLst>
                </a:custGeom>
                <a:grpFill/>
                <a:ln w="5978" cap="flat">
                  <a:noFill/>
                  <a:prstDash val="solid"/>
                  <a:miter/>
                </a:ln>
              </p:spPr>
              <p:txBody>
                <a:bodyPr rtlCol="0" anchor="ctr"/>
                <a:lstStyle/>
                <a:p>
                  <a:endParaRPr lang="en-GB"/>
                </a:p>
              </p:txBody>
            </p:sp>
            <p:sp>
              <p:nvSpPr>
                <p:cNvPr id="5147" name="Vrije vorm: vorm 5146">
                  <a:extLst>
                    <a:ext uri="{FF2B5EF4-FFF2-40B4-BE49-F238E27FC236}">
                      <a16:creationId xmlns:a16="http://schemas.microsoft.com/office/drawing/2014/main" id="{3E3BA71C-6A7E-4A7E-BDC8-37B61F9A0083}"/>
                    </a:ext>
                  </a:extLst>
                </p:cNvPr>
                <p:cNvSpPr/>
                <p:nvPr/>
              </p:nvSpPr>
              <p:spPr>
                <a:xfrm>
                  <a:off x="7807360" y="2532933"/>
                  <a:ext cx="18329" cy="18424"/>
                </a:xfrm>
                <a:custGeom>
                  <a:avLst/>
                  <a:gdLst>
                    <a:gd name="connsiteX0" fmla="*/ 5097 w 18329"/>
                    <a:gd name="connsiteY0" fmla="*/ 959 h 18424"/>
                    <a:gd name="connsiteX1" fmla="*/ 17358 w 18329"/>
                    <a:gd name="connsiteY1" fmla="*/ 5146 h 18424"/>
                    <a:gd name="connsiteX2" fmla="*/ 13232 w 18329"/>
                    <a:gd name="connsiteY2" fmla="*/ 17466 h 18424"/>
                    <a:gd name="connsiteX3" fmla="*/ 971 w 18329"/>
                    <a:gd name="connsiteY3" fmla="*/ 13279 h 18424"/>
                    <a:gd name="connsiteX4" fmla="*/ 5097 w 18329"/>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4">
                      <a:moveTo>
                        <a:pt x="5097" y="959"/>
                      </a:moveTo>
                      <a:cubicBezTo>
                        <a:pt x="9643" y="-1314"/>
                        <a:pt x="15145" y="600"/>
                        <a:pt x="17358" y="5146"/>
                      </a:cubicBezTo>
                      <a:cubicBezTo>
                        <a:pt x="19631" y="9691"/>
                        <a:pt x="17776" y="15253"/>
                        <a:pt x="13232" y="17466"/>
                      </a:cubicBezTo>
                      <a:cubicBezTo>
                        <a:pt x="8686" y="19739"/>
                        <a:pt x="3184" y="17825"/>
                        <a:pt x="971" y="13279"/>
                      </a:cubicBezTo>
                      <a:cubicBezTo>
                        <a:pt x="-1302" y="8734"/>
                        <a:pt x="553" y="3172"/>
                        <a:pt x="5097" y="959"/>
                      </a:cubicBezTo>
                      <a:close/>
                    </a:path>
                  </a:pathLst>
                </a:custGeom>
                <a:grpFill/>
                <a:ln w="5978" cap="flat">
                  <a:noFill/>
                  <a:prstDash val="solid"/>
                  <a:miter/>
                </a:ln>
              </p:spPr>
              <p:txBody>
                <a:bodyPr rtlCol="0" anchor="ctr"/>
                <a:lstStyle/>
                <a:p>
                  <a:endParaRPr lang="en-GB"/>
                </a:p>
              </p:txBody>
            </p:sp>
            <p:sp>
              <p:nvSpPr>
                <p:cNvPr id="5148" name="Vrije vorm: vorm 5147">
                  <a:extLst>
                    <a:ext uri="{FF2B5EF4-FFF2-40B4-BE49-F238E27FC236}">
                      <a16:creationId xmlns:a16="http://schemas.microsoft.com/office/drawing/2014/main" id="{2A4480C7-BCD4-4F28-8BD8-01C31E8F823D}"/>
                    </a:ext>
                  </a:extLst>
                </p:cNvPr>
                <p:cNvSpPr/>
                <p:nvPr/>
              </p:nvSpPr>
              <p:spPr>
                <a:xfrm>
                  <a:off x="7681286" y="2595518"/>
                  <a:ext cx="18329" cy="18398"/>
                </a:xfrm>
                <a:custGeom>
                  <a:avLst/>
                  <a:gdLst>
                    <a:gd name="connsiteX0" fmla="*/ 5098 w 18329"/>
                    <a:gd name="connsiteY0" fmla="*/ 933 h 18398"/>
                    <a:gd name="connsiteX1" fmla="*/ 971 w 18329"/>
                    <a:gd name="connsiteY1" fmla="*/ 13253 h 18398"/>
                    <a:gd name="connsiteX2" fmla="*/ 13231 w 18329"/>
                    <a:gd name="connsiteY2" fmla="*/ 17440 h 18398"/>
                    <a:gd name="connsiteX3" fmla="*/ 17358 w 18329"/>
                    <a:gd name="connsiteY3" fmla="*/ 5119 h 18398"/>
                    <a:gd name="connsiteX4" fmla="*/ 5098 w 18329"/>
                    <a:gd name="connsiteY4" fmla="*/ 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98">
                      <a:moveTo>
                        <a:pt x="5098" y="933"/>
                      </a:moveTo>
                      <a:cubicBezTo>
                        <a:pt x="552" y="3206"/>
                        <a:pt x="-1302" y="8708"/>
                        <a:pt x="971" y="13253"/>
                      </a:cubicBezTo>
                      <a:cubicBezTo>
                        <a:pt x="3244" y="17799"/>
                        <a:pt x="8746" y="19712"/>
                        <a:pt x="13231" y="17440"/>
                      </a:cubicBezTo>
                      <a:cubicBezTo>
                        <a:pt x="17777" y="15167"/>
                        <a:pt x="19631" y="9665"/>
                        <a:pt x="17358" y="5119"/>
                      </a:cubicBezTo>
                      <a:cubicBezTo>
                        <a:pt x="15086" y="574"/>
                        <a:pt x="9643" y="-1280"/>
                        <a:pt x="5098" y="933"/>
                      </a:cubicBezTo>
                      <a:close/>
                    </a:path>
                  </a:pathLst>
                </a:custGeom>
                <a:grpFill/>
                <a:ln w="5978" cap="flat">
                  <a:noFill/>
                  <a:prstDash val="solid"/>
                  <a:miter/>
                </a:ln>
              </p:spPr>
              <p:txBody>
                <a:bodyPr rtlCol="0" anchor="ctr"/>
                <a:lstStyle/>
                <a:p>
                  <a:endParaRPr lang="en-GB"/>
                </a:p>
              </p:txBody>
            </p:sp>
          </p:grpSp>
          <p:grpSp>
            <p:nvGrpSpPr>
              <p:cNvPr id="76" name="Graphic 3">
                <a:extLst>
                  <a:ext uri="{FF2B5EF4-FFF2-40B4-BE49-F238E27FC236}">
                    <a16:creationId xmlns:a16="http://schemas.microsoft.com/office/drawing/2014/main" id="{4CBB4A69-B4DB-4D3E-8DD1-71B3C8855653}"/>
                  </a:ext>
                </a:extLst>
              </p:cNvPr>
              <p:cNvGrpSpPr/>
              <p:nvPr/>
            </p:nvGrpSpPr>
            <p:grpSpPr>
              <a:xfrm>
                <a:off x="7861673" y="3159171"/>
                <a:ext cx="210067" cy="42174"/>
                <a:chOff x="7861673" y="3159171"/>
                <a:chExt cx="210067" cy="42174"/>
              </a:xfrm>
              <a:grpFill/>
            </p:grpSpPr>
            <p:sp>
              <p:nvSpPr>
                <p:cNvPr id="5143" name="Vrije vorm: vorm 5142">
                  <a:extLst>
                    <a:ext uri="{FF2B5EF4-FFF2-40B4-BE49-F238E27FC236}">
                      <a16:creationId xmlns:a16="http://schemas.microsoft.com/office/drawing/2014/main" id="{6ADE8E3C-6D33-4215-B46D-D297CF50CBAF}"/>
                    </a:ext>
                  </a:extLst>
                </p:cNvPr>
                <p:cNvSpPr/>
                <p:nvPr/>
              </p:nvSpPr>
              <p:spPr>
                <a:xfrm>
                  <a:off x="7870231" y="3166832"/>
                  <a:ext cx="192998" cy="26853"/>
                </a:xfrm>
                <a:custGeom>
                  <a:avLst/>
                  <a:gdLst>
                    <a:gd name="connsiteX0" fmla="*/ 192639 w 192998"/>
                    <a:gd name="connsiteY0" fmla="*/ 0 h 26853"/>
                    <a:gd name="connsiteX1" fmla="*/ 192998 w 192998"/>
                    <a:gd name="connsiteY1" fmla="*/ 2990 h 26853"/>
                    <a:gd name="connsiteX2" fmla="*/ 359 w 192998"/>
                    <a:gd name="connsiteY2" fmla="*/ 26854 h 26853"/>
                    <a:gd name="connsiteX3" fmla="*/ 0 w 192998"/>
                    <a:gd name="connsiteY3" fmla="*/ 23803 h 26853"/>
                  </a:gdLst>
                  <a:ahLst/>
                  <a:cxnLst>
                    <a:cxn ang="0">
                      <a:pos x="connsiteX0" y="connsiteY0"/>
                    </a:cxn>
                    <a:cxn ang="0">
                      <a:pos x="connsiteX1" y="connsiteY1"/>
                    </a:cxn>
                    <a:cxn ang="0">
                      <a:pos x="connsiteX2" y="connsiteY2"/>
                    </a:cxn>
                    <a:cxn ang="0">
                      <a:pos x="connsiteX3" y="connsiteY3"/>
                    </a:cxn>
                  </a:cxnLst>
                  <a:rect l="l" t="t" r="r" b="b"/>
                  <a:pathLst>
                    <a:path w="192998" h="26853">
                      <a:moveTo>
                        <a:pt x="192639" y="0"/>
                      </a:moveTo>
                      <a:lnTo>
                        <a:pt x="192998" y="2990"/>
                      </a:lnTo>
                      <a:lnTo>
                        <a:pt x="359" y="26854"/>
                      </a:lnTo>
                      <a:lnTo>
                        <a:pt x="0" y="23803"/>
                      </a:lnTo>
                      <a:close/>
                    </a:path>
                  </a:pathLst>
                </a:custGeom>
                <a:grpFill/>
                <a:ln w="5978" cap="flat">
                  <a:noFill/>
                  <a:prstDash val="solid"/>
                  <a:miter/>
                </a:ln>
              </p:spPr>
              <p:txBody>
                <a:bodyPr rtlCol="0" anchor="ctr"/>
                <a:lstStyle/>
                <a:p>
                  <a:endParaRPr lang="en-GB"/>
                </a:p>
              </p:txBody>
            </p:sp>
            <p:sp>
              <p:nvSpPr>
                <p:cNvPr id="5144" name="Vrije vorm: vorm 5143">
                  <a:extLst>
                    <a:ext uri="{FF2B5EF4-FFF2-40B4-BE49-F238E27FC236}">
                      <a16:creationId xmlns:a16="http://schemas.microsoft.com/office/drawing/2014/main" id="{6C0BE526-46E9-4559-8276-05ACB24534F5}"/>
                    </a:ext>
                  </a:extLst>
                </p:cNvPr>
                <p:cNvSpPr/>
                <p:nvPr/>
              </p:nvSpPr>
              <p:spPr>
                <a:xfrm>
                  <a:off x="8053414" y="3159171"/>
                  <a:ext cx="18325" cy="18431"/>
                </a:xfrm>
                <a:custGeom>
                  <a:avLst/>
                  <a:gdLst>
                    <a:gd name="connsiteX0" fmla="*/ 8020 w 18325"/>
                    <a:gd name="connsiteY0" fmla="*/ 65 h 18431"/>
                    <a:gd name="connsiteX1" fmla="*/ 18248 w 18325"/>
                    <a:gd name="connsiteY1" fmla="*/ 8079 h 18431"/>
                    <a:gd name="connsiteX2" fmla="*/ 10293 w 18325"/>
                    <a:gd name="connsiteY2" fmla="*/ 18366 h 18431"/>
                    <a:gd name="connsiteX3" fmla="*/ 66 w 18325"/>
                    <a:gd name="connsiteY3" fmla="*/ 10352 h 18431"/>
                    <a:gd name="connsiteX4" fmla="*/ 8020 w 18325"/>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1">
                      <a:moveTo>
                        <a:pt x="8020" y="65"/>
                      </a:moveTo>
                      <a:cubicBezTo>
                        <a:pt x="13044" y="-533"/>
                        <a:pt x="17650" y="3055"/>
                        <a:pt x="18248" y="8079"/>
                      </a:cubicBezTo>
                      <a:cubicBezTo>
                        <a:pt x="18905" y="13103"/>
                        <a:pt x="15317" y="17708"/>
                        <a:pt x="10293" y="18366"/>
                      </a:cubicBezTo>
                      <a:cubicBezTo>
                        <a:pt x="5269" y="18964"/>
                        <a:pt x="664" y="15376"/>
                        <a:pt x="66" y="10352"/>
                      </a:cubicBezTo>
                      <a:cubicBezTo>
                        <a:pt x="-532" y="5268"/>
                        <a:pt x="2997" y="663"/>
                        <a:pt x="8020" y="65"/>
                      </a:cubicBezTo>
                      <a:close/>
                    </a:path>
                  </a:pathLst>
                </a:custGeom>
                <a:grpFill/>
                <a:ln w="5978" cap="flat">
                  <a:noFill/>
                  <a:prstDash val="solid"/>
                  <a:miter/>
                </a:ln>
              </p:spPr>
              <p:txBody>
                <a:bodyPr rtlCol="0" anchor="ctr"/>
                <a:lstStyle/>
                <a:p>
                  <a:endParaRPr lang="en-GB"/>
                </a:p>
              </p:txBody>
            </p:sp>
            <p:sp>
              <p:nvSpPr>
                <p:cNvPr id="5145" name="Vrije vorm: vorm 5144">
                  <a:extLst>
                    <a:ext uri="{FF2B5EF4-FFF2-40B4-BE49-F238E27FC236}">
                      <a16:creationId xmlns:a16="http://schemas.microsoft.com/office/drawing/2014/main" id="{8EA47C22-98CD-4BD9-B327-E867E15BED22}"/>
                    </a:ext>
                  </a:extLst>
                </p:cNvPr>
                <p:cNvSpPr/>
                <p:nvPr/>
              </p:nvSpPr>
              <p:spPr>
                <a:xfrm>
                  <a:off x="7861673" y="3182915"/>
                  <a:ext cx="18313" cy="18431"/>
                </a:xfrm>
                <a:custGeom>
                  <a:avLst/>
                  <a:gdLst>
                    <a:gd name="connsiteX0" fmla="*/ 8020 w 18313"/>
                    <a:gd name="connsiteY0" fmla="*/ 65 h 18431"/>
                    <a:gd name="connsiteX1" fmla="*/ 66 w 18313"/>
                    <a:gd name="connsiteY1" fmla="*/ 10352 h 18431"/>
                    <a:gd name="connsiteX2" fmla="*/ 10293 w 18313"/>
                    <a:gd name="connsiteY2" fmla="*/ 18366 h 18431"/>
                    <a:gd name="connsiteX3" fmla="*/ 18247 w 18313"/>
                    <a:gd name="connsiteY3" fmla="*/ 8079 h 18431"/>
                    <a:gd name="connsiteX4" fmla="*/ 8020 w 18313"/>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8020" y="65"/>
                      </a:moveTo>
                      <a:cubicBezTo>
                        <a:pt x="2997" y="663"/>
                        <a:pt x="-532" y="5268"/>
                        <a:pt x="66" y="10352"/>
                      </a:cubicBezTo>
                      <a:cubicBezTo>
                        <a:pt x="724" y="15376"/>
                        <a:pt x="5269" y="18964"/>
                        <a:pt x="10293" y="18366"/>
                      </a:cubicBezTo>
                      <a:cubicBezTo>
                        <a:pt x="15317" y="17768"/>
                        <a:pt x="18845" y="13163"/>
                        <a:pt x="18247" y="8079"/>
                      </a:cubicBezTo>
                      <a:cubicBezTo>
                        <a:pt x="17649" y="3055"/>
                        <a:pt x="13044" y="-533"/>
                        <a:pt x="8020" y="65"/>
                      </a:cubicBezTo>
                      <a:close/>
                    </a:path>
                  </a:pathLst>
                </a:custGeom>
                <a:grpFill/>
                <a:ln w="5978" cap="flat">
                  <a:noFill/>
                  <a:prstDash val="solid"/>
                  <a:miter/>
                </a:ln>
              </p:spPr>
              <p:txBody>
                <a:bodyPr rtlCol="0" anchor="ctr"/>
                <a:lstStyle/>
                <a:p>
                  <a:endParaRPr lang="en-GB"/>
                </a:p>
              </p:txBody>
            </p:sp>
          </p:grpSp>
          <p:grpSp>
            <p:nvGrpSpPr>
              <p:cNvPr id="77" name="Graphic 3">
                <a:extLst>
                  <a:ext uri="{FF2B5EF4-FFF2-40B4-BE49-F238E27FC236}">
                    <a16:creationId xmlns:a16="http://schemas.microsoft.com/office/drawing/2014/main" id="{B3E4CD56-B973-41F5-AE0C-3134015F4F80}"/>
                  </a:ext>
                </a:extLst>
              </p:cNvPr>
              <p:cNvGrpSpPr/>
              <p:nvPr/>
            </p:nvGrpSpPr>
            <p:grpSpPr>
              <a:xfrm>
                <a:off x="7700781" y="3146123"/>
                <a:ext cx="471014" cy="44349"/>
                <a:chOff x="7700781" y="3146123"/>
                <a:chExt cx="471014" cy="44349"/>
              </a:xfrm>
              <a:grpFill/>
            </p:grpSpPr>
            <p:sp>
              <p:nvSpPr>
                <p:cNvPr id="5140" name="Vrije vorm: vorm 5139">
                  <a:extLst>
                    <a:ext uri="{FF2B5EF4-FFF2-40B4-BE49-F238E27FC236}">
                      <a16:creationId xmlns:a16="http://schemas.microsoft.com/office/drawing/2014/main" id="{36E2E07D-7C01-4A38-9A0B-62F1C50D5109}"/>
                    </a:ext>
                  </a:extLst>
                </p:cNvPr>
                <p:cNvSpPr/>
                <p:nvPr/>
              </p:nvSpPr>
              <p:spPr>
                <a:xfrm>
                  <a:off x="7709349" y="3153854"/>
                  <a:ext cx="453817" cy="28946"/>
                </a:xfrm>
                <a:custGeom>
                  <a:avLst/>
                  <a:gdLst>
                    <a:gd name="connsiteX0" fmla="*/ 453638 w 453817"/>
                    <a:gd name="connsiteY0" fmla="*/ 0 h 28946"/>
                    <a:gd name="connsiteX1" fmla="*/ 453817 w 453817"/>
                    <a:gd name="connsiteY1" fmla="*/ 3050 h 28946"/>
                    <a:gd name="connsiteX2" fmla="*/ 180 w 453817"/>
                    <a:gd name="connsiteY2" fmla="*/ 28947 h 28946"/>
                    <a:gd name="connsiteX3" fmla="*/ 0 w 453817"/>
                    <a:gd name="connsiteY3" fmla="*/ 25896 h 28946"/>
                  </a:gdLst>
                  <a:ahLst/>
                  <a:cxnLst>
                    <a:cxn ang="0">
                      <a:pos x="connsiteX0" y="connsiteY0"/>
                    </a:cxn>
                    <a:cxn ang="0">
                      <a:pos x="connsiteX1" y="connsiteY1"/>
                    </a:cxn>
                    <a:cxn ang="0">
                      <a:pos x="connsiteX2" y="connsiteY2"/>
                    </a:cxn>
                    <a:cxn ang="0">
                      <a:pos x="connsiteX3" y="connsiteY3"/>
                    </a:cxn>
                  </a:cxnLst>
                  <a:rect l="l" t="t" r="r" b="b"/>
                  <a:pathLst>
                    <a:path w="453817" h="28946">
                      <a:moveTo>
                        <a:pt x="453638" y="0"/>
                      </a:moveTo>
                      <a:lnTo>
                        <a:pt x="453817" y="3050"/>
                      </a:lnTo>
                      <a:lnTo>
                        <a:pt x="180" y="28947"/>
                      </a:lnTo>
                      <a:lnTo>
                        <a:pt x="0" y="25896"/>
                      </a:lnTo>
                      <a:close/>
                    </a:path>
                  </a:pathLst>
                </a:custGeom>
                <a:grpFill/>
                <a:ln w="5978" cap="flat">
                  <a:noFill/>
                  <a:prstDash val="solid"/>
                  <a:miter/>
                </a:ln>
              </p:spPr>
              <p:txBody>
                <a:bodyPr rtlCol="0" anchor="ctr"/>
                <a:lstStyle/>
                <a:p>
                  <a:endParaRPr lang="en-GB"/>
                </a:p>
              </p:txBody>
            </p:sp>
            <p:sp>
              <p:nvSpPr>
                <p:cNvPr id="5141" name="Vrije vorm: vorm 5140">
                  <a:extLst>
                    <a:ext uri="{FF2B5EF4-FFF2-40B4-BE49-F238E27FC236}">
                      <a16:creationId xmlns:a16="http://schemas.microsoft.com/office/drawing/2014/main" id="{4A7B9D14-8B65-40F2-A63A-7AB2A204C953}"/>
                    </a:ext>
                  </a:extLst>
                </p:cNvPr>
                <p:cNvSpPr/>
                <p:nvPr/>
              </p:nvSpPr>
              <p:spPr>
                <a:xfrm>
                  <a:off x="7700781" y="3172019"/>
                  <a:ext cx="18333" cy="18452"/>
                </a:xfrm>
                <a:custGeom>
                  <a:avLst/>
                  <a:gdLst>
                    <a:gd name="connsiteX0" fmla="*/ 9705 w 18333"/>
                    <a:gd name="connsiteY0" fmla="*/ 18437 h 18452"/>
                    <a:gd name="connsiteX1" fmla="*/ 16 w 18333"/>
                    <a:gd name="connsiteY1" fmla="*/ 9765 h 18452"/>
                    <a:gd name="connsiteX2" fmla="*/ 8628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8" y="16"/>
                      </a:cubicBezTo>
                      <a:cubicBezTo>
                        <a:pt x="13653" y="-283"/>
                        <a:pt x="18018" y="3604"/>
                        <a:pt x="18317" y="8688"/>
                      </a:cubicBezTo>
                      <a:cubicBezTo>
                        <a:pt x="18616" y="13772"/>
                        <a:pt x="14729" y="18138"/>
                        <a:pt x="9705" y="18437"/>
                      </a:cubicBezTo>
                      <a:close/>
                    </a:path>
                  </a:pathLst>
                </a:custGeom>
                <a:grpFill/>
                <a:ln w="5978" cap="flat">
                  <a:noFill/>
                  <a:prstDash val="solid"/>
                  <a:miter/>
                </a:ln>
              </p:spPr>
              <p:txBody>
                <a:bodyPr rtlCol="0" anchor="ctr"/>
                <a:lstStyle/>
                <a:p>
                  <a:endParaRPr lang="en-GB"/>
                </a:p>
              </p:txBody>
            </p:sp>
            <p:sp>
              <p:nvSpPr>
                <p:cNvPr id="5142" name="Vrije vorm: vorm 5141">
                  <a:extLst>
                    <a:ext uri="{FF2B5EF4-FFF2-40B4-BE49-F238E27FC236}">
                      <a16:creationId xmlns:a16="http://schemas.microsoft.com/office/drawing/2014/main" id="{21C2DAF1-EA47-41F0-A1F6-FE562E4FA3C8}"/>
                    </a:ext>
                  </a:extLst>
                </p:cNvPr>
                <p:cNvSpPr/>
                <p:nvPr/>
              </p:nvSpPr>
              <p:spPr>
                <a:xfrm>
                  <a:off x="8153462" y="3146123"/>
                  <a:ext cx="18333" cy="18453"/>
                </a:xfrm>
                <a:custGeom>
                  <a:avLst/>
                  <a:gdLst>
                    <a:gd name="connsiteX0" fmla="*/ 9705 w 18333"/>
                    <a:gd name="connsiteY0" fmla="*/ 18437 h 18453"/>
                    <a:gd name="connsiteX1" fmla="*/ 18317 w 18333"/>
                    <a:gd name="connsiteY1" fmla="*/ 8688 h 18453"/>
                    <a:gd name="connsiteX2" fmla="*/ 8629 w 18333"/>
                    <a:gd name="connsiteY2" fmla="*/ 16 h 18453"/>
                    <a:gd name="connsiteX3" fmla="*/ 16 w 18333"/>
                    <a:gd name="connsiteY3" fmla="*/ 9765 h 18453"/>
                    <a:gd name="connsiteX4" fmla="*/ 9705 w 18333"/>
                    <a:gd name="connsiteY4" fmla="*/ 18437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8437"/>
                      </a:moveTo>
                      <a:cubicBezTo>
                        <a:pt x="14729" y="18138"/>
                        <a:pt x="18616" y="13772"/>
                        <a:pt x="18317" y="8688"/>
                      </a:cubicBezTo>
                      <a:cubicBezTo>
                        <a:pt x="18018" y="3605"/>
                        <a:pt x="13652" y="-283"/>
                        <a:pt x="8629" y="16"/>
                      </a:cubicBezTo>
                      <a:cubicBezTo>
                        <a:pt x="3604" y="315"/>
                        <a:pt x="-282"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78" name="Graphic 3">
                <a:extLst>
                  <a:ext uri="{FF2B5EF4-FFF2-40B4-BE49-F238E27FC236}">
                    <a16:creationId xmlns:a16="http://schemas.microsoft.com/office/drawing/2014/main" id="{290C8399-3C21-4628-AB72-C8A621974A9B}"/>
                  </a:ext>
                </a:extLst>
              </p:cNvPr>
              <p:cNvGrpSpPr/>
              <p:nvPr/>
            </p:nvGrpSpPr>
            <p:grpSpPr>
              <a:xfrm>
                <a:off x="7967706" y="3314605"/>
                <a:ext cx="27352" cy="18919"/>
                <a:chOff x="7967706" y="3314605"/>
                <a:chExt cx="27352" cy="18919"/>
              </a:xfrm>
              <a:grpFill/>
            </p:grpSpPr>
            <p:sp>
              <p:nvSpPr>
                <p:cNvPr id="5138" name="Vrije vorm: vorm 5137">
                  <a:extLst>
                    <a:ext uri="{FF2B5EF4-FFF2-40B4-BE49-F238E27FC236}">
                      <a16:creationId xmlns:a16="http://schemas.microsoft.com/office/drawing/2014/main" id="{FBF3725A-87B0-4A65-86D9-1E2734EDED8F}"/>
                    </a:ext>
                  </a:extLst>
                </p:cNvPr>
                <p:cNvSpPr/>
                <p:nvPr/>
              </p:nvSpPr>
              <p:spPr>
                <a:xfrm>
                  <a:off x="7976737" y="3314605"/>
                  <a:ext cx="18321" cy="18441"/>
                </a:xfrm>
                <a:custGeom>
                  <a:avLst/>
                  <a:gdLst>
                    <a:gd name="connsiteX0" fmla="*/ 9639 w 18321"/>
                    <a:gd name="connsiteY0" fmla="*/ 18431 h 18441"/>
                    <a:gd name="connsiteX1" fmla="*/ 10 w 18321"/>
                    <a:gd name="connsiteY1" fmla="*/ 9639 h 18441"/>
                    <a:gd name="connsiteX2" fmla="*/ 8682 w 18321"/>
                    <a:gd name="connsiteY2" fmla="*/ 10 h 18441"/>
                    <a:gd name="connsiteX3" fmla="*/ 18311 w 18321"/>
                    <a:gd name="connsiteY3" fmla="*/ 8802 h 18441"/>
                    <a:gd name="connsiteX4" fmla="*/ 9639 w 18321"/>
                    <a:gd name="connsiteY4" fmla="*/ 1843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639" y="18431"/>
                      </a:moveTo>
                      <a:cubicBezTo>
                        <a:pt x="4616" y="18670"/>
                        <a:pt x="249" y="14723"/>
                        <a:pt x="10" y="9639"/>
                      </a:cubicBezTo>
                      <a:cubicBezTo>
                        <a:pt x="-229" y="4556"/>
                        <a:pt x="3659" y="249"/>
                        <a:pt x="8682" y="10"/>
                      </a:cubicBezTo>
                      <a:cubicBezTo>
                        <a:pt x="13706" y="-229"/>
                        <a:pt x="18072" y="3718"/>
                        <a:pt x="18311" y="8802"/>
                      </a:cubicBezTo>
                      <a:cubicBezTo>
                        <a:pt x="18551" y="13886"/>
                        <a:pt x="14663" y="18192"/>
                        <a:pt x="9639" y="18431"/>
                      </a:cubicBezTo>
                      <a:close/>
                    </a:path>
                  </a:pathLst>
                </a:custGeom>
                <a:grpFill/>
                <a:ln w="5978" cap="flat">
                  <a:noFill/>
                  <a:prstDash val="solid"/>
                  <a:miter/>
                </a:ln>
              </p:spPr>
              <p:txBody>
                <a:bodyPr rtlCol="0" anchor="ctr"/>
                <a:lstStyle/>
                <a:p>
                  <a:endParaRPr lang="en-GB"/>
                </a:p>
              </p:txBody>
            </p:sp>
            <p:sp>
              <p:nvSpPr>
                <p:cNvPr id="5139" name="Vrije vorm: vorm 5138">
                  <a:extLst>
                    <a:ext uri="{FF2B5EF4-FFF2-40B4-BE49-F238E27FC236}">
                      <a16:creationId xmlns:a16="http://schemas.microsoft.com/office/drawing/2014/main" id="{A4ECBDBB-0876-4DB4-A8B0-D7443B0D2880}"/>
                    </a:ext>
                  </a:extLst>
                </p:cNvPr>
                <p:cNvSpPr/>
                <p:nvPr/>
              </p:nvSpPr>
              <p:spPr>
                <a:xfrm>
                  <a:off x="7967706" y="3315084"/>
                  <a:ext cx="18321" cy="18441"/>
                </a:xfrm>
                <a:custGeom>
                  <a:avLst/>
                  <a:gdLst>
                    <a:gd name="connsiteX0" fmla="*/ 9640 w 18321"/>
                    <a:gd name="connsiteY0" fmla="*/ 18431 h 18441"/>
                    <a:gd name="connsiteX1" fmla="*/ 18311 w 18321"/>
                    <a:gd name="connsiteY1" fmla="*/ 8802 h 18441"/>
                    <a:gd name="connsiteX2" fmla="*/ 8682 w 18321"/>
                    <a:gd name="connsiteY2" fmla="*/ 10 h 18441"/>
                    <a:gd name="connsiteX3" fmla="*/ 11 w 18321"/>
                    <a:gd name="connsiteY3" fmla="*/ 9639 h 18441"/>
                    <a:gd name="connsiteX4" fmla="*/ 9640 w 18321"/>
                    <a:gd name="connsiteY4" fmla="*/ 1843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640" y="18431"/>
                      </a:moveTo>
                      <a:cubicBezTo>
                        <a:pt x="14663" y="18192"/>
                        <a:pt x="18551" y="13886"/>
                        <a:pt x="18311" y="8802"/>
                      </a:cubicBezTo>
                      <a:cubicBezTo>
                        <a:pt x="18073" y="3718"/>
                        <a:pt x="13766" y="-229"/>
                        <a:pt x="8682" y="10"/>
                      </a:cubicBezTo>
                      <a:cubicBezTo>
                        <a:pt x="3599" y="250"/>
                        <a:pt x="-229" y="4556"/>
                        <a:pt x="11" y="9639"/>
                      </a:cubicBezTo>
                      <a:cubicBezTo>
                        <a:pt x="309" y="14723"/>
                        <a:pt x="4616" y="18670"/>
                        <a:pt x="9640" y="18431"/>
                      </a:cubicBezTo>
                      <a:close/>
                    </a:path>
                  </a:pathLst>
                </a:custGeom>
                <a:grpFill/>
                <a:ln w="5978" cap="flat">
                  <a:noFill/>
                  <a:prstDash val="solid"/>
                  <a:miter/>
                </a:ln>
              </p:spPr>
              <p:txBody>
                <a:bodyPr rtlCol="0" anchor="ctr"/>
                <a:lstStyle/>
                <a:p>
                  <a:endParaRPr lang="en-GB"/>
                </a:p>
              </p:txBody>
            </p:sp>
          </p:grpSp>
          <p:grpSp>
            <p:nvGrpSpPr>
              <p:cNvPr id="79" name="Graphic 3">
                <a:extLst>
                  <a:ext uri="{FF2B5EF4-FFF2-40B4-BE49-F238E27FC236}">
                    <a16:creationId xmlns:a16="http://schemas.microsoft.com/office/drawing/2014/main" id="{D5C5475B-C1D5-445D-8188-0F1CA7375082}"/>
                  </a:ext>
                </a:extLst>
              </p:cNvPr>
              <p:cNvGrpSpPr/>
              <p:nvPr/>
            </p:nvGrpSpPr>
            <p:grpSpPr>
              <a:xfrm>
                <a:off x="7737723" y="2606285"/>
                <a:ext cx="19218" cy="18906"/>
                <a:chOff x="7737723" y="2606285"/>
                <a:chExt cx="19218" cy="18906"/>
              </a:xfrm>
              <a:grpFill/>
            </p:grpSpPr>
            <p:sp>
              <p:nvSpPr>
                <p:cNvPr id="5136" name="Vrije vorm: vorm 5135">
                  <a:extLst>
                    <a:ext uri="{FF2B5EF4-FFF2-40B4-BE49-F238E27FC236}">
                      <a16:creationId xmlns:a16="http://schemas.microsoft.com/office/drawing/2014/main" id="{A6968A33-8F0D-43C2-89EB-02181412AED3}"/>
                    </a:ext>
                  </a:extLst>
                </p:cNvPr>
                <p:cNvSpPr/>
                <p:nvPr/>
              </p:nvSpPr>
              <p:spPr>
                <a:xfrm>
                  <a:off x="7738610" y="2606285"/>
                  <a:ext cx="18331" cy="18428"/>
                </a:xfrm>
                <a:custGeom>
                  <a:avLst/>
                  <a:gdLst>
                    <a:gd name="connsiteX0" fmla="*/ 13083 w 18331"/>
                    <a:gd name="connsiteY0" fmla="*/ 17557 h 18428"/>
                    <a:gd name="connsiteX1" fmla="*/ 882 w 18331"/>
                    <a:gd name="connsiteY1" fmla="*/ 13131 h 18428"/>
                    <a:gd name="connsiteX2" fmla="*/ 5248 w 18331"/>
                    <a:gd name="connsiteY2" fmla="*/ 871 h 18428"/>
                    <a:gd name="connsiteX3" fmla="*/ 17449 w 18331"/>
                    <a:gd name="connsiteY3" fmla="*/ 5297 h 18428"/>
                    <a:gd name="connsiteX4" fmla="*/ 13083 w 18331"/>
                    <a:gd name="connsiteY4" fmla="*/ 1755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28">
                      <a:moveTo>
                        <a:pt x="13083" y="17557"/>
                      </a:moveTo>
                      <a:cubicBezTo>
                        <a:pt x="8538" y="19710"/>
                        <a:pt x="3035" y="17737"/>
                        <a:pt x="882" y="13131"/>
                      </a:cubicBezTo>
                      <a:cubicBezTo>
                        <a:pt x="-1271" y="8526"/>
                        <a:pt x="643" y="3024"/>
                        <a:pt x="5248" y="871"/>
                      </a:cubicBezTo>
                      <a:cubicBezTo>
                        <a:pt x="9794" y="-1282"/>
                        <a:pt x="15296" y="692"/>
                        <a:pt x="17449" y="5297"/>
                      </a:cubicBezTo>
                      <a:cubicBezTo>
                        <a:pt x="19602" y="9902"/>
                        <a:pt x="17688" y="15404"/>
                        <a:pt x="13083" y="17557"/>
                      </a:cubicBezTo>
                      <a:close/>
                    </a:path>
                  </a:pathLst>
                </a:custGeom>
                <a:grpFill/>
                <a:ln w="5978" cap="flat">
                  <a:noFill/>
                  <a:prstDash val="solid"/>
                  <a:miter/>
                </a:ln>
              </p:spPr>
              <p:txBody>
                <a:bodyPr rtlCol="0" anchor="ctr"/>
                <a:lstStyle/>
                <a:p>
                  <a:endParaRPr lang="en-GB"/>
                </a:p>
              </p:txBody>
            </p:sp>
            <p:sp>
              <p:nvSpPr>
                <p:cNvPr id="5137" name="Vrije vorm: vorm 5136">
                  <a:extLst>
                    <a:ext uri="{FF2B5EF4-FFF2-40B4-BE49-F238E27FC236}">
                      <a16:creationId xmlns:a16="http://schemas.microsoft.com/office/drawing/2014/main" id="{B87309AE-E507-4AF9-A62A-6C359F682739}"/>
                    </a:ext>
                  </a:extLst>
                </p:cNvPr>
                <p:cNvSpPr/>
                <p:nvPr/>
              </p:nvSpPr>
              <p:spPr>
                <a:xfrm>
                  <a:off x="7737723" y="2606763"/>
                  <a:ext cx="18311" cy="18428"/>
                </a:xfrm>
                <a:custGeom>
                  <a:avLst/>
                  <a:gdLst>
                    <a:gd name="connsiteX0" fmla="*/ 13073 w 18311"/>
                    <a:gd name="connsiteY0" fmla="*/ 17557 h 18428"/>
                    <a:gd name="connsiteX1" fmla="*/ 17439 w 18311"/>
                    <a:gd name="connsiteY1" fmla="*/ 5297 h 18428"/>
                    <a:gd name="connsiteX2" fmla="*/ 5238 w 18311"/>
                    <a:gd name="connsiteY2" fmla="*/ 871 h 18428"/>
                    <a:gd name="connsiteX3" fmla="*/ 872 w 18311"/>
                    <a:gd name="connsiteY3" fmla="*/ 13132 h 18428"/>
                    <a:gd name="connsiteX4" fmla="*/ 13073 w 18311"/>
                    <a:gd name="connsiteY4" fmla="*/ 1755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8">
                      <a:moveTo>
                        <a:pt x="13073" y="17557"/>
                      </a:moveTo>
                      <a:cubicBezTo>
                        <a:pt x="17619" y="15404"/>
                        <a:pt x="19592" y="9902"/>
                        <a:pt x="17439" y="5297"/>
                      </a:cubicBezTo>
                      <a:cubicBezTo>
                        <a:pt x="15286" y="692"/>
                        <a:pt x="9784" y="-1282"/>
                        <a:pt x="5238" y="871"/>
                      </a:cubicBezTo>
                      <a:cubicBezTo>
                        <a:pt x="693" y="3024"/>
                        <a:pt x="-1281" y="8527"/>
                        <a:pt x="872" y="13132"/>
                      </a:cubicBezTo>
                      <a:cubicBezTo>
                        <a:pt x="3025" y="17737"/>
                        <a:pt x="8528" y="19711"/>
                        <a:pt x="13073" y="17557"/>
                      </a:cubicBezTo>
                      <a:close/>
                    </a:path>
                  </a:pathLst>
                </a:custGeom>
                <a:grpFill/>
                <a:ln w="5978" cap="flat">
                  <a:noFill/>
                  <a:prstDash val="solid"/>
                  <a:miter/>
                </a:ln>
              </p:spPr>
              <p:txBody>
                <a:bodyPr rtlCol="0" anchor="ctr"/>
                <a:lstStyle/>
                <a:p>
                  <a:endParaRPr lang="en-GB"/>
                </a:p>
              </p:txBody>
            </p:sp>
          </p:grpSp>
          <p:grpSp>
            <p:nvGrpSpPr>
              <p:cNvPr id="80" name="Graphic 3">
                <a:extLst>
                  <a:ext uri="{FF2B5EF4-FFF2-40B4-BE49-F238E27FC236}">
                    <a16:creationId xmlns:a16="http://schemas.microsoft.com/office/drawing/2014/main" id="{2966474F-878C-47F9-A46B-826B07E8ED95}"/>
                  </a:ext>
                </a:extLst>
              </p:cNvPr>
              <p:cNvGrpSpPr/>
              <p:nvPr/>
            </p:nvGrpSpPr>
            <p:grpSpPr>
              <a:xfrm>
                <a:off x="7713933" y="2683270"/>
                <a:ext cx="133472" cy="65231"/>
                <a:chOff x="7713933" y="2683270"/>
                <a:chExt cx="133472" cy="65231"/>
              </a:xfrm>
              <a:grpFill/>
            </p:grpSpPr>
            <p:sp>
              <p:nvSpPr>
                <p:cNvPr id="5133" name="Vrije vorm: vorm 5132">
                  <a:extLst>
                    <a:ext uri="{FF2B5EF4-FFF2-40B4-BE49-F238E27FC236}">
                      <a16:creationId xmlns:a16="http://schemas.microsoft.com/office/drawing/2014/main" id="{A0EE81B8-98F1-4510-BC21-CFE826DC3226}"/>
                    </a:ext>
                  </a:extLst>
                </p:cNvPr>
                <p:cNvSpPr/>
                <p:nvPr/>
              </p:nvSpPr>
              <p:spPr>
                <a:xfrm>
                  <a:off x="7721695" y="2691151"/>
                  <a:ext cx="117167" cy="49964"/>
                </a:xfrm>
                <a:custGeom>
                  <a:avLst/>
                  <a:gdLst>
                    <a:gd name="connsiteX0" fmla="*/ 0 w 117167"/>
                    <a:gd name="connsiteY0" fmla="*/ 47139 h 49964"/>
                    <a:gd name="connsiteX1" fmla="*/ 116019 w 117167"/>
                    <a:gd name="connsiteY1" fmla="*/ 0 h 49964"/>
                    <a:gd name="connsiteX2" fmla="*/ 117167 w 117167"/>
                    <a:gd name="connsiteY2" fmla="*/ 2826 h 49964"/>
                    <a:gd name="connsiteX3" fmla="*/ 1148 w 117167"/>
                    <a:gd name="connsiteY3" fmla="*/ 49965 h 49964"/>
                  </a:gdLst>
                  <a:ahLst/>
                  <a:cxnLst>
                    <a:cxn ang="0">
                      <a:pos x="connsiteX0" y="connsiteY0"/>
                    </a:cxn>
                    <a:cxn ang="0">
                      <a:pos x="connsiteX1" y="connsiteY1"/>
                    </a:cxn>
                    <a:cxn ang="0">
                      <a:pos x="connsiteX2" y="connsiteY2"/>
                    </a:cxn>
                    <a:cxn ang="0">
                      <a:pos x="connsiteX3" y="connsiteY3"/>
                    </a:cxn>
                  </a:cxnLst>
                  <a:rect l="l" t="t" r="r" b="b"/>
                  <a:pathLst>
                    <a:path w="117167" h="49964">
                      <a:moveTo>
                        <a:pt x="0" y="47139"/>
                      </a:moveTo>
                      <a:lnTo>
                        <a:pt x="116019" y="0"/>
                      </a:lnTo>
                      <a:lnTo>
                        <a:pt x="117167" y="2826"/>
                      </a:lnTo>
                      <a:lnTo>
                        <a:pt x="1148" y="49965"/>
                      </a:lnTo>
                      <a:close/>
                    </a:path>
                  </a:pathLst>
                </a:custGeom>
                <a:grpFill/>
                <a:ln w="5978" cap="flat">
                  <a:noFill/>
                  <a:prstDash val="solid"/>
                  <a:miter/>
                </a:ln>
              </p:spPr>
              <p:txBody>
                <a:bodyPr rtlCol="0" anchor="ctr"/>
                <a:lstStyle/>
                <a:p>
                  <a:endParaRPr lang="en-GB"/>
                </a:p>
              </p:txBody>
            </p:sp>
            <p:sp>
              <p:nvSpPr>
                <p:cNvPr id="5134" name="Vrije vorm: vorm 5133">
                  <a:extLst>
                    <a:ext uri="{FF2B5EF4-FFF2-40B4-BE49-F238E27FC236}">
                      <a16:creationId xmlns:a16="http://schemas.microsoft.com/office/drawing/2014/main" id="{E8C10D63-6812-4948-B1A4-9E812BCE560F}"/>
                    </a:ext>
                  </a:extLst>
                </p:cNvPr>
                <p:cNvSpPr/>
                <p:nvPr/>
              </p:nvSpPr>
              <p:spPr>
                <a:xfrm>
                  <a:off x="7829087" y="2683270"/>
                  <a:ext cx="18319" cy="18402"/>
                </a:xfrm>
                <a:custGeom>
                  <a:avLst/>
                  <a:gdLst>
                    <a:gd name="connsiteX0" fmla="*/ 5679 w 18319"/>
                    <a:gd name="connsiteY0" fmla="*/ 679 h 18402"/>
                    <a:gd name="connsiteX1" fmla="*/ 17640 w 18319"/>
                    <a:gd name="connsiteY1" fmla="*/ 5762 h 18402"/>
                    <a:gd name="connsiteX2" fmla="*/ 12616 w 18319"/>
                    <a:gd name="connsiteY2" fmla="*/ 17724 h 18402"/>
                    <a:gd name="connsiteX3" fmla="*/ 654 w 18319"/>
                    <a:gd name="connsiteY3" fmla="*/ 12640 h 18402"/>
                    <a:gd name="connsiteX4" fmla="*/ 5679 w 18319"/>
                    <a:gd name="connsiteY4" fmla="*/ 679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02">
                      <a:moveTo>
                        <a:pt x="5679" y="679"/>
                      </a:moveTo>
                      <a:cubicBezTo>
                        <a:pt x="10343" y="-1235"/>
                        <a:pt x="15726" y="1037"/>
                        <a:pt x="17640" y="5762"/>
                      </a:cubicBezTo>
                      <a:cubicBezTo>
                        <a:pt x="19554" y="10487"/>
                        <a:pt x="17281" y="15870"/>
                        <a:pt x="12616" y="17724"/>
                      </a:cubicBezTo>
                      <a:cubicBezTo>
                        <a:pt x="7951" y="19637"/>
                        <a:pt x="2568" y="17365"/>
                        <a:pt x="654" y="12640"/>
                      </a:cubicBezTo>
                      <a:cubicBezTo>
                        <a:pt x="-1199" y="7975"/>
                        <a:pt x="1013" y="2592"/>
                        <a:pt x="5679" y="679"/>
                      </a:cubicBezTo>
                      <a:close/>
                    </a:path>
                  </a:pathLst>
                </a:custGeom>
                <a:grpFill/>
                <a:ln w="5978" cap="flat">
                  <a:noFill/>
                  <a:prstDash val="solid"/>
                  <a:miter/>
                </a:ln>
              </p:spPr>
              <p:txBody>
                <a:bodyPr rtlCol="0" anchor="ctr"/>
                <a:lstStyle/>
                <a:p>
                  <a:endParaRPr lang="en-GB"/>
                </a:p>
              </p:txBody>
            </p:sp>
            <p:sp>
              <p:nvSpPr>
                <p:cNvPr id="5135" name="Vrije vorm: vorm 5134">
                  <a:extLst>
                    <a:ext uri="{FF2B5EF4-FFF2-40B4-BE49-F238E27FC236}">
                      <a16:creationId xmlns:a16="http://schemas.microsoft.com/office/drawing/2014/main" id="{D525C23A-11EB-4DA0-9785-4E68D5335ED7}"/>
                    </a:ext>
                  </a:extLst>
                </p:cNvPr>
                <p:cNvSpPr/>
                <p:nvPr/>
              </p:nvSpPr>
              <p:spPr>
                <a:xfrm>
                  <a:off x="7713933" y="2730099"/>
                  <a:ext cx="18344" cy="18401"/>
                </a:xfrm>
                <a:custGeom>
                  <a:avLst/>
                  <a:gdLst>
                    <a:gd name="connsiteX0" fmla="*/ 5703 w 18344"/>
                    <a:gd name="connsiteY0" fmla="*/ 679 h 18401"/>
                    <a:gd name="connsiteX1" fmla="*/ 679 w 18344"/>
                    <a:gd name="connsiteY1" fmla="*/ 12640 h 18401"/>
                    <a:gd name="connsiteX2" fmla="*/ 12641 w 18344"/>
                    <a:gd name="connsiteY2" fmla="*/ 17723 h 18401"/>
                    <a:gd name="connsiteX3" fmla="*/ 17665 w 18344"/>
                    <a:gd name="connsiteY3" fmla="*/ 5762 h 18401"/>
                    <a:gd name="connsiteX4" fmla="*/ 5703 w 18344"/>
                    <a:gd name="connsiteY4" fmla="*/ 679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1">
                      <a:moveTo>
                        <a:pt x="5703" y="679"/>
                      </a:moveTo>
                      <a:cubicBezTo>
                        <a:pt x="1038" y="2592"/>
                        <a:pt x="-1234" y="7975"/>
                        <a:pt x="679" y="12640"/>
                      </a:cubicBezTo>
                      <a:cubicBezTo>
                        <a:pt x="2593" y="17365"/>
                        <a:pt x="7916" y="19637"/>
                        <a:pt x="12641" y="17723"/>
                      </a:cubicBezTo>
                      <a:cubicBezTo>
                        <a:pt x="17306" y="15810"/>
                        <a:pt x="19578" y="10427"/>
                        <a:pt x="17665" y="5762"/>
                      </a:cubicBezTo>
                      <a:cubicBezTo>
                        <a:pt x="15691" y="1037"/>
                        <a:pt x="10368" y="-1235"/>
                        <a:pt x="5703" y="679"/>
                      </a:cubicBezTo>
                      <a:close/>
                    </a:path>
                  </a:pathLst>
                </a:custGeom>
                <a:grpFill/>
                <a:ln w="5978" cap="flat">
                  <a:noFill/>
                  <a:prstDash val="solid"/>
                  <a:miter/>
                </a:ln>
              </p:spPr>
              <p:txBody>
                <a:bodyPr rtlCol="0" anchor="ctr"/>
                <a:lstStyle/>
                <a:p>
                  <a:endParaRPr lang="en-GB"/>
                </a:p>
              </p:txBody>
            </p:sp>
          </p:grpSp>
          <p:grpSp>
            <p:nvGrpSpPr>
              <p:cNvPr id="81" name="Graphic 3">
                <a:extLst>
                  <a:ext uri="{FF2B5EF4-FFF2-40B4-BE49-F238E27FC236}">
                    <a16:creationId xmlns:a16="http://schemas.microsoft.com/office/drawing/2014/main" id="{AD2FC811-8DA9-43E0-A7A8-12DD4FF5C4D2}"/>
                  </a:ext>
                </a:extLst>
              </p:cNvPr>
              <p:cNvGrpSpPr/>
              <p:nvPr/>
            </p:nvGrpSpPr>
            <p:grpSpPr>
              <a:xfrm>
                <a:off x="7444619" y="2243758"/>
                <a:ext cx="420552" cy="242298"/>
                <a:chOff x="7444619" y="2243758"/>
                <a:chExt cx="420552" cy="242298"/>
              </a:xfrm>
              <a:grpFill/>
            </p:grpSpPr>
            <p:sp>
              <p:nvSpPr>
                <p:cNvPr id="5130" name="Vrije vorm: vorm 5129">
                  <a:extLst>
                    <a:ext uri="{FF2B5EF4-FFF2-40B4-BE49-F238E27FC236}">
                      <a16:creationId xmlns:a16="http://schemas.microsoft.com/office/drawing/2014/main" id="{96B6B9EC-99F5-4E55-AF92-6FC1B699B57D}"/>
                    </a:ext>
                  </a:extLst>
                </p:cNvPr>
                <p:cNvSpPr/>
                <p:nvPr/>
              </p:nvSpPr>
              <p:spPr>
                <a:xfrm>
                  <a:off x="7452597" y="2251363"/>
                  <a:ext cx="404536" cy="227028"/>
                </a:xfrm>
                <a:custGeom>
                  <a:avLst/>
                  <a:gdLst>
                    <a:gd name="connsiteX0" fmla="*/ 404536 w 404536"/>
                    <a:gd name="connsiteY0" fmla="*/ 2691 h 227028"/>
                    <a:gd name="connsiteX1" fmla="*/ 1495 w 404536"/>
                    <a:gd name="connsiteY1" fmla="*/ 227028 h 227028"/>
                    <a:gd name="connsiteX2" fmla="*/ 0 w 404536"/>
                    <a:gd name="connsiteY2" fmla="*/ 224337 h 227028"/>
                    <a:gd name="connsiteX3" fmla="*/ 403101 w 404536"/>
                    <a:gd name="connsiteY3" fmla="*/ 0 h 227028"/>
                  </a:gdLst>
                  <a:ahLst/>
                  <a:cxnLst>
                    <a:cxn ang="0">
                      <a:pos x="connsiteX0" y="connsiteY0"/>
                    </a:cxn>
                    <a:cxn ang="0">
                      <a:pos x="connsiteX1" y="connsiteY1"/>
                    </a:cxn>
                    <a:cxn ang="0">
                      <a:pos x="connsiteX2" y="connsiteY2"/>
                    </a:cxn>
                    <a:cxn ang="0">
                      <a:pos x="connsiteX3" y="connsiteY3"/>
                    </a:cxn>
                  </a:cxnLst>
                  <a:rect l="l" t="t" r="r" b="b"/>
                  <a:pathLst>
                    <a:path w="404536" h="227028">
                      <a:moveTo>
                        <a:pt x="404536" y="2691"/>
                      </a:moveTo>
                      <a:lnTo>
                        <a:pt x="1495" y="227028"/>
                      </a:lnTo>
                      <a:lnTo>
                        <a:pt x="0" y="224337"/>
                      </a:lnTo>
                      <a:lnTo>
                        <a:pt x="403101" y="0"/>
                      </a:lnTo>
                      <a:close/>
                    </a:path>
                  </a:pathLst>
                </a:custGeom>
                <a:grpFill/>
                <a:ln w="5978" cap="flat">
                  <a:noFill/>
                  <a:prstDash val="solid"/>
                  <a:miter/>
                </a:ln>
              </p:spPr>
              <p:txBody>
                <a:bodyPr rtlCol="0" anchor="ctr"/>
                <a:lstStyle/>
                <a:p>
                  <a:endParaRPr lang="en-GB"/>
                </a:p>
              </p:txBody>
            </p:sp>
            <p:sp>
              <p:nvSpPr>
                <p:cNvPr id="5131" name="Vrije vorm: vorm 5130">
                  <a:extLst>
                    <a:ext uri="{FF2B5EF4-FFF2-40B4-BE49-F238E27FC236}">
                      <a16:creationId xmlns:a16="http://schemas.microsoft.com/office/drawing/2014/main" id="{287CBEDD-B88F-46B0-A757-497C23A95FE9}"/>
                    </a:ext>
                  </a:extLst>
                </p:cNvPr>
                <p:cNvSpPr/>
                <p:nvPr/>
              </p:nvSpPr>
              <p:spPr>
                <a:xfrm>
                  <a:off x="7444619" y="2467676"/>
                  <a:ext cx="18289" cy="18380"/>
                </a:xfrm>
                <a:custGeom>
                  <a:avLst/>
                  <a:gdLst>
                    <a:gd name="connsiteX0" fmla="*/ 13600 w 18289"/>
                    <a:gd name="connsiteY0" fmla="*/ 17234 h 18380"/>
                    <a:gd name="connsiteX1" fmla="*/ 1160 w 18289"/>
                    <a:gd name="connsiteY1" fmla="*/ 13646 h 18380"/>
                    <a:gd name="connsiteX2" fmla="*/ 4689 w 18289"/>
                    <a:gd name="connsiteY2" fmla="*/ 1146 h 18380"/>
                    <a:gd name="connsiteX3" fmla="*/ 17129 w 18289"/>
                    <a:gd name="connsiteY3" fmla="*/ 4734 h 18380"/>
                    <a:gd name="connsiteX4" fmla="*/ 13600 w 18289"/>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80">
                      <a:moveTo>
                        <a:pt x="13600" y="17234"/>
                      </a:moveTo>
                      <a:cubicBezTo>
                        <a:pt x="9174" y="19686"/>
                        <a:pt x="3613" y="18071"/>
                        <a:pt x="1160" y="13646"/>
                      </a:cubicBezTo>
                      <a:cubicBezTo>
                        <a:pt x="-1292" y="9220"/>
                        <a:pt x="263" y="3598"/>
                        <a:pt x="4689" y="1146"/>
                      </a:cubicBezTo>
                      <a:cubicBezTo>
                        <a:pt x="9115" y="-1306"/>
                        <a:pt x="14677" y="309"/>
                        <a:pt x="17129" y="4734"/>
                      </a:cubicBezTo>
                      <a:cubicBezTo>
                        <a:pt x="19581" y="9160"/>
                        <a:pt x="18026" y="14722"/>
                        <a:pt x="13600" y="17234"/>
                      </a:cubicBezTo>
                      <a:close/>
                    </a:path>
                  </a:pathLst>
                </a:custGeom>
                <a:grpFill/>
                <a:ln w="5978" cap="flat">
                  <a:noFill/>
                  <a:prstDash val="solid"/>
                  <a:miter/>
                </a:ln>
              </p:spPr>
              <p:txBody>
                <a:bodyPr rtlCol="0" anchor="ctr"/>
                <a:lstStyle/>
                <a:p>
                  <a:endParaRPr lang="en-GB"/>
                </a:p>
              </p:txBody>
            </p:sp>
            <p:sp>
              <p:nvSpPr>
                <p:cNvPr id="5132" name="Vrije vorm: vorm 5131">
                  <a:extLst>
                    <a:ext uri="{FF2B5EF4-FFF2-40B4-BE49-F238E27FC236}">
                      <a16:creationId xmlns:a16="http://schemas.microsoft.com/office/drawing/2014/main" id="{F25DACAE-5651-496E-B76E-E7991A8E4E40}"/>
                    </a:ext>
                  </a:extLst>
                </p:cNvPr>
                <p:cNvSpPr/>
                <p:nvPr/>
              </p:nvSpPr>
              <p:spPr>
                <a:xfrm>
                  <a:off x="7846882" y="2243758"/>
                  <a:ext cx="18288" cy="18379"/>
                </a:xfrm>
                <a:custGeom>
                  <a:avLst/>
                  <a:gdLst>
                    <a:gd name="connsiteX0" fmla="*/ 13600 w 18288"/>
                    <a:gd name="connsiteY0" fmla="*/ 17234 h 18379"/>
                    <a:gd name="connsiteX1" fmla="*/ 17128 w 18288"/>
                    <a:gd name="connsiteY1" fmla="*/ 4734 h 18379"/>
                    <a:gd name="connsiteX2" fmla="*/ 4689 w 18288"/>
                    <a:gd name="connsiteY2" fmla="*/ 1146 h 18379"/>
                    <a:gd name="connsiteX3" fmla="*/ 1160 w 18288"/>
                    <a:gd name="connsiteY3" fmla="*/ 13646 h 18379"/>
                    <a:gd name="connsiteX4" fmla="*/ 13600 w 18288"/>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79">
                      <a:moveTo>
                        <a:pt x="13600" y="17234"/>
                      </a:moveTo>
                      <a:cubicBezTo>
                        <a:pt x="18026" y="14782"/>
                        <a:pt x="19581" y="9160"/>
                        <a:pt x="17128" y="4734"/>
                      </a:cubicBezTo>
                      <a:cubicBezTo>
                        <a:pt x="14677" y="309"/>
                        <a:pt x="9055" y="-1306"/>
                        <a:pt x="4689" y="1146"/>
                      </a:cubicBezTo>
                      <a:cubicBezTo>
                        <a:pt x="263" y="3598"/>
                        <a:pt x="-1292" y="9220"/>
                        <a:pt x="1160" y="13646"/>
                      </a:cubicBezTo>
                      <a:cubicBezTo>
                        <a:pt x="3613" y="18071"/>
                        <a:pt x="9174" y="19686"/>
                        <a:pt x="13600" y="17234"/>
                      </a:cubicBezTo>
                      <a:close/>
                    </a:path>
                  </a:pathLst>
                </a:custGeom>
                <a:grpFill/>
                <a:ln w="5978" cap="flat">
                  <a:noFill/>
                  <a:prstDash val="solid"/>
                  <a:miter/>
                </a:ln>
              </p:spPr>
              <p:txBody>
                <a:bodyPr rtlCol="0" anchor="ctr"/>
                <a:lstStyle/>
                <a:p>
                  <a:endParaRPr lang="en-GB"/>
                </a:p>
              </p:txBody>
            </p:sp>
          </p:grpSp>
          <p:grpSp>
            <p:nvGrpSpPr>
              <p:cNvPr id="82" name="Graphic 3">
                <a:extLst>
                  <a:ext uri="{FF2B5EF4-FFF2-40B4-BE49-F238E27FC236}">
                    <a16:creationId xmlns:a16="http://schemas.microsoft.com/office/drawing/2014/main" id="{C6D6952A-8477-4348-AB6B-FD38F65B9651}"/>
                  </a:ext>
                </a:extLst>
              </p:cNvPr>
              <p:cNvGrpSpPr/>
              <p:nvPr/>
            </p:nvGrpSpPr>
            <p:grpSpPr>
              <a:xfrm>
                <a:off x="7459881" y="2273851"/>
                <a:ext cx="433030" cy="239946"/>
                <a:chOff x="7459881" y="2273851"/>
                <a:chExt cx="433030" cy="239946"/>
              </a:xfrm>
              <a:grpFill/>
            </p:grpSpPr>
            <p:sp>
              <p:nvSpPr>
                <p:cNvPr id="5127" name="Vrije vorm: vorm 5126">
                  <a:extLst>
                    <a:ext uri="{FF2B5EF4-FFF2-40B4-BE49-F238E27FC236}">
                      <a16:creationId xmlns:a16="http://schemas.microsoft.com/office/drawing/2014/main" id="{85B2E762-4649-4318-971A-2A7B823FF460}"/>
                    </a:ext>
                  </a:extLst>
                </p:cNvPr>
                <p:cNvSpPr/>
                <p:nvPr/>
              </p:nvSpPr>
              <p:spPr>
                <a:xfrm>
                  <a:off x="7467908" y="2281506"/>
                  <a:ext cx="416976" cy="224636"/>
                </a:xfrm>
                <a:custGeom>
                  <a:avLst/>
                  <a:gdLst>
                    <a:gd name="connsiteX0" fmla="*/ 416977 w 416976"/>
                    <a:gd name="connsiteY0" fmla="*/ 2691 h 224636"/>
                    <a:gd name="connsiteX1" fmla="*/ 1435 w 416976"/>
                    <a:gd name="connsiteY1" fmla="*/ 224636 h 224636"/>
                    <a:gd name="connsiteX2" fmla="*/ 0 w 416976"/>
                    <a:gd name="connsiteY2" fmla="*/ 221945 h 224636"/>
                    <a:gd name="connsiteX3" fmla="*/ 415540 w 416976"/>
                    <a:gd name="connsiteY3" fmla="*/ 0 h 224636"/>
                  </a:gdLst>
                  <a:ahLst/>
                  <a:cxnLst>
                    <a:cxn ang="0">
                      <a:pos x="connsiteX0" y="connsiteY0"/>
                    </a:cxn>
                    <a:cxn ang="0">
                      <a:pos x="connsiteX1" y="connsiteY1"/>
                    </a:cxn>
                    <a:cxn ang="0">
                      <a:pos x="connsiteX2" y="connsiteY2"/>
                    </a:cxn>
                    <a:cxn ang="0">
                      <a:pos x="connsiteX3" y="connsiteY3"/>
                    </a:cxn>
                  </a:cxnLst>
                  <a:rect l="l" t="t" r="r" b="b"/>
                  <a:pathLst>
                    <a:path w="416976" h="224636">
                      <a:moveTo>
                        <a:pt x="416977" y="2691"/>
                      </a:moveTo>
                      <a:lnTo>
                        <a:pt x="1435" y="224636"/>
                      </a:lnTo>
                      <a:lnTo>
                        <a:pt x="0" y="221945"/>
                      </a:lnTo>
                      <a:lnTo>
                        <a:pt x="415540" y="0"/>
                      </a:lnTo>
                      <a:close/>
                    </a:path>
                  </a:pathLst>
                </a:custGeom>
                <a:grpFill/>
                <a:ln w="5978" cap="flat">
                  <a:noFill/>
                  <a:prstDash val="solid"/>
                  <a:miter/>
                </a:ln>
              </p:spPr>
              <p:txBody>
                <a:bodyPr rtlCol="0" anchor="ctr"/>
                <a:lstStyle/>
                <a:p>
                  <a:endParaRPr lang="en-GB"/>
                </a:p>
              </p:txBody>
            </p:sp>
            <p:sp>
              <p:nvSpPr>
                <p:cNvPr id="5128" name="Vrije vorm: vorm 5127">
                  <a:extLst>
                    <a:ext uri="{FF2B5EF4-FFF2-40B4-BE49-F238E27FC236}">
                      <a16:creationId xmlns:a16="http://schemas.microsoft.com/office/drawing/2014/main" id="{88EF096A-F888-4A7F-9274-E96EDE077F02}"/>
                    </a:ext>
                  </a:extLst>
                </p:cNvPr>
                <p:cNvSpPr/>
                <p:nvPr/>
              </p:nvSpPr>
              <p:spPr>
                <a:xfrm>
                  <a:off x="7459881" y="2495377"/>
                  <a:ext cx="18315" cy="18420"/>
                </a:xfrm>
                <a:custGeom>
                  <a:avLst/>
                  <a:gdLst>
                    <a:gd name="connsiteX0" fmla="*/ 13470 w 18315"/>
                    <a:gd name="connsiteY0" fmla="*/ 17344 h 18420"/>
                    <a:gd name="connsiteX1" fmla="*/ 1090 w 18315"/>
                    <a:gd name="connsiteY1" fmla="*/ 13516 h 18420"/>
                    <a:gd name="connsiteX2" fmla="*/ 4858 w 18315"/>
                    <a:gd name="connsiteY2" fmla="*/ 1076 h 18420"/>
                    <a:gd name="connsiteX3" fmla="*/ 17237 w 18315"/>
                    <a:gd name="connsiteY3" fmla="*/ 4904 h 18420"/>
                    <a:gd name="connsiteX4" fmla="*/ 13470 w 18315"/>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0">
                      <a:moveTo>
                        <a:pt x="13470" y="17344"/>
                      </a:moveTo>
                      <a:cubicBezTo>
                        <a:pt x="8984" y="19736"/>
                        <a:pt x="3482" y="18002"/>
                        <a:pt x="1090" y="13516"/>
                      </a:cubicBezTo>
                      <a:cubicBezTo>
                        <a:pt x="-1303" y="9031"/>
                        <a:pt x="372" y="3469"/>
                        <a:pt x="4858" y="1076"/>
                      </a:cubicBezTo>
                      <a:cubicBezTo>
                        <a:pt x="9343" y="-1316"/>
                        <a:pt x="14905" y="418"/>
                        <a:pt x="17237" y="4904"/>
                      </a:cubicBezTo>
                      <a:cubicBezTo>
                        <a:pt x="19630" y="9390"/>
                        <a:pt x="17895" y="14952"/>
                        <a:pt x="13470" y="17344"/>
                      </a:cubicBezTo>
                      <a:close/>
                    </a:path>
                  </a:pathLst>
                </a:custGeom>
                <a:grpFill/>
                <a:ln w="5978" cap="flat">
                  <a:noFill/>
                  <a:prstDash val="solid"/>
                  <a:miter/>
                </a:ln>
              </p:spPr>
              <p:txBody>
                <a:bodyPr rtlCol="0" anchor="ctr"/>
                <a:lstStyle/>
                <a:p>
                  <a:endParaRPr lang="en-GB"/>
                </a:p>
              </p:txBody>
            </p:sp>
            <p:sp>
              <p:nvSpPr>
                <p:cNvPr id="5129" name="Vrije vorm: vorm 5128">
                  <a:extLst>
                    <a:ext uri="{FF2B5EF4-FFF2-40B4-BE49-F238E27FC236}">
                      <a16:creationId xmlns:a16="http://schemas.microsoft.com/office/drawing/2014/main" id="{D7DF8960-B835-44EC-BBF9-8A3A2B342EDA}"/>
                    </a:ext>
                  </a:extLst>
                </p:cNvPr>
                <p:cNvSpPr/>
                <p:nvPr/>
              </p:nvSpPr>
              <p:spPr>
                <a:xfrm>
                  <a:off x="7874584" y="2273851"/>
                  <a:ext cx="18327" cy="18431"/>
                </a:xfrm>
                <a:custGeom>
                  <a:avLst/>
                  <a:gdLst>
                    <a:gd name="connsiteX0" fmla="*/ 13470 w 18327"/>
                    <a:gd name="connsiteY0" fmla="*/ 17344 h 18431"/>
                    <a:gd name="connsiteX1" fmla="*/ 17237 w 18327"/>
                    <a:gd name="connsiteY1" fmla="*/ 4904 h 18431"/>
                    <a:gd name="connsiteX2" fmla="*/ 4858 w 18327"/>
                    <a:gd name="connsiteY2" fmla="*/ 1076 h 18431"/>
                    <a:gd name="connsiteX3" fmla="*/ 1090 w 18327"/>
                    <a:gd name="connsiteY3" fmla="*/ 13516 h 18431"/>
                    <a:gd name="connsiteX4" fmla="*/ 13470 w 18327"/>
                    <a:gd name="connsiteY4" fmla="*/ 17344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1">
                      <a:moveTo>
                        <a:pt x="13470" y="17344"/>
                      </a:moveTo>
                      <a:cubicBezTo>
                        <a:pt x="17955" y="14952"/>
                        <a:pt x="19630" y="9390"/>
                        <a:pt x="17237" y="4904"/>
                      </a:cubicBezTo>
                      <a:cubicBezTo>
                        <a:pt x="14845" y="418"/>
                        <a:pt x="9283" y="-1316"/>
                        <a:pt x="4858" y="1076"/>
                      </a:cubicBezTo>
                      <a:cubicBezTo>
                        <a:pt x="372" y="3469"/>
                        <a:pt x="-1303" y="9031"/>
                        <a:pt x="1090" y="13516"/>
                      </a:cubicBezTo>
                      <a:cubicBezTo>
                        <a:pt x="3482" y="18062"/>
                        <a:pt x="9044" y="19736"/>
                        <a:pt x="13470" y="17344"/>
                      </a:cubicBezTo>
                      <a:close/>
                    </a:path>
                  </a:pathLst>
                </a:custGeom>
                <a:grpFill/>
                <a:ln w="5978" cap="flat">
                  <a:noFill/>
                  <a:prstDash val="solid"/>
                  <a:miter/>
                </a:ln>
              </p:spPr>
              <p:txBody>
                <a:bodyPr rtlCol="0" anchor="ctr"/>
                <a:lstStyle/>
                <a:p>
                  <a:endParaRPr lang="en-GB"/>
                </a:p>
              </p:txBody>
            </p:sp>
          </p:grpSp>
          <p:grpSp>
            <p:nvGrpSpPr>
              <p:cNvPr id="83" name="Graphic 3">
                <a:extLst>
                  <a:ext uri="{FF2B5EF4-FFF2-40B4-BE49-F238E27FC236}">
                    <a16:creationId xmlns:a16="http://schemas.microsoft.com/office/drawing/2014/main" id="{944A42C3-BDC1-49B6-9A0C-6DBF255C8E94}"/>
                  </a:ext>
                </a:extLst>
              </p:cNvPr>
              <p:cNvGrpSpPr/>
              <p:nvPr/>
            </p:nvGrpSpPr>
            <p:grpSpPr>
              <a:xfrm>
                <a:off x="7771618" y="3019161"/>
                <a:ext cx="227086" cy="60358"/>
                <a:chOff x="7771618" y="3019161"/>
                <a:chExt cx="227086" cy="60358"/>
              </a:xfrm>
              <a:grpFill/>
            </p:grpSpPr>
            <p:sp>
              <p:nvSpPr>
                <p:cNvPr id="5124" name="Vrije vorm: vorm 5123">
                  <a:extLst>
                    <a:ext uri="{FF2B5EF4-FFF2-40B4-BE49-F238E27FC236}">
                      <a16:creationId xmlns:a16="http://schemas.microsoft.com/office/drawing/2014/main" id="{CCFFFA91-C697-4237-BB8C-F02A47C8EB0B}"/>
                    </a:ext>
                  </a:extLst>
                </p:cNvPr>
                <p:cNvSpPr/>
                <p:nvPr/>
              </p:nvSpPr>
              <p:spPr>
                <a:xfrm>
                  <a:off x="7780042" y="3026764"/>
                  <a:ext cx="210282" cy="45154"/>
                </a:xfrm>
                <a:custGeom>
                  <a:avLst/>
                  <a:gdLst>
                    <a:gd name="connsiteX0" fmla="*/ 209624 w 210282"/>
                    <a:gd name="connsiteY0" fmla="*/ 0 h 45154"/>
                    <a:gd name="connsiteX1" fmla="*/ 210282 w 210282"/>
                    <a:gd name="connsiteY1" fmla="*/ 2990 h 45154"/>
                    <a:gd name="connsiteX2" fmla="*/ 598 w 210282"/>
                    <a:gd name="connsiteY2" fmla="*/ 45154 h 45154"/>
                    <a:gd name="connsiteX3" fmla="*/ 0 w 210282"/>
                    <a:gd name="connsiteY3" fmla="*/ 42164 h 45154"/>
                  </a:gdLst>
                  <a:ahLst/>
                  <a:cxnLst>
                    <a:cxn ang="0">
                      <a:pos x="connsiteX0" y="connsiteY0"/>
                    </a:cxn>
                    <a:cxn ang="0">
                      <a:pos x="connsiteX1" y="connsiteY1"/>
                    </a:cxn>
                    <a:cxn ang="0">
                      <a:pos x="connsiteX2" y="connsiteY2"/>
                    </a:cxn>
                    <a:cxn ang="0">
                      <a:pos x="connsiteX3" y="connsiteY3"/>
                    </a:cxn>
                  </a:cxnLst>
                  <a:rect l="l" t="t" r="r" b="b"/>
                  <a:pathLst>
                    <a:path w="210282" h="45154">
                      <a:moveTo>
                        <a:pt x="209624" y="0"/>
                      </a:moveTo>
                      <a:lnTo>
                        <a:pt x="210282" y="2990"/>
                      </a:lnTo>
                      <a:lnTo>
                        <a:pt x="598" y="45154"/>
                      </a:lnTo>
                      <a:lnTo>
                        <a:pt x="0" y="42164"/>
                      </a:lnTo>
                      <a:close/>
                    </a:path>
                  </a:pathLst>
                </a:custGeom>
                <a:grpFill/>
                <a:ln w="5978" cap="flat">
                  <a:noFill/>
                  <a:prstDash val="solid"/>
                  <a:miter/>
                </a:ln>
              </p:spPr>
              <p:txBody>
                <a:bodyPr rtlCol="0" anchor="ctr"/>
                <a:lstStyle/>
                <a:p>
                  <a:endParaRPr lang="en-GB"/>
                </a:p>
              </p:txBody>
            </p:sp>
            <p:sp>
              <p:nvSpPr>
                <p:cNvPr id="5125" name="Vrije vorm: vorm 5124">
                  <a:extLst>
                    <a:ext uri="{FF2B5EF4-FFF2-40B4-BE49-F238E27FC236}">
                      <a16:creationId xmlns:a16="http://schemas.microsoft.com/office/drawing/2014/main" id="{7F24EDA6-BD17-4337-84C3-0C917848A2D5}"/>
                    </a:ext>
                  </a:extLst>
                </p:cNvPr>
                <p:cNvSpPr/>
                <p:nvPr/>
              </p:nvSpPr>
              <p:spPr>
                <a:xfrm>
                  <a:off x="7980348" y="3019161"/>
                  <a:ext cx="18357" cy="18435"/>
                </a:xfrm>
                <a:custGeom>
                  <a:avLst/>
                  <a:gdLst>
                    <a:gd name="connsiteX0" fmla="*/ 7345 w 18357"/>
                    <a:gd name="connsiteY0" fmla="*/ 187 h 18435"/>
                    <a:gd name="connsiteX1" fmla="*/ 18170 w 18357"/>
                    <a:gd name="connsiteY1" fmla="*/ 7424 h 18435"/>
                    <a:gd name="connsiteX2" fmla="*/ 10993 w 18357"/>
                    <a:gd name="connsiteY2" fmla="*/ 18249 h 18435"/>
                    <a:gd name="connsiteX3" fmla="*/ 168 w 18357"/>
                    <a:gd name="connsiteY3" fmla="*/ 11012 h 18435"/>
                    <a:gd name="connsiteX4" fmla="*/ 7345 w 18357"/>
                    <a:gd name="connsiteY4" fmla="*/ 187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35">
                      <a:moveTo>
                        <a:pt x="7345" y="187"/>
                      </a:moveTo>
                      <a:cubicBezTo>
                        <a:pt x="12308" y="-830"/>
                        <a:pt x="17153" y="2400"/>
                        <a:pt x="18170" y="7424"/>
                      </a:cubicBezTo>
                      <a:cubicBezTo>
                        <a:pt x="19186" y="12447"/>
                        <a:pt x="15957" y="17292"/>
                        <a:pt x="10993" y="18249"/>
                      </a:cubicBezTo>
                      <a:cubicBezTo>
                        <a:pt x="6029" y="19266"/>
                        <a:pt x="1184" y="16036"/>
                        <a:pt x="168" y="11012"/>
                      </a:cubicBezTo>
                      <a:cubicBezTo>
                        <a:pt x="-789" y="6048"/>
                        <a:pt x="2441" y="1144"/>
                        <a:pt x="7345" y="187"/>
                      </a:cubicBezTo>
                      <a:close/>
                    </a:path>
                  </a:pathLst>
                </a:custGeom>
                <a:grpFill/>
                <a:ln w="5978" cap="flat">
                  <a:noFill/>
                  <a:prstDash val="solid"/>
                  <a:miter/>
                </a:ln>
              </p:spPr>
              <p:txBody>
                <a:bodyPr rtlCol="0" anchor="ctr"/>
                <a:lstStyle/>
                <a:p>
                  <a:endParaRPr lang="en-GB"/>
                </a:p>
              </p:txBody>
            </p:sp>
            <p:sp>
              <p:nvSpPr>
                <p:cNvPr id="5126" name="Vrije vorm: vorm 5125">
                  <a:extLst>
                    <a:ext uri="{FF2B5EF4-FFF2-40B4-BE49-F238E27FC236}">
                      <a16:creationId xmlns:a16="http://schemas.microsoft.com/office/drawing/2014/main" id="{21048032-9EC5-4E60-953A-263FA124C505}"/>
                    </a:ext>
                  </a:extLst>
                </p:cNvPr>
                <p:cNvSpPr/>
                <p:nvPr/>
              </p:nvSpPr>
              <p:spPr>
                <a:xfrm>
                  <a:off x="7771618" y="3061104"/>
                  <a:ext cx="18342" cy="18414"/>
                </a:xfrm>
                <a:custGeom>
                  <a:avLst/>
                  <a:gdLst>
                    <a:gd name="connsiteX0" fmla="*/ 7347 w 18342"/>
                    <a:gd name="connsiteY0" fmla="*/ 168 h 18414"/>
                    <a:gd name="connsiteX1" fmla="*/ 170 w 18342"/>
                    <a:gd name="connsiteY1" fmla="*/ 10993 h 18414"/>
                    <a:gd name="connsiteX2" fmla="*/ 10995 w 18342"/>
                    <a:gd name="connsiteY2" fmla="*/ 18230 h 18414"/>
                    <a:gd name="connsiteX3" fmla="*/ 18172 w 18342"/>
                    <a:gd name="connsiteY3" fmla="*/ 7405 h 18414"/>
                    <a:gd name="connsiteX4" fmla="*/ 7347 w 18342"/>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4">
                      <a:moveTo>
                        <a:pt x="7347" y="168"/>
                      </a:moveTo>
                      <a:cubicBezTo>
                        <a:pt x="2383" y="1185"/>
                        <a:pt x="-787" y="6029"/>
                        <a:pt x="170" y="10993"/>
                      </a:cubicBezTo>
                      <a:cubicBezTo>
                        <a:pt x="1187" y="15957"/>
                        <a:pt x="6031" y="19246"/>
                        <a:pt x="10995" y="18230"/>
                      </a:cubicBezTo>
                      <a:cubicBezTo>
                        <a:pt x="15960" y="17213"/>
                        <a:pt x="19129" y="12369"/>
                        <a:pt x="18172" y="7405"/>
                      </a:cubicBezTo>
                      <a:cubicBezTo>
                        <a:pt x="17155" y="2441"/>
                        <a:pt x="12311" y="-789"/>
                        <a:pt x="7347" y="168"/>
                      </a:cubicBezTo>
                      <a:close/>
                    </a:path>
                  </a:pathLst>
                </a:custGeom>
                <a:grpFill/>
                <a:ln w="5978" cap="flat">
                  <a:noFill/>
                  <a:prstDash val="solid"/>
                  <a:miter/>
                </a:ln>
              </p:spPr>
              <p:txBody>
                <a:bodyPr rtlCol="0" anchor="ctr"/>
                <a:lstStyle/>
                <a:p>
                  <a:endParaRPr lang="en-GB"/>
                </a:p>
              </p:txBody>
            </p:sp>
          </p:grpSp>
          <p:grpSp>
            <p:nvGrpSpPr>
              <p:cNvPr id="84" name="Graphic 3">
                <a:extLst>
                  <a:ext uri="{FF2B5EF4-FFF2-40B4-BE49-F238E27FC236}">
                    <a16:creationId xmlns:a16="http://schemas.microsoft.com/office/drawing/2014/main" id="{0D25E7AA-0442-493E-A512-96137FDB5D72}"/>
                  </a:ext>
                </a:extLst>
              </p:cNvPr>
              <p:cNvGrpSpPr/>
              <p:nvPr/>
            </p:nvGrpSpPr>
            <p:grpSpPr>
              <a:xfrm>
                <a:off x="7685586" y="2969091"/>
                <a:ext cx="364338" cy="64150"/>
                <a:chOff x="7685586" y="2969091"/>
                <a:chExt cx="364338" cy="64150"/>
              </a:xfrm>
              <a:grpFill/>
            </p:grpSpPr>
            <p:sp>
              <p:nvSpPr>
                <p:cNvPr id="5121" name="Vrije vorm: vorm 5120">
                  <a:extLst>
                    <a:ext uri="{FF2B5EF4-FFF2-40B4-BE49-F238E27FC236}">
                      <a16:creationId xmlns:a16="http://schemas.microsoft.com/office/drawing/2014/main" id="{B9287570-AC48-4EC8-AADC-F131D1EB2B85}"/>
                    </a:ext>
                  </a:extLst>
                </p:cNvPr>
                <p:cNvSpPr/>
                <p:nvPr/>
              </p:nvSpPr>
              <p:spPr>
                <a:xfrm>
                  <a:off x="7694099" y="2976765"/>
                  <a:ext cx="347300" cy="48862"/>
                </a:xfrm>
                <a:custGeom>
                  <a:avLst/>
                  <a:gdLst>
                    <a:gd name="connsiteX0" fmla="*/ 346882 w 347300"/>
                    <a:gd name="connsiteY0" fmla="*/ 0 h 48862"/>
                    <a:gd name="connsiteX1" fmla="*/ 347300 w 347300"/>
                    <a:gd name="connsiteY1" fmla="*/ 3050 h 48862"/>
                    <a:gd name="connsiteX2" fmla="*/ 358 w 347300"/>
                    <a:gd name="connsiteY2" fmla="*/ 48863 h 48862"/>
                    <a:gd name="connsiteX3" fmla="*/ 0 w 347300"/>
                    <a:gd name="connsiteY3" fmla="*/ 45812 h 48862"/>
                  </a:gdLst>
                  <a:ahLst/>
                  <a:cxnLst>
                    <a:cxn ang="0">
                      <a:pos x="connsiteX0" y="connsiteY0"/>
                    </a:cxn>
                    <a:cxn ang="0">
                      <a:pos x="connsiteX1" y="connsiteY1"/>
                    </a:cxn>
                    <a:cxn ang="0">
                      <a:pos x="connsiteX2" y="connsiteY2"/>
                    </a:cxn>
                    <a:cxn ang="0">
                      <a:pos x="connsiteX3" y="connsiteY3"/>
                    </a:cxn>
                  </a:cxnLst>
                  <a:rect l="l" t="t" r="r" b="b"/>
                  <a:pathLst>
                    <a:path w="347300" h="48862">
                      <a:moveTo>
                        <a:pt x="346882" y="0"/>
                      </a:moveTo>
                      <a:lnTo>
                        <a:pt x="347300" y="3050"/>
                      </a:lnTo>
                      <a:lnTo>
                        <a:pt x="358" y="48863"/>
                      </a:lnTo>
                      <a:lnTo>
                        <a:pt x="0" y="45812"/>
                      </a:lnTo>
                      <a:close/>
                    </a:path>
                  </a:pathLst>
                </a:custGeom>
                <a:grpFill/>
                <a:ln w="5978" cap="flat">
                  <a:noFill/>
                  <a:prstDash val="solid"/>
                  <a:miter/>
                </a:ln>
              </p:spPr>
              <p:txBody>
                <a:bodyPr rtlCol="0" anchor="ctr"/>
                <a:lstStyle/>
                <a:p>
                  <a:endParaRPr lang="en-GB"/>
                </a:p>
              </p:txBody>
            </p:sp>
            <p:sp>
              <p:nvSpPr>
                <p:cNvPr id="5122" name="Vrije vorm: vorm 5121">
                  <a:extLst>
                    <a:ext uri="{FF2B5EF4-FFF2-40B4-BE49-F238E27FC236}">
                      <a16:creationId xmlns:a16="http://schemas.microsoft.com/office/drawing/2014/main" id="{731D7974-39AF-4A3C-9C3A-493190182588}"/>
                    </a:ext>
                  </a:extLst>
                </p:cNvPr>
                <p:cNvSpPr/>
                <p:nvPr/>
              </p:nvSpPr>
              <p:spPr>
                <a:xfrm>
                  <a:off x="7685586" y="3014783"/>
                  <a:ext cx="18281" cy="18458"/>
                </a:xfrm>
                <a:custGeom>
                  <a:avLst/>
                  <a:gdLst>
                    <a:gd name="connsiteX0" fmla="*/ 10367 w 18281"/>
                    <a:gd name="connsiteY0" fmla="*/ 18380 h 18458"/>
                    <a:gd name="connsiteX1" fmla="*/ 80 w 18281"/>
                    <a:gd name="connsiteY1" fmla="*/ 10425 h 18458"/>
                    <a:gd name="connsiteX2" fmla="*/ 7915 w 18281"/>
                    <a:gd name="connsiteY2" fmla="*/ 79 h 18458"/>
                    <a:gd name="connsiteX3" fmla="*/ 18202 w 18281"/>
                    <a:gd name="connsiteY3" fmla="*/ 8033 h 18458"/>
                    <a:gd name="connsiteX4" fmla="*/ 10367 w 18281"/>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8">
                      <a:moveTo>
                        <a:pt x="10367" y="18380"/>
                      </a:moveTo>
                      <a:cubicBezTo>
                        <a:pt x="5343" y="19038"/>
                        <a:pt x="738" y="15509"/>
                        <a:pt x="80" y="10425"/>
                      </a:cubicBezTo>
                      <a:cubicBezTo>
                        <a:pt x="-578" y="5402"/>
                        <a:pt x="2891" y="737"/>
                        <a:pt x="7915" y="79"/>
                      </a:cubicBezTo>
                      <a:cubicBezTo>
                        <a:pt x="12939" y="-579"/>
                        <a:pt x="17544" y="2950"/>
                        <a:pt x="18202" y="8033"/>
                      </a:cubicBezTo>
                      <a:cubicBezTo>
                        <a:pt x="18860" y="13117"/>
                        <a:pt x="15391" y="17722"/>
                        <a:pt x="10367" y="18380"/>
                      </a:cubicBezTo>
                      <a:close/>
                    </a:path>
                  </a:pathLst>
                </a:custGeom>
                <a:grpFill/>
                <a:ln w="5978" cap="flat">
                  <a:noFill/>
                  <a:prstDash val="solid"/>
                  <a:miter/>
                </a:ln>
              </p:spPr>
              <p:txBody>
                <a:bodyPr rtlCol="0" anchor="ctr"/>
                <a:lstStyle/>
                <a:p>
                  <a:endParaRPr lang="en-GB"/>
                </a:p>
              </p:txBody>
            </p:sp>
            <p:sp>
              <p:nvSpPr>
                <p:cNvPr id="5123" name="Vrije vorm: vorm 5122">
                  <a:extLst>
                    <a:ext uri="{FF2B5EF4-FFF2-40B4-BE49-F238E27FC236}">
                      <a16:creationId xmlns:a16="http://schemas.microsoft.com/office/drawing/2014/main" id="{FC7DBBD4-D90D-4E83-B4F9-13123326B9C4}"/>
                    </a:ext>
                  </a:extLst>
                </p:cNvPr>
                <p:cNvSpPr/>
                <p:nvPr/>
              </p:nvSpPr>
              <p:spPr>
                <a:xfrm>
                  <a:off x="8031619" y="2969091"/>
                  <a:ext cx="18305" cy="18457"/>
                </a:xfrm>
                <a:custGeom>
                  <a:avLst/>
                  <a:gdLst>
                    <a:gd name="connsiteX0" fmla="*/ 10378 w 18305"/>
                    <a:gd name="connsiteY0" fmla="*/ 18379 h 18457"/>
                    <a:gd name="connsiteX1" fmla="*/ 18213 w 18305"/>
                    <a:gd name="connsiteY1" fmla="*/ 8032 h 18457"/>
                    <a:gd name="connsiteX2" fmla="*/ 7927 w 18305"/>
                    <a:gd name="connsiteY2" fmla="*/ 78 h 18457"/>
                    <a:gd name="connsiteX3" fmla="*/ 91 w 18305"/>
                    <a:gd name="connsiteY3" fmla="*/ 10425 h 18457"/>
                    <a:gd name="connsiteX4" fmla="*/ 10378 w 18305"/>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7">
                      <a:moveTo>
                        <a:pt x="10378" y="18379"/>
                      </a:moveTo>
                      <a:cubicBezTo>
                        <a:pt x="15402" y="17721"/>
                        <a:pt x="18931" y="13116"/>
                        <a:pt x="18213" y="8032"/>
                      </a:cubicBezTo>
                      <a:cubicBezTo>
                        <a:pt x="17555" y="3008"/>
                        <a:pt x="12890" y="-580"/>
                        <a:pt x="7927" y="78"/>
                      </a:cubicBezTo>
                      <a:cubicBezTo>
                        <a:pt x="2962" y="736"/>
                        <a:pt x="-626" y="5341"/>
                        <a:pt x="91" y="10425"/>
                      </a:cubicBezTo>
                      <a:cubicBezTo>
                        <a:pt x="749" y="15508"/>
                        <a:pt x="5355" y="19037"/>
                        <a:pt x="10378" y="18379"/>
                      </a:cubicBezTo>
                      <a:close/>
                    </a:path>
                  </a:pathLst>
                </a:custGeom>
                <a:grpFill/>
                <a:ln w="5978" cap="flat">
                  <a:noFill/>
                  <a:prstDash val="solid"/>
                  <a:miter/>
                </a:ln>
              </p:spPr>
              <p:txBody>
                <a:bodyPr rtlCol="0" anchor="ctr"/>
                <a:lstStyle/>
                <a:p>
                  <a:endParaRPr lang="en-GB"/>
                </a:p>
              </p:txBody>
            </p:sp>
          </p:grpSp>
          <p:grpSp>
            <p:nvGrpSpPr>
              <p:cNvPr id="85" name="Graphic 3">
                <a:extLst>
                  <a:ext uri="{FF2B5EF4-FFF2-40B4-BE49-F238E27FC236}">
                    <a16:creationId xmlns:a16="http://schemas.microsoft.com/office/drawing/2014/main" id="{30AF9886-F998-48A1-BD14-C66323326C99}"/>
                  </a:ext>
                </a:extLst>
              </p:cNvPr>
              <p:cNvGrpSpPr/>
              <p:nvPr/>
            </p:nvGrpSpPr>
            <p:grpSpPr>
              <a:xfrm>
                <a:off x="7796561" y="2803164"/>
                <a:ext cx="34926" cy="24242"/>
                <a:chOff x="7796561" y="2803164"/>
                <a:chExt cx="34926" cy="24242"/>
              </a:xfrm>
              <a:grpFill/>
            </p:grpSpPr>
            <p:sp>
              <p:nvSpPr>
                <p:cNvPr id="5119" name="Vrije vorm: vorm 5118">
                  <a:extLst>
                    <a:ext uri="{FF2B5EF4-FFF2-40B4-BE49-F238E27FC236}">
                      <a16:creationId xmlns:a16="http://schemas.microsoft.com/office/drawing/2014/main" id="{3FEB3543-F5AA-4B68-BCD7-5DEDF0F28616}"/>
                    </a:ext>
                  </a:extLst>
                </p:cNvPr>
                <p:cNvSpPr/>
                <p:nvPr/>
              </p:nvSpPr>
              <p:spPr>
                <a:xfrm>
                  <a:off x="7813128" y="2803164"/>
                  <a:ext cx="18359" cy="18381"/>
                </a:xfrm>
                <a:custGeom>
                  <a:avLst/>
                  <a:gdLst>
                    <a:gd name="connsiteX0" fmla="*/ 12248 w 18359"/>
                    <a:gd name="connsiteY0" fmla="*/ 17863 h 18381"/>
                    <a:gd name="connsiteX1" fmla="*/ 526 w 18359"/>
                    <a:gd name="connsiteY1" fmla="*/ 12241 h 18381"/>
                    <a:gd name="connsiteX2" fmla="*/ 6087 w 18359"/>
                    <a:gd name="connsiteY2" fmla="*/ 519 h 18381"/>
                    <a:gd name="connsiteX3" fmla="*/ 17810 w 18359"/>
                    <a:gd name="connsiteY3" fmla="*/ 6141 h 18381"/>
                    <a:gd name="connsiteX4" fmla="*/ 12248 w 18359"/>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81">
                      <a:moveTo>
                        <a:pt x="12248" y="17863"/>
                      </a:moveTo>
                      <a:cubicBezTo>
                        <a:pt x="7464" y="19538"/>
                        <a:pt x="2260" y="17026"/>
                        <a:pt x="526" y="12241"/>
                      </a:cubicBezTo>
                      <a:cubicBezTo>
                        <a:pt x="-1149" y="7456"/>
                        <a:pt x="1303" y="2194"/>
                        <a:pt x="6087" y="519"/>
                      </a:cubicBezTo>
                      <a:cubicBezTo>
                        <a:pt x="10872" y="-1156"/>
                        <a:pt x="16076" y="1356"/>
                        <a:pt x="17810" y="6141"/>
                      </a:cubicBezTo>
                      <a:cubicBezTo>
                        <a:pt x="19544" y="10925"/>
                        <a:pt x="17033" y="16188"/>
                        <a:pt x="12248" y="17863"/>
                      </a:cubicBezTo>
                      <a:close/>
                    </a:path>
                  </a:pathLst>
                </a:custGeom>
                <a:grpFill/>
                <a:ln w="5978" cap="flat">
                  <a:noFill/>
                  <a:prstDash val="solid"/>
                  <a:miter/>
                </a:ln>
              </p:spPr>
              <p:txBody>
                <a:bodyPr rtlCol="0" anchor="ctr"/>
                <a:lstStyle/>
                <a:p>
                  <a:endParaRPr lang="en-GB"/>
                </a:p>
              </p:txBody>
            </p:sp>
            <p:sp>
              <p:nvSpPr>
                <p:cNvPr id="5120" name="Vrije vorm: vorm 5119">
                  <a:extLst>
                    <a:ext uri="{FF2B5EF4-FFF2-40B4-BE49-F238E27FC236}">
                      <a16:creationId xmlns:a16="http://schemas.microsoft.com/office/drawing/2014/main" id="{CF5C6F81-0F9C-4F40-AFA0-91E89315578E}"/>
                    </a:ext>
                  </a:extLst>
                </p:cNvPr>
                <p:cNvSpPr/>
                <p:nvPr/>
              </p:nvSpPr>
              <p:spPr>
                <a:xfrm>
                  <a:off x="7796561" y="2809025"/>
                  <a:ext cx="18335" cy="18381"/>
                </a:xfrm>
                <a:custGeom>
                  <a:avLst/>
                  <a:gdLst>
                    <a:gd name="connsiteX0" fmla="*/ 12248 w 18335"/>
                    <a:gd name="connsiteY0" fmla="*/ 17863 h 18381"/>
                    <a:gd name="connsiteX1" fmla="*/ 17810 w 18335"/>
                    <a:gd name="connsiteY1" fmla="*/ 6141 h 18381"/>
                    <a:gd name="connsiteX2" fmla="*/ 6088 w 18335"/>
                    <a:gd name="connsiteY2" fmla="*/ 519 h 18381"/>
                    <a:gd name="connsiteX3" fmla="*/ 526 w 18335"/>
                    <a:gd name="connsiteY3" fmla="*/ 12241 h 18381"/>
                    <a:gd name="connsiteX4" fmla="*/ 12248 w 18335"/>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81">
                      <a:moveTo>
                        <a:pt x="12248" y="17863"/>
                      </a:moveTo>
                      <a:cubicBezTo>
                        <a:pt x="17033" y="16188"/>
                        <a:pt x="19485" y="10925"/>
                        <a:pt x="17810" y="6141"/>
                      </a:cubicBezTo>
                      <a:cubicBezTo>
                        <a:pt x="16135" y="1356"/>
                        <a:pt x="10872" y="-1156"/>
                        <a:pt x="6088" y="519"/>
                      </a:cubicBezTo>
                      <a:cubicBezTo>
                        <a:pt x="1303" y="2193"/>
                        <a:pt x="-1149" y="7456"/>
                        <a:pt x="526" y="12241"/>
                      </a:cubicBezTo>
                      <a:cubicBezTo>
                        <a:pt x="2260" y="17026"/>
                        <a:pt x="7464" y="19537"/>
                        <a:pt x="12248" y="17863"/>
                      </a:cubicBezTo>
                      <a:close/>
                    </a:path>
                  </a:pathLst>
                </a:custGeom>
                <a:grpFill/>
                <a:ln w="5978" cap="flat">
                  <a:noFill/>
                  <a:prstDash val="solid"/>
                  <a:miter/>
                </a:ln>
              </p:spPr>
              <p:txBody>
                <a:bodyPr rtlCol="0" anchor="ctr"/>
                <a:lstStyle/>
                <a:p>
                  <a:endParaRPr lang="en-GB"/>
                </a:p>
              </p:txBody>
            </p:sp>
          </p:grpSp>
          <p:grpSp>
            <p:nvGrpSpPr>
              <p:cNvPr id="86" name="Graphic 3">
                <a:extLst>
                  <a:ext uri="{FF2B5EF4-FFF2-40B4-BE49-F238E27FC236}">
                    <a16:creationId xmlns:a16="http://schemas.microsoft.com/office/drawing/2014/main" id="{6892AAB9-3D58-4C56-B4A0-74D4B7820073}"/>
                  </a:ext>
                </a:extLst>
              </p:cNvPr>
              <p:cNvGrpSpPr/>
              <p:nvPr/>
            </p:nvGrpSpPr>
            <p:grpSpPr>
              <a:xfrm>
                <a:off x="7168543" y="1562563"/>
                <a:ext cx="627079" cy="622496"/>
                <a:chOff x="7168543" y="1562563"/>
                <a:chExt cx="627079" cy="622496"/>
              </a:xfrm>
              <a:grpFill/>
            </p:grpSpPr>
            <p:sp>
              <p:nvSpPr>
                <p:cNvPr id="5116" name="Vrije vorm: vorm 5115">
                  <a:extLst>
                    <a:ext uri="{FF2B5EF4-FFF2-40B4-BE49-F238E27FC236}">
                      <a16:creationId xmlns:a16="http://schemas.microsoft.com/office/drawing/2014/main" id="{011A51DA-CC80-4CD9-939D-417A942738FA}"/>
                    </a:ext>
                  </a:extLst>
                </p:cNvPr>
                <p:cNvSpPr/>
                <p:nvPr/>
              </p:nvSpPr>
              <p:spPr>
                <a:xfrm>
                  <a:off x="7176347" y="1570338"/>
                  <a:ext cx="611528" cy="606923"/>
                </a:xfrm>
                <a:custGeom>
                  <a:avLst/>
                  <a:gdLst>
                    <a:gd name="connsiteX0" fmla="*/ 611529 w 611528"/>
                    <a:gd name="connsiteY0" fmla="*/ 2213 h 606923"/>
                    <a:gd name="connsiteX1" fmla="*/ 2153 w 611528"/>
                    <a:gd name="connsiteY1" fmla="*/ 606924 h 606923"/>
                    <a:gd name="connsiteX2" fmla="*/ 0 w 611528"/>
                    <a:gd name="connsiteY2" fmla="*/ 604711 h 606923"/>
                    <a:gd name="connsiteX3" fmla="*/ 609376 w 611528"/>
                    <a:gd name="connsiteY3" fmla="*/ 0 h 606923"/>
                  </a:gdLst>
                  <a:ahLst/>
                  <a:cxnLst>
                    <a:cxn ang="0">
                      <a:pos x="connsiteX0" y="connsiteY0"/>
                    </a:cxn>
                    <a:cxn ang="0">
                      <a:pos x="connsiteX1" y="connsiteY1"/>
                    </a:cxn>
                    <a:cxn ang="0">
                      <a:pos x="connsiteX2" y="connsiteY2"/>
                    </a:cxn>
                    <a:cxn ang="0">
                      <a:pos x="connsiteX3" y="connsiteY3"/>
                    </a:cxn>
                  </a:cxnLst>
                  <a:rect l="l" t="t" r="r" b="b"/>
                  <a:pathLst>
                    <a:path w="611528" h="606923">
                      <a:moveTo>
                        <a:pt x="611529" y="2213"/>
                      </a:moveTo>
                      <a:lnTo>
                        <a:pt x="2153" y="606924"/>
                      </a:lnTo>
                      <a:lnTo>
                        <a:pt x="0" y="604711"/>
                      </a:lnTo>
                      <a:lnTo>
                        <a:pt x="609376" y="0"/>
                      </a:lnTo>
                      <a:close/>
                    </a:path>
                  </a:pathLst>
                </a:custGeom>
                <a:grpFill/>
                <a:ln w="5978" cap="flat">
                  <a:noFill/>
                  <a:prstDash val="solid"/>
                  <a:miter/>
                </a:ln>
              </p:spPr>
              <p:txBody>
                <a:bodyPr rtlCol="0" anchor="ctr"/>
                <a:lstStyle/>
                <a:p>
                  <a:endParaRPr lang="en-GB"/>
                </a:p>
              </p:txBody>
            </p:sp>
            <p:sp>
              <p:nvSpPr>
                <p:cNvPr id="5117" name="Vrije vorm: vorm 5116">
                  <a:extLst>
                    <a:ext uri="{FF2B5EF4-FFF2-40B4-BE49-F238E27FC236}">
                      <a16:creationId xmlns:a16="http://schemas.microsoft.com/office/drawing/2014/main" id="{4D783253-EA74-4ABD-AD6E-913C6DD1C106}"/>
                    </a:ext>
                  </a:extLst>
                </p:cNvPr>
                <p:cNvSpPr/>
                <p:nvPr/>
              </p:nvSpPr>
              <p:spPr>
                <a:xfrm>
                  <a:off x="7168543" y="2166593"/>
                  <a:ext cx="18338" cy="18466"/>
                </a:xfrm>
                <a:custGeom>
                  <a:avLst/>
                  <a:gdLst>
                    <a:gd name="connsiteX0" fmla="*/ 15640 w 18338"/>
                    <a:gd name="connsiteY0" fmla="*/ 15812 h 18466"/>
                    <a:gd name="connsiteX1" fmla="*/ 2661 w 18338"/>
                    <a:gd name="connsiteY1" fmla="*/ 15692 h 18466"/>
                    <a:gd name="connsiteX2" fmla="*/ 2721 w 18338"/>
                    <a:gd name="connsiteY2" fmla="*/ 2654 h 18466"/>
                    <a:gd name="connsiteX3" fmla="*/ 15700 w 18338"/>
                    <a:gd name="connsiteY3" fmla="*/ 2774 h 18466"/>
                    <a:gd name="connsiteX4" fmla="*/ 15640 w 18338"/>
                    <a:gd name="connsiteY4" fmla="*/ 15812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6">
                      <a:moveTo>
                        <a:pt x="15640" y="15812"/>
                      </a:moveTo>
                      <a:cubicBezTo>
                        <a:pt x="12052" y="19400"/>
                        <a:pt x="6250" y="19341"/>
                        <a:pt x="2661" y="15692"/>
                      </a:cubicBezTo>
                      <a:cubicBezTo>
                        <a:pt x="-927" y="12044"/>
                        <a:pt x="-867" y="6243"/>
                        <a:pt x="2721" y="2654"/>
                      </a:cubicBezTo>
                      <a:cubicBezTo>
                        <a:pt x="6310" y="-934"/>
                        <a:pt x="12111" y="-874"/>
                        <a:pt x="15700" y="2774"/>
                      </a:cubicBezTo>
                      <a:cubicBezTo>
                        <a:pt x="19228" y="6422"/>
                        <a:pt x="19228" y="12283"/>
                        <a:pt x="15640" y="15812"/>
                      </a:cubicBezTo>
                      <a:close/>
                    </a:path>
                  </a:pathLst>
                </a:custGeom>
                <a:grpFill/>
                <a:ln w="5978" cap="flat">
                  <a:noFill/>
                  <a:prstDash val="solid"/>
                  <a:miter/>
                </a:ln>
              </p:spPr>
              <p:txBody>
                <a:bodyPr rtlCol="0" anchor="ctr"/>
                <a:lstStyle/>
                <a:p>
                  <a:endParaRPr lang="en-GB"/>
                </a:p>
              </p:txBody>
            </p:sp>
            <p:sp>
              <p:nvSpPr>
                <p:cNvPr id="5118" name="Vrije vorm: vorm 5117">
                  <a:extLst>
                    <a:ext uri="{FF2B5EF4-FFF2-40B4-BE49-F238E27FC236}">
                      <a16:creationId xmlns:a16="http://schemas.microsoft.com/office/drawing/2014/main" id="{489AFAC9-C1E0-4518-B76E-263450A037AF}"/>
                    </a:ext>
                  </a:extLst>
                </p:cNvPr>
                <p:cNvSpPr/>
                <p:nvPr/>
              </p:nvSpPr>
              <p:spPr>
                <a:xfrm>
                  <a:off x="7777261" y="1562563"/>
                  <a:ext cx="18361" cy="18398"/>
                </a:xfrm>
                <a:custGeom>
                  <a:avLst/>
                  <a:gdLst>
                    <a:gd name="connsiteX0" fmla="*/ 15640 w 18361"/>
                    <a:gd name="connsiteY0" fmla="*/ 15789 h 18398"/>
                    <a:gd name="connsiteX1" fmla="*/ 15700 w 18361"/>
                    <a:gd name="connsiteY1" fmla="*/ 2751 h 18398"/>
                    <a:gd name="connsiteX2" fmla="*/ 2721 w 18361"/>
                    <a:gd name="connsiteY2" fmla="*/ 2632 h 18398"/>
                    <a:gd name="connsiteX3" fmla="*/ 2661 w 18361"/>
                    <a:gd name="connsiteY3" fmla="*/ 15670 h 18398"/>
                    <a:gd name="connsiteX4" fmla="*/ 15640 w 18361"/>
                    <a:gd name="connsiteY4" fmla="*/ 1578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398">
                      <a:moveTo>
                        <a:pt x="15640" y="15789"/>
                      </a:moveTo>
                      <a:cubicBezTo>
                        <a:pt x="19228" y="12201"/>
                        <a:pt x="19288" y="6400"/>
                        <a:pt x="15700" y="2751"/>
                      </a:cubicBezTo>
                      <a:cubicBezTo>
                        <a:pt x="12111" y="-897"/>
                        <a:pt x="6310" y="-897"/>
                        <a:pt x="2721" y="2632"/>
                      </a:cubicBezTo>
                      <a:cubicBezTo>
                        <a:pt x="-867" y="6220"/>
                        <a:pt x="-927" y="12021"/>
                        <a:pt x="2661" y="15670"/>
                      </a:cubicBezTo>
                      <a:cubicBezTo>
                        <a:pt x="6250" y="19258"/>
                        <a:pt x="12051" y="19318"/>
                        <a:pt x="15640" y="15789"/>
                      </a:cubicBezTo>
                      <a:close/>
                    </a:path>
                  </a:pathLst>
                </a:custGeom>
                <a:grpFill/>
                <a:ln w="5978" cap="flat">
                  <a:noFill/>
                  <a:prstDash val="solid"/>
                  <a:miter/>
                </a:ln>
              </p:spPr>
              <p:txBody>
                <a:bodyPr rtlCol="0" anchor="ctr"/>
                <a:lstStyle/>
                <a:p>
                  <a:endParaRPr lang="en-GB"/>
                </a:p>
              </p:txBody>
            </p:sp>
          </p:grpSp>
          <p:grpSp>
            <p:nvGrpSpPr>
              <p:cNvPr id="87" name="Graphic 3">
                <a:extLst>
                  <a:ext uri="{FF2B5EF4-FFF2-40B4-BE49-F238E27FC236}">
                    <a16:creationId xmlns:a16="http://schemas.microsoft.com/office/drawing/2014/main" id="{9C296D9E-CC52-4E76-A2F6-B30FA263E0B2}"/>
                  </a:ext>
                </a:extLst>
              </p:cNvPr>
              <p:cNvGrpSpPr/>
              <p:nvPr/>
            </p:nvGrpSpPr>
            <p:grpSpPr>
              <a:xfrm>
                <a:off x="7474939" y="2329039"/>
                <a:ext cx="403990" cy="212583"/>
                <a:chOff x="7474939" y="2329039"/>
                <a:chExt cx="403990" cy="212583"/>
              </a:xfrm>
              <a:grpFill/>
            </p:grpSpPr>
            <p:sp>
              <p:nvSpPr>
                <p:cNvPr id="5113" name="Vrije vorm: vorm 5112">
                  <a:extLst>
                    <a:ext uri="{FF2B5EF4-FFF2-40B4-BE49-F238E27FC236}">
                      <a16:creationId xmlns:a16="http://schemas.microsoft.com/office/drawing/2014/main" id="{A6A2CFD2-8027-408C-A5D5-48324E86FF4D}"/>
                    </a:ext>
                  </a:extLst>
                </p:cNvPr>
                <p:cNvSpPr/>
                <p:nvPr/>
              </p:nvSpPr>
              <p:spPr>
                <a:xfrm>
                  <a:off x="7482843" y="2336828"/>
                  <a:ext cx="387756" cy="197214"/>
                </a:xfrm>
                <a:custGeom>
                  <a:avLst/>
                  <a:gdLst>
                    <a:gd name="connsiteX0" fmla="*/ 0 w 387756"/>
                    <a:gd name="connsiteY0" fmla="*/ 194491 h 197214"/>
                    <a:gd name="connsiteX1" fmla="*/ 386385 w 387756"/>
                    <a:gd name="connsiteY1" fmla="*/ 0 h 197214"/>
                    <a:gd name="connsiteX2" fmla="*/ 387757 w 387756"/>
                    <a:gd name="connsiteY2" fmla="*/ 2725 h 197214"/>
                    <a:gd name="connsiteX3" fmla="*/ 1371 w 387756"/>
                    <a:gd name="connsiteY3" fmla="*/ 197215 h 197214"/>
                  </a:gdLst>
                  <a:ahLst/>
                  <a:cxnLst>
                    <a:cxn ang="0">
                      <a:pos x="connsiteX0" y="connsiteY0"/>
                    </a:cxn>
                    <a:cxn ang="0">
                      <a:pos x="connsiteX1" y="connsiteY1"/>
                    </a:cxn>
                    <a:cxn ang="0">
                      <a:pos x="connsiteX2" y="connsiteY2"/>
                    </a:cxn>
                    <a:cxn ang="0">
                      <a:pos x="connsiteX3" y="connsiteY3"/>
                    </a:cxn>
                  </a:cxnLst>
                  <a:rect l="l" t="t" r="r" b="b"/>
                  <a:pathLst>
                    <a:path w="387756" h="197214">
                      <a:moveTo>
                        <a:pt x="0" y="194491"/>
                      </a:moveTo>
                      <a:lnTo>
                        <a:pt x="386385" y="0"/>
                      </a:lnTo>
                      <a:lnTo>
                        <a:pt x="387757" y="2725"/>
                      </a:lnTo>
                      <a:lnTo>
                        <a:pt x="1371" y="197215"/>
                      </a:lnTo>
                      <a:close/>
                    </a:path>
                  </a:pathLst>
                </a:custGeom>
                <a:grpFill/>
                <a:ln w="5978" cap="flat">
                  <a:noFill/>
                  <a:prstDash val="solid"/>
                  <a:miter/>
                </a:ln>
              </p:spPr>
              <p:txBody>
                <a:bodyPr rtlCol="0" anchor="ctr"/>
                <a:lstStyle/>
                <a:p>
                  <a:endParaRPr lang="en-GB"/>
                </a:p>
              </p:txBody>
            </p:sp>
            <p:sp>
              <p:nvSpPr>
                <p:cNvPr id="5114" name="Vrije vorm: vorm 5113">
                  <a:extLst>
                    <a:ext uri="{FF2B5EF4-FFF2-40B4-BE49-F238E27FC236}">
                      <a16:creationId xmlns:a16="http://schemas.microsoft.com/office/drawing/2014/main" id="{74D1D5B3-6966-4038-A10E-C194BE1DAEE5}"/>
                    </a:ext>
                  </a:extLst>
                </p:cNvPr>
                <p:cNvSpPr/>
                <p:nvPr/>
              </p:nvSpPr>
              <p:spPr>
                <a:xfrm>
                  <a:off x="7474939" y="2523173"/>
                  <a:ext cx="18353" cy="18449"/>
                </a:xfrm>
                <a:custGeom>
                  <a:avLst/>
                  <a:gdLst>
                    <a:gd name="connsiteX0" fmla="*/ 13303 w 18353"/>
                    <a:gd name="connsiteY0" fmla="*/ 17478 h 18449"/>
                    <a:gd name="connsiteX1" fmla="*/ 983 w 18353"/>
                    <a:gd name="connsiteY1" fmla="*/ 13351 h 18449"/>
                    <a:gd name="connsiteX2" fmla="*/ 5050 w 18353"/>
                    <a:gd name="connsiteY2" fmla="*/ 971 h 18449"/>
                    <a:gd name="connsiteX3" fmla="*/ 17371 w 18353"/>
                    <a:gd name="connsiteY3" fmla="*/ 5098 h 18449"/>
                    <a:gd name="connsiteX4" fmla="*/ 13303 w 18353"/>
                    <a:gd name="connsiteY4" fmla="*/ 1747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9">
                      <a:moveTo>
                        <a:pt x="13303" y="17478"/>
                      </a:moveTo>
                      <a:cubicBezTo>
                        <a:pt x="8758" y="19751"/>
                        <a:pt x="3256" y="17897"/>
                        <a:pt x="983" y="13351"/>
                      </a:cubicBezTo>
                      <a:cubicBezTo>
                        <a:pt x="-1289" y="8806"/>
                        <a:pt x="505" y="3244"/>
                        <a:pt x="5050" y="971"/>
                      </a:cubicBezTo>
                      <a:cubicBezTo>
                        <a:pt x="9595" y="-1302"/>
                        <a:pt x="15098" y="552"/>
                        <a:pt x="17371" y="5098"/>
                      </a:cubicBezTo>
                      <a:cubicBezTo>
                        <a:pt x="19643" y="9643"/>
                        <a:pt x="17849" y="15145"/>
                        <a:pt x="13303" y="17478"/>
                      </a:cubicBezTo>
                      <a:close/>
                    </a:path>
                  </a:pathLst>
                </a:custGeom>
                <a:grpFill/>
                <a:ln w="5978" cap="flat">
                  <a:noFill/>
                  <a:prstDash val="solid"/>
                  <a:miter/>
                </a:ln>
              </p:spPr>
              <p:txBody>
                <a:bodyPr rtlCol="0" anchor="ctr"/>
                <a:lstStyle/>
                <a:p>
                  <a:endParaRPr lang="en-GB"/>
                </a:p>
              </p:txBody>
            </p:sp>
            <p:sp>
              <p:nvSpPr>
                <p:cNvPr id="5115" name="Vrije vorm: vorm 5114">
                  <a:extLst>
                    <a:ext uri="{FF2B5EF4-FFF2-40B4-BE49-F238E27FC236}">
                      <a16:creationId xmlns:a16="http://schemas.microsoft.com/office/drawing/2014/main" id="{6C0F99F5-7C13-4B54-B5DF-0490E19AC2E1}"/>
                    </a:ext>
                  </a:extLst>
                </p:cNvPr>
                <p:cNvSpPr/>
                <p:nvPr/>
              </p:nvSpPr>
              <p:spPr>
                <a:xfrm>
                  <a:off x="7860576" y="2329039"/>
                  <a:ext cx="18353" cy="18448"/>
                </a:xfrm>
                <a:custGeom>
                  <a:avLst/>
                  <a:gdLst>
                    <a:gd name="connsiteX0" fmla="*/ 13303 w 18353"/>
                    <a:gd name="connsiteY0" fmla="*/ 17478 h 18448"/>
                    <a:gd name="connsiteX1" fmla="*/ 17371 w 18353"/>
                    <a:gd name="connsiteY1" fmla="*/ 5098 h 18448"/>
                    <a:gd name="connsiteX2" fmla="*/ 5050 w 18353"/>
                    <a:gd name="connsiteY2" fmla="*/ 971 h 18448"/>
                    <a:gd name="connsiteX3" fmla="*/ 983 w 18353"/>
                    <a:gd name="connsiteY3" fmla="*/ 13351 h 18448"/>
                    <a:gd name="connsiteX4" fmla="*/ 13303 w 18353"/>
                    <a:gd name="connsiteY4" fmla="*/ 174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8">
                      <a:moveTo>
                        <a:pt x="13303" y="17478"/>
                      </a:moveTo>
                      <a:cubicBezTo>
                        <a:pt x="17849" y="15205"/>
                        <a:pt x="19643" y="9643"/>
                        <a:pt x="17371" y="5098"/>
                      </a:cubicBezTo>
                      <a:cubicBezTo>
                        <a:pt x="15098" y="552"/>
                        <a:pt x="9595" y="-1302"/>
                        <a:pt x="5050" y="971"/>
                      </a:cubicBezTo>
                      <a:cubicBezTo>
                        <a:pt x="505" y="3244"/>
                        <a:pt x="-1289" y="8806"/>
                        <a:pt x="983" y="13351"/>
                      </a:cubicBezTo>
                      <a:cubicBezTo>
                        <a:pt x="3256" y="17896"/>
                        <a:pt x="8758" y="19750"/>
                        <a:pt x="13303" y="17478"/>
                      </a:cubicBezTo>
                      <a:close/>
                    </a:path>
                  </a:pathLst>
                </a:custGeom>
                <a:grpFill/>
                <a:ln w="5978" cap="flat">
                  <a:noFill/>
                  <a:prstDash val="solid"/>
                  <a:miter/>
                </a:ln>
              </p:spPr>
              <p:txBody>
                <a:bodyPr rtlCol="0" anchor="ctr"/>
                <a:lstStyle/>
                <a:p>
                  <a:endParaRPr lang="en-GB"/>
                </a:p>
              </p:txBody>
            </p:sp>
          </p:grpSp>
          <p:grpSp>
            <p:nvGrpSpPr>
              <p:cNvPr id="88" name="Graphic 3">
                <a:extLst>
                  <a:ext uri="{FF2B5EF4-FFF2-40B4-BE49-F238E27FC236}">
                    <a16:creationId xmlns:a16="http://schemas.microsoft.com/office/drawing/2014/main" id="{10EEA944-D3CC-47C9-9A7F-75BD313A073D}"/>
                  </a:ext>
                </a:extLst>
              </p:cNvPr>
              <p:cNvGrpSpPr/>
              <p:nvPr/>
            </p:nvGrpSpPr>
            <p:grpSpPr>
              <a:xfrm>
                <a:off x="7487871" y="2372940"/>
                <a:ext cx="393975" cy="197659"/>
                <a:chOff x="7487871" y="2372940"/>
                <a:chExt cx="393975" cy="197659"/>
              </a:xfrm>
              <a:grpFill/>
            </p:grpSpPr>
            <p:sp>
              <p:nvSpPr>
                <p:cNvPr id="5110" name="Vrije vorm: vorm 5109">
                  <a:extLst>
                    <a:ext uri="{FF2B5EF4-FFF2-40B4-BE49-F238E27FC236}">
                      <a16:creationId xmlns:a16="http://schemas.microsoft.com/office/drawing/2014/main" id="{9BAA7744-6DD9-486E-91FE-49368BF9A7FF}"/>
                    </a:ext>
                  </a:extLst>
                </p:cNvPr>
                <p:cNvSpPr/>
                <p:nvPr/>
              </p:nvSpPr>
              <p:spPr>
                <a:xfrm>
                  <a:off x="7495944" y="2380352"/>
                  <a:ext cx="377742" cy="182395"/>
                </a:xfrm>
                <a:custGeom>
                  <a:avLst/>
                  <a:gdLst>
                    <a:gd name="connsiteX0" fmla="*/ 0 w 377742"/>
                    <a:gd name="connsiteY0" fmla="*/ 179643 h 182395"/>
                    <a:gd name="connsiteX1" fmla="*/ 376429 w 377742"/>
                    <a:gd name="connsiteY1" fmla="*/ 0 h 182395"/>
                    <a:gd name="connsiteX2" fmla="*/ 377742 w 377742"/>
                    <a:gd name="connsiteY2" fmla="*/ 2753 h 182395"/>
                    <a:gd name="connsiteX3" fmla="*/ 1314 w 377742"/>
                    <a:gd name="connsiteY3" fmla="*/ 182396 h 182395"/>
                  </a:gdLst>
                  <a:ahLst/>
                  <a:cxnLst>
                    <a:cxn ang="0">
                      <a:pos x="connsiteX0" y="connsiteY0"/>
                    </a:cxn>
                    <a:cxn ang="0">
                      <a:pos x="connsiteX1" y="connsiteY1"/>
                    </a:cxn>
                    <a:cxn ang="0">
                      <a:pos x="connsiteX2" y="connsiteY2"/>
                    </a:cxn>
                    <a:cxn ang="0">
                      <a:pos x="connsiteX3" y="connsiteY3"/>
                    </a:cxn>
                  </a:cxnLst>
                  <a:rect l="l" t="t" r="r" b="b"/>
                  <a:pathLst>
                    <a:path w="377742" h="182395">
                      <a:moveTo>
                        <a:pt x="0" y="179643"/>
                      </a:moveTo>
                      <a:lnTo>
                        <a:pt x="376429" y="0"/>
                      </a:lnTo>
                      <a:lnTo>
                        <a:pt x="377742" y="2753"/>
                      </a:lnTo>
                      <a:lnTo>
                        <a:pt x="1314" y="182396"/>
                      </a:lnTo>
                      <a:close/>
                    </a:path>
                  </a:pathLst>
                </a:custGeom>
                <a:grpFill/>
                <a:ln w="5978" cap="flat">
                  <a:noFill/>
                  <a:prstDash val="solid"/>
                  <a:miter/>
                </a:ln>
              </p:spPr>
              <p:txBody>
                <a:bodyPr rtlCol="0" anchor="ctr"/>
                <a:lstStyle/>
                <a:p>
                  <a:endParaRPr lang="en-GB"/>
                </a:p>
              </p:txBody>
            </p:sp>
            <p:sp>
              <p:nvSpPr>
                <p:cNvPr id="5111" name="Vrije vorm: vorm 5110">
                  <a:extLst>
                    <a:ext uri="{FF2B5EF4-FFF2-40B4-BE49-F238E27FC236}">
                      <a16:creationId xmlns:a16="http://schemas.microsoft.com/office/drawing/2014/main" id="{AAA877E8-E908-4D25-B530-C98138686005}"/>
                    </a:ext>
                  </a:extLst>
                </p:cNvPr>
                <p:cNvSpPr/>
                <p:nvPr/>
              </p:nvSpPr>
              <p:spPr>
                <a:xfrm>
                  <a:off x="7487871" y="2552208"/>
                  <a:ext cx="18336" cy="18390"/>
                </a:xfrm>
                <a:custGeom>
                  <a:avLst/>
                  <a:gdLst>
                    <a:gd name="connsiteX0" fmla="*/ 13110 w 18336"/>
                    <a:gd name="connsiteY0" fmla="*/ 17509 h 18390"/>
                    <a:gd name="connsiteX1" fmla="*/ 909 w 18336"/>
                    <a:gd name="connsiteY1" fmla="*/ 13143 h 18390"/>
                    <a:gd name="connsiteX2" fmla="*/ 5216 w 18336"/>
                    <a:gd name="connsiteY2" fmla="*/ 882 h 18390"/>
                    <a:gd name="connsiteX3" fmla="*/ 17416 w 18336"/>
                    <a:gd name="connsiteY3" fmla="*/ 5248 h 18390"/>
                    <a:gd name="connsiteX4" fmla="*/ 13110 w 18336"/>
                    <a:gd name="connsiteY4" fmla="*/ 17509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0">
                      <a:moveTo>
                        <a:pt x="13110" y="17509"/>
                      </a:moveTo>
                      <a:cubicBezTo>
                        <a:pt x="8565" y="19662"/>
                        <a:pt x="3063" y="17748"/>
                        <a:pt x="909" y="13143"/>
                      </a:cubicBezTo>
                      <a:cubicBezTo>
                        <a:pt x="-1303" y="8538"/>
                        <a:pt x="671" y="3035"/>
                        <a:pt x="5216" y="882"/>
                      </a:cubicBezTo>
                      <a:cubicBezTo>
                        <a:pt x="9762" y="-1271"/>
                        <a:pt x="15263" y="643"/>
                        <a:pt x="17416" y="5248"/>
                      </a:cubicBezTo>
                      <a:cubicBezTo>
                        <a:pt x="19629" y="9853"/>
                        <a:pt x="17716" y="15356"/>
                        <a:pt x="13110" y="17509"/>
                      </a:cubicBezTo>
                      <a:close/>
                    </a:path>
                  </a:pathLst>
                </a:custGeom>
                <a:grpFill/>
                <a:ln w="5978" cap="flat">
                  <a:noFill/>
                  <a:prstDash val="solid"/>
                  <a:miter/>
                </a:ln>
              </p:spPr>
              <p:txBody>
                <a:bodyPr rtlCol="0" anchor="ctr"/>
                <a:lstStyle/>
                <a:p>
                  <a:endParaRPr lang="en-GB"/>
                </a:p>
              </p:txBody>
            </p:sp>
            <p:sp>
              <p:nvSpPr>
                <p:cNvPr id="5112" name="Vrije vorm: vorm 5111">
                  <a:extLst>
                    <a:ext uri="{FF2B5EF4-FFF2-40B4-BE49-F238E27FC236}">
                      <a16:creationId xmlns:a16="http://schemas.microsoft.com/office/drawing/2014/main" id="{D49F891C-6F44-4DCD-AEAE-A09E9DB6473D}"/>
                    </a:ext>
                  </a:extLst>
                </p:cNvPr>
                <p:cNvSpPr/>
                <p:nvPr/>
              </p:nvSpPr>
              <p:spPr>
                <a:xfrm>
                  <a:off x="7863520" y="2372940"/>
                  <a:ext cx="18326" cy="18443"/>
                </a:xfrm>
                <a:custGeom>
                  <a:avLst/>
                  <a:gdLst>
                    <a:gd name="connsiteX0" fmla="*/ 13111 w 18326"/>
                    <a:gd name="connsiteY0" fmla="*/ 17535 h 18443"/>
                    <a:gd name="connsiteX1" fmla="*/ 17416 w 18326"/>
                    <a:gd name="connsiteY1" fmla="*/ 5274 h 18443"/>
                    <a:gd name="connsiteX2" fmla="*/ 5216 w 18326"/>
                    <a:gd name="connsiteY2" fmla="*/ 908 h 18443"/>
                    <a:gd name="connsiteX3" fmla="*/ 910 w 18326"/>
                    <a:gd name="connsiteY3" fmla="*/ 13169 h 18443"/>
                    <a:gd name="connsiteX4" fmla="*/ 13111 w 18326"/>
                    <a:gd name="connsiteY4" fmla="*/ 1753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43">
                      <a:moveTo>
                        <a:pt x="13111" y="17535"/>
                      </a:moveTo>
                      <a:cubicBezTo>
                        <a:pt x="17656" y="15382"/>
                        <a:pt x="19629" y="9879"/>
                        <a:pt x="17416" y="5274"/>
                      </a:cubicBezTo>
                      <a:cubicBezTo>
                        <a:pt x="15204" y="669"/>
                        <a:pt x="9761" y="-1305"/>
                        <a:pt x="5216" y="908"/>
                      </a:cubicBezTo>
                      <a:cubicBezTo>
                        <a:pt x="670" y="3061"/>
                        <a:pt x="-1303" y="8564"/>
                        <a:pt x="910" y="13169"/>
                      </a:cubicBezTo>
                      <a:cubicBezTo>
                        <a:pt x="3063" y="17774"/>
                        <a:pt x="8505" y="19748"/>
                        <a:pt x="13111" y="17535"/>
                      </a:cubicBezTo>
                      <a:close/>
                    </a:path>
                  </a:pathLst>
                </a:custGeom>
                <a:grpFill/>
                <a:ln w="5978" cap="flat">
                  <a:noFill/>
                  <a:prstDash val="solid"/>
                  <a:miter/>
                </a:ln>
              </p:spPr>
              <p:txBody>
                <a:bodyPr rtlCol="0" anchor="ctr"/>
                <a:lstStyle/>
                <a:p>
                  <a:endParaRPr lang="en-GB"/>
                </a:p>
              </p:txBody>
            </p:sp>
          </p:grpSp>
          <p:grpSp>
            <p:nvGrpSpPr>
              <p:cNvPr id="89" name="Graphic 3">
                <a:extLst>
                  <a:ext uri="{FF2B5EF4-FFF2-40B4-BE49-F238E27FC236}">
                    <a16:creationId xmlns:a16="http://schemas.microsoft.com/office/drawing/2014/main" id="{F9EE4A3C-99B2-4CEB-89A8-69E9387B5CBE}"/>
                  </a:ext>
                </a:extLst>
              </p:cNvPr>
              <p:cNvGrpSpPr/>
              <p:nvPr/>
            </p:nvGrpSpPr>
            <p:grpSpPr>
              <a:xfrm>
                <a:off x="7620529" y="2453028"/>
                <a:ext cx="121901" cy="77341"/>
                <a:chOff x="7620529" y="2453028"/>
                <a:chExt cx="121901" cy="77341"/>
              </a:xfrm>
              <a:grpFill/>
            </p:grpSpPr>
            <p:sp>
              <p:nvSpPr>
                <p:cNvPr id="5107" name="Vrije vorm: vorm 5106">
                  <a:extLst>
                    <a:ext uri="{FF2B5EF4-FFF2-40B4-BE49-F238E27FC236}">
                      <a16:creationId xmlns:a16="http://schemas.microsoft.com/office/drawing/2014/main" id="{7001A80B-7E1A-430C-A4BB-B3A97BE38D5E}"/>
                    </a:ext>
                  </a:extLst>
                </p:cNvPr>
                <p:cNvSpPr/>
                <p:nvPr/>
              </p:nvSpPr>
              <p:spPr>
                <a:xfrm>
                  <a:off x="7628371" y="2460550"/>
                  <a:ext cx="105881" cy="62048"/>
                </a:xfrm>
                <a:custGeom>
                  <a:avLst/>
                  <a:gdLst>
                    <a:gd name="connsiteX0" fmla="*/ 0 w 105881"/>
                    <a:gd name="connsiteY0" fmla="*/ 59398 h 62048"/>
                    <a:gd name="connsiteX1" fmla="*/ 104373 w 105881"/>
                    <a:gd name="connsiteY1" fmla="*/ 0 h 62048"/>
                    <a:gd name="connsiteX2" fmla="*/ 105881 w 105881"/>
                    <a:gd name="connsiteY2" fmla="*/ 2651 h 62048"/>
                    <a:gd name="connsiteX3" fmla="*/ 1509 w 105881"/>
                    <a:gd name="connsiteY3" fmla="*/ 62049 h 62048"/>
                  </a:gdLst>
                  <a:ahLst/>
                  <a:cxnLst>
                    <a:cxn ang="0">
                      <a:pos x="connsiteX0" y="connsiteY0"/>
                    </a:cxn>
                    <a:cxn ang="0">
                      <a:pos x="connsiteX1" y="connsiteY1"/>
                    </a:cxn>
                    <a:cxn ang="0">
                      <a:pos x="connsiteX2" y="connsiteY2"/>
                    </a:cxn>
                    <a:cxn ang="0">
                      <a:pos x="connsiteX3" y="connsiteY3"/>
                    </a:cxn>
                  </a:cxnLst>
                  <a:rect l="l" t="t" r="r" b="b"/>
                  <a:pathLst>
                    <a:path w="105881" h="62048">
                      <a:moveTo>
                        <a:pt x="0" y="59398"/>
                      </a:moveTo>
                      <a:lnTo>
                        <a:pt x="104373" y="0"/>
                      </a:lnTo>
                      <a:lnTo>
                        <a:pt x="105881" y="2651"/>
                      </a:lnTo>
                      <a:lnTo>
                        <a:pt x="1509" y="62049"/>
                      </a:lnTo>
                      <a:close/>
                    </a:path>
                  </a:pathLst>
                </a:custGeom>
                <a:grpFill/>
                <a:ln w="5978" cap="flat">
                  <a:noFill/>
                  <a:prstDash val="solid"/>
                  <a:miter/>
                </a:ln>
              </p:spPr>
              <p:txBody>
                <a:bodyPr rtlCol="0" anchor="ctr"/>
                <a:lstStyle/>
                <a:p>
                  <a:endParaRPr lang="en-GB"/>
                </a:p>
              </p:txBody>
            </p:sp>
            <p:sp>
              <p:nvSpPr>
                <p:cNvPr id="5108" name="Vrije vorm: vorm 5107">
                  <a:extLst>
                    <a:ext uri="{FF2B5EF4-FFF2-40B4-BE49-F238E27FC236}">
                      <a16:creationId xmlns:a16="http://schemas.microsoft.com/office/drawing/2014/main" id="{096D0B9F-E487-4091-A2C2-8CB5213DBB51}"/>
                    </a:ext>
                  </a:extLst>
                </p:cNvPr>
                <p:cNvSpPr/>
                <p:nvPr/>
              </p:nvSpPr>
              <p:spPr>
                <a:xfrm>
                  <a:off x="7724102" y="2453028"/>
                  <a:ext cx="18328" cy="18431"/>
                </a:xfrm>
                <a:custGeom>
                  <a:avLst/>
                  <a:gdLst>
                    <a:gd name="connsiteX0" fmla="*/ 4625 w 18328"/>
                    <a:gd name="connsiteY0" fmla="*/ 1201 h 18431"/>
                    <a:gd name="connsiteX1" fmla="*/ 17126 w 18328"/>
                    <a:gd name="connsiteY1" fmla="*/ 4670 h 18431"/>
                    <a:gd name="connsiteX2" fmla="*/ 13716 w 18328"/>
                    <a:gd name="connsiteY2" fmla="*/ 17230 h 18431"/>
                    <a:gd name="connsiteX3" fmla="*/ 1217 w 18328"/>
                    <a:gd name="connsiteY3" fmla="*/ 13761 h 18431"/>
                    <a:gd name="connsiteX4" fmla="*/ 4625 w 18328"/>
                    <a:gd name="connsiteY4" fmla="*/ 120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25" y="1201"/>
                      </a:moveTo>
                      <a:cubicBezTo>
                        <a:pt x="9052" y="-1310"/>
                        <a:pt x="14613" y="244"/>
                        <a:pt x="17126" y="4670"/>
                      </a:cubicBezTo>
                      <a:cubicBezTo>
                        <a:pt x="19637" y="9096"/>
                        <a:pt x="18082" y="14718"/>
                        <a:pt x="13716" y="17230"/>
                      </a:cubicBezTo>
                      <a:cubicBezTo>
                        <a:pt x="9350" y="19742"/>
                        <a:pt x="3729" y="18187"/>
                        <a:pt x="1217" y="13761"/>
                      </a:cubicBezTo>
                      <a:cubicBezTo>
                        <a:pt x="-1296" y="9275"/>
                        <a:pt x="200" y="3654"/>
                        <a:pt x="4625" y="1201"/>
                      </a:cubicBezTo>
                      <a:close/>
                    </a:path>
                  </a:pathLst>
                </a:custGeom>
                <a:grpFill/>
                <a:ln w="5978" cap="flat">
                  <a:noFill/>
                  <a:prstDash val="solid"/>
                  <a:miter/>
                </a:ln>
              </p:spPr>
              <p:txBody>
                <a:bodyPr rtlCol="0" anchor="ctr"/>
                <a:lstStyle/>
                <a:p>
                  <a:endParaRPr lang="en-GB"/>
                </a:p>
              </p:txBody>
            </p:sp>
            <p:sp>
              <p:nvSpPr>
                <p:cNvPr id="5109" name="Vrije vorm: vorm 5108">
                  <a:extLst>
                    <a:ext uri="{FF2B5EF4-FFF2-40B4-BE49-F238E27FC236}">
                      <a16:creationId xmlns:a16="http://schemas.microsoft.com/office/drawing/2014/main" id="{DA64B142-F5D7-421F-A981-265A19B5A44C}"/>
                    </a:ext>
                  </a:extLst>
                </p:cNvPr>
                <p:cNvSpPr/>
                <p:nvPr/>
              </p:nvSpPr>
              <p:spPr>
                <a:xfrm>
                  <a:off x="7620529" y="2511938"/>
                  <a:ext cx="18328" cy="18431"/>
                </a:xfrm>
                <a:custGeom>
                  <a:avLst/>
                  <a:gdLst>
                    <a:gd name="connsiteX0" fmla="*/ 4612 w 18328"/>
                    <a:gd name="connsiteY0" fmla="*/ 1201 h 18431"/>
                    <a:gd name="connsiteX1" fmla="*/ 1204 w 18328"/>
                    <a:gd name="connsiteY1" fmla="*/ 13761 h 18431"/>
                    <a:gd name="connsiteX2" fmla="*/ 13703 w 18328"/>
                    <a:gd name="connsiteY2" fmla="*/ 17230 h 18431"/>
                    <a:gd name="connsiteX3" fmla="*/ 17112 w 18328"/>
                    <a:gd name="connsiteY3" fmla="*/ 4670 h 18431"/>
                    <a:gd name="connsiteX4" fmla="*/ 4612 w 18328"/>
                    <a:gd name="connsiteY4" fmla="*/ 120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12" y="1201"/>
                      </a:moveTo>
                      <a:cubicBezTo>
                        <a:pt x="247" y="3713"/>
                        <a:pt x="-1308" y="9335"/>
                        <a:pt x="1204" y="13761"/>
                      </a:cubicBezTo>
                      <a:cubicBezTo>
                        <a:pt x="3715" y="18187"/>
                        <a:pt x="9278" y="19742"/>
                        <a:pt x="13703" y="17230"/>
                      </a:cubicBezTo>
                      <a:cubicBezTo>
                        <a:pt x="18129" y="14718"/>
                        <a:pt x="19624" y="9096"/>
                        <a:pt x="17112" y="4670"/>
                      </a:cubicBezTo>
                      <a:cubicBezTo>
                        <a:pt x="14600" y="244"/>
                        <a:pt x="8978" y="-1310"/>
                        <a:pt x="4612" y="1201"/>
                      </a:cubicBezTo>
                      <a:close/>
                    </a:path>
                  </a:pathLst>
                </a:custGeom>
                <a:grpFill/>
                <a:ln w="5978" cap="flat">
                  <a:noFill/>
                  <a:prstDash val="solid"/>
                  <a:miter/>
                </a:ln>
              </p:spPr>
              <p:txBody>
                <a:bodyPr rtlCol="0" anchor="ctr"/>
                <a:lstStyle/>
                <a:p>
                  <a:endParaRPr lang="en-GB"/>
                </a:p>
              </p:txBody>
            </p:sp>
          </p:grpSp>
          <p:grpSp>
            <p:nvGrpSpPr>
              <p:cNvPr id="90" name="Graphic 3">
                <a:extLst>
                  <a:ext uri="{FF2B5EF4-FFF2-40B4-BE49-F238E27FC236}">
                    <a16:creationId xmlns:a16="http://schemas.microsoft.com/office/drawing/2014/main" id="{9CB62B85-A7A4-4624-B5EA-AA32EFC0CEC5}"/>
                  </a:ext>
                </a:extLst>
              </p:cNvPr>
              <p:cNvGrpSpPr/>
              <p:nvPr/>
            </p:nvGrpSpPr>
            <p:grpSpPr>
              <a:xfrm>
                <a:off x="7643841" y="2516302"/>
                <a:ext cx="133888" cy="78552"/>
                <a:chOff x="7643841" y="2516302"/>
                <a:chExt cx="133888" cy="78552"/>
              </a:xfrm>
              <a:grpFill/>
            </p:grpSpPr>
            <p:sp>
              <p:nvSpPr>
                <p:cNvPr id="5104" name="Vrije vorm: vorm 5103">
                  <a:extLst>
                    <a:ext uri="{FF2B5EF4-FFF2-40B4-BE49-F238E27FC236}">
                      <a16:creationId xmlns:a16="http://schemas.microsoft.com/office/drawing/2014/main" id="{6E6EFA1F-DEE2-450A-95BA-BFF042C92358}"/>
                    </a:ext>
                  </a:extLst>
                </p:cNvPr>
                <p:cNvSpPr/>
                <p:nvPr/>
              </p:nvSpPr>
              <p:spPr>
                <a:xfrm>
                  <a:off x="7651935" y="2523904"/>
                  <a:ext cx="117700" cy="63276"/>
                </a:xfrm>
                <a:custGeom>
                  <a:avLst/>
                  <a:gdLst>
                    <a:gd name="connsiteX0" fmla="*/ 117701 w 117700"/>
                    <a:gd name="connsiteY0" fmla="*/ 2751 h 63276"/>
                    <a:gd name="connsiteX1" fmla="*/ 1375 w 117700"/>
                    <a:gd name="connsiteY1" fmla="*/ 63276 h 63276"/>
                    <a:gd name="connsiteX2" fmla="*/ 0 w 117700"/>
                    <a:gd name="connsiteY2" fmla="*/ 60585 h 63276"/>
                    <a:gd name="connsiteX3" fmla="*/ 116325 w 117700"/>
                    <a:gd name="connsiteY3" fmla="*/ 0 h 63276"/>
                  </a:gdLst>
                  <a:ahLst/>
                  <a:cxnLst>
                    <a:cxn ang="0">
                      <a:pos x="connsiteX0" y="connsiteY0"/>
                    </a:cxn>
                    <a:cxn ang="0">
                      <a:pos x="connsiteX1" y="connsiteY1"/>
                    </a:cxn>
                    <a:cxn ang="0">
                      <a:pos x="connsiteX2" y="connsiteY2"/>
                    </a:cxn>
                    <a:cxn ang="0">
                      <a:pos x="connsiteX3" y="connsiteY3"/>
                    </a:cxn>
                  </a:cxnLst>
                  <a:rect l="l" t="t" r="r" b="b"/>
                  <a:pathLst>
                    <a:path w="117700" h="63276">
                      <a:moveTo>
                        <a:pt x="117701" y="2751"/>
                      </a:moveTo>
                      <a:lnTo>
                        <a:pt x="1375" y="63276"/>
                      </a:lnTo>
                      <a:lnTo>
                        <a:pt x="0" y="60585"/>
                      </a:lnTo>
                      <a:lnTo>
                        <a:pt x="116325" y="0"/>
                      </a:lnTo>
                      <a:close/>
                    </a:path>
                  </a:pathLst>
                </a:custGeom>
                <a:grpFill/>
                <a:ln w="5978" cap="flat">
                  <a:noFill/>
                  <a:prstDash val="solid"/>
                  <a:miter/>
                </a:ln>
              </p:spPr>
              <p:txBody>
                <a:bodyPr rtlCol="0" anchor="ctr"/>
                <a:lstStyle/>
                <a:p>
                  <a:endParaRPr lang="en-GB"/>
                </a:p>
              </p:txBody>
            </p:sp>
            <p:sp>
              <p:nvSpPr>
                <p:cNvPr id="5105" name="Vrije vorm: vorm 5104">
                  <a:extLst>
                    <a:ext uri="{FF2B5EF4-FFF2-40B4-BE49-F238E27FC236}">
                      <a16:creationId xmlns:a16="http://schemas.microsoft.com/office/drawing/2014/main" id="{4E36AA0F-DD1C-4CB8-855B-49AE0E0B5C99}"/>
                    </a:ext>
                  </a:extLst>
                </p:cNvPr>
                <p:cNvSpPr/>
                <p:nvPr/>
              </p:nvSpPr>
              <p:spPr>
                <a:xfrm>
                  <a:off x="7759388" y="2516302"/>
                  <a:ext cx="18340" cy="18434"/>
                </a:xfrm>
                <a:custGeom>
                  <a:avLst/>
                  <a:gdLst>
                    <a:gd name="connsiteX0" fmla="*/ 4924 w 18340"/>
                    <a:gd name="connsiteY0" fmla="*/ 1024 h 18434"/>
                    <a:gd name="connsiteX1" fmla="*/ 17304 w 18340"/>
                    <a:gd name="connsiteY1" fmla="*/ 4971 h 18434"/>
                    <a:gd name="connsiteX2" fmla="*/ 13417 w 18340"/>
                    <a:gd name="connsiteY2" fmla="*/ 17411 h 18434"/>
                    <a:gd name="connsiteX3" fmla="*/ 1037 w 18340"/>
                    <a:gd name="connsiteY3" fmla="*/ 13464 h 18434"/>
                    <a:gd name="connsiteX4" fmla="*/ 4924 w 18340"/>
                    <a:gd name="connsiteY4" fmla="*/ 102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34">
                      <a:moveTo>
                        <a:pt x="4924" y="1024"/>
                      </a:moveTo>
                      <a:cubicBezTo>
                        <a:pt x="9410" y="-1309"/>
                        <a:pt x="14972" y="486"/>
                        <a:pt x="17304" y="4971"/>
                      </a:cubicBezTo>
                      <a:cubicBezTo>
                        <a:pt x="19637" y="9516"/>
                        <a:pt x="17902" y="15078"/>
                        <a:pt x="13417" y="17411"/>
                      </a:cubicBezTo>
                      <a:cubicBezTo>
                        <a:pt x="8931" y="19744"/>
                        <a:pt x="3369" y="17949"/>
                        <a:pt x="1037" y="13464"/>
                      </a:cubicBezTo>
                      <a:cubicBezTo>
                        <a:pt x="-1296" y="8918"/>
                        <a:pt x="439" y="3356"/>
                        <a:pt x="4924" y="1024"/>
                      </a:cubicBezTo>
                      <a:close/>
                    </a:path>
                  </a:pathLst>
                </a:custGeom>
                <a:grpFill/>
                <a:ln w="5978" cap="flat">
                  <a:noFill/>
                  <a:prstDash val="solid"/>
                  <a:miter/>
                </a:ln>
              </p:spPr>
              <p:txBody>
                <a:bodyPr rtlCol="0" anchor="ctr"/>
                <a:lstStyle/>
                <a:p>
                  <a:endParaRPr lang="en-GB"/>
                </a:p>
              </p:txBody>
            </p:sp>
            <p:sp>
              <p:nvSpPr>
                <p:cNvPr id="5106" name="Vrije vorm: vorm 5105">
                  <a:extLst>
                    <a:ext uri="{FF2B5EF4-FFF2-40B4-BE49-F238E27FC236}">
                      <a16:creationId xmlns:a16="http://schemas.microsoft.com/office/drawing/2014/main" id="{4A6B6681-1E41-4748-B2B0-B0F432DE97DB}"/>
                    </a:ext>
                  </a:extLst>
                </p:cNvPr>
                <p:cNvSpPr/>
                <p:nvPr/>
              </p:nvSpPr>
              <p:spPr>
                <a:xfrm>
                  <a:off x="7643841" y="2576408"/>
                  <a:ext cx="18341" cy="18446"/>
                </a:xfrm>
                <a:custGeom>
                  <a:avLst/>
                  <a:gdLst>
                    <a:gd name="connsiteX0" fmla="*/ 4924 w 18341"/>
                    <a:gd name="connsiteY0" fmla="*/ 1024 h 18446"/>
                    <a:gd name="connsiteX1" fmla="*/ 1037 w 18341"/>
                    <a:gd name="connsiteY1" fmla="*/ 13464 h 18446"/>
                    <a:gd name="connsiteX2" fmla="*/ 13417 w 18341"/>
                    <a:gd name="connsiteY2" fmla="*/ 17411 h 18446"/>
                    <a:gd name="connsiteX3" fmla="*/ 17304 w 18341"/>
                    <a:gd name="connsiteY3" fmla="*/ 4971 h 18446"/>
                    <a:gd name="connsiteX4" fmla="*/ 4924 w 18341"/>
                    <a:gd name="connsiteY4" fmla="*/ 1024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46">
                      <a:moveTo>
                        <a:pt x="4924" y="1024"/>
                      </a:moveTo>
                      <a:cubicBezTo>
                        <a:pt x="438" y="3356"/>
                        <a:pt x="-1296" y="8918"/>
                        <a:pt x="1037" y="13464"/>
                      </a:cubicBezTo>
                      <a:cubicBezTo>
                        <a:pt x="3369" y="18009"/>
                        <a:pt x="8931" y="19743"/>
                        <a:pt x="13417" y="17411"/>
                      </a:cubicBezTo>
                      <a:cubicBezTo>
                        <a:pt x="17902" y="15079"/>
                        <a:pt x="19637" y="9516"/>
                        <a:pt x="17304" y="4971"/>
                      </a:cubicBezTo>
                      <a:cubicBezTo>
                        <a:pt x="14972" y="486"/>
                        <a:pt x="9409" y="-1309"/>
                        <a:pt x="4924" y="1024"/>
                      </a:cubicBezTo>
                      <a:close/>
                    </a:path>
                  </a:pathLst>
                </a:custGeom>
                <a:grpFill/>
                <a:ln w="5978" cap="flat">
                  <a:noFill/>
                  <a:prstDash val="solid"/>
                  <a:miter/>
                </a:ln>
              </p:spPr>
              <p:txBody>
                <a:bodyPr rtlCol="0" anchor="ctr"/>
                <a:lstStyle/>
                <a:p>
                  <a:endParaRPr lang="en-GB"/>
                </a:p>
              </p:txBody>
            </p:sp>
          </p:grpSp>
          <p:grpSp>
            <p:nvGrpSpPr>
              <p:cNvPr id="91" name="Graphic 3">
                <a:extLst>
                  <a:ext uri="{FF2B5EF4-FFF2-40B4-BE49-F238E27FC236}">
                    <a16:creationId xmlns:a16="http://schemas.microsoft.com/office/drawing/2014/main" id="{C84745EC-4C51-410A-BE0C-FD6AED91EAAC}"/>
                  </a:ext>
                </a:extLst>
              </p:cNvPr>
              <p:cNvGrpSpPr/>
              <p:nvPr/>
            </p:nvGrpSpPr>
            <p:grpSpPr>
              <a:xfrm>
                <a:off x="7534785" y="2502156"/>
                <a:ext cx="351162" cy="150492"/>
                <a:chOff x="7534785" y="2502156"/>
                <a:chExt cx="351162" cy="150492"/>
              </a:xfrm>
              <a:grpFill/>
            </p:grpSpPr>
            <p:sp>
              <p:nvSpPr>
                <p:cNvPr id="5101" name="Vrije vorm: vorm 5100">
                  <a:extLst>
                    <a:ext uri="{FF2B5EF4-FFF2-40B4-BE49-F238E27FC236}">
                      <a16:creationId xmlns:a16="http://schemas.microsoft.com/office/drawing/2014/main" id="{FC30FCD2-75D8-438A-8CF6-BA5D0BD4C4F5}"/>
                    </a:ext>
                  </a:extLst>
                </p:cNvPr>
                <p:cNvSpPr/>
                <p:nvPr/>
              </p:nvSpPr>
              <p:spPr>
                <a:xfrm>
                  <a:off x="7542966" y="2509790"/>
                  <a:ext cx="334800" cy="135224"/>
                </a:xfrm>
                <a:custGeom>
                  <a:avLst/>
                  <a:gdLst>
                    <a:gd name="connsiteX0" fmla="*/ 334801 w 334800"/>
                    <a:gd name="connsiteY0" fmla="*/ 2811 h 135224"/>
                    <a:gd name="connsiteX1" fmla="*/ 1136 w 334800"/>
                    <a:gd name="connsiteY1" fmla="*/ 135224 h 135224"/>
                    <a:gd name="connsiteX2" fmla="*/ 0 w 334800"/>
                    <a:gd name="connsiteY2" fmla="*/ 132353 h 135224"/>
                    <a:gd name="connsiteX3" fmla="*/ 333665 w 334800"/>
                    <a:gd name="connsiteY3" fmla="*/ 0 h 135224"/>
                  </a:gdLst>
                  <a:ahLst/>
                  <a:cxnLst>
                    <a:cxn ang="0">
                      <a:pos x="connsiteX0" y="connsiteY0"/>
                    </a:cxn>
                    <a:cxn ang="0">
                      <a:pos x="connsiteX1" y="connsiteY1"/>
                    </a:cxn>
                    <a:cxn ang="0">
                      <a:pos x="connsiteX2" y="connsiteY2"/>
                    </a:cxn>
                    <a:cxn ang="0">
                      <a:pos x="connsiteX3" y="connsiteY3"/>
                    </a:cxn>
                  </a:cxnLst>
                  <a:rect l="l" t="t" r="r" b="b"/>
                  <a:pathLst>
                    <a:path w="334800" h="135224">
                      <a:moveTo>
                        <a:pt x="334801" y="2811"/>
                      </a:moveTo>
                      <a:lnTo>
                        <a:pt x="1136" y="135224"/>
                      </a:lnTo>
                      <a:lnTo>
                        <a:pt x="0" y="132353"/>
                      </a:lnTo>
                      <a:lnTo>
                        <a:pt x="333665" y="0"/>
                      </a:lnTo>
                      <a:close/>
                    </a:path>
                  </a:pathLst>
                </a:custGeom>
                <a:grpFill/>
                <a:ln w="5978" cap="flat">
                  <a:noFill/>
                  <a:prstDash val="solid"/>
                  <a:miter/>
                </a:ln>
              </p:spPr>
              <p:txBody>
                <a:bodyPr rtlCol="0" anchor="ctr"/>
                <a:lstStyle/>
                <a:p>
                  <a:endParaRPr lang="en-GB"/>
                </a:p>
              </p:txBody>
            </p:sp>
            <p:sp>
              <p:nvSpPr>
                <p:cNvPr id="5102" name="Vrije vorm: vorm 5101">
                  <a:extLst>
                    <a:ext uri="{FF2B5EF4-FFF2-40B4-BE49-F238E27FC236}">
                      <a16:creationId xmlns:a16="http://schemas.microsoft.com/office/drawing/2014/main" id="{B08F5864-3B65-4D40-9BA9-21EB3E842E22}"/>
                    </a:ext>
                  </a:extLst>
                </p:cNvPr>
                <p:cNvSpPr/>
                <p:nvPr/>
              </p:nvSpPr>
              <p:spPr>
                <a:xfrm>
                  <a:off x="7534785" y="2634210"/>
                  <a:ext cx="18335" cy="18438"/>
                </a:xfrm>
                <a:custGeom>
                  <a:avLst/>
                  <a:gdLst>
                    <a:gd name="connsiteX0" fmla="*/ 12547 w 18335"/>
                    <a:gd name="connsiteY0" fmla="*/ 17801 h 18438"/>
                    <a:gd name="connsiteX1" fmla="*/ 645 w 18335"/>
                    <a:gd name="connsiteY1" fmla="*/ 12598 h 18438"/>
                    <a:gd name="connsiteX2" fmla="*/ 5789 w 18335"/>
                    <a:gd name="connsiteY2" fmla="*/ 637 h 18438"/>
                    <a:gd name="connsiteX3" fmla="*/ 17690 w 18335"/>
                    <a:gd name="connsiteY3" fmla="*/ 5840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7822" y="19655"/>
                        <a:pt x="2500" y="17323"/>
                        <a:pt x="645" y="12598"/>
                      </a:cubicBezTo>
                      <a:cubicBezTo>
                        <a:pt x="-1209" y="7873"/>
                        <a:pt x="1064" y="2491"/>
                        <a:pt x="5789" y="637"/>
                      </a:cubicBezTo>
                      <a:cubicBezTo>
                        <a:pt x="10514" y="-1217"/>
                        <a:pt x="15837" y="1115"/>
                        <a:pt x="17690" y="5840"/>
                      </a:cubicBezTo>
                      <a:cubicBezTo>
                        <a:pt x="19545" y="10565"/>
                        <a:pt x="17272" y="15947"/>
                        <a:pt x="12547" y="17801"/>
                      </a:cubicBezTo>
                      <a:close/>
                    </a:path>
                  </a:pathLst>
                </a:custGeom>
                <a:grpFill/>
                <a:ln w="5978" cap="flat">
                  <a:noFill/>
                  <a:prstDash val="solid"/>
                  <a:miter/>
                </a:ln>
              </p:spPr>
              <p:txBody>
                <a:bodyPr rtlCol="0" anchor="ctr"/>
                <a:lstStyle/>
                <a:p>
                  <a:endParaRPr lang="en-GB"/>
                </a:p>
              </p:txBody>
            </p:sp>
            <p:sp>
              <p:nvSpPr>
                <p:cNvPr id="5103" name="Vrije vorm: vorm 5102">
                  <a:extLst>
                    <a:ext uri="{FF2B5EF4-FFF2-40B4-BE49-F238E27FC236}">
                      <a16:creationId xmlns:a16="http://schemas.microsoft.com/office/drawing/2014/main" id="{83780B11-2767-41A9-8565-DD3B529EC4C2}"/>
                    </a:ext>
                  </a:extLst>
                </p:cNvPr>
                <p:cNvSpPr/>
                <p:nvPr/>
              </p:nvSpPr>
              <p:spPr>
                <a:xfrm>
                  <a:off x="7867612" y="2502156"/>
                  <a:ext cx="18335" cy="18438"/>
                </a:xfrm>
                <a:custGeom>
                  <a:avLst/>
                  <a:gdLst>
                    <a:gd name="connsiteX0" fmla="*/ 12547 w 18335"/>
                    <a:gd name="connsiteY0" fmla="*/ 17802 h 18438"/>
                    <a:gd name="connsiteX1" fmla="*/ 17690 w 18335"/>
                    <a:gd name="connsiteY1" fmla="*/ 5840 h 18438"/>
                    <a:gd name="connsiteX2" fmla="*/ 5789 w 18335"/>
                    <a:gd name="connsiteY2" fmla="*/ 637 h 18438"/>
                    <a:gd name="connsiteX3" fmla="*/ 645 w 18335"/>
                    <a:gd name="connsiteY3" fmla="*/ 12598 h 18438"/>
                    <a:gd name="connsiteX4" fmla="*/ 12547 w 18335"/>
                    <a:gd name="connsiteY4" fmla="*/ 1780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2"/>
                      </a:moveTo>
                      <a:cubicBezTo>
                        <a:pt x="17272" y="15948"/>
                        <a:pt x="19545" y="10565"/>
                        <a:pt x="17690" y="5840"/>
                      </a:cubicBezTo>
                      <a:cubicBezTo>
                        <a:pt x="15836" y="1115"/>
                        <a:pt x="10454" y="-1217"/>
                        <a:pt x="5789" y="637"/>
                      </a:cubicBezTo>
                      <a:cubicBezTo>
                        <a:pt x="1064" y="2491"/>
                        <a:pt x="-1209" y="7874"/>
                        <a:pt x="645" y="12598"/>
                      </a:cubicBezTo>
                      <a:cubicBezTo>
                        <a:pt x="2499" y="17323"/>
                        <a:pt x="7882" y="19656"/>
                        <a:pt x="12547" y="17802"/>
                      </a:cubicBezTo>
                      <a:close/>
                    </a:path>
                  </a:pathLst>
                </a:custGeom>
                <a:grpFill/>
                <a:ln w="5978" cap="flat">
                  <a:noFill/>
                  <a:prstDash val="solid"/>
                  <a:miter/>
                </a:ln>
              </p:spPr>
              <p:txBody>
                <a:bodyPr rtlCol="0" anchor="ctr"/>
                <a:lstStyle/>
                <a:p>
                  <a:endParaRPr lang="en-GB"/>
                </a:p>
              </p:txBody>
            </p:sp>
          </p:grpSp>
          <p:grpSp>
            <p:nvGrpSpPr>
              <p:cNvPr id="92" name="Graphic 3">
                <a:extLst>
                  <a:ext uri="{FF2B5EF4-FFF2-40B4-BE49-F238E27FC236}">
                    <a16:creationId xmlns:a16="http://schemas.microsoft.com/office/drawing/2014/main" id="{19729435-063B-4D55-B64E-F8D37F8CFCD9}"/>
                  </a:ext>
                </a:extLst>
              </p:cNvPr>
              <p:cNvGrpSpPr/>
              <p:nvPr/>
            </p:nvGrpSpPr>
            <p:grpSpPr>
              <a:xfrm>
                <a:off x="7643851" y="2827598"/>
                <a:ext cx="347141" cy="86317"/>
                <a:chOff x="7643851" y="2827598"/>
                <a:chExt cx="347141" cy="86317"/>
              </a:xfrm>
              <a:grpFill/>
            </p:grpSpPr>
            <p:sp>
              <p:nvSpPr>
                <p:cNvPr id="5098" name="Vrije vorm: vorm 5097">
                  <a:extLst>
                    <a:ext uri="{FF2B5EF4-FFF2-40B4-BE49-F238E27FC236}">
                      <a16:creationId xmlns:a16="http://schemas.microsoft.com/office/drawing/2014/main" id="{D3CA15D5-6F74-4370-B4E1-27E2F89DFB7D}"/>
                    </a:ext>
                  </a:extLst>
                </p:cNvPr>
                <p:cNvSpPr/>
                <p:nvPr/>
              </p:nvSpPr>
              <p:spPr>
                <a:xfrm>
                  <a:off x="7652294" y="2834765"/>
                  <a:ext cx="330271" cy="71293"/>
                </a:xfrm>
                <a:custGeom>
                  <a:avLst/>
                  <a:gdLst>
                    <a:gd name="connsiteX0" fmla="*/ 0 w 330271"/>
                    <a:gd name="connsiteY0" fmla="*/ 68307 h 71293"/>
                    <a:gd name="connsiteX1" fmla="*/ 329653 w 330271"/>
                    <a:gd name="connsiteY1" fmla="*/ 0 h 71293"/>
                    <a:gd name="connsiteX2" fmla="*/ 330272 w 330271"/>
                    <a:gd name="connsiteY2" fmla="*/ 2987 h 71293"/>
                    <a:gd name="connsiteX3" fmla="*/ 619 w 330271"/>
                    <a:gd name="connsiteY3" fmla="*/ 71294 h 71293"/>
                  </a:gdLst>
                  <a:ahLst/>
                  <a:cxnLst>
                    <a:cxn ang="0">
                      <a:pos x="connsiteX0" y="connsiteY0"/>
                    </a:cxn>
                    <a:cxn ang="0">
                      <a:pos x="connsiteX1" y="connsiteY1"/>
                    </a:cxn>
                    <a:cxn ang="0">
                      <a:pos x="connsiteX2" y="connsiteY2"/>
                    </a:cxn>
                    <a:cxn ang="0">
                      <a:pos x="connsiteX3" y="connsiteY3"/>
                    </a:cxn>
                  </a:cxnLst>
                  <a:rect l="l" t="t" r="r" b="b"/>
                  <a:pathLst>
                    <a:path w="330271" h="71293">
                      <a:moveTo>
                        <a:pt x="0" y="68307"/>
                      </a:moveTo>
                      <a:lnTo>
                        <a:pt x="329653" y="0"/>
                      </a:lnTo>
                      <a:lnTo>
                        <a:pt x="330272" y="2987"/>
                      </a:lnTo>
                      <a:lnTo>
                        <a:pt x="619" y="71294"/>
                      </a:lnTo>
                      <a:close/>
                    </a:path>
                  </a:pathLst>
                </a:custGeom>
                <a:grpFill/>
                <a:ln w="5978" cap="flat">
                  <a:noFill/>
                  <a:prstDash val="solid"/>
                  <a:miter/>
                </a:ln>
              </p:spPr>
              <p:txBody>
                <a:bodyPr rtlCol="0" anchor="ctr"/>
                <a:lstStyle/>
                <a:p>
                  <a:endParaRPr lang="en-GB"/>
                </a:p>
              </p:txBody>
            </p:sp>
            <p:sp>
              <p:nvSpPr>
                <p:cNvPr id="5099" name="Vrije vorm: vorm 5098">
                  <a:extLst>
                    <a:ext uri="{FF2B5EF4-FFF2-40B4-BE49-F238E27FC236}">
                      <a16:creationId xmlns:a16="http://schemas.microsoft.com/office/drawing/2014/main" id="{82D86236-39AD-478D-A3A9-E2990ACCF6C2}"/>
                    </a:ext>
                  </a:extLst>
                </p:cNvPr>
                <p:cNvSpPr/>
                <p:nvPr/>
              </p:nvSpPr>
              <p:spPr>
                <a:xfrm>
                  <a:off x="7643851" y="2895479"/>
                  <a:ext cx="18321" cy="18436"/>
                </a:xfrm>
                <a:custGeom>
                  <a:avLst/>
                  <a:gdLst>
                    <a:gd name="connsiteX0" fmla="*/ 11015 w 18321"/>
                    <a:gd name="connsiteY0" fmla="*/ 18249 h 18436"/>
                    <a:gd name="connsiteX1" fmla="*/ 190 w 18321"/>
                    <a:gd name="connsiteY1" fmla="*/ 11072 h 18436"/>
                    <a:gd name="connsiteX2" fmla="*/ 7307 w 18321"/>
                    <a:gd name="connsiteY2" fmla="*/ 187 h 18436"/>
                    <a:gd name="connsiteX3" fmla="*/ 18132 w 18321"/>
                    <a:gd name="connsiteY3" fmla="*/ 7364 h 18436"/>
                    <a:gd name="connsiteX4" fmla="*/ 11015 w 18321"/>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1015" y="18249"/>
                      </a:moveTo>
                      <a:cubicBezTo>
                        <a:pt x="6051" y="19266"/>
                        <a:pt x="1206" y="16036"/>
                        <a:pt x="190" y="11072"/>
                      </a:cubicBezTo>
                      <a:cubicBezTo>
                        <a:pt x="-827" y="6108"/>
                        <a:pt x="2343" y="1204"/>
                        <a:pt x="7307" y="187"/>
                      </a:cubicBezTo>
                      <a:cubicBezTo>
                        <a:pt x="12271" y="-830"/>
                        <a:pt x="17115" y="2400"/>
                        <a:pt x="18132" y="7364"/>
                      </a:cubicBezTo>
                      <a:cubicBezTo>
                        <a:pt x="19148" y="12328"/>
                        <a:pt x="15979" y="17172"/>
                        <a:pt x="11015" y="18249"/>
                      </a:cubicBezTo>
                      <a:close/>
                    </a:path>
                  </a:pathLst>
                </a:custGeom>
                <a:grpFill/>
                <a:ln w="5978" cap="flat">
                  <a:noFill/>
                  <a:prstDash val="solid"/>
                  <a:miter/>
                </a:ln>
              </p:spPr>
              <p:txBody>
                <a:bodyPr rtlCol="0" anchor="ctr"/>
                <a:lstStyle/>
                <a:p>
                  <a:endParaRPr lang="en-GB"/>
                </a:p>
              </p:txBody>
            </p:sp>
            <p:sp>
              <p:nvSpPr>
                <p:cNvPr id="5100" name="Vrije vorm: vorm 5099">
                  <a:extLst>
                    <a:ext uri="{FF2B5EF4-FFF2-40B4-BE49-F238E27FC236}">
                      <a16:creationId xmlns:a16="http://schemas.microsoft.com/office/drawing/2014/main" id="{028F214E-17F5-4CA4-B53F-6BDF4DED6D04}"/>
                    </a:ext>
                  </a:extLst>
                </p:cNvPr>
                <p:cNvSpPr/>
                <p:nvPr/>
              </p:nvSpPr>
              <p:spPr>
                <a:xfrm>
                  <a:off x="7972671" y="2827598"/>
                  <a:ext cx="18321" cy="18435"/>
                </a:xfrm>
                <a:custGeom>
                  <a:avLst/>
                  <a:gdLst>
                    <a:gd name="connsiteX0" fmla="*/ 11015 w 18321"/>
                    <a:gd name="connsiteY0" fmla="*/ 18249 h 18435"/>
                    <a:gd name="connsiteX1" fmla="*/ 18132 w 18321"/>
                    <a:gd name="connsiteY1" fmla="*/ 7364 h 18435"/>
                    <a:gd name="connsiteX2" fmla="*/ 7307 w 18321"/>
                    <a:gd name="connsiteY2" fmla="*/ 187 h 18435"/>
                    <a:gd name="connsiteX3" fmla="*/ 190 w 18321"/>
                    <a:gd name="connsiteY3" fmla="*/ 11072 h 18435"/>
                    <a:gd name="connsiteX4" fmla="*/ 11015 w 18321"/>
                    <a:gd name="connsiteY4" fmla="*/ 18249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5">
                      <a:moveTo>
                        <a:pt x="11015" y="18249"/>
                      </a:moveTo>
                      <a:cubicBezTo>
                        <a:pt x="15979" y="17232"/>
                        <a:pt x="19149" y="12328"/>
                        <a:pt x="18132" y="7364"/>
                      </a:cubicBezTo>
                      <a:cubicBezTo>
                        <a:pt x="17115" y="2400"/>
                        <a:pt x="12211" y="-830"/>
                        <a:pt x="7307" y="187"/>
                      </a:cubicBezTo>
                      <a:cubicBezTo>
                        <a:pt x="2343" y="1204"/>
                        <a:pt x="-827" y="6108"/>
                        <a:pt x="190" y="11072"/>
                      </a:cubicBezTo>
                      <a:cubicBezTo>
                        <a:pt x="1207" y="16036"/>
                        <a:pt x="6111" y="19265"/>
                        <a:pt x="11015" y="18249"/>
                      </a:cubicBezTo>
                      <a:close/>
                    </a:path>
                  </a:pathLst>
                </a:custGeom>
                <a:grpFill/>
                <a:ln w="5978" cap="flat">
                  <a:noFill/>
                  <a:prstDash val="solid"/>
                  <a:miter/>
                </a:ln>
              </p:spPr>
              <p:txBody>
                <a:bodyPr rtlCol="0" anchor="ctr"/>
                <a:lstStyle/>
                <a:p>
                  <a:endParaRPr lang="en-GB"/>
                </a:p>
              </p:txBody>
            </p:sp>
          </p:grpSp>
          <p:grpSp>
            <p:nvGrpSpPr>
              <p:cNvPr id="93" name="Graphic 3">
                <a:extLst>
                  <a:ext uri="{FF2B5EF4-FFF2-40B4-BE49-F238E27FC236}">
                    <a16:creationId xmlns:a16="http://schemas.microsoft.com/office/drawing/2014/main" id="{439F343D-F608-4A59-B9FA-90A07A49A597}"/>
                  </a:ext>
                </a:extLst>
              </p:cNvPr>
              <p:cNvGrpSpPr/>
              <p:nvPr/>
            </p:nvGrpSpPr>
            <p:grpSpPr>
              <a:xfrm>
                <a:off x="7802143" y="2839844"/>
                <a:ext cx="29840" cy="22173"/>
                <a:chOff x="7802143" y="2839844"/>
                <a:chExt cx="29840" cy="22173"/>
              </a:xfrm>
              <a:grpFill/>
            </p:grpSpPr>
            <p:sp>
              <p:nvSpPr>
                <p:cNvPr id="5095" name="Vrije vorm: vorm 5094">
                  <a:extLst>
                    <a:ext uri="{FF2B5EF4-FFF2-40B4-BE49-F238E27FC236}">
                      <a16:creationId xmlns:a16="http://schemas.microsoft.com/office/drawing/2014/main" id="{2A71570C-7D98-4DCB-8043-C1F5FCC42985}"/>
                    </a:ext>
                  </a:extLst>
                </p:cNvPr>
                <p:cNvSpPr/>
                <p:nvPr/>
              </p:nvSpPr>
              <p:spPr>
                <a:xfrm>
                  <a:off x="7810424" y="2847462"/>
                  <a:ext cx="13277" cy="6937"/>
                </a:xfrm>
                <a:custGeom>
                  <a:avLst/>
                  <a:gdLst>
                    <a:gd name="connsiteX0" fmla="*/ 12381 w 13277"/>
                    <a:gd name="connsiteY0" fmla="*/ 0 h 6937"/>
                    <a:gd name="connsiteX1" fmla="*/ 13277 w 13277"/>
                    <a:gd name="connsiteY1" fmla="*/ 2931 h 6937"/>
                    <a:gd name="connsiteX2" fmla="*/ 957 w 13277"/>
                    <a:gd name="connsiteY2" fmla="*/ 6938 h 6937"/>
                    <a:gd name="connsiteX3" fmla="*/ 0 w 13277"/>
                    <a:gd name="connsiteY3" fmla="*/ 4007 h 6937"/>
                  </a:gdLst>
                  <a:ahLst/>
                  <a:cxnLst>
                    <a:cxn ang="0">
                      <a:pos x="connsiteX0" y="connsiteY0"/>
                    </a:cxn>
                    <a:cxn ang="0">
                      <a:pos x="connsiteX1" y="connsiteY1"/>
                    </a:cxn>
                    <a:cxn ang="0">
                      <a:pos x="connsiteX2" y="connsiteY2"/>
                    </a:cxn>
                    <a:cxn ang="0">
                      <a:pos x="connsiteX3" y="connsiteY3"/>
                    </a:cxn>
                  </a:cxnLst>
                  <a:rect l="l" t="t" r="r" b="b"/>
                  <a:pathLst>
                    <a:path w="13277" h="6937">
                      <a:moveTo>
                        <a:pt x="12381" y="0"/>
                      </a:moveTo>
                      <a:lnTo>
                        <a:pt x="13277" y="2931"/>
                      </a:lnTo>
                      <a:lnTo>
                        <a:pt x="957" y="6938"/>
                      </a:lnTo>
                      <a:lnTo>
                        <a:pt x="0" y="4007"/>
                      </a:lnTo>
                      <a:close/>
                    </a:path>
                  </a:pathLst>
                </a:custGeom>
                <a:grpFill/>
                <a:ln w="5978" cap="flat">
                  <a:noFill/>
                  <a:prstDash val="solid"/>
                  <a:miter/>
                </a:ln>
              </p:spPr>
              <p:txBody>
                <a:bodyPr rtlCol="0" anchor="ctr"/>
                <a:lstStyle/>
                <a:p>
                  <a:endParaRPr lang="en-GB"/>
                </a:p>
              </p:txBody>
            </p:sp>
            <p:sp>
              <p:nvSpPr>
                <p:cNvPr id="5096" name="Vrije vorm: vorm 5095">
                  <a:extLst>
                    <a:ext uri="{FF2B5EF4-FFF2-40B4-BE49-F238E27FC236}">
                      <a16:creationId xmlns:a16="http://schemas.microsoft.com/office/drawing/2014/main" id="{6CF7C574-D789-40E7-AA8B-5D766AE0D689}"/>
                    </a:ext>
                  </a:extLst>
                </p:cNvPr>
                <p:cNvSpPr/>
                <p:nvPr/>
              </p:nvSpPr>
              <p:spPr>
                <a:xfrm>
                  <a:off x="7813631" y="2839844"/>
                  <a:ext cx="18351" cy="18465"/>
                </a:xfrm>
                <a:custGeom>
                  <a:avLst/>
                  <a:gdLst>
                    <a:gd name="connsiteX0" fmla="*/ 6362 w 18351"/>
                    <a:gd name="connsiteY0" fmla="*/ 441 h 18465"/>
                    <a:gd name="connsiteX1" fmla="*/ 17905 w 18351"/>
                    <a:gd name="connsiteY1" fmla="*/ 6422 h 18465"/>
                    <a:gd name="connsiteX2" fmla="*/ 11984 w 18351"/>
                    <a:gd name="connsiteY2" fmla="*/ 18024 h 18465"/>
                    <a:gd name="connsiteX3" fmla="*/ 441 w 18351"/>
                    <a:gd name="connsiteY3" fmla="*/ 12044 h 18465"/>
                    <a:gd name="connsiteX4" fmla="*/ 6362 w 18351"/>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6362" y="441"/>
                      </a:moveTo>
                      <a:cubicBezTo>
                        <a:pt x="11207" y="-1114"/>
                        <a:pt x="16350" y="1577"/>
                        <a:pt x="17905" y="6422"/>
                      </a:cubicBezTo>
                      <a:cubicBezTo>
                        <a:pt x="19460" y="11266"/>
                        <a:pt x="16828" y="16469"/>
                        <a:pt x="11984" y="18024"/>
                      </a:cubicBezTo>
                      <a:cubicBezTo>
                        <a:pt x="7140" y="19579"/>
                        <a:pt x="1996" y="16888"/>
                        <a:pt x="441" y="12044"/>
                      </a:cubicBezTo>
                      <a:cubicBezTo>
                        <a:pt x="-1114" y="7199"/>
                        <a:pt x="1578" y="1996"/>
                        <a:pt x="6362" y="441"/>
                      </a:cubicBezTo>
                      <a:close/>
                    </a:path>
                  </a:pathLst>
                </a:custGeom>
                <a:grpFill/>
                <a:ln w="5978" cap="flat">
                  <a:noFill/>
                  <a:prstDash val="solid"/>
                  <a:miter/>
                </a:ln>
              </p:spPr>
              <p:txBody>
                <a:bodyPr rtlCol="0" anchor="ctr"/>
                <a:lstStyle/>
                <a:p>
                  <a:endParaRPr lang="en-GB"/>
                </a:p>
              </p:txBody>
            </p:sp>
            <p:sp>
              <p:nvSpPr>
                <p:cNvPr id="5097" name="Vrije vorm: vorm 5096">
                  <a:extLst>
                    <a:ext uri="{FF2B5EF4-FFF2-40B4-BE49-F238E27FC236}">
                      <a16:creationId xmlns:a16="http://schemas.microsoft.com/office/drawing/2014/main" id="{B4770D35-6CCC-445A-A7E5-780FCAD80D52}"/>
                    </a:ext>
                  </a:extLst>
                </p:cNvPr>
                <p:cNvSpPr/>
                <p:nvPr/>
              </p:nvSpPr>
              <p:spPr>
                <a:xfrm>
                  <a:off x="7802143" y="2843552"/>
                  <a:ext cx="18356" cy="18465"/>
                </a:xfrm>
                <a:custGeom>
                  <a:avLst/>
                  <a:gdLst>
                    <a:gd name="connsiteX0" fmla="*/ 6368 w 18356"/>
                    <a:gd name="connsiteY0" fmla="*/ 441 h 18465"/>
                    <a:gd name="connsiteX1" fmla="*/ 447 w 18356"/>
                    <a:gd name="connsiteY1" fmla="*/ 12044 h 18465"/>
                    <a:gd name="connsiteX2" fmla="*/ 11989 w 18356"/>
                    <a:gd name="connsiteY2" fmla="*/ 18024 h 18465"/>
                    <a:gd name="connsiteX3" fmla="*/ 17910 w 18356"/>
                    <a:gd name="connsiteY3" fmla="*/ 6422 h 18465"/>
                    <a:gd name="connsiteX4" fmla="*/ 6368 w 18356"/>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65">
                      <a:moveTo>
                        <a:pt x="6368" y="441"/>
                      </a:moveTo>
                      <a:cubicBezTo>
                        <a:pt x="1523" y="1996"/>
                        <a:pt x="-1108" y="7199"/>
                        <a:pt x="447" y="12044"/>
                      </a:cubicBezTo>
                      <a:cubicBezTo>
                        <a:pt x="2002" y="16888"/>
                        <a:pt x="7145" y="19579"/>
                        <a:pt x="11989" y="18024"/>
                      </a:cubicBezTo>
                      <a:cubicBezTo>
                        <a:pt x="16834" y="16469"/>
                        <a:pt x="19465" y="11266"/>
                        <a:pt x="17910" y="6422"/>
                      </a:cubicBezTo>
                      <a:cubicBezTo>
                        <a:pt x="16355" y="1577"/>
                        <a:pt x="11212" y="-1114"/>
                        <a:pt x="6368" y="441"/>
                      </a:cubicBezTo>
                      <a:close/>
                    </a:path>
                  </a:pathLst>
                </a:custGeom>
                <a:grpFill/>
                <a:ln w="5978" cap="flat">
                  <a:noFill/>
                  <a:prstDash val="solid"/>
                  <a:miter/>
                </a:ln>
              </p:spPr>
              <p:txBody>
                <a:bodyPr rtlCol="0" anchor="ctr"/>
                <a:lstStyle/>
                <a:p>
                  <a:endParaRPr lang="en-GB"/>
                </a:p>
              </p:txBody>
            </p:sp>
          </p:grpSp>
          <p:grpSp>
            <p:nvGrpSpPr>
              <p:cNvPr id="94" name="Graphic 3">
                <a:extLst>
                  <a:ext uri="{FF2B5EF4-FFF2-40B4-BE49-F238E27FC236}">
                    <a16:creationId xmlns:a16="http://schemas.microsoft.com/office/drawing/2014/main" id="{203C6484-033E-461F-ADBD-4DAC466937EC}"/>
                  </a:ext>
                </a:extLst>
              </p:cNvPr>
              <p:cNvGrpSpPr/>
              <p:nvPr/>
            </p:nvGrpSpPr>
            <p:grpSpPr>
              <a:xfrm>
                <a:off x="7928101" y="3280742"/>
                <a:ext cx="30847" cy="19244"/>
                <a:chOff x="7928101" y="3280742"/>
                <a:chExt cx="30847" cy="19244"/>
              </a:xfrm>
              <a:grpFill/>
            </p:grpSpPr>
            <p:sp>
              <p:nvSpPr>
                <p:cNvPr id="5092" name="Vrije vorm: vorm 5091">
                  <a:extLst>
                    <a:ext uri="{FF2B5EF4-FFF2-40B4-BE49-F238E27FC236}">
                      <a16:creationId xmlns:a16="http://schemas.microsoft.com/office/drawing/2014/main" id="{43C14F1F-95F5-4B43-A40A-44B73B88EE67}"/>
                    </a:ext>
                  </a:extLst>
                </p:cNvPr>
                <p:cNvSpPr/>
                <p:nvPr/>
              </p:nvSpPr>
              <p:spPr>
                <a:xfrm>
                  <a:off x="7936737" y="3288420"/>
                  <a:ext cx="13636" cy="3947"/>
                </a:xfrm>
                <a:custGeom>
                  <a:avLst/>
                  <a:gdLst>
                    <a:gd name="connsiteX0" fmla="*/ 13457 w 13636"/>
                    <a:gd name="connsiteY0" fmla="*/ 0 h 3947"/>
                    <a:gd name="connsiteX1" fmla="*/ 13636 w 13636"/>
                    <a:gd name="connsiteY1" fmla="*/ 3050 h 3947"/>
                    <a:gd name="connsiteX2" fmla="*/ 239 w 13636"/>
                    <a:gd name="connsiteY2" fmla="*/ 3947 h 3947"/>
                    <a:gd name="connsiteX3" fmla="*/ 0 w 13636"/>
                    <a:gd name="connsiteY3" fmla="*/ 897 h 3947"/>
                  </a:gdLst>
                  <a:ahLst/>
                  <a:cxnLst>
                    <a:cxn ang="0">
                      <a:pos x="connsiteX0" y="connsiteY0"/>
                    </a:cxn>
                    <a:cxn ang="0">
                      <a:pos x="connsiteX1" y="connsiteY1"/>
                    </a:cxn>
                    <a:cxn ang="0">
                      <a:pos x="connsiteX2" y="connsiteY2"/>
                    </a:cxn>
                    <a:cxn ang="0">
                      <a:pos x="connsiteX3" y="connsiteY3"/>
                    </a:cxn>
                  </a:cxnLst>
                  <a:rect l="l" t="t" r="r" b="b"/>
                  <a:pathLst>
                    <a:path w="13636" h="3947">
                      <a:moveTo>
                        <a:pt x="13457" y="0"/>
                      </a:moveTo>
                      <a:lnTo>
                        <a:pt x="13636" y="3050"/>
                      </a:lnTo>
                      <a:lnTo>
                        <a:pt x="239" y="3947"/>
                      </a:lnTo>
                      <a:lnTo>
                        <a:pt x="0" y="897"/>
                      </a:lnTo>
                      <a:close/>
                    </a:path>
                  </a:pathLst>
                </a:custGeom>
                <a:grpFill/>
                <a:ln w="5978" cap="flat">
                  <a:noFill/>
                  <a:prstDash val="solid"/>
                  <a:miter/>
                </a:ln>
              </p:spPr>
              <p:txBody>
                <a:bodyPr rtlCol="0" anchor="ctr"/>
                <a:lstStyle/>
                <a:p>
                  <a:endParaRPr lang="en-GB"/>
                </a:p>
              </p:txBody>
            </p:sp>
            <p:sp>
              <p:nvSpPr>
                <p:cNvPr id="5093" name="Vrije vorm: vorm 5092">
                  <a:extLst>
                    <a:ext uri="{FF2B5EF4-FFF2-40B4-BE49-F238E27FC236}">
                      <a16:creationId xmlns:a16="http://schemas.microsoft.com/office/drawing/2014/main" id="{C8A3204F-2A77-46C0-AB1F-98AEBC450312}"/>
                    </a:ext>
                  </a:extLst>
                </p:cNvPr>
                <p:cNvSpPr/>
                <p:nvPr/>
              </p:nvSpPr>
              <p:spPr>
                <a:xfrm>
                  <a:off x="7928101" y="3281579"/>
                  <a:ext cx="18347" cy="18406"/>
                </a:xfrm>
                <a:custGeom>
                  <a:avLst/>
                  <a:gdLst>
                    <a:gd name="connsiteX0" fmla="*/ 9832 w 18347"/>
                    <a:gd name="connsiteY0" fmla="*/ 18384 h 18406"/>
                    <a:gd name="connsiteX1" fmla="*/ 23 w 18347"/>
                    <a:gd name="connsiteY1" fmla="*/ 9831 h 18406"/>
                    <a:gd name="connsiteX2" fmla="*/ 8516 w 18347"/>
                    <a:gd name="connsiteY2" fmla="*/ 23 h 18406"/>
                    <a:gd name="connsiteX3" fmla="*/ 18324 w 18347"/>
                    <a:gd name="connsiteY3" fmla="*/ 8576 h 18406"/>
                    <a:gd name="connsiteX4" fmla="*/ 9832 w 18347"/>
                    <a:gd name="connsiteY4" fmla="*/ 18384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6">
                      <a:moveTo>
                        <a:pt x="9832" y="18384"/>
                      </a:moveTo>
                      <a:cubicBezTo>
                        <a:pt x="4807" y="18743"/>
                        <a:pt x="382" y="14855"/>
                        <a:pt x="23" y="9831"/>
                      </a:cubicBezTo>
                      <a:cubicBezTo>
                        <a:pt x="-336" y="4808"/>
                        <a:pt x="3492" y="382"/>
                        <a:pt x="8516" y="23"/>
                      </a:cubicBezTo>
                      <a:cubicBezTo>
                        <a:pt x="13540" y="-336"/>
                        <a:pt x="17966" y="3552"/>
                        <a:pt x="18324" y="8576"/>
                      </a:cubicBezTo>
                      <a:cubicBezTo>
                        <a:pt x="18683" y="13659"/>
                        <a:pt x="14915" y="18085"/>
                        <a:pt x="9832" y="18384"/>
                      </a:cubicBezTo>
                      <a:close/>
                    </a:path>
                  </a:pathLst>
                </a:custGeom>
                <a:grpFill/>
                <a:ln w="5978" cap="flat">
                  <a:noFill/>
                  <a:prstDash val="solid"/>
                  <a:miter/>
                </a:ln>
              </p:spPr>
              <p:txBody>
                <a:bodyPr rtlCol="0" anchor="ctr"/>
                <a:lstStyle/>
                <a:p>
                  <a:endParaRPr lang="en-GB"/>
                </a:p>
              </p:txBody>
            </p:sp>
            <p:sp>
              <p:nvSpPr>
                <p:cNvPr id="5094" name="Vrije vorm: vorm 5093">
                  <a:extLst>
                    <a:ext uri="{FF2B5EF4-FFF2-40B4-BE49-F238E27FC236}">
                      <a16:creationId xmlns:a16="http://schemas.microsoft.com/office/drawing/2014/main" id="{4C3C3967-CD1C-464C-9E95-A72F04E7E4CB}"/>
                    </a:ext>
                  </a:extLst>
                </p:cNvPr>
                <p:cNvSpPr/>
                <p:nvPr/>
              </p:nvSpPr>
              <p:spPr>
                <a:xfrm>
                  <a:off x="7940601" y="3280742"/>
                  <a:ext cx="18347" cy="18407"/>
                </a:xfrm>
                <a:custGeom>
                  <a:avLst/>
                  <a:gdLst>
                    <a:gd name="connsiteX0" fmla="*/ 9832 w 18347"/>
                    <a:gd name="connsiteY0" fmla="*/ 18384 h 18407"/>
                    <a:gd name="connsiteX1" fmla="*/ 18325 w 18347"/>
                    <a:gd name="connsiteY1" fmla="*/ 8576 h 18407"/>
                    <a:gd name="connsiteX2" fmla="*/ 8516 w 18347"/>
                    <a:gd name="connsiteY2" fmla="*/ 23 h 18407"/>
                    <a:gd name="connsiteX3" fmla="*/ 23 w 18347"/>
                    <a:gd name="connsiteY3" fmla="*/ 9832 h 18407"/>
                    <a:gd name="connsiteX4" fmla="*/ 9832 w 18347"/>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9832" y="18384"/>
                      </a:moveTo>
                      <a:cubicBezTo>
                        <a:pt x="14855" y="18025"/>
                        <a:pt x="18683" y="13659"/>
                        <a:pt x="18325" y="8576"/>
                      </a:cubicBezTo>
                      <a:cubicBezTo>
                        <a:pt x="17966" y="3492"/>
                        <a:pt x="13600" y="-336"/>
                        <a:pt x="8516" y="23"/>
                      </a:cubicBezTo>
                      <a:cubicBezTo>
                        <a:pt x="3492" y="382"/>
                        <a:pt x="-336" y="4748"/>
                        <a:pt x="23" y="9832"/>
                      </a:cubicBezTo>
                      <a:cubicBezTo>
                        <a:pt x="442" y="14915"/>
                        <a:pt x="4808" y="18743"/>
                        <a:pt x="9832" y="18384"/>
                      </a:cubicBezTo>
                      <a:close/>
                    </a:path>
                  </a:pathLst>
                </a:custGeom>
                <a:grpFill/>
                <a:ln w="5978" cap="flat">
                  <a:noFill/>
                  <a:prstDash val="solid"/>
                  <a:miter/>
                </a:ln>
              </p:spPr>
              <p:txBody>
                <a:bodyPr rtlCol="0" anchor="ctr"/>
                <a:lstStyle/>
                <a:p>
                  <a:endParaRPr lang="en-GB"/>
                </a:p>
              </p:txBody>
            </p:sp>
          </p:grpSp>
          <p:grpSp>
            <p:nvGrpSpPr>
              <p:cNvPr id="95" name="Graphic 3">
                <a:extLst>
                  <a:ext uri="{FF2B5EF4-FFF2-40B4-BE49-F238E27FC236}">
                    <a16:creationId xmlns:a16="http://schemas.microsoft.com/office/drawing/2014/main" id="{ABD83C8E-CB18-4C05-A78D-341CAD101516}"/>
                  </a:ext>
                </a:extLst>
              </p:cNvPr>
              <p:cNvGrpSpPr/>
              <p:nvPr/>
            </p:nvGrpSpPr>
            <p:grpSpPr>
              <a:xfrm>
                <a:off x="7952276" y="3315084"/>
                <a:ext cx="33752" cy="19104"/>
                <a:chOff x="7952276" y="3315084"/>
                <a:chExt cx="33752" cy="19104"/>
              </a:xfrm>
              <a:grpFill/>
            </p:grpSpPr>
            <p:sp>
              <p:nvSpPr>
                <p:cNvPr id="5089" name="Vrije vorm: vorm 5088">
                  <a:extLst>
                    <a:ext uri="{FF2B5EF4-FFF2-40B4-BE49-F238E27FC236}">
                      <a16:creationId xmlns:a16="http://schemas.microsoft.com/office/drawing/2014/main" id="{D8A3806B-D187-4C5F-A835-9FB5035D78C5}"/>
                    </a:ext>
                  </a:extLst>
                </p:cNvPr>
                <p:cNvSpPr/>
                <p:nvPr/>
              </p:nvSpPr>
              <p:spPr>
                <a:xfrm>
                  <a:off x="7960899" y="3322749"/>
                  <a:ext cx="16506" cy="3827"/>
                </a:xfrm>
                <a:custGeom>
                  <a:avLst/>
                  <a:gdLst>
                    <a:gd name="connsiteX0" fmla="*/ 16387 w 16506"/>
                    <a:gd name="connsiteY0" fmla="*/ 0 h 3827"/>
                    <a:gd name="connsiteX1" fmla="*/ 16507 w 16506"/>
                    <a:gd name="connsiteY1" fmla="*/ 3050 h 3827"/>
                    <a:gd name="connsiteX2" fmla="*/ 180 w 16506"/>
                    <a:gd name="connsiteY2" fmla="*/ 3828 h 3827"/>
                    <a:gd name="connsiteX3" fmla="*/ 0 w 16506"/>
                    <a:gd name="connsiteY3" fmla="*/ 778 h 3827"/>
                  </a:gdLst>
                  <a:ahLst/>
                  <a:cxnLst>
                    <a:cxn ang="0">
                      <a:pos x="connsiteX0" y="connsiteY0"/>
                    </a:cxn>
                    <a:cxn ang="0">
                      <a:pos x="connsiteX1" y="connsiteY1"/>
                    </a:cxn>
                    <a:cxn ang="0">
                      <a:pos x="connsiteX2" y="connsiteY2"/>
                    </a:cxn>
                    <a:cxn ang="0">
                      <a:pos x="connsiteX3" y="connsiteY3"/>
                    </a:cxn>
                  </a:cxnLst>
                  <a:rect l="l" t="t" r="r" b="b"/>
                  <a:pathLst>
                    <a:path w="16506" h="3827">
                      <a:moveTo>
                        <a:pt x="16387" y="0"/>
                      </a:moveTo>
                      <a:lnTo>
                        <a:pt x="16507" y="3050"/>
                      </a:lnTo>
                      <a:lnTo>
                        <a:pt x="180" y="3828"/>
                      </a:lnTo>
                      <a:lnTo>
                        <a:pt x="0" y="778"/>
                      </a:lnTo>
                      <a:close/>
                    </a:path>
                  </a:pathLst>
                </a:custGeom>
                <a:grpFill/>
                <a:ln w="5978" cap="flat">
                  <a:noFill/>
                  <a:prstDash val="solid"/>
                  <a:miter/>
                </a:ln>
              </p:spPr>
              <p:txBody>
                <a:bodyPr rtlCol="0" anchor="ctr"/>
                <a:lstStyle/>
                <a:p>
                  <a:endParaRPr lang="en-GB"/>
                </a:p>
              </p:txBody>
            </p:sp>
            <p:sp>
              <p:nvSpPr>
                <p:cNvPr id="5090" name="Vrije vorm: vorm 5089">
                  <a:extLst>
                    <a:ext uri="{FF2B5EF4-FFF2-40B4-BE49-F238E27FC236}">
                      <a16:creationId xmlns:a16="http://schemas.microsoft.com/office/drawing/2014/main" id="{5CBC5A68-7267-45B1-94ED-DE5612161FFA}"/>
                    </a:ext>
                  </a:extLst>
                </p:cNvPr>
                <p:cNvSpPr/>
                <p:nvPr/>
              </p:nvSpPr>
              <p:spPr>
                <a:xfrm>
                  <a:off x="7967706" y="3315084"/>
                  <a:ext cx="18321" cy="18381"/>
                </a:xfrm>
                <a:custGeom>
                  <a:avLst/>
                  <a:gdLst>
                    <a:gd name="connsiteX0" fmla="*/ 8682 w 18321"/>
                    <a:gd name="connsiteY0" fmla="*/ 10 h 18381"/>
                    <a:gd name="connsiteX1" fmla="*/ 18311 w 18321"/>
                    <a:gd name="connsiteY1" fmla="*/ 8742 h 18381"/>
                    <a:gd name="connsiteX2" fmla="*/ 9639 w 18321"/>
                    <a:gd name="connsiteY2" fmla="*/ 18371 h 18381"/>
                    <a:gd name="connsiteX3" fmla="*/ 10 w 18321"/>
                    <a:gd name="connsiteY3" fmla="*/ 9640 h 18381"/>
                    <a:gd name="connsiteX4" fmla="*/ 8682 w 18321"/>
                    <a:gd name="connsiteY4" fmla="*/ 10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8682" y="10"/>
                      </a:moveTo>
                      <a:cubicBezTo>
                        <a:pt x="13706" y="-229"/>
                        <a:pt x="18072" y="3659"/>
                        <a:pt x="18311" y="8742"/>
                      </a:cubicBezTo>
                      <a:cubicBezTo>
                        <a:pt x="18551" y="13826"/>
                        <a:pt x="14663" y="18132"/>
                        <a:pt x="9639" y="18371"/>
                      </a:cubicBezTo>
                      <a:cubicBezTo>
                        <a:pt x="4556" y="18611"/>
                        <a:pt x="249" y="14663"/>
                        <a:pt x="10" y="9640"/>
                      </a:cubicBezTo>
                      <a:cubicBezTo>
                        <a:pt x="-229" y="4556"/>
                        <a:pt x="3659" y="250"/>
                        <a:pt x="8682" y="10"/>
                      </a:cubicBezTo>
                      <a:close/>
                    </a:path>
                  </a:pathLst>
                </a:custGeom>
                <a:grpFill/>
                <a:ln w="5978" cap="flat">
                  <a:noFill/>
                  <a:prstDash val="solid"/>
                  <a:miter/>
                </a:ln>
              </p:spPr>
              <p:txBody>
                <a:bodyPr rtlCol="0" anchor="ctr"/>
                <a:lstStyle/>
                <a:p>
                  <a:endParaRPr lang="en-GB"/>
                </a:p>
              </p:txBody>
            </p:sp>
            <p:sp>
              <p:nvSpPr>
                <p:cNvPr id="5091" name="Vrije vorm: vorm 5090">
                  <a:extLst>
                    <a:ext uri="{FF2B5EF4-FFF2-40B4-BE49-F238E27FC236}">
                      <a16:creationId xmlns:a16="http://schemas.microsoft.com/office/drawing/2014/main" id="{9600C9F8-7AA6-4626-B2D6-B72233E714F1}"/>
                    </a:ext>
                  </a:extLst>
                </p:cNvPr>
                <p:cNvSpPr/>
                <p:nvPr/>
              </p:nvSpPr>
              <p:spPr>
                <a:xfrm>
                  <a:off x="7952276" y="3315801"/>
                  <a:ext cx="18322" cy="18387"/>
                </a:xfrm>
                <a:custGeom>
                  <a:avLst/>
                  <a:gdLst>
                    <a:gd name="connsiteX0" fmla="*/ 8683 w 18322"/>
                    <a:gd name="connsiteY0" fmla="*/ 10 h 18387"/>
                    <a:gd name="connsiteX1" fmla="*/ 11 w 18322"/>
                    <a:gd name="connsiteY1" fmla="*/ 9639 h 18387"/>
                    <a:gd name="connsiteX2" fmla="*/ 9640 w 18322"/>
                    <a:gd name="connsiteY2" fmla="*/ 18371 h 18387"/>
                    <a:gd name="connsiteX3" fmla="*/ 18312 w 18322"/>
                    <a:gd name="connsiteY3" fmla="*/ 8742 h 18387"/>
                    <a:gd name="connsiteX4" fmla="*/ 8683 w 18322"/>
                    <a:gd name="connsiteY4" fmla="*/ 1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87">
                      <a:moveTo>
                        <a:pt x="8683" y="10"/>
                      </a:moveTo>
                      <a:cubicBezTo>
                        <a:pt x="3600" y="250"/>
                        <a:pt x="-228" y="4556"/>
                        <a:pt x="11" y="9639"/>
                      </a:cubicBezTo>
                      <a:cubicBezTo>
                        <a:pt x="250" y="14723"/>
                        <a:pt x="4556" y="18670"/>
                        <a:pt x="9640" y="18371"/>
                      </a:cubicBezTo>
                      <a:cubicBezTo>
                        <a:pt x="14664" y="18132"/>
                        <a:pt x="18551" y="13826"/>
                        <a:pt x="18312" y="8742"/>
                      </a:cubicBezTo>
                      <a:cubicBezTo>
                        <a:pt x="18072" y="3719"/>
                        <a:pt x="13767" y="-229"/>
                        <a:pt x="8683" y="10"/>
                      </a:cubicBezTo>
                      <a:close/>
                    </a:path>
                  </a:pathLst>
                </a:custGeom>
                <a:grpFill/>
                <a:ln w="5978" cap="flat">
                  <a:noFill/>
                  <a:prstDash val="solid"/>
                  <a:miter/>
                </a:ln>
              </p:spPr>
              <p:txBody>
                <a:bodyPr rtlCol="0" anchor="ctr"/>
                <a:lstStyle/>
                <a:p>
                  <a:endParaRPr lang="en-GB"/>
                </a:p>
              </p:txBody>
            </p:sp>
          </p:grpSp>
          <p:grpSp>
            <p:nvGrpSpPr>
              <p:cNvPr id="96" name="Graphic 3">
                <a:extLst>
                  <a:ext uri="{FF2B5EF4-FFF2-40B4-BE49-F238E27FC236}">
                    <a16:creationId xmlns:a16="http://schemas.microsoft.com/office/drawing/2014/main" id="{91DF6AFD-D466-408F-9841-4281DCAC84F2}"/>
                  </a:ext>
                </a:extLst>
              </p:cNvPr>
              <p:cNvGrpSpPr/>
              <p:nvPr/>
            </p:nvGrpSpPr>
            <p:grpSpPr>
              <a:xfrm>
                <a:off x="7738051" y="3326930"/>
                <a:ext cx="474402" cy="35357"/>
                <a:chOff x="7738051" y="3326930"/>
                <a:chExt cx="474402" cy="35357"/>
              </a:xfrm>
              <a:grpFill/>
            </p:grpSpPr>
            <p:sp>
              <p:nvSpPr>
                <p:cNvPr id="5086" name="Vrije vorm: vorm 5085">
                  <a:extLst>
                    <a:ext uri="{FF2B5EF4-FFF2-40B4-BE49-F238E27FC236}">
                      <a16:creationId xmlns:a16="http://schemas.microsoft.com/office/drawing/2014/main" id="{1F110171-D57F-4783-A870-E8A44363D4A3}"/>
                    </a:ext>
                  </a:extLst>
                </p:cNvPr>
                <p:cNvSpPr/>
                <p:nvPr/>
              </p:nvSpPr>
              <p:spPr>
                <a:xfrm>
                  <a:off x="7746729" y="3334591"/>
                  <a:ext cx="457106" cy="20035"/>
                </a:xfrm>
                <a:custGeom>
                  <a:avLst/>
                  <a:gdLst>
                    <a:gd name="connsiteX0" fmla="*/ 457107 w 457106"/>
                    <a:gd name="connsiteY0" fmla="*/ 16985 h 20035"/>
                    <a:gd name="connsiteX1" fmla="*/ 456987 w 457106"/>
                    <a:gd name="connsiteY1" fmla="*/ 20035 h 20035"/>
                    <a:gd name="connsiteX2" fmla="*/ 0 w 457106"/>
                    <a:gd name="connsiteY2" fmla="*/ 3050 h 20035"/>
                    <a:gd name="connsiteX3" fmla="*/ 60 w 457106"/>
                    <a:gd name="connsiteY3" fmla="*/ 0 h 20035"/>
                  </a:gdLst>
                  <a:ahLst/>
                  <a:cxnLst>
                    <a:cxn ang="0">
                      <a:pos x="connsiteX0" y="connsiteY0"/>
                    </a:cxn>
                    <a:cxn ang="0">
                      <a:pos x="connsiteX1" y="connsiteY1"/>
                    </a:cxn>
                    <a:cxn ang="0">
                      <a:pos x="connsiteX2" y="connsiteY2"/>
                    </a:cxn>
                    <a:cxn ang="0">
                      <a:pos x="connsiteX3" y="connsiteY3"/>
                    </a:cxn>
                  </a:cxnLst>
                  <a:rect l="l" t="t" r="r" b="b"/>
                  <a:pathLst>
                    <a:path w="457106" h="20035">
                      <a:moveTo>
                        <a:pt x="457107" y="16985"/>
                      </a:moveTo>
                      <a:lnTo>
                        <a:pt x="456987" y="20035"/>
                      </a:lnTo>
                      <a:lnTo>
                        <a:pt x="0" y="3050"/>
                      </a:lnTo>
                      <a:lnTo>
                        <a:pt x="60" y="0"/>
                      </a:lnTo>
                      <a:close/>
                    </a:path>
                  </a:pathLst>
                </a:custGeom>
                <a:grpFill/>
                <a:ln w="5978" cap="flat">
                  <a:noFill/>
                  <a:prstDash val="solid"/>
                  <a:miter/>
                </a:ln>
              </p:spPr>
              <p:txBody>
                <a:bodyPr rtlCol="0" anchor="ctr"/>
                <a:lstStyle/>
                <a:p>
                  <a:endParaRPr lang="en-GB"/>
                </a:p>
              </p:txBody>
            </p:sp>
            <p:sp>
              <p:nvSpPr>
                <p:cNvPr id="5087" name="Vrije vorm: vorm 5086">
                  <a:extLst>
                    <a:ext uri="{FF2B5EF4-FFF2-40B4-BE49-F238E27FC236}">
                      <a16:creationId xmlns:a16="http://schemas.microsoft.com/office/drawing/2014/main" id="{FD84AE0A-4F69-4936-9470-CC8E66F45638}"/>
                    </a:ext>
                  </a:extLst>
                </p:cNvPr>
                <p:cNvSpPr/>
                <p:nvPr/>
              </p:nvSpPr>
              <p:spPr>
                <a:xfrm>
                  <a:off x="7738051" y="3326930"/>
                  <a:ext cx="18312" cy="18432"/>
                </a:xfrm>
                <a:custGeom>
                  <a:avLst/>
                  <a:gdLst>
                    <a:gd name="connsiteX0" fmla="*/ 8857 w 18312"/>
                    <a:gd name="connsiteY0" fmla="*/ 18426 h 18432"/>
                    <a:gd name="connsiteX1" fmla="*/ 6 w 18312"/>
                    <a:gd name="connsiteY1" fmla="*/ 8857 h 18432"/>
                    <a:gd name="connsiteX2" fmla="*/ 9455 w 18312"/>
                    <a:gd name="connsiteY2" fmla="*/ 6 h 18432"/>
                    <a:gd name="connsiteX3" fmla="*/ 18307 w 18312"/>
                    <a:gd name="connsiteY3" fmla="*/ 9575 h 18432"/>
                    <a:gd name="connsiteX4" fmla="*/ 8857 w 18312"/>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8857" y="18426"/>
                      </a:moveTo>
                      <a:cubicBezTo>
                        <a:pt x="3774" y="18247"/>
                        <a:pt x="-174" y="13941"/>
                        <a:pt x="6" y="8857"/>
                      </a:cubicBezTo>
                      <a:cubicBezTo>
                        <a:pt x="185" y="3774"/>
                        <a:pt x="4432" y="-174"/>
                        <a:pt x="9455" y="6"/>
                      </a:cubicBezTo>
                      <a:cubicBezTo>
                        <a:pt x="14539" y="185"/>
                        <a:pt x="18486" y="4491"/>
                        <a:pt x="18307" y="9575"/>
                      </a:cubicBezTo>
                      <a:cubicBezTo>
                        <a:pt x="18188" y="14659"/>
                        <a:pt x="13941" y="18606"/>
                        <a:pt x="8857" y="18426"/>
                      </a:cubicBezTo>
                      <a:close/>
                    </a:path>
                  </a:pathLst>
                </a:custGeom>
                <a:grpFill/>
                <a:ln w="5978" cap="flat">
                  <a:noFill/>
                  <a:prstDash val="solid"/>
                  <a:miter/>
                </a:ln>
              </p:spPr>
              <p:txBody>
                <a:bodyPr rtlCol="0" anchor="ctr"/>
                <a:lstStyle/>
                <a:p>
                  <a:endParaRPr lang="en-GB"/>
                </a:p>
              </p:txBody>
            </p:sp>
            <p:sp>
              <p:nvSpPr>
                <p:cNvPr id="5088" name="Vrije vorm: vorm 5087">
                  <a:extLst>
                    <a:ext uri="{FF2B5EF4-FFF2-40B4-BE49-F238E27FC236}">
                      <a16:creationId xmlns:a16="http://schemas.microsoft.com/office/drawing/2014/main" id="{E714B5E6-77CA-452A-847B-977974EC4518}"/>
                    </a:ext>
                  </a:extLst>
                </p:cNvPr>
                <p:cNvSpPr/>
                <p:nvPr/>
              </p:nvSpPr>
              <p:spPr>
                <a:xfrm>
                  <a:off x="8194141" y="3343856"/>
                  <a:ext cx="18312" cy="18432"/>
                </a:xfrm>
                <a:custGeom>
                  <a:avLst/>
                  <a:gdLst>
                    <a:gd name="connsiteX0" fmla="*/ 8857 w 18312"/>
                    <a:gd name="connsiteY0" fmla="*/ 18427 h 18432"/>
                    <a:gd name="connsiteX1" fmla="*/ 18307 w 18312"/>
                    <a:gd name="connsiteY1" fmla="*/ 9575 h 18432"/>
                    <a:gd name="connsiteX2" fmla="*/ 9455 w 18312"/>
                    <a:gd name="connsiteY2" fmla="*/ 6 h 18432"/>
                    <a:gd name="connsiteX3" fmla="*/ 6 w 18312"/>
                    <a:gd name="connsiteY3" fmla="*/ 8857 h 18432"/>
                    <a:gd name="connsiteX4" fmla="*/ 8857 w 1831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8857" y="18427"/>
                      </a:moveTo>
                      <a:cubicBezTo>
                        <a:pt x="13941" y="18606"/>
                        <a:pt x="18128" y="14659"/>
                        <a:pt x="18307" y="9575"/>
                      </a:cubicBezTo>
                      <a:cubicBezTo>
                        <a:pt x="18486" y="4491"/>
                        <a:pt x="14480" y="245"/>
                        <a:pt x="9455" y="6"/>
                      </a:cubicBezTo>
                      <a:cubicBezTo>
                        <a:pt x="4372" y="-174"/>
                        <a:pt x="185" y="3774"/>
                        <a:pt x="6" y="8857"/>
                      </a:cubicBezTo>
                      <a:cubicBezTo>
                        <a:pt x="-174" y="13941"/>
                        <a:pt x="3774" y="18247"/>
                        <a:pt x="8857" y="18427"/>
                      </a:cubicBezTo>
                      <a:close/>
                    </a:path>
                  </a:pathLst>
                </a:custGeom>
                <a:grpFill/>
                <a:ln w="5978" cap="flat">
                  <a:noFill/>
                  <a:prstDash val="solid"/>
                  <a:miter/>
                </a:ln>
              </p:spPr>
              <p:txBody>
                <a:bodyPr rtlCol="0" anchor="ctr"/>
                <a:lstStyle/>
                <a:p>
                  <a:endParaRPr lang="en-GB"/>
                </a:p>
              </p:txBody>
            </p:sp>
          </p:grpSp>
          <p:grpSp>
            <p:nvGrpSpPr>
              <p:cNvPr id="98" name="Graphic 3">
                <a:extLst>
                  <a:ext uri="{FF2B5EF4-FFF2-40B4-BE49-F238E27FC236}">
                    <a16:creationId xmlns:a16="http://schemas.microsoft.com/office/drawing/2014/main" id="{02B5C88B-3873-43BA-9692-EE59F31F68A9}"/>
                  </a:ext>
                </a:extLst>
              </p:cNvPr>
              <p:cNvGrpSpPr/>
              <p:nvPr/>
            </p:nvGrpSpPr>
            <p:grpSpPr>
              <a:xfrm>
                <a:off x="7602155" y="2719099"/>
                <a:ext cx="355893" cy="109598"/>
                <a:chOff x="7602155" y="2719099"/>
                <a:chExt cx="355893" cy="109598"/>
              </a:xfrm>
              <a:grpFill/>
            </p:grpSpPr>
            <p:sp>
              <p:nvSpPr>
                <p:cNvPr id="5083" name="Vrije vorm: vorm 5082">
                  <a:extLst>
                    <a:ext uri="{FF2B5EF4-FFF2-40B4-BE49-F238E27FC236}">
                      <a16:creationId xmlns:a16="http://schemas.microsoft.com/office/drawing/2014/main" id="{6F714CD7-0C4D-435C-B764-F1B66334F869}"/>
                    </a:ext>
                  </a:extLst>
                </p:cNvPr>
                <p:cNvSpPr/>
                <p:nvPr/>
              </p:nvSpPr>
              <p:spPr>
                <a:xfrm>
                  <a:off x="7610194" y="2726445"/>
                  <a:ext cx="339322" cy="94063"/>
                </a:xfrm>
                <a:custGeom>
                  <a:avLst/>
                  <a:gdLst>
                    <a:gd name="connsiteX0" fmla="*/ 0 w 339322"/>
                    <a:gd name="connsiteY0" fmla="*/ 91118 h 94063"/>
                    <a:gd name="connsiteX1" fmla="*/ 338529 w 339322"/>
                    <a:gd name="connsiteY1" fmla="*/ 0 h 94063"/>
                    <a:gd name="connsiteX2" fmla="*/ 339322 w 339322"/>
                    <a:gd name="connsiteY2" fmla="*/ 2945 h 94063"/>
                    <a:gd name="connsiteX3" fmla="*/ 793 w 339322"/>
                    <a:gd name="connsiteY3" fmla="*/ 94064 h 94063"/>
                  </a:gdLst>
                  <a:ahLst/>
                  <a:cxnLst>
                    <a:cxn ang="0">
                      <a:pos x="connsiteX0" y="connsiteY0"/>
                    </a:cxn>
                    <a:cxn ang="0">
                      <a:pos x="connsiteX1" y="connsiteY1"/>
                    </a:cxn>
                    <a:cxn ang="0">
                      <a:pos x="connsiteX2" y="connsiteY2"/>
                    </a:cxn>
                    <a:cxn ang="0">
                      <a:pos x="connsiteX3" y="connsiteY3"/>
                    </a:cxn>
                  </a:cxnLst>
                  <a:rect l="l" t="t" r="r" b="b"/>
                  <a:pathLst>
                    <a:path w="339322" h="94063">
                      <a:moveTo>
                        <a:pt x="0" y="91118"/>
                      </a:moveTo>
                      <a:lnTo>
                        <a:pt x="338529" y="0"/>
                      </a:lnTo>
                      <a:lnTo>
                        <a:pt x="339322" y="2945"/>
                      </a:lnTo>
                      <a:lnTo>
                        <a:pt x="793" y="94064"/>
                      </a:lnTo>
                      <a:close/>
                    </a:path>
                  </a:pathLst>
                </a:custGeom>
                <a:grpFill/>
                <a:ln w="5978" cap="flat">
                  <a:noFill/>
                  <a:prstDash val="solid"/>
                  <a:miter/>
                </a:ln>
              </p:spPr>
              <p:txBody>
                <a:bodyPr rtlCol="0" anchor="ctr"/>
                <a:lstStyle/>
                <a:p>
                  <a:endParaRPr lang="en-GB"/>
                </a:p>
              </p:txBody>
            </p:sp>
            <p:sp>
              <p:nvSpPr>
                <p:cNvPr id="5084" name="Vrije vorm: vorm 5083">
                  <a:extLst>
                    <a:ext uri="{FF2B5EF4-FFF2-40B4-BE49-F238E27FC236}">
                      <a16:creationId xmlns:a16="http://schemas.microsoft.com/office/drawing/2014/main" id="{E63B50A6-318E-4F86-B47F-EECB7842F0ED}"/>
                    </a:ext>
                  </a:extLst>
                </p:cNvPr>
                <p:cNvSpPr/>
                <p:nvPr/>
              </p:nvSpPr>
              <p:spPr>
                <a:xfrm>
                  <a:off x="7602155" y="2810246"/>
                  <a:ext cx="18317" cy="18452"/>
                </a:xfrm>
                <a:custGeom>
                  <a:avLst/>
                  <a:gdLst>
                    <a:gd name="connsiteX0" fmla="*/ 11563 w 18317"/>
                    <a:gd name="connsiteY0" fmla="*/ 18137 h 18452"/>
                    <a:gd name="connsiteX1" fmla="*/ 319 w 18317"/>
                    <a:gd name="connsiteY1" fmla="*/ 11618 h 18452"/>
                    <a:gd name="connsiteX2" fmla="*/ 6779 w 18317"/>
                    <a:gd name="connsiteY2" fmla="*/ 315 h 18452"/>
                    <a:gd name="connsiteX3" fmla="*/ 18022 w 18317"/>
                    <a:gd name="connsiteY3" fmla="*/ 6834 h 18452"/>
                    <a:gd name="connsiteX4" fmla="*/ 11563 w 18317"/>
                    <a:gd name="connsiteY4" fmla="*/ 181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2">
                      <a:moveTo>
                        <a:pt x="11563" y="18137"/>
                      </a:moveTo>
                      <a:cubicBezTo>
                        <a:pt x="6659" y="19453"/>
                        <a:pt x="1635" y="16523"/>
                        <a:pt x="319" y="11618"/>
                      </a:cubicBezTo>
                      <a:cubicBezTo>
                        <a:pt x="-997" y="6714"/>
                        <a:pt x="1874" y="1631"/>
                        <a:pt x="6779" y="315"/>
                      </a:cubicBezTo>
                      <a:cubicBezTo>
                        <a:pt x="11683" y="-1001"/>
                        <a:pt x="16706" y="1930"/>
                        <a:pt x="18022" y="6834"/>
                      </a:cubicBezTo>
                      <a:cubicBezTo>
                        <a:pt x="19278" y="11798"/>
                        <a:pt x="16408" y="16821"/>
                        <a:pt x="11563" y="18137"/>
                      </a:cubicBezTo>
                      <a:close/>
                    </a:path>
                  </a:pathLst>
                </a:custGeom>
                <a:grpFill/>
                <a:ln w="5978" cap="flat">
                  <a:noFill/>
                  <a:prstDash val="solid"/>
                  <a:miter/>
                </a:ln>
              </p:spPr>
              <p:txBody>
                <a:bodyPr rtlCol="0" anchor="ctr"/>
                <a:lstStyle/>
                <a:p>
                  <a:endParaRPr lang="en-GB"/>
                </a:p>
              </p:txBody>
            </p:sp>
            <p:sp>
              <p:nvSpPr>
                <p:cNvPr id="5085" name="Vrije vorm: vorm 5084">
                  <a:extLst>
                    <a:ext uri="{FF2B5EF4-FFF2-40B4-BE49-F238E27FC236}">
                      <a16:creationId xmlns:a16="http://schemas.microsoft.com/office/drawing/2014/main" id="{0B1AF42C-8FE3-4D5F-8BCA-B4A6D3871F30}"/>
                    </a:ext>
                  </a:extLst>
                </p:cNvPr>
                <p:cNvSpPr/>
                <p:nvPr/>
              </p:nvSpPr>
              <p:spPr>
                <a:xfrm>
                  <a:off x="7939707" y="2719099"/>
                  <a:ext cx="18340" cy="18456"/>
                </a:xfrm>
                <a:custGeom>
                  <a:avLst/>
                  <a:gdLst>
                    <a:gd name="connsiteX0" fmla="*/ 11563 w 18340"/>
                    <a:gd name="connsiteY0" fmla="*/ 18137 h 18456"/>
                    <a:gd name="connsiteX1" fmla="*/ 18022 w 18340"/>
                    <a:gd name="connsiteY1" fmla="*/ 6834 h 18456"/>
                    <a:gd name="connsiteX2" fmla="*/ 6778 w 18340"/>
                    <a:gd name="connsiteY2" fmla="*/ 315 h 18456"/>
                    <a:gd name="connsiteX3" fmla="*/ 319 w 18340"/>
                    <a:gd name="connsiteY3" fmla="*/ 11618 h 18456"/>
                    <a:gd name="connsiteX4" fmla="*/ 11563 w 18340"/>
                    <a:gd name="connsiteY4" fmla="*/ 1813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56">
                      <a:moveTo>
                        <a:pt x="11563" y="18137"/>
                      </a:moveTo>
                      <a:cubicBezTo>
                        <a:pt x="16467" y="16822"/>
                        <a:pt x="19337" y="11738"/>
                        <a:pt x="18022" y="6834"/>
                      </a:cubicBezTo>
                      <a:cubicBezTo>
                        <a:pt x="16706" y="1930"/>
                        <a:pt x="11623" y="-1001"/>
                        <a:pt x="6778" y="315"/>
                      </a:cubicBezTo>
                      <a:cubicBezTo>
                        <a:pt x="1874" y="1631"/>
                        <a:pt x="-997" y="6714"/>
                        <a:pt x="319" y="11618"/>
                      </a:cubicBezTo>
                      <a:cubicBezTo>
                        <a:pt x="1635" y="16582"/>
                        <a:pt x="6658" y="19453"/>
                        <a:pt x="11563" y="18137"/>
                      </a:cubicBezTo>
                      <a:close/>
                    </a:path>
                  </a:pathLst>
                </a:custGeom>
                <a:grpFill/>
                <a:ln w="5978" cap="flat">
                  <a:noFill/>
                  <a:prstDash val="solid"/>
                  <a:miter/>
                </a:ln>
              </p:spPr>
              <p:txBody>
                <a:bodyPr rtlCol="0" anchor="ctr"/>
                <a:lstStyle/>
                <a:p>
                  <a:endParaRPr lang="en-GB"/>
                </a:p>
              </p:txBody>
            </p:sp>
          </p:grpSp>
          <p:grpSp>
            <p:nvGrpSpPr>
              <p:cNvPr id="99" name="Graphic 3">
                <a:extLst>
                  <a:ext uri="{FF2B5EF4-FFF2-40B4-BE49-F238E27FC236}">
                    <a16:creationId xmlns:a16="http://schemas.microsoft.com/office/drawing/2014/main" id="{C974A6D4-F965-4012-910C-48232D4D797A}"/>
                  </a:ext>
                </a:extLst>
              </p:cNvPr>
              <p:cNvGrpSpPr/>
              <p:nvPr/>
            </p:nvGrpSpPr>
            <p:grpSpPr>
              <a:xfrm>
                <a:off x="7375720" y="2121379"/>
                <a:ext cx="452731" cy="297884"/>
                <a:chOff x="7375720" y="2121379"/>
                <a:chExt cx="452731" cy="297884"/>
              </a:xfrm>
              <a:grpFill/>
            </p:grpSpPr>
            <p:sp>
              <p:nvSpPr>
                <p:cNvPr id="5080" name="Vrije vorm: vorm 5079">
                  <a:extLst>
                    <a:ext uri="{FF2B5EF4-FFF2-40B4-BE49-F238E27FC236}">
                      <a16:creationId xmlns:a16="http://schemas.microsoft.com/office/drawing/2014/main" id="{5E2EB155-BD00-4467-AA2B-47F97F40CAA8}"/>
                    </a:ext>
                  </a:extLst>
                </p:cNvPr>
                <p:cNvSpPr/>
                <p:nvPr/>
              </p:nvSpPr>
              <p:spPr>
                <a:xfrm>
                  <a:off x="7383699" y="2129057"/>
                  <a:ext cx="436772" cy="282529"/>
                </a:xfrm>
                <a:custGeom>
                  <a:avLst/>
                  <a:gdLst>
                    <a:gd name="connsiteX0" fmla="*/ 436772 w 436772"/>
                    <a:gd name="connsiteY0" fmla="*/ 2572 h 282529"/>
                    <a:gd name="connsiteX1" fmla="*/ 1675 w 436772"/>
                    <a:gd name="connsiteY1" fmla="*/ 282529 h 282529"/>
                    <a:gd name="connsiteX2" fmla="*/ 0 w 436772"/>
                    <a:gd name="connsiteY2" fmla="*/ 279958 h 282529"/>
                    <a:gd name="connsiteX3" fmla="*/ 435157 w 436772"/>
                    <a:gd name="connsiteY3" fmla="*/ 0 h 282529"/>
                  </a:gdLst>
                  <a:ahLst/>
                  <a:cxnLst>
                    <a:cxn ang="0">
                      <a:pos x="connsiteX0" y="connsiteY0"/>
                    </a:cxn>
                    <a:cxn ang="0">
                      <a:pos x="connsiteX1" y="connsiteY1"/>
                    </a:cxn>
                    <a:cxn ang="0">
                      <a:pos x="connsiteX2" y="connsiteY2"/>
                    </a:cxn>
                    <a:cxn ang="0">
                      <a:pos x="connsiteX3" y="connsiteY3"/>
                    </a:cxn>
                  </a:cxnLst>
                  <a:rect l="l" t="t" r="r" b="b"/>
                  <a:pathLst>
                    <a:path w="436772" h="282529">
                      <a:moveTo>
                        <a:pt x="436772" y="2572"/>
                      </a:moveTo>
                      <a:lnTo>
                        <a:pt x="1675" y="282529"/>
                      </a:lnTo>
                      <a:lnTo>
                        <a:pt x="0" y="279958"/>
                      </a:lnTo>
                      <a:lnTo>
                        <a:pt x="435157" y="0"/>
                      </a:lnTo>
                      <a:close/>
                    </a:path>
                  </a:pathLst>
                </a:custGeom>
                <a:grpFill/>
                <a:ln w="5978" cap="flat">
                  <a:noFill/>
                  <a:prstDash val="solid"/>
                  <a:miter/>
                </a:ln>
              </p:spPr>
              <p:txBody>
                <a:bodyPr rtlCol="0" anchor="ctr"/>
                <a:lstStyle/>
                <a:p>
                  <a:endParaRPr lang="en-GB"/>
                </a:p>
              </p:txBody>
            </p:sp>
            <p:sp>
              <p:nvSpPr>
                <p:cNvPr id="5081" name="Vrije vorm: vorm 5080">
                  <a:extLst>
                    <a:ext uri="{FF2B5EF4-FFF2-40B4-BE49-F238E27FC236}">
                      <a16:creationId xmlns:a16="http://schemas.microsoft.com/office/drawing/2014/main" id="{3C555208-D2BD-4147-A47B-9E0AAB846E72}"/>
                    </a:ext>
                  </a:extLst>
                </p:cNvPr>
                <p:cNvSpPr/>
                <p:nvPr/>
              </p:nvSpPr>
              <p:spPr>
                <a:xfrm>
                  <a:off x="7375720" y="2400799"/>
                  <a:ext cx="18351" cy="18465"/>
                </a:xfrm>
                <a:custGeom>
                  <a:avLst/>
                  <a:gdLst>
                    <a:gd name="connsiteX0" fmla="*/ 14140 w 18351"/>
                    <a:gd name="connsiteY0" fmla="*/ 17008 h 18465"/>
                    <a:gd name="connsiteX1" fmla="*/ 1461 w 18351"/>
                    <a:gd name="connsiteY1" fmla="*/ 14197 h 18465"/>
                    <a:gd name="connsiteX2" fmla="*/ 4212 w 18351"/>
                    <a:gd name="connsiteY2" fmla="*/ 1458 h 18465"/>
                    <a:gd name="connsiteX3" fmla="*/ 16891 w 18351"/>
                    <a:gd name="connsiteY3" fmla="*/ 4269 h 18465"/>
                    <a:gd name="connsiteX4" fmla="*/ 14140 w 18351"/>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14140" y="17008"/>
                      </a:moveTo>
                      <a:cubicBezTo>
                        <a:pt x="9893" y="19759"/>
                        <a:pt x="4212" y="18503"/>
                        <a:pt x="1461" y="14197"/>
                      </a:cubicBezTo>
                      <a:cubicBezTo>
                        <a:pt x="-1291" y="9891"/>
                        <a:pt x="-34" y="4209"/>
                        <a:pt x="4212" y="1458"/>
                      </a:cubicBezTo>
                      <a:cubicBezTo>
                        <a:pt x="8458" y="-1293"/>
                        <a:pt x="14140" y="-37"/>
                        <a:pt x="16891" y="4269"/>
                      </a:cubicBezTo>
                      <a:cubicBezTo>
                        <a:pt x="19642" y="8575"/>
                        <a:pt x="18386" y="14257"/>
                        <a:pt x="14140" y="17008"/>
                      </a:cubicBezTo>
                      <a:close/>
                    </a:path>
                  </a:pathLst>
                </a:custGeom>
                <a:grpFill/>
                <a:ln w="5978" cap="flat">
                  <a:noFill/>
                  <a:prstDash val="solid"/>
                  <a:miter/>
                </a:ln>
              </p:spPr>
              <p:txBody>
                <a:bodyPr rtlCol="0" anchor="ctr"/>
                <a:lstStyle/>
                <a:p>
                  <a:endParaRPr lang="en-GB"/>
                </a:p>
              </p:txBody>
            </p:sp>
            <p:sp>
              <p:nvSpPr>
                <p:cNvPr id="5082" name="Vrije vorm: vorm 5081">
                  <a:extLst>
                    <a:ext uri="{FF2B5EF4-FFF2-40B4-BE49-F238E27FC236}">
                      <a16:creationId xmlns:a16="http://schemas.microsoft.com/office/drawing/2014/main" id="{A291648F-BA5C-426E-96A0-2F142B0CE55F}"/>
                    </a:ext>
                  </a:extLst>
                </p:cNvPr>
                <p:cNvSpPr/>
                <p:nvPr/>
              </p:nvSpPr>
              <p:spPr>
                <a:xfrm>
                  <a:off x="7810099" y="2121379"/>
                  <a:ext cx="18351" cy="18465"/>
                </a:xfrm>
                <a:custGeom>
                  <a:avLst/>
                  <a:gdLst>
                    <a:gd name="connsiteX0" fmla="*/ 14140 w 18351"/>
                    <a:gd name="connsiteY0" fmla="*/ 17008 h 18465"/>
                    <a:gd name="connsiteX1" fmla="*/ 16891 w 18351"/>
                    <a:gd name="connsiteY1" fmla="*/ 4269 h 18465"/>
                    <a:gd name="connsiteX2" fmla="*/ 4212 w 18351"/>
                    <a:gd name="connsiteY2" fmla="*/ 1458 h 18465"/>
                    <a:gd name="connsiteX3" fmla="*/ 1461 w 18351"/>
                    <a:gd name="connsiteY3" fmla="*/ 14197 h 18465"/>
                    <a:gd name="connsiteX4" fmla="*/ 14140 w 18351"/>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14140" y="17008"/>
                      </a:moveTo>
                      <a:cubicBezTo>
                        <a:pt x="18386" y="14257"/>
                        <a:pt x="19642" y="8575"/>
                        <a:pt x="16891" y="4269"/>
                      </a:cubicBezTo>
                      <a:cubicBezTo>
                        <a:pt x="14140" y="-37"/>
                        <a:pt x="8458" y="-1293"/>
                        <a:pt x="4212" y="1458"/>
                      </a:cubicBezTo>
                      <a:cubicBezTo>
                        <a:pt x="-34" y="4209"/>
                        <a:pt x="-1291" y="9891"/>
                        <a:pt x="1461" y="14197"/>
                      </a:cubicBezTo>
                      <a:cubicBezTo>
                        <a:pt x="4212" y="18503"/>
                        <a:pt x="9893" y="19759"/>
                        <a:pt x="14140" y="17008"/>
                      </a:cubicBezTo>
                      <a:close/>
                    </a:path>
                  </a:pathLst>
                </a:custGeom>
                <a:grpFill/>
                <a:ln w="5978" cap="flat">
                  <a:noFill/>
                  <a:prstDash val="solid"/>
                  <a:miter/>
                </a:ln>
              </p:spPr>
              <p:txBody>
                <a:bodyPr rtlCol="0" anchor="ctr"/>
                <a:lstStyle/>
                <a:p>
                  <a:endParaRPr lang="en-GB"/>
                </a:p>
              </p:txBody>
            </p:sp>
          </p:grpSp>
          <p:grpSp>
            <p:nvGrpSpPr>
              <p:cNvPr id="100" name="Graphic 3">
                <a:extLst>
                  <a:ext uri="{FF2B5EF4-FFF2-40B4-BE49-F238E27FC236}">
                    <a16:creationId xmlns:a16="http://schemas.microsoft.com/office/drawing/2014/main" id="{A1A29C6B-C2B1-413E-A53A-C0683BBCBC45}"/>
                  </a:ext>
                </a:extLst>
              </p:cNvPr>
              <p:cNvGrpSpPr/>
              <p:nvPr/>
            </p:nvGrpSpPr>
            <p:grpSpPr>
              <a:xfrm>
                <a:off x="7695140" y="2606763"/>
                <a:ext cx="60844" cy="38583"/>
                <a:chOff x="7695140" y="2606763"/>
                <a:chExt cx="60844" cy="38583"/>
              </a:xfrm>
              <a:grpFill/>
            </p:grpSpPr>
            <p:sp>
              <p:nvSpPr>
                <p:cNvPr id="5077" name="Vrije vorm: vorm 5076">
                  <a:extLst>
                    <a:ext uri="{FF2B5EF4-FFF2-40B4-BE49-F238E27FC236}">
                      <a16:creationId xmlns:a16="http://schemas.microsoft.com/office/drawing/2014/main" id="{BD02A4F7-666B-4AF0-BCDF-AC73CC979FE5}"/>
                    </a:ext>
                  </a:extLst>
                </p:cNvPr>
                <p:cNvSpPr/>
                <p:nvPr/>
              </p:nvSpPr>
              <p:spPr>
                <a:xfrm>
                  <a:off x="7703054" y="2614361"/>
                  <a:ext cx="44710" cy="23306"/>
                </a:xfrm>
                <a:custGeom>
                  <a:avLst/>
                  <a:gdLst>
                    <a:gd name="connsiteX0" fmla="*/ 0 w 44710"/>
                    <a:gd name="connsiteY0" fmla="*/ 20550 h 23306"/>
                    <a:gd name="connsiteX1" fmla="*/ 43405 w 44710"/>
                    <a:gd name="connsiteY1" fmla="*/ 0 h 23306"/>
                    <a:gd name="connsiteX2" fmla="*/ 44711 w 44710"/>
                    <a:gd name="connsiteY2" fmla="*/ 2757 h 23306"/>
                    <a:gd name="connsiteX3" fmla="*/ 1305 w 44710"/>
                    <a:gd name="connsiteY3" fmla="*/ 23307 h 23306"/>
                  </a:gdLst>
                  <a:ahLst/>
                  <a:cxnLst>
                    <a:cxn ang="0">
                      <a:pos x="connsiteX0" y="connsiteY0"/>
                    </a:cxn>
                    <a:cxn ang="0">
                      <a:pos x="connsiteX1" y="connsiteY1"/>
                    </a:cxn>
                    <a:cxn ang="0">
                      <a:pos x="connsiteX2" y="connsiteY2"/>
                    </a:cxn>
                    <a:cxn ang="0">
                      <a:pos x="connsiteX3" y="connsiteY3"/>
                    </a:cxn>
                  </a:cxnLst>
                  <a:rect l="l" t="t" r="r" b="b"/>
                  <a:pathLst>
                    <a:path w="44710" h="23306">
                      <a:moveTo>
                        <a:pt x="0" y="20550"/>
                      </a:moveTo>
                      <a:lnTo>
                        <a:pt x="43405" y="0"/>
                      </a:lnTo>
                      <a:lnTo>
                        <a:pt x="44711" y="2757"/>
                      </a:lnTo>
                      <a:lnTo>
                        <a:pt x="1305" y="23307"/>
                      </a:lnTo>
                      <a:close/>
                    </a:path>
                  </a:pathLst>
                </a:custGeom>
                <a:grpFill/>
                <a:ln w="5978" cap="flat">
                  <a:noFill/>
                  <a:prstDash val="solid"/>
                  <a:miter/>
                </a:ln>
              </p:spPr>
              <p:txBody>
                <a:bodyPr rtlCol="0" anchor="ctr"/>
                <a:lstStyle/>
                <a:p>
                  <a:endParaRPr lang="en-GB"/>
                </a:p>
              </p:txBody>
            </p:sp>
            <p:sp>
              <p:nvSpPr>
                <p:cNvPr id="5078" name="Vrije vorm: vorm 5077">
                  <a:extLst>
                    <a:ext uri="{FF2B5EF4-FFF2-40B4-BE49-F238E27FC236}">
                      <a16:creationId xmlns:a16="http://schemas.microsoft.com/office/drawing/2014/main" id="{0C65B4EA-9CD8-49FD-B916-671340D4E2D6}"/>
                    </a:ext>
                  </a:extLst>
                </p:cNvPr>
                <p:cNvSpPr/>
                <p:nvPr/>
              </p:nvSpPr>
              <p:spPr>
                <a:xfrm>
                  <a:off x="7737663" y="2606763"/>
                  <a:ext cx="18321" cy="18428"/>
                </a:xfrm>
                <a:custGeom>
                  <a:avLst/>
                  <a:gdLst>
                    <a:gd name="connsiteX0" fmla="*/ 5238 w 18321"/>
                    <a:gd name="connsiteY0" fmla="*/ 871 h 18428"/>
                    <a:gd name="connsiteX1" fmla="*/ 17439 w 18321"/>
                    <a:gd name="connsiteY1" fmla="*/ 5297 h 18428"/>
                    <a:gd name="connsiteX2" fmla="*/ 13073 w 18321"/>
                    <a:gd name="connsiteY2" fmla="*/ 17557 h 18428"/>
                    <a:gd name="connsiteX3" fmla="*/ 872 w 18321"/>
                    <a:gd name="connsiteY3" fmla="*/ 13132 h 18428"/>
                    <a:gd name="connsiteX4" fmla="*/ 5238 w 1832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5238" y="871"/>
                      </a:moveTo>
                      <a:cubicBezTo>
                        <a:pt x="9783" y="-1282"/>
                        <a:pt x="15286" y="692"/>
                        <a:pt x="17439" y="5297"/>
                      </a:cubicBezTo>
                      <a:cubicBezTo>
                        <a:pt x="19592" y="9902"/>
                        <a:pt x="17678" y="15404"/>
                        <a:pt x="13073" y="17557"/>
                      </a:cubicBezTo>
                      <a:cubicBezTo>
                        <a:pt x="8528" y="19711"/>
                        <a:pt x="3025" y="17737"/>
                        <a:pt x="872" y="13132"/>
                      </a:cubicBezTo>
                      <a:cubicBezTo>
                        <a:pt x="-1281" y="8527"/>
                        <a:pt x="693" y="3024"/>
                        <a:pt x="5238" y="871"/>
                      </a:cubicBezTo>
                      <a:close/>
                    </a:path>
                  </a:pathLst>
                </a:custGeom>
                <a:grpFill/>
                <a:ln w="5978" cap="flat">
                  <a:noFill/>
                  <a:prstDash val="solid"/>
                  <a:miter/>
                </a:ln>
              </p:spPr>
              <p:txBody>
                <a:bodyPr rtlCol="0" anchor="ctr"/>
                <a:lstStyle/>
                <a:p>
                  <a:endParaRPr lang="en-GB"/>
                </a:p>
              </p:txBody>
            </p:sp>
            <p:sp>
              <p:nvSpPr>
                <p:cNvPr id="5079" name="Vrije vorm: vorm 5078">
                  <a:extLst>
                    <a:ext uri="{FF2B5EF4-FFF2-40B4-BE49-F238E27FC236}">
                      <a16:creationId xmlns:a16="http://schemas.microsoft.com/office/drawing/2014/main" id="{01D715B4-24B8-486B-BD18-027087608F76}"/>
                    </a:ext>
                  </a:extLst>
                </p:cNvPr>
                <p:cNvSpPr/>
                <p:nvPr/>
              </p:nvSpPr>
              <p:spPr>
                <a:xfrm>
                  <a:off x="7695140" y="2626893"/>
                  <a:ext cx="18311" cy="18454"/>
                </a:xfrm>
                <a:custGeom>
                  <a:avLst/>
                  <a:gdLst>
                    <a:gd name="connsiteX0" fmla="*/ 5238 w 18311"/>
                    <a:gd name="connsiteY0" fmla="*/ 897 h 18454"/>
                    <a:gd name="connsiteX1" fmla="*/ 872 w 18311"/>
                    <a:gd name="connsiteY1" fmla="*/ 13158 h 18454"/>
                    <a:gd name="connsiteX2" fmla="*/ 13073 w 18311"/>
                    <a:gd name="connsiteY2" fmla="*/ 17583 h 18454"/>
                    <a:gd name="connsiteX3" fmla="*/ 17439 w 18311"/>
                    <a:gd name="connsiteY3" fmla="*/ 5323 h 18454"/>
                    <a:gd name="connsiteX4" fmla="*/ 5238 w 18311"/>
                    <a:gd name="connsiteY4" fmla="*/ 89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4">
                      <a:moveTo>
                        <a:pt x="5238" y="897"/>
                      </a:moveTo>
                      <a:cubicBezTo>
                        <a:pt x="693" y="3050"/>
                        <a:pt x="-1281" y="8552"/>
                        <a:pt x="872" y="13158"/>
                      </a:cubicBezTo>
                      <a:cubicBezTo>
                        <a:pt x="3025" y="17763"/>
                        <a:pt x="8528" y="19736"/>
                        <a:pt x="13073" y="17583"/>
                      </a:cubicBezTo>
                      <a:cubicBezTo>
                        <a:pt x="17619" y="15430"/>
                        <a:pt x="19592" y="9928"/>
                        <a:pt x="17439" y="5323"/>
                      </a:cubicBezTo>
                      <a:cubicBezTo>
                        <a:pt x="15286" y="718"/>
                        <a:pt x="9784" y="-1316"/>
                        <a:pt x="5238" y="897"/>
                      </a:cubicBezTo>
                      <a:close/>
                    </a:path>
                  </a:pathLst>
                </a:custGeom>
                <a:grpFill/>
                <a:ln w="5978" cap="flat">
                  <a:noFill/>
                  <a:prstDash val="solid"/>
                  <a:miter/>
                </a:ln>
              </p:spPr>
              <p:txBody>
                <a:bodyPr rtlCol="0" anchor="ctr"/>
                <a:lstStyle/>
                <a:p>
                  <a:endParaRPr lang="en-GB"/>
                </a:p>
              </p:txBody>
            </p:sp>
          </p:grpSp>
          <p:grpSp>
            <p:nvGrpSpPr>
              <p:cNvPr id="101" name="Graphic 3">
                <a:extLst>
                  <a:ext uri="{FF2B5EF4-FFF2-40B4-BE49-F238E27FC236}">
                    <a16:creationId xmlns:a16="http://schemas.microsoft.com/office/drawing/2014/main" id="{53810108-B5ED-46DD-B40A-EE22B3029CF6}"/>
                  </a:ext>
                </a:extLst>
              </p:cNvPr>
              <p:cNvGrpSpPr/>
              <p:nvPr/>
            </p:nvGrpSpPr>
            <p:grpSpPr>
              <a:xfrm>
                <a:off x="7864402" y="3075899"/>
                <a:ext cx="28882" cy="20386"/>
                <a:chOff x="7864402" y="3075899"/>
                <a:chExt cx="28882" cy="20386"/>
              </a:xfrm>
              <a:grpFill/>
            </p:grpSpPr>
            <p:sp>
              <p:nvSpPr>
                <p:cNvPr id="5075" name="Vrije vorm: vorm 5074">
                  <a:extLst>
                    <a:ext uri="{FF2B5EF4-FFF2-40B4-BE49-F238E27FC236}">
                      <a16:creationId xmlns:a16="http://schemas.microsoft.com/office/drawing/2014/main" id="{C83AAFA2-14E3-4BC3-9E3F-FB022B7E9BA2}"/>
                    </a:ext>
                  </a:extLst>
                </p:cNvPr>
                <p:cNvSpPr/>
                <p:nvPr/>
              </p:nvSpPr>
              <p:spPr>
                <a:xfrm>
                  <a:off x="7874988" y="3075899"/>
                  <a:ext cx="18296" cy="18412"/>
                </a:xfrm>
                <a:custGeom>
                  <a:avLst/>
                  <a:gdLst>
                    <a:gd name="connsiteX0" fmla="*/ 10793 w 18296"/>
                    <a:gd name="connsiteY0" fmla="*/ 18267 h 18412"/>
                    <a:gd name="connsiteX1" fmla="*/ 147 w 18296"/>
                    <a:gd name="connsiteY1" fmla="*/ 10851 h 18412"/>
                    <a:gd name="connsiteX2" fmla="*/ 7504 w 18296"/>
                    <a:gd name="connsiteY2" fmla="*/ 145 h 18412"/>
                    <a:gd name="connsiteX3" fmla="*/ 18150 w 18296"/>
                    <a:gd name="connsiteY3" fmla="*/ 7562 h 18412"/>
                    <a:gd name="connsiteX4" fmla="*/ 10793 w 18296"/>
                    <a:gd name="connsiteY4" fmla="*/ 1826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2">
                      <a:moveTo>
                        <a:pt x="10793" y="18267"/>
                      </a:moveTo>
                      <a:cubicBezTo>
                        <a:pt x="5829" y="19164"/>
                        <a:pt x="1044" y="15815"/>
                        <a:pt x="147" y="10851"/>
                      </a:cubicBezTo>
                      <a:cubicBezTo>
                        <a:pt x="-750" y="5827"/>
                        <a:pt x="2539" y="1042"/>
                        <a:pt x="7504" y="145"/>
                      </a:cubicBezTo>
                      <a:cubicBezTo>
                        <a:pt x="12467" y="-752"/>
                        <a:pt x="17252" y="2598"/>
                        <a:pt x="18150" y="7562"/>
                      </a:cubicBezTo>
                      <a:cubicBezTo>
                        <a:pt x="19046" y="12585"/>
                        <a:pt x="15757" y="17370"/>
                        <a:pt x="10793" y="18267"/>
                      </a:cubicBezTo>
                      <a:close/>
                    </a:path>
                  </a:pathLst>
                </a:custGeom>
                <a:grpFill/>
                <a:ln w="5978" cap="flat">
                  <a:noFill/>
                  <a:prstDash val="solid"/>
                  <a:miter/>
                </a:ln>
              </p:spPr>
              <p:txBody>
                <a:bodyPr rtlCol="0" anchor="ctr"/>
                <a:lstStyle/>
                <a:p>
                  <a:endParaRPr lang="en-GB"/>
                </a:p>
              </p:txBody>
            </p:sp>
            <p:sp>
              <p:nvSpPr>
                <p:cNvPr id="5076" name="Vrije vorm: vorm 5075">
                  <a:extLst>
                    <a:ext uri="{FF2B5EF4-FFF2-40B4-BE49-F238E27FC236}">
                      <a16:creationId xmlns:a16="http://schemas.microsoft.com/office/drawing/2014/main" id="{0F183801-7D0D-4F28-9035-15458B679A2A}"/>
                    </a:ext>
                  </a:extLst>
                </p:cNvPr>
                <p:cNvSpPr/>
                <p:nvPr/>
              </p:nvSpPr>
              <p:spPr>
                <a:xfrm>
                  <a:off x="7864402" y="3077871"/>
                  <a:ext cx="18296" cy="18414"/>
                </a:xfrm>
                <a:custGeom>
                  <a:avLst/>
                  <a:gdLst>
                    <a:gd name="connsiteX0" fmla="*/ 10793 w 18296"/>
                    <a:gd name="connsiteY0" fmla="*/ 18269 h 18414"/>
                    <a:gd name="connsiteX1" fmla="*/ 18149 w 18296"/>
                    <a:gd name="connsiteY1" fmla="*/ 7563 h 18414"/>
                    <a:gd name="connsiteX2" fmla="*/ 7504 w 18296"/>
                    <a:gd name="connsiteY2" fmla="*/ 147 h 18414"/>
                    <a:gd name="connsiteX3" fmla="*/ 147 w 18296"/>
                    <a:gd name="connsiteY3" fmla="*/ 10853 h 18414"/>
                    <a:gd name="connsiteX4" fmla="*/ 10793 w 18296"/>
                    <a:gd name="connsiteY4" fmla="*/ 18269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4">
                      <a:moveTo>
                        <a:pt x="10793" y="18269"/>
                      </a:moveTo>
                      <a:cubicBezTo>
                        <a:pt x="15757" y="17372"/>
                        <a:pt x="19046" y="12587"/>
                        <a:pt x="18149" y="7563"/>
                      </a:cubicBezTo>
                      <a:cubicBezTo>
                        <a:pt x="17252" y="2540"/>
                        <a:pt x="12467" y="-750"/>
                        <a:pt x="7504" y="147"/>
                      </a:cubicBezTo>
                      <a:cubicBezTo>
                        <a:pt x="2540" y="1044"/>
                        <a:pt x="-750" y="5829"/>
                        <a:pt x="147" y="10853"/>
                      </a:cubicBezTo>
                      <a:cubicBezTo>
                        <a:pt x="1045" y="15817"/>
                        <a:pt x="5829" y="19166"/>
                        <a:pt x="10793" y="18269"/>
                      </a:cubicBezTo>
                      <a:close/>
                    </a:path>
                  </a:pathLst>
                </a:custGeom>
                <a:grpFill/>
                <a:ln w="5978" cap="flat">
                  <a:noFill/>
                  <a:prstDash val="solid"/>
                  <a:miter/>
                </a:ln>
              </p:spPr>
              <p:txBody>
                <a:bodyPr rtlCol="0" anchor="ctr"/>
                <a:lstStyle/>
                <a:p>
                  <a:endParaRPr lang="en-GB"/>
                </a:p>
              </p:txBody>
            </p:sp>
          </p:grpSp>
          <p:grpSp>
            <p:nvGrpSpPr>
              <p:cNvPr id="102" name="Graphic 3">
                <a:extLst>
                  <a:ext uri="{FF2B5EF4-FFF2-40B4-BE49-F238E27FC236}">
                    <a16:creationId xmlns:a16="http://schemas.microsoft.com/office/drawing/2014/main" id="{DFDC470A-D1D7-4967-9EB2-C2D60B00DBC9}"/>
                  </a:ext>
                </a:extLst>
              </p:cNvPr>
              <p:cNvGrpSpPr/>
              <p:nvPr/>
            </p:nvGrpSpPr>
            <p:grpSpPr>
              <a:xfrm>
                <a:off x="7452012" y="2148512"/>
                <a:ext cx="273848" cy="212101"/>
                <a:chOff x="7452012" y="2148512"/>
                <a:chExt cx="273848" cy="212101"/>
              </a:xfrm>
              <a:grpFill/>
            </p:grpSpPr>
            <p:sp>
              <p:nvSpPr>
                <p:cNvPr id="5072" name="Vrije vorm: vorm 5071">
                  <a:extLst>
                    <a:ext uri="{FF2B5EF4-FFF2-40B4-BE49-F238E27FC236}">
                      <a16:creationId xmlns:a16="http://schemas.microsoft.com/office/drawing/2014/main" id="{5221D5DD-73BF-42DD-89D3-88207B5BAB13}"/>
                    </a:ext>
                  </a:extLst>
                </p:cNvPr>
                <p:cNvSpPr/>
                <p:nvPr/>
              </p:nvSpPr>
              <p:spPr>
                <a:xfrm>
                  <a:off x="7459894" y="2156210"/>
                  <a:ext cx="258068" cy="196646"/>
                </a:xfrm>
                <a:custGeom>
                  <a:avLst/>
                  <a:gdLst>
                    <a:gd name="connsiteX0" fmla="*/ 258068 w 258068"/>
                    <a:gd name="connsiteY0" fmla="*/ 2452 h 196646"/>
                    <a:gd name="connsiteX1" fmla="*/ 1795 w 258068"/>
                    <a:gd name="connsiteY1" fmla="*/ 196646 h 196646"/>
                    <a:gd name="connsiteX2" fmla="*/ 0 w 258068"/>
                    <a:gd name="connsiteY2" fmla="*/ 194194 h 196646"/>
                    <a:gd name="connsiteX3" fmla="*/ 256214 w 258068"/>
                    <a:gd name="connsiteY3" fmla="*/ 0 h 196646"/>
                  </a:gdLst>
                  <a:ahLst/>
                  <a:cxnLst>
                    <a:cxn ang="0">
                      <a:pos x="connsiteX0" y="connsiteY0"/>
                    </a:cxn>
                    <a:cxn ang="0">
                      <a:pos x="connsiteX1" y="connsiteY1"/>
                    </a:cxn>
                    <a:cxn ang="0">
                      <a:pos x="connsiteX2" y="connsiteY2"/>
                    </a:cxn>
                    <a:cxn ang="0">
                      <a:pos x="connsiteX3" y="connsiteY3"/>
                    </a:cxn>
                  </a:cxnLst>
                  <a:rect l="l" t="t" r="r" b="b"/>
                  <a:pathLst>
                    <a:path w="258068" h="196646">
                      <a:moveTo>
                        <a:pt x="258068" y="2452"/>
                      </a:moveTo>
                      <a:lnTo>
                        <a:pt x="1795" y="196646"/>
                      </a:lnTo>
                      <a:lnTo>
                        <a:pt x="0" y="194194"/>
                      </a:lnTo>
                      <a:lnTo>
                        <a:pt x="256214" y="0"/>
                      </a:lnTo>
                      <a:close/>
                    </a:path>
                  </a:pathLst>
                </a:custGeom>
                <a:grpFill/>
                <a:ln w="5978" cap="flat">
                  <a:noFill/>
                  <a:prstDash val="solid"/>
                  <a:miter/>
                </a:ln>
              </p:spPr>
              <p:txBody>
                <a:bodyPr rtlCol="0" anchor="ctr"/>
                <a:lstStyle/>
                <a:p>
                  <a:endParaRPr lang="en-GB"/>
                </a:p>
              </p:txBody>
            </p:sp>
            <p:sp>
              <p:nvSpPr>
                <p:cNvPr id="5073" name="Vrije vorm: vorm 5072">
                  <a:extLst>
                    <a:ext uri="{FF2B5EF4-FFF2-40B4-BE49-F238E27FC236}">
                      <a16:creationId xmlns:a16="http://schemas.microsoft.com/office/drawing/2014/main" id="{394A2FF2-417B-4C50-8843-DABA8D4CFAA9}"/>
                    </a:ext>
                  </a:extLst>
                </p:cNvPr>
                <p:cNvSpPr/>
                <p:nvPr/>
              </p:nvSpPr>
              <p:spPr>
                <a:xfrm>
                  <a:off x="7707509" y="2148512"/>
                  <a:ext cx="18352" cy="18445"/>
                </a:xfrm>
                <a:custGeom>
                  <a:avLst/>
                  <a:gdLst>
                    <a:gd name="connsiteX0" fmla="*/ 3635 w 18352"/>
                    <a:gd name="connsiteY0" fmla="*/ 1837 h 18445"/>
                    <a:gd name="connsiteX1" fmla="*/ 16494 w 18352"/>
                    <a:gd name="connsiteY1" fmla="*/ 3691 h 18445"/>
                    <a:gd name="connsiteX2" fmla="*/ 14699 w 18352"/>
                    <a:gd name="connsiteY2" fmla="*/ 16609 h 18445"/>
                    <a:gd name="connsiteX3" fmla="*/ 1841 w 18352"/>
                    <a:gd name="connsiteY3" fmla="*/ 14755 h 18445"/>
                    <a:gd name="connsiteX4" fmla="*/ 3635 w 18352"/>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45">
                      <a:moveTo>
                        <a:pt x="3635" y="1837"/>
                      </a:moveTo>
                      <a:cubicBezTo>
                        <a:pt x="7643" y="-1213"/>
                        <a:pt x="13444" y="-376"/>
                        <a:pt x="16494" y="3691"/>
                      </a:cubicBezTo>
                      <a:cubicBezTo>
                        <a:pt x="19544" y="7758"/>
                        <a:pt x="18767" y="13559"/>
                        <a:pt x="14699" y="16609"/>
                      </a:cubicBezTo>
                      <a:cubicBezTo>
                        <a:pt x="10693" y="19659"/>
                        <a:pt x="4891" y="18822"/>
                        <a:pt x="1841" y="14755"/>
                      </a:cubicBezTo>
                      <a:cubicBezTo>
                        <a:pt x="-1209" y="10688"/>
                        <a:pt x="-372" y="4887"/>
                        <a:pt x="3635" y="1837"/>
                      </a:cubicBezTo>
                      <a:close/>
                    </a:path>
                  </a:pathLst>
                </a:custGeom>
                <a:grpFill/>
                <a:ln w="5978" cap="flat">
                  <a:noFill/>
                  <a:prstDash val="solid"/>
                  <a:miter/>
                </a:ln>
              </p:spPr>
              <p:txBody>
                <a:bodyPr rtlCol="0" anchor="ctr"/>
                <a:lstStyle/>
                <a:p>
                  <a:endParaRPr lang="en-GB"/>
                </a:p>
              </p:txBody>
            </p:sp>
            <p:sp>
              <p:nvSpPr>
                <p:cNvPr id="5074" name="Vrije vorm: vorm 5073">
                  <a:extLst>
                    <a:ext uri="{FF2B5EF4-FFF2-40B4-BE49-F238E27FC236}">
                      <a16:creationId xmlns:a16="http://schemas.microsoft.com/office/drawing/2014/main" id="{316E427E-3B25-4A9A-81A9-9078F520ED89}"/>
                    </a:ext>
                  </a:extLst>
                </p:cNvPr>
                <p:cNvSpPr/>
                <p:nvPr/>
              </p:nvSpPr>
              <p:spPr>
                <a:xfrm>
                  <a:off x="7452012" y="2342168"/>
                  <a:ext cx="18334" cy="18445"/>
                </a:xfrm>
                <a:custGeom>
                  <a:avLst/>
                  <a:gdLst>
                    <a:gd name="connsiteX0" fmla="*/ 3635 w 18334"/>
                    <a:gd name="connsiteY0" fmla="*/ 1837 h 18445"/>
                    <a:gd name="connsiteX1" fmla="*/ 1841 w 18334"/>
                    <a:gd name="connsiteY1" fmla="*/ 14755 h 18445"/>
                    <a:gd name="connsiteX2" fmla="*/ 14699 w 18334"/>
                    <a:gd name="connsiteY2" fmla="*/ 16609 h 18445"/>
                    <a:gd name="connsiteX3" fmla="*/ 16494 w 18334"/>
                    <a:gd name="connsiteY3" fmla="*/ 3691 h 18445"/>
                    <a:gd name="connsiteX4" fmla="*/ 3635 w 18334"/>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5">
                      <a:moveTo>
                        <a:pt x="3635" y="1837"/>
                      </a:moveTo>
                      <a:cubicBezTo>
                        <a:pt x="-372" y="4887"/>
                        <a:pt x="-1209" y="10688"/>
                        <a:pt x="1841" y="14755"/>
                      </a:cubicBezTo>
                      <a:cubicBezTo>
                        <a:pt x="4891" y="18822"/>
                        <a:pt x="10632" y="19659"/>
                        <a:pt x="14699" y="16609"/>
                      </a:cubicBezTo>
                      <a:cubicBezTo>
                        <a:pt x="18707" y="13559"/>
                        <a:pt x="19543" y="7758"/>
                        <a:pt x="16494" y="3691"/>
                      </a:cubicBezTo>
                      <a:cubicBezTo>
                        <a:pt x="13384" y="-376"/>
                        <a:pt x="7642" y="-1213"/>
                        <a:pt x="3635" y="1837"/>
                      </a:cubicBezTo>
                      <a:close/>
                    </a:path>
                  </a:pathLst>
                </a:custGeom>
                <a:grpFill/>
                <a:ln w="5978" cap="flat">
                  <a:noFill/>
                  <a:prstDash val="solid"/>
                  <a:miter/>
                </a:ln>
              </p:spPr>
              <p:txBody>
                <a:bodyPr rtlCol="0" anchor="ctr"/>
                <a:lstStyle/>
                <a:p>
                  <a:endParaRPr lang="en-GB"/>
                </a:p>
              </p:txBody>
            </p:sp>
          </p:grpSp>
          <p:grpSp>
            <p:nvGrpSpPr>
              <p:cNvPr id="103" name="Graphic 3">
                <a:extLst>
                  <a:ext uri="{FF2B5EF4-FFF2-40B4-BE49-F238E27FC236}">
                    <a16:creationId xmlns:a16="http://schemas.microsoft.com/office/drawing/2014/main" id="{940CAD2D-B21C-4256-9D85-8EBDA6F2B3AA}"/>
                  </a:ext>
                </a:extLst>
              </p:cNvPr>
              <p:cNvGrpSpPr/>
              <p:nvPr/>
            </p:nvGrpSpPr>
            <p:grpSpPr>
              <a:xfrm>
                <a:off x="8031272" y="3685806"/>
                <a:ext cx="95505" cy="29251"/>
                <a:chOff x="8031272" y="3685806"/>
                <a:chExt cx="95505" cy="29251"/>
              </a:xfrm>
              <a:grpFill/>
            </p:grpSpPr>
            <p:sp>
              <p:nvSpPr>
                <p:cNvPr id="5069" name="Vrije vorm: vorm 5068">
                  <a:extLst>
                    <a:ext uri="{FF2B5EF4-FFF2-40B4-BE49-F238E27FC236}">
                      <a16:creationId xmlns:a16="http://schemas.microsoft.com/office/drawing/2014/main" id="{F266F7A4-4EFF-4213-AB80-848087D21BD7}"/>
                    </a:ext>
                  </a:extLst>
                </p:cNvPr>
                <p:cNvSpPr/>
                <p:nvPr/>
              </p:nvSpPr>
              <p:spPr>
                <a:xfrm>
                  <a:off x="8039784" y="3693435"/>
                  <a:ext cx="78467" cy="13994"/>
                </a:xfrm>
                <a:custGeom>
                  <a:avLst/>
                  <a:gdLst>
                    <a:gd name="connsiteX0" fmla="*/ 78467 w 78467"/>
                    <a:gd name="connsiteY0" fmla="*/ 10945 h 13994"/>
                    <a:gd name="connsiteX1" fmla="*/ 78049 w 78467"/>
                    <a:gd name="connsiteY1" fmla="*/ 13995 h 13994"/>
                    <a:gd name="connsiteX2" fmla="*/ 0 w 78467"/>
                    <a:gd name="connsiteY2" fmla="*/ 3050 h 13994"/>
                    <a:gd name="connsiteX3" fmla="*/ 419 w 78467"/>
                    <a:gd name="connsiteY3" fmla="*/ 0 h 13994"/>
                  </a:gdLst>
                  <a:ahLst/>
                  <a:cxnLst>
                    <a:cxn ang="0">
                      <a:pos x="connsiteX0" y="connsiteY0"/>
                    </a:cxn>
                    <a:cxn ang="0">
                      <a:pos x="connsiteX1" y="connsiteY1"/>
                    </a:cxn>
                    <a:cxn ang="0">
                      <a:pos x="connsiteX2" y="connsiteY2"/>
                    </a:cxn>
                    <a:cxn ang="0">
                      <a:pos x="connsiteX3" y="connsiteY3"/>
                    </a:cxn>
                  </a:cxnLst>
                  <a:rect l="l" t="t" r="r" b="b"/>
                  <a:pathLst>
                    <a:path w="78467" h="13994">
                      <a:moveTo>
                        <a:pt x="78467" y="10945"/>
                      </a:moveTo>
                      <a:lnTo>
                        <a:pt x="78049" y="13995"/>
                      </a:lnTo>
                      <a:lnTo>
                        <a:pt x="0" y="3050"/>
                      </a:lnTo>
                      <a:lnTo>
                        <a:pt x="419" y="0"/>
                      </a:lnTo>
                      <a:close/>
                    </a:path>
                  </a:pathLst>
                </a:custGeom>
                <a:grpFill/>
                <a:ln w="5978" cap="flat">
                  <a:noFill/>
                  <a:prstDash val="solid"/>
                  <a:miter/>
                </a:ln>
              </p:spPr>
              <p:txBody>
                <a:bodyPr rtlCol="0" anchor="ctr"/>
                <a:lstStyle/>
                <a:p>
                  <a:endParaRPr lang="en-GB"/>
                </a:p>
              </p:txBody>
            </p:sp>
            <p:sp>
              <p:nvSpPr>
                <p:cNvPr id="5070" name="Vrije vorm: vorm 5069">
                  <a:extLst>
                    <a:ext uri="{FF2B5EF4-FFF2-40B4-BE49-F238E27FC236}">
                      <a16:creationId xmlns:a16="http://schemas.microsoft.com/office/drawing/2014/main" id="{A13944D7-F824-45D9-B255-A22B938F5942}"/>
                    </a:ext>
                  </a:extLst>
                </p:cNvPr>
                <p:cNvSpPr/>
                <p:nvPr/>
              </p:nvSpPr>
              <p:spPr>
                <a:xfrm>
                  <a:off x="8108470" y="3696631"/>
                  <a:ext cx="18307" cy="18426"/>
                </a:xfrm>
                <a:custGeom>
                  <a:avLst/>
                  <a:gdLst>
                    <a:gd name="connsiteX0" fmla="*/ 10380 w 18307"/>
                    <a:gd name="connsiteY0" fmla="*/ 93 h 18426"/>
                    <a:gd name="connsiteX1" fmla="*/ 18214 w 18307"/>
                    <a:gd name="connsiteY1" fmla="*/ 10499 h 18426"/>
                    <a:gd name="connsiteX2" fmla="*/ 7928 w 18307"/>
                    <a:gd name="connsiteY2" fmla="*/ 18334 h 18426"/>
                    <a:gd name="connsiteX3" fmla="*/ 93 w 18307"/>
                    <a:gd name="connsiteY3" fmla="*/ 7927 h 18426"/>
                    <a:gd name="connsiteX4" fmla="*/ 10380 w 18307"/>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10380" y="93"/>
                      </a:moveTo>
                      <a:cubicBezTo>
                        <a:pt x="15404" y="810"/>
                        <a:pt x="18932" y="5475"/>
                        <a:pt x="18214" y="10499"/>
                      </a:cubicBezTo>
                      <a:cubicBezTo>
                        <a:pt x="17557" y="15523"/>
                        <a:pt x="12892" y="19052"/>
                        <a:pt x="7928" y="18334"/>
                      </a:cubicBezTo>
                      <a:cubicBezTo>
                        <a:pt x="2904" y="17616"/>
                        <a:pt x="-625" y="12951"/>
                        <a:pt x="93" y="7927"/>
                      </a:cubicBezTo>
                      <a:cubicBezTo>
                        <a:pt x="691" y="2904"/>
                        <a:pt x="5356" y="-625"/>
                        <a:pt x="10380" y="93"/>
                      </a:cubicBezTo>
                      <a:close/>
                    </a:path>
                  </a:pathLst>
                </a:custGeom>
                <a:grpFill/>
                <a:ln w="5978" cap="flat">
                  <a:noFill/>
                  <a:prstDash val="solid"/>
                  <a:miter/>
                </a:ln>
              </p:spPr>
              <p:txBody>
                <a:bodyPr rtlCol="0" anchor="ctr"/>
                <a:lstStyle/>
                <a:p>
                  <a:endParaRPr lang="en-GB"/>
                </a:p>
              </p:txBody>
            </p:sp>
            <p:sp>
              <p:nvSpPr>
                <p:cNvPr id="5071" name="Vrije vorm: vorm 5070">
                  <a:extLst>
                    <a:ext uri="{FF2B5EF4-FFF2-40B4-BE49-F238E27FC236}">
                      <a16:creationId xmlns:a16="http://schemas.microsoft.com/office/drawing/2014/main" id="{3EBD3C4D-C3CE-4BA6-9E4B-44E5D03F5AD2}"/>
                    </a:ext>
                  </a:extLst>
                </p:cNvPr>
                <p:cNvSpPr/>
                <p:nvPr/>
              </p:nvSpPr>
              <p:spPr>
                <a:xfrm>
                  <a:off x="8031272" y="3685806"/>
                  <a:ext cx="18293" cy="18426"/>
                </a:xfrm>
                <a:custGeom>
                  <a:avLst/>
                  <a:gdLst>
                    <a:gd name="connsiteX0" fmla="*/ 10367 w 18293"/>
                    <a:gd name="connsiteY0" fmla="*/ 93 h 18426"/>
                    <a:gd name="connsiteX1" fmla="*/ 80 w 18293"/>
                    <a:gd name="connsiteY1" fmla="*/ 7927 h 18426"/>
                    <a:gd name="connsiteX2" fmla="*/ 7914 w 18293"/>
                    <a:gd name="connsiteY2" fmla="*/ 18334 h 18426"/>
                    <a:gd name="connsiteX3" fmla="*/ 18201 w 18293"/>
                    <a:gd name="connsiteY3" fmla="*/ 10499 h 18426"/>
                    <a:gd name="connsiteX4" fmla="*/ 10367 w 18293"/>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26">
                      <a:moveTo>
                        <a:pt x="10367" y="93"/>
                      </a:moveTo>
                      <a:cubicBezTo>
                        <a:pt x="5343" y="-625"/>
                        <a:pt x="738" y="2904"/>
                        <a:pt x="80" y="7927"/>
                      </a:cubicBezTo>
                      <a:cubicBezTo>
                        <a:pt x="-578" y="12951"/>
                        <a:pt x="2891" y="17616"/>
                        <a:pt x="7914" y="18334"/>
                      </a:cubicBezTo>
                      <a:cubicBezTo>
                        <a:pt x="12938" y="19052"/>
                        <a:pt x="17543" y="15523"/>
                        <a:pt x="18201" y="10499"/>
                      </a:cubicBezTo>
                      <a:cubicBezTo>
                        <a:pt x="18919" y="5475"/>
                        <a:pt x="15390" y="810"/>
                        <a:pt x="10367" y="93"/>
                      </a:cubicBezTo>
                      <a:close/>
                    </a:path>
                  </a:pathLst>
                </a:custGeom>
                <a:grpFill/>
                <a:ln w="5978" cap="flat">
                  <a:noFill/>
                  <a:prstDash val="solid"/>
                  <a:miter/>
                </a:ln>
              </p:spPr>
              <p:txBody>
                <a:bodyPr rtlCol="0" anchor="ctr"/>
                <a:lstStyle/>
                <a:p>
                  <a:endParaRPr lang="en-GB"/>
                </a:p>
              </p:txBody>
            </p:sp>
          </p:grpSp>
          <p:grpSp>
            <p:nvGrpSpPr>
              <p:cNvPr id="104" name="Graphic 3">
                <a:extLst>
                  <a:ext uri="{FF2B5EF4-FFF2-40B4-BE49-F238E27FC236}">
                    <a16:creationId xmlns:a16="http://schemas.microsoft.com/office/drawing/2014/main" id="{105B12C5-219B-43CB-93A4-EF2534198E62}"/>
                  </a:ext>
                </a:extLst>
              </p:cNvPr>
              <p:cNvGrpSpPr/>
              <p:nvPr/>
            </p:nvGrpSpPr>
            <p:grpSpPr>
              <a:xfrm>
                <a:off x="7700928" y="2679868"/>
                <a:ext cx="62810" cy="37432"/>
                <a:chOff x="7700928" y="2679868"/>
                <a:chExt cx="62810" cy="37432"/>
              </a:xfrm>
              <a:grpFill/>
            </p:grpSpPr>
            <p:sp>
              <p:nvSpPr>
                <p:cNvPr id="5066" name="Vrije vorm: vorm 5065">
                  <a:extLst>
                    <a:ext uri="{FF2B5EF4-FFF2-40B4-BE49-F238E27FC236}">
                      <a16:creationId xmlns:a16="http://schemas.microsoft.com/office/drawing/2014/main" id="{AC6CCE11-DC95-49EF-98FE-BF61B9504386}"/>
                    </a:ext>
                  </a:extLst>
                </p:cNvPr>
                <p:cNvSpPr/>
                <p:nvPr/>
              </p:nvSpPr>
              <p:spPr>
                <a:xfrm>
                  <a:off x="7709051" y="2687477"/>
                  <a:ext cx="46530" cy="22248"/>
                </a:xfrm>
                <a:custGeom>
                  <a:avLst/>
                  <a:gdLst>
                    <a:gd name="connsiteX0" fmla="*/ 46530 w 46530"/>
                    <a:gd name="connsiteY0" fmla="*/ 2811 h 22248"/>
                    <a:gd name="connsiteX1" fmla="*/ 1196 w 46530"/>
                    <a:gd name="connsiteY1" fmla="*/ 22248 h 22248"/>
                    <a:gd name="connsiteX2" fmla="*/ 0 w 46530"/>
                    <a:gd name="connsiteY2" fmla="*/ 19378 h 22248"/>
                    <a:gd name="connsiteX3" fmla="*/ 45334 w 46530"/>
                    <a:gd name="connsiteY3" fmla="*/ 0 h 22248"/>
                  </a:gdLst>
                  <a:ahLst/>
                  <a:cxnLst>
                    <a:cxn ang="0">
                      <a:pos x="connsiteX0" y="connsiteY0"/>
                    </a:cxn>
                    <a:cxn ang="0">
                      <a:pos x="connsiteX1" y="connsiteY1"/>
                    </a:cxn>
                    <a:cxn ang="0">
                      <a:pos x="connsiteX2" y="connsiteY2"/>
                    </a:cxn>
                    <a:cxn ang="0">
                      <a:pos x="connsiteX3" y="connsiteY3"/>
                    </a:cxn>
                  </a:cxnLst>
                  <a:rect l="l" t="t" r="r" b="b"/>
                  <a:pathLst>
                    <a:path w="46530" h="22248">
                      <a:moveTo>
                        <a:pt x="46530" y="2811"/>
                      </a:moveTo>
                      <a:lnTo>
                        <a:pt x="1196" y="22248"/>
                      </a:lnTo>
                      <a:lnTo>
                        <a:pt x="0" y="19378"/>
                      </a:lnTo>
                      <a:lnTo>
                        <a:pt x="45334" y="0"/>
                      </a:lnTo>
                      <a:close/>
                    </a:path>
                  </a:pathLst>
                </a:custGeom>
                <a:grpFill/>
                <a:ln w="5978" cap="flat">
                  <a:noFill/>
                  <a:prstDash val="solid"/>
                  <a:miter/>
                </a:ln>
              </p:spPr>
              <p:txBody>
                <a:bodyPr rtlCol="0" anchor="ctr"/>
                <a:lstStyle/>
                <a:p>
                  <a:endParaRPr lang="en-GB"/>
                </a:p>
              </p:txBody>
            </p:sp>
            <p:sp>
              <p:nvSpPr>
                <p:cNvPr id="5067" name="Vrije vorm: vorm 5066">
                  <a:extLst>
                    <a:ext uri="{FF2B5EF4-FFF2-40B4-BE49-F238E27FC236}">
                      <a16:creationId xmlns:a16="http://schemas.microsoft.com/office/drawing/2014/main" id="{C40102BB-7F39-461B-85D2-006DCF4FF500}"/>
                    </a:ext>
                  </a:extLst>
                </p:cNvPr>
                <p:cNvSpPr/>
                <p:nvPr/>
              </p:nvSpPr>
              <p:spPr>
                <a:xfrm>
                  <a:off x="7745424" y="2679868"/>
                  <a:ext cx="18313" cy="18388"/>
                </a:xfrm>
                <a:custGeom>
                  <a:avLst/>
                  <a:gdLst>
                    <a:gd name="connsiteX0" fmla="*/ 5551 w 18313"/>
                    <a:gd name="connsiteY0" fmla="*/ 732 h 18388"/>
                    <a:gd name="connsiteX1" fmla="*/ 17573 w 18313"/>
                    <a:gd name="connsiteY1" fmla="*/ 5576 h 18388"/>
                    <a:gd name="connsiteX2" fmla="*/ 12788 w 18313"/>
                    <a:gd name="connsiteY2" fmla="*/ 17657 h 18388"/>
                    <a:gd name="connsiteX3" fmla="*/ 767 w 18313"/>
                    <a:gd name="connsiteY3" fmla="*/ 12813 h 18388"/>
                    <a:gd name="connsiteX4" fmla="*/ 5551 w 18313"/>
                    <a:gd name="connsiteY4" fmla="*/ 732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88">
                      <a:moveTo>
                        <a:pt x="5551" y="732"/>
                      </a:moveTo>
                      <a:cubicBezTo>
                        <a:pt x="10216" y="-1242"/>
                        <a:pt x="15599" y="911"/>
                        <a:pt x="17573" y="5576"/>
                      </a:cubicBezTo>
                      <a:cubicBezTo>
                        <a:pt x="19546" y="10241"/>
                        <a:pt x="17453" y="15684"/>
                        <a:pt x="12788" y="17657"/>
                      </a:cubicBezTo>
                      <a:cubicBezTo>
                        <a:pt x="8123" y="19631"/>
                        <a:pt x="2740" y="17478"/>
                        <a:pt x="767" y="12813"/>
                      </a:cubicBezTo>
                      <a:cubicBezTo>
                        <a:pt x="-1267" y="8088"/>
                        <a:pt x="886" y="2705"/>
                        <a:pt x="5551" y="732"/>
                      </a:cubicBezTo>
                      <a:close/>
                    </a:path>
                  </a:pathLst>
                </a:custGeom>
                <a:grpFill/>
                <a:ln w="5978" cap="flat">
                  <a:noFill/>
                  <a:prstDash val="solid"/>
                  <a:miter/>
                </a:ln>
              </p:spPr>
              <p:txBody>
                <a:bodyPr rtlCol="0" anchor="ctr"/>
                <a:lstStyle/>
                <a:p>
                  <a:endParaRPr lang="en-GB"/>
                </a:p>
              </p:txBody>
            </p:sp>
            <p:sp>
              <p:nvSpPr>
                <p:cNvPr id="5068" name="Vrije vorm: vorm 5067">
                  <a:extLst>
                    <a:ext uri="{FF2B5EF4-FFF2-40B4-BE49-F238E27FC236}">
                      <a16:creationId xmlns:a16="http://schemas.microsoft.com/office/drawing/2014/main" id="{64BEA4BA-E8C0-4575-8E21-E374C2D90789}"/>
                    </a:ext>
                  </a:extLst>
                </p:cNvPr>
                <p:cNvSpPr/>
                <p:nvPr/>
              </p:nvSpPr>
              <p:spPr>
                <a:xfrm>
                  <a:off x="7700928" y="2698886"/>
                  <a:ext cx="18339" cy="18414"/>
                </a:xfrm>
                <a:custGeom>
                  <a:avLst/>
                  <a:gdLst>
                    <a:gd name="connsiteX0" fmla="*/ 5551 w 18339"/>
                    <a:gd name="connsiteY0" fmla="*/ 732 h 18414"/>
                    <a:gd name="connsiteX1" fmla="*/ 767 w 18339"/>
                    <a:gd name="connsiteY1" fmla="*/ 12813 h 18414"/>
                    <a:gd name="connsiteX2" fmla="*/ 12788 w 18339"/>
                    <a:gd name="connsiteY2" fmla="*/ 17657 h 18414"/>
                    <a:gd name="connsiteX3" fmla="*/ 17572 w 18339"/>
                    <a:gd name="connsiteY3" fmla="*/ 5576 h 18414"/>
                    <a:gd name="connsiteX4" fmla="*/ 5551 w 18339"/>
                    <a:gd name="connsiteY4" fmla="*/ 73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4">
                      <a:moveTo>
                        <a:pt x="5551" y="732"/>
                      </a:moveTo>
                      <a:cubicBezTo>
                        <a:pt x="886" y="2705"/>
                        <a:pt x="-1267" y="8148"/>
                        <a:pt x="767" y="12813"/>
                      </a:cubicBezTo>
                      <a:cubicBezTo>
                        <a:pt x="2740" y="17478"/>
                        <a:pt x="8183" y="19691"/>
                        <a:pt x="12788" y="17657"/>
                      </a:cubicBezTo>
                      <a:cubicBezTo>
                        <a:pt x="17453" y="15684"/>
                        <a:pt x="19606" y="10241"/>
                        <a:pt x="17572" y="5576"/>
                      </a:cubicBezTo>
                      <a:cubicBezTo>
                        <a:pt x="15599" y="911"/>
                        <a:pt x="10216" y="-1242"/>
                        <a:pt x="5551" y="732"/>
                      </a:cubicBezTo>
                      <a:close/>
                    </a:path>
                  </a:pathLst>
                </a:custGeom>
                <a:grpFill/>
                <a:ln w="5978" cap="flat">
                  <a:noFill/>
                  <a:prstDash val="solid"/>
                  <a:miter/>
                </a:ln>
              </p:spPr>
              <p:txBody>
                <a:bodyPr rtlCol="0" anchor="ctr"/>
                <a:lstStyle/>
                <a:p>
                  <a:endParaRPr lang="en-GB"/>
                </a:p>
              </p:txBody>
            </p:sp>
          </p:grpSp>
          <p:grpSp>
            <p:nvGrpSpPr>
              <p:cNvPr id="105" name="Graphic 3">
                <a:extLst>
                  <a:ext uri="{FF2B5EF4-FFF2-40B4-BE49-F238E27FC236}">
                    <a16:creationId xmlns:a16="http://schemas.microsoft.com/office/drawing/2014/main" id="{132975E9-23BB-46C9-9E49-556D26ECA894}"/>
                  </a:ext>
                </a:extLst>
              </p:cNvPr>
              <p:cNvGrpSpPr/>
              <p:nvPr/>
            </p:nvGrpSpPr>
            <p:grpSpPr>
              <a:xfrm>
                <a:off x="7767078" y="2898731"/>
                <a:ext cx="112951" cy="45005"/>
                <a:chOff x="7767078" y="2898731"/>
                <a:chExt cx="112951" cy="45005"/>
              </a:xfrm>
              <a:grpFill/>
            </p:grpSpPr>
            <p:sp>
              <p:nvSpPr>
                <p:cNvPr id="5063" name="Vrije vorm: vorm 5062">
                  <a:extLst>
                    <a:ext uri="{FF2B5EF4-FFF2-40B4-BE49-F238E27FC236}">
                      <a16:creationId xmlns:a16="http://schemas.microsoft.com/office/drawing/2014/main" id="{03024DAD-4F52-436B-807D-49D86248029C}"/>
                    </a:ext>
                  </a:extLst>
                </p:cNvPr>
                <p:cNvSpPr/>
                <p:nvPr/>
              </p:nvSpPr>
              <p:spPr>
                <a:xfrm>
                  <a:off x="7775437" y="2906372"/>
                  <a:ext cx="96289" cy="29724"/>
                </a:xfrm>
                <a:custGeom>
                  <a:avLst/>
                  <a:gdLst>
                    <a:gd name="connsiteX0" fmla="*/ 95512 w 96289"/>
                    <a:gd name="connsiteY0" fmla="*/ 0 h 29724"/>
                    <a:gd name="connsiteX1" fmla="*/ 96289 w 96289"/>
                    <a:gd name="connsiteY1" fmla="*/ 2930 h 29724"/>
                    <a:gd name="connsiteX2" fmla="*/ 837 w 96289"/>
                    <a:gd name="connsiteY2" fmla="*/ 29724 h 29724"/>
                    <a:gd name="connsiteX3" fmla="*/ 0 w 96289"/>
                    <a:gd name="connsiteY3" fmla="*/ 26734 h 29724"/>
                  </a:gdLst>
                  <a:ahLst/>
                  <a:cxnLst>
                    <a:cxn ang="0">
                      <a:pos x="connsiteX0" y="connsiteY0"/>
                    </a:cxn>
                    <a:cxn ang="0">
                      <a:pos x="connsiteX1" y="connsiteY1"/>
                    </a:cxn>
                    <a:cxn ang="0">
                      <a:pos x="connsiteX2" y="connsiteY2"/>
                    </a:cxn>
                    <a:cxn ang="0">
                      <a:pos x="connsiteX3" y="connsiteY3"/>
                    </a:cxn>
                  </a:cxnLst>
                  <a:rect l="l" t="t" r="r" b="b"/>
                  <a:pathLst>
                    <a:path w="96289" h="29724">
                      <a:moveTo>
                        <a:pt x="95512" y="0"/>
                      </a:moveTo>
                      <a:lnTo>
                        <a:pt x="96289" y="2930"/>
                      </a:lnTo>
                      <a:lnTo>
                        <a:pt x="837" y="29724"/>
                      </a:lnTo>
                      <a:lnTo>
                        <a:pt x="0" y="26734"/>
                      </a:lnTo>
                      <a:close/>
                    </a:path>
                  </a:pathLst>
                </a:custGeom>
                <a:grpFill/>
                <a:ln w="5978" cap="flat">
                  <a:noFill/>
                  <a:prstDash val="solid"/>
                  <a:miter/>
                </a:ln>
              </p:spPr>
              <p:txBody>
                <a:bodyPr rtlCol="0" anchor="ctr"/>
                <a:lstStyle/>
                <a:p>
                  <a:endParaRPr lang="en-GB"/>
                </a:p>
              </p:txBody>
            </p:sp>
            <p:sp>
              <p:nvSpPr>
                <p:cNvPr id="5064" name="Vrije vorm: vorm 5063">
                  <a:extLst>
                    <a:ext uri="{FF2B5EF4-FFF2-40B4-BE49-F238E27FC236}">
                      <a16:creationId xmlns:a16="http://schemas.microsoft.com/office/drawing/2014/main" id="{50013006-1FEA-45C1-80D9-FC3685DEC23E}"/>
                    </a:ext>
                  </a:extLst>
                </p:cNvPr>
                <p:cNvSpPr/>
                <p:nvPr/>
              </p:nvSpPr>
              <p:spPr>
                <a:xfrm>
                  <a:off x="7861714" y="2898731"/>
                  <a:ext cx="18315" cy="18451"/>
                </a:xfrm>
                <a:custGeom>
                  <a:avLst/>
                  <a:gdLst>
                    <a:gd name="connsiteX0" fmla="*/ 6664 w 18315"/>
                    <a:gd name="connsiteY0" fmla="*/ 344 h 18451"/>
                    <a:gd name="connsiteX1" fmla="*/ 17967 w 18315"/>
                    <a:gd name="connsiteY1" fmla="*/ 6744 h 18451"/>
                    <a:gd name="connsiteX2" fmla="*/ 11627 w 18315"/>
                    <a:gd name="connsiteY2" fmla="*/ 18107 h 18451"/>
                    <a:gd name="connsiteX3" fmla="*/ 324 w 18315"/>
                    <a:gd name="connsiteY3" fmla="*/ 11708 h 18451"/>
                    <a:gd name="connsiteX4" fmla="*/ 6664 w 18315"/>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1">
                      <a:moveTo>
                        <a:pt x="6664" y="344"/>
                      </a:moveTo>
                      <a:cubicBezTo>
                        <a:pt x="11508" y="-1031"/>
                        <a:pt x="16591" y="1839"/>
                        <a:pt x="17967" y="6744"/>
                      </a:cubicBezTo>
                      <a:cubicBezTo>
                        <a:pt x="19343" y="11648"/>
                        <a:pt x="16531" y="16731"/>
                        <a:pt x="11627" y="18107"/>
                      </a:cubicBezTo>
                      <a:cubicBezTo>
                        <a:pt x="6783" y="19483"/>
                        <a:pt x="1699" y="16612"/>
                        <a:pt x="324" y="11708"/>
                      </a:cubicBezTo>
                      <a:cubicBezTo>
                        <a:pt x="-992" y="6804"/>
                        <a:pt x="1819" y="1720"/>
                        <a:pt x="6664" y="344"/>
                      </a:cubicBezTo>
                      <a:close/>
                    </a:path>
                  </a:pathLst>
                </a:custGeom>
                <a:grpFill/>
                <a:ln w="5978" cap="flat">
                  <a:noFill/>
                  <a:prstDash val="solid"/>
                  <a:miter/>
                </a:ln>
              </p:spPr>
              <p:txBody>
                <a:bodyPr rtlCol="0" anchor="ctr"/>
                <a:lstStyle/>
                <a:p>
                  <a:endParaRPr lang="en-GB"/>
                </a:p>
              </p:txBody>
            </p:sp>
            <p:sp>
              <p:nvSpPr>
                <p:cNvPr id="5065" name="Vrije vorm: vorm 5064">
                  <a:extLst>
                    <a:ext uri="{FF2B5EF4-FFF2-40B4-BE49-F238E27FC236}">
                      <a16:creationId xmlns:a16="http://schemas.microsoft.com/office/drawing/2014/main" id="{4B14F49C-4BAC-4209-8411-8894785B94AF}"/>
                    </a:ext>
                  </a:extLst>
                </p:cNvPr>
                <p:cNvSpPr/>
                <p:nvPr/>
              </p:nvSpPr>
              <p:spPr>
                <a:xfrm>
                  <a:off x="7767078" y="2925285"/>
                  <a:ext cx="18331" cy="18451"/>
                </a:xfrm>
                <a:custGeom>
                  <a:avLst/>
                  <a:gdLst>
                    <a:gd name="connsiteX0" fmla="*/ 6684 w 18331"/>
                    <a:gd name="connsiteY0" fmla="*/ 344 h 18451"/>
                    <a:gd name="connsiteX1" fmla="*/ 345 w 18331"/>
                    <a:gd name="connsiteY1" fmla="*/ 11708 h 18451"/>
                    <a:gd name="connsiteX2" fmla="*/ 11648 w 18331"/>
                    <a:gd name="connsiteY2" fmla="*/ 18107 h 18451"/>
                    <a:gd name="connsiteX3" fmla="*/ 17987 w 18331"/>
                    <a:gd name="connsiteY3" fmla="*/ 6744 h 18451"/>
                    <a:gd name="connsiteX4" fmla="*/ 6684 w 18331"/>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51">
                      <a:moveTo>
                        <a:pt x="6684" y="344"/>
                      </a:moveTo>
                      <a:cubicBezTo>
                        <a:pt x="1840" y="1720"/>
                        <a:pt x="-1031" y="6803"/>
                        <a:pt x="345" y="11708"/>
                      </a:cubicBezTo>
                      <a:cubicBezTo>
                        <a:pt x="1720" y="16612"/>
                        <a:pt x="6803" y="19483"/>
                        <a:pt x="11648" y="18107"/>
                      </a:cubicBezTo>
                      <a:cubicBezTo>
                        <a:pt x="16492" y="16731"/>
                        <a:pt x="19363" y="11648"/>
                        <a:pt x="17987" y="6744"/>
                      </a:cubicBezTo>
                      <a:cubicBezTo>
                        <a:pt x="16672" y="1839"/>
                        <a:pt x="11588" y="-1031"/>
                        <a:pt x="6684" y="344"/>
                      </a:cubicBezTo>
                      <a:close/>
                    </a:path>
                  </a:pathLst>
                </a:custGeom>
                <a:grpFill/>
                <a:ln w="5978" cap="flat">
                  <a:noFill/>
                  <a:prstDash val="solid"/>
                  <a:miter/>
                </a:ln>
              </p:spPr>
              <p:txBody>
                <a:bodyPr rtlCol="0" anchor="ctr"/>
                <a:lstStyle/>
                <a:p>
                  <a:endParaRPr lang="en-GB"/>
                </a:p>
              </p:txBody>
            </p:sp>
          </p:grpSp>
          <p:grpSp>
            <p:nvGrpSpPr>
              <p:cNvPr id="106" name="Graphic 3">
                <a:extLst>
                  <a:ext uri="{FF2B5EF4-FFF2-40B4-BE49-F238E27FC236}">
                    <a16:creationId xmlns:a16="http://schemas.microsoft.com/office/drawing/2014/main" id="{5B0F88E8-CE67-4990-B715-58BE69C3436E}"/>
                  </a:ext>
                </a:extLst>
              </p:cNvPr>
              <p:cNvGrpSpPr/>
              <p:nvPr/>
            </p:nvGrpSpPr>
            <p:grpSpPr>
              <a:xfrm>
                <a:off x="7622268" y="2425442"/>
                <a:ext cx="95596" cy="64359"/>
                <a:chOff x="7622268" y="2425442"/>
                <a:chExt cx="95596" cy="64359"/>
              </a:xfrm>
              <a:grpFill/>
            </p:grpSpPr>
            <p:sp>
              <p:nvSpPr>
                <p:cNvPr id="5060" name="Vrije vorm: vorm 5059">
                  <a:extLst>
                    <a:ext uri="{FF2B5EF4-FFF2-40B4-BE49-F238E27FC236}">
                      <a16:creationId xmlns:a16="http://schemas.microsoft.com/office/drawing/2014/main" id="{85C3D990-7579-4658-8E56-6B3544345BA5}"/>
                    </a:ext>
                  </a:extLst>
                </p:cNvPr>
                <p:cNvSpPr/>
                <p:nvPr/>
              </p:nvSpPr>
              <p:spPr>
                <a:xfrm>
                  <a:off x="7630284" y="2433117"/>
                  <a:ext cx="79603" cy="49041"/>
                </a:xfrm>
                <a:custGeom>
                  <a:avLst/>
                  <a:gdLst>
                    <a:gd name="connsiteX0" fmla="*/ 79604 w 79603"/>
                    <a:gd name="connsiteY0" fmla="*/ 2632 h 49041"/>
                    <a:gd name="connsiteX1" fmla="*/ 1555 w 79603"/>
                    <a:gd name="connsiteY1" fmla="*/ 49042 h 49041"/>
                    <a:gd name="connsiteX2" fmla="*/ 0 w 79603"/>
                    <a:gd name="connsiteY2" fmla="*/ 46410 h 49041"/>
                    <a:gd name="connsiteX3" fmla="*/ 78049 w 79603"/>
                    <a:gd name="connsiteY3" fmla="*/ 0 h 49041"/>
                  </a:gdLst>
                  <a:ahLst/>
                  <a:cxnLst>
                    <a:cxn ang="0">
                      <a:pos x="connsiteX0" y="connsiteY0"/>
                    </a:cxn>
                    <a:cxn ang="0">
                      <a:pos x="connsiteX1" y="connsiteY1"/>
                    </a:cxn>
                    <a:cxn ang="0">
                      <a:pos x="connsiteX2" y="connsiteY2"/>
                    </a:cxn>
                    <a:cxn ang="0">
                      <a:pos x="connsiteX3" y="connsiteY3"/>
                    </a:cxn>
                  </a:cxnLst>
                  <a:rect l="l" t="t" r="r" b="b"/>
                  <a:pathLst>
                    <a:path w="79603" h="49041">
                      <a:moveTo>
                        <a:pt x="79604" y="2632"/>
                      </a:moveTo>
                      <a:lnTo>
                        <a:pt x="1555" y="49042"/>
                      </a:lnTo>
                      <a:lnTo>
                        <a:pt x="0" y="46410"/>
                      </a:lnTo>
                      <a:lnTo>
                        <a:pt x="78049" y="0"/>
                      </a:lnTo>
                      <a:close/>
                    </a:path>
                  </a:pathLst>
                </a:custGeom>
                <a:grpFill/>
                <a:ln w="5978" cap="flat">
                  <a:noFill/>
                  <a:prstDash val="solid"/>
                  <a:miter/>
                </a:ln>
              </p:spPr>
              <p:txBody>
                <a:bodyPr rtlCol="0" anchor="ctr"/>
                <a:lstStyle/>
                <a:p>
                  <a:endParaRPr lang="en-GB"/>
                </a:p>
              </p:txBody>
            </p:sp>
            <p:sp>
              <p:nvSpPr>
                <p:cNvPr id="5061" name="Vrije vorm: vorm 5060">
                  <a:extLst>
                    <a:ext uri="{FF2B5EF4-FFF2-40B4-BE49-F238E27FC236}">
                      <a16:creationId xmlns:a16="http://schemas.microsoft.com/office/drawing/2014/main" id="{D88786A3-BC85-4AF9-80A4-01841C444AF0}"/>
                    </a:ext>
                  </a:extLst>
                </p:cNvPr>
                <p:cNvSpPr/>
                <p:nvPr/>
              </p:nvSpPr>
              <p:spPr>
                <a:xfrm>
                  <a:off x="7699565" y="2425442"/>
                  <a:ext cx="18299" cy="18400"/>
                </a:xfrm>
                <a:custGeom>
                  <a:avLst/>
                  <a:gdLst>
                    <a:gd name="connsiteX0" fmla="*/ 4461 w 18299"/>
                    <a:gd name="connsiteY0" fmla="*/ 1276 h 18400"/>
                    <a:gd name="connsiteX1" fmla="*/ 17021 w 18299"/>
                    <a:gd name="connsiteY1" fmla="*/ 4506 h 18400"/>
                    <a:gd name="connsiteX2" fmla="*/ 13851 w 18299"/>
                    <a:gd name="connsiteY2" fmla="*/ 17125 h 18400"/>
                    <a:gd name="connsiteX3" fmla="*/ 1292 w 18299"/>
                    <a:gd name="connsiteY3" fmla="*/ 13895 h 18400"/>
                    <a:gd name="connsiteX4" fmla="*/ 4461 w 18299"/>
                    <a:gd name="connsiteY4" fmla="*/ 127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00">
                      <a:moveTo>
                        <a:pt x="4461" y="1276"/>
                      </a:moveTo>
                      <a:cubicBezTo>
                        <a:pt x="8828" y="-1296"/>
                        <a:pt x="14449" y="140"/>
                        <a:pt x="17021" y="4506"/>
                      </a:cubicBezTo>
                      <a:cubicBezTo>
                        <a:pt x="19593" y="8872"/>
                        <a:pt x="18157" y="14553"/>
                        <a:pt x="13851" y="17125"/>
                      </a:cubicBezTo>
                      <a:cubicBezTo>
                        <a:pt x="9486" y="19697"/>
                        <a:pt x="3863" y="18261"/>
                        <a:pt x="1292" y="13895"/>
                      </a:cubicBezTo>
                      <a:cubicBezTo>
                        <a:pt x="-1280" y="9529"/>
                        <a:pt x="96" y="3907"/>
                        <a:pt x="4461" y="1276"/>
                      </a:cubicBezTo>
                      <a:close/>
                    </a:path>
                  </a:pathLst>
                </a:custGeom>
                <a:grpFill/>
                <a:ln w="5978" cap="flat">
                  <a:noFill/>
                  <a:prstDash val="solid"/>
                  <a:miter/>
                </a:ln>
              </p:spPr>
              <p:txBody>
                <a:bodyPr rtlCol="0" anchor="ctr"/>
                <a:lstStyle/>
                <a:p>
                  <a:endParaRPr lang="en-GB"/>
                </a:p>
              </p:txBody>
            </p:sp>
            <p:sp>
              <p:nvSpPr>
                <p:cNvPr id="5062" name="Vrije vorm: vorm 5061">
                  <a:extLst>
                    <a:ext uri="{FF2B5EF4-FFF2-40B4-BE49-F238E27FC236}">
                      <a16:creationId xmlns:a16="http://schemas.microsoft.com/office/drawing/2014/main" id="{96374017-4280-437E-9549-8ECBDE1F991B}"/>
                    </a:ext>
                  </a:extLst>
                </p:cNvPr>
                <p:cNvSpPr/>
                <p:nvPr/>
              </p:nvSpPr>
              <p:spPr>
                <a:xfrm>
                  <a:off x="7622268" y="2471374"/>
                  <a:ext cx="18366" cy="18427"/>
                </a:xfrm>
                <a:custGeom>
                  <a:avLst/>
                  <a:gdLst>
                    <a:gd name="connsiteX0" fmla="*/ 4488 w 18366"/>
                    <a:gd name="connsiteY0" fmla="*/ 1276 h 18427"/>
                    <a:gd name="connsiteX1" fmla="*/ 1318 w 18366"/>
                    <a:gd name="connsiteY1" fmla="*/ 13895 h 18427"/>
                    <a:gd name="connsiteX2" fmla="*/ 13878 w 18366"/>
                    <a:gd name="connsiteY2" fmla="*/ 17125 h 18427"/>
                    <a:gd name="connsiteX3" fmla="*/ 17048 w 18366"/>
                    <a:gd name="connsiteY3" fmla="*/ 4505 h 18427"/>
                    <a:gd name="connsiteX4" fmla="*/ 4488 w 18366"/>
                    <a:gd name="connsiteY4" fmla="*/ 127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7">
                      <a:moveTo>
                        <a:pt x="4488" y="1276"/>
                      </a:moveTo>
                      <a:cubicBezTo>
                        <a:pt x="122" y="3848"/>
                        <a:pt x="-1313" y="9529"/>
                        <a:pt x="1318" y="13895"/>
                      </a:cubicBezTo>
                      <a:cubicBezTo>
                        <a:pt x="3890" y="18261"/>
                        <a:pt x="9512" y="19756"/>
                        <a:pt x="13878" y="17125"/>
                      </a:cubicBezTo>
                      <a:cubicBezTo>
                        <a:pt x="18243" y="14553"/>
                        <a:pt x="19679" y="8871"/>
                        <a:pt x="17048" y="4505"/>
                      </a:cubicBezTo>
                      <a:cubicBezTo>
                        <a:pt x="14475" y="140"/>
                        <a:pt x="8854" y="-1296"/>
                        <a:pt x="4488" y="1276"/>
                      </a:cubicBezTo>
                      <a:close/>
                    </a:path>
                  </a:pathLst>
                </a:custGeom>
                <a:grpFill/>
                <a:ln w="5978" cap="flat">
                  <a:noFill/>
                  <a:prstDash val="solid"/>
                  <a:miter/>
                </a:ln>
              </p:spPr>
              <p:txBody>
                <a:bodyPr rtlCol="0" anchor="ctr"/>
                <a:lstStyle/>
                <a:p>
                  <a:endParaRPr lang="en-GB"/>
                </a:p>
              </p:txBody>
            </p:sp>
          </p:grpSp>
          <p:grpSp>
            <p:nvGrpSpPr>
              <p:cNvPr id="107" name="Graphic 3">
                <a:extLst>
                  <a:ext uri="{FF2B5EF4-FFF2-40B4-BE49-F238E27FC236}">
                    <a16:creationId xmlns:a16="http://schemas.microsoft.com/office/drawing/2014/main" id="{7D5EAA6B-0476-44A9-86DB-39483337DED7}"/>
                  </a:ext>
                </a:extLst>
              </p:cNvPr>
              <p:cNvGrpSpPr/>
              <p:nvPr/>
            </p:nvGrpSpPr>
            <p:grpSpPr>
              <a:xfrm>
                <a:off x="7878862" y="3243234"/>
                <a:ext cx="100557" cy="25490"/>
                <a:chOff x="7878862" y="3243234"/>
                <a:chExt cx="100557" cy="25490"/>
              </a:xfrm>
              <a:grpFill/>
            </p:grpSpPr>
            <p:sp>
              <p:nvSpPr>
                <p:cNvPr id="5057" name="Vrije vorm: vorm 5056">
                  <a:extLst>
                    <a:ext uri="{FF2B5EF4-FFF2-40B4-BE49-F238E27FC236}">
                      <a16:creationId xmlns:a16="http://schemas.microsoft.com/office/drawing/2014/main" id="{1E773810-E3E3-429B-A530-74291A8B4072}"/>
                    </a:ext>
                  </a:extLst>
                </p:cNvPr>
                <p:cNvSpPr/>
                <p:nvPr/>
              </p:nvSpPr>
              <p:spPr>
                <a:xfrm>
                  <a:off x="7887396" y="3250921"/>
                  <a:ext cx="83431" cy="10167"/>
                </a:xfrm>
                <a:custGeom>
                  <a:avLst/>
                  <a:gdLst>
                    <a:gd name="connsiteX0" fmla="*/ 83192 w 83431"/>
                    <a:gd name="connsiteY0" fmla="*/ 0 h 10167"/>
                    <a:gd name="connsiteX1" fmla="*/ 83432 w 83431"/>
                    <a:gd name="connsiteY1" fmla="*/ 3050 h 10167"/>
                    <a:gd name="connsiteX2" fmla="*/ 299 w 83431"/>
                    <a:gd name="connsiteY2" fmla="*/ 10167 h 10167"/>
                    <a:gd name="connsiteX3" fmla="*/ 0 w 83431"/>
                    <a:gd name="connsiteY3" fmla="*/ 7117 h 10167"/>
                  </a:gdLst>
                  <a:ahLst/>
                  <a:cxnLst>
                    <a:cxn ang="0">
                      <a:pos x="connsiteX0" y="connsiteY0"/>
                    </a:cxn>
                    <a:cxn ang="0">
                      <a:pos x="connsiteX1" y="connsiteY1"/>
                    </a:cxn>
                    <a:cxn ang="0">
                      <a:pos x="connsiteX2" y="connsiteY2"/>
                    </a:cxn>
                    <a:cxn ang="0">
                      <a:pos x="connsiteX3" y="connsiteY3"/>
                    </a:cxn>
                  </a:cxnLst>
                  <a:rect l="l" t="t" r="r" b="b"/>
                  <a:pathLst>
                    <a:path w="83431" h="10167">
                      <a:moveTo>
                        <a:pt x="83192" y="0"/>
                      </a:moveTo>
                      <a:lnTo>
                        <a:pt x="83432" y="3050"/>
                      </a:lnTo>
                      <a:lnTo>
                        <a:pt x="299" y="10167"/>
                      </a:lnTo>
                      <a:lnTo>
                        <a:pt x="0" y="7117"/>
                      </a:lnTo>
                      <a:close/>
                    </a:path>
                  </a:pathLst>
                </a:custGeom>
                <a:grpFill/>
                <a:ln w="5978" cap="flat">
                  <a:noFill/>
                  <a:prstDash val="solid"/>
                  <a:miter/>
                </a:ln>
              </p:spPr>
              <p:txBody>
                <a:bodyPr rtlCol="0" anchor="ctr"/>
                <a:lstStyle/>
                <a:p>
                  <a:endParaRPr lang="en-GB"/>
                </a:p>
              </p:txBody>
            </p:sp>
            <p:sp>
              <p:nvSpPr>
                <p:cNvPr id="5058" name="Vrije vorm: vorm 5057">
                  <a:extLst>
                    <a:ext uri="{FF2B5EF4-FFF2-40B4-BE49-F238E27FC236}">
                      <a16:creationId xmlns:a16="http://schemas.microsoft.com/office/drawing/2014/main" id="{A13C1A1B-55DD-42C8-BC12-B41C013926B4}"/>
                    </a:ext>
                  </a:extLst>
                </p:cNvPr>
                <p:cNvSpPr/>
                <p:nvPr/>
              </p:nvSpPr>
              <p:spPr>
                <a:xfrm>
                  <a:off x="7961097" y="3243234"/>
                  <a:ext cx="18322" cy="18424"/>
                </a:xfrm>
                <a:custGeom>
                  <a:avLst/>
                  <a:gdLst>
                    <a:gd name="connsiteX0" fmla="*/ 8354 w 18322"/>
                    <a:gd name="connsiteY0" fmla="*/ 32 h 18424"/>
                    <a:gd name="connsiteX1" fmla="*/ 18282 w 18322"/>
                    <a:gd name="connsiteY1" fmla="*/ 8405 h 18424"/>
                    <a:gd name="connsiteX2" fmla="*/ 9969 w 18322"/>
                    <a:gd name="connsiteY2" fmla="*/ 18392 h 18424"/>
                    <a:gd name="connsiteX3" fmla="*/ 41 w 18322"/>
                    <a:gd name="connsiteY3" fmla="*/ 10019 h 18424"/>
                    <a:gd name="connsiteX4" fmla="*/ 8354 w 18322"/>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4">
                      <a:moveTo>
                        <a:pt x="8354" y="32"/>
                      </a:moveTo>
                      <a:cubicBezTo>
                        <a:pt x="13378" y="-387"/>
                        <a:pt x="17863" y="3381"/>
                        <a:pt x="18282" y="8405"/>
                      </a:cubicBezTo>
                      <a:cubicBezTo>
                        <a:pt x="18761" y="13488"/>
                        <a:pt x="14993" y="17914"/>
                        <a:pt x="9969" y="18392"/>
                      </a:cubicBezTo>
                      <a:cubicBezTo>
                        <a:pt x="4945" y="18811"/>
                        <a:pt x="459" y="15043"/>
                        <a:pt x="41" y="10019"/>
                      </a:cubicBezTo>
                      <a:cubicBezTo>
                        <a:pt x="-438" y="4936"/>
                        <a:pt x="3330" y="450"/>
                        <a:pt x="8354" y="32"/>
                      </a:cubicBezTo>
                      <a:close/>
                    </a:path>
                  </a:pathLst>
                </a:custGeom>
                <a:grpFill/>
                <a:ln w="5978" cap="flat">
                  <a:noFill/>
                  <a:prstDash val="solid"/>
                  <a:miter/>
                </a:ln>
              </p:spPr>
              <p:txBody>
                <a:bodyPr rtlCol="0" anchor="ctr"/>
                <a:lstStyle/>
                <a:p>
                  <a:endParaRPr lang="en-GB"/>
                </a:p>
              </p:txBody>
            </p:sp>
            <p:sp>
              <p:nvSpPr>
                <p:cNvPr id="5059" name="Vrije vorm: vorm 5058">
                  <a:extLst>
                    <a:ext uri="{FF2B5EF4-FFF2-40B4-BE49-F238E27FC236}">
                      <a16:creationId xmlns:a16="http://schemas.microsoft.com/office/drawing/2014/main" id="{87FD4597-3922-40ED-A972-6FFE336F3873}"/>
                    </a:ext>
                  </a:extLst>
                </p:cNvPr>
                <p:cNvSpPr/>
                <p:nvPr/>
              </p:nvSpPr>
              <p:spPr>
                <a:xfrm>
                  <a:off x="7878862" y="3250291"/>
                  <a:ext cx="18314" cy="18433"/>
                </a:xfrm>
                <a:custGeom>
                  <a:avLst/>
                  <a:gdLst>
                    <a:gd name="connsiteX0" fmla="*/ 8354 w 18314"/>
                    <a:gd name="connsiteY0" fmla="*/ 32 h 18433"/>
                    <a:gd name="connsiteX1" fmla="*/ 41 w 18314"/>
                    <a:gd name="connsiteY1" fmla="*/ 10019 h 18433"/>
                    <a:gd name="connsiteX2" fmla="*/ 9969 w 18314"/>
                    <a:gd name="connsiteY2" fmla="*/ 18393 h 18433"/>
                    <a:gd name="connsiteX3" fmla="*/ 18282 w 18314"/>
                    <a:gd name="connsiteY3" fmla="*/ 8405 h 18433"/>
                    <a:gd name="connsiteX4" fmla="*/ 8354 w 18314"/>
                    <a:gd name="connsiteY4" fmla="*/ 32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33">
                      <a:moveTo>
                        <a:pt x="8354" y="32"/>
                      </a:moveTo>
                      <a:cubicBezTo>
                        <a:pt x="3330" y="450"/>
                        <a:pt x="-438" y="4936"/>
                        <a:pt x="41" y="10019"/>
                      </a:cubicBezTo>
                      <a:cubicBezTo>
                        <a:pt x="519" y="15103"/>
                        <a:pt x="4945" y="18871"/>
                        <a:pt x="9969" y="18393"/>
                      </a:cubicBezTo>
                      <a:cubicBezTo>
                        <a:pt x="14993" y="17974"/>
                        <a:pt x="18701" y="13488"/>
                        <a:pt x="18282" y="8405"/>
                      </a:cubicBezTo>
                      <a:cubicBezTo>
                        <a:pt x="17804" y="3381"/>
                        <a:pt x="13378" y="-387"/>
                        <a:pt x="8354" y="32"/>
                      </a:cubicBezTo>
                      <a:close/>
                    </a:path>
                  </a:pathLst>
                </a:custGeom>
                <a:grpFill/>
                <a:ln w="5978" cap="flat">
                  <a:noFill/>
                  <a:prstDash val="solid"/>
                  <a:miter/>
                </a:ln>
              </p:spPr>
              <p:txBody>
                <a:bodyPr rtlCol="0" anchor="ctr"/>
                <a:lstStyle/>
                <a:p>
                  <a:endParaRPr lang="en-GB"/>
                </a:p>
              </p:txBody>
            </p:sp>
          </p:grpSp>
          <p:grpSp>
            <p:nvGrpSpPr>
              <p:cNvPr id="108" name="Graphic 3">
                <a:extLst>
                  <a:ext uri="{FF2B5EF4-FFF2-40B4-BE49-F238E27FC236}">
                    <a16:creationId xmlns:a16="http://schemas.microsoft.com/office/drawing/2014/main" id="{813D3D33-7467-4AE1-B688-80A4B518B765}"/>
                  </a:ext>
                </a:extLst>
              </p:cNvPr>
              <p:cNvGrpSpPr/>
              <p:nvPr/>
            </p:nvGrpSpPr>
            <p:grpSpPr>
              <a:xfrm>
                <a:off x="7597369" y="2395018"/>
                <a:ext cx="101162" cy="69758"/>
                <a:chOff x="7597369" y="2395018"/>
                <a:chExt cx="101162" cy="69758"/>
              </a:xfrm>
              <a:grpFill/>
            </p:grpSpPr>
            <p:sp>
              <p:nvSpPr>
                <p:cNvPr id="5054" name="Vrije vorm: vorm 5053">
                  <a:extLst>
                    <a:ext uri="{FF2B5EF4-FFF2-40B4-BE49-F238E27FC236}">
                      <a16:creationId xmlns:a16="http://schemas.microsoft.com/office/drawing/2014/main" id="{EAC47CF7-66FC-49BE-A22B-BCBA5C925EA7}"/>
                    </a:ext>
                  </a:extLst>
                </p:cNvPr>
                <p:cNvSpPr/>
                <p:nvPr/>
              </p:nvSpPr>
              <p:spPr>
                <a:xfrm>
                  <a:off x="7605344" y="2402675"/>
                  <a:ext cx="85225" cy="54424"/>
                </a:xfrm>
                <a:custGeom>
                  <a:avLst/>
                  <a:gdLst>
                    <a:gd name="connsiteX0" fmla="*/ 85225 w 85225"/>
                    <a:gd name="connsiteY0" fmla="*/ 2632 h 54424"/>
                    <a:gd name="connsiteX1" fmla="*/ 1555 w 85225"/>
                    <a:gd name="connsiteY1" fmla="*/ 54425 h 54424"/>
                    <a:gd name="connsiteX2" fmla="*/ 0 w 85225"/>
                    <a:gd name="connsiteY2" fmla="*/ 51853 h 54424"/>
                    <a:gd name="connsiteX3" fmla="*/ 83611 w 85225"/>
                    <a:gd name="connsiteY3" fmla="*/ 0 h 54424"/>
                  </a:gdLst>
                  <a:ahLst/>
                  <a:cxnLst>
                    <a:cxn ang="0">
                      <a:pos x="connsiteX0" y="connsiteY0"/>
                    </a:cxn>
                    <a:cxn ang="0">
                      <a:pos x="connsiteX1" y="connsiteY1"/>
                    </a:cxn>
                    <a:cxn ang="0">
                      <a:pos x="connsiteX2" y="connsiteY2"/>
                    </a:cxn>
                    <a:cxn ang="0">
                      <a:pos x="connsiteX3" y="connsiteY3"/>
                    </a:cxn>
                  </a:cxnLst>
                  <a:rect l="l" t="t" r="r" b="b"/>
                  <a:pathLst>
                    <a:path w="85225" h="54424">
                      <a:moveTo>
                        <a:pt x="85225" y="2632"/>
                      </a:moveTo>
                      <a:lnTo>
                        <a:pt x="1555" y="54425"/>
                      </a:lnTo>
                      <a:lnTo>
                        <a:pt x="0" y="51853"/>
                      </a:lnTo>
                      <a:lnTo>
                        <a:pt x="83611" y="0"/>
                      </a:lnTo>
                      <a:close/>
                    </a:path>
                  </a:pathLst>
                </a:custGeom>
                <a:grpFill/>
                <a:ln w="5978" cap="flat">
                  <a:noFill/>
                  <a:prstDash val="solid"/>
                  <a:miter/>
                </a:ln>
              </p:spPr>
              <p:txBody>
                <a:bodyPr rtlCol="0" anchor="ctr"/>
                <a:lstStyle/>
                <a:p>
                  <a:endParaRPr lang="en-GB"/>
                </a:p>
              </p:txBody>
            </p:sp>
            <p:sp>
              <p:nvSpPr>
                <p:cNvPr id="5055" name="Vrije vorm: vorm 5054">
                  <a:extLst>
                    <a:ext uri="{FF2B5EF4-FFF2-40B4-BE49-F238E27FC236}">
                      <a16:creationId xmlns:a16="http://schemas.microsoft.com/office/drawing/2014/main" id="{0FB9AB61-3EE3-47B1-8B35-1579FB7C31A3}"/>
                    </a:ext>
                  </a:extLst>
                </p:cNvPr>
                <p:cNvSpPr/>
                <p:nvPr/>
              </p:nvSpPr>
              <p:spPr>
                <a:xfrm>
                  <a:off x="7680202" y="2395018"/>
                  <a:ext cx="18329" cy="18484"/>
                </a:xfrm>
                <a:custGeom>
                  <a:avLst/>
                  <a:gdLst>
                    <a:gd name="connsiteX0" fmla="*/ 4328 w 18329"/>
                    <a:gd name="connsiteY0" fmla="*/ 1378 h 18484"/>
                    <a:gd name="connsiteX1" fmla="*/ 16947 w 18329"/>
                    <a:gd name="connsiteY1" fmla="*/ 4428 h 18484"/>
                    <a:gd name="connsiteX2" fmla="*/ 14017 w 18329"/>
                    <a:gd name="connsiteY2" fmla="*/ 17107 h 18484"/>
                    <a:gd name="connsiteX3" fmla="*/ 1397 w 18329"/>
                    <a:gd name="connsiteY3" fmla="*/ 14057 h 18484"/>
                    <a:gd name="connsiteX4" fmla="*/ 4328 w 18329"/>
                    <a:gd name="connsiteY4" fmla="*/ 137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84">
                      <a:moveTo>
                        <a:pt x="4328" y="1378"/>
                      </a:moveTo>
                      <a:cubicBezTo>
                        <a:pt x="8634" y="-1314"/>
                        <a:pt x="14255" y="62"/>
                        <a:pt x="16947" y="4428"/>
                      </a:cubicBezTo>
                      <a:cubicBezTo>
                        <a:pt x="19638" y="8734"/>
                        <a:pt x="18263" y="14416"/>
                        <a:pt x="14017" y="17107"/>
                      </a:cubicBezTo>
                      <a:cubicBezTo>
                        <a:pt x="9710" y="19798"/>
                        <a:pt x="4088" y="18423"/>
                        <a:pt x="1397" y="14057"/>
                      </a:cubicBezTo>
                      <a:cubicBezTo>
                        <a:pt x="-1294" y="9691"/>
                        <a:pt x="21" y="4009"/>
                        <a:pt x="4328" y="1378"/>
                      </a:cubicBezTo>
                      <a:close/>
                    </a:path>
                  </a:pathLst>
                </a:custGeom>
                <a:grpFill/>
                <a:ln w="5978" cap="flat">
                  <a:noFill/>
                  <a:prstDash val="solid"/>
                  <a:miter/>
                </a:ln>
              </p:spPr>
              <p:txBody>
                <a:bodyPr rtlCol="0" anchor="ctr"/>
                <a:lstStyle/>
                <a:p>
                  <a:endParaRPr lang="en-GB"/>
                </a:p>
              </p:txBody>
            </p:sp>
            <p:sp>
              <p:nvSpPr>
                <p:cNvPr id="5056" name="Vrije vorm: vorm 5055">
                  <a:extLst>
                    <a:ext uri="{FF2B5EF4-FFF2-40B4-BE49-F238E27FC236}">
                      <a16:creationId xmlns:a16="http://schemas.microsoft.com/office/drawing/2014/main" id="{8F58AB5A-3429-45CD-890F-1C7D8E1202FF}"/>
                    </a:ext>
                  </a:extLst>
                </p:cNvPr>
                <p:cNvSpPr/>
                <p:nvPr/>
              </p:nvSpPr>
              <p:spPr>
                <a:xfrm>
                  <a:off x="7597369" y="2446359"/>
                  <a:ext cx="18343" cy="18417"/>
                </a:xfrm>
                <a:custGeom>
                  <a:avLst/>
                  <a:gdLst>
                    <a:gd name="connsiteX0" fmla="*/ 4327 w 18343"/>
                    <a:gd name="connsiteY0" fmla="*/ 1351 h 18417"/>
                    <a:gd name="connsiteX1" fmla="*/ 1397 w 18343"/>
                    <a:gd name="connsiteY1" fmla="*/ 14030 h 18417"/>
                    <a:gd name="connsiteX2" fmla="*/ 14016 w 18343"/>
                    <a:gd name="connsiteY2" fmla="*/ 17080 h 18417"/>
                    <a:gd name="connsiteX3" fmla="*/ 16946 w 18343"/>
                    <a:gd name="connsiteY3" fmla="*/ 4401 h 18417"/>
                    <a:gd name="connsiteX4" fmla="*/ 4327 w 18343"/>
                    <a:gd name="connsiteY4" fmla="*/ 1351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7">
                      <a:moveTo>
                        <a:pt x="4327" y="1351"/>
                      </a:moveTo>
                      <a:cubicBezTo>
                        <a:pt x="21" y="4042"/>
                        <a:pt x="-1294" y="9664"/>
                        <a:pt x="1397" y="14030"/>
                      </a:cubicBezTo>
                      <a:cubicBezTo>
                        <a:pt x="4089" y="18336"/>
                        <a:pt x="9710" y="19712"/>
                        <a:pt x="14016" y="17080"/>
                      </a:cubicBezTo>
                      <a:cubicBezTo>
                        <a:pt x="18323" y="14389"/>
                        <a:pt x="19638" y="8767"/>
                        <a:pt x="16946" y="4401"/>
                      </a:cubicBezTo>
                      <a:cubicBezTo>
                        <a:pt x="14255" y="35"/>
                        <a:pt x="8634" y="-1280"/>
                        <a:pt x="4327" y="1351"/>
                      </a:cubicBezTo>
                      <a:close/>
                    </a:path>
                  </a:pathLst>
                </a:custGeom>
                <a:grpFill/>
                <a:ln w="5978" cap="flat">
                  <a:noFill/>
                  <a:prstDash val="solid"/>
                  <a:miter/>
                </a:ln>
              </p:spPr>
              <p:txBody>
                <a:bodyPr rtlCol="0" anchor="ctr"/>
                <a:lstStyle/>
                <a:p>
                  <a:endParaRPr lang="en-GB"/>
                </a:p>
              </p:txBody>
            </p:sp>
          </p:grpSp>
          <p:grpSp>
            <p:nvGrpSpPr>
              <p:cNvPr id="109" name="Graphic 3">
                <a:extLst>
                  <a:ext uri="{FF2B5EF4-FFF2-40B4-BE49-F238E27FC236}">
                    <a16:creationId xmlns:a16="http://schemas.microsoft.com/office/drawing/2014/main" id="{9D8F9A8D-B07C-4D65-80AC-B267B78734DF}"/>
                  </a:ext>
                </a:extLst>
              </p:cNvPr>
              <p:cNvGrpSpPr/>
              <p:nvPr/>
            </p:nvGrpSpPr>
            <p:grpSpPr>
              <a:xfrm>
                <a:off x="8028296" y="3647677"/>
                <a:ext cx="63705" cy="23885"/>
                <a:chOff x="8028296" y="3647677"/>
                <a:chExt cx="63705" cy="23885"/>
              </a:xfrm>
              <a:grpFill/>
            </p:grpSpPr>
            <p:sp>
              <p:nvSpPr>
                <p:cNvPr id="5051" name="Vrije vorm: vorm 5050">
                  <a:extLst>
                    <a:ext uri="{FF2B5EF4-FFF2-40B4-BE49-F238E27FC236}">
                      <a16:creationId xmlns:a16="http://schemas.microsoft.com/office/drawing/2014/main" id="{2A03DAB3-AE9C-4DE9-9235-063E9AF3E9DD}"/>
                    </a:ext>
                  </a:extLst>
                </p:cNvPr>
                <p:cNvSpPr/>
                <p:nvPr/>
              </p:nvSpPr>
              <p:spPr>
                <a:xfrm>
                  <a:off x="8036854" y="3655278"/>
                  <a:ext cx="46649" cy="8672"/>
                </a:xfrm>
                <a:custGeom>
                  <a:avLst/>
                  <a:gdLst>
                    <a:gd name="connsiteX0" fmla="*/ 46650 w 46649"/>
                    <a:gd name="connsiteY0" fmla="*/ 5622 h 8672"/>
                    <a:gd name="connsiteX1" fmla="*/ 46291 w 46649"/>
                    <a:gd name="connsiteY1" fmla="*/ 8672 h 8672"/>
                    <a:gd name="connsiteX2" fmla="*/ 0 w 46649"/>
                    <a:gd name="connsiteY2" fmla="*/ 3050 h 8672"/>
                    <a:gd name="connsiteX3" fmla="*/ 359 w 46649"/>
                    <a:gd name="connsiteY3" fmla="*/ 0 h 8672"/>
                  </a:gdLst>
                  <a:ahLst/>
                  <a:cxnLst>
                    <a:cxn ang="0">
                      <a:pos x="connsiteX0" y="connsiteY0"/>
                    </a:cxn>
                    <a:cxn ang="0">
                      <a:pos x="connsiteX1" y="connsiteY1"/>
                    </a:cxn>
                    <a:cxn ang="0">
                      <a:pos x="connsiteX2" y="connsiteY2"/>
                    </a:cxn>
                    <a:cxn ang="0">
                      <a:pos x="connsiteX3" y="connsiteY3"/>
                    </a:cxn>
                  </a:cxnLst>
                  <a:rect l="l" t="t" r="r" b="b"/>
                  <a:pathLst>
                    <a:path w="46649" h="8672">
                      <a:moveTo>
                        <a:pt x="46650" y="5622"/>
                      </a:moveTo>
                      <a:lnTo>
                        <a:pt x="46291" y="8672"/>
                      </a:lnTo>
                      <a:lnTo>
                        <a:pt x="0" y="3050"/>
                      </a:lnTo>
                      <a:lnTo>
                        <a:pt x="359" y="0"/>
                      </a:lnTo>
                      <a:close/>
                    </a:path>
                  </a:pathLst>
                </a:custGeom>
                <a:grpFill/>
                <a:ln w="5978" cap="flat">
                  <a:noFill/>
                  <a:prstDash val="solid"/>
                  <a:miter/>
                </a:ln>
              </p:spPr>
              <p:txBody>
                <a:bodyPr rtlCol="0" anchor="ctr"/>
                <a:lstStyle/>
                <a:p>
                  <a:endParaRPr lang="en-GB"/>
                </a:p>
              </p:txBody>
            </p:sp>
            <p:sp>
              <p:nvSpPr>
                <p:cNvPr id="5052" name="Vrije vorm: vorm 5051">
                  <a:extLst>
                    <a:ext uri="{FF2B5EF4-FFF2-40B4-BE49-F238E27FC236}">
                      <a16:creationId xmlns:a16="http://schemas.microsoft.com/office/drawing/2014/main" id="{6939B76C-54F6-4E24-B196-BC49E9027376}"/>
                    </a:ext>
                  </a:extLst>
                </p:cNvPr>
                <p:cNvSpPr/>
                <p:nvPr/>
              </p:nvSpPr>
              <p:spPr>
                <a:xfrm>
                  <a:off x="8073690" y="3653179"/>
                  <a:ext cx="18311" cy="18383"/>
                </a:xfrm>
                <a:custGeom>
                  <a:avLst/>
                  <a:gdLst>
                    <a:gd name="connsiteX0" fmla="*/ 10232 w 18311"/>
                    <a:gd name="connsiteY0" fmla="*/ 65 h 18383"/>
                    <a:gd name="connsiteX1" fmla="*/ 18247 w 18311"/>
                    <a:gd name="connsiteY1" fmla="*/ 10292 h 18383"/>
                    <a:gd name="connsiteX2" fmla="*/ 8079 w 18311"/>
                    <a:gd name="connsiteY2" fmla="*/ 18306 h 18383"/>
                    <a:gd name="connsiteX3" fmla="*/ 65 w 18311"/>
                    <a:gd name="connsiteY3" fmla="*/ 8079 h 18383"/>
                    <a:gd name="connsiteX4" fmla="*/ 10232 w 18311"/>
                    <a:gd name="connsiteY4" fmla="*/ 65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383">
                      <a:moveTo>
                        <a:pt x="10232" y="65"/>
                      </a:moveTo>
                      <a:cubicBezTo>
                        <a:pt x="15256" y="663"/>
                        <a:pt x="18845" y="5268"/>
                        <a:pt x="18247" y="10292"/>
                      </a:cubicBezTo>
                      <a:cubicBezTo>
                        <a:pt x="17648" y="15316"/>
                        <a:pt x="13103" y="18964"/>
                        <a:pt x="8079" y="18306"/>
                      </a:cubicBezTo>
                      <a:cubicBezTo>
                        <a:pt x="3055" y="17708"/>
                        <a:pt x="-533" y="13103"/>
                        <a:pt x="65" y="8079"/>
                      </a:cubicBezTo>
                      <a:cubicBezTo>
                        <a:pt x="663" y="3055"/>
                        <a:pt x="5208" y="-533"/>
                        <a:pt x="10232" y="65"/>
                      </a:cubicBezTo>
                      <a:close/>
                    </a:path>
                  </a:pathLst>
                </a:custGeom>
                <a:grpFill/>
                <a:ln w="5978" cap="flat">
                  <a:noFill/>
                  <a:prstDash val="solid"/>
                  <a:miter/>
                </a:ln>
              </p:spPr>
              <p:txBody>
                <a:bodyPr rtlCol="0" anchor="ctr"/>
                <a:lstStyle/>
                <a:p>
                  <a:endParaRPr lang="en-GB"/>
                </a:p>
              </p:txBody>
            </p:sp>
            <p:sp>
              <p:nvSpPr>
                <p:cNvPr id="5053" name="Vrije vorm: vorm 5052">
                  <a:extLst>
                    <a:ext uri="{FF2B5EF4-FFF2-40B4-BE49-F238E27FC236}">
                      <a16:creationId xmlns:a16="http://schemas.microsoft.com/office/drawing/2014/main" id="{8BBEE4D1-AF29-4D85-B795-F6F2D9529099}"/>
                    </a:ext>
                  </a:extLst>
                </p:cNvPr>
                <p:cNvSpPr/>
                <p:nvPr/>
              </p:nvSpPr>
              <p:spPr>
                <a:xfrm>
                  <a:off x="8028296" y="3647677"/>
                  <a:ext cx="18370" cy="18371"/>
                </a:xfrm>
                <a:custGeom>
                  <a:avLst/>
                  <a:gdLst>
                    <a:gd name="connsiteX0" fmla="*/ 10232 w 18370"/>
                    <a:gd name="connsiteY0" fmla="*/ 65 h 18371"/>
                    <a:gd name="connsiteX1" fmla="*/ 65 w 18370"/>
                    <a:gd name="connsiteY1" fmla="*/ 8079 h 18371"/>
                    <a:gd name="connsiteX2" fmla="*/ 8139 w 18370"/>
                    <a:gd name="connsiteY2" fmla="*/ 18306 h 18371"/>
                    <a:gd name="connsiteX3" fmla="*/ 18306 w 18370"/>
                    <a:gd name="connsiteY3" fmla="*/ 10232 h 18371"/>
                    <a:gd name="connsiteX4" fmla="*/ 10232 w 18370"/>
                    <a:gd name="connsiteY4" fmla="*/ 65 h 1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371">
                      <a:moveTo>
                        <a:pt x="10232" y="65"/>
                      </a:moveTo>
                      <a:cubicBezTo>
                        <a:pt x="5209" y="-533"/>
                        <a:pt x="663" y="3055"/>
                        <a:pt x="65" y="8079"/>
                      </a:cubicBezTo>
                      <a:cubicBezTo>
                        <a:pt x="-533" y="13103"/>
                        <a:pt x="3056" y="17708"/>
                        <a:pt x="8139" y="18306"/>
                      </a:cubicBezTo>
                      <a:cubicBezTo>
                        <a:pt x="13163" y="18905"/>
                        <a:pt x="17708" y="15316"/>
                        <a:pt x="18306" y="10232"/>
                      </a:cubicBezTo>
                      <a:cubicBezTo>
                        <a:pt x="18904" y="5268"/>
                        <a:pt x="15256" y="663"/>
                        <a:pt x="10232" y="65"/>
                      </a:cubicBezTo>
                      <a:close/>
                    </a:path>
                  </a:pathLst>
                </a:custGeom>
                <a:grpFill/>
                <a:ln w="5978" cap="flat">
                  <a:noFill/>
                  <a:prstDash val="solid"/>
                  <a:miter/>
                </a:ln>
              </p:spPr>
              <p:txBody>
                <a:bodyPr rtlCol="0" anchor="ctr"/>
                <a:lstStyle/>
                <a:p>
                  <a:endParaRPr lang="en-GB"/>
                </a:p>
              </p:txBody>
            </p:sp>
          </p:grpSp>
          <p:grpSp>
            <p:nvGrpSpPr>
              <p:cNvPr id="110" name="Graphic 3">
                <a:extLst>
                  <a:ext uri="{FF2B5EF4-FFF2-40B4-BE49-F238E27FC236}">
                    <a16:creationId xmlns:a16="http://schemas.microsoft.com/office/drawing/2014/main" id="{DA186B47-D9C7-4FE5-BCBA-B08447255431}"/>
                  </a:ext>
                </a:extLst>
              </p:cNvPr>
              <p:cNvGrpSpPr/>
              <p:nvPr/>
            </p:nvGrpSpPr>
            <p:grpSpPr>
              <a:xfrm>
                <a:off x="7917874" y="3280742"/>
                <a:ext cx="41134" cy="19962"/>
                <a:chOff x="7917874" y="3280742"/>
                <a:chExt cx="41134" cy="19962"/>
              </a:xfrm>
              <a:grpFill/>
            </p:grpSpPr>
            <p:sp>
              <p:nvSpPr>
                <p:cNvPr id="5048" name="Vrije vorm: vorm 5047">
                  <a:extLst>
                    <a:ext uri="{FF2B5EF4-FFF2-40B4-BE49-F238E27FC236}">
                      <a16:creationId xmlns:a16="http://schemas.microsoft.com/office/drawing/2014/main" id="{19D6F281-DC96-4199-B7E3-63546424A579}"/>
                    </a:ext>
                  </a:extLst>
                </p:cNvPr>
                <p:cNvSpPr/>
                <p:nvPr/>
              </p:nvSpPr>
              <p:spPr>
                <a:xfrm>
                  <a:off x="7926450" y="3288420"/>
                  <a:ext cx="23922" cy="4605"/>
                </a:xfrm>
                <a:custGeom>
                  <a:avLst/>
                  <a:gdLst>
                    <a:gd name="connsiteX0" fmla="*/ 23743 w 23922"/>
                    <a:gd name="connsiteY0" fmla="*/ 0 h 4605"/>
                    <a:gd name="connsiteX1" fmla="*/ 23923 w 23922"/>
                    <a:gd name="connsiteY1" fmla="*/ 3050 h 4605"/>
                    <a:gd name="connsiteX2" fmla="*/ 239 w 23922"/>
                    <a:gd name="connsiteY2" fmla="*/ 4605 h 4605"/>
                    <a:gd name="connsiteX3" fmla="*/ 0 w 23922"/>
                    <a:gd name="connsiteY3" fmla="*/ 1555 h 4605"/>
                  </a:gdLst>
                  <a:ahLst/>
                  <a:cxnLst>
                    <a:cxn ang="0">
                      <a:pos x="connsiteX0" y="connsiteY0"/>
                    </a:cxn>
                    <a:cxn ang="0">
                      <a:pos x="connsiteX1" y="connsiteY1"/>
                    </a:cxn>
                    <a:cxn ang="0">
                      <a:pos x="connsiteX2" y="connsiteY2"/>
                    </a:cxn>
                    <a:cxn ang="0">
                      <a:pos x="connsiteX3" y="connsiteY3"/>
                    </a:cxn>
                  </a:cxnLst>
                  <a:rect l="l" t="t" r="r" b="b"/>
                  <a:pathLst>
                    <a:path w="23922" h="4605">
                      <a:moveTo>
                        <a:pt x="23743" y="0"/>
                      </a:moveTo>
                      <a:lnTo>
                        <a:pt x="23923" y="3050"/>
                      </a:lnTo>
                      <a:lnTo>
                        <a:pt x="239" y="4605"/>
                      </a:lnTo>
                      <a:lnTo>
                        <a:pt x="0" y="1555"/>
                      </a:lnTo>
                      <a:close/>
                    </a:path>
                  </a:pathLst>
                </a:custGeom>
                <a:grpFill/>
                <a:ln w="5978" cap="flat">
                  <a:noFill/>
                  <a:prstDash val="solid"/>
                  <a:miter/>
                </a:ln>
              </p:spPr>
              <p:txBody>
                <a:bodyPr rtlCol="0" anchor="ctr"/>
                <a:lstStyle/>
                <a:p>
                  <a:endParaRPr lang="en-GB"/>
                </a:p>
              </p:txBody>
            </p:sp>
            <p:sp>
              <p:nvSpPr>
                <p:cNvPr id="5049" name="Vrije vorm: vorm 5048">
                  <a:extLst>
                    <a:ext uri="{FF2B5EF4-FFF2-40B4-BE49-F238E27FC236}">
                      <a16:creationId xmlns:a16="http://schemas.microsoft.com/office/drawing/2014/main" id="{920D27B3-D644-44B7-A343-BEB2AF36B7BD}"/>
                    </a:ext>
                  </a:extLst>
                </p:cNvPr>
                <p:cNvSpPr/>
                <p:nvPr/>
              </p:nvSpPr>
              <p:spPr>
                <a:xfrm>
                  <a:off x="7940660" y="3280742"/>
                  <a:ext cx="18347" cy="18406"/>
                </a:xfrm>
                <a:custGeom>
                  <a:avLst/>
                  <a:gdLst>
                    <a:gd name="connsiteX0" fmla="*/ 8517 w 18347"/>
                    <a:gd name="connsiteY0" fmla="*/ 23 h 18406"/>
                    <a:gd name="connsiteX1" fmla="*/ 18324 w 18347"/>
                    <a:gd name="connsiteY1" fmla="*/ 8575 h 18406"/>
                    <a:gd name="connsiteX2" fmla="*/ 9832 w 18347"/>
                    <a:gd name="connsiteY2" fmla="*/ 18384 h 18406"/>
                    <a:gd name="connsiteX3" fmla="*/ 24 w 18347"/>
                    <a:gd name="connsiteY3" fmla="*/ 9831 h 18406"/>
                    <a:gd name="connsiteX4" fmla="*/ 8517 w 18347"/>
                    <a:gd name="connsiteY4" fmla="*/ 2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6">
                      <a:moveTo>
                        <a:pt x="8517" y="23"/>
                      </a:moveTo>
                      <a:cubicBezTo>
                        <a:pt x="13540" y="-336"/>
                        <a:pt x="17966" y="3552"/>
                        <a:pt x="18324" y="8575"/>
                      </a:cubicBezTo>
                      <a:cubicBezTo>
                        <a:pt x="18684" y="13659"/>
                        <a:pt x="14856" y="18025"/>
                        <a:pt x="9832" y="18384"/>
                      </a:cubicBezTo>
                      <a:cubicBezTo>
                        <a:pt x="4809" y="18743"/>
                        <a:pt x="382" y="14855"/>
                        <a:pt x="24" y="9831"/>
                      </a:cubicBezTo>
                      <a:cubicBezTo>
                        <a:pt x="-336" y="4748"/>
                        <a:pt x="3432" y="382"/>
                        <a:pt x="8517" y="23"/>
                      </a:cubicBezTo>
                      <a:close/>
                    </a:path>
                  </a:pathLst>
                </a:custGeom>
                <a:grpFill/>
                <a:ln w="5978" cap="flat">
                  <a:noFill/>
                  <a:prstDash val="solid"/>
                  <a:miter/>
                </a:ln>
              </p:spPr>
              <p:txBody>
                <a:bodyPr rtlCol="0" anchor="ctr"/>
                <a:lstStyle/>
                <a:p>
                  <a:endParaRPr lang="en-GB"/>
                </a:p>
              </p:txBody>
            </p:sp>
            <p:sp>
              <p:nvSpPr>
                <p:cNvPr id="5050" name="Vrije vorm: vorm 5049">
                  <a:extLst>
                    <a:ext uri="{FF2B5EF4-FFF2-40B4-BE49-F238E27FC236}">
                      <a16:creationId xmlns:a16="http://schemas.microsoft.com/office/drawing/2014/main" id="{90E9C586-C13B-43FC-9F1B-ACC23E500A56}"/>
                    </a:ext>
                  </a:extLst>
                </p:cNvPr>
                <p:cNvSpPr/>
                <p:nvPr/>
              </p:nvSpPr>
              <p:spPr>
                <a:xfrm>
                  <a:off x="7917874" y="3282297"/>
                  <a:ext cx="18347" cy="18407"/>
                </a:xfrm>
                <a:custGeom>
                  <a:avLst/>
                  <a:gdLst>
                    <a:gd name="connsiteX0" fmla="*/ 8516 w 18347"/>
                    <a:gd name="connsiteY0" fmla="*/ 23 h 18407"/>
                    <a:gd name="connsiteX1" fmla="*/ 23 w 18347"/>
                    <a:gd name="connsiteY1" fmla="*/ 9832 h 18407"/>
                    <a:gd name="connsiteX2" fmla="*/ 9832 w 18347"/>
                    <a:gd name="connsiteY2" fmla="*/ 18384 h 18407"/>
                    <a:gd name="connsiteX3" fmla="*/ 18325 w 18347"/>
                    <a:gd name="connsiteY3" fmla="*/ 8576 h 18407"/>
                    <a:gd name="connsiteX4" fmla="*/ 8516 w 18347"/>
                    <a:gd name="connsiteY4" fmla="*/ 2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8516" y="23"/>
                      </a:moveTo>
                      <a:cubicBezTo>
                        <a:pt x="3493" y="382"/>
                        <a:pt x="-335" y="4748"/>
                        <a:pt x="23" y="9832"/>
                      </a:cubicBezTo>
                      <a:cubicBezTo>
                        <a:pt x="382" y="14915"/>
                        <a:pt x="4748" y="18743"/>
                        <a:pt x="9832" y="18384"/>
                      </a:cubicBezTo>
                      <a:cubicBezTo>
                        <a:pt x="14856" y="18025"/>
                        <a:pt x="18683" y="13659"/>
                        <a:pt x="18325" y="8576"/>
                      </a:cubicBezTo>
                      <a:cubicBezTo>
                        <a:pt x="17965" y="3492"/>
                        <a:pt x="13540" y="-336"/>
                        <a:pt x="8516" y="23"/>
                      </a:cubicBezTo>
                      <a:close/>
                    </a:path>
                  </a:pathLst>
                </a:custGeom>
                <a:grpFill/>
                <a:ln w="5978" cap="flat">
                  <a:noFill/>
                  <a:prstDash val="solid"/>
                  <a:miter/>
                </a:ln>
              </p:spPr>
              <p:txBody>
                <a:bodyPr rtlCol="0" anchor="ctr"/>
                <a:lstStyle/>
                <a:p>
                  <a:endParaRPr lang="en-GB"/>
                </a:p>
              </p:txBody>
            </p:sp>
          </p:grpSp>
          <p:grpSp>
            <p:nvGrpSpPr>
              <p:cNvPr id="111" name="Graphic 3">
                <a:extLst>
                  <a:ext uri="{FF2B5EF4-FFF2-40B4-BE49-F238E27FC236}">
                    <a16:creationId xmlns:a16="http://schemas.microsoft.com/office/drawing/2014/main" id="{B0433905-2C3A-4C01-8C0B-50758537F718}"/>
                  </a:ext>
                </a:extLst>
              </p:cNvPr>
              <p:cNvGrpSpPr/>
              <p:nvPr/>
            </p:nvGrpSpPr>
            <p:grpSpPr>
              <a:xfrm>
                <a:off x="7755625" y="2928928"/>
                <a:ext cx="148991" cy="52489"/>
                <a:chOff x="7755625" y="2928928"/>
                <a:chExt cx="148991" cy="52489"/>
              </a:xfrm>
              <a:grpFill/>
            </p:grpSpPr>
            <p:sp>
              <p:nvSpPr>
                <p:cNvPr id="5045" name="Vrije vorm: vorm 5044">
                  <a:extLst>
                    <a:ext uri="{FF2B5EF4-FFF2-40B4-BE49-F238E27FC236}">
                      <a16:creationId xmlns:a16="http://schemas.microsoft.com/office/drawing/2014/main" id="{4398720F-C804-4857-9FD2-577B29F03EDA}"/>
                    </a:ext>
                  </a:extLst>
                </p:cNvPr>
                <p:cNvSpPr/>
                <p:nvPr/>
              </p:nvSpPr>
              <p:spPr>
                <a:xfrm>
                  <a:off x="7763624" y="2936476"/>
                  <a:ext cx="132306" cy="37249"/>
                </a:xfrm>
                <a:custGeom>
                  <a:avLst/>
                  <a:gdLst>
                    <a:gd name="connsiteX0" fmla="*/ 0 w 132306"/>
                    <a:gd name="connsiteY0" fmla="*/ 34298 h 37249"/>
                    <a:gd name="connsiteX1" fmla="*/ 131537 w 132306"/>
                    <a:gd name="connsiteY1" fmla="*/ 0 h 37249"/>
                    <a:gd name="connsiteX2" fmla="*/ 132307 w 132306"/>
                    <a:gd name="connsiteY2" fmla="*/ 2951 h 37249"/>
                    <a:gd name="connsiteX3" fmla="*/ 770 w 132306"/>
                    <a:gd name="connsiteY3" fmla="*/ 37249 h 37249"/>
                  </a:gdLst>
                  <a:ahLst/>
                  <a:cxnLst>
                    <a:cxn ang="0">
                      <a:pos x="connsiteX0" y="connsiteY0"/>
                    </a:cxn>
                    <a:cxn ang="0">
                      <a:pos x="connsiteX1" y="connsiteY1"/>
                    </a:cxn>
                    <a:cxn ang="0">
                      <a:pos x="connsiteX2" y="connsiteY2"/>
                    </a:cxn>
                    <a:cxn ang="0">
                      <a:pos x="connsiteX3" y="connsiteY3"/>
                    </a:cxn>
                  </a:cxnLst>
                  <a:rect l="l" t="t" r="r" b="b"/>
                  <a:pathLst>
                    <a:path w="132306" h="37249">
                      <a:moveTo>
                        <a:pt x="0" y="34298"/>
                      </a:moveTo>
                      <a:lnTo>
                        <a:pt x="131537" y="0"/>
                      </a:lnTo>
                      <a:lnTo>
                        <a:pt x="132307" y="2951"/>
                      </a:lnTo>
                      <a:lnTo>
                        <a:pt x="770" y="37249"/>
                      </a:lnTo>
                      <a:close/>
                    </a:path>
                  </a:pathLst>
                </a:custGeom>
                <a:grpFill/>
                <a:ln w="5978" cap="flat">
                  <a:noFill/>
                  <a:prstDash val="solid"/>
                  <a:miter/>
                </a:ln>
              </p:spPr>
              <p:txBody>
                <a:bodyPr rtlCol="0" anchor="ctr"/>
                <a:lstStyle/>
                <a:p>
                  <a:endParaRPr lang="en-GB"/>
                </a:p>
              </p:txBody>
            </p:sp>
            <p:sp>
              <p:nvSpPr>
                <p:cNvPr id="5046" name="Vrije vorm: vorm 5045">
                  <a:extLst>
                    <a:ext uri="{FF2B5EF4-FFF2-40B4-BE49-F238E27FC236}">
                      <a16:creationId xmlns:a16="http://schemas.microsoft.com/office/drawing/2014/main" id="{66B3DC04-096A-416F-AEF9-5EBFBB87C8BB}"/>
                    </a:ext>
                  </a:extLst>
                </p:cNvPr>
                <p:cNvSpPr/>
                <p:nvPr/>
              </p:nvSpPr>
              <p:spPr>
                <a:xfrm>
                  <a:off x="7886303" y="2928928"/>
                  <a:ext cx="18312" cy="18462"/>
                </a:xfrm>
                <a:custGeom>
                  <a:avLst/>
                  <a:gdLst>
                    <a:gd name="connsiteX0" fmla="*/ 6834 w 18312"/>
                    <a:gd name="connsiteY0" fmla="*/ 290 h 18462"/>
                    <a:gd name="connsiteX1" fmla="*/ 18018 w 18312"/>
                    <a:gd name="connsiteY1" fmla="*/ 6929 h 18462"/>
                    <a:gd name="connsiteX2" fmla="*/ 11499 w 18312"/>
                    <a:gd name="connsiteY2" fmla="*/ 18173 h 18462"/>
                    <a:gd name="connsiteX3" fmla="*/ 315 w 18312"/>
                    <a:gd name="connsiteY3" fmla="*/ 11534 h 18462"/>
                    <a:gd name="connsiteX4" fmla="*/ 6834 w 18312"/>
                    <a:gd name="connsiteY4" fmla="*/ 29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62">
                      <a:moveTo>
                        <a:pt x="6834" y="290"/>
                      </a:moveTo>
                      <a:cubicBezTo>
                        <a:pt x="11738" y="-966"/>
                        <a:pt x="16762" y="1965"/>
                        <a:pt x="18018" y="6929"/>
                      </a:cubicBezTo>
                      <a:cubicBezTo>
                        <a:pt x="19274" y="11833"/>
                        <a:pt x="16403" y="16857"/>
                        <a:pt x="11499" y="18173"/>
                      </a:cubicBezTo>
                      <a:cubicBezTo>
                        <a:pt x="6595" y="19428"/>
                        <a:pt x="1571" y="16498"/>
                        <a:pt x="315" y="11534"/>
                      </a:cubicBezTo>
                      <a:cubicBezTo>
                        <a:pt x="-1001" y="6570"/>
                        <a:pt x="1930" y="1546"/>
                        <a:pt x="6834" y="290"/>
                      </a:cubicBezTo>
                      <a:close/>
                    </a:path>
                  </a:pathLst>
                </a:custGeom>
                <a:grpFill/>
                <a:ln w="5978" cap="flat">
                  <a:noFill/>
                  <a:prstDash val="solid"/>
                  <a:miter/>
                </a:ln>
              </p:spPr>
              <p:txBody>
                <a:bodyPr rtlCol="0" anchor="ctr"/>
                <a:lstStyle/>
                <a:p>
                  <a:endParaRPr lang="en-GB"/>
                </a:p>
              </p:txBody>
            </p:sp>
            <p:sp>
              <p:nvSpPr>
                <p:cNvPr id="5047" name="Vrije vorm: vorm 5046">
                  <a:extLst>
                    <a:ext uri="{FF2B5EF4-FFF2-40B4-BE49-F238E27FC236}">
                      <a16:creationId xmlns:a16="http://schemas.microsoft.com/office/drawing/2014/main" id="{A02AAEF4-A22C-4AB6-A2DE-D22F7E4D3554}"/>
                    </a:ext>
                  </a:extLst>
                </p:cNvPr>
                <p:cNvSpPr/>
                <p:nvPr/>
              </p:nvSpPr>
              <p:spPr>
                <a:xfrm>
                  <a:off x="7755625" y="2962938"/>
                  <a:ext cx="18332" cy="18479"/>
                </a:xfrm>
                <a:custGeom>
                  <a:avLst/>
                  <a:gdLst>
                    <a:gd name="connsiteX0" fmla="*/ 6834 w 18332"/>
                    <a:gd name="connsiteY0" fmla="*/ 310 h 18479"/>
                    <a:gd name="connsiteX1" fmla="*/ 315 w 18332"/>
                    <a:gd name="connsiteY1" fmla="*/ 11554 h 18479"/>
                    <a:gd name="connsiteX2" fmla="*/ 11499 w 18332"/>
                    <a:gd name="connsiteY2" fmla="*/ 18193 h 18479"/>
                    <a:gd name="connsiteX3" fmla="*/ 18017 w 18332"/>
                    <a:gd name="connsiteY3" fmla="*/ 6949 h 18479"/>
                    <a:gd name="connsiteX4" fmla="*/ 6834 w 18332"/>
                    <a:gd name="connsiteY4" fmla="*/ 310 h 1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79">
                      <a:moveTo>
                        <a:pt x="6834" y="310"/>
                      </a:moveTo>
                      <a:cubicBezTo>
                        <a:pt x="1930" y="1566"/>
                        <a:pt x="-1001" y="6590"/>
                        <a:pt x="315" y="11554"/>
                      </a:cubicBezTo>
                      <a:cubicBezTo>
                        <a:pt x="1630" y="16458"/>
                        <a:pt x="6595" y="19449"/>
                        <a:pt x="11499" y="18193"/>
                      </a:cubicBezTo>
                      <a:cubicBezTo>
                        <a:pt x="16403" y="16937"/>
                        <a:pt x="19334" y="11913"/>
                        <a:pt x="18017" y="6949"/>
                      </a:cubicBezTo>
                      <a:cubicBezTo>
                        <a:pt x="16702" y="1985"/>
                        <a:pt x="11738" y="-1005"/>
                        <a:pt x="6834" y="310"/>
                      </a:cubicBezTo>
                      <a:close/>
                    </a:path>
                  </a:pathLst>
                </a:custGeom>
                <a:grpFill/>
                <a:ln w="5978" cap="flat">
                  <a:noFill/>
                  <a:prstDash val="solid"/>
                  <a:miter/>
                </a:ln>
              </p:spPr>
              <p:txBody>
                <a:bodyPr rtlCol="0" anchor="ctr"/>
                <a:lstStyle/>
                <a:p>
                  <a:endParaRPr lang="en-GB"/>
                </a:p>
              </p:txBody>
            </p:sp>
          </p:grpSp>
          <p:grpSp>
            <p:nvGrpSpPr>
              <p:cNvPr id="112" name="Graphic 3">
                <a:extLst>
                  <a:ext uri="{FF2B5EF4-FFF2-40B4-BE49-F238E27FC236}">
                    <a16:creationId xmlns:a16="http://schemas.microsoft.com/office/drawing/2014/main" id="{374BF062-822A-46B3-8A0C-7CCBB3193D46}"/>
                  </a:ext>
                </a:extLst>
              </p:cNvPr>
              <p:cNvGrpSpPr/>
              <p:nvPr/>
            </p:nvGrpSpPr>
            <p:grpSpPr>
              <a:xfrm>
                <a:off x="7399990" y="2006899"/>
                <a:ext cx="311484" cy="267819"/>
                <a:chOff x="7399990" y="2006899"/>
                <a:chExt cx="311484" cy="267819"/>
              </a:xfrm>
              <a:grpFill/>
            </p:grpSpPr>
            <p:sp>
              <p:nvSpPr>
                <p:cNvPr id="5042" name="Vrije vorm: vorm 5041">
                  <a:extLst>
                    <a:ext uri="{FF2B5EF4-FFF2-40B4-BE49-F238E27FC236}">
                      <a16:creationId xmlns:a16="http://schemas.microsoft.com/office/drawing/2014/main" id="{8AC3A0AB-9528-4CC3-B9D9-2D8EE71719BB}"/>
                    </a:ext>
                  </a:extLst>
                </p:cNvPr>
                <p:cNvSpPr/>
                <p:nvPr/>
              </p:nvSpPr>
              <p:spPr>
                <a:xfrm>
                  <a:off x="7407802" y="2014646"/>
                  <a:ext cx="295866" cy="252326"/>
                </a:xfrm>
                <a:custGeom>
                  <a:avLst/>
                  <a:gdLst>
                    <a:gd name="connsiteX0" fmla="*/ 295866 w 295866"/>
                    <a:gd name="connsiteY0" fmla="*/ 2392 h 252326"/>
                    <a:gd name="connsiteX1" fmla="*/ 1973 w 295866"/>
                    <a:gd name="connsiteY1" fmla="*/ 252327 h 252326"/>
                    <a:gd name="connsiteX2" fmla="*/ 0 w 295866"/>
                    <a:gd name="connsiteY2" fmla="*/ 249994 h 252326"/>
                    <a:gd name="connsiteX3" fmla="*/ 293893 w 295866"/>
                    <a:gd name="connsiteY3" fmla="*/ 0 h 252326"/>
                  </a:gdLst>
                  <a:ahLst/>
                  <a:cxnLst>
                    <a:cxn ang="0">
                      <a:pos x="connsiteX0" y="connsiteY0"/>
                    </a:cxn>
                    <a:cxn ang="0">
                      <a:pos x="connsiteX1" y="connsiteY1"/>
                    </a:cxn>
                    <a:cxn ang="0">
                      <a:pos x="connsiteX2" y="connsiteY2"/>
                    </a:cxn>
                    <a:cxn ang="0">
                      <a:pos x="connsiteX3" y="connsiteY3"/>
                    </a:cxn>
                  </a:cxnLst>
                  <a:rect l="l" t="t" r="r" b="b"/>
                  <a:pathLst>
                    <a:path w="295866" h="252326">
                      <a:moveTo>
                        <a:pt x="295866" y="2392"/>
                      </a:moveTo>
                      <a:lnTo>
                        <a:pt x="1973" y="252327"/>
                      </a:lnTo>
                      <a:lnTo>
                        <a:pt x="0" y="249994"/>
                      </a:lnTo>
                      <a:lnTo>
                        <a:pt x="293893" y="0"/>
                      </a:lnTo>
                      <a:close/>
                    </a:path>
                  </a:pathLst>
                </a:custGeom>
                <a:grpFill/>
                <a:ln w="5978" cap="flat">
                  <a:noFill/>
                  <a:prstDash val="solid"/>
                  <a:miter/>
                </a:ln>
              </p:spPr>
              <p:txBody>
                <a:bodyPr rtlCol="0" anchor="ctr"/>
                <a:lstStyle/>
                <a:p>
                  <a:endParaRPr lang="en-GB"/>
                </a:p>
              </p:txBody>
            </p:sp>
            <p:sp>
              <p:nvSpPr>
                <p:cNvPr id="5043" name="Vrije vorm: vorm 5042">
                  <a:extLst>
                    <a:ext uri="{FF2B5EF4-FFF2-40B4-BE49-F238E27FC236}">
                      <a16:creationId xmlns:a16="http://schemas.microsoft.com/office/drawing/2014/main" id="{08219A9D-B93C-40BA-9AEC-98186098DACD}"/>
                    </a:ext>
                  </a:extLst>
                </p:cNvPr>
                <p:cNvSpPr/>
                <p:nvPr/>
              </p:nvSpPr>
              <p:spPr>
                <a:xfrm>
                  <a:off x="7693155" y="2006899"/>
                  <a:ext cx="18319" cy="18423"/>
                </a:xfrm>
                <a:custGeom>
                  <a:avLst/>
                  <a:gdLst>
                    <a:gd name="connsiteX0" fmla="*/ 3217 w 18319"/>
                    <a:gd name="connsiteY0" fmla="*/ 2185 h 18423"/>
                    <a:gd name="connsiteX1" fmla="*/ 16135 w 18319"/>
                    <a:gd name="connsiteY1" fmla="*/ 3261 h 18423"/>
                    <a:gd name="connsiteX2" fmla="*/ 15059 w 18319"/>
                    <a:gd name="connsiteY2" fmla="*/ 16239 h 18423"/>
                    <a:gd name="connsiteX3" fmla="*/ 2140 w 18319"/>
                    <a:gd name="connsiteY3" fmla="*/ 15163 h 18423"/>
                    <a:gd name="connsiteX4" fmla="*/ 3217 w 18319"/>
                    <a:gd name="connsiteY4" fmla="*/ 2185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3">
                      <a:moveTo>
                        <a:pt x="3217" y="2185"/>
                      </a:moveTo>
                      <a:cubicBezTo>
                        <a:pt x="7045" y="-1105"/>
                        <a:pt x="12846" y="-626"/>
                        <a:pt x="16135" y="3261"/>
                      </a:cubicBezTo>
                      <a:cubicBezTo>
                        <a:pt x="19425" y="7149"/>
                        <a:pt x="18946" y="12950"/>
                        <a:pt x="15059" y="16239"/>
                      </a:cubicBezTo>
                      <a:cubicBezTo>
                        <a:pt x="11231" y="19529"/>
                        <a:pt x="5430" y="19050"/>
                        <a:pt x="2140" y="15163"/>
                      </a:cubicBezTo>
                      <a:cubicBezTo>
                        <a:pt x="-1090" y="11275"/>
                        <a:pt x="-611" y="5474"/>
                        <a:pt x="3217" y="2185"/>
                      </a:cubicBezTo>
                      <a:close/>
                    </a:path>
                  </a:pathLst>
                </a:custGeom>
                <a:grpFill/>
                <a:ln w="5978" cap="flat">
                  <a:noFill/>
                  <a:prstDash val="solid"/>
                  <a:miter/>
                </a:ln>
              </p:spPr>
              <p:txBody>
                <a:bodyPr rtlCol="0" anchor="ctr"/>
                <a:lstStyle/>
                <a:p>
                  <a:endParaRPr lang="en-GB"/>
                </a:p>
              </p:txBody>
            </p:sp>
            <p:sp>
              <p:nvSpPr>
                <p:cNvPr id="5044" name="Vrije vorm: vorm 5043">
                  <a:extLst>
                    <a:ext uri="{FF2B5EF4-FFF2-40B4-BE49-F238E27FC236}">
                      <a16:creationId xmlns:a16="http://schemas.microsoft.com/office/drawing/2014/main" id="{6511240E-ACAD-4C5E-BC7A-A39B563DC634}"/>
                    </a:ext>
                  </a:extLst>
                </p:cNvPr>
                <p:cNvSpPr/>
                <p:nvPr/>
              </p:nvSpPr>
              <p:spPr>
                <a:xfrm>
                  <a:off x="7399990" y="2256296"/>
                  <a:ext cx="18344" cy="18423"/>
                </a:xfrm>
                <a:custGeom>
                  <a:avLst/>
                  <a:gdLst>
                    <a:gd name="connsiteX0" fmla="*/ 3207 w 18344"/>
                    <a:gd name="connsiteY0" fmla="*/ 2185 h 18423"/>
                    <a:gd name="connsiteX1" fmla="*/ 2190 w 18344"/>
                    <a:gd name="connsiteY1" fmla="*/ 15163 h 18423"/>
                    <a:gd name="connsiteX2" fmla="*/ 15108 w 18344"/>
                    <a:gd name="connsiteY2" fmla="*/ 16239 h 18423"/>
                    <a:gd name="connsiteX3" fmla="*/ 16185 w 18344"/>
                    <a:gd name="connsiteY3" fmla="*/ 3261 h 18423"/>
                    <a:gd name="connsiteX4" fmla="*/ 3207 w 18344"/>
                    <a:gd name="connsiteY4" fmla="*/ 2185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3">
                      <a:moveTo>
                        <a:pt x="3207" y="2185"/>
                      </a:moveTo>
                      <a:cubicBezTo>
                        <a:pt x="-621" y="5474"/>
                        <a:pt x="-1099" y="11275"/>
                        <a:pt x="2190" y="15163"/>
                      </a:cubicBezTo>
                      <a:cubicBezTo>
                        <a:pt x="5479" y="19050"/>
                        <a:pt x="11280" y="19529"/>
                        <a:pt x="15108" y="16239"/>
                      </a:cubicBezTo>
                      <a:cubicBezTo>
                        <a:pt x="18996" y="12950"/>
                        <a:pt x="19414" y="7149"/>
                        <a:pt x="16185" y="3261"/>
                      </a:cubicBezTo>
                      <a:cubicBezTo>
                        <a:pt x="12836" y="-626"/>
                        <a:pt x="7034" y="-1105"/>
                        <a:pt x="3207" y="2185"/>
                      </a:cubicBezTo>
                      <a:close/>
                    </a:path>
                  </a:pathLst>
                </a:custGeom>
                <a:grpFill/>
                <a:ln w="5978" cap="flat">
                  <a:noFill/>
                  <a:prstDash val="solid"/>
                  <a:miter/>
                </a:ln>
              </p:spPr>
              <p:txBody>
                <a:bodyPr rtlCol="0" anchor="ctr"/>
                <a:lstStyle/>
                <a:p>
                  <a:endParaRPr lang="en-GB"/>
                </a:p>
              </p:txBody>
            </p:sp>
          </p:grpSp>
          <p:grpSp>
            <p:nvGrpSpPr>
              <p:cNvPr id="113" name="Graphic 3">
                <a:extLst>
                  <a:ext uri="{FF2B5EF4-FFF2-40B4-BE49-F238E27FC236}">
                    <a16:creationId xmlns:a16="http://schemas.microsoft.com/office/drawing/2014/main" id="{A4E4649E-C688-43BC-801F-22F43D4EA368}"/>
                  </a:ext>
                </a:extLst>
              </p:cNvPr>
              <p:cNvGrpSpPr/>
              <p:nvPr/>
            </p:nvGrpSpPr>
            <p:grpSpPr>
              <a:xfrm>
                <a:off x="7995366" y="3606722"/>
                <a:ext cx="110009" cy="27784"/>
                <a:chOff x="7995366" y="3606722"/>
                <a:chExt cx="110009" cy="27784"/>
              </a:xfrm>
              <a:grpFill/>
            </p:grpSpPr>
            <p:sp>
              <p:nvSpPr>
                <p:cNvPr id="5039" name="Vrije vorm: vorm 5038">
                  <a:extLst>
                    <a:ext uri="{FF2B5EF4-FFF2-40B4-BE49-F238E27FC236}">
                      <a16:creationId xmlns:a16="http://schemas.microsoft.com/office/drawing/2014/main" id="{39F45128-EBB3-4785-9CBA-E6911397B844}"/>
                    </a:ext>
                  </a:extLst>
                </p:cNvPr>
                <p:cNvSpPr/>
                <p:nvPr/>
              </p:nvSpPr>
              <p:spPr>
                <a:xfrm>
                  <a:off x="8003900" y="3614369"/>
                  <a:ext cx="92880" cy="12499"/>
                </a:xfrm>
                <a:custGeom>
                  <a:avLst/>
                  <a:gdLst>
                    <a:gd name="connsiteX0" fmla="*/ 92881 w 92880"/>
                    <a:gd name="connsiteY0" fmla="*/ 9449 h 12499"/>
                    <a:gd name="connsiteX1" fmla="*/ 92582 w 92880"/>
                    <a:gd name="connsiteY1" fmla="*/ 12500 h 12499"/>
                    <a:gd name="connsiteX2" fmla="*/ 0 w 92880"/>
                    <a:gd name="connsiteY2" fmla="*/ 3050 h 12499"/>
                    <a:gd name="connsiteX3" fmla="*/ 299 w 92880"/>
                    <a:gd name="connsiteY3" fmla="*/ 0 h 12499"/>
                  </a:gdLst>
                  <a:ahLst/>
                  <a:cxnLst>
                    <a:cxn ang="0">
                      <a:pos x="connsiteX0" y="connsiteY0"/>
                    </a:cxn>
                    <a:cxn ang="0">
                      <a:pos x="connsiteX1" y="connsiteY1"/>
                    </a:cxn>
                    <a:cxn ang="0">
                      <a:pos x="connsiteX2" y="connsiteY2"/>
                    </a:cxn>
                    <a:cxn ang="0">
                      <a:pos x="connsiteX3" y="connsiteY3"/>
                    </a:cxn>
                  </a:cxnLst>
                  <a:rect l="l" t="t" r="r" b="b"/>
                  <a:pathLst>
                    <a:path w="92880" h="12499">
                      <a:moveTo>
                        <a:pt x="92881" y="9449"/>
                      </a:moveTo>
                      <a:lnTo>
                        <a:pt x="92582" y="12500"/>
                      </a:lnTo>
                      <a:lnTo>
                        <a:pt x="0" y="3050"/>
                      </a:lnTo>
                      <a:lnTo>
                        <a:pt x="299" y="0"/>
                      </a:lnTo>
                      <a:close/>
                    </a:path>
                  </a:pathLst>
                </a:custGeom>
                <a:grpFill/>
                <a:ln w="5978" cap="flat">
                  <a:noFill/>
                  <a:prstDash val="solid"/>
                  <a:miter/>
                </a:ln>
              </p:spPr>
              <p:txBody>
                <a:bodyPr rtlCol="0" anchor="ctr"/>
                <a:lstStyle/>
                <a:p>
                  <a:endParaRPr lang="en-GB"/>
                </a:p>
              </p:txBody>
            </p:sp>
            <p:sp>
              <p:nvSpPr>
                <p:cNvPr id="5040" name="Vrije vorm: vorm 5039">
                  <a:extLst>
                    <a:ext uri="{FF2B5EF4-FFF2-40B4-BE49-F238E27FC236}">
                      <a16:creationId xmlns:a16="http://schemas.microsoft.com/office/drawing/2014/main" id="{AA74DECE-3FF4-4320-BF62-D04BC022F29D}"/>
                    </a:ext>
                  </a:extLst>
                </p:cNvPr>
                <p:cNvSpPr/>
                <p:nvPr/>
              </p:nvSpPr>
              <p:spPr>
                <a:xfrm>
                  <a:off x="8087050" y="3616062"/>
                  <a:ext cx="18324" cy="18444"/>
                </a:xfrm>
                <a:custGeom>
                  <a:avLst/>
                  <a:gdLst>
                    <a:gd name="connsiteX0" fmla="*/ 10030 w 18324"/>
                    <a:gd name="connsiteY0" fmla="*/ 42 h 18444"/>
                    <a:gd name="connsiteX1" fmla="*/ 18283 w 18324"/>
                    <a:gd name="connsiteY1" fmla="*/ 10150 h 18444"/>
                    <a:gd name="connsiteX2" fmla="*/ 8295 w 18324"/>
                    <a:gd name="connsiteY2" fmla="*/ 18403 h 18444"/>
                    <a:gd name="connsiteX3" fmla="*/ 42 w 18324"/>
                    <a:gd name="connsiteY3" fmla="*/ 8295 h 18444"/>
                    <a:gd name="connsiteX4" fmla="*/ 10030 w 18324"/>
                    <a:gd name="connsiteY4" fmla="*/ 4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4">
                      <a:moveTo>
                        <a:pt x="10030" y="42"/>
                      </a:moveTo>
                      <a:cubicBezTo>
                        <a:pt x="15053" y="580"/>
                        <a:pt x="18761" y="5066"/>
                        <a:pt x="18283" y="10150"/>
                      </a:cubicBezTo>
                      <a:cubicBezTo>
                        <a:pt x="17804" y="15233"/>
                        <a:pt x="13319" y="18881"/>
                        <a:pt x="8295" y="18403"/>
                      </a:cubicBezTo>
                      <a:cubicBezTo>
                        <a:pt x="3271" y="17865"/>
                        <a:pt x="-437" y="13379"/>
                        <a:pt x="42" y="8295"/>
                      </a:cubicBezTo>
                      <a:cubicBezTo>
                        <a:pt x="520" y="3212"/>
                        <a:pt x="5005" y="-436"/>
                        <a:pt x="10030" y="42"/>
                      </a:cubicBezTo>
                      <a:close/>
                    </a:path>
                  </a:pathLst>
                </a:custGeom>
                <a:grpFill/>
                <a:ln w="5978" cap="flat">
                  <a:noFill/>
                  <a:prstDash val="solid"/>
                  <a:miter/>
                </a:ln>
              </p:spPr>
              <p:txBody>
                <a:bodyPr rtlCol="0" anchor="ctr"/>
                <a:lstStyle/>
                <a:p>
                  <a:endParaRPr lang="en-GB"/>
                </a:p>
              </p:txBody>
            </p:sp>
            <p:sp>
              <p:nvSpPr>
                <p:cNvPr id="5041" name="Vrije vorm: vorm 5040">
                  <a:extLst>
                    <a:ext uri="{FF2B5EF4-FFF2-40B4-BE49-F238E27FC236}">
                      <a16:creationId xmlns:a16="http://schemas.microsoft.com/office/drawing/2014/main" id="{EA4AAB73-A741-442F-9248-D2B0F0A5B287}"/>
                    </a:ext>
                  </a:extLst>
                </p:cNvPr>
                <p:cNvSpPr/>
                <p:nvPr/>
              </p:nvSpPr>
              <p:spPr>
                <a:xfrm>
                  <a:off x="7995366" y="3606722"/>
                  <a:ext cx="18324" cy="18464"/>
                </a:xfrm>
                <a:custGeom>
                  <a:avLst/>
                  <a:gdLst>
                    <a:gd name="connsiteX0" fmla="*/ 10030 w 18324"/>
                    <a:gd name="connsiteY0" fmla="*/ 52 h 18464"/>
                    <a:gd name="connsiteX1" fmla="*/ 42 w 18324"/>
                    <a:gd name="connsiteY1" fmla="*/ 8305 h 18464"/>
                    <a:gd name="connsiteX2" fmla="*/ 8296 w 18324"/>
                    <a:gd name="connsiteY2" fmla="*/ 18413 h 18464"/>
                    <a:gd name="connsiteX3" fmla="*/ 18283 w 18324"/>
                    <a:gd name="connsiteY3" fmla="*/ 10159 h 18464"/>
                    <a:gd name="connsiteX4" fmla="*/ 10030 w 18324"/>
                    <a:gd name="connsiteY4" fmla="*/ 5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4">
                      <a:moveTo>
                        <a:pt x="10030" y="52"/>
                      </a:moveTo>
                      <a:cubicBezTo>
                        <a:pt x="5006" y="-486"/>
                        <a:pt x="520" y="3222"/>
                        <a:pt x="42" y="8305"/>
                      </a:cubicBezTo>
                      <a:cubicBezTo>
                        <a:pt x="-437" y="13389"/>
                        <a:pt x="3211" y="17874"/>
                        <a:pt x="8296" y="18413"/>
                      </a:cubicBezTo>
                      <a:cubicBezTo>
                        <a:pt x="13319" y="18951"/>
                        <a:pt x="17805" y="15243"/>
                        <a:pt x="18283" y="10159"/>
                      </a:cubicBezTo>
                      <a:cubicBezTo>
                        <a:pt x="18762" y="5076"/>
                        <a:pt x="15054" y="590"/>
                        <a:pt x="10030" y="52"/>
                      </a:cubicBezTo>
                      <a:close/>
                    </a:path>
                  </a:pathLst>
                </a:custGeom>
                <a:grpFill/>
                <a:ln w="5978" cap="flat">
                  <a:noFill/>
                  <a:prstDash val="solid"/>
                  <a:miter/>
                </a:ln>
              </p:spPr>
              <p:txBody>
                <a:bodyPr rtlCol="0" anchor="ctr"/>
                <a:lstStyle/>
                <a:p>
                  <a:endParaRPr lang="en-GB"/>
                </a:p>
              </p:txBody>
            </p:sp>
          </p:grpSp>
          <p:grpSp>
            <p:nvGrpSpPr>
              <p:cNvPr id="114" name="Graphic 3">
                <a:extLst>
                  <a:ext uri="{FF2B5EF4-FFF2-40B4-BE49-F238E27FC236}">
                    <a16:creationId xmlns:a16="http://schemas.microsoft.com/office/drawing/2014/main" id="{B9EE95EF-270F-4467-9E7E-153C0AA5B6BB}"/>
                  </a:ext>
                </a:extLst>
              </p:cNvPr>
              <p:cNvGrpSpPr/>
              <p:nvPr/>
            </p:nvGrpSpPr>
            <p:grpSpPr>
              <a:xfrm>
                <a:off x="7822125" y="2973575"/>
                <a:ext cx="49445" cy="25937"/>
                <a:chOff x="7822125" y="2973575"/>
                <a:chExt cx="49445" cy="25937"/>
              </a:xfrm>
              <a:grpFill/>
            </p:grpSpPr>
            <p:sp>
              <p:nvSpPr>
                <p:cNvPr id="5036" name="Vrije vorm: vorm 5035">
                  <a:extLst>
                    <a:ext uri="{FF2B5EF4-FFF2-40B4-BE49-F238E27FC236}">
                      <a16:creationId xmlns:a16="http://schemas.microsoft.com/office/drawing/2014/main" id="{C57C92DD-172E-47A8-B42E-8B7695EF0E6B}"/>
                    </a:ext>
                  </a:extLst>
                </p:cNvPr>
                <p:cNvSpPr/>
                <p:nvPr/>
              </p:nvSpPr>
              <p:spPr>
                <a:xfrm>
                  <a:off x="7830266" y="2981001"/>
                  <a:ext cx="32695" cy="10649"/>
                </a:xfrm>
                <a:custGeom>
                  <a:avLst/>
                  <a:gdLst>
                    <a:gd name="connsiteX0" fmla="*/ 0 w 32695"/>
                    <a:gd name="connsiteY0" fmla="*/ 7684 h 10649"/>
                    <a:gd name="connsiteX1" fmla="*/ 31983 w 32695"/>
                    <a:gd name="connsiteY1" fmla="*/ 0 h 10649"/>
                    <a:gd name="connsiteX2" fmla="*/ 32695 w 32695"/>
                    <a:gd name="connsiteY2" fmla="*/ 2966 h 10649"/>
                    <a:gd name="connsiteX3" fmla="*/ 712 w 32695"/>
                    <a:gd name="connsiteY3" fmla="*/ 10650 h 10649"/>
                  </a:gdLst>
                  <a:ahLst/>
                  <a:cxnLst>
                    <a:cxn ang="0">
                      <a:pos x="connsiteX0" y="connsiteY0"/>
                    </a:cxn>
                    <a:cxn ang="0">
                      <a:pos x="connsiteX1" y="connsiteY1"/>
                    </a:cxn>
                    <a:cxn ang="0">
                      <a:pos x="connsiteX2" y="connsiteY2"/>
                    </a:cxn>
                    <a:cxn ang="0">
                      <a:pos x="connsiteX3" y="connsiteY3"/>
                    </a:cxn>
                  </a:cxnLst>
                  <a:rect l="l" t="t" r="r" b="b"/>
                  <a:pathLst>
                    <a:path w="32695" h="10649">
                      <a:moveTo>
                        <a:pt x="0" y="7684"/>
                      </a:moveTo>
                      <a:lnTo>
                        <a:pt x="31983" y="0"/>
                      </a:lnTo>
                      <a:lnTo>
                        <a:pt x="32695" y="2966"/>
                      </a:lnTo>
                      <a:lnTo>
                        <a:pt x="712" y="10650"/>
                      </a:lnTo>
                      <a:close/>
                    </a:path>
                  </a:pathLst>
                </a:custGeom>
                <a:grpFill/>
                <a:ln w="5978" cap="flat">
                  <a:noFill/>
                  <a:prstDash val="solid"/>
                  <a:miter/>
                </a:ln>
              </p:spPr>
              <p:txBody>
                <a:bodyPr rtlCol="0" anchor="ctr"/>
                <a:lstStyle/>
                <a:p>
                  <a:endParaRPr lang="en-GB"/>
                </a:p>
              </p:txBody>
            </p:sp>
            <p:sp>
              <p:nvSpPr>
                <p:cNvPr id="5037" name="Vrije vorm: vorm 5036">
                  <a:extLst>
                    <a:ext uri="{FF2B5EF4-FFF2-40B4-BE49-F238E27FC236}">
                      <a16:creationId xmlns:a16="http://schemas.microsoft.com/office/drawing/2014/main" id="{244BD31A-F0EB-45C8-B1BC-904F08E1EAA1}"/>
                    </a:ext>
                  </a:extLst>
                </p:cNvPr>
                <p:cNvSpPr/>
                <p:nvPr/>
              </p:nvSpPr>
              <p:spPr>
                <a:xfrm>
                  <a:off x="7853244" y="2973575"/>
                  <a:ext cx="18326" cy="18461"/>
                </a:xfrm>
                <a:custGeom>
                  <a:avLst/>
                  <a:gdLst>
                    <a:gd name="connsiteX0" fmla="*/ 6999 w 18326"/>
                    <a:gd name="connsiteY0" fmla="*/ 260 h 18461"/>
                    <a:gd name="connsiteX1" fmla="*/ 18063 w 18326"/>
                    <a:gd name="connsiteY1" fmla="*/ 7078 h 18461"/>
                    <a:gd name="connsiteX2" fmla="*/ 11305 w 18326"/>
                    <a:gd name="connsiteY2" fmla="*/ 18202 h 18461"/>
                    <a:gd name="connsiteX3" fmla="*/ 241 w 18326"/>
                    <a:gd name="connsiteY3" fmla="*/ 11384 h 18461"/>
                    <a:gd name="connsiteX4" fmla="*/ 6999 w 18326"/>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6999" y="260"/>
                      </a:moveTo>
                      <a:cubicBezTo>
                        <a:pt x="11903" y="-936"/>
                        <a:pt x="16867" y="2114"/>
                        <a:pt x="18063" y="7078"/>
                      </a:cubicBezTo>
                      <a:cubicBezTo>
                        <a:pt x="19259" y="12042"/>
                        <a:pt x="16269" y="17006"/>
                        <a:pt x="11305" y="18202"/>
                      </a:cubicBezTo>
                      <a:cubicBezTo>
                        <a:pt x="6401" y="19398"/>
                        <a:pt x="1437" y="16348"/>
                        <a:pt x="241" y="11384"/>
                      </a:cubicBezTo>
                      <a:cubicBezTo>
                        <a:pt x="-896" y="6360"/>
                        <a:pt x="2095" y="1396"/>
                        <a:pt x="6999" y="260"/>
                      </a:cubicBezTo>
                      <a:close/>
                    </a:path>
                  </a:pathLst>
                </a:custGeom>
                <a:grpFill/>
                <a:ln w="5978" cap="flat">
                  <a:noFill/>
                  <a:prstDash val="solid"/>
                  <a:miter/>
                </a:ln>
              </p:spPr>
              <p:txBody>
                <a:bodyPr rtlCol="0" anchor="ctr"/>
                <a:lstStyle/>
                <a:p>
                  <a:endParaRPr lang="en-GB"/>
                </a:p>
              </p:txBody>
            </p:sp>
            <p:sp>
              <p:nvSpPr>
                <p:cNvPr id="5038" name="Vrije vorm: vorm 5037">
                  <a:extLst>
                    <a:ext uri="{FF2B5EF4-FFF2-40B4-BE49-F238E27FC236}">
                      <a16:creationId xmlns:a16="http://schemas.microsoft.com/office/drawing/2014/main" id="{56262A8F-7B76-4583-9A62-35983EA74991}"/>
                    </a:ext>
                  </a:extLst>
                </p:cNvPr>
                <p:cNvSpPr/>
                <p:nvPr/>
              </p:nvSpPr>
              <p:spPr>
                <a:xfrm>
                  <a:off x="7822125" y="2981050"/>
                  <a:ext cx="18342" cy="18461"/>
                </a:xfrm>
                <a:custGeom>
                  <a:avLst/>
                  <a:gdLst>
                    <a:gd name="connsiteX0" fmla="*/ 7018 w 18342"/>
                    <a:gd name="connsiteY0" fmla="*/ 260 h 18461"/>
                    <a:gd name="connsiteX1" fmla="*/ 260 w 18342"/>
                    <a:gd name="connsiteY1" fmla="*/ 11384 h 18461"/>
                    <a:gd name="connsiteX2" fmla="*/ 11324 w 18342"/>
                    <a:gd name="connsiteY2" fmla="*/ 18202 h 18461"/>
                    <a:gd name="connsiteX3" fmla="*/ 18082 w 18342"/>
                    <a:gd name="connsiteY3" fmla="*/ 7078 h 18461"/>
                    <a:gd name="connsiteX4" fmla="*/ 7018 w 18342"/>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1">
                      <a:moveTo>
                        <a:pt x="7018" y="260"/>
                      </a:moveTo>
                      <a:cubicBezTo>
                        <a:pt x="2114" y="1456"/>
                        <a:pt x="-936" y="6420"/>
                        <a:pt x="260" y="11384"/>
                      </a:cubicBezTo>
                      <a:cubicBezTo>
                        <a:pt x="1456" y="16348"/>
                        <a:pt x="6420" y="19398"/>
                        <a:pt x="11324" y="18202"/>
                      </a:cubicBezTo>
                      <a:cubicBezTo>
                        <a:pt x="16229" y="17006"/>
                        <a:pt x="19279" y="12042"/>
                        <a:pt x="18082" y="7078"/>
                      </a:cubicBezTo>
                      <a:cubicBezTo>
                        <a:pt x="16886" y="2114"/>
                        <a:pt x="11982" y="-936"/>
                        <a:pt x="7018" y="260"/>
                      </a:cubicBezTo>
                      <a:close/>
                    </a:path>
                  </a:pathLst>
                </a:custGeom>
                <a:grpFill/>
                <a:ln w="5978" cap="flat">
                  <a:noFill/>
                  <a:prstDash val="solid"/>
                  <a:miter/>
                </a:ln>
              </p:spPr>
              <p:txBody>
                <a:bodyPr rtlCol="0" anchor="ctr"/>
                <a:lstStyle/>
                <a:p>
                  <a:endParaRPr lang="en-GB"/>
                </a:p>
              </p:txBody>
            </p:sp>
          </p:grpSp>
          <p:grpSp>
            <p:nvGrpSpPr>
              <p:cNvPr id="115" name="Graphic 3">
                <a:extLst>
                  <a:ext uri="{FF2B5EF4-FFF2-40B4-BE49-F238E27FC236}">
                    <a16:creationId xmlns:a16="http://schemas.microsoft.com/office/drawing/2014/main" id="{C99A184A-F0E0-4AEE-9C8B-EE5445146747}"/>
                  </a:ext>
                </a:extLst>
              </p:cNvPr>
              <p:cNvGrpSpPr/>
              <p:nvPr/>
            </p:nvGrpSpPr>
            <p:grpSpPr>
              <a:xfrm>
                <a:off x="7551495" y="2209658"/>
                <a:ext cx="33557" cy="30408"/>
                <a:chOff x="7551495" y="2209658"/>
                <a:chExt cx="33557" cy="30408"/>
              </a:xfrm>
              <a:grpFill/>
            </p:grpSpPr>
            <p:sp>
              <p:nvSpPr>
                <p:cNvPr id="5033" name="Vrije vorm: vorm 5032">
                  <a:extLst>
                    <a:ext uri="{FF2B5EF4-FFF2-40B4-BE49-F238E27FC236}">
                      <a16:creationId xmlns:a16="http://schemas.microsoft.com/office/drawing/2014/main" id="{A8730327-BAAC-497A-9E16-BA1A16ADF016}"/>
                    </a:ext>
                  </a:extLst>
                </p:cNvPr>
                <p:cNvSpPr/>
                <p:nvPr/>
              </p:nvSpPr>
              <p:spPr>
                <a:xfrm>
                  <a:off x="7559353" y="2217393"/>
                  <a:ext cx="17882" cy="14951"/>
                </a:xfrm>
                <a:custGeom>
                  <a:avLst/>
                  <a:gdLst>
                    <a:gd name="connsiteX0" fmla="*/ 17882 w 17882"/>
                    <a:gd name="connsiteY0" fmla="*/ 2392 h 14951"/>
                    <a:gd name="connsiteX1" fmla="*/ 1914 w 17882"/>
                    <a:gd name="connsiteY1" fmla="*/ 14952 h 14951"/>
                    <a:gd name="connsiteX2" fmla="*/ 0 w 17882"/>
                    <a:gd name="connsiteY2" fmla="*/ 12560 h 14951"/>
                    <a:gd name="connsiteX3" fmla="*/ 15969 w 17882"/>
                    <a:gd name="connsiteY3" fmla="*/ 0 h 14951"/>
                  </a:gdLst>
                  <a:ahLst/>
                  <a:cxnLst>
                    <a:cxn ang="0">
                      <a:pos x="connsiteX0" y="connsiteY0"/>
                    </a:cxn>
                    <a:cxn ang="0">
                      <a:pos x="connsiteX1" y="connsiteY1"/>
                    </a:cxn>
                    <a:cxn ang="0">
                      <a:pos x="connsiteX2" y="connsiteY2"/>
                    </a:cxn>
                    <a:cxn ang="0">
                      <a:pos x="connsiteX3" y="connsiteY3"/>
                    </a:cxn>
                  </a:cxnLst>
                  <a:rect l="l" t="t" r="r" b="b"/>
                  <a:pathLst>
                    <a:path w="17882" h="14951">
                      <a:moveTo>
                        <a:pt x="17882" y="2392"/>
                      </a:moveTo>
                      <a:lnTo>
                        <a:pt x="1914" y="14952"/>
                      </a:lnTo>
                      <a:lnTo>
                        <a:pt x="0" y="12560"/>
                      </a:lnTo>
                      <a:lnTo>
                        <a:pt x="15969" y="0"/>
                      </a:lnTo>
                      <a:close/>
                    </a:path>
                  </a:pathLst>
                </a:custGeom>
                <a:grpFill/>
                <a:ln w="5978" cap="flat">
                  <a:noFill/>
                  <a:prstDash val="solid"/>
                  <a:miter/>
                </a:ln>
              </p:spPr>
              <p:txBody>
                <a:bodyPr rtlCol="0" anchor="ctr"/>
                <a:lstStyle/>
                <a:p>
                  <a:endParaRPr lang="en-GB"/>
                </a:p>
              </p:txBody>
            </p:sp>
            <p:sp>
              <p:nvSpPr>
                <p:cNvPr id="5034" name="Vrije vorm: vorm 5033">
                  <a:extLst>
                    <a:ext uri="{FF2B5EF4-FFF2-40B4-BE49-F238E27FC236}">
                      <a16:creationId xmlns:a16="http://schemas.microsoft.com/office/drawing/2014/main" id="{2256E912-9CA8-4380-A807-C3CFF0805442}"/>
                    </a:ext>
                  </a:extLst>
                </p:cNvPr>
                <p:cNvSpPr/>
                <p:nvPr/>
              </p:nvSpPr>
              <p:spPr>
                <a:xfrm>
                  <a:off x="7566746" y="2209658"/>
                  <a:ext cx="18306" cy="18417"/>
                </a:xfrm>
                <a:custGeom>
                  <a:avLst/>
                  <a:gdLst>
                    <a:gd name="connsiteX0" fmla="*/ 3492 w 18306"/>
                    <a:gd name="connsiteY0" fmla="*/ 1933 h 18417"/>
                    <a:gd name="connsiteX1" fmla="*/ 16350 w 18306"/>
                    <a:gd name="connsiteY1" fmla="*/ 3548 h 18417"/>
                    <a:gd name="connsiteX2" fmla="*/ 14795 w 18306"/>
                    <a:gd name="connsiteY2" fmla="*/ 16466 h 18417"/>
                    <a:gd name="connsiteX3" fmla="*/ 1937 w 18306"/>
                    <a:gd name="connsiteY3" fmla="*/ 14851 h 18417"/>
                    <a:gd name="connsiteX4" fmla="*/ 3492 w 18306"/>
                    <a:gd name="connsiteY4" fmla="*/ 1933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17">
                      <a:moveTo>
                        <a:pt x="3492" y="1933"/>
                      </a:moveTo>
                      <a:cubicBezTo>
                        <a:pt x="7439" y="-1177"/>
                        <a:pt x="13240" y="-459"/>
                        <a:pt x="16350" y="3548"/>
                      </a:cubicBezTo>
                      <a:cubicBezTo>
                        <a:pt x="19461" y="7555"/>
                        <a:pt x="18803" y="13356"/>
                        <a:pt x="14795" y="16466"/>
                      </a:cubicBezTo>
                      <a:cubicBezTo>
                        <a:pt x="10849" y="19576"/>
                        <a:pt x="5047" y="18918"/>
                        <a:pt x="1937" y="14851"/>
                      </a:cubicBezTo>
                      <a:cubicBezTo>
                        <a:pt x="-1173" y="10844"/>
                        <a:pt x="-455" y="5043"/>
                        <a:pt x="3492" y="1933"/>
                      </a:cubicBezTo>
                      <a:close/>
                    </a:path>
                  </a:pathLst>
                </a:custGeom>
                <a:grpFill/>
                <a:ln w="5978" cap="flat">
                  <a:noFill/>
                  <a:prstDash val="solid"/>
                  <a:miter/>
                </a:ln>
              </p:spPr>
              <p:txBody>
                <a:bodyPr rtlCol="0" anchor="ctr"/>
                <a:lstStyle/>
                <a:p>
                  <a:endParaRPr lang="en-GB"/>
                </a:p>
              </p:txBody>
            </p:sp>
            <p:sp>
              <p:nvSpPr>
                <p:cNvPr id="5035" name="Vrije vorm: vorm 5034">
                  <a:extLst>
                    <a:ext uri="{FF2B5EF4-FFF2-40B4-BE49-F238E27FC236}">
                      <a16:creationId xmlns:a16="http://schemas.microsoft.com/office/drawing/2014/main" id="{5F98904A-7B1E-4B88-A65B-59CC6CBDD7B0}"/>
                    </a:ext>
                  </a:extLst>
                </p:cNvPr>
                <p:cNvSpPr/>
                <p:nvPr/>
              </p:nvSpPr>
              <p:spPr>
                <a:xfrm>
                  <a:off x="7551495" y="2221675"/>
                  <a:ext cx="18287" cy="18391"/>
                </a:xfrm>
                <a:custGeom>
                  <a:avLst/>
                  <a:gdLst>
                    <a:gd name="connsiteX0" fmla="*/ 3492 w 18287"/>
                    <a:gd name="connsiteY0" fmla="*/ 1937 h 18391"/>
                    <a:gd name="connsiteX1" fmla="*/ 1937 w 18287"/>
                    <a:gd name="connsiteY1" fmla="*/ 14856 h 18391"/>
                    <a:gd name="connsiteX2" fmla="*/ 14796 w 18287"/>
                    <a:gd name="connsiteY2" fmla="*/ 16411 h 18391"/>
                    <a:gd name="connsiteX3" fmla="*/ 16351 w 18287"/>
                    <a:gd name="connsiteY3" fmla="*/ 3492 h 18391"/>
                    <a:gd name="connsiteX4" fmla="*/ 3492 w 18287"/>
                    <a:gd name="connsiteY4" fmla="*/ 1937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391">
                      <a:moveTo>
                        <a:pt x="3492" y="1937"/>
                      </a:moveTo>
                      <a:cubicBezTo>
                        <a:pt x="-455" y="5047"/>
                        <a:pt x="-1173" y="10849"/>
                        <a:pt x="1937" y="14856"/>
                      </a:cubicBezTo>
                      <a:cubicBezTo>
                        <a:pt x="5047" y="18863"/>
                        <a:pt x="10849" y="19580"/>
                        <a:pt x="14796" y="16411"/>
                      </a:cubicBezTo>
                      <a:cubicBezTo>
                        <a:pt x="18743" y="13301"/>
                        <a:pt x="19460" y="7499"/>
                        <a:pt x="16351" y="3492"/>
                      </a:cubicBezTo>
                      <a:cubicBezTo>
                        <a:pt x="13241" y="-455"/>
                        <a:pt x="7499" y="-1173"/>
                        <a:pt x="3492" y="1937"/>
                      </a:cubicBezTo>
                      <a:close/>
                    </a:path>
                  </a:pathLst>
                </a:custGeom>
                <a:grpFill/>
                <a:ln w="5978" cap="flat">
                  <a:noFill/>
                  <a:prstDash val="solid"/>
                  <a:miter/>
                </a:ln>
              </p:spPr>
              <p:txBody>
                <a:bodyPr rtlCol="0" anchor="ctr"/>
                <a:lstStyle/>
                <a:p>
                  <a:endParaRPr lang="en-GB"/>
                </a:p>
              </p:txBody>
            </p:sp>
          </p:grpSp>
          <p:grpSp>
            <p:nvGrpSpPr>
              <p:cNvPr id="116" name="Graphic 3">
                <a:extLst>
                  <a:ext uri="{FF2B5EF4-FFF2-40B4-BE49-F238E27FC236}">
                    <a16:creationId xmlns:a16="http://schemas.microsoft.com/office/drawing/2014/main" id="{B9B4F03D-63C1-427D-8EE8-EA44F1B304FA}"/>
                  </a:ext>
                </a:extLst>
              </p:cNvPr>
              <p:cNvGrpSpPr/>
              <p:nvPr/>
            </p:nvGrpSpPr>
            <p:grpSpPr>
              <a:xfrm>
                <a:off x="7687414" y="2648089"/>
                <a:ext cx="62411" cy="38320"/>
                <a:chOff x="7687414" y="2648089"/>
                <a:chExt cx="62411" cy="38320"/>
              </a:xfrm>
              <a:grpFill/>
            </p:grpSpPr>
            <p:sp>
              <p:nvSpPr>
                <p:cNvPr id="5030" name="Vrije vorm: vorm 5029">
                  <a:extLst>
                    <a:ext uri="{FF2B5EF4-FFF2-40B4-BE49-F238E27FC236}">
                      <a16:creationId xmlns:a16="http://schemas.microsoft.com/office/drawing/2014/main" id="{37676768-3D6C-4FAB-8D85-72BDFFB9C0A3}"/>
                    </a:ext>
                  </a:extLst>
                </p:cNvPr>
                <p:cNvSpPr/>
                <p:nvPr/>
              </p:nvSpPr>
              <p:spPr>
                <a:xfrm>
                  <a:off x="7695474" y="2655720"/>
                  <a:ext cx="46230" cy="23025"/>
                </a:xfrm>
                <a:custGeom>
                  <a:avLst/>
                  <a:gdLst>
                    <a:gd name="connsiteX0" fmla="*/ 46231 w 46230"/>
                    <a:gd name="connsiteY0" fmla="*/ 2751 h 23025"/>
                    <a:gd name="connsiteX1" fmla="*/ 1256 w 46230"/>
                    <a:gd name="connsiteY1" fmla="*/ 23026 h 23025"/>
                    <a:gd name="connsiteX2" fmla="*/ 0 w 46230"/>
                    <a:gd name="connsiteY2" fmla="*/ 20215 h 23025"/>
                    <a:gd name="connsiteX3" fmla="*/ 44975 w 46230"/>
                    <a:gd name="connsiteY3" fmla="*/ 0 h 23025"/>
                  </a:gdLst>
                  <a:ahLst/>
                  <a:cxnLst>
                    <a:cxn ang="0">
                      <a:pos x="connsiteX0" y="connsiteY0"/>
                    </a:cxn>
                    <a:cxn ang="0">
                      <a:pos x="connsiteX1" y="connsiteY1"/>
                    </a:cxn>
                    <a:cxn ang="0">
                      <a:pos x="connsiteX2" y="connsiteY2"/>
                    </a:cxn>
                    <a:cxn ang="0">
                      <a:pos x="connsiteX3" y="connsiteY3"/>
                    </a:cxn>
                  </a:cxnLst>
                  <a:rect l="l" t="t" r="r" b="b"/>
                  <a:pathLst>
                    <a:path w="46230" h="23025">
                      <a:moveTo>
                        <a:pt x="46231" y="2751"/>
                      </a:moveTo>
                      <a:lnTo>
                        <a:pt x="1256" y="23026"/>
                      </a:lnTo>
                      <a:lnTo>
                        <a:pt x="0" y="20215"/>
                      </a:lnTo>
                      <a:lnTo>
                        <a:pt x="44975" y="0"/>
                      </a:lnTo>
                      <a:close/>
                    </a:path>
                  </a:pathLst>
                </a:custGeom>
                <a:grpFill/>
                <a:ln w="5978" cap="flat">
                  <a:noFill/>
                  <a:prstDash val="solid"/>
                  <a:miter/>
                </a:ln>
              </p:spPr>
              <p:txBody>
                <a:bodyPr rtlCol="0" anchor="ctr"/>
                <a:lstStyle/>
                <a:p>
                  <a:endParaRPr lang="en-GB"/>
                </a:p>
              </p:txBody>
            </p:sp>
            <p:sp>
              <p:nvSpPr>
                <p:cNvPr id="5031" name="Vrije vorm: vorm 5030">
                  <a:extLst>
                    <a:ext uri="{FF2B5EF4-FFF2-40B4-BE49-F238E27FC236}">
                      <a16:creationId xmlns:a16="http://schemas.microsoft.com/office/drawing/2014/main" id="{890E838D-CFC3-4D1B-AC63-73A04EC2CB37}"/>
                    </a:ext>
                  </a:extLst>
                </p:cNvPr>
                <p:cNvSpPr/>
                <p:nvPr/>
              </p:nvSpPr>
              <p:spPr>
                <a:xfrm>
                  <a:off x="7731492" y="2648089"/>
                  <a:ext cx="18333" cy="18489"/>
                </a:xfrm>
                <a:custGeom>
                  <a:avLst/>
                  <a:gdLst>
                    <a:gd name="connsiteX0" fmla="*/ 5369 w 18333"/>
                    <a:gd name="connsiteY0" fmla="*/ 812 h 18489"/>
                    <a:gd name="connsiteX1" fmla="*/ 17510 w 18333"/>
                    <a:gd name="connsiteY1" fmla="*/ 5477 h 18489"/>
                    <a:gd name="connsiteX2" fmla="*/ 12964 w 18333"/>
                    <a:gd name="connsiteY2" fmla="*/ 17678 h 18489"/>
                    <a:gd name="connsiteX3" fmla="*/ 824 w 18333"/>
                    <a:gd name="connsiteY3" fmla="*/ 13013 h 18489"/>
                    <a:gd name="connsiteX4" fmla="*/ 5369 w 18333"/>
                    <a:gd name="connsiteY4" fmla="*/ 812 h 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89">
                      <a:moveTo>
                        <a:pt x="5369" y="812"/>
                      </a:moveTo>
                      <a:cubicBezTo>
                        <a:pt x="9974" y="-1281"/>
                        <a:pt x="15417" y="812"/>
                        <a:pt x="17510" y="5477"/>
                      </a:cubicBezTo>
                      <a:cubicBezTo>
                        <a:pt x="19604" y="10142"/>
                        <a:pt x="17570" y="15585"/>
                        <a:pt x="12964" y="17678"/>
                      </a:cubicBezTo>
                      <a:cubicBezTo>
                        <a:pt x="8360" y="19771"/>
                        <a:pt x="2917" y="17678"/>
                        <a:pt x="824" y="13013"/>
                      </a:cubicBezTo>
                      <a:cubicBezTo>
                        <a:pt x="-1270" y="8288"/>
                        <a:pt x="764" y="2846"/>
                        <a:pt x="5369" y="812"/>
                      </a:cubicBezTo>
                      <a:close/>
                    </a:path>
                  </a:pathLst>
                </a:custGeom>
                <a:grpFill/>
                <a:ln w="5978" cap="flat">
                  <a:noFill/>
                  <a:prstDash val="solid"/>
                  <a:miter/>
                </a:ln>
              </p:spPr>
              <p:txBody>
                <a:bodyPr rtlCol="0" anchor="ctr"/>
                <a:lstStyle/>
                <a:p>
                  <a:endParaRPr lang="en-GB"/>
                </a:p>
              </p:txBody>
            </p:sp>
            <p:sp>
              <p:nvSpPr>
                <p:cNvPr id="5032" name="Vrije vorm: vorm 5031">
                  <a:extLst>
                    <a:ext uri="{FF2B5EF4-FFF2-40B4-BE49-F238E27FC236}">
                      <a16:creationId xmlns:a16="http://schemas.microsoft.com/office/drawing/2014/main" id="{AF6C5385-2181-4C02-A45B-40144F6F90CF}"/>
                    </a:ext>
                  </a:extLst>
                </p:cNvPr>
                <p:cNvSpPr/>
                <p:nvPr/>
              </p:nvSpPr>
              <p:spPr>
                <a:xfrm>
                  <a:off x="7687414" y="2667945"/>
                  <a:ext cx="18333" cy="18464"/>
                </a:xfrm>
                <a:custGeom>
                  <a:avLst/>
                  <a:gdLst>
                    <a:gd name="connsiteX0" fmla="*/ 5369 w 18333"/>
                    <a:gd name="connsiteY0" fmla="*/ 812 h 18464"/>
                    <a:gd name="connsiteX1" fmla="*/ 824 w 18333"/>
                    <a:gd name="connsiteY1" fmla="*/ 13013 h 18464"/>
                    <a:gd name="connsiteX2" fmla="*/ 12964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5"/>
                        <a:pt x="-1270" y="8348"/>
                        <a:pt x="824" y="13013"/>
                      </a:cubicBezTo>
                      <a:cubicBezTo>
                        <a:pt x="2917" y="17678"/>
                        <a:pt x="8360" y="19711"/>
                        <a:pt x="12964" y="17678"/>
                      </a:cubicBezTo>
                      <a:cubicBezTo>
                        <a:pt x="17570" y="15585"/>
                        <a:pt x="19603"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17" name="Graphic 3">
                <a:extLst>
                  <a:ext uri="{FF2B5EF4-FFF2-40B4-BE49-F238E27FC236}">
                    <a16:creationId xmlns:a16="http://schemas.microsoft.com/office/drawing/2014/main" id="{A822B2B1-E526-4267-A686-D35B8C79D748}"/>
                  </a:ext>
                </a:extLst>
              </p:cNvPr>
              <p:cNvGrpSpPr/>
              <p:nvPr/>
            </p:nvGrpSpPr>
            <p:grpSpPr>
              <a:xfrm>
                <a:off x="7426676" y="2017977"/>
                <a:ext cx="211102" cy="188729"/>
                <a:chOff x="7426676" y="2017977"/>
                <a:chExt cx="211102" cy="188729"/>
              </a:xfrm>
              <a:grpFill/>
            </p:grpSpPr>
            <p:sp>
              <p:nvSpPr>
                <p:cNvPr id="5027" name="Vrije vorm: vorm 5026">
                  <a:extLst>
                    <a:ext uri="{FF2B5EF4-FFF2-40B4-BE49-F238E27FC236}">
                      <a16:creationId xmlns:a16="http://schemas.microsoft.com/office/drawing/2014/main" id="{5C126E08-BF8D-471A-B268-5B5A05FD4E97}"/>
                    </a:ext>
                  </a:extLst>
                </p:cNvPr>
                <p:cNvSpPr/>
                <p:nvPr/>
              </p:nvSpPr>
              <p:spPr>
                <a:xfrm>
                  <a:off x="7434476" y="2025710"/>
                  <a:ext cx="195510" cy="173261"/>
                </a:xfrm>
                <a:custGeom>
                  <a:avLst/>
                  <a:gdLst>
                    <a:gd name="connsiteX0" fmla="*/ 195510 w 195510"/>
                    <a:gd name="connsiteY0" fmla="*/ 2332 h 173261"/>
                    <a:gd name="connsiteX1" fmla="*/ 1973 w 195510"/>
                    <a:gd name="connsiteY1" fmla="*/ 173262 h 173261"/>
                    <a:gd name="connsiteX2" fmla="*/ 0 w 195510"/>
                    <a:gd name="connsiteY2" fmla="*/ 170929 h 173261"/>
                    <a:gd name="connsiteX3" fmla="*/ 193476 w 195510"/>
                    <a:gd name="connsiteY3" fmla="*/ 0 h 173261"/>
                  </a:gdLst>
                  <a:ahLst/>
                  <a:cxnLst>
                    <a:cxn ang="0">
                      <a:pos x="connsiteX0" y="connsiteY0"/>
                    </a:cxn>
                    <a:cxn ang="0">
                      <a:pos x="connsiteX1" y="connsiteY1"/>
                    </a:cxn>
                    <a:cxn ang="0">
                      <a:pos x="connsiteX2" y="connsiteY2"/>
                    </a:cxn>
                    <a:cxn ang="0">
                      <a:pos x="connsiteX3" y="connsiteY3"/>
                    </a:cxn>
                  </a:cxnLst>
                  <a:rect l="l" t="t" r="r" b="b"/>
                  <a:pathLst>
                    <a:path w="195510" h="173261">
                      <a:moveTo>
                        <a:pt x="195510" y="2332"/>
                      </a:moveTo>
                      <a:lnTo>
                        <a:pt x="1973" y="173262"/>
                      </a:lnTo>
                      <a:lnTo>
                        <a:pt x="0" y="170929"/>
                      </a:lnTo>
                      <a:lnTo>
                        <a:pt x="193476" y="0"/>
                      </a:lnTo>
                      <a:close/>
                    </a:path>
                  </a:pathLst>
                </a:custGeom>
                <a:grpFill/>
                <a:ln w="5978" cap="flat">
                  <a:noFill/>
                  <a:prstDash val="solid"/>
                  <a:miter/>
                </a:ln>
              </p:spPr>
              <p:txBody>
                <a:bodyPr rtlCol="0" anchor="ctr"/>
                <a:lstStyle/>
                <a:p>
                  <a:endParaRPr lang="en-GB"/>
                </a:p>
              </p:txBody>
            </p:sp>
            <p:sp>
              <p:nvSpPr>
                <p:cNvPr id="5028" name="Vrije vorm: vorm 5027">
                  <a:extLst>
                    <a:ext uri="{FF2B5EF4-FFF2-40B4-BE49-F238E27FC236}">
                      <a16:creationId xmlns:a16="http://schemas.microsoft.com/office/drawing/2014/main" id="{98350A11-0A32-4307-AB55-AFE534DA1F94}"/>
                    </a:ext>
                  </a:extLst>
                </p:cNvPr>
                <p:cNvSpPr/>
                <p:nvPr/>
              </p:nvSpPr>
              <p:spPr>
                <a:xfrm>
                  <a:off x="7619441" y="2017977"/>
                  <a:ext cx="18338" cy="18398"/>
                </a:xfrm>
                <a:custGeom>
                  <a:avLst/>
                  <a:gdLst>
                    <a:gd name="connsiteX0" fmla="*/ 3128 w 18338"/>
                    <a:gd name="connsiteY0" fmla="*/ 2291 h 18398"/>
                    <a:gd name="connsiteX1" fmla="*/ 16047 w 18338"/>
                    <a:gd name="connsiteY1" fmla="*/ 3129 h 18398"/>
                    <a:gd name="connsiteX2" fmla="*/ 15209 w 18338"/>
                    <a:gd name="connsiteY2" fmla="*/ 16107 h 18398"/>
                    <a:gd name="connsiteX3" fmla="*/ 2292 w 18338"/>
                    <a:gd name="connsiteY3" fmla="*/ 15270 h 18398"/>
                    <a:gd name="connsiteX4" fmla="*/ 3128 w 18338"/>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3128" y="2291"/>
                      </a:moveTo>
                      <a:cubicBezTo>
                        <a:pt x="6896" y="-1058"/>
                        <a:pt x="12698" y="-699"/>
                        <a:pt x="16047" y="3129"/>
                      </a:cubicBezTo>
                      <a:cubicBezTo>
                        <a:pt x="19396" y="6956"/>
                        <a:pt x="19037" y="12758"/>
                        <a:pt x="15209" y="16107"/>
                      </a:cubicBezTo>
                      <a:cubicBezTo>
                        <a:pt x="11442" y="19456"/>
                        <a:pt x="5640" y="19097"/>
                        <a:pt x="2292" y="15270"/>
                      </a:cubicBezTo>
                      <a:cubicBezTo>
                        <a:pt x="-1058" y="11442"/>
                        <a:pt x="-699" y="5641"/>
                        <a:pt x="3128" y="2291"/>
                      </a:cubicBezTo>
                      <a:close/>
                    </a:path>
                  </a:pathLst>
                </a:custGeom>
                <a:grpFill/>
                <a:ln w="5978" cap="flat">
                  <a:noFill/>
                  <a:prstDash val="solid"/>
                  <a:miter/>
                </a:ln>
              </p:spPr>
              <p:txBody>
                <a:bodyPr rtlCol="0" anchor="ctr"/>
                <a:lstStyle/>
                <a:p>
                  <a:endParaRPr lang="en-GB"/>
                </a:p>
              </p:txBody>
            </p:sp>
            <p:sp>
              <p:nvSpPr>
                <p:cNvPr id="5029" name="Vrije vorm: vorm 5028">
                  <a:extLst>
                    <a:ext uri="{FF2B5EF4-FFF2-40B4-BE49-F238E27FC236}">
                      <a16:creationId xmlns:a16="http://schemas.microsoft.com/office/drawing/2014/main" id="{C0AB2DA3-4B07-41C1-B26C-0002A8CB8015}"/>
                    </a:ext>
                  </a:extLst>
                </p:cNvPr>
                <p:cNvSpPr/>
                <p:nvPr/>
              </p:nvSpPr>
              <p:spPr>
                <a:xfrm>
                  <a:off x="7426676" y="2188308"/>
                  <a:ext cx="18299" cy="18398"/>
                </a:xfrm>
                <a:custGeom>
                  <a:avLst/>
                  <a:gdLst>
                    <a:gd name="connsiteX0" fmla="*/ 3075 w 18299"/>
                    <a:gd name="connsiteY0" fmla="*/ 2291 h 18398"/>
                    <a:gd name="connsiteX1" fmla="*/ 2297 w 18299"/>
                    <a:gd name="connsiteY1" fmla="*/ 15269 h 18398"/>
                    <a:gd name="connsiteX2" fmla="*/ 15216 w 18299"/>
                    <a:gd name="connsiteY2" fmla="*/ 16107 h 18398"/>
                    <a:gd name="connsiteX3" fmla="*/ 16053 w 18299"/>
                    <a:gd name="connsiteY3" fmla="*/ 3129 h 18398"/>
                    <a:gd name="connsiteX4" fmla="*/ 3075 w 18299"/>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98">
                      <a:moveTo>
                        <a:pt x="3075" y="2291"/>
                      </a:moveTo>
                      <a:cubicBezTo>
                        <a:pt x="-693" y="5641"/>
                        <a:pt x="-1052" y="11442"/>
                        <a:pt x="2297" y="15269"/>
                      </a:cubicBezTo>
                      <a:cubicBezTo>
                        <a:pt x="5647" y="19097"/>
                        <a:pt x="11448" y="19456"/>
                        <a:pt x="15216" y="16107"/>
                      </a:cubicBezTo>
                      <a:cubicBezTo>
                        <a:pt x="18983" y="12758"/>
                        <a:pt x="19343" y="6956"/>
                        <a:pt x="16053" y="3129"/>
                      </a:cubicBezTo>
                      <a:cubicBezTo>
                        <a:pt x="12644" y="-699"/>
                        <a:pt x="6842" y="-1058"/>
                        <a:pt x="3075" y="2291"/>
                      </a:cubicBezTo>
                      <a:close/>
                    </a:path>
                  </a:pathLst>
                </a:custGeom>
                <a:grpFill/>
                <a:ln w="5978" cap="flat">
                  <a:noFill/>
                  <a:prstDash val="solid"/>
                  <a:miter/>
                </a:ln>
              </p:spPr>
              <p:txBody>
                <a:bodyPr rtlCol="0" anchor="ctr"/>
                <a:lstStyle/>
                <a:p>
                  <a:endParaRPr lang="en-GB"/>
                </a:p>
              </p:txBody>
            </p:sp>
          </p:grpSp>
          <p:grpSp>
            <p:nvGrpSpPr>
              <p:cNvPr id="118" name="Graphic 3">
                <a:extLst>
                  <a:ext uri="{FF2B5EF4-FFF2-40B4-BE49-F238E27FC236}">
                    <a16:creationId xmlns:a16="http://schemas.microsoft.com/office/drawing/2014/main" id="{E9911168-4C40-4659-8FCE-2F4D13867A51}"/>
                  </a:ext>
                </a:extLst>
              </p:cNvPr>
              <p:cNvGrpSpPr/>
              <p:nvPr/>
            </p:nvGrpSpPr>
            <p:grpSpPr>
              <a:xfrm>
                <a:off x="7782744" y="2879616"/>
                <a:ext cx="38014" cy="24351"/>
                <a:chOff x="7782744" y="2879616"/>
                <a:chExt cx="38014" cy="24351"/>
              </a:xfrm>
              <a:grpFill/>
            </p:grpSpPr>
            <p:sp>
              <p:nvSpPr>
                <p:cNvPr id="5024" name="Vrije vorm: vorm 5023">
                  <a:extLst>
                    <a:ext uri="{FF2B5EF4-FFF2-40B4-BE49-F238E27FC236}">
                      <a16:creationId xmlns:a16="http://schemas.microsoft.com/office/drawing/2014/main" id="{A87A4962-CD02-42D0-8C3B-2ECE0BDF5EDA}"/>
                    </a:ext>
                  </a:extLst>
                </p:cNvPr>
                <p:cNvSpPr/>
                <p:nvPr/>
              </p:nvSpPr>
              <p:spPr>
                <a:xfrm>
                  <a:off x="7791046" y="2887233"/>
                  <a:ext cx="21410" cy="9150"/>
                </a:xfrm>
                <a:custGeom>
                  <a:avLst/>
                  <a:gdLst>
                    <a:gd name="connsiteX0" fmla="*/ 20514 w 21410"/>
                    <a:gd name="connsiteY0" fmla="*/ 0 h 9150"/>
                    <a:gd name="connsiteX1" fmla="*/ 21411 w 21410"/>
                    <a:gd name="connsiteY1" fmla="*/ 2931 h 9150"/>
                    <a:gd name="connsiteX2" fmla="*/ 837 w 21410"/>
                    <a:gd name="connsiteY2" fmla="*/ 9151 h 9150"/>
                    <a:gd name="connsiteX3" fmla="*/ 0 w 21410"/>
                    <a:gd name="connsiteY3" fmla="*/ 6220 h 9150"/>
                  </a:gdLst>
                  <a:ahLst/>
                  <a:cxnLst>
                    <a:cxn ang="0">
                      <a:pos x="connsiteX0" y="connsiteY0"/>
                    </a:cxn>
                    <a:cxn ang="0">
                      <a:pos x="connsiteX1" y="connsiteY1"/>
                    </a:cxn>
                    <a:cxn ang="0">
                      <a:pos x="connsiteX2" y="connsiteY2"/>
                    </a:cxn>
                    <a:cxn ang="0">
                      <a:pos x="connsiteX3" y="connsiteY3"/>
                    </a:cxn>
                  </a:cxnLst>
                  <a:rect l="l" t="t" r="r" b="b"/>
                  <a:pathLst>
                    <a:path w="21410" h="9150">
                      <a:moveTo>
                        <a:pt x="20514" y="0"/>
                      </a:moveTo>
                      <a:lnTo>
                        <a:pt x="21411" y="2931"/>
                      </a:lnTo>
                      <a:lnTo>
                        <a:pt x="837" y="9151"/>
                      </a:lnTo>
                      <a:lnTo>
                        <a:pt x="0" y="6220"/>
                      </a:lnTo>
                      <a:close/>
                    </a:path>
                  </a:pathLst>
                </a:custGeom>
                <a:grpFill/>
                <a:ln w="5978" cap="flat">
                  <a:noFill/>
                  <a:prstDash val="solid"/>
                  <a:miter/>
                </a:ln>
              </p:spPr>
              <p:txBody>
                <a:bodyPr rtlCol="0" anchor="ctr"/>
                <a:lstStyle/>
                <a:p>
                  <a:endParaRPr lang="en-GB"/>
                </a:p>
              </p:txBody>
            </p:sp>
            <p:sp>
              <p:nvSpPr>
                <p:cNvPr id="5025" name="Vrije vorm: vorm 5024">
                  <a:extLst>
                    <a:ext uri="{FF2B5EF4-FFF2-40B4-BE49-F238E27FC236}">
                      <a16:creationId xmlns:a16="http://schemas.microsoft.com/office/drawing/2014/main" id="{832504F0-ABCC-4DF2-B766-2F5F64FD2CC4}"/>
                    </a:ext>
                  </a:extLst>
                </p:cNvPr>
                <p:cNvSpPr/>
                <p:nvPr/>
              </p:nvSpPr>
              <p:spPr>
                <a:xfrm>
                  <a:off x="7802421" y="2879616"/>
                  <a:ext cx="18338" cy="18403"/>
                </a:xfrm>
                <a:custGeom>
                  <a:avLst/>
                  <a:gdLst>
                    <a:gd name="connsiteX0" fmla="*/ 6508 w 18338"/>
                    <a:gd name="connsiteY0" fmla="*/ 380 h 18403"/>
                    <a:gd name="connsiteX1" fmla="*/ 17931 w 18338"/>
                    <a:gd name="connsiteY1" fmla="*/ 6540 h 18403"/>
                    <a:gd name="connsiteX2" fmla="*/ 11831 w 18338"/>
                    <a:gd name="connsiteY2" fmla="*/ 18024 h 18403"/>
                    <a:gd name="connsiteX3" fmla="*/ 407 w 18338"/>
                    <a:gd name="connsiteY3" fmla="*/ 11863 h 18403"/>
                    <a:gd name="connsiteX4" fmla="*/ 6508 w 18338"/>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3">
                      <a:moveTo>
                        <a:pt x="6508" y="380"/>
                      </a:moveTo>
                      <a:cubicBezTo>
                        <a:pt x="11353" y="-1055"/>
                        <a:pt x="16496" y="1696"/>
                        <a:pt x="17931" y="6540"/>
                      </a:cubicBezTo>
                      <a:cubicBezTo>
                        <a:pt x="19426" y="11445"/>
                        <a:pt x="16676" y="16528"/>
                        <a:pt x="11831" y="18024"/>
                      </a:cubicBezTo>
                      <a:cubicBezTo>
                        <a:pt x="6987" y="19459"/>
                        <a:pt x="1843" y="16708"/>
                        <a:pt x="407" y="11863"/>
                      </a:cubicBezTo>
                      <a:cubicBezTo>
                        <a:pt x="-1088" y="7019"/>
                        <a:pt x="1664" y="1876"/>
                        <a:pt x="6508" y="380"/>
                      </a:cubicBezTo>
                      <a:close/>
                    </a:path>
                  </a:pathLst>
                </a:custGeom>
                <a:grpFill/>
                <a:ln w="5978" cap="flat">
                  <a:noFill/>
                  <a:prstDash val="solid"/>
                  <a:miter/>
                </a:ln>
              </p:spPr>
              <p:txBody>
                <a:bodyPr rtlCol="0" anchor="ctr"/>
                <a:lstStyle/>
                <a:p>
                  <a:endParaRPr lang="en-GB"/>
                </a:p>
              </p:txBody>
            </p:sp>
            <p:sp>
              <p:nvSpPr>
                <p:cNvPr id="5026" name="Vrije vorm: vorm 5025">
                  <a:extLst>
                    <a:ext uri="{FF2B5EF4-FFF2-40B4-BE49-F238E27FC236}">
                      <a16:creationId xmlns:a16="http://schemas.microsoft.com/office/drawing/2014/main" id="{EC95701D-E81D-4F54-9AC2-982BB28D0C33}"/>
                    </a:ext>
                  </a:extLst>
                </p:cNvPr>
                <p:cNvSpPr/>
                <p:nvPr/>
              </p:nvSpPr>
              <p:spPr>
                <a:xfrm>
                  <a:off x="7782744" y="2885537"/>
                  <a:ext cx="18338" cy="18430"/>
                </a:xfrm>
                <a:custGeom>
                  <a:avLst/>
                  <a:gdLst>
                    <a:gd name="connsiteX0" fmla="*/ 6507 w 18338"/>
                    <a:gd name="connsiteY0" fmla="*/ 380 h 18430"/>
                    <a:gd name="connsiteX1" fmla="*/ 407 w 18338"/>
                    <a:gd name="connsiteY1" fmla="*/ 11863 h 18430"/>
                    <a:gd name="connsiteX2" fmla="*/ 11830 w 18338"/>
                    <a:gd name="connsiteY2" fmla="*/ 18023 h 18430"/>
                    <a:gd name="connsiteX3" fmla="*/ 17931 w 18338"/>
                    <a:gd name="connsiteY3" fmla="*/ 6541 h 18430"/>
                    <a:gd name="connsiteX4" fmla="*/ 6507 w 18338"/>
                    <a:gd name="connsiteY4" fmla="*/ 38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0">
                      <a:moveTo>
                        <a:pt x="6507" y="380"/>
                      </a:moveTo>
                      <a:cubicBezTo>
                        <a:pt x="1663" y="1816"/>
                        <a:pt x="-1088" y="6959"/>
                        <a:pt x="407" y="11863"/>
                      </a:cubicBezTo>
                      <a:cubicBezTo>
                        <a:pt x="1903" y="16768"/>
                        <a:pt x="6986" y="19519"/>
                        <a:pt x="11830" y="18023"/>
                      </a:cubicBezTo>
                      <a:cubicBezTo>
                        <a:pt x="16675" y="16588"/>
                        <a:pt x="19426" y="11445"/>
                        <a:pt x="17931" y="6541"/>
                      </a:cubicBezTo>
                      <a:cubicBezTo>
                        <a:pt x="16435" y="1696"/>
                        <a:pt x="11352" y="-1055"/>
                        <a:pt x="6507" y="380"/>
                      </a:cubicBezTo>
                      <a:close/>
                    </a:path>
                  </a:pathLst>
                </a:custGeom>
                <a:grpFill/>
                <a:ln w="5978" cap="flat">
                  <a:noFill/>
                  <a:prstDash val="solid"/>
                  <a:miter/>
                </a:ln>
              </p:spPr>
              <p:txBody>
                <a:bodyPr rtlCol="0" anchor="ctr"/>
                <a:lstStyle/>
                <a:p>
                  <a:endParaRPr lang="en-GB"/>
                </a:p>
              </p:txBody>
            </p:sp>
          </p:grpSp>
          <p:grpSp>
            <p:nvGrpSpPr>
              <p:cNvPr id="119" name="Graphic 3">
                <a:extLst>
                  <a:ext uri="{FF2B5EF4-FFF2-40B4-BE49-F238E27FC236}">
                    <a16:creationId xmlns:a16="http://schemas.microsoft.com/office/drawing/2014/main" id="{B2F5C318-3798-4807-8DCA-5C969CA0AA0C}"/>
                  </a:ext>
                </a:extLst>
              </p:cNvPr>
              <p:cNvGrpSpPr/>
              <p:nvPr/>
            </p:nvGrpSpPr>
            <p:grpSpPr>
              <a:xfrm>
                <a:off x="7664069" y="2718512"/>
                <a:ext cx="192376" cy="85348"/>
                <a:chOff x="7664069" y="2718512"/>
                <a:chExt cx="192376" cy="85348"/>
              </a:xfrm>
              <a:grpFill/>
            </p:grpSpPr>
            <p:sp>
              <p:nvSpPr>
                <p:cNvPr id="5021" name="Vrije vorm: vorm 5020">
                  <a:extLst>
                    <a:ext uri="{FF2B5EF4-FFF2-40B4-BE49-F238E27FC236}">
                      <a16:creationId xmlns:a16="http://schemas.microsoft.com/office/drawing/2014/main" id="{875347FC-A24D-4FD5-AD17-2AC5D5DFAD71}"/>
                    </a:ext>
                  </a:extLst>
                </p:cNvPr>
                <p:cNvSpPr/>
                <p:nvPr/>
              </p:nvSpPr>
              <p:spPr>
                <a:xfrm>
                  <a:off x="7672022" y="2726050"/>
                  <a:ext cx="175973" cy="70114"/>
                </a:xfrm>
                <a:custGeom>
                  <a:avLst/>
                  <a:gdLst>
                    <a:gd name="connsiteX0" fmla="*/ 0 w 175973"/>
                    <a:gd name="connsiteY0" fmla="*/ 67268 h 70114"/>
                    <a:gd name="connsiteX1" fmla="*/ 174878 w 175973"/>
                    <a:gd name="connsiteY1" fmla="*/ 0 h 70114"/>
                    <a:gd name="connsiteX2" fmla="*/ 175973 w 175973"/>
                    <a:gd name="connsiteY2" fmla="*/ 2847 h 70114"/>
                    <a:gd name="connsiteX3" fmla="*/ 1095 w 175973"/>
                    <a:gd name="connsiteY3" fmla="*/ 70115 h 70114"/>
                  </a:gdLst>
                  <a:ahLst/>
                  <a:cxnLst>
                    <a:cxn ang="0">
                      <a:pos x="connsiteX0" y="connsiteY0"/>
                    </a:cxn>
                    <a:cxn ang="0">
                      <a:pos x="connsiteX1" y="connsiteY1"/>
                    </a:cxn>
                    <a:cxn ang="0">
                      <a:pos x="connsiteX2" y="connsiteY2"/>
                    </a:cxn>
                    <a:cxn ang="0">
                      <a:pos x="connsiteX3" y="connsiteY3"/>
                    </a:cxn>
                  </a:cxnLst>
                  <a:rect l="l" t="t" r="r" b="b"/>
                  <a:pathLst>
                    <a:path w="175973" h="70114">
                      <a:moveTo>
                        <a:pt x="0" y="67268"/>
                      </a:moveTo>
                      <a:lnTo>
                        <a:pt x="174878" y="0"/>
                      </a:lnTo>
                      <a:lnTo>
                        <a:pt x="175973" y="2847"/>
                      </a:lnTo>
                      <a:lnTo>
                        <a:pt x="1095" y="70115"/>
                      </a:lnTo>
                      <a:close/>
                    </a:path>
                  </a:pathLst>
                </a:custGeom>
                <a:grpFill/>
                <a:ln w="5978" cap="flat">
                  <a:noFill/>
                  <a:prstDash val="solid"/>
                  <a:miter/>
                </a:ln>
              </p:spPr>
              <p:txBody>
                <a:bodyPr rtlCol="0" anchor="ctr"/>
                <a:lstStyle/>
                <a:p>
                  <a:endParaRPr lang="en-GB"/>
                </a:p>
              </p:txBody>
            </p:sp>
            <p:sp>
              <p:nvSpPr>
                <p:cNvPr id="5022" name="Vrije vorm: vorm 5021">
                  <a:extLst>
                    <a:ext uri="{FF2B5EF4-FFF2-40B4-BE49-F238E27FC236}">
                      <a16:creationId xmlns:a16="http://schemas.microsoft.com/office/drawing/2014/main" id="{F12B358E-A6CF-4D9F-AD84-53B1C2FD9BCC}"/>
                    </a:ext>
                  </a:extLst>
                </p:cNvPr>
                <p:cNvSpPr/>
                <p:nvPr/>
              </p:nvSpPr>
              <p:spPr>
                <a:xfrm>
                  <a:off x="7838108" y="2718512"/>
                  <a:ext cx="18337" cy="18431"/>
                </a:xfrm>
                <a:custGeom>
                  <a:avLst/>
                  <a:gdLst>
                    <a:gd name="connsiteX0" fmla="*/ 5867 w 18337"/>
                    <a:gd name="connsiteY0" fmla="*/ 603 h 18431"/>
                    <a:gd name="connsiteX1" fmla="*/ 17709 w 18337"/>
                    <a:gd name="connsiteY1" fmla="*/ 5926 h 18431"/>
                    <a:gd name="connsiteX2" fmla="*/ 12446 w 18337"/>
                    <a:gd name="connsiteY2" fmla="*/ 17828 h 18431"/>
                    <a:gd name="connsiteX3" fmla="*/ 604 w 18337"/>
                    <a:gd name="connsiteY3" fmla="*/ 12505 h 18431"/>
                    <a:gd name="connsiteX4" fmla="*/ 5867 w 18337"/>
                    <a:gd name="connsiteY4" fmla="*/ 603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1">
                      <a:moveTo>
                        <a:pt x="5867" y="603"/>
                      </a:moveTo>
                      <a:cubicBezTo>
                        <a:pt x="10592" y="-1191"/>
                        <a:pt x="15915" y="1142"/>
                        <a:pt x="17709" y="5926"/>
                      </a:cubicBezTo>
                      <a:cubicBezTo>
                        <a:pt x="19563" y="10651"/>
                        <a:pt x="17171" y="16034"/>
                        <a:pt x="12446" y="17828"/>
                      </a:cubicBezTo>
                      <a:cubicBezTo>
                        <a:pt x="7721" y="19622"/>
                        <a:pt x="2399" y="17290"/>
                        <a:pt x="604" y="12505"/>
                      </a:cubicBezTo>
                      <a:cubicBezTo>
                        <a:pt x="-1190" y="7721"/>
                        <a:pt x="1143" y="2398"/>
                        <a:pt x="5867" y="603"/>
                      </a:cubicBezTo>
                      <a:close/>
                    </a:path>
                  </a:pathLst>
                </a:custGeom>
                <a:grpFill/>
                <a:ln w="5978" cap="flat">
                  <a:noFill/>
                  <a:prstDash val="solid"/>
                  <a:miter/>
                </a:ln>
              </p:spPr>
              <p:txBody>
                <a:bodyPr rtlCol="0" anchor="ctr"/>
                <a:lstStyle/>
                <a:p>
                  <a:endParaRPr lang="en-GB"/>
                </a:p>
              </p:txBody>
            </p:sp>
            <p:sp>
              <p:nvSpPr>
                <p:cNvPr id="5023" name="Vrije vorm: vorm 5022">
                  <a:extLst>
                    <a:ext uri="{FF2B5EF4-FFF2-40B4-BE49-F238E27FC236}">
                      <a16:creationId xmlns:a16="http://schemas.microsoft.com/office/drawing/2014/main" id="{74D6FEB3-D65A-4FC6-9B91-7241A9BF5E1D}"/>
                    </a:ext>
                  </a:extLst>
                </p:cNvPr>
                <p:cNvSpPr/>
                <p:nvPr/>
              </p:nvSpPr>
              <p:spPr>
                <a:xfrm>
                  <a:off x="7664069" y="2785443"/>
                  <a:ext cx="18313" cy="18417"/>
                </a:xfrm>
                <a:custGeom>
                  <a:avLst/>
                  <a:gdLst>
                    <a:gd name="connsiteX0" fmla="*/ 5867 w 18313"/>
                    <a:gd name="connsiteY0" fmla="*/ 596 h 18417"/>
                    <a:gd name="connsiteX1" fmla="*/ 604 w 18313"/>
                    <a:gd name="connsiteY1" fmla="*/ 12498 h 18417"/>
                    <a:gd name="connsiteX2" fmla="*/ 12446 w 18313"/>
                    <a:gd name="connsiteY2" fmla="*/ 17821 h 18417"/>
                    <a:gd name="connsiteX3" fmla="*/ 17709 w 18313"/>
                    <a:gd name="connsiteY3" fmla="*/ 5919 h 18417"/>
                    <a:gd name="connsiteX4" fmla="*/ 5867 w 18313"/>
                    <a:gd name="connsiteY4" fmla="*/ 596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17">
                      <a:moveTo>
                        <a:pt x="5867" y="596"/>
                      </a:moveTo>
                      <a:cubicBezTo>
                        <a:pt x="1142" y="2391"/>
                        <a:pt x="-1190" y="7713"/>
                        <a:pt x="604" y="12498"/>
                      </a:cubicBezTo>
                      <a:cubicBezTo>
                        <a:pt x="2399" y="17223"/>
                        <a:pt x="7722" y="19615"/>
                        <a:pt x="12446" y="17821"/>
                      </a:cubicBezTo>
                      <a:cubicBezTo>
                        <a:pt x="17171" y="16027"/>
                        <a:pt x="19503" y="10704"/>
                        <a:pt x="17709" y="5919"/>
                      </a:cubicBezTo>
                      <a:cubicBezTo>
                        <a:pt x="15915" y="1194"/>
                        <a:pt x="10592" y="-1198"/>
                        <a:pt x="5867" y="596"/>
                      </a:cubicBezTo>
                      <a:close/>
                    </a:path>
                  </a:pathLst>
                </a:custGeom>
                <a:grpFill/>
                <a:ln w="5978" cap="flat">
                  <a:noFill/>
                  <a:prstDash val="solid"/>
                  <a:miter/>
                </a:ln>
              </p:spPr>
              <p:txBody>
                <a:bodyPr rtlCol="0" anchor="ctr"/>
                <a:lstStyle/>
                <a:p>
                  <a:endParaRPr lang="en-GB"/>
                </a:p>
              </p:txBody>
            </p:sp>
          </p:grpSp>
          <p:grpSp>
            <p:nvGrpSpPr>
              <p:cNvPr id="120" name="Graphic 3">
                <a:extLst>
                  <a:ext uri="{FF2B5EF4-FFF2-40B4-BE49-F238E27FC236}">
                    <a16:creationId xmlns:a16="http://schemas.microsoft.com/office/drawing/2014/main" id="{35CE2F2F-89D0-4F66-BCDA-98F222F6CB86}"/>
                  </a:ext>
                </a:extLst>
              </p:cNvPr>
              <p:cNvGrpSpPr/>
              <p:nvPr/>
            </p:nvGrpSpPr>
            <p:grpSpPr>
              <a:xfrm>
                <a:off x="7625108" y="2800521"/>
                <a:ext cx="326456" cy="86566"/>
                <a:chOff x="7625108" y="2800521"/>
                <a:chExt cx="326456" cy="86566"/>
              </a:xfrm>
              <a:grpFill/>
            </p:grpSpPr>
            <p:sp>
              <p:nvSpPr>
                <p:cNvPr id="5018" name="Vrije vorm: vorm 5017">
                  <a:extLst>
                    <a:ext uri="{FF2B5EF4-FFF2-40B4-BE49-F238E27FC236}">
                      <a16:creationId xmlns:a16="http://schemas.microsoft.com/office/drawing/2014/main" id="{FC25092A-6029-4A28-A7F7-59A46CE1789C}"/>
                    </a:ext>
                  </a:extLst>
                </p:cNvPr>
                <p:cNvSpPr/>
                <p:nvPr/>
              </p:nvSpPr>
              <p:spPr>
                <a:xfrm>
                  <a:off x="7633514" y="2808168"/>
                  <a:ext cx="309622" cy="71290"/>
                </a:xfrm>
                <a:custGeom>
                  <a:avLst/>
                  <a:gdLst>
                    <a:gd name="connsiteX0" fmla="*/ 308964 w 309622"/>
                    <a:gd name="connsiteY0" fmla="*/ 0 h 71290"/>
                    <a:gd name="connsiteX1" fmla="*/ 309622 w 309622"/>
                    <a:gd name="connsiteY1" fmla="*/ 2990 h 71290"/>
                    <a:gd name="connsiteX2" fmla="*/ 658 w 309622"/>
                    <a:gd name="connsiteY2" fmla="*/ 71290 h 71290"/>
                    <a:gd name="connsiteX3" fmla="*/ 0 w 309622"/>
                    <a:gd name="connsiteY3" fmla="*/ 68300 h 71290"/>
                  </a:gdLst>
                  <a:ahLst/>
                  <a:cxnLst>
                    <a:cxn ang="0">
                      <a:pos x="connsiteX0" y="connsiteY0"/>
                    </a:cxn>
                    <a:cxn ang="0">
                      <a:pos x="connsiteX1" y="connsiteY1"/>
                    </a:cxn>
                    <a:cxn ang="0">
                      <a:pos x="connsiteX2" y="connsiteY2"/>
                    </a:cxn>
                    <a:cxn ang="0">
                      <a:pos x="connsiteX3" y="connsiteY3"/>
                    </a:cxn>
                  </a:cxnLst>
                  <a:rect l="l" t="t" r="r" b="b"/>
                  <a:pathLst>
                    <a:path w="309622" h="71290">
                      <a:moveTo>
                        <a:pt x="308964" y="0"/>
                      </a:moveTo>
                      <a:lnTo>
                        <a:pt x="309622" y="2990"/>
                      </a:lnTo>
                      <a:lnTo>
                        <a:pt x="658" y="71290"/>
                      </a:lnTo>
                      <a:lnTo>
                        <a:pt x="0" y="68300"/>
                      </a:lnTo>
                      <a:close/>
                    </a:path>
                  </a:pathLst>
                </a:custGeom>
                <a:grpFill/>
                <a:ln w="5978" cap="flat">
                  <a:noFill/>
                  <a:prstDash val="solid"/>
                  <a:miter/>
                </a:ln>
              </p:spPr>
              <p:txBody>
                <a:bodyPr rtlCol="0" anchor="ctr"/>
                <a:lstStyle/>
                <a:p>
                  <a:endParaRPr lang="en-GB"/>
                </a:p>
              </p:txBody>
            </p:sp>
            <p:sp>
              <p:nvSpPr>
                <p:cNvPr id="5019" name="Vrije vorm: vorm 5018">
                  <a:extLst>
                    <a:ext uri="{FF2B5EF4-FFF2-40B4-BE49-F238E27FC236}">
                      <a16:creationId xmlns:a16="http://schemas.microsoft.com/office/drawing/2014/main" id="{D9FA36A7-8E2D-4D32-A6B8-C76524F5C3FB}"/>
                    </a:ext>
                  </a:extLst>
                </p:cNvPr>
                <p:cNvSpPr/>
                <p:nvPr/>
              </p:nvSpPr>
              <p:spPr>
                <a:xfrm>
                  <a:off x="7625108" y="2868660"/>
                  <a:ext cx="18329" cy="18427"/>
                </a:xfrm>
                <a:custGeom>
                  <a:avLst/>
                  <a:gdLst>
                    <a:gd name="connsiteX0" fmla="*/ 11158 w 18329"/>
                    <a:gd name="connsiteY0" fmla="*/ 18215 h 18427"/>
                    <a:gd name="connsiteX1" fmla="*/ 213 w 18329"/>
                    <a:gd name="connsiteY1" fmla="*/ 11217 h 18427"/>
                    <a:gd name="connsiteX2" fmla="*/ 7150 w 18329"/>
                    <a:gd name="connsiteY2" fmla="*/ 213 h 18427"/>
                    <a:gd name="connsiteX3" fmla="*/ 18095 w 18329"/>
                    <a:gd name="connsiteY3" fmla="*/ 7210 h 18427"/>
                    <a:gd name="connsiteX4" fmla="*/ 11158 w 18329"/>
                    <a:gd name="connsiteY4" fmla="*/ 18215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7">
                      <a:moveTo>
                        <a:pt x="11158" y="18215"/>
                      </a:moveTo>
                      <a:cubicBezTo>
                        <a:pt x="6194" y="19291"/>
                        <a:pt x="1289" y="16181"/>
                        <a:pt x="213" y="11217"/>
                      </a:cubicBezTo>
                      <a:cubicBezTo>
                        <a:pt x="-864" y="6253"/>
                        <a:pt x="2246" y="1349"/>
                        <a:pt x="7150" y="213"/>
                      </a:cubicBezTo>
                      <a:cubicBezTo>
                        <a:pt x="12115" y="-864"/>
                        <a:pt x="17019" y="2246"/>
                        <a:pt x="18095" y="7210"/>
                      </a:cubicBezTo>
                      <a:cubicBezTo>
                        <a:pt x="19231" y="12174"/>
                        <a:pt x="16121" y="17078"/>
                        <a:pt x="11158" y="18215"/>
                      </a:cubicBezTo>
                      <a:close/>
                    </a:path>
                  </a:pathLst>
                </a:custGeom>
                <a:grpFill/>
                <a:ln w="5978" cap="flat">
                  <a:noFill/>
                  <a:prstDash val="solid"/>
                  <a:miter/>
                </a:ln>
              </p:spPr>
              <p:txBody>
                <a:bodyPr rtlCol="0" anchor="ctr"/>
                <a:lstStyle/>
                <a:p>
                  <a:endParaRPr lang="en-GB"/>
                </a:p>
              </p:txBody>
            </p:sp>
            <p:sp>
              <p:nvSpPr>
                <p:cNvPr id="5020" name="Vrije vorm: vorm 5019">
                  <a:extLst>
                    <a:ext uri="{FF2B5EF4-FFF2-40B4-BE49-F238E27FC236}">
                      <a16:creationId xmlns:a16="http://schemas.microsoft.com/office/drawing/2014/main" id="{33619DA9-1567-4F68-A6D8-9F2B8CCD3EB9}"/>
                    </a:ext>
                  </a:extLst>
                </p:cNvPr>
                <p:cNvSpPr/>
                <p:nvPr/>
              </p:nvSpPr>
              <p:spPr>
                <a:xfrm>
                  <a:off x="7933213" y="2800521"/>
                  <a:ext cx="18350" cy="18445"/>
                </a:xfrm>
                <a:custGeom>
                  <a:avLst/>
                  <a:gdLst>
                    <a:gd name="connsiteX0" fmla="*/ 11179 w 18350"/>
                    <a:gd name="connsiteY0" fmla="*/ 18233 h 18445"/>
                    <a:gd name="connsiteX1" fmla="*/ 18117 w 18350"/>
                    <a:gd name="connsiteY1" fmla="*/ 7229 h 18445"/>
                    <a:gd name="connsiteX2" fmla="*/ 7171 w 18350"/>
                    <a:gd name="connsiteY2" fmla="*/ 231 h 18445"/>
                    <a:gd name="connsiteX3" fmla="*/ 234 w 18350"/>
                    <a:gd name="connsiteY3" fmla="*/ 11236 h 18445"/>
                    <a:gd name="connsiteX4" fmla="*/ 11179 w 18350"/>
                    <a:gd name="connsiteY4" fmla="*/ 18233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45">
                      <a:moveTo>
                        <a:pt x="11179" y="18233"/>
                      </a:moveTo>
                      <a:cubicBezTo>
                        <a:pt x="16142" y="17157"/>
                        <a:pt x="19253" y="12252"/>
                        <a:pt x="18117" y="7229"/>
                      </a:cubicBezTo>
                      <a:cubicBezTo>
                        <a:pt x="17040" y="2264"/>
                        <a:pt x="12136" y="-905"/>
                        <a:pt x="7171" y="231"/>
                      </a:cubicBezTo>
                      <a:cubicBezTo>
                        <a:pt x="2208" y="1308"/>
                        <a:pt x="-902" y="6212"/>
                        <a:pt x="234" y="11236"/>
                      </a:cubicBezTo>
                      <a:cubicBezTo>
                        <a:pt x="1310" y="16200"/>
                        <a:pt x="6215" y="19310"/>
                        <a:pt x="11179" y="18233"/>
                      </a:cubicBezTo>
                      <a:close/>
                    </a:path>
                  </a:pathLst>
                </a:custGeom>
                <a:grpFill/>
                <a:ln w="5978" cap="flat">
                  <a:noFill/>
                  <a:prstDash val="solid"/>
                  <a:miter/>
                </a:ln>
              </p:spPr>
              <p:txBody>
                <a:bodyPr rtlCol="0" anchor="ctr"/>
                <a:lstStyle/>
                <a:p>
                  <a:endParaRPr lang="en-GB"/>
                </a:p>
              </p:txBody>
            </p:sp>
          </p:grpSp>
          <p:grpSp>
            <p:nvGrpSpPr>
              <p:cNvPr id="121" name="Graphic 3">
                <a:extLst>
                  <a:ext uri="{FF2B5EF4-FFF2-40B4-BE49-F238E27FC236}">
                    <a16:creationId xmlns:a16="http://schemas.microsoft.com/office/drawing/2014/main" id="{4B459AD3-E4F7-49CB-8106-D45EA245B08B}"/>
                  </a:ext>
                </a:extLst>
              </p:cNvPr>
              <p:cNvGrpSpPr/>
              <p:nvPr/>
            </p:nvGrpSpPr>
            <p:grpSpPr>
              <a:xfrm>
                <a:off x="8038060" y="3724902"/>
                <a:ext cx="90469" cy="29885"/>
                <a:chOff x="8038060" y="3724902"/>
                <a:chExt cx="90469" cy="29885"/>
              </a:xfrm>
              <a:grpFill/>
            </p:grpSpPr>
            <p:sp>
              <p:nvSpPr>
                <p:cNvPr id="5015" name="Vrije vorm: vorm 5014">
                  <a:extLst>
                    <a:ext uri="{FF2B5EF4-FFF2-40B4-BE49-F238E27FC236}">
                      <a16:creationId xmlns:a16="http://schemas.microsoft.com/office/drawing/2014/main" id="{63C12F38-9F44-4D82-812D-3D05FE9BCE52}"/>
                    </a:ext>
                  </a:extLst>
                </p:cNvPr>
                <p:cNvSpPr/>
                <p:nvPr/>
              </p:nvSpPr>
              <p:spPr>
                <a:xfrm>
                  <a:off x="8046542" y="3732549"/>
                  <a:ext cx="73503" cy="14652"/>
                </a:xfrm>
                <a:custGeom>
                  <a:avLst/>
                  <a:gdLst>
                    <a:gd name="connsiteX0" fmla="*/ 73503 w 73503"/>
                    <a:gd name="connsiteY0" fmla="*/ 11603 h 14652"/>
                    <a:gd name="connsiteX1" fmla="*/ 73085 w 73503"/>
                    <a:gd name="connsiteY1" fmla="*/ 14653 h 14652"/>
                    <a:gd name="connsiteX2" fmla="*/ 0 w 73503"/>
                    <a:gd name="connsiteY2" fmla="*/ 2990 h 14652"/>
                    <a:gd name="connsiteX3" fmla="*/ 419 w 73503"/>
                    <a:gd name="connsiteY3" fmla="*/ 0 h 14652"/>
                  </a:gdLst>
                  <a:ahLst/>
                  <a:cxnLst>
                    <a:cxn ang="0">
                      <a:pos x="connsiteX0" y="connsiteY0"/>
                    </a:cxn>
                    <a:cxn ang="0">
                      <a:pos x="connsiteX1" y="connsiteY1"/>
                    </a:cxn>
                    <a:cxn ang="0">
                      <a:pos x="connsiteX2" y="connsiteY2"/>
                    </a:cxn>
                    <a:cxn ang="0">
                      <a:pos x="connsiteX3" y="connsiteY3"/>
                    </a:cxn>
                  </a:cxnLst>
                  <a:rect l="l" t="t" r="r" b="b"/>
                  <a:pathLst>
                    <a:path w="73503" h="14652">
                      <a:moveTo>
                        <a:pt x="73503" y="11603"/>
                      </a:moveTo>
                      <a:lnTo>
                        <a:pt x="73085" y="14653"/>
                      </a:lnTo>
                      <a:lnTo>
                        <a:pt x="0" y="2990"/>
                      </a:lnTo>
                      <a:lnTo>
                        <a:pt x="419" y="0"/>
                      </a:lnTo>
                      <a:close/>
                    </a:path>
                  </a:pathLst>
                </a:custGeom>
                <a:grpFill/>
                <a:ln w="5978" cap="flat">
                  <a:noFill/>
                  <a:prstDash val="solid"/>
                  <a:miter/>
                </a:ln>
              </p:spPr>
              <p:txBody>
                <a:bodyPr rtlCol="0" anchor="ctr"/>
                <a:lstStyle/>
                <a:p>
                  <a:endParaRPr lang="en-GB"/>
                </a:p>
              </p:txBody>
            </p:sp>
            <p:sp>
              <p:nvSpPr>
                <p:cNvPr id="5016" name="Vrije vorm: vorm 5015">
                  <a:extLst>
                    <a:ext uri="{FF2B5EF4-FFF2-40B4-BE49-F238E27FC236}">
                      <a16:creationId xmlns:a16="http://schemas.microsoft.com/office/drawing/2014/main" id="{F3DCFA81-BC39-4D8C-A0B7-905589E443D3}"/>
                    </a:ext>
                  </a:extLst>
                </p:cNvPr>
                <p:cNvSpPr/>
                <p:nvPr/>
              </p:nvSpPr>
              <p:spPr>
                <a:xfrm>
                  <a:off x="8110187" y="3736385"/>
                  <a:ext cx="18342" cy="18402"/>
                </a:xfrm>
                <a:custGeom>
                  <a:avLst/>
                  <a:gdLst>
                    <a:gd name="connsiteX0" fmla="*/ 10577 w 18342"/>
                    <a:gd name="connsiteY0" fmla="*/ 110 h 18402"/>
                    <a:gd name="connsiteX1" fmla="*/ 18232 w 18342"/>
                    <a:gd name="connsiteY1" fmla="*/ 10637 h 18402"/>
                    <a:gd name="connsiteX2" fmla="*/ 7766 w 18342"/>
                    <a:gd name="connsiteY2" fmla="*/ 18292 h 18402"/>
                    <a:gd name="connsiteX3" fmla="*/ 110 w 18342"/>
                    <a:gd name="connsiteY3" fmla="*/ 7766 h 18402"/>
                    <a:gd name="connsiteX4" fmla="*/ 10577 w 18342"/>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2">
                      <a:moveTo>
                        <a:pt x="10577" y="110"/>
                      </a:moveTo>
                      <a:cubicBezTo>
                        <a:pt x="15600" y="888"/>
                        <a:pt x="19010" y="5613"/>
                        <a:pt x="18232" y="10637"/>
                      </a:cubicBezTo>
                      <a:cubicBezTo>
                        <a:pt x="17455" y="15660"/>
                        <a:pt x="12790" y="19069"/>
                        <a:pt x="7766" y="18292"/>
                      </a:cubicBezTo>
                      <a:cubicBezTo>
                        <a:pt x="2742" y="17514"/>
                        <a:pt x="-667" y="12790"/>
                        <a:pt x="110" y="7766"/>
                      </a:cubicBezTo>
                      <a:cubicBezTo>
                        <a:pt x="888" y="2742"/>
                        <a:pt x="5613" y="-667"/>
                        <a:pt x="10577" y="110"/>
                      </a:cubicBezTo>
                      <a:close/>
                    </a:path>
                  </a:pathLst>
                </a:custGeom>
                <a:grpFill/>
                <a:ln w="5978" cap="flat">
                  <a:noFill/>
                  <a:prstDash val="solid"/>
                  <a:miter/>
                </a:ln>
              </p:spPr>
              <p:txBody>
                <a:bodyPr rtlCol="0" anchor="ctr"/>
                <a:lstStyle/>
                <a:p>
                  <a:endParaRPr lang="en-GB"/>
                </a:p>
              </p:txBody>
            </p:sp>
            <p:sp>
              <p:nvSpPr>
                <p:cNvPr id="5017" name="Vrije vorm: vorm 5016">
                  <a:extLst>
                    <a:ext uri="{FF2B5EF4-FFF2-40B4-BE49-F238E27FC236}">
                      <a16:creationId xmlns:a16="http://schemas.microsoft.com/office/drawing/2014/main" id="{3D8E49B6-9AC1-42D9-A32A-F5F9CDCF61C7}"/>
                    </a:ext>
                  </a:extLst>
                </p:cNvPr>
                <p:cNvSpPr/>
                <p:nvPr/>
              </p:nvSpPr>
              <p:spPr>
                <a:xfrm>
                  <a:off x="8038060" y="3724902"/>
                  <a:ext cx="18326" cy="18402"/>
                </a:xfrm>
                <a:custGeom>
                  <a:avLst/>
                  <a:gdLst>
                    <a:gd name="connsiteX0" fmla="*/ 10577 w 18326"/>
                    <a:gd name="connsiteY0" fmla="*/ 110 h 18402"/>
                    <a:gd name="connsiteX1" fmla="*/ 110 w 18326"/>
                    <a:gd name="connsiteY1" fmla="*/ 7766 h 18402"/>
                    <a:gd name="connsiteX2" fmla="*/ 7765 w 18326"/>
                    <a:gd name="connsiteY2" fmla="*/ 18292 h 18402"/>
                    <a:gd name="connsiteX3" fmla="*/ 18231 w 18326"/>
                    <a:gd name="connsiteY3" fmla="*/ 10637 h 18402"/>
                    <a:gd name="connsiteX4" fmla="*/ 10577 w 18326"/>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02">
                      <a:moveTo>
                        <a:pt x="10577" y="110"/>
                      </a:moveTo>
                      <a:cubicBezTo>
                        <a:pt x="5552" y="-667"/>
                        <a:pt x="887" y="2742"/>
                        <a:pt x="110" y="7766"/>
                      </a:cubicBezTo>
                      <a:cubicBezTo>
                        <a:pt x="-667" y="12790"/>
                        <a:pt x="2742" y="17514"/>
                        <a:pt x="7765" y="18292"/>
                      </a:cubicBezTo>
                      <a:cubicBezTo>
                        <a:pt x="12790" y="19069"/>
                        <a:pt x="17454" y="15660"/>
                        <a:pt x="18231" y="10637"/>
                      </a:cubicBezTo>
                      <a:cubicBezTo>
                        <a:pt x="18949" y="5613"/>
                        <a:pt x="15540" y="888"/>
                        <a:pt x="10577" y="110"/>
                      </a:cubicBezTo>
                      <a:close/>
                    </a:path>
                  </a:pathLst>
                </a:custGeom>
                <a:grpFill/>
                <a:ln w="5978" cap="flat">
                  <a:noFill/>
                  <a:prstDash val="solid"/>
                  <a:miter/>
                </a:ln>
              </p:spPr>
              <p:txBody>
                <a:bodyPr rtlCol="0" anchor="ctr"/>
                <a:lstStyle/>
                <a:p>
                  <a:endParaRPr lang="en-GB"/>
                </a:p>
              </p:txBody>
            </p:sp>
          </p:grpSp>
          <p:grpSp>
            <p:nvGrpSpPr>
              <p:cNvPr id="122" name="Graphic 3">
                <a:extLst>
                  <a:ext uri="{FF2B5EF4-FFF2-40B4-BE49-F238E27FC236}">
                    <a16:creationId xmlns:a16="http://schemas.microsoft.com/office/drawing/2014/main" id="{7AB0755B-6168-4DE0-8D22-E25DBC269D59}"/>
                  </a:ext>
                </a:extLst>
              </p:cNvPr>
              <p:cNvGrpSpPr/>
              <p:nvPr/>
            </p:nvGrpSpPr>
            <p:grpSpPr>
              <a:xfrm>
                <a:off x="7148148" y="1555842"/>
                <a:ext cx="589700" cy="604972"/>
                <a:chOff x="7148148" y="1555842"/>
                <a:chExt cx="589700" cy="604972"/>
              </a:xfrm>
              <a:grpFill/>
            </p:grpSpPr>
            <p:sp>
              <p:nvSpPr>
                <p:cNvPr id="5012" name="Vrije vorm: vorm 5011">
                  <a:extLst>
                    <a:ext uri="{FF2B5EF4-FFF2-40B4-BE49-F238E27FC236}">
                      <a16:creationId xmlns:a16="http://schemas.microsoft.com/office/drawing/2014/main" id="{7E85016D-CE8D-44D6-9322-BADDD2704463}"/>
                    </a:ext>
                  </a:extLst>
                </p:cNvPr>
                <p:cNvSpPr/>
                <p:nvPr/>
              </p:nvSpPr>
              <p:spPr>
                <a:xfrm>
                  <a:off x="7155894" y="1563640"/>
                  <a:ext cx="574209" cy="589400"/>
                </a:xfrm>
                <a:custGeom>
                  <a:avLst/>
                  <a:gdLst>
                    <a:gd name="connsiteX0" fmla="*/ 574209 w 574209"/>
                    <a:gd name="connsiteY0" fmla="*/ 2153 h 589400"/>
                    <a:gd name="connsiteX1" fmla="*/ 2213 w 574209"/>
                    <a:gd name="connsiteY1" fmla="*/ 589400 h 589400"/>
                    <a:gd name="connsiteX2" fmla="*/ 0 w 574209"/>
                    <a:gd name="connsiteY2" fmla="*/ 587247 h 589400"/>
                    <a:gd name="connsiteX3" fmla="*/ 572056 w 574209"/>
                    <a:gd name="connsiteY3" fmla="*/ 0 h 589400"/>
                  </a:gdLst>
                  <a:ahLst/>
                  <a:cxnLst>
                    <a:cxn ang="0">
                      <a:pos x="connsiteX0" y="connsiteY0"/>
                    </a:cxn>
                    <a:cxn ang="0">
                      <a:pos x="connsiteX1" y="connsiteY1"/>
                    </a:cxn>
                    <a:cxn ang="0">
                      <a:pos x="connsiteX2" y="connsiteY2"/>
                    </a:cxn>
                    <a:cxn ang="0">
                      <a:pos x="connsiteX3" y="connsiteY3"/>
                    </a:cxn>
                  </a:cxnLst>
                  <a:rect l="l" t="t" r="r" b="b"/>
                  <a:pathLst>
                    <a:path w="574209" h="589400">
                      <a:moveTo>
                        <a:pt x="574209" y="2153"/>
                      </a:moveTo>
                      <a:lnTo>
                        <a:pt x="2213" y="589400"/>
                      </a:lnTo>
                      <a:lnTo>
                        <a:pt x="0" y="587247"/>
                      </a:lnTo>
                      <a:lnTo>
                        <a:pt x="572056" y="0"/>
                      </a:lnTo>
                      <a:close/>
                    </a:path>
                  </a:pathLst>
                </a:custGeom>
                <a:grpFill/>
                <a:ln w="5978" cap="flat">
                  <a:noFill/>
                  <a:prstDash val="solid"/>
                  <a:miter/>
                </a:ln>
              </p:spPr>
              <p:txBody>
                <a:bodyPr rtlCol="0" anchor="ctr"/>
                <a:lstStyle/>
                <a:p>
                  <a:endParaRPr lang="en-GB"/>
                </a:p>
              </p:txBody>
            </p:sp>
            <p:sp>
              <p:nvSpPr>
                <p:cNvPr id="5013" name="Vrije vorm: vorm 5012">
                  <a:extLst>
                    <a:ext uri="{FF2B5EF4-FFF2-40B4-BE49-F238E27FC236}">
                      <a16:creationId xmlns:a16="http://schemas.microsoft.com/office/drawing/2014/main" id="{42CDD9C4-5F5F-4227-9593-46004168FE12}"/>
                    </a:ext>
                  </a:extLst>
                </p:cNvPr>
                <p:cNvSpPr/>
                <p:nvPr/>
              </p:nvSpPr>
              <p:spPr>
                <a:xfrm>
                  <a:off x="7148148" y="2142394"/>
                  <a:ext cx="18340" cy="18421"/>
                </a:xfrm>
                <a:custGeom>
                  <a:avLst/>
                  <a:gdLst>
                    <a:gd name="connsiteX0" fmla="*/ 15760 w 18340"/>
                    <a:gd name="connsiteY0" fmla="*/ 15670 h 18421"/>
                    <a:gd name="connsiteX1" fmla="*/ 2782 w 18340"/>
                    <a:gd name="connsiteY1" fmla="*/ 15789 h 18421"/>
                    <a:gd name="connsiteX2" fmla="*/ 2603 w 18340"/>
                    <a:gd name="connsiteY2" fmla="*/ 2751 h 18421"/>
                    <a:gd name="connsiteX3" fmla="*/ 15581 w 18340"/>
                    <a:gd name="connsiteY3" fmla="*/ 2632 h 18421"/>
                    <a:gd name="connsiteX4" fmla="*/ 15760 w 18340"/>
                    <a:gd name="connsiteY4" fmla="*/ 1567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1">
                      <a:moveTo>
                        <a:pt x="15760" y="15670"/>
                      </a:moveTo>
                      <a:cubicBezTo>
                        <a:pt x="12232" y="19318"/>
                        <a:pt x="6430" y="19318"/>
                        <a:pt x="2782" y="15789"/>
                      </a:cubicBezTo>
                      <a:cubicBezTo>
                        <a:pt x="-866" y="12201"/>
                        <a:pt x="-926" y="6400"/>
                        <a:pt x="2603" y="2751"/>
                      </a:cubicBezTo>
                      <a:cubicBezTo>
                        <a:pt x="6131" y="-897"/>
                        <a:pt x="11932" y="-897"/>
                        <a:pt x="15581" y="2632"/>
                      </a:cubicBezTo>
                      <a:cubicBezTo>
                        <a:pt x="19169" y="6220"/>
                        <a:pt x="19289" y="12081"/>
                        <a:pt x="15760" y="15670"/>
                      </a:cubicBezTo>
                      <a:close/>
                    </a:path>
                  </a:pathLst>
                </a:custGeom>
                <a:grpFill/>
                <a:ln w="5978" cap="flat">
                  <a:noFill/>
                  <a:prstDash val="solid"/>
                  <a:miter/>
                </a:ln>
              </p:spPr>
              <p:txBody>
                <a:bodyPr rtlCol="0" anchor="ctr"/>
                <a:lstStyle/>
                <a:p>
                  <a:endParaRPr lang="en-GB"/>
                </a:p>
              </p:txBody>
            </p:sp>
            <p:sp>
              <p:nvSpPr>
                <p:cNvPr id="5014" name="Vrije vorm: vorm 5013">
                  <a:extLst>
                    <a:ext uri="{FF2B5EF4-FFF2-40B4-BE49-F238E27FC236}">
                      <a16:creationId xmlns:a16="http://schemas.microsoft.com/office/drawing/2014/main" id="{9091BA8E-DEAB-487C-BF19-D2EEAD46DE97}"/>
                    </a:ext>
                  </a:extLst>
                </p:cNvPr>
                <p:cNvSpPr/>
                <p:nvPr/>
              </p:nvSpPr>
              <p:spPr>
                <a:xfrm>
                  <a:off x="7719486" y="1555842"/>
                  <a:ext cx="18362" cy="18443"/>
                </a:xfrm>
                <a:custGeom>
                  <a:avLst/>
                  <a:gdLst>
                    <a:gd name="connsiteX0" fmla="*/ 15760 w 18362"/>
                    <a:gd name="connsiteY0" fmla="*/ 15692 h 18443"/>
                    <a:gd name="connsiteX1" fmla="*/ 15581 w 18362"/>
                    <a:gd name="connsiteY1" fmla="*/ 2654 h 18443"/>
                    <a:gd name="connsiteX2" fmla="*/ 2602 w 18362"/>
                    <a:gd name="connsiteY2" fmla="*/ 2774 h 18443"/>
                    <a:gd name="connsiteX3" fmla="*/ 2782 w 18362"/>
                    <a:gd name="connsiteY3" fmla="*/ 15812 h 18443"/>
                    <a:gd name="connsiteX4" fmla="*/ 15760 w 18362"/>
                    <a:gd name="connsiteY4" fmla="*/ 1569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43">
                      <a:moveTo>
                        <a:pt x="15760" y="15692"/>
                      </a:moveTo>
                      <a:cubicBezTo>
                        <a:pt x="19289" y="12044"/>
                        <a:pt x="19229" y="6243"/>
                        <a:pt x="15581" y="2654"/>
                      </a:cubicBezTo>
                      <a:cubicBezTo>
                        <a:pt x="11932" y="-934"/>
                        <a:pt x="6131" y="-874"/>
                        <a:pt x="2602" y="2774"/>
                      </a:cubicBezTo>
                      <a:cubicBezTo>
                        <a:pt x="-926" y="6422"/>
                        <a:pt x="-866" y="12223"/>
                        <a:pt x="2782" y="15812"/>
                      </a:cubicBezTo>
                      <a:cubicBezTo>
                        <a:pt x="6430" y="19341"/>
                        <a:pt x="12231" y="19341"/>
                        <a:pt x="15760" y="15692"/>
                      </a:cubicBezTo>
                      <a:close/>
                    </a:path>
                  </a:pathLst>
                </a:custGeom>
                <a:grpFill/>
                <a:ln w="5978" cap="flat">
                  <a:noFill/>
                  <a:prstDash val="solid"/>
                  <a:miter/>
                </a:ln>
              </p:spPr>
              <p:txBody>
                <a:bodyPr rtlCol="0" anchor="ctr"/>
                <a:lstStyle/>
                <a:p>
                  <a:endParaRPr lang="en-GB"/>
                </a:p>
              </p:txBody>
            </p:sp>
          </p:grpSp>
          <p:grpSp>
            <p:nvGrpSpPr>
              <p:cNvPr id="123" name="Graphic 3">
                <a:extLst>
                  <a:ext uri="{FF2B5EF4-FFF2-40B4-BE49-F238E27FC236}">
                    <a16:creationId xmlns:a16="http://schemas.microsoft.com/office/drawing/2014/main" id="{0C8DA469-F1BD-4AE4-8473-52D9C4A97B3B}"/>
                  </a:ext>
                </a:extLst>
              </p:cNvPr>
              <p:cNvGrpSpPr/>
              <p:nvPr/>
            </p:nvGrpSpPr>
            <p:grpSpPr>
              <a:xfrm>
                <a:off x="7709287" y="3197692"/>
                <a:ext cx="351073" cy="23505"/>
                <a:chOff x="7709287" y="3197692"/>
                <a:chExt cx="351073" cy="23505"/>
              </a:xfrm>
              <a:grpFill/>
            </p:grpSpPr>
            <p:sp>
              <p:nvSpPr>
                <p:cNvPr id="5009" name="Vrije vorm: vorm 5008">
                  <a:extLst>
                    <a:ext uri="{FF2B5EF4-FFF2-40B4-BE49-F238E27FC236}">
                      <a16:creationId xmlns:a16="http://schemas.microsoft.com/office/drawing/2014/main" id="{5645DE91-FA10-4288-8B16-1CC686EBEDCF}"/>
                    </a:ext>
                  </a:extLst>
                </p:cNvPr>
                <p:cNvSpPr/>
                <p:nvPr/>
              </p:nvSpPr>
              <p:spPr>
                <a:xfrm>
                  <a:off x="7717962" y="3205348"/>
                  <a:ext cx="333723" cy="8193"/>
                </a:xfrm>
                <a:custGeom>
                  <a:avLst/>
                  <a:gdLst>
                    <a:gd name="connsiteX0" fmla="*/ 333665 w 333723"/>
                    <a:gd name="connsiteY0" fmla="*/ 0 h 8193"/>
                    <a:gd name="connsiteX1" fmla="*/ 333724 w 333723"/>
                    <a:gd name="connsiteY1" fmla="*/ 3050 h 8193"/>
                    <a:gd name="connsiteX2" fmla="*/ 60 w 333723"/>
                    <a:gd name="connsiteY2" fmla="*/ 8194 h 8193"/>
                    <a:gd name="connsiteX3" fmla="*/ 0 w 333723"/>
                    <a:gd name="connsiteY3" fmla="*/ 5144 h 8193"/>
                  </a:gdLst>
                  <a:ahLst/>
                  <a:cxnLst>
                    <a:cxn ang="0">
                      <a:pos x="connsiteX0" y="connsiteY0"/>
                    </a:cxn>
                    <a:cxn ang="0">
                      <a:pos x="connsiteX1" y="connsiteY1"/>
                    </a:cxn>
                    <a:cxn ang="0">
                      <a:pos x="connsiteX2" y="connsiteY2"/>
                    </a:cxn>
                    <a:cxn ang="0">
                      <a:pos x="connsiteX3" y="connsiteY3"/>
                    </a:cxn>
                  </a:cxnLst>
                  <a:rect l="l" t="t" r="r" b="b"/>
                  <a:pathLst>
                    <a:path w="333723" h="8193">
                      <a:moveTo>
                        <a:pt x="333665" y="0"/>
                      </a:moveTo>
                      <a:lnTo>
                        <a:pt x="333724" y="3050"/>
                      </a:lnTo>
                      <a:lnTo>
                        <a:pt x="60" y="8194"/>
                      </a:lnTo>
                      <a:lnTo>
                        <a:pt x="0" y="5144"/>
                      </a:lnTo>
                      <a:close/>
                    </a:path>
                  </a:pathLst>
                </a:custGeom>
                <a:grpFill/>
                <a:ln w="5978" cap="flat">
                  <a:noFill/>
                  <a:prstDash val="solid"/>
                  <a:miter/>
                </a:ln>
              </p:spPr>
              <p:txBody>
                <a:bodyPr rtlCol="0" anchor="ctr"/>
                <a:lstStyle/>
                <a:p>
                  <a:endParaRPr lang="en-GB"/>
                </a:p>
              </p:txBody>
            </p:sp>
            <p:sp>
              <p:nvSpPr>
                <p:cNvPr id="5010" name="Vrije vorm: vorm 5009">
                  <a:extLst>
                    <a:ext uri="{FF2B5EF4-FFF2-40B4-BE49-F238E27FC236}">
                      <a16:creationId xmlns:a16="http://schemas.microsoft.com/office/drawing/2014/main" id="{B4CE829C-29F5-4521-A8F7-5FECCB1A27DD}"/>
                    </a:ext>
                  </a:extLst>
                </p:cNvPr>
                <p:cNvSpPr/>
                <p:nvPr/>
              </p:nvSpPr>
              <p:spPr>
                <a:xfrm>
                  <a:off x="7709287" y="3202776"/>
                  <a:ext cx="18306" cy="18422"/>
                </a:xfrm>
                <a:custGeom>
                  <a:avLst/>
                  <a:gdLst>
                    <a:gd name="connsiteX0" fmla="*/ 9333 w 18306"/>
                    <a:gd name="connsiteY0" fmla="*/ 18421 h 18422"/>
                    <a:gd name="connsiteX1" fmla="*/ 3 w 18306"/>
                    <a:gd name="connsiteY1" fmla="*/ 9331 h 18422"/>
                    <a:gd name="connsiteX2" fmla="*/ 8974 w 18306"/>
                    <a:gd name="connsiteY2" fmla="*/ 1 h 18422"/>
                    <a:gd name="connsiteX3" fmla="*/ 18304 w 18306"/>
                    <a:gd name="connsiteY3" fmla="*/ 9091 h 18422"/>
                    <a:gd name="connsiteX4" fmla="*/ 9333 w 18306"/>
                    <a:gd name="connsiteY4" fmla="*/ 1842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9333" y="18421"/>
                      </a:moveTo>
                      <a:cubicBezTo>
                        <a:pt x="4249" y="18481"/>
                        <a:pt x="62" y="14414"/>
                        <a:pt x="3" y="9331"/>
                      </a:cubicBezTo>
                      <a:cubicBezTo>
                        <a:pt x="-116" y="4247"/>
                        <a:pt x="3950" y="61"/>
                        <a:pt x="8974" y="1"/>
                      </a:cubicBezTo>
                      <a:cubicBezTo>
                        <a:pt x="14058" y="-59"/>
                        <a:pt x="18244" y="4008"/>
                        <a:pt x="18304" y="9091"/>
                      </a:cubicBezTo>
                      <a:cubicBezTo>
                        <a:pt x="18424" y="14175"/>
                        <a:pt x="14416" y="18362"/>
                        <a:pt x="9333" y="18421"/>
                      </a:cubicBezTo>
                      <a:close/>
                    </a:path>
                  </a:pathLst>
                </a:custGeom>
                <a:grpFill/>
                <a:ln w="5978" cap="flat">
                  <a:noFill/>
                  <a:prstDash val="solid"/>
                  <a:miter/>
                </a:ln>
              </p:spPr>
              <p:txBody>
                <a:bodyPr rtlCol="0" anchor="ctr"/>
                <a:lstStyle/>
                <a:p>
                  <a:endParaRPr lang="en-GB"/>
                </a:p>
              </p:txBody>
            </p:sp>
            <p:sp>
              <p:nvSpPr>
                <p:cNvPr id="5011" name="Vrije vorm: vorm 5010">
                  <a:extLst>
                    <a:ext uri="{FF2B5EF4-FFF2-40B4-BE49-F238E27FC236}">
                      <a16:creationId xmlns:a16="http://schemas.microsoft.com/office/drawing/2014/main" id="{6D6F22AB-1EE4-4D1C-A204-D26AD72806F0}"/>
                    </a:ext>
                  </a:extLst>
                </p:cNvPr>
                <p:cNvSpPr/>
                <p:nvPr/>
              </p:nvSpPr>
              <p:spPr>
                <a:xfrm>
                  <a:off x="8042054" y="3197692"/>
                  <a:ext cx="18306" cy="18422"/>
                </a:xfrm>
                <a:custGeom>
                  <a:avLst/>
                  <a:gdLst>
                    <a:gd name="connsiteX0" fmla="*/ 9333 w 18306"/>
                    <a:gd name="connsiteY0" fmla="*/ 18421 h 18422"/>
                    <a:gd name="connsiteX1" fmla="*/ 18304 w 18306"/>
                    <a:gd name="connsiteY1" fmla="*/ 9091 h 18422"/>
                    <a:gd name="connsiteX2" fmla="*/ 8974 w 18306"/>
                    <a:gd name="connsiteY2" fmla="*/ 1 h 18422"/>
                    <a:gd name="connsiteX3" fmla="*/ 3 w 18306"/>
                    <a:gd name="connsiteY3" fmla="*/ 9331 h 18422"/>
                    <a:gd name="connsiteX4" fmla="*/ 9333 w 18306"/>
                    <a:gd name="connsiteY4" fmla="*/ 1842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9333" y="18421"/>
                      </a:moveTo>
                      <a:cubicBezTo>
                        <a:pt x="14416" y="18362"/>
                        <a:pt x="18424" y="14175"/>
                        <a:pt x="18304" y="9091"/>
                      </a:cubicBezTo>
                      <a:cubicBezTo>
                        <a:pt x="18184" y="4008"/>
                        <a:pt x="13998" y="-59"/>
                        <a:pt x="8974" y="1"/>
                      </a:cubicBezTo>
                      <a:cubicBezTo>
                        <a:pt x="3890" y="61"/>
                        <a:pt x="-117" y="4247"/>
                        <a:pt x="3" y="9331"/>
                      </a:cubicBezTo>
                      <a:cubicBezTo>
                        <a:pt x="122" y="14414"/>
                        <a:pt x="4249" y="18481"/>
                        <a:pt x="9333" y="18421"/>
                      </a:cubicBezTo>
                      <a:close/>
                    </a:path>
                  </a:pathLst>
                </a:custGeom>
                <a:grpFill/>
                <a:ln w="5978" cap="flat">
                  <a:noFill/>
                  <a:prstDash val="solid"/>
                  <a:miter/>
                </a:ln>
              </p:spPr>
              <p:txBody>
                <a:bodyPr rtlCol="0" anchor="ctr"/>
                <a:lstStyle/>
                <a:p>
                  <a:endParaRPr lang="en-GB"/>
                </a:p>
              </p:txBody>
            </p:sp>
          </p:grpSp>
          <p:grpSp>
            <p:nvGrpSpPr>
              <p:cNvPr id="124" name="Graphic 3">
                <a:extLst>
                  <a:ext uri="{FF2B5EF4-FFF2-40B4-BE49-F238E27FC236}">
                    <a16:creationId xmlns:a16="http://schemas.microsoft.com/office/drawing/2014/main" id="{B3D7AA52-D057-4F87-A265-262BCF27B4C2}"/>
                  </a:ext>
                </a:extLst>
              </p:cNvPr>
              <p:cNvGrpSpPr/>
              <p:nvPr/>
            </p:nvGrpSpPr>
            <p:grpSpPr>
              <a:xfrm>
                <a:off x="7739021" y="3453913"/>
                <a:ext cx="471266" cy="69423"/>
                <a:chOff x="7739021" y="3453913"/>
                <a:chExt cx="471266" cy="69423"/>
              </a:xfrm>
              <a:grpFill/>
            </p:grpSpPr>
            <p:sp>
              <p:nvSpPr>
                <p:cNvPr id="5006" name="Vrije vorm: vorm 5005">
                  <a:extLst>
                    <a:ext uri="{FF2B5EF4-FFF2-40B4-BE49-F238E27FC236}">
                      <a16:creationId xmlns:a16="http://schemas.microsoft.com/office/drawing/2014/main" id="{ADFC0DE4-48F9-49BD-AF42-917C6EC2BC65}"/>
                    </a:ext>
                  </a:extLst>
                </p:cNvPr>
                <p:cNvSpPr/>
                <p:nvPr/>
              </p:nvSpPr>
              <p:spPr>
                <a:xfrm>
                  <a:off x="7747566" y="3461562"/>
                  <a:ext cx="454176" cy="54125"/>
                </a:xfrm>
                <a:custGeom>
                  <a:avLst/>
                  <a:gdLst>
                    <a:gd name="connsiteX0" fmla="*/ 454176 w 454176"/>
                    <a:gd name="connsiteY0" fmla="*/ 51075 h 54125"/>
                    <a:gd name="connsiteX1" fmla="*/ 453817 w 454176"/>
                    <a:gd name="connsiteY1" fmla="*/ 54125 h 54125"/>
                    <a:gd name="connsiteX2" fmla="*/ 0 w 454176"/>
                    <a:gd name="connsiteY2" fmla="*/ 3050 h 54125"/>
                    <a:gd name="connsiteX3" fmla="*/ 359 w 454176"/>
                    <a:gd name="connsiteY3" fmla="*/ 0 h 54125"/>
                  </a:gdLst>
                  <a:ahLst/>
                  <a:cxnLst>
                    <a:cxn ang="0">
                      <a:pos x="connsiteX0" y="connsiteY0"/>
                    </a:cxn>
                    <a:cxn ang="0">
                      <a:pos x="connsiteX1" y="connsiteY1"/>
                    </a:cxn>
                    <a:cxn ang="0">
                      <a:pos x="connsiteX2" y="connsiteY2"/>
                    </a:cxn>
                    <a:cxn ang="0">
                      <a:pos x="connsiteX3" y="connsiteY3"/>
                    </a:cxn>
                  </a:cxnLst>
                  <a:rect l="l" t="t" r="r" b="b"/>
                  <a:pathLst>
                    <a:path w="454176" h="54125">
                      <a:moveTo>
                        <a:pt x="454176" y="51075"/>
                      </a:moveTo>
                      <a:lnTo>
                        <a:pt x="453817" y="54125"/>
                      </a:lnTo>
                      <a:lnTo>
                        <a:pt x="0" y="3050"/>
                      </a:lnTo>
                      <a:lnTo>
                        <a:pt x="359" y="0"/>
                      </a:lnTo>
                      <a:close/>
                    </a:path>
                  </a:pathLst>
                </a:custGeom>
                <a:grpFill/>
                <a:ln w="5978" cap="flat">
                  <a:noFill/>
                  <a:prstDash val="solid"/>
                  <a:miter/>
                </a:ln>
              </p:spPr>
              <p:txBody>
                <a:bodyPr rtlCol="0" anchor="ctr"/>
                <a:lstStyle/>
                <a:p>
                  <a:endParaRPr lang="en-GB"/>
                </a:p>
              </p:txBody>
            </p:sp>
            <p:sp>
              <p:nvSpPr>
                <p:cNvPr id="5007" name="Vrije vorm: vorm 5006">
                  <a:extLst>
                    <a:ext uri="{FF2B5EF4-FFF2-40B4-BE49-F238E27FC236}">
                      <a16:creationId xmlns:a16="http://schemas.microsoft.com/office/drawing/2014/main" id="{2718CCA1-C7CC-40E8-B4B7-B580DEC70BC9}"/>
                    </a:ext>
                  </a:extLst>
                </p:cNvPr>
                <p:cNvSpPr/>
                <p:nvPr/>
              </p:nvSpPr>
              <p:spPr>
                <a:xfrm>
                  <a:off x="7739021" y="3453913"/>
                  <a:ext cx="18346" cy="18418"/>
                </a:xfrm>
                <a:custGeom>
                  <a:avLst/>
                  <a:gdLst>
                    <a:gd name="connsiteX0" fmla="*/ 8186 w 18346"/>
                    <a:gd name="connsiteY0" fmla="*/ 18354 h 18418"/>
                    <a:gd name="connsiteX1" fmla="*/ 53 w 18346"/>
                    <a:gd name="connsiteY1" fmla="*/ 8187 h 18418"/>
                    <a:gd name="connsiteX2" fmla="*/ 10160 w 18346"/>
                    <a:gd name="connsiteY2" fmla="*/ 53 h 18418"/>
                    <a:gd name="connsiteX3" fmla="*/ 18294 w 18346"/>
                    <a:gd name="connsiteY3" fmla="*/ 10221 h 18418"/>
                    <a:gd name="connsiteX4" fmla="*/ 8186 w 18346"/>
                    <a:gd name="connsiteY4" fmla="*/ 18354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8">
                      <a:moveTo>
                        <a:pt x="8186" y="18354"/>
                      </a:moveTo>
                      <a:cubicBezTo>
                        <a:pt x="3162" y="17816"/>
                        <a:pt x="-486" y="13211"/>
                        <a:pt x="53" y="8187"/>
                      </a:cubicBezTo>
                      <a:cubicBezTo>
                        <a:pt x="591" y="3104"/>
                        <a:pt x="5136" y="-485"/>
                        <a:pt x="10160" y="53"/>
                      </a:cubicBezTo>
                      <a:cubicBezTo>
                        <a:pt x="15183" y="592"/>
                        <a:pt x="18832" y="5197"/>
                        <a:pt x="18294" y="10221"/>
                      </a:cubicBezTo>
                      <a:cubicBezTo>
                        <a:pt x="17755" y="15304"/>
                        <a:pt x="13210" y="18953"/>
                        <a:pt x="8186" y="18354"/>
                      </a:cubicBezTo>
                      <a:close/>
                    </a:path>
                  </a:pathLst>
                </a:custGeom>
                <a:grpFill/>
                <a:ln w="5978" cap="flat">
                  <a:noFill/>
                  <a:prstDash val="solid"/>
                  <a:miter/>
                </a:ln>
              </p:spPr>
              <p:txBody>
                <a:bodyPr rtlCol="0" anchor="ctr"/>
                <a:lstStyle/>
                <a:p>
                  <a:endParaRPr lang="en-GB"/>
                </a:p>
              </p:txBody>
            </p:sp>
            <p:sp>
              <p:nvSpPr>
                <p:cNvPr id="5008" name="Vrije vorm: vorm 5007">
                  <a:extLst>
                    <a:ext uri="{FF2B5EF4-FFF2-40B4-BE49-F238E27FC236}">
                      <a16:creationId xmlns:a16="http://schemas.microsoft.com/office/drawing/2014/main" id="{26691306-1F61-4005-BD0F-5F94E54F5FD0}"/>
                    </a:ext>
                  </a:extLst>
                </p:cNvPr>
                <p:cNvSpPr/>
                <p:nvPr/>
              </p:nvSpPr>
              <p:spPr>
                <a:xfrm>
                  <a:off x="8191941" y="3504929"/>
                  <a:ext cx="18346" cy="18407"/>
                </a:xfrm>
                <a:custGeom>
                  <a:avLst/>
                  <a:gdLst>
                    <a:gd name="connsiteX0" fmla="*/ 8186 w 18346"/>
                    <a:gd name="connsiteY0" fmla="*/ 18354 h 18407"/>
                    <a:gd name="connsiteX1" fmla="*/ 18294 w 18346"/>
                    <a:gd name="connsiteY1" fmla="*/ 10221 h 18407"/>
                    <a:gd name="connsiteX2" fmla="*/ 10160 w 18346"/>
                    <a:gd name="connsiteY2" fmla="*/ 53 h 18407"/>
                    <a:gd name="connsiteX3" fmla="*/ 53 w 18346"/>
                    <a:gd name="connsiteY3" fmla="*/ 8187 h 18407"/>
                    <a:gd name="connsiteX4" fmla="*/ 8186 w 18346"/>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7">
                      <a:moveTo>
                        <a:pt x="8186" y="18354"/>
                      </a:moveTo>
                      <a:cubicBezTo>
                        <a:pt x="13210" y="18893"/>
                        <a:pt x="17755" y="15304"/>
                        <a:pt x="18294" y="10221"/>
                      </a:cubicBezTo>
                      <a:cubicBezTo>
                        <a:pt x="18832" y="5137"/>
                        <a:pt x="15184" y="592"/>
                        <a:pt x="10160" y="53"/>
                      </a:cubicBezTo>
                      <a:cubicBezTo>
                        <a:pt x="5136" y="-485"/>
                        <a:pt x="591" y="3104"/>
                        <a:pt x="53" y="8187"/>
                      </a:cubicBezTo>
                      <a:cubicBezTo>
                        <a:pt x="-486" y="13211"/>
                        <a:pt x="3163" y="17756"/>
                        <a:pt x="8186" y="18354"/>
                      </a:cubicBezTo>
                      <a:close/>
                    </a:path>
                  </a:pathLst>
                </a:custGeom>
                <a:grpFill/>
                <a:ln w="5978" cap="flat">
                  <a:noFill/>
                  <a:prstDash val="solid"/>
                  <a:miter/>
                </a:ln>
              </p:spPr>
              <p:txBody>
                <a:bodyPr rtlCol="0" anchor="ctr"/>
                <a:lstStyle/>
                <a:p>
                  <a:endParaRPr lang="en-GB"/>
                </a:p>
              </p:txBody>
            </p:sp>
          </p:grpSp>
          <p:grpSp>
            <p:nvGrpSpPr>
              <p:cNvPr id="125" name="Graphic 3">
                <a:extLst>
                  <a:ext uri="{FF2B5EF4-FFF2-40B4-BE49-F238E27FC236}">
                    <a16:creationId xmlns:a16="http://schemas.microsoft.com/office/drawing/2014/main" id="{7E41DCE1-35D4-4C69-A1DB-4383CB9DA2E5}"/>
                  </a:ext>
                </a:extLst>
              </p:cNvPr>
              <p:cNvGrpSpPr/>
              <p:nvPr/>
            </p:nvGrpSpPr>
            <p:grpSpPr>
              <a:xfrm>
                <a:off x="7447826" y="2213555"/>
                <a:ext cx="255154" cy="190957"/>
                <a:chOff x="7447826" y="2213555"/>
                <a:chExt cx="255154" cy="190957"/>
              </a:xfrm>
              <a:grpFill/>
            </p:grpSpPr>
            <p:sp>
              <p:nvSpPr>
                <p:cNvPr id="5003" name="Vrije vorm: vorm 5002">
                  <a:extLst>
                    <a:ext uri="{FF2B5EF4-FFF2-40B4-BE49-F238E27FC236}">
                      <a16:creationId xmlns:a16="http://schemas.microsoft.com/office/drawing/2014/main" id="{318E4990-F496-4BBB-B427-85FF541B34DE}"/>
                    </a:ext>
                  </a:extLst>
                </p:cNvPr>
                <p:cNvSpPr/>
                <p:nvPr/>
              </p:nvSpPr>
              <p:spPr>
                <a:xfrm>
                  <a:off x="7455707" y="2221220"/>
                  <a:ext cx="239347" cy="175653"/>
                </a:xfrm>
                <a:custGeom>
                  <a:avLst/>
                  <a:gdLst>
                    <a:gd name="connsiteX0" fmla="*/ 239348 w 239347"/>
                    <a:gd name="connsiteY0" fmla="*/ 2512 h 175653"/>
                    <a:gd name="connsiteX1" fmla="*/ 1794 w 239347"/>
                    <a:gd name="connsiteY1" fmla="*/ 175654 h 175653"/>
                    <a:gd name="connsiteX2" fmla="*/ 0 w 239347"/>
                    <a:gd name="connsiteY2" fmla="*/ 173142 h 175653"/>
                    <a:gd name="connsiteX3" fmla="*/ 237554 w 239347"/>
                    <a:gd name="connsiteY3" fmla="*/ 0 h 175653"/>
                  </a:gdLst>
                  <a:ahLst/>
                  <a:cxnLst>
                    <a:cxn ang="0">
                      <a:pos x="connsiteX0" y="connsiteY0"/>
                    </a:cxn>
                    <a:cxn ang="0">
                      <a:pos x="connsiteX1" y="connsiteY1"/>
                    </a:cxn>
                    <a:cxn ang="0">
                      <a:pos x="connsiteX2" y="connsiteY2"/>
                    </a:cxn>
                    <a:cxn ang="0">
                      <a:pos x="connsiteX3" y="connsiteY3"/>
                    </a:cxn>
                  </a:cxnLst>
                  <a:rect l="l" t="t" r="r" b="b"/>
                  <a:pathLst>
                    <a:path w="239347" h="175653">
                      <a:moveTo>
                        <a:pt x="239348" y="2512"/>
                      </a:moveTo>
                      <a:lnTo>
                        <a:pt x="1794" y="175654"/>
                      </a:lnTo>
                      <a:lnTo>
                        <a:pt x="0" y="173142"/>
                      </a:lnTo>
                      <a:lnTo>
                        <a:pt x="237554" y="0"/>
                      </a:lnTo>
                      <a:close/>
                    </a:path>
                  </a:pathLst>
                </a:custGeom>
                <a:grpFill/>
                <a:ln w="5978" cap="flat">
                  <a:noFill/>
                  <a:prstDash val="solid"/>
                  <a:miter/>
                </a:ln>
              </p:spPr>
              <p:txBody>
                <a:bodyPr rtlCol="0" anchor="ctr"/>
                <a:lstStyle/>
                <a:p>
                  <a:endParaRPr lang="en-GB"/>
                </a:p>
              </p:txBody>
            </p:sp>
            <p:sp>
              <p:nvSpPr>
                <p:cNvPr id="5004" name="Vrije vorm: vorm 5003">
                  <a:extLst>
                    <a:ext uri="{FF2B5EF4-FFF2-40B4-BE49-F238E27FC236}">
                      <a16:creationId xmlns:a16="http://schemas.microsoft.com/office/drawing/2014/main" id="{D01F8759-6C01-47CE-A58E-ED6287590C4F}"/>
                    </a:ext>
                  </a:extLst>
                </p:cNvPr>
                <p:cNvSpPr/>
                <p:nvPr/>
              </p:nvSpPr>
              <p:spPr>
                <a:xfrm>
                  <a:off x="7684619" y="2213555"/>
                  <a:ext cx="18361" cy="18439"/>
                </a:xfrm>
                <a:custGeom>
                  <a:avLst/>
                  <a:gdLst>
                    <a:gd name="connsiteX0" fmla="*/ 3798 w 18361"/>
                    <a:gd name="connsiteY0" fmla="*/ 1744 h 18439"/>
                    <a:gd name="connsiteX1" fmla="*/ 16597 w 18361"/>
                    <a:gd name="connsiteY1" fmla="*/ 3837 h 18439"/>
                    <a:gd name="connsiteX2" fmla="*/ 14563 w 18361"/>
                    <a:gd name="connsiteY2" fmla="*/ 16696 h 18439"/>
                    <a:gd name="connsiteX3" fmla="*/ 1765 w 18361"/>
                    <a:gd name="connsiteY3" fmla="*/ 14602 h 18439"/>
                    <a:gd name="connsiteX4" fmla="*/ 3798 w 18361"/>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39">
                      <a:moveTo>
                        <a:pt x="3798" y="1744"/>
                      </a:moveTo>
                      <a:cubicBezTo>
                        <a:pt x="7865" y="-1246"/>
                        <a:pt x="13606" y="-290"/>
                        <a:pt x="16597" y="3837"/>
                      </a:cubicBezTo>
                      <a:cubicBezTo>
                        <a:pt x="19587" y="7964"/>
                        <a:pt x="18690" y="13705"/>
                        <a:pt x="14563" y="16696"/>
                      </a:cubicBezTo>
                      <a:cubicBezTo>
                        <a:pt x="10496" y="19686"/>
                        <a:pt x="4755" y="18729"/>
                        <a:pt x="1765" y="14602"/>
                      </a:cubicBezTo>
                      <a:cubicBezTo>
                        <a:pt x="-1226" y="10476"/>
                        <a:pt x="-329" y="4674"/>
                        <a:pt x="3798" y="1744"/>
                      </a:cubicBezTo>
                      <a:close/>
                    </a:path>
                  </a:pathLst>
                </a:custGeom>
                <a:grpFill/>
                <a:ln w="5978" cap="flat">
                  <a:noFill/>
                  <a:prstDash val="solid"/>
                  <a:miter/>
                </a:ln>
              </p:spPr>
              <p:txBody>
                <a:bodyPr rtlCol="0" anchor="ctr"/>
                <a:lstStyle/>
                <a:p>
                  <a:endParaRPr lang="en-GB"/>
                </a:p>
              </p:txBody>
            </p:sp>
            <p:sp>
              <p:nvSpPr>
                <p:cNvPr id="5005" name="Vrije vorm: vorm 5004">
                  <a:extLst>
                    <a:ext uri="{FF2B5EF4-FFF2-40B4-BE49-F238E27FC236}">
                      <a16:creationId xmlns:a16="http://schemas.microsoft.com/office/drawing/2014/main" id="{E5DB3842-2323-4811-AFFD-BCA119EE7F95}"/>
                    </a:ext>
                  </a:extLst>
                </p:cNvPr>
                <p:cNvSpPr/>
                <p:nvPr/>
              </p:nvSpPr>
              <p:spPr>
                <a:xfrm>
                  <a:off x="7447826" y="2386125"/>
                  <a:ext cx="18275" cy="18387"/>
                </a:xfrm>
                <a:custGeom>
                  <a:avLst/>
                  <a:gdLst>
                    <a:gd name="connsiteX0" fmla="*/ 3755 w 18275"/>
                    <a:gd name="connsiteY0" fmla="*/ 1718 h 18387"/>
                    <a:gd name="connsiteX1" fmla="*/ 1722 w 18275"/>
                    <a:gd name="connsiteY1" fmla="*/ 14577 h 18387"/>
                    <a:gd name="connsiteX2" fmla="*/ 14520 w 18275"/>
                    <a:gd name="connsiteY2" fmla="*/ 16670 h 18387"/>
                    <a:gd name="connsiteX3" fmla="*/ 16554 w 18275"/>
                    <a:gd name="connsiteY3" fmla="*/ 3811 h 18387"/>
                    <a:gd name="connsiteX4" fmla="*/ 3755 w 18275"/>
                    <a:gd name="connsiteY4" fmla="*/ 171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387">
                      <a:moveTo>
                        <a:pt x="3755" y="1718"/>
                      </a:moveTo>
                      <a:cubicBezTo>
                        <a:pt x="-312" y="4708"/>
                        <a:pt x="-1209" y="10450"/>
                        <a:pt x="1722" y="14577"/>
                      </a:cubicBezTo>
                      <a:cubicBezTo>
                        <a:pt x="4712" y="18703"/>
                        <a:pt x="10453" y="19600"/>
                        <a:pt x="14520" y="16670"/>
                      </a:cubicBezTo>
                      <a:cubicBezTo>
                        <a:pt x="18587" y="13679"/>
                        <a:pt x="19484" y="7938"/>
                        <a:pt x="16554" y="3811"/>
                      </a:cubicBezTo>
                      <a:cubicBezTo>
                        <a:pt x="13563" y="-316"/>
                        <a:pt x="7822" y="-1213"/>
                        <a:pt x="3755" y="1718"/>
                      </a:cubicBezTo>
                      <a:close/>
                    </a:path>
                  </a:pathLst>
                </a:custGeom>
                <a:grpFill/>
                <a:ln w="5978" cap="flat">
                  <a:noFill/>
                  <a:prstDash val="solid"/>
                  <a:miter/>
                </a:ln>
              </p:spPr>
              <p:txBody>
                <a:bodyPr rtlCol="0" anchor="ctr"/>
                <a:lstStyle/>
                <a:p>
                  <a:endParaRPr lang="en-GB"/>
                </a:p>
              </p:txBody>
            </p:sp>
          </p:grpSp>
          <p:grpSp>
            <p:nvGrpSpPr>
              <p:cNvPr id="126" name="Graphic 3">
                <a:extLst>
                  <a:ext uri="{FF2B5EF4-FFF2-40B4-BE49-F238E27FC236}">
                    <a16:creationId xmlns:a16="http://schemas.microsoft.com/office/drawing/2014/main" id="{2FB932FE-2E2E-4B2A-8713-60A676946F06}"/>
                  </a:ext>
                </a:extLst>
              </p:cNvPr>
              <p:cNvGrpSpPr/>
              <p:nvPr/>
            </p:nvGrpSpPr>
            <p:grpSpPr>
              <a:xfrm>
                <a:off x="7412314" y="1988149"/>
                <a:ext cx="142862" cy="136987"/>
                <a:chOff x="7412314" y="1988149"/>
                <a:chExt cx="142862" cy="136987"/>
              </a:xfrm>
              <a:grpFill/>
            </p:grpSpPr>
            <p:sp>
              <p:nvSpPr>
                <p:cNvPr id="5000" name="Vrije vorm: vorm 4999">
                  <a:extLst>
                    <a:ext uri="{FF2B5EF4-FFF2-40B4-BE49-F238E27FC236}">
                      <a16:creationId xmlns:a16="http://schemas.microsoft.com/office/drawing/2014/main" id="{E5A49793-9FAA-46F5-B3D9-B47CCBAEC9F7}"/>
                    </a:ext>
                  </a:extLst>
                </p:cNvPr>
                <p:cNvSpPr/>
                <p:nvPr/>
              </p:nvSpPr>
              <p:spPr>
                <a:xfrm>
                  <a:off x="7420062" y="1995927"/>
                  <a:ext cx="127269" cy="121408"/>
                </a:xfrm>
                <a:custGeom>
                  <a:avLst/>
                  <a:gdLst>
                    <a:gd name="connsiteX0" fmla="*/ 127270 w 127269"/>
                    <a:gd name="connsiteY0" fmla="*/ 2213 h 121408"/>
                    <a:gd name="connsiteX1" fmla="*/ 2153 w 127269"/>
                    <a:gd name="connsiteY1" fmla="*/ 121409 h 121408"/>
                    <a:gd name="connsiteX2" fmla="*/ 0 w 127269"/>
                    <a:gd name="connsiteY2" fmla="*/ 119196 h 121408"/>
                    <a:gd name="connsiteX3" fmla="*/ 125177 w 127269"/>
                    <a:gd name="connsiteY3" fmla="*/ 0 h 121408"/>
                  </a:gdLst>
                  <a:ahLst/>
                  <a:cxnLst>
                    <a:cxn ang="0">
                      <a:pos x="connsiteX0" y="connsiteY0"/>
                    </a:cxn>
                    <a:cxn ang="0">
                      <a:pos x="connsiteX1" y="connsiteY1"/>
                    </a:cxn>
                    <a:cxn ang="0">
                      <a:pos x="connsiteX2" y="connsiteY2"/>
                    </a:cxn>
                    <a:cxn ang="0">
                      <a:pos x="connsiteX3" y="connsiteY3"/>
                    </a:cxn>
                  </a:cxnLst>
                  <a:rect l="l" t="t" r="r" b="b"/>
                  <a:pathLst>
                    <a:path w="127269" h="121408">
                      <a:moveTo>
                        <a:pt x="127270" y="2213"/>
                      </a:moveTo>
                      <a:lnTo>
                        <a:pt x="2153" y="121409"/>
                      </a:lnTo>
                      <a:lnTo>
                        <a:pt x="0" y="119196"/>
                      </a:lnTo>
                      <a:lnTo>
                        <a:pt x="125177" y="0"/>
                      </a:lnTo>
                      <a:close/>
                    </a:path>
                  </a:pathLst>
                </a:custGeom>
                <a:grpFill/>
                <a:ln w="5978" cap="flat">
                  <a:noFill/>
                  <a:prstDash val="solid"/>
                  <a:miter/>
                </a:ln>
              </p:spPr>
              <p:txBody>
                <a:bodyPr rtlCol="0" anchor="ctr"/>
                <a:lstStyle/>
                <a:p>
                  <a:endParaRPr lang="en-GB"/>
                </a:p>
              </p:txBody>
            </p:sp>
            <p:sp>
              <p:nvSpPr>
                <p:cNvPr id="5001" name="Vrije vorm: vorm 5000">
                  <a:extLst>
                    <a:ext uri="{FF2B5EF4-FFF2-40B4-BE49-F238E27FC236}">
                      <a16:creationId xmlns:a16="http://schemas.microsoft.com/office/drawing/2014/main" id="{4C66C769-C47C-43BC-8C94-6946EF681295}"/>
                    </a:ext>
                  </a:extLst>
                </p:cNvPr>
                <p:cNvSpPr/>
                <p:nvPr/>
              </p:nvSpPr>
              <p:spPr>
                <a:xfrm>
                  <a:off x="7536811" y="1988149"/>
                  <a:ext cx="18365" cy="18426"/>
                </a:xfrm>
                <a:custGeom>
                  <a:avLst/>
                  <a:gdLst>
                    <a:gd name="connsiteX0" fmla="*/ 2866 w 18365"/>
                    <a:gd name="connsiteY0" fmla="*/ 2515 h 18426"/>
                    <a:gd name="connsiteX1" fmla="*/ 15844 w 18365"/>
                    <a:gd name="connsiteY1" fmla="*/ 2874 h 18426"/>
                    <a:gd name="connsiteX2" fmla="*/ 15545 w 18365"/>
                    <a:gd name="connsiteY2" fmla="*/ 15912 h 18426"/>
                    <a:gd name="connsiteX3" fmla="*/ 2567 w 18365"/>
                    <a:gd name="connsiteY3" fmla="*/ 15553 h 18426"/>
                    <a:gd name="connsiteX4" fmla="*/ 2866 w 18365"/>
                    <a:gd name="connsiteY4" fmla="*/ 25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6">
                      <a:moveTo>
                        <a:pt x="2866" y="2515"/>
                      </a:moveTo>
                      <a:cubicBezTo>
                        <a:pt x="6514" y="-954"/>
                        <a:pt x="12316" y="-834"/>
                        <a:pt x="15844" y="2874"/>
                      </a:cubicBezTo>
                      <a:cubicBezTo>
                        <a:pt x="19312" y="6582"/>
                        <a:pt x="19193" y="12383"/>
                        <a:pt x="15545" y="15912"/>
                      </a:cubicBezTo>
                      <a:cubicBezTo>
                        <a:pt x="11896" y="19381"/>
                        <a:pt x="6095" y="19261"/>
                        <a:pt x="2567" y="15553"/>
                      </a:cubicBezTo>
                      <a:cubicBezTo>
                        <a:pt x="-962" y="11845"/>
                        <a:pt x="-843" y="5984"/>
                        <a:pt x="2866" y="2515"/>
                      </a:cubicBezTo>
                      <a:close/>
                    </a:path>
                  </a:pathLst>
                </a:custGeom>
                <a:grpFill/>
                <a:ln w="5978" cap="flat">
                  <a:noFill/>
                  <a:prstDash val="solid"/>
                  <a:miter/>
                </a:ln>
              </p:spPr>
              <p:txBody>
                <a:bodyPr rtlCol="0" anchor="ctr"/>
                <a:lstStyle/>
                <a:p>
                  <a:endParaRPr lang="en-GB"/>
                </a:p>
              </p:txBody>
            </p:sp>
            <p:sp>
              <p:nvSpPr>
                <p:cNvPr id="5002" name="Vrije vorm: vorm 5001">
                  <a:extLst>
                    <a:ext uri="{FF2B5EF4-FFF2-40B4-BE49-F238E27FC236}">
                      <a16:creationId xmlns:a16="http://schemas.microsoft.com/office/drawing/2014/main" id="{AD3720DD-2B8E-4718-86B5-5E1DC027F13A}"/>
                    </a:ext>
                  </a:extLst>
                </p:cNvPr>
                <p:cNvSpPr/>
                <p:nvPr/>
              </p:nvSpPr>
              <p:spPr>
                <a:xfrm>
                  <a:off x="7412314" y="2106708"/>
                  <a:ext cx="18366" cy="18428"/>
                </a:xfrm>
                <a:custGeom>
                  <a:avLst/>
                  <a:gdLst>
                    <a:gd name="connsiteX0" fmla="*/ 2844 w 18366"/>
                    <a:gd name="connsiteY0" fmla="*/ 2493 h 18428"/>
                    <a:gd name="connsiteX1" fmla="*/ 2545 w 18366"/>
                    <a:gd name="connsiteY1" fmla="*/ 15531 h 18428"/>
                    <a:gd name="connsiteX2" fmla="*/ 15523 w 18366"/>
                    <a:gd name="connsiteY2" fmla="*/ 15890 h 18428"/>
                    <a:gd name="connsiteX3" fmla="*/ 15822 w 18366"/>
                    <a:gd name="connsiteY3" fmla="*/ 2852 h 18428"/>
                    <a:gd name="connsiteX4" fmla="*/ 2844 w 18366"/>
                    <a:gd name="connsiteY4" fmla="*/ 2493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8">
                      <a:moveTo>
                        <a:pt x="2844" y="2493"/>
                      </a:moveTo>
                      <a:cubicBezTo>
                        <a:pt x="-804" y="5962"/>
                        <a:pt x="-984" y="11823"/>
                        <a:pt x="2545" y="15531"/>
                      </a:cubicBezTo>
                      <a:cubicBezTo>
                        <a:pt x="6014" y="19239"/>
                        <a:pt x="11815" y="19419"/>
                        <a:pt x="15523" y="15890"/>
                      </a:cubicBezTo>
                      <a:cubicBezTo>
                        <a:pt x="19171" y="12421"/>
                        <a:pt x="19351" y="6560"/>
                        <a:pt x="15822" y="2852"/>
                      </a:cubicBezTo>
                      <a:cubicBezTo>
                        <a:pt x="12293" y="-796"/>
                        <a:pt x="6492" y="-976"/>
                        <a:pt x="2844" y="2493"/>
                      </a:cubicBezTo>
                      <a:close/>
                    </a:path>
                  </a:pathLst>
                </a:custGeom>
                <a:grpFill/>
                <a:ln w="5978" cap="flat">
                  <a:noFill/>
                  <a:prstDash val="solid"/>
                  <a:miter/>
                </a:ln>
              </p:spPr>
              <p:txBody>
                <a:bodyPr rtlCol="0" anchor="ctr"/>
                <a:lstStyle/>
                <a:p>
                  <a:endParaRPr lang="en-GB"/>
                </a:p>
              </p:txBody>
            </p:sp>
          </p:grpSp>
          <p:grpSp>
            <p:nvGrpSpPr>
              <p:cNvPr id="127" name="Graphic 3">
                <a:extLst>
                  <a:ext uri="{FF2B5EF4-FFF2-40B4-BE49-F238E27FC236}">
                    <a16:creationId xmlns:a16="http://schemas.microsoft.com/office/drawing/2014/main" id="{21F501C2-1402-4EFC-8B3E-98D37DE1AFEF}"/>
                  </a:ext>
                </a:extLst>
              </p:cNvPr>
              <p:cNvGrpSpPr/>
              <p:nvPr/>
            </p:nvGrpSpPr>
            <p:grpSpPr>
              <a:xfrm>
                <a:off x="7444783" y="2031742"/>
                <a:ext cx="119848" cy="111582"/>
                <a:chOff x="7444783" y="2031742"/>
                <a:chExt cx="119848" cy="111582"/>
              </a:xfrm>
              <a:grpFill/>
            </p:grpSpPr>
            <p:sp>
              <p:nvSpPr>
                <p:cNvPr id="4997" name="Vrije vorm: vorm 4996">
                  <a:extLst>
                    <a:ext uri="{FF2B5EF4-FFF2-40B4-BE49-F238E27FC236}">
                      <a16:creationId xmlns:a16="http://schemas.microsoft.com/office/drawing/2014/main" id="{958506E1-B545-4549-A2AB-27F8FCD6006D}"/>
                    </a:ext>
                  </a:extLst>
                </p:cNvPr>
                <p:cNvSpPr/>
                <p:nvPr/>
              </p:nvSpPr>
              <p:spPr>
                <a:xfrm>
                  <a:off x="7452537" y="2039526"/>
                  <a:ext cx="104243" cy="95990"/>
                </a:xfrm>
                <a:custGeom>
                  <a:avLst/>
                  <a:gdLst>
                    <a:gd name="connsiteX0" fmla="*/ 104244 w 104243"/>
                    <a:gd name="connsiteY0" fmla="*/ 2273 h 95990"/>
                    <a:gd name="connsiteX1" fmla="*/ 2093 w 104243"/>
                    <a:gd name="connsiteY1" fmla="*/ 95991 h 95990"/>
                    <a:gd name="connsiteX2" fmla="*/ 0 w 104243"/>
                    <a:gd name="connsiteY2" fmla="*/ 93718 h 95990"/>
                    <a:gd name="connsiteX3" fmla="*/ 102210 w 104243"/>
                    <a:gd name="connsiteY3" fmla="*/ 0 h 95990"/>
                  </a:gdLst>
                  <a:ahLst/>
                  <a:cxnLst>
                    <a:cxn ang="0">
                      <a:pos x="connsiteX0" y="connsiteY0"/>
                    </a:cxn>
                    <a:cxn ang="0">
                      <a:pos x="connsiteX1" y="connsiteY1"/>
                    </a:cxn>
                    <a:cxn ang="0">
                      <a:pos x="connsiteX2" y="connsiteY2"/>
                    </a:cxn>
                    <a:cxn ang="0">
                      <a:pos x="connsiteX3" y="connsiteY3"/>
                    </a:cxn>
                  </a:cxnLst>
                  <a:rect l="l" t="t" r="r" b="b"/>
                  <a:pathLst>
                    <a:path w="104243" h="95990">
                      <a:moveTo>
                        <a:pt x="104244" y="2273"/>
                      </a:moveTo>
                      <a:lnTo>
                        <a:pt x="2093" y="95991"/>
                      </a:lnTo>
                      <a:lnTo>
                        <a:pt x="0" y="93718"/>
                      </a:lnTo>
                      <a:lnTo>
                        <a:pt x="102210" y="0"/>
                      </a:lnTo>
                      <a:close/>
                    </a:path>
                  </a:pathLst>
                </a:custGeom>
                <a:grpFill/>
                <a:ln w="5978" cap="flat">
                  <a:noFill/>
                  <a:prstDash val="solid"/>
                  <a:miter/>
                </a:ln>
              </p:spPr>
              <p:txBody>
                <a:bodyPr rtlCol="0" anchor="ctr"/>
                <a:lstStyle/>
                <a:p>
                  <a:endParaRPr lang="en-GB"/>
                </a:p>
              </p:txBody>
            </p:sp>
            <p:sp>
              <p:nvSpPr>
                <p:cNvPr id="4998" name="Vrije vorm: vorm 4997">
                  <a:extLst>
                    <a:ext uri="{FF2B5EF4-FFF2-40B4-BE49-F238E27FC236}">
                      <a16:creationId xmlns:a16="http://schemas.microsoft.com/office/drawing/2014/main" id="{32136C96-37E4-4ED9-99A8-D952A6E963BF}"/>
                    </a:ext>
                  </a:extLst>
                </p:cNvPr>
                <p:cNvSpPr/>
                <p:nvPr/>
              </p:nvSpPr>
              <p:spPr>
                <a:xfrm>
                  <a:off x="7546255" y="2031742"/>
                  <a:ext cx="18376" cy="18438"/>
                </a:xfrm>
                <a:custGeom>
                  <a:avLst/>
                  <a:gdLst>
                    <a:gd name="connsiteX0" fmla="*/ 2991 w 18376"/>
                    <a:gd name="connsiteY0" fmla="*/ 2401 h 18438"/>
                    <a:gd name="connsiteX1" fmla="*/ 15969 w 18376"/>
                    <a:gd name="connsiteY1" fmla="*/ 3000 h 18438"/>
                    <a:gd name="connsiteX2" fmla="*/ 15431 w 18376"/>
                    <a:gd name="connsiteY2" fmla="*/ 16037 h 18438"/>
                    <a:gd name="connsiteX3" fmla="*/ 2452 w 18376"/>
                    <a:gd name="connsiteY3" fmla="*/ 15439 h 18438"/>
                    <a:gd name="connsiteX4" fmla="*/ 2991 w 18376"/>
                    <a:gd name="connsiteY4" fmla="*/ 24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2991" y="2401"/>
                      </a:moveTo>
                      <a:cubicBezTo>
                        <a:pt x="6699" y="-1008"/>
                        <a:pt x="12500" y="-768"/>
                        <a:pt x="15969" y="3000"/>
                      </a:cubicBezTo>
                      <a:cubicBezTo>
                        <a:pt x="19378" y="6767"/>
                        <a:pt x="19139" y="12569"/>
                        <a:pt x="15431" y="16037"/>
                      </a:cubicBezTo>
                      <a:cubicBezTo>
                        <a:pt x="11723" y="19447"/>
                        <a:pt x="5921" y="19207"/>
                        <a:pt x="2452" y="15439"/>
                      </a:cubicBezTo>
                      <a:cubicBezTo>
                        <a:pt x="-1016" y="11672"/>
                        <a:pt x="-777" y="5870"/>
                        <a:pt x="2991" y="2401"/>
                      </a:cubicBezTo>
                      <a:close/>
                    </a:path>
                  </a:pathLst>
                </a:custGeom>
                <a:grpFill/>
                <a:ln w="5978" cap="flat">
                  <a:noFill/>
                  <a:prstDash val="solid"/>
                  <a:miter/>
                </a:ln>
              </p:spPr>
              <p:txBody>
                <a:bodyPr rtlCol="0" anchor="ctr"/>
                <a:lstStyle/>
                <a:p>
                  <a:endParaRPr lang="en-GB"/>
                </a:p>
              </p:txBody>
            </p:sp>
            <p:sp>
              <p:nvSpPr>
                <p:cNvPr id="4999" name="Vrije vorm: vorm 4998">
                  <a:extLst>
                    <a:ext uri="{FF2B5EF4-FFF2-40B4-BE49-F238E27FC236}">
                      <a16:creationId xmlns:a16="http://schemas.microsoft.com/office/drawing/2014/main" id="{D7F5C871-84B2-48B3-A7EE-86EA3B0BED66}"/>
                    </a:ext>
                  </a:extLst>
                </p:cNvPr>
                <p:cNvSpPr/>
                <p:nvPr/>
              </p:nvSpPr>
              <p:spPr>
                <a:xfrm>
                  <a:off x="7444783" y="2124862"/>
                  <a:ext cx="18379" cy="18462"/>
                </a:xfrm>
                <a:custGeom>
                  <a:avLst/>
                  <a:gdLst>
                    <a:gd name="connsiteX0" fmla="*/ 2969 w 18379"/>
                    <a:gd name="connsiteY0" fmla="*/ 2401 h 18462"/>
                    <a:gd name="connsiteX1" fmla="*/ 2431 w 18379"/>
                    <a:gd name="connsiteY1" fmla="*/ 15439 h 18462"/>
                    <a:gd name="connsiteX2" fmla="*/ 15410 w 18379"/>
                    <a:gd name="connsiteY2" fmla="*/ 16038 h 18462"/>
                    <a:gd name="connsiteX3" fmla="*/ 15948 w 18379"/>
                    <a:gd name="connsiteY3" fmla="*/ 3000 h 18462"/>
                    <a:gd name="connsiteX4" fmla="*/ 2969 w 18379"/>
                    <a:gd name="connsiteY4" fmla="*/ 2401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62">
                      <a:moveTo>
                        <a:pt x="2969" y="2401"/>
                      </a:moveTo>
                      <a:cubicBezTo>
                        <a:pt x="-739" y="5810"/>
                        <a:pt x="-1037" y="11672"/>
                        <a:pt x="2431" y="15439"/>
                      </a:cubicBezTo>
                      <a:cubicBezTo>
                        <a:pt x="5840" y="19207"/>
                        <a:pt x="11642" y="19506"/>
                        <a:pt x="15410" y="16038"/>
                      </a:cubicBezTo>
                      <a:cubicBezTo>
                        <a:pt x="19118" y="12628"/>
                        <a:pt x="19416" y="6767"/>
                        <a:pt x="15948" y="3000"/>
                      </a:cubicBezTo>
                      <a:cubicBezTo>
                        <a:pt x="12479" y="-768"/>
                        <a:pt x="6677" y="-1008"/>
                        <a:pt x="2969" y="2401"/>
                      </a:cubicBezTo>
                      <a:close/>
                    </a:path>
                  </a:pathLst>
                </a:custGeom>
                <a:grpFill/>
                <a:ln w="5978" cap="flat">
                  <a:noFill/>
                  <a:prstDash val="solid"/>
                  <a:miter/>
                </a:ln>
              </p:spPr>
              <p:txBody>
                <a:bodyPr rtlCol="0" anchor="ctr"/>
                <a:lstStyle/>
                <a:p>
                  <a:endParaRPr lang="en-GB"/>
                </a:p>
              </p:txBody>
            </p:sp>
          </p:grpSp>
          <p:grpSp>
            <p:nvGrpSpPr>
              <p:cNvPr id="128" name="Graphic 3">
                <a:extLst>
                  <a:ext uri="{FF2B5EF4-FFF2-40B4-BE49-F238E27FC236}">
                    <a16:creationId xmlns:a16="http://schemas.microsoft.com/office/drawing/2014/main" id="{E5245818-1422-4B25-B8FB-BAC1973110D3}"/>
                  </a:ext>
                </a:extLst>
              </p:cNvPr>
              <p:cNvGrpSpPr/>
              <p:nvPr/>
            </p:nvGrpSpPr>
            <p:grpSpPr>
              <a:xfrm>
                <a:off x="7531400" y="2233043"/>
                <a:ext cx="23988" cy="22884"/>
                <a:chOff x="7531400" y="2233043"/>
                <a:chExt cx="23988" cy="22884"/>
              </a:xfrm>
              <a:grpFill/>
            </p:grpSpPr>
            <p:sp>
              <p:nvSpPr>
                <p:cNvPr id="4994" name="Vrije vorm: vorm 4993">
                  <a:extLst>
                    <a:ext uri="{FF2B5EF4-FFF2-40B4-BE49-F238E27FC236}">
                      <a16:creationId xmlns:a16="http://schemas.microsoft.com/office/drawing/2014/main" id="{A22AFACE-B88B-42E2-B310-8F1C7785D047}"/>
                    </a:ext>
                  </a:extLst>
                </p:cNvPr>
                <p:cNvSpPr/>
                <p:nvPr/>
              </p:nvSpPr>
              <p:spPr>
                <a:xfrm>
                  <a:off x="7539258" y="2240717"/>
                  <a:ext cx="8313" cy="7475"/>
                </a:xfrm>
                <a:custGeom>
                  <a:avLst/>
                  <a:gdLst>
                    <a:gd name="connsiteX0" fmla="*/ 8313 w 8313"/>
                    <a:gd name="connsiteY0" fmla="*/ 2452 h 7475"/>
                    <a:gd name="connsiteX1" fmla="*/ 1914 w 8313"/>
                    <a:gd name="connsiteY1" fmla="*/ 7476 h 7475"/>
                    <a:gd name="connsiteX2" fmla="*/ 0 w 8313"/>
                    <a:gd name="connsiteY2" fmla="*/ 5084 h 7475"/>
                    <a:gd name="connsiteX3" fmla="*/ 6459 w 8313"/>
                    <a:gd name="connsiteY3" fmla="*/ 0 h 7475"/>
                  </a:gdLst>
                  <a:ahLst/>
                  <a:cxnLst>
                    <a:cxn ang="0">
                      <a:pos x="connsiteX0" y="connsiteY0"/>
                    </a:cxn>
                    <a:cxn ang="0">
                      <a:pos x="connsiteX1" y="connsiteY1"/>
                    </a:cxn>
                    <a:cxn ang="0">
                      <a:pos x="connsiteX2" y="connsiteY2"/>
                    </a:cxn>
                    <a:cxn ang="0">
                      <a:pos x="connsiteX3" y="connsiteY3"/>
                    </a:cxn>
                  </a:cxnLst>
                  <a:rect l="l" t="t" r="r" b="b"/>
                  <a:pathLst>
                    <a:path w="8313" h="7475">
                      <a:moveTo>
                        <a:pt x="8313" y="2452"/>
                      </a:moveTo>
                      <a:lnTo>
                        <a:pt x="1914" y="7476"/>
                      </a:lnTo>
                      <a:lnTo>
                        <a:pt x="0" y="5084"/>
                      </a:lnTo>
                      <a:lnTo>
                        <a:pt x="6459" y="0"/>
                      </a:lnTo>
                      <a:close/>
                    </a:path>
                  </a:pathLst>
                </a:custGeom>
                <a:grpFill/>
                <a:ln w="5978" cap="flat">
                  <a:noFill/>
                  <a:prstDash val="solid"/>
                  <a:miter/>
                </a:ln>
              </p:spPr>
              <p:txBody>
                <a:bodyPr rtlCol="0" anchor="ctr"/>
                <a:lstStyle/>
                <a:p>
                  <a:endParaRPr lang="en-GB"/>
                </a:p>
              </p:txBody>
            </p:sp>
            <p:sp>
              <p:nvSpPr>
                <p:cNvPr id="4995" name="Vrije vorm: vorm 4994">
                  <a:extLst>
                    <a:ext uri="{FF2B5EF4-FFF2-40B4-BE49-F238E27FC236}">
                      <a16:creationId xmlns:a16="http://schemas.microsoft.com/office/drawing/2014/main" id="{9F35EB47-22FE-4B06-BE2C-97949F453D18}"/>
                    </a:ext>
                  </a:extLst>
                </p:cNvPr>
                <p:cNvSpPr/>
                <p:nvPr/>
              </p:nvSpPr>
              <p:spPr>
                <a:xfrm>
                  <a:off x="7537081" y="2233043"/>
                  <a:ext cx="18306" cy="18398"/>
                </a:xfrm>
                <a:custGeom>
                  <a:avLst/>
                  <a:gdLst>
                    <a:gd name="connsiteX0" fmla="*/ 3492 w 18306"/>
                    <a:gd name="connsiteY0" fmla="*/ 1933 h 18398"/>
                    <a:gd name="connsiteX1" fmla="*/ 16351 w 18306"/>
                    <a:gd name="connsiteY1" fmla="*/ 3548 h 18398"/>
                    <a:gd name="connsiteX2" fmla="*/ 14796 w 18306"/>
                    <a:gd name="connsiteY2" fmla="*/ 16466 h 18398"/>
                    <a:gd name="connsiteX3" fmla="*/ 1937 w 18306"/>
                    <a:gd name="connsiteY3" fmla="*/ 14851 h 18398"/>
                    <a:gd name="connsiteX4" fmla="*/ 3492 w 18306"/>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8">
                      <a:moveTo>
                        <a:pt x="3492" y="1933"/>
                      </a:moveTo>
                      <a:cubicBezTo>
                        <a:pt x="7440" y="-1177"/>
                        <a:pt x="13241" y="-459"/>
                        <a:pt x="16351" y="3548"/>
                      </a:cubicBezTo>
                      <a:cubicBezTo>
                        <a:pt x="19461" y="7555"/>
                        <a:pt x="18803" y="13356"/>
                        <a:pt x="14796" y="16466"/>
                      </a:cubicBezTo>
                      <a:cubicBezTo>
                        <a:pt x="10849" y="19576"/>
                        <a:pt x="5047" y="18858"/>
                        <a:pt x="1937" y="14851"/>
                      </a:cubicBezTo>
                      <a:cubicBezTo>
                        <a:pt x="-1173" y="10844"/>
                        <a:pt x="-455" y="5043"/>
                        <a:pt x="3492" y="1933"/>
                      </a:cubicBezTo>
                      <a:close/>
                    </a:path>
                  </a:pathLst>
                </a:custGeom>
                <a:grpFill/>
                <a:ln w="5978" cap="flat">
                  <a:noFill/>
                  <a:prstDash val="solid"/>
                  <a:miter/>
                </a:ln>
              </p:spPr>
              <p:txBody>
                <a:bodyPr rtlCol="0" anchor="ctr"/>
                <a:lstStyle/>
                <a:p>
                  <a:endParaRPr lang="en-GB"/>
                </a:p>
              </p:txBody>
            </p:sp>
            <p:sp>
              <p:nvSpPr>
                <p:cNvPr id="4996" name="Vrije vorm: vorm 4995">
                  <a:extLst>
                    <a:ext uri="{FF2B5EF4-FFF2-40B4-BE49-F238E27FC236}">
                      <a16:creationId xmlns:a16="http://schemas.microsoft.com/office/drawing/2014/main" id="{265833CD-BA1C-4048-97B1-722415AAE0BF}"/>
                    </a:ext>
                  </a:extLst>
                </p:cNvPr>
                <p:cNvSpPr/>
                <p:nvPr/>
              </p:nvSpPr>
              <p:spPr>
                <a:xfrm>
                  <a:off x="7531400" y="2237485"/>
                  <a:ext cx="18287" cy="18442"/>
                </a:xfrm>
                <a:custGeom>
                  <a:avLst/>
                  <a:gdLst>
                    <a:gd name="connsiteX0" fmla="*/ 3492 w 18287"/>
                    <a:gd name="connsiteY0" fmla="*/ 1977 h 18442"/>
                    <a:gd name="connsiteX1" fmla="*/ 1937 w 18287"/>
                    <a:gd name="connsiteY1" fmla="*/ 14895 h 18442"/>
                    <a:gd name="connsiteX2" fmla="*/ 14796 w 18287"/>
                    <a:gd name="connsiteY2" fmla="*/ 16510 h 18442"/>
                    <a:gd name="connsiteX3" fmla="*/ 16351 w 18287"/>
                    <a:gd name="connsiteY3" fmla="*/ 3591 h 18442"/>
                    <a:gd name="connsiteX4" fmla="*/ 3492 w 18287"/>
                    <a:gd name="connsiteY4" fmla="*/ 1977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42">
                      <a:moveTo>
                        <a:pt x="3492" y="1977"/>
                      </a:moveTo>
                      <a:cubicBezTo>
                        <a:pt x="-455" y="5087"/>
                        <a:pt x="-1173" y="10888"/>
                        <a:pt x="1937" y="14895"/>
                      </a:cubicBezTo>
                      <a:cubicBezTo>
                        <a:pt x="5047" y="18902"/>
                        <a:pt x="10849" y="19620"/>
                        <a:pt x="14796" y="16510"/>
                      </a:cubicBezTo>
                      <a:cubicBezTo>
                        <a:pt x="18743" y="13400"/>
                        <a:pt x="19460" y="7598"/>
                        <a:pt x="16351" y="3591"/>
                      </a:cubicBezTo>
                      <a:cubicBezTo>
                        <a:pt x="13241" y="-476"/>
                        <a:pt x="7499" y="-1193"/>
                        <a:pt x="3492" y="1977"/>
                      </a:cubicBezTo>
                      <a:close/>
                    </a:path>
                  </a:pathLst>
                </a:custGeom>
                <a:grpFill/>
                <a:ln w="5978" cap="flat">
                  <a:noFill/>
                  <a:prstDash val="solid"/>
                  <a:miter/>
                </a:ln>
              </p:spPr>
              <p:txBody>
                <a:bodyPr rtlCol="0" anchor="ctr"/>
                <a:lstStyle/>
                <a:p>
                  <a:endParaRPr lang="en-GB"/>
                </a:p>
              </p:txBody>
            </p:sp>
          </p:grpSp>
          <p:grpSp>
            <p:nvGrpSpPr>
              <p:cNvPr id="129" name="Graphic 3">
                <a:extLst>
                  <a:ext uri="{FF2B5EF4-FFF2-40B4-BE49-F238E27FC236}">
                    <a16:creationId xmlns:a16="http://schemas.microsoft.com/office/drawing/2014/main" id="{D55494C1-C915-49CB-B100-A1E5580293BC}"/>
                  </a:ext>
                </a:extLst>
              </p:cNvPr>
              <p:cNvGrpSpPr/>
              <p:nvPr/>
            </p:nvGrpSpPr>
            <p:grpSpPr>
              <a:xfrm>
                <a:off x="7293332" y="1658865"/>
                <a:ext cx="181931" cy="221262"/>
                <a:chOff x="7293332" y="1658865"/>
                <a:chExt cx="181931" cy="221262"/>
              </a:xfrm>
              <a:grpFill/>
            </p:grpSpPr>
            <p:sp>
              <p:nvSpPr>
                <p:cNvPr id="4991" name="Vrije vorm: vorm 4990">
                  <a:extLst>
                    <a:ext uri="{FF2B5EF4-FFF2-40B4-BE49-F238E27FC236}">
                      <a16:creationId xmlns:a16="http://schemas.microsoft.com/office/drawing/2014/main" id="{D4B129D8-BD37-49DA-9CD1-B6E413A88625}"/>
                    </a:ext>
                  </a:extLst>
                </p:cNvPr>
                <p:cNvSpPr/>
                <p:nvPr/>
              </p:nvSpPr>
              <p:spPr>
                <a:xfrm>
                  <a:off x="7301046" y="1666807"/>
                  <a:ext cx="166562" cy="205437"/>
                </a:xfrm>
                <a:custGeom>
                  <a:avLst/>
                  <a:gdLst>
                    <a:gd name="connsiteX0" fmla="*/ 166563 w 166562"/>
                    <a:gd name="connsiteY0" fmla="*/ 1914 h 205437"/>
                    <a:gd name="connsiteX1" fmla="*/ 2332 w 166562"/>
                    <a:gd name="connsiteY1" fmla="*/ 205438 h 205437"/>
                    <a:gd name="connsiteX2" fmla="*/ 0 w 166562"/>
                    <a:gd name="connsiteY2" fmla="*/ 203524 h 205437"/>
                    <a:gd name="connsiteX3" fmla="*/ 164171 w 166562"/>
                    <a:gd name="connsiteY3" fmla="*/ 0 h 205437"/>
                  </a:gdLst>
                  <a:ahLst/>
                  <a:cxnLst>
                    <a:cxn ang="0">
                      <a:pos x="connsiteX0" y="connsiteY0"/>
                    </a:cxn>
                    <a:cxn ang="0">
                      <a:pos x="connsiteX1" y="connsiteY1"/>
                    </a:cxn>
                    <a:cxn ang="0">
                      <a:pos x="connsiteX2" y="connsiteY2"/>
                    </a:cxn>
                    <a:cxn ang="0">
                      <a:pos x="connsiteX3" y="connsiteY3"/>
                    </a:cxn>
                  </a:cxnLst>
                  <a:rect l="l" t="t" r="r" b="b"/>
                  <a:pathLst>
                    <a:path w="166562" h="205437">
                      <a:moveTo>
                        <a:pt x="166563" y="1914"/>
                      </a:moveTo>
                      <a:lnTo>
                        <a:pt x="2332" y="205438"/>
                      </a:lnTo>
                      <a:lnTo>
                        <a:pt x="0" y="203524"/>
                      </a:lnTo>
                      <a:lnTo>
                        <a:pt x="164171" y="0"/>
                      </a:lnTo>
                      <a:close/>
                    </a:path>
                  </a:pathLst>
                </a:custGeom>
                <a:grpFill/>
                <a:ln w="5978" cap="flat">
                  <a:noFill/>
                  <a:prstDash val="solid"/>
                  <a:miter/>
                </a:ln>
              </p:spPr>
              <p:txBody>
                <a:bodyPr rtlCol="0" anchor="ctr"/>
                <a:lstStyle/>
                <a:p>
                  <a:endParaRPr lang="en-GB"/>
                </a:p>
              </p:txBody>
            </p:sp>
            <p:sp>
              <p:nvSpPr>
                <p:cNvPr id="4992" name="Vrije vorm: vorm 4991">
                  <a:extLst>
                    <a:ext uri="{FF2B5EF4-FFF2-40B4-BE49-F238E27FC236}">
                      <a16:creationId xmlns:a16="http://schemas.microsoft.com/office/drawing/2014/main" id="{3DBCFFCA-B955-45CE-9330-D1E8A2984D63}"/>
                    </a:ext>
                  </a:extLst>
                </p:cNvPr>
                <p:cNvSpPr/>
                <p:nvPr/>
              </p:nvSpPr>
              <p:spPr>
                <a:xfrm>
                  <a:off x="7456959" y="1658865"/>
                  <a:ext cx="18303" cy="18456"/>
                </a:xfrm>
                <a:custGeom>
                  <a:avLst/>
                  <a:gdLst>
                    <a:gd name="connsiteX0" fmla="*/ 2037 w 18303"/>
                    <a:gd name="connsiteY0" fmla="*/ 3397 h 18456"/>
                    <a:gd name="connsiteX1" fmla="*/ 14896 w 18303"/>
                    <a:gd name="connsiteY1" fmla="*/ 2081 h 18456"/>
                    <a:gd name="connsiteX2" fmla="*/ 16271 w 18303"/>
                    <a:gd name="connsiteY2" fmla="*/ 15059 h 18456"/>
                    <a:gd name="connsiteX3" fmla="*/ 3353 w 18303"/>
                    <a:gd name="connsiteY3" fmla="*/ 16375 h 18456"/>
                    <a:gd name="connsiteX4" fmla="*/ 2037 w 18303"/>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56">
                      <a:moveTo>
                        <a:pt x="2037" y="3397"/>
                      </a:moveTo>
                      <a:cubicBezTo>
                        <a:pt x="5207" y="-550"/>
                        <a:pt x="11008" y="-1148"/>
                        <a:pt x="14896" y="2081"/>
                      </a:cubicBezTo>
                      <a:cubicBezTo>
                        <a:pt x="18843" y="5311"/>
                        <a:pt x="19441" y="11112"/>
                        <a:pt x="16271" y="15059"/>
                      </a:cubicBezTo>
                      <a:cubicBezTo>
                        <a:pt x="13101" y="19007"/>
                        <a:pt x="7300" y="19605"/>
                        <a:pt x="3353" y="16375"/>
                      </a:cubicBezTo>
                      <a:cubicBezTo>
                        <a:pt x="-534" y="13145"/>
                        <a:pt x="-1133" y="7344"/>
                        <a:pt x="2037" y="3397"/>
                      </a:cubicBezTo>
                      <a:close/>
                    </a:path>
                  </a:pathLst>
                </a:custGeom>
                <a:grpFill/>
                <a:ln w="5978" cap="flat">
                  <a:noFill/>
                  <a:prstDash val="solid"/>
                  <a:miter/>
                </a:ln>
              </p:spPr>
              <p:txBody>
                <a:bodyPr rtlCol="0" anchor="ctr"/>
                <a:lstStyle/>
                <a:p>
                  <a:endParaRPr lang="en-GB"/>
                </a:p>
              </p:txBody>
            </p:sp>
            <p:sp>
              <p:nvSpPr>
                <p:cNvPr id="4993" name="Vrije vorm: vorm 4992">
                  <a:extLst>
                    <a:ext uri="{FF2B5EF4-FFF2-40B4-BE49-F238E27FC236}">
                      <a16:creationId xmlns:a16="http://schemas.microsoft.com/office/drawing/2014/main" id="{A8459F46-1976-44D4-A700-BF0B20BBD139}"/>
                    </a:ext>
                  </a:extLst>
                </p:cNvPr>
                <p:cNvSpPr/>
                <p:nvPr/>
              </p:nvSpPr>
              <p:spPr>
                <a:xfrm>
                  <a:off x="7293332" y="1861715"/>
                  <a:ext cx="18358" cy="18412"/>
                </a:xfrm>
                <a:custGeom>
                  <a:avLst/>
                  <a:gdLst>
                    <a:gd name="connsiteX0" fmla="*/ 2032 w 18358"/>
                    <a:gd name="connsiteY0" fmla="*/ 3353 h 18412"/>
                    <a:gd name="connsiteX1" fmla="*/ 3408 w 18358"/>
                    <a:gd name="connsiteY1" fmla="*/ 16331 h 18412"/>
                    <a:gd name="connsiteX2" fmla="*/ 16326 w 18358"/>
                    <a:gd name="connsiteY2" fmla="*/ 15015 h 18412"/>
                    <a:gd name="connsiteX3" fmla="*/ 14951 w 18358"/>
                    <a:gd name="connsiteY3" fmla="*/ 2037 h 18412"/>
                    <a:gd name="connsiteX4" fmla="*/ 2032 w 18358"/>
                    <a:gd name="connsiteY4" fmla="*/ 3353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12">
                      <a:moveTo>
                        <a:pt x="2032" y="3353"/>
                      </a:moveTo>
                      <a:cubicBezTo>
                        <a:pt x="-1138" y="7300"/>
                        <a:pt x="-539" y="13101"/>
                        <a:pt x="3408" y="16331"/>
                      </a:cubicBezTo>
                      <a:cubicBezTo>
                        <a:pt x="7355" y="19561"/>
                        <a:pt x="13096" y="18963"/>
                        <a:pt x="16326" y="15015"/>
                      </a:cubicBezTo>
                      <a:cubicBezTo>
                        <a:pt x="19496" y="11068"/>
                        <a:pt x="18898" y="5267"/>
                        <a:pt x="14951" y="2037"/>
                      </a:cubicBezTo>
                      <a:cubicBezTo>
                        <a:pt x="11003" y="-1133"/>
                        <a:pt x="5262" y="-535"/>
                        <a:pt x="2032" y="3353"/>
                      </a:cubicBezTo>
                      <a:close/>
                    </a:path>
                  </a:pathLst>
                </a:custGeom>
                <a:grpFill/>
                <a:ln w="5978" cap="flat">
                  <a:noFill/>
                  <a:prstDash val="solid"/>
                  <a:miter/>
                </a:ln>
              </p:spPr>
              <p:txBody>
                <a:bodyPr rtlCol="0" anchor="ctr"/>
                <a:lstStyle/>
                <a:p>
                  <a:endParaRPr lang="en-GB"/>
                </a:p>
              </p:txBody>
            </p:sp>
          </p:grpSp>
          <p:grpSp>
            <p:nvGrpSpPr>
              <p:cNvPr id="130" name="Graphic 3">
                <a:extLst>
                  <a:ext uri="{FF2B5EF4-FFF2-40B4-BE49-F238E27FC236}">
                    <a16:creationId xmlns:a16="http://schemas.microsoft.com/office/drawing/2014/main" id="{5C26A1FD-7842-4645-B3E3-E154E30B8517}"/>
                  </a:ext>
                </a:extLst>
              </p:cNvPr>
              <p:cNvGrpSpPr/>
              <p:nvPr/>
            </p:nvGrpSpPr>
            <p:grpSpPr>
              <a:xfrm>
                <a:off x="7583051" y="2682289"/>
                <a:ext cx="264020" cy="86870"/>
                <a:chOff x="7583051" y="2682289"/>
                <a:chExt cx="264020" cy="86870"/>
              </a:xfrm>
              <a:grpFill/>
            </p:grpSpPr>
            <p:sp>
              <p:nvSpPr>
                <p:cNvPr id="4988" name="Vrije vorm: vorm 4987">
                  <a:extLst>
                    <a:ext uri="{FF2B5EF4-FFF2-40B4-BE49-F238E27FC236}">
                      <a16:creationId xmlns:a16="http://schemas.microsoft.com/office/drawing/2014/main" id="{A8812AF8-9471-4326-908A-0BD4DF5AD1A0}"/>
                    </a:ext>
                  </a:extLst>
                </p:cNvPr>
                <p:cNvSpPr/>
                <p:nvPr/>
              </p:nvSpPr>
              <p:spPr>
                <a:xfrm>
                  <a:off x="7591350" y="2689929"/>
                  <a:ext cx="247422" cy="71589"/>
                </a:xfrm>
                <a:custGeom>
                  <a:avLst/>
                  <a:gdLst>
                    <a:gd name="connsiteX0" fmla="*/ 246585 w 247422"/>
                    <a:gd name="connsiteY0" fmla="*/ 0 h 71589"/>
                    <a:gd name="connsiteX1" fmla="*/ 247422 w 247422"/>
                    <a:gd name="connsiteY1" fmla="*/ 2930 h 71589"/>
                    <a:gd name="connsiteX2" fmla="*/ 837 w 247422"/>
                    <a:gd name="connsiteY2" fmla="*/ 71589 h 71589"/>
                    <a:gd name="connsiteX3" fmla="*/ 0 w 247422"/>
                    <a:gd name="connsiteY3" fmla="*/ 68659 h 71589"/>
                  </a:gdLst>
                  <a:ahLst/>
                  <a:cxnLst>
                    <a:cxn ang="0">
                      <a:pos x="connsiteX0" y="connsiteY0"/>
                    </a:cxn>
                    <a:cxn ang="0">
                      <a:pos x="connsiteX1" y="connsiteY1"/>
                    </a:cxn>
                    <a:cxn ang="0">
                      <a:pos x="connsiteX2" y="connsiteY2"/>
                    </a:cxn>
                    <a:cxn ang="0">
                      <a:pos x="connsiteX3" y="connsiteY3"/>
                    </a:cxn>
                  </a:cxnLst>
                  <a:rect l="l" t="t" r="r" b="b"/>
                  <a:pathLst>
                    <a:path w="247422" h="71589">
                      <a:moveTo>
                        <a:pt x="246585" y="0"/>
                      </a:moveTo>
                      <a:lnTo>
                        <a:pt x="247422" y="2930"/>
                      </a:lnTo>
                      <a:lnTo>
                        <a:pt x="837" y="71589"/>
                      </a:lnTo>
                      <a:lnTo>
                        <a:pt x="0" y="68659"/>
                      </a:lnTo>
                      <a:close/>
                    </a:path>
                  </a:pathLst>
                </a:custGeom>
                <a:grpFill/>
                <a:ln w="5978" cap="flat">
                  <a:noFill/>
                  <a:prstDash val="solid"/>
                  <a:miter/>
                </a:ln>
              </p:spPr>
              <p:txBody>
                <a:bodyPr rtlCol="0" anchor="ctr"/>
                <a:lstStyle/>
                <a:p>
                  <a:endParaRPr lang="en-GB"/>
                </a:p>
              </p:txBody>
            </p:sp>
            <p:sp>
              <p:nvSpPr>
                <p:cNvPr id="4989" name="Vrije vorm: vorm 4988">
                  <a:extLst>
                    <a:ext uri="{FF2B5EF4-FFF2-40B4-BE49-F238E27FC236}">
                      <a16:creationId xmlns:a16="http://schemas.microsoft.com/office/drawing/2014/main" id="{FA6D9448-6126-43FC-9AC6-C6000AAAEB2A}"/>
                    </a:ext>
                  </a:extLst>
                </p:cNvPr>
                <p:cNvSpPr/>
                <p:nvPr/>
              </p:nvSpPr>
              <p:spPr>
                <a:xfrm>
                  <a:off x="7583051" y="2750708"/>
                  <a:ext cx="18331" cy="18451"/>
                </a:xfrm>
                <a:custGeom>
                  <a:avLst/>
                  <a:gdLst>
                    <a:gd name="connsiteX0" fmla="*/ 11648 w 18331"/>
                    <a:gd name="connsiteY0" fmla="*/ 18107 h 18451"/>
                    <a:gd name="connsiteX1" fmla="*/ 345 w 18331"/>
                    <a:gd name="connsiteY1" fmla="*/ 11708 h 18451"/>
                    <a:gd name="connsiteX2" fmla="*/ 6684 w 18331"/>
                    <a:gd name="connsiteY2" fmla="*/ 344 h 18451"/>
                    <a:gd name="connsiteX3" fmla="*/ 17987 w 18331"/>
                    <a:gd name="connsiteY3" fmla="*/ 6744 h 18451"/>
                    <a:gd name="connsiteX4" fmla="*/ 11648 w 18331"/>
                    <a:gd name="connsiteY4" fmla="*/ 1810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51">
                      <a:moveTo>
                        <a:pt x="11648" y="18107"/>
                      </a:moveTo>
                      <a:cubicBezTo>
                        <a:pt x="6803" y="19483"/>
                        <a:pt x="1720" y="16612"/>
                        <a:pt x="345" y="11708"/>
                      </a:cubicBezTo>
                      <a:cubicBezTo>
                        <a:pt x="-1031" y="6804"/>
                        <a:pt x="1840" y="1720"/>
                        <a:pt x="6684" y="344"/>
                      </a:cubicBezTo>
                      <a:cubicBezTo>
                        <a:pt x="11528" y="-1031"/>
                        <a:pt x="16612" y="1839"/>
                        <a:pt x="17987" y="6744"/>
                      </a:cubicBezTo>
                      <a:cubicBezTo>
                        <a:pt x="19363" y="11648"/>
                        <a:pt x="16492" y="16731"/>
                        <a:pt x="11648" y="18107"/>
                      </a:cubicBezTo>
                      <a:close/>
                    </a:path>
                  </a:pathLst>
                </a:custGeom>
                <a:grpFill/>
                <a:ln w="5978" cap="flat">
                  <a:noFill/>
                  <a:prstDash val="solid"/>
                  <a:miter/>
                </a:ln>
              </p:spPr>
              <p:txBody>
                <a:bodyPr rtlCol="0" anchor="ctr"/>
                <a:lstStyle/>
                <a:p>
                  <a:endParaRPr lang="en-GB"/>
                </a:p>
              </p:txBody>
            </p:sp>
            <p:sp>
              <p:nvSpPr>
                <p:cNvPr id="4990" name="Vrije vorm: vorm 4989">
                  <a:extLst>
                    <a:ext uri="{FF2B5EF4-FFF2-40B4-BE49-F238E27FC236}">
                      <a16:creationId xmlns:a16="http://schemas.microsoft.com/office/drawing/2014/main" id="{FADAA068-7882-4046-8724-5C7324E824BC}"/>
                    </a:ext>
                  </a:extLst>
                </p:cNvPr>
                <p:cNvSpPr/>
                <p:nvPr/>
              </p:nvSpPr>
              <p:spPr>
                <a:xfrm>
                  <a:off x="7828739" y="2682289"/>
                  <a:ext cx="18332" cy="18447"/>
                </a:xfrm>
                <a:custGeom>
                  <a:avLst/>
                  <a:gdLst>
                    <a:gd name="connsiteX0" fmla="*/ 11648 w 18332"/>
                    <a:gd name="connsiteY0" fmla="*/ 18107 h 18447"/>
                    <a:gd name="connsiteX1" fmla="*/ 17988 w 18332"/>
                    <a:gd name="connsiteY1" fmla="*/ 6744 h 18447"/>
                    <a:gd name="connsiteX2" fmla="*/ 6684 w 18332"/>
                    <a:gd name="connsiteY2" fmla="*/ 344 h 18447"/>
                    <a:gd name="connsiteX3" fmla="*/ 345 w 18332"/>
                    <a:gd name="connsiteY3" fmla="*/ 11708 h 18447"/>
                    <a:gd name="connsiteX4" fmla="*/ 11648 w 18332"/>
                    <a:gd name="connsiteY4" fmla="*/ 1810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47">
                      <a:moveTo>
                        <a:pt x="11648" y="18107"/>
                      </a:moveTo>
                      <a:cubicBezTo>
                        <a:pt x="16493" y="16732"/>
                        <a:pt x="19364" y="11648"/>
                        <a:pt x="17988" y="6744"/>
                      </a:cubicBezTo>
                      <a:cubicBezTo>
                        <a:pt x="16612" y="1839"/>
                        <a:pt x="11528" y="-1031"/>
                        <a:pt x="6684" y="344"/>
                      </a:cubicBezTo>
                      <a:cubicBezTo>
                        <a:pt x="1840" y="1720"/>
                        <a:pt x="-1031" y="6803"/>
                        <a:pt x="345" y="11708"/>
                      </a:cubicBezTo>
                      <a:cubicBezTo>
                        <a:pt x="1720" y="16552"/>
                        <a:pt x="6804" y="19483"/>
                        <a:pt x="11648" y="18107"/>
                      </a:cubicBezTo>
                      <a:close/>
                    </a:path>
                  </a:pathLst>
                </a:custGeom>
                <a:grpFill/>
                <a:ln w="5978" cap="flat">
                  <a:noFill/>
                  <a:prstDash val="solid"/>
                  <a:miter/>
                </a:ln>
              </p:spPr>
              <p:txBody>
                <a:bodyPr rtlCol="0" anchor="ctr"/>
                <a:lstStyle/>
                <a:p>
                  <a:endParaRPr lang="en-GB"/>
                </a:p>
              </p:txBody>
            </p:sp>
          </p:grpSp>
          <p:grpSp>
            <p:nvGrpSpPr>
              <p:cNvPr id="131" name="Graphic 3">
                <a:extLst>
                  <a:ext uri="{FF2B5EF4-FFF2-40B4-BE49-F238E27FC236}">
                    <a16:creationId xmlns:a16="http://schemas.microsoft.com/office/drawing/2014/main" id="{C6743E61-B036-46DA-B0E1-DC5832CEC4AE}"/>
                  </a:ext>
                </a:extLst>
              </p:cNvPr>
              <p:cNvGrpSpPr/>
              <p:nvPr/>
            </p:nvGrpSpPr>
            <p:grpSpPr>
              <a:xfrm>
                <a:off x="7601223" y="2522741"/>
                <a:ext cx="88924" cy="56837"/>
                <a:chOff x="7601223" y="2522741"/>
                <a:chExt cx="88924" cy="56837"/>
              </a:xfrm>
              <a:grpFill/>
            </p:grpSpPr>
            <p:sp>
              <p:nvSpPr>
                <p:cNvPr id="4985" name="Vrije vorm: vorm 4984">
                  <a:extLst>
                    <a:ext uri="{FF2B5EF4-FFF2-40B4-BE49-F238E27FC236}">
                      <a16:creationId xmlns:a16="http://schemas.microsoft.com/office/drawing/2014/main" id="{60100801-6FDD-4868-B2E8-F3FA20B85EAB}"/>
                    </a:ext>
                  </a:extLst>
                </p:cNvPr>
                <p:cNvSpPr/>
                <p:nvPr/>
              </p:nvSpPr>
              <p:spPr>
                <a:xfrm>
                  <a:off x="7609292" y="2530364"/>
                  <a:ext cx="72785" cy="41566"/>
                </a:xfrm>
                <a:custGeom>
                  <a:avLst/>
                  <a:gdLst>
                    <a:gd name="connsiteX0" fmla="*/ 72786 w 72785"/>
                    <a:gd name="connsiteY0" fmla="*/ 2691 h 41566"/>
                    <a:gd name="connsiteX1" fmla="*/ 1435 w 72785"/>
                    <a:gd name="connsiteY1" fmla="*/ 41566 h 41566"/>
                    <a:gd name="connsiteX2" fmla="*/ 0 w 72785"/>
                    <a:gd name="connsiteY2" fmla="*/ 38875 h 41566"/>
                    <a:gd name="connsiteX3" fmla="*/ 71350 w 72785"/>
                    <a:gd name="connsiteY3" fmla="*/ 0 h 41566"/>
                  </a:gdLst>
                  <a:ahLst/>
                  <a:cxnLst>
                    <a:cxn ang="0">
                      <a:pos x="connsiteX0" y="connsiteY0"/>
                    </a:cxn>
                    <a:cxn ang="0">
                      <a:pos x="connsiteX1" y="connsiteY1"/>
                    </a:cxn>
                    <a:cxn ang="0">
                      <a:pos x="connsiteX2" y="connsiteY2"/>
                    </a:cxn>
                    <a:cxn ang="0">
                      <a:pos x="connsiteX3" y="connsiteY3"/>
                    </a:cxn>
                  </a:cxnLst>
                  <a:rect l="l" t="t" r="r" b="b"/>
                  <a:pathLst>
                    <a:path w="72785" h="41566">
                      <a:moveTo>
                        <a:pt x="72786" y="2691"/>
                      </a:moveTo>
                      <a:lnTo>
                        <a:pt x="1435" y="41566"/>
                      </a:lnTo>
                      <a:lnTo>
                        <a:pt x="0" y="38875"/>
                      </a:lnTo>
                      <a:lnTo>
                        <a:pt x="71350" y="0"/>
                      </a:lnTo>
                      <a:close/>
                    </a:path>
                  </a:pathLst>
                </a:custGeom>
                <a:grpFill/>
                <a:ln w="5978" cap="flat">
                  <a:noFill/>
                  <a:prstDash val="solid"/>
                  <a:miter/>
                </a:ln>
              </p:spPr>
              <p:txBody>
                <a:bodyPr rtlCol="0" anchor="ctr"/>
                <a:lstStyle/>
                <a:p>
                  <a:endParaRPr lang="en-GB"/>
                </a:p>
              </p:txBody>
            </p:sp>
            <p:sp>
              <p:nvSpPr>
                <p:cNvPr id="4986" name="Vrije vorm: vorm 4985">
                  <a:extLst>
                    <a:ext uri="{FF2B5EF4-FFF2-40B4-BE49-F238E27FC236}">
                      <a16:creationId xmlns:a16="http://schemas.microsoft.com/office/drawing/2014/main" id="{AE47E0E0-392F-47E5-B17B-9D6405F72EB6}"/>
                    </a:ext>
                  </a:extLst>
                </p:cNvPr>
                <p:cNvSpPr/>
                <p:nvPr/>
              </p:nvSpPr>
              <p:spPr>
                <a:xfrm>
                  <a:off x="7671795" y="2522741"/>
                  <a:ext cx="18352" cy="18414"/>
                </a:xfrm>
                <a:custGeom>
                  <a:avLst/>
                  <a:gdLst>
                    <a:gd name="connsiteX0" fmla="*/ 4780 w 18352"/>
                    <a:gd name="connsiteY0" fmla="*/ 1103 h 18414"/>
                    <a:gd name="connsiteX1" fmla="*/ 17220 w 18352"/>
                    <a:gd name="connsiteY1" fmla="*/ 4812 h 18414"/>
                    <a:gd name="connsiteX2" fmla="*/ 13572 w 18352"/>
                    <a:gd name="connsiteY2" fmla="*/ 17311 h 18414"/>
                    <a:gd name="connsiteX3" fmla="*/ 1132 w 18352"/>
                    <a:gd name="connsiteY3" fmla="*/ 13603 h 18414"/>
                    <a:gd name="connsiteX4" fmla="*/ 4780 w 18352"/>
                    <a:gd name="connsiteY4" fmla="*/ 11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4780" y="1103"/>
                      </a:moveTo>
                      <a:cubicBezTo>
                        <a:pt x="9206" y="-1289"/>
                        <a:pt x="14768" y="326"/>
                        <a:pt x="17220" y="4812"/>
                      </a:cubicBezTo>
                      <a:cubicBezTo>
                        <a:pt x="19672" y="9297"/>
                        <a:pt x="17998" y="14859"/>
                        <a:pt x="13572" y="17311"/>
                      </a:cubicBezTo>
                      <a:cubicBezTo>
                        <a:pt x="9146" y="19703"/>
                        <a:pt x="3584" y="18089"/>
                        <a:pt x="1132" y="13603"/>
                      </a:cubicBezTo>
                      <a:cubicBezTo>
                        <a:pt x="-1320" y="9118"/>
                        <a:pt x="354" y="3496"/>
                        <a:pt x="4780" y="1103"/>
                      </a:cubicBezTo>
                      <a:close/>
                    </a:path>
                  </a:pathLst>
                </a:custGeom>
                <a:grpFill/>
                <a:ln w="5978" cap="flat">
                  <a:noFill/>
                  <a:prstDash val="solid"/>
                  <a:miter/>
                </a:ln>
              </p:spPr>
              <p:txBody>
                <a:bodyPr rtlCol="0" anchor="ctr"/>
                <a:lstStyle/>
                <a:p>
                  <a:endParaRPr lang="en-GB"/>
                </a:p>
              </p:txBody>
            </p:sp>
            <p:sp>
              <p:nvSpPr>
                <p:cNvPr id="4987" name="Vrije vorm: vorm 4986">
                  <a:extLst>
                    <a:ext uri="{FF2B5EF4-FFF2-40B4-BE49-F238E27FC236}">
                      <a16:creationId xmlns:a16="http://schemas.microsoft.com/office/drawing/2014/main" id="{B4A2DF1B-30F2-40EF-9906-B1133DC0A61A}"/>
                    </a:ext>
                  </a:extLst>
                </p:cNvPr>
                <p:cNvSpPr/>
                <p:nvPr/>
              </p:nvSpPr>
              <p:spPr>
                <a:xfrm>
                  <a:off x="7601223" y="2561111"/>
                  <a:ext cx="18351" cy="18467"/>
                </a:xfrm>
                <a:custGeom>
                  <a:avLst/>
                  <a:gdLst>
                    <a:gd name="connsiteX0" fmla="*/ 4780 w 18351"/>
                    <a:gd name="connsiteY0" fmla="*/ 1130 h 18467"/>
                    <a:gd name="connsiteX1" fmla="*/ 1131 w 18351"/>
                    <a:gd name="connsiteY1" fmla="*/ 13630 h 18467"/>
                    <a:gd name="connsiteX2" fmla="*/ 13572 w 18351"/>
                    <a:gd name="connsiteY2" fmla="*/ 17338 h 18467"/>
                    <a:gd name="connsiteX3" fmla="*/ 17220 w 18351"/>
                    <a:gd name="connsiteY3" fmla="*/ 4838 h 18467"/>
                    <a:gd name="connsiteX4" fmla="*/ 4780 w 18351"/>
                    <a:gd name="connsiteY4" fmla="*/ 11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7">
                      <a:moveTo>
                        <a:pt x="4780" y="1130"/>
                      </a:moveTo>
                      <a:cubicBezTo>
                        <a:pt x="355" y="3522"/>
                        <a:pt x="-1320" y="9144"/>
                        <a:pt x="1131" y="13630"/>
                      </a:cubicBezTo>
                      <a:cubicBezTo>
                        <a:pt x="3584" y="18115"/>
                        <a:pt x="9146" y="19790"/>
                        <a:pt x="13572" y="17338"/>
                      </a:cubicBezTo>
                      <a:cubicBezTo>
                        <a:pt x="17997" y="14945"/>
                        <a:pt x="19672" y="9324"/>
                        <a:pt x="17220" y="4838"/>
                      </a:cubicBezTo>
                      <a:cubicBezTo>
                        <a:pt x="14828" y="353"/>
                        <a:pt x="9266" y="-1322"/>
                        <a:pt x="4780" y="1130"/>
                      </a:cubicBezTo>
                      <a:close/>
                    </a:path>
                  </a:pathLst>
                </a:custGeom>
                <a:grpFill/>
                <a:ln w="5978" cap="flat">
                  <a:noFill/>
                  <a:prstDash val="solid"/>
                  <a:miter/>
                </a:ln>
              </p:spPr>
              <p:txBody>
                <a:bodyPr rtlCol="0" anchor="ctr"/>
                <a:lstStyle/>
                <a:p>
                  <a:endParaRPr lang="en-GB"/>
                </a:p>
              </p:txBody>
            </p:sp>
          </p:grpSp>
          <p:grpSp>
            <p:nvGrpSpPr>
              <p:cNvPr id="132" name="Graphic 3">
                <a:extLst>
                  <a:ext uri="{FF2B5EF4-FFF2-40B4-BE49-F238E27FC236}">
                    <a16:creationId xmlns:a16="http://schemas.microsoft.com/office/drawing/2014/main" id="{7EB9B655-9BAE-46ED-938E-F973CD0BDA5B}"/>
                  </a:ext>
                </a:extLst>
              </p:cNvPr>
              <p:cNvGrpSpPr/>
              <p:nvPr/>
            </p:nvGrpSpPr>
            <p:grpSpPr>
              <a:xfrm>
                <a:off x="7395033" y="1955653"/>
                <a:ext cx="138132" cy="136884"/>
                <a:chOff x="7395033" y="1955653"/>
                <a:chExt cx="138132" cy="136884"/>
              </a:xfrm>
              <a:grpFill/>
            </p:grpSpPr>
            <p:sp>
              <p:nvSpPr>
                <p:cNvPr id="4982" name="Vrije vorm: vorm 4981">
                  <a:extLst>
                    <a:ext uri="{FF2B5EF4-FFF2-40B4-BE49-F238E27FC236}">
                      <a16:creationId xmlns:a16="http://schemas.microsoft.com/office/drawing/2014/main" id="{CD935C07-650F-4FF5-965B-9D502E6C3A9E}"/>
                    </a:ext>
                  </a:extLst>
                </p:cNvPr>
                <p:cNvSpPr/>
                <p:nvPr/>
              </p:nvSpPr>
              <p:spPr>
                <a:xfrm>
                  <a:off x="7402777" y="1963451"/>
                  <a:ext cx="122604" cy="121289"/>
                </a:xfrm>
                <a:custGeom>
                  <a:avLst/>
                  <a:gdLst>
                    <a:gd name="connsiteX0" fmla="*/ 122605 w 122604"/>
                    <a:gd name="connsiteY0" fmla="*/ 2213 h 121289"/>
                    <a:gd name="connsiteX1" fmla="*/ 2154 w 122604"/>
                    <a:gd name="connsiteY1" fmla="*/ 121289 h 121289"/>
                    <a:gd name="connsiteX2" fmla="*/ 0 w 122604"/>
                    <a:gd name="connsiteY2" fmla="*/ 119076 h 121289"/>
                    <a:gd name="connsiteX3" fmla="*/ 120512 w 122604"/>
                    <a:gd name="connsiteY3" fmla="*/ 0 h 121289"/>
                  </a:gdLst>
                  <a:ahLst/>
                  <a:cxnLst>
                    <a:cxn ang="0">
                      <a:pos x="connsiteX0" y="connsiteY0"/>
                    </a:cxn>
                    <a:cxn ang="0">
                      <a:pos x="connsiteX1" y="connsiteY1"/>
                    </a:cxn>
                    <a:cxn ang="0">
                      <a:pos x="connsiteX2" y="connsiteY2"/>
                    </a:cxn>
                    <a:cxn ang="0">
                      <a:pos x="connsiteX3" y="connsiteY3"/>
                    </a:cxn>
                  </a:cxnLst>
                  <a:rect l="l" t="t" r="r" b="b"/>
                  <a:pathLst>
                    <a:path w="122604" h="121289">
                      <a:moveTo>
                        <a:pt x="122605" y="2213"/>
                      </a:moveTo>
                      <a:lnTo>
                        <a:pt x="2154" y="121289"/>
                      </a:lnTo>
                      <a:lnTo>
                        <a:pt x="0" y="119076"/>
                      </a:lnTo>
                      <a:lnTo>
                        <a:pt x="120512" y="0"/>
                      </a:lnTo>
                      <a:close/>
                    </a:path>
                  </a:pathLst>
                </a:custGeom>
                <a:grpFill/>
                <a:ln w="5978" cap="flat">
                  <a:noFill/>
                  <a:prstDash val="solid"/>
                  <a:miter/>
                </a:ln>
              </p:spPr>
              <p:txBody>
                <a:bodyPr rtlCol="0" anchor="ctr"/>
                <a:lstStyle/>
                <a:p>
                  <a:endParaRPr lang="en-GB"/>
                </a:p>
              </p:txBody>
            </p:sp>
            <p:sp>
              <p:nvSpPr>
                <p:cNvPr id="4983" name="Vrije vorm: vorm 4982">
                  <a:extLst>
                    <a:ext uri="{FF2B5EF4-FFF2-40B4-BE49-F238E27FC236}">
                      <a16:creationId xmlns:a16="http://schemas.microsoft.com/office/drawing/2014/main" id="{08E60AD5-5132-4480-86BD-DB5A00394F84}"/>
                    </a:ext>
                  </a:extLst>
                </p:cNvPr>
                <p:cNvSpPr/>
                <p:nvPr/>
              </p:nvSpPr>
              <p:spPr>
                <a:xfrm>
                  <a:off x="7514849" y="1955653"/>
                  <a:ext cx="18316" cy="18466"/>
                </a:xfrm>
                <a:custGeom>
                  <a:avLst/>
                  <a:gdLst>
                    <a:gd name="connsiteX0" fmla="*/ 2699 w 18316"/>
                    <a:gd name="connsiteY0" fmla="*/ 2654 h 18466"/>
                    <a:gd name="connsiteX1" fmla="*/ 15677 w 18316"/>
                    <a:gd name="connsiteY1" fmla="*/ 2774 h 18466"/>
                    <a:gd name="connsiteX2" fmla="*/ 15617 w 18316"/>
                    <a:gd name="connsiteY2" fmla="*/ 15812 h 18466"/>
                    <a:gd name="connsiteX3" fmla="*/ 2639 w 18316"/>
                    <a:gd name="connsiteY3" fmla="*/ 15692 h 18466"/>
                    <a:gd name="connsiteX4" fmla="*/ 2699 w 18316"/>
                    <a:gd name="connsiteY4" fmla="*/ 265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66">
                      <a:moveTo>
                        <a:pt x="2699" y="2654"/>
                      </a:moveTo>
                      <a:cubicBezTo>
                        <a:pt x="6287" y="-934"/>
                        <a:pt x="12088" y="-874"/>
                        <a:pt x="15677" y="2774"/>
                      </a:cubicBezTo>
                      <a:cubicBezTo>
                        <a:pt x="19206" y="6422"/>
                        <a:pt x="19206" y="12224"/>
                        <a:pt x="15617" y="15812"/>
                      </a:cubicBezTo>
                      <a:cubicBezTo>
                        <a:pt x="12028" y="19400"/>
                        <a:pt x="6227" y="19341"/>
                        <a:pt x="2639" y="15692"/>
                      </a:cubicBezTo>
                      <a:cubicBezTo>
                        <a:pt x="-890" y="12044"/>
                        <a:pt x="-890" y="6183"/>
                        <a:pt x="2699" y="2654"/>
                      </a:cubicBezTo>
                      <a:close/>
                    </a:path>
                  </a:pathLst>
                </a:custGeom>
                <a:grpFill/>
                <a:ln w="5978" cap="flat">
                  <a:noFill/>
                  <a:prstDash val="solid"/>
                  <a:miter/>
                </a:ln>
              </p:spPr>
              <p:txBody>
                <a:bodyPr rtlCol="0" anchor="ctr"/>
                <a:lstStyle/>
                <a:p>
                  <a:endParaRPr lang="en-GB"/>
                </a:p>
              </p:txBody>
            </p:sp>
            <p:sp>
              <p:nvSpPr>
                <p:cNvPr id="4984" name="Vrije vorm: vorm 4983">
                  <a:extLst>
                    <a:ext uri="{FF2B5EF4-FFF2-40B4-BE49-F238E27FC236}">
                      <a16:creationId xmlns:a16="http://schemas.microsoft.com/office/drawing/2014/main" id="{F62B670E-010E-4598-80B6-F83441CCECD5}"/>
                    </a:ext>
                  </a:extLst>
                </p:cNvPr>
                <p:cNvSpPr/>
                <p:nvPr/>
              </p:nvSpPr>
              <p:spPr>
                <a:xfrm>
                  <a:off x="7395033" y="2074117"/>
                  <a:ext cx="18361" cy="18421"/>
                </a:xfrm>
                <a:custGeom>
                  <a:avLst/>
                  <a:gdLst>
                    <a:gd name="connsiteX0" fmla="*/ 2721 w 18361"/>
                    <a:gd name="connsiteY0" fmla="*/ 2610 h 18421"/>
                    <a:gd name="connsiteX1" fmla="*/ 2661 w 18361"/>
                    <a:gd name="connsiteY1" fmla="*/ 15648 h 18421"/>
                    <a:gd name="connsiteX2" fmla="*/ 15640 w 18361"/>
                    <a:gd name="connsiteY2" fmla="*/ 15767 h 18421"/>
                    <a:gd name="connsiteX3" fmla="*/ 15700 w 18361"/>
                    <a:gd name="connsiteY3" fmla="*/ 2729 h 18421"/>
                    <a:gd name="connsiteX4" fmla="*/ 2721 w 18361"/>
                    <a:gd name="connsiteY4" fmla="*/ 26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2721" y="2610"/>
                      </a:moveTo>
                      <a:cubicBezTo>
                        <a:pt x="-867" y="6198"/>
                        <a:pt x="-927" y="11999"/>
                        <a:pt x="2661" y="15648"/>
                      </a:cubicBezTo>
                      <a:cubicBezTo>
                        <a:pt x="6191" y="19296"/>
                        <a:pt x="12052" y="19356"/>
                        <a:pt x="15640" y="15767"/>
                      </a:cubicBezTo>
                      <a:cubicBezTo>
                        <a:pt x="19228" y="12179"/>
                        <a:pt x="19288" y="6377"/>
                        <a:pt x="15700" y="2729"/>
                      </a:cubicBezTo>
                      <a:cubicBezTo>
                        <a:pt x="12111" y="-859"/>
                        <a:pt x="6310" y="-919"/>
                        <a:pt x="2721" y="2610"/>
                      </a:cubicBezTo>
                      <a:close/>
                    </a:path>
                  </a:pathLst>
                </a:custGeom>
                <a:grpFill/>
                <a:ln w="5978" cap="flat">
                  <a:noFill/>
                  <a:prstDash val="solid"/>
                  <a:miter/>
                </a:ln>
              </p:spPr>
              <p:txBody>
                <a:bodyPr rtlCol="0" anchor="ctr"/>
                <a:lstStyle/>
                <a:p>
                  <a:endParaRPr lang="en-GB"/>
                </a:p>
              </p:txBody>
            </p:sp>
          </p:grpSp>
          <p:grpSp>
            <p:nvGrpSpPr>
              <p:cNvPr id="133" name="Graphic 3">
                <a:extLst>
                  <a:ext uri="{FF2B5EF4-FFF2-40B4-BE49-F238E27FC236}">
                    <a16:creationId xmlns:a16="http://schemas.microsoft.com/office/drawing/2014/main" id="{5066546C-98F6-4B17-9F2B-C99C19DE45A6}"/>
                  </a:ext>
                </a:extLst>
              </p:cNvPr>
              <p:cNvGrpSpPr/>
              <p:nvPr/>
            </p:nvGrpSpPr>
            <p:grpSpPr>
              <a:xfrm>
                <a:off x="7284396" y="1957152"/>
                <a:ext cx="421467" cy="334240"/>
                <a:chOff x="7284396" y="1957152"/>
                <a:chExt cx="421467" cy="334240"/>
              </a:xfrm>
              <a:grpFill/>
            </p:grpSpPr>
            <p:sp>
              <p:nvSpPr>
                <p:cNvPr id="4979" name="Vrije vorm: vorm 4978">
                  <a:extLst>
                    <a:ext uri="{FF2B5EF4-FFF2-40B4-BE49-F238E27FC236}">
                      <a16:creationId xmlns:a16="http://schemas.microsoft.com/office/drawing/2014/main" id="{352A8F70-832F-44BA-9F16-6DEE255530F6}"/>
                    </a:ext>
                  </a:extLst>
                </p:cNvPr>
                <p:cNvSpPr/>
                <p:nvPr/>
              </p:nvSpPr>
              <p:spPr>
                <a:xfrm>
                  <a:off x="7292254" y="1964887"/>
                  <a:ext cx="405732" cy="318772"/>
                </a:xfrm>
                <a:custGeom>
                  <a:avLst/>
                  <a:gdLst>
                    <a:gd name="connsiteX0" fmla="*/ 405733 w 405732"/>
                    <a:gd name="connsiteY0" fmla="*/ 2392 h 318772"/>
                    <a:gd name="connsiteX1" fmla="*/ 1854 w 405732"/>
                    <a:gd name="connsiteY1" fmla="*/ 318772 h 318772"/>
                    <a:gd name="connsiteX2" fmla="*/ 0 w 405732"/>
                    <a:gd name="connsiteY2" fmla="*/ 316320 h 318772"/>
                    <a:gd name="connsiteX3" fmla="*/ 403819 w 405732"/>
                    <a:gd name="connsiteY3" fmla="*/ 0 h 318772"/>
                  </a:gdLst>
                  <a:ahLst/>
                  <a:cxnLst>
                    <a:cxn ang="0">
                      <a:pos x="connsiteX0" y="connsiteY0"/>
                    </a:cxn>
                    <a:cxn ang="0">
                      <a:pos x="connsiteX1" y="connsiteY1"/>
                    </a:cxn>
                    <a:cxn ang="0">
                      <a:pos x="connsiteX2" y="connsiteY2"/>
                    </a:cxn>
                    <a:cxn ang="0">
                      <a:pos x="connsiteX3" y="connsiteY3"/>
                    </a:cxn>
                  </a:cxnLst>
                  <a:rect l="l" t="t" r="r" b="b"/>
                  <a:pathLst>
                    <a:path w="405732" h="318772">
                      <a:moveTo>
                        <a:pt x="405733" y="2392"/>
                      </a:moveTo>
                      <a:lnTo>
                        <a:pt x="1854" y="318772"/>
                      </a:lnTo>
                      <a:lnTo>
                        <a:pt x="0" y="316320"/>
                      </a:lnTo>
                      <a:lnTo>
                        <a:pt x="403819" y="0"/>
                      </a:lnTo>
                      <a:close/>
                    </a:path>
                  </a:pathLst>
                </a:custGeom>
                <a:grpFill/>
                <a:ln w="5978" cap="flat">
                  <a:noFill/>
                  <a:prstDash val="solid"/>
                  <a:miter/>
                </a:ln>
              </p:spPr>
              <p:txBody>
                <a:bodyPr rtlCol="0" anchor="ctr"/>
                <a:lstStyle/>
                <a:p>
                  <a:endParaRPr lang="en-GB"/>
                </a:p>
              </p:txBody>
            </p:sp>
            <p:sp>
              <p:nvSpPr>
                <p:cNvPr id="4980" name="Vrije vorm: vorm 4979">
                  <a:extLst>
                    <a:ext uri="{FF2B5EF4-FFF2-40B4-BE49-F238E27FC236}">
                      <a16:creationId xmlns:a16="http://schemas.microsoft.com/office/drawing/2014/main" id="{701017F6-09AE-41CC-9DB1-3044A6151710}"/>
                    </a:ext>
                  </a:extLst>
                </p:cNvPr>
                <p:cNvSpPr/>
                <p:nvPr/>
              </p:nvSpPr>
              <p:spPr>
                <a:xfrm>
                  <a:off x="7284396" y="2272994"/>
                  <a:ext cx="18306" cy="18398"/>
                </a:xfrm>
                <a:custGeom>
                  <a:avLst/>
                  <a:gdLst>
                    <a:gd name="connsiteX0" fmla="*/ 14796 w 18306"/>
                    <a:gd name="connsiteY0" fmla="*/ 16466 h 18398"/>
                    <a:gd name="connsiteX1" fmla="*/ 1937 w 18306"/>
                    <a:gd name="connsiteY1" fmla="*/ 14851 h 18398"/>
                    <a:gd name="connsiteX2" fmla="*/ 3492 w 18306"/>
                    <a:gd name="connsiteY2" fmla="*/ 1933 h 18398"/>
                    <a:gd name="connsiteX3" fmla="*/ 16351 w 18306"/>
                    <a:gd name="connsiteY3" fmla="*/ 3548 h 18398"/>
                    <a:gd name="connsiteX4" fmla="*/ 14796 w 18306"/>
                    <a:gd name="connsiteY4" fmla="*/ 16466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8">
                      <a:moveTo>
                        <a:pt x="14796" y="16466"/>
                      </a:moveTo>
                      <a:cubicBezTo>
                        <a:pt x="10789" y="19576"/>
                        <a:pt x="5047" y="18858"/>
                        <a:pt x="1937" y="14851"/>
                      </a:cubicBezTo>
                      <a:cubicBezTo>
                        <a:pt x="-1173" y="10844"/>
                        <a:pt x="-455" y="5043"/>
                        <a:pt x="3492" y="1933"/>
                      </a:cubicBezTo>
                      <a:cubicBezTo>
                        <a:pt x="7500" y="-1177"/>
                        <a:pt x="13241" y="-459"/>
                        <a:pt x="16351" y="3548"/>
                      </a:cubicBezTo>
                      <a:cubicBezTo>
                        <a:pt x="19461" y="7555"/>
                        <a:pt x="18803" y="13296"/>
                        <a:pt x="14796" y="16466"/>
                      </a:cubicBezTo>
                      <a:close/>
                    </a:path>
                  </a:pathLst>
                </a:custGeom>
                <a:grpFill/>
                <a:ln w="5978" cap="flat">
                  <a:noFill/>
                  <a:prstDash val="solid"/>
                  <a:miter/>
                </a:ln>
              </p:spPr>
              <p:txBody>
                <a:bodyPr rtlCol="0" anchor="ctr"/>
                <a:lstStyle/>
                <a:p>
                  <a:endParaRPr lang="en-GB"/>
                </a:p>
              </p:txBody>
            </p:sp>
            <p:sp>
              <p:nvSpPr>
                <p:cNvPr id="4981" name="Vrije vorm: vorm 4980">
                  <a:extLst>
                    <a:ext uri="{FF2B5EF4-FFF2-40B4-BE49-F238E27FC236}">
                      <a16:creationId xmlns:a16="http://schemas.microsoft.com/office/drawing/2014/main" id="{491B69DD-5839-4F0B-900E-95167EAEEC08}"/>
                    </a:ext>
                  </a:extLst>
                </p:cNvPr>
                <p:cNvSpPr/>
                <p:nvPr/>
              </p:nvSpPr>
              <p:spPr>
                <a:xfrm>
                  <a:off x="7687538" y="1957152"/>
                  <a:ext cx="18324" cy="18398"/>
                </a:xfrm>
                <a:custGeom>
                  <a:avLst/>
                  <a:gdLst>
                    <a:gd name="connsiteX0" fmla="*/ 14815 w 18324"/>
                    <a:gd name="connsiteY0" fmla="*/ 16466 h 18398"/>
                    <a:gd name="connsiteX1" fmla="*/ 16370 w 18324"/>
                    <a:gd name="connsiteY1" fmla="*/ 3548 h 18398"/>
                    <a:gd name="connsiteX2" fmla="*/ 3511 w 18324"/>
                    <a:gd name="connsiteY2" fmla="*/ 1933 h 18398"/>
                    <a:gd name="connsiteX3" fmla="*/ 1956 w 18324"/>
                    <a:gd name="connsiteY3" fmla="*/ 14851 h 18398"/>
                    <a:gd name="connsiteX4" fmla="*/ 14815 w 18324"/>
                    <a:gd name="connsiteY4" fmla="*/ 16466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8">
                      <a:moveTo>
                        <a:pt x="14815" y="16466"/>
                      </a:moveTo>
                      <a:cubicBezTo>
                        <a:pt x="18821" y="13356"/>
                        <a:pt x="19479" y="7555"/>
                        <a:pt x="16370" y="3548"/>
                      </a:cubicBezTo>
                      <a:cubicBezTo>
                        <a:pt x="13259" y="-459"/>
                        <a:pt x="7517" y="-1177"/>
                        <a:pt x="3511" y="1933"/>
                      </a:cubicBezTo>
                      <a:cubicBezTo>
                        <a:pt x="-496" y="5043"/>
                        <a:pt x="-1154" y="10844"/>
                        <a:pt x="1956" y="14851"/>
                      </a:cubicBezTo>
                      <a:cubicBezTo>
                        <a:pt x="5066" y="18858"/>
                        <a:pt x="10807" y="19576"/>
                        <a:pt x="14815" y="16466"/>
                      </a:cubicBezTo>
                      <a:close/>
                    </a:path>
                  </a:pathLst>
                </a:custGeom>
                <a:grpFill/>
                <a:ln w="5978" cap="flat">
                  <a:noFill/>
                  <a:prstDash val="solid"/>
                  <a:miter/>
                </a:ln>
              </p:spPr>
              <p:txBody>
                <a:bodyPr rtlCol="0" anchor="ctr"/>
                <a:lstStyle/>
                <a:p>
                  <a:endParaRPr lang="en-GB"/>
                </a:p>
              </p:txBody>
            </p:sp>
          </p:grpSp>
          <p:grpSp>
            <p:nvGrpSpPr>
              <p:cNvPr id="134" name="Graphic 3">
                <a:extLst>
                  <a:ext uri="{FF2B5EF4-FFF2-40B4-BE49-F238E27FC236}">
                    <a16:creationId xmlns:a16="http://schemas.microsoft.com/office/drawing/2014/main" id="{76691E1C-E23D-426C-BB60-8FA2E5B06DB5}"/>
                  </a:ext>
                </a:extLst>
              </p:cNvPr>
              <p:cNvGrpSpPr/>
              <p:nvPr/>
            </p:nvGrpSpPr>
            <p:grpSpPr>
              <a:xfrm>
                <a:off x="7559713" y="2386026"/>
                <a:ext cx="86343" cy="62337"/>
                <a:chOff x="7559713" y="2386026"/>
                <a:chExt cx="86343" cy="62337"/>
              </a:xfrm>
              <a:grpFill/>
            </p:grpSpPr>
            <p:sp>
              <p:nvSpPr>
                <p:cNvPr id="4976" name="Vrije vorm: vorm 4975">
                  <a:extLst>
                    <a:ext uri="{FF2B5EF4-FFF2-40B4-BE49-F238E27FC236}">
                      <a16:creationId xmlns:a16="http://schemas.microsoft.com/office/drawing/2014/main" id="{CEEB67EF-FF3F-466B-9039-937816C274D4}"/>
                    </a:ext>
                  </a:extLst>
                </p:cNvPr>
                <p:cNvSpPr/>
                <p:nvPr/>
              </p:nvSpPr>
              <p:spPr>
                <a:xfrm>
                  <a:off x="7567666" y="2393704"/>
                  <a:ext cx="70453" cy="46948"/>
                </a:xfrm>
                <a:custGeom>
                  <a:avLst/>
                  <a:gdLst>
                    <a:gd name="connsiteX0" fmla="*/ 70453 w 70453"/>
                    <a:gd name="connsiteY0" fmla="*/ 2572 h 46948"/>
                    <a:gd name="connsiteX1" fmla="*/ 1675 w 70453"/>
                    <a:gd name="connsiteY1" fmla="*/ 46949 h 46948"/>
                    <a:gd name="connsiteX2" fmla="*/ 0 w 70453"/>
                    <a:gd name="connsiteY2" fmla="*/ 44377 h 46948"/>
                    <a:gd name="connsiteX3" fmla="*/ 68778 w 70453"/>
                    <a:gd name="connsiteY3" fmla="*/ 0 h 46948"/>
                  </a:gdLst>
                  <a:ahLst/>
                  <a:cxnLst>
                    <a:cxn ang="0">
                      <a:pos x="connsiteX0" y="connsiteY0"/>
                    </a:cxn>
                    <a:cxn ang="0">
                      <a:pos x="connsiteX1" y="connsiteY1"/>
                    </a:cxn>
                    <a:cxn ang="0">
                      <a:pos x="connsiteX2" y="connsiteY2"/>
                    </a:cxn>
                    <a:cxn ang="0">
                      <a:pos x="connsiteX3" y="connsiteY3"/>
                    </a:cxn>
                  </a:cxnLst>
                  <a:rect l="l" t="t" r="r" b="b"/>
                  <a:pathLst>
                    <a:path w="70453" h="46948">
                      <a:moveTo>
                        <a:pt x="70453" y="2572"/>
                      </a:moveTo>
                      <a:lnTo>
                        <a:pt x="1675" y="46949"/>
                      </a:lnTo>
                      <a:lnTo>
                        <a:pt x="0" y="44377"/>
                      </a:lnTo>
                      <a:lnTo>
                        <a:pt x="68778" y="0"/>
                      </a:lnTo>
                      <a:close/>
                    </a:path>
                  </a:pathLst>
                </a:custGeom>
                <a:grpFill/>
                <a:ln w="5978" cap="flat">
                  <a:noFill/>
                  <a:prstDash val="solid"/>
                  <a:miter/>
                </a:ln>
              </p:spPr>
              <p:txBody>
                <a:bodyPr rtlCol="0" anchor="ctr"/>
                <a:lstStyle/>
                <a:p>
                  <a:endParaRPr lang="en-GB"/>
                </a:p>
              </p:txBody>
            </p:sp>
            <p:sp>
              <p:nvSpPr>
                <p:cNvPr id="4977" name="Vrije vorm: vorm 4976">
                  <a:extLst>
                    <a:ext uri="{FF2B5EF4-FFF2-40B4-BE49-F238E27FC236}">
                      <a16:creationId xmlns:a16="http://schemas.microsoft.com/office/drawing/2014/main" id="{594982F3-E9F7-429C-921D-B74E0BA2F8CC}"/>
                    </a:ext>
                  </a:extLst>
                </p:cNvPr>
                <p:cNvSpPr/>
                <p:nvPr/>
              </p:nvSpPr>
              <p:spPr>
                <a:xfrm>
                  <a:off x="7627729" y="2386026"/>
                  <a:ext cx="18327" cy="18465"/>
                </a:xfrm>
                <a:custGeom>
                  <a:avLst/>
                  <a:gdLst>
                    <a:gd name="connsiteX0" fmla="*/ 4170 w 18327"/>
                    <a:gd name="connsiteY0" fmla="*/ 1458 h 18465"/>
                    <a:gd name="connsiteX1" fmla="*/ 16849 w 18327"/>
                    <a:gd name="connsiteY1" fmla="*/ 4269 h 18465"/>
                    <a:gd name="connsiteX2" fmla="*/ 14158 w 18327"/>
                    <a:gd name="connsiteY2" fmla="*/ 17008 h 18465"/>
                    <a:gd name="connsiteX3" fmla="*/ 1479 w 18327"/>
                    <a:gd name="connsiteY3" fmla="*/ 14197 h 18465"/>
                    <a:gd name="connsiteX4" fmla="*/ 4170 w 18327"/>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5">
                      <a:moveTo>
                        <a:pt x="4170" y="1458"/>
                      </a:moveTo>
                      <a:cubicBezTo>
                        <a:pt x="8416" y="-1293"/>
                        <a:pt x="14098" y="-37"/>
                        <a:pt x="16849" y="4269"/>
                      </a:cubicBezTo>
                      <a:cubicBezTo>
                        <a:pt x="19600" y="8575"/>
                        <a:pt x="18404" y="14257"/>
                        <a:pt x="14158" y="17008"/>
                      </a:cubicBezTo>
                      <a:cubicBezTo>
                        <a:pt x="9911" y="19759"/>
                        <a:pt x="4230" y="18503"/>
                        <a:pt x="1479" y="14197"/>
                      </a:cubicBezTo>
                      <a:cubicBezTo>
                        <a:pt x="-1273" y="9891"/>
                        <a:pt x="-76" y="4209"/>
                        <a:pt x="4170" y="1458"/>
                      </a:cubicBezTo>
                      <a:close/>
                    </a:path>
                  </a:pathLst>
                </a:custGeom>
                <a:grpFill/>
                <a:ln w="5978" cap="flat">
                  <a:noFill/>
                  <a:prstDash val="solid"/>
                  <a:miter/>
                </a:ln>
              </p:spPr>
              <p:txBody>
                <a:bodyPr rtlCol="0" anchor="ctr"/>
                <a:lstStyle/>
                <a:p>
                  <a:endParaRPr lang="en-GB"/>
                </a:p>
              </p:txBody>
            </p:sp>
            <p:sp>
              <p:nvSpPr>
                <p:cNvPr id="4978" name="Vrije vorm: vorm 4977">
                  <a:extLst>
                    <a:ext uri="{FF2B5EF4-FFF2-40B4-BE49-F238E27FC236}">
                      <a16:creationId xmlns:a16="http://schemas.microsoft.com/office/drawing/2014/main" id="{E4C78D39-F724-48E5-9E76-C91DCC05198D}"/>
                    </a:ext>
                  </a:extLst>
                </p:cNvPr>
                <p:cNvSpPr/>
                <p:nvPr/>
              </p:nvSpPr>
              <p:spPr>
                <a:xfrm>
                  <a:off x="7559713" y="2429925"/>
                  <a:ext cx="18298" cy="18439"/>
                </a:xfrm>
                <a:custGeom>
                  <a:avLst/>
                  <a:gdLst>
                    <a:gd name="connsiteX0" fmla="*/ 4185 w 18298"/>
                    <a:gd name="connsiteY0" fmla="*/ 1458 h 18439"/>
                    <a:gd name="connsiteX1" fmla="*/ 1434 w 18298"/>
                    <a:gd name="connsiteY1" fmla="*/ 14197 h 18439"/>
                    <a:gd name="connsiteX2" fmla="*/ 14114 w 18298"/>
                    <a:gd name="connsiteY2" fmla="*/ 17008 h 18439"/>
                    <a:gd name="connsiteX3" fmla="*/ 16864 w 18298"/>
                    <a:gd name="connsiteY3" fmla="*/ 4269 h 18439"/>
                    <a:gd name="connsiteX4" fmla="*/ 4185 w 18298"/>
                    <a:gd name="connsiteY4" fmla="*/ 1458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9">
                      <a:moveTo>
                        <a:pt x="4185" y="1458"/>
                      </a:moveTo>
                      <a:cubicBezTo>
                        <a:pt x="-61" y="4209"/>
                        <a:pt x="-1257" y="9891"/>
                        <a:pt x="1434" y="14197"/>
                      </a:cubicBezTo>
                      <a:cubicBezTo>
                        <a:pt x="4185" y="18503"/>
                        <a:pt x="9867" y="19699"/>
                        <a:pt x="14114" y="17008"/>
                      </a:cubicBezTo>
                      <a:cubicBezTo>
                        <a:pt x="18360" y="14257"/>
                        <a:pt x="19555" y="8575"/>
                        <a:pt x="16864" y="4269"/>
                      </a:cubicBezTo>
                      <a:cubicBezTo>
                        <a:pt x="14173" y="-37"/>
                        <a:pt x="8431" y="-1293"/>
                        <a:pt x="4185" y="1458"/>
                      </a:cubicBezTo>
                      <a:close/>
                    </a:path>
                  </a:pathLst>
                </a:custGeom>
                <a:grpFill/>
                <a:ln w="5978" cap="flat">
                  <a:noFill/>
                  <a:prstDash val="solid"/>
                  <a:miter/>
                </a:ln>
              </p:spPr>
              <p:txBody>
                <a:bodyPr rtlCol="0" anchor="ctr"/>
                <a:lstStyle/>
                <a:p>
                  <a:endParaRPr lang="en-GB"/>
                </a:p>
              </p:txBody>
            </p:sp>
          </p:grpSp>
          <p:grpSp>
            <p:nvGrpSpPr>
              <p:cNvPr id="135" name="Graphic 3">
                <a:extLst>
                  <a:ext uri="{FF2B5EF4-FFF2-40B4-BE49-F238E27FC236}">
                    <a16:creationId xmlns:a16="http://schemas.microsoft.com/office/drawing/2014/main" id="{C44BD06D-BFAE-41D3-9CB9-F5DDBC909A4A}"/>
                  </a:ext>
                </a:extLst>
              </p:cNvPr>
              <p:cNvGrpSpPr/>
              <p:nvPr/>
            </p:nvGrpSpPr>
            <p:grpSpPr>
              <a:xfrm>
                <a:off x="7337625" y="2042872"/>
                <a:ext cx="392979" cy="285900"/>
                <a:chOff x="7337625" y="2042872"/>
                <a:chExt cx="392979" cy="285900"/>
              </a:xfrm>
              <a:grpFill/>
            </p:grpSpPr>
            <p:sp>
              <p:nvSpPr>
                <p:cNvPr id="4973" name="Vrije vorm: vorm 4972">
                  <a:extLst>
                    <a:ext uri="{FF2B5EF4-FFF2-40B4-BE49-F238E27FC236}">
                      <a16:creationId xmlns:a16="http://schemas.microsoft.com/office/drawing/2014/main" id="{10009E1C-CECE-4C4C-926B-64C2C8778156}"/>
                    </a:ext>
                  </a:extLst>
                </p:cNvPr>
                <p:cNvSpPr/>
                <p:nvPr/>
              </p:nvSpPr>
              <p:spPr>
                <a:xfrm>
                  <a:off x="7345482" y="2050590"/>
                  <a:ext cx="377204" cy="270508"/>
                </a:xfrm>
                <a:custGeom>
                  <a:avLst/>
                  <a:gdLst>
                    <a:gd name="connsiteX0" fmla="*/ 377205 w 377204"/>
                    <a:gd name="connsiteY0" fmla="*/ 2452 h 270508"/>
                    <a:gd name="connsiteX1" fmla="*/ 1795 w 377204"/>
                    <a:gd name="connsiteY1" fmla="*/ 270508 h 270508"/>
                    <a:gd name="connsiteX2" fmla="*/ 0 w 377204"/>
                    <a:gd name="connsiteY2" fmla="*/ 267996 h 270508"/>
                    <a:gd name="connsiteX3" fmla="*/ 375410 w 377204"/>
                    <a:gd name="connsiteY3" fmla="*/ 0 h 270508"/>
                  </a:gdLst>
                  <a:ahLst/>
                  <a:cxnLst>
                    <a:cxn ang="0">
                      <a:pos x="connsiteX0" y="connsiteY0"/>
                    </a:cxn>
                    <a:cxn ang="0">
                      <a:pos x="connsiteX1" y="connsiteY1"/>
                    </a:cxn>
                    <a:cxn ang="0">
                      <a:pos x="connsiteX2" y="connsiteY2"/>
                    </a:cxn>
                    <a:cxn ang="0">
                      <a:pos x="connsiteX3" y="connsiteY3"/>
                    </a:cxn>
                  </a:cxnLst>
                  <a:rect l="l" t="t" r="r" b="b"/>
                  <a:pathLst>
                    <a:path w="377204" h="270508">
                      <a:moveTo>
                        <a:pt x="377205" y="2452"/>
                      </a:moveTo>
                      <a:lnTo>
                        <a:pt x="1795" y="270508"/>
                      </a:lnTo>
                      <a:lnTo>
                        <a:pt x="0" y="267996"/>
                      </a:lnTo>
                      <a:lnTo>
                        <a:pt x="375410" y="0"/>
                      </a:lnTo>
                      <a:close/>
                    </a:path>
                  </a:pathLst>
                </a:custGeom>
                <a:grpFill/>
                <a:ln w="5978" cap="flat">
                  <a:noFill/>
                  <a:prstDash val="solid"/>
                  <a:miter/>
                </a:ln>
              </p:spPr>
              <p:txBody>
                <a:bodyPr rtlCol="0" anchor="ctr"/>
                <a:lstStyle/>
                <a:p>
                  <a:endParaRPr lang="en-GB"/>
                </a:p>
              </p:txBody>
            </p:sp>
            <p:sp>
              <p:nvSpPr>
                <p:cNvPr id="4974" name="Vrije vorm: vorm 4973">
                  <a:extLst>
                    <a:ext uri="{FF2B5EF4-FFF2-40B4-BE49-F238E27FC236}">
                      <a16:creationId xmlns:a16="http://schemas.microsoft.com/office/drawing/2014/main" id="{24E55482-AB91-452F-98A9-E79E59AEE7BA}"/>
                    </a:ext>
                  </a:extLst>
                </p:cNvPr>
                <p:cNvSpPr/>
                <p:nvPr/>
              </p:nvSpPr>
              <p:spPr>
                <a:xfrm>
                  <a:off x="7337625" y="2310314"/>
                  <a:ext cx="18304" cy="18459"/>
                </a:xfrm>
                <a:custGeom>
                  <a:avLst/>
                  <a:gdLst>
                    <a:gd name="connsiteX0" fmla="*/ 14496 w 18304"/>
                    <a:gd name="connsiteY0" fmla="*/ 16765 h 18459"/>
                    <a:gd name="connsiteX1" fmla="*/ 1697 w 18304"/>
                    <a:gd name="connsiteY1" fmla="*/ 14552 h 18459"/>
                    <a:gd name="connsiteX2" fmla="*/ 3850 w 18304"/>
                    <a:gd name="connsiteY2" fmla="*/ 1694 h 18459"/>
                    <a:gd name="connsiteX3" fmla="*/ 16649 w 18304"/>
                    <a:gd name="connsiteY3" fmla="*/ 3907 h 18459"/>
                    <a:gd name="connsiteX4" fmla="*/ 14496 w 18304"/>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9">
                      <a:moveTo>
                        <a:pt x="14496" y="16765"/>
                      </a:moveTo>
                      <a:cubicBezTo>
                        <a:pt x="10370" y="19696"/>
                        <a:pt x="4628" y="18739"/>
                        <a:pt x="1697" y="14552"/>
                      </a:cubicBezTo>
                      <a:cubicBezTo>
                        <a:pt x="-1233" y="10426"/>
                        <a:pt x="-276" y="4625"/>
                        <a:pt x="3850" y="1694"/>
                      </a:cubicBezTo>
                      <a:cubicBezTo>
                        <a:pt x="7977" y="-1237"/>
                        <a:pt x="13719" y="-280"/>
                        <a:pt x="16649" y="3907"/>
                      </a:cubicBezTo>
                      <a:cubicBezTo>
                        <a:pt x="19520" y="8093"/>
                        <a:pt x="18563" y="13835"/>
                        <a:pt x="14496" y="16765"/>
                      </a:cubicBezTo>
                      <a:close/>
                    </a:path>
                  </a:pathLst>
                </a:custGeom>
                <a:grpFill/>
                <a:ln w="5978" cap="flat">
                  <a:noFill/>
                  <a:prstDash val="solid"/>
                  <a:miter/>
                </a:ln>
              </p:spPr>
              <p:txBody>
                <a:bodyPr rtlCol="0" anchor="ctr"/>
                <a:lstStyle/>
                <a:p>
                  <a:endParaRPr lang="en-GB"/>
                </a:p>
              </p:txBody>
            </p:sp>
            <p:sp>
              <p:nvSpPr>
                <p:cNvPr id="4975" name="Vrije vorm: vorm 4974">
                  <a:extLst>
                    <a:ext uri="{FF2B5EF4-FFF2-40B4-BE49-F238E27FC236}">
                      <a16:creationId xmlns:a16="http://schemas.microsoft.com/office/drawing/2014/main" id="{0D0E3D93-4340-41B4-8B3A-E51481F66953}"/>
                    </a:ext>
                  </a:extLst>
                </p:cNvPr>
                <p:cNvSpPr/>
                <p:nvPr/>
              </p:nvSpPr>
              <p:spPr>
                <a:xfrm>
                  <a:off x="7712257" y="2042872"/>
                  <a:ext cx="18346" cy="18426"/>
                </a:xfrm>
                <a:custGeom>
                  <a:avLst/>
                  <a:gdLst>
                    <a:gd name="connsiteX0" fmla="*/ 14496 w 18346"/>
                    <a:gd name="connsiteY0" fmla="*/ 16749 h 18426"/>
                    <a:gd name="connsiteX1" fmla="*/ 16649 w 18346"/>
                    <a:gd name="connsiteY1" fmla="*/ 3890 h 18426"/>
                    <a:gd name="connsiteX2" fmla="*/ 3850 w 18346"/>
                    <a:gd name="connsiteY2" fmla="*/ 1677 h 18426"/>
                    <a:gd name="connsiteX3" fmla="*/ 1697 w 18346"/>
                    <a:gd name="connsiteY3" fmla="*/ 14536 h 18426"/>
                    <a:gd name="connsiteX4" fmla="*/ 14496 w 18346"/>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6">
                      <a:moveTo>
                        <a:pt x="14496" y="16749"/>
                      </a:moveTo>
                      <a:cubicBezTo>
                        <a:pt x="18623" y="13818"/>
                        <a:pt x="19580" y="8077"/>
                        <a:pt x="16649" y="3890"/>
                      </a:cubicBezTo>
                      <a:cubicBezTo>
                        <a:pt x="13719" y="-236"/>
                        <a:pt x="7977" y="-1253"/>
                        <a:pt x="3850" y="1677"/>
                      </a:cubicBezTo>
                      <a:cubicBezTo>
                        <a:pt x="-276" y="4608"/>
                        <a:pt x="-1233" y="10349"/>
                        <a:pt x="1697" y="14536"/>
                      </a:cubicBezTo>
                      <a:cubicBezTo>
                        <a:pt x="4628" y="18663"/>
                        <a:pt x="10370" y="19679"/>
                        <a:pt x="14496" y="16749"/>
                      </a:cubicBezTo>
                      <a:close/>
                    </a:path>
                  </a:pathLst>
                </a:custGeom>
                <a:grpFill/>
                <a:ln w="5978" cap="flat">
                  <a:noFill/>
                  <a:prstDash val="solid"/>
                  <a:miter/>
                </a:ln>
              </p:spPr>
              <p:txBody>
                <a:bodyPr rtlCol="0" anchor="ctr"/>
                <a:lstStyle/>
                <a:p>
                  <a:endParaRPr lang="en-GB"/>
                </a:p>
              </p:txBody>
            </p:sp>
          </p:grpSp>
          <p:grpSp>
            <p:nvGrpSpPr>
              <p:cNvPr id="136" name="Graphic 3">
                <a:extLst>
                  <a:ext uri="{FF2B5EF4-FFF2-40B4-BE49-F238E27FC236}">
                    <a16:creationId xmlns:a16="http://schemas.microsoft.com/office/drawing/2014/main" id="{6025FC2E-0BA5-4EF2-8E7E-9ECC234B3243}"/>
                  </a:ext>
                </a:extLst>
              </p:cNvPr>
              <p:cNvGrpSpPr/>
              <p:nvPr/>
            </p:nvGrpSpPr>
            <p:grpSpPr>
              <a:xfrm>
                <a:off x="7738654" y="3385427"/>
                <a:ext cx="411475" cy="22668"/>
                <a:chOff x="7738654" y="3385427"/>
                <a:chExt cx="411475" cy="22668"/>
              </a:xfrm>
              <a:grpFill/>
            </p:grpSpPr>
            <p:sp>
              <p:nvSpPr>
                <p:cNvPr id="4970" name="Vrije vorm: vorm 4969">
                  <a:extLst>
                    <a:ext uri="{FF2B5EF4-FFF2-40B4-BE49-F238E27FC236}">
                      <a16:creationId xmlns:a16="http://schemas.microsoft.com/office/drawing/2014/main" id="{56B17517-5FF1-4FB0-9835-97DEDD0AD903}"/>
                    </a:ext>
                  </a:extLst>
                </p:cNvPr>
                <p:cNvSpPr/>
                <p:nvPr/>
              </p:nvSpPr>
              <p:spPr>
                <a:xfrm>
                  <a:off x="7747327" y="3393143"/>
                  <a:ext cx="394129" cy="7296"/>
                </a:xfrm>
                <a:custGeom>
                  <a:avLst/>
                  <a:gdLst>
                    <a:gd name="connsiteX0" fmla="*/ 394129 w 394129"/>
                    <a:gd name="connsiteY0" fmla="*/ 0 h 7296"/>
                    <a:gd name="connsiteX1" fmla="*/ 394129 w 394129"/>
                    <a:gd name="connsiteY1" fmla="*/ 3050 h 7296"/>
                    <a:gd name="connsiteX2" fmla="*/ 59 w 394129"/>
                    <a:gd name="connsiteY2" fmla="*/ 7296 h 7296"/>
                    <a:gd name="connsiteX3" fmla="*/ 0 w 394129"/>
                    <a:gd name="connsiteY3" fmla="*/ 4186 h 7296"/>
                  </a:gdLst>
                  <a:ahLst/>
                  <a:cxnLst>
                    <a:cxn ang="0">
                      <a:pos x="connsiteX0" y="connsiteY0"/>
                    </a:cxn>
                    <a:cxn ang="0">
                      <a:pos x="connsiteX1" y="connsiteY1"/>
                    </a:cxn>
                    <a:cxn ang="0">
                      <a:pos x="connsiteX2" y="connsiteY2"/>
                    </a:cxn>
                    <a:cxn ang="0">
                      <a:pos x="connsiteX3" y="connsiteY3"/>
                    </a:cxn>
                  </a:cxnLst>
                  <a:rect l="l" t="t" r="r" b="b"/>
                  <a:pathLst>
                    <a:path w="394129" h="7296">
                      <a:moveTo>
                        <a:pt x="394129" y="0"/>
                      </a:moveTo>
                      <a:lnTo>
                        <a:pt x="394129" y="3050"/>
                      </a:lnTo>
                      <a:lnTo>
                        <a:pt x="59" y="7296"/>
                      </a:lnTo>
                      <a:lnTo>
                        <a:pt x="0" y="4186"/>
                      </a:lnTo>
                      <a:close/>
                    </a:path>
                  </a:pathLst>
                </a:custGeom>
                <a:grpFill/>
                <a:ln w="5978" cap="flat">
                  <a:noFill/>
                  <a:prstDash val="solid"/>
                  <a:miter/>
                </a:ln>
              </p:spPr>
              <p:txBody>
                <a:bodyPr rtlCol="0" anchor="ctr"/>
                <a:lstStyle/>
                <a:p>
                  <a:endParaRPr lang="en-GB"/>
                </a:p>
              </p:txBody>
            </p:sp>
            <p:sp>
              <p:nvSpPr>
                <p:cNvPr id="4971" name="Vrije vorm: vorm 4970">
                  <a:extLst>
                    <a:ext uri="{FF2B5EF4-FFF2-40B4-BE49-F238E27FC236}">
                      <a16:creationId xmlns:a16="http://schemas.microsoft.com/office/drawing/2014/main" id="{A0D8DEA9-4FD2-4293-A158-1070EFD2F9C5}"/>
                    </a:ext>
                  </a:extLst>
                </p:cNvPr>
                <p:cNvSpPr/>
                <p:nvPr/>
              </p:nvSpPr>
              <p:spPr>
                <a:xfrm>
                  <a:off x="8131827" y="3385427"/>
                  <a:ext cx="18302" cy="18421"/>
                </a:xfrm>
                <a:custGeom>
                  <a:avLst/>
                  <a:gdLst>
                    <a:gd name="connsiteX0" fmla="*/ 9032 w 18302"/>
                    <a:gd name="connsiteY0" fmla="*/ 1 h 18421"/>
                    <a:gd name="connsiteX1" fmla="*/ 18302 w 18302"/>
                    <a:gd name="connsiteY1" fmla="*/ 9091 h 18421"/>
                    <a:gd name="connsiteX2" fmla="*/ 9271 w 18302"/>
                    <a:gd name="connsiteY2" fmla="*/ 18421 h 18421"/>
                    <a:gd name="connsiteX3" fmla="*/ 1 w 18302"/>
                    <a:gd name="connsiteY3" fmla="*/ 9331 h 18421"/>
                    <a:gd name="connsiteX4" fmla="*/ 9032 w 18302"/>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2" y="1"/>
                      </a:moveTo>
                      <a:cubicBezTo>
                        <a:pt x="14115" y="-59"/>
                        <a:pt x="18242" y="4008"/>
                        <a:pt x="18302" y="9091"/>
                      </a:cubicBezTo>
                      <a:cubicBezTo>
                        <a:pt x="18362" y="14175"/>
                        <a:pt x="14355" y="18362"/>
                        <a:pt x="9271" y="18421"/>
                      </a:cubicBezTo>
                      <a:cubicBezTo>
                        <a:pt x="4188" y="18481"/>
                        <a:pt x="61" y="14414"/>
                        <a:pt x="1" y="9331"/>
                      </a:cubicBezTo>
                      <a:cubicBezTo>
                        <a:pt x="-59" y="4247"/>
                        <a:pt x="3948" y="61"/>
                        <a:pt x="9032" y="1"/>
                      </a:cubicBezTo>
                      <a:close/>
                    </a:path>
                  </a:pathLst>
                </a:custGeom>
                <a:grpFill/>
                <a:ln w="5978" cap="flat">
                  <a:noFill/>
                  <a:prstDash val="solid"/>
                  <a:miter/>
                </a:ln>
              </p:spPr>
              <p:txBody>
                <a:bodyPr rtlCol="0" anchor="ctr"/>
                <a:lstStyle/>
                <a:p>
                  <a:endParaRPr lang="en-GB"/>
                </a:p>
              </p:txBody>
            </p:sp>
            <p:sp>
              <p:nvSpPr>
                <p:cNvPr id="4972" name="Vrije vorm: vorm 4971">
                  <a:extLst>
                    <a:ext uri="{FF2B5EF4-FFF2-40B4-BE49-F238E27FC236}">
                      <a16:creationId xmlns:a16="http://schemas.microsoft.com/office/drawing/2014/main" id="{E0EE8F17-9CB9-4622-8546-5EAF7B190F06}"/>
                    </a:ext>
                  </a:extLst>
                </p:cNvPr>
                <p:cNvSpPr/>
                <p:nvPr/>
              </p:nvSpPr>
              <p:spPr>
                <a:xfrm>
                  <a:off x="7738654" y="3389673"/>
                  <a:ext cx="18302" cy="18422"/>
                </a:xfrm>
                <a:custGeom>
                  <a:avLst/>
                  <a:gdLst>
                    <a:gd name="connsiteX0" fmla="*/ 9032 w 18302"/>
                    <a:gd name="connsiteY0" fmla="*/ 1 h 18422"/>
                    <a:gd name="connsiteX1" fmla="*/ 1 w 18302"/>
                    <a:gd name="connsiteY1" fmla="*/ 9331 h 18422"/>
                    <a:gd name="connsiteX2" fmla="*/ 9271 w 18302"/>
                    <a:gd name="connsiteY2" fmla="*/ 18421 h 18422"/>
                    <a:gd name="connsiteX3" fmla="*/ 18302 w 18302"/>
                    <a:gd name="connsiteY3" fmla="*/ 9091 h 18422"/>
                    <a:gd name="connsiteX4" fmla="*/ 9032 w 18302"/>
                    <a:gd name="connsiteY4" fmla="*/ 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2">
                      <a:moveTo>
                        <a:pt x="9032" y="1"/>
                      </a:moveTo>
                      <a:cubicBezTo>
                        <a:pt x="3948" y="61"/>
                        <a:pt x="-59" y="4247"/>
                        <a:pt x="1" y="9331"/>
                      </a:cubicBezTo>
                      <a:cubicBezTo>
                        <a:pt x="61" y="14414"/>
                        <a:pt x="4247" y="18481"/>
                        <a:pt x="9271" y="18421"/>
                      </a:cubicBezTo>
                      <a:cubicBezTo>
                        <a:pt x="14355" y="18362"/>
                        <a:pt x="18362" y="14175"/>
                        <a:pt x="18302" y="9091"/>
                      </a:cubicBezTo>
                      <a:cubicBezTo>
                        <a:pt x="18242" y="4008"/>
                        <a:pt x="14115" y="-59"/>
                        <a:pt x="9032" y="1"/>
                      </a:cubicBezTo>
                      <a:close/>
                    </a:path>
                  </a:pathLst>
                </a:custGeom>
                <a:grpFill/>
                <a:ln w="5978" cap="flat">
                  <a:noFill/>
                  <a:prstDash val="solid"/>
                  <a:miter/>
                </a:ln>
              </p:spPr>
              <p:txBody>
                <a:bodyPr rtlCol="0" anchor="ctr"/>
                <a:lstStyle/>
                <a:p>
                  <a:endParaRPr lang="en-GB"/>
                </a:p>
              </p:txBody>
            </p:sp>
          </p:grpSp>
          <p:grpSp>
            <p:nvGrpSpPr>
              <p:cNvPr id="137" name="Graphic 3">
                <a:extLst>
                  <a:ext uri="{FF2B5EF4-FFF2-40B4-BE49-F238E27FC236}">
                    <a16:creationId xmlns:a16="http://schemas.microsoft.com/office/drawing/2014/main" id="{96A1ACCA-8DA4-4DCC-9FE7-084104CF74C4}"/>
                  </a:ext>
                </a:extLst>
              </p:cNvPr>
              <p:cNvGrpSpPr/>
              <p:nvPr/>
            </p:nvGrpSpPr>
            <p:grpSpPr>
              <a:xfrm>
                <a:off x="7195332" y="1730137"/>
                <a:ext cx="502988" cy="472251"/>
                <a:chOff x="7195332" y="1730137"/>
                <a:chExt cx="502988" cy="472251"/>
              </a:xfrm>
              <a:grpFill/>
            </p:grpSpPr>
            <p:sp>
              <p:nvSpPr>
                <p:cNvPr id="4967" name="Vrije vorm: vorm 4966">
                  <a:extLst>
                    <a:ext uri="{FF2B5EF4-FFF2-40B4-BE49-F238E27FC236}">
                      <a16:creationId xmlns:a16="http://schemas.microsoft.com/office/drawing/2014/main" id="{3B97F2CF-67BD-449D-8C14-F606B6F87B08}"/>
                    </a:ext>
                  </a:extLst>
                </p:cNvPr>
                <p:cNvSpPr/>
                <p:nvPr/>
              </p:nvSpPr>
              <p:spPr>
                <a:xfrm>
                  <a:off x="7203141" y="1737918"/>
                  <a:ext cx="487369" cy="456687"/>
                </a:xfrm>
                <a:custGeom>
                  <a:avLst/>
                  <a:gdLst>
                    <a:gd name="connsiteX0" fmla="*/ 487370 w 487369"/>
                    <a:gd name="connsiteY0" fmla="*/ 2273 h 456687"/>
                    <a:gd name="connsiteX1" fmla="*/ 2094 w 487369"/>
                    <a:gd name="connsiteY1" fmla="*/ 456688 h 456687"/>
                    <a:gd name="connsiteX2" fmla="*/ 0 w 487369"/>
                    <a:gd name="connsiteY2" fmla="*/ 454475 h 456687"/>
                    <a:gd name="connsiteX3" fmla="*/ 485276 w 487369"/>
                    <a:gd name="connsiteY3" fmla="*/ 0 h 456687"/>
                  </a:gdLst>
                  <a:ahLst/>
                  <a:cxnLst>
                    <a:cxn ang="0">
                      <a:pos x="connsiteX0" y="connsiteY0"/>
                    </a:cxn>
                    <a:cxn ang="0">
                      <a:pos x="connsiteX1" y="connsiteY1"/>
                    </a:cxn>
                    <a:cxn ang="0">
                      <a:pos x="connsiteX2" y="connsiteY2"/>
                    </a:cxn>
                    <a:cxn ang="0">
                      <a:pos x="connsiteX3" y="connsiteY3"/>
                    </a:cxn>
                  </a:cxnLst>
                  <a:rect l="l" t="t" r="r" b="b"/>
                  <a:pathLst>
                    <a:path w="487369" h="456687">
                      <a:moveTo>
                        <a:pt x="487370" y="2273"/>
                      </a:moveTo>
                      <a:lnTo>
                        <a:pt x="2094" y="456688"/>
                      </a:lnTo>
                      <a:lnTo>
                        <a:pt x="0" y="454475"/>
                      </a:lnTo>
                      <a:lnTo>
                        <a:pt x="485276" y="0"/>
                      </a:lnTo>
                      <a:close/>
                    </a:path>
                  </a:pathLst>
                </a:custGeom>
                <a:grpFill/>
                <a:ln w="5978" cap="flat">
                  <a:noFill/>
                  <a:prstDash val="solid"/>
                  <a:miter/>
                </a:ln>
              </p:spPr>
              <p:txBody>
                <a:bodyPr rtlCol="0" anchor="ctr"/>
                <a:lstStyle/>
                <a:p>
                  <a:endParaRPr lang="en-GB"/>
                </a:p>
              </p:txBody>
            </p:sp>
            <p:sp>
              <p:nvSpPr>
                <p:cNvPr id="4968" name="Vrije vorm: vorm 4967">
                  <a:extLst>
                    <a:ext uri="{FF2B5EF4-FFF2-40B4-BE49-F238E27FC236}">
                      <a16:creationId xmlns:a16="http://schemas.microsoft.com/office/drawing/2014/main" id="{82FF5E50-8DFF-4639-8262-3D5B58116D12}"/>
                    </a:ext>
                  </a:extLst>
                </p:cNvPr>
                <p:cNvSpPr/>
                <p:nvPr/>
              </p:nvSpPr>
              <p:spPr>
                <a:xfrm>
                  <a:off x="7195332" y="2183954"/>
                  <a:ext cx="18370" cy="18434"/>
                </a:xfrm>
                <a:custGeom>
                  <a:avLst/>
                  <a:gdLst>
                    <a:gd name="connsiteX0" fmla="*/ 15465 w 18370"/>
                    <a:gd name="connsiteY0" fmla="*/ 15975 h 18434"/>
                    <a:gd name="connsiteX1" fmla="*/ 2487 w 18370"/>
                    <a:gd name="connsiteY1" fmla="*/ 15497 h 18434"/>
                    <a:gd name="connsiteX2" fmla="*/ 2905 w 18370"/>
                    <a:gd name="connsiteY2" fmla="*/ 2459 h 18434"/>
                    <a:gd name="connsiteX3" fmla="*/ 15884 w 18370"/>
                    <a:gd name="connsiteY3" fmla="*/ 2937 h 18434"/>
                    <a:gd name="connsiteX4" fmla="*/ 15465 w 18370"/>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4">
                      <a:moveTo>
                        <a:pt x="15465" y="15975"/>
                      </a:moveTo>
                      <a:cubicBezTo>
                        <a:pt x="11757" y="19444"/>
                        <a:pt x="5956" y="19205"/>
                        <a:pt x="2487" y="15497"/>
                      </a:cubicBezTo>
                      <a:cubicBezTo>
                        <a:pt x="-982" y="11789"/>
                        <a:pt x="-803" y="5928"/>
                        <a:pt x="2905" y="2459"/>
                      </a:cubicBezTo>
                      <a:cubicBezTo>
                        <a:pt x="6613" y="-1010"/>
                        <a:pt x="12414" y="-771"/>
                        <a:pt x="15884" y="2937"/>
                      </a:cubicBezTo>
                      <a:cubicBezTo>
                        <a:pt x="19352" y="6705"/>
                        <a:pt x="19173" y="12506"/>
                        <a:pt x="15465" y="15975"/>
                      </a:cubicBezTo>
                      <a:close/>
                    </a:path>
                  </a:pathLst>
                </a:custGeom>
                <a:grpFill/>
                <a:ln w="5978" cap="flat">
                  <a:noFill/>
                  <a:prstDash val="solid"/>
                  <a:miter/>
                </a:ln>
              </p:spPr>
              <p:txBody>
                <a:bodyPr rtlCol="0" anchor="ctr"/>
                <a:lstStyle/>
                <a:p>
                  <a:endParaRPr lang="en-GB"/>
                </a:p>
              </p:txBody>
            </p:sp>
            <p:sp>
              <p:nvSpPr>
                <p:cNvPr id="4969" name="Vrije vorm: vorm 4968">
                  <a:extLst>
                    <a:ext uri="{FF2B5EF4-FFF2-40B4-BE49-F238E27FC236}">
                      <a16:creationId xmlns:a16="http://schemas.microsoft.com/office/drawing/2014/main" id="{0ABAFCA1-E0BA-429B-A6C5-1E626F4E2C5B}"/>
                    </a:ext>
                  </a:extLst>
                </p:cNvPr>
                <p:cNvSpPr/>
                <p:nvPr/>
              </p:nvSpPr>
              <p:spPr>
                <a:xfrm>
                  <a:off x="7679950" y="1730137"/>
                  <a:ext cx="18370" cy="18434"/>
                </a:xfrm>
                <a:custGeom>
                  <a:avLst/>
                  <a:gdLst>
                    <a:gd name="connsiteX0" fmla="*/ 15465 w 18370"/>
                    <a:gd name="connsiteY0" fmla="*/ 15975 h 18434"/>
                    <a:gd name="connsiteX1" fmla="*/ 15883 w 18370"/>
                    <a:gd name="connsiteY1" fmla="*/ 2937 h 18434"/>
                    <a:gd name="connsiteX2" fmla="*/ 2905 w 18370"/>
                    <a:gd name="connsiteY2" fmla="*/ 2459 h 18434"/>
                    <a:gd name="connsiteX3" fmla="*/ 2486 w 18370"/>
                    <a:gd name="connsiteY3" fmla="*/ 15497 h 18434"/>
                    <a:gd name="connsiteX4" fmla="*/ 15465 w 18370"/>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4">
                      <a:moveTo>
                        <a:pt x="15465" y="15975"/>
                      </a:moveTo>
                      <a:cubicBezTo>
                        <a:pt x="19173" y="12506"/>
                        <a:pt x="19352" y="6705"/>
                        <a:pt x="15883" y="2937"/>
                      </a:cubicBezTo>
                      <a:cubicBezTo>
                        <a:pt x="12415" y="-771"/>
                        <a:pt x="6613" y="-1010"/>
                        <a:pt x="2905" y="2459"/>
                      </a:cubicBezTo>
                      <a:cubicBezTo>
                        <a:pt x="-803" y="5928"/>
                        <a:pt x="-982" y="11729"/>
                        <a:pt x="2486" y="15497"/>
                      </a:cubicBezTo>
                      <a:cubicBezTo>
                        <a:pt x="5956" y="19205"/>
                        <a:pt x="11757" y="19444"/>
                        <a:pt x="15465" y="15975"/>
                      </a:cubicBezTo>
                      <a:close/>
                    </a:path>
                  </a:pathLst>
                </a:custGeom>
                <a:grpFill/>
                <a:ln w="5978" cap="flat">
                  <a:noFill/>
                  <a:prstDash val="solid"/>
                  <a:miter/>
                </a:ln>
              </p:spPr>
              <p:txBody>
                <a:bodyPr rtlCol="0" anchor="ctr"/>
                <a:lstStyle/>
                <a:p>
                  <a:endParaRPr lang="en-GB"/>
                </a:p>
              </p:txBody>
            </p:sp>
          </p:grpSp>
          <p:grpSp>
            <p:nvGrpSpPr>
              <p:cNvPr id="138" name="Graphic 3">
                <a:extLst>
                  <a:ext uri="{FF2B5EF4-FFF2-40B4-BE49-F238E27FC236}">
                    <a16:creationId xmlns:a16="http://schemas.microsoft.com/office/drawing/2014/main" id="{844D0612-3949-4892-AE3E-9A92F841BEF0}"/>
                  </a:ext>
                </a:extLst>
              </p:cNvPr>
              <p:cNvGrpSpPr/>
              <p:nvPr/>
            </p:nvGrpSpPr>
            <p:grpSpPr>
              <a:xfrm>
                <a:off x="7502544" y="2197848"/>
                <a:ext cx="39648" cy="35919"/>
                <a:chOff x="7502544" y="2197848"/>
                <a:chExt cx="39648" cy="35919"/>
              </a:xfrm>
              <a:grpFill/>
            </p:grpSpPr>
            <p:sp>
              <p:nvSpPr>
                <p:cNvPr id="4964" name="Vrije vorm: vorm 4963">
                  <a:extLst>
                    <a:ext uri="{FF2B5EF4-FFF2-40B4-BE49-F238E27FC236}">
                      <a16:creationId xmlns:a16="http://schemas.microsoft.com/office/drawing/2014/main" id="{0DFA01FB-F224-48AA-B244-2E148D09AB7F}"/>
                    </a:ext>
                  </a:extLst>
                </p:cNvPr>
                <p:cNvSpPr/>
                <p:nvPr/>
              </p:nvSpPr>
              <p:spPr>
                <a:xfrm>
                  <a:off x="7510430" y="2205611"/>
                  <a:ext cx="23922" cy="20394"/>
                </a:xfrm>
                <a:custGeom>
                  <a:avLst/>
                  <a:gdLst>
                    <a:gd name="connsiteX0" fmla="*/ 23923 w 23922"/>
                    <a:gd name="connsiteY0" fmla="*/ 2392 h 20394"/>
                    <a:gd name="connsiteX1" fmla="*/ 1914 w 23922"/>
                    <a:gd name="connsiteY1" fmla="*/ 20394 h 20394"/>
                    <a:gd name="connsiteX2" fmla="*/ 0 w 23922"/>
                    <a:gd name="connsiteY2" fmla="*/ 18002 h 20394"/>
                    <a:gd name="connsiteX3" fmla="*/ 22009 w 23922"/>
                    <a:gd name="connsiteY3" fmla="*/ 0 h 20394"/>
                  </a:gdLst>
                  <a:ahLst/>
                  <a:cxnLst>
                    <a:cxn ang="0">
                      <a:pos x="connsiteX0" y="connsiteY0"/>
                    </a:cxn>
                    <a:cxn ang="0">
                      <a:pos x="connsiteX1" y="connsiteY1"/>
                    </a:cxn>
                    <a:cxn ang="0">
                      <a:pos x="connsiteX2" y="connsiteY2"/>
                    </a:cxn>
                    <a:cxn ang="0">
                      <a:pos x="connsiteX3" y="connsiteY3"/>
                    </a:cxn>
                  </a:cxnLst>
                  <a:rect l="l" t="t" r="r" b="b"/>
                  <a:pathLst>
                    <a:path w="23922" h="20394">
                      <a:moveTo>
                        <a:pt x="23923" y="2392"/>
                      </a:moveTo>
                      <a:lnTo>
                        <a:pt x="1914" y="20394"/>
                      </a:lnTo>
                      <a:lnTo>
                        <a:pt x="0" y="18002"/>
                      </a:lnTo>
                      <a:lnTo>
                        <a:pt x="22009" y="0"/>
                      </a:lnTo>
                      <a:close/>
                    </a:path>
                  </a:pathLst>
                </a:custGeom>
                <a:grpFill/>
                <a:ln w="5978" cap="flat">
                  <a:noFill/>
                  <a:prstDash val="solid"/>
                  <a:miter/>
                </a:ln>
              </p:spPr>
              <p:txBody>
                <a:bodyPr rtlCol="0" anchor="ctr"/>
                <a:lstStyle/>
                <a:p>
                  <a:endParaRPr lang="en-GB"/>
                </a:p>
              </p:txBody>
            </p:sp>
            <p:sp>
              <p:nvSpPr>
                <p:cNvPr id="4965" name="Vrije vorm: vorm 4964">
                  <a:extLst>
                    <a:ext uri="{FF2B5EF4-FFF2-40B4-BE49-F238E27FC236}">
                      <a16:creationId xmlns:a16="http://schemas.microsoft.com/office/drawing/2014/main" id="{A04FD5A2-A027-48E3-B3B0-D484C7950D63}"/>
                    </a:ext>
                  </a:extLst>
                </p:cNvPr>
                <p:cNvSpPr/>
                <p:nvPr/>
              </p:nvSpPr>
              <p:spPr>
                <a:xfrm>
                  <a:off x="7502544" y="2215316"/>
                  <a:ext cx="18346" cy="18451"/>
                </a:xfrm>
                <a:custGeom>
                  <a:avLst/>
                  <a:gdLst>
                    <a:gd name="connsiteX0" fmla="*/ 15004 w 18346"/>
                    <a:gd name="connsiteY0" fmla="*/ 16370 h 18451"/>
                    <a:gd name="connsiteX1" fmla="*/ 2086 w 18346"/>
                    <a:gd name="connsiteY1" fmla="*/ 15054 h 18451"/>
                    <a:gd name="connsiteX2" fmla="*/ 3342 w 18346"/>
                    <a:gd name="connsiteY2" fmla="*/ 2076 h 18451"/>
                    <a:gd name="connsiteX3" fmla="*/ 16260 w 18346"/>
                    <a:gd name="connsiteY3" fmla="*/ 3452 h 18451"/>
                    <a:gd name="connsiteX4" fmla="*/ 15004 w 18346"/>
                    <a:gd name="connsiteY4" fmla="*/ 16370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1">
                      <a:moveTo>
                        <a:pt x="15004" y="16370"/>
                      </a:moveTo>
                      <a:cubicBezTo>
                        <a:pt x="11117" y="19600"/>
                        <a:pt x="5316" y="19002"/>
                        <a:pt x="2086" y="15054"/>
                      </a:cubicBezTo>
                      <a:cubicBezTo>
                        <a:pt x="-1143" y="11107"/>
                        <a:pt x="-545" y="5306"/>
                        <a:pt x="3342" y="2076"/>
                      </a:cubicBezTo>
                      <a:cubicBezTo>
                        <a:pt x="7229" y="-1153"/>
                        <a:pt x="13031" y="-555"/>
                        <a:pt x="16260" y="3452"/>
                      </a:cubicBezTo>
                      <a:cubicBezTo>
                        <a:pt x="19490" y="7339"/>
                        <a:pt x="18892" y="13141"/>
                        <a:pt x="15004" y="16370"/>
                      </a:cubicBezTo>
                      <a:close/>
                    </a:path>
                  </a:pathLst>
                </a:custGeom>
                <a:grpFill/>
                <a:ln w="5978" cap="flat">
                  <a:noFill/>
                  <a:prstDash val="solid"/>
                  <a:miter/>
                </a:ln>
              </p:spPr>
              <p:txBody>
                <a:bodyPr rtlCol="0" anchor="ctr"/>
                <a:lstStyle/>
                <a:p>
                  <a:endParaRPr lang="en-GB"/>
                </a:p>
              </p:txBody>
            </p:sp>
            <p:sp>
              <p:nvSpPr>
                <p:cNvPr id="4966" name="Vrije vorm: vorm 4965">
                  <a:extLst>
                    <a:ext uri="{FF2B5EF4-FFF2-40B4-BE49-F238E27FC236}">
                      <a16:creationId xmlns:a16="http://schemas.microsoft.com/office/drawing/2014/main" id="{6ED1B3AE-0B50-4564-9AD7-9B024114B345}"/>
                    </a:ext>
                  </a:extLst>
                </p:cNvPr>
                <p:cNvSpPr/>
                <p:nvPr/>
              </p:nvSpPr>
              <p:spPr>
                <a:xfrm>
                  <a:off x="7523884" y="2197848"/>
                  <a:ext cx="18308" cy="18456"/>
                </a:xfrm>
                <a:custGeom>
                  <a:avLst/>
                  <a:gdLst>
                    <a:gd name="connsiteX0" fmla="*/ 14955 w 18308"/>
                    <a:gd name="connsiteY0" fmla="*/ 16375 h 18456"/>
                    <a:gd name="connsiteX1" fmla="*/ 16271 w 18308"/>
                    <a:gd name="connsiteY1" fmla="*/ 3397 h 18456"/>
                    <a:gd name="connsiteX2" fmla="*/ 3353 w 18308"/>
                    <a:gd name="connsiteY2" fmla="*/ 2081 h 18456"/>
                    <a:gd name="connsiteX3" fmla="*/ 2037 w 18308"/>
                    <a:gd name="connsiteY3" fmla="*/ 15059 h 18456"/>
                    <a:gd name="connsiteX4" fmla="*/ 14955 w 18308"/>
                    <a:gd name="connsiteY4" fmla="*/ 16375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6">
                      <a:moveTo>
                        <a:pt x="14955" y="16375"/>
                      </a:moveTo>
                      <a:cubicBezTo>
                        <a:pt x="18843" y="13145"/>
                        <a:pt x="19441" y="7344"/>
                        <a:pt x="16271" y="3397"/>
                      </a:cubicBezTo>
                      <a:cubicBezTo>
                        <a:pt x="13042" y="-550"/>
                        <a:pt x="7300" y="-1148"/>
                        <a:pt x="3353" y="2081"/>
                      </a:cubicBezTo>
                      <a:cubicBezTo>
                        <a:pt x="-535" y="5311"/>
                        <a:pt x="-1133" y="11112"/>
                        <a:pt x="2037" y="15059"/>
                      </a:cubicBezTo>
                      <a:cubicBezTo>
                        <a:pt x="5266" y="19007"/>
                        <a:pt x="11068" y="19605"/>
                        <a:pt x="14955" y="16375"/>
                      </a:cubicBezTo>
                      <a:close/>
                    </a:path>
                  </a:pathLst>
                </a:custGeom>
                <a:grpFill/>
                <a:ln w="5978" cap="flat">
                  <a:noFill/>
                  <a:prstDash val="solid"/>
                  <a:miter/>
                </a:ln>
              </p:spPr>
              <p:txBody>
                <a:bodyPr rtlCol="0" anchor="ctr"/>
                <a:lstStyle/>
                <a:p>
                  <a:endParaRPr lang="en-GB"/>
                </a:p>
              </p:txBody>
            </p:sp>
          </p:grpSp>
          <p:grpSp>
            <p:nvGrpSpPr>
              <p:cNvPr id="139" name="Graphic 3">
                <a:extLst>
                  <a:ext uri="{FF2B5EF4-FFF2-40B4-BE49-F238E27FC236}">
                    <a16:creationId xmlns:a16="http://schemas.microsoft.com/office/drawing/2014/main" id="{308FEA56-4554-4823-A14C-00B200D7F519}"/>
                  </a:ext>
                </a:extLst>
              </p:cNvPr>
              <p:cNvGrpSpPr/>
              <p:nvPr/>
            </p:nvGrpSpPr>
            <p:grpSpPr>
              <a:xfrm>
                <a:off x="7500353" y="2478242"/>
                <a:ext cx="269372" cy="121818"/>
                <a:chOff x="7500353" y="2478242"/>
                <a:chExt cx="269372" cy="121818"/>
              </a:xfrm>
              <a:grpFill/>
            </p:grpSpPr>
            <p:sp>
              <p:nvSpPr>
                <p:cNvPr id="4961" name="Vrije vorm: vorm 4960">
                  <a:extLst>
                    <a:ext uri="{FF2B5EF4-FFF2-40B4-BE49-F238E27FC236}">
                      <a16:creationId xmlns:a16="http://schemas.microsoft.com/office/drawing/2014/main" id="{0BF5EC0F-2CDA-4275-89B9-13D824596884}"/>
                    </a:ext>
                  </a:extLst>
                </p:cNvPr>
                <p:cNvSpPr/>
                <p:nvPr/>
              </p:nvSpPr>
              <p:spPr>
                <a:xfrm>
                  <a:off x="7508812" y="2486010"/>
                  <a:ext cx="253070" cy="106558"/>
                </a:xfrm>
                <a:custGeom>
                  <a:avLst/>
                  <a:gdLst>
                    <a:gd name="connsiteX0" fmla="*/ 0 w 253070"/>
                    <a:gd name="connsiteY0" fmla="*/ 103738 h 106558"/>
                    <a:gd name="connsiteX1" fmla="*/ 251909 w 253070"/>
                    <a:gd name="connsiteY1" fmla="*/ 0 h 106558"/>
                    <a:gd name="connsiteX2" fmla="*/ 253070 w 253070"/>
                    <a:gd name="connsiteY2" fmla="*/ 2820 h 106558"/>
                    <a:gd name="connsiteX3" fmla="*/ 1162 w 253070"/>
                    <a:gd name="connsiteY3" fmla="*/ 106559 h 106558"/>
                  </a:gdLst>
                  <a:ahLst/>
                  <a:cxnLst>
                    <a:cxn ang="0">
                      <a:pos x="connsiteX0" y="connsiteY0"/>
                    </a:cxn>
                    <a:cxn ang="0">
                      <a:pos x="connsiteX1" y="connsiteY1"/>
                    </a:cxn>
                    <a:cxn ang="0">
                      <a:pos x="connsiteX2" y="connsiteY2"/>
                    </a:cxn>
                    <a:cxn ang="0">
                      <a:pos x="connsiteX3" y="connsiteY3"/>
                    </a:cxn>
                  </a:cxnLst>
                  <a:rect l="l" t="t" r="r" b="b"/>
                  <a:pathLst>
                    <a:path w="253070" h="106558">
                      <a:moveTo>
                        <a:pt x="0" y="103738"/>
                      </a:moveTo>
                      <a:lnTo>
                        <a:pt x="251909" y="0"/>
                      </a:lnTo>
                      <a:lnTo>
                        <a:pt x="253070" y="2820"/>
                      </a:lnTo>
                      <a:lnTo>
                        <a:pt x="1162" y="106559"/>
                      </a:lnTo>
                      <a:close/>
                    </a:path>
                  </a:pathLst>
                </a:custGeom>
                <a:grpFill/>
                <a:ln w="5978" cap="flat">
                  <a:noFill/>
                  <a:prstDash val="solid"/>
                  <a:miter/>
                </a:ln>
              </p:spPr>
              <p:txBody>
                <a:bodyPr rtlCol="0" anchor="ctr"/>
                <a:lstStyle/>
                <a:p>
                  <a:endParaRPr lang="en-GB"/>
                </a:p>
              </p:txBody>
            </p:sp>
            <p:sp>
              <p:nvSpPr>
                <p:cNvPr id="4962" name="Vrije vorm: vorm 4961">
                  <a:extLst>
                    <a:ext uri="{FF2B5EF4-FFF2-40B4-BE49-F238E27FC236}">
                      <a16:creationId xmlns:a16="http://schemas.microsoft.com/office/drawing/2014/main" id="{C0EEC75F-7A76-436E-AF18-1E1865DDF7ED}"/>
                    </a:ext>
                  </a:extLst>
                </p:cNvPr>
                <p:cNvSpPr/>
                <p:nvPr/>
              </p:nvSpPr>
              <p:spPr>
                <a:xfrm>
                  <a:off x="7500353" y="2581657"/>
                  <a:ext cx="18334" cy="18403"/>
                </a:xfrm>
                <a:custGeom>
                  <a:avLst/>
                  <a:gdLst>
                    <a:gd name="connsiteX0" fmla="*/ 12649 w 18334"/>
                    <a:gd name="connsiteY0" fmla="*/ 17724 h 18403"/>
                    <a:gd name="connsiteX1" fmla="*/ 688 w 18334"/>
                    <a:gd name="connsiteY1" fmla="*/ 12701 h 18403"/>
                    <a:gd name="connsiteX2" fmla="*/ 5652 w 18334"/>
                    <a:gd name="connsiteY2" fmla="*/ 679 h 18403"/>
                    <a:gd name="connsiteX3" fmla="*/ 17613 w 18334"/>
                    <a:gd name="connsiteY3" fmla="*/ 5703 h 18403"/>
                    <a:gd name="connsiteX4" fmla="*/ 12649 w 18334"/>
                    <a:gd name="connsiteY4" fmla="*/ 17724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3">
                      <a:moveTo>
                        <a:pt x="12649" y="17724"/>
                      </a:moveTo>
                      <a:cubicBezTo>
                        <a:pt x="7984" y="19638"/>
                        <a:pt x="2602" y="17366"/>
                        <a:pt x="688" y="12701"/>
                      </a:cubicBezTo>
                      <a:cubicBezTo>
                        <a:pt x="-1225" y="7976"/>
                        <a:pt x="987" y="2593"/>
                        <a:pt x="5652" y="679"/>
                      </a:cubicBezTo>
                      <a:cubicBezTo>
                        <a:pt x="10317" y="-1235"/>
                        <a:pt x="15700" y="1038"/>
                        <a:pt x="17613" y="5703"/>
                      </a:cubicBezTo>
                      <a:cubicBezTo>
                        <a:pt x="19587" y="10428"/>
                        <a:pt x="17374" y="15811"/>
                        <a:pt x="12649" y="17724"/>
                      </a:cubicBezTo>
                      <a:close/>
                    </a:path>
                  </a:pathLst>
                </a:custGeom>
                <a:grpFill/>
                <a:ln w="5978" cap="flat">
                  <a:noFill/>
                  <a:prstDash val="solid"/>
                  <a:miter/>
                </a:ln>
              </p:spPr>
              <p:txBody>
                <a:bodyPr rtlCol="0" anchor="ctr"/>
                <a:lstStyle/>
                <a:p>
                  <a:endParaRPr lang="en-GB"/>
                </a:p>
              </p:txBody>
            </p:sp>
            <p:sp>
              <p:nvSpPr>
                <p:cNvPr id="4963" name="Vrije vorm: vorm 4962">
                  <a:extLst>
                    <a:ext uri="{FF2B5EF4-FFF2-40B4-BE49-F238E27FC236}">
                      <a16:creationId xmlns:a16="http://schemas.microsoft.com/office/drawing/2014/main" id="{AA6B400D-115E-4091-84FE-49F1E4F27B50}"/>
                    </a:ext>
                  </a:extLst>
                </p:cNvPr>
                <p:cNvSpPr/>
                <p:nvPr/>
              </p:nvSpPr>
              <p:spPr>
                <a:xfrm>
                  <a:off x="7751424" y="2478242"/>
                  <a:ext cx="18301" cy="18444"/>
                </a:xfrm>
                <a:custGeom>
                  <a:avLst/>
                  <a:gdLst>
                    <a:gd name="connsiteX0" fmla="*/ 12649 w 18301"/>
                    <a:gd name="connsiteY0" fmla="*/ 17732 h 18444"/>
                    <a:gd name="connsiteX1" fmla="*/ 17614 w 18301"/>
                    <a:gd name="connsiteY1" fmla="*/ 5711 h 18444"/>
                    <a:gd name="connsiteX2" fmla="*/ 5652 w 18301"/>
                    <a:gd name="connsiteY2" fmla="*/ 687 h 18444"/>
                    <a:gd name="connsiteX3" fmla="*/ 688 w 18301"/>
                    <a:gd name="connsiteY3" fmla="*/ 12709 h 18444"/>
                    <a:gd name="connsiteX4" fmla="*/ 12649 w 18301"/>
                    <a:gd name="connsiteY4" fmla="*/ 177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44">
                      <a:moveTo>
                        <a:pt x="12649" y="17732"/>
                      </a:moveTo>
                      <a:cubicBezTo>
                        <a:pt x="17315" y="15819"/>
                        <a:pt x="19527" y="10436"/>
                        <a:pt x="17614" y="5711"/>
                      </a:cubicBezTo>
                      <a:cubicBezTo>
                        <a:pt x="15700" y="986"/>
                        <a:pt x="10317" y="-1227"/>
                        <a:pt x="5652" y="687"/>
                      </a:cubicBezTo>
                      <a:cubicBezTo>
                        <a:pt x="987" y="2601"/>
                        <a:pt x="-1226" y="7984"/>
                        <a:pt x="688" y="12709"/>
                      </a:cubicBezTo>
                      <a:cubicBezTo>
                        <a:pt x="2602" y="17433"/>
                        <a:pt x="7984" y="19706"/>
                        <a:pt x="12649" y="17732"/>
                      </a:cubicBezTo>
                      <a:close/>
                    </a:path>
                  </a:pathLst>
                </a:custGeom>
                <a:grpFill/>
                <a:ln w="5978" cap="flat">
                  <a:noFill/>
                  <a:prstDash val="solid"/>
                  <a:miter/>
                </a:ln>
              </p:spPr>
              <p:txBody>
                <a:bodyPr rtlCol="0" anchor="ctr"/>
                <a:lstStyle/>
                <a:p>
                  <a:endParaRPr lang="en-GB"/>
                </a:p>
              </p:txBody>
            </p:sp>
          </p:grpSp>
          <p:grpSp>
            <p:nvGrpSpPr>
              <p:cNvPr id="140" name="Graphic 3">
                <a:extLst>
                  <a:ext uri="{FF2B5EF4-FFF2-40B4-BE49-F238E27FC236}">
                    <a16:creationId xmlns:a16="http://schemas.microsoft.com/office/drawing/2014/main" id="{142236E2-FA33-4E23-A900-3476FBB12FFC}"/>
                  </a:ext>
                </a:extLst>
              </p:cNvPr>
              <p:cNvGrpSpPr/>
              <p:nvPr/>
            </p:nvGrpSpPr>
            <p:grpSpPr>
              <a:xfrm>
                <a:off x="7732010" y="3485347"/>
                <a:ext cx="472309" cy="77906"/>
                <a:chOff x="7732010" y="3485347"/>
                <a:chExt cx="472309" cy="77906"/>
              </a:xfrm>
              <a:grpFill/>
            </p:grpSpPr>
            <p:sp>
              <p:nvSpPr>
                <p:cNvPr id="4958" name="Vrije vorm: vorm 4957">
                  <a:extLst>
                    <a:ext uri="{FF2B5EF4-FFF2-40B4-BE49-F238E27FC236}">
                      <a16:creationId xmlns:a16="http://schemas.microsoft.com/office/drawing/2014/main" id="{2DE7297F-70F1-4F23-8BAF-FAA6335A726C}"/>
                    </a:ext>
                  </a:extLst>
                </p:cNvPr>
                <p:cNvSpPr/>
                <p:nvPr/>
              </p:nvSpPr>
              <p:spPr>
                <a:xfrm>
                  <a:off x="7740509" y="3492961"/>
                  <a:ext cx="455312" cy="62677"/>
                </a:xfrm>
                <a:custGeom>
                  <a:avLst/>
                  <a:gdLst>
                    <a:gd name="connsiteX0" fmla="*/ 455312 w 455312"/>
                    <a:gd name="connsiteY0" fmla="*/ 59628 h 62677"/>
                    <a:gd name="connsiteX1" fmla="*/ 454893 w 455312"/>
                    <a:gd name="connsiteY1" fmla="*/ 62678 h 62677"/>
                    <a:gd name="connsiteX2" fmla="*/ 0 w 455312"/>
                    <a:gd name="connsiteY2" fmla="*/ 3050 h 62677"/>
                    <a:gd name="connsiteX3" fmla="*/ 418 w 455312"/>
                    <a:gd name="connsiteY3" fmla="*/ 0 h 62677"/>
                  </a:gdLst>
                  <a:ahLst/>
                  <a:cxnLst>
                    <a:cxn ang="0">
                      <a:pos x="connsiteX0" y="connsiteY0"/>
                    </a:cxn>
                    <a:cxn ang="0">
                      <a:pos x="connsiteX1" y="connsiteY1"/>
                    </a:cxn>
                    <a:cxn ang="0">
                      <a:pos x="connsiteX2" y="connsiteY2"/>
                    </a:cxn>
                    <a:cxn ang="0">
                      <a:pos x="connsiteX3" y="connsiteY3"/>
                    </a:cxn>
                  </a:cxnLst>
                  <a:rect l="l" t="t" r="r" b="b"/>
                  <a:pathLst>
                    <a:path w="455312" h="62677">
                      <a:moveTo>
                        <a:pt x="455312" y="59628"/>
                      </a:moveTo>
                      <a:lnTo>
                        <a:pt x="454893" y="62678"/>
                      </a:lnTo>
                      <a:lnTo>
                        <a:pt x="0" y="3050"/>
                      </a:lnTo>
                      <a:lnTo>
                        <a:pt x="418" y="0"/>
                      </a:lnTo>
                      <a:close/>
                    </a:path>
                  </a:pathLst>
                </a:custGeom>
                <a:grpFill/>
                <a:ln w="5978" cap="flat">
                  <a:noFill/>
                  <a:prstDash val="solid"/>
                  <a:miter/>
                </a:ln>
              </p:spPr>
              <p:txBody>
                <a:bodyPr rtlCol="0" anchor="ctr"/>
                <a:lstStyle/>
                <a:p>
                  <a:endParaRPr lang="en-GB"/>
                </a:p>
              </p:txBody>
            </p:sp>
            <p:sp>
              <p:nvSpPr>
                <p:cNvPr id="4959" name="Vrije vorm: vorm 4958">
                  <a:extLst>
                    <a:ext uri="{FF2B5EF4-FFF2-40B4-BE49-F238E27FC236}">
                      <a16:creationId xmlns:a16="http://schemas.microsoft.com/office/drawing/2014/main" id="{65F9CF9C-B1ED-4490-92AD-C61FEE8BEA76}"/>
                    </a:ext>
                  </a:extLst>
                </p:cNvPr>
                <p:cNvSpPr/>
                <p:nvPr/>
              </p:nvSpPr>
              <p:spPr>
                <a:xfrm>
                  <a:off x="7732010" y="3485347"/>
                  <a:ext cx="18313" cy="18444"/>
                </a:xfrm>
                <a:custGeom>
                  <a:avLst/>
                  <a:gdLst>
                    <a:gd name="connsiteX0" fmla="*/ 8020 w 18313"/>
                    <a:gd name="connsiteY0" fmla="*/ 18379 h 18444"/>
                    <a:gd name="connsiteX1" fmla="*/ 66 w 18313"/>
                    <a:gd name="connsiteY1" fmla="*/ 8032 h 18444"/>
                    <a:gd name="connsiteX2" fmla="*/ 10293 w 18313"/>
                    <a:gd name="connsiteY2" fmla="*/ 78 h 18444"/>
                    <a:gd name="connsiteX3" fmla="*/ 18248 w 18313"/>
                    <a:gd name="connsiteY3" fmla="*/ 10424 h 18444"/>
                    <a:gd name="connsiteX4" fmla="*/ 8020 w 18313"/>
                    <a:gd name="connsiteY4" fmla="*/ 1837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44">
                      <a:moveTo>
                        <a:pt x="8020" y="18379"/>
                      </a:moveTo>
                      <a:cubicBezTo>
                        <a:pt x="2997" y="17721"/>
                        <a:pt x="-532" y="13116"/>
                        <a:pt x="66" y="8032"/>
                      </a:cubicBezTo>
                      <a:cubicBezTo>
                        <a:pt x="724" y="3008"/>
                        <a:pt x="5269" y="-580"/>
                        <a:pt x="10293" y="78"/>
                      </a:cubicBezTo>
                      <a:cubicBezTo>
                        <a:pt x="15317" y="736"/>
                        <a:pt x="18846" y="5341"/>
                        <a:pt x="18248" y="10424"/>
                      </a:cubicBezTo>
                      <a:cubicBezTo>
                        <a:pt x="17590" y="15448"/>
                        <a:pt x="13044" y="18977"/>
                        <a:pt x="8020" y="18379"/>
                      </a:cubicBezTo>
                      <a:close/>
                    </a:path>
                  </a:pathLst>
                </a:custGeom>
                <a:grpFill/>
                <a:ln w="5978" cap="flat">
                  <a:noFill/>
                  <a:prstDash val="solid"/>
                  <a:miter/>
                </a:ln>
              </p:spPr>
              <p:txBody>
                <a:bodyPr rtlCol="0" anchor="ctr"/>
                <a:lstStyle/>
                <a:p>
                  <a:endParaRPr lang="en-GB"/>
                </a:p>
              </p:txBody>
            </p:sp>
            <p:sp>
              <p:nvSpPr>
                <p:cNvPr id="4960" name="Vrije vorm: vorm 4959">
                  <a:extLst>
                    <a:ext uri="{FF2B5EF4-FFF2-40B4-BE49-F238E27FC236}">
                      <a16:creationId xmlns:a16="http://schemas.microsoft.com/office/drawing/2014/main" id="{2D6891F5-3A31-4E3A-8124-228EEDBE34A6}"/>
                    </a:ext>
                  </a:extLst>
                </p:cNvPr>
                <p:cNvSpPr/>
                <p:nvPr/>
              </p:nvSpPr>
              <p:spPr>
                <a:xfrm>
                  <a:off x="8185995" y="3544795"/>
                  <a:ext cx="18324" cy="18458"/>
                </a:xfrm>
                <a:custGeom>
                  <a:avLst/>
                  <a:gdLst>
                    <a:gd name="connsiteX0" fmla="*/ 8032 w 18324"/>
                    <a:gd name="connsiteY0" fmla="*/ 18380 h 18458"/>
                    <a:gd name="connsiteX1" fmla="*/ 18259 w 18324"/>
                    <a:gd name="connsiteY1" fmla="*/ 10425 h 18458"/>
                    <a:gd name="connsiteX2" fmla="*/ 10305 w 18324"/>
                    <a:gd name="connsiteY2" fmla="*/ 79 h 18458"/>
                    <a:gd name="connsiteX3" fmla="*/ 78 w 18324"/>
                    <a:gd name="connsiteY3" fmla="*/ 8033 h 18458"/>
                    <a:gd name="connsiteX4" fmla="*/ 8032 w 18324"/>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8">
                      <a:moveTo>
                        <a:pt x="8032" y="18380"/>
                      </a:moveTo>
                      <a:cubicBezTo>
                        <a:pt x="13055" y="19038"/>
                        <a:pt x="17661" y="15509"/>
                        <a:pt x="18259" y="10425"/>
                      </a:cubicBezTo>
                      <a:cubicBezTo>
                        <a:pt x="18857" y="5342"/>
                        <a:pt x="15328" y="737"/>
                        <a:pt x="10305" y="79"/>
                      </a:cubicBezTo>
                      <a:cubicBezTo>
                        <a:pt x="5281" y="-579"/>
                        <a:pt x="676" y="2950"/>
                        <a:pt x="78" y="8033"/>
                      </a:cubicBezTo>
                      <a:cubicBezTo>
                        <a:pt x="-580" y="13117"/>
                        <a:pt x="3008" y="17722"/>
                        <a:pt x="8032" y="18380"/>
                      </a:cubicBezTo>
                      <a:close/>
                    </a:path>
                  </a:pathLst>
                </a:custGeom>
                <a:grpFill/>
                <a:ln w="5978" cap="flat">
                  <a:noFill/>
                  <a:prstDash val="solid"/>
                  <a:miter/>
                </a:ln>
              </p:spPr>
              <p:txBody>
                <a:bodyPr rtlCol="0" anchor="ctr"/>
                <a:lstStyle/>
                <a:p>
                  <a:endParaRPr lang="en-GB"/>
                </a:p>
              </p:txBody>
            </p:sp>
          </p:grpSp>
          <p:grpSp>
            <p:nvGrpSpPr>
              <p:cNvPr id="141" name="Graphic 3">
                <a:extLst>
                  <a:ext uri="{FF2B5EF4-FFF2-40B4-BE49-F238E27FC236}">
                    <a16:creationId xmlns:a16="http://schemas.microsoft.com/office/drawing/2014/main" id="{5F7D4A4E-AA57-4759-9281-FCA0A5AE6C6B}"/>
                  </a:ext>
                </a:extLst>
              </p:cNvPr>
              <p:cNvGrpSpPr/>
              <p:nvPr/>
            </p:nvGrpSpPr>
            <p:grpSpPr>
              <a:xfrm>
                <a:off x="7270545" y="1938237"/>
                <a:ext cx="395143" cy="322849"/>
                <a:chOff x="7270545" y="1938237"/>
                <a:chExt cx="395143" cy="322849"/>
              </a:xfrm>
              <a:grpFill/>
            </p:grpSpPr>
            <p:sp>
              <p:nvSpPr>
                <p:cNvPr id="4955" name="Vrije vorm: vorm 4954">
                  <a:extLst>
                    <a:ext uri="{FF2B5EF4-FFF2-40B4-BE49-F238E27FC236}">
                      <a16:creationId xmlns:a16="http://schemas.microsoft.com/office/drawing/2014/main" id="{5AECB5D9-5990-4359-A9DC-ED22AD5EA390}"/>
                    </a:ext>
                  </a:extLst>
                </p:cNvPr>
                <p:cNvSpPr/>
                <p:nvPr/>
              </p:nvSpPr>
              <p:spPr>
                <a:xfrm>
                  <a:off x="7278439" y="1945987"/>
                  <a:ext cx="379416" cy="307409"/>
                </a:xfrm>
                <a:custGeom>
                  <a:avLst/>
                  <a:gdLst>
                    <a:gd name="connsiteX0" fmla="*/ 379417 w 379416"/>
                    <a:gd name="connsiteY0" fmla="*/ 2392 h 307409"/>
                    <a:gd name="connsiteX1" fmla="*/ 1914 w 379416"/>
                    <a:gd name="connsiteY1" fmla="*/ 307409 h 307409"/>
                    <a:gd name="connsiteX2" fmla="*/ 0 w 379416"/>
                    <a:gd name="connsiteY2" fmla="*/ 305017 h 307409"/>
                    <a:gd name="connsiteX3" fmla="*/ 377503 w 379416"/>
                    <a:gd name="connsiteY3" fmla="*/ 0 h 307409"/>
                  </a:gdLst>
                  <a:ahLst/>
                  <a:cxnLst>
                    <a:cxn ang="0">
                      <a:pos x="connsiteX0" y="connsiteY0"/>
                    </a:cxn>
                    <a:cxn ang="0">
                      <a:pos x="connsiteX1" y="connsiteY1"/>
                    </a:cxn>
                    <a:cxn ang="0">
                      <a:pos x="connsiteX2" y="connsiteY2"/>
                    </a:cxn>
                    <a:cxn ang="0">
                      <a:pos x="connsiteX3" y="connsiteY3"/>
                    </a:cxn>
                  </a:cxnLst>
                  <a:rect l="l" t="t" r="r" b="b"/>
                  <a:pathLst>
                    <a:path w="379416" h="307409">
                      <a:moveTo>
                        <a:pt x="379417" y="2392"/>
                      </a:moveTo>
                      <a:lnTo>
                        <a:pt x="1914" y="307409"/>
                      </a:lnTo>
                      <a:lnTo>
                        <a:pt x="0" y="305017"/>
                      </a:lnTo>
                      <a:lnTo>
                        <a:pt x="377503" y="0"/>
                      </a:lnTo>
                      <a:close/>
                    </a:path>
                  </a:pathLst>
                </a:custGeom>
                <a:grpFill/>
                <a:ln w="5978" cap="flat">
                  <a:noFill/>
                  <a:prstDash val="solid"/>
                  <a:miter/>
                </a:ln>
              </p:spPr>
              <p:txBody>
                <a:bodyPr rtlCol="0" anchor="ctr"/>
                <a:lstStyle/>
                <a:p>
                  <a:endParaRPr lang="en-GB"/>
                </a:p>
              </p:txBody>
            </p:sp>
            <p:sp>
              <p:nvSpPr>
                <p:cNvPr id="4956" name="Vrije vorm: vorm 4955">
                  <a:extLst>
                    <a:ext uri="{FF2B5EF4-FFF2-40B4-BE49-F238E27FC236}">
                      <a16:creationId xmlns:a16="http://schemas.microsoft.com/office/drawing/2014/main" id="{C720CB43-0D3D-4842-95C3-587D74BADCA6}"/>
                    </a:ext>
                  </a:extLst>
                </p:cNvPr>
                <p:cNvSpPr/>
                <p:nvPr/>
              </p:nvSpPr>
              <p:spPr>
                <a:xfrm>
                  <a:off x="7270545" y="2242637"/>
                  <a:ext cx="18358" cy="18449"/>
                </a:xfrm>
                <a:custGeom>
                  <a:avLst/>
                  <a:gdLst>
                    <a:gd name="connsiteX0" fmla="*/ 14950 w 18358"/>
                    <a:gd name="connsiteY0" fmla="*/ 16441 h 18449"/>
                    <a:gd name="connsiteX1" fmla="*/ 2032 w 18358"/>
                    <a:gd name="connsiteY1" fmla="*/ 15006 h 18449"/>
                    <a:gd name="connsiteX2" fmla="*/ 3408 w 18358"/>
                    <a:gd name="connsiteY2" fmla="*/ 2028 h 18449"/>
                    <a:gd name="connsiteX3" fmla="*/ 16326 w 18358"/>
                    <a:gd name="connsiteY3" fmla="*/ 3463 h 18449"/>
                    <a:gd name="connsiteX4" fmla="*/ 14950 w 18358"/>
                    <a:gd name="connsiteY4" fmla="*/ 16441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9">
                      <a:moveTo>
                        <a:pt x="14950" y="16441"/>
                      </a:moveTo>
                      <a:cubicBezTo>
                        <a:pt x="11004" y="19611"/>
                        <a:pt x="5262" y="18953"/>
                        <a:pt x="2032" y="15006"/>
                      </a:cubicBezTo>
                      <a:cubicBezTo>
                        <a:pt x="-1137" y="11058"/>
                        <a:pt x="-540" y="5257"/>
                        <a:pt x="3408" y="2028"/>
                      </a:cubicBezTo>
                      <a:cubicBezTo>
                        <a:pt x="7355" y="-1142"/>
                        <a:pt x="13097" y="-544"/>
                        <a:pt x="16326" y="3463"/>
                      </a:cubicBezTo>
                      <a:cubicBezTo>
                        <a:pt x="19496" y="7470"/>
                        <a:pt x="18898" y="13271"/>
                        <a:pt x="14950" y="16441"/>
                      </a:cubicBezTo>
                      <a:close/>
                    </a:path>
                  </a:pathLst>
                </a:custGeom>
                <a:grpFill/>
                <a:ln w="5978" cap="flat">
                  <a:noFill/>
                  <a:prstDash val="solid"/>
                  <a:miter/>
                </a:ln>
              </p:spPr>
              <p:txBody>
                <a:bodyPr rtlCol="0" anchor="ctr"/>
                <a:lstStyle/>
                <a:p>
                  <a:endParaRPr lang="en-GB"/>
                </a:p>
              </p:txBody>
            </p:sp>
            <p:sp>
              <p:nvSpPr>
                <p:cNvPr id="4957" name="Vrije vorm: vorm 4956">
                  <a:extLst>
                    <a:ext uri="{FF2B5EF4-FFF2-40B4-BE49-F238E27FC236}">
                      <a16:creationId xmlns:a16="http://schemas.microsoft.com/office/drawing/2014/main" id="{CCA54C70-D8D8-4397-AA61-E48A9F9B859A}"/>
                    </a:ext>
                  </a:extLst>
                </p:cNvPr>
                <p:cNvSpPr/>
                <p:nvPr/>
              </p:nvSpPr>
              <p:spPr>
                <a:xfrm>
                  <a:off x="7647331" y="1938237"/>
                  <a:ext cx="18358" cy="18430"/>
                </a:xfrm>
                <a:custGeom>
                  <a:avLst/>
                  <a:gdLst>
                    <a:gd name="connsiteX0" fmla="*/ 14950 w 18358"/>
                    <a:gd name="connsiteY0" fmla="*/ 16422 h 18430"/>
                    <a:gd name="connsiteX1" fmla="*/ 16326 w 18358"/>
                    <a:gd name="connsiteY1" fmla="*/ 3444 h 18430"/>
                    <a:gd name="connsiteX2" fmla="*/ 3408 w 18358"/>
                    <a:gd name="connsiteY2" fmla="*/ 2009 h 18430"/>
                    <a:gd name="connsiteX3" fmla="*/ 2032 w 18358"/>
                    <a:gd name="connsiteY3" fmla="*/ 14987 h 18430"/>
                    <a:gd name="connsiteX4" fmla="*/ 14950 w 18358"/>
                    <a:gd name="connsiteY4" fmla="*/ 1642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30">
                      <a:moveTo>
                        <a:pt x="14950" y="16422"/>
                      </a:moveTo>
                      <a:cubicBezTo>
                        <a:pt x="18898" y="13252"/>
                        <a:pt x="19496" y="7451"/>
                        <a:pt x="16326" y="3444"/>
                      </a:cubicBezTo>
                      <a:cubicBezTo>
                        <a:pt x="13157" y="-503"/>
                        <a:pt x="7355" y="-1161"/>
                        <a:pt x="3408" y="2009"/>
                      </a:cubicBezTo>
                      <a:cubicBezTo>
                        <a:pt x="-540" y="5178"/>
                        <a:pt x="-1137" y="10980"/>
                        <a:pt x="2032" y="14987"/>
                      </a:cubicBezTo>
                      <a:cubicBezTo>
                        <a:pt x="5262" y="18934"/>
                        <a:pt x="11063" y="19592"/>
                        <a:pt x="14950" y="16422"/>
                      </a:cubicBezTo>
                      <a:close/>
                    </a:path>
                  </a:pathLst>
                </a:custGeom>
                <a:grpFill/>
                <a:ln w="5978" cap="flat">
                  <a:noFill/>
                  <a:prstDash val="solid"/>
                  <a:miter/>
                </a:ln>
              </p:spPr>
              <p:txBody>
                <a:bodyPr rtlCol="0" anchor="ctr"/>
                <a:lstStyle/>
                <a:p>
                  <a:endParaRPr lang="en-GB"/>
                </a:p>
              </p:txBody>
            </p:sp>
          </p:grpSp>
          <p:grpSp>
            <p:nvGrpSpPr>
              <p:cNvPr id="142" name="Graphic 3">
                <a:extLst>
                  <a:ext uri="{FF2B5EF4-FFF2-40B4-BE49-F238E27FC236}">
                    <a16:creationId xmlns:a16="http://schemas.microsoft.com/office/drawing/2014/main" id="{7B68FC39-B777-4AC7-A1C0-CDF67293FD36}"/>
                  </a:ext>
                </a:extLst>
              </p:cNvPr>
              <p:cNvGrpSpPr/>
              <p:nvPr/>
            </p:nvGrpSpPr>
            <p:grpSpPr>
              <a:xfrm>
                <a:off x="7721502" y="3514290"/>
                <a:ext cx="473516" cy="88524"/>
                <a:chOff x="7721502" y="3514290"/>
                <a:chExt cx="473516" cy="88524"/>
              </a:xfrm>
              <a:grpFill/>
            </p:grpSpPr>
            <p:sp>
              <p:nvSpPr>
                <p:cNvPr id="4952" name="Vrije vorm: vorm 4951">
                  <a:extLst>
                    <a:ext uri="{FF2B5EF4-FFF2-40B4-BE49-F238E27FC236}">
                      <a16:creationId xmlns:a16="http://schemas.microsoft.com/office/drawing/2014/main" id="{698232A2-B2E9-4E3A-9A1D-8DFFDC0DF7B8}"/>
                    </a:ext>
                  </a:extLst>
                </p:cNvPr>
                <p:cNvSpPr/>
                <p:nvPr/>
              </p:nvSpPr>
              <p:spPr>
                <a:xfrm>
                  <a:off x="7732674" y="3524180"/>
                  <a:ext cx="453877" cy="70991"/>
                </a:xfrm>
                <a:custGeom>
                  <a:avLst/>
                  <a:gdLst>
                    <a:gd name="connsiteX0" fmla="*/ 453877 w 453877"/>
                    <a:gd name="connsiteY0" fmla="*/ 67941 h 70991"/>
                    <a:gd name="connsiteX1" fmla="*/ 453399 w 453877"/>
                    <a:gd name="connsiteY1" fmla="*/ 70991 h 70991"/>
                    <a:gd name="connsiteX2" fmla="*/ 0 w 453877"/>
                    <a:gd name="connsiteY2" fmla="*/ 2990 h 70991"/>
                    <a:gd name="connsiteX3" fmla="*/ 419 w 453877"/>
                    <a:gd name="connsiteY3" fmla="*/ 0 h 70991"/>
                  </a:gdLst>
                  <a:ahLst/>
                  <a:cxnLst>
                    <a:cxn ang="0">
                      <a:pos x="connsiteX0" y="connsiteY0"/>
                    </a:cxn>
                    <a:cxn ang="0">
                      <a:pos x="connsiteX1" y="connsiteY1"/>
                    </a:cxn>
                    <a:cxn ang="0">
                      <a:pos x="connsiteX2" y="connsiteY2"/>
                    </a:cxn>
                    <a:cxn ang="0">
                      <a:pos x="connsiteX3" y="connsiteY3"/>
                    </a:cxn>
                  </a:cxnLst>
                  <a:rect l="l" t="t" r="r" b="b"/>
                  <a:pathLst>
                    <a:path w="453877" h="70991">
                      <a:moveTo>
                        <a:pt x="453877" y="67941"/>
                      </a:moveTo>
                      <a:lnTo>
                        <a:pt x="453399" y="70991"/>
                      </a:lnTo>
                      <a:lnTo>
                        <a:pt x="0" y="2990"/>
                      </a:lnTo>
                      <a:lnTo>
                        <a:pt x="419" y="0"/>
                      </a:lnTo>
                      <a:close/>
                    </a:path>
                  </a:pathLst>
                </a:custGeom>
                <a:grpFill/>
                <a:ln w="5978" cap="flat">
                  <a:noFill/>
                  <a:prstDash val="solid"/>
                  <a:miter/>
                </a:ln>
              </p:spPr>
              <p:txBody>
                <a:bodyPr rtlCol="0" anchor="ctr"/>
                <a:lstStyle/>
                <a:p>
                  <a:endParaRPr lang="en-GB"/>
                </a:p>
              </p:txBody>
            </p:sp>
            <p:sp>
              <p:nvSpPr>
                <p:cNvPr id="4953" name="Vrije vorm: vorm 4952">
                  <a:extLst>
                    <a:ext uri="{FF2B5EF4-FFF2-40B4-BE49-F238E27FC236}">
                      <a16:creationId xmlns:a16="http://schemas.microsoft.com/office/drawing/2014/main" id="{CD312085-A7CA-4731-AEF4-E06E26870131}"/>
                    </a:ext>
                  </a:extLst>
                </p:cNvPr>
                <p:cNvSpPr/>
                <p:nvPr/>
              </p:nvSpPr>
              <p:spPr>
                <a:xfrm>
                  <a:off x="7721502" y="3514290"/>
                  <a:ext cx="23109" cy="23185"/>
                </a:xfrm>
                <a:custGeom>
                  <a:avLst/>
                  <a:gdLst>
                    <a:gd name="connsiteX0" fmla="*/ 20254 w 23109"/>
                    <a:gd name="connsiteY0" fmla="*/ 8756 h 23185"/>
                    <a:gd name="connsiteX1" fmla="*/ 14410 w 23109"/>
                    <a:gd name="connsiteY1" fmla="*/ 20349 h 23185"/>
                    <a:gd name="connsiteX2" fmla="*/ 2855 w 23109"/>
                    <a:gd name="connsiteY2" fmla="*/ 14430 h 23185"/>
                    <a:gd name="connsiteX3" fmla="*/ 8699 w 23109"/>
                    <a:gd name="connsiteY3" fmla="*/ 2837 h 23185"/>
                    <a:gd name="connsiteX4" fmla="*/ 20254 w 23109"/>
                    <a:gd name="connsiteY4" fmla="*/ 8756 h 23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09" h="23185">
                      <a:moveTo>
                        <a:pt x="20254" y="8756"/>
                      </a:moveTo>
                      <a:cubicBezTo>
                        <a:pt x="21831" y="13592"/>
                        <a:pt x="19214" y="18783"/>
                        <a:pt x="14410" y="20349"/>
                      </a:cubicBezTo>
                      <a:cubicBezTo>
                        <a:pt x="9605" y="21916"/>
                        <a:pt x="4432" y="19266"/>
                        <a:pt x="2855" y="14430"/>
                      </a:cubicBezTo>
                      <a:cubicBezTo>
                        <a:pt x="1278" y="9594"/>
                        <a:pt x="3895" y="4403"/>
                        <a:pt x="8699" y="2837"/>
                      </a:cubicBezTo>
                      <a:cubicBezTo>
                        <a:pt x="13504" y="1270"/>
                        <a:pt x="18677" y="3920"/>
                        <a:pt x="20254" y="8756"/>
                      </a:cubicBezTo>
                      <a:close/>
                    </a:path>
                  </a:pathLst>
                </a:custGeom>
                <a:grpFill/>
                <a:ln w="5978" cap="flat">
                  <a:noFill/>
                  <a:prstDash val="solid"/>
                  <a:miter/>
                </a:ln>
              </p:spPr>
              <p:txBody>
                <a:bodyPr rtlCol="0" anchor="ctr"/>
                <a:lstStyle/>
                <a:p>
                  <a:endParaRPr lang="en-GB"/>
                </a:p>
              </p:txBody>
            </p:sp>
            <p:sp>
              <p:nvSpPr>
                <p:cNvPr id="4954" name="Vrije vorm: vorm 4953">
                  <a:extLst>
                    <a:ext uri="{FF2B5EF4-FFF2-40B4-BE49-F238E27FC236}">
                      <a16:creationId xmlns:a16="http://schemas.microsoft.com/office/drawing/2014/main" id="{D3DA6924-2CB2-44EA-A5FA-001967ACC590}"/>
                    </a:ext>
                  </a:extLst>
                </p:cNvPr>
                <p:cNvSpPr/>
                <p:nvPr/>
              </p:nvSpPr>
              <p:spPr>
                <a:xfrm>
                  <a:off x="8176650" y="3584358"/>
                  <a:ext cx="18368" cy="18456"/>
                </a:xfrm>
                <a:custGeom>
                  <a:avLst/>
                  <a:gdLst>
                    <a:gd name="connsiteX0" fmla="*/ 7868 w 18368"/>
                    <a:gd name="connsiteY0" fmla="*/ 18349 h 18456"/>
                    <a:gd name="connsiteX1" fmla="*/ 18274 w 18368"/>
                    <a:gd name="connsiteY1" fmla="*/ 10574 h 18456"/>
                    <a:gd name="connsiteX2" fmla="*/ 10499 w 18368"/>
                    <a:gd name="connsiteY2" fmla="*/ 107 h 18456"/>
                    <a:gd name="connsiteX3" fmla="*/ 93 w 18368"/>
                    <a:gd name="connsiteY3" fmla="*/ 7882 h 18456"/>
                    <a:gd name="connsiteX4" fmla="*/ 7868 w 18368"/>
                    <a:gd name="connsiteY4" fmla="*/ 1834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56">
                      <a:moveTo>
                        <a:pt x="7868" y="18349"/>
                      </a:moveTo>
                      <a:cubicBezTo>
                        <a:pt x="12892" y="19126"/>
                        <a:pt x="17497" y="15598"/>
                        <a:pt x="18274" y="10574"/>
                      </a:cubicBezTo>
                      <a:cubicBezTo>
                        <a:pt x="18992" y="5550"/>
                        <a:pt x="15523" y="825"/>
                        <a:pt x="10499" y="107"/>
                      </a:cubicBezTo>
                      <a:cubicBezTo>
                        <a:pt x="5476" y="-670"/>
                        <a:pt x="870" y="2859"/>
                        <a:pt x="93" y="7882"/>
                      </a:cubicBezTo>
                      <a:cubicBezTo>
                        <a:pt x="-625" y="12906"/>
                        <a:pt x="2904" y="17571"/>
                        <a:pt x="7868" y="18349"/>
                      </a:cubicBezTo>
                      <a:close/>
                    </a:path>
                  </a:pathLst>
                </a:custGeom>
                <a:grpFill/>
                <a:ln w="5978" cap="flat">
                  <a:noFill/>
                  <a:prstDash val="solid"/>
                  <a:miter/>
                </a:ln>
              </p:spPr>
              <p:txBody>
                <a:bodyPr rtlCol="0" anchor="ctr"/>
                <a:lstStyle/>
                <a:p>
                  <a:endParaRPr lang="en-GB"/>
                </a:p>
              </p:txBody>
            </p:sp>
          </p:grpSp>
          <p:grpSp>
            <p:nvGrpSpPr>
              <p:cNvPr id="143" name="Graphic 3">
                <a:extLst>
                  <a:ext uri="{FF2B5EF4-FFF2-40B4-BE49-F238E27FC236}">
                    <a16:creationId xmlns:a16="http://schemas.microsoft.com/office/drawing/2014/main" id="{7796EFBC-E0CC-4B89-AB07-9F3CDC3B0609}"/>
                  </a:ext>
                </a:extLst>
              </p:cNvPr>
              <p:cNvGrpSpPr/>
              <p:nvPr/>
            </p:nvGrpSpPr>
            <p:grpSpPr>
              <a:xfrm>
                <a:off x="7661218" y="2675481"/>
                <a:ext cx="27783" cy="22710"/>
                <a:chOff x="7661218" y="2675481"/>
                <a:chExt cx="27783" cy="22710"/>
              </a:xfrm>
              <a:grpFill/>
            </p:grpSpPr>
            <p:sp>
              <p:nvSpPr>
                <p:cNvPr id="4949" name="Vrije vorm: vorm 4948">
                  <a:extLst>
                    <a:ext uri="{FF2B5EF4-FFF2-40B4-BE49-F238E27FC236}">
                      <a16:creationId xmlns:a16="http://schemas.microsoft.com/office/drawing/2014/main" id="{513C4992-C339-4EA1-9026-838F74C1B0E4}"/>
                    </a:ext>
                  </a:extLst>
                </p:cNvPr>
                <p:cNvSpPr/>
                <p:nvPr/>
              </p:nvSpPr>
              <p:spPr>
                <a:xfrm>
                  <a:off x="7669339" y="2683111"/>
                  <a:ext cx="11542" cy="7416"/>
                </a:xfrm>
                <a:custGeom>
                  <a:avLst/>
                  <a:gdLst>
                    <a:gd name="connsiteX0" fmla="*/ 11542 w 11542"/>
                    <a:gd name="connsiteY0" fmla="*/ 2811 h 7416"/>
                    <a:gd name="connsiteX1" fmla="*/ 1256 w 11542"/>
                    <a:gd name="connsiteY1" fmla="*/ 7416 h 7416"/>
                    <a:gd name="connsiteX2" fmla="*/ 0 w 11542"/>
                    <a:gd name="connsiteY2" fmla="*/ 4665 h 7416"/>
                    <a:gd name="connsiteX3" fmla="*/ 10287 w 11542"/>
                    <a:gd name="connsiteY3" fmla="*/ 0 h 7416"/>
                  </a:gdLst>
                  <a:ahLst/>
                  <a:cxnLst>
                    <a:cxn ang="0">
                      <a:pos x="connsiteX0" y="connsiteY0"/>
                    </a:cxn>
                    <a:cxn ang="0">
                      <a:pos x="connsiteX1" y="connsiteY1"/>
                    </a:cxn>
                    <a:cxn ang="0">
                      <a:pos x="connsiteX2" y="connsiteY2"/>
                    </a:cxn>
                    <a:cxn ang="0">
                      <a:pos x="connsiteX3" y="connsiteY3"/>
                    </a:cxn>
                  </a:cxnLst>
                  <a:rect l="l" t="t" r="r" b="b"/>
                  <a:pathLst>
                    <a:path w="11542" h="7416">
                      <a:moveTo>
                        <a:pt x="11542" y="2811"/>
                      </a:moveTo>
                      <a:lnTo>
                        <a:pt x="1256" y="7416"/>
                      </a:lnTo>
                      <a:lnTo>
                        <a:pt x="0" y="4665"/>
                      </a:lnTo>
                      <a:lnTo>
                        <a:pt x="10287" y="0"/>
                      </a:lnTo>
                      <a:close/>
                    </a:path>
                  </a:pathLst>
                </a:custGeom>
                <a:grpFill/>
                <a:ln w="5978" cap="flat">
                  <a:noFill/>
                  <a:prstDash val="solid"/>
                  <a:miter/>
                </a:ln>
              </p:spPr>
              <p:txBody>
                <a:bodyPr rtlCol="0" anchor="ctr"/>
                <a:lstStyle/>
                <a:p>
                  <a:endParaRPr lang="en-GB"/>
                </a:p>
              </p:txBody>
            </p:sp>
            <p:sp>
              <p:nvSpPr>
                <p:cNvPr id="4950" name="Vrije vorm: vorm 4949">
                  <a:extLst>
                    <a:ext uri="{FF2B5EF4-FFF2-40B4-BE49-F238E27FC236}">
                      <a16:creationId xmlns:a16="http://schemas.microsoft.com/office/drawing/2014/main" id="{7C2F848C-98D1-4DE1-B66E-FCAEDF91C7A1}"/>
                    </a:ext>
                  </a:extLst>
                </p:cNvPr>
                <p:cNvSpPr/>
                <p:nvPr/>
              </p:nvSpPr>
              <p:spPr>
                <a:xfrm>
                  <a:off x="7670668" y="2675481"/>
                  <a:ext cx="18333" cy="18490"/>
                </a:xfrm>
                <a:custGeom>
                  <a:avLst/>
                  <a:gdLst>
                    <a:gd name="connsiteX0" fmla="*/ 5369 w 18333"/>
                    <a:gd name="connsiteY0" fmla="*/ 812 h 18490"/>
                    <a:gd name="connsiteX1" fmla="*/ 17510 w 18333"/>
                    <a:gd name="connsiteY1" fmla="*/ 5477 h 18490"/>
                    <a:gd name="connsiteX2" fmla="*/ 12965 w 18333"/>
                    <a:gd name="connsiteY2" fmla="*/ 17678 h 18490"/>
                    <a:gd name="connsiteX3" fmla="*/ 824 w 18333"/>
                    <a:gd name="connsiteY3" fmla="*/ 13013 h 18490"/>
                    <a:gd name="connsiteX4" fmla="*/ 5369 w 18333"/>
                    <a:gd name="connsiteY4" fmla="*/ 812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90">
                      <a:moveTo>
                        <a:pt x="5369" y="812"/>
                      </a:moveTo>
                      <a:cubicBezTo>
                        <a:pt x="9974" y="-1281"/>
                        <a:pt x="15416" y="812"/>
                        <a:pt x="17510" y="5477"/>
                      </a:cubicBezTo>
                      <a:cubicBezTo>
                        <a:pt x="19603" y="10142"/>
                        <a:pt x="17570" y="15585"/>
                        <a:pt x="12965" y="17678"/>
                      </a:cubicBezTo>
                      <a:cubicBezTo>
                        <a:pt x="8359" y="19771"/>
                        <a:pt x="2917" y="17678"/>
                        <a:pt x="824" y="13013"/>
                      </a:cubicBezTo>
                      <a:cubicBezTo>
                        <a:pt x="-1269" y="8348"/>
                        <a:pt x="764" y="2906"/>
                        <a:pt x="5369" y="812"/>
                      </a:cubicBezTo>
                      <a:close/>
                    </a:path>
                  </a:pathLst>
                </a:custGeom>
                <a:grpFill/>
                <a:ln w="5978" cap="flat">
                  <a:noFill/>
                  <a:prstDash val="solid"/>
                  <a:miter/>
                </a:ln>
              </p:spPr>
              <p:txBody>
                <a:bodyPr rtlCol="0" anchor="ctr"/>
                <a:lstStyle/>
                <a:p>
                  <a:endParaRPr lang="en-GB"/>
                </a:p>
              </p:txBody>
            </p:sp>
            <p:sp>
              <p:nvSpPr>
                <p:cNvPr id="4951" name="Vrije vorm: vorm 4950">
                  <a:extLst>
                    <a:ext uri="{FF2B5EF4-FFF2-40B4-BE49-F238E27FC236}">
                      <a16:creationId xmlns:a16="http://schemas.microsoft.com/office/drawing/2014/main" id="{F52E1F56-B5CF-4428-A9A6-962A40F35389}"/>
                    </a:ext>
                  </a:extLst>
                </p:cNvPr>
                <p:cNvSpPr/>
                <p:nvPr/>
              </p:nvSpPr>
              <p:spPr>
                <a:xfrm>
                  <a:off x="7661218" y="2679727"/>
                  <a:ext cx="18333" cy="18464"/>
                </a:xfrm>
                <a:custGeom>
                  <a:avLst/>
                  <a:gdLst>
                    <a:gd name="connsiteX0" fmla="*/ 5369 w 18333"/>
                    <a:gd name="connsiteY0" fmla="*/ 812 h 18464"/>
                    <a:gd name="connsiteX1" fmla="*/ 824 w 18333"/>
                    <a:gd name="connsiteY1" fmla="*/ 13013 h 18464"/>
                    <a:gd name="connsiteX2" fmla="*/ 12964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5"/>
                        <a:pt x="-1270" y="8348"/>
                        <a:pt x="824" y="13013"/>
                      </a:cubicBezTo>
                      <a:cubicBezTo>
                        <a:pt x="2917" y="17678"/>
                        <a:pt x="8360" y="19711"/>
                        <a:pt x="12964" y="17678"/>
                      </a:cubicBezTo>
                      <a:cubicBezTo>
                        <a:pt x="17570" y="15585"/>
                        <a:pt x="19604"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44" name="Graphic 3">
                <a:extLst>
                  <a:ext uri="{FF2B5EF4-FFF2-40B4-BE49-F238E27FC236}">
                    <a16:creationId xmlns:a16="http://schemas.microsoft.com/office/drawing/2014/main" id="{42515C0F-8118-4FA9-BA6F-E6A9D59021E4}"/>
                  </a:ext>
                </a:extLst>
              </p:cNvPr>
              <p:cNvGrpSpPr/>
              <p:nvPr/>
            </p:nvGrpSpPr>
            <p:grpSpPr>
              <a:xfrm>
                <a:off x="7383190" y="1947183"/>
                <a:ext cx="104305" cy="106599"/>
                <a:chOff x="7383190" y="1947183"/>
                <a:chExt cx="104305" cy="106599"/>
              </a:xfrm>
              <a:grpFill/>
            </p:grpSpPr>
            <p:sp>
              <p:nvSpPr>
                <p:cNvPr id="4946" name="Vrije vorm: vorm 4945">
                  <a:extLst>
                    <a:ext uri="{FF2B5EF4-FFF2-40B4-BE49-F238E27FC236}">
                      <a16:creationId xmlns:a16="http://schemas.microsoft.com/office/drawing/2014/main" id="{321317C7-F31D-43CD-ADC0-09AE5C30E361}"/>
                    </a:ext>
                  </a:extLst>
                </p:cNvPr>
                <p:cNvSpPr/>
                <p:nvPr/>
              </p:nvSpPr>
              <p:spPr>
                <a:xfrm>
                  <a:off x="7390936" y="1954959"/>
                  <a:ext cx="88754" cy="91026"/>
                </a:xfrm>
                <a:custGeom>
                  <a:avLst/>
                  <a:gdLst>
                    <a:gd name="connsiteX0" fmla="*/ 88754 w 88754"/>
                    <a:gd name="connsiteY0" fmla="*/ 2153 h 91026"/>
                    <a:gd name="connsiteX1" fmla="*/ 2213 w 88754"/>
                    <a:gd name="connsiteY1" fmla="*/ 91027 h 91026"/>
                    <a:gd name="connsiteX2" fmla="*/ 0 w 88754"/>
                    <a:gd name="connsiteY2" fmla="*/ 88874 h 91026"/>
                    <a:gd name="connsiteX3" fmla="*/ 86601 w 88754"/>
                    <a:gd name="connsiteY3" fmla="*/ 0 h 91026"/>
                  </a:gdLst>
                  <a:ahLst/>
                  <a:cxnLst>
                    <a:cxn ang="0">
                      <a:pos x="connsiteX0" y="connsiteY0"/>
                    </a:cxn>
                    <a:cxn ang="0">
                      <a:pos x="connsiteX1" y="connsiteY1"/>
                    </a:cxn>
                    <a:cxn ang="0">
                      <a:pos x="connsiteX2" y="connsiteY2"/>
                    </a:cxn>
                    <a:cxn ang="0">
                      <a:pos x="connsiteX3" y="connsiteY3"/>
                    </a:cxn>
                  </a:cxnLst>
                  <a:rect l="l" t="t" r="r" b="b"/>
                  <a:pathLst>
                    <a:path w="88754" h="91026">
                      <a:moveTo>
                        <a:pt x="88754" y="2153"/>
                      </a:moveTo>
                      <a:lnTo>
                        <a:pt x="2213" y="91027"/>
                      </a:lnTo>
                      <a:lnTo>
                        <a:pt x="0" y="88874"/>
                      </a:lnTo>
                      <a:lnTo>
                        <a:pt x="86601" y="0"/>
                      </a:lnTo>
                      <a:close/>
                    </a:path>
                  </a:pathLst>
                </a:custGeom>
                <a:grpFill/>
                <a:ln w="5978" cap="flat">
                  <a:noFill/>
                  <a:prstDash val="solid"/>
                  <a:miter/>
                </a:ln>
              </p:spPr>
              <p:txBody>
                <a:bodyPr rtlCol="0" anchor="ctr"/>
                <a:lstStyle/>
                <a:p>
                  <a:endParaRPr lang="en-GB"/>
                </a:p>
              </p:txBody>
            </p:sp>
            <p:sp>
              <p:nvSpPr>
                <p:cNvPr id="4947" name="Vrije vorm: vorm 4946">
                  <a:extLst>
                    <a:ext uri="{FF2B5EF4-FFF2-40B4-BE49-F238E27FC236}">
                      <a16:creationId xmlns:a16="http://schemas.microsoft.com/office/drawing/2014/main" id="{83BA84BB-12BC-4D41-B24D-DE3B1A7B7901}"/>
                    </a:ext>
                  </a:extLst>
                </p:cNvPr>
                <p:cNvSpPr/>
                <p:nvPr/>
              </p:nvSpPr>
              <p:spPr>
                <a:xfrm>
                  <a:off x="7469133" y="1947183"/>
                  <a:ext cx="18362" cy="18421"/>
                </a:xfrm>
                <a:custGeom>
                  <a:avLst/>
                  <a:gdLst>
                    <a:gd name="connsiteX0" fmla="*/ 2602 w 18362"/>
                    <a:gd name="connsiteY0" fmla="*/ 2751 h 18421"/>
                    <a:gd name="connsiteX1" fmla="*/ 15581 w 18362"/>
                    <a:gd name="connsiteY1" fmla="*/ 2632 h 18421"/>
                    <a:gd name="connsiteX2" fmla="*/ 15760 w 18362"/>
                    <a:gd name="connsiteY2" fmla="*/ 15670 h 18421"/>
                    <a:gd name="connsiteX3" fmla="*/ 2782 w 18362"/>
                    <a:gd name="connsiteY3" fmla="*/ 15789 h 18421"/>
                    <a:gd name="connsiteX4" fmla="*/ 2602 w 18362"/>
                    <a:gd name="connsiteY4" fmla="*/ 27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2602" y="2751"/>
                      </a:moveTo>
                      <a:cubicBezTo>
                        <a:pt x="6131" y="-897"/>
                        <a:pt x="11932" y="-897"/>
                        <a:pt x="15581" y="2632"/>
                      </a:cubicBezTo>
                      <a:cubicBezTo>
                        <a:pt x="19229" y="6220"/>
                        <a:pt x="19289" y="12021"/>
                        <a:pt x="15760" y="15670"/>
                      </a:cubicBezTo>
                      <a:cubicBezTo>
                        <a:pt x="12231" y="19318"/>
                        <a:pt x="6430" y="19318"/>
                        <a:pt x="2782" y="15789"/>
                      </a:cubicBezTo>
                      <a:cubicBezTo>
                        <a:pt x="-866" y="12201"/>
                        <a:pt x="-926" y="6340"/>
                        <a:pt x="2602" y="2751"/>
                      </a:cubicBezTo>
                      <a:close/>
                    </a:path>
                  </a:pathLst>
                </a:custGeom>
                <a:grpFill/>
                <a:ln w="5978" cap="flat">
                  <a:noFill/>
                  <a:prstDash val="solid"/>
                  <a:miter/>
                </a:ln>
              </p:spPr>
              <p:txBody>
                <a:bodyPr rtlCol="0" anchor="ctr"/>
                <a:lstStyle/>
                <a:p>
                  <a:endParaRPr lang="en-GB"/>
                </a:p>
              </p:txBody>
            </p:sp>
            <p:sp>
              <p:nvSpPr>
                <p:cNvPr id="4948" name="Vrije vorm: vorm 4947">
                  <a:extLst>
                    <a:ext uri="{FF2B5EF4-FFF2-40B4-BE49-F238E27FC236}">
                      <a16:creationId xmlns:a16="http://schemas.microsoft.com/office/drawing/2014/main" id="{B65F946D-BA00-48CB-B5BD-0C0773D84B58}"/>
                    </a:ext>
                  </a:extLst>
                </p:cNvPr>
                <p:cNvSpPr/>
                <p:nvPr/>
              </p:nvSpPr>
              <p:spPr>
                <a:xfrm>
                  <a:off x="7383190" y="2035361"/>
                  <a:ext cx="18362" cy="18421"/>
                </a:xfrm>
                <a:custGeom>
                  <a:avLst/>
                  <a:gdLst>
                    <a:gd name="connsiteX0" fmla="*/ 2602 w 18362"/>
                    <a:gd name="connsiteY0" fmla="*/ 2729 h 18421"/>
                    <a:gd name="connsiteX1" fmla="*/ 2782 w 18362"/>
                    <a:gd name="connsiteY1" fmla="*/ 15767 h 18421"/>
                    <a:gd name="connsiteX2" fmla="*/ 15760 w 18362"/>
                    <a:gd name="connsiteY2" fmla="*/ 15647 h 18421"/>
                    <a:gd name="connsiteX3" fmla="*/ 15581 w 18362"/>
                    <a:gd name="connsiteY3" fmla="*/ 2610 h 18421"/>
                    <a:gd name="connsiteX4" fmla="*/ 2602 w 18362"/>
                    <a:gd name="connsiteY4" fmla="*/ 272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2602" y="2729"/>
                      </a:moveTo>
                      <a:cubicBezTo>
                        <a:pt x="-926" y="6377"/>
                        <a:pt x="-866" y="12179"/>
                        <a:pt x="2782" y="15767"/>
                      </a:cubicBezTo>
                      <a:cubicBezTo>
                        <a:pt x="6430" y="19356"/>
                        <a:pt x="12231" y="19296"/>
                        <a:pt x="15760" y="15647"/>
                      </a:cubicBezTo>
                      <a:cubicBezTo>
                        <a:pt x="19289" y="11999"/>
                        <a:pt x="19229" y="6198"/>
                        <a:pt x="15581" y="2610"/>
                      </a:cubicBezTo>
                      <a:cubicBezTo>
                        <a:pt x="11932" y="-919"/>
                        <a:pt x="6131" y="-859"/>
                        <a:pt x="2602" y="2729"/>
                      </a:cubicBezTo>
                      <a:close/>
                    </a:path>
                  </a:pathLst>
                </a:custGeom>
                <a:grpFill/>
                <a:ln w="5978" cap="flat">
                  <a:noFill/>
                  <a:prstDash val="solid"/>
                  <a:miter/>
                </a:ln>
              </p:spPr>
              <p:txBody>
                <a:bodyPr rtlCol="0" anchor="ctr"/>
                <a:lstStyle/>
                <a:p>
                  <a:endParaRPr lang="en-GB"/>
                </a:p>
              </p:txBody>
            </p:sp>
          </p:grpSp>
          <p:grpSp>
            <p:nvGrpSpPr>
              <p:cNvPr id="145" name="Graphic 3">
                <a:extLst>
                  <a:ext uri="{FF2B5EF4-FFF2-40B4-BE49-F238E27FC236}">
                    <a16:creationId xmlns:a16="http://schemas.microsoft.com/office/drawing/2014/main" id="{EE8B364F-B182-430F-B1CB-0DB8CEBC5988}"/>
                  </a:ext>
                </a:extLst>
              </p:cNvPr>
              <p:cNvGrpSpPr/>
              <p:nvPr/>
            </p:nvGrpSpPr>
            <p:grpSpPr>
              <a:xfrm>
                <a:off x="7307462" y="2009063"/>
                <a:ext cx="400673" cy="303982"/>
                <a:chOff x="7307462" y="2009063"/>
                <a:chExt cx="400673" cy="303982"/>
              </a:xfrm>
              <a:grpFill/>
            </p:grpSpPr>
            <p:sp>
              <p:nvSpPr>
                <p:cNvPr id="4943" name="Vrije vorm: vorm 4942">
                  <a:extLst>
                    <a:ext uri="{FF2B5EF4-FFF2-40B4-BE49-F238E27FC236}">
                      <a16:creationId xmlns:a16="http://schemas.microsoft.com/office/drawing/2014/main" id="{3650D971-8271-486D-B99D-13E609435C48}"/>
                    </a:ext>
                  </a:extLst>
                </p:cNvPr>
                <p:cNvSpPr/>
                <p:nvPr/>
              </p:nvSpPr>
              <p:spPr>
                <a:xfrm>
                  <a:off x="7315339" y="2016739"/>
                  <a:ext cx="384860" cy="288569"/>
                </a:xfrm>
                <a:custGeom>
                  <a:avLst/>
                  <a:gdLst>
                    <a:gd name="connsiteX0" fmla="*/ 384860 w 384860"/>
                    <a:gd name="connsiteY0" fmla="*/ 2452 h 288569"/>
                    <a:gd name="connsiteX1" fmla="*/ 1795 w 384860"/>
                    <a:gd name="connsiteY1" fmla="*/ 288570 h 288569"/>
                    <a:gd name="connsiteX2" fmla="*/ 0 w 384860"/>
                    <a:gd name="connsiteY2" fmla="*/ 286118 h 288569"/>
                    <a:gd name="connsiteX3" fmla="*/ 383066 w 384860"/>
                    <a:gd name="connsiteY3" fmla="*/ 0 h 288569"/>
                  </a:gdLst>
                  <a:ahLst/>
                  <a:cxnLst>
                    <a:cxn ang="0">
                      <a:pos x="connsiteX0" y="connsiteY0"/>
                    </a:cxn>
                    <a:cxn ang="0">
                      <a:pos x="connsiteX1" y="connsiteY1"/>
                    </a:cxn>
                    <a:cxn ang="0">
                      <a:pos x="connsiteX2" y="connsiteY2"/>
                    </a:cxn>
                    <a:cxn ang="0">
                      <a:pos x="connsiteX3" y="connsiteY3"/>
                    </a:cxn>
                  </a:cxnLst>
                  <a:rect l="l" t="t" r="r" b="b"/>
                  <a:pathLst>
                    <a:path w="384860" h="288569">
                      <a:moveTo>
                        <a:pt x="384860" y="2452"/>
                      </a:moveTo>
                      <a:lnTo>
                        <a:pt x="1795" y="288570"/>
                      </a:lnTo>
                      <a:lnTo>
                        <a:pt x="0" y="286118"/>
                      </a:lnTo>
                      <a:lnTo>
                        <a:pt x="383066" y="0"/>
                      </a:lnTo>
                      <a:close/>
                    </a:path>
                  </a:pathLst>
                </a:custGeom>
                <a:grpFill/>
                <a:ln w="5978" cap="flat">
                  <a:noFill/>
                  <a:prstDash val="solid"/>
                  <a:miter/>
                </a:ln>
              </p:spPr>
              <p:txBody>
                <a:bodyPr rtlCol="0" anchor="ctr"/>
                <a:lstStyle/>
                <a:p>
                  <a:endParaRPr lang="en-GB"/>
                </a:p>
              </p:txBody>
            </p:sp>
            <p:sp>
              <p:nvSpPr>
                <p:cNvPr id="4944" name="Vrije vorm: vorm 4943">
                  <a:extLst>
                    <a:ext uri="{FF2B5EF4-FFF2-40B4-BE49-F238E27FC236}">
                      <a16:creationId xmlns:a16="http://schemas.microsoft.com/office/drawing/2014/main" id="{A3393142-3D7E-4C75-91C1-B397AC553029}"/>
                    </a:ext>
                  </a:extLst>
                </p:cNvPr>
                <p:cNvSpPr/>
                <p:nvPr/>
              </p:nvSpPr>
              <p:spPr>
                <a:xfrm>
                  <a:off x="7307462" y="2294642"/>
                  <a:ext cx="18300" cy="18403"/>
                </a:xfrm>
                <a:custGeom>
                  <a:avLst/>
                  <a:gdLst>
                    <a:gd name="connsiteX0" fmla="*/ 14635 w 18300"/>
                    <a:gd name="connsiteY0" fmla="*/ 16588 h 18403"/>
                    <a:gd name="connsiteX1" fmla="*/ 1836 w 18300"/>
                    <a:gd name="connsiteY1" fmla="*/ 14674 h 18403"/>
                    <a:gd name="connsiteX2" fmla="*/ 3691 w 18300"/>
                    <a:gd name="connsiteY2" fmla="*/ 1815 h 18403"/>
                    <a:gd name="connsiteX3" fmla="*/ 16490 w 18300"/>
                    <a:gd name="connsiteY3" fmla="*/ 3729 h 18403"/>
                    <a:gd name="connsiteX4" fmla="*/ 14635 w 18300"/>
                    <a:gd name="connsiteY4" fmla="*/ 16588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03">
                      <a:moveTo>
                        <a:pt x="14635" y="16588"/>
                      </a:moveTo>
                      <a:cubicBezTo>
                        <a:pt x="10569" y="19638"/>
                        <a:pt x="4827" y="18741"/>
                        <a:pt x="1836" y="14674"/>
                      </a:cubicBezTo>
                      <a:cubicBezTo>
                        <a:pt x="-1213" y="10607"/>
                        <a:pt x="-376" y="4806"/>
                        <a:pt x="3691" y="1815"/>
                      </a:cubicBezTo>
                      <a:cubicBezTo>
                        <a:pt x="7758" y="-1235"/>
                        <a:pt x="13499" y="-338"/>
                        <a:pt x="16490" y="3729"/>
                      </a:cubicBezTo>
                      <a:cubicBezTo>
                        <a:pt x="19480" y="7796"/>
                        <a:pt x="18702" y="13538"/>
                        <a:pt x="14635" y="16588"/>
                      </a:cubicBezTo>
                      <a:close/>
                    </a:path>
                  </a:pathLst>
                </a:custGeom>
                <a:grpFill/>
                <a:ln w="5978" cap="flat">
                  <a:noFill/>
                  <a:prstDash val="solid"/>
                  <a:miter/>
                </a:ln>
              </p:spPr>
              <p:txBody>
                <a:bodyPr rtlCol="0" anchor="ctr"/>
                <a:lstStyle/>
                <a:p>
                  <a:endParaRPr lang="en-GB"/>
                </a:p>
              </p:txBody>
            </p:sp>
            <p:sp>
              <p:nvSpPr>
                <p:cNvPr id="4945" name="Vrije vorm: vorm 4944">
                  <a:extLst>
                    <a:ext uri="{FF2B5EF4-FFF2-40B4-BE49-F238E27FC236}">
                      <a16:creationId xmlns:a16="http://schemas.microsoft.com/office/drawing/2014/main" id="{EB012E65-C3C7-4896-BC34-5C68F27FBEA0}"/>
                    </a:ext>
                  </a:extLst>
                </p:cNvPr>
                <p:cNvSpPr/>
                <p:nvPr/>
              </p:nvSpPr>
              <p:spPr>
                <a:xfrm>
                  <a:off x="7689810" y="2009063"/>
                  <a:ext cx="18326" cy="18420"/>
                </a:xfrm>
                <a:custGeom>
                  <a:avLst/>
                  <a:gdLst>
                    <a:gd name="connsiteX0" fmla="*/ 14636 w 18326"/>
                    <a:gd name="connsiteY0" fmla="*/ 16588 h 18420"/>
                    <a:gd name="connsiteX1" fmla="*/ 16489 w 18326"/>
                    <a:gd name="connsiteY1" fmla="*/ 3729 h 18420"/>
                    <a:gd name="connsiteX2" fmla="*/ 3691 w 18326"/>
                    <a:gd name="connsiteY2" fmla="*/ 1815 h 18420"/>
                    <a:gd name="connsiteX3" fmla="*/ 1837 w 18326"/>
                    <a:gd name="connsiteY3" fmla="*/ 14674 h 18420"/>
                    <a:gd name="connsiteX4" fmla="*/ 14636 w 18326"/>
                    <a:gd name="connsiteY4" fmla="*/ 16588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0">
                      <a:moveTo>
                        <a:pt x="14636" y="16588"/>
                      </a:moveTo>
                      <a:cubicBezTo>
                        <a:pt x="18702" y="13537"/>
                        <a:pt x="19539" y="7796"/>
                        <a:pt x="16489" y="3729"/>
                      </a:cubicBezTo>
                      <a:cubicBezTo>
                        <a:pt x="13440" y="-338"/>
                        <a:pt x="7698" y="-1235"/>
                        <a:pt x="3691" y="1815"/>
                      </a:cubicBezTo>
                      <a:cubicBezTo>
                        <a:pt x="-376" y="4865"/>
                        <a:pt x="-1213" y="10607"/>
                        <a:pt x="1837" y="14674"/>
                      </a:cubicBezTo>
                      <a:cubicBezTo>
                        <a:pt x="4827" y="18801"/>
                        <a:pt x="10568" y="19638"/>
                        <a:pt x="14636" y="16588"/>
                      </a:cubicBezTo>
                      <a:close/>
                    </a:path>
                  </a:pathLst>
                </a:custGeom>
                <a:grpFill/>
                <a:ln w="5978" cap="flat">
                  <a:noFill/>
                  <a:prstDash val="solid"/>
                  <a:miter/>
                </a:ln>
              </p:spPr>
              <p:txBody>
                <a:bodyPr rtlCol="0" anchor="ctr"/>
                <a:lstStyle/>
                <a:p>
                  <a:endParaRPr lang="en-GB"/>
                </a:p>
              </p:txBody>
            </p:sp>
          </p:grpSp>
          <p:grpSp>
            <p:nvGrpSpPr>
              <p:cNvPr id="146" name="Graphic 3">
                <a:extLst>
                  <a:ext uri="{FF2B5EF4-FFF2-40B4-BE49-F238E27FC236}">
                    <a16:creationId xmlns:a16="http://schemas.microsoft.com/office/drawing/2014/main" id="{00F2A42E-9F23-40F2-B164-CC1B42E2B505}"/>
                  </a:ext>
                </a:extLst>
              </p:cNvPr>
              <p:cNvGrpSpPr/>
              <p:nvPr/>
            </p:nvGrpSpPr>
            <p:grpSpPr>
              <a:xfrm>
                <a:off x="7564839" y="2646617"/>
                <a:ext cx="184456" cy="62222"/>
                <a:chOff x="7564839" y="2646617"/>
                <a:chExt cx="184456" cy="62222"/>
              </a:xfrm>
              <a:grpFill/>
            </p:grpSpPr>
            <p:sp>
              <p:nvSpPr>
                <p:cNvPr id="4940" name="Vrije vorm: vorm 4939">
                  <a:extLst>
                    <a:ext uri="{FF2B5EF4-FFF2-40B4-BE49-F238E27FC236}">
                      <a16:creationId xmlns:a16="http://schemas.microsoft.com/office/drawing/2014/main" id="{EA20C0A8-9925-43F8-8973-9F4D9466A9AB}"/>
                    </a:ext>
                  </a:extLst>
                </p:cNvPr>
                <p:cNvSpPr/>
                <p:nvPr/>
              </p:nvSpPr>
              <p:spPr>
                <a:xfrm>
                  <a:off x="7573286" y="2654509"/>
                  <a:ext cx="167678" cy="47201"/>
                </a:xfrm>
                <a:custGeom>
                  <a:avLst/>
                  <a:gdLst>
                    <a:gd name="connsiteX0" fmla="*/ 0 w 167678"/>
                    <a:gd name="connsiteY0" fmla="*/ 44254 h 47201"/>
                    <a:gd name="connsiteX1" fmla="*/ 166897 w 167678"/>
                    <a:gd name="connsiteY1" fmla="*/ 0 h 47201"/>
                    <a:gd name="connsiteX2" fmla="*/ 167678 w 167678"/>
                    <a:gd name="connsiteY2" fmla="*/ 2948 h 47201"/>
                    <a:gd name="connsiteX3" fmla="*/ 782 w 167678"/>
                    <a:gd name="connsiteY3" fmla="*/ 47202 h 47201"/>
                  </a:gdLst>
                  <a:ahLst/>
                  <a:cxnLst>
                    <a:cxn ang="0">
                      <a:pos x="connsiteX0" y="connsiteY0"/>
                    </a:cxn>
                    <a:cxn ang="0">
                      <a:pos x="connsiteX1" y="connsiteY1"/>
                    </a:cxn>
                    <a:cxn ang="0">
                      <a:pos x="connsiteX2" y="connsiteY2"/>
                    </a:cxn>
                    <a:cxn ang="0">
                      <a:pos x="connsiteX3" y="connsiteY3"/>
                    </a:cxn>
                  </a:cxnLst>
                  <a:rect l="l" t="t" r="r" b="b"/>
                  <a:pathLst>
                    <a:path w="167678" h="47201">
                      <a:moveTo>
                        <a:pt x="0" y="44254"/>
                      </a:moveTo>
                      <a:lnTo>
                        <a:pt x="166897" y="0"/>
                      </a:lnTo>
                      <a:lnTo>
                        <a:pt x="167678" y="2948"/>
                      </a:lnTo>
                      <a:lnTo>
                        <a:pt x="782" y="47202"/>
                      </a:lnTo>
                      <a:close/>
                    </a:path>
                  </a:pathLst>
                </a:custGeom>
                <a:grpFill/>
                <a:ln w="5978" cap="flat">
                  <a:noFill/>
                  <a:prstDash val="solid"/>
                  <a:miter/>
                </a:ln>
              </p:spPr>
              <p:txBody>
                <a:bodyPr rtlCol="0" anchor="ctr"/>
                <a:lstStyle/>
                <a:p>
                  <a:endParaRPr lang="en-GB"/>
                </a:p>
              </p:txBody>
            </p:sp>
            <p:sp>
              <p:nvSpPr>
                <p:cNvPr id="4941" name="Vrije vorm: vorm 4940">
                  <a:extLst>
                    <a:ext uri="{FF2B5EF4-FFF2-40B4-BE49-F238E27FC236}">
                      <a16:creationId xmlns:a16="http://schemas.microsoft.com/office/drawing/2014/main" id="{9400732A-A4C8-48B6-81D4-C7AE113E8A12}"/>
                    </a:ext>
                  </a:extLst>
                </p:cNvPr>
                <p:cNvSpPr/>
                <p:nvPr/>
              </p:nvSpPr>
              <p:spPr>
                <a:xfrm>
                  <a:off x="7564839" y="2690396"/>
                  <a:ext cx="18357" cy="18443"/>
                </a:xfrm>
                <a:custGeom>
                  <a:avLst/>
                  <a:gdLst>
                    <a:gd name="connsiteX0" fmla="*/ 11559 w 18357"/>
                    <a:gd name="connsiteY0" fmla="*/ 18133 h 18443"/>
                    <a:gd name="connsiteX1" fmla="*/ 315 w 18357"/>
                    <a:gd name="connsiteY1" fmla="*/ 11554 h 18443"/>
                    <a:gd name="connsiteX2" fmla="*/ 6834 w 18357"/>
                    <a:gd name="connsiteY2" fmla="*/ 311 h 18443"/>
                    <a:gd name="connsiteX3" fmla="*/ 18018 w 18357"/>
                    <a:gd name="connsiteY3" fmla="*/ 6889 h 18443"/>
                    <a:gd name="connsiteX4" fmla="*/ 11559 w 18357"/>
                    <a:gd name="connsiteY4" fmla="*/ 1813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3">
                      <a:moveTo>
                        <a:pt x="11559" y="18133"/>
                      </a:moveTo>
                      <a:cubicBezTo>
                        <a:pt x="6655" y="19449"/>
                        <a:pt x="1630" y="16459"/>
                        <a:pt x="315" y="11554"/>
                      </a:cubicBezTo>
                      <a:cubicBezTo>
                        <a:pt x="-1001" y="6650"/>
                        <a:pt x="1930" y="1626"/>
                        <a:pt x="6834" y="311"/>
                      </a:cubicBezTo>
                      <a:cubicBezTo>
                        <a:pt x="11738" y="-1005"/>
                        <a:pt x="16762" y="1985"/>
                        <a:pt x="18018" y="6889"/>
                      </a:cubicBezTo>
                      <a:cubicBezTo>
                        <a:pt x="19394" y="11853"/>
                        <a:pt x="16463" y="16877"/>
                        <a:pt x="11559" y="18133"/>
                      </a:cubicBezTo>
                      <a:close/>
                    </a:path>
                  </a:pathLst>
                </a:custGeom>
                <a:grpFill/>
                <a:ln w="5978" cap="flat">
                  <a:noFill/>
                  <a:prstDash val="solid"/>
                  <a:miter/>
                </a:ln>
              </p:spPr>
              <p:txBody>
                <a:bodyPr rtlCol="0" anchor="ctr"/>
                <a:lstStyle/>
                <a:p>
                  <a:endParaRPr lang="en-GB"/>
                </a:p>
              </p:txBody>
            </p:sp>
            <p:sp>
              <p:nvSpPr>
                <p:cNvPr id="4942" name="Vrije vorm: vorm 4941">
                  <a:extLst>
                    <a:ext uri="{FF2B5EF4-FFF2-40B4-BE49-F238E27FC236}">
                      <a16:creationId xmlns:a16="http://schemas.microsoft.com/office/drawing/2014/main" id="{13D5F1EC-EF8B-4294-B16C-67868836EF8A}"/>
                    </a:ext>
                  </a:extLst>
                </p:cNvPr>
                <p:cNvSpPr/>
                <p:nvPr/>
              </p:nvSpPr>
              <p:spPr>
                <a:xfrm>
                  <a:off x="7730945" y="2646617"/>
                  <a:ext cx="18351" cy="18447"/>
                </a:xfrm>
                <a:custGeom>
                  <a:avLst/>
                  <a:gdLst>
                    <a:gd name="connsiteX0" fmla="*/ 11538 w 18351"/>
                    <a:gd name="connsiteY0" fmla="*/ 18133 h 18447"/>
                    <a:gd name="connsiteX1" fmla="*/ 18057 w 18351"/>
                    <a:gd name="connsiteY1" fmla="*/ 6889 h 18447"/>
                    <a:gd name="connsiteX2" fmla="*/ 6813 w 18351"/>
                    <a:gd name="connsiteY2" fmla="*/ 311 h 18447"/>
                    <a:gd name="connsiteX3" fmla="*/ 294 w 18351"/>
                    <a:gd name="connsiteY3" fmla="*/ 11554 h 18447"/>
                    <a:gd name="connsiteX4" fmla="*/ 11538 w 18351"/>
                    <a:gd name="connsiteY4" fmla="*/ 18133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47">
                      <a:moveTo>
                        <a:pt x="11538" y="18133"/>
                      </a:moveTo>
                      <a:cubicBezTo>
                        <a:pt x="16442" y="16818"/>
                        <a:pt x="19313" y="11794"/>
                        <a:pt x="18057" y="6889"/>
                      </a:cubicBezTo>
                      <a:cubicBezTo>
                        <a:pt x="16741" y="1985"/>
                        <a:pt x="11718" y="-1005"/>
                        <a:pt x="6813" y="311"/>
                      </a:cubicBezTo>
                      <a:cubicBezTo>
                        <a:pt x="1909" y="1626"/>
                        <a:pt x="-961" y="6650"/>
                        <a:pt x="294" y="11554"/>
                      </a:cubicBezTo>
                      <a:cubicBezTo>
                        <a:pt x="1670" y="16519"/>
                        <a:pt x="6634" y="19449"/>
                        <a:pt x="11538" y="18133"/>
                      </a:cubicBezTo>
                      <a:close/>
                    </a:path>
                  </a:pathLst>
                </a:custGeom>
                <a:grpFill/>
                <a:ln w="5978" cap="flat">
                  <a:noFill/>
                  <a:prstDash val="solid"/>
                  <a:miter/>
                </a:ln>
              </p:spPr>
              <p:txBody>
                <a:bodyPr rtlCol="0" anchor="ctr"/>
                <a:lstStyle/>
                <a:p>
                  <a:endParaRPr lang="en-GB"/>
                </a:p>
              </p:txBody>
            </p:sp>
          </p:grpSp>
          <p:grpSp>
            <p:nvGrpSpPr>
              <p:cNvPr id="147" name="Graphic 3">
                <a:extLst>
                  <a:ext uri="{FF2B5EF4-FFF2-40B4-BE49-F238E27FC236}">
                    <a16:creationId xmlns:a16="http://schemas.microsoft.com/office/drawing/2014/main" id="{BD09F236-B556-4F2F-96A7-FB4D9EE00CA9}"/>
                  </a:ext>
                </a:extLst>
              </p:cNvPr>
              <p:cNvGrpSpPr/>
              <p:nvPr/>
            </p:nvGrpSpPr>
            <p:grpSpPr>
              <a:xfrm>
                <a:off x="7716678" y="3077813"/>
                <a:ext cx="166020" cy="45267"/>
                <a:chOff x="7716678" y="3077813"/>
                <a:chExt cx="166020" cy="45267"/>
              </a:xfrm>
              <a:grpFill/>
            </p:grpSpPr>
            <p:sp>
              <p:nvSpPr>
                <p:cNvPr id="4937" name="Vrije vorm: vorm 4936">
                  <a:extLst>
                    <a:ext uri="{FF2B5EF4-FFF2-40B4-BE49-F238E27FC236}">
                      <a16:creationId xmlns:a16="http://schemas.microsoft.com/office/drawing/2014/main" id="{E45B6CA9-B52C-4C29-97C7-3EE63CE20B84}"/>
                    </a:ext>
                  </a:extLst>
                </p:cNvPr>
                <p:cNvSpPr/>
                <p:nvPr/>
              </p:nvSpPr>
              <p:spPr>
                <a:xfrm>
                  <a:off x="7725139" y="3085434"/>
                  <a:ext cx="149099" cy="30023"/>
                </a:xfrm>
                <a:custGeom>
                  <a:avLst/>
                  <a:gdLst>
                    <a:gd name="connsiteX0" fmla="*/ 148562 w 149099"/>
                    <a:gd name="connsiteY0" fmla="*/ 0 h 30023"/>
                    <a:gd name="connsiteX1" fmla="*/ 149100 w 149099"/>
                    <a:gd name="connsiteY1" fmla="*/ 3050 h 30023"/>
                    <a:gd name="connsiteX2" fmla="*/ 539 w 149099"/>
                    <a:gd name="connsiteY2" fmla="*/ 30023 h 30023"/>
                    <a:gd name="connsiteX3" fmla="*/ 0 w 149099"/>
                    <a:gd name="connsiteY3" fmla="*/ 26973 h 30023"/>
                  </a:gdLst>
                  <a:ahLst/>
                  <a:cxnLst>
                    <a:cxn ang="0">
                      <a:pos x="connsiteX0" y="connsiteY0"/>
                    </a:cxn>
                    <a:cxn ang="0">
                      <a:pos x="connsiteX1" y="connsiteY1"/>
                    </a:cxn>
                    <a:cxn ang="0">
                      <a:pos x="connsiteX2" y="connsiteY2"/>
                    </a:cxn>
                    <a:cxn ang="0">
                      <a:pos x="connsiteX3" y="connsiteY3"/>
                    </a:cxn>
                  </a:cxnLst>
                  <a:rect l="l" t="t" r="r" b="b"/>
                  <a:pathLst>
                    <a:path w="149099" h="30023">
                      <a:moveTo>
                        <a:pt x="148562" y="0"/>
                      </a:moveTo>
                      <a:lnTo>
                        <a:pt x="149100" y="3050"/>
                      </a:lnTo>
                      <a:lnTo>
                        <a:pt x="539" y="30023"/>
                      </a:lnTo>
                      <a:lnTo>
                        <a:pt x="0" y="26973"/>
                      </a:lnTo>
                      <a:close/>
                    </a:path>
                  </a:pathLst>
                </a:custGeom>
                <a:grpFill/>
                <a:ln w="5978" cap="flat">
                  <a:noFill/>
                  <a:prstDash val="solid"/>
                  <a:miter/>
                </a:ln>
              </p:spPr>
              <p:txBody>
                <a:bodyPr rtlCol="0" anchor="ctr"/>
                <a:lstStyle/>
                <a:p>
                  <a:endParaRPr lang="en-GB"/>
                </a:p>
              </p:txBody>
            </p:sp>
            <p:sp>
              <p:nvSpPr>
                <p:cNvPr id="4938" name="Vrije vorm: vorm 4937">
                  <a:extLst>
                    <a:ext uri="{FF2B5EF4-FFF2-40B4-BE49-F238E27FC236}">
                      <a16:creationId xmlns:a16="http://schemas.microsoft.com/office/drawing/2014/main" id="{BA8C1A83-0B4B-49B7-ABD2-177DF97DE3D2}"/>
                    </a:ext>
                  </a:extLst>
                </p:cNvPr>
                <p:cNvSpPr/>
                <p:nvPr/>
              </p:nvSpPr>
              <p:spPr>
                <a:xfrm>
                  <a:off x="7864342" y="3077813"/>
                  <a:ext cx="18356" cy="18412"/>
                </a:xfrm>
                <a:custGeom>
                  <a:avLst/>
                  <a:gdLst>
                    <a:gd name="connsiteX0" fmla="*/ 7504 w 18356"/>
                    <a:gd name="connsiteY0" fmla="*/ 145 h 18412"/>
                    <a:gd name="connsiteX1" fmla="*/ 18209 w 18356"/>
                    <a:gd name="connsiteY1" fmla="*/ 7561 h 18412"/>
                    <a:gd name="connsiteX2" fmla="*/ 10853 w 18356"/>
                    <a:gd name="connsiteY2" fmla="*/ 18267 h 18412"/>
                    <a:gd name="connsiteX3" fmla="*/ 147 w 18356"/>
                    <a:gd name="connsiteY3" fmla="*/ 10851 h 18412"/>
                    <a:gd name="connsiteX4" fmla="*/ 7504 w 18356"/>
                    <a:gd name="connsiteY4" fmla="*/ 145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2">
                      <a:moveTo>
                        <a:pt x="7504" y="145"/>
                      </a:moveTo>
                      <a:cubicBezTo>
                        <a:pt x="12467" y="-752"/>
                        <a:pt x="17252" y="2598"/>
                        <a:pt x="18209" y="7561"/>
                      </a:cubicBezTo>
                      <a:cubicBezTo>
                        <a:pt x="19106" y="12585"/>
                        <a:pt x="15817" y="17370"/>
                        <a:pt x="10853" y="18267"/>
                      </a:cubicBezTo>
                      <a:cubicBezTo>
                        <a:pt x="5889" y="19164"/>
                        <a:pt x="1105" y="15815"/>
                        <a:pt x="147" y="10851"/>
                      </a:cubicBezTo>
                      <a:cubicBezTo>
                        <a:pt x="-750" y="5887"/>
                        <a:pt x="2540" y="1102"/>
                        <a:pt x="7504" y="145"/>
                      </a:cubicBezTo>
                      <a:close/>
                    </a:path>
                  </a:pathLst>
                </a:custGeom>
                <a:grpFill/>
                <a:ln w="5978" cap="flat">
                  <a:noFill/>
                  <a:prstDash val="solid"/>
                  <a:miter/>
                </a:ln>
              </p:spPr>
              <p:txBody>
                <a:bodyPr rtlCol="0" anchor="ctr"/>
                <a:lstStyle/>
                <a:p>
                  <a:endParaRPr lang="en-GB"/>
                </a:p>
              </p:txBody>
            </p:sp>
            <p:sp>
              <p:nvSpPr>
                <p:cNvPr id="4939" name="Vrije vorm: vorm 4938">
                  <a:extLst>
                    <a:ext uri="{FF2B5EF4-FFF2-40B4-BE49-F238E27FC236}">
                      <a16:creationId xmlns:a16="http://schemas.microsoft.com/office/drawing/2014/main" id="{DA5D771B-E8F6-4F48-A3B3-5764431276C0}"/>
                    </a:ext>
                  </a:extLst>
                </p:cNvPr>
                <p:cNvSpPr/>
                <p:nvPr/>
              </p:nvSpPr>
              <p:spPr>
                <a:xfrm>
                  <a:off x="7716678" y="3104649"/>
                  <a:ext cx="18356" cy="18432"/>
                </a:xfrm>
                <a:custGeom>
                  <a:avLst/>
                  <a:gdLst>
                    <a:gd name="connsiteX0" fmla="*/ 7504 w 18356"/>
                    <a:gd name="connsiteY0" fmla="*/ 163 h 18432"/>
                    <a:gd name="connsiteX1" fmla="*/ 147 w 18356"/>
                    <a:gd name="connsiteY1" fmla="*/ 10869 h 18432"/>
                    <a:gd name="connsiteX2" fmla="*/ 10853 w 18356"/>
                    <a:gd name="connsiteY2" fmla="*/ 18285 h 18432"/>
                    <a:gd name="connsiteX3" fmla="*/ 18209 w 18356"/>
                    <a:gd name="connsiteY3" fmla="*/ 7580 h 18432"/>
                    <a:gd name="connsiteX4" fmla="*/ 7504 w 18356"/>
                    <a:gd name="connsiteY4" fmla="*/ 163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2">
                      <a:moveTo>
                        <a:pt x="7504" y="163"/>
                      </a:moveTo>
                      <a:cubicBezTo>
                        <a:pt x="2540" y="1061"/>
                        <a:pt x="-749" y="5845"/>
                        <a:pt x="147" y="10869"/>
                      </a:cubicBezTo>
                      <a:cubicBezTo>
                        <a:pt x="1045" y="15893"/>
                        <a:pt x="5829" y="19182"/>
                        <a:pt x="10853" y="18285"/>
                      </a:cubicBezTo>
                      <a:cubicBezTo>
                        <a:pt x="15817" y="17388"/>
                        <a:pt x="19106" y="12603"/>
                        <a:pt x="18209" y="7580"/>
                      </a:cubicBezTo>
                      <a:cubicBezTo>
                        <a:pt x="17252" y="2556"/>
                        <a:pt x="12468" y="-794"/>
                        <a:pt x="7504" y="163"/>
                      </a:cubicBezTo>
                      <a:close/>
                    </a:path>
                  </a:pathLst>
                </a:custGeom>
                <a:grpFill/>
                <a:ln w="5978" cap="flat">
                  <a:noFill/>
                  <a:prstDash val="solid"/>
                  <a:miter/>
                </a:ln>
              </p:spPr>
              <p:txBody>
                <a:bodyPr rtlCol="0" anchor="ctr"/>
                <a:lstStyle/>
                <a:p>
                  <a:endParaRPr lang="en-GB"/>
                </a:p>
              </p:txBody>
            </p:sp>
          </p:grpSp>
          <p:grpSp>
            <p:nvGrpSpPr>
              <p:cNvPr id="148" name="Graphic 3">
                <a:extLst>
                  <a:ext uri="{FF2B5EF4-FFF2-40B4-BE49-F238E27FC236}">
                    <a16:creationId xmlns:a16="http://schemas.microsoft.com/office/drawing/2014/main" id="{D5CF38FB-BF33-4BA2-8FF5-B8488DDBB36B}"/>
                  </a:ext>
                </a:extLst>
              </p:cNvPr>
              <p:cNvGrpSpPr/>
              <p:nvPr/>
            </p:nvGrpSpPr>
            <p:grpSpPr>
              <a:xfrm>
                <a:off x="7643534" y="2849174"/>
                <a:ext cx="159502" cy="63798"/>
                <a:chOff x="7643534" y="2849174"/>
                <a:chExt cx="159502" cy="63798"/>
              </a:xfrm>
              <a:grpFill/>
            </p:grpSpPr>
            <p:sp>
              <p:nvSpPr>
                <p:cNvPr id="4934" name="Vrije vorm: vorm 4933">
                  <a:extLst>
                    <a:ext uri="{FF2B5EF4-FFF2-40B4-BE49-F238E27FC236}">
                      <a16:creationId xmlns:a16="http://schemas.microsoft.com/office/drawing/2014/main" id="{57F194DA-26BE-41CF-95F6-B0678EDBF0B0}"/>
                    </a:ext>
                  </a:extLst>
                </p:cNvPr>
                <p:cNvSpPr/>
                <p:nvPr/>
              </p:nvSpPr>
              <p:spPr>
                <a:xfrm>
                  <a:off x="7651815" y="2856791"/>
                  <a:ext cx="142999" cy="48563"/>
                </a:xfrm>
                <a:custGeom>
                  <a:avLst/>
                  <a:gdLst>
                    <a:gd name="connsiteX0" fmla="*/ 142042 w 142999"/>
                    <a:gd name="connsiteY0" fmla="*/ 0 h 48563"/>
                    <a:gd name="connsiteX1" fmla="*/ 142999 w 142999"/>
                    <a:gd name="connsiteY1" fmla="*/ 2931 h 48563"/>
                    <a:gd name="connsiteX2" fmla="*/ 957 w 142999"/>
                    <a:gd name="connsiteY2" fmla="*/ 48564 h 48563"/>
                    <a:gd name="connsiteX3" fmla="*/ 0 w 142999"/>
                    <a:gd name="connsiteY3" fmla="*/ 45633 h 48563"/>
                  </a:gdLst>
                  <a:ahLst/>
                  <a:cxnLst>
                    <a:cxn ang="0">
                      <a:pos x="connsiteX0" y="connsiteY0"/>
                    </a:cxn>
                    <a:cxn ang="0">
                      <a:pos x="connsiteX1" y="connsiteY1"/>
                    </a:cxn>
                    <a:cxn ang="0">
                      <a:pos x="connsiteX2" y="connsiteY2"/>
                    </a:cxn>
                    <a:cxn ang="0">
                      <a:pos x="connsiteX3" y="connsiteY3"/>
                    </a:cxn>
                  </a:cxnLst>
                  <a:rect l="l" t="t" r="r" b="b"/>
                  <a:pathLst>
                    <a:path w="142999" h="48563">
                      <a:moveTo>
                        <a:pt x="142042" y="0"/>
                      </a:moveTo>
                      <a:lnTo>
                        <a:pt x="142999" y="2931"/>
                      </a:lnTo>
                      <a:lnTo>
                        <a:pt x="957" y="48564"/>
                      </a:lnTo>
                      <a:lnTo>
                        <a:pt x="0" y="45633"/>
                      </a:lnTo>
                      <a:close/>
                    </a:path>
                  </a:pathLst>
                </a:custGeom>
                <a:grpFill/>
                <a:ln w="5978" cap="flat">
                  <a:noFill/>
                  <a:prstDash val="solid"/>
                  <a:miter/>
                </a:ln>
              </p:spPr>
              <p:txBody>
                <a:bodyPr rtlCol="0" anchor="ctr"/>
                <a:lstStyle/>
                <a:p>
                  <a:endParaRPr lang="en-GB"/>
                </a:p>
              </p:txBody>
            </p:sp>
            <p:sp>
              <p:nvSpPr>
                <p:cNvPr id="4935" name="Vrije vorm: vorm 4934">
                  <a:extLst>
                    <a:ext uri="{FF2B5EF4-FFF2-40B4-BE49-F238E27FC236}">
                      <a16:creationId xmlns:a16="http://schemas.microsoft.com/office/drawing/2014/main" id="{8E8B5271-9F77-415C-BC3D-CB2EEA0B51D1}"/>
                    </a:ext>
                  </a:extLst>
                </p:cNvPr>
                <p:cNvSpPr/>
                <p:nvPr/>
              </p:nvSpPr>
              <p:spPr>
                <a:xfrm>
                  <a:off x="7784706" y="2849174"/>
                  <a:ext cx="18329" cy="18465"/>
                </a:xfrm>
                <a:custGeom>
                  <a:avLst/>
                  <a:gdLst>
                    <a:gd name="connsiteX0" fmla="*/ 6340 w 18329"/>
                    <a:gd name="connsiteY0" fmla="*/ 441 h 18465"/>
                    <a:gd name="connsiteX1" fmla="*/ 17883 w 18329"/>
                    <a:gd name="connsiteY1" fmla="*/ 6422 h 18465"/>
                    <a:gd name="connsiteX2" fmla="*/ 11962 w 18329"/>
                    <a:gd name="connsiteY2" fmla="*/ 18024 h 18465"/>
                    <a:gd name="connsiteX3" fmla="*/ 419 w 18329"/>
                    <a:gd name="connsiteY3" fmla="*/ 12044 h 18465"/>
                    <a:gd name="connsiteX4" fmla="*/ 6340 w 18329"/>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65">
                      <a:moveTo>
                        <a:pt x="6340" y="441"/>
                      </a:moveTo>
                      <a:cubicBezTo>
                        <a:pt x="11184" y="-1114"/>
                        <a:pt x="16328" y="1577"/>
                        <a:pt x="17883" y="6422"/>
                      </a:cubicBezTo>
                      <a:cubicBezTo>
                        <a:pt x="19438" y="11266"/>
                        <a:pt x="16806" y="16469"/>
                        <a:pt x="11962" y="18024"/>
                      </a:cubicBezTo>
                      <a:cubicBezTo>
                        <a:pt x="7117" y="19579"/>
                        <a:pt x="1974" y="16888"/>
                        <a:pt x="419" y="12044"/>
                      </a:cubicBezTo>
                      <a:cubicBezTo>
                        <a:pt x="-1076" y="7139"/>
                        <a:pt x="1555" y="1996"/>
                        <a:pt x="6340" y="441"/>
                      </a:cubicBezTo>
                      <a:close/>
                    </a:path>
                  </a:pathLst>
                </a:custGeom>
                <a:grpFill/>
                <a:ln w="5978" cap="flat">
                  <a:noFill/>
                  <a:prstDash val="solid"/>
                  <a:miter/>
                </a:ln>
              </p:spPr>
              <p:txBody>
                <a:bodyPr rtlCol="0" anchor="ctr"/>
                <a:lstStyle/>
                <a:p>
                  <a:endParaRPr lang="en-GB"/>
                </a:p>
              </p:txBody>
            </p:sp>
            <p:sp>
              <p:nvSpPr>
                <p:cNvPr id="4936" name="Vrije vorm: vorm 4935">
                  <a:extLst>
                    <a:ext uri="{FF2B5EF4-FFF2-40B4-BE49-F238E27FC236}">
                      <a16:creationId xmlns:a16="http://schemas.microsoft.com/office/drawing/2014/main" id="{4096842B-6692-474D-95A5-7D33406A3F1A}"/>
                    </a:ext>
                  </a:extLst>
                </p:cNvPr>
                <p:cNvSpPr/>
                <p:nvPr/>
              </p:nvSpPr>
              <p:spPr>
                <a:xfrm>
                  <a:off x="7643534" y="2894508"/>
                  <a:ext cx="18356" cy="18465"/>
                </a:xfrm>
                <a:custGeom>
                  <a:avLst/>
                  <a:gdLst>
                    <a:gd name="connsiteX0" fmla="*/ 6368 w 18356"/>
                    <a:gd name="connsiteY0" fmla="*/ 441 h 18465"/>
                    <a:gd name="connsiteX1" fmla="*/ 447 w 18356"/>
                    <a:gd name="connsiteY1" fmla="*/ 12043 h 18465"/>
                    <a:gd name="connsiteX2" fmla="*/ 11989 w 18356"/>
                    <a:gd name="connsiteY2" fmla="*/ 18024 h 18465"/>
                    <a:gd name="connsiteX3" fmla="*/ 17910 w 18356"/>
                    <a:gd name="connsiteY3" fmla="*/ 6422 h 18465"/>
                    <a:gd name="connsiteX4" fmla="*/ 6368 w 18356"/>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65">
                      <a:moveTo>
                        <a:pt x="6368" y="441"/>
                      </a:moveTo>
                      <a:cubicBezTo>
                        <a:pt x="1523" y="1996"/>
                        <a:pt x="-1108" y="7199"/>
                        <a:pt x="447" y="12043"/>
                      </a:cubicBezTo>
                      <a:cubicBezTo>
                        <a:pt x="2002" y="16888"/>
                        <a:pt x="7145" y="19579"/>
                        <a:pt x="11989" y="18024"/>
                      </a:cubicBezTo>
                      <a:cubicBezTo>
                        <a:pt x="16834" y="16469"/>
                        <a:pt x="19465" y="11266"/>
                        <a:pt x="17910" y="6422"/>
                      </a:cubicBezTo>
                      <a:cubicBezTo>
                        <a:pt x="16356" y="1577"/>
                        <a:pt x="11212" y="-1114"/>
                        <a:pt x="6368" y="441"/>
                      </a:cubicBezTo>
                      <a:close/>
                    </a:path>
                  </a:pathLst>
                </a:custGeom>
                <a:grpFill/>
                <a:ln w="5978" cap="flat">
                  <a:noFill/>
                  <a:prstDash val="solid"/>
                  <a:miter/>
                </a:ln>
              </p:spPr>
              <p:txBody>
                <a:bodyPr rtlCol="0" anchor="ctr"/>
                <a:lstStyle/>
                <a:p>
                  <a:endParaRPr lang="en-GB"/>
                </a:p>
              </p:txBody>
            </p:sp>
          </p:grpSp>
          <p:grpSp>
            <p:nvGrpSpPr>
              <p:cNvPr id="149" name="Graphic 3">
                <a:extLst>
                  <a:ext uri="{FF2B5EF4-FFF2-40B4-BE49-F238E27FC236}">
                    <a16:creationId xmlns:a16="http://schemas.microsoft.com/office/drawing/2014/main" id="{430325AE-2F4F-4C8D-AF03-480457CF946F}"/>
                  </a:ext>
                </a:extLst>
              </p:cNvPr>
              <p:cNvGrpSpPr/>
              <p:nvPr/>
            </p:nvGrpSpPr>
            <p:grpSpPr>
              <a:xfrm>
                <a:off x="7639625" y="2706123"/>
                <a:ext cx="62750" cy="37432"/>
                <a:chOff x="7639625" y="2706123"/>
                <a:chExt cx="62750" cy="37432"/>
              </a:xfrm>
              <a:grpFill/>
            </p:grpSpPr>
            <p:sp>
              <p:nvSpPr>
                <p:cNvPr id="4931" name="Vrije vorm: vorm 4930">
                  <a:extLst>
                    <a:ext uri="{FF2B5EF4-FFF2-40B4-BE49-F238E27FC236}">
                      <a16:creationId xmlns:a16="http://schemas.microsoft.com/office/drawing/2014/main" id="{72AE7518-5D9C-4B85-B3D5-ACF58649B8DA}"/>
                    </a:ext>
                  </a:extLst>
                </p:cNvPr>
                <p:cNvSpPr/>
                <p:nvPr/>
              </p:nvSpPr>
              <p:spPr>
                <a:xfrm>
                  <a:off x="7647748" y="2713733"/>
                  <a:ext cx="46530" cy="22248"/>
                </a:xfrm>
                <a:custGeom>
                  <a:avLst/>
                  <a:gdLst>
                    <a:gd name="connsiteX0" fmla="*/ 46530 w 46530"/>
                    <a:gd name="connsiteY0" fmla="*/ 2811 h 22248"/>
                    <a:gd name="connsiteX1" fmla="*/ 1196 w 46530"/>
                    <a:gd name="connsiteY1" fmla="*/ 22248 h 22248"/>
                    <a:gd name="connsiteX2" fmla="*/ 0 w 46530"/>
                    <a:gd name="connsiteY2" fmla="*/ 19437 h 22248"/>
                    <a:gd name="connsiteX3" fmla="*/ 45334 w 46530"/>
                    <a:gd name="connsiteY3" fmla="*/ 0 h 22248"/>
                  </a:gdLst>
                  <a:ahLst/>
                  <a:cxnLst>
                    <a:cxn ang="0">
                      <a:pos x="connsiteX0" y="connsiteY0"/>
                    </a:cxn>
                    <a:cxn ang="0">
                      <a:pos x="connsiteX1" y="connsiteY1"/>
                    </a:cxn>
                    <a:cxn ang="0">
                      <a:pos x="connsiteX2" y="connsiteY2"/>
                    </a:cxn>
                    <a:cxn ang="0">
                      <a:pos x="connsiteX3" y="connsiteY3"/>
                    </a:cxn>
                  </a:cxnLst>
                  <a:rect l="l" t="t" r="r" b="b"/>
                  <a:pathLst>
                    <a:path w="46530" h="22248">
                      <a:moveTo>
                        <a:pt x="46530" y="2811"/>
                      </a:moveTo>
                      <a:lnTo>
                        <a:pt x="1196" y="22248"/>
                      </a:lnTo>
                      <a:lnTo>
                        <a:pt x="0" y="19437"/>
                      </a:lnTo>
                      <a:lnTo>
                        <a:pt x="45334" y="0"/>
                      </a:lnTo>
                      <a:close/>
                    </a:path>
                  </a:pathLst>
                </a:custGeom>
                <a:grpFill/>
                <a:ln w="5978" cap="flat">
                  <a:noFill/>
                  <a:prstDash val="solid"/>
                  <a:miter/>
                </a:ln>
              </p:spPr>
              <p:txBody>
                <a:bodyPr rtlCol="0" anchor="ctr"/>
                <a:lstStyle/>
                <a:p>
                  <a:endParaRPr lang="en-GB"/>
                </a:p>
              </p:txBody>
            </p:sp>
            <p:sp>
              <p:nvSpPr>
                <p:cNvPr id="4932" name="Vrije vorm: vorm 4931">
                  <a:extLst>
                    <a:ext uri="{FF2B5EF4-FFF2-40B4-BE49-F238E27FC236}">
                      <a16:creationId xmlns:a16="http://schemas.microsoft.com/office/drawing/2014/main" id="{EC971749-1AF8-490D-90C6-C001E9B5F3C8}"/>
                    </a:ext>
                  </a:extLst>
                </p:cNvPr>
                <p:cNvSpPr/>
                <p:nvPr/>
              </p:nvSpPr>
              <p:spPr>
                <a:xfrm>
                  <a:off x="7684096" y="2706123"/>
                  <a:ext cx="18279" cy="18388"/>
                </a:xfrm>
                <a:custGeom>
                  <a:avLst/>
                  <a:gdLst>
                    <a:gd name="connsiteX0" fmla="*/ 5517 w 18279"/>
                    <a:gd name="connsiteY0" fmla="*/ 732 h 18388"/>
                    <a:gd name="connsiteX1" fmla="*/ 17539 w 18279"/>
                    <a:gd name="connsiteY1" fmla="*/ 5576 h 18388"/>
                    <a:gd name="connsiteX2" fmla="*/ 12754 w 18279"/>
                    <a:gd name="connsiteY2" fmla="*/ 17657 h 18388"/>
                    <a:gd name="connsiteX3" fmla="*/ 733 w 18279"/>
                    <a:gd name="connsiteY3" fmla="*/ 12813 h 18388"/>
                    <a:gd name="connsiteX4" fmla="*/ 5517 w 18279"/>
                    <a:gd name="connsiteY4" fmla="*/ 732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9" h="18388">
                      <a:moveTo>
                        <a:pt x="5517" y="732"/>
                      </a:moveTo>
                      <a:cubicBezTo>
                        <a:pt x="10183" y="-1242"/>
                        <a:pt x="15565" y="911"/>
                        <a:pt x="17539" y="5576"/>
                      </a:cubicBezTo>
                      <a:cubicBezTo>
                        <a:pt x="19512" y="10241"/>
                        <a:pt x="17419" y="15684"/>
                        <a:pt x="12754" y="17657"/>
                      </a:cubicBezTo>
                      <a:cubicBezTo>
                        <a:pt x="8089" y="19631"/>
                        <a:pt x="2707" y="17478"/>
                        <a:pt x="733" y="12813"/>
                      </a:cubicBezTo>
                      <a:cubicBezTo>
                        <a:pt x="-1241" y="8148"/>
                        <a:pt x="912" y="2705"/>
                        <a:pt x="5517" y="732"/>
                      </a:cubicBezTo>
                      <a:close/>
                    </a:path>
                  </a:pathLst>
                </a:custGeom>
                <a:grpFill/>
                <a:ln w="5978" cap="flat">
                  <a:noFill/>
                  <a:prstDash val="solid"/>
                  <a:miter/>
                </a:ln>
              </p:spPr>
              <p:txBody>
                <a:bodyPr rtlCol="0" anchor="ctr"/>
                <a:lstStyle/>
                <a:p>
                  <a:endParaRPr lang="en-GB"/>
                </a:p>
              </p:txBody>
            </p:sp>
            <p:sp>
              <p:nvSpPr>
                <p:cNvPr id="4933" name="Vrije vorm: vorm 4932">
                  <a:extLst>
                    <a:ext uri="{FF2B5EF4-FFF2-40B4-BE49-F238E27FC236}">
                      <a16:creationId xmlns:a16="http://schemas.microsoft.com/office/drawing/2014/main" id="{911D0823-25E5-49E3-A606-587A142C8397}"/>
                    </a:ext>
                  </a:extLst>
                </p:cNvPr>
                <p:cNvSpPr/>
                <p:nvPr/>
              </p:nvSpPr>
              <p:spPr>
                <a:xfrm>
                  <a:off x="7639625" y="2725150"/>
                  <a:ext cx="18339" cy="18405"/>
                </a:xfrm>
                <a:custGeom>
                  <a:avLst/>
                  <a:gdLst>
                    <a:gd name="connsiteX0" fmla="*/ 5551 w 18339"/>
                    <a:gd name="connsiteY0" fmla="*/ 723 h 18405"/>
                    <a:gd name="connsiteX1" fmla="*/ 767 w 18339"/>
                    <a:gd name="connsiteY1" fmla="*/ 12804 h 18405"/>
                    <a:gd name="connsiteX2" fmla="*/ 12788 w 18339"/>
                    <a:gd name="connsiteY2" fmla="*/ 17649 h 18405"/>
                    <a:gd name="connsiteX3" fmla="*/ 17572 w 18339"/>
                    <a:gd name="connsiteY3" fmla="*/ 5568 h 18405"/>
                    <a:gd name="connsiteX4" fmla="*/ 5551 w 18339"/>
                    <a:gd name="connsiteY4" fmla="*/ 72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5">
                      <a:moveTo>
                        <a:pt x="5551" y="723"/>
                      </a:moveTo>
                      <a:cubicBezTo>
                        <a:pt x="886" y="2697"/>
                        <a:pt x="-1267" y="8139"/>
                        <a:pt x="767" y="12804"/>
                      </a:cubicBezTo>
                      <a:cubicBezTo>
                        <a:pt x="2740" y="17469"/>
                        <a:pt x="8183" y="19682"/>
                        <a:pt x="12788" y="17649"/>
                      </a:cubicBezTo>
                      <a:cubicBezTo>
                        <a:pt x="17453" y="15675"/>
                        <a:pt x="19606" y="10233"/>
                        <a:pt x="17572" y="5568"/>
                      </a:cubicBezTo>
                      <a:cubicBezTo>
                        <a:pt x="15599" y="963"/>
                        <a:pt x="10216" y="-1250"/>
                        <a:pt x="5551" y="723"/>
                      </a:cubicBezTo>
                      <a:close/>
                    </a:path>
                  </a:pathLst>
                </a:custGeom>
                <a:grpFill/>
                <a:ln w="5978" cap="flat">
                  <a:noFill/>
                  <a:prstDash val="solid"/>
                  <a:miter/>
                </a:ln>
              </p:spPr>
              <p:txBody>
                <a:bodyPr rtlCol="0" anchor="ctr"/>
                <a:lstStyle/>
                <a:p>
                  <a:endParaRPr lang="en-GB"/>
                </a:p>
              </p:txBody>
            </p:sp>
          </p:grpSp>
          <p:grpSp>
            <p:nvGrpSpPr>
              <p:cNvPr id="150" name="Graphic 3">
                <a:extLst>
                  <a:ext uri="{FF2B5EF4-FFF2-40B4-BE49-F238E27FC236}">
                    <a16:creationId xmlns:a16="http://schemas.microsoft.com/office/drawing/2014/main" id="{4C9C38E2-975D-4E2A-BB83-5B370AD5E7BF}"/>
                  </a:ext>
                </a:extLst>
              </p:cNvPr>
              <p:cNvGrpSpPr/>
              <p:nvPr/>
            </p:nvGrpSpPr>
            <p:grpSpPr>
              <a:xfrm>
                <a:off x="7356823" y="2178539"/>
                <a:ext cx="328106" cy="216040"/>
                <a:chOff x="7356823" y="2178539"/>
                <a:chExt cx="328106" cy="216040"/>
              </a:xfrm>
              <a:grpFill/>
            </p:grpSpPr>
            <p:sp>
              <p:nvSpPr>
                <p:cNvPr id="4928" name="Vrije vorm: vorm 4927">
                  <a:extLst>
                    <a:ext uri="{FF2B5EF4-FFF2-40B4-BE49-F238E27FC236}">
                      <a16:creationId xmlns:a16="http://schemas.microsoft.com/office/drawing/2014/main" id="{A9F6A15A-C241-4592-B4F4-344394EB1D63}"/>
                    </a:ext>
                  </a:extLst>
                </p:cNvPr>
                <p:cNvSpPr/>
                <p:nvPr/>
              </p:nvSpPr>
              <p:spPr>
                <a:xfrm>
                  <a:off x="7364800" y="2186233"/>
                  <a:ext cx="312194" cy="200712"/>
                </a:xfrm>
                <a:custGeom>
                  <a:avLst/>
                  <a:gdLst>
                    <a:gd name="connsiteX0" fmla="*/ 312194 w 312194"/>
                    <a:gd name="connsiteY0" fmla="*/ 2572 h 200712"/>
                    <a:gd name="connsiteX1" fmla="*/ 1615 w 312194"/>
                    <a:gd name="connsiteY1" fmla="*/ 200713 h 200712"/>
                    <a:gd name="connsiteX2" fmla="*/ 0 w 312194"/>
                    <a:gd name="connsiteY2" fmla="*/ 198141 h 200712"/>
                    <a:gd name="connsiteX3" fmla="*/ 310519 w 312194"/>
                    <a:gd name="connsiteY3" fmla="*/ 0 h 200712"/>
                  </a:gdLst>
                  <a:ahLst/>
                  <a:cxnLst>
                    <a:cxn ang="0">
                      <a:pos x="connsiteX0" y="connsiteY0"/>
                    </a:cxn>
                    <a:cxn ang="0">
                      <a:pos x="connsiteX1" y="connsiteY1"/>
                    </a:cxn>
                    <a:cxn ang="0">
                      <a:pos x="connsiteX2" y="connsiteY2"/>
                    </a:cxn>
                    <a:cxn ang="0">
                      <a:pos x="connsiteX3" y="connsiteY3"/>
                    </a:cxn>
                  </a:cxnLst>
                  <a:rect l="l" t="t" r="r" b="b"/>
                  <a:pathLst>
                    <a:path w="312194" h="200712">
                      <a:moveTo>
                        <a:pt x="312194" y="2572"/>
                      </a:moveTo>
                      <a:lnTo>
                        <a:pt x="1615" y="200713"/>
                      </a:lnTo>
                      <a:lnTo>
                        <a:pt x="0" y="198141"/>
                      </a:lnTo>
                      <a:lnTo>
                        <a:pt x="310519" y="0"/>
                      </a:lnTo>
                      <a:close/>
                    </a:path>
                  </a:pathLst>
                </a:custGeom>
                <a:grpFill/>
                <a:ln w="5978" cap="flat">
                  <a:noFill/>
                  <a:prstDash val="solid"/>
                  <a:miter/>
                </a:ln>
              </p:spPr>
              <p:txBody>
                <a:bodyPr rtlCol="0" anchor="ctr"/>
                <a:lstStyle/>
                <a:p>
                  <a:endParaRPr lang="en-GB"/>
                </a:p>
              </p:txBody>
            </p:sp>
            <p:sp>
              <p:nvSpPr>
                <p:cNvPr id="4929" name="Vrije vorm: vorm 4928">
                  <a:extLst>
                    <a:ext uri="{FF2B5EF4-FFF2-40B4-BE49-F238E27FC236}">
                      <a16:creationId xmlns:a16="http://schemas.microsoft.com/office/drawing/2014/main" id="{6F561570-2599-4D9C-A831-F1E654E7C415}"/>
                    </a:ext>
                  </a:extLst>
                </p:cNvPr>
                <p:cNvSpPr/>
                <p:nvPr/>
              </p:nvSpPr>
              <p:spPr>
                <a:xfrm>
                  <a:off x="7356823" y="2376116"/>
                  <a:ext cx="18364" cy="18464"/>
                </a:xfrm>
                <a:custGeom>
                  <a:avLst/>
                  <a:gdLst>
                    <a:gd name="connsiteX0" fmla="*/ 14137 w 18364"/>
                    <a:gd name="connsiteY0" fmla="*/ 17050 h 18464"/>
                    <a:gd name="connsiteX1" fmla="*/ 1458 w 18364"/>
                    <a:gd name="connsiteY1" fmla="*/ 14179 h 18464"/>
                    <a:gd name="connsiteX2" fmla="*/ 4269 w 18364"/>
                    <a:gd name="connsiteY2" fmla="*/ 1441 h 18464"/>
                    <a:gd name="connsiteX3" fmla="*/ 16948 w 18364"/>
                    <a:gd name="connsiteY3" fmla="*/ 4311 h 18464"/>
                    <a:gd name="connsiteX4" fmla="*/ 14137 w 18364"/>
                    <a:gd name="connsiteY4" fmla="*/ 17050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64">
                      <a:moveTo>
                        <a:pt x="14137" y="17050"/>
                      </a:moveTo>
                      <a:cubicBezTo>
                        <a:pt x="9891" y="19742"/>
                        <a:pt x="4209" y="18486"/>
                        <a:pt x="1458" y="14179"/>
                      </a:cubicBezTo>
                      <a:cubicBezTo>
                        <a:pt x="-1293" y="9873"/>
                        <a:pt x="-37" y="4192"/>
                        <a:pt x="4269" y="1441"/>
                      </a:cubicBezTo>
                      <a:cubicBezTo>
                        <a:pt x="8515" y="-1311"/>
                        <a:pt x="14197" y="5"/>
                        <a:pt x="16948" y="4311"/>
                      </a:cubicBezTo>
                      <a:cubicBezTo>
                        <a:pt x="19639" y="8677"/>
                        <a:pt x="18383" y="14359"/>
                        <a:pt x="14137" y="17050"/>
                      </a:cubicBezTo>
                      <a:close/>
                    </a:path>
                  </a:pathLst>
                </a:custGeom>
                <a:grpFill/>
                <a:ln w="5978" cap="flat">
                  <a:noFill/>
                  <a:prstDash val="solid"/>
                  <a:miter/>
                </a:ln>
              </p:spPr>
              <p:txBody>
                <a:bodyPr rtlCol="0" anchor="ctr"/>
                <a:lstStyle/>
                <a:p>
                  <a:endParaRPr lang="en-GB"/>
                </a:p>
              </p:txBody>
            </p:sp>
            <p:sp>
              <p:nvSpPr>
                <p:cNvPr id="4930" name="Vrije vorm: vorm 4929">
                  <a:extLst>
                    <a:ext uri="{FF2B5EF4-FFF2-40B4-BE49-F238E27FC236}">
                      <a16:creationId xmlns:a16="http://schemas.microsoft.com/office/drawing/2014/main" id="{D568C17B-C203-45E5-AE13-081B7A85AD85}"/>
                    </a:ext>
                  </a:extLst>
                </p:cNvPr>
                <p:cNvSpPr/>
                <p:nvPr/>
              </p:nvSpPr>
              <p:spPr>
                <a:xfrm>
                  <a:off x="7666606" y="2178539"/>
                  <a:ext cx="18323" cy="18437"/>
                </a:xfrm>
                <a:custGeom>
                  <a:avLst/>
                  <a:gdLst>
                    <a:gd name="connsiteX0" fmla="*/ 14096 w 18323"/>
                    <a:gd name="connsiteY0" fmla="*/ 17024 h 18437"/>
                    <a:gd name="connsiteX1" fmla="*/ 16907 w 18323"/>
                    <a:gd name="connsiteY1" fmla="*/ 4285 h 18437"/>
                    <a:gd name="connsiteX2" fmla="*/ 4228 w 18323"/>
                    <a:gd name="connsiteY2" fmla="*/ 1414 h 18437"/>
                    <a:gd name="connsiteX3" fmla="*/ 1417 w 18323"/>
                    <a:gd name="connsiteY3" fmla="*/ 14153 h 18437"/>
                    <a:gd name="connsiteX4" fmla="*/ 14096 w 18323"/>
                    <a:gd name="connsiteY4" fmla="*/ 1702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7">
                      <a:moveTo>
                        <a:pt x="14096" y="17024"/>
                      </a:moveTo>
                      <a:cubicBezTo>
                        <a:pt x="18342" y="14332"/>
                        <a:pt x="19598" y="8591"/>
                        <a:pt x="16907" y="4285"/>
                      </a:cubicBezTo>
                      <a:cubicBezTo>
                        <a:pt x="14156" y="-21"/>
                        <a:pt x="8534" y="-1277"/>
                        <a:pt x="4228" y="1414"/>
                      </a:cubicBezTo>
                      <a:cubicBezTo>
                        <a:pt x="-18" y="4105"/>
                        <a:pt x="-1275" y="9847"/>
                        <a:pt x="1417" y="14153"/>
                      </a:cubicBezTo>
                      <a:cubicBezTo>
                        <a:pt x="4168" y="18459"/>
                        <a:pt x="9849" y="19715"/>
                        <a:pt x="14096" y="17024"/>
                      </a:cubicBezTo>
                      <a:close/>
                    </a:path>
                  </a:pathLst>
                </a:custGeom>
                <a:grpFill/>
                <a:ln w="5978" cap="flat">
                  <a:noFill/>
                  <a:prstDash val="solid"/>
                  <a:miter/>
                </a:ln>
              </p:spPr>
              <p:txBody>
                <a:bodyPr rtlCol="0" anchor="ctr"/>
                <a:lstStyle/>
                <a:p>
                  <a:endParaRPr lang="en-GB"/>
                </a:p>
              </p:txBody>
            </p:sp>
          </p:grpSp>
          <p:grpSp>
            <p:nvGrpSpPr>
              <p:cNvPr id="151" name="Graphic 3">
                <a:extLst>
                  <a:ext uri="{FF2B5EF4-FFF2-40B4-BE49-F238E27FC236}">
                    <a16:creationId xmlns:a16="http://schemas.microsoft.com/office/drawing/2014/main" id="{7C76C0DA-B081-4C9F-8911-065EFD15A74F}"/>
                  </a:ext>
                </a:extLst>
              </p:cNvPr>
              <p:cNvGrpSpPr/>
              <p:nvPr/>
            </p:nvGrpSpPr>
            <p:grpSpPr>
              <a:xfrm>
                <a:off x="7576195" y="2678422"/>
                <a:ext cx="187065" cy="59914"/>
                <a:chOff x="7576195" y="2678422"/>
                <a:chExt cx="187065" cy="59914"/>
              </a:xfrm>
              <a:grpFill/>
            </p:grpSpPr>
            <p:sp>
              <p:nvSpPr>
                <p:cNvPr id="4925" name="Vrije vorm: vorm 4924">
                  <a:extLst>
                    <a:ext uri="{FF2B5EF4-FFF2-40B4-BE49-F238E27FC236}">
                      <a16:creationId xmlns:a16="http://schemas.microsoft.com/office/drawing/2014/main" id="{4BB491E0-73EE-4337-9C8F-B55F51C67E06}"/>
                    </a:ext>
                  </a:extLst>
                </p:cNvPr>
                <p:cNvSpPr/>
                <p:nvPr/>
              </p:nvSpPr>
              <p:spPr>
                <a:xfrm>
                  <a:off x="7584592" y="2686042"/>
                  <a:ext cx="170330" cy="44675"/>
                </a:xfrm>
                <a:custGeom>
                  <a:avLst/>
                  <a:gdLst>
                    <a:gd name="connsiteX0" fmla="*/ 169553 w 170330"/>
                    <a:gd name="connsiteY0" fmla="*/ 0 h 44675"/>
                    <a:gd name="connsiteX1" fmla="*/ 170331 w 170330"/>
                    <a:gd name="connsiteY1" fmla="*/ 2990 h 44675"/>
                    <a:gd name="connsiteX2" fmla="*/ 718 w 170330"/>
                    <a:gd name="connsiteY2" fmla="*/ 44676 h 44675"/>
                    <a:gd name="connsiteX3" fmla="*/ 0 w 170330"/>
                    <a:gd name="connsiteY3" fmla="*/ 41686 h 44675"/>
                  </a:gdLst>
                  <a:ahLst/>
                  <a:cxnLst>
                    <a:cxn ang="0">
                      <a:pos x="connsiteX0" y="connsiteY0"/>
                    </a:cxn>
                    <a:cxn ang="0">
                      <a:pos x="connsiteX1" y="connsiteY1"/>
                    </a:cxn>
                    <a:cxn ang="0">
                      <a:pos x="connsiteX2" y="connsiteY2"/>
                    </a:cxn>
                    <a:cxn ang="0">
                      <a:pos x="connsiteX3" y="connsiteY3"/>
                    </a:cxn>
                  </a:cxnLst>
                  <a:rect l="l" t="t" r="r" b="b"/>
                  <a:pathLst>
                    <a:path w="170330" h="44675">
                      <a:moveTo>
                        <a:pt x="169553" y="0"/>
                      </a:moveTo>
                      <a:lnTo>
                        <a:pt x="170331" y="2990"/>
                      </a:lnTo>
                      <a:lnTo>
                        <a:pt x="718" y="44676"/>
                      </a:lnTo>
                      <a:lnTo>
                        <a:pt x="0" y="41686"/>
                      </a:lnTo>
                      <a:close/>
                    </a:path>
                  </a:pathLst>
                </a:custGeom>
                <a:grpFill/>
                <a:ln w="5978" cap="flat">
                  <a:noFill/>
                  <a:prstDash val="solid"/>
                  <a:miter/>
                </a:ln>
              </p:spPr>
              <p:txBody>
                <a:bodyPr rtlCol="0" anchor="ctr"/>
                <a:lstStyle/>
                <a:p>
                  <a:endParaRPr lang="en-GB"/>
                </a:p>
              </p:txBody>
            </p:sp>
            <p:sp>
              <p:nvSpPr>
                <p:cNvPr id="4926" name="Vrije vorm: vorm 4925">
                  <a:extLst>
                    <a:ext uri="{FF2B5EF4-FFF2-40B4-BE49-F238E27FC236}">
                      <a16:creationId xmlns:a16="http://schemas.microsoft.com/office/drawing/2014/main" id="{FF7EC8CC-2FB2-412F-B22D-8194195CE0AF}"/>
                    </a:ext>
                  </a:extLst>
                </p:cNvPr>
                <p:cNvSpPr/>
                <p:nvPr/>
              </p:nvSpPr>
              <p:spPr>
                <a:xfrm>
                  <a:off x="7576195" y="2719929"/>
                  <a:ext cx="18349" cy="18408"/>
                </a:xfrm>
                <a:custGeom>
                  <a:avLst/>
                  <a:gdLst>
                    <a:gd name="connsiteX0" fmla="*/ 11387 w 18349"/>
                    <a:gd name="connsiteY0" fmla="*/ 18146 h 18408"/>
                    <a:gd name="connsiteX1" fmla="*/ 263 w 18349"/>
                    <a:gd name="connsiteY1" fmla="*/ 11387 h 18408"/>
                    <a:gd name="connsiteX2" fmla="*/ 6962 w 18349"/>
                    <a:gd name="connsiteY2" fmla="*/ 263 h 18408"/>
                    <a:gd name="connsiteX3" fmla="*/ 18086 w 18349"/>
                    <a:gd name="connsiteY3" fmla="*/ 7021 h 18408"/>
                    <a:gd name="connsiteX4" fmla="*/ 11387 w 18349"/>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1387" y="18146"/>
                      </a:moveTo>
                      <a:cubicBezTo>
                        <a:pt x="6483" y="19342"/>
                        <a:pt x="1519" y="16351"/>
                        <a:pt x="263" y="11387"/>
                      </a:cubicBezTo>
                      <a:cubicBezTo>
                        <a:pt x="-933" y="6423"/>
                        <a:pt x="2058" y="1459"/>
                        <a:pt x="6962" y="263"/>
                      </a:cubicBezTo>
                      <a:cubicBezTo>
                        <a:pt x="11866" y="-933"/>
                        <a:pt x="16830" y="2057"/>
                        <a:pt x="18086" y="7021"/>
                      </a:cubicBezTo>
                      <a:cubicBezTo>
                        <a:pt x="19282" y="11926"/>
                        <a:pt x="16292" y="16890"/>
                        <a:pt x="11387" y="18146"/>
                      </a:cubicBezTo>
                      <a:close/>
                    </a:path>
                  </a:pathLst>
                </a:custGeom>
                <a:grpFill/>
                <a:ln w="5978" cap="flat">
                  <a:noFill/>
                  <a:prstDash val="solid"/>
                  <a:miter/>
                </a:ln>
              </p:spPr>
              <p:txBody>
                <a:bodyPr rtlCol="0" anchor="ctr"/>
                <a:lstStyle/>
                <a:p>
                  <a:endParaRPr lang="en-GB"/>
                </a:p>
              </p:txBody>
            </p:sp>
            <p:sp>
              <p:nvSpPr>
                <p:cNvPr id="4927" name="Vrije vorm: vorm 4926">
                  <a:extLst>
                    <a:ext uri="{FF2B5EF4-FFF2-40B4-BE49-F238E27FC236}">
                      <a16:creationId xmlns:a16="http://schemas.microsoft.com/office/drawing/2014/main" id="{FC0611E4-03CE-4FC0-A63C-2F3C3272BA64}"/>
                    </a:ext>
                  </a:extLst>
                </p:cNvPr>
                <p:cNvSpPr/>
                <p:nvPr/>
              </p:nvSpPr>
              <p:spPr>
                <a:xfrm>
                  <a:off x="7744911" y="2678422"/>
                  <a:ext cx="18349" cy="18408"/>
                </a:xfrm>
                <a:custGeom>
                  <a:avLst/>
                  <a:gdLst>
                    <a:gd name="connsiteX0" fmla="*/ 11388 w 18349"/>
                    <a:gd name="connsiteY0" fmla="*/ 18146 h 18408"/>
                    <a:gd name="connsiteX1" fmla="*/ 18086 w 18349"/>
                    <a:gd name="connsiteY1" fmla="*/ 7021 h 18408"/>
                    <a:gd name="connsiteX2" fmla="*/ 6962 w 18349"/>
                    <a:gd name="connsiteY2" fmla="*/ 263 h 18408"/>
                    <a:gd name="connsiteX3" fmla="*/ 263 w 18349"/>
                    <a:gd name="connsiteY3" fmla="*/ 11387 h 18408"/>
                    <a:gd name="connsiteX4" fmla="*/ 11388 w 18349"/>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1388" y="18146"/>
                      </a:moveTo>
                      <a:cubicBezTo>
                        <a:pt x="16292" y="16949"/>
                        <a:pt x="19282" y="11926"/>
                        <a:pt x="18086" y="7021"/>
                      </a:cubicBezTo>
                      <a:cubicBezTo>
                        <a:pt x="16890" y="2057"/>
                        <a:pt x="11866" y="-933"/>
                        <a:pt x="6962" y="263"/>
                      </a:cubicBezTo>
                      <a:cubicBezTo>
                        <a:pt x="2058" y="1459"/>
                        <a:pt x="-933" y="6483"/>
                        <a:pt x="263" y="11387"/>
                      </a:cubicBezTo>
                      <a:cubicBezTo>
                        <a:pt x="1520" y="16351"/>
                        <a:pt x="6483" y="19342"/>
                        <a:pt x="11388" y="18146"/>
                      </a:cubicBezTo>
                      <a:close/>
                    </a:path>
                  </a:pathLst>
                </a:custGeom>
                <a:grpFill/>
                <a:ln w="5978" cap="flat">
                  <a:noFill/>
                  <a:prstDash val="solid"/>
                  <a:miter/>
                </a:ln>
              </p:spPr>
              <p:txBody>
                <a:bodyPr rtlCol="0" anchor="ctr"/>
                <a:lstStyle/>
                <a:p>
                  <a:endParaRPr lang="en-GB"/>
                </a:p>
              </p:txBody>
            </p:sp>
          </p:grpSp>
          <p:grpSp>
            <p:nvGrpSpPr>
              <p:cNvPr id="152" name="Graphic 3">
                <a:extLst>
                  <a:ext uri="{FF2B5EF4-FFF2-40B4-BE49-F238E27FC236}">
                    <a16:creationId xmlns:a16="http://schemas.microsoft.com/office/drawing/2014/main" id="{44245E7E-A6F0-46F8-8498-20BB6562AC4C}"/>
                  </a:ext>
                </a:extLst>
              </p:cNvPr>
              <p:cNvGrpSpPr/>
              <p:nvPr/>
            </p:nvGrpSpPr>
            <p:grpSpPr>
              <a:xfrm>
                <a:off x="7809636" y="3488106"/>
                <a:ext cx="247857" cy="28907"/>
                <a:chOff x="7809636" y="3488106"/>
                <a:chExt cx="247857" cy="28907"/>
              </a:xfrm>
              <a:grpFill/>
            </p:grpSpPr>
            <p:sp>
              <p:nvSpPr>
                <p:cNvPr id="4922" name="Vrije vorm: vorm 4921">
                  <a:extLst>
                    <a:ext uri="{FF2B5EF4-FFF2-40B4-BE49-F238E27FC236}">
                      <a16:creationId xmlns:a16="http://schemas.microsoft.com/office/drawing/2014/main" id="{01F71A96-7CC8-416F-A8D6-ACE650AF29AA}"/>
                    </a:ext>
                  </a:extLst>
                </p:cNvPr>
                <p:cNvSpPr/>
                <p:nvPr/>
              </p:nvSpPr>
              <p:spPr>
                <a:xfrm>
                  <a:off x="7818259" y="3495772"/>
                  <a:ext cx="230556" cy="13576"/>
                </a:xfrm>
                <a:custGeom>
                  <a:avLst/>
                  <a:gdLst>
                    <a:gd name="connsiteX0" fmla="*/ 230556 w 230556"/>
                    <a:gd name="connsiteY0" fmla="*/ 10466 h 13576"/>
                    <a:gd name="connsiteX1" fmla="*/ 230437 w 230556"/>
                    <a:gd name="connsiteY1" fmla="*/ 13576 h 13576"/>
                    <a:gd name="connsiteX2" fmla="*/ 0 w 230556"/>
                    <a:gd name="connsiteY2" fmla="*/ 3050 h 13576"/>
                    <a:gd name="connsiteX3" fmla="*/ 120 w 230556"/>
                    <a:gd name="connsiteY3" fmla="*/ 0 h 13576"/>
                  </a:gdLst>
                  <a:ahLst/>
                  <a:cxnLst>
                    <a:cxn ang="0">
                      <a:pos x="connsiteX0" y="connsiteY0"/>
                    </a:cxn>
                    <a:cxn ang="0">
                      <a:pos x="connsiteX1" y="connsiteY1"/>
                    </a:cxn>
                    <a:cxn ang="0">
                      <a:pos x="connsiteX2" y="connsiteY2"/>
                    </a:cxn>
                    <a:cxn ang="0">
                      <a:pos x="connsiteX3" y="connsiteY3"/>
                    </a:cxn>
                  </a:cxnLst>
                  <a:rect l="l" t="t" r="r" b="b"/>
                  <a:pathLst>
                    <a:path w="230556" h="13576">
                      <a:moveTo>
                        <a:pt x="230556" y="10466"/>
                      </a:moveTo>
                      <a:lnTo>
                        <a:pt x="230437" y="13576"/>
                      </a:lnTo>
                      <a:lnTo>
                        <a:pt x="0" y="3050"/>
                      </a:lnTo>
                      <a:lnTo>
                        <a:pt x="120" y="0"/>
                      </a:lnTo>
                      <a:close/>
                    </a:path>
                  </a:pathLst>
                </a:custGeom>
                <a:grpFill/>
                <a:ln w="5978" cap="flat">
                  <a:noFill/>
                  <a:prstDash val="solid"/>
                  <a:miter/>
                </a:ln>
              </p:spPr>
              <p:txBody>
                <a:bodyPr rtlCol="0" anchor="ctr"/>
                <a:lstStyle/>
                <a:p>
                  <a:endParaRPr lang="en-GB"/>
                </a:p>
              </p:txBody>
            </p:sp>
            <p:sp>
              <p:nvSpPr>
                <p:cNvPr id="4923" name="Vrije vorm: vorm 4922">
                  <a:extLst>
                    <a:ext uri="{FF2B5EF4-FFF2-40B4-BE49-F238E27FC236}">
                      <a16:creationId xmlns:a16="http://schemas.microsoft.com/office/drawing/2014/main" id="{349421D5-5454-47D1-81D1-13882C4C5FBB}"/>
                    </a:ext>
                  </a:extLst>
                </p:cNvPr>
                <p:cNvSpPr/>
                <p:nvPr/>
              </p:nvSpPr>
              <p:spPr>
                <a:xfrm>
                  <a:off x="8039180" y="3498572"/>
                  <a:ext cx="18313" cy="18441"/>
                </a:xfrm>
                <a:custGeom>
                  <a:avLst/>
                  <a:gdLst>
                    <a:gd name="connsiteX0" fmla="*/ 9515 w 18313"/>
                    <a:gd name="connsiteY0" fmla="*/ 10 h 18441"/>
                    <a:gd name="connsiteX1" fmla="*/ 18307 w 18313"/>
                    <a:gd name="connsiteY1" fmla="*/ 9639 h 18441"/>
                    <a:gd name="connsiteX2" fmla="*/ 8797 w 18313"/>
                    <a:gd name="connsiteY2" fmla="*/ 18431 h 18441"/>
                    <a:gd name="connsiteX3" fmla="*/ 6 w 18313"/>
                    <a:gd name="connsiteY3" fmla="*/ 8802 h 18441"/>
                    <a:gd name="connsiteX4" fmla="*/ 9515 w 18313"/>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41">
                      <a:moveTo>
                        <a:pt x="9515" y="10"/>
                      </a:moveTo>
                      <a:cubicBezTo>
                        <a:pt x="14599" y="250"/>
                        <a:pt x="18486" y="4556"/>
                        <a:pt x="18307" y="9639"/>
                      </a:cubicBezTo>
                      <a:cubicBezTo>
                        <a:pt x="18128" y="14723"/>
                        <a:pt x="13822" y="18670"/>
                        <a:pt x="8797" y="18431"/>
                      </a:cubicBezTo>
                      <a:cubicBezTo>
                        <a:pt x="3714" y="18192"/>
                        <a:pt x="-174" y="13886"/>
                        <a:pt x="6" y="8802"/>
                      </a:cubicBezTo>
                      <a:cubicBezTo>
                        <a:pt x="186" y="3719"/>
                        <a:pt x="4432" y="-229"/>
                        <a:pt x="9515" y="10"/>
                      </a:cubicBezTo>
                      <a:close/>
                    </a:path>
                  </a:pathLst>
                </a:custGeom>
                <a:grpFill/>
                <a:ln w="5978" cap="flat">
                  <a:noFill/>
                  <a:prstDash val="solid"/>
                  <a:miter/>
                </a:ln>
              </p:spPr>
              <p:txBody>
                <a:bodyPr rtlCol="0" anchor="ctr"/>
                <a:lstStyle/>
                <a:p>
                  <a:endParaRPr lang="en-GB"/>
                </a:p>
              </p:txBody>
            </p:sp>
            <p:sp>
              <p:nvSpPr>
                <p:cNvPr id="4924" name="Vrije vorm: vorm 4923">
                  <a:extLst>
                    <a:ext uri="{FF2B5EF4-FFF2-40B4-BE49-F238E27FC236}">
                      <a16:creationId xmlns:a16="http://schemas.microsoft.com/office/drawing/2014/main" id="{BA7DF958-F59C-4D91-B3DD-723CACC8A293}"/>
                    </a:ext>
                  </a:extLst>
                </p:cNvPr>
                <p:cNvSpPr/>
                <p:nvPr/>
              </p:nvSpPr>
              <p:spPr>
                <a:xfrm>
                  <a:off x="7809636" y="3488106"/>
                  <a:ext cx="18321" cy="18441"/>
                </a:xfrm>
                <a:custGeom>
                  <a:avLst/>
                  <a:gdLst>
                    <a:gd name="connsiteX0" fmla="*/ 9519 w 18321"/>
                    <a:gd name="connsiteY0" fmla="*/ 10 h 18441"/>
                    <a:gd name="connsiteX1" fmla="*/ 10 w 18321"/>
                    <a:gd name="connsiteY1" fmla="*/ 8802 h 18441"/>
                    <a:gd name="connsiteX2" fmla="*/ 8802 w 18321"/>
                    <a:gd name="connsiteY2" fmla="*/ 18431 h 18441"/>
                    <a:gd name="connsiteX3" fmla="*/ 18312 w 18321"/>
                    <a:gd name="connsiteY3" fmla="*/ 9639 h 18441"/>
                    <a:gd name="connsiteX4" fmla="*/ 9519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19" y="10"/>
                      </a:moveTo>
                      <a:cubicBezTo>
                        <a:pt x="4436" y="-229"/>
                        <a:pt x="190" y="3719"/>
                        <a:pt x="10" y="8802"/>
                      </a:cubicBezTo>
                      <a:cubicBezTo>
                        <a:pt x="-228" y="13886"/>
                        <a:pt x="3718" y="18192"/>
                        <a:pt x="8802" y="18431"/>
                      </a:cubicBezTo>
                      <a:cubicBezTo>
                        <a:pt x="13886" y="18670"/>
                        <a:pt x="18132" y="14723"/>
                        <a:pt x="18312" y="9639"/>
                      </a:cubicBezTo>
                      <a:cubicBezTo>
                        <a:pt x="18550" y="4556"/>
                        <a:pt x="14604" y="250"/>
                        <a:pt x="9519" y="10"/>
                      </a:cubicBezTo>
                      <a:close/>
                    </a:path>
                  </a:pathLst>
                </a:custGeom>
                <a:grpFill/>
                <a:ln w="5978" cap="flat">
                  <a:noFill/>
                  <a:prstDash val="solid"/>
                  <a:miter/>
                </a:ln>
              </p:spPr>
              <p:txBody>
                <a:bodyPr rtlCol="0" anchor="ctr"/>
                <a:lstStyle/>
                <a:p>
                  <a:endParaRPr lang="en-GB"/>
                </a:p>
              </p:txBody>
            </p:sp>
          </p:grpSp>
          <p:grpSp>
            <p:nvGrpSpPr>
              <p:cNvPr id="153" name="Graphic 3">
                <a:extLst>
                  <a:ext uri="{FF2B5EF4-FFF2-40B4-BE49-F238E27FC236}">
                    <a16:creationId xmlns:a16="http://schemas.microsoft.com/office/drawing/2014/main" id="{9BA5DB23-BB8E-4734-AEDE-9F70E59E88DD}"/>
                  </a:ext>
                </a:extLst>
              </p:cNvPr>
              <p:cNvGrpSpPr/>
              <p:nvPr/>
            </p:nvGrpSpPr>
            <p:grpSpPr>
              <a:xfrm>
                <a:off x="7257788" y="1913022"/>
                <a:ext cx="375324" cy="316284"/>
                <a:chOff x="7257788" y="1913022"/>
                <a:chExt cx="375324" cy="316284"/>
              </a:xfrm>
              <a:grpFill/>
            </p:grpSpPr>
            <p:sp>
              <p:nvSpPr>
                <p:cNvPr id="4919" name="Vrije vorm: vorm 4918">
                  <a:extLst>
                    <a:ext uri="{FF2B5EF4-FFF2-40B4-BE49-F238E27FC236}">
                      <a16:creationId xmlns:a16="http://schemas.microsoft.com/office/drawing/2014/main" id="{CA103E8A-3A75-4148-B926-4E843D9F270E}"/>
                    </a:ext>
                  </a:extLst>
                </p:cNvPr>
                <p:cNvSpPr/>
                <p:nvPr/>
              </p:nvSpPr>
              <p:spPr>
                <a:xfrm>
                  <a:off x="7265640" y="1920809"/>
                  <a:ext cx="359620" cy="300770"/>
                </a:xfrm>
                <a:custGeom>
                  <a:avLst/>
                  <a:gdLst>
                    <a:gd name="connsiteX0" fmla="*/ 359621 w 359620"/>
                    <a:gd name="connsiteY0" fmla="*/ 2332 h 300770"/>
                    <a:gd name="connsiteX1" fmla="*/ 1914 w 359620"/>
                    <a:gd name="connsiteY1" fmla="*/ 300770 h 300770"/>
                    <a:gd name="connsiteX2" fmla="*/ 0 w 359620"/>
                    <a:gd name="connsiteY2" fmla="*/ 298378 h 300770"/>
                    <a:gd name="connsiteX3" fmla="*/ 357647 w 359620"/>
                    <a:gd name="connsiteY3" fmla="*/ 0 h 300770"/>
                  </a:gdLst>
                  <a:ahLst/>
                  <a:cxnLst>
                    <a:cxn ang="0">
                      <a:pos x="connsiteX0" y="connsiteY0"/>
                    </a:cxn>
                    <a:cxn ang="0">
                      <a:pos x="connsiteX1" y="connsiteY1"/>
                    </a:cxn>
                    <a:cxn ang="0">
                      <a:pos x="connsiteX2" y="connsiteY2"/>
                    </a:cxn>
                    <a:cxn ang="0">
                      <a:pos x="connsiteX3" y="connsiteY3"/>
                    </a:cxn>
                  </a:cxnLst>
                  <a:rect l="l" t="t" r="r" b="b"/>
                  <a:pathLst>
                    <a:path w="359620" h="300770">
                      <a:moveTo>
                        <a:pt x="359621" y="2332"/>
                      </a:moveTo>
                      <a:lnTo>
                        <a:pt x="1914" y="300770"/>
                      </a:lnTo>
                      <a:lnTo>
                        <a:pt x="0" y="298378"/>
                      </a:lnTo>
                      <a:lnTo>
                        <a:pt x="357647" y="0"/>
                      </a:lnTo>
                      <a:close/>
                    </a:path>
                  </a:pathLst>
                </a:custGeom>
                <a:grpFill/>
                <a:ln w="5978" cap="flat">
                  <a:noFill/>
                  <a:prstDash val="solid"/>
                  <a:miter/>
                </a:ln>
              </p:spPr>
              <p:txBody>
                <a:bodyPr rtlCol="0" anchor="ctr"/>
                <a:lstStyle/>
                <a:p>
                  <a:endParaRPr lang="en-GB"/>
                </a:p>
              </p:txBody>
            </p:sp>
            <p:sp>
              <p:nvSpPr>
                <p:cNvPr id="4920" name="Vrije vorm: vorm 4919">
                  <a:extLst>
                    <a:ext uri="{FF2B5EF4-FFF2-40B4-BE49-F238E27FC236}">
                      <a16:creationId xmlns:a16="http://schemas.microsoft.com/office/drawing/2014/main" id="{2F0AEFC9-492B-4EEF-BC50-9E25FB947968}"/>
                    </a:ext>
                  </a:extLst>
                </p:cNvPr>
                <p:cNvSpPr/>
                <p:nvPr/>
              </p:nvSpPr>
              <p:spPr>
                <a:xfrm>
                  <a:off x="7257788" y="2210862"/>
                  <a:ext cx="18335" cy="18444"/>
                </a:xfrm>
                <a:custGeom>
                  <a:avLst/>
                  <a:gdLst>
                    <a:gd name="connsiteX0" fmla="*/ 15028 w 18335"/>
                    <a:gd name="connsiteY0" fmla="*/ 16339 h 18444"/>
                    <a:gd name="connsiteX1" fmla="*/ 2111 w 18335"/>
                    <a:gd name="connsiteY1" fmla="*/ 15083 h 18444"/>
                    <a:gd name="connsiteX2" fmla="*/ 3306 w 18335"/>
                    <a:gd name="connsiteY2" fmla="*/ 2105 h 18444"/>
                    <a:gd name="connsiteX3" fmla="*/ 16225 w 18335"/>
                    <a:gd name="connsiteY3" fmla="*/ 3361 h 18444"/>
                    <a:gd name="connsiteX4" fmla="*/ 15028 w 18335"/>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8" y="16339"/>
                      </a:moveTo>
                      <a:cubicBezTo>
                        <a:pt x="11141" y="19569"/>
                        <a:pt x="5340" y="19031"/>
                        <a:pt x="2111" y="15083"/>
                      </a:cubicBezTo>
                      <a:cubicBezTo>
                        <a:pt x="-1119" y="11136"/>
                        <a:pt x="-581" y="5335"/>
                        <a:pt x="3306" y="2105"/>
                      </a:cubicBezTo>
                      <a:cubicBezTo>
                        <a:pt x="7194" y="-1124"/>
                        <a:pt x="12995" y="-586"/>
                        <a:pt x="16225" y="3361"/>
                      </a:cubicBezTo>
                      <a:cubicBezTo>
                        <a:pt x="19454" y="7309"/>
                        <a:pt x="18916" y="13110"/>
                        <a:pt x="15028" y="16339"/>
                      </a:cubicBezTo>
                      <a:close/>
                    </a:path>
                  </a:pathLst>
                </a:custGeom>
                <a:grpFill/>
                <a:ln w="5978" cap="flat">
                  <a:noFill/>
                  <a:prstDash val="solid"/>
                  <a:miter/>
                </a:ln>
              </p:spPr>
              <p:txBody>
                <a:bodyPr rtlCol="0" anchor="ctr"/>
                <a:lstStyle/>
                <a:p>
                  <a:endParaRPr lang="en-GB"/>
                </a:p>
              </p:txBody>
            </p:sp>
            <p:sp>
              <p:nvSpPr>
                <p:cNvPr id="4921" name="Vrije vorm: vorm 4920">
                  <a:extLst>
                    <a:ext uri="{FF2B5EF4-FFF2-40B4-BE49-F238E27FC236}">
                      <a16:creationId xmlns:a16="http://schemas.microsoft.com/office/drawing/2014/main" id="{70DD7055-38C9-47B7-AAA4-FB5F67E2B890}"/>
                    </a:ext>
                  </a:extLst>
                </p:cNvPr>
                <p:cNvSpPr/>
                <p:nvPr/>
              </p:nvSpPr>
              <p:spPr>
                <a:xfrm>
                  <a:off x="7614777" y="1913022"/>
                  <a:ext cx="18335" cy="18444"/>
                </a:xfrm>
                <a:custGeom>
                  <a:avLst/>
                  <a:gdLst>
                    <a:gd name="connsiteX0" fmla="*/ 15029 w 18335"/>
                    <a:gd name="connsiteY0" fmla="*/ 16339 h 18444"/>
                    <a:gd name="connsiteX1" fmla="*/ 16225 w 18335"/>
                    <a:gd name="connsiteY1" fmla="*/ 3361 h 18444"/>
                    <a:gd name="connsiteX2" fmla="*/ 3306 w 18335"/>
                    <a:gd name="connsiteY2" fmla="*/ 2105 h 18444"/>
                    <a:gd name="connsiteX3" fmla="*/ 2110 w 18335"/>
                    <a:gd name="connsiteY3" fmla="*/ 15084 h 18444"/>
                    <a:gd name="connsiteX4" fmla="*/ 15029 w 18335"/>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39"/>
                      </a:moveTo>
                      <a:cubicBezTo>
                        <a:pt x="18917" y="13110"/>
                        <a:pt x="19455" y="7309"/>
                        <a:pt x="16225" y="3361"/>
                      </a:cubicBezTo>
                      <a:cubicBezTo>
                        <a:pt x="12995" y="-586"/>
                        <a:pt x="7194" y="-1124"/>
                        <a:pt x="3306" y="2105"/>
                      </a:cubicBezTo>
                      <a:cubicBezTo>
                        <a:pt x="-581" y="5335"/>
                        <a:pt x="-1119" y="11136"/>
                        <a:pt x="2110" y="15084"/>
                      </a:cubicBezTo>
                      <a:cubicBezTo>
                        <a:pt x="5340" y="19031"/>
                        <a:pt x="11141" y="19569"/>
                        <a:pt x="15029" y="16339"/>
                      </a:cubicBezTo>
                      <a:close/>
                    </a:path>
                  </a:pathLst>
                </a:custGeom>
                <a:grpFill/>
                <a:ln w="5978" cap="flat">
                  <a:noFill/>
                  <a:prstDash val="solid"/>
                  <a:miter/>
                </a:ln>
              </p:spPr>
              <p:txBody>
                <a:bodyPr rtlCol="0" anchor="ctr"/>
                <a:lstStyle/>
                <a:p>
                  <a:endParaRPr lang="en-GB"/>
                </a:p>
              </p:txBody>
            </p:sp>
          </p:grpSp>
          <p:grpSp>
            <p:nvGrpSpPr>
              <p:cNvPr id="154" name="Graphic 3">
                <a:extLst>
                  <a:ext uri="{FF2B5EF4-FFF2-40B4-BE49-F238E27FC236}">
                    <a16:creationId xmlns:a16="http://schemas.microsoft.com/office/drawing/2014/main" id="{532292EB-2059-4905-83F2-133FD0494929}"/>
                  </a:ext>
                </a:extLst>
              </p:cNvPr>
              <p:cNvGrpSpPr/>
              <p:nvPr/>
            </p:nvGrpSpPr>
            <p:grpSpPr>
              <a:xfrm>
                <a:off x="7694522" y="3015367"/>
                <a:ext cx="149546" cy="47272"/>
                <a:chOff x="7694522" y="3015367"/>
                <a:chExt cx="149546" cy="47272"/>
              </a:xfrm>
              <a:grpFill/>
            </p:grpSpPr>
            <p:sp>
              <p:nvSpPr>
                <p:cNvPr id="4916" name="Vrije vorm: vorm 4915">
                  <a:extLst>
                    <a:ext uri="{FF2B5EF4-FFF2-40B4-BE49-F238E27FC236}">
                      <a16:creationId xmlns:a16="http://schemas.microsoft.com/office/drawing/2014/main" id="{38B73A7F-D3DD-43B8-88EB-5A1F70A95B72}"/>
                    </a:ext>
                  </a:extLst>
                </p:cNvPr>
                <p:cNvSpPr/>
                <p:nvPr/>
              </p:nvSpPr>
              <p:spPr>
                <a:xfrm>
                  <a:off x="7702950" y="3022996"/>
                  <a:ext cx="132711" cy="32116"/>
                </a:xfrm>
                <a:custGeom>
                  <a:avLst/>
                  <a:gdLst>
                    <a:gd name="connsiteX0" fmla="*/ 132054 w 132711"/>
                    <a:gd name="connsiteY0" fmla="*/ 0 h 32116"/>
                    <a:gd name="connsiteX1" fmla="*/ 132712 w 132711"/>
                    <a:gd name="connsiteY1" fmla="*/ 2990 h 32116"/>
                    <a:gd name="connsiteX2" fmla="*/ 658 w 132711"/>
                    <a:gd name="connsiteY2" fmla="*/ 32116 h 32116"/>
                    <a:gd name="connsiteX3" fmla="*/ 0 w 132711"/>
                    <a:gd name="connsiteY3" fmla="*/ 29126 h 32116"/>
                  </a:gdLst>
                  <a:ahLst/>
                  <a:cxnLst>
                    <a:cxn ang="0">
                      <a:pos x="connsiteX0" y="connsiteY0"/>
                    </a:cxn>
                    <a:cxn ang="0">
                      <a:pos x="connsiteX1" y="connsiteY1"/>
                    </a:cxn>
                    <a:cxn ang="0">
                      <a:pos x="connsiteX2" y="connsiteY2"/>
                    </a:cxn>
                    <a:cxn ang="0">
                      <a:pos x="connsiteX3" y="connsiteY3"/>
                    </a:cxn>
                  </a:cxnLst>
                  <a:rect l="l" t="t" r="r" b="b"/>
                  <a:pathLst>
                    <a:path w="132711" h="32116">
                      <a:moveTo>
                        <a:pt x="132054" y="0"/>
                      </a:moveTo>
                      <a:lnTo>
                        <a:pt x="132712" y="2990"/>
                      </a:lnTo>
                      <a:lnTo>
                        <a:pt x="658" y="32116"/>
                      </a:lnTo>
                      <a:lnTo>
                        <a:pt x="0" y="29126"/>
                      </a:lnTo>
                      <a:close/>
                    </a:path>
                  </a:pathLst>
                </a:custGeom>
                <a:grpFill/>
                <a:ln w="5978" cap="flat">
                  <a:noFill/>
                  <a:prstDash val="solid"/>
                  <a:miter/>
                </a:ln>
              </p:spPr>
              <p:txBody>
                <a:bodyPr rtlCol="0" anchor="ctr"/>
                <a:lstStyle/>
                <a:p>
                  <a:endParaRPr lang="en-GB"/>
                </a:p>
              </p:txBody>
            </p:sp>
            <p:sp>
              <p:nvSpPr>
                <p:cNvPr id="4917" name="Vrije vorm: vorm 4916">
                  <a:extLst>
                    <a:ext uri="{FF2B5EF4-FFF2-40B4-BE49-F238E27FC236}">
                      <a16:creationId xmlns:a16="http://schemas.microsoft.com/office/drawing/2014/main" id="{5D04ECF0-4543-4D9C-8C8E-886E6ED4F39B}"/>
                    </a:ext>
                  </a:extLst>
                </p:cNvPr>
                <p:cNvSpPr/>
                <p:nvPr/>
              </p:nvSpPr>
              <p:spPr>
                <a:xfrm>
                  <a:off x="7825739" y="3015367"/>
                  <a:ext cx="18329" cy="18367"/>
                </a:xfrm>
                <a:custGeom>
                  <a:avLst/>
                  <a:gdLst>
                    <a:gd name="connsiteX0" fmla="*/ 7172 w 18329"/>
                    <a:gd name="connsiteY0" fmla="*/ 213 h 18367"/>
                    <a:gd name="connsiteX1" fmla="*/ 18116 w 18329"/>
                    <a:gd name="connsiteY1" fmla="*/ 7210 h 18367"/>
                    <a:gd name="connsiteX2" fmla="*/ 11179 w 18329"/>
                    <a:gd name="connsiteY2" fmla="*/ 18155 h 18367"/>
                    <a:gd name="connsiteX3" fmla="*/ 234 w 18329"/>
                    <a:gd name="connsiteY3" fmla="*/ 11098 h 18367"/>
                    <a:gd name="connsiteX4" fmla="*/ 7172 w 18329"/>
                    <a:gd name="connsiteY4" fmla="*/ 21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67">
                      <a:moveTo>
                        <a:pt x="7172" y="213"/>
                      </a:moveTo>
                      <a:cubicBezTo>
                        <a:pt x="12136" y="-864"/>
                        <a:pt x="17040" y="2246"/>
                        <a:pt x="18116" y="7210"/>
                      </a:cubicBezTo>
                      <a:cubicBezTo>
                        <a:pt x="19193" y="12174"/>
                        <a:pt x="16083" y="17079"/>
                        <a:pt x="11179" y="18155"/>
                      </a:cubicBezTo>
                      <a:cubicBezTo>
                        <a:pt x="6215" y="19231"/>
                        <a:pt x="1311" y="16122"/>
                        <a:pt x="234" y="11098"/>
                      </a:cubicBezTo>
                      <a:cubicBezTo>
                        <a:pt x="-902" y="6194"/>
                        <a:pt x="2208" y="1289"/>
                        <a:pt x="7172" y="213"/>
                      </a:cubicBezTo>
                      <a:close/>
                    </a:path>
                  </a:pathLst>
                </a:custGeom>
                <a:grpFill/>
                <a:ln w="5978" cap="flat">
                  <a:noFill/>
                  <a:prstDash val="solid"/>
                  <a:miter/>
                </a:ln>
              </p:spPr>
              <p:txBody>
                <a:bodyPr rtlCol="0" anchor="ctr"/>
                <a:lstStyle/>
                <a:p>
                  <a:endParaRPr lang="en-GB"/>
                </a:p>
              </p:txBody>
            </p:sp>
            <p:sp>
              <p:nvSpPr>
                <p:cNvPr id="4918" name="Vrije vorm: vorm 4917">
                  <a:extLst>
                    <a:ext uri="{FF2B5EF4-FFF2-40B4-BE49-F238E27FC236}">
                      <a16:creationId xmlns:a16="http://schemas.microsoft.com/office/drawing/2014/main" id="{7D1D7239-675D-42C9-BFD2-77A2F34F0863}"/>
                    </a:ext>
                  </a:extLst>
                </p:cNvPr>
                <p:cNvSpPr/>
                <p:nvPr/>
              </p:nvSpPr>
              <p:spPr>
                <a:xfrm>
                  <a:off x="7694522" y="3044256"/>
                  <a:ext cx="18350" cy="18383"/>
                </a:xfrm>
                <a:custGeom>
                  <a:avLst/>
                  <a:gdLst>
                    <a:gd name="connsiteX0" fmla="*/ 7172 w 18350"/>
                    <a:gd name="connsiteY0" fmla="*/ 210 h 18383"/>
                    <a:gd name="connsiteX1" fmla="*/ 234 w 18350"/>
                    <a:gd name="connsiteY1" fmla="*/ 11155 h 18383"/>
                    <a:gd name="connsiteX2" fmla="*/ 11179 w 18350"/>
                    <a:gd name="connsiteY2" fmla="*/ 18152 h 18383"/>
                    <a:gd name="connsiteX3" fmla="*/ 18117 w 18350"/>
                    <a:gd name="connsiteY3" fmla="*/ 7208 h 18383"/>
                    <a:gd name="connsiteX4" fmla="*/ 7172 w 18350"/>
                    <a:gd name="connsiteY4" fmla="*/ 210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83">
                      <a:moveTo>
                        <a:pt x="7172" y="210"/>
                      </a:moveTo>
                      <a:cubicBezTo>
                        <a:pt x="2208" y="1287"/>
                        <a:pt x="-902" y="6191"/>
                        <a:pt x="234" y="11155"/>
                      </a:cubicBezTo>
                      <a:cubicBezTo>
                        <a:pt x="1310" y="16119"/>
                        <a:pt x="6215" y="19289"/>
                        <a:pt x="11179" y="18152"/>
                      </a:cubicBezTo>
                      <a:cubicBezTo>
                        <a:pt x="16143" y="17076"/>
                        <a:pt x="19253" y="12172"/>
                        <a:pt x="18117" y="7208"/>
                      </a:cubicBezTo>
                      <a:cubicBezTo>
                        <a:pt x="17040" y="2303"/>
                        <a:pt x="12136" y="-866"/>
                        <a:pt x="7172" y="210"/>
                      </a:cubicBezTo>
                      <a:close/>
                    </a:path>
                  </a:pathLst>
                </a:custGeom>
                <a:grpFill/>
                <a:ln w="5978" cap="flat">
                  <a:noFill/>
                  <a:prstDash val="solid"/>
                  <a:miter/>
                </a:ln>
              </p:spPr>
              <p:txBody>
                <a:bodyPr rtlCol="0" anchor="ctr"/>
                <a:lstStyle/>
                <a:p>
                  <a:endParaRPr lang="en-GB"/>
                </a:p>
              </p:txBody>
            </p:sp>
          </p:grpSp>
          <p:grpSp>
            <p:nvGrpSpPr>
              <p:cNvPr id="155" name="Graphic 3">
                <a:extLst>
                  <a:ext uri="{FF2B5EF4-FFF2-40B4-BE49-F238E27FC236}">
                    <a16:creationId xmlns:a16="http://schemas.microsoft.com/office/drawing/2014/main" id="{C4254F2F-4BF8-47BB-9F6E-517BADB0D17A}"/>
                  </a:ext>
                </a:extLst>
              </p:cNvPr>
              <p:cNvGrpSpPr/>
              <p:nvPr/>
            </p:nvGrpSpPr>
            <p:grpSpPr>
              <a:xfrm>
                <a:off x="7550605" y="2612762"/>
                <a:ext cx="189263" cy="67968"/>
                <a:chOff x="7550605" y="2612762"/>
                <a:chExt cx="189263" cy="67968"/>
              </a:xfrm>
              <a:grpFill/>
            </p:grpSpPr>
            <p:sp>
              <p:nvSpPr>
                <p:cNvPr id="4913" name="Vrije vorm: vorm 4912">
                  <a:extLst>
                    <a:ext uri="{FF2B5EF4-FFF2-40B4-BE49-F238E27FC236}">
                      <a16:creationId xmlns:a16="http://schemas.microsoft.com/office/drawing/2014/main" id="{1A7DABA8-7DB2-45E7-B7D0-C3AB1FD48EA0}"/>
                    </a:ext>
                  </a:extLst>
                </p:cNvPr>
                <p:cNvSpPr/>
                <p:nvPr/>
              </p:nvSpPr>
              <p:spPr>
                <a:xfrm>
                  <a:off x="7559170" y="2620542"/>
                  <a:ext cx="172666" cy="52730"/>
                </a:xfrm>
                <a:custGeom>
                  <a:avLst/>
                  <a:gdLst>
                    <a:gd name="connsiteX0" fmla="*/ 0 w 172666"/>
                    <a:gd name="connsiteY0" fmla="*/ 49801 h 52730"/>
                    <a:gd name="connsiteX1" fmla="*/ 171818 w 172666"/>
                    <a:gd name="connsiteY1" fmla="*/ 0 h 52730"/>
                    <a:gd name="connsiteX2" fmla="*/ 172667 w 172666"/>
                    <a:gd name="connsiteY2" fmla="*/ 2930 h 52730"/>
                    <a:gd name="connsiteX3" fmla="*/ 849 w 172666"/>
                    <a:gd name="connsiteY3" fmla="*/ 52731 h 52730"/>
                  </a:gdLst>
                  <a:ahLst/>
                  <a:cxnLst>
                    <a:cxn ang="0">
                      <a:pos x="connsiteX0" y="connsiteY0"/>
                    </a:cxn>
                    <a:cxn ang="0">
                      <a:pos x="connsiteX1" y="connsiteY1"/>
                    </a:cxn>
                    <a:cxn ang="0">
                      <a:pos x="connsiteX2" y="connsiteY2"/>
                    </a:cxn>
                    <a:cxn ang="0">
                      <a:pos x="connsiteX3" y="connsiteY3"/>
                    </a:cxn>
                  </a:cxnLst>
                  <a:rect l="l" t="t" r="r" b="b"/>
                  <a:pathLst>
                    <a:path w="172666" h="52730">
                      <a:moveTo>
                        <a:pt x="0" y="49801"/>
                      </a:moveTo>
                      <a:lnTo>
                        <a:pt x="171818" y="0"/>
                      </a:lnTo>
                      <a:lnTo>
                        <a:pt x="172667" y="2930"/>
                      </a:lnTo>
                      <a:lnTo>
                        <a:pt x="849" y="52731"/>
                      </a:lnTo>
                      <a:close/>
                    </a:path>
                  </a:pathLst>
                </a:custGeom>
                <a:grpFill/>
                <a:ln w="5978" cap="flat">
                  <a:noFill/>
                  <a:prstDash val="solid"/>
                  <a:miter/>
                </a:ln>
              </p:spPr>
              <p:txBody>
                <a:bodyPr rtlCol="0" anchor="ctr"/>
                <a:lstStyle/>
                <a:p>
                  <a:endParaRPr lang="en-GB"/>
                </a:p>
              </p:txBody>
            </p:sp>
            <p:sp>
              <p:nvSpPr>
                <p:cNvPr id="4914" name="Vrije vorm: vorm 4913">
                  <a:extLst>
                    <a:ext uri="{FF2B5EF4-FFF2-40B4-BE49-F238E27FC236}">
                      <a16:creationId xmlns:a16="http://schemas.microsoft.com/office/drawing/2014/main" id="{B303AB2D-D655-4151-819F-07329832279C}"/>
                    </a:ext>
                  </a:extLst>
                </p:cNvPr>
                <p:cNvSpPr/>
                <p:nvPr/>
              </p:nvSpPr>
              <p:spPr>
                <a:xfrm>
                  <a:off x="7550605" y="2662287"/>
                  <a:ext cx="18334" cy="18443"/>
                </a:xfrm>
                <a:custGeom>
                  <a:avLst/>
                  <a:gdLst>
                    <a:gd name="connsiteX0" fmla="*/ 11739 w 18334"/>
                    <a:gd name="connsiteY0" fmla="*/ 18073 h 18443"/>
                    <a:gd name="connsiteX1" fmla="*/ 375 w 18334"/>
                    <a:gd name="connsiteY1" fmla="*/ 11794 h 18443"/>
                    <a:gd name="connsiteX2" fmla="*/ 6596 w 18334"/>
                    <a:gd name="connsiteY2" fmla="*/ 370 h 18443"/>
                    <a:gd name="connsiteX3" fmla="*/ 17959 w 18334"/>
                    <a:gd name="connsiteY3" fmla="*/ 6650 h 18443"/>
                    <a:gd name="connsiteX4" fmla="*/ 11739 w 18334"/>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3">
                      <a:moveTo>
                        <a:pt x="11739" y="18073"/>
                      </a:moveTo>
                      <a:cubicBezTo>
                        <a:pt x="6894" y="19509"/>
                        <a:pt x="1811" y="16638"/>
                        <a:pt x="375" y="11794"/>
                      </a:cubicBezTo>
                      <a:cubicBezTo>
                        <a:pt x="-1060" y="6889"/>
                        <a:pt x="1751" y="1806"/>
                        <a:pt x="6596" y="370"/>
                      </a:cubicBezTo>
                      <a:cubicBezTo>
                        <a:pt x="11440" y="-1065"/>
                        <a:pt x="16524" y="1806"/>
                        <a:pt x="17959" y="6650"/>
                      </a:cubicBezTo>
                      <a:cubicBezTo>
                        <a:pt x="19394" y="11554"/>
                        <a:pt x="16584" y="16638"/>
                        <a:pt x="11739" y="18073"/>
                      </a:cubicBezTo>
                      <a:close/>
                    </a:path>
                  </a:pathLst>
                </a:custGeom>
                <a:grpFill/>
                <a:ln w="5978" cap="flat">
                  <a:noFill/>
                  <a:prstDash val="solid"/>
                  <a:miter/>
                </a:ln>
              </p:spPr>
              <p:txBody>
                <a:bodyPr rtlCol="0" anchor="ctr"/>
                <a:lstStyle/>
                <a:p>
                  <a:endParaRPr lang="en-GB"/>
                </a:p>
              </p:txBody>
            </p:sp>
            <p:sp>
              <p:nvSpPr>
                <p:cNvPr id="4915" name="Vrije vorm: vorm 4914">
                  <a:extLst>
                    <a:ext uri="{FF2B5EF4-FFF2-40B4-BE49-F238E27FC236}">
                      <a16:creationId xmlns:a16="http://schemas.microsoft.com/office/drawing/2014/main" id="{83701871-ED28-4CB1-ADD7-1FDA01A4F769}"/>
                    </a:ext>
                  </a:extLst>
                </p:cNvPr>
                <p:cNvSpPr/>
                <p:nvPr/>
              </p:nvSpPr>
              <p:spPr>
                <a:xfrm>
                  <a:off x="7721534" y="2612762"/>
                  <a:ext cx="18333" cy="18448"/>
                </a:xfrm>
                <a:custGeom>
                  <a:avLst/>
                  <a:gdLst>
                    <a:gd name="connsiteX0" fmla="*/ 11738 w 18333"/>
                    <a:gd name="connsiteY0" fmla="*/ 18078 h 18448"/>
                    <a:gd name="connsiteX1" fmla="*/ 17959 w 18333"/>
                    <a:gd name="connsiteY1" fmla="*/ 6655 h 18448"/>
                    <a:gd name="connsiteX2" fmla="*/ 6595 w 18333"/>
                    <a:gd name="connsiteY2" fmla="*/ 375 h 18448"/>
                    <a:gd name="connsiteX3" fmla="*/ 376 w 18333"/>
                    <a:gd name="connsiteY3" fmla="*/ 11798 h 18448"/>
                    <a:gd name="connsiteX4" fmla="*/ 11738 w 18333"/>
                    <a:gd name="connsiteY4" fmla="*/ 180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8">
                      <a:moveTo>
                        <a:pt x="11738" y="18078"/>
                      </a:moveTo>
                      <a:cubicBezTo>
                        <a:pt x="16583" y="16702"/>
                        <a:pt x="19394" y="11559"/>
                        <a:pt x="17959" y="6655"/>
                      </a:cubicBezTo>
                      <a:cubicBezTo>
                        <a:pt x="16523" y="1751"/>
                        <a:pt x="11440" y="-1060"/>
                        <a:pt x="6595" y="375"/>
                      </a:cubicBezTo>
                      <a:cubicBezTo>
                        <a:pt x="1751" y="1810"/>
                        <a:pt x="-1060" y="6894"/>
                        <a:pt x="376" y="11798"/>
                      </a:cubicBezTo>
                      <a:cubicBezTo>
                        <a:pt x="1811" y="16643"/>
                        <a:pt x="6894" y="19513"/>
                        <a:pt x="11738" y="18078"/>
                      </a:cubicBezTo>
                      <a:close/>
                    </a:path>
                  </a:pathLst>
                </a:custGeom>
                <a:grpFill/>
                <a:ln w="5978" cap="flat">
                  <a:noFill/>
                  <a:prstDash val="solid"/>
                  <a:miter/>
                </a:ln>
              </p:spPr>
              <p:txBody>
                <a:bodyPr rtlCol="0" anchor="ctr"/>
                <a:lstStyle/>
                <a:p>
                  <a:endParaRPr lang="en-GB"/>
                </a:p>
              </p:txBody>
            </p:sp>
          </p:grpSp>
          <p:grpSp>
            <p:nvGrpSpPr>
              <p:cNvPr id="156" name="Graphic 3">
                <a:extLst>
                  <a:ext uri="{FF2B5EF4-FFF2-40B4-BE49-F238E27FC236}">
                    <a16:creationId xmlns:a16="http://schemas.microsoft.com/office/drawing/2014/main" id="{60742498-7129-4CC0-81A6-8CC7ABCFE5B0}"/>
                  </a:ext>
                </a:extLst>
              </p:cNvPr>
              <p:cNvGrpSpPr/>
              <p:nvPr/>
            </p:nvGrpSpPr>
            <p:grpSpPr>
              <a:xfrm>
                <a:off x="7126487" y="1593788"/>
                <a:ext cx="516359" cy="544153"/>
                <a:chOff x="7126487" y="1593788"/>
                <a:chExt cx="516359" cy="544153"/>
              </a:xfrm>
              <a:grpFill/>
            </p:grpSpPr>
            <p:sp>
              <p:nvSpPr>
                <p:cNvPr id="4910" name="Vrije vorm: vorm 4909">
                  <a:extLst>
                    <a:ext uri="{FF2B5EF4-FFF2-40B4-BE49-F238E27FC236}">
                      <a16:creationId xmlns:a16="http://schemas.microsoft.com/office/drawing/2014/main" id="{62D79E42-9485-40AB-B48D-CA75465E444C}"/>
                    </a:ext>
                  </a:extLst>
                </p:cNvPr>
                <p:cNvSpPr/>
                <p:nvPr/>
              </p:nvSpPr>
              <p:spPr>
                <a:xfrm>
                  <a:off x="7134244" y="1601618"/>
                  <a:ext cx="500885" cy="528456"/>
                </a:xfrm>
                <a:custGeom>
                  <a:avLst/>
                  <a:gdLst>
                    <a:gd name="connsiteX0" fmla="*/ 500886 w 500885"/>
                    <a:gd name="connsiteY0" fmla="*/ 2093 h 528456"/>
                    <a:gd name="connsiteX1" fmla="*/ 2213 w 500885"/>
                    <a:gd name="connsiteY1" fmla="*/ 528457 h 528456"/>
                    <a:gd name="connsiteX2" fmla="*/ 0 w 500885"/>
                    <a:gd name="connsiteY2" fmla="*/ 526363 h 528456"/>
                    <a:gd name="connsiteX3" fmla="*/ 498673 w 500885"/>
                    <a:gd name="connsiteY3" fmla="*/ 0 h 528456"/>
                  </a:gdLst>
                  <a:ahLst/>
                  <a:cxnLst>
                    <a:cxn ang="0">
                      <a:pos x="connsiteX0" y="connsiteY0"/>
                    </a:cxn>
                    <a:cxn ang="0">
                      <a:pos x="connsiteX1" y="connsiteY1"/>
                    </a:cxn>
                    <a:cxn ang="0">
                      <a:pos x="connsiteX2" y="connsiteY2"/>
                    </a:cxn>
                    <a:cxn ang="0">
                      <a:pos x="connsiteX3" y="connsiteY3"/>
                    </a:cxn>
                  </a:cxnLst>
                  <a:rect l="l" t="t" r="r" b="b"/>
                  <a:pathLst>
                    <a:path w="500885" h="528456">
                      <a:moveTo>
                        <a:pt x="500886" y="2093"/>
                      </a:moveTo>
                      <a:lnTo>
                        <a:pt x="2213" y="528457"/>
                      </a:lnTo>
                      <a:lnTo>
                        <a:pt x="0" y="526363"/>
                      </a:lnTo>
                      <a:lnTo>
                        <a:pt x="498673" y="0"/>
                      </a:lnTo>
                      <a:close/>
                    </a:path>
                  </a:pathLst>
                </a:custGeom>
                <a:grpFill/>
                <a:ln w="5978" cap="flat">
                  <a:noFill/>
                  <a:prstDash val="solid"/>
                  <a:miter/>
                </a:ln>
              </p:spPr>
              <p:txBody>
                <a:bodyPr rtlCol="0" anchor="ctr"/>
                <a:lstStyle/>
                <a:p>
                  <a:endParaRPr lang="en-GB"/>
                </a:p>
              </p:txBody>
            </p:sp>
            <p:sp>
              <p:nvSpPr>
                <p:cNvPr id="4911" name="Vrije vorm: vorm 4910">
                  <a:extLst>
                    <a:ext uri="{FF2B5EF4-FFF2-40B4-BE49-F238E27FC236}">
                      <a16:creationId xmlns:a16="http://schemas.microsoft.com/office/drawing/2014/main" id="{1F87317E-2F3B-4672-9405-2C5E7B45B25F}"/>
                    </a:ext>
                  </a:extLst>
                </p:cNvPr>
                <p:cNvSpPr/>
                <p:nvPr/>
              </p:nvSpPr>
              <p:spPr>
                <a:xfrm>
                  <a:off x="7126487" y="2119515"/>
                  <a:ext cx="18323" cy="18426"/>
                </a:xfrm>
                <a:custGeom>
                  <a:avLst/>
                  <a:gdLst>
                    <a:gd name="connsiteX0" fmla="*/ 15831 w 18323"/>
                    <a:gd name="connsiteY0" fmla="*/ 15583 h 18426"/>
                    <a:gd name="connsiteX1" fmla="*/ 2852 w 18323"/>
                    <a:gd name="connsiteY1" fmla="*/ 15882 h 18426"/>
                    <a:gd name="connsiteX2" fmla="*/ 2494 w 18323"/>
                    <a:gd name="connsiteY2" fmla="*/ 2844 h 18426"/>
                    <a:gd name="connsiteX3" fmla="*/ 15471 w 18323"/>
                    <a:gd name="connsiteY3" fmla="*/ 2545 h 18426"/>
                    <a:gd name="connsiteX4" fmla="*/ 15831 w 18323"/>
                    <a:gd name="connsiteY4" fmla="*/ 1558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6">
                      <a:moveTo>
                        <a:pt x="15831" y="15583"/>
                      </a:moveTo>
                      <a:cubicBezTo>
                        <a:pt x="12361" y="19231"/>
                        <a:pt x="6560" y="19410"/>
                        <a:pt x="2852" y="15882"/>
                      </a:cubicBezTo>
                      <a:cubicBezTo>
                        <a:pt x="-796" y="12353"/>
                        <a:pt x="-976" y="6552"/>
                        <a:pt x="2494" y="2844"/>
                      </a:cubicBezTo>
                      <a:cubicBezTo>
                        <a:pt x="5962" y="-804"/>
                        <a:pt x="11763" y="-984"/>
                        <a:pt x="15471" y="2545"/>
                      </a:cubicBezTo>
                      <a:cubicBezTo>
                        <a:pt x="19119" y="6014"/>
                        <a:pt x="19299" y="11875"/>
                        <a:pt x="15831" y="15583"/>
                      </a:cubicBezTo>
                      <a:close/>
                    </a:path>
                  </a:pathLst>
                </a:custGeom>
                <a:grpFill/>
                <a:ln w="5978" cap="flat">
                  <a:noFill/>
                  <a:prstDash val="solid"/>
                  <a:miter/>
                </a:ln>
              </p:spPr>
              <p:txBody>
                <a:bodyPr rtlCol="0" anchor="ctr"/>
                <a:lstStyle/>
                <a:p>
                  <a:endParaRPr lang="en-GB"/>
                </a:p>
              </p:txBody>
            </p:sp>
            <p:sp>
              <p:nvSpPr>
                <p:cNvPr id="4912" name="Vrije vorm: vorm 4911">
                  <a:extLst>
                    <a:ext uri="{FF2B5EF4-FFF2-40B4-BE49-F238E27FC236}">
                      <a16:creationId xmlns:a16="http://schemas.microsoft.com/office/drawing/2014/main" id="{72067C9E-5B13-437A-B8F5-A2B58E86C9AE}"/>
                    </a:ext>
                  </a:extLst>
                </p:cNvPr>
                <p:cNvSpPr/>
                <p:nvPr/>
              </p:nvSpPr>
              <p:spPr>
                <a:xfrm>
                  <a:off x="7624480" y="1593788"/>
                  <a:ext cx="18366" cy="18425"/>
                </a:xfrm>
                <a:custGeom>
                  <a:avLst/>
                  <a:gdLst>
                    <a:gd name="connsiteX0" fmla="*/ 15852 w 18366"/>
                    <a:gd name="connsiteY0" fmla="*/ 15604 h 18425"/>
                    <a:gd name="connsiteX1" fmla="*/ 15493 w 18366"/>
                    <a:gd name="connsiteY1" fmla="*/ 2567 h 18425"/>
                    <a:gd name="connsiteX2" fmla="*/ 2515 w 18366"/>
                    <a:gd name="connsiteY2" fmla="*/ 2866 h 18425"/>
                    <a:gd name="connsiteX3" fmla="*/ 2874 w 18366"/>
                    <a:gd name="connsiteY3" fmla="*/ 15904 h 18425"/>
                    <a:gd name="connsiteX4" fmla="*/ 15852 w 18366"/>
                    <a:gd name="connsiteY4" fmla="*/ 15604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15852" y="15604"/>
                      </a:moveTo>
                      <a:cubicBezTo>
                        <a:pt x="19321" y="11956"/>
                        <a:pt x="19201" y="6095"/>
                        <a:pt x="15493" y="2567"/>
                      </a:cubicBezTo>
                      <a:cubicBezTo>
                        <a:pt x="11845" y="-962"/>
                        <a:pt x="6044" y="-843"/>
                        <a:pt x="2515" y="2866"/>
                      </a:cubicBezTo>
                      <a:cubicBezTo>
                        <a:pt x="-954" y="6514"/>
                        <a:pt x="-834" y="12375"/>
                        <a:pt x="2874" y="15904"/>
                      </a:cubicBezTo>
                      <a:cubicBezTo>
                        <a:pt x="6582" y="19372"/>
                        <a:pt x="12383" y="19253"/>
                        <a:pt x="15852" y="15604"/>
                      </a:cubicBezTo>
                      <a:close/>
                    </a:path>
                  </a:pathLst>
                </a:custGeom>
                <a:grpFill/>
                <a:ln w="5978" cap="flat">
                  <a:noFill/>
                  <a:prstDash val="solid"/>
                  <a:miter/>
                </a:ln>
              </p:spPr>
              <p:txBody>
                <a:bodyPr rtlCol="0" anchor="ctr"/>
                <a:lstStyle/>
                <a:p>
                  <a:endParaRPr lang="en-GB"/>
                </a:p>
              </p:txBody>
            </p:sp>
          </p:grpSp>
          <p:grpSp>
            <p:nvGrpSpPr>
              <p:cNvPr id="157" name="Graphic 3">
                <a:extLst>
                  <a:ext uri="{FF2B5EF4-FFF2-40B4-BE49-F238E27FC236}">
                    <a16:creationId xmlns:a16="http://schemas.microsoft.com/office/drawing/2014/main" id="{52F76FF1-627E-44F8-9C72-7AD020DDC94D}"/>
                  </a:ext>
                </a:extLst>
              </p:cNvPr>
              <p:cNvGrpSpPr/>
              <p:nvPr/>
            </p:nvGrpSpPr>
            <p:grpSpPr>
              <a:xfrm>
                <a:off x="7222919" y="1845100"/>
                <a:ext cx="421359" cy="374225"/>
                <a:chOff x="7222919" y="1845100"/>
                <a:chExt cx="421359" cy="374225"/>
              </a:xfrm>
              <a:grpFill/>
            </p:grpSpPr>
            <p:sp>
              <p:nvSpPr>
                <p:cNvPr id="4907" name="Vrije vorm: vorm 4906">
                  <a:extLst>
                    <a:ext uri="{FF2B5EF4-FFF2-40B4-BE49-F238E27FC236}">
                      <a16:creationId xmlns:a16="http://schemas.microsoft.com/office/drawing/2014/main" id="{02656059-9A6D-4157-B551-F2AD6BD14DAC}"/>
                    </a:ext>
                  </a:extLst>
                </p:cNvPr>
                <p:cNvSpPr/>
                <p:nvPr/>
              </p:nvSpPr>
              <p:spPr>
                <a:xfrm>
                  <a:off x="7230713" y="1852808"/>
                  <a:ext cx="405791" cy="358723"/>
                </a:xfrm>
                <a:custGeom>
                  <a:avLst/>
                  <a:gdLst>
                    <a:gd name="connsiteX0" fmla="*/ 405792 w 405791"/>
                    <a:gd name="connsiteY0" fmla="*/ 2332 h 358723"/>
                    <a:gd name="connsiteX1" fmla="*/ 2033 w 405791"/>
                    <a:gd name="connsiteY1" fmla="*/ 358724 h 358723"/>
                    <a:gd name="connsiteX2" fmla="*/ 0 w 405791"/>
                    <a:gd name="connsiteY2" fmla="*/ 356451 h 358723"/>
                    <a:gd name="connsiteX3" fmla="*/ 403759 w 405791"/>
                    <a:gd name="connsiteY3" fmla="*/ 0 h 358723"/>
                  </a:gdLst>
                  <a:ahLst/>
                  <a:cxnLst>
                    <a:cxn ang="0">
                      <a:pos x="connsiteX0" y="connsiteY0"/>
                    </a:cxn>
                    <a:cxn ang="0">
                      <a:pos x="connsiteX1" y="connsiteY1"/>
                    </a:cxn>
                    <a:cxn ang="0">
                      <a:pos x="connsiteX2" y="connsiteY2"/>
                    </a:cxn>
                    <a:cxn ang="0">
                      <a:pos x="connsiteX3" y="connsiteY3"/>
                    </a:cxn>
                  </a:cxnLst>
                  <a:rect l="l" t="t" r="r" b="b"/>
                  <a:pathLst>
                    <a:path w="405791" h="358723">
                      <a:moveTo>
                        <a:pt x="405792" y="2332"/>
                      </a:moveTo>
                      <a:lnTo>
                        <a:pt x="2033" y="358724"/>
                      </a:lnTo>
                      <a:lnTo>
                        <a:pt x="0" y="356451"/>
                      </a:lnTo>
                      <a:lnTo>
                        <a:pt x="403759" y="0"/>
                      </a:lnTo>
                      <a:close/>
                    </a:path>
                  </a:pathLst>
                </a:custGeom>
                <a:grpFill/>
                <a:ln w="5978" cap="flat">
                  <a:noFill/>
                  <a:prstDash val="solid"/>
                  <a:miter/>
                </a:ln>
              </p:spPr>
              <p:txBody>
                <a:bodyPr rtlCol="0" anchor="ctr"/>
                <a:lstStyle/>
                <a:p>
                  <a:endParaRPr lang="en-GB"/>
                </a:p>
              </p:txBody>
            </p:sp>
            <p:sp>
              <p:nvSpPr>
                <p:cNvPr id="4908" name="Vrije vorm: vorm 4907">
                  <a:extLst>
                    <a:ext uri="{FF2B5EF4-FFF2-40B4-BE49-F238E27FC236}">
                      <a16:creationId xmlns:a16="http://schemas.microsoft.com/office/drawing/2014/main" id="{D8E0B11F-E208-405D-869B-A94533C5B541}"/>
                    </a:ext>
                  </a:extLst>
                </p:cNvPr>
                <p:cNvSpPr/>
                <p:nvPr/>
              </p:nvSpPr>
              <p:spPr>
                <a:xfrm>
                  <a:off x="7222919" y="2200927"/>
                  <a:ext cx="18318" cy="18398"/>
                </a:xfrm>
                <a:custGeom>
                  <a:avLst/>
                  <a:gdLst>
                    <a:gd name="connsiteX0" fmla="*/ 15210 w 18318"/>
                    <a:gd name="connsiteY0" fmla="*/ 16107 h 18398"/>
                    <a:gd name="connsiteX1" fmla="*/ 2291 w 18318"/>
                    <a:gd name="connsiteY1" fmla="*/ 15270 h 18398"/>
                    <a:gd name="connsiteX2" fmla="*/ 3129 w 18318"/>
                    <a:gd name="connsiteY2" fmla="*/ 2291 h 18398"/>
                    <a:gd name="connsiteX3" fmla="*/ 16047 w 18318"/>
                    <a:gd name="connsiteY3" fmla="*/ 3129 h 18398"/>
                    <a:gd name="connsiteX4" fmla="*/ 15210 w 18318"/>
                    <a:gd name="connsiteY4" fmla="*/ 16107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98">
                      <a:moveTo>
                        <a:pt x="15210" y="16107"/>
                      </a:moveTo>
                      <a:cubicBezTo>
                        <a:pt x="11442" y="19456"/>
                        <a:pt x="5640" y="19097"/>
                        <a:pt x="2291" y="15270"/>
                      </a:cubicBezTo>
                      <a:cubicBezTo>
                        <a:pt x="-1058" y="11442"/>
                        <a:pt x="-699" y="5641"/>
                        <a:pt x="3129" y="2291"/>
                      </a:cubicBezTo>
                      <a:cubicBezTo>
                        <a:pt x="6897" y="-1058"/>
                        <a:pt x="12698" y="-699"/>
                        <a:pt x="16047" y="3129"/>
                      </a:cubicBezTo>
                      <a:cubicBezTo>
                        <a:pt x="19396" y="6896"/>
                        <a:pt x="18978" y="12758"/>
                        <a:pt x="15210" y="16107"/>
                      </a:cubicBezTo>
                      <a:close/>
                    </a:path>
                  </a:pathLst>
                </a:custGeom>
                <a:grpFill/>
                <a:ln w="5978" cap="flat">
                  <a:noFill/>
                  <a:prstDash val="solid"/>
                  <a:miter/>
                </a:ln>
              </p:spPr>
              <p:txBody>
                <a:bodyPr rtlCol="0" anchor="ctr"/>
                <a:lstStyle/>
                <a:p>
                  <a:endParaRPr lang="en-GB"/>
                </a:p>
              </p:txBody>
            </p:sp>
            <p:sp>
              <p:nvSpPr>
                <p:cNvPr id="4909" name="Vrije vorm: vorm 4908">
                  <a:extLst>
                    <a:ext uri="{FF2B5EF4-FFF2-40B4-BE49-F238E27FC236}">
                      <a16:creationId xmlns:a16="http://schemas.microsoft.com/office/drawing/2014/main" id="{D80EB663-F3B8-4874-B906-2E7683EDA6F1}"/>
                    </a:ext>
                  </a:extLst>
                </p:cNvPr>
                <p:cNvSpPr/>
                <p:nvPr/>
              </p:nvSpPr>
              <p:spPr>
                <a:xfrm>
                  <a:off x="7625980" y="1845100"/>
                  <a:ext cx="18297" cy="18405"/>
                </a:xfrm>
                <a:custGeom>
                  <a:avLst/>
                  <a:gdLst>
                    <a:gd name="connsiteX0" fmla="*/ 15190 w 18297"/>
                    <a:gd name="connsiteY0" fmla="*/ 16141 h 18405"/>
                    <a:gd name="connsiteX1" fmla="*/ 16026 w 18297"/>
                    <a:gd name="connsiteY1" fmla="*/ 3162 h 18405"/>
                    <a:gd name="connsiteX2" fmla="*/ 3108 w 18297"/>
                    <a:gd name="connsiteY2" fmla="*/ 2265 h 18405"/>
                    <a:gd name="connsiteX3" fmla="*/ 2271 w 18297"/>
                    <a:gd name="connsiteY3" fmla="*/ 15244 h 18405"/>
                    <a:gd name="connsiteX4" fmla="*/ 15190 w 18297"/>
                    <a:gd name="connsiteY4" fmla="*/ 161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15190" y="16141"/>
                      </a:moveTo>
                      <a:cubicBezTo>
                        <a:pt x="18958" y="12791"/>
                        <a:pt x="19376" y="6990"/>
                        <a:pt x="16026" y="3162"/>
                      </a:cubicBezTo>
                      <a:cubicBezTo>
                        <a:pt x="12678" y="-665"/>
                        <a:pt x="6876" y="-1084"/>
                        <a:pt x="3108" y="2265"/>
                      </a:cubicBezTo>
                      <a:cubicBezTo>
                        <a:pt x="-659" y="5615"/>
                        <a:pt x="-1078" y="11416"/>
                        <a:pt x="2271" y="15244"/>
                      </a:cubicBezTo>
                      <a:cubicBezTo>
                        <a:pt x="5620" y="19071"/>
                        <a:pt x="11422" y="19490"/>
                        <a:pt x="15190" y="16141"/>
                      </a:cubicBezTo>
                      <a:close/>
                    </a:path>
                  </a:pathLst>
                </a:custGeom>
                <a:grpFill/>
                <a:ln w="5978" cap="flat">
                  <a:noFill/>
                  <a:prstDash val="solid"/>
                  <a:miter/>
                </a:ln>
              </p:spPr>
              <p:txBody>
                <a:bodyPr rtlCol="0" anchor="ctr"/>
                <a:lstStyle/>
                <a:p>
                  <a:endParaRPr lang="en-GB"/>
                </a:p>
              </p:txBody>
            </p:sp>
          </p:grpSp>
          <p:grpSp>
            <p:nvGrpSpPr>
              <p:cNvPr id="158" name="Graphic 3">
                <a:extLst>
                  <a:ext uri="{FF2B5EF4-FFF2-40B4-BE49-F238E27FC236}">
                    <a16:creationId xmlns:a16="http://schemas.microsoft.com/office/drawing/2014/main" id="{7630C2DC-4943-46E2-A0C2-7BAAE4736F1D}"/>
                  </a:ext>
                </a:extLst>
              </p:cNvPr>
              <p:cNvGrpSpPr/>
              <p:nvPr/>
            </p:nvGrpSpPr>
            <p:grpSpPr>
              <a:xfrm>
                <a:off x="7624808" y="2808882"/>
                <a:ext cx="190074" cy="77188"/>
                <a:chOff x="7624808" y="2808882"/>
                <a:chExt cx="190074" cy="77188"/>
              </a:xfrm>
              <a:grpFill/>
            </p:grpSpPr>
            <p:sp>
              <p:nvSpPr>
                <p:cNvPr id="4904" name="Vrije vorm: vorm 4903">
                  <a:extLst>
                    <a:ext uri="{FF2B5EF4-FFF2-40B4-BE49-F238E27FC236}">
                      <a16:creationId xmlns:a16="http://schemas.microsoft.com/office/drawing/2014/main" id="{95C98F3F-0E76-4389-AACE-0B05F04E6378}"/>
                    </a:ext>
                  </a:extLst>
                </p:cNvPr>
                <p:cNvSpPr/>
                <p:nvPr/>
              </p:nvSpPr>
              <p:spPr>
                <a:xfrm>
                  <a:off x="7633095" y="2816481"/>
                  <a:ext cx="173560" cy="61960"/>
                </a:xfrm>
                <a:custGeom>
                  <a:avLst/>
                  <a:gdLst>
                    <a:gd name="connsiteX0" fmla="*/ 173561 w 173560"/>
                    <a:gd name="connsiteY0" fmla="*/ 2930 h 61960"/>
                    <a:gd name="connsiteX1" fmla="*/ 957 w 173560"/>
                    <a:gd name="connsiteY1" fmla="*/ 61960 h 61960"/>
                    <a:gd name="connsiteX2" fmla="*/ 0 w 173560"/>
                    <a:gd name="connsiteY2" fmla="*/ 59090 h 61960"/>
                    <a:gd name="connsiteX3" fmla="*/ 172544 w 173560"/>
                    <a:gd name="connsiteY3" fmla="*/ 0 h 61960"/>
                  </a:gdLst>
                  <a:ahLst/>
                  <a:cxnLst>
                    <a:cxn ang="0">
                      <a:pos x="connsiteX0" y="connsiteY0"/>
                    </a:cxn>
                    <a:cxn ang="0">
                      <a:pos x="connsiteX1" y="connsiteY1"/>
                    </a:cxn>
                    <a:cxn ang="0">
                      <a:pos x="connsiteX2" y="connsiteY2"/>
                    </a:cxn>
                    <a:cxn ang="0">
                      <a:pos x="connsiteX3" y="connsiteY3"/>
                    </a:cxn>
                  </a:cxnLst>
                  <a:rect l="l" t="t" r="r" b="b"/>
                  <a:pathLst>
                    <a:path w="173560" h="61960">
                      <a:moveTo>
                        <a:pt x="173561" y="2930"/>
                      </a:moveTo>
                      <a:lnTo>
                        <a:pt x="957" y="61960"/>
                      </a:lnTo>
                      <a:lnTo>
                        <a:pt x="0" y="59090"/>
                      </a:lnTo>
                      <a:lnTo>
                        <a:pt x="172544" y="0"/>
                      </a:lnTo>
                      <a:close/>
                    </a:path>
                  </a:pathLst>
                </a:custGeom>
                <a:grpFill/>
                <a:ln w="5978" cap="flat">
                  <a:noFill/>
                  <a:prstDash val="solid"/>
                  <a:miter/>
                </a:ln>
              </p:spPr>
              <p:txBody>
                <a:bodyPr rtlCol="0" anchor="ctr"/>
                <a:lstStyle/>
                <a:p>
                  <a:endParaRPr lang="en-GB"/>
                </a:p>
              </p:txBody>
            </p:sp>
            <p:sp>
              <p:nvSpPr>
                <p:cNvPr id="4905" name="Vrije vorm: vorm 4904">
                  <a:extLst>
                    <a:ext uri="{FF2B5EF4-FFF2-40B4-BE49-F238E27FC236}">
                      <a16:creationId xmlns:a16="http://schemas.microsoft.com/office/drawing/2014/main" id="{72BBFBA0-6D56-4365-B6CB-AD4709E87AC2}"/>
                    </a:ext>
                  </a:extLst>
                </p:cNvPr>
                <p:cNvSpPr/>
                <p:nvPr/>
              </p:nvSpPr>
              <p:spPr>
                <a:xfrm>
                  <a:off x="7796538" y="2808882"/>
                  <a:ext cx="18345" cy="18368"/>
                </a:xfrm>
                <a:custGeom>
                  <a:avLst/>
                  <a:gdLst>
                    <a:gd name="connsiteX0" fmla="*/ 6170 w 18345"/>
                    <a:gd name="connsiteY0" fmla="*/ 482 h 18368"/>
                    <a:gd name="connsiteX1" fmla="*/ 17833 w 18345"/>
                    <a:gd name="connsiteY1" fmla="*/ 6224 h 18368"/>
                    <a:gd name="connsiteX2" fmla="*/ 12151 w 18345"/>
                    <a:gd name="connsiteY2" fmla="*/ 17886 h 18368"/>
                    <a:gd name="connsiteX3" fmla="*/ 489 w 18345"/>
                    <a:gd name="connsiteY3" fmla="*/ 12145 h 18368"/>
                    <a:gd name="connsiteX4" fmla="*/ 6170 w 18345"/>
                    <a:gd name="connsiteY4" fmla="*/ 482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368">
                      <a:moveTo>
                        <a:pt x="6170" y="482"/>
                      </a:moveTo>
                      <a:cubicBezTo>
                        <a:pt x="10955" y="-1132"/>
                        <a:pt x="16158" y="1439"/>
                        <a:pt x="17833" y="6224"/>
                      </a:cubicBezTo>
                      <a:cubicBezTo>
                        <a:pt x="19508" y="11068"/>
                        <a:pt x="16936" y="16272"/>
                        <a:pt x="12151" y="17886"/>
                      </a:cubicBezTo>
                      <a:cubicBezTo>
                        <a:pt x="7367" y="19501"/>
                        <a:pt x="2164" y="16929"/>
                        <a:pt x="489" y="12145"/>
                      </a:cubicBezTo>
                      <a:cubicBezTo>
                        <a:pt x="-1126" y="7360"/>
                        <a:pt x="1386" y="2157"/>
                        <a:pt x="6170" y="482"/>
                      </a:cubicBezTo>
                      <a:close/>
                    </a:path>
                  </a:pathLst>
                </a:custGeom>
                <a:grpFill/>
                <a:ln w="5978" cap="flat">
                  <a:noFill/>
                  <a:prstDash val="solid"/>
                  <a:miter/>
                </a:ln>
              </p:spPr>
              <p:txBody>
                <a:bodyPr rtlCol="0" anchor="ctr"/>
                <a:lstStyle/>
                <a:p>
                  <a:endParaRPr lang="en-GB"/>
                </a:p>
              </p:txBody>
            </p:sp>
            <p:sp>
              <p:nvSpPr>
                <p:cNvPr id="4906" name="Vrije vorm: vorm 4905">
                  <a:extLst>
                    <a:ext uri="{FF2B5EF4-FFF2-40B4-BE49-F238E27FC236}">
                      <a16:creationId xmlns:a16="http://schemas.microsoft.com/office/drawing/2014/main" id="{68711910-D3D2-494C-9465-F7E2AE2BD20F}"/>
                    </a:ext>
                  </a:extLst>
                </p:cNvPr>
                <p:cNvSpPr/>
                <p:nvPr/>
              </p:nvSpPr>
              <p:spPr>
                <a:xfrm>
                  <a:off x="7624808" y="2867643"/>
                  <a:ext cx="18368" cy="18426"/>
                </a:xfrm>
                <a:custGeom>
                  <a:avLst/>
                  <a:gdLst>
                    <a:gd name="connsiteX0" fmla="*/ 6194 w 18368"/>
                    <a:gd name="connsiteY0" fmla="*/ 512 h 18426"/>
                    <a:gd name="connsiteX1" fmla="*/ 512 w 18368"/>
                    <a:gd name="connsiteY1" fmla="*/ 12174 h 18426"/>
                    <a:gd name="connsiteX2" fmla="*/ 12174 w 18368"/>
                    <a:gd name="connsiteY2" fmla="*/ 17915 h 18426"/>
                    <a:gd name="connsiteX3" fmla="*/ 17856 w 18368"/>
                    <a:gd name="connsiteY3" fmla="*/ 6253 h 18426"/>
                    <a:gd name="connsiteX4" fmla="*/ 6194 w 18368"/>
                    <a:gd name="connsiteY4" fmla="*/ 51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6">
                      <a:moveTo>
                        <a:pt x="6194" y="512"/>
                      </a:moveTo>
                      <a:cubicBezTo>
                        <a:pt x="1409" y="2126"/>
                        <a:pt x="-1163" y="7389"/>
                        <a:pt x="512" y="12174"/>
                      </a:cubicBezTo>
                      <a:cubicBezTo>
                        <a:pt x="2187" y="17018"/>
                        <a:pt x="7390" y="19590"/>
                        <a:pt x="12174" y="17915"/>
                      </a:cubicBezTo>
                      <a:cubicBezTo>
                        <a:pt x="16959" y="16301"/>
                        <a:pt x="19530" y="11038"/>
                        <a:pt x="17856" y="6253"/>
                      </a:cubicBezTo>
                      <a:cubicBezTo>
                        <a:pt x="16182" y="1409"/>
                        <a:pt x="10978" y="-1163"/>
                        <a:pt x="6194" y="512"/>
                      </a:cubicBezTo>
                      <a:close/>
                    </a:path>
                  </a:pathLst>
                </a:custGeom>
                <a:grpFill/>
                <a:ln w="5978" cap="flat">
                  <a:noFill/>
                  <a:prstDash val="solid"/>
                  <a:miter/>
                </a:ln>
              </p:spPr>
              <p:txBody>
                <a:bodyPr rtlCol="0" anchor="ctr"/>
                <a:lstStyle/>
                <a:p>
                  <a:endParaRPr lang="en-GB"/>
                </a:p>
              </p:txBody>
            </p:sp>
          </p:grpSp>
          <p:grpSp>
            <p:nvGrpSpPr>
              <p:cNvPr id="159" name="Graphic 3">
                <a:extLst>
                  <a:ext uri="{FF2B5EF4-FFF2-40B4-BE49-F238E27FC236}">
                    <a16:creationId xmlns:a16="http://schemas.microsoft.com/office/drawing/2014/main" id="{19396D4B-FB63-409D-A886-C386CFAF8AD0}"/>
                  </a:ext>
                </a:extLst>
              </p:cNvPr>
              <p:cNvGrpSpPr/>
              <p:nvPr/>
            </p:nvGrpSpPr>
            <p:grpSpPr>
              <a:xfrm>
                <a:off x="7652153" y="2736977"/>
                <a:ext cx="63139" cy="36583"/>
                <a:chOff x="7652153" y="2736977"/>
                <a:chExt cx="63139" cy="36583"/>
              </a:xfrm>
              <a:grpFill/>
            </p:grpSpPr>
            <p:sp>
              <p:nvSpPr>
                <p:cNvPr id="4901" name="Vrije vorm: vorm 4900">
                  <a:extLst>
                    <a:ext uri="{FF2B5EF4-FFF2-40B4-BE49-F238E27FC236}">
                      <a16:creationId xmlns:a16="http://schemas.microsoft.com/office/drawing/2014/main" id="{C1A03B86-BE59-4340-B014-785B46CD2FDE}"/>
                    </a:ext>
                  </a:extLst>
                </p:cNvPr>
                <p:cNvSpPr/>
                <p:nvPr/>
              </p:nvSpPr>
              <p:spPr>
                <a:xfrm>
                  <a:off x="7660308" y="2744593"/>
                  <a:ext cx="46828" cy="21410"/>
                </a:xfrm>
                <a:custGeom>
                  <a:avLst/>
                  <a:gdLst>
                    <a:gd name="connsiteX0" fmla="*/ 46829 w 46828"/>
                    <a:gd name="connsiteY0" fmla="*/ 2871 h 21410"/>
                    <a:gd name="connsiteX1" fmla="*/ 1136 w 46828"/>
                    <a:gd name="connsiteY1" fmla="*/ 21411 h 21410"/>
                    <a:gd name="connsiteX2" fmla="*/ 0 w 46828"/>
                    <a:gd name="connsiteY2" fmla="*/ 18540 h 21410"/>
                    <a:gd name="connsiteX3" fmla="*/ 45633 w 46828"/>
                    <a:gd name="connsiteY3" fmla="*/ 0 h 21410"/>
                  </a:gdLst>
                  <a:ahLst/>
                  <a:cxnLst>
                    <a:cxn ang="0">
                      <a:pos x="connsiteX0" y="connsiteY0"/>
                    </a:cxn>
                    <a:cxn ang="0">
                      <a:pos x="connsiteX1" y="connsiteY1"/>
                    </a:cxn>
                    <a:cxn ang="0">
                      <a:pos x="connsiteX2" y="connsiteY2"/>
                    </a:cxn>
                    <a:cxn ang="0">
                      <a:pos x="connsiteX3" y="connsiteY3"/>
                    </a:cxn>
                  </a:cxnLst>
                  <a:rect l="l" t="t" r="r" b="b"/>
                  <a:pathLst>
                    <a:path w="46828" h="21410">
                      <a:moveTo>
                        <a:pt x="46829" y="2871"/>
                      </a:moveTo>
                      <a:lnTo>
                        <a:pt x="1136" y="21411"/>
                      </a:lnTo>
                      <a:lnTo>
                        <a:pt x="0" y="18540"/>
                      </a:lnTo>
                      <a:lnTo>
                        <a:pt x="45633" y="0"/>
                      </a:lnTo>
                      <a:close/>
                    </a:path>
                  </a:pathLst>
                </a:custGeom>
                <a:grpFill/>
                <a:ln w="5978" cap="flat">
                  <a:noFill/>
                  <a:prstDash val="solid"/>
                  <a:miter/>
                </a:ln>
              </p:spPr>
              <p:txBody>
                <a:bodyPr rtlCol="0" anchor="ctr"/>
                <a:lstStyle/>
                <a:p>
                  <a:endParaRPr lang="en-GB"/>
                </a:p>
              </p:txBody>
            </p:sp>
            <p:sp>
              <p:nvSpPr>
                <p:cNvPr id="4902" name="Vrije vorm: vorm 4901">
                  <a:extLst>
                    <a:ext uri="{FF2B5EF4-FFF2-40B4-BE49-F238E27FC236}">
                      <a16:creationId xmlns:a16="http://schemas.microsoft.com/office/drawing/2014/main" id="{D4D31832-DF6A-4A19-B3F9-2DC7DE849ED1}"/>
                    </a:ext>
                  </a:extLst>
                </p:cNvPr>
                <p:cNvSpPr/>
                <p:nvPr/>
              </p:nvSpPr>
              <p:spPr>
                <a:xfrm>
                  <a:off x="7696948" y="2736977"/>
                  <a:ext cx="18343" cy="18402"/>
                </a:xfrm>
                <a:custGeom>
                  <a:avLst/>
                  <a:gdLst>
                    <a:gd name="connsiteX0" fmla="*/ 5703 w 18343"/>
                    <a:gd name="connsiteY0" fmla="*/ 679 h 18402"/>
                    <a:gd name="connsiteX1" fmla="*/ 17664 w 18343"/>
                    <a:gd name="connsiteY1" fmla="*/ 5762 h 18402"/>
                    <a:gd name="connsiteX2" fmla="*/ 12641 w 18343"/>
                    <a:gd name="connsiteY2" fmla="*/ 17724 h 18402"/>
                    <a:gd name="connsiteX3" fmla="*/ 679 w 18343"/>
                    <a:gd name="connsiteY3" fmla="*/ 12640 h 18402"/>
                    <a:gd name="connsiteX4" fmla="*/ 5703 w 18343"/>
                    <a:gd name="connsiteY4" fmla="*/ 679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2">
                      <a:moveTo>
                        <a:pt x="5703" y="679"/>
                      </a:moveTo>
                      <a:cubicBezTo>
                        <a:pt x="10368" y="-1235"/>
                        <a:pt x="15751" y="1037"/>
                        <a:pt x="17664" y="5762"/>
                      </a:cubicBezTo>
                      <a:cubicBezTo>
                        <a:pt x="19578" y="10487"/>
                        <a:pt x="17306" y="15870"/>
                        <a:pt x="12641" y="17724"/>
                      </a:cubicBezTo>
                      <a:cubicBezTo>
                        <a:pt x="7975" y="19637"/>
                        <a:pt x="2593" y="17365"/>
                        <a:pt x="679" y="12640"/>
                      </a:cubicBezTo>
                      <a:cubicBezTo>
                        <a:pt x="-1234" y="7975"/>
                        <a:pt x="1038" y="2592"/>
                        <a:pt x="5703" y="679"/>
                      </a:cubicBezTo>
                      <a:close/>
                    </a:path>
                  </a:pathLst>
                </a:custGeom>
                <a:grpFill/>
                <a:ln w="5978" cap="flat">
                  <a:noFill/>
                  <a:prstDash val="solid"/>
                  <a:miter/>
                </a:ln>
              </p:spPr>
              <p:txBody>
                <a:bodyPr rtlCol="0" anchor="ctr"/>
                <a:lstStyle/>
                <a:p>
                  <a:endParaRPr lang="en-GB"/>
                </a:p>
              </p:txBody>
            </p:sp>
            <p:sp>
              <p:nvSpPr>
                <p:cNvPr id="4903" name="Vrije vorm: vorm 4902">
                  <a:extLst>
                    <a:ext uri="{FF2B5EF4-FFF2-40B4-BE49-F238E27FC236}">
                      <a16:creationId xmlns:a16="http://schemas.microsoft.com/office/drawing/2014/main" id="{4CB2648E-1962-465F-8080-0BB9DF809C6B}"/>
                    </a:ext>
                  </a:extLst>
                </p:cNvPr>
                <p:cNvSpPr/>
                <p:nvPr/>
              </p:nvSpPr>
              <p:spPr>
                <a:xfrm>
                  <a:off x="7652153" y="2755191"/>
                  <a:ext cx="18343" cy="18369"/>
                </a:xfrm>
                <a:custGeom>
                  <a:avLst/>
                  <a:gdLst>
                    <a:gd name="connsiteX0" fmla="*/ 5703 w 18343"/>
                    <a:gd name="connsiteY0" fmla="*/ 646 h 18369"/>
                    <a:gd name="connsiteX1" fmla="*/ 679 w 18343"/>
                    <a:gd name="connsiteY1" fmla="*/ 12607 h 18369"/>
                    <a:gd name="connsiteX2" fmla="*/ 12641 w 18343"/>
                    <a:gd name="connsiteY2" fmla="*/ 17691 h 18369"/>
                    <a:gd name="connsiteX3" fmla="*/ 17664 w 18343"/>
                    <a:gd name="connsiteY3" fmla="*/ 5729 h 18369"/>
                    <a:gd name="connsiteX4" fmla="*/ 5703 w 18343"/>
                    <a:gd name="connsiteY4" fmla="*/ 646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69">
                      <a:moveTo>
                        <a:pt x="5703" y="646"/>
                      </a:moveTo>
                      <a:cubicBezTo>
                        <a:pt x="1038" y="2560"/>
                        <a:pt x="-1234" y="7942"/>
                        <a:pt x="679" y="12607"/>
                      </a:cubicBezTo>
                      <a:cubicBezTo>
                        <a:pt x="2593" y="17332"/>
                        <a:pt x="7916" y="19605"/>
                        <a:pt x="12641" y="17691"/>
                      </a:cubicBezTo>
                      <a:cubicBezTo>
                        <a:pt x="17306" y="15777"/>
                        <a:pt x="19579" y="10394"/>
                        <a:pt x="17664" y="5729"/>
                      </a:cubicBezTo>
                      <a:cubicBezTo>
                        <a:pt x="15691" y="1065"/>
                        <a:pt x="10368" y="-1208"/>
                        <a:pt x="5703" y="646"/>
                      </a:cubicBezTo>
                      <a:close/>
                    </a:path>
                  </a:pathLst>
                </a:custGeom>
                <a:grpFill/>
                <a:ln w="5978" cap="flat">
                  <a:noFill/>
                  <a:prstDash val="solid"/>
                  <a:miter/>
                </a:ln>
              </p:spPr>
              <p:txBody>
                <a:bodyPr rtlCol="0" anchor="ctr"/>
                <a:lstStyle/>
                <a:p>
                  <a:endParaRPr lang="en-GB"/>
                </a:p>
              </p:txBody>
            </p:sp>
          </p:grpSp>
          <p:grpSp>
            <p:nvGrpSpPr>
              <p:cNvPr id="160" name="Graphic 3">
                <a:extLst>
                  <a:ext uri="{FF2B5EF4-FFF2-40B4-BE49-F238E27FC236}">
                    <a16:creationId xmlns:a16="http://schemas.microsoft.com/office/drawing/2014/main" id="{7DD5D62F-2485-4629-A7FA-7A768AEE18FF}"/>
                  </a:ext>
                </a:extLst>
              </p:cNvPr>
              <p:cNvGrpSpPr/>
              <p:nvPr/>
            </p:nvGrpSpPr>
            <p:grpSpPr>
              <a:xfrm>
                <a:off x="7295808" y="1830018"/>
                <a:ext cx="249285" cy="264533"/>
                <a:chOff x="7295808" y="1830018"/>
                <a:chExt cx="249285" cy="264533"/>
              </a:xfrm>
              <a:grpFill/>
            </p:grpSpPr>
            <p:sp>
              <p:nvSpPr>
                <p:cNvPr id="4898" name="Vrije vorm: vorm 4897">
                  <a:extLst>
                    <a:ext uri="{FF2B5EF4-FFF2-40B4-BE49-F238E27FC236}">
                      <a16:creationId xmlns:a16="http://schemas.microsoft.com/office/drawing/2014/main" id="{0598CC46-5F5B-441F-8775-E4D86A2E9E38}"/>
                    </a:ext>
                  </a:extLst>
                </p:cNvPr>
                <p:cNvSpPr/>
                <p:nvPr/>
              </p:nvSpPr>
              <p:spPr>
                <a:xfrm>
                  <a:off x="7303498" y="1837856"/>
                  <a:ext cx="233786" cy="248857"/>
                </a:xfrm>
                <a:custGeom>
                  <a:avLst/>
                  <a:gdLst>
                    <a:gd name="connsiteX0" fmla="*/ 233787 w 233786"/>
                    <a:gd name="connsiteY0" fmla="*/ 2093 h 248857"/>
                    <a:gd name="connsiteX1" fmla="*/ 2273 w 233786"/>
                    <a:gd name="connsiteY1" fmla="*/ 248858 h 248857"/>
                    <a:gd name="connsiteX2" fmla="*/ 0 w 233786"/>
                    <a:gd name="connsiteY2" fmla="*/ 246765 h 248857"/>
                    <a:gd name="connsiteX3" fmla="*/ 231573 w 233786"/>
                    <a:gd name="connsiteY3" fmla="*/ 0 h 248857"/>
                  </a:gdLst>
                  <a:ahLst/>
                  <a:cxnLst>
                    <a:cxn ang="0">
                      <a:pos x="connsiteX0" y="connsiteY0"/>
                    </a:cxn>
                    <a:cxn ang="0">
                      <a:pos x="connsiteX1" y="connsiteY1"/>
                    </a:cxn>
                    <a:cxn ang="0">
                      <a:pos x="connsiteX2" y="connsiteY2"/>
                    </a:cxn>
                    <a:cxn ang="0">
                      <a:pos x="connsiteX3" y="connsiteY3"/>
                    </a:cxn>
                  </a:cxnLst>
                  <a:rect l="l" t="t" r="r" b="b"/>
                  <a:pathLst>
                    <a:path w="233786" h="248857">
                      <a:moveTo>
                        <a:pt x="233787" y="2093"/>
                      </a:moveTo>
                      <a:lnTo>
                        <a:pt x="2273" y="248858"/>
                      </a:lnTo>
                      <a:lnTo>
                        <a:pt x="0" y="246765"/>
                      </a:lnTo>
                      <a:lnTo>
                        <a:pt x="231573" y="0"/>
                      </a:lnTo>
                      <a:close/>
                    </a:path>
                  </a:pathLst>
                </a:custGeom>
                <a:grpFill/>
                <a:ln w="5978" cap="flat">
                  <a:noFill/>
                  <a:prstDash val="solid"/>
                  <a:miter/>
                </a:ln>
              </p:spPr>
              <p:txBody>
                <a:bodyPr rtlCol="0" anchor="ctr"/>
                <a:lstStyle/>
                <a:p>
                  <a:endParaRPr lang="en-GB"/>
                </a:p>
              </p:txBody>
            </p:sp>
            <p:sp>
              <p:nvSpPr>
                <p:cNvPr id="4899" name="Vrije vorm: vorm 4898">
                  <a:extLst>
                    <a:ext uri="{FF2B5EF4-FFF2-40B4-BE49-F238E27FC236}">
                      <a16:creationId xmlns:a16="http://schemas.microsoft.com/office/drawing/2014/main" id="{668BB8AF-C2AC-4D71-9113-0B61FD76B448}"/>
                    </a:ext>
                  </a:extLst>
                </p:cNvPr>
                <p:cNvSpPr/>
                <p:nvPr/>
              </p:nvSpPr>
              <p:spPr>
                <a:xfrm>
                  <a:off x="7526724" y="1830018"/>
                  <a:ext cx="18370" cy="18426"/>
                </a:xfrm>
                <a:custGeom>
                  <a:avLst/>
                  <a:gdLst>
                    <a:gd name="connsiteX0" fmla="*/ 2486 w 18370"/>
                    <a:gd name="connsiteY0" fmla="*/ 2874 h 18426"/>
                    <a:gd name="connsiteX1" fmla="*/ 15465 w 18370"/>
                    <a:gd name="connsiteY1" fmla="*/ 2515 h 18426"/>
                    <a:gd name="connsiteX2" fmla="*/ 15883 w 18370"/>
                    <a:gd name="connsiteY2" fmla="*/ 15553 h 18426"/>
                    <a:gd name="connsiteX3" fmla="*/ 2905 w 18370"/>
                    <a:gd name="connsiteY3" fmla="*/ 15912 h 18426"/>
                    <a:gd name="connsiteX4" fmla="*/ 2486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6" y="2874"/>
                      </a:moveTo>
                      <a:cubicBezTo>
                        <a:pt x="5956" y="-834"/>
                        <a:pt x="11757" y="-954"/>
                        <a:pt x="15465" y="2515"/>
                      </a:cubicBezTo>
                      <a:cubicBezTo>
                        <a:pt x="19173" y="6044"/>
                        <a:pt x="19352" y="11845"/>
                        <a:pt x="15883" y="15553"/>
                      </a:cubicBezTo>
                      <a:cubicBezTo>
                        <a:pt x="12415" y="19261"/>
                        <a:pt x="6613" y="19381"/>
                        <a:pt x="2905" y="15912"/>
                      </a:cubicBezTo>
                      <a:cubicBezTo>
                        <a:pt x="-803" y="12443"/>
                        <a:pt x="-982" y="6582"/>
                        <a:pt x="2486" y="2874"/>
                      </a:cubicBezTo>
                      <a:close/>
                    </a:path>
                  </a:pathLst>
                </a:custGeom>
                <a:grpFill/>
                <a:ln w="5978" cap="flat">
                  <a:noFill/>
                  <a:prstDash val="solid"/>
                  <a:miter/>
                </a:ln>
              </p:spPr>
              <p:txBody>
                <a:bodyPr rtlCol="0" anchor="ctr"/>
                <a:lstStyle/>
                <a:p>
                  <a:endParaRPr lang="en-GB"/>
                </a:p>
              </p:txBody>
            </p:sp>
            <p:sp>
              <p:nvSpPr>
                <p:cNvPr id="4900" name="Vrije vorm: vorm 4899">
                  <a:extLst>
                    <a:ext uri="{FF2B5EF4-FFF2-40B4-BE49-F238E27FC236}">
                      <a16:creationId xmlns:a16="http://schemas.microsoft.com/office/drawing/2014/main" id="{C9FFAA85-3E6A-4644-9464-6DBF2AC4487B}"/>
                    </a:ext>
                  </a:extLst>
                </p:cNvPr>
                <p:cNvSpPr/>
                <p:nvPr/>
              </p:nvSpPr>
              <p:spPr>
                <a:xfrm>
                  <a:off x="7295808" y="2076125"/>
                  <a:ext cx="18370" cy="18426"/>
                </a:xfrm>
                <a:custGeom>
                  <a:avLst/>
                  <a:gdLst>
                    <a:gd name="connsiteX0" fmla="*/ 2486 w 18370"/>
                    <a:gd name="connsiteY0" fmla="*/ 2874 h 18426"/>
                    <a:gd name="connsiteX1" fmla="*/ 2905 w 18370"/>
                    <a:gd name="connsiteY1" fmla="*/ 15912 h 18426"/>
                    <a:gd name="connsiteX2" fmla="*/ 15883 w 18370"/>
                    <a:gd name="connsiteY2" fmla="*/ 15553 h 18426"/>
                    <a:gd name="connsiteX3" fmla="*/ 15465 w 18370"/>
                    <a:gd name="connsiteY3" fmla="*/ 2515 h 18426"/>
                    <a:gd name="connsiteX4" fmla="*/ 2486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6" y="2874"/>
                      </a:moveTo>
                      <a:cubicBezTo>
                        <a:pt x="-982" y="6582"/>
                        <a:pt x="-803" y="12383"/>
                        <a:pt x="2905" y="15912"/>
                      </a:cubicBezTo>
                      <a:cubicBezTo>
                        <a:pt x="6613" y="19380"/>
                        <a:pt x="12415" y="19261"/>
                        <a:pt x="15883" y="15553"/>
                      </a:cubicBezTo>
                      <a:cubicBezTo>
                        <a:pt x="19352" y="11845"/>
                        <a:pt x="19173" y="6043"/>
                        <a:pt x="15465" y="2515"/>
                      </a:cubicBezTo>
                      <a:cubicBezTo>
                        <a:pt x="11697" y="-954"/>
                        <a:pt x="5956" y="-834"/>
                        <a:pt x="2486" y="2874"/>
                      </a:cubicBezTo>
                      <a:close/>
                    </a:path>
                  </a:pathLst>
                </a:custGeom>
                <a:grpFill/>
                <a:ln w="5978" cap="flat">
                  <a:noFill/>
                  <a:prstDash val="solid"/>
                  <a:miter/>
                </a:ln>
              </p:spPr>
              <p:txBody>
                <a:bodyPr rtlCol="0" anchor="ctr"/>
                <a:lstStyle/>
                <a:p>
                  <a:endParaRPr lang="en-GB"/>
                </a:p>
              </p:txBody>
            </p:sp>
          </p:grpSp>
          <p:grpSp>
            <p:nvGrpSpPr>
              <p:cNvPr id="161" name="Graphic 3">
                <a:extLst>
                  <a:ext uri="{FF2B5EF4-FFF2-40B4-BE49-F238E27FC236}">
                    <a16:creationId xmlns:a16="http://schemas.microsoft.com/office/drawing/2014/main" id="{740D40E9-75AE-424A-B1DD-A05B759CD0DB}"/>
                  </a:ext>
                </a:extLst>
              </p:cNvPr>
              <p:cNvGrpSpPr/>
              <p:nvPr/>
            </p:nvGrpSpPr>
            <p:grpSpPr>
              <a:xfrm>
                <a:off x="7940793" y="3745860"/>
                <a:ext cx="128784" cy="38208"/>
                <a:chOff x="7940793" y="3745860"/>
                <a:chExt cx="128784" cy="38208"/>
              </a:xfrm>
              <a:grpFill/>
            </p:grpSpPr>
            <p:sp>
              <p:nvSpPr>
                <p:cNvPr id="4895" name="Vrije vorm: vorm 4894">
                  <a:extLst>
                    <a:ext uri="{FF2B5EF4-FFF2-40B4-BE49-F238E27FC236}">
                      <a16:creationId xmlns:a16="http://schemas.microsoft.com/office/drawing/2014/main" id="{23CC921A-64DA-4061-97FB-3160A5C6A58B}"/>
                    </a:ext>
                  </a:extLst>
                </p:cNvPr>
                <p:cNvSpPr/>
                <p:nvPr/>
              </p:nvSpPr>
              <p:spPr>
                <a:xfrm>
                  <a:off x="7949236" y="3753481"/>
                  <a:ext cx="111899" cy="22906"/>
                </a:xfrm>
                <a:custGeom>
                  <a:avLst/>
                  <a:gdLst>
                    <a:gd name="connsiteX0" fmla="*/ 111900 w 111899"/>
                    <a:gd name="connsiteY0" fmla="*/ 19916 h 22906"/>
                    <a:gd name="connsiteX1" fmla="*/ 111362 w 111899"/>
                    <a:gd name="connsiteY1" fmla="*/ 22906 h 22906"/>
                    <a:gd name="connsiteX2" fmla="*/ 0 w 111899"/>
                    <a:gd name="connsiteY2" fmla="*/ 3050 h 22906"/>
                    <a:gd name="connsiteX3" fmla="*/ 539 w 111899"/>
                    <a:gd name="connsiteY3" fmla="*/ 0 h 22906"/>
                  </a:gdLst>
                  <a:ahLst/>
                  <a:cxnLst>
                    <a:cxn ang="0">
                      <a:pos x="connsiteX0" y="connsiteY0"/>
                    </a:cxn>
                    <a:cxn ang="0">
                      <a:pos x="connsiteX1" y="connsiteY1"/>
                    </a:cxn>
                    <a:cxn ang="0">
                      <a:pos x="connsiteX2" y="connsiteY2"/>
                    </a:cxn>
                    <a:cxn ang="0">
                      <a:pos x="connsiteX3" y="connsiteY3"/>
                    </a:cxn>
                  </a:cxnLst>
                  <a:rect l="l" t="t" r="r" b="b"/>
                  <a:pathLst>
                    <a:path w="111899" h="22906">
                      <a:moveTo>
                        <a:pt x="111900" y="19916"/>
                      </a:moveTo>
                      <a:lnTo>
                        <a:pt x="111362" y="22906"/>
                      </a:lnTo>
                      <a:lnTo>
                        <a:pt x="0" y="3050"/>
                      </a:lnTo>
                      <a:lnTo>
                        <a:pt x="539" y="0"/>
                      </a:lnTo>
                      <a:close/>
                    </a:path>
                  </a:pathLst>
                </a:custGeom>
                <a:grpFill/>
                <a:ln w="5978" cap="flat">
                  <a:noFill/>
                  <a:prstDash val="solid"/>
                  <a:miter/>
                </a:ln>
              </p:spPr>
              <p:txBody>
                <a:bodyPr rtlCol="0" anchor="ctr"/>
                <a:lstStyle/>
                <a:p>
                  <a:endParaRPr lang="en-GB"/>
                </a:p>
              </p:txBody>
            </p:sp>
            <p:sp>
              <p:nvSpPr>
                <p:cNvPr id="4896" name="Vrije vorm: vorm 4895">
                  <a:extLst>
                    <a:ext uri="{FF2B5EF4-FFF2-40B4-BE49-F238E27FC236}">
                      <a16:creationId xmlns:a16="http://schemas.microsoft.com/office/drawing/2014/main" id="{13D1F7A5-0677-4CAF-A4F7-1FE7A4355D34}"/>
                    </a:ext>
                  </a:extLst>
                </p:cNvPr>
                <p:cNvSpPr/>
                <p:nvPr/>
              </p:nvSpPr>
              <p:spPr>
                <a:xfrm>
                  <a:off x="8051259" y="3765596"/>
                  <a:ext cx="18318" cy="18472"/>
                </a:xfrm>
                <a:custGeom>
                  <a:avLst/>
                  <a:gdLst>
                    <a:gd name="connsiteX0" fmla="*/ 10714 w 18318"/>
                    <a:gd name="connsiteY0" fmla="*/ 145 h 18472"/>
                    <a:gd name="connsiteX1" fmla="*/ 18190 w 18318"/>
                    <a:gd name="connsiteY1" fmla="*/ 10851 h 18472"/>
                    <a:gd name="connsiteX2" fmla="*/ 7604 w 18318"/>
                    <a:gd name="connsiteY2" fmla="*/ 18327 h 18472"/>
                    <a:gd name="connsiteX3" fmla="*/ 128 w 18318"/>
                    <a:gd name="connsiteY3" fmla="*/ 7621 h 18472"/>
                    <a:gd name="connsiteX4" fmla="*/ 10714 w 18318"/>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2">
                      <a:moveTo>
                        <a:pt x="10714" y="145"/>
                      </a:moveTo>
                      <a:cubicBezTo>
                        <a:pt x="15678" y="1042"/>
                        <a:pt x="19028" y="5827"/>
                        <a:pt x="18190" y="10851"/>
                      </a:cubicBezTo>
                      <a:cubicBezTo>
                        <a:pt x="17353" y="15875"/>
                        <a:pt x="12568" y="19224"/>
                        <a:pt x="7604" y="18327"/>
                      </a:cubicBezTo>
                      <a:cubicBezTo>
                        <a:pt x="2640" y="17430"/>
                        <a:pt x="-709" y="12645"/>
                        <a:pt x="128" y="7621"/>
                      </a:cubicBezTo>
                      <a:cubicBezTo>
                        <a:pt x="966" y="2597"/>
                        <a:pt x="5750" y="-752"/>
                        <a:pt x="10714" y="145"/>
                      </a:cubicBezTo>
                      <a:close/>
                    </a:path>
                  </a:pathLst>
                </a:custGeom>
                <a:grpFill/>
                <a:ln w="5978" cap="flat">
                  <a:noFill/>
                  <a:prstDash val="solid"/>
                  <a:miter/>
                </a:ln>
              </p:spPr>
              <p:txBody>
                <a:bodyPr rtlCol="0" anchor="ctr"/>
                <a:lstStyle/>
                <a:p>
                  <a:endParaRPr lang="en-GB"/>
                </a:p>
              </p:txBody>
            </p:sp>
            <p:sp>
              <p:nvSpPr>
                <p:cNvPr id="4897" name="Vrije vorm: vorm 4896">
                  <a:extLst>
                    <a:ext uri="{FF2B5EF4-FFF2-40B4-BE49-F238E27FC236}">
                      <a16:creationId xmlns:a16="http://schemas.microsoft.com/office/drawing/2014/main" id="{041476B7-21B7-4ABE-89DD-2257CB72CA01}"/>
                    </a:ext>
                  </a:extLst>
                </p:cNvPr>
                <p:cNvSpPr/>
                <p:nvPr/>
              </p:nvSpPr>
              <p:spPr>
                <a:xfrm>
                  <a:off x="7940793" y="3745860"/>
                  <a:ext cx="18319" cy="18472"/>
                </a:xfrm>
                <a:custGeom>
                  <a:avLst/>
                  <a:gdLst>
                    <a:gd name="connsiteX0" fmla="*/ 10715 w 18319"/>
                    <a:gd name="connsiteY0" fmla="*/ 145 h 18472"/>
                    <a:gd name="connsiteX1" fmla="*/ 130 w 18319"/>
                    <a:gd name="connsiteY1" fmla="*/ 7621 h 18472"/>
                    <a:gd name="connsiteX2" fmla="*/ 7606 w 18319"/>
                    <a:gd name="connsiteY2" fmla="*/ 18327 h 18472"/>
                    <a:gd name="connsiteX3" fmla="*/ 18191 w 18319"/>
                    <a:gd name="connsiteY3" fmla="*/ 10851 h 18472"/>
                    <a:gd name="connsiteX4" fmla="*/ 10715 w 18319"/>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2">
                      <a:moveTo>
                        <a:pt x="10715" y="145"/>
                      </a:moveTo>
                      <a:cubicBezTo>
                        <a:pt x="5752" y="-752"/>
                        <a:pt x="967" y="2597"/>
                        <a:pt x="130" y="7621"/>
                      </a:cubicBezTo>
                      <a:cubicBezTo>
                        <a:pt x="-707" y="12645"/>
                        <a:pt x="2582" y="17430"/>
                        <a:pt x="7606" y="18327"/>
                      </a:cubicBezTo>
                      <a:cubicBezTo>
                        <a:pt x="12570" y="19224"/>
                        <a:pt x="17355" y="15875"/>
                        <a:pt x="18191" y="10851"/>
                      </a:cubicBezTo>
                      <a:cubicBezTo>
                        <a:pt x="19029" y="5827"/>
                        <a:pt x="15680" y="1042"/>
                        <a:pt x="10715" y="145"/>
                      </a:cubicBezTo>
                      <a:close/>
                    </a:path>
                  </a:pathLst>
                </a:custGeom>
                <a:grpFill/>
                <a:ln w="5978" cap="flat">
                  <a:noFill/>
                  <a:prstDash val="solid"/>
                  <a:miter/>
                </a:ln>
              </p:spPr>
              <p:txBody>
                <a:bodyPr rtlCol="0" anchor="ctr"/>
                <a:lstStyle/>
                <a:p>
                  <a:endParaRPr lang="en-GB"/>
                </a:p>
              </p:txBody>
            </p:sp>
          </p:grpSp>
          <p:grpSp>
            <p:nvGrpSpPr>
              <p:cNvPr id="162" name="Graphic 3">
                <a:extLst>
                  <a:ext uri="{FF2B5EF4-FFF2-40B4-BE49-F238E27FC236}">
                    <a16:creationId xmlns:a16="http://schemas.microsoft.com/office/drawing/2014/main" id="{07AEABB7-E121-4697-8DD5-D35A727B0A16}"/>
                  </a:ext>
                </a:extLst>
              </p:cNvPr>
              <p:cNvGrpSpPr/>
              <p:nvPr/>
            </p:nvGrpSpPr>
            <p:grpSpPr>
              <a:xfrm>
                <a:off x="7662293" y="2890860"/>
                <a:ext cx="121266" cy="49345"/>
                <a:chOff x="7662293" y="2890860"/>
                <a:chExt cx="121266" cy="49345"/>
              </a:xfrm>
              <a:grpFill/>
            </p:grpSpPr>
            <p:sp>
              <p:nvSpPr>
                <p:cNvPr id="4892" name="Vrije vorm: vorm 4891">
                  <a:extLst>
                    <a:ext uri="{FF2B5EF4-FFF2-40B4-BE49-F238E27FC236}">
                      <a16:creationId xmlns:a16="http://schemas.microsoft.com/office/drawing/2014/main" id="{D3CACA2E-9AF6-431E-AF20-24C597C53D6E}"/>
                    </a:ext>
                  </a:extLst>
                </p:cNvPr>
                <p:cNvSpPr/>
                <p:nvPr/>
              </p:nvSpPr>
              <p:spPr>
                <a:xfrm>
                  <a:off x="7670594" y="2898417"/>
                  <a:ext cx="104662" cy="34149"/>
                </a:xfrm>
                <a:custGeom>
                  <a:avLst/>
                  <a:gdLst>
                    <a:gd name="connsiteX0" fmla="*/ 103765 w 104662"/>
                    <a:gd name="connsiteY0" fmla="*/ 0 h 34149"/>
                    <a:gd name="connsiteX1" fmla="*/ 104663 w 104662"/>
                    <a:gd name="connsiteY1" fmla="*/ 2990 h 34149"/>
                    <a:gd name="connsiteX2" fmla="*/ 837 w 104662"/>
                    <a:gd name="connsiteY2" fmla="*/ 34150 h 34149"/>
                    <a:gd name="connsiteX3" fmla="*/ 0 w 104662"/>
                    <a:gd name="connsiteY3" fmla="*/ 31219 h 34149"/>
                  </a:gdLst>
                  <a:ahLst/>
                  <a:cxnLst>
                    <a:cxn ang="0">
                      <a:pos x="connsiteX0" y="connsiteY0"/>
                    </a:cxn>
                    <a:cxn ang="0">
                      <a:pos x="connsiteX1" y="connsiteY1"/>
                    </a:cxn>
                    <a:cxn ang="0">
                      <a:pos x="connsiteX2" y="connsiteY2"/>
                    </a:cxn>
                    <a:cxn ang="0">
                      <a:pos x="connsiteX3" y="connsiteY3"/>
                    </a:cxn>
                  </a:cxnLst>
                  <a:rect l="l" t="t" r="r" b="b"/>
                  <a:pathLst>
                    <a:path w="104662" h="34149">
                      <a:moveTo>
                        <a:pt x="103765" y="0"/>
                      </a:moveTo>
                      <a:lnTo>
                        <a:pt x="104663" y="2990"/>
                      </a:lnTo>
                      <a:lnTo>
                        <a:pt x="837" y="34150"/>
                      </a:lnTo>
                      <a:lnTo>
                        <a:pt x="0" y="31219"/>
                      </a:lnTo>
                      <a:close/>
                    </a:path>
                  </a:pathLst>
                </a:custGeom>
                <a:grpFill/>
                <a:ln w="5978" cap="flat">
                  <a:noFill/>
                  <a:prstDash val="solid"/>
                  <a:miter/>
                </a:ln>
              </p:spPr>
              <p:txBody>
                <a:bodyPr rtlCol="0" anchor="ctr"/>
                <a:lstStyle/>
                <a:p>
                  <a:endParaRPr lang="en-GB"/>
                </a:p>
              </p:txBody>
            </p:sp>
            <p:sp>
              <p:nvSpPr>
                <p:cNvPr id="4893" name="Vrije vorm: vorm 4892">
                  <a:extLst>
                    <a:ext uri="{FF2B5EF4-FFF2-40B4-BE49-F238E27FC236}">
                      <a16:creationId xmlns:a16="http://schemas.microsoft.com/office/drawing/2014/main" id="{DBA3B351-227C-4C0B-B5BD-B07A530E8459}"/>
                    </a:ext>
                  </a:extLst>
                </p:cNvPr>
                <p:cNvSpPr/>
                <p:nvPr/>
              </p:nvSpPr>
              <p:spPr>
                <a:xfrm>
                  <a:off x="7765221" y="2890860"/>
                  <a:ext cx="18338" cy="18462"/>
                </a:xfrm>
                <a:custGeom>
                  <a:avLst/>
                  <a:gdLst>
                    <a:gd name="connsiteX0" fmla="*/ 6508 w 18338"/>
                    <a:gd name="connsiteY0" fmla="*/ 380 h 18462"/>
                    <a:gd name="connsiteX1" fmla="*/ 17931 w 18338"/>
                    <a:gd name="connsiteY1" fmla="*/ 6600 h 18462"/>
                    <a:gd name="connsiteX2" fmla="*/ 11831 w 18338"/>
                    <a:gd name="connsiteY2" fmla="*/ 18083 h 18462"/>
                    <a:gd name="connsiteX3" fmla="*/ 407 w 18338"/>
                    <a:gd name="connsiteY3" fmla="*/ 11863 h 18462"/>
                    <a:gd name="connsiteX4" fmla="*/ 6508 w 18338"/>
                    <a:gd name="connsiteY4" fmla="*/ 38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2">
                      <a:moveTo>
                        <a:pt x="6508" y="380"/>
                      </a:moveTo>
                      <a:cubicBezTo>
                        <a:pt x="11352" y="-1055"/>
                        <a:pt x="16496" y="1696"/>
                        <a:pt x="17931" y="6600"/>
                      </a:cubicBezTo>
                      <a:cubicBezTo>
                        <a:pt x="19427" y="11504"/>
                        <a:pt x="16675" y="16588"/>
                        <a:pt x="11831" y="18083"/>
                      </a:cubicBezTo>
                      <a:cubicBezTo>
                        <a:pt x="6986" y="19518"/>
                        <a:pt x="1843" y="16767"/>
                        <a:pt x="407" y="11863"/>
                      </a:cubicBezTo>
                      <a:cubicBezTo>
                        <a:pt x="-1088" y="6959"/>
                        <a:pt x="1663" y="1815"/>
                        <a:pt x="6508" y="380"/>
                      </a:cubicBezTo>
                      <a:close/>
                    </a:path>
                  </a:pathLst>
                </a:custGeom>
                <a:grpFill/>
                <a:ln w="5978" cap="flat">
                  <a:noFill/>
                  <a:prstDash val="solid"/>
                  <a:miter/>
                </a:ln>
              </p:spPr>
              <p:txBody>
                <a:bodyPr rtlCol="0" anchor="ctr"/>
                <a:lstStyle/>
                <a:p>
                  <a:endParaRPr lang="en-GB"/>
                </a:p>
              </p:txBody>
            </p:sp>
            <p:sp>
              <p:nvSpPr>
                <p:cNvPr id="4894" name="Vrije vorm: vorm 4893">
                  <a:extLst>
                    <a:ext uri="{FF2B5EF4-FFF2-40B4-BE49-F238E27FC236}">
                      <a16:creationId xmlns:a16="http://schemas.microsoft.com/office/drawing/2014/main" id="{B56BA001-A078-48B5-9D55-BC256802E1D6}"/>
                    </a:ext>
                  </a:extLst>
                </p:cNvPr>
                <p:cNvSpPr/>
                <p:nvPr/>
              </p:nvSpPr>
              <p:spPr>
                <a:xfrm>
                  <a:off x="7662293" y="2921780"/>
                  <a:ext cx="18338" cy="18425"/>
                </a:xfrm>
                <a:custGeom>
                  <a:avLst/>
                  <a:gdLst>
                    <a:gd name="connsiteX0" fmla="*/ 6508 w 18338"/>
                    <a:gd name="connsiteY0" fmla="*/ 380 h 18425"/>
                    <a:gd name="connsiteX1" fmla="*/ 407 w 18338"/>
                    <a:gd name="connsiteY1" fmla="*/ 11863 h 18425"/>
                    <a:gd name="connsiteX2" fmla="*/ 11830 w 18338"/>
                    <a:gd name="connsiteY2" fmla="*/ 18023 h 18425"/>
                    <a:gd name="connsiteX3" fmla="*/ 17931 w 18338"/>
                    <a:gd name="connsiteY3" fmla="*/ 6541 h 18425"/>
                    <a:gd name="connsiteX4" fmla="*/ 6508 w 18338"/>
                    <a:gd name="connsiteY4" fmla="*/ 380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5">
                      <a:moveTo>
                        <a:pt x="6508" y="380"/>
                      </a:moveTo>
                      <a:cubicBezTo>
                        <a:pt x="1663" y="1816"/>
                        <a:pt x="-1088" y="6959"/>
                        <a:pt x="407" y="11863"/>
                      </a:cubicBezTo>
                      <a:cubicBezTo>
                        <a:pt x="1903" y="16708"/>
                        <a:pt x="6986" y="19519"/>
                        <a:pt x="11830" y="18023"/>
                      </a:cubicBezTo>
                      <a:cubicBezTo>
                        <a:pt x="16675" y="16588"/>
                        <a:pt x="19426" y="11445"/>
                        <a:pt x="17931" y="6541"/>
                      </a:cubicBezTo>
                      <a:cubicBezTo>
                        <a:pt x="16435" y="1696"/>
                        <a:pt x="11352" y="-1055"/>
                        <a:pt x="6508" y="380"/>
                      </a:cubicBezTo>
                      <a:close/>
                    </a:path>
                  </a:pathLst>
                </a:custGeom>
                <a:grpFill/>
                <a:ln w="5978" cap="flat">
                  <a:noFill/>
                  <a:prstDash val="solid"/>
                  <a:miter/>
                </a:ln>
              </p:spPr>
              <p:txBody>
                <a:bodyPr rtlCol="0" anchor="ctr"/>
                <a:lstStyle/>
                <a:p>
                  <a:endParaRPr lang="en-GB"/>
                </a:p>
              </p:txBody>
            </p:sp>
          </p:grpSp>
          <p:grpSp>
            <p:nvGrpSpPr>
              <p:cNvPr id="163" name="Graphic 3">
                <a:extLst>
                  <a:ext uri="{FF2B5EF4-FFF2-40B4-BE49-F238E27FC236}">
                    <a16:creationId xmlns:a16="http://schemas.microsoft.com/office/drawing/2014/main" id="{A162608D-BAFB-4E12-8B4F-3386DD36B801}"/>
                  </a:ext>
                </a:extLst>
              </p:cNvPr>
              <p:cNvGrpSpPr/>
              <p:nvPr/>
            </p:nvGrpSpPr>
            <p:grpSpPr>
              <a:xfrm>
                <a:off x="7738529" y="3350557"/>
                <a:ext cx="268247" cy="25725"/>
                <a:chOff x="7738529" y="3350557"/>
                <a:chExt cx="268247" cy="25725"/>
              </a:xfrm>
              <a:grpFill/>
            </p:grpSpPr>
            <p:sp>
              <p:nvSpPr>
                <p:cNvPr id="4889" name="Vrije vorm: vorm 4888">
                  <a:extLst>
                    <a:ext uri="{FF2B5EF4-FFF2-40B4-BE49-F238E27FC236}">
                      <a16:creationId xmlns:a16="http://schemas.microsoft.com/office/drawing/2014/main" id="{502DE106-622F-4368-86A9-8D313D5AF954}"/>
                    </a:ext>
                  </a:extLst>
                </p:cNvPr>
                <p:cNvSpPr/>
                <p:nvPr/>
              </p:nvSpPr>
              <p:spPr>
                <a:xfrm>
                  <a:off x="7747148" y="3358215"/>
                  <a:ext cx="251010" cy="10466"/>
                </a:xfrm>
                <a:custGeom>
                  <a:avLst/>
                  <a:gdLst>
                    <a:gd name="connsiteX0" fmla="*/ 250891 w 251010"/>
                    <a:gd name="connsiteY0" fmla="*/ 0 h 10466"/>
                    <a:gd name="connsiteX1" fmla="*/ 251011 w 251010"/>
                    <a:gd name="connsiteY1" fmla="*/ 3050 h 10466"/>
                    <a:gd name="connsiteX2" fmla="*/ 120 w 251010"/>
                    <a:gd name="connsiteY2" fmla="*/ 10466 h 10466"/>
                    <a:gd name="connsiteX3" fmla="*/ 0 w 251010"/>
                    <a:gd name="connsiteY3" fmla="*/ 7416 h 10466"/>
                  </a:gdLst>
                  <a:ahLst/>
                  <a:cxnLst>
                    <a:cxn ang="0">
                      <a:pos x="connsiteX0" y="connsiteY0"/>
                    </a:cxn>
                    <a:cxn ang="0">
                      <a:pos x="connsiteX1" y="connsiteY1"/>
                    </a:cxn>
                    <a:cxn ang="0">
                      <a:pos x="connsiteX2" y="connsiteY2"/>
                    </a:cxn>
                    <a:cxn ang="0">
                      <a:pos x="connsiteX3" y="connsiteY3"/>
                    </a:cxn>
                  </a:cxnLst>
                  <a:rect l="l" t="t" r="r" b="b"/>
                  <a:pathLst>
                    <a:path w="251010" h="10466">
                      <a:moveTo>
                        <a:pt x="250891" y="0"/>
                      </a:moveTo>
                      <a:lnTo>
                        <a:pt x="251011" y="3050"/>
                      </a:lnTo>
                      <a:lnTo>
                        <a:pt x="120" y="10466"/>
                      </a:lnTo>
                      <a:lnTo>
                        <a:pt x="0" y="7416"/>
                      </a:lnTo>
                      <a:close/>
                    </a:path>
                  </a:pathLst>
                </a:custGeom>
                <a:grpFill/>
                <a:ln w="5978" cap="flat">
                  <a:noFill/>
                  <a:prstDash val="solid"/>
                  <a:miter/>
                </a:ln>
              </p:spPr>
              <p:txBody>
                <a:bodyPr rtlCol="0" anchor="ctr"/>
                <a:lstStyle/>
                <a:p>
                  <a:endParaRPr lang="en-GB"/>
                </a:p>
              </p:txBody>
            </p:sp>
            <p:sp>
              <p:nvSpPr>
                <p:cNvPr id="4890" name="Vrije vorm: vorm 4889">
                  <a:extLst>
                    <a:ext uri="{FF2B5EF4-FFF2-40B4-BE49-F238E27FC236}">
                      <a16:creationId xmlns:a16="http://schemas.microsoft.com/office/drawing/2014/main" id="{C65D2958-273D-461B-8009-B2EE74EAC74B}"/>
                    </a:ext>
                  </a:extLst>
                </p:cNvPr>
                <p:cNvSpPr/>
                <p:nvPr/>
              </p:nvSpPr>
              <p:spPr>
                <a:xfrm>
                  <a:off x="7988464" y="3350557"/>
                  <a:ext cx="18313" cy="18366"/>
                </a:xfrm>
                <a:custGeom>
                  <a:avLst/>
                  <a:gdLst>
                    <a:gd name="connsiteX0" fmla="*/ 8857 w 18313"/>
                    <a:gd name="connsiteY0" fmla="*/ 3 h 18366"/>
                    <a:gd name="connsiteX1" fmla="*/ 18307 w 18313"/>
                    <a:gd name="connsiteY1" fmla="*/ 8914 h 18366"/>
                    <a:gd name="connsiteX2" fmla="*/ 9455 w 18313"/>
                    <a:gd name="connsiteY2" fmla="*/ 18364 h 18366"/>
                    <a:gd name="connsiteX3" fmla="*/ 6 w 18313"/>
                    <a:gd name="connsiteY3" fmla="*/ 9452 h 18366"/>
                    <a:gd name="connsiteX4" fmla="*/ 8857 w 18313"/>
                    <a:gd name="connsiteY4" fmla="*/ 3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66">
                      <a:moveTo>
                        <a:pt x="8857" y="3"/>
                      </a:moveTo>
                      <a:cubicBezTo>
                        <a:pt x="13941" y="-117"/>
                        <a:pt x="18128" y="3830"/>
                        <a:pt x="18307" y="8914"/>
                      </a:cubicBezTo>
                      <a:cubicBezTo>
                        <a:pt x="18486" y="13998"/>
                        <a:pt x="14539" y="18244"/>
                        <a:pt x="9455" y="18364"/>
                      </a:cubicBezTo>
                      <a:cubicBezTo>
                        <a:pt x="4372" y="18483"/>
                        <a:pt x="185" y="14536"/>
                        <a:pt x="6" y="9452"/>
                      </a:cubicBezTo>
                      <a:cubicBezTo>
                        <a:pt x="-174" y="4369"/>
                        <a:pt x="3834" y="122"/>
                        <a:pt x="8857" y="3"/>
                      </a:cubicBezTo>
                      <a:close/>
                    </a:path>
                  </a:pathLst>
                </a:custGeom>
                <a:grpFill/>
                <a:ln w="5978" cap="flat">
                  <a:noFill/>
                  <a:prstDash val="solid"/>
                  <a:miter/>
                </a:ln>
              </p:spPr>
              <p:txBody>
                <a:bodyPr rtlCol="0" anchor="ctr"/>
                <a:lstStyle/>
                <a:p>
                  <a:endParaRPr lang="en-GB"/>
                </a:p>
              </p:txBody>
            </p:sp>
            <p:sp>
              <p:nvSpPr>
                <p:cNvPr id="4891" name="Vrije vorm: vorm 4890">
                  <a:extLst>
                    <a:ext uri="{FF2B5EF4-FFF2-40B4-BE49-F238E27FC236}">
                      <a16:creationId xmlns:a16="http://schemas.microsoft.com/office/drawing/2014/main" id="{F12D4A80-D6B6-42F2-8480-6D8BD439B36C}"/>
                    </a:ext>
                  </a:extLst>
                </p:cNvPr>
                <p:cNvSpPr/>
                <p:nvPr/>
              </p:nvSpPr>
              <p:spPr>
                <a:xfrm>
                  <a:off x="7738529" y="3357914"/>
                  <a:ext cx="18313" cy="18369"/>
                </a:xfrm>
                <a:custGeom>
                  <a:avLst/>
                  <a:gdLst>
                    <a:gd name="connsiteX0" fmla="*/ 8857 w 18313"/>
                    <a:gd name="connsiteY0" fmla="*/ 3 h 18369"/>
                    <a:gd name="connsiteX1" fmla="*/ 6 w 18313"/>
                    <a:gd name="connsiteY1" fmla="*/ 9452 h 18369"/>
                    <a:gd name="connsiteX2" fmla="*/ 9456 w 18313"/>
                    <a:gd name="connsiteY2" fmla="*/ 18363 h 18369"/>
                    <a:gd name="connsiteX3" fmla="*/ 18307 w 18313"/>
                    <a:gd name="connsiteY3" fmla="*/ 8914 h 18369"/>
                    <a:gd name="connsiteX4" fmla="*/ 8857 w 18313"/>
                    <a:gd name="connsiteY4" fmla="*/ 3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69">
                      <a:moveTo>
                        <a:pt x="8857" y="3"/>
                      </a:moveTo>
                      <a:cubicBezTo>
                        <a:pt x="3774" y="122"/>
                        <a:pt x="-173" y="4369"/>
                        <a:pt x="6" y="9452"/>
                      </a:cubicBezTo>
                      <a:cubicBezTo>
                        <a:pt x="185" y="14536"/>
                        <a:pt x="4432" y="18543"/>
                        <a:pt x="9456" y="18363"/>
                      </a:cubicBezTo>
                      <a:cubicBezTo>
                        <a:pt x="14539" y="18244"/>
                        <a:pt x="18487" y="13997"/>
                        <a:pt x="18307" y="8914"/>
                      </a:cubicBezTo>
                      <a:cubicBezTo>
                        <a:pt x="18128" y="3890"/>
                        <a:pt x="13882" y="-117"/>
                        <a:pt x="8857" y="3"/>
                      </a:cubicBezTo>
                      <a:close/>
                    </a:path>
                  </a:pathLst>
                </a:custGeom>
                <a:grpFill/>
                <a:ln w="5978" cap="flat">
                  <a:noFill/>
                  <a:prstDash val="solid"/>
                  <a:miter/>
                </a:ln>
              </p:spPr>
              <p:txBody>
                <a:bodyPr rtlCol="0" anchor="ctr"/>
                <a:lstStyle/>
                <a:p>
                  <a:endParaRPr lang="en-GB"/>
                </a:p>
              </p:txBody>
            </p:sp>
          </p:grpSp>
          <p:grpSp>
            <p:nvGrpSpPr>
              <p:cNvPr id="164" name="Graphic 3">
                <a:extLst>
                  <a:ext uri="{FF2B5EF4-FFF2-40B4-BE49-F238E27FC236}">
                    <a16:creationId xmlns:a16="http://schemas.microsoft.com/office/drawing/2014/main" id="{8B6881C4-16E9-4990-AA09-E8E3E5B00782}"/>
                  </a:ext>
                </a:extLst>
              </p:cNvPr>
              <p:cNvGrpSpPr/>
              <p:nvPr/>
            </p:nvGrpSpPr>
            <p:grpSpPr>
              <a:xfrm>
                <a:off x="7685346" y="2985297"/>
                <a:ext cx="137361" cy="47049"/>
                <a:chOff x="7685346" y="2985297"/>
                <a:chExt cx="137361" cy="47049"/>
              </a:xfrm>
              <a:grpFill/>
            </p:grpSpPr>
            <p:sp>
              <p:nvSpPr>
                <p:cNvPr id="4886" name="Vrije vorm: vorm 4885">
                  <a:extLst>
                    <a:ext uri="{FF2B5EF4-FFF2-40B4-BE49-F238E27FC236}">
                      <a16:creationId xmlns:a16="http://schemas.microsoft.com/office/drawing/2014/main" id="{D9424895-FA50-418D-8301-4E9273F9F77F}"/>
                    </a:ext>
                  </a:extLst>
                </p:cNvPr>
                <p:cNvSpPr/>
                <p:nvPr/>
              </p:nvSpPr>
              <p:spPr>
                <a:xfrm>
                  <a:off x="7693556" y="2992582"/>
                  <a:ext cx="120560" cy="31759"/>
                </a:xfrm>
                <a:custGeom>
                  <a:avLst/>
                  <a:gdLst>
                    <a:gd name="connsiteX0" fmla="*/ 0 w 120560"/>
                    <a:gd name="connsiteY0" fmla="*/ 28794 h 31759"/>
                    <a:gd name="connsiteX1" fmla="*/ 119848 w 120560"/>
                    <a:gd name="connsiteY1" fmla="*/ 0 h 31759"/>
                    <a:gd name="connsiteX2" fmla="*/ 120561 w 120560"/>
                    <a:gd name="connsiteY2" fmla="*/ 2966 h 31759"/>
                    <a:gd name="connsiteX3" fmla="*/ 713 w 120560"/>
                    <a:gd name="connsiteY3" fmla="*/ 31760 h 31759"/>
                  </a:gdLst>
                  <a:ahLst/>
                  <a:cxnLst>
                    <a:cxn ang="0">
                      <a:pos x="connsiteX0" y="connsiteY0"/>
                    </a:cxn>
                    <a:cxn ang="0">
                      <a:pos x="connsiteX1" y="connsiteY1"/>
                    </a:cxn>
                    <a:cxn ang="0">
                      <a:pos x="connsiteX2" y="connsiteY2"/>
                    </a:cxn>
                    <a:cxn ang="0">
                      <a:pos x="connsiteX3" y="connsiteY3"/>
                    </a:cxn>
                  </a:cxnLst>
                  <a:rect l="l" t="t" r="r" b="b"/>
                  <a:pathLst>
                    <a:path w="120560" h="31759">
                      <a:moveTo>
                        <a:pt x="0" y="28794"/>
                      </a:moveTo>
                      <a:lnTo>
                        <a:pt x="119848" y="0"/>
                      </a:lnTo>
                      <a:lnTo>
                        <a:pt x="120561" y="2966"/>
                      </a:lnTo>
                      <a:lnTo>
                        <a:pt x="713" y="31760"/>
                      </a:lnTo>
                      <a:close/>
                    </a:path>
                  </a:pathLst>
                </a:custGeom>
                <a:grpFill/>
                <a:ln w="5978" cap="flat">
                  <a:noFill/>
                  <a:prstDash val="solid"/>
                  <a:miter/>
                </a:ln>
              </p:spPr>
              <p:txBody>
                <a:bodyPr rtlCol="0" anchor="ctr"/>
                <a:lstStyle/>
                <a:p>
                  <a:endParaRPr lang="en-GB"/>
                </a:p>
              </p:txBody>
            </p:sp>
            <p:sp>
              <p:nvSpPr>
                <p:cNvPr id="4887" name="Vrije vorm: vorm 4886">
                  <a:extLst>
                    <a:ext uri="{FF2B5EF4-FFF2-40B4-BE49-F238E27FC236}">
                      <a16:creationId xmlns:a16="http://schemas.microsoft.com/office/drawing/2014/main" id="{AAAB9390-B9FD-4539-B966-898CAA0925CA}"/>
                    </a:ext>
                  </a:extLst>
                </p:cNvPr>
                <p:cNvSpPr/>
                <p:nvPr/>
              </p:nvSpPr>
              <p:spPr>
                <a:xfrm>
                  <a:off x="7804360" y="2985297"/>
                  <a:ext cx="18348" cy="18461"/>
                </a:xfrm>
                <a:custGeom>
                  <a:avLst/>
                  <a:gdLst>
                    <a:gd name="connsiteX0" fmla="*/ 7021 w 18348"/>
                    <a:gd name="connsiteY0" fmla="*/ 260 h 18461"/>
                    <a:gd name="connsiteX1" fmla="*/ 18085 w 18348"/>
                    <a:gd name="connsiteY1" fmla="*/ 7078 h 18461"/>
                    <a:gd name="connsiteX2" fmla="*/ 11327 w 18348"/>
                    <a:gd name="connsiteY2" fmla="*/ 18202 h 18461"/>
                    <a:gd name="connsiteX3" fmla="*/ 263 w 18348"/>
                    <a:gd name="connsiteY3" fmla="*/ 11384 h 18461"/>
                    <a:gd name="connsiteX4" fmla="*/ 7021 w 18348"/>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61">
                      <a:moveTo>
                        <a:pt x="7021" y="260"/>
                      </a:moveTo>
                      <a:cubicBezTo>
                        <a:pt x="11925" y="-936"/>
                        <a:pt x="16890" y="2114"/>
                        <a:pt x="18085" y="7078"/>
                      </a:cubicBezTo>
                      <a:cubicBezTo>
                        <a:pt x="19281" y="12042"/>
                        <a:pt x="16291" y="17006"/>
                        <a:pt x="11327" y="18202"/>
                      </a:cubicBezTo>
                      <a:cubicBezTo>
                        <a:pt x="6423" y="19398"/>
                        <a:pt x="1459" y="16348"/>
                        <a:pt x="263" y="11384"/>
                      </a:cubicBezTo>
                      <a:cubicBezTo>
                        <a:pt x="-933" y="6420"/>
                        <a:pt x="2058" y="1456"/>
                        <a:pt x="7021" y="260"/>
                      </a:cubicBezTo>
                      <a:close/>
                    </a:path>
                  </a:pathLst>
                </a:custGeom>
                <a:grpFill/>
                <a:ln w="5978" cap="flat">
                  <a:noFill/>
                  <a:prstDash val="solid"/>
                  <a:miter/>
                </a:ln>
              </p:spPr>
              <p:txBody>
                <a:bodyPr rtlCol="0" anchor="ctr"/>
                <a:lstStyle/>
                <a:p>
                  <a:endParaRPr lang="en-GB"/>
                </a:p>
              </p:txBody>
            </p:sp>
            <p:sp>
              <p:nvSpPr>
                <p:cNvPr id="4888" name="Vrije vorm: vorm 4887">
                  <a:extLst>
                    <a:ext uri="{FF2B5EF4-FFF2-40B4-BE49-F238E27FC236}">
                      <a16:creationId xmlns:a16="http://schemas.microsoft.com/office/drawing/2014/main" id="{73489F03-E0EA-48F7-BDF3-95D798A35B7A}"/>
                    </a:ext>
                  </a:extLst>
                </p:cNvPr>
                <p:cNvSpPr/>
                <p:nvPr/>
              </p:nvSpPr>
              <p:spPr>
                <a:xfrm>
                  <a:off x="7685346" y="3013885"/>
                  <a:ext cx="18342" cy="18461"/>
                </a:xfrm>
                <a:custGeom>
                  <a:avLst/>
                  <a:gdLst>
                    <a:gd name="connsiteX0" fmla="*/ 7018 w 18342"/>
                    <a:gd name="connsiteY0" fmla="*/ 260 h 18461"/>
                    <a:gd name="connsiteX1" fmla="*/ 260 w 18342"/>
                    <a:gd name="connsiteY1" fmla="*/ 11384 h 18461"/>
                    <a:gd name="connsiteX2" fmla="*/ 11324 w 18342"/>
                    <a:gd name="connsiteY2" fmla="*/ 18202 h 18461"/>
                    <a:gd name="connsiteX3" fmla="*/ 18082 w 18342"/>
                    <a:gd name="connsiteY3" fmla="*/ 7078 h 18461"/>
                    <a:gd name="connsiteX4" fmla="*/ 7018 w 18342"/>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1">
                      <a:moveTo>
                        <a:pt x="7018" y="260"/>
                      </a:moveTo>
                      <a:cubicBezTo>
                        <a:pt x="2114" y="1456"/>
                        <a:pt x="-936" y="6420"/>
                        <a:pt x="260" y="11384"/>
                      </a:cubicBezTo>
                      <a:cubicBezTo>
                        <a:pt x="1456" y="16348"/>
                        <a:pt x="6420" y="19398"/>
                        <a:pt x="11324" y="18202"/>
                      </a:cubicBezTo>
                      <a:cubicBezTo>
                        <a:pt x="16229" y="17006"/>
                        <a:pt x="19279" y="12042"/>
                        <a:pt x="18082" y="7078"/>
                      </a:cubicBezTo>
                      <a:cubicBezTo>
                        <a:pt x="16946" y="2114"/>
                        <a:pt x="11982" y="-936"/>
                        <a:pt x="7018" y="260"/>
                      </a:cubicBezTo>
                      <a:close/>
                    </a:path>
                  </a:pathLst>
                </a:custGeom>
                <a:grpFill/>
                <a:ln w="5978" cap="flat">
                  <a:noFill/>
                  <a:prstDash val="solid"/>
                  <a:miter/>
                </a:ln>
              </p:spPr>
              <p:txBody>
                <a:bodyPr rtlCol="0" anchor="ctr"/>
                <a:lstStyle/>
                <a:p>
                  <a:endParaRPr lang="en-GB"/>
                </a:p>
              </p:txBody>
            </p:sp>
          </p:grpSp>
          <p:grpSp>
            <p:nvGrpSpPr>
              <p:cNvPr id="165" name="Graphic 3">
                <a:extLst>
                  <a:ext uri="{FF2B5EF4-FFF2-40B4-BE49-F238E27FC236}">
                    <a16:creationId xmlns:a16="http://schemas.microsoft.com/office/drawing/2014/main" id="{373F595F-0C14-4CF2-A76D-97E35D2D0D6E}"/>
                  </a:ext>
                </a:extLst>
              </p:cNvPr>
              <p:cNvGrpSpPr/>
              <p:nvPr/>
            </p:nvGrpSpPr>
            <p:grpSpPr>
              <a:xfrm>
                <a:off x="7704020" y="3110249"/>
                <a:ext cx="195284" cy="47183"/>
                <a:chOff x="7704020" y="3110249"/>
                <a:chExt cx="195284" cy="47183"/>
              </a:xfrm>
              <a:grpFill/>
            </p:grpSpPr>
            <p:sp>
              <p:nvSpPr>
                <p:cNvPr id="4883" name="Vrije vorm: vorm 4882">
                  <a:extLst>
                    <a:ext uri="{FF2B5EF4-FFF2-40B4-BE49-F238E27FC236}">
                      <a16:creationId xmlns:a16="http://schemas.microsoft.com/office/drawing/2014/main" id="{13EB57B0-BB14-4FA3-BBDB-975F1157E94D}"/>
                    </a:ext>
                  </a:extLst>
                </p:cNvPr>
                <p:cNvSpPr/>
                <p:nvPr/>
              </p:nvSpPr>
              <p:spPr>
                <a:xfrm>
                  <a:off x="7712218" y="3117904"/>
                  <a:ext cx="178405" cy="31942"/>
                </a:xfrm>
                <a:custGeom>
                  <a:avLst/>
                  <a:gdLst>
                    <a:gd name="connsiteX0" fmla="*/ 0 w 178405"/>
                    <a:gd name="connsiteY0" fmla="*/ 28932 h 31942"/>
                    <a:gd name="connsiteX1" fmla="*/ 177915 w 178405"/>
                    <a:gd name="connsiteY1" fmla="*/ 0 h 31942"/>
                    <a:gd name="connsiteX2" fmla="*/ 178405 w 178405"/>
                    <a:gd name="connsiteY2" fmla="*/ 3011 h 31942"/>
                    <a:gd name="connsiteX3" fmla="*/ 489 w 178405"/>
                    <a:gd name="connsiteY3" fmla="*/ 31942 h 31942"/>
                  </a:gdLst>
                  <a:ahLst/>
                  <a:cxnLst>
                    <a:cxn ang="0">
                      <a:pos x="connsiteX0" y="connsiteY0"/>
                    </a:cxn>
                    <a:cxn ang="0">
                      <a:pos x="connsiteX1" y="connsiteY1"/>
                    </a:cxn>
                    <a:cxn ang="0">
                      <a:pos x="connsiteX2" y="connsiteY2"/>
                    </a:cxn>
                    <a:cxn ang="0">
                      <a:pos x="connsiteX3" y="connsiteY3"/>
                    </a:cxn>
                  </a:cxnLst>
                  <a:rect l="l" t="t" r="r" b="b"/>
                  <a:pathLst>
                    <a:path w="178405" h="31942">
                      <a:moveTo>
                        <a:pt x="0" y="28932"/>
                      </a:moveTo>
                      <a:lnTo>
                        <a:pt x="177915" y="0"/>
                      </a:lnTo>
                      <a:lnTo>
                        <a:pt x="178405" y="3011"/>
                      </a:lnTo>
                      <a:lnTo>
                        <a:pt x="489" y="31942"/>
                      </a:lnTo>
                      <a:close/>
                    </a:path>
                  </a:pathLst>
                </a:custGeom>
                <a:grpFill/>
                <a:ln w="5978" cap="flat">
                  <a:noFill/>
                  <a:prstDash val="solid"/>
                  <a:miter/>
                </a:ln>
              </p:spPr>
              <p:txBody>
                <a:bodyPr rtlCol="0" anchor="ctr"/>
                <a:lstStyle/>
                <a:p>
                  <a:endParaRPr lang="en-GB"/>
                </a:p>
              </p:txBody>
            </p:sp>
            <p:sp>
              <p:nvSpPr>
                <p:cNvPr id="4884" name="Vrije vorm: vorm 4883">
                  <a:extLst>
                    <a:ext uri="{FF2B5EF4-FFF2-40B4-BE49-F238E27FC236}">
                      <a16:creationId xmlns:a16="http://schemas.microsoft.com/office/drawing/2014/main" id="{119AE502-DDAF-4741-859F-59E4562FD9D8}"/>
                    </a:ext>
                  </a:extLst>
                </p:cNvPr>
                <p:cNvSpPr/>
                <p:nvPr/>
              </p:nvSpPr>
              <p:spPr>
                <a:xfrm>
                  <a:off x="7880990" y="3110249"/>
                  <a:ext cx="18314" cy="18490"/>
                </a:xfrm>
                <a:custGeom>
                  <a:avLst/>
                  <a:gdLst>
                    <a:gd name="connsiteX0" fmla="*/ 7662 w 18314"/>
                    <a:gd name="connsiteY0" fmla="*/ 125 h 18490"/>
                    <a:gd name="connsiteX1" fmla="*/ 18188 w 18314"/>
                    <a:gd name="connsiteY1" fmla="*/ 7780 h 18490"/>
                    <a:gd name="connsiteX2" fmla="*/ 10653 w 18314"/>
                    <a:gd name="connsiteY2" fmla="*/ 18366 h 18490"/>
                    <a:gd name="connsiteX3" fmla="*/ 127 w 18314"/>
                    <a:gd name="connsiteY3" fmla="*/ 10711 h 18490"/>
                    <a:gd name="connsiteX4" fmla="*/ 7662 w 18314"/>
                    <a:gd name="connsiteY4" fmla="*/ 125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90">
                      <a:moveTo>
                        <a:pt x="7662" y="125"/>
                      </a:moveTo>
                      <a:cubicBezTo>
                        <a:pt x="12686" y="-713"/>
                        <a:pt x="17351" y="2756"/>
                        <a:pt x="18188" y="7780"/>
                      </a:cubicBezTo>
                      <a:cubicBezTo>
                        <a:pt x="19025" y="12804"/>
                        <a:pt x="15616" y="17529"/>
                        <a:pt x="10653" y="18366"/>
                      </a:cubicBezTo>
                      <a:cubicBezTo>
                        <a:pt x="5688" y="19203"/>
                        <a:pt x="963" y="15734"/>
                        <a:pt x="127" y="10711"/>
                      </a:cubicBezTo>
                      <a:cubicBezTo>
                        <a:pt x="-711" y="5687"/>
                        <a:pt x="2698" y="962"/>
                        <a:pt x="7662" y="125"/>
                      </a:cubicBezTo>
                      <a:close/>
                    </a:path>
                  </a:pathLst>
                </a:custGeom>
                <a:grpFill/>
                <a:ln w="5978" cap="flat">
                  <a:noFill/>
                  <a:prstDash val="solid"/>
                  <a:miter/>
                </a:ln>
              </p:spPr>
              <p:txBody>
                <a:bodyPr rtlCol="0" anchor="ctr"/>
                <a:lstStyle/>
                <a:p>
                  <a:endParaRPr lang="en-GB"/>
                </a:p>
              </p:txBody>
            </p:sp>
            <p:sp>
              <p:nvSpPr>
                <p:cNvPr id="4885" name="Vrije vorm: vorm 4884">
                  <a:extLst>
                    <a:ext uri="{FF2B5EF4-FFF2-40B4-BE49-F238E27FC236}">
                      <a16:creationId xmlns:a16="http://schemas.microsoft.com/office/drawing/2014/main" id="{72F74487-2372-4AAE-AF6A-358B3E79A25F}"/>
                    </a:ext>
                  </a:extLst>
                </p:cNvPr>
                <p:cNvSpPr/>
                <p:nvPr/>
              </p:nvSpPr>
              <p:spPr>
                <a:xfrm>
                  <a:off x="7704020" y="3138957"/>
                  <a:ext cx="18315" cy="18476"/>
                </a:xfrm>
                <a:custGeom>
                  <a:avLst/>
                  <a:gdLst>
                    <a:gd name="connsiteX0" fmla="*/ 7662 w 18315"/>
                    <a:gd name="connsiteY0" fmla="*/ 125 h 18476"/>
                    <a:gd name="connsiteX1" fmla="*/ 127 w 18315"/>
                    <a:gd name="connsiteY1" fmla="*/ 10711 h 18476"/>
                    <a:gd name="connsiteX2" fmla="*/ 10653 w 18315"/>
                    <a:gd name="connsiteY2" fmla="*/ 18366 h 18476"/>
                    <a:gd name="connsiteX3" fmla="*/ 18188 w 18315"/>
                    <a:gd name="connsiteY3" fmla="*/ 7780 h 18476"/>
                    <a:gd name="connsiteX4" fmla="*/ 7662 w 18315"/>
                    <a:gd name="connsiteY4" fmla="*/ 125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76">
                      <a:moveTo>
                        <a:pt x="7662" y="125"/>
                      </a:moveTo>
                      <a:cubicBezTo>
                        <a:pt x="2699" y="962"/>
                        <a:pt x="-711" y="5687"/>
                        <a:pt x="127" y="10711"/>
                      </a:cubicBezTo>
                      <a:cubicBezTo>
                        <a:pt x="964" y="15734"/>
                        <a:pt x="5689" y="19143"/>
                        <a:pt x="10653" y="18366"/>
                      </a:cubicBezTo>
                      <a:cubicBezTo>
                        <a:pt x="15617" y="17529"/>
                        <a:pt x="19026" y="12804"/>
                        <a:pt x="18188" y="7780"/>
                      </a:cubicBezTo>
                      <a:cubicBezTo>
                        <a:pt x="17351" y="2756"/>
                        <a:pt x="12627" y="-713"/>
                        <a:pt x="7662" y="125"/>
                      </a:cubicBezTo>
                      <a:close/>
                    </a:path>
                  </a:pathLst>
                </a:custGeom>
                <a:grpFill/>
                <a:ln w="5978" cap="flat">
                  <a:noFill/>
                  <a:prstDash val="solid"/>
                  <a:miter/>
                </a:ln>
              </p:spPr>
              <p:txBody>
                <a:bodyPr rtlCol="0" anchor="ctr"/>
                <a:lstStyle/>
                <a:p>
                  <a:endParaRPr lang="en-GB"/>
                </a:p>
              </p:txBody>
            </p:sp>
          </p:grpSp>
          <p:grpSp>
            <p:nvGrpSpPr>
              <p:cNvPr id="166" name="Graphic 3">
                <a:extLst>
                  <a:ext uri="{FF2B5EF4-FFF2-40B4-BE49-F238E27FC236}">
                    <a16:creationId xmlns:a16="http://schemas.microsoft.com/office/drawing/2014/main" id="{9B270364-2423-418D-AF94-DDE2FA0722F8}"/>
                  </a:ext>
                </a:extLst>
              </p:cNvPr>
              <p:cNvGrpSpPr/>
              <p:nvPr/>
            </p:nvGrpSpPr>
            <p:grpSpPr>
              <a:xfrm>
                <a:off x="7466635" y="2321178"/>
                <a:ext cx="148876" cy="109858"/>
                <a:chOff x="7466635" y="2321178"/>
                <a:chExt cx="148876" cy="109858"/>
              </a:xfrm>
              <a:grpFill/>
            </p:grpSpPr>
            <p:sp>
              <p:nvSpPr>
                <p:cNvPr id="4880" name="Vrije vorm: vorm 4879">
                  <a:extLst>
                    <a:ext uri="{FF2B5EF4-FFF2-40B4-BE49-F238E27FC236}">
                      <a16:creationId xmlns:a16="http://schemas.microsoft.com/office/drawing/2014/main" id="{86310691-9B26-466D-8B2B-6F6FF5CA3993}"/>
                    </a:ext>
                  </a:extLst>
                </p:cNvPr>
                <p:cNvSpPr/>
                <p:nvPr/>
              </p:nvSpPr>
              <p:spPr>
                <a:xfrm>
                  <a:off x="7474546" y="2328873"/>
                  <a:ext cx="133071" cy="94495"/>
                </a:xfrm>
                <a:custGeom>
                  <a:avLst/>
                  <a:gdLst>
                    <a:gd name="connsiteX0" fmla="*/ 133071 w 133071"/>
                    <a:gd name="connsiteY0" fmla="*/ 2512 h 94495"/>
                    <a:gd name="connsiteX1" fmla="*/ 1735 w 133071"/>
                    <a:gd name="connsiteY1" fmla="*/ 94495 h 94495"/>
                    <a:gd name="connsiteX2" fmla="*/ 0 w 133071"/>
                    <a:gd name="connsiteY2" fmla="*/ 91984 h 94495"/>
                    <a:gd name="connsiteX3" fmla="*/ 131277 w 133071"/>
                    <a:gd name="connsiteY3" fmla="*/ 0 h 94495"/>
                  </a:gdLst>
                  <a:ahLst/>
                  <a:cxnLst>
                    <a:cxn ang="0">
                      <a:pos x="connsiteX0" y="connsiteY0"/>
                    </a:cxn>
                    <a:cxn ang="0">
                      <a:pos x="connsiteX1" y="connsiteY1"/>
                    </a:cxn>
                    <a:cxn ang="0">
                      <a:pos x="connsiteX2" y="connsiteY2"/>
                    </a:cxn>
                    <a:cxn ang="0">
                      <a:pos x="connsiteX3" y="connsiteY3"/>
                    </a:cxn>
                  </a:cxnLst>
                  <a:rect l="l" t="t" r="r" b="b"/>
                  <a:pathLst>
                    <a:path w="133071" h="94495">
                      <a:moveTo>
                        <a:pt x="133071" y="2512"/>
                      </a:moveTo>
                      <a:lnTo>
                        <a:pt x="1735" y="94495"/>
                      </a:lnTo>
                      <a:lnTo>
                        <a:pt x="0" y="91984"/>
                      </a:lnTo>
                      <a:lnTo>
                        <a:pt x="131277" y="0"/>
                      </a:lnTo>
                      <a:close/>
                    </a:path>
                  </a:pathLst>
                </a:custGeom>
                <a:grpFill/>
                <a:ln w="5978" cap="flat">
                  <a:noFill/>
                  <a:prstDash val="solid"/>
                  <a:miter/>
                </a:ln>
              </p:spPr>
              <p:txBody>
                <a:bodyPr rtlCol="0" anchor="ctr"/>
                <a:lstStyle/>
                <a:p>
                  <a:endParaRPr lang="en-GB"/>
                </a:p>
              </p:txBody>
            </p:sp>
            <p:sp>
              <p:nvSpPr>
                <p:cNvPr id="4881" name="Vrije vorm: vorm 4880">
                  <a:extLst>
                    <a:ext uri="{FF2B5EF4-FFF2-40B4-BE49-F238E27FC236}">
                      <a16:creationId xmlns:a16="http://schemas.microsoft.com/office/drawing/2014/main" id="{B5037DB9-9438-4BAB-ABE8-76A506864874}"/>
                    </a:ext>
                  </a:extLst>
                </p:cNvPr>
                <p:cNvSpPr/>
                <p:nvPr/>
              </p:nvSpPr>
              <p:spPr>
                <a:xfrm>
                  <a:off x="7597178" y="2321178"/>
                  <a:ext cx="18333" cy="18439"/>
                </a:xfrm>
                <a:custGeom>
                  <a:avLst/>
                  <a:gdLst>
                    <a:gd name="connsiteX0" fmla="*/ 3920 w 18333"/>
                    <a:gd name="connsiteY0" fmla="*/ 1654 h 18439"/>
                    <a:gd name="connsiteX1" fmla="*/ 16659 w 18333"/>
                    <a:gd name="connsiteY1" fmla="*/ 3987 h 18439"/>
                    <a:gd name="connsiteX2" fmla="*/ 14387 w 18333"/>
                    <a:gd name="connsiteY2" fmla="*/ 16785 h 18439"/>
                    <a:gd name="connsiteX3" fmla="*/ 1648 w 18333"/>
                    <a:gd name="connsiteY3" fmla="*/ 14453 h 18439"/>
                    <a:gd name="connsiteX4" fmla="*/ 3920 w 18333"/>
                    <a:gd name="connsiteY4" fmla="*/ 165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9">
                      <a:moveTo>
                        <a:pt x="3920" y="1654"/>
                      </a:moveTo>
                      <a:cubicBezTo>
                        <a:pt x="8047" y="-1276"/>
                        <a:pt x="13789" y="-200"/>
                        <a:pt x="16659" y="3987"/>
                      </a:cubicBezTo>
                      <a:cubicBezTo>
                        <a:pt x="19590" y="8173"/>
                        <a:pt x="18574" y="13915"/>
                        <a:pt x="14387" y="16785"/>
                      </a:cubicBezTo>
                      <a:cubicBezTo>
                        <a:pt x="10260" y="19716"/>
                        <a:pt x="4518" y="18639"/>
                        <a:pt x="1648" y="14453"/>
                      </a:cubicBezTo>
                      <a:cubicBezTo>
                        <a:pt x="-1223" y="10326"/>
                        <a:pt x="-266" y="4585"/>
                        <a:pt x="3920" y="1654"/>
                      </a:cubicBezTo>
                      <a:close/>
                    </a:path>
                  </a:pathLst>
                </a:custGeom>
                <a:grpFill/>
                <a:ln w="5978" cap="flat">
                  <a:noFill/>
                  <a:prstDash val="solid"/>
                  <a:miter/>
                </a:ln>
              </p:spPr>
              <p:txBody>
                <a:bodyPr rtlCol="0" anchor="ctr"/>
                <a:lstStyle/>
                <a:p>
                  <a:endParaRPr lang="en-GB"/>
                </a:p>
              </p:txBody>
            </p:sp>
            <p:sp>
              <p:nvSpPr>
                <p:cNvPr id="4882" name="Vrije vorm: vorm 4881">
                  <a:extLst>
                    <a:ext uri="{FF2B5EF4-FFF2-40B4-BE49-F238E27FC236}">
                      <a16:creationId xmlns:a16="http://schemas.microsoft.com/office/drawing/2014/main" id="{272658D1-F7C5-43B3-BE44-E0CF776E85D4}"/>
                    </a:ext>
                  </a:extLst>
                </p:cNvPr>
                <p:cNvSpPr/>
                <p:nvPr/>
              </p:nvSpPr>
              <p:spPr>
                <a:xfrm>
                  <a:off x="7466635" y="2412650"/>
                  <a:ext cx="18274" cy="18387"/>
                </a:xfrm>
                <a:custGeom>
                  <a:avLst/>
                  <a:gdLst>
                    <a:gd name="connsiteX0" fmla="*/ 3904 w 18274"/>
                    <a:gd name="connsiteY0" fmla="*/ 1628 h 18387"/>
                    <a:gd name="connsiteX1" fmla="*/ 1631 w 18274"/>
                    <a:gd name="connsiteY1" fmla="*/ 14427 h 18387"/>
                    <a:gd name="connsiteX2" fmla="*/ 14370 w 18274"/>
                    <a:gd name="connsiteY2" fmla="*/ 16759 h 18387"/>
                    <a:gd name="connsiteX3" fmla="*/ 16643 w 18274"/>
                    <a:gd name="connsiteY3" fmla="*/ 3961 h 18387"/>
                    <a:gd name="connsiteX4" fmla="*/ 3904 w 18274"/>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3904" y="1628"/>
                      </a:moveTo>
                      <a:cubicBezTo>
                        <a:pt x="-223" y="4559"/>
                        <a:pt x="-1239" y="10300"/>
                        <a:pt x="1631" y="14427"/>
                      </a:cubicBezTo>
                      <a:cubicBezTo>
                        <a:pt x="4562" y="18613"/>
                        <a:pt x="10243" y="19630"/>
                        <a:pt x="14370" y="16759"/>
                      </a:cubicBezTo>
                      <a:cubicBezTo>
                        <a:pt x="18497" y="13829"/>
                        <a:pt x="19514" y="8087"/>
                        <a:pt x="16643" y="3961"/>
                      </a:cubicBezTo>
                      <a:cubicBezTo>
                        <a:pt x="13773" y="-226"/>
                        <a:pt x="8031" y="-1243"/>
                        <a:pt x="3904" y="1628"/>
                      </a:cubicBezTo>
                      <a:close/>
                    </a:path>
                  </a:pathLst>
                </a:custGeom>
                <a:grpFill/>
                <a:ln w="5978" cap="flat">
                  <a:noFill/>
                  <a:prstDash val="solid"/>
                  <a:miter/>
                </a:ln>
              </p:spPr>
              <p:txBody>
                <a:bodyPr rtlCol="0" anchor="ctr"/>
                <a:lstStyle/>
                <a:p>
                  <a:endParaRPr lang="en-GB"/>
                </a:p>
              </p:txBody>
            </p:sp>
          </p:grpSp>
          <p:grpSp>
            <p:nvGrpSpPr>
              <p:cNvPr id="167" name="Graphic 3">
                <a:extLst>
                  <a:ext uri="{FF2B5EF4-FFF2-40B4-BE49-F238E27FC236}">
                    <a16:creationId xmlns:a16="http://schemas.microsoft.com/office/drawing/2014/main" id="{2613ACF7-1B5F-4A33-AC8D-B304123A91FC}"/>
                  </a:ext>
                </a:extLst>
              </p:cNvPr>
              <p:cNvGrpSpPr/>
              <p:nvPr/>
            </p:nvGrpSpPr>
            <p:grpSpPr>
              <a:xfrm>
                <a:off x="7501007" y="2375178"/>
                <a:ext cx="97887" cy="71980"/>
                <a:chOff x="7501007" y="2375178"/>
                <a:chExt cx="97887" cy="71980"/>
              </a:xfrm>
              <a:grpFill/>
            </p:grpSpPr>
            <p:sp>
              <p:nvSpPr>
                <p:cNvPr id="4877" name="Vrije vorm: vorm 4876">
                  <a:extLst>
                    <a:ext uri="{FF2B5EF4-FFF2-40B4-BE49-F238E27FC236}">
                      <a16:creationId xmlns:a16="http://schemas.microsoft.com/office/drawing/2014/main" id="{A4E1BB20-ED38-4E8C-A734-198190462E2D}"/>
                    </a:ext>
                  </a:extLst>
                </p:cNvPr>
                <p:cNvSpPr/>
                <p:nvPr/>
              </p:nvSpPr>
              <p:spPr>
                <a:xfrm>
                  <a:off x="7508935" y="2382879"/>
                  <a:ext cx="81996" cy="56577"/>
                </a:xfrm>
                <a:custGeom>
                  <a:avLst/>
                  <a:gdLst>
                    <a:gd name="connsiteX0" fmla="*/ 81996 w 81996"/>
                    <a:gd name="connsiteY0" fmla="*/ 2512 h 56577"/>
                    <a:gd name="connsiteX1" fmla="*/ 1735 w 81996"/>
                    <a:gd name="connsiteY1" fmla="*/ 56578 h 56577"/>
                    <a:gd name="connsiteX2" fmla="*/ 0 w 81996"/>
                    <a:gd name="connsiteY2" fmla="*/ 54006 h 56577"/>
                    <a:gd name="connsiteX3" fmla="*/ 80321 w 81996"/>
                    <a:gd name="connsiteY3" fmla="*/ 0 h 56577"/>
                  </a:gdLst>
                  <a:ahLst/>
                  <a:cxnLst>
                    <a:cxn ang="0">
                      <a:pos x="connsiteX0" y="connsiteY0"/>
                    </a:cxn>
                    <a:cxn ang="0">
                      <a:pos x="connsiteX1" y="connsiteY1"/>
                    </a:cxn>
                    <a:cxn ang="0">
                      <a:pos x="connsiteX2" y="connsiteY2"/>
                    </a:cxn>
                    <a:cxn ang="0">
                      <a:pos x="connsiteX3" y="connsiteY3"/>
                    </a:cxn>
                  </a:cxnLst>
                  <a:rect l="l" t="t" r="r" b="b"/>
                  <a:pathLst>
                    <a:path w="81996" h="56577">
                      <a:moveTo>
                        <a:pt x="81996" y="2512"/>
                      </a:moveTo>
                      <a:lnTo>
                        <a:pt x="1735" y="56578"/>
                      </a:lnTo>
                      <a:lnTo>
                        <a:pt x="0" y="54006"/>
                      </a:lnTo>
                      <a:lnTo>
                        <a:pt x="80321" y="0"/>
                      </a:lnTo>
                      <a:close/>
                    </a:path>
                  </a:pathLst>
                </a:custGeom>
                <a:grpFill/>
                <a:ln w="5978" cap="flat">
                  <a:noFill/>
                  <a:prstDash val="solid"/>
                  <a:miter/>
                </a:ln>
              </p:spPr>
              <p:txBody>
                <a:bodyPr rtlCol="0" anchor="ctr"/>
                <a:lstStyle/>
                <a:p>
                  <a:endParaRPr lang="en-GB"/>
                </a:p>
              </p:txBody>
            </p:sp>
            <p:sp>
              <p:nvSpPr>
                <p:cNvPr id="4878" name="Vrije vorm: vorm 4877">
                  <a:extLst>
                    <a:ext uri="{FF2B5EF4-FFF2-40B4-BE49-F238E27FC236}">
                      <a16:creationId xmlns:a16="http://schemas.microsoft.com/office/drawing/2014/main" id="{C44C548A-9FE2-492D-9795-2BECEB23034E}"/>
                    </a:ext>
                  </a:extLst>
                </p:cNvPr>
                <p:cNvSpPr/>
                <p:nvPr/>
              </p:nvSpPr>
              <p:spPr>
                <a:xfrm>
                  <a:off x="7580550" y="2375178"/>
                  <a:ext cx="18343" cy="18453"/>
                </a:xfrm>
                <a:custGeom>
                  <a:avLst/>
                  <a:gdLst>
                    <a:gd name="connsiteX0" fmla="*/ 4041 w 18343"/>
                    <a:gd name="connsiteY0" fmla="*/ 1541 h 18453"/>
                    <a:gd name="connsiteX1" fmla="*/ 16780 w 18343"/>
                    <a:gd name="connsiteY1" fmla="*/ 4113 h 18453"/>
                    <a:gd name="connsiteX2" fmla="*/ 14328 w 18343"/>
                    <a:gd name="connsiteY2" fmla="*/ 16912 h 18453"/>
                    <a:gd name="connsiteX3" fmla="*/ 1590 w 18343"/>
                    <a:gd name="connsiteY3" fmla="*/ 14340 h 18453"/>
                    <a:gd name="connsiteX4" fmla="*/ 4041 w 18343"/>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3">
                      <a:moveTo>
                        <a:pt x="4041" y="1541"/>
                      </a:moveTo>
                      <a:cubicBezTo>
                        <a:pt x="8228" y="-1270"/>
                        <a:pt x="13910" y="-133"/>
                        <a:pt x="16780" y="4113"/>
                      </a:cubicBezTo>
                      <a:cubicBezTo>
                        <a:pt x="19591" y="8360"/>
                        <a:pt x="18515" y="14041"/>
                        <a:pt x="14328" y="16912"/>
                      </a:cubicBezTo>
                      <a:cubicBezTo>
                        <a:pt x="10142" y="19723"/>
                        <a:pt x="4461" y="18587"/>
                        <a:pt x="1590" y="14340"/>
                      </a:cubicBezTo>
                      <a:cubicBezTo>
                        <a:pt x="-1281" y="10094"/>
                        <a:pt x="-145" y="4352"/>
                        <a:pt x="4041" y="1541"/>
                      </a:cubicBezTo>
                      <a:close/>
                    </a:path>
                  </a:pathLst>
                </a:custGeom>
                <a:grpFill/>
                <a:ln w="5978" cap="flat">
                  <a:noFill/>
                  <a:prstDash val="solid"/>
                  <a:miter/>
                </a:ln>
              </p:spPr>
              <p:txBody>
                <a:bodyPr rtlCol="0" anchor="ctr"/>
                <a:lstStyle/>
                <a:p>
                  <a:endParaRPr lang="en-GB"/>
                </a:p>
              </p:txBody>
            </p:sp>
            <p:sp>
              <p:nvSpPr>
                <p:cNvPr id="4879" name="Vrije vorm: vorm 4878">
                  <a:extLst>
                    <a:ext uri="{FF2B5EF4-FFF2-40B4-BE49-F238E27FC236}">
                      <a16:creationId xmlns:a16="http://schemas.microsoft.com/office/drawing/2014/main" id="{A1E4786A-2357-411A-B09E-E0DC0D20098A}"/>
                    </a:ext>
                  </a:extLst>
                </p:cNvPr>
                <p:cNvSpPr/>
                <p:nvPr/>
              </p:nvSpPr>
              <p:spPr>
                <a:xfrm>
                  <a:off x="7501007" y="2428705"/>
                  <a:ext cx="18384" cy="18453"/>
                </a:xfrm>
                <a:custGeom>
                  <a:avLst/>
                  <a:gdLst>
                    <a:gd name="connsiteX0" fmla="*/ 4042 w 18384"/>
                    <a:gd name="connsiteY0" fmla="*/ 1541 h 18453"/>
                    <a:gd name="connsiteX1" fmla="*/ 1590 w 18384"/>
                    <a:gd name="connsiteY1" fmla="*/ 14340 h 18453"/>
                    <a:gd name="connsiteX2" fmla="*/ 14329 w 18384"/>
                    <a:gd name="connsiteY2" fmla="*/ 16912 h 18453"/>
                    <a:gd name="connsiteX3" fmla="*/ 16841 w 18384"/>
                    <a:gd name="connsiteY3" fmla="*/ 4113 h 18453"/>
                    <a:gd name="connsiteX4" fmla="*/ 4042 w 1838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53">
                      <a:moveTo>
                        <a:pt x="4042" y="1541"/>
                      </a:moveTo>
                      <a:cubicBezTo>
                        <a:pt x="-145" y="4352"/>
                        <a:pt x="-1281" y="10094"/>
                        <a:pt x="1590" y="14340"/>
                      </a:cubicBezTo>
                      <a:cubicBezTo>
                        <a:pt x="4400" y="18586"/>
                        <a:pt x="10142" y="19723"/>
                        <a:pt x="14329" y="16912"/>
                      </a:cubicBezTo>
                      <a:cubicBezTo>
                        <a:pt x="18515" y="14101"/>
                        <a:pt x="19651" y="8359"/>
                        <a:pt x="16841" y="4113"/>
                      </a:cubicBezTo>
                      <a:cubicBezTo>
                        <a:pt x="13909" y="-133"/>
                        <a:pt x="8228" y="-1270"/>
                        <a:pt x="4042" y="1541"/>
                      </a:cubicBezTo>
                      <a:close/>
                    </a:path>
                  </a:pathLst>
                </a:custGeom>
                <a:grpFill/>
                <a:ln w="5978" cap="flat">
                  <a:noFill/>
                  <a:prstDash val="solid"/>
                  <a:miter/>
                </a:ln>
              </p:spPr>
              <p:txBody>
                <a:bodyPr rtlCol="0" anchor="ctr"/>
                <a:lstStyle/>
                <a:p>
                  <a:endParaRPr lang="en-GB"/>
                </a:p>
              </p:txBody>
            </p:sp>
          </p:grpSp>
          <p:grpSp>
            <p:nvGrpSpPr>
              <p:cNvPr id="168" name="Graphic 3">
                <a:extLst>
                  <a:ext uri="{FF2B5EF4-FFF2-40B4-BE49-F238E27FC236}">
                    <a16:creationId xmlns:a16="http://schemas.microsoft.com/office/drawing/2014/main" id="{06ADB871-81B2-49C9-9270-0FE555AB33A4}"/>
                  </a:ext>
                </a:extLst>
              </p:cNvPr>
              <p:cNvGrpSpPr/>
              <p:nvPr/>
            </p:nvGrpSpPr>
            <p:grpSpPr>
              <a:xfrm>
                <a:off x="7719673" y="3296881"/>
                <a:ext cx="257038" cy="35938"/>
                <a:chOff x="7719673" y="3296881"/>
                <a:chExt cx="257038" cy="35938"/>
              </a:xfrm>
              <a:grpFill/>
            </p:grpSpPr>
            <p:sp>
              <p:nvSpPr>
                <p:cNvPr id="4874" name="Vrije vorm: vorm 4873">
                  <a:extLst>
                    <a:ext uri="{FF2B5EF4-FFF2-40B4-BE49-F238E27FC236}">
                      <a16:creationId xmlns:a16="http://schemas.microsoft.com/office/drawing/2014/main" id="{261890B4-88C0-46D0-872F-75C8D729130C}"/>
                    </a:ext>
                  </a:extLst>
                </p:cNvPr>
                <p:cNvSpPr/>
                <p:nvPr/>
              </p:nvSpPr>
              <p:spPr>
                <a:xfrm>
                  <a:off x="7728249" y="3304508"/>
                  <a:ext cx="239886" cy="20693"/>
                </a:xfrm>
                <a:custGeom>
                  <a:avLst/>
                  <a:gdLst>
                    <a:gd name="connsiteX0" fmla="*/ 239887 w 239886"/>
                    <a:gd name="connsiteY0" fmla="*/ 17643 h 20693"/>
                    <a:gd name="connsiteX1" fmla="*/ 239707 w 239886"/>
                    <a:gd name="connsiteY1" fmla="*/ 20693 h 20693"/>
                    <a:gd name="connsiteX2" fmla="*/ 0 w 239886"/>
                    <a:gd name="connsiteY2" fmla="*/ 3050 h 20693"/>
                    <a:gd name="connsiteX3" fmla="*/ 239 w 239886"/>
                    <a:gd name="connsiteY3" fmla="*/ 0 h 20693"/>
                  </a:gdLst>
                  <a:ahLst/>
                  <a:cxnLst>
                    <a:cxn ang="0">
                      <a:pos x="connsiteX0" y="connsiteY0"/>
                    </a:cxn>
                    <a:cxn ang="0">
                      <a:pos x="connsiteX1" y="connsiteY1"/>
                    </a:cxn>
                    <a:cxn ang="0">
                      <a:pos x="connsiteX2" y="connsiteY2"/>
                    </a:cxn>
                    <a:cxn ang="0">
                      <a:pos x="connsiteX3" y="connsiteY3"/>
                    </a:cxn>
                  </a:cxnLst>
                  <a:rect l="l" t="t" r="r" b="b"/>
                  <a:pathLst>
                    <a:path w="239886" h="20693">
                      <a:moveTo>
                        <a:pt x="239887" y="17643"/>
                      </a:moveTo>
                      <a:lnTo>
                        <a:pt x="239707" y="20693"/>
                      </a:lnTo>
                      <a:lnTo>
                        <a:pt x="0" y="3050"/>
                      </a:lnTo>
                      <a:lnTo>
                        <a:pt x="239" y="0"/>
                      </a:lnTo>
                      <a:close/>
                    </a:path>
                  </a:pathLst>
                </a:custGeom>
                <a:grpFill/>
                <a:ln w="5978" cap="flat">
                  <a:noFill/>
                  <a:prstDash val="solid"/>
                  <a:miter/>
                </a:ln>
              </p:spPr>
              <p:txBody>
                <a:bodyPr rtlCol="0" anchor="ctr"/>
                <a:lstStyle/>
                <a:p>
                  <a:endParaRPr lang="en-GB"/>
                </a:p>
              </p:txBody>
            </p:sp>
            <p:sp>
              <p:nvSpPr>
                <p:cNvPr id="4875" name="Vrije vorm: vorm 4874">
                  <a:extLst>
                    <a:ext uri="{FF2B5EF4-FFF2-40B4-BE49-F238E27FC236}">
                      <a16:creationId xmlns:a16="http://schemas.microsoft.com/office/drawing/2014/main" id="{A15C6969-9F75-4429-8975-F5A773029EDB}"/>
                    </a:ext>
                  </a:extLst>
                </p:cNvPr>
                <p:cNvSpPr/>
                <p:nvPr/>
              </p:nvSpPr>
              <p:spPr>
                <a:xfrm>
                  <a:off x="7719673" y="3296881"/>
                  <a:ext cx="18287" cy="18415"/>
                </a:xfrm>
                <a:custGeom>
                  <a:avLst/>
                  <a:gdLst>
                    <a:gd name="connsiteX0" fmla="*/ 8516 w 18287"/>
                    <a:gd name="connsiteY0" fmla="*/ 18392 h 18415"/>
                    <a:gd name="connsiteX1" fmla="*/ 23 w 18287"/>
                    <a:gd name="connsiteY1" fmla="*/ 8524 h 18415"/>
                    <a:gd name="connsiteX2" fmla="*/ 9771 w 18287"/>
                    <a:gd name="connsiteY2" fmla="*/ 31 h 18415"/>
                    <a:gd name="connsiteX3" fmla="*/ 18264 w 18287"/>
                    <a:gd name="connsiteY3" fmla="*/ 9900 h 18415"/>
                    <a:gd name="connsiteX4" fmla="*/ 8516 w 18287"/>
                    <a:gd name="connsiteY4" fmla="*/ 18392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5">
                      <a:moveTo>
                        <a:pt x="8516" y="18392"/>
                      </a:moveTo>
                      <a:cubicBezTo>
                        <a:pt x="3492" y="18033"/>
                        <a:pt x="-336" y="13608"/>
                        <a:pt x="23" y="8524"/>
                      </a:cubicBezTo>
                      <a:cubicBezTo>
                        <a:pt x="382" y="3440"/>
                        <a:pt x="4748" y="-387"/>
                        <a:pt x="9771" y="31"/>
                      </a:cubicBezTo>
                      <a:cubicBezTo>
                        <a:pt x="14796" y="390"/>
                        <a:pt x="18623" y="4816"/>
                        <a:pt x="18264" y="9900"/>
                      </a:cubicBezTo>
                      <a:cubicBezTo>
                        <a:pt x="17906" y="14923"/>
                        <a:pt x="13539" y="18751"/>
                        <a:pt x="8516" y="18392"/>
                      </a:cubicBezTo>
                      <a:close/>
                    </a:path>
                  </a:pathLst>
                </a:custGeom>
                <a:grpFill/>
                <a:ln w="5978" cap="flat">
                  <a:noFill/>
                  <a:prstDash val="solid"/>
                  <a:miter/>
                </a:ln>
              </p:spPr>
              <p:txBody>
                <a:bodyPr rtlCol="0" anchor="ctr"/>
                <a:lstStyle/>
                <a:p>
                  <a:endParaRPr lang="en-GB"/>
                </a:p>
              </p:txBody>
            </p:sp>
            <p:sp>
              <p:nvSpPr>
                <p:cNvPr id="4876" name="Vrije vorm: vorm 4875">
                  <a:extLst>
                    <a:ext uri="{FF2B5EF4-FFF2-40B4-BE49-F238E27FC236}">
                      <a16:creationId xmlns:a16="http://schemas.microsoft.com/office/drawing/2014/main" id="{6A7EC66F-E343-4385-85A4-7FA498609D87}"/>
                    </a:ext>
                  </a:extLst>
                </p:cNvPr>
                <p:cNvSpPr/>
                <p:nvPr/>
              </p:nvSpPr>
              <p:spPr>
                <a:xfrm>
                  <a:off x="7958423" y="3314413"/>
                  <a:ext cx="18288" cy="18407"/>
                </a:xfrm>
                <a:custGeom>
                  <a:avLst/>
                  <a:gdLst>
                    <a:gd name="connsiteX0" fmla="*/ 8516 w 18288"/>
                    <a:gd name="connsiteY0" fmla="*/ 18384 h 18407"/>
                    <a:gd name="connsiteX1" fmla="*/ 18265 w 18288"/>
                    <a:gd name="connsiteY1" fmla="*/ 9891 h 18407"/>
                    <a:gd name="connsiteX2" fmla="*/ 9772 w 18288"/>
                    <a:gd name="connsiteY2" fmla="*/ 23 h 18407"/>
                    <a:gd name="connsiteX3" fmla="*/ 23 w 18288"/>
                    <a:gd name="connsiteY3" fmla="*/ 8516 h 18407"/>
                    <a:gd name="connsiteX4" fmla="*/ 8516 w 18288"/>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07">
                      <a:moveTo>
                        <a:pt x="8516" y="18384"/>
                      </a:moveTo>
                      <a:cubicBezTo>
                        <a:pt x="13540" y="18743"/>
                        <a:pt x="17965" y="14915"/>
                        <a:pt x="18265" y="9891"/>
                      </a:cubicBezTo>
                      <a:cubicBezTo>
                        <a:pt x="18623" y="4808"/>
                        <a:pt x="14795" y="382"/>
                        <a:pt x="9772" y="23"/>
                      </a:cubicBezTo>
                      <a:cubicBezTo>
                        <a:pt x="4748" y="-336"/>
                        <a:pt x="323" y="3492"/>
                        <a:pt x="23" y="8516"/>
                      </a:cubicBezTo>
                      <a:cubicBezTo>
                        <a:pt x="-335" y="13599"/>
                        <a:pt x="3493" y="18025"/>
                        <a:pt x="8516" y="18384"/>
                      </a:cubicBezTo>
                      <a:close/>
                    </a:path>
                  </a:pathLst>
                </a:custGeom>
                <a:grpFill/>
                <a:ln w="5978" cap="flat">
                  <a:noFill/>
                  <a:prstDash val="solid"/>
                  <a:miter/>
                </a:ln>
              </p:spPr>
              <p:txBody>
                <a:bodyPr rtlCol="0" anchor="ctr"/>
                <a:lstStyle/>
                <a:p>
                  <a:endParaRPr lang="en-GB"/>
                </a:p>
              </p:txBody>
            </p:sp>
          </p:grpSp>
          <p:grpSp>
            <p:nvGrpSpPr>
              <p:cNvPr id="169" name="Graphic 3">
                <a:extLst>
                  <a:ext uri="{FF2B5EF4-FFF2-40B4-BE49-F238E27FC236}">
                    <a16:creationId xmlns:a16="http://schemas.microsoft.com/office/drawing/2014/main" id="{72E52534-D8B0-4A2E-BFFE-DD6585E340DA}"/>
                  </a:ext>
                </a:extLst>
              </p:cNvPr>
              <p:cNvGrpSpPr/>
              <p:nvPr/>
            </p:nvGrpSpPr>
            <p:grpSpPr>
              <a:xfrm>
                <a:off x="7711018" y="3234528"/>
                <a:ext cx="248689" cy="27702"/>
                <a:chOff x="7711018" y="3234528"/>
                <a:chExt cx="248689" cy="27702"/>
              </a:xfrm>
              <a:grpFill/>
            </p:grpSpPr>
            <p:sp>
              <p:nvSpPr>
                <p:cNvPr id="4871" name="Vrije vorm: vorm 4870">
                  <a:extLst>
                    <a:ext uri="{FF2B5EF4-FFF2-40B4-BE49-F238E27FC236}">
                      <a16:creationId xmlns:a16="http://schemas.microsoft.com/office/drawing/2014/main" id="{86686E07-9E64-4680-AA40-5599A22095CE}"/>
                    </a:ext>
                  </a:extLst>
                </p:cNvPr>
                <p:cNvSpPr/>
                <p:nvPr/>
              </p:nvSpPr>
              <p:spPr>
                <a:xfrm>
                  <a:off x="7719697" y="3242189"/>
                  <a:ext cx="231333" cy="12380"/>
                </a:xfrm>
                <a:custGeom>
                  <a:avLst/>
                  <a:gdLst>
                    <a:gd name="connsiteX0" fmla="*/ 231334 w 231333"/>
                    <a:gd name="connsiteY0" fmla="*/ 9270 h 12380"/>
                    <a:gd name="connsiteX1" fmla="*/ 231214 w 231333"/>
                    <a:gd name="connsiteY1" fmla="*/ 12380 h 12380"/>
                    <a:gd name="connsiteX2" fmla="*/ 0 w 231333"/>
                    <a:gd name="connsiteY2" fmla="*/ 3110 h 12380"/>
                    <a:gd name="connsiteX3" fmla="*/ 119 w 231333"/>
                    <a:gd name="connsiteY3" fmla="*/ 0 h 12380"/>
                  </a:gdLst>
                  <a:ahLst/>
                  <a:cxnLst>
                    <a:cxn ang="0">
                      <a:pos x="connsiteX0" y="connsiteY0"/>
                    </a:cxn>
                    <a:cxn ang="0">
                      <a:pos x="connsiteX1" y="connsiteY1"/>
                    </a:cxn>
                    <a:cxn ang="0">
                      <a:pos x="connsiteX2" y="connsiteY2"/>
                    </a:cxn>
                    <a:cxn ang="0">
                      <a:pos x="connsiteX3" y="connsiteY3"/>
                    </a:cxn>
                  </a:cxnLst>
                  <a:rect l="l" t="t" r="r" b="b"/>
                  <a:pathLst>
                    <a:path w="231333" h="12380">
                      <a:moveTo>
                        <a:pt x="231334" y="9270"/>
                      </a:moveTo>
                      <a:lnTo>
                        <a:pt x="231214" y="12380"/>
                      </a:lnTo>
                      <a:lnTo>
                        <a:pt x="0" y="3110"/>
                      </a:lnTo>
                      <a:lnTo>
                        <a:pt x="119" y="0"/>
                      </a:lnTo>
                      <a:close/>
                    </a:path>
                  </a:pathLst>
                </a:custGeom>
                <a:grpFill/>
                <a:ln w="5978" cap="flat">
                  <a:noFill/>
                  <a:prstDash val="solid"/>
                  <a:miter/>
                </a:ln>
              </p:spPr>
              <p:txBody>
                <a:bodyPr rtlCol="0" anchor="ctr"/>
                <a:lstStyle/>
                <a:p>
                  <a:endParaRPr lang="en-GB"/>
                </a:p>
              </p:txBody>
            </p:sp>
            <p:sp>
              <p:nvSpPr>
                <p:cNvPr id="4872" name="Vrije vorm: vorm 4871">
                  <a:extLst>
                    <a:ext uri="{FF2B5EF4-FFF2-40B4-BE49-F238E27FC236}">
                      <a16:creationId xmlns:a16="http://schemas.microsoft.com/office/drawing/2014/main" id="{9BA83C3F-D351-40EB-A79D-A67A2268796A}"/>
                    </a:ext>
                  </a:extLst>
                </p:cNvPr>
                <p:cNvSpPr/>
                <p:nvPr/>
              </p:nvSpPr>
              <p:spPr>
                <a:xfrm>
                  <a:off x="7711018" y="3234528"/>
                  <a:ext cx="18372" cy="18436"/>
                </a:xfrm>
                <a:custGeom>
                  <a:avLst/>
                  <a:gdLst>
                    <a:gd name="connsiteX0" fmla="*/ 8857 w 18372"/>
                    <a:gd name="connsiteY0" fmla="*/ 18427 h 18436"/>
                    <a:gd name="connsiteX1" fmla="*/ 6 w 18372"/>
                    <a:gd name="connsiteY1" fmla="*/ 8857 h 18436"/>
                    <a:gd name="connsiteX2" fmla="*/ 9515 w 18372"/>
                    <a:gd name="connsiteY2" fmla="*/ 6 h 18436"/>
                    <a:gd name="connsiteX3" fmla="*/ 18367 w 18372"/>
                    <a:gd name="connsiteY3" fmla="*/ 9575 h 18436"/>
                    <a:gd name="connsiteX4" fmla="*/ 8857 w 18372"/>
                    <a:gd name="connsiteY4" fmla="*/ 18427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6">
                      <a:moveTo>
                        <a:pt x="8857" y="18427"/>
                      </a:moveTo>
                      <a:cubicBezTo>
                        <a:pt x="3774" y="18247"/>
                        <a:pt x="-174" y="13941"/>
                        <a:pt x="6" y="8857"/>
                      </a:cubicBezTo>
                      <a:cubicBezTo>
                        <a:pt x="185" y="3774"/>
                        <a:pt x="4432" y="-174"/>
                        <a:pt x="9515" y="6"/>
                      </a:cubicBezTo>
                      <a:cubicBezTo>
                        <a:pt x="14599" y="185"/>
                        <a:pt x="18546" y="4491"/>
                        <a:pt x="18367" y="9575"/>
                      </a:cubicBezTo>
                      <a:cubicBezTo>
                        <a:pt x="18188" y="14659"/>
                        <a:pt x="13941" y="18666"/>
                        <a:pt x="8857" y="18427"/>
                      </a:cubicBezTo>
                      <a:close/>
                    </a:path>
                  </a:pathLst>
                </a:custGeom>
                <a:grpFill/>
                <a:ln w="5978" cap="flat">
                  <a:noFill/>
                  <a:prstDash val="solid"/>
                  <a:miter/>
                </a:ln>
              </p:spPr>
              <p:txBody>
                <a:bodyPr rtlCol="0" anchor="ctr"/>
                <a:lstStyle/>
                <a:p>
                  <a:endParaRPr lang="en-GB"/>
                </a:p>
              </p:txBody>
            </p:sp>
            <p:sp>
              <p:nvSpPr>
                <p:cNvPr id="4873" name="Vrije vorm: vorm 4872">
                  <a:extLst>
                    <a:ext uri="{FF2B5EF4-FFF2-40B4-BE49-F238E27FC236}">
                      <a16:creationId xmlns:a16="http://schemas.microsoft.com/office/drawing/2014/main" id="{7D43E7E8-FBFA-43EB-A2A5-A61F313BB44A}"/>
                    </a:ext>
                  </a:extLst>
                </p:cNvPr>
                <p:cNvSpPr/>
                <p:nvPr/>
              </p:nvSpPr>
              <p:spPr>
                <a:xfrm>
                  <a:off x="7941336" y="3243798"/>
                  <a:ext cx="18372" cy="18432"/>
                </a:xfrm>
                <a:custGeom>
                  <a:avLst/>
                  <a:gdLst>
                    <a:gd name="connsiteX0" fmla="*/ 8857 w 18372"/>
                    <a:gd name="connsiteY0" fmla="*/ 18426 h 18432"/>
                    <a:gd name="connsiteX1" fmla="*/ 18366 w 18372"/>
                    <a:gd name="connsiteY1" fmla="*/ 9575 h 18432"/>
                    <a:gd name="connsiteX2" fmla="*/ 9515 w 18372"/>
                    <a:gd name="connsiteY2" fmla="*/ 6 h 18432"/>
                    <a:gd name="connsiteX3" fmla="*/ 6 w 18372"/>
                    <a:gd name="connsiteY3" fmla="*/ 8857 h 18432"/>
                    <a:gd name="connsiteX4" fmla="*/ 8857 w 18372"/>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8857" y="18426"/>
                      </a:moveTo>
                      <a:cubicBezTo>
                        <a:pt x="13941" y="18606"/>
                        <a:pt x="18187" y="14659"/>
                        <a:pt x="18366" y="9575"/>
                      </a:cubicBezTo>
                      <a:cubicBezTo>
                        <a:pt x="18546" y="4491"/>
                        <a:pt x="14599" y="185"/>
                        <a:pt x="9515" y="6"/>
                      </a:cubicBezTo>
                      <a:cubicBezTo>
                        <a:pt x="4431" y="-174"/>
                        <a:pt x="185" y="3774"/>
                        <a:pt x="6" y="8857"/>
                      </a:cubicBezTo>
                      <a:cubicBezTo>
                        <a:pt x="-174" y="13941"/>
                        <a:pt x="3834" y="18187"/>
                        <a:pt x="8857" y="18426"/>
                      </a:cubicBezTo>
                      <a:close/>
                    </a:path>
                  </a:pathLst>
                </a:custGeom>
                <a:grpFill/>
                <a:ln w="5978" cap="flat">
                  <a:noFill/>
                  <a:prstDash val="solid"/>
                  <a:miter/>
                </a:ln>
              </p:spPr>
              <p:txBody>
                <a:bodyPr rtlCol="0" anchor="ctr"/>
                <a:lstStyle/>
                <a:p>
                  <a:endParaRPr lang="en-GB"/>
                </a:p>
              </p:txBody>
            </p:sp>
          </p:grpSp>
          <p:grpSp>
            <p:nvGrpSpPr>
              <p:cNvPr id="170" name="Graphic 3">
                <a:extLst>
                  <a:ext uri="{FF2B5EF4-FFF2-40B4-BE49-F238E27FC236}">
                    <a16:creationId xmlns:a16="http://schemas.microsoft.com/office/drawing/2014/main" id="{95C5834F-C06B-4765-9AF3-49B0226072C3}"/>
                  </a:ext>
                </a:extLst>
              </p:cNvPr>
              <p:cNvGrpSpPr/>
              <p:nvPr/>
            </p:nvGrpSpPr>
            <p:grpSpPr>
              <a:xfrm>
                <a:off x="7209417" y="1410633"/>
                <a:ext cx="23526" cy="27252"/>
                <a:chOff x="7209417" y="1410633"/>
                <a:chExt cx="23526" cy="27252"/>
              </a:xfrm>
              <a:grpFill/>
            </p:grpSpPr>
            <p:sp>
              <p:nvSpPr>
                <p:cNvPr id="4869" name="Vrije vorm: vorm 4868">
                  <a:extLst>
                    <a:ext uri="{FF2B5EF4-FFF2-40B4-BE49-F238E27FC236}">
                      <a16:creationId xmlns:a16="http://schemas.microsoft.com/office/drawing/2014/main" id="{62E561A3-C9BE-4376-A598-D3A444DEDB07}"/>
                    </a:ext>
                  </a:extLst>
                </p:cNvPr>
                <p:cNvSpPr/>
                <p:nvPr/>
              </p:nvSpPr>
              <p:spPr>
                <a:xfrm>
                  <a:off x="7214587" y="1410633"/>
                  <a:ext cx="18356" cy="18400"/>
                </a:xfrm>
                <a:custGeom>
                  <a:avLst/>
                  <a:gdLst>
                    <a:gd name="connsiteX0" fmla="*/ 17082 w 18356"/>
                    <a:gd name="connsiteY0" fmla="*/ 13895 h 18400"/>
                    <a:gd name="connsiteX1" fmla="*/ 4523 w 18356"/>
                    <a:gd name="connsiteY1" fmla="*/ 17125 h 18400"/>
                    <a:gd name="connsiteX2" fmla="*/ 1234 w 18356"/>
                    <a:gd name="connsiteY2" fmla="*/ 4506 h 18400"/>
                    <a:gd name="connsiteX3" fmla="*/ 13793 w 18356"/>
                    <a:gd name="connsiteY3" fmla="*/ 1276 h 18400"/>
                    <a:gd name="connsiteX4" fmla="*/ 17082 w 18356"/>
                    <a:gd name="connsiteY4" fmla="*/ 1389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0">
                      <a:moveTo>
                        <a:pt x="17082" y="13895"/>
                      </a:moveTo>
                      <a:cubicBezTo>
                        <a:pt x="14511" y="18261"/>
                        <a:pt x="8889" y="19697"/>
                        <a:pt x="4523" y="17125"/>
                      </a:cubicBezTo>
                      <a:cubicBezTo>
                        <a:pt x="157" y="14553"/>
                        <a:pt x="-1278" y="8871"/>
                        <a:pt x="1234" y="4506"/>
                      </a:cubicBezTo>
                      <a:cubicBezTo>
                        <a:pt x="3805" y="140"/>
                        <a:pt x="9428" y="-1296"/>
                        <a:pt x="13793" y="1276"/>
                      </a:cubicBezTo>
                      <a:cubicBezTo>
                        <a:pt x="18219" y="3848"/>
                        <a:pt x="19654" y="9529"/>
                        <a:pt x="17082" y="13895"/>
                      </a:cubicBezTo>
                      <a:close/>
                    </a:path>
                  </a:pathLst>
                </a:custGeom>
                <a:grpFill/>
                <a:ln w="5978" cap="flat">
                  <a:noFill/>
                  <a:prstDash val="solid"/>
                  <a:miter/>
                </a:ln>
              </p:spPr>
              <p:txBody>
                <a:bodyPr rtlCol="0" anchor="ctr"/>
                <a:lstStyle/>
                <a:p>
                  <a:endParaRPr lang="en-GB"/>
                </a:p>
              </p:txBody>
            </p:sp>
            <p:sp>
              <p:nvSpPr>
                <p:cNvPr id="4870" name="Vrije vorm: vorm 4869">
                  <a:extLst>
                    <a:ext uri="{FF2B5EF4-FFF2-40B4-BE49-F238E27FC236}">
                      <a16:creationId xmlns:a16="http://schemas.microsoft.com/office/drawing/2014/main" id="{25407439-4E1C-4D21-BB1C-99DD6B0E0DE6}"/>
                    </a:ext>
                  </a:extLst>
                </p:cNvPr>
                <p:cNvSpPr/>
                <p:nvPr/>
              </p:nvSpPr>
              <p:spPr>
                <a:xfrm>
                  <a:off x="7209417" y="1419485"/>
                  <a:ext cx="18369" cy="18400"/>
                </a:xfrm>
                <a:custGeom>
                  <a:avLst/>
                  <a:gdLst>
                    <a:gd name="connsiteX0" fmla="*/ 17109 w 18369"/>
                    <a:gd name="connsiteY0" fmla="*/ 13895 h 18400"/>
                    <a:gd name="connsiteX1" fmla="*/ 13820 w 18369"/>
                    <a:gd name="connsiteY1" fmla="*/ 1276 h 18400"/>
                    <a:gd name="connsiteX2" fmla="*/ 1260 w 18369"/>
                    <a:gd name="connsiteY2" fmla="*/ 4506 h 18400"/>
                    <a:gd name="connsiteX3" fmla="*/ 4550 w 18369"/>
                    <a:gd name="connsiteY3" fmla="*/ 17125 h 18400"/>
                    <a:gd name="connsiteX4" fmla="*/ 17109 w 18369"/>
                    <a:gd name="connsiteY4" fmla="*/ 1389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7109" y="13895"/>
                      </a:moveTo>
                      <a:cubicBezTo>
                        <a:pt x="19681" y="9529"/>
                        <a:pt x="18186" y="3848"/>
                        <a:pt x="13820" y="1276"/>
                      </a:cubicBezTo>
                      <a:cubicBezTo>
                        <a:pt x="9454" y="-1296"/>
                        <a:pt x="3832" y="140"/>
                        <a:pt x="1260" y="4506"/>
                      </a:cubicBezTo>
                      <a:cubicBezTo>
                        <a:pt x="-1311" y="8871"/>
                        <a:pt x="184" y="14553"/>
                        <a:pt x="4550" y="17125"/>
                      </a:cubicBezTo>
                      <a:cubicBezTo>
                        <a:pt x="8916" y="19697"/>
                        <a:pt x="14538" y="18261"/>
                        <a:pt x="17109" y="13895"/>
                      </a:cubicBezTo>
                      <a:close/>
                    </a:path>
                  </a:pathLst>
                </a:custGeom>
                <a:grpFill/>
                <a:ln w="5978" cap="flat">
                  <a:noFill/>
                  <a:prstDash val="solid"/>
                  <a:miter/>
                </a:ln>
              </p:spPr>
              <p:txBody>
                <a:bodyPr rtlCol="0" anchor="ctr"/>
                <a:lstStyle/>
                <a:p>
                  <a:endParaRPr lang="en-GB"/>
                </a:p>
              </p:txBody>
            </p:sp>
          </p:grpSp>
          <p:grpSp>
            <p:nvGrpSpPr>
              <p:cNvPr id="171" name="Graphic 3">
                <a:extLst>
                  <a:ext uri="{FF2B5EF4-FFF2-40B4-BE49-F238E27FC236}">
                    <a16:creationId xmlns:a16="http://schemas.microsoft.com/office/drawing/2014/main" id="{0F3D648F-07B3-4D33-8C4F-94BCF9ADB9D1}"/>
                  </a:ext>
                </a:extLst>
              </p:cNvPr>
              <p:cNvGrpSpPr/>
              <p:nvPr/>
            </p:nvGrpSpPr>
            <p:grpSpPr>
              <a:xfrm>
                <a:off x="7550009" y="2603685"/>
                <a:ext cx="133219" cy="75480"/>
                <a:chOff x="7550009" y="2603685"/>
                <a:chExt cx="133219" cy="75480"/>
              </a:xfrm>
              <a:grpFill/>
            </p:grpSpPr>
            <p:sp>
              <p:nvSpPr>
                <p:cNvPr id="4866" name="Vrije vorm: vorm 4865">
                  <a:extLst>
                    <a:ext uri="{FF2B5EF4-FFF2-40B4-BE49-F238E27FC236}">
                      <a16:creationId xmlns:a16="http://schemas.microsoft.com/office/drawing/2014/main" id="{30447F07-BB5B-4136-9A65-4F9A5A02B399}"/>
                    </a:ext>
                  </a:extLst>
                </p:cNvPr>
                <p:cNvSpPr/>
                <p:nvPr/>
              </p:nvSpPr>
              <p:spPr>
                <a:xfrm>
                  <a:off x="7558219" y="2611205"/>
                  <a:ext cx="117053" cy="60205"/>
                </a:xfrm>
                <a:custGeom>
                  <a:avLst/>
                  <a:gdLst>
                    <a:gd name="connsiteX0" fmla="*/ 0 w 117053"/>
                    <a:gd name="connsiteY0" fmla="*/ 57474 h 60205"/>
                    <a:gd name="connsiteX1" fmla="*/ 115697 w 117053"/>
                    <a:gd name="connsiteY1" fmla="*/ 0 h 60205"/>
                    <a:gd name="connsiteX2" fmla="*/ 117054 w 117053"/>
                    <a:gd name="connsiteY2" fmla="*/ 2732 h 60205"/>
                    <a:gd name="connsiteX3" fmla="*/ 1357 w 117053"/>
                    <a:gd name="connsiteY3" fmla="*/ 60205 h 60205"/>
                  </a:gdLst>
                  <a:ahLst/>
                  <a:cxnLst>
                    <a:cxn ang="0">
                      <a:pos x="connsiteX0" y="connsiteY0"/>
                    </a:cxn>
                    <a:cxn ang="0">
                      <a:pos x="connsiteX1" y="connsiteY1"/>
                    </a:cxn>
                    <a:cxn ang="0">
                      <a:pos x="connsiteX2" y="connsiteY2"/>
                    </a:cxn>
                    <a:cxn ang="0">
                      <a:pos x="connsiteX3" y="connsiteY3"/>
                    </a:cxn>
                  </a:cxnLst>
                  <a:rect l="l" t="t" r="r" b="b"/>
                  <a:pathLst>
                    <a:path w="117053" h="60205">
                      <a:moveTo>
                        <a:pt x="0" y="57474"/>
                      </a:moveTo>
                      <a:lnTo>
                        <a:pt x="115697" y="0"/>
                      </a:lnTo>
                      <a:lnTo>
                        <a:pt x="117054" y="2732"/>
                      </a:lnTo>
                      <a:lnTo>
                        <a:pt x="1357" y="60205"/>
                      </a:lnTo>
                      <a:close/>
                    </a:path>
                  </a:pathLst>
                </a:custGeom>
                <a:grpFill/>
                <a:ln w="5978" cap="flat">
                  <a:noFill/>
                  <a:prstDash val="solid"/>
                  <a:miter/>
                </a:ln>
              </p:spPr>
              <p:txBody>
                <a:bodyPr rtlCol="0" anchor="ctr"/>
                <a:lstStyle/>
                <a:p>
                  <a:endParaRPr lang="en-GB"/>
                </a:p>
              </p:txBody>
            </p:sp>
            <p:sp>
              <p:nvSpPr>
                <p:cNvPr id="4867" name="Vrije vorm: vorm 4866">
                  <a:extLst>
                    <a:ext uri="{FF2B5EF4-FFF2-40B4-BE49-F238E27FC236}">
                      <a16:creationId xmlns:a16="http://schemas.microsoft.com/office/drawing/2014/main" id="{C0E3CD50-A2D9-4325-9632-95E038BD5773}"/>
                    </a:ext>
                  </a:extLst>
                </p:cNvPr>
                <p:cNvSpPr/>
                <p:nvPr/>
              </p:nvSpPr>
              <p:spPr>
                <a:xfrm>
                  <a:off x="7664899" y="2603685"/>
                  <a:ext cx="18329" cy="18424"/>
                </a:xfrm>
                <a:custGeom>
                  <a:avLst/>
                  <a:gdLst>
                    <a:gd name="connsiteX0" fmla="*/ 5098 w 18329"/>
                    <a:gd name="connsiteY0" fmla="*/ 959 h 18424"/>
                    <a:gd name="connsiteX1" fmla="*/ 17358 w 18329"/>
                    <a:gd name="connsiteY1" fmla="*/ 5146 h 18424"/>
                    <a:gd name="connsiteX2" fmla="*/ 13231 w 18329"/>
                    <a:gd name="connsiteY2" fmla="*/ 17466 h 18424"/>
                    <a:gd name="connsiteX3" fmla="*/ 971 w 18329"/>
                    <a:gd name="connsiteY3" fmla="*/ 13279 h 18424"/>
                    <a:gd name="connsiteX4" fmla="*/ 5098 w 18329"/>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4">
                      <a:moveTo>
                        <a:pt x="5098" y="959"/>
                      </a:moveTo>
                      <a:cubicBezTo>
                        <a:pt x="9643" y="-1314"/>
                        <a:pt x="15145" y="600"/>
                        <a:pt x="17358" y="5146"/>
                      </a:cubicBezTo>
                      <a:cubicBezTo>
                        <a:pt x="19631" y="9691"/>
                        <a:pt x="17777" y="15253"/>
                        <a:pt x="13231" y="17466"/>
                      </a:cubicBezTo>
                      <a:cubicBezTo>
                        <a:pt x="8686" y="19739"/>
                        <a:pt x="3184" y="17825"/>
                        <a:pt x="971" y="13279"/>
                      </a:cubicBezTo>
                      <a:cubicBezTo>
                        <a:pt x="-1302" y="8734"/>
                        <a:pt x="552" y="3172"/>
                        <a:pt x="5098" y="959"/>
                      </a:cubicBezTo>
                      <a:close/>
                    </a:path>
                  </a:pathLst>
                </a:custGeom>
                <a:grpFill/>
                <a:ln w="5978" cap="flat">
                  <a:noFill/>
                  <a:prstDash val="solid"/>
                  <a:miter/>
                </a:ln>
              </p:spPr>
              <p:txBody>
                <a:bodyPr rtlCol="0" anchor="ctr"/>
                <a:lstStyle/>
                <a:p>
                  <a:endParaRPr lang="en-GB"/>
                </a:p>
              </p:txBody>
            </p:sp>
            <p:sp>
              <p:nvSpPr>
                <p:cNvPr id="4868" name="Vrije vorm: vorm 4867">
                  <a:extLst>
                    <a:ext uri="{FF2B5EF4-FFF2-40B4-BE49-F238E27FC236}">
                      <a16:creationId xmlns:a16="http://schemas.microsoft.com/office/drawing/2014/main" id="{F9CA4C83-5BEC-41DC-9EEC-CFF9343A02A6}"/>
                    </a:ext>
                  </a:extLst>
                </p:cNvPr>
                <p:cNvSpPr/>
                <p:nvPr/>
              </p:nvSpPr>
              <p:spPr>
                <a:xfrm>
                  <a:off x="7550009" y="2660741"/>
                  <a:ext cx="18329" cy="18424"/>
                </a:xfrm>
                <a:custGeom>
                  <a:avLst/>
                  <a:gdLst>
                    <a:gd name="connsiteX0" fmla="*/ 5098 w 18329"/>
                    <a:gd name="connsiteY0" fmla="*/ 959 h 18424"/>
                    <a:gd name="connsiteX1" fmla="*/ 971 w 18329"/>
                    <a:gd name="connsiteY1" fmla="*/ 13279 h 18424"/>
                    <a:gd name="connsiteX2" fmla="*/ 13232 w 18329"/>
                    <a:gd name="connsiteY2" fmla="*/ 17466 h 18424"/>
                    <a:gd name="connsiteX3" fmla="*/ 17358 w 18329"/>
                    <a:gd name="connsiteY3" fmla="*/ 5146 h 18424"/>
                    <a:gd name="connsiteX4" fmla="*/ 5098 w 18329"/>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4">
                      <a:moveTo>
                        <a:pt x="5098" y="959"/>
                      </a:moveTo>
                      <a:cubicBezTo>
                        <a:pt x="553" y="3232"/>
                        <a:pt x="-1302" y="8734"/>
                        <a:pt x="971" y="13279"/>
                      </a:cubicBezTo>
                      <a:cubicBezTo>
                        <a:pt x="3244" y="17825"/>
                        <a:pt x="8746" y="19739"/>
                        <a:pt x="13232" y="17466"/>
                      </a:cubicBezTo>
                      <a:cubicBezTo>
                        <a:pt x="17777" y="15193"/>
                        <a:pt x="19631" y="9691"/>
                        <a:pt x="17358" y="5146"/>
                      </a:cubicBezTo>
                      <a:cubicBezTo>
                        <a:pt x="15145" y="600"/>
                        <a:pt x="9643" y="-1314"/>
                        <a:pt x="5098" y="959"/>
                      </a:cubicBezTo>
                      <a:close/>
                    </a:path>
                  </a:pathLst>
                </a:custGeom>
                <a:grpFill/>
                <a:ln w="5978" cap="flat">
                  <a:noFill/>
                  <a:prstDash val="solid"/>
                  <a:miter/>
                </a:ln>
              </p:spPr>
              <p:txBody>
                <a:bodyPr rtlCol="0" anchor="ctr"/>
                <a:lstStyle/>
                <a:p>
                  <a:endParaRPr lang="en-GB"/>
                </a:p>
              </p:txBody>
            </p:sp>
          </p:grpSp>
          <p:grpSp>
            <p:nvGrpSpPr>
              <p:cNvPr id="172" name="Graphic 3">
                <a:extLst>
                  <a:ext uri="{FF2B5EF4-FFF2-40B4-BE49-F238E27FC236}">
                    <a16:creationId xmlns:a16="http://schemas.microsoft.com/office/drawing/2014/main" id="{32C3D458-CDE4-4324-8816-72356F3E9021}"/>
                  </a:ext>
                </a:extLst>
              </p:cNvPr>
              <p:cNvGrpSpPr/>
              <p:nvPr/>
            </p:nvGrpSpPr>
            <p:grpSpPr>
              <a:xfrm>
                <a:off x="7564282" y="2634753"/>
                <a:ext cx="132612" cy="72494"/>
                <a:chOff x="7564282" y="2634753"/>
                <a:chExt cx="132612" cy="72494"/>
              </a:xfrm>
              <a:grpFill/>
            </p:grpSpPr>
            <p:sp>
              <p:nvSpPr>
                <p:cNvPr id="4863" name="Vrije vorm: vorm 4862">
                  <a:extLst>
                    <a:ext uri="{FF2B5EF4-FFF2-40B4-BE49-F238E27FC236}">
                      <a16:creationId xmlns:a16="http://schemas.microsoft.com/office/drawing/2014/main" id="{F71BF108-98BE-41A8-ADE7-B0BC302DC650}"/>
                    </a:ext>
                  </a:extLst>
                </p:cNvPr>
                <p:cNvSpPr/>
                <p:nvPr/>
              </p:nvSpPr>
              <p:spPr>
                <a:xfrm>
                  <a:off x="7572590" y="2642543"/>
                  <a:ext cx="116385" cy="57253"/>
                </a:xfrm>
                <a:custGeom>
                  <a:avLst/>
                  <a:gdLst>
                    <a:gd name="connsiteX0" fmla="*/ 0 w 116385"/>
                    <a:gd name="connsiteY0" fmla="*/ 54497 h 57253"/>
                    <a:gd name="connsiteX1" fmla="*/ 115081 w 116385"/>
                    <a:gd name="connsiteY1" fmla="*/ 0 h 57253"/>
                    <a:gd name="connsiteX2" fmla="*/ 116386 w 116385"/>
                    <a:gd name="connsiteY2" fmla="*/ 2757 h 57253"/>
                    <a:gd name="connsiteX3" fmla="*/ 1306 w 116385"/>
                    <a:gd name="connsiteY3" fmla="*/ 57254 h 57253"/>
                  </a:gdLst>
                  <a:ahLst/>
                  <a:cxnLst>
                    <a:cxn ang="0">
                      <a:pos x="connsiteX0" y="connsiteY0"/>
                    </a:cxn>
                    <a:cxn ang="0">
                      <a:pos x="connsiteX1" y="connsiteY1"/>
                    </a:cxn>
                    <a:cxn ang="0">
                      <a:pos x="connsiteX2" y="connsiteY2"/>
                    </a:cxn>
                    <a:cxn ang="0">
                      <a:pos x="connsiteX3" y="connsiteY3"/>
                    </a:cxn>
                  </a:cxnLst>
                  <a:rect l="l" t="t" r="r" b="b"/>
                  <a:pathLst>
                    <a:path w="116385" h="57253">
                      <a:moveTo>
                        <a:pt x="0" y="54497"/>
                      </a:moveTo>
                      <a:lnTo>
                        <a:pt x="115081" y="0"/>
                      </a:lnTo>
                      <a:lnTo>
                        <a:pt x="116386" y="2757"/>
                      </a:lnTo>
                      <a:lnTo>
                        <a:pt x="1306" y="57254"/>
                      </a:lnTo>
                      <a:close/>
                    </a:path>
                  </a:pathLst>
                </a:custGeom>
                <a:grpFill/>
                <a:ln w="5978" cap="flat">
                  <a:noFill/>
                  <a:prstDash val="solid"/>
                  <a:miter/>
                </a:ln>
              </p:spPr>
              <p:txBody>
                <a:bodyPr rtlCol="0" anchor="ctr"/>
                <a:lstStyle/>
                <a:p>
                  <a:endParaRPr lang="en-GB"/>
                </a:p>
              </p:txBody>
            </p:sp>
            <p:sp>
              <p:nvSpPr>
                <p:cNvPr id="4864" name="Vrije vorm: vorm 4863">
                  <a:extLst>
                    <a:ext uri="{FF2B5EF4-FFF2-40B4-BE49-F238E27FC236}">
                      <a16:creationId xmlns:a16="http://schemas.microsoft.com/office/drawing/2014/main" id="{40422182-2087-40DE-87EE-A377640B4864}"/>
                    </a:ext>
                  </a:extLst>
                </p:cNvPr>
                <p:cNvSpPr/>
                <p:nvPr/>
              </p:nvSpPr>
              <p:spPr>
                <a:xfrm>
                  <a:off x="7678564" y="2634753"/>
                  <a:ext cx="18331" cy="18428"/>
                </a:xfrm>
                <a:custGeom>
                  <a:avLst/>
                  <a:gdLst>
                    <a:gd name="connsiteX0" fmla="*/ 5249 w 18331"/>
                    <a:gd name="connsiteY0" fmla="*/ 871 h 18428"/>
                    <a:gd name="connsiteX1" fmla="*/ 17449 w 18331"/>
                    <a:gd name="connsiteY1" fmla="*/ 5297 h 18428"/>
                    <a:gd name="connsiteX2" fmla="*/ 13083 w 18331"/>
                    <a:gd name="connsiteY2" fmla="*/ 17557 h 18428"/>
                    <a:gd name="connsiteX3" fmla="*/ 882 w 18331"/>
                    <a:gd name="connsiteY3" fmla="*/ 13132 h 18428"/>
                    <a:gd name="connsiteX4" fmla="*/ 5249 w 1833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28">
                      <a:moveTo>
                        <a:pt x="5249" y="871"/>
                      </a:moveTo>
                      <a:cubicBezTo>
                        <a:pt x="9793" y="-1282"/>
                        <a:pt x="15296" y="692"/>
                        <a:pt x="17449" y="5297"/>
                      </a:cubicBezTo>
                      <a:cubicBezTo>
                        <a:pt x="19602" y="9902"/>
                        <a:pt x="17688" y="15404"/>
                        <a:pt x="13083" y="17557"/>
                      </a:cubicBezTo>
                      <a:cubicBezTo>
                        <a:pt x="8538" y="19710"/>
                        <a:pt x="3035" y="17737"/>
                        <a:pt x="882" y="13132"/>
                      </a:cubicBezTo>
                      <a:cubicBezTo>
                        <a:pt x="-1271" y="8526"/>
                        <a:pt x="643" y="3024"/>
                        <a:pt x="5249" y="871"/>
                      </a:cubicBezTo>
                      <a:close/>
                    </a:path>
                  </a:pathLst>
                </a:custGeom>
                <a:grpFill/>
                <a:ln w="5978" cap="flat">
                  <a:noFill/>
                  <a:prstDash val="solid"/>
                  <a:miter/>
                </a:ln>
              </p:spPr>
              <p:txBody>
                <a:bodyPr rtlCol="0" anchor="ctr"/>
                <a:lstStyle/>
                <a:p>
                  <a:endParaRPr lang="en-GB"/>
                </a:p>
              </p:txBody>
            </p:sp>
            <p:sp>
              <p:nvSpPr>
                <p:cNvPr id="4865" name="Vrije vorm: vorm 4864">
                  <a:extLst>
                    <a:ext uri="{FF2B5EF4-FFF2-40B4-BE49-F238E27FC236}">
                      <a16:creationId xmlns:a16="http://schemas.microsoft.com/office/drawing/2014/main" id="{FD981002-3536-4789-B86C-C3EC47B82999}"/>
                    </a:ext>
                  </a:extLst>
                </p:cNvPr>
                <p:cNvSpPr/>
                <p:nvPr/>
              </p:nvSpPr>
              <p:spPr>
                <a:xfrm>
                  <a:off x="7564282" y="2688819"/>
                  <a:ext cx="18311" cy="18428"/>
                </a:xfrm>
                <a:custGeom>
                  <a:avLst/>
                  <a:gdLst>
                    <a:gd name="connsiteX0" fmla="*/ 5238 w 18311"/>
                    <a:gd name="connsiteY0" fmla="*/ 871 h 18428"/>
                    <a:gd name="connsiteX1" fmla="*/ 872 w 18311"/>
                    <a:gd name="connsiteY1" fmla="*/ 13132 h 18428"/>
                    <a:gd name="connsiteX2" fmla="*/ 13073 w 18311"/>
                    <a:gd name="connsiteY2" fmla="*/ 17557 h 18428"/>
                    <a:gd name="connsiteX3" fmla="*/ 17439 w 18311"/>
                    <a:gd name="connsiteY3" fmla="*/ 5297 h 18428"/>
                    <a:gd name="connsiteX4" fmla="*/ 5238 w 1831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8">
                      <a:moveTo>
                        <a:pt x="5238" y="871"/>
                      </a:moveTo>
                      <a:cubicBezTo>
                        <a:pt x="693" y="3024"/>
                        <a:pt x="-1281" y="8526"/>
                        <a:pt x="872" y="13132"/>
                      </a:cubicBezTo>
                      <a:cubicBezTo>
                        <a:pt x="3025" y="17737"/>
                        <a:pt x="8528" y="19711"/>
                        <a:pt x="13073" y="17557"/>
                      </a:cubicBezTo>
                      <a:cubicBezTo>
                        <a:pt x="17619" y="15404"/>
                        <a:pt x="19592" y="9902"/>
                        <a:pt x="17439" y="5297"/>
                      </a:cubicBezTo>
                      <a:cubicBezTo>
                        <a:pt x="15286" y="692"/>
                        <a:pt x="9843" y="-1282"/>
                        <a:pt x="5238" y="871"/>
                      </a:cubicBezTo>
                      <a:close/>
                    </a:path>
                  </a:pathLst>
                </a:custGeom>
                <a:grpFill/>
                <a:ln w="5978" cap="flat">
                  <a:noFill/>
                  <a:prstDash val="solid"/>
                  <a:miter/>
                </a:ln>
              </p:spPr>
              <p:txBody>
                <a:bodyPr rtlCol="0" anchor="ctr"/>
                <a:lstStyle/>
                <a:p>
                  <a:endParaRPr lang="en-GB"/>
                </a:p>
              </p:txBody>
            </p:sp>
          </p:grpSp>
          <p:grpSp>
            <p:nvGrpSpPr>
              <p:cNvPr id="173" name="Graphic 3">
                <a:extLst>
                  <a:ext uri="{FF2B5EF4-FFF2-40B4-BE49-F238E27FC236}">
                    <a16:creationId xmlns:a16="http://schemas.microsoft.com/office/drawing/2014/main" id="{8B93AC8D-9168-4392-8611-921819EE1082}"/>
                  </a:ext>
                </a:extLst>
              </p:cNvPr>
              <p:cNvGrpSpPr/>
              <p:nvPr/>
            </p:nvGrpSpPr>
            <p:grpSpPr>
              <a:xfrm>
                <a:off x="7612802" y="2793504"/>
                <a:ext cx="142737" cy="63633"/>
                <a:chOff x="7612802" y="2793504"/>
                <a:chExt cx="142737" cy="63633"/>
              </a:xfrm>
              <a:grpFill/>
            </p:grpSpPr>
            <p:sp>
              <p:nvSpPr>
                <p:cNvPr id="4860" name="Vrije vorm: vorm 4859">
                  <a:extLst>
                    <a:ext uri="{FF2B5EF4-FFF2-40B4-BE49-F238E27FC236}">
                      <a16:creationId xmlns:a16="http://schemas.microsoft.com/office/drawing/2014/main" id="{27F1A9D9-BE4E-4F27-9143-4358F3826CD1}"/>
                    </a:ext>
                  </a:extLst>
                </p:cNvPr>
                <p:cNvSpPr/>
                <p:nvPr/>
              </p:nvSpPr>
              <p:spPr>
                <a:xfrm>
                  <a:off x="7620845" y="2801237"/>
                  <a:ext cx="126283" cy="48358"/>
                </a:xfrm>
                <a:custGeom>
                  <a:avLst/>
                  <a:gdLst>
                    <a:gd name="connsiteX0" fmla="*/ 0 w 126283"/>
                    <a:gd name="connsiteY0" fmla="*/ 45492 h 48358"/>
                    <a:gd name="connsiteX1" fmla="*/ 125242 w 126283"/>
                    <a:gd name="connsiteY1" fmla="*/ 0 h 48358"/>
                    <a:gd name="connsiteX2" fmla="*/ 126283 w 126283"/>
                    <a:gd name="connsiteY2" fmla="*/ 2867 h 48358"/>
                    <a:gd name="connsiteX3" fmla="*/ 1041 w 126283"/>
                    <a:gd name="connsiteY3" fmla="*/ 48359 h 48358"/>
                  </a:gdLst>
                  <a:ahLst/>
                  <a:cxnLst>
                    <a:cxn ang="0">
                      <a:pos x="connsiteX0" y="connsiteY0"/>
                    </a:cxn>
                    <a:cxn ang="0">
                      <a:pos x="connsiteX1" y="connsiteY1"/>
                    </a:cxn>
                    <a:cxn ang="0">
                      <a:pos x="connsiteX2" y="connsiteY2"/>
                    </a:cxn>
                    <a:cxn ang="0">
                      <a:pos x="connsiteX3" y="connsiteY3"/>
                    </a:cxn>
                  </a:cxnLst>
                  <a:rect l="l" t="t" r="r" b="b"/>
                  <a:pathLst>
                    <a:path w="126283" h="48358">
                      <a:moveTo>
                        <a:pt x="0" y="45492"/>
                      </a:moveTo>
                      <a:lnTo>
                        <a:pt x="125242" y="0"/>
                      </a:lnTo>
                      <a:lnTo>
                        <a:pt x="126283" y="2867"/>
                      </a:lnTo>
                      <a:lnTo>
                        <a:pt x="1041" y="48359"/>
                      </a:lnTo>
                      <a:close/>
                    </a:path>
                  </a:pathLst>
                </a:custGeom>
                <a:grpFill/>
                <a:ln w="5978" cap="flat">
                  <a:noFill/>
                  <a:prstDash val="solid"/>
                  <a:miter/>
                </a:ln>
              </p:spPr>
              <p:txBody>
                <a:bodyPr rtlCol="0" anchor="ctr"/>
                <a:lstStyle/>
                <a:p>
                  <a:endParaRPr lang="en-GB"/>
                </a:p>
              </p:txBody>
            </p:sp>
            <p:sp>
              <p:nvSpPr>
                <p:cNvPr id="4861" name="Vrije vorm: vorm 4860">
                  <a:extLst>
                    <a:ext uri="{FF2B5EF4-FFF2-40B4-BE49-F238E27FC236}">
                      <a16:creationId xmlns:a16="http://schemas.microsoft.com/office/drawing/2014/main" id="{F84F8B66-ABE6-4570-941F-5567CD395815}"/>
                    </a:ext>
                  </a:extLst>
                </p:cNvPr>
                <p:cNvSpPr/>
                <p:nvPr/>
              </p:nvSpPr>
              <p:spPr>
                <a:xfrm>
                  <a:off x="7737170" y="2793504"/>
                  <a:ext cx="18369" cy="18442"/>
                </a:xfrm>
                <a:custGeom>
                  <a:avLst/>
                  <a:gdLst>
                    <a:gd name="connsiteX0" fmla="*/ 6031 w 18369"/>
                    <a:gd name="connsiteY0" fmla="*/ 549 h 18442"/>
                    <a:gd name="connsiteX1" fmla="*/ 17812 w 18369"/>
                    <a:gd name="connsiteY1" fmla="*/ 6111 h 18442"/>
                    <a:gd name="connsiteX2" fmla="*/ 12370 w 18369"/>
                    <a:gd name="connsiteY2" fmla="*/ 17894 h 18442"/>
                    <a:gd name="connsiteX3" fmla="*/ 588 w 18369"/>
                    <a:gd name="connsiteY3" fmla="*/ 12331 h 18442"/>
                    <a:gd name="connsiteX4" fmla="*/ 6031 w 18369"/>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2">
                      <a:moveTo>
                        <a:pt x="6031" y="549"/>
                      </a:moveTo>
                      <a:cubicBezTo>
                        <a:pt x="10815" y="-1185"/>
                        <a:pt x="16078" y="1327"/>
                        <a:pt x="17812" y="6111"/>
                      </a:cubicBezTo>
                      <a:cubicBezTo>
                        <a:pt x="19547" y="10896"/>
                        <a:pt x="17095" y="16159"/>
                        <a:pt x="12370" y="17894"/>
                      </a:cubicBezTo>
                      <a:cubicBezTo>
                        <a:pt x="7645" y="19628"/>
                        <a:pt x="2382" y="17116"/>
                        <a:pt x="588" y="12331"/>
                      </a:cubicBezTo>
                      <a:cubicBezTo>
                        <a:pt x="-1206" y="7547"/>
                        <a:pt x="1246" y="2284"/>
                        <a:pt x="6031" y="549"/>
                      </a:cubicBezTo>
                      <a:close/>
                    </a:path>
                  </a:pathLst>
                </a:custGeom>
                <a:grpFill/>
                <a:ln w="5978" cap="flat">
                  <a:noFill/>
                  <a:prstDash val="solid"/>
                  <a:miter/>
                </a:ln>
              </p:spPr>
              <p:txBody>
                <a:bodyPr rtlCol="0" anchor="ctr"/>
                <a:lstStyle/>
                <a:p>
                  <a:endParaRPr lang="en-GB"/>
                </a:p>
              </p:txBody>
            </p:sp>
            <p:sp>
              <p:nvSpPr>
                <p:cNvPr id="4862" name="Vrije vorm: vorm 4861">
                  <a:extLst>
                    <a:ext uri="{FF2B5EF4-FFF2-40B4-BE49-F238E27FC236}">
                      <a16:creationId xmlns:a16="http://schemas.microsoft.com/office/drawing/2014/main" id="{1B2DFB7A-9616-4932-A567-507F8A945A60}"/>
                    </a:ext>
                  </a:extLst>
                </p:cNvPr>
                <p:cNvSpPr/>
                <p:nvPr/>
              </p:nvSpPr>
              <p:spPr>
                <a:xfrm>
                  <a:off x="7612802" y="2838712"/>
                  <a:ext cx="18285" cy="18425"/>
                </a:xfrm>
                <a:custGeom>
                  <a:avLst/>
                  <a:gdLst>
                    <a:gd name="connsiteX0" fmla="*/ 5999 w 18285"/>
                    <a:gd name="connsiteY0" fmla="*/ 556 h 18425"/>
                    <a:gd name="connsiteX1" fmla="*/ 557 w 18285"/>
                    <a:gd name="connsiteY1" fmla="*/ 12338 h 18425"/>
                    <a:gd name="connsiteX2" fmla="*/ 12279 w 18285"/>
                    <a:gd name="connsiteY2" fmla="*/ 17900 h 18425"/>
                    <a:gd name="connsiteX3" fmla="*/ 17722 w 18285"/>
                    <a:gd name="connsiteY3" fmla="*/ 6118 h 18425"/>
                    <a:gd name="connsiteX4" fmla="*/ 5999 w 18285"/>
                    <a:gd name="connsiteY4" fmla="*/ 556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5">
                      <a:moveTo>
                        <a:pt x="5999" y="556"/>
                      </a:moveTo>
                      <a:cubicBezTo>
                        <a:pt x="1275" y="2291"/>
                        <a:pt x="-1177" y="7554"/>
                        <a:pt x="557" y="12338"/>
                      </a:cubicBezTo>
                      <a:cubicBezTo>
                        <a:pt x="2291" y="17123"/>
                        <a:pt x="7554" y="19575"/>
                        <a:pt x="12279" y="17900"/>
                      </a:cubicBezTo>
                      <a:cubicBezTo>
                        <a:pt x="17064" y="16166"/>
                        <a:pt x="19456" y="10903"/>
                        <a:pt x="17722" y="6118"/>
                      </a:cubicBezTo>
                      <a:cubicBezTo>
                        <a:pt x="15987" y="1274"/>
                        <a:pt x="10724" y="-1178"/>
                        <a:pt x="5999" y="556"/>
                      </a:cubicBezTo>
                      <a:close/>
                    </a:path>
                  </a:pathLst>
                </a:custGeom>
                <a:grpFill/>
                <a:ln w="5978" cap="flat">
                  <a:noFill/>
                  <a:prstDash val="solid"/>
                  <a:miter/>
                </a:ln>
              </p:spPr>
              <p:txBody>
                <a:bodyPr rtlCol="0" anchor="ctr"/>
                <a:lstStyle/>
                <a:p>
                  <a:endParaRPr lang="en-GB"/>
                </a:p>
              </p:txBody>
            </p:sp>
          </p:grpSp>
          <p:grpSp>
            <p:nvGrpSpPr>
              <p:cNvPr id="174" name="Graphic 3">
                <a:extLst>
                  <a:ext uri="{FF2B5EF4-FFF2-40B4-BE49-F238E27FC236}">
                    <a16:creationId xmlns:a16="http://schemas.microsoft.com/office/drawing/2014/main" id="{2E626845-A76A-48F2-B6F9-0FAD18022AD2}"/>
                  </a:ext>
                </a:extLst>
              </p:cNvPr>
              <p:cNvGrpSpPr/>
              <p:nvPr/>
            </p:nvGrpSpPr>
            <p:grpSpPr>
              <a:xfrm>
                <a:off x="7700688" y="3151668"/>
                <a:ext cx="155522" cy="38043"/>
                <a:chOff x="7700688" y="3151668"/>
                <a:chExt cx="155522" cy="38043"/>
              </a:xfrm>
              <a:grpFill/>
            </p:grpSpPr>
            <p:sp>
              <p:nvSpPr>
                <p:cNvPr id="4857" name="Vrije vorm: vorm 4856">
                  <a:extLst>
                    <a:ext uri="{FF2B5EF4-FFF2-40B4-BE49-F238E27FC236}">
                      <a16:creationId xmlns:a16="http://schemas.microsoft.com/office/drawing/2014/main" id="{5378CFDF-2FEB-4229-A8C4-B798400A8664}"/>
                    </a:ext>
                  </a:extLst>
                </p:cNvPr>
                <p:cNvSpPr/>
                <p:nvPr/>
              </p:nvSpPr>
              <p:spPr>
                <a:xfrm>
                  <a:off x="7709170" y="3159296"/>
                  <a:ext cx="138572" cy="22786"/>
                </a:xfrm>
                <a:custGeom>
                  <a:avLst/>
                  <a:gdLst>
                    <a:gd name="connsiteX0" fmla="*/ 138095 w 138572"/>
                    <a:gd name="connsiteY0" fmla="*/ 0 h 22786"/>
                    <a:gd name="connsiteX1" fmla="*/ 138573 w 138572"/>
                    <a:gd name="connsiteY1" fmla="*/ 2990 h 22786"/>
                    <a:gd name="connsiteX2" fmla="*/ 418 w 138572"/>
                    <a:gd name="connsiteY2" fmla="*/ 22787 h 22786"/>
                    <a:gd name="connsiteX3" fmla="*/ 0 w 138572"/>
                    <a:gd name="connsiteY3" fmla="*/ 19736 h 22786"/>
                  </a:gdLst>
                  <a:ahLst/>
                  <a:cxnLst>
                    <a:cxn ang="0">
                      <a:pos x="connsiteX0" y="connsiteY0"/>
                    </a:cxn>
                    <a:cxn ang="0">
                      <a:pos x="connsiteX1" y="connsiteY1"/>
                    </a:cxn>
                    <a:cxn ang="0">
                      <a:pos x="connsiteX2" y="connsiteY2"/>
                    </a:cxn>
                    <a:cxn ang="0">
                      <a:pos x="connsiteX3" y="connsiteY3"/>
                    </a:cxn>
                  </a:cxnLst>
                  <a:rect l="l" t="t" r="r" b="b"/>
                  <a:pathLst>
                    <a:path w="138572" h="22786">
                      <a:moveTo>
                        <a:pt x="138095" y="0"/>
                      </a:moveTo>
                      <a:lnTo>
                        <a:pt x="138573" y="2990"/>
                      </a:lnTo>
                      <a:lnTo>
                        <a:pt x="418" y="22787"/>
                      </a:lnTo>
                      <a:lnTo>
                        <a:pt x="0" y="19736"/>
                      </a:lnTo>
                      <a:close/>
                    </a:path>
                  </a:pathLst>
                </a:custGeom>
                <a:grpFill/>
                <a:ln w="5978" cap="flat">
                  <a:noFill/>
                  <a:prstDash val="solid"/>
                  <a:miter/>
                </a:ln>
              </p:spPr>
              <p:txBody>
                <a:bodyPr rtlCol="0" anchor="ctr"/>
                <a:lstStyle/>
                <a:p>
                  <a:endParaRPr lang="en-GB"/>
                </a:p>
              </p:txBody>
            </p:sp>
            <p:sp>
              <p:nvSpPr>
                <p:cNvPr id="4858" name="Vrije vorm: vorm 4857">
                  <a:extLst>
                    <a:ext uri="{FF2B5EF4-FFF2-40B4-BE49-F238E27FC236}">
                      <a16:creationId xmlns:a16="http://schemas.microsoft.com/office/drawing/2014/main" id="{44F654B1-5FAB-4B79-A0B9-3337E0600F80}"/>
                    </a:ext>
                  </a:extLst>
                </p:cNvPr>
                <p:cNvSpPr/>
                <p:nvPr/>
              </p:nvSpPr>
              <p:spPr>
                <a:xfrm>
                  <a:off x="7837901" y="3151668"/>
                  <a:ext cx="18309" cy="18426"/>
                </a:xfrm>
                <a:custGeom>
                  <a:avLst/>
                  <a:gdLst>
                    <a:gd name="connsiteX0" fmla="*/ 7809 w 18309"/>
                    <a:gd name="connsiteY0" fmla="*/ 93 h 18426"/>
                    <a:gd name="connsiteX1" fmla="*/ 18216 w 18309"/>
                    <a:gd name="connsiteY1" fmla="*/ 7927 h 18426"/>
                    <a:gd name="connsiteX2" fmla="*/ 10500 w 18309"/>
                    <a:gd name="connsiteY2" fmla="*/ 18334 h 18426"/>
                    <a:gd name="connsiteX3" fmla="*/ 94 w 18309"/>
                    <a:gd name="connsiteY3" fmla="*/ 10499 h 18426"/>
                    <a:gd name="connsiteX4" fmla="*/ 7809 w 18309"/>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6">
                      <a:moveTo>
                        <a:pt x="7809" y="93"/>
                      </a:moveTo>
                      <a:cubicBezTo>
                        <a:pt x="12833" y="-625"/>
                        <a:pt x="17498" y="2904"/>
                        <a:pt x="18216" y="7927"/>
                      </a:cubicBezTo>
                      <a:cubicBezTo>
                        <a:pt x="18933" y="12951"/>
                        <a:pt x="15465" y="17616"/>
                        <a:pt x="10500" y="18334"/>
                      </a:cubicBezTo>
                      <a:cubicBezTo>
                        <a:pt x="5477" y="19052"/>
                        <a:pt x="812" y="15523"/>
                        <a:pt x="94" y="10499"/>
                      </a:cubicBezTo>
                      <a:cubicBezTo>
                        <a:pt x="-624" y="5475"/>
                        <a:pt x="2846" y="810"/>
                        <a:pt x="7809" y="93"/>
                      </a:cubicBezTo>
                      <a:close/>
                    </a:path>
                  </a:pathLst>
                </a:custGeom>
                <a:grpFill/>
                <a:ln w="5978" cap="flat">
                  <a:noFill/>
                  <a:prstDash val="solid"/>
                  <a:miter/>
                </a:ln>
              </p:spPr>
              <p:txBody>
                <a:bodyPr rtlCol="0" anchor="ctr"/>
                <a:lstStyle/>
                <a:p>
                  <a:endParaRPr lang="en-GB"/>
                </a:p>
              </p:txBody>
            </p:sp>
            <p:sp>
              <p:nvSpPr>
                <p:cNvPr id="4859" name="Vrije vorm: vorm 4858">
                  <a:extLst>
                    <a:ext uri="{FF2B5EF4-FFF2-40B4-BE49-F238E27FC236}">
                      <a16:creationId xmlns:a16="http://schemas.microsoft.com/office/drawing/2014/main" id="{C9906B69-6BAC-48D4-80B3-ABEF698531E0}"/>
                    </a:ext>
                  </a:extLst>
                </p:cNvPr>
                <p:cNvSpPr/>
                <p:nvPr/>
              </p:nvSpPr>
              <p:spPr>
                <a:xfrm>
                  <a:off x="7700688" y="3171283"/>
                  <a:ext cx="18339" cy="18427"/>
                </a:xfrm>
                <a:custGeom>
                  <a:avLst/>
                  <a:gdLst>
                    <a:gd name="connsiteX0" fmla="*/ 7824 w 18339"/>
                    <a:gd name="connsiteY0" fmla="*/ 94 h 18427"/>
                    <a:gd name="connsiteX1" fmla="*/ 109 w 18339"/>
                    <a:gd name="connsiteY1" fmla="*/ 10500 h 18427"/>
                    <a:gd name="connsiteX2" fmla="*/ 10515 w 18339"/>
                    <a:gd name="connsiteY2" fmla="*/ 18335 h 18427"/>
                    <a:gd name="connsiteX3" fmla="*/ 18231 w 18339"/>
                    <a:gd name="connsiteY3" fmla="*/ 7929 h 18427"/>
                    <a:gd name="connsiteX4" fmla="*/ 7824 w 18339"/>
                    <a:gd name="connsiteY4" fmla="*/ 9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7">
                      <a:moveTo>
                        <a:pt x="7824" y="94"/>
                      </a:moveTo>
                      <a:cubicBezTo>
                        <a:pt x="2800" y="812"/>
                        <a:pt x="-669" y="5477"/>
                        <a:pt x="109" y="10500"/>
                      </a:cubicBezTo>
                      <a:cubicBezTo>
                        <a:pt x="827" y="15524"/>
                        <a:pt x="5492" y="19053"/>
                        <a:pt x="10515" y="18335"/>
                      </a:cubicBezTo>
                      <a:cubicBezTo>
                        <a:pt x="15539" y="17617"/>
                        <a:pt x="19008" y="12952"/>
                        <a:pt x="18231" y="7929"/>
                      </a:cubicBezTo>
                      <a:cubicBezTo>
                        <a:pt x="17513" y="2845"/>
                        <a:pt x="12848" y="-624"/>
                        <a:pt x="7824" y="94"/>
                      </a:cubicBezTo>
                      <a:close/>
                    </a:path>
                  </a:pathLst>
                </a:custGeom>
                <a:grpFill/>
                <a:ln w="5978" cap="flat">
                  <a:noFill/>
                  <a:prstDash val="solid"/>
                  <a:miter/>
                </a:ln>
              </p:spPr>
              <p:txBody>
                <a:bodyPr rtlCol="0" anchor="ctr"/>
                <a:lstStyle/>
                <a:p>
                  <a:endParaRPr lang="en-GB"/>
                </a:p>
              </p:txBody>
            </p:sp>
          </p:grpSp>
          <p:grpSp>
            <p:nvGrpSpPr>
              <p:cNvPr id="175" name="Graphic 3">
                <a:extLst>
                  <a:ext uri="{FF2B5EF4-FFF2-40B4-BE49-F238E27FC236}">
                    <a16:creationId xmlns:a16="http://schemas.microsoft.com/office/drawing/2014/main" id="{CEF4A424-49B0-4133-ABB7-992E361105B8}"/>
                  </a:ext>
                </a:extLst>
              </p:cNvPr>
              <p:cNvGrpSpPr/>
              <p:nvPr/>
            </p:nvGrpSpPr>
            <p:grpSpPr>
              <a:xfrm>
                <a:off x="7240083" y="1686417"/>
                <a:ext cx="160680" cy="201744"/>
                <a:chOff x="7240083" y="1686417"/>
                <a:chExt cx="160680" cy="201744"/>
              </a:xfrm>
              <a:grpFill/>
            </p:grpSpPr>
            <p:sp>
              <p:nvSpPr>
                <p:cNvPr id="4854" name="Vrije vorm: vorm 4853">
                  <a:extLst>
                    <a:ext uri="{FF2B5EF4-FFF2-40B4-BE49-F238E27FC236}">
                      <a16:creationId xmlns:a16="http://schemas.microsoft.com/office/drawing/2014/main" id="{38D61BE4-0399-402D-BAA0-E2BA16D39F5E}"/>
                    </a:ext>
                  </a:extLst>
                </p:cNvPr>
                <p:cNvSpPr/>
                <p:nvPr/>
              </p:nvSpPr>
              <p:spPr>
                <a:xfrm>
                  <a:off x="7247758" y="1694379"/>
                  <a:ext cx="145271" cy="185880"/>
                </a:xfrm>
                <a:custGeom>
                  <a:avLst/>
                  <a:gdLst>
                    <a:gd name="connsiteX0" fmla="*/ 145271 w 145271"/>
                    <a:gd name="connsiteY0" fmla="*/ 1854 h 185880"/>
                    <a:gd name="connsiteX1" fmla="*/ 2392 w 145271"/>
                    <a:gd name="connsiteY1" fmla="*/ 185881 h 185880"/>
                    <a:gd name="connsiteX2" fmla="*/ 0 w 145271"/>
                    <a:gd name="connsiteY2" fmla="*/ 184027 h 185880"/>
                    <a:gd name="connsiteX3" fmla="*/ 142880 w 145271"/>
                    <a:gd name="connsiteY3" fmla="*/ 0 h 185880"/>
                  </a:gdLst>
                  <a:ahLst/>
                  <a:cxnLst>
                    <a:cxn ang="0">
                      <a:pos x="connsiteX0" y="connsiteY0"/>
                    </a:cxn>
                    <a:cxn ang="0">
                      <a:pos x="connsiteX1" y="connsiteY1"/>
                    </a:cxn>
                    <a:cxn ang="0">
                      <a:pos x="connsiteX2" y="connsiteY2"/>
                    </a:cxn>
                    <a:cxn ang="0">
                      <a:pos x="connsiteX3" y="connsiteY3"/>
                    </a:cxn>
                  </a:cxnLst>
                  <a:rect l="l" t="t" r="r" b="b"/>
                  <a:pathLst>
                    <a:path w="145271" h="185880">
                      <a:moveTo>
                        <a:pt x="145271" y="1854"/>
                      </a:moveTo>
                      <a:lnTo>
                        <a:pt x="2392" y="185881"/>
                      </a:lnTo>
                      <a:lnTo>
                        <a:pt x="0" y="184027"/>
                      </a:lnTo>
                      <a:lnTo>
                        <a:pt x="142880" y="0"/>
                      </a:lnTo>
                      <a:close/>
                    </a:path>
                  </a:pathLst>
                </a:custGeom>
                <a:grpFill/>
                <a:ln w="5978" cap="flat">
                  <a:noFill/>
                  <a:prstDash val="solid"/>
                  <a:miter/>
                </a:ln>
              </p:spPr>
              <p:txBody>
                <a:bodyPr rtlCol="0" anchor="ctr"/>
                <a:lstStyle/>
                <a:p>
                  <a:endParaRPr lang="en-GB"/>
                </a:p>
              </p:txBody>
            </p:sp>
            <p:sp>
              <p:nvSpPr>
                <p:cNvPr id="4855" name="Vrije vorm: vorm 4854">
                  <a:extLst>
                    <a:ext uri="{FF2B5EF4-FFF2-40B4-BE49-F238E27FC236}">
                      <a16:creationId xmlns:a16="http://schemas.microsoft.com/office/drawing/2014/main" id="{B6EA482D-5ED8-4106-A64A-688B8F1D0B2E}"/>
                    </a:ext>
                  </a:extLst>
                </p:cNvPr>
                <p:cNvSpPr/>
                <p:nvPr/>
              </p:nvSpPr>
              <p:spPr>
                <a:xfrm>
                  <a:off x="7382424" y="1686417"/>
                  <a:ext cx="18339" cy="18435"/>
                </a:xfrm>
                <a:custGeom>
                  <a:avLst/>
                  <a:gdLst>
                    <a:gd name="connsiteX0" fmla="*/ 1933 w 18339"/>
                    <a:gd name="connsiteY0" fmla="*/ 3536 h 18435"/>
                    <a:gd name="connsiteX1" fmla="*/ 14792 w 18339"/>
                    <a:gd name="connsiteY1" fmla="*/ 1981 h 18435"/>
                    <a:gd name="connsiteX2" fmla="*/ 16407 w 18339"/>
                    <a:gd name="connsiteY2" fmla="*/ 14899 h 18435"/>
                    <a:gd name="connsiteX3" fmla="*/ 3548 w 18339"/>
                    <a:gd name="connsiteY3" fmla="*/ 16454 h 18435"/>
                    <a:gd name="connsiteX4" fmla="*/ 1933 w 18339"/>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35">
                      <a:moveTo>
                        <a:pt x="1933" y="3536"/>
                      </a:moveTo>
                      <a:cubicBezTo>
                        <a:pt x="5043" y="-471"/>
                        <a:pt x="10784" y="-1189"/>
                        <a:pt x="14792" y="1981"/>
                      </a:cubicBezTo>
                      <a:cubicBezTo>
                        <a:pt x="18799" y="5091"/>
                        <a:pt x="19517" y="10892"/>
                        <a:pt x="16407" y="14899"/>
                      </a:cubicBezTo>
                      <a:cubicBezTo>
                        <a:pt x="13296" y="18906"/>
                        <a:pt x="7555" y="19624"/>
                        <a:pt x="3548" y="16454"/>
                      </a:cubicBezTo>
                      <a:cubicBezTo>
                        <a:pt x="-459" y="13344"/>
                        <a:pt x="-1177" y="7543"/>
                        <a:pt x="1933" y="3536"/>
                      </a:cubicBezTo>
                      <a:close/>
                    </a:path>
                  </a:pathLst>
                </a:custGeom>
                <a:grpFill/>
                <a:ln w="5978" cap="flat">
                  <a:noFill/>
                  <a:prstDash val="solid"/>
                  <a:miter/>
                </a:ln>
              </p:spPr>
              <p:txBody>
                <a:bodyPr rtlCol="0" anchor="ctr"/>
                <a:lstStyle/>
                <a:p>
                  <a:endParaRPr lang="en-GB"/>
                </a:p>
              </p:txBody>
            </p:sp>
            <p:sp>
              <p:nvSpPr>
                <p:cNvPr id="4856" name="Vrije vorm: vorm 4855">
                  <a:extLst>
                    <a:ext uri="{FF2B5EF4-FFF2-40B4-BE49-F238E27FC236}">
                      <a16:creationId xmlns:a16="http://schemas.microsoft.com/office/drawing/2014/main" id="{222938BB-32D7-4D06-94A9-5028430328D4}"/>
                    </a:ext>
                  </a:extLst>
                </p:cNvPr>
                <p:cNvSpPr/>
                <p:nvPr/>
              </p:nvSpPr>
              <p:spPr>
                <a:xfrm>
                  <a:off x="7240083" y="1869751"/>
                  <a:ext cx="18338" cy="18410"/>
                </a:xfrm>
                <a:custGeom>
                  <a:avLst/>
                  <a:gdLst>
                    <a:gd name="connsiteX0" fmla="*/ 1932 w 18338"/>
                    <a:gd name="connsiteY0" fmla="*/ 3511 h 18410"/>
                    <a:gd name="connsiteX1" fmla="*/ 3547 w 18338"/>
                    <a:gd name="connsiteY1" fmla="*/ 16429 h 18410"/>
                    <a:gd name="connsiteX2" fmla="*/ 16406 w 18338"/>
                    <a:gd name="connsiteY2" fmla="*/ 14874 h 18410"/>
                    <a:gd name="connsiteX3" fmla="*/ 14791 w 18338"/>
                    <a:gd name="connsiteY3" fmla="*/ 1956 h 18410"/>
                    <a:gd name="connsiteX4" fmla="*/ 1932 w 18338"/>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0">
                      <a:moveTo>
                        <a:pt x="1932" y="3511"/>
                      </a:moveTo>
                      <a:cubicBezTo>
                        <a:pt x="-1177" y="7518"/>
                        <a:pt x="-459" y="13319"/>
                        <a:pt x="3547" y="16429"/>
                      </a:cubicBezTo>
                      <a:cubicBezTo>
                        <a:pt x="7555" y="19599"/>
                        <a:pt x="13296" y="18881"/>
                        <a:pt x="16406" y="14874"/>
                      </a:cubicBezTo>
                      <a:cubicBezTo>
                        <a:pt x="19516" y="10867"/>
                        <a:pt x="18798" y="5066"/>
                        <a:pt x="14791" y="1956"/>
                      </a:cubicBezTo>
                      <a:cubicBezTo>
                        <a:pt x="10785" y="-1154"/>
                        <a:pt x="5043" y="-496"/>
                        <a:pt x="1932" y="3511"/>
                      </a:cubicBezTo>
                      <a:close/>
                    </a:path>
                  </a:pathLst>
                </a:custGeom>
                <a:grpFill/>
                <a:ln w="5978" cap="flat">
                  <a:noFill/>
                  <a:prstDash val="solid"/>
                  <a:miter/>
                </a:ln>
              </p:spPr>
              <p:txBody>
                <a:bodyPr rtlCol="0" anchor="ctr"/>
                <a:lstStyle/>
                <a:p>
                  <a:endParaRPr lang="en-GB"/>
                </a:p>
              </p:txBody>
            </p:sp>
          </p:grpSp>
          <p:grpSp>
            <p:nvGrpSpPr>
              <p:cNvPr id="176" name="Graphic 3">
                <a:extLst>
                  <a:ext uri="{FF2B5EF4-FFF2-40B4-BE49-F238E27FC236}">
                    <a16:creationId xmlns:a16="http://schemas.microsoft.com/office/drawing/2014/main" id="{D7AC6BC8-F894-4C9B-B59A-1CCE87F9F9C1}"/>
                  </a:ext>
                </a:extLst>
              </p:cNvPr>
              <p:cNvGrpSpPr/>
              <p:nvPr/>
            </p:nvGrpSpPr>
            <p:grpSpPr>
              <a:xfrm>
                <a:off x="7670788" y="2930190"/>
                <a:ext cx="97043" cy="40520"/>
                <a:chOff x="7670788" y="2930190"/>
                <a:chExt cx="97043" cy="40520"/>
              </a:xfrm>
              <a:grpFill/>
            </p:grpSpPr>
            <p:sp>
              <p:nvSpPr>
                <p:cNvPr id="4851" name="Vrije vorm: vorm 4850">
                  <a:extLst>
                    <a:ext uri="{FF2B5EF4-FFF2-40B4-BE49-F238E27FC236}">
                      <a16:creationId xmlns:a16="http://schemas.microsoft.com/office/drawing/2014/main" id="{7B4D95E3-73D7-4135-998E-99869A9F2FDB}"/>
                    </a:ext>
                  </a:extLst>
                </p:cNvPr>
                <p:cNvSpPr/>
                <p:nvPr/>
              </p:nvSpPr>
              <p:spPr>
                <a:xfrm>
                  <a:off x="7679087" y="2937830"/>
                  <a:ext cx="80380" cy="25238"/>
                </a:xfrm>
                <a:custGeom>
                  <a:avLst/>
                  <a:gdLst>
                    <a:gd name="connsiteX0" fmla="*/ 79603 w 80380"/>
                    <a:gd name="connsiteY0" fmla="*/ 0 h 25238"/>
                    <a:gd name="connsiteX1" fmla="*/ 80381 w 80380"/>
                    <a:gd name="connsiteY1" fmla="*/ 2930 h 25238"/>
                    <a:gd name="connsiteX2" fmla="*/ 837 w 80380"/>
                    <a:gd name="connsiteY2" fmla="*/ 25239 h 25238"/>
                    <a:gd name="connsiteX3" fmla="*/ 0 w 80380"/>
                    <a:gd name="connsiteY3" fmla="*/ 22308 h 25238"/>
                  </a:gdLst>
                  <a:ahLst/>
                  <a:cxnLst>
                    <a:cxn ang="0">
                      <a:pos x="connsiteX0" y="connsiteY0"/>
                    </a:cxn>
                    <a:cxn ang="0">
                      <a:pos x="connsiteX1" y="connsiteY1"/>
                    </a:cxn>
                    <a:cxn ang="0">
                      <a:pos x="connsiteX2" y="connsiteY2"/>
                    </a:cxn>
                    <a:cxn ang="0">
                      <a:pos x="connsiteX3" y="connsiteY3"/>
                    </a:cxn>
                  </a:cxnLst>
                  <a:rect l="l" t="t" r="r" b="b"/>
                  <a:pathLst>
                    <a:path w="80380" h="25238">
                      <a:moveTo>
                        <a:pt x="79603" y="0"/>
                      </a:moveTo>
                      <a:lnTo>
                        <a:pt x="80381" y="2930"/>
                      </a:lnTo>
                      <a:lnTo>
                        <a:pt x="837" y="25239"/>
                      </a:lnTo>
                      <a:lnTo>
                        <a:pt x="0" y="22308"/>
                      </a:lnTo>
                      <a:close/>
                    </a:path>
                  </a:pathLst>
                </a:custGeom>
                <a:grpFill/>
                <a:ln w="5978" cap="flat">
                  <a:noFill/>
                  <a:prstDash val="solid"/>
                  <a:miter/>
                </a:ln>
              </p:spPr>
              <p:txBody>
                <a:bodyPr rtlCol="0" anchor="ctr"/>
                <a:lstStyle/>
                <a:p>
                  <a:endParaRPr lang="en-GB"/>
                </a:p>
              </p:txBody>
            </p:sp>
            <p:sp>
              <p:nvSpPr>
                <p:cNvPr id="4852" name="Vrije vorm: vorm 4851">
                  <a:extLst>
                    <a:ext uri="{FF2B5EF4-FFF2-40B4-BE49-F238E27FC236}">
                      <a16:creationId xmlns:a16="http://schemas.microsoft.com/office/drawing/2014/main" id="{229D64BB-310B-4159-8B45-75E7F6FBE8AE}"/>
                    </a:ext>
                  </a:extLst>
                </p:cNvPr>
                <p:cNvSpPr/>
                <p:nvPr/>
              </p:nvSpPr>
              <p:spPr>
                <a:xfrm>
                  <a:off x="7749490" y="2930190"/>
                  <a:ext cx="18341" cy="18451"/>
                </a:xfrm>
                <a:custGeom>
                  <a:avLst/>
                  <a:gdLst>
                    <a:gd name="connsiteX0" fmla="*/ 6689 w 18341"/>
                    <a:gd name="connsiteY0" fmla="*/ 344 h 18451"/>
                    <a:gd name="connsiteX1" fmla="*/ 17992 w 18341"/>
                    <a:gd name="connsiteY1" fmla="*/ 6744 h 18451"/>
                    <a:gd name="connsiteX2" fmla="*/ 11652 w 18341"/>
                    <a:gd name="connsiteY2" fmla="*/ 18107 h 18451"/>
                    <a:gd name="connsiteX3" fmla="*/ 349 w 18341"/>
                    <a:gd name="connsiteY3" fmla="*/ 11708 h 18451"/>
                    <a:gd name="connsiteX4" fmla="*/ 6689 w 18341"/>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1">
                      <a:moveTo>
                        <a:pt x="6689" y="344"/>
                      </a:moveTo>
                      <a:cubicBezTo>
                        <a:pt x="11533" y="-1031"/>
                        <a:pt x="16616" y="1839"/>
                        <a:pt x="17992" y="6744"/>
                      </a:cubicBezTo>
                      <a:cubicBezTo>
                        <a:pt x="19368" y="11648"/>
                        <a:pt x="16557" y="16731"/>
                        <a:pt x="11652" y="18107"/>
                      </a:cubicBezTo>
                      <a:cubicBezTo>
                        <a:pt x="6808" y="19482"/>
                        <a:pt x="1724" y="16612"/>
                        <a:pt x="349" y="11708"/>
                      </a:cubicBezTo>
                      <a:cubicBezTo>
                        <a:pt x="-1027" y="6803"/>
                        <a:pt x="1784" y="1720"/>
                        <a:pt x="6689" y="344"/>
                      </a:cubicBezTo>
                      <a:close/>
                    </a:path>
                  </a:pathLst>
                </a:custGeom>
                <a:grpFill/>
                <a:ln w="5978" cap="flat">
                  <a:noFill/>
                  <a:prstDash val="solid"/>
                  <a:miter/>
                </a:ln>
              </p:spPr>
              <p:txBody>
                <a:bodyPr rtlCol="0" anchor="ctr"/>
                <a:lstStyle/>
                <a:p>
                  <a:endParaRPr lang="en-GB"/>
                </a:p>
              </p:txBody>
            </p:sp>
            <p:sp>
              <p:nvSpPr>
                <p:cNvPr id="4853" name="Vrije vorm: vorm 4852">
                  <a:extLst>
                    <a:ext uri="{FF2B5EF4-FFF2-40B4-BE49-F238E27FC236}">
                      <a16:creationId xmlns:a16="http://schemas.microsoft.com/office/drawing/2014/main" id="{0C5035FE-314E-49A6-81BA-A0091EE706AD}"/>
                    </a:ext>
                  </a:extLst>
                </p:cNvPr>
                <p:cNvSpPr/>
                <p:nvPr/>
              </p:nvSpPr>
              <p:spPr>
                <a:xfrm>
                  <a:off x="7670788" y="2952258"/>
                  <a:ext cx="18332" cy="18451"/>
                </a:xfrm>
                <a:custGeom>
                  <a:avLst/>
                  <a:gdLst>
                    <a:gd name="connsiteX0" fmla="*/ 6684 w 18332"/>
                    <a:gd name="connsiteY0" fmla="*/ 344 h 18451"/>
                    <a:gd name="connsiteX1" fmla="*/ 345 w 18332"/>
                    <a:gd name="connsiteY1" fmla="*/ 11708 h 18451"/>
                    <a:gd name="connsiteX2" fmla="*/ 11648 w 18332"/>
                    <a:gd name="connsiteY2" fmla="*/ 18107 h 18451"/>
                    <a:gd name="connsiteX3" fmla="*/ 17988 w 18332"/>
                    <a:gd name="connsiteY3" fmla="*/ 6744 h 18451"/>
                    <a:gd name="connsiteX4" fmla="*/ 6684 w 18332"/>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1">
                      <a:moveTo>
                        <a:pt x="6684" y="344"/>
                      </a:moveTo>
                      <a:cubicBezTo>
                        <a:pt x="1840" y="1720"/>
                        <a:pt x="-1031" y="6803"/>
                        <a:pt x="345" y="11708"/>
                      </a:cubicBezTo>
                      <a:cubicBezTo>
                        <a:pt x="1721" y="16612"/>
                        <a:pt x="6804" y="19482"/>
                        <a:pt x="11648" y="18107"/>
                      </a:cubicBezTo>
                      <a:cubicBezTo>
                        <a:pt x="16493" y="16731"/>
                        <a:pt x="19364" y="11648"/>
                        <a:pt x="17988" y="6744"/>
                      </a:cubicBezTo>
                      <a:cubicBezTo>
                        <a:pt x="16613" y="1839"/>
                        <a:pt x="11529" y="-1031"/>
                        <a:pt x="6684" y="344"/>
                      </a:cubicBezTo>
                      <a:close/>
                    </a:path>
                  </a:pathLst>
                </a:custGeom>
                <a:grpFill/>
                <a:ln w="5978" cap="flat">
                  <a:noFill/>
                  <a:prstDash val="solid"/>
                  <a:miter/>
                </a:ln>
              </p:spPr>
              <p:txBody>
                <a:bodyPr rtlCol="0" anchor="ctr"/>
                <a:lstStyle/>
                <a:p>
                  <a:endParaRPr lang="en-GB"/>
                </a:p>
              </p:txBody>
            </p:sp>
          </p:grpSp>
          <p:grpSp>
            <p:nvGrpSpPr>
              <p:cNvPr id="177" name="Graphic 3">
                <a:extLst>
                  <a:ext uri="{FF2B5EF4-FFF2-40B4-BE49-F238E27FC236}">
                    <a16:creationId xmlns:a16="http://schemas.microsoft.com/office/drawing/2014/main" id="{D5A6A360-39B4-4D24-9A0C-C28CABAFDBEB}"/>
                  </a:ext>
                </a:extLst>
              </p:cNvPr>
              <p:cNvGrpSpPr/>
              <p:nvPr/>
            </p:nvGrpSpPr>
            <p:grpSpPr>
              <a:xfrm>
                <a:off x="7709506" y="3266328"/>
                <a:ext cx="218702" cy="33599"/>
                <a:chOff x="7709506" y="3266328"/>
                <a:chExt cx="218702" cy="33599"/>
              </a:xfrm>
              <a:grpFill/>
            </p:grpSpPr>
            <p:sp>
              <p:nvSpPr>
                <p:cNvPr id="4848" name="Vrije vorm: vorm 4847">
                  <a:extLst>
                    <a:ext uri="{FF2B5EF4-FFF2-40B4-BE49-F238E27FC236}">
                      <a16:creationId xmlns:a16="http://schemas.microsoft.com/office/drawing/2014/main" id="{1F3659D9-BB75-4D23-9EEA-9CE1AEC343AD}"/>
                    </a:ext>
                  </a:extLst>
                </p:cNvPr>
                <p:cNvSpPr/>
                <p:nvPr/>
              </p:nvSpPr>
              <p:spPr>
                <a:xfrm>
                  <a:off x="7718082" y="3274007"/>
                  <a:ext cx="201490" cy="18241"/>
                </a:xfrm>
                <a:custGeom>
                  <a:avLst/>
                  <a:gdLst>
                    <a:gd name="connsiteX0" fmla="*/ 201490 w 201490"/>
                    <a:gd name="connsiteY0" fmla="*/ 15191 h 18241"/>
                    <a:gd name="connsiteX1" fmla="*/ 201311 w 201490"/>
                    <a:gd name="connsiteY1" fmla="*/ 18241 h 18241"/>
                    <a:gd name="connsiteX2" fmla="*/ 0 w 201490"/>
                    <a:gd name="connsiteY2" fmla="*/ 3050 h 18241"/>
                    <a:gd name="connsiteX3" fmla="*/ 239 w 201490"/>
                    <a:gd name="connsiteY3" fmla="*/ 0 h 18241"/>
                  </a:gdLst>
                  <a:ahLst/>
                  <a:cxnLst>
                    <a:cxn ang="0">
                      <a:pos x="connsiteX0" y="connsiteY0"/>
                    </a:cxn>
                    <a:cxn ang="0">
                      <a:pos x="connsiteX1" y="connsiteY1"/>
                    </a:cxn>
                    <a:cxn ang="0">
                      <a:pos x="connsiteX2" y="connsiteY2"/>
                    </a:cxn>
                    <a:cxn ang="0">
                      <a:pos x="connsiteX3" y="connsiteY3"/>
                    </a:cxn>
                  </a:cxnLst>
                  <a:rect l="l" t="t" r="r" b="b"/>
                  <a:pathLst>
                    <a:path w="201490" h="18241">
                      <a:moveTo>
                        <a:pt x="201490" y="15191"/>
                      </a:moveTo>
                      <a:lnTo>
                        <a:pt x="201311" y="18241"/>
                      </a:lnTo>
                      <a:lnTo>
                        <a:pt x="0" y="3050"/>
                      </a:lnTo>
                      <a:lnTo>
                        <a:pt x="239" y="0"/>
                      </a:lnTo>
                      <a:close/>
                    </a:path>
                  </a:pathLst>
                </a:custGeom>
                <a:grpFill/>
                <a:ln w="5978" cap="flat">
                  <a:noFill/>
                  <a:prstDash val="solid"/>
                  <a:miter/>
                </a:ln>
              </p:spPr>
              <p:txBody>
                <a:bodyPr rtlCol="0" anchor="ctr"/>
                <a:lstStyle/>
                <a:p>
                  <a:endParaRPr lang="en-GB"/>
                </a:p>
              </p:txBody>
            </p:sp>
            <p:sp>
              <p:nvSpPr>
                <p:cNvPr id="4849" name="Vrije vorm: vorm 4848">
                  <a:extLst>
                    <a:ext uri="{FF2B5EF4-FFF2-40B4-BE49-F238E27FC236}">
                      <a16:creationId xmlns:a16="http://schemas.microsoft.com/office/drawing/2014/main" id="{959FD982-85FE-4090-A4CF-84D5CBDDE48D}"/>
                    </a:ext>
                  </a:extLst>
                </p:cNvPr>
                <p:cNvSpPr/>
                <p:nvPr/>
              </p:nvSpPr>
              <p:spPr>
                <a:xfrm>
                  <a:off x="7709506" y="3266328"/>
                  <a:ext cx="18347" cy="18415"/>
                </a:xfrm>
                <a:custGeom>
                  <a:avLst/>
                  <a:gdLst>
                    <a:gd name="connsiteX0" fmla="*/ 8516 w 18347"/>
                    <a:gd name="connsiteY0" fmla="*/ 18384 h 18415"/>
                    <a:gd name="connsiteX1" fmla="*/ 23 w 18347"/>
                    <a:gd name="connsiteY1" fmla="*/ 8516 h 18415"/>
                    <a:gd name="connsiteX2" fmla="*/ 9832 w 18347"/>
                    <a:gd name="connsiteY2" fmla="*/ 24 h 18415"/>
                    <a:gd name="connsiteX3" fmla="*/ 18325 w 18347"/>
                    <a:gd name="connsiteY3" fmla="*/ 9892 h 18415"/>
                    <a:gd name="connsiteX4" fmla="*/ 8516 w 18347"/>
                    <a:gd name="connsiteY4" fmla="*/ 18384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15">
                      <a:moveTo>
                        <a:pt x="8516" y="18384"/>
                      </a:moveTo>
                      <a:cubicBezTo>
                        <a:pt x="3492" y="18026"/>
                        <a:pt x="-335" y="13600"/>
                        <a:pt x="23" y="8516"/>
                      </a:cubicBezTo>
                      <a:cubicBezTo>
                        <a:pt x="382" y="3433"/>
                        <a:pt x="4748" y="-335"/>
                        <a:pt x="9832" y="24"/>
                      </a:cubicBezTo>
                      <a:cubicBezTo>
                        <a:pt x="14855" y="382"/>
                        <a:pt x="18683" y="4808"/>
                        <a:pt x="18325" y="9892"/>
                      </a:cubicBezTo>
                      <a:cubicBezTo>
                        <a:pt x="17965" y="14975"/>
                        <a:pt x="13540" y="18803"/>
                        <a:pt x="8516" y="18384"/>
                      </a:cubicBezTo>
                      <a:close/>
                    </a:path>
                  </a:pathLst>
                </a:custGeom>
                <a:grpFill/>
                <a:ln w="5978" cap="flat">
                  <a:noFill/>
                  <a:prstDash val="solid"/>
                  <a:miter/>
                </a:ln>
              </p:spPr>
              <p:txBody>
                <a:bodyPr rtlCol="0" anchor="ctr"/>
                <a:lstStyle/>
                <a:p>
                  <a:endParaRPr lang="en-GB"/>
                </a:p>
              </p:txBody>
            </p:sp>
            <p:sp>
              <p:nvSpPr>
                <p:cNvPr id="4850" name="Vrije vorm: vorm 4849">
                  <a:extLst>
                    <a:ext uri="{FF2B5EF4-FFF2-40B4-BE49-F238E27FC236}">
                      <a16:creationId xmlns:a16="http://schemas.microsoft.com/office/drawing/2014/main" id="{5B47F968-DF88-4DA5-BC4D-1F52814E43B2}"/>
                    </a:ext>
                  </a:extLst>
                </p:cNvPr>
                <p:cNvSpPr/>
                <p:nvPr/>
              </p:nvSpPr>
              <p:spPr>
                <a:xfrm>
                  <a:off x="7909860" y="3281519"/>
                  <a:ext cx="18348" cy="18407"/>
                </a:xfrm>
                <a:custGeom>
                  <a:avLst/>
                  <a:gdLst>
                    <a:gd name="connsiteX0" fmla="*/ 8516 w 18348"/>
                    <a:gd name="connsiteY0" fmla="*/ 18384 h 18407"/>
                    <a:gd name="connsiteX1" fmla="*/ 18325 w 18348"/>
                    <a:gd name="connsiteY1" fmla="*/ 9892 h 18407"/>
                    <a:gd name="connsiteX2" fmla="*/ 9832 w 18348"/>
                    <a:gd name="connsiteY2" fmla="*/ 24 h 18407"/>
                    <a:gd name="connsiteX3" fmla="*/ 24 w 18348"/>
                    <a:gd name="connsiteY3" fmla="*/ 8516 h 18407"/>
                    <a:gd name="connsiteX4" fmla="*/ 8516 w 18348"/>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07">
                      <a:moveTo>
                        <a:pt x="8516" y="18384"/>
                      </a:moveTo>
                      <a:cubicBezTo>
                        <a:pt x="13540" y="18743"/>
                        <a:pt x="17966" y="14975"/>
                        <a:pt x="18325" y="9892"/>
                      </a:cubicBezTo>
                      <a:cubicBezTo>
                        <a:pt x="18683" y="4808"/>
                        <a:pt x="14856" y="382"/>
                        <a:pt x="9832" y="24"/>
                      </a:cubicBezTo>
                      <a:cubicBezTo>
                        <a:pt x="4808" y="-335"/>
                        <a:pt x="383" y="3433"/>
                        <a:pt x="24" y="8516"/>
                      </a:cubicBezTo>
                      <a:cubicBezTo>
                        <a:pt x="-335" y="13600"/>
                        <a:pt x="3433" y="18025"/>
                        <a:pt x="8516" y="18384"/>
                      </a:cubicBezTo>
                      <a:close/>
                    </a:path>
                  </a:pathLst>
                </a:custGeom>
                <a:grpFill/>
                <a:ln w="5978" cap="flat">
                  <a:noFill/>
                  <a:prstDash val="solid"/>
                  <a:miter/>
                </a:ln>
              </p:spPr>
              <p:txBody>
                <a:bodyPr rtlCol="0" anchor="ctr"/>
                <a:lstStyle/>
                <a:p>
                  <a:endParaRPr lang="en-GB"/>
                </a:p>
              </p:txBody>
            </p:sp>
          </p:grpSp>
          <p:grpSp>
            <p:nvGrpSpPr>
              <p:cNvPr id="178" name="Graphic 3">
                <a:extLst>
                  <a:ext uri="{FF2B5EF4-FFF2-40B4-BE49-F238E27FC236}">
                    <a16:creationId xmlns:a16="http://schemas.microsoft.com/office/drawing/2014/main" id="{9A7C4972-A720-48E8-B285-22D7A8D61D98}"/>
                  </a:ext>
                </a:extLst>
              </p:cNvPr>
              <p:cNvGrpSpPr/>
              <p:nvPr/>
            </p:nvGrpSpPr>
            <p:grpSpPr>
              <a:xfrm>
                <a:off x="7738046" y="3316699"/>
                <a:ext cx="214250" cy="27890"/>
                <a:chOff x="7738046" y="3316699"/>
                <a:chExt cx="214250" cy="27890"/>
              </a:xfrm>
              <a:grpFill/>
            </p:grpSpPr>
            <p:sp>
              <p:nvSpPr>
                <p:cNvPr id="4845" name="Vrije vorm: vorm 4844">
                  <a:extLst>
                    <a:ext uri="{FF2B5EF4-FFF2-40B4-BE49-F238E27FC236}">
                      <a16:creationId xmlns:a16="http://schemas.microsoft.com/office/drawing/2014/main" id="{48704B92-8660-4E9A-B843-468C67BF24DD}"/>
                    </a:ext>
                  </a:extLst>
                </p:cNvPr>
                <p:cNvSpPr/>
                <p:nvPr/>
              </p:nvSpPr>
              <p:spPr>
                <a:xfrm>
                  <a:off x="7746669" y="3324364"/>
                  <a:ext cx="197005" cy="12559"/>
                </a:xfrm>
                <a:custGeom>
                  <a:avLst/>
                  <a:gdLst>
                    <a:gd name="connsiteX0" fmla="*/ 196886 w 197005"/>
                    <a:gd name="connsiteY0" fmla="*/ 0 h 12559"/>
                    <a:gd name="connsiteX1" fmla="*/ 197005 w 197005"/>
                    <a:gd name="connsiteY1" fmla="*/ 3050 h 12559"/>
                    <a:gd name="connsiteX2" fmla="*/ 180 w 197005"/>
                    <a:gd name="connsiteY2" fmla="*/ 12559 h 12559"/>
                    <a:gd name="connsiteX3" fmla="*/ 0 w 197005"/>
                    <a:gd name="connsiteY3" fmla="*/ 9509 h 12559"/>
                  </a:gdLst>
                  <a:ahLst/>
                  <a:cxnLst>
                    <a:cxn ang="0">
                      <a:pos x="connsiteX0" y="connsiteY0"/>
                    </a:cxn>
                    <a:cxn ang="0">
                      <a:pos x="connsiteX1" y="connsiteY1"/>
                    </a:cxn>
                    <a:cxn ang="0">
                      <a:pos x="connsiteX2" y="connsiteY2"/>
                    </a:cxn>
                    <a:cxn ang="0">
                      <a:pos x="connsiteX3" y="connsiteY3"/>
                    </a:cxn>
                  </a:cxnLst>
                  <a:rect l="l" t="t" r="r" b="b"/>
                  <a:pathLst>
                    <a:path w="197005" h="12559">
                      <a:moveTo>
                        <a:pt x="196886" y="0"/>
                      </a:moveTo>
                      <a:lnTo>
                        <a:pt x="197005" y="3050"/>
                      </a:lnTo>
                      <a:lnTo>
                        <a:pt x="180" y="12559"/>
                      </a:lnTo>
                      <a:lnTo>
                        <a:pt x="0" y="9509"/>
                      </a:lnTo>
                      <a:close/>
                    </a:path>
                  </a:pathLst>
                </a:custGeom>
                <a:grpFill/>
                <a:ln w="5978" cap="flat">
                  <a:noFill/>
                  <a:prstDash val="solid"/>
                  <a:miter/>
                </a:ln>
              </p:spPr>
              <p:txBody>
                <a:bodyPr rtlCol="0" anchor="ctr"/>
                <a:lstStyle/>
                <a:p>
                  <a:endParaRPr lang="en-GB"/>
                </a:p>
              </p:txBody>
            </p:sp>
            <p:sp>
              <p:nvSpPr>
                <p:cNvPr id="4846" name="Vrije vorm: vorm 4845">
                  <a:extLst>
                    <a:ext uri="{FF2B5EF4-FFF2-40B4-BE49-F238E27FC236}">
                      <a16:creationId xmlns:a16="http://schemas.microsoft.com/office/drawing/2014/main" id="{1729D869-C956-4D63-9B0C-9C0E5055B24F}"/>
                    </a:ext>
                  </a:extLst>
                </p:cNvPr>
                <p:cNvSpPr/>
                <p:nvPr/>
              </p:nvSpPr>
              <p:spPr>
                <a:xfrm>
                  <a:off x="7933975" y="3316699"/>
                  <a:ext cx="18321" cy="18381"/>
                </a:xfrm>
                <a:custGeom>
                  <a:avLst/>
                  <a:gdLst>
                    <a:gd name="connsiteX0" fmla="*/ 8682 w 18321"/>
                    <a:gd name="connsiteY0" fmla="*/ 10 h 18381"/>
                    <a:gd name="connsiteX1" fmla="*/ 18311 w 18321"/>
                    <a:gd name="connsiteY1" fmla="*/ 8742 h 18381"/>
                    <a:gd name="connsiteX2" fmla="*/ 9639 w 18321"/>
                    <a:gd name="connsiteY2" fmla="*/ 18371 h 18381"/>
                    <a:gd name="connsiteX3" fmla="*/ 10 w 18321"/>
                    <a:gd name="connsiteY3" fmla="*/ 9639 h 18381"/>
                    <a:gd name="connsiteX4" fmla="*/ 8682 w 18321"/>
                    <a:gd name="connsiteY4" fmla="*/ 10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8682" y="10"/>
                      </a:moveTo>
                      <a:cubicBezTo>
                        <a:pt x="13766" y="-229"/>
                        <a:pt x="18072" y="3659"/>
                        <a:pt x="18311" y="8742"/>
                      </a:cubicBezTo>
                      <a:cubicBezTo>
                        <a:pt x="18551" y="13826"/>
                        <a:pt x="14663" y="18132"/>
                        <a:pt x="9639" y="18371"/>
                      </a:cubicBezTo>
                      <a:cubicBezTo>
                        <a:pt x="4616" y="18610"/>
                        <a:pt x="250" y="14723"/>
                        <a:pt x="10" y="9639"/>
                      </a:cubicBezTo>
                      <a:cubicBezTo>
                        <a:pt x="-229" y="4556"/>
                        <a:pt x="3659" y="250"/>
                        <a:pt x="8682" y="10"/>
                      </a:cubicBezTo>
                      <a:close/>
                    </a:path>
                  </a:pathLst>
                </a:custGeom>
                <a:grpFill/>
                <a:ln w="5978" cap="flat">
                  <a:noFill/>
                  <a:prstDash val="solid"/>
                  <a:miter/>
                </a:ln>
              </p:spPr>
              <p:txBody>
                <a:bodyPr rtlCol="0" anchor="ctr"/>
                <a:lstStyle/>
                <a:p>
                  <a:endParaRPr lang="en-GB"/>
                </a:p>
              </p:txBody>
            </p:sp>
            <p:sp>
              <p:nvSpPr>
                <p:cNvPr id="4847" name="Vrije vorm: vorm 4846">
                  <a:extLst>
                    <a:ext uri="{FF2B5EF4-FFF2-40B4-BE49-F238E27FC236}">
                      <a16:creationId xmlns:a16="http://schemas.microsoft.com/office/drawing/2014/main" id="{B9B29AAB-831C-4292-B0B4-684DCBF5805B}"/>
                    </a:ext>
                  </a:extLst>
                </p:cNvPr>
                <p:cNvSpPr/>
                <p:nvPr/>
              </p:nvSpPr>
              <p:spPr>
                <a:xfrm>
                  <a:off x="7738046" y="3326148"/>
                  <a:ext cx="18321" cy="18441"/>
                </a:xfrm>
                <a:custGeom>
                  <a:avLst/>
                  <a:gdLst>
                    <a:gd name="connsiteX0" fmla="*/ 8682 w 18321"/>
                    <a:gd name="connsiteY0" fmla="*/ 10 h 18441"/>
                    <a:gd name="connsiteX1" fmla="*/ 11 w 18321"/>
                    <a:gd name="connsiteY1" fmla="*/ 9639 h 18441"/>
                    <a:gd name="connsiteX2" fmla="*/ 9640 w 18321"/>
                    <a:gd name="connsiteY2" fmla="*/ 18431 h 18441"/>
                    <a:gd name="connsiteX3" fmla="*/ 18311 w 18321"/>
                    <a:gd name="connsiteY3" fmla="*/ 8802 h 18441"/>
                    <a:gd name="connsiteX4" fmla="*/ 8682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8682" y="10"/>
                      </a:moveTo>
                      <a:cubicBezTo>
                        <a:pt x="3599" y="250"/>
                        <a:pt x="-229" y="4556"/>
                        <a:pt x="11" y="9639"/>
                      </a:cubicBezTo>
                      <a:cubicBezTo>
                        <a:pt x="250" y="14723"/>
                        <a:pt x="4556" y="18670"/>
                        <a:pt x="9640" y="18431"/>
                      </a:cubicBezTo>
                      <a:cubicBezTo>
                        <a:pt x="14723" y="18192"/>
                        <a:pt x="18551" y="13886"/>
                        <a:pt x="18311" y="8802"/>
                      </a:cubicBezTo>
                      <a:cubicBezTo>
                        <a:pt x="18073" y="3718"/>
                        <a:pt x="13767" y="-229"/>
                        <a:pt x="8682" y="10"/>
                      </a:cubicBezTo>
                      <a:close/>
                    </a:path>
                  </a:pathLst>
                </a:custGeom>
                <a:grpFill/>
                <a:ln w="5978" cap="flat">
                  <a:noFill/>
                  <a:prstDash val="solid"/>
                  <a:miter/>
                </a:ln>
              </p:spPr>
              <p:txBody>
                <a:bodyPr rtlCol="0" anchor="ctr"/>
                <a:lstStyle/>
                <a:p>
                  <a:endParaRPr lang="en-GB"/>
                </a:p>
              </p:txBody>
            </p:sp>
          </p:grpSp>
          <p:grpSp>
            <p:nvGrpSpPr>
              <p:cNvPr id="179" name="Graphic 3">
                <a:extLst>
                  <a:ext uri="{FF2B5EF4-FFF2-40B4-BE49-F238E27FC236}">
                    <a16:creationId xmlns:a16="http://schemas.microsoft.com/office/drawing/2014/main" id="{174286EE-C99B-40FC-A0D9-46FD3FCBC7C3}"/>
                  </a:ext>
                </a:extLst>
              </p:cNvPr>
              <p:cNvGrpSpPr/>
              <p:nvPr/>
            </p:nvGrpSpPr>
            <p:grpSpPr>
              <a:xfrm>
                <a:off x="7104085" y="1601491"/>
                <a:ext cx="473584" cy="514176"/>
                <a:chOff x="7104085" y="1601491"/>
                <a:chExt cx="473584" cy="514176"/>
              </a:xfrm>
              <a:grpFill/>
            </p:grpSpPr>
            <p:sp>
              <p:nvSpPr>
                <p:cNvPr id="4842" name="Vrije vorm: vorm 4841">
                  <a:extLst>
                    <a:ext uri="{FF2B5EF4-FFF2-40B4-BE49-F238E27FC236}">
                      <a16:creationId xmlns:a16="http://schemas.microsoft.com/office/drawing/2014/main" id="{77AF7B81-E3BA-4F45-A037-85949EDC2636}"/>
                    </a:ext>
                  </a:extLst>
                </p:cNvPr>
                <p:cNvSpPr/>
                <p:nvPr/>
              </p:nvSpPr>
              <p:spPr>
                <a:xfrm>
                  <a:off x="7111816" y="1609333"/>
                  <a:ext cx="458123" cy="498493"/>
                </a:xfrm>
                <a:custGeom>
                  <a:avLst/>
                  <a:gdLst>
                    <a:gd name="connsiteX0" fmla="*/ 458123 w 458123"/>
                    <a:gd name="connsiteY0" fmla="*/ 2093 h 498493"/>
                    <a:gd name="connsiteX1" fmla="*/ 2213 w 458123"/>
                    <a:gd name="connsiteY1" fmla="*/ 498493 h 498493"/>
                    <a:gd name="connsiteX2" fmla="*/ 0 w 458123"/>
                    <a:gd name="connsiteY2" fmla="*/ 496400 h 498493"/>
                    <a:gd name="connsiteX3" fmla="*/ 455850 w 458123"/>
                    <a:gd name="connsiteY3" fmla="*/ 0 h 498493"/>
                  </a:gdLst>
                  <a:ahLst/>
                  <a:cxnLst>
                    <a:cxn ang="0">
                      <a:pos x="connsiteX0" y="connsiteY0"/>
                    </a:cxn>
                    <a:cxn ang="0">
                      <a:pos x="connsiteX1" y="connsiteY1"/>
                    </a:cxn>
                    <a:cxn ang="0">
                      <a:pos x="connsiteX2" y="connsiteY2"/>
                    </a:cxn>
                    <a:cxn ang="0">
                      <a:pos x="connsiteX3" y="connsiteY3"/>
                    </a:cxn>
                  </a:cxnLst>
                  <a:rect l="l" t="t" r="r" b="b"/>
                  <a:pathLst>
                    <a:path w="458123" h="498493">
                      <a:moveTo>
                        <a:pt x="458123" y="2093"/>
                      </a:moveTo>
                      <a:lnTo>
                        <a:pt x="2213" y="498493"/>
                      </a:lnTo>
                      <a:lnTo>
                        <a:pt x="0" y="496400"/>
                      </a:lnTo>
                      <a:lnTo>
                        <a:pt x="455850" y="0"/>
                      </a:lnTo>
                      <a:close/>
                    </a:path>
                  </a:pathLst>
                </a:custGeom>
                <a:grpFill/>
                <a:ln w="5978" cap="flat">
                  <a:noFill/>
                  <a:prstDash val="solid"/>
                  <a:miter/>
                </a:ln>
              </p:spPr>
              <p:txBody>
                <a:bodyPr rtlCol="0" anchor="ctr"/>
                <a:lstStyle/>
                <a:p>
                  <a:endParaRPr lang="en-GB"/>
                </a:p>
              </p:txBody>
            </p:sp>
            <p:sp>
              <p:nvSpPr>
                <p:cNvPr id="4843" name="Vrije vorm: vorm 4842">
                  <a:extLst>
                    <a:ext uri="{FF2B5EF4-FFF2-40B4-BE49-F238E27FC236}">
                      <a16:creationId xmlns:a16="http://schemas.microsoft.com/office/drawing/2014/main" id="{A50A85A8-75E6-4AE6-A709-7D973AC234FF}"/>
                    </a:ext>
                  </a:extLst>
                </p:cNvPr>
                <p:cNvSpPr/>
                <p:nvPr/>
              </p:nvSpPr>
              <p:spPr>
                <a:xfrm>
                  <a:off x="7104085" y="2097233"/>
                  <a:ext cx="18331" cy="18434"/>
                </a:xfrm>
                <a:custGeom>
                  <a:avLst/>
                  <a:gdLst>
                    <a:gd name="connsiteX0" fmla="*/ 15924 w 18331"/>
                    <a:gd name="connsiteY0" fmla="*/ 15497 h 18434"/>
                    <a:gd name="connsiteX1" fmla="*/ 2946 w 18331"/>
                    <a:gd name="connsiteY1" fmla="*/ 15975 h 18434"/>
                    <a:gd name="connsiteX2" fmla="*/ 2408 w 18331"/>
                    <a:gd name="connsiteY2" fmla="*/ 2937 h 18434"/>
                    <a:gd name="connsiteX3" fmla="*/ 15386 w 18331"/>
                    <a:gd name="connsiteY3" fmla="*/ 2459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2515" y="19205"/>
                        <a:pt x="6714" y="19444"/>
                        <a:pt x="2946" y="15975"/>
                      </a:cubicBezTo>
                      <a:cubicBezTo>
                        <a:pt x="-762" y="12506"/>
                        <a:pt x="-1001" y="6705"/>
                        <a:pt x="2408" y="2937"/>
                      </a:cubicBezTo>
                      <a:cubicBezTo>
                        <a:pt x="5817" y="-771"/>
                        <a:pt x="11618" y="-1010"/>
                        <a:pt x="15386" y="2459"/>
                      </a:cubicBezTo>
                      <a:cubicBezTo>
                        <a:pt x="19094" y="5928"/>
                        <a:pt x="19333" y="11789"/>
                        <a:pt x="15924" y="15497"/>
                      </a:cubicBezTo>
                      <a:close/>
                    </a:path>
                  </a:pathLst>
                </a:custGeom>
                <a:grpFill/>
                <a:ln w="5978" cap="flat">
                  <a:noFill/>
                  <a:prstDash val="solid"/>
                  <a:miter/>
                </a:ln>
              </p:spPr>
              <p:txBody>
                <a:bodyPr rtlCol="0" anchor="ctr"/>
                <a:lstStyle/>
                <a:p>
                  <a:endParaRPr lang="en-GB"/>
                </a:p>
              </p:txBody>
            </p:sp>
            <p:sp>
              <p:nvSpPr>
                <p:cNvPr id="4844" name="Vrije vorm: vorm 4843">
                  <a:extLst>
                    <a:ext uri="{FF2B5EF4-FFF2-40B4-BE49-F238E27FC236}">
                      <a16:creationId xmlns:a16="http://schemas.microsoft.com/office/drawing/2014/main" id="{41DAE1D8-E287-4201-84D6-FA8C9F2FCD5D}"/>
                    </a:ext>
                  </a:extLst>
                </p:cNvPr>
                <p:cNvSpPr/>
                <p:nvPr/>
              </p:nvSpPr>
              <p:spPr>
                <a:xfrm>
                  <a:off x="7559338" y="1601491"/>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7" y="-771"/>
                        <a:pt x="2408" y="2937"/>
                      </a:cubicBezTo>
                      <a:cubicBezTo>
                        <a:pt x="-1001" y="6645"/>
                        <a:pt x="-762" y="12506"/>
                        <a:pt x="2946" y="15975"/>
                      </a:cubicBezTo>
                      <a:cubicBezTo>
                        <a:pt x="6714" y="19444"/>
                        <a:pt x="12515" y="19205"/>
                        <a:pt x="15924" y="15497"/>
                      </a:cubicBezTo>
                      <a:close/>
                    </a:path>
                  </a:pathLst>
                </a:custGeom>
                <a:grpFill/>
                <a:ln w="5978" cap="flat">
                  <a:noFill/>
                  <a:prstDash val="solid"/>
                  <a:miter/>
                </a:ln>
              </p:spPr>
              <p:txBody>
                <a:bodyPr rtlCol="0" anchor="ctr"/>
                <a:lstStyle/>
                <a:p>
                  <a:endParaRPr lang="en-GB"/>
                </a:p>
              </p:txBody>
            </p:sp>
          </p:grpSp>
          <p:grpSp>
            <p:nvGrpSpPr>
              <p:cNvPr id="180" name="Graphic 3">
                <a:extLst>
                  <a:ext uri="{FF2B5EF4-FFF2-40B4-BE49-F238E27FC236}">
                    <a16:creationId xmlns:a16="http://schemas.microsoft.com/office/drawing/2014/main" id="{1274F32B-B1B4-4468-A43B-F5D9CFFFF94B}"/>
                  </a:ext>
                </a:extLst>
              </p:cNvPr>
              <p:cNvGrpSpPr/>
              <p:nvPr/>
            </p:nvGrpSpPr>
            <p:grpSpPr>
              <a:xfrm>
                <a:off x="7677815" y="2967563"/>
                <a:ext cx="78378" cy="34069"/>
                <a:chOff x="7677815" y="2967563"/>
                <a:chExt cx="78378" cy="34069"/>
              </a:xfrm>
              <a:grpFill/>
            </p:grpSpPr>
            <p:sp>
              <p:nvSpPr>
                <p:cNvPr id="4839" name="Vrije vorm: vorm 4838">
                  <a:extLst>
                    <a:ext uri="{FF2B5EF4-FFF2-40B4-BE49-F238E27FC236}">
                      <a16:creationId xmlns:a16="http://schemas.microsoft.com/office/drawing/2014/main" id="{DC982B46-24EC-4DC2-8B81-5B8D5BE31DE3}"/>
                    </a:ext>
                  </a:extLst>
                </p:cNvPr>
                <p:cNvSpPr/>
                <p:nvPr/>
              </p:nvSpPr>
              <p:spPr>
                <a:xfrm>
                  <a:off x="7686095" y="2975423"/>
                  <a:ext cx="61711" cy="18828"/>
                </a:xfrm>
                <a:custGeom>
                  <a:avLst/>
                  <a:gdLst>
                    <a:gd name="connsiteX0" fmla="*/ 0 w 61711"/>
                    <a:gd name="connsiteY0" fmla="*/ 15877 h 18828"/>
                    <a:gd name="connsiteX1" fmla="*/ 60943 w 61711"/>
                    <a:gd name="connsiteY1" fmla="*/ 0 h 18828"/>
                    <a:gd name="connsiteX2" fmla="*/ 61712 w 61711"/>
                    <a:gd name="connsiteY2" fmla="*/ 2952 h 18828"/>
                    <a:gd name="connsiteX3" fmla="*/ 769 w 61711"/>
                    <a:gd name="connsiteY3" fmla="*/ 18828 h 18828"/>
                  </a:gdLst>
                  <a:ahLst/>
                  <a:cxnLst>
                    <a:cxn ang="0">
                      <a:pos x="connsiteX0" y="connsiteY0"/>
                    </a:cxn>
                    <a:cxn ang="0">
                      <a:pos x="connsiteX1" y="connsiteY1"/>
                    </a:cxn>
                    <a:cxn ang="0">
                      <a:pos x="connsiteX2" y="connsiteY2"/>
                    </a:cxn>
                    <a:cxn ang="0">
                      <a:pos x="connsiteX3" y="connsiteY3"/>
                    </a:cxn>
                  </a:cxnLst>
                  <a:rect l="l" t="t" r="r" b="b"/>
                  <a:pathLst>
                    <a:path w="61711" h="18828">
                      <a:moveTo>
                        <a:pt x="0" y="15877"/>
                      </a:moveTo>
                      <a:lnTo>
                        <a:pt x="60943" y="0"/>
                      </a:lnTo>
                      <a:lnTo>
                        <a:pt x="61712" y="2952"/>
                      </a:lnTo>
                      <a:lnTo>
                        <a:pt x="769" y="18828"/>
                      </a:lnTo>
                      <a:close/>
                    </a:path>
                  </a:pathLst>
                </a:custGeom>
                <a:grpFill/>
                <a:ln w="5978" cap="flat">
                  <a:noFill/>
                  <a:prstDash val="solid"/>
                  <a:miter/>
                </a:ln>
              </p:spPr>
              <p:txBody>
                <a:bodyPr rtlCol="0" anchor="ctr"/>
                <a:lstStyle/>
                <a:p>
                  <a:endParaRPr lang="en-GB"/>
                </a:p>
              </p:txBody>
            </p:sp>
            <p:sp>
              <p:nvSpPr>
                <p:cNvPr id="4840" name="Vrije vorm: vorm 4839">
                  <a:extLst>
                    <a:ext uri="{FF2B5EF4-FFF2-40B4-BE49-F238E27FC236}">
                      <a16:creationId xmlns:a16="http://schemas.microsoft.com/office/drawing/2014/main" id="{E3F281A7-4154-49D8-89D5-9A50391562E8}"/>
                    </a:ext>
                  </a:extLst>
                </p:cNvPr>
                <p:cNvSpPr/>
                <p:nvPr/>
              </p:nvSpPr>
              <p:spPr>
                <a:xfrm>
                  <a:off x="7737886" y="2967563"/>
                  <a:ext cx="18308" cy="18483"/>
                </a:xfrm>
                <a:custGeom>
                  <a:avLst/>
                  <a:gdLst>
                    <a:gd name="connsiteX0" fmla="*/ 6810 w 18308"/>
                    <a:gd name="connsiteY0" fmla="*/ 290 h 18483"/>
                    <a:gd name="connsiteX1" fmla="*/ 17994 w 18308"/>
                    <a:gd name="connsiteY1" fmla="*/ 6929 h 18483"/>
                    <a:gd name="connsiteX2" fmla="*/ 11475 w 18308"/>
                    <a:gd name="connsiteY2" fmla="*/ 18173 h 18483"/>
                    <a:gd name="connsiteX3" fmla="*/ 291 w 18308"/>
                    <a:gd name="connsiteY3" fmla="*/ 11534 h 18483"/>
                    <a:gd name="connsiteX4" fmla="*/ 6810 w 18308"/>
                    <a:gd name="connsiteY4" fmla="*/ 290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83">
                      <a:moveTo>
                        <a:pt x="6810" y="290"/>
                      </a:moveTo>
                      <a:cubicBezTo>
                        <a:pt x="11714" y="-966"/>
                        <a:pt x="16738" y="1965"/>
                        <a:pt x="17994" y="6929"/>
                      </a:cubicBezTo>
                      <a:cubicBezTo>
                        <a:pt x="19309" y="11833"/>
                        <a:pt x="16379" y="16857"/>
                        <a:pt x="11475" y="18173"/>
                      </a:cubicBezTo>
                      <a:cubicBezTo>
                        <a:pt x="6570" y="19488"/>
                        <a:pt x="1547" y="16498"/>
                        <a:pt x="291" y="11534"/>
                      </a:cubicBezTo>
                      <a:cubicBezTo>
                        <a:pt x="-966" y="6570"/>
                        <a:pt x="1966" y="1546"/>
                        <a:pt x="6810" y="290"/>
                      </a:cubicBezTo>
                      <a:close/>
                    </a:path>
                  </a:pathLst>
                </a:custGeom>
                <a:grpFill/>
                <a:ln w="5978" cap="flat">
                  <a:noFill/>
                  <a:prstDash val="solid"/>
                  <a:miter/>
                </a:ln>
              </p:spPr>
              <p:txBody>
                <a:bodyPr rtlCol="0" anchor="ctr"/>
                <a:lstStyle/>
                <a:p>
                  <a:endParaRPr lang="en-GB"/>
                </a:p>
              </p:txBody>
            </p:sp>
            <p:sp>
              <p:nvSpPr>
                <p:cNvPr id="4841" name="Vrije vorm: vorm 4840">
                  <a:extLst>
                    <a:ext uri="{FF2B5EF4-FFF2-40B4-BE49-F238E27FC236}">
                      <a16:creationId xmlns:a16="http://schemas.microsoft.com/office/drawing/2014/main" id="{20C08FBC-899B-4731-9BD0-25B80E30D5B2}"/>
                    </a:ext>
                  </a:extLst>
                </p:cNvPr>
                <p:cNvSpPr/>
                <p:nvPr/>
              </p:nvSpPr>
              <p:spPr>
                <a:xfrm>
                  <a:off x="7677815" y="2983173"/>
                  <a:ext cx="18332" cy="18459"/>
                </a:xfrm>
                <a:custGeom>
                  <a:avLst/>
                  <a:gdLst>
                    <a:gd name="connsiteX0" fmla="*/ 6834 w 18332"/>
                    <a:gd name="connsiteY0" fmla="*/ 290 h 18459"/>
                    <a:gd name="connsiteX1" fmla="*/ 315 w 18332"/>
                    <a:gd name="connsiteY1" fmla="*/ 11534 h 18459"/>
                    <a:gd name="connsiteX2" fmla="*/ 11499 w 18332"/>
                    <a:gd name="connsiteY2" fmla="*/ 18173 h 18459"/>
                    <a:gd name="connsiteX3" fmla="*/ 18017 w 18332"/>
                    <a:gd name="connsiteY3" fmla="*/ 6929 h 18459"/>
                    <a:gd name="connsiteX4" fmla="*/ 6834 w 18332"/>
                    <a:gd name="connsiteY4" fmla="*/ 290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9">
                      <a:moveTo>
                        <a:pt x="6834" y="290"/>
                      </a:moveTo>
                      <a:cubicBezTo>
                        <a:pt x="1930" y="1546"/>
                        <a:pt x="-1001" y="6570"/>
                        <a:pt x="315" y="11534"/>
                      </a:cubicBezTo>
                      <a:cubicBezTo>
                        <a:pt x="1570" y="16438"/>
                        <a:pt x="6595" y="19429"/>
                        <a:pt x="11499" y="18173"/>
                      </a:cubicBezTo>
                      <a:cubicBezTo>
                        <a:pt x="16403" y="16917"/>
                        <a:pt x="19334" y="11893"/>
                        <a:pt x="18017" y="6929"/>
                      </a:cubicBezTo>
                      <a:cubicBezTo>
                        <a:pt x="16702" y="1965"/>
                        <a:pt x="11738" y="-966"/>
                        <a:pt x="6834" y="290"/>
                      </a:cubicBezTo>
                      <a:close/>
                    </a:path>
                  </a:pathLst>
                </a:custGeom>
                <a:grpFill/>
                <a:ln w="5978" cap="flat">
                  <a:noFill/>
                  <a:prstDash val="solid"/>
                  <a:miter/>
                </a:ln>
              </p:spPr>
              <p:txBody>
                <a:bodyPr rtlCol="0" anchor="ctr"/>
                <a:lstStyle/>
                <a:p>
                  <a:endParaRPr lang="en-GB"/>
                </a:p>
              </p:txBody>
            </p:sp>
          </p:grpSp>
          <p:grpSp>
            <p:nvGrpSpPr>
              <p:cNvPr id="181" name="Graphic 3">
                <a:extLst>
                  <a:ext uri="{FF2B5EF4-FFF2-40B4-BE49-F238E27FC236}">
                    <a16:creationId xmlns:a16="http://schemas.microsoft.com/office/drawing/2014/main" id="{B27E7A0C-D3C8-4286-B458-9CAA722BE5CE}"/>
                  </a:ext>
                </a:extLst>
              </p:cNvPr>
              <p:cNvGrpSpPr/>
              <p:nvPr/>
            </p:nvGrpSpPr>
            <p:grpSpPr>
              <a:xfrm>
                <a:off x="7534393" y="2584841"/>
                <a:ext cx="111580" cy="66949"/>
                <a:chOff x="7534393" y="2584841"/>
                <a:chExt cx="111580" cy="66949"/>
              </a:xfrm>
              <a:grpFill/>
            </p:grpSpPr>
            <p:sp>
              <p:nvSpPr>
                <p:cNvPr id="4836" name="Vrije vorm: vorm 4835">
                  <a:extLst>
                    <a:ext uri="{FF2B5EF4-FFF2-40B4-BE49-F238E27FC236}">
                      <a16:creationId xmlns:a16="http://schemas.microsoft.com/office/drawing/2014/main" id="{8DFD8C76-258C-433A-9E49-9E26DEDDE30A}"/>
                    </a:ext>
                  </a:extLst>
                </p:cNvPr>
                <p:cNvSpPr/>
                <p:nvPr/>
              </p:nvSpPr>
              <p:spPr>
                <a:xfrm>
                  <a:off x="7542428" y="2592503"/>
                  <a:ext cx="95452" cy="51673"/>
                </a:xfrm>
                <a:custGeom>
                  <a:avLst/>
                  <a:gdLst>
                    <a:gd name="connsiteX0" fmla="*/ 95452 w 95452"/>
                    <a:gd name="connsiteY0" fmla="*/ 2691 h 51673"/>
                    <a:gd name="connsiteX1" fmla="*/ 1435 w 95452"/>
                    <a:gd name="connsiteY1" fmla="*/ 51674 h 51673"/>
                    <a:gd name="connsiteX2" fmla="*/ 0 w 95452"/>
                    <a:gd name="connsiteY2" fmla="*/ 48922 h 51673"/>
                    <a:gd name="connsiteX3" fmla="*/ 94017 w 95452"/>
                    <a:gd name="connsiteY3" fmla="*/ 0 h 51673"/>
                  </a:gdLst>
                  <a:ahLst/>
                  <a:cxnLst>
                    <a:cxn ang="0">
                      <a:pos x="connsiteX0" y="connsiteY0"/>
                    </a:cxn>
                    <a:cxn ang="0">
                      <a:pos x="connsiteX1" y="connsiteY1"/>
                    </a:cxn>
                    <a:cxn ang="0">
                      <a:pos x="connsiteX2" y="connsiteY2"/>
                    </a:cxn>
                    <a:cxn ang="0">
                      <a:pos x="connsiteX3" y="connsiteY3"/>
                    </a:cxn>
                  </a:cxnLst>
                  <a:rect l="l" t="t" r="r" b="b"/>
                  <a:pathLst>
                    <a:path w="95452" h="51673">
                      <a:moveTo>
                        <a:pt x="95452" y="2691"/>
                      </a:moveTo>
                      <a:lnTo>
                        <a:pt x="1435" y="51674"/>
                      </a:lnTo>
                      <a:lnTo>
                        <a:pt x="0" y="48922"/>
                      </a:lnTo>
                      <a:lnTo>
                        <a:pt x="94017" y="0"/>
                      </a:lnTo>
                      <a:close/>
                    </a:path>
                  </a:pathLst>
                </a:custGeom>
                <a:grpFill/>
                <a:ln w="5978" cap="flat">
                  <a:noFill/>
                  <a:prstDash val="solid"/>
                  <a:miter/>
                </a:ln>
              </p:spPr>
              <p:txBody>
                <a:bodyPr rtlCol="0" anchor="ctr"/>
                <a:lstStyle/>
                <a:p>
                  <a:endParaRPr lang="en-GB"/>
                </a:p>
              </p:txBody>
            </p:sp>
            <p:sp>
              <p:nvSpPr>
                <p:cNvPr id="4837" name="Vrije vorm: vorm 4836">
                  <a:extLst>
                    <a:ext uri="{FF2B5EF4-FFF2-40B4-BE49-F238E27FC236}">
                      <a16:creationId xmlns:a16="http://schemas.microsoft.com/office/drawing/2014/main" id="{12F90899-29AB-4605-8676-9CF03C8630E4}"/>
                    </a:ext>
                  </a:extLst>
                </p:cNvPr>
                <p:cNvSpPr/>
                <p:nvPr/>
              </p:nvSpPr>
              <p:spPr>
                <a:xfrm>
                  <a:off x="7627606" y="2584841"/>
                  <a:ext cx="18367" cy="18434"/>
                </a:xfrm>
                <a:custGeom>
                  <a:avLst/>
                  <a:gdLst>
                    <a:gd name="connsiteX0" fmla="*/ 4951 w 18367"/>
                    <a:gd name="connsiteY0" fmla="*/ 1024 h 18434"/>
                    <a:gd name="connsiteX1" fmla="*/ 17331 w 18367"/>
                    <a:gd name="connsiteY1" fmla="*/ 4971 h 18434"/>
                    <a:gd name="connsiteX2" fmla="*/ 13444 w 18367"/>
                    <a:gd name="connsiteY2" fmla="*/ 17411 h 18434"/>
                    <a:gd name="connsiteX3" fmla="*/ 1063 w 18367"/>
                    <a:gd name="connsiteY3" fmla="*/ 13464 h 18434"/>
                    <a:gd name="connsiteX4" fmla="*/ 4951 w 18367"/>
                    <a:gd name="connsiteY4" fmla="*/ 102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34">
                      <a:moveTo>
                        <a:pt x="4951" y="1024"/>
                      </a:moveTo>
                      <a:cubicBezTo>
                        <a:pt x="9436" y="-1309"/>
                        <a:pt x="14999" y="486"/>
                        <a:pt x="17331" y="4971"/>
                      </a:cubicBezTo>
                      <a:cubicBezTo>
                        <a:pt x="19663" y="9517"/>
                        <a:pt x="17929" y="15079"/>
                        <a:pt x="13444" y="17411"/>
                      </a:cubicBezTo>
                      <a:cubicBezTo>
                        <a:pt x="8958" y="19744"/>
                        <a:pt x="3396" y="17949"/>
                        <a:pt x="1063" y="13464"/>
                      </a:cubicBezTo>
                      <a:cubicBezTo>
                        <a:pt x="-1329" y="8918"/>
                        <a:pt x="465" y="3356"/>
                        <a:pt x="4951" y="1024"/>
                      </a:cubicBezTo>
                      <a:close/>
                    </a:path>
                  </a:pathLst>
                </a:custGeom>
                <a:grpFill/>
                <a:ln w="5978" cap="flat">
                  <a:noFill/>
                  <a:prstDash val="solid"/>
                  <a:miter/>
                </a:ln>
              </p:spPr>
              <p:txBody>
                <a:bodyPr rtlCol="0" anchor="ctr"/>
                <a:lstStyle/>
                <a:p>
                  <a:endParaRPr lang="en-GB"/>
                </a:p>
              </p:txBody>
            </p:sp>
            <p:sp>
              <p:nvSpPr>
                <p:cNvPr id="4838" name="Vrije vorm: vorm 4837">
                  <a:extLst>
                    <a:ext uri="{FF2B5EF4-FFF2-40B4-BE49-F238E27FC236}">
                      <a16:creationId xmlns:a16="http://schemas.microsoft.com/office/drawing/2014/main" id="{606101C0-13DB-46B0-8D91-0850F88D36B6}"/>
                    </a:ext>
                  </a:extLst>
                </p:cNvPr>
                <p:cNvSpPr/>
                <p:nvPr/>
              </p:nvSpPr>
              <p:spPr>
                <a:xfrm>
                  <a:off x="7534393" y="2633345"/>
                  <a:ext cx="18340" cy="18446"/>
                </a:xfrm>
                <a:custGeom>
                  <a:avLst/>
                  <a:gdLst>
                    <a:gd name="connsiteX0" fmla="*/ 4924 w 18340"/>
                    <a:gd name="connsiteY0" fmla="*/ 1024 h 18446"/>
                    <a:gd name="connsiteX1" fmla="*/ 1037 w 18340"/>
                    <a:gd name="connsiteY1" fmla="*/ 13464 h 18446"/>
                    <a:gd name="connsiteX2" fmla="*/ 13417 w 18340"/>
                    <a:gd name="connsiteY2" fmla="*/ 17411 h 18446"/>
                    <a:gd name="connsiteX3" fmla="*/ 17304 w 18340"/>
                    <a:gd name="connsiteY3" fmla="*/ 4971 h 18446"/>
                    <a:gd name="connsiteX4" fmla="*/ 4924 w 18340"/>
                    <a:gd name="connsiteY4" fmla="*/ 1024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6">
                      <a:moveTo>
                        <a:pt x="4924" y="1024"/>
                      </a:moveTo>
                      <a:cubicBezTo>
                        <a:pt x="439" y="3356"/>
                        <a:pt x="-1296" y="8918"/>
                        <a:pt x="1037" y="13464"/>
                      </a:cubicBezTo>
                      <a:cubicBezTo>
                        <a:pt x="3369" y="18009"/>
                        <a:pt x="8931" y="19743"/>
                        <a:pt x="13417" y="17411"/>
                      </a:cubicBezTo>
                      <a:cubicBezTo>
                        <a:pt x="17902" y="15079"/>
                        <a:pt x="19637" y="9516"/>
                        <a:pt x="17304" y="4971"/>
                      </a:cubicBezTo>
                      <a:cubicBezTo>
                        <a:pt x="14972" y="486"/>
                        <a:pt x="9410" y="-1309"/>
                        <a:pt x="4924" y="1024"/>
                      </a:cubicBezTo>
                      <a:close/>
                    </a:path>
                  </a:pathLst>
                </a:custGeom>
                <a:grpFill/>
                <a:ln w="5978" cap="flat">
                  <a:noFill/>
                  <a:prstDash val="solid"/>
                  <a:miter/>
                </a:ln>
              </p:spPr>
              <p:txBody>
                <a:bodyPr rtlCol="0" anchor="ctr"/>
                <a:lstStyle/>
                <a:p>
                  <a:endParaRPr lang="en-GB"/>
                </a:p>
              </p:txBody>
            </p:sp>
          </p:grpSp>
          <p:grpSp>
            <p:nvGrpSpPr>
              <p:cNvPr id="182" name="Graphic 3">
                <a:extLst>
                  <a:ext uri="{FF2B5EF4-FFF2-40B4-BE49-F238E27FC236}">
                    <a16:creationId xmlns:a16="http://schemas.microsoft.com/office/drawing/2014/main" id="{1A5D565C-DF02-48B1-9F2E-31BEFBC248D2}"/>
                  </a:ext>
                </a:extLst>
              </p:cNvPr>
              <p:cNvGrpSpPr/>
              <p:nvPr/>
            </p:nvGrpSpPr>
            <p:grpSpPr>
              <a:xfrm>
                <a:off x="7719730" y="3547896"/>
                <a:ext cx="385748" cy="85878"/>
                <a:chOff x="7719730" y="3547896"/>
                <a:chExt cx="385748" cy="85878"/>
              </a:xfrm>
              <a:grpFill/>
            </p:grpSpPr>
            <p:sp>
              <p:nvSpPr>
                <p:cNvPr id="4833" name="Vrije vorm: vorm 4832">
                  <a:extLst>
                    <a:ext uri="{FF2B5EF4-FFF2-40B4-BE49-F238E27FC236}">
                      <a16:creationId xmlns:a16="http://schemas.microsoft.com/office/drawing/2014/main" id="{0856A85B-3F2C-4D8F-94A7-5205EF5C916E}"/>
                    </a:ext>
                  </a:extLst>
                </p:cNvPr>
                <p:cNvSpPr/>
                <p:nvPr/>
              </p:nvSpPr>
              <p:spPr>
                <a:xfrm>
                  <a:off x="7728189" y="3555519"/>
                  <a:ext cx="368831" cy="70632"/>
                </a:xfrm>
                <a:custGeom>
                  <a:avLst/>
                  <a:gdLst>
                    <a:gd name="connsiteX0" fmla="*/ 368831 w 368831"/>
                    <a:gd name="connsiteY0" fmla="*/ 67642 h 70632"/>
                    <a:gd name="connsiteX1" fmla="*/ 368293 w 368831"/>
                    <a:gd name="connsiteY1" fmla="*/ 70632 h 70632"/>
                    <a:gd name="connsiteX2" fmla="*/ 0 w 368831"/>
                    <a:gd name="connsiteY2" fmla="*/ 2990 h 70632"/>
                    <a:gd name="connsiteX3" fmla="*/ 538 w 368831"/>
                    <a:gd name="connsiteY3" fmla="*/ 0 h 70632"/>
                  </a:gdLst>
                  <a:ahLst/>
                  <a:cxnLst>
                    <a:cxn ang="0">
                      <a:pos x="connsiteX0" y="connsiteY0"/>
                    </a:cxn>
                    <a:cxn ang="0">
                      <a:pos x="connsiteX1" y="connsiteY1"/>
                    </a:cxn>
                    <a:cxn ang="0">
                      <a:pos x="connsiteX2" y="connsiteY2"/>
                    </a:cxn>
                    <a:cxn ang="0">
                      <a:pos x="connsiteX3" y="connsiteY3"/>
                    </a:cxn>
                  </a:cxnLst>
                  <a:rect l="l" t="t" r="r" b="b"/>
                  <a:pathLst>
                    <a:path w="368831" h="70632">
                      <a:moveTo>
                        <a:pt x="368831" y="67642"/>
                      </a:moveTo>
                      <a:lnTo>
                        <a:pt x="368293" y="70632"/>
                      </a:lnTo>
                      <a:lnTo>
                        <a:pt x="0" y="2990"/>
                      </a:lnTo>
                      <a:lnTo>
                        <a:pt x="538" y="0"/>
                      </a:lnTo>
                      <a:close/>
                    </a:path>
                  </a:pathLst>
                </a:custGeom>
                <a:grpFill/>
                <a:ln w="5978" cap="flat">
                  <a:noFill/>
                  <a:prstDash val="solid"/>
                  <a:miter/>
                </a:ln>
              </p:spPr>
              <p:txBody>
                <a:bodyPr rtlCol="0" anchor="ctr"/>
                <a:lstStyle/>
                <a:p>
                  <a:endParaRPr lang="en-GB"/>
                </a:p>
              </p:txBody>
            </p:sp>
            <p:sp>
              <p:nvSpPr>
                <p:cNvPr id="4834" name="Vrije vorm: vorm 4833">
                  <a:extLst>
                    <a:ext uri="{FF2B5EF4-FFF2-40B4-BE49-F238E27FC236}">
                      <a16:creationId xmlns:a16="http://schemas.microsoft.com/office/drawing/2014/main" id="{958869FA-4512-403A-B107-AEEBCA00FF48}"/>
                    </a:ext>
                  </a:extLst>
                </p:cNvPr>
                <p:cNvSpPr/>
                <p:nvPr/>
              </p:nvSpPr>
              <p:spPr>
                <a:xfrm>
                  <a:off x="7719730" y="3547896"/>
                  <a:ext cx="18352" cy="18416"/>
                </a:xfrm>
                <a:custGeom>
                  <a:avLst/>
                  <a:gdLst>
                    <a:gd name="connsiteX0" fmla="*/ 7561 w 18352"/>
                    <a:gd name="connsiteY0" fmla="*/ 18269 h 18416"/>
                    <a:gd name="connsiteX1" fmla="*/ 145 w 18352"/>
                    <a:gd name="connsiteY1" fmla="*/ 7563 h 18416"/>
                    <a:gd name="connsiteX2" fmla="*/ 10791 w 18352"/>
                    <a:gd name="connsiteY2" fmla="*/ 147 h 18416"/>
                    <a:gd name="connsiteX3" fmla="*/ 18207 w 18352"/>
                    <a:gd name="connsiteY3" fmla="*/ 10853 h 18416"/>
                    <a:gd name="connsiteX4" fmla="*/ 7561 w 18352"/>
                    <a:gd name="connsiteY4" fmla="*/ 18269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6">
                      <a:moveTo>
                        <a:pt x="7561" y="18269"/>
                      </a:moveTo>
                      <a:cubicBezTo>
                        <a:pt x="2598" y="17372"/>
                        <a:pt x="-752" y="12527"/>
                        <a:pt x="145" y="7563"/>
                      </a:cubicBezTo>
                      <a:cubicBezTo>
                        <a:pt x="1043" y="2540"/>
                        <a:pt x="5828" y="-750"/>
                        <a:pt x="10791" y="147"/>
                      </a:cubicBezTo>
                      <a:cubicBezTo>
                        <a:pt x="15755" y="1044"/>
                        <a:pt x="19105" y="5889"/>
                        <a:pt x="18207" y="10853"/>
                      </a:cubicBezTo>
                      <a:cubicBezTo>
                        <a:pt x="17310" y="15877"/>
                        <a:pt x="12586" y="19166"/>
                        <a:pt x="7561" y="18269"/>
                      </a:cubicBezTo>
                      <a:close/>
                    </a:path>
                  </a:pathLst>
                </a:custGeom>
                <a:grpFill/>
                <a:ln w="5978" cap="flat">
                  <a:noFill/>
                  <a:prstDash val="solid"/>
                  <a:miter/>
                </a:ln>
              </p:spPr>
              <p:txBody>
                <a:bodyPr rtlCol="0" anchor="ctr"/>
                <a:lstStyle/>
                <a:p>
                  <a:endParaRPr lang="en-GB"/>
                </a:p>
              </p:txBody>
            </p:sp>
            <p:sp>
              <p:nvSpPr>
                <p:cNvPr id="4835" name="Vrije vorm: vorm 4834">
                  <a:extLst>
                    <a:ext uri="{FF2B5EF4-FFF2-40B4-BE49-F238E27FC236}">
                      <a16:creationId xmlns:a16="http://schemas.microsoft.com/office/drawing/2014/main" id="{51FA47F8-FD91-44AF-BE6C-AA3DBDD7AA4D}"/>
                    </a:ext>
                  </a:extLst>
                </p:cNvPr>
                <p:cNvSpPr/>
                <p:nvPr/>
              </p:nvSpPr>
              <p:spPr>
                <a:xfrm>
                  <a:off x="8087124" y="3615358"/>
                  <a:ext cx="18354" cy="18416"/>
                </a:xfrm>
                <a:custGeom>
                  <a:avLst/>
                  <a:gdLst>
                    <a:gd name="connsiteX0" fmla="*/ 7563 w 18354"/>
                    <a:gd name="connsiteY0" fmla="*/ 18269 h 18416"/>
                    <a:gd name="connsiteX1" fmla="*/ 18209 w 18354"/>
                    <a:gd name="connsiteY1" fmla="*/ 10853 h 18416"/>
                    <a:gd name="connsiteX2" fmla="*/ 10793 w 18354"/>
                    <a:gd name="connsiteY2" fmla="*/ 147 h 18416"/>
                    <a:gd name="connsiteX3" fmla="*/ 147 w 18354"/>
                    <a:gd name="connsiteY3" fmla="*/ 7563 h 18416"/>
                    <a:gd name="connsiteX4" fmla="*/ 7563 w 18354"/>
                    <a:gd name="connsiteY4" fmla="*/ 18269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6">
                      <a:moveTo>
                        <a:pt x="7563" y="18269"/>
                      </a:moveTo>
                      <a:cubicBezTo>
                        <a:pt x="12527" y="19166"/>
                        <a:pt x="17312" y="15877"/>
                        <a:pt x="18209" y="10853"/>
                      </a:cubicBezTo>
                      <a:cubicBezTo>
                        <a:pt x="19106" y="5829"/>
                        <a:pt x="15757" y="1044"/>
                        <a:pt x="10793" y="147"/>
                      </a:cubicBezTo>
                      <a:cubicBezTo>
                        <a:pt x="5829" y="-750"/>
                        <a:pt x="1045" y="2540"/>
                        <a:pt x="147" y="7563"/>
                      </a:cubicBezTo>
                      <a:cubicBezTo>
                        <a:pt x="-750" y="12527"/>
                        <a:pt x="2540" y="17372"/>
                        <a:pt x="7563" y="18269"/>
                      </a:cubicBezTo>
                      <a:close/>
                    </a:path>
                  </a:pathLst>
                </a:custGeom>
                <a:grpFill/>
                <a:ln w="5978" cap="flat">
                  <a:noFill/>
                  <a:prstDash val="solid"/>
                  <a:miter/>
                </a:ln>
              </p:spPr>
              <p:txBody>
                <a:bodyPr rtlCol="0" anchor="ctr"/>
                <a:lstStyle/>
                <a:p>
                  <a:endParaRPr lang="en-GB"/>
                </a:p>
              </p:txBody>
            </p:sp>
          </p:grpSp>
          <p:grpSp>
            <p:nvGrpSpPr>
              <p:cNvPr id="183" name="Graphic 3">
                <a:extLst>
                  <a:ext uri="{FF2B5EF4-FFF2-40B4-BE49-F238E27FC236}">
                    <a16:creationId xmlns:a16="http://schemas.microsoft.com/office/drawing/2014/main" id="{7A088ECB-DE1B-4190-9FE3-4E70F291ECB9}"/>
                  </a:ext>
                </a:extLst>
              </p:cNvPr>
              <p:cNvGrpSpPr/>
              <p:nvPr/>
            </p:nvGrpSpPr>
            <p:grpSpPr>
              <a:xfrm>
                <a:off x="7791867" y="3520097"/>
                <a:ext cx="189621" cy="29457"/>
                <a:chOff x="7791867" y="3520097"/>
                <a:chExt cx="189621" cy="29457"/>
              </a:xfrm>
              <a:grpFill/>
            </p:grpSpPr>
            <p:sp>
              <p:nvSpPr>
                <p:cNvPr id="4830" name="Vrije vorm: vorm 4829">
                  <a:extLst>
                    <a:ext uri="{FF2B5EF4-FFF2-40B4-BE49-F238E27FC236}">
                      <a16:creationId xmlns:a16="http://schemas.microsoft.com/office/drawing/2014/main" id="{6DAB7166-2A83-4C04-B2FB-D59ED73D46F7}"/>
                    </a:ext>
                  </a:extLst>
                </p:cNvPr>
                <p:cNvSpPr/>
                <p:nvPr/>
              </p:nvSpPr>
              <p:spPr>
                <a:xfrm>
                  <a:off x="7800436" y="3527769"/>
                  <a:ext cx="172423" cy="14114"/>
                </a:xfrm>
                <a:custGeom>
                  <a:avLst/>
                  <a:gdLst>
                    <a:gd name="connsiteX0" fmla="*/ 172424 w 172423"/>
                    <a:gd name="connsiteY0" fmla="*/ 11064 h 14114"/>
                    <a:gd name="connsiteX1" fmla="*/ 172185 w 172423"/>
                    <a:gd name="connsiteY1" fmla="*/ 14115 h 14114"/>
                    <a:gd name="connsiteX2" fmla="*/ 0 w 172423"/>
                    <a:gd name="connsiteY2" fmla="*/ 3050 h 14114"/>
                    <a:gd name="connsiteX3" fmla="*/ 179 w 172423"/>
                    <a:gd name="connsiteY3" fmla="*/ 0 h 14114"/>
                  </a:gdLst>
                  <a:ahLst/>
                  <a:cxnLst>
                    <a:cxn ang="0">
                      <a:pos x="connsiteX0" y="connsiteY0"/>
                    </a:cxn>
                    <a:cxn ang="0">
                      <a:pos x="connsiteX1" y="connsiteY1"/>
                    </a:cxn>
                    <a:cxn ang="0">
                      <a:pos x="connsiteX2" y="connsiteY2"/>
                    </a:cxn>
                    <a:cxn ang="0">
                      <a:pos x="connsiteX3" y="connsiteY3"/>
                    </a:cxn>
                  </a:cxnLst>
                  <a:rect l="l" t="t" r="r" b="b"/>
                  <a:pathLst>
                    <a:path w="172423" h="14114">
                      <a:moveTo>
                        <a:pt x="172424" y="11064"/>
                      </a:moveTo>
                      <a:lnTo>
                        <a:pt x="172185" y="14115"/>
                      </a:lnTo>
                      <a:lnTo>
                        <a:pt x="0" y="3050"/>
                      </a:lnTo>
                      <a:lnTo>
                        <a:pt x="179" y="0"/>
                      </a:lnTo>
                      <a:close/>
                    </a:path>
                  </a:pathLst>
                </a:custGeom>
                <a:grpFill/>
                <a:ln w="5978" cap="flat">
                  <a:noFill/>
                  <a:prstDash val="solid"/>
                  <a:miter/>
                </a:ln>
              </p:spPr>
              <p:txBody>
                <a:bodyPr rtlCol="0" anchor="ctr"/>
                <a:lstStyle/>
                <a:p>
                  <a:endParaRPr lang="en-GB"/>
                </a:p>
              </p:txBody>
            </p:sp>
            <p:sp>
              <p:nvSpPr>
                <p:cNvPr id="4831" name="Vrije vorm: vorm 4830">
                  <a:extLst>
                    <a:ext uri="{FF2B5EF4-FFF2-40B4-BE49-F238E27FC236}">
                      <a16:creationId xmlns:a16="http://schemas.microsoft.com/office/drawing/2014/main" id="{C45D5E8A-4BB1-4E41-AB87-C6B342BAEAFA}"/>
                    </a:ext>
                  </a:extLst>
                </p:cNvPr>
                <p:cNvSpPr/>
                <p:nvPr/>
              </p:nvSpPr>
              <p:spPr>
                <a:xfrm>
                  <a:off x="7963155" y="3531101"/>
                  <a:ext cx="18333" cy="18453"/>
                </a:xfrm>
                <a:custGeom>
                  <a:avLst/>
                  <a:gdLst>
                    <a:gd name="connsiteX0" fmla="*/ 9705 w 18333"/>
                    <a:gd name="connsiteY0" fmla="*/ 16 h 18453"/>
                    <a:gd name="connsiteX1" fmla="*/ 18317 w 18333"/>
                    <a:gd name="connsiteY1" fmla="*/ 9825 h 18453"/>
                    <a:gd name="connsiteX2" fmla="*/ 8628 w 18333"/>
                    <a:gd name="connsiteY2" fmla="*/ 18437 h 18453"/>
                    <a:gd name="connsiteX3" fmla="*/ 16 w 18333"/>
                    <a:gd name="connsiteY3" fmla="*/ 8629 h 18453"/>
                    <a:gd name="connsiteX4" fmla="*/ 9705 w 18333"/>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6"/>
                      </a:moveTo>
                      <a:cubicBezTo>
                        <a:pt x="14729" y="316"/>
                        <a:pt x="18616" y="4741"/>
                        <a:pt x="18317" y="9825"/>
                      </a:cubicBezTo>
                      <a:cubicBezTo>
                        <a:pt x="18018" y="14909"/>
                        <a:pt x="13652" y="18736"/>
                        <a:pt x="8628" y="18437"/>
                      </a:cubicBezTo>
                      <a:cubicBezTo>
                        <a:pt x="3604" y="18138"/>
                        <a:pt x="-283" y="13712"/>
                        <a:pt x="16" y="8629"/>
                      </a:cubicBezTo>
                      <a:cubicBezTo>
                        <a:pt x="256" y="3545"/>
                        <a:pt x="4621" y="-283"/>
                        <a:pt x="9705" y="16"/>
                      </a:cubicBezTo>
                      <a:close/>
                    </a:path>
                  </a:pathLst>
                </a:custGeom>
                <a:grpFill/>
                <a:ln w="5978" cap="flat">
                  <a:noFill/>
                  <a:prstDash val="solid"/>
                  <a:miter/>
                </a:ln>
              </p:spPr>
              <p:txBody>
                <a:bodyPr rtlCol="0" anchor="ctr"/>
                <a:lstStyle/>
                <a:p>
                  <a:endParaRPr lang="en-GB"/>
                </a:p>
              </p:txBody>
            </p:sp>
            <p:sp>
              <p:nvSpPr>
                <p:cNvPr id="4832" name="Vrije vorm: vorm 4831">
                  <a:extLst>
                    <a:ext uri="{FF2B5EF4-FFF2-40B4-BE49-F238E27FC236}">
                      <a16:creationId xmlns:a16="http://schemas.microsoft.com/office/drawing/2014/main" id="{7035C691-BB4F-42B9-826E-0A3D96E131DF}"/>
                    </a:ext>
                  </a:extLst>
                </p:cNvPr>
                <p:cNvSpPr/>
                <p:nvPr/>
              </p:nvSpPr>
              <p:spPr>
                <a:xfrm>
                  <a:off x="7791867" y="3520097"/>
                  <a:ext cx="18333" cy="18453"/>
                </a:xfrm>
                <a:custGeom>
                  <a:avLst/>
                  <a:gdLst>
                    <a:gd name="connsiteX0" fmla="*/ 9705 w 18333"/>
                    <a:gd name="connsiteY0" fmla="*/ 16 h 18453"/>
                    <a:gd name="connsiteX1" fmla="*/ 16 w 18333"/>
                    <a:gd name="connsiteY1" fmla="*/ 8629 h 18453"/>
                    <a:gd name="connsiteX2" fmla="*/ 8628 w 18333"/>
                    <a:gd name="connsiteY2" fmla="*/ 18437 h 18453"/>
                    <a:gd name="connsiteX3" fmla="*/ 18317 w 18333"/>
                    <a:gd name="connsiteY3" fmla="*/ 9825 h 18453"/>
                    <a:gd name="connsiteX4" fmla="*/ 9705 w 18333"/>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6"/>
                      </a:moveTo>
                      <a:cubicBezTo>
                        <a:pt x="4682" y="-283"/>
                        <a:pt x="316" y="3545"/>
                        <a:pt x="16" y="8629"/>
                      </a:cubicBezTo>
                      <a:cubicBezTo>
                        <a:pt x="-283" y="13712"/>
                        <a:pt x="3545" y="18078"/>
                        <a:pt x="8628" y="18437"/>
                      </a:cubicBezTo>
                      <a:cubicBezTo>
                        <a:pt x="13653" y="18736"/>
                        <a:pt x="18018" y="14909"/>
                        <a:pt x="18317" y="9825"/>
                      </a:cubicBezTo>
                      <a:cubicBezTo>
                        <a:pt x="18616" y="4741"/>
                        <a:pt x="14729" y="375"/>
                        <a:pt x="9705" y="16"/>
                      </a:cubicBezTo>
                      <a:close/>
                    </a:path>
                  </a:pathLst>
                </a:custGeom>
                <a:grpFill/>
                <a:ln w="5978" cap="flat">
                  <a:noFill/>
                  <a:prstDash val="solid"/>
                  <a:miter/>
                </a:ln>
              </p:spPr>
              <p:txBody>
                <a:bodyPr rtlCol="0" anchor="ctr"/>
                <a:lstStyle/>
                <a:p>
                  <a:endParaRPr lang="en-GB"/>
                </a:p>
              </p:txBody>
            </p:sp>
          </p:grpSp>
          <p:grpSp>
            <p:nvGrpSpPr>
              <p:cNvPr id="184" name="Graphic 3">
                <a:extLst>
                  <a:ext uri="{FF2B5EF4-FFF2-40B4-BE49-F238E27FC236}">
                    <a16:creationId xmlns:a16="http://schemas.microsoft.com/office/drawing/2014/main" id="{61DA1FBA-1D45-4B17-A01E-40FDD0BFD484}"/>
                  </a:ext>
                </a:extLst>
              </p:cNvPr>
              <p:cNvGrpSpPr/>
              <p:nvPr/>
            </p:nvGrpSpPr>
            <p:grpSpPr>
              <a:xfrm>
                <a:off x="7705710" y="3064734"/>
                <a:ext cx="66264" cy="28002"/>
                <a:chOff x="7705710" y="3064734"/>
                <a:chExt cx="66264" cy="28002"/>
              </a:xfrm>
              <a:grpFill/>
            </p:grpSpPr>
            <p:sp>
              <p:nvSpPr>
                <p:cNvPr id="4827" name="Vrije vorm: vorm 4826">
                  <a:extLst>
                    <a:ext uri="{FF2B5EF4-FFF2-40B4-BE49-F238E27FC236}">
                      <a16:creationId xmlns:a16="http://schemas.microsoft.com/office/drawing/2014/main" id="{4BF7FE8B-2CA9-4483-877E-44EE7C1DFEBB}"/>
                    </a:ext>
                  </a:extLst>
                </p:cNvPr>
                <p:cNvSpPr/>
                <p:nvPr/>
              </p:nvSpPr>
              <p:spPr>
                <a:xfrm>
                  <a:off x="7714134" y="3072337"/>
                  <a:ext cx="49460" cy="12798"/>
                </a:xfrm>
                <a:custGeom>
                  <a:avLst/>
                  <a:gdLst>
                    <a:gd name="connsiteX0" fmla="*/ 48803 w 49460"/>
                    <a:gd name="connsiteY0" fmla="*/ 0 h 12798"/>
                    <a:gd name="connsiteX1" fmla="*/ 49461 w 49460"/>
                    <a:gd name="connsiteY1" fmla="*/ 2990 h 12798"/>
                    <a:gd name="connsiteX2" fmla="*/ 598 w 49460"/>
                    <a:gd name="connsiteY2" fmla="*/ 12799 h 12798"/>
                    <a:gd name="connsiteX3" fmla="*/ 0 w 49460"/>
                    <a:gd name="connsiteY3" fmla="*/ 9808 h 12798"/>
                  </a:gdLst>
                  <a:ahLst/>
                  <a:cxnLst>
                    <a:cxn ang="0">
                      <a:pos x="connsiteX0" y="connsiteY0"/>
                    </a:cxn>
                    <a:cxn ang="0">
                      <a:pos x="connsiteX1" y="connsiteY1"/>
                    </a:cxn>
                    <a:cxn ang="0">
                      <a:pos x="connsiteX2" y="connsiteY2"/>
                    </a:cxn>
                    <a:cxn ang="0">
                      <a:pos x="connsiteX3" y="connsiteY3"/>
                    </a:cxn>
                  </a:cxnLst>
                  <a:rect l="l" t="t" r="r" b="b"/>
                  <a:pathLst>
                    <a:path w="49460" h="12798">
                      <a:moveTo>
                        <a:pt x="48803" y="0"/>
                      </a:moveTo>
                      <a:lnTo>
                        <a:pt x="49461" y="2990"/>
                      </a:lnTo>
                      <a:lnTo>
                        <a:pt x="598" y="12799"/>
                      </a:lnTo>
                      <a:lnTo>
                        <a:pt x="0" y="9808"/>
                      </a:lnTo>
                      <a:close/>
                    </a:path>
                  </a:pathLst>
                </a:custGeom>
                <a:grpFill/>
                <a:ln w="5978" cap="flat">
                  <a:noFill/>
                  <a:prstDash val="solid"/>
                  <a:miter/>
                </a:ln>
              </p:spPr>
              <p:txBody>
                <a:bodyPr rtlCol="0" anchor="ctr"/>
                <a:lstStyle/>
                <a:p>
                  <a:endParaRPr lang="en-GB"/>
                </a:p>
              </p:txBody>
            </p:sp>
            <p:sp>
              <p:nvSpPr>
                <p:cNvPr id="4828" name="Vrije vorm: vorm 4827">
                  <a:extLst>
                    <a:ext uri="{FF2B5EF4-FFF2-40B4-BE49-F238E27FC236}">
                      <a16:creationId xmlns:a16="http://schemas.microsoft.com/office/drawing/2014/main" id="{993FEBEA-D643-4556-B59A-4E6DFA107485}"/>
                    </a:ext>
                  </a:extLst>
                </p:cNvPr>
                <p:cNvSpPr/>
                <p:nvPr/>
              </p:nvSpPr>
              <p:spPr>
                <a:xfrm>
                  <a:off x="7753602" y="3064734"/>
                  <a:ext cx="18373" cy="18435"/>
                </a:xfrm>
                <a:custGeom>
                  <a:avLst/>
                  <a:gdLst>
                    <a:gd name="connsiteX0" fmla="*/ 7361 w 18373"/>
                    <a:gd name="connsiteY0" fmla="*/ 187 h 18435"/>
                    <a:gd name="connsiteX1" fmla="*/ 18187 w 18373"/>
                    <a:gd name="connsiteY1" fmla="*/ 7424 h 18435"/>
                    <a:gd name="connsiteX2" fmla="*/ 11010 w 18373"/>
                    <a:gd name="connsiteY2" fmla="*/ 18249 h 18435"/>
                    <a:gd name="connsiteX3" fmla="*/ 185 w 18373"/>
                    <a:gd name="connsiteY3" fmla="*/ 11012 h 18435"/>
                    <a:gd name="connsiteX4" fmla="*/ 7361 w 18373"/>
                    <a:gd name="connsiteY4" fmla="*/ 187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35">
                      <a:moveTo>
                        <a:pt x="7361" y="187"/>
                      </a:moveTo>
                      <a:cubicBezTo>
                        <a:pt x="12326" y="-830"/>
                        <a:pt x="17170" y="2400"/>
                        <a:pt x="18187" y="7424"/>
                      </a:cubicBezTo>
                      <a:cubicBezTo>
                        <a:pt x="19203" y="12447"/>
                        <a:pt x="15974" y="17292"/>
                        <a:pt x="11010" y="18249"/>
                      </a:cubicBezTo>
                      <a:cubicBezTo>
                        <a:pt x="6046" y="19266"/>
                        <a:pt x="1202" y="16036"/>
                        <a:pt x="185" y="11012"/>
                      </a:cubicBezTo>
                      <a:cubicBezTo>
                        <a:pt x="-832" y="5988"/>
                        <a:pt x="2458" y="1144"/>
                        <a:pt x="7361" y="187"/>
                      </a:cubicBezTo>
                      <a:close/>
                    </a:path>
                  </a:pathLst>
                </a:custGeom>
                <a:grpFill/>
                <a:ln w="5978" cap="flat">
                  <a:noFill/>
                  <a:prstDash val="solid"/>
                  <a:miter/>
                </a:ln>
              </p:spPr>
              <p:txBody>
                <a:bodyPr rtlCol="0" anchor="ctr"/>
                <a:lstStyle/>
                <a:p>
                  <a:endParaRPr lang="en-GB"/>
                </a:p>
              </p:txBody>
            </p:sp>
            <p:sp>
              <p:nvSpPr>
                <p:cNvPr id="4829" name="Vrije vorm: vorm 4828">
                  <a:extLst>
                    <a:ext uri="{FF2B5EF4-FFF2-40B4-BE49-F238E27FC236}">
                      <a16:creationId xmlns:a16="http://schemas.microsoft.com/office/drawing/2014/main" id="{350F1466-D737-425E-86BA-024982787D7D}"/>
                    </a:ext>
                  </a:extLst>
                </p:cNvPr>
                <p:cNvSpPr/>
                <p:nvPr/>
              </p:nvSpPr>
              <p:spPr>
                <a:xfrm>
                  <a:off x="7705710" y="3074322"/>
                  <a:ext cx="18342" cy="18414"/>
                </a:xfrm>
                <a:custGeom>
                  <a:avLst/>
                  <a:gdLst>
                    <a:gd name="connsiteX0" fmla="*/ 7347 w 18342"/>
                    <a:gd name="connsiteY0" fmla="*/ 168 h 18414"/>
                    <a:gd name="connsiteX1" fmla="*/ 170 w 18342"/>
                    <a:gd name="connsiteY1" fmla="*/ 10993 h 18414"/>
                    <a:gd name="connsiteX2" fmla="*/ 10996 w 18342"/>
                    <a:gd name="connsiteY2" fmla="*/ 18230 h 18414"/>
                    <a:gd name="connsiteX3" fmla="*/ 18172 w 18342"/>
                    <a:gd name="connsiteY3" fmla="*/ 7405 h 18414"/>
                    <a:gd name="connsiteX4" fmla="*/ 7347 w 18342"/>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4">
                      <a:moveTo>
                        <a:pt x="7347" y="168"/>
                      </a:moveTo>
                      <a:cubicBezTo>
                        <a:pt x="2383" y="1185"/>
                        <a:pt x="-787" y="6029"/>
                        <a:pt x="170" y="10993"/>
                      </a:cubicBezTo>
                      <a:cubicBezTo>
                        <a:pt x="1187" y="15957"/>
                        <a:pt x="6031" y="19246"/>
                        <a:pt x="10996" y="18230"/>
                      </a:cubicBezTo>
                      <a:cubicBezTo>
                        <a:pt x="15960" y="17213"/>
                        <a:pt x="19129" y="12368"/>
                        <a:pt x="18172" y="7405"/>
                      </a:cubicBezTo>
                      <a:cubicBezTo>
                        <a:pt x="17155" y="2440"/>
                        <a:pt x="12311" y="-789"/>
                        <a:pt x="7347" y="168"/>
                      </a:cubicBezTo>
                      <a:close/>
                    </a:path>
                  </a:pathLst>
                </a:custGeom>
                <a:grpFill/>
                <a:ln w="5978" cap="flat">
                  <a:noFill/>
                  <a:prstDash val="solid"/>
                  <a:miter/>
                </a:ln>
              </p:spPr>
              <p:txBody>
                <a:bodyPr rtlCol="0" anchor="ctr"/>
                <a:lstStyle/>
                <a:p>
                  <a:endParaRPr lang="en-GB"/>
                </a:p>
              </p:txBody>
            </p:sp>
          </p:grpSp>
          <p:grpSp>
            <p:nvGrpSpPr>
              <p:cNvPr id="185" name="Graphic 3">
                <a:extLst>
                  <a:ext uri="{FF2B5EF4-FFF2-40B4-BE49-F238E27FC236}">
                    <a16:creationId xmlns:a16="http://schemas.microsoft.com/office/drawing/2014/main" id="{5760E900-94DE-4AC7-88FC-53CD222A4AC3}"/>
                  </a:ext>
                </a:extLst>
              </p:cNvPr>
              <p:cNvGrpSpPr/>
              <p:nvPr/>
            </p:nvGrpSpPr>
            <p:grpSpPr>
              <a:xfrm>
                <a:off x="7719673" y="3283493"/>
                <a:ext cx="198247" cy="30488"/>
                <a:chOff x="7719673" y="3283493"/>
                <a:chExt cx="198247" cy="30488"/>
              </a:xfrm>
              <a:grpFill/>
            </p:grpSpPr>
            <p:sp>
              <p:nvSpPr>
                <p:cNvPr id="4824" name="Vrije vorm: vorm 4823">
                  <a:extLst>
                    <a:ext uri="{FF2B5EF4-FFF2-40B4-BE49-F238E27FC236}">
                      <a16:creationId xmlns:a16="http://schemas.microsoft.com/office/drawing/2014/main" id="{01E6CFC6-D629-4489-A5BB-36218A03A086}"/>
                    </a:ext>
                  </a:extLst>
                </p:cNvPr>
                <p:cNvSpPr/>
                <p:nvPr/>
              </p:nvSpPr>
              <p:spPr>
                <a:xfrm>
                  <a:off x="7728249" y="3291171"/>
                  <a:ext cx="181036" cy="15191"/>
                </a:xfrm>
                <a:custGeom>
                  <a:avLst/>
                  <a:gdLst>
                    <a:gd name="connsiteX0" fmla="*/ 180857 w 181036"/>
                    <a:gd name="connsiteY0" fmla="*/ 0 h 15191"/>
                    <a:gd name="connsiteX1" fmla="*/ 181037 w 181036"/>
                    <a:gd name="connsiteY1" fmla="*/ 3050 h 15191"/>
                    <a:gd name="connsiteX2" fmla="*/ 239 w 181036"/>
                    <a:gd name="connsiteY2" fmla="*/ 15191 h 15191"/>
                    <a:gd name="connsiteX3" fmla="*/ 0 w 181036"/>
                    <a:gd name="connsiteY3" fmla="*/ 12081 h 15191"/>
                  </a:gdLst>
                  <a:ahLst/>
                  <a:cxnLst>
                    <a:cxn ang="0">
                      <a:pos x="connsiteX0" y="connsiteY0"/>
                    </a:cxn>
                    <a:cxn ang="0">
                      <a:pos x="connsiteX1" y="connsiteY1"/>
                    </a:cxn>
                    <a:cxn ang="0">
                      <a:pos x="connsiteX2" y="connsiteY2"/>
                    </a:cxn>
                    <a:cxn ang="0">
                      <a:pos x="connsiteX3" y="connsiteY3"/>
                    </a:cxn>
                  </a:cxnLst>
                  <a:rect l="l" t="t" r="r" b="b"/>
                  <a:pathLst>
                    <a:path w="181036" h="15191">
                      <a:moveTo>
                        <a:pt x="180857" y="0"/>
                      </a:moveTo>
                      <a:lnTo>
                        <a:pt x="181037" y="3050"/>
                      </a:lnTo>
                      <a:lnTo>
                        <a:pt x="239" y="15191"/>
                      </a:lnTo>
                      <a:lnTo>
                        <a:pt x="0" y="12081"/>
                      </a:lnTo>
                      <a:close/>
                    </a:path>
                  </a:pathLst>
                </a:custGeom>
                <a:grpFill/>
                <a:ln w="5978" cap="flat">
                  <a:noFill/>
                  <a:prstDash val="solid"/>
                  <a:miter/>
                </a:ln>
              </p:spPr>
              <p:txBody>
                <a:bodyPr rtlCol="0" anchor="ctr"/>
                <a:lstStyle/>
                <a:p>
                  <a:endParaRPr lang="en-GB"/>
                </a:p>
              </p:txBody>
            </p:sp>
            <p:sp>
              <p:nvSpPr>
                <p:cNvPr id="4825" name="Vrije vorm: vorm 4824">
                  <a:extLst>
                    <a:ext uri="{FF2B5EF4-FFF2-40B4-BE49-F238E27FC236}">
                      <a16:creationId xmlns:a16="http://schemas.microsoft.com/office/drawing/2014/main" id="{99F32280-9556-49DA-9F2C-C57A76654FB0}"/>
                    </a:ext>
                  </a:extLst>
                </p:cNvPr>
                <p:cNvSpPr/>
                <p:nvPr/>
              </p:nvSpPr>
              <p:spPr>
                <a:xfrm>
                  <a:off x="7899573" y="3283493"/>
                  <a:ext cx="18347" cy="18406"/>
                </a:xfrm>
                <a:custGeom>
                  <a:avLst/>
                  <a:gdLst>
                    <a:gd name="connsiteX0" fmla="*/ 8516 w 18347"/>
                    <a:gd name="connsiteY0" fmla="*/ 23 h 18406"/>
                    <a:gd name="connsiteX1" fmla="*/ 18324 w 18347"/>
                    <a:gd name="connsiteY1" fmla="*/ 8575 h 18406"/>
                    <a:gd name="connsiteX2" fmla="*/ 9832 w 18347"/>
                    <a:gd name="connsiteY2" fmla="*/ 18384 h 18406"/>
                    <a:gd name="connsiteX3" fmla="*/ 23 w 18347"/>
                    <a:gd name="connsiteY3" fmla="*/ 9831 h 18406"/>
                    <a:gd name="connsiteX4" fmla="*/ 8516 w 18347"/>
                    <a:gd name="connsiteY4" fmla="*/ 2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6">
                      <a:moveTo>
                        <a:pt x="8516" y="23"/>
                      </a:moveTo>
                      <a:cubicBezTo>
                        <a:pt x="13540" y="-336"/>
                        <a:pt x="17966" y="3552"/>
                        <a:pt x="18324" y="8575"/>
                      </a:cubicBezTo>
                      <a:cubicBezTo>
                        <a:pt x="18683" y="13659"/>
                        <a:pt x="14855" y="18025"/>
                        <a:pt x="9832" y="18384"/>
                      </a:cubicBezTo>
                      <a:cubicBezTo>
                        <a:pt x="4807" y="18743"/>
                        <a:pt x="382" y="14855"/>
                        <a:pt x="23" y="9831"/>
                      </a:cubicBezTo>
                      <a:cubicBezTo>
                        <a:pt x="-336" y="4748"/>
                        <a:pt x="3492" y="382"/>
                        <a:pt x="8516" y="23"/>
                      </a:cubicBezTo>
                      <a:close/>
                    </a:path>
                  </a:pathLst>
                </a:custGeom>
                <a:grpFill/>
                <a:ln w="5978" cap="flat">
                  <a:noFill/>
                  <a:prstDash val="solid"/>
                  <a:miter/>
                </a:ln>
              </p:spPr>
              <p:txBody>
                <a:bodyPr rtlCol="0" anchor="ctr"/>
                <a:lstStyle/>
                <a:p>
                  <a:endParaRPr lang="en-GB"/>
                </a:p>
              </p:txBody>
            </p:sp>
            <p:sp>
              <p:nvSpPr>
                <p:cNvPr id="4826" name="Vrije vorm: vorm 4825">
                  <a:extLst>
                    <a:ext uri="{FF2B5EF4-FFF2-40B4-BE49-F238E27FC236}">
                      <a16:creationId xmlns:a16="http://schemas.microsoft.com/office/drawing/2014/main" id="{4AA43939-EB66-4B15-8A01-7456038B386A}"/>
                    </a:ext>
                  </a:extLst>
                </p:cNvPr>
                <p:cNvSpPr/>
                <p:nvPr/>
              </p:nvSpPr>
              <p:spPr>
                <a:xfrm>
                  <a:off x="7719673" y="3295574"/>
                  <a:ext cx="18347" cy="18407"/>
                </a:xfrm>
                <a:custGeom>
                  <a:avLst/>
                  <a:gdLst>
                    <a:gd name="connsiteX0" fmla="*/ 8516 w 18347"/>
                    <a:gd name="connsiteY0" fmla="*/ 23 h 18407"/>
                    <a:gd name="connsiteX1" fmla="*/ 23 w 18347"/>
                    <a:gd name="connsiteY1" fmla="*/ 9832 h 18407"/>
                    <a:gd name="connsiteX2" fmla="*/ 9831 w 18347"/>
                    <a:gd name="connsiteY2" fmla="*/ 18384 h 18407"/>
                    <a:gd name="connsiteX3" fmla="*/ 18324 w 18347"/>
                    <a:gd name="connsiteY3" fmla="*/ 8576 h 18407"/>
                    <a:gd name="connsiteX4" fmla="*/ 8516 w 18347"/>
                    <a:gd name="connsiteY4" fmla="*/ 2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8516" y="23"/>
                      </a:moveTo>
                      <a:cubicBezTo>
                        <a:pt x="3492" y="382"/>
                        <a:pt x="-336" y="4748"/>
                        <a:pt x="23" y="9832"/>
                      </a:cubicBezTo>
                      <a:cubicBezTo>
                        <a:pt x="382" y="14915"/>
                        <a:pt x="4748" y="18743"/>
                        <a:pt x="9831" y="18384"/>
                      </a:cubicBezTo>
                      <a:cubicBezTo>
                        <a:pt x="14855" y="18025"/>
                        <a:pt x="18683" y="13659"/>
                        <a:pt x="18324" y="8576"/>
                      </a:cubicBezTo>
                      <a:cubicBezTo>
                        <a:pt x="17906" y="3492"/>
                        <a:pt x="13539" y="-336"/>
                        <a:pt x="8516" y="23"/>
                      </a:cubicBezTo>
                      <a:close/>
                    </a:path>
                  </a:pathLst>
                </a:custGeom>
                <a:grpFill/>
                <a:ln w="5978" cap="flat">
                  <a:noFill/>
                  <a:prstDash val="solid"/>
                  <a:miter/>
                </a:ln>
              </p:spPr>
              <p:txBody>
                <a:bodyPr rtlCol="0" anchor="ctr"/>
                <a:lstStyle/>
                <a:p>
                  <a:endParaRPr lang="en-GB"/>
                </a:p>
              </p:txBody>
            </p:sp>
          </p:grpSp>
          <p:grpSp>
            <p:nvGrpSpPr>
              <p:cNvPr id="186" name="Graphic 3">
                <a:extLst>
                  <a:ext uri="{FF2B5EF4-FFF2-40B4-BE49-F238E27FC236}">
                    <a16:creationId xmlns:a16="http://schemas.microsoft.com/office/drawing/2014/main" id="{0547E7C7-1D24-4A63-8621-9AF7F7C7DFDF}"/>
                  </a:ext>
                </a:extLst>
              </p:cNvPr>
              <p:cNvGrpSpPr/>
              <p:nvPr/>
            </p:nvGrpSpPr>
            <p:grpSpPr>
              <a:xfrm>
                <a:off x="7710971" y="3217796"/>
                <a:ext cx="165592" cy="33835"/>
                <a:chOff x="7710971" y="3217796"/>
                <a:chExt cx="165592" cy="33835"/>
              </a:xfrm>
              <a:grpFill/>
            </p:grpSpPr>
            <p:sp>
              <p:nvSpPr>
                <p:cNvPr id="4821" name="Vrije vorm: vorm 4820">
                  <a:extLst>
                    <a:ext uri="{FF2B5EF4-FFF2-40B4-BE49-F238E27FC236}">
                      <a16:creationId xmlns:a16="http://schemas.microsoft.com/office/drawing/2014/main" id="{670096BE-94EF-421C-B14A-0C9279DB51CF}"/>
                    </a:ext>
                  </a:extLst>
                </p:cNvPr>
                <p:cNvSpPr/>
                <p:nvPr/>
              </p:nvSpPr>
              <p:spPr>
                <a:xfrm>
                  <a:off x="7719577" y="3225443"/>
                  <a:ext cx="148381" cy="18540"/>
                </a:xfrm>
                <a:custGeom>
                  <a:avLst/>
                  <a:gdLst>
                    <a:gd name="connsiteX0" fmla="*/ 148083 w 148381"/>
                    <a:gd name="connsiteY0" fmla="*/ 0 h 18540"/>
                    <a:gd name="connsiteX1" fmla="*/ 148381 w 148381"/>
                    <a:gd name="connsiteY1" fmla="*/ 3050 h 18540"/>
                    <a:gd name="connsiteX2" fmla="*/ 299 w 148381"/>
                    <a:gd name="connsiteY2" fmla="*/ 18540 h 18540"/>
                    <a:gd name="connsiteX3" fmla="*/ 0 w 148381"/>
                    <a:gd name="connsiteY3" fmla="*/ 15490 h 18540"/>
                  </a:gdLst>
                  <a:ahLst/>
                  <a:cxnLst>
                    <a:cxn ang="0">
                      <a:pos x="connsiteX0" y="connsiteY0"/>
                    </a:cxn>
                    <a:cxn ang="0">
                      <a:pos x="connsiteX1" y="connsiteY1"/>
                    </a:cxn>
                    <a:cxn ang="0">
                      <a:pos x="connsiteX2" y="connsiteY2"/>
                    </a:cxn>
                    <a:cxn ang="0">
                      <a:pos x="connsiteX3" y="connsiteY3"/>
                    </a:cxn>
                  </a:cxnLst>
                  <a:rect l="l" t="t" r="r" b="b"/>
                  <a:pathLst>
                    <a:path w="148381" h="18540">
                      <a:moveTo>
                        <a:pt x="148083" y="0"/>
                      </a:moveTo>
                      <a:lnTo>
                        <a:pt x="148381" y="3050"/>
                      </a:lnTo>
                      <a:lnTo>
                        <a:pt x="299" y="18540"/>
                      </a:lnTo>
                      <a:lnTo>
                        <a:pt x="0" y="15490"/>
                      </a:lnTo>
                      <a:close/>
                    </a:path>
                  </a:pathLst>
                </a:custGeom>
                <a:grpFill/>
                <a:ln w="5978" cap="flat">
                  <a:noFill/>
                  <a:prstDash val="solid"/>
                  <a:miter/>
                </a:ln>
              </p:spPr>
              <p:txBody>
                <a:bodyPr rtlCol="0" anchor="ctr"/>
                <a:lstStyle/>
                <a:p>
                  <a:endParaRPr lang="en-GB"/>
                </a:p>
              </p:txBody>
            </p:sp>
            <p:sp>
              <p:nvSpPr>
                <p:cNvPr id="4822" name="Vrije vorm: vorm 4821">
                  <a:extLst>
                    <a:ext uri="{FF2B5EF4-FFF2-40B4-BE49-F238E27FC236}">
                      <a16:creationId xmlns:a16="http://schemas.microsoft.com/office/drawing/2014/main" id="{970BB464-0081-4D2C-85D1-0A9A0CD0329D}"/>
                    </a:ext>
                  </a:extLst>
                </p:cNvPr>
                <p:cNvSpPr/>
                <p:nvPr/>
              </p:nvSpPr>
              <p:spPr>
                <a:xfrm>
                  <a:off x="7858216" y="3217796"/>
                  <a:ext cx="18347" cy="18404"/>
                </a:xfrm>
                <a:custGeom>
                  <a:avLst/>
                  <a:gdLst>
                    <a:gd name="connsiteX0" fmla="*/ 8187 w 18347"/>
                    <a:gd name="connsiteY0" fmla="*/ 52 h 18404"/>
                    <a:gd name="connsiteX1" fmla="*/ 18295 w 18347"/>
                    <a:gd name="connsiteY1" fmla="*/ 8246 h 18404"/>
                    <a:gd name="connsiteX2" fmla="*/ 10161 w 18347"/>
                    <a:gd name="connsiteY2" fmla="*/ 18353 h 18404"/>
                    <a:gd name="connsiteX3" fmla="*/ 53 w 18347"/>
                    <a:gd name="connsiteY3" fmla="*/ 10159 h 18404"/>
                    <a:gd name="connsiteX4" fmla="*/ 8187 w 18347"/>
                    <a:gd name="connsiteY4" fmla="*/ 52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4">
                      <a:moveTo>
                        <a:pt x="8187" y="52"/>
                      </a:moveTo>
                      <a:cubicBezTo>
                        <a:pt x="13211" y="-486"/>
                        <a:pt x="17756" y="3222"/>
                        <a:pt x="18295" y="8246"/>
                      </a:cubicBezTo>
                      <a:cubicBezTo>
                        <a:pt x="18833" y="13329"/>
                        <a:pt x="15185" y="17815"/>
                        <a:pt x="10161" y="18353"/>
                      </a:cubicBezTo>
                      <a:cubicBezTo>
                        <a:pt x="5137" y="18891"/>
                        <a:pt x="591" y="15183"/>
                        <a:pt x="53" y="10159"/>
                      </a:cubicBezTo>
                      <a:cubicBezTo>
                        <a:pt x="-485" y="5076"/>
                        <a:pt x="3104" y="590"/>
                        <a:pt x="8187" y="52"/>
                      </a:cubicBezTo>
                      <a:close/>
                    </a:path>
                  </a:pathLst>
                </a:custGeom>
                <a:grpFill/>
                <a:ln w="5978" cap="flat">
                  <a:noFill/>
                  <a:prstDash val="solid"/>
                  <a:miter/>
                </a:ln>
              </p:spPr>
              <p:txBody>
                <a:bodyPr rtlCol="0" anchor="ctr"/>
                <a:lstStyle/>
                <a:p>
                  <a:endParaRPr lang="en-GB"/>
                </a:p>
              </p:txBody>
            </p:sp>
            <p:sp>
              <p:nvSpPr>
                <p:cNvPr id="4823" name="Vrije vorm: vorm 4822">
                  <a:extLst>
                    <a:ext uri="{FF2B5EF4-FFF2-40B4-BE49-F238E27FC236}">
                      <a16:creationId xmlns:a16="http://schemas.microsoft.com/office/drawing/2014/main" id="{C7D54820-F4A2-4D2C-A557-48FEBA6FB6FE}"/>
                    </a:ext>
                  </a:extLst>
                </p:cNvPr>
                <p:cNvSpPr/>
                <p:nvPr/>
              </p:nvSpPr>
              <p:spPr>
                <a:xfrm>
                  <a:off x="7710971" y="3233226"/>
                  <a:ext cx="18346" cy="18405"/>
                </a:xfrm>
                <a:custGeom>
                  <a:avLst/>
                  <a:gdLst>
                    <a:gd name="connsiteX0" fmla="*/ 8186 w 18346"/>
                    <a:gd name="connsiteY0" fmla="*/ 52 h 18405"/>
                    <a:gd name="connsiteX1" fmla="*/ 53 w 18346"/>
                    <a:gd name="connsiteY1" fmla="*/ 10159 h 18405"/>
                    <a:gd name="connsiteX2" fmla="*/ 10160 w 18346"/>
                    <a:gd name="connsiteY2" fmla="*/ 18353 h 18405"/>
                    <a:gd name="connsiteX3" fmla="*/ 18294 w 18346"/>
                    <a:gd name="connsiteY3" fmla="*/ 8246 h 18405"/>
                    <a:gd name="connsiteX4" fmla="*/ 8186 w 18346"/>
                    <a:gd name="connsiteY4" fmla="*/ 5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5">
                      <a:moveTo>
                        <a:pt x="8186" y="52"/>
                      </a:moveTo>
                      <a:cubicBezTo>
                        <a:pt x="3163" y="590"/>
                        <a:pt x="-485" y="5136"/>
                        <a:pt x="53" y="10159"/>
                      </a:cubicBezTo>
                      <a:cubicBezTo>
                        <a:pt x="591" y="15243"/>
                        <a:pt x="5136" y="18891"/>
                        <a:pt x="10160" y="18353"/>
                      </a:cubicBezTo>
                      <a:cubicBezTo>
                        <a:pt x="15184" y="17815"/>
                        <a:pt x="18832" y="13269"/>
                        <a:pt x="18294" y="8246"/>
                      </a:cubicBezTo>
                      <a:cubicBezTo>
                        <a:pt x="17755" y="3222"/>
                        <a:pt x="13211" y="-486"/>
                        <a:pt x="8186" y="52"/>
                      </a:cubicBezTo>
                      <a:close/>
                    </a:path>
                  </a:pathLst>
                </a:custGeom>
                <a:grpFill/>
                <a:ln w="5978" cap="flat">
                  <a:noFill/>
                  <a:prstDash val="solid"/>
                  <a:miter/>
                </a:ln>
              </p:spPr>
              <p:txBody>
                <a:bodyPr rtlCol="0" anchor="ctr"/>
                <a:lstStyle/>
                <a:p>
                  <a:endParaRPr lang="en-GB"/>
                </a:p>
              </p:txBody>
            </p:sp>
          </p:grpSp>
          <p:grpSp>
            <p:nvGrpSpPr>
              <p:cNvPr id="187" name="Graphic 3">
                <a:extLst>
                  <a:ext uri="{FF2B5EF4-FFF2-40B4-BE49-F238E27FC236}">
                    <a16:creationId xmlns:a16="http://schemas.microsoft.com/office/drawing/2014/main" id="{8132237F-24A7-49AB-9F75-1997DA963AC1}"/>
                  </a:ext>
                </a:extLst>
              </p:cNvPr>
              <p:cNvGrpSpPr/>
              <p:nvPr/>
            </p:nvGrpSpPr>
            <p:grpSpPr>
              <a:xfrm>
                <a:off x="7575694" y="2687263"/>
                <a:ext cx="87171" cy="49504"/>
                <a:chOff x="7575694" y="2687263"/>
                <a:chExt cx="87171" cy="49504"/>
              </a:xfrm>
              <a:grpFill/>
            </p:grpSpPr>
            <p:sp>
              <p:nvSpPr>
                <p:cNvPr id="4818" name="Vrije vorm: vorm 4817">
                  <a:extLst>
                    <a:ext uri="{FF2B5EF4-FFF2-40B4-BE49-F238E27FC236}">
                      <a16:creationId xmlns:a16="http://schemas.microsoft.com/office/drawing/2014/main" id="{021CEB1B-C577-4E28-BEFD-5F6FB8E07D99}"/>
                    </a:ext>
                  </a:extLst>
                </p:cNvPr>
                <p:cNvSpPr/>
                <p:nvPr/>
              </p:nvSpPr>
              <p:spPr>
                <a:xfrm>
                  <a:off x="7583814" y="2694893"/>
                  <a:ext cx="70931" cy="34209"/>
                </a:xfrm>
                <a:custGeom>
                  <a:avLst/>
                  <a:gdLst>
                    <a:gd name="connsiteX0" fmla="*/ 70931 w 70931"/>
                    <a:gd name="connsiteY0" fmla="*/ 2811 h 34209"/>
                    <a:gd name="connsiteX1" fmla="*/ 1256 w 70931"/>
                    <a:gd name="connsiteY1" fmla="*/ 34210 h 34209"/>
                    <a:gd name="connsiteX2" fmla="*/ 0 w 70931"/>
                    <a:gd name="connsiteY2" fmla="*/ 31399 h 34209"/>
                    <a:gd name="connsiteX3" fmla="*/ 69616 w 70931"/>
                    <a:gd name="connsiteY3" fmla="*/ 0 h 34209"/>
                  </a:gdLst>
                  <a:ahLst/>
                  <a:cxnLst>
                    <a:cxn ang="0">
                      <a:pos x="connsiteX0" y="connsiteY0"/>
                    </a:cxn>
                    <a:cxn ang="0">
                      <a:pos x="connsiteX1" y="connsiteY1"/>
                    </a:cxn>
                    <a:cxn ang="0">
                      <a:pos x="connsiteX2" y="connsiteY2"/>
                    </a:cxn>
                    <a:cxn ang="0">
                      <a:pos x="connsiteX3" y="connsiteY3"/>
                    </a:cxn>
                  </a:cxnLst>
                  <a:rect l="l" t="t" r="r" b="b"/>
                  <a:pathLst>
                    <a:path w="70931" h="34209">
                      <a:moveTo>
                        <a:pt x="70931" y="2811"/>
                      </a:moveTo>
                      <a:lnTo>
                        <a:pt x="1256" y="34210"/>
                      </a:lnTo>
                      <a:lnTo>
                        <a:pt x="0" y="31399"/>
                      </a:lnTo>
                      <a:lnTo>
                        <a:pt x="69616" y="0"/>
                      </a:lnTo>
                      <a:close/>
                    </a:path>
                  </a:pathLst>
                </a:custGeom>
                <a:grpFill/>
                <a:ln w="5978" cap="flat">
                  <a:noFill/>
                  <a:prstDash val="solid"/>
                  <a:miter/>
                </a:ln>
              </p:spPr>
              <p:txBody>
                <a:bodyPr rtlCol="0" anchor="ctr"/>
                <a:lstStyle/>
                <a:p>
                  <a:endParaRPr lang="en-GB"/>
                </a:p>
              </p:txBody>
            </p:sp>
            <p:sp>
              <p:nvSpPr>
                <p:cNvPr id="4819" name="Vrije vorm: vorm 4818">
                  <a:extLst>
                    <a:ext uri="{FF2B5EF4-FFF2-40B4-BE49-F238E27FC236}">
                      <a16:creationId xmlns:a16="http://schemas.microsoft.com/office/drawing/2014/main" id="{48E186EE-9902-469A-97DC-A17DF731520B}"/>
                    </a:ext>
                  </a:extLst>
                </p:cNvPr>
                <p:cNvSpPr/>
                <p:nvPr/>
              </p:nvSpPr>
              <p:spPr>
                <a:xfrm>
                  <a:off x="7644532" y="2687263"/>
                  <a:ext cx="18333" cy="18490"/>
                </a:xfrm>
                <a:custGeom>
                  <a:avLst/>
                  <a:gdLst>
                    <a:gd name="connsiteX0" fmla="*/ 5369 w 18333"/>
                    <a:gd name="connsiteY0" fmla="*/ 812 h 18490"/>
                    <a:gd name="connsiteX1" fmla="*/ 17510 w 18333"/>
                    <a:gd name="connsiteY1" fmla="*/ 5477 h 18490"/>
                    <a:gd name="connsiteX2" fmla="*/ 12965 w 18333"/>
                    <a:gd name="connsiteY2" fmla="*/ 17678 h 18490"/>
                    <a:gd name="connsiteX3" fmla="*/ 824 w 18333"/>
                    <a:gd name="connsiteY3" fmla="*/ 13013 h 18490"/>
                    <a:gd name="connsiteX4" fmla="*/ 5369 w 18333"/>
                    <a:gd name="connsiteY4" fmla="*/ 812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90">
                      <a:moveTo>
                        <a:pt x="5369" y="812"/>
                      </a:moveTo>
                      <a:cubicBezTo>
                        <a:pt x="9974" y="-1281"/>
                        <a:pt x="15416" y="812"/>
                        <a:pt x="17510" y="5477"/>
                      </a:cubicBezTo>
                      <a:cubicBezTo>
                        <a:pt x="19603" y="10142"/>
                        <a:pt x="17570" y="15585"/>
                        <a:pt x="12965" y="17678"/>
                      </a:cubicBezTo>
                      <a:cubicBezTo>
                        <a:pt x="8359" y="19771"/>
                        <a:pt x="2917" y="17678"/>
                        <a:pt x="824" y="13013"/>
                      </a:cubicBezTo>
                      <a:cubicBezTo>
                        <a:pt x="-1269" y="8348"/>
                        <a:pt x="764" y="2906"/>
                        <a:pt x="5369" y="812"/>
                      </a:cubicBezTo>
                      <a:close/>
                    </a:path>
                  </a:pathLst>
                </a:custGeom>
                <a:grpFill/>
                <a:ln w="5978" cap="flat">
                  <a:noFill/>
                  <a:prstDash val="solid"/>
                  <a:miter/>
                </a:ln>
              </p:spPr>
              <p:txBody>
                <a:bodyPr rtlCol="0" anchor="ctr"/>
                <a:lstStyle/>
                <a:p>
                  <a:endParaRPr lang="en-GB"/>
                </a:p>
              </p:txBody>
            </p:sp>
            <p:sp>
              <p:nvSpPr>
                <p:cNvPr id="4820" name="Vrije vorm: vorm 4819">
                  <a:extLst>
                    <a:ext uri="{FF2B5EF4-FFF2-40B4-BE49-F238E27FC236}">
                      <a16:creationId xmlns:a16="http://schemas.microsoft.com/office/drawing/2014/main" id="{7D9A4D2E-E816-45EE-95B9-38600A7EB1CE}"/>
                    </a:ext>
                  </a:extLst>
                </p:cNvPr>
                <p:cNvSpPr/>
                <p:nvPr/>
              </p:nvSpPr>
              <p:spPr>
                <a:xfrm>
                  <a:off x="7575694" y="2718303"/>
                  <a:ext cx="18333" cy="18464"/>
                </a:xfrm>
                <a:custGeom>
                  <a:avLst/>
                  <a:gdLst>
                    <a:gd name="connsiteX0" fmla="*/ 5369 w 18333"/>
                    <a:gd name="connsiteY0" fmla="*/ 812 h 18464"/>
                    <a:gd name="connsiteX1" fmla="*/ 824 w 18333"/>
                    <a:gd name="connsiteY1" fmla="*/ 13013 h 18464"/>
                    <a:gd name="connsiteX2" fmla="*/ 12965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6"/>
                        <a:pt x="-1269" y="8348"/>
                        <a:pt x="824" y="13013"/>
                      </a:cubicBezTo>
                      <a:cubicBezTo>
                        <a:pt x="2917" y="17678"/>
                        <a:pt x="8359" y="19711"/>
                        <a:pt x="12965" y="17678"/>
                      </a:cubicBezTo>
                      <a:cubicBezTo>
                        <a:pt x="17570" y="15585"/>
                        <a:pt x="19603"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88" name="Graphic 3">
                <a:extLst>
                  <a:ext uri="{FF2B5EF4-FFF2-40B4-BE49-F238E27FC236}">
                    <a16:creationId xmlns:a16="http://schemas.microsoft.com/office/drawing/2014/main" id="{38EB76A7-167C-4005-87F1-82FAD2E6A6FB}"/>
                  </a:ext>
                </a:extLst>
              </p:cNvPr>
              <p:cNvGrpSpPr/>
              <p:nvPr/>
            </p:nvGrpSpPr>
            <p:grpSpPr>
              <a:xfrm>
                <a:off x="7738237" y="3421371"/>
                <a:ext cx="224336" cy="20096"/>
                <a:chOff x="7738237" y="3421371"/>
                <a:chExt cx="224336" cy="20096"/>
              </a:xfrm>
              <a:grpFill/>
            </p:grpSpPr>
            <p:sp>
              <p:nvSpPr>
                <p:cNvPr id="4815" name="Vrije vorm: vorm 4814">
                  <a:extLst>
                    <a:ext uri="{FF2B5EF4-FFF2-40B4-BE49-F238E27FC236}">
                      <a16:creationId xmlns:a16="http://schemas.microsoft.com/office/drawing/2014/main" id="{CD942514-2327-4D12-807F-7DC7DD12EC17}"/>
                    </a:ext>
                  </a:extLst>
                </p:cNvPr>
                <p:cNvSpPr/>
                <p:nvPr/>
              </p:nvSpPr>
              <p:spPr>
                <a:xfrm>
                  <a:off x="7746968" y="3429087"/>
                  <a:ext cx="206872" cy="4664"/>
                </a:xfrm>
                <a:custGeom>
                  <a:avLst/>
                  <a:gdLst>
                    <a:gd name="connsiteX0" fmla="*/ 206873 w 206872"/>
                    <a:gd name="connsiteY0" fmla="*/ 1615 h 4664"/>
                    <a:gd name="connsiteX1" fmla="*/ 206873 w 206872"/>
                    <a:gd name="connsiteY1" fmla="*/ 4665 h 4664"/>
                    <a:gd name="connsiteX2" fmla="*/ 0 w 206872"/>
                    <a:gd name="connsiteY2" fmla="*/ 3050 h 4664"/>
                    <a:gd name="connsiteX3" fmla="*/ 0 w 206872"/>
                    <a:gd name="connsiteY3" fmla="*/ 0 h 4664"/>
                  </a:gdLst>
                  <a:ahLst/>
                  <a:cxnLst>
                    <a:cxn ang="0">
                      <a:pos x="connsiteX0" y="connsiteY0"/>
                    </a:cxn>
                    <a:cxn ang="0">
                      <a:pos x="connsiteX1" y="connsiteY1"/>
                    </a:cxn>
                    <a:cxn ang="0">
                      <a:pos x="connsiteX2" y="connsiteY2"/>
                    </a:cxn>
                    <a:cxn ang="0">
                      <a:pos x="connsiteX3" y="connsiteY3"/>
                    </a:cxn>
                  </a:cxnLst>
                  <a:rect l="l" t="t" r="r" b="b"/>
                  <a:pathLst>
                    <a:path w="206872" h="4664">
                      <a:moveTo>
                        <a:pt x="206873" y="1615"/>
                      </a:moveTo>
                      <a:lnTo>
                        <a:pt x="206873" y="4665"/>
                      </a:lnTo>
                      <a:lnTo>
                        <a:pt x="0" y="3050"/>
                      </a:lnTo>
                      <a:lnTo>
                        <a:pt x="0" y="0"/>
                      </a:lnTo>
                      <a:close/>
                    </a:path>
                  </a:pathLst>
                </a:custGeom>
                <a:grpFill/>
                <a:ln w="5978" cap="flat">
                  <a:noFill/>
                  <a:prstDash val="solid"/>
                  <a:miter/>
                </a:ln>
              </p:spPr>
              <p:txBody>
                <a:bodyPr rtlCol="0" anchor="ctr"/>
                <a:lstStyle/>
                <a:p>
                  <a:endParaRPr lang="en-GB"/>
                </a:p>
              </p:txBody>
            </p:sp>
            <p:sp>
              <p:nvSpPr>
                <p:cNvPr id="4816" name="Vrije vorm: vorm 4815">
                  <a:extLst>
                    <a:ext uri="{FF2B5EF4-FFF2-40B4-BE49-F238E27FC236}">
                      <a16:creationId xmlns:a16="http://schemas.microsoft.com/office/drawing/2014/main" id="{2DF9D62F-FD5B-4416-B5FA-A17E4CDF59F5}"/>
                    </a:ext>
                  </a:extLst>
                </p:cNvPr>
                <p:cNvSpPr/>
                <p:nvPr/>
              </p:nvSpPr>
              <p:spPr>
                <a:xfrm>
                  <a:off x="7944212" y="3423046"/>
                  <a:ext cx="18361" cy="18421"/>
                </a:xfrm>
                <a:custGeom>
                  <a:avLst/>
                  <a:gdLst>
                    <a:gd name="connsiteX0" fmla="*/ 9211 w 18361"/>
                    <a:gd name="connsiteY0" fmla="*/ 1 h 18421"/>
                    <a:gd name="connsiteX1" fmla="*/ 18361 w 18361"/>
                    <a:gd name="connsiteY1" fmla="*/ 9271 h 18421"/>
                    <a:gd name="connsiteX2" fmla="*/ 9151 w 18361"/>
                    <a:gd name="connsiteY2" fmla="*/ 18421 h 18421"/>
                    <a:gd name="connsiteX3" fmla="*/ 0 w 18361"/>
                    <a:gd name="connsiteY3" fmla="*/ 9151 h 18421"/>
                    <a:gd name="connsiteX4" fmla="*/ 9211 w 1836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9211" y="1"/>
                      </a:moveTo>
                      <a:cubicBezTo>
                        <a:pt x="14294" y="60"/>
                        <a:pt x="18361" y="4187"/>
                        <a:pt x="18361" y="9271"/>
                      </a:cubicBezTo>
                      <a:cubicBezTo>
                        <a:pt x="18361" y="14354"/>
                        <a:pt x="14234" y="18481"/>
                        <a:pt x="9151" y="18421"/>
                      </a:cubicBezTo>
                      <a:cubicBezTo>
                        <a:pt x="4067" y="18361"/>
                        <a:pt x="0" y="14235"/>
                        <a:pt x="0" y="9151"/>
                      </a:cubicBezTo>
                      <a:cubicBezTo>
                        <a:pt x="0" y="4067"/>
                        <a:pt x="4127" y="-59"/>
                        <a:pt x="9211" y="1"/>
                      </a:cubicBezTo>
                      <a:close/>
                    </a:path>
                  </a:pathLst>
                </a:custGeom>
                <a:grpFill/>
                <a:ln w="5978" cap="flat">
                  <a:noFill/>
                  <a:prstDash val="solid"/>
                  <a:miter/>
                </a:ln>
              </p:spPr>
              <p:txBody>
                <a:bodyPr rtlCol="0" anchor="ctr"/>
                <a:lstStyle/>
                <a:p>
                  <a:endParaRPr lang="en-GB"/>
                </a:p>
              </p:txBody>
            </p:sp>
            <p:sp>
              <p:nvSpPr>
                <p:cNvPr id="4817" name="Vrije vorm: vorm 4816">
                  <a:extLst>
                    <a:ext uri="{FF2B5EF4-FFF2-40B4-BE49-F238E27FC236}">
                      <a16:creationId xmlns:a16="http://schemas.microsoft.com/office/drawing/2014/main" id="{C5B61700-DFF2-4CCE-81C4-E0AAC8DBB3B0}"/>
                    </a:ext>
                  </a:extLst>
                </p:cNvPr>
                <p:cNvSpPr/>
                <p:nvPr/>
              </p:nvSpPr>
              <p:spPr>
                <a:xfrm>
                  <a:off x="7738237" y="3421371"/>
                  <a:ext cx="18360" cy="18421"/>
                </a:xfrm>
                <a:custGeom>
                  <a:avLst/>
                  <a:gdLst>
                    <a:gd name="connsiteX0" fmla="*/ 9210 w 18360"/>
                    <a:gd name="connsiteY0" fmla="*/ 1 h 18421"/>
                    <a:gd name="connsiteX1" fmla="*/ 0 w 18360"/>
                    <a:gd name="connsiteY1" fmla="*/ 9151 h 18421"/>
                    <a:gd name="connsiteX2" fmla="*/ 9150 w 18360"/>
                    <a:gd name="connsiteY2" fmla="*/ 18421 h 18421"/>
                    <a:gd name="connsiteX3" fmla="*/ 18360 w 18360"/>
                    <a:gd name="connsiteY3" fmla="*/ 9271 h 18421"/>
                    <a:gd name="connsiteX4" fmla="*/ 9210 w 18360"/>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9210" y="1"/>
                      </a:moveTo>
                      <a:cubicBezTo>
                        <a:pt x="4126" y="-59"/>
                        <a:pt x="0" y="4067"/>
                        <a:pt x="0" y="9151"/>
                      </a:cubicBezTo>
                      <a:cubicBezTo>
                        <a:pt x="0" y="14235"/>
                        <a:pt x="4066" y="18421"/>
                        <a:pt x="9150" y="18421"/>
                      </a:cubicBezTo>
                      <a:cubicBezTo>
                        <a:pt x="14234" y="18481"/>
                        <a:pt x="18360" y="14354"/>
                        <a:pt x="18360" y="9271"/>
                      </a:cubicBezTo>
                      <a:cubicBezTo>
                        <a:pt x="18360" y="4187"/>
                        <a:pt x="14294" y="60"/>
                        <a:pt x="9210" y="1"/>
                      </a:cubicBezTo>
                      <a:close/>
                    </a:path>
                  </a:pathLst>
                </a:custGeom>
                <a:grpFill/>
                <a:ln w="5978" cap="flat">
                  <a:noFill/>
                  <a:prstDash val="solid"/>
                  <a:miter/>
                </a:ln>
              </p:spPr>
              <p:txBody>
                <a:bodyPr rtlCol="0" anchor="ctr"/>
                <a:lstStyle/>
                <a:p>
                  <a:endParaRPr lang="en-GB"/>
                </a:p>
              </p:txBody>
            </p:sp>
          </p:grpSp>
          <p:grpSp>
            <p:nvGrpSpPr>
              <p:cNvPr id="189" name="Graphic 3">
                <a:extLst>
                  <a:ext uri="{FF2B5EF4-FFF2-40B4-BE49-F238E27FC236}">
                    <a16:creationId xmlns:a16="http://schemas.microsoft.com/office/drawing/2014/main" id="{2073E4AD-CCD4-4561-8CA2-89AD93D6109D}"/>
                  </a:ext>
                </a:extLst>
              </p:cNvPr>
              <p:cNvGrpSpPr/>
              <p:nvPr/>
            </p:nvGrpSpPr>
            <p:grpSpPr>
              <a:xfrm>
                <a:off x="7718373" y="3579375"/>
                <a:ext cx="373810" cy="91460"/>
                <a:chOff x="7718373" y="3579375"/>
                <a:chExt cx="373810" cy="91460"/>
              </a:xfrm>
              <a:grpFill/>
            </p:grpSpPr>
            <p:sp>
              <p:nvSpPr>
                <p:cNvPr id="4812" name="Vrije vorm: vorm 4811">
                  <a:extLst>
                    <a:ext uri="{FF2B5EF4-FFF2-40B4-BE49-F238E27FC236}">
                      <a16:creationId xmlns:a16="http://schemas.microsoft.com/office/drawing/2014/main" id="{78759ACC-7BBE-40EB-8640-113BDCE54207}"/>
                    </a:ext>
                  </a:extLst>
                </p:cNvPr>
                <p:cNvSpPr/>
                <p:nvPr/>
              </p:nvSpPr>
              <p:spPr>
                <a:xfrm>
                  <a:off x="7726753" y="3587038"/>
                  <a:ext cx="356989" cy="76194"/>
                </a:xfrm>
                <a:custGeom>
                  <a:avLst/>
                  <a:gdLst>
                    <a:gd name="connsiteX0" fmla="*/ 356990 w 356989"/>
                    <a:gd name="connsiteY0" fmla="*/ 73204 h 76194"/>
                    <a:gd name="connsiteX1" fmla="*/ 356391 w 356989"/>
                    <a:gd name="connsiteY1" fmla="*/ 76194 h 76194"/>
                    <a:gd name="connsiteX2" fmla="*/ 0 w 356989"/>
                    <a:gd name="connsiteY2" fmla="*/ 2990 h 76194"/>
                    <a:gd name="connsiteX3" fmla="*/ 598 w 356989"/>
                    <a:gd name="connsiteY3" fmla="*/ 0 h 76194"/>
                  </a:gdLst>
                  <a:ahLst/>
                  <a:cxnLst>
                    <a:cxn ang="0">
                      <a:pos x="connsiteX0" y="connsiteY0"/>
                    </a:cxn>
                    <a:cxn ang="0">
                      <a:pos x="connsiteX1" y="connsiteY1"/>
                    </a:cxn>
                    <a:cxn ang="0">
                      <a:pos x="connsiteX2" y="connsiteY2"/>
                    </a:cxn>
                    <a:cxn ang="0">
                      <a:pos x="connsiteX3" y="connsiteY3"/>
                    </a:cxn>
                  </a:cxnLst>
                  <a:rect l="l" t="t" r="r" b="b"/>
                  <a:pathLst>
                    <a:path w="356989" h="76194">
                      <a:moveTo>
                        <a:pt x="356990" y="73204"/>
                      </a:moveTo>
                      <a:lnTo>
                        <a:pt x="356391" y="76194"/>
                      </a:lnTo>
                      <a:lnTo>
                        <a:pt x="0" y="2990"/>
                      </a:lnTo>
                      <a:lnTo>
                        <a:pt x="598" y="0"/>
                      </a:lnTo>
                      <a:close/>
                    </a:path>
                  </a:pathLst>
                </a:custGeom>
                <a:grpFill/>
                <a:ln w="5978" cap="flat">
                  <a:noFill/>
                  <a:prstDash val="solid"/>
                  <a:miter/>
                </a:ln>
              </p:spPr>
              <p:txBody>
                <a:bodyPr rtlCol="0" anchor="ctr"/>
                <a:lstStyle/>
                <a:p>
                  <a:endParaRPr lang="en-GB"/>
                </a:p>
              </p:txBody>
            </p:sp>
            <p:sp>
              <p:nvSpPr>
                <p:cNvPr id="4813" name="Vrije vorm: vorm 4812">
                  <a:extLst>
                    <a:ext uri="{FF2B5EF4-FFF2-40B4-BE49-F238E27FC236}">
                      <a16:creationId xmlns:a16="http://schemas.microsoft.com/office/drawing/2014/main" id="{3D619885-CB11-4A87-9880-4DC24ED84BF1}"/>
                    </a:ext>
                  </a:extLst>
                </p:cNvPr>
                <p:cNvSpPr/>
                <p:nvPr/>
              </p:nvSpPr>
              <p:spPr>
                <a:xfrm>
                  <a:off x="7718373" y="3579375"/>
                  <a:ext cx="18316" cy="18436"/>
                </a:xfrm>
                <a:custGeom>
                  <a:avLst/>
                  <a:gdLst>
                    <a:gd name="connsiteX0" fmla="*/ 7364 w 18316"/>
                    <a:gd name="connsiteY0" fmla="*/ 18249 h 18436"/>
                    <a:gd name="connsiteX1" fmla="*/ 187 w 18316"/>
                    <a:gd name="connsiteY1" fmla="*/ 7364 h 18436"/>
                    <a:gd name="connsiteX2" fmla="*/ 10953 w 18316"/>
                    <a:gd name="connsiteY2" fmla="*/ 187 h 18436"/>
                    <a:gd name="connsiteX3" fmla="*/ 18129 w 18316"/>
                    <a:gd name="connsiteY3" fmla="*/ 11072 h 18436"/>
                    <a:gd name="connsiteX4" fmla="*/ 7364 w 18316"/>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7364" y="18249"/>
                      </a:moveTo>
                      <a:cubicBezTo>
                        <a:pt x="2400" y="17232"/>
                        <a:pt x="-830" y="12388"/>
                        <a:pt x="187" y="7364"/>
                      </a:cubicBezTo>
                      <a:cubicBezTo>
                        <a:pt x="1204" y="2400"/>
                        <a:pt x="5988" y="-830"/>
                        <a:pt x="10953" y="187"/>
                      </a:cubicBezTo>
                      <a:cubicBezTo>
                        <a:pt x="15917" y="1204"/>
                        <a:pt x="19146" y="6048"/>
                        <a:pt x="18129" y="11072"/>
                      </a:cubicBezTo>
                      <a:cubicBezTo>
                        <a:pt x="17172" y="16036"/>
                        <a:pt x="12328" y="19266"/>
                        <a:pt x="7364" y="18249"/>
                      </a:cubicBezTo>
                      <a:close/>
                    </a:path>
                  </a:pathLst>
                </a:custGeom>
                <a:grpFill/>
                <a:ln w="5978" cap="flat">
                  <a:noFill/>
                  <a:prstDash val="solid"/>
                  <a:miter/>
                </a:ln>
              </p:spPr>
              <p:txBody>
                <a:bodyPr rtlCol="0" anchor="ctr"/>
                <a:lstStyle/>
                <a:p>
                  <a:endParaRPr lang="en-GB"/>
                </a:p>
              </p:txBody>
            </p:sp>
            <p:sp>
              <p:nvSpPr>
                <p:cNvPr id="4814" name="Vrije vorm: vorm 4813">
                  <a:extLst>
                    <a:ext uri="{FF2B5EF4-FFF2-40B4-BE49-F238E27FC236}">
                      <a16:creationId xmlns:a16="http://schemas.microsoft.com/office/drawing/2014/main" id="{0BE90246-97C2-47DA-A116-190A0677DD25}"/>
                    </a:ext>
                  </a:extLst>
                </p:cNvPr>
                <p:cNvSpPr/>
                <p:nvPr/>
              </p:nvSpPr>
              <p:spPr>
                <a:xfrm>
                  <a:off x="8073867" y="3652399"/>
                  <a:ext cx="18316" cy="18436"/>
                </a:xfrm>
                <a:custGeom>
                  <a:avLst/>
                  <a:gdLst>
                    <a:gd name="connsiteX0" fmla="*/ 7364 w 18316"/>
                    <a:gd name="connsiteY0" fmla="*/ 18249 h 18436"/>
                    <a:gd name="connsiteX1" fmla="*/ 18129 w 18316"/>
                    <a:gd name="connsiteY1" fmla="*/ 11072 h 18436"/>
                    <a:gd name="connsiteX2" fmla="*/ 10952 w 18316"/>
                    <a:gd name="connsiteY2" fmla="*/ 187 h 18436"/>
                    <a:gd name="connsiteX3" fmla="*/ 187 w 18316"/>
                    <a:gd name="connsiteY3" fmla="*/ 7364 h 18436"/>
                    <a:gd name="connsiteX4" fmla="*/ 7364 w 18316"/>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7364" y="18249"/>
                      </a:moveTo>
                      <a:cubicBezTo>
                        <a:pt x="12328" y="19266"/>
                        <a:pt x="17172" y="16036"/>
                        <a:pt x="18129" y="11072"/>
                      </a:cubicBezTo>
                      <a:cubicBezTo>
                        <a:pt x="19146" y="6108"/>
                        <a:pt x="15916" y="1204"/>
                        <a:pt x="10952" y="187"/>
                      </a:cubicBezTo>
                      <a:cubicBezTo>
                        <a:pt x="5988" y="-830"/>
                        <a:pt x="1144" y="2400"/>
                        <a:pt x="187" y="7364"/>
                      </a:cubicBezTo>
                      <a:cubicBezTo>
                        <a:pt x="-830" y="12388"/>
                        <a:pt x="2400" y="17232"/>
                        <a:pt x="7364" y="18249"/>
                      </a:cubicBezTo>
                      <a:close/>
                    </a:path>
                  </a:pathLst>
                </a:custGeom>
                <a:grpFill/>
                <a:ln w="5978" cap="flat">
                  <a:noFill/>
                  <a:prstDash val="solid"/>
                  <a:miter/>
                </a:ln>
              </p:spPr>
              <p:txBody>
                <a:bodyPr rtlCol="0" anchor="ctr"/>
                <a:lstStyle/>
                <a:p>
                  <a:endParaRPr lang="en-GB"/>
                </a:p>
              </p:txBody>
            </p:sp>
          </p:grpSp>
          <p:grpSp>
            <p:nvGrpSpPr>
              <p:cNvPr id="190" name="Graphic 3">
                <a:extLst>
                  <a:ext uri="{FF2B5EF4-FFF2-40B4-BE49-F238E27FC236}">
                    <a16:creationId xmlns:a16="http://schemas.microsoft.com/office/drawing/2014/main" id="{355CD6CB-4623-4D48-927C-66DC6E6EAFE8}"/>
                  </a:ext>
                </a:extLst>
              </p:cNvPr>
              <p:cNvGrpSpPr/>
              <p:nvPr/>
            </p:nvGrpSpPr>
            <p:grpSpPr>
              <a:xfrm>
                <a:off x="7709488" y="3251906"/>
                <a:ext cx="169396" cy="31411"/>
                <a:chOff x="7709488" y="3251906"/>
                <a:chExt cx="169396" cy="31411"/>
              </a:xfrm>
              <a:grpFill/>
            </p:grpSpPr>
            <p:sp>
              <p:nvSpPr>
                <p:cNvPr id="4809" name="Vrije vorm: vorm 4808">
                  <a:extLst>
                    <a:ext uri="{FF2B5EF4-FFF2-40B4-BE49-F238E27FC236}">
                      <a16:creationId xmlns:a16="http://schemas.microsoft.com/office/drawing/2014/main" id="{E57FE8B8-46F3-424D-A83E-3816D7273F5A}"/>
                    </a:ext>
                  </a:extLst>
                </p:cNvPr>
                <p:cNvSpPr/>
                <p:nvPr/>
              </p:nvSpPr>
              <p:spPr>
                <a:xfrm>
                  <a:off x="7718082" y="3259533"/>
                  <a:ext cx="152268" cy="16088"/>
                </a:xfrm>
                <a:custGeom>
                  <a:avLst/>
                  <a:gdLst>
                    <a:gd name="connsiteX0" fmla="*/ 151970 w 152268"/>
                    <a:gd name="connsiteY0" fmla="*/ 0 h 16088"/>
                    <a:gd name="connsiteX1" fmla="*/ 152269 w 152268"/>
                    <a:gd name="connsiteY1" fmla="*/ 3050 h 16088"/>
                    <a:gd name="connsiteX2" fmla="*/ 239 w 152268"/>
                    <a:gd name="connsiteY2" fmla="*/ 16088 h 16088"/>
                    <a:gd name="connsiteX3" fmla="*/ 0 w 152268"/>
                    <a:gd name="connsiteY3" fmla="*/ 13038 h 16088"/>
                  </a:gdLst>
                  <a:ahLst/>
                  <a:cxnLst>
                    <a:cxn ang="0">
                      <a:pos x="connsiteX0" y="connsiteY0"/>
                    </a:cxn>
                    <a:cxn ang="0">
                      <a:pos x="connsiteX1" y="connsiteY1"/>
                    </a:cxn>
                    <a:cxn ang="0">
                      <a:pos x="connsiteX2" y="connsiteY2"/>
                    </a:cxn>
                    <a:cxn ang="0">
                      <a:pos x="connsiteX3" y="connsiteY3"/>
                    </a:cxn>
                  </a:cxnLst>
                  <a:rect l="l" t="t" r="r" b="b"/>
                  <a:pathLst>
                    <a:path w="152268" h="16088">
                      <a:moveTo>
                        <a:pt x="151970" y="0"/>
                      </a:moveTo>
                      <a:lnTo>
                        <a:pt x="152269" y="3050"/>
                      </a:lnTo>
                      <a:lnTo>
                        <a:pt x="239" y="16088"/>
                      </a:lnTo>
                      <a:lnTo>
                        <a:pt x="0" y="13038"/>
                      </a:lnTo>
                      <a:close/>
                    </a:path>
                  </a:pathLst>
                </a:custGeom>
                <a:grpFill/>
                <a:ln w="5978" cap="flat">
                  <a:noFill/>
                  <a:prstDash val="solid"/>
                  <a:miter/>
                </a:ln>
              </p:spPr>
              <p:txBody>
                <a:bodyPr rtlCol="0" anchor="ctr"/>
                <a:lstStyle/>
                <a:p>
                  <a:endParaRPr lang="en-GB"/>
                </a:p>
              </p:txBody>
            </p:sp>
            <p:sp>
              <p:nvSpPr>
                <p:cNvPr id="4810" name="Vrije vorm: vorm 4809">
                  <a:extLst>
                    <a:ext uri="{FF2B5EF4-FFF2-40B4-BE49-F238E27FC236}">
                      <a16:creationId xmlns:a16="http://schemas.microsoft.com/office/drawing/2014/main" id="{01CBD19E-5A63-4F9F-AA0A-D50575253FDE}"/>
                    </a:ext>
                  </a:extLst>
                </p:cNvPr>
                <p:cNvSpPr/>
                <p:nvPr/>
              </p:nvSpPr>
              <p:spPr>
                <a:xfrm>
                  <a:off x="7860570" y="3251906"/>
                  <a:ext cx="18314" cy="18424"/>
                </a:xfrm>
                <a:custGeom>
                  <a:avLst/>
                  <a:gdLst>
                    <a:gd name="connsiteX0" fmla="*/ 8345 w 18314"/>
                    <a:gd name="connsiteY0" fmla="*/ 32 h 18424"/>
                    <a:gd name="connsiteX1" fmla="*/ 18274 w 18314"/>
                    <a:gd name="connsiteY1" fmla="*/ 8405 h 18424"/>
                    <a:gd name="connsiteX2" fmla="*/ 9960 w 18314"/>
                    <a:gd name="connsiteY2" fmla="*/ 18393 h 18424"/>
                    <a:gd name="connsiteX3" fmla="*/ 32 w 18314"/>
                    <a:gd name="connsiteY3" fmla="*/ 10020 h 18424"/>
                    <a:gd name="connsiteX4" fmla="*/ 8345 w 18314"/>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24">
                      <a:moveTo>
                        <a:pt x="8345" y="32"/>
                      </a:moveTo>
                      <a:cubicBezTo>
                        <a:pt x="13369" y="-387"/>
                        <a:pt x="17855" y="3381"/>
                        <a:pt x="18274" y="8405"/>
                      </a:cubicBezTo>
                      <a:cubicBezTo>
                        <a:pt x="18752" y="13488"/>
                        <a:pt x="14984" y="17914"/>
                        <a:pt x="9960" y="18393"/>
                      </a:cubicBezTo>
                      <a:cubicBezTo>
                        <a:pt x="4936" y="18811"/>
                        <a:pt x="451" y="15043"/>
                        <a:pt x="32" y="10020"/>
                      </a:cubicBezTo>
                      <a:cubicBezTo>
                        <a:pt x="-386" y="4876"/>
                        <a:pt x="3322" y="450"/>
                        <a:pt x="8345" y="32"/>
                      </a:cubicBezTo>
                      <a:close/>
                    </a:path>
                  </a:pathLst>
                </a:custGeom>
                <a:grpFill/>
                <a:ln w="5978" cap="flat">
                  <a:noFill/>
                  <a:prstDash val="solid"/>
                  <a:miter/>
                </a:ln>
              </p:spPr>
              <p:txBody>
                <a:bodyPr rtlCol="0" anchor="ctr"/>
                <a:lstStyle/>
                <a:p>
                  <a:endParaRPr lang="en-GB"/>
                </a:p>
              </p:txBody>
            </p:sp>
            <p:sp>
              <p:nvSpPr>
                <p:cNvPr id="4811" name="Vrije vorm: vorm 4810">
                  <a:extLst>
                    <a:ext uri="{FF2B5EF4-FFF2-40B4-BE49-F238E27FC236}">
                      <a16:creationId xmlns:a16="http://schemas.microsoft.com/office/drawing/2014/main" id="{FF967746-93A0-4E8D-9972-0F53362B2AAE}"/>
                    </a:ext>
                  </a:extLst>
                </p:cNvPr>
                <p:cNvSpPr/>
                <p:nvPr/>
              </p:nvSpPr>
              <p:spPr>
                <a:xfrm>
                  <a:off x="7709488" y="3264875"/>
                  <a:ext cx="18314" cy="18442"/>
                </a:xfrm>
                <a:custGeom>
                  <a:avLst/>
                  <a:gdLst>
                    <a:gd name="connsiteX0" fmla="*/ 8354 w 18314"/>
                    <a:gd name="connsiteY0" fmla="*/ 41 h 18442"/>
                    <a:gd name="connsiteX1" fmla="*/ 41 w 18314"/>
                    <a:gd name="connsiteY1" fmla="*/ 10029 h 18442"/>
                    <a:gd name="connsiteX2" fmla="*/ 9969 w 18314"/>
                    <a:gd name="connsiteY2" fmla="*/ 18402 h 18442"/>
                    <a:gd name="connsiteX3" fmla="*/ 18282 w 18314"/>
                    <a:gd name="connsiteY3" fmla="*/ 8414 h 18442"/>
                    <a:gd name="connsiteX4" fmla="*/ 8354 w 18314"/>
                    <a:gd name="connsiteY4" fmla="*/ 41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42">
                      <a:moveTo>
                        <a:pt x="8354" y="41"/>
                      </a:moveTo>
                      <a:cubicBezTo>
                        <a:pt x="3331" y="460"/>
                        <a:pt x="-437" y="4945"/>
                        <a:pt x="41" y="10029"/>
                      </a:cubicBezTo>
                      <a:cubicBezTo>
                        <a:pt x="519" y="15112"/>
                        <a:pt x="4946" y="18880"/>
                        <a:pt x="9969" y="18402"/>
                      </a:cubicBezTo>
                      <a:cubicBezTo>
                        <a:pt x="14993" y="17983"/>
                        <a:pt x="18701" y="13498"/>
                        <a:pt x="18282" y="8414"/>
                      </a:cubicBezTo>
                      <a:cubicBezTo>
                        <a:pt x="17863" y="3330"/>
                        <a:pt x="13378" y="-438"/>
                        <a:pt x="8354" y="41"/>
                      </a:cubicBezTo>
                      <a:close/>
                    </a:path>
                  </a:pathLst>
                </a:custGeom>
                <a:grpFill/>
                <a:ln w="5978" cap="flat">
                  <a:noFill/>
                  <a:prstDash val="solid"/>
                  <a:miter/>
                </a:ln>
              </p:spPr>
              <p:txBody>
                <a:bodyPr rtlCol="0" anchor="ctr"/>
                <a:lstStyle/>
                <a:p>
                  <a:endParaRPr lang="en-GB"/>
                </a:p>
              </p:txBody>
            </p:sp>
          </p:grpSp>
          <p:grpSp>
            <p:nvGrpSpPr>
              <p:cNvPr id="191" name="Graphic 3">
                <a:extLst>
                  <a:ext uri="{FF2B5EF4-FFF2-40B4-BE49-F238E27FC236}">
                    <a16:creationId xmlns:a16="http://schemas.microsoft.com/office/drawing/2014/main" id="{DAE50C55-9B83-4976-B864-5787311991AF}"/>
                  </a:ext>
                </a:extLst>
              </p:cNvPr>
              <p:cNvGrpSpPr/>
              <p:nvPr/>
            </p:nvGrpSpPr>
            <p:grpSpPr>
              <a:xfrm>
                <a:off x="7474585" y="2456021"/>
                <a:ext cx="125518" cy="84889"/>
                <a:chOff x="7474585" y="2456021"/>
                <a:chExt cx="125518" cy="84889"/>
              </a:xfrm>
              <a:grpFill/>
            </p:grpSpPr>
            <p:sp>
              <p:nvSpPr>
                <p:cNvPr id="4806" name="Vrije vorm: vorm 4805">
                  <a:extLst>
                    <a:ext uri="{FF2B5EF4-FFF2-40B4-BE49-F238E27FC236}">
                      <a16:creationId xmlns:a16="http://schemas.microsoft.com/office/drawing/2014/main" id="{73527ECC-FEEF-4CE8-B361-487AB4CCD8B6}"/>
                    </a:ext>
                  </a:extLst>
                </p:cNvPr>
                <p:cNvSpPr/>
                <p:nvPr/>
              </p:nvSpPr>
              <p:spPr>
                <a:xfrm>
                  <a:off x="7482561" y="2463679"/>
                  <a:ext cx="109566" cy="69555"/>
                </a:xfrm>
                <a:custGeom>
                  <a:avLst/>
                  <a:gdLst>
                    <a:gd name="connsiteX0" fmla="*/ 109567 w 109566"/>
                    <a:gd name="connsiteY0" fmla="*/ 2632 h 69555"/>
                    <a:gd name="connsiteX1" fmla="*/ 1615 w 109566"/>
                    <a:gd name="connsiteY1" fmla="*/ 69556 h 69555"/>
                    <a:gd name="connsiteX2" fmla="*/ 0 w 109566"/>
                    <a:gd name="connsiteY2" fmla="*/ 66924 h 69555"/>
                    <a:gd name="connsiteX3" fmla="*/ 107952 w 109566"/>
                    <a:gd name="connsiteY3" fmla="*/ 0 h 69555"/>
                  </a:gdLst>
                  <a:ahLst/>
                  <a:cxnLst>
                    <a:cxn ang="0">
                      <a:pos x="connsiteX0" y="connsiteY0"/>
                    </a:cxn>
                    <a:cxn ang="0">
                      <a:pos x="connsiteX1" y="connsiteY1"/>
                    </a:cxn>
                    <a:cxn ang="0">
                      <a:pos x="connsiteX2" y="connsiteY2"/>
                    </a:cxn>
                    <a:cxn ang="0">
                      <a:pos x="connsiteX3" y="connsiteY3"/>
                    </a:cxn>
                  </a:cxnLst>
                  <a:rect l="l" t="t" r="r" b="b"/>
                  <a:pathLst>
                    <a:path w="109566" h="69555">
                      <a:moveTo>
                        <a:pt x="109567" y="2632"/>
                      </a:moveTo>
                      <a:lnTo>
                        <a:pt x="1615" y="69556"/>
                      </a:lnTo>
                      <a:lnTo>
                        <a:pt x="0" y="66924"/>
                      </a:lnTo>
                      <a:lnTo>
                        <a:pt x="107952" y="0"/>
                      </a:lnTo>
                      <a:close/>
                    </a:path>
                  </a:pathLst>
                </a:custGeom>
                <a:grpFill/>
                <a:ln w="5978" cap="flat">
                  <a:noFill/>
                  <a:prstDash val="solid"/>
                  <a:miter/>
                </a:ln>
              </p:spPr>
              <p:txBody>
                <a:bodyPr rtlCol="0" anchor="ctr"/>
                <a:lstStyle/>
                <a:p>
                  <a:endParaRPr lang="en-GB"/>
                </a:p>
              </p:txBody>
            </p:sp>
            <p:sp>
              <p:nvSpPr>
                <p:cNvPr id="4807" name="Vrije vorm: vorm 4806">
                  <a:extLst>
                    <a:ext uri="{FF2B5EF4-FFF2-40B4-BE49-F238E27FC236}">
                      <a16:creationId xmlns:a16="http://schemas.microsoft.com/office/drawing/2014/main" id="{49CF508B-30B7-47FD-9171-9BDDC028B82E}"/>
                    </a:ext>
                  </a:extLst>
                </p:cNvPr>
                <p:cNvSpPr/>
                <p:nvPr/>
              </p:nvSpPr>
              <p:spPr>
                <a:xfrm>
                  <a:off x="7581759" y="2456021"/>
                  <a:ext cx="18343" cy="18484"/>
                </a:xfrm>
                <a:custGeom>
                  <a:avLst/>
                  <a:gdLst>
                    <a:gd name="connsiteX0" fmla="*/ 4327 w 18343"/>
                    <a:gd name="connsiteY0" fmla="*/ 1378 h 18484"/>
                    <a:gd name="connsiteX1" fmla="*/ 16946 w 18343"/>
                    <a:gd name="connsiteY1" fmla="*/ 4428 h 18484"/>
                    <a:gd name="connsiteX2" fmla="*/ 14016 w 18343"/>
                    <a:gd name="connsiteY2" fmla="*/ 17107 h 18484"/>
                    <a:gd name="connsiteX3" fmla="*/ 1397 w 18343"/>
                    <a:gd name="connsiteY3" fmla="*/ 14057 h 18484"/>
                    <a:gd name="connsiteX4" fmla="*/ 4327 w 18343"/>
                    <a:gd name="connsiteY4" fmla="*/ 137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4327" y="1378"/>
                      </a:moveTo>
                      <a:cubicBezTo>
                        <a:pt x="8633" y="-1314"/>
                        <a:pt x="14255" y="62"/>
                        <a:pt x="16946" y="4428"/>
                      </a:cubicBezTo>
                      <a:cubicBezTo>
                        <a:pt x="19638" y="8734"/>
                        <a:pt x="18323" y="14416"/>
                        <a:pt x="14016" y="17107"/>
                      </a:cubicBezTo>
                      <a:cubicBezTo>
                        <a:pt x="9710" y="19798"/>
                        <a:pt x="4089" y="18423"/>
                        <a:pt x="1397" y="14057"/>
                      </a:cubicBezTo>
                      <a:cubicBezTo>
                        <a:pt x="-1294" y="9691"/>
                        <a:pt x="21" y="4009"/>
                        <a:pt x="4327" y="1378"/>
                      </a:cubicBezTo>
                      <a:close/>
                    </a:path>
                  </a:pathLst>
                </a:custGeom>
                <a:grpFill/>
                <a:ln w="5978" cap="flat">
                  <a:noFill/>
                  <a:prstDash val="solid"/>
                  <a:miter/>
                </a:ln>
              </p:spPr>
              <p:txBody>
                <a:bodyPr rtlCol="0" anchor="ctr"/>
                <a:lstStyle/>
                <a:p>
                  <a:endParaRPr lang="en-GB"/>
                </a:p>
              </p:txBody>
            </p:sp>
            <p:sp>
              <p:nvSpPr>
                <p:cNvPr id="4808" name="Vrije vorm: vorm 4807">
                  <a:extLst>
                    <a:ext uri="{FF2B5EF4-FFF2-40B4-BE49-F238E27FC236}">
                      <a16:creationId xmlns:a16="http://schemas.microsoft.com/office/drawing/2014/main" id="{9F21A0D4-2EFD-4EFB-BDD2-89EDE777F83A}"/>
                    </a:ext>
                  </a:extLst>
                </p:cNvPr>
                <p:cNvSpPr/>
                <p:nvPr/>
              </p:nvSpPr>
              <p:spPr>
                <a:xfrm>
                  <a:off x="7474585" y="2522467"/>
                  <a:ext cx="18343" cy="18443"/>
                </a:xfrm>
                <a:custGeom>
                  <a:avLst/>
                  <a:gdLst>
                    <a:gd name="connsiteX0" fmla="*/ 4328 w 18343"/>
                    <a:gd name="connsiteY0" fmla="*/ 1378 h 18443"/>
                    <a:gd name="connsiteX1" fmla="*/ 1397 w 18343"/>
                    <a:gd name="connsiteY1" fmla="*/ 14057 h 18443"/>
                    <a:gd name="connsiteX2" fmla="*/ 14016 w 18343"/>
                    <a:gd name="connsiteY2" fmla="*/ 17107 h 18443"/>
                    <a:gd name="connsiteX3" fmla="*/ 16947 w 18343"/>
                    <a:gd name="connsiteY3" fmla="*/ 4428 h 18443"/>
                    <a:gd name="connsiteX4" fmla="*/ 4328 w 18343"/>
                    <a:gd name="connsiteY4" fmla="*/ 1378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3">
                      <a:moveTo>
                        <a:pt x="4328" y="1378"/>
                      </a:moveTo>
                      <a:cubicBezTo>
                        <a:pt x="21" y="4069"/>
                        <a:pt x="-1295" y="9691"/>
                        <a:pt x="1397" y="14057"/>
                      </a:cubicBezTo>
                      <a:cubicBezTo>
                        <a:pt x="4088" y="18363"/>
                        <a:pt x="9710" y="19738"/>
                        <a:pt x="14016" y="17107"/>
                      </a:cubicBezTo>
                      <a:cubicBezTo>
                        <a:pt x="18322" y="14416"/>
                        <a:pt x="19638" y="8794"/>
                        <a:pt x="16947" y="4428"/>
                      </a:cubicBezTo>
                      <a:cubicBezTo>
                        <a:pt x="14255" y="62"/>
                        <a:pt x="8634" y="-1314"/>
                        <a:pt x="4328" y="1378"/>
                      </a:cubicBezTo>
                      <a:close/>
                    </a:path>
                  </a:pathLst>
                </a:custGeom>
                <a:grpFill/>
                <a:ln w="5978" cap="flat">
                  <a:noFill/>
                  <a:prstDash val="solid"/>
                  <a:miter/>
                </a:ln>
              </p:spPr>
              <p:txBody>
                <a:bodyPr rtlCol="0" anchor="ctr"/>
                <a:lstStyle/>
                <a:p>
                  <a:endParaRPr lang="en-GB"/>
                </a:p>
              </p:txBody>
            </p:sp>
          </p:grpSp>
          <p:grpSp>
            <p:nvGrpSpPr>
              <p:cNvPr id="192" name="Graphic 3">
                <a:extLst>
                  <a:ext uri="{FF2B5EF4-FFF2-40B4-BE49-F238E27FC236}">
                    <a16:creationId xmlns:a16="http://schemas.microsoft.com/office/drawing/2014/main" id="{6192291F-064C-412C-84FC-78E01D165E59}"/>
                  </a:ext>
                </a:extLst>
              </p:cNvPr>
              <p:cNvGrpSpPr/>
              <p:nvPr/>
            </p:nvGrpSpPr>
            <p:grpSpPr>
              <a:xfrm>
                <a:off x="7347777" y="2208745"/>
                <a:ext cx="236732" cy="153296"/>
                <a:chOff x="7347777" y="2208745"/>
                <a:chExt cx="236732" cy="153296"/>
              </a:xfrm>
              <a:grpFill/>
            </p:grpSpPr>
            <p:sp>
              <p:nvSpPr>
                <p:cNvPr id="4803" name="Vrije vorm: vorm 4802">
                  <a:extLst>
                    <a:ext uri="{FF2B5EF4-FFF2-40B4-BE49-F238E27FC236}">
                      <a16:creationId xmlns:a16="http://schemas.microsoft.com/office/drawing/2014/main" id="{D0791AE8-7A86-4B54-A94C-71832C1455F4}"/>
                    </a:ext>
                  </a:extLst>
                </p:cNvPr>
                <p:cNvSpPr/>
                <p:nvPr/>
              </p:nvSpPr>
              <p:spPr>
                <a:xfrm>
                  <a:off x="7355942" y="2216210"/>
                  <a:ext cx="220734" cy="137901"/>
                </a:xfrm>
                <a:custGeom>
                  <a:avLst/>
                  <a:gdLst>
                    <a:gd name="connsiteX0" fmla="*/ 0 w 220734"/>
                    <a:gd name="connsiteY0" fmla="*/ 135306 h 137901"/>
                    <a:gd name="connsiteX1" fmla="*/ 219133 w 220734"/>
                    <a:gd name="connsiteY1" fmla="*/ 0 h 137901"/>
                    <a:gd name="connsiteX2" fmla="*/ 220735 w 220734"/>
                    <a:gd name="connsiteY2" fmla="*/ 2595 h 137901"/>
                    <a:gd name="connsiteX3" fmla="*/ 1603 w 220734"/>
                    <a:gd name="connsiteY3" fmla="*/ 137902 h 137901"/>
                  </a:gdLst>
                  <a:ahLst/>
                  <a:cxnLst>
                    <a:cxn ang="0">
                      <a:pos x="connsiteX0" y="connsiteY0"/>
                    </a:cxn>
                    <a:cxn ang="0">
                      <a:pos x="connsiteX1" y="connsiteY1"/>
                    </a:cxn>
                    <a:cxn ang="0">
                      <a:pos x="connsiteX2" y="connsiteY2"/>
                    </a:cxn>
                    <a:cxn ang="0">
                      <a:pos x="connsiteX3" y="connsiteY3"/>
                    </a:cxn>
                  </a:cxnLst>
                  <a:rect l="l" t="t" r="r" b="b"/>
                  <a:pathLst>
                    <a:path w="220734" h="137901">
                      <a:moveTo>
                        <a:pt x="0" y="135306"/>
                      </a:moveTo>
                      <a:lnTo>
                        <a:pt x="219133" y="0"/>
                      </a:lnTo>
                      <a:lnTo>
                        <a:pt x="220735" y="2595"/>
                      </a:lnTo>
                      <a:lnTo>
                        <a:pt x="1603" y="137902"/>
                      </a:lnTo>
                      <a:close/>
                    </a:path>
                  </a:pathLst>
                </a:custGeom>
                <a:grpFill/>
                <a:ln w="5978" cap="flat">
                  <a:noFill/>
                  <a:prstDash val="solid"/>
                  <a:miter/>
                </a:ln>
              </p:spPr>
              <p:txBody>
                <a:bodyPr rtlCol="0" anchor="ctr"/>
                <a:lstStyle/>
                <a:p>
                  <a:endParaRPr lang="en-GB"/>
                </a:p>
              </p:txBody>
            </p:sp>
            <p:sp>
              <p:nvSpPr>
                <p:cNvPr id="4804" name="Vrije vorm: vorm 4803">
                  <a:extLst>
                    <a:ext uri="{FF2B5EF4-FFF2-40B4-BE49-F238E27FC236}">
                      <a16:creationId xmlns:a16="http://schemas.microsoft.com/office/drawing/2014/main" id="{CAD63A13-6168-4BA1-8AC5-4E3FF70E2D4F}"/>
                    </a:ext>
                  </a:extLst>
                </p:cNvPr>
                <p:cNvSpPr/>
                <p:nvPr/>
              </p:nvSpPr>
              <p:spPr>
                <a:xfrm>
                  <a:off x="7347777" y="2343610"/>
                  <a:ext cx="18343" cy="18431"/>
                </a:xfrm>
                <a:custGeom>
                  <a:avLst/>
                  <a:gdLst>
                    <a:gd name="connsiteX0" fmla="*/ 13973 w 18343"/>
                    <a:gd name="connsiteY0" fmla="*/ 17080 h 18431"/>
                    <a:gd name="connsiteX1" fmla="*/ 1353 w 18343"/>
                    <a:gd name="connsiteY1" fmla="*/ 14030 h 18431"/>
                    <a:gd name="connsiteX2" fmla="*/ 4344 w 18343"/>
                    <a:gd name="connsiteY2" fmla="*/ 1351 h 18431"/>
                    <a:gd name="connsiteX3" fmla="*/ 16963 w 18343"/>
                    <a:gd name="connsiteY3" fmla="*/ 4401 h 18431"/>
                    <a:gd name="connsiteX4" fmla="*/ 13973 w 18343"/>
                    <a:gd name="connsiteY4" fmla="*/ 1708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31">
                      <a:moveTo>
                        <a:pt x="13973" y="17080"/>
                      </a:moveTo>
                      <a:cubicBezTo>
                        <a:pt x="9667" y="19712"/>
                        <a:pt x="4045" y="18396"/>
                        <a:pt x="1353" y="14030"/>
                      </a:cubicBezTo>
                      <a:cubicBezTo>
                        <a:pt x="-1278" y="9664"/>
                        <a:pt x="38" y="4042"/>
                        <a:pt x="4344" y="1351"/>
                      </a:cubicBezTo>
                      <a:cubicBezTo>
                        <a:pt x="8650" y="-1280"/>
                        <a:pt x="14272" y="35"/>
                        <a:pt x="16963" y="4401"/>
                      </a:cubicBezTo>
                      <a:cubicBezTo>
                        <a:pt x="19655" y="8707"/>
                        <a:pt x="18279" y="14389"/>
                        <a:pt x="13973" y="17080"/>
                      </a:cubicBezTo>
                      <a:close/>
                    </a:path>
                  </a:pathLst>
                </a:custGeom>
                <a:grpFill/>
                <a:ln w="5978" cap="flat">
                  <a:noFill/>
                  <a:prstDash val="solid"/>
                  <a:miter/>
                </a:ln>
              </p:spPr>
              <p:txBody>
                <a:bodyPr rtlCol="0" anchor="ctr"/>
                <a:lstStyle/>
                <a:p>
                  <a:endParaRPr lang="en-GB"/>
                </a:p>
              </p:txBody>
            </p:sp>
            <p:sp>
              <p:nvSpPr>
                <p:cNvPr id="4805" name="Vrije vorm: vorm 4804">
                  <a:extLst>
                    <a:ext uri="{FF2B5EF4-FFF2-40B4-BE49-F238E27FC236}">
                      <a16:creationId xmlns:a16="http://schemas.microsoft.com/office/drawing/2014/main" id="{4C42819A-E5E0-4358-8FE5-D22E9038D620}"/>
                    </a:ext>
                  </a:extLst>
                </p:cNvPr>
                <p:cNvSpPr/>
                <p:nvPr/>
              </p:nvSpPr>
              <p:spPr>
                <a:xfrm>
                  <a:off x="7566193" y="2208745"/>
                  <a:ext cx="18316" cy="18457"/>
                </a:xfrm>
                <a:custGeom>
                  <a:avLst/>
                  <a:gdLst>
                    <a:gd name="connsiteX0" fmla="*/ 13973 w 18316"/>
                    <a:gd name="connsiteY0" fmla="*/ 17080 h 18457"/>
                    <a:gd name="connsiteX1" fmla="*/ 16963 w 18316"/>
                    <a:gd name="connsiteY1" fmla="*/ 4401 h 18457"/>
                    <a:gd name="connsiteX2" fmla="*/ 4344 w 18316"/>
                    <a:gd name="connsiteY2" fmla="*/ 1351 h 18457"/>
                    <a:gd name="connsiteX3" fmla="*/ 1353 w 18316"/>
                    <a:gd name="connsiteY3" fmla="*/ 14030 h 18457"/>
                    <a:gd name="connsiteX4" fmla="*/ 13973 w 18316"/>
                    <a:gd name="connsiteY4" fmla="*/ 1708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7">
                      <a:moveTo>
                        <a:pt x="13973" y="17080"/>
                      </a:moveTo>
                      <a:cubicBezTo>
                        <a:pt x="18279" y="14449"/>
                        <a:pt x="19595" y="8767"/>
                        <a:pt x="16963" y="4401"/>
                      </a:cubicBezTo>
                      <a:cubicBezTo>
                        <a:pt x="14332" y="35"/>
                        <a:pt x="8650" y="-1280"/>
                        <a:pt x="4344" y="1351"/>
                      </a:cubicBezTo>
                      <a:cubicBezTo>
                        <a:pt x="38" y="3983"/>
                        <a:pt x="-1278" y="9664"/>
                        <a:pt x="1353" y="14030"/>
                      </a:cubicBezTo>
                      <a:cubicBezTo>
                        <a:pt x="3985" y="18396"/>
                        <a:pt x="9667" y="19772"/>
                        <a:pt x="13973" y="17080"/>
                      </a:cubicBezTo>
                      <a:close/>
                    </a:path>
                  </a:pathLst>
                </a:custGeom>
                <a:grpFill/>
                <a:ln w="5978" cap="flat">
                  <a:noFill/>
                  <a:prstDash val="solid"/>
                  <a:miter/>
                </a:ln>
              </p:spPr>
              <p:txBody>
                <a:bodyPr rtlCol="0" anchor="ctr"/>
                <a:lstStyle/>
                <a:p>
                  <a:endParaRPr lang="en-GB"/>
                </a:p>
              </p:txBody>
            </p:sp>
          </p:grpSp>
          <p:grpSp>
            <p:nvGrpSpPr>
              <p:cNvPr id="193" name="Graphic 3">
                <a:extLst>
                  <a:ext uri="{FF2B5EF4-FFF2-40B4-BE49-F238E27FC236}">
                    <a16:creationId xmlns:a16="http://schemas.microsoft.com/office/drawing/2014/main" id="{0AEC1BA7-E54E-4DFA-9444-30A6AA76E243}"/>
                  </a:ext>
                </a:extLst>
              </p:cNvPr>
              <p:cNvGrpSpPr/>
              <p:nvPr/>
            </p:nvGrpSpPr>
            <p:grpSpPr>
              <a:xfrm>
                <a:off x="7709223" y="3185188"/>
                <a:ext cx="152593" cy="35057"/>
                <a:chOff x="7709223" y="3185188"/>
                <a:chExt cx="152593" cy="35057"/>
              </a:xfrm>
              <a:grpFill/>
            </p:grpSpPr>
            <p:sp>
              <p:nvSpPr>
                <p:cNvPr id="4800" name="Vrije vorm: vorm 4799">
                  <a:extLst>
                    <a:ext uri="{FF2B5EF4-FFF2-40B4-BE49-F238E27FC236}">
                      <a16:creationId xmlns:a16="http://schemas.microsoft.com/office/drawing/2014/main" id="{4EDDE4FE-069B-4428-B8A4-35974441DBDB}"/>
                    </a:ext>
                  </a:extLst>
                </p:cNvPr>
                <p:cNvSpPr/>
                <p:nvPr/>
              </p:nvSpPr>
              <p:spPr>
                <a:xfrm>
                  <a:off x="7717722" y="3192788"/>
                  <a:ext cx="135643" cy="19796"/>
                </a:xfrm>
                <a:custGeom>
                  <a:avLst/>
                  <a:gdLst>
                    <a:gd name="connsiteX0" fmla="*/ 135224 w 135643"/>
                    <a:gd name="connsiteY0" fmla="*/ 0 h 19796"/>
                    <a:gd name="connsiteX1" fmla="*/ 135643 w 135643"/>
                    <a:gd name="connsiteY1" fmla="*/ 3050 h 19796"/>
                    <a:gd name="connsiteX2" fmla="*/ 419 w 135643"/>
                    <a:gd name="connsiteY2" fmla="*/ 19796 h 19796"/>
                    <a:gd name="connsiteX3" fmla="*/ 0 w 135643"/>
                    <a:gd name="connsiteY3" fmla="*/ 16746 h 19796"/>
                  </a:gdLst>
                  <a:ahLst/>
                  <a:cxnLst>
                    <a:cxn ang="0">
                      <a:pos x="connsiteX0" y="connsiteY0"/>
                    </a:cxn>
                    <a:cxn ang="0">
                      <a:pos x="connsiteX1" y="connsiteY1"/>
                    </a:cxn>
                    <a:cxn ang="0">
                      <a:pos x="connsiteX2" y="connsiteY2"/>
                    </a:cxn>
                    <a:cxn ang="0">
                      <a:pos x="connsiteX3" y="connsiteY3"/>
                    </a:cxn>
                  </a:cxnLst>
                  <a:rect l="l" t="t" r="r" b="b"/>
                  <a:pathLst>
                    <a:path w="135643" h="19796">
                      <a:moveTo>
                        <a:pt x="135224" y="0"/>
                      </a:moveTo>
                      <a:lnTo>
                        <a:pt x="135643" y="3050"/>
                      </a:lnTo>
                      <a:lnTo>
                        <a:pt x="419" y="19796"/>
                      </a:lnTo>
                      <a:lnTo>
                        <a:pt x="0" y="16746"/>
                      </a:lnTo>
                      <a:close/>
                    </a:path>
                  </a:pathLst>
                </a:custGeom>
                <a:grpFill/>
                <a:ln w="5978" cap="flat">
                  <a:noFill/>
                  <a:prstDash val="solid"/>
                  <a:miter/>
                </a:ln>
              </p:spPr>
              <p:txBody>
                <a:bodyPr rtlCol="0" anchor="ctr"/>
                <a:lstStyle/>
                <a:p>
                  <a:endParaRPr lang="en-GB"/>
                </a:p>
              </p:txBody>
            </p:sp>
            <p:sp>
              <p:nvSpPr>
                <p:cNvPr id="4801" name="Vrije vorm: vorm 4800">
                  <a:extLst>
                    <a:ext uri="{FF2B5EF4-FFF2-40B4-BE49-F238E27FC236}">
                      <a16:creationId xmlns:a16="http://schemas.microsoft.com/office/drawing/2014/main" id="{D7CBEE69-99A3-4D3C-9D42-B9B0390BF2FC}"/>
                    </a:ext>
                  </a:extLst>
                </p:cNvPr>
                <p:cNvSpPr/>
                <p:nvPr/>
              </p:nvSpPr>
              <p:spPr>
                <a:xfrm>
                  <a:off x="7843491" y="3185188"/>
                  <a:ext cx="18325" cy="18431"/>
                </a:xfrm>
                <a:custGeom>
                  <a:avLst/>
                  <a:gdLst>
                    <a:gd name="connsiteX0" fmla="*/ 8020 w 18325"/>
                    <a:gd name="connsiteY0" fmla="*/ 65 h 18431"/>
                    <a:gd name="connsiteX1" fmla="*/ 18248 w 18325"/>
                    <a:gd name="connsiteY1" fmla="*/ 8079 h 18431"/>
                    <a:gd name="connsiteX2" fmla="*/ 10293 w 18325"/>
                    <a:gd name="connsiteY2" fmla="*/ 18366 h 18431"/>
                    <a:gd name="connsiteX3" fmla="*/ 66 w 18325"/>
                    <a:gd name="connsiteY3" fmla="*/ 10352 h 18431"/>
                    <a:gd name="connsiteX4" fmla="*/ 8020 w 18325"/>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1">
                      <a:moveTo>
                        <a:pt x="8020" y="65"/>
                      </a:moveTo>
                      <a:cubicBezTo>
                        <a:pt x="13044" y="-533"/>
                        <a:pt x="17649" y="3055"/>
                        <a:pt x="18248" y="8079"/>
                      </a:cubicBezTo>
                      <a:cubicBezTo>
                        <a:pt x="18905" y="13103"/>
                        <a:pt x="15316" y="17708"/>
                        <a:pt x="10293" y="18366"/>
                      </a:cubicBezTo>
                      <a:cubicBezTo>
                        <a:pt x="5269" y="18964"/>
                        <a:pt x="664" y="15376"/>
                        <a:pt x="66" y="10352"/>
                      </a:cubicBezTo>
                      <a:cubicBezTo>
                        <a:pt x="-532" y="5268"/>
                        <a:pt x="2997" y="663"/>
                        <a:pt x="8020" y="65"/>
                      </a:cubicBezTo>
                      <a:close/>
                    </a:path>
                  </a:pathLst>
                </a:custGeom>
                <a:grpFill/>
                <a:ln w="5978" cap="flat">
                  <a:noFill/>
                  <a:prstDash val="solid"/>
                  <a:miter/>
                </a:ln>
              </p:spPr>
              <p:txBody>
                <a:bodyPr rtlCol="0" anchor="ctr"/>
                <a:lstStyle/>
                <a:p>
                  <a:endParaRPr lang="en-GB"/>
                </a:p>
              </p:txBody>
            </p:sp>
            <p:sp>
              <p:nvSpPr>
                <p:cNvPr id="4802" name="Vrije vorm: vorm 4801">
                  <a:extLst>
                    <a:ext uri="{FF2B5EF4-FFF2-40B4-BE49-F238E27FC236}">
                      <a16:creationId xmlns:a16="http://schemas.microsoft.com/office/drawing/2014/main" id="{55A23A75-B5FB-48A0-8DFC-BF5524C94375}"/>
                    </a:ext>
                  </a:extLst>
                </p:cNvPr>
                <p:cNvSpPr/>
                <p:nvPr/>
              </p:nvSpPr>
              <p:spPr>
                <a:xfrm>
                  <a:off x="7709223" y="3201814"/>
                  <a:ext cx="18313" cy="18431"/>
                </a:xfrm>
                <a:custGeom>
                  <a:avLst/>
                  <a:gdLst>
                    <a:gd name="connsiteX0" fmla="*/ 8021 w 18313"/>
                    <a:gd name="connsiteY0" fmla="*/ 65 h 18431"/>
                    <a:gd name="connsiteX1" fmla="*/ 66 w 18313"/>
                    <a:gd name="connsiteY1" fmla="*/ 10352 h 18431"/>
                    <a:gd name="connsiteX2" fmla="*/ 10294 w 18313"/>
                    <a:gd name="connsiteY2" fmla="*/ 18366 h 18431"/>
                    <a:gd name="connsiteX3" fmla="*/ 18248 w 18313"/>
                    <a:gd name="connsiteY3" fmla="*/ 8079 h 18431"/>
                    <a:gd name="connsiteX4" fmla="*/ 8021 w 18313"/>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8021" y="65"/>
                      </a:moveTo>
                      <a:cubicBezTo>
                        <a:pt x="2997" y="663"/>
                        <a:pt x="-532" y="5268"/>
                        <a:pt x="66" y="10352"/>
                      </a:cubicBezTo>
                      <a:cubicBezTo>
                        <a:pt x="725" y="15376"/>
                        <a:pt x="5269" y="18964"/>
                        <a:pt x="10294" y="18366"/>
                      </a:cubicBezTo>
                      <a:cubicBezTo>
                        <a:pt x="15317" y="17768"/>
                        <a:pt x="18846" y="13163"/>
                        <a:pt x="18248" y="8079"/>
                      </a:cubicBezTo>
                      <a:cubicBezTo>
                        <a:pt x="17590" y="3055"/>
                        <a:pt x="12985" y="-533"/>
                        <a:pt x="8021" y="65"/>
                      </a:cubicBezTo>
                      <a:close/>
                    </a:path>
                  </a:pathLst>
                </a:custGeom>
                <a:grpFill/>
                <a:ln w="5978" cap="flat">
                  <a:noFill/>
                  <a:prstDash val="solid"/>
                  <a:miter/>
                </a:ln>
              </p:spPr>
              <p:txBody>
                <a:bodyPr rtlCol="0" anchor="ctr"/>
                <a:lstStyle/>
                <a:p>
                  <a:endParaRPr lang="en-GB"/>
                </a:p>
              </p:txBody>
            </p:sp>
          </p:grpSp>
          <p:grpSp>
            <p:nvGrpSpPr>
              <p:cNvPr id="194" name="Graphic 3">
                <a:extLst>
                  <a:ext uri="{FF2B5EF4-FFF2-40B4-BE49-F238E27FC236}">
                    <a16:creationId xmlns:a16="http://schemas.microsoft.com/office/drawing/2014/main" id="{8237CFF6-330A-4C27-911F-F1525FD7314A}"/>
                  </a:ext>
                </a:extLst>
              </p:cNvPr>
              <p:cNvGrpSpPr/>
              <p:nvPr/>
            </p:nvGrpSpPr>
            <p:grpSpPr>
              <a:xfrm>
                <a:off x="7487462" y="2480764"/>
                <a:ext cx="137402" cy="89119"/>
                <a:chOff x="7487462" y="2480764"/>
                <a:chExt cx="137402" cy="89119"/>
              </a:xfrm>
              <a:grpFill/>
            </p:grpSpPr>
            <p:sp>
              <p:nvSpPr>
                <p:cNvPr id="4797" name="Vrije vorm: vorm 4796">
                  <a:extLst>
                    <a:ext uri="{FF2B5EF4-FFF2-40B4-BE49-F238E27FC236}">
                      <a16:creationId xmlns:a16="http://schemas.microsoft.com/office/drawing/2014/main" id="{C99F3E97-9C19-4387-87E9-4AA0B9C60523}"/>
                    </a:ext>
                  </a:extLst>
                </p:cNvPr>
                <p:cNvSpPr/>
                <p:nvPr/>
              </p:nvSpPr>
              <p:spPr>
                <a:xfrm>
                  <a:off x="7495479" y="2488379"/>
                  <a:ext cx="121349" cy="73861"/>
                </a:xfrm>
                <a:custGeom>
                  <a:avLst/>
                  <a:gdLst>
                    <a:gd name="connsiteX0" fmla="*/ 121349 w 121349"/>
                    <a:gd name="connsiteY0" fmla="*/ 2631 h 73861"/>
                    <a:gd name="connsiteX1" fmla="*/ 1555 w 121349"/>
                    <a:gd name="connsiteY1" fmla="*/ 73862 h 73861"/>
                    <a:gd name="connsiteX2" fmla="*/ 0 w 121349"/>
                    <a:gd name="connsiteY2" fmla="*/ 71230 h 73861"/>
                    <a:gd name="connsiteX3" fmla="*/ 119794 w 121349"/>
                    <a:gd name="connsiteY3" fmla="*/ 0 h 73861"/>
                  </a:gdLst>
                  <a:ahLst/>
                  <a:cxnLst>
                    <a:cxn ang="0">
                      <a:pos x="connsiteX0" y="connsiteY0"/>
                    </a:cxn>
                    <a:cxn ang="0">
                      <a:pos x="connsiteX1" y="connsiteY1"/>
                    </a:cxn>
                    <a:cxn ang="0">
                      <a:pos x="connsiteX2" y="connsiteY2"/>
                    </a:cxn>
                    <a:cxn ang="0">
                      <a:pos x="connsiteX3" y="connsiteY3"/>
                    </a:cxn>
                  </a:cxnLst>
                  <a:rect l="l" t="t" r="r" b="b"/>
                  <a:pathLst>
                    <a:path w="121349" h="73861">
                      <a:moveTo>
                        <a:pt x="121349" y="2631"/>
                      </a:moveTo>
                      <a:lnTo>
                        <a:pt x="1555" y="73862"/>
                      </a:lnTo>
                      <a:lnTo>
                        <a:pt x="0" y="71230"/>
                      </a:lnTo>
                      <a:lnTo>
                        <a:pt x="119794" y="0"/>
                      </a:lnTo>
                      <a:close/>
                    </a:path>
                  </a:pathLst>
                </a:custGeom>
                <a:grpFill/>
                <a:ln w="5978" cap="flat">
                  <a:noFill/>
                  <a:prstDash val="solid"/>
                  <a:miter/>
                </a:ln>
              </p:spPr>
              <p:txBody>
                <a:bodyPr rtlCol="0" anchor="ctr"/>
                <a:lstStyle/>
                <a:p>
                  <a:endParaRPr lang="en-GB"/>
                </a:p>
              </p:txBody>
            </p:sp>
            <p:sp>
              <p:nvSpPr>
                <p:cNvPr id="4798" name="Vrije vorm: vorm 4797">
                  <a:extLst>
                    <a:ext uri="{FF2B5EF4-FFF2-40B4-BE49-F238E27FC236}">
                      <a16:creationId xmlns:a16="http://schemas.microsoft.com/office/drawing/2014/main" id="{21733D36-02F9-43D5-916B-95B0331C7286}"/>
                    </a:ext>
                  </a:extLst>
                </p:cNvPr>
                <p:cNvSpPr/>
                <p:nvPr/>
              </p:nvSpPr>
              <p:spPr>
                <a:xfrm>
                  <a:off x="7606538" y="2480764"/>
                  <a:ext cx="18325" cy="18400"/>
                </a:xfrm>
                <a:custGeom>
                  <a:avLst/>
                  <a:gdLst>
                    <a:gd name="connsiteX0" fmla="*/ 4488 w 18325"/>
                    <a:gd name="connsiteY0" fmla="*/ 1276 h 18400"/>
                    <a:gd name="connsiteX1" fmla="*/ 17048 w 18325"/>
                    <a:gd name="connsiteY1" fmla="*/ 4506 h 18400"/>
                    <a:gd name="connsiteX2" fmla="*/ 13878 w 18325"/>
                    <a:gd name="connsiteY2" fmla="*/ 17125 h 18400"/>
                    <a:gd name="connsiteX3" fmla="*/ 1318 w 18325"/>
                    <a:gd name="connsiteY3" fmla="*/ 13895 h 18400"/>
                    <a:gd name="connsiteX4" fmla="*/ 4488 w 18325"/>
                    <a:gd name="connsiteY4" fmla="*/ 127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0">
                      <a:moveTo>
                        <a:pt x="4488" y="1276"/>
                      </a:moveTo>
                      <a:cubicBezTo>
                        <a:pt x="8854" y="-1296"/>
                        <a:pt x="14476" y="140"/>
                        <a:pt x="17048" y="4506"/>
                      </a:cubicBezTo>
                      <a:cubicBezTo>
                        <a:pt x="19620" y="8872"/>
                        <a:pt x="18184" y="14553"/>
                        <a:pt x="13878" y="17125"/>
                      </a:cubicBezTo>
                      <a:cubicBezTo>
                        <a:pt x="9512" y="19697"/>
                        <a:pt x="3890" y="18261"/>
                        <a:pt x="1318" y="13895"/>
                      </a:cubicBezTo>
                      <a:cubicBezTo>
                        <a:pt x="-1313" y="9470"/>
                        <a:pt x="122" y="3848"/>
                        <a:pt x="4488" y="1276"/>
                      </a:cubicBezTo>
                      <a:close/>
                    </a:path>
                  </a:pathLst>
                </a:custGeom>
                <a:grpFill/>
                <a:ln w="5978" cap="flat">
                  <a:noFill/>
                  <a:prstDash val="solid"/>
                  <a:miter/>
                </a:ln>
              </p:spPr>
              <p:txBody>
                <a:bodyPr rtlCol="0" anchor="ctr"/>
                <a:lstStyle/>
                <a:p>
                  <a:endParaRPr lang="en-GB"/>
                </a:p>
              </p:txBody>
            </p:sp>
            <p:sp>
              <p:nvSpPr>
                <p:cNvPr id="4799" name="Vrije vorm: vorm 4798">
                  <a:extLst>
                    <a:ext uri="{FF2B5EF4-FFF2-40B4-BE49-F238E27FC236}">
                      <a16:creationId xmlns:a16="http://schemas.microsoft.com/office/drawing/2014/main" id="{45827758-389B-4ED0-B245-C160CB69B63F}"/>
                    </a:ext>
                  </a:extLst>
                </p:cNvPr>
                <p:cNvSpPr/>
                <p:nvPr/>
              </p:nvSpPr>
              <p:spPr>
                <a:xfrm>
                  <a:off x="7487462" y="2551456"/>
                  <a:ext cx="18366" cy="18427"/>
                </a:xfrm>
                <a:custGeom>
                  <a:avLst/>
                  <a:gdLst>
                    <a:gd name="connsiteX0" fmla="*/ 4488 w 18366"/>
                    <a:gd name="connsiteY0" fmla="*/ 1276 h 18427"/>
                    <a:gd name="connsiteX1" fmla="*/ 1318 w 18366"/>
                    <a:gd name="connsiteY1" fmla="*/ 13895 h 18427"/>
                    <a:gd name="connsiteX2" fmla="*/ 13878 w 18366"/>
                    <a:gd name="connsiteY2" fmla="*/ 17125 h 18427"/>
                    <a:gd name="connsiteX3" fmla="*/ 17048 w 18366"/>
                    <a:gd name="connsiteY3" fmla="*/ 4506 h 18427"/>
                    <a:gd name="connsiteX4" fmla="*/ 4488 w 18366"/>
                    <a:gd name="connsiteY4" fmla="*/ 127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7">
                      <a:moveTo>
                        <a:pt x="4488" y="1276"/>
                      </a:moveTo>
                      <a:cubicBezTo>
                        <a:pt x="122" y="3848"/>
                        <a:pt x="-1313" y="9529"/>
                        <a:pt x="1318" y="13895"/>
                      </a:cubicBezTo>
                      <a:cubicBezTo>
                        <a:pt x="3890" y="18261"/>
                        <a:pt x="9512" y="19756"/>
                        <a:pt x="13878" y="17125"/>
                      </a:cubicBezTo>
                      <a:cubicBezTo>
                        <a:pt x="18244" y="14553"/>
                        <a:pt x="19679" y="8872"/>
                        <a:pt x="17048" y="4506"/>
                      </a:cubicBezTo>
                      <a:cubicBezTo>
                        <a:pt x="14476" y="140"/>
                        <a:pt x="8854" y="-1296"/>
                        <a:pt x="4488" y="1276"/>
                      </a:cubicBezTo>
                      <a:close/>
                    </a:path>
                  </a:pathLst>
                </a:custGeom>
                <a:grpFill/>
                <a:ln w="5978" cap="flat">
                  <a:noFill/>
                  <a:prstDash val="solid"/>
                  <a:miter/>
                </a:ln>
              </p:spPr>
              <p:txBody>
                <a:bodyPr rtlCol="0" anchor="ctr"/>
                <a:lstStyle/>
                <a:p>
                  <a:endParaRPr lang="en-GB"/>
                </a:p>
              </p:txBody>
            </p:sp>
          </p:grpSp>
          <p:grpSp>
            <p:nvGrpSpPr>
              <p:cNvPr id="195" name="Graphic 3">
                <a:extLst>
                  <a:ext uri="{FF2B5EF4-FFF2-40B4-BE49-F238E27FC236}">
                    <a16:creationId xmlns:a16="http://schemas.microsoft.com/office/drawing/2014/main" id="{142FA238-4376-4A21-A112-D6E09BB3044B}"/>
                  </a:ext>
                </a:extLst>
              </p:cNvPr>
              <p:cNvGrpSpPr/>
              <p:nvPr/>
            </p:nvGrpSpPr>
            <p:grpSpPr>
              <a:xfrm>
                <a:off x="7499884" y="2521028"/>
                <a:ext cx="123051" cy="77999"/>
                <a:chOff x="7499884" y="2521028"/>
                <a:chExt cx="123051" cy="77999"/>
              </a:xfrm>
              <a:grpFill/>
            </p:grpSpPr>
            <p:sp>
              <p:nvSpPr>
                <p:cNvPr id="4794" name="Vrije vorm: vorm 4793">
                  <a:extLst>
                    <a:ext uri="{FF2B5EF4-FFF2-40B4-BE49-F238E27FC236}">
                      <a16:creationId xmlns:a16="http://schemas.microsoft.com/office/drawing/2014/main" id="{7BD309EB-3EA5-4C50-98F0-EAC40CA457A3}"/>
                    </a:ext>
                  </a:extLst>
                </p:cNvPr>
                <p:cNvSpPr/>
                <p:nvPr/>
              </p:nvSpPr>
              <p:spPr>
                <a:xfrm>
                  <a:off x="7508093" y="2529013"/>
                  <a:ext cx="107036" cy="62687"/>
                </a:xfrm>
                <a:custGeom>
                  <a:avLst/>
                  <a:gdLst>
                    <a:gd name="connsiteX0" fmla="*/ 0 w 107036"/>
                    <a:gd name="connsiteY0" fmla="*/ 60037 h 62687"/>
                    <a:gd name="connsiteX1" fmla="*/ 105528 w 107036"/>
                    <a:gd name="connsiteY1" fmla="*/ 0 h 62687"/>
                    <a:gd name="connsiteX2" fmla="*/ 107037 w 107036"/>
                    <a:gd name="connsiteY2" fmla="*/ 2651 h 62687"/>
                    <a:gd name="connsiteX3" fmla="*/ 1508 w 107036"/>
                    <a:gd name="connsiteY3" fmla="*/ 62688 h 62687"/>
                  </a:gdLst>
                  <a:ahLst/>
                  <a:cxnLst>
                    <a:cxn ang="0">
                      <a:pos x="connsiteX0" y="connsiteY0"/>
                    </a:cxn>
                    <a:cxn ang="0">
                      <a:pos x="connsiteX1" y="connsiteY1"/>
                    </a:cxn>
                    <a:cxn ang="0">
                      <a:pos x="connsiteX2" y="connsiteY2"/>
                    </a:cxn>
                    <a:cxn ang="0">
                      <a:pos x="connsiteX3" y="connsiteY3"/>
                    </a:cxn>
                  </a:cxnLst>
                  <a:rect l="l" t="t" r="r" b="b"/>
                  <a:pathLst>
                    <a:path w="107036" h="62687">
                      <a:moveTo>
                        <a:pt x="0" y="60037"/>
                      </a:moveTo>
                      <a:lnTo>
                        <a:pt x="105528" y="0"/>
                      </a:lnTo>
                      <a:lnTo>
                        <a:pt x="107037" y="2651"/>
                      </a:lnTo>
                      <a:lnTo>
                        <a:pt x="1508" y="62688"/>
                      </a:lnTo>
                      <a:close/>
                    </a:path>
                  </a:pathLst>
                </a:custGeom>
                <a:grpFill/>
                <a:ln w="5978" cap="flat">
                  <a:noFill/>
                  <a:prstDash val="solid"/>
                  <a:miter/>
                </a:ln>
              </p:spPr>
              <p:txBody>
                <a:bodyPr rtlCol="0" anchor="ctr"/>
                <a:lstStyle/>
                <a:p>
                  <a:endParaRPr lang="en-GB"/>
                </a:p>
              </p:txBody>
            </p:sp>
            <p:sp>
              <p:nvSpPr>
                <p:cNvPr id="4795" name="Vrije vorm: vorm 4794">
                  <a:extLst>
                    <a:ext uri="{FF2B5EF4-FFF2-40B4-BE49-F238E27FC236}">
                      <a16:creationId xmlns:a16="http://schemas.microsoft.com/office/drawing/2014/main" id="{11047162-D2C7-4434-82B2-8429F8F6AD73}"/>
                    </a:ext>
                  </a:extLst>
                </p:cNvPr>
                <p:cNvSpPr/>
                <p:nvPr/>
              </p:nvSpPr>
              <p:spPr>
                <a:xfrm>
                  <a:off x="7604580" y="2521028"/>
                  <a:ext cx="18355" cy="18431"/>
                </a:xfrm>
                <a:custGeom>
                  <a:avLst/>
                  <a:gdLst>
                    <a:gd name="connsiteX0" fmla="*/ 4652 w 18355"/>
                    <a:gd name="connsiteY0" fmla="*/ 1201 h 18431"/>
                    <a:gd name="connsiteX1" fmla="*/ 17152 w 18355"/>
                    <a:gd name="connsiteY1" fmla="*/ 4670 h 18431"/>
                    <a:gd name="connsiteX2" fmla="*/ 13743 w 18355"/>
                    <a:gd name="connsiteY2" fmla="*/ 17230 h 18431"/>
                    <a:gd name="connsiteX3" fmla="*/ 1243 w 18355"/>
                    <a:gd name="connsiteY3" fmla="*/ 13761 h 18431"/>
                    <a:gd name="connsiteX4" fmla="*/ 4652 w 18355"/>
                    <a:gd name="connsiteY4" fmla="*/ 120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31">
                      <a:moveTo>
                        <a:pt x="4652" y="1201"/>
                      </a:moveTo>
                      <a:cubicBezTo>
                        <a:pt x="9078" y="-1310"/>
                        <a:pt x="14640" y="245"/>
                        <a:pt x="17152" y="4670"/>
                      </a:cubicBezTo>
                      <a:cubicBezTo>
                        <a:pt x="19664" y="9096"/>
                        <a:pt x="18109" y="14718"/>
                        <a:pt x="13743" y="17230"/>
                      </a:cubicBezTo>
                      <a:cubicBezTo>
                        <a:pt x="9317" y="19742"/>
                        <a:pt x="3755" y="18187"/>
                        <a:pt x="1243" y="13761"/>
                      </a:cubicBezTo>
                      <a:cubicBezTo>
                        <a:pt x="-1329" y="9275"/>
                        <a:pt x="226" y="3654"/>
                        <a:pt x="4652" y="1201"/>
                      </a:cubicBezTo>
                      <a:close/>
                    </a:path>
                  </a:pathLst>
                </a:custGeom>
                <a:grpFill/>
                <a:ln w="5978" cap="flat">
                  <a:noFill/>
                  <a:prstDash val="solid"/>
                  <a:miter/>
                </a:ln>
              </p:spPr>
              <p:txBody>
                <a:bodyPr rtlCol="0" anchor="ctr"/>
                <a:lstStyle/>
                <a:p>
                  <a:endParaRPr lang="en-GB"/>
                </a:p>
              </p:txBody>
            </p:sp>
            <p:sp>
              <p:nvSpPr>
                <p:cNvPr id="4796" name="Vrije vorm: vorm 4795">
                  <a:extLst>
                    <a:ext uri="{FF2B5EF4-FFF2-40B4-BE49-F238E27FC236}">
                      <a16:creationId xmlns:a16="http://schemas.microsoft.com/office/drawing/2014/main" id="{4D3B1982-1793-4F6E-BAEC-C523382F9D04}"/>
                    </a:ext>
                  </a:extLst>
                </p:cNvPr>
                <p:cNvSpPr/>
                <p:nvPr/>
              </p:nvSpPr>
              <p:spPr>
                <a:xfrm>
                  <a:off x="7499884" y="2580596"/>
                  <a:ext cx="18328" cy="18431"/>
                </a:xfrm>
                <a:custGeom>
                  <a:avLst/>
                  <a:gdLst>
                    <a:gd name="connsiteX0" fmla="*/ 4625 w 18328"/>
                    <a:gd name="connsiteY0" fmla="*/ 1202 h 18431"/>
                    <a:gd name="connsiteX1" fmla="*/ 1217 w 18328"/>
                    <a:gd name="connsiteY1" fmla="*/ 13761 h 18431"/>
                    <a:gd name="connsiteX2" fmla="*/ 13716 w 18328"/>
                    <a:gd name="connsiteY2" fmla="*/ 17230 h 18431"/>
                    <a:gd name="connsiteX3" fmla="*/ 17126 w 18328"/>
                    <a:gd name="connsiteY3" fmla="*/ 4670 h 18431"/>
                    <a:gd name="connsiteX4" fmla="*/ 4625 w 18328"/>
                    <a:gd name="connsiteY4" fmla="*/ 12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25" y="1202"/>
                      </a:moveTo>
                      <a:cubicBezTo>
                        <a:pt x="200" y="3713"/>
                        <a:pt x="-1296" y="9335"/>
                        <a:pt x="1217" y="13761"/>
                      </a:cubicBezTo>
                      <a:cubicBezTo>
                        <a:pt x="3729" y="18187"/>
                        <a:pt x="9350" y="19742"/>
                        <a:pt x="13716" y="17230"/>
                      </a:cubicBezTo>
                      <a:cubicBezTo>
                        <a:pt x="18082" y="14718"/>
                        <a:pt x="19637" y="9096"/>
                        <a:pt x="17126" y="4670"/>
                      </a:cubicBezTo>
                      <a:cubicBezTo>
                        <a:pt x="14613" y="245"/>
                        <a:pt x="8992" y="-1310"/>
                        <a:pt x="4625" y="1202"/>
                      </a:cubicBezTo>
                      <a:close/>
                    </a:path>
                  </a:pathLst>
                </a:custGeom>
                <a:grpFill/>
                <a:ln w="5978" cap="flat">
                  <a:noFill/>
                  <a:prstDash val="solid"/>
                  <a:miter/>
                </a:ln>
              </p:spPr>
              <p:txBody>
                <a:bodyPr rtlCol="0" anchor="ctr"/>
                <a:lstStyle/>
                <a:p>
                  <a:endParaRPr lang="en-GB"/>
                </a:p>
              </p:txBody>
            </p:sp>
          </p:grpSp>
          <p:grpSp>
            <p:nvGrpSpPr>
              <p:cNvPr id="196" name="Graphic 3">
                <a:extLst>
                  <a:ext uri="{FF2B5EF4-FFF2-40B4-BE49-F238E27FC236}">
                    <a16:creationId xmlns:a16="http://schemas.microsoft.com/office/drawing/2014/main" id="{86104ACB-7BDF-4683-A015-9B4B688639D2}"/>
                  </a:ext>
                </a:extLst>
              </p:cNvPr>
              <p:cNvGrpSpPr/>
              <p:nvPr/>
            </p:nvGrpSpPr>
            <p:grpSpPr>
              <a:xfrm>
                <a:off x="7812258" y="3655125"/>
                <a:ext cx="219186" cy="46595"/>
                <a:chOff x="7812258" y="3655125"/>
                <a:chExt cx="219186" cy="46595"/>
              </a:xfrm>
              <a:grpFill/>
            </p:grpSpPr>
            <p:sp>
              <p:nvSpPr>
                <p:cNvPr id="4791" name="Vrije vorm: vorm 4790">
                  <a:extLst>
                    <a:ext uri="{FF2B5EF4-FFF2-40B4-BE49-F238E27FC236}">
                      <a16:creationId xmlns:a16="http://schemas.microsoft.com/office/drawing/2014/main" id="{B7E051C6-AAF7-4826-B0BC-6C5D3DFC7D83}"/>
                    </a:ext>
                  </a:extLst>
                </p:cNvPr>
                <p:cNvSpPr/>
                <p:nvPr/>
              </p:nvSpPr>
              <p:spPr>
                <a:xfrm>
                  <a:off x="7820770" y="3662813"/>
                  <a:ext cx="202148" cy="31279"/>
                </a:xfrm>
                <a:custGeom>
                  <a:avLst/>
                  <a:gdLst>
                    <a:gd name="connsiteX0" fmla="*/ 202149 w 202148"/>
                    <a:gd name="connsiteY0" fmla="*/ 28229 h 31279"/>
                    <a:gd name="connsiteX1" fmla="*/ 201730 w 202148"/>
                    <a:gd name="connsiteY1" fmla="*/ 31279 h 31279"/>
                    <a:gd name="connsiteX2" fmla="*/ 0 w 202148"/>
                    <a:gd name="connsiteY2" fmla="*/ 2990 h 31279"/>
                    <a:gd name="connsiteX3" fmla="*/ 359 w 202148"/>
                    <a:gd name="connsiteY3" fmla="*/ 0 h 31279"/>
                  </a:gdLst>
                  <a:ahLst/>
                  <a:cxnLst>
                    <a:cxn ang="0">
                      <a:pos x="connsiteX0" y="connsiteY0"/>
                    </a:cxn>
                    <a:cxn ang="0">
                      <a:pos x="connsiteX1" y="connsiteY1"/>
                    </a:cxn>
                    <a:cxn ang="0">
                      <a:pos x="connsiteX2" y="connsiteY2"/>
                    </a:cxn>
                    <a:cxn ang="0">
                      <a:pos x="connsiteX3" y="connsiteY3"/>
                    </a:cxn>
                  </a:cxnLst>
                  <a:rect l="l" t="t" r="r" b="b"/>
                  <a:pathLst>
                    <a:path w="202148" h="31279">
                      <a:moveTo>
                        <a:pt x="202149" y="28229"/>
                      </a:moveTo>
                      <a:lnTo>
                        <a:pt x="201730" y="31279"/>
                      </a:lnTo>
                      <a:lnTo>
                        <a:pt x="0" y="2990"/>
                      </a:lnTo>
                      <a:lnTo>
                        <a:pt x="359" y="0"/>
                      </a:lnTo>
                      <a:close/>
                    </a:path>
                  </a:pathLst>
                </a:custGeom>
                <a:grpFill/>
                <a:ln w="5978" cap="flat">
                  <a:noFill/>
                  <a:prstDash val="solid"/>
                  <a:miter/>
                </a:ln>
              </p:spPr>
              <p:txBody>
                <a:bodyPr rtlCol="0" anchor="ctr"/>
                <a:lstStyle/>
                <a:p>
                  <a:endParaRPr lang="en-GB"/>
                </a:p>
              </p:txBody>
            </p:sp>
            <p:sp>
              <p:nvSpPr>
                <p:cNvPr id="4792" name="Vrije vorm: vorm 4791">
                  <a:extLst>
                    <a:ext uri="{FF2B5EF4-FFF2-40B4-BE49-F238E27FC236}">
                      <a16:creationId xmlns:a16="http://schemas.microsoft.com/office/drawing/2014/main" id="{0FF0123E-894C-43A4-BF2C-91DBECF85246}"/>
                    </a:ext>
                  </a:extLst>
                </p:cNvPr>
                <p:cNvSpPr/>
                <p:nvPr/>
              </p:nvSpPr>
              <p:spPr>
                <a:xfrm>
                  <a:off x="8013137" y="3683294"/>
                  <a:ext cx="18307" cy="18426"/>
                </a:xfrm>
                <a:custGeom>
                  <a:avLst/>
                  <a:gdLst>
                    <a:gd name="connsiteX0" fmla="*/ 10379 w 18307"/>
                    <a:gd name="connsiteY0" fmla="*/ 93 h 18426"/>
                    <a:gd name="connsiteX1" fmla="*/ 18214 w 18307"/>
                    <a:gd name="connsiteY1" fmla="*/ 10499 h 18426"/>
                    <a:gd name="connsiteX2" fmla="*/ 7927 w 18307"/>
                    <a:gd name="connsiteY2" fmla="*/ 18334 h 18426"/>
                    <a:gd name="connsiteX3" fmla="*/ 93 w 18307"/>
                    <a:gd name="connsiteY3" fmla="*/ 7927 h 18426"/>
                    <a:gd name="connsiteX4" fmla="*/ 10379 w 18307"/>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10379" y="93"/>
                      </a:moveTo>
                      <a:cubicBezTo>
                        <a:pt x="15403" y="810"/>
                        <a:pt x="18932" y="5475"/>
                        <a:pt x="18214" y="10499"/>
                      </a:cubicBezTo>
                      <a:cubicBezTo>
                        <a:pt x="17497" y="15523"/>
                        <a:pt x="12892" y="19052"/>
                        <a:pt x="7927" y="18334"/>
                      </a:cubicBezTo>
                      <a:cubicBezTo>
                        <a:pt x="2903" y="17616"/>
                        <a:pt x="-625" y="12951"/>
                        <a:pt x="93" y="7927"/>
                      </a:cubicBezTo>
                      <a:cubicBezTo>
                        <a:pt x="810" y="2904"/>
                        <a:pt x="5356" y="-625"/>
                        <a:pt x="10379" y="93"/>
                      </a:cubicBezTo>
                      <a:close/>
                    </a:path>
                  </a:pathLst>
                </a:custGeom>
                <a:grpFill/>
                <a:ln w="5978" cap="flat">
                  <a:noFill/>
                  <a:prstDash val="solid"/>
                  <a:miter/>
                </a:ln>
              </p:spPr>
              <p:txBody>
                <a:bodyPr rtlCol="0" anchor="ctr"/>
                <a:lstStyle/>
                <a:p>
                  <a:endParaRPr lang="en-GB"/>
                </a:p>
              </p:txBody>
            </p:sp>
            <p:sp>
              <p:nvSpPr>
                <p:cNvPr id="4793" name="Vrije vorm: vorm 4792">
                  <a:extLst>
                    <a:ext uri="{FF2B5EF4-FFF2-40B4-BE49-F238E27FC236}">
                      <a16:creationId xmlns:a16="http://schemas.microsoft.com/office/drawing/2014/main" id="{B63F204A-EADC-4217-9C2E-725377EBAADF}"/>
                    </a:ext>
                  </a:extLst>
                </p:cNvPr>
                <p:cNvSpPr/>
                <p:nvPr/>
              </p:nvSpPr>
              <p:spPr>
                <a:xfrm>
                  <a:off x="7812258" y="3655125"/>
                  <a:ext cx="18281" cy="18426"/>
                </a:xfrm>
                <a:custGeom>
                  <a:avLst/>
                  <a:gdLst>
                    <a:gd name="connsiteX0" fmla="*/ 10367 w 18281"/>
                    <a:gd name="connsiteY0" fmla="*/ 93 h 18426"/>
                    <a:gd name="connsiteX1" fmla="*/ 80 w 18281"/>
                    <a:gd name="connsiteY1" fmla="*/ 7927 h 18426"/>
                    <a:gd name="connsiteX2" fmla="*/ 7915 w 18281"/>
                    <a:gd name="connsiteY2" fmla="*/ 18334 h 18426"/>
                    <a:gd name="connsiteX3" fmla="*/ 18201 w 18281"/>
                    <a:gd name="connsiteY3" fmla="*/ 10499 h 18426"/>
                    <a:gd name="connsiteX4" fmla="*/ 10367 w 18281"/>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26">
                      <a:moveTo>
                        <a:pt x="10367" y="93"/>
                      </a:moveTo>
                      <a:cubicBezTo>
                        <a:pt x="5343" y="-625"/>
                        <a:pt x="738" y="2904"/>
                        <a:pt x="80" y="7927"/>
                      </a:cubicBezTo>
                      <a:cubicBezTo>
                        <a:pt x="-578" y="12951"/>
                        <a:pt x="2891" y="17616"/>
                        <a:pt x="7915" y="18334"/>
                      </a:cubicBezTo>
                      <a:cubicBezTo>
                        <a:pt x="12938" y="19052"/>
                        <a:pt x="17543" y="15523"/>
                        <a:pt x="18201" y="10499"/>
                      </a:cubicBezTo>
                      <a:cubicBezTo>
                        <a:pt x="18859" y="5475"/>
                        <a:pt x="15390" y="811"/>
                        <a:pt x="10367" y="93"/>
                      </a:cubicBezTo>
                      <a:close/>
                    </a:path>
                  </a:pathLst>
                </a:custGeom>
                <a:grpFill/>
                <a:ln w="5978" cap="flat">
                  <a:noFill/>
                  <a:prstDash val="solid"/>
                  <a:miter/>
                </a:ln>
              </p:spPr>
              <p:txBody>
                <a:bodyPr rtlCol="0" anchor="ctr"/>
                <a:lstStyle/>
                <a:p>
                  <a:endParaRPr lang="en-GB"/>
                </a:p>
              </p:txBody>
            </p:sp>
          </p:grpSp>
          <p:grpSp>
            <p:nvGrpSpPr>
              <p:cNvPr id="197" name="Graphic 3">
                <a:extLst>
                  <a:ext uri="{FF2B5EF4-FFF2-40B4-BE49-F238E27FC236}">
                    <a16:creationId xmlns:a16="http://schemas.microsoft.com/office/drawing/2014/main" id="{F8BE1A6D-3D2D-4DD2-BF45-21D853F3CCED}"/>
                  </a:ext>
                </a:extLst>
              </p:cNvPr>
              <p:cNvGrpSpPr/>
              <p:nvPr/>
            </p:nvGrpSpPr>
            <p:grpSpPr>
              <a:xfrm>
                <a:off x="7794749" y="3619388"/>
                <a:ext cx="233725" cy="44506"/>
                <a:chOff x="7794749" y="3619388"/>
                <a:chExt cx="233725" cy="44506"/>
              </a:xfrm>
              <a:grpFill/>
            </p:grpSpPr>
            <p:sp>
              <p:nvSpPr>
                <p:cNvPr id="4788" name="Vrije vorm: vorm 4787">
                  <a:extLst>
                    <a:ext uri="{FF2B5EF4-FFF2-40B4-BE49-F238E27FC236}">
                      <a16:creationId xmlns:a16="http://schemas.microsoft.com/office/drawing/2014/main" id="{4E568D35-D4F9-479F-BA96-F62D98B7DCB4}"/>
                    </a:ext>
                  </a:extLst>
                </p:cNvPr>
                <p:cNvSpPr/>
                <p:nvPr/>
              </p:nvSpPr>
              <p:spPr>
                <a:xfrm>
                  <a:off x="7803307" y="3627049"/>
                  <a:ext cx="216621" cy="29185"/>
                </a:xfrm>
                <a:custGeom>
                  <a:avLst/>
                  <a:gdLst>
                    <a:gd name="connsiteX0" fmla="*/ 216622 w 216621"/>
                    <a:gd name="connsiteY0" fmla="*/ 26136 h 29185"/>
                    <a:gd name="connsiteX1" fmla="*/ 216262 w 216621"/>
                    <a:gd name="connsiteY1" fmla="*/ 29186 h 29185"/>
                    <a:gd name="connsiteX2" fmla="*/ 0 w 216621"/>
                    <a:gd name="connsiteY2" fmla="*/ 3050 h 29185"/>
                    <a:gd name="connsiteX3" fmla="*/ 358 w 216621"/>
                    <a:gd name="connsiteY3" fmla="*/ 0 h 29185"/>
                  </a:gdLst>
                  <a:ahLst/>
                  <a:cxnLst>
                    <a:cxn ang="0">
                      <a:pos x="connsiteX0" y="connsiteY0"/>
                    </a:cxn>
                    <a:cxn ang="0">
                      <a:pos x="connsiteX1" y="connsiteY1"/>
                    </a:cxn>
                    <a:cxn ang="0">
                      <a:pos x="connsiteX2" y="connsiteY2"/>
                    </a:cxn>
                    <a:cxn ang="0">
                      <a:pos x="connsiteX3" y="connsiteY3"/>
                    </a:cxn>
                  </a:cxnLst>
                  <a:rect l="l" t="t" r="r" b="b"/>
                  <a:pathLst>
                    <a:path w="216621" h="29185">
                      <a:moveTo>
                        <a:pt x="216622" y="26136"/>
                      </a:moveTo>
                      <a:lnTo>
                        <a:pt x="216262" y="29186"/>
                      </a:lnTo>
                      <a:lnTo>
                        <a:pt x="0" y="3050"/>
                      </a:lnTo>
                      <a:lnTo>
                        <a:pt x="358" y="0"/>
                      </a:lnTo>
                      <a:close/>
                    </a:path>
                  </a:pathLst>
                </a:custGeom>
                <a:grpFill/>
                <a:ln w="5978" cap="flat">
                  <a:noFill/>
                  <a:prstDash val="solid"/>
                  <a:miter/>
                </a:ln>
              </p:spPr>
              <p:txBody>
                <a:bodyPr rtlCol="0" anchor="ctr"/>
                <a:lstStyle/>
                <a:p>
                  <a:endParaRPr lang="en-GB"/>
                </a:p>
              </p:txBody>
            </p:sp>
            <p:sp>
              <p:nvSpPr>
                <p:cNvPr id="4789" name="Vrije vorm: vorm 4788">
                  <a:extLst>
                    <a:ext uri="{FF2B5EF4-FFF2-40B4-BE49-F238E27FC236}">
                      <a16:creationId xmlns:a16="http://schemas.microsoft.com/office/drawing/2014/main" id="{C8A5A1DB-941E-46EE-B86F-2612D48A58DC}"/>
                    </a:ext>
                  </a:extLst>
                </p:cNvPr>
                <p:cNvSpPr/>
                <p:nvPr/>
              </p:nvSpPr>
              <p:spPr>
                <a:xfrm>
                  <a:off x="8010175" y="3645464"/>
                  <a:ext cx="18300" cy="18430"/>
                </a:xfrm>
                <a:custGeom>
                  <a:avLst/>
                  <a:gdLst>
                    <a:gd name="connsiteX0" fmla="*/ 10172 w 18300"/>
                    <a:gd name="connsiteY0" fmla="*/ 65 h 18430"/>
                    <a:gd name="connsiteX1" fmla="*/ 18247 w 18300"/>
                    <a:gd name="connsiteY1" fmla="*/ 10292 h 18430"/>
                    <a:gd name="connsiteX2" fmla="*/ 8079 w 18300"/>
                    <a:gd name="connsiteY2" fmla="*/ 18366 h 18430"/>
                    <a:gd name="connsiteX3" fmla="*/ 65 w 18300"/>
                    <a:gd name="connsiteY3" fmla="*/ 8139 h 18430"/>
                    <a:gd name="connsiteX4" fmla="*/ 10172 w 18300"/>
                    <a:gd name="connsiteY4" fmla="*/ 65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30">
                      <a:moveTo>
                        <a:pt x="10172" y="65"/>
                      </a:moveTo>
                      <a:cubicBezTo>
                        <a:pt x="15196" y="663"/>
                        <a:pt x="18785" y="5268"/>
                        <a:pt x="18247" y="10292"/>
                      </a:cubicBezTo>
                      <a:cubicBezTo>
                        <a:pt x="17648" y="15316"/>
                        <a:pt x="13103" y="18964"/>
                        <a:pt x="8079" y="18366"/>
                      </a:cubicBezTo>
                      <a:cubicBezTo>
                        <a:pt x="3055" y="17768"/>
                        <a:pt x="-533" y="13163"/>
                        <a:pt x="65" y="8139"/>
                      </a:cubicBezTo>
                      <a:cubicBezTo>
                        <a:pt x="603" y="3055"/>
                        <a:pt x="5149" y="-533"/>
                        <a:pt x="10172" y="65"/>
                      </a:cubicBezTo>
                      <a:close/>
                    </a:path>
                  </a:pathLst>
                </a:custGeom>
                <a:grpFill/>
                <a:ln w="5978" cap="flat">
                  <a:noFill/>
                  <a:prstDash val="solid"/>
                  <a:miter/>
                </a:ln>
              </p:spPr>
              <p:txBody>
                <a:bodyPr rtlCol="0" anchor="ctr"/>
                <a:lstStyle/>
                <a:p>
                  <a:endParaRPr lang="en-GB"/>
                </a:p>
              </p:txBody>
            </p:sp>
            <p:sp>
              <p:nvSpPr>
                <p:cNvPr id="4790" name="Vrije vorm: vorm 4789">
                  <a:extLst>
                    <a:ext uri="{FF2B5EF4-FFF2-40B4-BE49-F238E27FC236}">
                      <a16:creationId xmlns:a16="http://schemas.microsoft.com/office/drawing/2014/main" id="{0C30D3D3-FA96-4834-BE11-8C89475D2961}"/>
                    </a:ext>
                  </a:extLst>
                </p:cNvPr>
                <p:cNvSpPr/>
                <p:nvPr/>
              </p:nvSpPr>
              <p:spPr>
                <a:xfrm>
                  <a:off x="7794749" y="3619388"/>
                  <a:ext cx="18311" cy="18431"/>
                </a:xfrm>
                <a:custGeom>
                  <a:avLst/>
                  <a:gdLst>
                    <a:gd name="connsiteX0" fmla="*/ 10232 w 18311"/>
                    <a:gd name="connsiteY0" fmla="*/ 65 h 18431"/>
                    <a:gd name="connsiteX1" fmla="*/ 65 w 18311"/>
                    <a:gd name="connsiteY1" fmla="*/ 8139 h 18431"/>
                    <a:gd name="connsiteX2" fmla="*/ 8079 w 18311"/>
                    <a:gd name="connsiteY2" fmla="*/ 18366 h 18431"/>
                    <a:gd name="connsiteX3" fmla="*/ 18247 w 18311"/>
                    <a:gd name="connsiteY3" fmla="*/ 10292 h 18431"/>
                    <a:gd name="connsiteX4" fmla="*/ 10232 w 18311"/>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10232" y="65"/>
                      </a:moveTo>
                      <a:cubicBezTo>
                        <a:pt x="5208" y="-533"/>
                        <a:pt x="663" y="3055"/>
                        <a:pt x="65" y="8139"/>
                      </a:cubicBezTo>
                      <a:cubicBezTo>
                        <a:pt x="-533" y="13163"/>
                        <a:pt x="3055" y="17768"/>
                        <a:pt x="8079" y="18366"/>
                      </a:cubicBezTo>
                      <a:cubicBezTo>
                        <a:pt x="13103" y="18964"/>
                        <a:pt x="17649" y="15376"/>
                        <a:pt x="18247" y="10292"/>
                      </a:cubicBezTo>
                      <a:cubicBezTo>
                        <a:pt x="18845" y="5268"/>
                        <a:pt x="15256" y="723"/>
                        <a:pt x="10232" y="65"/>
                      </a:cubicBezTo>
                      <a:close/>
                    </a:path>
                  </a:pathLst>
                </a:custGeom>
                <a:grpFill/>
                <a:ln w="5978" cap="flat">
                  <a:noFill/>
                  <a:prstDash val="solid"/>
                  <a:miter/>
                </a:ln>
              </p:spPr>
              <p:txBody>
                <a:bodyPr rtlCol="0" anchor="ctr"/>
                <a:lstStyle/>
                <a:p>
                  <a:endParaRPr lang="en-GB"/>
                </a:p>
              </p:txBody>
            </p:sp>
          </p:grpSp>
          <p:grpSp>
            <p:nvGrpSpPr>
              <p:cNvPr id="198" name="Graphic 3">
                <a:extLst>
                  <a:ext uri="{FF2B5EF4-FFF2-40B4-BE49-F238E27FC236}">
                    <a16:creationId xmlns:a16="http://schemas.microsoft.com/office/drawing/2014/main" id="{FBFCC285-EB53-495E-B2F3-B82457C5507A}"/>
                  </a:ext>
                </a:extLst>
              </p:cNvPr>
              <p:cNvGrpSpPr/>
              <p:nvPr/>
            </p:nvGrpSpPr>
            <p:grpSpPr>
              <a:xfrm>
                <a:off x="7515997" y="2569869"/>
                <a:ext cx="87488" cy="56119"/>
                <a:chOff x="7515997" y="2569869"/>
                <a:chExt cx="87488" cy="56119"/>
              </a:xfrm>
              <a:grpFill/>
            </p:grpSpPr>
            <p:sp>
              <p:nvSpPr>
                <p:cNvPr id="4785" name="Vrije vorm: vorm 4784">
                  <a:extLst>
                    <a:ext uri="{FF2B5EF4-FFF2-40B4-BE49-F238E27FC236}">
                      <a16:creationId xmlns:a16="http://schemas.microsoft.com/office/drawing/2014/main" id="{9D19224F-4B25-48F8-98E5-F5607F2A7AF9}"/>
                    </a:ext>
                  </a:extLst>
                </p:cNvPr>
                <p:cNvSpPr/>
                <p:nvPr/>
              </p:nvSpPr>
              <p:spPr>
                <a:xfrm>
                  <a:off x="7524067" y="2577552"/>
                  <a:ext cx="71410" cy="40728"/>
                </a:xfrm>
                <a:custGeom>
                  <a:avLst/>
                  <a:gdLst>
                    <a:gd name="connsiteX0" fmla="*/ 71410 w 71410"/>
                    <a:gd name="connsiteY0" fmla="*/ 2691 h 40728"/>
                    <a:gd name="connsiteX1" fmla="*/ 1435 w 71410"/>
                    <a:gd name="connsiteY1" fmla="*/ 40729 h 40728"/>
                    <a:gd name="connsiteX2" fmla="*/ 0 w 71410"/>
                    <a:gd name="connsiteY2" fmla="*/ 38037 h 40728"/>
                    <a:gd name="connsiteX3" fmla="*/ 69915 w 71410"/>
                    <a:gd name="connsiteY3" fmla="*/ 0 h 40728"/>
                  </a:gdLst>
                  <a:ahLst/>
                  <a:cxnLst>
                    <a:cxn ang="0">
                      <a:pos x="connsiteX0" y="connsiteY0"/>
                    </a:cxn>
                    <a:cxn ang="0">
                      <a:pos x="connsiteX1" y="connsiteY1"/>
                    </a:cxn>
                    <a:cxn ang="0">
                      <a:pos x="connsiteX2" y="connsiteY2"/>
                    </a:cxn>
                    <a:cxn ang="0">
                      <a:pos x="connsiteX3" y="connsiteY3"/>
                    </a:cxn>
                  </a:cxnLst>
                  <a:rect l="l" t="t" r="r" b="b"/>
                  <a:pathLst>
                    <a:path w="71410" h="40728">
                      <a:moveTo>
                        <a:pt x="71410" y="2691"/>
                      </a:moveTo>
                      <a:lnTo>
                        <a:pt x="1435" y="40729"/>
                      </a:lnTo>
                      <a:lnTo>
                        <a:pt x="0" y="38037"/>
                      </a:lnTo>
                      <a:lnTo>
                        <a:pt x="69915" y="0"/>
                      </a:lnTo>
                      <a:close/>
                    </a:path>
                  </a:pathLst>
                </a:custGeom>
                <a:grpFill/>
                <a:ln w="5978" cap="flat">
                  <a:noFill/>
                  <a:prstDash val="solid"/>
                  <a:miter/>
                </a:ln>
              </p:spPr>
              <p:txBody>
                <a:bodyPr rtlCol="0" anchor="ctr"/>
                <a:lstStyle/>
                <a:p>
                  <a:endParaRPr lang="en-GB"/>
                </a:p>
              </p:txBody>
            </p:sp>
            <p:sp>
              <p:nvSpPr>
                <p:cNvPr id="4786" name="Vrije vorm: vorm 4785">
                  <a:extLst>
                    <a:ext uri="{FF2B5EF4-FFF2-40B4-BE49-F238E27FC236}">
                      <a16:creationId xmlns:a16="http://schemas.microsoft.com/office/drawing/2014/main" id="{FD81E649-F82C-4D43-948D-79889F71B6E3}"/>
                    </a:ext>
                  </a:extLst>
                </p:cNvPr>
                <p:cNvSpPr/>
                <p:nvPr/>
              </p:nvSpPr>
              <p:spPr>
                <a:xfrm>
                  <a:off x="7585161" y="2569869"/>
                  <a:ext cx="18325" cy="18414"/>
                </a:xfrm>
                <a:custGeom>
                  <a:avLst/>
                  <a:gdLst>
                    <a:gd name="connsiteX0" fmla="*/ 4754 w 18325"/>
                    <a:gd name="connsiteY0" fmla="*/ 1104 h 18414"/>
                    <a:gd name="connsiteX1" fmla="*/ 17193 w 18325"/>
                    <a:gd name="connsiteY1" fmla="*/ 4812 h 18414"/>
                    <a:gd name="connsiteX2" fmla="*/ 13545 w 18325"/>
                    <a:gd name="connsiteY2" fmla="*/ 17311 h 18414"/>
                    <a:gd name="connsiteX3" fmla="*/ 1105 w 18325"/>
                    <a:gd name="connsiteY3" fmla="*/ 13603 h 18414"/>
                    <a:gd name="connsiteX4" fmla="*/ 4754 w 18325"/>
                    <a:gd name="connsiteY4" fmla="*/ 1104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14">
                      <a:moveTo>
                        <a:pt x="4754" y="1104"/>
                      </a:moveTo>
                      <a:cubicBezTo>
                        <a:pt x="9179" y="-1289"/>
                        <a:pt x="14742" y="326"/>
                        <a:pt x="17193" y="4812"/>
                      </a:cubicBezTo>
                      <a:cubicBezTo>
                        <a:pt x="19645" y="9297"/>
                        <a:pt x="17971" y="14859"/>
                        <a:pt x="13545" y="17311"/>
                      </a:cubicBezTo>
                      <a:cubicBezTo>
                        <a:pt x="9119" y="19704"/>
                        <a:pt x="3558" y="18089"/>
                        <a:pt x="1105" y="13603"/>
                      </a:cubicBezTo>
                      <a:cubicBezTo>
                        <a:pt x="-1287" y="9118"/>
                        <a:pt x="328" y="3556"/>
                        <a:pt x="4754" y="1104"/>
                      </a:cubicBezTo>
                      <a:close/>
                    </a:path>
                  </a:pathLst>
                </a:custGeom>
                <a:grpFill/>
                <a:ln w="5978" cap="flat">
                  <a:noFill/>
                  <a:prstDash val="solid"/>
                  <a:miter/>
                </a:ln>
              </p:spPr>
              <p:txBody>
                <a:bodyPr rtlCol="0" anchor="ctr"/>
                <a:lstStyle/>
                <a:p>
                  <a:endParaRPr lang="en-GB"/>
                </a:p>
              </p:txBody>
            </p:sp>
            <p:sp>
              <p:nvSpPr>
                <p:cNvPr id="4787" name="Vrije vorm: vorm 4786">
                  <a:extLst>
                    <a:ext uri="{FF2B5EF4-FFF2-40B4-BE49-F238E27FC236}">
                      <a16:creationId xmlns:a16="http://schemas.microsoft.com/office/drawing/2014/main" id="{C50AD56D-EB0A-444C-86B0-67AF51889116}"/>
                    </a:ext>
                  </a:extLst>
                </p:cNvPr>
                <p:cNvSpPr/>
                <p:nvPr/>
              </p:nvSpPr>
              <p:spPr>
                <a:xfrm>
                  <a:off x="7515997" y="2607521"/>
                  <a:ext cx="18351" cy="18467"/>
                </a:xfrm>
                <a:custGeom>
                  <a:avLst/>
                  <a:gdLst>
                    <a:gd name="connsiteX0" fmla="*/ 4780 w 18351"/>
                    <a:gd name="connsiteY0" fmla="*/ 1130 h 18467"/>
                    <a:gd name="connsiteX1" fmla="*/ 1131 w 18351"/>
                    <a:gd name="connsiteY1" fmla="*/ 13630 h 18467"/>
                    <a:gd name="connsiteX2" fmla="*/ 13572 w 18351"/>
                    <a:gd name="connsiteY2" fmla="*/ 17338 h 18467"/>
                    <a:gd name="connsiteX3" fmla="*/ 17220 w 18351"/>
                    <a:gd name="connsiteY3" fmla="*/ 4838 h 18467"/>
                    <a:gd name="connsiteX4" fmla="*/ 4780 w 18351"/>
                    <a:gd name="connsiteY4" fmla="*/ 11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7">
                      <a:moveTo>
                        <a:pt x="4780" y="1130"/>
                      </a:moveTo>
                      <a:cubicBezTo>
                        <a:pt x="355" y="3522"/>
                        <a:pt x="-1320" y="9144"/>
                        <a:pt x="1131" y="13630"/>
                      </a:cubicBezTo>
                      <a:cubicBezTo>
                        <a:pt x="3584" y="18115"/>
                        <a:pt x="9146" y="19790"/>
                        <a:pt x="13572" y="17338"/>
                      </a:cubicBezTo>
                      <a:cubicBezTo>
                        <a:pt x="17997" y="14945"/>
                        <a:pt x="19672" y="9324"/>
                        <a:pt x="17220" y="4838"/>
                      </a:cubicBezTo>
                      <a:cubicBezTo>
                        <a:pt x="14768" y="352"/>
                        <a:pt x="9206" y="-1322"/>
                        <a:pt x="4780" y="1130"/>
                      </a:cubicBezTo>
                      <a:close/>
                    </a:path>
                  </a:pathLst>
                </a:custGeom>
                <a:grpFill/>
                <a:ln w="5978" cap="flat">
                  <a:noFill/>
                  <a:prstDash val="solid"/>
                  <a:miter/>
                </a:ln>
              </p:spPr>
              <p:txBody>
                <a:bodyPr rtlCol="0" anchor="ctr"/>
                <a:lstStyle/>
                <a:p>
                  <a:endParaRPr lang="en-GB"/>
                </a:p>
              </p:txBody>
            </p:sp>
          </p:grpSp>
          <p:grpSp>
            <p:nvGrpSpPr>
              <p:cNvPr id="199" name="Graphic 3">
                <a:extLst>
                  <a:ext uri="{FF2B5EF4-FFF2-40B4-BE49-F238E27FC236}">
                    <a16:creationId xmlns:a16="http://schemas.microsoft.com/office/drawing/2014/main" id="{5171691C-938D-4EBA-AF20-210B8AE21FD4}"/>
                  </a:ext>
                </a:extLst>
              </p:cNvPr>
              <p:cNvGrpSpPr/>
              <p:nvPr/>
            </p:nvGrpSpPr>
            <p:grpSpPr>
              <a:xfrm>
                <a:off x="7716830" y="3642660"/>
                <a:ext cx="411825" cy="111495"/>
                <a:chOff x="7716830" y="3642660"/>
                <a:chExt cx="411825" cy="111495"/>
              </a:xfrm>
              <a:grpFill/>
            </p:grpSpPr>
            <p:sp>
              <p:nvSpPr>
                <p:cNvPr id="4782" name="Vrije vorm: vorm 4781">
                  <a:extLst>
                    <a:ext uri="{FF2B5EF4-FFF2-40B4-BE49-F238E27FC236}">
                      <a16:creationId xmlns:a16="http://schemas.microsoft.com/office/drawing/2014/main" id="{A4C834E7-674C-4D22-82A7-0ADCD9B94D46}"/>
                    </a:ext>
                  </a:extLst>
                </p:cNvPr>
                <p:cNvSpPr/>
                <p:nvPr/>
              </p:nvSpPr>
              <p:spPr>
                <a:xfrm>
                  <a:off x="7725198" y="3650254"/>
                  <a:ext cx="395086" cy="96289"/>
                </a:xfrm>
                <a:custGeom>
                  <a:avLst/>
                  <a:gdLst>
                    <a:gd name="connsiteX0" fmla="*/ 395087 w 395086"/>
                    <a:gd name="connsiteY0" fmla="*/ 93299 h 96289"/>
                    <a:gd name="connsiteX1" fmla="*/ 394429 w 395086"/>
                    <a:gd name="connsiteY1" fmla="*/ 96290 h 96289"/>
                    <a:gd name="connsiteX2" fmla="*/ 0 w 395086"/>
                    <a:gd name="connsiteY2" fmla="*/ 2990 h 96289"/>
                    <a:gd name="connsiteX3" fmla="*/ 718 w 395086"/>
                    <a:gd name="connsiteY3" fmla="*/ 0 h 96289"/>
                  </a:gdLst>
                  <a:ahLst/>
                  <a:cxnLst>
                    <a:cxn ang="0">
                      <a:pos x="connsiteX0" y="connsiteY0"/>
                    </a:cxn>
                    <a:cxn ang="0">
                      <a:pos x="connsiteX1" y="connsiteY1"/>
                    </a:cxn>
                    <a:cxn ang="0">
                      <a:pos x="connsiteX2" y="connsiteY2"/>
                    </a:cxn>
                    <a:cxn ang="0">
                      <a:pos x="connsiteX3" y="connsiteY3"/>
                    </a:cxn>
                  </a:cxnLst>
                  <a:rect l="l" t="t" r="r" b="b"/>
                  <a:pathLst>
                    <a:path w="395086" h="96289">
                      <a:moveTo>
                        <a:pt x="395087" y="93299"/>
                      </a:moveTo>
                      <a:lnTo>
                        <a:pt x="394429" y="96290"/>
                      </a:lnTo>
                      <a:lnTo>
                        <a:pt x="0" y="2990"/>
                      </a:lnTo>
                      <a:lnTo>
                        <a:pt x="718" y="0"/>
                      </a:lnTo>
                      <a:close/>
                    </a:path>
                  </a:pathLst>
                </a:custGeom>
                <a:grpFill/>
                <a:ln w="5978" cap="flat">
                  <a:noFill/>
                  <a:prstDash val="solid"/>
                  <a:miter/>
                </a:ln>
              </p:spPr>
              <p:txBody>
                <a:bodyPr rtlCol="0" anchor="ctr"/>
                <a:lstStyle/>
                <a:p>
                  <a:endParaRPr lang="en-GB"/>
                </a:p>
              </p:txBody>
            </p:sp>
            <p:sp>
              <p:nvSpPr>
                <p:cNvPr id="4783" name="Vrije vorm: vorm 4782">
                  <a:extLst>
                    <a:ext uri="{FF2B5EF4-FFF2-40B4-BE49-F238E27FC236}">
                      <a16:creationId xmlns:a16="http://schemas.microsoft.com/office/drawing/2014/main" id="{21244B31-8A47-4460-8E23-2F288358B9BF}"/>
                    </a:ext>
                  </a:extLst>
                </p:cNvPr>
                <p:cNvSpPr/>
                <p:nvPr/>
              </p:nvSpPr>
              <p:spPr>
                <a:xfrm>
                  <a:off x="7716830" y="3642660"/>
                  <a:ext cx="18350" cy="18435"/>
                </a:xfrm>
                <a:custGeom>
                  <a:avLst/>
                  <a:gdLst>
                    <a:gd name="connsiteX0" fmla="*/ 7112 w 18350"/>
                    <a:gd name="connsiteY0" fmla="*/ 18180 h 18435"/>
                    <a:gd name="connsiteX1" fmla="*/ 234 w 18350"/>
                    <a:gd name="connsiteY1" fmla="*/ 7115 h 18435"/>
                    <a:gd name="connsiteX2" fmla="*/ 11239 w 18350"/>
                    <a:gd name="connsiteY2" fmla="*/ 237 h 18435"/>
                    <a:gd name="connsiteX3" fmla="*/ 18117 w 18350"/>
                    <a:gd name="connsiteY3" fmla="*/ 11302 h 18435"/>
                    <a:gd name="connsiteX4" fmla="*/ 7112 w 18350"/>
                    <a:gd name="connsiteY4" fmla="*/ 1818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5">
                      <a:moveTo>
                        <a:pt x="7112" y="18180"/>
                      </a:moveTo>
                      <a:cubicBezTo>
                        <a:pt x="2208" y="17043"/>
                        <a:pt x="-902" y="12079"/>
                        <a:pt x="234" y="7115"/>
                      </a:cubicBezTo>
                      <a:cubicBezTo>
                        <a:pt x="1371" y="2151"/>
                        <a:pt x="6275" y="-899"/>
                        <a:pt x="11239" y="237"/>
                      </a:cubicBezTo>
                      <a:cubicBezTo>
                        <a:pt x="16143" y="1374"/>
                        <a:pt x="19253" y="6338"/>
                        <a:pt x="18117" y="11302"/>
                      </a:cubicBezTo>
                      <a:cubicBezTo>
                        <a:pt x="16981" y="16266"/>
                        <a:pt x="12016" y="19376"/>
                        <a:pt x="7112" y="18180"/>
                      </a:cubicBezTo>
                      <a:close/>
                    </a:path>
                  </a:pathLst>
                </a:custGeom>
                <a:grpFill/>
                <a:ln w="5978" cap="flat">
                  <a:noFill/>
                  <a:prstDash val="solid"/>
                  <a:miter/>
                </a:ln>
              </p:spPr>
              <p:txBody>
                <a:bodyPr rtlCol="0" anchor="ctr"/>
                <a:lstStyle/>
                <a:p>
                  <a:endParaRPr lang="en-GB"/>
                </a:p>
              </p:txBody>
            </p:sp>
            <p:sp>
              <p:nvSpPr>
                <p:cNvPr id="4784" name="Vrije vorm: vorm 4783">
                  <a:extLst>
                    <a:ext uri="{FF2B5EF4-FFF2-40B4-BE49-F238E27FC236}">
                      <a16:creationId xmlns:a16="http://schemas.microsoft.com/office/drawing/2014/main" id="{6149C075-2A1B-4F59-954A-A8D95A75A67F}"/>
                    </a:ext>
                  </a:extLst>
                </p:cNvPr>
                <p:cNvSpPr/>
                <p:nvPr/>
              </p:nvSpPr>
              <p:spPr>
                <a:xfrm>
                  <a:off x="8110321" y="3735720"/>
                  <a:ext cx="18335" cy="18435"/>
                </a:xfrm>
                <a:custGeom>
                  <a:avLst/>
                  <a:gdLst>
                    <a:gd name="connsiteX0" fmla="*/ 7094 w 18335"/>
                    <a:gd name="connsiteY0" fmla="*/ 18180 h 18435"/>
                    <a:gd name="connsiteX1" fmla="*/ 18098 w 18335"/>
                    <a:gd name="connsiteY1" fmla="*/ 11302 h 18435"/>
                    <a:gd name="connsiteX2" fmla="*/ 11220 w 18335"/>
                    <a:gd name="connsiteY2" fmla="*/ 237 h 18435"/>
                    <a:gd name="connsiteX3" fmla="*/ 216 w 18335"/>
                    <a:gd name="connsiteY3" fmla="*/ 7115 h 18435"/>
                    <a:gd name="connsiteX4" fmla="*/ 7094 w 18335"/>
                    <a:gd name="connsiteY4" fmla="*/ 1818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5">
                      <a:moveTo>
                        <a:pt x="7094" y="18180"/>
                      </a:moveTo>
                      <a:cubicBezTo>
                        <a:pt x="11998" y="19376"/>
                        <a:pt x="16962" y="16266"/>
                        <a:pt x="18098" y="11302"/>
                      </a:cubicBezTo>
                      <a:cubicBezTo>
                        <a:pt x="19234" y="6338"/>
                        <a:pt x="16184" y="1374"/>
                        <a:pt x="11220" y="237"/>
                      </a:cubicBezTo>
                      <a:cubicBezTo>
                        <a:pt x="6317" y="-899"/>
                        <a:pt x="1352" y="2151"/>
                        <a:pt x="216" y="7115"/>
                      </a:cubicBezTo>
                      <a:cubicBezTo>
                        <a:pt x="-861" y="12019"/>
                        <a:pt x="2189" y="16983"/>
                        <a:pt x="7094" y="18180"/>
                      </a:cubicBezTo>
                      <a:close/>
                    </a:path>
                  </a:pathLst>
                </a:custGeom>
                <a:grpFill/>
                <a:ln w="5978" cap="flat">
                  <a:noFill/>
                  <a:prstDash val="solid"/>
                  <a:miter/>
                </a:ln>
              </p:spPr>
              <p:txBody>
                <a:bodyPr rtlCol="0" anchor="ctr"/>
                <a:lstStyle/>
                <a:p>
                  <a:endParaRPr lang="en-GB"/>
                </a:p>
              </p:txBody>
            </p:sp>
          </p:grpSp>
          <p:grpSp>
            <p:nvGrpSpPr>
              <p:cNvPr id="200" name="Graphic 3">
                <a:extLst>
                  <a:ext uri="{FF2B5EF4-FFF2-40B4-BE49-F238E27FC236}">
                    <a16:creationId xmlns:a16="http://schemas.microsoft.com/office/drawing/2014/main" id="{B14EB1A3-4E44-4ABF-A90E-E941A6EC9D98}"/>
                  </a:ext>
                </a:extLst>
              </p:cNvPr>
              <p:cNvGrpSpPr/>
              <p:nvPr/>
            </p:nvGrpSpPr>
            <p:grpSpPr>
              <a:xfrm>
                <a:off x="7347093" y="2197848"/>
                <a:ext cx="195142" cy="163189"/>
                <a:chOff x="7347093" y="2197848"/>
                <a:chExt cx="195142" cy="163189"/>
              </a:xfrm>
              <a:grpFill/>
            </p:grpSpPr>
            <p:sp>
              <p:nvSpPr>
                <p:cNvPr id="4779" name="Vrije vorm: vorm 4778">
                  <a:extLst>
                    <a:ext uri="{FF2B5EF4-FFF2-40B4-BE49-F238E27FC236}">
                      <a16:creationId xmlns:a16="http://schemas.microsoft.com/office/drawing/2014/main" id="{1ED9B44C-FD76-4D42-96AE-4AE61A18864E}"/>
                    </a:ext>
                  </a:extLst>
                </p:cNvPr>
                <p:cNvSpPr/>
                <p:nvPr/>
              </p:nvSpPr>
              <p:spPr>
                <a:xfrm>
                  <a:off x="7354932" y="2205611"/>
                  <a:ext cx="179421" cy="147723"/>
                </a:xfrm>
                <a:custGeom>
                  <a:avLst/>
                  <a:gdLst>
                    <a:gd name="connsiteX0" fmla="*/ 179422 w 179421"/>
                    <a:gd name="connsiteY0" fmla="*/ 2392 h 147723"/>
                    <a:gd name="connsiteX1" fmla="*/ 1914 w 179421"/>
                    <a:gd name="connsiteY1" fmla="*/ 147724 h 147723"/>
                    <a:gd name="connsiteX2" fmla="*/ 0 w 179421"/>
                    <a:gd name="connsiteY2" fmla="*/ 145332 h 147723"/>
                    <a:gd name="connsiteX3" fmla="*/ 177508 w 179421"/>
                    <a:gd name="connsiteY3" fmla="*/ 0 h 147723"/>
                  </a:gdLst>
                  <a:ahLst/>
                  <a:cxnLst>
                    <a:cxn ang="0">
                      <a:pos x="connsiteX0" y="connsiteY0"/>
                    </a:cxn>
                    <a:cxn ang="0">
                      <a:pos x="connsiteX1" y="connsiteY1"/>
                    </a:cxn>
                    <a:cxn ang="0">
                      <a:pos x="connsiteX2" y="connsiteY2"/>
                    </a:cxn>
                    <a:cxn ang="0">
                      <a:pos x="connsiteX3" y="connsiteY3"/>
                    </a:cxn>
                  </a:cxnLst>
                  <a:rect l="l" t="t" r="r" b="b"/>
                  <a:pathLst>
                    <a:path w="179421" h="147723">
                      <a:moveTo>
                        <a:pt x="179422" y="2392"/>
                      </a:moveTo>
                      <a:lnTo>
                        <a:pt x="1914" y="147724"/>
                      </a:lnTo>
                      <a:lnTo>
                        <a:pt x="0" y="145332"/>
                      </a:lnTo>
                      <a:lnTo>
                        <a:pt x="177508" y="0"/>
                      </a:lnTo>
                      <a:close/>
                    </a:path>
                  </a:pathLst>
                </a:custGeom>
                <a:grpFill/>
                <a:ln w="5978" cap="flat">
                  <a:noFill/>
                  <a:prstDash val="solid"/>
                  <a:miter/>
                </a:ln>
              </p:spPr>
              <p:txBody>
                <a:bodyPr rtlCol="0" anchor="ctr"/>
                <a:lstStyle/>
                <a:p>
                  <a:endParaRPr lang="en-GB"/>
                </a:p>
              </p:txBody>
            </p:sp>
            <p:sp>
              <p:nvSpPr>
                <p:cNvPr id="4780" name="Vrije vorm: vorm 4779">
                  <a:extLst>
                    <a:ext uri="{FF2B5EF4-FFF2-40B4-BE49-F238E27FC236}">
                      <a16:creationId xmlns:a16="http://schemas.microsoft.com/office/drawing/2014/main" id="{F6D48ECD-10F8-443C-AC82-DF9C175D2956}"/>
                    </a:ext>
                  </a:extLst>
                </p:cNvPr>
                <p:cNvSpPr/>
                <p:nvPr/>
              </p:nvSpPr>
              <p:spPr>
                <a:xfrm>
                  <a:off x="7523865" y="2197848"/>
                  <a:ext cx="18371" cy="18451"/>
                </a:xfrm>
                <a:custGeom>
                  <a:avLst/>
                  <a:gdLst>
                    <a:gd name="connsiteX0" fmla="*/ 3372 w 18371"/>
                    <a:gd name="connsiteY0" fmla="*/ 2081 h 18451"/>
                    <a:gd name="connsiteX1" fmla="*/ 16291 w 18371"/>
                    <a:gd name="connsiteY1" fmla="*/ 3397 h 18451"/>
                    <a:gd name="connsiteX2" fmla="*/ 14974 w 18371"/>
                    <a:gd name="connsiteY2" fmla="*/ 16375 h 18451"/>
                    <a:gd name="connsiteX3" fmla="*/ 2056 w 18371"/>
                    <a:gd name="connsiteY3" fmla="*/ 15000 h 18451"/>
                    <a:gd name="connsiteX4" fmla="*/ 3372 w 18371"/>
                    <a:gd name="connsiteY4" fmla="*/ 2081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1">
                      <a:moveTo>
                        <a:pt x="3372" y="2081"/>
                      </a:moveTo>
                      <a:cubicBezTo>
                        <a:pt x="7260" y="-1148"/>
                        <a:pt x="13061" y="-550"/>
                        <a:pt x="16291" y="3397"/>
                      </a:cubicBezTo>
                      <a:cubicBezTo>
                        <a:pt x="19520" y="7344"/>
                        <a:pt x="18922" y="13145"/>
                        <a:pt x="14974" y="16375"/>
                      </a:cubicBezTo>
                      <a:cubicBezTo>
                        <a:pt x="11087" y="19605"/>
                        <a:pt x="5286" y="19007"/>
                        <a:pt x="2056" y="15000"/>
                      </a:cubicBezTo>
                      <a:cubicBezTo>
                        <a:pt x="-1114" y="11112"/>
                        <a:pt x="-575" y="5311"/>
                        <a:pt x="3372" y="2081"/>
                      </a:cubicBezTo>
                      <a:close/>
                    </a:path>
                  </a:pathLst>
                </a:custGeom>
                <a:grpFill/>
                <a:ln w="5978" cap="flat">
                  <a:noFill/>
                  <a:prstDash val="solid"/>
                  <a:miter/>
                </a:ln>
              </p:spPr>
              <p:txBody>
                <a:bodyPr rtlCol="0" anchor="ctr"/>
                <a:lstStyle/>
                <a:p>
                  <a:endParaRPr lang="en-GB"/>
                </a:p>
              </p:txBody>
            </p:sp>
            <p:sp>
              <p:nvSpPr>
                <p:cNvPr id="4781" name="Vrije vorm: vorm 4780">
                  <a:extLst>
                    <a:ext uri="{FF2B5EF4-FFF2-40B4-BE49-F238E27FC236}">
                      <a16:creationId xmlns:a16="http://schemas.microsoft.com/office/drawing/2014/main" id="{E1EAFFD6-B06E-4BF1-9F80-1E5016E9F556}"/>
                    </a:ext>
                  </a:extLst>
                </p:cNvPr>
                <p:cNvSpPr/>
                <p:nvPr/>
              </p:nvSpPr>
              <p:spPr>
                <a:xfrm>
                  <a:off x="7347093" y="2342625"/>
                  <a:ext cx="18308" cy="18412"/>
                </a:xfrm>
                <a:custGeom>
                  <a:avLst/>
                  <a:gdLst>
                    <a:gd name="connsiteX0" fmla="*/ 3353 w 18308"/>
                    <a:gd name="connsiteY0" fmla="*/ 2037 h 18412"/>
                    <a:gd name="connsiteX1" fmla="*/ 2037 w 18308"/>
                    <a:gd name="connsiteY1" fmla="*/ 15015 h 18412"/>
                    <a:gd name="connsiteX2" fmla="*/ 14956 w 18308"/>
                    <a:gd name="connsiteY2" fmla="*/ 16331 h 18412"/>
                    <a:gd name="connsiteX3" fmla="*/ 16271 w 18308"/>
                    <a:gd name="connsiteY3" fmla="*/ 3353 h 18412"/>
                    <a:gd name="connsiteX4" fmla="*/ 3353 w 18308"/>
                    <a:gd name="connsiteY4" fmla="*/ 203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12">
                      <a:moveTo>
                        <a:pt x="3353" y="2037"/>
                      </a:moveTo>
                      <a:cubicBezTo>
                        <a:pt x="-534" y="5267"/>
                        <a:pt x="-1133" y="11068"/>
                        <a:pt x="2037" y="15015"/>
                      </a:cubicBezTo>
                      <a:cubicBezTo>
                        <a:pt x="5267" y="18963"/>
                        <a:pt x="11008" y="19561"/>
                        <a:pt x="14956" y="16331"/>
                      </a:cubicBezTo>
                      <a:cubicBezTo>
                        <a:pt x="18843" y="13101"/>
                        <a:pt x="19441" y="7300"/>
                        <a:pt x="16271" y="3353"/>
                      </a:cubicBezTo>
                      <a:cubicBezTo>
                        <a:pt x="13041" y="-535"/>
                        <a:pt x="7300" y="-1133"/>
                        <a:pt x="3353" y="2037"/>
                      </a:cubicBezTo>
                      <a:close/>
                    </a:path>
                  </a:pathLst>
                </a:custGeom>
                <a:grpFill/>
                <a:ln w="5978" cap="flat">
                  <a:noFill/>
                  <a:prstDash val="solid"/>
                  <a:miter/>
                </a:ln>
              </p:spPr>
              <p:txBody>
                <a:bodyPr rtlCol="0" anchor="ctr"/>
                <a:lstStyle/>
                <a:p>
                  <a:endParaRPr lang="en-GB"/>
                </a:p>
              </p:txBody>
            </p:sp>
          </p:grpSp>
          <p:grpSp>
            <p:nvGrpSpPr>
              <p:cNvPr id="201" name="Graphic 3">
                <a:extLst>
                  <a:ext uri="{FF2B5EF4-FFF2-40B4-BE49-F238E27FC236}">
                    <a16:creationId xmlns:a16="http://schemas.microsoft.com/office/drawing/2014/main" id="{4B0163A8-6423-4E5A-8760-619E88F04022}"/>
                  </a:ext>
                </a:extLst>
              </p:cNvPr>
              <p:cNvGrpSpPr/>
              <p:nvPr/>
            </p:nvGrpSpPr>
            <p:grpSpPr>
              <a:xfrm>
                <a:off x="7715838" y="3610750"/>
                <a:ext cx="411056" cy="103647"/>
                <a:chOff x="7715838" y="3610750"/>
                <a:chExt cx="411056" cy="103647"/>
              </a:xfrm>
              <a:grpFill/>
            </p:grpSpPr>
            <p:sp>
              <p:nvSpPr>
                <p:cNvPr id="4776" name="Vrije vorm: vorm 4775">
                  <a:extLst>
                    <a:ext uri="{FF2B5EF4-FFF2-40B4-BE49-F238E27FC236}">
                      <a16:creationId xmlns:a16="http://schemas.microsoft.com/office/drawing/2014/main" id="{5EB5F193-C478-4240-9B76-062C8780B3B3}"/>
                    </a:ext>
                  </a:extLst>
                </p:cNvPr>
                <p:cNvSpPr/>
                <p:nvPr/>
              </p:nvSpPr>
              <p:spPr>
                <a:xfrm>
                  <a:off x="7724241" y="3618376"/>
                  <a:ext cx="394249" cy="88395"/>
                </a:xfrm>
                <a:custGeom>
                  <a:avLst/>
                  <a:gdLst>
                    <a:gd name="connsiteX0" fmla="*/ 394249 w 394249"/>
                    <a:gd name="connsiteY0" fmla="*/ 85405 h 88395"/>
                    <a:gd name="connsiteX1" fmla="*/ 393592 w 394249"/>
                    <a:gd name="connsiteY1" fmla="*/ 88395 h 88395"/>
                    <a:gd name="connsiteX2" fmla="*/ 0 w 394249"/>
                    <a:gd name="connsiteY2" fmla="*/ 2990 h 88395"/>
                    <a:gd name="connsiteX3" fmla="*/ 599 w 394249"/>
                    <a:gd name="connsiteY3" fmla="*/ 0 h 88395"/>
                  </a:gdLst>
                  <a:ahLst/>
                  <a:cxnLst>
                    <a:cxn ang="0">
                      <a:pos x="connsiteX0" y="connsiteY0"/>
                    </a:cxn>
                    <a:cxn ang="0">
                      <a:pos x="connsiteX1" y="connsiteY1"/>
                    </a:cxn>
                    <a:cxn ang="0">
                      <a:pos x="connsiteX2" y="connsiteY2"/>
                    </a:cxn>
                    <a:cxn ang="0">
                      <a:pos x="connsiteX3" y="connsiteY3"/>
                    </a:cxn>
                  </a:cxnLst>
                  <a:rect l="l" t="t" r="r" b="b"/>
                  <a:pathLst>
                    <a:path w="394249" h="88395">
                      <a:moveTo>
                        <a:pt x="394249" y="85405"/>
                      </a:moveTo>
                      <a:lnTo>
                        <a:pt x="393592" y="88395"/>
                      </a:lnTo>
                      <a:lnTo>
                        <a:pt x="0" y="2990"/>
                      </a:lnTo>
                      <a:lnTo>
                        <a:pt x="599" y="0"/>
                      </a:lnTo>
                      <a:close/>
                    </a:path>
                  </a:pathLst>
                </a:custGeom>
                <a:grpFill/>
                <a:ln w="5978" cap="flat">
                  <a:noFill/>
                  <a:prstDash val="solid"/>
                  <a:miter/>
                </a:ln>
              </p:spPr>
              <p:txBody>
                <a:bodyPr rtlCol="0" anchor="ctr"/>
                <a:lstStyle/>
                <a:p>
                  <a:endParaRPr lang="en-GB"/>
                </a:p>
              </p:txBody>
            </p:sp>
            <p:sp>
              <p:nvSpPr>
                <p:cNvPr id="4777" name="Vrije vorm: vorm 4776">
                  <a:extLst>
                    <a:ext uri="{FF2B5EF4-FFF2-40B4-BE49-F238E27FC236}">
                      <a16:creationId xmlns:a16="http://schemas.microsoft.com/office/drawing/2014/main" id="{8E5EB3AF-36C5-4BF8-815E-6B7CD8B082F2}"/>
                    </a:ext>
                  </a:extLst>
                </p:cNvPr>
                <p:cNvSpPr/>
                <p:nvPr/>
              </p:nvSpPr>
              <p:spPr>
                <a:xfrm>
                  <a:off x="7715838" y="3610750"/>
                  <a:ext cx="18362" cy="18421"/>
                </a:xfrm>
                <a:custGeom>
                  <a:avLst/>
                  <a:gdLst>
                    <a:gd name="connsiteX0" fmla="*/ 7267 w 18362"/>
                    <a:gd name="connsiteY0" fmla="*/ 18212 h 18421"/>
                    <a:gd name="connsiteX1" fmla="*/ 210 w 18362"/>
                    <a:gd name="connsiteY1" fmla="*/ 7267 h 18421"/>
                    <a:gd name="connsiteX2" fmla="*/ 11095 w 18362"/>
                    <a:gd name="connsiteY2" fmla="*/ 210 h 18421"/>
                    <a:gd name="connsiteX3" fmla="*/ 18152 w 18362"/>
                    <a:gd name="connsiteY3" fmla="*/ 11155 h 18421"/>
                    <a:gd name="connsiteX4" fmla="*/ 7267 w 18362"/>
                    <a:gd name="connsiteY4" fmla="*/ 1821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7267" y="18212"/>
                      </a:moveTo>
                      <a:cubicBezTo>
                        <a:pt x="2304" y="17136"/>
                        <a:pt x="-866" y="12231"/>
                        <a:pt x="210" y="7267"/>
                      </a:cubicBezTo>
                      <a:cubicBezTo>
                        <a:pt x="1287" y="2303"/>
                        <a:pt x="6131" y="-867"/>
                        <a:pt x="11095" y="210"/>
                      </a:cubicBezTo>
                      <a:cubicBezTo>
                        <a:pt x="16059" y="1286"/>
                        <a:pt x="19229" y="6191"/>
                        <a:pt x="18152" y="11155"/>
                      </a:cubicBezTo>
                      <a:cubicBezTo>
                        <a:pt x="17076" y="16119"/>
                        <a:pt x="12171" y="19288"/>
                        <a:pt x="7267" y="18212"/>
                      </a:cubicBezTo>
                      <a:close/>
                    </a:path>
                  </a:pathLst>
                </a:custGeom>
                <a:grpFill/>
                <a:ln w="5978" cap="flat">
                  <a:noFill/>
                  <a:prstDash val="solid"/>
                  <a:miter/>
                </a:ln>
              </p:spPr>
              <p:txBody>
                <a:bodyPr rtlCol="0" anchor="ctr"/>
                <a:lstStyle/>
                <a:p>
                  <a:endParaRPr lang="en-GB"/>
                </a:p>
              </p:txBody>
            </p:sp>
            <p:sp>
              <p:nvSpPr>
                <p:cNvPr id="4778" name="Vrije vorm: vorm 4777">
                  <a:extLst>
                    <a:ext uri="{FF2B5EF4-FFF2-40B4-BE49-F238E27FC236}">
                      <a16:creationId xmlns:a16="http://schemas.microsoft.com/office/drawing/2014/main" id="{F248F3FD-3F6F-4BC2-B2BC-0106C7CD2FCB}"/>
                    </a:ext>
                  </a:extLst>
                </p:cNvPr>
                <p:cNvSpPr/>
                <p:nvPr/>
              </p:nvSpPr>
              <p:spPr>
                <a:xfrm>
                  <a:off x="8108532" y="3695976"/>
                  <a:ext cx="18362" cy="18421"/>
                </a:xfrm>
                <a:custGeom>
                  <a:avLst/>
                  <a:gdLst>
                    <a:gd name="connsiteX0" fmla="*/ 7267 w 18362"/>
                    <a:gd name="connsiteY0" fmla="*/ 18212 h 18421"/>
                    <a:gd name="connsiteX1" fmla="*/ 18152 w 18362"/>
                    <a:gd name="connsiteY1" fmla="*/ 11155 h 18421"/>
                    <a:gd name="connsiteX2" fmla="*/ 11095 w 18362"/>
                    <a:gd name="connsiteY2" fmla="*/ 210 h 18421"/>
                    <a:gd name="connsiteX3" fmla="*/ 210 w 18362"/>
                    <a:gd name="connsiteY3" fmla="*/ 7267 h 18421"/>
                    <a:gd name="connsiteX4" fmla="*/ 7267 w 18362"/>
                    <a:gd name="connsiteY4" fmla="*/ 1821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7267" y="18212"/>
                      </a:moveTo>
                      <a:cubicBezTo>
                        <a:pt x="12231" y="19288"/>
                        <a:pt x="17076" y="16119"/>
                        <a:pt x="18152" y="11155"/>
                      </a:cubicBezTo>
                      <a:cubicBezTo>
                        <a:pt x="19229" y="6191"/>
                        <a:pt x="16059" y="1286"/>
                        <a:pt x="11095" y="210"/>
                      </a:cubicBezTo>
                      <a:cubicBezTo>
                        <a:pt x="6131" y="-867"/>
                        <a:pt x="1287" y="2303"/>
                        <a:pt x="210" y="7267"/>
                      </a:cubicBezTo>
                      <a:cubicBezTo>
                        <a:pt x="-866" y="12231"/>
                        <a:pt x="2303" y="17136"/>
                        <a:pt x="7267" y="18212"/>
                      </a:cubicBezTo>
                      <a:close/>
                    </a:path>
                  </a:pathLst>
                </a:custGeom>
                <a:grpFill/>
                <a:ln w="5978" cap="flat">
                  <a:noFill/>
                  <a:prstDash val="solid"/>
                  <a:miter/>
                </a:ln>
              </p:spPr>
              <p:txBody>
                <a:bodyPr rtlCol="0" anchor="ctr"/>
                <a:lstStyle/>
                <a:p>
                  <a:endParaRPr lang="en-GB"/>
                </a:p>
              </p:txBody>
            </p:sp>
          </p:grpSp>
          <p:grpSp>
            <p:nvGrpSpPr>
              <p:cNvPr id="202" name="Graphic 3">
                <a:extLst>
                  <a:ext uri="{FF2B5EF4-FFF2-40B4-BE49-F238E27FC236}">
                    <a16:creationId xmlns:a16="http://schemas.microsoft.com/office/drawing/2014/main" id="{CC7D6BE3-C943-466B-95A0-EC5FD38163DA}"/>
                  </a:ext>
                </a:extLst>
              </p:cNvPr>
              <p:cNvGrpSpPr/>
              <p:nvPr/>
            </p:nvGrpSpPr>
            <p:grpSpPr>
              <a:xfrm>
                <a:off x="7247775" y="1880788"/>
                <a:ext cx="196789" cy="215922"/>
                <a:chOff x="7247775" y="1880788"/>
                <a:chExt cx="196789" cy="215922"/>
              </a:xfrm>
              <a:grpFill/>
            </p:grpSpPr>
            <p:sp>
              <p:nvSpPr>
                <p:cNvPr id="4773" name="Vrije vorm: vorm 4772">
                  <a:extLst>
                    <a:ext uri="{FF2B5EF4-FFF2-40B4-BE49-F238E27FC236}">
                      <a16:creationId xmlns:a16="http://schemas.microsoft.com/office/drawing/2014/main" id="{ECC13DC9-2129-4BC7-A1E5-2EC58988AB3F}"/>
                    </a:ext>
                  </a:extLst>
                </p:cNvPr>
                <p:cNvSpPr/>
                <p:nvPr/>
              </p:nvSpPr>
              <p:spPr>
                <a:xfrm>
                  <a:off x="7255532" y="1888632"/>
                  <a:ext cx="181335" cy="200174"/>
                </a:xfrm>
                <a:custGeom>
                  <a:avLst/>
                  <a:gdLst>
                    <a:gd name="connsiteX0" fmla="*/ 181336 w 181335"/>
                    <a:gd name="connsiteY0" fmla="*/ 2093 h 200174"/>
                    <a:gd name="connsiteX1" fmla="*/ 2273 w 181335"/>
                    <a:gd name="connsiteY1" fmla="*/ 200175 h 200174"/>
                    <a:gd name="connsiteX2" fmla="*/ 0 w 181335"/>
                    <a:gd name="connsiteY2" fmla="*/ 198141 h 200174"/>
                    <a:gd name="connsiteX3" fmla="*/ 179063 w 181335"/>
                    <a:gd name="connsiteY3" fmla="*/ 0 h 200174"/>
                  </a:gdLst>
                  <a:ahLst/>
                  <a:cxnLst>
                    <a:cxn ang="0">
                      <a:pos x="connsiteX0" y="connsiteY0"/>
                    </a:cxn>
                    <a:cxn ang="0">
                      <a:pos x="connsiteX1" y="connsiteY1"/>
                    </a:cxn>
                    <a:cxn ang="0">
                      <a:pos x="connsiteX2" y="connsiteY2"/>
                    </a:cxn>
                    <a:cxn ang="0">
                      <a:pos x="connsiteX3" y="connsiteY3"/>
                    </a:cxn>
                  </a:cxnLst>
                  <a:rect l="l" t="t" r="r" b="b"/>
                  <a:pathLst>
                    <a:path w="181335" h="200174">
                      <a:moveTo>
                        <a:pt x="181336" y="2093"/>
                      </a:moveTo>
                      <a:lnTo>
                        <a:pt x="2273" y="200175"/>
                      </a:lnTo>
                      <a:lnTo>
                        <a:pt x="0" y="198141"/>
                      </a:lnTo>
                      <a:lnTo>
                        <a:pt x="179063" y="0"/>
                      </a:lnTo>
                      <a:close/>
                    </a:path>
                  </a:pathLst>
                </a:custGeom>
                <a:grpFill/>
                <a:ln w="5978" cap="flat">
                  <a:noFill/>
                  <a:prstDash val="solid"/>
                  <a:miter/>
                </a:ln>
              </p:spPr>
              <p:txBody>
                <a:bodyPr rtlCol="0" anchor="ctr"/>
                <a:lstStyle/>
                <a:p>
                  <a:endParaRPr lang="en-GB"/>
                </a:p>
              </p:txBody>
            </p:sp>
            <p:sp>
              <p:nvSpPr>
                <p:cNvPr id="4774" name="Vrije vorm: vorm 4773">
                  <a:extLst>
                    <a:ext uri="{FF2B5EF4-FFF2-40B4-BE49-F238E27FC236}">
                      <a16:creationId xmlns:a16="http://schemas.microsoft.com/office/drawing/2014/main" id="{F64612E3-4164-4632-AB0F-5E9C2432746C}"/>
                    </a:ext>
                  </a:extLst>
                </p:cNvPr>
                <p:cNvSpPr/>
                <p:nvPr/>
              </p:nvSpPr>
              <p:spPr>
                <a:xfrm>
                  <a:off x="7426240" y="1880788"/>
                  <a:ext cx="18325" cy="18438"/>
                </a:xfrm>
                <a:custGeom>
                  <a:avLst/>
                  <a:gdLst>
                    <a:gd name="connsiteX0" fmla="*/ 2375 w 18325"/>
                    <a:gd name="connsiteY0" fmla="*/ 3000 h 18438"/>
                    <a:gd name="connsiteX1" fmla="*/ 15293 w 18325"/>
                    <a:gd name="connsiteY1" fmla="*/ 2401 h 18438"/>
                    <a:gd name="connsiteX2" fmla="*/ 15951 w 18325"/>
                    <a:gd name="connsiteY2" fmla="*/ 15439 h 18438"/>
                    <a:gd name="connsiteX3" fmla="*/ 3032 w 18325"/>
                    <a:gd name="connsiteY3" fmla="*/ 16037 h 18438"/>
                    <a:gd name="connsiteX4" fmla="*/ 2375 w 18325"/>
                    <a:gd name="connsiteY4" fmla="*/ 3000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8">
                      <a:moveTo>
                        <a:pt x="2375" y="3000"/>
                      </a:moveTo>
                      <a:cubicBezTo>
                        <a:pt x="5783" y="-768"/>
                        <a:pt x="11585" y="-1008"/>
                        <a:pt x="15293" y="2401"/>
                      </a:cubicBezTo>
                      <a:cubicBezTo>
                        <a:pt x="19061" y="5810"/>
                        <a:pt x="19360" y="11672"/>
                        <a:pt x="15951" y="15439"/>
                      </a:cubicBezTo>
                      <a:cubicBezTo>
                        <a:pt x="12541" y="19207"/>
                        <a:pt x="6740" y="19447"/>
                        <a:pt x="3032" y="16037"/>
                      </a:cubicBezTo>
                      <a:cubicBezTo>
                        <a:pt x="-736" y="12628"/>
                        <a:pt x="-1035" y="6767"/>
                        <a:pt x="2375" y="3000"/>
                      </a:cubicBezTo>
                      <a:close/>
                    </a:path>
                  </a:pathLst>
                </a:custGeom>
                <a:grpFill/>
                <a:ln w="5978" cap="flat">
                  <a:noFill/>
                  <a:prstDash val="solid"/>
                  <a:miter/>
                </a:ln>
              </p:spPr>
              <p:txBody>
                <a:bodyPr rtlCol="0" anchor="ctr"/>
                <a:lstStyle/>
                <a:p>
                  <a:endParaRPr lang="en-GB"/>
                </a:p>
              </p:txBody>
            </p:sp>
            <p:sp>
              <p:nvSpPr>
                <p:cNvPr id="4775" name="Vrije vorm: vorm 4774">
                  <a:extLst>
                    <a:ext uri="{FF2B5EF4-FFF2-40B4-BE49-F238E27FC236}">
                      <a16:creationId xmlns:a16="http://schemas.microsoft.com/office/drawing/2014/main" id="{3FC446C8-F9BC-45B0-A9B0-74EDBFB5628B}"/>
                    </a:ext>
                  </a:extLst>
                </p:cNvPr>
                <p:cNvSpPr/>
                <p:nvPr/>
              </p:nvSpPr>
              <p:spPr>
                <a:xfrm>
                  <a:off x="7247775" y="2078248"/>
                  <a:ext cx="18300" cy="18462"/>
                </a:xfrm>
                <a:custGeom>
                  <a:avLst/>
                  <a:gdLst>
                    <a:gd name="connsiteX0" fmla="*/ 2375 w 18300"/>
                    <a:gd name="connsiteY0" fmla="*/ 3023 h 18462"/>
                    <a:gd name="connsiteX1" fmla="*/ 3032 w 18300"/>
                    <a:gd name="connsiteY1" fmla="*/ 16061 h 18462"/>
                    <a:gd name="connsiteX2" fmla="*/ 15950 w 18300"/>
                    <a:gd name="connsiteY2" fmla="*/ 15463 h 18462"/>
                    <a:gd name="connsiteX3" fmla="*/ 15292 w 18300"/>
                    <a:gd name="connsiteY3" fmla="*/ 2425 h 18462"/>
                    <a:gd name="connsiteX4" fmla="*/ 2375 w 18300"/>
                    <a:gd name="connsiteY4" fmla="*/ 3023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62">
                      <a:moveTo>
                        <a:pt x="2375" y="3023"/>
                      </a:moveTo>
                      <a:cubicBezTo>
                        <a:pt x="-1035" y="6791"/>
                        <a:pt x="-736" y="12592"/>
                        <a:pt x="3032" y="16061"/>
                      </a:cubicBezTo>
                      <a:cubicBezTo>
                        <a:pt x="6800" y="19470"/>
                        <a:pt x="12601" y="19231"/>
                        <a:pt x="15950" y="15463"/>
                      </a:cubicBezTo>
                      <a:cubicBezTo>
                        <a:pt x="19300" y="11695"/>
                        <a:pt x="19060" y="5894"/>
                        <a:pt x="15292" y="2425"/>
                      </a:cubicBezTo>
                      <a:cubicBezTo>
                        <a:pt x="11584" y="-1044"/>
                        <a:pt x="5783" y="-745"/>
                        <a:pt x="2375" y="3023"/>
                      </a:cubicBezTo>
                      <a:close/>
                    </a:path>
                  </a:pathLst>
                </a:custGeom>
                <a:grpFill/>
                <a:ln w="5978" cap="flat">
                  <a:noFill/>
                  <a:prstDash val="solid"/>
                  <a:miter/>
                </a:ln>
              </p:spPr>
              <p:txBody>
                <a:bodyPr rtlCol="0" anchor="ctr"/>
                <a:lstStyle/>
                <a:p>
                  <a:endParaRPr lang="en-GB"/>
                </a:p>
              </p:txBody>
            </p:sp>
          </p:grpSp>
          <p:grpSp>
            <p:nvGrpSpPr>
              <p:cNvPr id="203" name="Graphic 3">
                <a:extLst>
                  <a:ext uri="{FF2B5EF4-FFF2-40B4-BE49-F238E27FC236}">
                    <a16:creationId xmlns:a16="http://schemas.microsoft.com/office/drawing/2014/main" id="{3E8AA74F-712B-478B-B415-61C474EECC40}"/>
                  </a:ext>
                </a:extLst>
              </p:cNvPr>
              <p:cNvGrpSpPr/>
              <p:nvPr/>
            </p:nvGrpSpPr>
            <p:grpSpPr>
              <a:xfrm>
                <a:off x="8029398" y="4248202"/>
                <a:ext cx="158772" cy="77998"/>
                <a:chOff x="8029398" y="4248202"/>
                <a:chExt cx="158772" cy="77998"/>
              </a:xfrm>
              <a:grpFill/>
            </p:grpSpPr>
            <p:sp>
              <p:nvSpPr>
                <p:cNvPr id="4770" name="Vrije vorm: vorm 4769">
                  <a:extLst>
                    <a:ext uri="{FF2B5EF4-FFF2-40B4-BE49-F238E27FC236}">
                      <a16:creationId xmlns:a16="http://schemas.microsoft.com/office/drawing/2014/main" id="{59D22233-A4F4-4A31-A16F-FE77F97B233F}"/>
                    </a:ext>
                  </a:extLst>
                </p:cNvPr>
                <p:cNvSpPr/>
                <p:nvPr/>
              </p:nvSpPr>
              <p:spPr>
                <a:xfrm>
                  <a:off x="8037512" y="4255862"/>
                  <a:ext cx="142521" cy="62677"/>
                </a:xfrm>
                <a:custGeom>
                  <a:avLst/>
                  <a:gdLst>
                    <a:gd name="connsiteX0" fmla="*/ 142521 w 142521"/>
                    <a:gd name="connsiteY0" fmla="*/ 59867 h 62677"/>
                    <a:gd name="connsiteX1" fmla="*/ 141325 w 142521"/>
                    <a:gd name="connsiteY1" fmla="*/ 62678 h 62677"/>
                    <a:gd name="connsiteX2" fmla="*/ 0 w 142521"/>
                    <a:gd name="connsiteY2" fmla="*/ 2811 h 62677"/>
                    <a:gd name="connsiteX3" fmla="*/ 1137 w 142521"/>
                    <a:gd name="connsiteY3" fmla="*/ 0 h 62677"/>
                  </a:gdLst>
                  <a:ahLst/>
                  <a:cxnLst>
                    <a:cxn ang="0">
                      <a:pos x="connsiteX0" y="connsiteY0"/>
                    </a:cxn>
                    <a:cxn ang="0">
                      <a:pos x="connsiteX1" y="connsiteY1"/>
                    </a:cxn>
                    <a:cxn ang="0">
                      <a:pos x="connsiteX2" y="connsiteY2"/>
                    </a:cxn>
                    <a:cxn ang="0">
                      <a:pos x="connsiteX3" y="connsiteY3"/>
                    </a:cxn>
                  </a:cxnLst>
                  <a:rect l="l" t="t" r="r" b="b"/>
                  <a:pathLst>
                    <a:path w="142521" h="62677">
                      <a:moveTo>
                        <a:pt x="142521" y="59867"/>
                      </a:moveTo>
                      <a:lnTo>
                        <a:pt x="141325" y="62678"/>
                      </a:lnTo>
                      <a:lnTo>
                        <a:pt x="0" y="2811"/>
                      </a:lnTo>
                      <a:lnTo>
                        <a:pt x="1137" y="0"/>
                      </a:lnTo>
                      <a:close/>
                    </a:path>
                  </a:pathLst>
                </a:custGeom>
                <a:grpFill/>
                <a:ln w="5978" cap="flat">
                  <a:noFill/>
                  <a:prstDash val="solid"/>
                  <a:miter/>
                </a:ln>
              </p:spPr>
              <p:txBody>
                <a:bodyPr rtlCol="0" anchor="ctr"/>
                <a:lstStyle/>
                <a:p>
                  <a:endParaRPr lang="en-GB"/>
                </a:p>
              </p:txBody>
            </p:sp>
            <p:sp>
              <p:nvSpPr>
                <p:cNvPr id="4771" name="Vrije vorm: vorm 4770">
                  <a:extLst>
                    <a:ext uri="{FF2B5EF4-FFF2-40B4-BE49-F238E27FC236}">
                      <a16:creationId xmlns:a16="http://schemas.microsoft.com/office/drawing/2014/main" id="{DED313A1-DA31-4D9D-A662-D51AB6AD85D2}"/>
                    </a:ext>
                  </a:extLst>
                </p:cNvPr>
                <p:cNvSpPr/>
                <p:nvPr/>
              </p:nvSpPr>
              <p:spPr>
                <a:xfrm>
                  <a:off x="8169860" y="4307736"/>
                  <a:ext cx="18310" cy="18463"/>
                </a:xfrm>
                <a:custGeom>
                  <a:avLst/>
                  <a:gdLst>
                    <a:gd name="connsiteX0" fmla="*/ 12684 w 18310"/>
                    <a:gd name="connsiteY0" fmla="*/ 756 h 18463"/>
                    <a:gd name="connsiteX1" fmla="*/ 17588 w 18310"/>
                    <a:gd name="connsiteY1" fmla="*/ 12837 h 18463"/>
                    <a:gd name="connsiteX2" fmla="*/ 5627 w 18310"/>
                    <a:gd name="connsiteY2" fmla="*/ 17742 h 18463"/>
                    <a:gd name="connsiteX3" fmla="*/ 722 w 18310"/>
                    <a:gd name="connsiteY3" fmla="*/ 5660 h 18463"/>
                    <a:gd name="connsiteX4" fmla="*/ 12684 w 18310"/>
                    <a:gd name="connsiteY4" fmla="*/ 756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63">
                      <a:moveTo>
                        <a:pt x="12684" y="756"/>
                      </a:moveTo>
                      <a:cubicBezTo>
                        <a:pt x="17349" y="2730"/>
                        <a:pt x="19562" y="8112"/>
                        <a:pt x="17588" y="12837"/>
                      </a:cubicBezTo>
                      <a:cubicBezTo>
                        <a:pt x="15614" y="17502"/>
                        <a:pt x="10292" y="19715"/>
                        <a:pt x="5627" y="17742"/>
                      </a:cubicBezTo>
                      <a:cubicBezTo>
                        <a:pt x="962" y="15768"/>
                        <a:pt x="-1251" y="10385"/>
                        <a:pt x="722" y="5660"/>
                      </a:cubicBezTo>
                      <a:cubicBezTo>
                        <a:pt x="2636" y="936"/>
                        <a:pt x="8019" y="-1277"/>
                        <a:pt x="12684" y="756"/>
                      </a:cubicBezTo>
                      <a:close/>
                    </a:path>
                  </a:pathLst>
                </a:custGeom>
                <a:grpFill/>
                <a:ln w="5978" cap="flat">
                  <a:noFill/>
                  <a:prstDash val="solid"/>
                  <a:miter/>
                </a:ln>
              </p:spPr>
              <p:txBody>
                <a:bodyPr rtlCol="0" anchor="ctr"/>
                <a:lstStyle/>
                <a:p>
                  <a:endParaRPr lang="en-GB"/>
                </a:p>
              </p:txBody>
            </p:sp>
            <p:sp>
              <p:nvSpPr>
                <p:cNvPr id="4772" name="Vrije vorm: vorm 4771">
                  <a:extLst>
                    <a:ext uri="{FF2B5EF4-FFF2-40B4-BE49-F238E27FC236}">
                      <a16:creationId xmlns:a16="http://schemas.microsoft.com/office/drawing/2014/main" id="{9AA13EE3-D239-423B-9148-E510E8CE9CC7}"/>
                    </a:ext>
                  </a:extLst>
                </p:cNvPr>
                <p:cNvSpPr/>
                <p:nvPr/>
              </p:nvSpPr>
              <p:spPr>
                <a:xfrm>
                  <a:off x="8029398" y="4248202"/>
                  <a:ext cx="18285" cy="18430"/>
                </a:xfrm>
                <a:custGeom>
                  <a:avLst/>
                  <a:gdLst>
                    <a:gd name="connsiteX0" fmla="*/ 12659 w 18285"/>
                    <a:gd name="connsiteY0" fmla="*/ 722 h 18430"/>
                    <a:gd name="connsiteX1" fmla="*/ 697 w 18285"/>
                    <a:gd name="connsiteY1" fmla="*/ 5626 h 18430"/>
                    <a:gd name="connsiteX2" fmla="*/ 5602 w 18285"/>
                    <a:gd name="connsiteY2" fmla="*/ 17708 h 18430"/>
                    <a:gd name="connsiteX3" fmla="*/ 17563 w 18285"/>
                    <a:gd name="connsiteY3" fmla="*/ 12803 h 18430"/>
                    <a:gd name="connsiteX4" fmla="*/ 12659 w 18285"/>
                    <a:gd name="connsiteY4" fmla="*/ 72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30">
                      <a:moveTo>
                        <a:pt x="12659" y="722"/>
                      </a:moveTo>
                      <a:cubicBezTo>
                        <a:pt x="7994" y="-1251"/>
                        <a:pt x="2611" y="962"/>
                        <a:pt x="697" y="5626"/>
                      </a:cubicBezTo>
                      <a:cubicBezTo>
                        <a:pt x="-1216" y="10292"/>
                        <a:pt x="937" y="15734"/>
                        <a:pt x="5602" y="17708"/>
                      </a:cubicBezTo>
                      <a:cubicBezTo>
                        <a:pt x="10267" y="19681"/>
                        <a:pt x="15649" y="17469"/>
                        <a:pt x="17563" y="12803"/>
                      </a:cubicBezTo>
                      <a:cubicBezTo>
                        <a:pt x="19536" y="8139"/>
                        <a:pt x="17324" y="2696"/>
                        <a:pt x="12659" y="722"/>
                      </a:cubicBezTo>
                      <a:close/>
                    </a:path>
                  </a:pathLst>
                </a:custGeom>
                <a:grpFill/>
                <a:ln w="5978" cap="flat">
                  <a:noFill/>
                  <a:prstDash val="solid"/>
                  <a:miter/>
                </a:ln>
              </p:spPr>
              <p:txBody>
                <a:bodyPr rtlCol="0" anchor="ctr"/>
                <a:lstStyle/>
                <a:p>
                  <a:endParaRPr lang="en-GB"/>
                </a:p>
              </p:txBody>
            </p:sp>
          </p:grpSp>
          <p:grpSp>
            <p:nvGrpSpPr>
              <p:cNvPr id="204" name="Graphic 3">
                <a:extLst>
                  <a:ext uri="{FF2B5EF4-FFF2-40B4-BE49-F238E27FC236}">
                    <a16:creationId xmlns:a16="http://schemas.microsoft.com/office/drawing/2014/main" id="{EEF458E1-9562-4E1F-BBE8-A06BBE95DBF6}"/>
                  </a:ext>
                </a:extLst>
              </p:cNvPr>
              <p:cNvGrpSpPr/>
              <p:nvPr/>
            </p:nvGrpSpPr>
            <p:grpSpPr>
              <a:xfrm>
                <a:off x="7788074" y="3585550"/>
                <a:ext cx="207375" cy="37772"/>
                <a:chOff x="7788074" y="3585550"/>
                <a:chExt cx="207375" cy="37772"/>
              </a:xfrm>
              <a:grpFill/>
            </p:grpSpPr>
            <p:sp>
              <p:nvSpPr>
                <p:cNvPr id="4767" name="Vrije vorm: vorm 4766">
                  <a:extLst>
                    <a:ext uri="{FF2B5EF4-FFF2-40B4-BE49-F238E27FC236}">
                      <a16:creationId xmlns:a16="http://schemas.microsoft.com/office/drawing/2014/main" id="{07E6423E-2795-46ED-90FD-6DDE239BAD26}"/>
                    </a:ext>
                  </a:extLst>
                </p:cNvPr>
                <p:cNvSpPr/>
                <p:nvPr/>
              </p:nvSpPr>
              <p:spPr>
                <a:xfrm>
                  <a:off x="7796609" y="3593198"/>
                  <a:ext cx="190246" cy="22427"/>
                </a:xfrm>
                <a:custGeom>
                  <a:avLst/>
                  <a:gdLst>
                    <a:gd name="connsiteX0" fmla="*/ 190246 w 190246"/>
                    <a:gd name="connsiteY0" fmla="*/ 19378 h 22427"/>
                    <a:gd name="connsiteX1" fmla="*/ 189948 w 190246"/>
                    <a:gd name="connsiteY1" fmla="*/ 22428 h 22427"/>
                    <a:gd name="connsiteX2" fmla="*/ 0 w 190246"/>
                    <a:gd name="connsiteY2" fmla="*/ 3050 h 22427"/>
                    <a:gd name="connsiteX3" fmla="*/ 299 w 190246"/>
                    <a:gd name="connsiteY3" fmla="*/ 0 h 22427"/>
                  </a:gdLst>
                  <a:ahLst/>
                  <a:cxnLst>
                    <a:cxn ang="0">
                      <a:pos x="connsiteX0" y="connsiteY0"/>
                    </a:cxn>
                    <a:cxn ang="0">
                      <a:pos x="connsiteX1" y="connsiteY1"/>
                    </a:cxn>
                    <a:cxn ang="0">
                      <a:pos x="connsiteX2" y="connsiteY2"/>
                    </a:cxn>
                    <a:cxn ang="0">
                      <a:pos x="connsiteX3" y="connsiteY3"/>
                    </a:cxn>
                  </a:cxnLst>
                  <a:rect l="l" t="t" r="r" b="b"/>
                  <a:pathLst>
                    <a:path w="190246" h="22427">
                      <a:moveTo>
                        <a:pt x="190246" y="19378"/>
                      </a:moveTo>
                      <a:lnTo>
                        <a:pt x="189948" y="22428"/>
                      </a:lnTo>
                      <a:lnTo>
                        <a:pt x="0" y="3050"/>
                      </a:lnTo>
                      <a:lnTo>
                        <a:pt x="299" y="0"/>
                      </a:lnTo>
                      <a:close/>
                    </a:path>
                  </a:pathLst>
                </a:custGeom>
                <a:grpFill/>
                <a:ln w="5978" cap="flat">
                  <a:noFill/>
                  <a:prstDash val="solid"/>
                  <a:miter/>
                </a:ln>
              </p:spPr>
              <p:txBody>
                <a:bodyPr rtlCol="0" anchor="ctr"/>
                <a:lstStyle/>
                <a:p>
                  <a:endParaRPr lang="en-GB"/>
                </a:p>
              </p:txBody>
            </p:sp>
            <p:sp>
              <p:nvSpPr>
                <p:cNvPr id="4768" name="Vrije vorm: vorm 4767">
                  <a:extLst>
                    <a:ext uri="{FF2B5EF4-FFF2-40B4-BE49-F238E27FC236}">
                      <a16:creationId xmlns:a16="http://schemas.microsoft.com/office/drawing/2014/main" id="{A30755E7-6749-4C37-9FB8-A07330CABAFD}"/>
                    </a:ext>
                  </a:extLst>
                </p:cNvPr>
                <p:cNvSpPr/>
                <p:nvPr/>
              </p:nvSpPr>
              <p:spPr>
                <a:xfrm>
                  <a:off x="7977125" y="3604868"/>
                  <a:ext cx="18324" cy="18454"/>
                </a:xfrm>
                <a:custGeom>
                  <a:avLst/>
                  <a:gdLst>
                    <a:gd name="connsiteX0" fmla="*/ 10030 w 18324"/>
                    <a:gd name="connsiteY0" fmla="*/ 52 h 18454"/>
                    <a:gd name="connsiteX1" fmla="*/ 18283 w 18324"/>
                    <a:gd name="connsiteY1" fmla="*/ 10159 h 18454"/>
                    <a:gd name="connsiteX2" fmla="*/ 8295 w 18324"/>
                    <a:gd name="connsiteY2" fmla="*/ 18413 h 18454"/>
                    <a:gd name="connsiteX3" fmla="*/ 42 w 18324"/>
                    <a:gd name="connsiteY3" fmla="*/ 8305 h 18454"/>
                    <a:gd name="connsiteX4" fmla="*/ 10030 w 18324"/>
                    <a:gd name="connsiteY4" fmla="*/ 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4">
                      <a:moveTo>
                        <a:pt x="10030" y="52"/>
                      </a:moveTo>
                      <a:cubicBezTo>
                        <a:pt x="15053" y="590"/>
                        <a:pt x="18761" y="5076"/>
                        <a:pt x="18283" y="10159"/>
                      </a:cubicBezTo>
                      <a:cubicBezTo>
                        <a:pt x="17804" y="15243"/>
                        <a:pt x="13319" y="18891"/>
                        <a:pt x="8295" y="18413"/>
                      </a:cubicBezTo>
                      <a:cubicBezTo>
                        <a:pt x="3271" y="17934"/>
                        <a:pt x="-437" y="13389"/>
                        <a:pt x="42" y="8305"/>
                      </a:cubicBezTo>
                      <a:cubicBezTo>
                        <a:pt x="520" y="3222"/>
                        <a:pt x="5005" y="-486"/>
                        <a:pt x="10030" y="52"/>
                      </a:cubicBezTo>
                      <a:close/>
                    </a:path>
                  </a:pathLst>
                </a:custGeom>
                <a:grpFill/>
                <a:ln w="5978" cap="flat">
                  <a:noFill/>
                  <a:prstDash val="solid"/>
                  <a:miter/>
                </a:ln>
              </p:spPr>
              <p:txBody>
                <a:bodyPr rtlCol="0" anchor="ctr"/>
                <a:lstStyle/>
                <a:p>
                  <a:endParaRPr lang="en-GB"/>
                </a:p>
              </p:txBody>
            </p:sp>
            <p:sp>
              <p:nvSpPr>
                <p:cNvPr id="4769" name="Vrije vorm: vorm 4768">
                  <a:extLst>
                    <a:ext uri="{FF2B5EF4-FFF2-40B4-BE49-F238E27FC236}">
                      <a16:creationId xmlns:a16="http://schemas.microsoft.com/office/drawing/2014/main" id="{5213F3F3-7CFE-475F-86CF-36275FECA8EA}"/>
                    </a:ext>
                  </a:extLst>
                </p:cNvPr>
                <p:cNvSpPr/>
                <p:nvPr/>
              </p:nvSpPr>
              <p:spPr>
                <a:xfrm>
                  <a:off x="7788074" y="3585550"/>
                  <a:ext cx="18325" cy="18464"/>
                </a:xfrm>
                <a:custGeom>
                  <a:avLst/>
                  <a:gdLst>
                    <a:gd name="connsiteX0" fmla="*/ 10030 w 18325"/>
                    <a:gd name="connsiteY0" fmla="*/ 52 h 18464"/>
                    <a:gd name="connsiteX1" fmla="*/ 42 w 18325"/>
                    <a:gd name="connsiteY1" fmla="*/ 8305 h 18464"/>
                    <a:gd name="connsiteX2" fmla="*/ 8296 w 18325"/>
                    <a:gd name="connsiteY2" fmla="*/ 18413 h 18464"/>
                    <a:gd name="connsiteX3" fmla="*/ 18284 w 18325"/>
                    <a:gd name="connsiteY3" fmla="*/ 10159 h 18464"/>
                    <a:gd name="connsiteX4" fmla="*/ 10030 w 18325"/>
                    <a:gd name="connsiteY4" fmla="*/ 5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4">
                      <a:moveTo>
                        <a:pt x="10030" y="52"/>
                      </a:moveTo>
                      <a:cubicBezTo>
                        <a:pt x="5006" y="-486"/>
                        <a:pt x="520" y="3222"/>
                        <a:pt x="42" y="8305"/>
                      </a:cubicBezTo>
                      <a:cubicBezTo>
                        <a:pt x="-436" y="13389"/>
                        <a:pt x="3212" y="17874"/>
                        <a:pt x="8296" y="18413"/>
                      </a:cubicBezTo>
                      <a:cubicBezTo>
                        <a:pt x="13319" y="18951"/>
                        <a:pt x="17805" y="15243"/>
                        <a:pt x="18284" y="10159"/>
                      </a:cubicBezTo>
                      <a:cubicBezTo>
                        <a:pt x="18762" y="5076"/>
                        <a:pt x="15054" y="590"/>
                        <a:pt x="10030" y="52"/>
                      </a:cubicBezTo>
                      <a:close/>
                    </a:path>
                  </a:pathLst>
                </a:custGeom>
                <a:grpFill/>
                <a:ln w="5978" cap="flat">
                  <a:noFill/>
                  <a:prstDash val="solid"/>
                  <a:miter/>
                </a:ln>
              </p:spPr>
              <p:txBody>
                <a:bodyPr rtlCol="0" anchor="ctr"/>
                <a:lstStyle/>
                <a:p>
                  <a:endParaRPr lang="en-GB"/>
                </a:p>
              </p:txBody>
            </p:sp>
          </p:grpSp>
          <p:grpSp>
            <p:nvGrpSpPr>
              <p:cNvPr id="205" name="Graphic 3">
                <a:extLst>
                  <a:ext uri="{FF2B5EF4-FFF2-40B4-BE49-F238E27FC236}">
                    <a16:creationId xmlns:a16="http://schemas.microsoft.com/office/drawing/2014/main" id="{9DFB1D38-46CC-43CF-9902-368C8952003F}"/>
                  </a:ext>
                </a:extLst>
              </p:cNvPr>
              <p:cNvGrpSpPr/>
              <p:nvPr/>
            </p:nvGrpSpPr>
            <p:grpSpPr>
              <a:xfrm>
                <a:off x="7601810" y="2792015"/>
                <a:ext cx="63467" cy="35828"/>
                <a:chOff x="7601810" y="2792015"/>
                <a:chExt cx="63467" cy="35828"/>
              </a:xfrm>
              <a:grpFill/>
            </p:grpSpPr>
            <p:sp>
              <p:nvSpPr>
                <p:cNvPr id="4764" name="Vrije vorm: vorm 4763">
                  <a:extLst>
                    <a:ext uri="{FF2B5EF4-FFF2-40B4-BE49-F238E27FC236}">
                      <a16:creationId xmlns:a16="http://schemas.microsoft.com/office/drawing/2014/main" id="{5F1FCBDF-6AB4-4EFC-BF71-34C7B51755AE}"/>
                    </a:ext>
                  </a:extLst>
                </p:cNvPr>
                <p:cNvSpPr/>
                <p:nvPr/>
              </p:nvSpPr>
              <p:spPr>
                <a:xfrm>
                  <a:off x="7610208" y="2799891"/>
                  <a:ext cx="47093" cy="20534"/>
                </a:xfrm>
                <a:custGeom>
                  <a:avLst/>
                  <a:gdLst>
                    <a:gd name="connsiteX0" fmla="*/ 0 w 47093"/>
                    <a:gd name="connsiteY0" fmla="*/ 17687 h 20534"/>
                    <a:gd name="connsiteX1" fmla="*/ 45999 w 47093"/>
                    <a:gd name="connsiteY1" fmla="*/ 0 h 20534"/>
                    <a:gd name="connsiteX2" fmla="*/ 47094 w 47093"/>
                    <a:gd name="connsiteY2" fmla="*/ 2847 h 20534"/>
                    <a:gd name="connsiteX3" fmla="*/ 1095 w 47093"/>
                    <a:gd name="connsiteY3" fmla="*/ 20534 h 20534"/>
                  </a:gdLst>
                  <a:ahLst/>
                  <a:cxnLst>
                    <a:cxn ang="0">
                      <a:pos x="connsiteX0" y="connsiteY0"/>
                    </a:cxn>
                    <a:cxn ang="0">
                      <a:pos x="connsiteX1" y="connsiteY1"/>
                    </a:cxn>
                    <a:cxn ang="0">
                      <a:pos x="connsiteX2" y="connsiteY2"/>
                    </a:cxn>
                    <a:cxn ang="0">
                      <a:pos x="connsiteX3" y="connsiteY3"/>
                    </a:cxn>
                  </a:cxnLst>
                  <a:rect l="l" t="t" r="r" b="b"/>
                  <a:pathLst>
                    <a:path w="47093" h="20534">
                      <a:moveTo>
                        <a:pt x="0" y="17687"/>
                      </a:moveTo>
                      <a:lnTo>
                        <a:pt x="45999" y="0"/>
                      </a:lnTo>
                      <a:lnTo>
                        <a:pt x="47094" y="2847"/>
                      </a:lnTo>
                      <a:lnTo>
                        <a:pt x="1095" y="20534"/>
                      </a:lnTo>
                      <a:close/>
                    </a:path>
                  </a:pathLst>
                </a:custGeom>
                <a:grpFill/>
                <a:ln w="5978" cap="flat">
                  <a:noFill/>
                  <a:prstDash val="solid"/>
                  <a:miter/>
                </a:ln>
              </p:spPr>
              <p:txBody>
                <a:bodyPr rtlCol="0" anchor="ctr"/>
                <a:lstStyle/>
                <a:p>
                  <a:endParaRPr lang="en-GB"/>
                </a:p>
              </p:txBody>
            </p:sp>
            <p:sp>
              <p:nvSpPr>
                <p:cNvPr id="4765" name="Vrije vorm: vorm 4764">
                  <a:extLst>
                    <a:ext uri="{FF2B5EF4-FFF2-40B4-BE49-F238E27FC236}">
                      <a16:creationId xmlns:a16="http://schemas.microsoft.com/office/drawing/2014/main" id="{BA162B95-D545-4D10-BDC2-E09A8F4BC61A}"/>
                    </a:ext>
                  </a:extLst>
                </p:cNvPr>
                <p:cNvSpPr/>
                <p:nvPr/>
              </p:nvSpPr>
              <p:spPr>
                <a:xfrm>
                  <a:off x="7646964" y="2792015"/>
                  <a:ext cx="18313" cy="18431"/>
                </a:xfrm>
                <a:custGeom>
                  <a:avLst/>
                  <a:gdLst>
                    <a:gd name="connsiteX0" fmla="*/ 5867 w 18313"/>
                    <a:gd name="connsiteY0" fmla="*/ 604 h 18431"/>
                    <a:gd name="connsiteX1" fmla="*/ 17709 w 18313"/>
                    <a:gd name="connsiteY1" fmla="*/ 5926 h 18431"/>
                    <a:gd name="connsiteX2" fmla="*/ 12446 w 18313"/>
                    <a:gd name="connsiteY2" fmla="*/ 17828 h 18431"/>
                    <a:gd name="connsiteX3" fmla="*/ 604 w 18313"/>
                    <a:gd name="connsiteY3" fmla="*/ 12505 h 18431"/>
                    <a:gd name="connsiteX4" fmla="*/ 5867 w 18313"/>
                    <a:gd name="connsiteY4" fmla="*/ 604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5867" y="604"/>
                      </a:moveTo>
                      <a:cubicBezTo>
                        <a:pt x="10592" y="-1191"/>
                        <a:pt x="15915" y="1142"/>
                        <a:pt x="17709" y="5926"/>
                      </a:cubicBezTo>
                      <a:cubicBezTo>
                        <a:pt x="19504" y="10651"/>
                        <a:pt x="17171" y="15974"/>
                        <a:pt x="12446" y="17828"/>
                      </a:cubicBezTo>
                      <a:cubicBezTo>
                        <a:pt x="7721" y="19622"/>
                        <a:pt x="2399" y="17290"/>
                        <a:pt x="604" y="12505"/>
                      </a:cubicBezTo>
                      <a:cubicBezTo>
                        <a:pt x="-1190" y="7780"/>
                        <a:pt x="1142" y="2458"/>
                        <a:pt x="5867" y="604"/>
                      </a:cubicBezTo>
                      <a:close/>
                    </a:path>
                  </a:pathLst>
                </a:custGeom>
                <a:grpFill/>
                <a:ln w="5978" cap="flat">
                  <a:noFill/>
                  <a:prstDash val="solid"/>
                  <a:miter/>
                </a:ln>
              </p:spPr>
              <p:txBody>
                <a:bodyPr rtlCol="0" anchor="ctr"/>
                <a:lstStyle/>
                <a:p>
                  <a:endParaRPr lang="en-GB"/>
                </a:p>
              </p:txBody>
            </p:sp>
            <p:sp>
              <p:nvSpPr>
                <p:cNvPr id="4766" name="Vrije vorm: vorm 4765">
                  <a:extLst>
                    <a:ext uri="{FF2B5EF4-FFF2-40B4-BE49-F238E27FC236}">
                      <a16:creationId xmlns:a16="http://schemas.microsoft.com/office/drawing/2014/main" id="{CAF00FF4-8416-4729-B6C3-9580385D7398}"/>
                    </a:ext>
                  </a:extLst>
                </p:cNvPr>
                <p:cNvSpPr/>
                <p:nvPr/>
              </p:nvSpPr>
              <p:spPr>
                <a:xfrm>
                  <a:off x="7601810" y="2809394"/>
                  <a:ext cx="18313" cy="18448"/>
                </a:xfrm>
                <a:custGeom>
                  <a:avLst/>
                  <a:gdLst>
                    <a:gd name="connsiteX0" fmla="*/ 5867 w 18313"/>
                    <a:gd name="connsiteY0" fmla="*/ 628 h 18448"/>
                    <a:gd name="connsiteX1" fmla="*/ 604 w 18313"/>
                    <a:gd name="connsiteY1" fmla="*/ 12530 h 18448"/>
                    <a:gd name="connsiteX2" fmla="*/ 12446 w 18313"/>
                    <a:gd name="connsiteY2" fmla="*/ 17852 h 18448"/>
                    <a:gd name="connsiteX3" fmla="*/ 17710 w 18313"/>
                    <a:gd name="connsiteY3" fmla="*/ 5951 h 18448"/>
                    <a:gd name="connsiteX4" fmla="*/ 5867 w 18313"/>
                    <a:gd name="connsiteY4" fmla="*/ 62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48">
                      <a:moveTo>
                        <a:pt x="5867" y="628"/>
                      </a:moveTo>
                      <a:cubicBezTo>
                        <a:pt x="1143" y="2422"/>
                        <a:pt x="-1190" y="7745"/>
                        <a:pt x="604" y="12530"/>
                      </a:cubicBezTo>
                      <a:cubicBezTo>
                        <a:pt x="2458" y="17254"/>
                        <a:pt x="7721" y="19647"/>
                        <a:pt x="12446" y="17852"/>
                      </a:cubicBezTo>
                      <a:cubicBezTo>
                        <a:pt x="17171" y="16058"/>
                        <a:pt x="19503" y="10735"/>
                        <a:pt x="17710" y="5951"/>
                      </a:cubicBezTo>
                      <a:cubicBezTo>
                        <a:pt x="15915" y="1166"/>
                        <a:pt x="10592" y="-1226"/>
                        <a:pt x="5867" y="628"/>
                      </a:cubicBezTo>
                      <a:close/>
                    </a:path>
                  </a:pathLst>
                </a:custGeom>
                <a:grpFill/>
                <a:ln w="5978" cap="flat">
                  <a:noFill/>
                  <a:prstDash val="solid"/>
                  <a:miter/>
                </a:ln>
              </p:spPr>
              <p:txBody>
                <a:bodyPr rtlCol="0" anchor="ctr"/>
                <a:lstStyle/>
                <a:p>
                  <a:endParaRPr lang="en-GB"/>
                </a:p>
              </p:txBody>
            </p:sp>
          </p:grpSp>
          <p:grpSp>
            <p:nvGrpSpPr>
              <p:cNvPr id="206" name="Graphic 3">
                <a:extLst>
                  <a:ext uri="{FF2B5EF4-FFF2-40B4-BE49-F238E27FC236}">
                    <a16:creationId xmlns:a16="http://schemas.microsoft.com/office/drawing/2014/main" id="{1F70FCA2-F004-4A09-A076-E03BD2C89210}"/>
                  </a:ext>
                </a:extLst>
              </p:cNvPr>
              <p:cNvGrpSpPr/>
              <p:nvPr/>
            </p:nvGrpSpPr>
            <p:grpSpPr>
              <a:xfrm>
                <a:off x="7590312" y="2762096"/>
                <a:ext cx="63199" cy="36643"/>
                <a:chOff x="7590312" y="2762096"/>
                <a:chExt cx="63199" cy="36643"/>
              </a:xfrm>
              <a:grpFill/>
            </p:grpSpPr>
            <p:sp>
              <p:nvSpPr>
                <p:cNvPr id="4761" name="Vrije vorm: vorm 4760">
                  <a:extLst>
                    <a:ext uri="{FF2B5EF4-FFF2-40B4-BE49-F238E27FC236}">
                      <a16:creationId xmlns:a16="http://schemas.microsoft.com/office/drawing/2014/main" id="{4ED8663F-9F3E-4D59-9EC9-E4BA0BDCED6A}"/>
                    </a:ext>
                  </a:extLst>
                </p:cNvPr>
                <p:cNvSpPr/>
                <p:nvPr/>
              </p:nvSpPr>
              <p:spPr>
                <a:xfrm>
                  <a:off x="7598643" y="2769501"/>
                  <a:ext cx="46802" cy="21384"/>
                </a:xfrm>
                <a:custGeom>
                  <a:avLst/>
                  <a:gdLst>
                    <a:gd name="connsiteX0" fmla="*/ 0 w 46802"/>
                    <a:gd name="connsiteY0" fmla="*/ 18559 h 21384"/>
                    <a:gd name="connsiteX1" fmla="*/ 45654 w 46802"/>
                    <a:gd name="connsiteY1" fmla="*/ 0 h 21384"/>
                    <a:gd name="connsiteX2" fmla="*/ 46803 w 46802"/>
                    <a:gd name="connsiteY2" fmla="*/ 2826 h 21384"/>
                    <a:gd name="connsiteX3" fmla="*/ 1149 w 46802"/>
                    <a:gd name="connsiteY3" fmla="*/ 21385 h 21384"/>
                  </a:gdLst>
                  <a:ahLst/>
                  <a:cxnLst>
                    <a:cxn ang="0">
                      <a:pos x="connsiteX0" y="connsiteY0"/>
                    </a:cxn>
                    <a:cxn ang="0">
                      <a:pos x="connsiteX1" y="connsiteY1"/>
                    </a:cxn>
                    <a:cxn ang="0">
                      <a:pos x="connsiteX2" y="connsiteY2"/>
                    </a:cxn>
                    <a:cxn ang="0">
                      <a:pos x="connsiteX3" y="connsiteY3"/>
                    </a:cxn>
                  </a:cxnLst>
                  <a:rect l="l" t="t" r="r" b="b"/>
                  <a:pathLst>
                    <a:path w="46802" h="21384">
                      <a:moveTo>
                        <a:pt x="0" y="18559"/>
                      </a:moveTo>
                      <a:lnTo>
                        <a:pt x="45654" y="0"/>
                      </a:lnTo>
                      <a:lnTo>
                        <a:pt x="46803" y="2826"/>
                      </a:lnTo>
                      <a:lnTo>
                        <a:pt x="1149" y="21385"/>
                      </a:lnTo>
                      <a:close/>
                    </a:path>
                  </a:pathLst>
                </a:custGeom>
                <a:grpFill/>
                <a:ln w="5978" cap="flat">
                  <a:noFill/>
                  <a:prstDash val="solid"/>
                  <a:miter/>
                </a:ln>
              </p:spPr>
              <p:txBody>
                <a:bodyPr rtlCol="0" anchor="ctr"/>
                <a:lstStyle/>
                <a:p>
                  <a:endParaRPr lang="en-GB"/>
                </a:p>
              </p:txBody>
            </p:sp>
            <p:sp>
              <p:nvSpPr>
                <p:cNvPr id="4762" name="Vrije vorm: vorm 4761">
                  <a:extLst>
                    <a:ext uri="{FF2B5EF4-FFF2-40B4-BE49-F238E27FC236}">
                      <a16:creationId xmlns:a16="http://schemas.microsoft.com/office/drawing/2014/main" id="{594AF991-2D10-4F04-A56E-E6AF278A7903}"/>
                    </a:ext>
                  </a:extLst>
                </p:cNvPr>
                <p:cNvSpPr/>
                <p:nvPr/>
              </p:nvSpPr>
              <p:spPr>
                <a:xfrm>
                  <a:off x="7635159" y="2762096"/>
                  <a:ext cx="18351" cy="18402"/>
                </a:xfrm>
                <a:custGeom>
                  <a:avLst/>
                  <a:gdLst>
                    <a:gd name="connsiteX0" fmla="*/ 5711 w 18351"/>
                    <a:gd name="connsiteY0" fmla="*/ 678 h 18402"/>
                    <a:gd name="connsiteX1" fmla="*/ 17673 w 18351"/>
                    <a:gd name="connsiteY1" fmla="*/ 5762 h 18402"/>
                    <a:gd name="connsiteX2" fmla="*/ 12649 w 18351"/>
                    <a:gd name="connsiteY2" fmla="*/ 17724 h 18402"/>
                    <a:gd name="connsiteX3" fmla="*/ 688 w 18351"/>
                    <a:gd name="connsiteY3" fmla="*/ 12640 h 18402"/>
                    <a:gd name="connsiteX4" fmla="*/ 5711 w 18351"/>
                    <a:gd name="connsiteY4" fmla="*/ 678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02">
                      <a:moveTo>
                        <a:pt x="5711" y="678"/>
                      </a:moveTo>
                      <a:cubicBezTo>
                        <a:pt x="10376" y="-1235"/>
                        <a:pt x="15759" y="1037"/>
                        <a:pt x="17673" y="5762"/>
                      </a:cubicBezTo>
                      <a:cubicBezTo>
                        <a:pt x="19586" y="10487"/>
                        <a:pt x="17313" y="15870"/>
                        <a:pt x="12649" y="17724"/>
                      </a:cubicBezTo>
                      <a:cubicBezTo>
                        <a:pt x="7984" y="19637"/>
                        <a:pt x="2601" y="17365"/>
                        <a:pt x="688" y="12640"/>
                      </a:cubicBezTo>
                      <a:cubicBezTo>
                        <a:pt x="-1227" y="7915"/>
                        <a:pt x="986" y="2592"/>
                        <a:pt x="5711" y="678"/>
                      </a:cubicBezTo>
                      <a:close/>
                    </a:path>
                  </a:pathLst>
                </a:custGeom>
                <a:grpFill/>
                <a:ln w="5978" cap="flat">
                  <a:noFill/>
                  <a:prstDash val="solid"/>
                  <a:miter/>
                </a:ln>
              </p:spPr>
              <p:txBody>
                <a:bodyPr rtlCol="0" anchor="ctr"/>
                <a:lstStyle/>
                <a:p>
                  <a:endParaRPr lang="en-GB"/>
                </a:p>
              </p:txBody>
            </p:sp>
            <p:sp>
              <p:nvSpPr>
                <p:cNvPr id="4763" name="Vrije vorm: vorm 4762">
                  <a:extLst>
                    <a:ext uri="{FF2B5EF4-FFF2-40B4-BE49-F238E27FC236}">
                      <a16:creationId xmlns:a16="http://schemas.microsoft.com/office/drawing/2014/main" id="{4DCC1781-5FDF-4F03-B067-C61832A90043}"/>
                    </a:ext>
                  </a:extLst>
                </p:cNvPr>
                <p:cNvSpPr/>
                <p:nvPr/>
              </p:nvSpPr>
              <p:spPr>
                <a:xfrm>
                  <a:off x="7590312" y="2780311"/>
                  <a:ext cx="18343" cy="18428"/>
                </a:xfrm>
                <a:custGeom>
                  <a:avLst/>
                  <a:gdLst>
                    <a:gd name="connsiteX0" fmla="*/ 5703 w 18343"/>
                    <a:gd name="connsiteY0" fmla="*/ 645 h 18428"/>
                    <a:gd name="connsiteX1" fmla="*/ 680 w 18343"/>
                    <a:gd name="connsiteY1" fmla="*/ 12666 h 18428"/>
                    <a:gd name="connsiteX2" fmla="*/ 12641 w 18343"/>
                    <a:gd name="connsiteY2" fmla="*/ 17750 h 18428"/>
                    <a:gd name="connsiteX3" fmla="*/ 17665 w 18343"/>
                    <a:gd name="connsiteY3" fmla="*/ 5789 h 18428"/>
                    <a:gd name="connsiteX4" fmla="*/ 5703 w 18343"/>
                    <a:gd name="connsiteY4" fmla="*/ 64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8">
                      <a:moveTo>
                        <a:pt x="5703" y="645"/>
                      </a:moveTo>
                      <a:cubicBezTo>
                        <a:pt x="1038" y="2559"/>
                        <a:pt x="-1235" y="7942"/>
                        <a:pt x="680" y="12666"/>
                      </a:cubicBezTo>
                      <a:cubicBezTo>
                        <a:pt x="2593" y="17391"/>
                        <a:pt x="7916" y="19664"/>
                        <a:pt x="12641" y="17750"/>
                      </a:cubicBezTo>
                      <a:cubicBezTo>
                        <a:pt x="17305" y="15836"/>
                        <a:pt x="19578" y="10454"/>
                        <a:pt x="17665" y="5789"/>
                      </a:cubicBezTo>
                      <a:cubicBezTo>
                        <a:pt x="15751" y="1064"/>
                        <a:pt x="10428" y="-1209"/>
                        <a:pt x="5703" y="645"/>
                      </a:cubicBezTo>
                      <a:close/>
                    </a:path>
                  </a:pathLst>
                </a:custGeom>
                <a:grpFill/>
                <a:ln w="5978" cap="flat">
                  <a:noFill/>
                  <a:prstDash val="solid"/>
                  <a:miter/>
                </a:ln>
              </p:spPr>
              <p:txBody>
                <a:bodyPr rtlCol="0" anchor="ctr"/>
                <a:lstStyle/>
                <a:p>
                  <a:endParaRPr lang="en-GB"/>
                </a:p>
              </p:txBody>
            </p:sp>
          </p:grpSp>
          <p:grpSp>
            <p:nvGrpSpPr>
              <p:cNvPr id="207" name="Graphic 3">
                <a:extLst>
                  <a:ext uri="{FF2B5EF4-FFF2-40B4-BE49-F238E27FC236}">
                    <a16:creationId xmlns:a16="http://schemas.microsoft.com/office/drawing/2014/main" id="{4E608709-E25E-4406-B514-9D7365436239}"/>
                  </a:ext>
                </a:extLst>
              </p:cNvPr>
              <p:cNvGrpSpPr/>
              <p:nvPr/>
            </p:nvGrpSpPr>
            <p:grpSpPr>
              <a:xfrm>
                <a:off x="7582629" y="2732378"/>
                <a:ext cx="58444" cy="35638"/>
                <a:chOff x="7582629" y="2732378"/>
                <a:chExt cx="58444" cy="35638"/>
              </a:xfrm>
              <a:grpFill/>
            </p:grpSpPr>
            <p:sp>
              <p:nvSpPr>
                <p:cNvPr id="4758" name="Vrije vorm: vorm 4757">
                  <a:extLst>
                    <a:ext uri="{FF2B5EF4-FFF2-40B4-BE49-F238E27FC236}">
                      <a16:creationId xmlns:a16="http://schemas.microsoft.com/office/drawing/2014/main" id="{2C9E3737-3679-4019-A72E-7A4E4A5D46BE}"/>
                    </a:ext>
                  </a:extLst>
                </p:cNvPr>
                <p:cNvSpPr/>
                <p:nvPr/>
              </p:nvSpPr>
              <p:spPr>
                <a:xfrm>
                  <a:off x="7590752" y="2739988"/>
                  <a:ext cx="42224" cy="20394"/>
                </a:xfrm>
                <a:custGeom>
                  <a:avLst/>
                  <a:gdLst>
                    <a:gd name="connsiteX0" fmla="*/ 42224 w 42224"/>
                    <a:gd name="connsiteY0" fmla="*/ 2811 h 20394"/>
                    <a:gd name="connsiteX1" fmla="*/ 1196 w 42224"/>
                    <a:gd name="connsiteY1" fmla="*/ 20394 h 20394"/>
                    <a:gd name="connsiteX2" fmla="*/ 0 w 42224"/>
                    <a:gd name="connsiteY2" fmla="*/ 17583 h 20394"/>
                    <a:gd name="connsiteX3" fmla="*/ 41028 w 42224"/>
                    <a:gd name="connsiteY3" fmla="*/ 0 h 20394"/>
                  </a:gdLst>
                  <a:ahLst/>
                  <a:cxnLst>
                    <a:cxn ang="0">
                      <a:pos x="connsiteX0" y="connsiteY0"/>
                    </a:cxn>
                    <a:cxn ang="0">
                      <a:pos x="connsiteX1" y="connsiteY1"/>
                    </a:cxn>
                    <a:cxn ang="0">
                      <a:pos x="connsiteX2" y="connsiteY2"/>
                    </a:cxn>
                    <a:cxn ang="0">
                      <a:pos x="connsiteX3" y="connsiteY3"/>
                    </a:cxn>
                  </a:cxnLst>
                  <a:rect l="l" t="t" r="r" b="b"/>
                  <a:pathLst>
                    <a:path w="42224" h="20394">
                      <a:moveTo>
                        <a:pt x="42224" y="2811"/>
                      </a:moveTo>
                      <a:lnTo>
                        <a:pt x="1196" y="20394"/>
                      </a:lnTo>
                      <a:lnTo>
                        <a:pt x="0" y="17583"/>
                      </a:lnTo>
                      <a:lnTo>
                        <a:pt x="41028" y="0"/>
                      </a:lnTo>
                      <a:close/>
                    </a:path>
                  </a:pathLst>
                </a:custGeom>
                <a:grpFill/>
                <a:ln w="5978" cap="flat">
                  <a:noFill/>
                  <a:prstDash val="solid"/>
                  <a:miter/>
                </a:ln>
              </p:spPr>
              <p:txBody>
                <a:bodyPr rtlCol="0" anchor="ctr"/>
                <a:lstStyle/>
                <a:p>
                  <a:endParaRPr lang="en-GB"/>
                </a:p>
              </p:txBody>
            </p:sp>
            <p:sp>
              <p:nvSpPr>
                <p:cNvPr id="4759" name="Vrije vorm: vorm 4758">
                  <a:extLst>
                    <a:ext uri="{FF2B5EF4-FFF2-40B4-BE49-F238E27FC236}">
                      <a16:creationId xmlns:a16="http://schemas.microsoft.com/office/drawing/2014/main" id="{64A23B12-F42F-449A-985E-F29E82A141B7}"/>
                    </a:ext>
                  </a:extLst>
                </p:cNvPr>
                <p:cNvSpPr/>
                <p:nvPr/>
              </p:nvSpPr>
              <p:spPr>
                <a:xfrm>
                  <a:off x="7622794" y="2732378"/>
                  <a:ext cx="18279" cy="18388"/>
                </a:xfrm>
                <a:custGeom>
                  <a:avLst/>
                  <a:gdLst>
                    <a:gd name="connsiteX0" fmla="*/ 5517 w 18279"/>
                    <a:gd name="connsiteY0" fmla="*/ 732 h 18388"/>
                    <a:gd name="connsiteX1" fmla="*/ 17539 w 18279"/>
                    <a:gd name="connsiteY1" fmla="*/ 5576 h 18388"/>
                    <a:gd name="connsiteX2" fmla="*/ 12754 w 18279"/>
                    <a:gd name="connsiteY2" fmla="*/ 17657 h 18388"/>
                    <a:gd name="connsiteX3" fmla="*/ 733 w 18279"/>
                    <a:gd name="connsiteY3" fmla="*/ 12813 h 18388"/>
                    <a:gd name="connsiteX4" fmla="*/ 5517 w 18279"/>
                    <a:gd name="connsiteY4" fmla="*/ 732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9" h="18388">
                      <a:moveTo>
                        <a:pt x="5517" y="732"/>
                      </a:moveTo>
                      <a:cubicBezTo>
                        <a:pt x="10183" y="-1242"/>
                        <a:pt x="15565" y="911"/>
                        <a:pt x="17539" y="5576"/>
                      </a:cubicBezTo>
                      <a:cubicBezTo>
                        <a:pt x="19512" y="10241"/>
                        <a:pt x="17419" y="15684"/>
                        <a:pt x="12754" y="17657"/>
                      </a:cubicBezTo>
                      <a:cubicBezTo>
                        <a:pt x="8089" y="19631"/>
                        <a:pt x="2707" y="17478"/>
                        <a:pt x="733" y="12813"/>
                      </a:cubicBezTo>
                      <a:cubicBezTo>
                        <a:pt x="-1241" y="8148"/>
                        <a:pt x="912" y="2705"/>
                        <a:pt x="5517" y="732"/>
                      </a:cubicBezTo>
                      <a:close/>
                    </a:path>
                  </a:pathLst>
                </a:custGeom>
                <a:grpFill/>
                <a:ln w="5978" cap="flat">
                  <a:noFill/>
                  <a:prstDash val="solid"/>
                  <a:miter/>
                </a:ln>
              </p:spPr>
              <p:txBody>
                <a:bodyPr rtlCol="0" anchor="ctr"/>
                <a:lstStyle/>
                <a:p>
                  <a:endParaRPr lang="en-GB"/>
                </a:p>
              </p:txBody>
            </p:sp>
            <p:sp>
              <p:nvSpPr>
                <p:cNvPr id="4760" name="Vrije vorm: vorm 4759">
                  <a:extLst>
                    <a:ext uri="{FF2B5EF4-FFF2-40B4-BE49-F238E27FC236}">
                      <a16:creationId xmlns:a16="http://schemas.microsoft.com/office/drawing/2014/main" id="{F7091E99-4BBE-4695-9776-261679EAE85B}"/>
                    </a:ext>
                  </a:extLst>
                </p:cNvPr>
                <p:cNvSpPr/>
                <p:nvPr/>
              </p:nvSpPr>
              <p:spPr>
                <a:xfrm>
                  <a:off x="7582629" y="2749578"/>
                  <a:ext cx="18330" cy="18439"/>
                </a:xfrm>
                <a:custGeom>
                  <a:avLst/>
                  <a:gdLst>
                    <a:gd name="connsiteX0" fmla="*/ 5551 w 18330"/>
                    <a:gd name="connsiteY0" fmla="*/ 757 h 18439"/>
                    <a:gd name="connsiteX1" fmla="*/ 767 w 18330"/>
                    <a:gd name="connsiteY1" fmla="*/ 12838 h 18439"/>
                    <a:gd name="connsiteX2" fmla="*/ 12788 w 18330"/>
                    <a:gd name="connsiteY2" fmla="*/ 17682 h 18439"/>
                    <a:gd name="connsiteX3" fmla="*/ 17572 w 18330"/>
                    <a:gd name="connsiteY3" fmla="*/ 5601 h 18439"/>
                    <a:gd name="connsiteX4" fmla="*/ 5551 w 18330"/>
                    <a:gd name="connsiteY4" fmla="*/ 757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39">
                      <a:moveTo>
                        <a:pt x="5551" y="757"/>
                      </a:moveTo>
                      <a:cubicBezTo>
                        <a:pt x="886" y="2731"/>
                        <a:pt x="-1267" y="8173"/>
                        <a:pt x="767" y="12838"/>
                      </a:cubicBezTo>
                      <a:cubicBezTo>
                        <a:pt x="2740" y="17503"/>
                        <a:pt x="8183" y="19716"/>
                        <a:pt x="12788" y="17682"/>
                      </a:cubicBezTo>
                      <a:cubicBezTo>
                        <a:pt x="17393" y="15649"/>
                        <a:pt x="19606" y="10266"/>
                        <a:pt x="17572" y="5601"/>
                      </a:cubicBezTo>
                      <a:cubicBezTo>
                        <a:pt x="15599" y="936"/>
                        <a:pt x="10216" y="-1276"/>
                        <a:pt x="5551" y="757"/>
                      </a:cubicBezTo>
                      <a:close/>
                    </a:path>
                  </a:pathLst>
                </a:custGeom>
                <a:grpFill/>
                <a:ln w="5978" cap="flat">
                  <a:noFill/>
                  <a:prstDash val="solid"/>
                  <a:miter/>
                </a:ln>
              </p:spPr>
              <p:txBody>
                <a:bodyPr rtlCol="0" anchor="ctr"/>
                <a:lstStyle/>
                <a:p>
                  <a:endParaRPr lang="en-GB"/>
                </a:p>
              </p:txBody>
            </p:sp>
          </p:grpSp>
          <p:grpSp>
            <p:nvGrpSpPr>
              <p:cNvPr id="208" name="Graphic 3">
                <a:extLst>
                  <a:ext uri="{FF2B5EF4-FFF2-40B4-BE49-F238E27FC236}">
                    <a16:creationId xmlns:a16="http://schemas.microsoft.com/office/drawing/2014/main" id="{0F0EF08D-ED87-4470-BDE4-B2FF75E0AAEC}"/>
                  </a:ext>
                </a:extLst>
              </p:cNvPr>
              <p:cNvGrpSpPr/>
              <p:nvPr/>
            </p:nvGrpSpPr>
            <p:grpSpPr>
              <a:xfrm>
                <a:off x="7459492" y="2439853"/>
                <a:ext cx="103193" cy="73282"/>
                <a:chOff x="7459492" y="2439853"/>
                <a:chExt cx="103193" cy="73282"/>
              </a:xfrm>
              <a:grpFill/>
            </p:grpSpPr>
            <p:sp>
              <p:nvSpPr>
                <p:cNvPr id="4755" name="Vrije vorm: vorm 4754">
                  <a:extLst>
                    <a:ext uri="{FF2B5EF4-FFF2-40B4-BE49-F238E27FC236}">
                      <a16:creationId xmlns:a16="http://schemas.microsoft.com/office/drawing/2014/main" id="{C7CA5C14-49B5-4F8D-85E0-A63952B1D63E}"/>
                    </a:ext>
                  </a:extLst>
                </p:cNvPr>
                <p:cNvSpPr/>
                <p:nvPr/>
              </p:nvSpPr>
              <p:spPr>
                <a:xfrm>
                  <a:off x="7467429" y="2447531"/>
                  <a:ext cx="87318" cy="57893"/>
                </a:xfrm>
                <a:custGeom>
                  <a:avLst/>
                  <a:gdLst>
                    <a:gd name="connsiteX0" fmla="*/ 87318 w 87318"/>
                    <a:gd name="connsiteY0" fmla="*/ 2572 h 57893"/>
                    <a:gd name="connsiteX1" fmla="*/ 1675 w 87318"/>
                    <a:gd name="connsiteY1" fmla="*/ 57893 h 57893"/>
                    <a:gd name="connsiteX2" fmla="*/ 0 w 87318"/>
                    <a:gd name="connsiteY2" fmla="*/ 55322 h 57893"/>
                    <a:gd name="connsiteX3" fmla="*/ 85644 w 87318"/>
                    <a:gd name="connsiteY3" fmla="*/ 0 h 57893"/>
                  </a:gdLst>
                  <a:ahLst/>
                  <a:cxnLst>
                    <a:cxn ang="0">
                      <a:pos x="connsiteX0" y="connsiteY0"/>
                    </a:cxn>
                    <a:cxn ang="0">
                      <a:pos x="connsiteX1" y="connsiteY1"/>
                    </a:cxn>
                    <a:cxn ang="0">
                      <a:pos x="connsiteX2" y="connsiteY2"/>
                    </a:cxn>
                    <a:cxn ang="0">
                      <a:pos x="connsiteX3" y="connsiteY3"/>
                    </a:cxn>
                  </a:cxnLst>
                  <a:rect l="l" t="t" r="r" b="b"/>
                  <a:pathLst>
                    <a:path w="87318" h="57893">
                      <a:moveTo>
                        <a:pt x="87318" y="2572"/>
                      </a:moveTo>
                      <a:lnTo>
                        <a:pt x="1675" y="57893"/>
                      </a:lnTo>
                      <a:lnTo>
                        <a:pt x="0" y="55322"/>
                      </a:lnTo>
                      <a:lnTo>
                        <a:pt x="85644" y="0"/>
                      </a:lnTo>
                      <a:close/>
                    </a:path>
                  </a:pathLst>
                </a:custGeom>
                <a:grpFill/>
                <a:ln w="5978" cap="flat">
                  <a:noFill/>
                  <a:prstDash val="solid"/>
                  <a:miter/>
                </a:ln>
              </p:spPr>
              <p:txBody>
                <a:bodyPr rtlCol="0" anchor="ctr"/>
                <a:lstStyle/>
                <a:p>
                  <a:endParaRPr lang="en-GB"/>
                </a:p>
              </p:txBody>
            </p:sp>
            <p:sp>
              <p:nvSpPr>
                <p:cNvPr id="4756" name="Vrije vorm: vorm 4755">
                  <a:extLst>
                    <a:ext uri="{FF2B5EF4-FFF2-40B4-BE49-F238E27FC236}">
                      <a16:creationId xmlns:a16="http://schemas.microsoft.com/office/drawing/2014/main" id="{9EB5A77D-7AB5-4438-BDFD-55E75CBA695E}"/>
                    </a:ext>
                  </a:extLst>
                </p:cNvPr>
                <p:cNvSpPr/>
                <p:nvPr/>
              </p:nvSpPr>
              <p:spPr>
                <a:xfrm>
                  <a:off x="7544358" y="2439853"/>
                  <a:ext cx="18327" cy="18465"/>
                </a:xfrm>
                <a:custGeom>
                  <a:avLst/>
                  <a:gdLst>
                    <a:gd name="connsiteX0" fmla="*/ 4169 w 18327"/>
                    <a:gd name="connsiteY0" fmla="*/ 1458 h 18465"/>
                    <a:gd name="connsiteX1" fmla="*/ 16849 w 18327"/>
                    <a:gd name="connsiteY1" fmla="*/ 4269 h 18465"/>
                    <a:gd name="connsiteX2" fmla="*/ 14158 w 18327"/>
                    <a:gd name="connsiteY2" fmla="*/ 17008 h 18465"/>
                    <a:gd name="connsiteX3" fmla="*/ 1478 w 18327"/>
                    <a:gd name="connsiteY3" fmla="*/ 14197 h 18465"/>
                    <a:gd name="connsiteX4" fmla="*/ 4169 w 18327"/>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5">
                      <a:moveTo>
                        <a:pt x="4169" y="1458"/>
                      </a:moveTo>
                      <a:cubicBezTo>
                        <a:pt x="8416" y="-1293"/>
                        <a:pt x="14098" y="-37"/>
                        <a:pt x="16849" y="4269"/>
                      </a:cubicBezTo>
                      <a:cubicBezTo>
                        <a:pt x="19600" y="8575"/>
                        <a:pt x="18404" y="14257"/>
                        <a:pt x="14158" y="17008"/>
                      </a:cubicBezTo>
                      <a:cubicBezTo>
                        <a:pt x="9911" y="19759"/>
                        <a:pt x="4229" y="18503"/>
                        <a:pt x="1478" y="14197"/>
                      </a:cubicBezTo>
                      <a:cubicBezTo>
                        <a:pt x="-1272" y="9891"/>
                        <a:pt x="-77" y="4209"/>
                        <a:pt x="4169" y="1458"/>
                      </a:cubicBezTo>
                      <a:close/>
                    </a:path>
                  </a:pathLst>
                </a:custGeom>
                <a:grpFill/>
                <a:ln w="5978" cap="flat">
                  <a:noFill/>
                  <a:prstDash val="solid"/>
                  <a:miter/>
                </a:ln>
              </p:spPr>
              <p:txBody>
                <a:bodyPr rtlCol="0" anchor="ctr"/>
                <a:lstStyle/>
                <a:p>
                  <a:endParaRPr lang="en-GB"/>
                </a:p>
              </p:txBody>
            </p:sp>
            <p:sp>
              <p:nvSpPr>
                <p:cNvPr id="4757" name="Vrije vorm: vorm 4756">
                  <a:extLst>
                    <a:ext uri="{FF2B5EF4-FFF2-40B4-BE49-F238E27FC236}">
                      <a16:creationId xmlns:a16="http://schemas.microsoft.com/office/drawing/2014/main" id="{AC4043E3-1DFF-446B-8BD2-A53A1E665290}"/>
                    </a:ext>
                  </a:extLst>
                </p:cNvPr>
                <p:cNvSpPr/>
                <p:nvPr/>
              </p:nvSpPr>
              <p:spPr>
                <a:xfrm>
                  <a:off x="7459492" y="2494696"/>
                  <a:ext cx="18327" cy="18439"/>
                </a:xfrm>
                <a:custGeom>
                  <a:avLst/>
                  <a:gdLst>
                    <a:gd name="connsiteX0" fmla="*/ 4170 w 18327"/>
                    <a:gd name="connsiteY0" fmla="*/ 1458 h 18439"/>
                    <a:gd name="connsiteX1" fmla="*/ 1479 w 18327"/>
                    <a:gd name="connsiteY1" fmla="*/ 14197 h 18439"/>
                    <a:gd name="connsiteX2" fmla="*/ 14158 w 18327"/>
                    <a:gd name="connsiteY2" fmla="*/ 17008 h 18439"/>
                    <a:gd name="connsiteX3" fmla="*/ 16849 w 18327"/>
                    <a:gd name="connsiteY3" fmla="*/ 4269 h 18439"/>
                    <a:gd name="connsiteX4" fmla="*/ 4170 w 18327"/>
                    <a:gd name="connsiteY4" fmla="*/ 1458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9">
                      <a:moveTo>
                        <a:pt x="4170" y="1458"/>
                      </a:moveTo>
                      <a:cubicBezTo>
                        <a:pt x="-76" y="4209"/>
                        <a:pt x="-1273" y="9891"/>
                        <a:pt x="1479" y="14197"/>
                      </a:cubicBezTo>
                      <a:cubicBezTo>
                        <a:pt x="4230" y="18503"/>
                        <a:pt x="9911" y="19699"/>
                        <a:pt x="14158" y="17008"/>
                      </a:cubicBezTo>
                      <a:cubicBezTo>
                        <a:pt x="18404" y="14257"/>
                        <a:pt x="19600" y="8575"/>
                        <a:pt x="16849" y="4269"/>
                      </a:cubicBezTo>
                      <a:cubicBezTo>
                        <a:pt x="14098" y="-37"/>
                        <a:pt x="8416" y="-1293"/>
                        <a:pt x="4170" y="1458"/>
                      </a:cubicBezTo>
                      <a:close/>
                    </a:path>
                  </a:pathLst>
                </a:custGeom>
                <a:grpFill/>
                <a:ln w="5978" cap="flat">
                  <a:noFill/>
                  <a:prstDash val="solid"/>
                  <a:miter/>
                </a:ln>
              </p:spPr>
              <p:txBody>
                <a:bodyPr rtlCol="0" anchor="ctr"/>
                <a:lstStyle/>
                <a:p>
                  <a:endParaRPr lang="en-GB"/>
                </a:p>
              </p:txBody>
            </p:sp>
          </p:grpSp>
          <p:grpSp>
            <p:nvGrpSpPr>
              <p:cNvPr id="209" name="Graphic 3">
                <a:extLst>
                  <a:ext uri="{FF2B5EF4-FFF2-40B4-BE49-F238E27FC236}">
                    <a16:creationId xmlns:a16="http://schemas.microsoft.com/office/drawing/2014/main" id="{ED30AFA0-DF1D-4E4D-B460-3D0D0306F2A3}"/>
                  </a:ext>
                </a:extLst>
              </p:cNvPr>
              <p:cNvGrpSpPr/>
              <p:nvPr/>
            </p:nvGrpSpPr>
            <p:grpSpPr>
              <a:xfrm>
                <a:off x="7788024" y="3552676"/>
                <a:ext cx="188029" cy="32538"/>
                <a:chOff x="7788024" y="3552676"/>
                <a:chExt cx="188029" cy="32538"/>
              </a:xfrm>
              <a:grpFill/>
            </p:grpSpPr>
            <p:sp>
              <p:nvSpPr>
                <p:cNvPr id="4752" name="Vrije vorm: vorm 4751">
                  <a:extLst>
                    <a:ext uri="{FF2B5EF4-FFF2-40B4-BE49-F238E27FC236}">
                      <a16:creationId xmlns:a16="http://schemas.microsoft.com/office/drawing/2014/main" id="{C43F7243-28E6-47FD-AF53-DE1E0DAFC68A}"/>
                    </a:ext>
                  </a:extLst>
                </p:cNvPr>
                <p:cNvSpPr/>
                <p:nvPr/>
              </p:nvSpPr>
              <p:spPr>
                <a:xfrm>
                  <a:off x="7796609" y="3560304"/>
                  <a:ext cx="170809" cy="17224"/>
                </a:xfrm>
                <a:custGeom>
                  <a:avLst/>
                  <a:gdLst>
                    <a:gd name="connsiteX0" fmla="*/ 170809 w 170809"/>
                    <a:gd name="connsiteY0" fmla="*/ 14174 h 17224"/>
                    <a:gd name="connsiteX1" fmla="*/ 170570 w 170809"/>
                    <a:gd name="connsiteY1" fmla="*/ 17225 h 17224"/>
                    <a:gd name="connsiteX2" fmla="*/ 0 w 170809"/>
                    <a:gd name="connsiteY2" fmla="*/ 3050 h 17224"/>
                    <a:gd name="connsiteX3" fmla="*/ 239 w 170809"/>
                    <a:gd name="connsiteY3" fmla="*/ 0 h 17224"/>
                  </a:gdLst>
                  <a:ahLst/>
                  <a:cxnLst>
                    <a:cxn ang="0">
                      <a:pos x="connsiteX0" y="connsiteY0"/>
                    </a:cxn>
                    <a:cxn ang="0">
                      <a:pos x="connsiteX1" y="connsiteY1"/>
                    </a:cxn>
                    <a:cxn ang="0">
                      <a:pos x="connsiteX2" y="connsiteY2"/>
                    </a:cxn>
                    <a:cxn ang="0">
                      <a:pos x="connsiteX3" y="connsiteY3"/>
                    </a:cxn>
                  </a:cxnLst>
                  <a:rect l="l" t="t" r="r" b="b"/>
                  <a:pathLst>
                    <a:path w="170809" h="17224">
                      <a:moveTo>
                        <a:pt x="170809" y="14174"/>
                      </a:moveTo>
                      <a:lnTo>
                        <a:pt x="170570" y="17225"/>
                      </a:lnTo>
                      <a:lnTo>
                        <a:pt x="0" y="3050"/>
                      </a:lnTo>
                      <a:lnTo>
                        <a:pt x="239" y="0"/>
                      </a:lnTo>
                      <a:close/>
                    </a:path>
                  </a:pathLst>
                </a:custGeom>
                <a:grpFill/>
                <a:ln w="5978" cap="flat">
                  <a:noFill/>
                  <a:prstDash val="solid"/>
                  <a:miter/>
                </a:ln>
              </p:spPr>
              <p:txBody>
                <a:bodyPr rtlCol="0" anchor="ctr"/>
                <a:lstStyle/>
                <a:p>
                  <a:endParaRPr lang="en-GB"/>
                </a:p>
              </p:txBody>
            </p:sp>
            <p:sp>
              <p:nvSpPr>
                <p:cNvPr id="4753" name="Vrije vorm: vorm 4752">
                  <a:extLst>
                    <a:ext uri="{FF2B5EF4-FFF2-40B4-BE49-F238E27FC236}">
                      <a16:creationId xmlns:a16="http://schemas.microsoft.com/office/drawing/2014/main" id="{2936378C-D1E6-4322-B3A5-2F2F85DED5CD}"/>
                    </a:ext>
                  </a:extLst>
                </p:cNvPr>
                <p:cNvSpPr/>
                <p:nvPr/>
              </p:nvSpPr>
              <p:spPr>
                <a:xfrm>
                  <a:off x="7957705" y="3566791"/>
                  <a:ext cx="18348" cy="18424"/>
                </a:xfrm>
                <a:custGeom>
                  <a:avLst/>
                  <a:gdLst>
                    <a:gd name="connsiteX0" fmla="*/ 9892 w 18348"/>
                    <a:gd name="connsiteY0" fmla="*/ 32 h 18424"/>
                    <a:gd name="connsiteX1" fmla="*/ 18325 w 18348"/>
                    <a:gd name="connsiteY1" fmla="*/ 9960 h 18424"/>
                    <a:gd name="connsiteX2" fmla="*/ 8457 w 18348"/>
                    <a:gd name="connsiteY2" fmla="*/ 18393 h 18424"/>
                    <a:gd name="connsiteX3" fmla="*/ 24 w 18348"/>
                    <a:gd name="connsiteY3" fmla="*/ 8465 h 18424"/>
                    <a:gd name="connsiteX4" fmla="*/ 9892 w 18348"/>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4">
                      <a:moveTo>
                        <a:pt x="9892" y="32"/>
                      </a:moveTo>
                      <a:cubicBezTo>
                        <a:pt x="14916" y="450"/>
                        <a:pt x="18683" y="4876"/>
                        <a:pt x="18325" y="9960"/>
                      </a:cubicBezTo>
                      <a:cubicBezTo>
                        <a:pt x="17906" y="15043"/>
                        <a:pt x="13540" y="18811"/>
                        <a:pt x="8457" y="18393"/>
                      </a:cubicBezTo>
                      <a:cubicBezTo>
                        <a:pt x="3433" y="17974"/>
                        <a:pt x="-335" y="13548"/>
                        <a:pt x="24" y="8465"/>
                      </a:cubicBezTo>
                      <a:cubicBezTo>
                        <a:pt x="443" y="3381"/>
                        <a:pt x="4808" y="-387"/>
                        <a:pt x="9892" y="32"/>
                      </a:cubicBezTo>
                      <a:close/>
                    </a:path>
                  </a:pathLst>
                </a:custGeom>
                <a:grpFill/>
                <a:ln w="5978" cap="flat">
                  <a:noFill/>
                  <a:prstDash val="solid"/>
                  <a:miter/>
                </a:ln>
              </p:spPr>
              <p:txBody>
                <a:bodyPr rtlCol="0" anchor="ctr"/>
                <a:lstStyle/>
                <a:p>
                  <a:endParaRPr lang="en-GB"/>
                </a:p>
              </p:txBody>
            </p:sp>
            <p:sp>
              <p:nvSpPr>
                <p:cNvPr id="4754" name="Vrije vorm: vorm 4753">
                  <a:extLst>
                    <a:ext uri="{FF2B5EF4-FFF2-40B4-BE49-F238E27FC236}">
                      <a16:creationId xmlns:a16="http://schemas.microsoft.com/office/drawing/2014/main" id="{7E7AC719-6548-418F-919F-9DEAE8A09271}"/>
                    </a:ext>
                  </a:extLst>
                </p:cNvPr>
                <p:cNvSpPr/>
                <p:nvPr/>
              </p:nvSpPr>
              <p:spPr>
                <a:xfrm>
                  <a:off x="7788024" y="3552676"/>
                  <a:ext cx="18356" cy="18424"/>
                </a:xfrm>
                <a:custGeom>
                  <a:avLst/>
                  <a:gdLst>
                    <a:gd name="connsiteX0" fmla="*/ 9900 w 18356"/>
                    <a:gd name="connsiteY0" fmla="*/ 32 h 18424"/>
                    <a:gd name="connsiteX1" fmla="*/ 32 w 18356"/>
                    <a:gd name="connsiteY1" fmla="*/ 8465 h 18424"/>
                    <a:gd name="connsiteX2" fmla="*/ 8465 w 18356"/>
                    <a:gd name="connsiteY2" fmla="*/ 18393 h 18424"/>
                    <a:gd name="connsiteX3" fmla="*/ 18333 w 18356"/>
                    <a:gd name="connsiteY3" fmla="*/ 9960 h 18424"/>
                    <a:gd name="connsiteX4" fmla="*/ 9900 w 18356"/>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4">
                      <a:moveTo>
                        <a:pt x="9900" y="32"/>
                      </a:moveTo>
                      <a:cubicBezTo>
                        <a:pt x="4876" y="-387"/>
                        <a:pt x="451" y="3381"/>
                        <a:pt x="32" y="8465"/>
                      </a:cubicBezTo>
                      <a:cubicBezTo>
                        <a:pt x="-387" y="13548"/>
                        <a:pt x="3381" y="17974"/>
                        <a:pt x="8465" y="18393"/>
                      </a:cubicBezTo>
                      <a:cubicBezTo>
                        <a:pt x="13548" y="18811"/>
                        <a:pt x="17914" y="15043"/>
                        <a:pt x="18333" y="9960"/>
                      </a:cubicBezTo>
                      <a:cubicBezTo>
                        <a:pt x="18692" y="4876"/>
                        <a:pt x="14924" y="450"/>
                        <a:pt x="9900" y="32"/>
                      </a:cubicBezTo>
                      <a:close/>
                    </a:path>
                  </a:pathLst>
                </a:custGeom>
                <a:grpFill/>
                <a:ln w="5978" cap="flat">
                  <a:noFill/>
                  <a:prstDash val="solid"/>
                  <a:miter/>
                </a:ln>
              </p:spPr>
              <p:txBody>
                <a:bodyPr rtlCol="0" anchor="ctr"/>
                <a:lstStyle/>
                <a:p>
                  <a:endParaRPr lang="en-GB"/>
                </a:p>
              </p:txBody>
            </p:sp>
          </p:grpSp>
          <p:grpSp>
            <p:nvGrpSpPr>
              <p:cNvPr id="210" name="Graphic 3">
                <a:extLst>
                  <a:ext uri="{FF2B5EF4-FFF2-40B4-BE49-F238E27FC236}">
                    <a16:creationId xmlns:a16="http://schemas.microsoft.com/office/drawing/2014/main" id="{6AF4A919-36F8-4931-A762-A93421048A45}"/>
                  </a:ext>
                </a:extLst>
              </p:cNvPr>
              <p:cNvGrpSpPr/>
              <p:nvPr/>
            </p:nvGrpSpPr>
            <p:grpSpPr>
              <a:xfrm>
                <a:off x="7840097" y="3693384"/>
                <a:ext cx="198183" cy="47049"/>
                <a:chOff x="7840097" y="3693384"/>
                <a:chExt cx="198183" cy="47049"/>
              </a:xfrm>
              <a:grpFill/>
            </p:grpSpPr>
            <p:sp>
              <p:nvSpPr>
                <p:cNvPr id="4749" name="Vrije vorm: vorm 4748">
                  <a:extLst>
                    <a:ext uri="{FF2B5EF4-FFF2-40B4-BE49-F238E27FC236}">
                      <a16:creationId xmlns:a16="http://schemas.microsoft.com/office/drawing/2014/main" id="{47644D5A-5271-4091-99E2-AA64CE400604}"/>
                    </a:ext>
                  </a:extLst>
                </p:cNvPr>
                <p:cNvSpPr/>
                <p:nvPr/>
              </p:nvSpPr>
              <p:spPr>
                <a:xfrm>
                  <a:off x="7848581" y="3701030"/>
                  <a:ext cx="181216" cy="31757"/>
                </a:xfrm>
                <a:custGeom>
                  <a:avLst/>
                  <a:gdLst>
                    <a:gd name="connsiteX0" fmla="*/ 181216 w 181216"/>
                    <a:gd name="connsiteY0" fmla="*/ 28767 h 31757"/>
                    <a:gd name="connsiteX1" fmla="*/ 180737 w 181216"/>
                    <a:gd name="connsiteY1" fmla="*/ 31758 h 31757"/>
                    <a:gd name="connsiteX2" fmla="*/ 0 w 181216"/>
                    <a:gd name="connsiteY2" fmla="*/ 2990 h 31757"/>
                    <a:gd name="connsiteX3" fmla="*/ 478 w 181216"/>
                    <a:gd name="connsiteY3" fmla="*/ 0 h 31757"/>
                  </a:gdLst>
                  <a:ahLst/>
                  <a:cxnLst>
                    <a:cxn ang="0">
                      <a:pos x="connsiteX0" y="connsiteY0"/>
                    </a:cxn>
                    <a:cxn ang="0">
                      <a:pos x="connsiteX1" y="connsiteY1"/>
                    </a:cxn>
                    <a:cxn ang="0">
                      <a:pos x="connsiteX2" y="connsiteY2"/>
                    </a:cxn>
                    <a:cxn ang="0">
                      <a:pos x="connsiteX3" y="connsiteY3"/>
                    </a:cxn>
                  </a:cxnLst>
                  <a:rect l="l" t="t" r="r" b="b"/>
                  <a:pathLst>
                    <a:path w="181216" h="31757">
                      <a:moveTo>
                        <a:pt x="181216" y="28767"/>
                      </a:moveTo>
                      <a:lnTo>
                        <a:pt x="180737" y="31758"/>
                      </a:lnTo>
                      <a:lnTo>
                        <a:pt x="0" y="2990"/>
                      </a:lnTo>
                      <a:lnTo>
                        <a:pt x="478" y="0"/>
                      </a:lnTo>
                      <a:close/>
                    </a:path>
                  </a:pathLst>
                </a:custGeom>
                <a:grpFill/>
                <a:ln w="5978" cap="flat">
                  <a:noFill/>
                  <a:prstDash val="solid"/>
                  <a:miter/>
                </a:ln>
              </p:spPr>
              <p:txBody>
                <a:bodyPr rtlCol="0" anchor="ctr"/>
                <a:lstStyle/>
                <a:p>
                  <a:endParaRPr lang="en-GB"/>
                </a:p>
              </p:txBody>
            </p:sp>
            <p:sp>
              <p:nvSpPr>
                <p:cNvPr id="4750" name="Vrije vorm: vorm 4749">
                  <a:extLst>
                    <a:ext uri="{FF2B5EF4-FFF2-40B4-BE49-F238E27FC236}">
                      <a16:creationId xmlns:a16="http://schemas.microsoft.com/office/drawing/2014/main" id="{5F0D2BAD-A4E9-49E9-A6BD-FFFA3D304F84}"/>
                    </a:ext>
                  </a:extLst>
                </p:cNvPr>
                <p:cNvSpPr/>
                <p:nvPr/>
              </p:nvSpPr>
              <p:spPr>
                <a:xfrm>
                  <a:off x="8019938" y="3722017"/>
                  <a:ext cx="18342" cy="18416"/>
                </a:xfrm>
                <a:custGeom>
                  <a:avLst/>
                  <a:gdLst>
                    <a:gd name="connsiteX0" fmla="*/ 10577 w 18342"/>
                    <a:gd name="connsiteY0" fmla="*/ 125 h 18416"/>
                    <a:gd name="connsiteX1" fmla="*/ 18232 w 18342"/>
                    <a:gd name="connsiteY1" fmla="*/ 10651 h 18416"/>
                    <a:gd name="connsiteX2" fmla="*/ 7766 w 18342"/>
                    <a:gd name="connsiteY2" fmla="*/ 18306 h 18416"/>
                    <a:gd name="connsiteX3" fmla="*/ 110 w 18342"/>
                    <a:gd name="connsiteY3" fmla="*/ 7780 h 18416"/>
                    <a:gd name="connsiteX4" fmla="*/ 10577 w 18342"/>
                    <a:gd name="connsiteY4" fmla="*/ 125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6">
                      <a:moveTo>
                        <a:pt x="10577" y="125"/>
                      </a:moveTo>
                      <a:cubicBezTo>
                        <a:pt x="15600" y="902"/>
                        <a:pt x="19009" y="5627"/>
                        <a:pt x="18232" y="10651"/>
                      </a:cubicBezTo>
                      <a:cubicBezTo>
                        <a:pt x="17455" y="15675"/>
                        <a:pt x="12790" y="19084"/>
                        <a:pt x="7766" y="18306"/>
                      </a:cubicBezTo>
                      <a:cubicBezTo>
                        <a:pt x="2742" y="17529"/>
                        <a:pt x="-667" y="12804"/>
                        <a:pt x="110" y="7780"/>
                      </a:cubicBezTo>
                      <a:cubicBezTo>
                        <a:pt x="888" y="2756"/>
                        <a:pt x="5552" y="-712"/>
                        <a:pt x="10577" y="125"/>
                      </a:cubicBezTo>
                      <a:close/>
                    </a:path>
                  </a:pathLst>
                </a:custGeom>
                <a:grpFill/>
                <a:ln w="5978" cap="flat">
                  <a:noFill/>
                  <a:prstDash val="solid"/>
                  <a:miter/>
                </a:ln>
              </p:spPr>
              <p:txBody>
                <a:bodyPr rtlCol="0" anchor="ctr"/>
                <a:lstStyle/>
                <a:p>
                  <a:endParaRPr lang="en-GB"/>
                </a:p>
              </p:txBody>
            </p:sp>
            <p:sp>
              <p:nvSpPr>
                <p:cNvPr id="4751" name="Vrije vorm: vorm 4750">
                  <a:extLst>
                    <a:ext uri="{FF2B5EF4-FFF2-40B4-BE49-F238E27FC236}">
                      <a16:creationId xmlns:a16="http://schemas.microsoft.com/office/drawing/2014/main" id="{E5E7C7EE-FC25-4F12-BB71-22316EDB0251}"/>
                    </a:ext>
                  </a:extLst>
                </p:cNvPr>
                <p:cNvSpPr/>
                <p:nvPr/>
              </p:nvSpPr>
              <p:spPr>
                <a:xfrm>
                  <a:off x="7840097" y="3693384"/>
                  <a:ext cx="18342" cy="18402"/>
                </a:xfrm>
                <a:custGeom>
                  <a:avLst/>
                  <a:gdLst>
                    <a:gd name="connsiteX0" fmla="*/ 10577 w 18342"/>
                    <a:gd name="connsiteY0" fmla="*/ 110 h 18402"/>
                    <a:gd name="connsiteX1" fmla="*/ 110 w 18342"/>
                    <a:gd name="connsiteY1" fmla="*/ 7766 h 18402"/>
                    <a:gd name="connsiteX2" fmla="*/ 7766 w 18342"/>
                    <a:gd name="connsiteY2" fmla="*/ 18292 h 18402"/>
                    <a:gd name="connsiteX3" fmla="*/ 18232 w 18342"/>
                    <a:gd name="connsiteY3" fmla="*/ 10636 h 18402"/>
                    <a:gd name="connsiteX4" fmla="*/ 10577 w 18342"/>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2">
                      <a:moveTo>
                        <a:pt x="10577" y="110"/>
                      </a:moveTo>
                      <a:cubicBezTo>
                        <a:pt x="5553" y="-667"/>
                        <a:pt x="888" y="2742"/>
                        <a:pt x="110" y="7766"/>
                      </a:cubicBezTo>
                      <a:cubicBezTo>
                        <a:pt x="-667" y="12790"/>
                        <a:pt x="2742" y="17514"/>
                        <a:pt x="7766" y="18292"/>
                      </a:cubicBezTo>
                      <a:cubicBezTo>
                        <a:pt x="12790" y="19069"/>
                        <a:pt x="17455" y="15660"/>
                        <a:pt x="18232" y="10636"/>
                      </a:cubicBezTo>
                      <a:cubicBezTo>
                        <a:pt x="19010" y="5613"/>
                        <a:pt x="15601" y="948"/>
                        <a:pt x="10577" y="110"/>
                      </a:cubicBezTo>
                      <a:close/>
                    </a:path>
                  </a:pathLst>
                </a:custGeom>
                <a:grpFill/>
                <a:ln w="5978" cap="flat">
                  <a:noFill/>
                  <a:prstDash val="solid"/>
                  <a:miter/>
                </a:ln>
              </p:spPr>
              <p:txBody>
                <a:bodyPr rtlCol="0" anchor="ctr"/>
                <a:lstStyle/>
                <a:p>
                  <a:endParaRPr lang="en-GB"/>
                </a:p>
              </p:txBody>
            </p:sp>
          </p:grpSp>
          <p:grpSp>
            <p:nvGrpSpPr>
              <p:cNvPr id="211" name="Graphic 3">
                <a:extLst>
                  <a:ext uri="{FF2B5EF4-FFF2-40B4-BE49-F238E27FC236}">
                    <a16:creationId xmlns:a16="http://schemas.microsoft.com/office/drawing/2014/main" id="{E39DC7B5-A940-4530-8179-C8A740D0C9EC}"/>
                  </a:ext>
                </a:extLst>
              </p:cNvPr>
              <p:cNvGrpSpPr/>
              <p:nvPr/>
            </p:nvGrpSpPr>
            <p:grpSpPr>
              <a:xfrm>
                <a:off x="7144566" y="1440073"/>
                <a:ext cx="22355" cy="25608"/>
                <a:chOff x="7144566" y="1440073"/>
                <a:chExt cx="22355" cy="25608"/>
              </a:xfrm>
              <a:grpFill/>
            </p:grpSpPr>
            <p:sp>
              <p:nvSpPr>
                <p:cNvPr id="4746" name="Vrije vorm: vorm 4745">
                  <a:extLst>
                    <a:ext uri="{FF2B5EF4-FFF2-40B4-BE49-F238E27FC236}">
                      <a16:creationId xmlns:a16="http://schemas.microsoft.com/office/drawing/2014/main" id="{C50698E7-5C74-4A1E-9760-7748D44B7C57}"/>
                    </a:ext>
                  </a:extLst>
                </p:cNvPr>
                <p:cNvSpPr/>
                <p:nvPr/>
              </p:nvSpPr>
              <p:spPr>
                <a:xfrm>
                  <a:off x="7152246" y="1448152"/>
                  <a:ext cx="7116" cy="9449"/>
                </a:xfrm>
                <a:custGeom>
                  <a:avLst/>
                  <a:gdLst>
                    <a:gd name="connsiteX0" fmla="*/ 7117 w 7116"/>
                    <a:gd name="connsiteY0" fmla="*/ 1495 h 9449"/>
                    <a:gd name="connsiteX1" fmla="*/ 2631 w 7116"/>
                    <a:gd name="connsiteY1" fmla="*/ 9450 h 9449"/>
                    <a:gd name="connsiteX2" fmla="*/ 0 w 7116"/>
                    <a:gd name="connsiteY2" fmla="*/ 7954 h 9449"/>
                    <a:gd name="connsiteX3" fmla="*/ 4426 w 7116"/>
                    <a:gd name="connsiteY3" fmla="*/ 0 h 9449"/>
                  </a:gdLst>
                  <a:ahLst/>
                  <a:cxnLst>
                    <a:cxn ang="0">
                      <a:pos x="connsiteX0" y="connsiteY0"/>
                    </a:cxn>
                    <a:cxn ang="0">
                      <a:pos x="connsiteX1" y="connsiteY1"/>
                    </a:cxn>
                    <a:cxn ang="0">
                      <a:pos x="connsiteX2" y="connsiteY2"/>
                    </a:cxn>
                    <a:cxn ang="0">
                      <a:pos x="connsiteX3" y="connsiteY3"/>
                    </a:cxn>
                  </a:cxnLst>
                  <a:rect l="l" t="t" r="r" b="b"/>
                  <a:pathLst>
                    <a:path w="7116" h="9449">
                      <a:moveTo>
                        <a:pt x="7117" y="1495"/>
                      </a:moveTo>
                      <a:lnTo>
                        <a:pt x="2631" y="9450"/>
                      </a:lnTo>
                      <a:lnTo>
                        <a:pt x="0" y="7954"/>
                      </a:lnTo>
                      <a:lnTo>
                        <a:pt x="4426" y="0"/>
                      </a:lnTo>
                      <a:close/>
                    </a:path>
                  </a:pathLst>
                </a:custGeom>
                <a:grpFill/>
                <a:ln w="5978" cap="flat">
                  <a:noFill/>
                  <a:prstDash val="solid"/>
                  <a:miter/>
                </a:ln>
              </p:spPr>
              <p:txBody>
                <a:bodyPr rtlCol="0" anchor="ctr"/>
                <a:lstStyle/>
                <a:p>
                  <a:endParaRPr lang="en-GB"/>
                </a:p>
              </p:txBody>
            </p:sp>
            <p:sp>
              <p:nvSpPr>
                <p:cNvPr id="4747" name="Vrije vorm: vorm 4746">
                  <a:extLst>
                    <a:ext uri="{FF2B5EF4-FFF2-40B4-BE49-F238E27FC236}">
                      <a16:creationId xmlns:a16="http://schemas.microsoft.com/office/drawing/2014/main" id="{443D9090-46BA-4A73-849E-13B7CABA2A21}"/>
                    </a:ext>
                  </a:extLst>
                </p:cNvPr>
                <p:cNvSpPr/>
                <p:nvPr/>
              </p:nvSpPr>
              <p:spPr>
                <a:xfrm>
                  <a:off x="7144566" y="1447250"/>
                  <a:ext cx="18387" cy="18431"/>
                </a:xfrm>
                <a:custGeom>
                  <a:avLst/>
                  <a:gdLst>
                    <a:gd name="connsiteX0" fmla="*/ 17189 w 18387"/>
                    <a:gd name="connsiteY0" fmla="*/ 13761 h 18431"/>
                    <a:gd name="connsiteX1" fmla="*/ 4689 w 18387"/>
                    <a:gd name="connsiteY1" fmla="*/ 17230 h 18431"/>
                    <a:gd name="connsiteX2" fmla="*/ 1160 w 18387"/>
                    <a:gd name="connsiteY2" fmla="*/ 4670 h 18431"/>
                    <a:gd name="connsiteX3" fmla="*/ 13660 w 18387"/>
                    <a:gd name="connsiteY3" fmla="*/ 1201 h 18431"/>
                    <a:gd name="connsiteX4" fmla="*/ 17189 w 18387"/>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7" h="18431">
                      <a:moveTo>
                        <a:pt x="17189" y="13761"/>
                      </a:moveTo>
                      <a:cubicBezTo>
                        <a:pt x="14736" y="18187"/>
                        <a:pt x="9115" y="19742"/>
                        <a:pt x="4689" y="17230"/>
                      </a:cubicBezTo>
                      <a:cubicBezTo>
                        <a:pt x="263" y="14718"/>
                        <a:pt x="-1292" y="9096"/>
                        <a:pt x="1160" y="4670"/>
                      </a:cubicBezTo>
                      <a:cubicBezTo>
                        <a:pt x="3612" y="245"/>
                        <a:pt x="9234" y="-1310"/>
                        <a:pt x="13660" y="1201"/>
                      </a:cubicBezTo>
                      <a:cubicBezTo>
                        <a:pt x="18146" y="3713"/>
                        <a:pt x="19700" y="9335"/>
                        <a:pt x="17189" y="13761"/>
                      </a:cubicBezTo>
                      <a:close/>
                    </a:path>
                  </a:pathLst>
                </a:custGeom>
                <a:grpFill/>
                <a:ln w="5978" cap="flat">
                  <a:noFill/>
                  <a:prstDash val="solid"/>
                  <a:miter/>
                </a:ln>
              </p:spPr>
              <p:txBody>
                <a:bodyPr rtlCol="0" anchor="ctr"/>
                <a:lstStyle/>
                <a:p>
                  <a:endParaRPr lang="en-GB"/>
                </a:p>
              </p:txBody>
            </p:sp>
            <p:sp>
              <p:nvSpPr>
                <p:cNvPr id="4748" name="Vrije vorm: vorm 4747">
                  <a:extLst>
                    <a:ext uri="{FF2B5EF4-FFF2-40B4-BE49-F238E27FC236}">
                      <a16:creationId xmlns:a16="http://schemas.microsoft.com/office/drawing/2014/main" id="{B0DB9A32-779E-4425-8B0D-BA2C64F20717}"/>
                    </a:ext>
                  </a:extLst>
                </p:cNvPr>
                <p:cNvSpPr/>
                <p:nvPr/>
              </p:nvSpPr>
              <p:spPr>
                <a:xfrm>
                  <a:off x="7148573" y="1440073"/>
                  <a:ext cx="18348" cy="18431"/>
                </a:xfrm>
                <a:custGeom>
                  <a:avLst/>
                  <a:gdLst>
                    <a:gd name="connsiteX0" fmla="*/ 17188 w 18348"/>
                    <a:gd name="connsiteY0" fmla="*/ 13761 h 18431"/>
                    <a:gd name="connsiteX1" fmla="*/ 13660 w 18348"/>
                    <a:gd name="connsiteY1" fmla="*/ 1201 h 18431"/>
                    <a:gd name="connsiteX2" fmla="*/ 1160 w 18348"/>
                    <a:gd name="connsiteY2" fmla="*/ 4670 h 18431"/>
                    <a:gd name="connsiteX3" fmla="*/ 4689 w 18348"/>
                    <a:gd name="connsiteY3" fmla="*/ 17230 h 18431"/>
                    <a:gd name="connsiteX4" fmla="*/ 17188 w 18348"/>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1">
                      <a:moveTo>
                        <a:pt x="17188" y="13761"/>
                      </a:moveTo>
                      <a:cubicBezTo>
                        <a:pt x="19641" y="9335"/>
                        <a:pt x="18086" y="3713"/>
                        <a:pt x="13660" y="1201"/>
                      </a:cubicBezTo>
                      <a:cubicBezTo>
                        <a:pt x="9234" y="-1310"/>
                        <a:pt x="3673" y="245"/>
                        <a:pt x="1160" y="4670"/>
                      </a:cubicBezTo>
                      <a:cubicBezTo>
                        <a:pt x="-1292" y="9096"/>
                        <a:pt x="263" y="14718"/>
                        <a:pt x="4689" y="17230"/>
                      </a:cubicBezTo>
                      <a:cubicBezTo>
                        <a:pt x="9115" y="19742"/>
                        <a:pt x="14737" y="18187"/>
                        <a:pt x="17188" y="13761"/>
                      </a:cubicBezTo>
                      <a:close/>
                    </a:path>
                  </a:pathLst>
                </a:custGeom>
                <a:grpFill/>
                <a:ln w="5978" cap="flat">
                  <a:noFill/>
                  <a:prstDash val="solid"/>
                  <a:miter/>
                </a:ln>
              </p:spPr>
              <p:txBody>
                <a:bodyPr rtlCol="0" anchor="ctr"/>
                <a:lstStyle/>
                <a:p>
                  <a:endParaRPr lang="en-GB"/>
                </a:p>
              </p:txBody>
            </p:sp>
          </p:grpSp>
          <p:grpSp>
            <p:nvGrpSpPr>
              <p:cNvPr id="212" name="Graphic 3">
                <a:extLst>
                  <a:ext uri="{FF2B5EF4-FFF2-40B4-BE49-F238E27FC236}">
                    <a16:creationId xmlns:a16="http://schemas.microsoft.com/office/drawing/2014/main" id="{3CB15061-EB4A-4438-94F5-7D36D01BD56E}"/>
                  </a:ext>
                </a:extLst>
              </p:cNvPr>
              <p:cNvGrpSpPr/>
              <p:nvPr/>
            </p:nvGrpSpPr>
            <p:grpSpPr>
              <a:xfrm>
                <a:off x="7356344" y="2248832"/>
                <a:ext cx="179008" cy="145010"/>
                <a:chOff x="7356344" y="2248832"/>
                <a:chExt cx="179008" cy="145010"/>
              </a:xfrm>
              <a:grpFill/>
            </p:grpSpPr>
            <p:sp>
              <p:nvSpPr>
                <p:cNvPr id="4743" name="Vrije vorm: vorm 4742">
                  <a:extLst>
                    <a:ext uri="{FF2B5EF4-FFF2-40B4-BE49-F238E27FC236}">
                      <a16:creationId xmlns:a16="http://schemas.microsoft.com/office/drawing/2014/main" id="{940F71C1-BFC2-4C8E-B582-7249BCF9E131}"/>
                    </a:ext>
                  </a:extLst>
                </p:cNvPr>
                <p:cNvSpPr/>
                <p:nvPr/>
              </p:nvSpPr>
              <p:spPr>
                <a:xfrm>
                  <a:off x="7364202" y="2256566"/>
                  <a:ext cx="163274" cy="129602"/>
                </a:xfrm>
                <a:custGeom>
                  <a:avLst/>
                  <a:gdLst>
                    <a:gd name="connsiteX0" fmla="*/ 163274 w 163274"/>
                    <a:gd name="connsiteY0" fmla="*/ 2392 h 129602"/>
                    <a:gd name="connsiteX1" fmla="*/ 1854 w 163274"/>
                    <a:gd name="connsiteY1" fmla="*/ 129602 h 129602"/>
                    <a:gd name="connsiteX2" fmla="*/ 0 w 163274"/>
                    <a:gd name="connsiteY2" fmla="*/ 127150 h 129602"/>
                    <a:gd name="connsiteX3" fmla="*/ 161420 w 163274"/>
                    <a:gd name="connsiteY3" fmla="*/ 0 h 129602"/>
                  </a:gdLst>
                  <a:ahLst/>
                  <a:cxnLst>
                    <a:cxn ang="0">
                      <a:pos x="connsiteX0" y="connsiteY0"/>
                    </a:cxn>
                    <a:cxn ang="0">
                      <a:pos x="connsiteX1" y="connsiteY1"/>
                    </a:cxn>
                    <a:cxn ang="0">
                      <a:pos x="connsiteX2" y="connsiteY2"/>
                    </a:cxn>
                    <a:cxn ang="0">
                      <a:pos x="connsiteX3" y="connsiteY3"/>
                    </a:cxn>
                  </a:cxnLst>
                  <a:rect l="l" t="t" r="r" b="b"/>
                  <a:pathLst>
                    <a:path w="163274" h="129602">
                      <a:moveTo>
                        <a:pt x="163274" y="2392"/>
                      </a:moveTo>
                      <a:lnTo>
                        <a:pt x="1854" y="129602"/>
                      </a:lnTo>
                      <a:lnTo>
                        <a:pt x="0" y="127150"/>
                      </a:lnTo>
                      <a:lnTo>
                        <a:pt x="161420" y="0"/>
                      </a:lnTo>
                      <a:close/>
                    </a:path>
                  </a:pathLst>
                </a:custGeom>
                <a:grpFill/>
                <a:ln w="5978" cap="flat">
                  <a:noFill/>
                  <a:prstDash val="solid"/>
                  <a:miter/>
                </a:ln>
              </p:spPr>
              <p:txBody>
                <a:bodyPr rtlCol="0" anchor="ctr"/>
                <a:lstStyle/>
                <a:p>
                  <a:endParaRPr lang="en-GB"/>
                </a:p>
              </p:txBody>
            </p:sp>
            <p:sp>
              <p:nvSpPr>
                <p:cNvPr id="4744" name="Vrije vorm: vorm 4743">
                  <a:extLst>
                    <a:ext uri="{FF2B5EF4-FFF2-40B4-BE49-F238E27FC236}">
                      <a16:creationId xmlns:a16="http://schemas.microsoft.com/office/drawing/2014/main" id="{92F9E667-655A-49E1-AFD6-82F44D9E392B}"/>
                    </a:ext>
                  </a:extLst>
                </p:cNvPr>
                <p:cNvSpPr/>
                <p:nvPr/>
              </p:nvSpPr>
              <p:spPr>
                <a:xfrm>
                  <a:off x="7517027" y="2248832"/>
                  <a:ext cx="18325" cy="18398"/>
                </a:xfrm>
                <a:custGeom>
                  <a:avLst/>
                  <a:gdLst>
                    <a:gd name="connsiteX0" fmla="*/ 3511 w 18325"/>
                    <a:gd name="connsiteY0" fmla="*/ 1933 h 18398"/>
                    <a:gd name="connsiteX1" fmla="*/ 16370 w 18325"/>
                    <a:gd name="connsiteY1" fmla="*/ 3548 h 18398"/>
                    <a:gd name="connsiteX2" fmla="*/ 14815 w 18325"/>
                    <a:gd name="connsiteY2" fmla="*/ 16466 h 18398"/>
                    <a:gd name="connsiteX3" fmla="*/ 1956 w 18325"/>
                    <a:gd name="connsiteY3" fmla="*/ 14851 h 18398"/>
                    <a:gd name="connsiteX4" fmla="*/ 3511 w 18325"/>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98">
                      <a:moveTo>
                        <a:pt x="3511" y="1933"/>
                      </a:moveTo>
                      <a:cubicBezTo>
                        <a:pt x="7458" y="-1177"/>
                        <a:pt x="13259" y="-459"/>
                        <a:pt x="16370" y="3548"/>
                      </a:cubicBezTo>
                      <a:cubicBezTo>
                        <a:pt x="19480" y="7555"/>
                        <a:pt x="18821" y="13356"/>
                        <a:pt x="14815" y="16466"/>
                      </a:cubicBezTo>
                      <a:cubicBezTo>
                        <a:pt x="10867" y="19576"/>
                        <a:pt x="5066" y="18858"/>
                        <a:pt x="1956" y="14851"/>
                      </a:cubicBezTo>
                      <a:cubicBezTo>
                        <a:pt x="-1154" y="10904"/>
                        <a:pt x="-496" y="5103"/>
                        <a:pt x="3511" y="1933"/>
                      </a:cubicBezTo>
                      <a:close/>
                    </a:path>
                  </a:pathLst>
                </a:custGeom>
                <a:grpFill/>
                <a:ln w="5978" cap="flat">
                  <a:noFill/>
                  <a:prstDash val="solid"/>
                  <a:miter/>
                </a:ln>
              </p:spPr>
              <p:txBody>
                <a:bodyPr rtlCol="0" anchor="ctr"/>
                <a:lstStyle/>
                <a:p>
                  <a:endParaRPr lang="en-GB"/>
                </a:p>
              </p:txBody>
            </p:sp>
            <p:sp>
              <p:nvSpPr>
                <p:cNvPr id="4745" name="Vrije vorm: vorm 4744">
                  <a:extLst>
                    <a:ext uri="{FF2B5EF4-FFF2-40B4-BE49-F238E27FC236}">
                      <a16:creationId xmlns:a16="http://schemas.microsoft.com/office/drawing/2014/main" id="{5A8D412F-A712-4988-8391-D2F38CF712FC}"/>
                    </a:ext>
                  </a:extLst>
                </p:cNvPr>
                <p:cNvSpPr/>
                <p:nvPr/>
              </p:nvSpPr>
              <p:spPr>
                <a:xfrm>
                  <a:off x="7356344" y="2375444"/>
                  <a:ext cx="18288" cy="18398"/>
                </a:xfrm>
                <a:custGeom>
                  <a:avLst/>
                  <a:gdLst>
                    <a:gd name="connsiteX0" fmla="*/ 3492 w 18288"/>
                    <a:gd name="connsiteY0" fmla="*/ 1933 h 18398"/>
                    <a:gd name="connsiteX1" fmla="*/ 1937 w 18288"/>
                    <a:gd name="connsiteY1" fmla="*/ 14851 h 18398"/>
                    <a:gd name="connsiteX2" fmla="*/ 14796 w 18288"/>
                    <a:gd name="connsiteY2" fmla="*/ 16466 h 18398"/>
                    <a:gd name="connsiteX3" fmla="*/ 16351 w 18288"/>
                    <a:gd name="connsiteY3" fmla="*/ 3548 h 18398"/>
                    <a:gd name="connsiteX4" fmla="*/ 3492 w 1828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98">
                      <a:moveTo>
                        <a:pt x="3492" y="1933"/>
                      </a:moveTo>
                      <a:cubicBezTo>
                        <a:pt x="-455" y="5043"/>
                        <a:pt x="-1173" y="10844"/>
                        <a:pt x="1937" y="14851"/>
                      </a:cubicBezTo>
                      <a:cubicBezTo>
                        <a:pt x="5047" y="18858"/>
                        <a:pt x="10849" y="19576"/>
                        <a:pt x="14796" y="16466"/>
                      </a:cubicBezTo>
                      <a:cubicBezTo>
                        <a:pt x="18743" y="13356"/>
                        <a:pt x="19461" y="7555"/>
                        <a:pt x="16351" y="3548"/>
                      </a:cubicBezTo>
                      <a:cubicBezTo>
                        <a:pt x="13181" y="-459"/>
                        <a:pt x="7440" y="-1177"/>
                        <a:pt x="3492" y="1933"/>
                      </a:cubicBezTo>
                      <a:close/>
                    </a:path>
                  </a:pathLst>
                </a:custGeom>
                <a:grpFill/>
                <a:ln w="5978" cap="flat">
                  <a:noFill/>
                  <a:prstDash val="solid"/>
                  <a:miter/>
                </a:ln>
              </p:spPr>
              <p:txBody>
                <a:bodyPr rtlCol="0" anchor="ctr"/>
                <a:lstStyle/>
                <a:p>
                  <a:endParaRPr lang="en-GB"/>
                </a:p>
              </p:txBody>
            </p:sp>
          </p:grpSp>
          <p:grpSp>
            <p:nvGrpSpPr>
              <p:cNvPr id="213" name="Graphic 3">
                <a:extLst>
                  <a:ext uri="{FF2B5EF4-FFF2-40B4-BE49-F238E27FC236}">
                    <a16:creationId xmlns:a16="http://schemas.microsoft.com/office/drawing/2014/main" id="{F6AC4A8D-5222-401A-9302-B22438C4E96B}"/>
                  </a:ext>
                </a:extLst>
              </p:cNvPr>
              <p:cNvGrpSpPr/>
              <p:nvPr/>
            </p:nvGrpSpPr>
            <p:grpSpPr>
              <a:xfrm>
                <a:off x="7867611" y="3768086"/>
                <a:ext cx="145906" cy="43652"/>
                <a:chOff x="7867611" y="3768086"/>
                <a:chExt cx="145906" cy="43652"/>
              </a:xfrm>
              <a:grpFill/>
            </p:grpSpPr>
            <p:sp>
              <p:nvSpPr>
                <p:cNvPr id="4740" name="Vrije vorm: vorm 4739">
                  <a:extLst>
                    <a:ext uri="{FF2B5EF4-FFF2-40B4-BE49-F238E27FC236}">
                      <a16:creationId xmlns:a16="http://schemas.microsoft.com/office/drawing/2014/main" id="{A8225751-C990-4FA8-9827-553F9BA6FDA3}"/>
                    </a:ext>
                  </a:extLst>
                </p:cNvPr>
                <p:cNvSpPr/>
                <p:nvPr/>
              </p:nvSpPr>
              <p:spPr>
                <a:xfrm>
                  <a:off x="7875972" y="3775729"/>
                  <a:ext cx="129124" cy="28408"/>
                </a:xfrm>
                <a:custGeom>
                  <a:avLst/>
                  <a:gdLst>
                    <a:gd name="connsiteX0" fmla="*/ 129124 w 129124"/>
                    <a:gd name="connsiteY0" fmla="*/ 25418 h 28408"/>
                    <a:gd name="connsiteX1" fmla="*/ 128526 w 129124"/>
                    <a:gd name="connsiteY1" fmla="*/ 28408 h 28408"/>
                    <a:gd name="connsiteX2" fmla="*/ 0 w 129124"/>
                    <a:gd name="connsiteY2" fmla="*/ 2990 h 28408"/>
                    <a:gd name="connsiteX3" fmla="*/ 599 w 129124"/>
                    <a:gd name="connsiteY3" fmla="*/ 0 h 28408"/>
                  </a:gdLst>
                  <a:ahLst/>
                  <a:cxnLst>
                    <a:cxn ang="0">
                      <a:pos x="connsiteX0" y="connsiteY0"/>
                    </a:cxn>
                    <a:cxn ang="0">
                      <a:pos x="connsiteX1" y="connsiteY1"/>
                    </a:cxn>
                    <a:cxn ang="0">
                      <a:pos x="connsiteX2" y="connsiteY2"/>
                    </a:cxn>
                    <a:cxn ang="0">
                      <a:pos x="connsiteX3" y="connsiteY3"/>
                    </a:cxn>
                  </a:cxnLst>
                  <a:rect l="l" t="t" r="r" b="b"/>
                  <a:pathLst>
                    <a:path w="129124" h="28408">
                      <a:moveTo>
                        <a:pt x="129124" y="25418"/>
                      </a:moveTo>
                      <a:lnTo>
                        <a:pt x="128526" y="28408"/>
                      </a:lnTo>
                      <a:lnTo>
                        <a:pt x="0" y="2990"/>
                      </a:lnTo>
                      <a:lnTo>
                        <a:pt x="599" y="0"/>
                      </a:lnTo>
                      <a:close/>
                    </a:path>
                  </a:pathLst>
                </a:custGeom>
                <a:grpFill/>
                <a:ln w="5978" cap="flat">
                  <a:noFill/>
                  <a:prstDash val="solid"/>
                  <a:miter/>
                </a:ln>
              </p:spPr>
              <p:txBody>
                <a:bodyPr rtlCol="0" anchor="ctr"/>
                <a:lstStyle/>
                <a:p>
                  <a:endParaRPr lang="en-GB"/>
                </a:p>
              </p:txBody>
            </p:sp>
            <p:sp>
              <p:nvSpPr>
                <p:cNvPr id="4741" name="Vrije vorm: vorm 4740">
                  <a:extLst>
                    <a:ext uri="{FF2B5EF4-FFF2-40B4-BE49-F238E27FC236}">
                      <a16:creationId xmlns:a16="http://schemas.microsoft.com/office/drawing/2014/main" id="{0039B795-7CE1-4467-A5C9-24E7788E50AE}"/>
                    </a:ext>
                  </a:extLst>
                </p:cNvPr>
                <p:cNvSpPr/>
                <p:nvPr/>
              </p:nvSpPr>
              <p:spPr>
                <a:xfrm>
                  <a:off x="7995240" y="3793324"/>
                  <a:ext cx="18277" cy="18414"/>
                </a:xfrm>
                <a:custGeom>
                  <a:avLst/>
                  <a:gdLst>
                    <a:gd name="connsiteX0" fmla="*/ 10873 w 18277"/>
                    <a:gd name="connsiteY0" fmla="*/ 168 h 18414"/>
                    <a:gd name="connsiteX1" fmla="*/ 18110 w 18277"/>
                    <a:gd name="connsiteY1" fmla="*/ 10993 h 18414"/>
                    <a:gd name="connsiteX2" fmla="*/ 7404 w 18277"/>
                    <a:gd name="connsiteY2" fmla="*/ 18229 h 18414"/>
                    <a:gd name="connsiteX3" fmla="*/ 168 w 18277"/>
                    <a:gd name="connsiteY3" fmla="*/ 7404 h 18414"/>
                    <a:gd name="connsiteX4" fmla="*/ 10873 w 18277"/>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14">
                      <a:moveTo>
                        <a:pt x="10873" y="168"/>
                      </a:moveTo>
                      <a:cubicBezTo>
                        <a:pt x="15837" y="1125"/>
                        <a:pt x="19067" y="5969"/>
                        <a:pt x="18110" y="10993"/>
                      </a:cubicBezTo>
                      <a:cubicBezTo>
                        <a:pt x="17153" y="15957"/>
                        <a:pt x="12368" y="19246"/>
                        <a:pt x="7404" y="18229"/>
                      </a:cubicBezTo>
                      <a:cubicBezTo>
                        <a:pt x="2441" y="17273"/>
                        <a:pt x="-789" y="12428"/>
                        <a:pt x="168" y="7404"/>
                      </a:cubicBezTo>
                      <a:cubicBezTo>
                        <a:pt x="1065" y="2441"/>
                        <a:pt x="5909" y="-789"/>
                        <a:pt x="10873" y="168"/>
                      </a:cubicBezTo>
                      <a:close/>
                    </a:path>
                  </a:pathLst>
                </a:custGeom>
                <a:grpFill/>
                <a:ln w="5978" cap="flat">
                  <a:noFill/>
                  <a:prstDash val="solid"/>
                  <a:miter/>
                </a:ln>
              </p:spPr>
              <p:txBody>
                <a:bodyPr rtlCol="0" anchor="ctr"/>
                <a:lstStyle/>
                <a:p>
                  <a:endParaRPr lang="en-GB"/>
                </a:p>
              </p:txBody>
            </p:sp>
            <p:sp>
              <p:nvSpPr>
                <p:cNvPr id="4742" name="Vrije vorm: vorm 4741">
                  <a:extLst>
                    <a:ext uri="{FF2B5EF4-FFF2-40B4-BE49-F238E27FC236}">
                      <a16:creationId xmlns:a16="http://schemas.microsoft.com/office/drawing/2014/main" id="{DD2A5F0A-5776-4143-9E38-7543AC04D2F9}"/>
                    </a:ext>
                  </a:extLst>
                </p:cNvPr>
                <p:cNvSpPr/>
                <p:nvPr/>
              </p:nvSpPr>
              <p:spPr>
                <a:xfrm>
                  <a:off x="7867611" y="3768086"/>
                  <a:ext cx="18277" cy="18397"/>
                </a:xfrm>
                <a:custGeom>
                  <a:avLst/>
                  <a:gdLst>
                    <a:gd name="connsiteX0" fmla="*/ 10873 w 18277"/>
                    <a:gd name="connsiteY0" fmla="*/ 168 h 18397"/>
                    <a:gd name="connsiteX1" fmla="*/ 168 w 18277"/>
                    <a:gd name="connsiteY1" fmla="*/ 7405 h 18397"/>
                    <a:gd name="connsiteX2" fmla="*/ 7405 w 18277"/>
                    <a:gd name="connsiteY2" fmla="*/ 18230 h 18397"/>
                    <a:gd name="connsiteX3" fmla="*/ 18110 w 18277"/>
                    <a:gd name="connsiteY3" fmla="*/ 10993 h 18397"/>
                    <a:gd name="connsiteX4" fmla="*/ 10873 w 18277"/>
                    <a:gd name="connsiteY4" fmla="*/ 168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397">
                      <a:moveTo>
                        <a:pt x="10873" y="168"/>
                      </a:moveTo>
                      <a:cubicBezTo>
                        <a:pt x="5910" y="-789"/>
                        <a:pt x="1125" y="2440"/>
                        <a:pt x="168" y="7405"/>
                      </a:cubicBezTo>
                      <a:cubicBezTo>
                        <a:pt x="-789" y="12368"/>
                        <a:pt x="2440" y="17213"/>
                        <a:pt x="7405" y="18230"/>
                      </a:cubicBezTo>
                      <a:cubicBezTo>
                        <a:pt x="12369" y="19187"/>
                        <a:pt x="17154" y="15957"/>
                        <a:pt x="18110" y="10993"/>
                      </a:cubicBezTo>
                      <a:cubicBezTo>
                        <a:pt x="19067" y="6029"/>
                        <a:pt x="15837" y="1185"/>
                        <a:pt x="10873" y="168"/>
                      </a:cubicBezTo>
                      <a:close/>
                    </a:path>
                  </a:pathLst>
                </a:custGeom>
                <a:grpFill/>
                <a:ln w="5978" cap="flat">
                  <a:noFill/>
                  <a:prstDash val="solid"/>
                  <a:miter/>
                </a:ln>
              </p:spPr>
              <p:txBody>
                <a:bodyPr rtlCol="0" anchor="ctr"/>
                <a:lstStyle/>
                <a:p>
                  <a:endParaRPr lang="en-GB"/>
                </a:p>
              </p:txBody>
            </p:sp>
          </p:grpSp>
          <p:grpSp>
            <p:nvGrpSpPr>
              <p:cNvPr id="214" name="Graphic 3">
                <a:extLst>
                  <a:ext uri="{FF2B5EF4-FFF2-40B4-BE49-F238E27FC236}">
                    <a16:creationId xmlns:a16="http://schemas.microsoft.com/office/drawing/2014/main" id="{F3D85519-EDA7-4B96-A31C-EDACDAC8C8A0}"/>
                  </a:ext>
                </a:extLst>
              </p:cNvPr>
              <p:cNvGrpSpPr/>
              <p:nvPr/>
            </p:nvGrpSpPr>
            <p:grpSpPr>
              <a:xfrm>
                <a:off x="7943198" y="4049464"/>
                <a:ext cx="186115" cy="75124"/>
                <a:chOff x="7943198" y="4049464"/>
                <a:chExt cx="186115" cy="75124"/>
              </a:xfrm>
              <a:grpFill/>
            </p:grpSpPr>
            <p:sp>
              <p:nvSpPr>
                <p:cNvPr id="4737" name="Vrije vorm: vorm 4736">
                  <a:extLst>
                    <a:ext uri="{FF2B5EF4-FFF2-40B4-BE49-F238E27FC236}">
                      <a16:creationId xmlns:a16="http://schemas.microsoft.com/office/drawing/2014/main" id="{1C165133-EE09-4CDE-83B0-964BC9C9E923}"/>
                    </a:ext>
                  </a:extLst>
                </p:cNvPr>
                <p:cNvSpPr/>
                <p:nvPr/>
              </p:nvSpPr>
              <p:spPr>
                <a:xfrm>
                  <a:off x="7951509" y="4057063"/>
                  <a:ext cx="169554" cy="59926"/>
                </a:xfrm>
                <a:custGeom>
                  <a:avLst/>
                  <a:gdLst>
                    <a:gd name="connsiteX0" fmla="*/ 169554 w 169554"/>
                    <a:gd name="connsiteY0" fmla="*/ 56996 h 59926"/>
                    <a:gd name="connsiteX1" fmla="*/ 168597 w 169554"/>
                    <a:gd name="connsiteY1" fmla="*/ 59927 h 59926"/>
                    <a:gd name="connsiteX2" fmla="*/ 0 w 169554"/>
                    <a:gd name="connsiteY2" fmla="*/ 2930 h 59926"/>
                    <a:gd name="connsiteX3" fmla="*/ 897 w 169554"/>
                    <a:gd name="connsiteY3" fmla="*/ 0 h 59926"/>
                  </a:gdLst>
                  <a:ahLst/>
                  <a:cxnLst>
                    <a:cxn ang="0">
                      <a:pos x="connsiteX0" y="connsiteY0"/>
                    </a:cxn>
                    <a:cxn ang="0">
                      <a:pos x="connsiteX1" y="connsiteY1"/>
                    </a:cxn>
                    <a:cxn ang="0">
                      <a:pos x="connsiteX2" y="connsiteY2"/>
                    </a:cxn>
                    <a:cxn ang="0">
                      <a:pos x="connsiteX3" y="connsiteY3"/>
                    </a:cxn>
                  </a:cxnLst>
                  <a:rect l="l" t="t" r="r" b="b"/>
                  <a:pathLst>
                    <a:path w="169554" h="59926">
                      <a:moveTo>
                        <a:pt x="169554" y="56996"/>
                      </a:moveTo>
                      <a:lnTo>
                        <a:pt x="168597" y="59927"/>
                      </a:lnTo>
                      <a:lnTo>
                        <a:pt x="0" y="2930"/>
                      </a:lnTo>
                      <a:lnTo>
                        <a:pt x="897" y="0"/>
                      </a:lnTo>
                      <a:close/>
                    </a:path>
                  </a:pathLst>
                </a:custGeom>
                <a:grpFill/>
                <a:ln w="5978" cap="flat">
                  <a:noFill/>
                  <a:prstDash val="solid"/>
                  <a:miter/>
                </a:ln>
              </p:spPr>
              <p:txBody>
                <a:bodyPr rtlCol="0" anchor="ctr"/>
                <a:lstStyle/>
                <a:p>
                  <a:endParaRPr lang="en-GB"/>
                </a:p>
              </p:txBody>
            </p:sp>
            <p:sp>
              <p:nvSpPr>
                <p:cNvPr id="4738" name="Vrije vorm: vorm 4737">
                  <a:extLst>
                    <a:ext uri="{FF2B5EF4-FFF2-40B4-BE49-F238E27FC236}">
                      <a16:creationId xmlns:a16="http://schemas.microsoft.com/office/drawing/2014/main" id="{37FB1757-B275-4A63-BD2A-6B4F639C213A}"/>
                    </a:ext>
                  </a:extLst>
                </p:cNvPr>
                <p:cNvSpPr/>
                <p:nvPr/>
              </p:nvSpPr>
              <p:spPr>
                <a:xfrm>
                  <a:off x="8110958" y="4106161"/>
                  <a:ext cx="18355" cy="18427"/>
                </a:xfrm>
                <a:custGeom>
                  <a:avLst/>
                  <a:gdLst>
                    <a:gd name="connsiteX0" fmla="*/ 12078 w 18355"/>
                    <a:gd name="connsiteY0" fmla="*/ 482 h 18427"/>
                    <a:gd name="connsiteX1" fmla="*/ 17880 w 18355"/>
                    <a:gd name="connsiteY1" fmla="*/ 12144 h 18427"/>
                    <a:gd name="connsiteX2" fmla="*/ 6277 w 18355"/>
                    <a:gd name="connsiteY2" fmla="*/ 17946 h 18427"/>
                    <a:gd name="connsiteX3" fmla="*/ 476 w 18355"/>
                    <a:gd name="connsiteY3" fmla="*/ 6283 h 18427"/>
                    <a:gd name="connsiteX4" fmla="*/ 12078 w 18355"/>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7">
                      <a:moveTo>
                        <a:pt x="12078" y="482"/>
                      </a:moveTo>
                      <a:cubicBezTo>
                        <a:pt x="16863" y="2097"/>
                        <a:pt x="19494" y="7360"/>
                        <a:pt x="17880" y="12144"/>
                      </a:cubicBezTo>
                      <a:cubicBezTo>
                        <a:pt x="16265" y="16989"/>
                        <a:pt x="11121" y="19560"/>
                        <a:pt x="6277" y="17946"/>
                      </a:cubicBezTo>
                      <a:cubicBezTo>
                        <a:pt x="1492" y="16331"/>
                        <a:pt x="-1139" y="11068"/>
                        <a:pt x="476" y="6283"/>
                      </a:cubicBezTo>
                      <a:cubicBezTo>
                        <a:pt x="2090" y="1439"/>
                        <a:pt x="7294" y="-1133"/>
                        <a:pt x="12078" y="482"/>
                      </a:cubicBezTo>
                      <a:close/>
                    </a:path>
                  </a:pathLst>
                </a:custGeom>
                <a:grpFill/>
                <a:ln w="5978" cap="flat">
                  <a:noFill/>
                  <a:prstDash val="solid"/>
                  <a:miter/>
                </a:ln>
              </p:spPr>
              <p:txBody>
                <a:bodyPr rtlCol="0" anchor="ctr"/>
                <a:lstStyle/>
                <a:p>
                  <a:endParaRPr lang="en-GB"/>
                </a:p>
              </p:txBody>
            </p:sp>
            <p:sp>
              <p:nvSpPr>
                <p:cNvPr id="4739" name="Vrije vorm: vorm 4738">
                  <a:extLst>
                    <a:ext uri="{FF2B5EF4-FFF2-40B4-BE49-F238E27FC236}">
                      <a16:creationId xmlns:a16="http://schemas.microsoft.com/office/drawing/2014/main" id="{24116828-88E1-4D44-A2A0-94DF54A4FD4F}"/>
                    </a:ext>
                  </a:extLst>
                </p:cNvPr>
                <p:cNvSpPr/>
                <p:nvPr/>
              </p:nvSpPr>
              <p:spPr>
                <a:xfrm>
                  <a:off x="7943198" y="4049464"/>
                  <a:ext cx="18355" cy="18427"/>
                </a:xfrm>
                <a:custGeom>
                  <a:avLst/>
                  <a:gdLst>
                    <a:gd name="connsiteX0" fmla="*/ 12078 w 18355"/>
                    <a:gd name="connsiteY0" fmla="*/ 482 h 18427"/>
                    <a:gd name="connsiteX1" fmla="*/ 476 w 18355"/>
                    <a:gd name="connsiteY1" fmla="*/ 6283 h 18427"/>
                    <a:gd name="connsiteX2" fmla="*/ 6277 w 18355"/>
                    <a:gd name="connsiteY2" fmla="*/ 17946 h 18427"/>
                    <a:gd name="connsiteX3" fmla="*/ 17880 w 18355"/>
                    <a:gd name="connsiteY3" fmla="*/ 12144 h 18427"/>
                    <a:gd name="connsiteX4" fmla="*/ 12078 w 18355"/>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7">
                      <a:moveTo>
                        <a:pt x="12078" y="482"/>
                      </a:moveTo>
                      <a:cubicBezTo>
                        <a:pt x="7294" y="-1133"/>
                        <a:pt x="2091" y="1439"/>
                        <a:pt x="476" y="6283"/>
                      </a:cubicBezTo>
                      <a:cubicBezTo>
                        <a:pt x="-1139" y="11127"/>
                        <a:pt x="1493" y="16331"/>
                        <a:pt x="6277" y="17946"/>
                      </a:cubicBezTo>
                      <a:cubicBezTo>
                        <a:pt x="11062" y="19560"/>
                        <a:pt x="16265" y="16989"/>
                        <a:pt x="17880" y="12144"/>
                      </a:cubicBezTo>
                      <a:cubicBezTo>
                        <a:pt x="19494" y="7300"/>
                        <a:pt x="16863" y="2096"/>
                        <a:pt x="12078" y="482"/>
                      </a:cubicBezTo>
                      <a:close/>
                    </a:path>
                  </a:pathLst>
                </a:custGeom>
                <a:grpFill/>
                <a:ln w="5978" cap="flat">
                  <a:noFill/>
                  <a:prstDash val="solid"/>
                  <a:miter/>
                </a:ln>
              </p:spPr>
              <p:txBody>
                <a:bodyPr rtlCol="0" anchor="ctr"/>
                <a:lstStyle/>
                <a:p>
                  <a:endParaRPr lang="en-GB"/>
                </a:p>
              </p:txBody>
            </p:sp>
          </p:grpSp>
          <p:grpSp>
            <p:nvGrpSpPr>
              <p:cNvPr id="215" name="Graphic 3">
                <a:extLst>
                  <a:ext uri="{FF2B5EF4-FFF2-40B4-BE49-F238E27FC236}">
                    <a16:creationId xmlns:a16="http://schemas.microsoft.com/office/drawing/2014/main" id="{160279BB-26F7-4284-9B67-786138AF2238}"/>
                  </a:ext>
                </a:extLst>
              </p:cNvPr>
              <p:cNvGrpSpPr/>
              <p:nvPr/>
            </p:nvGrpSpPr>
            <p:grpSpPr>
              <a:xfrm>
                <a:off x="7900164" y="3810746"/>
                <a:ext cx="72906" cy="30263"/>
                <a:chOff x="7900164" y="3810746"/>
                <a:chExt cx="72906" cy="30263"/>
              </a:xfrm>
              <a:grpFill/>
            </p:grpSpPr>
            <p:sp>
              <p:nvSpPr>
                <p:cNvPr id="4734" name="Vrije vorm: vorm 4733">
                  <a:extLst>
                    <a:ext uri="{FF2B5EF4-FFF2-40B4-BE49-F238E27FC236}">
                      <a16:creationId xmlns:a16="http://schemas.microsoft.com/office/drawing/2014/main" id="{C2B0B333-A142-40F9-868B-EC88F33C2B3B}"/>
                    </a:ext>
                  </a:extLst>
                </p:cNvPr>
                <p:cNvSpPr/>
                <p:nvPr/>
              </p:nvSpPr>
              <p:spPr>
                <a:xfrm>
                  <a:off x="7908568" y="3818372"/>
                  <a:ext cx="56099" cy="15011"/>
                </a:xfrm>
                <a:custGeom>
                  <a:avLst/>
                  <a:gdLst>
                    <a:gd name="connsiteX0" fmla="*/ 56099 w 56099"/>
                    <a:gd name="connsiteY0" fmla="*/ 12021 h 15011"/>
                    <a:gd name="connsiteX1" fmla="*/ 55441 w 56099"/>
                    <a:gd name="connsiteY1" fmla="*/ 15012 h 15011"/>
                    <a:gd name="connsiteX2" fmla="*/ 0 w 56099"/>
                    <a:gd name="connsiteY2" fmla="*/ 2990 h 15011"/>
                    <a:gd name="connsiteX3" fmla="*/ 658 w 56099"/>
                    <a:gd name="connsiteY3" fmla="*/ 0 h 15011"/>
                  </a:gdLst>
                  <a:ahLst/>
                  <a:cxnLst>
                    <a:cxn ang="0">
                      <a:pos x="connsiteX0" y="connsiteY0"/>
                    </a:cxn>
                    <a:cxn ang="0">
                      <a:pos x="connsiteX1" y="connsiteY1"/>
                    </a:cxn>
                    <a:cxn ang="0">
                      <a:pos x="connsiteX2" y="connsiteY2"/>
                    </a:cxn>
                    <a:cxn ang="0">
                      <a:pos x="connsiteX3" y="connsiteY3"/>
                    </a:cxn>
                  </a:cxnLst>
                  <a:rect l="l" t="t" r="r" b="b"/>
                  <a:pathLst>
                    <a:path w="56099" h="15011">
                      <a:moveTo>
                        <a:pt x="56099" y="12021"/>
                      </a:moveTo>
                      <a:lnTo>
                        <a:pt x="55441" y="15012"/>
                      </a:lnTo>
                      <a:lnTo>
                        <a:pt x="0" y="2990"/>
                      </a:lnTo>
                      <a:lnTo>
                        <a:pt x="658" y="0"/>
                      </a:lnTo>
                      <a:close/>
                    </a:path>
                  </a:pathLst>
                </a:custGeom>
                <a:grpFill/>
                <a:ln w="5978" cap="flat">
                  <a:noFill/>
                  <a:prstDash val="solid"/>
                  <a:miter/>
                </a:ln>
              </p:spPr>
              <p:txBody>
                <a:bodyPr rtlCol="0" anchor="ctr"/>
                <a:lstStyle/>
                <a:p>
                  <a:endParaRPr lang="en-GB"/>
                </a:p>
              </p:txBody>
            </p:sp>
            <p:sp>
              <p:nvSpPr>
                <p:cNvPr id="4735" name="Vrije vorm: vorm 4734">
                  <a:extLst>
                    <a:ext uri="{FF2B5EF4-FFF2-40B4-BE49-F238E27FC236}">
                      <a16:creationId xmlns:a16="http://schemas.microsoft.com/office/drawing/2014/main" id="{9BE6F0D4-51A8-4A3D-9DAD-8ED5713B642D}"/>
                    </a:ext>
                  </a:extLst>
                </p:cNvPr>
                <p:cNvSpPr/>
                <p:nvPr/>
              </p:nvSpPr>
              <p:spPr>
                <a:xfrm>
                  <a:off x="7954708" y="3822588"/>
                  <a:ext cx="18362" cy="18421"/>
                </a:xfrm>
                <a:custGeom>
                  <a:avLst/>
                  <a:gdLst>
                    <a:gd name="connsiteX0" fmla="*/ 11095 w 18362"/>
                    <a:gd name="connsiteY0" fmla="*/ 210 h 18421"/>
                    <a:gd name="connsiteX1" fmla="*/ 18152 w 18362"/>
                    <a:gd name="connsiteY1" fmla="*/ 11155 h 18421"/>
                    <a:gd name="connsiteX2" fmla="*/ 7267 w 18362"/>
                    <a:gd name="connsiteY2" fmla="*/ 18212 h 18421"/>
                    <a:gd name="connsiteX3" fmla="*/ 210 w 18362"/>
                    <a:gd name="connsiteY3" fmla="*/ 7267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16059" y="1286"/>
                        <a:pt x="19228" y="6191"/>
                        <a:pt x="18152" y="11155"/>
                      </a:cubicBezTo>
                      <a:cubicBezTo>
                        <a:pt x="17075" y="16119"/>
                        <a:pt x="12231" y="19288"/>
                        <a:pt x="7267" y="18212"/>
                      </a:cubicBezTo>
                      <a:cubicBezTo>
                        <a:pt x="2303" y="17136"/>
                        <a:pt x="-867" y="12231"/>
                        <a:pt x="210" y="7267"/>
                      </a:cubicBezTo>
                      <a:cubicBezTo>
                        <a:pt x="1286" y="2303"/>
                        <a:pt x="6131" y="-867"/>
                        <a:pt x="11095" y="210"/>
                      </a:cubicBezTo>
                      <a:close/>
                    </a:path>
                  </a:pathLst>
                </a:custGeom>
                <a:grpFill/>
                <a:ln w="5978" cap="flat">
                  <a:noFill/>
                  <a:prstDash val="solid"/>
                  <a:miter/>
                </a:ln>
              </p:spPr>
              <p:txBody>
                <a:bodyPr rtlCol="0" anchor="ctr"/>
                <a:lstStyle/>
                <a:p>
                  <a:endParaRPr lang="en-GB"/>
                </a:p>
              </p:txBody>
            </p:sp>
            <p:sp>
              <p:nvSpPr>
                <p:cNvPr id="4736" name="Vrije vorm: vorm 4735">
                  <a:extLst>
                    <a:ext uri="{FF2B5EF4-FFF2-40B4-BE49-F238E27FC236}">
                      <a16:creationId xmlns:a16="http://schemas.microsoft.com/office/drawing/2014/main" id="{D8A1E1D8-1A8B-4933-A4F4-446386250741}"/>
                    </a:ext>
                  </a:extLst>
                </p:cNvPr>
                <p:cNvSpPr/>
                <p:nvPr/>
              </p:nvSpPr>
              <p:spPr>
                <a:xfrm>
                  <a:off x="7900164" y="3810746"/>
                  <a:ext cx="18362" cy="18421"/>
                </a:xfrm>
                <a:custGeom>
                  <a:avLst/>
                  <a:gdLst>
                    <a:gd name="connsiteX0" fmla="*/ 11095 w 18362"/>
                    <a:gd name="connsiteY0" fmla="*/ 210 h 18421"/>
                    <a:gd name="connsiteX1" fmla="*/ 210 w 18362"/>
                    <a:gd name="connsiteY1" fmla="*/ 7267 h 18421"/>
                    <a:gd name="connsiteX2" fmla="*/ 7267 w 18362"/>
                    <a:gd name="connsiteY2" fmla="*/ 18212 h 18421"/>
                    <a:gd name="connsiteX3" fmla="*/ 18152 w 18362"/>
                    <a:gd name="connsiteY3" fmla="*/ 11155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6131" y="-867"/>
                        <a:pt x="1286" y="2303"/>
                        <a:pt x="210" y="7267"/>
                      </a:cubicBezTo>
                      <a:cubicBezTo>
                        <a:pt x="-867" y="12231"/>
                        <a:pt x="2303" y="17136"/>
                        <a:pt x="7267" y="18212"/>
                      </a:cubicBezTo>
                      <a:cubicBezTo>
                        <a:pt x="12231" y="19288"/>
                        <a:pt x="17075" y="16119"/>
                        <a:pt x="18152" y="11155"/>
                      </a:cubicBezTo>
                      <a:cubicBezTo>
                        <a:pt x="19228" y="6191"/>
                        <a:pt x="16059" y="1286"/>
                        <a:pt x="11095" y="210"/>
                      </a:cubicBezTo>
                      <a:close/>
                    </a:path>
                  </a:pathLst>
                </a:custGeom>
                <a:grpFill/>
                <a:ln w="5978" cap="flat">
                  <a:noFill/>
                  <a:prstDash val="solid"/>
                  <a:miter/>
                </a:ln>
              </p:spPr>
              <p:txBody>
                <a:bodyPr rtlCol="0" anchor="ctr"/>
                <a:lstStyle/>
                <a:p>
                  <a:endParaRPr lang="en-GB"/>
                </a:p>
              </p:txBody>
            </p:sp>
          </p:grpSp>
          <p:grpSp>
            <p:nvGrpSpPr>
              <p:cNvPr id="216" name="Graphic 3">
                <a:extLst>
                  <a:ext uri="{FF2B5EF4-FFF2-40B4-BE49-F238E27FC236}">
                    <a16:creationId xmlns:a16="http://schemas.microsoft.com/office/drawing/2014/main" id="{0D088B1E-ADBE-432C-8213-EDAACE80D59A}"/>
                  </a:ext>
                </a:extLst>
              </p:cNvPr>
              <p:cNvGrpSpPr/>
              <p:nvPr/>
            </p:nvGrpSpPr>
            <p:grpSpPr>
              <a:xfrm>
                <a:off x="7078999" y="1658545"/>
                <a:ext cx="395947" cy="438249"/>
                <a:chOff x="7078999" y="1658545"/>
                <a:chExt cx="395947" cy="438249"/>
              </a:xfrm>
              <a:grpFill/>
            </p:grpSpPr>
            <p:sp>
              <p:nvSpPr>
                <p:cNvPr id="4731" name="Vrije vorm: vorm 4730">
                  <a:extLst>
                    <a:ext uri="{FF2B5EF4-FFF2-40B4-BE49-F238E27FC236}">
                      <a16:creationId xmlns:a16="http://schemas.microsoft.com/office/drawing/2014/main" id="{84B8EE68-1A18-4155-8B92-BF3268281E67}"/>
                    </a:ext>
                  </a:extLst>
                </p:cNvPr>
                <p:cNvSpPr/>
                <p:nvPr/>
              </p:nvSpPr>
              <p:spPr>
                <a:xfrm>
                  <a:off x="7086696" y="1666449"/>
                  <a:ext cx="380493" cy="422478"/>
                </a:xfrm>
                <a:custGeom>
                  <a:avLst/>
                  <a:gdLst>
                    <a:gd name="connsiteX0" fmla="*/ 380494 w 380493"/>
                    <a:gd name="connsiteY0" fmla="*/ 2033 h 422478"/>
                    <a:gd name="connsiteX1" fmla="*/ 2273 w 380493"/>
                    <a:gd name="connsiteY1" fmla="*/ 422478 h 422478"/>
                    <a:gd name="connsiteX2" fmla="*/ 0 w 380493"/>
                    <a:gd name="connsiteY2" fmla="*/ 420445 h 422478"/>
                    <a:gd name="connsiteX3" fmla="*/ 378221 w 380493"/>
                    <a:gd name="connsiteY3" fmla="*/ 0 h 422478"/>
                  </a:gdLst>
                  <a:ahLst/>
                  <a:cxnLst>
                    <a:cxn ang="0">
                      <a:pos x="connsiteX0" y="connsiteY0"/>
                    </a:cxn>
                    <a:cxn ang="0">
                      <a:pos x="connsiteX1" y="connsiteY1"/>
                    </a:cxn>
                    <a:cxn ang="0">
                      <a:pos x="connsiteX2" y="connsiteY2"/>
                    </a:cxn>
                    <a:cxn ang="0">
                      <a:pos x="connsiteX3" y="connsiteY3"/>
                    </a:cxn>
                  </a:cxnLst>
                  <a:rect l="l" t="t" r="r" b="b"/>
                  <a:pathLst>
                    <a:path w="380493" h="422478">
                      <a:moveTo>
                        <a:pt x="380494" y="2033"/>
                      </a:moveTo>
                      <a:lnTo>
                        <a:pt x="2273" y="422478"/>
                      </a:lnTo>
                      <a:lnTo>
                        <a:pt x="0" y="420445"/>
                      </a:lnTo>
                      <a:lnTo>
                        <a:pt x="378221" y="0"/>
                      </a:lnTo>
                      <a:close/>
                    </a:path>
                  </a:pathLst>
                </a:custGeom>
                <a:grpFill/>
                <a:ln w="5978" cap="flat">
                  <a:noFill/>
                  <a:prstDash val="solid"/>
                  <a:miter/>
                </a:ln>
              </p:spPr>
              <p:txBody>
                <a:bodyPr rtlCol="0" anchor="ctr"/>
                <a:lstStyle/>
                <a:p>
                  <a:endParaRPr lang="en-GB"/>
                </a:p>
              </p:txBody>
            </p:sp>
            <p:sp>
              <p:nvSpPr>
                <p:cNvPr id="4732" name="Vrije vorm: vorm 4731">
                  <a:extLst>
                    <a:ext uri="{FF2B5EF4-FFF2-40B4-BE49-F238E27FC236}">
                      <a16:creationId xmlns:a16="http://schemas.microsoft.com/office/drawing/2014/main" id="{8D580DE9-ABC8-4D2D-A813-89D6152B0815}"/>
                    </a:ext>
                  </a:extLst>
                </p:cNvPr>
                <p:cNvSpPr/>
                <p:nvPr/>
              </p:nvSpPr>
              <p:spPr>
                <a:xfrm>
                  <a:off x="7078999" y="2078308"/>
                  <a:ext cx="18324" cy="18486"/>
                </a:xfrm>
                <a:custGeom>
                  <a:avLst/>
                  <a:gdLst>
                    <a:gd name="connsiteX0" fmla="*/ 15950 w 18324"/>
                    <a:gd name="connsiteY0" fmla="*/ 15463 h 18486"/>
                    <a:gd name="connsiteX1" fmla="*/ 3032 w 18324"/>
                    <a:gd name="connsiteY1" fmla="*/ 16061 h 18486"/>
                    <a:gd name="connsiteX2" fmla="*/ 2374 w 18324"/>
                    <a:gd name="connsiteY2" fmla="*/ 3023 h 18486"/>
                    <a:gd name="connsiteX3" fmla="*/ 15293 w 18324"/>
                    <a:gd name="connsiteY3" fmla="*/ 2425 h 18486"/>
                    <a:gd name="connsiteX4" fmla="*/ 15950 w 18324"/>
                    <a:gd name="connsiteY4" fmla="*/ 15463 h 18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86">
                      <a:moveTo>
                        <a:pt x="15950" y="15463"/>
                      </a:moveTo>
                      <a:cubicBezTo>
                        <a:pt x="12542" y="19231"/>
                        <a:pt x="6741" y="19530"/>
                        <a:pt x="3032" y="16061"/>
                      </a:cubicBezTo>
                      <a:cubicBezTo>
                        <a:pt x="-735" y="12652"/>
                        <a:pt x="-1035" y="6791"/>
                        <a:pt x="2374" y="3023"/>
                      </a:cubicBezTo>
                      <a:cubicBezTo>
                        <a:pt x="5783" y="-745"/>
                        <a:pt x="11585" y="-1044"/>
                        <a:pt x="15293" y="2425"/>
                      </a:cubicBezTo>
                      <a:cubicBezTo>
                        <a:pt x="19060" y="5834"/>
                        <a:pt x="19360" y="11695"/>
                        <a:pt x="15950" y="15463"/>
                      </a:cubicBezTo>
                      <a:close/>
                    </a:path>
                  </a:pathLst>
                </a:custGeom>
                <a:grpFill/>
                <a:ln w="5978" cap="flat">
                  <a:noFill/>
                  <a:prstDash val="solid"/>
                  <a:miter/>
                </a:ln>
              </p:spPr>
              <p:txBody>
                <a:bodyPr rtlCol="0" anchor="ctr"/>
                <a:lstStyle/>
                <a:p>
                  <a:endParaRPr lang="en-GB"/>
                </a:p>
              </p:txBody>
            </p:sp>
            <p:sp>
              <p:nvSpPr>
                <p:cNvPr id="4733" name="Vrije vorm: vorm 4732">
                  <a:extLst>
                    <a:ext uri="{FF2B5EF4-FFF2-40B4-BE49-F238E27FC236}">
                      <a16:creationId xmlns:a16="http://schemas.microsoft.com/office/drawing/2014/main" id="{C9BE7D47-8974-488C-8FAB-523ECD1EF652}"/>
                    </a:ext>
                  </a:extLst>
                </p:cNvPr>
                <p:cNvSpPr/>
                <p:nvPr/>
              </p:nvSpPr>
              <p:spPr>
                <a:xfrm>
                  <a:off x="7456622" y="1658545"/>
                  <a:ext cx="18325" cy="18462"/>
                </a:xfrm>
                <a:custGeom>
                  <a:avLst/>
                  <a:gdLst>
                    <a:gd name="connsiteX0" fmla="*/ 15951 w 18325"/>
                    <a:gd name="connsiteY0" fmla="*/ 15439 h 18462"/>
                    <a:gd name="connsiteX1" fmla="*/ 15293 w 18325"/>
                    <a:gd name="connsiteY1" fmla="*/ 2401 h 18462"/>
                    <a:gd name="connsiteX2" fmla="*/ 2374 w 18325"/>
                    <a:gd name="connsiteY2" fmla="*/ 3000 h 18462"/>
                    <a:gd name="connsiteX3" fmla="*/ 3032 w 18325"/>
                    <a:gd name="connsiteY3" fmla="*/ 16038 h 18462"/>
                    <a:gd name="connsiteX4" fmla="*/ 15951 w 18325"/>
                    <a:gd name="connsiteY4" fmla="*/ 15439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2">
                      <a:moveTo>
                        <a:pt x="15951" y="15439"/>
                      </a:moveTo>
                      <a:cubicBezTo>
                        <a:pt x="19360" y="11672"/>
                        <a:pt x="19061" y="5870"/>
                        <a:pt x="15293" y="2401"/>
                      </a:cubicBezTo>
                      <a:cubicBezTo>
                        <a:pt x="11525" y="-1008"/>
                        <a:pt x="5724" y="-768"/>
                        <a:pt x="2374" y="3000"/>
                      </a:cubicBezTo>
                      <a:cubicBezTo>
                        <a:pt x="-1034" y="6767"/>
                        <a:pt x="-736" y="12569"/>
                        <a:pt x="3032" y="16038"/>
                      </a:cubicBezTo>
                      <a:cubicBezTo>
                        <a:pt x="6800" y="19506"/>
                        <a:pt x="12542" y="19207"/>
                        <a:pt x="15951" y="15439"/>
                      </a:cubicBezTo>
                      <a:close/>
                    </a:path>
                  </a:pathLst>
                </a:custGeom>
                <a:grpFill/>
                <a:ln w="5978" cap="flat">
                  <a:noFill/>
                  <a:prstDash val="solid"/>
                  <a:miter/>
                </a:ln>
              </p:spPr>
              <p:txBody>
                <a:bodyPr rtlCol="0" anchor="ctr"/>
                <a:lstStyle/>
                <a:p>
                  <a:endParaRPr lang="en-GB"/>
                </a:p>
              </p:txBody>
            </p:sp>
          </p:grpSp>
          <p:grpSp>
            <p:nvGrpSpPr>
              <p:cNvPr id="217" name="Graphic 3">
                <a:extLst>
                  <a:ext uri="{FF2B5EF4-FFF2-40B4-BE49-F238E27FC236}">
                    <a16:creationId xmlns:a16="http://schemas.microsoft.com/office/drawing/2014/main" id="{B058CC16-66CB-47A2-8D50-2184629F6976}"/>
                  </a:ext>
                </a:extLst>
              </p:cNvPr>
              <p:cNvGrpSpPr/>
              <p:nvPr/>
            </p:nvGrpSpPr>
            <p:grpSpPr>
              <a:xfrm>
                <a:off x="7739071" y="3453127"/>
                <a:ext cx="121832" cy="21176"/>
                <a:chOff x="7739071" y="3453127"/>
                <a:chExt cx="121832" cy="21176"/>
              </a:xfrm>
              <a:grpFill/>
            </p:grpSpPr>
            <p:sp>
              <p:nvSpPr>
                <p:cNvPr id="4728" name="Vrije vorm: vorm 4727">
                  <a:extLst>
                    <a:ext uri="{FF2B5EF4-FFF2-40B4-BE49-F238E27FC236}">
                      <a16:creationId xmlns:a16="http://schemas.microsoft.com/office/drawing/2014/main" id="{D549989E-96CB-40A5-96A7-567B29CC6A5E}"/>
                    </a:ext>
                  </a:extLst>
                </p:cNvPr>
                <p:cNvSpPr/>
                <p:nvPr/>
              </p:nvSpPr>
              <p:spPr>
                <a:xfrm>
                  <a:off x="7747746" y="3460785"/>
                  <a:ext cx="104483" cy="5860"/>
                </a:xfrm>
                <a:custGeom>
                  <a:avLst/>
                  <a:gdLst>
                    <a:gd name="connsiteX0" fmla="*/ 104483 w 104483"/>
                    <a:gd name="connsiteY0" fmla="*/ 2811 h 5860"/>
                    <a:gd name="connsiteX1" fmla="*/ 104423 w 104483"/>
                    <a:gd name="connsiteY1" fmla="*/ 5861 h 5860"/>
                    <a:gd name="connsiteX2" fmla="*/ 0 w 104483"/>
                    <a:gd name="connsiteY2" fmla="*/ 3110 h 5860"/>
                    <a:gd name="connsiteX3" fmla="*/ 60 w 104483"/>
                    <a:gd name="connsiteY3" fmla="*/ 0 h 5860"/>
                  </a:gdLst>
                  <a:ahLst/>
                  <a:cxnLst>
                    <a:cxn ang="0">
                      <a:pos x="connsiteX0" y="connsiteY0"/>
                    </a:cxn>
                    <a:cxn ang="0">
                      <a:pos x="connsiteX1" y="connsiteY1"/>
                    </a:cxn>
                    <a:cxn ang="0">
                      <a:pos x="connsiteX2" y="connsiteY2"/>
                    </a:cxn>
                    <a:cxn ang="0">
                      <a:pos x="connsiteX3" y="connsiteY3"/>
                    </a:cxn>
                  </a:cxnLst>
                  <a:rect l="l" t="t" r="r" b="b"/>
                  <a:pathLst>
                    <a:path w="104483" h="5860">
                      <a:moveTo>
                        <a:pt x="104483" y="2811"/>
                      </a:moveTo>
                      <a:lnTo>
                        <a:pt x="104423" y="5861"/>
                      </a:lnTo>
                      <a:lnTo>
                        <a:pt x="0" y="3110"/>
                      </a:lnTo>
                      <a:lnTo>
                        <a:pt x="60" y="0"/>
                      </a:lnTo>
                      <a:close/>
                    </a:path>
                  </a:pathLst>
                </a:custGeom>
                <a:grpFill/>
                <a:ln w="5978" cap="flat">
                  <a:noFill/>
                  <a:prstDash val="solid"/>
                  <a:miter/>
                </a:ln>
              </p:spPr>
              <p:txBody>
                <a:bodyPr rtlCol="0" anchor="ctr"/>
                <a:lstStyle/>
                <a:p>
                  <a:endParaRPr lang="en-GB"/>
                </a:p>
              </p:txBody>
            </p:sp>
            <p:sp>
              <p:nvSpPr>
                <p:cNvPr id="4729" name="Vrije vorm: vorm 4728">
                  <a:extLst>
                    <a:ext uri="{FF2B5EF4-FFF2-40B4-BE49-F238E27FC236}">
                      <a16:creationId xmlns:a16="http://schemas.microsoft.com/office/drawing/2014/main" id="{B7642917-72BC-4C11-9AB1-AA9410CC256B}"/>
                    </a:ext>
                  </a:extLst>
                </p:cNvPr>
                <p:cNvSpPr/>
                <p:nvPr/>
              </p:nvSpPr>
              <p:spPr>
                <a:xfrm>
                  <a:off x="7842538" y="3455878"/>
                  <a:ext cx="18366" cy="18425"/>
                </a:xfrm>
                <a:custGeom>
                  <a:avLst/>
                  <a:gdLst>
                    <a:gd name="connsiteX0" fmla="*/ 9393 w 18366"/>
                    <a:gd name="connsiteY0" fmla="*/ 3 h 18425"/>
                    <a:gd name="connsiteX1" fmla="*/ 18364 w 18366"/>
                    <a:gd name="connsiteY1" fmla="*/ 9452 h 18425"/>
                    <a:gd name="connsiteX2" fmla="*/ 8974 w 18366"/>
                    <a:gd name="connsiteY2" fmla="*/ 18423 h 18425"/>
                    <a:gd name="connsiteX3" fmla="*/ 3 w 18366"/>
                    <a:gd name="connsiteY3" fmla="*/ 8974 h 18425"/>
                    <a:gd name="connsiteX4" fmla="*/ 9393 w 18366"/>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3" y="3"/>
                      </a:moveTo>
                      <a:cubicBezTo>
                        <a:pt x="14476" y="122"/>
                        <a:pt x="18483" y="4369"/>
                        <a:pt x="18364" y="9452"/>
                      </a:cubicBezTo>
                      <a:cubicBezTo>
                        <a:pt x="18244" y="14536"/>
                        <a:pt x="14057" y="18543"/>
                        <a:pt x="8974" y="18423"/>
                      </a:cubicBezTo>
                      <a:cubicBezTo>
                        <a:pt x="3890" y="18304"/>
                        <a:pt x="-117" y="14057"/>
                        <a:pt x="3" y="8974"/>
                      </a:cubicBezTo>
                      <a:cubicBezTo>
                        <a:pt x="122" y="3890"/>
                        <a:pt x="4309" y="-117"/>
                        <a:pt x="9393" y="3"/>
                      </a:cubicBezTo>
                      <a:close/>
                    </a:path>
                  </a:pathLst>
                </a:custGeom>
                <a:grpFill/>
                <a:ln w="5978" cap="flat">
                  <a:noFill/>
                  <a:prstDash val="solid"/>
                  <a:miter/>
                </a:ln>
              </p:spPr>
              <p:txBody>
                <a:bodyPr rtlCol="0" anchor="ctr"/>
                <a:lstStyle/>
                <a:p>
                  <a:endParaRPr lang="en-GB"/>
                </a:p>
              </p:txBody>
            </p:sp>
            <p:sp>
              <p:nvSpPr>
                <p:cNvPr id="4730" name="Vrije vorm: vorm 4729">
                  <a:extLst>
                    <a:ext uri="{FF2B5EF4-FFF2-40B4-BE49-F238E27FC236}">
                      <a16:creationId xmlns:a16="http://schemas.microsoft.com/office/drawing/2014/main" id="{51B4425D-4D3D-4C46-AA63-613610F94EF7}"/>
                    </a:ext>
                  </a:extLst>
                </p:cNvPr>
                <p:cNvSpPr/>
                <p:nvPr/>
              </p:nvSpPr>
              <p:spPr>
                <a:xfrm>
                  <a:off x="7739071" y="3453127"/>
                  <a:ext cx="18363" cy="18425"/>
                </a:xfrm>
                <a:custGeom>
                  <a:avLst/>
                  <a:gdLst>
                    <a:gd name="connsiteX0" fmla="*/ 9392 w 18363"/>
                    <a:gd name="connsiteY0" fmla="*/ 3 h 18425"/>
                    <a:gd name="connsiteX1" fmla="*/ 3 w 18363"/>
                    <a:gd name="connsiteY1" fmla="*/ 8974 h 18425"/>
                    <a:gd name="connsiteX2" fmla="*/ 8974 w 18363"/>
                    <a:gd name="connsiteY2" fmla="*/ 18423 h 18425"/>
                    <a:gd name="connsiteX3" fmla="*/ 18363 w 18363"/>
                    <a:gd name="connsiteY3" fmla="*/ 9452 h 18425"/>
                    <a:gd name="connsiteX4" fmla="*/ 9392 w 18363"/>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5">
                      <a:moveTo>
                        <a:pt x="9392" y="3"/>
                      </a:moveTo>
                      <a:cubicBezTo>
                        <a:pt x="4309" y="-117"/>
                        <a:pt x="122" y="3890"/>
                        <a:pt x="3" y="8974"/>
                      </a:cubicBezTo>
                      <a:cubicBezTo>
                        <a:pt x="-117" y="14057"/>
                        <a:pt x="3890" y="18304"/>
                        <a:pt x="8974" y="18423"/>
                      </a:cubicBezTo>
                      <a:cubicBezTo>
                        <a:pt x="14057" y="18543"/>
                        <a:pt x="18243" y="14536"/>
                        <a:pt x="18363" y="9452"/>
                      </a:cubicBezTo>
                      <a:cubicBezTo>
                        <a:pt x="18423" y="4368"/>
                        <a:pt x="14416" y="122"/>
                        <a:pt x="9392" y="3"/>
                      </a:cubicBezTo>
                      <a:close/>
                    </a:path>
                  </a:pathLst>
                </a:custGeom>
                <a:grpFill/>
                <a:ln w="5978" cap="flat">
                  <a:noFill/>
                  <a:prstDash val="solid"/>
                  <a:miter/>
                </a:ln>
              </p:spPr>
              <p:txBody>
                <a:bodyPr rtlCol="0" anchor="ctr"/>
                <a:lstStyle/>
                <a:p>
                  <a:endParaRPr lang="en-GB"/>
                </a:p>
              </p:txBody>
            </p:sp>
          </p:grpSp>
          <p:grpSp>
            <p:nvGrpSpPr>
              <p:cNvPr id="218" name="Graphic 3">
                <a:extLst>
                  <a:ext uri="{FF2B5EF4-FFF2-40B4-BE49-F238E27FC236}">
                    <a16:creationId xmlns:a16="http://schemas.microsoft.com/office/drawing/2014/main" id="{6AB5463D-2768-4A0E-A00B-DD359DE865AC}"/>
                  </a:ext>
                </a:extLst>
              </p:cNvPr>
              <p:cNvGrpSpPr/>
              <p:nvPr/>
            </p:nvGrpSpPr>
            <p:grpSpPr>
              <a:xfrm>
                <a:off x="7106522" y="1520649"/>
                <a:ext cx="208923" cy="305875"/>
                <a:chOff x="7106522" y="1520649"/>
                <a:chExt cx="208923" cy="305875"/>
              </a:xfrm>
              <a:grpFill/>
            </p:grpSpPr>
            <p:sp>
              <p:nvSpPr>
                <p:cNvPr id="4725" name="Vrije vorm: vorm 4724">
                  <a:extLst>
                    <a:ext uri="{FF2B5EF4-FFF2-40B4-BE49-F238E27FC236}">
                      <a16:creationId xmlns:a16="http://schemas.microsoft.com/office/drawing/2014/main" id="{1217EE0A-6E84-44C3-BE87-654FD302C5A7}"/>
                    </a:ext>
                  </a:extLst>
                </p:cNvPr>
                <p:cNvSpPr/>
                <p:nvPr/>
              </p:nvSpPr>
              <p:spPr>
                <a:xfrm>
                  <a:off x="7114148" y="1528593"/>
                  <a:ext cx="193595" cy="289945"/>
                </a:xfrm>
                <a:custGeom>
                  <a:avLst/>
                  <a:gdLst>
                    <a:gd name="connsiteX0" fmla="*/ 193596 w 193595"/>
                    <a:gd name="connsiteY0" fmla="*/ 1734 h 289945"/>
                    <a:gd name="connsiteX1" fmla="*/ 2571 w 193595"/>
                    <a:gd name="connsiteY1" fmla="*/ 289945 h 289945"/>
                    <a:gd name="connsiteX2" fmla="*/ 0 w 193595"/>
                    <a:gd name="connsiteY2" fmla="*/ 288271 h 289945"/>
                    <a:gd name="connsiteX3" fmla="*/ 191084 w 193595"/>
                    <a:gd name="connsiteY3" fmla="*/ 0 h 289945"/>
                  </a:gdLst>
                  <a:ahLst/>
                  <a:cxnLst>
                    <a:cxn ang="0">
                      <a:pos x="connsiteX0" y="connsiteY0"/>
                    </a:cxn>
                    <a:cxn ang="0">
                      <a:pos x="connsiteX1" y="connsiteY1"/>
                    </a:cxn>
                    <a:cxn ang="0">
                      <a:pos x="connsiteX2" y="connsiteY2"/>
                    </a:cxn>
                    <a:cxn ang="0">
                      <a:pos x="connsiteX3" y="connsiteY3"/>
                    </a:cxn>
                  </a:cxnLst>
                  <a:rect l="l" t="t" r="r" b="b"/>
                  <a:pathLst>
                    <a:path w="193595" h="289945">
                      <a:moveTo>
                        <a:pt x="193596" y="1734"/>
                      </a:moveTo>
                      <a:lnTo>
                        <a:pt x="2571" y="289945"/>
                      </a:lnTo>
                      <a:lnTo>
                        <a:pt x="0" y="288271"/>
                      </a:lnTo>
                      <a:lnTo>
                        <a:pt x="191084" y="0"/>
                      </a:lnTo>
                      <a:close/>
                    </a:path>
                  </a:pathLst>
                </a:custGeom>
                <a:grpFill/>
                <a:ln w="5978" cap="flat">
                  <a:noFill/>
                  <a:prstDash val="solid"/>
                  <a:miter/>
                </a:ln>
              </p:spPr>
              <p:txBody>
                <a:bodyPr rtlCol="0" anchor="ctr"/>
                <a:lstStyle/>
                <a:p>
                  <a:endParaRPr lang="en-GB"/>
                </a:p>
              </p:txBody>
            </p:sp>
            <p:sp>
              <p:nvSpPr>
                <p:cNvPr id="4726" name="Vrije vorm: vorm 4725">
                  <a:extLst>
                    <a:ext uri="{FF2B5EF4-FFF2-40B4-BE49-F238E27FC236}">
                      <a16:creationId xmlns:a16="http://schemas.microsoft.com/office/drawing/2014/main" id="{8FED77A5-849C-4B65-9D8A-CD651A906354}"/>
                    </a:ext>
                  </a:extLst>
                </p:cNvPr>
                <p:cNvSpPr/>
                <p:nvPr/>
              </p:nvSpPr>
              <p:spPr>
                <a:xfrm>
                  <a:off x="7106522" y="1808041"/>
                  <a:ext cx="18318" cy="18483"/>
                </a:xfrm>
                <a:custGeom>
                  <a:avLst/>
                  <a:gdLst>
                    <a:gd name="connsiteX0" fmla="*/ 16777 w 18318"/>
                    <a:gd name="connsiteY0" fmla="*/ 14385 h 18483"/>
                    <a:gd name="connsiteX1" fmla="*/ 4098 w 18318"/>
                    <a:gd name="connsiteY1" fmla="*/ 16897 h 18483"/>
                    <a:gd name="connsiteX2" fmla="*/ 1526 w 18318"/>
                    <a:gd name="connsiteY2" fmla="*/ 4098 h 18483"/>
                    <a:gd name="connsiteX3" fmla="*/ 14205 w 18318"/>
                    <a:gd name="connsiteY3" fmla="*/ 1586 h 18483"/>
                    <a:gd name="connsiteX4" fmla="*/ 16777 w 18318"/>
                    <a:gd name="connsiteY4" fmla="*/ 14385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83">
                      <a:moveTo>
                        <a:pt x="16777" y="14385"/>
                      </a:moveTo>
                      <a:cubicBezTo>
                        <a:pt x="13966" y="18631"/>
                        <a:pt x="8285" y="19768"/>
                        <a:pt x="4098" y="16897"/>
                      </a:cubicBezTo>
                      <a:cubicBezTo>
                        <a:pt x="-89" y="14086"/>
                        <a:pt x="-1285" y="8345"/>
                        <a:pt x="1526" y="4098"/>
                      </a:cubicBezTo>
                      <a:cubicBezTo>
                        <a:pt x="4337" y="-148"/>
                        <a:pt x="10018" y="-1284"/>
                        <a:pt x="14205" y="1586"/>
                      </a:cubicBezTo>
                      <a:cubicBezTo>
                        <a:pt x="18451" y="4457"/>
                        <a:pt x="19588" y="10199"/>
                        <a:pt x="16777" y="14385"/>
                      </a:cubicBezTo>
                      <a:close/>
                    </a:path>
                  </a:pathLst>
                </a:custGeom>
                <a:grpFill/>
                <a:ln w="5978" cap="flat">
                  <a:noFill/>
                  <a:prstDash val="solid"/>
                  <a:miter/>
                </a:ln>
              </p:spPr>
              <p:txBody>
                <a:bodyPr rtlCol="0" anchor="ctr"/>
                <a:lstStyle/>
                <a:p>
                  <a:endParaRPr lang="en-GB"/>
                </a:p>
              </p:txBody>
            </p:sp>
            <p:sp>
              <p:nvSpPr>
                <p:cNvPr id="4727" name="Vrije vorm: vorm 4726">
                  <a:extLst>
                    <a:ext uri="{FF2B5EF4-FFF2-40B4-BE49-F238E27FC236}">
                      <a16:creationId xmlns:a16="http://schemas.microsoft.com/office/drawing/2014/main" id="{F21C5DE3-FECA-424F-AD90-D2198BC5794B}"/>
                    </a:ext>
                  </a:extLst>
                </p:cNvPr>
                <p:cNvSpPr/>
                <p:nvPr/>
              </p:nvSpPr>
              <p:spPr>
                <a:xfrm>
                  <a:off x="7297112" y="1520649"/>
                  <a:ext cx="18333" cy="18415"/>
                </a:xfrm>
                <a:custGeom>
                  <a:avLst/>
                  <a:gdLst>
                    <a:gd name="connsiteX0" fmla="*/ 16792 w 18333"/>
                    <a:gd name="connsiteY0" fmla="*/ 14343 h 18415"/>
                    <a:gd name="connsiteX1" fmla="*/ 14221 w 18333"/>
                    <a:gd name="connsiteY1" fmla="*/ 1544 h 18415"/>
                    <a:gd name="connsiteX2" fmla="*/ 1542 w 18333"/>
                    <a:gd name="connsiteY2" fmla="*/ 4056 h 18415"/>
                    <a:gd name="connsiteX3" fmla="*/ 4113 w 18333"/>
                    <a:gd name="connsiteY3" fmla="*/ 16855 h 18415"/>
                    <a:gd name="connsiteX4" fmla="*/ 16792 w 18333"/>
                    <a:gd name="connsiteY4" fmla="*/ 1434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5">
                      <a:moveTo>
                        <a:pt x="16792" y="14343"/>
                      </a:moveTo>
                      <a:cubicBezTo>
                        <a:pt x="19604" y="10097"/>
                        <a:pt x="18467" y="4415"/>
                        <a:pt x="14221" y="1544"/>
                      </a:cubicBezTo>
                      <a:cubicBezTo>
                        <a:pt x="10034" y="-1266"/>
                        <a:pt x="4293" y="-130"/>
                        <a:pt x="1542" y="4056"/>
                      </a:cubicBezTo>
                      <a:cubicBezTo>
                        <a:pt x="-1270" y="8303"/>
                        <a:pt x="-133" y="13984"/>
                        <a:pt x="4113" y="16855"/>
                      </a:cubicBezTo>
                      <a:cubicBezTo>
                        <a:pt x="8300" y="19666"/>
                        <a:pt x="13981" y="18590"/>
                        <a:pt x="16792" y="14343"/>
                      </a:cubicBezTo>
                      <a:close/>
                    </a:path>
                  </a:pathLst>
                </a:custGeom>
                <a:grpFill/>
                <a:ln w="5978" cap="flat">
                  <a:noFill/>
                  <a:prstDash val="solid"/>
                  <a:miter/>
                </a:ln>
              </p:spPr>
              <p:txBody>
                <a:bodyPr rtlCol="0" anchor="ctr"/>
                <a:lstStyle/>
                <a:p>
                  <a:endParaRPr lang="en-GB"/>
                </a:p>
              </p:txBody>
            </p:sp>
          </p:grpSp>
          <p:grpSp>
            <p:nvGrpSpPr>
              <p:cNvPr id="219" name="Graphic 3">
                <a:extLst>
                  <a:ext uri="{FF2B5EF4-FFF2-40B4-BE49-F238E27FC236}">
                    <a16:creationId xmlns:a16="http://schemas.microsoft.com/office/drawing/2014/main" id="{CCBE6376-C646-4CEB-A83A-EB2361C54E83}"/>
                  </a:ext>
                </a:extLst>
              </p:cNvPr>
              <p:cNvGrpSpPr/>
              <p:nvPr/>
            </p:nvGrpSpPr>
            <p:grpSpPr>
              <a:xfrm>
                <a:off x="7942722" y="3857308"/>
                <a:ext cx="19191" cy="18615"/>
                <a:chOff x="7942722" y="3857308"/>
                <a:chExt cx="19191" cy="18615"/>
              </a:xfrm>
              <a:grpFill/>
            </p:grpSpPr>
            <p:sp>
              <p:nvSpPr>
                <p:cNvPr id="4722" name="Vrije vorm: vorm 4721">
                  <a:extLst>
                    <a:ext uri="{FF2B5EF4-FFF2-40B4-BE49-F238E27FC236}">
                      <a16:creationId xmlns:a16="http://schemas.microsoft.com/office/drawing/2014/main" id="{0D178E8C-1A61-419E-91FC-28CD8433B326}"/>
                    </a:ext>
                  </a:extLst>
                </p:cNvPr>
                <p:cNvSpPr/>
                <p:nvPr/>
              </p:nvSpPr>
              <p:spPr>
                <a:xfrm>
                  <a:off x="7951150" y="3864902"/>
                  <a:ext cx="2392" cy="3409"/>
                </a:xfrm>
                <a:custGeom>
                  <a:avLst/>
                  <a:gdLst>
                    <a:gd name="connsiteX0" fmla="*/ 2392 w 2392"/>
                    <a:gd name="connsiteY0" fmla="*/ 419 h 3409"/>
                    <a:gd name="connsiteX1" fmla="*/ 1675 w 2392"/>
                    <a:gd name="connsiteY1" fmla="*/ 3409 h 3409"/>
                    <a:gd name="connsiteX2" fmla="*/ 0 w 2392"/>
                    <a:gd name="connsiteY2" fmla="*/ 2990 h 3409"/>
                    <a:gd name="connsiteX3" fmla="*/ 658 w 2392"/>
                    <a:gd name="connsiteY3" fmla="*/ 0 h 3409"/>
                  </a:gdLst>
                  <a:ahLst/>
                  <a:cxnLst>
                    <a:cxn ang="0">
                      <a:pos x="connsiteX0" y="connsiteY0"/>
                    </a:cxn>
                    <a:cxn ang="0">
                      <a:pos x="connsiteX1" y="connsiteY1"/>
                    </a:cxn>
                    <a:cxn ang="0">
                      <a:pos x="connsiteX2" y="connsiteY2"/>
                    </a:cxn>
                    <a:cxn ang="0">
                      <a:pos x="connsiteX3" y="connsiteY3"/>
                    </a:cxn>
                  </a:cxnLst>
                  <a:rect l="l" t="t" r="r" b="b"/>
                  <a:pathLst>
                    <a:path w="2392" h="3409">
                      <a:moveTo>
                        <a:pt x="2392" y="419"/>
                      </a:moveTo>
                      <a:lnTo>
                        <a:pt x="1675" y="3409"/>
                      </a:lnTo>
                      <a:lnTo>
                        <a:pt x="0" y="2990"/>
                      </a:lnTo>
                      <a:lnTo>
                        <a:pt x="658" y="0"/>
                      </a:lnTo>
                      <a:close/>
                    </a:path>
                  </a:pathLst>
                </a:custGeom>
                <a:grpFill/>
                <a:ln w="5978" cap="flat">
                  <a:noFill/>
                  <a:prstDash val="solid"/>
                  <a:miter/>
                </a:ln>
              </p:spPr>
              <p:txBody>
                <a:bodyPr rtlCol="0" anchor="ctr"/>
                <a:lstStyle/>
                <a:p>
                  <a:endParaRPr lang="en-GB"/>
                </a:p>
              </p:txBody>
            </p:sp>
            <p:sp>
              <p:nvSpPr>
                <p:cNvPr id="4723" name="Vrije vorm: vorm 4722">
                  <a:extLst>
                    <a:ext uri="{FF2B5EF4-FFF2-40B4-BE49-F238E27FC236}">
                      <a16:creationId xmlns:a16="http://schemas.microsoft.com/office/drawing/2014/main" id="{4E955584-4A70-4184-A26F-A5B3047F35AB}"/>
                    </a:ext>
                  </a:extLst>
                </p:cNvPr>
                <p:cNvSpPr/>
                <p:nvPr/>
              </p:nvSpPr>
              <p:spPr>
                <a:xfrm>
                  <a:off x="7942722" y="3857308"/>
                  <a:ext cx="18350" cy="18416"/>
                </a:xfrm>
                <a:custGeom>
                  <a:avLst/>
                  <a:gdLst>
                    <a:gd name="connsiteX0" fmla="*/ 7112 w 18350"/>
                    <a:gd name="connsiteY0" fmla="*/ 18180 h 18416"/>
                    <a:gd name="connsiteX1" fmla="*/ 234 w 18350"/>
                    <a:gd name="connsiteY1" fmla="*/ 7115 h 18416"/>
                    <a:gd name="connsiteX2" fmla="*/ 11239 w 18350"/>
                    <a:gd name="connsiteY2" fmla="*/ 237 h 18416"/>
                    <a:gd name="connsiteX3" fmla="*/ 18117 w 18350"/>
                    <a:gd name="connsiteY3" fmla="*/ 11302 h 18416"/>
                    <a:gd name="connsiteX4" fmla="*/ 7112 w 18350"/>
                    <a:gd name="connsiteY4" fmla="*/ 1818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6">
                      <a:moveTo>
                        <a:pt x="7112" y="18180"/>
                      </a:moveTo>
                      <a:cubicBezTo>
                        <a:pt x="2208" y="16984"/>
                        <a:pt x="-902" y="12020"/>
                        <a:pt x="234" y="7115"/>
                      </a:cubicBezTo>
                      <a:cubicBezTo>
                        <a:pt x="1370" y="2151"/>
                        <a:pt x="6275" y="-899"/>
                        <a:pt x="11239" y="237"/>
                      </a:cubicBezTo>
                      <a:cubicBezTo>
                        <a:pt x="16143" y="1434"/>
                        <a:pt x="19253" y="6398"/>
                        <a:pt x="18117" y="11302"/>
                      </a:cubicBezTo>
                      <a:cubicBezTo>
                        <a:pt x="16980" y="16266"/>
                        <a:pt x="12076" y="19316"/>
                        <a:pt x="7112" y="18180"/>
                      </a:cubicBezTo>
                      <a:close/>
                    </a:path>
                  </a:pathLst>
                </a:custGeom>
                <a:grpFill/>
                <a:ln w="5978" cap="flat">
                  <a:noFill/>
                  <a:prstDash val="solid"/>
                  <a:miter/>
                </a:ln>
              </p:spPr>
              <p:txBody>
                <a:bodyPr rtlCol="0" anchor="ctr"/>
                <a:lstStyle/>
                <a:p>
                  <a:endParaRPr lang="en-GB"/>
                </a:p>
              </p:txBody>
            </p:sp>
            <p:sp>
              <p:nvSpPr>
                <p:cNvPr id="4724" name="Vrije vorm: vorm 4723">
                  <a:extLst>
                    <a:ext uri="{FF2B5EF4-FFF2-40B4-BE49-F238E27FC236}">
                      <a16:creationId xmlns:a16="http://schemas.microsoft.com/office/drawing/2014/main" id="{0BDA6DED-BFFA-47DB-AE51-CE75E72DC4DB}"/>
                    </a:ext>
                  </a:extLst>
                </p:cNvPr>
                <p:cNvSpPr/>
                <p:nvPr/>
              </p:nvSpPr>
              <p:spPr>
                <a:xfrm>
                  <a:off x="7943557" y="3857488"/>
                  <a:ext cx="18356" cy="18435"/>
                </a:xfrm>
                <a:custGeom>
                  <a:avLst/>
                  <a:gdLst>
                    <a:gd name="connsiteX0" fmla="*/ 7115 w 18356"/>
                    <a:gd name="connsiteY0" fmla="*/ 18180 h 18435"/>
                    <a:gd name="connsiteX1" fmla="*/ 18120 w 18356"/>
                    <a:gd name="connsiteY1" fmla="*/ 11302 h 18435"/>
                    <a:gd name="connsiteX2" fmla="*/ 11242 w 18356"/>
                    <a:gd name="connsiteY2" fmla="*/ 237 h 18435"/>
                    <a:gd name="connsiteX3" fmla="*/ 237 w 18356"/>
                    <a:gd name="connsiteY3" fmla="*/ 7115 h 18435"/>
                    <a:gd name="connsiteX4" fmla="*/ 7115 w 18356"/>
                    <a:gd name="connsiteY4" fmla="*/ 1818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5">
                      <a:moveTo>
                        <a:pt x="7115" y="18180"/>
                      </a:moveTo>
                      <a:cubicBezTo>
                        <a:pt x="12019" y="19376"/>
                        <a:pt x="16983" y="16266"/>
                        <a:pt x="18120" y="11302"/>
                      </a:cubicBezTo>
                      <a:cubicBezTo>
                        <a:pt x="19256" y="6338"/>
                        <a:pt x="16206" y="1374"/>
                        <a:pt x="11242" y="237"/>
                      </a:cubicBezTo>
                      <a:cubicBezTo>
                        <a:pt x="6278" y="-899"/>
                        <a:pt x="1373" y="2151"/>
                        <a:pt x="237" y="7115"/>
                      </a:cubicBezTo>
                      <a:cubicBezTo>
                        <a:pt x="-899" y="12019"/>
                        <a:pt x="2151" y="16983"/>
                        <a:pt x="7115" y="18180"/>
                      </a:cubicBezTo>
                      <a:close/>
                    </a:path>
                  </a:pathLst>
                </a:custGeom>
                <a:grpFill/>
                <a:ln w="5978" cap="flat">
                  <a:noFill/>
                  <a:prstDash val="solid"/>
                  <a:miter/>
                </a:ln>
              </p:spPr>
              <p:txBody>
                <a:bodyPr rtlCol="0" anchor="ctr"/>
                <a:lstStyle/>
                <a:p>
                  <a:endParaRPr lang="en-GB"/>
                </a:p>
              </p:txBody>
            </p:sp>
          </p:grpSp>
          <p:grpSp>
            <p:nvGrpSpPr>
              <p:cNvPr id="220" name="Graphic 3">
                <a:extLst>
                  <a:ext uri="{FF2B5EF4-FFF2-40B4-BE49-F238E27FC236}">
                    <a16:creationId xmlns:a16="http://schemas.microsoft.com/office/drawing/2014/main" id="{6C550E7B-ABCE-469E-AF63-BA677BB6E890}"/>
                  </a:ext>
                </a:extLst>
              </p:cNvPr>
              <p:cNvGrpSpPr/>
              <p:nvPr/>
            </p:nvGrpSpPr>
            <p:grpSpPr>
              <a:xfrm>
                <a:off x="7710470" y="3673682"/>
                <a:ext cx="359269" cy="109598"/>
                <a:chOff x="7710470" y="3673682"/>
                <a:chExt cx="359269" cy="109598"/>
              </a:xfrm>
              <a:grpFill/>
            </p:grpSpPr>
            <p:sp>
              <p:nvSpPr>
                <p:cNvPr id="4719" name="Vrije vorm: vorm 4718">
                  <a:extLst>
                    <a:ext uri="{FF2B5EF4-FFF2-40B4-BE49-F238E27FC236}">
                      <a16:creationId xmlns:a16="http://schemas.microsoft.com/office/drawing/2014/main" id="{238302EF-FC8B-42BA-A432-7CB0640B8C8B}"/>
                    </a:ext>
                  </a:extLst>
                </p:cNvPr>
                <p:cNvSpPr/>
                <p:nvPr/>
              </p:nvSpPr>
              <p:spPr>
                <a:xfrm>
                  <a:off x="7718799" y="3681294"/>
                  <a:ext cx="342575" cy="94375"/>
                </a:xfrm>
                <a:custGeom>
                  <a:avLst/>
                  <a:gdLst>
                    <a:gd name="connsiteX0" fmla="*/ 342575 w 342575"/>
                    <a:gd name="connsiteY0" fmla="*/ 91385 h 94375"/>
                    <a:gd name="connsiteX1" fmla="*/ 341798 w 342575"/>
                    <a:gd name="connsiteY1" fmla="*/ 94376 h 94375"/>
                    <a:gd name="connsiteX2" fmla="*/ 0 w 342575"/>
                    <a:gd name="connsiteY2" fmla="*/ 2990 h 94375"/>
                    <a:gd name="connsiteX3" fmla="*/ 778 w 342575"/>
                    <a:gd name="connsiteY3" fmla="*/ 0 h 94375"/>
                  </a:gdLst>
                  <a:ahLst/>
                  <a:cxnLst>
                    <a:cxn ang="0">
                      <a:pos x="connsiteX0" y="connsiteY0"/>
                    </a:cxn>
                    <a:cxn ang="0">
                      <a:pos x="connsiteX1" y="connsiteY1"/>
                    </a:cxn>
                    <a:cxn ang="0">
                      <a:pos x="connsiteX2" y="connsiteY2"/>
                    </a:cxn>
                    <a:cxn ang="0">
                      <a:pos x="connsiteX3" y="connsiteY3"/>
                    </a:cxn>
                  </a:cxnLst>
                  <a:rect l="l" t="t" r="r" b="b"/>
                  <a:pathLst>
                    <a:path w="342575" h="94375">
                      <a:moveTo>
                        <a:pt x="342575" y="91385"/>
                      </a:moveTo>
                      <a:lnTo>
                        <a:pt x="341798" y="94376"/>
                      </a:lnTo>
                      <a:lnTo>
                        <a:pt x="0" y="2990"/>
                      </a:lnTo>
                      <a:lnTo>
                        <a:pt x="778" y="0"/>
                      </a:lnTo>
                      <a:close/>
                    </a:path>
                  </a:pathLst>
                </a:custGeom>
                <a:grpFill/>
                <a:ln w="5978" cap="flat">
                  <a:noFill/>
                  <a:prstDash val="solid"/>
                  <a:miter/>
                </a:ln>
              </p:spPr>
              <p:txBody>
                <a:bodyPr rtlCol="0" anchor="ctr"/>
                <a:lstStyle/>
                <a:p>
                  <a:endParaRPr lang="en-GB"/>
                </a:p>
              </p:txBody>
            </p:sp>
            <p:sp>
              <p:nvSpPr>
                <p:cNvPr id="4720" name="Vrije vorm: vorm 4719">
                  <a:extLst>
                    <a:ext uri="{FF2B5EF4-FFF2-40B4-BE49-F238E27FC236}">
                      <a16:creationId xmlns:a16="http://schemas.microsoft.com/office/drawing/2014/main" id="{35A09077-DCFD-4AE3-A0BB-5BF4955DD4AB}"/>
                    </a:ext>
                  </a:extLst>
                </p:cNvPr>
                <p:cNvSpPr/>
                <p:nvPr/>
              </p:nvSpPr>
              <p:spPr>
                <a:xfrm>
                  <a:off x="7710470" y="3673682"/>
                  <a:ext cx="18332" cy="18451"/>
                </a:xfrm>
                <a:custGeom>
                  <a:avLst/>
                  <a:gdLst>
                    <a:gd name="connsiteX0" fmla="*/ 6834 w 18332"/>
                    <a:gd name="connsiteY0" fmla="*/ 18137 h 18451"/>
                    <a:gd name="connsiteX1" fmla="*/ 315 w 18332"/>
                    <a:gd name="connsiteY1" fmla="*/ 6834 h 18451"/>
                    <a:gd name="connsiteX2" fmla="*/ 11499 w 18332"/>
                    <a:gd name="connsiteY2" fmla="*/ 315 h 18451"/>
                    <a:gd name="connsiteX3" fmla="*/ 18018 w 18332"/>
                    <a:gd name="connsiteY3" fmla="*/ 11559 h 18451"/>
                    <a:gd name="connsiteX4" fmla="*/ 6834 w 18332"/>
                    <a:gd name="connsiteY4" fmla="*/ 1813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1">
                      <a:moveTo>
                        <a:pt x="6834" y="18137"/>
                      </a:moveTo>
                      <a:cubicBezTo>
                        <a:pt x="1930" y="16822"/>
                        <a:pt x="-1001" y="11798"/>
                        <a:pt x="315" y="6834"/>
                      </a:cubicBezTo>
                      <a:cubicBezTo>
                        <a:pt x="1571" y="1930"/>
                        <a:pt x="6595" y="-1001"/>
                        <a:pt x="11499" y="315"/>
                      </a:cubicBezTo>
                      <a:cubicBezTo>
                        <a:pt x="16403" y="1631"/>
                        <a:pt x="19334" y="6654"/>
                        <a:pt x="18018" y="11559"/>
                      </a:cubicBezTo>
                      <a:cubicBezTo>
                        <a:pt x="16703" y="16523"/>
                        <a:pt x="11738" y="19453"/>
                        <a:pt x="6834" y="18137"/>
                      </a:cubicBezTo>
                      <a:close/>
                    </a:path>
                  </a:pathLst>
                </a:custGeom>
                <a:grpFill/>
                <a:ln w="5978" cap="flat">
                  <a:noFill/>
                  <a:prstDash val="solid"/>
                  <a:miter/>
                </a:ln>
              </p:spPr>
              <p:txBody>
                <a:bodyPr rtlCol="0" anchor="ctr"/>
                <a:lstStyle/>
                <a:p>
                  <a:endParaRPr lang="en-GB"/>
                </a:p>
              </p:txBody>
            </p:sp>
            <p:sp>
              <p:nvSpPr>
                <p:cNvPr id="4721" name="Vrije vorm: vorm 4720">
                  <a:extLst>
                    <a:ext uri="{FF2B5EF4-FFF2-40B4-BE49-F238E27FC236}">
                      <a16:creationId xmlns:a16="http://schemas.microsoft.com/office/drawing/2014/main" id="{22EE8767-2776-4CD5-8D1D-8707C8FD3E7E}"/>
                    </a:ext>
                  </a:extLst>
                </p:cNvPr>
                <p:cNvSpPr/>
                <p:nvPr/>
              </p:nvSpPr>
              <p:spPr>
                <a:xfrm>
                  <a:off x="8051431" y="3764888"/>
                  <a:ext cx="18308" cy="18392"/>
                </a:xfrm>
                <a:custGeom>
                  <a:avLst/>
                  <a:gdLst>
                    <a:gd name="connsiteX0" fmla="*/ 6834 w 18308"/>
                    <a:gd name="connsiteY0" fmla="*/ 18078 h 18392"/>
                    <a:gd name="connsiteX1" fmla="*/ 18018 w 18308"/>
                    <a:gd name="connsiteY1" fmla="*/ 11559 h 18392"/>
                    <a:gd name="connsiteX2" fmla="*/ 11499 w 18308"/>
                    <a:gd name="connsiteY2" fmla="*/ 315 h 18392"/>
                    <a:gd name="connsiteX3" fmla="*/ 315 w 18308"/>
                    <a:gd name="connsiteY3" fmla="*/ 6834 h 18392"/>
                    <a:gd name="connsiteX4" fmla="*/ 6834 w 18308"/>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392">
                      <a:moveTo>
                        <a:pt x="6834" y="18078"/>
                      </a:moveTo>
                      <a:cubicBezTo>
                        <a:pt x="11738" y="19393"/>
                        <a:pt x="16762" y="16463"/>
                        <a:pt x="18018" y="11559"/>
                      </a:cubicBezTo>
                      <a:cubicBezTo>
                        <a:pt x="19274" y="6654"/>
                        <a:pt x="16343" y="1571"/>
                        <a:pt x="11499" y="315"/>
                      </a:cubicBezTo>
                      <a:cubicBezTo>
                        <a:pt x="6595" y="-1001"/>
                        <a:pt x="1571" y="1930"/>
                        <a:pt x="315" y="6834"/>
                      </a:cubicBezTo>
                      <a:cubicBezTo>
                        <a:pt x="-1001" y="11678"/>
                        <a:pt x="1930" y="16762"/>
                        <a:pt x="6834" y="18078"/>
                      </a:cubicBezTo>
                      <a:close/>
                    </a:path>
                  </a:pathLst>
                </a:custGeom>
                <a:grpFill/>
                <a:ln w="5978" cap="flat">
                  <a:noFill/>
                  <a:prstDash val="solid"/>
                  <a:miter/>
                </a:ln>
              </p:spPr>
              <p:txBody>
                <a:bodyPr rtlCol="0" anchor="ctr"/>
                <a:lstStyle/>
                <a:p>
                  <a:endParaRPr lang="en-GB"/>
                </a:p>
              </p:txBody>
            </p:sp>
          </p:grpSp>
          <p:grpSp>
            <p:nvGrpSpPr>
              <p:cNvPr id="221" name="Graphic 3">
                <a:extLst>
                  <a:ext uri="{FF2B5EF4-FFF2-40B4-BE49-F238E27FC236}">
                    <a16:creationId xmlns:a16="http://schemas.microsoft.com/office/drawing/2014/main" id="{7B3E8599-148F-41AE-A7EB-6D2176D4C15E}"/>
                  </a:ext>
                </a:extLst>
              </p:cNvPr>
              <p:cNvGrpSpPr/>
              <p:nvPr/>
            </p:nvGrpSpPr>
            <p:grpSpPr>
              <a:xfrm>
                <a:off x="7185485" y="1669739"/>
                <a:ext cx="78433" cy="105438"/>
                <a:chOff x="7185485" y="1669739"/>
                <a:chExt cx="78433" cy="105438"/>
              </a:xfrm>
              <a:grpFill/>
            </p:grpSpPr>
            <p:sp>
              <p:nvSpPr>
                <p:cNvPr id="4716" name="Vrije vorm: vorm 4715">
                  <a:extLst>
                    <a:ext uri="{FF2B5EF4-FFF2-40B4-BE49-F238E27FC236}">
                      <a16:creationId xmlns:a16="http://schemas.microsoft.com/office/drawing/2014/main" id="{647E69B8-B148-4AD6-A34E-57653489DBC1}"/>
                    </a:ext>
                  </a:extLst>
                </p:cNvPr>
                <p:cNvSpPr/>
                <p:nvPr/>
              </p:nvSpPr>
              <p:spPr>
                <a:xfrm>
                  <a:off x="7193154" y="1677692"/>
                  <a:ext cx="63096" cy="89531"/>
                </a:xfrm>
                <a:custGeom>
                  <a:avLst/>
                  <a:gdLst>
                    <a:gd name="connsiteX0" fmla="*/ 63096 w 63096"/>
                    <a:gd name="connsiteY0" fmla="*/ 1734 h 89531"/>
                    <a:gd name="connsiteX1" fmla="*/ 2511 w 63096"/>
                    <a:gd name="connsiteY1" fmla="*/ 89531 h 89531"/>
                    <a:gd name="connsiteX2" fmla="*/ 0 w 63096"/>
                    <a:gd name="connsiteY2" fmla="*/ 87797 h 89531"/>
                    <a:gd name="connsiteX3" fmla="*/ 60585 w 63096"/>
                    <a:gd name="connsiteY3" fmla="*/ 0 h 89531"/>
                  </a:gdLst>
                  <a:ahLst/>
                  <a:cxnLst>
                    <a:cxn ang="0">
                      <a:pos x="connsiteX0" y="connsiteY0"/>
                    </a:cxn>
                    <a:cxn ang="0">
                      <a:pos x="connsiteX1" y="connsiteY1"/>
                    </a:cxn>
                    <a:cxn ang="0">
                      <a:pos x="connsiteX2" y="connsiteY2"/>
                    </a:cxn>
                    <a:cxn ang="0">
                      <a:pos x="connsiteX3" y="connsiteY3"/>
                    </a:cxn>
                  </a:cxnLst>
                  <a:rect l="l" t="t" r="r" b="b"/>
                  <a:pathLst>
                    <a:path w="63096" h="89531">
                      <a:moveTo>
                        <a:pt x="63096" y="1734"/>
                      </a:moveTo>
                      <a:lnTo>
                        <a:pt x="2511" y="89531"/>
                      </a:lnTo>
                      <a:lnTo>
                        <a:pt x="0" y="87797"/>
                      </a:lnTo>
                      <a:lnTo>
                        <a:pt x="60585" y="0"/>
                      </a:lnTo>
                      <a:close/>
                    </a:path>
                  </a:pathLst>
                </a:custGeom>
                <a:grpFill/>
                <a:ln w="5978" cap="flat">
                  <a:noFill/>
                  <a:prstDash val="solid"/>
                  <a:miter/>
                </a:ln>
              </p:spPr>
              <p:txBody>
                <a:bodyPr rtlCol="0" anchor="ctr"/>
                <a:lstStyle/>
                <a:p>
                  <a:endParaRPr lang="en-GB"/>
                </a:p>
              </p:txBody>
            </p:sp>
            <p:sp>
              <p:nvSpPr>
                <p:cNvPr id="4717" name="Vrije vorm: vorm 4716">
                  <a:extLst>
                    <a:ext uri="{FF2B5EF4-FFF2-40B4-BE49-F238E27FC236}">
                      <a16:creationId xmlns:a16="http://schemas.microsoft.com/office/drawing/2014/main" id="{7DD0A631-E961-4DCF-AC05-D3DD6B501918}"/>
                    </a:ext>
                  </a:extLst>
                </p:cNvPr>
                <p:cNvSpPr/>
                <p:nvPr/>
              </p:nvSpPr>
              <p:spPr>
                <a:xfrm>
                  <a:off x="7185485" y="1756758"/>
                  <a:ext cx="18353" cy="18419"/>
                </a:xfrm>
                <a:custGeom>
                  <a:avLst/>
                  <a:gdLst>
                    <a:gd name="connsiteX0" fmla="*/ 16700 w 18353"/>
                    <a:gd name="connsiteY0" fmla="*/ 14473 h 18419"/>
                    <a:gd name="connsiteX1" fmla="*/ 3961 w 18353"/>
                    <a:gd name="connsiteY1" fmla="*/ 16745 h 18419"/>
                    <a:gd name="connsiteX2" fmla="*/ 1628 w 18353"/>
                    <a:gd name="connsiteY2" fmla="*/ 3947 h 18419"/>
                    <a:gd name="connsiteX3" fmla="*/ 14367 w 18353"/>
                    <a:gd name="connsiteY3" fmla="*/ 1674 h 18419"/>
                    <a:gd name="connsiteX4" fmla="*/ 16700 w 18353"/>
                    <a:gd name="connsiteY4" fmla="*/ 14473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9">
                      <a:moveTo>
                        <a:pt x="16700" y="14473"/>
                      </a:moveTo>
                      <a:cubicBezTo>
                        <a:pt x="13829" y="18659"/>
                        <a:pt x="8087" y="19676"/>
                        <a:pt x="3961" y="16745"/>
                      </a:cubicBezTo>
                      <a:cubicBezTo>
                        <a:pt x="-226" y="13815"/>
                        <a:pt x="-1243" y="8073"/>
                        <a:pt x="1628" y="3947"/>
                      </a:cubicBezTo>
                      <a:cubicBezTo>
                        <a:pt x="4499" y="-240"/>
                        <a:pt x="10240" y="-1257"/>
                        <a:pt x="14367" y="1674"/>
                      </a:cubicBezTo>
                      <a:cubicBezTo>
                        <a:pt x="18553" y="4604"/>
                        <a:pt x="19630" y="10346"/>
                        <a:pt x="16700" y="14473"/>
                      </a:cubicBezTo>
                      <a:close/>
                    </a:path>
                  </a:pathLst>
                </a:custGeom>
                <a:grpFill/>
                <a:ln w="5978" cap="flat">
                  <a:noFill/>
                  <a:prstDash val="solid"/>
                  <a:miter/>
                </a:ln>
              </p:spPr>
              <p:txBody>
                <a:bodyPr rtlCol="0" anchor="ctr"/>
                <a:lstStyle/>
                <a:p>
                  <a:endParaRPr lang="en-GB"/>
                </a:p>
              </p:txBody>
            </p:sp>
            <p:sp>
              <p:nvSpPr>
                <p:cNvPr id="4718" name="Vrije vorm: vorm 4717">
                  <a:extLst>
                    <a:ext uri="{FF2B5EF4-FFF2-40B4-BE49-F238E27FC236}">
                      <a16:creationId xmlns:a16="http://schemas.microsoft.com/office/drawing/2014/main" id="{D853FD72-B774-4ABB-82BE-0F512F36BDFC}"/>
                    </a:ext>
                  </a:extLst>
                </p:cNvPr>
                <p:cNvSpPr/>
                <p:nvPr/>
              </p:nvSpPr>
              <p:spPr>
                <a:xfrm>
                  <a:off x="7245591" y="1669739"/>
                  <a:ext cx="18327" cy="18419"/>
                </a:xfrm>
                <a:custGeom>
                  <a:avLst/>
                  <a:gdLst>
                    <a:gd name="connsiteX0" fmla="*/ 16699 w 18327"/>
                    <a:gd name="connsiteY0" fmla="*/ 14473 h 18419"/>
                    <a:gd name="connsiteX1" fmla="*/ 14367 w 18327"/>
                    <a:gd name="connsiteY1" fmla="*/ 1674 h 18419"/>
                    <a:gd name="connsiteX2" fmla="*/ 1628 w 18327"/>
                    <a:gd name="connsiteY2" fmla="*/ 3947 h 18419"/>
                    <a:gd name="connsiteX3" fmla="*/ 3960 w 18327"/>
                    <a:gd name="connsiteY3" fmla="*/ 16745 h 18419"/>
                    <a:gd name="connsiteX4" fmla="*/ 16699 w 18327"/>
                    <a:gd name="connsiteY4" fmla="*/ 14473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699" y="14473"/>
                      </a:moveTo>
                      <a:cubicBezTo>
                        <a:pt x="19571" y="10286"/>
                        <a:pt x="18554" y="4545"/>
                        <a:pt x="14367" y="1674"/>
                      </a:cubicBezTo>
                      <a:cubicBezTo>
                        <a:pt x="10180" y="-1257"/>
                        <a:pt x="4499" y="-240"/>
                        <a:pt x="1628" y="3947"/>
                      </a:cubicBezTo>
                      <a:cubicBezTo>
                        <a:pt x="-1243" y="8133"/>
                        <a:pt x="-226" y="13875"/>
                        <a:pt x="3960" y="16745"/>
                      </a:cubicBezTo>
                      <a:cubicBezTo>
                        <a:pt x="8087" y="19676"/>
                        <a:pt x="13829" y="18659"/>
                        <a:pt x="16699" y="14473"/>
                      </a:cubicBezTo>
                      <a:close/>
                    </a:path>
                  </a:pathLst>
                </a:custGeom>
                <a:grpFill/>
                <a:ln w="5978" cap="flat">
                  <a:noFill/>
                  <a:prstDash val="solid"/>
                  <a:miter/>
                </a:ln>
              </p:spPr>
              <p:txBody>
                <a:bodyPr rtlCol="0" anchor="ctr"/>
                <a:lstStyle/>
                <a:p>
                  <a:endParaRPr lang="en-GB"/>
                </a:p>
              </p:txBody>
            </p:sp>
          </p:grpSp>
          <p:grpSp>
            <p:nvGrpSpPr>
              <p:cNvPr id="222" name="Graphic 3">
                <a:extLst>
                  <a:ext uri="{FF2B5EF4-FFF2-40B4-BE49-F238E27FC236}">
                    <a16:creationId xmlns:a16="http://schemas.microsoft.com/office/drawing/2014/main" id="{25BF5A8E-DABF-44C8-9C7C-3C9B3E85FFD0}"/>
                  </a:ext>
                </a:extLst>
              </p:cNvPr>
              <p:cNvGrpSpPr/>
              <p:nvPr/>
            </p:nvGrpSpPr>
            <p:grpSpPr>
              <a:xfrm>
                <a:off x="7444175" y="2438932"/>
                <a:ext cx="59981" cy="46502"/>
                <a:chOff x="7444175" y="2438932"/>
                <a:chExt cx="59981" cy="46502"/>
              </a:xfrm>
              <a:grpFill/>
            </p:grpSpPr>
            <p:sp>
              <p:nvSpPr>
                <p:cNvPr id="4713" name="Vrije vorm: vorm 4712">
                  <a:extLst>
                    <a:ext uri="{FF2B5EF4-FFF2-40B4-BE49-F238E27FC236}">
                      <a16:creationId xmlns:a16="http://schemas.microsoft.com/office/drawing/2014/main" id="{39B3C4FA-E16B-45FF-9B58-4A1D328AD6DA}"/>
                    </a:ext>
                  </a:extLst>
                </p:cNvPr>
                <p:cNvSpPr/>
                <p:nvPr/>
              </p:nvSpPr>
              <p:spPr>
                <a:xfrm>
                  <a:off x="7452118" y="2446634"/>
                  <a:ext cx="44077" cy="31039"/>
                </a:xfrm>
                <a:custGeom>
                  <a:avLst/>
                  <a:gdLst>
                    <a:gd name="connsiteX0" fmla="*/ 44078 w 44077"/>
                    <a:gd name="connsiteY0" fmla="*/ 2572 h 31039"/>
                    <a:gd name="connsiteX1" fmla="*/ 1675 w 44077"/>
                    <a:gd name="connsiteY1" fmla="*/ 31040 h 31039"/>
                    <a:gd name="connsiteX2" fmla="*/ 0 w 44077"/>
                    <a:gd name="connsiteY2" fmla="*/ 28528 h 31039"/>
                    <a:gd name="connsiteX3" fmla="*/ 42404 w 44077"/>
                    <a:gd name="connsiteY3" fmla="*/ 0 h 31039"/>
                  </a:gdLst>
                  <a:ahLst/>
                  <a:cxnLst>
                    <a:cxn ang="0">
                      <a:pos x="connsiteX0" y="connsiteY0"/>
                    </a:cxn>
                    <a:cxn ang="0">
                      <a:pos x="connsiteX1" y="connsiteY1"/>
                    </a:cxn>
                    <a:cxn ang="0">
                      <a:pos x="connsiteX2" y="connsiteY2"/>
                    </a:cxn>
                    <a:cxn ang="0">
                      <a:pos x="connsiteX3" y="connsiteY3"/>
                    </a:cxn>
                  </a:cxnLst>
                  <a:rect l="l" t="t" r="r" b="b"/>
                  <a:pathLst>
                    <a:path w="44077" h="31039">
                      <a:moveTo>
                        <a:pt x="44078" y="2572"/>
                      </a:moveTo>
                      <a:lnTo>
                        <a:pt x="1675" y="31040"/>
                      </a:lnTo>
                      <a:lnTo>
                        <a:pt x="0" y="28528"/>
                      </a:lnTo>
                      <a:lnTo>
                        <a:pt x="42404" y="0"/>
                      </a:lnTo>
                      <a:close/>
                    </a:path>
                  </a:pathLst>
                </a:custGeom>
                <a:grpFill/>
                <a:ln w="5978" cap="flat">
                  <a:noFill/>
                  <a:prstDash val="solid"/>
                  <a:miter/>
                </a:ln>
              </p:spPr>
              <p:txBody>
                <a:bodyPr rtlCol="0" anchor="ctr"/>
                <a:lstStyle/>
                <a:p>
                  <a:endParaRPr lang="en-GB"/>
                </a:p>
              </p:txBody>
            </p:sp>
            <p:sp>
              <p:nvSpPr>
                <p:cNvPr id="4714" name="Vrije vorm: vorm 4713">
                  <a:extLst>
                    <a:ext uri="{FF2B5EF4-FFF2-40B4-BE49-F238E27FC236}">
                      <a16:creationId xmlns:a16="http://schemas.microsoft.com/office/drawing/2014/main" id="{0A2E4E82-3404-4BCA-9AD9-99CF1BAE75E7}"/>
                    </a:ext>
                  </a:extLst>
                </p:cNvPr>
                <p:cNvSpPr/>
                <p:nvPr/>
              </p:nvSpPr>
              <p:spPr>
                <a:xfrm>
                  <a:off x="7485774" y="2438932"/>
                  <a:ext cx="18381" cy="18453"/>
                </a:xfrm>
                <a:custGeom>
                  <a:avLst/>
                  <a:gdLst>
                    <a:gd name="connsiteX0" fmla="*/ 4083 w 18381"/>
                    <a:gd name="connsiteY0" fmla="*/ 1541 h 18453"/>
                    <a:gd name="connsiteX1" fmla="*/ 16822 w 18381"/>
                    <a:gd name="connsiteY1" fmla="*/ 4113 h 18453"/>
                    <a:gd name="connsiteX2" fmla="*/ 14310 w 18381"/>
                    <a:gd name="connsiteY2" fmla="*/ 16912 h 18453"/>
                    <a:gd name="connsiteX3" fmla="*/ 1571 w 18381"/>
                    <a:gd name="connsiteY3" fmla="*/ 14340 h 18453"/>
                    <a:gd name="connsiteX4" fmla="*/ 4083 w 18381"/>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53">
                      <a:moveTo>
                        <a:pt x="4083" y="1541"/>
                      </a:moveTo>
                      <a:cubicBezTo>
                        <a:pt x="8269" y="-1270"/>
                        <a:pt x="13951" y="-133"/>
                        <a:pt x="16822" y="4113"/>
                      </a:cubicBezTo>
                      <a:cubicBezTo>
                        <a:pt x="19632" y="8359"/>
                        <a:pt x="18556" y="14041"/>
                        <a:pt x="14310" y="16912"/>
                      </a:cubicBezTo>
                      <a:cubicBezTo>
                        <a:pt x="10123" y="19723"/>
                        <a:pt x="4441" y="18587"/>
                        <a:pt x="1571" y="14340"/>
                      </a:cubicBezTo>
                      <a:cubicBezTo>
                        <a:pt x="-1300" y="10094"/>
                        <a:pt x="-103" y="4412"/>
                        <a:pt x="4083" y="1541"/>
                      </a:cubicBezTo>
                      <a:close/>
                    </a:path>
                  </a:pathLst>
                </a:custGeom>
                <a:grpFill/>
                <a:ln w="5978" cap="flat">
                  <a:noFill/>
                  <a:prstDash val="solid"/>
                  <a:miter/>
                </a:ln>
              </p:spPr>
              <p:txBody>
                <a:bodyPr rtlCol="0" anchor="ctr"/>
                <a:lstStyle/>
                <a:p>
                  <a:endParaRPr lang="en-GB"/>
                </a:p>
              </p:txBody>
            </p:sp>
            <p:sp>
              <p:nvSpPr>
                <p:cNvPr id="4715" name="Vrije vorm: vorm 4714">
                  <a:extLst>
                    <a:ext uri="{FF2B5EF4-FFF2-40B4-BE49-F238E27FC236}">
                      <a16:creationId xmlns:a16="http://schemas.microsoft.com/office/drawing/2014/main" id="{AF56CAAA-9E6B-460A-A5FC-D367C31AE6A6}"/>
                    </a:ext>
                  </a:extLst>
                </p:cNvPr>
                <p:cNvSpPr/>
                <p:nvPr/>
              </p:nvSpPr>
              <p:spPr>
                <a:xfrm>
                  <a:off x="7444175" y="2466940"/>
                  <a:ext cx="18339" cy="18495"/>
                </a:xfrm>
                <a:custGeom>
                  <a:avLst/>
                  <a:gdLst>
                    <a:gd name="connsiteX0" fmla="*/ 4057 w 18339"/>
                    <a:gd name="connsiteY0" fmla="*/ 1583 h 18495"/>
                    <a:gd name="connsiteX1" fmla="*/ 1544 w 18339"/>
                    <a:gd name="connsiteY1" fmla="*/ 14382 h 18495"/>
                    <a:gd name="connsiteX2" fmla="*/ 14283 w 18339"/>
                    <a:gd name="connsiteY2" fmla="*/ 16954 h 18495"/>
                    <a:gd name="connsiteX3" fmla="*/ 16796 w 18339"/>
                    <a:gd name="connsiteY3" fmla="*/ 4155 h 18495"/>
                    <a:gd name="connsiteX4" fmla="*/ 4057 w 18339"/>
                    <a:gd name="connsiteY4" fmla="*/ 1583 h 18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95">
                      <a:moveTo>
                        <a:pt x="4057" y="1583"/>
                      </a:moveTo>
                      <a:cubicBezTo>
                        <a:pt x="-130" y="4394"/>
                        <a:pt x="-1266" y="10136"/>
                        <a:pt x="1544" y="14382"/>
                      </a:cubicBezTo>
                      <a:cubicBezTo>
                        <a:pt x="4355" y="18628"/>
                        <a:pt x="10097" y="19765"/>
                        <a:pt x="14283" y="16954"/>
                      </a:cubicBezTo>
                      <a:cubicBezTo>
                        <a:pt x="18470" y="14143"/>
                        <a:pt x="19606" y="8401"/>
                        <a:pt x="16796" y="4155"/>
                      </a:cubicBezTo>
                      <a:cubicBezTo>
                        <a:pt x="13924" y="-151"/>
                        <a:pt x="8243" y="-1287"/>
                        <a:pt x="4057" y="1583"/>
                      </a:cubicBezTo>
                      <a:close/>
                    </a:path>
                  </a:pathLst>
                </a:custGeom>
                <a:grpFill/>
                <a:ln w="5978" cap="flat">
                  <a:noFill/>
                  <a:prstDash val="solid"/>
                  <a:miter/>
                </a:ln>
              </p:spPr>
              <p:txBody>
                <a:bodyPr rtlCol="0" anchor="ctr"/>
                <a:lstStyle/>
                <a:p>
                  <a:endParaRPr lang="en-GB"/>
                </a:p>
              </p:txBody>
            </p:sp>
          </p:grpSp>
          <p:grpSp>
            <p:nvGrpSpPr>
              <p:cNvPr id="223" name="Graphic 3">
                <a:extLst>
                  <a:ext uri="{FF2B5EF4-FFF2-40B4-BE49-F238E27FC236}">
                    <a16:creationId xmlns:a16="http://schemas.microsoft.com/office/drawing/2014/main" id="{96CEEF0D-4D37-4DB3-BEA1-598B927F9616}"/>
                  </a:ext>
                </a:extLst>
              </p:cNvPr>
              <p:cNvGrpSpPr/>
              <p:nvPr/>
            </p:nvGrpSpPr>
            <p:grpSpPr>
              <a:xfrm>
                <a:off x="7201354" y="1881497"/>
                <a:ext cx="191583" cy="217376"/>
                <a:chOff x="7201354" y="1881497"/>
                <a:chExt cx="191583" cy="217376"/>
              </a:xfrm>
              <a:grpFill/>
            </p:grpSpPr>
            <p:sp>
              <p:nvSpPr>
                <p:cNvPr id="4710" name="Vrije vorm: vorm 4709">
                  <a:extLst>
                    <a:ext uri="{FF2B5EF4-FFF2-40B4-BE49-F238E27FC236}">
                      <a16:creationId xmlns:a16="http://schemas.microsoft.com/office/drawing/2014/main" id="{FD7694FB-BCCB-46BB-A967-7806F26AA78F}"/>
                    </a:ext>
                  </a:extLst>
                </p:cNvPr>
                <p:cNvSpPr/>
                <p:nvPr/>
              </p:nvSpPr>
              <p:spPr>
                <a:xfrm>
                  <a:off x="7209122" y="1889350"/>
                  <a:ext cx="176132" cy="201729"/>
                </a:xfrm>
                <a:custGeom>
                  <a:avLst/>
                  <a:gdLst>
                    <a:gd name="connsiteX0" fmla="*/ 176133 w 176132"/>
                    <a:gd name="connsiteY0" fmla="*/ 2034 h 201729"/>
                    <a:gd name="connsiteX1" fmla="*/ 2273 w 176132"/>
                    <a:gd name="connsiteY1" fmla="*/ 201730 h 201729"/>
                    <a:gd name="connsiteX2" fmla="*/ 0 w 176132"/>
                    <a:gd name="connsiteY2" fmla="*/ 199696 h 201729"/>
                    <a:gd name="connsiteX3" fmla="*/ 173800 w 176132"/>
                    <a:gd name="connsiteY3" fmla="*/ 0 h 201729"/>
                  </a:gdLst>
                  <a:ahLst/>
                  <a:cxnLst>
                    <a:cxn ang="0">
                      <a:pos x="connsiteX0" y="connsiteY0"/>
                    </a:cxn>
                    <a:cxn ang="0">
                      <a:pos x="connsiteX1" y="connsiteY1"/>
                    </a:cxn>
                    <a:cxn ang="0">
                      <a:pos x="connsiteX2" y="connsiteY2"/>
                    </a:cxn>
                    <a:cxn ang="0">
                      <a:pos x="connsiteX3" y="connsiteY3"/>
                    </a:cxn>
                  </a:cxnLst>
                  <a:rect l="l" t="t" r="r" b="b"/>
                  <a:pathLst>
                    <a:path w="176132" h="201729">
                      <a:moveTo>
                        <a:pt x="176133" y="2034"/>
                      </a:moveTo>
                      <a:lnTo>
                        <a:pt x="2273" y="201730"/>
                      </a:lnTo>
                      <a:lnTo>
                        <a:pt x="0" y="199696"/>
                      </a:lnTo>
                      <a:lnTo>
                        <a:pt x="173800" y="0"/>
                      </a:lnTo>
                      <a:close/>
                    </a:path>
                  </a:pathLst>
                </a:custGeom>
                <a:grpFill/>
                <a:ln w="5978" cap="flat">
                  <a:noFill/>
                  <a:prstDash val="solid"/>
                  <a:miter/>
                </a:ln>
              </p:spPr>
              <p:txBody>
                <a:bodyPr rtlCol="0" anchor="ctr"/>
                <a:lstStyle/>
                <a:p>
                  <a:endParaRPr lang="en-GB"/>
                </a:p>
              </p:txBody>
            </p:sp>
            <p:sp>
              <p:nvSpPr>
                <p:cNvPr id="4711" name="Vrije vorm: vorm 4710">
                  <a:extLst>
                    <a:ext uri="{FF2B5EF4-FFF2-40B4-BE49-F238E27FC236}">
                      <a16:creationId xmlns:a16="http://schemas.microsoft.com/office/drawing/2014/main" id="{9D543DFF-2136-4CCB-9093-4FABDF4F63E6}"/>
                    </a:ext>
                  </a:extLst>
                </p:cNvPr>
                <p:cNvSpPr/>
                <p:nvPr/>
              </p:nvSpPr>
              <p:spPr>
                <a:xfrm>
                  <a:off x="7374616" y="1881497"/>
                  <a:ext cx="18321" cy="18398"/>
                </a:xfrm>
                <a:custGeom>
                  <a:avLst/>
                  <a:gdLst>
                    <a:gd name="connsiteX0" fmla="*/ 2265 w 18321"/>
                    <a:gd name="connsiteY0" fmla="*/ 3129 h 18398"/>
                    <a:gd name="connsiteX1" fmla="*/ 15184 w 18321"/>
                    <a:gd name="connsiteY1" fmla="*/ 2291 h 18398"/>
                    <a:gd name="connsiteX2" fmla="*/ 16081 w 18321"/>
                    <a:gd name="connsiteY2" fmla="*/ 15269 h 18398"/>
                    <a:gd name="connsiteX3" fmla="*/ 3162 w 18321"/>
                    <a:gd name="connsiteY3" fmla="*/ 16107 h 18398"/>
                    <a:gd name="connsiteX4" fmla="*/ 2265 w 18321"/>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98">
                      <a:moveTo>
                        <a:pt x="2265" y="3129"/>
                      </a:moveTo>
                      <a:cubicBezTo>
                        <a:pt x="5615" y="-699"/>
                        <a:pt x="11356" y="-1058"/>
                        <a:pt x="15184" y="2291"/>
                      </a:cubicBezTo>
                      <a:cubicBezTo>
                        <a:pt x="19011" y="5641"/>
                        <a:pt x="19370" y="11442"/>
                        <a:pt x="16081" y="15269"/>
                      </a:cubicBezTo>
                      <a:cubicBezTo>
                        <a:pt x="12731" y="19097"/>
                        <a:pt x="6990" y="19456"/>
                        <a:pt x="3162" y="16107"/>
                      </a:cubicBezTo>
                      <a:cubicBezTo>
                        <a:pt x="-665" y="12758"/>
                        <a:pt x="-1084" y="6956"/>
                        <a:pt x="2265" y="3129"/>
                      </a:cubicBezTo>
                      <a:close/>
                    </a:path>
                  </a:pathLst>
                </a:custGeom>
                <a:grpFill/>
                <a:ln w="5978" cap="flat">
                  <a:noFill/>
                  <a:prstDash val="solid"/>
                  <a:miter/>
                </a:ln>
              </p:spPr>
              <p:txBody>
                <a:bodyPr rtlCol="0" anchor="ctr"/>
                <a:lstStyle/>
                <a:p>
                  <a:endParaRPr lang="en-GB"/>
                </a:p>
              </p:txBody>
            </p:sp>
            <p:sp>
              <p:nvSpPr>
                <p:cNvPr id="4712" name="Vrije vorm: vorm 4711">
                  <a:extLst>
                    <a:ext uri="{FF2B5EF4-FFF2-40B4-BE49-F238E27FC236}">
                      <a16:creationId xmlns:a16="http://schemas.microsoft.com/office/drawing/2014/main" id="{A3953F85-0588-4409-B9A3-28323C0E5A51}"/>
                    </a:ext>
                  </a:extLst>
                </p:cNvPr>
                <p:cNvSpPr/>
                <p:nvPr/>
              </p:nvSpPr>
              <p:spPr>
                <a:xfrm>
                  <a:off x="7201354" y="2080475"/>
                  <a:ext cx="18346" cy="18398"/>
                </a:xfrm>
                <a:custGeom>
                  <a:avLst/>
                  <a:gdLst>
                    <a:gd name="connsiteX0" fmla="*/ 2265 w 18346"/>
                    <a:gd name="connsiteY0" fmla="*/ 3129 h 18398"/>
                    <a:gd name="connsiteX1" fmla="*/ 3163 w 18346"/>
                    <a:gd name="connsiteY1" fmla="*/ 16107 h 18398"/>
                    <a:gd name="connsiteX2" fmla="*/ 16081 w 18346"/>
                    <a:gd name="connsiteY2" fmla="*/ 15270 h 18398"/>
                    <a:gd name="connsiteX3" fmla="*/ 15184 w 18346"/>
                    <a:gd name="connsiteY3" fmla="*/ 2291 h 18398"/>
                    <a:gd name="connsiteX4" fmla="*/ 2265 w 18346"/>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8">
                      <a:moveTo>
                        <a:pt x="2265" y="3129"/>
                      </a:moveTo>
                      <a:cubicBezTo>
                        <a:pt x="-1084" y="6956"/>
                        <a:pt x="-665" y="12758"/>
                        <a:pt x="3163" y="16107"/>
                      </a:cubicBezTo>
                      <a:cubicBezTo>
                        <a:pt x="6990" y="19456"/>
                        <a:pt x="12792" y="19097"/>
                        <a:pt x="16081" y="15270"/>
                      </a:cubicBezTo>
                      <a:cubicBezTo>
                        <a:pt x="19430" y="11442"/>
                        <a:pt x="19011" y="5641"/>
                        <a:pt x="15184" y="2291"/>
                      </a:cubicBezTo>
                      <a:cubicBezTo>
                        <a:pt x="11416" y="-1058"/>
                        <a:pt x="5614" y="-699"/>
                        <a:pt x="2265" y="3129"/>
                      </a:cubicBezTo>
                      <a:close/>
                    </a:path>
                  </a:pathLst>
                </a:custGeom>
                <a:grpFill/>
                <a:ln w="5978" cap="flat">
                  <a:noFill/>
                  <a:prstDash val="solid"/>
                  <a:miter/>
                </a:ln>
              </p:spPr>
              <p:txBody>
                <a:bodyPr rtlCol="0" anchor="ctr"/>
                <a:lstStyle/>
                <a:p>
                  <a:endParaRPr lang="en-GB"/>
                </a:p>
              </p:txBody>
            </p:sp>
          </p:grpSp>
          <p:grpSp>
            <p:nvGrpSpPr>
              <p:cNvPr id="224" name="Graphic 3">
                <a:extLst>
                  <a:ext uri="{FF2B5EF4-FFF2-40B4-BE49-F238E27FC236}">
                    <a16:creationId xmlns:a16="http://schemas.microsoft.com/office/drawing/2014/main" id="{25874EE9-6119-4FF8-8668-7DACA6DED71D}"/>
                  </a:ext>
                </a:extLst>
              </p:cNvPr>
              <p:cNvGrpSpPr/>
              <p:nvPr/>
            </p:nvGrpSpPr>
            <p:grpSpPr>
              <a:xfrm>
                <a:off x="7283902" y="2137242"/>
                <a:ext cx="165720" cy="153626"/>
                <a:chOff x="7283902" y="2137242"/>
                <a:chExt cx="165720" cy="153626"/>
              </a:xfrm>
              <a:grpFill/>
            </p:grpSpPr>
            <p:sp>
              <p:nvSpPr>
                <p:cNvPr id="4707" name="Vrije vorm: vorm 4706">
                  <a:extLst>
                    <a:ext uri="{FF2B5EF4-FFF2-40B4-BE49-F238E27FC236}">
                      <a16:creationId xmlns:a16="http://schemas.microsoft.com/office/drawing/2014/main" id="{FFFDF240-4421-47E8-9D68-6CDA738794F0}"/>
                    </a:ext>
                  </a:extLst>
                </p:cNvPr>
                <p:cNvSpPr/>
                <p:nvPr/>
              </p:nvSpPr>
              <p:spPr>
                <a:xfrm>
                  <a:off x="7291716" y="2145026"/>
                  <a:ext cx="150056" cy="138035"/>
                </a:xfrm>
                <a:custGeom>
                  <a:avLst/>
                  <a:gdLst>
                    <a:gd name="connsiteX0" fmla="*/ 150056 w 150056"/>
                    <a:gd name="connsiteY0" fmla="*/ 2273 h 138035"/>
                    <a:gd name="connsiteX1" fmla="*/ 2033 w 150056"/>
                    <a:gd name="connsiteY1" fmla="*/ 138035 h 138035"/>
                    <a:gd name="connsiteX2" fmla="*/ 0 w 150056"/>
                    <a:gd name="connsiteY2" fmla="*/ 135762 h 138035"/>
                    <a:gd name="connsiteX3" fmla="*/ 148023 w 150056"/>
                    <a:gd name="connsiteY3" fmla="*/ 0 h 138035"/>
                  </a:gdLst>
                  <a:ahLst/>
                  <a:cxnLst>
                    <a:cxn ang="0">
                      <a:pos x="connsiteX0" y="connsiteY0"/>
                    </a:cxn>
                    <a:cxn ang="0">
                      <a:pos x="connsiteX1" y="connsiteY1"/>
                    </a:cxn>
                    <a:cxn ang="0">
                      <a:pos x="connsiteX2" y="connsiteY2"/>
                    </a:cxn>
                    <a:cxn ang="0">
                      <a:pos x="connsiteX3" y="connsiteY3"/>
                    </a:cxn>
                  </a:cxnLst>
                  <a:rect l="l" t="t" r="r" b="b"/>
                  <a:pathLst>
                    <a:path w="150056" h="138035">
                      <a:moveTo>
                        <a:pt x="150056" y="2273"/>
                      </a:moveTo>
                      <a:lnTo>
                        <a:pt x="2033" y="138035"/>
                      </a:lnTo>
                      <a:lnTo>
                        <a:pt x="0" y="135762"/>
                      </a:lnTo>
                      <a:lnTo>
                        <a:pt x="148023" y="0"/>
                      </a:lnTo>
                      <a:close/>
                    </a:path>
                  </a:pathLst>
                </a:custGeom>
                <a:grpFill/>
                <a:ln w="5978" cap="flat">
                  <a:noFill/>
                  <a:prstDash val="solid"/>
                  <a:miter/>
                </a:ln>
              </p:spPr>
              <p:txBody>
                <a:bodyPr rtlCol="0" anchor="ctr"/>
                <a:lstStyle/>
                <a:p>
                  <a:endParaRPr lang="en-GB"/>
                </a:p>
              </p:txBody>
            </p:sp>
            <p:sp>
              <p:nvSpPr>
                <p:cNvPr id="4708" name="Vrije vorm: vorm 4707">
                  <a:extLst>
                    <a:ext uri="{FF2B5EF4-FFF2-40B4-BE49-F238E27FC236}">
                      <a16:creationId xmlns:a16="http://schemas.microsoft.com/office/drawing/2014/main" id="{E117930E-0012-491C-AEDD-CE1CF061C625}"/>
                    </a:ext>
                  </a:extLst>
                </p:cNvPr>
                <p:cNvSpPr/>
                <p:nvPr/>
              </p:nvSpPr>
              <p:spPr>
                <a:xfrm>
                  <a:off x="7431254" y="2137242"/>
                  <a:ext cx="18367" cy="18438"/>
                </a:xfrm>
                <a:custGeom>
                  <a:avLst/>
                  <a:gdLst>
                    <a:gd name="connsiteX0" fmla="*/ 2982 w 18367"/>
                    <a:gd name="connsiteY0" fmla="*/ 2401 h 18438"/>
                    <a:gd name="connsiteX1" fmla="*/ 15960 w 18367"/>
                    <a:gd name="connsiteY1" fmla="*/ 3000 h 18438"/>
                    <a:gd name="connsiteX2" fmla="*/ 15422 w 18367"/>
                    <a:gd name="connsiteY2" fmla="*/ 16037 h 18438"/>
                    <a:gd name="connsiteX3" fmla="*/ 2504 w 18367"/>
                    <a:gd name="connsiteY3" fmla="*/ 15439 h 18438"/>
                    <a:gd name="connsiteX4" fmla="*/ 2982 w 18367"/>
                    <a:gd name="connsiteY4" fmla="*/ 24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38">
                      <a:moveTo>
                        <a:pt x="2982" y="2401"/>
                      </a:moveTo>
                      <a:cubicBezTo>
                        <a:pt x="6690" y="-1008"/>
                        <a:pt x="12492" y="-768"/>
                        <a:pt x="15960" y="3000"/>
                      </a:cubicBezTo>
                      <a:cubicBezTo>
                        <a:pt x="19369" y="6767"/>
                        <a:pt x="19130" y="12569"/>
                        <a:pt x="15422" y="16037"/>
                      </a:cubicBezTo>
                      <a:cubicBezTo>
                        <a:pt x="11714" y="19447"/>
                        <a:pt x="5912" y="19207"/>
                        <a:pt x="2504" y="15439"/>
                      </a:cubicBezTo>
                      <a:cubicBezTo>
                        <a:pt x="-1025" y="11672"/>
                        <a:pt x="-786" y="5810"/>
                        <a:pt x="2982" y="2401"/>
                      </a:cubicBezTo>
                      <a:close/>
                    </a:path>
                  </a:pathLst>
                </a:custGeom>
                <a:grpFill/>
                <a:ln w="5978" cap="flat">
                  <a:noFill/>
                  <a:prstDash val="solid"/>
                  <a:miter/>
                </a:ln>
              </p:spPr>
              <p:txBody>
                <a:bodyPr rtlCol="0" anchor="ctr"/>
                <a:lstStyle/>
                <a:p>
                  <a:endParaRPr lang="en-GB"/>
                </a:p>
              </p:txBody>
            </p:sp>
            <p:sp>
              <p:nvSpPr>
                <p:cNvPr id="4709" name="Vrije vorm: vorm 4708">
                  <a:extLst>
                    <a:ext uri="{FF2B5EF4-FFF2-40B4-BE49-F238E27FC236}">
                      <a16:creationId xmlns:a16="http://schemas.microsoft.com/office/drawing/2014/main" id="{FB7A7D52-58B9-4475-979B-F477D05322A5}"/>
                    </a:ext>
                  </a:extLst>
                </p:cNvPr>
                <p:cNvSpPr/>
                <p:nvPr/>
              </p:nvSpPr>
              <p:spPr>
                <a:xfrm>
                  <a:off x="7283902" y="2272406"/>
                  <a:ext cx="18379" cy="18462"/>
                </a:xfrm>
                <a:custGeom>
                  <a:avLst/>
                  <a:gdLst>
                    <a:gd name="connsiteX0" fmla="*/ 2969 w 18379"/>
                    <a:gd name="connsiteY0" fmla="*/ 2401 h 18462"/>
                    <a:gd name="connsiteX1" fmla="*/ 2431 w 18379"/>
                    <a:gd name="connsiteY1" fmla="*/ 15439 h 18462"/>
                    <a:gd name="connsiteX2" fmla="*/ 15410 w 18379"/>
                    <a:gd name="connsiteY2" fmla="*/ 16037 h 18462"/>
                    <a:gd name="connsiteX3" fmla="*/ 15948 w 18379"/>
                    <a:gd name="connsiteY3" fmla="*/ 2999 h 18462"/>
                    <a:gd name="connsiteX4" fmla="*/ 2969 w 18379"/>
                    <a:gd name="connsiteY4" fmla="*/ 2401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62">
                      <a:moveTo>
                        <a:pt x="2969" y="2401"/>
                      </a:moveTo>
                      <a:cubicBezTo>
                        <a:pt x="-739" y="5810"/>
                        <a:pt x="-1037" y="11672"/>
                        <a:pt x="2431" y="15439"/>
                      </a:cubicBezTo>
                      <a:cubicBezTo>
                        <a:pt x="5841" y="19207"/>
                        <a:pt x="11642" y="19506"/>
                        <a:pt x="15410" y="16037"/>
                      </a:cubicBezTo>
                      <a:cubicBezTo>
                        <a:pt x="19118" y="12629"/>
                        <a:pt x="19416" y="6767"/>
                        <a:pt x="15948" y="2999"/>
                      </a:cubicBezTo>
                      <a:cubicBezTo>
                        <a:pt x="12539" y="-768"/>
                        <a:pt x="6737" y="-1007"/>
                        <a:pt x="2969" y="2401"/>
                      </a:cubicBezTo>
                      <a:close/>
                    </a:path>
                  </a:pathLst>
                </a:custGeom>
                <a:grpFill/>
                <a:ln w="5978" cap="flat">
                  <a:noFill/>
                  <a:prstDash val="solid"/>
                  <a:miter/>
                </a:ln>
              </p:spPr>
              <p:txBody>
                <a:bodyPr rtlCol="0" anchor="ctr"/>
                <a:lstStyle/>
                <a:p>
                  <a:endParaRPr lang="en-GB"/>
                </a:p>
              </p:txBody>
            </p:sp>
          </p:grpSp>
          <p:grpSp>
            <p:nvGrpSpPr>
              <p:cNvPr id="225" name="Graphic 3">
                <a:extLst>
                  <a:ext uri="{FF2B5EF4-FFF2-40B4-BE49-F238E27FC236}">
                    <a16:creationId xmlns:a16="http://schemas.microsoft.com/office/drawing/2014/main" id="{936E6B2A-602A-4ACB-A458-784FBA43217C}"/>
                  </a:ext>
                </a:extLst>
              </p:cNvPr>
              <p:cNvGrpSpPr/>
              <p:nvPr/>
            </p:nvGrpSpPr>
            <p:grpSpPr>
              <a:xfrm>
                <a:off x="7841812" y="3728217"/>
                <a:ext cx="99239" cy="32945"/>
                <a:chOff x="7841812" y="3728217"/>
                <a:chExt cx="99239" cy="32945"/>
              </a:xfrm>
              <a:grpFill/>
            </p:grpSpPr>
            <p:sp>
              <p:nvSpPr>
                <p:cNvPr id="4704" name="Vrije vorm: vorm 4703">
                  <a:extLst>
                    <a:ext uri="{FF2B5EF4-FFF2-40B4-BE49-F238E27FC236}">
                      <a16:creationId xmlns:a16="http://schemas.microsoft.com/office/drawing/2014/main" id="{C42554D0-05D9-48FA-A3EA-4A381F2C713F}"/>
                    </a:ext>
                  </a:extLst>
                </p:cNvPr>
                <p:cNvSpPr/>
                <p:nvPr/>
              </p:nvSpPr>
              <p:spPr>
                <a:xfrm>
                  <a:off x="7850255" y="3735838"/>
                  <a:ext cx="82354" cy="17643"/>
                </a:xfrm>
                <a:custGeom>
                  <a:avLst/>
                  <a:gdLst>
                    <a:gd name="connsiteX0" fmla="*/ 82355 w 82354"/>
                    <a:gd name="connsiteY0" fmla="*/ 14593 h 17643"/>
                    <a:gd name="connsiteX1" fmla="*/ 81816 w 82354"/>
                    <a:gd name="connsiteY1" fmla="*/ 17643 h 17643"/>
                    <a:gd name="connsiteX2" fmla="*/ 0 w 82354"/>
                    <a:gd name="connsiteY2" fmla="*/ 3050 h 17643"/>
                    <a:gd name="connsiteX3" fmla="*/ 478 w 82354"/>
                    <a:gd name="connsiteY3" fmla="*/ 0 h 17643"/>
                  </a:gdLst>
                  <a:ahLst/>
                  <a:cxnLst>
                    <a:cxn ang="0">
                      <a:pos x="connsiteX0" y="connsiteY0"/>
                    </a:cxn>
                    <a:cxn ang="0">
                      <a:pos x="connsiteX1" y="connsiteY1"/>
                    </a:cxn>
                    <a:cxn ang="0">
                      <a:pos x="connsiteX2" y="connsiteY2"/>
                    </a:cxn>
                    <a:cxn ang="0">
                      <a:pos x="connsiteX3" y="connsiteY3"/>
                    </a:cxn>
                  </a:cxnLst>
                  <a:rect l="l" t="t" r="r" b="b"/>
                  <a:pathLst>
                    <a:path w="82354" h="17643">
                      <a:moveTo>
                        <a:pt x="82355" y="14593"/>
                      </a:moveTo>
                      <a:lnTo>
                        <a:pt x="81816" y="17643"/>
                      </a:lnTo>
                      <a:lnTo>
                        <a:pt x="0" y="3050"/>
                      </a:lnTo>
                      <a:lnTo>
                        <a:pt x="478" y="0"/>
                      </a:lnTo>
                      <a:close/>
                    </a:path>
                  </a:pathLst>
                </a:custGeom>
                <a:grpFill/>
                <a:ln w="5978" cap="flat">
                  <a:noFill/>
                  <a:prstDash val="solid"/>
                  <a:miter/>
                </a:ln>
              </p:spPr>
              <p:txBody>
                <a:bodyPr rtlCol="0" anchor="ctr"/>
                <a:lstStyle/>
                <a:p>
                  <a:endParaRPr lang="en-GB"/>
                </a:p>
              </p:txBody>
            </p:sp>
            <p:sp>
              <p:nvSpPr>
                <p:cNvPr id="4705" name="Vrije vorm: vorm 4704">
                  <a:extLst>
                    <a:ext uri="{FF2B5EF4-FFF2-40B4-BE49-F238E27FC236}">
                      <a16:creationId xmlns:a16="http://schemas.microsoft.com/office/drawing/2014/main" id="{0AE62090-28AD-4DD9-9B49-2D71DFB0B6E7}"/>
                    </a:ext>
                  </a:extLst>
                </p:cNvPr>
                <p:cNvSpPr/>
                <p:nvPr/>
              </p:nvSpPr>
              <p:spPr>
                <a:xfrm>
                  <a:off x="7922733" y="3742690"/>
                  <a:ext cx="18318" cy="18471"/>
                </a:xfrm>
                <a:custGeom>
                  <a:avLst/>
                  <a:gdLst>
                    <a:gd name="connsiteX0" fmla="*/ 10714 w 18318"/>
                    <a:gd name="connsiteY0" fmla="*/ 145 h 18471"/>
                    <a:gd name="connsiteX1" fmla="*/ 18190 w 18318"/>
                    <a:gd name="connsiteY1" fmla="*/ 10851 h 18471"/>
                    <a:gd name="connsiteX2" fmla="*/ 7604 w 18318"/>
                    <a:gd name="connsiteY2" fmla="*/ 18327 h 18471"/>
                    <a:gd name="connsiteX3" fmla="*/ 128 w 18318"/>
                    <a:gd name="connsiteY3" fmla="*/ 7621 h 18471"/>
                    <a:gd name="connsiteX4" fmla="*/ 10714 w 18318"/>
                    <a:gd name="connsiteY4" fmla="*/ 145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1">
                      <a:moveTo>
                        <a:pt x="10714" y="145"/>
                      </a:moveTo>
                      <a:cubicBezTo>
                        <a:pt x="15678" y="1042"/>
                        <a:pt x="19027" y="5827"/>
                        <a:pt x="18190" y="10851"/>
                      </a:cubicBezTo>
                      <a:cubicBezTo>
                        <a:pt x="17353" y="15875"/>
                        <a:pt x="12568" y="19224"/>
                        <a:pt x="7604" y="18327"/>
                      </a:cubicBezTo>
                      <a:cubicBezTo>
                        <a:pt x="2640" y="17430"/>
                        <a:pt x="-709" y="12645"/>
                        <a:pt x="128" y="7621"/>
                      </a:cubicBezTo>
                      <a:cubicBezTo>
                        <a:pt x="966" y="2597"/>
                        <a:pt x="5750" y="-752"/>
                        <a:pt x="10714" y="145"/>
                      </a:cubicBezTo>
                      <a:close/>
                    </a:path>
                  </a:pathLst>
                </a:custGeom>
                <a:grpFill/>
                <a:ln w="5978" cap="flat">
                  <a:noFill/>
                  <a:prstDash val="solid"/>
                  <a:miter/>
                </a:ln>
              </p:spPr>
              <p:txBody>
                <a:bodyPr rtlCol="0" anchor="ctr"/>
                <a:lstStyle/>
                <a:p>
                  <a:endParaRPr lang="en-GB"/>
                </a:p>
              </p:txBody>
            </p:sp>
            <p:sp>
              <p:nvSpPr>
                <p:cNvPr id="4706" name="Vrije vorm: vorm 4705">
                  <a:extLst>
                    <a:ext uri="{FF2B5EF4-FFF2-40B4-BE49-F238E27FC236}">
                      <a16:creationId xmlns:a16="http://schemas.microsoft.com/office/drawing/2014/main" id="{F88F5056-91F2-4B4B-8B3A-0946823D58D4}"/>
                    </a:ext>
                  </a:extLst>
                </p:cNvPr>
                <p:cNvSpPr/>
                <p:nvPr/>
              </p:nvSpPr>
              <p:spPr>
                <a:xfrm>
                  <a:off x="7841812" y="3728217"/>
                  <a:ext cx="18320" cy="18472"/>
                </a:xfrm>
                <a:custGeom>
                  <a:avLst/>
                  <a:gdLst>
                    <a:gd name="connsiteX0" fmla="*/ 10716 w 18320"/>
                    <a:gd name="connsiteY0" fmla="*/ 145 h 18472"/>
                    <a:gd name="connsiteX1" fmla="*/ 130 w 18320"/>
                    <a:gd name="connsiteY1" fmla="*/ 7621 h 18472"/>
                    <a:gd name="connsiteX2" fmla="*/ 7606 w 18320"/>
                    <a:gd name="connsiteY2" fmla="*/ 18327 h 18472"/>
                    <a:gd name="connsiteX3" fmla="*/ 18192 w 18320"/>
                    <a:gd name="connsiteY3" fmla="*/ 10851 h 18472"/>
                    <a:gd name="connsiteX4" fmla="*/ 10716 w 18320"/>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72">
                      <a:moveTo>
                        <a:pt x="10716" y="145"/>
                      </a:moveTo>
                      <a:cubicBezTo>
                        <a:pt x="5752" y="-752"/>
                        <a:pt x="967" y="2597"/>
                        <a:pt x="130" y="7621"/>
                      </a:cubicBezTo>
                      <a:cubicBezTo>
                        <a:pt x="-707" y="12645"/>
                        <a:pt x="2582" y="17430"/>
                        <a:pt x="7606" y="18327"/>
                      </a:cubicBezTo>
                      <a:cubicBezTo>
                        <a:pt x="12570" y="19224"/>
                        <a:pt x="17355" y="15875"/>
                        <a:pt x="18192" y="10851"/>
                      </a:cubicBezTo>
                      <a:cubicBezTo>
                        <a:pt x="19029" y="5827"/>
                        <a:pt x="15680" y="1042"/>
                        <a:pt x="10716" y="145"/>
                      </a:cubicBezTo>
                      <a:close/>
                    </a:path>
                  </a:pathLst>
                </a:custGeom>
                <a:grpFill/>
                <a:ln w="5978" cap="flat">
                  <a:noFill/>
                  <a:prstDash val="solid"/>
                  <a:miter/>
                </a:ln>
              </p:spPr>
              <p:txBody>
                <a:bodyPr rtlCol="0" anchor="ctr"/>
                <a:lstStyle/>
                <a:p>
                  <a:endParaRPr lang="en-GB"/>
                </a:p>
              </p:txBody>
            </p:sp>
          </p:grpSp>
          <p:grpSp>
            <p:nvGrpSpPr>
              <p:cNvPr id="226" name="Graphic 3">
                <a:extLst>
                  <a:ext uri="{FF2B5EF4-FFF2-40B4-BE49-F238E27FC236}">
                    <a16:creationId xmlns:a16="http://schemas.microsoft.com/office/drawing/2014/main" id="{B1E26F9B-D48B-4C62-A99D-833A92CA9799}"/>
                  </a:ext>
                </a:extLst>
              </p:cNvPr>
              <p:cNvGrpSpPr/>
              <p:nvPr/>
            </p:nvGrpSpPr>
            <p:grpSpPr>
              <a:xfrm>
                <a:off x="7148396" y="1578587"/>
                <a:ext cx="32637" cy="41754"/>
                <a:chOff x="7148396" y="1578587"/>
                <a:chExt cx="32637" cy="41754"/>
              </a:xfrm>
              <a:grpFill/>
            </p:grpSpPr>
            <p:sp>
              <p:nvSpPr>
                <p:cNvPr id="4701" name="Vrije vorm: vorm 4700">
                  <a:extLst>
                    <a:ext uri="{FF2B5EF4-FFF2-40B4-BE49-F238E27FC236}">
                      <a16:creationId xmlns:a16="http://schemas.microsoft.com/office/drawing/2014/main" id="{5EFA8BA3-329F-4D38-AD66-A3D217BC6CC9}"/>
                    </a:ext>
                  </a:extLst>
                </p:cNvPr>
                <p:cNvSpPr/>
                <p:nvPr/>
              </p:nvSpPr>
              <p:spPr>
                <a:xfrm>
                  <a:off x="7156073" y="1586606"/>
                  <a:ext cx="17344" cy="25717"/>
                </a:xfrm>
                <a:custGeom>
                  <a:avLst/>
                  <a:gdLst>
                    <a:gd name="connsiteX0" fmla="*/ 17344 w 17344"/>
                    <a:gd name="connsiteY0" fmla="*/ 1615 h 25717"/>
                    <a:gd name="connsiteX1" fmla="*/ 2572 w 17344"/>
                    <a:gd name="connsiteY1" fmla="*/ 25717 h 25717"/>
                    <a:gd name="connsiteX2" fmla="*/ 0 w 17344"/>
                    <a:gd name="connsiteY2" fmla="*/ 24102 h 25717"/>
                    <a:gd name="connsiteX3" fmla="*/ 14713 w 17344"/>
                    <a:gd name="connsiteY3" fmla="*/ 0 h 25717"/>
                  </a:gdLst>
                  <a:ahLst/>
                  <a:cxnLst>
                    <a:cxn ang="0">
                      <a:pos x="connsiteX0" y="connsiteY0"/>
                    </a:cxn>
                    <a:cxn ang="0">
                      <a:pos x="connsiteX1" y="connsiteY1"/>
                    </a:cxn>
                    <a:cxn ang="0">
                      <a:pos x="connsiteX2" y="connsiteY2"/>
                    </a:cxn>
                    <a:cxn ang="0">
                      <a:pos x="connsiteX3" y="connsiteY3"/>
                    </a:cxn>
                  </a:cxnLst>
                  <a:rect l="l" t="t" r="r" b="b"/>
                  <a:pathLst>
                    <a:path w="17344" h="25717">
                      <a:moveTo>
                        <a:pt x="17344" y="1615"/>
                      </a:moveTo>
                      <a:lnTo>
                        <a:pt x="2572" y="25717"/>
                      </a:lnTo>
                      <a:lnTo>
                        <a:pt x="0" y="24102"/>
                      </a:lnTo>
                      <a:lnTo>
                        <a:pt x="14713" y="0"/>
                      </a:lnTo>
                      <a:close/>
                    </a:path>
                  </a:pathLst>
                </a:custGeom>
                <a:grpFill/>
                <a:ln w="5978" cap="flat">
                  <a:noFill/>
                  <a:prstDash val="solid"/>
                  <a:miter/>
                </a:ln>
              </p:spPr>
              <p:txBody>
                <a:bodyPr rtlCol="0" anchor="ctr"/>
                <a:lstStyle/>
                <a:p>
                  <a:endParaRPr lang="en-GB"/>
                </a:p>
              </p:txBody>
            </p:sp>
            <p:sp>
              <p:nvSpPr>
                <p:cNvPr id="4702" name="Vrije vorm: vorm 4701">
                  <a:extLst>
                    <a:ext uri="{FF2B5EF4-FFF2-40B4-BE49-F238E27FC236}">
                      <a16:creationId xmlns:a16="http://schemas.microsoft.com/office/drawing/2014/main" id="{938E2418-9A38-4657-B21A-621CCEAA4A35}"/>
                    </a:ext>
                  </a:extLst>
                </p:cNvPr>
                <p:cNvSpPr/>
                <p:nvPr/>
              </p:nvSpPr>
              <p:spPr>
                <a:xfrm>
                  <a:off x="7148396" y="1601912"/>
                  <a:ext cx="18357" cy="18429"/>
                </a:xfrm>
                <a:custGeom>
                  <a:avLst/>
                  <a:gdLst>
                    <a:gd name="connsiteX0" fmla="*/ 17007 w 18357"/>
                    <a:gd name="connsiteY0" fmla="*/ 14059 h 18429"/>
                    <a:gd name="connsiteX1" fmla="*/ 4387 w 18357"/>
                    <a:gd name="connsiteY1" fmla="*/ 17050 h 18429"/>
                    <a:gd name="connsiteX2" fmla="*/ 1337 w 18357"/>
                    <a:gd name="connsiteY2" fmla="*/ 4370 h 18429"/>
                    <a:gd name="connsiteX3" fmla="*/ 13956 w 18357"/>
                    <a:gd name="connsiteY3" fmla="*/ 1380 h 18429"/>
                    <a:gd name="connsiteX4" fmla="*/ 17007 w 18357"/>
                    <a:gd name="connsiteY4" fmla="*/ 1405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29">
                      <a:moveTo>
                        <a:pt x="17007" y="14059"/>
                      </a:moveTo>
                      <a:cubicBezTo>
                        <a:pt x="14375" y="18365"/>
                        <a:pt x="8693" y="19741"/>
                        <a:pt x="4387" y="17050"/>
                      </a:cubicBezTo>
                      <a:cubicBezTo>
                        <a:pt x="81" y="14358"/>
                        <a:pt x="-1295" y="8677"/>
                        <a:pt x="1337" y="4370"/>
                      </a:cubicBezTo>
                      <a:cubicBezTo>
                        <a:pt x="3968" y="64"/>
                        <a:pt x="9650" y="-1311"/>
                        <a:pt x="13956" y="1380"/>
                      </a:cubicBezTo>
                      <a:cubicBezTo>
                        <a:pt x="18322" y="4071"/>
                        <a:pt x="19638" y="9753"/>
                        <a:pt x="17007" y="14059"/>
                      </a:cubicBezTo>
                      <a:close/>
                    </a:path>
                  </a:pathLst>
                </a:custGeom>
                <a:grpFill/>
                <a:ln w="5978" cap="flat">
                  <a:noFill/>
                  <a:prstDash val="solid"/>
                  <a:miter/>
                </a:ln>
              </p:spPr>
              <p:txBody>
                <a:bodyPr rtlCol="0" anchor="ctr"/>
                <a:lstStyle/>
                <a:p>
                  <a:endParaRPr lang="en-GB"/>
                </a:p>
              </p:txBody>
            </p:sp>
            <p:sp>
              <p:nvSpPr>
                <p:cNvPr id="4703" name="Vrije vorm: vorm 4702">
                  <a:extLst>
                    <a:ext uri="{FF2B5EF4-FFF2-40B4-BE49-F238E27FC236}">
                      <a16:creationId xmlns:a16="http://schemas.microsoft.com/office/drawing/2014/main" id="{D3E9C6F2-E495-4CC8-89FA-DCABFBF505BB}"/>
                    </a:ext>
                  </a:extLst>
                </p:cNvPr>
                <p:cNvSpPr/>
                <p:nvPr/>
              </p:nvSpPr>
              <p:spPr>
                <a:xfrm>
                  <a:off x="7162690" y="1578587"/>
                  <a:ext cx="18343" cy="18403"/>
                </a:xfrm>
                <a:custGeom>
                  <a:avLst/>
                  <a:gdLst>
                    <a:gd name="connsiteX0" fmla="*/ 17007 w 18343"/>
                    <a:gd name="connsiteY0" fmla="*/ 14059 h 18403"/>
                    <a:gd name="connsiteX1" fmla="*/ 13957 w 18343"/>
                    <a:gd name="connsiteY1" fmla="*/ 1380 h 18403"/>
                    <a:gd name="connsiteX2" fmla="*/ 1337 w 18343"/>
                    <a:gd name="connsiteY2" fmla="*/ 4370 h 18403"/>
                    <a:gd name="connsiteX3" fmla="*/ 4388 w 18343"/>
                    <a:gd name="connsiteY3" fmla="*/ 17050 h 18403"/>
                    <a:gd name="connsiteX4" fmla="*/ 17007 w 18343"/>
                    <a:gd name="connsiteY4" fmla="*/ 1405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17007" y="14059"/>
                      </a:moveTo>
                      <a:cubicBezTo>
                        <a:pt x="19638" y="9753"/>
                        <a:pt x="18262" y="4071"/>
                        <a:pt x="13957" y="1380"/>
                      </a:cubicBezTo>
                      <a:cubicBezTo>
                        <a:pt x="9651" y="-1311"/>
                        <a:pt x="3968" y="64"/>
                        <a:pt x="1337" y="4370"/>
                      </a:cubicBezTo>
                      <a:cubicBezTo>
                        <a:pt x="-1295" y="8677"/>
                        <a:pt x="81" y="14358"/>
                        <a:pt x="4388" y="17050"/>
                      </a:cubicBezTo>
                      <a:cubicBezTo>
                        <a:pt x="8693" y="19681"/>
                        <a:pt x="14315" y="18365"/>
                        <a:pt x="17007" y="14059"/>
                      </a:cubicBezTo>
                      <a:close/>
                    </a:path>
                  </a:pathLst>
                </a:custGeom>
                <a:grpFill/>
                <a:ln w="5978" cap="flat">
                  <a:noFill/>
                  <a:prstDash val="solid"/>
                  <a:miter/>
                </a:ln>
              </p:spPr>
              <p:txBody>
                <a:bodyPr rtlCol="0" anchor="ctr"/>
                <a:lstStyle/>
                <a:p>
                  <a:endParaRPr lang="en-GB"/>
                </a:p>
              </p:txBody>
            </p:sp>
          </p:grpSp>
          <p:grpSp>
            <p:nvGrpSpPr>
              <p:cNvPr id="227" name="Graphic 3">
                <a:extLst>
                  <a:ext uri="{FF2B5EF4-FFF2-40B4-BE49-F238E27FC236}">
                    <a16:creationId xmlns:a16="http://schemas.microsoft.com/office/drawing/2014/main" id="{DB9D9917-91EA-4B30-BFC8-97AC2AE1CDBD}"/>
                  </a:ext>
                </a:extLst>
              </p:cNvPr>
              <p:cNvGrpSpPr/>
              <p:nvPr/>
            </p:nvGrpSpPr>
            <p:grpSpPr>
              <a:xfrm>
                <a:off x="7097660" y="1520015"/>
                <a:ext cx="168062" cy="253648"/>
                <a:chOff x="7097660" y="1520015"/>
                <a:chExt cx="168062" cy="253648"/>
              </a:xfrm>
              <a:grpFill/>
            </p:grpSpPr>
            <p:sp>
              <p:nvSpPr>
                <p:cNvPr id="4698" name="Vrije vorm: vorm 4697">
                  <a:extLst>
                    <a:ext uri="{FF2B5EF4-FFF2-40B4-BE49-F238E27FC236}">
                      <a16:creationId xmlns:a16="http://schemas.microsoft.com/office/drawing/2014/main" id="{D7CF3512-83E2-4A4E-A5E6-B7ED74A1FC6A}"/>
                    </a:ext>
                  </a:extLst>
                </p:cNvPr>
                <p:cNvSpPr/>
                <p:nvPr/>
              </p:nvSpPr>
              <p:spPr>
                <a:xfrm>
                  <a:off x="7105296" y="1527995"/>
                  <a:ext cx="152807" cy="237673"/>
                </a:xfrm>
                <a:custGeom>
                  <a:avLst/>
                  <a:gdLst>
                    <a:gd name="connsiteX0" fmla="*/ 152808 w 152807"/>
                    <a:gd name="connsiteY0" fmla="*/ 1675 h 237673"/>
                    <a:gd name="connsiteX1" fmla="*/ 2572 w 152807"/>
                    <a:gd name="connsiteY1" fmla="*/ 237674 h 237673"/>
                    <a:gd name="connsiteX2" fmla="*/ 0 w 152807"/>
                    <a:gd name="connsiteY2" fmla="*/ 235999 h 237673"/>
                    <a:gd name="connsiteX3" fmla="*/ 150236 w 152807"/>
                    <a:gd name="connsiteY3" fmla="*/ 0 h 237673"/>
                  </a:gdLst>
                  <a:ahLst/>
                  <a:cxnLst>
                    <a:cxn ang="0">
                      <a:pos x="connsiteX0" y="connsiteY0"/>
                    </a:cxn>
                    <a:cxn ang="0">
                      <a:pos x="connsiteX1" y="connsiteY1"/>
                    </a:cxn>
                    <a:cxn ang="0">
                      <a:pos x="connsiteX2" y="connsiteY2"/>
                    </a:cxn>
                    <a:cxn ang="0">
                      <a:pos x="connsiteX3" y="connsiteY3"/>
                    </a:cxn>
                  </a:cxnLst>
                  <a:rect l="l" t="t" r="r" b="b"/>
                  <a:pathLst>
                    <a:path w="152807" h="237673">
                      <a:moveTo>
                        <a:pt x="152808" y="1675"/>
                      </a:moveTo>
                      <a:lnTo>
                        <a:pt x="2572" y="237674"/>
                      </a:lnTo>
                      <a:lnTo>
                        <a:pt x="0" y="235999"/>
                      </a:lnTo>
                      <a:lnTo>
                        <a:pt x="150236" y="0"/>
                      </a:lnTo>
                      <a:close/>
                    </a:path>
                  </a:pathLst>
                </a:custGeom>
                <a:grpFill/>
                <a:ln w="5978" cap="flat">
                  <a:noFill/>
                  <a:prstDash val="solid"/>
                  <a:miter/>
                </a:ln>
              </p:spPr>
              <p:txBody>
                <a:bodyPr rtlCol="0" anchor="ctr"/>
                <a:lstStyle/>
                <a:p>
                  <a:endParaRPr lang="en-GB"/>
                </a:p>
              </p:txBody>
            </p:sp>
            <p:sp>
              <p:nvSpPr>
                <p:cNvPr id="4699" name="Vrije vorm: vorm 4698">
                  <a:extLst>
                    <a:ext uri="{FF2B5EF4-FFF2-40B4-BE49-F238E27FC236}">
                      <a16:creationId xmlns:a16="http://schemas.microsoft.com/office/drawing/2014/main" id="{7917F75E-EAE4-416A-BC20-95434FD3E285}"/>
                    </a:ext>
                  </a:extLst>
                </p:cNvPr>
                <p:cNvSpPr/>
                <p:nvPr/>
              </p:nvSpPr>
              <p:spPr>
                <a:xfrm>
                  <a:off x="7097660" y="1755222"/>
                  <a:ext cx="18364" cy="18441"/>
                </a:xfrm>
                <a:custGeom>
                  <a:avLst/>
                  <a:gdLst>
                    <a:gd name="connsiteX0" fmla="*/ 16907 w 18364"/>
                    <a:gd name="connsiteY0" fmla="*/ 14215 h 18441"/>
                    <a:gd name="connsiteX1" fmla="*/ 4228 w 18364"/>
                    <a:gd name="connsiteY1" fmla="*/ 16966 h 18441"/>
                    <a:gd name="connsiteX2" fmla="*/ 1417 w 18364"/>
                    <a:gd name="connsiteY2" fmla="*/ 4227 h 18441"/>
                    <a:gd name="connsiteX3" fmla="*/ 14096 w 18364"/>
                    <a:gd name="connsiteY3" fmla="*/ 1476 h 18441"/>
                    <a:gd name="connsiteX4" fmla="*/ 16907 w 18364"/>
                    <a:gd name="connsiteY4" fmla="*/ 1421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41">
                      <a:moveTo>
                        <a:pt x="16907" y="14215"/>
                      </a:moveTo>
                      <a:cubicBezTo>
                        <a:pt x="14156" y="18521"/>
                        <a:pt x="8534" y="19717"/>
                        <a:pt x="4228" y="16966"/>
                      </a:cubicBezTo>
                      <a:cubicBezTo>
                        <a:pt x="-18" y="14215"/>
                        <a:pt x="-1275" y="8533"/>
                        <a:pt x="1417" y="4227"/>
                      </a:cubicBezTo>
                      <a:cubicBezTo>
                        <a:pt x="4108" y="-79"/>
                        <a:pt x="9789" y="-1276"/>
                        <a:pt x="14096" y="1476"/>
                      </a:cubicBezTo>
                      <a:cubicBezTo>
                        <a:pt x="18402" y="4227"/>
                        <a:pt x="19658" y="9909"/>
                        <a:pt x="16907" y="14215"/>
                      </a:cubicBezTo>
                      <a:close/>
                    </a:path>
                  </a:pathLst>
                </a:custGeom>
                <a:grpFill/>
                <a:ln w="5978" cap="flat">
                  <a:noFill/>
                  <a:prstDash val="solid"/>
                  <a:miter/>
                </a:ln>
              </p:spPr>
              <p:txBody>
                <a:bodyPr rtlCol="0" anchor="ctr"/>
                <a:lstStyle/>
                <a:p>
                  <a:endParaRPr lang="en-GB"/>
                </a:p>
              </p:txBody>
            </p:sp>
            <p:sp>
              <p:nvSpPr>
                <p:cNvPr id="4700" name="Vrije vorm: vorm 4699">
                  <a:extLst>
                    <a:ext uri="{FF2B5EF4-FFF2-40B4-BE49-F238E27FC236}">
                      <a16:creationId xmlns:a16="http://schemas.microsoft.com/office/drawing/2014/main" id="{9AB0C6C7-2AF3-427F-9EA3-06335F6AD642}"/>
                    </a:ext>
                  </a:extLst>
                </p:cNvPr>
                <p:cNvSpPr/>
                <p:nvPr/>
              </p:nvSpPr>
              <p:spPr>
                <a:xfrm>
                  <a:off x="7247343" y="1520015"/>
                  <a:ext cx="18379" cy="18411"/>
                </a:xfrm>
                <a:custGeom>
                  <a:avLst/>
                  <a:gdLst>
                    <a:gd name="connsiteX0" fmla="*/ 16922 w 18379"/>
                    <a:gd name="connsiteY0" fmla="*/ 14200 h 18411"/>
                    <a:gd name="connsiteX1" fmla="*/ 14110 w 18379"/>
                    <a:gd name="connsiteY1" fmla="*/ 1461 h 18411"/>
                    <a:gd name="connsiteX2" fmla="*/ 1431 w 18379"/>
                    <a:gd name="connsiteY2" fmla="*/ 4212 h 18411"/>
                    <a:gd name="connsiteX3" fmla="*/ 4243 w 18379"/>
                    <a:gd name="connsiteY3" fmla="*/ 16951 h 18411"/>
                    <a:gd name="connsiteX4" fmla="*/ 16922 w 18379"/>
                    <a:gd name="connsiteY4" fmla="*/ 1420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11">
                      <a:moveTo>
                        <a:pt x="16922" y="14200"/>
                      </a:moveTo>
                      <a:cubicBezTo>
                        <a:pt x="19673" y="9894"/>
                        <a:pt x="18417" y="4212"/>
                        <a:pt x="14110" y="1461"/>
                      </a:cubicBezTo>
                      <a:cubicBezTo>
                        <a:pt x="9864" y="-1290"/>
                        <a:pt x="4183" y="-34"/>
                        <a:pt x="1431" y="4212"/>
                      </a:cubicBezTo>
                      <a:cubicBezTo>
                        <a:pt x="-1260" y="8518"/>
                        <a:pt x="-64" y="14200"/>
                        <a:pt x="4243" y="16951"/>
                      </a:cubicBezTo>
                      <a:cubicBezTo>
                        <a:pt x="8549" y="19702"/>
                        <a:pt x="14230" y="18446"/>
                        <a:pt x="16922" y="14200"/>
                      </a:cubicBezTo>
                      <a:close/>
                    </a:path>
                  </a:pathLst>
                </a:custGeom>
                <a:grpFill/>
                <a:ln w="5978" cap="flat">
                  <a:noFill/>
                  <a:prstDash val="solid"/>
                  <a:miter/>
                </a:ln>
              </p:spPr>
              <p:txBody>
                <a:bodyPr rtlCol="0" anchor="ctr"/>
                <a:lstStyle/>
                <a:p>
                  <a:endParaRPr lang="en-GB"/>
                </a:p>
              </p:txBody>
            </p:sp>
          </p:grpSp>
          <p:grpSp>
            <p:nvGrpSpPr>
              <p:cNvPr id="228" name="Graphic 3">
                <a:extLst>
                  <a:ext uri="{FF2B5EF4-FFF2-40B4-BE49-F238E27FC236}">
                    <a16:creationId xmlns:a16="http://schemas.microsoft.com/office/drawing/2014/main" id="{6D2E653B-FB56-4BC2-9498-E6B4A2EF6624}"/>
                  </a:ext>
                </a:extLst>
              </p:cNvPr>
              <p:cNvGrpSpPr/>
              <p:nvPr/>
            </p:nvGrpSpPr>
            <p:grpSpPr>
              <a:xfrm>
                <a:off x="7948678" y="3934537"/>
                <a:ext cx="21032" cy="19139"/>
                <a:chOff x="7948678" y="3934537"/>
                <a:chExt cx="21032" cy="19139"/>
              </a:xfrm>
              <a:grpFill/>
            </p:grpSpPr>
            <p:sp>
              <p:nvSpPr>
                <p:cNvPr id="4695" name="Vrije vorm: vorm 4694">
                  <a:extLst>
                    <a:ext uri="{FF2B5EF4-FFF2-40B4-BE49-F238E27FC236}">
                      <a16:creationId xmlns:a16="http://schemas.microsoft.com/office/drawing/2014/main" id="{D0A44C5C-C7A5-4D15-A225-64EF609B0EA9}"/>
                    </a:ext>
                  </a:extLst>
                </p:cNvPr>
                <p:cNvSpPr/>
                <p:nvPr/>
              </p:nvSpPr>
              <p:spPr>
                <a:xfrm>
                  <a:off x="7957011" y="3942173"/>
                  <a:ext cx="4365" cy="3947"/>
                </a:xfrm>
                <a:custGeom>
                  <a:avLst/>
                  <a:gdLst>
                    <a:gd name="connsiteX0" fmla="*/ 4366 w 4365"/>
                    <a:gd name="connsiteY0" fmla="*/ 957 h 3947"/>
                    <a:gd name="connsiteX1" fmla="*/ 3588 w 4365"/>
                    <a:gd name="connsiteY1" fmla="*/ 3947 h 3947"/>
                    <a:gd name="connsiteX2" fmla="*/ 0 w 4365"/>
                    <a:gd name="connsiteY2" fmla="*/ 2930 h 3947"/>
                    <a:gd name="connsiteX3" fmla="*/ 778 w 4365"/>
                    <a:gd name="connsiteY3" fmla="*/ 0 h 3947"/>
                  </a:gdLst>
                  <a:ahLst/>
                  <a:cxnLst>
                    <a:cxn ang="0">
                      <a:pos x="connsiteX0" y="connsiteY0"/>
                    </a:cxn>
                    <a:cxn ang="0">
                      <a:pos x="connsiteX1" y="connsiteY1"/>
                    </a:cxn>
                    <a:cxn ang="0">
                      <a:pos x="connsiteX2" y="connsiteY2"/>
                    </a:cxn>
                    <a:cxn ang="0">
                      <a:pos x="connsiteX3" y="connsiteY3"/>
                    </a:cxn>
                  </a:cxnLst>
                  <a:rect l="l" t="t" r="r" b="b"/>
                  <a:pathLst>
                    <a:path w="4365" h="3947">
                      <a:moveTo>
                        <a:pt x="4366" y="957"/>
                      </a:moveTo>
                      <a:lnTo>
                        <a:pt x="3588" y="3947"/>
                      </a:lnTo>
                      <a:lnTo>
                        <a:pt x="0" y="2930"/>
                      </a:lnTo>
                      <a:lnTo>
                        <a:pt x="778" y="0"/>
                      </a:lnTo>
                      <a:close/>
                    </a:path>
                  </a:pathLst>
                </a:custGeom>
                <a:grpFill/>
                <a:ln w="5978" cap="flat">
                  <a:noFill/>
                  <a:prstDash val="solid"/>
                  <a:miter/>
                </a:ln>
              </p:spPr>
              <p:txBody>
                <a:bodyPr rtlCol="0" anchor="ctr"/>
                <a:lstStyle/>
                <a:p>
                  <a:endParaRPr lang="en-GB"/>
                </a:p>
              </p:txBody>
            </p:sp>
            <p:sp>
              <p:nvSpPr>
                <p:cNvPr id="4696" name="Vrije vorm: vorm 4695">
                  <a:extLst>
                    <a:ext uri="{FF2B5EF4-FFF2-40B4-BE49-F238E27FC236}">
                      <a16:creationId xmlns:a16="http://schemas.microsoft.com/office/drawing/2014/main" id="{2B938B22-46ED-48BE-8BA0-0FCD30929680}"/>
                    </a:ext>
                  </a:extLst>
                </p:cNvPr>
                <p:cNvSpPr/>
                <p:nvPr/>
              </p:nvSpPr>
              <p:spPr>
                <a:xfrm>
                  <a:off x="7951369" y="3935275"/>
                  <a:ext cx="18341" cy="18400"/>
                </a:xfrm>
                <a:custGeom>
                  <a:avLst/>
                  <a:gdLst>
                    <a:gd name="connsiteX0" fmla="*/ 11563 w 18341"/>
                    <a:gd name="connsiteY0" fmla="*/ 319 h 18400"/>
                    <a:gd name="connsiteX1" fmla="*/ 18022 w 18341"/>
                    <a:gd name="connsiteY1" fmla="*/ 11622 h 18400"/>
                    <a:gd name="connsiteX2" fmla="*/ 6779 w 18341"/>
                    <a:gd name="connsiteY2" fmla="*/ 18082 h 18400"/>
                    <a:gd name="connsiteX3" fmla="*/ 319 w 18341"/>
                    <a:gd name="connsiteY3" fmla="*/ 6778 h 18400"/>
                    <a:gd name="connsiteX4" fmla="*/ 11563 w 18341"/>
                    <a:gd name="connsiteY4" fmla="*/ 31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1563" y="319"/>
                      </a:moveTo>
                      <a:cubicBezTo>
                        <a:pt x="16467" y="1695"/>
                        <a:pt x="19338" y="6718"/>
                        <a:pt x="18022" y="11622"/>
                      </a:cubicBezTo>
                      <a:cubicBezTo>
                        <a:pt x="16706" y="16527"/>
                        <a:pt x="11683" y="19398"/>
                        <a:pt x="6779" y="18082"/>
                      </a:cubicBezTo>
                      <a:cubicBezTo>
                        <a:pt x="1874" y="16706"/>
                        <a:pt x="-997" y="11682"/>
                        <a:pt x="319" y="6778"/>
                      </a:cubicBezTo>
                      <a:cubicBezTo>
                        <a:pt x="1635" y="1874"/>
                        <a:pt x="6719" y="-997"/>
                        <a:pt x="11563" y="319"/>
                      </a:cubicBezTo>
                      <a:close/>
                    </a:path>
                  </a:pathLst>
                </a:custGeom>
                <a:grpFill/>
                <a:ln w="5978" cap="flat">
                  <a:noFill/>
                  <a:prstDash val="solid"/>
                  <a:miter/>
                </a:ln>
              </p:spPr>
              <p:txBody>
                <a:bodyPr rtlCol="0" anchor="ctr"/>
                <a:lstStyle/>
                <a:p>
                  <a:endParaRPr lang="en-GB"/>
                </a:p>
              </p:txBody>
            </p:sp>
            <p:sp>
              <p:nvSpPr>
                <p:cNvPr id="4697" name="Vrije vorm: vorm 4696">
                  <a:extLst>
                    <a:ext uri="{FF2B5EF4-FFF2-40B4-BE49-F238E27FC236}">
                      <a16:creationId xmlns:a16="http://schemas.microsoft.com/office/drawing/2014/main" id="{05EDBC0B-1317-49E5-9892-D3D264BF5B3E}"/>
                    </a:ext>
                  </a:extLst>
                </p:cNvPr>
                <p:cNvSpPr/>
                <p:nvPr/>
              </p:nvSpPr>
              <p:spPr>
                <a:xfrm>
                  <a:off x="7948678" y="3934537"/>
                  <a:ext cx="18340" cy="18442"/>
                </a:xfrm>
                <a:custGeom>
                  <a:avLst/>
                  <a:gdLst>
                    <a:gd name="connsiteX0" fmla="*/ 11563 w 18340"/>
                    <a:gd name="connsiteY0" fmla="*/ 340 h 18442"/>
                    <a:gd name="connsiteX1" fmla="*/ 319 w 18340"/>
                    <a:gd name="connsiteY1" fmla="*/ 6799 h 18442"/>
                    <a:gd name="connsiteX2" fmla="*/ 6778 w 18340"/>
                    <a:gd name="connsiteY2" fmla="*/ 18102 h 18442"/>
                    <a:gd name="connsiteX3" fmla="*/ 18022 w 18340"/>
                    <a:gd name="connsiteY3" fmla="*/ 11643 h 18442"/>
                    <a:gd name="connsiteX4" fmla="*/ 11563 w 18340"/>
                    <a:gd name="connsiteY4" fmla="*/ 34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2">
                      <a:moveTo>
                        <a:pt x="11563" y="340"/>
                      </a:moveTo>
                      <a:cubicBezTo>
                        <a:pt x="6658" y="-1036"/>
                        <a:pt x="1635" y="1895"/>
                        <a:pt x="319" y="6799"/>
                      </a:cubicBezTo>
                      <a:cubicBezTo>
                        <a:pt x="-997" y="11703"/>
                        <a:pt x="1874" y="16787"/>
                        <a:pt x="6778" y="18102"/>
                      </a:cubicBezTo>
                      <a:cubicBezTo>
                        <a:pt x="11683" y="19478"/>
                        <a:pt x="16706" y="16547"/>
                        <a:pt x="18022" y="11643"/>
                      </a:cubicBezTo>
                      <a:cubicBezTo>
                        <a:pt x="19337" y="6739"/>
                        <a:pt x="16467" y="1655"/>
                        <a:pt x="11563" y="340"/>
                      </a:cubicBezTo>
                      <a:close/>
                    </a:path>
                  </a:pathLst>
                </a:custGeom>
                <a:grpFill/>
                <a:ln w="5978" cap="flat">
                  <a:noFill/>
                  <a:prstDash val="solid"/>
                  <a:miter/>
                </a:ln>
              </p:spPr>
              <p:txBody>
                <a:bodyPr rtlCol="0" anchor="ctr"/>
                <a:lstStyle/>
                <a:p>
                  <a:endParaRPr lang="en-GB"/>
                </a:p>
              </p:txBody>
            </p:sp>
          </p:grpSp>
          <p:grpSp>
            <p:nvGrpSpPr>
              <p:cNvPr id="229" name="Graphic 3">
                <a:extLst>
                  <a:ext uri="{FF2B5EF4-FFF2-40B4-BE49-F238E27FC236}">
                    <a16:creationId xmlns:a16="http://schemas.microsoft.com/office/drawing/2014/main" id="{4EA62438-94A9-4443-A7D6-717B083F34AD}"/>
                  </a:ext>
                </a:extLst>
              </p:cNvPr>
              <p:cNvGrpSpPr/>
              <p:nvPr/>
            </p:nvGrpSpPr>
            <p:grpSpPr>
              <a:xfrm>
                <a:off x="7079414" y="1520607"/>
                <a:ext cx="235956" cy="346783"/>
                <a:chOff x="7079414" y="1520607"/>
                <a:chExt cx="235956" cy="346783"/>
              </a:xfrm>
              <a:grpFill/>
            </p:grpSpPr>
            <p:sp>
              <p:nvSpPr>
                <p:cNvPr id="4692" name="Vrije vorm: vorm 4691">
                  <a:extLst>
                    <a:ext uri="{FF2B5EF4-FFF2-40B4-BE49-F238E27FC236}">
                      <a16:creationId xmlns:a16="http://schemas.microsoft.com/office/drawing/2014/main" id="{B8DA29C3-BDA7-4C4B-9231-1A42D8FB8A5F}"/>
                    </a:ext>
                  </a:extLst>
                </p:cNvPr>
                <p:cNvSpPr/>
                <p:nvPr/>
              </p:nvSpPr>
              <p:spPr>
                <a:xfrm>
                  <a:off x="7087056" y="1528593"/>
                  <a:ext cx="220688" cy="330793"/>
                </a:xfrm>
                <a:custGeom>
                  <a:avLst/>
                  <a:gdLst>
                    <a:gd name="connsiteX0" fmla="*/ 220689 w 220688"/>
                    <a:gd name="connsiteY0" fmla="*/ 1734 h 330793"/>
                    <a:gd name="connsiteX1" fmla="*/ 2571 w 220688"/>
                    <a:gd name="connsiteY1" fmla="*/ 330794 h 330793"/>
                    <a:gd name="connsiteX2" fmla="*/ 0 w 220688"/>
                    <a:gd name="connsiteY2" fmla="*/ 329119 h 330793"/>
                    <a:gd name="connsiteX3" fmla="*/ 218177 w 220688"/>
                    <a:gd name="connsiteY3" fmla="*/ 0 h 330793"/>
                  </a:gdLst>
                  <a:ahLst/>
                  <a:cxnLst>
                    <a:cxn ang="0">
                      <a:pos x="connsiteX0" y="connsiteY0"/>
                    </a:cxn>
                    <a:cxn ang="0">
                      <a:pos x="connsiteX1" y="connsiteY1"/>
                    </a:cxn>
                    <a:cxn ang="0">
                      <a:pos x="connsiteX2" y="connsiteY2"/>
                    </a:cxn>
                    <a:cxn ang="0">
                      <a:pos x="connsiteX3" y="connsiteY3"/>
                    </a:cxn>
                  </a:cxnLst>
                  <a:rect l="l" t="t" r="r" b="b"/>
                  <a:pathLst>
                    <a:path w="220688" h="330793">
                      <a:moveTo>
                        <a:pt x="220689" y="1734"/>
                      </a:moveTo>
                      <a:lnTo>
                        <a:pt x="2571" y="330794"/>
                      </a:lnTo>
                      <a:lnTo>
                        <a:pt x="0" y="329119"/>
                      </a:lnTo>
                      <a:lnTo>
                        <a:pt x="218177" y="0"/>
                      </a:lnTo>
                      <a:close/>
                    </a:path>
                  </a:pathLst>
                </a:custGeom>
                <a:grpFill/>
                <a:ln w="5978" cap="flat">
                  <a:noFill/>
                  <a:prstDash val="solid"/>
                  <a:miter/>
                </a:ln>
              </p:spPr>
              <p:txBody>
                <a:bodyPr rtlCol="0" anchor="ctr"/>
                <a:lstStyle/>
                <a:p>
                  <a:endParaRPr lang="en-GB"/>
                </a:p>
              </p:txBody>
            </p:sp>
            <p:sp>
              <p:nvSpPr>
                <p:cNvPr id="4693" name="Vrije vorm: vorm 4692">
                  <a:extLst>
                    <a:ext uri="{FF2B5EF4-FFF2-40B4-BE49-F238E27FC236}">
                      <a16:creationId xmlns:a16="http://schemas.microsoft.com/office/drawing/2014/main" id="{49EFC2EB-796C-45C4-852B-5407C0002E03}"/>
                    </a:ext>
                  </a:extLst>
                </p:cNvPr>
                <p:cNvSpPr/>
                <p:nvPr/>
              </p:nvSpPr>
              <p:spPr>
                <a:xfrm>
                  <a:off x="7297094" y="1520607"/>
                  <a:ext cx="18276" cy="18483"/>
                </a:xfrm>
                <a:custGeom>
                  <a:avLst/>
                  <a:gdLst>
                    <a:gd name="connsiteX0" fmla="*/ 1500 w 18276"/>
                    <a:gd name="connsiteY0" fmla="*/ 4098 h 18483"/>
                    <a:gd name="connsiteX1" fmla="*/ 14179 w 18276"/>
                    <a:gd name="connsiteY1" fmla="*/ 1586 h 18483"/>
                    <a:gd name="connsiteX2" fmla="*/ 16750 w 18276"/>
                    <a:gd name="connsiteY2" fmla="*/ 14385 h 18483"/>
                    <a:gd name="connsiteX3" fmla="*/ 4071 w 18276"/>
                    <a:gd name="connsiteY3" fmla="*/ 16897 h 18483"/>
                    <a:gd name="connsiteX4" fmla="*/ 1500 w 18276"/>
                    <a:gd name="connsiteY4" fmla="*/ 4098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 h="18483">
                      <a:moveTo>
                        <a:pt x="1500" y="4098"/>
                      </a:moveTo>
                      <a:cubicBezTo>
                        <a:pt x="4311" y="-148"/>
                        <a:pt x="9992" y="-1284"/>
                        <a:pt x="14179" y="1586"/>
                      </a:cubicBezTo>
                      <a:cubicBezTo>
                        <a:pt x="18365" y="4397"/>
                        <a:pt x="19562" y="10139"/>
                        <a:pt x="16750" y="14385"/>
                      </a:cubicBezTo>
                      <a:cubicBezTo>
                        <a:pt x="13940" y="18631"/>
                        <a:pt x="8258" y="19768"/>
                        <a:pt x="4071" y="16897"/>
                      </a:cubicBezTo>
                      <a:cubicBezTo>
                        <a:pt x="-115" y="14086"/>
                        <a:pt x="-1252" y="8345"/>
                        <a:pt x="1500" y="4098"/>
                      </a:cubicBezTo>
                      <a:close/>
                    </a:path>
                  </a:pathLst>
                </a:custGeom>
                <a:grpFill/>
                <a:ln w="5978" cap="flat">
                  <a:noFill/>
                  <a:prstDash val="solid"/>
                  <a:miter/>
                </a:ln>
              </p:spPr>
              <p:txBody>
                <a:bodyPr rtlCol="0" anchor="ctr"/>
                <a:lstStyle/>
                <a:p>
                  <a:endParaRPr lang="en-GB"/>
                </a:p>
              </p:txBody>
            </p:sp>
            <p:sp>
              <p:nvSpPr>
                <p:cNvPr id="4694" name="Vrije vorm: vorm 4693">
                  <a:extLst>
                    <a:ext uri="{FF2B5EF4-FFF2-40B4-BE49-F238E27FC236}">
                      <a16:creationId xmlns:a16="http://schemas.microsoft.com/office/drawing/2014/main" id="{D8653088-5409-4D8C-B896-CA6E45D49168}"/>
                    </a:ext>
                  </a:extLst>
                </p:cNvPr>
                <p:cNvSpPr/>
                <p:nvPr/>
              </p:nvSpPr>
              <p:spPr>
                <a:xfrm>
                  <a:off x="7079414" y="1848949"/>
                  <a:ext cx="18333" cy="18441"/>
                </a:xfrm>
                <a:custGeom>
                  <a:avLst/>
                  <a:gdLst>
                    <a:gd name="connsiteX0" fmla="*/ 1541 w 18333"/>
                    <a:gd name="connsiteY0" fmla="*/ 4098 h 18441"/>
                    <a:gd name="connsiteX1" fmla="*/ 4113 w 18333"/>
                    <a:gd name="connsiteY1" fmla="*/ 16897 h 18441"/>
                    <a:gd name="connsiteX2" fmla="*/ 16793 w 18333"/>
                    <a:gd name="connsiteY2" fmla="*/ 14385 h 18441"/>
                    <a:gd name="connsiteX3" fmla="*/ 14221 w 18333"/>
                    <a:gd name="connsiteY3" fmla="*/ 1586 h 18441"/>
                    <a:gd name="connsiteX4" fmla="*/ 1541 w 18333"/>
                    <a:gd name="connsiteY4" fmla="*/ 409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541" y="4098"/>
                      </a:moveTo>
                      <a:cubicBezTo>
                        <a:pt x="-1269" y="8345"/>
                        <a:pt x="-133" y="14026"/>
                        <a:pt x="4113" y="16897"/>
                      </a:cubicBezTo>
                      <a:cubicBezTo>
                        <a:pt x="8300" y="19708"/>
                        <a:pt x="14041" y="18572"/>
                        <a:pt x="16793" y="14385"/>
                      </a:cubicBezTo>
                      <a:cubicBezTo>
                        <a:pt x="19603" y="10139"/>
                        <a:pt x="18467" y="4457"/>
                        <a:pt x="14221" y="1586"/>
                      </a:cubicBezTo>
                      <a:cubicBezTo>
                        <a:pt x="10034" y="-1284"/>
                        <a:pt x="4352" y="-148"/>
                        <a:pt x="1541" y="4098"/>
                      </a:cubicBezTo>
                      <a:close/>
                    </a:path>
                  </a:pathLst>
                </a:custGeom>
                <a:grpFill/>
                <a:ln w="5978" cap="flat">
                  <a:noFill/>
                  <a:prstDash val="solid"/>
                  <a:miter/>
                </a:ln>
              </p:spPr>
              <p:txBody>
                <a:bodyPr rtlCol="0" anchor="ctr"/>
                <a:lstStyle/>
                <a:p>
                  <a:endParaRPr lang="en-GB"/>
                </a:p>
              </p:txBody>
            </p:sp>
          </p:grpSp>
          <p:grpSp>
            <p:nvGrpSpPr>
              <p:cNvPr id="230" name="Graphic 3">
                <a:extLst>
                  <a:ext uri="{FF2B5EF4-FFF2-40B4-BE49-F238E27FC236}">
                    <a16:creationId xmlns:a16="http://schemas.microsoft.com/office/drawing/2014/main" id="{3B5B790B-679A-482A-A399-0D8815901689}"/>
                  </a:ext>
                </a:extLst>
              </p:cNvPr>
              <p:cNvGrpSpPr/>
              <p:nvPr/>
            </p:nvGrpSpPr>
            <p:grpSpPr>
              <a:xfrm>
                <a:off x="7934410" y="4007400"/>
                <a:ext cx="86828" cy="40175"/>
                <a:chOff x="7934410" y="4007400"/>
                <a:chExt cx="86828" cy="40175"/>
              </a:xfrm>
              <a:grpFill/>
            </p:grpSpPr>
            <p:sp>
              <p:nvSpPr>
                <p:cNvPr id="4689" name="Vrije vorm: vorm 4688">
                  <a:extLst>
                    <a:ext uri="{FF2B5EF4-FFF2-40B4-BE49-F238E27FC236}">
                      <a16:creationId xmlns:a16="http://schemas.microsoft.com/office/drawing/2014/main" id="{03B498A5-9685-4B21-BA4A-888D670E24AF}"/>
                    </a:ext>
                  </a:extLst>
                </p:cNvPr>
                <p:cNvSpPr/>
                <p:nvPr/>
              </p:nvSpPr>
              <p:spPr>
                <a:xfrm>
                  <a:off x="7942657" y="4015018"/>
                  <a:ext cx="70273" cy="24939"/>
                </a:xfrm>
                <a:custGeom>
                  <a:avLst/>
                  <a:gdLst>
                    <a:gd name="connsiteX0" fmla="*/ 70273 w 70273"/>
                    <a:gd name="connsiteY0" fmla="*/ 22009 h 24939"/>
                    <a:gd name="connsiteX1" fmla="*/ 69376 w 70273"/>
                    <a:gd name="connsiteY1" fmla="*/ 24940 h 24939"/>
                    <a:gd name="connsiteX2" fmla="*/ 0 w 70273"/>
                    <a:gd name="connsiteY2" fmla="*/ 2930 h 24939"/>
                    <a:gd name="connsiteX3" fmla="*/ 957 w 70273"/>
                    <a:gd name="connsiteY3" fmla="*/ 0 h 24939"/>
                  </a:gdLst>
                  <a:ahLst/>
                  <a:cxnLst>
                    <a:cxn ang="0">
                      <a:pos x="connsiteX0" y="connsiteY0"/>
                    </a:cxn>
                    <a:cxn ang="0">
                      <a:pos x="connsiteX1" y="connsiteY1"/>
                    </a:cxn>
                    <a:cxn ang="0">
                      <a:pos x="connsiteX2" y="connsiteY2"/>
                    </a:cxn>
                    <a:cxn ang="0">
                      <a:pos x="connsiteX3" y="connsiteY3"/>
                    </a:cxn>
                  </a:cxnLst>
                  <a:rect l="l" t="t" r="r" b="b"/>
                  <a:pathLst>
                    <a:path w="70273" h="24939">
                      <a:moveTo>
                        <a:pt x="70273" y="22009"/>
                      </a:moveTo>
                      <a:lnTo>
                        <a:pt x="69376" y="24940"/>
                      </a:lnTo>
                      <a:lnTo>
                        <a:pt x="0" y="2930"/>
                      </a:lnTo>
                      <a:lnTo>
                        <a:pt x="957" y="0"/>
                      </a:lnTo>
                      <a:close/>
                    </a:path>
                  </a:pathLst>
                </a:custGeom>
                <a:grpFill/>
                <a:ln w="5978" cap="flat">
                  <a:noFill/>
                  <a:prstDash val="solid"/>
                  <a:miter/>
                </a:ln>
              </p:spPr>
              <p:txBody>
                <a:bodyPr rtlCol="0" anchor="ctr"/>
                <a:lstStyle/>
                <a:p>
                  <a:endParaRPr lang="en-GB"/>
                </a:p>
              </p:txBody>
            </p:sp>
            <p:sp>
              <p:nvSpPr>
                <p:cNvPr id="4690" name="Vrije vorm: vorm 4689">
                  <a:extLst>
                    <a:ext uri="{FF2B5EF4-FFF2-40B4-BE49-F238E27FC236}">
                      <a16:creationId xmlns:a16="http://schemas.microsoft.com/office/drawing/2014/main" id="{7A2587A3-70CB-48A1-ADCA-3CB4BA6FAA9B}"/>
                    </a:ext>
                  </a:extLst>
                </p:cNvPr>
                <p:cNvSpPr/>
                <p:nvPr/>
              </p:nvSpPr>
              <p:spPr>
                <a:xfrm>
                  <a:off x="7934410" y="4007400"/>
                  <a:ext cx="18348" cy="18405"/>
                </a:xfrm>
                <a:custGeom>
                  <a:avLst/>
                  <a:gdLst>
                    <a:gd name="connsiteX0" fmla="*/ 6454 w 18348"/>
                    <a:gd name="connsiteY0" fmla="*/ 17964 h 18405"/>
                    <a:gd name="connsiteX1" fmla="*/ 413 w 18348"/>
                    <a:gd name="connsiteY1" fmla="*/ 6422 h 18405"/>
                    <a:gd name="connsiteX2" fmla="*/ 11895 w 18348"/>
                    <a:gd name="connsiteY2" fmla="*/ 441 h 18405"/>
                    <a:gd name="connsiteX3" fmla="*/ 17936 w 18348"/>
                    <a:gd name="connsiteY3" fmla="*/ 11984 h 18405"/>
                    <a:gd name="connsiteX4" fmla="*/ 6454 w 18348"/>
                    <a:gd name="connsiteY4" fmla="*/ 1796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05">
                      <a:moveTo>
                        <a:pt x="6454" y="17964"/>
                      </a:moveTo>
                      <a:cubicBezTo>
                        <a:pt x="1609" y="16410"/>
                        <a:pt x="-1082" y="11266"/>
                        <a:pt x="413" y="6422"/>
                      </a:cubicBezTo>
                      <a:cubicBezTo>
                        <a:pt x="1908" y="1577"/>
                        <a:pt x="7051" y="-1114"/>
                        <a:pt x="11895" y="441"/>
                      </a:cubicBezTo>
                      <a:cubicBezTo>
                        <a:pt x="16740" y="1996"/>
                        <a:pt x="19431" y="7139"/>
                        <a:pt x="17936" y="11984"/>
                      </a:cubicBezTo>
                      <a:cubicBezTo>
                        <a:pt x="16381" y="16828"/>
                        <a:pt x="11238" y="19519"/>
                        <a:pt x="6454" y="17964"/>
                      </a:cubicBezTo>
                      <a:close/>
                    </a:path>
                  </a:pathLst>
                </a:custGeom>
                <a:grpFill/>
                <a:ln w="5978" cap="flat">
                  <a:noFill/>
                  <a:prstDash val="solid"/>
                  <a:miter/>
                </a:ln>
              </p:spPr>
              <p:txBody>
                <a:bodyPr rtlCol="0" anchor="ctr"/>
                <a:lstStyle/>
                <a:p>
                  <a:endParaRPr lang="en-GB"/>
                </a:p>
              </p:txBody>
            </p:sp>
            <p:sp>
              <p:nvSpPr>
                <p:cNvPr id="4691" name="Vrije vorm: vorm 4690">
                  <a:extLst>
                    <a:ext uri="{FF2B5EF4-FFF2-40B4-BE49-F238E27FC236}">
                      <a16:creationId xmlns:a16="http://schemas.microsoft.com/office/drawing/2014/main" id="{9DC2E638-4901-4ACD-A82A-DC14DC0BB99C}"/>
                    </a:ext>
                  </a:extLst>
                </p:cNvPr>
                <p:cNvSpPr/>
                <p:nvPr/>
              </p:nvSpPr>
              <p:spPr>
                <a:xfrm>
                  <a:off x="8002889" y="4029170"/>
                  <a:ext cx="18349" cy="18405"/>
                </a:xfrm>
                <a:custGeom>
                  <a:avLst/>
                  <a:gdLst>
                    <a:gd name="connsiteX0" fmla="*/ 6453 w 18349"/>
                    <a:gd name="connsiteY0" fmla="*/ 17964 h 18405"/>
                    <a:gd name="connsiteX1" fmla="*/ 17937 w 18349"/>
                    <a:gd name="connsiteY1" fmla="*/ 11984 h 18405"/>
                    <a:gd name="connsiteX2" fmla="*/ 11896 w 18349"/>
                    <a:gd name="connsiteY2" fmla="*/ 441 h 18405"/>
                    <a:gd name="connsiteX3" fmla="*/ 413 w 18349"/>
                    <a:gd name="connsiteY3" fmla="*/ 6422 h 18405"/>
                    <a:gd name="connsiteX4" fmla="*/ 6453 w 18349"/>
                    <a:gd name="connsiteY4" fmla="*/ 1796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6453" y="17964"/>
                      </a:moveTo>
                      <a:cubicBezTo>
                        <a:pt x="11298" y="19519"/>
                        <a:pt x="16442" y="16828"/>
                        <a:pt x="17937" y="11984"/>
                      </a:cubicBezTo>
                      <a:cubicBezTo>
                        <a:pt x="19432" y="7139"/>
                        <a:pt x="16740" y="1936"/>
                        <a:pt x="11896" y="441"/>
                      </a:cubicBezTo>
                      <a:cubicBezTo>
                        <a:pt x="7051" y="-1114"/>
                        <a:pt x="1908" y="1577"/>
                        <a:pt x="413" y="6422"/>
                      </a:cubicBezTo>
                      <a:cubicBezTo>
                        <a:pt x="-1082" y="11266"/>
                        <a:pt x="1609" y="16469"/>
                        <a:pt x="6453" y="17964"/>
                      </a:cubicBezTo>
                      <a:close/>
                    </a:path>
                  </a:pathLst>
                </a:custGeom>
                <a:grpFill/>
                <a:ln w="5978" cap="flat">
                  <a:noFill/>
                  <a:prstDash val="solid"/>
                  <a:miter/>
                </a:ln>
              </p:spPr>
              <p:txBody>
                <a:bodyPr rtlCol="0" anchor="ctr"/>
                <a:lstStyle/>
                <a:p>
                  <a:endParaRPr lang="en-GB"/>
                </a:p>
              </p:txBody>
            </p:sp>
          </p:grpSp>
          <p:grpSp>
            <p:nvGrpSpPr>
              <p:cNvPr id="231" name="Graphic 3">
                <a:extLst>
                  <a:ext uri="{FF2B5EF4-FFF2-40B4-BE49-F238E27FC236}">
                    <a16:creationId xmlns:a16="http://schemas.microsoft.com/office/drawing/2014/main" id="{5CD275F6-1422-4CD4-8E66-F4B48A59DC94}"/>
                  </a:ext>
                </a:extLst>
              </p:cNvPr>
              <p:cNvGrpSpPr/>
              <p:nvPr/>
            </p:nvGrpSpPr>
            <p:grpSpPr>
              <a:xfrm>
                <a:off x="7270092" y="2119366"/>
                <a:ext cx="147288" cy="141234"/>
                <a:chOff x="7270092" y="2119366"/>
                <a:chExt cx="147288" cy="141234"/>
              </a:xfrm>
              <a:grpFill/>
            </p:grpSpPr>
            <p:sp>
              <p:nvSpPr>
                <p:cNvPr id="4686" name="Vrije vorm: vorm 4685">
                  <a:extLst>
                    <a:ext uri="{FF2B5EF4-FFF2-40B4-BE49-F238E27FC236}">
                      <a16:creationId xmlns:a16="http://schemas.microsoft.com/office/drawing/2014/main" id="{F9DA9772-1EA9-43F4-8CE7-18D639E8621D}"/>
                    </a:ext>
                  </a:extLst>
                </p:cNvPr>
                <p:cNvSpPr/>
                <p:nvPr/>
              </p:nvSpPr>
              <p:spPr>
                <a:xfrm>
                  <a:off x="7277841" y="2127144"/>
                  <a:ext cx="131754" cy="125654"/>
                </a:xfrm>
                <a:custGeom>
                  <a:avLst/>
                  <a:gdLst>
                    <a:gd name="connsiteX0" fmla="*/ 131755 w 131754"/>
                    <a:gd name="connsiteY0" fmla="*/ 2213 h 125654"/>
                    <a:gd name="connsiteX1" fmla="*/ 2153 w 131754"/>
                    <a:gd name="connsiteY1" fmla="*/ 125655 h 125654"/>
                    <a:gd name="connsiteX2" fmla="*/ 0 w 131754"/>
                    <a:gd name="connsiteY2" fmla="*/ 123382 h 125654"/>
                    <a:gd name="connsiteX3" fmla="*/ 129602 w 131754"/>
                    <a:gd name="connsiteY3" fmla="*/ 0 h 125654"/>
                  </a:gdLst>
                  <a:ahLst/>
                  <a:cxnLst>
                    <a:cxn ang="0">
                      <a:pos x="connsiteX0" y="connsiteY0"/>
                    </a:cxn>
                    <a:cxn ang="0">
                      <a:pos x="connsiteX1" y="connsiteY1"/>
                    </a:cxn>
                    <a:cxn ang="0">
                      <a:pos x="connsiteX2" y="connsiteY2"/>
                    </a:cxn>
                    <a:cxn ang="0">
                      <a:pos x="connsiteX3" y="connsiteY3"/>
                    </a:cxn>
                  </a:cxnLst>
                  <a:rect l="l" t="t" r="r" b="b"/>
                  <a:pathLst>
                    <a:path w="131754" h="125654">
                      <a:moveTo>
                        <a:pt x="131755" y="2213"/>
                      </a:moveTo>
                      <a:lnTo>
                        <a:pt x="2153" y="125655"/>
                      </a:lnTo>
                      <a:lnTo>
                        <a:pt x="0" y="123382"/>
                      </a:lnTo>
                      <a:lnTo>
                        <a:pt x="129602" y="0"/>
                      </a:lnTo>
                      <a:close/>
                    </a:path>
                  </a:pathLst>
                </a:custGeom>
                <a:grpFill/>
                <a:ln w="5978" cap="flat">
                  <a:noFill/>
                  <a:prstDash val="solid"/>
                  <a:miter/>
                </a:ln>
              </p:spPr>
              <p:txBody>
                <a:bodyPr rtlCol="0" anchor="ctr"/>
                <a:lstStyle/>
                <a:p>
                  <a:endParaRPr lang="en-GB"/>
                </a:p>
              </p:txBody>
            </p:sp>
            <p:sp>
              <p:nvSpPr>
                <p:cNvPr id="4687" name="Vrije vorm: vorm 4686">
                  <a:extLst>
                    <a:ext uri="{FF2B5EF4-FFF2-40B4-BE49-F238E27FC236}">
                      <a16:creationId xmlns:a16="http://schemas.microsoft.com/office/drawing/2014/main" id="{85F009DE-44EF-4C5D-9974-F2A70D741A89}"/>
                    </a:ext>
                  </a:extLst>
                </p:cNvPr>
                <p:cNvSpPr/>
                <p:nvPr/>
              </p:nvSpPr>
              <p:spPr>
                <a:xfrm>
                  <a:off x="7399037" y="2119366"/>
                  <a:ext cx="18343" cy="18426"/>
                </a:xfrm>
                <a:custGeom>
                  <a:avLst/>
                  <a:gdLst>
                    <a:gd name="connsiteX0" fmla="*/ 2844 w 18343"/>
                    <a:gd name="connsiteY0" fmla="*/ 2515 h 18426"/>
                    <a:gd name="connsiteX1" fmla="*/ 15822 w 18343"/>
                    <a:gd name="connsiteY1" fmla="*/ 2874 h 18426"/>
                    <a:gd name="connsiteX2" fmla="*/ 15523 w 18343"/>
                    <a:gd name="connsiteY2" fmla="*/ 15912 h 18426"/>
                    <a:gd name="connsiteX3" fmla="*/ 2545 w 18343"/>
                    <a:gd name="connsiteY3" fmla="*/ 15553 h 18426"/>
                    <a:gd name="connsiteX4" fmla="*/ 2844 w 18343"/>
                    <a:gd name="connsiteY4" fmla="*/ 25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6">
                      <a:moveTo>
                        <a:pt x="2844" y="2515"/>
                      </a:moveTo>
                      <a:cubicBezTo>
                        <a:pt x="6492" y="-954"/>
                        <a:pt x="12293" y="-834"/>
                        <a:pt x="15822" y="2874"/>
                      </a:cubicBezTo>
                      <a:cubicBezTo>
                        <a:pt x="19291" y="6582"/>
                        <a:pt x="19171" y="12383"/>
                        <a:pt x="15523" y="15912"/>
                      </a:cubicBezTo>
                      <a:cubicBezTo>
                        <a:pt x="11875" y="19381"/>
                        <a:pt x="6073" y="19261"/>
                        <a:pt x="2545" y="15553"/>
                      </a:cubicBezTo>
                      <a:cubicBezTo>
                        <a:pt x="-984" y="11845"/>
                        <a:pt x="-804" y="5984"/>
                        <a:pt x="2844" y="2515"/>
                      </a:cubicBezTo>
                      <a:close/>
                    </a:path>
                  </a:pathLst>
                </a:custGeom>
                <a:grpFill/>
                <a:ln w="5978" cap="flat">
                  <a:noFill/>
                  <a:prstDash val="solid"/>
                  <a:miter/>
                </a:ln>
              </p:spPr>
              <p:txBody>
                <a:bodyPr rtlCol="0" anchor="ctr"/>
                <a:lstStyle/>
                <a:p>
                  <a:endParaRPr lang="en-GB"/>
                </a:p>
              </p:txBody>
            </p:sp>
            <p:sp>
              <p:nvSpPr>
                <p:cNvPr id="4688" name="Vrije vorm: vorm 4687">
                  <a:extLst>
                    <a:ext uri="{FF2B5EF4-FFF2-40B4-BE49-F238E27FC236}">
                      <a16:creationId xmlns:a16="http://schemas.microsoft.com/office/drawing/2014/main" id="{82125601-1D0A-4FDC-9E29-824F1AE0E1DE}"/>
                    </a:ext>
                  </a:extLst>
                </p:cNvPr>
                <p:cNvSpPr/>
                <p:nvPr/>
              </p:nvSpPr>
              <p:spPr>
                <a:xfrm>
                  <a:off x="7270092" y="2242127"/>
                  <a:ext cx="18366" cy="18472"/>
                </a:xfrm>
                <a:custGeom>
                  <a:avLst/>
                  <a:gdLst>
                    <a:gd name="connsiteX0" fmla="*/ 2844 w 18366"/>
                    <a:gd name="connsiteY0" fmla="*/ 2538 h 18472"/>
                    <a:gd name="connsiteX1" fmla="*/ 2545 w 18366"/>
                    <a:gd name="connsiteY1" fmla="*/ 15576 h 18472"/>
                    <a:gd name="connsiteX2" fmla="*/ 15523 w 18366"/>
                    <a:gd name="connsiteY2" fmla="*/ 15935 h 18472"/>
                    <a:gd name="connsiteX3" fmla="*/ 15822 w 18366"/>
                    <a:gd name="connsiteY3" fmla="*/ 2897 h 18472"/>
                    <a:gd name="connsiteX4" fmla="*/ 2844 w 18366"/>
                    <a:gd name="connsiteY4" fmla="*/ 2538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2">
                      <a:moveTo>
                        <a:pt x="2844" y="2538"/>
                      </a:moveTo>
                      <a:cubicBezTo>
                        <a:pt x="-804" y="6007"/>
                        <a:pt x="-984" y="11868"/>
                        <a:pt x="2545" y="15576"/>
                      </a:cubicBezTo>
                      <a:cubicBezTo>
                        <a:pt x="6074" y="19284"/>
                        <a:pt x="11815" y="19464"/>
                        <a:pt x="15523" y="15935"/>
                      </a:cubicBezTo>
                      <a:cubicBezTo>
                        <a:pt x="19171" y="12466"/>
                        <a:pt x="19351" y="6605"/>
                        <a:pt x="15822" y="2897"/>
                      </a:cubicBezTo>
                      <a:cubicBezTo>
                        <a:pt x="12293" y="-811"/>
                        <a:pt x="6492" y="-991"/>
                        <a:pt x="2844" y="2538"/>
                      </a:cubicBezTo>
                      <a:close/>
                    </a:path>
                  </a:pathLst>
                </a:custGeom>
                <a:grpFill/>
                <a:ln w="5978" cap="flat">
                  <a:noFill/>
                  <a:prstDash val="solid"/>
                  <a:miter/>
                </a:ln>
              </p:spPr>
              <p:txBody>
                <a:bodyPr rtlCol="0" anchor="ctr"/>
                <a:lstStyle/>
                <a:p>
                  <a:endParaRPr lang="en-GB"/>
                </a:p>
              </p:txBody>
            </p:sp>
          </p:grpSp>
          <p:grpSp>
            <p:nvGrpSpPr>
              <p:cNvPr id="232" name="Graphic 3">
                <a:extLst>
                  <a:ext uri="{FF2B5EF4-FFF2-40B4-BE49-F238E27FC236}">
                    <a16:creationId xmlns:a16="http://schemas.microsoft.com/office/drawing/2014/main" id="{4243C2FE-BBA2-4A27-BD63-DE76D53AECBB}"/>
                  </a:ext>
                </a:extLst>
              </p:cNvPr>
              <p:cNvGrpSpPr/>
              <p:nvPr/>
            </p:nvGrpSpPr>
            <p:grpSpPr>
              <a:xfrm>
                <a:off x="7091645" y="1442656"/>
                <a:ext cx="26165" cy="33094"/>
                <a:chOff x="7091645" y="1442656"/>
                <a:chExt cx="26165" cy="33094"/>
              </a:xfrm>
              <a:grpFill/>
            </p:grpSpPr>
            <p:sp>
              <p:nvSpPr>
                <p:cNvPr id="4683" name="Vrije vorm: vorm 4682">
                  <a:extLst>
                    <a:ext uri="{FF2B5EF4-FFF2-40B4-BE49-F238E27FC236}">
                      <a16:creationId xmlns:a16="http://schemas.microsoft.com/office/drawing/2014/main" id="{40A5803D-5C85-433E-945B-B92FFEEA94AF}"/>
                    </a:ext>
                  </a:extLst>
                </p:cNvPr>
                <p:cNvSpPr/>
                <p:nvPr/>
              </p:nvSpPr>
              <p:spPr>
                <a:xfrm>
                  <a:off x="7099256" y="1450724"/>
                  <a:ext cx="10945" cy="16925"/>
                </a:xfrm>
                <a:custGeom>
                  <a:avLst/>
                  <a:gdLst>
                    <a:gd name="connsiteX0" fmla="*/ 10945 w 10945"/>
                    <a:gd name="connsiteY0" fmla="*/ 1495 h 16925"/>
                    <a:gd name="connsiteX1" fmla="*/ 2692 w 10945"/>
                    <a:gd name="connsiteY1" fmla="*/ 16925 h 16925"/>
                    <a:gd name="connsiteX2" fmla="*/ 0 w 10945"/>
                    <a:gd name="connsiteY2" fmla="*/ 15490 h 16925"/>
                    <a:gd name="connsiteX3" fmla="*/ 8253 w 10945"/>
                    <a:gd name="connsiteY3" fmla="*/ 0 h 16925"/>
                  </a:gdLst>
                  <a:ahLst/>
                  <a:cxnLst>
                    <a:cxn ang="0">
                      <a:pos x="connsiteX0" y="connsiteY0"/>
                    </a:cxn>
                    <a:cxn ang="0">
                      <a:pos x="connsiteX1" y="connsiteY1"/>
                    </a:cxn>
                    <a:cxn ang="0">
                      <a:pos x="connsiteX2" y="connsiteY2"/>
                    </a:cxn>
                    <a:cxn ang="0">
                      <a:pos x="connsiteX3" y="connsiteY3"/>
                    </a:cxn>
                  </a:cxnLst>
                  <a:rect l="l" t="t" r="r" b="b"/>
                  <a:pathLst>
                    <a:path w="10945" h="16925">
                      <a:moveTo>
                        <a:pt x="10945" y="1495"/>
                      </a:moveTo>
                      <a:lnTo>
                        <a:pt x="2692" y="16925"/>
                      </a:lnTo>
                      <a:lnTo>
                        <a:pt x="0" y="15490"/>
                      </a:lnTo>
                      <a:lnTo>
                        <a:pt x="8253" y="0"/>
                      </a:lnTo>
                      <a:close/>
                    </a:path>
                  </a:pathLst>
                </a:custGeom>
                <a:grpFill/>
                <a:ln w="5978" cap="flat">
                  <a:noFill/>
                  <a:prstDash val="solid"/>
                  <a:miter/>
                </a:ln>
              </p:spPr>
              <p:txBody>
                <a:bodyPr rtlCol="0" anchor="ctr"/>
                <a:lstStyle/>
                <a:p>
                  <a:endParaRPr lang="en-GB"/>
                </a:p>
              </p:txBody>
            </p:sp>
            <p:sp>
              <p:nvSpPr>
                <p:cNvPr id="4684" name="Vrije vorm: vorm 4683">
                  <a:extLst>
                    <a:ext uri="{FF2B5EF4-FFF2-40B4-BE49-F238E27FC236}">
                      <a16:creationId xmlns:a16="http://schemas.microsoft.com/office/drawing/2014/main" id="{5BDF50DF-AE1B-4BE4-A4F8-832CBD50D086}"/>
                    </a:ext>
                  </a:extLst>
                </p:cNvPr>
                <p:cNvSpPr/>
                <p:nvPr/>
              </p:nvSpPr>
              <p:spPr>
                <a:xfrm>
                  <a:off x="7091645" y="1457336"/>
                  <a:ext cx="18331" cy="18414"/>
                </a:xfrm>
                <a:custGeom>
                  <a:avLst/>
                  <a:gdLst>
                    <a:gd name="connsiteX0" fmla="*/ 17240 w 18331"/>
                    <a:gd name="connsiteY0" fmla="*/ 13603 h 18414"/>
                    <a:gd name="connsiteX1" fmla="*/ 4800 w 18331"/>
                    <a:gd name="connsiteY1" fmla="*/ 17311 h 18414"/>
                    <a:gd name="connsiteX2" fmla="*/ 1092 w 18331"/>
                    <a:gd name="connsiteY2" fmla="*/ 4812 h 18414"/>
                    <a:gd name="connsiteX3" fmla="*/ 13532 w 18331"/>
                    <a:gd name="connsiteY3" fmla="*/ 1103 h 18414"/>
                    <a:gd name="connsiteX4" fmla="*/ 17240 w 18331"/>
                    <a:gd name="connsiteY4" fmla="*/ 136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14">
                      <a:moveTo>
                        <a:pt x="17240" y="13603"/>
                      </a:moveTo>
                      <a:cubicBezTo>
                        <a:pt x="14848" y="18089"/>
                        <a:pt x="9285" y="19704"/>
                        <a:pt x="4800" y="17311"/>
                      </a:cubicBezTo>
                      <a:cubicBezTo>
                        <a:pt x="374" y="14859"/>
                        <a:pt x="-1301" y="9297"/>
                        <a:pt x="1092" y="4812"/>
                      </a:cubicBezTo>
                      <a:cubicBezTo>
                        <a:pt x="3484" y="326"/>
                        <a:pt x="9046" y="-1289"/>
                        <a:pt x="13532" y="1103"/>
                      </a:cubicBezTo>
                      <a:cubicBezTo>
                        <a:pt x="17958" y="3496"/>
                        <a:pt x="19632" y="9118"/>
                        <a:pt x="17240" y="13603"/>
                      </a:cubicBezTo>
                      <a:close/>
                    </a:path>
                  </a:pathLst>
                </a:custGeom>
                <a:grpFill/>
                <a:ln w="5978" cap="flat">
                  <a:noFill/>
                  <a:prstDash val="solid"/>
                  <a:miter/>
                </a:ln>
              </p:spPr>
              <p:txBody>
                <a:bodyPr rtlCol="0" anchor="ctr"/>
                <a:lstStyle/>
                <a:p>
                  <a:endParaRPr lang="en-GB"/>
                </a:p>
              </p:txBody>
            </p:sp>
            <p:sp>
              <p:nvSpPr>
                <p:cNvPr id="4685" name="Vrije vorm: vorm 4684">
                  <a:extLst>
                    <a:ext uri="{FF2B5EF4-FFF2-40B4-BE49-F238E27FC236}">
                      <a16:creationId xmlns:a16="http://schemas.microsoft.com/office/drawing/2014/main" id="{5A922B04-9E6D-4223-B759-FBD295BEDA3E}"/>
                    </a:ext>
                  </a:extLst>
                </p:cNvPr>
                <p:cNvSpPr/>
                <p:nvPr/>
              </p:nvSpPr>
              <p:spPr>
                <a:xfrm>
                  <a:off x="7099454" y="1442656"/>
                  <a:ext cx="18357" cy="18441"/>
                </a:xfrm>
                <a:custGeom>
                  <a:avLst/>
                  <a:gdLst>
                    <a:gd name="connsiteX0" fmla="*/ 17266 w 18357"/>
                    <a:gd name="connsiteY0" fmla="*/ 13630 h 18441"/>
                    <a:gd name="connsiteX1" fmla="*/ 13558 w 18357"/>
                    <a:gd name="connsiteY1" fmla="*/ 1130 h 18441"/>
                    <a:gd name="connsiteX2" fmla="*/ 1118 w 18357"/>
                    <a:gd name="connsiteY2" fmla="*/ 4838 h 18441"/>
                    <a:gd name="connsiteX3" fmla="*/ 4826 w 18357"/>
                    <a:gd name="connsiteY3" fmla="*/ 17338 h 18441"/>
                    <a:gd name="connsiteX4" fmla="*/ 17266 w 18357"/>
                    <a:gd name="connsiteY4" fmla="*/ 1363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1">
                      <a:moveTo>
                        <a:pt x="17266" y="13630"/>
                      </a:moveTo>
                      <a:cubicBezTo>
                        <a:pt x="19658" y="9144"/>
                        <a:pt x="17983" y="3582"/>
                        <a:pt x="13558" y="1130"/>
                      </a:cubicBezTo>
                      <a:cubicBezTo>
                        <a:pt x="9072" y="-1322"/>
                        <a:pt x="3570" y="352"/>
                        <a:pt x="1118" y="4838"/>
                      </a:cubicBezTo>
                      <a:cubicBezTo>
                        <a:pt x="-1334" y="9324"/>
                        <a:pt x="400" y="14886"/>
                        <a:pt x="4826" y="17338"/>
                      </a:cubicBezTo>
                      <a:cubicBezTo>
                        <a:pt x="9312" y="19730"/>
                        <a:pt x="14873" y="18115"/>
                        <a:pt x="17266" y="13630"/>
                      </a:cubicBezTo>
                      <a:close/>
                    </a:path>
                  </a:pathLst>
                </a:custGeom>
                <a:grpFill/>
                <a:ln w="5978" cap="flat">
                  <a:noFill/>
                  <a:prstDash val="solid"/>
                  <a:miter/>
                </a:ln>
              </p:spPr>
              <p:txBody>
                <a:bodyPr rtlCol="0" anchor="ctr"/>
                <a:lstStyle/>
                <a:p>
                  <a:endParaRPr lang="en-GB"/>
                </a:p>
              </p:txBody>
            </p:sp>
          </p:grpSp>
          <p:grpSp>
            <p:nvGrpSpPr>
              <p:cNvPr id="233" name="Graphic 3">
                <a:extLst>
                  <a:ext uri="{FF2B5EF4-FFF2-40B4-BE49-F238E27FC236}">
                    <a16:creationId xmlns:a16="http://schemas.microsoft.com/office/drawing/2014/main" id="{4D2C5653-5863-4FE1-B7D5-36FD95873E3A}"/>
                  </a:ext>
                </a:extLst>
              </p:cNvPr>
              <p:cNvGrpSpPr/>
              <p:nvPr/>
            </p:nvGrpSpPr>
            <p:grpSpPr>
              <a:xfrm>
                <a:off x="7257237" y="2086990"/>
                <a:ext cx="143096" cy="141788"/>
                <a:chOff x="7257237" y="2086990"/>
                <a:chExt cx="143096" cy="141788"/>
              </a:xfrm>
              <a:grpFill/>
            </p:grpSpPr>
            <p:sp>
              <p:nvSpPr>
                <p:cNvPr id="4680" name="Vrije vorm: vorm 4679">
                  <a:extLst>
                    <a:ext uri="{FF2B5EF4-FFF2-40B4-BE49-F238E27FC236}">
                      <a16:creationId xmlns:a16="http://schemas.microsoft.com/office/drawing/2014/main" id="{9AB3B94E-5E6B-4A25-B9A1-EE4B4E564ACF}"/>
                    </a:ext>
                  </a:extLst>
                </p:cNvPr>
                <p:cNvSpPr/>
                <p:nvPr/>
              </p:nvSpPr>
              <p:spPr>
                <a:xfrm>
                  <a:off x="7265042" y="2094788"/>
                  <a:ext cx="127508" cy="126133"/>
                </a:xfrm>
                <a:custGeom>
                  <a:avLst/>
                  <a:gdLst>
                    <a:gd name="connsiteX0" fmla="*/ 127509 w 127508"/>
                    <a:gd name="connsiteY0" fmla="*/ 2213 h 126133"/>
                    <a:gd name="connsiteX1" fmla="*/ 2153 w 127508"/>
                    <a:gd name="connsiteY1" fmla="*/ 126133 h 126133"/>
                    <a:gd name="connsiteX2" fmla="*/ 0 w 127508"/>
                    <a:gd name="connsiteY2" fmla="*/ 123980 h 126133"/>
                    <a:gd name="connsiteX3" fmla="*/ 125356 w 127508"/>
                    <a:gd name="connsiteY3" fmla="*/ 0 h 126133"/>
                  </a:gdLst>
                  <a:ahLst/>
                  <a:cxnLst>
                    <a:cxn ang="0">
                      <a:pos x="connsiteX0" y="connsiteY0"/>
                    </a:cxn>
                    <a:cxn ang="0">
                      <a:pos x="connsiteX1" y="connsiteY1"/>
                    </a:cxn>
                    <a:cxn ang="0">
                      <a:pos x="connsiteX2" y="connsiteY2"/>
                    </a:cxn>
                    <a:cxn ang="0">
                      <a:pos x="connsiteX3" y="connsiteY3"/>
                    </a:cxn>
                  </a:cxnLst>
                  <a:rect l="l" t="t" r="r" b="b"/>
                  <a:pathLst>
                    <a:path w="127508" h="126133">
                      <a:moveTo>
                        <a:pt x="127509" y="2213"/>
                      </a:moveTo>
                      <a:lnTo>
                        <a:pt x="2153" y="126133"/>
                      </a:lnTo>
                      <a:lnTo>
                        <a:pt x="0" y="123980"/>
                      </a:lnTo>
                      <a:lnTo>
                        <a:pt x="125356" y="0"/>
                      </a:lnTo>
                      <a:close/>
                    </a:path>
                  </a:pathLst>
                </a:custGeom>
                <a:grpFill/>
                <a:ln w="5978" cap="flat">
                  <a:noFill/>
                  <a:prstDash val="solid"/>
                  <a:miter/>
                </a:ln>
              </p:spPr>
              <p:txBody>
                <a:bodyPr rtlCol="0" anchor="ctr"/>
                <a:lstStyle/>
                <a:p>
                  <a:endParaRPr lang="en-GB"/>
                </a:p>
              </p:txBody>
            </p:sp>
            <p:sp>
              <p:nvSpPr>
                <p:cNvPr id="4681" name="Vrije vorm: vorm 4680">
                  <a:extLst>
                    <a:ext uri="{FF2B5EF4-FFF2-40B4-BE49-F238E27FC236}">
                      <a16:creationId xmlns:a16="http://schemas.microsoft.com/office/drawing/2014/main" id="{5FD10F6D-32F9-4842-AC7B-50B0B507D9D4}"/>
                    </a:ext>
                  </a:extLst>
                </p:cNvPr>
                <p:cNvSpPr/>
                <p:nvPr/>
              </p:nvSpPr>
              <p:spPr>
                <a:xfrm>
                  <a:off x="7381994" y="2086990"/>
                  <a:ext cx="18339" cy="18466"/>
                </a:xfrm>
                <a:custGeom>
                  <a:avLst/>
                  <a:gdLst>
                    <a:gd name="connsiteX0" fmla="*/ 2722 w 18339"/>
                    <a:gd name="connsiteY0" fmla="*/ 2654 h 18466"/>
                    <a:gd name="connsiteX1" fmla="*/ 15700 w 18339"/>
                    <a:gd name="connsiteY1" fmla="*/ 2774 h 18466"/>
                    <a:gd name="connsiteX2" fmla="*/ 15640 w 18339"/>
                    <a:gd name="connsiteY2" fmla="*/ 15812 h 18466"/>
                    <a:gd name="connsiteX3" fmla="*/ 2662 w 18339"/>
                    <a:gd name="connsiteY3" fmla="*/ 15692 h 18466"/>
                    <a:gd name="connsiteX4" fmla="*/ 2722 w 18339"/>
                    <a:gd name="connsiteY4" fmla="*/ 265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66">
                      <a:moveTo>
                        <a:pt x="2722" y="2654"/>
                      </a:moveTo>
                      <a:cubicBezTo>
                        <a:pt x="6310" y="-934"/>
                        <a:pt x="12111" y="-874"/>
                        <a:pt x="15700" y="2774"/>
                      </a:cubicBezTo>
                      <a:cubicBezTo>
                        <a:pt x="19229" y="6422"/>
                        <a:pt x="19229" y="12224"/>
                        <a:pt x="15640" y="15812"/>
                      </a:cubicBezTo>
                      <a:cubicBezTo>
                        <a:pt x="12051" y="19400"/>
                        <a:pt x="6250" y="19341"/>
                        <a:pt x="2662" y="15692"/>
                      </a:cubicBezTo>
                      <a:cubicBezTo>
                        <a:pt x="-927" y="12044"/>
                        <a:pt x="-867" y="6183"/>
                        <a:pt x="2722" y="2654"/>
                      </a:cubicBezTo>
                      <a:close/>
                    </a:path>
                  </a:pathLst>
                </a:custGeom>
                <a:grpFill/>
                <a:ln w="5978" cap="flat">
                  <a:noFill/>
                  <a:prstDash val="solid"/>
                  <a:miter/>
                </a:ln>
              </p:spPr>
              <p:txBody>
                <a:bodyPr rtlCol="0" anchor="ctr"/>
                <a:lstStyle/>
                <a:p>
                  <a:endParaRPr lang="en-GB"/>
                </a:p>
              </p:txBody>
            </p:sp>
            <p:sp>
              <p:nvSpPr>
                <p:cNvPr id="4682" name="Vrije vorm: vorm 4681">
                  <a:extLst>
                    <a:ext uri="{FF2B5EF4-FFF2-40B4-BE49-F238E27FC236}">
                      <a16:creationId xmlns:a16="http://schemas.microsoft.com/office/drawing/2014/main" id="{C80BEC71-52E1-4093-8EC9-77CA4C8FEC7B}"/>
                    </a:ext>
                  </a:extLst>
                </p:cNvPr>
                <p:cNvSpPr/>
                <p:nvPr/>
              </p:nvSpPr>
              <p:spPr>
                <a:xfrm>
                  <a:off x="7257237" y="2210313"/>
                  <a:ext cx="18361" cy="18466"/>
                </a:xfrm>
                <a:custGeom>
                  <a:avLst/>
                  <a:gdLst>
                    <a:gd name="connsiteX0" fmla="*/ 2721 w 18361"/>
                    <a:gd name="connsiteY0" fmla="*/ 2654 h 18466"/>
                    <a:gd name="connsiteX1" fmla="*/ 2662 w 18361"/>
                    <a:gd name="connsiteY1" fmla="*/ 15692 h 18466"/>
                    <a:gd name="connsiteX2" fmla="*/ 15640 w 18361"/>
                    <a:gd name="connsiteY2" fmla="*/ 15812 h 18466"/>
                    <a:gd name="connsiteX3" fmla="*/ 15700 w 18361"/>
                    <a:gd name="connsiteY3" fmla="*/ 2774 h 18466"/>
                    <a:gd name="connsiteX4" fmla="*/ 2721 w 18361"/>
                    <a:gd name="connsiteY4" fmla="*/ 265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66">
                      <a:moveTo>
                        <a:pt x="2721" y="2654"/>
                      </a:moveTo>
                      <a:cubicBezTo>
                        <a:pt x="-867" y="6243"/>
                        <a:pt x="-927" y="12044"/>
                        <a:pt x="2662" y="15692"/>
                      </a:cubicBezTo>
                      <a:cubicBezTo>
                        <a:pt x="6191" y="19341"/>
                        <a:pt x="12052" y="19400"/>
                        <a:pt x="15640" y="15812"/>
                      </a:cubicBezTo>
                      <a:cubicBezTo>
                        <a:pt x="19228" y="12283"/>
                        <a:pt x="19288" y="6422"/>
                        <a:pt x="15700" y="2774"/>
                      </a:cubicBezTo>
                      <a:cubicBezTo>
                        <a:pt x="12171" y="-874"/>
                        <a:pt x="6370" y="-934"/>
                        <a:pt x="2721" y="2654"/>
                      </a:cubicBezTo>
                      <a:close/>
                    </a:path>
                  </a:pathLst>
                </a:custGeom>
                <a:grpFill/>
                <a:ln w="5978" cap="flat">
                  <a:noFill/>
                  <a:prstDash val="solid"/>
                  <a:miter/>
                </a:ln>
              </p:spPr>
              <p:txBody>
                <a:bodyPr rtlCol="0" anchor="ctr"/>
                <a:lstStyle/>
                <a:p>
                  <a:endParaRPr lang="en-GB"/>
                </a:p>
              </p:txBody>
            </p:sp>
          </p:grpSp>
          <p:grpSp>
            <p:nvGrpSpPr>
              <p:cNvPr id="234" name="Graphic 3">
                <a:extLst>
                  <a:ext uri="{FF2B5EF4-FFF2-40B4-BE49-F238E27FC236}">
                    <a16:creationId xmlns:a16="http://schemas.microsoft.com/office/drawing/2014/main" id="{D64DE746-055E-4B60-A0FE-F7576ADBDDD1}"/>
                  </a:ext>
                </a:extLst>
              </p:cNvPr>
              <p:cNvGrpSpPr/>
              <p:nvPr/>
            </p:nvGrpSpPr>
            <p:grpSpPr>
              <a:xfrm>
                <a:off x="7905709" y="3885428"/>
                <a:ext cx="66122" cy="30656"/>
                <a:chOff x="7905709" y="3885428"/>
                <a:chExt cx="66122" cy="30656"/>
              </a:xfrm>
              <a:grpFill/>
            </p:grpSpPr>
            <p:sp>
              <p:nvSpPr>
                <p:cNvPr id="4677" name="Vrije vorm: vorm 4676">
                  <a:extLst>
                    <a:ext uri="{FF2B5EF4-FFF2-40B4-BE49-F238E27FC236}">
                      <a16:creationId xmlns:a16="http://schemas.microsoft.com/office/drawing/2014/main" id="{1EA398A0-C9AC-4024-8B61-648B75294F9E}"/>
                    </a:ext>
                  </a:extLst>
                </p:cNvPr>
                <p:cNvSpPr/>
                <p:nvPr/>
              </p:nvSpPr>
              <p:spPr>
                <a:xfrm>
                  <a:off x="7914070" y="3893011"/>
                  <a:ext cx="49400" cy="15489"/>
                </a:xfrm>
                <a:custGeom>
                  <a:avLst/>
                  <a:gdLst>
                    <a:gd name="connsiteX0" fmla="*/ 49400 w 49400"/>
                    <a:gd name="connsiteY0" fmla="*/ 12500 h 15489"/>
                    <a:gd name="connsiteX1" fmla="*/ 48623 w 49400"/>
                    <a:gd name="connsiteY1" fmla="*/ 15490 h 15489"/>
                    <a:gd name="connsiteX2" fmla="*/ 0 w 49400"/>
                    <a:gd name="connsiteY2" fmla="*/ 2990 h 15489"/>
                    <a:gd name="connsiteX3" fmla="*/ 777 w 49400"/>
                    <a:gd name="connsiteY3" fmla="*/ 0 h 15489"/>
                  </a:gdLst>
                  <a:ahLst/>
                  <a:cxnLst>
                    <a:cxn ang="0">
                      <a:pos x="connsiteX0" y="connsiteY0"/>
                    </a:cxn>
                    <a:cxn ang="0">
                      <a:pos x="connsiteX1" y="connsiteY1"/>
                    </a:cxn>
                    <a:cxn ang="0">
                      <a:pos x="connsiteX2" y="connsiteY2"/>
                    </a:cxn>
                    <a:cxn ang="0">
                      <a:pos x="connsiteX3" y="connsiteY3"/>
                    </a:cxn>
                  </a:cxnLst>
                  <a:rect l="l" t="t" r="r" b="b"/>
                  <a:pathLst>
                    <a:path w="49400" h="15489">
                      <a:moveTo>
                        <a:pt x="49400" y="12500"/>
                      </a:moveTo>
                      <a:lnTo>
                        <a:pt x="48623" y="15490"/>
                      </a:lnTo>
                      <a:lnTo>
                        <a:pt x="0" y="2990"/>
                      </a:lnTo>
                      <a:lnTo>
                        <a:pt x="777" y="0"/>
                      </a:lnTo>
                      <a:close/>
                    </a:path>
                  </a:pathLst>
                </a:custGeom>
                <a:grpFill/>
                <a:ln w="5978" cap="flat">
                  <a:noFill/>
                  <a:prstDash val="solid"/>
                  <a:miter/>
                </a:ln>
              </p:spPr>
              <p:txBody>
                <a:bodyPr rtlCol="0" anchor="ctr"/>
                <a:lstStyle/>
                <a:p>
                  <a:endParaRPr lang="en-GB"/>
                </a:p>
              </p:txBody>
            </p:sp>
            <p:sp>
              <p:nvSpPr>
                <p:cNvPr id="4678" name="Vrije vorm: vorm 4677">
                  <a:extLst>
                    <a:ext uri="{FF2B5EF4-FFF2-40B4-BE49-F238E27FC236}">
                      <a16:creationId xmlns:a16="http://schemas.microsoft.com/office/drawing/2014/main" id="{A96DEFFD-4177-431F-B5DF-324E52440F66}"/>
                    </a:ext>
                  </a:extLst>
                </p:cNvPr>
                <p:cNvSpPr/>
                <p:nvPr/>
              </p:nvSpPr>
              <p:spPr>
                <a:xfrm>
                  <a:off x="7905709" y="3885428"/>
                  <a:ext cx="18336" cy="18399"/>
                </a:xfrm>
                <a:custGeom>
                  <a:avLst/>
                  <a:gdLst>
                    <a:gd name="connsiteX0" fmla="*/ 6925 w 18336"/>
                    <a:gd name="connsiteY0" fmla="*/ 18109 h 18399"/>
                    <a:gd name="connsiteX1" fmla="*/ 287 w 18336"/>
                    <a:gd name="connsiteY1" fmla="*/ 6925 h 18399"/>
                    <a:gd name="connsiteX2" fmla="*/ 11411 w 18336"/>
                    <a:gd name="connsiteY2" fmla="*/ 287 h 18399"/>
                    <a:gd name="connsiteX3" fmla="*/ 18050 w 18336"/>
                    <a:gd name="connsiteY3" fmla="*/ 11471 h 18399"/>
                    <a:gd name="connsiteX4" fmla="*/ 6925 w 18336"/>
                    <a:gd name="connsiteY4" fmla="*/ 18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9">
                      <a:moveTo>
                        <a:pt x="6925" y="18109"/>
                      </a:moveTo>
                      <a:cubicBezTo>
                        <a:pt x="2021" y="16853"/>
                        <a:pt x="-969" y="11829"/>
                        <a:pt x="287" y="6925"/>
                      </a:cubicBezTo>
                      <a:cubicBezTo>
                        <a:pt x="1543" y="2021"/>
                        <a:pt x="6507" y="-969"/>
                        <a:pt x="11411" y="287"/>
                      </a:cubicBezTo>
                      <a:cubicBezTo>
                        <a:pt x="16315" y="1543"/>
                        <a:pt x="19306" y="6566"/>
                        <a:pt x="18050" y="11471"/>
                      </a:cubicBezTo>
                      <a:cubicBezTo>
                        <a:pt x="16853" y="16435"/>
                        <a:pt x="11830" y="19365"/>
                        <a:pt x="6925" y="18109"/>
                      </a:cubicBezTo>
                      <a:close/>
                    </a:path>
                  </a:pathLst>
                </a:custGeom>
                <a:grpFill/>
                <a:ln w="5978" cap="flat">
                  <a:noFill/>
                  <a:prstDash val="solid"/>
                  <a:miter/>
                </a:ln>
              </p:spPr>
              <p:txBody>
                <a:bodyPr rtlCol="0" anchor="ctr"/>
                <a:lstStyle/>
                <a:p>
                  <a:endParaRPr lang="en-GB"/>
                </a:p>
              </p:txBody>
            </p:sp>
            <p:sp>
              <p:nvSpPr>
                <p:cNvPr id="4679" name="Vrije vorm: vorm 4678">
                  <a:extLst>
                    <a:ext uri="{FF2B5EF4-FFF2-40B4-BE49-F238E27FC236}">
                      <a16:creationId xmlns:a16="http://schemas.microsoft.com/office/drawing/2014/main" id="{04B1843C-2803-40B6-9E57-9A99190F201A}"/>
                    </a:ext>
                  </a:extLst>
                </p:cNvPr>
                <p:cNvSpPr/>
                <p:nvPr/>
              </p:nvSpPr>
              <p:spPr>
                <a:xfrm>
                  <a:off x="7953495" y="3897689"/>
                  <a:ext cx="18336" cy="18395"/>
                </a:xfrm>
                <a:custGeom>
                  <a:avLst/>
                  <a:gdLst>
                    <a:gd name="connsiteX0" fmla="*/ 6926 w 18336"/>
                    <a:gd name="connsiteY0" fmla="*/ 18109 h 18395"/>
                    <a:gd name="connsiteX1" fmla="*/ 18050 w 18336"/>
                    <a:gd name="connsiteY1" fmla="*/ 11470 h 18395"/>
                    <a:gd name="connsiteX2" fmla="*/ 11411 w 18336"/>
                    <a:gd name="connsiteY2" fmla="*/ 287 h 18395"/>
                    <a:gd name="connsiteX3" fmla="*/ 287 w 18336"/>
                    <a:gd name="connsiteY3" fmla="*/ 6925 h 18395"/>
                    <a:gd name="connsiteX4" fmla="*/ 6926 w 18336"/>
                    <a:gd name="connsiteY4" fmla="*/ 18109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5">
                      <a:moveTo>
                        <a:pt x="6926" y="18109"/>
                      </a:moveTo>
                      <a:cubicBezTo>
                        <a:pt x="11830" y="19365"/>
                        <a:pt x="16793" y="16375"/>
                        <a:pt x="18050" y="11470"/>
                      </a:cubicBezTo>
                      <a:cubicBezTo>
                        <a:pt x="19306" y="6566"/>
                        <a:pt x="16315" y="1543"/>
                        <a:pt x="11411" y="287"/>
                      </a:cubicBezTo>
                      <a:cubicBezTo>
                        <a:pt x="6507" y="-969"/>
                        <a:pt x="1543" y="2021"/>
                        <a:pt x="287" y="6925"/>
                      </a:cubicBezTo>
                      <a:cubicBezTo>
                        <a:pt x="-969" y="11829"/>
                        <a:pt x="2021" y="16853"/>
                        <a:pt x="6926" y="18109"/>
                      </a:cubicBezTo>
                      <a:close/>
                    </a:path>
                  </a:pathLst>
                </a:custGeom>
                <a:grpFill/>
                <a:ln w="5978" cap="flat">
                  <a:noFill/>
                  <a:prstDash val="solid"/>
                  <a:miter/>
                </a:ln>
              </p:spPr>
              <p:txBody>
                <a:bodyPr rtlCol="0" anchor="ctr"/>
                <a:lstStyle/>
                <a:p>
                  <a:endParaRPr lang="en-GB"/>
                </a:p>
              </p:txBody>
            </p:sp>
          </p:grpSp>
          <p:grpSp>
            <p:nvGrpSpPr>
              <p:cNvPr id="235" name="Graphic 3">
                <a:extLst>
                  <a:ext uri="{FF2B5EF4-FFF2-40B4-BE49-F238E27FC236}">
                    <a16:creationId xmlns:a16="http://schemas.microsoft.com/office/drawing/2014/main" id="{DA59C9F9-F42E-4FFD-95B1-3699846A5949}"/>
                  </a:ext>
                </a:extLst>
              </p:cNvPr>
              <p:cNvGrpSpPr/>
              <p:nvPr/>
            </p:nvGrpSpPr>
            <p:grpSpPr>
              <a:xfrm>
                <a:off x="7867543" y="4261151"/>
                <a:ext cx="455426" cy="223208"/>
                <a:chOff x="7867543" y="4261151"/>
                <a:chExt cx="455426" cy="223208"/>
              </a:xfrm>
              <a:grpFill/>
            </p:grpSpPr>
            <p:sp>
              <p:nvSpPr>
                <p:cNvPr id="4674" name="Vrije vorm: vorm 4673">
                  <a:extLst>
                    <a:ext uri="{FF2B5EF4-FFF2-40B4-BE49-F238E27FC236}">
                      <a16:creationId xmlns:a16="http://schemas.microsoft.com/office/drawing/2014/main" id="{0797BEE4-3A62-43E6-9941-2900A9E9A347}"/>
                    </a:ext>
                  </a:extLst>
                </p:cNvPr>
                <p:cNvSpPr/>
                <p:nvPr/>
              </p:nvSpPr>
              <p:spPr>
                <a:xfrm>
                  <a:off x="7875614" y="4268780"/>
                  <a:ext cx="439223" cy="207949"/>
                </a:xfrm>
                <a:custGeom>
                  <a:avLst/>
                  <a:gdLst>
                    <a:gd name="connsiteX0" fmla="*/ 439224 w 439223"/>
                    <a:gd name="connsiteY0" fmla="*/ 205139 h 207949"/>
                    <a:gd name="connsiteX1" fmla="*/ 437968 w 439223"/>
                    <a:gd name="connsiteY1" fmla="*/ 207950 h 207949"/>
                    <a:gd name="connsiteX2" fmla="*/ 0 w 439223"/>
                    <a:gd name="connsiteY2" fmla="*/ 2751 h 207949"/>
                    <a:gd name="connsiteX3" fmla="*/ 1256 w 439223"/>
                    <a:gd name="connsiteY3" fmla="*/ 0 h 207949"/>
                  </a:gdLst>
                  <a:ahLst/>
                  <a:cxnLst>
                    <a:cxn ang="0">
                      <a:pos x="connsiteX0" y="connsiteY0"/>
                    </a:cxn>
                    <a:cxn ang="0">
                      <a:pos x="connsiteX1" y="connsiteY1"/>
                    </a:cxn>
                    <a:cxn ang="0">
                      <a:pos x="connsiteX2" y="connsiteY2"/>
                    </a:cxn>
                    <a:cxn ang="0">
                      <a:pos x="connsiteX3" y="connsiteY3"/>
                    </a:cxn>
                  </a:cxnLst>
                  <a:rect l="l" t="t" r="r" b="b"/>
                  <a:pathLst>
                    <a:path w="439223" h="207949">
                      <a:moveTo>
                        <a:pt x="439224" y="205139"/>
                      </a:moveTo>
                      <a:lnTo>
                        <a:pt x="437968" y="207950"/>
                      </a:lnTo>
                      <a:lnTo>
                        <a:pt x="0" y="2751"/>
                      </a:lnTo>
                      <a:lnTo>
                        <a:pt x="1256" y="0"/>
                      </a:lnTo>
                      <a:close/>
                    </a:path>
                  </a:pathLst>
                </a:custGeom>
                <a:grpFill/>
                <a:ln w="5978" cap="flat">
                  <a:noFill/>
                  <a:prstDash val="solid"/>
                  <a:miter/>
                </a:ln>
              </p:spPr>
              <p:txBody>
                <a:bodyPr rtlCol="0" anchor="ctr"/>
                <a:lstStyle/>
                <a:p>
                  <a:endParaRPr lang="en-GB"/>
                </a:p>
              </p:txBody>
            </p:sp>
            <p:sp>
              <p:nvSpPr>
                <p:cNvPr id="4675" name="Vrije vorm: vorm 4674">
                  <a:extLst>
                    <a:ext uri="{FF2B5EF4-FFF2-40B4-BE49-F238E27FC236}">
                      <a16:creationId xmlns:a16="http://schemas.microsoft.com/office/drawing/2014/main" id="{716BD27B-A91D-4509-A85E-915885DE3B59}"/>
                    </a:ext>
                  </a:extLst>
                </p:cNvPr>
                <p:cNvSpPr/>
                <p:nvPr/>
              </p:nvSpPr>
              <p:spPr>
                <a:xfrm>
                  <a:off x="8304674" y="4465930"/>
                  <a:ext cx="18295" cy="18428"/>
                </a:xfrm>
                <a:custGeom>
                  <a:avLst/>
                  <a:gdLst>
                    <a:gd name="connsiteX0" fmla="*/ 12975 w 18295"/>
                    <a:gd name="connsiteY0" fmla="*/ 871 h 18428"/>
                    <a:gd name="connsiteX1" fmla="*/ 17461 w 18295"/>
                    <a:gd name="connsiteY1" fmla="*/ 13132 h 18428"/>
                    <a:gd name="connsiteX2" fmla="*/ 5320 w 18295"/>
                    <a:gd name="connsiteY2" fmla="*/ 17557 h 18428"/>
                    <a:gd name="connsiteX3" fmla="*/ 834 w 18295"/>
                    <a:gd name="connsiteY3" fmla="*/ 5297 h 18428"/>
                    <a:gd name="connsiteX4" fmla="*/ 12975 w 18295"/>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28">
                      <a:moveTo>
                        <a:pt x="12975" y="871"/>
                      </a:moveTo>
                      <a:cubicBezTo>
                        <a:pt x="17581" y="3024"/>
                        <a:pt x="19554" y="8527"/>
                        <a:pt x="17461" y="13132"/>
                      </a:cubicBezTo>
                      <a:cubicBezTo>
                        <a:pt x="15308" y="17737"/>
                        <a:pt x="9865" y="19710"/>
                        <a:pt x="5320" y="17557"/>
                      </a:cubicBezTo>
                      <a:cubicBezTo>
                        <a:pt x="715" y="15405"/>
                        <a:pt x="-1259" y="9902"/>
                        <a:pt x="834" y="5297"/>
                      </a:cubicBezTo>
                      <a:cubicBezTo>
                        <a:pt x="2927" y="692"/>
                        <a:pt x="8370" y="-1282"/>
                        <a:pt x="12975" y="871"/>
                      </a:cubicBezTo>
                      <a:close/>
                    </a:path>
                  </a:pathLst>
                </a:custGeom>
                <a:grpFill/>
                <a:ln w="5978" cap="flat">
                  <a:noFill/>
                  <a:prstDash val="solid"/>
                  <a:miter/>
                </a:ln>
              </p:spPr>
              <p:txBody>
                <a:bodyPr rtlCol="0" anchor="ctr"/>
                <a:lstStyle/>
                <a:p>
                  <a:endParaRPr lang="en-GB"/>
                </a:p>
              </p:txBody>
            </p:sp>
            <p:sp>
              <p:nvSpPr>
                <p:cNvPr id="4676" name="Vrije vorm: vorm 4675">
                  <a:extLst>
                    <a:ext uri="{FF2B5EF4-FFF2-40B4-BE49-F238E27FC236}">
                      <a16:creationId xmlns:a16="http://schemas.microsoft.com/office/drawing/2014/main" id="{4693F4A5-C1AC-4473-9BCA-9A5410F3261B}"/>
                    </a:ext>
                  </a:extLst>
                </p:cNvPr>
                <p:cNvSpPr/>
                <p:nvPr/>
              </p:nvSpPr>
              <p:spPr>
                <a:xfrm>
                  <a:off x="7867543" y="4261151"/>
                  <a:ext cx="18295" cy="18428"/>
                </a:xfrm>
                <a:custGeom>
                  <a:avLst/>
                  <a:gdLst>
                    <a:gd name="connsiteX0" fmla="*/ 12975 w 18295"/>
                    <a:gd name="connsiteY0" fmla="*/ 871 h 18428"/>
                    <a:gd name="connsiteX1" fmla="*/ 835 w 18295"/>
                    <a:gd name="connsiteY1" fmla="*/ 5297 h 18428"/>
                    <a:gd name="connsiteX2" fmla="*/ 5320 w 18295"/>
                    <a:gd name="connsiteY2" fmla="*/ 17558 h 18428"/>
                    <a:gd name="connsiteX3" fmla="*/ 17460 w 18295"/>
                    <a:gd name="connsiteY3" fmla="*/ 13132 h 18428"/>
                    <a:gd name="connsiteX4" fmla="*/ 12975 w 18295"/>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28">
                      <a:moveTo>
                        <a:pt x="12975" y="871"/>
                      </a:moveTo>
                      <a:cubicBezTo>
                        <a:pt x="8370" y="-1282"/>
                        <a:pt x="2928" y="692"/>
                        <a:pt x="835" y="5297"/>
                      </a:cubicBezTo>
                      <a:cubicBezTo>
                        <a:pt x="-1259" y="9902"/>
                        <a:pt x="715" y="15404"/>
                        <a:pt x="5320" y="17558"/>
                      </a:cubicBezTo>
                      <a:cubicBezTo>
                        <a:pt x="9925" y="19710"/>
                        <a:pt x="15367" y="17737"/>
                        <a:pt x="17460" y="13132"/>
                      </a:cubicBezTo>
                      <a:cubicBezTo>
                        <a:pt x="19554" y="8467"/>
                        <a:pt x="17580" y="3024"/>
                        <a:pt x="12975" y="871"/>
                      </a:cubicBezTo>
                      <a:close/>
                    </a:path>
                  </a:pathLst>
                </a:custGeom>
                <a:grpFill/>
                <a:ln w="5978" cap="flat">
                  <a:noFill/>
                  <a:prstDash val="solid"/>
                  <a:miter/>
                </a:ln>
              </p:spPr>
              <p:txBody>
                <a:bodyPr rtlCol="0" anchor="ctr"/>
                <a:lstStyle/>
                <a:p>
                  <a:endParaRPr lang="en-GB"/>
                </a:p>
              </p:txBody>
            </p:sp>
          </p:grpSp>
          <p:grpSp>
            <p:nvGrpSpPr>
              <p:cNvPr id="236" name="Graphic 3">
                <a:extLst>
                  <a:ext uri="{FF2B5EF4-FFF2-40B4-BE49-F238E27FC236}">
                    <a16:creationId xmlns:a16="http://schemas.microsoft.com/office/drawing/2014/main" id="{B407C8E7-6E89-495A-AAAC-CB050956798A}"/>
                  </a:ext>
                </a:extLst>
              </p:cNvPr>
              <p:cNvGrpSpPr/>
              <p:nvPr/>
            </p:nvGrpSpPr>
            <p:grpSpPr>
              <a:xfrm>
                <a:off x="7784331" y="3924209"/>
                <a:ext cx="360909" cy="120195"/>
                <a:chOff x="7784331" y="3924209"/>
                <a:chExt cx="360909" cy="120195"/>
              </a:xfrm>
              <a:grpFill/>
            </p:grpSpPr>
            <p:sp>
              <p:nvSpPr>
                <p:cNvPr id="4671" name="Vrije vorm: vorm 4670">
                  <a:extLst>
                    <a:ext uri="{FF2B5EF4-FFF2-40B4-BE49-F238E27FC236}">
                      <a16:creationId xmlns:a16="http://schemas.microsoft.com/office/drawing/2014/main" id="{C44C5533-B6A6-42D5-96AC-A8A09864B67F}"/>
                    </a:ext>
                  </a:extLst>
                </p:cNvPr>
                <p:cNvSpPr/>
                <p:nvPr/>
              </p:nvSpPr>
              <p:spPr>
                <a:xfrm>
                  <a:off x="7792661" y="3931826"/>
                  <a:ext cx="344309" cy="104961"/>
                </a:xfrm>
                <a:custGeom>
                  <a:avLst/>
                  <a:gdLst>
                    <a:gd name="connsiteX0" fmla="*/ 344310 w 344309"/>
                    <a:gd name="connsiteY0" fmla="*/ 102031 h 104961"/>
                    <a:gd name="connsiteX1" fmla="*/ 343413 w 344309"/>
                    <a:gd name="connsiteY1" fmla="*/ 104962 h 104961"/>
                    <a:gd name="connsiteX2" fmla="*/ 0 w 344309"/>
                    <a:gd name="connsiteY2" fmla="*/ 2930 h 104961"/>
                    <a:gd name="connsiteX3" fmla="*/ 837 w 344309"/>
                    <a:gd name="connsiteY3" fmla="*/ 0 h 104961"/>
                  </a:gdLst>
                  <a:ahLst/>
                  <a:cxnLst>
                    <a:cxn ang="0">
                      <a:pos x="connsiteX0" y="connsiteY0"/>
                    </a:cxn>
                    <a:cxn ang="0">
                      <a:pos x="connsiteX1" y="connsiteY1"/>
                    </a:cxn>
                    <a:cxn ang="0">
                      <a:pos x="connsiteX2" y="connsiteY2"/>
                    </a:cxn>
                    <a:cxn ang="0">
                      <a:pos x="connsiteX3" y="connsiteY3"/>
                    </a:cxn>
                  </a:cxnLst>
                  <a:rect l="l" t="t" r="r" b="b"/>
                  <a:pathLst>
                    <a:path w="344309" h="104961">
                      <a:moveTo>
                        <a:pt x="344310" y="102031"/>
                      </a:moveTo>
                      <a:lnTo>
                        <a:pt x="343413" y="104962"/>
                      </a:lnTo>
                      <a:lnTo>
                        <a:pt x="0" y="2930"/>
                      </a:lnTo>
                      <a:lnTo>
                        <a:pt x="837" y="0"/>
                      </a:lnTo>
                      <a:close/>
                    </a:path>
                  </a:pathLst>
                </a:custGeom>
                <a:grpFill/>
                <a:ln w="5978" cap="flat">
                  <a:noFill/>
                  <a:prstDash val="solid"/>
                  <a:miter/>
                </a:ln>
              </p:spPr>
              <p:txBody>
                <a:bodyPr rtlCol="0" anchor="ctr"/>
                <a:lstStyle/>
                <a:p>
                  <a:endParaRPr lang="en-GB"/>
                </a:p>
              </p:txBody>
            </p:sp>
            <p:sp>
              <p:nvSpPr>
                <p:cNvPr id="4672" name="Vrije vorm: vorm 4671">
                  <a:extLst>
                    <a:ext uri="{FF2B5EF4-FFF2-40B4-BE49-F238E27FC236}">
                      <a16:creationId xmlns:a16="http://schemas.microsoft.com/office/drawing/2014/main" id="{05A8A02C-63FA-44A5-A0AA-7BA5FB1E2249}"/>
                    </a:ext>
                  </a:extLst>
                </p:cNvPr>
                <p:cNvSpPr/>
                <p:nvPr/>
              </p:nvSpPr>
              <p:spPr>
                <a:xfrm>
                  <a:off x="8126907" y="4025980"/>
                  <a:ext cx="18334" cy="18425"/>
                </a:xfrm>
                <a:custGeom>
                  <a:avLst/>
                  <a:gdLst>
                    <a:gd name="connsiteX0" fmla="*/ 11739 w 18334"/>
                    <a:gd name="connsiteY0" fmla="*/ 402 h 18425"/>
                    <a:gd name="connsiteX1" fmla="*/ 17959 w 18334"/>
                    <a:gd name="connsiteY1" fmla="*/ 11825 h 18425"/>
                    <a:gd name="connsiteX2" fmla="*/ 6596 w 18334"/>
                    <a:gd name="connsiteY2" fmla="*/ 18045 h 18425"/>
                    <a:gd name="connsiteX3" fmla="*/ 375 w 18334"/>
                    <a:gd name="connsiteY3" fmla="*/ 6622 h 18425"/>
                    <a:gd name="connsiteX4" fmla="*/ 11739 w 18334"/>
                    <a:gd name="connsiteY4" fmla="*/ 40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5">
                      <a:moveTo>
                        <a:pt x="11739" y="402"/>
                      </a:moveTo>
                      <a:cubicBezTo>
                        <a:pt x="16584" y="1837"/>
                        <a:pt x="19394" y="6980"/>
                        <a:pt x="17959" y="11825"/>
                      </a:cubicBezTo>
                      <a:cubicBezTo>
                        <a:pt x="16524" y="16729"/>
                        <a:pt x="11440" y="19480"/>
                        <a:pt x="6596" y="18045"/>
                      </a:cubicBezTo>
                      <a:cubicBezTo>
                        <a:pt x="1751" y="16609"/>
                        <a:pt x="-1060" y="11466"/>
                        <a:pt x="375" y="6622"/>
                      </a:cubicBezTo>
                      <a:cubicBezTo>
                        <a:pt x="1811" y="1717"/>
                        <a:pt x="6895" y="-1093"/>
                        <a:pt x="11739" y="402"/>
                      </a:cubicBezTo>
                      <a:close/>
                    </a:path>
                  </a:pathLst>
                </a:custGeom>
                <a:grpFill/>
                <a:ln w="5978" cap="flat">
                  <a:noFill/>
                  <a:prstDash val="solid"/>
                  <a:miter/>
                </a:ln>
              </p:spPr>
              <p:txBody>
                <a:bodyPr rtlCol="0" anchor="ctr"/>
                <a:lstStyle/>
                <a:p>
                  <a:endParaRPr lang="en-GB"/>
                </a:p>
              </p:txBody>
            </p:sp>
            <p:sp>
              <p:nvSpPr>
                <p:cNvPr id="4673" name="Vrije vorm: vorm 4672">
                  <a:extLst>
                    <a:ext uri="{FF2B5EF4-FFF2-40B4-BE49-F238E27FC236}">
                      <a16:creationId xmlns:a16="http://schemas.microsoft.com/office/drawing/2014/main" id="{BE07DF5E-D586-4E52-9E10-31FD5A5A9B68}"/>
                    </a:ext>
                  </a:extLst>
                </p:cNvPr>
                <p:cNvSpPr/>
                <p:nvPr/>
              </p:nvSpPr>
              <p:spPr>
                <a:xfrm>
                  <a:off x="7784331" y="3924209"/>
                  <a:ext cx="18338" cy="18403"/>
                </a:xfrm>
                <a:custGeom>
                  <a:avLst/>
                  <a:gdLst>
                    <a:gd name="connsiteX0" fmla="*/ 11738 w 18338"/>
                    <a:gd name="connsiteY0" fmla="*/ 380 h 18403"/>
                    <a:gd name="connsiteX1" fmla="*/ 376 w 18338"/>
                    <a:gd name="connsiteY1" fmla="*/ 6600 h 18403"/>
                    <a:gd name="connsiteX2" fmla="*/ 6595 w 18338"/>
                    <a:gd name="connsiteY2" fmla="*/ 18023 h 18403"/>
                    <a:gd name="connsiteX3" fmla="*/ 17959 w 18338"/>
                    <a:gd name="connsiteY3" fmla="*/ 11803 h 18403"/>
                    <a:gd name="connsiteX4" fmla="*/ 11738 w 18338"/>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3">
                      <a:moveTo>
                        <a:pt x="11738" y="380"/>
                      </a:moveTo>
                      <a:cubicBezTo>
                        <a:pt x="6894" y="-1055"/>
                        <a:pt x="1811" y="1696"/>
                        <a:pt x="376" y="6600"/>
                      </a:cubicBezTo>
                      <a:cubicBezTo>
                        <a:pt x="-1060" y="11504"/>
                        <a:pt x="1751" y="16588"/>
                        <a:pt x="6595" y="18023"/>
                      </a:cubicBezTo>
                      <a:cubicBezTo>
                        <a:pt x="11440" y="19459"/>
                        <a:pt x="16523" y="16707"/>
                        <a:pt x="17959" y="11803"/>
                      </a:cubicBezTo>
                      <a:cubicBezTo>
                        <a:pt x="19394" y="6959"/>
                        <a:pt x="16643" y="1815"/>
                        <a:pt x="11738" y="380"/>
                      </a:cubicBezTo>
                      <a:close/>
                    </a:path>
                  </a:pathLst>
                </a:custGeom>
                <a:grpFill/>
                <a:ln w="5978" cap="flat">
                  <a:noFill/>
                  <a:prstDash val="solid"/>
                  <a:miter/>
                </a:ln>
              </p:spPr>
              <p:txBody>
                <a:bodyPr rtlCol="0" anchor="ctr"/>
                <a:lstStyle/>
                <a:p>
                  <a:endParaRPr lang="en-GB"/>
                </a:p>
              </p:txBody>
            </p:sp>
          </p:grpSp>
          <p:grpSp>
            <p:nvGrpSpPr>
              <p:cNvPr id="237" name="Graphic 3">
                <a:extLst>
                  <a:ext uri="{FF2B5EF4-FFF2-40B4-BE49-F238E27FC236}">
                    <a16:creationId xmlns:a16="http://schemas.microsoft.com/office/drawing/2014/main" id="{C2E85751-B744-44B1-B818-1A3217685741}"/>
                  </a:ext>
                </a:extLst>
              </p:cNvPr>
              <p:cNvGrpSpPr/>
              <p:nvPr/>
            </p:nvGrpSpPr>
            <p:grpSpPr>
              <a:xfrm>
                <a:off x="7908168" y="4076608"/>
                <a:ext cx="178098" cy="75797"/>
                <a:chOff x="7908168" y="4076608"/>
                <a:chExt cx="178098" cy="75797"/>
              </a:xfrm>
              <a:grpFill/>
            </p:grpSpPr>
            <p:sp>
              <p:nvSpPr>
                <p:cNvPr id="4668" name="Vrije vorm: vorm 4667">
                  <a:extLst>
                    <a:ext uri="{FF2B5EF4-FFF2-40B4-BE49-F238E27FC236}">
                      <a16:creationId xmlns:a16="http://schemas.microsoft.com/office/drawing/2014/main" id="{A64E3BD0-460D-4669-B8ED-2CDB82C7FFFB}"/>
                    </a:ext>
                  </a:extLst>
                </p:cNvPr>
                <p:cNvSpPr/>
                <p:nvPr/>
              </p:nvSpPr>
              <p:spPr>
                <a:xfrm>
                  <a:off x="7916402" y="4084215"/>
                  <a:ext cx="161659" cy="60584"/>
                </a:xfrm>
                <a:custGeom>
                  <a:avLst/>
                  <a:gdLst>
                    <a:gd name="connsiteX0" fmla="*/ 161659 w 161659"/>
                    <a:gd name="connsiteY0" fmla="*/ 57714 h 60584"/>
                    <a:gd name="connsiteX1" fmla="*/ 160643 w 161659"/>
                    <a:gd name="connsiteY1" fmla="*/ 60585 h 60584"/>
                    <a:gd name="connsiteX2" fmla="*/ 0 w 161659"/>
                    <a:gd name="connsiteY2" fmla="*/ 2871 h 60584"/>
                    <a:gd name="connsiteX3" fmla="*/ 1017 w 161659"/>
                    <a:gd name="connsiteY3" fmla="*/ 0 h 60584"/>
                  </a:gdLst>
                  <a:ahLst/>
                  <a:cxnLst>
                    <a:cxn ang="0">
                      <a:pos x="connsiteX0" y="connsiteY0"/>
                    </a:cxn>
                    <a:cxn ang="0">
                      <a:pos x="connsiteX1" y="connsiteY1"/>
                    </a:cxn>
                    <a:cxn ang="0">
                      <a:pos x="connsiteX2" y="connsiteY2"/>
                    </a:cxn>
                    <a:cxn ang="0">
                      <a:pos x="connsiteX3" y="connsiteY3"/>
                    </a:cxn>
                  </a:cxnLst>
                  <a:rect l="l" t="t" r="r" b="b"/>
                  <a:pathLst>
                    <a:path w="161659" h="60584">
                      <a:moveTo>
                        <a:pt x="161659" y="57714"/>
                      </a:moveTo>
                      <a:lnTo>
                        <a:pt x="160643" y="60585"/>
                      </a:lnTo>
                      <a:lnTo>
                        <a:pt x="0" y="2871"/>
                      </a:lnTo>
                      <a:lnTo>
                        <a:pt x="1017" y="0"/>
                      </a:lnTo>
                      <a:close/>
                    </a:path>
                  </a:pathLst>
                </a:custGeom>
                <a:grpFill/>
                <a:ln w="5978" cap="flat">
                  <a:noFill/>
                  <a:prstDash val="solid"/>
                  <a:miter/>
                </a:ln>
              </p:spPr>
              <p:txBody>
                <a:bodyPr rtlCol="0" anchor="ctr"/>
                <a:lstStyle/>
                <a:p>
                  <a:endParaRPr lang="en-GB"/>
                </a:p>
              </p:txBody>
            </p:sp>
            <p:sp>
              <p:nvSpPr>
                <p:cNvPr id="4669" name="Vrije vorm: vorm 4668">
                  <a:extLst>
                    <a:ext uri="{FF2B5EF4-FFF2-40B4-BE49-F238E27FC236}">
                      <a16:creationId xmlns:a16="http://schemas.microsoft.com/office/drawing/2014/main" id="{EB8D5C8D-95F5-46C0-A7CA-D03D2F4382BE}"/>
                    </a:ext>
                  </a:extLst>
                </p:cNvPr>
                <p:cNvSpPr/>
                <p:nvPr/>
              </p:nvSpPr>
              <p:spPr>
                <a:xfrm>
                  <a:off x="8067883" y="4133963"/>
                  <a:ext cx="18383" cy="18443"/>
                </a:xfrm>
                <a:custGeom>
                  <a:avLst/>
                  <a:gdLst>
                    <a:gd name="connsiteX0" fmla="*/ 12272 w 18383"/>
                    <a:gd name="connsiteY0" fmla="*/ 549 h 18443"/>
                    <a:gd name="connsiteX1" fmla="*/ 17834 w 18383"/>
                    <a:gd name="connsiteY1" fmla="*/ 12332 h 18443"/>
                    <a:gd name="connsiteX2" fmla="*/ 6112 w 18383"/>
                    <a:gd name="connsiteY2" fmla="*/ 17894 h 18443"/>
                    <a:gd name="connsiteX3" fmla="*/ 550 w 18383"/>
                    <a:gd name="connsiteY3" fmla="*/ 6112 h 18443"/>
                    <a:gd name="connsiteX4" fmla="*/ 12272 w 18383"/>
                    <a:gd name="connsiteY4" fmla="*/ 54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43">
                      <a:moveTo>
                        <a:pt x="12272" y="549"/>
                      </a:moveTo>
                      <a:cubicBezTo>
                        <a:pt x="17056" y="2284"/>
                        <a:pt x="19569" y="7547"/>
                        <a:pt x="17834" y="12332"/>
                      </a:cubicBezTo>
                      <a:cubicBezTo>
                        <a:pt x="16159" y="17116"/>
                        <a:pt x="10896" y="19628"/>
                        <a:pt x="6112" y="17894"/>
                      </a:cubicBezTo>
                      <a:cubicBezTo>
                        <a:pt x="1327" y="16159"/>
                        <a:pt x="-1185" y="10896"/>
                        <a:pt x="550" y="6112"/>
                      </a:cubicBezTo>
                      <a:cubicBezTo>
                        <a:pt x="2284" y="1327"/>
                        <a:pt x="7487" y="-1185"/>
                        <a:pt x="12272" y="549"/>
                      </a:cubicBezTo>
                      <a:close/>
                    </a:path>
                  </a:pathLst>
                </a:custGeom>
                <a:grpFill/>
                <a:ln w="5978" cap="flat">
                  <a:noFill/>
                  <a:prstDash val="solid"/>
                  <a:miter/>
                </a:ln>
              </p:spPr>
              <p:txBody>
                <a:bodyPr rtlCol="0" anchor="ctr"/>
                <a:lstStyle/>
                <a:p>
                  <a:endParaRPr lang="en-GB"/>
                </a:p>
              </p:txBody>
            </p:sp>
            <p:sp>
              <p:nvSpPr>
                <p:cNvPr id="4670" name="Vrije vorm: vorm 4669">
                  <a:extLst>
                    <a:ext uri="{FF2B5EF4-FFF2-40B4-BE49-F238E27FC236}">
                      <a16:creationId xmlns:a16="http://schemas.microsoft.com/office/drawing/2014/main" id="{54D978B7-B00D-4275-8859-0DEC607FBE47}"/>
                    </a:ext>
                  </a:extLst>
                </p:cNvPr>
                <p:cNvSpPr/>
                <p:nvPr/>
              </p:nvSpPr>
              <p:spPr>
                <a:xfrm>
                  <a:off x="7908168" y="4076608"/>
                  <a:ext cx="18353" cy="18442"/>
                </a:xfrm>
                <a:custGeom>
                  <a:avLst/>
                  <a:gdLst>
                    <a:gd name="connsiteX0" fmla="*/ 12241 w 18353"/>
                    <a:gd name="connsiteY0" fmla="*/ 549 h 18442"/>
                    <a:gd name="connsiteX1" fmla="*/ 519 w 18353"/>
                    <a:gd name="connsiteY1" fmla="*/ 6111 h 18442"/>
                    <a:gd name="connsiteX2" fmla="*/ 6081 w 18353"/>
                    <a:gd name="connsiteY2" fmla="*/ 17893 h 18442"/>
                    <a:gd name="connsiteX3" fmla="*/ 17804 w 18353"/>
                    <a:gd name="connsiteY3" fmla="*/ 12331 h 18442"/>
                    <a:gd name="connsiteX4" fmla="*/ 12241 w 18353"/>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2">
                      <a:moveTo>
                        <a:pt x="12241" y="549"/>
                      </a:moveTo>
                      <a:cubicBezTo>
                        <a:pt x="7457" y="-1185"/>
                        <a:pt x="2253" y="1327"/>
                        <a:pt x="519" y="6111"/>
                      </a:cubicBezTo>
                      <a:cubicBezTo>
                        <a:pt x="-1155" y="10896"/>
                        <a:pt x="1357" y="16159"/>
                        <a:pt x="6081" y="17893"/>
                      </a:cubicBezTo>
                      <a:cubicBezTo>
                        <a:pt x="10866" y="19628"/>
                        <a:pt x="16069" y="17116"/>
                        <a:pt x="17804" y="12331"/>
                      </a:cubicBezTo>
                      <a:cubicBezTo>
                        <a:pt x="19538" y="7547"/>
                        <a:pt x="17026" y="2284"/>
                        <a:pt x="12241" y="549"/>
                      </a:cubicBezTo>
                      <a:close/>
                    </a:path>
                  </a:pathLst>
                </a:custGeom>
                <a:grpFill/>
                <a:ln w="5978" cap="flat">
                  <a:noFill/>
                  <a:prstDash val="solid"/>
                  <a:miter/>
                </a:ln>
              </p:spPr>
              <p:txBody>
                <a:bodyPr rtlCol="0" anchor="ctr"/>
                <a:lstStyle/>
                <a:p>
                  <a:endParaRPr lang="en-GB"/>
                </a:p>
              </p:txBody>
            </p:sp>
          </p:grpSp>
          <p:grpSp>
            <p:nvGrpSpPr>
              <p:cNvPr id="238" name="Graphic 3">
                <a:extLst>
                  <a:ext uri="{FF2B5EF4-FFF2-40B4-BE49-F238E27FC236}">
                    <a16:creationId xmlns:a16="http://schemas.microsoft.com/office/drawing/2014/main" id="{2F931656-2E71-47D2-96B0-5DF7448D505B}"/>
                  </a:ext>
                </a:extLst>
              </p:cNvPr>
              <p:cNvGrpSpPr/>
              <p:nvPr/>
            </p:nvGrpSpPr>
            <p:grpSpPr>
              <a:xfrm>
                <a:off x="7422498" y="2423150"/>
                <a:ext cx="47443" cy="38807"/>
                <a:chOff x="7422498" y="2423150"/>
                <a:chExt cx="47443" cy="38807"/>
              </a:xfrm>
              <a:grpFill/>
            </p:grpSpPr>
            <p:sp>
              <p:nvSpPr>
                <p:cNvPr id="4665" name="Vrije vorm: vorm 4664">
                  <a:extLst>
                    <a:ext uri="{FF2B5EF4-FFF2-40B4-BE49-F238E27FC236}">
                      <a16:creationId xmlns:a16="http://schemas.microsoft.com/office/drawing/2014/main" id="{C14B527B-9CA4-42AE-9D36-3D869E90DAC5}"/>
                    </a:ext>
                  </a:extLst>
                </p:cNvPr>
                <p:cNvSpPr/>
                <p:nvPr/>
              </p:nvSpPr>
              <p:spPr>
                <a:xfrm>
                  <a:off x="7430408" y="2430844"/>
                  <a:ext cx="31638" cy="23444"/>
                </a:xfrm>
                <a:custGeom>
                  <a:avLst/>
                  <a:gdLst>
                    <a:gd name="connsiteX0" fmla="*/ 31638 w 31638"/>
                    <a:gd name="connsiteY0" fmla="*/ 2512 h 23444"/>
                    <a:gd name="connsiteX1" fmla="*/ 1795 w 31638"/>
                    <a:gd name="connsiteY1" fmla="*/ 23445 h 23444"/>
                    <a:gd name="connsiteX2" fmla="*/ 0 w 31638"/>
                    <a:gd name="connsiteY2" fmla="*/ 20933 h 23444"/>
                    <a:gd name="connsiteX3" fmla="*/ 29904 w 31638"/>
                    <a:gd name="connsiteY3" fmla="*/ 0 h 23444"/>
                  </a:gdLst>
                  <a:ahLst/>
                  <a:cxnLst>
                    <a:cxn ang="0">
                      <a:pos x="connsiteX0" y="connsiteY0"/>
                    </a:cxn>
                    <a:cxn ang="0">
                      <a:pos x="connsiteX1" y="connsiteY1"/>
                    </a:cxn>
                    <a:cxn ang="0">
                      <a:pos x="connsiteX2" y="connsiteY2"/>
                    </a:cxn>
                    <a:cxn ang="0">
                      <a:pos x="connsiteX3" y="connsiteY3"/>
                    </a:cxn>
                  </a:cxnLst>
                  <a:rect l="l" t="t" r="r" b="b"/>
                  <a:pathLst>
                    <a:path w="31638" h="23444">
                      <a:moveTo>
                        <a:pt x="31638" y="2512"/>
                      </a:moveTo>
                      <a:lnTo>
                        <a:pt x="1795" y="23445"/>
                      </a:lnTo>
                      <a:lnTo>
                        <a:pt x="0" y="20933"/>
                      </a:lnTo>
                      <a:lnTo>
                        <a:pt x="29904" y="0"/>
                      </a:lnTo>
                      <a:close/>
                    </a:path>
                  </a:pathLst>
                </a:custGeom>
                <a:grpFill/>
                <a:ln w="5978" cap="flat">
                  <a:noFill/>
                  <a:prstDash val="solid"/>
                  <a:miter/>
                </a:ln>
              </p:spPr>
              <p:txBody>
                <a:bodyPr rtlCol="0" anchor="ctr"/>
                <a:lstStyle/>
                <a:p>
                  <a:endParaRPr lang="en-GB"/>
                </a:p>
              </p:txBody>
            </p:sp>
            <p:sp>
              <p:nvSpPr>
                <p:cNvPr id="4666" name="Vrije vorm: vorm 4665">
                  <a:extLst>
                    <a:ext uri="{FF2B5EF4-FFF2-40B4-BE49-F238E27FC236}">
                      <a16:creationId xmlns:a16="http://schemas.microsoft.com/office/drawing/2014/main" id="{17365DD5-60B2-4329-BD15-596C9D1DEA5B}"/>
                    </a:ext>
                  </a:extLst>
                </p:cNvPr>
                <p:cNvSpPr/>
                <p:nvPr/>
              </p:nvSpPr>
              <p:spPr>
                <a:xfrm>
                  <a:off x="7451624" y="2423150"/>
                  <a:ext cx="18316" cy="18439"/>
                </a:xfrm>
                <a:custGeom>
                  <a:avLst/>
                  <a:gdLst>
                    <a:gd name="connsiteX0" fmla="*/ 3904 w 18316"/>
                    <a:gd name="connsiteY0" fmla="*/ 1654 h 18439"/>
                    <a:gd name="connsiteX1" fmla="*/ 16643 w 18316"/>
                    <a:gd name="connsiteY1" fmla="*/ 3987 h 18439"/>
                    <a:gd name="connsiteX2" fmla="*/ 14370 w 18316"/>
                    <a:gd name="connsiteY2" fmla="*/ 16786 h 18439"/>
                    <a:gd name="connsiteX3" fmla="*/ 1631 w 18316"/>
                    <a:gd name="connsiteY3" fmla="*/ 14453 h 18439"/>
                    <a:gd name="connsiteX4" fmla="*/ 3904 w 18316"/>
                    <a:gd name="connsiteY4" fmla="*/ 165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9">
                      <a:moveTo>
                        <a:pt x="3904" y="1654"/>
                      </a:moveTo>
                      <a:cubicBezTo>
                        <a:pt x="8031" y="-1276"/>
                        <a:pt x="13773" y="-200"/>
                        <a:pt x="16643" y="3987"/>
                      </a:cubicBezTo>
                      <a:cubicBezTo>
                        <a:pt x="19574" y="8173"/>
                        <a:pt x="18557" y="13915"/>
                        <a:pt x="14370" y="16786"/>
                      </a:cubicBezTo>
                      <a:cubicBezTo>
                        <a:pt x="10243" y="19716"/>
                        <a:pt x="4502" y="18640"/>
                        <a:pt x="1631" y="14453"/>
                      </a:cubicBezTo>
                      <a:cubicBezTo>
                        <a:pt x="-1239" y="10326"/>
                        <a:pt x="-223" y="4585"/>
                        <a:pt x="3904" y="1654"/>
                      </a:cubicBezTo>
                      <a:close/>
                    </a:path>
                  </a:pathLst>
                </a:custGeom>
                <a:grpFill/>
                <a:ln w="5978" cap="flat">
                  <a:noFill/>
                  <a:prstDash val="solid"/>
                  <a:miter/>
                </a:ln>
              </p:spPr>
              <p:txBody>
                <a:bodyPr rtlCol="0" anchor="ctr"/>
                <a:lstStyle/>
                <a:p>
                  <a:endParaRPr lang="en-GB"/>
                </a:p>
              </p:txBody>
            </p:sp>
            <p:sp>
              <p:nvSpPr>
                <p:cNvPr id="4667" name="Vrije vorm: vorm 4666">
                  <a:extLst>
                    <a:ext uri="{FF2B5EF4-FFF2-40B4-BE49-F238E27FC236}">
                      <a16:creationId xmlns:a16="http://schemas.microsoft.com/office/drawing/2014/main" id="{8EF3D473-F7B0-4A6A-AC0D-51F362A89B62}"/>
                    </a:ext>
                  </a:extLst>
                </p:cNvPr>
                <p:cNvSpPr/>
                <p:nvPr/>
              </p:nvSpPr>
              <p:spPr>
                <a:xfrm>
                  <a:off x="7422498" y="2443544"/>
                  <a:ext cx="18274" cy="18413"/>
                </a:xfrm>
                <a:custGeom>
                  <a:avLst/>
                  <a:gdLst>
                    <a:gd name="connsiteX0" fmla="*/ 3904 w 18274"/>
                    <a:gd name="connsiteY0" fmla="*/ 1654 h 18413"/>
                    <a:gd name="connsiteX1" fmla="*/ 1631 w 18274"/>
                    <a:gd name="connsiteY1" fmla="*/ 14453 h 18413"/>
                    <a:gd name="connsiteX2" fmla="*/ 14370 w 18274"/>
                    <a:gd name="connsiteY2" fmla="*/ 16786 h 18413"/>
                    <a:gd name="connsiteX3" fmla="*/ 16643 w 18274"/>
                    <a:gd name="connsiteY3" fmla="*/ 3987 h 18413"/>
                    <a:gd name="connsiteX4" fmla="*/ 3904 w 18274"/>
                    <a:gd name="connsiteY4" fmla="*/ 165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13">
                      <a:moveTo>
                        <a:pt x="3904" y="1654"/>
                      </a:moveTo>
                      <a:cubicBezTo>
                        <a:pt x="-223" y="4585"/>
                        <a:pt x="-1239" y="10326"/>
                        <a:pt x="1631" y="14453"/>
                      </a:cubicBezTo>
                      <a:cubicBezTo>
                        <a:pt x="4562" y="18640"/>
                        <a:pt x="10243" y="19656"/>
                        <a:pt x="14370" y="16786"/>
                      </a:cubicBezTo>
                      <a:cubicBezTo>
                        <a:pt x="18497" y="13855"/>
                        <a:pt x="19514" y="8113"/>
                        <a:pt x="16643" y="3987"/>
                      </a:cubicBezTo>
                      <a:cubicBezTo>
                        <a:pt x="13773" y="-200"/>
                        <a:pt x="8090" y="-1276"/>
                        <a:pt x="3904" y="1654"/>
                      </a:cubicBezTo>
                      <a:close/>
                    </a:path>
                  </a:pathLst>
                </a:custGeom>
                <a:grpFill/>
                <a:ln w="5978" cap="flat">
                  <a:noFill/>
                  <a:prstDash val="solid"/>
                  <a:miter/>
                </a:ln>
              </p:spPr>
              <p:txBody>
                <a:bodyPr rtlCol="0" anchor="ctr"/>
                <a:lstStyle/>
                <a:p>
                  <a:endParaRPr lang="en-GB"/>
                </a:p>
              </p:txBody>
            </p:sp>
          </p:grpSp>
          <p:grpSp>
            <p:nvGrpSpPr>
              <p:cNvPr id="239" name="Graphic 3">
                <a:extLst>
                  <a:ext uri="{FF2B5EF4-FFF2-40B4-BE49-F238E27FC236}">
                    <a16:creationId xmlns:a16="http://schemas.microsoft.com/office/drawing/2014/main" id="{C1EF9176-E4F5-4EE3-A60A-403390060894}"/>
                  </a:ext>
                </a:extLst>
              </p:cNvPr>
              <p:cNvGrpSpPr/>
              <p:nvPr/>
            </p:nvGrpSpPr>
            <p:grpSpPr>
              <a:xfrm>
                <a:off x="7180612" y="1859714"/>
                <a:ext cx="181179" cy="212797"/>
                <a:chOff x="7180612" y="1859714"/>
                <a:chExt cx="181179" cy="212797"/>
              </a:xfrm>
              <a:grpFill/>
            </p:grpSpPr>
            <p:sp>
              <p:nvSpPr>
                <p:cNvPr id="4662" name="Vrije vorm: vorm 4661">
                  <a:extLst>
                    <a:ext uri="{FF2B5EF4-FFF2-40B4-BE49-F238E27FC236}">
                      <a16:creationId xmlns:a16="http://schemas.microsoft.com/office/drawing/2014/main" id="{CC181A0D-074E-4180-802B-DA3B92FC374D}"/>
                    </a:ext>
                  </a:extLst>
                </p:cNvPr>
                <p:cNvSpPr/>
                <p:nvPr/>
              </p:nvSpPr>
              <p:spPr>
                <a:xfrm>
                  <a:off x="7188309" y="1867580"/>
                  <a:ext cx="165786" cy="197064"/>
                </a:xfrm>
                <a:custGeom>
                  <a:avLst/>
                  <a:gdLst>
                    <a:gd name="connsiteX0" fmla="*/ 165786 w 165786"/>
                    <a:gd name="connsiteY0" fmla="*/ 1974 h 197064"/>
                    <a:gd name="connsiteX1" fmla="*/ 2333 w 165786"/>
                    <a:gd name="connsiteY1" fmla="*/ 197065 h 197064"/>
                    <a:gd name="connsiteX2" fmla="*/ 0 w 165786"/>
                    <a:gd name="connsiteY2" fmla="*/ 195091 h 197064"/>
                    <a:gd name="connsiteX3" fmla="*/ 163454 w 165786"/>
                    <a:gd name="connsiteY3" fmla="*/ 0 h 197064"/>
                  </a:gdLst>
                  <a:ahLst/>
                  <a:cxnLst>
                    <a:cxn ang="0">
                      <a:pos x="connsiteX0" y="connsiteY0"/>
                    </a:cxn>
                    <a:cxn ang="0">
                      <a:pos x="connsiteX1" y="connsiteY1"/>
                    </a:cxn>
                    <a:cxn ang="0">
                      <a:pos x="connsiteX2" y="connsiteY2"/>
                    </a:cxn>
                    <a:cxn ang="0">
                      <a:pos x="connsiteX3" y="connsiteY3"/>
                    </a:cxn>
                  </a:cxnLst>
                  <a:rect l="l" t="t" r="r" b="b"/>
                  <a:pathLst>
                    <a:path w="165786" h="197064">
                      <a:moveTo>
                        <a:pt x="165786" y="1974"/>
                      </a:moveTo>
                      <a:lnTo>
                        <a:pt x="2333" y="197065"/>
                      </a:lnTo>
                      <a:lnTo>
                        <a:pt x="0" y="195091"/>
                      </a:lnTo>
                      <a:lnTo>
                        <a:pt x="163454" y="0"/>
                      </a:lnTo>
                      <a:close/>
                    </a:path>
                  </a:pathLst>
                </a:custGeom>
                <a:grpFill/>
                <a:ln w="5978" cap="flat">
                  <a:noFill/>
                  <a:prstDash val="solid"/>
                  <a:miter/>
                </a:ln>
              </p:spPr>
              <p:txBody>
                <a:bodyPr rtlCol="0" anchor="ctr"/>
                <a:lstStyle/>
                <a:p>
                  <a:endParaRPr lang="en-GB"/>
                </a:p>
              </p:txBody>
            </p:sp>
            <p:sp>
              <p:nvSpPr>
                <p:cNvPr id="4663" name="Vrije vorm: vorm 4662">
                  <a:extLst>
                    <a:ext uri="{FF2B5EF4-FFF2-40B4-BE49-F238E27FC236}">
                      <a16:creationId xmlns:a16="http://schemas.microsoft.com/office/drawing/2014/main" id="{276E4D49-7516-4DAD-A3E9-DC841713BF05}"/>
                    </a:ext>
                  </a:extLst>
                </p:cNvPr>
                <p:cNvSpPr/>
                <p:nvPr/>
              </p:nvSpPr>
              <p:spPr>
                <a:xfrm>
                  <a:off x="7343467" y="1859714"/>
                  <a:ext cx="18324" cy="18423"/>
                </a:xfrm>
                <a:custGeom>
                  <a:avLst/>
                  <a:gdLst>
                    <a:gd name="connsiteX0" fmla="*/ 2135 w 18324"/>
                    <a:gd name="connsiteY0" fmla="*/ 3261 h 18423"/>
                    <a:gd name="connsiteX1" fmla="*/ 15054 w 18324"/>
                    <a:gd name="connsiteY1" fmla="*/ 2185 h 18423"/>
                    <a:gd name="connsiteX2" fmla="*/ 16190 w 18324"/>
                    <a:gd name="connsiteY2" fmla="*/ 15163 h 18423"/>
                    <a:gd name="connsiteX3" fmla="*/ 3271 w 18324"/>
                    <a:gd name="connsiteY3" fmla="*/ 16239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5365" y="-626"/>
                        <a:pt x="11166" y="-1105"/>
                        <a:pt x="15054" y="2185"/>
                      </a:cubicBezTo>
                      <a:cubicBezTo>
                        <a:pt x="18941" y="5474"/>
                        <a:pt x="19419" y="11275"/>
                        <a:pt x="16190" y="15163"/>
                      </a:cubicBezTo>
                      <a:cubicBezTo>
                        <a:pt x="12960" y="19050"/>
                        <a:pt x="7159" y="19529"/>
                        <a:pt x="3271" y="16239"/>
                      </a:cubicBezTo>
                      <a:cubicBezTo>
                        <a:pt x="-616" y="12950"/>
                        <a:pt x="-1095" y="7149"/>
                        <a:pt x="2135" y="3261"/>
                      </a:cubicBezTo>
                      <a:close/>
                    </a:path>
                  </a:pathLst>
                </a:custGeom>
                <a:grpFill/>
                <a:ln w="5978" cap="flat">
                  <a:noFill/>
                  <a:prstDash val="solid"/>
                  <a:miter/>
                </a:ln>
              </p:spPr>
              <p:txBody>
                <a:bodyPr rtlCol="0" anchor="ctr"/>
                <a:lstStyle/>
                <a:p>
                  <a:endParaRPr lang="en-GB"/>
                </a:p>
              </p:txBody>
            </p:sp>
            <p:sp>
              <p:nvSpPr>
                <p:cNvPr id="4664" name="Vrije vorm: vorm 4663">
                  <a:extLst>
                    <a:ext uri="{FF2B5EF4-FFF2-40B4-BE49-F238E27FC236}">
                      <a16:creationId xmlns:a16="http://schemas.microsoft.com/office/drawing/2014/main" id="{369FDFEF-3DF1-4D81-9521-84FBD197B75D}"/>
                    </a:ext>
                  </a:extLst>
                </p:cNvPr>
                <p:cNvSpPr/>
                <p:nvPr/>
              </p:nvSpPr>
              <p:spPr>
                <a:xfrm>
                  <a:off x="7180612" y="2054087"/>
                  <a:ext cx="18324" cy="18423"/>
                </a:xfrm>
                <a:custGeom>
                  <a:avLst/>
                  <a:gdLst>
                    <a:gd name="connsiteX0" fmla="*/ 2135 w 18324"/>
                    <a:gd name="connsiteY0" fmla="*/ 3261 h 18423"/>
                    <a:gd name="connsiteX1" fmla="*/ 3271 w 18324"/>
                    <a:gd name="connsiteY1" fmla="*/ 16239 h 18423"/>
                    <a:gd name="connsiteX2" fmla="*/ 16190 w 18324"/>
                    <a:gd name="connsiteY2" fmla="*/ 15163 h 18423"/>
                    <a:gd name="connsiteX3" fmla="*/ 15053 w 18324"/>
                    <a:gd name="connsiteY3" fmla="*/ 2185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1095" y="7149"/>
                        <a:pt x="-616" y="12950"/>
                        <a:pt x="3271" y="16239"/>
                      </a:cubicBezTo>
                      <a:cubicBezTo>
                        <a:pt x="7159" y="19529"/>
                        <a:pt x="12900" y="19050"/>
                        <a:pt x="16190" y="15163"/>
                      </a:cubicBezTo>
                      <a:cubicBezTo>
                        <a:pt x="19420" y="11275"/>
                        <a:pt x="18941" y="5474"/>
                        <a:pt x="15053" y="2185"/>
                      </a:cubicBezTo>
                      <a:cubicBezTo>
                        <a:pt x="11166" y="-1105"/>
                        <a:pt x="5364" y="-626"/>
                        <a:pt x="2135" y="3261"/>
                      </a:cubicBezTo>
                      <a:close/>
                    </a:path>
                  </a:pathLst>
                </a:custGeom>
                <a:grpFill/>
                <a:ln w="5978" cap="flat">
                  <a:noFill/>
                  <a:prstDash val="solid"/>
                  <a:miter/>
                </a:ln>
              </p:spPr>
              <p:txBody>
                <a:bodyPr rtlCol="0" anchor="ctr"/>
                <a:lstStyle/>
                <a:p>
                  <a:endParaRPr lang="en-GB"/>
                </a:p>
              </p:txBody>
            </p:sp>
          </p:grpSp>
          <p:grpSp>
            <p:nvGrpSpPr>
              <p:cNvPr id="240" name="Graphic 3">
                <a:extLst>
                  <a:ext uri="{FF2B5EF4-FFF2-40B4-BE49-F238E27FC236}">
                    <a16:creationId xmlns:a16="http://schemas.microsoft.com/office/drawing/2014/main" id="{A8A064D1-635D-4CEB-B989-E3D2424506D3}"/>
                  </a:ext>
                </a:extLst>
              </p:cNvPr>
              <p:cNvGrpSpPr/>
              <p:nvPr/>
            </p:nvGrpSpPr>
            <p:grpSpPr>
              <a:xfrm>
                <a:off x="7200287" y="1757804"/>
                <a:ext cx="48948" cy="61063"/>
                <a:chOff x="7200287" y="1757804"/>
                <a:chExt cx="48948" cy="61063"/>
              </a:xfrm>
              <a:grpFill/>
            </p:grpSpPr>
            <p:sp>
              <p:nvSpPr>
                <p:cNvPr id="4659" name="Vrije vorm: vorm 4658">
                  <a:extLst>
                    <a:ext uri="{FF2B5EF4-FFF2-40B4-BE49-F238E27FC236}">
                      <a16:creationId xmlns:a16="http://schemas.microsoft.com/office/drawing/2014/main" id="{754099B0-8640-4F67-98F4-DF7D5F4E04F6}"/>
                    </a:ext>
                  </a:extLst>
                </p:cNvPr>
                <p:cNvSpPr/>
                <p:nvPr/>
              </p:nvSpPr>
              <p:spPr>
                <a:xfrm>
                  <a:off x="7207926" y="1765788"/>
                  <a:ext cx="33611" cy="45154"/>
                </a:xfrm>
                <a:custGeom>
                  <a:avLst/>
                  <a:gdLst>
                    <a:gd name="connsiteX0" fmla="*/ 33612 w 33611"/>
                    <a:gd name="connsiteY0" fmla="*/ 1794 h 45154"/>
                    <a:gd name="connsiteX1" fmla="*/ 2452 w 33611"/>
                    <a:gd name="connsiteY1" fmla="*/ 45154 h 45154"/>
                    <a:gd name="connsiteX2" fmla="*/ 0 w 33611"/>
                    <a:gd name="connsiteY2" fmla="*/ 43360 h 45154"/>
                    <a:gd name="connsiteX3" fmla="*/ 31159 w 33611"/>
                    <a:gd name="connsiteY3" fmla="*/ 0 h 45154"/>
                  </a:gdLst>
                  <a:ahLst/>
                  <a:cxnLst>
                    <a:cxn ang="0">
                      <a:pos x="connsiteX0" y="connsiteY0"/>
                    </a:cxn>
                    <a:cxn ang="0">
                      <a:pos x="connsiteX1" y="connsiteY1"/>
                    </a:cxn>
                    <a:cxn ang="0">
                      <a:pos x="connsiteX2" y="connsiteY2"/>
                    </a:cxn>
                    <a:cxn ang="0">
                      <a:pos x="connsiteX3" y="connsiteY3"/>
                    </a:cxn>
                  </a:cxnLst>
                  <a:rect l="l" t="t" r="r" b="b"/>
                  <a:pathLst>
                    <a:path w="33611" h="45154">
                      <a:moveTo>
                        <a:pt x="33612" y="1794"/>
                      </a:moveTo>
                      <a:lnTo>
                        <a:pt x="2452" y="45154"/>
                      </a:lnTo>
                      <a:lnTo>
                        <a:pt x="0" y="43360"/>
                      </a:lnTo>
                      <a:lnTo>
                        <a:pt x="31159" y="0"/>
                      </a:lnTo>
                      <a:close/>
                    </a:path>
                  </a:pathLst>
                </a:custGeom>
                <a:grpFill/>
                <a:ln w="5978" cap="flat">
                  <a:noFill/>
                  <a:prstDash val="solid"/>
                  <a:miter/>
                </a:ln>
              </p:spPr>
              <p:txBody>
                <a:bodyPr rtlCol="0" anchor="ctr"/>
                <a:lstStyle/>
                <a:p>
                  <a:endParaRPr lang="en-GB"/>
                </a:p>
              </p:txBody>
            </p:sp>
            <p:sp>
              <p:nvSpPr>
                <p:cNvPr id="4660" name="Vrije vorm: vorm 4659">
                  <a:extLst>
                    <a:ext uri="{FF2B5EF4-FFF2-40B4-BE49-F238E27FC236}">
                      <a16:creationId xmlns:a16="http://schemas.microsoft.com/office/drawing/2014/main" id="{AC73FCE1-D2F1-4347-B933-F55B25F110C6}"/>
                    </a:ext>
                  </a:extLst>
                </p:cNvPr>
                <p:cNvSpPr/>
                <p:nvPr/>
              </p:nvSpPr>
              <p:spPr>
                <a:xfrm>
                  <a:off x="7230882" y="1757804"/>
                  <a:ext cx="18353" cy="18421"/>
                </a:xfrm>
                <a:custGeom>
                  <a:avLst/>
                  <a:gdLst>
                    <a:gd name="connsiteX0" fmla="*/ 1744 w 18353"/>
                    <a:gd name="connsiteY0" fmla="*/ 3798 h 18421"/>
                    <a:gd name="connsiteX1" fmla="*/ 14543 w 18353"/>
                    <a:gd name="connsiteY1" fmla="*/ 1765 h 18421"/>
                    <a:gd name="connsiteX2" fmla="*/ 16636 w 18353"/>
                    <a:gd name="connsiteY2" fmla="*/ 14623 h 18421"/>
                    <a:gd name="connsiteX3" fmla="*/ 3837 w 18353"/>
                    <a:gd name="connsiteY3" fmla="*/ 16657 h 18421"/>
                    <a:gd name="connsiteX4" fmla="*/ 1744 w 1835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1">
                      <a:moveTo>
                        <a:pt x="1744" y="3798"/>
                      </a:moveTo>
                      <a:cubicBezTo>
                        <a:pt x="4674" y="-329"/>
                        <a:pt x="10416" y="-1226"/>
                        <a:pt x="14543" y="1765"/>
                      </a:cubicBezTo>
                      <a:cubicBezTo>
                        <a:pt x="18669" y="4755"/>
                        <a:pt x="19566" y="10496"/>
                        <a:pt x="16636" y="14623"/>
                      </a:cubicBezTo>
                      <a:cubicBezTo>
                        <a:pt x="13705" y="18750"/>
                        <a:pt x="7964" y="19647"/>
                        <a:pt x="3837" y="16657"/>
                      </a:cubicBezTo>
                      <a:cubicBezTo>
                        <a:pt x="-289" y="13726"/>
                        <a:pt x="-1247" y="7925"/>
                        <a:pt x="1744" y="3798"/>
                      </a:cubicBezTo>
                      <a:close/>
                    </a:path>
                  </a:pathLst>
                </a:custGeom>
                <a:grpFill/>
                <a:ln w="5978" cap="flat">
                  <a:noFill/>
                  <a:prstDash val="solid"/>
                  <a:miter/>
                </a:ln>
              </p:spPr>
              <p:txBody>
                <a:bodyPr rtlCol="0" anchor="ctr"/>
                <a:lstStyle/>
                <a:p>
                  <a:endParaRPr lang="en-GB"/>
                </a:p>
              </p:txBody>
            </p:sp>
            <p:sp>
              <p:nvSpPr>
                <p:cNvPr id="4661" name="Vrije vorm: vorm 4660">
                  <a:extLst>
                    <a:ext uri="{FF2B5EF4-FFF2-40B4-BE49-F238E27FC236}">
                      <a16:creationId xmlns:a16="http://schemas.microsoft.com/office/drawing/2014/main" id="{71B227E3-EF91-427E-9700-62E21763BA02}"/>
                    </a:ext>
                  </a:extLst>
                </p:cNvPr>
                <p:cNvSpPr/>
                <p:nvPr/>
              </p:nvSpPr>
              <p:spPr>
                <a:xfrm>
                  <a:off x="7200287" y="1800446"/>
                  <a:ext cx="18327" cy="18421"/>
                </a:xfrm>
                <a:custGeom>
                  <a:avLst/>
                  <a:gdLst>
                    <a:gd name="connsiteX0" fmla="*/ 1718 w 18327"/>
                    <a:gd name="connsiteY0" fmla="*/ 3798 h 18421"/>
                    <a:gd name="connsiteX1" fmla="*/ 3811 w 18327"/>
                    <a:gd name="connsiteY1" fmla="*/ 16657 h 18421"/>
                    <a:gd name="connsiteX2" fmla="*/ 16610 w 18327"/>
                    <a:gd name="connsiteY2" fmla="*/ 14623 h 18421"/>
                    <a:gd name="connsiteX3" fmla="*/ 14517 w 18327"/>
                    <a:gd name="connsiteY3" fmla="*/ 1765 h 18421"/>
                    <a:gd name="connsiteX4" fmla="*/ 1718 w 18327"/>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1">
                      <a:moveTo>
                        <a:pt x="1718" y="3798"/>
                      </a:moveTo>
                      <a:cubicBezTo>
                        <a:pt x="-1213" y="7925"/>
                        <a:pt x="-315" y="13666"/>
                        <a:pt x="3811" y="16657"/>
                      </a:cubicBezTo>
                      <a:cubicBezTo>
                        <a:pt x="7938" y="19647"/>
                        <a:pt x="13619" y="18750"/>
                        <a:pt x="16610" y="14623"/>
                      </a:cubicBezTo>
                      <a:cubicBezTo>
                        <a:pt x="19540" y="10496"/>
                        <a:pt x="18643" y="4755"/>
                        <a:pt x="14517" y="1765"/>
                      </a:cubicBezTo>
                      <a:cubicBezTo>
                        <a:pt x="10390" y="-1226"/>
                        <a:pt x="4648" y="-329"/>
                        <a:pt x="1718" y="3798"/>
                      </a:cubicBezTo>
                      <a:close/>
                    </a:path>
                  </a:pathLst>
                </a:custGeom>
                <a:grpFill/>
                <a:ln w="5978" cap="flat">
                  <a:noFill/>
                  <a:prstDash val="solid"/>
                  <a:miter/>
                </a:ln>
              </p:spPr>
              <p:txBody>
                <a:bodyPr rtlCol="0" anchor="ctr"/>
                <a:lstStyle/>
                <a:p>
                  <a:endParaRPr lang="en-GB"/>
                </a:p>
              </p:txBody>
            </p:sp>
          </p:grpSp>
          <p:grpSp>
            <p:nvGrpSpPr>
              <p:cNvPr id="241" name="Graphic 3">
                <a:extLst>
                  <a:ext uri="{FF2B5EF4-FFF2-40B4-BE49-F238E27FC236}">
                    <a16:creationId xmlns:a16="http://schemas.microsoft.com/office/drawing/2014/main" id="{3868DB75-E351-4EEA-887F-0BC6F39046DE}"/>
                  </a:ext>
                </a:extLst>
              </p:cNvPr>
              <p:cNvGrpSpPr/>
              <p:nvPr/>
            </p:nvGrpSpPr>
            <p:grpSpPr>
              <a:xfrm>
                <a:off x="7141198" y="1715067"/>
                <a:ext cx="187341" cy="244740"/>
                <a:chOff x="7141198" y="1715067"/>
                <a:chExt cx="187341" cy="244740"/>
              </a:xfrm>
              <a:grpFill/>
            </p:grpSpPr>
            <p:sp>
              <p:nvSpPr>
                <p:cNvPr id="4656" name="Vrije vorm: vorm 4655">
                  <a:extLst>
                    <a:ext uri="{FF2B5EF4-FFF2-40B4-BE49-F238E27FC236}">
                      <a16:creationId xmlns:a16="http://schemas.microsoft.com/office/drawing/2014/main" id="{1153D0CF-F8FA-48FE-861E-EEEBB0D61637}"/>
                    </a:ext>
                  </a:extLst>
                </p:cNvPr>
                <p:cNvSpPr/>
                <p:nvPr/>
              </p:nvSpPr>
              <p:spPr>
                <a:xfrm>
                  <a:off x="7148836" y="1722966"/>
                  <a:ext cx="172005" cy="228882"/>
                </a:xfrm>
                <a:custGeom>
                  <a:avLst/>
                  <a:gdLst>
                    <a:gd name="connsiteX0" fmla="*/ 172006 w 172005"/>
                    <a:gd name="connsiteY0" fmla="*/ 1854 h 228882"/>
                    <a:gd name="connsiteX1" fmla="*/ 2452 w 172005"/>
                    <a:gd name="connsiteY1" fmla="*/ 228882 h 228882"/>
                    <a:gd name="connsiteX2" fmla="*/ 0 w 172005"/>
                    <a:gd name="connsiteY2" fmla="*/ 227028 h 228882"/>
                    <a:gd name="connsiteX3" fmla="*/ 169613 w 172005"/>
                    <a:gd name="connsiteY3" fmla="*/ 0 h 228882"/>
                  </a:gdLst>
                  <a:ahLst/>
                  <a:cxnLst>
                    <a:cxn ang="0">
                      <a:pos x="connsiteX0" y="connsiteY0"/>
                    </a:cxn>
                    <a:cxn ang="0">
                      <a:pos x="connsiteX1" y="connsiteY1"/>
                    </a:cxn>
                    <a:cxn ang="0">
                      <a:pos x="connsiteX2" y="connsiteY2"/>
                    </a:cxn>
                    <a:cxn ang="0">
                      <a:pos x="connsiteX3" y="connsiteY3"/>
                    </a:cxn>
                  </a:cxnLst>
                  <a:rect l="l" t="t" r="r" b="b"/>
                  <a:pathLst>
                    <a:path w="172005" h="228882">
                      <a:moveTo>
                        <a:pt x="172006" y="1854"/>
                      </a:moveTo>
                      <a:lnTo>
                        <a:pt x="2452" y="228882"/>
                      </a:lnTo>
                      <a:lnTo>
                        <a:pt x="0" y="227028"/>
                      </a:lnTo>
                      <a:lnTo>
                        <a:pt x="169613" y="0"/>
                      </a:lnTo>
                      <a:close/>
                    </a:path>
                  </a:pathLst>
                </a:custGeom>
                <a:grpFill/>
                <a:ln w="5978" cap="flat">
                  <a:noFill/>
                  <a:prstDash val="solid"/>
                  <a:miter/>
                </a:ln>
              </p:spPr>
              <p:txBody>
                <a:bodyPr rtlCol="0" anchor="ctr"/>
                <a:lstStyle/>
                <a:p>
                  <a:endParaRPr lang="en-GB"/>
                </a:p>
              </p:txBody>
            </p:sp>
            <p:sp>
              <p:nvSpPr>
                <p:cNvPr id="4657" name="Vrije vorm: vorm 4656">
                  <a:extLst>
                    <a:ext uri="{FF2B5EF4-FFF2-40B4-BE49-F238E27FC236}">
                      <a16:creationId xmlns:a16="http://schemas.microsoft.com/office/drawing/2014/main" id="{6021C246-C56F-4A60-9DDA-EE0372BB6666}"/>
                    </a:ext>
                  </a:extLst>
                </p:cNvPr>
                <p:cNvSpPr/>
                <p:nvPr/>
              </p:nvSpPr>
              <p:spPr>
                <a:xfrm>
                  <a:off x="7310210" y="1715067"/>
                  <a:ext cx="18330" cy="18429"/>
                </a:xfrm>
                <a:custGeom>
                  <a:avLst/>
                  <a:gdLst>
                    <a:gd name="connsiteX0" fmla="*/ 1841 w 18330"/>
                    <a:gd name="connsiteY0" fmla="*/ 3653 h 18429"/>
                    <a:gd name="connsiteX1" fmla="*/ 14640 w 18330"/>
                    <a:gd name="connsiteY1" fmla="*/ 1858 h 18429"/>
                    <a:gd name="connsiteX2" fmla="*/ 16493 w 18330"/>
                    <a:gd name="connsiteY2" fmla="*/ 14777 h 18429"/>
                    <a:gd name="connsiteX3" fmla="*/ 3635 w 18330"/>
                    <a:gd name="connsiteY3" fmla="*/ 16571 h 18429"/>
                    <a:gd name="connsiteX4" fmla="*/ 1841 w 18330"/>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29">
                      <a:moveTo>
                        <a:pt x="1841" y="3653"/>
                      </a:moveTo>
                      <a:cubicBezTo>
                        <a:pt x="4891" y="-414"/>
                        <a:pt x="10632" y="-1192"/>
                        <a:pt x="14640" y="1858"/>
                      </a:cubicBezTo>
                      <a:cubicBezTo>
                        <a:pt x="18706" y="4909"/>
                        <a:pt x="19544" y="10710"/>
                        <a:pt x="16493" y="14777"/>
                      </a:cubicBezTo>
                      <a:cubicBezTo>
                        <a:pt x="13443" y="18844"/>
                        <a:pt x="7702" y="19621"/>
                        <a:pt x="3635" y="16571"/>
                      </a:cubicBezTo>
                      <a:cubicBezTo>
                        <a:pt x="-372" y="13461"/>
                        <a:pt x="-1209" y="7720"/>
                        <a:pt x="1841" y="3653"/>
                      </a:cubicBezTo>
                      <a:close/>
                    </a:path>
                  </a:pathLst>
                </a:custGeom>
                <a:grpFill/>
                <a:ln w="5978" cap="flat">
                  <a:noFill/>
                  <a:prstDash val="solid"/>
                  <a:miter/>
                </a:ln>
              </p:spPr>
              <p:txBody>
                <a:bodyPr rtlCol="0" anchor="ctr"/>
                <a:lstStyle/>
                <a:p>
                  <a:endParaRPr lang="en-GB"/>
                </a:p>
              </p:txBody>
            </p:sp>
            <p:sp>
              <p:nvSpPr>
                <p:cNvPr id="4658" name="Vrije vorm: vorm 4657">
                  <a:extLst>
                    <a:ext uri="{FF2B5EF4-FFF2-40B4-BE49-F238E27FC236}">
                      <a16:creationId xmlns:a16="http://schemas.microsoft.com/office/drawing/2014/main" id="{25FB06F3-8FD7-45F0-A317-67B52DBD0569}"/>
                    </a:ext>
                  </a:extLst>
                </p:cNvPr>
                <p:cNvSpPr/>
                <p:nvPr/>
              </p:nvSpPr>
              <p:spPr>
                <a:xfrm>
                  <a:off x="7141198" y="1941352"/>
                  <a:ext cx="18385" cy="18455"/>
                </a:xfrm>
                <a:custGeom>
                  <a:avLst/>
                  <a:gdLst>
                    <a:gd name="connsiteX0" fmla="*/ 1837 w 18385"/>
                    <a:gd name="connsiteY0" fmla="*/ 3678 h 18455"/>
                    <a:gd name="connsiteX1" fmla="*/ 3690 w 18385"/>
                    <a:gd name="connsiteY1" fmla="*/ 16597 h 18455"/>
                    <a:gd name="connsiteX2" fmla="*/ 16549 w 18385"/>
                    <a:gd name="connsiteY2" fmla="*/ 14802 h 18455"/>
                    <a:gd name="connsiteX3" fmla="*/ 14695 w 18385"/>
                    <a:gd name="connsiteY3" fmla="*/ 1884 h 18455"/>
                    <a:gd name="connsiteX4" fmla="*/ 1837 w 18385"/>
                    <a:gd name="connsiteY4" fmla="*/ 3678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5" h="18455">
                      <a:moveTo>
                        <a:pt x="1837" y="3678"/>
                      </a:moveTo>
                      <a:cubicBezTo>
                        <a:pt x="-1213" y="7745"/>
                        <a:pt x="-376" y="13547"/>
                        <a:pt x="3690" y="16597"/>
                      </a:cubicBezTo>
                      <a:cubicBezTo>
                        <a:pt x="7758" y="19647"/>
                        <a:pt x="13499" y="18869"/>
                        <a:pt x="16549" y="14802"/>
                      </a:cubicBezTo>
                      <a:cubicBezTo>
                        <a:pt x="19599" y="10736"/>
                        <a:pt x="18762" y="4994"/>
                        <a:pt x="14695" y="1884"/>
                      </a:cubicBezTo>
                      <a:cubicBezTo>
                        <a:pt x="10628" y="-1226"/>
                        <a:pt x="4827" y="-389"/>
                        <a:pt x="1837" y="3678"/>
                      </a:cubicBezTo>
                      <a:close/>
                    </a:path>
                  </a:pathLst>
                </a:custGeom>
                <a:grpFill/>
                <a:ln w="5978" cap="flat">
                  <a:noFill/>
                  <a:prstDash val="solid"/>
                  <a:miter/>
                </a:ln>
              </p:spPr>
              <p:txBody>
                <a:bodyPr rtlCol="0" anchor="ctr"/>
                <a:lstStyle/>
                <a:p>
                  <a:endParaRPr lang="en-GB"/>
                </a:p>
              </p:txBody>
            </p:sp>
          </p:grpSp>
          <p:grpSp>
            <p:nvGrpSpPr>
              <p:cNvPr id="242" name="Graphic 3">
                <a:extLst>
                  <a:ext uri="{FF2B5EF4-FFF2-40B4-BE49-F238E27FC236}">
                    <a16:creationId xmlns:a16="http://schemas.microsoft.com/office/drawing/2014/main" id="{7D93397D-1846-4201-92D7-DB7181AAEC38}"/>
                  </a:ext>
                </a:extLst>
              </p:cNvPr>
              <p:cNvGrpSpPr/>
              <p:nvPr/>
            </p:nvGrpSpPr>
            <p:grpSpPr>
              <a:xfrm>
                <a:off x="7375340" y="2353232"/>
                <a:ext cx="80371" cy="65514"/>
                <a:chOff x="7375340" y="2353232"/>
                <a:chExt cx="80371" cy="65514"/>
              </a:xfrm>
              <a:grpFill/>
            </p:grpSpPr>
            <p:sp>
              <p:nvSpPr>
                <p:cNvPr id="4653" name="Vrije vorm: vorm 4652">
                  <a:extLst>
                    <a:ext uri="{FF2B5EF4-FFF2-40B4-BE49-F238E27FC236}">
                      <a16:creationId xmlns:a16="http://schemas.microsoft.com/office/drawing/2014/main" id="{6EA0D031-4394-44CD-B51E-AE9AF9220D7C}"/>
                    </a:ext>
                  </a:extLst>
                </p:cNvPr>
                <p:cNvSpPr/>
                <p:nvPr/>
              </p:nvSpPr>
              <p:spPr>
                <a:xfrm>
                  <a:off x="7383221" y="2360930"/>
                  <a:ext cx="64591" cy="50058"/>
                </a:xfrm>
                <a:custGeom>
                  <a:avLst/>
                  <a:gdLst>
                    <a:gd name="connsiteX0" fmla="*/ 64591 w 64591"/>
                    <a:gd name="connsiteY0" fmla="*/ 2452 h 50058"/>
                    <a:gd name="connsiteX1" fmla="*/ 1854 w 64591"/>
                    <a:gd name="connsiteY1" fmla="*/ 50059 h 50058"/>
                    <a:gd name="connsiteX2" fmla="*/ 0 w 64591"/>
                    <a:gd name="connsiteY2" fmla="*/ 47607 h 50058"/>
                    <a:gd name="connsiteX3" fmla="*/ 62798 w 64591"/>
                    <a:gd name="connsiteY3" fmla="*/ 0 h 50058"/>
                  </a:gdLst>
                  <a:ahLst/>
                  <a:cxnLst>
                    <a:cxn ang="0">
                      <a:pos x="connsiteX0" y="connsiteY0"/>
                    </a:cxn>
                    <a:cxn ang="0">
                      <a:pos x="connsiteX1" y="connsiteY1"/>
                    </a:cxn>
                    <a:cxn ang="0">
                      <a:pos x="connsiteX2" y="connsiteY2"/>
                    </a:cxn>
                    <a:cxn ang="0">
                      <a:pos x="connsiteX3" y="connsiteY3"/>
                    </a:cxn>
                  </a:cxnLst>
                  <a:rect l="l" t="t" r="r" b="b"/>
                  <a:pathLst>
                    <a:path w="64591" h="50058">
                      <a:moveTo>
                        <a:pt x="64591" y="2452"/>
                      </a:moveTo>
                      <a:lnTo>
                        <a:pt x="1854" y="50059"/>
                      </a:lnTo>
                      <a:lnTo>
                        <a:pt x="0" y="47607"/>
                      </a:lnTo>
                      <a:lnTo>
                        <a:pt x="62798" y="0"/>
                      </a:lnTo>
                      <a:close/>
                    </a:path>
                  </a:pathLst>
                </a:custGeom>
                <a:grpFill/>
                <a:ln w="5978" cap="flat">
                  <a:noFill/>
                  <a:prstDash val="solid"/>
                  <a:miter/>
                </a:ln>
              </p:spPr>
              <p:txBody>
                <a:bodyPr rtlCol="0" anchor="ctr"/>
                <a:lstStyle/>
                <a:p>
                  <a:endParaRPr lang="en-GB"/>
                </a:p>
              </p:txBody>
            </p:sp>
            <p:sp>
              <p:nvSpPr>
                <p:cNvPr id="4654" name="Vrije vorm: vorm 4653">
                  <a:extLst>
                    <a:ext uri="{FF2B5EF4-FFF2-40B4-BE49-F238E27FC236}">
                      <a16:creationId xmlns:a16="http://schemas.microsoft.com/office/drawing/2014/main" id="{F5D14716-6A3F-45B1-A202-3D38E19365F5}"/>
                    </a:ext>
                  </a:extLst>
                </p:cNvPr>
                <p:cNvSpPr/>
                <p:nvPr/>
              </p:nvSpPr>
              <p:spPr>
                <a:xfrm>
                  <a:off x="7437385" y="2353232"/>
                  <a:ext cx="18326" cy="18445"/>
                </a:xfrm>
                <a:custGeom>
                  <a:avLst/>
                  <a:gdLst>
                    <a:gd name="connsiteX0" fmla="*/ 3609 w 18326"/>
                    <a:gd name="connsiteY0" fmla="*/ 1837 h 18445"/>
                    <a:gd name="connsiteX1" fmla="*/ 16468 w 18326"/>
                    <a:gd name="connsiteY1" fmla="*/ 3691 h 18445"/>
                    <a:gd name="connsiteX2" fmla="*/ 14674 w 18326"/>
                    <a:gd name="connsiteY2" fmla="*/ 16609 h 18445"/>
                    <a:gd name="connsiteX3" fmla="*/ 1815 w 18326"/>
                    <a:gd name="connsiteY3" fmla="*/ 14755 h 18445"/>
                    <a:gd name="connsiteX4" fmla="*/ 3609 w 18326"/>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45">
                      <a:moveTo>
                        <a:pt x="3609" y="1837"/>
                      </a:moveTo>
                      <a:cubicBezTo>
                        <a:pt x="7616" y="-1213"/>
                        <a:pt x="13417" y="-376"/>
                        <a:pt x="16468" y="3691"/>
                      </a:cubicBezTo>
                      <a:cubicBezTo>
                        <a:pt x="19518" y="7758"/>
                        <a:pt x="18740" y="13559"/>
                        <a:pt x="14674" y="16609"/>
                      </a:cubicBezTo>
                      <a:cubicBezTo>
                        <a:pt x="10667" y="19659"/>
                        <a:pt x="4865" y="18822"/>
                        <a:pt x="1815" y="14755"/>
                      </a:cubicBezTo>
                      <a:cubicBezTo>
                        <a:pt x="-1175" y="10688"/>
                        <a:pt x="-398" y="4887"/>
                        <a:pt x="3609" y="1837"/>
                      </a:cubicBezTo>
                      <a:close/>
                    </a:path>
                  </a:pathLst>
                </a:custGeom>
                <a:grpFill/>
                <a:ln w="5978" cap="flat">
                  <a:noFill/>
                  <a:prstDash val="solid"/>
                  <a:miter/>
                </a:ln>
              </p:spPr>
              <p:txBody>
                <a:bodyPr rtlCol="0" anchor="ctr"/>
                <a:lstStyle/>
                <a:p>
                  <a:endParaRPr lang="en-GB"/>
                </a:p>
              </p:txBody>
            </p:sp>
            <p:sp>
              <p:nvSpPr>
                <p:cNvPr id="4655" name="Vrije vorm: vorm 4654">
                  <a:extLst>
                    <a:ext uri="{FF2B5EF4-FFF2-40B4-BE49-F238E27FC236}">
                      <a16:creationId xmlns:a16="http://schemas.microsoft.com/office/drawing/2014/main" id="{2065B5A1-14F3-4E22-BF67-14D0253A20DE}"/>
                    </a:ext>
                  </a:extLst>
                </p:cNvPr>
                <p:cNvSpPr/>
                <p:nvPr/>
              </p:nvSpPr>
              <p:spPr>
                <a:xfrm>
                  <a:off x="7375340" y="2400257"/>
                  <a:ext cx="18334" cy="18489"/>
                </a:xfrm>
                <a:custGeom>
                  <a:avLst/>
                  <a:gdLst>
                    <a:gd name="connsiteX0" fmla="*/ 3635 w 18334"/>
                    <a:gd name="connsiteY0" fmla="*/ 1880 h 18489"/>
                    <a:gd name="connsiteX1" fmla="*/ 1841 w 18334"/>
                    <a:gd name="connsiteY1" fmla="*/ 14798 h 18489"/>
                    <a:gd name="connsiteX2" fmla="*/ 14699 w 18334"/>
                    <a:gd name="connsiteY2" fmla="*/ 16652 h 18489"/>
                    <a:gd name="connsiteX3" fmla="*/ 16493 w 18334"/>
                    <a:gd name="connsiteY3" fmla="*/ 3734 h 18489"/>
                    <a:gd name="connsiteX4" fmla="*/ 3635 w 18334"/>
                    <a:gd name="connsiteY4" fmla="*/ 1880 h 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89">
                      <a:moveTo>
                        <a:pt x="3635" y="1880"/>
                      </a:moveTo>
                      <a:cubicBezTo>
                        <a:pt x="-372" y="4930"/>
                        <a:pt x="-1209" y="10732"/>
                        <a:pt x="1841" y="14798"/>
                      </a:cubicBezTo>
                      <a:cubicBezTo>
                        <a:pt x="4891" y="18865"/>
                        <a:pt x="10632" y="19703"/>
                        <a:pt x="14699" y="16652"/>
                      </a:cubicBezTo>
                      <a:cubicBezTo>
                        <a:pt x="18706" y="13602"/>
                        <a:pt x="19544" y="7801"/>
                        <a:pt x="16493" y="3734"/>
                      </a:cubicBezTo>
                      <a:cubicBezTo>
                        <a:pt x="13383" y="-393"/>
                        <a:pt x="7642" y="-1230"/>
                        <a:pt x="3635" y="1880"/>
                      </a:cubicBezTo>
                      <a:close/>
                    </a:path>
                  </a:pathLst>
                </a:custGeom>
                <a:grpFill/>
                <a:ln w="5978" cap="flat">
                  <a:noFill/>
                  <a:prstDash val="solid"/>
                  <a:miter/>
                </a:ln>
              </p:spPr>
              <p:txBody>
                <a:bodyPr rtlCol="0" anchor="ctr"/>
                <a:lstStyle/>
                <a:p>
                  <a:endParaRPr lang="en-GB"/>
                </a:p>
              </p:txBody>
            </p:sp>
          </p:grpSp>
          <p:grpSp>
            <p:nvGrpSpPr>
              <p:cNvPr id="243" name="Graphic 3">
                <a:extLst>
                  <a:ext uri="{FF2B5EF4-FFF2-40B4-BE49-F238E27FC236}">
                    <a16:creationId xmlns:a16="http://schemas.microsoft.com/office/drawing/2014/main" id="{254A57CA-C752-4FDF-B5B3-CBCFF2A42CA6}"/>
                  </a:ext>
                </a:extLst>
              </p:cNvPr>
              <p:cNvGrpSpPr/>
              <p:nvPr/>
            </p:nvGrpSpPr>
            <p:grpSpPr>
              <a:xfrm>
                <a:off x="7394777" y="2396924"/>
                <a:ext cx="56535" cy="46283"/>
                <a:chOff x="7394777" y="2396924"/>
                <a:chExt cx="56535" cy="46283"/>
              </a:xfrm>
              <a:grpFill/>
            </p:grpSpPr>
            <p:sp>
              <p:nvSpPr>
                <p:cNvPr id="4650" name="Vrije vorm: vorm 4649">
                  <a:extLst>
                    <a:ext uri="{FF2B5EF4-FFF2-40B4-BE49-F238E27FC236}">
                      <a16:creationId xmlns:a16="http://schemas.microsoft.com/office/drawing/2014/main" id="{78CD16E7-6DBF-450D-9933-97451CA59482}"/>
                    </a:ext>
                  </a:extLst>
                </p:cNvPr>
                <p:cNvSpPr/>
                <p:nvPr/>
              </p:nvSpPr>
              <p:spPr>
                <a:xfrm>
                  <a:off x="7402718" y="2404649"/>
                  <a:ext cx="40728" cy="30860"/>
                </a:xfrm>
                <a:custGeom>
                  <a:avLst/>
                  <a:gdLst>
                    <a:gd name="connsiteX0" fmla="*/ 40728 w 40728"/>
                    <a:gd name="connsiteY0" fmla="*/ 2452 h 30860"/>
                    <a:gd name="connsiteX1" fmla="*/ 1734 w 40728"/>
                    <a:gd name="connsiteY1" fmla="*/ 30860 h 30860"/>
                    <a:gd name="connsiteX2" fmla="*/ 0 w 40728"/>
                    <a:gd name="connsiteY2" fmla="*/ 28349 h 30860"/>
                    <a:gd name="connsiteX3" fmla="*/ 38934 w 40728"/>
                    <a:gd name="connsiteY3" fmla="*/ 0 h 30860"/>
                  </a:gdLst>
                  <a:ahLst/>
                  <a:cxnLst>
                    <a:cxn ang="0">
                      <a:pos x="connsiteX0" y="connsiteY0"/>
                    </a:cxn>
                    <a:cxn ang="0">
                      <a:pos x="connsiteX1" y="connsiteY1"/>
                    </a:cxn>
                    <a:cxn ang="0">
                      <a:pos x="connsiteX2" y="connsiteY2"/>
                    </a:cxn>
                    <a:cxn ang="0">
                      <a:pos x="connsiteX3" y="connsiteY3"/>
                    </a:cxn>
                  </a:cxnLst>
                  <a:rect l="l" t="t" r="r" b="b"/>
                  <a:pathLst>
                    <a:path w="40728" h="30860">
                      <a:moveTo>
                        <a:pt x="40728" y="2452"/>
                      </a:moveTo>
                      <a:lnTo>
                        <a:pt x="1734" y="30860"/>
                      </a:lnTo>
                      <a:lnTo>
                        <a:pt x="0" y="28349"/>
                      </a:lnTo>
                      <a:lnTo>
                        <a:pt x="38934" y="0"/>
                      </a:lnTo>
                      <a:close/>
                    </a:path>
                  </a:pathLst>
                </a:custGeom>
                <a:grpFill/>
                <a:ln w="5978" cap="flat">
                  <a:noFill/>
                  <a:prstDash val="solid"/>
                  <a:miter/>
                </a:ln>
              </p:spPr>
              <p:txBody>
                <a:bodyPr rtlCol="0" anchor="ctr"/>
                <a:lstStyle/>
                <a:p>
                  <a:endParaRPr lang="en-GB"/>
                </a:p>
              </p:txBody>
            </p:sp>
            <p:sp>
              <p:nvSpPr>
                <p:cNvPr id="4651" name="Vrije vorm: vorm 4650">
                  <a:extLst>
                    <a:ext uri="{FF2B5EF4-FFF2-40B4-BE49-F238E27FC236}">
                      <a16:creationId xmlns:a16="http://schemas.microsoft.com/office/drawing/2014/main" id="{A3A4C245-3C72-4FD2-9A19-D689626C74B6}"/>
                    </a:ext>
                  </a:extLst>
                </p:cNvPr>
                <p:cNvSpPr/>
                <p:nvPr/>
              </p:nvSpPr>
              <p:spPr>
                <a:xfrm>
                  <a:off x="7432993" y="2396924"/>
                  <a:ext cx="18318" cy="18439"/>
                </a:xfrm>
                <a:custGeom>
                  <a:avLst/>
                  <a:gdLst>
                    <a:gd name="connsiteX0" fmla="*/ 3755 w 18318"/>
                    <a:gd name="connsiteY0" fmla="*/ 1744 h 18439"/>
                    <a:gd name="connsiteX1" fmla="*/ 16554 w 18318"/>
                    <a:gd name="connsiteY1" fmla="*/ 3837 h 18439"/>
                    <a:gd name="connsiteX2" fmla="*/ 14521 w 18318"/>
                    <a:gd name="connsiteY2" fmla="*/ 16696 h 18439"/>
                    <a:gd name="connsiteX3" fmla="*/ 1722 w 18318"/>
                    <a:gd name="connsiteY3" fmla="*/ 14602 h 18439"/>
                    <a:gd name="connsiteX4" fmla="*/ 3755 w 18318"/>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9">
                      <a:moveTo>
                        <a:pt x="3755" y="1744"/>
                      </a:moveTo>
                      <a:cubicBezTo>
                        <a:pt x="7822" y="-1246"/>
                        <a:pt x="13563" y="-290"/>
                        <a:pt x="16554" y="3837"/>
                      </a:cubicBezTo>
                      <a:cubicBezTo>
                        <a:pt x="19544" y="7964"/>
                        <a:pt x="18647" y="13705"/>
                        <a:pt x="14521" y="16696"/>
                      </a:cubicBezTo>
                      <a:cubicBezTo>
                        <a:pt x="10453" y="19686"/>
                        <a:pt x="4712" y="18729"/>
                        <a:pt x="1722" y="14602"/>
                      </a:cubicBezTo>
                      <a:cubicBezTo>
                        <a:pt x="-1209" y="10476"/>
                        <a:pt x="-312" y="4734"/>
                        <a:pt x="3755" y="1744"/>
                      </a:cubicBezTo>
                      <a:close/>
                    </a:path>
                  </a:pathLst>
                </a:custGeom>
                <a:grpFill/>
                <a:ln w="5978" cap="flat">
                  <a:noFill/>
                  <a:prstDash val="solid"/>
                  <a:miter/>
                </a:ln>
              </p:spPr>
              <p:txBody>
                <a:bodyPr rtlCol="0" anchor="ctr"/>
                <a:lstStyle/>
                <a:p>
                  <a:endParaRPr lang="en-GB"/>
                </a:p>
              </p:txBody>
            </p:sp>
            <p:sp>
              <p:nvSpPr>
                <p:cNvPr id="4652" name="Vrije vorm: vorm 4651">
                  <a:extLst>
                    <a:ext uri="{FF2B5EF4-FFF2-40B4-BE49-F238E27FC236}">
                      <a16:creationId xmlns:a16="http://schemas.microsoft.com/office/drawing/2014/main" id="{B38D2479-A1AD-42AE-9296-2A4925774558}"/>
                    </a:ext>
                  </a:extLst>
                </p:cNvPr>
                <p:cNvSpPr/>
                <p:nvPr/>
              </p:nvSpPr>
              <p:spPr>
                <a:xfrm>
                  <a:off x="7394777" y="2424778"/>
                  <a:ext cx="18275" cy="18430"/>
                </a:xfrm>
                <a:custGeom>
                  <a:avLst/>
                  <a:gdLst>
                    <a:gd name="connsiteX0" fmla="*/ 3755 w 18275"/>
                    <a:gd name="connsiteY0" fmla="*/ 1761 h 18430"/>
                    <a:gd name="connsiteX1" fmla="*/ 1722 w 18275"/>
                    <a:gd name="connsiteY1" fmla="*/ 14619 h 18430"/>
                    <a:gd name="connsiteX2" fmla="*/ 14520 w 18275"/>
                    <a:gd name="connsiteY2" fmla="*/ 16713 h 18430"/>
                    <a:gd name="connsiteX3" fmla="*/ 16554 w 18275"/>
                    <a:gd name="connsiteY3" fmla="*/ 3854 h 18430"/>
                    <a:gd name="connsiteX4" fmla="*/ 3755 w 18275"/>
                    <a:gd name="connsiteY4" fmla="*/ 176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30">
                      <a:moveTo>
                        <a:pt x="3755" y="1761"/>
                      </a:moveTo>
                      <a:cubicBezTo>
                        <a:pt x="-312" y="4751"/>
                        <a:pt x="-1209" y="10493"/>
                        <a:pt x="1722" y="14619"/>
                      </a:cubicBezTo>
                      <a:cubicBezTo>
                        <a:pt x="4712" y="18746"/>
                        <a:pt x="10453" y="19643"/>
                        <a:pt x="14520" y="16713"/>
                      </a:cubicBezTo>
                      <a:cubicBezTo>
                        <a:pt x="18587" y="13722"/>
                        <a:pt x="19484" y="7981"/>
                        <a:pt x="16554" y="3854"/>
                      </a:cubicBezTo>
                      <a:cubicBezTo>
                        <a:pt x="13623" y="-332"/>
                        <a:pt x="7882" y="-1230"/>
                        <a:pt x="3755" y="1761"/>
                      </a:cubicBezTo>
                      <a:close/>
                    </a:path>
                  </a:pathLst>
                </a:custGeom>
                <a:grpFill/>
                <a:ln w="5978" cap="flat">
                  <a:noFill/>
                  <a:prstDash val="solid"/>
                  <a:miter/>
                </a:ln>
              </p:spPr>
              <p:txBody>
                <a:bodyPr rtlCol="0" anchor="ctr"/>
                <a:lstStyle/>
                <a:p>
                  <a:endParaRPr lang="en-GB"/>
                </a:p>
              </p:txBody>
            </p:sp>
          </p:grpSp>
          <p:grpSp>
            <p:nvGrpSpPr>
              <p:cNvPr id="244" name="Graphic 3">
                <a:extLst>
                  <a:ext uri="{FF2B5EF4-FFF2-40B4-BE49-F238E27FC236}">
                    <a16:creationId xmlns:a16="http://schemas.microsoft.com/office/drawing/2014/main" id="{6B4CD8B3-7868-49A4-97A8-F5D4708A47DE}"/>
                  </a:ext>
                </a:extLst>
              </p:cNvPr>
              <p:cNvGrpSpPr/>
              <p:nvPr/>
            </p:nvGrpSpPr>
            <p:grpSpPr>
              <a:xfrm>
                <a:off x="7929812" y="4164883"/>
                <a:ext cx="159061" cy="74997"/>
                <a:chOff x="7929812" y="4164883"/>
                <a:chExt cx="159061" cy="74997"/>
              </a:xfrm>
              <a:grpFill/>
            </p:grpSpPr>
            <p:sp>
              <p:nvSpPr>
                <p:cNvPr id="4647" name="Vrije vorm: vorm 4646">
                  <a:extLst>
                    <a:ext uri="{FF2B5EF4-FFF2-40B4-BE49-F238E27FC236}">
                      <a16:creationId xmlns:a16="http://schemas.microsoft.com/office/drawing/2014/main" id="{147E6BBA-A5C3-459B-8800-60B3B114AE9A}"/>
                    </a:ext>
                  </a:extLst>
                </p:cNvPr>
                <p:cNvSpPr/>
                <p:nvPr/>
              </p:nvSpPr>
              <p:spPr>
                <a:xfrm>
                  <a:off x="7937993" y="4172550"/>
                  <a:ext cx="142759" cy="59747"/>
                </a:xfrm>
                <a:custGeom>
                  <a:avLst/>
                  <a:gdLst>
                    <a:gd name="connsiteX0" fmla="*/ 142760 w 142759"/>
                    <a:gd name="connsiteY0" fmla="*/ 56877 h 59747"/>
                    <a:gd name="connsiteX1" fmla="*/ 141623 w 142759"/>
                    <a:gd name="connsiteY1" fmla="*/ 59747 h 59747"/>
                    <a:gd name="connsiteX2" fmla="*/ 0 w 142759"/>
                    <a:gd name="connsiteY2" fmla="*/ 2811 h 59747"/>
                    <a:gd name="connsiteX3" fmla="*/ 1136 w 142759"/>
                    <a:gd name="connsiteY3" fmla="*/ 0 h 59747"/>
                  </a:gdLst>
                  <a:ahLst/>
                  <a:cxnLst>
                    <a:cxn ang="0">
                      <a:pos x="connsiteX0" y="connsiteY0"/>
                    </a:cxn>
                    <a:cxn ang="0">
                      <a:pos x="connsiteX1" y="connsiteY1"/>
                    </a:cxn>
                    <a:cxn ang="0">
                      <a:pos x="connsiteX2" y="connsiteY2"/>
                    </a:cxn>
                    <a:cxn ang="0">
                      <a:pos x="connsiteX3" y="connsiteY3"/>
                    </a:cxn>
                  </a:cxnLst>
                  <a:rect l="l" t="t" r="r" b="b"/>
                  <a:pathLst>
                    <a:path w="142759" h="59747">
                      <a:moveTo>
                        <a:pt x="142760" y="56877"/>
                      </a:moveTo>
                      <a:lnTo>
                        <a:pt x="141623" y="59747"/>
                      </a:lnTo>
                      <a:lnTo>
                        <a:pt x="0" y="2811"/>
                      </a:lnTo>
                      <a:lnTo>
                        <a:pt x="1136" y="0"/>
                      </a:lnTo>
                      <a:close/>
                    </a:path>
                  </a:pathLst>
                </a:custGeom>
                <a:grpFill/>
                <a:ln w="5978" cap="flat">
                  <a:noFill/>
                  <a:prstDash val="solid"/>
                  <a:miter/>
                </a:ln>
              </p:spPr>
              <p:txBody>
                <a:bodyPr rtlCol="0" anchor="ctr"/>
                <a:lstStyle/>
                <a:p>
                  <a:endParaRPr lang="en-GB"/>
                </a:p>
              </p:txBody>
            </p:sp>
            <p:sp>
              <p:nvSpPr>
                <p:cNvPr id="4648" name="Vrije vorm: vorm 4647">
                  <a:extLst>
                    <a:ext uri="{FF2B5EF4-FFF2-40B4-BE49-F238E27FC236}">
                      <a16:creationId xmlns:a16="http://schemas.microsoft.com/office/drawing/2014/main" id="{5A5A4EF8-7775-42B8-96E8-D3F400BCAE10}"/>
                    </a:ext>
                  </a:extLst>
                </p:cNvPr>
                <p:cNvSpPr/>
                <p:nvPr/>
              </p:nvSpPr>
              <p:spPr>
                <a:xfrm>
                  <a:off x="8070538" y="4221460"/>
                  <a:ext cx="18335" cy="18419"/>
                </a:xfrm>
                <a:custGeom>
                  <a:avLst/>
                  <a:gdLst>
                    <a:gd name="connsiteX0" fmla="*/ 12547 w 18335"/>
                    <a:gd name="connsiteY0" fmla="*/ 670 h 18419"/>
                    <a:gd name="connsiteX1" fmla="*/ 17691 w 18335"/>
                    <a:gd name="connsiteY1" fmla="*/ 12631 h 18419"/>
                    <a:gd name="connsiteX2" fmla="*/ 5788 w 18335"/>
                    <a:gd name="connsiteY2" fmla="*/ 17775 h 18419"/>
                    <a:gd name="connsiteX3" fmla="*/ 645 w 18335"/>
                    <a:gd name="connsiteY3" fmla="*/ 5813 h 18419"/>
                    <a:gd name="connsiteX4" fmla="*/ 12547 w 18335"/>
                    <a:gd name="connsiteY4" fmla="*/ 67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19">
                      <a:moveTo>
                        <a:pt x="12547" y="670"/>
                      </a:moveTo>
                      <a:cubicBezTo>
                        <a:pt x="17272" y="2584"/>
                        <a:pt x="19544" y="7907"/>
                        <a:pt x="17691" y="12631"/>
                      </a:cubicBezTo>
                      <a:cubicBezTo>
                        <a:pt x="15836" y="17356"/>
                        <a:pt x="10513" y="19629"/>
                        <a:pt x="5788" y="17775"/>
                      </a:cubicBezTo>
                      <a:cubicBezTo>
                        <a:pt x="1064" y="15861"/>
                        <a:pt x="-1209" y="10538"/>
                        <a:pt x="645" y="5813"/>
                      </a:cubicBezTo>
                      <a:cubicBezTo>
                        <a:pt x="2559" y="1089"/>
                        <a:pt x="7882" y="-1244"/>
                        <a:pt x="12547" y="670"/>
                      </a:cubicBezTo>
                      <a:close/>
                    </a:path>
                  </a:pathLst>
                </a:custGeom>
                <a:grpFill/>
                <a:ln w="5978" cap="flat">
                  <a:noFill/>
                  <a:prstDash val="solid"/>
                  <a:miter/>
                </a:ln>
              </p:spPr>
              <p:txBody>
                <a:bodyPr rtlCol="0" anchor="ctr"/>
                <a:lstStyle/>
                <a:p>
                  <a:endParaRPr lang="en-GB"/>
                </a:p>
              </p:txBody>
            </p:sp>
            <p:sp>
              <p:nvSpPr>
                <p:cNvPr id="4649" name="Vrije vorm: vorm 4648">
                  <a:extLst>
                    <a:ext uri="{FF2B5EF4-FFF2-40B4-BE49-F238E27FC236}">
                      <a16:creationId xmlns:a16="http://schemas.microsoft.com/office/drawing/2014/main" id="{009448E0-678F-4055-8A6E-643438317CB4}"/>
                    </a:ext>
                  </a:extLst>
                </p:cNvPr>
                <p:cNvSpPr/>
                <p:nvPr/>
              </p:nvSpPr>
              <p:spPr>
                <a:xfrm>
                  <a:off x="7929812" y="4164883"/>
                  <a:ext cx="18335" cy="18444"/>
                </a:xfrm>
                <a:custGeom>
                  <a:avLst/>
                  <a:gdLst>
                    <a:gd name="connsiteX0" fmla="*/ 12547 w 18335"/>
                    <a:gd name="connsiteY0" fmla="*/ 670 h 18444"/>
                    <a:gd name="connsiteX1" fmla="*/ 645 w 18335"/>
                    <a:gd name="connsiteY1" fmla="*/ 5813 h 18444"/>
                    <a:gd name="connsiteX2" fmla="*/ 5789 w 18335"/>
                    <a:gd name="connsiteY2" fmla="*/ 17775 h 18444"/>
                    <a:gd name="connsiteX3" fmla="*/ 17690 w 18335"/>
                    <a:gd name="connsiteY3" fmla="*/ 12631 h 18444"/>
                    <a:gd name="connsiteX4" fmla="*/ 12547 w 18335"/>
                    <a:gd name="connsiteY4" fmla="*/ 67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2547" y="670"/>
                      </a:moveTo>
                      <a:cubicBezTo>
                        <a:pt x="7822" y="-1244"/>
                        <a:pt x="2499" y="1088"/>
                        <a:pt x="645" y="5813"/>
                      </a:cubicBezTo>
                      <a:cubicBezTo>
                        <a:pt x="-1209" y="10538"/>
                        <a:pt x="1064" y="15921"/>
                        <a:pt x="5789" y="17775"/>
                      </a:cubicBezTo>
                      <a:cubicBezTo>
                        <a:pt x="10513" y="19689"/>
                        <a:pt x="15836" y="17356"/>
                        <a:pt x="17690" y="12631"/>
                      </a:cubicBezTo>
                      <a:cubicBezTo>
                        <a:pt x="19544" y="7907"/>
                        <a:pt x="17271" y="2584"/>
                        <a:pt x="12547" y="670"/>
                      </a:cubicBezTo>
                      <a:close/>
                    </a:path>
                  </a:pathLst>
                </a:custGeom>
                <a:grpFill/>
                <a:ln w="5978" cap="flat">
                  <a:noFill/>
                  <a:prstDash val="solid"/>
                  <a:miter/>
                </a:ln>
              </p:spPr>
              <p:txBody>
                <a:bodyPr rtlCol="0" anchor="ctr"/>
                <a:lstStyle/>
                <a:p>
                  <a:endParaRPr lang="en-GB"/>
                </a:p>
              </p:txBody>
            </p:sp>
          </p:grpSp>
          <p:grpSp>
            <p:nvGrpSpPr>
              <p:cNvPr id="245" name="Graphic 3">
                <a:extLst>
                  <a:ext uri="{FF2B5EF4-FFF2-40B4-BE49-F238E27FC236}">
                    <a16:creationId xmlns:a16="http://schemas.microsoft.com/office/drawing/2014/main" id="{40534F0F-D7DF-4387-81D8-5FDF796DD270}"/>
                  </a:ext>
                </a:extLst>
              </p:cNvPr>
              <p:cNvGrpSpPr/>
              <p:nvPr/>
            </p:nvGrpSpPr>
            <p:grpSpPr>
              <a:xfrm>
                <a:off x="7853677" y="3872031"/>
                <a:ext cx="118154" cy="44053"/>
                <a:chOff x="7853677" y="3872031"/>
                <a:chExt cx="118154" cy="44053"/>
              </a:xfrm>
              <a:grpFill/>
            </p:grpSpPr>
            <p:sp>
              <p:nvSpPr>
                <p:cNvPr id="4644" name="Vrije vorm: vorm 4643">
                  <a:extLst>
                    <a:ext uri="{FF2B5EF4-FFF2-40B4-BE49-F238E27FC236}">
                      <a16:creationId xmlns:a16="http://schemas.microsoft.com/office/drawing/2014/main" id="{FA9C9CE5-0E7D-4A68-90E5-62962BF97585}"/>
                    </a:ext>
                  </a:extLst>
                </p:cNvPr>
                <p:cNvSpPr/>
                <p:nvPr/>
              </p:nvSpPr>
              <p:spPr>
                <a:xfrm>
                  <a:off x="7862037" y="3879674"/>
                  <a:ext cx="101432" cy="28827"/>
                </a:xfrm>
                <a:custGeom>
                  <a:avLst/>
                  <a:gdLst>
                    <a:gd name="connsiteX0" fmla="*/ 101433 w 101432"/>
                    <a:gd name="connsiteY0" fmla="*/ 25837 h 28827"/>
                    <a:gd name="connsiteX1" fmla="*/ 100655 w 101432"/>
                    <a:gd name="connsiteY1" fmla="*/ 28827 h 28827"/>
                    <a:gd name="connsiteX2" fmla="*/ 0 w 101432"/>
                    <a:gd name="connsiteY2" fmla="*/ 2930 h 28827"/>
                    <a:gd name="connsiteX3" fmla="*/ 718 w 101432"/>
                    <a:gd name="connsiteY3" fmla="*/ 0 h 28827"/>
                  </a:gdLst>
                  <a:ahLst/>
                  <a:cxnLst>
                    <a:cxn ang="0">
                      <a:pos x="connsiteX0" y="connsiteY0"/>
                    </a:cxn>
                    <a:cxn ang="0">
                      <a:pos x="connsiteX1" y="connsiteY1"/>
                    </a:cxn>
                    <a:cxn ang="0">
                      <a:pos x="connsiteX2" y="connsiteY2"/>
                    </a:cxn>
                    <a:cxn ang="0">
                      <a:pos x="connsiteX3" y="connsiteY3"/>
                    </a:cxn>
                  </a:cxnLst>
                  <a:rect l="l" t="t" r="r" b="b"/>
                  <a:pathLst>
                    <a:path w="101432" h="28827">
                      <a:moveTo>
                        <a:pt x="101433" y="25837"/>
                      </a:moveTo>
                      <a:lnTo>
                        <a:pt x="100655" y="28827"/>
                      </a:lnTo>
                      <a:lnTo>
                        <a:pt x="0" y="2930"/>
                      </a:lnTo>
                      <a:lnTo>
                        <a:pt x="718" y="0"/>
                      </a:lnTo>
                      <a:close/>
                    </a:path>
                  </a:pathLst>
                </a:custGeom>
                <a:grpFill/>
                <a:ln w="5978" cap="flat">
                  <a:noFill/>
                  <a:prstDash val="solid"/>
                  <a:miter/>
                </a:ln>
              </p:spPr>
              <p:txBody>
                <a:bodyPr rtlCol="0" anchor="ctr"/>
                <a:lstStyle/>
                <a:p>
                  <a:endParaRPr lang="en-GB"/>
                </a:p>
              </p:txBody>
            </p:sp>
            <p:sp>
              <p:nvSpPr>
                <p:cNvPr id="4645" name="Vrije vorm: vorm 4644">
                  <a:extLst>
                    <a:ext uri="{FF2B5EF4-FFF2-40B4-BE49-F238E27FC236}">
                      <a16:creationId xmlns:a16="http://schemas.microsoft.com/office/drawing/2014/main" id="{D20EC564-4FAD-4AAD-A730-F4B708D93DB8}"/>
                    </a:ext>
                  </a:extLst>
                </p:cNvPr>
                <p:cNvSpPr/>
                <p:nvPr/>
              </p:nvSpPr>
              <p:spPr>
                <a:xfrm>
                  <a:off x="7953495" y="3897685"/>
                  <a:ext cx="18336" cy="18399"/>
                </a:xfrm>
                <a:custGeom>
                  <a:avLst/>
                  <a:gdLst>
                    <a:gd name="connsiteX0" fmla="*/ 11411 w 18336"/>
                    <a:gd name="connsiteY0" fmla="*/ 290 h 18399"/>
                    <a:gd name="connsiteX1" fmla="*/ 18050 w 18336"/>
                    <a:gd name="connsiteY1" fmla="*/ 11474 h 18399"/>
                    <a:gd name="connsiteX2" fmla="*/ 6926 w 18336"/>
                    <a:gd name="connsiteY2" fmla="*/ 18113 h 18399"/>
                    <a:gd name="connsiteX3" fmla="*/ 287 w 18336"/>
                    <a:gd name="connsiteY3" fmla="*/ 6929 h 18399"/>
                    <a:gd name="connsiteX4" fmla="*/ 11411 w 18336"/>
                    <a:gd name="connsiteY4" fmla="*/ 29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9">
                      <a:moveTo>
                        <a:pt x="11411" y="290"/>
                      </a:moveTo>
                      <a:cubicBezTo>
                        <a:pt x="16315" y="1546"/>
                        <a:pt x="19306" y="6570"/>
                        <a:pt x="18050" y="11474"/>
                      </a:cubicBezTo>
                      <a:cubicBezTo>
                        <a:pt x="16793" y="16378"/>
                        <a:pt x="11830" y="19369"/>
                        <a:pt x="6926" y="18113"/>
                      </a:cubicBezTo>
                      <a:cubicBezTo>
                        <a:pt x="2021" y="16857"/>
                        <a:pt x="-969" y="11833"/>
                        <a:pt x="287" y="6929"/>
                      </a:cubicBezTo>
                      <a:cubicBezTo>
                        <a:pt x="1483" y="1965"/>
                        <a:pt x="6447" y="-965"/>
                        <a:pt x="11411" y="290"/>
                      </a:cubicBezTo>
                      <a:close/>
                    </a:path>
                  </a:pathLst>
                </a:custGeom>
                <a:grpFill/>
                <a:ln w="5978" cap="flat">
                  <a:noFill/>
                  <a:prstDash val="solid"/>
                  <a:miter/>
                </a:ln>
              </p:spPr>
              <p:txBody>
                <a:bodyPr rtlCol="0" anchor="ctr"/>
                <a:lstStyle/>
                <a:p>
                  <a:endParaRPr lang="en-GB"/>
                </a:p>
              </p:txBody>
            </p:sp>
            <p:sp>
              <p:nvSpPr>
                <p:cNvPr id="4646" name="Vrije vorm: vorm 4645">
                  <a:extLst>
                    <a:ext uri="{FF2B5EF4-FFF2-40B4-BE49-F238E27FC236}">
                      <a16:creationId xmlns:a16="http://schemas.microsoft.com/office/drawing/2014/main" id="{F05E4247-0B89-4CAE-8211-73882871BE6A}"/>
                    </a:ext>
                  </a:extLst>
                </p:cNvPr>
                <p:cNvSpPr/>
                <p:nvPr/>
              </p:nvSpPr>
              <p:spPr>
                <a:xfrm>
                  <a:off x="7853677" y="3872031"/>
                  <a:ext cx="18335" cy="18395"/>
                </a:xfrm>
                <a:custGeom>
                  <a:avLst/>
                  <a:gdLst>
                    <a:gd name="connsiteX0" fmla="*/ 11411 w 18335"/>
                    <a:gd name="connsiteY0" fmla="*/ 287 h 18395"/>
                    <a:gd name="connsiteX1" fmla="*/ 287 w 18335"/>
                    <a:gd name="connsiteY1" fmla="*/ 6925 h 18395"/>
                    <a:gd name="connsiteX2" fmla="*/ 6925 w 18335"/>
                    <a:gd name="connsiteY2" fmla="*/ 18109 h 18395"/>
                    <a:gd name="connsiteX3" fmla="*/ 18049 w 18335"/>
                    <a:gd name="connsiteY3" fmla="*/ 11471 h 18395"/>
                    <a:gd name="connsiteX4" fmla="*/ 11411 w 18335"/>
                    <a:gd name="connsiteY4" fmla="*/ 28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5">
                      <a:moveTo>
                        <a:pt x="11411" y="287"/>
                      </a:moveTo>
                      <a:cubicBezTo>
                        <a:pt x="6507" y="-969"/>
                        <a:pt x="1542" y="2021"/>
                        <a:pt x="287" y="6925"/>
                      </a:cubicBezTo>
                      <a:cubicBezTo>
                        <a:pt x="-969" y="11829"/>
                        <a:pt x="2021" y="16853"/>
                        <a:pt x="6925" y="18109"/>
                      </a:cubicBezTo>
                      <a:cubicBezTo>
                        <a:pt x="11829" y="19365"/>
                        <a:pt x="16793" y="16375"/>
                        <a:pt x="18049" y="11471"/>
                      </a:cubicBezTo>
                      <a:cubicBezTo>
                        <a:pt x="19305" y="6566"/>
                        <a:pt x="16314" y="1543"/>
                        <a:pt x="11411" y="287"/>
                      </a:cubicBezTo>
                      <a:close/>
                    </a:path>
                  </a:pathLst>
                </a:custGeom>
                <a:grpFill/>
                <a:ln w="5978" cap="flat">
                  <a:noFill/>
                  <a:prstDash val="solid"/>
                  <a:miter/>
                </a:ln>
              </p:spPr>
              <p:txBody>
                <a:bodyPr rtlCol="0" anchor="ctr"/>
                <a:lstStyle/>
                <a:p>
                  <a:endParaRPr lang="en-GB"/>
                </a:p>
              </p:txBody>
            </p:sp>
          </p:grpSp>
          <p:grpSp>
            <p:nvGrpSpPr>
              <p:cNvPr id="246" name="Graphic 3">
                <a:extLst>
                  <a:ext uri="{FF2B5EF4-FFF2-40B4-BE49-F238E27FC236}">
                    <a16:creationId xmlns:a16="http://schemas.microsoft.com/office/drawing/2014/main" id="{4B724B46-1354-4FB6-B61A-675C1680F481}"/>
                  </a:ext>
                </a:extLst>
              </p:cNvPr>
              <p:cNvGrpSpPr/>
              <p:nvPr/>
            </p:nvGrpSpPr>
            <p:grpSpPr>
              <a:xfrm>
                <a:off x="7889409" y="3918090"/>
                <a:ext cx="59907" cy="29964"/>
                <a:chOff x="7889409" y="3918090"/>
                <a:chExt cx="59907" cy="29964"/>
              </a:xfrm>
              <a:grpFill/>
            </p:grpSpPr>
            <p:sp>
              <p:nvSpPr>
                <p:cNvPr id="4641" name="Vrije vorm: vorm 4640">
                  <a:extLst>
                    <a:ext uri="{FF2B5EF4-FFF2-40B4-BE49-F238E27FC236}">
                      <a16:creationId xmlns:a16="http://schemas.microsoft.com/office/drawing/2014/main" id="{BA684D27-E798-4F4E-867D-930AFD61EEF5}"/>
                    </a:ext>
                  </a:extLst>
                </p:cNvPr>
                <p:cNvSpPr/>
                <p:nvPr/>
              </p:nvSpPr>
              <p:spPr>
                <a:xfrm>
                  <a:off x="7897742" y="3925726"/>
                  <a:ext cx="43241" cy="14712"/>
                </a:xfrm>
                <a:custGeom>
                  <a:avLst/>
                  <a:gdLst>
                    <a:gd name="connsiteX0" fmla="*/ 43241 w 43241"/>
                    <a:gd name="connsiteY0" fmla="*/ 11782 h 14712"/>
                    <a:gd name="connsiteX1" fmla="*/ 42464 w 43241"/>
                    <a:gd name="connsiteY1" fmla="*/ 14713 h 14712"/>
                    <a:gd name="connsiteX2" fmla="*/ 0 w 43241"/>
                    <a:gd name="connsiteY2" fmla="*/ 2990 h 14712"/>
                    <a:gd name="connsiteX3" fmla="*/ 778 w 43241"/>
                    <a:gd name="connsiteY3" fmla="*/ 0 h 14712"/>
                  </a:gdLst>
                  <a:ahLst/>
                  <a:cxnLst>
                    <a:cxn ang="0">
                      <a:pos x="connsiteX0" y="connsiteY0"/>
                    </a:cxn>
                    <a:cxn ang="0">
                      <a:pos x="connsiteX1" y="connsiteY1"/>
                    </a:cxn>
                    <a:cxn ang="0">
                      <a:pos x="connsiteX2" y="connsiteY2"/>
                    </a:cxn>
                    <a:cxn ang="0">
                      <a:pos x="connsiteX3" y="connsiteY3"/>
                    </a:cxn>
                  </a:cxnLst>
                  <a:rect l="l" t="t" r="r" b="b"/>
                  <a:pathLst>
                    <a:path w="43241" h="14712">
                      <a:moveTo>
                        <a:pt x="43241" y="11782"/>
                      </a:moveTo>
                      <a:lnTo>
                        <a:pt x="42464" y="14713"/>
                      </a:lnTo>
                      <a:lnTo>
                        <a:pt x="0" y="2990"/>
                      </a:lnTo>
                      <a:lnTo>
                        <a:pt x="778" y="0"/>
                      </a:lnTo>
                      <a:close/>
                    </a:path>
                  </a:pathLst>
                </a:custGeom>
                <a:grpFill/>
                <a:ln w="5978" cap="flat">
                  <a:noFill/>
                  <a:prstDash val="solid"/>
                  <a:miter/>
                </a:ln>
              </p:spPr>
              <p:txBody>
                <a:bodyPr rtlCol="0" anchor="ctr"/>
                <a:lstStyle/>
                <a:p>
                  <a:endParaRPr lang="en-GB"/>
                </a:p>
              </p:txBody>
            </p:sp>
            <p:sp>
              <p:nvSpPr>
                <p:cNvPr id="4642" name="Vrije vorm: vorm 4641">
                  <a:extLst>
                    <a:ext uri="{FF2B5EF4-FFF2-40B4-BE49-F238E27FC236}">
                      <a16:creationId xmlns:a16="http://schemas.microsoft.com/office/drawing/2014/main" id="{9968F949-2DC5-43A8-BAAD-01531B817D35}"/>
                    </a:ext>
                  </a:extLst>
                </p:cNvPr>
                <p:cNvSpPr/>
                <p:nvPr/>
              </p:nvSpPr>
              <p:spPr>
                <a:xfrm>
                  <a:off x="7930975" y="3929632"/>
                  <a:ext cx="18341" cy="18421"/>
                </a:xfrm>
                <a:custGeom>
                  <a:avLst/>
                  <a:gdLst>
                    <a:gd name="connsiteX0" fmla="*/ 11563 w 18341"/>
                    <a:gd name="connsiteY0" fmla="*/ 340 h 18421"/>
                    <a:gd name="connsiteX1" fmla="*/ 18022 w 18341"/>
                    <a:gd name="connsiteY1" fmla="*/ 11643 h 18421"/>
                    <a:gd name="connsiteX2" fmla="*/ 6779 w 18341"/>
                    <a:gd name="connsiteY2" fmla="*/ 18102 h 18421"/>
                    <a:gd name="connsiteX3" fmla="*/ 319 w 18341"/>
                    <a:gd name="connsiteY3" fmla="*/ 6799 h 18421"/>
                    <a:gd name="connsiteX4" fmla="*/ 11563 w 18341"/>
                    <a:gd name="connsiteY4" fmla="*/ 34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1">
                      <a:moveTo>
                        <a:pt x="11563" y="340"/>
                      </a:moveTo>
                      <a:cubicBezTo>
                        <a:pt x="16467" y="1715"/>
                        <a:pt x="19338" y="6739"/>
                        <a:pt x="18022" y="11643"/>
                      </a:cubicBezTo>
                      <a:cubicBezTo>
                        <a:pt x="16707" y="16547"/>
                        <a:pt x="11683" y="19418"/>
                        <a:pt x="6779" y="18102"/>
                      </a:cubicBezTo>
                      <a:cubicBezTo>
                        <a:pt x="1874" y="16727"/>
                        <a:pt x="-997" y="11703"/>
                        <a:pt x="319" y="6799"/>
                      </a:cubicBezTo>
                      <a:cubicBezTo>
                        <a:pt x="1695" y="1895"/>
                        <a:pt x="6719" y="-1036"/>
                        <a:pt x="11563" y="340"/>
                      </a:cubicBezTo>
                      <a:close/>
                    </a:path>
                  </a:pathLst>
                </a:custGeom>
                <a:grpFill/>
                <a:ln w="5978" cap="flat">
                  <a:noFill/>
                  <a:prstDash val="solid"/>
                  <a:miter/>
                </a:ln>
              </p:spPr>
              <p:txBody>
                <a:bodyPr rtlCol="0" anchor="ctr"/>
                <a:lstStyle/>
                <a:p>
                  <a:endParaRPr lang="en-GB"/>
                </a:p>
              </p:txBody>
            </p:sp>
            <p:sp>
              <p:nvSpPr>
                <p:cNvPr id="4643" name="Vrije vorm: vorm 4642">
                  <a:extLst>
                    <a:ext uri="{FF2B5EF4-FFF2-40B4-BE49-F238E27FC236}">
                      <a16:creationId xmlns:a16="http://schemas.microsoft.com/office/drawing/2014/main" id="{E8710C5C-AB34-4A1C-83A3-1F57450E437C}"/>
                    </a:ext>
                  </a:extLst>
                </p:cNvPr>
                <p:cNvSpPr/>
                <p:nvPr/>
              </p:nvSpPr>
              <p:spPr>
                <a:xfrm>
                  <a:off x="7889409" y="3918090"/>
                  <a:ext cx="18340" cy="18442"/>
                </a:xfrm>
                <a:custGeom>
                  <a:avLst/>
                  <a:gdLst>
                    <a:gd name="connsiteX0" fmla="*/ 11563 w 18340"/>
                    <a:gd name="connsiteY0" fmla="*/ 340 h 18442"/>
                    <a:gd name="connsiteX1" fmla="*/ 319 w 18340"/>
                    <a:gd name="connsiteY1" fmla="*/ 6799 h 18442"/>
                    <a:gd name="connsiteX2" fmla="*/ 6778 w 18340"/>
                    <a:gd name="connsiteY2" fmla="*/ 18102 h 18442"/>
                    <a:gd name="connsiteX3" fmla="*/ 18022 w 18340"/>
                    <a:gd name="connsiteY3" fmla="*/ 11643 h 18442"/>
                    <a:gd name="connsiteX4" fmla="*/ 11563 w 18340"/>
                    <a:gd name="connsiteY4" fmla="*/ 34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2">
                      <a:moveTo>
                        <a:pt x="11563" y="340"/>
                      </a:moveTo>
                      <a:cubicBezTo>
                        <a:pt x="6659" y="-1036"/>
                        <a:pt x="1635" y="1895"/>
                        <a:pt x="319" y="6799"/>
                      </a:cubicBezTo>
                      <a:cubicBezTo>
                        <a:pt x="-997" y="11703"/>
                        <a:pt x="1874" y="16787"/>
                        <a:pt x="6778" y="18102"/>
                      </a:cubicBezTo>
                      <a:cubicBezTo>
                        <a:pt x="11683" y="19478"/>
                        <a:pt x="16706" y="16547"/>
                        <a:pt x="18022" y="11643"/>
                      </a:cubicBezTo>
                      <a:cubicBezTo>
                        <a:pt x="19338" y="6799"/>
                        <a:pt x="16467" y="1715"/>
                        <a:pt x="11563" y="340"/>
                      </a:cubicBezTo>
                      <a:close/>
                    </a:path>
                  </a:pathLst>
                </a:custGeom>
                <a:grpFill/>
                <a:ln w="5978" cap="flat">
                  <a:noFill/>
                  <a:prstDash val="solid"/>
                  <a:miter/>
                </a:ln>
              </p:spPr>
              <p:txBody>
                <a:bodyPr rtlCol="0" anchor="ctr"/>
                <a:lstStyle/>
                <a:p>
                  <a:endParaRPr lang="en-GB"/>
                </a:p>
              </p:txBody>
            </p:sp>
          </p:grpSp>
          <p:grpSp>
            <p:nvGrpSpPr>
              <p:cNvPr id="247" name="Graphic 3">
                <a:extLst>
                  <a:ext uri="{FF2B5EF4-FFF2-40B4-BE49-F238E27FC236}">
                    <a16:creationId xmlns:a16="http://schemas.microsoft.com/office/drawing/2014/main" id="{DB499179-22C1-4FF5-B28A-0F137EB8899F}"/>
                  </a:ext>
                </a:extLst>
              </p:cNvPr>
              <p:cNvGrpSpPr/>
              <p:nvPr/>
            </p:nvGrpSpPr>
            <p:grpSpPr>
              <a:xfrm>
                <a:off x="7307002" y="2200449"/>
                <a:ext cx="124208" cy="111936"/>
                <a:chOff x="7307002" y="2200449"/>
                <a:chExt cx="124208" cy="111936"/>
              </a:xfrm>
              <a:grpFill/>
            </p:grpSpPr>
            <p:sp>
              <p:nvSpPr>
                <p:cNvPr id="4638" name="Vrije vorm: vorm 4637">
                  <a:extLst>
                    <a:ext uri="{FF2B5EF4-FFF2-40B4-BE49-F238E27FC236}">
                      <a16:creationId xmlns:a16="http://schemas.microsoft.com/office/drawing/2014/main" id="{3D971C44-836D-4833-B429-1E4B9AD80FB9}"/>
                    </a:ext>
                  </a:extLst>
                </p:cNvPr>
                <p:cNvSpPr/>
                <p:nvPr/>
              </p:nvSpPr>
              <p:spPr>
                <a:xfrm>
                  <a:off x="7314801" y="2208182"/>
                  <a:ext cx="108610" cy="96528"/>
                </a:xfrm>
                <a:custGeom>
                  <a:avLst/>
                  <a:gdLst>
                    <a:gd name="connsiteX0" fmla="*/ 108610 w 108610"/>
                    <a:gd name="connsiteY0" fmla="*/ 2332 h 96528"/>
                    <a:gd name="connsiteX1" fmla="*/ 1973 w 108610"/>
                    <a:gd name="connsiteY1" fmla="*/ 96529 h 96528"/>
                    <a:gd name="connsiteX2" fmla="*/ 0 w 108610"/>
                    <a:gd name="connsiteY2" fmla="*/ 94196 h 96528"/>
                    <a:gd name="connsiteX3" fmla="*/ 106577 w 108610"/>
                    <a:gd name="connsiteY3" fmla="*/ 0 h 96528"/>
                  </a:gdLst>
                  <a:ahLst/>
                  <a:cxnLst>
                    <a:cxn ang="0">
                      <a:pos x="connsiteX0" y="connsiteY0"/>
                    </a:cxn>
                    <a:cxn ang="0">
                      <a:pos x="connsiteX1" y="connsiteY1"/>
                    </a:cxn>
                    <a:cxn ang="0">
                      <a:pos x="connsiteX2" y="connsiteY2"/>
                    </a:cxn>
                    <a:cxn ang="0">
                      <a:pos x="connsiteX3" y="connsiteY3"/>
                    </a:cxn>
                  </a:cxnLst>
                  <a:rect l="l" t="t" r="r" b="b"/>
                  <a:pathLst>
                    <a:path w="108610" h="96528">
                      <a:moveTo>
                        <a:pt x="108610" y="2332"/>
                      </a:moveTo>
                      <a:lnTo>
                        <a:pt x="1973" y="96529"/>
                      </a:lnTo>
                      <a:lnTo>
                        <a:pt x="0" y="94196"/>
                      </a:lnTo>
                      <a:lnTo>
                        <a:pt x="106577" y="0"/>
                      </a:lnTo>
                      <a:close/>
                    </a:path>
                  </a:pathLst>
                </a:custGeom>
                <a:grpFill/>
                <a:ln w="5978" cap="flat">
                  <a:noFill/>
                  <a:prstDash val="solid"/>
                  <a:miter/>
                </a:ln>
              </p:spPr>
              <p:txBody>
                <a:bodyPr rtlCol="0" anchor="ctr"/>
                <a:lstStyle/>
                <a:p>
                  <a:endParaRPr lang="en-GB"/>
                </a:p>
              </p:txBody>
            </p:sp>
            <p:sp>
              <p:nvSpPr>
                <p:cNvPr id="4639" name="Vrije vorm: vorm 4638">
                  <a:extLst>
                    <a:ext uri="{FF2B5EF4-FFF2-40B4-BE49-F238E27FC236}">
                      <a16:creationId xmlns:a16="http://schemas.microsoft.com/office/drawing/2014/main" id="{2836741A-1107-4211-B3FD-2C6DA688FF23}"/>
                    </a:ext>
                  </a:extLst>
                </p:cNvPr>
                <p:cNvSpPr/>
                <p:nvPr/>
              </p:nvSpPr>
              <p:spPr>
                <a:xfrm>
                  <a:off x="7412921" y="2200449"/>
                  <a:ext cx="18289" cy="18398"/>
                </a:xfrm>
                <a:custGeom>
                  <a:avLst/>
                  <a:gdLst>
                    <a:gd name="connsiteX0" fmla="*/ 3075 w 18289"/>
                    <a:gd name="connsiteY0" fmla="*/ 2291 h 18398"/>
                    <a:gd name="connsiteX1" fmla="*/ 15993 w 18289"/>
                    <a:gd name="connsiteY1" fmla="*/ 3129 h 18398"/>
                    <a:gd name="connsiteX2" fmla="*/ 15216 w 18289"/>
                    <a:gd name="connsiteY2" fmla="*/ 16107 h 18398"/>
                    <a:gd name="connsiteX3" fmla="*/ 2297 w 18289"/>
                    <a:gd name="connsiteY3" fmla="*/ 15269 h 18398"/>
                    <a:gd name="connsiteX4" fmla="*/ 3075 w 18289"/>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98">
                      <a:moveTo>
                        <a:pt x="3075" y="2291"/>
                      </a:moveTo>
                      <a:cubicBezTo>
                        <a:pt x="6843" y="-1058"/>
                        <a:pt x="12644" y="-699"/>
                        <a:pt x="15993" y="3129"/>
                      </a:cubicBezTo>
                      <a:cubicBezTo>
                        <a:pt x="19342" y="6956"/>
                        <a:pt x="18983" y="12758"/>
                        <a:pt x="15216" y="16107"/>
                      </a:cubicBezTo>
                      <a:cubicBezTo>
                        <a:pt x="11448" y="19456"/>
                        <a:pt x="5646" y="19097"/>
                        <a:pt x="2297" y="15269"/>
                      </a:cubicBezTo>
                      <a:cubicBezTo>
                        <a:pt x="-1052" y="11442"/>
                        <a:pt x="-693" y="5641"/>
                        <a:pt x="3075" y="2291"/>
                      </a:cubicBezTo>
                      <a:close/>
                    </a:path>
                  </a:pathLst>
                </a:custGeom>
                <a:grpFill/>
                <a:ln w="5978" cap="flat">
                  <a:noFill/>
                  <a:prstDash val="solid"/>
                  <a:miter/>
                </a:ln>
              </p:spPr>
              <p:txBody>
                <a:bodyPr rtlCol="0" anchor="ctr"/>
                <a:lstStyle/>
                <a:p>
                  <a:endParaRPr lang="en-GB"/>
                </a:p>
              </p:txBody>
            </p:sp>
            <p:sp>
              <p:nvSpPr>
                <p:cNvPr id="4640" name="Vrije vorm: vorm 4639">
                  <a:extLst>
                    <a:ext uri="{FF2B5EF4-FFF2-40B4-BE49-F238E27FC236}">
                      <a16:creationId xmlns:a16="http://schemas.microsoft.com/office/drawing/2014/main" id="{1DAF0AD8-5615-47EA-87F4-06B76C27FC85}"/>
                    </a:ext>
                  </a:extLst>
                </p:cNvPr>
                <p:cNvSpPr/>
                <p:nvPr/>
              </p:nvSpPr>
              <p:spPr>
                <a:xfrm>
                  <a:off x="7307002" y="2294007"/>
                  <a:ext cx="18290" cy="18377"/>
                </a:xfrm>
                <a:custGeom>
                  <a:avLst/>
                  <a:gdLst>
                    <a:gd name="connsiteX0" fmla="*/ 3075 w 18290"/>
                    <a:gd name="connsiteY0" fmla="*/ 2271 h 18377"/>
                    <a:gd name="connsiteX1" fmla="*/ 2297 w 18290"/>
                    <a:gd name="connsiteY1" fmla="*/ 15249 h 18377"/>
                    <a:gd name="connsiteX2" fmla="*/ 15216 w 18290"/>
                    <a:gd name="connsiteY2" fmla="*/ 16086 h 18377"/>
                    <a:gd name="connsiteX3" fmla="*/ 15993 w 18290"/>
                    <a:gd name="connsiteY3" fmla="*/ 3108 h 18377"/>
                    <a:gd name="connsiteX4" fmla="*/ 3075 w 18290"/>
                    <a:gd name="connsiteY4" fmla="*/ 2271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77">
                      <a:moveTo>
                        <a:pt x="3075" y="2271"/>
                      </a:moveTo>
                      <a:cubicBezTo>
                        <a:pt x="-693" y="5620"/>
                        <a:pt x="-1052" y="11421"/>
                        <a:pt x="2297" y="15249"/>
                      </a:cubicBezTo>
                      <a:cubicBezTo>
                        <a:pt x="5647" y="19077"/>
                        <a:pt x="11448" y="19436"/>
                        <a:pt x="15216" y="16086"/>
                      </a:cubicBezTo>
                      <a:cubicBezTo>
                        <a:pt x="18983" y="12737"/>
                        <a:pt x="19343" y="6936"/>
                        <a:pt x="15993" y="3108"/>
                      </a:cubicBezTo>
                      <a:cubicBezTo>
                        <a:pt x="12644" y="-660"/>
                        <a:pt x="6842" y="-1078"/>
                        <a:pt x="3075" y="2271"/>
                      </a:cubicBezTo>
                      <a:close/>
                    </a:path>
                  </a:pathLst>
                </a:custGeom>
                <a:grpFill/>
                <a:ln w="5978" cap="flat">
                  <a:noFill/>
                  <a:prstDash val="solid"/>
                  <a:miter/>
                </a:ln>
              </p:spPr>
              <p:txBody>
                <a:bodyPr rtlCol="0" anchor="ctr"/>
                <a:lstStyle/>
                <a:p>
                  <a:endParaRPr lang="en-GB"/>
                </a:p>
              </p:txBody>
            </p:sp>
          </p:grpSp>
          <p:grpSp>
            <p:nvGrpSpPr>
              <p:cNvPr id="248" name="Graphic 3">
                <a:extLst>
                  <a:ext uri="{FF2B5EF4-FFF2-40B4-BE49-F238E27FC236}">
                    <a16:creationId xmlns:a16="http://schemas.microsoft.com/office/drawing/2014/main" id="{0BD955EF-8102-493F-9CD2-B60AE8738CB2}"/>
                  </a:ext>
                </a:extLst>
              </p:cNvPr>
              <p:cNvGrpSpPr/>
              <p:nvPr/>
            </p:nvGrpSpPr>
            <p:grpSpPr>
              <a:xfrm>
                <a:off x="7732066" y="3484577"/>
                <a:ext cx="77586" cy="21132"/>
                <a:chOff x="7732066" y="3484577"/>
                <a:chExt cx="77586" cy="21132"/>
              </a:xfrm>
              <a:grpFill/>
            </p:grpSpPr>
            <p:sp>
              <p:nvSpPr>
                <p:cNvPr id="4635" name="Vrije vorm: vorm 4634">
                  <a:extLst>
                    <a:ext uri="{FF2B5EF4-FFF2-40B4-BE49-F238E27FC236}">
                      <a16:creationId xmlns:a16="http://schemas.microsoft.com/office/drawing/2014/main" id="{890B7A75-9DEC-4F49-8918-F2C2E90E7C05}"/>
                    </a:ext>
                  </a:extLst>
                </p:cNvPr>
                <p:cNvSpPr/>
                <p:nvPr/>
              </p:nvSpPr>
              <p:spPr>
                <a:xfrm>
                  <a:off x="7740688" y="3492243"/>
                  <a:ext cx="60346" cy="5801"/>
                </a:xfrm>
                <a:custGeom>
                  <a:avLst/>
                  <a:gdLst>
                    <a:gd name="connsiteX0" fmla="*/ 60346 w 60346"/>
                    <a:gd name="connsiteY0" fmla="*/ 2751 h 5801"/>
                    <a:gd name="connsiteX1" fmla="*/ 60166 w 60346"/>
                    <a:gd name="connsiteY1" fmla="*/ 5801 h 5801"/>
                    <a:gd name="connsiteX2" fmla="*/ 0 w 60346"/>
                    <a:gd name="connsiteY2" fmla="*/ 3050 h 5801"/>
                    <a:gd name="connsiteX3" fmla="*/ 120 w 60346"/>
                    <a:gd name="connsiteY3" fmla="*/ 0 h 5801"/>
                  </a:gdLst>
                  <a:ahLst/>
                  <a:cxnLst>
                    <a:cxn ang="0">
                      <a:pos x="connsiteX0" y="connsiteY0"/>
                    </a:cxn>
                    <a:cxn ang="0">
                      <a:pos x="connsiteX1" y="connsiteY1"/>
                    </a:cxn>
                    <a:cxn ang="0">
                      <a:pos x="connsiteX2" y="connsiteY2"/>
                    </a:cxn>
                    <a:cxn ang="0">
                      <a:pos x="connsiteX3" y="connsiteY3"/>
                    </a:cxn>
                  </a:cxnLst>
                  <a:rect l="l" t="t" r="r" b="b"/>
                  <a:pathLst>
                    <a:path w="60346" h="5801">
                      <a:moveTo>
                        <a:pt x="60346" y="2751"/>
                      </a:moveTo>
                      <a:lnTo>
                        <a:pt x="60166" y="5801"/>
                      </a:lnTo>
                      <a:lnTo>
                        <a:pt x="0" y="3050"/>
                      </a:lnTo>
                      <a:lnTo>
                        <a:pt x="120" y="0"/>
                      </a:lnTo>
                      <a:close/>
                    </a:path>
                  </a:pathLst>
                </a:custGeom>
                <a:grpFill/>
                <a:ln w="5978" cap="flat">
                  <a:noFill/>
                  <a:prstDash val="solid"/>
                  <a:miter/>
                </a:ln>
              </p:spPr>
              <p:txBody>
                <a:bodyPr rtlCol="0" anchor="ctr"/>
                <a:lstStyle/>
                <a:p>
                  <a:endParaRPr lang="en-GB"/>
                </a:p>
              </p:txBody>
            </p:sp>
            <p:sp>
              <p:nvSpPr>
                <p:cNvPr id="4636" name="Vrije vorm: vorm 4635">
                  <a:extLst>
                    <a:ext uri="{FF2B5EF4-FFF2-40B4-BE49-F238E27FC236}">
                      <a16:creationId xmlns:a16="http://schemas.microsoft.com/office/drawing/2014/main" id="{6F563F4D-CB6C-4AF3-9CAE-05C5FAF81E38}"/>
                    </a:ext>
                  </a:extLst>
                </p:cNvPr>
                <p:cNvSpPr/>
                <p:nvPr/>
              </p:nvSpPr>
              <p:spPr>
                <a:xfrm>
                  <a:off x="7791340" y="3487269"/>
                  <a:ext cx="18312" cy="18441"/>
                </a:xfrm>
                <a:custGeom>
                  <a:avLst/>
                  <a:gdLst>
                    <a:gd name="connsiteX0" fmla="*/ 9515 w 18312"/>
                    <a:gd name="connsiteY0" fmla="*/ 10 h 18441"/>
                    <a:gd name="connsiteX1" fmla="*/ 18307 w 18312"/>
                    <a:gd name="connsiteY1" fmla="*/ 9639 h 18441"/>
                    <a:gd name="connsiteX2" fmla="*/ 8797 w 18312"/>
                    <a:gd name="connsiteY2" fmla="*/ 18431 h 18441"/>
                    <a:gd name="connsiteX3" fmla="*/ 6 w 18312"/>
                    <a:gd name="connsiteY3" fmla="*/ 8802 h 18441"/>
                    <a:gd name="connsiteX4" fmla="*/ 9515 w 18312"/>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1">
                      <a:moveTo>
                        <a:pt x="9515" y="10"/>
                      </a:moveTo>
                      <a:cubicBezTo>
                        <a:pt x="14599" y="250"/>
                        <a:pt x="18486" y="4556"/>
                        <a:pt x="18307" y="9639"/>
                      </a:cubicBezTo>
                      <a:cubicBezTo>
                        <a:pt x="18068" y="14723"/>
                        <a:pt x="13821" y="18670"/>
                        <a:pt x="8797" y="18431"/>
                      </a:cubicBezTo>
                      <a:cubicBezTo>
                        <a:pt x="3774" y="18192"/>
                        <a:pt x="-174" y="13886"/>
                        <a:pt x="6" y="8802"/>
                      </a:cubicBezTo>
                      <a:cubicBezTo>
                        <a:pt x="185" y="3718"/>
                        <a:pt x="4491" y="-229"/>
                        <a:pt x="9515" y="10"/>
                      </a:cubicBezTo>
                      <a:close/>
                    </a:path>
                  </a:pathLst>
                </a:custGeom>
                <a:grpFill/>
                <a:ln w="5978" cap="flat">
                  <a:noFill/>
                  <a:prstDash val="solid"/>
                  <a:miter/>
                </a:ln>
              </p:spPr>
              <p:txBody>
                <a:bodyPr rtlCol="0" anchor="ctr"/>
                <a:lstStyle/>
                <a:p>
                  <a:endParaRPr lang="en-GB"/>
                </a:p>
              </p:txBody>
            </p:sp>
            <p:sp>
              <p:nvSpPr>
                <p:cNvPr id="4637" name="Vrije vorm: vorm 4636">
                  <a:extLst>
                    <a:ext uri="{FF2B5EF4-FFF2-40B4-BE49-F238E27FC236}">
                      <a16:creationId xmlns:a16="http://schemas.microsoft.com/office/drawing/2014/main" id="{8FB73D31-A0C8-472A-B167-BD1C425089F8}"/>
                    </a:ext>
                  </a:extLst>
                </p:cNvPr>
                <p:cNvSpPr/>
                <p:nvPr/>
              </p:nvSpPr>
              <p:spPr>
                <a:xfrm>
                  <a:off x="7732066" y="3484577"/>
                  <a:ext cx="18321" cy="18441"/>
                </a:xfrm>
                <a:custGeom>
                  <a:avLst/>
                  <a:gdLst>
                    <a:gd name="connsiteX0" fmla="*/ 9519 w 18321"/>
                    <a:gd name="connsiteY0" fmla="*/ 10 h 18441"/>
                    <a:gd name="connsiteX1" fmla="*/ 10 w 18321"/>
                    <a:gd name="connsiteY1" fmla="*/ 8802 h 18441"/>
                    <a:gd name="connsiteX2" fmla="*/ 8802 w 18321"/>
                    <a:gd name="connsiteY2" fmla="*/ 18431 h 18441"/>
                    <a:gd name="connsiteX3" fmla="*/ 18311 w 18321"/>
                    <a:gd name="connsiteY3" fmla="*/ 9639 h 18441"/>
                    <a:gd name="connsiteX4" fmla="*/ 9519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19" y="10"/>
                      </a:moveTo>
                      <a:cubicBezTo>
                        <a:pt x="4436" y="-229"/>
                        <a:pt x="190" y="3718"/>
                        <a:pt x="10" y="8802"/>
                      </a:cubicBezTo>
                      <a:cubicBezTo>
                        <a:pt x="-229" y="13886"/>
                        <a:pt x="3718" y="18192"/>
                        <a:pt x="8802" y="18431"/>
                      </a:cubicBezTo>
                      <a:cubicBezTo>
                        <a:pt x="13885" y="18670"/>
                        <a:pt x="18132" y="14723"/>
                        <a:pt x="18311" y="9639"/>
                      </a:cubicBezTo>
                      <a:cubicBezTo>
                        <a:pt x="18550" y="4556"/>
                        <a:pt x="14603" y="250"/>
                        <a:pt x="9519" y="10"/>
                      </a:cubicBezTo>
                      <a:close/>
                    </a:path>
                  </a:pathLst>
                </a:custGeom>
                <a:grpFill/>
                <a:ln w="5978" cap="flat">
                  <a:noFill/>
                  <a:prstDash val="solid"/>
                  <a:miter/>
                </a:ln>
              </p:spPr>
              <p:txBody>
                <a:bodyPr rtlCol="0" anchor="ctr"/>
                <a:lstStyle/>
                <a:p>
                  <a:endParaRPr lang="en-GB"/>
                </a:p>
              </p:txBody>
            </p:sp>
          </p:grpSp>
          <p:grpSp>
            <p:nvGrpSpPr>
              <p:cNvPr id="249" name="Graphic 3">
                <a:extLst>
                  <a:ext uri="{FF2B5EF4-FFF2-40B4-BE49-F238E27FC236}">
                    <a16:creationId xmlns:a16="http://schemas.microsoft.com/office/drawing/2014/main" id="{76DD91BC-3E04-4A72-A946-BBA0BE98F7F1}"/>
                  </a:ext>
                </a:extLst>
              </p:cNvPr>
              <p:cNvGrpSpPr/>
              <p:nvPr/>
            </p:nvGrpSpPr>
            <p:grpSpPr>
              <a:xfrm>
                <a:off x="7053365" y="1686140"/>
                <a:ext cx="346919" cy="392485"/>
                <a:chOff x="7053365" y="1686140"/>
                <a:chExt cx="346919" cy="392485"/>
              </a:xfrm>
              <a:grpFill/>
            </p:grpSpPr>
            <p:sp>
              <p:nvSpPr>
                <p:cNvPr id="4632" name="Vrije vorm: vorm 4631">
                  <a:extLst>
                    <a:ext uri="{FF2B5EF4-FFF2-40B4-BE49-F238E27FC236}">
                      <a16:creationId xmlns:a16="http://schemas.microsoft.com/office/drawing/2014/main" id="{05FD5D4F-D1AB-4594-820D-8FC05A344571}"/>
                    </a:ext>
                  </a:extLst>
                </p:cNvPr>
                <p:cNvSpPr/>
                <p:nvPr/>
              </p:nvSpPr>
              <p:spPr>
                <a:xfrm>
                  <a:off x="7061040" y="1693960"/>
                  <a:ext cx="331570" cy="376785"/>
                </a:xfrm>
                <a:custGeom>
                  <a:avLst/>
                  <a:gdLst>
                    <a:gd name="connsiteX0" fmla="*/ 331571 w 331570"/>
                    <a:gd name="connsiteY0" fmla="*/ 2033 h 376785"/>
                    <a:gd name="connsiteX1" fmla="*/ 2332 w 331570"/>
                    <a:gd name="connsiteY1" fmla="*/ 376785 h 376785"/>
                    <a:gd name="connsiteX2" fmla="*/ 0 w 331570"/>
                    <a:gd name="connsiteY2" fmla="*/ 374752 h 376785"/>
                    <a:gd name="connsiteX3" fmla="*/ 329238 w 331570"/>
                    <a:gd name="connsiteY3" fmla="*/ 0 h 376785"/>
                  </a:gdLst>
                  <a:ahLst/>
                  <a:cxnLst>
                    <a:cxn ang="0">
                      <a:pos x="connsiteX0" y="connsiteY0"/>
                    </a:cxn>
                    <a:cxn ang="0">
                      <a:pos x="connsiteX1" y="connsiteY1"/>
                    </a:cxn>
                    <a:cxn ang="0">
                      <a:pos x="connsiteX2" y="connsiteY2"/>
                    </a:cxn>
                    <a:cxn ang="0">
                      <a:pos x="connsiteX3" y="connsiteY3"/>
                    </a:cxn>
                  </a:cxnLst>
                  <a:rect l="l" t="t" r="r" b="b"/>
                  <a:pathLst>
                    <a:path w="331570" h="376785">
                      <a:moveTo>
                        <a:pt x="331571" y="2033"/>
                      </a:moveTo>
                      <a:lnTo>
                        <a:pt x="2332" y="376785"/>
                      </a:lnTo>
                      <a:lnTo>
                        <a:pt x="0" y="374752"/>
                      </a:lnTo>
                      <a:lnTo>
                        <a:pt x="329238" y="0"/>
                      </a:lnTo>
                      <a:close/>
                    </a:path>
                  </a:pathLst>
                </a:custGeom>
                <a:grpFill/>
                <a:ln w="5978" cap="flat">
                  <a:noFill/>
                  <a:prstDash val="solid"/>
                  <a:miter/>
                </a:ln>
              </p:spPr>
              <p:txBody>
                <a:bodyPr rtlCol="0" anchor="ctr"/>
                <a:lstStyle/>
                <a:p>
                  <a:endParaRPr lang="en-GB"/>
                </a:p>
              </p:txBody>
            </p:sp>
            <p:sp>
              <p:nvSpPr>
                <p:cNvPr id="4633" name="Vrije vorm: vorm 4632">
                  <a:extLst>
                    <a:ext uri="{FF2B5EF4-FFF2-40B4-BE49-F238E27FC236}">
                      <a16:creationId xmlns:a16="http://schemas.microsoft.com/office/drawing/2014/main" id="{892EE04F-964B-4562-B824-FC726C2716D9}"/>
                    </a:ext>
                  </a:extLst>
                </p:cNvPr>
                <p:cNvSpPr/>
                <p:nvPr/>
              </p:nvSpPr>
              <p:spPr>
                <a:xfrm>
                  <a:off x="7053365" y="2060234"/>
                  <a:ext cx="18317" cy="18391"/>
                </a:xfrm>
                <a:custGeom>
                  <a:avLst/>
                  <a:gdLst>
                    <a:gd name="connsiteX0" fmla="*/ 16047 w 18317"/>
                    <a:gd name="connsiteY0" fmla="*/ 15296 h 18391"/>
                    <a:gd name="connsiteX1" fmla="*/ 3129 w 18317"/>
                    <a:gd name="connsiteY1" fmla="*/ 16073 h 18391"/>
                    <a:gd name="connsiteX2" fmla="*/ 2291 w 18317"/>
                    <a:gd name="connsiteY2" fmla="*/ 3095 h 18391"/>
                    <a:gd name="connsiteX3" fmla="*/ 15209 w 18317"/>
                    <a:gd name="connsiteY3" fmla="*/ 2318 h 18391"/>
                    <a:gd name="connsiteX4" fmla="*/ 16047 w 18317"/>
                    <a:gd name="connsiteY4" fmla="*/ 15296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91">
                      <a:moveTo>
                        <a:pt x="16047" y="15296"/>
                      </a:moveTo>
                      <a:cubicBezTo>
                        <a:pt x="12698" y="19124"/>
                        <a:pt x="6897" y="19423"/>
                        <a:pt x="3129" y="16073"/>
                      </a:cubicBezTo>
                      <a:cubicBezTo>
                        <a:pt x="-699" y="12724"/>
                        <a:pt x="-1058" y="6863"/>
                        <a:pt x="2291" y="3095"/>
                      </a:cubicBezTo>
                      <a:cubicBezTo>
                        <a:pt x="5640" y="-732"/>
                        <a:pt x="11442" y="-1031"/>
                        <a:pt x="15209" y="2318"/>
                      </a:cubicBezTo>
                      <a:cubicBezTo>
                        <a:pt x="18977" y="5667"/>
                        <a:pt x="19396" y="11468"/>
                        <a:pt x="16047" y="15296"/>
                      </a:cubicBezTo>
                      <a:close/>
                    </a:path>
                  </a:pathLst>
                </a:custGeom>
                <a:grpFill/>
                <a:ln w="5978" cap="flat">
                  <a:noFill/>
                  <a:prstDash val="solid"/>
                  <a:miter/>
                </a:ln>
              </p:spPr>
              <p:txBody>
                <a:bodyPr rtlCol="0" anchor="ctr"/>
                <a:lstStyle/>
                <a:p>
                  <a:endParaRPr lang="en-GB"/>
                </a:p>
              </p:txBody>
            </p:sp>
            <p:sp>
              <p:nvSpPr>
                <p:cNvPr id="4634" name="Vrije vorm: vorm 4633">
                  <a:extLst>
                    <a:ext uri="{FF2B5EF4-FFF2-40B4-BE49-F238E27FC236}">
                      <a16:creationId xmlns:a16="http://schemas.microsoft.com/office/drawing/2014/main" id="{0EF75EDE-AD25-4CBD-BC68-797761E1B719}"/>
                    </a:ext>
                  </a:extLst>
                </p:cNvPr>
                <p:cNvSpPr/>
                <p:nvPr/>
              </p:nvSpPr>
              <p:spPr>
                <a:xfrm>
                  <a:off x="7381946" y="1686140"/>
                  <a:ext cx="18338" cy="18370"/>
                </a:xfrm>
                <a:custGeom>
                  <a:avLst/>
                  <a:gdLst>
                    <a:gd name="connsiteX0" fmla="*/ 16047 w 18338"/>
                    <a:gd name="connsiteY0" fmla="*/ 15296 h 18370"/>
                    <a:gd name="connsiteX1" fmla="*/ 15210 w 18338"/>
                    <a:gd name="connsiteY1" fmla="*/ 2318 h 18370"/>
                    <a:gd name="connsiteX2" fmla="*/ 2291 w 18338"/>
                    <a:gd name="connsiteY2" fmla="*/ 3095 h 18370"/>
                    <a:gd name="connsiteX3" fmla="*/ 3129 w 18338"/>
                    <a:gd name="connsiteY3" fmla="*/ 16073 h 18370"/>
                    <a:gd name="connsiteX4" fmla="*/ 16047 w 18338"/>
                    <a:gd name="connsiteY4" fmla="*/ 15296 h 18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0">
                      <a:moveTo>
                        <a:pt x="16047" y="15296"/>
                      </a:moveTo>
                      <a:cubicBezTo>
                        <a:pt x="19396" y="11468"/>
                        <a:pt x="19038" y="5667"/>
                        <a:pt x="15210" y="2318"/>
                      </a:cubicBezTo>
                      <a:cubicBezTo>
                        <a:pt x="11382" y="-1031"/>
                        <a:pt x="5641" y="-732"/>
                        <a:pt x="2291" y="3095"/>
                      </a:cubicBezTo>
                      <a:cubicBezTo>
                        <a:pt x="-1058" y="6923"/>
                        <a:pt x="-699" y="12724"/>
                        <a:pt x="3129" y="16073"/>
                      </a:cubicBezTo>
                      <a:cubicBezTo>
                        <a:pt x="6956" y="19423"/>
                        <a:pt x="12757" y="19064"/>
                        <a:pt x="16047" y="15296"/>
                      </a:cubicBezTo>
                      <a:close/>
                    </a:path>
                  </a:pathLst>
                </a:custGeom>
                <a:grpFill/>
                <a:ln w="5978" cap="flat">
                  <a:noFill/>
                  <a:prstDash val="solid"/>
                  <a:miter/>
                </a:ln>
              </p:spPr>
              <p:txBody>
                <a:bodyPr rtlCol="0" anchor="ctr"/>
                <a:lstStyle/>
                <a:p>
                  <a:endParaRPr lang="en-GB"/>
                </a:p>
              </p:txBody>
            </p:sp>
          </p:grpSp>
          <p:grpSp>
            <p:nvGrpSpPr>
              <p:cNvPr id="250" name="Graphic 3">
                <a:extLst>
                  <a:ext uri="{FF2B5EF4-FFF2-40B4-BE49-F238E27FC236}">
                    <a16:creationId xmlns:a16="http://schemas.microsoft.com/office/drawing/2014/main" id="{E387B8CB-61F1-4C07-ABEA-A2F36A0FA2BF}"/>
                  </a:ext>
                </a:extLst>
              </p:cNvPr>
              <p:cNvGrpSpPr/>
              <p:nvPr/>
            </p:nvGrpSpPr>
            <p:grpSpPr>
              <a:xfrm>
                <a:off x="7893263" y="3994302"/>
                <a:ext cx="127976" cy="53212"/>
                <a:chOff x="7893263" y="3994302"/>
                <a:chExt cx="127976" cy="53212"/>
              </a:xfrm>
              <a:grpFill/>
            </p:grpSpPr>
            <p:sp>
              <p:nvSpPr>
                <p:cNvPr id="4629" name="Vrije vorm: vorm 4628">
                  <a:extLst>
                    <a:ext uri="{FF2B5EF4-FFF2-40B4-BE49-F238E27FC236}">
                      <a16:creationId xmlns:a16="http://schemas.microsoft.com/office/drawing/2014/main" id="{274F0025-57B7-448E-A638-65BAA346E539}"/>
                    </a:ext>
                  </a:extLst>
                </p:cNvPr>
                <p:cNvSpPr/>
                <p:nvPr/>
              </p:nvSpPr>
              <p:spPr>
                <a:xfrm>
                  <a:off x="7901570" y="4001980"/>
                  <a:ext cx="111361" cy="37977"/>
                </a:xfrm>
                <a:custGeom>
                  <a:avLst/>
                  <a:gdLst>
                    <a:gd name="connsiteX0" fmla="*/ 111361 w 111361"/>
                    <a:gd name="connsiteY0" fmla="*/ 35047 h 37977"/>
                    <a:gd name="connsiteX1" fmla="*/ 110464 w 111361"/>
                    <a:gd name="connsiteY1" fmla="*/ 37977 h 37977"/>
                    <a:gd name="connsiteX2" fmla="*/ 0 w 111361"/>
                    <a:gd name="connsiteY2" fmla="*/ 2871 h 37977"/>
                    <a:gd name="connsiteX3" fmla="*/ 897 w 111361"/>
                    <a:gd name="connsiteY3" fmla="*/ 0 h 37977"/>
                  </a:gdLst>
                  <a:ahLst/>
                  <a:cxnLst>
                    <a:cxn ang="0">
                      <a:pos x="connsiteX0" y="connsiteY0"/>
                    </a:cxn>
                    <a:cxn ang="0">
                      <a:pos x="connsiteX1" y="connsiteY1"/>
                    </a:cxn>
                    <a:cxn ang="0">
                      <a:pos x="connsiteX2" y="connsiteY2"/>
                    </a:cxn>
                    <a:cxn ang="0">
                      <a:pos x="connsiteX3" y="connsiteY3"/>
                    </a:cxn>
                  </a:cxnLst>
                  <a:rect l="l" t="t" r="r" b="b"/>
                  <a:pathLst>
                    <a:path w="111361" h="37977">
                      <a:moveTo>
                        <a:pt x="111361" y="35047"/>
                      </a:moveTo>
                      <a:lnTo>
                        <a:pt x="110464" y="37977"/>
                      </a:lnTo>
                      <a:lnTo>
                        <a:pt x="0" y="2871"/>
                      </a:lnTo>
                      <a:lnTo>
                        <a:pt x="897" y="0"/>
                      </a:lnTo>
                      <a:close/>
                    </a:path>
                  </a:pathLst>
                </a:custGeom>
                <a:grpFill/>
                <a:ln w="5978" cap="flat">
                  <a:noFill/>
                  <a:prstDash val="solid"/>
                  <a:miter/>
                </a:ln>
              </p:spPr>
              <p:txBody>
                <a:bodyPr rtlCol="0" anchor="ctr"/>
                <a:lstStyle/>
                <a:p>
                  <a:endParaRPr lang="en-GB"/>
                </a:p>
              </p:txBody>
            </p:sp>
            <p:sp>
              <p:nvSpPr>
                <p:cNvPr id="4630" name="Vrije vorm: vorm 4629">
                  <a:extLst>
                    <a:ext uri="{FF2B5EF4-FFF2-40B4-BE49-F238E27FC236}">
                      <a16:creationId xmlns:a16="http://schemas.microsoft.com/office/drawing/2014/main" id="{D553BD10-5E26-4243-B608-833CB4250C67}"/>
                    </a:ext>
                  </a:extLst>
                </p:cNvPr>
                <p:cNvSpPr/>
                <p:nvPr/>
              </p:nvSpPr>
              <p:spPr>
                <a:xfrm>
                  <a:off x="8002889" y="4029138"/>
                  <a:ext cx="18349" cy="18377"/>
                </a:xfrm>
                <a:custGeom>
                  <a:avLst/>
                  <a:gdLst>
                    <a:gd name="connsiteX0" fmla="*/ 11896 w 18349"/>
                    <a:gd name="connsiteY0" fmla="*/ 413 h 18377"/>
                    <a:gd name="connsiteX1" fmla="*/ 17937 w 18349"/>
                    <a:gd name="connsiteY1" fmla="*/ 11956 h 18377"/>
                    <a:gd name="connsiteX2" fmla="*/ 6453 w 18349"/>
                    <a:gd name="connsiteY2" fmla="*/ 17937 h 18377"/>
                    <a:gd name="connsiteX3" fmla="*/ 413 w 18349"/>
                    <a:gd name="connsiteY3" fmla="*/ 6394 h 18377"/>
                    <a:gd name="connsiteX4" fmla="*/ 11896 w 18349"/>
                    <a:gd name="connsiteY4" fmla="*/ 413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77">
                      <a:moveTo>
                        <a:pt x="11896" y="413"/>
                      </a:moveTo>
                      <a:cubicBezTo>
                        <a:pt x="16740" y="1968"/>
                        <a:pt x="19432" y="7112"/>
                        <a:pt x="17937" y="11956"/>
                      </a:cubicBezTo>
                      <a:cubicBezTo>
                        <a:pt x="16442" y="16800"/>
                        <a:pt x="11298" y="19492"/>
                        <a:pt x="6453" y="17937"/>
                      </a:cubicBezTo>
                      <a:cubicBezTo>
                        <a:pt x="1609" y="16382"/>
                        <a:pt x="-1082" y="11238"/>
                        <a:pt x="413" y="6394"/>
                      </a:cubicBezTo>
                      <a:cubicBezTo>
                        <a:pt x="1908" y="1610"/>
                        <a:pt x="7051" y="-1082"/>
                        <a:pt x="11896" y="413"/>
                      </a:cubicBezTo>
                      <a:close/>
                    </a:path>
                  </a:pathLst>
                </a:custGeom>
                <a:grpFill/>
                <a:ln w="5978" cap="flat">
                  <a:noFill/>
                  <a:prstDash val="solid"/>
                  <a:miter/>
                </a:ln>
              </p:spPr>
              <p:txBody>
                <a:bodyPr rtlCol="0" anchor="ctr"/>
                <a:lstStyle/>
                <a:p>
                  <a:endParaRPr lang="en-GB"/>
                </a:p>
              </p:txBody>
            </p:sp>
            <p:sp>
              <p:nvSpPr>
                <p:cNvPr id="4631" name="Vrije vorm: vorm 4630">
                  <a:extLst>
                    <a:ext uri="{FF2B5EF4-FFF2-40B4-BE49-F238E27FC236}">
                      <a16:creationId xmlns:a16="http://schemas.microsoft.com/office/drawing/2014/main" id="{A8441E14-56A2-489D-88A3-1F745F885E7E}"/>
                    </a:ext>
                  </a:extLst>
                </p:cNvPr>
                <p:cNvSpPr/>
                <p:nvPr/>
              </p:nvSpPr>
              <p:spPr>
                <a:xfrm>
                  <a:off x="7893263" y="3994302"/>
                  <a:ext cx="18348" cy="18405"/>
                </a:xfrm>
                <a:custGeom>
                  <a:avLst/>
                  <a:gdLst>
                    <a:gd name="connsiteX0" fmla="*/ 11895 w 18348"/>
                    <a:gd name="connsiteY0" fmla="*/ 441 h 18405"/>
                    <a:gd name="connsiteX1" fmla="*/ 413 w 18348"/>
                    <a:gd name="connsiteY1" fmla="*/ 6421 h 18405"/>
                    <a:gd name="connsiteX2" fmla="*/ 6454 w 18348"/>
                    <a:gd name="connsiteY2" fmla="*/ 17964 h 18405"/>
                    <a:gd name="connsiteX3" fmla="*/ 17936 w 18348"/>
                    <a:gd name="connsiteY3" fmla="*/ 11984 h 18405"/>
                    <a:gd name="connsiteX4" fmla="*/ 11895 w 18348"/>
                    <a:gd name="connsiteY4" fmla="*/ 4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05">
                      <a:moveTo>
                        <a:pt x="11895" y="441"/>
                      </a:moveTo>
                      <a:cubicBezTo>
                        <a:pt x="7051" y="-1114"/>
                        <a:pt x="1908" y="1577"/>
                        <a:pt x="413" y="6421"/>
                      </a:cubicBezTo>
                      <a:cubicBezTo>
                        <a:pt x="-1082" y="11266"/>
                        <a:pt x="1609" y="16469"/>
                        <a:pt x="6454" y="17964"/>
                      </a:cubicBezTo>
                      <a:cubicBezTo>
                        <a:pt x="11298" y="19519"/>
                        <a:pt x="16441" y="16828"/>
                        <a:pt x="17936" y="11984"/>
                      </a:cubicBezTo>
                      <a:cubicBezTo>
                        <a:pt x="19431" y="7199"/>
                        <a:pt x="16740" y="1996"/>
                        <a:pt x="11895" y="441"/>
                      </a:cubicBezTo>
                      <a:close/>
                    </a:path>
                  </a:pathLst>
                </a:custGeom>
                <a:grpFill/>
                <a:ln w="5978" cap="flat">
                  <a:noFill/>
                  <a:prstDash val="solid"/>
                  <a:miter/>
                </a:ln>
              </p:spPr>
              <p:txBody>
                <a:bodyPr rtlCol="0" anchor="ctr"/>
                <a:lstStyle/>
                <a:p>
                  <a:endParaRPr lang="en-GB"/>
                </a:p>
              </p:txBody>
            </p:sp>
          </p:grpSp>
          <p:grpSp>
            <p:nvGrpSpPr>
              <p:cNvPr id="251" name="Graphic 3">
                <a:extLst>
                  <a:ext uri="{FF2B5EF4-FFF2-40B4-BE49-F238E27FC236}">
                    <a16:creationId xmlns:a16="http://schemas.microsoft.com/office/drawing/2014/main" id="{999A91BC-D760-4291-92F3-2B5E43915D75}"/>
                  </a:ext>
                </a:extLst>
              </p:cNvPr>
              <p:cNvGrpSpPr/>
              <p:nvPr/>
            </p:nvGrpSpPr>
            <p:grpSpPr>
              <a:xfrm>
                <a:off x="7222428" y="2048497"/>
                <a:ext cx="166325" cy="170353"/>
                <a:chOff x="7222428" y="2048497"/>
                <a:chExt cx="166325" cy="170353"/>
              </a:xfrm>
              <a:grpFill/>
            </p:grpSpPr>
            <p:sp>
              <p:nvSpPr>
                <p:cNvPr id="4626" name="Vrije vorm: vorm 4625">
                  <a:extLst>
                    <a:ext uri="{FF2B5EF4-FFF2-40B4-BE49-F238E27FC236}">
                      <a16:creationId xmlns:a16="http://schemas.microsoft.com/office/drawing/2014/main" id="{D6CE5704-F2DE-4E1F-8345-1FAABCB06A46}"/>
                    </a:ext>
                  </a:extLst>
                </p:cNvPr>
                <p:cNvSpPr/>
                <p:nvPr/>
              </p:nvSpPr>
              <p:spPr>
                <a:xfrm>
                  <a:off x="7230174" y="2056332"/>
                  <a:ext cx="150774" cy="154661"/>
                </a:xfrm>
                <a:custGeom>
                  <a:avLst/>
                  <a:gdLst>
                    <a:gd name="connsiteX0" fmla="*/ 150775 w 150774"/>
                    <a:gd name="connsiteY0" fmla="*/ 2153 h 154661"/>
                    <a:gd name="connsiteX1" fmla="*/ 2213 w 150774"/>
                    <a:gd name="connsiteY1" fmla="*/ 154661 h 154661"/>
                    <a:gd name="connsiteX2" fmla="*/ 0 w 150774"/>
                    <a:gd name="connsiteY2" fmla="*/ 152508 h 154661"/>
                    <a:gd name="connsiteX3" fmla="*/ 148622 w 150774"/>
                    <a:gd name="connsiteY3" fmla="*/ 0 h 154661"/>
                  </a:gdLst>
                  <a:ahLst/>
                  <a:cxnLst>
                    <a:cxn ang="0">
                      <a:pos x="connsiteX0" y="connsiteY0"/>
                    </a:cxn>
                    <a:cxn ang="0">
                      <a:pos x="connsiteX1" y="connsiteY1"/>
                    </a:cxn>
                    <a:cxn ang="0">
                      <a:pos x="connsiteX2" y="connsiteY2"/>
                    </a:cxn>
                    <a:cxn ang="0">
                      <a:pos x="connsiteX3" y="connsiteY3"/>
                    </a:cxn>
                  </a:cxnLst>
                  <a:rect l="l" t="t" r="r" b="b"/>
                  <a:pathLst>
                    <a:path w="150774" h="154661">
                      <a:moveTo>
                        <a:pt x="150775" y="2153"/>
                      </a:moveTo>
                      <a:lnTo>
                        <a:pt x="2213" y="154661"/>
                      </a:lnTo>
                      <a:lnTo>
                        <a:pt x="0" y="152508"/>
                      </a:lnTo>
                      <a:lnTo>
                        <a:pt x="148622" y="0"/>
                      </a:lnTo>
                      <a:close/>
                    </a:path>
                  </a:pathLst>
                </a:custGeom>
                <a:grpFill/>
                <a:ln w="5978" cap="flat">
                  <a:noFill/>
                  <a:prstDash val="solid"/>
                  <a:miter/>
                </a:ln>
              </p:spPr>
              <p:txBody>
                <a:bodyPr rtlCol="0" anchor="ctr"/>
                <a:lstStyle/>
                <a:p>
                  <a:endParaRPr lang="en-GB"/>
                </a:p>
              </p:txBody>
            </p:sp>
            <p:sp>
              <p:nvSpPr>
                <p:cNvPr id="4627" name="Vrije vorm: vorm 4626">
                  <a:extLst>
                    <a:ext uri="{FF2B5EF4-FFF2-40B4-BE49-F238E27FC236}">
                      <a16:creationId xmlns:a16="http://schemas.microsoft.com/office/drawing/2014/main" id="{30C57F89-8F78-4A29-B27A-7CD6D602E4FA}"/>
                    </a:ext>
                  </a:extLst>
                </p:cNvPr>
                <p:cNvSpPr/>
                <p:nvPr/>
              </p:nvSpPr>
              <p:spPr>
                <a:xfrm>
                  <a:off x="7370391" y="2048497"/>
                  <a:ext cx="18362" cy="18421"/>
                </a:xfrm>
                <a:custGeom>
                  <a:avLst/>
                  <a:gdLst>
                    <a:gd name="connsiteX0" fmla="*/ 2602 w 18362"/>
                    <a:gd name="connsiteY0" fmla="*/ 2751 h 18421"/>
                    <a:gd name="connsiteX1" fmla="*/ 15581 w 18362"/>
                    <a:gd name="connsiteY1" fmla="*/ 2632 h 18421"/>
                    <a:gd name="connsiteX2" fmla="*/ 15760 w 18362"/>
                    <a:gd name="connsiteY2" fmla="*/ 15670 h 18421"/>
                    <a:gd name="connsiteX3" fmla="*/ 2782 w 18362"/>
                    <a:gd name="connsiteY3" fmla="*/ 15789 h 18421"/>
                    <a:gd name="connsiteX4" fmla="*/ 2602 w 18362"/>
                    <a:gd name="connsiteY4" fmla="*/ 27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2602" y="2751"/>
                      </a:moveTo>
                      <a:cubicBezTo>
                        <a:pt x="6131" y="-897"/>
                        <a:pt x="11932" y="-897"/>
                        <a:pt x="15581" y="2632"/>
                      </a:cubicBezTo>
                      <a:cubicBezTo>
                        <a:pt x="19229" y="6220"/>
                        <a:pt x="19289" y="12021"/>
                        <a:pt x="15760" y="15670"/>
                      </a:cubicBezTo>
                      <a:cubicBezTo>
                        <a:pt x="12231" y="19318"/>
                        <a:pt x="6430" y="19318"/>
                        <a:pt x="2782" y="15789"/>
                      </a:cubicBezTo>
                      <a:cubicBezTo>
                        <a:pt x="-866" y="12201"/>
                        <a:pt x="-926" y="6400"/>
                        <a:pt x="2602" y="2751"/>
                      </a:cubicBezTo>
                      <a:close/>
                    </a:path>
                  </a:pathLst>
                </a:custGeom>
                <a:grpFill/>
                <a:ln w="5978" cap="flat">
                  <a:noFill/>
                  <a:prstDash val="solid"/>
                  <a:miter/>
                </a:ln>
              </p:spPr>
              <p:txBody>
                <a:bodyPr rtlCol="0" anchor="ctr"/>
                <a:lstStyle/>
                <a:p>
                  <a:endParaRPr lang="en-GB"/>
                </a:p>
              </p:txBody>
            </p:sp>
            <p:sp>
              <p:nvSpPr>
                <p:cNvPr id="4628" name="Vrije vorm: vorm 4627">
                  <a:extLst>
                    <a:ext uri="{FF2B5EF4-FFF2-40B4-BE49-F238E27FC236}">
                      <a16:creationId xmlns:a16="http://schemas.microsoft.com/office/drawing/2014/main" id="{46AD7C8F-6C9C-4BAC-B6F3-57A126554897}"/>
                    </a:ext>
                  </a:extLst>
                </p:cNvPr>
                <p:cNvSpPr/>
                <p:nvPr/>
              </p:nvSpPr>
              <p:spPr>
                <a:xfrm>
                  <a:off x="7222428" y="2200384"/>
                  <a:ext cx="18362" cy="18466"/>
                </a:xfrm>
                <a:custGeom>
                  <a:avLst/>
                  <a:gdLst>
                    <a:gd name="connsiteX0" fmla="*/ 2602 w 18362"/>
                    <a:gd name="connsiteY0" fmla="*/ 2774 h 18466"/>
                    <a:gd name="connsiteX1" fmla="*/ 2782 w 18362"/>
                    <a:gd name="connsiteY1" fmla="*/ 15812 h 18466"/>
                    <a:gd name="connsiteX2" fmla="*/ 15760 w 18362"/>
                    <a:gd name="connsiteY2" fmla="*/ 15692 h 18466"/>
                    <a:gd name="connsiteX3" fmla="*/ 15581 w 18362"/>
                    <a:gd name="connsiteY3" fmla="*/ 2654 h 18466"/>
                    <a:gd name="connsiteX4" fmla="*/ 2602 w 18362"/>
                    <a:gd name="connsiteY4" fmla="*/ 277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66">
                      <a:moveTo>
                        <a:pt x="2602" y="2774"/>
                      </a:moveTo>
                      <a:cubicBezTo>
                        <a:pt x="-926" y="6422"/>
                        <a:pt x="-866" y="12224"/>
                        <a:pt x="2782" y="15812"/>
                      </a:cubicBezTo>
                      <a:cubicBezTo>
                        <a:pt x="6430" y="19400"/>
                        <a:pt x="12231" y="19341"/>
                        <a:pt x="15760" y="15692"/>
                      </a:cubicBezTo>
                      <a:cubicBezTo>
                        <a:pt x="19289" y="12044"/>
                        <a:pt x="19229" y="6243"/>
                        <a:pt x="15581" y="2654"/>
                      </a:cubicBezTo>
                      <a:cubicBezTo>
                        <a:pt x="11932" y="-934"/>
                        <a:pt x="6131" y="-874"/>
                        <a:pt x="2602" y="2774"/>
                      </a:cubicBezTo>
                      <a:close/>
                    </a:path>
                  </a:pathLst>
                </a:custGeom>
                <a:grpFill/>
                <a:ln w="5978" cap="flat">
                  <a:noFill/>
                  <a:prstDash val="solid"/>
                  <a:miter/>
                </a:ln>
              </p:spPr>
              <p:txBody>
                <a:bodyPr rtlCol="0" anchor="ctr"/>
                <a:lstStyle/>
                <a:p>
                  <a:endParaRPr lang="en-GB"/>
                </a:p>
              </p:txBody>
            </p:sp>
          </p:grpSp>
          <p:grpSp>
            <p:nvGrpSpPr>
              <p:cNvPr id="252" name="Graphic 3">
                <a:extLst>
                  <a:ext uri="{FF2B5EF4-FFF2-40B4-BE49-F238E27FC236}">
                    <a16:creationId xmlns:a16="http://schemas.microsoft.com/office/drawing/2014/main" id="{2AA0100C-66D6-429A-B5EE-A4D5E77D89CF}"/>
                  </a:ext>
                </a:extLst>
              </p:cNvPr>
              <p:cNvGrpSpPr/>
              <p:nvPr/>
            </p:nvGrpSpPr>
            <p:grpSpPr>
              <a:xfrm>
                <a:off x="7703113" y="3704575"/>
                <a:ext cx="310616" cy="106342"/>
                <a:chOff x="7703113" y="3704575"/>
                <a:chExt cx="310616" cy="106342"/>
              </a:xfrm>
              <a:grpFill/>
            </p:grpSpPr>
            <p:sp>
              <p:nvSpPr>
                <p:cNvPr id="4623" name="Vrije vorm: vorm 4622">
                  <a:extLst>
                    <a:ext uri="{FF2B5EF4-FFF2-40B4-BE49-F238E27FC236}">
                      <a16:creationId xmlns:a16="http://schemas.microsoft.com/office/drawing/2014/main" id="{511A76B8-1F74-4B47-A3A6-B35FB1346BA4}"/>
                    </a:ext>
                  </a:extLst>
                </p:cNvPr>
                <p:cNvSpPr/>
                <p:nvPr/>
              </p:nvSpPr>
              <p:spPr>
                <a:xfrm>
                  <a:off x="7711443" y="3712154"/>
                  <a:ext cx="294011" cy="91146"/>
                </a:xfrm>
                <a:custGeom>
                  <a:avLst/>
                  <a:gdLst>
                    <a:gd name="connsiteX0" fmla="*/ 294012 w 294011"/>
                    <a:gd name="connsiteY0" fmla="*/ 88215 h 91146"/>
                    <a:gd name="connsiteX1" fmla="*/ 293115 w 294011"/>
                    <a:gd name="connsiteY1" fmla="*/ 91146 h 91146"/>
                    <a:gd name="connsiteX2" fmla="*/ 0 w 294011"/>
                    <a:gd name="connsiteY2" fmla="*/ 2930 h 91146"/>
                    <a:gd name="connsiteX3" fmla="*/ 837 w 294011"/>
                    <a:gd name="connsiteY3" fmla="*/ 0 h 91146"/>
                  </a:gdLst>
                  <a:ahLst/>
                  <a:cxnLst>
                    <a:cxn ang="0">
                      <a:pos x="connsiteX0" y="connsiteY0"/>
                    </a:cxn>
                    <a:cxn ang="0">
                      <a:pos x="connsiteX1" y="connsiteY1"/>
                    </a:cxn>
                    <a:cxn ang="0">
                      <a:pos x="connsiteX2" y="connsiteY2"/>
                    </a:cxn>
                    <a:cxn ang="0">
                      <a:pos x="connsiteX3" y="connsiteY3"/>
                    </a:cxn>
                  </a:cxnLst>
                  <a:rect l="l" t="t" r="r" b="b"/>
                  <a:pathLst>
                    <a:path w="294011" h="91146">
                      <a:moveTo>
                        <a:pt x="294012" y="88215"/>
                      </a:moveTo>
                      <a:lnTo>
                        <a:pt x="293115" y="91146"/>
                      </a:lnTo>
                      <a:lnTo>
                        <a:pt x="0" y="2930"/>
                      </a:lnTo>
                      <a:lnTo>
                        <a:pt x="837" y="0"/>
                      </a:lnTo>
                      <a:close/>
                    </a:path>
                  </a:pathLst>
                </a:custGeom>
                <a:grpFill/>
                <a:ln w="5978" cap="flat">
                  <a:noFill/>
                  <a:prstDash val="solid"/>
                  <a:miter/>
                </a:ln>
              </p:spPr>
              <p:txBody>
                <a:bodyPr rtlCol="0" anchor="ctr"/>
                <a:lstStyle/>
                <a:p>
                  <a:endParaRPr lang="en-GB"/>
                </a:p>
              </p:txBody>
            </p:sp>
            <p:sp>
              <p:nvSpPr>
                <p:cNvPr id="4624" name="Vrije vorm: vorm 4623">
                  <a:extLst>
                    <a:ext uri="{FF2B5EF4-FFF2-40B4-BE49-F238E27FC236}">
                      <a16:creationId xmlns:a16="http://schemas.microsoft.com/office/drawing/2014/main" id="{1AB00149-633B-4734-A45B-5694DABD1C45}"/>
                    </a:ext>
                  </a:extLst>
                </p:cNvPr>
                <p:cNvSpPr/>
                <p:nvPr/>
              </p:nvSpPr>
              <p:spPr>
                <a:xfrm>
                  <a:off x="7703113" y="3704575"/>
                  <a:ext cx="18334" cy="18425"/>
                </a:xfrm>
                <a:custGeom>
                  <a:avLst/>
                  <a:gdLst>
                    <a:gd name="connsiteX0" fmla="*/ 6596 w 18334"/>
                    <a:gd name="connsiteY0" fmla="*/ 18045 h 18425"/>
                    <a:gd name="connsiteX1" fmla="*/ 375 w 18334"/>
                    <a:gd name="connsiteY1" fmla="*/ 6562 h 18425"/>
                    <a:gd name="connsiteX2" fmla="*/ 11739 w 18334"/>
                    <a:gd name="connsiteY2" fmla="*/ 402 h 18425"/>
                    <a:gd name="connsiteX3" fmla="*/ 17959 w 18334"/>
                    <a:gd name="connsiteY3" fmla="*/ 11885 h 18425"/>
                    <a:gd name="connsiteX4" fmla="*/ 6596 w 18334"/>
                    <a:gd name="connsiteY4" fmla="*/ 1804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5">
                      <a:moveTo>
                        <a:pt x="6596" y="18045"/>
                      </a:moveTo>
                      <a:cubicBezTo>
                        <a:pt x="1751" y="16610"/>
                        <a:pt x="-1060" y="11467"/>
                        <a:pt x="375" y="6562"/>
                      </a:cubicBezTo>
                      <a:cubicBezTo>
                        <a:pt x="1811" y="1718"/>
                        <a:pt x="6894" y="-1093"/>
                        <a:pt x="11739" y="402"/>
                      </a:cubicBezTo>
                      <a:cubicBezTo>
                        <a:pt x="16584" y="1837"/>
                        <a:pt x="19394" y="6981"/>
                        <a:pt x="17959" y="11885"/>
                      </a:cubicBezTo>
                      <a:cubicBezTo>
                        <a:pt x="16524" y="16730"/>
                        <a:pt x="11440" y="19481"/>
                        <a:pt x="6596" y="18045"/>
                      </a:cubicBezTo>
                      <a:close/>
                    </a:path>
                  </a:pathLst>
                </a:custGeom>
                <a:grpFill/>
                <a:ln w="5978" cap="flat">
                  <a:noFill/>
                  <a:prstDash val="solid"/>
                  <a:miter/>
                </a:ln>
              </p:spPr>
              <p:txBody>
                <a:bodyPr rtlCol="0" anchor="ctr"/>
                <a:lstStyle/>
                <a:p>
                  <a:endParaRPr lang="en-GB"/>
                </a:p>
              </p:txBody>
            </p:sp>
            <p:sp>
              <p:nvSpPr>
                <p:cNvPr id="4625" name="Vrije vorm: vorm 4624">
                  <a:extLst>
                    <a:ext uri="{FF2B5EF4-FFF2-40B4-BE49-F238E27FC236}">
                      <a16:creationId xmlns:a16="http://schemas.microsoft.com/office/drawing/2014/main" id="{667783DD-104F-464B-8D1D-3CC06219BCEC}"/>
                    </a:ext>
                  </a:extLst>
                </p:cNvPr>
                <p:cNvSpPr/>
                <p:nvPr/>
              </p:nvSpPr>
              <p:spPr>
                <a:xfrm>
                  <a:off x="7995391" y="3792514"/>
                  <a:ext cx="18339" cy="18403"/>
                </a:xfrm>
                <a:custGeom>
                  <a:avLst/>
                  <a:gdLst>
                    <a:gd name="connsiteX0" fmla="*/ 6596 w 18339"/>
                    <a:gd name="connsiteY0" fmla="*/ 18024 h 18403"/>
                    <a:gd name="connsiteX1" fmla="*/ 17959 w 18339"/>
                    <a:gd name="connsiteY1" fmla="*/ 11864 h 18403"/>
                    <a:gd name="connsiteX2" fmla="*/ 11739 w 18339"/>
                    <a:gd name="connsiteY2" fmla="*/ 380 h 18403"/>
                    <a:gd name="connsiteX3" fmla="*/ 375 w 18339"/>
                    <a:gd name="connsiteY3" fmla="*/ 6541 h 18403"/>
                    <a:gd name="connsiteX4" fmla="*/ 6596 w 18339"/>
                    <a:gd name="connsiteY4" fmla="*/ 18024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3">
                      <a:moveTo>
                        <a:pt x="6596" y="18024"/>
                      </a:moveTo>
                      <a:cubicBezTo>
                        <a:pt x="11440" y="19459"/>
                        <a:pt x="16524" y="16708"/>
                        <a:pt x="17959" y="11864"/>
                      </a:cubicBezTo>
                      <a:cubicBezTo>
                        <a:pt x="19394" y="7019"/>
                        <a:pt x="16643" y="1876"/>
                        <a:pt x="11739" y="380"/>
                      </a:cubicBezTo>
                      <a:cubicBezTo>
                        <a:pt x="6895" y="-1055"/>
                        <a:pt x="1811" y="1696"/>
                        <a:pt x="375" y="6541"/>
                      </a:cubicBezTo>
                      <a:cubicBezTo>
                        <a:pt x="-1060" y="11385"/>
                        <a:pt x="1751" y="16528"/>
                        <a:pt x="6596" y="18024"/>
                      </a:cubicBezTo>
                      <a:close/>
                    </a:path>
                  </a:pathLst>
                </a:custGeom>
                <a:grpFill/>
                <a:ln w="5978" cap="flat">
                  <a:noFill/>
                  <a:prstDash val="solid"/>
                  <a:miter/>
                </a:ln>
              </p:spPr>
              <p:txBody>
                <a:bodyPr rtlCol="0" anchor="ctr"/>
                <a:lstStyle/>
                <a:p>
                  <a:endParaRPr lang="en-GB"/>
                </a:p>
              </p:txBody>
            </p:sp>
          </p:grpSp>
          <p:grpSp>
            <p:nvGrpSpPr>
              <p:cNvPr id="253" name="Graphic 3">
                <a:extLst>
                  <a:ext uri="{FF2B5EF4-FFF2-40B4-BE49-F238E27FC236}">
                    <a16:creationId xmlns:a16="http://schemas.microsoft.com/office/drawing/2014/main" id="{921F91AD-EBA7-41B3-A814-45C8EBB8E62C}"/>
                  </a:ext>
                </a:extLst>
              </p:cNvPr>
              <p:cNvGrpSpPr/>
              <p:nvPr/>
            </p:nvGrpSpPr>
            <p:grpSpPr>
              <a:xfrm>
                <a:off x="7337122" y="2268137"/>
                <a:ext cx="67182" cy="59989"/>
                <a:chOff x="7337122" y="2268137"/>
                <a:chExt cx="67182" cy="59989"/>
              </a:xfrm>
              <a:grpFill/>
            </p:grpSpPr>
            <p:sp>
              <p:nvSpPr>
                <p:cNvPr id="4620" name="Vrije vorm: vorm 4619">
                  <a:extLst>
                    <a:ext uri="{FF2B5EF4-FFF2-40B4-BE49-F238E27FC236}">
                      <a16:creationId xmlns:a16="http://schemas.microsoft.com/office/drawing/2014/main" id="{15525563-EB14-4F1B-957D-B9B433669658}"/>
                    </a:ext>
                  </a:extLst>
                </p:cNvPr>
                <p:cNvSpPr/>
                <p:nvPr/>
              </p:nvSpPr>
              <p:spPr>
                <a:xfrm>
                  <a:off x="7344944" y="2275884"/>
                  <a:ext cx="51553" cy="44496"/>
                </a:xfrm>
                <a:custGeom>
                  <a:avLst/>
                  <a:gdLst>
                    <a:gd name="connsiteX0" fmla="*/ 51554 w 51553"/>
                    <a:gd name="connsiteY0" fmla="*/ 2392 h 44496"/>
                    <a:gd name="connsiteX1" fmla="*/ 1973 w 51553"/>
                    <a:gd name="connsiteY1" fmla="*/ 44496 h 44496"/>
                    <a:gd name="connsiteX2" fmla="*/ 0 w 51553"/>
                    <a:gd name="connsiteY2" fmla="*/ 42164 h 44496"/>
                    <a:gd name="connsiteX3" fmla="*/ 49580 w 51553"/>
                    <a:gd name="connsiteY3" fmla="*/ 0 h 44496"/>
                  </a:gdLst>
                  <a:ahLst/>
                  <a:cxnLst>
                    <a:cxn ang="0">
                      <a:pos x="connsiteX0" y="connsiteY0"/>
                    </a:cxn>
                    <a:cxn ang="0">
                      <a:pos x="connsiteX1" y="connsiteY1"/>
                    </a:cxn>
                    <a:cxn ang="0">
                      <a:pos x="connsiteX2" y="connsiteY2"/>
                    </a:cxn>
                    <a:cxn ang="0">
                      <a:pos x="connsiteX3" y="connsiteY3"/>
                    </a:cxn>
                  </a:cxnLst>
                  <a:rect l="l" t="t" r="r" b="b"/>
                  <a:pathLst>
                    <a:path w="51553" h="44496">
                      <a:moveTo>
                        <a:pt x="51554" y="2392"/>
                      </a:moveTo>
                      <a:lnTo>
                        <a:pt x="1973" y="44496"/>
                      </a:lnTo>
                      <a:lnTo>
                        <a:pt x="0" y="42164"/>
                      </a:lnTo>
                      <a:lnTo>
                        <a:pt x="49580" y="0"/>
                      </a:lnTo>
                      <a:close/>
                    </a:path>
                  </a:pathLst>
                </a:custGeom>
                <a:grpFill/>
                <a:ln w="5978" cap="flat">
                  <a:noFill/>
                  <a:prstDash val="solid"/>
                  <a:miter/>
                </a:ln>
              </p:spPr>
              <p:txBody>
                <a:bodyPr rtlCol="0" anchor="ctr"/>
                <a:lstStyle/>
                <a:p>
                  <a:endParaRPr lang="en-GB"/>
                </a:p>
              </p:txBody>
            </p:sp>
            <p:sp>
              <p:nvSpPr>
                <p:cNvPr id="4621" name="Vrije vorm: vorm 4620">
                  <a:extLst>
                    <a:ext uri="{FF2B5EF4-FFF2-40B4-BE49-F238E27FC236}">
                      <a16:creationId xmlns:a16="http://schemas.microsoft.com/office/drawing/2014/main" id="{0F3CA5A7-CCAC-491F-8535-4D7D07CC2218}"/>
                    </a:ext>
                  </a:extLst>
                </p:cNvPr>
                <p:cNvSpPr/>
                <p:nvPr/>
              </p:nvSpPr>
              <p:spPr>
                <a:xfrm>
                  <a:off x="7385985" y="2268137"/>
                  <a:ext cx="18319" cy="18423"/>
                </a:xfrm>
                <a:custGeom>
                  <a:avLst/>
                  <a:gdLst>
                    <a:gd name="connsiteX0" fmla="*/ 3217 w 18319"/>
                    <a:gd name="connsiteY0" fmla="*/ 2185 h 18423"/>
                    <a:gd name="connsiteX1" fmla="*/ 16135 w 18319"/>
                    <a:gd name="connsiteY1" fmla="*/ 3261 h 18423"/>
                    <a:gd name="connsiteX2" fmla="*/ 15059 w 18319"/>
                    <a:gd name="connsiteY2" fmla="*/ 16239 h 18423"/>
                    <a:gd name="connsiteX3" fmla="*/ 2140 w 18319"/>
                    <a:gd name="connsiteY3" fmla="*/ 15163 h 18423"/>
                    <a:gd name="connsiteX4" fmla="*/ 3217 w 18319"/>
                    <a:gd name="connsiteY4" fmla="*/ 2185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3">
                      <a:moveTo>
                        <a:pt x="3217" y="2185"/>
                      </a:moveTo>
                      <a:cubicBezTo>
                        <a:pt x="7044" y="-1105"/>
                        <a:pt x="12846" y="-626"/>
                        <a:pt x="16135" y="3261"/>
                      </a:cubicBezTo>
                      <a:cubicBezTo>
                        <a:pt x="19425" y="7149"/>
                        <a:pt x="18946" y="12950"/>
                        <a:pt x="15059" y="16239"/>
                      </a:cubicBezTo>
                      <a:cubicBezTo>
                        <a:pt x="11231" y="19529"/>
                        <a:pt x="5430" y="19050"/>
                        <a:pt x="2140" y="15163"/>
                      </a:cubicBezTo>
                      <a:cubicBezTo>
                        <a:pt x="-1090" y="11275"/>
                        <a:pt x="-611" y="5474"/>
                        <a:pt x="3217" y="2185"/>
                      </a:cubicBezTo>
                      <a:close/>
                    </a:path>
                  </a:pathLst>
                </a:custGeom>
                <a:grpFill/>
                <a:ln w="5978" cap="flat">
                  <a:noFill/>
                  <a:prstDash val="solid"/>
                  <a:miter/>
                </a:ln>
              </p:spPr>
              <p:txBody>
                <a:bodyPr rtlCol="0" anchor="ctr"/>
                <a:lstStyle/>
                <a:p>
                  <a:endParaRPr lang="en-GB"/>
                </a:p>
              </p:txBody>
            </p:sp>
            <p:sp>
              <p:nvSpPr>
                <p:cNvPr id="4622" name="Vrije vorm: vorm 4621">
                  <a:extLst>
                    <a:ext uri="{FF2B5EF4-FFF2-40B4-BE49-F238E27FC236}">
                      <a16:creationId xmlns:a16="http://schemas.microsoft.com/office/drawing/2014/main" id="{A3184544-D42A-4C5D-9414-74C358548080}"/>
                    </a:ext>
                  </a:extLst>
                </p:cNvPr>
                <p:cNvSpPr/>
                <p:nvPr/>
              </p:nvSpPr>
              <p:spPr>
                <a:xfrm>
                  <a:off x="7337122" y="2309723"/>
                  <a:ext cx="18295" cy="18404"/>
                </a:xfrm>
                <a:custGeom>
                  <a:avLst/>
                  <a:gdLst>
                    <a:gd name="connsiteX0" fmla="*/ 3217 w 18295"/>
                    <a:gd name="connsiteY0" fmla="*/ 2165 h 18404"/>
                    <a:gd name="connsiteX1" fmla="*/ 2140 w 18295"/>
                    <a:gd name="connsiteY1" fmla="*/ 15143 h 18404"/>
                    <a:gd name="connsiteX2" fmla="*/ 15059 w 18295"/>
                    <a:gd name="connsiteY2" fmla="*/ 16220 h 18404"/>
                    <a:gd name="connsiteX3" fmla="*/ 16135 w 18295"/>
                    <a:gd name="connsiteY3" fmla="*/ 3241 h 18404"/>
                    <a:gd name="connsiteX4" fmla="*/ 3217 w 18295"/>
                    <a:gd name="connsiteY4" fmla="*/ 2165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04">
                      <a:moveTo>
                        <a:pt x="3217" y="2165"/>
                      </a:moveTo>
                      <a:cubicBezTo>
                        <a:pt x="-611" y="5454"/>
                        <a:pt x="-1089" y="11256"/>
                        <a:pt x="2140" y="15143"/>
                      </a:cubicBezTo>
                      <a:cubicBezTo>
                        <a:pt x="5430" y="19031"/>
                        <a:pt x="11231" y="19509"/>
                        <a:pt x="15059" y="16220"/>
                      </a:cubicBezTo>
                      <a:cubicBezTo>
                        <a:pt x="18946" y="12930"/>
                        <a:pt x="19364" y="7129"/>
                        <a:pt x="16135" y="3241"/>
                      </a:cubicBezTo>
                      <a:cubicBezTo>
                        <a:pt x="12846" y="-586"/>
                        <a:pt x="7104" y="-1125"/>
                        <a:pt x="3217" y="2165"/>
                      </a:cubicBezTo>
                      <a:close/>
                    </a:path>
                  </a:pathLst>
                </a:custGeom>
                <a:grpFill/>
                <a:ln w="5978" cap="flat">
                  <a:noFill/>
                  <a:prstDash val="solid"/>
                  <a:miter/>
                </a:ln>
              </p:spPr>
              <p:txBody>
                <a:bodyPr rtlCol="0" anchor="ctr"/>
                <a:lstStyle/>
                <a:p>
                  <a:endParaRPr lang="en-GB"/>
                </a:p>
              </p:txBody>
            </p:sp>
          </p:grpSp>
          <p:grpSp>
            <p:nvGrpSpPr>
              <p:cNvPr id="254" name="Graphic 3">
                <a:extLst>
                  <a:ext uri="{FF2B5EF4-FFF2-40B4-BE49-F238E27FC236}">
                    <a16:creationId xmlns:a16="http://schemas.microsoft.com/office/drawing/2014/main" id="{04F2936C-16DD-43A6-AA7E-F760C8756759}"/>
                  </a:ext>
                </a:extLst>
              </p:cNvPr>
              <p:cNvGrpSpPr/>
              <p:nvPr/>
            </p:nvGrpSpPr>
            <p:grpSpPr>
              <a:xfrm>
                <a:off x="7108752" y="1669739"/>
                <a:ext cx="155166" cy="216620"/>
                <a:chOff x="7108752" y="1669739"/>
                <a:chExt cx="155166" cy="216620"/>
              </a:xfrm>
              <a:grpFill/>
            </p:grpSpPr>
            <p:sp>
              <p:nvSpPr>
                <p:cNvPr id="4617" name="Vrije vorm: vorm 4616">
                  <a:extLst>
                    <a:ext uri="{FF2B5EF4-FFF2-40B4-BE49-F238E27FC236}">
                      <a16:creationId xmlns:a16="http://schemas.microsoft.com/office/drawing/2014/main" id="{A7FD4D94-94B6-4943-AD85-AE2D8C499FB5}"/>
                    </a:ext>
                  </a:extLst>
                </p:cNvPr>
                <p:cNvSpPr/>
                <p:nvPr/>
              </p:nvSpPr>
              <p:spPr>
                <a:xfrm>
                  <a:off x="7116420" y="1677692"/>
                  <a:ext cx="139829" cy="200712"/>
                </a:xfrm>
                <a:custGeom>
                  <a:avLst/>
                  <a:gdLst>
                    <a:gd name="connsiteX0" fmla="*/ 139829 w 139829"/>
                    <a:gd name="connsiteY0" fmla="*/ 1734 h 200712"/>
                    <a:gd name="connsiteX1" fmla="*/ 2512 w 139829"/>
                    <a:gd name="connsiteY1" fmla="*/ 200713 h 200712"/>
                    <a:gd name="connsiteX2" fmla="*/ 0 w 139829"/>
                    <a:gd name="connsiteY2" fmla="*/ 198979 h 200712"/>
                    <a:gd name="connsiteX3" fmla="*/ 137318 w 139829"/>
                    <a:gd name="connsiteY3" fmla="*/ 0 h 200712"/>
                  </a:gdLst>
                  <a:ahLst/>
                  <a:cxnLst>
                    <a:cxn ang="0">
                      <a:pos x="connsiteX0" y="connsiteY0"/>
                    </a:cxn>
                    <a:cxn ang="0">
                      <a:pos x="connsiteX1" y="connsiteY1"/>
                    </a:cxn>
                    <a:cxn ang="0">
                      <a:pos x="connsiteX2" y="connsiteY2"/>
                    </a:cxn>
                    <a:cxn ang="0">
                      <a:pos x="connsiteX3" y="connsiteY3"/>
                    </a:cxn>
                  </a:cxnLst>
                  <a:rect l="l" t="t" r="r" b="b"/>
                  <a:pathLst>
                    <a:path w="139829" h="200712">
                      <a:moveTo>
                        <a:pt x="139829" y="1734"/>
                      </a:moveTo>
                      <a:lnTo>
                        <a:pt x="2512" y="200713"/>
                      </a:lnTo>
                      <a:lnTo>
                        <a:pt x="0" y="198979"/>
                      </a:lnTo>
                      <a:lnTo>
                        <a:pt x="137318" y="0"/>
                      </a:lnTo>
                      <a:close/>
                    </a:path>
                  </a:pathLst>
                </a:custGeom>
                <a:grpFill/>
                <a:ln w="5978" cap="flat">
                  <a:noFill/>
                  <a:prstDash val="solid"/>
                  <a:miter/>
                </a:ln>
              </p:spPr>
              <p:txBody>
                <a:bodyPr rtlCol="0" anchor="ctr"/>
                <a:lstStyle/>
                <a:p>
                  <a:endParaRPr lang="en-GB"/>
                </a:p>
              </p:txBody>
            </p:sp>
            <p:sp>
              <p:nvSpPr>
                <p:cNvPr id="4618" name="Vrije vorm: vorm 4617">
                  <a:extLst>
                    <a:ext uri="{FF2B5EF4-FFF2-40B4-BE49-F238E27FC236}">
                      <a16:creationId xmlns:a16="http://schemas.microsoft.com/office/drawing/2014/main" id="{6DEA4E01-D609-4E2F-84AC-CAA662BD2774}"/>
                    </a:ext>
                  </a:extLst>
                </p:cNvPr>
                <p:cNvSpPr/>
                <p:nvPr/>
              </p:nvSpPr>
              <p:spPr>
                <a:xfrm>
                  <a:off x="7245591" y="1669739"/>
                  <a:ext cx="18327" cy="18419"/>
                </a:xfrm>
                <a:custGeom>
                  <a:avLst/>
                  <a:gdLst>
                    <a:gd name="connsiteX0" fmla="*/ 1628 w 18327"/>
                    <a:gd name="connsiteY0" fmla="*/ 3947 h 18419"/>
                    <a:gd name="connsiteX1" fmla="*/ 14367 w 18327"/>
                    <a:gd name="connsiteY1" fmla="*/ 1674 h 18419"/>
                    <a:gd name="connsiteX2" fmla="*/ 16699 w 18327"/>
                    <a:gd name="connsiteY2" fmla="*/ 14473 h 18419"/>
                    <a:gd name="connsiteX3" fmla="*/ 3960 w 18327"/>
                    <a:gd name="connsiteY3" fmla="*/ 16745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4499" y="-240"/>
                        <a:pt x="10240" y="-1257"/>
                        <a:pt x="14367" y="1674"/>
                      </a:cubicBezTo>
                      <a:cubicBezTo>
                        <a:pt x="18554" y="4604"/>
                        <a:pt x="19571" y="10346"/>
                        <a:pt x="16699" y="14473"/>
                      </a:cubicBezTo>
                      <a:cubicBezTo>
                        <a:pt x="13829" y="18659"/>
                        <a:pt x="8087" y="19676"/>
                        <a:pt x="3960" y="16745"/>
                      </a:cubicBezTo>
                      <a:cubicBezTo>
                        <a:pt x="-226" y="13875"/>
                        <a:pt x="-1243" y="8133"/>
                        <a:pt x="1628" y="3947"/>
                      </a:cubicBezTo>
                      <a:close/>
                    </a:path>
                  </a:pathLst>
                </a:custGeom>
                <a:grpFill/>
                <a:ln w="5978" cap="flat">
                  <a:noFill/>
                  <a:prstDash val="solid"/>
                  <a:miter/>
                </a:ln>
              </p:spPr>
              <p:txBody>
                <a:bodyPr rtlCol="0" anchor="ctr"/>
                <a:lstStyle/>
                <a:p>
                  <a:endParaRPr lang="en-GB"/>
                </a:p>
              </p:txBody>
            </p:sp>
            <p:sp>
              <p:nvSpPr>
                <p:cNvPr id="4619" name="Vrije vorm: vorm 4618">
                  <a:extLst>
                    <a:ext uri="{FF2B5EF4-FFF2-40B4-BE49-F238E27FC236}">
                      <a16:creationId xmlns:a16="http://schemas.microsoft.com/office/drawing/2014/main" id="{DA3544EE-EB42-4FED-A4E9-33B59CDA370D}"/>
                    </a:ext>
                  </a:extLst>
                </p:cNvPr>
                <p:cNvSpPr/>
                <p:nvPr/>
              </p:nvSpPr>
              <p:spPr>
                <a:xfrm>
                  <a:off x="7108752" y="1867940"/>
                  <a:ext cx="18327" cy="18419"/>
                </a:xfrm>
                <a:custGeom>
                  <a:avLst/>
                  <a:gdLst>
                    <a:gd name="connsiteX0" fmla="*/ 1628 w 18327"/>
                    <a:gd name="connsiteY0" fmla="*/ 3947 h 18419"/>
                    <a:gd name="connsiteX1" fmla="*/ 3960 w 18327"/>
                    <a:gd name="connsiteY1" fmla="*/ 16745 h 18419"/>
                    <a:gd name="connsiteX2" fmla="*/ 16699 w 18327"/>
                    <a:gd name="connsiteY2" fmla="*/ 14473 h 18419"/>
                    <a:gd name="connsiteX3" fmla="*/ 14367 w 18327"/>
                    <a:gd name="connsiteY3" fmla="*/ 1674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1243" y="8133"/>
                        <a:pt x="-226" y="13875"/>
                        <a:pt x="3960" y="16745"/>
                      </a:cubicBezTo>
                      <a:cubicBezTo>
                        <a:pt x="8147" y="19676"/>
                        <a:pt x="13829" y="18659"/>
                        <a:pt x="16699" y="14473"/>
                      </a:cubicBezTo>
                      <a:cubicBezTo>
                        <a:pt x="19571" y="10286"/>
                        <a:pt x="18554" y="4545"/>
                        <a:pt x="14367" y="1674"/>
                      </a:cubicBezTo>
                      <a:cubicBezTo>
                        <a:pt x="10240" y="-1257"/>
                        <a:pt x="4499" y="-240"/>
                        <a:pt x="1628" y="3947"/>
                      </a:cubicBezTo>
                      <a:close/>
                    </a:path>
                  </a:pathLst>
                </a:custGeom>
                <a:grpFill/>
                <a:ln w="5978" cap="flat">
                  <a:noFill/>
                  <a:prstDash val="solid"/>
                  <a:miter/>
                </a:ln>
              </p:spPr>
              <p:txBody>
                <a:bodyPr rtlCol="0" anchor="ctr"/>
                <a:lstStyle/>
                <a:p>
                  <a:endParaRPr lang="en-GB"/>
                </a:p>
              </p:txBody>
            </p:sp>
          </p:grpSp>
          <p:grpSp>
            <p:nvGrpSpPr>
              <p:cNvPr id="255" name="Graphic 3">
                <a:extLst>
                  <a:ext uri="{FF2B5EF4-FFF2-40B4-BE49-F238E27FC236}">
                    <a16:creationId xmlns:a16="http://schemas.microsoft.com/office/drawing/2014/main" id="{7CEA2FC6-1962-4D19-818A-4242C797178E}"/>
                  </a:ext>
                </a:extLst>
              </p:cNvPr>
              <p:cNvGrpSpPr/>
              <p:nvPr/>
            </p:nvGrpSpPr>
            <p:grpSpPr>
              <a:xfrm>
                <a:off x="7039666" y="1520000"/>
                <a:ext cx="226075" cy="344794"/>
                <a:chOff x="7039666" y="1520000"/>
                <a:chExt cx="226075" cy="344794"/>
              </a:xfrm>
              <a:grpFill/>
            </p:grpSpPr>
            <p:sp>
              <p:nvSpPr>
                <p:cNvPr id="4614" name="Vrije vorm: vorm 4613">
                  <a:extLst>
                    <a:ext uri="{FF2B5EF4-FFF2-40B4-BE49-F238E27FC236}">
                      <a16:creationId xmlns:a16="http://schemas.microsoft.com/office/drawing/2014/main" id="{FE5114D5-7CF2-4D1B-A0D4-4E12E2C0A278}"/>
                    </a:ext>
                  </a:extLst>
                </p:cNvPr>
                <p:cNvSpPr/>
                <p:nvPr/>
              </p:nvSpPr>
              <p:spPr>
                <a:xfrm>
                  <a:off x="7047284" y="1527995"/>
                  <a:ext cx="210820" cy="328820"/>
                </a:xfrm>
                <a:custGeom>
                  <a:avLst/>
                  <a:gdLst>
                    <a:gd name="connsiteX0" fmla="*/ 210820 w 210820"/>
                    <a:gd name="connsiteY0" fmla="*/ 1675 h 328820"/>
                    <a:gd name="connsiteX1" fmla="*/ 2572 w 210820"/>
                    <a:gd name="connsiteY1" fmla="*/ 328820 h 328820"/>
                    <a:gd name="connsiteX2" fmla="*/ 0 w 210820"/>
                    <a:gd name="connsiteY2" fmla="*/ 327145 h 328820"/>
                    <a:gd name="connsiteX3" fmla="*/ 208248 w 210820"/>
                    <a:gd name="connsiteY3" fmla="*/ 0 h 328820"/>
                  </a:gdLst>
                  <a:ahLst/>
                  <a:cxnLst>
                    <a:cxn ang="0">
                      <a:pos x="connsiteX0" y="connsiteY0"/>
                    </a:cxn>
                    <a:cxn ang="0">
                      <a:pos x="connsiteX1" y="connsiteY1"/>
                    </a:cxn>
                    <a:cxn ang="0">
                      <a:pos x="connsiteX2" y="connsiteY2"/>
                    </a:cxn>
                    <a:cxn ang="0">
                      <a:pos x="connsiteX3" y="connsiteY3"/>
                    </a:cxn>
                  </a:cxnLst>
                  <a:rect l="l" t="t" r="r" b="b"/>
                  <a:pathLst>
                    <a:path w="210820" h="328820">
                      <a:moveTo>
                        <a:pt x="210820" y="1675"/>
                      </a:moveTo>
                      <a:lnTo>
                        <a:pt x="2572" y="328820"/>
                      </a:lnTo>
                      <a:lnTo>
                        <a:pt x="0" y="327145"/>
                      </a:lnTo>
                      <a:lnTo>
                        <a:pt x="208248" y="0"/>
                      </a:lnTo>
                      <a:close/>
                    </a:path>
                  </a:pathLst>
                </a:custGeom>
                <a:grpFill/>
                <a:ln w="5978" cap="flat">
                  <a:noFill/>
                  <a:prstDash val="solid"/>
                  <a:miter/>
                </a:ln>
              </p:spPr>
              <p:txBody>
                <a:bodyPr rtlCol="0" anchor="ctr"/>
                <a:lstStyle/>
                <a:p>
                  <a:endParaRPr lang="en-GB"/>
                </a:p>
              </p:txBody>
            </p:sp>
            <p:sp>
              <p:nvSpPr>
                <p:cNvPr id="4615" name="Vrije vorm: vorm 4614">
                  <a:extLst>
                    <a:ext uri="{FF2B5EF4-FFF2-40B4-BE49-F238E27FC236}">
                      <a16:creationId xmlns:a16="http://schemas.microsoft.com/office/drawing/2014/main" id="{0323F6AC-9D33-487A-B74D-A3F10EF782F2}"/>
                    </a:ext>
                  </a:extLst>
                </p:cNvPr>
                <p:cNvSpPr/>
                <p:nvPr/>
              </p:nvSpPr>
              <p:spPr>
                <a:xfrm>
                  <a:off x="7247376" y="1520000"/>
                  <a:ext cx="18364" cy="18441"/>
                </a:xfrm>
                <a:custGeom>
                  <a:avLst/>
                  <a:gdLst>
                    <a:gd name="connsiteX0" fmla="*/ 1458 w 18364"/>
                    <a:gd name="connsiteY0" fmla="*/ 4227 h 18441"/>
                    <a:gd name="connsiteX1" fmla="*/ 14137 w 18364"/>
                    <a:gd name="connsiteY1" fmla="*/ 1476 h 18441"/>
                    <a:gd name="connsiteX2" fmla="*/ 16948 w 18364"/>
                    <a:gd name="connsiteY2" fmla="*/ 14215 h 18441"/>
                    <a:gd name="connsiteX3" fmla="*/ 4269 w 18364"/>
                    <a:gd name="connsiteY3" fmla="*/ 16966 h 18441"/>
                    <a:gd name="connsiteX4" fmla="*/ 1458 w 18364"/>
                    <a:gd name="connsiteY4" fmla="*/ 4227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41">
                      <a:moveTo>
                        <a:pt x="1458" y="4227"/>
                      </a:moveTo>
                      <a:cubicBezTo>
                        <a:pt x="4209" y="-79"/>
                        <a:pt x="9831" y="-1276"/>
                        <a:pt x="14137" y="1476"/>
                      </a:cubicBezTo>
                      <a:cubicBezTo>
                        <a:pt x="18384" y="4227"/>
                        <a:pt x="19639" y="9908"/>
                        <a:pt x="16948" y="14215"/>
                      </a:cubicBezTo>
                      <a:cubicBezTo>
                        <a:pt x="14197" y="18521"/>
                        <a:pt x="8575" y="19717"/>
                        <a:pt x="4269" y="16966"/>
                      </a:cubicBezTo>
                      <a:cubicBezTo>
                        <a:pt x="-37" y="14215"/>
                        <a:pt x="-1293" y="8473"/>
                        <a:pt x="1458" y="4227"/>
                      </a:cubicBezTo>
                      <a:close/>
                    </a:path>
                  </a:pathLst>
                </a:custGeom>
                <a:grpFill/>
                <a:ln w="5978" cap="flat">
                  <a:noFill/>
                  <a:prstDash val="solid"/>
                  <a:miter/>
                </a:ln>
              </p:spPr>
              <p:txBody>
                <a:bodyPr rtlCol="0" anchor="ctr"/>
                <a:lstStyle/>
                <a:p>
                  <a:endParaRPr lang="en-GB"/>
                </a:p>
              </p:txBody>
            </p:sp>
            <p:sp>
              <p:nvSpPr>
                <p:cNvPr id="4616" name="Vrije vorm: vorm 4615">
                  <a:extLst>
                    <a:ext uri="{FF2B5EF4-FFF2-40B4-BE49-F238E27FC236}">
                      <a16:creationId xmlns:a16="http://schemas.microsoft.com/office/drawing/2014/main" id="{B672EA01-5DD5-4362-9065-2AB004BB9DC8}"/>
                    </a:ext>
                  </a:extLst>
                </p:cNvPr>
                <p:cNvSpPr/>
                <p:nvPr/>
              </p:nvSpPr>
              <p:spPr>
                <a:xfrm>
                  <a:off x="7039666" y="1846383"/>
                  <a:ext cx="18405" cy="18411"/>
                </a:xfrm>
                <a:custGeom>
                  <a:avLst/>
                  <a:gdLst>
                    <a:gd name="connsiteX0" fmla="*/ 1458 w 18405"/>
                    <a:gd name="connsiteY0" fmla="*/ 4212 h 18411"/>
                    <a:gd name="connsiteX1" fmla="*/ 4269 w 18405"/>
                    <a:gd name="connsiteY1" fmla="*/ 16951 h 18411"/>
                    <a:gd name="connsiteX2" fmla="*/ 16948 w 18405"/>
                    <a:gd name="connsiteY2" fmla="*/ 14200 h 18411"/>
                    <a:gd name="connsiteX3" fmla="*/ 14137 w 18405"/>
                    <a:gd name="connsiteY3" fmla="*/ 1461 h 18411"/>
                    <a:gd name="connsiteX4" fmla="*/ 1458 w 18405"/>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5" h="18411">
                      <a:moveTo>
                        <a:pt x="1458" y="4212"/>
                      </a:moveTo>
                      <a:cubicBezTo>
                        <a:pt x="-1293" y="8518"/>
                        <a:pt x="-37" y="14200"/>
                        <a:pt x="4269" y="16951"/>
                      </a:cubicBezTo>
                      <a:cubicBezTo>
                        <a:pt x="8515" y="19702"/>
                        <a:pt x="14197" y="18446"/>
                        <a:pt x="16948" y="14200"/>
                      </a:cubicBezTo>
                      <a:cubicBezTo>
                        <a:pt x="19699" y="9893"/>
                        <a:pt x="18443" y="4212"/>
                        <a:pt x="14137" y="1461"/>
                      </a:cubicBezTo>
                      <a:cubicBezTo>
                        <a:pt x="9831" y="-1290"/>
                        <a:pt x="4150" y="-34"/>
                        <a:pt x="1458" y="4212"/>
                      </a:cubicBezTo>
                      <a:close/>
                    </a:path>
                  </a:pathLst>
                </a:custGeom>
                <a:grpFill/>
                <a:ln w="5978" cap="flat">
                  <a:noFill/>
                  <a:prstDash val="solid"/>
                  <a:miter/>
                </a:ln>
              </p:spPr>
              <p:txBody>
                <a:bodyPr rtlCol="0" anchor="ctr"/>
                <a:lstStyle/>
                <a:p>
                  <a:endParaRPr lang="en-GB"/>
                </a:p>
              </p:txBody>
            </p:sp>
          </p:grpSp>
          <p:grpSp>
            <p:nvGrpSpPr>
              <p:cNvPr id="256" name="Graphic 3">
                <a:extLst>
                  <a:ext uri="{FF2B5EF4-FFF2-40B4-BE49-F238E27FC236}">
                    <a16:creationId xmlns:a16="http://schemas.microsoft.com/office/drawing/2014/main" id="{A756AB14-79AB-42F7-A467-51BED43A78A3}"/>
                  </a:ext>
                </a:extLst>
              </p:cNvPr>
              <p:cNvGrpSpPr/>
              <p:nvPr/>
            </p:nvGrpSpPr>
            <p:grpSpPr>
              <a:xfrm>
                <a:off x="7841116" y="3762882"/>
                <a:ext cx="26770" cy="20088"/>
                <a:chOff x="7841116" y="3762882"/>
                <a:chExt cx="26770" cy="20088"/>
              </a:xfrm>
              <a:grpFill/>
            </p:grpSpPr>
            <p:sp>
              <p:nvSpPr>
                <p:cNvPr id="4611" name="Vrije vorm: vorm 4610">
                  <a:extLst>
                    <a:ext uri="{FF2B5EF4-FFF2-40B4-BE49-F238E27FC236}">
                      <a16:creationId xmlns:a16="http://schemas.microsoft.com/office/drawing/2014/main" id="{5F6D3A89-7897-4B64-AA87-CC967B72DD9E}"/>
                    </a:ext>
                  </a:extLst>
                </p:cNvPr>
                <p:cNvSpPr/>
                <p:nvPr/>
              </p:nvSpPr>
              <p:spPr>
                <a:xfrm>
                  <a:off x="7849538" y="3770526"/>
                  <a:ext cx="9928" cy="4844"/>
                </a:xfrm>
                <a:custGeom>
                  <a:avLst/>
                  <a:gdLst>
                    <a:gd name="connsiteX0" fmla="*/ 9928 w 9928"/>
                    <a:gd name="connsiteY0" fmla="*/ 1794 h 4844"/>
                    <a:gd name="connsiteX1" fmla="*/ 9330 w 9928"/>
                    <a:gd name="connsiteY1" fmla="*/ 4844 h 4844"/>
                    <a:gd name="connsiteX2" fmla="*/ 0 w 9928"/>
                    <a:gd name="connsiteY2" fmla="*/ 2990 h 4844"/>
                    <a:gd name="connsiteX3" fmla="*/ 598 w 9928"/>
                    <a:gd name="connsiteY3" fmla="*/ 0 h 4844"/>
                  </a:gdLst>
                  <a:ahLst/>
                  <a:cxnLst>
                    <a:cxn ang="0">
                      <a:pos x="connsiteX0" y="connsiteY0"/>
                    </a:cxn>
                    <a:cxn ang="0">
                      <a:pos x="connsiteX1" y="connsiteY1"/>
                    </a:cxn>
                    <a:cxn ang="0">
                      <a:pos x="connsiteX2" y="connsiteY2"/>
                    </a:cxn>
                    <a:cxn ang="0">
                      <a:pos x="connsiteX3" y="connsiteY3"/>
                    </a:cxn>
                  </a:cxnLst>
                  <a:rect l="l" t="t" r="r" b="b"/>
                  <a:pathLst>
                    <a:path w="9928" h="4844">
                      <a:moveTo>
                        <a:pt x="9928" y="1794"/>
                      </a:moveTo>
                      <a:lnTo>
                        <a:pt x="9330" y="4844"/>
                      </a:lnTo>
                      <a:lnTo>
                        <a:pt x="0" y="2990"/>
                      </a:lnTo>
                      <a:lnTo>
                        <a:pt x="598" y="0"/>
                      </a:lnTo>
                      <a:close/>
                    </a:path>
                  </a:pathLst>
                </a:custGeom>
                <a:grpFill/>
                <a:ln w="5978" cap="flat">
                  <a:noFill/>
                  <a:prstDash val="solid"/>
                  <a:miter/>
                </a:ln>
              </p:spPr>
              <p:txBody>
                <a:bodyPr rtlCol="0" anchor="ctr"/>
                <a:lstStyle/>
                <a:p>
                  <a:endParaRPr lang="en-GB"/>
                </a:p>
              </p:txBody>
            </p:sp>
            <p:sp>
              <p:nvSpPr>
                <p:cNvPr id="4612" name="Vrije vorm: vorm 4611">
                  <a:extLst>
                    <a:ext uri="{FF2B5EF4-FFF2-40B4-BE49-F238E27FC236}">
                      <a16:creationId xmlns:a16="http://schemas.microsoft.com/office/drawing/2014/main" id="{43E11D37-68C6-478C-8398-CCC597883A17}"/>
                    </a:ext>
                  </a:extLst>
                </p:cNvPr>
                <p:cNvSpPr/>
                <p:nvPr/>
              </p:nvSpPr>
              <p:spPr>
                <a:xfrm>
                  <a:off x="7849549" y="3764540"/>
                  <a:ext cx="18337" cy="18431"/>
                </a:xfrm>
                <a:custGeom>
                  <a:avLst/>
                  <a:gdLst>
                    <a:gd name="connsiteX0" fmla="*/ 10933 w 18337"/>
                    <a:gd name="connsiteY0" fmla="*/ 185 h 18431"/>
                    <a:gd name="connsiteX1" fmla="*/ 18170 w 18337"/>
                    <a:gd name="connsiteY1" fmla="*/ 11010 h 18431"/>
                    <a:gd name="connsiteX2" fmla="*/ 7404 w 18337"/>
                    <a:gd name="connsiteY2" fmla="*/ 18246 h 18431"/>
                    <a:gd name="connsiteX3" fmla="*/ 168 w 18337"/>
                    <a:gd name="connsiteY3" fmla="*/ 7421 h 18431"/>
                    <a:gd name="connsiteX4" fmla="*/ 10933 w 18337"/>
                    <a:gd name="connsiteY4" fmla="*/ 18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1">
                      <a:moveTo>
                        <a:pt x="10933" y="185"/>
                      </a:moveTo>
                      <a:cubicBezTo>
                        <a:pt x="15897" y="1142"/>
                        <a:pt x="19126" y="5986"/>
                        <a:pt x="18170" y="11010"/>
                      </a:cubicBezTo>
                      <a:cubicBezTo>
                        <a:pt x="17213" y="15974"/>
                        <a:pt x="12428" y="19263"/>
                        <a:pt x="7404" y="18246"/>
                      </a:cubicBezTo>
                      <a:cubicBezTo>
                        <a:pt x="2441" y="17290"/>
                        <a:pt x="-789" y="12445"/>
                        <a:pt x="168" y="7421"/>
                      </a:cubicBezTo>
                      <a:cubicBezTo>
                        <a:pt x="1124" y="2457"/>
                        <a:pt x="5969" y="-832"/>
                        <a:pt x="10933" y="185"/>
                      </a:cubicBezTo>
                      <a:close/>
                    </a:path>
                  </a:pathLst>
                </a:custGeom>
                <a:grpFill/>
                <a:ln w="5978" cap="flat">
                  <a:noFill/>
                  <a:prstDash val="solid"/>
                  <a:miter/>
                </a:ln>
              </p:spPr>
              <p:txBody>
                <a:bodyPr rtlCol="0" anchor="ctr"/>
                <a:lstStyle/>
                <a:p>
                  <a:endParaRPr lang="en-GB"/>
                </a:p>
              </p:txBody>
            </p:sp>
            <p:sp>
              <p:nvSpPr>
                <p:cNvPr id="4613" name="Vrije vorm: vorm 4612">
                  <a:extLst>
                    <a:ext uri="{FF2B5EF4-FFF2-40B4-BE49-F238E27FC236}">
                      <a16:creationId xmlns:a16="http://schemas.microsoft.com/office/drawing/2014/main" id="{6B1F33C6-66C8-43D2-805D-04BF40B64E66}"/>
                    </a:ext>
                  </a:extLst>
                </p:cNvPr>
                <p:cNvSpPr/>
                <p:nvPr/>
              </p:nvSpPr>
              <p:spPr>
                <a:xfrm>
                  <a:off x="7841116" y="3762882"/>
                  <a:ext cx="18297" cy="18397"/>
                </a:xfrm>
                <a:custGeom>
                  <a:avLst/>
                  <a:gdLst>
                    <a:gd name="connsiteX0" fmla="*/ 10933 w 18297"/>
                    <a:gd name="connsiteY0" fmla="*/ 168 h 18397"/>
                    <a:gd name="connsiteX1" fmla="*/ 168 w 18297"/>
                    <a:gd name="connsiteY1" fmla="*/ 7405 h 18397"/>
                    <a:gd name="connsiteX2" fmla="*/ 7404 w 18297"/>
                    <a:gd name="connsiteY2" fmla="*/ 18230 h 18397"/>
                    <a:gd name="connsiteX3" fmla="*/ 18110 w 18297"/>
                    <a:gd name="connsiteY3" fmla="*/ 10993 h 18397"/>
                    <a:gd name="connsiteX4" fmla="*/ 10933 w 18297"/>
                    <a:gd name="connsiteY4" fmla="*/ 168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7">
                      <a:moveTo>
                        <a:pt x="10933" y="168"/>
                      </a:moveTo>
                      <a:cubicBezTo>
                        <a:pt x="5969" y="-789"/>
                        <a:pt x="1185" y="2441"/>
                        <a:pt x="168" y="7405"/>
                      </a:cubicBezTo>
                      <a:cubicBezTo>
                        <a:pt x="-789" y="12369"/>
                        <a:pt x="2441" y="17213"/>
                        <a:pt x="7404" y="18230"/>
                      </a:cubicBezTo>
                      <a:cubicBezTo>
                        <a:pt x="12369" y="19187"/>
                        <a:pt x="17153" y="15957"/>
                        <a:pt x="18110" y="10993"/>
                      </a:cubicBezTo>
                      <a:cubicBezTo>
                        <a:pt x="19127" y="5969"/>
                        <a:pt x="15897" y="1125"/>
                        <a:pt x="10933" y="168"/>
                      </a:cubicBezTo>
                      <a:close/>
                    </a:path>
                  </a:pathLst>
                </a:custGeom>
                <a:grpFill/>
                <a:ln w="5978" cap="flat">
                  <a:noFill/>
                  <a:prstDash val="solid"/>
                  <a:miter/>
                </a:ln>
              </p:spPr>
              <p:txBody>
                <a:bodyPr rtlCol="0" anchor="ctr"/>
                <a:lstStyle/>
                <a:p>
                  <a:endParaRPr lang="en-GB"/>
                </a:p>
              </p:txBody>
            </p:sp>
          </p:grpSp>
          <p:grpSp>
            <p:nvGrpSpPr>
              <p:cNvPr id="257" name="Graphic 3">
                <a:extLst>
                  <a:ext uri="{FF2B5EF4-FFF2-40B4-BE49-F238E27FC236}">
                    <a16:creationId xmlns:a16="http://schemas.microsoft.com/office/drawing/2014/main" id="{62520340-54FF-425B-80A9-50BF48178B4B}"/>
                  </a:ext>
                </a:extLst>
              </p:cNvPr>
              <p:cNvGrpSpPr/>
              <p:nvPr/>
            </p:nvGrpSpPr>
            <p:grpSpPr>
              <a:xfrm>
                <a:off x="7724225" y="3515791"/>
                <a:ext cx="67674" cy="21563"/>
                <a:chOff x="7724225" y="3515791"/>
                <a:chExt cx="67674" cy="21563"/>
              </a:xfrm>
              <a:grpFill/>
            </p:grpSpPr>
            <p:sp>
              <p:nvSpPr>
                <p:cNvPr id="4608" name="Vrije vorm: vorm 4607">
                  <a:extLst>
                    <a:ext uri="{FF2B5EF4-FFF2-40B4-BE49-F238E27FC236}">
                      <a16:creationId xmlns:a16="http://schemas.microsoft.com/office/drawing/2014/main" id="{42A45178-9D5C-4C46-B03C-DDB786584C5D}"/>
                    </a:ext>
                  </a:extLst>
                </p:cNvPr>
                <p:cNvSpPr/>
                <p:nvPr/>
              </p:nvSpPr>
              <p:spPr>
                <a:xfrm>
                  <a:off x="7732854" y="3523403"/>
                  <a:ext cx="50417" cy="6279"/>
                </a:xfrm>
                <a:custGeom>
                  <a:avLst/>
                  <a:gdLst>
                    <a:gd name="connsiteX0" fmla="*/ 50417 w 50417"/>
                    <a:gd name="connsiteY0" fmla="*/ 3229 h 6279"/>
                    <a:gd name="connsiteX1" fmla="*/ 50238 w 50417"/>
                    <a:gd name="connsiteY1" fmla="*/ 6280 h 6279"/>
                    <a:gd name="connsiteX2" fmla="*/ 0 w 50417"/>
                    <a:gd name="connsiteY2" fmla="*/ 3050 h 6279"/>
                    <a:gd name="connsiteX3" fmla="*/ 180 w 50417"/>
                    <a:gd name="connsiteY3" fmla="*/ 0 h 6279"/>
                  </a:gdLst>
                  <a:ahLst/>
                  <a:cxnLst>
                    <a:cxn ang="0">
                      <a:pos x="connsiteX0" y="connsiteY0"/>
                    </a:cxn>
                    <a:cxn ang="0">
                      <a:pos x="connsiteX1" y="connsiteY1"/>
                    </a:cxn>
                    <a:cxn ang="0">
                      <a:pos x="connsiteX2" y="connsiteY2"/>
                    </a:cxn>
                    <a:cxn ang="0">
                      <a:pos x="connsiteX3" y="connsiteY3"/>
                    </a:cxn>
                  </a:cxnLst>
                  <a:rect l="l" t="t" r="r" b="b"/>
                  <a:pathLst>
                    <a:path w="50417" h="6279">
                      <a:moveTo>
                        <a:pt x="50417" y="3229"/>
                      </a:moveTo>
                      <a:lnTo>
                        <a:pt x="50238" y="6280"/>
                      </a:lnTo>
                      <a:lnTo>
                        <a:pt x="0" y="3050"/>
                      </a:lnTo>
                      <a:lnTo>
                        <a:pt x="180" y="0"/>
                      </a:lnTo>
                      <a:close/>
                    </a:path>
                  </a:pathLst>
                </a:custGeom>
                <a:grpFill/>
                <a:ln w="5978" cap="flat">
                  <a:noFill/>
                  <a:prstDash val="solid"/>
                  <a:miter/>
                </a:ln>
              </p:spPr>
              <p:txBody>
                <a:bodyPr rtlCol="0" anchor="ctr"/>
                <a:lstStyle/>
                <a:p>
                  <a:endParaRPr lang="en-GB"/>
                </a:p>
              </p:txBody>
            </p:sp>
            <p:sp>
              <p:nvSpPr>
                <p:cNvPr id="4609" name="Vrije vorm: vorm 4608">
                  <a:extLst>
                    <a:ext uri="{FF2B5EF4-FFF2-40B4-BE49-F238E27FC236}">
                      <a16:creationId xmlns:a16="http://schemas.microsoft.com/office/drawing/2014/main" id="{9A8985E0-2DCC-42BD-A75A-18BAFF40A300}"/>
                    </a:ext>
                  </a:extLst>
                </p:cNvPr>
                <p:cNvSpPr/>
                <p:nvPr/>
              </p:nvSpPr>
              <p:spPr>
                <a:xfrm>
                  <a:off x="7773566" y="3518901"/>
                  <a:ext cx="18333" cy="18453"/>
                </a:xfrm>
                <a:custGeom>
                  <a:avLst/>
                  <a:gdLst>
                    <a:gd name="connsiteX0" fmla="*/ 9705 w 18333"/>
                    <a:gd name="connsiteY0" fmla="*/ 16 h 18453"/>
                    <a:gd name="connsiteX1" fmla="*/ 18317 w 18333"/>
                    <a:gd name="connsiteY1" fmla="*/ 9825 h 18453"/>
                    <a:gd name="connsiteX2" fmla="*/ 8629 w 18333"/>
                    <a:gd name="connsiteY2" fmla="*/ 18437 h 18453"/>
                    <a:gd name="connsiteX3" fmla="*/ 16 w 18333"/>
                    <a:gd name="connsiteY3" fmla="*/ 8629 h 18453"/>
                    <a:gd name="connsiteX4" fmla="*/ 9705 w 18333"/>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6"/>
                      </a:moveTo>
                      <a:cubicBezTo>
                        <a:pt x="14729" y="315"/>
                        <a:pt x="18617" y="4741"/>
                        <a:pt x="18317" y="9825"/>
                      </a:cubicBezTo>
                      <a:cubicBezTo>
                        <a:pt x="18018" y="14908"/>
                        <a:pt x="13652" y="18736"/>
                        <a:pt x="8629" y="18437"/>
                      </a:cubicBezTo>
                      <a:cubicBezTo>
                        <a:pt x="3605" y="18138"/>
                        <a:pt x="-282" y="13712"/>
                        <a:pt x="16" y="8629"/>
                      </a:cubicBezTo>
                      <a:cubicBezTo>
                        <a:pt x="315" y="3545"/>
                        <a:pt x="4621" y="-283"/>
                        <a:pt x="9705" y="16"/>
                      </a:cubicBezTo>
                      <a:close/>
                    </a:path>
                  </a:pathLst>
                </a:custGeom>
                <a:grpFill/>
                <a:ln w="5978" cap="flat">
                  <a:noFill/>
                  <a:prstDash val="solid"/>
                  <a:miter/>
                </a:ln>
              </p:spPr>
              <p:txBody>
                <a:bodyPr rtlCol="0" anchor="ctr"/>
                <a:lstStyle/>
                <a:p>
                  <a:endParaRPr lang="en-GB"/>
                </a:p>
              </p:txBody>
            </p:sp>
            <p:sp>
              <p:nvSpPr>
                <p:cNvPr id="4610" name="Vrije vorm: vorm 4609">
                  <a:extLst>
                    <a:ext uri="{FF2B5EF4-FFF2-40B4-BE49-F238E27FC236}">
                      <a16:creationId xmlns:a16="http://schemas.microsoft.com/office/drawing/2014/main" id="{A0565941-D043-43FA-944F-812A0FED8753}"/>
                    </a:ext>
                  </a:extLst>
                </p:cNvPr>
                <p:cNvSpPr/>
                <p:nvPr/>
              </p:nvSpPr>
              <p:spPr>
                <a:xfrm>
                  <a:off x="7724225" y="3515791"/>
                  <a:ext cx="18334" cy="18453"/>
                </a:xfrm>
                <a:custGeom>
                  <a:avLst/>
                  <a:gdLst>
                    <a:gd name="connsiteX0" fmla="*/ 9705 w 18334"/>
                    <a:gd name="connsiteY0" fmla="*/ 16 h 18453"/>
                    <a:gd name="connsiteX1" fmla="*/ 16 w 18334"/>
                    <a:gd name="connsiteY1" fmla="*/ 8629 h 18453"/>
                    <a:gd name="connsiteX2" fmla="*/ 8629 w 18334"/>
                    <a:gd name="connsiteY2" fmla="*/ 18437 h 18453"/>
                    <a:gd name="connsiteX3" fmla="*/ 18318 w 18334"/>
                    <a:gd name="connsiteY3" fmla="*/ 9825 h 18453"/>
                    <a:gd name="connsiteX4" fmla="*/ 9705 w 18334"/>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3">
                      <a:moveTo>
                        <a:pt x="9705" y="16"/>
                      </a:moveTo>
                      <a:cubicBezTo>
                        <a:pt x="4681" y="-283"/>
                        <a:pt x="316" y="3545"/>
                        <a:pt x="16" y="8629"/>
                      </a:cubicBezTo>
                      <a:cubicBezTo>
                        <a:pt x="-282" y="13712"/>
                        <a:pt x="3545" y="18078"/>
                        <a:pt x="8629" y="18437"/>
                      </a:cubicBezTo>
                      <a:cubicBezTo>
                        <a:pt x="13653" y="18736"/>
                        <a:pt x="18018" y="14909"/>
                        <a:pt x="18318" y="9825"/>
                      </a:cubicBezTo>
                      <a:cubicBezTo>
                        <a:pt x="18617" y="4741"/>
                        <a:pt x="14789" y="316"/>
                        <a:pt x="9705" y="16"/>
                      </a:cubicBezTo>
                      <a:close/>
                    </a:path>
                  </a:pathLst>
                </a:custGeom>
                <a:grpFill/>
                <a:ln w="5978" cap="flat">
                  <a:noFill/>
                  <a:prstDash val="solid"/>
                  <a:miter/>
                </a:ln>
              </p:spPr>
              <p:txBody>
                <a:bodyPr rtlCol="0" anchor="ctr"/>
                <a:lstStyle/>
                <a:p>
                  <a:endParaRPr lang="en-GB"/>
                </a:p>
              </p:txBody>
            </p:sp>
          </p:grpSp>
          <p:grpSp>
            <p:nvGrpSpPr>
              <p:cNvPr id="258" name="Graphic 3">
                <a:extLst>
                  <a:ext uri="{FF2B5EF4-FFF2-40B4-BE49-F238E27FC236}">
                    <a16:creationId xmlns:a16="http://schemas.microsoft.com/office/drawing/2014/main" id="{CAD2F7C6-09C5-426F-9942-A22C015B88C0}"/>
                  </a:ext>
                </a:extLst>
              </p:cNvPr>
              <p:cNvGrpSpPr/>
              <p:nvPr/>
            </p:nvGrpSpPr>
            <p:grpSpPr>
              <a:xfrm>
                <a:off x="7912524" y="4117768"/>
                <a:ext cx="153422" cy="69823"/>
                <a:chOff x="7912524" y="4117768"/>
                <a:chExt cx="153422" cy="69823"/>
              </a:xfrm>
              <a:grpFill/>
            </p:grpSpPr>
            <p:sp>
              <p:nvSpPr>
                <p:cNvPr id="4605" name="Vrije vorm: vorm 4604">
                  <a:extLst>
                    <a:ext uri="{FF2B5EF4-FFF2-40B4-BE49-F238E27FC236}">
                      <a16:creationId xmlns:a16="http://schemas.microsoft.com/office/drawing/2014/main" id="{F88CB8A7-D59C-43C1-9D8B-D89E1F985029}"/>
                    </a:ext>
                  </a:extLst>
                </p:cNvPr>
                <p:cNvSpPr/>
                <p:nvPr/>
              </p:nvSpPr>
              <p:spPr>
                <a:xfrm>
                  <a:off x="7920709" y="4125422"/>
                  <a:ext cx="137017" cy="54544"/>
                </a:xfrm>
                <a:custGeom>
                  <a:avLst/>
                  <a:gdLst>
                    <a:gd name="connsiteX0" fmla="*/ 137018 w 137017"/>
                    <a:gd name="connsiteY0" fmla="*/ 51674 h 54544"/>
                    <a:gd name="connsiteX1" fmla="*/ 135942 w 137017"/>
                    <a:gd name="connsiteY1" fmla="*/ 54544 h 54544"/>
                    <a:gd name="connsiteX2" fmla="*/ 0 w 137017"/>
                    <a:gd name="connsiteY2" fmla="*/ 2871 h 54544"/>
                    <a:gd name="connsiteX3" fmla="*/ 1076 w 137017"/>
                    <a:gd name="connsiteY3" fmla="*/ 0 h 54544"/>
                  </a:gdLst>
                  <a:ahLst/>
                  <a:cxnLst>
                    <a:cxn ang="0">
                      <a:pos x="connsiteX0" y="connsiteY0"/>
                    </a:cxn>
                    <a:cxn ang="0">
                      <a:pos x="connsiteX1" y="connsiteY1"/>
                    </a:cxn>
                    <a:cxn ang="0">
                      <a:pos x="connsiteX2" y="connsiteY2"/>
                    </a:cxn>
                    <a:cxn ang="0">
                      <a:pos x="connsiteX3" y="connsiteY3"/>
                    </a:cxn>
                  </a:cxnLst>
                  <a:rect l="l" t="t" r="r" b="b"/>
                  <a:pathLst>
                    <a:path w="137017" h="54544">
                      <a:moveTo>
                        <a:pt x="137018" y="51674"/>
                      </a:moveTo>
                      <a:lnTo>
                        <a:pt x="135942" y="54544"/>
                      </a:lnTo>
                      <a:lnTo>
                        <a:pt x="0" y="2871"/>
                      </a:lnTo>
                      <a:lnTo>
                        <a:pt x="1076" y="0"/>
                      </a:lnTo>
                      <a:close/>
                    </a:path>
                  </a:pathLst>
                </a:custGeom>
                <a:grpFill/>
                <a:ln w="5978" cap="flat">
                  <a:noFill/>
                  <a:prstDash val="solid"/>
                  <a:miter/>
                </a:ln>
              </p:spPr>
              <p:txBody>
                <a:bodyPr rtlCol="0" anchor="ctr"/>
                <a:lstStyle/>
                <a:p>
                  <a:endParaRPr lang="en-GB"/>
                </a:p>
              </p:txBody>
            </p:sp>
            <p:sp>
              <p:nvSpPr>
                <p:cNvPr id="4606" name="Vrije vorm: vorm 4605">
                  <a:extLst>
                    <a:ext uri="{FF2B5EF4-FFF2-40B4-BE49-F238E27FC236}">
                      <a16:creationId xmlns:a16="http://schemas.microsoft.com/office/drawing/2014/main" id="{8A48E102-305C-4D82-830D-7D998639E7D4}"/>
                    </a:ext>
                  </a:extLst>
                </p:cNvPr>
                <p:cNvSpPr/>
                <p:nvPr/>
              </p:nvSpPr>
              <p:spPr>
                <a:xfrm>
                  <a:off x="8047653" y="4169143"/>
                  <a:ext cx="18294" cy="18448"/>
                </a:xfrm>
                <a:custGeom>
                  <a:avLst/>
                  <a:gdLst>
                    <a:gd name="connsiteX0" fmla="*/ 12347 w 18294"/>
                    <a:gd name="connsiteY0" fmla="*/ 596 h 18448"/>
                    <a:gd name="connsiteX1" fmla="*/ 17729 w 18294"/>
                    <a:gd name="connsiteY1" fmla="*/ 12498 h 18448"/>
                    <a:gd name="connsiteX2" fmla="*/ 5948 w 18294"/>
                    <a:gd name="connsiteY2" fmla="*/ 17821 h 18448"/>
                    <a:gd name="connsiteX3" fmla="*/ 565 w 18294"/>
                    <a:gd name="connsiteY3" fmla="*/ 5919 h 18448"/>
                    <a:gd name="connsiteX4" fmla="*/ 12347 w 18294"/>
                    <a:gd name="connsiteY4" fmla="*/ 59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48">
                      <a:moveTo>
                        <a:pt x="12347" y="596"/>
                      </a:moveTo>
                      <a:cubicBezTo>
                        <a:pt x="17072" y="2390"/>
                        <a:pt x="19464" y="7713"/>
                        <a:pt x="17729" y="12498"/>
                      </a:cubicBezTo>
                      <a:cubicBezTo>
                        <a:pt x="15936" y="17283"/>
                        <a:pt x="10673" y="19675"/>
                        <a:pt x="5948" y="17821"/>
                      </a:cubicBezTo>
                      <a:cubicBezTo>
                        <a:pt x="1223" y="16027"/>
                        <a:pt x="-1170" y="10704"/>
                        <a:pt x="565" y="5919"/>
                      </a:cubicBezTo>
                      <a:cubicBezTo>
                        <a:pt x="2299" y="1195"/>
                        <a:pt x="7562" y="-1198"/>
                        <a:pt x="12347" y="596"/>
                      </a:cubicBezTo>
                      <a:close/>
                    </a:path>
                  </a:pathLst>
                </a:custGeom>
                <a:grpFill/>
                <a:ln w="5978" cap="flat">
                  <a:noFill/>
                  <a:prstDash val="solid"/>
                  <a:miter/>
                </a:ln>
              </p:spPr>
              <p:txBody>
                <a:bodyPr rtlCol="0" anchor="ctr"/>
                <a:lstStyle/>
                <a:p>
                  <a:endParaRPr lang="en-GB"/>
                </a:p>
              </p:txBody>
            </p:sp>
            <p:sp>
              <p:nvSpPr>
                <p:cNvPr id="4607" name="Vrije vorm: vorm 4606">
                  <a:extLst>
                    <a:ext uri="{FF2B5EF4-FFF2-40B4-BE49-F238E27FC236}">
                      <a16:creationId xmlns:a16="http://schemas.microsoft.com/office/drawing/2014/main" id="{2BDAEC3D-40FF-440C-B1E4-70514288B528}"/>
                    </a:ext>
                  </a:extLst>
                </p:cNvPr>
                <p:cNvSpPr/>
                <p:nvPr/>
              </p:nvSpPr>
              <p:spPr>
                <a:xfrm>
                  <a:off x="7912524" y="4117768"/>
                  <a:ext cx="18342" cy="18417"/>
                </a:xfrm>
                <a:custGeom>
                  <a:avLst/>
                  <a:gdLst>
                    <a:gd name="connsiteX0" fmla="*/ 12371 w 18342"/>
                    <a:gd name="connsiteY0" fmla="*/ 597 h 18417"/>
                    <a:gd name="connsiteX1" fmla="*/ 589 w 18342"/>
                    <a:gd name="connsiteY1" fmla="*/ 5919 h 18417"/>
                    <a:gd name="connsiteX2" fmla="*/ 5972 w 18342"/>
                    <a:gd name="connsiteY2" fmla="*/ 17821 h 18417"/>
                    <a:gd name="connsiteX3" fmla="*/ 17753 w 18342"/>
                    <a:gd name="connsiteY3" fmla="*/ 12498 h 18417"/>
                    <a:gd name="connsiteX4" fmla="*/ 12371 w 18342"/>
                    <a:gd name="connsiteY4" fmla="*/ 59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7">
                      <a:moveTo>
                        <a:pt x="12371" y="597"/>
                      </a:moveTo>
                      <a:cubicBezTo>
                        <a:pt x="7646" y="-1198"/>
                        <a:pt x="2323" y="1194"/>
                        <a:pt x="589" y="5919"/>
                      </a:cubicBezTo>
                      <a:cubicBezTo>
                        <a:pt x="-1206" y="10704"/>
                        <a:pt x="1247" y="15967"/>
                        <a:pt x="5972" y="17821"/>
                      </a:cubicBezTo>
                      <a:cubicBezTo>
                        <a:pt x="10696" y="19615"/>
                        <a:pt x="16019" y="17223"/>
                        <a:pt x="17753" y="12498"/>
                      </a:cubicBezTo>
                      <a:cubicBezTo>
                        <a:pt x="19547" y="7714"/>
                        <a:pt x="17096" y="2391"/>
                        <a:pt x="12371" y="597"/>
                      </a:cubicBezTo>
                      <a:close/>
                    </a:path>
                  </a:pathLst>
                </a:custGeom>
                <a:grpFill/>
                <a:ln w="5978" cap="flat">
                  <a:noFill/>
                  <a:prstDash val="solid"/>
                  <a:miter/>
                </a:ln>
              </p:spPr>
              <p:txBody>
                <a:bodyPr rtlCol="0" anchor="ctr"/>
                <a:lstStyle/>
                <a:p>
                  <a:endParaRPr lang="en-GB"/>
                </a:p>
              </p:txBody>
            </p:sp>
          </p:grpSp>
          <p:grpSp>
            <p:nvGrpSpPr>
              <p:cNvPr id="259" name="Graphic 3">
                <a:extLst>
                  <a:ext uri="{FF2B5EF4-FFF2-40B4-BE49-F238E27FC236}">
                    <a16:creationId xmlns:a16="http://schemas.microsoft.com/office/drawing/2014/main" id="{138BB391-B1AE-4FE2-BF69-3F86CA5FC0BA}"/>
                  </a:ext>
                </a:extLst>
              </p:cNvPr>
              <p:cNvGrpSpPr/>
              <p:nvPr/>
            </p:nvGrpSpPr>
            <p:grpSpPr>
              <a:xfrm>
                <a:off x="7151469" y="1875965"/>
                <a:ext cx="148738" cy="180055"/>
                <a:chOff x="7151469" y="1875965"/>
                <a:chExt cx="148738" cy="180055"/>
              </a:xfrm>
              <a:grpFill/>
            </p:grpSpPr>
            <p:sp>
              <p:nvSpPr>
                <p:cNvPr id="4602" name="Vrije vorm: vorm 4601">
                  <a:extLst>
                    <a:ext uri="{FF2B5EF4-FFF2-40B4-BE49-F238E27FC236}">
                      <a16:creationId xmlns:a16="http://schemas.microsoft.com/office/drawing/2014/main" id="{91B77894-CF37-42D1-8C1D-4A1D6682DF6E}"/>
                    </a:ext>
                  </a:extLst>
                </p:cNvPr>
                <p:cNvSpPr/>
                <p:nvPr/>
              </p:nvSpPr>
              <p:spPr>
                <a:xfrm>
                  <a:off x="7159183" y="1883908"/>
                  <a:ext cx="133250" cy="164170"/>
                </a:xfrm>
                <a:custGeom>
                  <a:avLst/>
                  <a:gdLst>
                    <a:gd name="connsiteX0" fmla="*/ 133251 w 133250"/>
                    <a:gd name="connsiteY0" fmla="*/ 1914 h 164170"/>
                    <a:gd name="connsiteX1" fmla="*/ 2333 w 133250"/>
                    <a:gd name="connsiteY1" fmla="*/ 164171 h 164170"/>
                    <a:gd name="connsiteX2" fmla="*/ 0 w 133250"/>
                    <a:gd name="connsiteY2" fmla="*/ 162257 h 164170"/>
                    <a:gd name="connsiteX3" fmla="*/ 130918 w 133250"/>
                    <a:gd name="connsiteY3" fmla="*/ 0 h 164170"/>
                  </a:gdLst>
                  <a:ahLst/>
                  <a:cxnLst>
                    <a:cxn ang="0">
                      <a:pos x="connsiteX0" y="connsiteY0"/>
                    </a:cxn>
                    <a:cxn ang="0">
                      <a:pos x="connsiteX1" y="connsiteY1"/>
                    </a:cxn>
                    <a:cxn ang="0">
                      <a:pos x="connsiteX2" y="connsiteY2"/>
                    </a:cxn>
                    <a:cxn ang="0">
                      <a:pos x="connsiteX3" y="connsiteY3"/>
                    </a:cxn>
                  </a:cxnLst>
                  <a:rect l="l" t="t" r="r" b="b"/>
                  <a:pathLst>
                    <a:path w="133250" h="164170">
                      <a:moveTo>
                        <a:pt x="133251" y="1914"/>
                      </a:moveTo>
                      <a:lnTo>
                        <a:pt x="2333" y="164171"/>
                      </a:lnTo>
                      <a:lnTo>
                        <a:pt x="0" y="162257"/>
                      </a:lnTo>
                      <a:lnTo>
                        <a:pt x="130918" y="0"/>
                      </a:lnTo>
                      <a:close/>
                    </a:path>
                  </a:pathLst>
                </a:custGeom>
                <a:grpFill/>
                <a:ln w="5978" cap="flat">
                  <a:noFill/>
                  <a:prstDash val="solid"/>
                  <a:miter/>
                </a:ln>
              </p:spPr>
              <p:txBody>
                <a:bodyPr rtlCol="0" anchor="ctr"/>
                <a:lstStyle/>
                <a:p>
                  <a:endParaRPr lang="en-GB"/>
                </a:p>
              </p:txBody>
            </p:sp>
            <p:sp>
              <p:nvSpPr>
                <p:cNvPr id="4603" name="Vrije vorm: vorm 4602">
                  <a:extLst>
                    <a:ext uri="{FF2B5EF4-FFF2-40B4-BE49-F238E27FC236}">
                      <a16:creationId xmlns:a16="http://schemas.microsoft.com/office/drawing/2014/main" id="{588BA99C-49B1-48AD-874B-437C942E74E7}"/>
                    </a:ext>
                  </a:extLst>
                </p:cNvPr>
                <p:cNvSpPr/>
                <p:nvPr/>
              </p:nvSpPr>
              <p:spPr>
                <a:xfrm>
                  <a:off x="7281824" y="1875965"/>
                  <a:ext cx="18383" cy="18456"/>
                </a:xfrm>
                <a:custGeom>
                  <a:avLst/>
                  <a:gdLst>
                    <a:gd name="connsiteX0" fmla="*/ 2057 w 18383"/>
                    <a:gd name="connsiteY0" fmla="*/ 3397 h 18456"/>
                    <a:gd name="connsiteX1" fmla="*/ 14976 w 18383"/>
                    <a:gd name="connsiteY1" fmla="*/ 2081 h 18456"/>
                    <a:gd name="connsiteX2" fmla="*/ 16351 w 18383"/>
                    <a:gd name="connsiteY2" fmla="*/ 15059 h 18456"/>
                    <a:gd name="connsiteX3" fmla="*/ 3433 w 18383"/>
                    <a:gd name="connsiteY3" fmla="*/ 16375 h 18456"/>
                    <a:gd name="connsiteX4" fmla="*/ 2057 w 18383"/>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56">
                      <a:moveTo>
                        <a:pt x="2057" y="3397"/>
                      </a:moveTo>
                      <a:cubicBezTo>
                        <a:pt x="5227" y="-550"/>
                        <a:pt x="11028" y="-1148"/>
                        <a:pt x="14976" y="2081"/>
                      </a:cubicBezTo>
                      <a:cubicBezTo>
                        <a:pt x="18923" y="5311"/>
                        <a:pt x="19521" y="11112"/>
                        <a:pt x="16351" y="15059"/>
                      </a:cubicBezTo>
                      <a:cubicBezTo>
                        <a:pt x="13182" y="19007"/>
                        <a:pt x="7380" y="19605"/>
                        <a:pt x="3433" y="16375"/>
                      </a:cubicBezTo>
                      <a:cubicBezTo>
                        <a:pt x="-514" y="13146"/>
                        <a:pt x="-1172" y="7344"/>
                        <a:pt x="2057" y="3397"/>
                      </a:cubicBezTo>
                      <a:close/>
                    </a:path>
                  </a:pathLst>
                </a:custGeom>
                <a:grpFill/>
                <a:ln w="5978" cap="flat">
                  <a:noFill/>
                  <a:prstDash val="solid"/>
                  <a:miter/>
                </a:ln>
              </p:spPr>
              <p:txBody>
                <a:bodyPr rtlCol="0" anchor="ctr"/>
                <a:lstStyle/>
                <a:p>
                  <a:endParaRPr lang="en-GB"/>
                </a:p>
              </p:txBody>
            </p:sp>
            <p:sp>
              <p:nvSpPr>
                <p:cNvPr id="4604" name="Vrije vorm: vorm 4603">
                  <a:extLst>
                    <a:ext uri="{FF2B5EF4-FFF2-40B4-BE49-F238E27FC236}">
                      <a16:creationId xmlns:a16="http://schemas.microsoft.com/office/drawing/2014/main" id="{EADA785D-907E-475B-B59B-36D83E3AD5A6}"/>
                    </a:ext>
                  </a:extLst>
                </p:cNvPr>
                <p:cNvSpPr/>
                <p:nvPr/>
              </p:nvSpPr>
              <p:spPr>
                <a:xfrm>
                  <a:off x="7151469" y="2037564"/>
                  <a:ext cx="18298" cy="18456"/>
                </a:xfrm>
                <a:custGeom>
                  <a:avLst/>
                  <a:gdLst>
                    <a:gd name="connsiteX0" fmla="*/ 2032 w 18298"/>
                    <a:gd name="connsiteY0" fmla="*/ 3397 h 18456"/>
                    <a:gd name="connsiteX1" fmla="*/ 3408 w 18298"/>
                    <a:gd name="connsiteY1" fmla="*/ 16375 h 18456"/>
                    <a:gd name="connsiteX2" fmla="*/ 16267 w 18298"/>
                    <a:gd name="connsiteY2" fmla="*/ 15059 h 18456"/>
                    <a:gd name="connsiteX3" fmla="*/ 14891 w 18298"/>
                    <a:gd name="connsiteY3" fmla="*/ 2081 h 18456"/>
                    <a:gd name="connsiteX4" fmla="*/ 2032 w 18298"/>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6">
                      <a:moveTo>
                        <a:pt x="2032" y="3397"/>
                      </a:moveTo>
                      <a:cubicBezTo>
                        <a:pt x="-1137" y="7344"/>
                        <a:pt x="-540" y="13146"/>
                        <a:pt x="3408" y="16375"/>
                      </a:cubicBezTo>
                      <a:cubicBezTo>
                        <a:pt x="7355" y="19605"/>
                        <a:pt x="13097" y="19007"/>
                        <a:pt x="16267" y="15059"/>
                      </a:cubicBezTo>
                      <a:cubicBezTo>
                        <a:pt x="19437" y="11112"/>
                        <a:pt x="18838" y="5311"/>
                        <a:pt x="14891" y="2081"/>
                      </a:cubicBezTo>
                      <a:cubicBezTo>
                        <a:pt x="11004" y="-1148"/>
                        <a:pt x="5202" y="-550"/>
                        <a:pt x="2032" y="3397"/>
                      </a:cubicBezTo>
                      <a:close/>
                    </a:path>
                  </a:pathLst>
                </a:custGeom>
                <a:grpFill/>
                <a:ln w="5978" cap="flat">
                  <a:noFill/>
                  <a:prstDash val="solid"/>
                  <a:miter/>
                </a:ln>
              </p:spPr>
              <p:txBody>
                <a:bodyPr rtlCol="0" anchor="ctr"/>
                <a:lstStyle/>
                <a:p>
                  <a:endParaRPr lang="en-GB"/>
                </a:p>
              </p:txBody>
            </p:sp>
          </p:grpSp>
          <p:grpSp>
            <p:nvGrpSpPr>
              <p:cNvPr id="260" name="Graphic 3">
                <a:extLst>
                  <a:ext uri="{FF2B5EF4-FFF2-40B4-BE49-F238E27FC236}">
                    <a16:creationId xmlns:a16="http://schemas.microsoft.com/office/drawing/2014/main" id="{9753428A-4E85-46EF-8F3C-FFDE6101424A}"/>
                  </a:ext>
                </a:extLst>
              </p:cNvPr>
              <p:cNvGrpSpPr/>
              <p:nvPr/>
            </p:nvGrpSpPr>
            <p:grpSpPr>
              <a:xfrm>
                <a:off x="7810393" y="3791249"/>
                <a:ext cx="90190" cy="34031"/>
                <a:chOff x="7810393" y="3791249"/>
                <a:chExt cx="90190" cy="34031"/>
              </a:xfrm>
              <a:grpFill/>
            </p:grpSpPr>
            <p:sp>
              <p:nvSpPr>
                <p:cNvPr id="4599" name="Vrije vorm: vorm 4598">
                  <a:extLst>
                    <a:ext uri="{FF2B5EF4-FFF2-40B4-BE49-F238E27FC236}">
                      <a16:creationId xmlns:a16="http://schemas.microsoft.com/office/drawing/2014/main" id="{21A823D6-7FA8-4FCB-BC82-122C428394E7}"/>
                    </a:ext>
                  </a:extLst>
                </p:cNvPr>
                <p:cNvSpPr/>
                <p:nvPr/>
              </p:nvSpPr>
              <p:spPr>
                <a:xfrm>
                  <a:off x="7818797" y="3798875"/>
                  <a:ext cx="73383" cy="18779"/>
                </a:xfrm>
                <a:custGeom>
                  <a:avLst/>
                  <a:gdLst>
                    <a:gd name="connsiteX0" fmla="*/ 73384 w 73383"/>
                    <a:gd name="connsiteY0" fmla="*/ 15789 h 18779"/>
                    <a:gd name="connsiteX1" fmla="*/ 72726 w 73383"/>
                    <a:gd name="connsiteY1" fmla="*/ 18780 h 18779"/>
                    <a:gd name="connsiteX2" fmla="*/ 0 w 73383"/>
                    <a:gd name="connsiteY2" fmla="*/ 2990 h 18779"/>
                    <a:gd name="connsiteX3" fmla="*/ 658 w 73383"/>
                    <a:gd name="connsiteY3" fmla="*/ 0 h 18779"/>
                  </a:gdLst>
                  <a:ahLst/>
                  <a:cxnLst>
                    <a:cxn ang="0">
                      <a:pos x="connsiteX0" y="connsiteY0"/>
                    </a:cxn>
                    <a:cxn ang="0">
                      <a:pos x="connsiteX1" y="connsiteY1"/>
                    </a:cxn>
                    <a:cxn ang="0">
                      <a:pos x="connsiteX2" y="connsiteY2"/>
                    </a:cxn>
                    <a:cxn ang="0">
                      <a:pos x="connsiteX3" y="connsiteY3"/>
                    </a:cxn>
                  </a:cxnLst>
                  <a:rect l="l" t="t" r="r" b="b"/>
                  <a:pathLst>
                    <a:path w="73383" h="18779">
                      <a:moveTo>
                        <a:pt x="73384" y="15789"/>
                      </a:moveTo>
                      <a:lnTo>
                        <a:pt x="72726" y="18780"/>
                      </a:lnTo>
                      <a:lnTo>
                        <a:pt x="0" y="2990"/>
                      </a:lnTo>
                      <a:lnTo>
                        <a:pt x="658" y="0"/>
                      </a:lnTo>
                      <a:close/>
                    </a:path>
                  </a:pathLst>
                </a:custGeom>
                <a:grpFill/>
                <a:ln w="5978" cap="flat">
                  <a:noFill/>
                  <a:prstDash val="solid"/>
                  <a:miter/>
                </a:ln>
              </p:spPr>
              <p:txBody>
                <a:bodyPr rtlCol="0" anchor="ctr"/>
                <a:lstStyle/>
                <a:p>
                  <a:endParaRPr lang="en-GB"/>
                </a:p>
              </p:txBody>
            </p:sp>
            <p:sp>
              <p:nvSpPr>
                <p:cNvPr id="4600" name="Vrije vorm: vorm 4599">
                  <a:extLst>
                    <a:ext uri="{FF2B5EF4-FFF2-40B4-BE49-F238E27FC236}">
                      <a16:creationId xmlns:a16="http://schemas.microsoft.com/office/drawing/2014/main" id="{DAD5FA8F-616B-4683-8C53-18095FECC9C3}"/>
                    </a:ext>
                  </a:extLst>
                </p:cNvPr>
                <p:cNvSpPr/>
                <p:nvPr/>
              </p:nvSpPr>
              <p:spPr>
                <a:xfrm>
                  <a:off x="7882222" y="3806858"/>
                  <a:ext cx="18362" cy="18421"/>
                </a:xfrm>
                <a:custGeom>
                  <a:avLst/>
                  <a:gdLst>
                    <a:gd name="connsiteX0" fmla="*/ 11095 w 18362"/>
                    <a:gd name="connsiteY0" fmla="*/ 210 h 18421"/>
                    <a:gd name="connsiteX1" fmla="*/ 18152 w 18362"/>
                    <a:gd name="connsiteY1" fmla="*/ 11155 h 18421"/>
                    <a:gd name="connsiteX2" fmla="*/ 7267 w 18362"/>
                    <a:gd name="connsiteY2" fmla="*/ 18212 h 18421"/>
                    <a:gd name="connsiteX3" fmla="*/ 210 w 18362"/>
                    <a:gd name="connsiteY3" fmla="*/ 7268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16059" y="1287"/>
                        <a:pt x="19228" y="6191"/>
                        <a:pt x="18152" y="11155"/>
                      </a:cubicBezTo>
                      <a:cubicBezTo>
                        <a:pt x="17075" y="16119"/>
                        <a:pt x="12231" y="19288"/>
                        <a:pt x="7267" y="18212"/>
                      </a:cubicBezTo>
                      <a:cubicBezTo>
                        <a:pt x="2303" y="17136"/>
                        <a:pt x="-867" y="12231"/>
                        <a:pt x="210" y="7268"/>
                      </a:cubicBezTo>
                      <a:cubicBezTo>
                        <a:pt x="1286" y="2303"/>
                        <a:pt x="6131" y="-867"/>
                        <a:pt x="11095" y="210"/>
                      </a:cubicBezTo>
                      <a:close/>
                    </a:path>
                  </a:pathLst>
                </a:custGeom>
                <a:grpFill/>
                <a:ln w="5978" cap="flat">
                  <a:noFill/>
                  <a:prstDash val="solid"/>
                  <a:miter/>
                </a:ln>
              </p:spPr>
              <p:txBody>
                <a:bodyPr rtlCol="0" anchor="ctr"/>
                <a:lstStyle/>
                <a:p>
                  <a:endParaRPr lang="en-GB"/>
                </a:p>
              </p:txBody>
            </p:sp>
            <p:sp>
              <p:nvSpPr>
                <p:cNvPr id="4601" name="Vrije vorm: vorm 4600">
                  <a:extLst>
                    <a:ext uri="{FF2B5EF4-FFF2-40B4-BE49-F238E27FC236}">
                      <a16:creationId xmlns:a16="http://schemas.microsoft.com/office/drawing/2014/main" id="{027D957A-5498-494F-995C-9105C65B8991}"/>
                    </a:ext>
                  </a:extLst>
                </p:cNvPr>
                <p:cNvSpPr/>
                <p:nvPr/>
              </p:nvSpPr>
              <p:spPr>
                <a:xfrm>
                  <a:off x="7810393" y="3791249"/>
                  <a:ext cx="18362" cy="18421"/>
                </a:xfrm>
                <a:custGeom>
                  <a:avLst/>
                  <a:gdLst>
                    <a:gd name="connsiteX0" fmla="*/ 11095 w 18362"/>
                    <a:gd name="connsiteY0" fmla="*/ 210 h 18421"/>
                    <a:gd name="connsiteX1" fmla="*/ 210 w 18362"/>
                    <a:gd name="connsiteY1" fmla="*/ 7267 h 18421"/>
                    <a:gd name="connsiteX2" fmla="*/ 7267 w 18362"/>
                    <a:gd name="connsiteY2" fmla="*/ 18212 h 18421"/>
                    <a:gd name="connsiteX3" fmla="*/ 18152 w 18362"/>
                    <a:gd name="connsiteY3" fmla="*/ 11155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6131" y="-867"/>
                        <a:pt x="1286" y="2303"/>
                        <a:pt x="210" y="7267"/>
                      </a:cubicBezTo>
                      <a:cubicBezTo>
                        <a:pt x="-867" y="12231"/>
                        <a:pt x="2303" y="17136"/>
                        <a:pt x="7267" y="18212"/>
                      </a:cubicBezTo>
                      <a:cubicBezTo>
                        <a:pt x="12231" y="19288"/>
                        <a:pt x="17075" y="16119"/>
                        <a:pt x="18152" y="11155"/>
                      </a:cubicBezTo>
                      <a:cubicBezTo>
                        <a:pt x="19228" y="6191"/>
                        <a:pt x="16059" y="1287"/>
                        <a:pt x="11095" y="210"/>
                      </a:cubicBezTo>
                      <a:close/>
                    </a:path>
                  </a:pathLst>
                </a:custGeom>
                <a:grpFill/>
                <a:ln w="5978" cap="flat">
                  <a:noFill/>
                  <a:prstDash val="solid"/>
                  <a:miter/>
                </a:ln>
              </p:spPr>
              <p:txBody>
                <a:bodyPr rtlCol="0" anchor="ctr"/>
                <a:lstStyle/>
                <a:p>
                  <a:endParaRPr lang="en-GB"/>
                </a:p>
              </p:txBody>
            </p:sp>
          </p:grpSp>
          <p:grpSp>
            <p:nvGrpSpPr>
              <p:cNvPr id="261" name="Graphic 3">
                <a:extLst>
                  <a:ext uri="{FF2B5EF4-FFF2-40B4-BE49-F238E27FC236}">
                    <a16:creationId xmlns:a16="http://schemas.microsoft.com/office/drawing/2014/main" id="{50E86060-671D-4BA6-8423-6143590B0169}"/>
                  </a:ext>
                </a:extLst>
              </p:cNvPr>
              <p:cNvGrpSpPr/>
              <p:nvPr/>
            </p:nvGrpSpPr>
            <p:grpSpPr>
              <a:xfrm>
                <a:off x="7783991" y="3819671"/>
                <a:ext cx="177919" cy="56233"/>
                <a:chOff x="7783991" y="3819671"/>
                <a:chExt cx="177919" cy="56233"/>
              </a:xfrm>
              <a:grpFill/>
            </p:grpSpPr>
            <p:sp>
              <p:nvSpPr>
                <p:cNvPr id="4596" name="Vrije vorm: vorm 4595">
                  <a:extLst>
                    <a:ext uri="{FF2B5EF4-FFF2-40B4-BE49-F238E27FC236}">
                      <a16:creationId xmlns:a16="http://schemas.microsoft.com/office/drawing/2014/main" id="{F418E6D9-F620-4E17-AD20-547FA9AAC67D}"/>
                    </a:ext>
                  </a:extLst>
                </p:cNvPr>
                <p:cNvSpPr/>
                <p:nvPr/>
              </p:nvSpPr>
              <p:spPr>
                <a:xfrm>
                  <a:off x="7792422" y="3827283"/>
                  <a:ext cx="161121" cy="41028"/>
                </a:xfrm>
                <a:custGeom>
                  <a:avLst/>
                  <a:gdLst>
                    <a:gd name="connsiteX0" fmla="*/ 161121 w 161121"/>
                    <a:gd name="connsiteY0" fmla="*/ 38038 h 41028"/>
                    <a:gd name="connsiteX1" fmla="*/ 160403 w 161121"/>
                    <a:gd name="connsiteY1" fmla="*/ 41028 h 41028"/>
                    <a:gd name="connsiteX2" fmla="*/ 0 w 161121"/>
                    <a:gd name="connsiteY2" fmla="*/ 2990 h 41028"/>
                    <a:gd name="connsiteX3" fmla="*/ 658 w 161121"/>
                    <a:gd name="connsiteY3" fmla="*/ 0 h 41028"/>
                  </a:gdLst>
                  <a:ahLst/>
                  <a:cxnLst>
                    <a:cxn ang="0">
                      <a:pos x="connsiteX0" y="connsiteY0"/>
                    </a:cxn>
                    <a:cxn ang="0">
                      <a:pos x="connsiteX1" y="connsiteY1"/>
                    </a:cxn>
                    <a:cxn ang="0">
                      <a:pos x="connsiteX2" y="connsiteY2"/>
                    </a:cxn>
                    <a:cxn ang="0">
                      <a:pos x="connsiteX3" y="connsiteY3"/>
                    </a:cxn>
                  </a:cxnLst>
                  <a:rect l="l" t="t" r="r" b="b"/>
                  <a:pathLst>
                    <a:path w="161121" h="41028">
                      <a:moveTo>
                        <a:pt x="161121" y="38038"/>
                      </a:moveTo>
                      <a:lnTo>
                        <a:pt x="160403" y="41028"/>
                      </a:lnTo>
                      <a:lnTo>
                        <a:pt x="0" y="2990"/>
                      </a:lnTo>
                      <a:lnTo>
                        <a:pt x="658" y="0"/>
                      </a:lnTo>
                      <a:close/>
                    </a:path>
                  </a:pathLst>
                </a:custGeom>
                <a:grpFill/>
                <a:ln w="5978" cap="flat">
                  <a:noFill/>
                  <a:prstDash val="solid"/>
                  <a:miter/>
                </a:ln>
              </p:spPr>
              <p:txBody>
                <a:bodyPr rtlCol="0" anchor="ctr"/>
                <a:lstStyle/>
                <a:p>
                  <a:endParaRPr lang="en-GB"/>
                </a:p>
              </p:txBody>
            </p:sp>
            <p:sp>
              <p:nvSpPr>
                <p:cNvPr id="4597" name="Vrije vorm: vorm 4596">
                  <a:extLst>
                    <a:ext uri="{FF2B5EF4-FFF2-40B4-BE49-F238E27FC236}">
                      <a16:creationId xmlns:a16="http://schemas.microsoft.com/office/drawing/2014/main" id="{0E58C28F-58AD-4C8C-8AAA-005DFAE1657C}"/>
                    </a:ext>
                  </a:extLst>
                </p:cNvPr>
                <p:cNvSpPr/>
                <p:nvPr/>
              </p:nvSpPr>
              <p:spPr>
                <a:xfrm>
                  <a:off x="7943560" y="3857488"/>
                  <a:ext cx="18350" cy="18416"/>
                </a:xfrm>
                <a:custGeom>
                  <a:avLst/>
                  <a:gdLst>
                    <a:gd name="connsiteX0" fmla="*/ 11239 w 18350"/>
                    <a:gd name="connsiteY0" fmla="*/ 237 h 18416"/>
                    <a:gd name="connsiteX1" fmla="*/ 18117 w 18350"/>
                    <a:gd name="connsiteY1" fmla="*/ 11302 h 18416"/>
                    <a:gd name="connsiteX2" fmla="*/ 7112 w 18350"/>
                    <a:gd name="connsiteY2" fmla="*/ 18180 h 18416"/>
                    <a:gd name="connsiteX3" fmla="*/ 234 w 18350"/>
                    <a:gd name="connsiteY3" fmla="*/ 7115 h 18416"/>
                    <a:gd name="connsiteX4" fmla="*/ 11239 w 18350"/>
                    <a:gd name="connsiteY4" fmla="*/ 23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6">
                      <a:moveTo>
                        <a:pt x="11239" y="237"/>
                      </a:moveTo>
                      <a:cubicBezTo>
                        <a:pt x="16143" y="1434"/>
                        <a:pt x="19253" y="6397"/>
                        <a:pt x="18117" y="11302"/>
                      </a:cubicBezTo>
                      <a:cubicBezTo>
                        <a:pt x="16980" y="16266"/>
                        <a:pt x="12076" y="19316"/>
                        <a:pt x="7112" y="18180"/>
                      </a:cubicBezTo>
                      <a:cubicBezTo>
                        <a:pt x="2208" y="16983"/>
                        <a:pt x="-902" y="12019"/>
                        <a:pt x="234" y="7115"/>
                      </a:cubicBezTo>
                      <a:cubicBezTo>
                        <a:pt x="1370" y="2151"/>
                        <a:pt x="6335" y="-899"/>
                        <a:pt x="11239" y="237"/>
                      </a:cubicBezTo>
                      <a:close/>
                    </a:path>
                  </a:pathLst>
                </a:custGeom>
                <a:grpFill/>
                <a:ln w="5978" cap="flat">
                  <a:noFill/>
                  <a:prstDash val="solid"/>
                  <a:miter/>
                </a:ln>
              </p:spPr>
              <p:txBody>
                <a:bodyPr rtlCol="0" anchor="ctr"/>
                <a:lstStyle/>
                <a:p>
                  <a:endParaRPr lang="en-GB"/>
                </a:p>
              </p:txBody>
            </p:sp>
            <p:sp>
              <p:nvSpPr>
                <p:cNvPr id="4598" name="Vrije vorm: vorm 4597">
                  <a:extLst>
                    <a:ext uri="{FF2B5EF4-FFF2-40B4-BE49-F238E27FC236}">
                      <a16:creationId xmlns:a16="http://schemas.microsoft.com/office/drawing/2014/main" id="{4638BB30-1E7C-438C-8F16-A9D31C1C6EA8}"/>
                    </a:ext>
                  </a:extLst>
                </p:cNvPr>
                <p:cNvSpPr/>
                <p:nvPr/>
              </p:nvSpPr>
              <p:spPr>
                <a:xfrm>
                  <a:off x="7783991" y="3819671"/>
                  <a:ext cx="18356" cy="18435"/>
                </a:xfrm>
                <a:custGeom>
                  <a:avLst/>
                  <a:gdLst>
                    <a:gd name="connsiteX0" fmla="*/ 11242 w 18356"/>
                    <a:gd name="connsiteY0" fmla="*/ 256 h 18435"/>
                    <a:gd name="connsiteX1" fmla="*/ 237 w 18356"/>
                    <a:gd name="connsiteY1" fmla="*/ 7134 h 18435"/>
                    <a:gd name="connsiteX2" fmla="*/ 7115 w 18356"/>
                    <a:gd name="connsiteY2" fmla="*/ 18198 h 18435"/>
                    <a:gd name="connsiteX3" fmla="*/ 18120 w 18356"/>
                    <a:gd name="connsiteY3" fmla="*/ 11320 h 18435"/>
                    <a:gd name="connsiteX4" fmla="*/ 11242 w 18356"/>
                    <a:gd name="connsiteY4" fmla="*/ 25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5">
                      <a:moveTo>
                        <a:pt x="11242" y="256"/>
                      </a:moveTo>
                      <a:cubicBezTo>
                        <a:pt x="6338" y="-940"/>
                        <a:pt x="1374" y="2170"/>
                        <a:pt x="237" y="7134"/>
                      </a:cubicBezTo>
                      <a:cubicBezTo>
                        <a:pt x="-899" y="12098"/>
                        <a:pt x="2151" y="17062"/>
                        <a:pt x="7115" y="18198"/>
                      </a:cubicBezTo>
                      <a:cubicBezTo>
                        <a:pt x="12079" y="19335"/>
                        <a:pt x="16984" y="16284"/>
                        <a:pt x="18120" y="11320"/>
                      </a:cubicBezTo>
                      <a:cubicBezTo>
                        <a:pt x="19256" y="6417"/>
                        <a:pt x="16206" y="1452"/>
                        <a:pt x="11242" y="256"/>
                      </a:cubicBezTo>
                      <a:close/>
                    </a:path>
                  </a:pathLst>
                </a:custGeom>
                <a:grpFill/>
                <a:ln w="5978" cap="flat">
                  <a:noFill/>
                  <a:prstDash val="solid"/>
                  <a:miter/>
                </a:ln>
              </p:spPr>
              <p:txBody>
                <a:bodyPr rtlCol="0" anchor="ctr"/>
                <a:lstStyle/>
                <a:p>
                  <a:endParaRPr lang="en-GB"/>
                </a:p>
              </p:txBody>
            </p:sp>
          </p:grpSp>
          <p:grpSp>
            <p:nvGrpSpPr>
              <p:cNvPr id="262" name="Graphic 3">
                <a:extLst>
                  <a:ext uri="{FF2B5EF4-FFF2-40B4-BE49-F238E27FC236}">
                    <a16:creationId xmlns:a16="http://schemas.microsoft.com/office/drawing/2014/main" id="{B8192317-AB4B-45ED-8C45-E3087F8D0245}"/>
                  </a:ext>
                </a:extLst>
              </p:cNvPr>
              <p:cNvGrpSpPr/>
              <p:nvPr/>
            </p:nvGrpSpPr>
            <p:grpSpPr>
              <a:xfrm>
                <a:off x="7016834" y="1410216"/>
                <a:ext cx="70885" cy="121026"/>
                <a:chOff x="7016834" y="1410216"/>
                <a:chExt cx="70885" cy="121026"/>
              </a:xfrm>
              <a:grpFill/>
            </p:grpSpPr>
            <p:sp>
              <p:nvSpPr>
                <p:cNvPr id="4593" name="Vrije vorm: vorm 4592">
                  <a:extLst>
                    <a:ext uri="{FF2B5EF4-FFF2-40B4-BE49-F238E27FC236}">
                      <a16:creationId xmlns:a16="http://schemas.microsoft.com/office/drawing/2014/main" id="{4C027B43-17AA-4D68-B15D-C7FD5AFD0D8B}"/>
                    </a:ext>
                  </a:extLst>
                </p:cNvPr>
                <p:cNvSpPr/>
                <p:nvPr/>
              </p:nvSpPr>
              <p:spPr>
                <a:xfrm>
                  <a:off x="7024438" y="1418308"/>
                  <a:ext cx="55680" cy="104782"/>
                </a:xfrm>
                <a:custGeom>
                  <a:avLst/>
                  <a:gdLst>
                    <a:gd name="connsiteX0" fmla="*/ 55680 w 55680"/>
                    <a:gd name="connsiteY0" fmla="*/ 1376 h 104782"/>
                    <a:gd name="connsiteX1" fmla="*/ 2691 w 55680"/>
                    <a:gd name="connsiteY1" fmla="*/ 104782 h 104782"/>
                    <a:gd name="connsiteX2" fmla="*/ 0 w 55680"/>
                    <a:gd name="connsiteY2" fmla="*/ 103407 h 104782"/>
                    <a:gd name="connsiteX3" fmla="*/ 52989 w 55680"/>
                    <a:gd name="connsiteY3" fmla="*/ 0 h 104782"/>
                  </a:gdLst>
                  <a:ahLst/>
                  <a:cxnLst>
                    <a:cxn ang="0">
                      <a:pos x="connsiteX0" y="connsiteY0"/>
                    </a:cxn>
                    <a:cxn ang="0">
                      <a:pos x="connsiteX1" y="connsiteY1"/>
                    </a:cxn>
                    <a:cxn ang="0">
                      <a:pos x="connsiteX2" y="connsiteY2"/>
                    </a:cxn>
                    <a:cxn ang="0">
                      <a:pos x="connsiteX3" y="connsiteY3"/>
                    </a:cxn>
                  </a:cxnLst>
                  <a:rect l="l" t="t" r="r" b="b"/>
                  <a:pathLst>
                    <a:path w="55680" h="104782">
                      <a:moveTo>
                        <a:pt x="55680" y="1376"/>
                      </a:moveTo>
                      <a:lnTo>
                        <a:pt x="2691" y="104782"/>
                      </a:lnTo>
                      <a:lnTo>
                        <a:pt x="0" y="103407"/>
                      </a:lnTo>
                      <a:lnTo>
                        <a:pt x="52989" y="0"/>
                      </a:lnTo>
                      <a:close/>
                    </a:path>
                  </a:pathLst>
                </a:custGeom>
                <a:grpFill/>
                <a:ln w="5978" cap="flat">
                  <a:noFill/>
                  <a:prstDash val="solid"/>
                  <a:miter/>
                </a:ln>
              </p:spPr>
              <p:txBody>
                <a:bodyPr rtlCol="0" anchor="ctr"/>
                <a:lstStyle/>
                <a:p>
                  <a:endParaRPr lang="en-GB"/>
                </a:p>
              </p:txBody>
            </p:sp>
            <p:sp>
              <p:nvSpPr>
                <p:cNvPr id="4594" name="Vrije vorm: vorm 4593">
                  <a:extLst>
                    <a:ext uri="{FF2B5EF4-FFF2-40B4-BE49-F238E27FC236}">
                      <a16:creationId xmlns:a16="http://schemas.microsoft.com/office/drawing/2014/main" id="{2EB1947E-BBDE-438C-8AD2-39842FE24966}"/>
                    </a:ext>
                  </a:extLst>
                </p:cNvPr>
                <p:cNvSpPr/>
                <p:nvPr/>
              </p:nvSpPr>
              <p:spPr>
                <a:xfrm>
                  <a:off x="7069405" y="1410216"/>
                  <a:ext cx="18315" cy="18457"/>
                </a:xfrm>
                <a:custGeom>
                  <a:avLst/>
                  <a:gdLst>
                    <a:gd name="connsiteX0" fmla="*/ 1024 w 18315"/>
                    <a:gd name="connsiteY0" fmla="*/ 4982 h 18457"/>
                    <a:gd name="connsiteX1" fmla="*/ 13344 w 18315"/>
                    <a:gd name="connsiteY1" fmla="*/ 1035 h 18457"/>
                    <a:gd name="connsiteX2" fmla="*/ 17291 w 18315"/>
                    <a:gd name="connsiteY2" fmla="*/ 13475 h 18457"/>
                    <a:gd name="connsiteX3" fmla="*/ 4971 w 18315"/>
                    <a:gd name="connsiteY3" fmla="*/ 17422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3356" y="437"/>
                        <a:pt x="8859" y="-1297"/>
                        <a:pt x="13344" y="1035"/>
                      </a:cubicBezTo>
                      <a:cubicBezTo>
                        <a:pt x="17830" y="3368"/>
                        <a:pt x="19624" y="8930"/>
                        <a:pt x="17291" y="13475"/>
                      </a:cubicBezTo>
                      <a:cubicBezTo>
                        <a:pt x="14959" y="18020"/>
                        <a:pt x="9457" y="19755"/>
                        <a:pt x="4971" y="17422"/>
                      </a:cubicBezTo>
                      <a:cubicBezTo>
                        <a:pt x="486" y="15030"/>
                        <a:pt x="-1309" y="9468"/>
                        <a:pt x="1024" y="4982"/>
                      </a:cubicBezTo>
                      <a:close/>
                    </a:path>
                  </a:pathLst>
                </a:custGeom>
                <a:grpFill/>
                <a:ln w="5978" cap="flat">
                  <a:noFill/>
                  <a:prstDash val="solid"/>
                  <a:miter/>
                </a:ln>
              </p:spPr>
              <p:txBody>
                <a:bodyPr rtlCol="0" anchor="ctr"/>
                <a:lstStyle/>
                <a:p>
                  <a:endParaRPr lang="en-GB"/>
                </a:p>
              </p:txBody>
            </p:sp>
            <p:sp>
              <p:nvSpPr>
                <p:cNvPr id="4595" name="Vrije vorm: vorm 4594">
                  <a:extLst>
                    <a:ext uri="{FF2B5EF4-FFF2-40B4-BE49-F238E27FC236}">
                      <a16:creationId xmlns:a16="http://schemas.microsoft.com/office/drawing/2014/main" id="{2FB21464-A7E9-4A9C-9B0A-C72A51AF7CB3}"/>
                    </a:ext>
                  </a:extLst>
                </p:cNvPr>
                <p:cNvSpPr/>
                <p:nvPr/>
              </p:nvSpPr>
              <p:spPr>
                <a:xfrm>
                  <a:off x="7016834" y="1512785"/>
                  <a:ext cx="18315" cy="18457"/>
                </a:xfrm>
                <a:custGeom>
                  <a:avLst/>
                  <a:gdLst>
                    <a:gd name="connsiteX0" fmla="*/ 1024 w 18315"/>
                    <a:gd name="connsiteY0" fmla="*/ 4982 h 18457"/>
                    <a:gd name="connsiteX1" fmla="*/ 4971 w 18315"/>
                    <a:gd name="connsiteY1" fmla="*/ 17422 h 18457"/>
                    <a:gd name="connsiteX2" fmla="*/ 17292 w 18315"/>
                    <a:gd name="connsiteY2" fmla="*/ 13475 h 18457"/>
                    <a:gd name="connsiteX3" fmla="*/ 13344 w 18315"/>
                    <a:gd name="connsiteY3" fmla="*/ 1035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1309" y="9528"/>
                        <a:pt x="486" y="15090"/>
                        <a:pt x="4971" y="17422"/>
                      </a:cubicBezTo>
                      <a:cubicBezTo>
                        <a:pt x="9457" y="19755"/>
                        <a:pt x="15019" y="18020"/>
                        <a:pt x="17292" y="13475"/>
                      </a:cubicBezTo>
                      <a:cubicBezTo>
                        <a:pt x="19624" y="8930"/>
                        <a:pt x="17830" y="3368"/>
                        <a:pt x="13344" y="1035"/>
                      </a:cubicBezTo>
                      <a:cubicBezTo>
                        <a:pt x="8859" y="-1297"/>
                        <a:pt x="3356" y="437"/>
                        <a:pt x="1024" y="4982"/>
                      </a:cubicBezTo>
                      <a:close/>
                    </a:path>
                  </a:pathLst>
                </a:custGeom>
                <a:grpFill/>
                <a:ln w="5978" cap="flat">
                  <a:noFill/>
                  <a:prstDash val="solid"/>
                  <a:miter/>
                </a:ln>
              </p:spPr>
              <p:txBody>
                <a:bodyPr rtlCol="0" anchor="ctr"/>
                <a:lstStyle/>
                <a:p>
                  <a:endParaRPr lang="en-GB"/>
                </a:p>
              </p:txBody>
            </p:sp>
          </p:grpSp>
          <p:grpSp>
            <p:nvGrpSpPr>
              <p:cNvPr id="263" name="Graphic 3">
                <a:extLst>
                  <a:ext uri="{FF2B5EF4-FFF2-40B4-BE49-F238E27FC236}">
                    <a16:creationId xmlns:a16="http://schemas.microsoft.com/office/drawing/2014/main" id="{828D1688-7523-4A8C-8663-F4353FB67669}"/>
                  </a:ext>
                </a:extLst>
              </p:cNvPr>
              <p:cNvGrpSpPr/>
              <p:nvPr/>
            </p:nvGrpSpPr>
            <p:grpSpPr>
              <a:xfrm>
                <a:off x="7676019" y="3859800"/>
                <a:ext cx="469397" cy="184063"/>
                <a:chOff x="7676019" y="3859800"/>
                <a:chExt cx="469397" cy="184063"/>
              </a:xfrm>
              <a:grpFill/>
            </p:grpSpPr>
            <p:sp>
              <p:nvSpPr>
                <p:cNvPr id="4590" name="Vrije vorm: vorm 4589">
                  <a:extLst>
                    <a:ext uri="{FF2B5EF4-FFF2-40B4-BE49-F238E27FC236}">
                      <a16:creationId xmlns:a16="http://schemas.microsoft.com/office/drawing/2014/main" id="{3B5ADB57-32D5-41A7-AC30-4C11FCD6F0D2}"/>
                    </a:ext>
                  </a:extLst>
                </p:cNvPr>
                <p:cNvSpPr/>
                <p:nvPr/>
              </p:nvSpPr>
              <p:spPr>
                <a:xfrm>
                  <a:off x="7684231" y="3867474"/>
                  <a:ext cx="452979" cy="168775"/>
                </a:xfrm>
                <a:custGeom>
                  <a:avLst/>
                  <a:gdLst>
                    <a:gd name="connsiteX0" fmla="*/ 452980 w 452979"/>
                    <a:gd name="connsiteY0" fmla="*/ 165905 h 168775"/>
                    <a:gd name="connsiteX1" fmla="*/ 451963 w 452979"/>
                    <a:gd name="connsiteY1" fmla="*/ 168776 h 168775"/>
                    <a:gd name="connsiteX2" fmla="*/ 0 w 452979"/>
                    <a:gd name="connsiteY2" fmla="*/ 2871 h 168775"/>
                    <a:gd name="connsiteX3" fmla="*/ 1017 w 452979"/>
                    <a:gd name="connsiteY3" fmla="*/ 0 h 168775"/>
                  </a:gdLst>
                  <a:ahLst/>
                  <a:cxnLst>
                    <a:cxn ang="0">
                      <a:pos x="connsiteX0" y="connsiteY0"/>
                    </a:cxn>
                    <a:cxn ang="0">
                      <a:pos x="connsiteX1" y="connsiteY1"/>
                    </a:cxn>
                    <a:cxn ang="0">
                      <a:pos x="connsiteX2" y="connsiteY2"/>
                    </a:cxn>
                    <a:cxn ang="0">
                      <a:pos x="connsiteX3" y="connsiteY3"/>
                    </a:cxn>
                  </a:cxnLst>
                  <a:rect l="l" t="t" r="r" b="b"/>
                  <a:pathLst>
                    <a:path w="452979" h="168775">
                      <a:moveTo>
                        <a:pt x="452980" y="165905"/>
                      </a:moveTo>
                      <a:lnTo>
                        <a:pt x="451963" y="168776"/>
                      </a:lnTo>
                      <a:lnTo>
                        <a:pt x="0" y="2871"/>
                      </a:lnTo>
                      <a:lnTo>
                        <a:pt x="1017" y="0"/>
                      </a:lnTo>
                      <a:close/>
                    </a:path>
                  </a:pathLst>
                </a:custGeom>
                <a:grpFill/>
                <a:ln w="5978" cap="flat">
                  <a:noFill/>
                  <a:prstDash val="solid"/>
                  <a:miter/>
                </a:ln>
              </p:spPr>
              <p:txBody>
                <a:bodyPr rtlCol="0" anchor="ctr"/>
                <a:lstStyle/>
                <a:p>
                  <a:endParaRPr lang="en-GB"/>
                </a:p>
              </p:txBody>
            </p:sp>
            <p:sp>
              <p:nvSpPr>
                <p:cNvPr id="4591" name="Vrije vorm: vorm 4590">
                  <a:extLst>
                    <a:ext uri="{FF2B5EF4-FFF2-40B4-BE49-F238E27FC236}">
                      <a16:creationId xmlns:a16="http://schemas.microsoft.com/office/drawing/2014/main" id="{DA1F74D3-8B7D-4DA5-ADDF-201591E467BB}"/>
                    </a:ext>
                  </a:extLst>
                </p:cNvPr>
                <p:cNvSpPr/>
                <p:nvPr/>
              </p:nvSpPr>
              <p:spPr>
                <a:xfrm>
                  <a:off x="7676019" y="3859800"/>
                  <a:ext cx="18331" cy="18457"/>
                </a:xfrm>
                <a:custGeom>
                  <a:avLst/>
                  <a:gdLst>
                    <a:gd name="connsiteX0" fmla="*/ 6059 w 18331"/>
                    <a:gd name="connsiteY0" fmla="*/ 17900 h 18457"/>
                    <a:gd name="connsiteX1" fmla="*/ 556 w 18331"/>
                    <a:gd name="connsiteY1" fmla="*/ 6059 h 18457"/>
                    <a:gd name="connsiteX2" fmla="*/ 12279 w 18331"/>
                    <a:gd name="connsiteY2" fmla="*/ 557 h 18457"/>
                    <a:gd name="connsiteX3" fmla="*/ 17781 w 18331"/>
                    <a:gd name="connsiteY3" fmla="*/ 12398 h 18457"/>
                    <a:gd name="connsiteX4" fmla="*/ 6059 w 18331"/>
                    <a:gd name="connsiteY4" fmla="*/ 1790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57">
                      <a:moveTo>
                        <a:pt x="6059" y="17900"/>
                      </a:moveTo>
                      <a:cubicBezTo>
                        <a:pt x="1274" y="16166"/>
                        <a:pt x="-1177" y="10843"/>
                        <a:pt x="556" y="6059"/>
                      </a:cubicBezTo>
                      <a:cubicBezTo>
                        <a:pt x="2291" y="1274"/>
                        <a:pt x="7554" y="-1178"/>
                        <a:pt x="12279" y="557"/>
                      </a:cubicBezTo>
                      <a:cubicBezTo>
                        <a:pt x="17003" y="2291"/>
                        <a:pt x="19516" y="7614"/>
                        <a:pt x="17781" y="12398"/>
                      </a:cubicBezTo>
                      <a:cubicBezTo>
                        <a:pt x="16046" y="17183"/>
                        <a:pt x="10784" y="19635"/>
                        <a:pt x="6059" y="17900"/>
                      </a:cubicBezTo>
                      <a:close/>
                    </a:path>
                  </a:pathLst>
                </a:custGeom>
                <a:grpFill/>
                <a:ln w="5978" cap="flat">
                  <a:noFill/>
                  <a:prstDash val="solid"/>
                  <a:miter/>
                </a:ln>
              </p:spPr>
              <p:txBody>
                <a:bodyPr rtlCol="0" anchor="ctr"/>
                <a:lstStyle/>
                <a:p>
                  <a:endParaRPr lang="en-GB"/>
                </a:p>
              </p:txBody>
            </p:sp>
            <p:sp>
              <p:nvSpPr>
                <p:cNvPr id="4592" name="Vrije vorm: vorm 4591">
                  <a:extLst>
                    <a:ext uri="{FF2B5EF4-FFF2-40B4-BE49-F238E27FC236}">
                      <a16:creationId xmlns:a16="http://schemas.microsoft.com/office/drawing/2014/main" id="{3ED724F5-FF4B-4C1A-B2BF-51BB44AA3FFE}"/>
                    </a:ext>
                  </a:extLst>
                </p:cNvPr>
                <p:cNvSpPr/>
                <p:nvPr/>
              </p:nvSpPr>
              <p:spPr>
                <a:xfrm>
                  <a:off x="8127091" y="4025406"/>
                  <a:ext cx="18324" cy="18457"/>
                </a:xfrm>
                <a:custGeom>
                  <a:avLst/>
                  <a:gdLst>
                    <a:gd name="connsiteX0" fmla="*/ 6052 w 18324"/>
                    <a:gd name="connsiteY0" fmla="*/ 17901 h 18457"/>
                    <a:gd name="connsiteX1" fmla="*/ 17775 w 18324"/>
                    <a:gd name="connsiteY1" fmla="*/ 12398 h 18457"/>
                    <a:gd name="connsiteX2" fmla="*/ 12272 w 18324"/>
                    <a:gd name="connsiteY2" fmla="*/ 557 h 18457"/>
                    <a:gd name="connsiteX3" fmla="*/ 550 w 18324"/>
                    <a:gd name="connsiteY3" fmla="*/ 6059 h 18457"/>
                    <a:gd name="connsiteX4" fmla="*/ 6052 w 18324"/>
                    <a:gd name="connsiteY4" fmla="*/ 17901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7">
                      <a:moveTo>
                        <a:pt x="6052" y="17901"/>
                      </a:moveTo>
                      <a:cubicBezTo>
                        <a:pt x="10837" y="19635"/>
                        <a:pt x="16040" y="17183"/>
                        <a:pt x="17775" y="12398"/>
                      </a:cubicBezTo>
                      <a:cubicBezTo>
                        <a:pt x="19509" y="7614"/>
                        <a:pt x="16997" y="2351"/>
                        <a:pt x="12272" y="557"/>
                      </a:cubicBezTo>
                      <a:cubicBezTo>
                        <a:pt x="7488" y="-1178"/>
                        <a:pt x="2285" y="1274"/>
                        <a:pt x="550" y="6059"/>
                      </a:cubicBezTo>
                      <a:cubicBezTo>
                        <a:pt x="-1185" y="10843"/>
                        <a:pt x="1328" y="16166"/>
                        <a:pt x="6052" y="17901"/>
                      </a:cubicBezTo>
                      <a:close/>
                    </a:path>
                  </a:pathLst>
                </a:custGeom>
                <a:grpFill/>
                <a:ln w="5978" cap="flat">
                  <a:noFill/>
                  <a:prstDash val="solid"/>
                  <a:miter/>
                </a:ln>
              </p:spPr>
              <p:txBody>
                <a:bodyPr rtlCol="0" anchor="ctr"/>
                <a:lstStyle/>
                <a:p>
                  <a:endParaRPr lang="en-GB"/>
                </a:p>
              </p:txBody>
            </p:sp>
          </p:grpSp>
          <p:grpSp>
            <p:nvGrpSpPr>
              <p:cNvPr id="264" name="Graphic 3">
                <a:extLst>
                  <a:ext uri="{FF2B5EF4-FFF2-40B4-BE49-F238E27FC236}">
                    <a16:creationId xmlns:a16="http://schemas.microsoft.com/office/drawing/2014/main" id="{BB4B1F4C-4775-465B-BC53-FF9E785EF48F}"/>
                  </a:ext>
                </a:extLst>
              </p:cNvPr>
              <p:cNvGrpSpPr/>
              <p:nvPr/>
            </p:nvGrpSpPr>
            <p:grpSpPr>
              <a:xfrm>
                <a:off x="7718518" y="3578493"/>
                <a:ext cx="69639" cy="23658"/>
                <a:chOff x="7718518" y="3578493"/>
                <a:chExt cx="69639" cy="23658"/>
              </a:xfrm>
              <a:grpFill/>
            </p:grpSpPr>
            <p:sp>
              <p:nvSpPr>
                <p:cNvPr id="4587" name="Vrije vorm: vorm 4586">
                  <a:extLst>
                    <a:ext uri="{FF2B5EF4-FFF2-40B4-BE49-F238E27FC236}">
                      <a16:creationId xmlns:a16="http://schemas.microsoft.com/office/drawing/2014/main" id="{88459B85-7523-4F13-B674-66811E78A088}"/>
                    </a:ext>
                  </a:extLst>
                </p:cNvPr>
                <p:cNvSpPr/>
                <p:nvPr/>
              </p:nvSpPr>
              <p:spPr>
                <a:xfrm>
                  <a:off x="7727053" y="3586140"/>
                  <a:ext cx="52510" cy="8372"/>
                </a:xfrm>
                <a:custGeom>
                  <a:avLst/>
                  <a:gdLst>
                    <a:gd name="connsiteX0" fmla="*/ 52510 w 52510"/>
                    <a:gd name="connsiteY0" fmla="*/ 5323 h 8372"/>
                    <a:gd name="connsiteX1" fmla="*/ 52212 w 52510"/>
                    <a:gd name="connsiteY1" fmla="*/ 8373 h 8372"/>
                    <a:gd name="connsiteX2" fmla="*/ 0 w 52510"/>
                    <a:gd name="connsiteY2" fmla="*/ 3050 h 8372"/>
                    <a:gd name="connsiteX3" fmla="*/ 299 w 52510"/>
                    <a:gd name="connsiteY3" fmla="*/ 0 h 8372"/>
                  </a:gdLst>
                  <a:ahLst/>
                  <a:cxnLst>
                    <a:cxn ang="0">
                      <a:pos x="connsiteX0" y="connsiteY0"/>
                    </a:cxn>
                    <a:cxn ang="0">
                      <a:pos x="connsiteX1" y="connsiteY1"/>
                    </a:cxn>
                    <a:cxn ang="0">
                      <a:pos x="connsiteX2" y="connsiteY2"/>
                    </a:cxn>
                    <a:cxn ang="0">
                      <a:pos x="connsiteX3" y="connsiteY3"/>
                    </a:cxn>
                  </a:cxnLst>
                  <a:rect l="l" t="t" r="r" b="b"/>
                  <a:pathLst>
                    <a:path w="52510" h="8372">
                      <a:moveTo>
                        <a:pt x="52510" y="5323"/>
                      </a:moveTo>
                      <a:lnTo>
                        <a:pt x="52212" y="8373"/>
                      </a:lnTo>
                      <a:lnTo>
                        <a:pt x="0" y="3050"/>
                      </a:lnTo>
                      <a:lnTo>
                        <a:pt x="299" y="0"/>
                      </a:lnTo>
                      <a:close/>
                    </a:path>
                  </a:pathLst>
                </a:custGeom>
                <a:grpFill/>
                <a:ln w="5978" cap="flat">
                  <a:noFill/>
                  <a:prstDash val="solid"/>
                  <a:miter/>
                </a:ln>
              </p:spPr>
              <p:txBody>
                <a:bodyPr rtlCol="0" anchor="ctr"/>
                <a:lstStyle/>
                <a:p>
                  <a:endParaRPr lang="en-GB"/>
                </a:p>
              </p:txBody>
            </p:sp>
            <p:sp>
              <p:nvSpPr>
                <p:cNvPr id="4588" name="Vrije vorm: vorm 4587">
                  <a:extLst>
                    <a:ext uri="{FF2B5EF4-FFF2-40B4-BE49-F238E27FC236}">
                      <a16:creationId xmlns:a16="http://schemas.microsoft.com/office/drawing/2014/main" id="{C8DE9C35-65D8-4556-A962-5F18FACC82AD}"/>
                    </a:ext>
                  </a:extLst>
                </p:cNvPr>
                <p:cNvSpPr/>
                <p:nvPr/>
              </p:nvSpPr>
              <p:spPr>
                <a:xfrm>
                  <a:off x="7769833" y="3583706"/>
                  <a:ext cx="18324" cy="18445"/>
                </a:xfrm>
                <a:custGeom>
                  <a:avLst/>
                  <a:gdLst>
                    <a:gd name="connsiteX0" fmla="*/ 10030 w 18324"/>
                    <a:gd name="connsiteY0" fmla="*/ 42 h 18445"/>
                    <a:gd name="connsiteX1" fmla="*/ 18283 w 18324"/>
                    <a:gd name="connsiteY1" fmla="*/ 10150 h 18445"/>
                    <a:gd name="connsiteX2" fmla="*/ 8295 w 18324"/>
                    <a:gd name="connsiteY2" fmla="*/ 18403 h 18445"/>
                    <a:gd name="connsiteX3" fmla="*/ 42 w 18324"/>
                    <a:gd name="connsiteY3" fmla="*/ 8296 h 18445"/>
                    <a:gd name="connsiteX4" fmla="*/ 10030 w 18324"/>
                    <a:gd name="connsiteY4" fmla="*/ 42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5">
                      <a:moveTo>
                        <a:pt x="10030" y="42"/>
                      </a:moveTo>
                      <a:cubicBezTo>
                        <a:pt x="15053" y="580"/>
                        <a:pt x="18761" y="5066"/>
                        <a:pt x="18283" y="10150"/>
                      </a:cubicBezTo>
                      <a:cubicBezTo>
                        <a:pt x="17805" y="15233"/>
                        <a:pt x="13319" y="18881"/>
                        <a:pt x="8295" y="18403"/>
                      </a:cubicBezTo>
                      <a:cubicBezTo>
                        <a:pt x="3271" y="17865"/>
                        <a:pt x="-437" y="13379"/>
                        <a:pt x="42" y="8296"/>
                      </a:cubicBezTo>
                      <a:cubicBezTo>
                        <a:pt x="461" y="3212"/>
                        <a:pt x="4946" y="-436"/>
                        <a:pt x="10030" y="42"/>
                      </a:cubicBezTo>
                      <a:close/>
                    </a:path>
                  </a:pathLst>
                </a:custGeom>
                <a:grpFill/>
                <a:ln w="5978" cap="flat">
                  <a:noFill/>
                  <a:prstDash val="solid"/>
                  <a:miter/>
                </a:ln>
              </p:spPr>
              <p:txBody>
                <a:bodyPr rtlCol="0" anchor="ctr"/>
                <a:lstStyle/>
                <a:p>
                  <a:endParaRPr lang="en-GB"/>
                </a:p>
              </p:txBody>
            </p:sp>
            <p:sp>
              <p:nvSpPr>
                <p:cNvPr id="4589" name="Vrije vorm: vorm 4588">
                  <a:extLst>
                    <a:ext uri="{FF2B5EF4-FFF2-40B4-BE49-F238E27FC236}">
                      <a16:creationId xmlns:a16="http://schemas.microsoft.com/office/drawing/2014/main" id="{20349F1F-D6BB-4533-B99B-C453DF29FC8C}"/>
                    </a:ext>
                  </a:extLst>
                </p:cNvPr>
                <p:cNvSpPr/>
                <p:nvPr/>
              </p:nvSpPr>
              <p:spPr>
                <a:xfrm>
                  <a:off x="7718518" y="3578493"/>
                  <a:ext cx="18325" cy="18464"/>
                </a:xfrm>
                <a:custGeom>
                  <a:avLst/>
                  <a:gdLst>
                    <a:gd name="connsiteX0" fmla="*/ 10030 w 18325"/>
                    <a:gd name="connsiteY0" fmla="*/ 52 h 18464"/>
                    <a:gd name="connsiteX1" fmla="*/ 42 w 18325"/>
                    <a:gd name="connsiteY1" fmla="*/ 8305 h 18464"/>
                    <a:gd name="connsiteX2" fmla="*/ 8296 w 18325"/>
                    <a:gd name="connsiteY2" fmla="*/ 18413 h 18464"/>
                    <a:gd name="connsiteX3" fmla="*/ 18284 w 18325"/>
                    <a:gd name="connsiteY3" fmla="*/ 10159 h 18464"/>
                    <a:gd name="connsiteX4" fmla="*/ 10030 w 18325"/>
                    <a:gd name="connsiteY4" fmla="*/ 5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4">
                      <a:moveTo>
                        <a:pt x="10030" y="52"/>
                      </a:moveTo>
                      <a:cubicBezTo>
                        <a:pt x="5006" y="-486"/>
                        <a:pt x="520" y="3222"/>
                        <a:pt x="42" y="8305"/>
                      </a:cubicBezTo>
                      <a:cubicBezTo>
                        <a:pt x="-436" y="13389"/>
                        <a:pt x="3212" y="17874"/>
                        <a:pt x="8296" y="18413"/>
                      </a:cubicBezTo>
                      <a:cubicBezTo>
                        <a:pt x="13319" y="18951"/>
                        <a:pt x="17805" y="15243"/>
                        <a:pt x="18284" y="10159"/>
                      </a:cubicBezTo>
                      <a:cubicBezTo>
                        <a:pt x="18762" y="5076"/>
                        <a:pt x="15054" y="530"/>
                        <a:pt x="10030" y="52"/>
                      </a:cubicBezTo>
                      <a:close/>
                    </a:path>
                  </a:pathLst>
                </a:custGeom>
                <a:grpFill/>
                <a:ln w="5978" cap="flat">
                  <a:noFill/>
                  <a:prstDash val="solid"/>
                  <a:miter/>
                </a:ln>
              </p:spPr>
              <p:txBody>
                <a:bodyPr rtlCol="0" anchor="ctr"/>
                <a:lstStyle/>
                <a:p>
                  <a:endParaRPr lang="en-GB"/>
                </a:p>
              </p:txBody>
            </p:sp>
          </p:grpSp>
          <p:grpSp>
            <p:nvGrpSpPr>
              <p:cNvPr id="265" name="Graphic 3">
                <a:extLst>
                  <a:ext uri="{FF2B5EF4-FFF2-40B4-BE49-F238E27FC236}">
                    <a16:creationId xmlns:a16="http://schemas.microsoft.com/office/drawing/2014/main" id="{F2440FB2-C912-45D8-9A94-5B66C808DDC9}"/>
                  </a:ext>
                </a:extLst>
              </p:cNvPr>
              <p:cNvGrpSpPr/>
              <p:nvPr/>
            </p:nvGrpSpPr>
            <p:grpSpPr>
              <a:xfrm>
                <a:off x="7719844" y="3546995"/>
                <a:ext cx="68295" cy="22610"/>
                <a:chOff x="7719844" y="3546995"/>
                <a:chExt cx="68295" cy="22610"/>
              </a:xfrm>
              <a:grpFill/>
            </p:grpSpPr>
            <p:sp>
              <p:nvSpPr>
                <p:cNvPr id="4584" name="Vrije vorm: vorm 4583">
                  <a:extLst>
                    <a:ext uri="{FF2B5EF4-FFF2-40B4-BE49-F238E27FC236}">
                      <a16:creationId xmlns:a16="http://schemas.microsoft.com/office/drawing/2014/main" id="{74C72550-9217-41C5-9D3D-731BD5C11BFC}"/>
                    </a:ext>
                  </a:extLst>
                </p:cNvPr>
                <p:cNvSpPr/>
                <p:nvPr/>
              </p:nvSpPr>
              <p:spPr>
                <a:xfrm>
                  <a:off x="7728488" y="3554682"/>
                  <a:ext cx="51015" cy="7236"/>
                </a:xfrm>
                <a:custGeom>
                  <a:avLst/>
                  <a:gdLst>
                    <a:gd name="connsiteX0" fmla="*/ 51016 w 51015"/>
                    <a:gd name="connsiteY0" fmla="*/ 4187 h 7236"/>
                    <a:gd name="connsiteX1" fmla="*/ 50776 w 51015"/>
                    <a:gd name="connsiteY1" fmla="*/ 7237 h 7236"/>
                    <a:gd name="connsiteX2" fmla="*/ 0 w 51015"/>
                    <a:gd name="connsiteY2" fmla="*/ 3050 h 7236"/>
                    <a:gd name="connsiteX3" fmla="*/ 239 w 51015"/>
                    <a:gd name="connsiteY3" fmla="*/ 0 h 7236"/>
                  </a:gdLst>
                  <a:ahLst/>
                  <a:cxnLst>
                    <a:cxn ang="0">
                      <a:pos x="connsiteX0" y="connsiteY0"/>
                    </a:cxn>
                    <a:cxn ang="0">
                      <a:pos x="connsiteX1" y="connsiteY1"/>
                    </a:cxn>
                    <a:cxn ang="0">
                      <a:pos x="connsiteX2" y="connsiteY2"/>
                    </a:cxn>
                    <a:cxn ang="0">
                      <a:pos x="connsiteX3" y="connsiteY3"/>
                    </a:cxn>
                  </a:cxnLst>
                  <a:rect l="l" t="t" r="r" b="b"/>
                  <a:pathLst>
                    <a:path w="51015" h="7236">
                      <a:moveTo>
                        <a:pt x="51016" y="4187"/>
                      </a:moveTo>
                      <a:lnTo>
                        <a:pt x="50776" y="7237"/>
                      </a:lnTo>
                      <a:lnTo>
                        <a:pt x="0" y="3050"/>
                      </a:lnTo>
                      <a:lnTo>
                        <a:pt x="239" y="0"/>
                      </a:lnTo>
                      <a:close/>
                    </a:path>
                  </a:pathLst>
                </a:custGeom>
                <a:grpFill/>
                <a:ln w="5978" cap="flat">
                  <a:noFill/>
                  <a:prstDash val="solid"/>
                  <a:miter/>
                </a:ln>
              </p:spPr>
              <p:txBody>
                <a:bodyPr rtlCol="0" anchor="ctr"/>
                <a:lstStyle/>
                <a:p>
                  <a:endParaRPr lang="en-GB"/>
                </a:p>
              </p:txBody>
            </p:sp>
            <p:sp>
              <p:nvSpPr>
                <p:cNvPr id="4585" name="Vrije vorm: vorm 4584">
                  <a:extLst>
                    <a:ext uri="{FF2B5EF4-FFF2-40B4-BE49-F238E27FC236}">
                      <a16:creationId xmlns:a16="http://schemas.microsoft.com/office/drawing/2014/main" id="{ED7A5840-8E59-493A-AC7C-F583813BA41B}"/>
                    </a:ext>
                  </a:extLst>
                </p:cNvPr>
                <p:cNvSpPr/>
                <p:nvPr/>
              </p:nvSpPr>
              <p:spPr>
                <a:xfrm>
                  <a:off x="7769791" y="3551181"/>
                  <a:ext cx="18348" cy="18424"/>
                </a:xfrm>
                <a:custGeom>
                  <a:avLst/>
                  <a:gdLst>
                    <a:gd name="connsiteX0" fmla="*/ 9892 w 18348"/>
                    <a:gd name="connsiteY0" fmla="*/ 32 h 18424"/>
                    <a:gd name="connsiteX1" fmla="*/ 18325 w 18348"/>
                    <a:gd name="connsiteY1" fmla="*/ 9960 h 18424"/>
                    <a:gd name="connsiteX2" fmla="*/ 8457 w 18348"/>
                    <a:gd name="connsiteY2" fmla="*/ 18393 h 18424"/>
                    <a:gd name="connsiteX3" fmla="*/ 24 w 18348"/>
                    <a:gd name="connsiteY3" fmla="*/ 8465 h 18424"/>
                    <a:gd name="connsiteX4" fmla="*/ 9892 w 18348"/>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4">
                      <a:moveTo>
                        <a:pt x="9892" y="32"/>
                      </a:moveTo>
                      <a:cubicBezTo>
                        <a:pt x="14916" y="450"/>
                        <a:pt x="18684" y="4876"/>
                        <a:pt x="18325" y="9960"/>
                      </a:cubicBezTo>
                      <a:cubicBezTo>
                        <a:pt x="17907" y="15043"/>
                        <a:pt x="13540" y="18811"/>
                        <a:pt x="8457" y="18393"/>
                      </a:cubicBezTo>
                      <a:cubicBezTo>
                        <a:pt x="3433" y="17974"/>
                        <a:pt x="-335" y="13548"/>
                        <a:pt x="24" y="8465"/>
                      </a:cubicBezTo>
                      <a:cubicBezTo>
                        <a:pt x="383" y="3381"/>
                        <a:pt x="4808" y="-387"/>
                        <a:pt x="9892" y="32"/>
                      </a:cubicBezTo>
                      <a:close/>
                    </a:path>
                  </a:pathLst>
                </a:custGeom>
                <a:grpFill/>
                <a:ln w="5978" cap="flat">
                  <a:noFill/>
                  <a:prstDash val="solid"/>
                  <a:miter/>
                </a:ln>
              </p:spPr>
              <p:txBody>
                <a:bodyPr rtlCol="0" anchor="ctr"/>
                <a:lstStyle/>
                <a:p>
                  <a:endParaRPr lang="en-GB"/>
                </a:p>
              </p:txBody>
            </p:sp>
            <p:sp>
              <p:nvSpPr>
                <p:cNvPr id="4586" name="Vrije vorm: vorm 4585">
                  <a:extLst>
                    <a:ext uri="{FF2B5EF4-FFF2-40B4-BE49-F238E27FC236}">
                      <a16:creationId xmlns:a16="http://schemas.microsoft.com/office/drawing/2014/main" id="{AAFDC974-C129-4087-8DEE-910C54DD6193}"/>
                    </a:ext>
                  </a:extLst>
                </p:cNvPr>
                <p:cNvSpPr/>
                <p:nvPr/>
              </p:nvSpPr>
              <p:spPr>
                <a:xfrm>
                  <a:off x="7719844" y="3546995"/>
                  <a:ext cx="18364" cy="18424"/>
                </a:xfrm>
                <a:custGeom>
                  <a:avLst/>
                  <a:gdLst>
                    <a:gd name="connsiteX0" fmla="*/ 9900 w 18364"/>
                    <a:gd name="connsiteY0" fmla="*/ 32 h 18424"/>
                    <a:gd name="connsiteX1" fmla="*/ 32 w 18364"/>
                    <a:gd name="connsiteY1" fmla="*/ 8465 h 18424"/>
                    <a:gd name="connsiteX2" fmla="*/ 8465 w 18364"/>
                    <a:gd name="connsiteY2" fmla="*/ 18393 h 18424"/>
                    <a:gd name="connsiteX3" fmla="*/ 18333 w 18364"/>
                    <a:gd name="connsiteY3" fmla="*/ 9960 h 18424"/>
                    <a:gd name="connsiteX4" fmla="*/ 9900 w 18364"/>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9900" y="32"/>
                      </a:moveTo>
                      <a:cubicBezTo>
                        <a:pt x="4876" y="-387"/>
                        <a:pt x="451" y="3381"/>
                        <a:pt x="32" y="8465"/>
                      </a:cubicBezTo>
                      <a:cubicBezTo>
                        <a:pt x="-387" y="13548"/>
                        <a:pt x="3381" y="17974"/>
                        <a:pt x="8465" y="18393"/>
                      </a:cubicBezTo>
                      <a:cubicBezTo>
                        <a:pt x="13488" y="18811"/>
                        <a:pt x="17914" y="15043"/>
                        <a:pt x="18333" y="9960"/>
                      </a:cubicBezTo>
                      <a:cubicBezTo>
                        <a:pt x="18751" y="4936"/>
                        <a:pt x="14924" y="450"/>
                        <a:pt x="9900" y="32"/>
                      </a:cubicBezTo>
                      <a:close/>
                    </a:path>
                  </a:pathLst>
                </a:custGeom>
                <a:grpFill/>
                <a:ln w="5978" cap="flat">
                  <a:noFill/>
                  <a:prstDash val="solid"/>
                  <a:miter/>
                </a:ln>
              </p:spPr>
              <p:txBody>
                <a:bodyPr rtlCol="0" anchor="ctr"/>
                <a:lstStyle/>
                <a:p>
                  <a:endParaRPr lang="en-GB"/>
                </a:p>
              </p:txBody>
            </p:sp>
          </p:grpSp>
          <p:grpSp>
            <p:nvGrpSpPr>
              <p:cNvPr id="266" name="Graphic 3">
                <a:extLst>
                  <a:ext uri="{FF2B5EF4-FFF2-40B4-BE49-F238E27FC236}">
                    <a16:creationId xmlns:a16="http://schemas.microsoft.com/office/drawing/2014/main" id="{4EDFEEF1-E830-4607-84CD-E7677BC4C99B}"/>
                  </a:ext>
                </a:extLst>
              </p:cNvPr>
              <p:cNvGrpSpPr/>
              <p:nvPr/>
            </p:nvGrpSpPr>
            <p:grpSpPr>
              <a:xfrm>
                <a:off x="7696463" y="3735445"/>
                <a:ext cx="276790" cy="104633"/>
                <a:chOff x="7696463" y="3735445"/>
                <a:chExt cx="276790" cy="104633"/>
              </a:xfrm>
              <a:grpFill/>
            </p:grpSpPr>
            <p:sp>
              <p:nvSpPr>
                <p:cNvPr id="4581" name="Vrije vorm: vorm 4580">
                  <a:extLst>
                    <a:ext uri="{FF2B5EF4-FFF2-40B4-BE49-F238E27FC236}">
                      <a16:creationId xmlns:a16="http://schemas.microsoft.com/office/drawing/2014/main" id="{E00EB2D2-7563-4F4E-A05E-155985E1E491}"/>
                    </a:ext>
                  </a:extLst>
                </p:cNvPr>
                <p:cNvSpPr/>
                <p:nvPr/>
              </p:nvSpPr>
              <p:spPr>
                <a:xfrm>
                  <a:off x="7704745" y="3743075"/>
                  <a:ext cx="260280" cy="89352"/>
                </a:xfrm>
                <a:custGeom>
                  <a:avLst/>
                  <a:gdLst>
                    <a:gd name="connsiteX0" fmla="*/ 260280 w 260280"/>
                    <a:gd name="connsiteY0" fmla="*/ 86481 h 89352"/>
                    <a:gd name="connsiteX1" fmla="*/ 259324 w 260280"/>
                    <a:gd name="connsiteY1" fmla="*/ 89352 h 89352"/>
                    <a:gd name="connsiteX2" fmla="*/ 0 w 260280"/>
                    <a:gd name="connsiteY2" fmla="*/ 2931 h 89352"/>
                    <a:gd name="connsiteX3" fmla="*/ 956 w 260280"/>
                    <a:gd name="connsiteY3" fmla="*/ 0 h 89352"/>
                  </a:gdLst>
                  <a:ahLst/>
                  <a:cxnLst>
                    <a:cxn ang="0">
                      <a:pos x="connsiteX0" y="connsiteY0"/>
                    </a:cxn>
                    <a:cxn ang="0">
                      <a:pos x="connsiteX1" y="connsiteY1"/>
                    </a:cxn>
                    <a:cxn ang="0">
                      <a:pos x="connsiteX2" y="connsiteY2"/>
                    </a:cxn>
                    <a:cxn ang="0">
                      <a:pos x="connsiteX3" y="connsiteY3"/>
                    </a:cxn>
                  </a:cxnLst>
                  <a:rect l="l" t="t" r="r" b="b"/>
                  <a:pathLst>
                    <a:path w="260280" h="89352">
                      <a:moveTo>
                        <a:pt x="260280" y="86481"/>
                      </a:moveTo>
                      <a:lnTo>
                        <a:pt x="259324" y="89352"/>
                      </a:lnTo>
                      <a:lnTo>
                        <a:pt x="0" y="2931"/>
                      </a:lnTo>
                      <a:lnTo>
                        <a:pt x="956" y="0"/>
                      </a:lnTo>
                      <a:close/>
                    </a:path>
                  </a:pathLst>
                </a:custGeom>
                <a:grpFill/>
                <a:ln w="5978" cap="flat">
                  <a:noFill/>
                  <a:prstDash val="solid"/>
                  <a:miter/>
                </a:ln>
              </p:spPr>
              <p:txBody>
                <a:bodyPr rtlCol="0" anchor="ctr"/>
                <a:lstStyle/>
                <a:p>
                  <a:endParaRPr lang="en-GB"/>
                </a:p>
              </p:txBody>
            </p:sp>
            <p:sp>
              <p:nvSpPr>
                <p:cNvPr id="4582" name="Vrije vorm: vorm 4581">
                  <a:extLst>
                    <a:ext uri="{FF2B5EF4-FFF2-40B4-BE49-F238E27FC236}">
                      <a16:creationId xmlns:a16="http://schemas.microsoft.com/office/drawing/2014/main" id="{13AC1638-626C-48FD-B419-EB340D6B375F}"/>
                    </a:ext>
                  </a:extLst>
                </p:cNvPr>
                <p:cNvSpPr/>
                <p:nvPr/>
              </p:nvSpPr>
              <p:spPr>
                <a:xfrm>
                  <a:off x="7696463" y="3735445"/>
                  <a:ext cx="18298" cy="18451"/>
                </a:xfrm>
                <a:custGeom>
                  <a:avLst/>
                  <a:gdLst>
                    <a:gd name="connsiteX0" fmla="*/ 6308 w 18298"/>
                    <a:gd name="connsiteY0" fmla="*/ 17976 h 18451"/>
                    <a:gd name="connsiteX1" fmla="*/ 447 w 18298"/>
                    <a:gd name="connsiteY1" fmla="*/ 6314 h 18451"/>
                    <a:gd name="connsiteX2" fmla="*/ 11990 w 18298"/>
                    <a:gd name="connsiteY2" fmla="*/ 453 h 18451"/>
                    <a:gd name="connsiteX3" fmla="*/ 17851 w 18298"/>
                    <a:gd name="connsiteY3" fmla="*/ 12115 h 18451"/>
                    <a:gd name="connsiteX4" fmla="*/ 6308 w 18298"/>
                    <a:gd name="connsiteY4" fmla="*/ 17976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1">
                      <a:moveTo>
                        <a:pt x="6308" y="17976"/>
                      </a:moveTo>
                      <a:cubicBezTo>
                        <a:pt x="1524" y="16361"/>
                        <a:pt x="-1108" y="11158"/>
                        <a:pt x="447" y="6314"/>
                      </a:cubicBezTo>
                      <a:cubicBezTo>
                        <a:pt x="2002" y="1469"/>
                        <a:pt x="7205" y="-1102"/>
                        <a:pt x="11990" y="453"/>
                      </a:cubicBezTo>
                      <a:cubicBezTo>
                        <a:pt x="16774" y="2067"/>
                        <a:pt x="19406" y="7271"/>
                        <a:pt x="17851" y="12115"/>
                      </a:cubicBezTo>
                      <a:cubicBezTo>
                        <a:pt x="16296" y="16959"/>
                        <a:pt x="11153" y="19591"/>
                        <a:pt x="6308" y="17976"/>
                      </a:cubicBezTo>
                      <a:close/>
                    </a:path>
                  </a:pathLst>
                </a:custGeom>
                <a:grpFill/>
                <a:ln w="5978" cap="flat">
                  <a:noFill/>
                  <a:prstDash val="solid"/>
                  <a:miter/>
                </a:ln>
              </p:spPr>
              <p:txBody>
                <a:bodyPr rtlCol="0" anchor="ctr"/>
                <a:lstStyle/>
                <a:p>
                  <a:endParaRPr lang="en-GB"/>
                </a:p>
              </p:txBody>
            </p:sp>
            <p:sp>
              <p:nvSpPr>
                <p:cNvPr id="4583" name="Vrije vorm: vorm 4582">
                  <a:extLst>
                    <a:ext uri="{FF2B5EF4-FFF2-40B4-BE49-F238E27FC236}">
                      <a16:creationId xmlns:a16="http://schemas.microsoft.com/office/drawing/2014/main" id="{91A03A8F-0A92-49A2-BF2F-82168A7FE5FA}"/>
                    </a:ext>
                  </a:extLst>
                </p:cNvPr>
                <p:cNvSpPr/>
                <p:nvPr/>
              </p:nvSpPr>
              <p:spPr>
                <a:xfrm>
                  <a:off x="7954949" y="3821604"/>
                  <a:ext cx="18303" cy="18474"/>
                </a:xfrm>
                <a:custGeom>
                  <a:avLst/>
                  <a:gdLst>
                    <a:gd name="connsiteX0" fmla="*/ 6308 w 18303"/>
                    <a:gd name="connsiteY0" fmla="*/ 17999 h 18474"/>
                    <a:gd name="connsiteX1" fmla="*/ 17851 w 18303"/>
                    <a:gd name="connsiteY1" fmla="*/ 12138 h 18474"/>
                    <a:gd name="connsiteX2" fmla="*/ 11990 w 18303"/>
                    <a:gd name="connsiteY2" fmla="*/ 475 h 18474"/>
                    <a:gd name="connsiteX3" fmla="*/ 447 w 18303"/>
                    <a:gd name="connsiteY3" fmla="*/ 6337 h 18474"/>
                    <a:gd name="connsiteX4" fmla="*/ 6308 w 18303"/>
                    <a:gd name="connsiteY4" fmla="*/ 17999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74">
                      <a:moveTo>
                        <a:pt x="6308" y="17999"/>
                      </a:moveTo>
                      <a:cubicBezTo>
                        <a:pt x="11093" y="19614"/>
                        <a:pt x="16296" y="16982"/>
                        <a:pt x="17851" y="12138"/>
                      </a:cubicBezTo>
                      <a:cubicBezTo>
                        <a:pt x="19406" y="7294"/>
                        <a:pt x="16834" y="2090"/>
                        <a:pt x="11990" y="475"/>
                      </a:cubicBezTo>
                      <a:cubicBezTo>
                        <a:pt x="7205" y="-1139"/>
                        <a:pt x="2002" y="1492"/>
                        <a:pt x="447" y="6337"/>
                      </a:cubicBezTo>
                      <a:cubicBezTo>
                        <a:pt x="-1108" y="11181"/>
                        <a:pt x="1524" y="16384"/>
                        <a:pt x="6308" y="17999"/>
                      </a:cubicBezTo>
                      <a:close/>
                    </a:path>
                  </a:pathLst>
                </a:custGeom>
                <a:grpFill/>
                <a:ln w="5978" cap="flat">
                  <a:noFill/>
                  <a:prstDash val="solid"/>
                  <a:miter/>
                </a:ln>
              </p:spPr>
              <p:txBody>
                <a:bodyPr rtlCol="0" anchor="ctr"/>
                <a:lstStyle/>
                <a:p>
                  <a:endParaRPr lang="en-GB"/>
                </a:p>
              </p:txBody>
            </p:sp>
          </p:grpSp>
          <p:grpSp>
            <p:nvGrpSpPr>
              <p:cNvPr id="267" name="Graphic 3">
                <a:extLst>
                  <a:ext uri="{FF2B5EF4-FFF2-40B4-BE49-F238E27FC236}">
                    <a16:creationId xmlns:a16="http://schemas.microsoft.com/office/drawing/2014/main" id="{879B1E09-13A0-45C3-80DD-C2AC6C63E5A2}"/>
                  </a:ext>
                </a:extLst>
              </p:cNvPr>
              <p:cNvGrpSpPr/>
              <p:nvPr/>
            </p:nvGrpSpPr>
            <p:grpSpPr>
              <a:xfrm>
                <a:off x="6979996" y="1419485"/>
                <a:ext cx="247763" cy="410496"/>
                <a:chOff x="6979996" y="1419485"/>
                <a:chExt cx="247763" cy="410496"/>
              </a:xfrm>
              <a:grpFill/>
            </p:grpSpPr>
            <p:sp>
              <p:nvSpPr>
                <p:cNvPr id="4578" name="Vrije vorm: vorm 4577">
                  <a:extLst>
                    <a:ext uri="{FF2B5EF4-FFF2-40B4-BE49-F238E27FC236}">
                      <a16:creationId xmlns:a16="http://schemas.microsoft.com/office/drawing/2014/main" id="{5AF6E95E-C9C1-47A4-B523-53E345623220}"/>
                    </a:ext>
                  </a:extLst>
                </p:cNvPr>
                <p:cNvSpPr/>
                <p:nvPr/>
              </p:nvSpPr>
              <p:spPr>
                <a:xfrm>
                  <a:off x="6987656" y="1427519"/>
                  <a:ext cx="232470" cy="394428"/>
                </a:xfrm>
                <a:custGeom>
                  <a:avLst/>
                  <a:gdLst>
                    <a:gd name="connsiteX0" fmla="*/ 232471 w 232470"/>
                    <a:gd name="connsiteY0" fmla="*/ 1555 h 394428"/>
                    <a:gd name="connsiteX1" fmla="*/ 2571 w 232470"/>
                    <a:gd name="connsiteY1" fmla="*/ 394429 h 394428"/>
                    <a:gd name="connsiteX2" fmla="*/ 0 w 232470"/>
                    <a:gd name="connsiteY2" fmla="*/ 392874 h 394428"/>
                    <a:gd name="connsiteX3" fmla="*/ 229899 w 232470"/>
                    <a:gd name="connsiteY3" fmla="*/ 0 h 394428"/>
                  </a:gdLst>
                  <a:ahLst/>
                  <a:cxnLst>
                    <a:cxn ang="0">
                      <a:pos x="connsiteX0" y="connsiteY0"/>
                    </a:cxn>
                    <a:cxn ang="0">
                      <a:pos x="connsiteX1" y="connsiteY1"/>
                    </a:cxn>
                    <a:cxn ang="0">
                      <a:pos x="connsiteX2" y="connsiteY2"/>
                    </a:cxn>
                    <a:cxn ang="0">
                      <a:pos x="connsiteX3" y="connsiteY3"/>
                    </a:cxn>
                  </a:cxnLst>
                  <a:rect l="l" t="t" r="r" b="b"/>
                  <a:pathLst>
                    <a:path w="232470" h="394428">
                      <a:moveTo>
                        <a:pt x="232471" y="1555"/>
                      </a:moveTo>
                      <a:lnTo>
                        <a:pt x="2571" y="394429"/>
                      </a:lnTo>
                      <a:lnTo>
                        <a:pt x="0" y="392874"/>
                      </a:lnTo>
                      <a:lnTo>
                        <a:pt x="229899" y="0"/>
                      </a:lnTo>
                      <a:close/>
                    </a:path>
                  </a:pathLst>
                </a:custGeom>
                <a:grpFill/>
                <a:ln w="5978" cap="flat">
                  <a:noFill/>
                  <a:prstDash val="solid"/>
                  <a:miter/>
                </a:ln>
              </p:spPr>
              <p:txBody>
                <a:bodyPr rtlCol="0" anchor="ctr"/>
                <a:lstStyle/>
                <a:p>
                  <a:endParaRPr lang="en-GB"/>
                </a:p>
              </p:txBody>
            </p:sp>
            <p:sp>
              <p:nvSpPr>
                <p:cNvPr id="4579" name="Vrije vorm: vorm 4578">
                  <a:extLst>
                    <a:ext uri="{FF2B5EF4-FFF2-40B4-BE49-F238E27FC236}">
                      <a16:creationId xmlns:a16="http://schemas.microsoft.com/office/drawing/2014/main" id="{A2B1CE47-E63D-46DB-894A-9CCC8151188B}"/>
                    </a:ext>
                  </a:extLst>
                </p:cNvPr>
                <p:cNvSpPr/>
                <p:nvPr/>
              </p:nvSpPr>
              <p:spPr>
                <a:xfrm>
                  <a:off x="7209443" y="1419485"/>
                  <a:ext cx="18316" cy="18400"/>
                </a:xfrm>
                <a:custGeom>
                  <a:avLst/>
                  <a:gdLst>
                    <a:gd name="connsiteX0" fmla="*/ 1234 w 18316"/>
                    <a:gd name="connsiteY0" fmla="*/ 4506 h 18400"/>
                    <a:gd name="connsiteX1" fmla="*/ 13794 w 18316"/>
                    <a:gd name="connsiteY1" fmla="*/ 1276 h 18400"/>
                    <a:gd name="connsiteX2" fmla="*/ 17083 w 18316"/>
                    <a:gd name="connsiteY2" fmla="*/ 13895 h 18400"/>
                    <a:gd name="connsiteX3" fmla="*/ 4523 w 18316"/>
                    <a:gd name="connsiteY3" fmla="*/ 17125 h 18400"/>
                    <a:gd name="connsiteX4" fmla="*/ 1234 w 18316"/>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0">
                      <a:moveTo>
                        <a:pt x="1234" y="4506"/>
                      </a:moveTo>
                      <a:cubicBezTo>
                        <a:pt x="3806" y="140"/>
                        <a:pt x="9427" y="-1296"/>
                        <a:pt x="13794" y="1276"/>
                      </a:cubicBezTo>
                      <a:cubicBezTo>
                        <a:pt x="18159" y="3848"/>
                        <a:pt x="19595" y="9529"/>
                        <a:pt x="17083" y="13895"/>
                      </a:cubicBezTo>
                      <a:cubicBezTo>
                        <a:pt x="14511" y="18261"/>
                        <a:pt x="8889" y="19697"/>
                        <a:pt x="4523" y="17125"/>
                      </a:cubicBezTo>
                      <a:cubicBezTo>
                        <a:pt x="157" y="14553"/>
                        <a:pt x="-1278" y="8871"/>
                        <a:pt x="1234" y="4506"/>
                      </a:cubicBezTo>
                      <a:close/>
                    </a:path>
                  </a:pathLst>
                </a:custGeom>
                <a:grpFill/>
                <a:ln w="5978" cap="flat">
                  <a:noFill/>
                  <a:prstDash val="solid"/>
                  <a:miter/>
                </a:ln>
              </p:spPr>
              <p:txBody>
                <a:bodyPr rtlCol="0" anchor="ctr"/>
                <a:lstStyle/>
                <a:p>
                  <a:endParaRPr lang="en-GB"/>
                </a:p>
              </p:txBody>
            </p:sp>
            <p:sp>
              <p:nvSpPr>
                <p:cNvPr id="4580" name="Vrije vorm: vorm 4579">
                  <a:extLst>
                    <a:ext uri="{FF2B5EF4-FFF2-40B4-BE49-F238E27FC236}">
                      <a16:creationId xmlns:a16="http://schemas.microsoft.com/office/drawing/2014/main" id="{6B62DF1B-AAAB-45B0-B6B3-168D8504C83B}"/>
                    </a:ext>
                  </a:extLst>
                </p:cNvPr>
                <p:cNvSpPr/>
                <p:nvPr/>
              </p:nvSpPr>
              <p:spPr>
                <a:xfrm>
                  <a:off x="6979996" y="1811581"/>
                  <a:ext cx="18369" cy="18400"/>
                </a:xfrm>
                <a:custGeom>
                  <a:avLst/>
                  <a:gdLst>
                    <a:gd name="connsiteX0" fmla="*/ 1260 w 18369"/>
                    <a:gd name="connsiteY0" fmla="*/ 4506 h 18400"/>
                    <a:gd name="connsiteX1" fmla="*/ 4550 w 18369"/>
                    <a:gd name="connsiteY1" fmla="*/ 17125 h 18400"/>
                    <a:gd name="connsiteX2" fmla="*/ 17109 w 18369"/>
                    <a:gd name="connsiteY2" fmla="*/ 13895 h 18400"/>
                    <a:gd name="connsiteX3" fmla="*/ 13819 w 18369"/>
                    <a:gd name="connsiteY3" fmla="*/ 1276 h 18400"/>
                    <a:gd name="connsiteX4" fmla="*/ 1260 w 18369"/>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260" y="4506"/>
                      </a:moveTo>
                      <a:cubicBezTo>
                        <a:pt x="-1311" y="8872"/>
                        <a:pt x="184" y="14553"/>
                        <a:pt x="4550" y="17125"/>
                      </a:cubicBezTo>
                      <a:cubicBezTo>
                        <a:pt x="8916" y="19697"/>
                        <a:pt x="14538" y="18261"/>
                        <a:pt x="17109" y="13895"/>
                      </a:cubicBezTo>
                      <a:cubicBezTo>
                        <a:pt x="19681" y="9529"/>
                        <a:pt x="18186" y="3848"/>
                        <a:pt x="13819" y="1276"/>
                      </a:cubicBezTo>
                      <a:cubicBezTo>
                        <a:pt x="9454" y="-1296"/>
                        <a:pt x="3832" y="140"/>
                        <a:pt x="1260" y="4506"/>
                      </a:cubicBezTo>
                      <a:close/>
                    </a:path>
                  </a:pathLst>
                </a:custGeom>
                <a:grpFill/>
                <a:ln w="5978" cap="flat">
                  <a:noFill/>
                  <a:prstDash val="solid"/>
                  <a:miter/>
                </a:ln>
              </p:spPr>
              <p:txBody>
                <a:bodyPr rtlCol="0" anchor="ctr"/>
                <a:lstStyle/>
                <a:p>
                  <a:endParaRPr lang="en-GB"/>
                </a:p>
              </p:txBody>
            </p:sp>
          </p:grpSp>
          <p:grpSp>
            <p:nvGrpSpPr>
              <p:cNvPr id="268" name="Graphic 3">
                <a:extLst>
                  <a:ext uri="{FF2B5EF4-FFF2-40B4-BE49-F238E27FC236}">
                    <a16:creationId xmlns:a16="http://schemas.microsoft.com/office/drawing/2014/main" id="{E26DC650-F85E-4DE0-B27F-78DA91DF19EF}"/>
                  </a:ext>
                </a:extLst>
              </p:cNvPr>
              <p:cNvGrpSpPr/>
              <p:nvPr/>
            </p:nvGrpSpPr>
            <p:grpSpPr>
              <a:xfrm>
                <a:off x="7710615" y="3672810"/>
                <a:ext cx="129702" cy="36105"/>
                <a:chOff x="7710615" y="3672810"/>
                <a:chExt cx="129702" cy="36105"/>
              </a:xfrm>
              <a:grpFill/>
            </p:grpSpPr>
            <p:sp>
              <p:nvSpPr>
                <p:cNvPr id="4575" name="Vrije vorm: vorm 4574">
                  <a:extLst>
                    <a:ext uri="{FF2B5EF4-FFF2-40B4-BE49-F238E27FC236}">
                      <a16:creationId xmlns:a16="http://schemas.microsoft.com/office/drawing/2014/main" id="{33664E67-26F7-448F-884D-8CB8586115C6}"/>
                    </a:ext>
                  </a:extLst>
                </p:cNvPr>
                <p:cNvSpPr/>
                <p:nvPr/>
              </p:nvSpPr>
              <p:spPr>
                <a:xfrm>
                  <a:off x="7719098" y="3680397"/>
                  <a:ext cx="112737" cy="20932"/>
                </a:xfrm>
                <a:custGeom>
                  <a:avLst/>
                  <a:gdLst>
                    <a:gd name="connsiteX0" fmla="*/ 112737 w 112737"/>
                    <a:gd name="connsiteY0" fmla="*/ 17882 h 20932"/>
                    <a:gd name="connsiteX1" fmla="*/ 112258 w 112737"/>
                    <a:gd name="connsiteY1" fmla="*/ 20933 h 20932"/>
                    <a:gd name="connsiteX2" fmla="*/ 0 w 112737"/>
                    <a:gd name="connsiteY2" fmla="*/ 3050 h 20932"/>
                    <a:gd name="connsiteX3" fmla="*/ 479 w 112737"/>
                    <a:gd name="connsiteY3" fmla="*/ 0 h 20932"/>
                  </a:gdLst>
                  <a:ahLst/>
                  <a:cxnLst>
                    <a:cxn ang="0">
                      <a:pos x="connsiteX0" y="connsiteY0"/>
                    </a:cxn>
                    <a:cxn ang="0">
                      <a:pos x="connsiteX1" y="connsiteY1"/>
                    </a:cxn>
                    <a:cxn ang="0">
                      <a:pos x="connsiteX2" y="connsiteY2"/>
                    </a:cxn>
                    <a:cxn ang="0">
                      <a:pos x="connsiteX3" y="connsiteY3"/>
                    </a:cxn>
                  </a:cxnLst>
                  <a:rect l="l" t="t" r="r" b="b"/>
                  <a:pathLst>
                    <a:path w="112737" h="20932">
                      <a:moveTo>
                        <a:pt x="112737" y="17882"/>
                      </a:moveTo>
                      <a:lnTo>
                        <a:pt x="112258" y="20933"/>
                      </a:lnTo>
                      <a:lnTo>
                        <a:pt x="0" y="3050"/>
                      </a:lnTo>
                      <a:lnTo>
                        <a:pt x="479" y="0"/>
                      </a:lnTo>
                      <a:close/>
                    </a:path>
                  </a:pathLst>
                </a:custGeom>
                <a:grpFill/>
                <a:ln w="5978" cap="flat">
                  <a:noFill/>
                  <a:prstDash val="solid"/>
                  <a:miter/>
                </a:ln>
              </p:spPr>
              <p:txBody>
                <a:bodyPr rtlCol="0" anchor="ctr"/>
                <a:lstStyle/>
                <a:p>
                  <a:endParaRPr lang="en-GB"/>
                </a:p>
              </p:txBody>
            </p:sp>
            <p:sp>
              <p:nvSpPr>
                <p:cNvPr id="4576" name="Vrije vorm: vorm 4575">
                  <a:extLst>
                    <a:ext uri="{FF2B5EF4-FFF2-40B4-BE49-F238E27FC236}">
                      <a16:creationId xmlns:a16="http://schemas.microsoft.com/office/drawing/2014/main" id="{7909699D-4052-4B25-91F3-6CF8EF6E6795}"/>
                    </a:ext>
                  </a:extLst>
                </p:cNvPr>
                <p:cNvSpPr/>
                <p:nvPr/>
              </p:nvSpPr>
              <p:spPr>
                <a:xfrm>
                  <a:off x="7821976" y="3690513"/>
                  <a:ext cx="18341" cy="18402"/>
                </a:xfrm>
                <a:custGeom>
                  <a:avLst/>
                  <a:gdLst>
                    <a:gd name="connsiteX0" fmla="*/ 10577 w 18341"/>
                    <a:gd name="connsiteY0" fmla="*/ 110 h 18402"/>
                    <a:gd name="connsiteX1" fmla="*/ 18231 w 18341"/>
                    <a:gd name="connsiteY1" fmla="*/ 10637 h 18402"/>
                    <a:gd name="connsiteX2" fmla="*/ 7765 w 18341"/>
                    <a:gd name="connsiteY2" fmla="*/ 18292 h 18402"/>
                    <a:gd name="connsiteX3" fmla="*/ 110 w 18341"/>
                    <a:gd name="connsiteY3" fmla="*/ 7766 h 18402"/>
                    <a:gd name="connsiteX4" fmla="*/ 10577 w 18341"/>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2">
                      <a:moveTo>
                        <a:pt x="10577" y="110"/>
                      </a:moveTo>
                      <a:cubicBezTo>
                        <a:pt x="15600" y="888"/>
                        <a:pt x="19009" y="5613"/>
                        <a:pt x="18231" y="10637"/>
                      </a:cubicBezTo>
                      <a:cubicBezTo>
                        <a:pt x="17454" y="15660"/>
                        <a:pt x="12790" y="19069"/>
                        <a:pt x="7765" y="18292"/>
                      </a:cubicBezTo>
                      <a:cubicBezTo>
                        <a:pt x="2742" y="17514"/>
                        <a:pt x="-667" y="12790"/>
                        <a:pt x="110" y="7766"/>
                      </a:cubicBezTo>
                      <a:cubicBezTo>
                        <a:pt x="888" y="2742"/>
                        <a:pt x="5552" y="-667"/>
                        <a:pt x="10577" y="110"/>
                      </a:cubicBezTo>
                      <a:close/>
                    </a:path>
                  </a:pathLst>
                </a:custGeom>
                <a:grpFill/>
                <a:ln w="5978" cap="flat">
                  <a:noFill/>
                  <a:prstDash val="solid"/>
                  <a:miter/>
                </a:ln>
              </p:spPr>
              <p:txBody>
                <a:bodyPr rtlCol="0" anchor="ctr"/>
                <a:lstStyle/>
                <a:p>
                  <a:endParaRPr lang="en-GB"/>
                </a:p>
              </p:txBody>
            </p:sp>
            <p:sp>
              <p:nvSpPr>
                <p:cNvPr id="4577" name="Vrije vorm: vorm 4576">
                  <a:extLst>
                    <a:ext uri="{FF2B5EF4-FFF2-40B4-BE49-F238E27FC236}">
                      <a16:creationId xmlns:a16="http://schemas.microsoft.com/office/drawing/2014/main" id="{181E27C0-37B0-44E5-844A-CC63589231B1}"/>
                    </a:ext>
                  </a:extLst>
                </p:cNvPr>
                <p:cNvSpPr/>
                <p:nvPr/>
              </p:nvSpPr>
              <p:spPr>
                <a:xfrm>
                  <a:off x="7710615" y="3672810"/>
                  <a:ext cx="18341" cy="18402"/>
                </a:xfrm>
                <a:custGeom>
                  <a:avLst/>
                  <a:gdLst>
                    <a:gd name="connsiteX0" fmla="*/ 10577 w 18341"/>
                    <a:gd name="connsiteY0" fmla="*/ 110 h 18402"/>
                    <a:gd name="connsiteX1" fmla="*/ 110 w 18341"/>
                    <a:gd name="connsiteY1" fmla="*/ 7766 h 18402"/>
                    <a:gd name="connsiteX2" fmla="*/ 7765 w 18341"/>
                    <a:gd name="connsiteY2" fmla="*/ 18292 h 18402"/>
                    <a:gd name="connsiteX3" fmla="*/ 18231 w 18341"/>
                    <a:gd name="connsiteY3" fmla="*/ 10636 h 18402"/>
                    <a:gd name="connsiteX4" fmla="*/ 10577 w 18341"/>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2">
                      <a:moveTo>
                        <a:pt x="10577" y="110"/>
                      </a:moveTo>
                      <a:cubicBezTo>
                        <a:pt x="5552" y="-667"/>
                        <a:pt x="887" y="2742"/>
                        <a:pt x="110" y="7766"/>
                      </a:cubicBezTo>
                      <a:cubicBezTo>
                        <a:pt x="-667" y="12790"/>
                        <a:pt x="2742" y="17514"/>
                        <a:pt x="7765" y="18292"/>
                      </a:cubicBezTo>
                      <a:cubicBezTo>
                        <a:pt x="12790" y="19069"/>
                        <a:pt x="17454" y="15660"/>
                        <a:pt x="18231" y="10636"/>
                      </a:cubicBezTo>
                      <a:cubicBezTo>
                        <a:pt x="19009" y="5613"/>
                        <a:pt x="15600" y="888"/>
                        <a:pt x="10577" y="110"/>
                      </a:cubicBezTo>
                      <a:close/>
                    </a:path>
                  </a:pathLst>
                </a:custGeom>
                <a:grpFill/>
                <a:ln w="5978" cap="flat">
                  <a:noFill/>
                  <a:prstDash val="solid"/>
                  <a:miter/>
                </a:ln>
              </p:spPr>
              <p:txBody>
                <a:bodyPr rtlCol="0" anchor="ctr"/>
                <a:lstStyle/>
                <a:p>
                  <a:endParaRPr lang="en-GB"/>
                </a:p>
              </p:txBody>
            </p:sp>
          </p:grpSp>
          <p:grpSp>
            <p:nvGrpSpPr>
              <p:cNvPr id="269" name="Graphic 3">
                <a:extLst>
                  <a:ext uri="{FF2B5EF4-FFF2-40B4-BE49-F238E27FC236}">
                    <a16:creationId xmlns:a16="http://schemas.microsoft.com/office/drawing/2014/main" id="{FD81AF6D-A2DE-489A-AD36-2AF787988C01}"/>
                  </a:ext>
                </a:extLst>
              </p:cNvPr>
              <p:cNvGrpSpPr/>
              <p:nvPr/>
            </p:nvGrpSpPr>
            <p:grpSpPr>
              <a:xfrm>
                <a:off x="7685200" y="3765252"/>
                <a:ext cx="258342" cy="105223"/>
                <a:chOff x="7685200" y="3765252"/>
                <a:chExt cx="258342" cy="105223"/>
              </a:xfrm>
              <a:grpFill/>
            </p:grpSpPr>
            <p:sp>
              <p:nvSpPr>
                <p:cNvPr id="4572" name="Vrije vorm: vorm 4571">
                  <a:extLst>
                    <a:ext uri="{FF2B5EF4-FFF2-40B4-BE49-F238E27FC236}">
                      <a16:creationId xmlns:a16="http://schemas.microsoft.com/office/drawing/2014/main" id="{27349C36-A48E-4ECC-B8E8-A43FBF2735DB}"/>
                    </a:ext>
                  </a:extLst>
                </p:cNvPr>
                <p:cNvSpPr/>
                <p:nvPr/>
              </p:nvSpPr>
              <p:spPr>
                <a:xfrm>
                  <a:off x="7693441" y="3772918"/>
                  <a:ext cx="241860" cy="89949"/>
                </a:xfrm>
                <a:custGeom>
                  <a:avLst/>
                  <a:gdLst>
                    <a:gd name="connsiteX0" fmla="*/ 241860 w 241860"/>
                    <a:gd name="connsiteY0" fmla="*/ 87079 h 89949"/>
                    <a:gd name="connsiteX1" fmla="*/ 240843 w 241860"/>
                    <a:gd name="connsiteY1" fmla="*/ 89950 h 89949"/>
                    <a:gd name="connsiteX2" fmla="*/ 0 w 241860"/>
                    <a:gd name="connsiteY2" fmla="*/ 2871 h 89949"/>
                    <a:gd name="connsiteX3" fmla="*/ 1016 w 241860"/>
                    <a:gd name="connsiteY3" fmla="*/ 0 h 89949"/>
                  </a:gdLst>
                  <a:ahLst/>
                  <a:cxnLst>
                    <a:cxn ang="0">
                      <a:pos x="connsiteX0" y="connsiteY0"/>
                    </a:cxn>
                    <a:cxn ang="0">
                      <a:pos x="connsiteX1" y="connsiteY1"/>
                    </a:cxn>
                    <a:cxn ang="0">
                      <a:pos x="connsiteX2" y="connsiteY2"/>
                    </a:cxn>
                    <a:cxn ang="0">
                      <a:pos x="connsiteX3" y="connsiteY3"/>
                    </a:cxn>
                  </a:cxnLst>
                  <a:rect l="l" t="t" r="r" b="b"/>
                  <a:pathLst>
                    <a:path w="241860" h="89949">
                      <a:moveTo>
                        <a:pt x="241860" y="87079"/>
                      </a:moveTo>
                      <a:lnTo>
                        <a:pt x="240843" y="89950"/>
                      </a:lnTo>
                      <a:lnTo>
                        <a:pt x="0" y="2871"/>
                      </a:lnTo>
                      <a:lnTo>
                        <a:pt x="1016" y="0"/>
                      </a:lnTo>
                      <a:close/>
                    </a:path>
                  </a:pathLst>
                </a:custGeom>
                <a:grpFill/>
                <a:ln w="5978" cap="flat">
                  <a:noFill/>
                  <a:prstDash val="solid"/>
                  <a:miter/>
                </a:ln>
              </p:spPr>
              <p:txBody>
                <a:bodyPr rtlCol="0" anchor="ctr"/>
                <a:lstStyle/>
                <a:p>
                  <a:endParaRPr lang="en-GB"/>
                </a:p>
              </p:txBody>
            </p:sp>
            <p:sp>
              <p:nvSpPr>
                <p:cNvPr id="4573" name="Vrije vorm: vorm 4572">
                  <a:extLst>
                    <a:ext uri="{FF2B5EF4-FFF2-40B4-BE49-F238E27FC236}">
                      <a16:creationId xmlns:a16="http://schemas.microsoft.com/office/drawing/2014/main" id="{68943318-C0B6-4AD0-9E3A-AAD738F59DC1}"/>
                    </a:ext>
                  </a:extLst>
                </p:cNvPr>
                <p:cNvSpPr/>
                <p:nvPr/>
              </p:nvSpPr>
              <p:spPr>
                <a:xfrm>
                  <a:off x="7685200" y="3765252"/>
                  <a:ext cx="18335" cy="18442"/>
                </a:xfrm>
                <a:custGeom>
                  <a:avLst/>
                  <a:gdLst>
                    <a:gd name="connsiteX0" fmla="*/ 6088 w 18335"/>
                    <a:gd name="connsiteY0" fmla="*/ 17894 h 18442"/>
                    <a:gd name="connsiteX1" fmla="*/ 526 w 18335"/>
                    <a:gd name="connsiteY1" fmla="*/ 6111 h 18442"/>
                    <a:gd name="connsiteX2" fmla="*/ 12248 w 18335"/>
                    <a:gd name="connsiteY2" fmla="*/ 549 h 18442"/>
                    <a:gd name="connsiteX3" fmla="*/ 17810 w 18335"/>
                    <a:gd name="connsiteY3" fmla="*/ 12331 h 18442"/>
                    <a:gd name="connsiteX4" fmla="*/ 6088 w 18335"/>
                    <a:gd name="connsiteY4" fmla="*/ 1789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2">
                      <a:moveTo>
                        <a:pt x="6088" y="17894"/>
                      </a:moveTo>
                      <a:cubicBezTo>
                        <a:pt x="1303" y="16159"/>
                        <a:pt x="-1149" y="10896"/>
                        <a:pt x="526" y="6111"/>
                      </a:cubicBezTo>
                      <a:cubicBezTo>
                        <a:pt x="2201" y="1327"/>
                        <a:pt x="7464" y="-1185"/>
                        <a:pt x="12248" y="549"/>
                      </a:cubicBezTo>
                      <a:cubicBezTo>
                        <a:pt x="17033" y="2284"/>
                        <a:pt x="19485" y="7547"/>
                        <a:pt x="17810" y="12331"/>
                      </a:cubicBezTo>
                      <a:cubicBezTo>
                        <a:pt x="16135" y="17116"/>
                        <a:pt x="10872" y="19628"/>
                        <a:pt x="6088" y="17894"/>
                      </a:cubicBezTo>
                      <a:close/>
                    </a:path>
                  </a:pathLst>
                </a:custGeom>
                <a:grpFill/>
                <a:ln w="5978" cap="flat">
                  <a:noFill/>
                  <a:prstDash val="solid"/>
                  <a:miter/>
                </a:ln>
              </p:spPr>
              <p:txBody>
                <a:bodyPr rtlCol="0" anchor="ctr"/>
                <a:lstStyle/>
                <a:p>
                  <a:endParaRPr lang="en-GB"/>
                </a:p>
              </p:txBody>
            </p:sp>
            <p:sp>
              <p:nvSpPr>
                <p:cNvPr id="4574" name="Vrije vorm: vorm 4573">
                  <a:extLst>
                    <a:ext uri="{FF2B5EF4-FFF2-40B4-BE49-F238E27FC236}">
                      <a16:creationId xmlns:a16="http://schemas.microsoft.com/office/drawing/2014/main" id="{457CF39D-6826-4ADE-8429-50B68AC450A5}"/>
                    </a:ext>
                  </a:extLst>
                </p:cNvPr>
                <p:cNvSpPr/>
                <p:nvPr/>
              </p:nvSpPr>
              <p:spPr>
                <a:xfrm>
                  <a:off x="7925206" y="3852032"/>
                  <a:ext cx="18335" cy="18442"/>
                </a:xfrm>
                <a:custGeom>
                  <a:avLst/>
                  <a:gdLst>
                    <a:gd name="connsiteX0" fmla="*/ 6087 w 18335"/>
                    <a:gd name="connsiteY0" fmla="*/ 17893 h 18442"/>
                    <a:gd name="connsiteX1" fmla="*/ 17810 w 18335"/>
                    <a:gd name="connsiteY1" fmla="*/ 12331 h 18442"/>
                    <a:gd name="connsiteX2" fmla="*/ 12248 w 18335"/>
                    <a:gd name="connsiteY2" fmla="*/ 550 h 18442"/>
                    <a:gd name="connsiteX3" fmla="*/ 526 w 18335"/>
                    <a:gd name="connsiteY3" fmla="*/ 6112 h 18442"/>
                    <a:gd name="connsiteX4" fmla="*/ 6087 w 18335"/>
                    <a:gd name="connsiteY4" fmla="*/ 1789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2">
                      <a:moveTo>
                        <a:pt x="6087" y="17893"/>
                      </a:moveTo>
                      <a:cubicBezTo>
                        <a:pt x="10872" y="19628"/>
                        <a:pt x="16076" y="17116"/>
                        <a:pt x="17810" y="12331"/>
                      </a:cubicBezTo>
                      <a:cubicBezTo>
                        <a:pt x="19485" y="7547"/>
                        <a:pt x="17033" y="2284"/>
                        <a:pt x="12248" y="550"/>
                      </a:cubicBezTo>
                      <a:cubicBezTo>
                        <a:pt x="7464" y="-1185"/>
                        <a:pt x="2260" y="1327"/>
                        <a:pt x="526" y="6112"/>
                      </a:cubicBezTo>
                      <a:cubicBezTo>
                        <a:pt x="-1149" y="10896"/>
                        <a:pt x="1303" y="16159"/>
                        <a:pt x="6087" y="17893"/>
                      </a:cubicBezTo>
                      <a:close/>
                    </a:path>
                  </a:pathLst>
                </a:custGeom>
                <a:grpFill/>
                <a:ln w="5978" cap="flat">
                  <a:noFill/>
                  <a:prstDash val="solid"/>
                  <a:miter/>
                </a:ln>
              </p:spPr>
              <p:txBody>
                <a:bodyPr rtlCol="0" anchor="ctr"/>
                <a:lstStyle/>
                <a:p>
                  <a:endParaRPr lang="en-GB"/>
                </a:p>
              </p:txBody>
            </p:sp>
          </p:grpSp>
          <p:grpSp>
            <p:nvGrpSpPr>
              <p:cNvPr id="270" name="Graphic 3">
                <a:extLst>
                  <a:ext uri="{FF2B5EF4-FFF2-40B4-BE49-F238E27FC236}">
                    <a16:creationId xmlns:a16="http://schemas.microsoft.com/office/drawing/2014/main" id="{D5DFD841-7BD0-4F67-BE33-C7FB47BB69D1}"/>
                  </a:ext>
                </a:extLst>
              </p:cNvPr>
              <p:cNvGrpSpPr/>
              <p:nvPr/>
            </p:nvGrpSpPr>
            <p:grpSpPr>
              <a:xfrm>
                <a:off x="7717045" y="3641788"/>
                <a:ext cx="95326" cy="29251"/>
                <a:chOff x="7717045" y="3641788"/>
                <a:chExt cx="95326" cy="29251"/>
              </a:xfrm>
              <a:grpFill/>
            </p:grpSpPr>
            <p:sp>
              <p:nvSpPr>
                <p:cNvPr id="4569" name="Vrije vorm: vorm 4568">
                  <a:extLst>
                    <a:ext uri="{FF2B5EF4-FFF2-40B4-BE49-F238E27FC236}">
                      <a16:creationId xmlns:a16="http://schemas.microsoft.com/office/drawing/2014/main" id="{E0174EEF-C66F-42D1-9340-33434C564725}"/>
                    </a:ext>
                  </a:extLst>
                </p:cNvPr>
                <p:cNvSpPr/>
                <p:nvPr/>
              </p:nvSpPr>
              <p:spPr>
                <a:xfrm>
                  <a:off x="7725498" y="3649476"/>
                  <a:ext cx="78407" cy="13935"/>
                </a:xfrm>
                <a:custGeom>
                  <a:avLst/>
                  <a:gdLst>
                    <a:gd name="connsiteX0" fmla="*/ 78407 w 78407"/>
                    <a:gd name="connsiteY0" fmla="*/ 10885 h 13935"/>
                    <a:gd name="connsiteX1" fmla="*/ 77988 w 78407"/>
                    <a:gd name="connsiteY1" fmla="*/ 13935 h 13935"/>
                    <a:gd name="connsiteX2" fmla="*/ 0 w 78407"/>
                    <a:gd name="connsiteY2" fmla="*/ 2990 h 13935"/>
                    <a:gd name="connsiteX3" fmla="*/ 418 w 78407"/>
                    <a:gd name="connsiteY3" fmla="*/ 0 h 13935"/>
                  </a:gdLst>
                  <a:ahLst/>
                  <a:cxnLst>
                    <a:cxn ang="0">
                      <a:pos x="connsiteX0" y="connsiteY0"/>
                    </a:cxn>
                    <a:cxn ang="0">
                      <a:pos x="connsiteX1" y="connsiteY1"/>
                    </a:cxn>
                    <a:cxn ang="0">
                      <a:pos x="connsiteX2" y="connsiteY2"/>
                    </a:cxn>
                    <a:cxn ang="0">
                      <a:pos x="connsiteX3" y="connsiteY3"/>
                    </a:cxn>
                  </a:cxnLst>
                  <a:rect l="l" t="t" r="r" b="b"/>
                  <a:pathLst>
                    <a:path w="78407" h="13935">
                      <a:moveTo>
                        <a:pt x="78407" y="10885"/>
                      </a:moveTo>
                      <a:lnTo>
                        <a:pt x="77988" y="13935"/>
                      </a:lnTo>
                      <a:lnTo>
                        <a:pt x="0" y="2990"/>
                      </a:lnTo>
                      <a:lnTo>
                        <a:pt x="418" y="0"/>
                      </a:lnTo>
                      <a:close/>
                    </a:path>
                  </a:pathLst>
                </a:custGeom>
                <a:grpFill/>
                <a:ln w="5978" cap="flat">
                  <a:noFill/>
                  <a:prstDash val="solid"/>
                  <a:miter/>
                </a:ln>
              </p:spPr>
              <p:txBody>
                <a:bodyPr rtlCol="0" anchor="ctr"/>
                <a:lstStyle/>
                <a:p>
                  <a:endParaRPr lang="en-GB"/>
                </a:p>
              </p:txBody>
            </p:sp>
            <p:sp>
              <p:nvSpPr>
                <p:cNvPr id="4570" name="Vrije vorm: vorm 4569">
                  <a:extLst>
                    <a:ext uri="{FF2B5EF4-FFF2-40B4-BE49-F238E27FC236}">
                      <a16:creationId xmlns:a16="http://schemas.microsoft.com/office/drawing/2014/main" id="{62AA5AF3-4415-43BB-95FA-898911FD4CC2}"/>
                    </a:ext>
                  </a:extLst>
                </p:cNvPr>
                <p:cNvSpPr/>
                <p:nvPr/>
              </p:nvSpPr>
              <p:spPr>
                <a:xfrm>
                  <a:off x="7794064" y="3652613"/>
                  <a:ext cx="18307" cy="18426"/>
                </a:xfrm>
                <a:custGeom>
                  <a:avLst/>
                  <a:gdLst>
                    <a:gd name="connsiteX0" fmla="*/ 10379 w 18307"/>
                    <a:gd name="connsiteY0" fmla="*/ 93 h 18426"/>
                    <a:gd name="connsiteX1" fmla="*/ 18214 w 18307"/>
                    <a:gd name="connsiteY1" fmla="*/ 10499 h 18426"/>
                    <a:gd name="connsiteX2" fmla="*/ 7927 w 18307"/>
                    <a:gd name="connsiteY2" fmla="*/ 18334 h 18426"/>
                    <a:gd name="connsiteX3" fmla="*/ 93 w 18307"/>
                    <a:gd name="connsiteY3" fmla="*/ 7927 h 18426"/>
                    <a:gd name="connsiteX4" fmla="*/ 10379 w 18307"/>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10379" y="93"/>
                      </a:moveTo>
                      <a:cubicBezTo>
                        <a:pt x="15403" y="810"/>
                        <a:pt x="18932" y="5475"/>
                        <a:pt x="18214" y="10499"/>
                      </a:cubicBezTo>
                      <a:cubicBezTo>
                        <a:pt x="17557" y="15523"/>
                        <a:pt x="12892" y="19051"/>
                        <a:pt x="7927" y="18334"/>
                      </a:cubicBezTo>
                      <a:cubicBezTo>
                        <a:pt x="2903" y="17616"/>
                        <a:pt x="-625" y="12951"/>
                        <a:pt x="93" y="7927"/>
                      </a:cubicBezTo>
                      <a:cubicBezTo>
                        <a:pt x="810" y="2904"/>
                        <a:pt x="5416" y="-625"/>
                        <a:pt x="10379" y="93"/>
                      </a:cubicBezTo>
                      <a:close/>
                    </a:path>
                  </a:pathLst>
                </a:custGeom>
                <a:grpFill/>
                <a:ln w="5978" cap="flat">
                  <a:noFill/>
                  <a:prstDash val="solid"/>
                  <a:miter/>
                </a:ln>
              </p:spPr>
              <p:txBody>
                <a:bodyPr rtlCol="0" anchor="ctr"/>
                <a:lstStyle/>
                <a:p>
                  <a:endParaRPr lang="en-GB"/>
                </a:p>
              </p:txBody>
            </p:sp>
            <p:sp>
              <p:nvSpPr>
                <p:cNvPr id="4571" name="Vrije vorm: vorm 4570">
                  <a:extLst>
                    <a:ext uri="{FF2B5EF4-FFF2-40B4-BE49-F238E27FC236}">
                      <a16:creationId xmlns:a16="http://schemas.microsoft.com/office/drawing/2014/main" id="{C8C732E1-3572-4BF0-8EEC-6E488234EA1A}"/>
                    </a:ext>
                  </a:extLst>
                </p:cNvPr>
                <p:cNvSpPr/>
                <p:nvPr/>
              </p:nvSpPr>
              <p:spPr>
                <a:xfrm>
                  <a:off x="7717045" y="3641788"/>
                  <a:ext cx="18280" cy="18426"/>
                </a:xfrm>
                <a:custGeom>
                  <a:avLst/>
                  <a:gdLst>
                    <a:gd name="connsiteX0" fmla="*/ 10367 w 18280"/>
                    <a:gd name="connsiteY0" fmla="*/ 93 h 18426"/>
                    <a:gd name="connsiteX1" fmla="*/ 80 w 18280"/>
                    <a:gd name="connsiteY1" fmla="*/ 7927 h 18426"/>
                    <a:gd name="connsiteX2" fmla="*/ 7914 w 18280"/>
                    <a:gd name="connsiteY2" fmla="*/ 18334 h 18426"/>
                    <a:gd name="connsiteX3" fmla="*/ 18202 w 18280"/>
                    <a:gd name="connsiteY3" fmla="*/ 10499 h 18426"/>
                    <a:gd name="connsiteX4" fmla="*/ 10367 w 18280"/>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26">
                      <a:moveTo>
                        <a:pt x="10367" y="93"/>
                      </a:moveTo>
                      <a:cubicBezTo>
                        <a:pt x="5343" y="-625"/>
                        <a:pt x="738" y="2904"/>
                        <a:pt x="80" y="7927"/>
                      </a:cubicBezTo>
                      <a:cubicBezTo>
                        <a:pt x="-578" y="12951"/>
                        <a:pt x="2891" y="17616"/>
                        <a:pt x="7914" y="18334"/>
                      </a:cubicBezTo>
                      <a:cubicBezTo>
                        <a:pt x="12939" y="19051"/>
                        <a:pt x="17544" y="15523"/>
                        <a:pt x="18202" y="10499"/>
                      </a:cubicBezTo>
                      <a:cubicBezTo>
                        <a:pt x="18860" y="5475"/>
                        <a:pt x="15331" y="810"/>
                        <a:pt x="10367" y="93"/>
                      </a:cubicBezTo>
                      <a:close/>
                    </a:path>
                  </a:pathLst>
                </a:custGeom>
                <a:grpFill/>
                <a:ln w="5978" cap="flat">
                  <a:noFill/>
                  <a:prstDash val="solid"/>
                  <a:miter/>
                </a:ln>
              </p:spPr>
              <p:txBody>
                <a:bodyPr rtlCol="0" anchor="ctr"/>
                <a:lstStyle/>
                <a:p>
                  <a:endParaRPr lang="en-GB"/>
                </a:p>
              </p:txBody>
            </p:sp>
          </p:grpSp>
          <p:grpSp>
            <p:nvGrpSpPr>
              <p:cNvPr id="271" name="Graphic 3">
                <a:extLst>
                  <a:ext uri="{FF2B5EF4-FFF2-40B4-BE49-F238E27FC236}">
                    <a16:creationId xmlns:a16="http://schemas.microsoft.com/office/drawing/2014/main" id="{9083C0AF-1BD1-4010-9DCF-B46417CEADE3}"/>
                  </a:ext>
                </a:extLst>
              </p:cNvPr>
              <p:cNvGrpSpPr/>
              <p:nvPr/>
            </p:nvGrpSpPr>
            <p:grpSpPr>
              <a:xfrm>
                <a:off x="7715923" y="3609879"/>
                <a:ext cx="78944" cy="25786"/>
                <a:chOff x="7715923" y="3609879"/>
                <a:chExt cx="78944" cy="25786"/>
              </a:xfrm>
              <a:grpFill/>
            </p:grpSpPr>
            <p:sp>
              <p:nvSpPr>
                <p:cNvPr id="4566" name="Vrije vorm: vorm 4565">
                  <a:extLst>
                    <a:ext uri="{FF2B5EF4-FFF2-40B4-BE49-F238E27FC236}">
                      <a16:creationId xmlns:a16="http://schemas.microsoft.com/office/drawing/2014/main" id="{2AA0702A-19ED-4C0B-B3AC-8918995CD437}"/>
                    </a:ext>
                  </a:extLst>
                </p:cNvPr>
                <p:cNvSpPr/>
                <p:nvPr/>
              </p:nvSpPr>
              <p:spPr>
                <a:xfrm>
                  <a:off x="7724481" y="3617539"/>
                  <a:ext cx="61840" cy="10466"/>
                </a:xfrm>
                <a:custGeom>
                  <a:avLst/>
                  <a:gdLst>
                    <a:gd name="connsiteX0" fmla="*/ 61840 w 61840"/>
                    <a:gd name="connsiteY0" fmla="*/ 7416 h 10466"/>
                    <a:gd name="connsiteX1" fmla="*/ 61482 w 61840"/>
                    <a:gd name="connsiteY1" fmla="*/ 10466 h 10466"/>
                    <a:gd name="connsiteX2" fmla="*/ 0 w 61840"/>
                    <a:gd name="connsiteY2" fmla="*/ 3050 h 10466"/>
                    <a:gd name="connsiteX3" fmla="*/ 359 w 61840"/>
                    <a:gd name="connsiteY3" fmla="*/ 0 h 10466"/>
                  </a:gdLst>
                  <a:ahLst/>
                  <a:cxnLst>
                    <a:cxn ang="0">
                      <a:pos x="connsiteX0" y="connsiteY0"/>
                    </a:cxn>
                    <a:cxn ang="0">
                      <a:pos x="connsiteX1" y="connsiteY1"/>
                    </a:cxn>
                    <a:cxn ang="0">
                      <a:pos x="connsiteX2" y="connsiteY2"/>
                    </a:cxn>
                    <a:cxn ang="0">
                      <a:pos x="connsiteX3" y="connsiteY3"/>
                    </a:cxn>
                  </a:cxnLst>
                  <a:rect l="l" t="t" r="r" b="b"/>
                  <a:pathLst>
                    <a:path w="61840" h="10466">
                      <a:moveTo>
                        <a:pt x="61840" y="7416"/>
                      </a:moveTo>
                      <a:lnTo>
                        <a:pt x="61482" y="10466"/>
                      </a:lnTo>
                      <a:lnTo>
                        <a:pt x="0" y="3050"/>
                      </a:lnTo>
                      <a:lnTo>
                        <a:pt x="359" y="0"/>
                      </a:lnTo>
                      <a:close/>
                    </a:path>
                  </a:pathLst>
                </a:custGeom>
                <a:grpFill/>
                <a:ln w="5978" cap="flat">
                  <a:noFill/>
                  <a:prstDash val="solid"/>
                  <a:miter/>
                </a:ln>
              </p:spPr>
              <p:txBody>
                <a:bodyPr rtlCol="0" anchor="ctr"/>
                <a:lstStyle/>
                <a:p>
                  <a:endParaRPr lang="en-GB"/>
                </a:p>
              </p:txBody>
            </p:sp>
            <p:sp>
              <p:nvSpPr>
                <p:cNvPr id="4567" name="Vrije vorm: vorm 4566">
                  <a:extLst>
                    <a:ext uri="{FF2B5EF4-FFF2-40B4-BE49-F238E27FC236}">
                      <a16:creationId xmlns:a16="http://schemas.microsoft.com/office/drawing/2014/main" id="{F9C07BBC-90B5-4998-9D6E-0F97B5C4331A}"/>
                    </a:ext>
                  </a:extLst>
                </p:cNvPr>
                <p:cNvSpPr/>
                <p:nvPr/>
              </p:nvSpPr>
              <p:spPr>
                <a:xfrm>
                  <a:off x="7776519" y="3617223"/>
                  <a:ext cx="18348" cy="18441"/>
                </a:xfrm>
                <a:custGeom>
                  <a:avLst/>
                  <a:gdLst>
                    <a:gd name="connsiteX0" fmla="*/ 10221 w 18348"/>
                    <a:gd name="connsiteY0" fmla="*/ 77 h 18441"/>
                    <a:gd name="connsiteX1" fmla="*/ 18295 w 18348"/>
                    <a:gd name="connsiteY1" fmla="*/ 10304 h 18441"/>
                    <a:gd name="connsiteX2" fmla="*/ 8128 w 18348"/>
                    <a:gd name="connsiteY2" fmla="*/ 18378 h 18441"/>
                    <a:gd name="connsiteX3" fmla="*/ 53 w 18348"/>
                    <a:gd name="connsiteY3" fmla="*/ 8151 h 18441"/>
                    <a:gd name="connsiteX4" fmla="*/ 10221 w 18348"/>
                    <a:gd name="connsiteY4" fmla="*/ 77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41">
                      <a:moveTo>
                        <a:pt x="10221" y="77"/>
                      </a:moveTo>
                      <a:cubicBezTo>
                        <a:pt x="15245" y="675"/>
                        <a:pt x="18833" y="5280"/>
                        <a:pt x="18295" y="10304"/>
                      </a:cubicBezTo>
                      <a:cubicBezTo>
                        <a:pt x="17697" y="15328"/>
                        <a:pt x="13152" y="18976"/>
                        <a:pt x="8128" y="18378"/>
                      </a:cubicBezTo>
                      <a:cubicBezTo>
                        <a:pt x="3104" y="17780"/>
                        <a:pt x="-485" y="13174"/>
                        <a:pt x="53" y="8151"/>
                      </a:cubicBezTo>
                      <a:cubicBezTo>
                        <a:pt x="652" y="3067"/>
                        <a:pt x="5197" y="-581"/>
                        <a:pt x="10221" y="77"/>
                      </a:cubicBezTo>
                      <a:close/>
                    </a:path>
                  </a:pathLst>
                </a:custGeom>
                <a:grpFill/>
                <a:ln w="5978" cap="flat">
                  <a:noFill/>
                  <a:prstDash val="solid"/>
                  <a:miter/>
                </a:ln>
              </p:spPr>
              <p:txBody>
                <a:bodyPr rtlCol="0" anchor="ctr"/>
                <a:lstStyle/>
                <a:p>
                  <a:endParaRPr lang="en-GB"/>
                </a:p>
              </p:txBody>
            </p:sp>
            <p:sp>
              <p:nvSpPr>
                <p:cNvPr id="4568" name="Vrije vorm: vorm 4567">
                  <a:extLst>
                    <a:ext uri="{FF2B5EF4-FFF2-40B4-BE49-F238E27FC236}">
                      <a16:creationId xmlns:a16="http://schemas.microsoft.com/office/drawing/2014/main" id="{2DC3491C-18FD-48F9-AA8F-4C2EF443A55F}"/>
                    </a:ext>
                  </a:extLst>
                </p:cNvPr>
                <p:cNvSpPr/>
                <p:nvPr/>
              </p:nvSpPr>
              <p:spPr>
                <a:xfrm>
                  <a:off x="7715923" y="3609879"/>
                  <a:ext cx="18370" cy="18431"/>
                </a:xfrm>
                <a:custGeom>
                  <a:avLst/>
                  <a:gdLst>
                    <a:gd name="connsiteX0" fmla="*/ 10233 w 18370"/>
                    <a:gd name="connsiteY0" fmla="*/ 65 h 18431"/>
                    <a:gd name="connsiteX1" fmla="*/ 65 w 18370"/>
                    <a:gd name="connsiteY1" fmla="*/ 8139 h 18431"/>
                    <a:gd name="connsiteX2" fmla="*/ 8140 w 18370"/>
                    <a:gd name="connsiteY2" fmla="*/ 18366 h 18431"/>
                    <a:gd name="connsiteX3" fmla="*/ 18307 w 18370"/>
                    <a:gd name="connsiteY3" fmla="*/ 10292 h 18431"/>
                    <a:gd name="connsiteX4" fmla="*/ 10233 w 18370"/>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1">
                      <a:moveTo>
                        <a:pt x="10233" y="65"/>
                      </a:moveTo>
                      <a:cubicBezTo>
                        <a:pt x="5209" y="-533"/>
                        <a:pt x="664" y="3055"/>
                        <a:pt x="65" y="8139"/>
                      </a:cubicBezTo>
                      <a:cubicBezTo>
                        <a:pt x="-533" y="13163"/>
                        <a:pt x="3055" y="17768"/>
                        <a:pt x="8140" y="18366"/>
                      </a:cubicBezTo>
                      <a:cubicBezTo>
                        <a:pt x="13163" y="18964"/>
                        <a:pt x="17709" y="15376"/>
                        <a:pt x="18307" y="10292"/>
                      </a:cubicBezTo>
                      <a:cubicBezTo>
                        <a:pt x="18904" y="5268"/>
                        <a:pt x="15256" y="663"/>
                        <a:pt x="10233" y="65"/>
                      </a:cubicBezTo>
                      <a:close/>
                    </a:path>
                  </a:pathLst>
                </a:custGeom>
                <a:grpFill/>
                <a:ln w="5978" cap="flat">
                  <a:noFill/>
                  <a:prstDash val="solid"/>
                  <a:miter/>
                </a:ln>
              </p:spPr>
              <p:txBody>
                <a:bodyPr rtlCol="0" anchor="ctr"/>
                <a:lstStyle/>
                <a:p>
                  <a:endParaRPr lang="en-GB"/>
                </a:p>
              </p:txBody>
            </p:sp>
          </p:grpSp>
          <p:grpSp>
            <p:nvGrpSpPr>
              <p:cNvPr id="272" name="Graphic 3">
                <a:extLst>
                  <a:ext uri="{FF2B5EF4-FFF2-40B4-BE49-F238E27FC236}">
                    <a16:creationId xmlns:a16="http://schemas.microsoft.com/office/drawing/2014/main" id="{2C594887-9685-42DC-B935-C88384615292}"/>
                  </a:ext>
                </a:extLst>
              </p:cNvPr>
              <p:cNvGrpSpPr/>
              <p:nvPr/>
            </p:nvGrpSpPr>
            <p:grpSpPr>
              <a:xfrm>
                <a:off x="7119128" y="1815338"/>
                <a:ext cx="88780" cy="116564"/>
                <a:chOff x="7119128" y="1815338"/>
                <a:chExt cx="88780" cy="116564"/>
              </a:xfrm>
              <a:grpFill/>
            </p:grpSpPr>
            <p:sp>
              <p:nvSpPr>
                <p:cNvPr id="4563" name="Vrije vorm: vorm 4562">
                  <a:extLst>
                    <a:ext uri="{FF2B5EF4-FFF2-40B4-BE49-F238E27FC236}">
                      <a16:creationId xmlns:a16="http://schemas.microsoft.com/office/drawing/2014/main" id="{2ECD6E74-5C7C-453B-9B8D-92CF7D7CE84C}"/>
                    </a:ext>
                  </a:extLst>
                </p:cNvPr>
                <p:cNvSpPr/>
                <p:nvPr/>
              </p:nvSpPr>
              <p:spPr>
                <a:xfrm>
                  <a:off x="7126768" y="1823323"/>
                  <a:ext cx="73442" cy="100655"/>
                </a:xfrm>
                <a:custGeom>
                  <a:avLst/>
                  <a:gdLst>
                    <a:gd name="connsiteX0" fmla="*/ 73443 w 73442"/>
                    <a:gd name="connsiteY0" fmla="*/ 1794 h 100655"/>
                    <a:gd name="connsiteX1" fmla="*/ 2452 w 73442"/>
                    <a:gd name="connsiteY1" fmla="*/ 100656 h 100655"/>
                    <a:gd name="connsiteX2" fmla="*/ 0 w 73442"/>
                    <a:gd name="connsiteY2" fmla="*/ 98861 h 100655"/>
                    <a:gd name="connsiteX3" fmla="*/ 70991 w 73442"/>
                    <a:gd name="connsiteY3" fmla="*/ 0 h 100655"/>
                  </a:gdLst>
                  <a:ahLst/>
                  <a:cxnLst>
                    <a:cxn ang="0">
                      <a:pos x="connsiteX0" y="connsiteY0"/>
                    </a:cxn>
                    <a:cxn ang="0">
                      <a:pos x="connsiteX1" y="connsiteY1"/>
                    </a:cxn>
                    <a:cxn ang="0">
                      <a:pos x="connsiteX2" y="connsiteY2"/>
                    </a:cxn>
                    <a:cxn ang="0">
                      <a:pos x="connsiteX3" y="connsiteY3"/>
                    </a:cxn>
                  </a:cxnLst>
                  <a:rect l="l" t="t" r="r" b="b"/>
                  <a:pathLst>
                    <a:path w="73442" h="100655">
                      <a:moveTo>
                        <a:pt x="73443" y="1794"/>
                      </a:moveTo>
                      <a:lnTo>
                        <a:pt x="2452" y="100656"/>
                      </a:lnTo>
                      <a:lnTo>
                        <a:pt x="0" y="98861"/>
                      </a:lnTo>
                      <a:lnTo>
                        <a:pt x="70991" y="0"/>
                      </a:lnTo>
                      <a:close/>
                    </a:path>
                  </a:pathLst>
                </a:custGeom>
                <a:grpFill/>
                <a:ln w="5978" cap="flat">
                  <a:noFill/>
                  <a:prstDash val="solid"/>
                  <a:miter/>
                </a:ln>
              </p:spPr>
              <p:txBody>
                <a:bodyPr rtlCol="0" anchor="ctr"/>
                <a:lstStyle/>
                <a:p>
                  <a:endParaRPr lang="en-GB"/>
                </a:p>
              </p:txBody>
            </p:sp>
            <p:sp>
              <p:nvSpPr>
                <p:cNvPr id="4564" name="Vrije vorm: vorm 4563">
                  <a:extLst>
                    <a:ext uri="{FF2B5EF4-FFF2-40B4-BE49-F238E27FC236}">
                      <a16:creationId xmlns:a16="http://schemas.microsoft.com/office/drawing/2014/main" id="{468BFAB8-D6BF-4E15-885E-412C4539D89A}"/>
                    </a:ext>
                  </a:extLst>
                </p:cNvPr>
                <p:cNvSpPr/>
                <p:nvPr/>
              </p:nvSpPr>
              <p:spPr>
                <a:xfrm>
                  <a:off x="7189555" y="1815338"/>
                  <a:ext cx="18353" cy="18421"/>
                </a:xfrm>
                <a:custGeom>
                  <a:avLst/>
                  <a:gdLst>
                    <a:gd name="connsiteX0" fmla="*/ 1744 w 18353"/>
                    <a:gd name="connsiteY0" fmla="*/ 3798 h 18421"/>
                    <a:gd name="connsiteX1" fmla="*/ 14543 w 18353"/>
                    <a:gd name="connsiteY1" fmla="*/ 1765 h 18421"/>
                    <a:gd name="connsiteX2" fmla="*/ 16636 w 18353"/>
                    <a:gd name="connsiteY2" fmla="*/ 14623 h 18421"/>
                    <a:gd name="connsiteX3" fmla="*/ 3838 w 18353"/>
                    <a:gd name="connsiteY3" fmla="*/ 16657 h 18421"/>
                    <a:gd name="connsiteX4" fmla="*/ 1744 w 1835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1">
                      <a:moveTo>
                        <a:pt x="1744" y="3798"/>
                      </a:moveTo>
                      <a:cubicBezTo>
                        <a:pt x="4674" y="-329"/>
                        <a:pt x="10416" y="-1226"/>
                        <a:pt x="14543" y="1765"/>
                      </a:cubicBezTo>
                      <a:cubicBezTo>
                        <a:pt x="18670" y="4755"/>
                        <a:pt x="19566" y="10496"/>
                        <a:pt x="16636" y="14623"/>
                      </a:cubicBezTo>
                      <a:cubicBezTo>
                        <a:pt x="13705" y="18750"/>
                        <a:pt x="7964" y="19647"/>
                        <a:pt x="3838" y="16657"/>
                      </a:cubicBezTo>
                      <a:cubicBezTo>
                        <a:pt x="-289" y="13726"/>
                        <a:pt x="-1247" y="7925"/>
                        <a:pt x="1744" y="3798"/>
                      </a:cubicBezTo>
                      <a:close/>
                    </a:path>
                  </a:pathLst>
                </a:custGeom>
                <a:grpFill/>
                <a:ln w="5978" cap="flat">
                  <a:noFill/>
                  <a:prstDash val="solid"/>
                  <a:miter/>
                </a:ln>
              </p:spPr>
              <p:txBody>
                <a:bodyPr rtlCol="0" anchor="ctr"/>
                <a:lstStyle/>
                <a:p>
                  <a:endParaRPr lang="en-GB"/>
                </a:p>
              </p:txBody>
            </p:sp>
            <p:sp>
              <p:nvSpPr>
                <p:cNvPr id="4565" name="Vrije vorm: vorm 4564">
                  <a:extLst>
                    <a:ext uri="{FF2B5EF4-FFF2-40B4-BE49-F238E27FC236}">
                      <a16:creationId xmlns:a16="http://schemas.microsoft.com/office/drawing/2014/main" id="{0781F128-D683-484C-AC63-6F2D6DCFC5E6}"/>
                    </a:ext>
                  </a:extLst>
                </p:cNvPr>
                <p:cNvSpPr/>
                <p:nvPr/>
              </p:nvSpPr>
              <p:spPr>
                <a:xfrm>
                  <a:off x="7119128" y="1913482"/>
                  <a:ext cx="18328" cy="18421"/>
                </a:xfrm>
                <a:custGeom>
                  <a:avLst/>
                  <a:gdLst>
                    <a:gd name="connsiteX0" fmla="*/ 1718 w 18328"/>
                    <a:gd name="connsiteY0" fmla="*/ 3798 h 18421"/>
                    <a:gd name="connsiteX1" fmla="*/ 3811 w 18328"/>
                    <a:gd name="connsiteY1" fmla="*/ 16657 h 18421"/>
                    <a:gd name="connsiteX2" fmla="*/ 16610 w 18328"/>
                    <a:gd name="connsiteY2" fmla="*/ 14623 h 18421"/>
                    <a:gd name="connsiteX3" fmla="*/ 14516 w 18328"/>
                    <a:gd name="connsiteY3" fmla="*/ 1765 h 18421"/>
                    <a:gd name="connsiteX4" fmla="*/ 1718 w 18328"/>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21">
                      <a:moveTo>
                        <a:pt x="1718" y="3798"/>
                      </a:moveTo>
                      <a:cubicBezTo>
                        <a:pt x="-1213" y="7925"/>
                        <a:pt x="-316" y="13666"/>
                        <a:pt x="3811" y="16657"/>
                      </a:cubicBezTo>
                      <a:cubicBezTo>
                        <a:pt x="7938" y="19647"/>
                        <a:pt x="13620" y="18750"/>
                        <a:pt x="16610" y="14623"/>
                      </a:cubicBezTo>
                      <a:cubicBezTo>
                        <a:pt x="19541" y="10496"/>
                        <a:pt x="18644" y="4755"/>
                        <a:pt x="14516" y="1765"/>
                      </a:cubicBezTo>
                      <a:cubicBezTo>
                        <a:pt x="10390" y="-1226"/>
                        <a:pt x="4649" y="-329"/>
                        <a:pt x="1718" y="3798"/>
                      </a:cubicBezTo>
                      <a:close/>
                    </a:path>
                  </a:pathLst>
                </a:custGeom>
                <a:grpFill/>
                <a:ln w="5978" cap="flat">
                  <a:noFill/>
                  <a:prstDash val="solid"/>
                  <a:miter/>
                </a:ln>
              </p:spPr>
              <p:txBody>
                <a:bodyPr rtlCol="0" anchor="ctr"/>
                <a:lstStyle/>
                <a:p>
                  <a:endParaRPr lang="en-GB"/>
                </a:p>
              </p:txBody>
            </p:sp>
          </p:grpSp>
          <p:grpSp>
            <p:nvGrpSpPr>
              <p:cNvPr id="273" name="Graphic 3">
                <a:extLst>
                  <a:ext uri="{FF2B5EF4-FFF2-40B4-BE49-F238E27FC236}">
                    <a16:creationId xmlns:a16="http://schemas.microsoft.com/office/drawing/2014/main" id="{1CAF8CFC-94E6-404E-A7E2-AD566547D97E}"/>
                  </a:ext>
                </a:extLst>
              </p:cNvPr>
              <p:cNvGrpSpPr/>
              <p:nvPr/>
            </p:nvGrpSpPr>
            <p:grpSpPr>
              <a:xfrm>
                <a:off x="7028860" y="1714660"/>
                <a:ext cx="299160" cy="344355"/>
                <a:chOff x="7028860" y="1714660"/>
                <a:chExt cx="299160" cy="344355"/>
              </a:xfrm>
              <a:grpFill/>
            </p:grpSpPr>
            <p:sp>
              <p:nvSpPr>
                <p:cNvPr id="4560" name="Vrije vorm: vorm 4559">
                  <a:extLst>
                    <a:ext uri="{FF2B5EF4-FFF2-40B4-BE49-F238E27FC236}">
                      <a16:creationId xmlns:a16="http://schemas.microsoft.com/office/drawing/2014/main" id="{D17950EB-F80C-40A1-A129-C73C752C18C4}"/>
                    </a:ext>
                  </a:extLst>
                </p:cNvPr>
                <p:cNvSpPr/>
                <p:nvPr/>
              </p:nvSpPr>
              <p:spPr>
                <a:xfrm>
                  <a:off x="7036518" y="1722488"/>
                  <a:ext cx="283785" cy="328640"/>
                </a:xfrm>
                <a:custGeom>
                  <a:avLst/>
                  <a:gdLst>
                    <a:gd name="connsiteX0" fmla="*/ 283786 w 283785"/>
                    <a:gd name="connsiteY0" fmla="*/ 2033 h 328640"/>
                    <a:gd name="connsiteX1" fmla="*/ 2333 w 283785"/>
                    <a:gd name="connsiteY1" fmla="*/ 328641 h 328640"/>
                    <a:gd name="connsiteX2" fmla="*/ 0 w 283785"/>
                    <a:gd name="connsiteY2" fmla="*/ 326667 h 328640"/>
                    <a:gd name="connsiteX3" fmla="*/ 281513 w 283785"/>
                    <a:gd name="connsiteY3" fmla="*/ 0 h 328640"/>
                  </a:gdLst>
                  <a:ahLst/>
                  <a:cxnLst>
                    <a:cxn ang="0">
                      <a:pos x="connsiteX0" y="connsiteY0"/>
                    </a:cxn>
                    <a:cxn ang="0">
                      <a:pos x="connsiteX1" y="connsiteY1"/>
                    </a:cxn>
                    <a:cxn ang="0">
                      <a:pos x="connsiteX2" y="connsiteY2"/>
                    </a:cxn>
                    <a:cxn ang="0">
                      <a:pos x="connsiteX3" y="connsiteY3"/>
                    </a:cxn>
                  </a:cxnLst>
                  <a:rect l="l" t="t" r="r" b="b"/>
                  <a:pathLst>
                    <a:path w="283785" h="328640">
                      <a:moveTo>
                        <a:pt x="283786" y="2033"/>
                      </a:moveTo>
                      <a:lnTo>
                        <a:pt x="2333" y="328641"/>
                      </a:lnTo>
                      <a:lnTo>
                        <a:pt x="0" y="326667"/>
                      </a:lnTo>
                      <a:lnTo>
                        <a:pt x="281513" y="0"/>
                      </a:lnTo>
                      <a:close/>
                    </a:path>
                  </a:pathLst>
                </a:custGeom>
                <a:grpFill/>
                <a:ln w="5978" cap="flat">
                  <a:noFill/>
                  <a:prstDash val="solid"/>
                  <a:miter/>
                </a:ln>
              </p:spPr>
              <p:txBody>
                <a:bodyPr rtlCol="0" anchor="ctr"/>
                <a:lstStyle/>
                <a:p>
                  <a:endParaRPr lang="en-GB"/>
                </a:p>
              </p:txBody>
            </p:sp>
            <p:sp>
              <p:nvSpPr>
                <p:cNvPr id="4561" name="Vrije vorm: vorm 4560">
                  <a:extLst>
                    <a:ext uri="{FF2B5EF4-FFF2-40B4-BE49-F238E27FC236}">
                      <a16:creationId xmlns:a16="http://schemas.microsoft.com/office/drawing/2014/main" id="{D8196936-08FE-41BF-B317-38E72FDE60A2}"/>
                    </a:ext>
                  </a:extLst>
                </p:cNvPr>
                <p:cNvSpPr/>
                <p:nvPr/>
              </p:nvSpPr>
              <p:spPr>
                <a:xfrm>
                  <a:off x="7028860" y="2040610"/>
                  <a:ext cx="18306" cy="18405"/>
                </a:xfrm>
                <a:custGeom>
                  <a:avLst/>
                  <a:gdLst>
                    <a:gd name="connsiteX0" fmla="*/ 16091 w 18306"/>
                    <a:gd name="connsiteY0" fmla="*/ 15244 h 18405"/>
                    <a:gd name="connsiteX1" fmla="*/ 3172 w 18306"/>
                    <a:gd name="connsiteY1" fmla="*/ 16141 h 18405"/>
                    <a:gd name="connsiteX2" fmla="*/ 2216 w 18306"/>
                    <a:gd name="connsiteY2" fmla="*/ 3162 h 18405"/>
                    <a:gd name="connsiteX3" fmla="*/ 15134 w 18306"/>
                    <a:gd name="connsiteY3" fmla="*/ 2265 h 18405"/>
                    <a:gd name="connsiteX4" fmla="*/ 16091 w 18306"/>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6091" y="15244"/>
                      </a:moveTo>
                      <a:cubicBezTo>
                        <a:pt x="12801" y="19071"/>
                        <a:pt x="7000" y="19490"/>
                        <a:pt x="3172" y="16141"/>
                      </a:cubicBezTo>
                      <a:cubicBezTo>
                        <a:pt x="-656" y="12791"/>
                        <a:pt x="-1074" y="6990"/>
                        <a:pt x="2216" y="3162"/>
                      </a:cubicBezTo>
                      <a:cubicBezTo>
                        <a:pt x="5505" y="-665"/>
                        <a:pt x="11306" y="-1084"/>
                        <a:pt x="15134" y="2265"/>
                      </a:cubicBezTo>
                      <a:cubicBezTo>
                        <a:pt x="18961" y="5615"/>
                        <a:pt x="19380" y="11416"/>
                        <a:pt x="16091" y="15244"/>
                      </a:cubicBezTo>
                      <a:close/>
                    </a:path>
                  </a:pathLst>
                </a:custGeom>
                <a:grpFill/>
                <a:ln w="5978" cap="flat">
                  <a:noFill/>
                  <a:prstDash val="solid"/>
                  <a:miter/>
                </a:ln>
              </p:spPr>
              <p:txBody>
                <a:bodyPr rtlCol="0" anchor="ctr"/>
                <a:lstStyle/>
                <a:p>
                  <a:endParaRPr lang="en-GB"/>
                </a:p>
              </p:txBody>
            </p:sp>
            <p:sp>
              <p:nvSpPr>
                <p:cNvPr id="4562" name="Vrije vorm: vorm 4561">
                  <a:extLst>
                    <a:ext uri="{FF2B5EF4-FFF2-40B4-BE49-F238E27FC236}">
                      <a16:creationId xmlns:a16="http://schemas.microsoft.com/office/drawing/2014/main" id="{271507CE-D136-4891-929C-7A984B7538AB}"/>
                    </a:ext>
                  </a:extLst>
                </p:cNvPr>
                <p:cNvSpPr/>
                <p:nvPr/>
              </p:nvSpPr>
              <p:spPr>
                <a:xfrm>
                  <a:off x="7309715" y="1714660"/>
                  <a:ext cx="18306" cy="18405"/>
                </a:xfrm>
                <a:custGeom>
                  <a:avLst/>
                  <a:gdLst>
                    <a:gd name="connsiteX0" fmla="*/ 16090 w 18306"/>
                    <a:gd name="connsiteY0" fmla="*/ 15244 h 18405"/>
                    <a:gd name="connsiteX1" fmla="*/ 15134 w 18306"/>
                    <a:gd name="connsiteY1" fmla="*/ 2265 h 18405"/>
                    <a:gd name="connsiteX2" fmla="*/ 2215 w 18306"/>
                    <a:gd name="connsiteY2" fmla="*/ 3162 h 18405"/>
                    <a:gd name="connsiteX3" fmla="*/ 3173 w 18306"/>
                    <a:gd name="connsiteY3" fmla="*/ 16141 h 18405"/>
                    <a:gd name="connsiteX4" fmla="*/ 16090 w 18306"/>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6090" y="15244"/>
                      </a:moveTo>
                      <a:cubicBezTo>
                        <a:pt x="19380" y="11416"/>
                        <a:pt x="18962" y="5615"/>
                        <a:pt x="15134" y="2265"/>
                      </a:cubicBezTo>
                      <a:cubicBezTo>
                        <a:pt x="11306" y="-1084"/>
                        <a:pt x="5505" y="-665"/>
                        <a:pt x="2215" y="3162"/>
                      </a:cubicBezTo>
                      <a:cubicBezTo>
                        <a:pt x="-1074" y="6990"/>
                        <a:pt x="-655" y="12791"/>
                        <a:pt x="3173" y="16141"/>
                      </a:cubicBezTo>
                      <a:cubicBezTo>
                        <a:pt x="7000" y="19490"/>
                        <a:pt x="12801" y="19071"/>
                        <a:pt x="16090" y="15244"/>
                      </a:cubicBezTo>
                      <a:close/>
                    </a:path>
                  </a:pathLst>
                </a:custGeom>
                <a:grpFill/>
                <a:ln w="5978" cap="flat">
                  <a:noFill/>
                  <a:prstDash val="solid"/>
                  <a:miter/>
                </a:ln>
              </p:spPr>
              <p:txBody>
                <a:bodyPr rtlCol="0" anchor="ctr"/>
                <a:lstStyle/>
                <a:p>
                  <a:endParaRPr lang="en-GB"/>
                </a:p>
              </p:txBody>
            </p:sp>
          </p:grpSp>
          <p:grpSp>
            <p:nvGrpSpPr>
              <p:cNvPr id="274" name="Graphic 3">
                <a:extLst>
                  <a:ext uri="{FF2B5EF4-FFF2-40B4-BE49-F238E27FC236}">
                    <a16:creationId xmlns:a16="http://schemas.microsoft.com/office/drawing/2014/main" id="{9BC2D491-BF5B-4EA9-B86E-E771096DA357}"/>
                  </a:ext>
                </a:extLst>
              </p:cNvPr>
              <p:cNvGrpSpPr/>
              <p:nvPr/>
            </p:nvGrpSpPr>
            <p:grpSpPr>
              <a:xfrm>
                <a:off x="7652213" y="3918528"/>
                <a:ext cx="477295" cy="205538"/>
                <a:chOff x="7652213" y="3918528"/>
                <a:chExt cx="477295" cy="205538"/>
              </a:xfrm>
              <a:grpFill/>
            </p:grpSpPr>
            <p:sp>
              <p:nvSpPr>
                <p:cNvPr id="4557" name="Vrije vorm: vorm 4556">
                  <a:extLst>
                    <a:ext uri="{FF2B5EF4-FFF2-40B4-BE49-F238E27FC236}">
                      <a16:creationId xmlns:a16="http://schemas.microsoft.com/office/drawing/2014/main" id="{F35B9995-2AC0-4566-8722-2CB94939DD97}"/>
                    </a:ext>
                  </a:extLst>
                </p:cNvPr>
                <p:cNvSpPr/>
                <p:nvPr/>
              </p:nvSpPr>
              <p:spPr>
                <a:xfrm>
                  <a:off x="7660368" y="3926204"/>
                  <a:ext cx="460933" cy="190246"/>
                </a:xfrm>
                <a:custGeom>
                  <a:avLst/>
                  <a:gdLst>
                    <a:gd name="connsiteX0" fmla="*/ 460934 w 460933"/>
                    <a:gd name="connsiteY0" fmla="*/ 187436 h 190246"/>
                    <a:gd name="connsiteX1" fmla="*/ 459798 w 460933"/>
                    <a:gd name="connsiteY1" fmla="*/ 190247 h 190246"/>
                    <a:gd name="connsiteX2" fmla="*/ 0 w 460933"/>
                    <a:gd name="connsiteY2" fmla="*/ 2811 h 190246"/>
                    <a:gd name="connsiteX3" fmla="*/ 1136 w 460933"/>
                    <a:gd name="connsiteY3" fmla="*/ 0 h 190246"/>
                  </a:gdLst>
                  <a:ahLst/>
                  <a:cxnLst>
                    <a:cxn ang="0">
                      <a:pos x="connsiteX0" y="connsiteY0"/>
                    </a:cxn>
                    <a:cxn ang="0">
                      <a:pos x="connsiteX1" y="connsiteY1"/>
                    </a:cxn>
                    <a:cxn ang="0">
                      <a:pos x="connsiteX2" y="connsiteY2"/>
                    </a:cxn>
                    <a:cxn ang="0">
                      <a:pos x="connsiteX3" y="connsiteY3"/>
                    </a:cxn>
                  </a:cxnLst>
                  <a:rect l="l" t="t" r="r" b="b"/>
                  <a:pathLst>
                    <a:path w="460933" h="190246">
                      <a:moveTo>
                        <a:pt x="460934" y="187436"/>
                      </a:moveTo>
                      <a:lnTo>
                        <a:pt x="459798" y="190247"/>
                      </a:lnTo>
                      <a:lnTo>
                        <a:pt x="0" y="2811"/>
                      </a:lnTo>
                      <a:lnTo>
                        <a:pt x="1136" y="0"/>
                      </a:lnTo>
                      <a:close/>
                    </a:path>
                  </a:pathLst>
                </a:custGeom>
                <a:grpFill/>
                <a:ln w="5978" cap="flat">
                  <a:noFill/>
                  <a:prstDash val="solid"/>
                  <a:miter/>
                </a:ln>
              </p:spPr>
              <p:txBody>
                <a:bodyPr rtlCol="0" anchor="ctr"/>
                <a:lstStyle/>
                <a:p>
                  <a:endParaRPr lang="en-GB"/>
                </a:p>
              </p:txBody>
            </p:sp>
            <p:sp>
              <p:nvSpPr>
                <p:cNvPr id="4558" name="Vrije vorm: vorm 4557">
                  <a:extLst>
                    <a:ext uri="{FF2B5EF4-FFF2-40B4-BE49-F238E27FC236}">
                      <a16:creationId xmlns:a16="http://schemas.microsoft.com/office/drawing/2014/main" id="{5A1A090E-4F53-4EFF-9E1F-6F12FFB419FF}"/>
                    </a:ext>
                  </a:extLst>
                </p:cNvPr>
                <p:cNvSpPr/>
                <p:nvPr/>
              </p:nvSpPr>
              <p:spPr>
                <a:xfrm>
                  <a:off x="7652213" y="3918528"/>
                  <a:ext cx="18342" cy="18462"/>
                </a:xfrm>
                <a:custGeom>
                  <a:avLst/>
                  <a:gdLst>
                    <a:gd name="connsiteX0" fmla="*/ 5762 w 18342"/>
                    <a:gd name="connsiteY0" fmla="*/ 17784 h 18462"/>
                    <a:gd name="connsiteX1" fmla="*/ 679 w 18342"/>
                    <a:gd name="connsiteY1" fmla="*/ 5762 h 18462"/>
                    <a:gd name="connsiteX2" fmla="*/ 12580 w 18342"/>
                    <a:gd name="connsiteY2" fmla="*/ 678 h 18462"/>
                    <a:gd name="connsiteX3" fmla="*/ 17664 w 18342"/>
                    <a:gd name="connsiteY3" fmla="*/ 12700 h 18462"/>
                    <a:gd name="connsiteX4" fmla="*/ 5762 w 18342"/>
                    <a:gd name="connsiteY4" fmla="*/ 17784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2">
                      <a:moveTo>
                        <a:pt x="5762" y="17784"/>
                      </a:moveTo>
                      <a:cubicBezTo>
                        <a:pt x="1037" y="15870"/>
                        <a:pt x="-1236" y="10487"/>
                        <a:pt x="679" y="5762"/>
                      </a:cubicBezTo>
                      <a:cubicBezTo>
                        <a:pt x="2532" y="1037"/>
                        <a:pt x="7915" y="-1235"/>
                        <a:pt x="12580" y="678"/>
                      </a:cubicBezTo>
                      <a:cubicBezTo>
                        <a:pt x="17305" y="2592"/>
                        <a:pt x="19578" y="7975"/>
                        <a:pt x="17664" y="12700"/>
                      </a:cubicBezTo>
                      <a:cubicBezTo>
                        <a:pt x="15810" y="17425"/>
                        <a:pt x="10427" y="19697"/>
                        <a:pt x="5762" y="17784"/>
                      </a:cubicBezTo>
                      <a:close/>
                    </a:path>
                  </a:pathLst>
                </a:custGeom>
                <a:grpFill/>
                <a:ln w="5978" cap="flat">
                  <a:noFill/>
                  <a:prstDash val="solid"/>
                  <a:miter/>
                </a:ln>
              </p:spPr>
              <p:txBody>
                <a:bodyPr rtlCol="0" anchor="ctr"/>
                <a:lstStyle/>
                <a:p>
                  <a:endParaRPr lang="en-GB"/>
                </a:p>
              </p:txBody>
            </p:sp>
            <p:sp>
              <p:nvSpPr>
                <p:cNvPr id="4559" name="Vrije vorm: vorm 4558">
                  <a:extLst>
                    <a:ext uri="{FF2B5EF4-FFF2-40B4-BE49-F238E27FC236}">
                      <a16:creationId xmlns:a16="http://schemas.microsoft.com/office/drawing/2014/main" id="{B0C5C3C6-088F-4ADC-9DA7-E394466B9708}"/>
                    </a:ext>
                  </a:extLst>
                </p:cNvPr>
                <p:cNvSpPr/>
                <p:nvPr/>
              </p:nvSpPr>
              <p:spPr>
                <a:xfrm>
                  <a:off x="8111174" y="4105605"/>
                  <a:ext cx="18334" cy="18461"/>
                </a:xfrm>
                <a:custGeom>
                  <a:avLst/>
                  <a:gdLst>
                    <a:gd name="connsiteX0" fmla="*/ 5762 w 18334"/>
                    <a:gd name="connsiteY0" fmla="*/ 17783 h 18461"/>
                    <a:gd name="connsiteX1" fmla="*/ 17663 w 18334"/>
                    <a:gd name="connsiteY1" fmla="*/ 12700 h 18461"/>
                    <a:gd name="connsiteX2" fmla="*/ 12580 w 18334"/>
                    <a:gd name="connsiteY2" fmla="*/ 679 h 18461"/>
                    <a:gd name="connsiteX3" fmla="*/ 678 w 18334"/>
                    <a:gd name="connsiteY3" fmla="*/ 5762 h 18461"/>
                    <a:gd name="connsiteX4" fmla="*/ 5762 w 18334"/>
                    <a:gd name="connsiteY4" fmla="*/ 17783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1">
                      <a:moveTo>
                        <a:pt x="5762" y="17783"/>
                      </a:moveTo>
                      <a:cubicBezTo>
                        <a:pt x="10487" y="19697"/>
                        <a:pt x="15810" y="17424"/>
                        <a:pt x="17663" y="12700"/>
                      </a:cubicBezTo>
                      <a:cubicBezTo>
                        <a:pt x="19578" y="7975"/>
                        <a:pt x="17245" y="2592"/>
                        <a:pt x="12580" y="679"/>
                      </a:cubicBezTo>
                      <a:cubicBezTo>
                        <a:pt x="7855" y="-1235"/>
                        <a:pt x="2532" y="1037"/>
                        <a:pt x="678" y="5762"/>
                      </a:cubicBezTo>
                      <a:cubicBezTo>
                        <a:pt x="-1235" y="10487"/>
                        <a:pt x="1037" y="15869"/>
                        <a:pt x="5762" y="17783"/>
                      </a:cubicBezTo>
                      <a:close/>
                    </a:path>
                  </a:pathLst>
                </a:custGeom>
                <a:grpFill/>
                <a:ln w="5978" cap="flat">
                  <a:noFill/>
                  <a:prstDash val="solid"/>
                  <a:miter/>
                </a:ln>
              </p:spPr>
              <p:txBody>
                <a:bodyPr rtlCol="0" anchor="ctr"/>
                <a:lstStyle/>
                <a:p>
                  <a:endParaRPr lang="en-GB"/>
                </a:p>
              </p:txBody>
            </p:sp>
          </p:grpSp>
          <p:grpSp>
            <p:nvGrpSpPr>
              <p:cNvPr id="275" name="Graphic 3">
                <a:extLst>
                  <a:ext uri="{FF2B5EF4-FFF2-40B4-BE49-F238E27FC236}">
                    <a16:creationId xmlns:a16="http://schemas.microsoft.com/office/drawing/2014/main" id="{F9B20B53-1FC8-48C5-B32E-5B4575963BA1}"/>
                  </a:ext>
                </a:extLst>
              </p:cNvPr>
              <p:cNvGrpSpPr/>
              <p:nvPr/>
            </p:nvGrpSpPr>
            <p:grpSpPr>
              <a:xfrm>
                <a:off x="7133925" y="1884259"/>
                <a:ext cx="113253" cy="140621"/>
                <a:chOff x="7133925" y="1884259"/>
                <a:chExt cx="113253" cy="140621"/>
              </a:xfrm>
              <a:grpFill/>
            </p:grpSpPr>
            <p:sp>
              <p:nvSpPr>
                <p:cNvPr id="4554" name="Vrije vorm: vorm 4553">
                  <a:extLst>
                    <a:ext uri="{FF2B5EF4-FFF2-40B4-BE49-F238E27FC236}">
                      <a16:creationId xmlns:a16="http://schemas.microsoft.com/office/drawing/2014/main" id="{E26C7EE2-0452-4A81-B16B-2E26A0BD20D5}"/>
                    </a:ext>
                  </a:extLst>
                </p:cNvPr>
                <p:cNvSpPr/>
                <p:nvPr/>
              </p:nvSpPr>
              <p:spPr>
                <a:xfrm>
                  <a:off x="7141660" y="1892161"/>
                  <a:ext cx="97844" cy="124817"/>
                </a:xfrm>
                <a:custGeom>
                  <a:avLst/>
                  <a:gdLst>
                    <a:gd name="connsiteX0" fmla="*/ 97845 w 97844"/>
                    <a:gd name="connsiteY0" fmla="*/ 1914 h 124817"/>
                    <a:gd name="connsiteX1" fmla="*/ 2392 w 97844"/>
                    <a:gd name="connsiteY1" fmla="*/ 124818 h 124817"/>
                    <a:gd name="connsiteX2" fmla="*/ 0 w 97844"/>
                    <a:gd name="connsiteY2" fmla="*/ 122904 h 124817"/>
                    <a:gd name="connsiteX3" fmla="*/ 95392 w 97844"/>
                    <a:gd name="connsiteY3" fmla="*/ 0 h 124817"/>
                  </a:gdLst>
                  <a:ahLst/>
                  <a:cxnLst>
                    <a:cxn ang="0">
                      <a:pos x="connsiteX0" y="connsiteY0"/>
                    </a:cxn>
                    <a:cxn ang="0">
                      <a:pos x="connsiteX1" y="connsiteY1"/>
                    </a:cxn>
                    <a:cxn ang="0">
                      <a:pos x="connsiteX2" y="connsiteY2"/>
                    </a:cxn>
                    <a:cxn ang="0">
                      <a:pos x="connsiteX3" y="connsiteY3"/>
                    </a:cxn>
                  </a:cxnLst>
                  <a:rect l="l" t="t" r="r" b="b"/>
                  <a:pathLst>
                    <a:path w="97844" h="124817">
                      <a:moveTo>
                        <a:pt x="97845" y="1914"/>
                      </a:moveTo>
                      <a:lnTo>
                        <a:pt x="2392" y="124818"/>
                      </a:lnTo>
                      <a:lnTo>
                        <a:pt x="0" y="122904"/>
                      </a:lnTo>
                      <a:lnTo>
                        <a:pt x="95392" y="0"/>
                      </a:lnTo>
                      <a:close/>
                    </a:path>
                  </a:pathLst>
                </a:custGeom>
                <a:grpFill/>
                <a:ln w="5978" cap="flat">
                  <a:noFill/>
                  <a:prstDash val="solid"/>
                  <a:miter/>
                </a:ln>
              </p:spPr>
              <p:txBody>
                <a:bodyPr rtlCol="0" anchor="ctr"/>
                <a:lstStyle/>
                <a:p>
                  <a:endParaRPr lang="en-GB"/>
                </a:p>
              </p:txBody>
            </p:sp>
            <p:sp>
              <p:nvSpPr>
                <p:cNvPr id="4555" name="Vrije vorm: vorm 4554">
                  <a:extLst>
                    <a:ext uri="{FF2B5EF4-FFF2-40B4-BE49-F238E27FC236}">
                      <a16:creationId xmlns:a16="http://schemas.microsoft.com/office/drawing/2014/main" id="{B8D8C03E-9352-4B72-A612-F028E197719F}"/>
                    </a:ext>
                  </a:extLst>
                </p:cNvPr>
                <p:cNvSpPr/>
                <p:nvPr/>
              </p:nvSpPr>
              <p:spPr>
                <a:xfrm>
                  <a:off x="7228840" y="1884259"/>
                  <a:ext cx="18338" cy="18435"/>
                </a:xfrm>
                <a:custGeom>
                  <a:avLst/>
                  <a:gdLst>
                    <a:gd name="connsiteX0" fmla="*/ 1933 w 18338"/>
                    <a:gd name="connsiteY0" fmla="*/ 3536 h 18435"/>
                    <a:gd name="connsiteX1" fmla="*/ 14791 w 18338"/>
                    <a:gd name="connsiteY1" fmla="*/ 1981 h 18435"/>
                    <a:gd name="connsiteX2" fmla="*/ 16406 w 18338"/>
                    <a:gd name="connsiteY2" fmla="*/ 14899 h 18435"/>
                    <a:gd name="connsiteX3" fmla="*/ 3547 w 18338"/>
                    <a:gd name="connsiteY3" fmla="*/ 16454 h 18435"/>
                    <a:gd name="connsiteX4" fmla="*/ 1933 w 18338"/>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5">
                      <a:moveTo>
                        <a:pt x="1933" y="3536"/>
                      </a:moveTo>
                      <a:cubicBezTo>
                        <a:pt x="5042" y="-471"/>
                        <a:pt x="10784" y="-1189"/>
                        <a:pt x="14791" y="1981"/>
                      </a:cubicBezTo>
                      <a:cubicBezTo>
                        <a:pt x="18798" y="5151"/>
                        <a:pt x="19516" y="10892"/>
                        <a:pt x="16406" y="14899"/>
                      </a:cubicBezTo>
                      <a:cubicBezTo>
                        <a:pt x="13296" y="18906"/>
                        <a:pt x="7555" y="19624"/>
                        <a:pt x="3547" y="16454"/>
                      </a:cubicBezTo>
                      <a:cubicBezTo>
                        <a:pt x="-459" y="13285"/>
                        <a:pt x="-1177" y="7543"/>
                        <a:pt x="1933" y="3536"/>
                      </a:cubicBezTo>
                      <a:close/>
                    </a:path>
                  </a:pathLst>
                </a:custGeom>
                <a:grpFill/>
                <a:ln w="5978" cap="flat">
                  <a:noFill/>
                  <a:prstDash val="solid"/>
                  <a:miter/>
                </a:ln>
              </p:spPr>
              <p:txBody>
                <a:bodyPr rtlCol="0" anchor="ctr"/>
                <a:lstStyle/>
                <a:p>
                  <a:endParaRPr lang="en-GB"/>
                </a:p>
              </p:txBody>
            </p:sp>
            <p:sp>
              <p:nvSpPr>
                <p:cNvPr id="4556" name="Vrije vorm: vorm 4555">
                  <a:extLst>
                    <a:ext uri="{FF2B5EF4-FFF2-40B4-BE49-F238E27FC236}">
                      <a16:creationId xmlns:a16="http://schemas.microsoft.com/office/drawing/2014/main" id="{497483F7-4474-4E9E-B293-64E25FAF515D}"/>
                    </a:ext>
                  </a:extLst>
                </p:cNvPr>
                <p:cNvSpPr/>
                <p:nvPr/>
              </p:nvSpPr>
              <p:spPr>
                <a:xfrm>
                  <a:off x="7133925" y="2006445"/>
                  <a:ext cx="18338" cy="18435"/>
                </a:xfrm>
                <a:custGeom>
                  <a:avLst/>
                  <a:gdLst>
                    <a:gd name="connsiteX0" fmla="*/ 1932 w 18338"/>
                    <a:gd name="connsiteY0" fmla="*/ 3536 h 18435"/>
                    <a:gd name="connsiteX1" fmla="*/ 3547 w 18338"/>
                    <a:gd name="connsiteY1" fmla="*/ 16454 h 18435"/>
                    <a:gd name="connsiteX2" fmla="*/ 16406 w 18338"/>
                    <a:gd name="connsiteY2" fmla="*/ 14899 h 18435"/>
                    <a:gd name="connsiteX3" fmla="*/ 14791 w 18338"/>
                    <a:gd name="connsiteY3" fmla="*/ 1981 h 18435"/>
                    <a:gd name="connsiteX4" fmla="*/ 1932 w 18338"/>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5">
                      <a:moveTo>
                        <a:pt x="1932" y="3536"/>
                      </a:moveTo>
                      <a:cubicBezTo>
                        <a:pt x="-1177" y="7543"/>
                        <a:pt x="-459" y="13344"/>
                        <a:pt x="3547" y="16454"/>
                      </a:cubicBezTo>
                      <a:cubicBezTo>
                        <a:pt x="7555" y="19624"/>
                        <a:pt x="13296" y="18906"/>
                        <a:pt x="16406" y="14899"/>
                      </a:cubicBezTo>
                      <a:cubicBezTo>
                        <a:pt x="19516" y="10892"/>
                        <a:pt x="18798" y="5091"/>
                        <a:pt x="14791" y="1981"/>
                      </a:cubicBezTo>
                      <a:cubicBezTo>
                        <a:pt x="10844" y="-1189"/>
                        <a:pt x="5043" y="-471"/>
                        <a:pt x="1932" y="3536"/>
                      </a:cubicBezTo>
                      <a:close/>
                    </a:path>
                  </a:pathLst>
                </a:custGeom>
                <a:grpFill/>
                <a:ln w="5978" cap="flat">
                  <a:noFill/>
                  <a:prstDash val="solid"/>
                  <a:miter/>
                </a:ln>
              </p:spPr>
              <p:txBody>
                <a:bodyPr rtlCol="0" anchor="ctr"/>
                <a:lstStyle/>
                <a:p>
                  <a:endParaRPr lang="en-GB"/>
                </a:p>
              </p:txBody>
            </p:sp>
          </p:grpSp>
          <p:grpSp>
            <p:nvGrpSpPr>
              <p:cNvPr id="276" name="Graphic 3">
                <a:extLst>
                  <a:ext uri="{FF2B5EF4-FFF2-40B4-BE49-F238E27FC236}">
                    <a16:creationId xmlns:a16="http://schemas.microsoft.com/office/drawing/2014/main" id="{8716C5ED-D26F-4BB6-B246-10BA973E8D31}"/>
                  </a:ext>
                </a:extLst>
              </p:cNvPr>
              <p:cNvGrpSpPr/>
              <p:nvPr/>
            </p:nvGrpSpPr>
            <p:grpSpPr>
              <a:xfrm>
                <a:off x="7194973" y="2089522"/>
                <a:ext cx="106645" cy="112466"/>
                <a:chOff x="7194973" y="2089522"/>
                <a:chExt cx="106645" cy="112466"/>
              </a:xfrm>
              <a:grpFill/>
            </p:grpSpPr>
            <p:sp>
              <p:nvSpPr>
                <p:cNvPr id="4551" name="Vrije vorm: vorm 4550">
                  <a:extLst>
                    <a:ext uri="{FF2B5EF4-FFF2-40B4-BE49-F238E27FC236}">
                      <a16:creationId xmlns:a16="http://schemas.microsoft.com/office/drawing/2014/main" id="{F0D92673-CCD2-417D-B7ED-76C2EE962E5D}"/>
                    </a:ext>
                  </a:extLst>
                </p:cNvPr>
                <p:cNvSpPr/>
                <p:nvPr/>
              </p:nvSpPr>
              <p:spPr>
                <a:xfrm>
                  <a:off x="7202723" y="2097300"/>
                  <a:ext cx="91086" cy="96827"/>
                </a:xfrm>
                <a:custGeom>
                  <a:avLst/>
                  <a:gdLst>
                    <a:gd name="connsiteX0" fmla="*/ 91086 w 91086"/>
                    <a:gd name="connsiteY0" fmla="*/ 2153 h 96827"/>
                    <a:gd name="connsiteX1" fmla="*/ 2213 w 91086"/>
                    <a:gd name="connsiteY1" fmla="*/ 96828 h 96827"/>
                    <a:gd name="connsiteX2" fmla="*/ 0 w 91086"/>
                    <a:gd name="connsiteY2" fmla="*/ 94735 h 96827"/>
                    <a:gd name="connsiteX3" fmla="*/ 88873 w 91086"/>
                    <a:gd name="connsiteY3" fmla="*/ 0 h 96827"/>
                  </a:gdLst>
                  <a:ahLst/>
                  <a:cxnLst>
                    <a:cxn ang="0">
                      <a:pos x="connsiteX0" y="connsiteY0"/>
                    </a:cxn>
                    <a:cxn ang="0">
                      <a:pos x="connsiteX1" y="connsiteY1"/>
                    </a:cxn>
                    <a:cxn ang="0">
                      <a:pos x="connsiteX2" y="connsiteY2"/>
                    </a:cxn>
                    <a:cxn ang="0">
                      <a:pos x="connsiteX3" y="connsiteY3"/>
                    </a:cxn>
                  </a:cxnLst>
                  <a:rect l="l" t="t" r="r" b="b"/>
                  <a:pathLst>
                    <a:path w="91086" h="96827">
                      <a:moveTo>
                        <a:pt x="91086" y="2153"/>
                      </a:moveTo>
                      <a:lnTo>
                        <a:pt x="2213" y="96828"/>
                      </a:lnTo>
                      <a:lnTo>
                        <a:pt x="0" y="94735"/>
                      </a:lnTo>
                      <a:lnTo>
                        <a:pt x="88873" y="0"/>
                      </a:lnTo>
                      <a:close/>
                    </a:path>
                  </a:pathLst>
                </a:custGeom>
                <a:grpFill/>
                <a:ln w="5978" cap="flat">
                  <a:noFill/>
                  <a:prstDash val="solid"/>
                  <a:miter/>
                </a:ln>
              </p:spPr>
              <p:txBody>
                <a:bodyPr rtlCol="0" anchor="ctr"/>
                <a:lstStyle/>
                <a:p>
                  <a:endParaRPr lang="en-GB"/>
                </a:p>
              </p:txBody>
            </p:sp>
            <p:sp>
              <p:nvSpPr>
                <p:cNvPr id="4552" name="Vrije vorm: vorm 4551">
                  <a:extLst>
                    <a:ext uri="{FF2B5EF4-FFF2-40B4-BE49-F238E27FC236}">
                      <a16:creationId xmlns:a16="http://schemas.microsoft.com/office/drawing/2014/main" id="{3F848C04-5094-4CFB-A888-BE8875904259}"/>
                    </a:ext>
                  </a:extLst>
                </p:cNvPr>
                <p:cNvSpPr/>
                <p:nvPr/>
              </p:nvSpPr>
              <p:spPr>
                <a:xfrm>
                  <a:off x="7283248" y="2089522"/>
                  <a:ext cx="18370" cy="18426"/>
                </a:xfrm>
                <a:custGeom>
                  <a:avLst/>
                  <a:gdLst>
                    <a:gd name="connsiteX0" fmla="*/ 2487 w 18370"/>
                    <a:gd name="connsiteY0" fmla="*/ 2874 h 18426"/>
                    <a:gd name="connsiteX1" fmla="*/ 15465 w 18370"/>
                    <a:gd name="connsiteY1" fmla="*/ 2515 h 18426"/>
                    <a:gd name="connsiteX2" fmla="*/ 15883 w 18370"/>
                    <a:gd name="connsiteY2" fmla="*/ 15553 h 18426"/>
                    <a:gd name="connsiteX3" fmla="*/ 2905 w 18370"/>
                    <a:gd name="connsiteY3" fmla="*/ 15912 h 18426"/>
                    <a:gd name="connsiteX4" fmla="*/ 2487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7" y="2874"/>
                      </a:moveTo>
                      <a:cubicBezTo>
                        <a:pt x="5955" y="-834"/>
                        <a:pt x="11757" y="-954"/>
                        <a:pt x="15465" y="2515"/>
                      </a:cubicBezTo>
                      <a:cubicBezTo>
                        <a:pt x="19173" y="5984"/>
                        <a:pt x="19352" y="11845"/>
                        <a:pt x="15883" y="15553"/>
                      </a:cubicBezTo>
                      <a:cubicBezTo>
                        <a:pt x="12415" y="19261"/>
                        <a:pt x="6613" y="19381"/>
                        <a:pt x="2905" y="15912"/>
                      </a:cubicBezTo>
                      <a:cubicBezTo>
                        <a:pt x="-803" y="12383"/>
                        <a:pt x="-982" y="6522"/>
                        <a:pt x="2487" y="2874"/>
                      </a:cubicBezTo>
                      <a:close/>
                    </a:path>
                  </a:pathLst>
                </a:custGeom>
                <a:grpFill/>
                <a:ln w="5978" cap="flat">
                  <a:noFill/>
                  <a:prstDash val="solid"/>
                  <a:miter/>
                </a:ln>
              </p:spPr>
              <p:txBody>
                <a:bodyPr rtlCol="0" anchor="ctr"/>
                <a:lstStyle/>
                <a:p>
                  <a:endParaRPr lang="en-GB"/>
                </a:p>
              </p:txBody>
            </p:sp>
            <p:sp>
              <p:nvSpPr>
                <p:cNvPr id="4553" name="Vrije vorm: vorm 4552">
                  <a:extLst>
                    <a:ext uri="{FF2B5EF4-FFF2-40B4-BE49-F238E27FC236}">
                      <a16:creationId xmlns:a16="http://schemas.microsoft.com/office/drawing/2014/main" id="{9806058B-E958-4EE1-B1FF-C656EEDEA128}"/>
                    </a:ext>
                  </a:extLst>
                </p:cNvPr>
                <p:cNvSpPr/>
                <p:nvPr/>
              </p:nvSpPr>
              <p:spPr>
                <a:xfrm>
                  <a:off x="7194973" y="2183539"/>
                  <a:ext cx="18370" cy="18449"/>
                </a:xfrm>
                <a:custGeom>
                  <a:avLst/>
                  <a:gdLst>
                    <a:gd name="connsiteX0" fmla="*/ 2487 w 18370"/>
                    <a:gd name="connsiteY0" fmla="*/ 2874 h 18449"/>
                    <a:gd name="connsiteX1" fmla="*/ 2906 w 18370"/>
                    <a:gd name="connsiteY1" fmla="*/ 15912 h 18449"/>
                    <a:gd name="connsiteX2" fmla="*/ 15883 w 18370"/>
                    <a:gd name="connsiteY2" fmla="*/ 15553 h 18449"/>
                    <a:gd name="connsiteX3" fmla="*/ 15465 w 18370"/>
                    <a:gd name="connsiteY3" fmla="*/ 2515 h 18449"/>
                    <a:gd name="connsiteX4" fmla="*/ 2487 w 18370"/>
                    <a:gd name="connsiteY4" fmla="*/ 2874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49">
                      <a:moveTo>
                        <a:pt x="2487" y="2874"/>
                      </a:moveTo>
                      <a:cubicBezTo>
                        <a:pt x="-982" y="6582"/>
                        <a:pt x="-803" y="12383"/>
                        <a:pt x="2906" y="15912"/>
                      </a:cubicBezTo>
                      <a:cubicBezTo>
                        <a:pt x="6614" y="19440"/>
                        <a:pt x="12415" y="19261"/>
                        <a:pt x="15883" y="15553"/>
                      </a:cubicBezTo>
                      <a:cubicBezTo>
                        <a:pt x="19353" y="11845"/>
                        <a:pt x="19173" y="6044"/>
                        <a:pt x="15465" y="2515"/>
                      </a:cubicBezTo>
                      <a:cubicBezTo>
                        <a:pt x="11757" y="-954"/>
                        <a:pt x="5955" y="-834"/>
                        <a:pt x="2487" y="2874"/>
                      </a:cubicBezTo>
                      <a:close/>
                    </a:path>
                  </a:pathLst>
                </a:custGeom>
                <a:grpFill/>
                <a:ln w="5978" cap="flat">
                  <a:noFill/>
                  <a:prstDash val="solid"/>
                  <a:miter/>
                </a:ln>
              </p:spPr>
              <p:txBody>
                <a:bodyPr rtlCol="0" anchor="ctr"/>
                <a:lstStyle/>
                <a:p>
                  <a:endParaRPr lang="en-GB"/>
                </a:p>
              </p:txBody>
            </p:sp>
          </p:grpSp>
          <p:grpSp>
            <p:nvGrpSpPr>
              <p:cNvPr id="277" name="Graphic 3">
                <a:extLst>
                  <a:ext uri="{FF2B5EF4-FFF2-40B4-BE49-F238E27FC236}">
                    <a16:creationId xmlns:a16="http://schemas.microsoft.com/office/drawing/2014/main" id="{C40ED6BD-ADE1-415F-B791-D788700BF215}"/>
                  </a:ext>
                </a:extLst>
              </p:cNvPr>
              <p:cNvGrpSpPr/>
              <p:nvPr/>
            </p:nvGrpSpPr>
            <p:grpSpPr>
              <a:xfrm>
                <a:off x="7703418" y="3703516"/>
                <a:ext cx="138652" cy="39942"/>
                <a:chOff x="7703418" y="3703516"/>
                <a:chExt cx="138652" cy="39942"/>
              </a:xfrm>
              <a:grpFill/>
            </p:grpSpPr>
            <p:sp>
              <p:nvSpPr>
                <p:cNvPr id="4548" name="Vrije vorm: vorm 4547">
                  <a:extLst>
                    <a:ext uri="{FF2B5EF4-FFF2-40B4-BE49-F238E27FC236}">
                      <a16:creationId xmlns:a16="http://schemas.microsoft.com/office/drawing/2014/main" id="{9EFEEA56-C9D6-40E2-AC01-8B6C96AC1812}"/>
                    </a:ext>
                  </a:extLst>
                </p:cNvPr>
                <p:cNvSpPr/>
                <p:nvPr/>
              </p:nvSpPr>
              <p:spPr>
                <a:xfrm>
                  <a:off x="7711861" y="3711137"/>
                  <a:ext cx="121707" cy="24640"/>
                </a:xfrm>
                <a:custGeom>
                  <a:avLst/>
                  <a:gdLst>
                    <a:gd name="connsiteX0" fmla="*/ 121708 w 121707"/>
                    <a:gd name="connsiteY0" fmla="*/ 21650 h 24640"/>
                    <a:gd name="connsiteX1" fmla="*/ 121229 w 121707"/>
                    <a:gd name="connsiteY1" fmla="*/ 24641 h 24640"/>
                    <a:gd name="connsiteX2" fmla="*/ 0 w 121707"/>
                    <a:gd name="connsiteY2" fmla="*/ 3050 h 24640"/>
                    <a:gd name="connsiteX3" fmla="*/ 478 w 121707"/>
                    <a:gd name="connsiteY3" fmla="*/ 0 h 24640"/>
                  </a:gdLst>
                  <a:ahLst/>
                  <a:cxnLst>
                    <a:cxn ang="0">
                      <a:pos x="connsiteX0" y="connsiteY0"/>
                    </a:cxn>
                    <a:cxn ang="0">
                      <a:pos x="connsiteX1" y="connsiteY1"/>
                    </a:cxn>
                    <a:cxn ang="0">
                      <a:pos x="connsiteX2" y="connsiteY2"/>
                    </a:cxn>
                    <a:cxn ang="0">
                      <a:pos x="connsiteX3" y="connsiteY3"/>
                    </a:cxn>
                  </a:cxnLst>
                  <a:rect l="l" t="t" r="r" b="b"/>
                  <a:pathLst>
                    <a:path w="121707" h="24640">
                      <a:moveTo>
                        <a:pt x="121708" y="21650"/>
                      </a:moveTo>
                      <a:lnTo>
                        <a:pt x="121229" y="24641"/>
                      </a:lnTo>
                      <a:lnTo>
                        <a:pt x="0" y="3050"/>
                      </a:lnTo>
                      <a:lnTo>
                        <a:pt x="478" y="0"/>
                      </a:lnTo>
                      <a:close/>
                    </a:path>
                  </a:pathLst>
                </a:custGeom>
                <a:grpFill/>
                <a:ln w="5978" cap="flat">
                  <a:noFill/>
                  <a:prstDash val="solid"/>
                  <a:miter/>
                </a:ln>
              </p:spPr>
              <p:txBody>
                <a:bodyPr rtlCol="0" anchor="ctr"/>
                <a:lstStyle/>
                <a:p>
                  <a:endParaRPr lang="en-GB"/>
                </a:p>
              </p:txBody>
            </p:sp>
            <p:sp>
              <p:nvSpPr>
                <p:cNvPr id="4549" name="Vrije vorm: vorm 4548">
                  <a:extLst>
                    <a:ext uri="{FF2B5EF4-FFF2-40B4-BE49-F238E27FC236}">
                      <a16:creationId xmlns:a16="http://schemas.microsoft.com/office/drawing/2014/main" id="{FC48F52C-5AA8-41CA-9F98-D836B05963BC}"/>
                    </a:ext>
                  </a:extLst>
                </p:cNvPr>
                <p:cNvSpPr/>
                <p:nvPr/>
              </p:nvSpPr>
              <p:spPr>
                <a:xfrm>
                  <a:off x="7823752" y="3724987"/>
                  <a:ext cx="18318" cy="18472"/>
                </a:xfrm>
                <a:custGeom>
                  <a:avLst/>
                  <a:gdLst>
                    <a:gd name="connsiteX0" fmla="*/ 10714 w 18318"/>
                    <a:gd name="connsiteY0" fmla="*/ 145 h 18472"/>
                    <a:gd name="connsiteX1" fmla="*/ 18190 w 18318"/>
                    <a:gd name="connsiteY1" fmla="*/ 10851 h 18472"/>
                    <a:gd name="connsiteX2" fmla="*/ 7604 w 18318"/>
                    <a:gd name="connsiteY2" fmla="*/ 18327 h 18472"/>
                    <a:gd name="connsiteX3" fmla="*/ 128 w 18318"/>
                    <a:gd name="connsiteY3" fmla="*/ 7621 h 18472"/>
                    <a:gd name="connsiteX4" fmla="*/ 10714 w 18318"/>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2">
                      <a:moveTo>
                        <a:pt x="10714" y="145"/>
                      </a:moveTo>
                      <a:cubicBezTo>
                        <a:pt x="15678" y="1042"/>
                        <a:pt x="19028" y="5827"/>
                        <a:pt x="18190" y="10851"/>
                      </a:cubicBezTo>
                      <a:cubicBezTo>
                        <a:pt x="17353" y="15875"/>
                        <a:pt x="12569" y="19224"/>
                        <a:pt x="7604" y="18327"/>
                      </a:cubicBezTo>
                      <a:cubicBezTo>
                        <a:pt x="2640" y="17430"/>
                        <a:pt x="-709" y="12645"/>
                        <a:pt x="128" y="7621"/>
                      </a:cubicBezTo>
                      <a:cubicBezTo>
                        <a:pt x="966" y="2597"/>
                        <a:pt x="5691" y="-752"/>
                        <a:pt x="10714" y="145"/>
                      </a:cubicBezTo>
                      <a:close/>
                    </a:path>
                  </a:pathLst>
                </a:custGeom>
                <a:grpFill/>
                <a:ln w="5978" cap="flat">
                  <a:noFill/>
                  <a:prstDash val="solid"/>
                  <a:miter/>
                </a:ln>
              </p:spPr>
              <p:txBody>
                <a:bodyPr rtlCol="0" anchor="ctr"/>
                <a:lstStyle/>
                <a:p>
                  <a:endParaRPr lang="en-GB"/>
                </a:p>
              </p:txBody>
            </p:sp>
            <p:sp>
              <p:nvSpPr>
                <p:cNvPr id="4550" name="Vrije vorm: vorm 4549">
                  <a:extLst>
                    <a:ext uri="{FF2B5EF4-FFF2-40B4-BE49-F238E27FC236}">
                      <a16:creationId xmlns:a16="http://schemas.microsoft.com/office/drawing/2014/main" id="{350476B1-0927-40CA-822F-A4AD84B0EB8E}"/>
                    </a:ext>
                  </a:extLst>
                </p:cNvPr>
                <p:cNvSpPr/>
                <p:nvPr/>
              </p:nvSpPr>
              <p:spPr>
                <a:xfrm>
                  <a:off x="7703418" y="3703516"/>
                  <a:ext cx="18320" cy="18472"/>
                </a:xfrm>
                <a:custGeom>
                  <a:avLst/>
                  <a:gdLst>
                    <a:gd name="connsiteX0" fmla="*/ 10716 w 18320"/>
                    <a:gd name="connsiteY0" fmla="*/ 145 h 18472"/>
                    <a:gd name="connsiteX1" fmla="*/ 130 w 18320"/>
                    <a:gd name="connsiteY1" fmla="*/ 7621 h 18472"/>
                    <a:gd name="connsiteX2" fmla="*/ 7606 w 18320"/>
                    <a:gd name="connsiteY2" fmla="*/ 18327 h 18472"/>
                    <a:gd name="connsiteX3" fmla="*/ 18192 w 18320"/>
                    <a:gd name="connsiteY3" fmla="*/ 10851 h 18472"/>
                    <a:gd name="connsiteX4" fmla="*/ 10716 w 18320"/>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72">
                      <a:moveTo>
                        <a:pt x="10716" y="145"/>
                      </a:moveTo>
                      <a:cubicBezTo>
                        <a:pt x="5752" y="-752"/>
                        <a:pt x="967" y="2597"/>
                        <a:pt x="130" y="7621"/>
                      </a:cubicBezTo>
                      <a:cubicBezTo>
                        <a:pt x="-707" y="12645"/>
                        <a:pt x="2582" y="17430"/>
                        <a:pt x="7606" y="18327"/>
                      </a:cubicBezTo>
                      <a:cubicBezTo>
                        <a:pt x="12570" y="19224"/>
                        <a:pt x="17355" y="15875"/>
                        <a:pt x="18192" y="10851"/>
                      </a:cubicBezTo>
                      <a:cubicBezTo>
                        <a:pt x="19029" y="5827"/>
                        <a:pt x="15680" y="1042"/>
                        <a:pt x="10716" y="145"/>
                      </a:cubicBezTo>
                      <a:close/>
                    </a:path>
                  </a:pathLst>
                </a:custGeom>
                <a:grpFill/>
                <a:ln w="5978" cap="flat">
                  <a:noFill/>
                  <a:prstDash val="solid"/>
                  <a:miter/>
                </a:ln>
              </p:spPr>
              <p:txBody>
                <a:bodyPr rtlCol="0" anchor="ctr"/>
                <a:lstStyle/>
                <a:p>
                  <a:endParaRPr lang="en-GB"/>
                </a:p>
              </p:txBody>
            </p:sp>
          </p:grpSp>
          <p:grpSp>
            <p:nvGrpSpPr>
              <p:cNvPr id="278" name="Graphic 3">
                <a:extLst>
                  <a:ext uri="{FF2B5EF4-FFF2-40B4-BE49-F238E27FC236}">
                    <a16:creationId xmlns:a16="http://schemas.microsoft.com/office/drawing/2014/main" id="{E09AEE32-DC88-4884-80FE-156A5636FBB2}"/>
                  </a:ext>
                </a:extLst>
              </p:cNvPr>
              <p:cNvGrpSpPr/>
              <p:nvPr/>
            </p:nvGrpSpPr>
            <p:grpSpPr>
              <a:xfrm>
                <a:off x="6732505" y="752574"/>
                <a:ext cx="393146" cy="956119"/>
                <a:chOff x="6732505" y="752574"/>
                <a:chExt cx="393146" cy="956119"/>
              </a:xfrm>
              <a:grpFill/>
            </p:grpSpPr>
            <p:sp>
              <p:nvSpPr>
                <p:cNvPr id="4545" name="Vrije vorm: vorm 4544">
                  <a:extLst>
                    <a:ext uri="{FF2B5EF4-FFF2-40B4-BE49-F238E27FC236}">
                      <a16:creationId xmlns:a16="http://schemas.microsoft.com/office/drawing/2014/main" id="{E2AC44D9-6688-4786-8361-7F68201C3E45}"/>
                    </a:ext>
                  </a:extLst>
                </p:cNvPr>
                <p:cNvSpPr/>
                <p:nvPr/>
              </p:nvSpPr>
              <p:spPr>
                <a:xfrm>
                  <a:off x="6740114" y="760788"/>
                  <a:ext cx="377981" cy="939690"/>
                </a:xfrm>
                <a:custGeom>
                  <a:avLst/>
                  <a:gdLst>
                    <a:gd name="connsiteX0" fmla="*/ 377981 w 377981"/>
                    <a:gd name="connsiteY0" fmla="*/ 1136 h 939690"/>
                    <a:gd name="connsiteX1" fmla="*/ 2811 w 377981"/>
                    <a:gd name="connsiteY1" fmla="*/ 939691 h 939690"/>
                    <a:gd name="connsiteX2" fmla="*/ 0 w 377981"/>
                    <a:gd name="connsiteY2" fmla="*/ 938495 h 939690"/>
                    <a:gd name="connsiteX3" fmla="*/ 375171 w 377981"/>
                    <a:gd name="connsiteY3" fmla="*/ 0 h 939690"/>
                  </a:gdLst>
                  <a:ahLst/>
                  <a:cxnLst>
                    <a:cxn ang="0">
                      <a:pos x="connsiteX0" y="connsiteY0"/>
                    </a:cxn>
                    <a:cxn ang="0">
                      <a:pos x="connsiteX1" y="connsiteY1"/>
                    </a:cxn>
                    <a:cxn ang="0">
                      <a:pos x="connsiteX2" y="connsiteY2"/>
                    </a:cxn>
                    <a:cxn ang="0">
                      <a:pos x="connsiteX3" y="connsiteY3"/>
                    </a:cxn>
                  </a:cxnLst>
                  <a:rect l="l" t="t" r="r" b="b"/>
                  <a:pathLst>
                    <a:path w="377981" h="939690">
                      <a:moveTo>
                        <a:pt x="377981" y="1136"/>
                      </a:moveTo>
                      <a:lnTo>
                        <a:pt x="2811" y="939691"/>
                      </a:lnTo>
                      <a:lnTo>
                        <a:pt x="0" y="938495"/>
                      </a:lnTo>
                      <a:lnTo>
                        <a:pt x="375171" y="0"/>
                      </a:lnTo>
                      <a:close/>
                    </a:path>
                  </a:pathLst>
                </a:custGeom>
                <a:grpFill/>
                <a:ln w="5978" cap="flat">
                  <a:noFill/>
                  <a:prstDash val="solid"/>
                  <a:miter/>
                </a:ln>
              </p:spPr>
              <p:txBody>
                <a:bodyPr rtlCol="0" anchor="ctr"/>
                <a:lstStyle/>
                <a:p>
                  <a:endParaRPr lang="en-GB"/>
                </a:p>
              </p:txBody>
            </p:sp>
            <p:sp>
              <p:nvSpPr>
                <p:cNvPr id="4546" name="Vrije vorm: vorm 4545">
                  <a:extLst>
                    <a:ext uri="{FF2B5EF4-FFF2-40B4-BE49-F238E27FC236}">
                      <a16:creationId xmlns:a16="http://schemas.microsoft.com/office/drawing/2014/main" id="{01DBB450-1D67-4AC7-893C-A844770D2749}"/>
                    </a:ext>
                  </a:extLst>
                </p:cNvPr>
                <p:cNvSpPr/>
                <p:nvPr/>
              </p:nvSpPr>
              <p:spPr>
                <a:xfrm>
                  <a:off x="7107342" y="752574"/>
                  <a:ext cx="18309" cy="18461"/>
                </a:xfrm>
                <a:custGeom>
                  <a:avLst/>
                  <a:gdLst>
                    <a:gd name="connsiteX0" fmla="*/ 646 w 18309"/>
                    <a:gd name="connsiteY0" fmla="*/ 5762 h 18461"/>
                    <a:gd name="connsiteX1" fmla="*/ 12548 w 18309"/>
                    <a:gd name="connsiteY1" fmla="*/ 679 h 18461"/>
                    <a:gd name="connsiteX2" fmla="*/ 17631 w 18309"/>
                    <a:gd name="connsiteY2" fmla="*/ 12700 h 18461"/>
                    <a:gd name="connsiteX3" fmla="*/ 5730 w 18309"/>
                    <a:gd name="connsiteY3" fmla="*/ 17783 h 18461"/>
                    <a:gd name="connsiteX4" fmla="*/ 646 w 18309"/>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646" y="5762"/>
                      </a:moveTo>
                      <a:cubicBezTo>
                        <a:pt x="2500" y="1037"/>
                        <a:pt x="7883" y="-1235"/>
                        <a:pt x="12548" y="679"/>
                      </a:cubicBezTo>
                      <a:cubicBezTo>
                        <a:pt x="17273" y="2592"/>
                        <a:pt x="19545" y="7975"/>
                        <a:pt x="17631" y="12700"/>
                      </a:cubicBezTo>
                      <a:cubicBezTo>
                        <a:pt x="15718" y="17425"/>
                        <a:pt x="10395" y="19697"/>
                        <a:pt x="5730" y="17783"/>
                      </a:cubicBezTo>
                      <a:cubicBezTo>
                        <a:pt x="1064" y="15870"/>
                        <a:pt x="-1208" y="10487"/>
                        <a:pt x="646" y="5762"/>
                      </a:cubicBezTo>
                      <a:close/>
                    </a:path>
                  </a:pathLst>
                </a:custGeom>
                <a:grpFill/>
                <a:ln w="5978" cap="flat">
                  <a:noFill/>
                  <a:prstDash val="solid"/>
                  <a:miter/>
                </a:ln>
              </p:spPr>
              <p:txBody>
                <a:bodyPr rtlCol="0" anchor="ctr"/>
                <a:lstStyle/>
                <a:p>
                  <a:endParaRPr lang="en-GB"/>
                </a:p>
              </p:txBody>
            </p:sp>
            <p:sp>
              <p:nvSpPr>
                <p:cNvPr id="4547" name="Vrije vorm: vorm 4546">
                  <a:extLst>
                    <a:ext uri="{FF2B5EF4-FFF2-40B4-BE49-F238E27FC236}">
                      <a16:creationId xmlns:a16="http://schemas.microsoft.com/office/drawing/2014/main" id="{FC88EAA8-38A6-41AD-B01E-E5CE62254B51}"/>
                    </a:ext>
                  </a:extLst>
                </p:cNvPr>
                <p:cNvSpPr/>
                <p:nvPr/>
              </p:nvSpPr>
              <p:spPr>
                <a:xfrm>
                  <a:off x="6732505" y="1690231"/>
                  <a:ext cx="18326" cy="18461"/>
                </a:xfrm>
                <a:custGeom>
                  <a:avLst/>
                  <a:gdLst>
                    <a:gd name="connsiteX0" fmla="*/ 671 w 18326"/>
                    <a:gd name="connsiteY0" fmla="*/ 5762 h 18461"/>
                    <a:gd name="connsiteX1" fmla="*/ 5755 w 18326"/>
                    <a:gd name="connsiteY1" fmla="*/ 17783 h 18461"/>
                    <a:gd name="connsiteX2" fmla="*/ 17656 w 18326"/>
                    <a:gd name="connsiteY2" fmla="*/ 12700 h 18461"/>
                    <a:gd name="connsiteX3" fmla="*/ 12572 w 18326"/>
                    <a:gd name="connsiteY3" fmla="*/ 679 h 18461"/>
                    <a:gd name="connsiteX4" fmla="*/ 671 w 18326"/>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671" y="5762"/>
                      </a:moveTo>
                      <a:cubicBezTo>
                        <a:pt x="-1243" y="10487"/>
                        <a:pt x="1089" y="15870"/>
                        <a:pt x="5755" y="17783"/>
                      </a:cubicBezTo>
                      <a:cubicBezTo>
                        <a:pt x="10479" y="19697"/>
                        <a:pt x="15802" y="17425"/>
                        <a:pt x="17656" y="12700"/>
                      </a:cubicBezTo>
                      <a:cubicBezTo>
                        <a:pt x="19570" y="7975"/>
                        <a:pt x="17237" y="2592"/>
                        <a:pt x="12572" y="679"/>
                      </a:cubicBezTo>
                      <a:cubicBezTo>
                        <a:pt x="7908" y="-1235"/>
                        <a:pt x="2585" y="1037"/>
                        <a:pt x="671" y="5762"/>
                      </a:cubicBezTo>
                      <a:close/>
                    </a:path>
                  </a:pathLst>
                </a:custGeom>
                <a:grpFill/>
                <a:ln w="5978" cap="flat">
                  <a:noFill/>
                  <a:prstDash val="solid"/>
                  <a:miter/>
                </a:ln>
              </p:spPr>
              <p:txBody>
                <a:bodyPr rtlCol="0" anchor="ctr"/>
                <a:lstStyle/>
                <a:p>
                  <a:endParaRPr lang="en-GB"/>
                </a:p>
              </p:txBody>
            </p:sp>
          </p:grpSp>
          <p:grpSp>
            <p:nvGrpSpPr>
              <p:cNvPr id="279" name="Graphic 3">
                <a:extLst>
                  <a:ext uri="{FF2B5EF4-FFF2-40B4-BE49-F238E27FC236}">
                    <a16:creationId xmlns:a16="http://schemas.microsoft.com/office/drawing/2014/main" id="{42C5F576-5C26-4A53-AE9F-D20F8D280BC9}"/>
                  </a:ext>
                </a:extLst>
              </p:cNvPr>
              <p:cNvGrpSpPr/>
              <p:nvPr/>
            </p:nvGrpSpPr>
            <p:grpSpPr>
              <a:xfrm>
                <a:off x="7681234" y="3828927"/>
                <a:ext cx="288761" cy="123929"/>
                <a:chOff x="7681234" y="3828927"/>
                <a:chExt cx="288761" cy="123929"/>
              </a:xfrm>
              <a:grpFill/>
            </p:grpSpPr>
            <p:sp>
              <p:nvSpPr>
                <p:cNvPr id="4542" name="Vrije vorm: vorm 4541">
                  <a:extLst>
                    <a:ext uri="{FF2B5EF4-FFF2-40B4-BE49-F238E27FC236}">
                      <a16:creationId xmlns:a16="http://schemas.microsoft.com/office/drawing/2014/main" id="{34E3DC64-CA7A-4FD3-9D05-885BFE6C96E3}"/>
                    </a:ext>
                  </a:extLst>
                </p:cNvPr>
                <p:cNvSpPr/>
                <p:nvPr/>
              </p:nvSpPr>
              <p:spPr>
                <a:xfrm>
                  <a:off x="7689434" y="3836553"/>
                  <a:ext cx="272362" cy="108669"/>
                </a:xfrm>
                <a:custGeom>
                  <a:avLst/>
                  <a:gdLst>
                    <a:gd name="connsiteX0" fmla="*/ 272362 w 272362"/>
                    <a:gd name="connsiteY0" fmla="*/ 105799 h 108669"/>
                    <a:gd name="connsiteX1" fmla="*/ 271285 w 272362"/>
                    <a:gd name="connsiteY1" fmla="*/ 108670 h 108669"/>
                    <a:gd name="connsiteX2" fmla="*/ 0 w 272362"/>
                    <a:gd name="connsiteY2" fmla="*/ 2811 h 108669"/>
                    <a:gd name="connsiteX3" fmla="*/ 1077 w 272362"/>
                    <a:gd name="connsiteY3" fmla="*/ 0 h 108669"/>
                  </a:gdLst>
                  <a:ahLst/>
                  <a:cxnLst>
                    <a:cxn ang="0">
                      <a:pos x="connsiteX0" y="connsiteY0"/>
                    </a:cxn>
                    <a:cxn ang="0">
                      <a:pos x="connsiteX1" y="connsiteY1"/>
                    </a:cxn>
                    <a:cxn ang="0">
                      <a:pos x="connsiteX2" y="connsiteY2"/>
                    </a:cxn>
                    <a:cxn ang="0">
                      <a:pos x="connsiteX3" y="connsiteY3"/>
                    </a:cxn>
                  </a:cxnLst>
                  <a:rect l="l" t="t" r="r" b="b"/>
                  <a:pathLst>
                    <a:path w="272362" h="108669">
                      <a:moveTo>
                        <a:pt x="272362" y="105799"/>
                      </a:moveTo>
                      <a:lnTo>
                        <a:pt x="271285" y="108670"/>
                      </a:lnTo>
                      <a:lnTo>
                        <a:pt x="0" y="2811"/>
                      </a:lnTo>
                      <a:lnTo>
                        <a:pt x="1077" y="0"/>
                      </a:lnTo>
                      <a:close/>
                    </a:path>
                  </a:pathLst>
                </a:custGeom>
                <a:grpFill/>
                <a:ln w="5978" cap="flat">
                  <a:noFill/>
                  <a:prstDash val="solid"/>
                  <a:miter/>
                </a:ln>
              </p:spPr>
              <p:txBody>
                <a:bodyPr rtlCol="0" anchor="ctr"/>
                <a:lstStyle/>
                <a:p>
                  <a:endParaRPr lang="en-GB"/>
                </a:p>
              </p:txBody>
            </p:sp>
            <p:sp>
              <p:nvSpPr>
                <p:cNvPr id="4543" name="Vrije vorm: vorm 4542">
                  <a:extLst>
                    <a:ext uri="{FF2B5EF4-FFF2-40B4-BE49-F238E27FC236}">
                      <a16:creationId xmlns:a16="http://schemas.microsoft.com/office/drawing/2014/main" id="{F50F9A66-895F-4450-B6DC-59649B71CE84}"/>
                    </a:ext>
                  </a:extLst>
                </p:cNvPr>
                <p:cNvSpPr/>
                <p:nvPr/>
              </p:nvSpPr>
              <p:spPr>
                <a:xfrm>
                  <a:off x="7681234" y="3828927"/>
                  <a:ext cx="18313" cy="18421"/>
                </a:xfrm>
                <a:custGeom>
                  <a:avLst/>
                  <a:gdLst>
                    <a:gd name="connsiteX0" fmla="*/ 5867 w 18313"/>
                    <a:gd name="connsiteY0" fmla="*/ 17793 h 18421"/>
                    <a:gd name="connsiteX1" fmla="*/ 604 w 18313"/>
                    <a:gd name="connsiteY1" fmla="*/ 5892 h 18421"/>
                    <a:gd name="connsiteX2" fmla="*/ 12446 w 18313"/>
                    <a:gd name="connsiteY2" fmla="*/ 629 h 18421"/>
                    <a:gd name="connsiteX3" fmla="*/ 17709 w 18313"/>
                    <a:gd name="connsiteY3" fmla="*/ 12530 h 18421"/>
                    <a:gd name="connsiteX4" fmla="*/ 5867 w 18313"/>
                    <a:gd name="connsiteY4" fmla="*/ 1779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1">
                      <a:moveTo>
                        <a:pt x="5867" y="17793"/>
                      </a:moveTo>
                      <a:cubicBezTo>
                        <a:pt x="1142" y="15939"/>
                        <a:pt x="-1190" y="10617"/>
                        <a:pt x="604" y="5892"/>
                      </a:cubicBezTo>
                      <a:cubicBezTo>
                        <a:pt x="2399" y="1167"/>
                        <a:pt x="7722" y="-1225"/>
                        <a:pt x="12446" y="629"/>
                      </a:cubicBezTo>
                      <a:cubicBezTo>
                        <a:pt x="17171" y="2483"/>
                        <a:pt x="19503" y="7806"/>
                        <a:pt x="17709" y="12530"/>
                      </a:cubicBezTo>
                      <a:cubicBezTo>
                        <a:pt x="15915" y="17255"/>
                        <a:pt x="10592" y="19647"/>
                        <a:pt x="5867" y="17793"/>
                      </a:cubicBezTo>
                      <a:close/>
                    </a:path>
                  </a:pathLst>
                </a:custGeom>
                <a:grpFill/>
                <a:ln w="5978" cap="flat">
                  <a:noFill/>
                  <a:prstDash val="solid"/>
                  <a:miter/>
                </a:ln>
              </p:spPr>
              <p:txBody>
                <a:bodyPr rtlCol="0" anchor="ctr"/>
                <a:lstStyle/>
                <a:p>
                  <a:endParaRPr lang="en-GB"/>
                </a:p>
              </p:txBody>
            </p:sp>
            <p:sp>
              <p:nvSpPr>
                <p:cNvPr id="4544" name="Vrije vorm: vorm 4543">
                  <a:extLst>
                    <a:ext uri="{FF2B5EF4-FFF2-40B4-BE49-F238E27FC236}">
                      <a16:creationId xmlns:a16="http://schemas.microsoft.com/office/drawing/2014/main" id="{B2A0D9DB-815D-4C3C-BF82-9ACA199A1624}"/>
                    </a:ext>
                  </a:extLst>
                </p:cNvPr>
                <p:cNvSpPr/>
                <p:nvPr/>
              </p:nvSpPr>
              <p:spPr>
                <a:xfrm>
                  <a:off x="7951682" y="3934427"/>
                  <a:ext cx="18313" cy="18429"/>
                </a:xfrm>
                <a:custGeom>
                  <a:avLst/>
                  <a:gdLst>
                    <a:gd name="connsiteX0" fmla="*/ 5867 w 18313"/>
                    <a:gd name="connsiteY0" fmla="*/ 17793 h 18429"/>
                    <a:gd name="connsiteX1" fmla="*/ 17710 w 18313"/>
                    <a:gd name="connsiteY1" fmla="*/ 12530 h 18429"/>
                    <a:gd name="connsiteX2" fmla="*/ 12446 w 18313"/>
                    <a:gd name="connsiteY2" fmla="*/ 629 h 18429"/>
                    <a:gd name="connsiteX3" fmla="*/ 604 w 18313"/>
                    <a:gd name="connsiteY3" fmla="*/ 5892 h 18429"/>
                    <a:gd name="connsiteX4" fmla="*/ 5867 w 18313"/>
                    <a:gd name="connsiteY4" fmla="*/ 1779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9">
                      <a:moveTo>
                        <a:pt x="5867" y="17793"/>
                      </a:moveTo>
                      <a:cubicBezTo>
                        <a:pt x="10592" y="19647"/>
                        <a:pt x="15915" y="17315"/>
                        <a:pt x="17710" y="12530"/>
                      </a:cubicBezTo>
                      <a:cubicBezTo>
                        <a:pt x="19503" y="7806"/>
                        <a:pt x="17171" y="2423"/>
                        <a:pt x="12446" y="629"/>
                      </a:cubicBezTo>
                      <a:cubicBezTo>
                        <a:pt x="7721" y="-1225"/>
                        <a:pt x="2399" y="1167"/>
                        <a:pt x="604" y="5892"/>
                      </a:cubicBezTo>
                      <a:cubicBezTo>
                        <a:pt x="-1190" y="10556"/>
                        <a:pt x="1143" y="15939"/>
                        <a:pt x="5867" y="17793"/>
                      </a:cubicBezTo>
                      <a:close/>
                    </a:path>
                  </a:pathLst>
                </a:custGeom>
                <a:grpFill/>
                <a:ln w="5978" cap="flat">
                  <a:noFill/>
                  <a:prstDash val="solid"/>
                  <a:miter/>
                </a:ln>
              </p:spPr>
              <p:txBody>
                <a:bodyPr rtlCol="0" anchor="ctr"/>
                <a:lstStyle/>
                <a:p>
                  <a:endParaRPr lang="en-GB"/>
                </a:p>
              </p:txBody>
            </p:sp>
          </p:grpSp>
          <p:grpSp>
            <p:nvGrpSpPr>
              <p:cNvPr id="280" name="Graphic 3">
                <a:extLst>
                  <a:ext uri="{FF2B5EF4-FFF2-40B4-BE49-F238E27FC236}">
                    <a16:creationId xmlns:a16="http://schemas.microsoft.com/office/drawing/2014/main" id="{44445E11-5AF2-4DEF-9938-AE8ED22238FD}"/>
                  </a:ext>
                </a:extLst>
              </p:cNvPr>
              <p:cNvGrpSpPr/>
              <p:nvPr/>
            </p:nvGrpSpPr>
            <p:grpSpPr>
              <a:xfrm>
                <a:off x="6957668" y="1440073"/>
                <a:ext cx="209294" cy="359212"/>
                <a:chOff x="6957668" y="1440073"/>
                <a:chExt cx="209294" cy="359212"/>
              </a:xfrm>
              <a:grpFill/>
            </p:grpSpPr>
            <p:sp>
              <p:nvSpPr>
                <p:cNvPr id="4539" name="Vrije vorm: vorm 4538">
                  <a:extLst>
                    <a:ext uri="{FF2B5EF4-FFF2-40B4-BE49-F238E27FC236}">
                      <a16:creationId xmlns:a16="http://schemas.microsoft.com/office/drawing/2014/main" id="{95EA9E8D-484D-48EB-89DE-E917D72E1823}"/>
                    </a:ext>
                  </a:extLst>
                </p:cNvPr>
                <p:cNvSpPr/>
                <p:nvPr/>
              </p:nvSpPr>
              <p:spPr>
                <a:xfrm>
                  <a:off x="6965288" y="1448152"/>
                  <a:ext cx="194074" cy="343054"/>
                </a:xfrm>
                <a:custGeom>
                  <a:avLst/>
                  <a:gdLst>
                    <a:gd name="connsiteX0" fmla="*/ 194074 w 194074"/>
                    <a:gd name="connsiteY0" fmla="*/ 1495 h 343054"/>
                    <a:gd name="connsiteX1" fmla="*/ 2631 w 194074"/>
                    <a:gd name="connsiteY1" fmla="*/ 343054 h 343054"/>
                    <a:gd name="connsiteX2" fmla="*/ 0 w 194074"/>
                    <a:gd name="connsiteY2" fmla="*/ 341559 h 343054"/>
                    <a:gd name="connsiteX3" fmla="*/ 191383 w 194074"/>
                    <a:gd name="connsiteY3" fmla="*/ 0 h 343054"/>
                  </a:gdLst>
                  <a:ahLst/>
                  <a:cxnLst>
                    <a:cxn ang="0">
                      <a:pos x="connsiteX0" y="connsiteY0"/>
                    </a:cxn>
                    <a:cxn ang="0">
                      <a:pos x="connsiteX1" y="connsiteY1"/>
                    </a:cxn>
                    <a:cxn ang="0">
                      <a:pos x="connsiteX2" y="connsiteY2"/>
                    </a:cxn>
                    <a:cxn ang="0">
                      <a:pos x="connsiteX3" y="connsiteY3"/>
                    </a:cxn>
                  </a:cxnLst>
                  <a:rect l="l" t="t" r="r" b="b"/>
                  <a:pathLst>
                    <a:path w="194074" h="343054">
                      <a:moveTo>
                        <a:pt x="194074" y="1495"/>
                      </a:moveTo>
                      <a:lnTo>
                        <a:pt x="2631" y="343054"/>
                      </a:lnTo>
                      <a:lnTo>
                        <a:pt x="0" y="341559"/>
                      </a:lnTo>
                      <a:lnTo>
                        <a:pt x="191383" y="0"/>
                      </a:lnTo>
                      <a:close/>
                    </a:path>
                  </a:pathLst>
                </a:custGeom>
                <a:grpFill/>
                <a:ln w="5978" cap="flat">
                  <a:noFill/>
                  <a:prstDash val="solid"/>
                  <a:miter/>
                </a:ln>
              </p:spPr>
              <p:txBody>
                <a:bodyPr rtlCol="0" anchor="ctr"/>
                <a:lstStyle/>
                <a:p>
                  <a:endParaRPr lang="en-GB"/>
                </a:p>
              </p:txBody>
            </p:sp>
            <p:sp>
              <p:nvSpPr>
                <p:cNvPr id="4540" name="Vrije vorm: vorm 4539">
                  <a:extLst>
                    <a:ext uri="{FF2B5EF4-FFF2-40B4-BE49-F238E27FC236}">
                      <a16:creationId xmlns:a16="http://schemas.microsoft.com/office/drawing/2014/main" id="{2F11BA9A-A33C-48B8-A789-2FD96AF6AC44}"/>
                    </a:ext>
                  </a:extLst>
                </p:cNvPr>
                <p:cNvSpPr/>
                <p:nvPr/>
              </p:nvSpPr>
              <p:spPr>
                <a:xfrm>
                  <a:off x="7148631" y="1440073"/>
                  <a:ext cx="18332" cy="18431"/>
                </a:xfrm>
                <a:custGeom>
                  <a:avLst/>
                  <a:gdLst>
                    <a:gd name="connsiteX0" fmla="*/ 1162 w 18332"/>
                    <a:gd name="connsiteY0" fmla="*/ 4670 h 18431"/>
                    <a:gd name="connsiteX1" fmla="*/ 13662 w 18332"/>
                    <a:gd name="connsiteY1" fmla="*/ 1201 h 18431"/>
                    <a:gd name="connsiteX2" fmla="*/ 17130 w 18332"/>
                    <a:gd name="connsiteY2" fmla="*/ 13761 h 18431"/>
                    <a:gd name="connsiteX3" fmla="*/ 4631 w 18332"/>
                    <a:gd name="connsiteY3" fmla="*/ 17230 h 18431"/>
                    <a:gd name="connsiteX4" fmla="*/ 1162 w 18332"/>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31">
                      <a:moveTo>
                        <a:pt x="1162" y="4670"/>
                      </a:moveTo>
                      <a:cubicBezTo>
                        <a:pt x="3615" y="245"/>
                        <a:pt x="9236" y="-1310"/>
                        <a:pt x="13662" y="1201"/>
                      </a:cubicBezTo>
                      <a:cubicBezTo>
                        <a:pt x="18088" y="3713"/>
                        <a:pt x="19643" y="9335"/>
                        <a:pt x="17130" y="13761"/>
                      </a:cubicBezTo>
                      <a:cubicBezTo>
                        <a:pt x="14679" y="18187"/>
                        <a:pt x="9057" y="19742"/>
                        <a:pt x="4631" y="17230"/>
                      </a:cubicBezTo>
                      <a:cubicBezTo>
                        <a:pt x="265" y="14718"/>
                        <a:pt x="-1290" y="9096"/>
                        <a:pt x="1162" y="4670"/>
                      </a:cubicBezTo>
                      <a:close/>
                    </a:path>
                  </a:pathLst>
                </a:custGeom>
                <a:grpFill/>
                <a:ln w="5978" cap="flat">
                  <a:noFill/>
                  <a:prstDash val="solid"/>
                  <a:miter/>
                </a:ln>
              </p:spPr>
              <p:txBody>
                <a:bodyPr rtlCol="0" anchor="ctr"/>
                <a:lstStyle/>
                <a:p>
                  <a:endParaRPr lang="en-GB"/>
                </a:p>
              </p:txBody>
            </p:sp>
            <p:sp>
              <p:nvSpPr>
                <p:cNvPr id="4541" name="Vrije vorm: vorm 4540">
                  <a:extLst>
                    <a:ext uri="{FF2B5EF4-FFF2-40B4-BE49-F238E27FC236}">
                      <a16:creationId xmlns:a16="http://schemas.microsoft.com/office/drawing/2014/main" id="{FE6FBC05-85D4-4F3A-8887-34AD4A4C59B4}"/>
                    </a:ext>
                  </a:extLst>
                </p:cNvPr>
                <p:cNvSpPr/>
                <p:nvPr/>
              </p:nvSpPr>
              <p:spPr>
                <a:xfrm>
                  <a:off x="6957668" y="1780854"/>
                  <a:ext cx="18349" cy="18431"/>
                </a:xfrm>
                <a:custGeom>
                  <a:avLst/>
                  <a:gdLst>
                    <a:gd name="connsiteX0" fmla="*/ 1160 w 18349"/>
                    <a:gd name="connsiteY0" fmla="*/ 4670 h 18431"/>
                    <a:gd name="connsiteX1" fmla="*/ 4689 w 18349"/>
                    <a:gd name="connsiteY1" fmla="*/ 17230 h 18431"/>
                    <a:gd name="connsiteX2" fmla="*/ 17189 w 18349"/>
                    <a:gd name="connsiteY2" fmla="*/ 13761 h 18431"/>
                    <a:gd name="connsiteX3" fmla="*/ 13660 w 18349"/>
                    <a:gd name="connsiteY3" fmla="*/ 1202 h 18431"/>
                    <a:gd name="connsiteX4" fmla="*/ 1160 w 18349"/>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1160" y="4670"/>
                      </a:moveTo>
                      <a:cubicBezTo>
                        <a:pt x="-1292" y="9096"/>
                        <a:pt x="263" y="14718"/>
                        <a:pt x="4689" y="17230"/>
                      </a:cubicBezTo>
                      <a:cubicBezTo>
                        <a:pt x="9115" y="19742"/>
                        <a:pt x="14677" y="18187"/>
                        <a:pt x="17189" y="13761"/>
                      </a:cubicBezTo>
                      <a:cubicBezTo>
                        <a:pt x="19641" y="9335"/>
                        <a:pt x="18086" y="3713"/>
                        <a:pt x="13660" y="1202"/>
                      </a:cubicBezTo>
                      <a:cubicBezTo>
                        <a:pt x="9234" y="-1310"/>
                        <a:pt x="3672" y="245"/>
                        <a:pt x="1160" y="4670"/>
                      </a:cubicBezTo>
                      <a:close/>
                    </a:path>
                  </a:pathLst>
                </a:custGeom>
                <a:grpFill/>
                <a:ln w="5978" cap="flat">
                  <a:noFill/>
                  <a:prstDash val="solid"/>
                  <a:miter/>
                </a:ln>
              </p:spPr>
              <p:txBody>
                <a:bodyPr rtlCol="0" anchor="ctr"/>
                <a:lstStyle/>
                <a:p>
                  <a:endParaRPr lang="en-GB"/>
                </a:p>
              </p:txBody>
            </p:sp>
          </p:grpSp>
          <p:grpSp>
            <p:nvGrpSpPr>
              <p:cNvPr id="281" name="Graphic 3">
                <a:extLst>
                  <a:ext uri="{FF2B5EF4-FFF2-40B4-BE49-F238E27FC236}">
                    <a16:creationId xmlns:a16="http://schemas.microsoft.com/office/drawing/2014/main" id="{B964A8C5-7DD6-478D-8D58-862B40268E1F}"/>
                  </a:ext>
                </a:extLst>
              </p:cNvPr>
              <p:cNvGrpSpPr/>
              <p:nvPr/>
            </p:nvGrpSpPr>
            <p:grpSpPr>
              <a:xfrm>
                <a:off x="7008149" y="1578587"/>
                <a:ext cx="172885" cy="271533"/>
                <a:chOff x="7008149" y="1578587"/>
                <a:chExt cx="172885" cy="271533"/>
              </a:xfrm>
              <a:grpFill/>
            </p:grpSpPr>
            <p:sp>
              <p:nvSpPr>
                <p:cNvPr id="4536" name="Vrije vorm: vorm 4535">
                  <a:extLst>
                    <a:ext uri="{FF2B5EF4-FFF2-40B4-BE49-F238E27FC236}">
                      <a16:creationId xmlns:a16="http://schemas.microsoft.com/office/drawing/2014/main" id="{31217CA4-DBA8-4312-9EE5-758ECD854431}"/>
                    </a:ext>
                  </a:extLst>
                </p:cNvPr>
                <p:cNvSpPr/>
                <p:nvPr/>
              </p:nvSpPr>
              <p:spPr>
                <a:xfrm>
                  <a:off x="7015765" y="1586606"/>
                  <a:ext cx="157651" cy="255496"/>
                </a:xfrm>
                <a:custGeom>
                  <a:avLst/>
                  <a:gdLst>
                    <a:gd name="connsiteX0" fmla="*/ 157652 w 157651"/>
                    <a:gd name="connsiteY0" fmla="*/ 1615 h 255496"/>
                    <a:gd name="connsiteX1" fmla="*/ 2632 w 157651"/>
                    <a:gd name="connsiteY1" fmla="*/ 255496 h 255496"/>
                    <a:gd name="connsiteX2" fmla="*/ 0 w 157651"/>
                    <a:gd name="connsiteY2" fmla="*/ 253882 h 255496"/>
                    <a:gd name="connsiteX3" fmla="*/ 155021 w 157651"/>
                    <a:gd name="connsiteY3" fmla="*/ 0 h 255496"/>
                  </a:gdLst>
                  <a:ahLst/>
                  <a:cxnLst>
                    <a:cxn ang="0">
                      <a:pos x="connsiteX0" y="connsiteY0"/>
                    </a:cxn>
                    <a:cxn ang="0">
                      <a:pos x="connsiteX1" y="connsiteY1"/>
                    </a:cxn>
                    <a:cxn ang="0">
                      <a:pos x="connsiteX2" y="connsiteY2"/>
                    </a:cxn>
                    <a:cxn ang="0">
                      <a:pos x="connsiteX3" y="connsiteY3"/>
                    </a:cxn>
                  </a:cxnLst>
                  <a:rect l="l" t="t" r="r" b="b"/>
                  <a:pathLst>
                    <a:path w="157651" h="255496">
                      <a:moveTo>
                        <a:pt x="157652" y="1615"/>
                      </a:moveTo>
                      <a:lnTo>
                        <a:pt x="2632" y="255496"/>
                      </a:lnTo>
                      <a:lnTo>
                        <a:pt x="0" y="253882"/>
                      </a:lnTo>
                      <a:lnTo>
                        <a:pt x="155021" y="0"/>
                      </a:lnTo>
                      <a:close/>
                    </a:path>
                  </a:pathLst>
                </a:custGeom>
                <a:grpFill/>
                <a:ln w="5978" cap="flat">
                  <a:noFill/>
                  <a:prstDash val="solid"/>
                  <a:miter/>
                </a:ln>
              </p:spPr>
              <p:txBody>
                <a:bodyPr rtlCol="0" anchor="ctr"/>
                <a:lstStyle/>
                <a:p>
                  <a:endParaRPr lang="en-GB"/>
                </a:p>
              </p:txBody>
            </p:sp>
            <p:sp>
              <p:nvSpPr>
                <p:cNvPr id="4537" name="Vrije vorm: vorm 4536">
                  <a:extLst>
                    <a:ext uri="{FF2B5EF4-FFF2-40B4-BE49-F238E27FC236}">
                      <a16:creationId xmlns:a16="http://schemas.microsoft.com/office/drawing/2014/main" id="{BAC3FAD4-506D-4FF7-8445-04D426107C04}"/>
                    </a:ext>
                  </a:extLst>
                </p:cNvPr>
                <p:cNvSpPr/>
                <p:nvPr/>
              </p:nvSpPr>
              <p:spPr>
                <a:xfrm>
                  <a:off x="7162690" y="1578587"/>
                  <a:ext cx="18343" cy="18429"/>
                </a:xfrm>
                <a:custGeom>
                  <a:avLst/>
                  <a:gdLst>
                    <a:gd name="connsiteX0" fmla="*/ 1337 w 18343"/>
                    <a:gd name="connsiteY0" fmla="*/ 4370 h 18429"/>
                    <a:gd name="connsiteX1" fmla="*/ 13957 w 18343"/>
                    <a:gd name="connsiteY1" fmla="*/ 1380 h 18429"/>
                    <a:gd name="connsiteX2" fmla="*/ 17007 w 18343"/>
                    <a:gd name="connsiteY2" fmla="*/ 14059 h 18429"/>
                    <a:gd name="connsiteX3" fmla="*/ 4388 w 18343"/>
                    <a:gd name="connsiteY3" fmla="*/ 17050 h 18429"/>
                    <a:gd name="connsiteX4" fmla="*/ 1337 w 18343"/>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9">
                      <a:moveTo>
                        <a:pt x="1337" y="4370"/>
                      </a:moveTo>
                      <a:cubicBezTo>
                        <a:pt x="3968" y="64"/>
                        <a:pt x="9651" y="-1311"/>
                        <a:pt x="13957" y="1380"/>
                      </a:cubicBezTo>
                      <a:cubicBezTo>
                        <a:pt x="18262" y="4071"/>
                        <a:pt x="19638" y="9753"/>
                        <a:pt x="17007" y="14059"/>
                      </a:cubicBezTo>
                      <a:cubicBezTo>
                        <a:pt x="14375" y="18365"/>
                        <a:pt x="8693" y="19741"/>
                        <a:pt x="4388" y="17050"/>
                      </a:cubicBezTo>
                      <a:cubicBezTo>
                        <a:pt x="81" y="14358"/>
                        <a:pt x="-1295" y="8677"/>
                        <a:pt x="1337" y="4370"/>
                      </a:cubicBezTo>
                      <a:close/>
                    </a:path>
                  </a:pathLst>
                </a:custGeom>
                <a:grpFill/>
                <a:ln w="5978" cap="flat">
                  <a:noFill/>
                  <a:prstDash val="solid"/>
                  <a:miter/>
                </a:ln>
              </p:spPr>
              <p:txBody>
                <a:bodyPr rtlCol="0" anchor="ctr"/>
                <a:lstStyle/>
                <a:p>
                  <a:endParaRPr lang="en-GB"/>
                </a:p>
              </p:txBody>
            </p:sp>
            <p:sp>
              <p:nvSpPr>
                <p:cNvPr id="4538" name="Vrije vorm: vorm 4537">
                  <a:extLst>
                    <a:ext uri="{FF2B5EF4-FFF2-40B4-BE49-F238E27FC236}">
                      <a16:creationId xmlns:a16="http://schemas.microsoft.com/office/drawing/2014/main" id="{6CBAA045-2019-4ED0-8D02-1045E72999E9}"/>
                    </a:ext>
                  </a:extLst>
                </p:cNvPr>
                <p:cNvSpPr/>
                <p:nvPr/>
              </p:nvSpPr>
              <p:spPr>
                <a:xfrm>
                  <a:off x="7008149" y="1831691"/>
                  <a:ext cx="18343" cy="18429"/>
                </a:xfrm>
                <a:custGeom>
                  <a:avLst/>
                  <a:gdLst>
                    <a:gd name="connsiteX0" fmla="*/ 1337 w 18343"/>
                    <a:gd name="connsiteY0" fmla="*/ 4370 h 18429"/>
                    <a:gd name="connsiteX1" fmla="*/ 4387 w 18343"/>
                    <a:gd name="connsiteY1" fmla="*/ 17050 h 18429"/>
                    <a:gd name="connsiteX2" fmla="*/ 17007 w 18343"/>
                    <a:gd name="connsiteY2" fmla="*/ 14059 h 18429"/>
                    <a:gd name="connsiteX3" fmla="*/ 13957 w 18343"/>
                    <a:gd name="connsiteY3" fmla="*/ 1380 h 18429"/>
                    <a:gd name="connsiteX4" fmla="*/ 1337 w 18343"/>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9">
                      <a:moveTo>
                        <a:pt x="1337" y="4370"/>
                      </a:moveTo>
                      <a:cubicBezTo>
                        <a:pt x="-1295" y="8677"/>
                        <a:pt x="81" y="14358"/>
                        <a:pt x="4387" y="17050"/>
                      </a:cubicBezTo>
                      <a:cubicBezTo>
                        <a:pt x="8693" y="19741"/>
                        <a:pt x="14375" y="18365"/>
                        <a:pt x="17007" y="14059"/>
                      </a:cubicBezTo>
                      <a:cubicBezTo>
                        <a:pt x="19638" y="9753"/>
                        <a:pt x="18262" y="4071"/>
                        <a:pt x="13957" y="1380"/>
                      </a:cubicBezTo>
                      <a:cubicBezTo>
                        <a:pt x="9650" y="-1311"/>
                        <a:pt x="4028" y="64"/>
                        <a:pt x="1337" y="4370"/>
                      </a:cubicBezTo>
                      <a:close/>
                    </a:path>
                  </a:pathLst>
                </a:custGeom>
                <a:grpFill/>
                <a:ln w="5978" cap="flat">
                  <a:noFill/>
                  <a:prstDash val="solid"/>
                  <a:miter/>
                </a:ln>
              </p:spPr>
              <p:txBody>
                <a:bodyPr rtlCol="0" anchor="ctr"/>
                <a:lstStyle/>
                <a:p>
                  <a:endParaRPr lang="en-GB"/>
                </a:p>
              </p:txBody>
            </p:sp>
          </p:grpSp>
          <p:grpSp>
            <p:nvGrpSpPr>
              <p:cNvPr id="282" name="Graphic 3">
                <a:extLst>
                  <a:ext uri="{FF2B5EF4-FFF2-40B4-BE49-F238E27FC236}">
                    <a16:creationId xmlns:a16="http://schemas.microsoft.com/office/drawing/2014/main" id="{8B245A52-3C41-43FB-9A01-0250A17100D6}"/>
                  </a:ext>
                </a:extLst>
              </p:cNvPr>
              <p:cNvGrpSpPr/>
              <p:nvPr/>
            </p:nvGrpSpPr>
            <p:grpSpPr>
              <a:xfrm>
                <a:off x="7617533" y="4040055"/>
                <a:ext cx="570799" cy="285684"/>
                <a:chOff x="7617533" y="4040055"/>
                <a:chExt cx="570799" cy="285684"/>
              </a:xfrm>
              <a:grpFill/>
            </p:grpSpPr>
            <p:sp>
              <p:nvSpPr>
                <p:cNvPr id="4533" name="Vrije vorm: vorm 4532">
                  <a:extLst>
                    <a:ext uri="{FF2B5EF4-FFF2-40B4-BE49-F238E27FC236}">
                      <a16:creationId xmlns:a16="http://schemas.microsoft.com/office/drawing/2014/main" id="{33F90B23-13DC-45E8-A6A1-10281B71C885}"/>
                    </a:ext>
                  </a:extLst>
                </p:cNvPr>
                <p:cNvSpPr/>
                <p:nvPr/>
              </p:nvSpPr>
              <p:spPr>
                <a:xfrm>
                  <a:off x="7625619" y="4047673"/>
                  <a:ext cx="554652" cy="270448"/>
                </a:xfrm>
                <a:custGeom>
                  <a:avLst/>
                  <a:gdLst>
                    <a:gd name="connsiteX0" fmla="*/ 554652 w 554652"/>
                    <a:gd name="connsiteY0" fmla="*/ 267697 h 270448"/>
                    <a:gd name="connsiteX1" fmla="*/ 553337 w 554652"/>
                    <a:gd name="connsiteY1" fmla="*/ 270448 h 270448"/>
                    <a:gd name="connsiteX2" fmla="*/ 0 w 554652"/>
                    <a:gd name="connsiteY2" fmla="*/ 2811 h 270448"/>
                    <a:gd name="connsiteX3" fmla="*/ 1316 w 554652"/>
                    <a:gd name="connsiteY3" fmla="*/ 0 h 270448"/>
                  </a:gdLst>
                  <a:ahLst/>
                  <a:cxnLst>
                    <a:cxn ang="0">
                      <a:pos x="connsiteX0" y="connsiteY0"/>
                    </a:cxn>
                    <a:cxn ang="0">
                      <a:pos x="connsiteX1" y="connsiteY1"/>
                    </a:cxn>
                    <a:cxn ang="0">
                      <a:pos x="connsiteX2" y="connsiteY2"/>
                    </a:cxn>
                    <a:cxn ang="0">
                      <a:pos x="connsiteX3" y="connsiteY3"/>
                    </a:cxn>
                  </a:cxnLst>
                  <a:rect l="l" t="t" r="r" b="b"/>
                  <a:pathLst>
                    <a:path w="554652" h="270448">
                      <a:moveTo>
                        <a:pt x="554652" y="267697"/>
                      </a:moveTo>
                      <a:lnTo>
                        <a:pt x="553337" y="270448"/>
                      </a:lnTo>
                      <a:lnTo>
                        <a:pt x="0" y="2811"/>
                      </a:lnTo>
                      <a:lnTo>
                        <a:pt x="1316" y="0"/>
                      </a:lnTo>
                      <a:close/>
                    </a:path>
                  </a:pathLst>
                </a:custGeom>
                <a:grpFill/>
                <a:ln w="5978" cap="flat">
                  <a:noFill/>
                  <a:prstDash val="solid"/>
                  <a:miter/>
                </a:ln>
              </p:spPr>
              <p:txBody>
                <a:bodyPr rtlCol="0" anchor="ctr"/>
                <a:lstStyle/>
                <a:p>
                  <a:endParaRPr lang="en-GB"/>
                </a:p>
              </p:txBody>
            </p:sp>
            <p:sp>
              <p:nvSpPr>
                <p:cNvPr id="4534" name="Vrije vorm: vorm 4533">
                  <a:extLst>
                    <a:ext uri="{FF2B5EF4-FFF2-40B4-BE49-F238E27FC236}">
                      <a16:creationId xmlns:a16="http://schemas.microsoft.com/office/drawing/2014/main" id="{F53495A0-BCF6-4691-A8A5-12DBDE4962A4}"/>
                    </a:ext>
                  </a:extLst>
                </p:cNvPr>
                <p:cNvSpPr/>
                <p:nvPr/>
              </p:nvSpPr>
              <p:spPr>
                <a:xfrm>
                  <a:off x="7617533" y="4040055"/>
                  <a:ext cx="18326" cy="18455"/>
                </a:xfrm>
                <a:custGeom>
                  <a:avLst/>
                  <a:gdLst>
                    <a:gd name="connsiteX0" fmla="*/ 5216 w 18326"/>
                    <a:gd name="connsiteY0" fmla="*/ 17546 h 18455"/>
                    <a:gd name="connsiteX1" fmla="*/ 910 w 18326"/>
                    <a:gd name="connsiteY1" fmla="*/ 5226 h 18455"/>
                    <a:gd name="connsiteX2" fmla="*/ 13111 w 18326"/>
                    <a:gd name="connsiteY2" fmla="*/ 920 h 18455"/>
                    <a:gd name="connsiteX3" fmla="*/ 17416 w 18326"/>
                    <a:gd name="connsiteY3" fmla="*/ 13240 h 18455"/>
                    <a:gd name="connsiteX4" fmla="*/ 5216 w 18326"/>
                    <a:gd name="connsiteY4" fmla="*/ 17546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5">
                      <a:moveTo>
                        <a:pt x="5216" y="17546"/>
                      </a:moveTo>
                      <a:cubicBezTo>
                        <a:pt x="670" y="15333"/>
                        <a:pt x="-1303" y="9831"/>
                        <a:pt x="910" y="5226"/>
                      </a:cubicBezTo>
                      <a:cubicBezTo>
                        <a:pt x="3063" y="620"/>
                        <a:pt x="8565" y="-1293"/>
                        <a:pt x="13111" y="920"/>
                      </a:cubicBezTo>
                      <a:cubicBezTo>
                        <a:pt x="17656" y="3133"/>
                        <a:pt x="19629" y="8635"/>
                        <a:pt x="17416" y="13240"/>
                      </a:cubicBezTo>
                      <a:cubicBezTo>
                        <a:pt x="15204" y="17785"/>
                        <a:pt x="9761" y="19759"/>
                        <a:pt x="5216" y="17546"/>
                      </a:cubicBezTo>
                      <a:close/>
                    </a:path>
                  </a:pathLst>
                </a:custGeom>
                <a:grpFill/>
                <a:ln w="5978" cap="flat">
                  <a:noFill/>
                  <a:prstDash val="solid"/>
                  <a:miter/>
                </a:ln>
              </p:spPr>
              <p:txBody>
                <a:bodyPr rtlCol="0" anchor="ctr"/>
                <a:lstStyle/>
                <a:p>
                  <a:endParaRPr lang="en-GB"/>
                </a:p>
              </p:txBody>
            </p:sp>
            <p:sp>
              <p:nvSpPr>
                <p:cNvPr id="4535" name="Vrije vorm: vorm 4534">
                  <a:extLst>
                    <a:ext uri="{FF2B5EF4-FFF2-40B4-BE49-F238E27FC236}">
                      <a16:creationId xmlns:a16="http://schemas.microsoft.com/office/drawing/2014/main" id="{E0BA9743-84B1-4263-B24F-0B5D38C9BA21}"/>
                    </a:ext>
                  </a:extLst>
                </p:cNvPr>
                <p:cNvSpPr/>
                <p:nvPr/>
              </p:nvSpPr>
              <p:spPr>
                <a:xfrm>
                  <a:off x="8170022" y="4307273"/>
                  <a:ext cx="18310" cy="18465"/>
                </a:xfrm>
                <a:custGeom>
                  <a:avLst/>
                  <a:gdLst>
                    <a:gd name="connsiteX0" fmla="*/ 5226 w 18310"/>
                    <a:gd name="connsiteY0" fmla="*/ 17546 h 18465"/>
                    <a:gd name="connsiteX1" fmla="*/ 17427 w 18310"/>
                    <a:gd name="connsiteY1" fmla="*/ 13240 h 18465"/>
                    <a:gd name="connsiteX2" fmla="*/ 13121 w 18310"/>
                    <a:gd name="connsiteY2" fmla="*/ 920 h 18465"/>
                    <a:gd name="connsiteX3" fmla="*/ 920 w 18310"/>
                    <a:gd name="connsiteY3" fmla="*/ 5226 h 18465"/>
                    <a:gd name="connsiteX4" fmla="*/ 5226 w 18310"/>
                    <a:gd name="connsiteY4" fmla="*/ 17546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65">
                      <a:moveTo>
                        <a:pt x="5226" y="17546"/>
                      </a:moveTo>
                      <a:cubicBezTo>
                        <a:pt x="9771" y="19759"/>
                        <a:pt x="15274" y="17845"/>
                        <a:pt x="17427" y="13240"/>
                      </a:cubicBezTo>
                      <a:cubicBezTo>
                        <a:pt x="19580" y="8635"/>
                        <a:pt x="17666" y="3133"/>
                        <a:pt x="13121" y="920"/>
                      </a:cubicBezTo>
                      <a:cubicBezTo>
                        <a:pt x="8575" y="-1293"/>
                        <a:pt x="3073" y="621"/>
                        <a:pt x="920" y="5226"/>
                      </a:cubicBezTo>
                      <a:cubicBezTo>
                        <a:pt x="-1293" y="9831"/>
                        <a:pt x="620" y="15333"/>
                        <a:pt x="5226" y="17546"/>
                      </a:cubicBezTo>
                      <a:close/>
                    </a:path>
                  </a:pathLst>
                </a:custGeom>
                <a:grpFill/>
                <a:ln w="5978" cap="flat">
                  <a:noFill/>
                  <a:prstDash val="solid"/>
                  <a:miter/>
                </a:ln>
              </p:spPr>
              <p:txBody>
                <a:bodyPr rtlCol="0" anchor="ctr"/>
                <a:lstStyle/>
                <a:p>
                  <a:endParaRPr lang="en-GB"/>
                </a:p>
              </p:txBody>
            </p:sp>
          </p:grpSp>
          <p:grpSp>
            <p:nvGrpSpPr>
              <p:cNvPr id="283" name="Graphic 3">
                <a:extLst>
                  <a:ext uri="{FF2B5EF4-FFF2-40B4-BE49-F238E27FC236}">
                    <a16:creationId xmlns:a16="http://schemas.microsoft.com/office/drawing/2014/main" id="{3FCFB503-C664-49A4-B337-E5113600A962}"/>
                  </a:ext>
                </a:extLst>
              </p:cNvPr>
              <p:cNvGrpSpPr/>
              <p:nvPr/>
            </p:nvGrpSpPr>
            <p:grpSpPr>
              <a:xfrm>
                <a:off x="7782377" y="3995099"/>
                <a:ext cx="161773" cy="66871"/>
                <a:chOff x="7782377" y="3995099"/>
                <a:chExt cx="161773" cy="66871"/>
              </a:xfrm>
              <a:grpFill/>
            </p:grpSpPr>
            <p:sp>
              <p:nvSpPr>
                <p:cNvPr id="4530" name="Vrije vorm: vorm 4529">
                  <a:extLst>
                    <a:ext uri="{FF2B5EF4-FFF2-40B4-BE49-F238E27FC236}">
                      <a16:creationId xmlns:a16="http://schemas.microsoft.com/office/drawing/2014/main" id="{5CC1C546-B243-4F7E-BCF2-1097694EC5B1}"/>
                    </a:ext>
                  </a:extLst>
                </p:cNvPr>
                <p:cNvSpPr/>
                <p:nvPr/>
              </p:nvSpPr>
              <p:spPr>
                <a:xfrm>
                  <a:off x="7790688" y="4002698"/>
                  <a:ext cx="145211" cy="51673"/>
                </a:xfrm>
                <a:custGeom>
                  <a:avLst/>
                  <a:gdLst>
                    <a:gd name="connsiteX0" fmla="*/ 145211 w 145211"/>
                    <a:gd name="connsiteY0" fmla="*/ 48803 h 51673"/>
                    <a:gd name="connsiteX1" fmla="*/ 144255 w 145211"/>
                    <a:gd name="connsiteY1" fmla="*/ 51674 h 51673"/>
                    <a:gd name="connsiteX2" fmla="*/ 0 w 145211"/>
                    <a:gd name="connsiteY2" fmla="*/ 2871 h 51673"/>
                    <a:gd name="connsiteX3" fmla="*/ 956 w 145211"/>
                    <a:gd name="connsiteY3" fmla="*/ 0 h 51673"/>
                  </a:gdLst>
                  <a:ahLst/>
                  <a:cxnLst>
                    <a:cxn ang="0">
                      <a:pos x="connsiteX0" y="connsiteY0"/>
                    </a:cxn>
                    <a:cxn ang="0">
                      <a:pos x="connsiteX1" y="connsiteY1"/>
                    </a:cxn>
                    <a:cxn ang="0">
                      <a:pos x="connsiteX2" y="connsiteY2"/>
                    </a:cxn>
                    <a:cxn ang="0">
                      <a:pos x="connsiteX3" y="connsiteY3"/>
                    </a:cxn>
                  </a:cxnLst>
                  <a:rect l="l" t="t" r="r" b="b"/>
                  <a:pathLst>
                    <a:path w="145211" h="51673">
                      <a:moveTo>
                        <a:pt x="145211" y="48803"/>
                      </a:moveTo>
                      <a:lnTo>
                        <a:pt x="144255" y="51674"/>
                      </a:lnTo>
                      <a:lnTo>
                        <a:pt x="0" y="2871"/>
                      </a:lnTo>
                      <a:lnTo>
                        <a:pt x="956" y="0"/>
                      </a:lnTo>
                      <a:close/>
                    </a:path>
                  </a:pathLst>
                </a:custGeom>
                <a:grpFill/>
                <a:ln w="5978" cap="flat">
                  <a:noFill/>
                  <a:prstDash val="solid"/>
                  <a:miter/>
                </a:ln>
              </p:spPr>
              <p:txBody>
                <a:bodyPr rtlCol="0" anchor="ctr"/>
                <a:lstStyle/>
                <a:p>
                  <a:endParaRPr lang="en-GB"/>
                </a:p>
              </p:txBody>
            </p:sp>
            <p:sp>
              <p:nvSpPr>
                <p:cNvPr id="4531" name="Vrije vorm: vorm 4530">
                  <a:extLst>
                    <a:ext uri="{FF2B5EF4-FFF2-40B4-BE49-F238E27FC236}">
                      <a16:creationId xmlns:a16="http://schemas.microsoft.com/office/drawing/2014/main" id="{2311ADB6-CD48-4AED-9252-A688EDA4A0B6}"/>
                    </a:ext>
                  </a:extLst>
                </p:cNvPr>
                <p:cNvSpPr/>
                <p:nvPr/>
              </p:nvSpPr>
              <p:spPr>
                <a:xfrm>
                  <a:off x="7925794" y="4043549"/>
                  <a:ext cx="18356" cy="18421"/>
                </a:xfrm>
                <a:custGeom>
                  <a:avLst/>
                  <a:gdLst>
                    <a:gd name="connsiteX0" fmla="*/ 12079 w 18356"/>
                    <a:gd name="connsiteY0" fmla="*/ 476 h 18421"/>
                    <a:gd name="connsiteX1" fmla="*/ 17880 w 18356"/>
                    <a:gd name="connsiteY1" fmla="*/ 12138 h 18421"/>
                    <a:gd name="connsiteX2" fmla="*/ 6277 w 18356"/>
                    <a:gd name="connsiteY2" fmla="*/ 17940 h 18421"/>
                    <a:gd name="connsiteX3" fmla="*/ 476 w 18356"/>
                    <a:gd name="connsiteY3" fmla="*/ 6277 h 18421"/>
                    <a:gd name="connsiteX4" fmla="*/ 12079 w 18356"/>
                    <a:gd name="connsiteY4" fmla="*/ 476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1">
                      <a:moveTo>
                        <a:pt x="12079" y="476"/>
                      </a:moveTo>
                      <a:cubicBezTo>
                        <a:pt x="16863" y="2091"/>
                        <a:pt x="19495" y="7354"/>
                        <a:pt x="17880" y="12138"/>
                      </a:cubicBezTo>
                      <a:cubicBezTo>
                        <a:pt x="16265" y="16983"/>
                        <a:pt x="11122" y="19554"/>
                        <a:pt x="6277" y="17940"/>
                      </a:cubicBezTo>
                      <a:cubicBezTo>
                        <a:pt x="1493" y="16325"/>
                        <a:pt x="-1139" y="11062"/>
                        <a:pt x="476" y="6277"/>
                      </a:cubicBezTo>
                      <a:cubicBezTo>
                        <a:pt x="2091" y="1493"/>
                        <a:pt x="7294" y="-1139"/>
                        <a:pt x="12079" y="476"/>
                      </a:cubicBezTo>
                      <a:close/>
                    </a:path>
                  </a:pathLst>
                </a:custGeom>
                <a:grpFill/>
                <a:ln w="5978" cap="flat">
                  <a:noFill/>
                  <a:prstDash val="solid"/>
                  <a:miter/>
                </a:ln>
              </p:spPr>
              <p:txBody>
                <a:bodyPr rtlCol="0" anchor="ctr"/>
                <a:lstStyle/>
                <a:p>
                  <a:endParaRPr lang="en-GB"/>
                </a:p>
              </p:txBody>
            </p:sp>
            <p:sp>
              <p:nvSpPr>
                <p:cNvPr id="4532" name="Vrije vorm: vorm 4531">
                  <a:extLst>
                    <a:ext uri="{FF2B5EF4-FFF2-40B4-BE49-F238E27FC236}">
                      <a16:creationId xmlns:a16="http://schemas.microsoft.com/office/drawing/2014/main" id="{5055E401-AFD3-4994-8377-D9E9789084D6}"/>
                    </a:ext>
                  </a:extLst>
                </p:cNvPr>
                <p:cNvSpPr/>
                <p:nvPr/>
              </p:nvSpPr>
              <p:spPr>
                <a:xfrm>
                  <a:off x="7782377" y="3995099"/>
                  <a:ext cx="18356" cy="18427"/>
                </a:xfrm>
                <a:custGeom>
                  <a:avLst/>
                  <a:gdLst>
                    <a:gd name="connsiteX0" fmla="*/ 12079 w 18356"/>
                    <a:gd name="connsiteY0" fmla="*/ 482 h 18427"/>
                    <a:gd name="connsiteX1" fmla="*/ 476 w 18356"/>
                    <a:gd name="connsiteY1" fmla="*/ 6283 h 18427"/>
                    <a:gd name="connsiteX2" fmla="*/ 6277 w 18356"/>
                    <a:gd name="connsiteY2" fmla="*/ 17945 h 18427"/>
                    <a:gd name="connsiteX3" fmla="*/ 17880 w 18356"/>
                    <a:gd name="connsiteY3" fmla="*/ 12144 h 18427"/>
                    <a:gd name="connsiteX4" fmla="*/ 12079 w 18356"/>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7">
                      <a:moveTo>
                        <a:pt x="12079" y="482"/>
                      </a:moveTo>
                      <a:cubicBezTo>
                        <a:pt x="7294" y="-1133"/>
                        <a:pt x="2091" y="1439"/>
                        <a:pt x="476" y="6283"/>
                      </a:cubicBezTo>
                      <a:cubicBezTo>
                        <a:pt x="-1139" y="11128"/>
                        <a:pt x="1493" y="16331"/>
                        <a:pt x="6277" y="17945"/>
                      </a:cubicBezTo>
                      <a:cubicBezTo>
                        <a:pt x="11062" y="19560"/>
                        <a:pt x="16265" y="16989"/>
                        <a:pt x="17880" y="12144"/>
                      </a:cubicBezTo>
                      <a:cubicBezTo>
                        <a:pt x="19495" y="7300"/>
                        <a:pt x="16863" y="2097"/>
                        <a:pt x="12079" y="482"/>
                      </a:cubicBezTo>
                      <a:close/>
                    </a:path>
                  </a:pathLst>
                </a:custGeom>
                <a:grpFill/>
                <a:ln w="5978" cap="flat">
                  <a:noFill/>
                  <a:prstDash val="solid"/>
                  <a:miter/>
                </a:ln>
              </p:spPr>
              <p:txBody>
                <a:bodyPr rtlCol="0" anchor="ctr"/>
                <a:lstStyle/>
                <a:p>
                  <a:endParaRPr lang="en-GB"/>
                </a:p>
              </p:txBody>
            </p:sp>
          </p:grpSp>
          <p:grpSp>
            <p:nvGrpSpPr>
              <p:cNvPr id="284" name="Graphic 3">
                <a:extLst>
                  <a:ext uri="{FF2B5EF4-FFF2-40B4-BE49-F238E27FC236}">
                    <a16:creationId xmlns:a16="http://schemas.microsoft.com/office/drawing/2014/main" id="{82A9027D-17C4-400E-B043-5A3A644AF549}"/>
                  </a:ext>
                </a:extLst>
              </p:cNvPr>
              <p:cNvGrpSpPr/>
              <p:nvPr/>
            </p:nvGrpSpPr>
            <p:grpSpPr>
              <a:xfrm>
                <a:off x="7696802" y="3734354"/>
                <a:ext cx="144650" cy="43353"/>
                <a:chOff x="7696802" y="3734354"/>
                <a:chExt cx="144650" cy="43353"/>
              </a:xfrm>
              <a:grpFill/>
            </p:grpSpPr>
            <p:sp>
              <p:nvSpPr>
                <p:cNvPr id="4527" name="Vrije vorm: vorm 4526">
                  <a:extLst>
                    <a:ext uri="{FF2B5EF4-FFF2-40B4-BE49-F238E27FC236}">
                      <a16:creationId xmlns:a16="http://schemas.microsoft.com/office/drawing/2014/main" id="{28AB5553-F0F1-4E99-A4EC-9C5AECC19524}"/>
                    </a:ext>
                  </a:extLst>
                </p:cNvPr>
                <p:cNvSpPr/>
                <p:nvPr/>
              </p:nvSpPr>
              <p:spPr>
                <a:xfrm>
                  <a:off x="7705223" y="3741938"/>
                  <a:ext cx="127808" cy="28169"/>
                </a:xfrm>
                <a:custGeom>
                  <a:avLst/>
                  <a:gdLst>
                    <a:gd name="connsiteX0" fmla="*/ 127808 w 127808"/>
                    <a:gd name="connsiteY0" fmla="*/ 25179 h 28169"/>
                    <a:gd name="connsiteX1" fmla="*/ 127210 w 127808"/>
                    <a:gd name="connsiteY1" fmla="*/ 28169 h 28169"/>
                    <a:gd name="connsiteX2" fmla="*/ 0 w 127808"/>
                    <a:gd name="connsiteY2" fmla="*/ 3050 h 28169"/>
                    <a:gd name="connsiteX3" fmla="*/ 538 w 127808"/>
                    <a:gd name="connsiteY3" fmla="*/ 0 h 28169"/>
                  </a:gdLst>
                  <a:ahLst/>
                  <a:cxnLst>
                    <a:cxn ang="0">
                      <a:pos x="connsiteX0" y="connsiteY0"/>
                    </a:cxn>
                    <a:cxn ang="0">
                      <a:pos x="connsiteX1" y="connsiteY1"/>
                    </a:cxn>
                    <a:cxn ang="0">
                      <a:pos x="connsiteX2" y="connsiteY2"/>
                    </a:cxn>
                    <a:cxn ang="0">
                      <a:pos x="connsiteX3" y="connsiteY3"/>
                    </a:cxn>
                  </a:cxnLst>
                  <a:rect l="l" t="t" r="r" b="b"/>
                  <a:pathLst>
                    <a:path w="127808" h="28169">
                      <a:moveTo>
                        <a:pt x="127808" y="25179"/>
                      </a:moveTo>
                      <a:lnTo>
                        <a:pt x="127210" y="28169"/>
                      </a:lnTo>
                      <a:lnTo>
                        <a:pt x="0" y="3050"/>
                      </a:lnTo>
                      <a:lnTo>
                        <a:pt x="538" y="0"/>
                      </a:lnTo>
                      <a:close/>
                    </a:path>
                  </a:pathLst>
                </a:custGeom>
                <a:grpFill/>
                <a:ln w="5978" cap="flat">
                  <a:noFill/>
                  <a:prstDash val="solid"/>
                  <a:miter/>
                </a:ln>
              </p:spPr>
              <p:txBody>
                <a:bodyPr rtlCol="0" anchor="ctr"/>
                <a:lstStyle/>
                <a:p>
                  <a:endParaRPr lang="en-GB"/>
                </a:p>
              </p:txBody>
            </p:sp>
            <p:sp>
              <p:nvSpPr>
                <p:cNvPr id="4528" name="Vrije vorm: vorm 4527">
                  <a:extLst>
                    <a:ext uri="{FF2B5EF4-FFF2-40B4-BE49-F238E27FC236}">
                      <a16:creationId xmlns:a16="http://schemas.microsoft.com/office/drawing/2014/main" id="{9CDA4584-7D13-4C11-AA27-34300ED24056}"/>
                    </a:ext>
                  </a:extLst>
                </p:cNvPr>
                <p:cNvSpPr/>
                <p:nvPr/>
              </p:nvSpPr>
              <p:spPr>
                <a:xfrm>
                  <a:off x="7823174" y="3759294"/>
                  <a:ext cx="18278" cy="18414"/>
                </a:xfrm>
                <a:custGeom>
                  <a:avLst/>
                  <a:gdLst>
                    <a:gd name="connsiteX0" fmla="*/ 10874 w 18278"/>
                    <a:gd name="connsiteY0" fmla="*/ 168 h 18414"/>
                    <a:gd name="connsiteX1" fmla="*/ 18110 w 18278"/>
                    <a:gd name="connsiteY1" fmla="*/ 10993 h 18414"/>
                    <a:gd name="connsiteX2" fmla="*/ 7404 w 18278"/>
                    <a:gd name="connsiteY2" fmla="*/ 18230 h 18414"/>
                    <a:gd name="connsiteX3" fmla="*/ 168 w 18278"/>
                    <a:gd name="connsiteY3" fmla="*/ 7405 h 18414"/>
                    <a:gd name="connsiteX4" fmla="*/ 10874 w 18278"/>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8" h="18414">
                      <a:moveTo>
                        <a:pt x="10874" y="168"/>
                      </a:moveTo>
                      <a:cubicBezTo>
                        <a:pt x="15837" y="1125"/>
                        <a:pt x="19067" y="5969"/>
                        <a:pt x="18110" y="10993"/>
                      </a:cubicBezTo>
                      <a:cubicBezTo>
                        <a:pt x="17153" y="15957"/>
                        <a:pt x="12369" y="19246"/>
                        <a:pt x="7404" y="18230"/>
                      </a:cubicBezTo>
                      <a:cubicBezTo>
                        <a:pt x="2441" y="17273"/>
                        <a:pt x="-789" y="12428"/>
                        <a:pt x="168" y="7405"/>
                      </a:cubicBezTo>
                      <a:cubicBezTo>
                        <a:pt x="1065" y="2440"/>
                        <a:pt x="5909" y="-789"/>
                        <a:pt x="10874" y="168"/>
                      </a:cubicBezTo>
                      <a:close/>
                    </a:path>
                  </a:pathLst>
                </a:custGeom>
                <a:grpFill/>
                <a:ln w="5978" cap="flat">
                  <a:noFill/>
                  <a:prstDash val="solid"/>
                  <a:miter/>
                </a:ln>
              </p:spPr>
              <p:txBody>
                <a:bodyPr rtlCol="0" anchor="ctr"/>
                <a:lstStyle/>
                <a:p>
                  <a:endParaRPr lang="en-GB"/>
                </a:p>
              </p:txBody>
            </p:sp>
            <p:sp>
              <p:nvSpPr>
                <p:cNvPr id="4529" name="Vrije vorm: vorm 4528">
                  <a:extLst>
                    <a:ext uri="{FF2B5EF4-FFF2-40B4-BE49-F238E27FC236}">
                      <a16:creationId xmlns:a16="http://schemas.microsoft.com/office/drawing/2014/main" id="{0649736C-E1F3-4286-9A1C-016EDAC7FE5B}"/>
                    </a:ext>
                  </a:extLst>
                </p:cNvPr>
                <p:cNvSpPr/>
                <p:nvPr/>
              </p:nvSpPr>
              <p:spPr>
                <a:xfrm>
                  <a:off x="7696802" y="3734354"/>
                  <a:ext cx="18294" cy="18397"/>
                </a:xfrm>
                <a:custGeom>
                  <a:avLst/>
                  <a:gdLst>
                    <a:gd name="connsiteX0" fmla="*/ 10874 w 18294"/>
                    <a:gd name="connsiteY0" fmla="*/ 168 h 18397"/>
                    <a:gd name="connsiteX1" fmla="*/ 168 w 18294"/>
                    <a:gd name="connsiteY1" fmla="*/ 7405 h 18397"/>
                    <a:gd name="connsiteX2" fmla="*/ 7404 w 18294"/>
                    <a:gd name="connsiteY2" fmla="*/ 18230 h 18397"/>
                    <a:gd name="connsiteX3" fmla="*/ 18110 w 18294"/>
                    <a:gd name="connsiteY3" fmla="*/ 10993 h 18397"/>
                    <a:gd name="connsiteX4" fmla="*/ 10874 w 18294"/>
                    <a:gd name="connsiteY4" fmla="*/ 168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397">
                      <a:moveTo>
                        <a:pt x="10874" y="168"/>
                      </a:moveTo>
                      <a:cubicBezTo>
                        <a:pt x="5909" y="-789"/>
                        <a:pt x="1125" y="2441"/>
                        <a:pt x="168" y="7405"/>
                      </a:cubicBezTo>
                      <a:cubicBezTo>
                        <a:pt x="-789" y="12369"/>
                        <a:pt x="2441" y="17213"/>
                        <a:pt x="7404" y="18230"/>
                      </a:cubicBezTo>
                      <a:cubicBezTo>
                        <a:pt x="12369" y="19187"/>
                        <a:pt x="17153" y="15957"/>
                        <a:pt x="18110" y="10993"/>
                      </a:cubicBezTo>
                      <a:cubicBezTo>
                        <a:pt x="19127" y="5969"/>
                        <a:pt x="15837" y="1125"/>
                        <a:pt x="10874" y="168"/>
                      </a:cubicBezTo>
                      <a:close/>
                    </a:path>
                  </a:pathLst>
                </a:custGeom>
                <a:grpFill/>
                <a:ln w="5978" cap="flat">
                  <a:noFill/>
                  <a:prstDash val="solid"/>
                  <a:miter/>
                </a:ln>
              </p:spPr>
              <p:txBody>
                <a:bodyPr rtlCol="0" anchor="ctr"/>
                <a:lstStyle/>
                <a:p>
                  <a:endParaRPr lang="en-GB"/>
                </a:p>
              </p:txBody>
            </p:sp>
          </p:grpSp>
          <p:grpSp>
            <p:nvGrpSpPr>
              <p:cNvPr id="285" name="Graphic 3">
                <a:extLst>
                  <a:ext uri="{FF2B5EF4-FFF2-40B4-BE49-F238E27FC236}">
                    <a16:creationId xmlns:a16="http://schemas.microsoft.com/office/drawing/2014/main" id="{48DB1AC5-4353-4FF4-81B1-8A4FB1EA548B}"/>
                  </a:ext>
                </a:extLst>
              </p:cNvPr>
              <p:cNvGrpSpPr/>
              <p:nvPr/>
            </p:nvGrpSpPr>
            <p:grpSpPr>
              <a:xfrm>
                <a:off x="7596107" y="4099627"/>
                <a:ext cx="727012" cy="384406"/>
                <a:chOff x="7596107" y="4099627"/>
                <a:chExt cx="727012" cy="384406"/>
              </a:xfrm>
              <a:grpFill/>
            </p:grpSpPr>
            <p:sp>
              <p:nvSpPr>
                <p:cNvPr id="4524" name="Vrije vorm: vorm 4523">
                  <a:extLst>
                    <a:ext uri="{FF2B5EF4-FFF2-40B4-BE49-F238E27FC236}">
                      <a16:creationId xmlns:a16="http://schemas.microsoft.com/office/drawing/2014/main" id="{6AF4B1EB-1CFC-4D66-8999-AF3B534FD757}"/>
                    </a:ext>
                  </a:extLst>
                </p:cNvPr>
                <p:cNvSpPr/>
                <p:nvPr/>
              </p:nvSpPr>
              <p:spPr>
                <a:xfrm>
                  <a:off x="7604149" y="4107241"/>
                  <a:ext cx="710928" cy="369130"/>
                </a:xfrm>
                <a:custGeom>
                  <a:avLst/>
                  <a:gdLst>
                    <a:gd name="connsiteX0" fmla="*/ 710928 w 710928"/>
                    <a:gd name="connsiteY0" fmla="*/ 366439 h 369130"/>
                    <a:gd name="connsiteX1" fmla="*/ 709493 w 710928"/>
                    <a:gd name="connsiteY1" fmla="*/ 369130 h 369130"/>
                    <a:gd name="connsiteX2" fmla="*/ 0 w 710928"/>
                    <a:gd name="connsiteY2" fmla="*/ 2751 h 369130"/>
                    <a:gd name="connsiteX3" fmla="*/ 1375 w 710928"/>
                    <a:gd name="connsiteY3" fmla="*/ 0 h 369130"/>
                  </a:gdLst>
                  <a:ahLst/>
                  <a:cxnLst>
                    <a:cxn ang="0">
                      <a:pos x="connsiteX0" y="connsiteY0"/>
                    </a:cxn>
                    <a:cxn ang="0">
                      <a:pos x="connsiteX1" y="connsiteY1"/>
                    </a:cxn>
                    <a:cxn ang="0">
                      <a:pos x="connsiteX2" y="connsiteY2"/>
                    </a:cxn>
                    <a:cxn ang="0">
                      <a:pos x="connsiteX3" y="connsiteY3"/>
                    </a:cxn>
                  </a:cxnLst>
                  <a:rect l="l" t="t" r="r" b="b"/>
                  <a:pathLst>
                    <a:path w="710928" h="369130">
                      <a:moveTo>
                        <a:pt x="710928" y="366439"/>
                      </a:moveTo>
                      <a:lnTo>
                        <a:pt x="709493" y="369130"/>
                      </a:lnTo>
                      <a:lnTo>
                        <a:pt x="0" y="2751"/>
                      </a:lnTo>
                      <a:lnTo>
                        <a:pt x="1375" y="0"/>
                      </a:lnTo>
                      <a:close/>
                    </a:path>
                  </a:pathLst>
                </a:custGeom>
                <a:grpFill/>
                <a:ln w="5978" cap="flat">
                  <a:noFill/>
                  <a:prstDash val="solid"/>
                  <a:miter/>
                </a:ln>
              </p:spPr>
              <p:txBody>
                <a:bodyPr rtlCol="0" anchor="ctr"/>
                <a:lstStyle/>
                <a:p>
                  <a:endParaRPr lang="en-GB"/>
                </a:p>
              </p:txBody>
            </p:sp>
            <p:sp>
              <p:nvSpPr>
                <p:cNvPr id="4525" name="Vrije vorm: vorm 4524">
                  <a:extLst>
                    <a:ext uri="{FF2B5EF4-FFF2-40B4-BE49-F238E27FC236}">
                      <a16:creationId xmlns:a16="http://schemas.microsoft.com/office/drawing/2014/main" id="{D3622507-D4E0-4B1F-90ED-2FE0C781BDE4}"/>
                    </a:ext>
                  </a:extLst>
                </p:cNvPr>
                <p:cNvSpPr/>
                <p:nvPr/>
              </p:nvSpPr>
              <p:spPr>
                <a:xfrm>
                  <a:off x="7596107" y="4099627"/>
                  <a:ext cx="18297" cy="18386"/>
                </a:xfrm>
                <a:custGeom>
                  <a:avLst/>
                  <a:gdLst>
                    <a:gd name="connsiteX0" fmla="*/ 4992 w 18297"/>
                    <a:gd name="connsiteY0" fmla="*/ 17362 h 18386"/>
                    <a:gd name="connsiteX1" fmla="*/ 985 w 18297"/>
                    <a:gd name="connsiteY1" fmla="*/ 4982 h 18386"/>
                    <a:gd name="connsiteX2" fmla="*/ 13305 w 18297"/>
                    <a:gd name="connsiteY2" fmla="*/ 1035 h 18386"/>
                    <a:gd name="connsiteX3" fmla="*/ 17312 w 18297"/>
                    <a:gd name="connsiteY3" fmla="*/ 13415 h 18386"/>
                    <a:gd name="connsiteX4" fmla="*/ 4992 w 18297"/>
                    <a:gd name="connsiteY4" fmla="*/ 17362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86">
                      <a:moveTo>
                        <a:pt x="4992" y="17362"/>
                      </a:moveTo>
                      <a:cubicBezTo>
                        <a:pt x="506" y="15030"/>
                        <a:pt x="-1288" y="9468"/>
                        <a:pt x="985" y="4982"/>
                      </a:cubicBezTo>
                      <a:cubicBezTo>
                        <a:pt x="3257" y="437"/>
                        <a:pt x="8819" y="-1297"/>
                        <a:pt x="13305" y="1035"/>
                      </a:cubicBezTo>
                      <a:cubicBezTo>
                        <a:pt x="17790" y="3368"/>
                        <a:pt x="19585" y="8930"/>
                        <a:pt x="17312" y="13415"/>
                      </a:cubicBezTo>
                      <a:cubicBezTo>
                        <a:pt x="14980" y="17901"/>
                        <a:pt x="9477" y="19695"/>
                        <a:pt x="4992" y="17362"/>
                      </a:cubicBezTo>
                      <a:close/>
                    </a:path>
                  </a:pathLst>
                </a:custGeom>
                <a:grpFill/>
                <a:ln w="5978" cap="flat">
                  <a:noFill/>
                  <a:prstDash val="solid"/>
                  <a:miter/>
                </a:ln>
              </p:spPr>
              <p:txBody>
                <a:bodyPr rtlCol="0" anchor="ctr"/>
                <a:lstStyle/>
                <a:p>
                  <a:endParaRPr lang="en-GB"/>
                </a:p>
              </p:txBody>
            </p:sp>
            <p:sp>
              <p:nvSpPr>
                <p:cNvPr id="4526" name="Vrije vorm: vorm 4525">
                  <a:extLst>
                    <a:ext uri="{FF2B5EF4-FFF2-40B4-BE49-F238E27FC236}">
                      <a16:creationId xmlns:a16="http://schemas.microsoft.com/office/drawing/2014/main" id="{A187184D-6DCD-4BAA-8EED-0661DF563D89}"/>
                    </a:ext>
                  </a:extLst>
                </p:cNvPr>
                <p:cNvSpPr/>
                <p:nvPr/>
              </p:nvSpPr>
              <p:spPr>
                <a:xfrm>
                  <a:off x="8304785" y="4465658"/>
                  <a:ext cx="18334" cy="18375"/>
                </a:xfrm>
                <a:custGeom>
                  <a:avLst/>
                  <a:gdLst>
                    <a:gd name="connsiteX0" fmla="*/ 5029 w 18334"/>
                    <a:gd name="connsiteY0" fmla="*/ 17351 h 18375"/>
                    <a:gd name="connsiteX1" fmla="*/ 17350 w 18334"/>
                    <a:gd name="connsiteY1" fmla="*/ 13404 h 18375"/>
                    <a:gd name="connsiteX2" fmla="*/ 13342 w 18334"/>
                    <a:gd name="connsiteY2" fmla="*/ 1024 h 18375"/>
                    <a:gd name="connsiteX3" fmla="*/ 1022 w 18334"/>
                    <a:gd name="connsiteY3" fmla="*/ 4971 h 18375"/>
                    <a:gd name="connsiteX4" fmla="*/ 5029 w 18334"/>
                    <a:gd name="connsiteY4" fmla="*/ 17351 h 18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75">
                      <a:moveTo>
                        <a:pt x="5029" y="17351"/>
                      </a:moveTo>
                      <a:cubicBezTo>
                        <a:pt x="9515" y="19684"/>
                        <a:pt x="15077" y="17890"/>
                        <a:pt x="17350" y="13404"/>
                      </a:cubicBezTo>
                      <a:cubicBezTo>
                        <a:pt x="19622" y="8859"/>
                        <a:pt x="17828" y="3297"/>
                        <a:pt x="13342" y="1024"/>
                      </a:cubicBezTo>
                      <a:cubicBezTo>
                        <a:pt x="8857" y="-1309"/>
                        <a:pt x="3294" y="485"/>
                        <a:pt x="1022" y="4971"/>
                      </a:cubicBezTo>
                      <a:cubicBezTo>
                        <a:pt x="-1310" y="9457"/>
                        <a:pt x="484" y="15019"/>
                        <a:pt x="5029" y="17351"/>
                      </a:cubicBezTo>
                      <a:close/>
                    </a:path>
                  </a:pathLst>
                </a:custGeom>
                <a:grpFill/>
                <a:ln w="5978" cap="flat">
                  <a:noFill/>
                  <a:prstDash val="solid"/>
                  <a:miter/>
                </a:ln>
              </p:spPr>
              <p:txBody>
                <a:bodyPr rtlCol="0" anchor="ctr"/>
                <a:lstStyle/>
                <a:p>
                  <a:endParaRPr lang="en-GB"/>
                </a:p>
              </p:txBody>
            </p:sp>
          </p:grpSp>
          <p:grpSp>
            <p:nvGrpSpPr>
              <p:cNvPr id="286" name="Graphic 3">
                <a:extLst>
                  <a:ext uri="{FF2B5EF4-FFF2-40B4-BE49-F238E27FC236}">
                    <a16:creationId xmlns:a16="http://schemas.microsoft.com/office/drawing/2014/main" id="{EF6A37B1-A811-47BB-A872-609A6181577D}"/>
                  </a:ext>
                </a:extLst>
              </p:cNvPr>
              <p:cNvGrpSpPr/>
              <p:nvPr/>
            </p:nvGrpSpPr>
            <p:grpSpPr>
              <a:xfrm>
                <a:off x="7741502" y="4240995"/>
                <a:ext cx="448183" cy="229658"/>
                <a:chOff x="7741502" y="4240995"/>
                <a:chExt cx="448183" cy="229658"/>
              </a:xfrm>
              <a:grpFill/>
            </p:grpSpPr>
            <p:sp>
              <p:nvSpPr>
                <p:cNvPr id="4521" name="Vrije vorm: vorm 4520">
                  <a:extLst>
                    <a:ext uri="{FF2B5EF4-FFF2-40B4-BE49-F238E27FC236}">
                      <a16:creationId xmlns:a16="http://schemas.microsoft.com/office/drawing/2014/main" id="{9D043BFF-A912-4209-9CEA-9CE278F79C4F}"/>
                    </a:ext>
                  </a:extLst>
                </p:cNvPr>
                <p:cNvSpPr/>
                <p:nvPr/>
              </p:nvSpPr>
              <p:spPr>
                <a:xfrm>
                  <a:off x="7749600" y="4248625"/>
                  <a:ext cx="431987" cy="214409"/>
                </a:xfrm>
                <a:custGeom>
                  <a:avLst/>
                  <a:gdLst>
                    <a:gd name="connsiteX0" fmla="*/ 431987 w 431987"/>
                    <a:gd name="connsiteY0" fmla="*/ 211658 h 214409"/>
                    <a:gd name="connsiteX1" fmla="*/ 430671 w 431987"/>
                    <a:gd name="connsiteY1" fmla="*/ 214409 h 214409"/>
                    <a:gd name="connsiteX2" fmla="*/ 0 w 431987"/>
                    <a:gd name="connsiteY2" fmla="*/ 2751 h 214409"/>
                    <a:gd name="connsiteX3" fmla="*/ 1316 w 431987"/>
                    <a:gd name="connsiteY3" fmla="*/ 0 h 214409"/>
                  </a:gdLst>
                  <a:ahLst/>
                  <a:cxnLst>
                    <a:cxn ang="0">
                      <a:pos x="connsiteX0" y="connsiteY0"/>
                    </a:cxn>
                    <a:cxn ang="0">
                      <a:pos x="connsiteX1" y="connsiteY1"/>
                    </a:cxn>
                    <a:cxn ang="0">
                      <a:pos x="connsiteX2" y="connsiteY2"/>
                    </a:cxn>
                    <a:cxn ang="0">
                      <a:pos x="connsiteX3" y="connsiteY3"/>
                    </a:cxn>
                  </a:cxnLst>
                  <a:rect l="l" t="t" r="r" b="b"/>
                  <a:pathLst>
                    <a:path w="431987" h="214409">
                      <a:moveTo>
                        <a:pt x="431987" y="211658"/>
                      </a:moveTo>
                      <a:lnTo>
                        <a:pt x="430671" y="214409"/>
                      </a:lnTo>
                      <a:lnTo>
                        <a:pt x="0" y="2751"/>
                      </a:lnTo>
                      <a:lnTo>
                        <a:pt x="1316" y="0"/>
                      </a:lnTo>
                      <a:close/>
                    </a:path>
                  </a:pathLst>
                </a:custGeom>
                <a:grpFill/>
                <a:ln w="5978" cap="flat">
                  <a:noFill/>
                  <a:prstDash val="solid"/>
                  <a:miter/>
                </a:ln>
              </p:spPr>
              <p:txBody>
                <a:bodyPr rtlCol="0" anchor="ctr"/>
                <a:lstStyle/>
                <a:p>
                  <a:endParaRPr lang="en-GB"/>
                </a:p>
              </p:txBody>
            </p:sp>
            <p:sp>
              <p:nvSpPr>
                <p:cNvPr id="4522" name="Vrije vorm: vorm 4521">
                  <a:extLst>
                    <a:ext uri="{FF2B5EF4-FFF2-40B4-BE49-F238E27FC236}">
                      <a16:creationId xmlns:a16="http://schemas.microsoft.com/office/drawing/2014/main" id="{BB808FB1-803E-4F90-B016-BA67777BAA18}"/>
                    </a:ext>
                  </a:extLst>
                </p:cNvPr>
                <p:cNvSpPr/>
                <p:nvPr/>
              </p:nvSpPr>
              <p:spPr>
                <a:xfrm>
                  <a:off x="8171336" y="4452234"/>
                  <a:ext cx="18349" cy="18419"/>
                </a:xfrm>
                <a:custGeom>
                  <a:avLst/>
                  <a:gdLst>
                    <a:gd name="connsiteX0" fmla="*/ 13182 w 18349"/>
                    <a:gd name="connsiteY0" fmla="*/ 931 h 18419"/>
                    <a:gd name="connsiteX1" fmla="*/ 17428 w 18349"/>
                    <a:gd name="connsiteY1" fmla="*/ 13252 h 18419"/>
                    <a:gd name="connsiteX2" fmla="*/ 5167 w 18349"/>
                    <a:gd name="connsiteY2" fmla="*/ 17498 h 18419"/>
                    <a:gd name="connsiteX3" fmla="*/ 921 w 18349"/>
                    <a:gd name="connsiteY3" fmla="*/ 5178 h 18419"/>
                    <a:gd name="connsiteX4" fmla="*/ 13182 w 18349"/>
                    <a:gd name="connsiteY4" fmla="*/ 93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9">
                      <a:moveTo>
                        <a:pt x="13182" y="931"/>
                      </a:moveTo>
                      <a:cubicBezTo>
                        <a:pt x="17727" y="3144"/>
                        <a:pt x="19641" y="8706"/>
                        <a:pt x="17428" y="13252"/>
                      </a:cubicBezTo>
                      <a:cubicBezTo>
                        <a:pt x="15215" y="17797"/>
                        <a:pt x="9713" y="19711"/>
                        <a:pt x="5167" y="17498"/>
                      </a:cubicBezTo>
                      <a:cubicBezTo>
                        <a:pt x="622" y="15285"/>
                        <a:pt x="-1292" y="9723"/>
                        <a:pt x="921" y="5178"/>
                      </a:cubicBezTo>
                      <a:cubicBezTo>
                        <a:pt x="3134" y="573"/>
                        <a:pt x="8636" y="-1281"/>
                        <a:pt x="13182" y="931"/>
                      </a:cubicBezTo>
                      <a:close/>
                    </a:path>
                  </a:pathLst>
                </a:custGeom>
                <a:grpFill/>
                <a:ln w="5978" cap="flat">
                  <a:noFill/>
                  <a:prstDash val="solid"/>
                  <a:miter/>
                </a:ln>
              </p:spPr>
              <p:txBody>
                <a:bodyPr rtlCol="0" anchor="ctr"/>
                <a:lstStyle/>
                <a:p>
                  <a:endParaRPr lang="en-GB"/>
                </a:p>
              </p:txBody>
            </p:sp>
            <p:sp>
              <p:nvSpPr>
                <p:cNvPr id="4523" name="Vrije vorm: vorm 4522">
                  <a:extLst>
                    <a:ext uri="{FF2B5EF4-FFF2-40B4-BE49-F238E27FC236}">
                      <a16:creationId xmlns:a16="http://schemas.microsoft.com/office/drawing/2014/main" id="{31D6FB33-7CD6-4CFB-BC7A-E78D47EDB949}"/>
                    </a:ext>
                  </a:extLst>
                </p:cNvPr>
                <p:cNvSpPr/>
                <p:nvPr/>
              </p:nvSpPr>
              <p:spPr>
                <a:xfrm>
                  <a:off x="7741502" y="4240995"/>
                  <a:ext cx="18349" cy="18429"/>
                </a:xfrm>
                <a:custGeom>
                  <a:avLst/>
                  <a:gdLst>
                    <a:gd name="connsiteX0" fmla="*/ 13182 w 18349"/>
                    <a:gd name="connsiteY0" fmla="*/ 931 h 18429"/>
                    <a:gd name="connsiteX1" fmla="*/ 921 w 18349"/>
                    <a:gd name="connsiteY1" fmla="*/ 5178 h 18429"/>
                    <a:gd name="connsiteX2" fmla="*/ 5167 w 18349"/>
                    <a:gd name="connsiteY2" fmla="*/ 17498 h 18429"/>
                    <a:gd name="connsiteX3" fmla="*/ 17428 w 18349"/>
                    <a:gd name="connsiteY3" fmla="*/ 13252 h 18429"/>
                    <a:gd name="connsiteX4" fmla="*/ 13182 w 18349"/>
                    <a:gd name="connsiteY4" fmla="*/ 93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9">
                      <a:moveTo>
                        <a:pt x="13182" y="931"/>
                      </a:moveTo>
                      <a:cubicBezTo>
                        <a:pt x="8636" y="-1281"/>
                        <a:pt x="3134" y="573"/>
                        <a:pt x="921" y="5178"/>
                      </a:cubicBezTo>
                      <a:cubicBezTo>
                        <a:pt x="-1292" y="9723"/>
                        <a:pt x="622" y="15285"/>
                        <a:pt x="5167" y="17498"/>
                      </a:cubicBezTo>
                      <a:cubicBezTo>
                        <a:pt x="9713" y="19711"/>
                        <a:pt x="15215" y="17857"/>
                        <a:pt x="17428" y="13252"/>
                      </a:cubicBezTo>
                      <a:cubicBezTo>
                        <a:pt x="19641" y="8706"/>
                        <a:pt x="17727" y="3204"/>
                        <a:pt x="13182" y="931"/>
                      </a:cubicBezTo>
                      <a:close/>
                    </a:path>
                  </a:pathLst>
                </a:custGeom>
                <a:grpFill/>
                <a:ln w="5978" cap="flat">
                  <a:noFill/>
                  <a:prstDash val="solid"/>
                  <a:miter/>
                </a:ln>
              </p:spPr>
              <p:txBody>
                <a:bodyPr rtlCol="0" anchor="ctr"/>
                <a:lstStyle/>
                <a:p>
                  <a:endParaRPr lang="en-GB"/>
                </a:p>
              </p:txBody>
            </p:sp>
          </p:grpSp>
          <p:grpSp>
            <p:nvGrpSpPr>
              <p:cNvPr id="287" name="Graphic 3">
                <a:extLst>
                  <a:ext uri="{FF2B5EF4-FFF2-40B4-BE49-F238E27FC236}">
                    <a16:creationId xmlns:a16="http://schemas.microsoft.com/office/drawing/2014/main" id="{55D7702B-E49E-44BB-BD42-6C3BA57550A2}"/>
                  </a:ext>
                </a:extLst>
              </p:cNvPr>
              <p:cNvGrpSpPr/>
              <p:nvPr/>
            </p:nvGrpSpPr>
            <p:grpSpPr>
              <a:xfrm>
                <a:off x="6909180" y="1312165"/>
                <a:ext cx="84815" cy="168318"/>
                <a:chOff x="6909180" y="1312165"/>
                <a:chExt cx="84815" cy="168318"/>
              </a:xfrm>
              <a:grpFill/>
            </p:grpSpPr>
            <p:sp>
              <p:nvSpPr>
                <p:cNvPr id="4518" name="Vrije vorm: vorm 4517">
                  <a:extLst>
                    <a:ext uri="{FF2B5EF4-FFF2-40B4-BE49-F238E27FC236}">
                      <a16:creationId xmlns:a16="http://schemas.microsoft.com/office/drawing/2014/main" id="{21351384-8AB9-4343-92BA-F4E223DF2FF8}"/>
                    </a:ext>
                  </a:extLst>
                </p:cNvPr>
                <p:cNvSpPr/>
                <p:nvPr/>
              </p:nvSpPr>
              <p:spPr>
                <a:xfrm>
                  <a:off x="6916725" y="1320284"/>
                  <a:ext cx="69674" cy="152029"/>
                </a:xfrm>
                <a:custGeom>
                  <a:avLst/>
                  <a:gdLst>
                    <a:gd name="connsiteX0" fmla="*/ 69675 w 69674"/>
                    <a:gd name="connsiteY0" fmla="*/ 1256 h 152029"/>
                    <a:gd name="connsiteX1" fmla="*/ 2811 w 69674"/>
                    <a:gd name="connsiteY1" fmla="*/ 152030 h 152029"/>
                    <a:gd name="connsiteX2" fmla="*/ 0 w 69674"/>
                    <a:gd name="connsiteY2" fmla="*/ 150774 h 152029"/>
                    <a:gd name="connsiteX3" fmla="*/ 66864 w 69674"/>
                    <a:gd name="connsiteY3" fmla="*/ 0 h 152029"/>
                  </a:gdLst>
                  <a:ahLst/>
                  <a:cxnLst>
                    <a:cxn ang="0">
                      <a:pos x="connsiteX0" y="connsiteY0"/>
                    </a:cxn>
                    <a:cxn ang="0">
                      <a:pos x="connsiteX1" y="connsiteY1"/>
                    </a:cxn>
                    <a:cxn ang="0">
                      <a:pos x="connsiteX2" y="connsiteY2"/>
                    </a:cxn>
                    <a:cxn ang="0">
                      <a:pos x="connsiteX3" y="connsiteY3"/>
                    </a:cxn>
                  </a:cxnLst>
                  <a:rect l="l" t="t" r="r" b="b"/>
                  <a:pathLst>
                    <a:path w="69674" h="152029">
                      <a:moveTo>
                        <a:pt x="69675" y="1256"/>
                      </a:moveTo>
                      <a:lnTo>
                        <a:pt x="2811" y="152030"/>
                      </a:lnTo>
                      <a:lnTo>
                        <a:pt x="0" y="150774"/>
                      </a:lnTo>
                      <a:lnTo>
                        <a:pt x="66864" y="0"/>
                      </a:lnTo>
                      <a:close/>
                    </a:path>
                  </a:pathLst>
                </a:custGeom>
                <a:grpFill/>
                <a:ln w="5978" cap="flat">
                  <a:noFill/>
                  <a:prstDash val="solid"/>
                  <a:miter/>
                </a:ln>
              </p:spPr>
              <p:txBody>
                <a:bodyPr rtlCol="0" anchor="ctr"/>
                <a:lstStyle/>
                <a:p>
                  <a:endParaRPr lang="en-GB"/>
                </a:p>
              </p:txBody>
            </p:sp>
            <p:sp>
              <p:nvSpPr>
                <p:cNvPr id="4519" name="Vrije vorm: vorm 4518">
                  <a:extLst>
                    <a:ext uri="{FF2B5EF4-FFF2-40B4-BE49-F238E27FC236}">
                      <a16:creationId xmlns:a16="http://schemas.microsoft.com/office/drawing/2014/main" id="{C5953825-3A0B-4569-8E1A-6F87468BB246}"/>
                    </a:ext>
                  </a:extLst>
                </p:cNvPr>
                <p:cNvSpPr/>
                <p:nvPr/>
              </p:nvSpPr>
              <p:spPr>
                <a:xfrm>
                  <a:off x="6975660" y="1312165"/>
                  <a:ext cx="18335" cy="18451"/>
                </a:xfrm>
                <a:custGeom>
                  <a:avLst/>
                  <a:gdLst>
                    <a:gd name="connsiteX0" fmla="*/ 812 w 18335"/>
                    <a:gd name="connsiteY0" fmla="*/ 5428 h 18451"/>
                    <a:gd name="connsiteX1" fmla="*/ 12894 w 18335"/>
                    <a:gd name="connsiteY1" fmla="*/ 823 h 18451"/>
                    <a:gd name="connsiteX2" fmla="*/ 17558 w 18335"/>
                    <a:gd name="connsiteY2" fmla="*/ 13023 h 18451"/>
                    <a:gd name="connsiteX3" fmla="*/ 5477 w 18335"/>
                    <a:gd name="connsiteY3" fmla="*/ 17628 h 18451"/>
                    <a:gd name="connsiteX4" fmla="*/ 812 w 18335"/>
                    <a:gd name="connsiteY4" fmla="*/ 542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1">
                      <a:moveTo>
                        <a:pt x="812" y="5428"/>
                      </a:moveTo>
                      <a:cubicBezTo>
                        <a:pt x="2846" y="763"/>
                        <a:pt x="8288" y="-1271"/>
                        <a:pt x="12894" y="823"/>
                      </a:cubicBezTo>
                      <a:cubicBezTo>
                        <a:pt x="17498" y="2916"/>
                        <a:pt x="19592" y="8358"/>
                        <a:pt x="17558" y="13023"/>
                      </a:cubicBezTo>
                      <a:cubicBezTo>
                        <a:pt x="15525" y="17688"/>
                        <a:pt x="10082" y="19722"/>
                        <a:pt x="5477" y="17628"/>
                      </a:cubicBezTo>
                      <a:cubicBezTo>
                        <a:pt x="812" y="15475"/>
                        <a:pt x="-1281" y="10033"/>
                        <a:pt x="812" y="5428"/>
                      </a:cubicBezTo>
                      <a:close/>
                    </a:path>
                  </a:pathLst>
                </a:custGeom>
                <a:grpFill/>
                <a:ln w="5978" cap="flat">
                  <a:noFill/>
                  <a:prstDash val="solid"/>
                  <a:miter/>
                </a:ln>
              </p:spPr>
              <p:txBody>
                <a:bodyPr rtlCol="0" anchor="ctr"/>
                <a:lstStyle/>
                <a:p>
                  <a:endParaRPr lang="en-GB"/>
                </a:p>
              </p:txBody>
            </p:sp>
            <p:sp>
              <p:nvSpPr>
                <p:cNvPr id="4520" name="Vrije vorm: vorm 4519">
                  <a:extLst>
                    <a:ext uri="{FF2B5EF4-FFF2-40B4-BE49-F238E27FC236}">
                      <a16:creationId xmlns:a16="http://schemas.microsoft.com/office/drawing/2014/main" id="{B4410233-8CD9-4583-BC7D-274508CE7747}"/>
                    </a:ext>
                  </a:extLst>
                </p:cNvPr>
                <p:cNvSpPr/>
                <p:nvPr/>
              </p:nvSpPr>
              <p:spPr>
                <a:xfrm>
                  <a:off x="6909180" y="1462042"/>
                  <a:ext cx="18319" cy="18441"/>
                </a:xfrm>
                <a:custGeom>
                  <a:avLst/>
                  <a:gdLst>
                    <a:gd name="connsiteX0" fmla="*/ 787 w 18319"/>
                    <a:gd name="connsiteY0" fmla="*/ 5428 h 18441"/>
                    <a:gd name="connsiteX1" fmla="*/ 5451 w 18319"/>
                    <a:gd name="connsiteY1" fmla="*/ 17628 h 18441"/>
                    <a:gd name="connsiteX2" fmla="*/ 17532 w 18319"/>
                    <a:gd name="connsiteY2" fmla="*/ 13023 h 18441"/>
                    <a:gd name="connsiteX3" fmla="*/ 12867 w 18319"/>
                    <a:gd name="connsiteY3" fmla="*/ 823 h 18441"/>
                    <a:gd name="connsiteX4" fmla="*/ 787 w 18319"/>
                    <a:gd name="connsiteY4" fmla="*/ 542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1">
                      <a:moveTo>
                        <a:pt x="787" y="5428"/>
                      </a:moveTo>
                      <a:cubicBezTo>
                        <a:pt x="-1247" y="10093"/>
                        <a:pt x="787" y="15535"/>
                        <a:pt x="5451" y="17628"/>
                      </a:cubicBezTo>
                      <a:cubicBezTo>
                        <a:pt x="10116" y="19722"/>
                        <a:pt x="15499" y="17628"/>
                        <a:pt x="17532" y="13023"/>
                      </a:cubicBezTo>
                      <a:cubicBezTo>
                        <a:pt x="19566" y="8358"/>
                        <a:pt x="17532" y="2916"/>
                        <a:pt x="12867" y="823"/>
                      </a:cubicBezTo>
                      <a:cubicBezTo>
                        <a:pt x="8263" y="-1271"/>
                        <a:pt x="2820" y="763"/>
                        <a:pt x="787" y="5428"/>
                      </a:cubicBezTo>
                      <a:close/>
                    </a:path>
                  </a:pathLst>
                </a:custGeom>
                <a:grpFill/>
                <a:ln w="5978" cap="flat">
                  <a:noFill/>
                  <a:prstDash val="solid"/>
                  <a:miter/>
                </a:ln>
              </p:spPr>
              <p:txBody>
                <a:bodyPr rtlCol="0" anchor="ctr"/>
                <a:lstStyle/>
                <a:p>
                  <a:endParaRPr lang="en-GB"/>
                </a:p>
              </p:txBody>
            </p:sp>
          </p:grpSp>
          <p:grpSp>
            <p:nvGrpSpPr>
              <p:cNvPr id="288" name="Graphic 3">
                <a:extLst>
                  <a:ext uri="{FF2B5EF4-FFF2-40B4-BE49-F238E27FC236}">
                    <a16:creationId xmlns:a16="http://schemas.microsoft.com/office/drawing/2014/main" id="{48FED2E5-097E-4885-AFD7-A4AF077D0ED9}"/>
                  </a:ext>
                </a:extLst>
              </p:cNvPr>
              <p:cNvGrpSpPr/>
              <p:nvPr/>
            </p:nvGrpSpPr>
            <p:grpSpPr>
              <a:xfrm>
                <a:off x="7609039" y="4070744"/>
                <a:ext cx="612275" cy="316886"/>
                <a:chOff x="7609039" y="4070744"/>
                <a:chExt cx="612275" cy="316886"/>
              </a:xfrm>
              <a:grpFill/>
            </p:grpSpPr>
            <p:sp>
              <p:nvSpPr>
                <p:cNvPr id="4515" name="Vrije vorm: vorm 4514">
                  <a:extLst>
                    <a:ext uri="{FF2B5EF4-FFF2-40B4-BE49-F238E27FC236}">
                      <a16:creationId xmlns:a16="http://schemas.microsoft.com/office/drawing/2014/main" id="{7365244D-78FD-4EC0-BB70-3F8E6AE02F92}"/>
                    </a:ext>
                  </a:extLst>
                </p:cNvPr>
                <p:cNvSpPr/>
                <p:nvPr/>
              </p:nvSpPr>
              <p:spPr>
                <a:xfrm>
                  <a:off x="7617127" y="4078414"/>
                  <a:ext cx="596098" cy="301547"/>
                </a:xfrm>
                <a:custGeom>
                  <a:avLst/>
                  <a:gdLst>
                    <a:gd name="connsiteX0" fmla="*/ 596098 w 596098"/>
                    <a:gd name="connsiteY0" fmla="*/ 298797 h 301547"/>
                    <a:gd name="connsiteX1" fmla="*/ 594783 w 596098"/>
                    <a:gd name="connsiteY1" fmla="*/ 301548 h 301547"/>
                    <a:gd name="connsiteX2" fmla="*/ 0 w 596098"/>
                    <a:gd name="connsiteY2" fmla="*/ 2751 h 301547"/>
                    <a:gd name="connsiteX3" fmla="*/ 1316 w 596098"/>
                    <a:gd name="connsiteY3" fmla="*/ 0 h 301547"/>
                  </a:gdLst>
                  <a:ahLst/>
                  <a:cxnLst>
                    <a:cxn ang="0">
                      <a:pos x="connsiteX0" y="connsiteY0"/>
                    </a:cxn>
                    <a:cxn ang="0">
                      <a:pos x="connsiteX1" y="connsiteY1"/>
                    </a:cxn>
                    <a:cxn ang="0">
                      <a:pos x="connsiteX2" y="connsiteY2"/>
                    </a:cxn>
                    <a:cxn ang="0">
                      <a:pos x="connsiteX3" y="connsiteY3"/>
                    </a:cxn>
                  </a:cxnLst>
                  <a:rect l="l" t="t" r="r" b="b"/>
                  <a:pathLst>
                    <a:path w="596098" h="301547">
                      <a:moveTo>
                        <a:pt x="596098" y="298797"/>
                      </a:moveTo>
                      <a:lnTo>
                        <a:pt x="594783" y="301548"/>
                      </a:lnTo>
                      <a:lnTo>
                        <a:pt x="0" y="2751"/>
                      </a:lnTo>
                      <a:lnTo>
                        <a:pt x="1316" y="0"/>
                      </a:lnTo>
                      <a:close/>
                    </a:path>
                  </a:pathLst>
                </a:custGeom>
                <a:grpFill/>
                <a:ln w="5978" cap="flat">
                  <a:noFill/>
                  <a:prstDash val="solid"/>
                  <a:miter/>
                </a:ln>
              </p:spPr>
              <p:txBody>
                <a:bodyPr rtlCol="0" anchor="ctr"/>
                <a:lstStyle/>
                <a:p>
                  <a:endParaRPr lang="en-GB"/>
                </a:p>
              </p:txBody>
            </p:sp>
            <p:sp>
              <p:nvSpPr>
                <p:cNvPr id="4516" name="Vrije vorm: vorm 4515">
                  <a:extLst>
                    <a:ext uri="{FF2B5EF4-FFF2-40B4-BE49-F238E27FC236}">
                      <a16:creationId xmlns:a16="http://schemas.microsoft.com/office/drawing/2014/main" id="{F1E74361-E85C-414E-AD34-7FAF0B4EB800}"/>
                    </a:ext>
                  </a:extLst>
                </p:cNvPr>
                <p:cNvSpPr/>
                <p:nvPr/>
              </p:nvSpPr>
              <p:spPr>
                <a:xfrm>
                  <a:off x="7609039" y="4070744"/>
                  <a:ext cx="18329" cy="18448"/>
                </a:xfrm>
                <a:custGeom>
                  <a:avLst/>
                  <a:gdLst>
                    <a:gd name="connsiteX0" fmla="*/ 5098 w 18329"/>
                    <a:gd name="connsiteY0" fmla="*/ 17478 h 18448"/>
                    <a:gd name="connsiteX1" fmla="*/ 971 w 18329"/>
                    <a:gd name="connsiteY1" fmla="*/ 5098 h 18448"/>
                    <a:gd name="connsiteX2" fmla="*/ 13232 w 18329"/>
                    <a:gd name="connsiteY2" fmla="*/ 971 h 18448"/>
                    <a:gd name="connsiteX3" fmla="*/ 17358 w 18329"/>
                    <a:gd name="connsiteY3" fmla="*/ 13351 h 18448"/>
                    <a:gd name="connsiteX4" fmla="*/ 5098 w 18329"/>
                    <a:gd name="connsiteY4" fmla="*/ 174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8">
                      <a:moveTo>
                        <a:pt x="5098" y="17478"/>
                      </a:moveTo>
                      <a:cubicBezTo>
                        <a:pt x="553" y="15205"/>
                        <a:pt x="-1302" y="9643"/>
                        <a:pt x="971" y="5098"/>
                      </a:cubicBezTo>
                      <a:cubicBezTo>
                        <a:pt x="3244" y="553"/>
                        <a:pt x="8746" y="-1301"/>
                        <a:pt x="13232" y="971"/>
                      </a:cubicBezTo>
                      <a:cubicBezTo>
                        <a:pt x="17777" y="3244"/>
                        <a:pt x="19631" y="8806"/>
                        <a:pt x="17358" y="13351"/>
                      </a:cubicBezTo>
                      <a:cubicBezTo>
                        <a:pt x="15085" y="17896"/>
                        <a:pt x="9584" y="19750"/>
                        <a:pt x="5098" y="17478"/>
                      </a:cubicBezTo>
                      <a:close/>
                    </a:path>
                  </a:pathLst>
                </a:custGeom>
                <a:grpFill/>
                <a:ln w="5978" cap="flat">
                  <a:noFill/>
                  <a:prstDash val="solid"/>
                  <a:miter/>
                </a:ln>
              </p:spPr>
              <p:txBody>
                <a:bodyPr rtlCol="0" anchor="ctr"/>
                <a:lstStyle/>
                <a:p>
                  <a:endParaRPr lang="en-GB"/>
                </a:p>
              </p:txBody>
            </p:sp>
            <p:sp>
              <p:nvSpPr>
                <p:cNvPr id="4517" name="Vrije vorm: vorm 4516">
                  <a:extLst>
                    <a:ext uri="{FF2B5EF4-FFF2-40B4-BE49-F238E27FC236}">
                      <a16:creationId xmlns:a16="http://schemas.microsoft.com/office/drawing/2014/main" id="{158987EF-2437-45B1-AB8C-53BDB4C95448}"/>
                    </a:ext>
                  </a:extLst>
                </p:cNvPr>
                <p:cNvSpPr/>
                <p:nvPr/>
              </p:nvSpPr>
              <p:spPr>
                <a:xfrm>
                  <a:off x="8202984" y="4369182"/>
                  <a:ext cx="18329" cy="18449"/>
                </a:xfrm>
                <a:custGeom>
                  <a:avLst/>
                  <a:gdLst>
                    <a:gd name="connsiteX0" fmla="*/ 5098 w 18329"/>
                    <a:gd name="connsiteY0" fmla="*/ 17478 h 18449"/>
                    <a:gd name="connsiteX1" fmla="*/ 17358 w 18329"/>
                    <a:gd name="connsiteY1" fmla="*/ 13351 h 18449"/>
                    <a:gd name="connsiteX2" fmla="*/ 13231 w 18329"/>
                    <a:gd name="connsiteY2" fmla="*/ 971 h 18449"/>
                    <a:gd name="connsiteX3" fmla="*/ 971 w 18329"/>
                    <a:gd name="connsiteY3" fmla="*/ 5098 h 18449"/>
                    <a:gd name="connsiteX4" fmla="*/ 5098 w 18329"/>
                    <a:gd name="connsiteY4" fmla="*/ 1747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5098" y="17478"/>
                      </a:moveTo>
                      <a:cubicBezTo>
                        <a:pt x="9643" y="19751"/>
                        <a:pt x="15145" y="17897"/>
                        <a:pt x="17358" y="13351"/>
                      </a:cubicBezTo>
                      <a:cubicBezTo>
                        <a:pt x="19631" y="8806"/>
                        <a:pt x="17777" y="3244"/>
                        <a:pt x="13231" y="971"/>
                      </a:cubicBezTo>
                      <a:cubicBezTo>
                        <a:pt x="8686" y="-1302"/>
                        <a:pt x="3184" y="552"/>
                        <a:pt x="971" y="5098"/>
                      </a:cubicBezTo>
                      <a:cubicBezTo>
                        <a:pt x="-1302" y="9643"/>
                        <a:pt x="552" y="15205"/>
                        <a:pt x="5098" y="17478"/>
                      </a:cubicBezTo>
                      <a:close/>
                    </a:path>
                  </a:pathLst>
                </a:custGeom>
                <a:grpFill/>
                <a:ln w="5978" cap="flat">
                  <a:noFill/>
                  <a:prstDash val="solid"/>
                  <a:miter/>
                </a:ln>
              </p:spPr>
              <p:txBody>
                <a:bodyPr rtlCol="0" anchor="ctr"/>
                <a:lstStyle/>
                <a:p>
                  <a:endParaRPr lang="en-GB"/>
                </a:p>
              </p:txBody>
            </p:sp>
          </p:grpSp>
          <p:grpSp>
            <p:nvGrpSpPr>
              <p:cNvPr id="289" name="Graphic 3">
                <a:extLst>
                  <a:ext uri="{FF2B5EF4-FFF2-40B4-BE49-F238E27FC236}">
                    <a16:creationId xmlns:a16="http://schemas.microsoft.com/office/drawing/2014/main" id="{B68CADF9-93BB-4A0F-BC6D-3486084A9DE1}"/>
                  </a:ext>
                </a:extLst>
              </p:cNvPr>
              <p:cNvGrpSpPr/>
              <p:nvPr/>
            </p:nvGrpSpPr>
            <p:grpSpPr>
              <a:xfrm>
                <a:off x="6964236" y="1478249"/>
                <a:ext cx="43670" cy="70116"/>
                <a:chOff x="6964236" y="1478249"/>
                <a:chExt cx="43670" cy="70116"/>
              </a:xfrm>
              <a:grpFill/>
            </p:grpSpPr>
            <p:sp>
              <p:nvSpPr>
                <p:cNvPr id="4512" name="Vrije vorm: vorm 4511">
                  <a:extLst>
                    <a:ext uri="{FF2B5EF4-FFF2-40B4-BE49-F238E27FC236}">
                      <a16:creationId xmlns:a16="http://schemas.microsoft.com/office/drawing/2014/main" id="{BB846F16-C744-45EC-BFBF-DCD048E1401D}"/>
                    </a:ext>
                  </a:extLst>
                </p:cNvPr>
                <p:cNvSpPr/>
                <p:nvPr/>
              </p:nvSpPr>
              <p:spPr>
                <a:xfrm>
                  <a:off x="6971867" y="1486309"/>
                  <a:ext cx="28408" cy="53946"/>
                </a:xfrm>
                <a:custGeom>
                  <a:avLst/>
                  <a:gdLst>
                    <a:gd name="connsiteX0" fmla="*/ 28408 w 28408"/>
                    <a:gd name="connsiteY0" fmla="*/ 1376 h 53946"/>
                    <a:gd name="connsiteX1" fmla="*/ 2691 w 28408"/>
                    <a:gd name="connsiteY1" fmla="*/ 53946 h 53946"/>
                    <a:gd name="connsiteX2" fmla="*/ 0 w 28408"/>
                    <a:gd name="connsiteY2" fmla="*/ 52571 h 53946"/>
                    <a:gd name="connsiteX3" fmla="*/ 25717 w 28408"/>
                    <a:gd name="connsiteY3" fmla="*/ 0 h 53946"/>
                  </a:gdLst>
                  <a:ahLst/>
                  <a:cxnLst>
                    <a:cxn ang="0">
                      <a:pos x="connsiteX0" y="connsiteY0"/>
                    </a:cxn>
                    <a:cxn ang="0">
                      <a:pos x="connsiteX1" y="connsiteY1"/>
                    </a:cxn>
                    <a:cxn ang="0">
                      <a:pos x="connsiteX2" y="connsiteY2"/>
                    </a:cxn>
                    <a:cxn ang="0">
                      <a:pos x="connsiteX3" y="connsiteY3"/>
                    </a:cxn>
                  </a:cxnLst>
                  <a:rect l="l" t="t" r="r" b="b"/>
                  <a:pathLst>
                    <a:path w="28408" h="53946">
                      <a:moveTo>
                        <a:pt x="28408" y="1376"/>
                      </a:moveTo>
                      <a:lnTo>
                        <a:pt x="2691" y="53946"/>
                      </a:lnTo>
                      <a:lnTo>
                        <a:pt x="0" y="52571"/>
                      </a:lnTo>
                      <a:lnTo>
                        <a:pt x="25717" y="0"/>
                      </a:lnTo>
                      <a:close/>
                    </a:path>
                  </a:pathLst>
                </a:custGeom>
                <a:grpFill/>
                <a:ln w="5978" cap="flat">
                  <a:noFill/>
                  <a:prstDash val="solid"/>
                  <a:miter/>
                </a:ln>
              </p:spPr>
              <p:txBody>
                <a:bodyPr rtlCol="0" anchor="ctr"/>
                <a:lstStyle/>
                <a:p>
                  <a:endParaRPr lang="en-GB"/>
                </a:p>
              </p:txBody>
            </p:sp>
            <p:sp>
              <p:nvSpPr>
                <p:cNvPr id="4513" name="Vrije vorm: vorm 4512">
                  <a:extLst>
                    <a:ext uri="{FF2B5EF4-FFF2-40B4-BE49-F238E27FC236}">
                      <a16:creationId xmlns:a16="http://schemas.microsoft.com/office/drawing/2014/main" id="{73840695-AAEE-4F73-B98B-40A987566474}"/>
                    </a:ext>
                  </a:extLst>
                </p:cNvPr>
                <p:cNvSpPr/>
                <p:nvPr/>
              </p:nvSpPr>
              <p:spPr>
                <a:xfrm>
                  <a:off x="6964236" y="1529993"/>
                  <a:ext cx="18338" cy="18372"/>
                </a:xfrm>
                <a:custGeom>
                  <a:avLst/>
                  <a:gdLst>
                    <a:gd name="connsiteX0" fmla="*/ 17380 w 18338"/>
                    <a:gd name="connsiteY0" fmla="*/ 13253 h 18372"/>
                    <a:gd name="connsiteX1" fmla="*/ 5119 w 18338"/>
                    <a:gd name="connsiteY1" fmla="*/ 17440 h 18372"/>
                    <a:gd name="connsiteX2" fmla="*/ 933 w 18338"/>
                    <a:gd name="connsiteY2" fmla="*/ 5119 h 18372"/>
                    <a:gd name="connsiteX3" fmla="*/ 13193 w 18338"/>
                    <a:gd name="connsiteY3" fmla="*/ 933 h 18372"/>
                    <a:gd name="connsiteX4" fmla="*/ 17380 w 18338"/>
                    <a:gd name="connsiteY4" fmla="*/ 13253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2">
                      <a:moveTo>
                        <a:pt x="17380" y="13253"/>
                      </a:moveTo>
                      <a:cubicBezTo>
                        <a:pt x="15167" y="17798"/>
                        <a:pt x="9665" y="19653"/>
                        <a:pt x="5119" y="17440"/>
                      </a:cubicBezTo>
                      <a:cubicBezTo>
                        <a:pt x="574" y="15227"/>
                        <a:pt x="-1280" y="9665"/>
                        <a:pt x="933" y="5119"/>
                      </a:cubicBezTo>
                      <a:cubicBezTo>
                        <a:pt x="3146" y="574"/>
                        <a:pt x="8648" y="-1280"/>
                        <a:pt x="13193" y="933"/>
                      </a:cubicBezTo>
                      <a:cubicBezTo>
                        <a:pt x="17738" y="3206"/>
                        <a:pt x="19653" y="8708"/>
                        <a:pt x="17380" y="13253"/>
                      </a:cubicBezTo>
                      <a:close/>
                    </a:path>
                  </a:pathLst>
                </a:custGeom>
                <a:grpFill/>
                <a:ln w="5978" cap="flat">
                  <a:noFill/>
                  <a:prstDash val="solid"/>
                  <a:miter/>
                </a:ln>
              </p:spPr>
              <p:txBody>
                <a:bodyPr rtlCol="0" anchor="ctr"/>
                <a:lstStyle/>
                <a:p>
                  <a:endParaRPr lang="en-GB"/>
                </a:p>
              </p:txBody>
            </p:sp>
            <p:sp>
              <p:nvSpPr>
                <p:cNvPr id="4514" name="Vrije vorm: vorm 4513">
                  <a:extLst>
                    <a:ext uri="{FF2B5EF4-FFF2-40B4-BE49-F238E27FC236}">
                      <a16:creationId xmlns:a16="http://schemas.microsoft.com/office/drawing/2014/main" id="{979AF675-4527-4AC4-A8DF-7D0B56A8BF4C}"/>
                    </a:ext>
                  </a:extLst>
                </p:cNvPr>
                <p:cNvSpPr/>
                <p:nvPr/>
              </p:nvSpPr>
              <p:spPr>
                <a:xfrm>
                  <a:off x="6989594" y="1478249"/>
                  <a:ext cx="18312" cy="18383"/>
                </a:xfrm>
                <a:custGeom>
                  <a:avLst/>
                  <a:gdLst>
                    <a:gd name="connsiteX0" fmla="*/ 17380 w 18312"/>
                    <a:gd name="connsiteY0" fmla="*/ 13264 h 18383"/>
                    <a:gd name="connsiteX1" fmla="*/ 13193 w 18312"/>
                    <a:gd name="connsiteY1" fmla="*/ 943 h 18383"/>
                    <a:gd name="connsiteX2" fmla="*/ 933 w 18312"/>
                    <a:gd name="connsiteY2" fmla="*/ 5130 h 18383"/>
                    <a:gd name="connsiteX3" fmla="*/ 5119 w 18312"/>
                    <a:gd name="connsiteY3" fmla="*/ 17450 h 18383"/>
                    <a:gd name="connsiteX4" fmla="*/ 17380 w 18312"/>
                    <a:gd name="connsiteY4" fmla="*/ 13264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83">
                      <a:moveTo>
                        <a:pt x="17380" y="13264"/>
                      </a:moveTo>
                      <a:cubicBezTo>
                        <a:pt x="19593" y="8718"/>
                        <a:pt x="17738" y="3156"/>
                        <a:pt x="13193" y="943"/>
                      </a:cubicBezTo>
                      <a:cubicBezTo>
                        <a:pt x="8648" y="-1269"/>
                        <a:pt x="3146" y="525"/>
                        <a:pt x="933" y="5130"/>
                      </a:cubicBezTo>
                      <a:cubicBezTo>
                        <a:pt x="-1280" y="9675"/>
                        <a:pt x="574" y="15237"/>
                        <a:pt x="5119" y="17450"/>
                      </a:cubicBezTo>
                      <a:cubicBezTo>
                        <a:pt x="9665" y="19663"/>
                        <a:pt x="15107" y="17809"/>
                        <a:pt x="17380" y="13264"/>
                      </a:cubicBezTo>
                      <a:close/>
                    </a:path>
                  </a:pathLst>
                </a:custGeom>
                <a:grpFill/>
                <a:ln w="5978" cap="flat">
                  <a:noFill/>
                  <a:prstDash val="solid"/>
                  <a:miter/>
                </a:ln>
              </p:spPr>
              <p:txBody>
                <a:bodyPr rtlCol="0" anchor="ctr"/>
                <a:lstStyle/>
                <a:p>
                  <a:endParaRPr lang="en-GB"/>
                </a:p>
              </p:txBody>
            </p:sp>
          </p:grpSp>
          <p:grpSp>
            <p:nvGrpSpPr>
              <p:cNvPr id="290" name="Graphic 3">
                <a:extLst>
                  <a:ext uri="{FF2B5EF4-FFF2-40B4-BE49-F238E27FC236}">
                    <a16:creationId xmlns:a16="http://schemas.microsoft.com/office/drawing/2014/main" id="{04C17CB8-B16C-4C0D-91D5-80BC565246DC}"/>
                  </a:ext>
                </a:extLst>
              </p:cNvPr>
              <p:cNvGrpSpPr/>
              <p:nvPr/>
            </p:nvGrpSpPr>
            <p:grpSpPr>
              <a:xfrm>
                <a:off x="7678510" y="3796052"/>
                <a:ext cx="228182" cy="102090"/>
                <a:chOff x="7678510" y="3796052"/>
                <a:chExt cx="228182" cy="102090"/>
              </a:xfrm>
              <a:grpFill/>
            </p:grpSpPr>
            <p:sp>
              <p:nvSpPr>
                <p:cNvPr id="4509" name="Vrije vorm: vorm 4508">
                  <a:extLst>
                    <a:ext uri="{FF2B5EF4-FFF2-40B4-BE49-F238E27FC236}">
                      <a16:creationId xmlns:a16="http://schemas.microsoft.com/office/drawing/2014/main" id="{F9B22C1A-9FC0-4602-8C69-BAF4714513E2}"/>
                    </a:ext>
                  </a:extLst>
                </p:cNvPr>
                <p:cNvSpPr/>
                <p:nvPr/>
              </p:nvSpPr>
              <p:spPr>
                <a:xfrm>
                  <a:off x="7686683" y="3803659"/>
                  <a:ext cx="211776" cy="86899"/>
                </a:xfrm>
                <a:custGeom>
                  <a:avLst/>
                  <a:gdLst>
                    <a:gd name="connsiteX0" fmla="*/ 211777 w 211776"/>
                    <a:gd name="connsiteY0" fmla="*/ 84029 h 86899"/>
                    <a:gd name="connsiteX1" fmla="*/ 210641 w 211776"/>
                    <a:gd name="connsiteY1" fmla="*/ 86900 h 86899"/>
                    <a:gd name="connsiteX2" fmla="*/ 0 w 211776"/>
                    <a:gd name="connsiteY2" fmla="*/ 2871 h 86899"/>
                    <a:gd name="connsiteX3" fmla="*/ 1136 w 211776"/>
                    <a:gd name="connsiteY3" fmla="*/ 0 h 86899"/>
                  </a:gdLst>
                  <a:ahLst/>
                  <a:cxnLst>
                    <a:cxn ang="0">
                      <a:pos x="connsiteX0" y="connsiteY0"/>
                    </a:cxn>
                    <a:cxn ang="0">
                      <a:pos x="connsiteX1" y="connsiteY1"/>
                    </a:cxn>
                    <a:cxn ang="0">
                      <a:pos x="connsiteX2" y="connsiteY2"/>
                    </a:cxn>
                    <a:cxn ang="0">
                      <a:pos x="connsiteX3" y="connsiteY3"/>
                    </a:cxn>
                  </a:cxnLst>
                  <a:rect l="l" t="t" r="r" b="b"/>
                  <a:pathLst>
                    <a:path w="211776" h="86899">
                      <a:moveTo>
                        <a:pt x="211777" y="84029"/>
                      </a:moveTo>
                      <a:lnTo>
                        <a:pt x="210641" y="86900"/>
                      </a:lnTo>
                      <a:lnTo>
                        <a:pt x="0" y="2871"/>
                      </a:lnTo>
                      <a:lnTo>
                        <a:pt x="1136" y="0"/>
                      </a:lnTo>
                      <a:close/>
                    </a:path>
                  </a:pathLst>
                </a:custGeom>
                <a:grpFill/>
                <a:ln w="5978" cap="flat">
                  <a:noFill/>
                  <a:prstDash val="solid"/>
                  <a:miter/>
                </a:ln>
              </p:spPr>
              <p:txBody>
                <a:bodyPr rtlCol="0" anchor="ctr"/>
                <a:lstStyle/>
                <a:p>
                  <a:endParaRPr lang="en-GB"/>
                </a:p>
              </p:txBody>
            </p:sp>
            <p:sp>
              <p:nvSpPr>
                <p:cNvPr id="4510" name="Vrije vorm: vorm 4509">
                  <a:extLst>
                    <a:ext uri="{FF2B5EF4-FFF2-40B4-BE49-F238E27FC236}">
                      <a16:creationId xmlns:a16="http://schemas.microsoft.com/office/drawing/2014/main" id="{99E8B1E7-1ABC-4255-8CCD-0EB13E989A0A}"/>
                    </a:ext>
                  </a:extLst>
                </p:cNvPr>
                <p:cNvSpPr/>
                <p:nvPr/>
              </p:nvSpPr>
              <p:spPr>
                <a:xfrm>
                  <a:off x="7678510" y="3796052"/>
                  <a:ext cx="18378" cy="18419"/>
                </a:xfrm>
                <a:custGeom>
                  <a:avLst/>
                  <a:gdLst>
                    <a:gd name="connsiteX0" fmla="*/ 5840 w 18378"/>
                    <a:gd name="connsiteY0" fmla="*/ 17775 h 18419"/>
                    <a:gd name="connsiteX1" fmla="*/ 637 w 18378"/>
                    <a:gd name="connsiteY1" fmla="*/ 5813 h 18419"/>
                    <a:gd name="connsiteX2" fmla="*/ 12539 w 18378"/>
                    <a:gd name="connsiteY2" fmla="*/ 670 h 18419"/>
                    <a:gd name="connsiteX3" fmla="*/ 17742 w 18378"/>
                    <a:gd name="connsiteY3" fmla="*/ 12631 h 18419"/>
                    <a:gd name="connsiteX4" fmla="*/ 5840 w 18378"/>
                    <a:gd name="connsiteY4" fmla="*/ 17775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19">
                      <a:moveTo>
                        <a:pt x="5840" y="17775"/>
                      </a:moveTo>
                      <a:cubicBezTo>
                        <a:pt x="1115" y="15921"/>
                        <a:pt x="-1217" y="10538"/>
                        <a:pt x="637" y="5813"/>
                      </a:cubicBezTo>
                      <a:cubicBezTo>
                        <a:pt x="2491" y="1089"/>
                        <a:pt x="7814" y="-1244"/>
                        <a:pt x="12539" y="670"/>
                      </a:cubicBezTo>
                      <a:cubicBezTo>
                        <a:pt x="17264" y="2524"/>
                        <a:pt x="19595" y="7907"/>
                        <a:pt x="17742" y="12631"/>
                      </a:cubicBezTo>
                      <a:cubicBezTo>
                        <a:pt x="15828" y="17356"/>
                        <a:pt x="10505" y="19629"/>
                        <a:pt x="5840" y="17775"/>
                      </a:cubicBezTo>
                      <a:close/>
                    </a:path>
                  </a:pathLst>
                </a:custGeom>
                <a:grpFill/>
                <a:ln w="5978" cap="flat">
                  <a:noFill/>
                  <a:prstDash val="solid"/>
                  <a:miter/>
                </a:ln>
              </p:spPr>
              <p:txBody>
                <a:bodyPr rtlCol="0" anchor="ctr"/>
                <a:lstStyle/>
                <a:p>
                  <a:endParaRPr lang="en-GB"/>
                </a:p>
              </p:txBody>
            </p:sp>
            <p:sp>
              <p:nvSpPr>
                <p:cNvPr id="4511" name="Vrije vorm: vorm 4510">
                  <a:extLst>
                    <a:ext uri="{FF2B5EF4-FFF2-40B4-BE49-F238E27FC236}">
                      <a16:creationId xmlns:a16="http://schemas.microsoft.com/office/drawing/2014/main" id="{9EC93E2C-DE5A-4579-900D-1F3139CC931C}"/>
                    </a:ext>
                  </a:extLst>
                </p:cNvPr>
                <p:cNvSpPr/>
                <p:nvPr/>
              </p:nvSpPr>
              <p:spPr>
                <a:xfrm>
                  <a:off x="7888314" y="3879747"/>
                  <a:ext cx="18378" cy="18395"/>
                </a:xfrm>
                <a:custGeom>
                  <a:avLst/>
                  <a:gdLst>
                    <a:gd name="connsiteX0" fmla="*/ 5840 w 18378"/>
                    <a:gd name="connsiteY0" fmla="*/ 17750 h 18395"/>
                    <a:gd name="connsiteX1" fmla="*/ 17741 w 18378"/>
                    <a:gd name="connsiteY1" fmla="*/ 12607 h 18395"/>
                    <a:gd name="connsiteX2" fmla="*/ 12538 w 18378"/>
                    <a:gd name="connsiteY2" fmla="*/ 645 h 18395"/>
                    <a:gd name="connsiteX3" fmla="*/ 637 w 18378"/>
                    <a:gd name="connsiteY3" fmla="*/ 5789 h 18395"/>
                    <a:gd name="connsiteX4" fmla="*/ 5840 w 18378"/>
                    <a:gd name="connsiteY4" fmla="*/ 17750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395">
                      <a:moveTo>
                        <a:pt x="5840" y="17750"/>
                      </a:moveTo>
                      <a:cubicBezTo>
                        <a:pt x="10565" y="19604"/>
                        <a:pt x="15888" y="17332"/>
                        <a:pt x="17741" y="12607"/>
                      </a:cubicBezTo>
                      <a:cubicBezTo>
                        <a:pt x="19596" y="7882"/>
                        <a:pt x="17263" y="2499"/>
                        <a:pt x="12538" y="645"/>
                      </a:cubicBezTo>
                      <a:cubicBezTo>
                        <a:pt x="7814" y="-1209"/>
                        <a:pt x="2491" y="1064"/>
                        <a:pt x="637" y="5789"/>
                      </a:cubicBezTo>
                      <a:cubicBezTo>
                        <a:pt x="-1217" y="10513"/>
                        <a:pt x="1115" y="15896"/>
                        <a:pt x="5840" y="17750"/>
                      </a:cubicBezTo>
                      <a:close/>
                    </a:path>
                  </a:pathLst>
                </a:custGeom>
                <a:grpFill/>
                <a:ln w="5978" cap="flat">
                  <a:noFill/>
                  <a:prstDash val="solid"/>
                  <a:miter/>
                </a:ln>
              </p:spPr>
              <p:txBody>
                <a:bodyPr rtlCol="0" anchor="ctr"/>
                <a:lstStyle/>
                <a:p>
                  <a:endParaRPr lang="en-GB"/>
                </a:p>
              </p:txBody>
            </p:sp>
          </p:grpSp>
          <p:grpSp>
            <p:nvGrpSpPr>
              <p:cNvPr id="291" name="Graphic 3">
                <a:extLst>
                  <a:ext uri="{FF2B5EF4-FFF2-40B4-BE49-F238E27FC236}">
                    <a16:creationId xmlns:a16="http://schemas.microsoft.com/office/drawing/2014/main" id="{7F64D4AE-F721-4849-8762-F4E799A6ADF5}"/>
                  </a:ext>
                </a:extLst>
              </p:cNvPr>
              <p:cNvGrpSpPr/>
              <p:nvPr/>
            </p:nvGrpSpPr>
            <p:grpSpPr>
              <a:xfrm>
                <a:off x="7168172" y="2091848"/>
                <a:ext cx="85667" cy="92898"/>
                <a:chOff x="7168172" y="2091848"/>
                <a:chExt cx="85667" cy="92898"/>
              </a:xfrm>
              <a:grpFill/>
            </p:grpSpPr>
            <p:sp>
              <p:nvSpPr>
                <p:cNvPr id="4506" name="Vrije vorm: vorm 4505">
                  <a:extLst>
                    <a:ext uri="{FF2B5EF4-FFF2-40B4-BE49-F238E27FC236}">
                      <a16:creationId xmlns:a16="http://schemas.microsoft.com/office/drawing/2014/main" id="{4015260C-5D08-4810-B747-4B975390C4D4}"/>
                    </a:ext>
                  </a:extLst>
                </p:cNvPr>
                <p:cNvSpPr/>
                <p:nvPr/>
              </p:nvSpPr>
              <p:spPr>
                <a:xfrm>
                  <a:off x="7175929" y="2099692"/>
                  <a:ext cx="70153" cy="77211"/>
                </a:xfrm>
                <a:custGeom>
                  <a:avLst/>
                  <a:gdLst>
                    <a:gd name="connsiteX0" fmla="*/ 70154 w 70153"/>
                    <a:gd name="connsiteY0" fmla="*/ 2093 h 77211"/>
                    <a:gd name="connsiteX1" fmla="*/ 2273 w 70153"/>
                    <a:gd name="connsiteY1" fmla="*/ 77211 h 77211"/>
                    <a:gd name="connsiteX2" fmla="*/ 0 w 70153"/>
                    <a:gd name="connsiteY2" fmla="*/ 75118 h 77211"/>
                    <a:gd name="connsiteX3" fmla="*/ 67881 w 70153"/>
                    <a:gd name="connsiteY3" fmla="*/ 0 h 77211"/>
                  </a:gdLst>
                  <a:ahLst/>
                  <a:cxnLst>
                    <a:cxn ang="0">
                      <a:pos x="connsiteX0" y="connsiteY0"/>
                    </a:cxn>
                    <a:cxn ang="0">
                      <a:pos x="connsiteX1" y="connsiteY1"/>
                    </a:cxn>
                    <a:cxn ang="0">
                      <a:pos x="connsiteX2" y="connsiteY2"/>
                    </a:cxn>
                    <a:cxn ang="0">
                      <a:pos x="connsiteX3" y="connsiteY3"/>
                    </a:cxn>
                  </a:cxnLst>
                  <a:rect l="l" t="t" r="r" b="b"/>
                  <a:pathLst>
                    <a:path w="70153" h="77211">
                      <a:moveTo>
                        <a:pt x="70154" y="2093"/>
                      </a:moveTo>
                      <a:lnTo>
                        <a:pt x="2273" y="77211"/>
                      </a:lnTo>
                      <a:lnTo>
                        <a:pt x="0" y="75118"/>
                      </a:lnTo>
                      <a:lnTo>
                        <a:pt x="67881" y="0"/>
                      </a:lnTo>
                      <a:close/>
                    </a:path>
                  </a:pathLst>
                </a:custGeom>
                <a:grpFill/>
                <a:ln w="5978" cap="flat">
                  <a:noFill/>
                  <a:prstDash val="solid"/>
                  <a:miter/>
                </a:ln>
              </p:spPr>
              <p:txBody>
                <a:bodyPr rtlCol="0" anchor="ctr"/>
                <a:lstStyle/>
                <a:p>
                  <a:endParaRPr lang="en-GB"/>
                </a:p>
              </p:txBody>
            </p:sp>
            <p:sp>
              <p:nvSpPr>
                <p:cNvPr id="4507" name="Vrije vorm: vorm 4506">
                  <a:extLst>
                    <a:ext uri="{FF2B5EF4-FFF2-40B4-BE49-F238E27FC236}">
                      <a16:creationId xmlns:a16="http://schemas.microsoft.com/office/drawing/2014/main" id="{C74E8E7B-A43D-4E13-BA53-81BF50A0C0FB}"/>
                    </a:ext>
                  </a:extLst>
                </p:cNvPr>
                <p:cNvSpPr/>
                <p:nvPr/>
              </p:nvSpPr>
              <p:spPr>
                <a:xfrm>
                  <a:off x="7235515" y="2091848"/>
                  <a:ext cx="18324" cy="18438"/>
                </a:xfrm>
                <a:custGeom>
                  <a:avLst/>
                  <a:gdLst>
                    <a:gd name="connsiteX0" fmla="*/ 2374 w 18324"/>
                    <a:gd name="connsiteY0" fmla="*/ 2999 h 18438"/>
                    <a:gd name="connsiteX1" fmla="*/ 15293 w 18324"/>
                    <a:gd name="connsiteY1" fmla="*/ 2401 h 18438"/>
                    <a:gd name="connsiteX2" fmla="*/ 15951 w 18324"/>
                    <a:gd name="connsiteY2" fmla="*/ 15439 h 18438"/>
                    <a:gd name="connsiteX3" fmla="*/ 3032 w 18324"/>
                    <a:gd name="connsiteY3" fmla="*/ 16038 h 18438"/>
                    <a:gd name="connsiteX4" fmla="*/ 2374 w 18324"/>
                    <a:gd name="connsiteY4" fmla="*/ 299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8">
                      <a:moveTo>
                        <a:pt x="2374" y="2999"/>
                      </a:moveTo>
                      <a:cubicBezTo>
                        <a:pt x="5783" y="-768"/>
                        <a:pt x="11585" y="-1008"/>
                        <a:pt x="15293" y="2401"/>
                      </a:cubicBezTo>
                      <a:cubicBezTo>
                        <a:pt x="19061" y="5810"/>
                        <a:pt x="19359" y="11672"/>
                        <a:pt x="15951" y="15439"/>
                      </a:cubicBezTo>
                      <a:cubicBezTo>
                        <a:pt x="12541" y="19207"/>
                        <a:pt x="6740" y="19446"/>
                        <a:pt x="3032" y="16038"/>
                      </a:cubicBezTo>
                      <a:cubicBezTo>
                        <a:pt x="-736" y="12569"/>
                        <a:pt x="-1034" y="6767"/>
                        <a:pt x="2374" y="2999"/>
                      </a:cubicBezTo>
                      <a:close/>
                    </a:path>
                  </a:pathLst>
                </a:custGeom>
                <a:grpFill/>
                <a:ln w="5978" cap="flat">
                  <a:noFill/>
                  <a:prstDash val="solid"/>
                  <a:miter/>
                </a:ln>
              </p:spPr>
              <p:txBody>
                <a:bodyPr rtlCol="0" anchor="ctr"/>
                <a:lstStyle/>
                <a:p>
                  <a:endParaRPr lang="en-GB"/>
                </a:p>
              </p:txBody>
            </p:sp>
            <p:sp>
              <p:nvSpPr>
                <p:cNvPr id="4508" name="Vrije vorm: vorm 4507">
                  <a:extLst>
                    <a:ext uri="{FF2B5EF4-FFF2-40B4-BE49-F238E27FC236}">
                      <a16:creationId xmlns:a16="http://schemas.microsoft.com/office/drawing/2014/main" id="{E40E6664-92A9-40B6-B2BA-DAEEA47AA3EF}"/>
                    </a:ext>
                  </a:extLst>
                </p:cNvPr>
                <p:cNvSpPr/>
                <p:nvPr/>
              </p:nvSpPr>
              <p:spPr>
                <a:xfrm>
                  <a:off x="7168172" y="2166284"/>
                  <a:ext cx="18324" cy="18462"/>
                </a:xfrm>
                <a:custGeom>
                  <a:avLst/>
                  <a:gdLst>
                    <a:gd name="connsiteX0" fmla="*/ 2374 w 18324"/>
                    <a:gd name="connsiteY0" fmla="*/ 3023 h 18462"/>
                    <a:gd name="connsiteX1" fmla="*/ 3032 w 18324"/>
                    <a:gd name="connsiteY1" fmla="*/ 16061 h 18462"/>
                    <a:gd name="connsiteX2" fmla="*/ 15951 w 18324"/>
                    <a:gd name="connsiteY2" fmla="*/ 15463 h 18462"/>
                    <a:gd name="connsiteX3" fmla="*/ 15293 w 18324"/>
                    <a:gd name="connsiteY3" fmla="*/ 2425 h 18462"/>
                    <a:gd name="connsiteX4" fmla="*/ 2374 w 18324"/>
                    <a:gd name="connsiteY4" fmla="*/ 3023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2">
                      <a:moveTo>
                        <a:pt x="2374" y="3023"/>
                      </a:moveTo>
                      <a:cubicBezTo>
                        <a:pt x="-1034" y="6791"/>
                        <a:pt x="-736" y="12592"/>
                        <a:pt x="3032" y="16061"/>
                      </a:cubicBezTo>
                      <a:cubicBezTo>
                        <a:pt x="6800" y="19470"/>
                        <a:pt x="12601" y="19231"/>
                        <a:pt x="15951" y="15463"/>
                      </a:cubicBezTo>
                      <a:cubicBezTo>
                        <a:pt x="19359" y="11695"/>
                        <a:pt x="19061" y="5894"/>
                        <a:pt x="15293" y="2425"/>
                      </a:cubicBezTo>
                      <a:cubicBezTo>
                        <a:pt x="11585" y="-1044"/>
                        <a:pt x="5784" y="-745"/>
                        <a:pt x="2374" y="3023"/>
                      </a:cubicBezTo>
                      <a:close/>
                    </a:path>
                  </a:pathLst>
                </a:custGeom>
                <a:grpFill/>
                <a:ln w="5978" cap="flat">
                  <a:noFill/>
                  <a:prstDash val="solid"/>
                  <a:miter/>
                </a:ln>
              </p:spPr>
              <p:txBody>
                <a:bodyPr rtlCol="0" anchor="ctr"/>
                <a:lstStyle/>
                <a:p>
                  <a:endParaRPr lang="en-GB"/>
                </a:p>
              </p:txBody>
            </p:sp>
          </p:grpSp>
          <p:grpSp>
            <p:nvGrpSpPr>
              <p:cNvPr id="292" name="Graphic 3">
                <a:extLst>
                  <a:ext uri="{FF2B5EF4-FFF2-40B4-BE49-F238E27FC236}">
                    <a16:creationId xmlns:a16="http://schemas.microsoft.com/office/drawing/2014/main" id="{959868CC-A1FC-4A85-B347-1920C4BD05AF}"/>
                  </a:ext>
                </a:extLst>
              </p:cNvPr>
              <p:cNvGrpSpPr/>
              <p:nvPr/>
            </p:nvGrpSpPr>
            <p:grpSpPr>
              <a:xfrm>
                <a:off x="7630749" y="3944611"/>
                <a:ext cx="455759" cy="207293"/>
                <a:chOff x="7630749" y="3944611"/>
                <a:chExt cx="455759" cy="207293"/>
              </a:xfrm>
              <a:grpFill/>
            </p:grpSpPr>
            <p:sp>
              <p:nvSpPr>
                <p:cNvPr id="4503" name="Vrije vorm: vorm 4502">
                  <a:extLst>
                    <a:ext uri="{FF2B5EF4-FFF2-40B4-BE49-F238E27FC236}">
                      <a16:creationId xmlns:a16="http://schemas.microsoft.com/office/drawing/2014/main" id="{C572EE0E-C121-416B-BE4B-2ECCC2025020}"/>
                    </a:ext>
                  </a:extLst>
                </p:cNvPr>
                <p:cNvSpPr/>
                <p:nvPr/>
              </p:nvSpPr>
              <p:spPr>
                <a:xfrm>
                  <a:off x="7638897" y="3952160"/>
                  <a:ext cx="439463" cy="192100"/>
                </a:xfrm>
                <a:custGeom>
                  <a:avLst/>
                  <a:gdLst>
                    <a:gd name="connsiteX0" fmla="*/ 439463 w 439463"/>
                    <a:gd name="connsiteY0" fmla="*/ 189290 h 192100"/>
                    <a:gd name="connsiteX1" fmla="*/ 438267 w 439463"/>
                    <a:gd name="connsiteY1" fmla="*/ 192101 h 192100"/>
                    <a:gd name="connsiteX2" fmla="*/ 0 w 439463"/>
                    <a:gd name="connsiteY2" fmla="*/ 2871 h 192100"/>
                    <a:gd name="connsiteX3" fmla="*/ 1196 w 439463"/>
                    <a:gd name="connsiteY3" fmla="*/ 0 h 192100"/>
                  </a:gdLst>
                  <a:ahLst/>
                  <a:cxnLst>
                    <a:cxn ang="0">
                      <a:pos x="connsiteX0" y="connsiteY0"/>
                    </a:cxn>
                    <a:cxn ang="0">
                      <a:pos x="connsiteX1" y="connsiteY1"/>
                    </a:cxn>
                    <a:cxn ang="0">
                      <a:pos x="connsiteX2" y="connsiteY2"/>
                    </a:cxn>
                    <a:cxn ang="0">
                      <a:pos x="connsiteX3" y="connsiteY3"/>
                    </a:cxn>
                  </a:cxnLst>
                  <a:rect l="l" t="t" r="r" b="b"/>
                  <a:pathLst>
                    <a:path w="439463" h="192100">
                      <a:moveTo>
                        <a:pt x="439463" y="189290"/>
                      </a:moveTo>
                      <a:lnTo>
                        <a:pt x="438267" y="192101"/>
                      </a:lnTo>
                      <a:lnTo>
                        <a:pt x="0" y="2871"/>
                      </a:lnTo>
                      <a:lnTo>
                        <a:pt x="1196" y="0"/>
                      </a:lnTo>
                      <a:close/>
                    </a:path>
                  </a:pathLst>
                </a:custGeom>
                <a:grpFill/>
                <a:ln w="5978" cap="flat">
                  <a:noFill/>
                  <a:prstDash val="solid"/>
                  <a:miter/>
                </a:ln>
              </p:spPr>
              <p:txBody>
                <a:bodyPr rtlCol="0" anchor="ctr"/>
                <a:lstStyle/>
                <a:p>
                  <a:endParaRPr lang="en-GB"/>
                </a:p>
              </p:txBody>
            </p:sp>
            <p:sp>
              <p:nvSpPr>
                <p:cNvPr id="4504" name="Vrije vorm: vorm 4503">
                  <a:extLst>
                    <a:ext uri="{FF2B5EF4-FFF2-40B4-BE49-F238E27FC236}">
                      <a16:creationId xmlns:a16="http://schemas.microsoft.com/office/drawing/2014/main" id="{5A06556A-E255-490A-A142-22D525555F36}"/>
                    </a:ext>
                  </a:extLst>
                </p:cNvPr>
                <p:cNvSpPr/>
                <p:nvPr/>
              </p:nvSpPr>
              <p:spPr>
                <a:xfrm>
                  <a:off x="7630749" y="3944611"/>
                  <a:ext cx="18328" cy="18388"/>
                </a:xfrm>
                <a:custGeom>
                  <a:avLst/>
                  <a:gdLst>
                    <a:gd name="connsiteX0" fmla="*/ 5576 w 18328"/>
                    <a:gd name="connsiteY0" fmla="*/ 17657 h 18388"/>
                    <a:gd name="connsiteX1" fmla="*/ 732 w 18328"/>
                    <a:gd name="connsiteY1" fmla="*/ 5576 h 18388"/>
                    <a:gd name="connsiteX2" fmla="*/ 12753 w 18328"/>
                    <a:gd name="connsiteY2" fmla="*/ 732 h 18388"/>
                    <a:gd name="connsiteX3" fmla="*/ 17597 w 18328"/>
                    <a:gd name="connsiteY3" fmla="*/ 12813 h 18388"/>
                    <a:gd name="connsiteX4" fmla="*/ 5576 w 18328"/>
                    <a:gd name="connsiteY4" fmla="*/ 17657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88">
                      <a:moveTo>
                        <a:pt x="5576" y="17657"/>
                      </a:moveTo>
                      <a:cubicBezTo>
                        <a:pt x="911" y="15624"/>
                        <a:pt x="-1242" y="10241"/>
                        <a:pt x="732" y="5576"/>
                      </a:cubicBezTo>
                      <a:cubicBezTo>
                        <a:pt x="2705" y="911"/>
                        <a:pt x="8088" y="-1242"/>
                        <a:pt x="12753" y="732"/>
                      </a:cubicBezTo>
                      <a:cubicBezTo>
                        <a:pt x="17418" y="2765"/>
                        <a:pt x="19571" y="8148"/>
                        <a:pt x="17597" y="12813"/>
                      </a:cubicBezTo>
                      <a:cubicBezTo>
                        <a:pt x="15624" y="17478"/>
                        <a:pt x="10181" y="19631"/>
                        <a:pt x="5576" y="17657"/>
                      </a:cubicBezTo>
                      <a:close/>
                    </a:path>
                  </a:pathLst>
                </a:custGeom>
                <a:grpFill/>
                <a:ln w="5978" cap="flat">
                  <a:noFill/>
                  <a:prstDash val="solid"/>
                  <a:miter/>
                </a:ln>
              </p:spPr>
              <p:txBody>
                <a:bodyPr rtlCol="0" anchor="ctr"/>
                <a:lstStyle/>
                <a:p>
                  <a:endParaRPr lang="en-GB"/>
                </a:p>
              </p:txBody>
            </p:sp>
            <p:sp>
              <p:nvSpPr>
                <p:cNvPr id="4505" name="Vrije vorm: vorm 4504">
                  <a:extLst>
                    <a:ext uri="{FF2B5EF4-FFF2-40B4-BE49-F238E27FC236}">
                      <a16:creationId xmlns:a16="http://schemas.microsoft.com/office/drawing/2014/main" id="{A9DFE67A-C2C1-4764-A45E-5B841DE5B057}"/>
                    </a:ext>
                  </a:extLst>
                </p:cNvPr>
                <p:cNvSpPr/>
                <p:nvPr/>
              </p:nvSpPr>
              <p:spPr>
                <a:xfrm>
                  <a:off x="8068179" y="4133448"/>
                  <a:ext cx="18329" cy="18456"/>
                </a:xfrm>
                <a:custGeom>
                  <a:avLst/>
                  <a:gdLst>
                    <a:gd name="connsiteX0" fmla="*/ 5576 w 18329"/>
                    <a:gd name="connsiteY0" fmla="*/ 17691 h 18456"/>
                    <a:gd name="connsiteX1" fmla="*/ 17598 w 18329"/>
                    <a:gd name="connsiteY1" fmla="*/ 12847 h 18456"/>
                    <a:gd name="connsiteX2" fmla="*/ 12753 w 18329"/>
                    <a:gd name="connsiteY2" fmla="*/ 766 h 18456"/>
                    <a:gd name="connsiteX3" fmla="*/ 732 w 18329"/>
                    <a:gd name="connsiteY3" fmla="*/ 5610 h 18456"/>
                    <a:gd name="connsiteX4" fmla="*/ 5576 w 18329"/>
                    <a:gd name="connsiteY4" fmla="*/ 17691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6">
                      <a:moveTo>
                        <a:pt x="5576" y="17691"/>
                      </a:moveTo>
                      <a:cubicBezTo>
                        <a:pt x="10241" y="19725"/>
                        <a:pt x="15624" y="17571"/>
                        <a:pt x="17598" y="12847"/>
                      </a:cubicBezTo>
                      <a:cubicBezTo>
                        <a:pt x="19571" y="8182"/>
                        <a:pt x="17418" y="2739"/>
                        <a:pt x="12753" y="766"/>
                      </a:cubicBezTo>
                      <a:cubicBezTo>
                        <a:pt x="8088" y="-1268"/>
                        <a:pt x="2706" y="885"/>
                        <a:pt x="732" y="5610"/>
                      </a:cubicBezTo>
                      <a:cubicBezTo>
                        <a:pt x="-1242" y="10335"/>
                        <a:pt x="911" y="15658"/>
                        <a:pt x="5576" y="17691"/>
                      </a:cubicBezTo>
                      <a:close/>
                    </a:path>
                  </a:pathLst>
                </a:custGeom>
                <a:grpFill/>
                <a:ln w="5978" cap="flat">
                  <a:noFill/>
                  <a:prstDash val="solid"/>
                  <a:miter/>
                </a:ln>
              </p:spPr>
              <p:txBody>
                <a:bodyPr rtlCol="0" anchor="ctr"/>
                <a:lstStyle/>
                <a:p>
                  <a:endParaRPr lang="en-GB"/>
                </a:p>
              </p:txBody>
            </p:sp>
          </p:grpSp>
          <p:grpSp>
            <p:nvGrpSpPr>
              <p:cNvPr id="293" name="Graphic 3">
                <a:extLst>
                  <a:ext uri="{FF2B5EF4-FFF2-40B4-BE49-F238E27FC236}">
                    <a16:creationId xmlns:a16="http://schemas.microsoft.com/office/drawing/2014/main" id="{A21C9DED-4A6C-4FFE-9969-24935EDE33C7}"/>
                  </a:ext>
                </a:extLst>
              </p:cNvPr>
              <p:cNvGrpSpPr/>
              <p:nvPr/>
            </p:nvGrpSpPr>
            <p:grpSpPr>
              <a:xfrm>
                <a:off x="7006792" y="1757363"/>
                <a:ext cx="241805" cy="278507"/>
                <a:chOff x="7006792" y="1757363"/>
                <a:chExt cx="241805" cy="278507"/>
              </a:xfrm>
              <a:grpFill/>
            </p:grpSpPr>
            <p:sp>
              <p:nvSpPr>
                <p:cNvPr id="4500" name="Vrije vorm: vorm 4499">
                  <a:extLst>
                    <a:ext uri="{FF2B5EF4-FFF2-40B4-BE49-F238E27FC236}">
                      <a16:creationId xmlns:a16="http://schemas.microsoft.com/office/drawing/2014/main" id="{0035A22A-95F3-4542-97A3-79AEA728064F}"/>
                    </a:ext>
                  </a:extLst>
                </p:cNvPr>
                <p:cNvSpPr/>
                <p:nvPr/>
              </p:nvSpPr>
              <p:spPr>
                <a:xfrm>
                  <a:off x="7014509" y="1765190"/>
                  <a:ext cx="226370" cy="262792"/>
                </a:xfrm>
                <a:custGeom>
                  <a:avLst/>
                  <a:gdLst>
                    <a:gd name="connsiteX0" fmla="*/ 226370 w 226370"/>
                    <a:gd name="connsiteY0" fmla="*/ 1974 h 262792"/>
                    <a:gd name="connsiteX1" fmla="*/ 2273 w 226370"/>
                    <a:gd name="connsiteY1" fmla="*/ 262793 h 262792"/>
                    <a:gd name="connsiteX2" fmla="*/ 0 w 226370"/>
                    <a:gd name="connsiteY2" fmla="*/ 260819 h 262792"/>
                    <a:gd name="connsiteX3" fmla="*/ 224038 w 226370"/>
                    <a:gd name="connsiteY3" fmla="*/ 0 h 262792"/>
                  </a:gdLst>
                  <a:ahLst/>
                  <a:cxnLst>
                    <a:cxn ang="0">
                      <a:pos x="connsiteX0" y="connsiteY0"/>
                    </a:cxn>
                    <a:cxn ang="0">
                      <a:pos x="connsiteX1" y="connsiteY1"/>
                    </a:cxn>
                    <a:cxn ang="0">
                      <a:pos x="connsiteX2" y="connsiteY2"/>
                    </a:cxn>
                    <a:cxn ang="0">
                      <a:pos x="connsiteX3" y="connsiteY3"/>
                    </a:cxn>
                  </a:cxnLst>
                  <a:rect l="l" t="t" r="r" b="b"/>
                  <a:pathLst>
                    <a:path w="226370" h="262792">
                      <a:moveTo>
                        <a:pt x="226370" y="1974"/>
                      </a:moveTo>
                      <a:lnTo>
                        <a:pt x="2273" y="262793"/>
                      </a:lnTo>
                      <a:lnTo>
                        <a:pt x="0" y="260819"/>
                      </a:lnTo>
                      <a:lnTo>
                        <a:pt x="224038" y="0"/>
                      </a:lnTo>
                      <a:close/>
                    </a:path>
                  </a:pathLst>
                </a:custGeom>
                <a:grpFill/>
                <a:ln w="5978" cap="flat">
                  <a:noFill/>
                  <a:prstDash val="solid"/>
                  <a:miter/>
                </a:ln>
              </p:spPr>
              <p:txBody>
                <a:bodyPr rtlCol="0" anchor="ctr"/>
                <a:lstStyle/>
                <a:p>
                  <a:endParaRPr lang="en-GB"/>
                </a:p>
              </p:txBody>
            </p:sp>
            <p:sp>
              <p:nvSpPr>
                <p:cNvPr id="4501" name="Vrije vorm: vorm 4500">
                  <a:extLst>
                    <a:ext uri="{FF2B5EF4-FFF2-40B4-BE49-F238E27FC236}">
                      <a16:creationId xmlns:a16="http://schemas.microsoft.com/office/drawing/2014/main" id="{79108465-C9ED-4B90-92E6-9ABFFFAEB741}"/>
                    </a:ext>
                  </a:extLst>
                </p:cNvPr>
                <p:cNvSpPr/>
                <p:nvPr/>
              </p:nvSpPr>
              <p:spPr>
                <a:xfrm>
                  <a:off x="7006792" y="2017464"/>
                  <a:ext cx="18305" cy="18405"/>
                </a:xfrm>
                <a:custGeom>
                  <a:avLst/>
                  <a:gdLst>
                    <a:gd name="connsiteX0" fmla="*/ 16091 w 18305"/>
                    <a:gd name="connsiteY0" fmla="*/ 15243 h 18405"/>
                    <a:gd name="connsiteX1" fmla="*/ 3172 w 18305"/>
                    <a:gd name="connsiteY1" fmla="*/ 16141 h 18405"/>
                    <a:gd name="connsiteX2" fmla="*/ 2215 w 18305"/>
                    <a:gd name="connsiteY2" fmla="*/ 3162 h 18405"/>
                    <a:gd name="connsiteX3" fmla="*/ 15134 w 18305"/>
                    <a:gd name="connsiteY3" fmla="*/ 2265 h 18405"/>
                    <a:gd name="connsiteX4" fmla="*/ 16091 w 18305"/>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6091" y="15243"/>
                      </a:moveTo>
                      <a:cubicBezTo>
                        <a:pt x="12801" y="19071"/>
                        <a:pt x="7000" y="19490"/>
                        <a:pt x="3172" y="16141"/>
                      </a:cubicBezTo>
                      <a:cubicBezTo>
                        <a:pt x="-656" y="12791"/>
                        <a:pt x="-1074" y="6990"/>
                        <a:pt x="2215" y="3162"/>
                      </a:cubicBezTo>
                      <a:cubicBezTo>
                        <a:pt x="5505" y="-665"/>
                        <a:pt x="11306" y="-1084"/>
                        <a:pt x="15134" y="2265"/>
                      </a:cubicBezTo>
                      <a:cubicBezTo>
                        <a:pt x="18961" y="5555"/>
                        <a:pt x="19380" y="11356"/>
                        <a:pt x="16091" y="15243"/>
                      </a:cubicBezTo>
                      <a:close/>
                    </a:path>
                  </a:pathLst>
                </a:custGeom>
                <a:grpFill/>
                <a:ln w="5978" cap="flat">
                  <a:noFill/>
                  <a:prstDash val="solid"/>
                  <a:miter/>
                </a:ln>
              </p:spPr>
              <p:txBody>
                <a:bodyPr rtlCol="0" anchor="ctr"/>
                <a:lstStyle/>
                <a:p>
                  <a:endParaRPr lang="en-GB"/>
                </a:p>
              </p:txBody>
            </p:sp>
            <p:sp>
              <p:nvSpPr>
                <p:cNvPr id="4502" name="Vrije vorm: vorm 4501">
                  <a:extLst>
                    <a:ext uri="{FF2B5EF4-FFF2-40B4-BE49-F238E27FC236}">
                      <a16:creationId xmlns:a16="http://schemas.microsoft.com/office/drawing/2014/main" id="{B47EA4AC-8A1C-4FD3-9CC0-ECF76D9FA89B}"/>
                    </a:ext>
                  </a:extLst>
                </p:cNvPr>
                <p:cNvSpPr/>
                <p:nvPr/>
              </p:nvSpPr>
              <p:spPr>
                <a:xfrm>
                  <a:off x="7230291" y="1757363"/>
                  <a:ext cx="18305" cy="18405"/>
                </a:xfrm>
                <a:custGeom>
                  <a:avLst/>
                  <a:gdLst>
                    <a:gd name="connsiteX0" fmla="*/ 16091 w 18305"/>
                    <a:gd name="connsiteY0" fmla="*/ 15244 h 18405"/>
                    <a:gd name="connsiteX1" fmla="*/ 15134 w 18305"/>
                    <a:gd name="connsiteY1" fmla="*/ 2265 h 18405"/>
                    <a:gd name="connsiteX2" fmla="*/ 2215 w 18305"/>
                    <a:gd name="connsiteY2" fmla="*/ 3162 h 18405"/>
                    <a:gd name="connsiteX3" fmla="*/ 3172 w 18305"/>
                    <a:gd name="connsiteY3" fmla="*/ 16141 h 18405"/>
                    <a:gd name="connsiteX4" fmla="*/ 16091 w 18305"/>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6091" y="15244"/>
                      </a:moveTo>
                      <a:cubicBezTo>
                        <a:pt x="19380" y="11416"/>
                        <a:pt x="18961" y="5555"/>
                        <a:pt x="15134" y="2265"/>
                      </a:cubicBezTo>
                      <a:cubicBezTo>
                        <a:pt x="11306" y="-1084"/>
                        <a:pt x="5505" y="-665"/>
                        <a:pt x="2215" y="3162"/>
                      </a:cubicBezTo>
                      <a:cubicBezTo>
                        <a:pt x="-1074" y="6990"/>
                        <a:pt x="-656" y="12851"/>
                        <a:pt x="3172" y="16141"/>
                      </a:cubicBezTo>
                      <a:cubicBezTo>
                        <a:pt x="7000" y="19490"/>
                        <a:pt x="12801" y="19071"/>
                        <a:pt x="16091" y="15244"/>
                      </a:cubicBezTo>
                      <a:close/>
                    </a:path>
                  </a:pathLst>
                </a:custGeom>
                <a:grpFill/>
                <a:ln w="5978" cap="flat">
                  <a:noFill/>
                  <a:prstDash val="solid"/>
                  <a:miter/>
                </a:ln>
              </p:spPr>
              <p:txBody>
                <a:bodyPr rtlCol="0" anchor="ctr"/>
                <a:lstStyle/>
                <a:p>
                  <a:endParaRPr lang="en-GB"/>
                </a:p>
              </p:txBody>
            </p:sp>
          </p:grpSp>
          <p:grpSp>
            <p:nvGrpSpPr>
              <p:cNvPr id="294" name="Graphic 3">
                <a:extLst>
                  <a:ext uri="{FF2B5EF4-FFF2-40B4-BE49-F238E27FC236}">
                    <a16:creationId xmlns:a16="http://schemas.microsoft.com/office/drawing/2014/main" id="{7CF6B321-27AF-43E8-9858-406DEF190610}"/>
                  </a:ext>
                </a:extLst>
              </p:cNvPr>
              <p:cNvGrpSpPr/>
              <p:nvPr/>
            </p:nvGrpSpPr>
            <p:grpSpPr>
              <a:xfrm>
                <a:off x="7685516" y="3764096"/>
                <a:ext cx="125297" cy="41686"/>
                <a:chOff x="7685516" y="3764096"/>
                <a:chExt cx="125297" cy="41686"/>
              </a:xfrm>
              <a:grpFill/>
            </p:grpSpPr>
            <p:sp>
              <p:nvSpPr>
                <p:cNvPr id="4497" name="Vrije vorm: vorm 4496">
                  <a:extLst>
                    <a:ext uri="{FF2B5EF4-FFF2-40B4-BE49-F238E27FC236}">
                      <a16:creationId xmlns:a16="http://schemas.microsoft.com/office/drawing/2014/main" id="{EC84C01B-73F3-491D-9A7B-D83323D4BE7B}"/>
                    </a:ext>
                  </a:extLst>
                </p:cNvPr>
                <p:cNvSpPr/>
                <p:nvPr/>
              </p:nvSpPr>
              <p:spPr>
                <a:xfrm>
                  <a:off x="7693979" y="3771722"/>
                  <a:ext cx="108430" cy="26434"/>
                </a:xfrm>
                <a:custGeom>
                  <a:avLst/>
                  <a:gdLst>
                    <a:gd name="connsiteX0" fmla="*/ 108431 w 108430"/>
                    <a:gd name="connsiteY0" fmla="*/ 23444 h 26434"/>
                    <a:gd name="connsiteX1" fmla="*/ 107773 w 108430"/>
                    <a:gd name="connsiteY1" fmla="*/ 26435 h 26434"/>
                    <a:gd name="connsiteX2" fmla="*/ 0 w 108430"/>
                    <a:gd name="connsiteY2" fmla="*/ 2990 h 26434"/>
                    <a:gd name="connsiteX3" fmla="*/ 598 w 108430"/>
                    <a:gd name="connsiteY3" fmla="*/ 0 h 26434"/>
                  </a:gdLst>
                  <a:ahLst/>
                  <a:cxnLst>
                    <a:cxn ang="0">
                      <a:pos x="connsiteX0" y="connsiteY0"/>
                    </a:cxn>
                    <a:cxn ang="0">
                      <a:pos x="connsiteX1" y="connsiteY1"/>
                    </a:cxn>
                    <a:cxn ang="0">
                      <a:pos x="connsiteX2" y="connsiteY2"/>
                    </a:cxn>
                    <a:cxn ang="0">
                      <a:pos x="connsiteX3" y="connsiteY3"/>
                    </a:cxn>
                  </a:cxnLst>
                  <a:rect l="l" t="t" r="r" b="b"/>
                  <a:pathLst>
                    <a:path w="108430" h="26434">
                      <a:moveTo>
                        <a:pt x="108431" y="23444"/>
                      </a:moveTo>
                      <a:lnTo>
                        <a:pt x="107773" y="26435"/>
                      </a:lnTo>
                      <a:lnTo>
                        <a:pt x="0" y="2990"/>
                      </a:lnTo>
                      <a:lnTo>
                        <a:pt x="598" y="0"/>
                      </a:lnTo>
                      <a:close/>
                    </a:path>
                  </a:pathLst>
                </a:custGeom>
                <a:grpFill/>
                <a:ln w="5978" cap="flat">
                  <a:noFill/>
                  <a:prstDash val="solid"/>
                  <a:miter/>
                </a:ln>
              </p:spPr>
              <p:txBody>
                <a:bodyPr rtlCol="0" anchor="ctr"/>
                <a:lstStyle/>
                <a:p>
                  <a:endParaRPr lang="en-GB"/>
                </a:p>
              </p:txBody>
            </p:sp>
            <p:sp>
              <p:nvSpPr>
                <p:cNvPr id="4498" name="Vrije vorm: vorm 4497">
                  <a:extLst>
                    <a:ext uri="{FF2B5EF4-FFF2-40B4-BE49-F238E27FC236}">
                      <a16:creationId xmlns:a16="http://schemas.microsoft.com/office/drawing/2014/main" id="{A4A24C36-ACC1-454D-9344-52331A56FB69}"/>
                    </a:ext>
                  </a:extLst>
                </p:cNvPr>
                <p:cNvSpPr/>
                <p:nvPr/>
              </p:nvSpPr>
              <p:spPr>
                <a:xfrm>
                  <a:off x="7792451" y="3787358"/>
                  <a:ext cx="18362" cy="18424"/>
                </a:xfrm>
                <a:custGeom>
                  <a:avLst/>
                  <a:gdLst>
                    <a:gd name="connsiteX0" fmla="*/ 11095 w 18362"/>
                    <a:gd name="connsiteY0" fmla="*/ 213 h 18424"/>
                    <a:gd name="connsiteX1" fmla="*/ 18152 w 18362"/>
                    <a:gd name="connsiteY1" fmla="*/ 11157 h 18424"/>
                    <a:gd name="connsiteX2" fmla="*/ 7267 w 18362"/>
                    <a:gd name="connsiteY2" fmla="*/ 18215 h 18424"/>
                    <a:gd name="connsiteX3" fmla="*/ 210 w 18362"/>
                    <a:gd name="connsiteY3" fmla="*/ 7270 h 18424"/>
                    <a:gd name="connsiteX4" fmla="*/ 11095 w 18362"/>
                    <a:gd name="connsiteY4" fmla="*/ 21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11095" y="213"/>
                      </a:moveTo>
                      <a:cubicBezTo>
                        <a:pt x="16059" y="1289"/>
                        <a:pt x="19228" y="6194"/>
                        <a:pt x="18152" y="11157"/>
                      </a:cubicBezTo>
                      <a:cubicBezTo>
                        <a:pt x="17075" y="16121"/>
                        <a:pt x="12231" y="19291"/>
                        <a:pt x="7267" y="18215"/>
                      </a:cubicBezTo>
                      <a:cubicBezTo>
                        <a:pt x="2303" y="17138"/>
                        <a:pt x="-867" y="12234"/>
                        <a:pt x="210" y="7270"/>
                      </a:cubicBezTo>
                      <a:cubicBezTo>
                        <a:pt x="1286" y="2246"/>
                        <a:pt x="6131" y="-864"/>
                        <a:pt x="11095" y="213"/>
                      </a:cubicBezTo>
                      <a:close/>
                    </a:path>
                  </a:pathLst>
                </a:custGeom>
                <a:grpFill/>
                <a:ln w="5978" cap="flat">
                  <a:noFill/>
                  <a:prstDash val="solid"/>
                  <a:miter/>
                </a:ln>
              </p:spPr>
              <p:txBody>
                <a:bodyPr rtlCol="0" anchor="ctr"/>
                <a:lstStyle/>
                <a:p>
                  <a:endParaRPr lang="en-GB"/>
                </a:p>
              </p:txBody>
            </p:sp>
            <p:sp>
              <p:nvSpPr>
                <p:cNvPr id="4499" name="Vrije vorm: vorm 4498">
                  <a:extLst>
                    <a:ext uri="{FF2B5EF4-FFF2-40B4-BE49-F238E27FC236}">
                      <a16:creationId xmlns:a16="http://schemas.microsoft.com/office/drawing/2014/main" id="{852445CE-F15D-4AD5-AECC-9029F2586DD2}"/>
                    </a:ext>
                  </a:extLst>
                </p:cNvPr>
                <p:cNvSpPr/>
                <p:nvPr/>
              </p:nvSpPr>
              <p:spPr>
                <a:xfrm>
                  <a:off x="7685516" y="3764096"/>
                  <a:ext cx="18362" cy="18421"/>
                </a:xfrm>
                <a:custGeom>
                  <a:avLst/>
                  <a:gdLst>
                    <a:gd name="connsiteX0" fmla="*/ 11095 w 18362"/>
                    <a:gd name="connsiteY0" fmla="*/ 210 h 18421"/>
                    <a:gd name="connsiteX1" fmla="*/ 210 w 18362"/>
                    <a:gd name="connsiteY1" fmla="*/ 7267 h 18421"/>
                    <a:gd name="connsiteX2" fmla="*/ 7268 w 18362"/>
                    <a:gd name="connsiteY2" fmla="*/ 18212 h 18421"/>
                    <a:gd name="connsiteX3" fmla="*/ 18152 w 18362"/>
                    <a:gd name="connsiteY3" fmla="*/ 11155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6131" y="-867"/>
                        <a:pt x="1287" y="2303"/>
                        <a:pt x="210" y="7267"/>
                      </a:cubicBezTo>
                      <a:cubicBezTo>
                        <a:pt x="-867" y="12231"/>
                        <a:pt x="2303" y="17135"/>
                        <a:pt x="7268" y="18212"/>
                      </a:cubicBezTo>
                      <a:cubicBezTo>
                        <a:pt x="12231" y="19289"/>
                        <a:pt x="17075" y="16119"/>
                        <a:pt x="18152" y="11155"/>
                      </a:cubicBezTo>
                      <a:cubicBezTo>
                        <a:pt x="19229" y="6191"/>
                        <a:pt x="16059" y="1287"/>
                        <a:pt x="11095" y="210"/>
                      </a:cubicBezTo>
                      <a:close/>
                    </a:path>
                  </a:pathLst>
                </a:custGeom>
                <a:grpFill/>
                <a:ln w="5978" cap="flat">
                  <a:noFill/>
                  <a:prstDash val="solid"/>
                  <a:miter/>
                </a:ln>
              </p:spPr>
              <p:txBody>
                <a:bodyPr rtlCol="0" anchor="ctr"/>
                <a:lstStyle/>
                <a:p>
                  <a:endParaRPr lang="en-GB"/>
                </a:p>
              </p:txBody>
            </p:sp>
          </p:grpSp>
          <p:grpSp>
            <p:nvGrpSpPr>
              <p:cNvPr id="295" name="Graphic 3">
                <a:extLst>
                  <a:ext uri="{FF2B5EF4-FFF2-40B4-BE49-F238E27FC236}">
                    <a16:creationId xmlns:a16="http://schemas.microsoft.com/office/drawing/2014/main" id="{3F4F859C-5148-4AC6-AF58-5184A6C97508}"/>
                  </a:ext>
                </a:extLst>
              </p:cNvPr>
              <p:cNvGrpSpPr/>
              <p:nvPr/>
            </p:nvGrpSpPr>
            <p:grpSpPr>
              <a:xfrm>
                <a:off x="7681552" y="3827834"/>
                <a:ext cx="172698" cy="58048"/>
                <a:chOff x="7681552" y="3827834"/>
                <a:chExt cx="172698" cy="58048"/>
              </a:xfrm>
              <a:grpFill/>
            </p:grpSpPr>
            <p:sp>
              <p:nvSpPr>
                <p:cNvPr id="4494" name="Vrije vorm: vorm 4493">
                  <a:extLst>
                    <a:ext uri="{FF2B5EF4-FFF2-40B4-BE49-F238E27FC236}">
                      <a16:creationId xmlns:a16="http://schemas.microsoft.com/office/drawing/2014/main" id="{2E35A9D7-5F58-4712-AF50-277717698F58}"/>
                    </a:ext>
                  </a:extLst>
                </p:cNvPr>
                <p:cNvSpPr/>
                <p:nvPr/>
              </p:nvSpPr>
              <p:spPr>
                <a:xfrm>
                  <a:off x="7689912" y="3835477"/>
                  <a:ext cx="155977" cy="42822"/>
                </a:xfrm>
                <a:custGeom>
                  <a:avLst/>
                  <a:gdLst>
                    <a:gd name="connsiteX0" fmla="*/ 155978 w 155977"/>
                    <a:gd name="connsiteY0" fmla="*/ 39832 h 42822"/>
                    <a:gd name="connsiteX1" fmla="*/ 155200 w 155977"/>
                    <a:gd name="connsiteY1" fmla="*/ 42822 h 42822"/>
                    <a:gd name="connsiteX2" fmla="*/ 0 w 155977"/>
                    <a:gd name="connsiteY2" fmla="*/ 2931 h 42822"/>
                    <a:gd name="connsiteX3" fmla="*/ 778 w 155977"/>
                    <a:gd name="connsiteY3" fmla="*/ 0 h 42822"/>
                  </a:gdLst>
                  <a:ahLst/>
                  <a:cxnLst>
                    <a:cxn ang="0">
                      <a:pos x="connsiteX0" y="connsiteY0"/>
                    </a:cxn>
                    <a:cxn ang="0">
                      <a:pos x="connsiteX1" y="connsiteY1"/>
                    </a:cxn>
                    <a:cxn ang="0">
                      <a:pos x="connsiteX2" y="connsiteY2"/>
                    </a:cxn>
                    <a:cxn ang="0">
                      <a:pos x="connsiteX3" y="connsiteY3"/>
                    </a:cxn>
                  </a:cxnLst>
                  <a:rect l="l" t="t" r="r" b="b"/>
                  <a:pathLst>
                    <a:path w="155977" h="42822">
                      <a:moveTo>
                        <a:pt x="155978" y="39832"/>
                      </a:moveTo>
                      <a:lnTo>
                        <a:pt x="155200" y="42822"/>
                      </a:lnTo>
                      <a:lnTo>
                        <a:pt x="0" y="2931"/>
                      </a:lnTo>
                      <a:lnTo>
                        <a:pt x="778" y="0"/>
                      </a:lnTo>
                      <a:close/>
                    </a:path>
                  </a:pathLst>
                </a:custGeom>
                <a:grpFill/>
                <a:ln w="5978" cap="flat">
                  <a:noFill/>
                  <a:prstDash val="solid"/>
                  <a:miter/>
                </a:ln>
              </p:spPr>
              <p:txBody>
                <a:bodyPr rtlCol="0" anchor="ctr"/>
                <a:lstStyle/>
                <a:p>
                  <a:endParaRPr lang="en-GB"/>
                </a:p>
              </p:txBody>
            </p:sp>
            <p:sp>
              <p:nvSpPr>
                <p:cNvPr id="4495" name="Vrije vorm: vorm 4494">
                  <a:extLst>
                    <a:ext uri="{FF2B5EF4-FFF2-40B4-BE49-F238E27FC236}">
                      <a16:creationId xmlns:a16="http://schemas.microsoft.com/office/drawing/2014/main" id="{FE9996F0-4B38-43EE-AA1C-39301D4C58E8}"/>
                    </a:ext>
                  </a:extLst>
                </p:cNvPr>
                <p:cNvSpPr/>
                <p:nvPr/>
              </p:nvSpPr>
              <p:spPr>
                <a:xfrm>
                  <a:off x="7835914" y="3867486"/>
                  <a:ext cx="18335" cy="18395"/>
                </a:xfrm>
                <a:custGeom>
                  <a:avLst/>
                  <a:gdLst>
                    <a:gd name="connsiteX0" fmla="*/ 11411 w 18335"/>
                    <a:gd name="connsiteY0" fmla="*/ 287 h 18395"/>
                    <a:gd name="connsiteX1" fmla="*/ 18049 w 18335"/>
                    <a:gd name="connsiteY1" fmla="*/ 11471 h 18395"/>
                    <a:gd name="connsiteX2" fmla="*/ 6925 w 18335"/>
                    <a:gd name="connsiteY2" fmla="*/ 18109 h 18395"/>
                    <a:gd name="connsiteX3" fmla="*/ 287 w 18335"/>
                    <a:gd name="connsiteY3" fmla="*/ 6925 h 18395"/>
                    <a:gd name="connsiteX4" fmla="*/ 11411 w 18335"/>
                    <a:gd name="connsiteY4" fmla="*/ 28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5">
                      <a:moveTo>
                        <a:pt x="11411" y="287"/>
                      </a:moveTo>
                      <a:cubicBezTo>
                        <a:pt x="16315" y="1543"/>
                        <a:pt x="19305" y="6566"/>
                        <a:pt x="18049" y="11471"/>
                      </a:cubicBezTo>
                      <a:cubicBezTo>
                        <a:pt x="16794" y="16375"/>
                        <a:pt x="11829" y="19365"/>
                        <a:pt x="6925" y="18109"/>
                      </a:cubicBezTo>
                      <a:cubicBezTo>
                        <a:pt x="2021" y="16853"/>
                        <a:pt x="-970" y="11829"/>
                        <a:pt x="287" y="6925"/>
                      </a:cubicBezTo>
                      <a:cubicBezTo>
                        <a:pt x="1483" y="2021"/>
                        <a:pt x="6506" y="-969"/>
                        <a:pt x="11411" y="287"/>
                      </a:cubicBezTo>
                      <a:close/>
                    </a:path>
                  </a:pathLst>
                </a:custGeom>
                <a:grpFill/>
                <a:ln w="5978" cap="flat">
                  <a:noFill/>
                  <a:prstDash val="solid"/>
                  <a:miter/>
                </a:ln>
              </p:spPr>
              <p:txBody>
                <a:bodyPr rtlCol="0" anchor="ctr"/>
                <a:lstStyle/>
                <a:p>
                  <a:endParaRPr lang="en-GB"/>
                </a:p>
              </p:txBody>
            </p:sp>
            <p:sp>
              <p:nvSpPr>
                <p:cNvPr id="4496" name="Vrije vorm: vorm 4495">
                  <a:extLst>
                    <a:ext uri="{FF2B5EF4-FFF2-40B4-BE49-F238E27FC236}">
                      <a16:creationId xmlns:a16="http://schemas.microsoft.com/office/drawing/2014/main" id="{F605F33B-A7DF-48F1-8D18-C5AED97B1A58}"/>
                    </a:ext>
                  </a:extLst>
                </p:cNvPr>
                <p:cNvSpPr/>
                <p:nvPr/>
              </p:nvSpPr>
              <p:spPr>
                <a:xfrm>
                  <a:off x="7681552" y="3827834"/>
                  <a:ext cx="18335" cy="18395"/>
                </a:xfrm>
                <a:custGeom>
                  <a:avLst/>
                  <a:gdLst>
                    <a:gd name="connsiteX0" fmla="*/ 11411 w 18335"/>
                    <a:gd name="connsiteY0" fmla="*/ 287 h 18395"/>
                    <a:gd name="connsiteX1" fmla="*/ 287 w 18335"/>
                    <a:gd name="connsiteY1" fmla="*/ 6925 h 18395"/>
                    <a:gd name="connsiteX2" fmla="*/ 6925 w 18335"/>
                    <a:gd name="connsiteY2" fmla="*/ 18109 h 18395"/>
                    <a:gd name="connsiteX3" fmla="*/ 18049 w 18335"/>
                    <a:gd name="connsiteY3" fmla="*/ 11471 h 18395"/>
                    <a:gd name="connsiteX4" fmla="*/ 11411 w 18335"/>
                    <a:gd name="connsiteY4" fmla="*/ 28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5">
                      <a:moveTo>
                        <a:pt x="11411" y="287"/>
                      </a:moveTo>
                      <a:cubicBezTo>
                        <a:pt x="6507" y="-969"/>
                        <a:pt x="1542" y="2021"/>
                        <a:pt x="287" y="6925"/>
                      </a:cubicBezTo>
                      <a:cubicBezTo>
                        <a:pt x="-969" y="11829"/>
                        <a:pt x="2021" y="16853"/>
                        <a:pt x="6925" y="18109"/>
                      </a:cubicBezTo>
                      <a:cubicBezTo>
                        <a:pt x="11830" y="19365"/>
                        <a:pt x="16793" y="16375"/>
                        <a:pt x="18049" y="11471"/>
                      </a:cubicBezTo>
                      <a:cubicBezTo>
                        <a:pt x="19306" y="6566"/>
                        <a:pt x="16315" y="1543"/>
                        <a:pt x="11411" y="287"/>
                      </a:cubicBezTo>
                      <a:close/>
                    </a:path>
                  </a:pathLst>
                </a:custGeom>
                <a:grpFill/>
                <a:ln w="5978" cap="flat">
                  <a:noFill/>
                  <a:prstDash val="solid"/>
                  <a:miter/>
                </a:ln>
              </p:spPr>
              <p:txBody>
                <a:bodyPr rtlCol="0" anchor="ctr"/>
                <a:lstStyle/>
                <a:p>
                  <a:endParaRPr lang="en-GB"/>
                </a:p>
              </p:txBody>
            </p:sp>
          </p:grpSp>
          <p:grpSp>
            <p:nvGrpSpPr>
              <p:cNvPr id="296" name="Graphic 3">
                <a:extLst>
                  <a:ext uri="{FF2B5EF4-FFF2-40B4-BE49-F238E27FC236}">
                    <a16:creationId xmlns:a16="http://schemas.microsoft.com/office/drawing/2014/main" id="{822C02AD-75C6-4DA8-8DD7-883CAB8309E3}"/>
                  </a:ext>
                </a:extLst>
              </p:cNvPr>
              <p:cNvGrpSpPr/>
              <p:nvPr/>
            </p:nvGrpSpPr>
            <p:grpSpPr>
              <a:xfrm>
                <a:off x="6924066" y="1442683"/>
                <a:ext cx="193745" cy="345706"/>
                <a:chOff x="6924066" y="1442683"/>
                <a:chExt cx="193745" cy="345706"/>
              </a:xfrm>
              <a:grpFill/>
            </p:grpSpPr>
            <p:sp>
              <p:nvSpPr>
                <p:cNvPr id="4491" name="Vrije vorm: vorm 4490">
                  <a:extLst>
                    <a:ext uri="{FF2B5EF4-FFF2-40B4-BE49-F238E27FC236}">
                      <a16:creationId xmlns:a16="http://schemas.microsoft.com/office/drawing/2014/main" id="{461F8552-6D48-4930-B59C-AE3383036771}"/>
                    </a:ext>
                  </a:extLst>
                </p:cNvPr>
                <p:cNvSpPr/>
                <p:nvPr/>
              </p:nvSpPr>
              <p:spPr>
                <a:xfrm>
                  <a:off x="6931677" y="1450724"/>
                  <a:ext cx="178524" cy="329537"/>
                </a:xfrm>
                <a:custGeom>
                  <a:avLst/>
                  <a:gdLst>
                    <a:gd name="connsiteX0" fmla="*/ 178524 w 178524"/>
                    <a:gd name="connsiteY0" fmla="*/ 1495 h 329537"/>
                    <a:gd name="connsiteX1" fmla="*/ 2631 w 178524"/>
                    <a:gd name="connsiteY1" fmla="*/ 329538 h 329537"/>
                    <a:gd name="connsiteX2" fmla="*/ 0 w 178524"/>
                    <a:gd name="connsiteY2" fmla="*/ 328102 h 329537"/>
                    <a:gd name="connsiteX3" fmla="*/ 175833 w 178524"/>
                    <a:gd name="connsiteY3" fmla="*/ 0 h 329537"/>
                  </a:gdLst>
                  <a:ahLst/>
                  <a:cxnLst>
                    <a:cxn ang="0">
                      <a:pos x="connsiteX0" y="connsiteY0"/>
                    </a:cxn>
                    <a:cxn ang="0">
                      <a:pos x="connsiteX1" y="connsiteY1"/>
                    </a:cxn>
                    <a:cxn ang="0">
                      <a:pos x="connsiteX2" y="connsiteY2"/>
                    </a:cxn>
                    <a:cxn ang="0">
                      <a:pos x="connsiteX3" y="connsiteY3"/>
                    </a:cxn>
                  </a:cxnLst>
                  <a:rect l="l" t="t" r="r" b="b"/>
                  <a:pathLst>
                    <a:path w="178524" h="329537">
                      <a:moveTo>
                        <a:pt x="178524" y="1495"/>
                      </a:moveTo>
                      <a:lnTo>
                        <a:pt x="2631" y="329538"/>
                      </a:lnTo>
                      <a:lnTo>
                        <a:pt x="0" y="328102"/>
                      </a:lnTo>
                      <a:lnTo>
                        <a:pt x="175833" y="0"/>
                      </a:lnTo>
                      <a:close/>
                    </a:path>
                  </a:pathLst>
                </a:custGeom>
                <a:grpFill/>
                <a:ln w="5978" cap="flat">
                  <a:noFill/>
                  <a:prstDash val="solid"/>
                  <a:miter/>
                </a:ln>
              </p:spPr>
              <p:txBody>
                <a:bodyPr rtlCol="0" anchor="ctr"/>
                <a:lstStyle/>
                <a:p>
                  <a:endParaRPr lang="en-GB"/>
                </a:p>
              </p:txBody>
            </p:sp>
            <p:sp>
              <p:nvSpPr>
                <p:cNvPr id="4492" name="Vrije vorm: vorm 4491">
                  <a:extLst>
                    <a:ext uri="{FF2B5EF4-FFF2-40B4-BE49-F238E27FC236}">
                      <a16:creationId xmlns:a16="http://schemas.microsoft.com/office/drawing/2014/main" id="{FD6A827E-FB6A-4B7B-BD0C-FD94DC41F819}"/>
                    </a:ext>
                  </a:extLst>
                </p:cNvPr>
                <p:cNvSpPr/>
                <p:nvPr/>
              </p:nvSpPr>
              <p:spPr>
                <a:xfrm>
                  <a:off x="7099480" y="1442683"/>
                  <a:ext cx="18330" cy="18414"/>
                </a:xfrm>
                <a:custGeom>
                  <a:avLst/>
                  <a:gdLst>
                    <a:gd name="connsiteX0" fmla="*/ 1092 w 18330"/>
                    <a:gd name="connsiteY0" fmla="*/ 4812 h 18414"/>
                    <a:gd name="connsiteX1" fmla="*/ 13531 w 18330"/>
                    <a:gd name="connsiteY1" fmla="*/ 1104 h 18414"/>
                    <a:gd name="connsiteX2" fmla="*/ 17239 w 18330"/>
                    <a:gd name="connsiteY2" fmla="*/ 13603 h 18414"/>
                    <a:gd name="connsiteX3" fmla="*/ 4800 w 18330"/>
                    <a:gd name="connsiteY3" fmla="*/ 17311 h 18414"/>
                    <a:gd name="connsiteX4" fmla="*/ 1092 w 18330"/>
                    <a:gd name="connsiteY4" fmla="*/ 481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14">
                      <a:moveTo>
                        <a:pt x="1092" y="4812"/>
                      </a:moveTo>
                      <a:cubicBezTo>
                        <a:pt x="3483" y="326"/>
                        <a:pt x="9046" y="-1289"/>
                        <a:pt x="13531" y="1104"/>
                      </a:cubicBezTo>
                      <a:cubicBezTo>
                        <a:pt x="17957" y="3556"/>
                        <a:pt x="19632" y="9118"/>
                        <a:pt x="17239" y="13603"/>
                      </a:cubicBezTo>
                      <a:cubicBezTo>
                        <a:pt x="14847" y="18089"/>
                        <a:pt x="9285" y="19704"/>
                        <a:pt x="4800" y="17311"/>
                      </a:cubicBezTo>
                      <a:cubicBezTo>
                        <a:pt x="374" y="14859"/>
                        <a:pt x="-1301" y="9297"/>
                        <a:pt x="1092" y="4812"/>
                      </a:cubicBezTo>
                      <a:close/>
                    </a:path>
                  </a:pathLst>
                </a:custGeom>
                <a:grpFill/>
                <a:ln w="5978" cap="flat">
                  <a:noFill/>
                  <a:prstDash val="solid"/>
                  <a:miter/>
                </a:ln>
              </p:spPr>
              <p:txBody>
                <a:bodyPr rtlCol="0" anchor="ctr"/>
                <a:lstStyle/>
                <a:p>
                  <a:endParaRPr lang="en-GB"/>
                </a:p>
              </p:txBody>
            </p:sp>
            <p:sp>
              <p:nvSpPr>
                <p:cNvPr id="4493" name="Vrije vorm: vorm 4492">
                  <a:extLst>
                    <a:ext uri="{FF2B5EF4-FFF2-40B4-BE49-F238E27FC236}">
                      <a16:creationId xmlns:a16="http://schemas.microsoft.com/office/drawing/2014/main" id="{A390B6C7-F268-445B-9562-9E60ABCDFE4F}"/>
                    </a:ext>
                  </a:extLst>
                </p:cNvPr>
                <p:cNvSpPr/>
                <p:nvPr/>
              </p:nvSpPr>
              <p:spPr>
                <a:xfrm>
                  <a:off x="6924066" y="1769921"/>
                  <a:ext cx="18331" cy="18467"/>
                </a:xfrm>
                <a:custGeom>
                  <a:avLst/>
                  <a:gdLst>
                    <a:gd name="connsiteX0" fmla="*/ 1091 w 18331"/>
                    <a:gd name="connsiteY0" fmla="*/ 4838 h 18467"/>
                    <a:gd name="connsiteX1" fmla="*/ 4799 w 18331"/>
                    <a:gd name="connsiteY1" fmla="*/ 17338 h 18467"/>
                    <a:gd name="connsiteX2" fmla="*/ 17240 w 18331"/>
                    <a:gd name="connsiteY2" fmla="*/ 13630 h 18467"/>
                    <a:gd name="connsiteX3" fmla="*/ 13532 w 18331"/>
                    <a:gd name="connsiteY3" fmla="*/ 1130 h 18467"/>
                    <a:gd name="connsiteX4" fmla="*/ 1091 w 18331"/>
                    <a:gd name="connsiteY4" fmla="*/ 4838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67">
                      <a:moveTo>
                        <a:pt x="1091" y="4838"/>
                      </a:moveTo>
                      <a:cubicBezTo>
                        <a:pt x="-1300" y="9324"/>
                        <a:pt x="374" y="14886"/>
                        <a:pt x="4799" y="17338"/>
                      </a:cubicBezTo>
                      <a:cubicBezTo>
                        <a:pt x="9285" y="19790"/>
                        <a:pt x="14787" y="18115"/>
                        <a:pt x="17240" y="13630"/>
                      </a:cubicBezTo>
                      <a:cubicBezTo>
                        <a:pt x="19632" y="9144"/>
                        <a:pt x="17957" y="3582"/>
                        <a:pt x="13532" y="1130"/>
                      </a:cubicBezTo>
                      <a:cubicBezTo>
                        <a:pt x="9046" y="-1322"/>
                        <a:pt x="3484" y="353"/>
                        <a:pt x="1091" y="4838"/>
                      </a:cubicBezTo>
                      <a:close/>
                    </a:path>
                  </a:pathLst>
                </a:custGeom>
                <a:grpFill/>
                <a:ln w="5978" cap="flat">
                  <a:noFill/>
                  <a:prstDash val="solid"/>
                  <a:miter/>
                </a:ln>
              </p:spPr>
              <p:txBody>
                <a:bodyPr rtlCol="0" anchor="ctr"/>
                <a:lstStyle/>
                <a:p>
                  <a:endParaRPr lang="en-GB"/>
                </a:p>
              </p:txBody>
            </p:sp>
          </p:grpSp>
          <p:grpSp>
            <p:nvGrpSpPr>
              <p:cNvPr id="297" name="Graphic 3">
                <a:extLst>
                  <a:ext uri="{FF2B5EF4-FFF2-40B4-BE49-F238E27FC236}">
                    <a16:creationId xmlns:a16="http://schemas.microsoft.com/office/drawing/2014/main" id="{309F9DD9-75FC-4CE6-9C2E-83AC784321C9}"/>
                  </a:ext>
                </a:extLst>
              </p:cNvPr>
              <p:cNvGrpSpPr/>
              <p:nvPr/>
            </p:nvGrpSpPr>
            <p:grpSpPr>
              <a:xfrm>
                <a:off x="7124333" y="1956090"/>
                <a:ext cx="24187" cy="26264"/>
                <a:chOff x="7124333" y="1956090"/>
                <a:chExt cx="24187" cy="26264"/>
              </a:xfrm>
              <a:grpFill/>
            </p:grpSpPr>
            <p:sp>
              <p:nvSpPr>
                <p:cNvPr id="4488" name="Vrije vorm: vorm 4487">
                  <a:extLst>
                    <a:ext uri="{FF2B5EF4-FFF2-40B4-BE49-F238E27FC236}">
                      <a16:creationId xmlns:a16="http://schemas.microsoft.com/office/drawing/2014/main" id="{4322ABF6-6511-4A58-8E2B-4851DDA9556F}"/>
                    </a:ext>
                  </a:extLst>
                </p:cNvPr>
                <p:cNvSpPr/>
                <p:nvPr/>
              </p:nvSpPr>
              <p:spPr>
                <a:xfrm>
                  <a:off x="7131971" y="1963989"/>
                  <a:ext cx="8911" cy="10466"/>
                </a:xfrm>
                <a:custGeom>
                  <a:avLst/>
                  <a:gdLst>
                    <a:gd name="connsiteX0" fmla="*/ 8911 w 8911"/>
                    <a:gd name="connsiteY0" fmla="*/ 1854 h 10466"/>
                    <a:gd name="connsiteX1" fmla="*/ 2452 w 8911"/>
                    <a:gd name="connsiteY1" fmla="*/ 10466 h 10466"/>
                    <a:gd name="connsiteX2" fmla="*/ 0 w 8911"/>
                    <a:gd name="connsiteY2" fmla="*/ 8612 h 10466"/>
                    <a:gd name="connsiteX3" fmla="*/ 6459 w 8911"/>
                    <a:gd name="connsiteY3" fmla="*/ 0 h 10466"/>
                  </a:gdLst>
                  <a:ahLst/>
                  <a:cxnLst>
                    <a:cxn ang="0">
                      <a:pos x="connsiteX0" y="connsiteY0"/>
                    </a:cxn>
                    <a:cxn ang="0">
                      <a:pos x="connsiteX1" y="connsiteY1"/>
                    </a:cxn>
                    <a:cxn ang="0">
                      <a:pos x="connsiteX2" y="connsiteY2"/>
                    </a:cxn>
                    <a:cxn ang="0">
                      <a:pos x="connsiteX3" y="connsiteY3"/>
                    </a:cxn>
                  </a:cxnLst>
                  <a:rect l="l" t="t" r="r" b="b"/>
                  <a:pathLst>
                    <a:path w="8911" h="10466">
                      <a:moveTo>
                        <a:pt x="8911" y="1854"/>
                      </a:moveTo>
                      <a:lnTo>
                        <a:pt x="2452" y="10466"/>
                      </a:lnTo>
                      <a:lnTo>
                        <a:pt x="0" y="8612"/>
                      </a:lnTo>
                      <a:lnTo>
                        <a:pt x="6459" y="0"/>
                      </a:lnTo>
                      <a:close/>
                    </a:path>
                  </a:pathLst>
                </a:custGeom>
                <a:grpFill/>
                <a:ln w="5978" cap="flat">
                  <a:noFill/>
                  <a:prstDash val="solid"/>
                  <a:miter/>
                </a:ln>
              </p:spPr>
              <p:txBody>
                <a:bodyPr rtlCol="0" anchor="ctr"/>
                <a:lstStyle/>
                <a:p>
                  <a:endParaRPr lang="en-GB"/>
                </a:p>
              </p:txBody>
            </p:sp>
            <p:sp>
              <p:nvSpPr>
                <p:cNvPr id="4489" name="Vrije vorm: vorm 4488">
                  <a:extLst>
                    <a:ext uri="{FF2B5EF4-FFF2-40B4-BE49-F238E27FC236}">
                      <a16:creationId xmlns:a16="http://schemas.microsoft.com/office/drawing/2014/main" id="{339FA7B1-2065-4AF3-9534-A797EB2D158E}"/>
                    </a:ext>
                  </a:extLst>
                </p:cNvPr>
                <p:cNvSpPr/>
                <p:nvPr/>
              </p:nvSpPr>
              <p:spPr>
                <a:xfrm>
                  <a:off x="7130194" y="1956090"/>
                  <a:ext cx="18326" cy="18429"/>
                </a:xfrm>
                <a:custGeom>
                  <a:avLst/>
                  <a:gdLst>
                    <a:gd name="connsiteX0" fmla="*/ 1837 w 18326"/>
                    <a:gd name="connsiteY0" fmla="*/ 3653 h 18429"/>
                    <a:gd name="connsiteX1" fmla="*/ 14635 w 18326"/>
                    <a:gd name="connsiteY1" fmla="*/ 1858 h 18429"/>
                    <a:gd name="connsiteX2" fmla="*/ 16489 w 18326"/>
                    <a:gd name="connsiteY2" fmla="*/ 14777 h 18429"/>
                    <a:gd name="connsiteX3" fmla="*/ 3690 w 18326"/>
                    <a:gd name="connsiteY3" fmla="*/ 16571 h 18429"/>
                    <a:gd name="connsiteX4" fmla="*/ 1837 w 18326"/>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837" y="3653"/>
                      </a:moveTo>
                      <a:cubicBezTo>
                        <a:pt x="4887" y="-414"/>
                        <a:pt x="10628" y="-1192"/>
                        <a:pt x="14635" y="1858"/>
                      </a:cubicBezTo>
                      <a:cubicBezTo>
                        <a:pt x="18702" y="4909"/>
                        <a:pt x="19539" y="10710"/>
                        <a:pt x="16489" y="14777"/>
                      </a:cubicBezTo>
                      <a:cubicBezTo>
                        <a:pt x="13439" y="18844"/>
                        <a:pt x="7698" y="19621"/>
                        <a:pt x="3690" y="16571"/>
                      </a:cubicBezTo>
                      <a:cubicBezTo>
                        <a:pt x="-376" y="13461"/>
                        <a:pt x="-1213" y="7720"/>
                        <a:pt x="1837" y="3653"/>
                      </a:cubicBezTo>
                      <a:close/>
                    </a:path>
                  </a:pathLst>
                </a:custGeom>
                <a:grpFill/>
                <a:ln w="5978" cap="flat">
                  <a:noFill/>
                  <a:prstDash val="solid"/>
                  <a:miter/>
                </a:ln>
              </p:spPr>
              <p:txBody>
                <a:bodyPr rtlCol="0" anchor="ctr"/>
                <a:lstStyle/>
                <a:p>
                  <a:endParaRPr lang="en-GB"/>
                </a:p>
              </p:txBody>
            </p:sp>
            <p:sp>
              <p:nvSpPr>
                <p:cNvPr id="4490" name="Vrije vorm: vorm 4489">
                  <a:extLst>
                    <a:ext uri="{FF2B5EF4-FFF2-40B4-BE49-F238E27FC236}">
                      <a16:creationId xmlns:a16="http://schemas.microsoft.com/office/drawing/2014/main" id="{78209284-0FD8-4C50-902B-2BCBDEF59698}"/>
                    </a:ext>
                  </a:extLst>
                </p:cNvPr>
                <p:cNvSpPr/>
                <p:nvPr/>
              </p:nvSpPr>
              <p:spPr>
                <a:xfrm>
                  <a:off x="7124333" y="1963943"/>
                  <a:ext cx="18326" cy="18411"/>
                </a:xfrm>
                <a:custGeom>
                  <a:avLst/>
                  <a:gdLst>
                    <a:gd name="connsiteX0" fmla="*/ 1836 w 18326"/>
                    <a:gd name="connsiteY0" fmla="*/ 3635 h 18411"/>
                    <a:gd name="connsiteX1" fmla="*/ 3691 w 18326"/>
                    <a:gd name="connsiteY1" fmla="*/ 16553 h 18411"/>
                    <a:gd name="connsiteX2" fmla="*/ 16490 w 18326"/>
                    <a:gd name="connsiteY2" fmla="*/ 14759 h 18411"/>
                    <a:gd name="connsiteX3" fmla="*/ 14635 w 18326"/>
                    <a:gd name="connsiteY3" fmla="*/ 1841 h 18411"/>
                    <a:gd name="connsiteX4" fmla="*/ 1836 w 18326"/>
                    <a:gd name="connsiteY4" fmla="*/ 3635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1">
                      <a:moveTo>
                        <a:pt x="1836" y="3635"/>
                      </a:moveTo>
                      <a:cubicBezTo>
                        <a:pt x="-1213" y="7702"/>
                        <a:pt x="-376" y="13503"/>
                        <a:pt x="3691" y="16553"/>
                      </a:cubicBezTo>
                      <a:cubicBezTo>
                        <a:pt x="7758" y="19604"/>
                        <a:pt x="13499" y="18826"/>
                        <a:pt x="16490" y="14759"/>
                      </a:cubicBezTo>
                      <a:cubicBezTo>
                        <a:pt x="19540" y="10692"/>
                        <a:pt x="18702" y="4891"/>
                        <a:pt x="14635" y="1841"/>
                      </a:cubicBezTo>
                      <a:cubicBezTo>
                        <a:pt x="10569" y="-1209"/>
                        <a:pt x="4827" y="-372"/>
                        <a:pt x="1836" y="3635"/>
                      </a:cubicBezTo>
                      <a:close/>
                    </a:path>
                  </a:pathLst>
                </a:custGeom>
                <a:grpFill/>
                <a:ln w="5978" cap="flat">
                  <a:noFill/>
                  <a:prstDash val="solid"/>
                  <a:miter/>
                </a:ln>
              </p:spPr>
              <p:txBody>
                <a:bodyPr rtlCol="0" anchor="ctr"/>
                <a:lstStyle/>
                <a:p>
                  <a:endParaRPr lang="en-GB"/>
                </a:p>
              </p:txBody>
            </p:sp>
          </p:grpSp>
          <p:grpSp>
            <p:nvGrpSpPr>
              <p:cNvPr id="298" name="Graphic 3">
                <a:extLst>
                  <a:ext uri="{FF2B5EF4-FFF2-40B4-BE49-F238E27FC236}">
                    <a16:creationId xmlns:a16="http://schemas.microsoft.com/office/drawing/2014/main" id="{D7C8C7F0-6386-4DB1-AD92-EF7972AC7E70}"/>
                  </a:ext>
                </a:extLst>
              </p:cNvPr>
              <p:cNvGrpSpPr/>
              <p:nvPr/>
            </p:nvGrpSpPr>
            <p:grpSpPr>
              <a:xfrm>
                <a:off x="7676256" y="3859120"/>
                <a:ext cx="213791" cy="72547"/>
                <a:chOff x="7676256" y="3859120"/>
                <a:chExt cx="213791" cy="72547"/>
              </a:xfrm>
              <a:grpFill/>
            </p:grpSpPr>
            <p:sp>
              <p:nvSpPr>
                <p:cNvPr id="4485" name="Vrije vorm: vorm 4484">
                  <a:extLst>
                    <a:ext uri="{FF2B5EF4-FFF2-40B4-BE49-F238E27FC236}">
                      <a16:creationId xmlns:a16="http://schemas.microsoft.com/office/drawing/2014/main" id="{401B8618-7C5F-43F4-A010-9DFA8AE765BD}"/>
                    </a:ext>
                  </a:extLst>
                </p:cNvPr>
                <p:cNvSpPr/>
                <p:nvPr/>
              </p:nvSpPr>
              <p:spPr>
                <a:xfrm>
                  <a:off x="7684530" y="3866756"/>
                  <a:ext cx="197184" cy="57295"/>
                </a:xfrm>
                <a:custGeom>
                  <a:avLst/>
                  <a:gdLst>
                    <a:gd name="connsiteX0" fmla="*/ 197184 w 197184"/>
                    <a:gd name="connsiteY0" fmla="*/ 54305 h 57295"/>
                    <a:gd name="connsiteX1" fmla="*/ 196407 w 197184"/>
                    <a:gd name="connsiteY1" fmla="*/ 57295 h 57295"/>
                    <a:gd name="connsiteX2" fmla="*/ 0 w 197184"/>
                    <a:gd name="connsiteY2" fmla="*/ 2930 h 57295"/>
                    <a:gd name="connsiteX3" fmla="*/ 837 w 197184"/>
                    <a:gd name="connsiteY3" fmla="*/ 0 h 57295"/>
                  </a:gdLst>
                  <a:ahLst/>
                  <a:cxnLst>
                    <a:cxn ang="0">
                      <a:pos x="connsiteX0" y="connsiteY0"/>
                    </a:cxn>
                    <a:cxn ang="0">
                      <a:pos x="connsiteX1" y="connsiteY1"/>
                    </a:cxn>
                    <a:cxn ang="0">
                      <a:pos x="connsiteX2" y="connsiteY2"/>
                    </a:cxn>
                    <a:cxn ang="0">
                      <a:pos x="connsiteX3" y="connsiteY3"/>
                    </a:cxn>
                  </a:cxnLst>
                  <a:rect l="l" t="t" r="r" b="b"/>
                  <a:pathLst>
                    <a:path w="197184" h="57295">
                      <a:moveTo>
                        <a:pt x="197184" y="54305"/>
                      </a:moveTo>
                      <a:lnTo>
                        <a:pt x="196407" y="57295"/>
                      </a:lnTo>
                      <a:lnTo>
                        <a:pt x="0" y="2930"/>
                      </a:lnTo>
                      <a:lnTo>
                        <a:pt x="837" y="0"/>
                      </a:lnTo>
                      <a:close/>
                    </a:path>
                  </a:pathLst>
                </a:custGeom>
                <a:grpFill/>
                <a:ln w="5978" cap="flat">
                  <a:noFill/>
                  <a:prstDash val="solid"/>
                  <a:miter/>
                </a:ln>
              </p:spPr>
              <p:txBody>
                <a:bodyPr rtlCol="0" anchor="ctr"/>
                <a:lstStyle/>
                <a:p>
                  <a:endParaRPr lang="en-GB"/>
                </a:p>
              </p:txBody>
            </p:sp>
            <p:sp>
              <p:nvSpPr>
                <p:cNvPr id="4486" name="Vrije vorm: vorm 4485">
                  <a:extLst>
                    <a:ext uri="{FF2B5EF4-FFF2-40B4-BE49-F238E27FC236}">
                      <a16:creationId xmlns:a16="http://schemas.microsoft.com/office/drawing/2014/main" id="{67EE8930-F004-4694-8279-4D33BA2DD329}"/>
                    </a:ext>
                  </a:extLst>
                </p:cNvPr>
                <p:cNvSpPr/>
                <p:nvPr/>
              </p:nvSpPr>
              <p:spPr>
                <a:xfrm>
                  <a:off x="7871706" y="3913241"/>
                  <a:ext cx="18340" cy="18425"/>
                </a:xfrm>
                <a:custGeom>
                  <a:avLst/>
                  <a:gdLst>
                    <a:gd name="connsiteX0" fmla="*/ 11563 w 18340"/>
                    <a:gd name="connsiteY0" fmla="*/ 344 h 18425"/>
                    <a:gd name="connsiteX1" fmla="*/ 18022 w 18340"/>
                    <a:gd name="connsiteY1" fmla="*/ 11648 h 18425"/>
                    <a:gd name="connsiteX2" fmla="*/ 6778 w 18340"/>
                    <a:gd name="connsiteY2" fmla="*/ 18107 h 18425"/>
                    <a:gd name="connsiteX3" fmla="*/ 319 w 18340"/>
                    <a:gd name="connsiteY3" fmla="*/ 6803 h 18425"/>
                    <a:gd name="connsiteX4" fmla="*/ 11563 w 18340"/>
                    <a:gd name="connsiteY4" fmla="*/ 344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11563" y="344"/>
                      </a:moveTo>
                      <a:cubicBezTo>
                        <a:pt x="16467" y="1720"/>
                        <a:pt x="19337" y="6743"/>
                        <a:pt x="18022" y="11648"/>
                      </a:cubicBezTo>
                      <a:cubicBezTo>
                        <a:pt x="16706" y="16552"/>
                        <a:pt x="11683" y="19422"/>
                        <a:pt x="6778" y="18107"/>
                      </a:cubicBezTo>
                      <a:cubicBezTo>
                        <a:pt x="1874" y="16731"/>
                        <a:pt x="-997" y="11707"/>
                        <a:pt x="319" y="6803"/>
                      </a:cubicBezTo>
                      <a:cubicBezTo>
                        <a:pt x="1635" y="1839"/>
                        <a:pt x="6718" y="-1032"/>
                        <a:pt x="11563" y="344"/>
                      </a:cubicBezTo>
                      <a:close/>
                    </a:path>
                  </a:pathLst>
                </a:custGeom>
                <a:grpFill/>
                <a:ln w="5978" cap="flat">
                  <a:noFill/>
                  <a:prstDash val="solid"/>
                  <a:miter/>
                </a:ln>
              </p:spPr>
              <p:txBody>
                <a:bodyPr rtlCol="0" anchor="ctr"/>
                <a:lstStyle/>
                <a:p>
                  <a:endParaRPr lang="en-GB"/>
                </a:p>
              </p:txBody>
            </p:sp>
            <p:sp>
              <p:nvSpPr>
                <p:cNvPr id="4487" name="Vrije vorm: vorm 4486">
                  <a:extLst>
                    <a:ext uri="{FF2B5EF4-FFF2-40B4-BE49-F238E27FC236}">
                      <a16:creationId xmlns:a16="http://schemas.microsoft.com/office/drawing/2014/main" id="{6A02EB2C-4C3F-424F-AF5D-E4994CBF1BC3}"/>
                    </a:ext>
                  </a:extLst>
                </p:cNvPr>
                <p:cNvSpPr/>
                <p:nvPr/>
              </p:nvSpPr>
              <p:spPr>
                <a:xfrm>
                  <a:off x="7676256" y="3859120"/>
                  <a:ext cx="18317" cy="18442"/>
                </a:xfrm>
                <a:custGeom>
                  <a:avLst/>
                  <a:gdLst>
                    <a:gd name="connsiteX0" fmla="*/ 11563 w 18317"/>
                    <a:gd name="connsiteY0" fmla="*/ 340 h 18442"/>
                    <a:gd name="connsiteX1" fmla="*/ 319 w 18317"/>
                    <a:gd name="connsiteY1" fmla="*/ 6799 h 18442"/>
                    <a:gd name="connsiteX2" fmla="*/ 6779 w 18317"/>
                    <a:gd name="connsiteY2" fmla="*/ 18103 h 18442"/>
                    <a:gd name="connsiteX3" fmla="*/ 18022 w 18317"/>
                    <a:gd name="connsiteY3" fmla="*/ 11643 h 18442"/>
                    <a:gd name="connsiteX4" fmla="*/ 11563 w 18317"/>
                    <a:gd name="connsiteY4" fmla="*/ 34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2">
                      <a:moveTo>
                        <a:pt x="11563" y="340"/>
                      </a:moveTo>
                      <a:cubicBezTo>
                        <a:pt x="6659" y="-1036"/>
                        <a:pt x="1635" y="1895"/>
                        <a:pt x="319" y="6799"/>
                      </a:cubicBezTo>
                      <a:cubicBezTo>
                        <a:pt x="-997" y="11703"/>
                        <a:pt x="1874" y="16787"/>
                        <a:pt x="6779" y="18103"/>
                      </a:cubicBezTo>
                      <a:cubicBezTo>
                        <a:pt x="11683" y="19478"/>
                        <a:pt x="16706" y="16548"/>
                        <a:pt x="18022" y="11643"/>
                      </a:cubicBezTo>
                      <a:cubicBezTo>
                        <a:pt x="19278" y="6739"/>
                        <a:pt x="16408" y="1656"/>
                        <a:pt x="11563" y="340"/>
                      </a:cubicBezTo>
                      <a:close/>
                    </a:path>
                  </a:pathLst>
                </a:custGeom>
                <a:grpFill/>
                <a:ln w="5978" cap="flat">
                  <a:noFill/>
                  <a:prstDash val="solid"/>
                  <a:miter/>
                </a:ln>
              </p:spPr>
              <p:txBody>
                <a:bodyPr rtlCol="0" anchor="ctr"/>
                <a:lstStyle/>
                <a:p>
                  <a:endParaRPr lang="en-GB"/>
                </a:p>
              </p:txBody>
            </p:sp>
          </p:grpSp>
          <p:grpSp>
            <p:nvGrpSpPr>
              <p:cNvPr id="299" name="Graphic 3">
                <a:extLst>
                  <a:ext uri="{FF2B5EF4-FFF2-40B4-BE49-F238E27FC236}">
                    <a16:creationId xmlns:a16="http://schemas.microsoft.com/office/drawing/2014/main" id="{7717C0C5-9488-49A7-9067-FFA011C2C7AA}"/>
                  </a:ext>
                </a:extLst>
              </p:cNvPr>
              <p:cNvGrpSpPr/>
              <p:nvPr/>
            </p:nvGrpSpPr>
            <p:grpSpPr>
              <a:xfrm>
                <a:off x="6869150" y="1426295"/>
                <a:ext cx="354148" cy="532193"/>
                <a:chOff x="6869150" y="1426295"/>
                <a:chExt cx="354148" cy="532193"/>
              </a:xfrm>
              <a:grpFill/>
            </p:grpSpPr>
            <p:sp>
              <p:nvSpPr>
                <p:cNvPr id="4482" name="Vrije vorm: vorm 4481">
                  <a:extLst>
                    <a:ext uri="{FF2B5EF4-FFF2-40B4-BE49-F238E27FC236}">
                      <a16:creationId xmlns:a16="http://schemas.microsoft.com/office/drawing/2014/main" id="{7F5E1B9B-6651-4275-BA68-95ECE4EBF381}"/>
                    </a:ext>
                  </a:extLst>
                </p:cNvPr>
                <p:cNvSpPr/>
                <p:nvPr/>
              </p:nvSpPr>
              <p:spPr>
                <a:xfrm>
                  <a:off x="6876773" y="1434217"/>
                  <a:ext cx="338867" cy="516315"/>
                </a:xfrm>
                <a:custGeom>
                  <a:avLst/>
                  <a:gdLst>
                    <a:gd name="connsiteX0" fmla="*/ 338868 w 338867"/>
                    <a:gd name="connsiteY0" fmla="*/ 1675 h 516315"/>
                    <a:gd name="connsiteX1" fmla="*/ 2572 w 338867"/>
                    <a:gd name="connsiteY1" fmla="*/ 516316 h 516315"/>
                    <a:gd name="connsiteX2" fmla="*/ 0 w 338867"/>
                    <a:gd name="connsiteY2" fmla="*/ 514641 h 516315"/>
                    <a:gd name="connsiteX3" fmla="*/ 336356 w 338867"/>
                    <a:gd name="connsiteY3" fmla="*/ 0 h 516315"/>
                  </a:gdLst>
                  <a:ahLst/>
                  <a:cxnLst>
                    <a:cxn ang="0">
                      <a:pos x="connsiteX0" y="connsiteY0"/>
                    </a:cxn>
                    <a:cxn ang="0">
                      <a:pos x="connsiteX1" y="connsiteY1"/>
                    </a:cxn>
                    <a:cxn ang="0">
                      <a:pos x="connsiteX2" y="connsiteY2"/>
                    </a:cxn>
                    <a:cxn ang="0">
                      <a:pos x="connsiteX3" y="connsiteY3"/>
                    </a:cxn>
                  </a:cxnLst>
                  <a:rect l="l" t="t" r="r" b="b"/>
                  <a:pathLst>
                    <a:path w="338867" h="516315">
                      <a:moveTo>
                        <a:pt x="338868" y="1675"/>
                      </a:moveTo>
                      <a:lnTo>
                        <a:pt x="2572" y="516316"/>
                      </a:lnTo>
                      <a:lnTo>
                        <a:pt x="0" y="514641"/>
                      </a:lnTo>
                      <a:lnTo>
                        <a:pt x="336356" y="0"/>
                      </a:lnTo>
                      <a:close/>
                    </a:path>
                  </a:pathLst>
                </a:custGeom>
                <a:grpFill/>
                <a:ln w="5978" cap="flat">
                  <a:noFill/>
                  <a:prstDash val="solid"/>
                  <a:miter/>
                </a:ln>
              </p:spPr>
              <p:txBody>
                <a:bodyPr rtlCol="0" anchor="ctr"/>
                <a:lstStyle/>
                <a:p>
                  <a:endParaRPr lang="en-GB"/>
                </a:p>
              </p:txBody>
            </p:sp>
            <p:sp>
              <p:nvSpPr>
                <p:cNvPr id="4483" name="Vrije vorm: vorm 4482">
                  <a:extLst>
                    <a:ext uri="{FF2B5EF4-FFF2-40B4-BE49-F238E27FC236}">
                      <a16:creationId xmlns:a16="http://schemas.microsoft.com/office/drawing/2014/main" id="{30BFAE8F-FBA1-4AFF-95EC-E753BB5A3933}"/>
                    </a:ext>
                  </a:extLst>
                </p:cNvPr>
                <p:cNvSpPr/>
                <p:nvPr/>
              </p:nvSpPr>
              <p:spPr>
                <a:xfrm>
                  <a:off x="6869150" y="1940125"/>
                  <a:ext cx="18330" cy="18363"/>
                </a:xfrm>
                <a:custGeom>
                  <a:avLst/>
                  <a:gdLst>
                    <a:gd name="connsiteX0" fmla="*/ 16834 w 18330"/>
                    <a:gd name="connsiteY0" fmla="*/ 14236 h 18363"/>
                    <a:gd name="connsiteX1" fmla="*/ 4155 w 18330"/>
                    <a:gd name="connsiteY1" fmla="*/ 16867 h 18363"/>
                    <a:gd name="connsiteX2" fmla="*/ 1523 w 18330"/>
                    <a:gd name="connsiteY2" fmla="*/ 4128 h 18363"/>
                    <a:gd name="connsiteX3" fmla="*/ 14202 w 18330"/>
                    <a:gd name="connsiteY3" fmla="*/ 1497 h 18363"/>
                    <a:gd name="connsiteX4" fmla="*/ 16834 w 18330"/>
                    <a:gd name="connsiteY4" fmla="*/ 14236 h 1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363">
                      <a:moveTo>
                        <a:pt x="16834" y="14236"/>
                      </a:moveTo>
                      <a:cubicBezTo>
                        <a:pt x="14082" y="18482"/>
                        <a:pt x="8401" y="19618"/>
                        <a:pt x="4155" y="16867"/>
                      </a:cubicBezTo>
                      <a:cubicBezTo>
                        <a:pt x="-92" y="14056"/>
                        <a:pt x="-1288" y="8374"/>
                        <a:pt x="1523" y="4128"/>
                      </a:cubicBezTo>
                      <a:cubicBezTo>
                        <a:pt x="4275" y="-118"/>
                        <a:pt x="9956" y="-1255"/>
                        <a:pt x="14202" y="1497"/>
                      </a:cubicBezTo>
                      <a:cubicBezTo>
                        <a:pt x="18449" y="4308"/>
                        <a:pt x="19585" y="9989"/>
                        <a:pt x="16834" y="14236"/>
                      </a:cubicBezTo>
                      <a:close/>
                    </a:path>
                  </a:pathLst>
                </a:custGeom>
                <a:grpFill/>
                <a:ln w="5978" cap="flat">
                  <a:noFill/>
                  <a:prstDash val="solid"/>
                  <a:miter/>
                </a:ln>
              </p:spPr>
              <p:txBody>
                <a:bodyPr rtlCol="0" anchor="ctr"/>
                <a:lstStyle/>
                <a:p>
                  <a:endParaRPr lang="en-GB"/>
                </a:p>
              </p:txBody>
            </p:sp>
            <p:sp>
              <p:nvSpPr>
                <p:cNvPr id="4484" name="Vrije vorm: vorm 4483">
                  <a:extLst>
                    <a:ext uri="{FF2B5EF4-FFF2-40B4-BE49-F238E27FC236}">
                      <a16:creationId xmlns:a16="http://schemas.microsoft.com/office/drawing/2014/main" id="{46BF702F-3C7F-4E25-AFE5-622AA1899028}"/>
                    </a:ext>
                  </a:extLst>
                </p:cNvPr>
                <p:cNvSpPr/>
                <p:nvPr/>
              </p:nvSpPr>
              <p:spPr>
                <a:xfrm>
                  <a:off x="7204994" y="1426295"/>
                  <a:ext cx="18303" cy="18390"/>
                </a:xfrm>
                <a:custGeom>
                  <a:avLst/>
                  <a:gdLst>
                    <a:gd name="connsiteX0" fmla="*/ 16808 w 18303"/>
                    <a:gd name="connsiteY0" fmla="*/ 14262 h 18390"/>
                    <a:gd name="connsiteX1" fmla="*/ 14176 w 18303"/>
                    <a:gd name="connsiteY1" fmla="*/ 1523 h 18390"/>
                    <a:gd name="connsiteX2" fmla="*/ 1497 w 18303"/>
                    <a:gd name="connsiteY2" fmla="*/ 4155 h 18390"/>
                    <a:gd name="connsiteX3" fmla="*/ 4128 w 18303"/>
                    <a:gd name="connsiteY3" fmla="*/ 16893 h 18390"/>
                    <a:gd name="connsiteX4" fmla="*/ 16808 w 1830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90">
                      <a:moveTo>
                        <a:pt x="16808" y="14262"/>
                      </a:moveTo>
                      <a:cubicBezTo>
                        <a:pt x="19558" y="10016"/>
                        <a:pt x="18422" y="4274"/>
                        <a:pt x="14176" y="1523"/>
                      </a:cubicBezTo>
                      <a:cubicBezTo>
                        <a:pt x="9930" y="-1288"/>
                        <a:pt x="4247" y="-92"/>
                        <a:pt x="1497" y="4155"/>
                      </a:cubicBezTo>
                      <a:cubicBezTo>
                        <a:pt x="-1254" y="8401"/>
                        <a:pt x="-118" y="14142"/>
                        <a:pt x="4128" y="16893"/>
                      </a:cubicBezTo>
                      <a:cubicBezTo>
                        <a:pt x="8315" y="19645"/>
                        <a:pt x="13996" y="18508"/>
                        <a:pt x="16808" y="14262"/>
                      </a:cubicBezTo>
                      <a:close/>
                    </a:path>
                  </a:pathLst>
                </a:custGeom>
                <a:grpFill/>
                <a:ln w="5978" cap="flat">
                  <a:noFill/>
                  <a:prstDash val="solid"/>
                  <a:miter/>
                </a:ln>
              </p:spPr>
              <p:txBody>
                <a:bodyPr rtlCol="0" anchor="ctr"/>
                <a:lstStyle/>
                <a:p>
                  <a:endParaRPr lang="en-GB"/>
                </a:p>
              </p:txBody>
            </p:sp>
          </p:grpSp>
          <p:grpSp>
            <p:nvGrpSpPr>
              <p:cNvPr id="300" name="Graphic 3">
                <a:extLst>
                  <a:ext uri="{FF2B5EF4-FFF2-40B4-BE49-F238E27FC236}">
                    <a16:creationId xmlns:a16="http://schemas.microsoft.com/office/drawing/2014/main" id="{5969DF0C-F2A3-4D52-98DD-21DAC7ADB0A1}"/>
                  </a:ext>
                </a:extLst>
              </p:cNvPr>
              <p:cNvGrpSpPr/>
              <p:nvPr/>
            </p:nvGrpSpPr>
            <p:grpSpPr>
              <a:xfrm>
                <a:off x="7654133" y="3886682"/>
                <a:ext cx="281421" cy="132690"/>
                <a:chOff x="7654133" y="3886682"/>
                <a:chExt cx="281421" cy="132690"/>
              </a:xfrm>
              <a:grpFill/>
            </p:grpSpPr>
            <p:sp>
              <p:nvSpPr>
                <p:cNvPr id="4479" name="Vrije vorm: vorm 4478">
                  <a:extLst>
                    <a:ext uri="{FF2B5EF4-FFF2-40B4-BE49-F238E27FC236}">
                      <a16:creationId xmlns:a16="http://schemas.microsoft.com/office/drawing/2014/main" id="{D6139307-0948-481F-B431-6A753CB139C7}"/>
                    </a:ext>
                  </a:extLst>
                </p:cNvPr>
                <p:cNvSpPr/>
                <p:nvPr/>
              </p:nvSpPr>
              <p:spPr>
                <a:xfrm>
                  <a:off x="7662281" y="3894327"/>
                  <a:ext cx="265125" cy="117461"/>
                </a:xfrm>
                <a:custGeom>
                  <a:avLst/>
                  <a:gdLst>
                    <a:gd name="connsiteX0" fmla="*/ 265126 w 265125"/>
                    <a:gd name="connsiteY0" fmla="*/ 114650 h 117461"/>
                    <a:gd name="connsiteX1" fmla="*/ 263929 w 265125"/>
                    <a:gd name="connsiteY1" fmla="*/ 117461 h 117461"/>
                    <a:gd name="connsiteX2" fmla="*/ 0 w 265125"/>
                    <a:gd name="connsiteY2" fmla="*/ 2811 h 117461"/>
                    <a:gd name="connsiteX3" fmla="*/ 1197 w 265125"/>
                    <a:gd name="connsiteY3" fmla="*/ 0 h 117461"/>
                  </a:gdLst>
                  <a:ahLst/>
                  <a:cxnLst>
                    <a:cxn ang="0">
                      <a:pos x="connsiteX0" y="connsiteY0"/>
                    </a:cxn>
                    <a:cxn ang="0">
                      <a:pos x="connsiteX1" y="connsiteY1"/>
                    </a:cxn>
                    <a:cxn ang="0">
                      <a:pos x="connsiteX2" y="connsiteY2"/>
                    </a:cxn>
                    <a:cxn ang="0">
                      <a:pos x="connsiteX3" y="connsiteY3"/>
                    </a:cxn>
                  </a:cxnLst>
                  <a:rect l="l" t="t" r="r" b="b"/>
                  <a:pathLst>
                    <a:path w="265125" h="117461">
                      <a:moveTo>
                        <a:pt x="265126" y="114650"/>
                      </a:moveTo>
                      <a:lnTo>
                        <a:pt x="263929" y="117461"/>
                      </a:lnTo>
                      <a:lnTo>
                        <a:pt x="0" y="2811"/>
                      </a:lnTo>
                      <a:lnTo>
                        <a:pt x="1197" y="0"/>
                      </a:lnTo>
                      <a:close/>
                    </a:path>
                  </a:pathLst>
                </a:custGeom>
                <a:grpFill/>
                <a:ln w="5978" cap="flat">
                  <a:noFill/>
                  <a:prstDash val="solid"/>
                  <a:miter/>
                </a:ln>
              </p:spPr>
              <p:txBody>
                <a:bodyPr rtlCol="0" anchor="ctr"/>
                <a:lstStyle/>
                <a:p>
                  <a:endParaRPr lang="en-GB"/>
                </a:p>
              </p:txBody>
            </p:sp>
            <p:sp>
              <p:nvSpPr>
                <p:cNvPr id="4480" name="Vrije vorm: vorm 4479">
                  <a:extLst>
                    <a:ext uri="{FF2B5EF4-FFF2-40B4-BE49-F238E27FC236}">
                      <a16:creationId xmlns:a16="http://schemas.microsoft.com/office/drawing/2014/main" id="{A4593326-67F0-4181-B561-DCBFECF71154}"/>
                    </a:ext>
                  </a:extLst>
                </p:cNvPr>
                <p:cNvSpPr/>
                <p:nvPr/>
              </p:nvSpPr>
              <p:spPr>
                <a:xfrm>
                  <a:off x="7654133" y="3886682"/>
                  <a:ext cx="18329" cy="18433"/>
                </a:xfrm>
                <a:custGeom>
                  <a:avLst/>
                  <a:gdLst>
                    <a:gd name="connsiteX0" fmla="*/ 5576 w 18329"/>
                    <a:gd name="connsiteY0" fmla="*/ 17692 h 18433"/>
                    <a:gd name="connsiteX1" fmla="*/ 732 w 18329"/>
                    <a:gd name="connsiteY1" fmla="*/ 5551 h 18433"/>
                    <a:gd name="connsiteX2" fmla="*/ 12753 w 18329"/>
                    <a:gd name="connsiteY2" fmla="*/ 767 h 18433"/>
                    <a:gd name="connsiteX3" fmla="*/ 17598 w 18329"/>
                    <a:gd name="connsiteY3" fmla="*/ 12908 h 18433"/>
                    <a:gd name="connsiteX4" fmla="*/ 5576 w 18329"/>
                    <a:gd name="connsiteY4" fmla="*/ 17692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3">
                      <a:moveTo>
                        <a:pt x="5576" y="17692"/>
                      </a:moveTo>
                      <a:cubicBezTo>
                        <a:pt x="911" y="15659"/>
                        <a:pt x="-1242" y="10276"/>
                        <a:pt x="732" y="5551"/>
                      </a:cubicBezTo>
                      <a:cubicBezTo>
                        <a:pt x="2706" y="886"/>
                        <a:pt x="8088" y="-1267"/>
                        <a:pt x="12753" y="767"/>
                      </a:cubicBezTo>
                      <a:cubicBezTo>
                        <a:pt x="17418" y="2800"/>
                        <a:pt x="19571" y="8183"/>
                        <a:pt x="17598" y="12908"/>
                      </a:cubicBezTo>
                      <a:cubicBezTo>
                        <a:pt x="15624" y="17572"/>
                        <a:pt x="10182" y="19666"/>
                        <a:pt x="5576" y="17692"/>
                      </a:cubicBezTo>
                      <a:close/>
                    </a:path>
                  </a:pathLst>
                </a:custGeom>
                <a:grpFill/>
                <a:ln w="5978" cap="flat">
                  <a:noFill/>
                  <a:prstDash val="solid"/>
                  <a:miter/>
                </a:ln>
              </p:spPr>
              <p:txBody>
                <a:bodyPr rtlCol="0" anchor="ctr"/>
                <a:lstStyle/>
                <a:p>
                  <a:endParaRPr lang="en-GB"/>
                </a:p>
              </p:txBody>
            </p:sp>
            <p:sp>
              <p:nvSpPr>
                <p:cNvPr id="4481" name="Vrije vorm: vorm 4480">
                  <a:extLst>
                    <a:ext uri="{FF2B5EF4-FFF2-40B4-BE49-F238E27FC236}">
                      <a16:creationId xmlns:a16="http://schemas.microsoft.com/office/drawing/2014/main" id="{AC3B75C6-197E-49B4-A106-9009758A331C}"/>
                    </a:ext>
                  </a:extLst>
                </p:cNvPr>
                <p:cNvSpPr/>
                <p:nvPr/>
              </p:nvSpPr>
              <p:spPr>
                <a:xfrm>
                  <a:off x="7917225" y="4000914"/>
                  <a:ext cx="18329" cy="18458"/>
                </a:xfrm>
                <a:custGeom>
                  <a:avLst/>
                  <a:gdLst>
                    <a:gd name="connsiteX0" fmla="*/ 5576 w 18329"/>
                    <a:gd name="connsiteY0" fmla="*/ 17692 h 18458"/>
                    <a:gd name="connsiteX1" fmla="*/ 17598 w 18329"/>
                    <a:gd name="connsiteY1" fmla="*/ 12907 h 18458"/>
                    <a:gd name="connsiteX2" fmla="*/ 12753 w 18329"/>
                    <a:gd name="connsiteY2" fmla="*/ 767 h 18458"/>
                    <a:gd name="connsiteX3" fmla="*/ 732 w 18329"/>
                    <a:gd name="connsiteY3" fmla="*/ 5551 h 18458"/>
                    <a:gd name="connsiteX4" fmla="*/ 5576 w 18329"/>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8">
                      <a:moveTo>
                        <a:pt x="5576" y="17692"/>
                      </a:moveTo>
                      <a:cubicBezTo>
                        <a:pt x="10241" y="19726"/>
                        <a:pt x="15624" y="17573"/>
                        <a:pt x="17598" y="12907"/>
                      </a:cubicBezTo>
                      <a:cubicBezTo>
                        <a:pt x="19571" y="8243"/>
                        <a:pt x="17418" y="2800"/>
                        <a:pt x="12753" y="767"/>
                      </a:cubicBezTo>
                      <a:cubicBezTo>
                        <a:pt x="8088" y="-1267"/>
                        <a:pt x="2706" y="886"/>
                        <a:pt x="732" y="5551"/>
                      </a:cubicBezTo>
                      <a:cubicBezTo>
                        <a:pt x="-1242" y="10276"/>
                        <a:pt x="911" y="15719"/>
                        <a:pt x="5576" y="17692"/>
                      </a:cubicBezTo>
                      <a:close/>
                    </a:path>
                  </a:pathLst>
                </a:custGeom>
                <a:grpFill/>
                <a:ln w="5978" cap="flat">
                  <a:noFill/>
                  <a:prstDash val="solid"/>
                  <a:miter/>
                </a:ln>
              </p:spPr>
              <p:txBody>
                <a:bodyPr rtlCol="0" anchor="ctr"/>
                <a:lstStyle/>
                <a:p>
                  <a:endParaRPr lang="en-GB"/>
                </a:p>
              </p:txBody>
            </p:sp>
          </p:grpSp>
          <p:grpSp>
            <p:nvGrpSpPr>
              <p:cNvPr id="301" name="Graphic 3">
                <a:extLst>
                  <a:ext uri="{FF2B5EF4-FFF2-40B4-BE49-F238E27FC236}">
                    <a16:creationId xmlns:a16="http://schemas.microsoft.com/office/drawing/2014/main" id="{F476E07E-0027-448C-B673-09A1CE125744}"/>
                  </a:ext>
                </a:extLst>
              </p:cNvPr>
              <p:cNvGrpSpPr/>
              <p:nvPr/>
            </p:nvGrpSpPr>
            <p:grpSpPr>
              <a:xfrm>
                <a:off x="7628337" y="4010462"/>
                <a:ext cx="460822" cy="228878"/>
                <a:chOff x="7628337" y="4010462"/>
                <a:chExt cx="460822" cy="228878"/>
              </a:xfrm>
              <a:grpFill/>
            </p:grpSpPr>
            <p:sp>
              <p:nvSpPr>
                <p:cNvPr id="4476" name="Vrije vorm: vorm 4475">
                  <a:extLst>
                    <a:ext uri="{FF2B5EF4-FFF2-40B4-BE49-F238E27FC236}">
                      <a16:creationId xmlns:a16="http://schemas.microsoft.com/office/drawing/2014/main" id="{3EC52143-C68C-4885-8137-0CF119E51EEE}"/>
                    </a:ext>
                  </a:extLst>
                </p:cNvPr>
                <p:cNvSpPr/>
                <p:nvPr/>
              </p:nvSpPr>
              <p:spPr>
                <a:xfrm>
                  <a:off x="7636445" y="4018128"/>
                  <a:ext cx="444606" cy="213631"/>
                </a:xfrm>
                <a:custGeom>
                  <a:avLst/>
                  <a:gdLst>
                    <a:gd name="connsiteX0" fmla="*/ 444607 w 444606"/>
                    <a:gd name="connsiteY0" fmla="*/ 210820 h 213631"/>
                    <a:gd name="connsiteX1" fmla="*/ 443291 w 444606"/>
                    <a:gd name="connsiteY1" fmla="*/ 213631 h 213631"/>
                    <a:gd name="connsiteX2" fmla="*/ 0 w 444606"/>
                    <a:gd name="connsiteY2" fmla="*/ 2751 h 213631"/>
                    <a:gd name="connsiteX3" fmla="*/ 1316 w 444606"/>
                    <a:gd name="connsiteY3" fmla="*/ 0 h 213631"/>
                  </a:gdLst>
                  <a:ahLst/>
                  <a:cxnLst>
                    <a:cxn ang="0">
                      <a:pos x="connsiteX0" y="connsiteY0"/>
                    </a:cxn>
                    <a:cxn ang="0">
                      <a:pos x="connsiteX1" y="connsiteY1"/>
                    </a:cxn>
                    <a:cxn ang="0">
                      <a:pos x="connsiteX2" y="connsiteY2"/>
                    </a:cxn>
                    <a:cxn ang="0">
                      <a:pos x="connsiteX3" y="connsiteY3"/>
                    </a:cxn>
                  </a:cxnLst>
                  <a:rect l="l" t="t" r="r" b="b"/>
                  <a:pathLst>
                    <a:path w="444606" h="213631">
                      <a:moveTo>
                        <a:pt x="444607" y="210820"/>
                      </a:moveTo>
                      <a:lnTo>
                        <a:pt x="443291" y="213631"/>
                      </a:lnTo>
                      <a:lnTo>
                        <a:pt x="0" y="2751"/>
                      </a:lnTo>
                      <a:lnTo>
                        <a:pt x="1316" y="0"/>
                      </a:lnTo>
                      <a:close/>
                    </a:path>
                  </a:pathLst>
                </a:custGeom>
                <a:grpFill/>
                <a:ln w="5978" cap="flat">
                  <a:noFill/>
                  <a:prstDash val="solid"/>
                  <a:miter/>
                </a:ln>
              </p:spPr>
              <p:txBody>
                <a:bodyPr rtlCol="0" anchor="ctr"/>
                <a:lstStyle/>
                <a:p>
                  <a:endParaRPr lang="en-GB"/>
                </a:p>
              </p:txBody>
            </p:sp>
            <p:sp>
              <p:nvSpPr>
                <p:cNvPr id="4477" name="Vrije vorm: vorm 4476">
                  <a:extLst>
                    <a:ext uri="{FF2B5EF4-FFF2-40B4-BE49-F238E27FC236}">
                      <a16:creationId xmlns:a16="http://schemas.microsoft.com/office/drawing/2014/main" id="{0E276C16-C619-4A13-98D2-0F70E8B88811}"/>
                    </a:ext>
                  </a:extLst>
                </p:cNvPr>
                <p:cNvSpPr/>
                <p:nvPr/>
              </p:nvSpPr>
              <p:spPr>
                <a:xfrm>
                  <a:off x="7628337" y="4010462"/>
                  <a:ext cx="18368" cy="18442"/>
                </a:xfrm>
                <a:custGeom>
                  <a:avLst/>
                  <a:gdLst>
                    <a:gd name="connsiteX0" fmla="*/ 5297 w 18368"/>
                    <a:gd name="connsiteY0" fmla="*/ 17534 h 18442"/>
                    <a:gd name="connsiteX1" fmla="*/ 871 w 18368"/>
                    <a:gd name="connsiteY1" fmla="*/ 5274 h 18442"/>
                    <a:gd name="connsiteX2" fmla="*/ 13072 w 18368"/>
                    <a:gd name="connsiteY2" fmla="*/ 908 h 18442"/>
                    <a:gd name="connsiteX3" fmla="*/ 17497 w 18368"/>
                    <a:gd name="connsiteY3" fmla="*/ 13169 h 18442"/>
                    <a:gd name="connsiteX4" fmla="*/ 5297 w 18368"/>
                    <a:gd name="connsiteY4" fmla="*/ 1753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2">
                      <a:moveTo>
                        <a:pt x="5297" y="17534"/>
                      </a:moveTo>
                      <a:cubicBezTo>
                        <a:pt x="692" y="15382"/>
                        <a:pt x="-1282" y="9879"/>
                        <a:pt x="871" y="5274"/>
                      </a:cubicBezTo>
                      <a:cubicBezTo>
                        <a:pt x="3024" y="669"/>
                        <a:pt x="8466" y="-1305"/>
                        <a:pt x="13072" y="908"/>
                      </a:cubicBezTo>
                      <a:cubicBezTo>
                        <a:pt x="17677" y="3061"/>
                        <a:pt x="19650" y="8563"/>
                        <a:pt x="17497" y="13169"/>
                      </a:cubicBezTo>
                      <a:cubicBezTo>
                        <a:pt x="15344" y="17774"/>
                        <a:pt x="9843" y="19747"/>
                        <a:pt x="5297" y="17534"/>
                      </a:cubicBezTo>
                      <a:close/>
                    </a:path>
                  </a:pathLst>
                </a:custGeom>
                <a:grpFill/>
                <a:ln w="5978" cap="flat">
                  <a:noFill/>
                  <a:prstDash val="solid"/>
                  <a:miter/>
                </a:ln>
              </p:spPr>
              <p:txBody>
                <a:bodyPr rtlCol="0" anchor="ctr"/>
                <a:lstStyle/>
                <a:p>
                  <a:endParaRPr lang="en-GB"/>
                </a:p>
              </p:txBody>
            </p:sp>
            <p:sp>
              <p:nvSpPr>
                <p:cNvPr id="4478" name="Vrije vorm: vorm 4477">
                  <a:extLst>
                    <a:ext uri="{FF2B5EF4-FFF2-40B4-BE49-F238E27FC236}">
                      <a16:creationId xmlns:a16="http://schemas.microsoft.com/office/drawing/2014/main" id="{881126E8-C580-4EE1-A6EB-EF84B270E2B4}"/>
                    </a:ext>
                  </a:extLst>
                </p:cNvPr>
                <p:cNvSpPr/>
                <p:nvPr/>
              </p:nvSpPr>
              <p:spPr>
                <a:xfrm>
                  <a:off x="8070791" y="4220949"/>
                  <a:ext cx="18368" cy="18390"/>
                </a:xfrm>
                <a:custGeom>
                  <a:avLst/>
                  <a:gdLst>
                    <a:gd name="connsiteX0" fmla="*/ 5297 w 18368"/>
                    <a:gd name="connsiteY0" fmla="*/ 17509 h 18390"/>
                    <a:gd name="connsiteX1" fmla="*/ 17497 w 18368"/>
                    <a:gd name="connsiteY1" fmla="*/ 13143 h 18390"/>
                    <a:gd name="connsiteX2" fmla="*/ 13071 w 18368"/>
                    <a:gd name="connsiteY2" fmla="*/ 882 h 18390"/>
                    <a:gd name="connsiteX3" fmla="*/ 871 w 18368"/>
                    <a:gd name="connsiteY3" fmla="*/ 5248 h 18390"/>
                    <a:gd name="connsiteX4" fmla="*/ 5297 w 18368"/>
                    <a:gd name="connsiteY4" fmla="*/ 17509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390">
                      <a:moveTo>
                        <a:pt x="5297" y="17509"/>
                      </a:moveTo>
                      <a:cubicBezTo>
                        <a:pt x="9902" y="19662"/>
                        <a:pt x="15344" y="17748"/>
                        <a:pt x="17497" y="13143"/>
                      </a:cubicBezTo>
                      <a:cubicBezTo>
                        <a:pt x="19651" y="8537"/>
                        <a:pt x="17677" y="3035"/>
                        <a:pt x="13071" y="882"/>
                      </a:cubicBezTo>
                      <a:cubicBezTo>
                        <a:pt x="8467" y="-1271"/>
                        <a:pt x="3024" y="643"/>
                        <a:pt x="871" y="5248"/>
                      </a:cubicBezTo>
                      <a:cubicBezTo>
                        <a:pt x="-1282" y="9853"/>
                        <a:pt x="692" y="15356"/>
                        <a:pt x="5297" y="17509"/>
                      </a:cubicBezTo>
                      <a:close/>
                    </a:path>
                  </a:pathLst>
                </a:custGeom>
                <a:grpFill/>
                <a:ln w="5978" cap="flat">
                  <a:noFill/>
                  <a:prstDash val="solid"/>
                  <a:miter/>
                </a:ln>
              </p:spPr>
              <p:txBody>
                <a:bodyPr rtlCol="0" anchor="ctr"/>
                <a:lstStyle/>
                <a:p>
                  <a:endParaRPr lang="en-GB"/>
                </a:p>
              </p:txBody>
            </p:sp>
          </p:grpSp>
          <p:grpSp>
            <p:nvGrpSpPr>
              <p:cNvPr id="302" name="Graphic 3">
                <a:extLst>
                  <a:ext uri="{FF2B5EF4-FFF2-40B4-BE49-F238E27FC236}">
                    <a16:creationId xmlns:a16="http://schemas.microsoft.com/office/drawing/2014/main" id="{7DAE4179-F528-4C62-9C1B-CE54BF85EFD8}"/>
                  </a:ext>
                </a:extLst>
              </p:cNvPr>
              <p:cNvGrpSpPr/>
              <p:nvPr/>
            </p:nvGrpSpPr>
            <p:grpSpPr>
              <a:xfrm>
                <a:off x="7635621" y="3979566"/>
                <a:ext cx="430584" cy="207444"/>
                <a:chOff x="7635621" y="3979566"/>
                <a:chExt cx="430584" cy="207444"/>
              </a:xfrm>
              <a:grpFill/>
            </p:grpSpPr>
            <p:sp>
              <p:nvSpPr>
                <p:cNvPr id="4473" name="Vrije vorm: vorm 4472">
                  <a:extLst>
                    <a:ext uri="{FF2B5EF4-FFF2-40B4-BE49-F238E27FC236}">
                      <a16:creationId xmlns:a16="http://schemas.microsoft.com/office/drawing/2014/main" id="{A0A0AC84-3C5D-4437-8BF5-D1CF85072B09}"/>
                    </a:ext>
                  </a:extLst>
                </p:cNvPr>
                <p:cNvSpPr/>
                <p:nvPr/>
              </p:nvSpPr>
              <p:spPr>
                <a:xfrm>
                  <a:off x="7643741" y="3987208"/>
                  <a:ext cx="414284" cy="192160"/>
                </a:xfrm>
                <a:custGeom>
                  <a:avLst/>
                  <a:gdLst>
                    <a:gd name="connsiteX0" fmla="*/ 414285 w 414284"/>
                    <a:gd name="connsiteY0" fmla="*/ 189409 h 192160"/>
                    <a:gd name="connsiteX1" fmla="*/ 413029 w 414284"/>
                    <a:gd name="connsiteY1" fmla="*/ 192160 h 192160"/>
                    <a:gd name="connsiteX2" fmla="*/ 0 w 414284"/>
                    <a:gd name="connsiteY2" fmla="*/ 2751 h 192160"/>
                    <a:gd name="connsiteX3" fmla="*/ 1256 w 414284"/>
                    <a:gd name="connsiteY3" fmla="*/ 0 h 192160"/>
                  </a:gdLst>
                  <a:ahLst/>
                  <a:cxnLst>
                    <a:cxn ang="0">
                      <a:pos x="connsiteX0" y="connsiteY0"/>
                    </a:cxn>
                    <a:cxn ang="0">
                      <a:pos x="connsiteX1" y="connsiteY1"/>
                    </a:cxn>
                    <a:cxn ang="0">
                      <a:pos x="connsiteX2" y="connsiteY2"/>
                    </a:cxn>
                    <a:cxn ang="0">
                      <a:pos x="connsiteX3" y="connsiteY3"/>
                    </a:cxn>
                  </a:cxnLst>
                  <a:rect l="l" t="t" r="r" b="b"/>
                  <a:pathLst>
                    <a:path w="414284" h="192160">
                      <a:moveTo>
                        <a:pt x="414285" y="189409"/>
                      </a:moveTo>
                      <a:lnTo>
                        <a:pt x="413029" y="192160"/>
                      </a:lnTo>
                      <a:lnTo>
                        <a:pt x="0" y="2751"/>
                      </a:lnTo>
                      <a:lnTo>
                        <a:pt x="1256" y="0"/>
                      </a:lnTo>
                      <a:close/>
                    </a:path>
                  </a:pathLst>
                </a:custGeom>
                <a:grpFill/>
                <a:ln w="5978" cap="flat">
                  <a:noFill/>
                  <a:prstDash val="solid"/>
                  <a:miter/>
                </a:ln>
              </p:spPr>
              <p:txBody>
                <a:bodyPr rtlCol="0" anchor="ctr"/>
                <a:lstStyle/>
                <a:p>
                  <a:endParaRPr lang="en-GB"/>
                </a:p>
              </p:txBody>
            </p:sp>
            <p:sp>
              <p:nvSpPr>
                <p:cNvPr id="4474" name="Vrije vorm: vorm 4473">
                  <a:extLst>
                    <a:ext uri="{FF2B5EF4-FFF2-40B4-BE49-F238E27FC236}">
                      <a16:creationId xmlns:a16="http://schemas.microsoft.com/office/drawing/2014/main" id="{BB020812-D0FC-4969-A97B-52776BE73248}"/>
                    </a:ext>
                  </a:extLst>
                </p:cNvPr>
                <p:cNvSpPr/>
                <p:nvPr/>
              </p:nvSpPr>
              <p:spPr>
                <a:xfrm>
                  <a:off x="7635621" y="3979566"/>
                  <a:ext cx="18333" cy="18419"/>
                </a:xfrm>
                <a:custGeom>
                  <a:avLst/>
                  <a:gdLst>
                    <a:gd name="connsiteX0" fmla="*/ 5369 w 18333"/>
                    <a:gd name="connsiteY0" fmla="*/ 17570 h 18419"/>
                    <a:gd name="connsiteX1" fmla="*/ 824 w 18333"/>
                    <a:gd name="connsiteY1" fmla="*/ 5369 h 18419"/>
                    <a:gd name="connsiteX2" fmla="*/ 12965 w 18333"/>
                    <a:gd name="connsiteY2" fmla="*/ 824 h 18419"/>
                    <a:gd name="connsiteX3" fmla="*/ 17510 w 18333"/>
                    <a:gd name="connsiteY3" fmla="*/ 13024 h 18419"/>
                    <a:gd name="connsiteX4" fmla="*/ 5369 w 18333"/>
                    <a:gd name="connsiteY4" fmla="*/ 1757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9">
                      <a:moveTo>
                        <a:pt x="5369" y="17570"/>
                      </a:moveTo>
                      <a:cubicBezTo>
                        <a:pt x="764" y="15477"/>
                        <a:pt x="-1269" y="9974"/>
                        <a:pt x="824" y="5369"/>
                      </a:cubicBezTo>
                      <a:cubicBezTo>
                        <a:pt x="2917" y="764"/>
                        <a:pt x="8359" y="-1270"/>
                        <a:pt x="12965" y="824"/>
                      </a:cubicBezTo>
                      <a:cubicBezTo>
                        <a:pt x="17569" y="2917"/>
                        <a:pt x="19603" y="8419"/>
                        <a:pt x="17510" y="13024"/>
                      </a:cubicBezTo>
                      <a:cubicBezTo>
                        <a:pt x="15416" y="17630"/>
                        <a:pt x="10034" y="19723"/>
                        <a:pt x="5369" y="17570"/>
                      </a:cubicBezTo>
                      <a:close/>
                    </a:path>
                  </a:pathLst>
                </a:custGeom>
                <a:grpFill/>
                <a:ln w="5978" cap="flat">
                  <a:noFill/>
                  <a:prstDash val="solid"/>
                  <a:miter/>
                </a:ln>
              </p:spPr>
              <p:txBody>
                <a:bodyPr rtlCol="0" anchor="ctr"/>
                <a:lstStyle/>
                <a:p>
                  <a:endParaRPr lang="en-GB"/>
                </a:p>
              </p:txBody>
            </p:sp>
            <p:sp>
              <p:nvSpPr>
                <p:cNvPr id="4475" name="Vrije vorm: vorm 4474">
                  <a:extLst>
                    <a:ext uri="{FF2B5EF4-FFF2-40B4-BE49-F238E27FC236}">
                      <a16:creationId xmlns:a16="http://schemas.microsoft.com/office/drawing/2014/main" id="{B975EAF9-4C7C-4550-8763-7C2B3C402371}"/>
                    </a:ext>
                  </a:extLst>
                </p:cNvPr>
                <p:cNvSpPr/>
                <p:nvPr/>
              </p:nvSpPr>
              <p:spPr>
                <a:xfrm>
                  <a:off x="8047846" y="4168617"/>
                  <a:ext cx="18359" cy="18393"/>
                </a:xfrm>
                <a:custGeom>
                  <a:avLst/>
                  <a:gdLst>
                    <a:gd name="connsiteX0" fmla="*/ 5395 w 18359"/>
                    <a:gd name="connsiteY0" fmla="*/ 17570 h 18393"/>
                    <a:gd name="connsiteX1" fmla="*/ 17536 w 18359"/>
                    <a:gd name="connsiteY1" fmla="*/ 13024 h 18393"/>
                    <a:gd name="connsiteX2" fmla="*/ 12990 w 18359"/>
                    <a:gd name="connsiteY2" fmla="*/ 824 h 18393"/>
                    <a:gd name="connsiteX3" fmla="*/ 849 w 18359"/>
                    <a:gd name="connsiteY3" fmla="*/ 5369 h 18393"/>
                    <a:gd name="connsiteX4" fmla="*/ 5395 w 18359"/>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93">
                      <a:moveTo>
                        <a:pt x="5395" y="17570"/>
                      </a:moveTo>
                      <a:cubicBezTo>
                        <a:pt x="10000" y="19663"/>
                        <a:pt x="15443" y="17629"/>
                        <a:pt x="17536" y="13024"/>
                      </a:cubicBezTo>
                      <a:cubicBezTo>
                        <a:pt x="19629" y="8419"/>
                        <a:pt x="17596" y="2917"/>
                        <a:pt x="12990" y="824"/>
                      </a:cubicBezTo>
                      <a:cubicBezTo>
                        <a:pt x="8385" y="-1269"/>
                        <a:pt x="2943" y="764"/>
                        <a:pt x="849" y="5369"/>
                      </a:cubicBezTo>
                      <a:cubicBezTo>
                        <a:pt x="-1304" y="9974"/>
                        <a:pt x="790" y="15477"/>
                        <a:pt x="5395" y="17570"/>
                      </a:cubicBezTo>
                      <a:close/>
                    </a:path>
                  </a:pathLst>
                </a:custGeom>
                <a:grpFill/>
                <a:ln w="5978" cap="flat">
                  <a:noFill/>
                  <a:prstDash val="solid"/>
                  <a:miter/>
                </a:ln>
              </p:spPr>
              <p:txBody>
                <a:bodyPr rtlCol="0" anchor="ctr"/>
                <a:lstStyle/>
                <a:p>
                  <a:endParaRPr lang="en-GB"/>
                </a:p>
              </p:txBody>
            </p:sp>
          </p:grpSp>
          <p:grpSp>
            <p:nvGrpSpPr>
              <p:cNvPr id="303" name="Graphic 3">
                <a:extLst>
                  <a:ext uri="{FF2B5EF4-FFF2-40B4-BE49-F238E27FC236}">
                    <a16:creationId xmlns:a16="http://schemas.microsoft.com/office/drawing/2014/main" id="{845BCB46-428B-4848-8E67-5CF09B43F11D}"/>
                  </a:ext>
                </a:extLst>
              </p:cNvPr>
              <p:cNvGrpSpPr/>
              <p:nvPr/>
            </p:nvGrpSpPr>
            <p:grpSpPr>
              <a:xfrm>
                <a:off x="6764262" y="1030479"/>
                <a:ext cx="302054" cy="691663"/>
                <a:chOff x="6764262" y="1030479"/>
                <a:chExt cx="302054" cy="691663"/>
              </a:xfrm>
              <a:grpFill/>
            </p:grpSpPr>
            <p:sp>
              <p:nvSpPr>
                <p:cNvPr id="4470" name="Vrije vorm: vorm 4469">
                  <a:extLst>
                    <a:ext uri="{FF2B5EF4-FFF2-40B4-BE49-F238E27FC236}">
                      <a16:creationId xmlns:a16="http://schemas.microsoft.com/office/drawing/2014/main" id="{AAA8D342-3BA4-4576-88D6-EE7C5B0ADFA7}"/>
                    </a:ext>
                  </a:extLst>
                </p:cNvPr>
                <p:cNvSpPr/>
                <p:nvPr/>
              </p:nvSpPr>
              <p:spPr>
                <a:xfrm>
                  <a:off x="6771812" y="1038652"/>
                  <a:ext cx="286955" cy="675283"/>
                </a:xfrm>
                <a:custGeom>
                  <a:avLst/>
                  <a:gdLst>
                    <a:gd name="connsiteX0" fmla="*/ 286955 w 286955"/>
                    <a:gd name="connsiteY0" fmla="*/ 1196 h 675283"/>
                    <a:gd name="connsiteX1" fmla="*/ 2811 w 286955"/>
                    <a:gd name="connsiteY1" fmla="*/ 675283 h 675283"/>
                    <a:gd name="connsiteX2" fmla="*/ 0 w 286955"/>
                    <a:gd name="connsiteY2" fmla="*/ 674087 h 675283"/>
                    <a:gd name="connsiteX3" fmla="*/ 284144 w 286955"/>
                    <a:gd name="connsiteY3" fmla="*/ 0 h 675283"/>
                  </a:gdLst>
                  <a:ahLst/>
                  <a:cxnLst>
                    <a:cxn ang="0">
                      <a:pos x="connsiteX0" y="connsiteY0"/>
                    </a:cxn>
                    <a:cxn ang="0">
                      <a:pos x="connsiteX1" y="connsiteY1"/>
                    </a:cxn>
                    <a:cxn ang="0">
                      <a:pos x="connsiteX2" y="connsiteY2"/>
                    </a:cxn>
                    <a:cxn ang="0">
                      <a:pos x="connsiteX3" y="connsiteY3"/>
                    </a:cxn>
                  </a:cxnLst>
                  <a:rect l="l" t="t" r="r" b="b"/>
                  <a:pathLst>
                    <a:path w="286955" h="675283">
                      <a:moveTo>
                        <a:pt x="286955" y="1196"/>
                      </a:moveTo>
                      <a:lnTo>
                        <a:pt x="2811" y="675283"/>
                      </a:lnTo>
                      <a:lnTo>
                        <a:pt x="0" y="674087"/>
                      </a:lnTo>
                      <a:lnTo>
                        <a:pt x="284144" y="0"/>
                      </a:lnTo>
                      <a:close/>
                    </a:path>
                  </a:pathLst>
                </a:custGeom>
                <a:grpFill/>
                <a:ln w="5978" cap="flat">
                  <a:noFill/>
                  <a:prstDash val="solid"/>
                  <a:miter/>
                </a:ln>
              </p:spPr>
              <p:txBody>
                <a:bodyPr rtlCol="0" anchor="ctr"/>
                <a:lstStyle/>
                <a:p>
                  <a:endParaRPr lang="en-GB"/>
                </a:p>
              </p:txBody>
            </p:sp>
            <p:sp>
              <p:nvSpPr>
                <p:cNvPr id="4471" name="Vrije vorm: vorm 4470">
                  <a:extLst>
                    <a:ext uri="{FF2B5EF4-FFF2-40B4-BE49-F238E27FC236}">
                      <a16:creationId xmlns:a16="http://schemas.microsoft.com/office/drawing/2014/main" id="{2D4AD552-9750-47F9-AB0C-741BEB8448FC}"/>
                    </a:ext>
                  </a:extLst>
                </p:cNvPr>
                <p:cNvSpPr/>
                <p:nvPr/>
              </p:nvSpPr>
              <p:spPr>
                <a:xfrm>
                  <a:off x="7048021" y="1030479"/>
                  <a:ext cx="18295" cy="18439"/>
                </a:xfrm>
                <a:custGeom>
                  <a:avLst/>
                  <a:gdLst>
                    <a:gd name="connsiteX0" fmla="*/ 698 w 18295"/>
                    <a:gd name="connsiteY0" fmla="*/ 5601 h 18439"/>
                    <a:gd name="connsiteX1" fmla="*/ 12719 w 18295"/>
                    <a:gd name="connsiteY1" fmla="*/ 757 h 18439"/>
                    <a:gd name="connsiteX2" fmla="*/ 17563 w 18295"/>
                    <a:gd name="connsiteY2" fmla="*/ 12838 h 18439"/>
                    <a:gd name="connsiteX3" fmla="*/ 5543 w 18295"/>
                    <a:gd name="connsiteY3" fmla="*/ 17682 h 18439"/>
                    <a:gd name="connsiteX4" fmla="*/ 698 w 18295"/>
                    <a:gd name="connsiteY4" fmla="*/ 5601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39">
                      <a:moveTo>
                        <a:pt x="698" y="5601"/>
                      </a:moveTo>
                      <a:cubicBezTo>
                        <a:pt x="2671" y="936"/>
                        <a:pt x="8054" y="-1276"/>
                        <a:pt x="12719" y="757"/>
                      </a:cubicBezTo>
                      <a:cubicBezTo>
                        <a:pt x="17384" y="2731"/>
                        <a:pt x="19537" y="8173"/>
                        <a:pt x="17563" y="12838"/>
                      </a:cubicBezTo>
                      <a:cubicBezTo>
                        <a:pt x="15590" y="17503"/>
                        <a:pt x="10207" y="19716"/>
                        <a:pt x="5543" y="17682"/>
                      </a:cubicBezTo>
                      <a:cubicBezTo>
                        <a:pt x="937" y="15649"/>
                        <a:pt x="-1216" y="10266"/>
                        <a:pt x="698" y="5601"/>
                      </a:cubicBezTo>
                      <a:close/>
                    </a:path>
                  </a:pathLst>
                </a:custGeom>
                <a:grpFill/>
                <a:ln w="5978" cap="flat">
                  <a:noFill/>
                  <a:prstDash val="solid"/>
                  <a:miter/>
                </a:ln>
              </p:spPr>
              <p:txBody>
                <a:bodyPr rtlCol="0" anchor="ctr"/>
                <a:lstStyle/>
                <a:p>
                  <a:endParaRPr lang="en-GB"/>
                </a:p>
              </p:txBody>
            </p:sp>
            <p:sp>
              <p:nvSpPr>
                <p:cNvPr id="4472" name="Vrije vorm: vorm 4471">
                  <a:extLst>
                    <a:ext uri="{FF2B5EF4-FFF2-40B4-BE49-F238E27FC236}">
                      <a16:creationId xmlns:a16="http://schemas.microsoft.com/office/drawing/2014/main" id="{9D23D954-A944-4428-8931-EA9A2ADC321D}"/>
                    </a:ext>
                  </a:extLst>
                </p:cNvPr>
                <p:cNvSpPr/>
                <p:nvPr/>
              </p:nvSpPr>
              <p:spPr>
                <a:xfrm>
                  <a:off x="6764262" y="1703720"/>
                  <a:ext cx="18329" cy="18422"/>
                </a:xfrm>
                <a:custGeom>
                  <a:avLst/>
                  <a:gdLst>
                    <a:gd name="connsiteX0" fmla="*/ 732 w 18329"/>
                    <a:gd name="connsiteY0" fmla="*/ 5610 h 18422"/>
                    <a:gd name="connsiteX1" fmla="*/ 5576 w 18329"/>
                    <a:gd name="connsiteY1" fmla="*/ 17691 h 18422"/>
                    <a:gd name="connsiteX2" fmla="*/ 17597 w 18329"/>
                    <a:gd name="connsiteY2" fmla="*/ 12847 h 18422"/>
                    <a:gd name="connsiteX3" fmla="*/ 12753 w 18329"/>
                    <a:gd name="connsiteY3" fmla="*/ 766 h 18422"/>
                    <a:gd name="connsiteX4" fmla="*/ 732 w 18329"/>
                    <a:gd name="connsiteY4" fmla="*/ 5610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2">
                      <a:moveTo>
                        <a:pt x="732" y="5610"/>
                      </a:moveTo>
                      <a:cubicBezTo>
                        <a:pt x="-1242" y="10275"/>
                        <a:pt x="911" y="15718"/>
                        <a:pt x="5576" y="17691"/>
                      </a:cubicBezTo>
                      <a:cubicBezTo>
                        <a:pt x="10241" y="19665"/>
                        <a:pt x="15624" y="17512"/>
                        <a:pt x="17597" y="12847"/>
                      </a:cubicBezTo>
                      <a:cubicBezTo>
                        <a:pt x="19571" y="8182"/>
                        <a:pt x="17418" y="2739"/>
                        <a:pt x="12753" y="766"/>
                      </a:cubicBezTo>
                      <a:cubicBezTo>
                        <a:pt x="8088" y="-1268"/>
                        <a:pt x="2705" y="885"/>
                        <a:pt x="732" y="5610"/>
                      </a:cubicBezTo>
                      <a:close/>
                    </a:path>
                  </a:pathLst>
                </a:custGeom>
                <a:grpFill/>
                <a:ln w="5978" cap="flat">
                  <a:noFill/>
                  <a:prstDash val="solid"/>
                  <a:miter/>
                </a:ln>
              </p:spPr>
              <p:txBody>
                <a:bodyPr rtlCol="0" anchor="ctr"/>
                <a:lstStyle/>
                <a:p>
                  <a:endParaRPr lang="en-GB"/>
                </a:p>
              </p:txBody>
            </p:sp>
          </p:grpSp>
          <p:grpSp>
            <p:nvGrpSpPr>
              <p:cNvPr id="304" name="Graphic 3">
                <a:extLst>
                  <a:ext uri="{FF2B5EF4-FFF2-40B4-BE49-F238E27FC236}">
                    <a16:creationId xmlns:a16="http://schemas.microsoft.com/office/drawing/2014/main" id="{10A6E810-CB79-4EAE-9CC3-1C3F732CEE07}"/>
                  </a:ext>
                </a:extLst>
              </p:cNvPr>
              <p:cNvGrpSpPr/>
              <p:nvPr/>
            </p:nvGrpSpPr>
            <p:grpSpPr>
              <a:xfrm>
                <a:off x="6657676" y="752476"/>
                <a:ext cx="467765" cy="1057927"/>
                <a:chOff x="6657676" y="752476"/>
                <a:chExt cx="467765" cy="1057927"/>
              </a:xfrm>
              <a:grpFill/>
            </p:grpSpPr>
            <p:sp>
              <p:nvSpPr>
                <p:cNvPr id="4467" name="Vrije vorm: vorm 4466">
                  <a:extLst>
                    <a:ext uri="{FF2B5EF4-FFF2-40B4-BE49-F238E27FC236}">
                      <a16:creationId xmlns:a16="http://schemas.microsoft.com/office/drawing/2014/main" id="{01B51E08-DB52-4F86-902A-B4622C759ABD}"/>
                    </a:ext>
                  </a:extLst>
                </p:cNvPr>
                <p:cNvSpPr/>
                <p:nvPr/>
              </p:nvSpPr>
              <p:spPr>
                <a:xfrm>
                  <a:off x="6665295" y="760668"/>
                  <a:ext cx="452561" cy="1041542"/>
                </a:xfrm>
                <a:custGeom>
                  <a:avLst/>
                  <a:gdLst>
                    <a:gd name="connsiteX0" fmla="*/ 452562 w 452561"/>
                    <a:gd name="connsiteY0" fmla="*/ 1196 h 1041542"/>
                    <a:gd name="connsiteX1" fmla="*/ 2751 w 452561"/>
                    <a:gd name="connsiteY1" fmla="*/ 1041543 h 1041542"/>
                    <a:gd name="connsiteX2" fmla="*/ 0 w 452561"/>
                    <a:gd name="connsiteY2" fmla="*/ 1040347 h 1041542"/>
                    <a:gd name="connsiteX3" fmla="*/ 449750 w 452561"/>
                    <a:gd name="connsiteY3" fmla="*/ 0 h 1041542"/>
                  </a:gdLst>
                  <a:ahLst/>
                  <a:cxnLst>
                    <a:cxn ang="0">
                      <a:pos x="connsiteX0" y="connsiteY0"/>
                    </a:cxn>
                    <a:cxn ang="0">
                      <a:pos x="connsiteX1" y="connsiteY1"/>
                    </a:cxn>
                    <a:cxn ang="0">
                      <a:pos x="connsiteX2" y="connsiteY2"/>
                    </a:cxn>
                    <a:cxn ang="0">
                      <a:pos x="connsiteX3" y="connsiteY3"/>
                    </a:cxn>
                  </a:cxnLst>
                  <a:rect l="l" t="t" r="r" b="b"/>
                  <a:pathLst>
                    <a:path w="452561" h="1041542">
                      <a:moveTo>
                        <a:pt x="452562" y="1196"/>
                      </a:moveTo>
                      <a:lnTo>
                        <a:pt x="2751" y="1041543"/>
                      </a:lnTo>
                      <a:lnTo>
                        <a:pt x="0" y="1040347"/>
                      </a:lnTo>
                      <a:lnTo>
                        <a:pt x="449750" y="0"/>
                      </a:lnTo>
                      <a:close/>
                    </a:path>
                  </a:pathLst>
                </a:custGeom>
                <a:grpFill/>
                <a:ln w="5978" cap="flat">
                  <a:noFill/>
                  <a:prstDash val="solid"/>
                  <a:miter/>
                </a:ln>
              </p:spPr>
              <p:txBody>
                <a:bodyPr rtlCol="0" anchor="ctr"/>
                <a:lstStyle/>
                <a:p>
                  <a:endParaRPr lang="en-GB"/>
                </a:p>
              </p:txBody>
            </p:sp>
            <p:sp>
              <p:nvSpPr>
                <p:cNvPr id="4468" name="Vrije vorm: vorm 4467">
                  <a:extLst>
                    <a:ext uri="{FF2B5EF4-FFF2-40B4-BE49-F238E27FC236}">
                      <a16:creationId xmlns:a16="http://schemas.microsoft.com/office/drawing/2014/main" id="{48993001-A8E6-4327-9D58-FC7413D67633}"/>
                    </a:ext>
                  </a:extLst>
                </p:cNvPr>
                <p:cNvSpPr/>
                <p:nvPr/>
              </p:nvSpPr>
              <p:spPr>
                <a:xfrm>
                  <a:off x="6657676" y="1791985"/>
                  <a:ext cx="18348" cy="18418"/>
                </a:xfrm>
                <a:custGeom>
                  <a:avLst/>
                  <a:gdLst>
                    <a:gd name="connsiteX0" fmla="*/ 17607 w 18348"/>
                    <a:gd name="connsiteY0" fmla="*/ 12917 h 18418"/>
                    <a:gd name="connsiteX1" fmla="*/ 5526 w 18348"/>
                    <a:gd name="connsiteY1" fmla="*/ 17642 h 18418"/>
                    <a:gd name="connsiteX2" fmla="*/ 741 w 18348"/>
                    <a:gd name="connsiteY2" fmla="*/ 5501 h 18418"/>
                    <a:gd name="connsiteX3" fmla="*/ 12822 w 18348"/>
                    <a:gd name="connsiteY3" fmla="*/ 777 h 18418"/>
                    <a:gd name="connsiteX4" fmla="*/ 17607 w 1834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8">
                      <a:moveTo>
                        <a:pt x="17607" y="12917"/>
                      </a:moveTo>
                      <a:cubicBezTo>
                        <a:pt x="15574" y="17582"/>
                        <a:pt x="10191" y="19676"/>
                        <a:pt x="5526" y="17642"/>
                      </a:cubicBezTo>
                      <a:cubicBezTo>
                        <a:pt x="861" y="15609"/>
                        <a:pt x="-1232" y="10166"/>
                        <a:pt x="741" y="5501"/>
                      </a:cubicBezTo>
                      <a:cubicBezTo>
                        <a:pt x="2775" y="836"/>
                        <a:pt x="8157" y="-1257"/>
                        <a:pt x="12822" y="777"/>
                      </a:cubicBezTo>
                      <a:cubicBezTo>
                        <a:pt x="17487" y="2810"/>
                        <a:pt x="19581" y="8252"/>
                        <a:pt x="17607" y="12917"/>
                      </a:cubicBezTo>
                      <a:close/>
                    </a:path>
                  </a:pathLst>
                </a:custGeom>
                <a:grpFill/>
                <a:ln w="5978" cap="flat">
                  <a:noFill/>
                  <a:prstDash val="solid"/>
                  <a:miter/>
                </a:ln>
              </p:spPr>
              <p:txBody>
                <a:bodyPr rtlCol="0" anchor="ctr"/>
                <a:lstStyle/>
                <a:p>
                  <a:endParaRPr lang="en-GB"/>
                </a:p>
              </p:txBody>
            </p:sp>
            <p:sp>
              <p:nvSpPr>
                <p:cNvPr id="4469" name="Vrije vorm: vorm 4468">
                  <a:extLst>
                    <a:ext uri="{FF2B5EF4-FFF2-40B4-BE49-F238E27FC236}">
                      <a16:creationId xmlns:a16="http://schemas.microsoft.com/office/drawing/2014/main" id="{AAAD3F3E-A89E-433D-B30F-6F62A5F88567}"/>
                    </a:ext>
                  </a:extLst>
                </p:cNvPr>
                <p:cNvSpPr/>
                <p:nvPr/>
              </p:nvSpPr>
              <p:spPr>
                <a:xfrm>
                  <a:off x="7107042" y="752476"/>
                  <a:ext cx="18398" cy="18418"/>
                </a:xfrm>
                <a:custGeom>
                  <a:avLst/>
                  <a:gdLst>
                    <a:gd name="connsiteX0" fmla="*/ 17632 w 18398"/>
                    <a:gd name="connsiteY0" fmla="*/ 12917 h 18418"/>
                    <a:gd name="connsiteX1" fmla="*/ 12848 w 18398"/>
                    <a:gd name="connsiteY1" fmla="*/ 777 h 18418"/>
                    <a:gd name="connsiteX2" fmla="*/ 767 w 18398"/>
                    <a:gd name="connsiteY2" fmla="*/ 5501 h 18418"/>
                    <a:gd name="connsiteX3" fmla="*/ 5551 w 18398"/>
                    <a:gd name="connsiteY3" fmla="*/ 17642 h 18418"/>
                    <a:gd name="connsiteX4" fmla="*/ 17632 w 1839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418">
                      <a:moveTo>
                        <a:pt x="17632" y="12917"/>
                      </a:moveTo>
                      <a:cubicBezTo>
                        <a:pt x="19666" y="8252"/>
                        <a:pt x="17513" y="2810"/>
                        <a:pt x="12848" y="777"/>
                      </a:cubicBezTo>
                      <a:cubicBezTo>
                        <a:pt x="8183" y="-1257"/>
                        <a:pt x="2800" y="836"/>
                        <a:pt x="767" y="5501"/>
                      </a:cubicBezTo>
                      <a:cubicBezTo>
                        <a:pt x="-1267" y="10166"/>
                        <a:pt x="886" y="15609"/>
                        <a:pt x="5551" y="17642"/>
                      </a:cubicBezTo>
                      <a:cubicBezTo>
                        <a:pt x="10216" y="19676"/>
                        <a:pt x="15659" y="17582"/>
                        <a:pt x="17632" y="12917"/>
                      </a:cubicBezTo>
                      <a:close/>
                    </a:path>
                  </a:pathLst>
                </a:custGeom>
                <a:grpFill/>
                <a:ln w="5978" cap="flat">
                  <a:noFill/>
                  <a:prstDash val="solid"/>
                  <a:miter/>
                </a:ln>
              </p:spPr>
              <p:txBody>
                <a:bodyPr rtlCol="0" anchor="ctr"/>
                <a:lstStyle/>
                <a:p>
                  <a:endParaRPr lang="en-GB"/>
                </a:p>
              </p:txBody>
            </p:sp>
          </p:grpSp>
          <p:grpSp>
            <p:nvGrpSpPr>
              <p:cNvPr id="305" name="Graphic 3">
                <a:extLst>
                  <a:ext uri="{FF2B5EF4-FFF2-40B4-BE49-F238E27FC236}">
                    <a16:creationId xmlns:a16="http://schemas.microsoft.com/office/drawing/2014/main" id="{E91983D9-D2CD-4B08-9BF8-DA02EDD5FDB9}"/>
                  </a:ext>
                </a:extLst>
              </p:cNvPr>
              <p:cNvGrpSpPr/>
              <p:nvPr/>
            </p:nvGrpSpPr>
            <p:grpSpPr>
              <a:xfrm>
                <a:off x="7721150" y="4009445"/>
                <a:ext cx="188086" cy="79386"/>
                <a:chOff x="7721150" y="4009445"/>
                <a:chExt cx="188086" cy="79386"/>
              </a:xfrm>
              <a:grpFill/>
            </p:grpSpPr>
            <p:sp>
              <p:nvSpPr>
                <p:cNvPr id="4464" name="Vrije vorm: vorm 4463">
                  <a:extLst>
                    <a:ext uri="{FF2B5EF4-FFF2-40B4-BE49-F238E27FC236}">
                      <a16:creationId xmlns:a16="http://schemas.microsoft.com/office/drawing/2014/main" id="{F77D53E5-74CA-4F6D-9BCD-33045DF5EAF1}"/>
                    </a:ext>
                  </a:extLst>
                </p:cNvPr>
                <p:cNvSpPr/>
                <p:nvPr/>
              </p:nvSpPr>
              <p:spPr>
                <a:xfrm>
                  <a:off x="7729444" y="4017052"/>
                  <a:ext cx="171587" cy="64173"/>
                </a:xfrm>
                <a:custGeom>
                  <a:avLst/>
                  <a:gdLst>
                    <a:gd name="connsiteX0" fmla="*/ 171587 w 171587"/>
                    <a:gd name="connsiteY0" fmla="*/ 61302 h 64173"/>
                    <a:gd name="connsiteX1" fmla="*/ 170570 w 171587"/>
                    <a:gd name="connsiteY1" fmla="*/ 64173 h 64173"/>
                    <a:gd name="connsiteX2" fmla="*/ 0 w 171587"/>
                    <a:gd name="connsiteY2" fmla="*/ 2871 h 64173"/>
                    <a:gd name="connsiteX3" fmla="*/ 957 w 171587"/>
                    <a:gd name="connsiteY3" fmla="*/ 0 h 64173"/>
                  </a:gdLst>
                  <a:ahLst/>
                  <a:cxnLst>
                    <a:cxn ang="0">
                      <a:pos x="connsiteX0" y="connsiteY0"/>
                    </a:cxn>
                    <a:cxn ang="0">
                      <a:pos x="connsiteX1" y="connsiteY1"/>
                    </a:cxn>
                    <a:cxn ang="0">
                      <a:pos x="connsiteX2" y="connsiteY2"/>
                    </a:cxn>
                    <a:cxn ang="0">
                      <a:pos x="connsiteX3" y="connsiteY3"/>
                    </a:cxn>
                  </a:cxnLst>
                  <a:rect l="l" t="t" r="r" b="b"/>
                  <a:pathLst>
                    <a:path w="171587" h="64173">
                      <a:moveTo>
                        <a:pt x="171587" y="61302"/>
                      </a:moveTo>
                      <a:lnTo>
                        <a:pt x="170570" y="64173"/>
                      </a:lnTo>
                      <a:lnTo>
                        <a:pt x="0" y="2871"/>
                      </a:lnTo>
                      <a:lnTo>
                        <a:pt x="957" y="0"/>
                      </a:lnTo>
                      <a:close/>
                    </a:path>
                  </a:pathLst>
                </a:custGeom>
                <a:grpFill/>
                <a:ln w="5978" cap="flat">
                  <a:noFill/>
                  <a:prstDash val="solid"/>
                  <a:miter/>
                </a:ln>
              </p:spPr>
              <p:txBody>
                <a:bodyPr rtlCol="0" anchor="ctr"/>
                <a:lstStyle/>
                <a:p>
                  <a:endParaRPr lang="en-GB"/>
                </a:p>
              </p:txBody>
            </p:sp>
            <p:sp>
              <p:nvSpPr>
                <p:cNvPr id="4465" name="Vrije vorm: vorm 4464">
                  <a:extLst>
                    <a:ext uri="{FF2B5EF4-FFF2-40B4-BE49-F238E27FC236}">
                      <a16:creationId xmlns:a16="http://schemas.microsoft.com/office/drawing/2014/main" id="{BD9DECF6-1406-4C27-ACF0-365C6F9184DD}"/>
                    </a:ext>
                  </a:extLst>
                </p:cNvPr>
                <p:cNvSpPr/>
                <p:nvPr/>
              </p:nvSpPr>
              <p:spPr>
                <a:xfrm>
                  <a:off x="7890853" y="4070388"/>
                  <a:ext cx="18383" cy="18442"/>
                </a:xfrm>
                <a:custGeom>
                  <a:avLst/>
                  <a:gdLst>
                    <a:gd name="connsiteX0" fmla="*/ 12272 w 18383"/>
                    <a:gd name="connsiteY0" fmla="*/ 550 h 18442"/>
                    <a:gd name="connsiteX1" fmla="*/ 17834 w 18383"/>
                    <a:gd name="connsiteY1" fmla="*/ 12331 h 18442"/>
                    <a:gd name="connsiteX2" fmla="*/ 6111 w 18383"/>
                    <a:gd name="connsiteY2" fmla="*/ 17893 h 18442"/>
                    <a:gd name="connsiteX3" fmla="*/ 550 w 18383"/>
                    <a:gd name="connsiteY3" fmla="*/ 6112 h 18442"/>
                    <a:gd name="connsiteX4" fmla="*/ 12272 w 18383"/>
                    <a:gd name="connsiteY4" fmla="*/ 55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42">
                      <a:moveTo>
                        <a:pt x="12272" y="550"/>
                      </a:moveTo>
                      <a:cubicBezTo>
                        <a:pt x="17056" y="2284"/>
                        <a:pt x="19568" y="7547"/>
                        <a:pt x="17834" y="12331"/>
                      </a:cubicBezTo>
                      <a:cubicBezTo>
                        <a:pt x="16159" y="17116"/>
                        <a:pt x="10896" y="19628"/>
                        <a:pt x="6111" y="17893"/>
                      </a:cubicBezTo>
                      <a:cubicBezTo>
                        <a:pt x="1327" y="16159"/>
                        <a:pt x="-1185" y="10896"/>
                        <a:pt x="550" y="6112"/>
                      </a:cubicBezTo>
                      <a:cubicBezTo>
                        <a:pt x="2284" y="1327"/>
                        <a:pt x="7487" y="-1185"/>
                        <a:pt x="12272" y="550"/>
                      </a:cubicBezTo>
                      <a:close/>
                    </a:path>
                  </a:pathLst>
                </a:custGeom>
                <a:grpFill/>
                <a:ln w="5978" cap="flat">
                  <a:noFill/>
                  <a:prstDash val="solid"/>
                  <a:miter/>
                </a:ln>
              </p:spPr>
              <p:txBody>
                <a:bodyPr rtlCol="0" anchor="ctr"/>
                <a:lstStyle/>
                <a:p>
                  <a:endParaRPr lang="en-GB"/>
                </a:p>
              </p:txBody>
            </p:sp>
            <p:sp>
              <p:nvSpPr>
                <p:cNvPr id="4466" name="Vrije vorm: vorm 4465">
                  <a:extLst>
                    <a:ext uri="{FF2B5EF4-FFF2-40B4-BE49-F238E27FC236}">
                      <a16:creationId xmlns:a16="http://schemas.microsoft.com/office/drawing/2014/main" id="{A1EE6AE0-D339-48B4-9EFF-534718F392CF}"/>
                    </a:ext>
                  </a:extLst>
                </p:cNvPr>
                <p:cNvSpPr/>
                <p:nvPr/>
              </p:nvSpPr>
              <p:spPr>
                <a:xfrm>
                  <a:off x="7721150" y="4009445"/>
                  <a:ext cx="18353" cy="18442"/>
                </a:xfrm>
                <a:custGeom>
                  <a:avLst/>
                  <a:gdLst>
                    <a:gd name="connsiteX0" fmla="*/ 12241 w 18353"/>
                    <a:gd name="connsiteY0" fmla="*/ 550 h 18442"/>
                    <a:gd name="connsiteX1" fmla="*/ 519 w 18353"/>
                    <a:gd name="connsiteY1" fmla="*/ 6112 h 18442"/>
                    <a:gd name="connsiteX2" fmla="*/ 6081 w 18353"/>
                    <a:gd name="connsiteY2" fmla="*/ 17893 h 18442"/>
                    <a:gd name="connsiteX3" fmla="*/ 17804 w 18353"/>
                    <a:gd name="connsiteY3" fmla="*/ 12331 h 18442"/>
                    <a:gd name="connsiteX4" fmla="*/ 12241 w 18353"/>
                    <a:gd name="connsiteY4" fmla="*/ 55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2">
                      <a:moveTo>
                        <a:pt x="12241" y="550"/>
                      </a:moveTo>
                      <a:cubicBezTo>
                        <a:pt x="7457" y="-1185"/>
                        <a:pt x="2254" y="1327"/>
                        <a:pt x="519" y="6112"/>
                      </a:cubicBezTo>
                      <a:cubicBezTo>
                        <a:pt x="-1155" y="10896"/>
                        <a:pt x="1357" y="16159"/>
                        <a:pt x="6081" y="17893"/>
                      </a:cubicBezTo>
                      <a:cubicBezTo>
                        <a:pt x="10866" y="19628"/>
                        <a:pt x="16069" y="17116"/>
                        <a:pt x="17804" y="12331"/>
                      </a:cubicBezTo>
                      <a:cubicBezTo>
                        <a:pt x="19538" y="7547"/>
                        <a:pt x="17026" y="2284"/>
                        <a:pt x="12241" y="550"/>
                      </a:cubicBezTo>
                      <a:close/>
                    </a:path>
                  </a:pathLst>
                </a:custGeom>
                <a:grpFill/>
                <a:ln w="5978" cap="flat">
                  <a:noFill/>
                  <a:prstDash val="solid"/>
                  <a:miter/>
                </a:ln>
              </p:spPr>
              <p:txBody>
                <a:bodyPr rtlCol="0" anchor="ctr"/>
                <a:lstStyle/>
                <a:p>
                  <a:endParaRPr lang="en-GB"/>
                </a:p>
              </p:txBody>
            </p:sp>
          </p:grpSp>
          <p:grpSp>
            <p:nvGrpSpPr>
              <p:cNvPr id="306" name="Graphic 3">
                <a:extLst>
                  <a:ext uri="{FF2B5EF4-FFF2-40B4-BE49-F238E27FC236}">
                    <a16:creationId xmlns:a16="http://schemas.microsoft.com/office/drawing/2014/main" id="{4FE3F29B-ED4F-47F1-9E59-1B8780C6F6CB}"/>
                  </a:ext>
                </a:extLst>
              </p:cNvPr>
              <p:cNvGrpSpPr/>
              <p:nvPr/>
            </p:nvGrpSpPr>
            <p:grpSpPr>
              <a:xfrm>
                <a:off x="7672589" y="4097069"/>
                <a:ext cx="358169" cy="162394"/>
                <a:chOff x="7672589" y="4097069"/>
                <a:chExt cx="358169" cy="162394"/>
              </a:xfrm>
              <a:grpFill/>
            </p:grpSpPr>
            <p:sp>
              <p:nvSpPr>
                <p:cNvPr id="4461" name="Vrije vorm: vorm 4460">
                  <a:extLst>
                    <a:ext uri="{FF2B5EF4-FFF2-40B4-BE49-F238E27FC236}">
                      <a16:creationId xmlns:a16="http://schemas.microsoft.com/office/drawing/2014/main" id="{864CB5F8-2A26-4D79-8FB2-0DF1FB5D071F}"/>
                    </a:ext>
                  </a:extLst>
                </p:cNvPr>
                <p:cNvSpPr/>
                <p:nvPr/>
              </p:nvSpPr>
              <p:spPr>
                <a:xfrm>
                  <a:off x="7680702" y="4104669"/>
                  <a:ext cx="341917" cy="147185"/>
                </a:xfrm>
                <a:custGeom>
                  <a:avLst/>
                  <a:gdLst>
                    <a:gd name="connsiteX0" fmla="*/ 341917 w 341917"/>
                    <a:gd name="connsiteY0" fmla="*/ 144375 h 147185"/>
                    <a:gd name="connsiteX1" fmla="*/ 340722 w 341917"/>
                    <a:gd name="connsiteY1" fmla="*/ 147186 h 147185"/>
                    <a:gd name="connsiteX2" fmla="*/ 0 w 341917"/>
                    <a:gd name="connsiteY2" fmla="*/ 2811 h 147185"/>
                    <a:gd name="connsiteX3" fmla="*/ 1196 w 341917"/>
                    <a:gd name="connsiteY3" fmla="*/ 0 h 147185"/>
                  </a:gdLst>
                  <a:ahLst/>
                  <a:cxnLst>
                    <a:cxn ang="0">
                      <a:pos x="connsiteX0" y="connsiteY0"/>
                    </a:cxn>
                    <a:cxn ang="0">
                      <a:pos x="connsiteX1" y="connsiteY1"/>
                    </a:cxn>
                    <a:cxn ang="0">
                      <a:pos x="connsiteX2" y="connsiteY2"/>
                    </a:cxn>
                    <a:cxn ang="0">
                      <a:pos x="connsiteX3" y="connsiteY3"/>
                    </a:cxn>
                  </a:cxnLst>
                  <a:rect l="l" t="t" r="r" b="b"/>
                  <a:pathLst>
                    <a:path w="341917" h="147185">
                      <a:moveTo>
                        <a:pt x="341917" y="144375"/>
                      </a:moveTo>
                      <a:lnTo>
                        <a:pt x="340722" y="147186"/>
                      </a:lnTo>
                      <a:lnTo>
                        <a:pt x="0" y="2811"/>
                      </a:lnTo>
                      <a:lnTo>
                        <a:pt x="1196" y="0"/>
                      </a:lnTo>
                      <a:close/>
                    </a:path>
                  </a:pathLst>
                </a:custGeom>
                <a:grpFill/>
                <a:ln w="5978" cap="flat">
                  <a:noFill/>
                  <a:prstDash val="solid"/>
                  <a:miter/>
                </a:ln>
              </p:spPr>
              <p:txBody>
                <a:bodyPr rtlCol="0" anchor="ctr"/>
                <a:lstStyle/>
                <a:p>
                  <a:endParaRPr lang="en-GB"/>
                </a:p>
              </p:txBody>
            </p:sp>
            <p:sp>
              <p:nvSpPr>
                <p:cNvPr id="4462" name="Vrije vorm: vorm 4461">
                  <a:extLst>
                    <a:ext uri="{FF2B5EF4-FFF2-40B4-BE49-F238E27FC236}">
                      <a16:creationId xmlns:a16="http://schemas.microsoft.com/office/drawing/2014/main" id="{C4170819-BDF8-418B-9B8A-23DA71E5EC1E}"/>
                    </a:ext>
                  </a:extLst>
                </p:cNvPr>
                <p:cNvSpPr/>
                <p:nvPr/>
              </p:nvSpPr>
              <p:spPr>
                <a:xfrm>
                  <a:off x="8012448" y="4241025"/>
                  <a:ext cx="18310" cy="18438"/>
                </a:xfrm>
                <a:custGeom>
                  <a:avLst/>
                  <a:gdLst>
                    <a:gd name="connsiteX0" fmla="*/ 12684 w 18310"/>
                    <a:gd name="connsiteY0" fmla="*/ 722 h 18438"/>
                    <a:gd name="connsiteX1" fmla="*/ 17588 w 18310"/>
                    <a:gd name="connsiteY1" fmla="*/ 12803 h 18438"/>
                    <a:gd name="connsiteX2" fmla="*/ 5626 w 18310"/>
                    <a:gd name="connsiteY2" fmla="*/ 17707 h 18438"/>
                    <a:gd name="connsiteX3" fmla="*/ 722 w 18310"/>
                    <a:gd name="connsiteY3" fmla="*/ 5626 h 18438"/>
                    <a:gd name="connsiteX4" fmla="*/ 12684 w 18310"/>
                    <a:gd name="connsiteY4" fmla="*/ 72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8">
                      <a:moveTo>
                        <a:pt x="12684" y="722"/>
                      </a:moveTo>
                      <a:cubicBezTo>
                        <a:pt x="17349" y="2696"/>
                        <a:pt x="19562" y="8079"/>
                        <a:pt x="17588" y="12803"/>
                      </a:cubicBezTo>
                      <a:cubicBezTo>
                        <a:pt x="15614" y="17528"/>
                        <a:pt x="10291" y="19681"/>
                        <a:pt x="5626" y="17707"/>
                      </a:cubicBezTo>
                      <a:cubicBezTo>
                        <a:pt x="962" y="15734"/>
                        <a:pt x="-1251" y="10351"/>
                        <a:pt x="722" y="5626"/>
                      </a:cubicBezTo>
                      <a:cubicBezTo>
                        <a:pt x="2636" y="962"/>
                        <a:pt x="8019" y="-1251"/>
                        <a:pt x="12684" y="722"/>
                      </a:cubicBezTo>
                      <a:close/>
                    </a:path>
                  </a:pathLst>
                </a:custGeom>
                <a:grpFill/>
                <a:ln w="5978" cap="flat">
                  <a:noFill/>
                  <a:prstDash val="solid"/>
                  <a:miter/>
                </a:ln>
              </p:spPr>
              <p:txBody>
                <a:bodyPr rtlCol="0" anchor="ctr"/>
                <a:lstStyle/>
                <a:p>
                  <a:endParaRPr lang="en-GB"/>
                </a:p>
              </p:txBody>
            </p:sp>
            <p:sp>
              <p:nvSpPr>
                <p:cNvPr id="4463" name="Vrije vorm: vorm 4462">
                  <a:extLst>
                    <a:ext uri="{FF2B5EF4-FFF2-40B4-BE49-F238E27FC236}">
                      <a16:creationId xmlns:a16="http://schemas.microsoft.com/office/drawing/2014/main" id="{2FAE9B33-33C8-444C-9E67-1AB113953C69}"/>
                    </a:ext>
                  </a:extLst>
                </p:cNvPr>
                <p:cNvSpPr/>
                <p:nvPr/>
              </p:nvSpPr>
              <p:spPr>
                <a:xfrm>
                  <a:off x="7672589" y="4097069"/>
                  <a:ext cx="18285" cy="18429"/>
                </a:xfrm>
                <a:custGeom>
                  <a:avLst/>
                  <a:gdLst>
                    <a:gd name="connsiteX0" fmla="*/ 12659 w 18285"/>
                    <a:gd name="connsiteY0" fmla="*/ 722 h 18429"/>
                    <a:gd name="connsiteX1" fmla="*/ 697 w 18285"/>
                    <a:gd name="connsiteY1" fmla="*/ 5627 h 18429"/>
                    <a:gd name="connsiteX2" fmla="*/ 5601 w 18285"/>
                    <a:gd name="connsiteY2" fmla="*/ 17707 h 18429"/>
                    <a:gd name="connsiteX3" fmla="*/ 17563 w 18285"/>
                    <a:gd name="connsiteY3" fmla="*/ 12803 h 18429"/>
                    <a:gd name="connsiteX4" fmla="*/ 12659 w 18285"/>
                    <a:gd name="connsiteY4" fmla="*/ 72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9">
                      <a:moveTo>
                        <a:pt x="12659" y="722"/>
                      </a:moveTo>
                      <a:cubicBezTo>
                        <a:pt x="7994" y="-1251"/>
                        <a:pt x="2611" y="962"/>
                        <a:pt x="697" y="5627"/>
                      </a:cubicBezTo>
                      <a:cubicBezTo>
                        <a:pt x="-1217" y="10291"/>
                        <a:pt x="936" y="15734"/>
                        <a:pt x="5601" y="17707"/>
                      </a:cubicBezTo>
                      <a:cubicBezTo>
                        <a:pt x="10266" y="19681"/>
                        <a:pt x="15649" y="17468"/>
                        <a:pt x="17563" y="12803"/>
                      </a:cubicBezTo>
                      <a:cubicBezTo>
                        <a:pt x="19536" y="8079"/>
                        <a:pt x="17323" y="2696"/>
                        <a:pt x="12659" y="722"/>
                      </a:cubicBezTo>
                      <a:close/>
                    </a:path>
                  </a:pathLst>
                </a:custGeom>
                <a:grpFill/>
                <a:ln w="5978" cap="flat">
                  <a:noFill/>
                  <a:prstDash val="solid"/>
                  <a:miter/>
                </a:ln>
              </p:spPr>
              <p:txBody>
                <a:bodyPr rtlCol="0" anchor="ctr"/>
                <a:lstStyle/>
                <a:p>
                  <a:endParaRPr lang="en-GB"/>
                </a:p>
              </p:txBody>
            </p:sp>
          </p:grpSp>
          <p:grpSp>
            <p:nvGrpSpPr>
              <p:cNvPr id="307" name="Graphic 3">
                <a:extLst>
                  <a:ext uri="{FF2B5EF4-FFF2-40B4-BE49-F238E27FC236}">
                    <a16:creationId xmlns:a16="http://schemas.microsoft.com/office/drawing/2014/main" id="{EB9798E3-89C6-4D35-94B1-F8EC7E2D6C39}"/>
                  </a:ext>
                </a:extLst>
              </p:cNvPr>
              <p:cNvGrpSpPr/>
              <p:nvPr/>
            </p:nvGrpSpPr>
            <p:grpSpPr>
              <a:xfrm>
                <a:off x="7684770" y="4138545"/>
                <a:ext cx="363976" cy="172553"/>
                <a:chOff x="7684770" y="4138545"/>
                <a:chExt cx="363976" cy="172553"/>
              </a:xfrm>
              <a:grpFill/>
            </p:grpSpPr>
            <p:sp>
              <p:nvSpPr>
                <p:cNvPr id="4458" name="Vrije vorm: vorm 4457">
                  <a:extLst>
                    <a:ext uri="{FF2B5EF4-FFF2-40B4-BE49-F238E27FC236}">
                      <a16:creationId xmlns:a16="http://schemas.microsoft.com/office/drawing/2014/main" id="{7A85DD0E-E8E2-4BF3-A88F-73ECA797A4C3}"/>
                    </a:ext>
                  </a:extLst>
                </p:cNvPr>
                <p:cNvSpPr/>
                <p:nvPr/>
              </p:nvSpPr>
              <p:spPr>
                <a:xfrm>
                  <a:off x="7692902" y="4146175"/>
                  <a:ext cx="347659" cy="157292"/>
                </a:xfrm>
                <a:custGeom>
                  <a:avLst/>
                  <a:gdLst>
                    <a:gd name="connsiteX0" fmla="*/ 347659 w 347659"/>
                    <a:gd name="connsiteY0" fmla="*/ 154482 h 157292"/>
                    <a:gd name="connsiteX1" fmla="*/ 346464 w 347659"/>
                    <a:gd name="connsiteY1" fmla="*/ 157293 h 157292"/>
                    <a:gd name="connsiteX2" fmla="*/ 0 w 347659"/>
                    <a:gd name="connsiteY2" fmla="*/ 2811 h 157292"/>
                    <a:gd name="connsiteX3" fmla="*/ 1256 w 347659"/>
                    <a:gd name="connsiteY3" fmla="*/ 0 h 157292"/>
                  </a:gdLst>
                  <a:ahLst/>
                  <a:cxnLst>
                    <a:cxn ang="0">
                      <a:pos x="connsiteX0" y="connsiteY0"/>
                    </a:cxn>
                    <a:cxn ang="0">
                      <a:pos x="connsiteX1" y="connsiteY1"/>
                    </a:cxn>
                    <a:cxn ang="0">
                      <a:pos x="connsiteX2" y="connsiteY2"/>
                    </a:cxn>
                    <a:cxn ang="0">
                      <a:pos x="connsiteX3" y="connsiteY3"/>
                    </a:cxn>
                  </a:cxnLst>
                  <a:rect l="l" t="t" r="r" b="b"/>
                  <a:pathLst>
                    <a:path w="347659" h="157292">
                      <a:moveTo>
                        <a:pt x="347659" y="154482"/>
                      </a:moveTo>
                      <a:lnTo>
                        <a:pt x="346464" y="157293"/>
                      </a:lnTo>
                      <a:lnTo>
                        <a:pt x="0" y="2811"/>
                      </a:lnTo>
                      <a:lnTo>
                        <a:pt x="1256" y="0"/>
                      </a:lnTo>
                      <a:close/>
                    </a:path>
                  </a:pathLst>
                </a:custGeom>
                <a:grpFill/>
                <a:ln w="5978" cap="flat">
                  <a:noFill/>
                  <a:prstDash val="solid"/>
                  <a:miter/>
                </a:ln>
              </p:spPr>
              <p:txBody>
                <a:bodyPr rtlCol="0" anchor="ctr"/>
                <a:lstStyle/>
                <a:p>
                  <a:endParaRPr lang="en-GB"/>
                </a:p>
              </p:txBody>
            </p:sp>
            <p:sp>
              <p:nvSpPr>
                <p:cNvPr id="4459" name="Vrije vorm: vorm 4458">
                  <a:extLst>
                    <a:ext uri="{FF2B5EF4-FFF2-40B4-BE49-F238E27FC236}">
                      <a16:creationId xmlns:a16="http://schemas.microsoft.com/office/drawing/2014/main" id="{29345642-E2BE-4FD2-8A3C-22CBCBC08C0D}"/>
                    </a:ext>
                  </a:extLst>
                </p:cNvPr>
                <p:cNvSpPr/>
                <p:nvPr/>
              </p:nvSpPr>
              <p:spPr>
                <a:xfrm>
                  <a:off x="8030405" y="4292668"/>
                  <a:ext cx="18341" cy="18430"/>
                </a:xfrm>
                <a:custGeom>
                  <a:avLst/>
                  <a:gdLst>
                    <a:gd name="connsiteX0" fmla="*/ 12849 w 18341"/>
                    <a:gd name="connsiteY0" fmla="*/ 812 h 18430"/>
                    <a:gd name="connsiteX1" fmla="*/ 17573 w 18341"/>
                    <a:gd name="connsiteY1" fmla="*/ 12953 h 18430"/>
                    <a:gd name="connsiteX2" fmla="*/ 5493 w 18341"/>
                    <a:gd name="connsiteY2" fmla="*/ 17618 h 18430"/>
                    <a:gd name="connsiteX3" fmla="*/ 768 w 18341"/>
                    <a:gd name="connsiteY3" fmla="*/ 5477 h 18430"/>
                    <a:gd name="connsiteX4" fmla="*/ 12849 w 1834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0">
                      <a:moveTo>
                        <a:pt x="12849" y="812"/>
                      </a:moveTo>
                      <a:cubicBezTo>
                        <a:pt x="17454" y="2906"/>
                        <a:pt x="19607" y="8348"/>
                        <a:pt x="17573" y="12953"/>
                      </a:cubicBezTo>
                      <a:cubicBezTo>
                        <a:pt x="15540" y="17618"/>
                        <a:pt x="10157" y="19711"/>
                        <a:pt x="5493" y="17618"/>
                      </a:cubicBezTo>
                      <a:cubicBezTo>
                        <a:pt x="887" y="15525"/>
                        <a:pt x="-1266" y="10082"/>
                        <a:pt x="768" y="5477"/>
                      </a:cubicBezTo>
                      <a:cubicBezTo>
                        <a:pt x="2801" y="812"/>
                        <a:pt x="8184" y="-1281"/>
                        <a:pt x="12849" y="812"/>
                      </a:cubicBezTo>
                      <a:close/>
                    </a:path>
                  </a:pathLst>
                </a:custGeom>
                <a:grpFill/>
                <a:ln w="5978" cap="flat">
                  <a:noFill/>
                  <a:prstDash val="solid"/>
                  <a:miter/>
                </a:ln>
              </p:spPr>
              <p:txBody>
                <a:bodyPr rtlCol="0" anchor="ctr"/>
                <a:lstStyle/>
                <a:p>
                  <a:endParaRPr lang="en-GB"/>
                </a:p>
              </p:txBody>
            </p:sp>
            <p:sp>
              <p:nvSpPr>
                <p:cNvPr id="4460" name="Vrije vorm: vorm 4459">
                  <a:extLst>
                    <a:ext uri="{FF2B5EF4-FFF2-40B4-BE49-F238E27FC236}">
                      <a16:creationId xmlns:a16="http://schemas.microsoft.com/office/drawing/2014/main" id="{ACD91308-FB51-4C3D-8EE1-BB68C57153CC}"/>
                    </a:ext>
                  </a:extLst>
                </p:cNvPr>
                <p:cNvSpPr/>
                <p:nvPr/>
              </p:nvSpPr>
              <p:spPr>
                <a:xfrm>
                  <a:off x="7684770" y="4138545"/>
                  <a:ext cx="18359" cy="18430"/>
                </a:xfrm>
                <a:custGeom>
                  <a:avLst/>
                  <a:gdLst>
                    <a:gd name="connsiteX0" fmla="*/ 12858 w 18359"/>
                    <a:gd name="connsiteY0" fmla="*/ 812 h 18430"/>
                    <a:gd name="connsiteX1" fmla="*/ 776 w 18359"/>
                    <a:gd name="connsiteY1" fmla="*/ 5477 h 18430"/>
                    <a:gd name="connsiteX2" fmla="*/ 5501 w 18359"/>
                    <a:gd name="connsiteY2" fmla="*/ 17618 h 18430"/>
                    <a:gd name="connsiteX3" fmla="*/ 17583 w 18359"/>
                    <a:gd name="connsiteY3" fmla="*/ 12953 h 18430"/>
                    <a:gd name="connsiteX4" fmla="*/ 12858 w 18359"/>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30">
                      <a:moveTo>
                        <a:pt x="12858" y="812"/>
                      </a:moveTo>
                      <a:cubicBezTo>
                        <a:pt x="8252" y="-1281"/>
                        <a:pt x="2810" y="812"/>
                        <a:pt x="776" y="5477"/>
                      </a:cubicBezTo>
                      <a:cubicBezTo>
                        <a:pt x="-1257" y="10142"/>
                        <a:pt x="836" y="15585"/>
                        <a:pt x="5501" y="17618"/>
                      </a:cubicBezTo>
                      <a:cubicBezTo>
                        <a:pt x="10107" y="19711"/>
                        <a:pt x="15549" y="17618"/>
                        <a:pt x="17583" y="12953"/>
                      </a:cubicBezTo>
                      <a:cubicBezTo>
                        <a:pt x="19616" y="8288"/>
                        <a:pt x="17523" y="2906"/>
                        <a:pt x="12858" y="812"/>
                      </a:cubicBezTo>
                      <a:close/>
                    </a:path>
                  </a:pathLst>
                </a:custGeom>
                <a:grpFill/>
                <a:ln w="5978" cap="flat">
                  <a:noFill/>
                  <a:prstDash val="solid"/>
                  <a:miter/>
                </a:ln>
              </p:spPr>
              <p:txBody>
                <a:bodyPr rtlCol="0" anchor="ctr"/>
                <a:lstStyle/>
                <a:p>
                  <a:endParaRPr lang="en-GB"/>
                </a:p>
              </p:txBody>
            </p:sp>
          </p:grpSp>
          <p:grpSp>
            <p:nvGrpSpPr>
              <p:cNvPr id="308" name="Graphic 3">
                <a:extLst>
                  <a:ext uri="{FF2B5EF4-FFF2-40B4-BE49-F238E27FC236}">
                    <a16:creationId xmlns:a16="http://schemas.microsoft.com/office/drawing/2014/main" id="{9BD2A28E-73D6-4E0A-A6E5-CF1323FA60A6}"/>
                  </a:ext>
                </a:extLst>
              </p:cNvPr>
              <p:cNvGrpSpPr/>
              <p:nvPr/>
            </p:nvGrpSpPr>
            <p:grpSpPr>
              <a:xfrm>
                <a:off x="7126068" y="2068142"/>
                <a:ext cx="61086" cy="69379"/>
                <a:chOff x="7126068" y="2068142"/>
                <a:chExt cx="61086" cy="69379"/>
              </a:xfrm>
              <a:grpFill/>
            </p:grpSpPr>
            <p:sp>
              <p:nvSpPr>
                <p:cNvPr id="4455" name="Vrije vorm: vorm 4454">
                  <a:extLst>
                    <a:ext uri="{FF2B5EF4-FFF2-40B4-BE49-F238E27FC236}">
                      <a16:creationId xmlns:a16="http://schemas.microsoft.com/office/drawing/2014/main" id="{1184E4EC-1303-4A39-87AC-E89DE05C3413}"/>
                    </a:ext>
                  </a:extLst>
                </p:cNvPr>
                <p:cNvSpPr/>
                <p:nvPr/>
              </p:nvSpPr>
              <p:spPr>
                <a:xfrm>
                  <a:off x="7133765" y="2076008"/>
                  <a:ext cx="45632" cy="53647"/>
                </a:xfrm>
                <a:custGeom>
                  <a:avLst/>
                  <a:gdLst>
                    <a:gd name="connsiteX0" fmla="*/ 45633 w 45632"/>
                    <a:gd name="connsiteY0" fmla="*/ 1974 h 53647"/>
                    <a:gd name="connsiteX1" fmla="*/ 2333 w 45632"/>
                    <a:gd name="connsiteY1" fmla="*/ 53647 h 53647"/>
                    <a:gd name="connsiteX2" fmla="*/ 0 w 45632"/>
                    <a:gd name="connsiteY2" fmla="*/ 51673 h 53647"/>
                    <a:gd name="connsiteX3" fmla="*/ 43300 w 45632"/>
                    <a:gd name="connsiteY3" fmla="*/ 0 h 53647"/>
                  </a:gdLst>
                  <a:ahLst/>
                  <a:cxnLst>
                    <a:cxn ang="0">
                      <a:pos x="connsiteX0" y="connsiteY0"/>
                    </a:cxn>
                    <a:cxn ang="0">
                      <a:pos x="connsiteX1" y="connsiteY1"/>
                    </a:cxn>
                    <a:cxn ang="0">
                      <a:pos x="connsiteX2" y="connsiteY2"/>
                    </a:cxn>
                    <a:cxn ang="0">
                      <a:pos x="connsiteX3" y="connsiteY3"/>
                    </a:cxn>
                  </a:cxnLst>
                  <a:rect l="l" t="t" r="r" b="b"/>
                  <a:pathLst>
                    <a:path w="45632" h="53647">
                      <a:moveTo>
                        <a:pt x="45633" y="1974"/>
                      </a:moveTo>
                      <a:lnTo>
                        <a:pt x="2333" y="53647"/>
                      </a:lnTo>
                      <a:lnTo>
                        <a:pt x="0" y="51673"/>
                      </a:lnTo>
                      <a:lnTo>
                        <a:pt x="43300" y="0"/>
                      </a:lnTo>
                      <a:close/>
                    </a:path>
                  </a:pathLst>
                </a:custGeom>
                <a:grpFill/>
                <a:ln w="5978" cap="flat">
                  <a:noFill/>
                  <a:prstDash val="solid"/>
                  <a:miter/>
                </a:ln>
              </p:spPr>
              <p:txBody>
                <a:bodyPr rtlCol="0" anchor="ctr"/>
                <a:lstStyle/>
                <a:p>
                  <a:endParaRPr lang="en-GB"/>
                </a:p>
              </p:txBody>
            </p:sp>
            <p:sp>
              <p:nvSpPr>
                <p:cNvPr id="4456" name="Vrije vorm: vorm 4455">
                  <a:extLst>
                    <a:ext uri="{FF2B5EF4-FFF2-40B4-BE49-F238E27FC236}">
                      <a16:creationId xmlns:a16="http://schemas.microsoft.com/office/drawing/2014/main" id="{7A4D1BCE-FC05-40A2-9A75-E05C7CF10F89}"/>
                    </a:ext>
                  </a:extLst>
                </p:cNvPr>
                <p:cNvSpPr/>
                <p:nvPr/>
              </p:nvSpPr>
              <p:spPr>
                <a:xfrm>
                  <a:off x="7168805" y="2068142"/>
                  <a:ext cx="18349" cy="18423"/>
                </a:xfrm>
                <a:custGeom>
                  <a:avLst/>
                  <a:gdLst>
                    <a:gd name="connsiteX0" fmla="*/ 2160 w 18349"/>
                    <a:gd name="connsiteY0" fmla="*/ 3261 h 18423"/>
                    <a:gd name="connsiteX1" fmla="*/ 15078 w 18349"/>
                    <a:gd name="connsiteY1" fmla="*/ 2185 h 18423"/>
                    <a:gd name="connsiteX2" fmla="*/ 16215 w 18349"/>
                    <a:gd name="connsiteY2" fmla="*/ 15163 h 18423"/>
                    <a:gd name="connsiteX3" fmla="*/ 3296 w 18349"/>
                    <a:gd name="connsiteY3" fmla="*/ 16239 h 18423"/>
                    <a:gd name="connsiteX4" fmla="*/ 2160 w 18349"/>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3">
                      <a:moveTo>
                        <a:pt x="2160" y="3261"/>
                      </a:moveTo>
                      <a:cubicBezTo>
                        <a:pt x="5389" y="-626"/>
                        <a:pt x="11190" y="-1105"/>
                        <a:pt x="15078" y="2185"/>
                      </a:cubicBezTo>
                      <a:cubicBezTo>
                        <a:pt x="18965" y="5474"/>
                        <a:pt x="19444" y="11275"/>
                        <a:pt x="16215" y="15163"/>
                      </a:cubicBezTo>
                      <a:cubicBezTo>
                        <a:pt x="12985" y="19050"/>
                        <a:pt x="7184" y="19529"/>
                        <a:pt x="3296" y="16239"/>
                      </a:cubicBezTo>
                      <a:cubicBezTo>
                        <a:pt x="-592" y="12950"/>
                        <a:pt x="-1130" y="7149"/>
                        <a:pt x="2160" y="3261"/>
                      </a:cubicBezTo>
                      <a:close/>
                    </a:path>
                  </a:pathLst>
                </a:custGeom>
                <a:grpFill/>
                <a:ln w="5978" cap="flat">
                  <a:noFill/>
                  <a:prstDash val="solid"/>
                  <a:miter/>
                </a:ln>
              </p:spPr>
              <p:txBody>
                <a:bodyPr rtlCol="0" anchor="ctr"/>
                <a:lstStyle/>
                <a:p>
                  <a:endParaRPr lang="en-GB"/>
                </a:p>
              </p:txBody>
            </p:sp>
            <p:sp>
              <p:nvSpPr>
                <p:cNvPr id="4457" name="Vrije vorm: vorm 4456">
                  <a:extLst>
                    <a:ext uri="{FF2B5EF4-FFF2-40B4-BE49-F238E27FC236}">
                      <a16:creationId xmlns:a16="http://schemas.microsoft.com/office/drawing/2014/main" id="{091A4BAC-28D8-4AD6-A505-111A4158E3F6}"/>
                    </a:ext>
                  </a:extLst>
                </p:cNvPr>
                <p:cNvSpPr/>
                <p:nvPr/>
              </p:nvSpPr>
              <p:spPr>
                <a:xfrm>
                  <a:off x="7126068" y="2119098"/>
                  <a:ext cx="18324" cy="18423"/>
                </a:xfrm>
                <a:custGeom>
                  <a:avLst/>
                  <a:gdLst>
                    <a:gd name="connsiteX0" fmla="*/ 2135 w 18324"/>
                    <a:gd name="connsiteY0" fmla="*/ 3261 h 18423"/>
                    <a:gd name="connsiteX1" fmla="*/ 3271 w 18324"/>
                    <a:gd name="connsiteY1" fmla="*/ 16239 h 18423"/>
                    <a:gd name="connsiteX2" fmla="*/ 16190 w 18324"/>
                    <a:gd name="connsiteY2" fmla="*/ 15163 h 18423"/>
                    <a:gd name="connsiteX3" fmla="*/ 15053 w 18324"/>
                    <a:gd name="connsiteY3" fmla="*/ 2185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1095" y="7149"/>
                        <a:pt x="-616" y="12950"/>
                        <a:pt x="3271" y="16239"/>
                      </a:cubicBezTo>
                      <a:cubicBezTo>
                        <a:pt x="7159" y="19529"/>
                        <a:pt x="12900" y="19050"/>
                        <a:pt x="16190" y="15163"/>
                      </a:cubicBezTo>
                      <a:cubicBezTo>
                        <a:pt x="19420" y="11275"/>
                        <a:pt x="18941" y="5474"/>
                        <a:pt x="15053" y="2185"/>
                      </a:cubicBezTo>
                      <a:cubicBezTo>
                        <a:pt x="11166" y="-1105"/>
                        <a:pt x="5424" y="-626"/>
                        <a:pt x="2135" y="3261"/>
                      </a:cubicBezTo>
                      <a:close/>
                    </a:path>
                  </a:pathLst>
                </a:custGeom>
                <a:grpFill/>
                <a:ln w="5978" cap="flat">
                  <a:noFill/>
                  <a:prstDash val="solid"/>
                  <a:miter/>
                </a:ln>
              </p:spPr>
              <p:txBody>
                <a:bodyPr rtlCol="0" anchor="ctr"/>
                <a:lstStyle/>
                <a:p>
                  <a:endParaRPr lang="en-GB"/>
                </a:p>
              </p:txBody>
            </p:sp>
          </p:grpSp>
          <p:grpSp>
            <p:nvGrpSpPr>
              <p:cNvPr id="309" name="Graphic 3">
                <a:extLst>
                  <a:ext uri="{FF2B5EF4-FFF2-40B4-BE49-F238E27FC236}">
                    <a16:creationId xmlns:a16="http://schemas.microsoft.com/office/drawing/2014/main" id="{60D22C28-05E3-48A4-9A26-D7811FF807CF}"/>
                  </a:ext>
                </a:extLst>
              </p:cNvPr>
              <p:cNvGrpSpPr/>
              <p:nvPr/>
            </p:nvGrpSpPr>
            <p:grpSpPr>
              <a:xfrm>
                <a:off x="7147767" y="2094350"/>
                <a:ext cx="59888" cy="66124"/>
                <a:chOff x="7147767" y="2094350"/>
                <a:chExt cx="59888" cy="66124"/>
              </a:xfrm>
              <a:grpFill/>
            </p:grpSpPr>
            <p:sp>
              <p:nvSpPr>
                <p:cNvPr id="4452" name="Vrije vorm: vorm 4451">
                  <a:extLst>
                    <a:ext uri="{FF2B5EF4-FFF2-40B4-BE49-F238E27FC236}">
                      <a16:creationId xmlns:a16="http://schemas.microsoft.com/office/drawing/2014/main" id="{CBD76F5E-40A4-488F-A547-565DCD962B65}"/>
                    </a:ext>
                  </a:extLst>
                </p:cNvPr>
                <p:cNvSpPr/>
                <p:nvPr/>
              </p:nvSpPr>
              <p:spPr>
                <a:xfrm>
                  <a:off x="7155475" y="2102204"/>
                  <a:ext cx="44496" cy="50417"/>
                </a:xfrm>
                <a:custGeom>
                  <a:avLst/>
                  <a:gdLst>
                    <a:gd name="connsiteX0" fmla="*/ 44497 w 44496"/>
                    <a:gd name="connsiteY0" fmla="*/ 1974 h 50417"/>
                    <a:gd name="connsiteX1" fmla="*/ 2333 w 44496"/>
                    <a:gd name="connsiteY1" fmla="*/ 50417 h 50417"/>
                    <a:gd name="connsiteX2" fmla="*/ 0 w 44496"/>
                    <a:gd name="connsiteY2" fmla="*/ 48444 h 50417"/>
                    <a:gd name="connsiteX3" fmla="*/ 42164 w 44496"/>
                    <a:gd name="connsiteY3" fmla="*/ 0 h 50417"/>
                  </a:gdLst>
                  <a:ahLst/>
                  <a:cxnLst>
                    <a:cxn ang="0">
                      <a:pos x="connsiteX0" y="connsiteY0"/>
                    </a:cxn>
                    <a:cxn ang="0">
                      <a:pos x="connsiteX1" y="connsiteY1"/>
                    </a:cxn>
                    <a:cxn ang="0">
                      <a:pos x="connsiteX2" y="connsiteY2"/>
                    </a:cxn>
                    <a:cxn ang="0">
                      <a:pos x="connsiteX3" y="connsiteY3"/>
                    </a:cxn>
                  </a:cxnLst>
                  <a:rect l="l" t="t" r="r" b="b"/>
                  <a:pathLst>
                    <a:path w="44496" h="50417">
                      <a:moveTo>
                        <a:pt x="44497" y="1974"/>
                      </a:moveTo>
                      <a:lnTo>
                        <a:pt x="2333" y="50417"/>
                      </a:lnTo>
                      <a:lnTo>
                        <a:pt x="0" y="48444"/>
                      </a:lnTo>
                      <a:lnTo>
                        <a:pt x="42164" y="0"/>
                      </a:lnTo>
                      <a:close/>
                    </a:path>
                  </a:pathLst>
                </a:custGeom>
                <a:grpFill/>
                <a:ln w="5978" cap="flat">
                  <a:noFill/>
                  <a:prstDash val="solid"/>
                  <a:miter/>
                </a:ln>
              </p:spPr>
              <p:txBody>
                <a:bodyPr rtlCol="0" anchor="ctr"/>
                <a:lstStyle/>
                <a:p>
                  <a:endParaRPr lang="en-GB"/>
                </a:p>
              </p:txBody>
            </p:sp>
            <p:sp>
              <p:nvSpPr>
                <p:cNvPr id="4453" name="Vrije vorm: vorm 4452">
                  <a:extLst>
                    <a:ext uri="{FF2B5EF4-FFF2-40B4-BE49-F238E27FC236}">
                      <a16:creationId xmlns:a16="http://schemas.microsoft.com/office/drawing/2014/main" id="{2CDB1B25-A9C5-40F2-8B46-E47C66DF3C99}"/>
                    </a:ext>
                  </a:extLst>
                </p:cNvPr>
                <p:cNvSpPr/>
                <p:nvPr/>
              </p:nvSpPr>
              <p:spPr>
                <a:xfrm>
                  <a:off x="7189333" y="2094350"/>
                  <a:ext cx="18322" cy="18398"/>
                </a:xfrm>
                <a:custGeom>
                  <a:avLst/>
                  <a:gdLst>
                    <a:gd name="connsiteX0" fmla="*/ 2265 w 18322"/>
                    <a:gd name="connsiteY0" fmla="*/ 3129 h 18398"/>
                    <a:gd name="connsiteX1" fmla="*/ 15184 w 18322"/>
                    <a:gd name="connsiteY1" fmla="*/ 2291 h 18398"/>
                    <a:gd name="connsiteX2" fmla="*/ 16081 w 18322"/>
                    <a:gd name="connsiteY2" fmla="*/ 15269 h 18398"/>
                    <a:gd name="connsiteX3" fmla="*/ 3163 w 18322"/>
                    <a:gd name="connsiteY3" fmla="*/ 16107 h 18398"/>
                    <a:gd name="connsiteX4" fmla="*/ 2265 w 18322"/>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98">
                      <a:moveTo>
                        <a:pt x="2265" y="3129"/>
                      </a:moveTo>
                      <a:cubicBezTo>
                        <a:pt x="5614" y="-699"/>
                        <a:pt x="11356" y="-1058"/>
                        <a:pt x="15184" y="2291"/>
                      </a:cubicBezTo>
                      <a:cubicBezTo>
                        <a:pt x="19012" y="5641"/>
                        <a:pt x="19370" y="11442"/>
                        <a:pt x="16081" y="15269"/>
                      </a:cubicBezTo>
                      <a:cubicBezTo>
                        <a:pt x="12732" y="19097"/>
                        <a:pt x="6990" y="19456"/>
                        <a:pt x="3163" y="16107"/>
                      </a:cubicBezTo>
                      <a:cubicBezTo>
                        <a:pt x="-665" y="12758"/>
                        <a:pt x="-1084" y="6956"/>
                        <a:pt x="2265" y="3129"/>
                      </a:cubicBezTo>
                      <a:close/>
                    </a:path>
                  </a:pathLst>
                </a:custGeom>
                <a:grpFill/>
                <a:ln w="5978" cap="flat">
                  <a:noFill/>
                  <a:prstDash val="solid"/>
                  <a:miter/>
                </a:ln>
              </p:spPr>
              <p:txBody>
                <a:bodyPr rtlCol="0" anchor="ctr"/>
                <a:lstStyle/>
                <a:p>
                  <a:endParaRPr lang="en-GB"/>
                </a:p>
              </p:txBody>
            </p:sp>
            <p:sp>
              <p:nvSpPr>
                <p:cNvPr id="4454" name="Vrije vorm: vorm 4453">
                  <a:extLst>
                    <a:ext uri="{FF2B5EF4-FFF2-40B4-BE49-F238E27FC236}">
                      <a16:creationId xmlns:a16="http://schemas.microsoft.com/office/drawing/2014/main" id="{62093F47-658D-4801-84A6-28863634A54F}"/>
                    </a:ext>
                  </a:extLst>
                </p:cNvPr>
                <p:cNvSpPr/>
                <p:nvPr/>
              </p:nvSpPr>
              <p:spPr>
                <a:xfrm>
                  <a:off x="7147767" y="2142077"/>
                  <a:ext cx="18346" cy="18398"/>
                </a:xfrm>
                <a:custGeom>
                  <a:avLst/>
                  <a:gdLst>
                    <a:gd name="connsiteX0" fmla="*/ 2266 w 18346"/>
                    <a:gd name="connsiteY0" fmla="*/ 3129 h 18398"/>
                    <a:gd name="connsiteX1" fmla="*/ 3162 w 18346"/>
                    <a:gd name="connsiteY1" fmla="*/ 16107 h 18398"/>
                    <a:gd name="connsiteX2" fmla="*/ 16081 w 18346"/>
                    <a:gd name="connsiteY2" fmla="*/ 15270 h 18398"/>
                    <a:gd name="connsiteX3" fmla="*/ 15184 w 18346"/>
                    <a:gd name="connsiteY3" fmla="*/ 2291 h 18398"/>
                    <a:gd name="connsiteX4" fmla="*/ 2266 w 18346"/>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8">
                      <a:moveTo>
                        <a:pt x="2266" y="3129"/>
                      </a:moveTo>
                      <a:cubicBezTo>
                        <a:pt x="-1084" y="6956"/>
                        <a:pt x="-665" y="12758"/>
                        <a:pt x="3162" y="16107"/>
                      </a:cubicBezTo>
                      <a:cubicBezTo>
                        <a:pt x="6990" y="19456"/>
                        <a:pt x="12791" y="19097"/>
                        <a:pt x="16081" y="15270"/>
                      </a:cubicBezTo>
                      <a:cubicBezTo>
                        <a:pt x="19430" y="11442"/>
                        <a:pt x="19011" y="5641"/>
                        <a:pt x="15184" y="2291"/>
                      </a:cubicBezTo>
                      <a:cubicBezTo>
                        <a:pt x="11356" y="-1058"/>
                        <a:pt x="5615" y="-699"/>
                        <a:pt x="2266" y="3129"/>
                      </a:cubicBezTo>
                      <a:close/>
                    </a:path>
                  </a:pathLst>
                </a:custGeom>
                <a:grpFill/>
                <a:ln w="5978" cap="flat">
                  <a:noFill/>
                  <a:prstDash val="solid"/>
                  <a:miter/>
                </a:ln>
              </p:spPr>
              <p:txBody>
                <a:bodyPr rtlCol="0" anchor="ctr"/>
                <a:lstStyle/>
                <a:p>
                  <a:endParaRPr lang="en-GB"/>
                </a:p>
              </p:txBody>
            </p:sp>
          </p:grpSp>
          <p:grpSp>
            <p:nvGrpSpPr>
              <p:cNvPr id="310" name="Graphic 3">
                <a:extLst>
                  <a:ext uri="{FF2B5EF4-FFF2-40B4-BE49-F238E27FC236}">
                    <a16:creationId xmlns:a16="http://schemas.microsoft.com/office/drawing/2014/main" id="{8EA83FCA-7DA1-47C0-A000-A3B959A5DEC3}"/>
                  </a:ext>
                </a:extLst>
              </p:cNvPr>
              <p:cNvGrpSpPr/>
              <p:nvPr/>
            </p:nvGrpSpPr>
            <p:grpSpPr>
              <a:xfrm>
                <a:off x="7652479" y="3917869"/>
                <a:ext cx="241669" cy="89336"/>
                <a:chOff x="7652479" y="3917869"/>
                <a:chExt cx="241669" cy="89336"/>
              </a:xfrm>
              <a:grpFill/>
            </p:grpSpPr>
            <p:sp>
              <p:nvSpPr>
                <p:cNvPr id="4449" name="Vrije vorm: vorm 4448">
                  <a:extLst>
                    <a:ext uri="{FF2B5EF4-FFF2-40B4-BE49-F238E27FC236}">
                      <a16:creationId xmlns:a16="http://schemas.microsoft.com/office/drawing/2014/main" id="{712E5222-51DC-4864-BE42-64D088EC0119}"/>
                    </a:ext>
                  </a:extLst>
                </p:cNvPr>
                <p:cNvSpPr/>
                <p:nvPr/>
              </p:nvSpPr>
              <p:spPr>
                <a:xfrm>
                  <a:off x="7660726" y="3925487"/>
                  <a:ext cx="225114" cy="74100"/>
                </a:xfrm>
                <a:custGeom>
                  <a:avLst/>
                  <a:gdLst>
                    <a:gd name="connsiteX0" fmla="*/ 225114 w 225114"/>
                    <a:gd name="connsiteY0" fmla="*/ 71170 h 74100"/>
                    <a:gd name="connsiteX1" fmla="*/ 224217 w 225114"/>
                    <a:gd name="connsiteY1" fmla="*/ 74101 h 74100"/>
                    <a:gd name="connsiteX2" fmla="*/ 0 w 225114"/>
                    <a:gd name="connsiteY2" fmla="*/ 2930 h 74100"/>
                    <a:gd name="connsiteX3" fmla="*/ 897 w 225114"/>
                    <a:gd name="connsiteY3" fmla="*/ 0 h 74100"/>
                  </a:gdLst>
                  <a:ahLst/>
                  <a:cxnLst>
                    <a:cxn ang="0">
                      <a:pos x="connsiteX0" y="connsiteY0"/>
                    </a:cxn>
                    <a:cxn ang="0">
                      <a:pos x="connsiteX1" y="connsiteY1"/>
                    </a:cxn>
                    <a:cxn ang="0">
                      <a:pos x="connsiteX2" y="connsiteY2"/>
                    </a:cxn>
                    <a:cxn ang="0">
                      <a:pos x="connsiteX3" y="connsiteY3"/>
                    </a:cxn>
                  </a:cxnLst>
                  <a:rect l="l" t="t" r="r" b="b"/>
                  <a:pathLst>
                    <a:path w="225114" h="74100">
                      <a:moveTo>
                        <a:pt x="225114" y="71170"/>
                      </a:moveTo>
                      <a:lnTo>
                        <a:pt x="224217" y="74101"/>
                      </a:lnTo>
                      <a:lnTo>
                        <a:pt x="0" y="2930"/>
                      </a:lnTo>
                      <a:lnTo>
                        <a:pt x="897" y="0"/>
                      </a:lnTo>
                      <a:close/>
                    </a:path>
                  </a:pathLst>
                </a:custGeom>
                <a:grpFill/>
                <a:ln w="5978" cap="flat">
                  <a:noFill/>
                  <a:prstDash val="solid"/>
                  <a:miter/>
                </a:ln>
              </p:spPr>
              <p:txBody>
                <a:bodyPr rtlCol="0" anchor="ctr"/>
                <a:lstStyle/>
                <a:p>
                  <a:endParaRPr lang="en-GB"/>
                </a:p>
              </p:txBody>
            </p:sp>
            <p:sp>
              <p:nvSpPr>
                <p:cNvPr id="4450" name="Vrije vorm: vorm 4449">
                  <a:extLst>
                    <a:ext uri="{FF2B5EF4-FFF2-40B4-BE49-F238E27FC236}">
                      <a16:creationId xmlns:a16="http://schemas.microsoft.com/office/drawing/2014/main" id="{3135C860-4CC3-4E75-A39F-AF1FFDF7DBA5}"/>
                    </a:ext>
                  </a:extLst>
                </p:cNvPr>
                <p:cNvSpPr/>
                <p:nvPr/>
              </p:nvSpPr>
              <p:spPr>
                <a:xfrm>
                  <a:off x="7875799" y="3988800"/>
                  <a:ext cx="18349" cy="18405"/>
                </a:xfrm>
                <a:custGeom>
                  <a:avLst/>
                  <a:gdLst>
                    <a:gd name="connsiteX0" fmla="*/ 11896 w 18349"/>
                    <a:gd name="connsiteY0" fmla="*/ 441 h 18405"/>
                    <a:gd name="connsiteX1" fmla="*/ 17937 w 18349"/>
                    <a:gd name="connsiteY1" fmla="*/ 11984 h 18405"/>
                    <a:gd name="connsiteX2" fmla="*/ 6453 w 18349"/>
                    <a:gd name="connsiteY2" fmla="*/ 17964 h 18405"/>
                    <a:gd name="connsiteX3" fmla="*/ 413 w 18349"/>
                    <a:gd name="connsiteY3" fmla="*/ 6422 h 18405"/>
                    <a:gd name="connsiteX4" fmla="*/ 11896 w 18349"/>
                    <a:gd name="connsiteY4" fmla="*/ 4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11896" y="441"/>
                      </a:moveTo>
                      <a:cubicBezTo>
                        <a:pt x="16740" y="1996"/>
                        <a:pt x="19432" y="7139"/>
                        <a:pt x="17937" y="11984"/>
                      </a:cubicBezTo>
                      <a:cubicBezTo>
                        <a:pt x="16442" y="16828"/>
                        <a:pt x="11298" y="19519"/>
                        <a:pt x="6453" y="17964"/>
                      </a:cubicBezTo>
                      <a:cubicBezTo>
                        <a:pt x="1609" y="16409"/>
                        <a:pt x="-1082" y="11266"/>
                        <a:pt x="413" y="6422"/>
                      </a:cubicBezTo>
                      <a:cubicBezTo>
                        <a:pt x="1908" y="1577"/>
                        <a:pt x="7051" y="-1114"/>
                        <a:pt x="11896" y="441"/>
                      </a:cubicBezTo>
                      <a:close/>
                    </a:path>
                  </a:pathLst>
                </a:custGeom>
                <a:grpFill/>
                <a:ln w="5978" cap="flat">
                  <a:noFill/>
                  <a:prstDash val="solid"/>
                  <a:miter/>
                </a:ln>
              </p:spPr>
              <p:txBody>
                <a:bodyPr rtlCol="0" anchor="ctr"/>
                <a:lstStyle/>
                <a:p>
                  <a:endParaRPr lang="en-GB"/>
                </a:p>
              </p:txBody>
            </p:sp>
            <p:sp>
              <p:nvSpPr>
                <p:cNvPr id="4451" name="Vrije vorm: vorm 4450">
                  <a:extLst>
                    <a:ext uri="{FF2B5EF4-FFF2-40B4-BE49-F238E27FC236}">
                      <a16:creationId xmlns:a16="http://schemas.microsoft.com/office/drawing/2014/main" id="{DE34C171-FD4F-43D9-B45C-3B3E79FC29B4}"/>
                    </a:ext>
                  </a:extLst>
                </p:cNvPr>
                <p:cNvSpPr/>
                <p:nvPr/>
              </p:nvSpPr>
              <p:spPr>
                <a:xfrm>
                  <a:off x="7652479" y="3917869"/>
                  <a:ext cx="18343" cy="18405"/>
                </a:xfrm>
                <a:custGeom>
                  <a:avLst/>
                  <a:gdLst>
                    <a:gd name="connsiteX0" fmla="*/ 11896 w 18343"/>
                    <a:gd name="connsiteY0" fmla="*/ 441 h 18405"/>
                    <a:gd name="connsiteX1" fmla="*/ 413 w 18343"/>
                    <a:gd name="connsiteY1" fmla="*/ 6422 h 18405"/>
                    <a:gd name="connsiteX2" fmla="*/ 6454 w 18343"/>
                    <a:gd name="connsiteY2" fmla="*/ 17964 h 18405"/>
                    <a:gd name="connsiteX3" fmla="*/ 17936 w 18343"/>
                    <a:gd name="connsiteY3" fmla="*/ 11984 h 18405"/>
                    <a:gd name="connsiteX4" fmla="*/ 11896 w 18343"/>
                    <a:gd name="connsiteY4" fmla="*/ 4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5">
                      <a:moveTo>
                        <a:pt x="11896" y="441"/>
                      </a:moveTo>
                      <a:cubicBezTo>
                        <a:pt x="7051" y="-1114"/>
                        <a:pt x="1908" y="1577"/>
                        <a:pt x="413" y="6422"/>
                      </a:cubicBezTo>
                      <a:cubicBezTo>
                        <a:pt x="-1082" y="11266"/>
                        <a:pt x="1609" y="16469"/>
                        <a:pt x="6454" y="17964"/>
                      </a:cubicBezTo>
                      <a:cubicBezTo>
                        <a:pt x="11298" y="19519"/>
                        <a:pt x="16441" y="16828"/>
                        <a:pt x="17936" y="11984"/>
                      </a:cubicBezTo>
                      <a:cubicBezTo>
                        <a:pt x="19431" y="7139"/>
                        <a:pt x="16680" y="1996"/>
                        <a:pt x="11896" y="441"/>
                      </a:cubicBezTo>
                      <a:close/>
                    </a:path>
                  </a:pathLst>
                </a:custGeom>
                <a:grpFill/>
                <a:ln w="5978" cap="flat">
                  <a:noFill/>
                  <a:prstDash val="solid"/>
                  <a:miter/>
                </a:ln>
              </p:spPr>
              <p:txBody>
                <a:bodyPr rtlCol="0" anchor="ctr"/>
                <a:lstStyle/>
                <a:p>
                  <a:endParaRPr lang="en-GB"/>
                </a:p>
              </p:txBody>
            </p:sp>
          </p:grpSp>
          <p:grpSp>
            <p:nvGrpSpPr>
              <p:cNvPr id="311" name="Graphic 3">
                <a:extLst>
                  <a:ext uri="{FF2B5EF4-FFF2-40B4-BE49-F238E27FC236}">
                    <a16:creationId xmlns:a16="http://schemas.microsoft.com/office/drawing/2014/main" id="{484C5C1A-1B3E-41D0-A770-71E5BD50C632}"/>
                  </a:ext>
                </a:extLst>
              </p:cNvPr>
              <p:cNvGrpSpPr/>
              <p:nvPr/>
            </p:nvGrpSpPr>
            <p:grpSpPr>
              <a:xfrm>
                <a:off x="6978354" y="1771353"/>
                <a:ext cx="214352" cy="250346"/>
                <a:chOff x="6978354" y="1771353"/>
                <a:chExt cx="214352" cy="250346"/>
              </a:xfrm>
              <a:grpFill/>
            </p:grpSpPr>
            <p:sp>
              <p:nvSpPr>
                <p:cNvPr id="4446" name="Vrije vorm: vorm 4445">
                  <a:extLst>
                    <a:ext uri="{FF2B5EF4-FFF2-40B4-BE49-F238E27FC236}">
                      <a16:creationId xmlns:a16="http://schemas.microsoft.com/office/drawing/2014/main" id="{2D47DA64-A681-40BF-9FB1-B7373DC3EEE5}"/>
                    </a:ext>
                  </a:extLst>
                </p:cNvPr>
                <p:cNvSpPr/>
                <p:nvPr/>
              </p:nvSpPr>
              <p:spPr>
                <a:xfrm>
                  <a:off x="6986101" y="1779185"/>
                  <a:ext cx="198918" cy="234683"/>
                </a:xfrm>
                <a:custGeom>
                  <a:avLst/>
                  <a:gdLst>
                    <a:gd name="connsiteX0" fmla="*/ 198919 w 198918"/>
                    <a:gd name="connsiteY0" fmla="*/ 1974 h 234683"/>
                    <a:gd name="connsiteX1" fmla="*/ 2333 w 198918"/>
                    <a:gd name="connsiteY1" fmla="*/ 234684 h 234683"/>
                    <a:gd name="connsiteX2" fmla="*/ 0 w 198918"/>
                    <a:gd name="connsiteY2" fmla="*/ 232710 h 234683"/>
                    <a:gd name="connsiteX3" fmla="*/ 196586 w 198918"/>
                    <a:gd name="connsiteY3" fmla="*/ 0 h 234683"/>
                  </a:gdLst>
                  <a:ahLst/>
                  <a:cxnLst>
                    <a:cxn ang="0">
                      <a:pos x="connsiteX0" y="connsiteY0"/>
                    </a:cxn>
                    <a:cxn ang="0">
                      <a:pos x="connsiteX1" y="connsiteY1"/>
                    </a:cxn>
                    <a:cxn ang="0">
                      <a:pos x="connsiteX2" y="connsiteY2"/>
                    </a:cxn>
                    <a:cxn ang="0">
                      <a:pos x="connsiteX3" y="connsiteY3"/>
                    </a:cxn>
                  </a:cxnLst>
                  <a:rect l="l" t="t" r="r" b="b"/>
                  <a:pathLst>
                    <a:path w="198918" h="234683">
                      <a:moveTo>
                        <a:pt x="198919" y="1974"/>
                      </a:moveTo>
                      <a:lnTo>
                        <a:pt x="2333" y="234684"/>
                      </a:lnTo>
                      <a:lnTo>
                        <a:pt x="0" y="232710"/>
                      </a:lnTo>
                      <a:lnTo>
                        <a:pt x="196586" y="0"/>
                      </a:lnTo>
                      <a:close/>
                    </a:path>
                  </a:pathLst>
                </a:custGeom>
                <a:grpFill/>
                <a:ln w="5978" cap="flat">
                  <a:noFill/>
                  <a:prstDash val="solid"/>
                  <a:miter/>
                </a:ln>
              </p:spPr>
              <p:txBody>
                <a:bodyPr rtlCol="0" anchor="ctr"/>
                <a:lstStyle/>
                <a:p>
                  <a:endParaRPr lang="en-GB"/>
                </a:p>
              </p:txBody>
            </p:sp>
            <p:sp>
              <p:nvSpPr>
                <p:cNvPr id="4447" name="Vrije vorm: vorm 4446">
                  <a:extLst>
                    <a:ext uri="{FF2B5EF4-FFF2-40B4-BE49-F238E27FC236}">
                      <a16:creationId xmlns:a16="http://schemas.microsoft.com/office/drawing/2014/main" id="{6DBDA8E9-0A9A-467E-B9F7-3D54DCB46310}"/>
                    </a:ext>
                  </a:extLst>
                </p:cNvPr>
                <p:cNvSpPr/>
                <p:nvPr/>
              </p:nvSpPr>
              <p:spPr>
                <a:xfrm>
                  <a:off x="6978354" y="2003286"/>
                  <a:ext cx="18364" cy="18414"/>
                </a:xfrm>
                <a:custGeom>
                  <a:avLst/>
                  <a:gdLst>
                    <a:gd name="connsiteX0" fmla="*/ 16180 w 18364"/>
                    <a:gd name="connsiteY0" fmla="*/ 15188 h 18414"/>
                    <a:gd name="connsiteX1" fmla="*/ 3261 w 18364"/>
                    <a:gd name="connsiteY1" fmla="*/ 16205 h 18414"/>
                    <a:gd name="connsiteX2" fmla="*/ 2184 w 18364"/>
                    <a:gd name="connsiteY2" fmla="*/ 3227 h 18414"/>
                    <a:gd name="connsiteX3" fmla="*/ 15103 w 18364"/>
                    <a:gd name="connsiteY3" fmla="*/ 2210 h 18414"/>
                    <a:gd name="connsiteX4" fmla="*/ 16180 w 18364"/>
                    <a:gd name="connsiteY4" fmla="*/ 1518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16180" y="15188"/>
                      </a:moveTo>
                      <a:cubicBezTo>
                        <a:pt x="12890" y="19075"/>
                        <a:pt x="7149" y="19494"/>
                        <a:pt x="3261" y="16205"/>
                      </a:cubicBezTo>
                      <a:cubicBezTo>
                        <a:pt x="-626" y="12915"/>
                        <a:pt x="-1105" y="7114"/>
                        <a:pt x="2184" y="3227"/>
                      </a:cubicBezTo>
                      <a:cubicBezTo>
                        <a:pt x="5474" y="-661"/>
                        <a:pt x="11215" y="-1080"/>
                        <a:pt x="15103" y="2210"/>
                      </a:cubicBezTo>
                      <a:cubicBezTo>
                        <a:pt x="18991" y="5499"/>
                        <a:pt x="19469" y="11360"/>
                        <a:pt x="16180" y="15188"/>
                      </a:cubicBezTo>
                      <a:close/>
                    </a:path>
                  </a:pathLst>
                </a:custGeom>
                <a:grpFill/>
                <a:ln w="5978" cap="flat">
                  <a:noFill/>
                  <a:prstDash val="solid"/>
                  <a:miter/>
                </a:ln>
              </p:spPr>
              <p:txBody>
                <a:bodyPr rtlCol="0" anchor="ctr"/>
                <a:lstStyle/>
                <a:p>
                  <a:endParaRPr lang="en-GB"/>
                </a:p>
              </p:txBody>
            </p:sp>
            <p:sp>
              <p:nvSpPr>
                <p:cNvPr id="4448" name="Vrije vorm: vorm 4447">
                  <a:extLst>
                    <a:ext uri="{FF2B5EF4-FFF2-40B4-BE49-F238E27FC236}">
                      <a16:creationId xmlns:a16="http://schemas.microsoft.com/office/drawing/2014/main" id="{1FEA5170-0164-4F7C-AE47-C81ED5BE297E}"/>
                    </a:ext>
                  </a:extLst>
                </p:cNvPr>
                <p:cNvSpPr/>
                <p:nvPr/>
              </p:nvSpPr>
              <p:spPr>
                <a:xfrm>
                  <a:off x="7174342" y="1771353"/>
                  <a:ext cx="18364" cy="18394"/>
                </a:xfrm>
                <a:custGeom>
                  <a:avLst/>
                  <a:gdLst>
                    <a:gd name="connsiteX0" fmla="*/ 16179 w 18364"/>
                    <a:gd name="connsiteY0" fmla="*/ 15188 h 18394"/>
                    <a:gd name="connsiteX1" fmla="*/ 15103 w 18364"/>
                    <a:gd name="connsiteY1" fmla="*/ 2210 h 18394"/>
                    <a:gd name="connsiteX2" fmla="*/ 2185 w 18364"/>
                    <a:gd name="connsiteY2" fmla="*/ 3227 h 18394"/>
                    <a:gd name="connsiteX3" fmla="*/ 3261 w 18364"/>
                    <a:gd name="connsiteY3" fmla="*/ 16205 h 18394"/>
                    <a:gd name="connsiteX4" fmla="*/ 16179 w 18364"/>
                    <a:gd name="connsiteY4" fmla="*/ 151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394">
                      <a:moveTo>
                        <a:pt x="16179" y="15188"/>
                      </a:moveTo>
                      <a:cubicBezTo>
                        <a:pt x="19469" y="11301"/>
                        <a:pt x="18991" y="5499"/>
                        <a:pt x="15103" y="2210"/>
                      </a:cubicBezTo>
                      <a:cubicBezTo>
                        <a:pt x="11216" y="-1080"/>
                        <a:pt x="5474" y="-661"/>
                        <a:pt x="2185" y="3227"/>
                      </a:cubicBezTo>
                      <a:cubicBezTo>
                        <a:pt x="-1105" y="7114"/>
                        <a:pt x="-626" y="12915"/>
                        <a:pt x="3261" y="16205"/>
                      </a:cubicBezTo>
                      <a:cubicBezTo>
                        <a:pt x="7148" y="19494"/>
                        <a:pt x="12890" y="19016"/>
                        <a:pt x="16179" y="15188"/>
                      </a:cubicBezTo>
                      <a:close/>
                    </a:path>
                  </a:pathLst>
                </a:custGeom>
                <a:grpFill/>
                <a:ln w="5978" cap="flat">
                  <a:noFill/>
                  <a:prstDash val="solid"/>
                  <a:miter/>
                </a:ln>
              </p:spPr>
              <p:txBody>
                <a:bodyPr rtlCol="0" anchor="ctr"/>
                <a:lstStyle/>
                <a:p>
                  <a:endParaRPr lang="en-GB"/>
                </a:p>
              </p:txBody>
            </p:sp>
          </p:grpSp>
          <p:grpSp>
            <p:nvGrpSpPr>
              <p:cNvPr id="312" name="Graphic 3">
                <a:extLst>
                  <a:ext uri="{FF2B5EF4-FFF2-40B4-BE49-F238E27FC236}">
                    <a16:creationId xmlns:a16="http://schemas.microsoft.com/office/drawing/2014/main" id="{EFD08F39-1051-459D-8E1A-B55A91E9E2D1}"/>
                  </a:ext>
                </a:extLst>
              </p:cNvPr>
              <p:cNvGrpSpPr/>
              <p:nvPr/>
            </p:nvGrpSpPr>
            <p:grpSpPr>
              <a:xfrm>
                <a:off x="7742526" y="3911829"/>
                <a:ext cx="42556" cy="25580"/>
                <a:chOff x="7742526" y="3911829"/>
                <a:chExt cx="42556" cy="25580"/>
              </a:xfrm>
              <a:grpFill/>
            </p:grpSpPr>
            <p:sp>
              <p:nvSpPr>
                <p:cNvPr id="4443" name="Vrije vorm: vorm 4442">
                  <a:extLst>
                    <a:ext uri="{FF2B5EF4-FFF2-40B4-BE49-F238E27FC236}">
                      <a16:creationId xmlns:a16="http://schemas.microsoft.com/office/drawing/2014/main" id="{96F93207-35FC-46C0-993A-B5C48CD6C24C}"/>
                    </a:ext>
                  </a:extLst>
                </p:cNvPr>
                <p:cNvSpPr/>
                <p:nvPr/>
              </p:nvSpPr>
              <p:spPr>
                <a:xfrm>
                  <a:off x="7750856" y="3919386"/>
                  <a:ext cx="25956" cy="10406"/>
                </a:xfrm>
                <a:custGeom>
                  <a:avLst/>
                  <a:gdLst>
                    <a:gd name="connsiteX0" fmla="*/ 25956 w 25956"/>
                    <a:gd name="connsiteY0" fmla="*/ 7476 h 10406"/>
                    <a:gd name="connsiteX1" fmla="*/ 25059 w 25956"/>
                    <a:gd name="connsiteY1" fmla="*/ 10406 h 10406"/>
                    <a:gd name="connsiteX2" fmla="*/ 0 w 25956"/>
                    <a:gd name="connsiteY2" fmla="*/ 2990 h 10406"/>
                    <a:gd name="connsiteX3" fmla="*/ 837 w 25956"/>
                    <a:gd name="connsiteY3" fmla="*/ 0 h 10406"/>
                  </a:gdLst>
                  <a:ahLst/>
                  <a:cxnLst>
                    <a:cxn ang="0">
                      <a:pos x="connsiteX0" y="connsiteY0"/>
                    </a:cxn>
                    <a:cxn ang="0">
                      <a:pos x="connsiteX1" y="connsiteY1"/>
                    </a:cxn>
                    <a:cxn ang="0">
                      <a:pos x="connsiteX2" y="connsiteY2"/>
                    </a:cxn>
                    <a:cxn ang="0">
                      <a:pos x="connsiteX3" y="connsiteY3"/>
                    </a:cxn>
                  </a:cxnLst>
                  <a:rect l="l" t="t" r="r" b="b"/>
                  <a:pathLst>
                    <a:path w="25956" h="10406">
                      <a:moveTo>
                        <a:pt x="25956" y="7476"/>
                      </a:moveTo>
                      <a:lnTo>
                        <a:pt x="25059" y="10406"/>
                      </a:lnTo>
                      <a:lnTo>
                        <a:pt x="0" y="2990"/>
                      </a:lnTo>
                      <a:lnTo>
                        <a:pt x="837" y="0"/>
                      </a:lnTo>
                      <a:close/>
                    </a:path>
                  </a:pathLst>
                </a:custGeom>
                <a:grpFill/>
                <a:ln w="5978" cap="flat">
                  <a:noFill/>
                  <a:prstDash val="solid"/>
                  <a:miter/>
                </a:ln>
              </p:spPr>
              <p:txBody>
                <a:bodyPr rtlCol="0" anchor="ctr"/>
                <a:lstStyle/>
                <a:p>
                  <a:endParaRPr lang="en-GB"/>
                </a:p>
              </p:txBody>
            </p:sp>
            <p:sp>
              <p:nvSpPr>
                <p:cNvPr id="4444" name="Vrije vorm: vorm 4443">
                  <a:extLst>
                    <a:ext uri="{FF2B5EF4-FFF2-40B4-BE49-F238E27FC236}">
                      <a16:creationId xmlns:a16="http://schemas.microsoft.com/office/drawing/2014/main" id="{6763E414-CCD1-4CA0-B59E-4E457A66B9AA}"/>
                    </a:ext>
                  </a:extLst>
                </p:cNvPr>
                <p:cNvSpPr/>
                <p:nvPr/>
              </p:nvSpPr>
              <p:spPr>
                <a:xfrm>
                  <a:off x="7766748" y="3919006"/>
                  <a:ext cx="18334" cy="18403"/>
                </a:xfrm>
                <a:custGeom>
                  <a:avLst/>
                  <a:gdLst>
                    <a:gd name="connsiteX0" fmla="*/ 11739 w 18334"/>
                    <a:gd name="connsiteY0" fmla="*/ 380 h 18403"/>
                    <a:gd name="connsiteX1" fmla="*/ 17959 w 18334"/>
                    <a:gd name="connsiteY1" fmla="*/ 11803 h 18403"/>
                    <a:gd name="connsiteX2" fmla="*/ 6596 w 18334"/>
                    <a:gd name="connsiteY2" fmla="*/ 18023 h 18403"/>
                    <a:gd name="connsiteX3" fmla="*/ 375 w 18334"/>
                    <a:gd name="connsiteY3" fmla="*/ 6600 h 18403"/>
                    <a:gd name="connsiteX4" fmla="*/ 11739 w 18334"/>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3">
                      <a:moveTo>
                        <a:pt x="11739" y="380"/>
                      </a:moveTo>
                      <a:cubicBezTo>
                        <a:pt x="16583" y="1815"/>
                        <a:pt x="19394" y="6959"/>
                        <a:pt x="17959" y="11803"/>
                      </a:cubicBezTo>
                      <a:cubicBezTo>
                        <a:pt x="16523" y="16707"/>
                        <a:pt x="11440" y="19459"/>
                        <a:pt x="6596" y="18023"/>
                      </a:cubicBezTo>
                      <a:cubicBezTo>
                        <a:pt x="1751" y="16588"/>
                        <a:pt x="-1060" y="11444"/>
                        <a:pt x="375" y="6600"/>
                      </a:cubicBezTo>
                      <a:cubicBezTo>
                        <a:pt x="1811" y="1696"/>
                        <a:pt x="6894" y="-1055"/>
                        <a:pt x="11739" y="380"/>
                      </a:cubicBezTo>
                      <a:close/>
                    </a:path>
                  </a:pathLst>
                </a:custGeom>
                <a:grpFill/>
                <a:ln w="5978" cap="flat">
                  <a:noFill/>
                  <a:prstDash val="solid"/>
                  <a:miter/>
                </a:ln>
              </p:spPr>
              <p:txBody>
                <a:bodyPr rtlCol="0" anchor="ctr"/>
                <a:lstStyle/>
                <a:p>
                  <a:endParaRPr lang="en-GB"/>
                </a:p>
              </p:txBody>
            </p:sp>
            <p:sp>
              <p:nvSpPr>
                <p:cNvPr id="4445" name="Vrije vorm: vorm 4444">
                  <a:extLst>
                    <a:ext uri="{FF2B5EF4-FFF2-40B4-BE49-F238E27FC236}">
                      <a16:creationId xmlns:a16="http://schemas.microsoft.com/office/drawing/2014/main" id="{44B518FE-8CF6-43F8-99C6-A92A084D5E12}"/>
                    </a:ext>
                  </a:extLst>
                </p:cNvPr>
                <p:cNvSpPr/>
                <p:nvPr/>
              </p:nvSpPr>
              <p:spPr>
                <a:xfrm>
                  <a:off x="7742526" y="3911829"/>
                  <a:ext cx="18339" cy="18403"/>
                </a:xfrm>
                <a:custGeom>
                  <a:avLst/>
                  <a:gdLst>
                    <a:gd name="connsiteX0" fmla="*/ 11739 w 18339"/>
                    <a:gd name="connsiteY0" fmla="*/ 380 h 18403"/>
                    <a:gd name="connsiteX1" fmla="*/ 375 w 18339"/>
                    <a:gd name="connsiteY1" fmla="*/ 6600 h 18403"/>
                    <a:gd name="connsiteX2" fmla="*/ 6595 w 18339"/>
                    <a:gd name="connsiteY2" fmla="*/ 18023 h 18403"/>
                    <a:gd name="connsiteX3" fmla="*/ 17959 w 18339"/>
                    <a:gd name="connsiteY3" fmla="*/ 11803 h 18403"/>
                    <a:gd name="connsiteX4" fmla="*/ 11739 w 18339"/>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3">
                      <a:moveTo>
                        <a:pt x="11739" y="380"/>
                      </a:moveTo>
                      <a:cubicBezTo>
                        <a:pt x="6895" y="-1055"/>
                        <a:pt x="1811" y="1696"/>
                        <a:pt x="375" y="6600"/>
                      </a:cubicBezTo>
                      <a:cubicBezTo>
                        <a:pt x="-1060" y="11504"/>
                        <a:pt x="1751" y="16588"/>
                        <a:pt x="6595" y="18023"/>
                      </a:cubicBezTo>
                      <a:cubicBezTo>
                        <a:pt x="11440" y="19459"/>
                        <a:pt x="16524" y="16707"/>
                        <a:pt x="17959" y="11803"/>
                      </a:cubicBezTo>
                      <a:cubicBezTo>
                        <a:pt x="19394" y="6899"/>
                        <a:pt x="16643" y="1815"/>
                        <a:pt x="11739" y="380"/>
                      </a:cubicBezTo>
                      <a:close/>
                    </a:path>
                  </a:pathLst>
                </a:custGeom>
                <a:grpFill/>
                <a:ln w="5978" cap="flat">
                  <a:noFill/>
                  <a:prstDash val="solid"/>
                  <a:miter/>
                </a:ln>
              </p:spPr>
              <p:txBody>
                <a:bodyPr rtlCol="0" anchor="ctr"/>
                <a:lstStyle/>
                <a:p>
                  <a:endParaRPr lang="en-GB"/>
                </a:p>
              </p:txBody>
            </p:sp>
          </p:grpSp>
          <p:grpSp>
            <p:nvGrpSpPr>
              <p:cNvPr id="313" name="Graphic 3">
                <a:extLst>
                  <a:ext uri="{FF2B5EF4-FFF2-40B4-BE49-F238E27FC236}">
                    <a16:creationId xmlns:a16="http://schemas.microsoft.com/office/drawing/2014/main" id="{0CD413DE-F7C7-493B-BBCE-B2B13B799B50}"/>
                  </a:ext>
                </a:extLst>
              </p:cNvPr>
              <p:cNvGrpSpPr/>
              <p:nvPr/>
            </p:nvGrpSpPr>
            <p:grpSpPr>
              <a:xfrm>
                <a:off x="7678910" y="3794731"/>
                <a:ext cx="105612" cy="39125"/>
                <a:chOff x="7678910" y="3794731"/>
                <a:chExt cx="105612" cy="39125"/>
              </a:xfrm>
              <a:grpFill/>
            </p:grpSpPr>
            <p:sp>
              <p:nvSpPr>
                <p:cNvPr id="4440" name="Vrije vorm: vorm 4439">
                  <a:extLst>
                    <a:ext uri="{FF2B5EF4-FFF2-40B4-BE49-F238E27FC236}">
                      <a16:creationId xmlns:a16="http://schemas.microsoft.com/office/drawing/2014/main" id="{6763ADCF-8701-4E05-B33F-29E2923C5C90}"/>
                    </a:ext>
                  </a:extLst>
                </p:cNvPr>
                <p:cNvSpPr/>
                <p:nvPr/>
              </p:nvSpPr>
              <p:spPr>
                <a:xfrm>
                  <a:off x="7687281" y="3802403"/>
                  <a:ext cx="88813" cy="23863"/>
                </a:xfrm>
                <a:custGeom>
                  <a:avLst/>
                  <a:gdLst>
                    <a:gd name="connsiteX0" fmla="*/ 88814 w 88813"/>
                    <a:gd name="connsiteY0" fmla="*/ 20873 h 23863"/>
                    <a:gd name="connsiteX1" fmla="*/ 88156 w 88813"/>
                    <a:gd name="connsiteY1" fmla="*/ 23863 h 23863"/>
                    <a:gd name="connsiteX2" fmla="*/ 0 w 88813"/>
                    <a:gd name="connsiteY2" fmla="*/ 2990 h 23863"/>
                    <a:gd name="connsiteX3" fmla="*/ 718 w 88813"/>
                    <a:gd name="connsiteY3" fmla="*/ 0 h 23863"/>
                  </a:gdLst>
                  <a:ahLst/>
                  <a:cxnLst>
                    <a:cxn ang="0">
                      <a:pos x="connsiteX0" y="connsiteY0"/>
                    </a:cxn>
                    <a:cxn ang="0">
                      <a:pos x="connsiteX1" y="connsiteY1"/>
                    </a:cxn>
                    <a:cxn ang="0">
                      <a:pos x="connsiteX2" y="connsiteY2"/>
                    </a:cxn>
                    <a:cxn ang="0">
                      <a:pos x="connsiteX3" y="connsiteY3"/>
                    </a:cxn>
                  </a:cxnLst>
                  <a:rect l="l" t="t" r="r" b="b"/>
                  <a:pathLst>
                    <a:path w="88813" h="23863">
                      <a:moveTo>
                        <a:pt x="88814" y="20873"/>
                      </a:moveTo>
                      <a:lnTo>
                        <a:pt x="88156" y="23863"/>
                      </a:lnTo>
                      <a:lnTo>
                        <a:pt x="0" y="2990"/>
                      </a:lnTo>
                      <a:lnTo>
                        <a:pt x="718" y="0"/>
                      </a:lnTo>
                      <a:close/>
                    </a:path>
                  </a:pathLst>
                </a:custGeom>
                <a:grpFill/>
                <a:ln w="5978" cap="flat">
                  <a:noFill/>
                  <a:prstDash val="solid"/>
                  <a:miter/>
                </a:ln>
              </p:spPr>
              <p:txBody>
                <a:bodyPr rtlCol="0" anchor="ctr"/>
                <a:lstStyle/>
                <a:p>
                  <a:endParaRPr lang="en-GB"/>
                </a:p>
              </p:txBody>
            </p:sp>
            <p:sp>
              <p:nvSpPr>
                <p:cNvPr id="4441" name="Vrije vorm: vorm 4440">
                  <a:extLst>
                    <a:ext uri="{FF2B5EF4-FFF2-40B4-BE49-F238E27FC236}">
                      <a16:creationId xmlns:a16="http://schemas.microsoft.com/office/drawing/2014/main" id="{E2C9F0CF-C96E-4135-9C53-7F90EEE41A2C}"/>
                    </a:ext>
                  </a:extLst>
                </p:cNvPr>
                <p:cNvSpPr/>
                <p:nvPr/>
              </p:nvSpPr>
              <p:spPr>
                <a:xfrm>
                  <a:off x="7766171" y="3815443"/>
                  <a:ext cx="18350" cy="18413"/>
                </a:xfrm>
                <a:custGeom>
                  <a:avLst/>
                  <a:gdLst>
                    <a:gd name="connsiteX0" fmla="*/ 11239 w 18350"/>
                    <a:gd name="connsiteY0" fmla="*/ 237 h 18413"/>
                    <a:gd name="connsiteX1" fmla="*/ 18117 w 18350"/>
                    <a:gd name="connsiteY1" fmla="*/ 11302 h 18413"/>
                    <a:gd name="connsiteX2" fmla="*/ 7112 w 18350"/>
                    <a:gd name="connsiteY2" fmla="*/ 18180 h 18413"/>
                    <a:gd name="connsiteX3" fmla="*/ 234 w 18350"/>
                    <a:gd name="connsiteY3" fmla="*/ 7115 h 18413"/>
                    <a:gd name="connsiteX4" fmla="*/ 11239 w 18350"/>
                    <a:gd name="connsiteY4" fmla="*/ 237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3">
                      <a:moveTo>
                        <a:pt x="11239" y="237"/>
                      </a:moveTo>
                      <a:cubicBezTo>
                        <a:pt x="16143" y="1434"/>
                        <a:pt x="19253" y="6398"/>
                        <a:pt x="18117" y="11302"/>
                      </a:cubicBezTo>
                      <a:cubicBezTo>
                        <a:pt x="16981" y="16206"/>
                        <a:pt x="12076" y="19316"/>
                        <a:pt x="7112" y="18180"/>
                      </a:cubicBezTo>
                      <a:cubicBezTo>
                        <a:pt x="2208" y="16984"/>
                        <a:pt x="-902" y="12020"/>
                        <a:pt x="234" y="7115"/>
                      </a:cubicBezTo>
                      <a:cubicBezTo>
                        <a:pt x="1371" y="2151"/>
                        <a:pt x="6275" y="-899"/>
                        <a:pt x="11239" y="237"/>
                      </a:cubicBezTo>
                      <a:close/>
                    </a:path>
                  </a:pathLst>
                </a:custGeom>
                <a:grpFill/>
                <a:ln w="5978" cap="flat">
                  <a:noFill/>
                  <a:prstDash val="solid"/>
                  <a:miter/>
                </a:ln>
              </p:spPr>
              <p:txBody>
                <a:bodyPr rtlCol="0" anchor="ctr"/>
                <a:lstStyle/>
                <a:p>
                  <a:endParaRPr lang="en-GB"/>
                </a:p>
              </p:txBody>
            </p:sp>
            <p:sp>
              <p:nvSpPr>
                <p:cNvPr id="4442" name="Vrije vorm: vorm 4441">
                  <a:extLst>
                    <a:ext uri="{FF2B5EF4-FFF2-40B4-BE49-F238E27FC236}">
                      <a16:creationId xmlns:a16="http://schemas.microsoft.com/office/drawing/2014/main" id="{41EB6CC2-6D98-45A3-A143-4C56569DE359}"/>
                    </a:ext>
                  </a:extLst>
                </p:cNvPr>
                <p:cNvSpPr/>
                <p:nvPr/>
              </p:nvSpPr>
              <p:spPr>
                <a:xfrm>
                  <a:off x="7678910" y="3794731"/>
                  <a:ext cx="18353" cy="18454"/>
                </a:xfrm>
                <a:custGeom>
                  <a:avLst/>
                  <a:gdLst>
                    <a:gd name="connsiteX0" fmla="*/ 11242 w 18353"/>
                    <a:gd name="connsiteY0" fmla="*/ 256 h 18454"/>
                    <a:gd name="connsiteX1" fmla="*/ 237 w 18353"/>
                    <a:gd name="connsiteY1" fmla="*/ 7134 h 18454"/>
                    <a:gd name="connsiteX2" fmla="*/ 7115 w 18353"/>
                    <a:gd name="connsiteY2" fmla="*/ 18198 h 18454"/>
                    <a:gd name="connsiteX3" fmla="*/ 18120 w 18353"/>
                    <a:gd name="connsiteY3" fmla="*/ 11320 h 18454"/>
                    <a:gd name="connsiteX4" fmla="*/ 11242 w 18353"/>
                    <a:gd name="connsiteY4" fmla="*/ 256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54">
                      <a:moveTo>
                        <a:pt x="11242" y="256"/>
                      </a:moveTo>
                      <a:cubicBezTo>
                        <a:pt x="6338" y="-940"/>
                        <a:pt x="1373" y="2170"/>
                        <a:pt x="237" y="7134"/>
                      </a:cubicBezTo>
                      <a:cubicBezTo>
                        <a:pt x="-899" y="12098"/>
                        <a:pt x="2151" y="17062"/>
                        <a:pt x="7115" y="18198"/>
                      </a:cubicBezTo>
                      <a:cubicBezTo>
                        <a:pt x="12019" y="19395"/>
                        <a:pt x="16983" y="16285"/>
                        <a:pt x="18120" y="11320"/>
                      </a:cubicBezTo>
                      <a:cubicBezTo>
                        <a:pt x="19256" y="6416"/>
                        <a:pt x="16146" y="1452"/>
                        <a:pt x="11242" y="256"/>
                      </a:cubicBezTo>
                      <a:close/>
                    </a:path>
                  </a:pathLst>
                </a:custGeom>
                <a:grpFill/>
                <a:ln w="5978" cap="flat">
                  <a:noFill/>
                  <a:prstDash val="solid"/>
                  <a:miter/>
                </a:ln>
              </p:spPr>
              <p:txBody>
                <a:bodyPr rtlCol="0" anchor="ctr"/>
                <a:lstStyle/>
                <a:p>
                  <a:endParaRPr lang="en-GB"/>
                </a:p>
              </p:txBody>
            </p:sp>
          </p:grpSp>
          <p:grpSp>
            <p:nvGrpSpPr>
              <p:cNvPr id="314" name="Graphic 3">
                <a:extLst>
                  <a:ext uri="{FF2B5EF4-FFF2-40B4-BE49-F238E27FC236}">
                    <a16:creationId xmlns:a16="http://schemas.microsoft.com/office/drawing/2014/main" id="{D7D2F6B1-30CC-460F-9609-125BA08871E7}"/>
                  </a:ext>
                </a:extLst>
              </p:cNvPr>
              <p:cNvGrpSpPr/>
              <p:nvPr/>
            </p:nvGrpSpPr>
            <p:grpSpPr>
              <a:xfrm>
                <a:off x="7585175" y="4129541"/>
                <a:ext cx="604693" cy="340737"/>
                <a:chOff x="7585175" y="4129541"/>
                <a:chExt cx="604693" cy="340737"/>
              </a:xfrm>
              <a:grpFill/>
            </p:grpSpPr>
            <p:sp>
              <p:nvSpPr>
                <p:cNvPr id="4437" name="Vrije vorm: vorm 4436">
                  <a:extLst>
                    <a:ext uri="{FF2B5EF4-FFF2-40B4-BE49-F238E27FC236}">
                      <a16:creationId xmlns:a16="http://schemas.microsoft.com/office/drawing/2014/main" id="{DE9C8FBA-741A-41C6-81D6-37A967FA209F}"/>
                    </a:ext>
                  </a:extLst>
                </p:cNvPr>
                <p:cNvSpPr/>
                <p:nvPr/>
              </p:nvSpPr>
              <p:spPr>
                <a:xfrm>
                  <a:off x="7593204" y="4137144"/>
                  <a:ext cx="588622" cy="325471"/>
                </a:xfrm>
                <a:custGeom>
                  <a:avLst/>
                  <a:gdLst>
                    <a:gd name="connsiteX0" fmla="*/ 588622 w 588622"/>
                    <a:gd name="connsiteY0" fmla="*/ 322780 h 325471"/>
                    <a:gd name="connsiteX1" fmla="*/ 587187 w 588622"/>
                    <a:gd name="connsiteY1" fmla="*/ 325471 h 325471"/>
                    <a:gd name="connsiteX2" fmla="*/ 0 w 588622"/>
                    <a:gd name="connsiteY2" fmla="*/ 2691 h 325471"/>
                    <a:gd name="connsiteX3" fmla="*/ 1435 w 588622"/>
                    <a:gd name="connsiteY3" fmla="*/ 0 h 325471"/>
                  </a:gdLst>
                  <a:ahLst/>
                  <a:cxnLst>
                    <a:cxn ang="0">
                      <a:pos x="connsiteX0" y="connsiteY0"/>
                    </a:cxn>
                    <a:cxn ang="0">
                      <a:pos x="connsiteX1" y="connsiteY1"/>
                    </a:cxn>
                    <a:cxn ang="0">
                      <a:pos x="connsiteX2" y="connsiteY2"/>
                    </a:cxn>
                    <a:cxn ang="0">
                      <a:pos x="connsiteX3" y="connsiteY3"/>
                    </a:cxn>
                  </a:cxnLst>
                  <a:rect l="l" t="t" r="r" b="b"/>
                  <a:pathLst>
                    <a:path w="588622" h="325471">
                      <a:moveTo>
                        <a:pt x="588622" y="322780"/>
                      </a:moveTo>
                      <a:lnTo>
                        <a:pt x="587187" y="325471"/>
                      </a:lnTo>
                      <a:lnTo>
                        <a:pt x="0" y="2691"/>
                      </a:lnTo>
                      <a:lnTo>
                        <a:pt x="1435" y="0"/>
                      </a:lnTo>
                      <a:close/>
                    </a:path>
                  </a:pathLst>
                </a:custGeom>
                <a:grpFill/>
                <a:ln w="5978" cap="flat">
                  <a:noFill/>
                  <a:prstDash val="solid"/>
                  <a:miter/>
                </a:ln>
              </p:spPr>
              <p:txBody>
                <a:bodyPr rtlCol="0" anchor="ctr"/>
                <a:lstStyle/>
                <a:p>
                  <a:endParaRPr lang="en-GB"/>
                </a:p>
              </p:txBody>
            </p:sp>
            <p:sp>
              <p:nvSpPr>
                <p:cNvPr id="4438" name="Vrije vorm: vorm 4437">
                  <a:extLst>
                    <a:ext uri="{FF2B5EF4-FFF2-40B4-BE49-F238E27FC236}">
                      <a16:creationId xmlns:a16="http://schemas.microsoft.com/office/drawing/2014/main" id="{E1C3DFDA-C574-46BE-AD5B-D2F88F36CDF8}"/>
                    </a:ext>
                  </a:extLst>
                </p:cNvPr>
                <p:cNvSpPr/>
                <p:nvPr/>
              </p:nvSpPr>
              <p:spPr>
                <a:xfrm>
                  <a:off x="7585175" y="4129541"/>
                  <a:ext cx="18330" cy="18423"/>
                </a:xfrm>
                <a:custGeom>
                  <a:avLst/>
                  <a:gdLst>
                    <a:gd name="connsiteX0" fmla="*/ 4800 w 18330"/>
                    <a:gd name="connsiteY0" fmla="*/ 17292 h 18423"/>
                    <a:gd name="connsiteX1" fmla="*/ 1092 w 18330"/>
                    <a:gd name="connsiteY1" fmla="*/ 4792 h 18423"/>
                    <a:gd name="connsiteX2" fmla="*/ 13531 w 18330"/>
                    <a:gd name="connsiteY2" fmla="*/ 1144 h 18423"/>
                    <a:gd name="connsiteX3" fmla="*/ 17239 w 18330"/>
                    <a:gd name="connsiteY3" fmla="*/ 13644 h 18423"/>
                    <a:gd name="connsiteX4" fmla="*/ 4800 w 18330"/>
                    <a:gd name="connsiteY4" fmla="*/ 172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23">
                      <a:moveTo>
                        <a:pt x="4800" y="17292"/>
                      </a:moveTo>
                      <a:cubicBezTo>
                        <a:pt x="374" y="14840"/>
                        <a:pt x="-1301" y="9278"/>
                        <a:pt x="1092" y="4792"/>
                      </a:cubicBezTo>
                      <a:cubicBezTo>
                        <a:pt x="3484" y="307"/>
                        <a:pt x="9046" y="-1308"/>
                        <a:pt x="13531" y="1144"/>
                      </a:cubicBezTo>
                      <a:cubicBezTo>
                        <a:pt x="17957" y="3596"/>
                        <a:pt x="19632" y="9218"/>
                        <a:pt x="17239" y="13644"/>
                      </a:cubicBezTo>
                      <a:cubicBezTo>
                        <a:pt x="14788" y="18069"/>
                        <a:pt x="9225" y="19744"/>
                        <a:pt x="4800" y="17292"/>
                      </a:cubicBezTo>
                      <a:close/>
                    </a:path>
                  </a:pathLst>
                </a:custGeom>
                <a:grpFill/>
                <a:ln w="5978" cap="flat">
                  <a:noFill/>
                  <a:prstDash val="solid"/>
                  <a:miter/>
                </a:ln>
              </p:spPr>
              <p:txBody>
                <a:bodyPr rtlCol="0" anchor="ctr"/>
                <a:lstStyle/>
                <a:p>
                  <a:endParaRPr lang="en-GB"/>
                </a:p>
              </p:txBody>
            </p:sp>
            <p:sp>
              <p:nvSpPr>
                <p:cNvPr id="4439" name="Vrije vorm: vorm 4438">
                  <a:extLst>
                    <a:ext uri="{FF2B5EF4-FFF2-40B4-BE49-F238E27FC236}">
                      <a16:creationId xmlns:a16="http://schemas.microsoft.com/office/drawing/2014/main" id="{04872AB5-FCF5-4CFF-ABDC-02B1FE229C25}"/>
                    </a:ext>
                  </a:extLst>
                </p:cNvPr>
                <p:cNvSpPr/>
                <p:nvPr/>
              </p:nvSpPr>
              <p:spPr>
                <a:xfrm>
                  <a:off x="8171525" y="4451842"/>
                  <a:ext cx="18342" cy="18436"/>
                </a:xfrm>
                <a:custGeom>
                  <a:avLst/>
                  <a:gdLst>
                    <a:gd name="connsiteX0" fmla="*/ 4800 w 18342"/>
                    <a:gd name="connsiteY0" fmla="*/ 17292 h 18436"/>
                    <a:gd name="connsiteX1" fmla="*/ 17239 w 18342"/>
                    <a:gd name="connsiteY1" fmla="*/ 13644 h 18436"/>
                    <a:gd name="connsiteX2" fmla="*/ 13531 w 18342"/>
                    <a:gd name="connsiteY2" fmla="*/ 1144 h 18436"/>
                    <a:gd name="connsiteX3" fmla="*/ 1092 w 18342"/>
                    <a:gd name="connsiteY3" fmla="*/ 4792 h 18436"/>
                    <a:gd name="connsiteX4" fmla="*/ 4800 w 18342"/>
                    <a:gd name="connsiteY4" fmla="*/ 172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36">
                      <a:moveTo>
                        <a:pt x="4800" y="17292"/>
                      </a:moveTo>
                      <a:cubicBezTo>
                        <a:pt x="9225" y="19744"/>
                        <a:pt x="14787" y="18129"/>
                        <a:pt x="17239" y="13644"/>
                      </a:cubicBezTo>
                      <a:cubicBezTo>
                        <a:pt x="19632" y="9158"/>
                        <a:pt x="18017" y="3596"/>
                        <a:pt x="13531" y="1144"/>
                      </a:cubicBezTo>
                      <a:cubicBezTo>
                        <a:pt x="9106" y="-1308"/>
                        <a:pt x="3543" y="307"/>
                        <a:pt x="1092" y="4792"/>
                      </a:cubicBezTo>
                      <a:cubicBezTo>
                        <a:pt x="-1301" y="9278"/>
                        <a:pt x="374" y="14840"/>
                        <a:pt x="4800" y="17292"/>
                      </a:cubicBezTo>
                      <a:close/>
                    </a:path>
                  </a:pathLst>
                </a:custGeom>
                <a:grpFill/>
                <a:ln w="5978" cap="flat">
                  <a:noFill/>
                  <a:prstDash val="solid"/>
                  <a:miter/>
                </a:ln>
              </p:spPr>
              <p:txBody>
                <a:bodyPr rtlCol="0" anchor="ctr"/>
                <a:lstStyle/>
                <a:p>
                  <a:endParaRPr lang="en-GB"/>
                </a:p>
              </p:txBody>
            </p:sp>
          </p:grpSp>
          <p:grpSp>
            <p:nvGrpSpPr>
              <p:cNvPr id="315" name="Graphic 3">
                <a:extLst>
                  <a:ext uri="{FF2B5EF4-FFF2-40B4-BE49-F238E27FC236}">
                    <a16:creationId xmlns:a16="http://schemas.microsoft.com/office/drawing/2014/main" id="{BAF61CA9-CA20-4165-91A9-2822A43F8CDB}"/>
                  </a:ext>
                </a:extLst>
              </p:cNvPr>
              <p:cNvGrpSpPr/>
              <p:nvPr/>
            </p:nvGrpSpPr>
            <p:grpSpPr>
              <a:xfrm>
                <a:off x="7691716" y="4033799"/>
                <a:ext cx="221961" cy="95899"/>
                <a:chOff x="7691716" y="4033799"/>
                <a:chExt cx="221961" cy="95899"/>
              </a:xfrm>
              <a:grpFill/>
            </p:grpSpPr>
            <p:sp>
              <p:nvSpPr>
                <p:cNvPr id="4434" name="Vrije vorm: vorm 4433">
                  <a:extLst>
                    <a:ext uri="{FF2B5EF4-FFF2-40B4-BE49-F238E27FC236}">
                      <a16:creationId xmlns:a16="http://schemas.microsoft.com/office/drawing/2014/main" id="{990F6BFF-8004-4308-8035-51E74D314584}"/>
                    </a:ext>
                  </a:extLst>
                </p:cNvPr>
                <p:cNvSpPr/>
                <p:nvPr/>
              </p:nvSpPr>
              <p:spPr>
                <a:xfrm>
                  <a:off x="7699960" y="4041453"/>
                  <a:ext cx="205557" cy="80620"/>
                </a:xfrm>
                <a:custGeom>
                  <a:avLst/>
                  <a:gdLst>
                    <a:gd name="connsiteX0" fmla="*/ 205557 w 205557"/>
                    <a:gd name="connsiteY0" fmla="*/ 77749 h 80620"/>
                    <a:gd name="connsiteX1" fmla="*/ 204481 w 205557"/>
                    <a:gd name="connsiteY1" fmla="*/ 80620 h 80620"/>
                    <a:gd name="connsiteX2" fmla="*/ 0 w 205557"/>
                    <a:gd name="connsiteY2" fmla="*/ 2811 h 80620"/>
                    <a:gd name="connsiteX3" fmla="*/ 1017 w 205557"/>
                    <a:gd name="connsiteY3" fmla="*/ 0 h 80620"/>
                  </a:gdLst>
                  <a:ahLst/>
                  <a:cxnLst>
                    <a:cxn ang="0">
                      <a:pos x="connsiteX0" y="connsiteY0"/>
                    </a:cxn>
                    <a:cxn ang="0">
                      <a:pos x="connsiteX1" y="connsiteY1"/>
                    </a:cxn>
                    <a:cxn ang="0">
                      <a:pos x="connsiteX2" y="connsiteY2"/>
                    </a:cxn>
                    <a:cxn ang="0">
                      <a:pos x="connsiteX3" y="connsiteY3"/>
                    </a:cxn>
                  </a:cxnLst>
                  <a:rect l="l" t="t" r="r" b="b"/>
                  <a:pathLst>
                    <a:path w="205557" h="80620">
                      <a:moveTo>
                        <a:pt x="205557" y="77749"/>
                      </a:moveTo>
                      <a:lnTo>
                        <a:pt x="204481" y="80620"/>
                      </a:lnTo>
                      <a:lnTo>
                        <a:pt x="0" y="2811"/>
                      </a:lnTo>
                      <a:lnTo>
                        <a:pt x="1017" y="0"/>
                      </a:lnTo>
                      <a:close/>
                    </a:path>
                  </a:pathLst>
                </a:custGeom>
                <a:grpFill/>
                <a:ln w="5978" cap="flat">
                  <a:noFill/>
                  <a:prstDash val="solid"/>
                  <a:miter/>
                </a:ln>
              </p:spPr>
              <p:txBody>
                <a:bodyPr rtlCol="0" anchor="ctr"/>
                <a:lstStyle/>
                <a:p>
                  <a:endParaRPr lang="en-GB"/>
                </a:p>
              </p:txBody>
            </p:sp>
            <p:sp>
              <p:nvSpPr>
                <p:cNvPr id="4435" name="Vrije vorm: vorm 4434">
                  <a:extLst>
                    <a:ext uri="{FF2B5EF4-FFF2-40B4-BE49-F238E27FC236}">
                      <a16:creationId xmlns:a16="http://schemas.microsoft.com/office/drawing/2014/main" id="{BA301B6D-B5F2-4878-A1BF-DF093BCC5CA4}"/>
                    </a:ext>
                  </a:extLst>
                </p:cNvPr>
                <p:cNvSpPr/>
                <p:nvPr/>
              </p:nvSpPr>
              <p:spPr>
                <a:xfrm>
                  <a:off x="7895384" y="4111249"/>
                  <a:ext cx="18293" cy="18448"/>
                </a:xfrm>
                <a:custGeom>
                  <a:avLst/>
                  <a:gdLst>
                    <a:gd name="connsiteX0" fmla="*/ 12347 w 18293"/>
                    <a:gd name="connsiteY0" fmla="*/ 596 h 18448"/>
                    <a:gd name="connsiteX1" fmla="*/ 17729 w 18293"/>
                    <a:gd name="connsiteY1" fmla="*/ 12498 h 18448"/>
                    <a:gd name="connsiteX2" fmla="*/ 5948 w 18293"/>
                    <a:gd name="connsiteY2" fmla="*/ 17821 h 18448"/>
                    <a:gd name="connsiteX3" fmla="*/ 565 w 18293"/>
                    <a:gd name="connsiteY3" fmla="*/ 5919 h 18448"/>
                    <a:gd name="connsiteX4" fmla="*/ 12347 w 18293"/>
                    <a:gd name="connsiteY4" fmla="*/ 59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48">
                      <a:moveTo>
                        <a:pt x="12347" y="596"/>
                      </a:moveTo>
                      <a:cubicBezTo>
                        <a:pt x="17072" y="2391"/>
                        <a:pt x="19463" y="7713"/>
                        <a:pt x="17729" y="12498"/>
                      </a:cubicBezTo>
                      <a:cubicBezTo>
                        <a:pt x="15935" y="17282"/>
                        <a:pt x="10672" y="19675"/>
                        <a:pt x="5948" y="17821"/>
                      </a:cubicBezTo>
                      <a:cubicBezTo>
                        <a:pt x="1223" y="16027"/>
                        <a:pt x="-1170" y="10704"/>
                        <a:pt x="565" y="5919"/>
                      </a:cubicBezTo>
                      <a:cubicBezTo>
                        <a:pt x="2359" y="1194"/>
                        <a:pt x="7622" y="-1198"/>
                        <a:pt x="12347" y="596"/>
                      </a:cubicBezTo>
                      <a:close/>
                    </a:path>
                  </a:pathLst>
                </a:custGeom>
                <a:grpFill/>
                <a:ln w="5978" cap="flat">
                  <a:noFill/>
                  <a:prstDash val="solid"/>
                  <a:miter/>
                </a:ln>
              </p:spPr>
              <p:txBody>
                <a:bodyPr rtlCol="0" anchor="ctr"/>
                <a:lstStyle/>
                <a:p>
                  <a:endParaRPr lang="en-GB"/>
                </a:p>
              </p:txBody>
            </p:sp>
            <p:sp>
              <p:nvSpPr>
                <p:cNvPr id="4436" name="Vrije vorm: vorm 4435">
                  <a:extLst>
                    <a:ext uri="{FF2B5EF4-FFF2-40B4-BE49-F238E27FC236}">
                      <a16:creationId xmlns:a16="http://schemas.microsoft.com/office/drawing/2014/main" id="{882727DA-99F3-49EB-BDDC-541EF48F5749}"/>
                    </a:ext>
                  </a:extLst>
                </p:cNvPr>
                <p:cNvSpPr/>
                <p:nvPr/>
              </p:nvSpPr>
              <p:spPr>
                <a:xfrm>
                  <a:off x="7691716" y="4033799"/>
                  <a:ext cx="18349" cy="18417"/>
                </a:xfrm>
                <a:custGeom>
                  <a:avLst/>
                  <a:gdLst>
                    <a:gd name="connsiteX0" fmla="*/ 12370 w 18349"/>
                    <a:gd name="connsiteY0" fmla="*/ 596 h 18417"/>
                    <a:gd name="connsiteX1" fmla="*/ 589 w 18349"/>
                    <a:gd name="connsiteY1" fmla="*/ 5919 h 18417"/>
                    <a:gd name="connsiteX2" fmla="*/ 5971 w 18349"/>
                    <a:gd name="connsiteY2" fmla="*/ 17821 h 18417"/>
                    <a:gd name="connsiteX3" fmla="*/ 17753 w 18349"/>
                    <a:gd name="connsiteY3" fmla="*/ 12498 h 18417"/>
                    <a:gd name="connsiteX4" fmla="*/ 12370 w 18349"/>
                    <a:gd name="connsiteY4" fmla="*/ 596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7">
                      <a:moveTo>
                        <a:pt x="12370" y="596"/>
                      </a:moveTo>
                      <a:cubicBezTo>
                        <a:pt x="7646" y="-1198"/>
                        <a:pt x="2323" y="1195"/>
                        <a:pt x="589" y="5919"/>
                      </a:cubicBezTo>
                      <a:cubicBezTo>
                        <a:pt x="-1205" y="10704"/>
                        <a:pt x="1246" y="15967"/>
                        <a:pt x="5971" y="17821"/>
                      </a:cubicBezTo>
                      <a:cubicBezTo>
                        <a:pt x="10696" y="19615"/>
                        <a:pt x="16019" y="17223"/>
                        <a:pt x="17753" y="12498"/>
                      </a:cubicBezTo>
                      <a:cubicBezTo>
                        <a:pt x="19548" y="7713"/>
                        <a:pt x="17155" y="2390"/>
                        <a:pt x="12370" y="596"/>
                      </a:cubicBezTo>
                      <a:close/>
                    </a:path>
                  </a:pathLst>
                </a:custGeom>
                <a:grpFill/>
                <a:ln w="5978" cap="flat">
                  <a:noFill/>
                  <a:prstDash val="solid"/>
                  <a:miter/>
                </a:ln>
              </p:spPr>
              <p:txBody>
                <a:bodyPr rtlCol="0" anchor="ctr"/>
                <a:lstStyle/>
                <a:p>
                  <a:endParaRPr lang="en-GB"/>
                </a:p>
              </p:txBody>
            </p:sp>
          </p:grpSp>
          <p:grpSp>
            <p:nvGrpSpPr>
              <p:cNvPr id="316" name="Graphic 3">
                <a:extLst>
                  <a:ext uri="{FF2B5EF4-FFF2-40B4-BE49-F238E27FC236}">
                    <a16:creationId xmlns:a16="http://schemas.microsoft.com/office/drawing/2014/main" id="{CCF2E58A-506D-498B-979F-C0FF27D83501}"/>
                  </a:ext>
                </a:extLst>
              </p:cNvPr>
              <p:cNvGrpSpPr/>
              <p:nvPr/>
            </p:nvGrpSpPr>
            <p:grpSpPr>
              <a:xfrm>
                <a:off x="6896082" y="1617218"/>
                <a:ext cx="260556" cy="357905"/>
                <a:chOff x="6896082" y="1617218"/>
                <a:chExt cx="260556" cy="357905"/>
              </a:xfrm>
              <a:grpFill/>
            </p:grpSpPr>
            <p:sp>
              <p:nvSpPr>
                <p:cNvPr id="4431" name="Vrije vorm: vorm 4430">
                  <a:extLst>
                    <a:ext uri="{FF2B5EF4-FFF2-40B4-BE49-F238E27FC236}">
                      <a16:creationId xmlns:a16="http://schemas.microsoft.com/office/drawing/2014/main" id="{823FE561-4DA5-4B18-84C4-3A91618453A1}"/>
                    </a:ext>
                  </a:extLst>
                </p:cNvPr>
                <p:cNvSpPr/>
                <p:nvPr/>
              </p:nvSpPr>
              <p:spPr>
                <a:xfrm>
                  <a:off x="6903746" y="1625182"/>
                  <a:ext cx="245209" cy="341977"/>
                </a:xfrm>
                <a:custGeom>
                  <a:avLst/>
                  <a:gdLst>
                    <a:gd name="connsiteX0" fmla="*/ 245210 w 245209"/>
                    <a:gd name="connsiteY0" fmla="*/ 1794 h 341977"/>
                    <a:gd name="connsiteX1" fmla="*/ 2452 w 245209"/>
                    <a:gd name="connsiteY1" fmla="*/ 341978 h 341977"/>
                    <a:gd name="connsiteX2" fmla="*/ 0 w 245209"/>
                    <a:gd name="connsiteY2" fmla="*/ 340183 h 341977"/>
                    <a:gd name="connsiteX3" fmla="*/ 242757 w 245209"/>
                    <a:gd name="connsiteY3" fmla="*/ 0 h 341977"/>
                  </a:gdLst>
                  <a:ahLst/>
                  <a:cxnLst>
                    <a:cxn ang="0">
                      <a:pos x="connsiteX0" y="connsiteY0"/>
                    </a:cxn>
                    <a:cxn ang="0">
                      <a:pos x="connsiteX1" y="connsiteY1"/>
                    </a:cxn>
                    <a:cxn ang="0">
                      <a:pos x="connsiteX2" y="connsiteY2"/>
                    </a:cxn>
                    <a:cxn ang="0">
                      <a:pos x="connsiteX3" y="connsiteY3"/>
                    </a:cxn>
                  </a:cxnLst>
                  <a:rect l="l" t="t" r="r" b="b"/>
                  <a:pathLst>
                    <a:path w="245209" h="341977">
                      <a:moveTo>
                        <a:pt x="245210" y="1794"/>
                      </a:moveTo>
                      <a:lnTo>
                        <a:pt x="2452" y="341978"/>
                      </a:lnTo>
                      <a:lnTo>
                        <a:pt x="0" y="340183"/>
                      </a:lnTo>
                      <a:lnTo>
                        <a:pt x="242757" y="0"/>
                      </a:lnTo>
                      <a:close/>
                    </a:path>
                  </a:pathLst>
                </a:custGeom>
                <a:grpFill/>
                <a:ln w="5978" cap="flat">
                  <a:noFill/>
                  <a:prstDash val="solid"/>
                  <a:miter/>
                </a:ln>
              </p:spPr>
              <p:txBody>
                <a:bodyPr rtlCol="0" anchor="ctr"/>
                <a:lstStyle/>
                <a:p>
                  <a:endParaRPr lang="en-GB"/>
                </a:p>
              </p:txBody>
            </p:sp>
            <p:sp>
              <p:nvSpPr>
                <p:cNvPr id="4432" name="Vrije vorm: vorm 4431">
                  <a:extLst>
                    <a:ext uri="{FF2B5EF4-FFF2-40B4-BE49-F238E27FC236}">
                      <a16:creationId xmlns:a16="http://schemas.microsoft.com/office/drawing/2014/main" id="{CEC5E3F8-98D4-4041-8F1C-FA3BBB0D2BB1}"/>
                    </a:ext>
                  </a:extLst>
                </p:cNvPr>
                <p:cNvSpPr/>
                <p:nvPr/>
              </p:nvSpPr>
              <p:spPr>
                <a:xfrm>
                  <a:off x="6896082" y="1956683"/>
                  <a:ext cx="18336" cy="18439"/>
                </a:xfrm>
                <a:custGeom>
                  <a:avLst/>
                  <a:gdLst>
                    <a:gd name="connsiteX0" fmla="*/ 16636 w 18336"/>
                    <a:gd name="connsiteY0" fmla="*/ 14602 h 18439"/>
                    <a:gd name="connsiteX1" fmla="*/ 3837 w 18336"/>
                    <a:gd name="connsiteY1" fmla="*/ 16696 h 18439"/>
                    <a:gd name="connsiteX2" fmla="*/ 1744 w 18336"/>
                    <a:gd name="connsiteY2" fmla="*/ 3837 h 18439"/>
                    <a:gd name="connsiteX3" fmla="*/ 14543 w 18336"/>
                    <a:gd name="connsiteY3" fmla="*/ 1744 h 18439"/>
                    <a:gd name="connsiteX4" fmla="*/ 16636 w 18336"/>
                    <a:gd name="connsiteY4" fmla="*/ 14602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39">
                      <a:moveTo>
                        <a:pt x="16636" y="14602"/>
                      </a:moveTo>
                      <a:cubicBezTo>
                        <a:pt x="13705" y="18729"/>
                        <a:pt x="7964" y="19686"/>
                        <a:pt x="3837" y="16696"/>
                      </a:cubicBezTo>
                      <a:cubicBezTo>
                        <a:pt x="-289" y="13705"/>
                        <a:pt x="-1247" y="7964"/>
                        <a:pt x="1744" y="3837"/>
                      </a:cubicBezTo>
                      <a:cubicBezTo>
                        <a:pt x="4674" y="-290"/>
                        <a:pt x="10416" y="-1246"/>
                        <a:pt x="14543" y="1744"/>
                      </a:cubicBezTo>
                      <a:cubicBezTo>
                        <a:pt x="18609" y="4674"/>
                        <a:pt x="19566" y="10476"/>
                        <a:pt x="16636" y="14602"/>
                      </a:cubicBezTo>
                      <a:close/>
                    </a:path>
                  </a:pathLst>
                </a:custGeom>
                <a:grpFill/>
                <a:ln w="5978" cap="flat">
                  <a:noFill/>
                  <a:prstDash val="solid"/>
                  <a:miter/>
                </a:ln>
              </p:spPr>
              <p:txBody>
                <a:bodyPr rtlCol="0" anchor="ctr"/>
                <a:lstStyle/>
                <a:p>
                  <a:endParaRPr lang="en-GB"/>
                </a:p>
              </p:txBody>
            </p:sp>
            <p:sp>
              <p:nvSpPr>
                <p:cNvPr id="4433" name="Vrije vorm: vorm 4432">
                  <a:extLst>
                    <a:ext uri="{FF2B5EF4-FFF2-40B4-BE49-F238E27FC236}">
                      <a16:creationId xmlns:a16="http://schemas.microsoft.com/office/drawing/2014/main" id="{2C6C267C-BF67-4EBD-9A8D-EB714A5DDD17}"/>
                    </a:ext>
                  </a:extLst>
                </p:cNvPr>
                <p:cNvSpPr/>
                <p:nvPr/>
              </p:nvSpPr>
              <p:spPr>
                <a:xfrm>
                  <a:off x="7138344" y="1617218"/>
                  <a:ext cx="18293" cy="18439"/>
                </a:xfrm>
                <a:custGeom>
                  <a:avLst/>
                  <a:gdLst>
                    <a:gd name="connsiteX0" fmla="*/ 16593 w 18293"/>
                    <a:gd name="connsiteY0" fmla="*/ 14602 h 18439"/>
                    <a:gd name="connsiteX1" fmla="*/ 14500 w 18293"/>
                    <a:gd name="connsiteY1" fmla="*/ 1744 h 18439"/>
                    <a:gd name="connsiteX2" fmla="*/ 1701 w 18293"/>
                    <a:gd name="connsiteY2" fmla="*/ 3837 h 18439"/>
                    <a:gd name="connsiteX3" fmla="*/ 3794 w 18293"/>
                    <a:gd name="connsiteY3" fmla="*/ 16696 h 18439"/>
                    <a:gd name="connsiteX4" fmla="*/ 16593 w 18293"/>
                    <a:gd name="connsiteY4" fmla="*/ 14602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39">
                      <a:moveTo>
                        <a:pt x="16593" y="14602"/>
                      </a:moveTo>
                      <a:cubicBezTo>
                        <a:pt x="19523" y="10476"/>
                        <a:pt x="18566" y="4734"/>
                        <a:pt x="14500" y="1744"/>
                      </a:cubicBezTo>
                      <a:cubicBezTo>
                        <a:pt x="10373" y="-1246"/>
                        <a:pt x="4631" y="-290"/>
                        <a:pt x="1701" y="3837"/>
                      </a:cubicBezTo>
                      <a:cubicBezTo>
                        <a:pt x="-1230" y="7964"/>
                        <a:pt x="-272" y="13705"/>
                        <a:pt x="3794" y="16696"/>
                      </a:cubicBezTo>
                      <a:cubicBezTo>
                        <a:pt x="7921" y="19686"/>
                        <a:pt x="13662" y="18729"/>
                        <a:pt x="16593" y="14602"/>
                      </a:cubicBezTo>
                      <a:close/>
                    </a:path>
                  </a:pathLst>
                </a:custGeom>
                <a:grpFill/>
                <a:ln w="5978" cap="flat">
                  <a:noFill/>
                  <a:prstDash val="solid"/>
                  <a:miter/>
                </a:ln>
              </p:spPr>
              <p:txBody>
                <a:bodyPr rtlCol="0" anchor="ctr"/>
                <a:lstStyle/>
                <a:p>
                  <a:endParaRPr lang="en-GB"/>
                </a:p>
              </p:txBody>
            </p:sp>
          </p:grpSp>
          <p:grpSp>
            <p:nvGrpSpPr>
              <p:cNvPr id="317" name="Graphic 3">
                <a:extLst>
                  <a:ext uri="{FF2B5EF4-FFF2-40B4-BE49-F238E27FC236}">
                    <a16:creationId xmlns:a16="http://schemas.microsoft.com/office/drawing/2014/main" id="{710C9B0A-C72F-4D07-9748-521DD2F7842F}"/>
                  </a:ext>
                </a:extLst>
              </p:cNvPr>
              <p:cNvGrpSpPr/>
              <p:nvPr/>
            </p:nvGrpSpPr>
            <p:grpSpPr>
              <a:xfrm>
                <a:off x="6842762" y="1463019"/>
                <a:ext cx="310735" cy="478403"/>
                <a:chOff x="6842762" y="1463019"/>
                <a:chExt cx="310735" cy="478403"/>
              </a:xfrm>
              <a:grpFill/>
            </p:grpSpPr>
            <p:sp>
              <p:nvSpPr>
                <p:cNvPr id="4428" name="Vrije vorm: vorm 4427">
                  <a:extLst>
                    <a:ext uri="{FF2B5EF4-FFF2-40B4-BE49-F238E27FC236}">
                      <a16:creationId xmlns:a16="http://schemas.microsoft.com/office/drawing/2014/main" id="{400E0DEE-55D2-48D4-9D15-ABD7B25B2741}"/>
                    </a:ext>
                  </a:extLst>
                </p:cNvPr>
                <p:cNvSpPr/>
                <p:nvPr/>
              </p:nvSpPr>
              <p:spPr>
                <a:xfrm>
                  <a:off x="6850398" y="1470999"/>
                  <a:ext cx="295507" cy="462429"/>
                </a:xfrm>
                <a:custGeom>
                  <a:avLst/>
                  <a:gdLst>
                    <a:gd name="connsiteX0" fmla="*/ 295508 w 295507"/>
                    <a:gd name="connsiteY0" fmla="*/ 1675 h 462429"/>
                    <a:gd name="connsiteX1" fmla="*/ 2572 w 295507"/>
                    <a:gd name="connsiteY1" fmla="*/ 462429 h 462429"/>
                    <a:gd name="connsiteX2" fmla="*/ 0 w 295507"/>
                    <a:gd name="connsiteY2" fmla="*/ 460815 h 462429"/>
                    <a:gd name="connsiteX3" fmla="*/ 292936 w 295507"/>
                    <a:gd name="connsiteY3" fmla="*/ 0 h 462429"/>
                  </a:gdLst>
                  <a:ahLst/>
                  <a:cxnLst>
                    <a:cxn ang="0">
                      <a:pos x="connsiteX0" y="connsiteY0"/>
                    </a:cxn>
                    <a:cxn ang="0">
                      <a:pos x="connsiteX1" y="connsiteY1"/>
                    </a:cxn>
                    <a:cxn ang="0">
                      <a:pos x="connsiteX2" y="connsiteY2"/>
                    </a:cxn>
                    <a:cxn ang="0">
                      <a:pos x="connsiteX3" y="connsiteY3"/>
                    </a:cxn>
                  </a:cxnLst>
                  <a:rect l="l" t="t" r="r" b="b"/>
                  <a:pathLst>
                    <a:path w="295507" h="462429">
                      <a:moveTo>
                        <a:pt x="295508" y="1675"/>
                      </a:moveTo>
                      <a:lnTo>
                        <a:pt x="2572" y="462429"/>
                      </a:lnTo>
                      <a:lnTo>
                        <a:pt x="0" y="460815"/>
                      </a:lnTo>
                      <a:lnTo>
                        <a:pt x="292936" y="0"/>
                      </a:lnTo>
                      <a:close/>
                    </a:path>
                  </a:pathLst>
                </a:custGeom>
                <a:grpFill/>
                <a:ln w="5978" cap="flat">
                  <a:noFill/>
                  <a:prstDash val="solid"/>
                  <a:miter/>
                </a:ln>
              </p:spPr>
              <p:txBody>
                <a:bodyPr rtlCol="0" anchor="ctr"/>
                <a:lstStyle/>
                <a:p>
                  <a:endParaRPr lang="en-GB"/>
                </a:p>
              </p:txBody>
            </p:sp>
            <p:sp>
              <p:nvSpPr>
                <p:cNvPr id="4429" name="Vrije vorm: vorm 4428">
                  <a:extLst>
                    <a:ext uri="{FF2B5EF4-FFF2-40B4-BE49-F238E27FC236}">
                      <a16:creationId xmlns:a16="http://schemas.microsoft.com/office/drawing/2014/main" id="{7F8BE23E-4DCB-4748-BD91-9F9132C86EA4}"/>
                    </a:ext>
                  </a:extLst>
                </p:cNvPr>
                <p:cNvSpPr/>
                <p:nvPr/>
              </p:nvSpPr>
              <p:spPr>
                <a:xfrm>
                  <a:off x="6842762" y="1922981"/>
                  <a:ext cx="18323" cy="18441"/>
                </a:xfrm>
                <a:custGeom>
                  <a:avLst/>
                  <a:gdLst>
                    <a:gd name="connsiteX0" fmla="*/ 16907 w 18323"/>
                    <a:gd name="connsiteY0" fmla="*/ 14215 h 18441"/>
                    <a:gd name="connsiteX1" fmla="*/ 4228 w 18323"/>
                    <a:gd name="connsiteY1" fmla="*/ 16966 h 18441"/>
                    <a:gd name="connsiteX2" fmla="*/ 1417 w 18323"/>
                    <a:gd name="connsiteY2" fmla="*/ 4227 h 18441"/>
                    <a:gd name="connsiteX3" fmla="*/ 14096 w 18323"/>
                    <a:gd name="connsiteY3" fmla="*/ 1476 h 18441"/>
                    <a:gd name="connsiteX4" fmla="*/ 16907 w 18323"/>
                    <a:gd name="connsiteY4" fmla="*/ 1421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1">
                      <a:moveTo>
                        <a:pt x="16907" y="14215"/>
                      </a:moveTo>
                      <a:cubicBezTo>
                        <a:pt x="14216" y="18521"/>
                        <a:pt x="8534" y="19717"/>
                        <a:pt x="4228" y="16966"/>
                      </a:cubicBezTo>
                      <a:cubicBezTo>
                        <a:pt x="-18" y="14215"/>
                        <a:pt x="-1275" y="8533"/>
                        <a:pt x="1417" y="4227"/>
                      </a:cubicBezTo>
                      <a:cubicBezTo>
                        <a:pt x="4108" y="-79"/>
                        <a:pt x="9789" y="-1275"/>
                        <a:pt x="14096" y="1476"/>
                      </a:cubicBezTo>
                      <a:cubicBezTo>
                        <a:pt x="18342" y="4227"/>
                        <a:pt x="19598" y="9968"/>
                        <a:pt x="16907" y="14215"/>
                      </a:cubicBezTo>
                      <a:close/>
                    </a:path>
                  </a:pathLst>
                </a:custGeom>
                <a:grpFill/>
                <a:ln w="5978" cap="flat">
                  <a:noFill/>
                  <a:prstDash val="solid"/>
                  <a:miter/>
                </a:ln>
              </p:spPr>
              <p:txBody>
                <a:bodyPr rtlCol="0" anchor="ctr"/>
                <a:lstStyle/>
                <a:p>
                  <a:endParaRPr lang="en-GB"/>
                </a:p>
              </p:txBody>
            </p:sp>
            <p:sp>
              <p:nvSpPr>
                <p:cNvPr id="4430" name="Vrije vorm: vorm 4429">
                  <a:extLst>
                    <a:ext uri="{FF2B5EF4-FFF2-40B4-BE49-F238E27FC236}">
                      <a16:creationId xmlns:a16="http://schemas.microsoft.com/office/drawing/2014/main" id="{42787296-37B5-46BA-A866-A83CD1EAE9BD}"/>
                    </a:ext>
                  </a:extLst>
                </p:cNvPr>
                <p:cNvSpPr/>
                <p:nvPr/>
              </p:nvSpPr>
              <p:spPr>
                <a:xfrm>
                  <a:off x="7135159" y="1463019"/>
                  <a:ext cx="18338" cy="18411"/>
                </a:xfrm>
                <a:custGeom>
                  <a:avLst/>
                  <a:gdLst>
                    <a:gd name="connsiteX0" fmla="*/ 16907 w 18338"/>
                    <a:gd name="connsiteY0" fmla="*/ 14200 h 18411"/>
                    <a:gd name="connsiteX1" fmla="*/ 14096 w 18338"/>
                    <a:gd name="connsiteY1" fmla="*/ 1461 h 18411"/>
                    <a:gd name="connsiteX2" fmla="*/ 1417 w 18338"/>
                    <a:gd name="connsiteY2" fmla="*/ 4212 h 18411"/>
                    <a:gd name="connsiteX3" fmla="*/ 4228 w 18338"/>
                    <a:gd name="connsiteY3" fmla="*/ 16951 h 18411"/>
                    <a:gd name="connsiteX4" fmla="*/ 16907 w 18338"/>
                    <a:gd name="connsiteY4" fmla="*/ 1420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1">
                      <a:moveTo>
                        <a:pt x="16907" y="14200"/>
                      </a:moveTo>
                      <a:cubicBezTo>
                        <a:pt x="19598" y="9893"/>
                        <a:pt x="18402" y="4212"/>
                        <a:pt x="14096" y="1461"/>
                      </a:cubicBezTo>
                      <a:cubicBezTo>
                        <a:pt x="9849" y="-1290"/>
                        <a:pt x="4168" y="-34"/>
                        <a:pt x="1417" y="4212"/>
                      </a:cubicBezTo>
                      <a:cubicBezTo>
                        <a:pt x="-1275" y="8518"/>
                        <a:pt x="-19" y="14200"/>
                        <a:pt x="4228" y="16951"/>
                      </a:cubicBezTo>
                      <a:cubicBezTo>
                        <a:pt x="8474" y="19702"/>
                        <a:pt x="14215" y="18446"/>
                        <a:pt x="16907" y="14200"/>
                      </a:cubicBezTo>
                      <a:close/>
                    </a:path>
                  </a:pathLst>
                </a:custGeom>
                <a:grpFill/>
                <a:ln w="5978" cap="flat">
                  <a:noFill/>
                  <a:prstDash val="solid"/>
                  <a:miter/>
                </a:ln>
              </p:spPr>
              <p:txBody>
                <a:bodyPr rtlCol="0" anchor="ctr"/>
                <a:lstStyle/>
                <a:p>
                  <a:endParaRPr lang="en-GB"/>
                </a:p>
              </p:txBody>
            </p:sp>
          </p:grpSp>
          <p:grpSp>
            <p:nvGrpSpPr>
              <p:cNvPr id="318" name="Graphic 3">
                <a:extLst>
                  <a:ext uri="{FF2B5EF4-FFF2-40B4-BE49-F238E27FC236}">
                    <a16:creationId xmlns:a16="http://schemas.microsoft.com/office/drawing/2014/main" id="{03CFB0DF-10A8-45C2-83CD-3A2A866770D9}"/>
                  </a:ext>
                </a:extLst>
              </p:cNvPr>
              <p:cNvGrpSpPr/>
              <p:nvPr/>
            </p:nvGrpSpPr>
            <p:grpSpPr>
              <a:xfrm>
                <a:off x="7078484" y="2020919"/>
                <a:ext cx="62536" cy="75406"/>
                <a:chOff x="7078484" y="2020919"/>
                <a:chExt cx="62536" cy="75406"/>
              </a:xfrm>
              <a:grpFill/>
            </p:grpSpPr>
            <p:sp>
              <p:nvSpPr>
                <p:cNvPr id="4425" name="Vrije vorm: vorm 4424">
                  <a:extLst>
                    <a:ext uri="{FF2B5EF4-FFF2-40B4-BE49-F238E27FC236}">
                      <a16:creationId xmlns:a16="http://schemas.microsoft.com/office/drawing/2014/main" id="{669E29B4-04E0-4398-9002-604F7DBC2E8B}"/>
                    </a:ext>
                  </a:extLst>
                </p:cNvPr>
                <p:cNvSpPr/>
                <p:nvPr/>
              </p:nvSpPr>
              <p:spPr>
                <a:xfrm>
                  <a:off x="7086158" y="2028820"/>
                  <a:ext cx="47187" cy="59627"/>
                </a:xfrm>
                <a:custGeom>
                  <a:avLst/>
                  <a:gdLst>
                    <a:gd name="connsiteX0" fmla="*/ 47188 w 47187"/>
                    <a:gd name="connsiteY0" fmla="*/ 1914 h 59627"/>
                    <a:gd name="connsiteX1" fmla="*/ 2392 w 47187"/>
                    <a:gd name="connsiteY1" fmla="*/ 59628 h 59627"/>
                    <a:gd name="connsiteX2" fmla="*/ 0 w 47187"/>
                    <a:gd name="connsiteY2" fmla="*/ 57714 h 59627"/>
                    <a:gd name="connsiteX3" fmla="*/ 44796 w 47187"/>
                    <a:gd name="connsiteY3" fmla="*/ 0 h 59627"/>
                  </a:gdLst>
                  <a:ahLst/>
                  <a:cxnLst>
                    <a:cxn ang="0">
                      <a:pos x="connsiteX0" y="connsiteY0"/>
                    </a:cxn>
                    <a:cxn ang="0">
                      <a:pos x="connsiteX1" y="connsiteY1"/>
                    </a:cxn>
                    <a:cxn ang="0">
                      <a:pos x="connsiteX2" y="connsiteY2"/>
                    </a:cxn>
                    <a:cxn ang="0">
                      <a:pos x="connsiteX3" y="connsiteY3"/>
                    </a:cxn>
                  </a:cxnLst>
                  <a:rect l="l" t="t" r="r" b="b"/>
                  <a:pathLst>
                    <a:path w="47187" h="59627">
                      <a:moveTo>
                        <a:pt x="47188" y="1914"/>
                      </a:moveTo>
                      <a:lnTo>
                        <a:pt x="2392" y="59628"/>
                      </a:lnTo>
                      <a:lnTo>
                        <a:pt x="0" y="57714"/>
                      </a:lnTo>
                      <a:lnTo>
                        <a:pt x="44796" y="0"/>
                      </a:lnTo>
                      <a:close/>
                    </a:path>
                  </a:pathLst>
                </a:custGeom>
                <a:grpFill/>
                <a:ln w="5978" cap="flat">
                  <a:noFill/>
                  <a:prstDash val="solid"/>
                  <a:miter/>
                </a:ln>
              </p:spPr>
              <p:txBody>
                <a:bodyPr rtlCol="0" anchor="ctr"/>
                <a:lstStyle/>
                <a:p>
                  <a:endParaRPr lang="en-GB"/>
                </a:p>
              </p:txBody>
            </p:sp>
            <p:sp>
              <p:nvSpPr>
                <p:cNvPr id="4426" name="Vrije vorm: vorm 4425">
                  <a:extLst>
                    <a:ext uri="{FF2B5EF4-FFF2-40B4-BE49-F238E27FC236}">
                      <a16:creationId xmlns:a16="http://schemas.microsoft.com/office/drawing/2014/main" id="{329FCDF0-B686-4504-854C-D416A092C807}"/>
                    </a:ext>
                  </a:extLst>
                </p:cNvPr>
                <p:cNvSpPr/>
                <p:nvPr/>
              </p:nvSpPr>
              <p:spPr>
                <a:xfrm>
                  <a:off x="7122682" y="2020919"/>
                  <a:ext cx="18338" cy="18435"/>
                </a:xfrm>
                <a:custGeom>
                  <a:avLst/>
                  <a:gdLst>
                    <a:gd name="connsiteX0" fmla="*/ 1933 w 18338"/>
                    <a:gd name="connsiteY0" fmla="*/ 3536 h 18435"/>
                    <a:gd name="connsiteX1" fmla="*/ 14791 w 18338"/>
                    <a:gd name="connsiteY1" fmla="*/ 1981 h 18435"/>
                    <a:gd name="connsiteX2" fmla="*/ 16406 w 18338"/>
                    <a:gd name="connsiteY2" fmla="*/ 14899 h 18435"/>
                    <a:gd name="connsiteX3" fmla="*/ 3547 w 18338"/>
                    <a:gd name="connsiteY3" fmla="*/ 16454 h 18435"/>
                    <a:gd name="connsiteX4" fmla="*/ 1933 w 18338"/>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5">
                      <a:moveTo>
                        <a:pt x="1933" y="3536"/>
                      </a:moveTo>
                      <a:cubicBezTo>
                        <a:pt x="5042" y="-471"/>
                        <a:pt x="10784" y="-1189"/>
                        <a:pt x="14791" y="1981"/>
                      </a:cubicBezTo>
                      <a:cubicBezTo>
                        <a:pt x="18798" y="5091"/>
                        <a:pt x="19516" y="10892"/>
                        <a:pt x="16406" y="14899"/>
                      </a:cubicBezTo>
                      <a:cubicBezTo>
                        <a:pt x="13296" y="18906"/>
                        <a:pt x="7555" y="19624"/>
                        <a:pt x="3547" y="16454"/>
                      </a:cubicBezTo>
                      <a:cubicBezTo>
                        <a:pt x="-459" y="13344"/>
                        <a:pt x="-1177" y="7543"/>
                        <a:pt x="1933" y="3536"/>
                      </a:cubicBezTo>
                      <a:close/>
                    </a:path>
                  </a:pathLst>
                </a:custGeom>
                <a:grpFill/>
                <a:ln w="5978" cap="flat">
                  <a:noFill/>
                  <a:prstDash val="solid"/>
                  <a:miter/>
                </a:ln>
              </p:spPr>
              <p:txBody>
                <a:bodyPr rtlCol="0" anchor="ctr"/>
                <a:lstStyle/>
                <a:p>
                  <a:endParaRPr lang="en-GB"/>
                </a:p>
              </p:txBody>
            </p:sp>
            <p:sp>
              <p:nvSpPr>
                <p:cNvPr id="4427" name="Vrije vorm: vorm 4426">
                  <a:extLst>
                    <a:ext uri="{FF2B5EF4-FFF2-40B4-BE49-F238E27FC236}">
                      <a16:creationId xmlns:a16="http://schemas.microsoft.com/office/drawing/2014/main" id="{7093A246-C704-4E77-B0CC-9F729F4204E1}"/>
                    </a:ext>
                  </a:extLst>
                </p:cNvPr>
                <p:cNvSpPr/>
                <p:nvPr/>
              </p:nvSpPr>
              <p:spPr>
                <a:xfrm>
                  <a:off x="7078484" y="2077915"/>
                  <a:ext cx="18338" cy="18410"/>
                </a:xfrm>
                <a:custGeom>
                  <a:avLst/>
                  <a:gdLst>
                    <a:gd name="connsiteX0" fmla="*/ 1933 w 18338"/>
                    <a:gd name="connsiteY0" fmla="*/ 3536 h 18410"/>
                    <a:gd name="connsiteX1" fmla="*/ 3547 w 18338"/>
                    <a:gd name="connsiteY1" fmla="*/ 16454 h 18410"/>
                    <a:gd name="connsiteX2" fmla="*/ 16406 w 18338"/>
                    <a:gd name="connsiteY2" fmla="*/ 14899 h 18410"/>
                    <a:gd name="connsiteX3" fmla="*/ 14791 w 18338"/>
                    <a:gd name="connsiteY3" fmla="*/ 1981 h 18410"/>
                    <a:gd name="connsiteX4" fmla="*/ 1933 w 18338"/>
                    <a:gd name="connsiteY4" fmla="*/ 353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0">
                      <a:moveTo>
                        <a:pt x="1933" y="3536"/>
                      </a:moveTo>
                      <a:cubicBezTo>
                        <a:pt x="-1177" y="7543"/>
                        <a:pt x="-459" y="13344"/>
                        <a:pt x="3547" y="16454"/>
                      </a:cubicBezTo>
                      <a:cubicBezTo>
                        <a:pt x="7555" y="19564"/>
                        <a:pt x="13296" y="18906"/>
                        <a:pt x="16406" y="14899"/>
                      </a:cubicBezTo>
                      <a:cubicBezTo>
                        <a:pt x="19516" y="10892"/>
                        <a:pt x="18798" y="5091"/>
                        <a:pt x="14791" y="1981"/>
                      </a:cubicBezTo>
                      <a:cubicBezTo>
                        <a:pt x="10784" y="-1189"/>
                        <a:pt x="5042" y="-471"/>
                        <a:pt x="1933" y="3536"/>
                      </a:cubicBezTo>
                      <a:close/>
                    </a:path>
                  </a:pathLst>
                </a:custGeom>
                <a:grpFill/>
                <a:ln w="5978" cap="flat">
                  <a:noFill/>
                  <a:prstDash val="solid"/>
                  <a:miter/>
                </a:ln>
              </p:spPr>
              <p:txBody>
                <a:bodyPr rtlCol="0" anchor="ctr"/>
                <a:lstStyle/>
                <a:p>
                  <a:endParaRPr lang="en-GB"/>
                </a:p>
              </p:txBody>
            </p:sp>
          </p:grpSp>
          <p:grpSp>
            <p:nvGrpSpPr>
              <p:cNvPr id="319" name="Graphic 3">
                <a:extLst>
                  <a:ext uri="{FF2B5EF4-FFF2-40B4-BE49-F238E27FC236}">
                    <a16:creationId xmlns:a16="http://schemas.microsoft.com/office/drawing/2014/main" id="{2C9CFA3B-4EE7-404C-8BD5-988A94986C22}"/>
                  </a:ext>
                </a:extLst>
              </p:cNvPr>
              <p:cNvGrpSpPr/>
              <p:nvPr/>
            </p:nvGrpSpPr>
            <p:grpSpPr>
              <a:xfrm>
                <a:off x="7103623" y="2051858"/>
                <a:ext cx="54661" cy="63431"/>
                <a:chOff x="7103623" y="2051858"/>
                <a:chExt cx="54661" cy="63431"/>
              </a:xfrm>
              <a:grpFill/>
            </p:grpSpPr>
            <p:sp>
              <p:nvSpPr>
                <p:cNvPr id="4422" name="Vrije vorm: vorm 4421">
                  <a:extLst>
                    <a:ext uri="{FF2B5EF4-FFF2-40B4-BE49-F238E27FC236}">
                      <a16:creationId xmlns:a16="http://schemas.microsoft.com/office/drawing/2014/main" id="{9935CA86-E1D0-472C-B041-0FBB10DB60BA}"/>
                    </a:ext>
                  </a:extLst>
                </p:cNvPr>
                <p:cNvSpPr/>
                <p:nvPr/>
              </p:nvSpPr>
              <p:spPr>
                <a:xfrm>
                  <a:off x="7111337" y="2059741"/>
                  <a:ext cx="39233" cy="47666"/>
                </a:xfrm>
                <a:custGeom>
                  <a:avLst/>
                  <a:gdLst>
                    <a:gd name="connsiteX0" fmla="*/ 39234 w 39233"/>
                    <a:gd name="connsiteY0" fmla="*/ 1914 h 47666"/>
                    <a:gd name="connsiteX1" fmla="*/ 2333 w 39233"/>
                    <a:gd name="connsiteY1" fmla="*/ 47666 h 47666"/>
                    <a:gd name="connsiteX2" fmla="*/ 0 w 39233"/>
                    <a:gd name="connsiteY2" fmla="*/ 45693 h 47666"/>
                    <a:gd name="connsiteX3" fmla="*/ 36901 w 39233"/>
                    <a:gd name="connsiteY3" fmla="*/ 0 h 47666"/>
                  </a:gdLst>
                  <a:ahLst/>
                  <a:cxnLst>
                    <a:cxn ang="0">
                      <a:pos x="connsiteX0" y="connsiteY0"/>
                    </a:cxn>
                    <a:cxn ang="0">
                      <a:pos x="connsiteX1" y="connsiteY1"/>
                    </a:cxn>
                    <a:cxn ang="0">
                      <a:pos x="connsiteX2" y="connsiteY2"/>
                    </a:cxn>
                    <a:cxn ang="0">
                      <a:pos x="connsiteX3" y="connsiteY3"/>
                    </a:cxn>
                  </a:cxnLst>
                  <a:rect l="l" t="t" r="r" b="b"/>
                  <a:pathLst>
                    <a:path w="39233" h="47666">
                      <a:moveTo>
                        <a:pt x="39234" y="1914"/>
                      </a:moveTo>
                      <a:lnTo>
                        <a:pt x="2333" y="47666"/>
                      </a:lnTo>
                      <a:lnTo>
                        <a:pt x="0" y="45693"/>
                      </a:lnTo>
                      <a:lnTo>
                        <a:pt x="36901" y="0"/>
                      </a:lnTo>
                      <a:close/>
                    </a:path>
                  </a:pathLst>
                </a:custGeom>
                <a:grpFill/>
                <a:ln w="5978" cap="flat">
                  <a:noFill/>
                  <a:prstDash val="solid"/>
                  <a:miter/>
                </a:ln>
              </p:spPr>
              <p:txBody>
                <a:bodyPr rtlCol="0" anchor="ctr"/>
                <a:lstStyle/>
                <a:p>
                  <a:endParaRPr lang="en-GB"/>
                </a:p>
              </p:txBody>
            </p:sp>
            <p:sp>
              <p:nvSpPr>
                <p:cNvPr id="4423" name="Vrije vorm: vorm 4422">
                  <a:extLst>
                    <a:ext uri="{FF2B5EF4-FFF2-40B4-BE49-F238E27FC236}">
                      <a16:creationId xmlns:a16="http://schemas.microsoft.com/office/drawing/2014/main" id="{56FC7D40-574D-439E-B4E7-05D318679621}"/>
                    </a:ext>
                  </a:extLst>
                </p:cNvPr>
                <p:cNvSpPr/>
                <p:nvPr/>
              </p:nvSpPr>
              <p:spPr>
                <a:xfrm>
                  <a:off x="7139961" y="2051858"/>
                  <a:ext cx="18323" cy="18456"/>
                </a:xfrm>
                <a:custGeom>
                  <a:avLst/>
                  <a:gdLst>
                    <a:gd name="connsiteX0" fmla="*/ 2057 w 18323"/>
                    <a:gd name="connsiteY0" fmla="*/ 3397 h 18456"/>
                    <a:gd name="connsiteX1" fmla="*/ 14916 w 18323"/>
                    <a:gd name="connsiteY1" fmla="*/ 2081 h 18456"/>
                    <a:gd name="connsiteX2" fmla="*/ 16291 w 18323"/>
                    <a:gd name="connsiteY2" fmla="*/ 15059 h 18456"/>
                    <a:gd name="connsiteX3" fmla="*/ 3432 w 18323"/>
                    <a:gd name="connsiteY3" fmla="*/ 16375 h 18456"/>
                    <a:gd name="connsiteX4" fmla="*/ 2057 w 18323"/>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56">
                      <a:moveTo>
                        <a:pt x="2057" y="3397"/>
                      </a:moveTo>
                      <a:cubicBezTo>
                        <a:pt x="5227" y="-550"/>
                        <a:pt x="11028" y="-1148"/>
                        <a:pt x="14916" y="2081"/>
                      </a:cubicBezTo>
                      <a:cubicBezTo>
                        <a:pt x="18863" y="5311"/>
                        <a:pt x="19461" y="11112"/>
                        <a:pt x="16291" y="15059"/>
                      </a:cubicBezTo>
                      <a:cubicBezTo>
                        <a:pt x="13121" y="19007"/>
                        <a:pt x="7320" y="19605"/>
                        <a:pt x="3432" y="16375"/>
                      </a:cubicBezTo>
                      <a:cubicBezTo>
                        <a:pt x="-514" y="13146"/>
                        <a:pt x="-1172" y="7284"/>
                        <a:pt x="2057" y="3397"/>
                      </a:cubicBezTo>
                      <a:close/>
                    </a:path>
                  </a:pathLst>
                </a:custGeom>
                <a:grpFill/>
                <a:ln w="5978" cap="flat">
                  <a:noFill/>
                  <a:prstDash val="solid"/>
                  <a:miter/>
                </a:ln>
              </p:spPr>
              <p:txBody>
                <a:bodyPr rtlCol="0" anchor="ctr"/>
                <a:lstStyle/>
                <a:p>
                  <a:endParaRPr lang="en-GB"/>
                </a:p>
              </p:txBody>
            </p:sp>
            <p:sp>
              <p:nvSpPr>
                <p:cNvPr id="4424" name="Vrije vorm: vorm 4423">
                  <a:extLst>
                    <a:ext uri="{FF2B5EF4-FFF2-40B4-BE49-F238E27FC236}">
                      <a16:creationId xmlns:a16="http://schemas.microsoft.com/office/drawing/2014/main" id="{CB5D6635-152F-4548-BC19-40642C6DA1B2}"/>
                    </a:ext>
                  </a:extLst>
                </p:cNvPr>
                <p:cNvSpPr/>
                <p:nvPr/>
              </p:nvSpPr>
              <p:spPr>
                <a:xfrm>
                  <a:off x="7103623" y="2096858"/>
                  <a:ext cx="18298" cy="18431"/>
                </a:xfrm>
                <a:custGeom>
                  <a:avLst/>
                  <a:gdLst>
                    <a:gd name="connsiteX0" fmla="*/ 2032 w 18298"/>
                    <a:gd name="connsiteY0" fmla="*/ 3372 h 18431"/>
                    <a:gd name="connsiteX1" fmla="*/ 3408 w 18298"/>
                    <a:gd name="connsiteY1" fmla="*/ 16350 h 18431"/>
                    <a:gd name="connsiteX2" fmla="*/ 16267 w 18298"/>
                    <a:gd name="connsiteY2" fmla="*/ 15034 h 18431"/>
                    <a:gd name="connsiteX3" fmla="*/ 14891 w 18298"/>
                    <a:gd name="connsiteY3" fmla="*/ 2056 h 18431"/>
                    <a:gd name="connsiteX4" fmla="*/ 2032 w 18298"/>
                    <a:gd name="connsiteY4" fmla="*/ 337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1">
                      <a:moveTo>
                        <a:pt x="2032" y="3372"/>
                      </a:moveTo>
                      <a:cubicBezTo>
                        <a:pt x="-1137" y="7319"/>
                        <a:pt x="-540" y="13120"/>
                        <a:pt x="3408" y="16350"/>
                      </a:cubicBezTo>
                      <a:cubicBezTo>
                        <a:pt x="7355" y="19580"/>
                        <a:pt x="13097" y="18982"/>
                        <a:pt x="16267" y="15034"/>
                      </a:cubicBezTo>
                      <a:cubicBezTo>
                        <a:pt x="19437" y="11087"/>
                        <a:pt x="18838" y="5286"/>
                        <a:pt x="14891" y="2056"/>
                      </a:cubicBezTo>
                      <a:cubicBezTo>
                        <a:pt x="11004" y="-1114"/>
                        <a:pt x="5202" y="-575"/>
                        <a:pt x="2032" y="3372"/>
                      </a:cubicBezTo>
                      <a:close/>
                    </a:path>
                  </a:pathLst>
                </a:custGeom>
                <a:grpFill/>
                <a:ln w="5978" cap="flat">
                  <a:noFill/>
                  <a:prstDash val="solid"/>
                  <a:miter/>
                </a:ln>
              </p:spPr>
              <p:txBody>
                <a:bodyPr rtlCol="0" anchor="ctr"/>
                <a:lstStyle/>
                <a:p>
                  <a:endParaRPr lang="en-GB"/>
                </a:p>
              </p:txBody>
            </p:sp>
          </p:grpSp>
          <p:grpSp>
            <p:nvGrpSpPr>
              <p:cNvPr id="320" name="Graphic 3">
                <a:extLst>
                  <a:ext uri="{FF2B5EF4-FFF2-40B4-BE49-F238E27FC236}">
                    <a16:creationId xmlns:a16="http://schemas.microsoft.com/office/drawing/2014/main" id="{4A0B897F-607A-4369-9464-53EB80EC2159}"/>
                  </a:ext>
                </a:extLst>
              </p:cNvPr>
              <p:cNvGrpSpPr/>
              <p:nvPr/>
            </p:nvGrpSpPr>
            <p:grpSpPr>
              <a:xfrm>
                <a:off x="7676109" y="4062911"/>
                <a:ext cx="254992" cy="113573"/>
                <a:chOff x="7676109" y="4062911"/>
                <a:chExt cx="254992" cy="113573"/>
              </a:xfrm>
              <a:grpFill/>
            </p:grpSpPr>
            <p:sp>
              <p:nvSpPr>
                <p:cNvPr id="4419" name="Vrije vorm: vorm 4418">
                  <a:extLst>
                    <a:ext uri="{FF2B5EF4-FFF2-40B4-BE49-F238E27FC236}">
                      <a16:creationId xmlns:a16="http://schemas.microsoft.com/office/drawing/2014/main" id="{F57A5ECD-791F-4469-8D22-4A37F10770B8}"/>
                    </a:ext>
                  </a:extLst>
                </p:cNvPr>
                <p:cNvSpPr/>
                <p:nvPr/>
              </p:nvSpPr>
              <p:spPr>
                <a:xfrm>
                  <a:off x="7684290" y="4070579"/>
                  <a:ext cx="238630" cy="98263"/>
                </a:xfrm>
                <a:custGeom>
                  <a:avLst/>
                  <a:gdLst>
                    <a:gd name="connsiteX0" fmla="*/ 238631 w 238630"/>
                    <a:gd name="connsiteY0" fmla="*/ 95452 h 98263"/>
                    <a:gd name="connsiteX1" fmla="*/ 237494 w 238630"/>
                    <a:gd name="connsiteY1" fmla="*/ 98264 h 98263"/>
                    <a:gd name="connsiteX2" fmla="*/ 0 w 238630"/>
                    <a:gd name="connsiteY2" fmla="*/ 2811 h 98263"/>
                    <a:gd name="connsiteX3" fmla="*/ 1136 w 238630"/>
                    <a:gd name="connsiteY3" fmla="*/ 0 h 98263"/>
                  </a:gdLst>
                  <a:ahLst/>
                  <a:cxnLst>
                    <a:cxn ang="0">
                      <a:pos x="connsiteX0" y="connsiteY0"/>
                    </a:cxn>
                    <a:cxn ang="0">
                      <a:pos x="connsiteX1" y="connsiteY1"/>
                    </a:cxn>
                    <a:cxn ang="0">
                      <a:pos x="connsiteX2" y="connsiteY2"/>
                    </a:cxn>
                    <a:cxn ang="0">
                      <a:pos x="connsiteX3" y="connsiteY3"/>
                    </a:cxn>
                  </a:cxnLst>
                  <a:rect l="l" t="t" r="r" b="b"/>
                  <a:pathLst>
                    <a:path w="238630" h="98263">
                      <a:moveTo>
                        <a:pt x="238631" y="95452"/>
                      </a:moveTo>
                      <a:lnTo>
                        <a:pt x="237494" y="98264"/>
                      </a:lnTo>
                      <a:lnTo>
                        <a:pt x="0" y="2811"/>
                      </a:lnTo>
                      <a:lnTo>
                        <a:pt x="1136" y="0"/>
                      </a:lnTo>
                      <a:close/>
                    </a:path>
                  </a:pathLst>
                </a:custGeom>
                <a:grpFill/>
                <a:ln w="5978" cap="flat">
                  <a:noFill/>
                  <a:prstDash val="solid"/>
                  <a:miter/>
                </a:ln>
              </p:spPr>
              <p:txBody>
                <a:bodyPr rtlCol="0" anchor="ctr"/>
                <a:lstStyle/>
                <a:p>
                  <a:endParaRPr lang="en-GB"/>
                </a:p>
              </p:txBody>
            </p:sp>
            <p:sp>
              <p:nvSpPr>
                <p:cNvPr id="4420" name="Vrije vorm: vorm 4419">
                  <a:extLst>
                    <a:ext uri="{FF2B5EF4-FFF2-40B4-BE49-F238E27FC236}">
                      <a16:creationId xmlns:a16="http://schemas.microsoft.com/office/drawing/2014/main" id="{8BEF34A6-31D1-4EB2-BCE1-043E7DC3C793}"/>
                    </a:ext>
                  </a:extLst>
                </p:cNvPr>
                <p:cNvSpPr/>
                <p:nvPr/>
              </p:nvSpPr>
              <p:spPr>
                <a:xfrm>
                  <a:off x="7912767" y="4158057"/>
                  <a:ext cx="18335" cy="18427"/>
                </a:xfrm>
                <a:custGeom>
                  <a:avLst/>
                  <a:gdLst>
                    <a:gd name="connsiteX0" fmla="*/ 12547 w 18335"/>
                    <a:gd name="connsiteY0" fmla="*/ 678 h 18427"/>
                    <a:gd name="connsiteX1" fmla="*/ 17691 w 18335"/>
                    <a:gd name="connsiteY1" fmla="*/ 12639 h 18427"/>
                    <a:gd name="connsiteX2" fmla="*/ 5789 w 18335"/>
                    <a:gd name="connsiteY2" fmla="*/ 17782 h 18427"/>
                    <a:gd name="connsiteX3" fmla="*/ 645 w 18335"/>
                    <a:gd name="connsiteY3" fmla="*/ 5821 h 18427"/>
                    <a:gd name="connsiteX4" fmla="*/ 12547 w 18335"/>
                    <a:gd name="connsiteY4" fmla="*/ 67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7">
                      <a:moveTo>
                        <a:pt x="12547" y="678"/>
                      </a:moveTo>
                      <a:cubicBezTo>
                        <a:pt x="17272" y="2592"/>
                        <a:pt x="19544" y="7914"/>
                        <a:pt x="17691" y="12639"/>
                      </a:cubicBezTo>
                      <a:cubicBezTo>
                        <a:pt x="15836" y="17364"/>
                        <a:pt x="10513" y="19636"/>
                        <a:pt x="5789" y="17782"/>
                      </a:cubicBezTo>
                      <a:cubicBezTo>
                        <a:pt x="1064" y="15869"/>
                        <a:pt x="-1209" y="10546"/>
                        <a:pt x="645" y="5821"/>
                      </a:cubicBezTo>
                      <a:cubicBezTo>
                        <a:pt x="2499" y="1037"/>
                        <a:pt x="7822" y="-1236"/>
                        <a:pt x="12547" y="678"/>
                      </a:cubicBezTo>
                      <a:close/>
                    </a:path>
                  </a:pathLst>
                </a:custGeom>
                <a:grpFill/>
                <a:ln w="5978" cap="flat">
                  <a:noFill/>
                  <a:prstDash val="solid"/>
                  <a:miter/>
                </a:ln>
              </p:spPr>
              <p:txBody>
                <a:bodyPr rtlCol="0" anchor="ctr"/>
                <a:lstStyle/>
                <a:p>
                  <a:endParaRPr lang="en-GB"/>
                </a:p>
              </p:txBody>
            </p:sp>
            <p:sp>
              <p:nvSpPr>
                <p:cNvPr id="4421" name="Vrije vorm: vorm 4420">
                  <a:extLst>
                    <a:ext uri="{FF2B5EF4-FFF2-40B4-BE49-F238E27FC236}">
                      <a16:creationId xmlns:a16="http://schemas.microsoft.com/office/drawing/2014/main" id="{1F75D017-B3E7-40B0-B57A-259D0988EDEB}"/>
                    </a:ext>
                  </a:extLst>
                </p:cNvPr>
                <p:cNvSpPr/>
                <p:nvPr/>
              </p:nvSpPr>
              <p:spPr>
                <a:xfrm>
                  <a:off x="7676109" y="4062911"/>
                  <a:ext cx="18335" cy="18444"/>
                </a:xfrm>
                <a:custGeom>
                  <a:avLst/>
                  <a:gdLst>
                    <a:gd name="connsiteX0" fmla="*/ 12547 w 18335"/>
                    <a:gd name="connsiteY0" fmla="*/ 670 h 18444"/>
                    <a:gd name="connsiteX1" fmla="*/ 645 w 18335"/>
                    <a:gd name="connsiteY1" fmla="*/ 5813 h 18444"/>
                    <a:gd name="connsiteX2" fmla="*/ 5789 w 18335"/>
                    <a:gd name="connsiteY2" fmla="*/ 17775 h 18444"/>
                    <a:gd name="connsiteX3" fmla="*/ 17690 w 18335"/>
                    <a:gd name="connsiteY3" fmla="*/ 12631 h 18444"/>
                    <a:gd name="connsiteX4" fmla="*/ 12547 w 18335"/>
                    <a:gd name="connsiteY4" fmla="*/ 67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2547" y="670"/>
                      </a:moveTo>
                      <a:cubicBezTo>
                        <a:pt x="7822" y="-1244"/>
                        <a:pt x="2499" y="1089"/>
                        <a:pt x="645" y="5813"/>
                      </a:cubicBezTo>
                      <a:cubicBezTo>
                        <a:pt x="-1209" y="10538"/>
                        <a:pt x="1064" y="15921"/>
                        <a:pt x="5789" y="17775"/>
                      </a:cubicBezTo>
                      <a:cubicBezTo>
                        <a:pt x="10514" y="19689"/>
                        <a:pt x="15837" y="17356"/>
                        <a:pt x="17690" y="12631"/>
                      </a:cubicBezTo>
                      <a:cubicBezTo>
                        <a:pt x="19545" y="7967"/>
                        <a:pt x="17272" y="2584"/>
                        <a:pt x="12547" y="670"/>
                      </a:cubicBezTo>
                      <a:close/>
                    </a:path>
                  </a:pathLst>
                </a:custGeom>
                <a:grpFill/>
                <a:ln w="5978" cap="flat">
                  <a:noFill/>
                  <a:prstDash val="solid"/>
                  <a:miter/>
                </a:ln>
              </p:spPr>
              <p:txBody>
                <a:bodyPr rtlCol="0" anchor="ctr"/>
                <a:lstStyle/>
                <a:p>
                  <a:endParaRPr lang="en-GB"/>
                </a:p>
              </p:txBody>
            </p:sp>
          </p:grpSp>
          <p:grpSp>
            <p:nvGrpSpPr>
              <p:cNvPr id="321" name="Graphic 3">
                <a:extLst>
                  <a:ext uri="{FF2B5EF4-FFF2-40B4-BE49-F238E27FC236}">
                    <a16:creationId xmlns:a16="http://schemas.microsoft.com/office/drawing/2014/main" id="{F8F82983-34C8-47C3-A5C8-C4FECF1A5998}"/>
                  </a:ext>
                </a:extLst>
              </p:cNvPr>
              <p:cNvGrpSpPr/>
              <p:nvPr/>
            </p:nvGrpSpPr>
            <p:grpSpPr>
              <a:xfrm>
                <a:off x="7704178" y="4261418"/>
                <a:ext cx="337693" cy="182781"/>
                <a:chOff x="7704178" y="4261418"/>
                <a:chExt cx="337693" cy="182781"/>
              </a:xfrm>
              <a:grpFill/>
            </p:grpSpPr>
            <p:sp>
              <p:nvSpPr>
                <p:cNvPr id="4416" name="Vrije vorm: vorm 4415">
                  <a:extLst>
                    <a:ext uri="{FF2B5EF4-FFF2-40B4-BE49-F238E27FC236}">
                      <a16:creationId xmlns:a16="http://schemas.microsoft.com/office/drawing/2014/main" id="{4A8683A6-C2CA-45BE-9C69-9D9EF89D3543}"/>
                    </a:ext>
                  </a:extLst>
                </p:cNvPr>
                <p:cNvSpPr/>
                <p:nvPr/>
              </p:nvSpPr>
              <p:spPr>
                <a:xfrm>
                  <a:off x="7712280" y="4269079"/>
                  <a:ext cx="321523" cy="167520"/>
                </a:xfrm>
                <a:custGeom>
                  <a:avLst/>
                  <a:gdLst>
                    <a:gd name="connsiteX0" fmla="*/ 321524 w 321523"/>
                    <a:gd name="connsiteY0" fmla="*/ 164769 h 167520"/>
                    <a:gd name="connsiteX1" fmla="*/ 320148 w 321523"/>
                    <a:gd name="connsiteY1" fmla="*/ 167520 h 167520"/>
                    <a:gd name="connsiteX2" fmla="*/ 0 w 321523"/>
                    <a:gd name="connsiteY2" fmla="*/ 2691 h 167520"/>
                    <a:gd name="connsiteX3" fmla="*/ 1376 w 321523"/>
                    <a:gd name="connsiteY3" fmla="*/ 0 h 167520"/>
                  </a:gdLst>
                  <a:ahLst/>
                  <a:cxnLst>
                    <a:cxn ang="0">
                      <a:pos x="connsiteX0" y="connsiteY0"/>
                    </a:cxn>
                    <a:cxn ang="0">
                      <a:pos x="connsiteX1" y="connsiteY1"/>
                    </a:cxn>
                    <a:cxn ang="0">
                      <a:pos x="connsiteX2" y="connsiteY2"/>
                    </a:cxn>
                    <a:cxn ang="0">
                      <a:pos x="connsiteX3" y="connsiteY3"/>
                    </a:cxn>
                  </a:cxnLst>
                  <a:rect l="l" t="t" r="r" b="b"/>
                  <a:pathLst>
                    <a:path w="321523" h="167520">
                      <a:moveTo>
                        <a:pt x="321524" y="164769"/>
                      </a:moveTo>
                      <a:lnTo>
                        <a:pt x="320148" y="167520"/>
                      </a:lnTo>
                      <a:lnTo>
                        <a:pt x="0" y="2691"/>
                      </a:lnTo>
                      <a:lnTo>
                        <a:pt x="1376" y="0"/>
                      </a:lnTo>
                      <a:close/>
                    </a:path>
                  </a:pathLst>
                </a:custGeom>
                <a:grpFill/>
                <a:ln w="5978" cap="flat">
                  <a:noFill/>
                  <a:prstDash val="solid"/>
                  <a:miter/>
                </a:ln>
              </p:spPr>
              <p:txBody>
                <a:bodyPr rtlCol="0" anchor="ctr"/>
                <a:lstStyle/>
                <a:p>
                  <a:endParaRPr lang="en-GB"/>
                </a:p>
              </p:txBody>
            </p:sp>
            <p:sp>
              <p:nvSpPr>
                <p:cNvPr id="4417" name="Vrije vorm: vorm 4416">
                  <a:extLst>
                    <a:ext uri="{FF2B5EF4-FFF2-40B4-BE49-F238E27FC236}">
                      <a16:creationId xmlns:a16="http://schemas.microsoft.com/office/drawing/2014/main" id="{FBDF53D9-A444-478D-B29B-CFBF409A6EC3}"/>
                    </a:ext>
                  </a:extLst>
                </p:cNvPr>
                <p:cNvSpPr/>
                <p:nvPr/>
              </p:nvSpPr>
              <p:spPr>
                <a:xfrm>
                  <a:off x="8023523" y="4425795"/>
                  <a:ext cx="18349" cy="18405"/>
                </a:xfrm>
                <a:custGeom>
                  <a:avLst/>
                  <a:gdLst>
                    <a:gd name="connsiteX0" fmla="*/ 13331 w 18349"/>
                    <a:gd name="connsiteY0" fmla="*/ 996 h 18405"/>
                    <a:gd name="connsiteX1" fmla="*/ 17339 w 18349"/>
                    <a:gd name="connsiteY1" fmla="*/ 13376 h 18405"/>
                    <a:gd name="connsiteX2" fmla="*/ 5018 w 18349"/>
                    <a:gd name="connsiteY2" fmla="*/ 17383 h 18405"/>
                    <a:gd name="connsiteX3" fmla="*/ 1011 w 18349"/>
                    <a:gd name="connsiteY3" fmla="*/ 5003 h 18405"/>
                    <a:gd name="connsiteX4" fmla="*/ 13331 w 18349"/>
                    <a:gd name="connsiteY4" fmla="*/ 996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13331" y="996"/>
                      </a:moveTo>
                      <a:cubicBezTo>
                        <a:pt x="17817" y="3328"/>
                        <a:pt x="19671" y="8890"/>
                        <a:pt x="17339" y="13376"/>
                      </a:cubicBezTo>
                      <a:cubicBezTo>
                        <a:pt x="15066" y="17921"/>
                        <a:pt x="9503" y="19715"/>
                        <a:pt x="5018" y="17383"/>
                      </a:cubicBezTo>
                      <a:cubicBezTo>
                        <a:pt x="532" y="15051"/>
                        <a:pt x="-1321" y="9488"/>
                        <a:pt x="1011" y="5003"/>
                      </a:cubicBezTo>
                      <a:cubicBezTo>
                        <a:pt x="3284" y="458"/>
                        <a:pt x="8786" y="-1277"/>
                        <a:pt x="13331" y="996"/>
                      </a:cubicBezTo>
                      <a:close/>
                    </a:path>
                  </a:pathLst>
                </a:custGeom>
                <a:grpFill/>
                <a:ln w="5978" cap="flat">
                  <a:noFill/>
                  <a:prstDash val="solid"/>
                  <a:miter/>
                </a:ln>
              </p:spPr>
              <p:txBody>
                <a:bodyPr rtlCol="0" anchor="ctr"/>
                <a:lstStyle/>
                <a:p>
                  <a:endParaRPr lang="en-GB"/>
                </a:p>
              </p:txBody>
            </p:sp>
            <p:sp>
              <p:nvSpPr>
                <p:cNvPr id="4418" name="Vrije vorm: vorm 4417">
                  <a:extLst>
                    <a:ext uri="{FF2B5EF4-FFF2-40B4-BE49-F238E27FC236}">
                      <a16:creationId xmlns:a16="http://schemas.microsoft.com/office/drawing/2014/main" id="{478A2876-E2E8-4B69-AD48-47C2D8A25D22}"/>
                    </a:ext>
                  </a:extLst>
                </p:cNvPr>
                <p:cNvSpPr/>
                <p:nvPr/>
              </p:nvSpPr>
              <p:spPr>
                <a:xfrm>
                  <a:off x="7704178" y="4261418"/>
                  <a:ext cx="18334" cy="18431"/>
                </a:xfrm>
                <a:custGeom>
                  <a:avLst/>
                  <a:gdLst>
                    <a:gd name="connsiteX0" fmla="*/ 13305 w 18334"/>
                    <a:gd name="connsiteY0" fmla="*/ 1022 h 18431"/>
                    <a:gd name="connsiteX1" fmla="*/ 985 w 18334"/>
                    <a:gd name="connsiteY1" fmla="*/ 5029 h 18431"/>
                    <a:gd name="connsiteX2" fmla="*/ 4992 w 18334"/>
                    <a:gd name="connsiteY2" fmla="*/ 17409 h 18431"/>
                    <a:gd name="connsiteX3" fmla="*/ 17312 w 18334"/>
                    <a:gd name="connsiteY3" fmla="*/ 13402 h 18431"/>
                    <a:gd name="connsiteX4" fmla="*/ 13305 w 18334"/>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1">
                      <a:moveTo>
                        <a:pt x="13305" y="1022"/>
                      </a:moveTo>
                      <a:cubicBezTo>
                        <a:pt x="8819" y="-1310"/>
                        <a:pt x="3258" y="484"/>
                        <a:pt x="985" y="5029"/>
                      </a:cubicBezTo>
                      <a:cubicBezTo>
                        <a:pt x="-1288" y="9575"/>
                        <a:pt x="507" y="15137"/>
                        <a:pt x="4992" y="17409"/>
                      </a:cubicBezTo>
                      <a:cubicBezTo>
                        <a:pt x="9478" y="19742"/>
                        <a:pt x="15039" y="17948"/>
                        <a:pt x="17312" y="13402"/>
                      </a:cubicBezTo>
                      <a:cubicBezTo>
                        <a:pt x="19645" y="8917"/>
                        <a:pt x="17850" y="3355"/>
                        <a:pt x="13305" y="1022"/>
                      </a:cubicBezTo>
                      <a:close/>
                    </a:path>
                  </a:pathLst>
                </a:custGeom>
                <a:grpFill/>
                <a:ln w="5978" cap="flat">
                  <a:noFill/>
                  <a:prstDash val="solid"/>
                  <a:miter/>
                </a:ln>
              </p:spPr>
              <p:txBody>
                <a:bodyPr rtlCol="0" anchor="ctr"/>
                <a:lstStyle/>
                <a:p>
                  <a:endParaRPr lang="en-GB"/>
                </a:p>
              </p:txBody>
            </p:sp>
          </p:grpSp>
          <p:grpSp>
            <p:nvGrpSpPr>
              <p:cNvPr id="322" name="Graphic 3">
                <a:extLst>
                  <a:ext uri="{FF2B5EF4-FFF2-40B4-BE49-F238E27FC236}">
                    <a16:creationId xmlns:a16="http://schemas.microsoft.com/office/drawing/2014/main" id="{5CC41267-73DA-4E8B-83FD-7BE30BD478B8}"/>
                  </a:ext>
                </a:extLst>
              </p:cNvPr>
              <p:cNvGrpSpPr/>
              <p:nvPr/>
            </p:nvGrpSpPr>
            <p:grpSpPr>
              <a:xfrm>
                <a:off x="7052803" y="1978638"/>
                <a:ext cx="78910" cy="99528"/>
                <a:chOff x="7052803" y="1978638"/>
                <a:chExt cx="78910" cy="99528"/>
              </a:xfrm>
              <a:grpFill/>
            </p:grpSpPr>
            <p:sp>
              <p:nvSpPr>
                <p:cNvPr id="4413" name="Vrije vorm: vorm 4412">
                  <a:extLst>
                    <a:ext uri="{FF2B5EF4-FFF2-40B4-BE49-F238E27FC236}">
                      <a16:creationId xmlns:a16="http://schemas.microsoft.com/office/drawing/2014/main" id="{6E752B62-E895-40DA-AB10-890A7A732DAB}"/>
                    </a:ext>
                  </a:extLst>
                </p:cNvPr>
                <p:cNvSpPr/>
                <p:nvPr/>
              </p:nvSpPr>
              <p:spPr>
                <a:xfrm>
                  <a:off x="7060441" y="1986597"/>
                  <a:ext cx="63575" cy="83610"/>
                </a:xfrm>
                <a:custGeom>
                  <a:avLst/>
                  <a:gdLst>
                    <a:gd name="connsiteX0" fmla="*/ 63575 w 63575"/>
                    <a:gd name="connsiteY0" fmla="*/ 1794 h 83610"/>
                    <a:gd name="connsiteX1" fmla="*/ 2452 w 63575"/>
                    <a:gd name="connsiteY1" fmla="*/ 83610 h 83610"/>
                    <a:gd name="connsiteX2" fmla="*/ 0 w 63575"/>
                    <a:gd name="connsiteY2" fmla="*/ 81756 h 83610"/>
                    <a:gd name="connsiteX3" fmla="*/ 61124 w 63575"/>
                    <a:gd name="connsiteY3" fmla="*/ 0 h 83610"/>
                  </a:gdLst>
                  <a:ahLst/>
                  <a:cxnLst>
                    <a:cxn ang="0">
                      <a:pos x="connsiteX0" y="connsiteY0"/>
                    </a:cxn>
                    <a:cxn ang="0">
                      <a:pos x="connsiteX1" y="connsiteY1"/>
                    </a:cxn>
                    <a:cxn ang="0">
                      <a:pos x="connsiteX2" y="connsiteY2"/>
                    </a:cxn>
                    <a:cxn ang="0">
                      <a:pos x="connsiteX3" y="connsiteY3"/>
                    </a:cxn>
                  </a:cxnLst>
                  <a:rect l="l" t="t" r="r" b="b"/>
                  <a:pathLst>
                    <a:path w="63575" h="83610">
                      <a:moveTo>
                        <a:pt x="63575" y="1794"/>
                      </a:moveTo>
                      <a:lnTo>
                        <a:pt x="2452" y="83610"/>
                      </a:lnTo>
                      <a:lnTo>
                        <a:pt x="0" y="81756"/>
                      </a:lnTo>
                      <a:lnTo>
                        <a:pt x="61124" y="0"/>
                      </a:lnTo>
                      <a:close/>
                    </a:path>
                  </a:pathLst>
                </a:custGeom>
                <a:grpFill/>
                <a:ln w="5978" cap="flat">
                  <a:noFill/>
                  <a:prstDash val="solid"/>
                  <a:miter/>
                </a:ln>
              </p:spPr>
              <p:txBody>
                <a:bodyPr rtlCol="0" anchor="ctr"/>
                <a:lstStyle/>
                <a:p>
                  <a:endParaRPr lang="en-GB"/>
                </a:p>
              </p:txBody>
            </p:sp>
            <p:sp>
              <p:nvSpPr>
                <p:cNvPr id="4414" name="Vrije vorm: vorm 4413">
                  <a:extLst>
                    <a:ext uri="{FF2B5EF4-FFF2-40B4-BE49-F238E27FC236}">
                      <a16:creationId xmlns:a16="http://schemas.microsoft.com/office/drawing/2014/main" id="{923809C7-2756-4D70-B259-619D152D5478}"/>
                    </a:ext>
                  </a:extLst>
                </p:cNvPr>
                <p:cNvSpPr/>
                <p:nvPr/>
              </p:nvSpPr>
              <p:spPr>
                <a:xfrm>
                  <a:off x="7113328" y="1978638"/>
                  <a:ext cx="18386" cy="18429"/>
                </a:xfrm>
                <a:custGeom>
                  <a:avLst/>
                  <a:gdLst>
                    <a:gd name="connsiteX0" fmla="*/ 1837 w 18386"/>
                    <a:gd name="connsiteY0" fmla="*/ 3653 h 18429"/>
                    <a:gd name="connsiteX1" fmla="*/ 14695 w 18386"/>
                    <a:gd name="connsiteY1" fmla="*/ 1859 h 18429"/>
                    <a:gd name="connsiteX2" fmla="*/ 16549 w 18386"/>
                    <a:gd name="connsiteY2" fmla="*/ 14777 h 18429"/>
                    <a:gd name="connsiteX3" fmla="*/ 3691 w 18386"/>
                    <a:gd name="connsiteY3" fmla="*/ 16571 h 18429"/>
                    <a:gd name="connsiteX4" fmla="*/ 1837 w 18386"/>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6" h="18429">
                      <a:moveTo>
                        <a:pt x="1837" y="3653"/>
                      </a:moveTo>
                      <a:cubicBezTo>
                        <a:pt x="4887" y="-414"/>
                        <a:pt x="10628" y="-1192"/>
                        <a:pt x="14695" y="1859"/>
                      </a:cubicBezTo>
                      <a:cubicBezTo>
                        <a:pt x="18763" y="4909"/>
                        <a:pt x="19599" y="10710"/>
                        <a:pt x="16549" y="14777"/>
                      </a:cubicBezTo>
                      <a:cubicBezTo>
                        <a:pt x="13500" y="18844"/>
                        <a:pt x="7758" y="19621"/>
                        <a:pt x="3691" y="16571"/>
                      </a:cubicBezTo>
                      <a:cubicBezTo>
                        <a:pt x="-376" y="13521"/>
                        <a:pt x="-1213" y="7720"/>
                        <a:pt x="1837" y="3653"/>
                      </a:cubicBezTo>
                      <a:close/>
                    </a:path>
                  </a:pathLst>
                </a:custGeom>
                <a:grpFill/>
                <a:ln w="5978" cap="flat">
                  <a:noFill/>
                  <a:prstDash val="solid"/>
                  <a:miter/>
                </a:ln>
              </p:spPr>
              <p:txBody>
                <a:bodyPr rtlCol="0" anchor="ctr"/>
                <a:lstStyle/>
                <a:p>
                  <a:endParaRPr lang="en-GB"/>
                </a:p>
              </p:txBody>
            </p:sp>
            <p:sp>
              <p:nvSpPr>
                <p:cNvPr id="4415" name="Vrije vorm: vorm 4414">
                  <a:extLst>
                    <a:ext uri="{FF2B5EF4-FFF2-40B4-BE49-F238E27FC236}">
                      <a16:creationId xmlns:a16="http://schemas.microsoft.com/office/drawing/2014/main" id="{9E318049-203D-4A1B-B813-D9A7A38F8882}"/>
                    </a:ext>
                  </a:extLst>
                </p:cNvPr>
                <p:cNvSpPr/>
                <p:nvPr/>
              </p:nvSpPr>
              <p:spPr>
                <a:xfrm>
                  <a:off x="7052803" y="2059736"/>
                  <a:ext cx="18326" cy="18429"/>
                </a:xfrm>
                <a:custGeom>
                  <a:avLst/>
                  <a:gdLst>
                    <a:gd name="connsiteX0" fmla="*/ 1837 w 18326"/>
                    <a:gd name="connsiteY0" fmla="*/ 3653 h 18429"/>
                    <a:gd name="connsiteX1" fmla="*/ 3691 w 18326"/>
                    <a:gd name="connsiteY1" fmla="*/ 16571 h 18429"/>
                    <a:gd name="connsiteX2" fmla="*/ 16490 w 18326"/>
                    <a:gd name="connsiteY2" fmla="*/ 14777 h 18429"/>
                    <a:gd name="connsiteX3" fmla="*/ 14636 w 18326"/>
                    <a:gd name="connsiteY3" fmla="*/ 1859 h 18429"/>
                    <a:gd name="connsiteX4" fmla="*/ 1837 w 18326"/>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837" y="3653"/>
                      </a:moveTo>
                      <a:cubicBezTo>
                        <a:pt x="-1213" y="7720"/>
                        <a:pt x="-376" y="13521"/>
                        <a:pt x="3691" y="16571"/>
                      </a:cubicBezTo>
                      <a:cubicBezTo>
                        <a:pt x="7758" y="19621"/>
                        <a:pt x="13500" y="18844"/>
                        <a:pt x="16490" y="14777"/>
                      </a:cubicBezTo>
                      <a:cubicBezTo>
                        <a:pt x="19539" y="10710"/>
                        <a:pt x="18703" y="4969"/>
                        <a:pt x="14636" y="1859"/>
                      </a:cubicBezTo>
                      <a:cubicBezTo>
                        <a:pt x="10568" y="-1192"/>
                        <a:pt x="4827" y="-414"/>
                        <a:pt x="1837" y="3653"/>
                      </a:cubicBezTo>
                      <a:close/>
                    </a:path>
                  </a:pathLst>
                </a:custGeom>
                <a:grpFill/>
                <a:ln w="5978" cap="flat">
                  <a:noFill/>
                  <a:prstDash val="solid"/>
                  <a:miter/>
                </a:ln>
              </p:spPr>
              <p:txBody>
                <a:bodyPr rtlCol="0" anchor="ctr"/>
                <a:lstStyle/>
                <a:p>
                  <a:endParaRPr lang="en-GB"/>
                </a:p>
              </p:txBody>
            </p:sp>
          </p:grpSp>
          <p:grpSp>
            <p:nvGrpSpPr>
              <p:cNvPr id="323" name="Graphic 3">
                <a:extLst>
                  <a:ext uri="{FF2B5EF4-FFF2-40B4-BE49-F238E27FC236}">
                    <a16:creationId xmlns:a16="http://schemas.microsoft.com/office/drawing/2014/main" id="{B395E62D-EF7F-4A53-B58B-96EA2DB15DA5}"/>
                  </a:ext>
                </a:extLst>
              </p:cNvPr>
              <p:cNvGrpSpPr/>
              <p:nvPr/>
            </p:nvGrpSpPr>
            <p:grpSpPr>
              <a:xfrm>
                <a:off x="6881703" y="1439505"/>
                <a:ext cx="100065" cy="193701"/>
                <a:chOff x="6881703" y="1439505"/>
                <a:chExt cx="100065" cy="193701"/>
              </a:xfrm>
              <a:grpFill/>
            </p:grpSpPr>
            <p:sp>
              <p:nvSpPr>
                <p:cNvPr id="4410" name="Vrije vorm: vorm 4409">
                  <a:extLst>
                    <a:ext uri="{FF2B5EF4-FFF2-40B4-BE49-F238E27FC236}">
                      <a16:creationId xmlns:a16="http://schemas.microsoft.com/office/drawing/2014/main" id="{FB7B5AD5-CBB2-4F40-BC13-CF8C24116B89}"/>
                    </a:ext>
                  </a:extLst>
                </p:cNvPr>
                <p:cNvSpPr/>
                <p:nvPr/>
              </p:nvSpPr>
              <p:spPr>
                <a:xfrm>
                  <a:off x="6889273" y="1447614"/>
                  <a:ext cx="84926" cy="177507"/>
                </a:xfrm>
                <a:custGeom>
                  <a:avLst/>
                  <a:gdLst>
                    <a:gd name="connsiteX0" fmla="*/ 84927 w 84926"/>
                    <a:gd name="connsiteY0" fmla="*/ 1316 h 177507"/>
                    <a:gd name="connsiteX1" fmla="*/ 2811 w 84926"/>
                    <a:gd name="connsiteY1" fmla="*/ 177508 h 177507"/>
                    <a:gd name="connsiteX2" fmla="*/ 0 w 84926"/>
                    <a:gd name="connsiteY2" fmla="*/ 176192 h 177507"/>
                    <a:gd name="connsiteX3" fmla="*/ 82115 w 84926"/>
                    <a:gd name="connsiteY3" fmla="*/ 0 h 177507"/>
                  </a:gdLst>
                  <a:ahLst/>
                  <a:cxnLst>
                    <a:cxn ang="0">
                      <a:pos x="connsiteX0" y="connsiteY0"/>
                    </a:cxn>
                    <a:cxn ang="0">
                      <a:pos x="connsiteX1" y="connsiteY1"/>
                    </a:cxn>
                    <a:cxn ang="0">
                      <a:pos x="connsiteX2" y="connsiteY2"/>
                    </a:cxn>
                    <a:cxn ang="0">
                      <a:pos x="connsiteX3" y="connsiteY3"/>
                    </a:cxn>
                  </a:cxnLst>
                  <a:rect l="l" t="t" r="r" b="b"/>
                  <a:pathLst>
                    <a:path w="84926" h="177507">
                      <a:moveTo>
                        <a:pt x="84927" y="1316"/>
                      </a:moveTo>
                      <a:lnTo>
                        <a:pt x="2811" y="177508"/>
                      </a:lnTo>
                      <a:lnTo>
                        <a:pt x="0" y="176192"/>
                      </a:lnTo>
                      <a:lnTo>
                        <a:pt x="82115" y="0"/>
                      </a:lnTo>
                      <a:close/>
                    </a:path>
                  </a:pathLst>
                </a:custGeom>
                <a:grpFill/>
                <a:ln w="5978" cap="flat">
                  <a:noFill/>
                  <a:prstDash val="solid"/>
                  <a:miter/>
                </a:ln>
              </p:spPr>
              <p:txBody>
                <a:bodyPr rtlCol="0" anchor="ctr"/>
                <a:lstStyle/>
                <a:p>
                  <a:endParaRPr lang="en-GB"/>
                </a:p>
              </p:txBody>
            </p:sp>
            <p:sp>
              <p:nvSpPr>
                <p:cNvPr id="4411" name="Vrije vorm: vorm 4410">
                  <a:extLst>
                    <a:ext uri="{FF2B5EF4-FFF2-40B4-BE49-F238E27FC236}">
                      <a16:creationId xmlns:a16="http://schemas.microsoft.com/office/drawing/2014/main" id="{8858DEEF-49C5-4396-9B5D-8760D82C100D}"/>
                    </a:ext>
                  </a:extLst>
                </p:cNvPr>
                <p:cNvSpPr/>
                <p:nvPr/>
              </p:nvSpPr>
              <p:spPr>
                <a:xfrm>
                  <a:off x="6881703" y="1614764"/>
                  <a:ext cx="18333" cy="18442"/>
                </a:xfrm>
                <a:custGeom>
                  <a:avLst/>
                  <a:gdLst>
                    <a:gd name="connsiteX0" fmla="*/ 17498 w 18333"/>
                    <a:gd name="connsiteY0" fmla="*/ 13169 h 18442"/>
                    <a:gd name="connsiteX1" fmla="*/ 5297 w 18333"/>
                    <a:gd name="connsiteY1" fmla="*/ 17535 h 18442"/>
                    <a:gd name="connsiteX2" fmla="*/ 871 w 18333"/>
                    <a:gd name="connsiteY2" fmla="*/ 5274 h 18442"/>
                    <a:gd name="connsiteX3" fmla="*/ 13072 w 18333"/>
                    <a:gd name="connsiteY3" fmla="*/ 908 h 18442"/>
                    <a:gd name="connsiteX4" fmla="*/ 17498 w 18333"/>
                    <a:gd name="connsiteY4" fmla="*/ 1316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2">
                      <a:moveTo>
                        <a:pt x="17498" y="13169"/>
                      </a:moveTo>
                      <a:cubicBezTo>
                        <a:pt x="15345" y="17774"/>
                        <a:pt x="9902" y="19748"/>
                        <a:pt x="5297" y="17535"/>
                      </a:cubicBezTo>
                      <a:cubicBezTo>
                        <a:pt x="692" y="15382"/>
                        <a:pt x="-1282" y="9879"/>
                        <a:pt x="871" y="5274"/>
                      </a:cubicBezTo>
                      <a:cubicBezTo>
                        <a:pt x="3024" y="669"/>
                        <a:pt x="8467" y="-1305"/>
                        <a:pt x="13072" y="908"/>
                      </a:cubicBezTo>
                      <a:cubicBezTo>
                        <a:pt x="17617" y="3121"/>
                        <a:pt x="19591" y="8623"/>
                        <a:pt x="17498" y="13169"/>
                      </a:cubicBezTo>
                      <a:close/>
                    </a:path>
                  </a:pathLst>
                </a:custGeom>
                <a:grpFill/>
                <a:ln w="5978" cap="flat">
                  <a:noFill/>
                  <a:prstDash val="solid"/>
                  <a:miter/>
                </a:ln>
              </p:spPr>
              <p:txBody>
                <a:bodyPr rtlCol="0" anchor="ctr"/>
                <a:lstStyle/>
                <a:p>
                  <a:endParaRPr lang="en-GB"/>
                </a:p>
              </p:txBody>
            </p:sp>
            <p:sp>
              <p:nvSpPr>
                <p:cNvPr id="4412" name="Vrije vorm: vorm 4411">
                  <a:extLst>
                    <a:ext uri="{FF2B5EF4-FFF2-40B4-BE49-F238E27FC236}">
                      <a16:creationId xmlns:a16="http://schemas.microsoft.com/office/drawing/2014/main" id="{E58833C0-DA2A-4EC5-A800-16DF04A6CDC8}"/>
                    </a:ext>
                  </a:extLst>
                </p:cNvPr>
                <p:cNvSpPr/>
                <p:nvPr/>
              </p:nvSpPr>
              <p:spPr>
                <a:xfrm>
                  <a:off x="6963400" y="1439505"/>
                  <a:ext cx="18368" cy="18407"/>
                </a:xfrm>
                <a:custGeom>
                  <a:avLst/>
                  <a:gdLst>
                    <a:gd name="connsiteX0" fmla="*/ 17498 w 18368"/>
                    <a:gd name="connsiteY0" fmla="*/ 13133 h 18407"/>
                    <a:gd name="connsiteX1" fmla="*/ 13072 w 18368"/>
                    <a:gd name="connsiteY1" fmla="*/ 872 h 18407"/>
                    <a:gd name="connsiteX2" fmla="*/ 871 w 18368"/>
                    <a:gd name="connsiteY2" fmla="*/ 5238 h 18407"/>
                    <a:gd name="connsiteX3" fmla="*/ 5297 w 18368"/>
                    <a:gd name="connsiteY3" fmla="*/ 17499 h 18407"/>
                    <a:gd name="connsiteX4" fmla="*/ 17498 w 18368"/>
                    <a:gd name="connsiteY4" fmla="*/ 1313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7">
                      <a:moveTo>
                        <a:pt x="17498" y="13133"/>
                      </a:moveTo>
                      <a:cubicBezTo>
                        <a:pt x="19651" y="8528"/>
                        <a:pt x="17677" y="3025"/>
                        <a:pt x="13072" y="872"/>
                      </a:cubicBezTo>
                      <a:cubicBezTo>
                        <a:pt x="8467" y="-1281"/>
                        <a:pt x="3024" y="693"/>
                        <a:pt x="871" y="5238"/>
                      </a:cubicBezTo>
                      <a:cubicBezTo>
                        <a:pt x="-1282" y="9843"/>
                        <a:pt x="692" y="15346"/>
                        <a:pt x="5297" y="17499"/>
                      </a:cubicBezTo>
                      <a:cubicBezTo>
                        <a:pt x="9902" y="19712"/>
                        <a:pt x="15345" y="17738"/>
                        <a:pt x="17498" y="13133"/>
                      </a:cubicBezTo>
                      <a:close/>
                    </a:path>
                  </a:pathLst>
                </a:custGeom>
                <a:grpFill/>
                <a:ln w="5978" cap="flat">
                  <a:noFill/>
                  <a:prstDash val="solid"/>
                  <a:miter/>
                </a:ln>
              </p:spPr>
              <p:txBody>
                <a:bodyPr rtlCol="0" anchor="ctr"/>
                <a:lstStyle/>
                <a:p>
                  <a:endParaRPr lang="en-GB"/>
                </a:p>
              </p:txBody>
            </p:sp>
          </p:grpSp>
          <p:grpSp>
            <p:nvGrpSpPr>
              <p:cNvPr id="324" name="Graphic 3">
                <a:extLst>
                  <a:ext uri="{FF2B5EF4-FFF2-40B4-BE49-F238E27FC236}">
                    <a16:creationId xmlns:a16="http://schemas.microsoft.com/office/drawing/2014/main" id="{31AB8AED-6158-40A2-A6D9-79BCF64CC891}"/>
                  </a:ext>
                </a:extLst>
              </p:cNvPr>
              <p:cNvGrpSpPr/>
              <p:nvPr/>
            </p:nvGrpSpPr>
            <p:grpSpPr>
              <a:xfrm>
                <a:off x="7028222" y="1928374"/>
                <a:ext cx="98529" cy="130141"/>
                <a:chOff x="7028222" y="1928374"/>
                <a:chExt cx="98529" cy="130141"/>
              </a:xfrm>
              <a:grpFill/>
            </p:grpSpPr>
            <p:sp>
              <p:nvSpPr>
                <p:cNvPr id="4407" name="Vrije vorm: vorm 4406">
                  <a:extLst>
                    <a:ext uri="{FF2B5EF4-FFF2-40B4-BE49-F238E27FC236}">
                      <a16:creationId xmlns:a16="http://schemas.microsoft.com/office/drawing/2014/main" id="{B79F6461-0BA5-4463-917D-A6D3AC44C381}"/>
                    </a:ext>
                  </a:extLst>
                </p:cNvPr>
                <p:cNvSpPr/>
                <p:nvPr/>
              </p:nvSpPr>
              <p:spPr>
                <a:xfrm>
                  <a:off x="7035860" y="1936299"/>
                  <a:ext cx="83192" cy="114231"/>
                </a:xfrm>
                <a:custGeom>
                  <a:avLst/>
                  <a:gdLst>
                    <a:gd name="connsiteX0" fmla="*/ 83192 w 83192"/>
                    <a:gd name="connsiteY0" fmla="*/ 1794 h 114231"/>
                    <a:gd name="connsiteX1" fmla="*/ 2452 w 83192"/>
                    <a:gd name="connsiteY1" fmla="*/ 114232 h 114231"/>
                    <a:gd name="connsiteX2" fmla="*/ 0 w 83192"/>
                    <a:gd name="connsiteY2" fmla="*/ 112438 h 114231"/>
                    <a:gd name="connsiteX3" fmla="*/ 80740 w 83192"/>
                    <a:gd name="connsiteY3" fmla="*/ 0 h 114231"/>
                  </a:gdLst>
                  <a:ahLst/>
                  <a:cxnLst>
                    <a:cxn ang="0">
                      <a:pos x="connsiteX0" y="connsiteY0"/>
                    </a:cxn>
                    <a:cxn ang="0">
                      <a:pos x="connsiteX1" y="connsiteY1"/>
                    </a:cxn>
                    <a:cxn ang="0">
                      <a:pos x="connsiteX2" y="connsiteY2"/>
                    </a:cxn>
                    <a:cxn ang="0">
                      <a:pos x="connsiteX3" y="connsiteY3"/>
                    </a:cxn>
                  </a:cxnLst>
                  <a:rect l="l" t="t" r="r" b="b"/>
                  <a:pathLst>
                    <a:path w="83192" h="114231">
                      <a:moveTo>
                        <a:pt x="83192" y="1794"/>
                      </a:moveTo>
                      <a:lnTo>
                        <a:pt x="2452" y="114232"/>
                      </a:lnTo>
                      <a:lnTo>
                        <a:pt x="0" y="112438"/>
                      </a:lnTo>
                      <a:lnTo>
                        <a:pt x="80740" y="0"/>
                      </a:lnTo>
                      <a:close/>
                    </a:path>
                  </a:pathLst>
                </a:custGeom>
                <a:grpFill/>
                <a:ln w="5978" cap="flat">
                  <a:noFill/>
                  <a:prstDash val="solid"/>
                  <a:miter/>
                </a:ln>
              </p:spPr>
              <p:txBody>
                <a:bodyPr rtlCol="0" anchor="ctr"/>
                <a:lstStyle/>
                <a:p>
                  <a:endParaRPr lang="en-GB"/>
                </a:p>
              </p:txBody>
            </p:sp>
            <p:sp>
              <p:nvSpPr>
                <p:cNvPr id="4408" name="Vrije vorm: vorm 4407">
                  <a:extLst>
                    <a:ext uri="{FF2B5EF4-FFF2-40B4-BE49-F238E27FC236}">
                      <a16:creationId xmlns:a16="http://schemas.microsoft.com/office/drawing/2014/main" id="{E3B75E35-3435-429A-8AE5-3EC422B3188D}"/>
                    </a:ext>
                  </a:extLst>
                </p:cNvPr>
                <p:cNvSpPr/>
                <p:nvPr/>
              </p:nvSpPr>
              <p:spPr>
                <a:xfrm>
                  <a:off x="7108397" y="1928374"/>
                  <a:ext cx="18353" cy="18421"/>
                </a:xfrm>
                <a:custGeom>
                  <a:avLst/>
                  <a:gdLst>
                    <a:gd name="connsiteX0" fmla="*/ 1744 w 18353"/>
                    <a:gd name="connsiteY0" fmla="*/ 3798 h 18421"/>
                    <a:gd name="connsiteX1" fmla="*/ 14543 w 18353"/>
                    <a:gd name="connsiteY1" fmla="*/ 1765 h 18421"/>
                    <a:gd name="connsiteX2" fmla="*/ 16636 w 18353"/>
                    <a:gd name="connsiteY2" fmla="*/ 14623 h 18421"/>
                    <a:gd name="connsiteX3" fmla="*/ 3837 w 18353"/>
                    <a:gd name="connsiteY3" fmla="*/ 16657 h 18421"/>
                    <a:gd name="connsiteX4" fmla="*/ 1744 w 1835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1">
                      <a:moveTo>
                        <a:pt x="1744" y="3798"/>
                      </a:moveTo>
                      <a:cubicBezTo>
                        <a:pt x="4674" y="-329"/>
                        <a:pt x="10416" y="-1226"/>
                        <a:pt x="14543" y="1765"/>
                      </a:cubicBezTo>
                      <a:cubicBezTo>
                        <a:pt x="18669" y="4755"/>
                        <a:pt x="19566" y="10496"/>
                        <a:pt x="16636" y="14623"/>
                      </a:cubicBezTo>
                      <a:cubicBezTo>
                        <a:pt x="13705" y="18750"/>
                        <a:pt x="7964" y="19647"/>
                        <a:pt x="3837" y="16657"/>
                      </a:cubicBezTo>
                      <a:cubicBezTo>
                        <a:pt x="-289" y="13666"/>
                        <a:pt x="-1247" y="7925"/>
                        <a:pt x="1744" y="3798"/>
                      </a:cubicBezTo>
                      <a:close/>
                    </a:path>
                  </a:pathLst>
                </a:custGeom>
                <a:grpFill/>
                <a:ln w="5978" cap="flat">
                  <a:noFill/>
                  <a:prstDash val="solid"/>
                  <a:miter/>
                </a:ln>
              </p:spPr>
              <p:txBody>
                <a:bodyPr rtlCol="0" anchor="ctr"/>
                <a:lstStyle/>
                <a:p>
                  <a:endParaRPr lang="en-GB"/>
                </a:p>
              </p:txBody>
            </p:sp>
            <p:sp>
              <p:nvSpPr>
                <p:cNvPr id="4409" name="Vrije vorm: vorm 4408">
                  <a:extLst>
                    <a:ext uri="{FF2B5EF4-FFF2-40B4-BE49-F238E27FC236}">
                      <a16:creationId xmlns:a16="http://schemas.microsoft.com/office/drawing/2014/main" id="{258AC419-5F4D-4B27-B21E-46A1DE787C2C}"/>
                    </a:ext>
                  </a:extLst>
                </p:cNvPr>
                <p:cNvSpPr/>
                <p:nvPr/>
              </p:nvSpPr>
              <p:spPr>
                <a:xfrm>
                  <a:off x="7028222" y="2040094"/>
                  <a:ext cx="18327" cy="18421"/>
                </a:xfrm>
                <a:custGeom>
                  <a:avLst/>
                  <a:gdLst>
                    <a:gd name="connsiteX0" fmla="*/ 1718 w 18327"/>
                    <a:gd name="connsiteY0" fmla="*/ 3798 h 18421"/>
                    <a:gd name="connsiteX1" fmla="*/ 3811 w 18327"/>
                    <a:gd name="connsiteY1" fmla="*/ 16657 h 18421"/>
                    <a:gd name="connsiteX2" fmla="*/ 16610 w 18327"/>
                    <a:gd name="connsiteY2" fmla="*/ 14623 h 18421"/>
                    <a:gd name="connsiteX3" fmla="*/ 14517 w 18327"/>
                    <a:gd name="connsiteY3" fmla="*/ 1765 h 18421"/>
                    <a:gd name="connsiteX4" fmla="*/ 1718 w 18327"/>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1">
                      <a:moveTo>
                        <a:pt x="1718" y="3798"/>
                      </a:moveTo>
                      <a:cubicBezTo>
                        <a:pt x="-1213" y="7925"/>
                        <a:pt x="-315" y="13666"/>
                        <a:pt x="3811" y="16657"/>
                      </a:cubicBezTo>
                      <a:cubicBezTo>
                        <a:pt x="7938" y="19647"/>
                        <a:pt x="13619" y="18750"/>
                        <a:pt x="16610" y="14623"/>
                      </a:cubicBezTo>
                      <a:cubicBezTo>
                        <a:pt x="19540" y="10496"/>
                        <a:pt x="18644" y="4755"/>
                        <a:pt x="14517" y="1765"/>
                      </a:cubicBezTo>
                      <a:cubicBezTo>
                        <a:pt x="10390" y="-1226"/>
                        <a:pt x="4648" y="-329"/>
                        <a:pt x="1718" y="3798"/>
                      </a:cubicBezTo>
                      <a:close/>
                    </a:path>
                  </a:pathLst>
                </a:custGeom>
                <a:grpFill/>
                <a:ln w="5978" cap="flat">
                  <a:noFill/>
                  <a:prstDash val="solid"/>
                  <a:miter/>
                </a:ln>
              </p:spPr>
              <p:txBody>
                <a:bodyPr rtlCol="0" anchor="ctr"/>
                <a:lstStyle/>
                <a:p>
                  <a:endParaRPr lang="en-GB"/>
                </a:p>
              </p:txBody>
            </p:sp>
          </p:grpSp>
          <p:grpSp>
            <p:nvGrpSpPr>
              <p:cNvPr id="325" name="Graphic 3">
                <a:extLst>
                  <a:ext uri="{FF2B5EF4-FFF2-40B4-BE49-F238E27FC236}">
                    <a16:creationId xmlns:a16="http://schemas.microsoft.com/office/drawing/2014/main" id="{AE211F41-1023-4C53-8F90-14F98276B21B}"/>
                  </a:ext>
                </a:extLst>
              </p:cNvPr>
              <p:cNvGrpSpPr/>
              <p:nvPr/>
            </p:nvGrpSpPr>
            <p:grpSpPr>
              <a:xfrm>
                <a:off x="7006003" y="1883071"/>
                <a:ext cx="110669" cy="152207"/>
                <a:chOff x="7006003" y="1883071"/>
                <a:chExt cx="110669" cy="152207"/>
              </a:xfrm>
              <a:grpFill/>
            </p:grpSpPr>
            <p:sp>
              <p:nvSpPr>
                <p:cNvPr id="4404" name="Vrije vorm: vorm 4403">
                  <a:extLst>
                    <a:ext uri="{FF2B5EF4-FFF2-40B4-BE49-F238E27FC236}">
                      <a16:creationId xmlns:a16="http://schemas.microsoft.com/office/drawing/2014/main" id="{7F95262A-DB59-412C-834E-2F4AB4106B3D}"/>
                    </a:ext>
                  </a:extLst>
                </p:cNvPr>
                <p:cNvSpPr/>
                <p:nvPr/>
              </p:nvSpPr>
              <p:spPr>
                <a:xfrm>
                  <a:off x="7013672" y="1891025"/>
                  <a:ext cx="95332" cy="136300"/>
                </a:xfrm>
                <a:custGeom>
                  <a:avLst/>
                  <a:gdLst>
                    <a:gd name="connsiteX0" fmla="*/ 95332 w 95332"/>
                    <a:gd name="connsiteY0" fmla="*/ 1734 h 136300"/>
                    <a:gd name="connsiteX1" fmla="*/ 2512 w 95332"/>
                    <a:gd name="connsiteY1" fmla="*/ 136301 h 136300"/>
                    <a:gd name="connsiteX2" fmla="*/ 0 w 95332"/>
                    <a:gd name="connsiteY2" fmla="*/ 134506 h 136300"/>
                    <a:gd name="connsiteX3" fmla="*/ 92821 w 95332"/>
                    <a:gd name="connsiteY3" fmla="*/ 0 h 136300"/>
                  </a:gdLst>
                  <a:ahLst/>
                  <a:cxnLst>
                    <a:cxn ang="0">
                      <a:pos x="connsiteX0" y="connsiteY0"/>
                    </a:cxn>
                    <a:cxn ang="0">
                      <a:pos x="connsiteX1" y="connsiteY1"/>
                    </a:cxn>
                    <a:cxn ang="0">
                      <a:pos x="connsiteX2" y="connsiteY2"/>
                    </a:cxn>
                    <a:cxn ang="0">
                      <a:pos x="connsiteX3" y="connsiteY3"/>
                    </a:cxn>
                  </a:cxnLst>
                  <a:rect l="l" t="t" r="r" b="b"/>
                  <a:pathLst>
                    <a:path w="95332" h="136300">
                      <a:moveTo>
                        <a:pt x="95332" y="1734"/>
                      </a:moveTo>
                      <a:lnTo>
                        <a:pt x="2512" y="136301"/>
                      </a:lnTo>
                      <a:lnTo>
                        <a:pt x="0" y="134506"/>
                      </a:lnTo>
                      <a:lnTo>
                        <a:pt x="92821" y="0"/>
                      </a:lnTo>
                      <a:close/>
                    </a:path>
                  </a:pathLst>
                </a:custGeom>
                <a:grpFill/>
                <a:ln w="5978" cap="flat">
                  <a:noFill/>
                  <a:prstDash val="solid"/>
                  <a:miter/>
                </a:ln>
              </p:spPr>
              <p:txBody>
                <a:bodyPr rtlCol="0" anchor="ctr"/>
                <a:lstStyle/>
                <a:p>
                  <a:endParaRPr lang="en-GB"/>
                </a:p>
              </p:txBody>
            </p:sp>
            <p:sp>
              <p:nvSpPr>
                <p:cNvPr id="4405" name="Vrije vorm: vorm 4404">
                  <a:extLst>
                    <a:ext uri="{FF2B5EF4-FFF2-40B4-BE49-F238E27FC236}">
                      <a16:creationId xmlns:a16="http://schemas.microsoft.com/office/drawing/2014/main" id="{99CB80D1-EF32-4F42-BC3A-69D67B6AB753}"/>
                    </a:ext>
                  </a:extLst>
                </p:cNvPr>
                <p:cNvSpPr/>
                <p:nvPr/>
              </p:nvSpPr>
              <p:spPr>
                <a:xfrm>
                  <a:off x="7098346" y="1883071"/>
                  <a:ext cx="18327" cy="18419"/>
                </a:xfrm>
                <a:custGeom>
                  <a:avLst/>
                  <a:gdLst>
                    <a:gd name="connsiteX0" fmla="*/ 1628 w 18327"/>
                    <a:gd name="connsiteY0" fmla="*/ 3947 h 18419"/>
                    <a:gd name="connsiteX1" fmla="*/ 14367 w 18327"/>
                    <a:gd name="connsiteY1" fmla="*/ 1674 h 18419"/>
                    <a:gd name="connsiteX2" fmla="*/ 16699 w 18327"/>
                    <a:gd name="connsiteY2" fmla="*/ 14473 h 18419"/>
                    <a:gd name="connsiteX3" fmla="*/ 3960 w 18327"/>
                    <a:gd name="connsiteY3" fmla="*/ 16745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4499" y="-240"/>
                        <a:pt x="10241" y="-1257"/>
                        <a:pt x="14367" y="1674"/>
                      </a:cubicBezTo>
                      <a:cubicBezTo>
                        <a:pt x="18554" y="4604"/>
                        <a:pt x="19570" y="10346"/>
                        <a:pt x="16699" y="14473"/>
                      </a:cubicBezTo>
                      <a:cubicBezTo>
                        <a:pt x="13829" y="18659"/>
                        <a:pt x="8088" y="19676"/>
                        <a:pt x="3960" y="16745"/>
                      </a:cubicBezTo>
                      <a:cubicBezTo>
                        <a:pt x="-226" y="13875"/>
                        <a:pt x="-1243" y="8073"/>
                        <a:pt x="1628" y="3947"/>
                      </a:cubicBezTo>
                      <a:close/>
                    </a:path>
                  </a:pathLst>
                </a:custGeom>
                <a:grpFill/>
                <a:ln w="5978" cap="flat">
                  <a:noFill/>
                  <a:prstDash val="solid"/>
                  <a:miter/>
                </a:ln>
              </p:spPr>
              <p:txBody>
                <a:bodyPr rtlCol="0" anchor="ctr"/>
                <a:lstStyle/>
                <a:p>
                  <a:endParaRPr lang="en-GB"/>
                </a:p>
              </p:txBody>
            </p:sp>
            <p:sp>
              <p:nvSpPr>
                <p:cNvPr id="4406" name="Vrije vorm: vorm 4405">
                  <a:extLst>
                    <a:ext uri="{FF2B5EF4-FFF2-40B4-BE49-F238E27FC236}">
                      <a16:creationId xmlns:a16="http://schemas.microsoft.com/office/drawing/2014/main" id="{C6203C23-EE44-447E-BDCE-A8EFF2A89260}"/>
                    </a:ext>
                  </a:extLst>
                </p:cNvPr>
                <p:cNvSpPr/>
                <p:nvPr/>
              </p:nvSpPr>
              <p:spPr>
                <a:xfrm>
                  <a:off x="7006003" y="2016860"/>
                  <a:ext cx="18327" cy="18419"/>
                </a:xfrm>
                <a:custGeom>
                  <a:avLst/>
                  <a:gdLst>
                    <a:gd name="connsiteX0" fmla="*/ 1628 w 18327"/>
                    <a:gd name="connsiteY0" fmla="*/ 3947 h 18419"/>
                    <a:gd name="connsiteX1" fmla="*/ 3961 w 18327"/>
                    <a:gd name="connsiteY1" fmla="*/ 16745 h 18419"/>
                    <a:gd name="connsiteX2" fmla="*/ 16700 w 18327"/>
                    <a:gd name="connsiteY2" fmla="*/ 14473 h 18419"/>
                    <a:gd name="connsiteX3" fmla="*/ 14367 w 18327"/>
                    <a:gd name="connsiteY3" fmla="*/ 1674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1243" y="8133"/>
                        <a:pt x="-226" y="13875"/>
                        <a:pt x="3961" y="16745"/>
                      </a:cubicBezTo>
                      <a:cubicBezTo>
                        <a:pt x="8147" y="19676"/>
                        <a:pt x="13829" y="18659"/>
                        <a:pt x="16700" y="14473"/>
                      </a:cubicBezTo>
                      <a:cubicBezTo>
                        <a:pt x="19570" y="10286"/>
                        <a:pt x="18553" y="4545"/>
                        <a:pt x="14367" y="1674"/>
                      </a:cubicBezTo>
                      <a:cubicBezTo>
                        <a:pt x="10240" y="-1257"/>
                        <a:pt x="4499" y="-240"/>
                        <a:pt x="1628" y="3947"/>
                      </a:cubicBezTo>
                      <a:close/>
                    </a:path>
                  </a:pathLst>
                </a:custGeom>
                <a:grpFill/>
                <a:ln w="5978" cap="flat">
                  <a:noFill/>
                  <a:prstDash val="solid"/>
                  <a:miter/>
                </a:ln>
              </p:spPr>
              <p:txBody>
                <a:bodyPr rtlCol="0" anchor="ctr"/>
                <a:lstStyle/>
                <a:p>
                  <a:endParaRPr lang="en-GB"/>
                </a:p>
              </p:txBody>
            </p:sp>
          </p:grpSp>
          <p:grpSp>
            <p:nvGrpSpPr>
              <p:cNvPr id="326" name="Graphic 3">
                <a:extLst>
                  <a:ext uri="{FF2B5EF4-FFF2-40B4-BE49-F238E27FC236}">
                    <a16:creationId xmlns:a16="http://schemas.microsoft.com/office/drawing/2014/main" id="{3F930A97-E653-42EA-BDC9-E98CBE3FE428}"/>
                  </a:ext>
                </a:extLst>
              </p:cNvPr>
              <p:cNvGrpSpPr/>
              <p:nvPr/>
            </p:nvGrpSpPr>
            <p:grpSpPr>
              <a:xfrm>
                <a:off x="6894349" y="1529113"/>
                <a:ext cx="132427" cy="241205"/>
                <a:chOff x="6894349" y="1529113"/>
                <a:chExt cx="132427" cy="241205"/>
              </a:xfrm>
              <a:grpFill/>
            </p:grpSpPr>
            <p:sp>
              <p:nvSpPr>
                <p:cNvPr id="4401" name="Vrije vorm: vorm 4400">
                  <a:extLst>
                    <a:ext uri="{FF2B5EF4-FFF2-40B4-BE49-F238E27FC236}">
                      <a16:creationId xmlns:a16="http://schemas.microsoft.com/office/drawing/2014/main" id="{4284F984-3142-477F-A14A-E1F467CF4D57}"/>
                    </a:ext>
                  </a:extLst>
                </p:cNvPr>
                <p:cNvSpPr/>
                <p:nvPr/>
              </p:nvSpPr>
              <p:spPr>
                <a:xfrm>
                  <a:off x="6901952" y="1537205"/>
                  <a:ext cx="117222" cy="224994"/>
                </a:xfrm>
                <a:custGeom>
                  <a:avLst/>
                  <a:gdLst>
                    <a:gd name="connsiteX0" fmla="*/ 117223 w 117222"/>
                    <a:gd name="connsiteY0" fmla="*/ 1435 h 224994"/>
                    <a:gd name="connsiteX1" fmla="*/ 2692 w 117222"/>
                    <a:gd name="connsiteY1" fmla="*/ 224995 h 224994"/>
                    <a:gd name="connsiteX2" fmla="*/ 0 w 117222"/>
                    <a:gd name="connsiteY2" fmla="*/ 223559 h 224994"/>
                    <a:gd name="connsiteX3" fmla="*/ 114531 w 117222"/>
                    <a:gd name="connsiteY3" fmla="*/ 0 h 224994"/>
                  </a:gdLst>
                  <a:ahLst/>
                  <a:cxnLst>
                    <a:cxn ang="0">
                      <a:pos x="connsiteX0" y="connsiteY0"/>
                    </a:cxn>
                    <a:cxn ang="0">
                      <a:pos x="connsiteX1" y="connsiteY1"/>
                    </a:cxn>
                    <a:cxn ang="0">
                      <a:pos x="connsiteX2" y="connsiteY2"/>
                    </a:cxn>
                    <a:cxn ang="0">
                      <a:pos x="connsiteX3" y="connsiteY3"/>
                    </a:cxn>
                  </a:cxnLst>
                  <a:rect l="l" t="t" r="r" b="b"/>
                  <a:pathLst>
                    <a:path w="117222" h="224994">
                      <a:moveTo>
                        <a:pt x="117223" y="1435"/>
                      </a:moveTo>
                      <a:lnTo>
                        <a:pt x="2692" y="224995"/>
                      </a:lnTo>
                      <a:lnTo>
                        <a:pt x="0" y="223559"/>
                      </a:lnTo>
                      <a:lnTo>
                        <a:pt x="114531" y="0"/>
                      </a:lnTo>
                      <a:close/>
                    </a:path>
                  </a:pathLst>
                </a:custGeom>
                <a:grpFill/>
                <a:ln w="5978" cap="flat">
                  <a:noFill/>
                  <a:prstDash val="solid"/>
                  <a:miter/>
                </a:ln>
              </p:spPr>
              <p:txBody>
                <a:bodyPr rtlCol="0" anchor="ctr"/>
                <a:lstStyle/>
                <a:p>
                  <a:endParaRPr lang="en-GB"/>
                </a:p>
              </p:txBody>
            </p:sp>
            <p:sp>
              <p:nvSpPr>
                <p:cNvPr id="4402" name="Vrije vorm: vorm 4401">
                  <a:extLst>
                    <a:ext uri="{FF2B5EF4-FFF2-40B4-BE49-F238E27FC236}">
                      <a16:creationId xmlns:a16="http://schemas.microsoft.com/office/drawing/2014/main" id="{687DDED6-629C-4AD1-A42F-AD18B3C42346}"/>
                    </a:ext>
                  </a:extLst>
                </p:cNvPr>
                <p:cNvSpPr/>
                <p:nvPr/>
              </p:nvSpPr>
              <p:spPr>
                <a:xfrm>
                  <a:off x="7008462" y="1529113"/>
                  <a:ext cx="18315" cy="18457"/>
                </a:xfrm>
                <a:custGeom>
                  <a:avLst/>
                  <a:gdLst>
                    <a:gd name="connsiteX0" fmla="*/ 1024 w 18315"/>
                    <a:gd name="connsiteY0" fmla="*/ 4982 h 18457"/>
                    <a:gd name="connsiteX1" fmla="*/ 13344 w 18315"/>
                    <a:gd name="connsiteY1" fmla="*/ 1035 h 18457"/>
                    <a:gd name="connsiteX2" fmla="*/ 17291 w 18315"/>
                    <a:gd name="connsiteY2" fmla="*/ 13475 h 18457"/>
                    <a:gd name="connsiteX3" fmla="*/ 4971 w 18315"/>
                    <a:gd name="connsiteY3" fmla="*/ 17422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3356" y="437"/>
                        <a:pt x="8858" y="-1297"/>
                        <a:pt x="13344" y="1035"/>
                      </a:cubicBezTo>
                      <a:cubicBezTo>
                        <a:pt x="17829" y="3368"/>
                        <a:pt x="19624" y="8930"/>
                        <a:pt x="17291" y="13475"/>
                      </a:cubicBezTo>
                      <a:cubicBezTo>
                        <a:pt x="14959" y="18020"/>
                        <a:pt x="9456" y="19755"/>
                        <a:pt x="4971" y="17422"/>
                      </a:cubicBezTo>
                      <a:cubicBezTo>
                        <a:pt x="485" y="15030"/>
                        <a:pt x="-1309" y="9468"/>
                        <a:pt x="1024" y="4982"/>
                      </a:cubicBezTo>
                      <a:close/>
                    </a:path>
                  </a:pathLst>
                </a:custGeom>
                <a:grpFill/>
                <a:ln w="5978" cap="flat">
                  <a:noFill/>
                  <a:prstDash val="solid"/>
                  <a:miter/>
                </a:ln>
              </p:spPr>
              <p:txBody>
                <a:bodyPr rtlCol="0" anchor="ctr"/>
                <a:lstStyle/>
                <a:p>
                  <a:endParaRPr lang="en-GB"/>
                </a:p>
              </p:txBody>
            </p:sp>
            <p:sp>
              <p:nvSpPr>
                <p:cNvPr id="4403" name="Vrije vorm: vorm 4402">
                  <a:extLst>
                    <a:ext uri="{FF2B5EF4-FFF2-40B4-BE49-F238E27FC236}">
                      <a16:creationId xmlns:a16="http://schemas.microsoft.com/office/drawing/2014/main" id="{90C0D7DF-E907-4F04-BA48-A3895B3B9424}"/>
                    </a:ext>
                  </a:extLst>
                </p:cNvPr>
                <p:cNvSpPr/>
                <p:nvPr/>
              </p:nvSpPr>
              <p:spPr>
                <a:xfrm>
                  <a:off x="6894349" y="1751846"/>
                  <a:ext cx="18315" cy="18472"/>
                </a:xfrm>
                <a:custGeom>
                  <a:avLst/>
                  <a:gdLst>
                    <a:gd name="connsiteX0" fmla="*/ 1024 w 18315"/>
                    <a:gd name="connsiteY0" fmla="*/ 4971 h 18472"/>
                    <a:gd name="connsiteX1" fmla="*/ 4971 w 18315"/>
                    <a:gd name="connsiteY1" fmla="*/ 17411 h 18472"/>
                    <a:gd name="connsiteX2" fmla="*/ 17291 w 18315"/>
                    <a:gd name="connsiteY2" fmla="*/ 13464 h 18472"/>
                    <a:gd name="connsiteX3" fmla="*/ 13344 w 18315"/>
                    <a:gd name="connsiteY3" fmla="*/ 1024 h 18472"/>
                    <a:gd name="connsiteX4" fmla="*/ 1024 w 18315"/>
                    <a:gd name="connsiteY4" fmla="*/ 4971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72">
                      <a:moveTo>
                        <a:pt x="1024" y="4971"/>
                      </a:moveTo>
                      <a:cubicBezTo>
                        <a:pt x="-1309" y="9457"/>
                        <a:pt x="486" y="15019"/>
                        <a:pt x="4971" y="17411"/>
                      </a:cubicBezTo>
                      <a:cubicBezTo>
                        <a:pt x="9457" y="19803"/>
                        <a:pt x="15019" y="18009"/>
                        <a:pt x="17291" y="13464"/>
                      </a:cubicBezTo>
                      <a:cubicBezTo>
                        <a:pt x="19624" y="8978"/>
                        <a:pt x="17830" y="3416"/>
                        <a:pt x="13344" y="1024"/>
                      </a:cubicBezTo>
                      <a:cubicBezTo>
                        <a:pt x="8859" y="-1309"/>
                        <a:pt x="3356" y="486"/>
                        <a:pt x="1024" y="4971"/>
                      </a:cubicBezTo>
                      <a:close/>
                    </a:path>
                  </a:pathLst>
                </a:custGeom>
                <a:grpFill/>
                <a:ln w="5978" cap="flat">
                  <a:noFill/>
                  <a:prstDash val="solid"/>
                  <a:miter/>
                </a:ln>
              </p:spPr>
              <p:txBody>
                <a:bodyPr rtlCol="0" anchor="ctr"/>
                <a:lstStyle/>
                <a:p>
                  <a:endParaRPr lang="en-GB"/>
                </a:p>
              </p:txBody>
            </p:sp>
          </p:grpSp>
          <p:grpSp>
            <p:nvGrpSpPr>
              <p:cNvPr id="327" name="Graphic 3">
                <a:extLst>
                  <a:ext uri="{FF2B5EF4-FFF2-40B4-BE49-F238E27FC236}">
                    <a16:creationId xmlns:a16="http://schemas.microsoft.com/office/drawing/2014/main" id="{082B9D3A-19BA-47C0-800F-E66C6C208122}"/>
                  </a:ext>
                </a:extLst>
              </p:cNvPr>
              <p:cNvGrpSpPr/>
              <p:nvPr/>
            </p:nvGrpSpPr>
            <p:grpSpPr>
              <a:xfrm>
                <a:off x="7654490" y="3885634"/>
                <a:ext cx="88787" cy="39335"/>
                <a:chOff x="7654490" y="3885634"/>
                <a:chExt cx="88787" cy="39335"/>
              </a:xfrm>
              <a:grpFill/>
            </p:grpSpPr>
            <p:sp>
              <p:nvSpPr>
                <p:cNvPr id="4398" name="Vrije vorm: vorm 4397">
                  <a:extLst>
                    <a:ext uri="{FF2B5EF4-FFF2-40B4-BE49-F238E27FC236}">
                      <a16:creationId xmlns:a16="http://schemas.microsoft.com/office/drawing/2014/main" id="{E0DE40AB-5494-4332-8A01-259E9CCA9548}"/>
                    </a:ext>
                  </a:extLst>
                </p:cNvPr>
                <p:cNvSpPr/>
                <p:nvPr/>
              </p:nvSpPr>
              <p:spPr>
                <a:xfrm>
                  <a:off x="7662820" y="3893251"/>
                  <a:ext cx="72186" cy="24161"/>
                </a:xfrm>
                <a:custGeom>
                  <a:avLst/>
                  <a:gdLst>
                    <a:gd name="connsiteX0" fmla="*/ 72187 w 72186"/>
                    <a:gd name="connsiteY0" fmla="*/ 21172 h 24161"/>
                    <a:gd name="connsiteX1" fmla="*/ 71290 w 72186"/>
                    <a:gd name="connsiteY1" fmla="*/ 24162 h 24161"/>
                    <a:gd name="connsiteX2" fmla="*/ 0 w 72186"/>
                    <a:gd name="connsiteY2" fmla="*/ 2930 h 24161"/>
                    <a:gd name="connsiteX3" fmla="*/ 837 w 72186"/>
                    <a:gd name="connsiteY3" fmla="*/ 0 h 24161"/>
                  </a:gdLst>
                  <a:ahLst/>
                  <a:cxnLst>
                    <a:cxn ang="0">
                      <a:pos x="connsiteX0" y="connsiteY0"/>
                    </a:cxn>
                    <a:cxn ang="0">
                      <a:pos x="connsiteX1" y="connsiteY1"/>
                    </a:cxn>
                    <a:cxn ang="0">
                      <a:pos x="connsiteX2" y="connsiteY2"/>
                    </a:cxn>
                    <a:cxn ang="0">
                      <a:pos x="connsiteX3" y="connsiteY3"/>
                    </a:cxn>
                  </a:cxnLst>
                  <a:rect l="l" t="t" r="r" b="b"/>
                  <a:pathLst>
                    <a:path w="72186" h="24161">
                      <a:moveTo>
                        <a:pt x="72187" y="21172"/>
                      </a:moveTo>
                      <a:lnTo>
                        <a:pt x="71290" y="24162"/>
                      </a:lnTo>
                      <a:lnTo>
                        <a:pt x="0" y="2930"/>
                      </a:lnTo>
                      <a:lnTo>
                        <a:pt x="837" y="0"/>
                      </a:lnTo>
                      <a:close/>
                    </a:path>
                  </a:pathLst>
                </a:custGeom>
                <a:grpFill/>
                <a:ln w="5978" cap="flat">
                  <a:noFill/>
                  <a:prstDash val="solid"/>
                  <a:miter/>
                </a:ln>
              </p:spPr>
              <p:txBody>
                <a:bodyPr rtlCol="0" anchor="ctr"/>
                <a:lstStyle/>
                <a:p>
                  <a:endParaRPr lang="en-GB"/>
                </a:p>
              </p:txBody>
            </p:sp>
            <p:sp>
              <p:nvSpPr>
                <p:cNvPr id="4399" name="Vrije vorm: vorm 4398">
                  <a:extLst>
                    <a:ext uri="{FF2B5EF4-FFF2-40B4-BE49-F238E27FC236}">
                      <a16:creationId xmlns:a16="http://schemas.microsoft.com/office/drawing/2014/main" id="{25BA3EEB-BAF0-4BDB-A309-2F22B0CD9F39}"/>
                    </a:ext>
                  </a:extLst>
                </p:cNvPr>
                <p:cNvSpPr/>
                <p:nvPr/>
              </p:nvSpPr>
              <p:spPr>
                <a:xfrm>
                  <a:off x="7724943" y="3906571"/>
                  <a:ext cx="18333" cy="18398"/>
                </a:xfrm>
                <a:custGeom>
                  <a:avLst/>
                  <a:gdLst>
                    <a:gd name="connsiteX0" fmla="*/ 11739 w 18333"/>
                    <a:gd name="connsiteY0" fmla="*/ 375 h 18398"/>
                    <a:gd name="connsiteX1" fmla="*/ 17958 w 18333"/>
                    <a:gd name="connsiteY1" fmla="*/ 11799 h 18398"/>
                    <a:gd name="connsiteX2" fmla="*/ 6596 w 18333"/>
                    <a:gd name="connsiteY2" fmla="*/ 18019 h 18398"/>
                    <a:gd name="connsiteX3" fmla="*/ 375 w 18333"/>
                    <a:gd name="connsiteY3" fmla="*/ 6595 h 18398"/>
                    <a:gd name="connsiteX4" fmla="*/ 11739 w 18333"/>
                    <a:gd name="connsiteY4" fmla="*/ 37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8">
                      <a:moveTo>
                        <a:pt x="11739" y="375"/>
                      </a:moveTo>
                      <a:cubicBezTo>
                        <a:pt x="16583" y="1811"/>
                        <a:pt x="19394" y="6954"/>
                        <a:pt x="17958" y="11799"/>
                      </a:cubicBezTo>
                      <a:cubicBezTo>
                        <a:pt x="16523" y="16703"/>
                        <a:pt x="11440" y="19454"/>
                        <a:pt x="6596" y="18019"/>
                      </a:cubicBezTo>
                      <a:cubicBezTo>
                        <a:pt x="1751" y="16583"/>
                        <a:pt x="-1060" y="11440"/>
                        <a:pt x="375" y="6595"/>
                      </a:cubicBezTo>
                      <a:cubicBezTo>
                        <a:pt x="1811" y="1751"/>
                        <a:pt x="6894" y="-1060"/>
                        <a:pt x="11739" y="375"/>
                      </a:cubicBezTo>
                      <a:close/>
                    </a:path>
                  </a:pathLst>
                </a:custGeom>
                <a:grpFill/>
                <a:ln w="5978" cap="flat">
                  <a:noFill/>
                  <a:prstDash val="solid"/>
                  <a:miter/>
                </a:ln>
              </p:spPr>
              <p:txBody>
                <a:bodyPr rtlCol="0" anchor="ctr"/>
                <a:lstStyle/>
                <a:p>
                  <a:endParaRPr lang="en-GB"/>
                </a:p>
              </p:txBody>
            </p:sp>
            <p:sp>
              <p:nvSpPr>
                <p:cNvPr id="4400" name="Vrije vorm: vorm 4399">
                  <a:extLst>
                    <a:ext uri="{FF2B5EF4-FFF2-40B4-BE49-F238E27FC236}">
                      <a16:creationId xmlns:a16="http://schemas.microsoft.com/office/drawing/2014/main" id="{A0F3F50D-47E8-420B-998E-14268025C8D0}"/>
                    </a:ext>
                  </a:extLst>
                </p:cNvPr>
                <p:cNvSpPr/>
                <p:nvPr/>
              </p:nvSpPr>
              <p:spPr>
                <a:xfrm>
                  <a:off x="7654490" y="3885634"/>
                  <a:ext cx="18334" cy="18403"/>
                </a:xfrm>
                <a:custGeom>
                  <a:avLst/>
                  <a:gdLst>
                    <a:gd name="connsiteX0" fmla="*/ 11739 w 18334"/>
                    <a:gd name="connsiteY0" fmla="*/ 380 h 18403"/>
                    <a:gd name="connsiteX1" fmla="*/ 375 w 18334"/>
                    <a:gd name="connsiteY1" fmla="*/ 6600 h 18403"/>
                    <a:gd name="connsiteX2" fmla="*/ 6596 w 18334"/>
                    <a:gd name="connsiteY2" fmla="*/ 18023 h 18403"/>
                    <a:gd name="connsiteX3" fmla="*/ 17959 w 18334"/>
                    <a:gd name="connsiteY3" fmla="*/ 11803 h 18403"/>
                    <a:gd name="connsiteX4" fmla="*/ 11739 w 18334"/>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3">
                      <a:moveTo>
                        <a:pt x="11739" y="380"/>
                      </a:moveTo>
                      <a:cubicBezTo>
                        <a:pt x="6895" y="-1055"/>
                        <a:pt x="1811" y="1696"/>
                        <a:pt x="375" y="6600"/>
                      </a:cubicBezTo>
                      <a:cubicBezTo>
                        <a:pt x="-1060" y="11504"/>
                        <a:pt x="1751" y="16588"/>
                        <a:pt x="6596" y="18023"/>
                      </a:cubicBezTo>
                      <a:cubicBezTo>
                        <a:pt x="11440" y="19459"/>
                        <a:pt x="16524" y="16708"/>
                        <a:pt x="17959" y="11803"/>
                      </a:cubicBezTo>
                      <a:cubicBezTo>
                        <a:pt x="19394" y="6959"/>
                        <a:pt x="16584" y="1815"/>
                        <a:pt x="11739" y="380"/>
                      </a:cubicBezTo>
                      <a:close/>
                    </a:path>
                  </a:pathLst>
                </a:custGeom>
                <a:grpFill/>
                <a:ln w="5978" cap="flat">
                  <a:noFill/>
                  <a:prstDash val="solid"/>
                  <a:miter/>
                </a:ln>
              </p:spPr>
              <p:txBody>
                <a:bodyPr rtlCol="0" anchor="ctr"/>
                <a:lstStyle/>
                <a:p>
                  <a:endParaRPr lang="en-GB"/>
                </a:p>
              </p:txBody>
            </p:sp>
          </p:grpSp>
          <p:grpSp>
            <p:nvGrpSpPr>
              <p:cNvPr id="328" name="Graphic 3">
                <a:extLst>
                  <a:ext uri="{FF2B5EF4-FFF2-40B4-BE49-F238E27FC236}">
                    <a16:creationId xmlns:a16="http://schemas.microsoft.com/office/drawing/2014/main" id="{34EE1FA9-F239-42AA-8A87-095F4971DC5C}"/>
                  </a:ext>
                </a:extLst>
              </p:cNvPr>
              <p:cNvGrpSpPr/>
              <p:nvPr/>
            </p:nvGrpSpPr>
            <p:grpSpPr>
              <a:xfrm>
                <a:off x="6685894" y="1030365"/>
                <a:ext cx="380142" cy="796281"/>
                <a:chOff x="6685894" y="1030365"/>
                <a:chExt cx="380142" cy="796281"/>
              </a:xfrm>
              <a:grpFill/>
            </p:grpSpPr>
            <p:sp>
              <p:nvSpPr>
                <p:cNvPr id="4395" name="Vrije vorm: vorm 4394">
                  <a:extLst>
                    <a:ext uri="{FF2B5EF4-FFF2-40B4-BE49-F238E27FC236}">
                      <a16:creationId xmlns:a16="http://schemas.microsoft.com/office/drawing/2014/main" id="{35D9A150-47C4-4838-A969-A73EAF97D205}"/>
                    </a:ext>
                  </a:extLst>
                </p:cNvPr>
                <p:cNvSpPr/>
                <p:nvPr/>
              </p:nvSpPr>
              <p:spPr>
                <a:xfrm>
                  <a:off x="6693524" y="1038473"/>
                  <a:ext cx="364943" cy="780005"/>
                </a:xfrm>
                <a:custGeom>
                  <a:avLst/>
                  <a:gdLst>
                    <a:gd name="connsiteX0" fmla="*/ 364944 w 364943"/>
                    <a:gd name="connsiteY0" fmla="*/ 1316 h 780005"/>
                    <a:gd name="connsiteX1" fmla="*/ 2751 w 364943"/>
                    <a:gd name="connsiteY1" fmla="*/ 780006 h 780005"/>
                    <a:gd name="connsiteX2" fmla="*/ 0 w 364943"/>
                    <a:gd name="connsiteY2" fmla="*/ 778750 h 780005"/>
                    <a:gd name="connsiteX3" fmla="*/ 362193 w 364943"/>
                    <a:gd name="connsiteY3" fmla="*/ 0 h 780005"/>
                  </a:gdLst>
                  <a:ahLst/>
                  <a:cxnLst>
                    <a:cxn ang="0">
                      <a:pos x="connsiteX0" y="connsiteY0"/>
                    </a:cxn>
                    <a:cxn ang="0">
                      <a:pos x="connsiteX1" y="connsiteY1"/>
                    </a:cxn>
                    <a:cxn ang="0">
                      <a:pos x="connsiteX2" y="connsiteY2"/>
                    </a:cxn>
                    <a:cxn ang="0">
                      <a:pos x="connsiteX3" y="connsiteY3"/>
                    </a:cxn>
                  </a:cxnLst>
                  <a:rect l="l" t="t" r="r" b="b"/>
                  <a:pathLst>
                    <a:path w="364943" h="780005">
                      <a:moveTo>
                        <a:pt x="364944" y="1316"/>
                      </a:moveTo>
                      <a:lnTo>
                        <a:pt x="2751" y="780006"/>
                      </a:lnTo>
                      <a:lnTo>
                        <a:pt x="0" y="778750"/>
                      </a:lnTo>
                      <a:lnTo>
                        <a:pt x="362193" y="0"/>
                      </a:lnTo>
                      <a:close/>
                    </a:path>
                  </a:pathLst>
                </a:custGeom>
                <a:grpFill/>
                <a:ln w="5978" cap="flat">
                  <a:noFill/>
                  <a:prstDash val="solid"/>
                  <a:miter/>
                </a:ln>
              </p:spPr>
              <p:txBody>
                <a:bodyPr rtlCol="0" anchor="ctr"/>
                <a:lstStyle/>
                <a:p>
                  <a:endParaRPr lang="en-GB"/>
                </a:p>
              </p:txBody>
            </p:sp>
            <p:sp>
              <p:nvSpPr>
                <p:cNvPr id="4396" name="Vrije vorm: vorm 4395">
                  <a:extLst>
                    <a:ext uri="{FF2B5EF4-FFF2-40B4-BE49-F238E27FC236}">
                      <a16:creationId xmlns:a16="http://schemas.microsoft.com/office/drawing/2014/main" id="{EF357E6B-D8B8-47A8-AE4E-4612CCCFEF65}"/>
                    </a:ext>
                  </a:extLst>
                </p:cNvPr>
                <p:cNvSpPr/>
                <p:nvPr/>
              </p:nvSpPr>
              <p:spPr>
                <a:xfrm>
                  <a:off x="6685894" y="1808218"/>
                  <a:ext cx="18368" cy="18428"/>
                </a:xfrm>
                <a:custGeom>
                  <a:avLst/>
                  <a:gdLst>
                    <a:gd name="connsiteX0" fmla="*/ 17498 w 18368"/>
                    <a:gd name="connsiteY0" fmla="*/ 13132 h 18428"/>
                    <a:gd name="connsiteX1" fmla="*/ 5297 w 18368"/>
                    <a:gd name="connsiteY1" fmla="*/ 17557 h 18428"/>
                    <a:gd name="connsiteX2" fmla="*/ 871 w 18368"/>
                    <a:gd name="connsiteY2" fmla="*/ 5297 h 18428"/>
                    <a:gd name="connsiteX3" fmla="*/ 13072 w 18368"/>
                    <a:gd name="connsiteY3" fmla="*/ 871 h 18428"/>
                    <a:gd name="connsiteX4" fmla="*/ 17498 w 18368"/>
                    <a:gd name="connsiteY4" fmla="*/ 13132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17498" y="13132"/>
                      </a:moveTo>
                      <a:cubicBezTo>
                        <a:pt x="15345" y="17737"/>
                        <a:pt x="9902" y="19710"/>
                        <a:pt x="5297" y="17557"/>
                      </a:cubicBezTo>
                      <a:cubicBezTo>
                        <a:pt x="692" y="15404"/>
                        <a:pt x="-1282" y="9902"/>
                        <a:pt x="871" y="5297"/>
                      </a:cubicBezTo>
                      <a:cubicBezTo>
                        <a:pt x="3024" y="692"/>
                        <a:pt x="8467" y="-1282"/>
                        <a:pt x="13072" y="871"/>
                      </a:cubicBezTo>
                      <a:cubicBezTo>
                        <a:pt x="17677" y="3024"/>
                        <a:pt x="19651" y="8526"/>
                        <a:pt x="17498" y="13132"/>
                      </a:cubicBezTo>
                      <a:close/>
                    </a:path>
                  </a:pathLst>
                </a:custGeom>
                <a:grpFill/>
                <a:ln w="5978" cap="flat">
                  <a:noFill/>
                  <a:prstDash val="solid"/>
                  <a:miter/>
                </a:ln>
              </p:spPr>
              <p:txBody>
                <a:bodyPr rtlCol="0" anchor="ctr"/>
                <a:lstStyle/>
                <a:p>
                  <a:endParaRPr lang="en-GB"/>
                </a:p>
              </p:txBody>
            </p:sp>
            <p:sp>
              <p:nvSpPr>
                <p:cNvPr id="4397" name="Vrije vorm: vorm 4396">
                  <a:extLst>
                    <a:ext uri="{FF2B5EF4-FFF2-40B4-BE49-F238E27FC236}">
                      <a16:creationId xmlns:a16="http://schemas.microsoft.com/office/drawing/2014/main" id="{F91598B8-F572-4C60-8453-1554E66720F3}"/>
                    </a:ext>
                  </a:extLst>
                </p:cNvPr>
                <p:cNvSpPr/>
                <p:nvPr/>
              </p:nvSpPr>
              <p:spPr>
                <a:xfrm>
                  <a:off x="7047668" y="1030365"/>
                  <a:ext cx="18368" cy="18428"/>
                </a:xfrm>
                <a:custGeom>
                  <a:avLst/>
                  <a:gdLst>
                    <a:gd name="connsiteX0" fmla="*/ 17498 w 18368"/>
                    <a:gd name="connsiteY0" fmla="*/ 13132 h 18428"/>
                    <a:gd name="connsiteX1" fmla="*/ 13072 w 18368"/>
                    <a:gd name="connsiteY1" fmla="*/ 871 h 18428"/>
                    <a:gd name="connsiteX2" fmla="*/ 871 w 18368"/>
                    <a:gd name="connsiteY2" fmla="*/ 5297 h 18428"/>
                    <a:gd name="connsiteX3" fmla="*/ 5297 w 18368"/>
                    <a:gd name="connsiteY3" fmla="*/ 17557 h 18428"/>
                    <a:gd name="connsiteX4" fmla="*/ 17498 w 18368"/>
                    <a:gd name="connsiteY4" fmla="*/ 13132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17498" y="13132"/>
                      </a:moveTo>
                      <a:cubicBezTo>
                        <a:pt x="19651" y="8526"/>
                        <a:pt x="17677" y="3024"/>
                        <a:pt x="13072" y="871"/>
                      </a:cubicBezTo>
                      <a:cubicBezTo>
                        <a:pt x="8467" y="-1282"/>
                        <a:pt x="3024" y="692"/>
                        <a:pt x="871" y="5297"/>
                      </a:cubicBezTo>
                      <a:cubicBezTo>
                        <a:pt x="-1282" y="9902"/>
                        <a:pt x="692" y="15404"/>
                        <a:pt x="5297" y="17557"/>
                      </a:cubicBezTo>
                      <a:cubicBezTo>
                        <a:pt x="9902" y="19710"/>
                        <a:pt x="15404" y="17737"/>
                        <a:pt x="17498" y="13132"/>
                      </a:cubicBezTo>
                      <a:close/>
                    </a:path>
                  </a:pathLst>
                </a:custGeom>
                <a:grpFill/>
                <a:ln w="5978" cap="flat">
                  <a:noFill/>
                  <a:prstDash val="solid"/>
                  <a:miter/>
                </a:ln>
              </p:spPr>
              <p:txBody>
                <a:bodyPr rtlCol="0" anchor="ctr"/>
                <a:lstStyle/>
                <a:p>
                  <a:endParaRPr lang="en-GB"/>
                </a:p>
              </p:txBody>
            </p:sp>
          </p:grpSp>
          <p:grpSp>
            <p:nvGrpSpPr>
              <p:cNvPr id="329" name="Graphic 3">
                <a:extLst>
                  <a:ext uri="{FF2B5EF4-FFF2-40B4-BE49-F238E27FC236}">
                    <a16:creationId xmlns:a16="http://schemas.microsoft.com/office/drawing/2014/main" id="{7339DC5E-3A1A-4F08-ADBD-01D7EAB95256}"/>
                  </a:ext>
                </a:extLst>
              </p:cNvPr>
              <p:cNvGrpSpPr/>
              <p:nvPr/>
            </p:nvGrpSpPr>
            <p:grpSpPr>
              <a:xfrm>
                <a:off x="6851740" y="1439469"/>
                <a:ext cx="130088" cy="258054"/>
                <a:chOff x="6851740" y="1439469"/>
                <a:chExt cx="130088" cy="258054"/>
              </a:xfrm>
              <a:grpFill/>
            </p:grpSpPr>
            <p:sp>
              <p:nvSpPr>
                <p:cNvPr id="4392" name="Vrije vorm: vorm 4391">
                  <a:extLst>
                    <a:ext uri="{FF2B5EF4-FFF2-40B4-BE49-F238E27FC236}">
                      <a16:creationId xmlns:a16="http://schemas.microsoft.com/office/drawing/2014/main" id="{5488668D-1087-4F14-8369-3E28D2B868E8}"/>
                    </a:ext>
                  </a:extLst>
                </p:cNvPr>
                <p:cNvSpPr/>
                <p:nvPr/>
              </p:nvSpPr>
              <p:spPr>
                <a:xfrm>
                  <a:off x="6859369" y="1447614"/>
                  <a:ext cx="114830" cy="241740"/>
                </a:xfrm>
                <a:custGeom>
                  <a:avLst/>
                  <a:gdLst>
                    <a:gd name="connsiteX0" fmla="*/ 114830 w 114830"/>
                    <a:gd name="connsiteY0" fmla="*/ 1316 h 241740"/>
                    <a:gd name="connsiteX1" fmla="*/ 2752 w 114830"/>
                    <a:gd name="connsiteY1" fmla="*/ 241741 h 241740"/>
                    <a:gd name="connsiteX2" fmla="*/ 0 w 114830"/>
                    <a:gd name="connsiteY2" fmla="*/ 240425 h 241740"/>
                    <a:gd name="connsiteX3" fmla="*/ 112019 w 114830"/>
                    <a:gd name="connsiteY3" fmla="*/ 0 h 241740"/>
                  </a:gdLst>
                  <a:ahLst/>
                  <a:cxnLst>
                    <a:cxn ang="0">
                      <a:pos x="connsiteX0" y="connsiteY0"/>
                    </a:cxn>
                    <a:cxn ang="0">
                      <a:pos x="connsiteX1" y="connsiteY1"/>
                    </a:cxn>
                    <a:cxn ang="0">
                      <a:pos x="connsiteX2" y="connsiteY2"/>
                    </a:cxn>
                    <a:cxn ang="0">
                      <a:pos x="connsiteX3" y="connsiteY3"/>
                    </a:cxn>
                  </a:cxnLst>
                  <a:rect l="l" t="t" r="r" b="b"/>
                  <a:pathLst>
                    <a:path w="114830" h="241740">
                      <a:moveTo>
                        <a:pt x="114830" y="1316"/>
                      </a:moveTo>
                      <a:lnTo>
                        <a:pt x="2752" y="241741"/>
                      </a:lnTo>
                      <a:lnTo>
                        <a:pt x="0" y="240425"/>
                      </a:lnTo>
                      <a:lnTo>
                        <a:pt x="112019" y="0"/>
                      </a:lnTo>
                      <a:close/>
                    </a:path>
                  </a:pathLst>
                </a:custGeom>
                <a:grpFill/>
                <a:ln w="5978" cap="flat">
                  <a:noFill/>
                  <a:prstDash val="solid"/>
                  <a:miter/>
                </a:ln>
              </p:spPr>
              <p:txBody>
                <a:bodyPr rtlCol="0" anchor="ctr"/>
                <a:lstStyle/>
                <a:p>
                  <a:endParaRPr lang="en-GB"/>
                </a:p>
              </p:txBody>
            </p:sp>
            <p:sp>
              <p:nvSpPr>
                <p:cNvPr id="4393" name="Vrije vorm: vorm 4392">
                  <a:extLst>
                    <a:ext uri="{FF2B5EF4-FFF2-40B4-BE49-F238E27FC236}">
                      <a16:creationId xmlns:a16="http://schemas.microsoft.com/office/drawing/2014/main" id="{00053E35-B1BE-4A81-9750-F13F7E7750DD}"/>
                    </a:ext>
                  </a:extLst>
                </p:cNvPr>
                <p:cNvSpPr/>
                <p:nvPr/>
              </p:nvSpPr>
              <p:spPr>
                <a:xfrm>
                  <a:off x="6963460" y="1439469"/>
                  <a:ext cx="18368" cy="18442"/>
                </a:xfrm>
                <a:custGeom>
                  <a:avLst/>
                  <a:gdLst>
                    <a:gd name="connsiteX0" fmla="*/ 871 w 18368"/>
                    <a:gd name="connsiteY0" fmla="*/ 5274 h 18442"/>
                    <a:gd name="connsiteX1" fmla="*/ 13072 w 18368"/>
                    <a:gd name="connsiteY1" fmla="*/ 908 h 18442"/>
                    <a:gd name="connsiteX2" fmla="*/ 17498 w 18368"/>
                    <a:gd name="connsiteY2" fmla="*/ 13169 h 18442"/>
                    <a:gd name="connsiteX3" fmla="*/ 5297 w 18368"/>
                    <a:gd name="connsiteY3" fmla="*/ 17535 h 18442"/>
                    <a:gd name="connsiteX4" fmla="*/ 871 w 18368"/>
                    <a:gd name="connsiteY4" fmla="*/ 527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2">
                      <a:moveTo>
                        <a:pt x="871" y="5274"/>
                      </a:moveTo>
                      <a:cubicBezTo>
                        <a:pt x="3024" y="669"/>
                        <a:pt x="8467" y="-1305"/>
                        <a:pt x="13072" y="908"/>
                      </a:cubicBezTo>
                      <a:cubicBezTo>
                        <a:pt x="17677" y="3061"/>
                        <a:pt x="19651" y="8564"/>
                        <a:pt x="17498" y="13169"/>
                      </a:cubicBezTo>
                      <a:cubicBezTo>
                        <a:pt x="15345" y="17774"/>
                        <a:pt x="9902" y="19748"/>
                        <a:pt x="5297" y="17535"/>
                      </a:cubicBezTo>
                      <a:cubicBezTo>
                        <a:pt x="692" y="15382"/>
                        <a:pt x="-1282" y="9879"/>
                        <a:pt x="871" y="5274"/>
                      </a:cubicBezTo>
                      <a:close/>
                    </a:path>
                  </a:pathLst>
                </a:custGeom>
                <a:grpFill/>
                <a:ln w="5978" cap="flat">
                  <a:noFill/>
                  <a:prstDash val="solid"/>
                  <a:miter/>
                </a:ln>
              </p:spPr>
              <p:txBody>
                <a:bodyPr rtlCol="0" anchor="ctr"/>
                <a:lstStyle/>
                <a:p>
                  <a:endParaRPr lang="en-GB"/>
                </a:p>
              </p:txBody>
            </p:sp>
            <p:sp>
              <p:nvSpPr>
                <p:cNvPr id="4394" name="Vrije vorm: vorm 4393">
                  <a:extLst>
                    <a:ext uri="{FF2B5EF4-FFF2-40B4-BE49-F238E27FC236}">
                      <a16:creationId xmlns:a16="http://schemas.microsoft.com/office/drawing/2014/main" id="{03A27EB6-91CB-49D0-81D6-23037378F32B}"/>
                    </a:ext>
                  </a:extLst>
                </p:cNvPr>
                <p:cNvSpPr/>
                <p:nvPr/>
              </p:nvSpPr>
              <p:spPr>
                <a:xfrm>
                  <a:off x="6851740" y="1679116"/>
                  <a:ext cx="18368" cy="18407"/>
                </a:xfrm>
                <a:custGeom>
                  <a:avLst/>
                  <a:gdLst>
                    <a:gd name="connsiteX0" fmla="*/ 871 w 18368"/>
                    <a:gd name="connsiteY0" fmla="*/ 5274 h 18407"/>
                    <a:gd name="connsiteX1" fmla="*/ 5297 w 18368"/>
                    <a:gd name="connsiteY1" fmla="*/ 17535 h 18407"/>
                    <a:gd name="connsiteX2" fmla="*/ 17498 w 18368"/>
                    <a:gd name="connsiteY2" fmla="*/ 13169 h 18407"/>
                    <a:gd name="connsiteX3" fmla="*/ 13072 w 18368"/>
                    <a:gd name="connsiteY3" fmla="*/ 908 h 18407"/>
                    <a:gd name="connsiteX4" fmla="*/ 871 w 18368"/>
                    <a:gd name="connsiteY4" fmla="*/ 527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7">
                      <a:moveTo>
                        <a:pt x="871" y="5274"/>
                      </a:moveTo>
                      <a:cubicBezTo>
                        <a:pt x="-1282" y="9879"/>
                        <a:pt x="692" y="15382"/>
                        <a:pt x="5297" y="17535"/>
                      </a:cubicBezTo>
                      <a:cubicBezTo>
                        <a:pt x="9902" y="19688"/>
                        <a:pt x="15345" y="17714"/>
                        <a:pt x="17498" y="13169"/>
                      </a:cubicBezTo>
                      <a:cubicBezTo>
                        <a:pt x="19651" y="8564"/>
                        <a:pt x="17677" y="3061"/>
                        <a:pt x="13072" y="908"/>
                      </a:cubicBezTo>
                      <a:cubicBezTo>
                        <a:pt x="8467" y="-1305"/>
                        <a:pt x="3024" y="669"/>
                        <a:pt x="871" y="5274"/>
                      </a:cubicBezTo>
                      <a:close/>
                    </a:path>
                  </a:pathLst>
                </a:custGeom>
                <a:grpFill/>
                <a:ln w="5978" cap="flat">
                  <a:noFill/>
                  <a:prstDash val="solid"/>
                  <a:miter/>
                </a:ln>
              </p:spPr>
              <p:txBody>
                <a:bodyPr rtlCol="0" anchor="ctr"/>
                <a:lstStyle/>
                <a:p>
                  <a:endParaRPr lang="en-GB"/>
                </a:p>
              </p:txBody>
            </p:sp>
          </p:grpSp>
          <p:grpSp>
            <p:nvGrpSpPr>
              <p:cNvPr id="330" name="Graphic 3">
                <a:extLst>
                  <a:ext uri="{FF2B5EF4-FFF2-40B4-BE49-F238E27FC236}">
                    <a16:creationId xmlns:a16="http://schemas.microsoft.com/office/drawing/2014/main" id="{25AEA166-8DE5-4CBE-97FF-F3865A5EA0AF}"/>
                  </a:ext>
                </a:extLst>
              </p:cNvPr>
              <p:cNvGrpSpPr/>
              <p:nvPr/>
            </p:nvGrpSpPr>
            <p:grpSpPr>
              <a:xfrm>
                <a:off x="6736108" y="1076033"/>
                <a:ext cx="210338" cy="525853"/>
                <a:chOff x="6736108" y="1076033"/>
                <a:chExt cx="210338" cy="525853"/>
              </a:xfrm>
              <a:grpFill/>
            </p:grpSpPr>
            <p:sp>
              <p:nvSpPr>
                <p:cNvPr id="4389" name="Vrije vorm: vorm 4388">
                  <a:extLst>
                    <a:ext uri="{FF2B5EF4-FFF2-40B4-BE49-F238E27FC236}">
                      <a16:creationId xmlns:a16="http://schemas.microsoft.com/office/drawing/2014/main" id="{5F0FB6C8-C596-47A7-950A-E3BA898D931B}"/>
                    </a:ext>
                  </a:extLst>
                </p:cNvPr>
                <p:cNvSpPr/>
                <p:nvPr/>
              </p:nvSpPr>
              <p:spPr>
                <a:xfrm>
                  <a:off x="6743702" y="1084285"/>
                  <a:ext cx="195091" cy="509378"/>
                </a:xfrm>
                <a:custGeom>
                  <a:avLst/>
                  <a:gdLst>
                    <a:gd name="connsiteX0" fmla="*/ 195091 w 195091"/>
                    <a:gd name="connsiteY0" fmla="*/ 1077 h 509378"/>
                    <a:gd name="connsiteX1" fmla="*/ 2811 w 195091"/>
                    <a:gd name="connsiteY1" fmla="*/ 509378 h 509378"/>
                    <a:gd name="connsiteX2" fmla="*/ 0 w 195091"/>
                    <a:gd name="connsiteY2" fmla="*/ 508301 h 509378"/>
                    <a:gd name="connsiteX3" fmla="*/ 192280 w 195091"/>
                    <a:gd name="connsiteY3" fmla="*/ 0 h 509378"/>
                  </a:gdLst>
                  <a:ahLst/>
                  <a:cxnLst>
                    <a:cxn ang="0">
                      <a:pos x="connsiteX0" y="connsiteY0"/>
                    </a:cxn>
                    <a:cxn ang="0">
                      <a:pos x="connsiteX1" y="connsiteY1"/>
                    </a:cxn>
                    <a:cxn ang="0">
                      <a:pos x="connsiteX2" y="connsiteY2"/>
                    </a:cxn>
                    <a:cxn ang="0">
                      <a:pos x="connsiteX3" y="connsiteY3"/>
                    </a:cxn>
                  </a:cxnLst>
                  <a:rect l="l" t="t" r="r" b="b"/>
                  <a:pathLst>
                    <a:path w="195091" h="509378">
                      <a:moveTo>
                        <a:pt x="195091" y="1077"/>
                      </a:moveTo>
                      <a:lnTo>
                        <a:pt x="2811" y="509378"/>
                      </a:lnTo>
                      <a:lnTo>
                        <a:pt x="0" y="508301"/>
                      </a:lnTo>
                      <a:lnTo>
                        <a:pt x="192280" y="0"/>
                      </a:lnTo>
                      <a:close/>
                    </a:path>
                  </a:pathLst>
                </a:custGeom>
                <a:grpFill/>
                <a:ln w="5978" cap="flat">
                  <a:noFill/>
                  <a:prstDash val="solid"/>
                  <a:miter/>
                </a:ln>
              </p:spPr>
              <p:txBody>
                <a:bodyPr rtlCol="0" anchor="ctr"/>
                <a:lstStyle/>
                <a:p>
                  <a:endParaRPr lang="en-GB"/>
                </a:p>
              </p:txBody>
            </p:sp>
            <p:sp>
              <p:nvSpPr>
                <p:cNvPr id="4390" name="Vrije vorm: vorm 4389">
                  <a:extLst>
                    <a:ext uri="{FF2B5EF4-FFF2-40B4-BE49-F238E27FC236}">
                      <a16:creationId xmlns:a16="http://schemas.microsoft.com/office/drawing/2014/main" id="{CDBD00DE-7CD9-401C-A536-28AC9FBC5B37}"/>
                    </a:ext>
                  </a:extLst>
                </p:cNvPr>
                <p:cNvSpPr/>
                <p:nvPr/>
              </p:nvSpPr>
              <p:spPr>
                <a:xfrm>
                  <a:off x="6928090" y="1076033"/>
                  <a:ext cx="18357" cy="18417"/>
                </a:xfrm>
                <a:custGeom>
                  <a:avLst/>
                  <a:gdLst>
                    <a:gd name="connsiteX0" fmla="*/ 597 w 18357"/>
                    <a:gd name="connsiteY0" fmla="*/ 5919 h 18417"/>
                    <a:gd name="connsiteX1" fmla="*/ 12438 w 18357"/>
                    <a:gd name="connsiteY1" fmla="*/ 596 h 18417"/>
                    <a:gd name="connsiteX2" fmla="*/ 17761 w 18357"/>
                    <a:gd name="connsiteY2" fmla="*/ 12498 h 18417"/>
                    <a:gd name="connsiteX3" fmla="*/ 5919 w 18357"/>
                    <a:gd name="connsiteY3" fmla="*/ 17821 h 18417"/>
                    <a:gd name="connsiteX4" fmla="*/ 597 w 18357"/>
                    <a:gd name="connsiteY4" fmla="*/ 5919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7">
                      <a:moveTo>
                        <a:pt x="597" y="5919"/>
                      </a:moveTo>
                      <a:cubicBezTo>
                        <a:pt x="2390" y="1194"/>
                        <a:pt x="7713" y="-1198"/>
                        <a:pt x="12438" y="596"/>
                      </a:cubicBezTo>
                      <a:cubicBezTo>
                        <a:pt x="17163" y="2450"/>
                        <a:pt x="19555" y="7773"/>
                        <a:pt x="17761" y="12498"/>
                      </a:cubicBezTo>
                      <a:cubicBezTo>
                        <a:pt x="15967" y="17223"/>
                        <a:pt x="10644" y="19615"/>
                        <a:pt x="5919" y="17821"/>
                      </a:cubicBezTo>
                      <a:cubicBezTo>
                        <a:pt x="1194" y="16027"/>
                        <a:pt x="-1198" y="10644"/>
                        <a:pt x="597" y="5919"/>
                      </a:cubicBezTo>
                      <a:close/>
                    </a:path>
                  </a:pathLst>
                </a:custGeom>
                <a:grpFill/>
                <a:ln w="5978" cap="flat">
                  <a:noFill/>
                  <a:prstDash val="solid"/>
                  <a:miter/>
                </a:ln>
              </p:spPr>
              <p:txBody>
                <a:bodyPr rtlCol="0" anchor="ctr"/>
                <a:lstStyle/>
                <a:p>
                  <a:endParaRPr lang="en-GB"/>
                </a:p>
              </p:txBody>
            </p:sp>
            <p:sp>
              <p:nvSpPr>
                <p:cNvPr id="4391" name="Vrije vorm: vorm 4390">
                  <a:extLst>
                    <a:ext uri="{FF2B5EF4-FFF2-40B4-BE49-F238E27FC236}">
                      <a16:creationId xmlns:a16="http://schemas.microsoft.com/office/drawing/2014/main" id="{07DE8EA5-174C-4130-B4DA-39106B99169B}"/>
                    </a:ext>
                  </a:extLst>
                </p:cNvPr>
                <p:cNvSpPr/>
                <p:nvPr/>
              </p:nvSpPr>
              <p:spPr>
                <a:xfrm>
                  <a:off x="6736108" y="1583438"/>
                  <a:ext cx="18357" cy="18448"/>
                </a:xfrm>
                <a:custGeom>
                  <a:avLst/>
                  <a:gdLst>
                    <a:gd name="connsiteX0" fmla="*/ 596 w 18357"/>
                    <a:gd name="connsiteY0" fmla="*/ 5919 h 18448"/>
                    <a:gd name="connsiteX1" fmla="*/ 5919 w 18357"/>
                    <a:gd name="connsiteY1" fmla="*/ 17821 h 18448"/>
                    <a:gd name="connsiteX2" fmla="*/ 17761 w 18357"/>
                    <a:gd name="connsiteY2" fmla="*/ 12498 h 18448"/>
                    <a:gd name="connsiteX3" fmla="*/ 12438 w 18357"/>
                    <a:gd name="connsiteY3" fmla="*/ 596 h 18448"/>
                    <a:gd name="connsiteX4" fmla="*/ 596 w 18357"/>
                    <a:gd name="connsiteY4" fmla="*/ 5919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8">
                      <a:moveTo>
                        <a:pt x="596" y="5919"/>
                      </a:moveTo>
                      <a:cubicBezTo>
                        <a:pt x="-1198" y="10644"/>
                        <a:pt x="1194" y="16027"/>
                        <a:pt x="5919" y="17821"/>
                      </a:cubicBezTo>
                      <a:cubicBezTo>
                        <a:pt x="10644" y="19675"/>
                        <a:pt x="15967" y="17283"/>
                        <a:pt x="17761" y="12498"/>
                      </a:cubicBezTo>
                      <a:cubicBezTo>
                        <a:pt x="19555" y="7773"/>
                        <a:pt x="17163" y="2391"/>
                        <a:pt x="12438" y="596"/>
                      </a:cubicBezTo>
                      <a:cubicBezTo>
                        <a:pt x="7654" y="-1198"/>
                        <a:pt x="2391" y="1194"/>
                        <a:pt x="596" y="5919"/>
                      </a:cubicBezTo>
                      <a:close/>
                    </a:path>
                  </a:pathLst>
                </a:custGeom>
                <a:grpFill/>
                <a:ln w="5978" cap="flat">
                  <a:noFill/>
                  <a:prstDash val="solid"/>
                  <a:miter/>
                </a:ln>
              </p:spPr>
              <p:txBody>
                <a:bodyPr rtlCol="0" anchor="ctr"/>
                <a:lstStyle/>
                <a:p>
                  <a:endParaRPr lang="en-GB"/>
                </a:p>
              </p:txBody>
            </p:sp>
          </p:grpSp>
          <p:grpSp>
            <p:nvGrpSpPr>
              <p:cNvPr id="331" name="Graphic 3">
                <a:extLst>
                  <a:ext uri="{FF2B5EF4-FFF2-40B4-BE49-F238E27FC236}">
                    <a16:creationId xmlns:a16="http://schemas.microsoft.com/office/drawing/2014/main" id="{2FE603E9-13B6-46B7-9E51-815D300AC0D0}"/>
                  </a:ext>
                </a:extLst>
              </p:cNvPr>
              <p:cNvGrpSpPr/>
              <p:nvPr/>
            </p:nvGrpSpPr>
            <p:grpSpPr>
              <a:xfrm>
                <a:off x="7745813" y="4449795"/>
                <a:ext cx="372503" cy="235517"/>
                <a:chOff x="7745813" y="4449795"/>
                <a:chExt cx="372503" cy="235517"/>
              </a:xfrm>
              <a:grpFill/>
            </p:grpSpPr>
            <p:sp>
              <p:nvSpPr>
                <p:cNvPr id="4386" name="Vrije vorm: vorm 4385">
                  <a:extLst>
                    <a:ext uri="{FF2B5EF4-FFF2-40B4-BE49-F238E27FC236}">
                      <a16:creationId xmlns:a16="http://schemas.microsoft.com/office/drawing/2014/main" id="{1E2D8511-6C06-4105-A470-5D110E01D18A}"/>
                    </a:ext>
                  </a:extLst>
                </p:cNvPr>
                <p:cNvSpPr/>
                <p:nvPr/>
              </p:nvSpPr>
              <p:spPr>
                <a:xfrm>
                  <a:off x="7753786" y="4457472"/>
                  <a:ext cx="356510" cy="220210"/>
                </a:xfrm>
                <a:custGeom>
                  <a:avLst/>
                  <a:gdLst>
                    <a:gd name="connsiteX0" fmla="*/ 356511 w 356510"/>
                    <a:gd name="connsiteY0" fmla="*/ 217579 h 220210"/>
                    <a:gd name="connsiteX1" fmla="*/ 354956 w 356510"/>
                    <a:gd name="connsiteY1" fmla="*/ 220210 h 220210"/>
                    <a:gd name="connsiteX2" fmla="*/ 0 w 356510"/>
                    <a:gd name="connsiteY2" fmla="*/ 2632 h 220210"/>
                    <a:gd name="connsiteX3" fmla="*/ 1555 w 356510"/>
                    <a:gd name="connsiteY3" fmla="*/ 0 h 220210"/>
                  </a:gdLst>
                  <a:ahLst/>
                  <a:cxnLst>
                    <a:cxn ang="0">
                      <a:pos x="connsiteX0" y="connsiteY0"/>
                    </a:cxn>
                    <a:cxn ang="0">
                      <a:pos x="connsiteX1" y="connsiteY1"/>
                    </a:cxn>
                    <a:cxn ang="0">
                      <a:pos x="connsiteX2" y="connsiteY2"/>
                    </a:cxn>
                    <a:cxn ang="0">
                      <a:pos x="connsiteX3" y="connsiteY3"/>
                    </a:cxn>
                  </a:cxnLst>
                  <a:rect l="l" t="t" r="r" b="b"/>
                  <a:pathLst>
                    <a:path w="356510" h="220210">
                      <a:moveTo>
                        <a:pt x="356511" y="217579"/>
                      </a:moveTo>
                      <a:lnTo>
                        <a:pt x="354956" y="220210"/>
                      </a:lnTo>
                      <a:lnTo>
                        <a:pt x="0" y="2632"/>
                      </a:lnTo>
                      <a:lnTo>
                        <a:pt x="1555" y="0"/>
                      </a:lnTo>
                      <a:close/>
                    </a:path>
                  </a:pathLst>
                </a:custGeom>
                <a:grpFill/>
                <a:ln w="5978" cap="flat">
                  <a:noFill/>
                  <a:prstDash val="solid"/>
                  <a:miter/>
                </a:ln>
              </p:spPr>
              <p:txBody>
                <a:bodyPr rtlCol="0" anchor="ctr"/>
                <a:lstStyle/>
                <a:p>
                  <a:endParaRPr lang="en-GB"/>
                </a:p>
              </p:txBody>
            </p:sp>
            <p:sp>
              <p:nvSpPr>
                <p:cNvPr id="4387" name="Vrije vorm: vorm 4386">
                  <a:extLst>
                    <a:ext uri="{FF2B5EF4-FFF2-40B4-BE49-F238E27FC236}">
                      <a16:creationId xmlns:a16="http://schemas.microsoft.com/office/drawing/2014/main" id="{C631B00A-0E98-4E72-B622-C903089F5A26}"/>
                    </a:ext>
                  </a:extLst>
                </p:cNvPr>
                <p:cNvSpPr/>
                <p:nvPr/>
              </p:nvSpPr>
              <p:spPr>
                <a:xfrm>
                  <a:off x="8100006" y="4666895"/>
                  <a:ext cx="18310" cy="18417"/>
                </a:xfrm>
                <a:custGeom>
                  <a:avLst/>
                  <a:gdLst>
                    <a:gd name="connsiteX0" fmla="*/ 13880 w 18310"/>
                    <a:gd name="connsiteY0" fmla="*/ 1337 h 18417"/>
                    <a:gd name="connsiteX1" fmla="*/ 16990 w 18310"/>
                    <a:gd name="connsiteY1" fmla="*/ 14016 h 18417"/>
                    <a:gd name="connsiteX2" fmla="*/ 4431 w 18310"/>
                    <a:gd name="connsiteY2" fmla="*/ 17066 h 18417"/>
                    <a:gd name="connsiteX3" fmla="*/ 1321 w 18310"/>
                    <a:gd name="connsiteY3" fmla="*/ 4387 h 18417"/>
                    <a:gd name="connsiteX4" fmla="*/ 13880 w 18310"/>
                    <a:gd name="connsiteY4" fmla="*/ 133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7">
                      <a:moveTo>
                        <a:pt x="13880" y="1337"/>
                      </a:moveTo>
                      <a:cubicBezTo>
                        <a:pt x="18186" y="3969"/>
                        <a:pt x="19622" y="9650"/>
                        <a:pt x="16990" y="14016"/>
                      </a:cubicBezTo>
                      <a:cubicBezTo>
                        <a:pt x="14359" y="18382"/>
                        <a:pt x="8737" y="19698"/>
                        <a:pt x="4431" y="17066"/>
                      </a:cubicBezTo>
                      <a:cubicBezTo>
                        <a:pt x="125" y="14435"/>
                        <a:pt x="-1311" y="8753"/>
                        <a:pt x="1321" y="4387"/>
                      </a:cubicBezTo>
                      <a:cubicBezTo>
                        <a:pt x="3952" y="81"/>
                        <a:pt x="9574" y="-1294"/>
                        <a:pt x="13880" y="1337"/>
                      </a:cubicBezTo>
                      <a:close/>
                    </a:path>
                  </a:pathLst>
                </a:custGeom>
                <a:grpFill/>
                <a:ln w="5978" cap="flat">
                  <a:noFill/>
                  <a:prstDash val="solid"/>
                  <a:miter/>
                </a:ln>
              </p:spPr>
              <p:txBody>
                <a:bodyPr rtlCol="0" anchor="ctr"/>
                <a:lstStyle/>
                <a:p>
                  <a:endParaRPr lang="en-GB"/>
                </a:p>
              </p:txBody>
            </p:sp>
            <p:sp>
              <p:nvSpPr>
                <p:cNvPr id="4388" name="Vrije vorm: vorm 4387">
                  <a:extLst>
                    <a:ext uri="{FF2B5EF4-FFF2-40B4-BE49-F238E27FC236}">
                      <a16:creationId xmlns:a16="http://schemas.microsoft.com/office/drawing/2014/main" id="{CAC95D12-A021-4704-A007-D8E3116037BB}"/>
                    </a:ext>
                  </a:extLst>
                </p:cNvPr>
                <p:cNvSpPr/>
                <p:nvPr/>
              </p:nvSpPr>
              <p:spPr>
                <a:xfrm>
                  <a:off x="7745813" y="4449795"/>
                  <a:ext cx="18298" cy="18403"/>
                </a:xfrm>
                <a:custGeom>
                  <a:avLst/>
                  <a:gdLst>
                    <a:gd name="connsiteX0" fmla="*/ 13894 w 18298"/>
                    <a:gd name="connsiteY0" fmla="*/ 1337 h 18403"/>
                    <a:gd name="connsiteX1" fmla="*/ 1335 w 18298"/>
                    <a:gd name="connsiteY1" fmla="*/ 4387 h 18403"/>
                    <a:gd name="connsiteX2" fmla="*/ 4445 w 18298"/>
                    <a:gd name="connsiteY2" fmla="*/ 17066 h 18403"/>
                    <a:gd name="connsiteX3" fmla="*/ 17004 w 18298"/>
                    <a:gd name="connsiteY3" fmla="*/ 14016 h 18403"/>
                    <a:gd name="connsiteX4" fmla="*/ 13894 w 18298"/>
                    <a:gd name="connsiteY4" fmla="*/ 133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03">
                      <a:moveTo>
                        <a:pt x="13894" y="1337"/>
                      </a:moveTo>
                      <a:cubicBezTo>
                        <a:pt x="9588" y="-1295"/>
                        <a:pt x="3906" y="81"/>
                        <a:pt x="1335" y="4387"/>
                      </a:cubicBezTo>
                      <a:cubicBezTo>
                        <a:pt x="-1297" y="8753"/>
                        <a:pt x="78" y="14375"/>
                        <a:pt x="4445" y="17066"/>
                      </a:cubicBezTo>
                      <a:cubicBezTo>
                        <a:pt x="8751" y="19698"/>
                        <a:pt x="14432" y="18322"/>
                        <a:pt x="17004" y="14016"/>
                      </a:cubicBezTo>
                      <a:cubicBezTo>
                        <a:pt x="19576" y="9650"/>
                        <a:pt x="18200" y="4028"/>
                        <a:pt x="13894" y="1337"/>
                      </a:cubicBezTo>
                      <a:close/>
                    </a:path>
                  </a:pathLst>
                </a:custGeom>
                <a:grpFill/>
                <a:ln w="5978" cap="flat">
                  <a:noFill/>
                  <a:prstDash val="solid"/>
                  <a:miter/>
                </a:ln>
              </p:spPr>
              <p:txBody>
                <a:bodyPr rtlCol="0" anchor="ctr"/>
                <a:lstStyle/>
                <a:p>
                  <a:endParaRPr lang="en-GB"/>
                </a:p>
              </p:txBody>
            </p:sp>
          </p:grpSp>
          <p:grpSp>
            <p:nvGrpSpPr>
              <p:cNvPr id="332" name="Graphic 3">
                <a:extLst>
                  <a:ext uri="{FF2B5EF4-FFF2-40B4-BE49-F238E27FC236}">
                    <a16:creationId xmlns:a16="http://schemas.microsoft.com/office/drawing/2014/main" id="{72AEA5B4-9279-49AE-ACFE-A0378E60E7E0}"/>
                  </a:ext>
                </a:extLst>
              </p:cNvPr>
              <p:cNvGrpSpPr/>
              <p:nvPr/>
            </p:nvGrpSpPr>
            <p:grpSpPr>
              <a:xfrm>
                <a:off x="6923065" y="1770107"/>
                <a:ext cx="182230" cy="221621"/>
                <a:chOff x="6923065" y="1770107"/>
                <a:chExt cx="182230" cy="221621"/>
              </a:xfrm>
              <a:grpFill/>
            </p:grpSpPr>
            <p:sp>
              <p:nvSpPr>
                <p:cNvPr id="4383" name="Vrije vorm: vorm 4382">
                  <a:extLst>
                    <a:ext uri="{FF2B5EF4-FFF2-40B4-BE49-F238E27FC236}">
                      <a16:creationId xmlns:a16="http://schemas.microsoft.com/office/drawing/2014/main" id="{F94A0E0A-BCCD-4EA2-AD2D-3DE30A7A1373}"/>
                    </a:ext>
                  </a:extLst>
                </p:cNvPr>
                <p:cNvSpPr/>
                <p:nvPr/>
              </p:nvSpPr>
              <p:spPr>
                <a:xfrm>
                  <a:off x="6930779" y="1777989"/>
                  <a:ext cx="166862" cy="205856"/>
                </a:xfrm>
                <a:custGeom>
                  <a:avLst/>
                  <a:gdLst>
                    <a:gd name="connsiteX0" fmla="*/ 166862 w 166862"/>
                    <a:gd name="connsiteY0" fmla="*/ 1974 h 205856"/>
                    <a:gd name="connsiteX1" fmla="*/ 2392 w 166862"/>
                    <a:gd name="connsiteY1" fmla="*/ 205856 h 205856"/>
                    <a:gd name="connsiteX2" fmla="*/ 0 w 166862"/>
                    <a:gd name="connsiteY2" fmla="*/ 203883 h 205856"/>
                    <a:gd name="connsiteX3" fmla="*/ 164470 w 166862"/>
                    <a:gd name="connsiteY3" fmla="*/ 0 h 205856"/>
                  </a:gdLst>
                  <a:ahLst/>
                  <a:cxnLst>
                    <a:cxn ang="0">
                      <a:pos x="connsiteX0" y="connsiteY0"/>
                    </a:cxn>
                    <a:cxn ang="0">
                      <a:pos x="connsiteX1" y="connsiteY1"/>
                    </a:cxn>
                    <a:cxn ang="0">
                      <a:pos x="connsiteX2" y="connsiteY2"/>
                    </a:cxn>
                    <a:cxn ang="0">
                      <a:pos x="connsiteX3" y="connsiteY3"/>
                    </a:cxn>
                  </a:cxnLst>
                  <a:rect l="l" t="t" r="r" b="b"/>
                  <a:pathLst>
                    <a:path w="166862" h="205856">
                      <a:moveTo>
                        <a:pt x="166862" y="1974"/>
                      </a:moveTo>
                      <a:lnTo>
                        <a:pt x="2392" y="205856"/>
                      </a:lnTo>
                      <a:lnTo>
                        <a:pt x="0" y="203883"/>
                      </a:lnTo>
                      <a:lnTo>
                        <a:pt x="164470" y="0"/>
                      </a:lnTo>
                      <a:close/>
                    </a:path>
                  </a:pathLst>
                </a:custGeom>
                <a:grpFill/>
                <a:ln w="5978" cap="flat">
                  <a:noFill/>
                  <a:prstDash val="solid"/>
                  <a:miter/>
                </a:ln>
              </p:spPr>
              <p:txBody>
                <a:bodyPr rtlCol="0" anchor="ctr"/>
                <a:lstStyle/>
                <a:p>
                  <a:endParaRPr lang="en-GB"/>
                </a:p>
              </p:txBody>
            </p:sp>
            <p:sp>
              <p:nvSpPr>
                <p:cNvPr id="4384" name="Vrije vorm: vorm 4383">
                  <a:extLst>
                    <a:ext uri="{FF2B5EF4-FFF2-40B4-BE49-F238E27FC236}">
                      <a16:creationId xmlns:a16="http://schemas.microsoft.com/office/drawing/2014/main" id="{65B2236C-B56A-4140-9E98-09692E5FA672}"/>
                    </a:ext>
                  </a:extLst>
                </p:cNvPr>
                <p:cNvSpPr/>
                <p:nvPr/>
              </p:nvSpPr>
              <p:spPr>
                <a:xfrm>
                  <a:off x="6923065" y="1973272"/>
                  <a:ext cx="18383" cy="18456"/>
                </a:xfrm>
                <a:custGeom>
                  <a:avLst/>
                  <a:gdLst>
                    <a:gd name="connsiteX0" fmla="*/ 16326 w 18383"/>
                    <a:gd name="connsiteY0" fmla="*/ 15059 h 18456"/>
                    <a:gd name="connsiteX1" fmla="*/ 3408 w 18383"/>
                    <a:gd name="connsiteY1" fmla="*/ 16375 h 18456"/>
                    <a:gd name="connsiteX2" fmla="*/ 2032 w 18383"/>
                    <a:gd name="connsiteY2" fmla="*/ 3397 h 18456"/>
                    <a:gd name="connsiteX3" fmla="*/ 14950 w 18383"/>
                    <a:gd name="connsiteY3" fmla="*/ 2081 h 18456"/>
                    <a:gd name="connsiteX4" fmla="*/ 16326 w 18383"/>
                    <a:gd name="connsiteY4" fmla="*/ 1505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56">
                      <a:moveTo>
                        <a:pt x="16326" y="15059"/>
                      </a:moveTo>
                      <a:cubicBezTo>
                        <a:pt x="13157" y="19007"/>
                        <a:pt x="7355" y="19605"/>
                        <a:pt x="3408" y="16375"/>
                      </a:cubicBezTo>
                      <a:cubicBezTo>
                        <a:pt x="-539" y="13146"/>
                        <a:pt x="-1137" y="7344"/>
                        <a:pt x="2032" y="3397"/>
                      </a:cubicBezTo>
                      <a:cubicBezTo>
                        <a:pt x="5202" y="-550"/>
                        <a:pt x="11003" y="-1148"/>
                        <a:pt x="14950" y="2081"/>
                      </a:cubicBezTo>
                      <a:cubicBezTo>
                        <a:pt x="18898" y="5311"/>
                        <a:pt x="19556" y="11112"/>
                        <a:pt x="16326" y="15059"/>
                      </a:cubicBezTo>
                      <a:close/>
                    </a:path>
                  </a:pathLst>
                </a:custGeom>
                <a:grpFill/>
                <a:ln w="5978" cap="flat">
                  <a:noFill/>
                  <a:prstDash val="solid"/>
                  <a:miter/>
                </a:ln>
              </p:spPr>
              <p:txBody>
                <a:bodyPr rtlCol="0" anchor="ctr"/>
                <a:lstStyle/>
                <a:p>
                  <a:endParaRPr lang="en-GB"/>
                </a:p>
              </p:txBody>
            </p:sp>
            <p:sp>
              <p:nvSpPr>
                <p:cNvPr id="4385" name="Vrije vorm: vorm 4384">
                  <a:extLst>
                    <a:ext uri="{FF2B5EF4-FFF2-40B4-BE49-F238E27FC236}">
                      <a16:creationId xmlns:a16="http://schemas.microsoft.com/office/drawing/2014/main" id="{3B64F90A-59EC-4DB9-90B7-C8E4CB824239}"/>
                    </a:ext>
                  </a:extLst>
                </p:cNvPr>
                <p:cNvSpPr/>
                <p:nvPr/>
              </p:nvSpPr>
              <p:spPr>
                <a:xfrm>
                  <a:off x="7086997" y="1770107"/>
                  <a:ext cx="18298" cy="18456"/>
                </a:xfrm>
                <a:custGeom>
                  <a:avLst/>
                  <a:gdLst>
                    <a:gd name="connsiteX0" fmla="*/ 16266 w 18298"/>
                    <a:gd name="connsiteY0" fmla="*/ 15059 h 18456"/>
                    <a:gd name="connsiteX1" fmla="*/ 14891 w 18298"/>
                    <a:gd name="connsiteY1" fmla="*/ 2081 h 18456"/>
                    <a:gd name="connsiteX2" fmla="*/ 2032 w 18298"/>
                    <a:gd name="connsiteY2" fmla="*/ 3397 h 18456"/>
                    <a:gd name="connsiteX3" fmla="*/ 3408 w 18298"/>
                    <a:gd name="connsiteY3" fmla="*/ 16375 h 18456"/>
                    <a:gd name="connsiteX4" fmla="*/ 16266 w 18298"/>
                    <a:gd name="connsiteY4" fmla="*/ 1505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6">
                      <a:moveTo>
                        <a:pt x="16266" y="15059"/>
                      </a:moveTo>
                      <a:cubicBezTo>
                        <a:pt x="19436" y="11112"/>
                        <a:pt x="18838" y="5311"/>
                        <a:pt x="14891" y="2081"/>
                      </a:cubicBezTo>
                      <a:cubicBezTo>
                        <a:pt x="10943" y="-1148"/>
                        <a:pt x="5202" y="-550"/>
                        <a:pt x="2032" y="3397"/>
                      </a:cubicBezTo>
                      <a:cubicBezTo>
                        <a:pt x="-1138" y="7344"/>
                        <a:pt x="-539" y="13146"/>
                        <a:pt x="3408" y="16375"/>
                      </a:cubicBezTo>
                      <a:cubicBezTo>
                        <a:pt x="7355" y="19605"/>
                        <a:pt x="13096" y="19007"/>
                        <a:pt x="16266" y="15059"/>
                      </a:cubicBezTo>
                      <a:close/>
                    </a:path>
                  </a:pathLst>
                </a:custGeom>
                <a:grpFill/>
                <a:ln w="5978" cap="flat">
                  <a:noFill/>
                  <a:prstDash val="solid"/>
                  <a:miter/>
                </a:ln>
              </p:spPr>
              <p:txBody>
                <a:bodyPr rtlCol="0" anchor="ctr"/>
                <a:lstStyle/>
                <a:p>
                  <a:endParaRPr lang="en-GB"/>
                </a:p>
              </p:txBody>
            </p:sp>
          </p:grpSp>
          <p:grpSp>
            <p:nvGrpSpPr>
              <p:cNvPr id="333" name="Graphic 3">
                <a:extLst>
                  <a:ext uri="{FF2B5EF4-FFF2-40B4-BE49-F238E27FC236}">
                    <a16:creationId xmlns:a16="http://schemas.microsoft.com/office/drawing/2014/main" id="{782010D5-4DBD-478B-B5D2-E8D7339C756E}"/>
                  </a:ext>
                </a:extLst>
              </p:cNvPr>
              <p:cNvGrpSpPr/>
              <p:nvPr/>
            </p:nvGrpSpPr>
            <p:grpSpPr>
              <a:xfrm>
                <a:off x="6864776" y="1478200"/>
                <a:ext cx="143130" cy="273640"/>
                <a:chOff x="6864776" y="1478200"/>
                <a:chExt cx="143130" cy="273640"/>
              </a:xfrm>
              <a:grpFill/>
            </p:grpSpPr>
            <p:sp>
              <p:nvSpPr>
                <p:cNvPr id="4380" name="Vrije vorm: vorm 4379">
                  <a:extLst>
                    <a:ext uri="{FF2B5EF4-FFF2-40B4-BE49-F238E27FC236}">
                      <a16:creationId xmlns:a16="http://schemas.microsoft.com/office/drawing/2014/main" id="{E5B1D907-AA14-4FE9-82CE-198ACD7504A7}"/>
                    </a:ext>
                  </a:extLst>
                </p:cNvPr>
                <p:cNvSpPr/>
                <p:nvPr/>
              </p:nvSpPr>
              <p:spPr>
                <a:xfrm>
                  <a:off x="6872348" y="1486309"/>
                  <a:ext cx="127927" cy="257470"/>
                </a:xfrm>
                <a:custGeom>
                  <a:avLst/>
                  <a:gdLst>
                    <a:gd name="connsiteX0" fmla="*/ 127928 w 127927"/>
                    <a:gd name="connsiteY0" fmla="*/ 1376 h 257470"/>
                    <a:gd name="connsiteX1" fmla="*/ 2751 w 127927"/>
                    <a:gd name="connsiteY1" fmla="*/ 257470 h 257470"/>
                    <a:gd name="connsiteX2" fmla="*/ 0 w 127927"/>
                    <a:gd name="connsiteY2" fmla="*/ 256094 h 257470"/>
                    <a:gd name="connsiteX3" fmla="*/ 125236 w 127927"/>
                    <a:gd name="connsiteY3" fmla="*/ 0 h 257470"/>
                  </a:gdLst>
                  <a:ahLst/>
                  <a:cxnLst>
                    <a:cxn ang="0">
                      <a:pos x="connsiteX0" y="connsiteY0"/>
                    </a:cxn>
                    <a:cxn ang="0">
                      <a:pos x="connsiteX1" y="connsiteY1"/>
                    </a:cxn>
                    <a:cxn ang="0">
                      <a:pos x="connsiteX2" y="connsiteY2"/>
                    </a:cxn>
                    <a:cxn ang="0">
                      <a:pos x="connsiteX3" y="connsiteY3"/>
                    </a:cxn>
                  </a:cxnLst>
                  <a:rect l="l" t="t" r="r" b="b"/>
                  <a:pathLst>
                    <a:path w="127927" h="257470">
                      <a:moveTo>
                        <a:pt x="127928" y="1376"/>
                      </a:moveTo>
                      <a:lnTo>
                        <a:pt x="2751" y="257470"/>
                      </a:lnTo>
                      <a:lnTo>
                        <a:pt x="0" y="256094"/>
                      </a:lnTo>
                      <a:lnTo>
                        <a:pt x="125236" y="0"/>
                      </a:lnTo>
                      <a:close/>
                    </a:path>
                  </a:pathLst>
                </a:custGeom>
                <a:grpFill/>
                <a:ln w="5978" cap="flat">
                  <a:noFill/>
                  <a:prstDash val="solid"/>
                  <a:miter/>
                </a:ln>
              </p:spPr>
              <p:txBody>
                <a:bodyPr rtlCol="0" anchor="ctr"/>
                <a:lstStyle/>
                <a:p>
                  <a:endParaRPr lang="en-GB"/>
                </a:p>
              </p:txBody>
            </p:sp>
            <p:sp>
              <p:nvSpPr>
                <p:cNvPr id="4381" name="Vrije vorm: vorm 4380">
                  <a:extLst>
                    <a:ext uri="{FF2B5EF4-FFF2-40B4-BE49-F238E27FC236}">
                      <a16:creationId xmlns:a16="http://schemas.microsoft.com/office/drawing/2014/main" id="{55C7041E-4E76-4E1E-AB46-B0F14EDC1F12}"/>
                    </a:ext>
                  </a:extLst>
                </p:cNvPr>
                <p:cNvSpPr/>
                <p:nvPr/>
              </p:nvSpPr>
              <p:spPr>
                <a:xfrm>
                  <a:off x="6989568" y="1478200"/>
                  <a:ext cx="18338" cy="18372"/>
                </a:xfrm>
                <a:custGeom>
                  <a:avLst/>
                  <a:gdLst>
                    <a:gd name="connsiteX0" fmla="*/ 959 w 18338"/>
                    <a:gd name="connsiteY0" fmla="*/ 5119 h 18372"/>
                    <a:gd name="connsiteX1" fmla="*/ 13219 w 18338"/>
                    <a:gd name="connsiteY1" fmla="*/ 933 h 18372"/>
                    <a:gd name="connsiteX2" fmla="*/ 17406 w 18338"/>
                    <a:gd name="connsiteY2" fmla="*/ 13253 h 18372"/>
                    <a:gd name="connsiteX3" fmla="*/ 5145 w 18338"/>
                    <a:gd name="connsiteY3" fmla="*/ 17440 h 18372"/>
                    <a:gd name="connsiteX4" fmla="*/ 959 w 18338"/>
                    <a:gd name="connsiteY4" fmla="*/ 5119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2">
                      <a:moveTo>
                        <a:pt x="959" y="5119"/>
                      </a:moveTo>
                      <a:cubicBezTo>
                        <a:pt x="3172" y="574"/>
                        <a:pt x="8674" y="-1280"/>
                        <a:pt x="13219" y="933"/>
                      </a:cubicBezTo>
                      <a:cubicBezTo>
                        <a:pt x="17765" y="3206"/>
                        <a:pt x="19619" y="8708"/>
                        <a:pt x="17406" y="13253"/>
                      </a:cubicBezTo>
                      <a:cubicBezTo>
                        <a:pt x="15193" y="17798"/>
                        <a:pt x="9691" y="19653"/>
                        <a:pt x="5145" y="17440"/>
                      </a:cubicBezTo>
                      <a:cubicBezTo>
                        <a:pt x="600" y="15227"/>
                        <a:pt x="-1314" y="9665"/>
                        <a:pt x="959" y="5119"/>
                      </a:cubicBezTo>
                      <a:close/>
                    </a:path>
                  </a:pathLst>
                </a:custGeom>
                <a:grpFill/>
                <a:ln w="5978" cap="flat">
                  <a:noFill/>
                  <a:prstDash val="solid"/>
                  <a:miter/>
                </a:ln>
              </p:spPr>
              <p:txBody>
                <a:bodyPr rtlCol="0" anchor="ctr"/>
                <a:lstStyle/>
                <a:p>
                  <a:endParaRPr lang="en-GB"/>
                </a:p>
              </p:txBody>
            </p:sp>
            <p:sp>
              <p:nvSpPr>
                <p:cNvPr id="4382" name="Vrije vorm: vorm 4381">
                  <a:extLst>
                    <a:ext uri="{FF2B5EF4-FFF2-40B4-BE49-F238E27FC236}">
                      <a16:creationId xmlns:a16="http://schemas.microsoft.com/office/drawing/2014/main" id="{4AC0A90E-3AA3-4463-974D-163FD65F68AC}"/>
                    </a:ext>
                  </a:extLst>
                </p:cNvPr>
                <p:cNvSpPr/>
                <p:nvPr/>
              </p:nvSpPr>
              <p:spPr>
                <a:xfrm>
                  <a:off x="6864776" y="1733431"/>
                  <a:ext cx="18312" cy="18409"/>
                </a:xfrm>
                <a:custGeom>
                  <a:avLst/>
                  <a:gdLst>
                    <a:gd name="connsiteX0" fmla="*/ 933 w 18312"/>
                    <a:gd name="connsiteY0" fmla="*/ 5146 h 18409"/>
                    <a:gd name="connsiteX1" fmla="*/ 5119 w 18312"/>
                    <a:gd name="connsiteY1" fmla="*/ 17466 h 18409"/>
                    <a:gd name="connsiteX2" fmla="*/ 17380 w 18312"/>
                    <a:gd name="connsiteY2" fmla="*/ 13279 h 18409"/>
                    <a:gd name="connsiteX3" fmla="*/ 13193 w 18312"/>
                    <a:gd name="connsiteY3" fmla="*/ 959 h 18409"/>
                    <a:gd name="connsiteX4" fmla="*/ 933 w 18312"/>
                    <a:gd name="connsiteY4" fmla="*/ 514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9">
                      <a:moveTo>
                        <a:pt x="933" y="5146"/>
                      </a:moveTo>
                      <a:cubicBezTo>
                        <a:pt x="-1280" y="9691"/>
                        <a:pt x="574" y="15253"/>
                        <a:pt x="5119" y="17466"/>
                      </a:cubicBezTo>
                      <a:cubicBezTo>
                        <a:pt x="9665" y="19679"/>
                        <a:pt x="15167" y="17884"/>
                        <a:pt x="17380" y="13279"/>
                      </a:cubicBezTo>
                      <a:cubicBezTo>
                        <a:pt x="19593" y="8734"/>
                        <a:pt x="17738" y="3172"/>
                        <a:pt x="13193" y="959"/>
                      </a:cubicBezTo>
                      <a:cubicBezTo>
                        <a:pt x="8648" y="-1314"/>
                        <a:pt x="3146" y="600"/>
                        <a:pt x="933" y="5146"/>
                      </a:cubicBezTo>
                      <a:close/>
                    </a:path>
                  </a:pathLst>
                </a:custGeom>
                <a:grpFill/>
                <a:ln w="5978" cap="flat">
                  <a:noFill/>
                  <a:prstDash val="solid"/>
                  <a:miter/>
                </a:ln>
              </p:spPr>
              <p:txBody>
                <a:bodyPr rtlCol="0" anchor="ctr"/>
                <a:lstStyle/>
                <a:p>
                  <a:endParaRPr lang="en-GB"/>
                </a:p>
              </p:txBody>
            </p:sp>
          </p:grpSp>
          <p:grpSp>
            <p:nvGrpSpPr>
              <p:cNvPr id="334" name="Graphic 3">
                <a:extLst>
                  <a:ext uri="{FF2B5EF4-FFF2-40B4-BE49-F238E27FC236}">
                    <a16:creationId xmlns:a16="http://schemas.microsoft.com/office/drawing/2014/main" id="{FD9A97AE-CDA4-4F4B-94E3-F849DEB517A3}"/>
                  </a:ext>
                </a:extLst>
              </p:cNvPr>
              <p:cNvGrpSpPr/>
              <p:nvPr/>
            </p:nvGrpSpPr>
            <p:grpSpPr>
              <a:xfrm>
                <a:off x="6816270" y="1473250"/>
                <a:ext cx="284518" cy="450989"/>
                <a:chOff x="6816270" y="1473250"/>
                <a:chExt cx="284518" cy="450989"/>
              </a:xfrm>
              <a:grpFill/>
            </p:grpSpPr>
            <p:sp>
              <p:nvSpPr>
                <p:cNvPr id="4377" name="Vrije vorm: vorm 4376">
                  <a:extLst>
                    <a:ext uri="{FF2B5EF4-FFF2-40B4-BE49-F238E27FC236}">
                      <a16:creationId xmlns:a16="http://schemas.microsoft.com/office/drawing/2014/main" id="{F94D6904-E13A-449D-A339-0F2E2918EB26}"/>
                    </a:ext>
                  </a:extLst>
                </p:cNvPr>
                <p:cNvSpPr/>
                <p:nvPr/>
              </p:nvSpPr>
              <p:spPr>
                <a:xfrm>
                  <a:off x="6823904" y="1481226"/>
                  <a:ext cx="269312" cy="434977"/>
                </a:xfrm>
                <a:custGeom>
                  <a:avLst/>
                  <a:gdLst>
                    <a:gd name="connsiteX0" fmla="*/ 269312 w 269312"/>
                    <a:gd name="connsiteY0" fmla="*/ 1615 h 434977"/>
                    <a:gd name="connsiteX1" fmla="*/ 2631 w 269312"/>
                    <a:gd name="connsiteY1" fmla="*/ 434978 h 434977"/>
                    <a:gd name="connsiteX2" fmla="*/ 0 w 269312"/>
                    <a:gd name="connsiteY2" fmla="*/ 433363 h 434977"/>
                    <a:gd name="connsiteX3" fmla="*/ 266680 w 269312"/>
                    <a:gd name="connsiteY3" fmla="*/ 0 h 434977"/>
                  </a:gdLst>
                  <a:ahLst/>
                  <a:cxnLst>
                    <a:cxn ang="0">
                      <a:pos x="connsiteX0" y="connsiteY0"/>
                    </a:cxn>
                    <a:cxn ang="0">
                      <a:pos x="connsiteX1" y="connsiteY1"/>
                    </a:cxn>
                    <a:cxn ang="0">
                      <a:pos x="connsiteX2" y="connsiteY2"/>
                    </a:cxn>
                    <a:cxn ang="0">
                      <a:pos x="connsiteX3" y="connsiteY3"/>
                    </a:cxn>
                  </a:cxnLst>
                  <a:rect l="l" t="t" r="r" b="b"/>
                  <a:pathLst>
                    <a:path w="269312" h="434977">
                      <a:moveTo>
                        <a:pt x="269312" y="1615"/>
                      </a:moveTo>
                      <a:lnTo>
                        <a:pt x="2631" y="434978"/>
                      </a:lnTo>
                      <a:lnTo>
                        <a:pt x="0" y="433363"/>
                      </a:lnTo>
                      <a:lnTo>
                        <a:pt x="266680" y="0"/>
                      </a:lnTo>
                      <a:close/>
                    </a:path>
                  </a:pathLst>
                </a:custGeom>
                <a:grpFill/>
                <a:ln w="5978" cap="flat">
                  <a:noFill/>
                  <a:prstDash val="solid"/>
                  <a:miter/>
                </a:ln>
              </p:spPr>
              <p:txBody>
                <a:bodyPr rtlCol="0" anchor="ctr"/>
                <a:lstStyle/>
                <a:p>
                  <a:endParaRPr lang="en-GB"/>
                </a:p>
              </p:txBody>
            </p:sp>
            <p:sp>
              <p:nvSpPr>
                <p:cNvPr id="4378" name="Vrije vorm: vorm 4377">
                  <a:extLst>
                    <a:ext uri="{FF2B5EF4-FFF2-40B4-BE49-F238E27FC236}">
                      <a16:creationId xmlns:a16="http://schemas.microsoft.com/office/drawing/2014/main" id="{EE10B15B-C26B-410D-9D13-C9D57E419294}"/>
                    </a:ext>
                  </a:extLst>
                </p:cNvPr>
                <p:cNvSpPr/>
                <p:nvPr/>
              </p:nvSpPr>
              <p:spPr>
                <a:xfrm>
                  <a:off x="6816270" y="1905836"/>
                  <a:ext cx="18343" cy="18403"/>
                </a:xfrm>
                <a:custGeom>
                  <a:avLst/>
                  <a:gdLst>
                    <a:gd name="connsiteX0" fmla="*/ 16963 w 18343"/>
                    <a:gd name="connsiteY0" fmla="*/ 14076 h 18403"/>
                    <a:gd name="connsiteX1" fmla="*/ 4344 w 18343"/>
                    <a:gd name="connsiteY1" fmla="*/ 17007 h 18403"/>
                    <a:gd name="connsiteX2" fmla="*/ 1354 w 18343"/>
                    <a:gd name="connsiteY2" fmla="*/ 4327 h 18403"/>
                    <a:gd name="connsiteX3" fmla="*/ 13973 w 18343"/>
                    <a:gd name="connsiteY3" fmla="*/ 1397 h 18403"/>
                    <a:gd name="connsiteX4" fmla="*/ 16963 w 18343"/>
                    <a:gd name="connsiteY4" fmla="*/ 14076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16963" y="14076"/>
                      </a:moveTo>
                      <a:cubicBezTo>
                        <a:pt x="14332" y="18382"/>
                        <a:pt x="8650" y="19698"/>
                        <a:pt x="4344" y="17007"/>
                      </a:cubicBezTo>
                      <a:cubicBezTo>
                        <a:pt x="38" y="14315"/>
                        <a:pt x="-1278" y="8634"/>
                        <a:pt x="1354" y="4327"/>
                      </a:cubicBezTo>
                      <a:cubicBezTo>
                        <a:pt x="3985" y="21"/>
                        <a:pt x="9667" y="-1294"/>
                        <a:pt x="13973" y="1397"/>
                      </a:cubicBezTo>
                      <a:cubicBezTo>
                        <a:pt x="18279" y="4088"/>
                        <a:pt x="19655" y="9770"/>
                        <a:pt x="16963" y="14076"/>
                      </a:cubicBezTo>
                      <a:close/>
                    </a:path>
                  </a:pathLst>
                </a:custGeom>
                <a:grpFill/>
                <a:ln w="5978" cap="flat">
                  <a:noFill/>
                  <a:prstDash val="solid"/>
                  <a:miter/>
                </a:ln>
              </p:spPr>
              <p:txBody>
                <a:bodyPr rtlCol="0" anchor="ctr"/>
                <a:lstStyle/>
                <a:p>
                  <a:endParaRPr lang="en-GB"/>
                </a:p>
              </p:txBody>
            </p:sp>
            <p:sp>
              <p:nvSpPr>
                <p:cNvPr id="4379" name="Vrije vorm: vorm 4378">
                  <a:extLst>
                    <a:ext uri="{FF2B5EF4-FFF2-40B4-BE49-F238E27FC236}">
                      <a16:creationId xmlns:a16="http://schemas.microsoft.com/office/drawing/2014/main" id="{2BEC9F27-2483-41C7-9A20-E5A17E68A843}"/>
                    </a:ext>
                  </a:extLst>
                </p:cNvPr>
                <p:cNvSpPr/>
                <p:nvPr/>
              </p:nvSpPr>
              <p:spPr>
                <a:xfrm>
                  <a:off x="7082472" y="1473250"/>
                  <a:ext cx="18316" cy="18403"/>
                </a:xfrm>
                <a:custGeom>
                  <a:avLst/>
                  <a:gdLst>
                    <a:gd name="connsiteX0" fmla="*/ 16963 w 18316"/>
                    <a:gd name="connsiteY0" fmla="*/ 14076 h 18403"/>
                    <a:gd name="connsiteX1" fmla="*/ 13973 w 18316"/>
                    <a:gd name="connsiteY1" fmla="*/ 1397 h 18403"/>
                    <a:gd name="connsiteX2" fmla="*/ 1353 w 18316"/>
                    <a:gd name="connsiteY2" fmla="*/ 4327 h 18403"/>
                    <a:gd name="connsiteX3" fmla="*/ 4344 w 18316"/>
                    <a:gd name="connsiteY3" fmla="*/ 17007 h 18403"/>
                    <a:gd name="connsiteX4" fmla="*/ 16963 w 18316"/>
                    <a:gd name="connsiteY4" fmla="*/ 14076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16963" y="14076"/>
                      </a:moveTo>
                      <a:cubicBezTo>
                        <a:pt x="19595" y="9770"/>
                        <a:pt x="18279" y="4088"/>
                        <a:pt x="13973" y="1397"/>
                      </a:cubicBezTo>
                      <a:cubicBezTo>
                        <a:pt x="9667" y="-1294"/>
                        <a:pt x="4044" y="21"/>
                        <a:pt x="1353" y="4327"/>
                      </a:cubicBezTo>
                      <a:cubicBezTo>
                        <a:pt x="-1278" y="8634"/>
                        <a:pt x="38" y="14315"/>
                        <a:pt x="4344" y="17007"/>
                      </a:cubicBezTo>
                      <a:cubicBezTo>
                        <a:pt x="8650" y="19698"/>
                        <a:pt x="14332" y="18382"/>
                        <a:pt x="16963" y="14076"/>
                      </a:cubicBezTo>
                      <a:close/>
                    </a:path>
                  </a:pathLst>
                </a:custGeom>
                <a:grpFill/>
                <a:ln w="5978" cap="flat">
                  <a:noFill/>
                  <a:prstDash val="solid"/>
                  <a:miter/>
                </a:ln>
              </p:spPr>
              <p:txBody>
                <a:bodyPr rtlCol="0" anchor="ctr"/>
                <a:lstStyle/>
                <a:p>
                  <a:endParaRPr lang="en-GB"/>
                </a:p>
              </p:txBody>
            </p:sp>
          </p:grpSp>
          <p:grpSp>
            <p:nvGrpSpPr>
              <p:cNvPr id="335" name="Graphic 3">
                <a:extLst>
                  <a:ext uri="{FF2B5EF4-FFF2-40B4-BE49-F238E27FC236}">
                    <a16:creationId xmlns:a16="http://schemas.microsoft.com/office/drawing/2014/main" id="{A662433B-881B-40C9-8C50-1C173B02B9AD}"/>
                  </a:ext>
                </a:extLst>
              </p:cNvPr>
              <p:cNvGrpSpPr/>
              <p:nvPr/>
            </p:nvGrpSpPr>
            <p:grpSpPr>
              <a:xfrm>
                <a:off x="6950786" y="1822706"/>
                <a:ext cx="162995" cy="184423"/>
                <a:chOff x="6950786" y="1822706"/>
                <a:chExt cx="162995" cy="184423"/>
              </a:xfrm>
              <a:grpFill/>
            </p:grpSpPr>
            <p:sp>
              <p:nvSpPr>
                <p:cNvPr id="4374" name="Vrije vorm: vorm 4373">
                  <a:extLst>
                    <a:ext uri="{FF2B5EF4-FFF2-40B4-BE49-F238E27FC236}">
                      <a16:creationId xmlns:a16="http://schemas.microsoft.com/office/drawing/2014/main" id="{FF6FE228-0626-46F6-A0C9-93D5F5A3D4CD}"/>
                    </a:ext>
                  </a:extLst>
                </p:cNvPr>
                <p:cNvSpPr/>
                <p:nvPr/>
              </p:nvSpPr>
              <p:spPr>
                <a:xfrm>
                  <a:off x="6958470" y="1830500"/>
                  <a:ext cx="147543" cy="168716"/>
                </a:xfrm>
                <a:custGeom>
                  <a:avLst/>
                  <a:gdLst>
                    <a:gd name="connsiteX0" fmla="*/ 147544 w 147543"/>
                    <a:gd name="connsiteY0" fmla="*/ 2033 h 168716"/>
                    <a:gd name="connsiteX1" fmla="*/ 2273 w 147543"/>
                    <a:gd name="connsiteY1" fmla="*/ 168716 h 168716"/>
                    <a:gd name="connsiteX2" fmla="*/ 0 w 147543"/>
                    <a:gd name="connsiteY2" fmla="*/ 166743 h 168716"/>
                    <a:gd name="connsiteX3" fmla="*/ 145271 w 147543"/>
                    <a:gd name="connsiteY3" fmla="*/ 0 h 168716"/>
                  </a:gdLst>
                  <a:ahLst/>
                  <a:cxnLst>
                    <a:cxn ang="0">
                      <a:pos x="connsiteX0" y="connsiteY0"/>
                    </a:cxn>
                    <a:cxn ang="0">
                      <a:pos x="connsiteX1" y="connsiteY1"/>
                    </a:cxn>
                    <a:cxn ang="0">
                      <a:pos x="connsiteX2" y="connsiteY2"/>
                    </a:cxn>
                    <a:cxn ang="0">
                      <a:pos x="connsiteX3" y="connsiteY3"/>
                    </a:cxn>
                  </a:cxnLst>
                  <a:rect l="l" t="t" r="r" b="b"/>
                  <a:pathLst>
                    <a:path w="147543" h="168716">
                      <a:moveTo>
                        <a:pt x="147544" y="2033"/>
                      </a:moveTo>
                      <a:lnTo>
                        <a:pt x="2273" y="168716"/>
                      </a:lnTo>
                      <a:lnTo>
                        <a:pt x="0" y="166743"/>
                      </a:lnTo>
                      <a:lnTo>
                        <a:pt x="145271" y="0"/>
                      </a:lnTo>
                      <a:close/>
                    </a:path>
                  </a:pathLst>
                </a:custGeom>
                <a:grpFill/>
                <a:ln w="5978" cap="flat">
                  <a:noFill/>
                  <a:prstDash val="solid"/>
                  <a:miter/>
                </a:ln>
              </p:spPr>
              <p:txBody>
                <a:bodyPr rtlCol="0" anchor="ctr"/>
                <a:lstStyle/>
                <a:p>
                  <a:endParaRPr lang="en-GB"/>
                </a:p>
              </p:txBody>
            </p:sp>
            <p:sp>
              <p:nvSpPr>
                <p:cNvPr id="4375" name="Vrije vorm: vorm 4374">
                  <a:extLst>
                    <a:ext uri="{FF2B5EF4-FFF2-40B4-BE49-F238E27FC236}">
                      <a16:creationId xmlns:a16="http://schemas.microsoft.com/office/drawing/2014/main" id="{DDA7D6B3-DE03-410E-94F3-C4E2FF4F7161}"/>
                    </a:ext>
                  </a:extLst>
                </p:cNvPr>
                <p:cNvSpPr/>
                <p:nvPr/>
              </p:nvSpPr>
              <p:spPr>
                <a:xfrm>
                  <a:off x="6950786" y="1988731"/>
                  <a:ext cx="18297" cy="18398"/>
                </a:xfrm>
                <a:custGeom>
                  <a:avLst/>
                  <a:gdLst>
                    <a:gd name="connsiteX0" fmla="*/ 16057 w 18297"/>
                    <a:gd name="connsiteY0" fmla="*/ 15269 h 18398"/>
                    <a:gd name="connsiteX1" fmla="*/ 3138 w 18297"/>
                    <a:gd name="connsiteY1" fmla="*/ 16107 h 18398"/>
                    <a:gd name="connsiteX2" fmla="*/ 2241 w 18297"/>
                    <a:gd name="connsiteY2" fmla="*/ 3129 h 18398"/>
                    <a:gd name="connsiteX3" fmla="*/ 15160 w 18297"/>
                    <a:gd name="connsiteY3" fmla="*/ 2291 h 18398"/>
                    <a:gd name="connsiteX4" fmla="*/ 16057 w 18297"/>
                    <a:gd name="connsiteY4" fmla="*/ 1526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8">
                      <a:moveTo>
                        <a:pt x="16057" y="15269"/>
                      </a:moveTo>
                      <a:cubicBezTo>
                        <a:pt x="12707" y="19097"/>
                        <a:pt x="6966" y="19456"/>
                        <a:pt x="3138" y="16107"/>
                      </a:cubicBezTo>
                      <a:cubicBezTo>
                        <a:pt x="-689" y="12758"/>
                        <a:pt x="-1048" y="6897"/>
                        <a:pt x="2241" y="3129"/>
                      </a:cubicBezTo>
                      <a:cubicBezTo>
                        <a:pt x="5591" y="-699"/>
                        <a:pt x="11332" y="-1058"/>
                        <a:pt x="15160" y="2291"/>
                      </a:cubicBezTo>
                      <a:cubicBezTo>
                        <a:pt x="18988" y="5581"/>
                        <a:pt x="19346" y="11442"/>
                        <a:pt x="16057" y="15269"/>
                      </a:cubicBezTo>
                      <a:close/>
                    </a:path>
                  </a:pathLst>
                </a:custGeom>
                <a:grpFill/>
                <a:ln w="5978" cap="flat">
                  <a:noFill/>
                  <a:prstDash val="solid"/>
                  <a:miter/>
                </a:ln>
              </p:spPr>
              <p:txBody>
                <a:bodyPr rtlCol="0" anchor="ctr"/>
                <a:lstStyle/>
                <a:p>
                  <a:endParaRPr lang="en-GB"/>
                </a:p>
              </p:txBody>
            </p:sp>
            <p:sp>
              <p:nvSpPr>
                <p:cNvPr id="4376" name="Vrije vorm: vorm 4375">
                  <a:extLst>
                    <a:ext uri="{FF2B5EF4-FFF2-40B4-BE49-F238E27FC236}">
                      <a16:creationId xmlns:a16="http://schemas.microsoft.com/office/drawing/2014/main" id="{C5E708F0-A2C9-4320-AA21-57A9A807423C}"/>
                    </a:ext>
                  </a:extLst>
                </p:cNvPr>
                <p:cNvSpPr/>
                <p:nvPr/>
              </p:nvSpPr>
              <p:spPr>
                <a:xfrm>
                  <a:off x="7095436" y="1822706"/>
                  <a:ext cx="18346" cy="18398"/>
                </a:xfrm>
                <a:custGeom>
                  <a:avLst/>
                  <a:gdLst>
                    <a:gd name="connsiteX0" fmla="*/ 16081 w 18346"/>
                    <a:gd name="connsiteY0" fmla="*/ 15269 h 18398"/>
                    <a:gd name="connsiteX1" fmla="*/ 15184 w 18346"/>
                    <a:gd name="connsiteY1" fmla="*/ 2291 h 18398"/>
                    <a:gd name="connsiteX2" fmla="*/ 2266 w 18346"/>
                    <a:gd name="connsiteY2" fmla="*/ 3129 h 18398"/>
                    <a:gd name="connsiteX3" fmla="*/ 3162 w 18346"/>
                    <a:gd name="connsiteY3" fmla="*/ 16107 h 18398"/>
                    <a:gd name="connsiteX4" fmla="*/ 16081 w 18346"/>
                    <a:gd name="connsiteY4" fmla="*/ 1526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8">
                      <a:moveTo>
                        <a:pt x="16081" y="15269"/>
                      </a:moveTo>
                      <a:cubicBezTo>
                        <a:pt x="19430" y="11442"/>
                        <a:pt x="19011" y="5641"/>
                        <a:pt x="15184" y="2291"/>
                      </a:cubicBezTo>
                      <a:cubicBezTo>
                        <a:pt x="11356" y="-1058"/>
                        <a:pt x="5555" y="-699"/>
                        <a:pt x="2266" y="3129"/>
                      </a:cubicBezTo>
                      <a:cubicBezTo>
                        <a:pt x="-1084" y="6956"/>
                        <a:pt x="-665" y="12758"/>
                        <a:pt x="3162" y="16107"/>
                      </a:cubicBezTo>
                      <a:cubicBezTo>
                        <a:pt x="6930" y="19456"/>
                        <a:pt x="12732" y="19097"/>
                        <a:pt x="16081" y="15269"/>
                      </a:cubicBezTo>
                      <a:close/>
                    </a:path>
                  </a:pathLst>
                </a:custGeom>
                <a:grpFill/>
                <a:ln w="5978" cap="flat">
                  <a:noFill/>
                  <a:prstDash val="solid"/>
                  <a:miter/>
                </a:ln>
              </p:spPr>
              <p:txBody>
                <a:bodyPr rtlCol="0" anchor="ctr"/>
                <a:lstStyle/>
                <a:p>
                  <a:endParaRPr lang="en-GB"/>
                </a:p>
              </p:txBody>
            </p:sp>
          </p:grpSp>
          <p:grpSp>
            <p:nvGrpSpPr>
              <p:cNvPr id="336" name="Graphic 3">
                <a:extLst>
                  <a:ext uri="{FF2B5EF4-FFF2-40B4-BE49-F238E27FC236}">
                    <a16:creationId xmlns:a16="http://schemas.microsoft.com/office/drawing/2014/main" id="{19DFCD60-D216-4682-A40A-21A1AE1AA957}"/>
                  </a:ext>
                </a:extLst>
              </p:cNvPr>
              <p:cNvGrpSpPr/>
              <p:nvPr/>
            </p:nvGrpSpPr>
            <p:grpSpPr>
              <a:xfrm>
                <a:off x="6977502" y="1864259"/>
                <a:ext cx="110122" cy="156835"/>
                <a:chOff x="6977502" y="1864259"/>
                <a:chExt cx="110122" cy="156835"/>
              </a:xfrm>
              <a:grpFill/>
            </p:grpSpPr>
            <p:sp>
              <p:nvSpPr>
                <p:cNvPr id="4371" name="Vrije vorm: vorm 4370">
                  <a:extLst>
                    <a:ext uri="{FF2B5EF4-FFF2-40B4-BE49-F238E27FC236}">
                      <a16:creationId xmlns:a16="http://schemas.microsoft.com/office/drawing/2014/main" id="{A1377B99-C580-4DF8-B47B-0984E9B1B158}"/>
                    </a:ext>
                  </a:extLst>
                </p:cNvPr>
                <p:cNvSpPr/>
                <p:nvPr/>
              </p:nvSpPr>
              <p:spPr>
                <a:xfrm>
                  <a:off x="6985144" y="1872245"/>
                  <a:ext cx="94854" cy="140846"/>
                </a:xfrm>
                <a:custGeom>
                  <a:avLst/>
                  <a:gdLst>
                    <a:gd name="connsiteX0" fmla="*/ 94854 w 94854"/>
                    <a:gd name="connsiteY0" fmla="*/ 1675 h 140846"/>
                    <a:gd name="connsiteX1" fmla="*/ 2572 w 94854"/>
                    <a:gd name="connsiteY1" fmla="*/ 140846 h 140846"/>
                    <a:gd name="connsiteX2" fmla="*/ 0 w 94854"/>
                    <a:gd name="connsiteY2" fmla="*/ 139171 h 140846"/>
                    <a:gd name="connsiteX3" fmla="*/ 92283 w 94854"/>
                    <a:gd name="connsiteY3" fmla="*/ 0 h 140846"/>
                  </a:gdLst>
                  <a:ahLst/>
                  <a:cxnLst>
                    <a:cxn ang="0">
                      <a:pos x="connsiteX0" y="connsiteY0"/>
                    </a:cxn>
                    <a:cxn ang="0">
                      <a:pos x="connsiteX1" y="connsiteY1"/>
                    </a:cxn>
                    <a:cxn ang="0">
                      <a:pos x="connsiteX2" y="connsiteY2"/>
                    </a:cxn>
                    <a:cxn ang="0">
                      <a:pos x="connsiteX3" y="connsiteY3"/>
                    </a:cxn>
                  </a:cxnLst>
                  <a:rect l="l" t="t" r="r" b="b"/>
                  <a:pathLst>
                    <a:path w="94854" h="140846">
                      <a:moveTo>
                        <a:pt x="94854" y="1675"/>
                      </a:moveTo>
                      <a:lnTo>
                        <a:pt x="2572" y="140846"/>
                      </a:lnTo>
                      <a:lnTo>
                        <a:pt x="0" y="139171"/>
                      </a:lnTo>
                      <a:lnTo>
                        <a:pt x="92283" y="0"/>
                      </a:lnTo>
                      <a:close/>
                    </a:path>
                  </a:pathLst>
                </a:custGeom>
                <a:grpFill/>
                <a:ln w="5978" cap="flat">
                  <a:noFill/>
                  <a:prstDash val="solid"/>
                  <a:miter/>
                </a:ln>
              </p:spPr>
              <p:txBody>
                <a:bodyPr rtlCol="0" anchor="ctr"/>
                <a:lstStyle/>
                <a:p>
                  <a:endParaRPr lang="en-GB"/>
                </a:p>
              </p:txBody>
            </p:sp>
            <p:sp>
              <p:nvSpPr>
                <p:cNvPr id="4372" name="Vrije vorm: vorm 4371">
                  <a:extLst>
                    <a:ext uri="{FF2B5EF4-FFF2-40B4-BE49-F238E27FC236}">
                      <a16:creationId xmlns:a16="http://schemas.microsoft.com/office/drawing/2014/main" id="{3F02F1B8-519F-4286-967C-666579ADEDCF}"/>
                    </a:ext>
                  </a:extLst>
                </p:cNvPr>
                <p:cNvSpPr/>
                <p:nvPr/>
              </p:nvSpPr>
              <p:spPr>
                <a:xfrm>
                  <a:off x="7069306" y="1864259"/>
                  <a:ext cx="18318" cy="18483"/>
                </a:xfrm>
                <a:custGeom>
                  <a:avLst/>
                  <a:gdLst>
                    <a:gd name="connsiteX0" fmla="*/ 1541 w 18318"/>
                    <a:gd name="connsiteY0" fmla="*/ 4098 h 18483"/>
                    <a:gd name="connsiteX1" fmla="*/ 14220 w 18318"/>
                    <a:gd name="connsiteY1" fmla="*/ 1586 h 18483"/>
                    <a:gd name="connsiteX2" fmla="*/ 16792 w 18318"/>
                    <a:gd name="connsiteY2" fmla="*/ 14385 h 18483"/>
                    <a:gd name="connsiteX3" fmla="*/ 4113 w 18318"/>
                    <a:gd name="connsiteY3" fmla="*/ 16897 h 18483"/>
                    <a:gd name="connsiteX4" fmla="*/ 1541 w 18318"/>
                    <a:gd name="connsiteY4" fmla="*/ 4098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83">
                      <a:moveTo>
                        <a:pt x="1541" y="4098"/>
                      </a:moveTo>
                      <a:cubicBezTo>
                        <a:pt x="4353" y="-148"/>
                        <a:pt x="10034" y="-1284"/>
                        <a:pt x="14220" y="1586"/>
                      </a:cubicBezTo>
                      <a:cubicBezTo>
                        <a:pt x="18407" y="4397"/>
                        <a:pt x="19603" y="10139"/>
                        <a:pt x="16792" y="14385"/>
                      </a:cubicBezTo>
                      <a:cubicBezTo>
                        <a:pt x="13982" y="18631"/>
                        <a:pt x="8299" y="19768"/>
                        <a:pt x="4113" y="16897"/>
                      </a:cubicBezTo>
                      <a:cubicBezTo>
                        <a:pt x="-133" y="14026"/>
                        <a:pt x="-1270" y="8285"/>
                        <a:pt x="1541" y="4098"/>
                      </a:cubicBezTo>
                      <a:close/>
                    </a:path>
                  </a:pathLst>
                </a:custGeom>
                <a:grpFill/>
                <a:ln w="5978" cap="flat">
                  <a:noFill/>
                  <a:prstDash val="solid"/>
                  <a:miter/>
                </a:ln>
              </p:spPr>
              <p:txBody>
                <a:bodyPr rtlCol="0" anchor="ctr"/>
                <a:lstStyle/>
                <a:p>
                  <a:endParaRPr lang="en-GB"/>
                </a:p>
              </p:txBody>
            </p:sp>
            <p:sp>
              <p:nvSpPr>
                <p:cNvPr id="4373" name="Vrije vorm: vorm 4372">
                  <a:extLst>
                    <a:ext uri="{FF2B5EF4-FFF2-40B4-BE49-F238E27FC236}">
                      <a16:creationId xmlns:a16="http://schemas.microsoft.com/office/drawing/2014/main" id="{C4B2C685-E02B-47FC-8F6C-A8E79ABF8532}"/>
                    </a:ext>
                  </a:extLst>
                </p:cNvPr>
                <p:cNvSpPr/>
                <p:nvPr/>
              </p:nvSpPr>
              <p:spPr>
                <a:xfrm>
                  <a:off x="6977502" y="2002653"/>
                  <a:ext cx="18333" cy="18441"/>
                </a:xfrm>
                <a:custGeom>
                  <a:avLst/>
                  <a:gdLst>
                    <a:gd name="connsiteX0" fmla="*/ 1541 w 18333"/>
                    <a:gd name="connsiteY0" fmla="*/ 4098 h 18441"/>
                    <a:gd name="connsiteX1" fmla="*/ 4113 w 18333"/>
                    <a:gd name="connsiteY1" fmla="*/ 16897 h 18441"/>
                    <a:gd name="connsiteX2" fmla="*/ 16792 w 18333"/>
                    <a:gd name="connsiteY2" fmla="*/ 14385 h 18441"/>
                    <a:gd name="connsiteX3" fmla="*/ 14220 w 18333"/>
                    <a:gd name="connsiteY3" fmla="*/ 1586 h 18441"/>
                    <a:gd name="connsiteX4" fmla="*/ 1541 w 18333"/>
                    <a:gd name="connsiteY4" fmla="*/ 409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541" y="4098"/>
                      </a:moveTo>
                      <a:cubicBezTo>
                        <a:pt x="-1269" y="8345"/>
                        <a:pt x="-133" y="14026"/>
                        <a:pt x="4113" y="16897"/>
                      </a:cubicBezTo>
                      <a:cubicBezTo>
                        <a:pt x="8300" y="19708"/>
                        <a:pt x="14042" y="18572"/>
                        <a:pt x="16792" y="14385"/>
                      </a:cubicBezTo>
                      <a:cubicBezTo>
                        <a:pt x="19603" y="10139"/>
                        <a:pt x="18467" y="4457"/>
                        <a:pt x="14220" y="1586"/>
                      </a:cubicBezTo>
                      <a:cubicBezTo>
                        <a:pt x="10034" y="-1284"/>
                        <a:pt x="4352" y="-148"/>
                        <a:pt x="1541" y="4098"/>
                      </a:cubicBezTo>
                      <a:close/>
                    </a:path>
                  </a:pathLst>
                </a:custGeom>
                <a:grpFill/>
                <a:ln w="5978" cap="flat">
                  <a:noFill/>
                  <a:prstDash val="solid"/>
                  <a:miter/>
                </a:ln>
              </p:spPr>
              <p:txBody>
                <a:bodyPr rtlCol="0" anchor="ctr"/>
                <a:lstStyle/>
                <a:p>
                  <a:endParaRPr lang="en-GB"/>
                </a:p>
              </p:txBody>
            </p:sp>
          </p:grpSp>
          <p:grpSp>
            <p:nvGrpSpPr>
              <p:cNvPr id="337" name="Graphic 3">
                <a:extLst>
                  <a:ext uri="{FF2B5EF4-FFF2-40B4-BE49-F238E27FC236}">
                    <a16:creationId xmlns:a16="http://schemas.microsoft.com/office/drawing/2014/main" id="{BCD66CE0-3876-4FF7-AC82-5EE57FB35D14}"/>
                  </a:ext>
                </a:extLst>
              </p:cNvPr>
              <p:cNvGrpSpPr/>
              <p:nvPr/>
            </p:nvGrpSpPr>
            <p:grpSpPr>
              <a:xfrm>
                <a:off x="6788912" y="1409975"/>
                <a:ext cx="298387" cy="498440"/>
                <a:chOff x="6788912" y="1409975"/>
                <a:chExt cx="298387" cy="498440"/>
              </a:xfrm>
              <a:grpFill/>
            </p:grpSpPr>
            <p:sp>
              <p:nvSpPr>
                <p:cNvPr id="4368" name="Vrije vorm: vorm 4367">
                  <a:extLst>
                    <a:ext uri="{FF2B5EF4-FFF2-40B4-BE49-F238E27FC236}">
                      <a16:creationId xmlns:a16="http://schemas.microsoft.com/office/drawing/2014/main" id="{78E5B56C-7C4B-4B4F-A9D4-BA3D55349F65}"/>
                    </a:ext>
                  </a:extLst>
                </p:cNvPr>
                <p:cNvSpPr/>
                <p:nvPr/>
              </p:nvSpPr>
              <p:spPr>
                <a:xfrm>
                  <a:off x="6796572" y="1418009"/>
                  <a:ext cx="283127" cy="482345"/>
                </a:xfrm>
                <a:custGeom>
                  <a:avLst/>
                  <a:gdLst>
                    <a:gd name="connsiteX0" fmla="*/ 283128 w 283127"/>
                    <a:gd name="connsiteY0" fmla="*/ 1555 h 482345"/>
                    <a:gd name="connsiteX1" fmla="*/ 2632 w 283127"/>
                    <a:gd name="connsiteY1" fmla="*/ 482345 h 482345"/>
                    <a:gd name="connsiteX2" fmla="*/ 0 w 283127"/>
                    <a:gd name="connsiteY2" fmla="*/ 480790 h 482345"/>
                    <a:gd name="connsiteX3" fmla="*/ 280496 w 283127"/>
                    <a:gd name="connsiteY3" fmla="*/ 0 h 482345"/>
                  </a:gdLst>
                  <a:ahLst/>
                  <a:cxnLst>
                    <a:cxn ang="0">
                      <a:pos x="connsiteX0" y="connsiteY0"/>
                    </a:cxn>
                    <a:cxn ang="0">
                      <a:pos x="connsiteX1" y="connsiteY1"/>
                    </a:cxn>
                    <a:cxn ang="0">
                      <a:pos x="connsiteX2" y="connsiteY2"/>
                    </a:cxn>
                    <a:cxn ang="0">
                      <a:pos x="connsiteX3" y="connsiteY3"/>
                    </a:cxn>
                  </a:cxnLst>
                  <a:rect l="l" t="t" r="r" b="b"/>
                  <a:pathLst>
                    <a:path w="283127" h="482345">
                      <a:moveTo>
                        <a:pt x="283128" y="1555"/>
                      </a:moveTo>
                      <a:lnTo>
                        <a:pt x="2632" y="482345"/>
                      </a:lnTo>
                      <a:lnTo>
                        <a:pt x="0" y="480790"/>
                      </a:lnTo>
                      <a:lnTo>
                        <a:pt x="280496" y="0"/>
                      </a:lnTo>
                      <a:close/>
                    </a:path>
                  </a:pathLst>
                </a:custGeom>
                <a:grpFill/>
                <a:ln w="5978" cap="flat">
                  <a:noFill/>
                  <a:prstDash val="solid"/>
                  <a:miter/>
                </a:ln>
              </p:spPr>
              <p:txBody>
                <a:bodyPr rtlCol="0" anchor="ctr"/>
                <a:lstStyle/>
                <a:p>
                  <a:endParaRPr lang="en-GB"/>
                </a:p>
              </p:txBody>
            </p:sp>
            <p:sp>
              <p:nvSpPr>
                <p:cNvPr id="4369" name="Vrije vorm: vorm 4368">
                  <a:extLst>
                    <a:ext uri="{FF2B5EF4-FFF2-40B4-BE49-F238E27FC236}">
                      <a16:creationId xmlns:a16="http://schemas.microsoft.com/office/drawing/2014/main" id="{62A1575E-AF4E-4A40-908A-71F4FEBE5803}"/>
                    </a:ext>
                  </a:extLst>
                </p:cNvPr>
                <p:cNvSpPr/>
                <p:nvPr/>
              </p:nvSpPr>
              <p:spPr>
                <a:xfrm>
                  <a:off x="6788912" y="1889961"/>
                  <a:ext cx="18369" cy="18453"/>
                </a:xfrm>
                <a:custGeom>
                  <a:avLst/>
                  <a:gdLst>
                    <a:gd name="connsiteX0" fmla="*/ 17109 w 18369"/>
                    <a:gd name="connsiteY0" fmla="*/ 13922 h 18453"/>
                    <a:gd name="connsiteX1" fmla="*/ 4550 w 18369"/>
                    <a:gd name="connsiteY1" fmla="*/ 17151 h 18453"/>
                    <a:gd name="connsiteX2" fmla="*/ 1260 w 18369"/>
                    <a:gd name="connsiteY2" fmla="*/ 4532 h 18453"/>
                    <a:gd name="connsiteX3" fmla="*/ 13820 w 18369"/>
                    <a:gd name="connsiteY3" fmla="*/ 1303 h 18453"/>
                    <a:gd name="connsiteX4" fmla="*/ 17109 w 18369"/>
                    <a:gd name="connsiteY4" fmla="*/ 1392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53">
                      <a:moveTo>
                        <a:pt x="17109" y="13922"/>
                      </a:moveTo>
                      <a:cubicBezTo>
                        <a:pt x="14537" y="18288"/>
                        <a:pt x="8915" y="19783"/>
                        <a:pt x="4550" y="17151"/>
                      </a:cubicBezTo>
                      <a:cubicBezTo>
                        <a:pt x="184" y="14580"/>
                        <a:pt x="-1311" y="8898"/>
                        <a:pt x="1260" y="4532"/>
                      </a:cubicBezTo>
                      <a:cubicBezTo>
                        <a:pt x="3832" y="166"/>
                        <a:pt x="9454" y="-1329"/>
                        <a:pt x="13820" y="1303"/>
                      </a:cubicBezTo>
                      <a:cubicBezTo>
                        <a:pt x="18186" y="3934"/>
                        <a:pt x="19681" y="9496"/>
                        <a:pt x="17109" y="13922"/>
                      </a:cubicBezTo>
                      <a:close/>
                    </a:path>
                  </a:pathLst>
                </a:custGeom>
                <a:grpFill/>
                <a:ln w="5978" cap="flat">
                  <a:noFill/>
                  <a:prstDash val="solid"/>
                  <a:miter/>
                </a:ln>
              </p:spPr>
              <p:txBody>
                <a:bodyPr rtlCol="0" anchor="ctr"/>
                <a:lstStyle/>
                <a:p>
                  <a:endParaRPr lang="en-GB"/>
                </a:p>
              </p:txBody>
            </p:sp>
            <p:sp>
              <p:nvSpPr>
                <p:cNvPr id="4370" name="Vrije vorm: vorm 4369">
                  <a:extLst>
                    <a:ext uri="{FF2B5EF4-FFF2-40B4-BE49-F238E27FC236}">
                      <a16:creationId xmlns:a16="http://schemas.microsoft.com/office/drawing/2014/main" id="{21CFFA55-DC8A-4C2A-88DC-4678CA32D858}"/>
                    </a:ext>
                  </a:extLst>
                </p:cNvPr>
                <p:cNvSpPr/>
                <p:nvPr/>
              </p:nvSpPr>
              <p:spPr>
                <a:xfrm>
                  <a:off x="7068929" y="1409975"/>
                  <a:ext cx="18369" cy="18400"/>
                </a:xfrm>
                <a:custGeom>
                  <a:avLst/>
                  <a:gdLst>
                    <a:gd name="connsiteX0" fmla="*/ 17109 w 18369"/>
                    <a:gd name="connsiteY0" fmla="*/ 13895 h 18400"/>
                    <a:gd name="connsiteX1" fmla="*/ 13820 w 18369"/>
                    <a:gd name="connsiteY1" fmla="*/ 1276 h 18400"/>
                    <a:gd name="connsiteX2" fmla="*/ 1260 w 18369"/>
                    <a:gd name="connsiteY2" fmla="*/ 4506 h 18400"/>
                    <a:gd name="connsiteX3" fmla="*/ 4550 w 18369"/>
                    <a:gd name="connsiteY3" fmla="*/ 17125 h 18400"/>
                    <a:gd name="connsiteX4" fmla="*/ 17109 w 18369"/>
                    <a:gd name="connsiteY4" fmla="*/ 1389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7109" y="13895"/>
                      </a:moveTo>
                      <a:cubicBezTo>
                        <a:pt x="19681" y="9529"/>
                        <a:pt x="18186" y="3848"/>
                        <a:pt x="13820" y="1276"/>
                      </a:cubicBezTo>
                      <a:cubicBezTo>
                        <a:pt x="9454" y="-1296"/>
                        <a:pt x="3832" y="140"/>
                        <a:pt x="1260" y="4506"/>
                      </a:cubicBezTo>
                      <a:cubicBezTo>
                        <a:pt x="-1311" y="8871"/>
                        <a:pt x="184" y="14553"/>
                        <a:pt x="4550" y="17125"/>
                      </a:cubicBezTo>
                      <a:cubicBezTo>
                        <a:pt x="8916" y="19697"/>
                        <a:pt x="14538" y="18261"/>
                        <a:pt x="17109" y="13895"/>
                      </a:cubicBezTo>
                      <a:close/>
                    </a:path>
                  </a:pathLst>
                </a:custGeom>
                <a:grpFill/>
                <a:ln w="5978" cap="flat">
                  <a:noFill/>
                  <a:prstDash val="solid"/>
                  <a:miter/>
                </a:ln>
              </p:spPr>
              <p:txBody>
                <a:bodyPr rtlCol="0" anchor="ctr"/>
                <a:lstStyle/>
                <a:p>
                  <a:endParaRPr lang="en-GB"/>
                </a:p>
              </p:txBody>
            </p:sp>
          </p:grpSp>
          <p:grpSp>
            <p:nvGrpSpPr>
              <p:cNvPr id="338" name="Graphic 3">
                <a:extLst>
                  <a:ext uri="{FF2B5EF4-FFF2-40B4-BE49-F238E27FC236}">
                    <a16:creationId xmlns:a16="http://schemas.microsoft.com/office/drawing/2014/main" id="{23E2BFF3-7961-4A5A-9A8F-23939FB3C6BB}"/>
                  </a:ext>
                </a:extLst>
              </p:cNvPr>
              <p:cNvGrpSpPr/>
              <p:nvPr/>
            </p:nvGrpSpPr>
            <p:grpSpPr>
              <a:xfrm>
                <a:off x="7714431" y="4388330"/>
                <a:ext cx="309766" cy="189657"/>
                <a:chOff x="7714431" y="4388330"/>
                <a:chExt cx="309766" cy="189657"/>
              </a:xfrm>
              <a:grpFill/>
            </p:grpSpPr>
            <p:sp>
              <p:nvSpPr>
                <p:cNvPr id="4365" name="Vrije vorm: vorm 4364">
                  <a:extLst>
                    <a:ext uri="{FF2B5EF4-FFF2-40B4-BE49-F238E27FC236}">
                      <a16:creationId xmlns:a16="http://schemas.microsoft.com/office/drawing/2014/main" id="{C42A400B-219A-440F-B222-04C2E8EEA677}"/>
                    </a:ext>
                  </a:extLst>
                </p:cNvPr>
                <p:cNvSpPr/>
                <p:nvPr/>
              </p:nvSpPr>
              <p:spPr>
                <a:xfrm>
                  <a:off x="7722447" y="4395930"/>
                  <a:ext cx="293713" cy="174398"/>
                </a:xfrm>
                <a:custGeom>
                  <a:avLst/>
                  <a:gdLst>
                    <a:gd name="connsiteX0" fmla="*/ 293713 w 293713"/>
                    <a:gd name="connsiteY0" fmla="*/ 171767 h 174398"/>
                    <a:gd name="connsiteX1" fmla="*/ 292158 w 293713"/>
                    <a:gd name="connsiteY1" fmla="*/ 174398 h 174398"/>
                    <a:gd name="connsiteX2" fmla="*/ 0 w 293713"/>
                    <a:gd name="connsiteY2" fmla="*/ 2691 h 174398"/>
                    <a:gd name="connsiteX3" fmla="*/ 1495 w 293713"/>
                    <a:gd name="connsiteY3" fmla="*/ 0 h 174398"/>
                  </a:gdLst>
                  <a:ahLst/>
                  <a:cxnLst>
                    <a:cxn ang="0">
                      <a:pos x="connsiteX0" y="connsiteY0"/>
                    </a:cxn>
                    <a:cxn ang="0">
                      <a:pos x="connsiteX1" y="connsiteY1"/>
                    </a:cxn>
                    <a:cxn ang="0">
                      <a:pos x="connsiteX2" y="connsiteY2"/>
                    </a:cxn>
                    <a:cxn ang="0">
                      <a:pos x="connsiteX3" y="connsiteY3"/>
                    </a:cxn>
                  </a:cxnLst>
                  <a:rect l="l" t="t" r="r" b="b"/>
                  <a:pathLst>
                    <a:path w="293713" h="174398">
                      <a:moveTo>
                        <a:pt x="293713" y="171767"/>
                      </a:moveTo>
                      <a:lnTo>
                        <a:pt x="292158" y="174398"/>
                      </a:lnTo>
                      <a:lnTo>
                        <a:pt x="0" y="2691"/>
                      </a:lnTo>
                      <a:lnTo>
                        <a:pt x="1495" y="0"/>
                      </a:lnTo>
                      <a:close/>
                    </a:path>
                  </a:pathLst>
                </a:custGeom>
                <a:grpFill/>
                <a:ln w="5978" cap="flat">
                  <a:noFill/>
                  <a:prstDash val="solid"/>
                  <a:miter/>
                </a:ln>
              </p:spPr>
              <p:txBody>
                <a:bodyPr rtlCol="0" anchor="ctr"/>
                <a:lstStyle/>
                <a:p>
                  <a:endParaRPr lang="en-GB"/>
                </a:p>
              </p:txBody>
            </p:sp>
            <p:sp>
              <p:nvSpPr>
                <p:cNvPr id="4366" name="Vrije vorm: vorm 4365">
                  <a:extLst>
                    <a:ext uri="{FF2B5EF4-FFF2-40B4-BE49-F238E27FC236}">
                      <a16:creationId xmlns:a16="http://schemas.microsoft.com/office/drawing/2014/main" id="{F29D2FC1-9D0E-4098-A94B-1AD163E26570}"/>
                    </a:ext>
                  </a:extLst>
                </p:cNvPr>
                <p:cNvSpPr/>
                <p:nvPr/>
              </p:nvSpPr>
              <p:spPr>
                <a:xfrm>
                  <a:off x="8005911" y="4559545"/>
                  <a:ext cx="18285" cy="18442"/>
                </a:xfrm>
                <a:custGeom>
                  <a:avLst/>
                  <a:gdLst>
                    <a:gd name="connsiteX0" fmla="*/ 13718 w 18285"/>
                    <a:gd name="connsiteY0" fmla="*/ 1274 h 18442"/>
                    <a:gd name="connsiteX1" fmla="*/ 17068 w 18285"/>
                    <a:gd name="connsiteY1" fmla="*/ 13893 h 18442"/>
                    <a:gd name="connsiteX2" fmla="*/ 4568 w 18285"/>
                    <a:gd name="connsiteY2" fmla="*/ 17182 h 18442"/>
                    <a:gd name="connsiteX3" fmla="*/ 1219 w 18285"/>
                    <a:gd name="connsiteY3" fmla="*/ 4563 h 18442"/>
                    <a:gd name="connsiteX4" fmla="*/ 13718 w 18285"/>
                    <a:gd name="connsiteY4" fmla="*/ 127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42">
                      <a:moveTo>
                        <a:pt x="13718" y="1274"/>
                      </a:moveTo>
                      <a:cubicBezTo>
                        <a:pt x="18084" y="3845"/>
                        <a:pt x="19579" y="9467"/>
                        <a:pt x="17068" y="13893"/>
                      </a:cubicBezTo>
                      <a:cubicBezTo>
                        <a:pt x="14496" y="18259"/>
                        <a:pt x="8934" y="19754"/>
                        <a:pt x="4568" y="17182"/>
                      </a:cubicBezTo>
                      <a:cubicBezTo>
                        <a:pt x="202" y="14611"/>
                        <a:pt x="-1293" y="8989"/>
                        <a:pt x="1219" y="4563"/>
                      </a:cubicBezTo>
                      <a:cubicBezTo>
                        <a:pt x="3731" y="137"/>
                        <a:pt x="9293" y="-1298"/>
                        <a:pt x="13718" y="1274"/>
                      </a:cubicBezTo>
                      <a:close/>
                    </a:path>
                  </a:pathLst>
                </a:custGeom>
                <a:grpFill/>
                <a:ln w="5978" cap="flat">
                  <a:noFill/>
                  <a:prstDash val="solid"/>
                  <a:miter/>
                </a:ln>
              </p:spPr>
              <p:txBody>
                <a:bodyPr rtlCol="0" anchor="ctr"/>
                <a:lstStyle/>
                <a:p>
                  <a:endParaRPr lang="en-GB"/>
                </a:p>
              </p:txBody>
            </p:sp>
            <p:sp>
              <p:nvSpPr>
                <p:cNvPr id="4367" name="Vrije vorm: vorm 4366">
                  <a:extLst>
                    <a:ext uri="{FF2B5EF4-FFF2-40B4-BE49-F238E27FC236}">
                      <a16:creationId xmlns:a16="http://schemas.microsoft.com/office/drawing/2014/main" id="{AC6E47E8-994E-4BF2-A1E6-FAF3BF90353B}"/>
                    </a:ext>
                  </a:extLst>
                </p:cNvPr>
                <p:cNvSpPr/>
                <p:nvPr/>
              </p:nvSpPr>
              <p:spPr>
                <a:xfrm>
                  <a:off x="7714431" y="4388330"/>
                  <a:ext cx="18325" cy="18429"/>
                </a:xfrm>
                <a:custGeom>
                  <a:avLst/>
                  <a:gdLst>
                    <a:gd name="connsiteX0" fmla="*/ 13758 w 18325"/>
                    <a:gd name="connsiteY0" fmla="*/ 1260 h 18429"/>
                    <a:gd name="connsiteX1" fmla="*/ 1258 w 18325"/>
                    <a:gd name="connsiteY1" fmla="*/ 4550 h 18429"/>
                    <a:gd name="connsiteX2" fmla="*/ 4607 w 18325"/>
                    <a:gd name="connsiteY2" fmla="*/ 17169 h 18429"/>
                    <a:gd name="connsiteX3" fmla="*/ 17107 w 18325"/>
                    <a:gd name="connsiteY3" fmla="*/ 13880 h 18429"/>
                    <a:gd name="connsiteX4" fmla="*/ 13758 w 18325"/>
                    <a:gd name="connsiteY4" fmla="*/ 126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9">
                      <a:moveTo>
                        <a:pt x="13758" y="1260"/>
                      </a:moveTo>
                      <a:cubicBezTo>
                        <a:pt x="9392" y="-1311"/>
                        <a:pt x="3771" y="184"/>
                        <a:pt x="1258" y="4550"/>
                      </a:cubicBezTo>
                      <a:cubicBezTo>
                        <a:pt x="-1314" y="8916"/>
                        <a:pt x="182" y="14597"/>
                        <a:pt x="4607" y="17169"/>
                      </a:cubicBezTo>
                      <a:cubicBezTo>
                        <a:pt x="8974" y="19741"/>
                        <a:pt x="14595" y="18246"/>
                        <a:pt x="17107" y="13880"/>
                      </a:cubicBezTo>
                      <a:cubicBezTo>
                        <a:pt x="19619" y="9454"/>
                        <a:pt x="18124" y="3832"/>
                        <a:pt x="13758" y="1260"/>
                      </a:cubicBezTo>
                      <a:close/>
                    </a:path>
                  </a:pathLst>
                </a:custGeom>
                <a:grpFill/>
                <a:ln w="5978" cap="flat">
                  <a:noFill/>
                  <a:prstDash val="solid"/>
                  <a:miter/>
                </a:ln>
              </p:spPr>
              <p:txBody>
                <a:bodyPr rtlCol="0" anchor="ctr"/>
                <a:lstStyle/>
                <a:p>
                  <a:endParaRPr lang="en-GB"/>
                </a:p>
              </p:txBody>
            </p:sp>
          </p:grpSp>
          <p:grpSp>
            <p:nvGrpSpPr>
              <p:cNvPr id="339" name="Graphic 3">
                <a:extLst>
                  <a:ext uri="{FF2B5EF4-FFF2-40B4-BE49-F238E27FC236}">
                    <a16:creationId xmlns:a16="http://schemas.microsoft.com/office/drawing/2014/main" id="{DB7D1EBD-4CD6-4926-8A00-50E4D33C8082}"/>
                  </a:ext>
                </a:extLst>
              </p:cNvPr>
              <p:cNvGrpSpPr/>
              <p:nvPr/>
            </p:nvGrpSpPr>
            <p:grpSpPr>
              <a:xfrm>
                <a:off x="7698334" y="4337867"/>
                <a:ext cx="314886" cy="185383"/>
                <a:chOff x="7698334" y="4337867"/>
                <a:chExt cx="314886" cy="185383"/>
              </a:xfrm>
              <a:grpFill/>
            </p:grpSpPr>
            <p:sp>
              <p:nvSpPr>
                <p:cNvPr id="4362" name="Vrije vorm: vorm 4361">
                  <a:extLst>
                    <a:ext uri="{FF2B5EF4-FFF2-40B4-BE49-F238E27FC236}">
                      <a16:creationId xmlns:a16="http://schemas.microsoft.com/office/drawing/2014/main" id="{1E65BF18-549B-46AB-AD24-050D11A36EDA}"/>
                    </a:ext>
                  </a:extLst>
                </p:cNvPr>
                <p:cNvSpPr/>
                <p:nvPr/>
              </p:nvSpPr>
              <p:spPr>
                <a:xfrm>
                  <a:off x="7706359" y="4345513"/>
                  <a:ext cx="298797" cy="170031"/>
                </a:xfrm>
                <a:custGeom>
                  <a:avLst/>
                  <a:gdLst>
                    <a:gd name="connsiteX0" fmla="*/ 298797 w 298797"/>
                    <a:gd name="connsiteY0" fmla="*/ 167340 h 170031"/>
                    <a:gd name="connsiteX1" fmla="*/ 297362 w 298797"/>
                    <a:gd name="connsiteY1" fmla="*/ 170032 h 170031"/>
                    <a:gd name="connsiteX2" fmla="*/ 0 w 298797"/>
                    <a:gd name="connsiteY2" fmla="*/ 2691 h 170031"/>
                    <a:gd name="connsiteX3" fmla="*/ 1435 w 298797"/>
                    <a:gd name="connsiteY3" fmla="*/ 0 h 170031"/>
                  </a:gdLst>
                  <a:ahLst/>
                  <a:cxnLst>
                    <a:cxn ang="0">
                      <a:pos x="connsiteX0" y="connsiteY0"/>
                    </a:cxn>
                    <a:cxn ang="0">
                      <a:pos x="connsiteX1" y="connsiteY1"/>
                    </a:cxn>
                    <a:cxn ang="0">
                      <a:pos x="connsiteX2" y="connsiteY2"/>
                    </a:cxn>
                    <a:cxn ang="0">
                      <a:pos x="connsiteX3" y="connsiteY3"/>
                    </a:cxn>
                  </a:cxnLst>
                  <a:rect l="l" t="t" r="r" b="b"/>
                  <a:pathLst>
                    <a:path w="298797" h="170031">
                      <a:moveTo>
                        <a:pt x="298797" y="167340"/>
                      </a:moveTo>
                      <a:lnTo>
                        <a:pt x="297362" y="170032"/>
                      </a:lnTo>
                      <a:lnTo>
                        <a:pt x="0" y="2691"/>
                      </a:lnTo>
                      <a:lnTo>
                        <a:pt x="1435" y="0"/>
                      </a:lnTo>
                      <a:close/>
                    </a:path>
                  </a:pathLst>
                </a:custGeom>
                <a:grpFill/>
                <a:ln w="5978" cap="flat">
                  <a:noFill/>
                  <a:prstDash val="solid"/>
                  <a:miter/>
                </a:ln>
              </p:spPr>
              <p:txBody>
                <a:bodyPr rtlCol="0" anchor="ctr"/>
                <a:lstStyle/>
                <a:p>
                  <a:endParaRPr lang="en-GB"/>
                </a:p>
              </p:txBody>
            </p:sp>
            <p:sp>
              <p:nvSpPr>
                <p:cNvPr id="4363" name="Vrije vorm: vorm 4362">
                  <a:extLst>
                    <a:ext uri="{FF2B5EF4-FFF2-40B4-BE49-F238E27FC236}">
                      <a16:creationId xmlns:a16="http://schemas.microsoft.com/office/drawing/2014/main" id="{890470E5-9EDC-402C-9A26-445F0DF1671C}"/>
                    </a:ext>
                  </a:extLst>
                </p:cNvPr>
                <p:cNvSpPr/>
                <p:nvPr/>
              </p:nvSpPr>
              <p:spPr>
                <a:xfrm>
                  <a:off x="7994879" y="4504776"/>
                  <a:ext cx="18342" cy="18474"/>
                </a:xfrm>
                <a:custGeom>
                  <a:avLst/>
                  <a:gdLst>
                    <a:gd name="connsiteX0" fmla="*/ 13627 w 18342"/>
                    <a:gd name="connsiteY0" fmla="*/ 1200 h 18474"/>
                    <a:gd name="connsiteX1" fmla="*/ 17155 w 18342"/>
                    <a:gd name="connsiteY1" fmla="*/ 13759 h 18474"/>
                    <a:gd name="connsiteX2" fmla="*/ 4715 w 18342"/>
                    <a:gd name="connsiteY2" fmla="*/ 17288 h 18474"/>
                    <a:gd name="connsiteX3" fmla="*/ 1187 w 18342"/>
                    <a:gd name="connsiteY3" fmla="*/ 4728 h 18474"/>
                    <a:gd name="connsiteX4" fmla="*/ 13627 w 18342"/>
                    <a:gd name="connsiteY4" fmla="*/ 1200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74">
                      <a:moveTo>
                        <a:pt x="13627" y="1200"/>
                      </a:moveTo>
                      <a:cubicBezTo>
                        <a:pt x="18052" y="3711"/>
                        <a:pt x="19667" y="9333"/>
                        <a:pt x="17155" y="13759"/>
                      </a:cubicBezTo>
                      <a:cubicBezTo>
                        <a:pt x="14703" y="18185"/>
                        <a:pt x="9141" y="19800"/>
                        <a:pt x="4715" y="17288"/>
                      </a:cubicBezTo>
                      <a:cubicBezTo>
                        <a:pt x="290" y="14776"/>
                        <a:pt x="-1325" y="9154"/>
                        <a:pt x="1187" y="4728"/>
                      </a:cubicBezTo>
                      <a:cubicBezTo>
                        <a:pt x="3639" y="242"/>
                        <a:pt x="9201" y="-1313"/>
                        <a:pt x="13627" y="1200"/>
                      </a:cubicBezTo>
                      <a:close/>
                    </a:path>
                  </a:pathLst>
                </a:custGeom>
                <a:grpFill/>
                <a:ln w="5978" cap="flat">
                  <a:noFill/>
                  <a:prstDash val="solid"/>
                  <a:miter/>
                </a:ln>
              </p:spPr>
              <p:txBody>
                <a:bodyPr rtlCol="0" anchor="ctr"/>
                <a:lstStyle/>
                <a:p>
                  <a:endParaRPr lang="en-GB"/>
                </a:p>
              </p:txBody>
            </p:sp>
            <p:sp>
              <p:nvSpPr>
                <p:cNvPr id="4364" name="Vrije vorm: vorm 4363">
                  <a:extLst>
                    <a:ext uri="{FF2B5EF4-FFF2-40B4-BE49-F238E27FC236}">
                      <a16:creationId xmlns:a16="http://schemas.microsoft.com/office/drawing/2014/main" id="{51CAC9BA-F42A-42B1-8D80-8F281BD39D37}"/>
                    </a:ext>
                  </a:extLst>
                </p:cNvPr>
                <p:cNvSpPr/>
                <p:nvPr/>
              </p:nvSpPr>
              <p:spPr>
                <a:xfrm>
                  <a:off x="7698334" y="4337867"/>
                  <a:ext cx="18302" cy="18461"/>
                </a:xfrm>
                <a:custGeom>
                  <a:avLst/>
                  <a:gdLst>
                    <a:gd name="connsiteX0" fmla="*/ 13588 w 18302"/>
                    <a:gd name="connsiteY0" fmla="*/ 1187 h 18461"/>
                    <a:gd name="connsiteX1" fmla="*/ 1148 w 18302"/>
                    <a:gd name="connsiteY1" fmla="*/ 4716 h 18461"/>
                    <a:gd name="connsiteX2" fmla="*/ 4676 w 18302"/>
                    <a:gd name="connsiteY2" fmla="*/ 17275 h 18461"/>
                    <a:gd name="connsiteX3" fmla="*/ 17116 w 18302"/>
                    <a:gd name="connsiteY3" fmla="*/ 13746 h 18461"/>
                    <a:gd name="connsiteX4" fmla="*/ 13588 w 18302"/>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61">
                      <a:moveTo>
                        <a:pt x="13588" y="1187"/>
                      </a:moveTo>
                      <a:cubicBezTo>
                        <a:pt x="9162" y="-1325"/>
                        <a:pt x="3600" y="290"/>
                        <a:pt x="1148" y="4716"/>
                      </a:cubicBezTo>
                      <a:cubicBezTo>
                        <a:pt x="-1304" y="9141"/>
                        <a:pt x="311" y="14763"/>
                        <a:pt x="4676" y="17275"/>
                      </a:cubicBezTo>
                      <a:cubicBezTo>
                        <a:pt x="9102" y="19787"/>
                        <a:pt x="14664" y="18172"/>
                        <a:pt x="17116" y="13746"/>
                      </a:cubicBezTo>
                      <a:cubicBezTo>
                        <a:pt x="19628" y="9261"/>
                        <a:pt x="18013" y="3639"/>
                        <a:pt x="13588" y="1187"/>
                      </a:cubicBezTo>
                      <a:close/>
                    </a:path>
                  </a:pathLst>
                </a:custGeom>
                <a:grpFill/>
                <a:ln w="5978" cap="flat">
                  <a:noFill/>
                  <a:prstDash val="solid"/>
                  <a:miter/>
                </a:ln>
              </p:spPr>
              <p:txBody>
                <a:bodyPr rtlCol="0" anchor="ctr"/>
                <a:lstStyle/>
                <a:p>
                  <a:endParaRPr lang="en-GB"/>
                </a:p>
              </p:txBody>
            </p:sp>
          </p:grpSp>
          <p:grpSp>
            <p:nvGrpSpPr>
              <p:cNvPr id="340" name="Graphic 3">
                <a:extLst>
                  <a:ext uri="{FF2B5EF4-FFF2-40B4-BE49-F238E27FC236}">
                    <a16:creationId xmlns:a16="http://schemas.microsoft.com/office/drawing/2014/main" id="{BD6011A9-A90D-436A-A9A8-43A9C66BF920}"/>
                  </a:ext>
                </a:extLst>
              </p:cNvPr>
              <p:cNvGrpSpPr/>
              <p:nvPr/>
            </p:nvGrpSpPr>
            <p:grpSpPr>
              <a:xfrm>
                <a:off x="7630945" y="3943844"/>
                <a:ext cx="152383" cy="63761"/>
                <a:chOff x="7630945" y="3943844"/>
                <a:chExt cx="152383" cy="63761"/>
              </a:xfrm>
              <a:grpFill/>
            </p:grpSpPr>
            <p:sp>
              <p:nvSpPr>
                <p:cNvPr id="4359" name="Vrije vorm: vorm 4358">
                  <a:extLst>
                    <a:ext uri="{FF2B5EF4-FFF2-40B4-BE49-F238E27FC236}">
                      <a16:creationId xmlns:a16="http://schemas.microsoft.com/office/drawing/2014/main" id="{6DF77721-FC38-4BC6-9CB1-6059624C2862}"/>
                    </a:ext>
                  </a:extLst>
                </p:cNvPr>
                <p:cNvSpPr/>
                <p:nvPr/>
              </p:nvSpPr>
              <p:spPr>
                <a:xfrm>
                  <a:off x="7639255" y="3951503"/>
                  <a:ext cx="135821" cy="48503"/>
                </a:xfrm>
                <a:custGeom>
                  <a:avLst/>
                  <a:gdLst>
                    <a:gd name="connsiteX0" fmla="*/ 135822 w 135821"/>
                    <a:gd name="connsiteY0" fmla="*/ 45573 h 48503"/>
                    <a:gd name="connsiteX1" fmla="*/ 134866 w 135821"/>
                    <a:gd name="connsiteY1" fmla="*/ 48504 h 48503"/>
                    <a:gd name="connsiteX2" fmla="*/ 0 w 135821"/>
                    <a:gd name="connsiteY2" fmla="*/ 2871 h 48503"/>
                    <a:gd name="connsiteX3" fmla="*/ 957 w 135821"/>
                    <a:gd name="connsiteY3" fmla="*/ 0 h 48503"/>
                  </a:gdLst>
                  <a:ahLst/>
                  <a:cxnLst>
                    <a:cxn ang="0">
                      <a:pos x="connsiteX0" y="connsiteY0"/>
                    </a:cxn>
                    <a:cxn ang="0">
                      <a:pos x="connsiteX1" y="connsiteY1"/>
                    </a:cxn>
                    <a:cxn ang="0">
                      <a:pos x="connsiteX2" y="connsiteY2"/>
                    </a:cxn>
                    <a:cxn ang="0">
                      <a:pos x="connsiteX3" y="connsiteY3"/>
                    </a:cxn>
                  </a:cxnLst>
                  <a:rect l="l" t="t" r="r" b="b"/>
                  <a:pathLst>
                    <a:path w="135821" h="48503">
                      <a:moveTo>
                        <a:pt x="135822" y="45573"/>
                      </a:moveTo>
                      <a:lnTo>
                        <a:pt x="134866" y="48504"/>
                      </a:lnTo>
                      <a:lnTo>
                        <a:pt x="0" y="2871"/>
                      </a:lnTo>
                      <a:lnTo>
                        <a:pt x="957" y="0"/>
                      </a:lnTo>
                      <a:close/>
                    </a:path>
                  </a:pathLst>
                </a:custGeom>
                <a:grpFill/>
                <a:ln w="5978" cap="flat">
                  <a:noFill/>
                  <a:prstDash val="solid"/>
                  <a:miter/>
                </a:ln>
              </p:spPr>
              <p:txBody>
                <a:bodyPr rtlCol="0" anchor="ctr"/>
                <a:lstStyle/>
                <a:p>
                  <a:endParaRPr lang="en-GB"/>
                </a:p>
              </p:txBody>
            </p:sp>
            <p:sp>
              <p:nvSpPr>
                <p:cNvPr id="4360" name="Vrije vorm: vorm 4359">
                  <a:extLst>
                    <a:ext uri="{FF2B5EF4-FFF2-40B4-BE49-F238E27FC236}">
                      <a16:creationId xmlns:a16="http://schemas.microsoft.com/office/drawing/2014/main" id="{18953CE6-E40C-48BE-A524-C81B8FD99847}"/>
                    </a:ext>
                  </a:extLst>
                </p:cNvPr>
                <p:cNvSpPr/>
                <p:nvPr/>
              </p:nvSpPr>
              <p:spPr>
                <a:xfrm>
                  <a:off x="7764972" y="3989178"/>
                  <a:ext cx="18356" cy="18427"/>
                </a:xfrm>
                <a:custGeom>
                  <a:avLst/>
                  <a:gdLst>
                    <a:gd name="connsiteX0" fmla="*/ 12079 w 18356"/>
                    <a:gd name="connsiteY0" fmla="*/ 482 h 18427"/>
                    <a:gd name="connsiteX1" fmla="*/ 17880 w 18356"/>
                    <a:gd name="connsiteY1" fmla="*/ 12144 h 18427"/>
                    <a:gd name="connsiteX2" fmla="*/ 6278 w 18356"/>
                    <a:gd name="connsiteY2" fmla="*/ 17946 h 18427"/>
                    <a:gd name="connsiteX3" fmla="*/ 476 w 18356"/>
                    <a:gd name="connsiteY3" fmla="*/ 6283 h 18427"/>
                    <a:gd name="connsiteX4" fmla="*/ 12079 w 18356"/>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7">
                      <a:moveTo>
                        <a:pt x="12079" y="482"/>
                      </a:moveTo>
                      <a:cubicBezTo>
                        <a:pt x="16863" y="2097"/>
                        <a:pt x="19495" y="7360"/>
                        <a:pt x="17880" y="12144"/>
                      </a:cubicBezTo>
                      <a:cubicBezTo>
                        <a:pt x="16265" y="16989"/>
                        <a:pt x="11122" y="19560"/>
                        <a:pt x="6278" y="17946"/>
                      </a:cubicBezTo>
                      <a:cubicBezTo>
                        <a:pt x="1493" y="16331"/>
                        <a:pt x="-1139" y="11068"/>
                        <a:pt x="476" y="6283"/>
                      </a:cubicBezTo>
                      <a:cubicBezTo>
                        <a:pt x="2091" y="1439"/>
                        <a:pt x="7294" y="-1133"/>
                        <a:pt x="12079" y="482"/>
                      </a:cubicBezTo>
                      <a:close/>
                    </a:path>
                  </a:pathLst>
                </a:custGeom>
                <a:grpFill/>
                <a:ln w="5978" cap="flat">
                  <a:noFill/>
                  <a:prstDash val="solid"/>
                  <a:miter/>
                </a:ln>
              </p:spPr>
              <p:txBody>
                <a:bodyPr rtlCol="0" anchor="ctr"/>
                <a:lstStyle/>
                <a:p>
                  <a:endParaRPr lang="en-GB"/>
                </a:p>
              </p:txBody>
            </p:sp>
            <p:sp>
              <p:nvSpPr>
                <p:cNvPr id="4361" name="Vrije vorm: vorm 4360">
                  <a:extLst>
                    <a:ext uri="{FF2B5EF4-FFF2-40B4-BE49-F238E27FC236}">
                      <a16:creationId xmlns:a16="http://schemas.microsoft.com/office/drawing/2014/main" id="{D00AC5B5-C9D9-4C7E-87A9-4495A910546D}"/>
                    </a:ext>
                  </a:extLst>
                </p:cNvPr>
                <p:cNvSpPr/>
                <p:nvPr/>
              </p:nvSpPr>
              <p:spPr>
                <a:xfrm>
                  <a:off x="7630945" y="3943844"/>
                  <a:ext cx="18361" cy="18427"/>
                </a:xfrm>
                <a:custGeom>
                  <a:avLst/>
                  <a:gdLst>
                    <a:gd name="connsiteX0" fmla="*/ 12078 w 18361"/>
                    <a:gd name="connsiteY0" fmla="*/ 482 h 18427"/>
                    <a:gd name="connsiteX1" fmla="*/ 476 w 18361"/>
                    <a:gd name="connsiteY1" fmla="*/ 6283 h 18427"/>
                    <a:gd name="connsiteX2" fmla="*/ 6277 w 18361"/>
                    <a:gd name="connsiteY2" fmla="*/ 17946 h 18427"/>
                    <a:gd name="connsiteX3" fmla="*/ 17880 w 18361"/>
                    <a:gd name="connsiteY3" fmla="*/ 12144 h 18427"/>
                    <a:gd name="connsiteX4" fmla="*/ 12078 w 18361"/>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7">
                      <a:moveTo>
                        <a:pt x="12078" y="482"/>
                      </a:moveTo>
                      <a:cubicBezTo>
                        <a:pt x="7294" y="-1133"/>
                        <a:pt x="2090" y="1439"/>
                        <a:pt x="476" y="6283"/>
                      </a:cubicBezTo>
                      <a:cubicBezTo>
                        <a:pt x="-1139" y="11128"/>
                        <a:pt x="1492" y="16331"/>
                        <a:pt x="6277" y="17946"/>
                      </a:cubicBezTo>
                      <a:cubicBezTo>
                        <a:pt x="11061" y="19560"/>
                        <a:pt x="16265" y="16989"/>
                        <a:pt x="17880" y="12144"/>
                      </a:cubicBezTo>
                      <a:cubicBezTo>
                        <a:pt x="19494" y="7360"/>
                        <a:pt x="16923" y="2097"/>
                        <a:pt x="12078" y="482"/>
                      </a:cubicBezTo>
                      <a:close/>
                    </a:path>
                  </a:pathLst>
                </a:custGeom>
                <a:grpFill/>
                <a:ln w="5978" cap="flat">
                  <a:noFill/>
                  <a:prstDash val="solid"/>
                  <a:miter/>
                </a:ln>
              </p:spPr>
              <p:txBody>
                <a:bodyPr rtlCol="0" anchor="ctr"/>
                <a:lstStyle/>
                <a:p>
                  <a:endParaRPr lang="en-GB"/>
                </a:p>
              </p:txBody>
            </p:sp>
          </p:grpSp>
          <p:grpSp>
            <p:nvGrpSpPr>
              <p:cNvPr id="341" name="Graphic 3">
                <a:extLst>
                  <a:ext uri="{FF2B5EF4-FFF2-40B4-BE49-F238E27FC236}">
                    <a16:creationId xmlns:a16="http://schemas.microsoft.com/office/drawing/2014/main" id="{FF5DFE8C-5E86-4039-B424-82B2549D327D}"/>
                  </a:ext>
                </a:extLst>
              </p:cNvPr>
              <p:cNvGrpSpPr/>
              <p:nvPr/>
            </p:nvGrpSpPr>
            <p:grpSpPr>
              <a:xfrm>
                <a:off x="7691047" y="4293826"/>
                <a:ext cx="289959" cy="164735"/>
                <a:chOff x="7691047" y="4293826"/>
                <a:chExt cx="289959" cy="164735"/>
              </a:xfrm>
              <a:grpFill/>
            </p:grpSpPr>
            <p:sp>
              <p:nvSpPr>
                <p:cNvPr id="4356" name="Vrije vorm: vorm 4355">
                  <a:extLst>
                    <a:ext uri="{FF2B5EF4-FFF2-40B4-BE49-F238E27FC236}">
                      <a16:creationId xmlns:a16="http://schemas.microsoft.com/office/drawing/2014/main" id="{7EF85D42-6C07-4B09-AED3-77C3FE2805C9}"/>
                    </a:ext>
                  </a:extLst>
                </p:cNvPr>
                <p:cNvSpPr/>
                <p:nvPr/>
              </p:nvSpPr>
              <p:spPr>
                <a:xfrm>
                  <a:off x="7699063" y="4301435"/>
                  <a:ext cx="273917" cy="149458"/>
                </a:xfrm>
                <a:custGeom>
                  <a:avLst/>
                  <a:gdLst>
                    <a:gd name="connsiteX0" fmla="*/ 273917 w 273917"/>
                    <a:gd name="connsiteY0" fmla="*/ 146767 h 149458"/>
                    <a:gd name="connsiteX1" fmla="*/ 272482 w 273917"/>
                    <a:gd name="connsiteY1" fmla="*/ 149458 h 149458"/>
                    <a:gd name="connsiteX2" fmla="*/ 0 w 273917"/>
                    <a:gd name="connsiteY2" fmla="*/ 2691 h 149458"/>
                    <a:gd name="connsiteX3" fmla="*/ 1435 w 273917"/>
                    <a:gd name="connsiteY3" fmla="*/ 0 h 149458"/>
                  </a:gdLst>
                  <a:ahLst/>
                  <a:cxnLst>
                    <a:cxn ang="0">
                      <a:pos x="connsiteX0" y="connsiteY0"/>
                    </a:cxn>
                    <a:cxn ang="0">
                      <a:pos x="connsiteX1" y="connsiteY1"/>
                    </a:cxn>
                    <a:cxn ang="0">
                      <a:pos x="connsiteX2" y="connsiteY2"/>
                    </a:cxn>
                    <a:cxn ang="0">
                      <a:pos x="connsiteX3" y="connsiteY3"/>
                    </a:cxn>
                  </a:cxnLst>
                  <a:rect l="l" t="t" r="r" b="b"/>
                  <a:pathLst>
                    <a:path w="273917" h="149458">
                      <a:moveTo>
                        <a:pt x="273917" y="146767"/>
                      </a:moveTo>
                      <a:lnTo>
                        <a:pt x="272482" y="149458"/>
                      </a:lnTo>
                      <a:lnTo>
                        <a:pt x="0" y="2691"/>
                      </a:lnTo>
                      <a:lnTo>
                        <a:pt x="1435" y="0"/>
                      </a:lnTo>
                      <a:close/>
                    </a:path>
                  </a:pathLst>
                </a:custGeom>
                <a:grpFill/>
                <a:ln w="5978" cap="flat">
                  <a:noFill/>
                  <a:prstDash val="solid"/>
                  <a:miter/>
                </a:ln>
              </p:spPr>
              <p:txBody>
                <a:bodyPr rtlCol="0" anchor="ctr"/>
                <a:lstStyle/>
                <a:p>
                  <a:endParaRPr lang="en-GB"/>
                </a:p>
              </p:txBody>
            </p:sp>
            <p:sp>
              <p:nvSpPr>
                <p:cNvPr id="4357" name="Vrije vorm: vorm 4356">
                  <a:extLst>
                    <a:ext uri="{FF2B5EF4-FFF2-40B4-BE49-F238E27FC236}">
                      <a16:creationId xmlns:a16="http://schemas.microsoft.com/office/drawing/2014/main" id="{FB1B1A3F-775C-4B87-A70A-128639C05D17}"/>
                    </a:ext>
                  </a:extLst>
                </p:cNvPr>
                <p:cNvSpPr/>
                <p:nvPr/>
              </p:nvSpPr>
              <p:spPr>
                <a:xfrm>
                  <a:off x="7962680" y="4440114"/>
                  <a:ext cx="18327" cy="18447"/>
                </a:xfrm>
                <a:custGeom>
                  <a:avLst/>
                  <a:gdLst>
                    <a:gd name="connsiteX0" fmla="*/ 13470 w 18327"/>
                    <a:gd name="connsiteY0" fmla="*/ 1090 h 18447"/>
                    <a:gd name="connsiteX1" fmla="*/ 17237 w 18327"/>
                    <a:gd name="connsiteY1" fmla="*/ 13590 h 18447"/>
                    <a:gd name="connsiteX2" fmla="*/ 4858 w 18327"/>
                    <a:gd name="connsiteY2" fmla="*/ 17357 h 18447"/>
                    <a:gd name="connsiteX3" fmla="*/ 1090 w 18327"/>
                    <a:gd name="connsiteY3" fmla="*/ 4858 h 18447"/>
                    <a:gd name="connsiteX4" fmla="*/ 13470 w 18327"/>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7">
                      <a:moveTo>
                        <a:pt x="13470" y="1090"/>
                      </a:moveTo>
                      <a:cubicBezTo>
                        <a:pt x="17955" y="3482"/>
                        <a:pt x="19630" y="9104"/>
                        <a:pt x="17237" y="13590"/>
                      </a:cubicBezTo>
                      <a:cubicBezTo>
                        <a:pt x="14846" y="18075"/>
                        <a:pt x="9283" y="19750"/>
                        <a:pt x="4858" y="17357"/>
                      </a:cubicBezTo>
                      <a:cubicBezTo>
                        <a:pt x="372" y="14965"/>
                        <a:pt x="-1303" y="9343"/>
                        <a:pt x="1090" y="4858"/>
                      </a:cubicBezTo>
                      <a:cubicBezTo>
                        <a:pt x="3422" y="372"/>
                        <a:pt x="8984" y="-1303"/>
                        <a:pt x="13470" y="1090"/>
                      </a:cubicBezTo>
                      <a:close/>
                    </a:path>
                  </a:pathLst>
                </a:custGeom>
                <a:grpFill/>
                <a:ln w="5978" cap="flat">
                  <a:noFill/>
                  <a:prstDash val="solid"/>
                  <a:miter/>
                </a:ln>
              </p:spPr>
              <p:txBody>
                <a:bodyPr rtlCol="0" anchor="ctr"/>
                <a:lstStyle/>
                <a:p>
                  <a:endParaRPr lang="en-GB"/>
                </a:p>
              </p:txBody>
            </p:sp>
            <p:sp>
              <p:nvSpPr>
                <p:cNvPr id="4358" name="Vrije vorm: vorm 4357">
                  <a:extLst>
                    <a:ext uri="{FF2B5EF4-FFF2-40B4-BE49-F238E27FC236}">
                      <a16:creationId xmlns:a16="http://schemas.microsoft.com/office/drawing/2014/main" id="{73779D5F-22B8-4532-BEC8-C3123E476DE6}"/>
                    </a:ext>
                  </a:extLst>
                </p:cNvPr>
                <p:cNvSpPr/>
                <p:nvPr/>
              </p:nvSpPr>
              <p:spPr>
                <a:xfrm>
                  <a:off x="7691047" y="4293826"/>
                  <a:ext cx="18304" cy="18447"/>
                </a:xfrm>
                <a:custGeom>
                  <a:avLst/>
                  <a:gdLst>
                    <a:gd name="connsiteX0" fmla="*/ 13458 w 18304"/>
                    <a:gd name="connsiteY0" fmla="*/ 1090 h 18447"/>
                    <a:gd name="connsiteX1" fmla="*/ 1078 w 18304"/>
                    <a:gd name="connsiteY1" fmla="*/ 4858 h 18447"/>
                    <a:gd name="connsiteX2" fmla="*/ 4846 w 18304"/>
                    <a:gd name="connsiteY2" fmla="*/ 17357 h 18447"/>
                    <a:gd name="connsiteX3" fmla="*/ 17226 w 18304"/>
                    <a:gd name="connsiteY3" fmla="*/ 13590 h 18447"/>
                    <a:gd name="connsiteX4" fmla="*/ 13458 w 18304"/>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47">
                      <a:moveTo>
                        <a:pt x="13458" y="1090"/>
                      </a:moveTo>
                      <a:cubicBezTo>
                        <a:pt x="8973" y="-1302"/>
                        <a:pt x="3410" y="372"/>
                        <a:pt x="1078" y="4858"/>
                      </a:cubicBezTo>
                      <a:cubicBezTo>
                        <a:pt x="-1314" y="9343"/>
                        <a:pt x="420" y="14905"/>
                        <a:pt x="4846" y="17357"/>
                      </a:cubicBezTo>
                      <a:cubicBezTo>
                        <a:pt x="9331" y="19749"/>
                        <a:pt x="14894" y="18075"/>
                        <a:pt x="17226" y="13590"/>
                      </a:cubicBezTo>
                      <a:cubicBezTo>
                        <a:pt x="19619" y="9044"/>
                        <a:pt x="17884" y="3482"/>
                        <a:pt x="13458" y="1090"/>
                      </a:cubicBezTo>
                      <a:close/>
                    </a:path>
                  </a:pathLst>
                </a:custGeom>
                <a:grpFill/>
                <a:ln w="5978" cap="flat">
                  <a:noFill/>
                  <a:prstDash val="solid"/>
                  <a:miter/>
                </a:ln>
              </p:spPr>
              <p:txBody>
                <a:bodyPr rtlCol="0" anchor="ctr"/>
                <a:lstStyle/>
                <a:p>
                  <a:endParaRPr lang="en-GB"/>
                </a:p>
              </p:txBody>
            </p:sp>
          </p:grpSp>
          <p:grpSp>
            <p:nvGrpSpPr>
              <p:cNvPr id="342" name="Graphic 3">
                <a:extLst>
                  <a:ext uri="{FF2B5EF4-FFF2-40B4-BE49-F238E27FC236}">
                    <a16:creationId xmlns:a16="http://schemas.microsoft.com/office/drawing/2014/main" id="{C104F541-5405-4F01-AE5D-D90CE3E66903}"/>
                  </a:ext>
                </a:extLst>
              </p:cNvPr>
              <p:cNvGrpSpPr/>
              <p:nvPr/>
            </p:nvGrpSpPr>
            <p:grpSpPr>
              <a:xfrm>
                <a:off x="7568499" y="4156757"/>
                <a:ext cx="473681" cy="286977"/>
                <a:chOff x="7568499" y="4156757"/>
                <a:chExt cx="473681" cy="286977"/>
              </a:xfrm>
              <a:grpFill/>
            </p:grpSpPr>
            <p:sp>
              <p:nvSpPr>
                <p:cNvPr id="4353" name="Vrije vorm: vorm 4352">
                  <a:extLst>
                    <a:ext uri="{FF2B5EF4-FFF2-40B4-BE49-F238E27FC236}">
                      <a16:creationId xmlns:a16="http://schemas.microsoft.com/office/drawing/2014/main" id="{FE03BA13-92B3-4797-A096-ADC380E13D0C}"/>
                    </a:ext>
                  </a:extLst>
                </p:cNvPr>
                <p:cNvSpPr/>
                <p:nvPr/>
              </p:nvSpPr>
              <p:spPr>
                <a:xfrm>
                  <a:off x="7576518" y="4164416"/>
                  <a:ext cx="457585" cy="271704"/>
                </a:xfrm>
                <a:custGeom>
                  <a:avLst/>
                  <a:gdLst>
                    <a:gd name="connsiteX0" fmla="*/ 457585 w 457585"/>
                    <a:gd name="connsiteY0" fmla="*/ 269073 h 271704"/>
                    <a:gd name="connsiteX1" fmla="*/ 456030 w 457585"/>
                    <a:gd name="connsiteY1" fmla="*/ 271705 h 271704"/>
                    <a:gd name="connsiteX2" fmla="*/ 0 w 457585"/>
                    <a:gd name="connsiteY2" fmla="*/ 2691 h 271704"/>
                    <a:gd name="connsiteX3" fmla="*/ 1555 w 457585"/>
                    <a:gd name="connsiteY3" fmla="*/ 0 h 271704"/>
                  </a:gdLst>
                  <a:ahLst/>
                  <a:cxnLst>
                    <a:cxn ang="0">
                      <a:pos x="connsiteX0" y="connsiteY0"/>
                    </a:cxn>
                    <a:cxn ang="0">
                      <a:pos x="connsiteX1" y="connsiteY1"/>
                    </a:cxn>
                    <a:cxn ang="0">
                      <a:pos x="connsiteX2" y="connsiteY2"/>
                    </a:cxn>
                    <a:cxn ang="0">
                      <a:pos x="connsiteX3" y="connsiteY3"/>
                    </a:cxn>
                  </a:cxnLst>
                  <a:rect l="l" t="t" r="r" b="b"/>
                  <a:pathLst>
                    <a:path w="457585" h="271704">
                      <a:moveTo>
                        <a:pt x="457585" y="269073"/>
                      </a:moveTo>
                      <a:lnTo>
                        <a:pt x="456030" y="271705"/>
                      </a:lnTo>
                      <a:lnTo>
                        <a:pt x="0" y="2691"/>
                      </a:lnTo>
                      <a:lnTo>
                        <a:pt x="1555" y="0"/>
                      </a:lnTo>
                      <a:close/>
                    </a:path>
                  </a:pathLst>
                </a:custGeom>
                <a:grpFill/>
                <a:ln w="5978" cap="flat">
                  <a:noFill/>
                  <a:prstDash val="solid"/>
                  <a:miter/>
                </a:ln>
              </p:spPr>
              <p:txBody>
                <a:bodyPr rtlCol="0" anchor="ctr"/>
                <a:lstStyle/>
                <a:p>
                  <a:endParaRPr lang="en-GB"/>
                </a:p>
              </p:txBody>
            </p:sp>
            <p:sp>
              <p:nvSpPr>
                <p:cNvPr id="4354" name="Vrije vorm: vorm 4353">
                  <a:extLst>
                    <a:ext uri="{FF2B5EF4-FFF2-40B4-BE49-F238E27FC236}">
                      <a16:creationId xmlns:a16="http://schemas.microsoft.com/office/drawing/2014/main" id="{4C700AE3-1004-468B-A467-9B2B367EC3FE}"/>
                    </a:ext>
                  </a:extLst>
                </p:cNvPr>
                <p:cNvSpPr/>
                <p:nvPr/>
              </p:nvSpPr>
              <p:spPr>
                <a:xfrm>
                  <a:off x="7568499" y="4156757"/>
                  <a:ext cx="18369" cy="18442"/>
                </a:xfrm>
                <a:custGeom>
                  <a:avLst/>
                  <a:gdLst>
                    <a:gd name="connsiteX0" fmla="*/ 4550 w 18369"/>
                    <a:gd name="connsiteY0" fmla="*/ 17169 h 18442"/>
                    <a:gd name="connsiteX1" fmla="*/ 1260 w 18369"/>
                    <a:gd name="connsiteY1" fmla="*/ 4550 h 18442"/>
                    <a:gd name="connsiteX2" fmla="*/ 13819 w 18369"/>
                    <a:gd name="connsiteY2" fmla="*/ 1261 h 18442"/>
                    <a:gd name="connsiteX3" fmla="*/ 17109 w 18369"/>
                    <a:gd name="connsiteY3" fmla="*/ 13880 h 18442"/>
                    <a:gd name="connsiteX4" fmla="*/ 4550 w 18369"/>
                    <a:gd name="connsiteY4" fmla="*/ 1716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2">
                      <a:moveTo>
                        <a:pt x="4550" y="17169"/>
                      </a:moveTo>
                      <a:cubicBezTo>
                        <a:pt x="184" y="14597"/>
                        <a:pt x="-1311" y="8916"/>
                        <a:pt x="1260" y="4550"/>
                      </a:cubicBezTo>
                      <a:cubicBezTo>
                        <a:pt x="3832" y="184"/>
                        <a:pt x="9394" y="-1311"/>
                        <a:pt x="13819" y="1261"/>
                      </a:cubicBezTo>
                      <a:cubicBezTo>
                        <a:pt x="18185" y="3832"/>
                        <a:pt x="19680" y="9514"/>
                        <a:pt x="17109" y="13880"/>
                      </a:cubicBezTo>
                      <a:cubicBezTo>
                        <a:pt x="14537" y="18306"/>
                        <a:pt x="8916" y="19741"/>
                        <a:pt x="4550" y="17169"/>
                      </a:cubicBezTo>
                      <a:close/>
                    </a:path>
                  </a:pathLst>
                </a:custGeom>
                <a:grpFill/>
                <a:ln w="5978" cap="flat">
                  <a:noFill/>
                  <a:prstDash val="solid"/>
                  <a:miter/>
                </a:ln>
              </p:spPr>
              <p:txBody>
                <a:bodyPr rtlCol="0" anchor="ctr"/>
                <a:lstStyle/>
                <a:p>
                  <a:endParaRPr lang="en-GB"/>
                </a:p>
              </p:txBody>
            </p:sp>
            <p:sp>
              <p:nvSpPr>
                <p:cNvPr id="4355" name="Vrije vorm: vorm 4354">
                  <a:extLst>
                    <a:ext uri="{FF2B5EF4-FFF2-40B4-BE49-F238E27FC236}">
                      <a16:creationId xmlns:a16="http://schemas.microsoft.com/office/drawing/2014/main" id="{78FF93A4-D23C-4FBB-B5AA-F82065FB21E9}"/>
                    </a:ext>
                  </a:extLst>
                </p:cNvPr>
                <p:cNvSpPr/>
                <p:nvPr/>
              </p:nvSpPr>
              <p:spPr>
                <a:xfrm>
                  <a:off x="8023798" y="4425278"/>
                  <a:ext cx="18382" cy="18456"/>
                </a:xfrm>
                <a:custGeom>
                  <a:avLst/>
                  <a:gdLst>
                    <a:gd name="connsiteX0" fmla="*/ 4563 w 18382"/>
                    <a:gd name="connsiteY0" fmla="*/ 17183 h 18456"/>
                    <a:gd name="connsiteX1" fmla="*/ 17123 w 18382"/>
                    <a:gd name="connsiteY1" fmla="*/ 13893 h 18456"/>
                    <a:gd name="connsiteX2" fmla="*/ 13833 w 18382"/>
                    <a:gd name="connsiteY2" fmla="*/ 1274 h 18456"/>
                    <a:gd name="connsiteX3" fmla="*/ 1274 w 18382"/>
                    <a:gd name="connsiteY3" fmla="*/ 4563 h 18456"/>
                    <a:gd name="connsiteX4" fmla="*/ 4563 w 18382"/>
                    <a:gd name="connsiteY4" fmla="*/ 17183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2" h="18456">
                      <a:moveTo>
                        <a:pt x="4563" y="17183"/>
                      </a:moveTo>
                      <a:cubicBezTo>
                        <a:pt x="8929" y="19754"/>
                        <a:pt x="14551" y="18319"/>
                        <a:pt x="17123" y="13893"/>
                      </a:cubicBezTo>
                      <a:cubicBezTo>
                        <a:pt x="19694" y="9467"/>
                        <a:pt x="18199" y="3845"/>
                        <a:pt x="13833" y="1274"/>
                      </a:cubicBezTo>
                      <a:cubicBezTo>
                        <a:pt x="9467" y="-1298"/>
                        <a:pt x="3846" y="137"/>
                        <a:pt x="1274" y="4563"/>
                      </a:cubicBezTo>
                      <a:cubicBezTo>
                        <a:pt x="-1298" y="8989"/>
                        <a:pt x="138" y="14611"/>
                        <a:pt x="4563" y="17183"/>
                      </a:cubicBezTo>
                      <a:close/>
                    </a:path>
                  </a:pathLst>
                </a:custGeom>
                <a:grpFill/>
                <a:ln w="5978" cap="flat">
                  <a:noFill/>
                  <a:prstDash val="solid"/>
                  <a:miter/>
                </a:ln>
              </p:spPr>
              <p:txBody>
                <a:bodyPr rtlCol="0" anchor="ctr"/>
                <a:lstStyle/>
                <a:p>
                  <a:endParaRPr lang="en-GB"/>
                </a:p>
              </p:txBody>
            </p:sp>
          </p:grpSp>
          <p:grpSp>
            <p:nvGrpSpPr>
              <p:cNvPr id="343" name="Graphic 3">
                <a:extLst>
                  <a:ext uri="{FF2B5EF4-FFF2-40B4-BE49-F238E27FC236}">
                    <a16:creationId xmlns:a16="http://schemas.microsoft.com/office/drawing/2014/main" id="{1A2D9D6D-E030-472C-9BCA-36FF4E9B7399}"/>
                  </a:ext>
                </a:extLst>
              </p:cNvPr>
              <p:cNvGrpSpPr/>
              <p:nvPr/>
            </p:nvGrpSpPr>
            <p:grpSpPr>
              <a:xfrm>
                <a:off x="7707738" y="4186272"/>
                <a:ext cx="161414" cy="85472"/>
                <a:chOff x="7707738" y="4186272"/>
                <a:chExt cx="161414" cy="85472"/>
              </a:xfrm>
              <a:grpFill/>
            </p:grpSpPr>
            <p:sp>
              <p:nvSpPr>
                <p:cNvPr id="4350" name="Vrije vorm: vorm 4349">
                  <a:extLst>
                    <a:ext uri="{FF2B5EF4-FFF2-40B4-BE49-F238E27FC236}">
                      <a16:creationId xmlns:a16="http://schemas.microsoft.com/office/drawing/2014/main" id="{A379AACB-24B5-4C7B-8095-FBD1C74234FA}"/>
                    </a:ext>
                  </a:extLst>
                </p:cNvPr>
                <p:cNvSpPr/>
                <p:nvPr/>
              </p:nvSpPr>
              <p:spPr>
                <a:xfrm>
                  <a:off x="7715809" y="4193902"/>
                  <a:ext cx="145271" cy="70213"/>
                </a:xfrm>
                <a:custGeom>
                  <a:avLst/>
                  <a:gdLst>
                    <a:gd name="connsiteX0" fmla="*/ 145271 w 145271"/>
                    <a:gd name="connsiteY0" fmla="*/ 67462 h 70213"/>
                    <a:gd name="connsiteX1" fmla="*/ 144016 w 145271"/>
                    <a:gd name="connsiteY1" fmla="*/ 70214 h 70213"/>
                    <a:gd name="connsiteX2" fmla="*/ 0 w 145271"/>
                    <a:gd name="connsiteY2" fmla="*/ 2751 h 70213"/>
                    <a:gd name="connsiteX3" fmla="*/ 1256 w 145271"/>
                    <a:gd name="connsiteY3" fmla="*/ 0 h 70213"/>
                  </a:gdLst>
                  <a:ahLst/>
                  <a:cxnLst>
                    <a:cxn ang="0">
                      <a:pos x="connsiteX0" y="connsiteY0"/>
                    </a:cxn>
                    <a:cxn ang="0">
                      <a:pos x="connsiteX1" y="connsiteY1"/>
                    </a:cxn>
                    <a:cxn ang="0">
                      <a:pos x="connsiteX2" y="connsiteY2"/>
                    </a:cxn>
                    <a:cxn ang="0">
                      <a:pos x="connsiteX3" y="connsiteY3"/>
                    </a:cxn>
                  </a:cxnLst>
                  <a:rect l="l" t="t" r="r" b="b"/>
                  <a:pathLst>
                    <a:path w="145271" h="70213">
                      <a:moveTo>
                        <a:pt x="145271" y="67462"/>
                      </a:moveTo>
                      <a:lnTo>
                        <a:pt x="144016" y="70214"/>
                      </a:lnTo>
                      <a:lnTo>
                        <a:pt x="0" y="2751"/>
                      </a:lnTo>
                      <a:lnTo>
                        <a:pt x="1256" y="0"/>
                      </a:lnTo>
                      <a:close/>
                    </a:path>
                  </a:pathLst>
                </a:custGeom>
                <a:grpFill/>
                <a:ln w="5978" cap="flat">
                  <a:noFill/>
                  <a:prstDash val="solid"/>
                  <a:miter/>
                </a:ln>
              </p:spPr>
              <p:txBody>
                <a:bodyPr rtlCol="0" anchor="ctr"/>
                <a:lstStyle/>
                <a:p>
                  <a:endParaRPr lang="en-GB"/>
                </a:p>
              </p:txBody>
            </p:sp>
            <p:sp>
              <p:nvSpPr>
                <p:cNvPr id="4351" name="Vrije vorm: vorm 4350">
                  <a:extLst>
                    <a:ext uri="{FF2B5EF4-FFF2-40B4-BE49-F238E27FC236}">
                      <a16:creationId xmlns:a16="http://schemas.microsoft.com/office/drawing/2014/main" id="{67385587-CD2B-4334-ACAF-B65D147BAF5F}"/>
                    </a:ext>
                  </a:extLst>
                </p:cNvPr>
                <p:cNvSpPr/>
                <p:nvPr/>
              </p:nvSpPr>
              <p:spPr>
                <a:xfrm>
                  <a:off x="7850856" y="4253326"/>
                  <a:ext cx="18295" cy="18418"/>
                </a:xfrm>
                <a:custGeom>
                  <a:avLst/>
                  <a:gdLst>
                    <a:gd name="connsiteX0" fmla="*/ 12975 w 18295"/>
                    <a:gd name="connsiteY0" fmla="*/ 861 h 18418"/>
                    <a:gd name="connsiteX1" fmla="*/ 17461 w 18295"/>
                    <a:gd name="connsiteY1" fmla="*/ 13122 h 18418"/>
                    <a:gd name="connsiteX2" fmla="*/ 5320 w 18295"/>
                    <a:gd name="connsiteY2" fmla="*/ 17548 h 18418"/>
                    <a:gd name="connsiteX3" fmla="*/ 834 w 18295"/>
                    <a:gd name="connsiteY3" fmla="*/ 5287 h 18418"/>
                    <a:gd name="connsiteX4" fmla="*/ 12975 w 18295"/>
                    <a:gd name="connsiteY4" fmla="*/ 86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18">
                      <a:moveTo>
                        <a:pt x="12975" y="861"/>
                      </a:moveTo>
                      <a:cubicBezTo>
                        <a:pt x="17581" y="3015"/>
                        <a:pt x="19554" y="8517"/>
                        <a:pt x="17461" y="13122"/>
                      </a:cubicBezTo>
                      <a:cubicBezTo>
                        <a:pt x="15368" y="17727"/>
                        <a:pt x="9865" y="19701"/>
                        <a:pt x="5320" y="17548"/>
                      </a:cubicBezTo>
                      <a:cubicBezTo>
                        <a:pt x="715" y="15394"/>
                        <a:pt x="-1259" y="9892"/>
                        <a:pt x="834" y="5287"/>
                      </a:cubicBezTo>
                      <a:cubicBezTo>
                        <a:pt x="2987" y="742"/>
                        <a:pt x="8430" y="-1292"/>
                        <a:pt x="12975" y="861"/>
                      </a:cubicBezTo>
                      <a:close/>
                    </a:path>
                  </a:pathLst>
                </a:custGeom>
                <a:grpFill/>
                <a:ln w="5978" cap="flat">
                  <a:noFill/>
                  <a:prstDash val="solid"/>
                  <a:miter/>
                </a:ln>
              </p:spPr>
              <p:txBody>
                <a:bodyPr rtlCol="0" anchor="ctr"/>
                <a:lstStyle/>
                <a:p>
                  <a:endParaRPr lang="en-GB"/>
                </a:p>
              </p:txBody>
            </p:sp>
            <p:sp>
              <p:nvSpPr>
                <p:cNvPr id="4352" name="Vrije vorm: vorm 4351">
                  <a:extLst>
                    <a:ext uri="{FF2B5EF4-FFF2-40B4-BE49-F238E27FC236}">
                      <a16:creationId xmlns:a16="http://schemas.microsoft.com/office/drawing/2014/main" id="{4A7AFF63-CBFB-4C62-8B2B-683D8A29DA7C}"/>
                    </a:ext>
                  </a:extLst>
                </p:cNvPr>
                <p:cNvSpPr/>
                <p:nvPr/>
              </p:nvSpPr>
              <p:spPr>
                <a:xfrm>
                  <a:off x="7707738" y="4186272"/>
                  <a:ext cx="18285" cy="18428"/>
                </a:xfrm>
                <a:custGeom>
                  <a:avLst/>
                  <a:gdLst>
                    <a:gd name="connsiteX0" fmla="*/ 12975 w 18285"/>
                    <a:gd name="connsiteY0" fmla="*/ 871 h 18428"/>
                    <a:gd name="connsiteX1" fmla="*/ 834 w 18285"/>
                    <a:gd name="connsiteY1" fmla="*/ 5297 h 18428"/>
                    <a:gd name="connsiteX2" fmla="*/ 5320 w 18285"/>
                    <a:gd name="connsiteY2" fmla="*/ 17557 h 18428"/>
                    <a:gd name="connsiteX3" fmla="*/ 17461 w 18285"/>
                    <a:gd name="connsiteY3" fmla="*/ 13132 h 18428"/>
                    <a:gd name="connsiteX4" fmla="*/ 12975 w 18285"/>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8">
                      <a:moveTo>
                        <a:pt x="12975" y="871"/>
                      </a:moveTo>
                      <a:cubicBezTo>
                        <a:pt x="8370" y="-1282"/>
                        <a:pt x="2928" y="692"/>
                        <a:pt x="834" y="5297"/>
                      </a:cubicBezTo>
                      <a:cubicBezTo>
                        <a:pt x="-1259" y="9902"/>
                        <a:pt x="715" y="15404"/>
                        <a:pt x="5320" y="17557"/>
                      </a:cubicBezTo>
                      <a:cubicBezTo>
                        <a:pt x="9925" y="19710"/>
                        <a:pt x="15368" y="17737"/>
                        <a:pt x="17461" y="13132"/>
                      </a:cubicBezTo>
                      <a:cubicBezTo>
                        <a:pt x="19554" y="8526"/>
                        <a:pt x="17521" y="3024"/>
                        <a:pt x="12975" y="871"/>
                      </a:cubicBezTo>
                      <a:close/>
                    </a:path>
                  </a:pathLst>
                </a:custGeom>
                <a:grpFill/>
                <a:ln w="5978" cap="flat">
                  <a:noFill/>
                  <a:prstDash val="solid"/>
                  <a:miter/>
                </a:ln>
              </p:spPr>
              <p:txBody>
                <a:bodyPr rtlCol="0" anchor="ctr"/>
                <a:lstStyle/>
                <a:p>
                  <a:endParaRPr lang="en-GB"/>
                </a:p>
              </p:txBody>
            </p:sp>
          </p:grpSp>
          <p:grpSp>
            <p:nvGrpSpPr>
              <p:cNvPr id="344" name="Graphic 3">
                <a:extLst>
                  <a:ext uri="{FF2B5EF4-FFF2-40B4-BE49-F238E27FC236}">
                    <a16:creationId xmlns:a16="http://schemas.microsoft.com/office/drawing/2014/main" id="{F55591EF-956C-4CCD-8735-8B19F52B57C3}"/>
                  </a:ext>
                </a:extLst>
              </p:cNvPr>
              <p:cNvGrpSpPr/>
              <p:nvPr/>
            </p:nvGrpSpPr>
            <p:grpSpPr>
              <a:xfrm>
                <a:off x="7967502" y="4962246"/>
                <a:ext cx="143846" cy="119936"/>
                <a:chOff x="7967502" y="4962246"/>
                <a:chExt cx="143846" cy="119936"/>
              </a:xfrm>
              <a:grpFill/>
            </p:grpSpPr>
            <p:sp>
              <p:nvSpPr>
                <p:cNvPr id="4347" name="Vrije vorm: vorm 4346">
                  <a:extLst>
                    <a:ext uri="{FF2B5EF4-FFF2-40B4-BE49-F238E27FC236}">
                      <a16:creationId xmlns:a16="http://schemas.microsoft.com/office/drawing/2014/main" id="{006A9B3B-E7EC-4B1A-A91C-2A6733D02F7A}"/>
                    </a:ext>
                  </a:extLst>
                </p:cNvPr>
                <p:cNvSpPr/>
                <p:nvPr/>
              </p:nvSpPr>
              <p:spPr>
                <a:xfrm>
                  <a:off x="7975313" y="4969960"/>
                  <a:ext cx="128166" cy="104483"/>
                </a:xfrm>
                <a:custGeom>
                  <a:avLst/>
                  <a:gdLst>
                    <a:gd name="connsiteX0" fmla="*/ 128166 w 128166"/>
                    <a:gd name="connsiteY0" fmla="*/ 102091 h 104483"/>
                    <a:gd name="connsiteX1" fmla="*/ 126253 w 128166"/>
                    <a:gd name="connsiteY1" fmla="*/ 104483 h 104483"/>
                    <a:gd name="connsiteX2" fmla="*/ 0 w 128166"/>
                    <a:gd name="connsiteY2" fmla="*/ 2392 h 104483"/>
                    <a:gd name="connsiteX3" fmla="*/ 1914 w 128166"/>
                    <a:gd name="connsiteY3" fmla="*/ 0 h 104483"/>
                  </a:gdLst>
                  <a:ahLst/>
                  <a:cxnLst>
                    <a:cxn ang="0">
                      <a:pos x="connsiteX0" y="connsiteY0"/>
                    </a:cxn>
                    <a:cxn ang="0">
                      <a:pos x="connsiteX1" y="connsiteY1"/>
                    </a:cxn>
                    <a:cxn ang="0">
                      <a:pos x="connsiteX2" y="connsiteY2"/>
                    </a:cxn>
                    <a:cxn ang="0">
                      <a:pos x="connsiteX3" y="connsiteY3"/>
                    </a:cxn>
                  </a:cxnLst>
                  <a:rect l="l" t="t" r="r" b="b"/>
                  <a:pathLst>
                    <a:path w="128166" h="104483">
                      <a:moveTo>
                        <a:pt x="128166" y="102091"/>
                      </a:moveTo>
                      <a:lnTo>
                        <a:pt x="126253" y="104483"/>
                      </a:lnTo>
                      <a:lnTo>
                        <a:pt x="0" y="2392"/>
                      </a:lnTo>
                      <a:lnTo>
                        <a:pt x="1914" y="0"/>
                      </a:lnTo>
                      <a:close/>
                    </a:path>
                  </a:pathLst>
                </a:custGeom>
                <a:grpFill/>
                <a:ln w="5978" cap="flat">
                  <a:noFill/>
                  <a:prstDash val="solid"/>
                  <a:miter/>
                </a:ln>
              </p:spPr>
              <p:txBody>
                <a:bodyPr rtlCol="0" anchor="ctr"/>
                <a:lstStyle/>
                <a:p>
                  <a:endParaRPr lang="en-GB"/>
                </a:p>
              </p:txBody>
            </p:sp>
            <p:sp>
              <p:nvSpPr>
                <p:cNvPr id="4348" name="Vrije vorm: vorm 4347">
                  <a:extLst>
                    <a:ext uri="{FF2B5EF4-FFF2-40B4-BE49-F238E27FC236}">
                      <a16:creationId xmlns:a16="http://schemas.microsoft.com/office/drawing/2014/main" id="{395D9068-0DDA-425D-8D57-A8799C30F6F1}"/>
                    </a:ext>
                  </a:extLst>
                </p:cNvPr>
                <p:cNvSpPr/>
                <p:nvPr/>
              </p:nvSpPr>
              <p:spPr>
                <a:xfrm>
                  <a:off x="8093038" y="5063739"/>
                  <a:ext cx="18311" cy="18443"/>
                </a:xfrm>
                <a:custGeom>
                  <a:avLst/>
                  <a:gdLst>
                    <a:gd name="connsiteX0" fmla="*/ 14867 w 18311"/>
                    <a:gd name="connsiteY0" fmla="*/ 2032 h 18443"/>
                    <a:gd name="connsiteX1" fmla="*/ 16302 w 18311"/>
                    <a:gd name="connsiteY1" fmla="*/ 15010 h 18443"/>
                    <a:gd name="connsiteX2" fmla="*/ 3444 w 18311"/>
                    <a:gd name="connsiteY2" fmla="*/ 16386 h 18443"/>
                    <a:gd name="connsiteX3" fmla="*/ 2008 w 18311"/>
                    <a:gd name="connsiteY3" fmla="*/ 3408 h 18443"/>
                    <a:gd name="connsiteX4" fmla="*/ 14867 w 18311"/>
                    <a:gd name="connsiteY4" fmla="*/ 20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43">
                      <a:moveTo>
                        <a:pt x="14867" y="2032"/>
                      </a:moveTo>
                      <a:cubicBezTo>
                        <a:pt x="18814" y="5202"/>
                        <a:pt x="19472" y="11003"/>
                        <a:pt x="16302" y="15010"/>
                      </a:cubicBezTo>
                      <a:cubicBezTo>
                        <a:pt x="13133" y="18958"/>
                        <a:pt x="7391" y="19616"/>
                        <a:pt x="3444" y="16386"/>
                      </a:cubicBezTo>
                      <a:cubicBezTo>
                        <a:pt x="-503" y="13216"/>
                        <a:pt x="-1161" y="7415"/>
                        <a:pt x="2008" y="3408"/>
                      </a:cubicBezTo>
                      <a:cubicBezTo>
                        <a:pt x="5118" y="-539"/>
                        <a:pt x="10920" y="-1137"/>
                        <a:pt x="14867" y="2032"/>
                      </a:cubicBezTo>
                      <a:close/>
                    </a:path>
                  </a:pathLst>
                </a:custGeom>
                <a:grpFill/>
                <a:ln w="5978" cap="flat">
                  <a:noFill/>
                  <a:prstDash val="solid"/>
                  <a:miter/>
                </a:ln>
              </p:spPr>
              <p:txBody>
                <a:bodyPr rtlCol="0" anchor="ctr"/>
                <a:lstStyle/>
                <a:p>
                  <a:endParaRPr lang="en-GB"/>
                </a:p>
              </p:txBody>
            </p:sp>
            <p:sp>
              <p:nvSpPr>
                <p:cNvPr id="4349" name="Vrije vorm: vorm 4348">
                  <a:extLst>
                    <a:ext uri="{FF2B5EF4-FFF2-40B4-BE49-F238E27FC236}">
                      <a16:creationId xmlns:a16="http://schemas.microsoft.com/office/drawing/2014/main" id="{4543D1CD-2331-4B4A-9A29-9E90774EE7F4}"/>
                    </a:ext>
                  </a:extLst>
                </p:cNvPr>
                <p:cNvSpPr/>
                <p:nvPr/>
              </p:nvSpPr>
              <p:spPr>
                <a:xfrm>
                  <a:off x="7967502" y="4962246"/>
                  <a:ext cx="18311" cy="18418"/>
                </a:xfrm>
                <a:custGeom>
                  <a:avLst/>
                  <a:gdLst>
                    <a:gd name="connsiteX0" fmla="*/ 14867 w 18311"/>
                    <a:gd name="connsiteY0" fmla="*/ 2032 h 18418"/>
                    <a:gd name="connsiteX1" fmla="*/ 2008 w 18311"/>
                    <a:gd name="connsiteY1" fmla="*/ 3408 h 18418"/>
                    <a:gd name="connsiteX2" fmla="*/ 3444 w 18311"/>
                    <a:gd name="connsiteY2" fmla="*/ 16386 h 18418"/>
                    <a:gd name="connsiteX3" fmla="*/ 16302 w 18311"/>
                    <a:gd name="connsiteY3" fmla="*/ 15011 h 18418"/>
                    <a:gd name="connsiteX4" fmla="*/ 14867 w 18311"/>
                    <a:gd name="connsiteY4" fmla="*/ 203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4867" y="2032"/>
                      </a:moveTo>
                      <a:cubicBezTo>
                        <a:pt x="10920" y="-1137"/>
                        <a:pt x="5178" y="-540"/>
                        <a:pt x="2008" y="3408"/>
                      </a:cubicBezTo>
                      <a:cubicBezTo>
                        <a:pt x="-1161" y="7355"/>
                        <a:pt x="-503" y="13157"/>
                        <a:pt x="3444" y="16386"/>
                      </a:cubicBezTo>
                      <a:cubicBezTo>
                        <a:pt x="7391" y="19556"/>
                        <a:pt x="13132" y="18958"/>
                        <a:pt x="16302" y="15011"/>
                      </a:cubicBezTo>
                      <a:cubicBezTo>
                        <a:pt x="19472" y="11004"/>
                        <a:pt x="18815" y="5202"/>
                        <a:pt x="14867" y="2032"/>
                      </a:cubicBezTo>
                      <a:close/>
                    </a:path>
                  </a:pathLst>
                </a:custGeom>
                <a:grpFill/>
                <a:ln w="5978" cap="flat">
                  <a:noFill/>
                  <a:prstDash val="solid"/>
                  <a:miter/>
                </a:ln>
              </p:spPr>
              <p:txBody>
                <a:bodyPr rtlCol="0" anchor="ctr"/>
                <a:lstStyle/>
                <a:p>
                  <a:endParaRPr lang="en-GB"/>
                </a:p>
              </p:txBody>
            </p:sp>
          </p:grpSp>
          <p:grpSp>
            <p:nvGrpSpPr>
              <p:cNvPr id="345" name="Graphic 3">
                <a:extLst>
                  <a:ext uri="{FF2B5EF4-FFF2-40B4-BE49-F238E27FC236}">
                    <a16:creationId xmlns:a16="http://schemas.microsoft.com/office/drawing/2014/main" id="{57872368-81AF-4D1F-A288-19D99B2D7F2F}"/>
                  </a:ext>
                </a:extLst>
              </p:cNvPr>
              <p:cNvGrpSpPr/>
              <p:nvPr/>
            </p:nvGrpSpPr>
            <p:grpSpPr>
              <a:xfrm>
                <a:off x="6949682" y="1861858"/>
                <a:ext cx="98479" cy="144440"/>
                <a:chOff x="6949682" y="1861858"/>
                <a:chExt cx="98479" cy="144440"/>
              </a:xfrm>
              <a:grpFill/>
            </p:grpSpPr>
            <p:sp>
              <p:nvSpPr>
                <p:cNvPr id="4344" name="Vrije vorm: vorm 4343">
                  <a:extLst>
                    <a:ext uri="{FF2B5EF4-FFF2-40B4-BE49-F238E27FC236}">
                      <a16:creationId xmlns:a16="http://schemas.microsoft.com/office/drawing/2014/main" id="{0A54B4CA-8767-4D5D-8A69-EDF52D5FB0C9}"/>
                    </a:ext>
                  </a:extLst>
                </p:cNvPr>
                <p:cNvSpPr/>
                <p:nvPr/>
              </p:nvSpPr>
              <p:spPr>
                <a:xfrm>
                  <a:off x="6957273" y="1869853"/>
                  <a:ext cx="83251" cy="128406"/>
                </a:xfrm>
                <a:custGeom>
                  <a:avLst/>
                  <a:gdLst>
                    <a:gd name="connsiteX0" fmla="*/ 83252 w 83251"/>
                    <a:gd name="connsiteY0" fmla="*/ 1675 h 128406"/>
                    <a:gd name="connsiteX1" fmla="*/ 2572 w 83251"/>
                    <a:gd name="connsiteY1" fmla="*/ 128406 h 128406"/>
                    <a:gd name="connsiteX2" fmla="*/ 0 w 83251"/>
                    <a:gd name="connsiteY2" fmla="*/ 126732 h 128406"/>
                    <a:gd name="connsiteX3" fmla="*/ 80680 w 83251"/>
                    <a:gd name="connsiteY3" fmla="*/ 0 h 128406"/>
                  </a:gdLst>
                  <a:ahLst/>
                  <a:cxnLst>
                    <a:cxn ang="0">
                      <a:pos x="connsiteX0" y="connsiteY0"/>
                    </a:cxn>
                    <a:cxn ang="0">
                      <a:pos x="connsiteX1" y="connsiteY1"/>
                    </a:cxn>
                    <a:cxn ang="0">
                      <a:pos x="connsiteX2" y="connsiteY2"/>
                    </a:cxn>
                    <a:cxn ang="0">
                      <a:pos x="connsiteX3" y="connsiteY3"/>
                    </a:cxn>
                  </a:cxnLst>
                  <a:rect l="l" t="t" r="r" b="b"/>
                  <a:pathLst>
                    <a:path w="83251" h="128406">
                      <a:moveTo>
                        <a:pt x="83252" y="1675"/>
                      </a:moveTo>
                      <a:lnTo>
                        <a:pt x="2572" y="128406"/>
                      </a:lnTo>
                      <a:lnTo>
                        <a:pt x="0" y="126732"/>
                      </a:lnTo>
                      <a:lnTo>
                        <a:pt x="80680" y="0"/>
                      </a:lnTo>
                      <a:close/>
                    </a:path>
                  </a:pathLst>
                </a:custGeom>
                <a:grpFill/>
                <a:ln w="5978" cap="flat">
                  <a:noFill/>
                  <a:prstDash val="solid"/>
                  <a:miter/>
                </a:ln>
              </p:spPr>
              <p:txBody>
                <a:bodyPr rtlCol="0" anchor="ctr"/>
                <a:lstStyle/>
                <a:p>
                  <a:endParaRPr lang="en-GB"/>
                </a:p>
              </p:txBody>
            </p:sp>
            <p:sp>
              <p:nvSpPr>
                <p:cNvPr id="4345" name="Vrije vorm: vorm 4344">
                  <a:extLst>
                    <a:ext uri="{FF2B5EF4-FFF2-40B4-BE49-F238E27FC236}">
                      <a16:creationId xmlns:a16="http://schemas.microsoft.com/office/drawing/2014/main" id="{58A6F36C-910E-425F-9B7C-3B9BA7911BF6}"/>
                    </a:ext>
                  </a:extLst>
                </p:cNvPr>
                <p:cNvSpPr/>
                <p:nvPr/>
              </p:nvSpPr>
              <p:spPr>
                <a:xfrm>
                  <a:off x="7029797" y="1861858"/>
                  <a:ext cx="18364" cy="18441"/>
                </a:xfrm>
                <a:custGeom>
                  <a:avLst/>
                  <a:gdLst>
                    <a:gd name="connsiteX0" fmla="*/ 1458 w 18364"/>
                    <a:gd name="connsiteY0" fmla="*/ 4227 h 18441"/>
                    <a:gd name="connsiteX1" fmla="*/ 14137 w 18364"/>
                    <a:gd name="connsiteY1" fmla="*/ 1476 h 18441"/>
                    <a:gd name="connsiteX2" fmla="*/ 16948 w 18364"/>
                    <a:gd name="connsiteY2" fmla="*/ 14215 h 18441"/>
                    <a:gd name="connsiteX3" fmla="*/ 4269 w 18364"/>
                    <a:gd name="connsiteY3" fmla="*/ 16966 h 18441"/>
                    <a:gd name="connsiteX4" fmla="*/ 1458 w 18364"/>
                    <a:gd name="connsiteY4" fmla="*/ 4227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41">
                      <a:moveTo>
                        <a:pt x="1458" y="4227"/>
                      </a:moveTo>
                      <a:cubicBezTo>
                        <a:pt x="4209" y="-79"/>
                        <a:pt x="9831" y="-1275"/>
                        <a:pt x="14137" y="1476"/>
                      </a:cubicBezTo>
                      <a:cubicBezTo>
                        <a:pt x="18384" y="4227"/>
                        <a:pt x="19639" y="9909"/>
                        <a:pt x="16948" y="14215"/>
                      </a:cubicBezTo>
                      <a:cubicBezTo>
                        <a:pt x="14197" y="18521"/>
                        <a:pt x="8575" y="19717"/>
                        <a:pt x="4269" y="16966"/>
                      </a:cubicBezTo>
                      <a:cubicBezTo>
                        <a:pt x="-37" y="14215"/>
                        <a:pt x="-1293" y="8533"/>
                        <a:pt x="1458" y="4227"/>
                      </a:cubicBezTo>
                      <a:close/>
                    </a:path>
                  </a:pathLst>
                </a:custGeom>
                <a:grpFill/>
                <a:ln w="5978" cap="flat">
                  <a:noFill/>
                  <a:prstDash val="solid"/>
                  <a:miter/>
                </a:ln>
              </p:spPr>
              <p:txBody>
                <a:bodyPr rtlCol="0" anchor="ctr"/>
                <a:lstStyle/>
                <a:p>
                  <a:endParaRPr lang="en-GB"/>
                </a:p>
              </p:txBody>
            </p:sp>
            <p:sp>
              <p:nvSpPr>
                <p:cNvPr id="4346" name="Vrije vorm: vorm 4345">
                  <a:extLst>
                    <a:ext uri="{FF2B5EF4-FFF2-40B4-BE49-F238E27FC236}">
                      <a16:creationId xmlns:a16="http://schemas.microsoft.com/office/drawing/2014/main" id="{4F93182E-05F2-4FA7-AD47-78FF25CA130A}"/>
                    </a:ext>
                  </a:extLst>
                </p:cNvPr>
                <p:cNvSpPr/>
                <p:nvPr/>
              </p:nvSpPr>
              <p:spPr>
                <a:xfrm>
                  <a:off x="6949682" y="1987846"/>
                  <a:ext cx="18379" cy="18452"/>
                </a:xfrm>
                <a:custGeom>
                  <a:avLst/>
                  <a:gdLst>
                    <a:gd name="connsiteX0" fmla="*/ 1432 w 18379"/>
                    <a:gd name="connsiteY0" fmla="*/ 4253 h 18452"/>
                    <a:gd name="connsiteX1" fmla="*/ 4242 w 18379"/>
                    <a:gd name="connsiteY1" fmla="*/ 16992 h 18452"/>
                    <a:gd name="connsiteX2" fmla="*/ 16922 w 18379"/>
                    <a:gd name="connsiteY2" fmla="*/ 14241 h 18452"/>
                    <a:gd name="connsiteX3" fmla="*/ 14111 w 18379"/>
                    <a:gd name="connsiteY3" fmla="*/ 1502 h 18452"/>
                    <a:gd name="connsiteX4" fmla="*/ 1432 w 18379"/>
                    <a:gd name="connsiteY4" fmla="*/ 4253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52">
                      <a:moveTo>
                        <a:pt x="1432" y="4253"/>
                      </a:moveTo>
                      <a:cubicBezTo>
                        <a:pt x="-1260" y="8559"/>
                        <a:pt x="-64" y="14241"/>
                        <a:pt x="4242" y="16992"/>
                      </a:cubicBezTo>
                      <a:cubicBezTo>
                        <a:pt x="8489" y="19743"/>
                        <a:pt x="14171" y="18487"/>
                        <a:pt x="16922" y="14241"/>
                      </a:cubicBezTo>
                      <a:cubicBezTo>
                        <a:pt x="19672" y="9935"/>
                        <a:pt x="18417" y="4253"/>
                        <a:pt x="14111" y="1502"/>
                      </a:cubicBezTo>
                      <a:cubicBezTo>
                        <a:pt x="9804" y="-1309"/>
                        <a:pt x="4123" y="-53"/>
                        <a:pt x="1432" y="4253"/>
                      </a:cubicBezTo>
                      <a:close/>
                    </a:path>
                  </a:pathLst>
                </a:custGeom>
                <a:grpFill/>
                <a:ln w="5978" cap="flat">
                  <a:noFill/>
                  <a:prstDash val="solid"/>
                  <a:miter/>
                </a:ln>
              </p:spPr>
              <p:txBody>
                <a:bodyPr rtlCol="0" anchor="ctr"/>
                <a:lstStyle/>
                <a:p>
                  <a:endParaRPr lang="en-GB"/>
                </a:p>
              </p:txBody>
            </p:sp>
          </p:grpSp>
          <p:grpSp>
            <p:nvGrpSpPr>
              <p:cNvPr id="346" name="Graphic 3">
                <a:extLst>
                  <a:ext uri="{FF2B5EF4-FFF2-40B4-BE49-F238E27FC236}">
                    <a16:creationId xmlns:a16="http://schemas.microsoft.com/office/drawing/2014/main" id="{EDE95BB2-C201-406C-B4EE-737790A9B427}"/>
                  </a:ext>
                </a:extLst>
              </p:cNvPr>
              <p:cNvGrpSpPr/>
              <p:nvPr/>
            </p:nvGrpSpPr>
            <p:grpSpPr>
              <a:xfrm>
                <a:off x="6826586" y="1478848"/>
                <a:ext cx="93428" cy="187755"/>
                <a:chOff x="6826586" y="1478848"/>
                <a:chExt cx="93428" cy="187755"/>
              </a:xfrm>
              <a:grpFill/>
            </p:grpSpPr>
            <p:sp>
              <p:nvSpPr>
                <p:cNvPr id="4341" name="Vrije vorm: vorm 4340">
                  <a:extLst>
                    <a:ext uri="{FF2B5EF4-FFF2-40B4-BE49-F238E27FC236}">
                      <a16:creationId xmlns:a16="http://schemas.microsoft.com/office/drawing/2014/main" id="{AAF07C88-C1F8-47DF-99F3-5385B4145455}"/>
                    </a:ext>
                  </a:extLst>
                </p:cNvPr>
                <p:cNvSpPr/>
                <p:nvPr/>
              </p:nvSpPr>
              <p:spPr>
                <a:xfrm>
                  <a:off x="6834190" y="1487027"/>
                  <a:ext cx="78227" cy="171407"/>
                </a:xfrm>
                <a:custGeom>
                  <a:avLst/>
                  <a:gdLst>
                    <a:gd name="connsiteX0" fmla="*/ 78228 w 78227"/>
                    <a:gd name="connsiteY0" fmla="*/ 1256 h 171407"/>
                    <a:gd name="connsiteX1" fmla="*/ 2751 w 78227"/>
                    <a:gd name="connsiteY1" fmla="*/ 171407 h 171407"/>
                    <a:gd name="connsiteX2" fmla="*/ 0 w 78227"/>
                    <a:gd name="connsiteY2" fmla="*/ 170092 h 171407"/>
                    <a:gd name="connsiteX3" fmla="*/ 75477 w 78227"/>
                    <a:gd name="connsiteY3" fmla="*/ 0 h 171407"/>
                  </a:gdLst>
                  <a:ahLst/>
                  <a:cxnLst>
                    <a:cxn ang="0">
                      <a:pos x="connsiteX0" y="connsiteY0"/>
                    </a:cxn>
                    <a:cxn ang="0">
                      <a:pos x="connsiteX1" y="connsiteY1"/>
                    </a:cxn>
                    <a:cxn ang="0">
                      <a:pos x="connsiteX2" y="connsiteY2"/>
                    </a:cxn>
                    <a:cxn ang="0">
                      <a:pos x="connsiteX3" y="connsiteY3"/>
                    </a:cxn>
                  </a:cxnLst>
                  <a:rect l="l" t="t" r="r" b="b"/>
                  <a:pathLst>
                    <a:path w="78227" h="171407">
                      <a:moveTo>
                        <a:pt x="78228" y="1256"/>
                      </a:moveTo>
                      <a:lnTo>
                        <a:pt x="2751" y="171407"/>
                      </a:lnTo>
                      <a:lnTo>
                        <a:pt x="0" y="170092"/>
                      </a:lnTo>
                      <a:lnTo>
                        <a:pt x="75477" y="0"/>
                      </a:lnTo>
                      <a:close/>
                    </a:path>
                  </a:pathLst>
                </a:custGeom>
                <a:grpFill/>
                <a:ln w="5978" cap="flat">
                  <a:noFill/>
                  <a:prstDash val="solid"/>
                  <a:miter/>
                </a:ln>
              </p:spPr>
              <p:txBody>
                <a:bodyPr rtlCol="0" anchor="ctr"/>
                <a:lstStyle/>
                <a:p>
                  <a:endParaRPr lang="en-GB"/>
                </a:p>
              </p:txBody>
            </p:sp>
            <p:sp>
              <p:nvSpPr>
                <p:cNvPr id="4342" name="Vrije vorm: vorm 4341">
                  <a:extLst>
                    <a:ext uri="{FF2B5EF4-FFF2-40B4-BE49-F238E27FC236}">
                      <a16:creationId xmlns:a16="http://schemas.microsoft.com/office/drawing/2014/main" id="{B948F380-CB65-40F8-97F3-766291E482C9}"/>
                    </a:ext>
                  </a:extLst>
                </p:cNvPr>
                <p:cNvSpPr/>
                <p:nvPr/>
              </p:nvSpPr>
              <p:spPr>
                <a:xfrm>
                  <a:off x="6901704" y="1478848"/>
                  <a:ext cx="18310" cy="18451"/>
                </a:xfrm>
                <a:custGeom>
                  <a:avLst/>
                  <a:gdLst>
                    <a:gd name="connsiteX0" fmla="*/ 787 w 18310"/>
                    <a:gd name="connsiteY0" fmla="*/ 5428 h 18451"/>
                    <a:gd name="connsiteX1" fmla="*/ 12867 w 18310"/>
                    <a:gd name="connsiteY1" fmla="*/ 823 h 18451"/>
                    <a:gd name="connsiteX2" fmla="*/ 17532 w 18310"/>
                    <a:gd name="connsiteY2" fmla="*/ 13023 h 18451"/>
                    <a:gd name="connsiteX3" fmla="*/ 5451 w 18310"/>
                    <a:gd name="connsiteY3" fmla="*/ 17628 h 18451"/>
                    <a:gd name="connsiteX4" fmla="*/ 787 w 18310"/>
                    <a:gd name="connsiteY4" fmla="*/ 542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51">
                      <a:moveTo>
                        <a:pt x="787" y="5428"/>
                      </a:moveTo>
                      <a:cubicBezTo>
                        <a:pt x="2820" y="763"/>
                        <a:pt x="8263" y="-1271"/>
                        <a:pt x="12867" y="823"/>
                      </a:cubicBezTo>
                      <a:cubicBezTo>
                        <a:pt x="17473" y="2916"/>
                        <a:pt x="19566" y="8358"/>
                        <a:pt x="17532" y="13023"/>
                      </a:cubicBezTo>
                      <a:cubicBezTo>
                        <a:pt x="15499" y="17688"/>
                        <a:pt x="10057" y="19722"/>
                        <a:pt x="5451" y="17628"/>
                      </a:cubicBezTo>
                      <a:cubicBezTo>
                        <a:pt x="787" y="15535"/>
                        <a:pt x="-1247" y="10033"/>
                        <a:pt x="787" y="5428"/>
                      </a:cubicBezTo>
                      <a:close/>
                    </a:path>
                  </a:pathLst>
                </a:custGeom>
                <a:grpFill/>
                <a:ln w="5978" cap="flat">
                  <a:noFill/>
                  <a:prstDash val="solid"/>
                  <a:miter/>
                </a:ln>
              </p:spPr>
              <p:txBody>
                <a:bodyPr rtlCol="0" anchor="ctr"/>
                <a:lstStyle/>
                <a:p>
                  <a:endParaRPr lang="en-GB"/>
                </a:p>
              </p:txBody>
            </p:sp>
            <p:sp>
              <p:nvSpPr>
                <p:cNvPr id="4343" name="Vrije vorm: vorm 4342">
                  <a:extLst>
                    <a:ext uri="{FF2B5EF4-FFF2-40B4-BE49-F238E27FC236}">
                      <a16:creationId xmlns:a16="http://schemas.microsoft.com/office/drawing/2014/main" id="{6EB8A49D-DBE7-4442-9701-754862918B76}"/>
                    </a:ext>
                  </a:extLst>
                </p:cNvPr>
                <p:cNvSpPr/>
                <p:nvPr/>
              </p:nvSpPr>
              <p:spPr>
                <a:xfrm>
                  <a:off x="6826586" y="1648162"/>
                  <a:ext cx="18319" cy="18441"/>
                </a:xfrm>
                <a:custGeom>
                  <a:avLst/>
                  <a:gdLst>
                    <a:gd name="connsiteX0" fmla="*/ 787 w 18319"/>
                    <a:gd name="connsiteY0" fmla="*/ 5428 h 18441"/>
                    <a:gd name="connsiteX1" fmla="*/ 5452 w 18319"/>
                    <a:gd name="connsiteY1" fmla="*/ 17628 h 18441"/>
                    <a:gd name="connsiteX2" fmla="*/ 17533 w 18319"/>
                    <a:gd name="connsiteY2" fmla="*/ 13023 h 18441"/>
                    <a:gd name="connsiteX3" fmla="*/ 12868 w 18319"/>
                    <a:gd name="connsiteY3" fmla="*/ 823 h 18441"/>
                    <a:gd name="connsiteX4" fmla="*/ 787 w 18319"/>
                    <a:gd name="connsiteY4" fmla="*/ 542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1">
                      <a:moveTo>
                        <a:pt x="787" y="5428"/>
                      </a:moveTo>
                      <a:cubicBezTo>
                        <a:pt x="-1247" y="10093"/>
                        <a:pt x="787" y="15535"/>
                        <a:pt x="5452" y="17628"/>
                      </a:cubicBezTo>
                      <a:cubicBezTo>
                        <a:pt x="10057" y="19722"/>
                        <a:pt x="15499" y="17628"/>
                        <a:pt x="17533" y="13023"/>
                      </a:cubicBezTo>
                      <a:cubicBezTo>
                        <a:pt x="19566" y="8358"/>
                        <a:pt x="17533" y="2916"/>
                        <a:pt x="12868" y="823"/>
                      </a:cubicBezTo>
                      <a:cubicBezTo>
                        <a:pt x="8262" y="-1271"/>
                        <a:pt x="2880" y="763"/>
                        <a:pt x="787" y="5428"/>
                      </a:cubicBezTo>
                      <a:close/>
                    </a:path>
                  </a:pathLst>
                </a:custGeom>
                <a:grpFill/>
                <a:ln w="5978" cap="flat">
                  <a:noFill/>
                  <a:prstDash val="solid"/>
                  <a:miter/>
                </a:ln>
              </p:spPr>
              <p:txBody>
                <a:bodyPr rtlCol="0" anchor="ctr"/>
                <a:lstStyle/>
                <a:p>
                  <a:endParaRPr lang="en-GB"/>
                </a:p>
              </p:txBody>
            </p:sp>
          </p:grpSp>
          <p:grpSp>
            <p:nvGrpSpPr>
              <p:cNvPr id="347" name="Graphic 3">
                <a:extLst>
                  <a:ext uri="{FF2B5EF4-FFF2-40B4-BE49-F238E27FC236}">
                    <a16:creationId xmlns:a16="http://schemas.microsoft.com/office/drawing/2014/main" id="{C70A3631-A86B-42AD-BC5A-1FE4021BB13A}"/>
                  </a:ext>
                </a:extLst>
              </p:cNvPr>
              <p:cNvGrpSpPr/>
              <p:nvPr/>
            </p:nvGrpSpPr>
            <p:grpSpPr>
              <a:xfrm>
                <a:off x="7635865" y="3978823"/>
                <a:ext cx="86354" cy="42844"/>
                <a:chOff x="7635865" y="3978823"/>
                <a:chExt cx="86354" cy="42844"/>
              </a:xfrm>
              <a:grpFill/>
            </p:grpSpPr>
            <p:sp>
              <p:nvSpPr>
                <p:cNvPr id="4338" name="Vrije vorm: vorm 4337">
                  <a:extLst>
                    <a:ext uri="{FF2B5EF4-FFF2-40B4-BE49-F238E27FC236}">
                      <a16:creationId xmlns:a16="http://schemas.microsoft.com/office/drawing/2014/main" id="{F95258DD-9D37-40D6-8FDF-5271C4E08407}"/>
                    </a:ext>
                  </a:extLst>
                </p:cNvPr>
                <p:cNvSpPr/>
                <p:nvPr/>
              </p:nvSpPr>
              <p:spPr>
                <a:xfrm>
                  <a:off x="7644160" y="3986430"/>
                  <a:ext cx="69854" cy="27630"/>
                </a:xfrm>
                <a:custGeom>
                  <a:avLst/>
                  <a:gdLst>
                    <a:gd name="connsiteX0" fmla="*/ 69854 w 69854"/>
                    <a:gd name="connsiteY0" fmla="*/ 24760 h 27630"/>
                    <a:gd name="connsiteX1" fmla="*/ 68837 w 69854"/>
                    <a:gd name="connsiteY1" fmla="*/ 27631 h 27630"/>
                    <a:gd name="connsiteX2" fmla="*/ 0 w 69854"/>
                    <a:gd name="connsiteY2" fmla="*/ 2871 h 27630"/>
                    <a:gd name="connsiteX3" fmla="*/ 1016 w 69854"/>
                    <a:gd name="connsiteY3" fmla="*/ 0 h 27630"/>
                  </a:gdLst>
                  <a:ahLst/>
                  <a:cxnLst>
                    <a:cxn ang="0">
                      <a:pos x="connsiteX0" y="connsiteY0"/>
                    </a:cxn>
                    <a:cxn ang="0">
                      <a:pos x="connsiteX1" y="connsiteY1"/>
                    </a:cxn>
                    <a:cxn ang="0">
                      <a:pos x="connsiteX2" y="connsiteY2"/>
                    </a:cxn>
                    <a:cxn ang="0">
                      <a:pos x="connsiteX3" y="connsiteY3"/>
                    </a:cxn>
                  </a:cxnLst>
                  <a:rect l="l" t="t" r="r" b="b"/>
                  <a:pathLst>
                    <a:path w="69854" h="27630">
                      <a:moveTo>
                        <a:pt x="69854" y="24760"/>
                      </a:moveTo>
                      <a:lnTo>
                        <a:pt x="68837" y="27631"/>
                      </a:lnTo>
                      <a:lnTo>
                        <a:pt x="0" y="2871"/>
                      </a:lnTo>
                      <a:lnTo>
                        <a:pt x="1016" y="0"/>
                      </a:lnTo>
                      <a:close/>
                    </a:path>
                  </a:pathLst>
                </a:custGeom>
                <a:grpFill/>
                <a:ln w="5978" cap="flat">
                  <a:noFill/>
                  <a:prstDash val="solid"/>
                  <a:miter/>
                </a:ln>
              </p:spPr>
              <p:txBody>
                <a:bodyPr rtlCol="0" anchor="ctr"/>
                <a:lstStyle/>
                <a:p>
                  <a:endParaRPr lang="en-GB"/>
                </a:p>
              </p:txBody>
            </p:sp>
            <p:sp>
              <p:nvSpPr>
                <p:cNvPr id="4339" name="Vrije vorm: vorm 4338">
                  <a:extLst>
                    <a:ext uri="{FF2B5EF4-FFF2-40B4-BE49-F238E27FC236}">
                      <a16:creationId xmlns:a16="http://schemas.microsoft.com/office/drawing/2014/main" id="{84D8FE64-E9B9-4C8C-81D7-C4EED12E9EAA}"/>
                    </a:ext>
                  </a:extLst>
                </p:cNvPr>
                <p:cNvSpPr/>
                <p:nvPr/>
              </p:nvSpPr>
              <p:spPr>
                <a:xfrm>
                  <a:off x="7703836" y="4003225"/>
                  <a:ext cx="18383" cy="18443"/>
                </a:xfrm>
                <a:custGeom>
                  <a:avLst/>
                  <a:gdLst>
                    <a:gd name="connsiteX0" fmla="*/ 12272 w 18383"/>
                    <a:gd name="connsiteY0" fmla="*/ 549 h 18443"/>
                    <a:gd name="connsiteX1" fmla="*/ 17834 w 18383"/>
                    <a:gd name="connsiteY1" fmla="*/ 12332 h 18443"/>
                    <a:gd name="connsiteX2" fmla="*/ 6112 w 18383"/>
                    <a:gd name="connsiteY2" fmla="*/ 17894 h 18443"/>
                    <a:gd name="connsiteX3" fmla="*/ 550 w 18383"/>
                    <a:gd name="connsiteY3" fmla="*/ 6111 h 18443"/>
                    <a:gd name="connsiteX4" fmla="*/ 12272 w 18383"/>
                    <a:gd name="connsiteY4" fmla="*/ 54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43">
                      <a:moveTo>
                        <a:pt x="12272" y="549"/>
                      </a:moveTo>
                      <a:cubicBezTo>
                        <a:pt x="17056" y="2284"/>
                        <a:pt x="19569" y="7547"/>
                        <a:pt x="17834" y="12332"/>
                      </a:cubicBezTo>
                      <a:cubicBezTo>
                        <a:pt x="16159" y="17116"/>
                        <a:pt x="10896" y="19628"/>
                        <a:pt x="6112" y="17894"/>
                      </a:cubicBezTo>
                      <a:cubicBezTo>
                        <a:pt x="1327" y="16159"/>
                        <a:pt x="-1185" y="10896"/>
                        <a:pt x="550" y="6111"/>
                      </a:cubicBezTo>
                      <a:cubicBezTo>
                        <a:pt x="2284" y="1327"/>
                        <a:pt x="7547" y="-1185"/>
                        <a:pt x="12272" y="549"/>
                      </a:cubicBezTo>
                      <a:close/>
                    </a:path>
                  </a:pathLst>
                </a:custGeom>
                <a:grpFill/>
                <a:ln w="5978" cap="flat">
                  <a:noFill/>
                  <a:prstDash val="solid"/>
                  <a:miter/>
                </a:ln>
              </p:spPr>
              <p:txBody>
                <a:bodyPr rtlCol="0" anchor="ctr"/>
                <a:lstStyle/>
                <a:p>
                  <a:endParaRPr lang="en-GB"/>
                </a:p>
              </p:txBody>
            </p:sp>
            <p:sp>
              <p:nvSpPr>
                <p:cNvPr id="4340" name="Vrije vorm: vorm 4339">
                  <a:extLst>
                    <a:ext uri="{FF2B5EF4-FFF2-40B4-BE49-F238E27FC236}">
                      <a16:creationId xmlns:a16="http://schemas.microsoft.com/office/drawing/2014/main" id="{FE8DA272-FA39-4821-B661-96BFB2A15582}"/>
                    </a:ext>
                  </a:extLst>
                </p:cNvPr>
                <p:cNvSpPr/>
                <p:nvPr/>
              </p:nvSpPr>
              <p:spPr>
                <a:xfrm>
                  <a:off x="7635865" y="3978823"/>
                  <a:ext cx="18353" cy="18443"/>
                </a:xfrm>
                <a:custGeom>
                  <a:avLst/>
                  <a:gdLst>
                    <a:gd name="connsiteX0" fmla="*/ 12241 w 18353"/>
                    <a:gd name="connsiteY0" fmla="*/ 549 h 18443"/>
                    <a:gd name="connsiteX1" fmla="*/ 519 w 18353"/>
                    <a:gd name="connsiteY1" fmla="*/ 6112 h 18443"/>
                    <a:gd name="connsiteX2" fmla="*/ 6082 w 18353"/>
                    <a:gd name="connsiteY2" fmla="*/ 17894 h 18443"/>
                    <a:gd name="connsiteX3" fmla="*/ 17804 w 18353"/>
                    <a:gd name="connsiteY3" fmla="*/ 12332 h 18443"/>
                    <a:gd name="connsiteX4" fmla="*/ 12241 w 18353"/>
                    <a:gd name="connsiteY4" fmla="*/ 54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3">
                      <a:moveTo>
                        <a:pt x="12241" y="549"/>
                      </a:moveTo>
                      <a:cubicBezTo>
                        <a:pt x="7457" y="-1185"/>
                        <a:pt x="2254" y="1327"/>
                        <a:pt x="519" y="6112"/>
                      </a:cubicBezTo>
                      <a:cubicBezTo>
                        <a:pt x="-1155" y="10896"/>
                        <a:pt x="1357" y="16159"/>
                        <a:pt x="6082" y="17894"/>
                      </a:cubicBezTo>
                      <a:cubicBezTo>
                        <a:pt x="10866" y="19628"/>
                        <a:pt x="16069" y="17116"/>
                        <a:pt x="17804" y="12332"/>
                      </a:cubicBezTo>
                      <a:cubicBezTo>
                        <a:pt x="19538" y="7547"/>
                        <a:pt x="17026" y="2284"/>
                        <a:pt x="12241" y="549"/>
                      </a:cubicBezTo>
                      <a:close/>
                    </a:path>
                  </a:pathLst>
                </a:custGeom>
                <a:grpFill/>
                <a:ln w="5978" cap="flat">
                  <a:noFill/>
                  <a:prstDash val="solid"/>
                  <a:miter/>
                </a:ln>
              </p:spPr>
              <p:txBody>
                <a:bodyPr rtlCol="0" anchor="ctr"/>
                <a:lstStyle/>
                <a:p>
                  <a:endParaRPr lang="en-GB"/>
                </a:p>
              </p:txBody>
            </p:sp>
          </p:grpSp>
          <p:grpSp>
            <p:nvGrpSpPr>
              <p:cNvPr id="348" name="Graphic 3">
                <a:extLst>
                  <a:ext uri="{FF2B5EF4-FFF2-40B4-BE49-F238E27FC236}">
                    <a16:creationId xmlns:a16="http://schemas.microsoft.com/office/drawing/2014/main" id="{BC9BBADF-8588-4057-AAFA-A6DA6B387FB4}"/>
                  </a:ext>
                </a:extLst>
              </p:cNvPr>
              <p:cNvGrpSpPr/>
              <p:nvPr/>
            </p:nvGrpSpPr>
            <p:grpSpPr>
              <a:xfrm>
                <a:off x="6922132" y="1847361"/>
                <a:ext cx="94791" cy="143665"/>
                <a:chOff x="6922132" y="1847361"/>
                <a:chExt cx="94791" cy="143665"/>
              </a:xfrm>
              <a:grpFill/>
            </p:grpSpPr>
            <p:sp>
              <p:nvSpPr>
                <p:cNvPr id="4335" name="Vrije vorm: vorm 4334">
                  <a:extLst>
                    <a:ext uri="{FF2B5EF4-FFF2-40B4-BE49-F238E27FC236}">
                      <a16:creationId xmlns:a16="http://schemas.microsoft.com/office/drawing/2014/main" id="{28665409-1EE4-4337-938F-5760CCF54FFF}"/>
                    </a:ext>
                  </a:extLst>
                </p:cNvPr>
                <p:cNvSpPr/>
                <p:nvPr/>
              </p:nvSpPr>
              <p:spPr>
                <a:xfrm>
                  <a:off x="6929762" y="1855380"/>
                  <a:ext cx="79543" cy="127628"/>
                </a:xfrm>
                <a:custGeom>
                  <a:avLst/>
                  <a:gdLst>
                    <a:gd name="connsiteX0" fmla="*/ 79544 w 79543"/>
                    <a:gd name="connsiteY0" fmla="*/ 1615 h 127628"/>
                    <a:gd name="connsiteX1" fmla="*/ 2632 w 79543"/>
                    <a:gd name="connsiteY1" fmla="*/ 127629 h 127628"/>
                    <a:gd name="connsiteX2" fmla="*/ 0 w 79543"/>
                    <a:gd name="connsiteY2" fmla="*/ 126014 h 127628"/>
                    <a:gd name="connsiteX3" fmla="*/ 76912 w 79543"/>
                    <a:gd name="connsiteY3" fmla="*/ 0 h 127628"/>
                  </a:gdLst>
                  <a:ahLst/>
                  <a:cxnLst>
                    <a:cxn ang="0">
                      <a:pos x="connsiteX0" y="connsiteY0"/>
                    </a:cxn>
                    <a:cxn ang="0">
                      <a:pos x="connsiteX1" y="connsiteY1"/>
                    </a:cxn>
                    <a:cxn ang="0">
                      <a:pos x="connsiteX2" y="connsiteY2"/>
                    </a:cxn>
                    <a:cxn ang="0">
                      <a:pos x="connsiteX3" y="connsiteY3"/>
                    </a:cxn>
                  </a:cxnLst>
                  <a:rect l="l" t="t" r="r" b="b"/>
                  <a:pathLst>
                    <a:path w="79543" h="127628">
                      <a:moveTo>
                        <a:pt x="79544" y="1615"/>
                      </a:moveTo>
                      <a:lnTo>
                        <a:pt x="2632" y="127629"/>
                      </a:lnTo>
                      <a:lnTo>
                        <a:pt x="0" y="126014"/>
                      </a:lnTo>
                      <a:lnTo>
                        <a:pt x="76912" y="0"/>
                      </a:lnTo>
                      <a:close/>
                    </a:path>
                  </a:pathLst>
                </a:custGeom>
                <a:grpFill/>
                <a:ln w="5978" cap="flat">
                  <a:noFill/>
                  <a:prstDash val="solid"/>
                  <a:miter/>
                </a:ln>
              </p:spPr>
              <p:txBody>
                <a:bodyPr rtlCol="0" anchor="ctr"/>
                <a:lstStyle/>
                <a:p>
                  <a:endParaRPr lang="en-GB"/>
                </a:p>
              </p:txBody>
            </p:sp>
            <p:sp>
              <p:nvSpPr>
                <p:cNvPr id="4336" name="Vrije vorm: vorm 4335">
                  <a:extLst>
                    <a:ext uri="{FF2B5EF4-FFF2-40B4-BE49-F238E27FC236}">
                      <a16:creationId xmlns:a16="http://schemas.microsoft.com/office/drawing/2014/main" id="{07CAC38D-F955-4FDE-96EF-CBA6B16A9713}"/>
                    </a:ext>
                  </a:extLst>
                </p:cNvPr>
                <p:cNvSpPr/>
                <p:nvPr/>
              </p:nvSpPr>
              <p:spPr>
                <a:xfrm>
                  <a:off x="6998579" y="1847361"/>
                  <a:ext cx="18343" cy="18429"/>
                </a:xfrm>
                <a:custGeom>
                  <a:avLst/>
                  <a:gdLst>
                    <a:gd name="connsiteX0" fmla="*/ 1337 w 18343"/>
                    <a:gd name="connsiteY0" fmla="*/ 4370 h 18429"/>
                    <a:gd name="connsiteX1" fmla="*/ 13956 w 18343"/>
                    <a:gd name="connsiteY1" fmla="*/ 1380 h 18429"/>
                    <a:gd name="connsiteX2" fmla="*/ 17006 w 18343"/>
                    <a:gd name="connsiteY2" fmla="*/ 14059 h 18429"/>
                    <a:gd name="connsiteX3" fmla="*/ 4387 w 18343"/>
                    <a:gd name="connsiteY3" fmla="*/ 17050 h 18429"/>
                    <a:gd name="connsiteX4" fmla="*/ 1337 w 18343"/>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9">
                      <a:moveTo>
                        <a:pt x="1337" y="4370"/>
                      </a:moveTo>
                      <a:cubicBezTo>
                        <a:pt x="3969" y="64"/>
                        <a:pt x="9650" y="-1311"/>
                        <a:pt x="13956" y="1380"/>
                      </a:cubicBezTo>
                      <a:cubicBezTo>
                        <a:pt x="18263" y="4071"/>
                        <a:pt x="19638" y="9753"/>
                        <a:pt x="17006" y="14059"/>
                      </a:cubicBezTo>
                      <a:cubicBezTo>
                        <a:pt x="14375" y="18365"/>
                        <a:pt x="8693" y="19741"/>
                        <a:pt x="4387" y="17050"/>
                      </a:cubicBezTo>
                      <a:cubicBezTo>
                        <a:pt x="81" y="14418"/>
                        <a:pt x="-1294" y="8736"/>
                        <a:pt x="1337" y="4370"/>
                      </a:cubicBezTo>
                      <a:close/>
                    </a:path>
                  </a:pathLst>
                </a:custGeom>
                <a:grpFill/>
                <a:ln w="5978" cap="flat">
                  <a:noFill/>
                  <a:prstDash val="solid"/>
                  <a:miter/>
                </a:ln>
              </p:spPr>
              <p:txBody>
                <a:bodyPr rtlCol="0" anchor="ctr"/>
                <a:lstStyle/>
                <a:p>
                  <a:endParaRPr lang="en-GB"/>
                </a:p>
              </p:txBody>
            </p:sp>
            <p:sp>
              <p:nvSpPr>
                <p:cNvPr id="4337" name="Vrije vorm: vorm 4336">
                  <a:extLst>
                    <a:ext uri="{FF2B5EF4-FFF2-40B4-BE49-F238E27FC236}">
                      <a16:creationId xmlns:a16="http://schemas.microsoft.com/office/drawing/2014/main" id="{E6134C0F-A75A-4DEA-B353-E86621C83252}"/>
                    </a:ext>
                  </a:extLst>
                </p:cNvPr>
                <p:cNvSpPr/>
                <p:nvPr/>
              </p:nvSpPr>
              <p:spPr>
                <a:xfrm>
                  <a:off x="6922132" y="1972597"/>
                  <a:ext cx="18357" cy="18429"/>
                </a:xfrm>
                <a:custGeom>
                  <a:avLst/>
                  <a:gdLst>
                    <a:gd name="connsiteX0" fmla="*/ 1351 w 18357"/>
                    <a:gd name="connsiteY0" fmla="*/ 4370 h 18429"/>
                    <a:gd name="connsiteX1" fmla="*/ 4401 w 18357"/>
                    <a:gd name="connsiteY1" fmla="*/ 17050 h 18429"/>
                    <a:gd name="connsiteX2" fmla="*/ 17021 w 18357"/>
                    <a:gd name="connsiteY2" fmla="*/ 14059 h 18429"/>
                    <a:gd name="connsiteX3" fmla="*/ 13971 w 18357"/>
                    <a:gd name="connsiteY3" fmla="*/ 1380 h 18429"/>
                    <a:gd name="connsiteX4" fmla="*/ 1351 w 18357"/>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29">
                      <a:moveTo>
                        <a:pt x="1351" y="4370"/>
                      </a:moveTo>
                      <a:cubicBezTo>
                        <a:pt x="-1281" y="8677"/>
                        <a:pt x="35" y="14358"/>
                        <a:pt x="4401" y="17050"/>
                      </a:cubicBezTo>
                      <a:cubicBezTo>
                        <a:pt x="8708" y="19741"/>
                        <a:pt x="14389" y="18365"/>
                        <a:pt x="17021" y="14059"/>
                      </a:cubicBezTo>
                      <a:cubicBezTo>
                        <a:pt x="19652" y="9753"/>
                        <a:pt x="18277" y="4071"/>
                        <a:pt x="13971" y="1380"/>
                      </a:cubicBezTo>
                      <a:cubicBezTo>
                        <a:pt x="9664" y="-1311"/>
                        <a:pt x="3983" y="64"/>
                        <a:pt x="1351" y="4370"/>
                      </a:cubicBezTo>
                      <a:close/>
                    </a:path>
                  </a:pathLst>
                </a:custGeom>
                <a:grpFill/>
                <a:ln w="5978" cap="flat">
                  <a:noFill/>
                  <a:prstDash val="solid"/>
                  <a:miter/>
                </a:ln>
              </p:spPr>
              <p:txBody>
                <a:bodyPr rtlCol="0" anchor="ctr"/>
                <a:lstStyle/>
                <a:p>
                  <a:endParaRPr lang="en-GB"/>
                </a:p>
              </p:txBody>
            </p:sp>
          </p:grpSp>
          <p:grpSp>
            <p:nvGrpSpPr>
              <p:cNvPr id="349" name="Graphic 3">
                <a:extLst>
                  <a:ext uri="{FF2B5EF4-FFF2-40B4-BE49-F238E27FC236}">
                    <a16:creationId xmlns:a16="http://schemas.microsoft.com/office/drawing/2014/main" id="{175D2DF2-1B27-43A5-8891-99F9A27C7AA9}"/>
                  </a:ext>
                </a:extLst>
              </p:cNvPr>
              <p:cNvGrpSpPr/>
              <p:nvPr/>
            </p:nvGrpSpPr>
            <p:grpSpPr>
              <a:xfrm>
                <a:off x="7895273" y="4961580"/>
                <a:ext cx="279214" cy="237627"/>
                <a:chOff x="7895273" y="4961580"/>
                <a:chExt cx="279214" cy="237627"/>
              </a:xfrm>
              <a:grpFill/>
            </p:grpSpPr>
            <p:sp>
              <p:nvSpPr>
                <p:cNvPr id="4332" name="Vrije vorm: vorm 4331">
                  <a:extLst>
                    <a:ext uri="{FF2B5EF4-FFF2-40B4-BE49-F238E27FC236}">
                      <a16:creationId xmlns:a16="http://schemas.microsoft.com/office/drawing/2014/main" id="{6D31222F-AAC2-4095-B9B8-D0DBE1AC5FAA}"/>
                    </a:ext>
                  </a:extLst>
                </p:cNvPr>
                <p:cNvSpPr/>
                <p:nvPr/>
              </p:nvSpPr>
              <p:spPr>
                <a:xfrm>
                  <a:off x="7903125" y="4969302"/>
                  <a:ext cx="263570" cy="222124"/>
                </a:xfrm>
                <a:custGeom>
                  <a:avLst/>
                  <a:gdLst>
                    <a:gd name="connsiteX0" fmla="*/ 263571 w 263570"/>
                    <a:gd name="connsiteY0" fmla="*/ 219792 h 222124"/>
                    <a:gd name="connsiteX1" fmla="*/ 261597 w 263570"/>
                    <a:gd name="connsiteY1" fmla="*/ 222124 h 222124"/>
                    <a:gd name="connsiteX2" fmla="*/ 0 w 263570"/>
                    <a:gd name="connsiteY2" fmla="*/ 2333 h 222124"/>
                    <a:gd name="connsiteX3" fmla="*/ 1974 w 263570"/>
                    <a:gd name="connsiteY3" fmla="*/ 0 h 222124"/>
                  </a:gdLst>
                  <a:ahLst/>
                  <a:cxnLst>
                    <a:cxn ang="0">
                      <a:pos x="connsiteX0" y="connsiteY0"/>
                    </a:cxn>
                    <a:cxn ang="0">
                      <a:pos x="connsiteX1" y="connsiteY1"/>
                    </a:cxn>
                    <a:cxn ang="0">
                      <a:pos x="connsiteX2" y="connsiteY2"/>
                    </a:cxn>
                    <a:cxn ang="0">
                      <a:pos x="connsiteX3" y="connsiteY3"/>
                    </a:cxn>
                  </a:cxnLst>
                  <a:rect l="l" t="t" r="r" b="b"/>
                  <a:pathLst>
                    <a:path w="263570" h="222124">
                      <a:moveTo>
                        <a:pt x="263571" y="219792"/>
                      </a:moveTo>
                      <a:lnTo>
                        <a:pt x="261597" y="222124"/>
                      </a:lnTo>
                      <a:lnTo>
                        <a:pt x="0" y="2333"/>
                      </a:lnTo>
                      <a:lnTo>
                        <a:pt x="1974" y="0"/>
                      </a:lnTo>
                      <a:close/>
                    </a:path>
                  </a:pathLst>
                </a:custGeom>
                <a:grpFill/>
                <a:ln w="5978" cap="flat">
                  <a:noFill/>
                  <a:prstDash val="solid"/>
                  <a:miter/>
                </a:ln>
              </p:spPr>
              <p:txBody>
                <a:bodyPr rtlCol="0" anchor="ctr"/>
                <a:lstStyle/>
                <a:p>
                  <a:endParaRPr lang="en-GB"/>
                </a:p>
              </p:txBody>
            </p:sp>
            <p:sp>
              <p:nvSpPr>
                <p:cNvPr id="4333" name="Vrije vorm: vorm 4332">
                  <a:extLst>
                    <a:ext uri="{FF2B5EF4-FFF2-40B4-BE49-F238E27FC236}">
                      <a16:creationId xmlns:a16="http://schemas.microsoft.com/office/drawing/2014/main" id="{E57C7ADF-BC96-4EF4-AD57-DAD62E238A6D}"/>
                    </a:ext>
                  </a:extLst>
                </p:cNvPr>
                <p:cNvSpPr/>
                <p:nvPr/>
              </p:nvSpPr>
              <p:spPr>
                <a:xfrm>
                  <a:off x="8156152" y="5180773"/>
                  <a:ext cx="18335" cy="18433"/>
                </a:xfrm>
                <a:custGeom>
                  <a:avLst/>
                  <a:gdLst>
                    <a:gd name="connsiteX0" fmla="*/ 15029 w 18335"/>
                    <a:gd name="connsiteY0" fmla="*/ 2160 h 18433"/>
                    <a:gd name="connsiteX1" fmla="*/ 16225 w 18335"/>
                    <a:gd name="connsiteY1" fmla="*/ 15138 h 18433"/>
                    <a:gd name="connsiteX2" fmla="*/ 3306 w 18335"/>
                    <a:gd name="connsiteY2" fmla="*/ 16274 h 18433"/>
                    <a:gd name="connsiteX3" fmla="*/ 2111 w 18335"/>
                    <a:gd name="connsiteY3" fmla="*/ 3296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8916" y="5449"/>
                        <a:pt x="19455" y="11250"/>
                        <a:pt x="16225" y="15138"/>
                      </a:cubicBezTo>
                      <a:cubicBezTo>
                        <a:pt x="12995" y="19026"/>
                        <a:pt x="7194" y="19564"/>
                        <a:pt x="3306" y="16274"/>
                      </a:cubicBezTo>
                      <a:cubicBezTo>
                        <a:pt x="-581" y="12985"/>
                        <a:pt x="-1119" y="7183"/>
                        <a:pt x="2111" y="3296"/>
                      </a:cubicBezTo>
                      <a:cubicBezTo>
                        <a:pt x="5400" y="-591"/>
                        <a:pt x="11142" y="-1130"/>
                        <a:pt x="15029" y="2160"/>
                      </a:cubicBezTo>
                      <a:close/>
                    </a:path>
                  </a:pathLst>
                </a:custGeom>
                <a:grpFill/>
                <a:ln w="5978" cap="flat">
                  <a:noFill/>
                  <a:prstDash val="solid"/>
                  <a:miter/>
                </a:ln>
              </p:spPr>
              <p:txBody>
                <a:bodyPr rtlCol="0" anchor="ctr"/>
                <a:lstStyle/>
                <a:p>
                  <a:endParaRPr lang="en-GB"/>
                </a:p>
              </p:txBody>
            </p:sp>
            <p:sp>
              <p:nvSpPr>
                <p:cNvPr id="4334" name="Vrije vorm: vorm 4333">
                  <a:extLst>
                    <a:ext uri="{FF2B5EF4-FFF2-40B4-BE49-F238E27FC236}">
                      <a16:creationId xmlns:a16="http://schemas.microsoft.com/office/drawing/2014/main" id="{C1A17C1F-E67C-4EEE-96B8-DB7816A8C39A}"/>
                    </a:ext>
                  </a:extLst>
                </p:cNvPr>
                <p:cNvSpPr/>
                <p:nvPr/>
              </p:nvSpPr>
              <p:spPr>
                <a:xfrm>
                  <a:off x="7895273" y="4961580"/>
                  <a:ext cx="18335" cy="18433"/>
                </a:xfrm>
                <a:custGeom>
                  <a:avLst/>
                  <a:gdLst>
                    <a:gd name="connsiteX0" fmla="*/ 15029 w 18335"/>
                    <a:gd name="connsiteY0" fmla="*/ 2160 h 18433"/>
                    <a:gd name="connsiteX1" fmla="*/ 2111 w 18335"/>
                    <a:gd name="connsiteY1" fmla="*/ 3296 h 18433"/>
                    <a:gd name="connsiteX2" fmla="*/ 3306 w 18335"/>
                    <a:gd name="connsiteY2" fmla="*/ 16274 h 18433"/>
                    <a:gd name="connsiteX3" fmla="*/ 16225 w 18335"/>
                    <a:gd name="connsiteY3" fmla="*/ 15138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1142" y="-1130"/>
                        <a:pt x="5340" y="-592"/>
                        <a:pt x="2111" y="3296"/>
                      </a:cubicBezTo>
                      <a:cubicBezTo>
                        <a:pt x="-1119" y="7184"/>
                        <a:pt x="-581" y="12985"/>
                        <a:pt x="3306" y="16274"/>
                      </a:cubicBezTo>
                      <a:cubicBezTo>
                        <a:pt x="7194" y="19563"/>
                        <a:pt x="12995" y="19025"/>
                        <a:pt x="16225" y="15138"/>
                      </a:cubicBezTo>
                      <a:cubicBezTo>
                        <a:pt x="19455" y="11251"/>
                        <a:pt x="18916" y="5389"/>
                        <a:pt x="15029" y="2160"/>
                      </a:cubicBezTo>
                      <a:close/>
                    </a:path>
                  </a:pathLst>
                </a:custGeom>
                <a:grpFill/>
                <a:ln w="5978" cap="flat">
                  <a:noFill/>
                  <a:prstDash val="solid"/>
                  <a:miter/>
                </a:ln>
              </p:spPr>
              <p:txBody>
                <a:bodyPr rtlCol="0" anchor="ctr"/>
                <a:lstStyle/>
                <a:p>
                  <a:endParaRPr lang="en-GB"/>
                </a:p>
              </p:txBody>
            </p:sp>
          </p:grpSp>
          <p:grpSp>
            <p:nvGrpSpPr>
              <p:cNvPr id="350" name="Graphic 3">
                <a:extLst>
                  <a:ext uri="{FF2B5EF4-FFF2-40B4-BE49-F238E27FC236}">
                    <a16:creationId xmlns:a16="http://schemas.microsoft.com/office/drawing/2014/main" id="{2C458B9A-FEC5-4A12-BBF6-B2EC0F2AC671}"/>
                  </a:ext>
                </a:extLst>
              </p:cNvPr>
              <p:cNvGrpSpPr/>
              <p:nvPr/>
            </p:nvGrpSpPr>
            <p:grpSpPr>
              <a:xfrm>
                <a:off x="6627662" y="1075923"/>
                <a:ext cx="318381" cy="723226"/>
                <a:chOff x="6627662" y="1075923"/>
                <a:chExt cx="318381" cy="723226"/>
              </a:xfrm>
              <a:grpFill/>
            </p:grpSpPr>
            <p:sp>
              <p:nvSpPr>
                <p:cNvPr id="4329" name="Vrije vorm: vorm 4328">
                  <a:extLst>
                    <a:ext uri="{FF2B5EF4-FFF2-40B4-BE49-F238E27FC236}">
                      <a16:creationId xmlns:a16="http://schemas.microsoft.com/office/drawing/2014/main" id="{222DF69B-0828-4694-9604-5E857E4AE7B3}"/>
                    </a:ext>
                  </a:extLst>
                </p:cNvPr>
                <p:cNvSpPr/>
                <p:nvPr/>
              </p:nvSpPr>
              <p:spPr>
                <a:xfrm>
                  <a:off x="6635272" y="1084046"/>
                  <a:ext cx="303163" cy="706921"/>
                </a:xfrm>
                <a:custGeom>
                  <a:avLst/>
                  <a:gdLst>
                    <a:gd name="connsiteX0" fmla="*/ 303163 w 303163"/>
                    <a:gd name="connsiteY0" fmla="*/ 1256 h 706921"/>
                    <a:gd name="connsiteX1" fmla="*/ 2811 w 303163"/>
                    <a:gd name="connsiteY1" fmla="*/ 706921 h 706921"/>
                    <a:gd name="connsiteX2" fmla="*/ 0 w 303163"/>
                    <a:gd name="connsiteY2" fmla="*/ 705725 h 706921"/>
                    <a:gd name="connsiteX3" fmla="*/ 300412 w 303163"/>
                    <a:gd name="connsiteY3" fmla="*/ 0 h 706921"/>
                  </a:gdLst>
                  <a:ahLst/>
                  <a:cxnLst>
                    <a:cxn ang="0">
                      <a:pos x="connsiteX0" y="connsiteY0"/>
                    </a:cxn>
                    <a:cxn ang="0">
                      <a:pos x="connsiteX1" y="connsiteY1"/>
                    </a:cxn>
                    <a:cxn ang="0">
                      <a:pos x="connsiteX2" y="connsiteY2"/>
                    </a:cxn>
                    <a:cxn ang="0">
                      <a:pos x="connsiteX3" y="connsiteY3"/>
                    </a:cxn>
                  </a:cxnLst>
                  <a:rect l="l" t="t" r="r" b="b"/>
                  <a:pathLst>
                    <a:path w="303163" h="706921">
                      <a:moveTo>
                        <a:pt x="303163" y="1256"/>
                      </a:moveTo>
                      <a:lnTo>
                        <a:pt x="2811" y="706921"/>
                      </a:lnTo>
                      <a:lnTo>
                        <a:pt x="0" y="705725"/>
                      </a:lnTo>
                      <a:lnTo>
                        <a:pt x="300412" y="0"/>
                      </a:lnTo>
                      <a:close/>
                    </a:path>
                  </a:pathLst>
                </a:custGeom>
                <a:grpFill/>
                <a:ln w="5978" cap="flat">
                  <a:noFill/>
                  <a:prstDash val="solid"/>
                  <a:miter/>
                </a:ln>
              </p:spPr>
              <p:txBody>
                <a:bodyPr rtlCol="0" anchor="ctr"/>
                <a:lstStyle/>
                <a:p>
                  <a:endParaRPr lang="en-GB"/>
                </a:p>
              </p:txBody>
            </p:sp>
            <p:sp>
              <p:nvSpPr>
                <p:cNvPr id="4330" name="Vrije vorm: vorm 4329">
                  <a:extLst>
                    <a:ext uri="{FF2B5EF4-FFF2-40B4-BE49-F238E27FC236}">
                      <a16:creationId xmlns:a16="http://schemas.microsoft.com/office/drawing/2014/main" id="{B50A57D0-F21A-42D0-B283-DEA6428A05E5}"/>
                    </a:ext>
                  </a:extLst>
                </p:cNvPr>
                <p:cNvSpPr/>
                <p:nvPr/>
              </p:nvSpPr>
              <p:spPr>
                <a:xfrm>
                  <a:off x="6627662" y="1780751"/>
                  <a:ext cx="18328" cy="18399"/>
                </a:xfrm>
                <a:custGeom>
                  <a:avLst/>
                  <a:gdLst>
                    <a:gd name="connsiteX0" fmla="*/ 17597 w 18328"/>
                    <a:gd name="connsiteY0" fmla="*/ 12848 h 18399"/>
                    <a:gd name="connsiteX1" fmla="*/ 5576 w 18328"/>
                    <a:gd name="connsiteY1" fmla="*/ 17632 h 18399"/>
                    <a:gd name="connsiteX2" fmla="*/ 732 w 18328"/>
                    <a:gd name="connsiteY2" fmla="*/ 5551 h 18399"/>
                    <a:gd name="connsiteX3" fmla="*/ 12753 w 18328"/>
                    <a:gd name="connsiteY3" fmla="*/ 767 h 18399"/>
                    <a:gd name="connsiteX4" fmla="*/ 17597 w 18328"/>
                    <a:gd name="connsiteY4" fmla="*/ 12848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9">
                      <a:moveTo>
                        <a:pt x="17597" y="12848"/>
                      </a:moveTo>
                      <a:cubicBezTo>
                        <a:pt x="15624" y="17513"/>
                        <a:pt x="10241" y="19666"/>
                        <a:pt x="5576" y="17632"/>
                      </a:cubicBezTo>
                      <a:cubicBezTo>
                        <a:pt x="911" y="15599"/>
                        <a:pt x="-1242" y="10216"/>
                        <a:pt x="732" y="5551"/>
                      </a:cubicBezTo>
                      <a:cubicBezTo>
                        <a:pt x="2705" y="886"/>
                        <a:pt x="8088" y="-1267"/>
                        <a:pt x="12753" y="767"/>
                      </a:cubicBezTo>
                      <a:cubicBezTo>
                        <a:pt x="17418" y="2740"/>
                        <a:pt x="19571" y="8183"/>
                        <a:pt x="17597" y="12848"/>
                      </a:cubicBezTo>
                      <a:close/>
                    </a:path>
                  </a:pathLst>
                </a:custGeom>
                <a:grpFill/>
                <a:ln w="5978" cap="flat">
                  <a:noFill/>
                  <a:prstDash val="solid"/>
                  <a:miter/>
                </a:ln>
              </p:spPr>
              <p:txBody>
                <a:bodyPr rtlCol="0" anchor="ctr"/>
                <a:lstStyle/>
                <a:p>
                  <a:endParaRPr lang="en-GB"/>
                </a:p>
              </p:txBody>
            </p:sp>
            <p:sp>
              <p:nvSpPr>
                <p:cNvPr id="4331" name="Vrije vorm: vorm 4330">
                  <a:extLst>
                    <a:ext uri="{FF2B5EF4-FFF2-40B4-BE49-F238E27FC236}">
                      <a16:creationId xmlns:a16="http://schemas.microsoft.com/office/drawing/2014/main" id="{0452EAA6-CCC3-4F00-BD99-957FE907B98B}"/>
                    </a:ext>
                  </a:extLst>
                </p:cNvPr>
                <p:cNvSpPr/>
                <p:nvPr/>
              </p:nvSpPr>
              <p:spPr>
                <a:xfrm>
                  <a:off x="6927715" y="1075923"/>
                  <a:ext cx="18328" cy="18398"/>
                </a:xfrm>
                <a:custGeom>
                  <a:avLst/>
                  <a:gdLst>
                    <a:gd name="connsiteX0" fmla="*/ 17597 w 18328"/>
                    <a:gd name="connsiteY0" fmla="*/ 12848 h 18398"/>
                    <a:gd name="connsiteX1" fmla="*/ 12753 w 18328"/>
                    <a:gd name="connsiteY1" fmla="*/ 767 h 18398"/>
                    <a:gd name="connsiteX2" fmla="*/ 732 w 18328"/>
                    <a:gd name="connsiteY2" fmla="*/ 5551 h 18398"/>
                    <a:gd name="connsiteX3" fmla="*/ 5576 w 18328"/>
                    <a:gd name="connsiteY3" fmla="*/ 17632 h 18398"/>
                    <a:gd name="connsiteX4" fmla="*/ 17597 w 18328"/>
                    <a:gd name="connsiteY4" fmla="*/ 12848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8">
                      <a:moveTo>
                        <a:pt x="17597" y="12848"/>
                      </a:moveTo>
                      <a:cubicBezTo>
                        <a:pt x="19571" y="8183"/>
                        <a:pt x="17418" y="2740"/>
                        <a:pt x="12753" y="767"/>
                      </a:cubicBezTo>
                      <a:cubicBezTo>
                        <a:pt x="8088" y="-1267"/>
                        <a:pt x="2705" y="886"/>
                        <a:pt x="732" y="5551"/>
                      </a:cubicBezTo>
                      <a:cubicBezTo>
                        <a:pt x="-1242" y="10216"/>
                        <a:pt x="911" y="15659"/>
                        <a:pt x="5576" y="17632"/>
                      </a:cubicBezTo>
                      <a:cubicBezTo>
                        <a:pt x="10241" y="19666"/>
                        <a:pt x="15624" y="17513"/>
                        <a:pt x="17597" y="12848"/>
                      </a:cubicBezTo>
                      <a:close/>
                    </a:path>
                  </a:pathLst>
                </a:custGeom>
                <a:grpFill/>
                <a:ln w="5978" cap="flat">
                  <a:noFill/>
                  <a:prstDash val="solid"/>
                  <a:miter/>
                </a:ln>
              </p:spPr>
              <p:txBody>
                <a:bodyPr rtlCol="0" anchor="ctr"/>
                <a:lstStyle/>
                <a:p>
                  <a:endParaRPr lang="en-GB"/>
                </a:p>
              </p:txBody>
            </p:sp>
          </p:grpSp>
          <p:grpSp>
            <p:nvGrpSpPr>
              <p:cNvPr id="351" name="Graphic 3">
                <a:extLst>
                  <a:ext uri="{FF2B5EF4-FFF2-40B4-BE49-F238E27FC236}">
                    <a16:creationId xmlns:a16="http://schemas.microsoft.com/office/drawing/2014/main" id="{B462F4EF-94A1-4CF6-9C75-AC71C18B8B77}"/>
                  </a:ext>
                </a:extLst>
              </p:cNvPr>
              <p:cNvGrpSpPr/>
              <p:nvPr/>
            </p:nvGrpSpPr>
            <p:grpSpPr>
              <a:xfrm>
                <a:off x="7502625" y="4264469"/>
                <a:ext cx="615851" cy="420514"/>
                <a:chOff x="7502625" y="4264469"/>
                <a:chExt cx="615851" cy="420514"/>
              </a:xfrm>
              <a:grpFill/>
            </p:grpSpPr>
            <p:sp>
              <p:nvSpPr>
                <p:cNvPr id="4326" name="Vrije vorm: vorm 4325">
                  <a:extLst>
                    <a:ext uri="{FF2B5EF4-FFF2-40B4-BE49-F238E27FC236}">
                      <a16:creationId xmlns:a16="http://schemas.microsoft.com/office/drawing/2014/main" id="{5E05DDB7-8FCF-431D-A643-CA7A1C2311F9}"/>
                    </a:ext>
                  </a:extLst>
                </p:cNvPr>
                <p:cNvSpPr/>
                <p:nvPr/>
              </p:nvSpPr>
              <p:spPr>
                <a:xfrm>
                  <a:off x="7510610" y="4272189"/>
                  <a:ext cx="599986" cy="405133"/>
                </a:xfrm>
                <a:custGeom>
                  <a:avLst/>
                  <a:gdLst>
                    <a:gd name="connsiteX0" fmla="*/ 599987 w 599986"/>
                    <a:gd name="connsiteY0" fmla="*/ 402562 h 405133"/>
                    <a:gd name="connsiteX1" fmla="*/ 598252 w 599986"/>
                    <a:gd name="connsiteY1" fmla="*/ 405134 h 405133"/>
                    <a:gd name="connsiteX2" fmla="*/ 0 w 599986"/>
                    <a:gd name="connsiteY2" fmla="*/ 2572 h 405133"/>
                    <a:gd name="connsiteX3" fmla="*/ 1675 w 599986"/>
                    <a:gd name="connsiteY3" fmla="*/ 0 h 405133"/>
                  </a:gdLst>
                  <a:ahLst/>
                  <a:cxnLst>
                    <a:cxn ang="0">
                      <a:pos x="connsiteX0" y="connsiteY0"/>
                    </a:cxn>
                    <a:cxn ang="0">
                      <a:pos x="connsiteX1" y="connsiteY1"/>
                    </a:cxn>
                    <a:cxn ang="0">
                      <a:pos x="connsiteX2" y="connsiteY2"/>
                    </a:cxn>
                    <a:cxn ang="0">
                      <a:pos x="connsiteX3" y="connsiteY3"/>
                    </a:cxn>
                  </a:cxnLst>
                  <a:rect l="l" t="t" r="r" b="b"/>
                  <a:pathLst>
                    <a:path w="599986" h="405133">
                      <a:moveTo>
                        <a:pt x="599987" y="402562"/>
                      </a:moveTo>
                      <a:lnTo>
                        <a:pt x="598252" y="405134"/>
                      </a:lnTo>
                      <a:lnTo>
                        <a:pt x="0" y="2572"/>
                      </a:lnTo>
                      <a:lnTo>
                        <a:pt x="1675" y="0"/>
                      </a:lnTo>
                      <a:close/>
                    </a:path>
                  </a:pathLst>
                </a:custGeom>
                <a:grpFill/>
                <a:ln w="5978" cap="flat">
                  <a:noFill/>
                  <a:prstDash val="solid"/>
                  <a:miter/>
                </a:ln>
              </p:spPr>
              <p:txBody>
                <a:bodyPr rtlCol="0" anchor="ctr"/>
                <a:lstStyle/>
                <a:p>
                  <a:endParaRPr lang="en-GB"/>
                </a:p>
              </p:txBody>
            </p:sp>
            <p:sp>
              <p:nvSpPr>
                <p:cNvPr id="4327" name="Vrije vorm: vorm 4326">
                  <a:extLst>
                    <a:ext uri="{FF2B5EF4-FFF2-40B4-BE49-F238E27FC236}">
                      <a16:creationId xmlns:a16="http://schemas.microsoft.com/office/drawing/2014/main" id="{2EF48FEF-C774-4A85-A787-66475E3B4EF1}"/>
                    </a:ext>
                  </a:extLst>
                </p:cNvPr>
                <p:cNvSpPr/>
                <p:nvPr/>
              </p:nvSpPr>
              <p:spPr>
                <a:xfrm>
                  <a:off x="7502625" y="4264469"/>
                  <a:ext cx="18302" cy="18457"/>
                </a:xfrm>
                <a:custGeom>
                  <a:avLst/>
                  <a:gdLst>
                    <a:gd name="connsiteX0" fmla="*/ 4097 w 18302"/>
                    <a:gd name="connsiteY0" fmla="*/ 16871 h 18457"/>
                    <a:gd name="connsiteX1" fmla="*/ 1526 w 18302"/>
                    <a:gd name="connsiteY1" fmla="*/ 4072 h 18457"/>
                    <a:gd name="connsiteX2" fmla="*/ 14205 w 18302"/>
                    <a:gd name="connsiteY2" fmla="*/ 1560 h 18457"/>
                    <a:gd name="connsiteX3" fmla="*/ 16776 w 18302"/>
                    <a:gd name="connsiteY3" fmla="*/ 14359 h 18457"/>
                    <a:gd name="connsiteX4" fmla="*/ 4097 w 18302"/>
                    <a:gd name="connsiteY4" fmla="*/ 16871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57">
                      <a:moveTo>
                        <a:pt x="4097" y="16871"/>
                      </a:moveTo>
                      <a:cubicBezTo>
                        <a:pt x="-89" y="14060"/>
                        <a:pt x="-1285" y="8319"/>
                        <a:pt x="1526" y="4072"/>
                      </a:cubicBezTo>
                      <a:cubicBezTo>
                        <a:pt x="4337" y="-174"/>
                        <a:pt x="10018" y="-1251"/>
                        <a:pt x="14205" y="1560"/>
                      </a:cubicBezTo>
                      <a:cubicBezTo>
                        <a:pt x="18391" y="4371"/>
                        <a:pt x="19588" y="10113"/>
                        <a:pt x="16776" y="14359"/>
                      </a:cubicBezTo>
                      <a:cubicBezTo>
                        <a:pt x="14025" y="18605"/>
                        <a:pt x="8344" y="19742"/>
                        <a:pt x="4097" y="16871"/>
                      </a:cubicBezTo>
                      <a:close/>
                    </a:path>
                  </a:pathLst>
                </a:custGeom>
                <a:grpFill/>
                <a:ln w="5978" cap="flat">
                  <a:noFill/>
                  <a:prstDash val="solid"/>
                  <a:miter/>
                </a:ln>
              </p:spPr>
              <p:txBody>
                <a:bodyPr rtlCol="0" anchor="ctr"/>
                <a:lstStyle/>
                <a:p>
                  <a:endParaRPr lang="en-GB"/>
                </a:p>
              </p:txBody>
            </p:sp>
            <p:sp>
              <p:nvSpPr>
                <p:cNvPr id="4328" name="Vrije vorm: vorm 4327">
                  <a:extLst>
                    <a:ext uri="{FF2B5EF4-FFF2-40B4-BE49-F238E27FC236}">
                      <a16:creationId xmlns:a16="http://schemas.microsoft.com/office/drawing/2014/main" id="{7824D91A-F323-4E69-A5FF-77FC3A577A2F}"/>
                    </a:ext>
                  </a:extLst>
                </p:cNvPr>
                <p:cNvSpPr/>
                <p:nvPr/>
              </p:nvSpPr>
              <p:spPr>
                <a:xfrm>
                  <a:off x="8100185" y="4666553"/>
                  <a:ext cx="18291" cy="18430"/>
                </a:xfrm>
                <a:custGeom>
                  <a:avLst/>
                  <a:gdLst>
                    <a:gd name="connsiteX0" fmla="*/ 4071 w 18291"/>
                    <a:gd name="connsiteY0" fmla="*/ 16871 h 18430"/>
                    <a:gd name="connsiteX1" fmla="*/ 16750 w 18291"/>
                    <a:gd name="connsiteY1" fmla="*/ 14359 h 18430"/>
                    <a:gd name="connsiteX2" fmla="*/ 14179 w 18291"/>
                    <a:gd name="connsiteY2" fmla="*/ 1560 h 18430"/>
                    <a:gd name="connsiteX3" fmla="*/ 1500 w 18291"/>
                    <a:gd name="connsiteY3" fmla="*/ 4072 h 18430"/>
                    <a:gd name="connsiteX4" fmla="*/ 4071 w 18291"/>
                    <a:gd name="connsiteY4" fmla="*/ 1687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30">
                      <a:moveTo>
                        <a:pt x="4071" y="16871"/>
                      </a:moveTo>
                      <a:cubicBezTo>
                        <a:pt x="8258" y="19682"/>
                        <a:pt x="13999" y="18605"/>
                        <a:pt x="16750" y="14359"/>
                      </a:cubicBezTo>
                      <a:cubicBezTo>
                        <a:pt x="19561" y="10113"/>
                        <a:pt x="18425" y="4431"/>
                        <a:pt x="14179" y="1560"/>
                      </a:cubicBezTo>
                      <a:cubicBezTo>
                        <a:pt x="9992" y="-1251"/>
                        <a:pt x="4251" y="-174"/>
                        <a:pt x="1500" y="4072"/>
                      </a:cubicBezTo>
                      <a:cubicBezTo>
                        <a:pt x="-1252" y="8318"/>
                        <a:pt x="-115" y="14060"/>
                        <a:pt x="4071" y="16871"/>
                      </a:cubicBezTo>
                      <a:close/>
                    </a:path>
                  </a:pathLst>
                </a:custGeom>
                <a:grpFill/>
                <a:ln w="5978" cap="flat">
                  <a:noFill/>
                  <a:prstDash val="solid"/>
                  <a:miter/>
                </a:ln>
              </p:spPr>
              <p:txBody>
                <a:bodyPr rtlCol="0" anchor="ctr"/>
                <a:lstStyle/>
                <a:p>
                  <a:endParaRPr lang="en-GB"/>
                </a:p>
              </p:txBody>
            </p:sp>
          </p:grpSp>
          <p:grpSp>
            <p:nvGrpSpPr>
              <p:cNvPr id="352" name="Graphic 3">
                <a:extLst>
                  <a:ext uri="{FF2B5EF4-FFF2-40B4-BE49-F238E27FC236}">
                    <a16:creationId xmlns:a16="http://schemas.microsoft.com/office/drawing/2014/main" id="{0C122E6F-81F6-409D-8CF7-73AC704C92EF}"/>
                  </a:ext>
                </a:extLst>
              </p:cNvPr>
              <p:cNvGrpSpPr/>
              <p:nvPr/>
            </p:nvGrpSpPr>
            <p:grpSpPr>
              <a:xfrm>
                <a:off x="6707311" y="1311966"/>
                <a:ext cx="286233" cy="547007"/>
                <a:chOff x="6707311" y="1311966"/>
                <a:chExt cx="286233" cy="547007"/>
              </a:xfrm>
              <a:grpFill/>
            </p:grpSpPr>
            <p:sp>
              <p:nvSpPr>
                <p:cNvPr id="4323" name="Vrije vorm: vorm 4322">
                  <a:extLst>
                    <a:ext uri="{FF2B5EF4-FFF2-40B4-BE49-F238E27FC236}">
                      <a16:creationId xmlns:a16="http://schemas.microsoft.com/office/drawing/2014/main" id="{1515CA41-33D8-4859-8E04-37EBDCAB2732}"/>
                    </a:ext>
                  </a:extLst>
                </p:cNvPr>
                <p:cNvSpPr/>
                <p:nvPr/>
              </p:nvSpPr>
              <p:spPr>
                <a:xfrm>
                  <a:off x="6714875" y="1320045"/>
                  <a:ext cx="271106" cy="530789"/>
                </a:xfrm>
                <a:custGeom>
                  <a:avLst/>
                  <a:gdLst>
                    <a:gd name="connsiteX0" fmla="*/ 271106 w 271106"/>
                    <a:gd name="connsiteY0" fmla="*/ 1376 h 530789"/>
                    <a:gd name="connsiteX1" fmla="*/ 2751 w 271106"/>
                    <a:gd name="connsiteY1" fmla="*/ 530789 h 530789"/>
                    <a:gd name="connsiteX2" fmla="*/ 0 w 271106"/>
                    <a:gd name="connsiteY2" fmla="*/ 529413 h 530789"/>
                    <a:gd name="connsiteX3" fmla="*/ 268355 w 271106"/>
                    <a:gd name="connsiteY3" fmla="*/ 0 h 530789"/>
                  </a:gdLst>
                  <a:ahLst/>
                  <a:cxnLst>
                    <a:cxn ang="0">
                      <a:pos x="connsiteX0" y="connsiteY0"/>
                    </a:cxn>
                    <a:cxn ang="0">
                      <a:pos x="connsiteX1" y="connsiteY1"/>
                    </a:cxn>
                    <a:cxn ang="0">
                      <a:pos x="connsiteX2" y="connsiteY2"/>
                    </a:cxn>
                    <a:cxn ang="0">
                      <a:pos x="connsiteX3" y="connsiteY3"/>
                    </a:cxn>
                  </a:cxnLst>
                  <a:rect l="l" t="t" r="r" b="b"/>
                  <a:pathLst>
                    <a:path w="271106" h="530789">
                      <a:moveTo>
                        <a:pt x="271106" y="1376"/>
                      </a:moveTo>
                      <a:lnTo>
                        <a:pt x="2751" y="530789"/>
                      </a:lnTo>
                      <a:lnTo>
                        <a:pt x="0" y="529413"/>
                      </a:lnTo>
                      <a:lnTo>
                        <a:pt x="268355" y="0"/>
                      </a:lnTo>
                      <a:close/>
                    </a:path>
                  </a:pathLst>
                </a:custGeom>
                <a:grpFill/>
                <a:ln w="5978" cap="flat">
                  <a:noFill/>
                  <a:prstDash val="solid"/>
                  <a:miter/>
                </a:ln>
              </p:spPr>
              <p:txBody>
                <a:bodyPr rtlCol="0" anchor="ctr"/>
                <a:lstStyle/>
                <a:p>
                  <a:endParaRPr lang="en-GB"/>
                </a:p>
              </p:txBody>
            </p:sp>
            <p:sp>
              <p:nvSpPr>
                <p:cNvPr id="4324" name="Vrije vorm: vorm 4323">
                  <a:extLst>
                    <a:ext uri="{FF2B5EF4-FFF2-40B4-BE49-F238E27FC236}">
                      <a16:creationId xmlns:a16="http://schemas.microsoft.com/office/drawing/2014/main" id="{61F96FAA-1E1B-4867-BF92-07E73071702C}"/>
                    </a:ext>
                  </a:extLst>
                </p:cNvPr>
                <p:cNvSpPr/>
                <p:nvPr/>
              </p:nvSpPr>
              <p:spPr>
                <a:xfrm>
                  <a:off x="6707311" y="1840542"/>
                  <a:ext cx="18297" cy="18431"/>
                </a:xfrm>
                <a:custGeom>
                  <a:avLst/>
                  <a:gdLst>
                    <a:gd name="connsiteX0" fmla="*/ 17312 w 18297"/>
                    <a:gd name="connsiteY0" fmla="*/ 13402 h 18431"/>
                    <a:gd name="connsiteX1" fmla="*/ 4992 w 18297"/>
                    <a:gd name="connsiteY1" fmla="*/ 17409 h 18431"/>
                    <a:gd name="connsiteX2" fmla="*/ 985 w 18297"/>
                    <a:gd name="connsiteY2" fmla="*/ 5029 h 18431"/>
                    <a:gd name="connsiteX3" fmla="*/ 13305 w 18297"/>
                    <a:gd name="connsiteY3" fmla="*/ 1022 h 18431"/>
                    <a:gd name="connsiteX4" fmla="*/ 17312 w 18297"/>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1">
                      <a:moveTo>
                        <a:pt x="17312" y="13402"/>
                      </a:moveTo>
                      <a:cubicBezTo>
                        <a:pt x="15039" y="17948"/>
                        <a:pt x="9477" y="19742"/>
                        <a:pt x="4992" y="17409"/>
                      </a:cubicBezTo>
                      <a:cubicBezTo>
                        <a:pt x="506" y="15077"/>
                        <a:pt x="-1288" y="9515"/>
                        <a:pt x="985" y="5029"/>
                      </a:cubicBezTo>
                      <a:cubicBezTo>
                        <a:pt x="3258" y="484"/>
                        <a:pt x="8820" y="-1310"/>
                        <a:pt x="13305" y="1022"/>
                      </a:cubicBezTo>
                      <a:cubicBezTo>
                        <a:pt x="17791" y="3295"/>
                        <a:pt x="19585" y="8857"/>
                        <a:pt x="17312" y="13402"/>
                      </a:cubicBezTo>
                      <a:close/>
                    </a:path>
                  </a:pathLst>
                </a:custGeom>
                <a:grpFill/>
                <a:ln w="5978" cap="flat">
                  <a:noFill/>
                  <a:prstDash val="solid"/>
                  <a:miter/>
                </a:ln>
              </p:spPr>
              <p:txBody>
                <a:bodyPr rtlCol="0" anchor="ctr"/>
                <a:lstStyle/>
                <a:p>
                  <a:endParaRPr lang="en-GB"/>
                </a:p>
              </p:txBody>
            </p:sp>
            <p:sp>
              <p:nvSpPr>
                <p:cNvPr id="4325" name="Vrije vorm: vorm 4324">
                  <a:extLst>
                    <a:ext uri="{FF2B5EF4-FFF2-40B4-BE49-F238E27FC236}">
                      <a16:creationId xmlns:a16="http://schemas.microsoft.com/office/drawing/2014/main" id="{0107099C-1E50-4BB4-A38D-26755DFE096F}"/>
                    </a:ext>
                  </a:extLst>
                </p:cNvPr>
                <p:cNvSpPr/>
                <p:nvPr/>
              </p:nvSpPr>
              <p:spPr>
                <a:xfrm>
                  <a:off x="6975248" y="1311966"/>
                  <a:ext cx="18297" cy="18405"/>
                </a:xfrm>
                <a:custGeom>
                  <a:avLst/>
                  <a:gdLst>
                    <a:gd name="connsiteX0" fmla="*/ 17312 w 18297"/>
                    <a:gd name="connsiteY0" fmla="*/ 13402 h 18405"/>
                    <a:gd name="connsiteX1" fmla="*/ 13305 w 18297"/>
                    <a:gd name="connsiteY1" fmla="*/ 1022 h 18405"/>
                    <a:gd name="connsiteX2" fmla="*/ 985 w 18297"/>
                    <a:gd name="connsiteY2" fmla="*/ 5029 h 18405"/>
                    <a:gd name="connsiteX3" fmla="*/ 4992 w 18297"/>
                    <a:gd name="connsiteY3" fmla="*/ 17409 h 18405"/>
                    <a:gd name="connsiteX4" fmla="*/ 17312 w 18297"/>
                    <a:gd name="connsiteY4" fmla="*/ 1340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17312" y="13402"/>
                      </a:moveTo>
                      <a:cubicBezTo>
                        <a:pt x="19585" y="8857"/>
                        <a:pt x="17791" y="3295"/>
                        <a:pt x="13305" y="1022"/>
                      </a:cubicBezTo>
                      <a:cubicBezTo>
                        <a:pt x="8820" y="-1310"/>
                        <a:pt x="3258" y="484"/>
                        <a:pt x="985" y="5029"/>
                      </a:cubicBezTo>
                      <a:cubicBezTo>
                        <a:pt x="-1288" y="9575"/>
                        <a:pt x="507" y="15137"/>
                        <a:pt x="4992" y="17409"/>
                      </a:cubicBezTo>
                      <a:cubicBezTo>
                        <a:pt x="9478" y="19682"/>
                        <a:pt x="15039" y="17948"/>
                        <a:pt x="17312" y="13402"/>
                      </a:cubicBezTo>
                      <a:close/>
                    </a:path>
                  </a:pathLst>
                </a:custGeom>
                <a:grpFill/>
                <a:ln w="5978" cap="flat">
                  <a:noFill/>
                  <a:prstDash val="solid"/>
                  <a:miter/>
                </a:ln>
              </p:spPr>
              <p:txBody>
                <a:bodyPr rtlCol="0" anchor="ctr"/>
                <a:lstStyle/>
                <a:p>
                  <a:endParaRPr lang="en-GB"/>
                </a:p>
              </p:txBody>
            </p:sp>
          </p:grpSp>
          <p:grpSp>
            <p:nvGrpSpPr>
              <p:cNvPr id="353" name="Graphic 3">
                <a:extLst>
                  <a:ext uri="{FF2B5EF4-FFF2-40B4-BE49-F238E27FC236}">
                    <a16:creationId xmlns:a16="http://schemas.microsoft.com/office/drawing/2014/main" id="{8283A6BF-40CE-4EBA-9132-A4C93B45D097}"/>
                  </a:ext>
                </a:extLst>
              </p:cNvPr>
              <p:cNvGrpSpPr/>
              <p:nvPr/>
            </p:nvGrpSpPr>
            <p:grpSpPr>
              <a:xfrm>
                <a:off x="7554082" y="4220819"/>
                <a:ext cx="459368" cy="301925"/>
                <a:chOff x="7554082" y="4220819"/>
                <a:chExt cx="459368" cy="301925"/>
              </a:xfrm>
              <a:grpFill/>
            </p:grpSpPr>
            <p:sp>
              <p:nvSpPr>
                <p:cNvPr id="4320" name="Vrije vorm: vorm 4319">
                  <a:extLst>
                    <a:ext uri="{FF2B5EF4-FFF2-40B4-BE49-F238E27FC236}">
                      <a16:creationId xmlns:a16="http://schemas.microsoft.com/office/drawing/2014/main" id="{707D4DE6-A50E-47C6-B3FF-5D7FFB89D674}"/>
                    </a:ext>
                  </a:extLst>
                </p:cNvPr>
                <p:cNvSpPr/>
                <p:nvPr/>
              </p:nvSpPr>
              <p:spPr>
                <a:xfrm>
                  <a:off x="7562044" y="4228530"/>
                  <a:ext cx="443470" cy="286536"/>
                </a:xfrm>
                <a:custGeom>
                  <a:avLst/>
                  <a:gdLst>
                    <a:gd name="connsiteX0" fmla="*/ 443471 w 443470"/>
                    <a:gd name="connsiteY0" fmla="*/ 283965 h 286536"/>
                    <a:gd name="connsiteX1" fmla="*/ 441856 w 443470"/>
                    <a:gd name="connsiteY1" fmla="*/ 286536 h 286536"/>
                    <a:gd name="connsiteX2" fmla="*/ 0 w 443470"/>
                    <a:gd name="connsiteY2" fmla="*/ 2572 h 286536"/>
                    <a:gd name="connsiteX3" fmla="*/ 1615 w 443470"/>
                    <a:gd name="connsiteY3" fmla="*/ 0 h 286536"/>
                  </a:gdLst>
                  <a:ahLst/>
                  <a:cxnLst>
                    <a:cxn ang="0">
                      <a:pos x="connsiteX0" y="connsiteY0"/>
                    </a:cxn>
                    <a:cxn ang="0">
                      <a:pos x="connsiteX1" y="connsiteY1"/>
                    </a:cxn>
                    <a:cxn ang="0">
                      <a:pos x="connsiteX2" y="connsiteY2"/>
                    </a:cxn>
                    <a:cxn ang="0">
                      <a:pos x="connsiteX3" y="connsiteY3"/>
                    </a:cxn>
                  </a:cxnLst>
                  <a:rect l="l" t="t" r="r" b="b"/>
                  <a:pathLst>
                    <a:path w="443470" h="286536">
                      <a:moveTo>
                        <a:pt x="443471" y="283965"/>
                      </a:moveTo>
                      <a:lnTo>
                        <a:pt x="441856" y="286536"/>
                      </a:lnTo>
                      <a:lnTo>
                        <a:pt x="0" y="2572"/>
                      </a:lnTo>
                      <a:lnTo>
                        <a:pt x="1615" y="0"/>
                      </a:lnTo>
                      <a:close/>
                    </a:path>
                  </a:pathLst>
                </a:custGeom>
                <a:grpFill/>
                <a:ln w="5978" cap="flat">
                  <a:noFill/>
                  <a:prstDash val="solid"/>
                  <a:miter/>
                </a:ln>
              </p:spPr>
              <p:txBody>
                <a:bodyPr rtlCol="0" anchor="ctr"/>
                <a:lstStyle/>
                <a:p>
                  <a:endParaRPr lang="en-GB"/>
                </a:p>
              </p:txBody>
            </p:sp>
            <p:sp>
              <p:nvSpPr>
                <p:cNvPr id="4321" name="Vrije vorm: vorm 4320">
                  <a:extLst>
                    <a:ext uri="{FF2B5EF4-FFF2-40B4-BE49-F238E27FC236}">
                      <a16:creationId xmlns:a16="http://schemas.microsoft.com/office/drawing/2014/main" id="{7822DC30-EE87-4106-AE3E-32C85DD943C8}"/>
                    </a:ext>
                  </a:extLst>
                </p:cNvPr>
                <p:cNvSpPr/>
                <p:nvPr/>
              </p:nvSpPr>
              <p:spPr>
                <a:xfrm>
                  <a:off x="7554082" y="4220819"/>
                  <a:ext cx="18376" cy="18439"/>
                </a:xfrm>
                <a:custGeom>
                  <a:avLst/>
                  <a:gdLst>
                    <a:gd name="connsiteX0" fmla="*/ 4254 w 18376"/>
                    <a:gd name="connsiteY0" fmla="*/ 16981 h 18439"/>
                    <a:gd name="connsiteX1" fmla="*/ 1443 w 18376"/>
                    <a:gd name="connsiteY1" fmla="*/ 4242 h 18439"/>
                    <a:gd name="connsiteX2" fmla="*/ 14122 w 18376"/>
                    <a:gd name="connsiteY2" fmla="*/ 1432 h 18439"/>
                    <a:gd name="connsiteX3" fmla="*/ 16933 w 18376"/>
                    <a:gd name="connsiteY3" fmla="*/ 14170 h 18439"/>
                    <a:gd name="connsiteX4" fmla="*/ 4254 w 18376"/>
                    <a:gd name="connsiteY4" fmla="*/ 16981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9">
                      <a:moveTo>
                        <a:pt x="4254" y="16981"/>
                      </a:moveTo>
                      <a:cubicBezTo>
                        <a:pt x="8" y="14230"/>
                        <a:pt x="-1308" y="8549"/>
                        <a:pt x="1443" y="4242"/>
                      </a:cubicBezTo>
                      <a:cubicBezTo>
                        <a:pt x="4135" y="-64"/>
                        <a:pt x="9816" y="-1260"/>
                        <a:pt x="14122" y="1432"/>
                      </a:cubicBezTo>
                      <a:cubicBezTo>
                        <a:pt x="18368" y="4182"/>
                        <a:pt x="19685" y="9864"/>
                        <a:pt x="16933" y="14170"/>
                      </a:cubicBezTo>
                      <a:cubicBezTo>
                        <a:pt x="14182" y="18476"/>
                        <a:pt x="8501" y="19733"/>
                        <a:pt x="4254" y="16981"/>
                      </a:cubicBezTo>
                      <a:close/>
                    </a:path>
                  </a:pathLst>
                </a:custGeom>
                <a:grpFill/>
                <a:ln w="5978" cap="flat">
                  <a:noFill/>
                  <a:prstDash val="solid"/>
                  <a:miter/>
                </a:ln>
              </p:spPr>
              <p:txBody>
                <a:bodyPr rtlCol="0" anchor="ctr"/>
                <a:lstStyle/>
                <a:p>
                  <a:endParaRPr lang="en-GB"/>
                </a:p>
              </p:txBody>
            </p:sp>
            <p:sp>
              <p:nvSpPr>
                <p:cNvPr id="4322" name="Vrije vorm: vorm 4321">
                  <a:extLst>
                    <a:ext uri="{FF2B5EF4-FFF2-40B4-BE49-F238E27FC236}">
                      <a16:creationId xmlns:a16="http://schemas.microsoft.com/office/drawing/2014/main" id="{EEF5924D-C0A3-43DE-B4B8-22886B783F1C}"/>
                    </a:ext>
                  </a:extLst>
                </p:cNvPr>
                <p:cNvSpPr/>
                <p:nvPr/>
              </p:nvSpPr>
              <p:spPr>
                <a:xfrm>
                  <a:off x="7995146" y="4504278"/>
                  <a:ext cx="18304" cy="18465"/>
                </a:xfrm>
                <a:custGeom>
                  <a:avLst/>
                  <a:gdLst>
                    <a:gd name="connsiteX0" fmla="*/ 4269 w 18304"/>
                    <a:gd name="connsiteY0" fmla="*/ 17008 h 18465"/>
                    <a:gd name="connsiteX1" fmla="*/ 16888 w 18304"/>
                    <a:gd name="connsiteY1" fmla="*/ 14197 h 18465"/>
                    <a:gd name="connsiteX2" fmla="*/ 14077 w 18304"/>
                    <a:gd name="connsiteY2" fmla="*/ 1458 h 18465"/>
                    <a:gd name="connsiteX3" fmla="*/ 1458 w 18304"/>
                    <a:gd name="connsiteY3" fmla="*/ 4269 h 18465"/>
                    <a:gd name="connsiteX4" fmla="*/ 4269 w 18304"/>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65">
                      <a:moveTo>
                        <a:pt x="4269" y="17008"/>
                      </a:moveTo>
                      <a:cubicBezTo>
                        <a:pt x="8515" y="19759"/>
                        <a:pt x="14197" y="18503"/>
                        <a:pt x="16888" y="14197"/>
                      </a:cubicBezTo>
                      <a:cubicBezTo>
                        <a:pt x="19580" y="9891"/>
                        <a:pt x="18324" y="4209"/>
                        <a:pt x="14077" y="1458"/>
                      </a:cubicBezTo>
                      <a:cubicBezTo>
                        <a:pt x="9831" y="-1293"/>
                        <a:pt x="4150" y="-37"/>
                        <a:pt x="1458" y="4269"/>
                      </a:cubicBezTo>
                      <a:cubicBezTo>
                        <a:pt x="-1293" y="8575"/>
                        <a:pt x="-37" y="14257"/>
                        <a:pt x="4269" y="17008"/>
                      </a:cubicBezTo>
                      <a:close/>
                    </a:path>
                  </a:pathLst>
                </a:custGeom>
                <a:grpFill/>
                <a:ln w="5978" cap="flat">
                  <a:noFill/>
                  <a:prstDash val="solid"/>
                  <a:miter/>
                </a:ln>
              </p:spPr>
              <p:txBody>
                <a:bodyPr rtlCol="0" anchor="ctr"/>
                <a:lstStyle/>
                <a:p>
                  <a:endParaRPr lang="en-GB"/>
                </a:p>
              </p:txBody>
            </p:sp>
          </p:grpSp>
          <p:grpSp>
            <p:nvGrpSpPr>
              <p:cNvPr id="354" name="Graphic 3">
                <a:extLst>
                  <a:ext uri="{FF2B5EF4-FFF2-40B4-BE49-F238E27FC236}">
                    <a16:creationId xmlns:a16="http://schemas.microsoft.com/office/drawing/2014/main" id="{C98B54B0-E37E-4A41-A1B9-B51E9FAC2AB1}"/>
                  </a:ext>
                </a:extLst>
              </p:cNvPr>
              <p:cNvGrpSpPr/>
              <p:nvPr/>
            </p:nvGrpSpPr>
            <p:grpSpPr>
              <a:xfrm>
                <a:off x="7563023" y="4189634"/>
                <a:ext cx="418274" cy="268397"/>
                <a:chOff x="7563023" y="4189634"/>
                <a:chExt cx="418274" cy="268397"/>
              </a:xfrm>
              <a:grpFill/>
            </p:grpSpPr>
            <p:sp>
              <p:nvSpPr>
                <p:cNvPr id="4317" name="Vrije vorm: vorm 4316">
                  <a:extLst>
                    <a:ext uri="{FF2B5EF4-FFF2-40B4-BE49-F238E27FC236}">
                      <a16:creationId xmlns:a16="http://schemas.microsoft.com/office/drawing/2014/main" id="{C3132733-C16F-49B8-97A4-5BF01A65019B}"/>
                    </a:ext>
                  </a:extLst>
                </p:cNvPr>
                <p:cNvSpPr/>
                <p:nvPr/>
              </p:nvSpPr>
              <p:spPr>
                <a:xfrm>
                  <a:off x="7571015" y="4197310"/>
                  <a:ext cx="402323" cy="253044"/>
                </a:xfrm>
                <a:custGeom>
                  <a:avLst/>
                  <a:gdLst>
                    <a:gd name="connsiteX0" fmla="*/ 402323 w 402323"/>
                    <a:gd name="connsiteY0" fmla="*/ 250413 h 253044"/>
                    <a:gd name="connsiteX1" fmla="*/ 400708 w 402323"/>
                    <a:gd name="connsiteY1" fmla="*/ 253044 h 253044"/>
                    <a:gd name="connsiteX2" fmla="*/ 0 w 402323"/>
                    <a:gd name="connsiteY2" fmla="*/ 2572 h 253044"/>
                    <a:gd name="connsiteX3" fmla="*/ 1615 w 402323"/>
                    <a:gd name="connsiteY3" fmla="*/ 0 h 253044"/>
                  </a:gdLst>
                  <a:ahLst/>
                  <a:cxnLst>
                    <a:cxn ang="0">
                      <a:pos x="connsiteX0" y="connsiteY0"/>
                    </a:cxn>
                    <a:cxn ang="0">
                      <a:pos x="connsiteX1" y="connsiteY1"/>
                    </a:cxn>
                    <a:cxn ang="0">
                      <a:pos x="connsiteX2" y="connsiteY2"/>
                    </a:cxn>
                    <a:cxn ang="0">
                      <a:pos x="connsiteX3" y="connsiteY3"/>
                    </a:cxn>
                  </a:cxnLst>
                  <a:rect l="l" t="t" r="r" b="b"/>
                  <a:pathLst>
                    <a:path w="402323" h="253044">
                      <a:moveTo>
                        <a:pt x="402323" y="250413"/>
                      </a:moveTo>
                      <a:lnTo>
                        <a:pt x="400708" y="253044"/>
                      </a:lnTo>
                      <a:lnTo>
                        <a:pt x="0" y="2572"/>
                      </a:lnTo>
                      <a:lnTo>
                        <a:pt x="1615" y="0"/>
                      </a:lnTo>
                      <a:close/>
                    </a:path>
                  </a:pathLst>
                </a:custGeom>
                <a:grpFill/>
                <a:ln w="5978" cap="flat">
                  <a:noFill/>
                  <a:prstDash val="solid"/>
                  <a:miter/>
                </a:ln>
              </p:spPr>
              <p:txBody>
                <a:bodyPr rtlCol="0" anchor="ctr"/>
                <a:lstStyle/>
                <a:p>
                  <a:endParaRPr lang="en-GB"/>
                </a:p>
              </p:txBody>
            </p:sp>
            <p:sp>
              <p:nvSpPr>
                <p:cNvPr id="4318" name="Vrije vorm: vorm 4317">
                  <a:extLst>
                    <a:ext uri="{FF2B5EF4-FFF2-40B4-BE49-F238E27FC236}">
                      <a16:creationId xmlns:a16="http://schemas.microsoft.com/office/drawing/2014/main" id="{3F65BDC3-B03E-49DB-99FD-AA92A94B6CB9}"/>
                    </a:ext>
                  </a:extLst>
                </p:cNvPr>
                <p:cNvSpPr/>
                <p:nvPr/>
              </p:nvSpPr>
              <p:spPr>
                <a:xfrm>
                  <a:off x="7563023" y="4189634"/>
                  <a:ext cx="18316" cy="18403"/>
                </a:xfrm>
                <a:custGeom>
                  <a:avLst/>
                  <a:gdLst>
                    <a:gd name="connsiteX0" fmla="*/ 4344 w 18316"/>
                    <a:gd name="connsiteY0" fmla="*/ 17007 h 18403"/>
                    <a:gd name="connsiteX1" fmla="*/ 1353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3" y="4327"/>
                      </a:cubicBezTo>
                      <a:cubicBezTo>
                        <a:pt x="3985" y="21"/>
                        <a:pt x="9667" y="-1294"/>
                        <a:pt x="13973" y="1397"/>
                      </a:cubicBezTo>
                      <a:cubicBezTo>
                        <a:pt x="18279" y="4088"/>
                        <a:pt x="19595" y="9770"/>
                        <a:pt x="16963" y="14076"/>
                      </a:cubicBezTo>
                      <a:cubicBezTo>
                        <a:pt x="14332" y="18382"/>
                        <a:pt x="8650" y="19698"/>
                        <a:pt x="4344" y="17007"/>
                      </a:cubicBezTo>
                      <a:close/>
                    </a:path>
                  </a:pathLst>
                </a:custGeom>
                <a:grpFill/>
                <a:ln w="5978" cap="flat">
                  <a:noFill/>
                  <a:prstDash val="solid"/>
                  <a:miter/>
                </a:ln>
              </p:spPr>
              <p:txBody>
                <a:bodyPr rtlCol="0" anchor="ctr"/>
                <a:lstStyle/>
                <a:p>
                  <a:endParaRPr lang="en-GB"/>
                </a:p>
              </p:txBody>
            </p:sp>
            <p:sp>
              <p:nvSpPr>
                <p:cNvPr id="4319" name="Vrije vorm: vorm 4318">
                  <a:extLst>
                    <a:ext uri="{FF2B5EF4-FFF2-40B4-BE49-F238E27FC236}">
                      <a16:creationId xmlns:a16="http://schemas.microsoft.com/office/drawing/2014/main" id="{B2695965-D95F-44EC-99F5-D46B4C838376}"/>
                    </a:ext>
                  </a:extLst>
                </p:cNvPr>
                <p:cNvSpPr/>
                <p:nvPr/>
              </p:nvSpPr>
              <p:spPr>
                <a:xfrm>
                  <a:off x="7962954" y="4439628"/>
                  <a:ext cx="18343" cy="18403"/>
                </a:xfrm>
                <a:custGeom>
                  <a:avLst/>
                  <a:gdLst>
                    <a:gd name="connsiteX0" fmla="*/ 4344 w 18343"/>
                    <a:gd name="connsiteY0" fmla="*/ 17007 h 18403"/>
                    <a:gd name="connsiteX1" fmla="*/ 16963 w 18343"/>
                    <a:gd name="connsiteY1" fmla="*/ 14076 h 18403"/>
                    <a:gd name="connsiteX2" fmla="*/ 13973 w 18343"/>
                    <a:gd name="connsiteY2" fmla="*/ 1397 h 18403"/>
                    <a:gd name="connsiteX3" fmla="*/ 1353 w 18343"/>
                    <a:gd name="connsiteY3" fmla="*/ 4328 h 18403"/>
                    <a:gd name="connsiteX4" fmla="*/ 4344 w 18343"/>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4344" y="17007"/>
                      </a:moveTo>
                      <a:cubicBezTo>
                        <a:pt x="8650" y="19698"/>
                        <a:pt x="14272" y="18382"/>
                        <a:pt x="16963" y="14076"/>
                      </a:cubicBezTo>
                      <a:cubicBezTo>
                        <a:pt x="19655" y="9770"/>
                        <a:pt x="18279" y="4088"/>
                        <a:pt x="13973" y="1397"/>
                      </a:cubicBezTo>
                      <a:cubicBezTo>
                        <a:pt x="9667" y="-1294"/>
                        <a:pt x="4045" y="21"/>
                        <a:pt x="1353" y="4328"/>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355" name="Graphic 3">
                <a:extLst>
                  <a:ext uri="{FF2B5EF4-FFF2-40B4-BE49-F238E27FC236}">
                    <a16:creationId xmlns:a16="http://schemas.microsoft.com/office/drawing/2014/main" id="{76675429-29BE-4ADC-A40E-377B32EC849B}"/>
                  </a:ext>
                </a:extLst>
              </p:cNvPr>
              <p:cNvGrpSpPr/>
              <p:nvPr/>
            </p:nvGrpSpPr>
            <p:grpSpPr>
              <a:xfrm>
                <a:off x="7724995" y="4232921"/>
                <a:ext cx="20980" cy="19745"/>
                <a:chOff x="7724995" y="4232921"/>
                <a:chExt cx="20980" cy="19745"/>
              </a:xfrm>
              <a:grpFill/>
            </p:grpSpPr>
            <p:sp>
              <p:nvSpPr>
                <p:cNvPr id="4315" name="Vrije vorm: vorm 4314">
                  <a:extLst>
                    <a:ext uri="{FF2B5EF4-FFF2-40B4-BE49-F238E27FC236}">
                      <a16:creationId xmlns:a16="http://schemas.microsoft.com/office/drawing/2014/main" id="{1DE6BA75-94C4-4EC8-ADE2-0277630885B4}"/>
                    </a:ext>
                  </a:extLst>
                </p:cNvPr>
                <p:cNvSpPr/>
                <p:nvPr/>
              </p:nvSpPr>
              <p:spPr>
                <a:xfrm>
                  <a:off x="7724995" y="4232921"/>
                  <a:ext cx="18349" cy="18418"/>
                </a:xfrm>
                <a:custGeom>
                  <a:avLst/>
                  <a:gdLst>
                    <a:gd name="connsiteX0" fmla="*/ 13182 w 18349"/>
                    <a:gd name="connsiteY0" fmla="*/ 931 h 18418"/>
                    <a:gd name="connsiteX1" fmla="*/ 17428 w 18349"/>
                    <a:gd name="connsiteY1" fmla="*/ 13252 h 18418"/>
                    <a:gd name="connsiteX2" fmla="*/ 5168 w 18349"/>
                    <a:gd name="connsiteY2" fmla="*/ 17498 h 18418"/>
                    <a:gd name="connsiteX3" fmla="*/ 921 w 18349"/>
                    <a:gd name="connsiteY3" fmla="*/ 5178 h 18418"/>
                    <a:gd name="connsiteX4" fmla="*/ 13182 w 18349"/>
                    <a:gd name="connsiteY4" fmla="*/ 93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8">
                      <a:moveTo>
                        <a:pt x="13182" y="931"/>
                      </a:moveTo>
                      <a:cubicBezTo>
                        <a:pt x="17727" y="3144"/>
                        <a:pt x="19641" y="8706"/>
                        <a:pt x="17428" y="13252"/>
                      </a:cubicBezTo>
                      <a:cubicBezTo>
                        <a:pt x="15215" y="17797"/>
                        <a:pt x="9712" y="19711"/>
                        <a:pt x="5168" y="17498"/>
                      </a:cubicBezTo>
                      <a:cubicBezTo>
                        <a:pt x="622" y="15285"/>
                        <a:pt x="-1292" y="9723"/>
                        <a:pt x="921" y="5178"/>
                      </a:cubicBezTo>
                      <a:cubicBezTo>
                        <a:pt x="3134" y="573"/>
                        <a:pt x="8636" y="-1281"/>
                        <a:pt x="13182" y="931"/>
                      </a:cubicBezTo>
                      <a:close/>
                    </a:path>
                  </a:pathLst>
                </a:custGeom>
                <a:grpFill/>
                <a:ln w="5978" cap="flat">
                  <a:noFill/>
                  <a:prstDash val="solid"/>
                  <a:miter/>
                </a:ln>
              </p:spPr>
              <p:txBody>
                <a:bodyPr rtlCol="0" anchor="ctr"/>
                <a:lstStyle/>
                <a:p>
                  <a:endParaRPr lang="en-GB"/>
                </a:p>
              </p:txBody>
            </p:sp>
            <p:sp>
              <p:nvSpPr>
                <p:cNvPr id="4316" name="Vrije vorm: vorm 4315">
                  <a:extLst>
                    <a:ext uri="{FF2B5EF4-FFF2-40B4-BE49-F238E27FC236}">
                      <a16:creationId xmlns:a16="http://schemas.microsoft.com/office/drawing/2014/main" id="{2948C21F-C319-41FC-9241-60DDC46747C6}"/>
                    </a:ext>
                  </a:extLst>
                </p:cNvPr>
                <p:cNvSpPr/>
                <p:nvPr/>
              </p:nvSpPr>
              <p:spPr>
                <a:xfrm>
                  <a:off x="7727627" y="4234237"/>
                  <a:ext cx="18349" cy="18429"/>
                </a:xfrm>
                <a:custGeom>
                  <a:avLst/>
                  <a:gdLst>
                    <a:gd name="connsiteX0" fmla="*/ 13181 w 18349"/>
                    <a:gd name="connsiteY0" fmla="*/ 931 h 18429"/>
                    <a:gd name="connsiteX1" fmla="*/ 921 w 18349"/>
                    <a:gd name="connsiteY1" fmla="*/ 5178 h 18429"/>
                    <a:gd name="connsiteX2" fmla="*/ 5167 w 18349"/>
                    <a:gd name="connsiteY2" fmla="*/ 17498 h 18429"/>
                    <a:gd name="connsiteX3" fmla="*/ 17428 w 18349"/>
                    <a:gd name="connsiteY3" fmla="*/ 13252 h 18429"/>
                    <a:gd name="connsiteX4" fmla="*/ 13181 w 18349"/>
                    <a:gd name="connsiteY4" fmla="*/ 93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9">
                      <a:moveTo>
                        <a:pt x="13181" y="931"/>
                      </a:moveTo>
                      <a:cubicBezTo>
                        <a:pt x="8636" y="-1281"/>
                        <a:pt x="3134" y="573"/>
                        <a:pt x="921" y="5178"/>
                      </a:cubicBezTo>
                      <a:cubicBezTo>
                        <a:pt x="-1292" y="9723"/>
                        <a:pt x="622" y="15285"/>
                        <a:pt x="5167" y="17498"/>
                      </a:cubicBezTo>
                      <a:cubicBezTo>
                        <a:pt x="9713" y="19711"/>
                        <a:pt x="15215" y="17857"/>
                        <a:pt x="17428" y="13252"/>
                      </a:cubicBezTo>
                      <a:cubicBezTo>
                        <a:pt x="19641" y="8647"/>
                        <a:pt x="17727" y="3144"/>
                        <a:pt x="13181" y="931"/>
                      </a:cubicBezTo>
                      <a:close/>
                    </a:path>
                  </a:pathLst>
                </a:custGeom>
                <a:grpFill/>
                <a:ln w="5978" cap="flat">
                  <a:noFill/>
                  <a:prstDash val="solid"/>
                  <a:miter/>
                </a:ln>
              </p:spPr>
              <p:txBody>
                <a:bodyPr rtlCol="0" anchor="ctr"/>
                <a:lstStyle/>
                <a:p>
                  <a:endParaRPr lang="en-GB"/>
                </a:p>
              </p:txBody>
            </p:sp>
          </p:grpSp>
          <p:grpSp>
            <p:nvGrpSpPr>
              <p:cNvPr id="356" name="Graphic 3">
                <a:extLst>
                  <a:ext uri="{FF2B5EF4-FFF2-40B4-BE49-F238E27FC236}">
                    <a16:creationId xmlns:a16="http://schemas.microsoft.com/office/drawing/2014/main" id="{87331232-655A-4B9F-A322-4AEDD8ECEC43}"/>
                  </a:ext>
                </a:extLst>
              </p:cNvPr>
              <p:cNvGrpSpPr/>
              <p:nvPr/>
            </p:nvGrpSpPr>
            <p:grpSpPr>
              <a:xfrm>
                <a:off x="7520435" y="4238490"/>
                <a:ext cx="503962" cy="339102"/>
                <a:chOff x="7520435" y="4238490"/>
                <a:chExt cx="503962" cy="339102"/>
              </a:xfrm>
              <a:grpFill/>
            </p:grpSpPr>
            <p:sp>
              <p:nvSpPr>
                <p:cNvPr id="4312" name="Vrije vorm: vorm 4311">
                  <a:extLst>
                    <a:ext uri="{FF2B5EF4-FFF2-40B4-BE49-F238E27FC236}">
                      <a16:creationId xmlns:a16="http://schemas.microsoft.com/office/drawing/2014/main" id="{8F4D590E-61E6-4B0F-B5E8-06FCA88466BA}"/>
                    </a:ext>
                  </a:extLst>
                </p:cNvPr>
                <p:cNvSpPr/>
                <p:nvPr/>
              </p:nvSpPr>
              <p:spPr>
                <a:xfrm>
                  <a:off x="7528373" y="4246173"/>
                  <a:ext cx="488087" cy="323736"/>
                </a:xfrm>
                <a:custGeom>
                  <a:avLst/>
                  <a:gdLst>
                    <a:gd name="connsiteX0" fmla="*/ 488087 w 488087"/>
                    <a:gd name="connsiteY0" fmla="*/ 321165 h 323736"/>
                    <a:gd name="connsiteX1" fmla="*/ 486413 w 488087"/>
                    <a:gd name="connsiteY1" fmla="*/ 323736 h 323736"/>
                    <a:gd name="connsiteX2" fmla="*/ 0 w 488087"/>
                    <a:gd name="connsiteY2" fmla="*/ 2572 h 323736"/>
                    <a:gd name="connsiteX3" fmla="*/ 1675 w 488087"/>
                    <a:gd name="connsiteY3" fmla="*/ 0 h 323736"/>
                  </a:gdLst>
                  <a:ahLst/>
                  <a:cxnLst>
                    <a:cxn ang="0">
                      <a:pos x="connsiteX0" y="connsiteY0"/>
                    </a:cxn>
                    <a:cxn ang="0">
                      <a:pos x="connsiteX1" y="connsiteY1"/>
                    </a:cxn>
                    <a:cxn ang="0">
                      <a:pos x="connsiteX2" y="connsiteY2"/>
                    </a:cxn>
                    <a:cxn ang="0">
                      <a:pos x="connsiteX3" y="connsiteY3"/>
                    </a:cxn>
                  </a:cxnLst>
                  <a:rect l="l" t="t" r="r" b="b"/>
                  <a:pathLst>
                    <a:path w="488087" h="323736">
                      <a:moveTo>
                        <a:pt x="488087" y="321165"/>
                      </a:moveTo>
                      <a:lnTo>
                        <a:pt x="486413" y="323736"/>
                      </a:lnTo>
                      <a:lnTo>
                        <a:pt x="0" y="2572"/>
                      </a:lnTo>
                      <a:lnTo>
                        <a:pt x="1675" y="0"/>
                      </a:lnTo>
                      <a:close/>
                    </a:path>
                  </a:pathLst>
                </a:custGeom>
                <a:grpFill/>
                <a:ln w="5978" cap="flat">
                  <a:noFill/>
                  <a:prstDash val="solid"/>
                  <a:miter/>
                </a:ln>
              </p:spPr>
              <p:txBody>
                <a:bodyPr rtlCol="0" anchor="ctr"/>
                <a:lstStyle/>
                <a:p>
                  <a:endParaRPr lang="en-GB"/>
                </a:p>
              </p:txBody>
            </p:sp>
            <p:sp>
              <p:nvSpPr>
                <p:cNvPr id="4313" name="Vrije vorm: vorm 4312">
                  <a:extLst>
                    <a:ext uri="{FF2B5EF4-FFF2-40B4-BE49-F238E27FC236}">
                      <a16:creationId xmlns:a16="http://schemas.microsoft.com/office/drawing/2014/main" id="{145DE0D6-DD17-46CA-AB30-C9CCF18639DF}"/>
                    </a:ext>
                  </a:extLst>
                </p:cNvPr>
                <p:cNvSpPr/>
                <p:nvPr/>
              </p:nvSpPr>
              <p:spPr>
                <a:xfrm>
                  <a:off x="7520435" y="4238490"/>
                  <a:ext cx="18327" cy="18416"/>
                </a:xfrm>
                <a:custGeom>
                  <a:avLst/>
                  <a:gdLst>
                    <a:gd name="connsiteX0" fmla="*/ 4169 w 18327"/>
                    <a:gd name="connsiteY0" fmla="*/ 16893 h 18416"/>
                    <a:gd name="connsiteX1" fmla="*/ 1478 w 18327"/>
                    <a:gd name="connsiteY1" fmla="*/ 4154 h 18416"/>
                    <a:gd name="connsiteX2" fmla="*/ 14158 w 18327"/>
                    <a:gd name="connsiteY2" fmla="*/ 1523 h 18416"/>
                    <a:gd name="connsiteX3" fmla="*/ 16849 w 18327"/>
                    <a:gd name="connsiteY3" fmla="*/ 14262 h 18416"/>
                    <a:gd name="connsiteX4" fmla="*/ 4169 w 18327"/>
                    <a:gd name="connsiteY4" fmla="*/ 1689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4169" y="16893"/>
                      </a:moveTo>
                      <a:cubicBezTo>
                        <a:pt x="-77" y="14083"/>
                        <a:pt x="-1272" y="8401"/>
                        <a:pt x="1478" y="4154"/>
                      </a:cubicBezTo>
                      <a:cubicBezTo>
                        <a:pt x="4229" y="-92"/>
                        <a:pt x="9911" y="-1288"/>
                        <a:pt x="14158" y="1523"/>
                      </a:cubicBezTo>
                      <a:cubicBezTo>
                        <a:pt x="18404" y="4334"/>
                        <a:pt x="19600" y="10015"/>
                        <a:pt x="16849" y="14262"/>
                      </a:cubicBezTo>
                      <a:cubicBezTo>
                        <a:pt x="14038" y="18508"/>
                        <a:pt x="8356" y="19705"/>
                        <a:pt x="4169" y="16893"/>
                      </a:cubicBezTo>
                      <a:close/>
                    </a:path>
                  </a:pathLst>
                </a:custGeom>
                <a:grpFill/>
                <a:ln w="5978" cap="flat">
                  <a:noFill/>
                  <a:prstDash val="solid"/>
                  <a:miter/>
                </a:ln>
              </p:spPr>
              <p:txBody>
                <a:bodyPr rtlCol="0" anchor="ctr"/>
                <a:lstStyle/>
                <a:p>
                  <a:endParaRPr lang="en-GB"/>
                </a:p>
              </p:txBody>
            </p:sp>
            <p:sp>
              <p:nvSpPr>
                <p:cNvPr id="4314" name="Vrije vorm: vorm 4313">
                  <a:extLst>
                    <a:ext uri="{FF2B5EF4-FFF2-40B4-BE49-F238E27FC236}">
                      <a16:creationId xmlns:a16="http://schemas.microsoft.com/office/drawing/2014/main" id="{F0D097A9-2CE8-48BF-A81D-83055DA9B515}"/>
                    </a:ext>
                  </a:extLst>
                </p:cNvPr>
                <p:cNvSpPr/>
                <p:nvPr/>
              </p:nvSpPr>
              <p:spPr>
                <a:xfrm>
                  <a:off x="8006070" y="4559176"/>
                  <a:ext cx="18327" cy="18416"/>
                </a:xfrm>
                <a:custGeom>
                  <a:avLst/>
                  <a:gdLst>
                    <a:gd name="connsiteX0" fmla="*/ 4170 w 18327"/>
                    <a:gd name="connsiteY0" fmla="*/ 16893 h 18416"/>
                    <a:gd name="connsiteX1" fmla="*/ 16849 w 18327"/>
                    <a:gd name="connsiteY1" fmla="*/ 14262 h 18416"/>
                    <a:gd name="connsiteX2" fmla="*/ 14158 w 18327"/>
                    <a:gd name="connsiteY2" fmla="*/ 1523 h 18416"/>
                    <a:gd name="connsiteX3" fmla="*/ 1478 w 18327"/>
                    <a:gd name="connsiteY3" fmla="*/ 4154 h 18416"/>
                    <a:gd name="connsiteX4" fmla="*/ 4170 w 18327"/>
                    <a:gd name="connsiteY4" fmla="*/ 1689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4170" y="16893"/>
                      </a:moveTo>
                      <a:cubicBezTo>
                        <a:pt x="8416" y="19705"/>
                        <a:pt x="14098" y="18508"/>
                        <a:pt x="16849" y="14262"/>
                      </a:cubicBezTo>
                      <a:cubicBezTo>
                        <a:pt x="19600" y="10016"/>
                        <a:pt x="18404" y="4274"/>
                        <a:pt x="14158" y="1523"/>
                      </a:cubicBezTo>
                      <a:cubicBezTo>
                        <a:pt x="9911" y="-1288"/>
                        <a:pt x="4230" y="-92"/>
                        <a:pt x="1478" y="4154"/>
                      </a:cubicBezTo>
                      <a:cubicBezTo>
                        <a:pt x="-1273" y="8341"/>
                        <a:pt x="-76" y="14083"/>
                        <a:pt x="4170" y="16893"/>
                      </a:cubicBezTo>
                      <a:close/>
                    </a:path>
                  </a:pathLst>
                </a:custGeom>
                <a:grpFill/>
                <a:ln w="5978" cap="flat">
                  <a:noFill/>
                  <a:prstDash val="solid"/>
                  <a:miter/>
                </a:ln>
              </p:spPr>
              <p:txBody>
                <a:bodyPr rtlCol="0" anchor="ctr"/>
                <a:lstStyle/>
                <a:p>
                  <a:endParaRPr lang="en-GB"/>
                </a:p>
              </p:txBody>
            </p:sp>
          </p:grpSp>
          <p:grpSp>
            <p:nvGrpSpPr>
              <p:cNvPr id="357" name="Graphic 3">
                <a:extLst>
                  <a:ext uri="{FF2B5EF4-FFF2-40B4-BE49-F238E27FC236}">
                    <a16:creationId xmlns:a16="http://schemas.microsoft.com/office/drawing/2014/main" id="{6463F777-1F0B-4CE7-9914-4432BE6444EF}"/>
                  </a:ext>
                </a:extLst>
              </p:cNvPr>
              <p:cNvGrpSpPr/>
              <p:nvPr/>
            </p:nvGrpSpPr>
            <p:grpSpPr>
              <a:xfrm>
                <a:off x="6895369" y="1827430"/>
                <a:ext cx="93700" cy="147165"/>
                <a:chOff x="6895369" y="1827430"/>
                <a:chExt cx="93700" cy="147165"/>
              </a:xfrm>
              <a:grpFill/>
            </p:grpSpPr>
            <p:sp>
              <p:nvSpPr>
                <p:cNvPr id="4309" name="Vrije vorm: vorm 4308">
                  <a:extLst>
                    <a:ext uri="{FF2B5EF4-FFF2-40B4-BE49-F238E27FC236}">
                      <a16:creationId xmlns:a16="http://schemas.microsoft.com/office/drawing/2014/main" id="{0BDEC9C8-9612-4DF9-8BF9-6088E83A22C8}"/>
                    </a:ext>
                  </a:extLst>
                </p:cNvPr>
                <p:cNvSpPr/>
                <p:nvPr/>
              </p:nvSpPr>
              <p:spPr>
                <a:xfrm>
                  <a:off x="6903029" y="1835464"/>
                  <a:ext cx="78407" cy="131157"/>
                </a:xfrm>
                <a:custGeom>
                  <a:avLst/>
                  <a:gdLst>
                    <a:gd name="connsiteX0" fmla="*/ 78407 w 78407"/>
                    <a:gd name="connsiteY0" fmla="*/ 1555 h 131157"/>
                    <a:gd name="connsiteX1" fmla="*/ 2571 w 78407"/>
                    <a:gd name="connsiteY1" fmla="*/ 131157 h 131157"/>
                    <a:gd name="connsiteX2" fmla="*/ 0 w 78407"/>
                    <a:gd name="connsiteY2" fmla="*/ 129542 h 131157"/>
                    <a:gd name="connsiteX3" fmla="*/ 75776 w 78407"/>
                    <a:gd name="connsiteY3" fmla="*/ 0 h 131157"/>
                  </a:gdLst>
                  <a:ahLst/>
                  <a:cxnLst>
                    <a:cxn ang="0">
                      <a:pos x="connsiteX0" y="connsiteY0"/>
                    </a:cxn>
                    <a:cxn ang="0">
                      <a:pos x="connsiteX1" y="connsiteY1"/>
                    </a:cxn>
                    <a:cxn ang="0">
                      <a:pos x="connsiteX2" y="connsiteY2"/>
                    </a:cxn>
                    <a:cxn ang="0">
                      <a:pos x="connsiteX3" y="connsiteY3"/>
                    </a:cxn>
                  </a:cxnLst>
                  <a:rect l="l" t="t" r="r" b="b"/>
                  <a:pathLst>
                    <a:path w="78407" h="131157">
                      <a:moveTo>
                        <a:pt x="78407" y="1555"/>
                      </a:moveTo>
                      <a:lnTo>
                        <a:pt x="2571" y="131157"/>
                      </a:lnTo>
                      <a:lnTo>
                        <a:pt x="0" y="129542"/>
                      </a:lnTo>
                      <a:lnTo>
                        <a:pt x="75776" y="0"/>
                      </a:lnTo>
                      <a:close/>
                    </a:path>
                  </a:pathLst>
                </a:custGeom>
                <a:grpFill/>
                <a:ln w="5978" cap="flat">
                  <a:noFill/>
                  <a:prstDash val="solid"/>
                  <a:miter/>
                </a:ln>
              </p:spPr>
              <p:txBody>
                <a:bodyPr rtlCol="0" anchor="ctr"/>
                <a:lstStyle/>
                <a:p>
                  <a:endParaRPr lang="en-GB"/>
                </a:p>
              </p:txBody>
            </p:sp>
            <p:sp>
              <p:nvSpPr>
                <p:cNvPr id="4310" name="Vrije vorm: vorm 4309">
                  <a:extLst>
                    <a:ext uri="{FF2B5EF4-FFF2-40B4-BE49-F238E27FC236}">
                      <a16:creationId xmlns:a16="http://schemas.microsoft.com/office/drawing/2014/main" id="{A68E3576-9ADF-4CBB-86DE-378499A52CCD}"/>
                    </a:ext>
                  </a:extLst>
                </p:cNvPr>
                <p:cNvSpPr/>
                <p:nvPr/>
              </p:nvSpPr>
              <p:spPr>
                <a:xfrm>
                  <a:off x="6970726" y="1827430"/>
                  <a:ext cx="18342" cy="18400"/>
                </a:xfrm>
                <a:custGeom>
                  <a:avLst/>
                  <a:gdLst>
                    <a:gd name="connsiteX0" fmla="*/ 1261 w 18342"/>
                    <a:gd name="connsiteY0" fmla="*/ 4506 h 18400"/>
                    <a:gd name="connsiteX1" fmla="*/ 13820 w 18342"/>
                    <a:gd name="connsiteY1" fmla="*/ 1276 h 18400"/>
                    <a:gd name="connsiteX2" fmla="*/ 17109 w 18342"/>
                    <a:gd name="connsiteY2" fmla="*/ 13895 h 18400"/>
                    <a:gd name="connsiteX3" fmla="*/ 4550 w 18342"/>
                    <a:gd name="connsiteY3" fmla="*/ 17125 h 18400"/>
                    <a:gd name="connsiteX4" fmla="*/ 1261 w 18342"/>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0">
                      <a:moveTo>
                        <a:pt x="1261" y="4506"/>
                      </a:moveTo>
                      <a:cubicBezTo>
                        <a:pt x="3832" y="140"/>
                        <a:pt x="9454" y="-1296"/>
                        <a:pt x="13820" y="1276"/>
                      </a:cubicBezTo>
                      <a:cubicBezTo>
                        <a:pt x="18186" y="3848"/>
                        <a:pt x="19621" y="9529"/>
                        <a:pt x="17109" y="13895"/>
                      </a:cubicBezTo>
                      <a:cubicBezTo>
                        <a:pt x="14538" y="18261"/>
                        <a:pt x="8915" y="19697"/>
                        <a:pt x="4550" y="17125"/>
                      </a:cubicBezTo>
                      <a:cubicBezTo>
                        <a:pt x="184" y="14553"/>
                        <a:pt x="-1311" y="8871"/>
                        <a:pt x="1261" y="4506"/>
                      </a:cubicBezTo>
                      <a:close/>
                    </a:path>
                  </a:pathLst>
                </a:custGeom>
                <a:grpFill/>
                <a:ln w="5978" cap="flat">
                  <a:noFill/>
                  <a:prstDash val="solid"/>
                  <a:miter/>
                </a:ln>
              </p:spPr>
              <p:txBody>
                <a:bodyPr rtlCol="0" anchor="ctr"/>
                <a:lstStyle/>
                <a:p>
                  <a:endParaRPr lang="en-GB"/>
                </a:p>
              </p:txBody>
            </p:sp>
            <p:sp>
              <p:nvSpPr>
                <p:cNvPr id="4311" name="Vrije vorm: vorm 4310">
                  <a:extLst>
                    <a:ext uri="{FF2B5EF4-FFF2-40B4-BE49-F238E27FC236}">
                      <a16:creationId xmlns:a16="http://schemas.microsoft.com/office/drawing/2014/main" id="{A7B6313B-9AA8-42C7-868B-35DE3596892F}"/>
                    </a:ext>
                  </a:extLst>
                </p:cNvPr>
                <p:cNvSpPr/>
                <p:nvPr/>
              </p:nvSpPr>
              <p:spPr>
                <a:xfrm>
                  <a:off x="6895369" y="1956194"/>
                  <a:ext cx="18369" cy="18400"/>
                </a:xfrm>
                <a:custGeom>
                  <a:avLst/>
                  <a:gdLst>
                    <a:gd name="connsiteX0" fmla="*/ 1260 w 18369"/>
                    <a:gd name="connsiteY0" fmla="*/ 4506 h 18400"/>
                    <a:gd name="connsiteX1" fmla="*/ 4550 w 18369"/>
                    <a:gd name="connsiteY1" fmla="*/ 17125 h 18400"/>
                    <a:gd name="connsiteX2" fmla="*/ 17109 w 18369"/>
                    <a:gd name="connsiteY2" fmla="*/ 13895 h 18400"/>
                    <a:gd name="connsiteX3" fmla="*/ 13820 w 18369"/>
                    <a:gd name="connsiteY3" fmla="*/ 1276 h 18400"/>
                    <a:gd name="connsiteX4" fmla="*/ 1260 w 18369"/>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260" y="4506"/>
                      </a:moveTo>
                      <a:cubicBezTo>
                        <a:pt x="-1311" y="8871"/>
                        <a:pt x="184" y="14553"/>
                        <a:pt x="4550" y="17125"/>
                      </a:cubicBezTo>
                      <a:cubicBezTo>
                        <a:pt x="8916" y="19697"/>
                        <a:pt x="14538" y="18261"/>
                        <a:pt x="17109" y="13895"/>
                      </a:cubicBezTo>
                      <a:cubicBezTo>
                        <a:pt x="19681" y="9529"/>
                        <a:pt x="18186" y="3848"/>
                        <a:pt x="13820" y="1276"/>
                      </a:cubicBezTo>
                      <a:cubicBezTo>
                        <a:pt x="9454" y="-1296"/>
                        <a:pt x="3832" y="140"/>
                        <a:pt x="1260" y="4506"/>
                      </a:cubicBezTo>
                      <a:close/>
                    </a:path>
                  </a:pathLst>
                </a:custGeom>
                <a:grpFill/>
                <a:ln w="5978" cap="flat">
                  <a:noFill/>
                  <a:prstDash val="solid"/>
                  <a:miter/>
                </a:ln>
              </p:spPr>
              <p:txBody>
                <a:bodyPr rtlCol="0" anchor="ctr"/>
                <a:lstStyle/>
                <a:p>
                  <a:endParaRPr lang="en-GB"/>
                </a:p>
              </p:txBody>
            </p:sp>
          </p:grpSp>
          <p:grpSp>
            <p:nvGrpSpPr>
              <p:cNvPr id="358" name="Graphic 3">
                <a:extLst>
                  <a:ext uri="{FF2B5EF4-FFF2-40B4-BE49-F238E27FC236}">
                    <a16:creationId xmlns:a16="http://schemas.microsoft.com/office/drawing/2014/main" id="{581DCC4A-3228-4B1A-B2AE-F8E7F14D9939}"/>
                  </a:ext>
                </a:extLst>
              </p:cNvPr>
              <p:cNvGrpSpPr/>
              <p:nvPr/>
            </p:nvGrpSpPr>
            <p:grpSpPr>
              <a:xfrm>
                <a:off x="7917303" y="4864859"/>
                <a:ext cx="70181" cy="58828"/>
                <a:chOff x="7917303" y="4864859"/>
                <a:chExt cx="70181" cy="58828"/>
              </a:xfrm>
              <a:grpFill/>
            </p:grpSpPr>
            <p:sp>
              <p:nvSpPr>
                <p:cNvPr id="4306" name="Vrije vorm: vorm 4305">
                  <a:extLst>
                    <a:ext uri="{FF2B5EF4-FFF2-40B4-BE49-F238E27FC236}">
                      <a16:creationId xmlns:a16="http://schemas.microsoft.com/office/drawing/2014/main" id="{5DE8AF71-C6E1-4F7D-A028-1C57AC974232}"/>
                    </a:ext>
                  </a:extLst>
                </p:cNvPr>
                <p:cNvSpPr/>
                <p:nvPr/>
              </p:nvSpPr>
              <p:spPr>
                <a:xfrm>
                  <a:off x="7925134" y="4872594"/>
                  <a:ext cx="54484" cy="43360"/>
                </a:xfrm>
                <a:custGeom>
                  <a:avLst/>
                  <a:gdLst>
                    <a:gd name="connsiteX0" fmla="*/ 54484 w 54484"/>
                    <a:gd name="connsiteY0" fmla="*/ 40968 h 43360"/>
                    <a:gd name="connsiteX1" fmla="*/ 52630 w 54484"/>
                    <a:gd name="connsiteY1" fmla="*/ 43360 h 43360"/>
                    <a:gd name="connsiteX2" fmla="*/ 0 w 54484"/>
                    <a:gd name="connsiteY2" fmla="*/ 2452 h 43360"/>
                    <a:gd name="connsiteX3" fmla="*/ 1854 w 54484"/>
                    <a:gd name="connsiteY3" fmla="*/ 0 h 43360"/>
                  </a:gdLst>
                  <a:ahLst/>
                  <a:cxnLst>
                    <a:cxn ang="0">
                      <a:pos x="connsiteX0" y="connsiteY0"/>
                    </a:cxn>
                    <a:cxn ang="0">
                      <a:pos x="connsiteX1" y="connsiteY1"/>
                    </a:cxn>
                    <a:cxn ang="0">
                      <a:pos x="connsiteX2" y="connsiteY2"/>
                    </a:cxn>
                    <a:cxn ang="0">
                      <a:pos x="connsiteX3" y="connsiteY3"/>
                    </a:cxn>
                  </a:cxnLst>
                  <a:rect l="l" t="t" r="r" b="b"/>
                  <a:pathLst>
                    <a:path w="54484" h="43360">
                      <a:moveTo>
                        <a:pt x="54484" y="40968"/>
                      </a:moveTo>
                      <a:lnTo>
                        <a:pt x="52630" y="43360"/>
                      </a:lnTo>
                      <a:lnTo>
                        <a:pt x="0" y="2452"/>
                      </a:lnTo>
                      <a:lnTo>
                        <a:pt x="1854" y="0"/>
                      </a:lnTo>
                      <a:close/>
                    </a:path>
                  </a:pathLst>
                </a:custGeom>
                <a:grpFill/>
                <a:ln w="5978" cap="flat">
                  <a:noFill/>
                  <a:prstDash val="solid"/>
                  <a:miter/>
                </a:ln>
              </p:spPr>
              <p:txBody>
                <a:bodyPr rtlCol="0" anchor="ctr"/>
                <a:lstStyle/>
                <a:p>
                  <a:endParaRPr lang="en-GB"/>
                </a:p>
              </p:txBody>
            </p:sp>
            <p:sp>
              <p:nvSpPr>
                <p:cNvPr id="4307" name="Vrije vorm: vorm 4306">
                  <a:extLst>
                    <a:ext uri="{FF2B5EF4-FFF2-40B4-BE49-F238E27FC236}">
                      <a16:creationId xmlns:a16="http://schemas.microsoft.com/office/drawing/2014/main" id="{39B7223F-8C49-4786-A58D-13BBD2EE9A68}"/>
                    </a:ext>
                  </a:extLst>
                </p:cNvPr>
                <p:cNvSpPr/>
                <p:nvPr/>
              </p:nvSpPr>
              <p:spPr>
                <a:xfrm>
                  <a:off x="7969155" y="4905264"/>
                  <a:ext cx="18328" cy="18424"/>
                </a:xfrm>
                <a:custGeom>
                  <a:avLst/>
                  <a:gdLst>
                    <a:gd name="connsiteX0" fmla="*/ 14769 w 18328"/>
                    <a:gd name="connsiteY0" fmla="*/ 1958 h 18424"/>
                    <a:gd name="connsiteX1" fmla="*/ 16444 w 18328"/>
                    <a:gd name="connsiteY1" fmla="*/ 14877 h 18424"/>
                    <a:gd name="connsiteX2" fmla="*/ 3585 w 18328"/>
                    <a:gd name="connsiteY2" fmla="*/ 16491 h 18424"/>
                    <a:gd name="connsiteX3" fmla="*/ 1910 w 18328"/>
                    <a:gd name="connsiteY3" fmla="*/ 3573 h 18424"/>
                    <a:gd name="connsiteX4" fmla="*/ 14769 w 18328"/>
                    <a:gd name="connsiteY4" fmla="*/ 1958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24">
                      <a:moveTo>
                        <a:pt x="14769" y="1958"/>
                      </a:moveTo>
                      <a:cubicBezTo>
                        <a:pt x="18776" y="5068"/>
                        <a:pt x="19494" y="10869"/>
                        <a:pt x="16444" y="14877"/>
                      </a:cubicBezTo>
                      <a:cubicBezTo>
                        <a:pt x="13334" y="18884"/>
                        <a:pt x="7593" y="19601"/>
                        <a:pt x="3585" y="16491"/>
                      </a:cubicBezTo>
                      <a:cubicBezTo>
                        <a:pt x="-422" y="13382"/>
                        <a:pt x="-1200" y="7580"/>
                        <a:pt x="1910" y="3573"/>
                      </a:cubicBezTo>
                      <a:cubicBezTo>
                        <a:pt x="4961" y="-434"/>
                        <a:pt x="10762" y="-1211"/>
                        <a:pt x="14769" y="1958"/>
                      </a:cubicBezTo>
                      <a:close/>
                    </a:path>
                  </a:pathLst>
                </a:custGeom>
                <a:grpFill/>
                <a:ln w="5978" cap="flat">
                  <a:noFill/>
                  <a:prstDash val="solid"/>
                  <a:miter/>
                </a:ln>
              </p:spPr>
              <p:txBody>
                <a:bodyPr rtlCol="0" anchor="ctr"/>
                <a:lstStyle/>
                <a:p>
                  <a:endParaRPr lang="en-GB"/>
                </a:p>
              </p:txBody>
            </p:sp>
            <p:sp>
              <p:nvSpPr>
                <p:cNvPr id="4308" name="Vrije vorm: vorm 4307">
                  <a:extLst>
                    <a:ext uri="{FF2B5EF4-FFF2-40B4-BE49-F238E27FC236}">
                      <a16:creationId xmlns:a16="http://schemas.microsoft.com/office/drawing/2014/main" id="{56D53DE7-EF56-4F29-9B0A-2474511284B8}"/>
                    </a:ext>
                  </a:extLst>
                </p:cNvPr>
                <p:cNvSpPr/>
                <p:nvPr/>
              </p:nvSpPr>
              <p:spPr>
                <a:xfrm>
                  <a:off x="7917303" y="4864859"/>
                  <a:ext cx="18328" cy="18398"/>
                </a:xfrm>
                <a:custGeom>
                  <a:avLst/>
                  <a:gdLst>
                    <a:gd name="connsiteX0" fmla="*/ 14768 w 18328"/>
                    <a:gd name="connsiteY0" fmla="*/ 1933 h 18398"/>
                    <a:gd name="connsiteX1" fmla="*/ 1911 w 18328"/>
                    <a:gd name="connsiteY1" fmla="*/ 3548 h 18398"/>
                    <a:gd name="connsiteX2" fmla="*/ 3585 w 18328"/>
                    <a:gd name="connsiteY2" fmla="*/ 16466 h 18398"/>
                    <a:gd name="connsiteX3" fmla="*/ 16443 w 18328"/>
                    <a:gd name="connsiteY3" fmla="*/ 14851 h 18398"/>
                    <a:gd name="connsiteX4" fmla="*/ 14768 w 1832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8">
                      <a:moveTo>
                        <a:pt x="14768" y="1933"/>
                      </a:moveTo>
                      <a:cubicBezTo>
                        <a:pt x="10762" y="-1177"/>
                        <a:pt x="5020" y="-459"/>
                        <a:pt x="1911" y="3548"/>
                      </a:cubicBezTo>
                      <a:cubicBezTo>
                        <a:pt x="-1200" y="7555"/>
                        <a:pt x="-422" y="13356"/>
                        <a:pt x="3585" y="16466"/>
                      </a:cubicBezTo>
                      <a:cubicBezTo>
                        <a:pt x="7592" y="19576"/>
                        <a:pt x="13333" y="18858"/>
                        <a:pt x="16443" y="14851"/>
                      </a:cubicBezTo>
                      <a:cubicBezTo>
                        <a:pt x="19493" y="10844"/>
                        <a:pt x="18776" y="5103"/>
                        <a:pt x="14768" y="1933"/>
                      </a:cubicBezTo>
                      <a:close/>
                    </a:path>
                  </a:pathLst>
                </a:custGeom>
                <a:grpFill/>
                <a:ln w="5978" cap="flat">
                  <a:noFill/>
                  <a:prstDash val="solid"/>
                  <a:miter/>
                </a:ln>
              </p:spPr>
              <p:txBody>
                <a:bodyPr rtlCol="0" anchor="ctr"/>
                <a:lstStyle/>
                <a:p>
                  <a:endParaRPr lang="en-GB"/>
                </a:p>
              </p:txBody>
            </p:sp>
          </p:grpSp>
          <p:grpSp>
            <p:nvGrpSpPr>
              <p:cNvPr id="359" name="Graphic 3">
                <a:extLst>
                  <a:ext uri="{FF2B5EF4-FFF2-40B4-BE49-F238E27FC236}">
                    <a16:creationId xmlns:a16="http://schemas.microsoft.com/office/drawing/2014/main" id="{08961F58-C219-4BDD-8177-9F235F85ADAD}"/>
                  </a:ext>
                </a:extLst>
              </p:cNvPr>
              <p:cNvGrpSpPr/>
              <p:nvPr/>
            </p:nvGrpSpPr>
            <p:grpSpPr>
              <a:xfrm>
                <a:off x="7719479" y="4477006"/>
                <a:ext cx="215023" cy="144180"/>
                <a:chOff x="7719479" y="4477006"/>
                <a:chExt cx="215023" cy="144180"/>
              </a:xfrm>
              <a:grpFill/>
            </p:grpSpPr>
            <p:sp>
              <p:nvSpPr>
                <p:cNvPr id="4303" name="Vrije vorm: vorm 4302">
                  <a:extLst>
                    <a:ext uri="{FF2B5EF4-FFF2-40B4-BE49-F238E27FC236}">
                      <a16:creationId xmlns:a16="http://schemas.microsoft.com/office/drawing/2014/main" id="{D4DF3F02-2EF3-4EF0-A440-46F1281E7CE5}"/>
                    </a:ext>
                  </a:extLst>
                </p:cNvPr>
                <p:cNvSpPr/>
                <p:nvPr/>
              </p:nvSpPr>
              <p:spPr>
                <a:xfrm>
                  <a:off x="7727411" y="4484684"/>
                  <a:ext cx="199158" cy="128764"/>
                </a:xfrm>
                <a:custGeom>
                  <a:avLst/>
                  <a:gdLst>
                    <a:gd name="connsiteX0" fmla="*/ 199158 w 199158"/>
                    <a:gd name="connsiteY0" fmla="*/ 126193 h 128764"/>
                    <a:gd name="connsiteX1" fmla="*/ 197484 w 199158"/>
                    <a:gd name="connsiteY1" fmla="*/ 128765 h 128764"/>
                    <a:gd name="connsiteX2" fmla="*/ 0 w 199158"/>
                    <a:gd name="connsiteY2" fmla="*/ 2572 h 128764"/>
                    <a:gd name="connsiteX3" fmla="*/ 1615 w 199158"/>
                    <a:gd name="connsiteY3" fmla="*/ 0 h 128764"/>
                  </a:gdLst>
                  <a:ahLst/>
                  <a:cxnLst>
                    <a:cxn ang="0">
                      <a:pos x="connsiteX0" y="connsiteY0"/>
                    </a:cxn>
                    <a:cxn ang="0">
                      <a:pos x="connsiteX1" y="connsiteY1"/>
                    </a:cxn>
                    <a:cxn ang="0">
                      <a:pos x="connsiteX2" y="connsiteY2"/>
                    </a:cxn>
                    <a:cxn ang="0">
                      <a:pos x="connsiteX3" y="connsiteY3"/>
                    </a:cxn>
                  </a:cxnLst>
                  <a:rect l="l" t="t" r="r" b="b"/>
                  <a:pathLst>
                    <a:path w="199158" h="128764">
                      <a:moveTo>
                        <a:pt x="199158" y="126193"/>
                      </a:moveTo>
                      <a:lnTo>
                        <a:pt x="197484" y="128765"/>
                      </a:lnTo>
                      <a:lnTo>
                        <a:pt x="0" y="2572"/>
                      </a:lnTo>
                      <a:lnTo>
                        <a:pt x="1615" y="0"/>
                      </a:lnTo>
                      <a:close/>
                    </a:path>
                  </a:pathLst>
                </a:custGeom>
                <a:grpFill/>
                <a:ln w="5978" cap="flat">
                  <a:noFill/>
                  <a:prstDash val="solid"/>
                  <a:miter/>
                </a:ln>
              </p:spPr>
              <p:txBody>
                <a:bodyPr rtlCol="0" anchor="ctr"/>
                <a:lstStyle/>
                <a:p>
                  <a:endParaRPr lang="en-GB"/>
                </a:p>
              </p:txBody>
            </p:sp>
            <p:sp>
              <p:nvSpPr>
                <p:cNvPr id="4304" name="Vrije vorm: vorm 4303">
                  <a:extLst>
                    <a:ext uri="{FF2B5EF4-FFF2-40B4-BE49-F238E27FC236}">
                      <a16:creationId xmlns:a16="http://schemas.microsoft.com/office/drawing/2014/main" id="{D6C2E967-7327-4D63-835D-77C55D7893FA}"/>
                    </a:ext>
                  </a:extLst>
                </p:cNvPr>
                <p:cNvSpPr/>
                <p:nvPr/>
              </p:nvSpPr>
              <p:spPr>
                <a:xfrm>
                  <a:off x="7916199" y="4602721"/>
                  <a:ext cx="18303" cy="18465"/>
                </a:xfrm>
                <a:custGeom>
                  <a:avLst/>
                  <a:gdLst>
                    <a:gd name="connsiteX0" fmla="*/ 14019 w 18303"/>
                    <a:gd name="connsiteY0" fmla="*/ 1458 h 18465"/>
                    <a:gd name="connsiteX1" fmla="*/ 16890 w 18303"/>
                    <a:gd name="connsiteY1" fmla="*/ 14197 h 18465"/>
                    <a:gd name="connsiteX2" fmla="*/ 4270 w 18303"/>
                    <a:gd name="connsiteY2" fmla="*/ 17008 h 18465"/>
                    <a:gd name="connsiteX3" fmla="*/ 1400 w 18303"/>
                    <a:gd name="connsiteY3" fmla="*/ 4269 h 18465"/>
                    <a:gd name="connsiteX4" fmla="*/ 14019 w 18303"/>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19" y="1458"/>
                      </a:moveTo>
                      <a:cubicBezTo>
                        <a:pt x="18325" y="4209"/>
                        <a:pt x="19581" y="9891"/>
                        <a:pt x="16890" y="14197"/>
                      </a:cubicBezTo>
                      <a:cubicBezTo>
                        <a:pt x="14199" y="18503"/>
                        <a:pt x="8516" y="19759"/>
                        <a:pt x="4270" y="17008"/>
                      </a:cubicBezTo>
                      <a:cubicBezTo>
                        <a:pt x="24" y="14257"/>
                        <a:pt x="-1292" y="8575"/>
                        <a:pt x="1400" y="4269"/>
                      </a:cubicBezTo>
                      <a:cubicBezTo>
                        <a:pt x="4091" y="-37"/>
                        <a:pt x="9773" y="-1293"/>
                        <a:pt x="14019" y="1458"/>
                      </a:cubicBezTo>
                      <a:close/>
                    </a:path>
                  </a:pathLst>
                </a:custGeom>
                <a:grpFill/>
                <a:ln w="5978" cap="flat">
                  <a:noFill/>
                  <a:prstDash val="solid"/>
                  <a:miter/>
                </a:ln>
              </p:spPr>
              <p:txBody>
                <a:bodyPr rtlCol="0" anchor="ctr"/>
                <a:lstStyle/>
                <a:p>
                  <a:endParaRPr lang="en-GB"/>
                </a:p>
              </p:txBody>
            </p:sp>
            <p:sp>
              <p:nvSpPr>
                <p:cNvPr id="4305" name="Vrije vorm: vorm 4304">
                  <a:extLst>
                    <a:ext uri="{FF2B5EF4-FFF2-40B4-BE49-F238E27FC236}">
                      <a16:creationId xmlns:a16="http://schemas.microsoft.com/office/drawing/2014/main" id="{2416ACC7-6119-4DF1-9C21-021A5309ACD4}"/>
                    </a:ext>
                  </a:extLst>
                </p:cNvPr>
                <p:cNvSpPr/>
                <p:nvPr/>
              </p:nvSpPr>
              <p:spPr>
                <a:xfrm>
                  <a:off x="7719479" y="4477006"/>
                  <a:ext cx="18303" cy="18465"/>
                </a:xfrm>
                <a:custGeom>
                  <a:avLst/>
                  <a:gdLst>
                    <a:gd name="connsiteX0" fmla="*/ 14033 w 18303"/>
                    <a:gd name="connsiteY0" fmla="*/ 1458 h 18465"/>
                    <a:gd name="connsiteX1" fmla="*/ 1414 w 18303"/>
                    <a:gd name="connsiteY1" fmla="*/ 4269 h 18465"/>
                    <a:gd name="connsiteX2" fmla="*/ 4285 w 18303"/>
                    <a:gd name="connsiteY2" fmla="*/ 17008 h 18465"/>
                    <a:gd name="connsiteX3" fmla="*/ 16904 w 18303"/>
                    <a:gd name="connsiteY3" fmla="*/ 14197 h 18465"/>
                    <a:gd name="connsiteX4" fmla="*/ 14033 w 18303"/>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33" y="1458"/>
                      </a:moveTo>
                      <a:cubicBezTo>
                        <a:pt x="9727" y="-1293"/>
                        <a:pt x="4105" y="-37"/>
                        <a:pt x="1414" y="4269"/>
                      </a:cubicBezTo>
                      <a:cubicBezTo>
                        <a:pt x="-1277" y="8575"/>
                        <a:pt x="-21" y="14257"/>
                        <a:pt x="4285" y="17008"/>
                      </a:cubicBezTo>
                      <a:cubicBezTo>
                        <a:pt x="8590" y="19759"/>
                        <a:pt x="14213" y="18503"/>
                        <a:pt x="16904" y="14197"/>
                      </a:cubicBezTo>
                      <a:cubicBezTo>
                        <a:pt x="19596" y="9891"/>
                        <a:pt x="18279" y="4209"/>
                        <a:pt x="14033" y="1458"/>
                      </a:cubicBezTo>
                      <a:close/>
                    </a:path>
                  </a:pathLst>
                </a:custGeom>
                <a:grpFill/>
                <a:ln w="5978" cap="flat">
                  <a:noFill/>
                  <a:prstDash val="solid"/>
                  <a:miter/>
                </a:ln>
              </p:spPr>
              <p:txBody>
                <a:bodyPr rtlCol="0" anchor="ctr"/>
                <a:lstStyle/>
                <a:p>
                  <a:endParaRPr lang="en-GB"/>
                </a:p>
              </p:txBody>
            </p:sp>
          </p:grpSp>
          <p:grpSp>
            <p:nvGrpSpPr>
              <p:cNvPr id="360" name="Graphic 3">
                <a:extLst>
                  <a:ext uri="{FF2B5EF4-FFF2-40B4-BE49-F238E27FC236}">
                    <a16:creationId xmlns:a16="http://schemas.microsoft.com/office/drawing/2014/main" id="{B8766639-8C4E-4C2D-A9F7-2395B8D7F73B}"/>
                  </a:ext>
                </a:extLst>
              </p:cNvPr>
              <p:cNvGrpSpPr/>
              <p:nvPr/>
            </p:nvGrpSpPr>
            <p:grpSpPr>
              <a:xfrm>
                <a:off x="7628619" y="4009816"/>
                <a:ext cx="64249" cy="35912"/>
                <a:chOff x="7628619" y="4009816"/>
                <a:chExt cx="64249" cy="35912"/>
              </a:xfrm>
              <a:grpFill/>
            </p:grpSpPr>
            <p:sp>
              <p:nvSpPr>
                <p:cNvPr id="4300" name="Vrije vorm: vorm 4299">
                  <a:extLst>
                    <a:ext uri="{FF2B5EF4-FFF2-40B4-BE49-F238E27FC236}">
                      <a16:creationId xmlns:a16="http://schemas.microsoft.com/office/drawing/2014/main" id="{D5C42F8F-7F43-4E2E-8541-C49E729623B2}"/>
                    </a:ext>
                  </a:extLst>
                </p:cNvPr>
                <p:cNvSpPr/>
                <p:nvPr/>
              </p:nvSpPr>
              <p:spPr>
                <a:xfrm>
                  <a:off x="7636803" y="4017410"/>
                  <a:ext cx="47905" cy="20693"/>
                </a:xfrm>
                <a:custGeom>
                  <a:avLst/>
                  <a:gdLst>
                    <a:gd name="connsiteX0" fmla="*/ 47906 w 47905"/>
                    <a:gd name="connsiteY0" fmla="*/ 17822 h 20693"/>
                    <a:gd name="connsiteX1" fmla="*/ 46830 w 47905"/>
                    <a:gd name="connsiteY1" fmla="*/ 20693 h 20693"/>
                    <a:gd name="connsiteX2" fmla="*/ 0 w 47905"/>
                    <a:gd name="connsiteY2" fmla="*/ 2871 h 20693"/>
                    <a:gd name="connsiteX3" fmla="*/ 1077 w 47905"/>
                    <a:gd name="connsiteY3" fmla="*/ 0 h 20693"/>
                  </a:gdLst>
                  <a:ahLst/>
                  <a:cxnLst>
                    <a:cxn ang="0">
                      <a:pos x="connsiteX0" y="connsiteY0"/>
                    </a:cxn>
                    <a:cxn ang="0">
                      <a:pos x="connsiteX1" y="connsiteY1"/>
                    </a:cxn>
                    <a:cxn ang="0">
                      <a:pos x="connsiteX2" y="connsiteY2"/>
                    </a:cxn>
                    <a:cxn ang="0">
                      <a:pos x="connsiteX3" y="connsiteY3"/>
                    </a:cxn>
                  </a:cxnLst>
                  <a:rect l="l" t="t" r="r" b="b"/>
                  <a:pathLst>
                    <a:path w="47905" h="20693">
                      <a:moveTo>
                        <a:pt x="47906" y="17822"/>
                      </a:moveTo>
                      <a:lnTo>
                        <a:pt x="46830" y="20693"/>
                      </a:lnTo>
                      <a:lnTo>
                        <a:pt x="0" y="2871"/>
                      </a:lnTo>
                      <a:lnTo>
                        <a:pt x="1077" y="0"/>
                      </a:lnTo>
                      <a:close/>
                    </a:path>
                  </a:pathLst>
                </a:custGeom>
                <a:grpFill/>
                <a:ln w="5978" cap="flat">
                  <a:noFill/>
                  <a:prstDash val="solid"/>
                  <a:miter/>
                </a:ln>
              </p:spPr>
              <p:txBody>
                <a:bodyPr rtlCol="0" anchor="ctr"/>
                <a:lstStyle/>
                <a:p>
                  <a:endParaRPr lang="en-GB"/>
                </a:p>
              </p:txBody>
            </p:sp>
            <p:sp>
              <p:nvSpPr>
                <p:cNvPr id="4301" name="Vrije vorm: vorm 4300">
                  <a:extLst>
                    <a:ext uri="{FF2B5EF4-FFF2-40B4-BE49-F238E27FC236}">
                      <a16:creationId xmlns:a16="http://schemas.microsoft.com/office/drawing/2014/main" id="{E111EAE1-402F-491E-A4CD-1F6C4A8BDD9A}"/>
                    </a:ext>
                  </a:extLst>
                </p:cNvPr>
                <p:cNvSpPr/>
                <p:nvPr/>
              </p:nvSpPr>
              <p:spPr>
                <a:xfrm>
                  <a:off x="7674575" y="4027280"/>
                  <a:ext cx="18294" cy="18448"/>
                </a:xfrm>
                <a:custGeom>
                  <a:avLst/>
                  <a:gdLst>
                    <a:gd name="connsiteX0" fmla="*/ 12347 w 18294"/>
                    <a:gd name="connsiteY0" fmla="*/ 596 h 18448"/>
                    <a:gd name="connsiteX1" fmla="*/ 17729 w 18294"/>
                    <a:gd name="connsiteY1" fmla="*/ 12498 h 18448"/>
                    <a:gd name="connsiteX2" fmla="*/ 5948 w 18294"/>
                    <a:gd name="connsiteY2" fmla="*/ 17821 h 18448"/>
                    <a:gd name="connsiteX3" fmla="*/ 565 w 18294"/>
                    <a:gd name="connsiteY3" fmla="*/ 5919 h 18448"/>
                    <a:gd name="connsiteX4" fmla="*/ 12347 w 18294"/>
                    <a:gd name="connsiteY4" fmla="*/ 59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48">
                      <a:moveTo>
                        <a:pt x="12347" y="596"/>
                      </a:moveTo>
                      <a:cubicBezTo>
                        <a:pt x="17072" y="2391"/>
                        <a:pt x="19464" y="7713"/>
                        <a:pt x="17729" y="12498"/>
                      </a:cubicBezTo>
                      <a:cubicBezTo>
                        <a:pt x="15936" y="17282"/>
                        <a:pt x="10673" y="19675"/>
                        <a:pt x="5948" y="17821"/>
                      </a:cubicBezTo>
                      <a:cubicBezTo>
                        <a:pt x="1223" y="16026"/>
                        <a:pt x="-1170" y="10704"/>
                        <a:pt x="565" y="5919"/>
                      </a:cubicBezTo>
                      <a:cubicBezTo>
                        <a:pt x="2359" y="1194"/>
                        <a:pt x="7622" y="-1198"/>
                        <a:pt x="12347" y="596"/>
                      </a:cubicBezTo>
                      <a:close/>
                    </a:path>
                  </a:pathLst>
                </a:custGeom>
                <a:grpFill/>
                <a:ln w="5978" cap="flat">
                  <a:noFill/>
                  <a:prstDash val="solid"/>
                  <a:miter/>
                </a:ln>
              </p:spPr>
              <p:txBody>
                <a:bodyPr rtlCol="0" anchor="ctr"/>
                <a:lstStyle/>
                <a:p>
                  <a:endParaRPr lang="en-GB"/>
                </a:p>
              </p:txBody>
            </p:sp>
            <p:sp>
              <p:nvSpPr>
                <p:cNvPr id="4302" name="Vrije vorm: vorm 4301">
                  <a:extLst>
                    <a:ext uri="{FF2B5EF4-FFF2-40B4-BE49-F238E27FC236}">
                      <a16:creationId xmlns:a16="http://schemas.microsoft.com/office/drawing/2014/main" id="{4A84D718-4B98-4AB0-A147-FA8A14B0F31F}"/>
                    </a:ext>
                  </a:extLst>
                </p:cNvPr>
                <p:cNvSpPr/>
                <p:nvPr/>
              </p:nvSpPr>
              <p:spPr>
                <a:xfrm>
                  <a:off x="7628619" y="4009816"/>
                  <a:ext cx="18348" cy="18417"/>
                </a:xfrm>
                <a:custGeom>
                  <a:avLst/>
                  <a:gdLst>
                    <a:gd name="connsiteX0" fmla="*/ 12371 w 18348"/>
                    <a:gd name="connsiteY0" fmla="*/ 596 h 18417"/>
                    <a:gd name="connsiteX1" fmla="*/ 589 w 18348"/>
                    <a:gd name="connsiteY1" fmla="*/ 5919 h 18417"/>
                    <a:gd name="connsiteX2" fmla="*/ 5971 w 18348"/>
                    <a:gd name="connsiteY2" fmla="*/ 17821 h 18417"/>
                    <a:gd name="connsiteX3" fmla="*/ 17754 w 18348"/>
                    <a:gd name="connsiteY3" fmla="*/ 12498 h 18417"/>
                    <a:gd name="connsiteX4" fmla="*/ 12371 w 18348"/>
                    <a:gd name="connsiteY4" fmla="*/ 596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7">
                      <a:moveTo>
                        <a:pt x="12371" y="596"/>
                      </a:moveTo>
                      <a:cubicBezTo>
                        <a:pt x="7646" y="-1198"/>
                        <a:pt x="2323" y="1195"/>
                        <a:pt x="589" y="5919"/>
                      </a:cubicBezTo>
                      <a:cubicBezTo>
                        <a:pt x="-1206" y="10704"/>
                        <a:pt x="1247" y="15967"/>
                        <a:pt x="5971" y="17821"/>
                      </a:cubicBezTo>
                      <a:cubicBezTo>
                        <a:pt x="10696" y="19615"/>
                        <a:pt x="16019" y="17223"/>
                        <a:pt x="17754" y="12498"/>
                      </a:cubicBezTo>
                      <a:cubicBezTo>
                        <a:pt x="19547" y="7713"/>
                        <a:pt x="17155" y="2391"/>
                        <a:pt x="12371" y="596"/>
                      </a:cubicBezTo>
                      <a:close/>
                    </a:path>
                  </a:pathLst>
                </a:custGeom>
                <a:grpFill/>
                <a:ln w="5978" cap="flat">
                  <a:noFill/>
                  <a:prstDash val="solid"/>
                  <a:miter/>
                </a:ln>
              </p:spPr>
              <p:txBody>
                <a:bodyPr rtlCol="0" anchor="ctr"/>
                <a:lstStyle/>
                <a:p>
                  <a:endParaRPr lang="en-GB"/>
                </a:p>
              </p:txBody>
            </p:sp>
          </p:grpSp>
          <p:grpSp>
            <p:nvGrpSpPr>
              <p:cNvPr id="361" name="Graphic 3">
                <a:extLst>
                  <a:ext uri="{FF2B5EF4-FFF2-40B4-BE49-F238E27FC236}">
                    <a16:creationId xmlns:a16="http://schemas.microsoft.com/office/drawing/2014/main" id="{14A84640-73EA-4E2F-8ACE-5DEADD664543}"/>
                  </a:ext>
                </a:extLst>
              </p:cNvPr>
              <p:cNvGrpSpPr/>
              <p:nvPr/>
            </p:nvGrpSpPr>
            <p:grpSpPr>
              <a:xfrm>
                <a:off x="6761146" y="1546114"/>
                <a:ext cx="212714" cy="347844"/>
                <a:chOff x="6761146" y="1546114"/>
                <a:chExt cx="212714" cy="347844"/>
              </a:xfrm>
              <a:grpFill/>
            </p:grpSpPr>
            <p:sp>
              <p:nvSpPr>
                <p:cNvPr id="4297" name="Vrije vorm: vorm 4296">
                  <a:extLst>
                    <a:ext uri="{FF2B5EF4-FFF2-40B4-BE49-F238E27FC236}">
                      <a16:creationId xmlns:a16="http://schemas.microsoft.com/office/drawing/2014/main" id="{63087BC8-F5D1-4EFD-AF5C-52CAA3232059}"/>
                    </a:ext>
                  </a:extLst>
                </p:cNvPr>
                <p:cNvSpPr/>
                <p:nvPr/>
              </p:nvSpPr>
              <p:spPr>
                <a:xfrm>
                  <a:off x="6768761" y="1554190"/>
                  <a:ext cx="197483" cy="331750"/>
                </a:xfrm>
                <a:custGeom>
                  <a:avLst/>
                  <a:gdLst>
                    <a:gd name="connsiteX0" fmla="*/ 197483 w 197483"/>
                    <a:gd name="connsiteY0" fmla="*/ 1555 h 331750"/>
                    <a:gd name="connsiteX1" fmla="*/ 2632 w 197483"/>
                    <a:gd name="connsiteY1" fmla="*/ 331751 h 331750"/>
                    <a:gd name="connsiteX2" fmla="*/ 0 w 197483"/>
                    <a:gd name="connsiteY2" fmla="*/ 330196 h 331750"/>
                    <a:gd name="connsiteX3" fmla="*/ 194852 w 197483"/>
                    <a:gd name="connsiteY3" fmla="*/ 0 h 331750"/>
                  </a:gdLst>
                  <a:ahLst/>
                  <a:cxnLst>
                    <a:cxn ang="0">
                      <a:pos x="connsiteX0" y="connsiteY0"/>
                    </a:cxn>
                    <a:cxn ang="0">
                      <a:pos x="connsiteX1" y="connsiteY1"/>
                    </a:cxn>
                    <a:cxn ang="0">
                      <a:pos x="connsiteX2" y="connsiteY2"/>
                    </a:cxn>
                    <a:cxn ang="0">
                      <a:pos x="connsiteX3" y="connsiteY3"/>
                    </a:cxn>
                  </a:cxnLst>
                  <a:rect l="l" t="t" r="r" b="b"/>
                  <a:pathLst>
                    <a:path w="197483" h="331750">
                      <a:moveTo>
                        <a:pt x="197483" y="1555"/>
                      </a:moveTo>
                      <a:lnTo>
                        <a:pt x="2632" y="331751"/>
                      </a:lnTo>
                      <a:lnTo>
                        <a:pt x="0" y="330196"/>
                      </a:lnTo>
                      <a:lnTo>
                        <a:pt x="194852" y="0"/>
                      </a:lnTo>
                      <a:close/>
                    </a:path>
                  </a:pathLst>
                </a:custGeom>
                <a:grpFill/>
                <a:ln w="5978" cap="flat">
                  <a:noFill/>
                  <a:prstDash val="solid"/>
                  <a:miter/>
                </a:ln>
              </p:spPr>
              <p:txBody>
                <a:bodyPr rtlCol="0" anchor="ctr"/>
                <a:lstStyle/>
                <a:p>
                  <a:endParaRPr lang="en-GB"/>
                </a:p>
              </p:txBody>
            </p:sp>
            <p:sp>
              <p:nvSpPr>
                <p:cNvPr id="4298" name="Vrije vorm: vorm 4297">
                  <a:extLst>
                    <a:ext uri="{FF2B5EF4-FFF2-40B4-BE49-F238E27FC236}">
                      <a16:creationId xmlns:a16="http://schemas.microsoft.com/office/drawing/2014/main" id="{FA7975DF-6B34-42F5-9804-E92432B5EC98}"/>
                    </a:ext>
                  </a:extLst>
                </p:cNvPr>
                <p:cNvSpPr/>
                <p:nvPr/>
              </p:nvSpPr>
              <p:spPr>
                <a:xfrm>
                  <a:off x="6761146" y="1875532"/>
                  <a:ext cx="18341" cy="18425"/>
                </a:xfrm>
                <a:custGeom>
                  <a:avLst/>
                  <a:gdLst>
                    <a:gd name="connsiteX0" fmla="*/ 17065 w 18341"/>
                    <a:gd name="connsiteY0" fmla="*/ 13938 h 18425"/>
                    <a:gd name="connsiteX1" fmla="*/ 4505 w 18341"/>
                    <a:gd name="connsiteY1" fmla="*/ 17108 h 18425"/>
                    <a:gd name="connsiteX2" fmla="*/ 1276 w 18341"/>
                    <a:gd name="connsiteY2" fmla="*/ 4488 h 18425"/>
                    <a:gd name="connsiteX3" fmla="*/ 13835 w 18341"/>
                    <a:gd name="connsiteY3" fmla="*/ 1318 h 18425"/>
                    <a:gd name="connsiteX4" fmla="*/ 17065 w 18341"/>
                    <a:gd name="connsiteY4" fmla="*/ 1393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17065" y="13938"/>
                      </a:moveTo>
                      <a:cubicBezTo>
                        <a:pt x="14493" y="18304"/>
                        <a:pt x="8872" y="19739"/>
                        <a:pt x="4505" y="17108"/>
                      </a:cubicBezTo>
                      <a:cubicBezTo>
                        <a:pt x="140" y="14476"/>
                        <a:pt x="-1296" y="8854"/>
                        <a:pt x="1276" y="4488"/>
                      </a:cubicBezTo>
                      <a:cubicBezTo>
                        <a:pt x="3848" y="122"/>
                        <a:pt x="9470" y="-1313"/>
                        <a:pt x="13835" y="1318"/>
                      </a:cubicBezTo>
                      <a:cubicBezTo>
                        <a:pt x="18202" y="3950"/>
                        <a:pt x="19637" y="9572"/>
                        <a:pt x="17065" y="13938"/>
                      </a:cubicBezTo>
                      <a:close/>
                    </a:path>
                  </a:pathLst>
                </a:custGeom>
                <a:grpFill/>
                <a:ln w="5978" cap="flat">
                  <a:noFill/>
                  <a:prstDash val="solid"/>
                  <a:miter/>
                </a:ln>
              </p:spPr>
              <p:txBody>
                <a:bodyPr rtlCol="0" anchor="ctr"/>
                <a:lstStyle/>
                <a:p>
                  <a:endParaRPr lang="en-GB"/>
                </a:p>
              </p:txBody>
            </p:sp>
            <p:sp>
              <p:nvSpPr>
                <p:cNvPr id="4299" name="Vrije vorm: vorm 4298">
                  <a:extLst>
                    <a:ext uri="{FF2B5EF4-FFF2-40B4-BE49-F238E27FC236}">
                      <a16:creationId xmlns:a16="http://schemas.microsoft.com/office/drawing/2014/main" id="{4AC43D1C-129A-4088-B6F9-A9FA262ED67E}"/>
                    </a:ext>
                  </a:extLst>
                </p:cNvPr>
                <p:cNvSpPr/>
                <p:nvPr/>
              </p:nvSpPr>
              <p:spPr>
                <a:xfrm>
                  <a:off x="6955519" y="1546114"/>
                  <a:ext cx="18340" cy="18425"/>
                </a:xfrm>
                <a:custGeom>
                  <a:avLst/>
                  <a:gdLst>
                    <a:gd name="connsiteX0" fmla="*/ 17065 w 18340"/>
                    <a:gd name="connsiteY0" fmla="*/ 13938 h 18425"/>
                    <a:gd name="connsiteX1" fmla="*/ 13835 w 18340"/>
                    <a:gd name="connsiteY1" fmla="*/ 1318 h 18425"/>
                    <a:gd name="connsiteX2" fmla="*/ 1276 w 18340"/>
                    <a:gd name="connsiteY2" fmla="*/ 4488 h 18425"/>
                    <a:gd name="connsiteX3" fmla="*/ 4506 w 18340"/>
                    <a:gd name="connsiteY3" fmla="*/ 17108 h 18425"/>
                    <a:gd name="connsiteX4" fmla="*/ 17065 w 18340"/>
                    <a:gd name="connsiteY4" fmla="*/ 1393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17065" y="13938"/>
                      </a:moveTo>
                      <a:cubicBezTo>
                        <a:pt x="19637" y="9572"/>
                        <a:pt x="18201" y="3890"/>
                        <a:pt x="13835" y="1318"/>
                      </a:cubicBezTo>
                      <a:cubicBezTo>
                        <a:pt x="9470" y="-1313"/>
                        <a:pt x="3848" y="122"/>
                        <a:pt x="1276" y="4488"/>
                      </a:cubicBezTo>
                      <a:cubicBezTo>
                        <a:pt x="-1296" y="8854"/>
                        <a:pt x="140" y="14536"/>
                        <a:pt x="4506" y="17108"/>
                      </a:cubicBezTo>
                      <a:cubicBezTo>
                        <a:pt x="8872" y="19739"/>
                        <a:pt x="14493" y="18304"/>
                        <a:pt x="17065" y="13938"/>
                      </a:cubicBezTo>
                      <a:close/>
                    </a:path>
                  </a:pathLst>
                </a:custGeom>
                <a:grpFill/>
                <a:ln w="5978" cap="flat">
                  <a:noFill/>
                  <a:prstDash val="solid"/>
                  <a:miter/>
                </a:ln>
              </p:spPr>
              <p:txBody>
                <a:bodyPr rtlCol="0" anchor="ctr"/>
                <a:lstStyle/>
                <a:p>
                  <a:endParaRPr lang="en-GB"/>
                </a:p>
              </p:txBody>
            </p:sp>
          </p:grpSp>
          <p:grpSp>
            <p:nvGrpSpPr>
              <p:cNvPr id="362" name="Graphic 3">
                <a:extLst>
                  <a:ext uri="{FF2B5EF4-FFF2-40B4-BE49-F238E27FC236}">
                    <a16:creationId xmlns:a16="http://schemas.microsoft.com/office/drawing/2014/main" id="{2D83B3F6-D736-421F-9A68-1973E821593C}"/>
                  </a:ext>
                </a:extLst>
              </p:cNvPr>
              <p:cNvGrpSpPr/>
              <p:nvPr/>
            </p:nvGrpSpPr>
            <p:grpSpPr>
              <a:xfrm>
                <a:off x="7617738" y="4039467"/>
                <a:ext cx="59661" cy="35046"/>
                <a:chOff x="7617738" y="4039467"/>
                <a:chExt cx="59661" cy="35046"/>
              </a:xfrm>
              <a:grpFill/>
            </p:grpSpPr>
            <p:sp>
              <p:nvSpPr>
                <p:cNvPr id="4294" name="Vrije vorm: vorm 4293">
                  <a:extLst>
                    <a:ext uri="{FF2B5EF4-FFF2-40B4-BE49-F238E27FC236}">
                      <a16:creationId xmlns:a16="http://schemas.microsoft.com/office/drawing/2014/main" id="{26860162-CEB4-480F-89B1-A24B1C8984FA}"/>
                    </a:ext>
                  </a:extLst>
                </p:cNvPr>
                <p:cNvSpPr/>
                <p:nvPr/>
              </p:nvSpPr>
              <p:spPr>
                <a:xfrm>
                  <a:off x="7625919" y="4047134"/>
                  <a:ext cx="43300" cy="19796"/>
                </a:xfrm>
                <a:custGeom>
                  <a:avLst/>
                  <a:gdLst>
                    <a:gd name="connsiteX0" fmla="*/ 43300 w 43300"/>
                    <a:gd name="connsiteY0" fmla="*/ 16926 h 19796"/>
                    <a:gd name="connsiteX1" fmla="*/ 42224 w 43300"/>
                    <a:gd name="connsiteY1" fmla="*/ 19796 h 19796"/>
                    <a:gd name="connsiteX2" fmla="*/ 0 w 43300"/>
                    <a:gd name="connsiteY2" fmla="*/ 2811 h 19796"/>
                    <a:gd name="connsiteX3" fmla="*/ 1136 w 43300"/>
                    <a:gd name="connsiteY3" fmla="*/ 0 h 19796"/>
                  </a:gdLst>
                  <a:ahLst/>
                  <a:cxnLst>
                    <a:cxn ang="0">
                      <a:pos x="connsiteX0" y="connsiteY0"/>
                    </a:cxn>
                    <a:cxn ang="0">
                      <a:pos x="connsiteX1" y="connsiteY1"/>
                    </a:cxn>
                    <a:cxn ang="0">
                      <a:pos x="connsiteX2" y="connsiteY2"/>
                    </a:cxn>
                    <a:cxn ang="0">
                      <a:pos x="connsiteX3" y="connsiteY3"/>
                    </a:cxn>
                  </a:cxnLst>
                  <a:rect l="l" t="t" r="r" b="b"/>
                  <a:pathLst>
                    <a:path w="43300" h="19796">
                      <a:moveTo>
                        <a:pt x="43300" y="16926"/>
                      </a:moveTo>
                      <a:lnTo>
                        <a:pt x="42224" y="19796"/>
                      </a:lnTo>
                      <a:lnTo>
                        <a:pt x="0" y="2811"/>
                      </a:lnTo>
                      <a:lnTo>
                        <a:pt x="1136" y="0"/>
                      </a:lnTo>
                      <a:close/>
                    </a:path>
                  </a:pathLst>
                </a:custGeom>
                <a:grpFill/>
                <a:ln w="5978" cap="flat">
                  <a:noFill/>
                  <a:prstDash val="solid"/>
                  <a:miter/>
                </a:ln>
              </p:spPr>
              <p:txBody>
                <a:bodyPr rtlCol="0" anchor="ctr"/>
                <a:lstStyle/>
                <a:p>
                  <a:endParaRPr lang="en-GB"/>
                </a:p>
              </p:txBody>
            </p:sp>
            <p:sp>
              <p:nvSpPr>
                <p:cNvPr id="4295" name="Vrije vorm: vorm 4294">
                  <a:extLst>
                    <a:ext uri="{FF2B5EF4-FFF2-40B4-BE49-F238E27FC236}">
                      <a16:creationId xmlns:a16="http://schemas.microsoft.com/office/drawing/2014/main" id="{9CD3D112-9B2A-4B6E-AA84-8A0F2A1DB6F9}"/>
                    </a:ext>
                  </a:extLst>
                </p:cNvPr>
                <p:cNvSpPr/>
                <p:nvPr/>
              </p:nvSpPr>
              <p:spPr>
                <a:xfrm>
                  <a:off x="7659064" y="4056094"/>
                  <a:ext cx="18335" cy="18420"/>
                </a:xfrm>
                <a:custGeom>
                  <a:avLst/>
                  <a:gdLst>
                    <a:gd name="connsiteX0" fmla="*/ 12547 w 18335"/>
                    <a:gd name="connsiteY0" fmla="*/ 670 h 18420"/>
                    <a:gd name="connsiteX1" fmla="*/ 17690 w 18335"/>
                    <a:gd name="connsiteY1" fmla="*/ 12631 h 18420"/>
                    <a:gd name="connsiteX2" fmla="*/ 5789 w 18335"/>
                    <a:gd name="connsiteY2" fmla="*/ 17775 h 18420"/>
                    <a:gd name="connsiteX3" fmla="*/ 645 w 18335"/>
                    <a:gd name="connsiteY3" fmla="*/ 5813 h 18420"/>
                    <a:gd name="connsiteX4" fmla="*/ 12547 w 18335"/>
                    <a:gd name="connsiteY4" fmla="*/ 67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0">
                      <a:moveTo>
                        <a:pt x="12547" y="670"/>
                      </a:moveTo>
                      <a:cubicBezTo>
                        <a:pt x="17272" y="2584"/>
                        <a:pt x="19544" y="7907"/>
                        <a:pt x="17690" y="12631"/>
                      </a:cubicBezTo>
                      <a:cubicBezTo>
                        <a:pt x="15836" y="17356"/>
                        <a:pt x="10514" y="19629"/>
                        <a:pt x="5789" y="17775"/>
                      </a:cubicBezTo>
                      <a:cubicBezTo>
                        <a:pt x="1064" y="15861"/>
                        <a:pt x="-1209" y="10538"/>
                        <a:pt x="645" y="5813"/>
                      </a:cubicBezTo>
                      <a:cubicBezTo>
                        <a:pt x="2499" y="1088"/>
                        <a:pt x="7822" y="-1244"/>
                        <a:pt x="12547" y="670"/>
                      </a:cubicBezTo>
                      <a:close/>
                    </a:path>
                  </a:pathLst>
                </a:custGeom>
                <a:grpFill/>
                <a:ln w="5978" cap="flat">
                  <a:noFill/>
                  <a:prstDash val="solid"/>
                  <a:miter/>
                </a:ln>
              </p:spPr>
              <p:txBody>
                <a:bodyPr rtlCol="0" anchor="ctr"/>
                <a:lstStyle/>
                <a:p>
                  <a:endParaRPr lang="en-GB"/>
                </a:p>
              </p:txBody>
            </p:sp>
            <p:sp>
              <p:nvSpPr>
                <p:cNvPr id="4296" name="Vrije vorm: vorm 4295">
                  <a:extLst>
                    <a:ext uri="{FF2B5EF4-FFF2-40B4-BE49-F238E27FC236}">
                      <a16:creationId xmlns:a16="http://schemas.microsoft.com/office/drawing/2014/main" id="{9E08155E-9729-4F5F-AB1D-6AE99FBE5FCA}"/>
                    </a:ext>
                  </a:extLst>
                </p:cNvPr>
                <p:cNvSpPr/>
                <p:nvPr/>
              </p:nvSpPr>
              <p:spPr>
                <a:xfrm>
                  <a:off x="7617738" y="4039467"/>
                  <a:ext cx="18335" cy="18444"/>
                </a:xfrm>
                <a:custGeom>
                  <a:avLst/>
                  <a:gdLst>
                    <a:gd name="connsiteX0" fmla="*/ 12547 w 18335"/>
                    <a:gd name="connsiteY0" fmla="*/ 670 h 18444"/>
                    <a:gd name="connsiteX1" fmla="*/ 645 w 18335"/>
                    <a:gd name="connsiteY1" fmla="*/ 5813 h 18444"/>
                    <a:gd name="connsiteX2" fmla="*/ 5788 w 18335"/>
                    <a:gd name="connsiteY2" fmla="*/ 17775 h 18444"/>
                    <a:gd name="connsiteX3" fmla="*/ 17690 w 18335"/>
                    <a:gd name="connsiteY3" fmla="*/ 12631 h 18444"/>
                    <a:gd name="connsiteX4" fmla="*/ 12547 w 18335"/>
                    <a:gd name="connsiteY4" fmla="*/ 67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2547" y="670"/>
                      </a:moveTo>
                      <a:cubicBezTo>
                        <a:pt x="7822" y="-1244"/>
                        <a:pt x="2499" y="1089"/>
                        <a:pt x="645" y="5813"/>
                      </a:cubicBezTo>
                      <a:cubicBezTo>
                        <a:pt x="-1209" y="10538"/>
                        <a:pt x="1063" y="15921"/>
                        <a:pt x="5788" y="17775"/>
                      </a:cubicBezTo>
                      <a:cubicBezTo>
                        <a:pt x="10513" y="19689"/>
                        <a:pt x="15836" y="17356"/>
                        <a:pt x="17690" y="12631"/>
                      </a:cubicBezTo>
                      <a:cubicBezTo>
                        <a:pt x="19544" y="7966"/>
                        <a:pt x="17272" y="2584"/>
                        <a:pt x="12547" y="670"/>
                      </a:cubicBezTo>
                      <a:close/>
                    </a:path>
                  </a:pathLst>
                </a:custGeom>
                <a:grpFill/>
                <a:ln w="5978" cap="flat">
                  <a:noFill/>
                  <a:prstDash val="solid"/>
                  <a:miter/>
                </a:ln>
              </p:spPr>
              <p:txBody>
                <a:bodyPr rtlCol="0" anchor="ctr"/>
                <a:lstStyle/>
                <a:p>
                  <a:endParaRPr lang="en-GB"/>
                </a:p>
              </p:txBody>
            </p:sp>
          </p:grpSp>
          <p:grpSp>
            <p:nvGrpSpPr>
              <p:cNvPr id="363" name="Graphic 3">
                <a:extLst>
                  <a:ext uri="{FF2B5EF4-FFF2-40B4-BE49-F238E27FC236}">
                    <a16:creationId xmlns:a16="http://schemas.microsoft.com/office/drawing/2014/main" id="{FB3FC919-815A-47D6-946B-650826891097}"/>
                  </a:ext>
                </a:extLst>
              </p:cNvPr>
              <p:cNvGrpSpPr/>
              <p:nvPr/>
            </p:nvGrpSpPr>
            <p:grpSpPr>
              <a:xfrm>
                <a:off x="6701407" y="1283425"/>
                <a:ext cx="121646" cy="307505"/>
                <a:chOff x="6701407" y="1283425"/>
                <a:chExt cx="121646" cy="307505"/>
              </a:xfrm>
              <a:grpFill/>
            </p:grpSpPr>
            <p:sp>
              <p:nvSpPr>
                <p:cNvPr id="4291" name="Vrije vorm: vorm 4290">
                  <a:extLst>
                    <a:ext uri="{FF2B5EF4-FFF2-40B4-BE49-F238E27FC236}">
                      <a16:creationId xmlns:a16="http://schemas.microsoft.com/office/drawing/2014/main" id="{C391B448-81FE-466F-8ADA-1632E6F34572}"/>
                    </a:ext>
                  </a:extLst>
                </p:cNvPr>
                <p:cNvSpPr/>
                <p:nvPr/>
              </p:nvSpPr>
              <p:spPr>
                <a:xfrm>
                  <a:off x="6709014" y="1291697"/>
                  <a:ext cx="106456" cy="291021"/>
                </a:xfrm>
                <a:custGeom>
                  <a:avLst/>
                  <a:gdLst>
                    <a:gd name="connsiteX0" fmla="*/ 106457 w 106456"/>
                    <a:gd name="connsiteY0" fmla="*/ 1017 h 291021"/>
                    <a:gd name="connsiteX1" fmla="*/ 2871 w 106456"/>
                    <a:gd name="connsiteY1" fmla="*/ 291022 h 291021"/>
                    <a:gd name="connsiteX2" fmla="*/ 0 w 106456"/>
                    <a:gd name="connsiteY2" fmla="*/ 289945 h 291021"/>
                    <a:gd name="connsiteX3" fmla="*/ 103586 w 106456"/>
                    <a:gd name="connsiteY3" fmla="*/ 0 h 291021"/>
                  </a:gdLst>
                  <a:ahLst/>
                  <a:cxnLst>
                    <a:cxn ang="0">
                      <a:pos x="connsiteX0" y="connsiteY0"/>
                    </a:cxn>
                    <a:cxn ang="0">
                      <a:pos x="connsiteX1" y="connsiteY1"/>
                    </a:cxn>
                    <a:cxn ang="0">
                      <a:pos x="connsiteX2" y="connsiteY2"/>
                    </a:cxn>
                    <a:cxn ang="0">
                      <a:pos x="connsiteX3" y="connsiteY3"/>
                    </a:cxn>
                  </a:cxnLst>
                  <a:rect l="l" t="t" r="r" b="b"/>
                  <a:pathLst>
                    <a:path w="106456" h="291021">
                      <a:moveTo>
                        <a:pt x="106457" y="1017"/>
                      </a:moveTo>
                      <a:lnTo>
                        <a:pt x="2871" y="291022"/>
                      </a:lnTo>
                      <a:lnTo>
                        <a:pt x="0" y="289945"/>
                      </a:lnTo>
                      <a:lnTo>
                        <a:pt x="103586" y="0"/>
                      </a:lnTo>
                      <a:close/>
                    </a:path>
                  </a:pathLst>
                </a:custGeom>
                <a:grpFill/>
                <a:ln w="5978" cap="flat">
                  <a:noFill/>
                  <a:prstDash val="solid"/>
                  <a:miter/>
                </a:ln>
              </p:spPr>
              <p:txBody>
                <a:bodyPr rtlCol="0" anchor="ctr"/>
                <a:lstStyle/>
                <a:p>
                  <a:endParaRPr lang="en-GB"/>
                </a:p>
              </p:txBody>
            </p:sp>
            <p:sp>
              <p:nvSpPr>
                <p:cNvPr id="4292" name="Vrije vorm: vorm 4291">
                  <a:extLst>
                    <a:ext uri="{FF2B5EF4-FFF2-40B4-BE49-F238E27FC236}">
                      <a16:creationId xmlns:a16="http://schemas.microsoft.com/office/drawing/2014/main" id="{192128CF-E0BA-4EBF-8A47-6223B6A5BAE0}"/>
                    </a:ext>
                  </a:extLst>
                </p:cNvPr>
                <p:cNvSpPr/>
                <p:nvPr/>
              </p:nvSpPr>
              <p:spPr>
                <a:xfrm>
                  <a:off x="6804718" y="1283425"/>
                  <a:ext cx="18335" cy="18397"/>
                </a:xfrm>
                <a:custGeom>
                  <a:avLst/>
                  <a:gdLst>
                    <a:gd name="connsiteX0" fmla="*/ 526 w 18335"/>
                    <a:gd name="connsiteY0" fmla="*/ 6059 h 18397"/>
                    <a:gd name="connsiteX1" fmla="*/ 12248 w 18335"/>
                    <a:gd name="connsiteY1" fmla="*/ 557 h 18397"/>
                    <a:gd name="connsiteX2" fmla="*/ 17810 w 18335"/>
                    <a:gd name="connsiteY2" fmla="*/ 12339 h 18397"/>
                    <a:gd name="connsiteX3" fmla="*/ 6088 w 18335"/>
                    <a:gd name="connsiteY3" fmla="*/ 17841 h 18397"/>
                    <a:gd name="connsiteX4" fmla="*/ 526 w 18335"/>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7">
                      <a:moveTo>
                        <a:pt x="526" y="6059"/>
                      </a:moveTo>
                      <a:cubicBezTo>
                        <a:pt x="2260" y="1274"/>
                        <a:pt x="7463" y="-1178"/>
                        <a:pt x="12248" y="557"/>
                      </a:cubicBezTo>
                      <a:cubicBezTo>
                        <a:pt x="17033" y="2291"/>
                        <a:pt x="19485" y="7554"/>
                        <a:pt x="17810" y="12339"/>
                      </a:cubicBezTo>
                      <a:cubicBezTo>
                        <a:pt x="16136" y="17123"/>
                        <a:pt x="10873" y="19575"/>
                        <a:pt x="6088" y="17841"/>
                      </a:cubicBezTo>
                      <a:cubicBezTo>
                        <a:pt x="1303" y="16107"/>
                        <a:pt x="-1149" y="10843"/>
                        <a:pt x="526" y="6059"/>
                      </a:cubicBezTo>
                      <a:close/>
                    </a:path>
                  </a:pathLst>
                </a:custGeom>
                <a:grpFill/>
                <a:ln w="5978" cap="flat">
                  <a:noFill/>
                  <a:prstDash val="solid"/>
                  <a:miter/>
                </a:ln>
              </p:spPr>
              <p:txBody>
                <a:bodyPr rtlCol="0" anchor="ctr"/>
                <a:lstStyle/>
                <a:p>
                  <a:endParaRPr lang="en-GB"/>
                </a:p>
              </p:txBody>
            </p:sp>
            <p:sp>
              <p:nvSpPr>
                <p:cNvPr id="4293" name="Vrije vorm: vorm 4292">
                  <a:extLst>
                    <a:ext uri="{FF2B5EF4-FFF2-40B4-BE49-F238E27FC236}">
                      <a16:creationId xmlns:a16="http://schemas.microsoft.com/office/drawing/2014/main" id="{9CBB5571-91E4-4183-8DC3-C49DB6E8375C}"/>
                    </a:ext>
                  </a:extLst>
                </p:cNvPr>
                <p:cNvSpPr/>
                <p:nvPr/>
              </p:nvSpPr>
              <p:spPr>
                <a:xfrm>
                  <a:off x="6701407" y="1572533"/>
                  <a:ext cx="18383" cy="18397"/>
                </a:xfrm>
                <a:custGeom>
                  <a:avLst/>
                  <a:gdLst>
                    <a:gd name="connsiteX0" fmla="*/ 550 w 18383"/>
                    <a:gd name="connsiteY0" fmla="*/ 6059 h 18397"/>
                    <a:gd name="connsiteX1" fmla="*/ 6112 w 18383"/>
                    <a:gd name="connsiteY1" fmla="*/ 17841 h 18397"/>
                    <a:gd name="connsiteX2" fmla="*/ 17834 w 18383"/>
                    <a:gd name="connsiteY2" fmla="*/ 12339 h 18397"/>
                    <a:gd name="connsiteX3" fmla="*/ 12331 w 18383"/>
                    <a:gd name="connsiteY3" fmla="*/ 557 h 18397"/>
                    <a:gd name="connsiteX4" fmla="*/ 550 w 18383"/>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397">
                      <a:moveTo>
                        <a:pt x="550" y="6059"/>
                      </a:moveTo>
                      <a:cubicBezTo>
                        <a:pt x="-1185" y="10844"/>
                        <a:pt x="1327" y="16106"/>
                        <a:pt x="6112" y="17841"/>
                      </a:cubicBezTo>
                      <a:cubicBezTo>
                        <a:pt x="10896" y="19575"/>
                        <a:pt x="16099" y="17123"/>
                        <a:pt x="17834" y="12339"/>
                      </a:cubicBezTo>
                      <a:cubicBezTo>
                        <a:pt x="19568" y="7554"/>
                        <a:pt x="17056" y="2291"/>
                        <a:pt x="12331" y="557"/>
                      </a:cubicBezTo>
                      <a:cubicBezTo>
                        <a:pt x="7547" y="-1178"/>
                        <a:pt x="2284" y="1274"/>
                        <a:pt x="550" y="6059"/>
                      </a:cubicBezTo>
                      <a:close/>
                    </a:path>
                  </a:pathLst>
                </a:custGeom>
                <a:grpFill/>
                <a:ln w="5978" cap="flat">
                  <a:noFill/>
                  <a:prstDash val="solid"/>
                  <a:miter/>
                </a:ln>
              </p:spPr>
              <p:txBody>
                <a:bodyPr rtlCol="0" anchor="ctr"/>
                <a:lstStyle/>
                <a:p>
                  <a:endParaRPr lang="en-GB"/>
                </a:p>
              </p:txBody>
            </p:sp>
          </p:grpSp>
          <p:grpSp>
            <p:nvGrpSpPr>
              <p:cNvPr id="364" name="Graphic 3">
                <a:extLst>
                  <a:ext uri="{FF2B5EF4-FFF2-40B4-BE49-F238E27FC236}">
                    <a16:creationId xmlns:a16="http://schemas.microsoft.com/office/drawing/2014/main" id="{4A0E278B-D0FE-4096-8094-535319F96F3E}"/>
                  </a:ext>
                </a:extLst>
              </p:cNvPr>
              <p:cNvGrpSpPr/>
              <p:nvPr/>
            </p:nvGrpSpPr>
            <p:grpSpPr>
              <a:xfrm>
                <a:off x="7704212" y="4261418"/>
                <a:ext cx="20835" cy="19747"/>
                <a:chOff x="7704212" y="4261418"/>
                <a:chExt cx="20835" cy="19747"/>
              </a:xfrm>
              <a:grpFill/>
            </p:grpSpPr>
            <p:sp>
              <p:nvSpPr>
                <p:cNvPr id="4288" name="Vrije vorm: vorm 4287">
                  <a:extLst>
                    <a:ext uri="{FF2B5EF4-FFF2-40B4-BE49-F238E27FC236}">
                      <a16:creationId xmlns:a16="http://schemas.microsoft.com/office/drawing/2014/main" id="{481E0A9A-D992-4214-95A5-B66BA852D8BD}"/>
                    </a:ext>
                  </a:extLst>
                </p:cNvPr>
                <p:cNvSpPr/>
                <p:nvPr/>
              </p:nvSpPr>
              <p:spPr>
                <a:xfrm>
                  <a:off x="7712280" y="4269079"/>
                  <a:ext cx="4665" cy="4426"/>
                </a:xfrm>
                <a:custGeom>
                  <a:avLst/>
                  <a:gdLst>
                    <a:gd name="connsiteX0" fmla="*/ 4665 w 4665"/>
                    <a:gd name="connsiteY0" fmla="*/ 1675 h 4426"/>
                    <a:gd name="connsiteX1" fmla="*/ 3290 w 4665"/>
                    <a:gd name="connsiteY1" fmla="*/ 4426 h 4426"/>
                    <a:gd name="connsiteX2" fmla="*/ 0 w 4665"/>
                    <a:gd name="connsiteY2" fmla="*/ 2691 h 4426"/>
                    <a:gd name="connsiteX3" fmla="*/ 1376 w 4665"/>
                    <a:gd name="connsiteY3" fmla="*/ 0 h 4426"/>
                  </a:gdLst>
                  <a:ahLst/>
                  <a:cxnLst>
                    <a:cxn ang="0">
                      <a:pos x="connsiteX0" y="connsiteY0"/>
                    </a:cxn>
                    <a:cxn ang="0">
                      <a:pos x="connsiteX1" y="connsiteY1"/>
                    </a:cxn>
                    <a:cxn ang="0">
                      <a:pos x="connsiteX2" y="connsiteY2"/>
                    </a:cxn>
                    <a:cxn ang="0">
                      <a:pos x="connsiteX3" y="connsiteY3"/>
                    </a:cxn>
                  </a:cxnLst>
                  <a:rect l="l" t="t" r="r" b="b"/>
                  <a:pathLst>
                    <a:path w="4665" h="4426">
                      <a:moveTo>
                        <a:pt x="4665" y="1675"/>
                      </a:moveTo>
                      <a:lnTo>
                        <a:pt x="3290" y="4426"/>
                      </a:lnTo>
                      <a:lnTo>
                        <a:pt x="0" y="2691"/>
                      </a:lnTo>
                      <a:lnTo>
                        <a:pt x="1376" y="0"/>
                      </a:lnTo>
                      <a:close/>
                    </a:path>
                  </a:pathLst>
                </a:custGeom>
                <a:grpFill/>
                <a:ln w="5978" cap="flat">
                  <a:noFill/>
                  <a:prstDash val="solid"/>
                  <a:miter/>
                </a:ln>
              </p:spPr>
              <p:txBody>
                <a:bodyPr rtlCol="0" anchor="ctr"/>
                <a:lstStyle/>
                <a:p>
                  <a:endParaRPr lang="en-GB"/>
                </a:p>
              </p:txBody>
            </p:sp>
            <p:sp>
              <p:nvSpPr>
                <p:cNvPr id="4289" name="Vrije vorm: vorm 4288">
                  <a:extLst>
                    <a:ext uri="{FF2B5EF4-FFF2-40B4-BE49-F238E27FC236}">
                      <a16:creationId xmlns:a16="http://schemas.microsoft.com/office/drawing/2014/main" id="{77F2DD48-6031-4B40-BE8C-D6BC0AB7A27E}"/>
                    </a:ext>
                  </a:extLst>
                </p:cNvPr>
                <p:cNvSpPr/>
                <p:nvPr/>
              </p:nvSpPr>
              <p:spPr>
                <a:xfrm>
                  <a:off x="7704212" y="4261418"/>
                  <a:ext cx="18349" cy="18431"/>
                </a:xfrm>
                <a:custGeom>
                  <a:avLst/>
                  <a:gdLst>
                    <a:gd name="connsiteX0" fmla="*/ 5019 w 18349"/>
                    <a:gd name="connsiteY0" fmla="*/ 17409 h 18431"/>
                    <a:gd name="connsiteX1" fmla="*/ 1011 w 18349"/>
                    <a:gd name="connsiteY1" fmla="*/ 5029 h 18431"/>
                    <a:gd name="connsiteX2" fmla="*/ 13331 w 18349"/>
                    <a:gd name="connsiteY2" fmla="*/ 1022 h 18431"/>
                    <a:gd name="connsiteX3" fmla="*/ 17338 w 18349"/>
                    <a:gd name="connsiteY3" fmla="*/ 13402 h 18431"/>
                    <a:gd name="connsiteX4" fmla="*/ 5019 w 18349"/>
                    <a:gd name="connsiteY4" fmla="*/ 1740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5019" y="17409"/>
                      </a:moveTo>
                      <a:cubicBezTo>
                        <a:pt x="533" y="15077"/>
                        <a:pt x="-1321" y="9515"/>
                        <a:pt x="1011" y="5029"/>
                      </a:cubicBezTo>
                      <a:cubicBezTo>
                        <a:pt x="3284" y="484"/>
                        <a:pt x="8846" y="-1310"/>
                        <a:pt x="13331" y="1022"/>
                      </a:cubicBezTo>
                      <a:cubicBezTo>
                        <a:pt x="17817" y="3355"/>
                        <a:pt x="19671" y="8917"/>
                        <a:pt x="17338" y="13402"/>
                      </a:cubicBezTo>
                      <a:cubicBezTo>
                        <a:pt x="15006" y="17948"/>
                        <a:pt x="9504" y="19742"/>
                        <a:pt x="5019" y="17409"/>
                      </a:cubicBezTo>
                      <a:close/>
                    </a:path>
                  </a:pathLst>
                </a:custGeom>
                <a:grpFill/>
                <a:ln w="5978" cap="flat">
                  <a:noFill/>
                  <a:prstDash val="solid"/>
                  <a:miter/>
                </a:ln>
              </p:spPr>
              <p:txBody>
                <a:bodyPr rtlCol="0" anchor="ctr"/>
                <a:lstStyle/>
                <a:p>
                  <a:endParaRPr lang="en-GB"/>
                </a:p>
              </p:txBody>
            </p:sp>
            <p:sp>
              <p:nvSpPr>
                <p:cNvPr id="4290" name="Vrije vorm: vorm 4289">
                  <a:extLst>
                    <a:ext uri="{FF2B5EF4-FFF2-40B4-BE49-F238E27FC236}">
                      <a16:creationId xmlns:a16="http://schemas.microsoft.com/office/drawing/2014/main" id="{3A81AAE3-DFCF-4E2D-87E9-61A9945F0D07}"/>
                    </a:ext>
                  </a:extLst>
                </p:cNvPr>
                <p:cNvSpPr/>
                <p:nvPr/>
              </p:nvSpPr>
              <p:spPr>
                <a:xfrm>
                  <a:off x="7706713" y="4262734"/>
                  <a:ext cx="18334" cy="18431"/>
                </a:xfrm>
                <a:custGeom>
                  <a:avLst/>
                  <a:gdLst>
                    <a:gd name="connsiteX0" fmla="*/ 5029 w 18334"/>
                    <a:gd name="connsiteY0" fmla="*/ 17409 h 18431"/>
                    <a:gd name="connsiteX1" fmla="*/ 17350 w 18334"/>
                    <a:gd name="connsiteY1" fmla="*/ 13402 h 18431"/>
                    <a:gd name="connsiteX2" fmla="*/ 13342 w 18334"/>
                    <a:gd name="connsiteY2" fmla="*/ 1022 h 18431"/>
                    <a:gd name="connsiteX3" fmla="*/ 1022 w 18334"/>
                    <a:gd name="connsiteY3" fmla="*/ 5029 h 18431"/>
                    <a:gd name="connsiteX4" fmla="*/ 5029 w 18334"/>
                    <a:gd name="connsiteY4" fmla="*/ 1740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1">
                      <a:moveTo>
                        <a:pt x="5029" y="17409"/>
                      </a:moveTo>
                      <a:cubicBezTo>
                        <a:pt x="9515" y="19742"/>
                        <a:pt x="15077" y="17947"/>
                        <a:pt x="17350" y="13402"/>
                      </a:cubicBezTo>
                      <a:cubicBezTo>
                        <a:pt x="19622" y="8857"/>
                        <a:pt x="17828" y="3295"/>
                        <a:pt x="13342" y="1022"/>
                      </a:cubicBezTo>
                      <a:cubicBezTo>
                        <a:pt x="8857" y="-1310"/>
                        <a:pt x="3294" y="484"/>
                        <a:pt x="1022" y="5029"/>
                      </a:cubicBezTo>
                      <a:cubicBezTo>
                        <a:pt x="-1310" y="9515"/>
                        <a:pt x="484" y="15077"/>
                        <a:pt x="5029" y="17409"/>
                      </a:cubicBezTo>
                      <a:close/>
                    </a:path>
                  </a:pathLst>
                </a:custGeom>
                <a:grpFill/>
                <a:ln w="5978" cap="flat">
                  <a:noFill/>
                  <a:prstDash val="solid"/>
                  <a:miter/>
                </a:ln>
              </p:spPr>
              <p:txBody>
                <a:bodyPr rtlCol="0" anchor="ctr"/>
                <a:lstStyle/>
                <a:p>
                  <a:endParaRPr lang="en-GB"/>
                </a:p>
              </p:txBody>
            </p:sp>
          </p:grpSp>
          <p:grpSp>
            <p:nvGrpSpPr>
              <p:cNvPr id="365" name="Graphic 3">
                <a:extLst>
                  <a:ext uri="{FF2B5EF4-FFF2-40B4-BE49-F238E27FC236}">
                    <a16:creationId xmlns:a16="http://schemas.microsoft.com/office/drawing/2014/main" id="{1C0296E8-064C-4485-A5A0-917018A29243}"/>
                  </a:ext>
                </a:extLst>
              </p:cNvPr>
              <p:cNvGrpSpPr/>
              <p:nvPr/>
            </p:nvGrpSpPr>
            <p:grpSpPr>
              <a:xfrm>
                <a:off x="6868614" y="1796883"/>
                <a:ext cx="98432" cy="161310"/>
                <a:chOff x="6868614" y="1796883"/>
                <a:chExt cx="98432" cy="161310"/>
              </a:xfrm>
              <a:grpFill/>
            </p:grpSpPr>
            <p:sp>
              <p:nvSpPr>
                <p:cNvPr id="4285" name="Vrije vorm: vorm 4284">
                  <a:extLst>
                    <a:ext uri="{FF2B5EF4-FFF2-40B4-BE49-F238E27FC236}">
                      <a16:creationId xmlns:a16="http://schemas.microsoft.com/office/drawing/2014/main" id="{F8823531-0A25-42B4-A656-8D005AE8E910}"/>
                    </a:ext>
                  </a:extLst>
                </p:cNvPr>
                <p:cNvSpPr/>
                <p:nvPr/>
              </p:nvSpPr>
              <p:spPr>
                <a:xfrm>
                  <a:off x="6876235" y="1804902"/>
                  <a:ext cx="83191" cy="145211"/>
                </a:xfrm>
                <a:custGeom>
                  <a:avLst/>
                  <a:gdLst>
                    <a:gd name="connsiteX0" fmla="*/ 83191 w 83191"/>
                    <a:gd name="connsiteY0" fmla="*/ 1495 h 145211"/>
                    <a:gd name="connsiteX1" fmla="*/ 2631 w 83191"/>
                    <a:gd name="connsiteY1" fmla="*/ 145212 h 145211"/>
                    <a:gd name="connsiteX2" fmla="*/ 0 w 83191"/>
                    <a:gd name="connsiteY2" fmla="*/ 143717 h 145211"/>
                    <a:gd name="connsiteX3" fmla="*/ 80500 w 83191"/>
                    <a:gd name="connsiteY3" fmla="*/ 0 h 145211"/>
                  </a:gdLst>
                  <a:ahLst/>
                  <a:cxnLst>
                    <a:cxn ang="0">
                      <a:pos x="connsiteX0" y="connsiteY0"/>
                    </a:cxn>
                    <a:cxn ang="0">
                      <a:pos x="connsiteX1" y="connsiteY1"/>
                    </a:cxn>
                    <a:cxn ang="0">
                      <a:pos x="connsiteX2" y="connsiteY2"/>
                    </a:cxn>
                    <a:cxn ang="0">
                      <a:pos x="connsiteX3" y="connsiteY3"/>
                    </a:cxn>
                  </a:cxnLst>
                  <a:rect l="l" t="t" r="r" b="b"/>
                  <a:pathLst>
                    <a:path w="83191" h="145211">
                      <a:moveTo>
                        <a:pt x="83191" y="1495"/>
                      </a:moveTo>
                      <a:lnTo>
                        <a:pt x="2631" y="145212"/>
                      </a:lnTo>
                      <a:lnTo>
                        <a:pt x="0" y="143717"/>
                      </a:lnTo>
                      <a:lnTo>
                        <a:pt x="80500" y="0"/>
                      </a:lnTo>
                      <a:close/>
                    </a:path>
                  </a:pathLst>
                </a:custGeom>
                <a:grpFill/>
                <a:ln w="5978" cap="flat">
                  <a:noFill/>
                  <a:prstDash val="solid"/>
                  <a:miter/>
                </a:ln>
              </p:spPr>
              <p:txBody>
                <a:bodyPr rtlCol="0" anchor="ctr"/>
                <a:lstStyle/>
                <a:p>
                  <a:endParaRPr lang="en-GB"/>
                </a:p>
              </p:txBody>
            </p:sp>
            <p:sp>
              <p:nvSpPr>
                <p:cNvPr id="4286" name="Vrije vorm: vorm 4285">
                  <a:extLst>
                    <a:ext uri="{FF2B5EF4-FFF2-40B4-BE49-F238E27FC236}">
                      <a16:creationId xmlns:a16="http://schemas.microsoft.com/office/drawing/2014/main" id="{F1562278-60CF-415A-A2C2-2C23B8AF0637}"/>
                    </a:ext>
                  </a:extLst>
                </p:cNvPr>
                <p:cNvSpPr/>
                <p:nvPr/>
              </p:nvSpPr>
              <p:spPr>
                <a:xfrm>
                  <a:off x="6948697" y="1796883"/>
                  <a:ext cx="18349" cy="18431"/>
                </a:xfrm>
                <a:custGeom>
                  <a:avLst/>
                  <a:gdLst>
                    <a:gd name="connsiteX0" fmla="*/ 1160 w 18349"/>
                    <a:gd name="connsiteY0" fmla="*/ 4670 h 18431"/>
                    <a:gd name="connsiteX1" fmla="*/ 13660 w 18349"/>
                    <a:gd name="connsiteY1" fmla="*/ 1201 h 18431"/>
                    <a:gd name="connsiteX2" fmla="*/ 17189 w 18349"/>
                    <a:gd name="connsiteY2" fmla="*/ 13761 h 18431"/>
                    <a:gd name="connsiteX3" fmla="*/ 4689 w 18349"/>
                    <a:gd name="connsiteY3" fmla="*/ 17230 h 18431"/>
                    <a:gd name="connsiteX4" fmla="*/ 1160 w 18349"/>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1160" y="4670"/>
                      </a:moveTo>
                      <a:cubicBezTo>
                        <a:pt x="3612" y="245"/>
                        <a:pt x="9234" y="-1310"/>
                        <a:pt x="13660" y="1201"/>
                      </a:cubicBezTo>
                      <a:cubicBezTo>
                        <a:pt x="18086" y="3713"/>
                        <a:pt x="19641" y="9335"/>
                        <a:pt x="17189" y="13761"/>
                      </a:cubicBezTo>
                      <a:cubicBezTo>
                        <a:pt x="14736" y="18187"/>
                        <a:pt x="9115" y="19742"/>
                        <a:pt x="4689" y="17230"/>
                      </a:cubicBezTo>
                      <a:cubicBezTo>
                        <a:pt x="263" y="14718"/>
                        <a:pt x="-1292" y="9096"/>
                        <a:pt x="1160" y="4670"/>
                      </a:cubicBezTo>
                      <a:close/>
                    </a:path>
                  </a:pathLst>
                </a:custGeom>
                <a:grpFill/>
                <a:ln w="5978" cap="flat">
                  <a:noFill/>
                  <a:prstDash val="solid"/>
                  <a:miter/>
                </a:ln>
              </p:spPr>
              <p:txBody>
                <a:bodyPr rtlCol="0" anchor="ctr"/>
                <a:lstStyle/>
                <a:p>
                  <a:endParaRPr lang="en-GB"/>
                </a:p>
              </p:txBody>
            </p:sp>
            <p:sp>
              <p:nvSpPr>
                <p:cNvPr id="4287" name="Vrije vorm: vorm 4286">
                  <a:extLst>
                    <a:ext uri="{FF2B5EF4-FFF2-40B4-BE49-F238E27FC236}">
                      <a16:creationId xmlns:a16="http://schemas.microsoft.com/office/drawing/2014/main" id="{D840B29B-B617-41F4-B926-56C29CC2D006}"/>
                    </a:ext>
                  </a:extLst>
                </p:cNvPr>
                <p:cNvSpPr/>
                <p:nvPr/>
              </p:nvSpPr>
              <p:spPr>
                <a:xfrm>
                  <a:off x="6868614" y="1939762"/>
                  <a:ext cx="18291" cy="18431"/>
                </a:xfrm>
                <a:custGeom>
                  <a:avLst/>
                  <a:gdLst>
                    <a:gd name="connsiteX0" fmla="*/ 1162 w 18291"/>
                    <a:gd name="connsiteY0" fmla="*/ 4670 h 18431"/>
                    <a:gd name="connsiteX1" fmla="*/ 4631 w 18291"/>
                    <a:gd name="connsiteY1" fmla="*/ 17230 h 18431"/>
                    <a:gd name="connsiteX2" fmla="*/ 17131 w 18291"/>
                    <a:gd name="connsiteY2" fmla="*/ 13761 h 18431"/>
                    <a:gd name="connsiteX3" fmla="*/ 13602 w 18291"/>
                    <a:gd name="connsiteY3" fmla="*/ 1201 h 18431"/>
                    <a:gd name="connsiteX4" fmla="*/ 1162 w 18291"/>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31">
                      <a:moveTo>
                        <a:pt x="1162" y="4670"/>
                      </a:moveTo>
                      <a:cubicBezTo>
                        <a:pt x="-1290" y="9096"/>
                        <a:pt x="265" y="14718"/>
                        <a:pt x="4631" y="17230"/>
                      </a:cubicBezTo>
                      <a:cubicBezTo>
                        <a:pt x="9057" y="19742"/>
                        <a:pt x="14619" y="18187"/>
                        <a:pt x="17131" y="13761"/>
                      </a:cubicBezTo>
                      <a:cubicBezTo>
                        <a:pt x="19583" y="9335"/>
                        <a:pt x="18028" y="3713"/>
                        <a:pt x="13602" y="1201"/>
                      </a:cubicBezTo>
                      <a:cubicBezTo>
                        <a:pt x="9236" y="-1310"/>
                        <a:pt x="3674" y="245"/>
                        <a:pt x="1162" y="4670"/>
                      </a:cubicBezTo>
                      <a:close/>
                    </a:path>
                  </a:pathLst>
                </a:custGeom>
                <a:grpFill/>
                <a:ln w="5978" cap="flat">
                  <a:noFill/>
                  <a:prstDash val="solid"/>
                  <a:miter/>
                </a:ln>
              </p:spPr>
              <p:txBody>
                <a:bodyPr rtlCol="0" anchor="ctr"/>
                <a:lstStyle/>
                <a:p>
                  <a:endParaRPr lang="en-GB"/>
                </a:p>
              </p:txBody>
            </p:sp>
          </p:grpSp>
          <p:grpSp>
            <p:nvGrpSpPr>
              <p:cNvPr id="366" name="Graphic 3">
                <a:extLst>
                  <a:ext uri="{FF2B5EF4-FFF2-40B4-BE49-F238E27FC236}">
                    <a16:creationId xmlns:a16="http://schemas.microsoft.com/office/drawing/2014/main" id="{BDD4B26D-DFEB-4B41-AFC2-77CC1B099D81}"/>
                  </a:ext>
                </a:extLst>
              </p:cNvPr>
              <p:cNvGrpSpPr/>
              <p:nvPr/>
            </p:nvGrpSpPr>
            <p:grpSpPr>
              <a:xfrm>
                <a:off x="7745767" y="4449781"/>
                <a:ext cx="102713" cy="70150"/>
                <a:chOff x="7745767" y="4449781"/>
                <a:chExt cx="102713" cy="70150"/>
              </a:xfrm>
              <a:grpFill/>
            </p:grpSpPr>
            <p:sp>
              <p:nvSpPr>
                <p:cNvPr id="4282" name="Vrije vorm: vorm 4281">
                  <a:extLst>
                    <a:ext uri="{FF2B5EF4-FFF2-40B4-BE49-F238E27FC236}">
                      <a16:creationId xmlns:a16="http://schemas.microsoft.com/office/drawing/2014/main" id="{83A0F5DC-A86B-47D6-8F35-6C95E57ADE23}"/>
                    </a:ext>
                  </a:extLst>
                </p:cNvPr>
                <p:cNvSpPr/>
                <p:nvPr/>
              </p:nvSpPr>
              <p:spPr>
                <a:xfrm>
                  <a:off x="7753786" y="4457472"/>
                  <a:ext cx="86780" cy="54843"/>
                </a:xfrm>
                <a:custGeom>
                  <a:avLst/>
                  <a:gdLst>
                    <a:gd name="connsiteX0" fmla="*/ 86780 w 86780"/>
                    <a:gd name="connsiteY0" fmla="*/ 52212 h 54843"/>
                    <a:gd name="connsiteX1" fmla="*/ 85165 w 86780"/>
                    <a:gd name="connsiteY1" fmla="*/ 54843 h 54843"/>
                    <a:gd name="connsiteX2" fmla="*/ 0 w 86780"/>
                    <a:gd name="connsiteY2" fmla="*/ 2572 h 54843"/>
                    <a:gd name="connsiteX3" fmla="*/ 1555 w 86780"/>
                    <a:gd name="connsiteY3" fmla="*/ 0 h 54843"/>
                  </a:gdLst>
                  <a:ahLst/>
                  <a:cxnLst>
                    <a:cxn ang="0">
                      <a:pos x="connsiteX0" y="connsiteY0"/>
                    </a:cxn>
                    <a:cxn ang="0">
                      <a:pos x="connsiteX1" y="connsiteY1"/>
                    </a:cxn>
                    <a:cxn ang="0">
                      <a:pos x="connsiteX2" y="connsiteY2"/>
                    </a:cxn>
                    <a:cxn ang="0">
                      <a:pos x="connsiteX3" y="connsiteY3"/>
                    </a:cxn>
                  </a:cxnLst>
                  <a:rect l="l" t="t" r="r" b="b"/>
                  <a:pathLst>
                    <a:path w="86780" h="54843">
                      <a:moveTo>
                        <a:pt x="86780" y="52212"/>
                      </a:moveTo>
                      <a:lnTo>
                        <a:pt x="85165" y="54843"/>
                      </a:lnTo>
                      <a:lnTo>
                        <a:pt x="0" y="2572"/>
                      </a:lnTo>
                      <a:lnTo>
                        <a:pt x="1555" y="0"/>
                      </a:lnTo>
                      <a:close/>
                    </a:path>
                  </a:pathLst>
                </a:custGeom>
                <a:grpFill/>
                <a:ln w="5978" cap="flat">
                  <a:noFill/>
                  <a:prstDash val="solid"/>
                  <a:miter/>
                </a:ln>
              </p:spPr>
              <p:txBody>
                <a:bodyPr rtlCol="0" anchor="ctr"/>
                <a:lstStyle/>
                <a:p>
                  <a:endParaRPr lang="en-GB"/>
                </a:p>
              </p:txBody>
            </p:sp>
            <p:sp>
              <p:nvSpPr>
                <p:cNvPr id="4283" name="Vrije vorm: vorm 4282">
                  <a:extLst>
                    <a:ext uri="{FF2B5EF4-FFF2-40B4-BE49-F238E27FC236}">
                      <a16:creationId xmlns:a16="http://schemas.microsoft.com/office/drawing/2014/main" id="{8E472D27-26F4-4E17-ACC8-61E407B89BE6}"/>
                    </a:ext>
                  </a:extLst>
                </p:cNvPr>
                <p:cNvSpPr/>
                <p:nvPr/>
              </p:nvSpPr>
              <p:spPr>
                <a:xfrm>
                  <a:off x="7745767" y="4449781"/>
                  <a:ext cx="18311" cy="18431"/>
                </a:xfrm>
                <a:custGeom>
                  <a:avLst/>
                  <a:gdLst>
                    <a:gd name="connsiteX0" fmla="*/ 4431 w 18311"/>
                    <a:gd name="connsiteY0" fmla="*/ 17080 h 18431"/>
                    <a:gd name="connsiteX1" fmla="*/ 1321 w 18311"/>
                    <a:gd name="connsiteY1" fmla="*/ 4401 h 18431"/>
                    <a:gd name="connsiteX2" fmla="*/ 13880 w 18311"/>
                    <a:gd name="connsiteY2" fmla="*/ 1351 h 18431"/>
                    <a:gd name="connsiteX3" fmla="*/ 16990 w 18311"/>
                    <a:gd name="connsiteY3" fmla="*/ 14030 h 18431"/>
                    <a:gd name="connsiteX4" fmla="*/ 4431 w 18311"/>
                    <a:gd name="connsiteY4" fmla="*/ 1708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4431" y="17080"/>
                      </a:moveTo>
                      <a:cubicBezTo>
                        <a:pt x="124" y="14449"/>
                        <a:pt x="-1311" y="8767"/>
                        <a:pt x="1321" y="4401"/>
                      </a:cubicBezTo>
                      <a:cubicBezTo>
                        <a:pt x="3952" y="35"/>
                        <a:pt x="9574" y="-1281"/>
                        <a:pt x="13880" y="1351"/>
                      </a:cubicBezTo>
                      <a:cubicBezTo>
                        <a:pt x="18186" y="3983"/>
                        <a:pt x="19622" y="9664"/>
                        <a:pt x="16990" y="14030"/>
                      </a:cubicBezTo>
                      <a:cubicBezTo>
                        <a:pt x="14418" y="18396"/>
                        <a:pt x="8737" y="19712"/>
                        <a:pt x="4431" y="17080"/>
                      </a:cubicBezTo>
                      <a:close/>
                    </a:path>
                  </a:pathLst>
                </a:custGeom>
                <a:grpFill/>
                <a:ln w="5978" cap="flat">
                  <a:noFill/>
                  <a:prstDash val="solid"/>
                  <a:miter/>
                </a:ln>
              </p:spPr>
              <p:txBody>
                <a:bodyPr rtlCol="0" anchor="ctr"/>
                <a:lstStyle/>
                <a:p>
                  <a:endParaRPr lang="en-GB"/>
                </a:p>
              </p:txBody>
            </p:sp>
            <p:sp>
              <p:nvSpPr>
                <p:cNvPr id="4284" name="Vrije vorm: vorm 4283">
                  <a:extLst>
                    <a:ext uri="{FF2B5EF4-FFF2-40B4-BE49-F238E27FC236}">
                      <a16:creationId xmlns:a16="http://schemas.microsoft.com/office/drawing/2014/main" id="{32F4856D-6C9F-4CEA-98B3-CF8B81AC593B}"/>
                    </a:ext>
                  </a:extLst>
                </p:cNvPr>
                <p:cNvSpPr/>
                <p:nvPr/>
              </p:nvSpPr>
              <p:spPr>
                <a:xfrm>
                  <a:off x="7830182" y="4501528"/>
                  <a:ext cx="18298" cy="18403"/>
                </a:xfrm>
                <a:custGeom>
                  <a:avLst/>
                  <a:gdLst>
                    <a:gd name="connsiteX0" fmla="*/ 4404 w 18298"/>
                    <a:gd name="connsiteY0" fmla="*/ 17066 h 18403"/>
                    <a:gd name="connsiteX1" fmla="*/ 16964 w 18298"/>
                    <a:gd name="connsiteY1" fmla="*/ 14016 h 18403"/>
                    <a:gd name="connsiteX2" fmla="*/ 13854 w 18298"/>
                    <a:gd name="connsiteY2" fmla="*/ 1337 h 18403"/>
                    <a:gd name="connsiteX3" fmla="*/ 1294 w 18298"/>
                    <a:gd name="connsiteY3" fmla="*/ 4387 h 18403"/>
                    <a:gd name="connsiteX4" fmla="*/ 4404 w 18298"/>
                    <a:gd name="connsiteY4" fmla="*/ 17066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03">
                      <a:moveTo>
                        <a:pt x="4404" y="17066"/>
                      </a:moveTo>
                      <a:cubicBezTo>
                        <a:pt x="8710" y="19698"/>
                        <a:pt x="14392" y="18322"/>
                        <a:pt x="16964" y="14016"/>
                      </a:cubicBezTo>
                      <a:cubicBezTo>
                        <a:pt x="19596" y="9650"/>
                        <a:pt x="18219" y="4028"/>
                        <a:pt x="13854" y="1337"/>
                      </a:cubicBezTo>
                      <a:cubicBezTo>
                        <a:pt x="9548" y="-1294"/>
                        <a:pt x="3866" y="81"/>
                        <a:pt x="1294" y="4387"/>
                      </a:cubicBezTo>
                      <a:cubicBezTo>
                        <a:pt x="-1278" y="8753"/>
                        <a:pt x="98" y="14435"/>
                        <a:pt x="4404" y="17066"/>
                      </a:cubicBezTo>
                      <a:close/>
                    </a:path>
                  </a:pathLst>
                </a:custGeom>
                <a:grpFill/>
                <a:ln w="5978" cap="flat">
                  <a:noFill/>
                  <a:prstDash val="solid"/>
                  <a:miter/>
                </a:ln>
              </p:spPr>
              <p:txBody>
                <a:bodyPr rtlCol="0" anchor="ctr"/>
                <a:lstStyle/>
                <a:p>
                  <a:endParaRPr lang="en-GB"/>
                </a:p>
              </p:txBody>
            </p:sp>
          </p:grpSp>
          <p:grpSp>
            <p:nvGrpSpPr>
              <p:cNvPr id="367" name="Graphic 3">
                <a:extLst>
                  <a:ext uri="{FF2B5EF4-FFF2-40B4-BE49-F238E27FC236}">
                    <a16:creationId xmlns:a16="http://schemas.microsoft.com/office/drawing/2014/main" id="{262C8E36-C93F-4A07-964C-94D082866572}"/>
                  </a:ext>
                </a:extLst>
              </p:cNvPr>
              <p:cNvGrpSpPr/>
              <p:nvPr/>
            </p:nvGrpSpPr>
            <p:grpSpPr>
              <a:xfrm>
                <a:off x="7816702" y="4586131"/>
                <a:ext cx="26198" cy="23656"/>
                <a:chOff x="7816702" y="4586131"/>
                <a:chExt cx="26198" cy="23656"/>
              </a:xfrm>
              <a:grpFill/>
            </p:grpSpPr>
            <p:sp>
              <p:nvSpPr>
                <p:cNvPr id="4279" name="Vrije vorm: vorm 4278">
                  <a:extLst>
                    <a:ext uri="{FF2B5EF4-FFF2-40B4-BE49-F238E27FC236}">
                      <a16:creationId xmlns:a16="http://schemas.microsoft.com/office/drawing/2014/main" id="{2079812E-57DF-4E85-99C6-9C6C046B35F5}"/>
                    </a:ext>
                  </a:extLst>
                </p:cNvPr>
                <p:cNvSpPr/>
                <p:nvPr/>
              </p:nvSpPr>
              <p:spPr>
                <a:xfrm>
                  <a:off x="7824658" y="4593832"/>
                  <a:ext cx="10286" cy="8253"/>
                </a:xfrm>
                <a:custGeom>
                  <a:avLst/>
                  <a:gdLst>
                    <a:gd name="connsiteX0" fmla="*/ 10287 w 10286"/>
                    <a:gd name="connsiteY0" fmla="*/ 5741 h 8253"/>
                    <a:gd name="connsiteX1" fmla="*/ 8613 w 10286"/>
                    <a:gd name="connsiteY1" fmla="*/ 8253 h 8253"/>
                    <a:gd name="connsiteX2" fmla="*/ 0 w 10286"/>
                    <a:gd name="connsiteY2" fmla="*/ 2512 h 8253"/>
                    <a:gd name="connsiteX3" fmla="*/ 1675 w 10286"/>
                    <a:gd name="connsiteY3" fmla="*/ 0 h 8253"/>
                  </a:gdLst>
                  <a:ahLst/>
                  <a:cxnLst>
                    <a:cxn ang="0">
                      <a:pos x="connsiteX0" y="connsiteY0"/>
                    </a:cxn>
                    <a:cxn ang="0">
                      <a:pos x="connsiteX1" y="connsiteY1"/>
                    </a:cxn>
                    <a:cxn ang="0">
                      <a:pos x="connsiteX2" y="connsiteY2"/>
                    </a:cxn>
                    <a:cxn ang="0">
                      <a:pos x="connsiteX3" y="connsiteY3"/>
                    </a:cxn>
                  </a:cxnLst>
                  <a:rect l="l" t="t" r="r" b="b"/>
                  <a:pathLst>
                    <a:path w="10286" h="8253">
                      <a:moveTo>
                        <a:pt x="10287" y="5741"/>
                      </a:moveTo>
                      <a:lnTo>
                        <a:pt x="8613" y="8253"/>
                      </a:lnTo>
                      <a:lnTo>
                        <a:pt x="0" y="2512"/>
                      </a:lnTo>
                      <a:lnTo>
                        <a:pt x="1675" y="0"/>
                      </a:lnTo>
                      <a:close/>
                    </a:path>
                  </a:pathLst>
                </a:custGeom>
                <a:grpFill/>
                <a:ln w="5978" cap="flat">
                  <a:noFill/>
                  <a:prstDash val="solid"/>
                  <a:miter/>
                </a:ln>
              </p:spPr>
              <p:txBody>
                <a:bodyPr rtlCol="0" anchor="ctr"/>
                <a:lstStyle/>
                <a:p>
                  <a:endParaRPr lang="en-GB"/>
                </a:p>
              </p:txBody>
            </p:sp>
            <p:sp>
              <p:nvSpPr>
                <p:cNvPr id="4280" name="Vrije vorm: vorm 4279">
                  <a:extLst>
                    <a:ext uri="{FF2B5EF4-FFF2-40B4-BE49-F238E27FC236}">
                      <a16:creationId xmlns:a16="http://schemas.microsoft.com/office/drawing/2014/main" id="{E0D56B58-7AF9-4979-93E8-E85405BFA950}"/>
                    </a:ext>
                  </a:extLst>
                </p:cNvPr>
                <p:cNvSpPr/>
                <p:nvPr/>
              </p:nvSpPr>
              <p:spPr>
                <a:xfrm>
                  <a:off x="7824597" y="4591334"/>
                  <a:ext cx="18304" cy="18453"/>
                </a:xfrm>
                <a:custGeom>
                  <a:avLst/>
                  <a:gdLst>
                    <a:gd name="connsiteX0" fmla="*/ 14176 w 18304"/>
                    <a:gd name="connsiteY0" fmla="*/ 1541 h 18453"/>
                    <a:gd name="connsiteX1" fmla="*/ 16808 w 18304"/>
                    <a:gd name="connsiteY1" fmla="*/ 14340 h 18453"/>
                    <a:gd name="connsiteX2" fmla="*/ 4128 w 18304"/>
                    <a:gd name="connsiteY2" fmla="*/ 16912 h 18453"/>
                    <a:gd name="connsiteX3" fmla="*/ 1497 w 18304"/>
                    <a:gd name="connsiteY3" fmla="*/ 4113 h 18453"/>
                    <a:gd name="connsiteX4" fmla="*/ 14176 w 1830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3">
                      <a:moveTo>
                        <a:pt x="14176" y="1541"/>
                      </a:moveTo>
                      <a:cubicBezTo>
                        <a:pt x="18422" y="4352"/>
                        <a:pt x="19558" y="10094"/>
                        <a:pt x="16808" y="14340"/>
                      </a:cubicBezTo>
                      <a:cubicBezTo>
                        <a:pt x="13996" y="18587"/>
                        <a:pt x="8315" y="19723"/>
                        <a:pt x="4128" y="16912"/>
                      </a:cubicBezTo>
                      <a:cubicBezTo>
                        <a:pt x="-118" y="14101"/>
                        <a:pt x="-1254" y="8359"/>
                        <a:pt x="1497" y="4113"/>
                      </a:cubicBezTo>
                      <a:cubicBezTo>
                        <a:pt x="4248" y="-133"/>
                        <a:pt x="9930" y="-1269"/>
                        <a:pt x="14176" y="1541"/>
                      </a:cubicBezTo>
                      <a:close/>
                    </a:path>
                  </a:pathLst>
                </a:custGeom>
                <a:grpFill/>
                <a:ln w="5978" cap="flat">
                  <a:noFill/>
                  <a:prstDash val="solid"/>
                  <a:miter/>
                </a:ln>
              </p:spPr>
              <p:txBody>
                <a:bodyPr rtlCol="0" anchor="ctr"/>
                <a:lstStyle/>
                <a:p>
                  <a:endParaRPr lang="en-GB"/>
                </a:p>
              </p:txBody>
            </p:sp>
            <p:sp>
              <p:nvSpPr>
                <p:cNvPr id="4281" name="Vrije vorm: vorm 4280">
                  <a:extLst>
                    <a:ext uri="{FF2B5EF4-FFF2-40B4-BE49-F238E27FC236}">
                      <a16:creationId xmlns:a16="http://schemas.microsoft.com/office/drawing/2014/main" id="{991E6DDA-510C-4ADB-90B5-0CF9335F7C61}"/>
                    </a:ext>
                  </a:extLst>
                </p:cNvPr>
                <p:cNvSpPr/>
                <p:nvPr/>
              </p:nvSpPr>
              <p:spPr>
                <a:xfrm>
                  <a:off x="7816702" y="4586131"/>
                  <a:ext cx="18304" cy="18453"/>
                </a:xfrm>
                <a:custGeom>
                  <a:avLst/>
                  <a:gdLst>
                    <a:gd name="connsiteX0" fmla="*/ 14176 w 18304"/>
                    <a:gd name="connsiteY0" fmla="*/ 1541 h 18453"/>
                    <a:gd name="connsiteX1" fmla="*/ 1497 w 18304"/>
                    <a:gd name="connsiteY1" fmla="*/ 4113 h 18453"/>
                    <a:gd name="connsiteX2" fmla="*/ 4128 w 18304"/>
                    <a:gd name="connsiteY2" fmla="*/ 16912 h 18453"/>
                    <a:gd name="connsiteX3" fmla="*/ 16807 w 18304"/>
                    <a:gd name="connsiteY3" fmla="*/ 14340 h 18453"/>
                    <a:gd name="connsiteX4" fmla="*/ 14176 w 1830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3">
                      <a:moveTo>
                        <a:pt x="14176" y="1541"/>
                      </a:moveTo>
                      <a:cubicBezTo>
                        <a:pt x="9929" y="-1269"/>
                        <a:pt x="4248" y="-133"/>
                        <a:pt x="1497" y="4113"/>
                      </a:cubicBezTo>
                      <a:cubicBezTo>
                        <a:pt x="-1255" y="8359"/>
                        <a:pt x="-118" y="14041"/>
                        <a:pt x="4128" y="16912"/>
                      </a:cubicBezTo>
                      <a:cubicBezTo>
                        <a:pt x="8375" y="19723"/>
                        <a:pt x="14056" y="18587"/>
                        <a:pt x="16807" y="14340"/>
                      </a:cubicBezTo>
                      <a:cubicBezTo>
                        <a:pt x="19559" y="10094"/>
                        <a:pt x="18422" y="4352"/>
                        <a:pt x="14176" y="1541"/>
                      </a:cubicBezTo>
                      <a:close/>
                    </a:path>
                  </a:pathLst>
                </a:custGeom>
                <a:grpFill/>
                <a:ln w="5978" cap="flat">
                  <a:noFill/>
                  <a:prstDash val="solid"/>
                  <a:miter/>
                </a:ln>
              </p:spPr>
              <p:txBody>
                <a:bodyPr rtlCol="0" anchor="ctr"/>
                <a:lstStyle/>
                <a:p>
                  <a:endParaRPr lang="en-GB"/>
                </a:p>
              </p:txBody>
            </p:sp>
          </p:grpSp>
          <p:grpSp>
            <p:nvGrpSpPr>
              <p:cNvPr id="368" name="Graphic 3">
                <a:extLst>
                  <a:ext uri="{FF2B5EF4-FFF2-40B4-BE49-F238E27FC236}">
                    <a16:creationId xmlns:a16="http://schemas.microsoft.com/office/drawing/2014/main" id="{0B4A55ED-AE84-4722-AD41-1D53D8AFA11F}"/>
                  </a:ext>
                </a:extLst>
              </p:cNvPr>
              <p:cNvGrpSpPr/>
              <p:nvPr/>
            </p:nvGrpSpPr>
            <p:grpSpPr>
              <a:xfrm>
                <a:off x="6842190" y="1786156"/>
                <a:ext cx="91546" cy="154981"/>
                <a:chOff x="6842190" y="1786156"/>
                <a:chExt cx="91546" cy="154981"/>
              </a:xfrm>
              <a:grpFill/>
            </p:grpSpPr>
            <p:sp>
              <p:nvSpPr>
                <p:cNvPr id="4276" name="Vrije vorm: vorm 4275">
                  <a:extLst>
                    <a:ext uri="{FF2B5EF4-FFF2-40B4-BE49-F238E27FC236}">
                      <a16:creationId xmlns:a16="http://schemas.microsoft.com/office/drawing/2014/main" id="{401FCAA1-45E9-4335-9034-96EB4939F57B}"/>
                    </a:ext>
                  </a:extLst>
                </p:cNvPr>
                <p:cNvSpPr/>
                <p:nvPr/>
              </p:nvSpPr>
              <p:spPr>
                <a:xfrm>
                  <a:off x="6849740" y="1794197"/>
                  <a:ext cx="76373" cy="138812"/>
                </a:xfrm>
                <a:custGeom>
                  <a:avLst/>
                  <a:gdLst>
                    <a:gd name="connsiteX0" fmla="*/ 76374 w 76373"/>
                    <a:gd name="connsiteY0" fmla="*/ 1435 h 138812"/>
                    <a:gd name="connsiteX1" fmla="*/ 2692 w 76373"/>
                    <a:gd name="connsiteY1" fmla="*/ 138812 h 138812"/>
                    <a:gd name="connsiteX2" fmla="*/ 0 w 76373"/>
                    <a:gd name="connsiteY2" fmla="*/ 137377 h 138812"/>
                    <a:gd name="connsiteX3" fmla="*/ 73683 w 76373"/>
                    <a:gd name="connsiteY3" fmla="*/ 0 h 138812"/>
                  </a:gdLst>
                  <a:ahLst/>
                  <a:cxnLst>
                    <a:cxn ang="0">
                      <a:pos x="connsiteX0" y="connsiteY0"/>
                    </a:cxn>
                    <a:cxn ang="0">
                      <a:pos x="connsiteX1" y="connsiteY1"/>
                    </a:cxn>
                    <a:cxn ang="0">
                      <a:pos x="connsiteX2" y="connsiteY2"/>
                    </a:cxn>
                    <a:cxn ang="0">
                      <a:pos x="connsiteX3" y="connsiteY3"/>
                    </a:cxn>
                  </a:cxnLst>
                  <a:rect l="l" t="t" r="r" b="b"/>
                  <a:pathLst>
                    <a:path w="76373" h="138812">
                      <a:moveTo>
                        <a:pt x="76374" y="1435"/>
                      </a:moveTo>
                      <a:lnTo>
                        <a:pt x="2692" y="138812"/>
                      </a:lnTo>
                      <a:lnTo>
                        <a:pt x="0" y="137377"/>
                      </a:lnTo>
                      <a:lnTo>
                        <a:pt x="73683" y="0"/>
                      </a:lnTo>
                      <a:close/>
                    </a:path>
                  </a:pathLst>
                </a:custGeom>
                <a:grpFill/>
                <a:ln w="5978" cap="flat">
                  <a:noFill/>
                  <a:prstDash val="solid"/>
                  <a:miter/>
                </a:ln>
              </p:spPr>
              <p:txBody>
                <a:bodyPr rtlCol="0" anchor="ctr"/>
                <a:lstStyle/>
                <a:p>
                  <a:endParaRPr lang="en-GB"/>
                </a:p>
              </p:txBody>
            </p:sp>
            <p:sp>
              <p:nvSpPr>
                <p:cNvPr id="4277" name="Vrije vorm: vorm 4276">
                  <a:extLst>
                    <a:ext uri="{FF2B5EF4-FFF2-40B4-BE49-F238E27FC236}">
                      <a16:creationId xmlns:a16="http://schemas.microsoft.com/office/drawing/2014/main" id="{62BBE7C6-F2D4-4CCF-9087-041CD75DF94C}"/>
                    </a:ext>
                  </a:extLst>
                </p:cNvPr>
                <p:cNvSpPr/>
                <p:nvPr/>
              </p:nvSpPr>
              <p:spPr>
                <a:xfrm>
                  <a:off x="6915355" y="1786156"/>
                  <a:ext cx="18381" cy="18414"/>
                </a:xfrm>
                <a:custGeom>
                  <a:avLst/>
                  <a:gdLst>
                    <a:gd name="connsiteX0" fmla="*/ 1130 w 18381"/>
                    <a:gd name="connsiteY0" fmla="*/ 4812 h 18414"/>
                    <a:gd name="connsiteX1" fmla="*/ 13570 w 18381"/>
                    <a:gd name="connsiteY1" fmla="*/ 1104 h 18414"/>
                    <a:gd name="connsiteX2" fmla="*/ 17278 w 18381"/>
                    <a:gd name="connsiteY2" fmla="*/ 13603 h 18414"/>
                    <a:gd name="connsiteX3" fmla="*/ 4838 w 18381"/>
                    <a:gd name="connsiteY3" fmla="*/ 17311 h 18414"/>
                    <a:gd name="connsiteX4" fmla="*/ 1130 w 18381"/>
                    <a:gd name="connsiteY4" fmla="*/ 481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14">
                      <a:moveTo>
                        <a:pt x="1130" y="4812"/>
                      </a:moveTo>
                      <a:cubicBezTo>
                        <a:pt x="3523" y="326"/>
                        <a:pt x="9084" y="-1289"/>
                        <a:pt x="13570" y="1104"/>
                      </a:cubicBezTo>
                      <a:cubicBezTo>
                        <a:pt x="18055" y="3556"/>
                        <a:pt x="19670" y="9118"/>
                        <a:pt x="17278" y="13603"/>
                      </a:cubicBezTo>
                      <a:cubicBezTo>
                        <a:pt x="14886" y="18089"/>
                        <a:pt x="9324" y="19704"/>
                        <a:pt x="4838" y="17311"/>
                      </a:cubicBezTo>
                      <a:cubicBezTo>
                        <a:pt x="353" y="14859"/>
                        <a:pt x="-1322" y="9237"/>
                        <a:pt x="1130" y="4812"/>
                      </a:cubicBezTo>
                      <a:close/>
                    </a:path>
                  </a:pathLst>
                </a:custGeom>
                <a:grpFill/>
                <a:ln w="5978" cap="flat">
                  <a:noFill/>
                  <a:prstDash val="solid"/>
                  <a:miter/>
                </a:ln>
              </p:spPr>
              <p:txBody>
                <a:bodyPr rtlCol="0" anchor="ctr"/>
                <a:lstStyle/>
                <a:p>
                  <a:endParaRPr lang="en-GB"/>
                </a:p>
              </p:txBody>
            </p:sp>
            <p:sp>
              <p:nvSpPr>
                <p:cNvPr id="4278" name="Vrije vorm: vorm 4277">
                  <a:extLst>
                    <a:ext uri="{FF2B5EF4-FFF2-40B4-BE49-F238E27FC236}">
                      <a16:creationId xmlns:a16="http://schemas.microsoft.com/office/drawing/2014/main" id="{46612EFD-B752-4997-B065-952441E407F2}"/>
                    </a:ext>
                  </a:extLst>
                </p:cNvPr>
                <p:cNvSpPr/>
                <p:nvPr/>
              </p:nvSpPr>
              <p:spPr>
                <a:xfrm>
                  <a:off x="6842190" y="1922669"/>
                  <a:ext cx="18330" cy="18467"/>
                </a:xfrm>
                <a:custGeom>
                  <a:avLst/>
                  <a:gdLst>
                    <a:gd name="connsiteX0" fmla="*/ 1092 w 18330"/>
                    <a:gd name="connsiteY0" fmla="*/ 4838 h 18467"/>
                    <a:gd name="connsiteX1" fmla="*/ 4800 w 18330"/>
                    <a:gd name="connsiteY1" fmla="*/ 17338 h 18467"/>
                    <a:gd name="connsiteX2" fmla="*/ 17239 w 18330"/>
                    <a:gd name="connsiteY2" fmla="*/ 13630 h 18467"/>
                    <a:gd name="connsiteX3" fmla="*/ 13531 w 18330"/>
                    <a:gd name="connsiteY3" fmla="*/ 1130 h 18467"/>
                    <a:gd name="connsiteX4" fmla="*/ 1092 w 18330"/>
                    <a:gd name="connsiteY4" fmla="*/ 4838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67">
                      <a:moveTo>
                        <a:pt x="1092" y="4838"/>
                      </a:moveTo>
                      <a:cubicBezTo>
                        <a:pt x="-1301" y="9324"/>
                        <a:pt x="374" y="14886"/>
                        <a:pt x="4800" y="17338"/>
                      </a:cubicBezTo>
                      <a:cubicBezTo>
                        <a:pt x="9225" y="19790"/>
                        <a:pt x="14788" y="18115"/>
                        <a:pt x="17239" y="13630"/>
                      </a:cubicBezTo>
                      <a:cubicBezTo>
                        <a:pt x="19632" y="9144"/>
                        <a:pt x="17957" y="3582"/>
                        <a:pt x="13531" y="1130"/>
                      </a:cubicBezTo>
                      <a:cubicBezTo>
                        <a:pt x="9046" y="-1322"/>
                        <a:pt x="3484" y="352"/>
                        <a:pt x="1092" y="4838"/>
                      </a:cubicBezTo>
                      <a:close/>
                    </a:path>
                  </a:pathLst>
                </a:custGeom>
                <a:grpFill/>
                <a:ln w="5978" cap="flat">
                  <a:noFill/>
                  <a:prstDash val="solid"/>
                  <a:miter/>
                </a:ln>
              </p:spPr>
              <p:txBody>
                <a:bodyPr rtlCol="0" anchor="ctr"/>
                <a:lstStyle/>
                <a:p>
                  <a:endParaRPr lang="en-GB"/>
                </a:p>
              </p:txBody>
            </p:sp>
          </p:grpSp>
          <p:grpSp>
            <p:nvGrpSpPr>
              <p:cNvPr id="369" name="Graphic 3">
                <a:extLst>
                  <a:ext uri="{FF2B5EF4-FFF2-40B4-BE49-F238E27FC236}">
                    <a16:creationId xmlns:a16="http://schemas.microsoft.com/office/drawing/2014/main" id="{EE4A10A0-DBD4-4223-8355-4D6A0EAFDA6C}"/>
                  </a:ext>
                </a:extLst>
              </p:cNvPr>
              <p:cNvGrpSpPr/>
              <p:nvPr/>
            </p:nvGrpSpPr>
            <p:grpSpPr>
              <a:xfrm>
                <a:off x="7609313" y="4070215"/>
                <a:ext cx="64635" cy="38114"/>
                <a:chOff x="7609313" y="4070215"/>
                <a:chExt cx="64635" cy="38114"/>
              </a:xfrm>
              <a:grpFill/>
            </p:grpSpPr>
            <p:sp>
              <p:nvSpPr>
                <p:cNvPr id="4273" name="Vrije vorm: vorm 4272">
                  <a:extLst>
                    <a:ext uri="{FF2B5EF4-FFF2-40B4-BE49-F238E27FC236}">
                      <a16:creationId xmlns:a16="http://schemas.microsoft.com/office/drawing/2014/main" id="{277E311F-7CBC-4507-8409-CDE73EB3C1C8}"/>
                    </a:ext>
                  </a:extLst>
                </p:cNvPr>
                <p:cNvSpPr/>
                <p:nvPr/>
              </p:nvSpPr>
              <p:spPr>
                <a:xfrm>
                  <a:off x="7617426" y="4077816"/>
                  <a:ext cx="48384" cy="22846"/>
                </a:xfrm>
                <a:custGeom>
                  <a:avLst/>
                  <a:gdLst>
                    <a:gd name="connsiteX0" fmla="*/ 48385 w 48384"/>
                    <a:gd name="connsiteY0" fmla="*/ 20036 h 22846"/>
                    <a:gd name="connsiteX1" fmla="*/ 47248 w 48384"/>
                    <a:gd name="connsiteY1" fmla="*/ 22846 h 22846"/>
                    <a:gd name="connsiteX2" fmla="*/ 0 w 48384"/>
                    <a:gd name="connsiteY2" fmla="*/ 2871 h 22846"/>
                    <a:gd name="connsiteX3" fmla="*/ 1197 w 48384"/>
                    <a:gd name="connsiteY3" fmla="*/ 0 h 22846"/>
                  </a:gdLst>
                  <a:ahLst/>
                  <a:cxnLst>
                    <a:cxn ang="0">
                      <a:pos x="connsiteX0" y="connsiteY0"/>
                    </a:cxn>
                    <a:cxn ang="0">
                      <a:pos x="connsiteX1" y="connsiteY1"/>
                    </a:cxn>
                    <a:cxn ang="0">
                      <a:pos x="connsiteX2" y="connsiteY2"/>
                    </a:cxn>
                    <a:cxn ang="0">
                      <a:pos x="connsiteX3" y="connsiteY3"/>
                    </a:cxn>
                  </a:cxnLst>
                  <a:rect l="l" t="t" r="r" b="b"/>
                  <a:pathLst>
                    <a:path w="48384" h="22846">
                      <a:moveTo>
                        <a:pt x="48385" y="20036"/>
                      </a:moveTo>
                      <a:lnTo>
                        <a:pt x="47248" y="22846"/>
                      </a:lnTo>
                      <a:lnTo>
                        <a:pt x="0" y="2871"/>
                      </a:lnTo>
                      <a:lnTo>
                        <a:pt x="1197" y="0"/>
                      </a:lnTo>
                      <a:close/>
                    </a:path>
                  </a:pathLst>
                </a:custGeom>
                <a:grpFill/>
                <a:ln w="5978" cap="flat">
                  <a:noFill/>
                  <a:prstDash val="solid"/>
                  <a:miter/>
                </a:ln>
              </p:spPr>
              <p:txBody>
                <a:bodyPr rtlCol="0" anchor="ctr"/>
                <a:lstStyle/>
                <a:p>
                  <a:endParaRPr lang="en-GB"/>
                </a:p>
              </p:txBody>
            </p:sp>
            <p:sp>
              <p:nvSpPr>
                <p:cNvPr id="4274" name="Vrije vorm: vorm 4273">
                  <a:extLst>
                    <a:ext uri="{FF2B5EF4-FFF2-40B4-BE49-F238E27FC236}">
                      <a16:creationId xmlns:a16="http://schemas.microsoft.com/office/drawing/2014/main" id="{6BA8ED03-A412-4AF5-9302-7639DB8D7AF4}"/>
                    </a:ext>
                  </a:extLst>
                </p:cNvPr>
                <p:cNvSpPr/>
                <p:nvPr/>
              </p:nvSpPr>
              <p:spPr>
                <a:xfrm>
                  <a:off x="7655638" y="4089883"/>
                  <a:ext cx="18310" cy="18446"/>
                </a:xfrm>
                <a:custGeom>
                  <a:avLst/>
                  <a:gdLst>
                    <a:gd name="connsiteX0" fmla="*/ 12684 w 18310"/>
                    <a:gd name="connsiteY0" fmla="*/ 731 h 18446"/>
                    <a:gd name="connsiteX1" fmla="*/ 17588 w 18310"/>
                    <a:gd name="connsiteY1" fmla="*/ 12812 h 18446"/>
                    <a:gd name="connsiteX2" fmla="*/ 5627 w 18310"/>
                    <a:gd name="connsiteY2" fmla="*/ 17716 h 18446"/>
                    <a:gd name="connsiteX3" fmla="*/ 722 w 18310"/>
                    <a:gd name="connsiteY3" fmla="*/ 5635 h 18446"/>
                    <a:gd name="connsiteX4" fmla="*/ 12684 w 18310"/>
                    <a:gd name="connsiteY4" fmla="*/ 731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46">
                      <a:moveTo>
                        <a:pt x="12684" y="731"/>
                      </a:moveTo>
                      <a:cubicBezTo>
                        <a:pt x="17349" y="2705"/>
                        <a:pt x="19562" y="8087"/>
                        <a:pt x="17588" y="12812"/>
                      </a:cubicBezTo>
                      <a:cubicBezTo>
                        <a:pt x="15614" y="17537"/>
                        <a:pt x="10291" y="19690"/>
                        <a:pt x="5627" y="17716"/>
                      </a:cubicBezTo>
                      <a:cubicBezTo>
                        <a:pt x="962" y="15743"/>
                        <a:pt x="-1251" y="10360"/>
                        <a:pt x="722" y="5635"/>
                      </a:cubicBezTo>
                      <a:cubicBezTo>
                        <a:pt x="2696" y="910"/>
                        <a:pt x="8019" y="-1243"/>
                        <a:pt x="12684" y="731"/>
                      </a:cubicBezTo>
                      <a:close/>
                    </a:path>
                  </a:pathLst>
                </a:custGeom>
                <a:grpFill/>
                <a:ln w="5978" cap="flat">
                  <a:noFill/>
                  <a:prstDash val="solid"/>
                  <a:miter/>
                </a:ln>
              </p:spPr>
              <p:txBody>
                <a:bodyPr rtlCol="0" anchor="ctr"/>
                <a:lstStyle/>
                <a:p>
                  <a:endParaRPr lang="en-GB"/>
                </a:p>
              </p:txBody>
            </p:sp>
            <p:sp>
              <p:nvSpPr>
                <p:cNvPr id="4275" name="Vrije vorm: vorm 4274">
                  <a:extLst>
                    <a:ext uri="{FF2B5EF4-FFF2-40B4-BE49-F238E27FC236}">
                      <a16:creationId xmlns:a16="http://schemas.microsoft.com/office/drawing/2014/main" id="{CCA134F3-67CF-4DEB-AEED-E883C2ED253D}"/>
                    </a:ext>
                  </a:extLst>
                </p:cNvPr>
                <p:cNvSpPr/>
                <p:nvPr/>
              </p:nvSpPr>
              <p:spPr>
                <a:xfrm>
                  <a:off x="7609313" y="4070215"/>
                  <a:ext cx="18285" cy="18429"/>
                </a:xfrm>
                <a:custGeom>
                  <a:avLst/>
                  <a:gdLst>
                    <a:gd name="connsiteX0" fmla="*/ 12659 w 18285"/>
                    <a:gd name="connsiteY0" fmla="*/ 722 h 18429"/>
                    <a:gd name="connsiteX1" fmla="*/ 697 w 18285"/>
                    <a:gd name="connsiteY1" fmla="*/ 5626 h 18429"/>
                    <a:gd name="connsiteX2" fmla="*/ 5602 w 18285"/>
                    <a:gd name="connsiteY2" fmla="*/ 17707 h 18429"/>
                    <a:gd name="connsiteX3" fmla="*/ 17563 w 18285"/>
                    <a:gd name="connsiteY3" fmla="*/ 12803 h 18429"/>
                    <a:gd name="connsiteX4" fmla="*/ 12659 w 18285"/>
                    <a:gd name="connsiteY4" fmla="*/ 72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9">
                      <a:moveTo>
                        <a:pt x="12659" y="722"/>
                      </a:moveTo>
                      <a:cubicBezTo>
                        <a:pt x="7993" y="-1251"/>
                        <a:pt x="2611" y="962"/>
                        <a:pt x="697" y="5626"/>
                      </a:cubicBezTo>
                      <a:cubicBezTo>
                        <a:pt x="-1216" y="10291"/>
                        <a:pt x="937" y="15734"/>
                        <a:pt x="5602" y="17707"/>
                      </a:cubicBezTo>
                      <a:cubicBezTo>
                        <a:pt x="10266" y="19681"/>
                        <a:pt x="15649" y="17468"/>
                        <a:pt x="17563" y="12803"/>
                      </a:cubicBezTo>
                      <a:cubicBezTo>
                        <a:pt x="19536" y="8138"/>
                        <a:pt x="17324" y="2696"/>
                        <a:pt x="12659" y="722"/>
                      </a:cubicBezTo>
                      <a:close/>
                    </a:path>
                  </a:pathLst>
                </a:custGeom>
                <a:grpFill/>
                <a:ln w="5978" cap="flat">
                  <a:noFill/>
                  <a:prstDash val="solid"/>
                  <a:miter/>
                </a:ln>
              </p:spPr>
              <p:txBody>
                <a:bodyPr rtlCol="0" anchor="ctr"/>
                <a:lstStyle/>
                <a:p>
                  <a:endParaRPr lang="en-GB"/>
                </a:p>
              </p:txBody>
            </p:sp>
          </p:grpSp>
          <p:grpSp>
            <p:nvGrpSpPr>
              <p:cNvPr id="370" name="Graphic 3">
                <a:extLst>
                  <a:ext uri="{FF2B5EF4-FFF2-40B4-BE49-F238E27FC236}">
                    <a16:creationId xmlns:a16="http://schemas.microsoft.com/office/drawing/2014/main" id="{73CBEF7F-1EE3-413B-9BC9-59274238164F}"/>
                  </a:ext>
                </a:extLst>
              </p:cNvPr>
              <p:cNvGrpSpPr/>
              <p:nvPr/>
            </p:nvGrpSpPr>
            <p:grpSpPr>
              <a:xfrm>
                <a:off x="7596315" y="4099132"/>
                <a:ext cx="89998" cy="50367"/>
                <a:chOff x="7596315" y="4099132"/>
                <a:chExt cx="89998" cy="50367"/>
              </a:xfrm>
              <a:grpFill/>
            </p:grpSpPr>
            <p:sp>
              <p:nvSpPr>
                <p:cNvPr id="4270" name="Vrije vorm: vorm 4269">
                  <a:extLst>
                    <a:ext uri="{FF2B5EF4-FFF2-40B4-BE49-F238E27FC236}">
                      <a16:creationId xmlns:a16="http://schemas.microsoft.com/office/drawing/2014/main" id="{CECF3803-E471-4120-A08B-B163971EAE6C}"/>
                    </a:ext>
                  </a:extLst>
                </p:cNvPr>
                <p:cNvSpPr/>
                <p:nvPr/>
              </p:nvSpPr>
              <p:spPr>
                <a:xfrm>
                  <a:off x="7604448" y="4106762"/>
                  <a:ext cx="73742" cy="35106"/>
                </a:xfrm>
                <a:custGeom>
                  <a:avLst/>
                  <a:gdLst>
                    <a:gd name="connsiteX0" fmla="*/ 73742 w 73742"/>
                    <a:gd name="connsiteY0" fmla="*/ 32356 h 35106"/>
                    <a:gd name="connsiteX1" fmla="*/ 72546 w 73742"/>
                    <a:gd name="connsiteY1" fmla="*/ 35107 h 35106"/>
                    <a:gd name="connsiteX2" fmla="*/ 0 w 73742"/>
                    <a:gd name="connsiteY2" fmla="*/ 2811 h 35106"/>
                    <a:gd name="connsiteX3" fmla="*/ 1196 w 73742"/>
                    <a:gd name="connsiteY3" fmla="*/ 0 h 35106"/>
                  </a:gdLst>
                  <a:ahLst/>
                  <a:cxnLst>
                    <a:cxn ang="0">
                      <a:pos x="connsiteX0" y="connsiteY0"/>
                    </a:cxn>
                    <a:cxn ang="0">
                      <a:pos x="connsiteX1" y="connsiteY1"/>
                    </a:cxn>
                    <a:cxn ang="0">
                      <a:pos x="connsiteX2" y="connsiteY2"/>
                    </a:cxn>
                    <a:cxn ang="0">
                      <a:pos x="connsiteX3" y="connsiteY3"/>
                    </a:cxn>
                  </a:cxnLst>
                  <a:rect l="l" t="t" r="r" b="b"/>
                  <a:pathLst>
                    <a:path w="73742" h="35106">
                      <a:moveTo>
                        <a:pt x="73742" y="32356"/>
                      </a:moveTo>
                      <a:lnTo>
                        <a:pt x="72546" y="35107"/>
                      </a:lnTo>
                      <a:lnTo>
                        <a:pt x="0" y="2811"/>
                      </a:lnTo>
                      <a:lnTo>
                        <a:pt x="1196" y="0"/>
                      </a:lnTo>
                      <a:close/>
                    </a:path>
                  </a:pathLst>
                </a:custGeom>
                <a:grpFill/>
                <a:ln w="5978" cap="flat">
                  <a:noFill/>
                  <a:prstDash val="solid"/>
                  <a:miter/>
                </a:ln>
              </p:spPr>
              <p:txBody>
                <a:bodyPr rtlCol="0" anchor="ctr"/>
                <a:lstStyle/>
                <a:p>
                  <a:endParaRPr lang="en-GB"/>
                </a:p>
              </p:txBody>
            </p:sp>
            <p:sp>
              <p:nvSpPr>
                <p:cNvPr id="4271" name="Vrije vorm: vorm 4270">
                  <a:extLst>
                    <a:ext uri="{FF2B5EF4-FFF2-40B4-BE49-F238E27FC236}">
                      <a16:creationId xmlns:a16="http://schemas.microsoft.com/office/drawing/2014/main" id="{5BCF65E1-C0FD-4CFD-B99E-AF67FD633CC4}"/>
                    </a:ext>
                  </a:extLst>
                </p:cNvPr>
                <p:cNvSpPr/>
                <p:nvPr/>
              </p:nvSpPr>
              <p:spPr>
                <a:xfrm>
                  <a:off x="7667964" y="4131104"/>
                  <a:ext cx="18349" cy="18395"/>
                </a:xfrm>
                <a:custGeom>
                  <a:avLst/>
                  <a:gdLst>
                    <a:gd name="connsiteX0" fmla="*/ 12858 w 18349"/>
                    <a:gd name="connsiteY0" fmla="*/ 777 h 18395"/>
                    <a:gd name="connsiteX1" fmla="*/ 17582 w 18349"/>
                    <a:gd name="connsiteY1" fmla="*/ 12919 h 18395"/>
                    <a:gd name="connsiteX2" fmla="*/ 5501 w 18349"/>
                    <a:gd name="connsiteY2" fmla="*/ 17584 h 18395"/>
                    <a:gd name="connsiteX3" fmla="*/ 777 w 18349"/>
                    <a:gd name="connsiteY3" fmla="*/ 5443 h 18395"/>
                    <a:gd name="connsiteX4" fmla="*/ 12858 w 18349"/>
                    <a:gd name="connsiteY4" fmla="*/ 77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95">
                      <a:moveTo>
                        <a:pt x="12858" y="777"/>
                      </a:moveTo>
                      <a:cubicBezTo>
                        <a:pt x="17462" y="2871"/>
                        <a:pt x="19615" y="8313"/>
                        <a:pt x="17582" y="12919"/>
                      </a:cubicBezTo>
                      <a:cubicBezTo>
                        <a:pt x="15549" y="17584"/>
                        <a:pt x="10166" y="19677"/>
                        <a:pt x="5501" y="17584"/>
                      </a:cubicBezTo>
                      <a:cubicBezTo>
                        <a:pt x="837" y="15490"/>
                        <a:pt x="-1257" y="10048"/>
                        <a:pt x="777" y="5443"/>
                      </a:cubicBezTo>
                      <a:cubicBezTo>
                        <a:pt x="2870" y="837"/>
                        <a:pt x="8253" y="-1256"/>
                        <a:pt x="12858" y="777"/>
                      </a:cubicBezTo>
                      <a:close/>
                    </a:path>
                  </a:pathLst>
                </a:custGeom>
                <a:grpFill/>
                <a:ln w="5978" cap="flat">
                  <a:noFill/>
                  <a:prstDash val="solid"/>
                  <a:miter/>
                </a:ln>
              </p:spPr>
              <p:txBody>
                <a:bodyPr rtlCol="0" anchor="ctr"/>
                <a:lstStyle/>
                <a:p>
                  <a:endParaRPr lang="en-GB"/>
                </a:p>
              </p:txBody>
            </p:sp>
            <p:sp>
              <p:nvSpPr>
                <p:cNvPr id="4272" name="Vrije vorm: vorm 4271">
                  <a:extLst>
                    <a:ext uri="{FF2B5EF4-FFF2-40B4-BE49-F238E27FC236}">
                      <a16:creationId xmlns:a16="http://schemas.microsoft.com/office/drawing/2014/main" id="{5EAA6C4A-B3EE-4E86-AADD-6D7AB43D379C}"/>
                    </a:ext>
                  </a:extLst>
                </p:cNvPr>
                <p:cNvSpPr/>
                <p:nvPr/>
              </p:nvSpPr>
              <p:spPr>
                <a:xfrm>
                  <a:off x="7596315" y="4099132"/>
                  <a:ext cx="18324" cy="18395"/>
                </a:xfrm>
                <a:custGeom>
                  <a:avLst/>
                  <a:gdLst>
                    <a:gd name="connsiteX0" fmla="*/ 12857 w 18324"/>
                    <a:gd name="connsiteY0" fmla="*/ 812 h 18395"/>
                    <a:gd name="connsiteX1" fmla="*/ 777 w 18324"/>
                    <a:gd name="connsiteY1" fmla="*/ 5477 h 18395"/>
                    <a:gd name="connsiteX2" fmla="*/ 5501 w 18324"/>
                    <a:gd name="connsiteY2" fmla="*/ 17618 h 18395"/>
                    <a:gd name="connsiteX3" fmla="*/ 17582 w 18324"/>
                    <a:gd name="connsiteY3" fmla="*/ 12953 h 18395"/>
                    <a:gd name="connsiteX4" fmla="*/ 12857 w 18324"/>
                    <a:gd name="connsiteY4" fmla="*/ 812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5">
                      <a:moveTo>
                        <a:pt x="12857" y="812"/>
                      </a:moveTo>
                      <a:cubicBezTo>
                        <a:pt x="8253" y="-1281"/>
                        <a:pt x="2810" y="812"/>
                        <a:pt x="777" y="5477"/>
                      </a:cubicBezTo>
                      <a:cubicBezTo>
                        <a:pt x="-1257" y="10142"/>
                        <a:pt x="836" y="15584"/>
                        <a:pt x="5501" y="17618"/>
                      </a:cubicBezTo>
                      <a:cubicBezTo>
                        <a:pt x="10166" y="19652"/>
                        <a:pt x="15549" y="17558"/>
                        <a:pt x="17582" y="12953"/>
                      </a:cubicBezTo>
                      <a:cubicBezTo>
                        <a:pt x="19556" y="8288"/>
                        <a:pt x="17463" y="2845"/>
                        <a:pt x="12857" y="812"/>
                      </a:cubicBezTo>
                      <a:close/>
                    </a:path>
                  </a:pathLst>
                </a:custGeom>
                <a:grpFill/>
                <a:ln w="5978" cap="flat">
                  <a:noFill/>
                  <a:prstDash val="solid"/>
                  <a:miter/>
                </a:ln>
              </p:spPr>
              <p:txBody>
                <a:bodyPr rtlCol="0" anchor="ctr"/>
                <a:lstStyle/>
                <a:p>
                  <a:endParaRPr lang="en-GB"/>
                </a:p>
              </p:txBody>
            </p:sp>
          </p:grpSp>
          <p:grpSp>
            <p:nvGrpSpPr>
              <p:cNvPr id="371" name="Graphic 3">
                <a:extLst>
                  <a:ext uri="{FF2B5EF4-FFF2-40B4-BE49-F238E27FC236}">
                    <a16:creationId xmlns:a16="http://schemas.microsoft.com/office/drawing/2014/main" id="{B48BC9F8-4853-46B3-AD0F-465A1F84369E}"/>
                  </a:ext>
                </a:extLst>
              </p:cNvPr>
              <p:cNvGrpSpPr/>
              <p:nvPr/>
            </p:nvGrpSpPr>
            <p:grpSpPr>
              <a:xfrm>
                <a:off x="7585432" y="4128977"/>
                <a:ext cx="123914" cy="67948"/>
                <a:chOff x="7585432" y="4128977"/>
                <a:chExt cx="123914" cy="67948"/>
              </a:xfrm>
              <a:grpFill/>
            </p:grpSpPr>
            <p:sp>
              <p:nvSpPr>
                <p:cNvPr id="4267" name="Vrije vorm: vorm 4266">
                  <a:extLst>
                    <a:ext uri="{FF2B5EF4-FFF2-40B4-BE49-F238E27FC236}">
                      <a16:creationId xmlns:a16="http://schemas.microsoft.com/office/drawing/2014/main" id="{E6D651C4-6E64-478B-AA6F-BC1F1D34108F}"/>
                    </a:ext>
                  </a:extLst>
                </p:cNvPr>
                <p:cNvSpPr/>
                <p:nvPr/>
              </p:nvSpPr>
              <p:spPr>
                <a:xfrm>
                  <a:off x="7593503" y="4136606"/>
                  <a:ext cx="107772" cy="52690"/>
                </a:xfrm>
                <a:custGeom>
                  <a:avLst/>
                  <a:gdLst>
                    <a:gd name="connsiteX0" fmla="*/ 107773 w 107772"/>
                    <a:gd name="connsiteY0" fmla="*/ 49879 h 52690"/>
                    <a:gd name="connsiteX1" fmla="*/ 106457 w 107772"/>
                    <a:gd name="connsiteY1" fmla="*/ 52690 h 52690"/>
                    <a:gd name="connsiteX2" fmla="*/ 0 w 107772"/>
                    <a:gd name="connsiteY2" fmla="*/ 2811 h 52690"/>
                    <a:gd name="connsiteX3" fmla="*/ 1316 w 107772"/>
                    <a:gd name="connsiteY3" fmla="*/ 0 h 52690"/>
                  </a:gdLst>
                  <a:ahLst/>
                  <a:cxnLst>
                    <a:cxn ang="0">
                      <a:pos x="connsiteX0" y="connsiteY0"/>
                    </a:cxn>
                    <a:cxn ang="0">
                      <a:pos x="connsiteX1" y="connsiteY1"/>
                    </a:cxn>
                    <a:cxn ang="0">
                      <a:pos x="connsiteX2" y="connsiteY2"/>
                    </a:cxn>
                    <a:cxn ang="0">
                      <a:pos x="connsiteX3" y="connsiteY3"/>
                    </a:cxn>
                  </a:cxnLst>
                  <a:rect l="l" t="t" r="r" b="b"/>
                  <a:pathLst>
                    <a:path w="107772" h="52690">
                      <a:moveTo>
                        <a:pt x="107773" y="49879"/>
                      </a:moveTo>
                      <a:lnTo>
                        <a:pt x="106457" y="52690"/>
                      </a:lnTo>
                      <a:lnTo>
                        <a:pt x="0" y="2811"/>
                      </a:lnTo>
                      <a:lnTo>
                        <a:pt x="1316" y="0"/>
                      </a:lnTo>
                      <a:close/>
                    </a:path>
                  </a:pathLst>
                </a:custGeom>
                <a:grpFill/>
                <a:ln w="5978" cap="flat">
                  <a:noFill/>
                  <a:prstDash val="solid"/>
                  <a:miter/>
                </a:ln>
              </p:spPr>
              <p:txBody>
                <a:bodyPr rtlCol="0" anchor="ctr"/>
                <a:lstStyle/>
                <a:p>
                  <a:endParaRPr lang="en-GB"/>
                </a:p>
              </p:txBody>
            </p:sp>
            <p:sp>
              <p:nvSpPr>
                <p:cNvPr id="4268" name="Vrije vorm: vorm 4267">
                  <a:extLst>
                    <a:ext uri="{FF2B5EF4-FFF2-40B4-BE49-F238E27FC236}">
                      <a16:creationId xmlns:a16="http://schemas.microsoft.com/office/drawing/2014/main" id="{59385A73-A60E-4F3B-A1C5-275FB94BCE12}"/>
                    </a:ext>
                  </a:extLst>
                </p:cNvPr>
                <p:cNvSpPr/>
                <p:nvPr/>
              </p:nvSpPr>
              <p:spPr>
                <a:xfrm>
                  <a:off x="7691052" y="4178497"/>
                  <a:ext cx="18294" cy="18428"/>
                </a:xfrm>
                <a:custGeom>
                  <a:avLst/>
                  <a:gdLst>
                    <a:gd name="connsiteX0" fmla="*/ 12975 w 18294"/>
                    <a:gd name="connsiteY0" fmla="*/ 871 h 18428"/>
                    <a:gd name="connsiteX1" fmla="*/ 17460 w 18294"/>
                    <a:gd name="connsiteY1" fmla="*/ 13132 h 18428"/>
                    <a:gd name="connsiteX2" fmla="*/ 5320 w 18294"/>
                    <a:gd name="connsiteY2" fmla="*/ 17557 h 18428"/>
                    <a:gd name="connsiteX3" fmla="*/ 834 w 18294"/>
                    <a:gd name="connsiteY3" fmla="*/ 5297 h 18428"/>
                    <a:gd name="connsiteX4" fmla="*/ 12975 w 18294"/>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8">
                      <a:moveTo>
                        <a:pt x="12975" y="871"/>
                      </a:moveTo>
                      <a:cubicBezTo>
                        <a:pt x="17580" y="3024"/>
                        <a:pt x="19554" y="8527"/>
                        <a:pt x="17460" y="13132"/>
                      </a:cubicBezTo>
                      <a:cubicBezTo>
                        <a:pt x="15367" y="17737"/>
                        <a:pt x="9865" y="19710"/>
                        <a:pt x="5320" y="17557"/>
                      </a:cubicBezTo>
                      <a:cubicBezTo>
                        <a:pt x="715" y="15405"/>
                        <a:pt x="-1259" y="9902"/>
                        <a:pt x="834" y="5297"/>
                      </a:cubicBezTo>
                      <a:cubicBezTo>
                        <a:pt x="2927" y="692"/>
                        <a:pt x="8430" y="-1282"/>
                        <a:pt x="12975" y="871"/>
                      </a:cubicBezTo>
                      <a:close/>
                    </a:path>
                  </a:pathLst>
                </a:custGeom>
                <a:grpFill/>
                <a:ln w="5978" cap="flat">
                  <a:noFill/>
                  <a:prstDash val="solid"/>
                  <a:miter/>
                </a:ln>
              </p:spPr>
              <p:txBody>
                <a:bodyPr rtlCol="0" anchor="ctr"/>
                <a:lstStyle/>
                <a:p>
                  <a:endParaRPr lang="en-GB"/>
                </a:p>
              </p:txBody>
            </p:sp>
            <p:sp>
              <p:nvSpPr>
                <p:cNvPr id="4269" name="Vrije vorm: vorm 4268">
                  <a:extLst>
                    <a:ext uri="{FF2B5EF4-FFF2-40B4-BE49-F238E27FC236}">
                      <a16:creationId xmlns:a16="http://schemas.microsoft.com/office/drawing/2014/main" id="{C1603433-4D36-416A-B51C-8CE0660381CE}"/>
                    </a:ext>
                  </a:extLst>
                </p:cNvPr>
                <p:cNvSpPr/>
                <p:nvPr/>
              </p:nvSpPr>
              <p:spPr>
                <a:xfrm>
                  <a:off x="7585432" y="4128977"/>
                  <a:ext cx="18321" cy="18428"/>
                </a:xfrm>
                <a:custGeom>
                  <a:avLst/>
                  <a:gdLst>
                    <a:gd name="connsiteX0" fmla="*/ 12975 w 18321"/>
                    <a:gd name="connsiteY0" fmla="*/ 871 h 18428"/>
                    <a:gd name="connsiteX1" fmla="*/ 834 w 18321"/>
                    <a:gd name="connsiteY1" fmla="*/ 5297 h 18428"/>
                    <a:gd name="connsiteX2" fmla="*/ 5320 w 18321"/>
                    <a:gd name="connsiteY2" fmla="*/ 17557 h 18428"/>
                    <a:gd name="connsiteX3" fmla="*/ 17461 w 18321"/>
                    <a:gd name="connsiteY3" fmla="*/ 13132 h 18428"/>
                    <a:gd name="connsiteX4" fmla="*/ 12975 w 1832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2975" y="871"/>
                      </a:moveTo>
                      <a:cubicBezTo>
                        <a:pt x="8370" y="-1282"/>
                        <a:pt x="2927" y="692"/>
                        <a:pt x="834" y="5297"/>
                      </a:cubicBezTo>
                      <a:cubicBezTo>
                        <a:pt x="-1259" y="9902"/>
                        <a:pt x="715" y="15404"/>
                        <a:pt x="5320" y="17557"/>
                      </a:cubicBezTo>
                      <a:cubicBezTo>
                        <a:pt x="9925" y="19711"/>
                        <a:pt x="15368" y="17737"/>
                        <a:pt x="17461" y="13132"/>
                      </a:cubicBezTo>
                      <a:cubicBezTo>
                        <a:pt x="19614" y="8526"/>
                        <a:pt x="17581" y="3024"/>
                        <a:pt x="12975" y="871"/>
                      </a:cubicBezTo>
                      <a:close/>
                    </a:path>
                  </a:pathLst>
                </a:custGeom>
                <a:grpFill/>
                <a:ln w="5978" cap="flat">
                  <a:noFill/>
                  <a:prstDash val="solid"/>
                  <a:miter/>
                </a:ln>
              </p:spPr>
              <p:txBody>
                <a:bodyPr rtlCol="0" anchor="ctr"/>
                <a:lstStyle/>
                <a:p>
                  <a:endParaRPr lang="en-GB"/>
                </a:p>
              </p:txBody>
            </p:sp>
          </p:grpSp>
          <p:grpSp>
            <p:nvGrpSpPr>
              <p:cNvPr id="372" name="Graphic 3">
                <a:extLst>
                  <a:ext uri="{FF2B5EF4-FFF2-40B4-BE49-F238E27FC236}">
                    <a16:creationId xmlns:a16="http://schemas.microsoft.com/office/drawing/2014/main" id="{A23C6A22-FBF9-4C10-A0E2-E09F736A1A0E}"/>
                  </a:ext>
                </a:extLst>
              </p:cNvPr>
              <p:cNvGrpSpPr/>
              <p:nvPr/>
            </p:nvGrpSpPr>
            <p:grpSpPr>
              <a:xfrm>
                <a:off x="7691035" y="4293766"/>
                <a:ext cx="20588" cy="19703"/>
                <a:chOff x="7691035" y="4293766"/>
                <a:chExt cx="20588" cy="19703"/>
              </a:xfrm>
              <a:grpFill/>
            </p:grpSpPr>
            <p:sp>
              <p:nvSpPr>
                <p:cNvPr id="4264" name="Vrije vorm: vorm 4263">
                  <a:extLst>
                    <a:ext uri="{FF2B5EF4-FFF2-40B4-BE49-F238E27FC236}">
                      <a16:creationId xmlns:a16="http://schemas.microsoft.com/office/drawing/2014/main" id="{0A014A08-3138-40BB-91A2-1B7C56EC8837}"/>
                    </a:ext>
                  </a:extLst>
                </p:cNvPr>
                <p:cNvSpPr/>
                <p:nvPr/>
              </p:nvSpPr>
              <p:spPr>
                <a:xfrm>
                  <a:off x="7699063" y="4301435"/>
                  <a:ext cx="4485" cy="4365"/>
                </a:xfrm>
                <a:custGeom>
                  <a:avLst/>
                  <a:gdLst>
                    <a:gd name="connsiteX0" fmla="*/ 4486 w 4485"/>
                    <a:gd name="connsiteY0" fmla="*/ 1674 h 4365"/>
                    <a:gd name="connsiteX1" fmla="*/ 3050 w 4485"/>
                    <a:gd name="connsiteY1" fmla="*/ 4366 h 4365"/>
                    <a:gd name="connsiteX2" fmla="*/ 0 w 4485"/>
                    <a:gd name="connsiteY2" fmla="*/ 2691 h 4365"/>
                    <a:gd name="connsiteX3" fmla="*/ 1435 w 4485"/>
                    <a:gd name="connsiteY3" fmla="*/ 0 h 4365"/>
                  </a:gdLst>
                  <a:ahLst/>
                  <a:cxnLst>
                    <a:cxn ang="0">
                      <a:pos x="connsiteX0" y="connsiteY0"/>
                    </a:cxn>
                    <a:cxn ang="0">
                      <a:pos x="connsiteX1" y="connsiteY1"/>
                    </a:cxn>
                    <a:cxn ang="0">
                      <a:pos x="connsiteX2" y="connsiteY2"/>
                    </a:cxn>
                    <a:cxn ang="0">
                      <a:pos x="connsiteX3" y="connsiteY3"/>
                    </a:cxn>
                  </a:cxnLst>
                  <a:rect l="l" t="t" r="r" b="b"/>
                  <a:pathLst>
                    <a:path w="4485" h="4365">
                      <a:moveTo>
                        <a:pt x="4486" y="1674"/>
                      </a:moveTo>
                      <a:lnTo>
                        <a:pt x="3050" y="4366"/>
                      </a:lnTo>
                      <a:lnTo>
                        <a:pt x="0" y="2691"/>
                      </a:lnTo>
                      <a:lnTo>
                        <a:pt x="1435" y="0"/>
                      </a:lnTo>
                      <a:close/>
                    </a:path>
                  </a:pathLst>
                </a:custGeom>
                <a:grpFill/>
                <a:ln w="5978" cap="flat">
                  <a:noFill/>
                  <a:prstDash val="solid"/>
                  <a:miter/>
                </a:ln>
              </p:spPr>
              <p:txBody>
                <a:bodyPr rtlCol="0" anchor="ctr"/>
                <a:lstStyle/>
                <a:p>
                  <a:endParaRPr lang="en-GB"/>
                </a:p>
              </p:txBody>
            </p:sp>
            <p:sp>
              <p:nvSpPr>
                <p:cNvPr id="4265" name="Vrije vorm: vorm 4264">
                  <a:extLst>
                    <a:ext uri="{FF2B5EF4-FFF2-40B4-BE49-F238E27FC236}">
                      <a16:creationId xmlns:a16="http://schemas.microsoft.com/office/drawing/2014/main" id="{5C84AB83-6F74-492B-963D-43A8BA998644}"/>
                    </a:ext>
                  </a:extLst>
                </p:cNvPr>
                <p:cNvSpPr/>
                <p:nvPr/>
              </p:nvSpPr>
              <p:spPr>
                <a:xfrm>
                  <a:off x="7691035" y="4293766"/>
                  <a:ext cx="18315" cy="18447"/>
                </a:xfrm>
                <a:custGeom>
                  <a:avLst/>
                  <a:gdLst>
                    <a:gd name="connsiteX0" fmla="*/ 4857 w 18315"/>
                    <a:gd name="connsiteY0" fmla="*/ 17357 h 18447"/>
                    <a:gd name="connsiteX1" fmla="*/ 1090 w 18315"/>
                    <a:gd name="connsiteY1" fmla="*/ 4858 h 18447"/>
                    <a:gd name="connsiteX2" fmla="*/ 13470 w 18315"/>
                    <a:gd name="connsiteY2" fmla="*/ 1090 h 18447"/>
                    <a:gd name="connsiteX3" fmla="*/ 17238 w 18315"/>
                    <a:gd name="connsiteY3" fmla="*/ 13590 h 18447"/>
                    <a:gd name="connsiteX4" fmla="*/ 4857 w 18315"/>
                    <a:gd name="connsiteY4" fmla="*/ 1735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47">
                      <a:moveTo>
                        <a:pt x="4857" y="17357"/>
                      </a:moveTo>
                      <a:cubicBezTo>
                        <a:pt x="372" y="14965"/>
                        <a:pt x="-1302" y="9343"/>
                        <a:pt x="1090" y="4858"/>
                      </a:cubicBezTo>
                      <a:cubicBezTo>
                        <a:pt x="3482" y="372"/>
                        <a:pt x="9044" y="-1302"/>
                        <a:pt x="13470" y="1090"/>
                      </a:cubicBezTo>
                      <a:cubicBezTo>
                        <a:pt x="17896" y="3482"/>
                        <a:pt x="19630" y="9104"/>
                        <a:pt x="17238" y="13590"/>
                      </a:cubicBezTo>
                      <a:cubicBezTo>
                        <a:pt x="14845" y="18075"/>
                        <a:pt x="9283" y="19750"/>
                        <a:pt x="4857" y="17357"/>
                      </a:cubicBezTo>
                      <a:close/>
                    </a:path>
                  </a:pathLst>
                </a:custGeom>
                <a:grpFill/>
                <a:ln w="5978" cap="flat">
                  <a:noFill/>
                  <a:prstDash val="solid"/>
                  <a:miter/>
                </a:ln>
              </p:spPr>
              <p:txBody>
                <a:bodyPr rtlCol="0" anchor="ctr"/>
                <a:lstStyle/>
                <a:p>
                  <a:endParaRPr lang="en-GB"/>
                </a:p>
              </p:txBody>
            </p:sp>
            <p:sp>
              <p:nvSpPr>
                <p:cNvPr id="4266" name="Vrije vorm: vorm 4265">
                  <a:extLst>
                    <a:ext uri="{FF2B5EF4-FFF2-40B4-BE49-F238E27FC236}">
                      <a16:creationId xmlns:a16="http://schemas.microsoft.com/office/drawing/2014/main" id="{B8472572-B23D-48D4-B3FD-8D31FE73AF21}"/>
                    </a:ext>
                  </a:extLst>
                </p:cNvPr>
                <p:cNvSpPr/>
                <p:nvPr/>
              </p:nvSpPr>
              <p:spPr>
                <a:xfrm>
                  <a:off x="7693334" y="4295022"/>
                  <a:ext cx="18289" cy="18447"/>
                </a:xfrm>
                <a:custGeom>
                  <a:avLst/>
                  <a:gdLst>
                    <a:gd name="connsiteX0" fmla="*/ 4831 w 18289"/>
                    <a:gd name="connsiteY0" fmla="*/ 17357 h 18447"/>
                    <a:gd name="connsiteX1" fmla="*/ 17212 w 18289"/>
                    <a:gd name="connsiteY1" fmla="*/ 13590 h 18447"/>
                    <a:gd name="connsiteX2" fmla="*/ 13444 w 18289"/>
                    <a:gd name="connsiteY2" fmla="*/ 1090 h 18447"/>
                    <a:gd name="connsiteX3" fmla="*/ 1063 w 18289"/>
                    <a:gd name="connsiteY3" fmla="*/ 4858 h 18447"/>
                    <a:gd name="connsiteX4" fmla="*/ 4831 w 18289"/>
                    <a:gd name="connsiteY4" fmla="*/ 1735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47">
                      <a:moveTo>
                        <a:pt x="4831" y="17357"/>
                      </a:moveTo>
                      <a:cubicBezTo>
                        <a:pt x="9317" y="19749"/>
                        <a:pt x="14879" y="18075"/>
                        <a:pt x="17212" y="13590"/>
                      </a:cubicBezTo>
                      <a:cubicBezTo>
                        <a:pt x="19604" y="9104"/>
                        <a:pt x="17870" y="3542"/>
                        <a:pt x="13444" y="1090"/>
                      </a:cubicBezTo>
                      <a:cubicBezTo>
                        <a:pt x="8958" y="-1302"/>
                        <a:pt x="3396" y="372"/>
                        <a:pt x="1063" y="4858"/>
                      </a:cubicBezTo>
                      <a:cubicBezTo>
                        <a:pt x="-1269" y="9343"/>
                        <a:pt x="346" y="14905"/>
                        <a:pt x="4831" y="17357"/>
                      </a:cubicBezTo>
                      <a:close/>
                    </a:path>
                  </a:pathLst>
                </a:custGeom>
                <a:grpFill/>
                <a:ln w="5978" cap="flat">
                  <a:noFill/>
                  <a:prstDash val="solid"/>
                  <a:miter/>
                </a:ln>
              </p:spPr>
              <p:txBody>
                <a:bodyPr rtlCol="0" anchor="ctr"/>
                <a:lstStyle/>
                <a:p>
                  <a:endParaRPr lang="en-GB"/>
                </a:p>
              </p:txBody>
            </p:sp>
          </p:grpSp>
          <p:grpSp>
            <p:nvGrpSpPr>
              <p:cNvPr id="373" name="Graphic 3">
                <a:extLst>
                  <a:ext uri="{FF2B5EF4-FFF2-40B4-BE49-F238E27FC236}">
                    <a16:creationId xmlns:a16="http://schemas.microsoft.com/office/drawing/2014/main" id="{8EC04824-D90C-406C-99BF-CFFCB119E9A7}"/>
                  </a:ext>
                </a:extLst>
              </p:cNvPr>
              <p:cNvGrpSpPr/>
              <p:nvPr/>
            </p:nvGrpSpPr>
            <p:grpSpPr>
              <a:xfrm>
                <a:off x="6815643" y="1768222"/>
                <a:ext cx="88648" cy="155741"/>
                <a:chOff x="6815643" y="1768222"/>
                <a:chExt cx="88648" cy="155741"/>
              </a:xfrm>
              <a:grpFill/>
            </p:grpSpPr>
            <p:sp>
              <p:nvSpPr>
                <p:cNvPr id="4261" name="Vrije vorm: vorm 4260">
                  <a:extLst>
                    <a:ext uri="{FF2B5EF4-FFF2-40B4-BE49-F238E27FC236}">
                      <a16:creationId xmlns:a16="http://schemas.microsoft.com/office/drawing/2014/main" id="{F0C845C9-6C25-429F-BACA-D4A2A5B52A44}"/>
                    </a:ext>
                  </a:extLst>
                </p:cNvPr>
                <p:cNvSpPr/>
                <p:nvPr/>
              </p:nvSpPr>
              <p:spPr>
                <a:xfrm>
                  <a:off x="6823246" y="1776314"/>
                  <a:ext cx="73443" cy="139470"/>
                </a:xfrm>
                <a:custGeom>
                  <a:avLst/>
                  <a:gdLst>
                    <a:gd name="connsiteX0" fmla="*/ 73443 w 73443"/>
                    <a:gd name="connsiteY0" fmla="*/ 1435 h 139470"/>
                    <a:gd name="connsiteX1" fmla="*/ 2751 w 73443"/>
                    <a:gd name="connsiteY1" fmla="*/ 139470 h 139470"/>
                    <a:gd name="connsiteX2" fmla="*/ 0 w 73443"/>
                    <a:gd name="connsiteY2" fmla="*/ 138095 h 139470"/>
                    <a:gd name="connsiteX3" fmla="*/ 70752 w 73443"/>
                    <a:gd name="connsiteY3" fmla="*/ 0 h 139470"/>
                  </a:gdLst>
                  <a:ahLst/>
                  <a:cxnLst>
                    <a:cxn ang="0">
                      <a:pos x="connsiteX0" y="connsiteY0"/>
                    </a:cxn>
                    <a:cxn ang="0">
                      <a:pos x="connsiteX1" y="connsiteY1"/>
                    </a:cxn>
                    <a:cxn ang="0">
                      <a:pos x="connsiteX2" y="connsiteY2"/>
                    </a:cxn>
                    <a:cxn ang="0">
                      <a:pos x="connsiteX3" y="connsiteY3"/>
                    </a:cxn>
                  </a:cxnLst>
                  <a:rect l="l" t="t" r="r" b="b"/>
                  <a:pathLst>
                    <a:path w="73443" h="139470">
                      <a:moveTo>
                        <a:pt x="73443" y="1435"/>
                      </a:moveTo>
                      <a:lnTo>
                        <a:pt x="2751" y="139470"/>
                      </a:lnTo>
                      <a:lnTo>
                        <a:pt x="0" y="138095"/>
                      </a:lnTo>
                      <a:lnTo>
                        <a:pt x="70752" y="0"/>
                      </a:lnTo>
                      <a:close/>
                    </a:path>
                  </a:pathLst>
                </a:custGeom>
                <a:grpFill/>
                <a:ln w="5978" cap="flat">
                  <a:noFill/>
                  <a:prstDash val="solid"/>
                  <a:miter/>
                </a:ln>
              </p:spPr>
              <p:txBody>
                <a:bodyPr rtlCol="0" anchor="ctr"/>
                <a:lstStyle/>
                <a:p>
                  <a:endParaRPr lang="en-GB"/>
                </a:p>
              </p:txBody>
            </p:sp>
            <p:sp>
              <p:nvSpPr>
                <p:cNvPr id="4262" name="Vrije vorm: vorm 4261">
                  <a:extLst>
                    <a:ext uri="{FF2B5EF4-FFF2-40B4-BE49-F238E27FC236}">
                      <a16:creationId xmlns:a16="http://schemas.microsoft.com/office/drawing/2014/main" id="{56EB4CD1-8DF5-48FC-BE5A-F9F536A02487}"/>
                    </a:ext>
                  </a:extLst>
                </p:cNvPr>
                <p:cNvSpPr/>
                <p:nvPr/>
              </p:nvSpPr>
              <p:spPr>
                <a:xfrm>
                  <a:off x="6885976" y="1768222"/>
                  <a:ext cx="18315" cy="18457"/>
                </a:xfrm>
                <a:custGeom>
                  <a:avLst/>
                  <a:gdLst>
                    <a:gd name="connsiteX0" fmla="*/ 1024 w 18315"/>
                    <a:gd name="connsiteY0" fmla="*/ 4982 h 18457"/>
                    <a:gd name="connsiteX1" fmla="*/ 13344 w 18315"/>
                    <a:gd name="connsiteY1" fmla="*/ 1035 h 18457"/>
                    <a:gd name="connsiteX2" fmla="*/ 17292 w 18315"/>
                    <a:gd name="connsiteY2" fmla="*/ 13475 h 18457"/>
                    <a:gd name="connsiteX3" fmla="*/ 4971 w 18315"/>
                    <a:gd name="connsiteY3" fmla="*/ 17422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3356" y="437"/>
                        <a:pt x="8859" y="-1297"/>
                        <a:pt x="13344" y="1035"/>
                      </a:cubicBezTo>
                      <a:cubicBezTo>
                        <a:pt x="17830" y="3368"/>
                        <a:pt x="19624" y="8930"/>
                        <a:pt x="17292" y="13475"/>
                      </a:cubicBezTo>
                      <a:cubicBezTo>
                        <a:pt x="14959" y="18020"/>
                        <a:pt x="9457" y="19755"/>
                        <a:pt x="4971" y="17422"/>
                      </a:cubicBezTo>
                      <a:cubicBezTo>
                        <a:pt x="486" y="15030"/>
                        <a:pt x="-1309" y="9468"/>
                        <a:pt x="1024" y="4982"/>
                      </a:cubicBezTo>
                      <a:close/>
                    </a:path>
                  </a:pathLst>
                </a:custGeom>
                <a:grpFill/>
                <a:ln w="5978" cap="flat">
                  <a:noFill/>
                  <a:prstDash val="solid"/>
                  <a:miter/>
                </a:ln>
              </p:spPr>
              <p:txBody>
                <a:bodyPr rtlCol="0" anchor="ctr"/>
                <a:lstStyle/>
                <a:p>
                  <a:endParaRPr lang="en-GB"/>
                </a:p>
              </p:txBody>
            </p:sp>
            <p:sp>
              <p:nvSpPr>
                <p:cNvPr id="4263" name="Vrije vorm: vorm 4262">
                  <a:extLst>
                    <a:ext uri="{FF2B5EF4-FFF2-40B4-BE49-F238E27FC236}">
                      <a16:creationId xmlns:a16="http://schemas.microsoft.com/office/drawing/2014/main" id="{81E673F4-AA44-4205-93D1-90656D23B19C}"/>
                    </a:ext>
                  </a:extLst>
                </p:cNvPr>
                <p:cNvSpPr/>
                <p:nvPr/>
              </p:nvSpPr>
              <p:spPr>
                <a:xfrm>
                  <a:off x="6815643" y="1905480"/>
                  <a:ext cx="18315" cy="18483"/>
                </a:xfrm>
                <a:custGeom>
                  <a:avLst/>
                  <a:gdLst>
                    <a:gd name="connsiteX0" fmla="*/ 1024 w 18315"/>
                    <a:gd name="connsiteY0" fmla="*/ 4982 h 18483"/>
                    <a:gd name="connsiteX1" fmla="*/ 4971 w 18315"/>
                    <a:gd name="connsiteY1" fmla="*/ 17422 h 18483"/>
                    <a:gd name="connsiteX2" fmla="*/ 17292 w 18315"/>
                    <a:gd name="connsiteY2" fmla="*/ 13475 h 18483"/>
                    <a:gd name="connsiteX3" fmla="*/ 13344 w 18315"/>
                    <a:gd name="connsiteY3" fmla="*/ 1035 h 18483"/>
                    <a:gd name="connsiteX4" fmla="*/ 1024 w 18315"/>
                    <a:gd name="connsiteY4" fmla="*/ 4982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83">
                      <a:moveTo>
                        <a:pt x="1024" y="4982"/>
                      </a:moveTo>
                      <a:cubicBezTo>
                        <a:pt x="-1309" y="9528"/>
                        <a:pt x="485" y="15030"/>
                        <a:pt x="4971" y="17422"/>
                      </a:cubicBezTo>
                      <a:cubicBezTo>
                        <a:pt x="9457" y="19815"/>
                        <a:pt x="15019" y="18020"/>
                        <a:pt x="17292" y="13475"/>
                      </a:cubicBezTo>
                      <a:cubicBezTo>
                        <a:pt x="19624" y="8930"/>
                        <a:pt x="17830" y="3368"/>
                        <a:pt x="13344" y="1035"/>
                      </a:cubicBezTo>
                      <a:cubicBezTo>
                        <a:pt x="8859" y="-1297"/>
                        <a:pt x="3356" y="437"/>
                        <a:pt x="1024" y="4982"/>
                      </a:cubicBezTo>
                      <a:close/>
                    </a:path>
                  </a:pathLst>
                </a:custGeom>
                <a:grpFill/>
                <a:ln w="5978" cap="flat">
                  <a:noFill/>
                  <a:prstDash val="solid"/>
                  <a:miter/>
                </a:ln>
              </p:spPr>
              <p:txBody>
                <a:bodyPr rtlCol="0" anchor="ctr"/>
                <a:lstStyle/>
                <a:p>
                  <a:endParaRPr lang="en-GB"/>
                </a:p>
              </p:txBody>
            </p:sp>
          </p:grpSp>
          <p:grpSp>
            <p:nvGrpSpPr>
              <p:cNvPr id="374" name="Graphic 3">
                <a:extLst>
                  <a:ext uri="{FF2B5EF4-FFF2-40B4-BE49-F238E27FC236}">
                    <a16:creationId xmlns:a16="http://schemas.microsoft.com/office/drawing/2014/main" id="{70B56B78-DB0E-4427-8A84-175CE9FC0A4A}"/>
                  </a:ext>
                </a:extLst>
              </p:cNvPr>
              <p:cNvGrpSpPr/>
              <p:nvPr/>
            </p:nvGrpSpPr>
            <p:grpSpPr>
              <a:xfrm>
                <a:off x="7777117" y="4606917"/>
                <a:ext cx="24269" cy="22497"/>
                <a:chOff x="7777117" y="4606917"/>
                <a:chExt cx="24269" cy="22497"/>
              </a:xfrm>
              <a:grpFill/>
            </p:grpSpPr>
            <p:sp>
              <p:nvSpPr>
                <p:cNvPr id="4259" name="Vrije vorm: vorm 4258">
                  <a:extLst>
                    <a:ext uri="{FF2B5EF4-FFF2-40B4-BE49-F238E27FC236}">
                      <a16:creationId xmlns:a16="http://schemas.microsoft.com/office/drawing/2014/main" id="{2A5F6B70-B054-42D4-B200-8B9C9B788ED1}"/>
                    </a:ext>
                  </a:extLst>
                </p:cNvPr>
                <p:cNvSpPr/>
                <p:nvPr/>
              </p:nvSpPr>
              <p:spPr>
                <a:xfrm>
                  <a:off x="7783038" y="4611017"/>
                  <a:ext cx="18348" cy="18397"/>
                </a:xfrm>
                <a:custGeom>
                  <a:avLst/>
                  <a:gdLst>
                    <a:gd name="connsiteX0" fmla="*/ 4001 w 18348"/>
                    <a:gd name="connsiteY0" fmla="*/ 16786 h 18397"/>
                    <a:gd name="connsiteX1" fmla="*/ 1609 w 18348"/>
                    <a:gd name="connsiteY1" fmla="*/ 3987 h 18397"/>
                    <a:gd name="connsiteX2" fmla="*/ 14348 w 18348"/>
                    <a:gd name="connsiteY2" fmla="*/ 1654 h 18397"/>
                    <a:gd name="connsiteX3" fmla="*/ 16740 w 18348"/>
                    <a:gd name="connsiteY3" fmla="*/ 14453 h 18397"/>
                    <a:gd name="connsiteX4" fmla="*/ 4001 w 18348"/>
                    <a:gd name="connsiteY4" fmla="*/ 16786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97">
                      <a:moveTo>
                        <a:pt x="4001" y="16786"/>
                      </a:moveTo>
                      <a:cubicBezTo>
                        <a:pt x="-185" y="13915"/>
                        <a:pt x="-1262" y="8173"/>
                        <a:pt x="1609" y="3987"/>
                      </a:cubicBezTo>
                      <a:cubicBezTo>
                        <a:pt x="4480" y="-200"/>
                        <a:pt x="10161" y="-1276"/>
                        <a:pt x="14348" y="1654"/>
                      </a:cubicBezTo>
                      <a:cubicBezTo>
                        <a:pt x="18534" y="4525"/>
                        <a:pt x="19611" y="10266"/>
                        <a:pt x="16740" y="14453"/>
                      </a:cubicBezTo>
                      <a:cubicBezTo>
                        <a:pt x="13869" y="18580"/>
                        <a:pt x="8188" y="19656"/>
                        <a:pt x="4001" y="16786"/>
                      </a:cubicBezTo>
                      <a:close/>
                    </a:path>
                  </a:pathLst>
                </a:custGeom>
                <a:grpFill/>
                <a:ln w="5978" cap="flat">
                  <a:noFill/>
                  <a:prstDash val="solid"/>
                  <a:miter/>
                </a:ln>
              </p:spPr>
              <p:txBody>
                <a:bodyPr rtlCol="0" anchor="ctr"/>
                <a:lstStyle/>
                <a:p>
                  <a:endParaRPr lang="en-GB"/>
                </a:p>
              </p:txBody>
            </p:sp>
            <p:sp>
              <p:nvSpPr>
                <p:cNvPr id="4260" name="Vrije vorm: vorm 4259">
                  <a:extLst>
                    <a:ext uri="{FF2B5EF4-FFF2-40B4-BE49-F238E27FC236}">
                      <a16:creationId xmlns:a16="http://schemas.microsoft.com/office/drawing/2014/main" id="{ACDE70E5-E6E1-4ADE-80CC-B5D2ABDFC7DD}"/>
                    </a:ext>
                  </a:extLst>
                </p:cNvPr>
                <p:cNvSpPr/>
                <p:nvPr/>
              </p:nvSpPr>
              <p:spPr>
                <a:xfrm>
                  <a:off x="7777117" y="4606917"/>
                  <a:ext cx="18348" cy="18387"/>
                </a:xfrm>
                <a:custGeom>
                  <a:avLst/>
                  <a:gdLst>
                    <a:gd name="connsiteX0" fmla="*/ 4001 w 18348"/>
                    <a:gd name="connsiteY0" fmla="*/ 16759 h 18387"/>
                    <a:gd name="connsiteX1" fmla="*/ 16740 w 18348"/>
                    <a:gd name="connsiteY1" fmla="*/ 14427 h 18387"/>
                    <a:gd name="connsiteX2" fmla="*/ 14348 w 18348"/>
                    <a:gd name="connsiteY2" fmla="*/ 1628 h 18387"/>
                    <a:gd name="connsiteX3" fmla="*/ 1609 w 18348"/>
                    <a:gd name="connsiteY3" fmla="*/ 3961 h 18387"/>
                    <a:gd name="connsiteX4" fmla="*/ 4001 w 18348"/>
                    <a:gd name="connsiteY4" fmla="*/ 1675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87">
                      <a:moveTo>
                        <a:pt x="4001" y="16759"/>
                      </a:moveTo>
                      <a:cubicBezTo>
                        <a:pt x="8188" y="19630"/>
                        <a:pt x="13869" y="18613"/>
                        <a:pt x="16740" y="14427"/>
                      </a:cubicBezTo>
                      <a:cubicBezTo>
                        <a:pt x="19610" y="10240"/>
                        <a:pt x="18534" y="4499"/>
                        <a:pt x="14348" y="1628"/>
                      </a:cubicBezTo>
                      <a:cubicBezTo>
                        <a:pt x="10161" y="-1243"/>
                        <a:pt x="4480" y="-226"/>
                        <a:pt x="1609" y="3961"/>
                      </a:cubicBezTo>
                      <a:cubicBezTo>
                        <a:pt x="-1262" y="8147"/>
                        <a:pt x="-185" y="13888"/>
                        <a:pt x="4001" y="16759"/>
                      </a:cubicBezTo>
                      <a:close/>
                    </a:path>
                  </a:pathLst>
                </a:custGeom>
                <a:grpFill/>
                <a:ln w="5978" cap="flat">
                  <a:noFill/>
                  <a:prstDash val="solid"/>
                  <a:miter/>
                </a:ln>
              </p:spPr>
              <p:txBody>
                <a:bodyPr rtlCol="0" anchor="ctr"/>
                <a:lstStyle/>
                <a:p>
                  <a:endParaRPr lang="en-GB"/>
                </a:p>
              </p:txBody>
            </p:sp>
          </p:grpSp>
          <p:grpSp>
            <p:nvGrpSpPr>
              <p:cNvPr id="375" name="Graphic 3">
                <a:extLst>
                  <a:ext uri="{FF2B5EF4-FFF2-40B4-BE49-F238E27FC236}">
                    <a16:creationId xmlns:a16="http://schemas.microsoft.com/office/drawing/2014/main" id="{BE72270E-1CC5-4519-AE9E-A53210A340C8}"/>
                  </a:ext>
                </a:extLst>
              </p:cNvPr>
              <p:cNvGrpSpPr/>
              <p:nvPr/>
            </p:nvGrpSpPr>
            <p:grpSpPr>
              <a:xfrm>
                <a:off x="6764262" y="1611113"/>
                <a:ext cx="57374" cy="111055"/>
                <a:chOff x="6764262" y="1611113"/>
                <a:chExt cx="57374" cy="111055"/>
              </a:xfrm>
              <a:grpFill/>
            </p:grpSpPr>
            <p:sp>
              <p:nvSpPr>
                <p:cNvPr id="4256" name="Vrije vorm: vorm 4255">
                  <a:extLst>
                    <a:ext uri="{FF2B5EF4-FFF2-40B4-BE49-F238E27FC236}">
                      <a16:creationId xmlns:a16="http://schemas.microsoft.com/office/drawing/2014/main" id="{A3DAB854-2711-4843-834C-BC422BA16265}"/>
                    </a:ext>
                  </a:extLst>
                </p:cNvPr>
                <p:cNvSpPr/>
                <p:nvPr/>
              </p:nvSpPr>
              <p:spPr>
                <a:xfrm>
                  <a:off x="6771812" y="1619261"/>
                  <a:ext cx="42223" cy="94674"/>
                </a:xfrm>
                <a:custGeom>
                  <a:avLst/>
                  <a:gdLst>
                    <a:gd name="connsiteX0" fmla="*/ 42224 w 42223"/>
                    <a:gd name="connsiteY0" fmla="*/ 1196 h 94674"/>
                    <a:gd name="connsiteX1" fmla="*/ 2811 w 42223"/>
                    <a:gd name="connsiteY1" fmla="*/ 94675 h 94674"/>
                    <a:gd name="connsiteX2" fmla="*/ 0 w 42223"/>
                    <a:gd name="connsiteY2" fmla="*/ 93479 h 94674"/>
                    <a:gd name="connsiteX3" fmla="*/ 39413 w 42223"/>
                    <a:gd name="connsiteY3" fmla="*/ 0 h 94674"/>
                  </a:gdLst>
                  <a:ahLst/>
                  <a:cxnLst>
                    <a:cxn ang="0">
                      <a:pos x="connsiteX0" y="connsiteY0"/>
                    </a:cxn>
                    <a:cxn ang="0">
                      <a:pos x="connsiteX1" y="connsiteY1"/>
                    </a:cxn>
                    <a:cxn ang="0">
                      <a:pos x="connsiteX2" y="connsiteY2"/>
                    </a:cxn>
                    <a:cxn ang="0">
                      <a:pos x="connsiteX3" y="connsiteY3"/>
                    </a:cxn>
                  </a:cxnLst>
                  <a:rect l="l" t="t" r="r" b="b"/>
                  <a:pathLst>
                    <a:path w="42223" h="94674">
                      <a:moveTo>
                        <a:pt x="42224" y="1196"/>
                      </a:moveTo>
                      <a:lnTo>
                        <a:pt x="2811" y="94675"/>
                      </a:lnTo>
                      <a:lnTo>
                        <a:pt x="0" y="93479"/>
                      </a:lnTo>
                      <a:lnTo>
                        <a:pt x="39413" y="0"/>
                      </a:lnTo>
                      <a:close/>
                    </a:path>
                  </a:pathLst>
                </a:custGeom>
                <a:grpFill/>
                <a:ln w="5978" cap="flat">
                  <a:noFill/>
                  <a:prstDash val="solid"/>
                  <a:miter/>
                </a:ln>
              </p:spPr>
              <p:txBody>
                <a:bodyPr rtlCol="0" anchor="ctr"/>
                <a:lstStyle/>
                <a:p>
                  <a:endParaRPr lang="en-GB"/>
                </a:p>
              </p:txBody>
            </p:sp>
            <p:sp>
              <p:nvSpPr>
                <p:cNvPr id="4257" name="Vrije vorm: vorm 4256">
                  <a:extLst>
                    <a:ext uri="{FF2B5EF4-FFF2-40B4-BE49-F238E27FC236}">
                      <a16:creationId xmlns:a16="http://schemas.microsoft.com/office/drawing/2014/main" id="{E9599891-4C28-423A-B431-ACDE2B23EA11}"/>
                    </a:ext>
                  </a:extLst>
                </p:cNvPr>
                <p:cNvSpPr/>
                <p:nvPr/>
              </p:nvSpPr>
              <p:spPr>
                <a:xfrm>
                  <a:off x="6764262" y="1703754"/>
                  <a:ext cx="18320" cy="18414"/>
                </a:xfrm>
                <a:custGeom>
                  <a:avLst/>
                  <a:gdLst>
                    <a:gd name="connsiteX0" fmla="*/ 17597 w 18320"/>
                    <a:gd name="connsiteY0" fmla="*/ 12813 h 18414"/>
                    <a:gd name="connsiteX1" fmla="*/ 5576 w 18320"/>
                    <a:gd name="connsiteY1" fmla="*/ 17657 h 18414"/>
                    <a:gd name="connsiteX2" fmla="*/ 732 w 18320"/>
                    <a:gd name="connsiteY2" fmla="*/ 5576 h 18414"/>
                    <a:gd name="connsiteX3" fmla="*/ 12753 w 18320"/>
                    <a:gd name="connsiteY3" fmla="*/ 732 h 18414"/>
                    <a:gd name="connsiteX4" fmla="*/ 17597 w 18320"/>
                    <a:gd name="connsiteY4" fmla="*/ 1281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4">
                      <a:moveTo>
                        <a:pt x="17597" y="12813"/>
                      </a:moveTo>
                      <a:cubicBezTo>
                        <a:pt x="15624" y="17478"/>
                        <a:pt x="10241" y="19691"/>
                        <a:pt x="5576" y="17657"/>
                      </a:cubicBezTo>
                      <a:cubicBezTo>
                        <a:pt x="911" y="15684"/>
                        <a:pt x="-1242" y="10241"/>
                        <a:pt x="732" y="5576"/>
                      </a:cubicBezTo>
                      <a:cubicBezTo>
                        <a:pt x="2705" y="911"/>
                        <a:pt x="8088" y="-1242"/>
                        <a:pt x="12753" y="732"/>
                      </a:cubicBezTo>
                      <a:cubicBezTo>
                        <a:pt x="17358" y="2705"/>
                        <a:pt x="19571" y="8148"/>
                        <a:pt x="17597" y="12813"/>
                      </a:cubicBezTo>
                      <a:close/>
                    </a:path>
                  </a:pathLst>
                </a:custGeom>
                <a:grpFill/>
                <a:ln w="5978" cap="flat">
                  <a:noFill/>
                  <a:prstDash val="solid"/>
                  <a:miter/>
                </a:ln>
              </p:spPr>
              <p:txBody>
                <a:bodyPr rtlCol="0" anchor="ctr"/>
                <a:lstStyle/>
                <a:p>
                  <a:endParaRPr lang="en-GB"/>
                </a:p>
              </p:txBody>
            </p:sp>
            <p:sp>
              <p:nvSpPr>
                <p:cNvPr id="4258" name="Vrije vorm: vorm 4257">
                  <a:extLst>
                    <a:ext uri="{FF2B5EF4-FFF2-40B4-BE49-F238E27FC236}">
                      <a16:creationId xmlns:a16="http://schemas.microsoft.com/office/drawing/2014/main" id="{A0A839BD-85F7-4EFC-BFAA-16EDF335D407}"/>
                    </a:ext>
                  </a:extLst>
                </p:cNvPr>
                <p:cNvSpPr/>
                <p:nvPr/>
              </p:nvSpPr>
              <p:spPr>
                <a:xfrm>
                  <a:off x="6803316" y="1611113"/>
                  <a:ext cx="18320" cy="18388"/>
                </a:xfrm>
                <a:custGeom>
                  <a:avLst/>
                  <a:gdLst>
                    <a:gd name="connsiteX0" fmla="*/ 17597 w 18320"/>
                    <a:gd name="connsiteY0" fmla="*/ 12813 h 18388"/>
                    <a:gd name="connsiteX1" fmla="*/ 12753 w 18320"/>
                    <a:gd name="connsiteY1" fmla="*/ 732 h 18388"/>
                    <a:gd name="connsiteX2" fmla="*/ 732 w 18320"/>
                    <a:gd name="connsiteY2" fmla="*/ 5576 h 18388"/>
                    <a:gd name="connsiteX3" fmla="*/ 5576 w 18320"/>
                    <a:gd name="connsiteY3" fmla="*/ 17657 h 18388"/>
                    <a:gd name="connsiteX4" fmla="*/ 17597 w 18320"/>
                    <a:gd name="connsiteY4" fmla="*/ 12813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88">
                      <a:moveTo>
                        <a:pt x="17597" y="12813"/>
                      </a:moveTo>
                      <a:cubicBezTo>
                        <a:pt x="19571" y="8148"/>
                        <a:pt x="17358" y="2705"/>
                        <a:pt x="12753" y="732"/>
                      </a:cubicBezTo>
                      <a:cubicBezTo>
                        <a:pt x="8088" y="-1242"/>
                        <a:pt x="2705" y="911"/>
                        <a:pt x="732" y="5576"/>
                      </a:cubicBezTo>
                      <a:cubicBezTo>
                        <a:pt x="-1242" y="10241"/>
                        <a:pt x="911" y="15684"/>
                        <a:pt x="5576" y="17657"/>
                      </a:cubicBezTo>
                      <a:cubicBezTo>
                        <a:pt x="10241" y="19631"/>
                        <a:pt x="15624" y="17478"/>
                        <a:pt x="17597" y="12813"/>
                      </a:cubicBezTo>
                      <a:close/>
                    </a:path>
                  </a:pathLst>
                </a:custGeom>
                <a:grpFill/>
                <a:ln w="5978" cap="flat">
                  <a:noFill/>
                  <a:prstDash val="solid"/>
                  <a:miter/>
                </a:ln>
              </p:spPr>
              <p:txBody>
                <a:bodyPr rtlCol="0" anchor="ctr"/>
                <a:lstStyle/>
                <a:p>
                  <a:endParaRPr lang="en-GB"/>
                </a:p>
              </p:txBody>
            </p:sp>
          </p:grpSp>
          <p:grpSp>
            <p:nvGrpSpPr>
              <p:cNvPr id="376" name="Graphic 3">
                <a:extLst>
                  <a:ext uri="{FF2B5EF4-FFF2-40B4-BE49-F238E27FC236}">
                    <a16:creationId xmlns:a16="http://schemas.microsoft.com/office/drawing/2014/main" id="{F9233CE0-B9D1-4434-A42C-6E4AB944D964}"/>
                  </a:ext>
                </a:extLst>
              </p:cNvPr>
              <p:cNvGrpSpPr/>
              <p:nvPr/>
            </p:nvGrpSpPr>
            <p:grpSpPr>
              <a:xfrm>
                <a:off x="7568838" y="4156188"/>
                <a:ext cx="160690" cy="88333"/>
                <a:chOff x="7568838" y="4156188"/>
                <a:chExt cx="160690" cy="88333"/>
              </a:xfrm>
              <a:grpFill/>
            </p:grpSpPr>
            <p:sp>
              <p:nvSpPr>
                <p:cNvPr id="4253" name="Vrije vorm: vorm 4252">
                  <a:extLst>
                    <a:ext uri="{FF2B5EF4-FFF2-40B4-BE49-F238E27FC236}">
                      <a16:creationId xmlns:a16="http://schemas.microsoft.com/office/drawing/2014/main" id="{FDE60737-7612-45E3-A345-AF540033605F}"/>
                    </a:ext>
                  </a:extLst>
                </p:cNvPr>
                <p:cNvSpPr/>
                <p:nvPr/>
              </p:nvSpPr>
              <p:spPr>
                <a:xfrm>
                  <a:off x="7576936" y="4163818"/>
                  <a:ext cx="144494" cy="73084"/>
                </a:xfrm>
                <a:custGeom>
                  <a:avLst/>
                  <a:gdLst>
                    <a:gd name="connsiteX0" fmla="*/ 144494 w 144494"/>
                    <a:gd name="connsiteY0" fmla="*/ 70333 h 73084"/>
                    <a:gd name="connsiteX1" fmla="*/ 143119 w 144494"/>
                    <a:gd name="connsiteY1" fmla="*/ 73085 h 73084"/>
                    <a:gd name="connsiteX2" fmla="*/ 0 w 144494"/>
                    <a:gd name="connsiteY2" fmla="*/ 2751 h 73084"/>
                    <a:gd name="connsiteX3" fmla="*/ 1316 w 144494"/>
                    <a:gd name="connsiteY3" fmla="*/ 0 h 73084"/>
                  </a:gdLst>
                  <a:ahLst/>
                  <a:cxnLst>
                    <a:cxn ang="0">
                      <a:pos x="connsiteX0" y="connsiteY0"/>
                    </a:cxn>
                    <a:cxn ang="0">
                      <a:pos x="connsiteX1" y="connsiteY1"/>
                    </a:cxn>
                    <a:cxn ang="0">
                      <a:pos x="connsiteX2" y="connsiteY2"/>
                    </a:cxn>
                    <a:cxn ang="0">
                      <a:pos x="connsiteX3" y="connsiteY3"/>
                    </a:cxn>
                  </a:cxnLst>
                  <a:rect l="l" t="t" r="r" b="b"/>
                  <a:pathLst>
                    <a:path w="144494" h="73084">
                      <a:moveTo>
                        <a:pt x="144494" y="70333"/>
                      </a:moveTo>
                      <a:lnTo>
                        <a:pt x="143119" y="73085"/>
                      </a:lnTo>
                      <a:lnTo>
                        <a:pt x="0" y="2751"/>
                      </a:lnTo>
                      <a:lnTo>
                        <a:pt x="1316" y="0"/>
                      </a:lnTo>
                      <a:close/>
                    </a:path>
                  </a:pathLst>
                </a:custGeom>
                <a:grpFill/>
                <a:ln w="5978" cap="flat">
                  <a:noFill/>
                  <a:prstDash val="solid"/>
                  <a:miter/>
                </a:ln>
              </p:spPr>
              <p:txBody>
                <a:bodyPr rtlCol="0" anchor="ctr"/>
                <a:lstStyle/>
                <a:p>
                  <a:endParaRPr lang="en-GB"/>
                </a:p>
              </p:txBody>
            </p:sp>
            <p:sp>
              <p:nvSpPr>
                <p:cNvPr id="4254" name="Vrije vorm: vorm 4253">
                  <a:extLst>
                    <a:ext uri="{FF2B5EF4-FFF2-40B4-BE49-F238E27FC236}">
                      <a16:creationId xmlns:a16="http://schemas.microsoft.com/office/drawing/2014/main" id="{BA5D0DBE-48B7-45E1-9099-2B805864B8E5}"/>
                    </a:ext>
                  </a:extLst>
                </p:cNvPr>
                <p:cNvSpPr/>
                <p:nvPr/>
              </p:nvSpPr>
              <p:spPr>
                <a:xfrm>
                  <a:off x="7711180" y="4226103"/>
                  <a:ext cx="18349" cy="18419"/>
                </a:xfrm>
                <a:custGeom>
                  <a:avLst/>
                  <a:gdLst>
                    <a:gd name="connsiteX0" fmla="*/ 13181 w 18349"/>
                    <a:gd name="connsiteY0" fmla="*/ 931 h 18419"/>
                    <a:gd name="connsiteX1" fmla="*/ 17428 w 18349"/>
                    <a:gd name="connsiteY1" fmla="*/ 13252 h 18419"/>
                    <a:gd name="connsiteX2" fmla="*/ 5167 w 18349"/>
                    <a:gd name="connsiteY2" fmla="*/ 17498 h 18419"/>
                    <a:gd name="connsiteX3" fmla="*/ 921 w 18349"/>
                    <a:gd name="connsiteY3" fmla="*/ 5178 h 18419"/>
                    <a:gd name="connsiteX4" fmla="*/ 13181 w 18349"/>
                    <a:gd name="connsiteY4" fmla="*/ 93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9">
                      <a:moveTo>
                        <a:pt x="13181" y="931"/>
                      </a:moveTo>
                      <a:cubicBezTo>
                        <a:pt x="17727" y="3144"/>
                        <a:pt x="19641" y="8706"/>
                        <a:pt x="17428" y="13252"/>
                      </a:cubicBezTo>
                      <a:cubicBezTo>
                        <a:pt x="15215" y="17797"/>
                        <a:pt x="9713" y="19711"/>
                        <a:pt x="5167" y="17498"/>
                      </a:cubicBezTo>
                      <a:cubicBezTo>
                        <a:pt x="622" y="15285"/>
                        <a:pt x="-1292" y="9723"/>
                        <a:pt x="921" y="5178"/>
                      </a:cubicBezTo>
                      <a:cubicBezTo>
                        <a:pt x="3134" y="573"/>
                        <a:pt x="8576" y="-1281"/>
                        <a:pt x="13181" y="931"/>
                      </a:cubicBezTo>
                      <a:close/>
                    </a:path>
                  </a:pathLst>
                </a:custGeom>
                <a:grpFill/>
                <a:ln w="5978" cap="flat">
                  <a:noFill/>
                  <a:prstDash val="solid"/>
                  <a:miter/>
                </a:ln>
              </p:spPr>
              <p:txBody>
                <a:bodyPr rtlCol="0" anchor="ctr"/>
                <a:lstStyle/>
                <a:p>
                  <a:endParaRPr lang="en-GB"/>
                </a:p>
              </p:txBody>
            </p:sp>
            <p:sp>
              <p:nvSpPr>
                <p:cNvPr id="4255" name="Vrije vorm: vorm 4254">
                  <a:extLst>
                    <a:ext uri="{FF2B5EF4-FFF2-40B4-BE49-F238E27FC236}">
                      <a16:creationId xmlns:a16="http://schemas.microsoft.com/office/drawing/2014/main" id="{5660E949-1AD9-4480-97E2-C43832C34ECC}"/>
                    </a:ext>
                  </a:extLst>
                </p:cNvPr>
                <p:cNvSpPr/>
                <p:nvPr/>
              </p:nvSpPr>
              <p:spPr>
                <a:xfrm>
                  <a:off x="7568838" y="4156188"/>
                  <a:ext cx="18349" cy="18429"/>
                </a:xfrm>
                <a:custGeom>
                  <a:avLst/>
                  <a:gdLst>
                    <a:gd name="connsiteX0" fmla="*/ 13182 w 18349"/>
                    <a:gd name="connsiteY0" fmla="*/ 931 h 18429"/>
                    <a:gd name="connsiteX1" fmla="*/ 921 w 18349"/>
                    <a:gd name="connsiteY1" fmla="*/ 5178 h 18429"/>
                    <a:gd name="connsiteX2" fmla="*/ 5167 w 18349"/>
                    <a:gd name="connsiteY2" fmla="*/ 17498 h 18429"/>
                    <a:gd name="connsiteX3" fmla="*/ 17428 w 18349"/>
                    <a:gd name="connsiteY3" fmla="*/ 13252 h 18429"/>
                    <a:gd name="connsiteX4" fmla="*/ 13182 w 18349"/>
                    <a:gd name="connsiteY4" fmla="*/ 93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9">
                      <a:moveTo>
                        <a:pt x="13182" y="931"/>
                      </a:moveTo>
                      <a:cubicBezTo>
                        <a:pt x="8637" y="-1281"/>
                        <a:pt x="3134" y="573"/>
                        <a:pt x="921" y="5178"/>
                      </a:cubicBezTo>
                      <a:cubicBezTo>
                        <a:pt x="-1292" y="9723"/>
                        <a:pt x="622" y="15285"/>
                        <a:pt x="5167" y="17498"/>
                      </a:cubicBezTo>
                      <a:cubicBezTo>
                        <a:pt x="9713" y="19711"/>
                        <a:pt x="15215" y="17857"/>
                        <a:pt x="17428" y="13252"/>
                      </a:cubicBezTo>
                      <a:cubicBezTo>
                        <a:pt x="19641" y="8646"/>
                        <a:pt x="17727" y="3144"/>
                        <a:pt x="13182" y="931"/>
                      </a:cubicBezTo>
                      <a:close/>
                    </a:path>
                  </a:pathLst>
                </a:custGeom>
                <a:grpFill/>
                <a:ln w="5978" cap="flat">
                  <a:noFill/>
                  <a:prstDash val="solid"/>
                  <a:miter/>
                </a:ln>
              </p:spPr>
              <p:txBody>
                <a:bodyPr rtlCol="0" anchor="ctr"/>
                <a:lstStyle/>
                <a:p>
                  <a:endParaRPr lang="en-GB"/>
                </a:p>
              </p:txBody>
            </p:sp>
          </p:grpSp>
          <p:grpSp>
            <p:nvGrpSpPr>
              <p:cNvPr id="377" name="Graphic 3">
                <a:extLst>
                  <a:ext uri="{FF2B5EF4-FFF2-40B4-BE49-F238E27FC236}">
                    <a16:creationId xmlns:a16="http://schemas.microsoft.com/office/drawing/2014/main" id="{A2973AEA-6BD4-4F1C-9E84-52DE3509E194}"/>
                  </a:ext>
                </a:extLst>
              </p:cNvPr>
              <p:cNvGrpSpPr/>
              <p:nvPr/>
            </p:nvGrpSpPr>
            <p:grpSpPr>
              <a:xfrm>
                <a:off x="6736049" y="1531135"/>
                <a:ext cx="38153" cy="70780"/>
                <a:chOff x="6736049" y="1531135"/>
                <a:chExt cx="38153" cy="70780"/>
              </a:xfrm>
              <a:grpFill/>
            </p:grpSpPr>
            <p:sp>
              <p:nvSpPr>
                <p:cNvPr id="4250" name="Vrije vorm: vorm 4249">
                  <a:extLst>
                    <a:ext uri="{FF2B5EF4-FFF2-40B4-BE49-F238E27FC236}">
                      <a16:creationId xmlns:a16="http://schemas.microsoft.com/office/drawing/2014/main" id="{F1658EBD-1EFC-4BFB-9713-1F38F9627B52}"/>
                    </a:ext>
                  </a:extLst>
                </p:cNvPr>
                <p:cNvSpPr/>
                <p:nvPr/>
              </p:nvSpPr>
              <p:spPr>
                <a:xfrm>
                  <a:off x="6743702" y="1539418"/>
                  <a:ext cx="22966" cy="54245"/>
                </a:xfrm>
                <a:custGeom>
                  <a:avLst/>
                  <a:gdLst>
                    <a:gd name="connsiteX0" fmla="*/ 22966 w 22966"/>
                    <a:gd name="connsiteY0" fmla="*/ 1076 h 54245"/>
                    <a:gd name="connsiteX1" fmla="*/ 2811 w 22966"/>
                    <a:gd name="connsiteY1" fmla="*/ 54245 h 54245"/>
                    <a:gd name="connsiteX2" fmla="*/ 0 w 22966"/>
                    <a:gd name="connsiteY2" fmla="*/ 53169 h 54245"/>
                    <a:gd name="connsiteX3" fmla="*/ 20095 w 22966"/>
                    <a:gd name="connsiteY3" fmla="*/ 0 h 54245"/>
                  </a:gdLst>
                  <a:ahLst/>
                  <a:cxnLst>
                    <a:cxn ang="0">
                      <a:pos x="connsiteX0" y="connsiteY0"/>
                    </a:cxn>
                    <a:cxn ang="0">
                      <a:pos x="connsiteX1" y="connsiteY1"/>
                    </a:cxn>
                    <a:cxn ang="0">
                      <a:pos x="connsiteX2" y="connsiteY2"/>
                    </a:cxn>
                    <a:cxn ang="0">
                      <a:pos x="connsiteX3" y="connsiteY3"/>
                    </a:cxn>
                  </a:cxnLst>
                  <a:rect l="l" t="t" r="r" b="b"/>
                  <a:pathLst>
                    <a:path w="22966" h="54245">
                      <a:moveTo>
                        <a:pt x="22966" y="1076"/>
                      </a:moveTo>
                      <a:lnTo>
                        <a:pt x="2811" y="54245"/>
                      </a:lnTo>
                      <a:lnTo>
                        <a:pt x="0" y="53169"/>
                      </a:lnTo>
                      <a:lnTo>
                        <a:pt x="20095" y="0"/>
                      </a:lnTo>
                      <a:close/>
                    </a:path>
                  </a:pathLst>
                </a:custGeom>
                <a:grpFill/>
                <a:ln w="5978" cap="flat">
                  <a:noFill/>
                  <a:prstDash val="solid"/>
                  <a:miter/>
                </a:ln>
              </p:spPr>
              <p:txBody>
                <a:bodyPr rtlCol="0" anchor="ctr"/>
                <a:lstStyle/>
                <a:p>
                  <a:endParaRPr lang="en-GB"/>
                </a:p>
              </p:txBody>
            </p:sp>
            <p:sp>
              <p:nvSpPr>
                <p:cNvPr id="4251" name="Vrije vorm: vorm 4250">
                  <a:extLst>
                    <a:ext uri="{FF2B5EF4-FFF2-40B4-BE49-F238E27FC236}">
                      <a16:creationId xmlns:a16="http://schemas.microsoft.com/office/drawing/2014/main" id="{E71206C1-9EF3-4F8B-9B82-A516C13E9017}"/>
                    </a:ext>
                  </a:extLst>
                </p:cNvPr>
                <p:cNvSpPr/>
                <p:nvPr/>
              </p:nvSpPr>
              <p:spPr>
                <a:xfrm>
                  <a:off x="6736049" y="1583498"/>
                  <a:ext cx="18364" cy="18417"/>
                </a:xfrm>
                <a:custGeom>
                  <a:avLst/>
                  <a:gdLst>
                    <a:gd name="connsiteX0" fmla="*/ 17761 w 18364"/>
                    <a:gd name="connsiteY0" fmla="*/ 12498 h 18417"/>
                    <a:gd name="connsiteX1" fmla="*/ 5919 w 18364"/>
                    <a:gd name="connsiteY1" fmla="*/ 17821 h 18417"/>
                    <a:gd name="connsiteX2" fmla="*/ 596 w 18364"/>
                    <a:gd name="connsiteY2" fmla="*/ 5919 h 18417"/>
                    <a:gd name="connsiteX3" fmla="*/ 12438 w 18364"/>
                    <a:gd name="connsiteY3" fmla="*/ 596 h 18417"/>
                    <a:gd name="connsiteX4" fmla="*/ 17761 w 18364"/>
                    <a:gd name="connsiteY4" fmla="*/ 12498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7">
                      <a:moveTo>
                        <a:pt x="17761" y="12498"/>
                      </a:moveTo>
                      <a:cubicBezTo>
                        <a:pt x="15967" y="17223"/>
                        <a:pt x="10644" y="19615"/>
                        <a:pt x="5919" y="17821"/>
                      </a:cubicBezTo>
                      <a:cubicBezTo>
                        <a:pt x="1194" y="15967"/>
                        <a:pt x="-1198" y="10644"/>
                        <a:pt x="596" y="5919"/>
                      </a:cubicBezTo>
                      <a:cubicBezTo>
                        <a:pt x="2391" y="1195"/>
                        <a:pt x="7713" y="-1198"/>
                        <a:pt x="12438" y="596"/>
                      </a:cubicBezTo>
                      <a:cubicBezTo>
                        <a:pt x="17223" y="2391"/>
                        <a:pt x="19555" y="7713"/>
                        <a:pt x="17761" y="12498"/>
                      </a:cubicBezTo>
                      <a:close/>
                    </a:path>
                  </a:pathLst>
                </a:custGeom>
                <a:grpFill/>
                <a:ln w="5978" cap="flat">
                  <a:noFill/>
                  <a:prstDash val="solid"/>
                  <a:miter/>
                </a:ln>
              </p:spPr>
              <p:txBody>
                <a:bodyPr rtlCol="0" anchor="ctr"/>
                <a:lstStyle/>
                <a:p>
                  <a:endParaRPr lang="en-GB"/>
                </a:p>
              </p:txBody>
            </p:sp>
            <p:sp>
              <p:nvSpPr>
                <p:cNvPr id="4252" name="Vrije vorm: vorm 4251">
                  <a:extLst>
                    <a:ext uri="{FF2B5EF4-FFF2-40B4-BE49-F238E27FC236}">
                      <a16:creationId xmlns:a16="http://schemas.microsoft.com/office/drawing/2014/main" id="{4770F204-417A-406B-8E20-2B0FC2F0A0D9}"/>
                    </a:ext>
                  </a:extLst>
                </p:cNvPr>
                <p:cNvSpPr/>
                <p:nvPr/>
              </p:nvSpPr>
              <p:spPr>
                <a:xfrm>
                  <a:off x="6755845" y="1531135"/>
                  <a:ext cx="18357" cy="18455"/>
                </a:xfrm>
                <a:custGeom>
                  <a:avLst/>
                  <a:gdLst>
                    <a:gd name="connsiteX0" fmla="*/ 17761 w 18357"/>
                    <a:gd name="connsiteY0" fmla="*/ 12530 h 18455"/>
                    <a:gd name="connsiteX1" fmla="*/ 12438 w 18357"/>
                    <a:gd name="connsiteY1" fmla="*/ 628 h 18455"/>
                    <a:gd name="connsiteX2" fmla="*/ 596 w 18357"/>
                    <a:gd name="connsiteY2" fmla="*/ 5951 h 18455"/>
                    <a:gd name="connsiteX3" fmla="*/ 5919 w 18357"/>
                    <a:gd name="connsiteY3" fmla="*/ 17852 h 18455"/>
                    <a:gd name="connsiteX4" fmla="*/ 17761 w 18357"/>
                    <a:gd name="connsiteY4" fmla="*/ 12530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55">
                      <a:moveTo>
                        <a:pt x="17761" y="12530"/>
                      </a:moveTo>
                      <a:cubicBezTo>
                        <a:pt x="19555" y="7805"/>
                        <a:pt x="17163" y="2422"/>
                        <a:pt x="12438" y="628"/>
                      </a:cubicBezTo>
                      <a:cubicBezTo>
                        <a:pt x="7713" y="-1226"/>
                        <a:pt x="2391" y="1166"/>
                        <a:pt x="596" y="5951"/>
                      </a:cubicBezTo>
                      <a:cubicBezTo>
                        <a:pt x="-1198" y="10676"/>
                        <a:pt x="1194" y="16058"/>
                        <a:pt x="5919" y="17852"/>
                      </a:cubicBezTo>
                      <a:cubicBezTo>
                        <a:pt x="10704" y="19647"/>
                        <a:pt x="15967" y="17314"/>
                        <a:pt x="17761" y="12530"/>
                      </a:cubicBezTo>
                      <a:close/>
                    </a:path>
                  </a:pathLst>
                </a:custGeom>
                <a:grpFill/>
                <a:ln w="5978" cap="flat">
                  <a:noFill/>
                  <a:prstDash val="solid"/>
                  <a:miter/>
                </a:ln>
              </p:spPr>
              <p:txBody>
                <a:bodyPr rtlCol="0" anchor="ctr"/>
                <a:lstStyle/>
                <a:p>
                  <a:endParaRPr lang="en-GB"/>
                </a:p>
              </p:txBody>
            </p:sp>
          </p:grpSp>
          <p:grpSp>
            <p:nvGrpSpPr>
              <p:cNvPr id="378" name="Graphic 3">
                <a:extLst>
                  <a:ext uri="{FF2B5EF4-FFF2-40B4-BE49-F238E27FC236}">
                    <a16:creationId xmlns:a16="http://schemas.microsoft.com/office/drawing/2014/main" id="{8D693BBA-70F0-4677-8F96-002A2E6C1B04}"/>
                  </a:ext>
                </a:extLst>
              </p:cNvPr>
              <p:cNvGrpSpPr/>
              <p:nvPr/>
            </p:nvGrpSpPr>
            <p:grpSpPr>
              <a:xfrm>
                <a:off x="7715034" y="4474195"/>
                <a:ext cx="22702" cy="21276"/>
                <a:chOff x="7715034" y="4474195"/>
                <a:chExt cx="22702" cy="21276"/>
              </a:xfrm>
              <a:grpFill/>
            </p:grpSpPr>
            <p:sp>
              <p:nvSpPr>
                <p:cNvPr id="4248" name="Vrije vorm: vorm 4247">
                  <a:extLst>
                    <a:ext uri="{FF2B5EF4-FFF2-40B4-BE49-F238E27FC236}">
                      <a16:creationId xmlns:a16="http://schemas.microsoft.com/office/drawing/2014/main" id="{F16758D8-5E15-4856-84E7-283AAE0731C6}"/>
                    </a:ext>
                  </a:extLst>
                </p:cNvPr>
                <p:cNvSpPr/>
                <p:nvPr/>
              </p:nvSpPr>
              <p:spPr>
                <a:xfrm>
                  <a:off x="7719433" y="4477006"/>
                  <a:ext cx="18303" cy="18465"/>
                </a:xfrm>
                <a:custGeom>
                  <a:avLst/>
                  <a:gdLst>
                    <a:gd name="connsiteX0" fmla="*/ 4270 w 18303"/>
                    <a:gd name="connsiteY0" fmla="*/ 17008 h 18465"/>
                    <a:gd name="connsiteX1" fmla="*/ 1399 w 18303"/>
                    <a:gd name="connsiteY1" fmla="*/ 4269 h 18465"/>
                    <a:gd name="connsiteX2" fmla="*/ 14019 w 18303"/>
                    <a:gd name="connsiteY2" fmla="*/ 1458 h 18465"/>
                    <a:gd name="connsiteX3" fmla="*/ 16889 w 18303"/>
                    <a:gd name="connsiteY3" fmla="*/ 14197 h 18465"/>
                    <a:gd name="connsiteX4" fmla="*/ 4270 w 18303"/>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4270" y="17008"/>
                      </a:moveTo>
                      <a:cubicBezTo>
                        <a:pt x="24" y="14257"/>
                        <a:pt x="-1292" y="8575"/>
                        <a:pt x="1399" y="4269"/>
                      </a:cubicBezTo>
                      <a:cubicBezTo>
                        <a:pt x="4090" y="-37"/>
                        <a:pt x="9773" y="-1293"/>
                        <a:pt x="14019" y="1458"/>
                      </a:cubicBezTo>
                      <a:cubicBezTo>
                        <a:pt x="18325" y="4209"/>
                        <a:pt x="19581" y="9891"/>
                        <a:pt x="16889" y="14197"/>
                      </a:cubicBezTo>
                      <a:cubicBezTo>
                        <a:pt x="14198" y="18503"/>
                        <a:pt x="8576" y="19759"/>
                        <a:pt x="4270" y="17008"/>
                      </a:cubicBezTo>
                      <a:close/>
                    </a:path>
                  </a:pathLst>
                </a:custGeom>
                <a:grpFill/>
                <a:ln w="5978" cap="flat">
                  <a:noFill/>
                  <a:prstDash val="solid"/>
                  <a:miter/>
                </a:ln>
              </p:spPr>
              <p:txBody>
                <a:bodyPr rtlCol="0" anchor="ctr"/>
                <a:lstStyle/>
                <a:p>
                  <a:endParaRPr lang="en-GB"/>
                </a:p>
              </p:txBody>
            </p:sp>
            <p:sp>
              <p:nvSpPr>
                <p:cNvPr id="4249" name="Vrije vorm: vorm 4248">
                  <a:extLst>
                    <a:ext uri="{FF2B5EF4-FFF2-40B4-BE49-F238E27FC236}">
                      <a16:creationId xmlns:a16="http://schemas.microsoft.com/office/drawing/2014/main" id="{28C3FE9B-EE62-4583-A561-AAD3FEB167A3}"/>
                    </a:ext>
                  </a:extLst>
                </p:cNvPr>
                <p:cNvSpPr/>
                <p:nvPr/>
              </p:nvSpPr>
              <p:spPr>
                <a:xfrm>
                  <a:off x="7715034" y="4474195"/>
                  <a:ext cx="18277" cy="18465"/>
                </a:xfrm>
                <a:custGeom>
                  <a:avLst/>
                  <a:gdLst>
                    <a:gd name="connsiteX0" fmla="*/ 4244 w 18277"/>
                    <a:gd name="connsiteY0" fmla="*/ 17008 h 18465"/>
                    <a:gd name="connsiteX1" fmla="*/ 16863 w 18277"/>
                    <a:gd name="connsiteY1" fmla="*/ 14197 h 18465"/>
                    <a:gd name="connsiteX2" fmla="*/ 13992 w 18277"/>
                    <a:gd name="connsiteY2" fmla="*/ 1458 h 18465"/>
                    <a:gd name="connsiteX3" fmla="*/ 1373 w 18277"/>
                    <a:gd name="connsiteY3" fmla="*/ 4269 h 18465"/>
                    <a:gd name="connsiteX4" fmla="*/ 4244 w 18277"/>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65">
                      <a:moveTo>
                        <a:pt x="4244" y="17008"/>
                      </a:moveTo>
                      <a:cubicBezTo>
                        <a:pt x="8550" y="19759"/>
                        <a:pt x="14172" y="18503"/>
                        <a:pt x="16863" y="14197"/>
                      </a:cubicBezTo>
                      <a:cubicBezTo>
                        <a:pt x="19555" y="9891"/>
                        <a:pt x="18298" y="4209"/>
                        <a:pt x="13992" y="1458"/>
                      </a:cubicBezTo>
                      <a:cubicBezTo>
                        <a:pt x="9746" y="-1293"/>
                        <a:pt x="4064" y="-37"/>
                        <a:pt x="1373" y="4269"/>
                      </a:cubicBezTo>
                      <a:cubicBezTo>
                        <a:pt x="-1259" y="8575"/>
                        <a:pt x="-2" y="14257"/>
                        <a:pt x="4244" y="17008"/>
                      </a:cubicBezTo>
                      <a:close/>
                    </a:path>
                  </a:pathLst>
                </a:custGeom>
                <a:grpFill/>
                <a:ln w="5978" cap="flat">
                  <a:noFill/>
                  <a:prstDash val="solid"/>
                  <a:miter/>
                </a:ln>
              </p:spPr>
              <p:txBody>
                <a:bodyPr rtlCol="0" anchor="ctr"/>
                <a:lstStyle/>
                <a:p>
                  <a:endParaRPr lang="en-GB"/>
                </a:p>
              </p:txBody>
            </p:sp>
          </p:grpSp>
          <p:grpSp>
            <p:nvGrpSpPr>
              <p:cNvPr id="379" name="Graphic 3">
                <a:extLst>
                  <a:ext uri="{FF2B5EF4-FFF2-40B4-BE49-F238E27FC236}">
                    <a16:creationId xmlns:a16="http://schemas.microsoft.com/office/drawing/2014/main" id="{06CF5DF6-4782-42EA-BA46-737040F8D26C}"/>
                  </a:ext>
                </a:extLst>
              </p:cNvPr>
              <p:cNvGrpSpPr/>
              <p:nvPr/>
            </p:nvGrpSpPr>
            <p:grpSpPr>
              <a:xfrm>
                <a:off x="7495589" y="4297265"/>
                <a:ext cx="439200" cy="323430"/>
                <a:chOff x="7495589" y="4297265"/>
                <a:chExt cx="439200" cy="323430"/>
              </a:xfrm>
              <a:grpFill/>
            </p:grpSpPr>
            <p:sp>
              <p:nvSpPr>
                <p:cNvPr id="4245" name="Vrije vorm: vorm 4244">
                  <a:extLst>
                    <a:ext uri="{FF2B5EF4-FFF2-40B4-BE49-F238E27FC236}">
                      <a16:creationId xmlns:a16="http://schemas.microsoft.com/office/drawing/2014/main" id="{976385BD-D6E3-4671-B4BC-2F81FA06E35E}"/>
                    </a:ext>
                  </a:extLst>
                </p:cNvPr>
                <p:cNvSpPr/>
                <p:nvPr/>
              </p:nvSpPr>
              <p:spPr>
                <a:xfrm>
                  <a:off x="7503493" y="4304963"/>
                  <a:ext cx="423374" cy="308007"/>
                </a:xfrm>
                <a:custGeom>
                  <a:avLst/>
                  <a:gdLst>
                    <a:gd name="connsiteX0" fmla="*/ 423375 w 423374"/>
                    <a:gd name="connsiteY0" fmla="*/ 305555 h 308007"/>
                    <a:gd name="connsiteX1" fmla="*/ 421641 w 423374"/>
                    <a:gd name="connsiteY1" fmla="*/ 308007 h 308007"/>
                    <a:gd name="connsiteX2" fmla="*/ 0 w 423374"/>
                    <a:gd name="connsiteY2" fmla="*/ 2512 h 308007"/>
                    <a:gd name="connsiteX3" fmla="*/ 1794 w 423374"/>
                    <a:gd name="connsiteY3" fmla="*/ 0 h 308007"/>
                  </a:gdLst>
                  <a:ahLst/>
                  <a:cxnLst>
                    <a:cxn ang="0">
                      <a:pos x="connsiteX0" y="connsiteY0"/>
                    </a:cxn>
                    <a:cxn ang="0">
                      <a:pos x="connsiteX1" y="connsiteY1"/>
                    </a:cxn>
                    <a:cxn ang="0">
                      <a:pos x="connsiteX2" y="connsiteY2"/>
                    </a:cxn>
                    <a:cxn ang="0">
                      <a:pos x="connsiteX3" y="connsiteY3"/>
                    </a:cxn>
                  </a:cxnLst>
                  <a:rect l="l" t="t" r="r" b="b"/>
                  <a:pathLst>
                    <a:path w="423374" h="308007">
                      <a:moveTo>
                        <a:pt x="423375" y="305555"/>
                      </a:moveTo>
                      <a:lnTo>
                        <a:pt x="421641" y="308007"/>
                      </a:lnTo>
                      <a:lnTo>
                        <a:pt x="0" y="2512"/>
                      </a:lnTo>
                      <a:lnTo>
                        <a:pt x="1794" y="0"/>
                      </a:lnTo>
                      <a:close/>
                    </a:path>
                  </a:pathLst>
                </a:custGeom>
                <a:grpFill/>
                <a:ln w="5978" cap="flat">
                  <a:noFill/>
                  <a:prstDash val="solid"/>
                  <a:miter/>
                </a:ln>
              </p:spPr>
              <p:txBody>
                <a:bodyPr rtlCol="0" anchor="ctr"/>
                <a:lstStyle/>
                <a:p>
                  <a:endParaRPr lang="en-GB"/>
                </a:p>
              </p:txBody>
            </p:sp>
            <p:sp>
              <p:nvSpPr>
                <p:cNvPr id="4246" name="Vrije vorm: vorm 4245">
                  <a:extLst>
                    <a:ext uri="{FF2B5EF4-FFF2-40B4-BE49-F238E27FC236}">
                      <a16:creationId xmlns:a16="http://schemas.microsoft.com/office/drawing/2014/main" id="{98EEF71C-EF27-4B25-A59C-B3B033E010F4}"/>
                    </a:ext>
                  </a:extLst>
                </p:cNvPr>
                <p:cNvSpPr/>
                <p:nvPr/>
              </p:nvSpPr>
              <p:spPr>
                <a:xfrm>
                  <a:off x="7495589" y="4297265"/>
                  <a:ext cx="18379" cy="18430"/>
                </a:xfrm>
                <a:custGeom>
                  <a:avLst/>
                  <a:gdLst>
                    <a:gd name="connsiteX0" fmla="*/ 3837 w 18379"/>
                    <a:gd name="connsiteY0" fmla="*/ 16670 h 18430"/>
                    <a:gd name="connsiteX1" fmla="*/ 1744 w 18379"/>
                    <a:gd name="connsiteY1" fmla="*/ 3811 h 18430"/>
                    <a:gd name="connsiteX2" fmla="*/ 14543 w 18379"/>
                    <a:gd name="connsiteY2" fmla="*/ 1718 h 18430"/>
                    <a:gd name="connsiteX3" fmla="*/ 16636 w 18379"/>
                    <a:gd name="connsiteY3" fmla="*/ 14577 h 18430"/>
                    <a:gd name="connsiteX4" fmla="*/ 3837 w 18379"/>
                    <a:gd name="connsiteY4" fmla="*/ 1667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30">
                      <a:moveTo>
                        <a:pt x="3837" y="16670"/>
                      </a:moveTo>
                      <a:cubicBezTo>
                        <a:pt x="-289" y="13679"/>
                        <a:pt x="-1247" y="7938"/>
                        <a:pt x="1744" y="3811"/>
                      </a:cubicBezTo>
                      <a:cubicBezTo>
                        <a:pt x="4674" y="-315"/>
                        <a:pt x="10416" y="-1213"/>
                        <a:pt x="14543" y="1718"/>
                      </a:cubicBezTo>
                      <a:cubicBezTo>
                        <a:pt x="18669" y="4708"/>
                        <a:pt x="19626" y="10450"/>
                        <a:pt x="16636" y="14577"/>
                      </a:cubicBezTo>
                      <a:cubicBezTo>
                        <a:pt x="13705" y="18763"/>
                        <a:pt x="7964" y="19660"/>
                        <a:pt x="3837" y="16670"/>
                      </a:cubicBezTo>
                      <a:close/>
                    </a:path>
                  </a:pathLst>
                </a:custGeom>
                <a:grpFill/>
                <a:ln w="5978" cap="flat">
                  <a:noFill/>
                  <a:prstDash val="solid"/>
                  <a:miter/>
                </a:ln>
              </p:spPr>
              <p:txBody>
                <a:bodyPr rtlCol="0" anchor="ctr"/>
                <a:lstStyle/>
                <a:p>
                  <a:endParaRPr lang="en-GB"/>
                </a:p>
              </p:txBody>
            </p:sp>
            <p:sp>
              <p:nvSpPr>
                <p:cNvPr id="4247" name="Vrije vorm: vorm 4246">
                  <a:extLst>
                    <a:ext uri="{FF2B5EF4-FFF2-40B4-BE49-F238E27FC236}">
                      <a16:creationId xmlns:a16="http://schemas.microsoft.com/office/drawing/2014/main" id="{E0953B5B-02FD-49FD-94C5-5D94439132CF}"/>
                    </a:ext>
                  </a:extLst>
                </p:cNvPr>
                <p:cNvSpPr/>
                <p:nvPr/>
              </p:nvSpPr>
              <p:spPr>
                <a:xfrm>
                  <a:off x="7916479" y="4602255"/>
                  <a:ext cx="18310" cy="18439"/>
                </a:xfrm>
                <a:custGeom>
                  <a:avLst/>
                  <a:gdLst>
                    <a:gd name="connsiteX0" fmla="*/ 3811 w 18310"/>
                    <a:gd name="connsiteY0" fmla="*/ 16696 h 18439"/>
                    <a:gd name="connsiteX1" fmla="*/ 16610 w 18310"/>
                    <a:gd name="connsiteY1" fmla="*/ 14603 h 18439"/>
                    <a:gd name="connsiteX2" fmla="*/ 14517 w 18310"/>
                    <a:gd name="connsiteY2" fmla="*/ 1744 h 18439"/>
                    <a:gd name="connsiteX3" fmla="*/ 1718 w 18310"/>
                    <a:gd name="connsiteY3" fmla="*/ 3837 h 18439"/>
                    <a:gd name="connsiteX4" fmla="*/ 3811 w 18310"/>
                    <a:gd name="connsiteY4" fmla="*/ 16696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9">
                      <a:moveTo>
                        <a:pt x="3811" y="16696"/>
                      </a:moveTo>
                      <a:cubicBezTo>
                        <a:pt x="7938" y="19686"/>
                        <a:pt x="13679" y="18729"/>
                        <a:pt x="16610" y="14603"/>
                      </a:cubicBezTo>
                      <a:cubicBezTo>
                        <a:pt x="19540" y="10476"/>
                        <a:pt x="18583" y="4734"/>
                        <a:pt x="14517" y="1744"/>
                      </a:cubicBezTo>
                      <a:cubicBezTo>
                        <a:pt x="10390" y="-1247"/>
                        <a:pt x="4708" y="-289"/>
                        <a:pt x="1718" y="3837"/>
                      </a:cubicBezTo>
                      <a:cubicBezTo>
                        <a:pt x="-1213" y="7964"/>
                        <a:pt x="-315" y="13705"/>
                        <a:pt x="3811" y="16696"/>
                      </a:cubicBezTo>
                      <a:close/>
                    </a:path>
                  </a:pathLst>
                </a:custGeom>
                <a:grpFill/>
                <a:ln w="5978" cap="flat">
                  <a:noFill/>
                  <a:prstDash val="solid"/>
                  <a:miter/>
                </a:ln>
              </p:spPr>
              <p:txBody>
                <a:bodyPr rtlCol="0" anchor="ctr"/>
                <a:lstStyle/>
                <a:p>
                  <a:endParaRPr lang="en-GB"/>
                </a:p>
              </p:txBody>
            </p:sp>
          </p:grpSp>
          <p:grpSp>
            <p:nvGrpSpPr>
              <p:cNvPr id="380" name="Graphic 3">
                <a:extLst>
                  <a:ext uri="{FF2B5EF4-FFF2-40B4-BE49-F238E27FC236}">
                    <a16:creationId xmlns:a16="http://schemas.microsoft.com/office/drawing/2014/main" id="{2423694C-872E-4FCA-AD32-68AF5713E9C6}"/>
                  </a:ext>
                </a:extLst>
              </p:cNvPr>
              <p:cNvGrpSpPr/>
              <p:nvPr/>
            </p:nvGrpSpPr>
            <p:grpSpPr>
              <a:xfrm>
                <a:off x="7563452" y="4188932"/>
                <a:ext cx="161535" cy="92233"/>
                <a:chOff x="7563452" y="4188932"/>
                <a:chExt cx="161535" cy="92233"/>
              </a:xfrm>
              <a:grpFill/>
            </p:grpSpPr>
            <p:sp>
              <p:nvSpPr>
                <p:cNvPr id="4242" name="Vrije vorm: vorm 4241">
                  <a:extLst>
                    <a:ext uri="{FF2B5EF4-FFF2-40B4-BE49-F238E27FC236}">
                      <a16:creationId xmlns:a16="http://schemas.microsoft.com/office/drawing/2014/main" id="{3D7BABA0-287D-4B8E-A0A7-AA41EDA84892}"/>
                    </a:ext>
                  </a:extLst>
                </p:cNvPr>
                <p:cNvSpPr/>
                <p:nvPr/>
              </p:nvSpPr>
              <p:spPr>
                <a:xfrm>
                  <a:off x="7571494" y="4196593"/>
                  <a:ext cx="145450" cy="76912"/>
                </a:xfrm>
                <a:custGeom>
                  <a:avLst/>
                  <a:gdLst>
                    <a:gd name="connsiteX0" fmla="*/ 145451 w 145450"/>
                    <a:gd name="connsiteY0" fmla="*/ 74161 h 76912"/>
                    <a:gd name="connsiteX1" fmla="*/ 144075 w 145450"/>
                    <a:gd name="connsiteY1" fmla="*/ 76912 h 76912"/>
                    <a:gd name="connsiteX2" fmla="*/ 0 w 145450"/>
                    <a:gd name="connsiteY2" fmla="*/ 2751 h 76912"/>
                    <a:gd name="connsiteX3" fmla="*/ 1375 w 145450"/>
                    <a:gd name="connsiteY3" fmla="*/ 0 h 76912"/>
                  </a:gdLst>
                  <a:ahLst/>
                  <a:cxnLst>
                    <a:cxn ang="0">
                      <a:pos x="connsiteX0" y="connsiteY0"/>
                    </a:cxn>
                    <a:cxn ang="0">
                      <a:pos x="connsiteX1" y="connsiteY1"/>
                    </a:cxn>
                    <a:cxn ang="0">
                      <a:pos x="connsiteX2" y="connsiteY2"/>
                    </a:cxn>
                    <a:cxn ang="0">
                      <a:pos x="connsiteX3" y="connsiteY3"/>
                    </a:cxn>
                  </a:cxnLst>
                  <a:rect l="l" t="t" r="r" b="b"/>
                  <a:pathLst>
                    <a:path w="145450" h="76912">
                      <a:moveTo>
                        <a:pt x="145451" y="74161"/>
                      </a:moveTo>
                      <a:lnTo>
                        <a:pt x="144075" y="76912"/>
                      </a:lnTo>
                      <a:lnTo>
                        <a:pt x="0" y="2751"/>
                      </a:lnTo>
                      <a:lnTo>
                        <a:pt x="1375" y="0"/>
                      </a:lnTo>
                      <a:close/>
                    </a:path>
                  </a:pathLst>
                </a:custGeom>
                <a:grpFill/>
                <a:ln w="5978" cap="flat">
                  <a:noFill/>
                  <a:prstDash val="solid"/>
                  <a:miter/>
                </a:ln>
              </p:spPr>
              <p:txBody>
                <a:bodyPr rtlCol="0" anchor="ctr"/>
                <a:lstStyle/>
                <a:p>
                  <a:endParaRPr lang="en-GB"/>
                </a:p>
              </p:txBody>
            </p:sp>
            <p:sp>
              <p:nvSpPr>
                <p:cNvPr id="4243" name="Vrije vorm: vorm 4242">
                  <a:extLst>
                    <a:ext uri="{FF2B5EF4-FFF2-40B4-BE49-F238E27FC236}">
                      <a16:creationId xmlns:a16="http://schemas.microsoft.com/office/drawing/2014/main" id="{33D0153C-97AE-46AF-90A3-4AF04B22984E}"/>
                    </a:ext>
                  </a:extLst>
                </p:cNvPr>
                <p:cNvSpPr/>
                <p:nvPr/>
              </p:nvSpPr>
              <p:spPr>
                <a:xfrm>
                  <a:off x="7706664" y="4262734"/>
                  <a:ext cx="18323" cy="18431"/>
                </a:xfrm>
                <a:custGeom>
                  <a:avLst/>
                  <a:gdLst>
                    <a:gd name="connsiteX0" fmla="*/ 13331 w 18323"/>
                    <a:gd name="connsiteY0" fmla="*/ 1022 h 18431"/>
                    <a:gd name="connsiteX1" fmla="*/ 17339 w 18323"/>
                    <a:gd name="connsiteY1" fmla="*/ 13402 h 18431"/>
                    <a:gd name="connsiteX2" fmla="*/ 5018 w 18323"/>
                    <a:gd name="connsiteY2" fmla="*/ 17409 h 18431"/>
                    <a:gd name="connsiteX3" fmla="*/ 1011 w 18323"/>
                    <a:gd name="connsiteY3" fmla="*/ 5029 h 18431"/>
                    <a:gd name="connsiteX4" fmla="*/ 13331 w 18323"/>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1">
                      <a:moveTo>
                        <a:pt x="13331" y="1022"/>
                      </a:moveTo>
                      <a:cubicBezTo>
                        <a:pt x="17817" y="3355"/>
                        <a:pt x="19611" y="8917"/>
                        <a:pt x="17339" y="13402"/>
                      </a:cubicBezTo>
                      <a:cubicBezTo>
                        <a:pt x="15066" y="17947"/>
                        <a:pt x="9503" y="19742"/>
                        <a:pt x="5018" y="17409"/>
                      </a:cubicBezTo>
                      <a:cubicBezTo>
                        <a:pt x="532" y="15077"/>
                        <a:pt x="-1321" y="9515"/>
                        <a:pt x="1011" y="5029"/>
                      </a:cubicBezTo>
                      <a:cubicBezTo>
                        <a:pt x="3343" y="484"/>
                        <a:pt x="8846" y="-1310"/>
                        <a:pt x="13331" y="1022"/>
                      </a:cubicBezTo>
                      <a:close/>
                    </a:path>
                  </a:pathLst>
                </a:custGeom>
                <a:grpFill/>
                <a:ln w="5978" cap="flat">
                  <a:noFill/>
                  <a:prstDash val="solid"/>
                  <a:miter/>
                </a:ln>
              </p:spPr>
              <p:txBody>
                <a:bodyPr rtlCol="0" anchor="ctr"/>
                <a:lstStyle/>
                <a:p>
                  <a:endParaRPr lang="en-GB"/>
                </a:p>
              </p:txBody>
            </p:sp>
            <p:sp>
              <p:nvSpPr>
                <p:cNvPr id="4244" name="Vrije vorm: vorm 4243">
                  <a:extLst>
                    <a:ext uri="{FF2B5EF4-FFF2-40B4-BE49-F238E27FC236}">
                      <a16:creationId xmlns:a16="http://schemas.microsoft.com/office/drawing/2014/main" id="{466BBBB9-8E77-4271-97C6-1E29AC838D22}"/>
                    </a:ext>
                  </a:extLst>
                </p:cNvPr>
                <p:cNvSpPr/>
                <p:nvPr/>
              </p:nvSpPr>
              <p:spPr>
                <a:xfrm>
                  <a:off x="7563452" y="4188932"/>
                  <a:ext cx="18297" cy="18431"/>
                </a:xfrm>
                <a:custGeom>
                  <a:avLst/>
                  <a:gdLst>
                    <a:gd name="connsiteX0" fmla="*/ 13305 w 18297"/>
                    <a:gd name="connsiteY0" fmla="*/ 1022 h 18431"/>
                    <a:gd name="connsiteX1" fmla="*/ 985 w 18297"/>
                    <a:gd name="connsiteY1" fmla="*/ 5029 h 18431"/>
                    <a:gd name="connsiteX2" fmla="*/ 4992 w 18297"/>
                    <a:gd name="connsiteY2" fmla="*/ 17409 h 18431"/>
                    <a:gd name="connsiteX3" fmla="*/ 17312 w 18297"/>
                    <a:gd name="connsiteY3" fmla="*/ 13402 h 18431"/>
                    <a:gd name="connsiteX4" fmla="*/ 13305 w 18297"/>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1">
                      <a:moveTo>
                        <a:pt x="13305" y="1022"/>
                      </a:moveTo>
                      <a:cubicBezTo>
                        <a:pt x="8820" y="-1310"/>
                        <a:pt x="3258" y="484"/>
                        <a:pt x="985" y="5029"/>
                      </a:cubicBezTo>
                      <a:cubicBezTo>
                        <a:pt x="-1288" y="9575"/>
                        <a:pt x="507" y="15137"/>
                        <a:pt x="4992" y="17409"/>
                      </a:cubicBezTo>
                      <a:cubicBezTo>
                        <a:pt x="9478" y="19742"/>
                        <a:pt x="15039" y="17948"/>
                        <a:pt x="17312" y="13402"/>
                      </a:cubicBezTo>
                      <a:cubicBezTo>
                        <a:pt x="19585" y="8917"/>
                        <a:pt x="17791" y="3355"/>
                        <a:pt x="13305" y="1022"/>
                      </a:cubicBezTo>
                      <a:close/>
                    </a:path>
                  </a:pathLst>
                </a:custGeom>
                <a:grpFill/>
                <a:ln w="5978" cap="flat">
                  <a:noFill/>
                  <a:prstDash val="solid"/>
                  <a:miter/>
                </a:ln>
              </p:spPr>
              <p:txBody>
                <a:bodyPr rtlCol="0" anchor="ctr"/>
                <a:lstStyle/>
                <a:p>
                  <a:endParaRPr lang="en-GB"/>
                </a:p>
              </p:txBody>
            </p:sp>
          </p:grpSp>
          <p:grpSp>
            <p:nvGrpSpPr>
              <p:cNvPr id="381" name="Graphic 3">
                <a:extLst>
                  <a:ext uri="{FF2B5EF4-FFF2-40B4-BE49-F238E27FC236}">
                    <a16:creationId xmlns:a16="http://schemas.microsoft.com/office/drawing/2014/main" id="{CC6B87B0-57DD-45F1-BDEF-AD8D9D1926C7}"/>
                  </a:ext>
                </a:extLst>
              </p:cNvPr>
              <p:cNvGrpSpPr/>
              <p:nvPr/>
            </p:nvGrpSpPr>
            <p:grpSpPr>
              <a:xfrm>
                <a:off x="6648186" y="1297972"/>
                <a:ext cx="125662" cy="337588"/>
                <a:chOff x="6648186" y="1297972"/>
                <a:chExt cx="125662" cy="337588"/>
              </a:xfrm>
              <a:grpFill/>
            </p:grpSpPr>
            <p:sp>
              <p:nvSpPr>
                <p:cNvPr id="4239" name="Vrije vorm: vorm 4238">
                  <a:extLst>
                    <a:ext uri="{FF2B5EF4-FFF2-40B4-BE49-F238E27FC236}">
                      <a16:creationId xmlns:a16="http://schemas.microsoft.com/office/drawing/2014/main" id="{0A251E65-316D-42EA-8B56-0C4DD22FFD14}"/>
                    </a:ext>
                  </a:extLst>
                </p:cNvPr>
                <p:cNvSpPr/>
                <p:nvPr/>
              </p:nvSpPr>
              <p:spPr>
                <a:xfrm>
                  <a:off x="6655785" y="1306230"/>
                  <a:ext cx="110464" cy="320985"/>
                </a:xfrm>
                <a:custGeom>
                  <a:avLst/>
                  <a:gdLst>
                    <a:gd name="connsiteX0" fmla="*/ 110464 w 110464"/>
                    <a:gd name="connsiteY0" fmla="*/ 1017 h 320985"/>
                    <a:gd name="connsiteX1" fmla="*/ 2871 w 110464"/>
                    <a:gd name="connsiteY1" fmla="*/ 320985 h 320985"/>
                    <a:gd name="connsiteX2" fmla="*/ 0 w 110464"/>
                    <a:gd name="connsiteY2" fmla="*/ 320028 h 320985"/>
                    <a:gd name="connsiteX3" fmla="*/ 107593 w 110464"/>
                    <a:gd name="connsiteY3" fmla="*/ 0 h 320985"/>
                  </a:gdLst>
                  <a:ahLst/>
                  <a:cxnLst>
                    <a:cxn ang="0">
                      <a:pos x="connsiteX0" y="connsiteY0"/>
                    </a:cxn>
                    <a:cxn ang="0">
                      <a:pos x="connsiteX1" y="connsiteY1"/>
                    </a:cxn>
                    <a:cxn ang="0">
                      <a:pos x="connsiteX2" y="connsiteY2"/>
                    </a:cxn>
                    <a:cxn ang="0">
                      <a:pos x="connsiteX3" y="connsiteY3"/>
                    </a:cxn>
                  </a:cxnLst>
                  <a:rect l="l" t="t" r="r" b="b"/>
                  <a:pathLst>
                    <a:path w="110464" h="320985">
                      <a:moveTo>
                        <a:pt x="110464" y="1017"/>
                      </a:moveTo>
                      <a:lnTo>
                        <a:pt x="2871" y="320985"/>
                      </a:lnTo>
                      <a:lnTo>
                        <a:pt x="0" y="320028"/>
                      </a:lnTo>
                      <a:lnTo>
                        <a:pt x="107593" y="0"/>
                      </a:lnTo>
                      <a:close/>
                    </a:path>
                  </a:pathLst>
                </a:custGeom>
                <a:grpFill/>
                <a:ln w="5978" cap="flat">
                  <a:noFill/>
                  <a:prstDash val="solid"/>
                  <a:miter/>
                </a:ln>
              </p:spPr>
              <p:txBody>
                <a:bodyPr rtlCol="0" anchor="ctr"/>
                <a:lstStyle/>
                <a:p>
                  <a:endParaRPr lang="en-GB"/>
                </a:p>
              </p:txBody>
            </p:sp>
            <p:sp>
              <p:nvSpPr>
                <p:cNvPr id="4240" name="Vrije vorm: vorm 4239">
                  <a:extLst>
                    <a:ext uri="{FF2B5EF4-FFF2-40B4-BE49-F238E27FC236}">
                      <a16:creationId xmlns:a16="http://schemas.microsoft.com/office/drawing/2014/main" id="{91DC661D-CA1B-4ACE-A30B-C5E92C252245}"/>
                    </a:ext>
                  </a:extLst>
                </p:cNvPr>
                <p:cNvSpPr/>
                <p:nvPr/>
              </p:nvSpPr>
              <p:spPr>
                <a:xfrm>
                  <a:off x="6755540" y="1297972"/>
                  <a:ext cx="18308" cy="18428"/>
                </a:xfrm>
                <a:custGeom>
                  <a:avLst/>
                  <a:gdLst>
                    <a:gd name="connsiteX0" fmla="*/ 482 w 18308"/>
                    <a:gd name="connsiteY0" fmla="*/ 6224 h 18428"/>
                    <a:gd name="connsiteX1" fmla="*/ 12085 w 18308"/>
                    <a:gd name="connsiteY1" fmla="*/ 482 h 18428"/>
                    <a:gd name="connsiteX2" fmla="*/ 17827 w 18308"/>
                    <a:gd name="connsiteY2" fmla="*/ 12205 h 18428"/>
                    <a:gd name="connsiteX3" fmla="*/ 6224 w 18308"/>
                    <a:gd name="connsiteY3" fmla="*/ 17946 h 18428"/>
                    <a:gd name="connsiteX4" fmla="*/ 482 w 18308"/>
                    <a:gd name="connsiteY4" fmla="*/ 622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8">
                      <a:moveTo>
                        <a:pt x="482" y="6224"/>
                      </a:moveTo>
                      <a:cubicBezTo>
                        <a:pt x="2097" y="1439"/>
                        <a:pt x="7300" y="-1132"/>
                        <a:pt x="12085" y="482"/>
                      </a:cubicBezTo>
                      <a:cubicBezTo>
                        <a:pt x="16870" y="2157"/>
                        <a:pt x="19441" y="7360"/>
                        <a:pt x="17827" y="12205"/>
                      </a:cubicBezTo>
                      <a:cubicBezTo>
                        <a:pt x="16212" y="16989"/>
                        <a:pt x="11009" y="19561"/>
                        <a:pt x="6224" y="17946"/>
                      </a:cubicBezTo>
                      <a:cubicBezTo>
                        <a:pt x="1440" y="16271"/>
                        <a:pt x="-1133" y="11008"/>
                        <a:pt x="482" y="6224"/>
                      </a:cubicBezTo>
                      <a:close/>
                    </a:path>
                  </a:pathLst>
                </a:custGeom>
                <a:grpFill/>
                <a:ln w="5978" cap="flat">
                  <a:noFill/>
                  <a:prstDash val="solid"/>
                  <a:miter/>
                </a:ln>
              </p:spPr>
              <p:txBody>
                <a:bodyPr rtlCol="0" anchor="ctr"/>
                <a:lstStyle/>
                <a:p>
                  <a:endParaRPr lang="en-GB"/>
                </a:p>
              </p:txBody>
            </p:sp>
            <p:sp>
              <p:nvSpPr>
                <p:cNvPr id="4241" name="Vrije vorm: vorm 4240">
                  <a:extLst>
                    <a:ext uri="{FF2B5EF4-FFF2-40B4-BE49-F238E27FC236}">
                      <a16:creationId xmlns:a16="http://schemas.microsoft.com/office/drawing/2014/main" id="{0CD5DD0B-D9AD-4588-8B94-7D7061BDA50C}"/>
                    </a:ext>
                  </a:extLst>
                </p:cNvPr>
                <p:cNvSpPr/>
                <p:nvPr/>
              </p:nvSpPr>
              <p:spPr>
                <a:xfrm>
                  <a:off x="6648186" y="1617074"/>
                  <a:ext cx="18308" cy="18486"/>
                </a:xfrm>
                <a:custGeom>
                  <a:avLst/>
                  <a:gdLst>
                    <a:gd name="connsiteX0" fmla="*/ 482 w 18308"/>
                    <a:gd name="connsiteY0" fmla="*/ 6253 h 18486"/>
                    <a:gd name="connsiteX1" fmla="*/ 6224 w 18308"/>
                    <a:gd name="connsiteY1" fmla="*/ 17975 h 18486"/>
                    <a:gd name="connsiteX2" fmla="*/ 17826 w 18308"/>
                    <a:gd name="connsiteY2" fmla="*/ 12234 h 18486"/>
                    <a:gd name="connsiteX3" fmla="*/ 12085 w 18308"/>
                    <a:gd name="connsiteY3" fmla="*/ 512 h 18486"/>
                    <a:gd name="connsiteX4" fmla="*/ 482 w 18308"/>
                    <a:gd name="connsiteY4" fmla="*/ 6253 h 18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86">
                      <a:moveTo>
                        <a:pt x="482" y="6253"/>
                      </a:moveTo>
                      <a:cubicBezTo>
                        <a:pt x="-1132" y="11038"/>
                        <a:pt x="1439" y="16301"/>
                        <a:pt x="6224" y="17975"/>
                      </a:cubicBezTo>
                      <a:cubicBezTo>
                        <a:pt x="11008" y="19650"/>
                        <a:pt x="16212" y="17078"/>
                        <a:pt x="17826" y="12234"/>
                      </a:cubicBezTo>
                      <a:cubicBezTo>
                        <a:pt x="19441" y="7449"/>
                        <a:pt x="16869" y="2186"/>
                        <a:pt x="12085" y="512"/>
                      </a:cubicBezTo>
                      <a:cubicBezTo>
                        <a:pt x="7300" y="-1163"/>
                        <a:pt x="2097" y="1409"/>
                        <a:pt x="482" y="6253"/>
                      </a:cubicBezTo>
                      <a:close/>
                    </a:path>
                  </a:pathLst>
                </a:custGeom>
                <a:grpFill/>
                <a:ln w="5978" cap="flat">
                  <a:noFill/>
                  <a:prstDash val="solid"/>
                  <a:miter/>
                </a:ln>
              </p:spPr>
              <p:txBody>
                <a:bodyPr rtlCol="0" anchor="ctr"/>
                <a:lstStyle/>
                <a:p>
                  <a:endParaRPr lang="en-GB"/>
                </a:p>
              </p:txBody>
            </p:sp>
          </p:grpSp>
          <p:grpSp>
            <p:nvGrpSpPr>
              <p:cNvPr id="382" name="Graphic 3">
                <a:extLst>
                  <a:ext uri="{FF2B5EF4-FFF2-40B4-BE49-F238E27FC236}">
                    <a16:creationId xmlns:a16="http://schemas.microsoft.com/office/drawing/2014/main" id="{233FB839-2DAC-4227-9CC6-AD0A5828AAAA}"/>
                  </a:ext>
                </a:extLst>
              </p:cNvPr>
              <p:cNvGrpSpPr/>
              <p:nvPr/>
            </p:nvGrpSpPr>
            <p:grpSpPr>
              <a:xfrm>
                <a:off x="6732557" y="1573069"/>
                <a:ext cx="65163" cy="135624"/>
                <a:chOff x="6732557" y="1573069"/>
                <a:chExt cx="65163" cy="135624"/>
              </a:xfrm>
              <a:grpFill/>
            </p:grpSpPr>
            <p:sp>
              <p:nvSpPr>
                <p:cNvPr id="4236" name="Vrije vorm: vorm 4235">
                  <a:extLst>
                    <a:ext uri="{FF2B5EF4-FFF2-40B4-BE49-F238E27FC236}">
                      <a16:creationId xmlns:a16="http://schemas.microsoft.com/office/drawing/2014/main" id="{C82CAC97-F7CC-4A72-8A07-271C35BEEBE9}"/>
                    </a:ext>
                  </a:extLst>
                </p:cNvPr>
                <p:cNvSpPr/>
                <p:nvPr/>
              </p:nvSpPr>
              <p:spPr>
                <a:xfrm>
                  <a:off x="6740114" y="1581343"/>
                  <a:ext cx="49998" cy="119135"/>
                </a:xfrm>
                <a:custGeom>
                  <a:avLst/>
                  <a:gdLst>
                    <a:gd name="connsiteX0" fmla="*/ 49999 w 49998"/>
                    <a:gd name="connsiteY0" fmla="*/ 1136 h 119135"/>
                    <a:gd name="connsiteX1" fmla="*/ 2811 w 49998"/>
                    <a:gd name="connsiteY1" fmla="*/ 119136 h 119135"/>
                    <a:gd name="connsiteX2" fmla="*/ 0 w 49998"/>
                    <a:gd name="connsiteY2" fmla="*/ 117940 h 119135"/>
                    <a:gd name="connsiteX3" fmla="*/ 47188 w 49998"/>
                    <a:gd name="connsiteY3" fmla="*/ 0 h 119135"/>
                  </a:gdLst>
                  <a:ahLst/>
                  <a:cxnLst>
                    <a:cxn ang="0">
                      <a:pos x="connsiteX0" y="connsiteY0"/>
                    </a:cxn>
                    <a:cxn ang="0">
                      <a:pos x="connsiteX1" y="connsiteY1"/>
                    </a:cxn>
                    <a:cxn ang="0">
                      <a:pos x="connsiteX2" y="connsiteY2"/>
                    </a:cxn>
                    <a:cxn ang="0">
                      <a:pos x="connsiteX3" y="connsiteY3"/>
                    </a:cxn>
                  </a:cxnLst>
                  <a:rect l="l" t="t" r="r" b="b"/>
                  <a:pathLst>
                    <a:path w="49998" h="119135">
                      <a:moveTo>
                        <a:pt x="49999" y="1136"/>
                      </a:moveTo>
                      <a:lnTo>
                        <a:pt x="2811" y="119136"/>
                      </a:lnTo>
                      <a:lnTo>
                        <a:pt x="0" y="117940"/>
                      </a:lnTo>
                      <a:lnTo>
                        <a:pt x="47188" y="0"/>
                      </a:lnTo>
                      <a:close/>
                    </a:path>
                  </a:pathLst>
                </a:custGeom>
                <a:grpFill/>
                <a:ln w="5978" cap="flat">
                  <a:noFill/>
                  <a:prstDash val="solid"/>
                  <a:miter/>
                </a:ln>
              </p:spPr>
              <p:txBody>
                <a:bodyPr rtlCol="0" anchor="ctr"/>
                <a:lstStyle/>
                <a:p>
                  <a:endParaRPr lang="en-GB"/>
                </a:p>
              </p:txBody>
            </p:sp>
            <p:sp>
              <p:nvSpPr>
                <p:cNvPr id="4237" name="Vrije vorm: vorm 4236">
                  <a:extLst>
                    <a:ext uri="{FF2B5EF4-FFF2-40B4-BE49-F238E27FC236}">
                      <a16:creationId xmlns:a16="http://schemas.microsoft.com/office/drawing/2014/main" id="{78D2FF50-F8D9-41AF-8268-CDC9D35FB64D}"/>
                    </a:ext>
                  </a:extLst>
                </p:cNvPr>
                <p:cNvSpPr/>
                <p:nvPr/>
              </p:nvSpPr>
              <p:spPr>
                <a:xfrm>
                  <a:off x="6732557" y="1690231"/>
                  <a:ext cx="18309" cy="18461"/>
                </a:xfrm>
                <a:custGeom>
                  <a:avLst/>
                  <a:gdLst>
                    <a:gd name="connsiteX0" fmla="*/ 17664 w 18309"/>
                    <a:gd name="connsiteY0" fmla="*/ 12700 h 18461"/>
                    <a:gd name="connsiteX1" fmla="*/ 5762 w 18309"/>
                    <a:gd name="connsiteY1" fmla="*/ 17783 h 18461"/>
                    <a:gd name="connsiteX2" fmla="*/ 679 w 18309"/>
                    <a:gd name="connsiteY2" fmla="*/ 5762 h 18461"/>
                    <a:gd name="connsiteX3" fmla="*/ 12580 w 18309"/>
                    <a:gd name="connsiteY3" fmla="*/ 679 h 18461"/>
                    <a:gd name="connsiteX4" fmla="*/ 17664 w 18309"/>
                    <a:gd name="connsiteY4" fmla="*/ 1270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17664" y="12700"/>
                      </a:moveTo>
                      <a:cubicBezTo>
                        <a:pt x="15750" y="17425"/>
                        <a:pt x="10427" y="19697"/>
                        <a:pt x="5762" y="17783"/>
                      </a:cubicBezTo>
                      <a:cubicBezTo>
                        <a:pt x="1037" y="15870"/>
                        <a:pt x="-1235" y="10487"/>
                        <a:pt x="679" y="5762"/>
                      </a:cubicBezTo>
                      <a:cubicBezTo>
                        <a:pt x="2592" y="1037"/>
                        <a:pt x="7915" y="-1235"/>
                        <a:pt x="12580" y="679"/>
                      </a:cubicBezTo>
                      <a:cubicBezTo>
                        <a:pt x="17245" y="2592"/>
                        <a:pt x="19518" y="7975"/>
                        <a:pt x="17664" y="12700"/>
                      </a:cubicBezTo>
                      <a:close/>
                    </a:path>
                  </a:pathLst>
                </a:custGeom>
                <a:grpFill/>
                <a:ln w="5978" cap="flat">
                  <a:noFill/>
                  <a:prstDash val="solid"/>
                  <a:miter/>
                </a:ln>
              </p:spPr>
              <p:txBody>
                <a:bodyPr rtlCol="0" anchor="ctr"/>
                <a:lstStyle/>
                <a:p>
                  <a:endParaRPr lang="en-GB"/>
                </a:p>
              </p:txBody>
            </p:sp>
            <p:sp>
              <p:nvSpPr>
                <p:cNvPr id="4238" name="Vrije vorm: vorm 4237">
                  <a:extLst>
                    <a:ext uri="{FF2B5EF4-FFF2-40B4-BE49-F238E27FC236}">
                      <a16:creationId xmlns:a16="http://schemas.microsoft.com/office/drawing/2014/main" id="{553ED0CC-A4B0-48DD-8AE3-02AEC31F0A2C}"/>
                    </a:ext>
                  </a:extLst>
                </p:cNvPr>
                <p:cNvSpPr/>
                <p:nvPr/>
              </p:nvSpPr>
              <p:spPr>
                <a:xfrm>
                  <a:off x="6779394" y="1573069"/>
                  <a:ext cx="18326" cy="18461"/>
                </a:xfrm>
                <a:custGeom>
                  <a:avLst/>
                  <a:gdLst>
                    <a:gd name="connsiteX0" fmla="*/ 17656 w 18326"/>
                    <a:gd name="connsiteY0" fmla="*/ 12700 h 18461"/>
                    <a:gd name="connsiteX1" fmla="*/ 12572 w 18326"/>
                    <a:gd name="connsiteY1" fmla="*/ 679 h 18461"/>
                    <a:gd name="connsiteX2" fmla="*/ 671 w 18326"/>
                    <a:gd name="connsiteY2" fmla="*/ 5762 h 18461"/>
                    <a:gd name="connsiteX3" fmla="*/ 5754 w 18326"/>
                    <a:gd name="connsiteY3" fmla="*/ 17783 h 18461"/>
                    <a:gd name="connsiteX4" fmla="*/ 17656 w 18326"/>
                    <a:gd name="connsiteY4" fmla="*/ 1270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17656" y="12700"/>
                      </a:moveTo>
                      <a:cubicBezTo>
                        <a:pt x="19570" y="7975"/>
                        <a:pt x="17237" y="2592"/>
                        <a:pt x="12572" y="679"/>
                      </a:cubicBezTo>
                      <a:cubicBezTo>
                        <a:pt x="7848" y="-1235"/>
                        <a:pt x="2525" y="1037"/>
                        <a:pt x="671" y="5762"/>
                      </a:cubicBezTo>
                      <a:cubicBezTo>
                        <a:pt x="-1243" y="10487"/>
                        <a:pt x="1089" y="15870"/>
                        <a:pt x="5754" y="17783"/>
                      </a:cubicBezTo>
                      <a:cubicBezTo>
                        <a:pt x="10419" y="19697"/>
                        <a:pt x="15742" y="17424"/>
                        <a:pt x="17656" y="12700"/>
                      </a:cubicBezTo>
                      <a:close/>
                    </a:path>
                  </a:pathLst>
                </a:custGeom>
                <a:grpFill/>
                <a:ln w="5978" cap="flat">
                  <a:noFill/>
                  <a:prstDash val="solid"/>
                  <a:miter/>
                </a:ln>
              </p:spPr>
              <p:txBody>
                <a:bodyPr rtlCol="0" anchor="ctr"/>
                <a:lstStyle/>
                <a:p>
                  <a:endParaRPr lang="en-GB"/>
                </a:p>
              </p:txBody>
            </p:sp>
          </p:grpSp>
          <p:grpSp>
            <p:nvGrpSpPr>
              <p:cNvPr id="383" name="Graphic 3">
                <a:extLst>
                  <a:ext uri="{FF2B5EF4-FFF2-40B4-BE49-F238E27FC236}">
                    <a16:creationId xmlns:a16="http://schemas.microsoft.com/office/drawing/2014/main" id="{858A1CE3-FF03-4A0D-A476-B62384361C28}"/>
                  </a:ext>
                </a:extLst>
              </p:cNvPr>
              <p:cNvGrpSpPr/>
              <p:nvPr/>
            </p:nvGrpSpPr>
            <p:grpSpPr>
              <a:xfrm>
                <a:off x="6760355" y="1695743"/>
                <a:ext cx="101979" cy="197828"/>
                <a:chOff x="6760355" y="1695743"/>
                <a:chExt cx="101979" cy="197828"/>
              </a:xfrm>
              <a:grpFill/>
            </p:grpSpPr>
            <p:sp>
              <p:nvSpPr>
                <p:cNvPr id="4233" name="Vrije vorm: vorm 4232">
                  <a:extLst>
                    <a:ext uri="{FF2B5EF4-FFF2-40B4-BE49-F238E27FC236}">
                      <a16:creationId xmlns:a16="http://schemas.microsoft.com/office/drawing/2014/main" id="{00422A54-010F-44E0-9904-C8C8482AE4C1}"/>
                    </a:ext>
                  </a:extLst>
                </p:cNvPr>
                <p:cNvSpPr/>
                <p:nvPr/>
              </p:nvSpPr>
              <p:spPr>
                <a:xfrm>
                  <a:off x="6767984" y="1703888"/>
                  <a:ext cx="86720" cy="181514"/>
                </a:xfrm>
                <a:custGeom>
                  <a:avLst/>
                  <a:gdLst>
                    <a:gd name="connsiteX0" fmla="*/ 86721 w 86720"/>
                    <a:gd name="connsiteY0" fmla="*/ 1316 h 181514"/>
                    <a:gd name="connsiteX1" fmla="*/ 2751 w 86720"/>
                    <a:gd name="connsiteY1" fmla="*/ 181515 h 181514"/>
                    <a:gd name="connsiteX2" fmla="*/ 0 w 86720"/>
                    <a:gd name="connsiteY2" fmla="*/ 180199 h 181514"/>
                    <a:gd name="connsiteX3" fmla="*/ 83969 w 86720"/>
                    <a:gd name="connsiteY3" fmla="*/ 0 h 181514"/>
                  </a:gdLst>
                  <a:ahLst/>
                  <a:cxnLst>
                    <a:cxn ang="0">
                      <a:pos x="connsiteX0" y="connsiteY0"/>
                    </a:cxn>
                    <a:cxn ang="0">
                      <a:pos x="connsiteX1" y="connsiteY1"/>
                    </a:cxn>
                    <a:cxn ang="0">
                      <a:pos x="connsiteX2" y="connsiteY2"/>
                    </a:cxn>
                    <a:cxn ang="0">
                      <a:pos x="connsiteX3" y="connsiteY3"/>
                    </a:cxn>
                  </a:cxnLst>
                  <a:rect l="l" t="t" r="r" b="b"/>
                  <a:pathLst>
                    <a:path w="86720" h="181514">
                      <a:moveTo>
                        <a:pt x="86721" y="1316"/>
                      </a:moveTo>
                      <a:lnTo>
                        <a:pt x="2751" y="181515"/>
                      </a:lnTo>
                      <a:lnTo>
                        <a:pt x="0" y="180199"/>
                      </a:lnTo>
                      <a:lnTo>
                        <a:pt x="83969" y="0"/>
                      </a:lnTo>
                      <a:close/>
                    </a:path>
                  </a:pathLst>
                </a:custGeom>
                <a:grpFill/>
                <a:ln w="5978" cap="flat">
                  <a:noFill/>
                  <a:prstDash val="solid"/>
                  <a:miter/>
                </a:ln>
              </p:spPr>
              <p:txBody>
                <a:bodyPr rtlCol="0" anchor="ctr"/>
                <a:lstStyle/>
                <a:p>
                  <a:endParaRPr lang="en-GB"/>
                </a:p>
              </p:txBody>
            </p:sp>
            <p:sp>
              <p:nvSpPr>
                <p:cNvPr id="4234" name="Vrije vorm: vorm 4233">
                  <a:extLst>
                    <a:ext uri="{FF2B5EF4-FFF2-40B4-BE49-F238E27FC236}">
                      <a16:creationId xmlns:a16="http://schemas.microsoft.com/office/drawing/2014/main" id="{8B8D5519-19F9-40AD-A64C-3F2003FF662C}"/>
                    </a:ext>
                  </a:extLst>
                </p:cNvPr>
                <p:cNvSpPr/>
                <p:nvPr/>
              </p:nvSpPr>
              <p:spPr>
                <a:xfrm>
                  <a:off x="6843975" y="1695743"/>
                  <a:ext cx="18358" cy="18443"/>
                </a:xfrm>
                <a:custGeom>
                  <a:avLst/>
                  <a:gdLst>
                    <a:gd name="connsiteX0" fmla="*/ 861 w 18358"/>
                    <a:gd name="connsiteY0" fmla="*/ 5274 h 18443"/>
                    <a:gd name="connsiteX1" fmla="*/ 13062 w 18358"/>
                    <a:gd name="connsiteY1" fmla="*/ 908 h 18443"/>
                    <a:gd name="connsiteX2" fmla="*/ 17488 w 18358"/>
                    <a:gd name="connsiteY2" fmla="*/ 13169 h 18443"/>
                    <a:gd name="connsiteX3" fmla="*/ 5287 w 18358"/>
                    <a:gd name="connsiteY3" fmla="*/ 17535 h 18443"/>
                    <a:gd name="connsiteX4" fmla="*/ 861 w 18358"/>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3">
                      <a:moveTo>
                        <a:pt x="861" y="5274"/>
                      </a:moveTo>
                      <a:cubicBezTo>
                        <a:pt x="3014" y="669"/>
                        <a:pt x="8457" y="-1305"/>
                        <a:pt x="13062" y="908"/>
                      </a:cubicBezTo>
                      <a:cubicBezTo>
                        <a:pt x="17667" y="3061"/>
                        <a:pt x="19641" y="8564"/>
                        <a:pt x="17488" y="13169"/>
                      </a:cubicBezTo>
                      <a:cubicBezTo>
                        <a:pt x="15334" y="17774"/>
                        <a:pt x="9892" y="19748"/>
                        <a:pt x="5287" y="17535"/>
                      </a:cubicBezTo>
                      <a:cubicBezTo>
                        <a:pt x="742" y="15382"/>
                        <a:pt x="-1292" y="9879"/>
                        <a:pt x="861" y="5274"/>
                      </a:cubicBezTo>
                      <a:close/>
                    </a:path>
                  </a:pathLst>
                </a:custGeom>
                <a:grpFill/>
                <a:ln w="5978" cap="flat">
                  <a:noFill/>
                  <a:prstDash val="solid"/>
                  <a:miter/>
                </a:ln>
              </p:spPr>
              <p:txBody>
                <a:bodyPr rtlCol="0" anchor="ctr"/>
                <a:lstStyle/>
                <a:p>
                  <a:endParaRPr lang="en-GB"/>
                </a:p>
              </p:txBody>
            </p:sp>
            <p:sp>
              <p:nvSpPr>
                <p:cNvPr id="4235" name="Vrije vorm: vorm 4234">
                  <a:extLst>
                    <a:ext uri="{FF2B5EF4-FFF2-40B4-BE49-F238E27FC236}">
                      <a16:creationId xmlns:a16="http://schemas.microsoft.com/office/drawing/2014/main" id="{974B3061-FD77-482F-82E4-A4BB0BE44004}"/>
                    </a:ext>
                  </a:extLst>
                </p:cNvPr>
                <p:cNvSpPr/>
                <p:nvPr/>
              </p:nvSpPr>
              <p:spPr>
                <a:xfrm>
                  <a:off x="6760355" y="1875165"/>
                  <a:ext cx="18368" cy="18407"/>
                </a:xfrm>
                <a:custGeom>
                  <a:avLst/>
                  <a:gdLst>
                    <a:gd name="connsiteX0" fmla="*/ 871 w 18368"/>
                    <a:gd name="connsiteY0" fmla="*/ 5274 h 18407"/>
                    <a:gd name="connsiteX1" fmla="*/ 5297 w 18368"/>
                    <a:gd name="connsiteY1" fmla="*/ 17535 h 18407"/>
                    <a:gd name="connsiteX2" fmla="*/ 17498 w 18368"/>
                    <a:gd name="connsiteY2" fmla="*/ 13169 h 18407"/>
                    <a:gd name="connsiteX3" fmla="*/ 13072 w 18368"/>
                    <a:gd name="connsiteY3" fmla="*/ 908 h 18407"/>
                    <a:gd name="connsiteX4" fmla="*/ 871 w 18368"/>
                    <a:gd name="connsiteY4" fmla="*/ 527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7">
                      <a:moveTo>
                        <a:pt x="871" y="5274"/>
                      </a:moveTo>
                      <a:cubicBezTo>
                        <a:pt x="-1282" y="9879"/>
                        <a:pt x="692" y="15382"/>
                        <a:pt x="5297" y="17535"/>
                      </a:cubicBezTo>
                      <a:cubicBezTo>
                        <a:pt x="9902" y="19688"/>
                        <a:pt x="15344" y="17714"/>
                        <a:pt x="17498" y="13169"/>
                      </a:cubicBezTo>
                      <a:cubicBezTo>
                        <a:pt x="19651" y="8564"/>
                        <a:pt x="17677" y="3061"/>
                        <a:pt x="13072" y="908"/>
                      </a:cubicBezTo>
                      <a:cubicBezTo>
                        <a:pt x="8467" y="-1305"/>
                        <a:pt x="3024" y="669"/>
                        <a:pt x="871" y="5274"/>
                      </a:cubicBezTo>
                      <a:close/>
                    </a:path>
                  </a:pathLst>
                </a:custGeom>
                <a:grpFill/>
                <a:ln w="5978" cap="flat">
                  <a:noFill/>
                  <a:prstDash val="solid"/>
                  <a:miter/>
                </a:ln>
              </p:spPr>
              <p:txBody>
                <a:bodyPr rtlCol="0" anchor="ctr"/>
                <a:lstStyle/>
                <a:p>
                  <a:endParaRPr lang="en-GB"/>
                </a:p>
              </p:txBody>
            </p:sp>
          </p:grpSp>
          <p:grpSp>
            <p:nvGrpSpPr>
              <p:cNvPr id="384" name="Graphic 3">
                <a:extLst>
                  <a:ext uri="{FF2B5EF4-FFF2-40B4-BE49-F238E27FC236}">
                    <a16:creationId xmlns:a16="http://schemas.microsoft.com/office/drawing/2014/main" id="{E6C28F8D-5774-4BC5-B345-8E46D36E44C0}"/>
                  </a:ext>
                </a:extLst>
              </p:cNvPr>
              <p:cNvGrpSpPr/>
              <p:nvPr/>
            </p:nvGrpSpPr>
            <p:grpSpPr>
              <a:xfrm>
                <a:off x="6732975" y="1631007"/>
                <a:ext cx="158412" cy="249406"/>
                <a:chOff x="6732975" y="1631007"/>
                <a:chExt cx="158412" cy="249406"/>
              </a:xfrm>
              <a:grpFill/>
            </p:grpSpPr>
            <p:sp>
              <p:nvSpPr>
                <p:cNvPr id="4230" name="Vrije vorm: vorm 4229">
                  <a:extLst>
                    <a:ext uri="{FF2B5EF4-FFF2-40B4-BE49-F238E27FC236}">
                      <a16:creationId xmlns:a16="http://schemas.microsoft.com/office/drawing/2014/main" id="{A7B70436-13B4-425F-9495-B8720AF3F0BA}"/>
                    </a:ext>
                  </a:extLst>
                </p:cNvPr>
                <p:cNvSpPr/>
                <p:nvPr/>
              </p:nvSpPr>
              <p:spPr>
                <a:xfrm>
                  <a:off x="6740652" y="1638997"/>
                  <a:ext cx="143119" cy="233427"/>
                </a:xfrm>
                <a:custGeom>
                  <a:avLst/>
                  <a:gdLst>
                    <a:gd name="connsiteX0" fmla="*/ 143119 w 143119"/>
                    <a:gd name="connsiteY0" fmla="*/ 1615 h 233427"/>
                    <a:gd name="connsiteX1" fmla="*/ 2572 w 143119"/>
                    <a:gd name="connsiteY1" fmla="*/ 233428 h 233427"/>
                    <a:gd name="connsiteX2" fmla="*/ 0 w 143119"/>
                    <a:gd name="connsiteY2" fmla="*/ 231813 h 233427"/>
                    <a:gd name="connsiteX3" fmla="*/ 140487 w 143119"/>
                    <a:gd name="connsiteY3" fmla="*/ 0 h 233427"/>
                  </a:gdLst>
                  <a:ahLst/>
                  <a:cxnLst>
                    <a:cxn ang="0">
                      <a:pos x="connsiteX0" y="connsiteY0"/>
                    </a:cxn>
                    <a:cxn ang="0">
                      <a:pos x="connsiteX1" y="connsiteY1"/>
                    </a:cxn>
                    <a:cxn ang="0">
                      <a:pos x="connsiteX2" y="connsiteY2"/>
                    </a:cxn>
                    <a:cxn ang="0">
                      <a:pos x="connsiteX3" y="connsiteY3"/>
                    </a:cxn>
                  </a:cxnLst>
                  <a:rect l="l" t="t" r="r" b="b"/>
                  <a:pathLst>
                    <a:path w="143119" h="233427">
                      <a:moveTo>
                        <a:pt x="143119" y="1615"/>
                      </a:moveTo>
                      <a:lnTo>
                        <a:pt x="2572" y="233428"/>
                      </a:lnTo>
                      <a:lnTo>
                        <a:pt x="0" y="231813"/>
                      </a:lnTo>
                      <a:lnTo>
                        <a:pt x="140487" y="0"/>
                      </a:lnTo>
                      <a:close/>
                    </a:path>
                  </a:pathLst>
                </a:custGeom>
                <a:grpFill/>
                <a:ln w="5978" cap="flat">
                  <a:noFill/>
                  <a:prstDash val="solid"/>
                  <a:miter/>
                </a:ln>
              </p:spPr>
              <p:txBody>
                <a:bodyPr rtlCol="0" anchor="ctr"/>
                <a:lstStyle/>
                <a:p>
                  <a:endParaRPr lang="en-GB"/>
                </a:p>
              </p:txBody>
            </p:sp>
            <p:sp>
              <p:nvSpPr>
                <p:cNvPr id="4231" name="Vrije vorm: vorm 4230">
                  <a:extLst>
                    <a:ext uri="{FF2B5EF4-FFF2-40B4-BE49-F238E27FC236}">
                      <a16:creationId xmlns:a16="http://schemas.microsoft.com/office/drawing/2014/main" id="{87544BD9-45BA-4F48-B20D-667FCFA85757}"/>
                    </a:ext>
                  </a:extLst>
                </p:cNvPr>
                <p:cNvSpPr/>
                <p:nvPr/>
              </p:nvSpPr>
              <p:spPr>
                <a:xfrm>
                  <a:off x="6732975" y="1861983"/>
                  <a:ext cx="18343" cy="18431"/>
                </a:xfrm>
                <a:custGeom>
                  <a:avLst/>
                  <a:gdLst>
                    <a:gd name="connsiteX0" fmla="*/ 17006 w 18343"/>
                    <a:gd name="connsiteY0" fmla="*/ 14030 h 18431"/>
                    <a:gd name="connsiteX1" fmla="*/ 4387 w 18343"/>
                    <a:gd name="connsiteY1" fmla="*/ 17080 h 18431"/>
                    <a:gd name="connsiteX2" fmla="*/ 1337 w 18343"/>
                    <a:gd name="connsiteY2" fmla="*/ 4401 h 18431"/>
                    <a:gd name="connsiteX3" fmla="*/ 13956 w 18343"/>
                    <a:gd name="connsiteY3" fmla="*/ 1351 h 18431"/>
                    <a:gd name="connsiteX4" fmla="*/ 17006 w 18343"/>
                    <a:gd name="connsiteY4" fmla="*/ 1403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31">
                      <a:moveTo>
                        <a:pt x="17006" y="14030"/>
                      </a:moveTo>
                      <a:cubicBezTo>
                        <a:pt x="14375" y="18396"/>
                        <a:pt x="8753" y="19712"/>
                        <a:pt x="4387" y="17080"/>
                      </a:cubicBezTo>
                      <a:cubicBezTo>
                        <a:pt x="81" y="14449"/>
                        <a:pt x="-1295" y="8767"/>
                        <a:pt x="1337" y="4401"/>
                      </a:cubicBezTo>
                      <a:cubicBezTo>
                        <a:pt x="3968" y="35"/>
                        <a:pt x="9590" y="-1280"/>
                        <a:pt x="13956" y="1351"/>
                      </a:cubicBezTo>
                      <a:cubicBezTo>
                        <a:pt x="18263" y="4042"/>
                        <a:pt x="19638" y="9724"/>
                        <a:pt x="17006" y="14030"/>
                      </a:cubicBezTo>
                      <a:close/>
                    </a:path>
                  </a:pathLst>
                </a:custGeom>
                <a:grpFill/>
                <a:ln w="5978" cap="flat">
                  <a:noFill/>
                  <a:prstDash val="solid"/>
                  <a:miter/>
                </a:ln>
              </p:spPr>
              <p:txBody>
                <a:bodyPr rtlCol="0" anchor="ctr"/>
                <a:lstStyle/>
                <a:p>
                  <a:endParaRPr lang="en-GB"/>
                </a:p>
              </p:txBody>
            </p:sp>
            <p:sp>
              <p:nvSpPr>
                <p:cNvPr id="4232" name="Vrije vorm: vorm 4231">
                  <a:extLst>
                    <a:ext uri="{FF2B5EF4-FFF2-40B4-BE49-F238E27FC236}">
                      <a16:creationId xmlns:a16="http://schemas.microsoft.com/office/drawing/2014/main" id="{722CB442-2203-4CE3-9D9E-14B51045E2B0}"/>
                    </a:ext>
                  </a:extLst>
                </p:cNvPr>
                <p:cNvSpPr/>
                <p:nvPr/>
              </p:nvSpPr>
              <p:spPr>
                <a:xfrm>
                  <a:off x="6873044" y="1631007"/>
                  <a:ext cx="18343" cy="18417"/>
                </a:xfrm>
                <a:custGeom>
                  <a:avLst/>
                  <a:gdLst>
                    <a:gd name="connsiteX0" fmla="*/ 17006 w 18343"/>
                    <a:gd name="connsiteY0" fmla="*/ 14030 h 18417"/>
                    <a:gd name="connsiteX1" fmla="*/ 13956 w 18343"/>
                    <a:gd name="connsiteY1" fmla="*/ 1351 h 18417"/>
                    <a:gd name="connsiteX2" fmla="*/ 1337 w 18343"/>
                    <a:gd name="connsiteY2" fmla="*/ 4401 h 18417"/>
                    <a:gd name="connsiteX3" fmla="*/ 4387 w 18343"/>
                    <a:gd name="connsiteY3" fmla="*/ 17080 h 18417"/>
                    <a:gd name="connsiteX4" fmla="*/ 17006 w 18343"/>
                    <a:gd name="connsiteY4" fmla="*/ 14030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7">
                      <a:moveTo>
                        <a:pt x="17006" y="14030"/>
                      </a:moveTo>
                      <a:cubicBezTo>
                        <a:pt x="19638" y="9664"/>
                        <a:pt x="18263" y="4042"/>
                        <a:pt x="13956" y="1351"/>
                      </a:cubicBezTo>
                      <a:cubicBezTo>
                        <a:pt x="9650" y="-1280"/>
                        <a:pt x="3969" y="35"/>
                        <a:pt x="1337" y="4401"/>
                      </a:cubicBezTo>
                      <a:cubicBezTo>
                        <a:pt x="-1294" y="8767"/>
                        <a:pt x="81" y="14389"/>
                        <a:pt x="4387" y="17080"/>
                      </a:cubicBezTo>
                      <a:cubicBezTo>
                        <a:pt x="8753" y="19712"/>
                        <a:pt x="14375" y="18336"/>
                        <a:pt x="17006" y="14030"/>
                      </a:cubicBezTo>
                      <a:close/>
                    </a:path>
                  </a:pathLst>
                </a:custGeom>
                <a:grpFill/>
                <a:ln w="5978" cap="flat">
                  <a:noFill/>
                  <a:prstDash val="solid"/>
                  <a:miter/>
                </a:ln>
              </p:spPr>
              <p:txBody>
                <a:bodyPr rtlCol="0" anchor="ctr"/>
                <a:lstStyle/>
                <a:p>
                  <a:endParaRPr lang="en-GB"/>
                </a:p>
              </p:txBody>
            </p:sp>
          </p:grpSp>
          <p:grpSp>
            <p:nvGrpSpPr>
              <p:cNvPr id="385" name="Graphic 3">
                <a:extLst>
                  <a:ext uri="{FF2B5EF4-FFF2-40B4-BE49-F238E27FC236}">
                    <a16:creationId xmlns:a16="http://schemas.microsoft.com/office/drawing/2014/main" id="{91437477-51E5-401D-85A1-F426FDA5FBA0}"/>
                  </a:ext>
                </a:extLst>
              </p:cNvPr>
              <p:cNvGrpSpPr/>
              <p:nvPr/>
            </p:nvGrpSpPr>
            <p:grpSpPr>
              <a:xfrm>
                <a:off x="6597519" y="1283216"/>
                <a:ext cx="225022" cy="505253"/>
                <a:chOff x="6597519" y="1283216"/>
                <a:chExt cx="225022" cy="505253"/>
              </a:xfrm>
              <a:grpFill/>
            </p:grpSpPr>
            <p:sp>
              <p:nvSpPr>
                <p:cNvPr id="4227" name="Vrije vorm: vorm 4226">
                  <a:extLst>
                    <a:ext uri="{FF2B5EF4-FFF2-40B4-BE49-F238E27FC236}">
                      <a16:creationId xmlns:a16="http://schemas.microsoft.com/office/drawing/2014/main" id="{31676E33-7834-4D4B-BD02-28DEAB158581}"/>
                    </a:ext>
                  </a:extLst>
                </p:cNvPr>
                <p:cNvSpPr/>
                <p:nvPr/>
              </p:nvSpPr>
              <p:spPr>
                <a:xfrm>
                  <a:off x="6605069" y="1291398"/>
                  <a:ext cx="209923" cy="488864"/>
                </a:xfrm>
                <a:custGeom>
                  <a:avLst/>
                  <a:gdLst>
                    <a:gd name="connsiteX0" fmla="*/ 209923 w 209923"/>
                    <a:gd name="connsiteY0" fmla="*/ 1196 h 488864"/>
                    <a:gd name="connsiteX1" fmla="*/ 2811 w 209923"/>
                    <a:gd name="connsiteY1" fmla="*/ 488864 h 488864"/>
                    <a:gd name="connsiteX2" fmla="*/ 0 w 209923"/>
                    <a:gd name="connsiteY2" fmla="*/ 487668 h 488864"/>
                    <a:gd name="connsiteX3" fmla="*/ 207112 w 209923"/>
                    <a:gd name="connsiteY3" fmla="*/ 0 h 488864"/>
                  </a:gdLst>
                  <a:ahLst/>
                  <a:cxnLst>
                    <a:cxn ang="0">
                      <a:pos x="connsiteX0" y="connsiteY0"/>
                    </a:cxn>
                    <a:cxn ang="0">
                      <a:pos x="connsiteX1" y="connsiteY1"/>
                    </a:cxn>
                    <a:cxn ang="0">
                      <a:pos x="connsiteX2" y="connsiteY2"/>
                    </a:cxn>
                    <a:cxn ang="0">
                      <a:pos x="connsiteX3" y="connsiteY3"/>
                    </a:cxn>
                  </a:cxnLst>
                  <a:rect l="l" t="t" r="r" b="b"/>
                  <a:pathLst>
                    <a:path w="209923" h="488864">
                      <a:moveTo>
                        <a:pt x="209923" y="1196"/>
                      </a:moveTo>
                      <a:lnTo>
                        <a:pt x="2811" y="488864"/>
                      </a:lnTo>
                      <a:lnTo>
                        <a:pt x="0" y="487668"/>
                      </a:lnTo>
                      <a:lnTo>
                        <a:pt x="207112" y="0"/>
                      </a:lnTo>
                      <a:close/>
                    </a:path>
                  </a:pathLst>
                </a:custGeom>
                <a:grpFill/>
                <a:ln w="5978" cap="flat">
                  <a:noFill/>
                  <a:prstDash val="solid"/>
                  <a:miter/>
                </a:ln>
              </p:spPr>
              <p:txBody>
                <a:bodyPr rtlCol="0" anchor="ctr"/>
                <a:lstStyle/>
                <a:p>
                  <a:endParaRPr lang="en-GB"/>
                </a:p>
              </p:txBody>
            </p:sp>
            <p:sp>
              <p:nvSpPr>
                <p:cNvPr id="4228" name="Vrije vorm: vorm 4227">
                  <a:extLst>
                    <a:ext uri="{FF2B5EF4-FFF2-40B4-BE49-F238E27FC236}">
                      <a16:creationId xmlns:a16="http://schemas.microsoft.com/office/drawing/2014/main" id="{097DB518-9C63-4D8A-AF0D-704486AF5486}"/>
                    </a:ext>
                  </a:extLst>
                </p:cNvPr>
                <p:cNvSpPr/>
                <p:nvPr/>
              </p:nvSpPr>
              <p:spPr>
                <a:xfrm>
                  <a:off x="6597519" y="1770080"/>
                  <a:ext cx="18329" cy="18388"/>
                </a:xfrm>
                <a:custGeom>
                  <a:avLst/>
                  <a:gdLst>
                    <a:gd name="connsiteX0" fmla="*/ 17597 w 18329"/>
                    <a:gd name="connsiteY0" fmla="*/ 12813 h 18388"/>
                    <a:gd name="connsiteX1" fmla="*/ 5576 w 18329"/>
                    <a:gd name="connsiteY1" fmla="*/ 17657 h 18388"/>
                    <a:gd name="connsiteX2" fmla="*/ 732 w 18329"/>
                    <a:gd name="connsiteY2" fmla="*/ 5576 h 18388"/>
                    <a:gd name="connsiteX3" fmla="*/ 12753 w 18329"/>
                    <a:gd name="connsiteY3" fmla="*/ 732 h 18388"/>
                    <a:gd name="connsiteX4" fmla="*/ 17597 w 18329"/>
                    <a:gd name="connsiteY4" fmla="*/ 12813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88">
                      <a:moveTo>
                        <a:pt x="17597" y="12813"/>
                      </a:moveTo>
                      <a:cubicBezTo>
                        <a:pt x="15624" y="17478"/>
                        <a:pt x="10241" y="19631"/>
                        <a:pt x="5576" y="17657"/>
                      </a:cubicBezTo>
                      <a:cubicBezTo>
                        <a:pt x="911" y="15624"/>
                        <a:pt x="-1242" y="10241"/>
                        <a:pt x="732" y="5576"/>
                      </a:cubicBezTo>
                      <a:cubicBezTo>
                        <a:pt x="2705" y="911"/>
                        <a:pt x="8088" y="-1242"/>
                        <a:pt x="12753" y="732"/>
                      </a:cubicBezTo>
                      <a:cubicBezTo>
                        <a:pt x="17418" y="2705"/>
                        <a:pt x="19571" y="8148"/>
                        <a:pt x="17597" y="12813"/>
                      </a:cubicBezTo>
                      <a:close/>
                    </a:path>
                  </a:pathLst>
                </a:custGeom>
                <a:grpFill/>
                <a:ln w="5978" cap="flat">
                  <a:noFill/>
                  <a:prstDash val="solid"/>
                  <a:miter/>
                </a:ln>
              </p:spPr>
              <p:txBody>
                <a:bodyPr rtlCol="0" anchor="ctr"/>
                <a:lstStyle/>
                <a:p>
                  <a:endParaRPr lang="en-GB"/>
                </a:p>
              </p:txBody>
            </p:sp>
            <p:sp>
              <p:nvSpPr>
                <p:cNvPr id="4229" name="Vrije vorm: vorm 4228">
                  <a:extLst>
                    <a:ext uri="{FF2B5EF4-FFF2-40B4-BE49-F238E27FC236}">
                      <a16:creationId xmlns:a16="http://schemas.microsoft.com/office/drawing/2014/main" id="{3509B2EF-C8AE-442F-908A-E42F8DF484EC}"/>
                    </a:ext>
                  </a:extLst>
                </p:cNvPr>
                <p:cNvSpPr/>
                <p:nvPr/>
              </p:nvSpPr>
              <p:spPr>
                <a:xfrm>
                  <a:off x="6804213" y="1283216"/>
                  <a:ext cx="18329" cy="18422"/>
                </a:xfrm>
                <a:custGeom>
                  <a:avLst/>
                  <a:gdLst>
                    <a:gd name="connsiteX0" fmla="*/ 17597 w 18329"/>
                    <a:gd name="connsiteY0" fmla="*/ 12847 h 18422"/>
                    <a:gd name="connsiteX1" fmla="*/ 12753 w 18329"/>
                    <a:gd name="connsiteY1" fmla="*/ 766 h 18422"/>
                    <a:gd name="connsiteX2" fmla="*/ 732 w 18329"/>
                    <a:gd name="connsiteY2" fmla="*/ 5610 h 18422"/>
                    <a:gd name="connsiteX3" fmla="*/ 5576 w 18329"/>
                    <a:gd name="connsiteY3" fmla="*/ 17691 h 18422"/>
                    <a:gd name="connsiteX4" fmla="*/ 17597 w 18329"/>
                    <a:gd name="connsiteY4" fmla="*/ 12847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2">
                      <a:moveTo>
                        <a:pt x="17597" y="12847"/>
                      </a:moveTo>
                      <a:cubicBezTo>
                        <a:pt x="19571" y="8182"/>
                        <a:pt x="17418" y="2739"/>
                        <a:pt x="12753" y="766"/>
                      </a:cubicBezTo>
                      <a:cubicBezTo>
                        <a:pt x="8088" y="-1268"/>
                        <a:pt x="2705" y="885"/>
                        <a:pt x="732" y="5610"/>
                      </a:cubicBezTo>
                      <a:cubicBezTo>
                        <a:pt x="-1242" y="10275"/>
                        <a:pt x="911" y="15717"/>
                        <a:pt x="5576" y="17691"/>
                      </a:cubicBezTo>
                      <a:cubicBezTo>
                        <a:pt x="10241" y="19665"/>
                        <a:pt x="15624" y="17512"/>
                        <a:pt x="17597" y="12847"/>
                      </a:cubicBezTo>
                      <a:close/>
                    </a:path>
                  </a:pathLst>
                </a:custGeom>
                <a:grpFill/>
                <a:ln w="5978" cap="flat">
                  <a:noFill/>
                  <a:prstDash val="solid"/>
                  <a:miter/>
                </a:ln>
              </p:spPr>
              <p:txBody>
                <a:bodyPr rtlCol="0" anchor="ctr"/>
                <a:lstStyle/>
                <a:p>
                  <a:endParaRPr lang="en-GB"/>
                </a:p>
              </p:txBody>
            </p:sp>
          </p:grpSp>
          <p:grpSp>
            <p:nvGrpSpPr>
              <p:cNvPr id="386" name="Graphic 3">
                <a:extLst>
                  <a:ext uri="{FF2B5EF4-FFF2-40B4-BE49-F238E27FC236}">
                    <a16:creationId xmlns:a16="http://schemas.microsoft.com/office/drawing/2014/main" id="{B01202F5-08A4-490B-8450-9DCC68ED5931}"/>
                  </a:ext>
                </a:extLst>
              </p:cNvPr>
              <p:cNvGrpSpPr/>
              <p:nvPr/>
            </p:nvGrpSpPr>
            <p:grpSpPr>
              <a:xfrm>
                <a:off x="7554447" y="4220263"/>
                <a:ext cx="157128" cy="93206"/>
                <a:chOff x="7554447" y="4220263"/>
                <a:chExt cx="157128" cy="93206"/>
              </a:xfrm>
              <a:grpFill/>
            </p:grpSpPr>
            <p:sp>
              <p:nvSpPr>
                <p:cNvPr id="4224" name="Vrije vorm: vorm 4223">
                  <a:extLst>
                    <a:ext uri="{FF2B5EF4-FFF2-40B4-BE49-F238E27FC236}">
                      <a16:creationId xmlns:a16="http://schemas.microsoft.com/office/drawing/2014/main" id="{6C459E9A-34AA-462E-8EE8-D8A0D392E01C}"/>
                    </a:ext>
                  </a:extLst>
                </p:cNvPr>
                <p:cNvSpPr/>
                <p:nvPr/>
              </p:nvSpPr>
              <p:spPr>
                <a:xfrm>
                  <a:off x="7562463" y="4227872"/>
                  <a:ext cx="141085" cy="77928"/>
                </a:xfrm>
                <a:custGeom>
                  <a:avLst/>
                  <a:gdLst>
                    <a:gd name="connsiteX0" fmla="*/ 141085 w 141085"/>
                    <a:gd name="connsiteY0" fmla="*/ 75237 h 77928"/>
                    <a:gd name="connsiteX1" fmla="*/ 139650 w 141085"/>
                    <a:gd name="connsiteY1" fmla="*/ 77929 h 77928"/>
                    <a:gd name="connsiteX2" fmla="*/ 0 w 141085"/>
                    <a:gd name="connsiteY2" fmla="*/ 2691 h 77928"/>
                    <a:gd name="connsiteX3" fmla="*/ 1435 w 141085"/>
                    <a:gd name="connsiteY3" fmla="*/ 0 h 77928"/>
                  </a:gdLst>
                  <a:ahLst/>
                  <a:cxnLst>
                    <a:cxn ang="0">
                      <a:pos x="connsiteX0" y="connsiteY0"/>
                    </a:cxn>
                    <a:cxn ang="0">
                      <a:pos x="connsiteX1" y="connsiteY1"/>
                    </a:cxn>
                    <a:cxn ang="0">
                      <a:pos x="connsiteX2" y="connsiteY2"/>
                    </a:cxn>
                    <a:cxn ang="0">
                      <a:pos x="connsiteX3" y="connsiteY3"/>
                    </a:cxn>
                  </a:cxnLst>
                  <a:rect l="l" t="t" r="r" b="b"/>
                  <a:pathLst>
                    <a:path w="141085" h="77928">
                      <a:moveTo>
                        <a:pt x="141085" y="75237"/>
                      </a:moveTo>
                      <a:lnTo>
                        <a:pt x="139650" y="77929"/>
                      </a:lnTo>
                      <a:lnTo>
                        <a:pt x="0" y="2691"/>
                      </a:lnTo>
                      <a:lnTo>
                        <a:pt x="1435" y="0"/>
                      </a:lnTo>
                      <a:close/>
                    </a:path>
                  </a:pathLst>
                </a:custGeom>
                <a:grpFill/>
                <a:ln w="5978" cap="flat">
                  <a:noFill/>
                  <a:prstDash val="solid"/>
                  <a:miter/>
                </a:ln>
              </p:spPr>
              <p:txBody>
                <a:bodyPr rtlCol="0" anchor="ctr"/>
                <a:lstStyle/>
                <a:p>
                  <a:endParaRPr lang="en-GB"/>
                </a:p>
              </p:txBody>
            </p:sp>
            <p:sp>
              <p:nvSpPr>
                <p:cNvPr id="4225" name="Vrije vorm: vorm 4224">
                  <a:extLst>
                    <a:ext uri="{FF2B5EF4-FFF2-40B4-BE49-F238E27FC236}">
                      <a16:creationId xmlns:a16="http://schemas.microsoft.com/office/drawing/2014/main" id="{4984EA9A-2ABB-4359-94DA-4F0C505BDED8}"/>
                    </a:ext>
                  </a:extLst>
                </p:cNvPr>
                <p:cNvSpPr/>
                <p:nvPr/>
              </p:nvSpPr>
              <p:spPr>
                <a:xfrm>
                  <a:off x="7693248" y="4295022"/>
                  <a:ext cx="18327" cy="18447"/>
                </a:xfrm>
                <a:custGeom>
                  <a:avLst/>
                  <a:gdLst>
                    <a:gd name="connsiteX0" fmla="*/ 13470 w 18327"/>
                    <a:gd name="connsiteY0" fmla="*/ 1090 h 18447"/>
                    <a:gd name="connsiteX1" fmla="*/ 17238 w 18327"/>
                    <a:gd name="connsiteY1" fmla="*/ 13590 h 18447"/>
                    <a:gd name="connsiteX2" fmla="*/ 4857 w 18327"/>
                    <a:gd name="connsiteY2" fmla="*/ 17357 h 18447"/>
                    <a:gd name="connsiteX3" fmla="*/ 1090 w 18327"/>
                    <a:gd name="connsiteY3" fmla="*/ 4858 h 18447"/>
                    <a:gd name="connsiteX4" fmla="*/ 13470 w 18327"/>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7">
                      <a:moveTo>
                        <a:pt x="13470" y="1090"/>
                      </a:moveTo>
                      <a:cubicBezTo>
                        <a:pt x="17956" y="3482"/>
                        <a:pt x="19630" y="9104"/>
                        <a:pt x="17238" y="13590"/>
                      </a:cubicBezTo>
                      <a:cubicBezTo>
                        <a:pt x="14845" y="18075"/>
                        <a:pt x="9283" y="19749"/>
                        <a:pt x="4857" y="17357"/>
                      </a:cubicBezTo>
                      <a:cubicBezTo>
                        <a:pt x="372" y="14965"/>
                        <a:pt x="-1302" y="9343"/>
                        <a:pt x="1090" y="4858"/>
                      </a:cubicBezTo>
                      <a:cubicBezTo>
                        <a:pt x="3482" y="372"/>
                        <a:pt x="9044" y="-1302"/>
                        <a:pt x="13470" y="1090"/>
                      </a:cubicBezTo>
                      <a:close/>
                    </a:path>
                  </a:pathLst>
                </a:custGeom>
                <a:grpFill/>
                <a:ln w="5978" cap="flat">
                  <a:noFill/>
                  <a:prstDash val="solid"/>
                  <a:miter/>
                </a:ln>
              </p:spPr>
              <p:txBody>
                <a:bodyPr rtlCol="0" anchor="ctr"/>
                <a:lstStyle/>
                <a:p>
                  <a:endParaRPr lang="en-GB"/>
                </a:p>
              </p:txBody>
            </p:sp>
            <p:sp>
              <p:nvSpPr>
                <p:cNvPr id="4226" name="Vrije vorm: vorm 4225">
                  <a:extLst>
                    <a:ext uri="{FF2B5EF4-FFF2-40B4-BE49-F238E27FC236}">
                      <a16:creationId xmlns:a16="http://schemas.microsoft.com/office/drawing/2014/main" id="{649290FE-0678-49BC-8E32-40F13317C824}"/>
                    </a:ext>
                  </a:extLst>
                </p:cNvPr>
                <p:cNvSpPr/>
                <p:nvPr/>
              </p:nvSpPr>
              <p:spPr>
                <a:xfrm>
                  <a:off x="7554447" y="4220263"/>
                  <a:ext cx="18315" cy="18447"/>
                </a:xfrm>
                <a:custGeom>
                  <a:avLst/>
                  <a:gdLst>
                    <a:gd name="connsiteX0" fmla="*/ 13459 w 18315"/>
                    <a:gd name="connsiteY0" fmla="*/ 1090 h 18447"/>
                    <a:gd name="connsiteX1" fmla="*/ 1078 w 18315"/>
                    <a:gd name="connsiteY1" fmla="*/ 4858 h 18447"/>
                    <a:gd name="connsiteX2" fmla="*/ 4846 w 18315"/>
                    <a:gd name="connsiteY2" fmla="*/ 17357 h 18447"/>
                    <a:gd name="connsiteX3" fmla="*/ 17226 w 18315"/>
                    <a:gd name="connsiteY3" fmla="*/ 13590 h 18447"/>
                    <a:gd name="connsiteX4" fmla="*/ 13459 w 18315"/>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47">
                      <a:moveTo>
                        <a:pt x="13459" y="1090"/>
                      </a:moveTo>
                      <a:cubicBezTo>
                        <a:pt x="8973" y="-1302"/>
                        <a:pt x="3471" y="372"/>
                        <a:pt x="1078" y="4858"/>
                      </a:cubicBezTo>
                      <a:cubicBezTo>
                        <a:pt x="-1314" y="9343"/>
                        <a:pt x="420" y="14905"/>
                        <a:pt x="4846" y="17357"/>
                      </a:cubicBezTo>
                      <a:cubicBezTo>
                        <a:pt x="9331" y="19749"/>
                        <a:pt x="14894" y="18075"/>
                        <a:pt x="17226" y="13590"/>
                      </a:cubicBezTo>
                      <a:cubicBezTo>
                        <a:pt x="19618" y="9044"/>
                        <a:pt x="17944" y="3482"/>
                        <a:pt x="13459" y="1090"/>
                      </a:cubicBezTo>
                      <a:close/>
                    </a:path>
                  </a:pathLst>
                </a:custGeom>
                <a:grpFill/>
                <a:ln w="5978" cap="flat">
                  <a:noFill/>
                  <a:prstDash val="solid"/>
                  <a:miter/>
                </a:ln>
              </p:spPr>
              <p:txBody>
                <a:bodyPr rtlCol="0" anchor="ctr"/>
                <a:lstStyle/>
                <a:p>
                  <a:endParaRPr lang="en-GB"/>
                </a:p>
              </p:txBody>
            </p:sp>
          </p:grpSp>
          <p:grpSp>
            <p:nvGrpSpPr>
              <p:cNvPr id="387" name="Graphic 3">
                <a:extLst>
                  <a:ext uri="{FF2B5EF4-FFF2-40B4-BE49-F238E27FC236}">
                    <a16:creationId xmlns:a16="http://schemas.microsoft.com/office/drawing/2014/main" id="{471CD41B-4ED1-455C-A8EE-323EF6F5274B}"/>
                  </a:ext>
                </a:extLst>
              </p:cNvPr>
              <p:cNvGrpSpPr/>
              <p:nvPr/>
            </p:nvGrpSpPr>
            <p:grpSpPr>
              <a:xfrm>
                <a:off x="7632844" y="4300966"/>
                <a:ext cx="67763" cy="46331"/>
                <a:chOff x="7632844" y="4300966"/>
                <a:chExt cx="67763" cy="46331"/>
              </a:xfrm>
              <a:grpFill/>
            </p:grpSpPr>
            <p:sp>
              <p:nvSpPr>
                <p:cNvPr id="4221" name="Vrije vorm: vorm 4220">
                  <a:extLst>
                    <a:ext uri="{FF2B5EF4-FFF2-40B4-BE49-F238E27FC236}">
                      <a16:creationId xmlns:a16="http://schemas.microsoft.com/office/drawing/2014/main" id="{721FDE28-B3AF-48AC-AD7E-7B5BC8F2D967}"/>
                    </a:ext>
                  </a:extLst>
                </p:cNvPr>
                <p:cNvSpPr/>
                <p:nvPr/>
              </p:nvSpPr>
              <p:spPr>
                <a:xfrm>
                  <a:off x="7640810" y="4308612"/>
                  <a:ext cx="51793" cy="30980"/>
                </a:xfrm>
                <a:custGeom>
                  <a:avLst/>
                  <a:gdLst>
                    <a:gd name="connsiteX0" fmla="*/ 51793 w 51793"/>
                    <a:gd name="connsiteY0" fmla="*/ 28349 h 30980"/>
                    <a:gd name="connsiteX1" fmla="*/ 50298 w 51793"/>
                    <a:gd name="connsiteY1" fmla="*/ 30980 h 30980"/>
                    <a:gd name="connsiteX2" fmla="*/ 0 w 51793"/>
                    <a:gd name="connsiteY2" fmla="*/ 2691 h 30980"/>
                    <a:gd name="connsiteX3" fmla="*/ 1495 w 51793"/>
                    <a:gd name="connsiteY3" fmla="*/ 0 h 30980"/>
                  </a:gdLst>
                  <a:ahLst/>
                  <a:cxnLst>
                    <a:cxn ang="0">
                      <a:pos x="connsiteX0" y="connsiteY0"/>
                    </a:cxn>
                    <a:cxn ang="0">
                      <a:pos x="connsiteX1" y="connsiteY1"/>
                    </a:cxn>
                    <a:cxn ang="0">
                      <a:pos x="connsiteX2" y="connsiteY2"/>
                    </a:cxn>
                    <a:cxn ang="0">
                      <a:pos x="connsiteX3" y="connsiteY3"/>
                    </a:cxn>
                  </a:cxnLst>
                  <a:rect l="l" t="t" r="r" b="b"/>
                  <a:pathLst>
                    <a:path w="51793" h="30980">
                      <a:moveTo>
                        <a:pt x="51793" y="28349"/>
                      </a:moveTo>
                      <a:lnTo>
                        <a:pt x="50298" y="30980"/>
                      </a:lnTo>
                      <a:lnTo>
                        <a:pt x="0" y="2691"/>
                      </a:lnTo>
                      <a:lnTo>
                        <a:pt x="1495" y="0"/>
                      </a:lnTo>
                      <a:close/>
                    </a:path>
                  </a:pathLst>
                </a:custGeom>
                <a:grpFill/>
                <a:ln w="5978" cap="flat">
                  <a:noFill/>
                  <a:prstDash val="solid"/>
                  <a:miter/>
                </a:ln>
              </p:spPr>
              <p:txBody>
                <a:bodyPr rtlCol="0" anchor="ctr"/>
                <a:lstStyle/>
                <a:p>
                  <a:endParaRPr lang="en-GB"/>
                </a:p>
              </p:txBody>
            </p:sp>
            <p:sp>
              <p:nvSpPr>
                <p:cNvPr id="4222" name="Vrije vorm: vorm 4221">
                  <a:extLst>
                    <a:ext uri="{FF2B5EF4-FFF2-40B4-BE49-F238E27FC236}">
                      <a16:creationId xmlns:a16="http://schemas.microsoft.com/office/drawing/2014/main" id="{B53E6EE3-9BE1-4798-8DDB-3C779EA7EB31}"/>
                    </a:ext>
                  </a:extLst>
                </p:cNvPr>
                <p:cNvSpPr/>
                <p:nvPr/>
              </p:nvSpPr>
              <p:spPr>
                <a:xfrm>
                  <a:off x="7682247" y="4328836"/>
                  <a:ext cx="18361" cy="18461"/>
                </a:xfrm>
                <a:custGeom>
                  <a:avLst/>
                  <a:gdLst>
                    <a:gd name="connsiteX0" fmla="*/ 13646 w 18361"/>
                    <a:gd name="connsiteY0" fmla="*/ 1187 h 18461"/>
                    <a:gd name="connsiteX1" fmla="*/ 17175 w 18361"/>
                    <a:gd name="connsiteY1" fmla="*/ 13746 h 18461"/>
                    <a:gd name="connsiteX2" fmla="*/ 4734 w 18361"/>
                    <a:gd name="connsiteY2" fmla="*/ 17275 h 18461"/>
                    <a:gd name="connsiteX3" fmla="*/ 1146 w 18361"/>
                    <a:gd name="connsiteY3" fmla="*/ 4716 h 18461"/>
                    <a:gd name="connsiteX4" fmla="*/ 13646 w 18361"/>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61">
                      <a:moveTo>
                        <a:pt x="13646" y="1187"/>
                      </a:moveTo>
                      <a:cubicBezTo>
                        <a:pt x="18071" y="3699"/>
                        <a:pt x="19686" y="9321"/>
                        <a:pt x="17175" y="13746"/>
                      </a:cubicBezTo>
                      <a:cubicBezTo>
                        <a:pt x="14722" y="18172"/>
                        <a:pt x="9160" y="19787"/>
                        <a:pt x="4734" y="17275"/>
                      </a:cubicBezTo>
                      <a:cubicBezTo>
                        <a:pt x="309" y="14763"/>
                        <a:pt x="-1306" y="9141"/>
                        <a:pt x="1146" y="4716"/>
                      </a:cubicBezTo>
                      <a:cubicBezTo>
                        <a:pt x="3658" y="290"/>
                        <a:pt x="9220" y="-1325"/>
                        <a:pt x="13646" y="1187"/>
                      </a:cubicBezTo>
                      <a:close/>
                    </a:path>
                  </a:pathLst>
                </a:custGeom>
                <a:grpFill/>
                <a:ln w="5978" cap="flat">
                  <a:noFill/>
                  <a:prstDash val="solid"/>
                  <a:miter/>
                </a:ln>
              </p:spPr>
              <p:txBody>
                <a:bodyPr rtlCol="0" anchor="ctr"/>
                <a:lstStyle/>
                <a:p>
                  <a:endParaRPr lang="en-GB"/>
                </a:p>
              </p:txBody>
            </p:sp>
            <p:sp>
              <p:nvSpPr>
                <p:cNvPr id="4223" name="Vrije vorm: vorm 4222">
                  <a:extLst>
                    <a:ext uri="{FF2B5EF4-FFF2-40B4-BE49-F238E27FC236}">
                      <a16:creationId xmlns:a16="http://schemas.microsoft.com/office/drawing/2014/main" id="{7C9976D5-B6BD-4B80-AC7D-731A406BCBE4}"/>
                    </a:ext>
                  </a:extLst>
                </p:cNvPr>
                <p:cNvSpPr/>
                <p:nvPr/>
              </p:nvSpPr>
              <p:spPr>
                <a:xfrm>
                  <a:off x="7632844" y="4300966"/>
                  <a:ext cx="18277" cy="18461"/>
                </a:xfrm>
                <a:custGeom>
                  <a:avLst/>
                  <a:gdLst>
                    <a:gd name="connsiteX0" fmla="*/ 13588 w 18277"/>
                    <a:gd name="connsiteY0" fmla="*/ 1187 h 18461"/>
                    <a:gd name="connsiteX1" fmla="*/ 1148 w 18277"/>
                    <a:gd name="connsiteY1" fmla="*/ 4716 h 18461"/>
                    <a:gd name="connsiteX2" fmla="*/ 4676 w 18277"/>
                    <a:gd name="connsiteY2" fmla="*/ 17275 h 18461"/>
                    <a:gd name="connsiteX3" fmla="*/ 17117 w 18277"/>
                    <a:gd name="connsiteY3" fmla="*/ 13746 h 18461"/>
                    <a:gd name="connsiteX4" fmla="*/ 13588 w 18277"/>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61">
                      <a:moveTo>
                        <a:pt x="13588" y="1187"/>
                      </a:moveTo>
                      <a:cubicBezTo>
                        <a:pt x="9162" y="-1325"/>
                        <a:pt x="3600" y="290"/>
                        <a:pt x="1148" y="4716"/>
                      </a:cubicBezTo>
                      <a:cubicBezTo>
                        <a:pt x="-1304" y="9141"/>
                        <a:pt x="311" y="14763"/>
                        <a:pt x="4676" y="17275"/>
                      </a:cubicBezTo>
                      <a:cubicBezTo>
                        <a:pt x="9103" y="19787"/>
                        <a:pt x="14664" y="18172"/>
                        <a:pt x="17117" y="13746"/>
                      </a:cubicBezTo>
                      <a:cubicBezTo>
                        <a:pt x="19569" y="9320"/>
                        <a:pt x="18014" y="3699"/>
                        <a:pt x="13588" y="1187"/>
                      </a:cubicBezTo>
                      <a:close/>
                    </a:path>
                  </a:pathLst>
                </a:custGeom>
                <a:grpFill/>
                <a:ln w="5978" cap="flat">
                  <a:noFill/>
                  <a:prstDash val="solid"/>
                  <a:miter/>
                </a:ln>
              </p:spPr>
              <p:txBody>
                <a:bodyPr rtlCol="0" anchor="ctr"/>
                <a:lstStyle/>
                <a:p>
                  <a:endParaRPr lang="en-GB"/>
                </a:p>
              </p:txBody>
            </p:sp>
          </p:grpSp>
          <p:grpSp>
            <p:nvGrpSpPr>
              <p:cNvPr id="388" name="Graphic 3">
                <a:extLst>
                  <a:ext uri="{FF2B5EF4-FFF2-40B4-BE49-F238E27FC236}">
                    <a16:creationId xmlns:a16="http://schemas.microsoft.com/office/drawing/2014/main" id="{EF499D28-BFFF-4931-ADE2-4A3050FDC5A7}"/>
                  </a:ext>
                </a:extLst>
              </p:cNvPr>
              <p:cNvGrpSpPr/>
              <p:nvPr/>
            </p:nvGrpSpPr>
            <p:grpSpPr>
              <a:xfrm>
                <a:off x="6788342" y="1749964"/>
                <a:ext cx="86672" cy="158118"/>
                <a:chOff x="6788342" y="1749964"/>
                <a:chExt cx="86672" cy="158118"/>
              </a:xfrm>
              <a:grpFill/>
            </p:grpSpPr>
            <p:sp>
              <p:nvSpPr>
                <p:cNvPr id="4218" name="Vrije vorm: vorm 4217">
                  <a:extLst>
                    <a:ext uri="{FF2B5EF4-FFF2-40B4-BE49-F238E27FC236}">
                      <a16:creationId xmlns:a16="http://schemas.microsoft.com/office/drawing/2014/main" id="{01352C5F-1EEF-4B6B-86BD-2D61FA72B06A}"/>
                    </a:ext>
                  </a:extLst>
                </p:cNvPr>
                <p:cNvSpPr/>
                <p:nvPr/>
              </p:nvSpPr>
              <p:spPr>
                <a:xfrm>
                  <a:off x="6795974" y="1758073"/>
                  <a:ext cx="71410" cy="141862"/>
                </a:xfrm>
                <a:custGeom>
                  <a:avLst/>
                  <a:gdLst>
                    <a:gd name="connsiteX0" fmla="*/ 71410 w 71410"/>
                    <a:gd name="connsiteY0" fmla="*/ 1376 h 141862"/>
                    <a:gd name="connsiteX1" fmla="*/ 2751 w 71410"/>
                    <a:gd name="connsiteY1" fmla="*/ 141863 h 141862"/>
                    <a:gd name="connsiteX2" fmla="*/ 0 w 71410"/>
                    <a:gd name="connsiteY2" fmla="*/ 140547 h 141862"/>
                    <a:gd name="connsiteX3" fmla="*/ 68718 w 71410"/>
                    <a:gd name="connsiteY3" fmla="*/ 0 h 141862"/>
                  </a:gdLst>
                  <a:ahLst/>
                  <a:cxnLst>
                    <a:cxn ang="0">
                      <a:pos x="connsiteX0" y="connsiteY0"/>
                    </a:cxn>
                    <a:cxn ang="0">
                      <a:pos x="connsiteX1" y="connsiteY1"/>
                    </a:cxn>
                    <a:cxn ang="0">
                      <a:pos x="connsiteX2" y="connsiteY2"/>
                    </a:cxn>
                    <a:cxn ang="0">
                      <a:pos x="connsiteX3" y="connsiteY3"/>
                    </a:cxn>
                  </a:cxnLst>
                  <a:rect l="l" t="t" r="r" b="b"/>
                  <a:pathLst>
                    <a:path w="71410" h="141862">
                      <a:moveTo>
                        <a:pt x="71410" y="1376"/>
                      </a:moveTo>
                      <a:lnTo>
                        <a:pt x="2751" y="141863"/>
                      </a:lnTo>
                      <a:lnTo>
                        <a:pt x="0" y="140547"/>
                      </a:lnTo>
                      <a:lnTo>
                        <a:pt x="68718" y="0"/>
                      </a:lnTo>
                      <a:close/>
                    </a:path>
                  </a:pathLst>
                </a:custGeom>
                <a:grpFill/>
                <a:ln w="5978" cap="flat">
                  <a:noFill/>
                  <a:prstDash val="solid"/>
                  <a:miter/>
                </a:ln>
              </p:spPr>
              <p:txBody>
                <a:bodyPr rtlCol="0" anchor="ctr"/>
                <a:lstStyle/>
                <a:p>
                  <a:endParaRPr lang="en-GB"/>
                </a:p>
              </p:txBody>
            </p:sp>
            <p:sp>
              <p:nvSpPr>
                <p:cNvPr id="4219" name="Vrije vorm: vorm 4218">
                  <a:extLst>
                    <a:ext uri="{FF2B5EF4-FFF2-40B4-BE49-F238E27FC236}">
                      <a16:creationId xmlns:a16="http://schemas.microsoft.com/office/drawing/2014/main" id="{45413191-B8CB-4D18-A4A2-8DAAA9F51B14}"/>
                    </a:ext>
                  </a:extLst>
                </p:cNvPr>
                <p:cNvSpPr/>
                <p:nvPr/>
              </p:nvSpPr>
              <p:spPr>
                <a:xfrm>
                  <a:off x="6856676" y="1749964"/>
                  <a:ext cx="18338" cy="18372"/>
                </a:xfrm>
                <a:custGeom>
                  <a:avLst/>
                  <a:gdLst>
                    <a:gd name="connsiteX0" fmla="*/ 959 w 18338"/>
                    <a:gd name="connsiteY0" fmla="*/ 5119 h 18372"/>
                    <a:gd name="connsiteX1" fmla="*/ 13219 w 18338"/>
                    <a:gd name="connsiteY1" fmla="*/ 933 h 18372"/>
                    <a:gd name="connsiteX2" fmla="*/ 17406 w 18338"/>
                    <a:gd name="connsiteY2" fmla="*/ 13253 h 18372"/>
                    <a:gd name="connsiteX3" fmla="*/ 5145 w 18338"/>
                    <a:gd name="connsiteY3" fmla="*/ 17440 h 18372"/>
                    <a:gd name="connsiteX4" fmla="*/ 959 w 18338"/>
                    <a:gd name="connsiteY4" fmla="*/ 5119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2">
                      <a:moveTo>
                        <a:pt x="959" y="5119"/>
                      </a:moveTo>
                      <a:cubicBezTo>
                        <a:pt x="3172" y="574"/>
                        <a:pt x="8674" y="-1280"/>
                        <a:pt x="13219" y="933"/>
                      </a:cubicBezTo>
                      <a:cubicBezTo>
                        <a:pt x="17765" y="3146"/>
                        <a:pt x="19619" y="8708"/>
                        <a:pt x="17406" y="13253"/>
                      </a:cubicBezTo>
                      <a:cubicBezTo>
                        <a:pt x="15193" y="17798"/>
                        <a:pt x="9691" y="19653"/>
                        <a:pt x="5145" y="17440"/>
                      </a:cubicBezTo>
                      <a:cubicBezTo>
                        <a:pt x="600" y="15167"/>
                        <a:pt x="-1314" y="9665"/>
                        <a:pt x="959" y="5119"/>
                      </a:cubicBezTo>
                      <a:close/>
                    </a:path>
                  </a:pathLst>
                </a:custGeom>
                <a:grpFill/>
                <a:ln w="5978" cap="flat">
                  <a:noFill/>
                  <a:prstDash val="solid"/>
                  <a:miter/>
                </a:ln>
              </p:spPr>
              <p:txBody>
                <a:bodyPr rtlCol="0" anchor="ctr"/>
                <a:lstStyle/>
                <a:p>
                  <a:endParaRPr lang="en-GB"/>
                </a:p>
              </p:txBody>
            </p:sp>
            <p:sp>
              <p:nvSpPr>
                <p:cNvPr id="4220" name="Vrije vorm: vorm 4219">
                  <a:extLst>
                    <a:ext uri="{FF2B5EF4-FFF2-40B4-BE49-F238E27FC236}">
                      <a16:creationId xmlns:a16="http://schemas.microsoft.com/office/drawing/2014/main" id="{CA0029C6-EBEC-4B60-9E2F-CB86F9AF272B}"/>
                    </a:ext>
                  </a:extLst>
                </p:cNvPr>
                <p:cNvSpPr/>
                <p:nvPr/>
              </p:nvSpPr>
              <p:spPr>
                <a:xfrm>
                  <a:off x="6788342" y="1889636"/>
                  <a:ext cx="18312" cy="18446"/>
                </a:xfrm>
                <a:custGeom>
                  <a:avLst/>
                  <a:gdLst>
                    <a:gd name="connsiteX0" fmla="*/ 933 w 18312"/>
                    <a:gd name="connsiteY0" fmla="*/ 5156 h 18446"/>
                    <a:gd name="connsiteX1" fmla="*/ 5119 w 18312"/>
                    <a:gd name="connsiteY1" fmla="*/ 17476 h 18446"/>
                    <a:gd name="connsiteX2" fmla="*/ 17380 w 18312"/>
                    <a:gd name="connsiteY2" fmla="*/ 13290 h 18446"/>
                    <a:gd name="connsiteX3" fmla="*/ 13193 w 18312"/>
                    <a:gd name="connsiteY3" fmla="*/ 970 h 18446"/>
                    <a:gd name="connsiteX4" fmla="*/ 933 w 18312"/>
                    <a:gd name="connsiteY4" fmla="*/ 5156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6">
                      <a:moveTo>
                        <a:pt x="933" y="5156"/>
                      </a:moveTo>
                      <a:cubicBezTo>
                        <a:pt x="-1280" y="9701"/>
                        <a:pt x="574" y="15264"/>
                        <a:pt x="5119" y="17476"/>
                      </a:cubicBezTo>
                      <a:cubicBezTo>
                        <a:pt x="9665" y="19749"/>
                        <a:pt x="15167" y="17895"/>
                        <a:pt x="17380" y="13290"/>
                      </a:cubicBezTo>
                      <a:cubicBezTo>
                        <a:pt x="19593" y="8745"/>
                        <a:pt x="17739" y="3182"/>
                        <a:pt x="13193" y="970"/>
                      </a:cubicBezTo>
                      <a:cubicBezTo>
                        <a:pt x="8708" y="-1303"/>
                        <a:pt x="3206" y="551"/>
                        <a:pt x="933" y="5156"/>
                      </a:cubicBezTo>
                      <a:close/>
                    </a:path>
                  </a:pathLst>
                </a:custGeom>
                <a:grpFill/>
                <a:ln w="5978" cap="flat">
                  <a:noFill/>
                  <a:prstDash val="solid"/>
                  <a:miter/>
                </a:ln>
              </p:spPr>
              <p:txBody>
                <a:bodyPr rtlCol="0" anchor="ctr"/>
                <a:lstStyle/>
                <a:p>
                  <a:endParaRPr lang="en-GB"/>
                </a:p>
              </p:txBody>
            </p:sp>
          </p:grpSp>
          <p:grpSp>
            <p:nvGrpSpPr>
              <p:cNvPr id="389" name="Graphic 3">
                <a:extLst>
                  <a:ext uri="{FF2B5EF4-FFF2-40B4-BE49-F238E27FC236}">
                    <a16:creationId xmlns:a16="http://schemas.microsoft.com/office/drawing/2014/main" id="{1318E4CB-8A22-4217-B1F1-FFC242FE59AA}"/>
                  </a:ext>
                </a:extLst>
              </p:cNvPr>
              <p:cNvGrpSpPr/>
              <p:nvPr/>
            </p:nvGrpSpPr>
            <p:grpSpPr>
              <a:xfrm>
                <a:off x="6731971" y="1664968"/>
                <a:ext cx="105509" cy="214908"/>
                <a:chOff x="6731971" y="1664968"/>
                <a:chExt cx="105509" cy="214908"/>
              </a:xfrm>
              <a:grpFill/>
            </p:grpSpPr>
            <p:sp>
              <p:nvSpPr>
                <p:cNvPr id="4215" name="Vrije vorm: vorm 4214">
                  <a:extLst>
                    <a:ext uri="{FF2B5EF4-FFF2-40B4-BE49-F238E27FC236}">
                      <a16:creationId xmlns:a16="http://schemas.microsoft.com/office/drawing/2014/main" id="{063A409C-1B54-4C44-A140-4341777D17EA}"/>
                    </a:ext>
                  </a:extLst>
                </p:cNvPr>
                <p:cNvSpPr/>
                <p:nvPr/>
              </p:nvSpPr>
              <p:spPr>
                <a:xfrm>
                  <a:off x="6739575" y="1673087"/>
                  <a:ext cx="90309" cy="198619"/>
                </a:xfrm>
                <a:custGeom>
                  <a:avLst/>
                  <a:gdLst>
                    <a:gd name="connsiteX0" fmla="*/ 90309 w 90309"/>
                    <a:gd name="connsiteY0" fmla="*/ 1256 h 198619"/>
                    <a:gd name="connsiteX1" fmla="*/ 2751 w 90309"/>
                    <a:gd name="connsiteY1" fmla="*/ 198620 h 198619"/>
                    <a:gd name="connsiteX2" fmla="*/ 0 w 90309"/>
                    <a:gd name="connsiteY2" fmla="*/ 197364 h 198619"/>
                    <a:gd name="connsiteX3" fmla="*/ 87498 w 90309"/>
                    <a:gd name="connsiteY3" fmla="*/ 0 h 198619"/>
                  </a:gdLst>
                  <a:ahLst/>
                  <a:cxnLst>
                    <a:cxn ang="0">
                      <a:pos x="connsiteX0" y="connsiteY0"/>
                    </a:cxn>
                    <a:cxn ang="0">
                      <a:pos x="connsiteX1" y="connsiteY1"/>
                    </a:cxn>
                    <a:cxn ang="0">
                      <a:pos x="connsiteX2" y="connsiteY2"/>
                    </a:cxn>
                    <a:cxn ang="0">
                      <a:pos x="connsiteX3" y="connsiteY3"/>
                    </a:cxn>
                  </a:cxnLst>
                  <a:rect l="l" t="t" r="r" b="b"/>
                  <a:pathLst>
                    <a:path w="90309" h="198619">
                      <a:moveTo>
                        <a:pt x="90309" y="1256"/>
                      </a:moveTo>
                      <a:lnTo>
                        <a:pt x="2751" y="198620"/>
                      </a:lnTo>
                      <a:lnTo>
                        <a:pt x="0" y="197364"/>
                      </a:lnTo>
                      <a:lnTo>
                        <a:pt x="87498" y="0"/>
                      </a:lnTo>
                      <a:close/>
                    </a:path>
                  </a:pathLst>
                </a:custGeom>
                <a:grpFill/>
                <a:ln w="5978" cap="flat">
                  <a:noFill/>
                  <a:prstDash val="solid"/>
                  <a:miter/>
                </a:ln>
              </p:spPr>
              <p:txBody>
                <a:bodyPr rtlCol="0" anchor="ctr"/>
                <a:lstStyle/>
                <a:p>
                  <a:endParaRPr lang="en-GB"/>
                </a:p>
              </p:txBody>
            </p:sp>
            <p:sp>
              <p:nvSpPr>
                <p:cNvPr id="4216" name="Vrije vorm: vorm 4215">
                  <a:extLst>
                    <a:ext uri="{FF2B5EF4-FFF2-40B4-BE49-F238E27FC236}">
                      <a16:creationId xmlns:a16="http://schemas.microsoft.com/office/drawing/2014/main" id="{54FA702B-7776-4FE5-AB91-12C03ACBAC98}"/>
                    </a:ext>
                  </a:extLst>
                </p:cNvPr>
                <p:cNvSpPr/>
                <p:nvPr/>
              </p:nvSpPr>
              <p:spPr>
                <a:xfrm>
                  <a:off x="6819144" y="1664968"/>
                  <a:ext cx="18335" cy="18450"/>
                </a:xfrm>
                <a:custGeom>
                  <a:avLst/>
                  <a:gdLst>
                    <a:gd name="connsiteX0" fmla="*/ 812 w 18335"/>
                    <a:gd name="connsiteY0" fmla="*/ 5428 h 18450"/>
                    <a:gd name="connsiteX1" fmla="*/ 12893 w 18335"/>
                    <a:gd name="connsiteY1" fmla="*/ 823 h 18450"/>
                    <a:gd name="connsiteX2" fmla="*/ 17558 w 18335"/>
                    <a:gd name="connsiteY2" fmla="*/ 13023 h 18450"/>
                    <a:gd name="connsiteX3" fmla="*/ 5477 w 18335"/>
                    <a:gd name="connsiteY3" fmla="*/ 17628 h 18450"/>
                    <a:gd name="connsiteX4" fmla="*/ 812 w 18335"/>
                    <a:gd name="connsiteY4" fmla="*/ 5428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0">
                      <a:moveTo>
                        <a:pt x="812" y="5428"/>
                      </a:moveTo>
                      <a:cubicBezTo>
                        <a:pt x="2846" y="763"/>
                        <a:pt x="8288" y="-1271"/>
                        <a:pt x="12893" y="823"/>
                      </a:cubicBezTo>
                      <a:cubicBezTo>
                        <a:pt x="17499" y="2916"/>
                        <a:pt x="19592" y="8358"/>
                        <a:pt x="17558" y="13023"/>
                      </a:cubicBezTo>
                      <a:cubicBezTo>
                        <a:pt x="15525" y="17688"/>
                        <a:pt x="10082" y="19722"/>
                        <a:pt x="5477" y="17628"/>
                      </a:cubicBezTo>
                      <a:cubicBezTo>
                        <a:pt x="812" y="15535"/>
                        <a:pt x="-1281" y="10033"/>
                        <a:pt x="812" y="5428"/>
                      </a:cubicBezTo>
                      <a:close/>
                    </a:path>
                  </a:pathLst>
                </a:custGeom>
                <a:grpFill/>
                <a:ln w="5978" cap="flat">
                  <a:noFill/>
                  <a:prstDash val="solid"/>
                  <a:miter/>
                </a:ln>
              </p:spPr>
              <p:txBody>
                <a:bodyPr rtlCol="0" anchor="ctr"/>
                <a:lstStyle/>
                <a:p>
                  <a:endParaRPr lang="en-GB"/>
                </a:p>
              </p:txBody>
            </p:sp>
            <p:sp>
              <p:nvSpPr>
                <p:cNvPr id="4217" name="Vrije vorm: vorm 4216">
                  <a:extLst>
                    <a:ext uri="{FF2B5EF4-FFF2-40B4-BE49-F238E27FC236}">
                      <a16:creationId xmlns:a16="http://schemas.microsoft.com/office/drawing/2014/main" id="{27288CA1-6B9D-47BE-8F3E-45497342F63F}"/>
                    </a:ext>
                  </a:extLst>
                </p:cNvPr>
                <p:cNvSpPr/>
                <p:nvPr/>
              </p:nvSpPr>
              <p:spPr>
                <a:xfrm>
                  <a:off x="6731971" y="1861444"/>
                  <a:ext cx="18319" cy="18432"/>
                </a:xfrm>
                <a:custGeom>
                  <a:avLst/>
                  <a:gdLst>
                    <a:gd name="connsiteX0" fmla="*/ 787 w 18319"/>
                    <a:gd name="connsiteY0" fmla="*/ 5418 h 18432"/>
                    <a:gd name="connsiteX1" fmla="*/ 5452 w 18319"/>
                    <a:gd name="connsiteY1" fmla="*/ 17619 h 18432"/>
                    <a:gd name="connsiteX2" fmla="*/ 17533 w 18319"/>
                    <a:gd name="connsiteY2" fmla="*/ 13014 h 18432"/>
                    <a:gd name="connsiteX3" fmla="*/ 12868 w 18319"/>
                    <a:gd name="connsiteY3" fmla="*/ 813 h 18432"/>
                    <a:gd name="connsiteX4" fmla="*/ 787 w 18319"/>
                    <a:gd name="connsiteY4" fmla="*/ 5418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32">
                      <a:moveTo>
                        <a:pt x="787" y="5418"/>
                      </a:moveTo>
                      <a:cubicBezTo>
                        <a:pt x="-1247" y="10083"/>
                        <a:pt x="787" y="15526"/>
                        <a:pt x="5452" y="17619"/>
                      </a:cubicBezTo>
                      <a:cubicBezTo>
                        <a:pt x="10057" y="19712"/>
                        <a:pt x="15499" y="17619"/>
                        <a:pt x="17533" y="13014"/>
                      </a:cubicBezTo>
                      <a:cubicBezTo>
                        <a:pt x="19566" y="8349"/>
                        <a:pt x="17533" y="2907"/>
                        <a:pt x="12868" y="813"/>
                      </a:cubicBezTo>
                      <a:cubicBezTo>
                        <a:pt x="8262" y="-1280"/>
                        <a:pt x="2820" y="813"/>
                        <a:pt x="787" y="5418"/>
                      </a:cubicBezTo>
                      <a:close/>
                    </a:path>
                  </a:pathLst>
                </a:custGeom>
                <a:grpFill/>
                <a:ln w="5978" cap="flat">
                  <a:noFill/>
                  <a:prstDash val="solid"/>
                  <a:miter/>
                </a:ln>
              </p:spPr>
              <p:txBody>
                <a:bodyPr rtlCol="0" anchor="ctr"/>
                <a:lstStyle/>
                <a:p>
                  <a:endParaRPr lang="en-GB"/>
                </a:p>
              </p:txBody>
            </p:sp>
          </p:grpSp>
          <p:grpSp>
            <p:nvGrpSpPr>
              <p:cNvPr id="390" name="Graphic 3">
                <a:extLst>
                  <a:ext uri="{FF2B5EF4-FFF2-40B4-BE49-F238E27FC236}">
                    <a16:creationId xmlns:a16="http://schemas.microsoft.com/office/drawing/2014/main" id="{FF0CE349-A415-47EA-9325-AED2148E2ACE}"/>
                  </a:ext>
                </a:extLst>
              </p:cNvPr>
              <p:cNvGrpSpPr/>
              <p:nvPr/>
            </p:nvGrpSpPr>
            <p:grpSpPr>
              <a:xfrm>
                <a:off x="7604147" y="4444687"/>
                <a:ext cx="215548" cy="149730"/>
                <a:chOff x="7604147" y="4444687"/>
                <a:chExt cx="215548" cy="149730"/>
              </a:xfrm>
              <a:grpFill/>
            </p:grpSpPr>
            <p:sp>
              <p:nvSpPr>
                <p:cNvPr id="4212" name="Vrije vorm: vorm 4211">
                  <a:extLst>
                    <a:ext uri="{FF2B5EF4-FFF2-40B4-BE49-F238E27FC236}">
                      <a16:creationId xmlns:a16="http://schemas.microsoft.com/office/drawing/2014/main" id="{5A242F0C-E0F5-4F58-A021-771F2D99663B}"/>
                    </a:ext>
                  </a:extLst>
                </p:cNvPr>
                <p:cNvSpPr/>
                <p:nvPr/>
              </p:nvSpPr>
              <p:spPr>
                <a:xfrm>
                  <a:off x="7612044" y="4452328"/>
                  <a:ext cx="199755" cy="134386"/>
                </a:xfrm>
                <a:custGeom>
                  <a:avLst/>
                  <a:gdLst>
                    <a:gd name="connsiteX0" fmla="*/ 199756 w 199755"/>
                    <a:gd name="connsiteY0" fmla="*/ 131815 h 134386"/>
                    <a:gd name="connsiteX1" fmla="*/ 198082 w 199755"/>
                    <a:gd name="connsiteY1" fmla="*/ 134387 h 134386"/>
                    <a:gd name="connsiteX2" fmla="*/ 0 w 199755"/>
                    <a:gd name="connsiteY2" fmla="*/ 2572 h 134386"/>
                    <a:gd name="connsiteX3" fmla="*/ 1674 w 199755"/>
                    <a:gd name="connsiteY3" fmla="*/ 0 h 134386"/>
                  </a:gdLst>
                  <a:ahLst/>
                  <a:cxnLst>
                    <a:cxn ang="0">
                      <a:pos x="connsiteX0" y="connsiteY0"/>
                    </a:cxn>
                    <a:cxn ang="0">
                      <a:pos x="connsiteX1" y="connsiteY1"/>
                    </a:cxn>
                    <a:cxn ang="0">
                      <a:pos x="connsiteX2" y="connsiteY2"/>
                    </a:cxn>
                    <a:cxn ang="0">
                      <a:pos x="connsiteX3" y="connsiteY3"/>
                    </a:cxn>
                  </a:cxnLst>
                  <a:rect l="l" t="t" r="r" b="b"/>
                  <a:pathLst>
                    <a:path w="199755" h="134386">
                      <a:moveTo>
                        <a:pt x="199756" y="131815"/>
                      </a:moveTo>
                      <a:lnTo>
                        <a:pt x="198082" y="134387"/>
                      </a:lnTo>
                      <a:lnTo>
                        <a:pt x="0" y="2572"/>
                      </a:lnTo>
                      <a:lnTo>
                        <a:pt x="1674" y="0"/>
                      </a:lnTo>
                      <a:close/>
                    </a:path>
                  </a:pathLst>
                </a:custGeom>
                <a:grpFill/>
                <a:ln w="5978" cap="flat">
                  <a:noFill/>
                  <a:prstDash val="solid"/>
                  <a:miter/>
                </a:ln>
              </p:spPr>
              <p:txBody>
                <a:bodyPr rtlCol="0" anchor="ctr"/>
                <a:lstStyle/>
                <a:p>
                  <a:endParaRPr lang="en-GB"/>
                </a:p>
              </p:txBody>
            </p:sp>
            <p:sp>
              <p:nvSpPr>
                <p:cNvPr id="4213" name="Vrije vorm: vorm 4212">
                  <a:extLst>
                    <a:ext uri="{FF2B5EF4-FFF2-40B4-BE49-F238E27FC236}">
                      <a16:creationId xmlns:a16="http://schemas.microsoft.com/office/drawing/2014/main" id="{870CD30A-8ADF-4BDE-88CC-CB5D7547DC0B}"/>
                    </a:ext>
                  </a:extLst>
                </p:cNvPr>
                <p:cNvSpPr/>
                <p:nvPr/>
              </p:nvSpPr>
              <p:spPr>
                <a:xfrm>
                  <a:off x="7801391" y="4575963"/>
                  <a:ext cx="18304" cy="18453"/>
                </a:xfrm>
                <a:custGeom>
                  <a:avLst/>
                  <a:gdLst>
                    <a:gd name="connsiteX0" fmla="*/ 14176 w 18304"/>
                    <a:gd name="connsiteY0" fmla="*/ 1541 h 18453"/>
                    <a:gd name="connsiteX1" fmla="*/ 16808 w 18304"/>
                    <a:gd name="connsiteY1" fmla="*/ 14340 h 18453"/>
                    <a:gd name="connsiteX2" fmla="*/ 4128 w 18304"/>
                    <a:gd name="connsiteY2" fmla="*/ 16912 h 18453"/>
                    <a:gd name="connsiteX3" fmla="*/ 1497 w 18304"/>
                    <a:gd name="connsiteY3" fmla="*/ 4113 h 18453"/>
                    <a:gd name="connsiteX4" fmla="*/ 14176 w 1830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3">
                      <a:moveTo>
                        <a:pt x="14176" y="1541"/>
                      </a:moveTo>
                      <a:cubicBezTo>
                        <a:pt x="18422" y="4352"/>
                        <a:pt x="19558" y="10094"/>
                        <a:pt x="16808" y="14340"/>
                      </a:cubicBezTo>
                      <a:cubicBezTo>
                        <a:pt x="14056" y="18587"/>
                        <a:pt x="8315" y="19723"/>
                        <a:pt x="4128" y="16912"/>
                      </a:cubicBezTo>
                      <a:cubicBezTo>
                        <a:pt x="-118" y="14101"/>
                        <a:pt x="-1254" y="8359"/>
                        <a:pt x="1497" y="4113"/>
                      </a:cubicBezTo>
                      <a:cubicBezTo>
                        <a:pt x="4307" y="-133"/>
                        <a:pt x="9989" y="-1269"/>
                        <a:pt x="14176" y="1541"/>
                      </a:cubicBezTo>
                      <a:close/>
                    </a:path>
                  </a:pathLst>
                </a:custGeom>
                <a:grpFill/>
                <a:ln w="5978" cap="flat">
                  <a:noFill/>
                  <a:prstDash val="solid"/>
                  <a:miter/>
                </a:ln>
              </p:spPr>
              <p:txBody>
                <a:bodyPr rtlCol="0" anchor="ctr"/>
                <a:lstStyle/>
                <a:p>
                  <a:endParaRPr lang="en-GB"/>
                </a:p>
              </p:txBody>
            </p:sp>
            <p:sp>
              <p:nvSpPr>
                <p:cNvPr id="4214" name="Vrije vorm: vorm 4213">
                  <a:extLst>
                    <a:ext uri="{FF2B5EF4-FFF2-40B4-BE49-F238E27FC236}">
                      <a16:creationId xmlns:a16="http://schemas.microsoft.com/office/drawing/2014/main" id="{F962AFAC-2A41-4F0F-8B49-F0DC7D92FE2F}"/>
                    </a:ext>
                  </a:extLst>
                </p:cNvPr>
                <p:cNvSpPr/>
                <p:nvPr/>
              </p:nvSpPr>
              <p:spPr>
                <a:xfrm>
                  <a:off x="7604147" y="4444687"/>
                  <a:ext cx="18288" cy="18453"/>
                </a:xfrm>
                <a:custGeom>
                  <a:avLst/>
                  <a:gdLst>
                    <a:gd name="connsiteX0" fmla="*/ 14176 w 18288"/>
                    <a:gd name="connsiteY0" fmla="*/ 1542 h 18453"/>
                    <a:gd name="connsiteX1" fmla="*/ 1497 w 18288"/>
                    <a:gd name="connsiteY1" fmla="*/ 4113 h 18453"/>
                    <a:gd name="connsiteX2" fmla="*/ 4128 w 18288"/>
                    <a:gd name="connsiteY2" fmla="*/ 16912 h 18453"/>
                    <a:gd name="connsiteX3" fmla="*/ 16808 w 18288"/>
                    <a:gd name="connsiteY3" fmla="*/ 14340 h 18453"/>
                    <a:gd name="connsiteX4" fmla="*/ 14176 w 18288"/>
                    <a:gd name="connsiteY4" fmla="*/ 154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14176" y="1542"/>
                      </a:moveTo>
                      <a:cubicBezTo>
                        <a:pt x="9930" y="-1270"/>
                        <a:pt x="4247" y="-133"/>
                        <a:pt x="1497" y="4113"/>
                      </a:cubicBezTo>
                      <a:cubicBezTo>
                        <a:pt x="-1254" y="8359"/>
                        <a:pt x="-118" y="14041"/>
                        <a:pt x="4128" y="16912"/>
                      </a:cubicBezTo>
                      <a:cubicBezTo>
                        <a:pt x="8375" y="19723"/>
                        <a:pt x="14056" y="18586"/>
                        <a:pt x="16808" y="14340"/>
                      </a:cubicBezTo>
                      <a:cubicBezTo>
                        <a:pt x="19558" y="10034"/>
                        <a:pt x="18363" y="4352"/>
                        <a:pt x="14176" y="1542"/>
                      </a:cubicBezTo>
                      <a:close/>
                    </a:path>
                  </a:pathLst>
                </a:custGeom>
                <a:grpFill/>
                <a:ln w="5978" cap="flat">
                  <a:noFill/>
                  <a:prstDash val="solid"/>
                  <a:miter/>
                </a:ln>
              </p:spPr>
              <p:txBody>
                <a:bodyPr rtlCol="0" anchor="ctr"/>
                <a:lstStyle/>
                <a:p>
                  <a:endParaRPr lang="en-GB"/>
                </a:p>
              </p:txBody>
            </p:sp>
          </p:grpSp>
          <p:grpSp>
            <p:nvGrpSpPr>
              <p:cNvPr id="391" name="Graphic 3">
                <a:extLst>
                  <a:ext uri="{FF2B5EF4-FFF2-40B4-BE49-F238E27FC236}">
                    <a16:creationId xmlns:a16="http://schemas.microsoft.com/office/drawing/2014/main" id="{F70246AF-0789-4D81-89A4-C6009010457C}"/>
                  </a:ext>
                </a:extLst>
              </p:cNvPr>
              <p:cNvGrpSpPr/>
              <p:nvPr/>
            </p:nvGrpSpPr>
            <p:grpSpPr>
              <a:xfrm>
                <a:off x="7495998" y="4296675"/>
                <a:ext cx="352527" cy="223271"/>
                <a:chOff x="7495998" y="4296675"/>
                <a:chExt cx="352527" cy="223271"/>
              </a:xfrm>
              <a:grpFill/>
            </p:grpSpPr>
            <p:sp>
              <p:nvSpPr>
                <p:cNvPr id="4209" name="Vrije vorm: vorm 4208">
                  <a:extLst>
                    <a:ext uri="{FF2B5EF4-FFF2-40B4-BE49-F238E27FC236}">
                      <a16:creationId xmlns:a16="http://schemas.microsoft.com/office/drawing/2014/main" id="{0E22D557-DA15-41B3-9F01-E4B1EDAC7D32}"/>
                    </a:ext>
                  </a:extLst>
                </p:cNvPr>
                <p:cNvSpPr/>
                <p:nvPr/>
              </p:nvSpPr>
              <p:spPr>
                <a:xfrm>
                  <a:off x="7503972" y="4304365"/>
                  <a:ext cx="336595" cy="207949"/>
                </a:xfrm>
                <a:custGeom>
                  <a:avLst/>
                  <a:gdLst>
                    <a:gd name="connsiteX0" fmla="*/ 336595 w 336595"/>
                    <a:gd name="connsiteY0" fmla="*/ 205318 h 207949"/>
                    <a:gd name="connsiteX1" fmla="*/ 334980 w 336595"/>
                    <a:gd name="connsiteY1" fmla="*/ 207950 h 207949"/>
                    <a:gd name="connsiteX2" fmla="*/ 0 w 336595"/>
                    <a:gd name="connsiteY2" fmla="*/ 2572 h 207949"/>
                    <a:gd name="connsiteX3" fmla="*/ 1615 w 336595"/>
                    <a:gd name="connsiteY3" fmla="*/ 0 h 207949"/>
                  </a:gdLst>
                  <a:ahLst/>
                  <a:cxnLst>
                    <a:cxn ang="0">
                      <a:pos x="connsiteX0" y="connsiteY0"/>
                    </a:cxn>
                    <a:cxn ang="0">
                      <a:pos x="connsiteX1" y="connsiteY1"/>
                    </a:cxn>
                    <a:cxn ang="0">
                      <a:pos x="connsiteX2" y="connsiteY2"/>
                    </a:cxn>
                    <a:cxn ang="0">
                      <a:pos x="connsiteX3" y="connsiteY3"/>
                    </a:cxn>
                  </a:cxnLst>
                  <a:rect l="l" t="t" r="r" b="b"/>
                  <a:pathLst>
                    <a:path w="336595" h="207949">
                      <a:moveTo>
                        <a:pt x="336595" y="205318"/>
                      </a:moveTo>
                      <a:lnTo>
                        <a:pt x="334980" y="207950"/>
                      </a:lnTo>
                      <a:lnTo>
                        <a:pt x="0" y="2572"/>
                      </a:lnTo>
                      <a:lnTo>
                        <a:pt x="1615" y="0"/>
                      </a:lnTo>
                      <a:close/>
                    </a:path>
                  </a:pathLst>
                </a:custGeom>
                <a:grpFill/>
                <a:ln w="5978" cap="flat">
                  <a:noFill/>
                  <a:prstDash val="solid"/>
                  <a:miter/>
                </a:ln>
              </p:spPr>
              <p:txBody>
                <a:bodyPr rtlCol="0" anchor="ctr"/>
                <a:lstStyle/>
                <a:p>
                  <a:endParaRPr lang="en-GB"/>
                </a:p>
              </p:txBody>
            </p:sp>
            <p:sp>
              <p:nvSpPr>
                <p:cNvPr id="4210" name="Vrije vorm: vorm 4209">
                  <a:extLst>
                    <a:ext uri="{FF2B5EF4-FFF2-40B4-BE49-F238E27FC236}">
                      <a16:creationId xmlns:a16="http://schemas.microsoft.com/office/drawing/2014/main" id="{B205EBCD-FD64-45B7-9B98-131D638417A5}"/>
                    </a:ext>
                  </a:extLst>
                </p:cNvPr>
                <p:cNvSpPr/>
                <p:nvPr/>
              </p:nvSpPr>
              <p:spPr>
                <a:xfrm>
                  <a:off x="7830215" y="4501528"/>
                  <a:ext cx="18310" cy="18417"/>
                </a:xfrm>
                <a:custGeom>
                  <a:avLst/>
                  <a:gdLst>
                    <a:gd name="connsiteX0" fmla="*/ 13880 w 18310"/>
                    <a:gd name="connsiteY0" fmla="*/ 1337 h 18417"/>
                    <a:gd name="connsiteX1" fmla="*/ 16990 w 18310"/>
                    <a:gd name="connsiteY1" fmla="*/ 14016 h 18417"/>
                    <a:gd name="connsiteX2" fmla="*/ 4431 w 18310"/>
                    <a:gd name="connsiteY2" fmla="*/ 17066 h 18417"/>
                    <a:gd name="connsiteX3" fmla="*/ 1321 w 18310"/>
                    <a:gd name="connsiteY3" fmla="*/ 4387 h 18417"/>
                    <a:gd name="connsiteX4" fmla="*/ 13880 w 18310"/>
                    <a:gd name="connsiteY4" fmla="*/ 133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7">
                      <a:moveTo>
                        <a:pt x="13880" y="1337"/>
                      </a:moveTo>
                      <a:cubicBezTo>
                        <a:pt x="18186" y="3969"/>
                        <a:pt x="19621" y="9650"/>
                        <a:pt x="16990" y="14016"/>
                      </a:cubicBezTo>
                      <a:cubicBezTo>
                        <a:pt x="14358" y="18382"/>
                        <a:pt x="8737" y="19698"/>
                        <a:pt x="4431" y="17066"/>
                      </a:cubicBezTo>
                      <a:cubicBezTo>
                        <a:pt x="125" y="14435"/>
                        <a:pt x="-1311" y="8753"/>
                        <a:pt x="1321" y="4387"/>
                      </a:cubicBezTo>
                      <a:cubicBezTo>
                        <a:pt x="3952" y="81"/>
                        <a:pt x="9574" y="-1294"/>
                        <a:pt x="13880" y="1337"/>
                      </a:cubicBezTo>
                      <a:close/>
                    </a:path>
                  </a:pathLst>
                </a:custGeom>
                <a:grpFill/>
                <a:ln w="5978" cap="flat">
                  <a:noFill/>
                  <a:prstDash val="solid"/>
                  <a:miter/>
                </a:ln>
              </p:spPr>
              <p:txBody>
                <a:bodyPr rtlCol="0" anchor="ctr"/>
                <a:lstStyle/>
                <a:p>
                  <a:endParaRPr lang="en-GB"/>
                </a:p>
              </p:txBody>
            </p:sp>
            <p:sp>
              <p:nvSpPr>
                <p:cNvPr id="4211" name="Vrije vorm: vorm 4210">
                  <a:extLst>
                    <a:ext uri="{FF2B5EF4-FFF2-40B4-BE49-F238E27FC236}">
                      <a16:creationId xmlns:a16="http://schemas.microsoft.com/office/drawing/2014/main" id="{EA910D09-8FA8-4EF7-86B5-C7F97C899BA4}"/>
                    </a:ext>
                  </a:extLst>
                </p:cNvPr>
                <p:cNvSpPr/>
                <p:nvPr/>
              </p:nvSpPr>
              <p:spPr>
                <a:xfrm>
                  <a:off x="7495998" y="4296675"/>
                  <a:ext cx="18338" cy="18417"/>
                </a:xfrm>
                <a:custGeom>
                  <a:avLst/>
                  <a:gdLst>
                    <a:gd name="connsiteX0" fmla="*/ 13894 w 18338"/>
                    <a:gd name="connsiteY0" fmla="*/ 1351 h 18417"/>
                    <a:gd name="connsiteX1" fmla="*/ 1335 w 18338"/>
                    <a:gd name="connsiteY1" fmla="*/ 4401 h 18417"/>
                    <a:gd name="connsiteX2" fmla="*/ 4445 w 18338"/>
                    <a:gd name="connsiteY2" fmla="*/ 17080 h 18417"/>
                    <a:gd name="connsiteX3" fmla="*/ 17004 w 18338"/>
                    <a:gd name="connsiteY3" fmla="*/ 14030 h 18417"/>
                    <a:gd name="connsiteX4" fmla="*/ 13894 w 18338"/>
                    <a:gd name="connsiteY4" fmla="*/ 1351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7">
                      <a:moveTo>
                        <a:pt x="13894" y="1351"/>
                      </a:moveTo>
                      <a:cubicBezTo>
                        <a:pt x="9588" y="-1281"/>
                        <a:pt x="3907" y="35"/>
                        <a:pt x="1335" y="4401"/>
                      </a:cubicBezTo>
                      <a:cubicBezTo>
                        <a:pt x="-1297" y="8767"/>
                        <a:pt x="79" y="14389"/>
                        <a:pt x="4445" y="17080"/>
                      </a:cubicBezTo>
                      <a:cubicBezTo>
                        <a:pt x="8751" y="19712"/>
                        <a:pt x="14432" y="18336"/>
                        <a:pt x="17004" y="14030"/>
                      </a:cubicBezTo>
                      <a:cubicBezTo>
                        <a:pt x="19635" y="9664"/>
                        <a:pt x="18260" y="4042"/>
                        <a:pt x="13894" y="1351"/>
                      </a:cubicBezTo>
                      <a:close/>
                    </a:path>
                  </a:pathLst>
                </a:custGeom>
                <a:grpFill/>
                <a:ln w="5978" cap="flat">
                  <a:noFill/>
                  <a:prstDash val="solid"/>
                  <a:miter/>
                </a:ln>
              </p:spPr>
              <p:txBody>
                <a:bodyPr rtlCol="0" anchor="ctr"/>
                <a:lstStyle/>
                <a:p>
                  <a:endParaRPr lang="en-GB"/>
                </a:p>
              </p:txBody>
            </p:sp>
          </p:grpSp>
          <p:grpSp>
            <p:nvGrpSpPr>
              <p:cNvPr id="392" name="Graphic 3">
                <a:extLst>
                  <a:ext uri="{FF2B5EF4-FFF2-40B4-BE49-F238E27FC236}">
                    <a16:creationId xmlns:a16="http://schemas.microsoft.com/office/drawing/2014/main" id="{F6744CE0-2EC4-41FE-932B-982CCC485C81}"/>
                  </a:ext>
                </a:extLst>
              </p:cNvPr>
              <p:cNvGrpSpPr/>
              <p:nvPr/>
            </p:nvGrpSpPr>
            <p:grpSpPr>
              <a:xfrm>
                <a:off x="6685437" y="1573129"/>
                <a:ext cx="112231" cy="253324"/>
                <a:chOff x="6685437" y="1573129"/>
                <a:chExt cx="112231" cy="253324"/>
              </a:xfrm>
              <a:grpFill/>
            </p:grpSpPr>
            <p:sp>
              <p:nvSpPr>
                <p:cNvPr id="4206" name="Vrije vorm: vorm 4205">
                  <a:extLst>
                    <a:ext uri="{FF2B5EF4-FFF2-40B4-BE49-F238E27FC236}">
                      <a16:creationId xmlns:a16="http://schemas.microsoft.com/office/drawing/2014/main" id="{C33C4D99-AFA3-463F-8D8F-CEDA7CFE04CE}"/>
                    </a:ext>
                  </a:extLst>
                </p:cNvPr>
                <p:cNvSpPr/>
                <p:nvPr/>
              </p:nvSpPr>
              <p:spPr>
                <a:xfrm>
                  <a:off x="6693046" y="1581343"/>
                  <a:ext cx="97067" cy="236896"/>
                </a:xfrm>
                <a:custGeom>
                  <a:avLst/>
                  <a:gdLst>
                    <a:gd name="connsiteX0" fmla="*/ 97067 w 97067"/>
                    <a:gd name="connsiteY0" fmla="*/ 1136 h 236896"/>
                    <a:gd name="connsiteX1" fmla="*/ 2811 w 97067"/>
                    <a:gd name="connsiteY1" fmla="*/ 236896 h 236896"/>
                    <a:gd name="connsiteX2" fmla="*/ 0 w 97067"/>
                    <a:gd name="connsiteY2" fmla="*/ 235760 h 236896"/>
                    <a:gd name="connsiteX3" fmla="*/ 94256 w 97067"/>
                    <a:gd name="connsiteY3" fmla="*/ 0 h 236896"/>
                  </a:gdLst>
                  <a:ahLst/>
                  <a:cxnLst>
                    <a:cxn ang="0">
                      <a:pos x="connsiteX0" y="connsiteY0"/>
                    </a:cxn>
                    <a:cxn ang="0">
                      <a:pos x="connsiteX1" y="connsiteY1"/>
                    </a:cxn>
                    <a:cxn ang="0">
                      <a:pos x="connsiteX2" y="connsiteY2"/>
                    </a:cxn>
                    <a:cxn ang="0">
                      <a:pos x="connsiteX3" y="connsiteY3"/>
                    </a:cxn>
                  </a:cxnLst>
                  <a:rect l="l" t="t" r="r" b="b"/>
                  <a:pathLst>
                    <a:path w="97067" h="236896">
                      <a:moveTo>
                        <a:pt x="97067" y="1136"/>
                      </a:moveTo>
                      <a:lnTo>
                        <a:pt x="2811" y="236896"/>
                      </a:lnTo>
                      <a:lnTo>
                        <a:pt x="0" y="235760"/>
                      </a:lnTo>
                      <a:lnTo>
                        <a:pt x="94256" y="0"/>
                      </a:lnTo>
                      <a:close/>
                    </a:path>
                  </a:pathLst>
                </a:custGeom>
                <a:grpFill/>
                <a:ln w="5978" cap="flat">
                  <a:noFill/>
                  <a:prstDash val="solid"/>
                  <a:miter/>
                </a:ln>
              </p:spPr>
              <p:txBody>
                <a:bodyPr rtlCol="0" anchor="ctr"/>
                <a:lstStyle/>
                <a:p>
                  <a:endParaRPr lang="en-GB"/>
                </a:p>
              </p:txBody>
            </p:sp>
            <p:sp>
              <p:nvSpPr>
                <p:cNvPr id="4207" name="Vrije vorm: vorm 4206">
                  <a:extLst>
                    <a:ext uri="{FF2B5EF4-FFF2-40B4-BE49-F238E27FC236}">
                      <a16:creationId xmlns:a16="http://schemas.microsoft.com/office/drawing/2014/main" id="{51C55CA9-FCD6-48F6-B32D-0C24AF4D8764}"/>
                    </a:ext>
                  </a:extLst>
                </p:cNvPr>
                <p:cNvSpPr/>
                <p:nvPr/>
              </p:nvSpPr>
              <p:spPr>
                <a:xfrm>
                  <a:off x="6779359" y="1573129"/>
                  <a:ext cx="18309" cy="18461"/>
                </a:xfrm>
                <a:custGeom>
                  <a:avLst/>
                  <a:gdLst>
                    <a:gd name="connsiteX0" fmla="*/ 646 w 18309"/>
                    <a:gd name="connsiteY0" fmla="*/ 5762 h 18461"/>
                    <a:gd name="connsiteX1" fmla="*/ 12547 w 18309"/>
                    <a:gd name="connsiteY1" fmla="*/ 679 h 18461"/>
                    <a:gd name="connsiteX2" fmla="*/ 17631 w 18309"/>
                    <a:gd name="connsiteY2" fmla="*/ 12700 h 18461"/>
                    <a:gd name="connsiteX3" fmla="*/ 5729 w 18309"/>
                    <a:gd name="connsiteY3" fmla="*/ 17783 h 18461"/>
                    <a:gd name="connsiteX4" fmla="*/ 646 w 18309"/>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646" y="5762"/>
                      </a:moveTo>
                      <a:cubicBezTo>
                        <a:pt x="2560" y="1037"/>
                        <a:pt x="7883" y="-1235"/>
                        <a:pt x="12547" y="679"/>
                      </a:cubicBezTo>
                      <a:cubicBezTo>
                        <a:pt x="17272" y="2592"/>
                        <a:pt x="19545" y="7975"/>
                        <a:pt x="17631" y="12700"/>
                      </a:cubicBezTo>
                      <a:cubicBezTo>
                        <a:pt x="15717" y="17425"/>
                        <a:pt x="10395" y="19697"/>
                        <a:pt x="5729" y="17783"/>
                      </a:cubicBezTo>
                      <a:cubicBezTo>
                        <a:pt x="1065" y="15810"/>
                        <a:pt x="-1208" y="10427"/>
                        <a:pt x="646" y="5762"/>
                      </a:cubicBezTo>
                      <a:close/>
                    </a:path>
                  </a:pathLst>
                </a:custGeom>
                <a:grpFill/>
                <a:ln w="5978" cap="flat">
                  <a:noFill/>
                  <a:prstDash val="solid"/>
                  <a:miter/>
                </a:ln>
              </p:spPr>
              <p:txBody>
                <a:bodyPr rtlCol="0" anchor="ctr"/>
                <a:lstStyle/>
                <a:p>
                  <a:endParaRPr lang="en-GB"/>
                </a:p>
              </p:txBody>
            </p:sp>
            <p:sp>
              <p:nvSpPr>
                <p:cNvPr id="4208" name="Vrije vorm: vorm 4207">
                  <a:extLst>
                    <a:ext uri="{FF2B5EF4-FFF2-40B4-BE49-F238E27FC236}">
                      <a16:creationId xmlns:a16="http://schemas.microsoft.com/office/drawing/2014/main" id="{401B2643-6110-41D6-8310-DD3FA42B99EF}"/>
                    </a:ext>
                  </a:extLst>
                </p:cNvPr>
                <p:cNvSpPr/>
                <p:nvPr/>
              </p:nvSpPr>
              <p:spPr>
                <a:xfrm>
                  <a:off x="6685437" y="1807992"/>
                  <a:ext cx="18326" cy="18461"/>
                </a:xfrm>
                <a:custGeom>
                  <a:avLst/>
                  <a:gdLst>
                    <a:gd name="connsiteX0" fmla="*/ 671 w 18326"/>
                    <a:gd name="connsiteY0" fmla="*/ 5762 h 18461"/>
                    <a:gd name="connsiteX1" fmla="*/ 5755 w 18326"/>
                    <a:gd name="connsiteY1" fmla="*/ 17783 h 18461"/>
                    <a:gd name="connsiteX2" fmla="*/ 17656 w 18326"/>
                    <a:gd name="connsiteY2" fmla="*/ 12700 h 18461"/>
                    <a:gd name="connsiteX3" fmla="*/ 12572 w 18326"/>
                    <a:gd name="connsiteY3" fmla="*/ 679 h 18461"/>
                    <a:gd name="connsiteX4" fmla="*/ 671 w 18326"/>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671" y="5762"/>
                      </a:moveTo>
                      <a:cubicBezTo>
                        <a:pt x="-1243" y="10487"/>
                        <a:pt x="1089" y="15870"/>
                        <a:pt x="5755" y="17783"/>
                      </a:cubicBezTo>
                      <a:cubicBezTo>
                        <a:pt x="10419" y="19697"/>
                        <a:pt x="15802" y="17425"/>
                        <a:pt x="17656" y="12700"/>
                      </a:cubicBezTo>
                      <a:cubicBezTo>
                        <a:pt x="19570" y="7975"/>
                        <a:pt x="17237" y="2592"/>
                        <a:pt x="12572" y="679"/>
                      </a:cubicBezTo>
                      <a:cubicBezTo>
                        <a:pt x="7908" y="-1235"/>
                        <a:pt x="2585" y="1037"/>
                        <a:pt x="671" y="5762"/>
                      </a:cubicBezTo>
                      <a:close/>
                    </a:path>
                  </a:pathLst>
                </a:custGeom>
                <a:grpFill/>
                <a:ln w="5978" cap="flat">
                  <a:noFill/>
                  <a:prstDash val="solid"/>
                  <a:miter/>
                </a:ln>
              </p:spPr>
              <p:txBody>
                <a:bodyPr rtlCol="0" anchor="ctr"/>
                <a:lstStyle/>
                <a:p>
                  <a:endParaRPr lang="en-GB"/>
                </a:p>
              </p:txBody>
            </p:sp>
          </p:grpSp>
          <p:grpSp>
            <p:nvGrpSpPr>
              <p:cNvPr id="393" name="Graphic 3">
                <a:extLst>
                  <a:ext uri="{FF2B5EF4-FFF2-40B4-BE49-F238E27FC236}">
                    <a16:creationId xmlns:a16="http://schemas.microsoft.com/office/drawing/2014/main" id="{E89A07AE-A8E3-440D-AD60-992E7528A431}"/>
                  </a:ext>
                </a:extLst>
              </p:cNvPr>
              <p:cNvGrpSpPr/>
              <p:nvPr/>
            </p:nvGrpSpPr>
            <p:grpSpPr>
              <a:xfrm>
                <a:off x="6706727" y="1611113"/>
                <a:ext cx="114917" cy="247510"/>
                <a:chOff x="6706727" y="1611113"/>
                <a:chExt cx="114917" cy="247510"/>
              </a:xfrm>
              <a:grpFill/>
            </p:grpSpPr>
            <p:sp>
              <p:nvSpPr>
                <p:cNvPr id="4203" name="Vrije vorm: vorm 4202">
                  <a:extLst>
                    <a:ext uri="{FF2B5EF4-FFF2-40B4-BE49-F238E27FC236}">
                      <a16:creationId xmlns:a16="http://schemas.microsoft.com/office/drawing/2014/main" id="{F5ADABF2-C012-4643-B110-102DEDF3F114}"/>
                    </a:ext>
                  </a:extLst>
                </p:cNvPr>
                <p:cNvSpPr/>
                <p:nvPr/>
              </p:nvSpPr>
              <p:spPr>
                <a:xfrm>
                  <a:off x="6714277" y="1619261"/>
                  <a:ext cx="99758" cy="231214"/>
                </a:xfrm>
                <a:custGeom>
                  <a:avLst/>
                  <a:gdLst>
                    <a:gd name="connsiteX0" fmla="*/ 99758 w 99758"/>
                    <a:gd name="connsiteY0" fmla="*/ 1196 h 231214"/>
                    <a:gd name="connsiteX1" fmla="*/ 2811 w 99758"/>
                    <a:gd name="connsiteY1" fmla="*/ 231215 h 231214"/>
                    <a:gd name="connsiteX2" fmla="*/ 0 w 99758"/>
                    <a:gd name="connsiteY2" fmla="*/ 230018 h 231214"/>
                    <a:gd name="connsiteX3" fmla="*/ 96947 w 99758"/>
                    <a:gd name="connsiteY3" fmla="*/ 0 h 231214"/>
                  </a:gdLst>
                  <a:ahLst/>
                  <a:cxnLst>
                    <a:cxn ang="0">
                      <a:pos x="connsiteX0" y="connsiteY0"/>
                    </a:cxn>
                    <a:cxn ang="0">
                      <a:pos x="connsiteX1" y="connsiteY1"/>
                    </a:cxn>
                    <a:cxn ang="0">
                      <a:pos x="connsiteX2" y="connsiteY2"/>
                    </a:cxn>
                    <a:cxn ang="0">
                      <a:pos x="connsiteX3" y="connsiteY3"/>
                    </a:cxn>
                  </a:cxnLst>
                  <a:rect l="l" t="t" r="r" b="b"/>
                  <a:pathLst>
                    <a:path w="99758" h="231214">
                      <a:moveTo>
                        <a:pt x="99758" y="1196"/>
                      </a:moveTo>
                      <a:lnTo>
                        <a:pt x="2811" y="231215"/>
                      </a:lnTo>
                      <a:lnTo>
                        <a:pt x="0" y="230018"/>
                      </a:lnTo>
                      <a:lnTo>
                        <a:pt x="96947" y="0"/>
                      </a:lnTo>
                      <a:close/>
                    </a:path>
                  </a:pathLst>
                </a:custGeom>
                <a:grpFill/>
                <a:ln w="5978" cap="flat">
                  <a:noFill/>
                  <a:prstDash val="solid"/>
                  <a:miter/>
                </a:ln>
              </p:spPr>
              <p:txBody>
                <a:bodyPr rtlCol="0" anchor="ctr"/>
                <a:lstStyle/>
                <a:p>
                  <a:endParaRPr lang="en-GB"/>
                </a:p>
              </p:txBody>
            </p:sp>
            <p:sp>
              <p:nvSpPr>
                <p:cNvPr id="4204" name="Vrije vorm: vorm 4203">
                  <a:extLst>
                    <a:ext uri="{FF2B5EF4-FFF2-40B4-BE49-F238E27FC236}">
                      <a16:creationId xmlns:a16="http://schemas.microsoft.com/office/drawing/2014/main" id="{F4EABB77-A5EE-4D94-A1D4-B52D534DDCC7}"/>
                    </a:ext>
                  </a:extLst>
                </p:cNvPr>
                <p:cNvSpPr/>
                <p:nvPr/>
              </p:nvSpPr>
              <p:spPr>
                <a:xfrm>
                  <a:off x="6803316" y="1611113"/>
                  <a:ext cx="18329" cy="18388"/>
                </a:xfrm>
                <a:custGeom>
                  <a:avLst/>
                  <a:gdLst>
                    <a:gd name="connsiteX0" fmla="*/ 732 w 18329"/>
                    <a:gd name="connsiteY0" fmla="*/ 5576 h 18388"/>
                    <a:gd name="connsiteX1" fmla="*/ 12753 w 18329"/>
                    <a:gd name="connsiteY1" fmla="*/ 732 h 18388"/>
                    <a:gd name="connsiteX2" fmla="*/ 17597 w 18329"/>
                    <a:gd name="connsiteY2" fmla="*/ 12813 h 18388"/>
                    <a:gd name="connsiteX3" fmla="*/ 5576 w 18329"/>
                    <a:gd name="connsiteY3" fmla="*/ 17657 h 18388"/>
                    <a:gd name="connsiteX4" fmla="*/ 732 w 18329"/>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88">
                      <a:moveTo>
                        <a:pt x="732" y="5576"/>
                      </a:moveTo>
                      <a:cubicBezTo>
                        <a:pt x="2705" y="911"/>
                        <a:pt x="8088" y="-1242"/>
                        <a:pt x="12753" y="732"/>
                      </a:cubicBezTo>
                      <a:cubicBezTo>
                        <a:pt x="17418" y="2705"/>
                        <a:pt x="19571" y="8148"/>
                        <a:pt x="17597" y="12813"/>
                      </a:cubicBezTo>
                      <a:cubicBezTo>
                        <a:pt x="15624" y="17478"/>
                        <a:pt x="10241" y="19631"/>
                        <a:pt x="5576" y="17657"/>
                      </a:cubicBezTo>
                      <a:cubicBezTo>
                        <a:pt x="911" y="15684"/>
                        <a:pt x="-1242" y="10241"/>
                        <a:pt x="732" y="5576"/>
                      </a:cubicBezTo>
                      <a:close/>
                    </a:path>
                  </a:pathLst>
                </a:custGeom>
                <a:grpFill/>
                <a:ln w="5978" cap="flat">
                  <a:noFill/>
                  <a:prstDash val="solid"/>
                  <a:miter/>
                </a:ln>
              </p:spPr>
              <p:txBody>
                <a:bodyPr rtlCol="0" anchor="ctr"/>
                <a:lstStyle/>
                <a:p>
                  <a:endParaRPr lang="en-GB"/>
                </a:p>
              </p:txBody>
            </p:sp>
            <p:sp>
              <p:nvSpPr>
                <p:cNvPr id="4205" name="Vrije vorm: vorm 4204">
                  <a:extLst>
                    <a:ext uri="{FF2B5EF4-FFF2-40B4-BE49-F238E27FC236}">
                      <a16:creationId xmlns:a16="http://schemas.microsoft.com/office/drawing/2014/main" id="{D1C61252-F64E-4850-893F-15966C4C6FF7}"/>
                    </a:ext>
                  </a:extLst>
                </p:cNvPr>
                <p:cNvSpPr/>
                <p:nvPr/>
              </p:nvSpPr>
              <p:spPr>
                <a:xfrm>
                  <a:off x="6706727" y="1840234"/>
                  <a:ext cx="18329" cy="18388"/>
                </a:xfrm>
                <a:custGeom>
                  <a:avLst/>
                  <a:gdLst>
                    <a:gd name="connsiteX0" fmla="*/ 732 w 18329"/>
                    <a:gd name="connsiteY0" fmla="*/ 5576 h 18388"/>
                    <a:gd name="connsiteX1" fmla="*/ 5576 w 18329"/>
                    <a:gd name="connsiteY1" fmla="*/ 17657 h 18388"/>
                    <a:gd name="connsiteX2" fmla="*/ 17597 w 18329"/>
                    <a:gd name="connsiteY2" fmla="*/ 12813 h 18388"/>
                    <a:gd name="connsiteX3" fmla="*/ 12753 w 18329"/>
                    <a:gd name="connsiteY3" fmla="*/ 732 h 18388"/>
                    <a:gd name="connsiteX4" fmla="*/ 732 w 18329"/>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88">
                      <a:moveTo>
                        <a:pt x="732" y="5576"/>
                      </a:moveTo>
                      <a:cubicBezTo>
                        <a:pt x="-1242" y="10241"/>
                        <a:pt x="911" y="15684"/>
                        <a:pt x="5576" y="17657"/>
                      </a:cubicBezTo>
                      <a:cubicBezTo>
                        <a:pt x="10241" y="19631"/>
                        <a:pt x="15624" y="17478"/>
                        <a:pt x="17597" y="12813"/>
                      </a:cubicBezTo>
                      <a:cubicBezTo>
                        <a:pt x="19571" y="8148"/>
                        <a:pt x="17418" y="2705"/>
                        <a:pt x="12753" y="732"/>
                      </a:cubicBezTo>
                      <a:cubicBezTo>
                        <a:pt x="8028" y="-1242"/>
                        <a:pt x="2705" y="911"/>
                        <a:pt x="732" y="5576"/>
                      </a:cubicBezTo>
                      <a:close/>
                    </a:path>
                  </a:pathLst>
                </a:custGeom>
                <a:grpFill/>
                <a:ln w="5978" cap="flat">
                  <a:noFill/>
                  <a:prstDash val="solid"/>
                  <a:miter/>
                </a:ln>
              </p:spPr>
              <p:txBody>
                <a:bodyPr rtlCol="0" anchor="ctr"/>
                <a:lstStyle/>
                <a:p>
                  <a:endParaRPr lang="en-GB"/>
                </a:p>
              </p:txBody>
            </p:sp>
          </p:grpSp>
          <p:grpSp>
            <p:nvGrpSpPr>
              <p:cNvPr id="394" name="Graphic 3">
                <a:extLst>
                  <a:ext uri="{FF2B5EF4-FFF2-40B4-BE49-F238E27FC236}">
                    <a16:creationId xmlns:a16="http://schemas.microsoft.com/office/drawing/2014/main" id="{3750BCE0-30AE-42A5-B2DB-0F48F14B72AF}"/>
                  </a:ext>
                </a:extLst>
              </p:cNvPr>
              <p:cNvGrpSpPr/>
              <p:nvPr/>
            </p:nvGrpSpPr>
            <p:grpSpPr>
              <a:xfrm>
                <a:off x="6695271" y="1582461"/>
                <a:ext cx="20990" cy="25813"/>
                <a:chOff x="6695271" y="1582461"/>
                <a:chExt cx="20990" cy="25813"/>
              </a:xfrm>
              <a:grpFill/>
            </p:grpSpPr>
            <p:sp>
              <p:nvSpPr>
                <p:cNvPr id="4201" name="Vrije vorm: vorm 4200">
                  <a:extLst>
                    <a:ext uri="{FF2B5EF4-FFF2-40B4-BE49-F238E27FC236}">
                      <a16:creationId xmlns:a16="http://schemas.microsoft.com/office/drawing/2014/main" id="{01E8C826-227B-4FB9-86B6-AE158601E8D6}"/>
                    </a:ext>
                  </a:extLst>
                </p:cNvPr>
                <p:cNvSpPr/>
                <p:nvPr/>
              </p:nvSpPr>
              <p:spPr>
                <a:xfrm>
                  <a:off x="6695271" y="1589877"/>
                  <a:ext cx="18335" cy="18397"/>
                </a:xfrm>
                <a:custGeom>
                  <a:avLst/>
                  <a:gdLst>
                    <a:gd name="connsiteX0" fmla="*/ 526 w 18335"/>
                    <a:gd name="connsiteY0" fmla="*/ 6059 h 18397"/>
                    <a:gd name="connsiteX1" fmla="*/ 12248 w 18335"/>
                    <a:gd name="connsiteY1" fmla="*/ 557 h 18397"/>
                    <a:gd name="connsiteX2" fmla="*/ 17810 w 18335"/>
                    <a:gd name="connsiteY2" fmla="*/ 12339 h 18397"/>
                    <a:gd name="connsiteX3" fmla="*/ 6088 w 18335"/>
                    <a:gd name="connsiteY3" fmla="*/ 17841 h 18397"/>
                    <a:gd name="connsiteX4" fmla="*/ 526 w 18335"/>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7">
                      <a:moveTo>
                        <a:pt x="526" y="6059"/>
                      </a:moveTo>
                      <a:cubicBezTo>
                        <a:pt x="2260" y="1274"/>
                        <a:pt x="7464" y="-1178"/>
                        <a:pt x="12248" y="557"/>
                      </a:cubicBezTo>
                      <a:cubicBezTo>
                        <a:pt x="17033" y="2291"/>
                        <a:pt x="19485" y="7554"/>
                        <a:pt x="17810" y="12339"/>
                      </a:cubicBezTo>
                      <a:cubicBezTo>
                        <a:pt x="16076" y="17123"/>
                        <a:pt x="10873" y="19575"/>
                        <a:pt x="6088" y="17841"/>
                      </a:cubicBezTo>
                      <a:cubicBezTo>
                        <a:pt x="1303" y="16107"/>
                        <a:pt x="-1149" y="10843"/>
                        <a:pt x="526" y="6059"/>
                      </a:cubicBezTo>
                      <a:close/>
                    </a:path>
                  </a:pathLst>
                </a:custGeom>
                <a:grpFill/>
                <a:ln w="5978" cap="flat">
                  <a:noFill/>
                  <a:prstDash val="solid"/>
                  <a:miter/>
                </a:ln>
              </p:spPr>
              <p:txBody>
                <a:bodyPr rtlCol="0" anchor="ctr"/>
                <a:lstStyle/>
                <a:p>
                  <a:endParaRPr lang="en-GB"/>
                </a:p>
              </p:txBody>
            </p:sp>
            <p:sp>
              <p:nvSpPr>
                <p:cNvPr id="4202" name="Vrije vorm: vorm 4201">
                  <a:extLst>
                    <a:ext uri="{FF2B5EF4-FFF2-40B4-BE49-F238E27FC236}">
                      <a16:creationId xmlns:a16="http://schemas.microsoft.com/office/drawing/2014/main" id="{F26F49A6-72F8-486C-9B79-4A99515AE5A9}"/>
                    </a:ext>
                  </a:extLst>
                </p:cNvPr>
                <p:cNvSpPr/>
                <p:nvPr/>
              </p:nvSpPr>
              <p:spPr>
                <a:xfrm>
                  <a:off x="6697879" y="1582461"/>
                  <a:ext cx="18383" cy="18397"/>
                </a:xfrm>
                <a:custGeom>
                  <a:avLst/>
                  <a:gdLst>
                    <a:gd name="connsiteX0" fmla="*/ 549 w 18383"/>
                    <a:gd name="connsiteY0" fmla="*/ 6059 h 18397"/>
                    <a:gd name="connsiteX1" fmla="*/ 6111 w 18383"/>
                    <a:gd name="connsiteY1" fmla="*/ 17841 h 18397"/>
                    <a:gd name="connsiteX2" fmla="*/ 17834 w 18383"/>
                    <a:gd name="connsiteY2" fmla="*/ 12339 h 18397"/>
                    <a:gd name="connsiteX3" fmla="*/ 12272 w 18383"/>
                    <a:gd name="connsiteY3" fmla="*/ 557 h 18397"/>
                    <a:gd name="connsiteX4" fmla="*/ 549 w 18383"/>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397">
                      <a:moveTo>
                        <a:pt x="549" y="6059"/>
                      </a:moveTo>
                      <a:cubicBezTo>
                        <a:pt x="-1185" y="10843"/>
                        <a:pt x="1327" y="16107"/>
                        <a:pt x="6111" y="17841"/>
                      </a:cubicBezTo>
                      <a:cubicBezTo>
                        <a:pt x="10896" y="19575"/>
                        <a:pt x="16099" y="17123"/>
                        <a:pt x="17834" y="12339"/>
                      </a:cubicBezTo>
                      <a:cubicBezTo>
                        <a:pt x="19568" y="7554"/>
                        <a:pt x="17056" y="2291"/>
                        <a:pt x="12272" y="557"/>
                      </a:cubicBezTo>
                      <a:cubicBezTo>
                        <a:pt x="7547" y="-1178"/>
                        <a:pt x="2284" y="1274"/>
                        <a:pt x="549" y="6059"/>
                      </a:cubicBezTo>
                      <a:close/>
                    </a:path>
                  </a:pathLst>
                </a:custGeom>
                <a:grpFill/>
                <a:ln w="5978" cap="flat">
                  <a:noFill/>
                  <a:prstDash val="solid"/>
                  <a:miter/>
                </a:ln>
              </p:spPr>
              <p:txBody>
                <a:bodyPr rtlCol="0" anchor="ctr"/>
                <a:lstStyle/>
                <a:p>
                  <a:endParaRPr lang="en-GB"/>
                </a:p>
              </p:txBody>
            </p:sp>
          </p:grpSp>
          <p:grpSp>
            <p:nvGrpSpPr>
              <p:cNvPr id="395" name="Graphic 3">
                <a:extLst>
                  <a:ext uri="{FF2B5EF4-FFF2-40B4-BE49-F238E27FC236}">
                    <a16:creationId xmlns:a16="http://schemas.microsoft.com/office/drawing/2014/main" id="{CA72554D-2B8E-472E-9FA6-1F3CE24DAD0C}"/>
                  </a:ext>
                </a:extLst>
              </p:cNvPr>
              <p:cNvGrpSpPr/>
              <p:nvPr/>
            </p:nvGrpSpPr>
            <p:grpSpPr>
              <a:xfrm>
                <a:off x="7551636" y="4292639"/>
                <a:ext cx="165272" cy="104791"/>
                <a:chOff x="7551636" y="4292639"/>
                <a:chExt cx="165272" cy="104791"/>
              </a:xfrm>
              <a:grpFill/>
            </p:grpSpPr>
            <p:sp>
              <p:nvSpPr>
                <p:cNvPr id="4198" name="Vrije vorm: vorm 4197">
                  <a:extLst>
                    <a:ext uri="{FF2B5EF4-FFF2-40B4-BE49-F238E27FC236}">
                      <a16:creationId xmlns:a16="http://schemas.microsoft.com/office/drawing/2014/main" id="{36A2D180-1874-455A-AD17-DCB68520F196}"/>
                    </a:ext>
                  </a:extLst>
                </p:cNvPr>
                <p:cNvSpPr/>
                <p:nvPr/>
              </p:nvSpPr>
              <p:spPr>
                <a:xfrm>
                  <a:off x="7559652" y="4300298"/>
                  <a:ext cx="149278" cy="89471"/>
                </a:xfrm>
                <a:custGeom>
                  <a:avLst/>
                  <a:gdLst>
                    <a:gd name="connsiteX0" fmla="*/ 149279 w 149278"/>
                    <a:gd name="connsiteY0" fmla="*/ 86780 h 89471"/>
                    <a:gd name="connsiteX1" fmla="*/ 147724 w 149278"/>
                    <a:gd name="connsiteY1" fmla="*/ 89472 h 89471"/>
                    <a:gd name="connsiteX2" fmla="*/ 0 w 149278"/>
                    <a:gd name="connsiteY2" fmla="*/ 2632 h 89471"/>
                    <a:gd name="connsiteX3" fmla="*/ 1495 w 149278"/>
                    <a:gd name="connsiteY3" fmla="*/ 0 h 89471"/>
                  </a:gdLst>
                  <a:ahLst/>
                  <a:cxnLst>
                    <a:cxn ang="0">
                      <a:pos x="connsiteX0" y="connsiteY0"/>
                    </a:cxn>
                    <a:cxn ang="0">
                      <a:pos x="connsiteX1" y="connsiteY1"/>
                    </a:cxn>
                    <a:cxn ang="0">
                      <a:pos x="connsiteX2" y="connsiteY2"/>
                    </a:cxn>
                    <a:cxn ang="0">
                      <a:pos x="connsiteX3" y="connsiteY3"/>
                    </a:cxn>
                  </a:cxnLst>
                  <a:rect l="l" t="t" r="r" b="b"/>
                  <a:pathLst>
                    <a:path w="149278" h="89471">
                      <a:moveTo>
                        <a:pt x="149279" y="86780"/>
                      </a:moveTo>
                      <a:lnTo>
                        <a:pt x="147724" y="89472"/>
                      </a:lnTo>
                      <a:lnTo>
                        <a:pt x="0" y="2632"/>
                      </a:lnTo>
                      <a:lnTo>
                        <a:pt x="1495" y="0"/>
                      </a:lnTo>
                      <a:close/>
                    </a:path>
                  </a:pathLst>
                </a:custGeom>
                <a:grpFill/>
                <a:ln w="5978" cap="flat">
                  <a:noFill/>
                  <a:prstDash val="solid"/>
                  <a:miter/>
                </a:ln>
              </p:spPr>
              <p:txBody>
                <a:bodyPr rtlCol="0" anchor="ctr"/>
                <a:lstStyle/>
                <a:p>
                  <a:endParaRPr lang="en-GB"/>
                </a:p>
              </p:txBody>
            </p:sp>
            <p:sp>
              <p:nvSpPr>
                <p:cNvPr id="4199" name="Vrije vorm: vorm 4198">
                  <a:extLst>
                    <a:ext uri="{FF2B5EF4-FFF2-40B4-BE49-F238E27FC236}">
                      <a16:creationId xmlns:a16="http://schemas.microsoft.com/office/drawing/2014/main" id="{C06860D0-10B1-416F-9108-FDA888EE515A}"/>
                    </a:ext>
                  </a:extLst>
                </p:cNvPr>
                <p:cNvSpPr/>
                <p:nvPr/>
              </p:nvSpPr>
              <p:spPr>
                <a:xfrm>
                  <a:off x="7698621" y="4378987"/>
                  <a:ext cx="18286" cy="18442"/>
                </a:xfrm>
                <a:custGeom>
                  <a:avLst/>
                  <a:gdLst>
                    <a:gd name="connsiteX0" fmla="*/ 13718 w 18286"/>
                    <a:gd name="connsiteY0" fmla="*/ 1274 h 18442"/>
                    <a:gd name="connsiteX1" fmla="*/ 17068 w 18286"/>
                    <a:gd name="connsiteY1" fmla="*/ 13893 h 18442"/>
                    <a:gd name="connsiteX2" fmla="*/ 4568 w 18286"/>
                    <a:gd name="connsiteY2" fmla="*/ 17182 h 18442"/>
                    <a:gd name="connsiteX3" fmla="*/ 1219 w 18286"/>
                    <a:gd name="connsiteY3" fmla="*/ 4563 h 18442"/>
                    <a:gd name="connsiteX4" fmla="*/ 13718 w 18286"/>
                    <a:gd name="connsiteY4" fmla="*/ 127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442">
                      <a:moveTo>
                        <a:pt x="13718" y="1274"/>
                      </a:moveTo>
                      <a:cubicBezTo>
                        <a:pt x="18085" y="3845"/>
                        <a:pt x="19580" y="9467"/>
                        <a:pt x="17068" y="13893"/>
                      </a:cubicBezTo>
                      <a:cubicBezTo>
                        <a:pt x="14496" y="18259"/>
                        <a:pt x="8934" y="19754"/>
                        <a:pt x="4568" y="17182"/>
                      </a:cubicBezTo>
                      <a:cubicBezTo>
                        <a:pt x="202" y="14611"/>
                        <a:pt x="-1293" y="8989"/>
                        <a:pt x="1219" y="4563"/>
                      </a:cubicBezTo>
                      <a:cubicBezTo>
                        <a:pt x="3731" y="137"/>
                        <a:pt x="9352" y="-1298"/>
                        <a:pt x="13718" y="1274"/>
                      </a:cubicBezTo>
                      <a:close/>
                    </a:path>
                  </a:pathLst>
                </a:custGeom>
                <a:grpFill/>
                <a:ln w="5978" cap="flat">
                  <a:noFill/>
                  <a:prstDash val="solid"/>
                  <a:miter/>
                </a:ln>
              </p:spPr>
              <p:txBody>
                <a:bodyPr rtlCol="0" anchor="ctr"/>
                <a:lstStyle/>
                <a:p>
                  <a:endParaRPr lang="en-GB"/>
                </a:p>
              </p:txBody>
            </p:sp>
            <p:sp>
              <p:nvSpPr>
                <p:cNvPr id="4200" name="Vrije vorm: vorm 4199">
                  <a:extLst>
                    <a:ext uri="{FF2B5EF4-FFF2-40B4-BE49-F238E27FC236}">
                      <a16:creationId xmlns:a16="http://schemas.microsoft.com/office/drawing/2014/main" id="{0DEE3ED0-C686-4737-880A-E074AA6A183C}"/>
                    </a:ext>
                  </a:extLst>
                </p:cNvPr>
                <p:cNvSpPr/>
                <p:nvPr/>
              </p:nvSpPr>
              <p:spPr>
                <a:xfrm>
                  <a:off x="7551636" y="4292639"/>
                  <a:ext cx="18325" cy="18429"/>
                </a:xfrm>
                <a:custGeom>
                  <a:avLst/>
                  <a:gdLst>
                    <a:gd name="connsiteX0" fmla="*/ 13758 w 18325"/>
                    <a:gd name="connsiteY0" fmla="*/ 1260 h 18429"/>
                    <a:gd name="connsiteX1" fmla="*/ 1258 w 18325"/>
                    <a:gd name="connsiteY1" fmla="*/ 4550 h 18429"/>
                    <a:gd name="connsiteX2" fmla="*/ 4607 w 18325"/>
                    <a:gd name="connsiteY2" fmla="*/ 17169 h 18429"/>
                    <a:gd name="connsiteX3" fmla="*/ 17107 w 18325"/>
                    <a:gd name="connsiteY3" fmla="*/ 13880 h 18429"/>
                    <a:gd name="connsiteX4" fmla="*/ 13758 w 18325"/>
                    <a:gd name="connsiteY4" fmla="*/ 126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9">
                      <a:moveTo>
                        <a:pt x="13758" y="1260"/>
                      </a:moveTo>
                      <a:cubicBezTo>
                        <a:pt x="9392" y="-1311"/>
                        <a:pt x="3770" y="184"/>
                        <a:pt x="1258" y="4550"/>
                      </a:cubicBezTo>
                      <a:cubicBezTo>
                        <a:pt x="-1314" y="8916"/>
                        <a:pt x="182" y="14597"/>
                        <a:pt x="4607" y="17169"/>
                      </a:cubicBezTo>
                      <a:cubicBezTo>
                        <a:pt x="8973" y="19741"/>
                        <a:pt x="14595" y="18246"/>
                        <a:pt x="17107" y="13880"/>
                      </a:cubicBezTo>
                      <a:cubicBezTo>
                        <a:pt x="19619" y="9514"/>
                        <a:pt x="18124" y="3832"/>
                        <a:pt x="13758" y="1260"/>
                      </a:cubicBezTo>
                      <a:close/>
                    </a:path>
                  </a:pathLst>
                </a:custGeom>
                <a:grpFill/>
                <a:ln w="5978" cap="flat">
                  <a:noFill/>
                  <a:prstDash val="solid"/>
                  <a:miter/>
                </a:ln>
              </p:spPr>
              <p:txBody>
                <a:bodyPr rtlCol="0" anchor="ctr"/>
                <a:lstStyle/>
                <a:p>
                  <a:endParaRPr lang="en-GB"/>
                </a:p>
              </p:txBody>
            </p:sp>
          </p:grpSp>
          <p:grpSp>
            <p:nvGrpSpPr>
              <p:cNvPr id="396" name="Graphic 3">
                <a:extLst>
                  <a:ext uri="{FF2B5EF4-FFF2-40B4-BE49-F238E27FC236}">
                    <a16:creationId xmlns:a16="http://schemas.microsoft.com/office/drawing/2014/main" id="{3E9519CE-946E-4CDE-AD30-5AEA9CA0B21F}"/>
                  </a:ext>
                </a:extLst>
              </p:cNvPr>
              <p:cNvGrpSpPr/>
              <p:nvPr/>
            </p:nvGrpSpPr>
            <p:grpSpPr>
              <a:xfrm>
                <a:off x="7470087" y="4318633"/>
                <a:ext cx="373180" cy="290622"/>
                <a:chOff x="7470087" y="4318633"/>
                <a:chExt cx="373180" cy="290622"/>
              </a:xfrm>
              <a:grpFill/>
            </p:grpSpPr>
            <p:sp>
              <p:nvSpPr>
                <p:cNvPr id="4195" name="Vrije vorm: vorm 4194">
                  <a:extLst>
                    <a:ext uri="{FF2B5EF4-FFF2-40B4-BE49-F238E27FC236}">
                      <a16:creationId xmlns:a16="http://schemas.microsoft.com/office/drawing/2014/main" id="{D9A2BD47-6201-4838-B807-EE5B7AD89DF8}"/>
                    </a:ext>
                  </a:extLst>
                </p:cNvPr>
                <p:cNvSpPr/>
                <p:nvPr/>
              </p:nvSpPr>
              <p:spPr>
                <a:xfrm>
                  <a:off x="7477956" y="4326374"/>
                  <a:ext cx="357408" cy="275173"/>
                </a:xfrm>
                <a:custGeom>
                  <a:avLst/>
                  <a:gdLst>
                    <a:gd name="connsiteX0" fmla="*/ 357408 w 357408"/>
                    <a:gd name="connsiteY0" fmla="*/ 272721 h 275173"/>
                    <a:gd name="connsiteX1" fmla="*/ 355554 w 357408"/>
                    <a:gd name="connsiteY1" fmla="*/ 275173 h 275173"/>
                    <a:gd name="connsiteX2" fmla="*/ 0 w 357408"/>
                    <a:gd name="connsiteY2" fmla="*/ 2392 h 275173"/>
                    <a:gd name="connsiteX3" fmla="*/ 1854 w 357408"/>
                    <a:gd name="connsiteY3" fmla="*/ 0 h 275173"/>
                  </a:gdLst>
                  <a:ahLst/>
                  <a:cxnLst>
                    <a:cxn ang="0">
                      <a:pos x="connsiteX0" y="connsiteY0"/>
                    </a:cxn>
                    <a:cxn ang="0">
                      <a:pos x="connsiteX1" y="connsiteY1"/>
                    </a:cxn>
                    <a:cxn ang="0">
                      <a:pos x="connsiteX2" y="connsiteY2"/>
                    </a:cxn>
                    <a:cxn ang="0">
                      <a:pos x="connsiteX3" y="connsiteY3"/>
                    </a:cxn>
                  </a:cxnLst>
                  <a:rect l="l" t="t" r="r" b="b"/>
                  <a:pathLst>
                    <a:path w="357408" h="275173">
                      <a:moveTo>
                        <a:pt x="357408" y="272721"/>
                      </a:moveTo>
                      <a:lnTo>
                        <a:pt x="355554" y="275173"/>
                      </a:lnTo>
                      <a:lnTo>
                        <a:pt x="0" y="2392"/>
                      </a:lnTo>
                      <a:lnTo>
                        <a:pt x="1854" y="0"/>
                      </a:lnTo>
                      <a:close/>
                    </a:path>
                  </a:pathLst>
                </a:custGeom>
                <a:grpFill/>
                <a:ln w="5978" cap="flat">
                  <a:noFill/>
                  <a:prstDash val="solid"/>
                  <a:miter/>
                </a:ln>
              </p:spPr>
              <p:txBody>
                <a:bodyPr rtlCol="0" anchor="ctr"/>
                <a:lstStyle/>
                <a:p>
                  <a:endParaRPr lang="en-GB"/>
                </a:p>
              </p:txBody>
            </p:sp>
            <p:sp>
              <p:nvSpPr>
                <p:cNvPr id="4196" name="Vrije vorm: vorm 4195">
                  <a:extLst>
                    <a:ext uri="{FF2B5EF4-FFF2-40B4-BE49-F238E27FC236}">
                      <a16:creationId xmlns:a16="http://schemas.microsoft.com/office/drawing/2014/main" id="{6133DA42-72C8-4658-AAA5-7EE9F1FE1713}"/>
                    </a:ext>
                  </a:extLst>
                </p:cNvPr>
                <p:cNvSpPr/>
                <p:nvPr/>
              </p:nvSpPr>
              <p:spPr>
                <a:xfrm>
                  <a:off x="7470087" y="4318633"/>
                  <a:ext cx="18369" cy="18439"/>
                </a:xfrm>
                <a:custGeom>
                  <a:avLst/>
                  <a:gdLst>
                    <a:gd name="connsiteX0" fmla="*/ 3623 w 18369"/>
                    <a:gd name="connsiteY0" fmla="*/ 16534 h 18439"/>
                    <a:gd name="connsiteX1" fmla="*/ 1888 w 18369"/>
                    <a:gd name="connsiteY1" fmla="*/ 3615 h 18439"/>
                    <a:gd name="connsiteX2" fmla="*/ 14747 w 18369"/>
                    <a:gd name="connsiteY2" fmla="*/ 1881 h 18439"/>
                    <a:gd name="connsiteX3" fmla="*/ 16481 w 18369"/>
                    <a:gd name="connsiteY3" fmla="*/ 14799 h 18439"/>
                    <a:gd name="connsiteX4" fmla="*/ 3623 w 18369"/>
                    <a:gd name="connsiteY4" fmla="*/ 165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39">
                      <a:moveTo>
                        <a:pt x="3623" y="16534"/>
                      </a:moveTo>
                      <a:cubicBezTo>
                        <a:pt x="-384" y="13423"/>
                        <a:pt x="-1222" y="7682"/>
                        <a:pt x="1888" y="3615"/>
                      </a:cubicBezTo>
                      <a:cubicBezTo>
                        <a:pt x="4939" y="-452"/>
                        <a:pt x="10680" y="-1170"/>
                        <a:pt x="14747" y="1881"/>
                      </a:cubicBezTo>
                      <a:cubicBezTo>
                        <a:pt x="18754" y="4991"/>
                        <a:pt x="19591" y="10732"/>
                        <a:pt x="16481" y="14799"/>
                      </a:cubicBezTo>
                      <a:cubicBezTo>
                        <a:pt x="13372" y="18866"/>
                        <a:pt x="7630" y="19643"/>
                        <a:pt x="3623" y="16534"/>
                      </a:cubicBezTo>
                      <a:close/>
                    </a:path>
                  </a:pathLst>
                </a:custGeom>
                <a:grpFill/>
                <a:ln w="5978" cap="flat">
                  <a:noFill/>
                  <a:prstDash val="solid"/>
                  <a:miter/>
                </a:ln>
              </p:spPr>
              <p:txBody>
                <a:bodyPr rtlCol="0" anchor="ctr"/>
                <a:lstStyle/>
                <a:p>
                  <a:endParaRPr lang="en-GB"/>
                </a:p>
              </p:txBody>
            </p:sp>
            <p:sp>
              <p:nvSpPr>
                <p:cNvPr id="4197" name="Vrije vorm: vorm 4196">
                  <a:extLst>
                    <a:ext uri="{FF2B5EF4-FFF2-40B4-BE49-F238E27FC236}">
                      <a16:creationId xmlns:a16="http://schemas.microsoft.com/office/drawing/2014/main" id="{CD4CCB30-ACB6-4EF7-BFEF-372A211AC2B0}"/>
                    </a:ext>
                  </a:extLst>
                </p:cNvPr>
                <p:cNvSpPr/>
                <p:nvPr/>
              </p:nvSpPr>
              <p:spPr>
                <a:xfrm>
                  <a:off x="7824905" y="4590790"/>
                  <a:ext cx="18362" cy="18464"/>
                </a:xfrm>
                <a:custGeom>
                  <a:avLst/>
                  <a:gdLst>
                    <a:gd name="connsiteX0" fmla="*/ 3641 w 18362"/>
                    <a:gd name="connsiteY0" fmla="*/ 16559 h 18464"/>
                    <a:gd name="connsiteX1" fmla="*/ 16500 w 18362"/>
                    <a:gd name="connsiteY1" fmla="*/ 14824 h 18464"/>
                    <a:gd name="connsiteX2" fmla="*/ 14765 w 18362"/>
                    <a:gd name="connsiteY2" fmla="*/ 1906 h 18464"/>
                    <a:gd name="connsiteX3" fmla="*/ 1906 w 18362"/>
                    <a:gd name="connsiteY3" fmla="*/ 3641 h 18464"/>
                    <a:gd name="connsiteX4" fmla="*/ 3641 w 18362"/>
                    <a:gd name="connsiteY4" fmla="*/ 1655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64">
                      <a:moveTo>
                        <a:pt x="3641" y="16559"/>
                      </a:moveTo>
                      <a:cubicBezTo>
                        <a:pt x="7648" y="19669"/>
                        <a:pt x="13449" y="18891"/>
                        <a:pt x="16500" y="14824"/>
                      </a:cubicBezTo>
                      <a:cubicBezTo>
                        <a:pt x="19550" y="10758"/>
                        <a:pt x="18772" y="5016"/>
                        <a:pt x="14765" y="1906"/>
                      </a:cubicBezTo>
                      <a:cubicBezTo>
                        <a:pt x="10758" y="-1204"/>
                        <a:pt x="4956" y="-426"/>
                        <a:pt x="1906" y="3641"/>
                      </a:cubicBezTo>
                      <a:cubicBezTo>
                        <a:pt x="-1204" y="7707"/>
                        <a:pt x="-426" y="13509"/>
                        <a:pt x="3641" y="16559"/>
                      </a:cubicBezTo>
                      <a:close/>
                    </a:path>
                  </a:pathLst>
                </a:custGeom>
                <a:grpFill/>
                <a:ln w="5978" cap="flat">
                  <a:noFill/>
                  <a:prstDash val="solid"/>
                  <a:miter/>
                </a:ln>
              </p:spPr>
              <p:txBody>
                <a:bodyPr rtlCol="0" anchor="ctr"/>
                <a:lstStyle/>
                <a:p>
                  <a:endParaRPr lang="en-GB"/>
                </a:p>
              </p:txBody>
            </p:sp>
          </p:grpSp>
          <p:grpSp>
            <p:nvGrpSpPr>
              <p:cNvPr id="397" name="Graphic 3">
                <a:extLst>
                  <a:ext uri="{FF2B5EF4-FFF2-40B4-BE49-F238E27FC236}">
                    <a16:creationId xmlns:a16="http://schemas.microsoft.com/office/drawing/2014/main" id="{AB4DFC5C-4585-436C-B154-67C570FBB0B5}"/>
                  </a:ext>
                </a:extLst>
              </p:cNvPr>
              <p:cNvGrpSpPr/>
              <p:nvPr/>
            </p:nvGrpSpPr>
            <p:grpSpPr>
              <a:xfrm>
                <a:off x="6600860" y="1342570"/>
                <a:ext cx="115449" cy="326173"/>
                <a:chOff x="6600860" y="1342570"/>
                <a:chExt cx="115449" cy="326173"/>
              </a:xfrm>
              <a:grpFill/>
            </p:grpSpPr>
            <p:sp>
              <p:nvSpPr>
                <p:cNvPr id="4192" name="Vrije vorm: vorm 4191">
                  <a:extLst>
                    <a:ext uri="{FF2B5EF4-FFF2-40B4-BE49-F238E27FC236}">
                      <a16:creationId xmlns:a16="http://schemas.microsoft.com/office/drawing/2014/main" id="{AE9CAC2A-BBBA-4B8B-BCF0-FE8671A82109}"/>
                    </a:ext>
                  </a:extLst>
                </p:cNvPr>
                <p:cNvSpPr/>
                <p:nvPr/>
              </p:nvSpPr>
              <p:spPr>
                <a:xfrm>
                  <a:off x="6608418" y="1350906"/>
                  <a:ext cx="100296" cy="309502"/>
                </a:xfrm>
                <a:custGeom>
                  <a:avLst/>
                  <a:gdLst>
                    <a:gd name="connsiteX0" fmla="*/ 100297 w 100296"/>
                    <a:gd name="connsiteY0" fmla="*/ 897 h 309502"/>
                    <a:gd name="connsiteX1" fmla="*/ 2930 w 100296"/>
                    <a:gd name="connsiteY1" fmla="*/ 309502 h 309502"/>
                    <a:gd name="connsiteX2" fmla="*/ 0 w 100296"/>
                    <a:gd name="connsiteY2" fmla="*/ 308545 h 309502"/>
                    <a:gd name="connsiteX3" fmla="*/ 97426 w 100296"/>
                    <a:gd name="connsiteY3" fmla="*/ 0 h 309502"/>
                  </a:gdLst>
                  <a:ahLst/>
                  <a:cxnLst>
                    <a:cxn ang="0">
                      <a:pos x="connsiteX0" y="connsiteY0"/>
                    </a:cxn>
                    <a:cxn ang="0">
                      <a:pos x="connsiteX1" y="connsiteY1"/>
                    </a:cxn>
                    <a:cxn ang="0">
                      <a:pos x="connsiteX2" y="connsiteY2"/>
                    </a:cxn>
                    <a:cxn ang="0">
                      <a:pos x="connsiteX3" y="connsiteY3"/>
                    </a:cxn>
                  </a:cxnLst>
                  <a:rect l="l" t="t" r="r" b="b"/>
                  <a:pathLst>
                    <a:path w="100296" h="309502">
                      <a:moveTo>
                        <a:pt x="100297" y="897"/>
                      </a:moveTo>
                      <a:lnTo>
                        <a:pt x="2930" y="309502"/>
                      </a:lnTo>
                      <a:lnTo>
                        <a:pt x="0" y="308545"/>
                      </a:lnTo>
                      <a:lnTo>
                        <a:pt x="97426" y="0"/>
                      </a:lnTo>
                      <a:close/>
                    </a:path>
                  </a:pathLst>
                </a:custGeom>
                <a:grpFill/>
                <a:ln w="5978" cap="flat">
                  <a:noFill/>
                  <a:prstDash val="solid"/>
                  <a:miter/>
                </a:ln>
              </p:spPr>
              <p:txBody>
                <a:bodyPr rtlCol="0" anchor="ctr"/>
                <a:lstStyle/>
                <a:p>
                  <a:endParaRPr lang="en-GB"/>
                </a:p>
              </p:txBody>
            </p:sp>
            <p:sp>
              <p:nvSpPr>
                <p:cNvPr id="4193" name="Vrije vorm: vorm 4192">
                  <a:extLst>
                    <a:ext uri="{FF2B5EF4-FFF2-40B4-BE49-F238E27FC236}">
                      <a16:creationId xmlns:a16="http://schemas.microsoft.com/office/drawing/2014/main" id="{4A6A0DBF-EC1F-4FD2-8BD0-E6A2F2526F19}"/>
                    </a:ext>
                  </a:extLst>
                </p:cNvPr>
                <p:cNvSpPr/>
                <p:nvPr/>
              </p:nvSpPr>
              <p:spPr>
                <a:xfrm>
                  <a:off x="6697987" y="1342570"/>
                  <a:ext cx="18323" cy="18465"/>
                </a:xfrm>
                <a:custGeom>
                  <a:avLst/>
                  <a:gdLst>
                    <a:gd name="connsiteX0" fmla="*/ 441 w 18323"/>
                    <a:gd name="connsiteY0" fmla="*/ 6422 h 18465"/>
                    <a:gd name="connsiteX1" fmla="*/ 11924 w 18323"/>
                    <a:gd name="connsiteY1" fmla="*/ 441 h 18465"/>
                    <a:gd name="connsiteX2" fmla="*/ 17905 w 18323"/>
                    <a:gd name="connsiteY2" fmla="*/ 12043 h 18465"/>
                    <a:gd name="connsiteX3" fmla="*/ 6422 w 18323"/>
                    <a:gd name="connsiteY3" fmla="*/ 18024 h 18465"/>
                    <a:gd name="connsiteX4" fmla="*/ 441 w 18323"/>
                    <a:gd name="connsiteY4" fmla="*/ 642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65">
                      <a:moveTo>
                        <a:pt x="441" y="6422"/>
                      </a:moveTo>
                      <a:cubicBezTo>
                        <a:pt x="1996" y="1577"/>
                        <a:pt x="7139" y="-1114"/>
                        <a:pt x="11924" y="441"/>
                      </a:cubicBezTo>
                      <a:cubicBezTo>
                        <a:pt x="16769" y="1996"/>
                        <a:pt x="19400" y="7199"/>
                        <a:pt x="17905" y="12043"/>
                      </a:cubicBezTo>
                      <a:cubicBezTo>
                        <a:pt x="16350" y="16888"/>
                        <a:pt x="11206" y="19579"/>
                        <a:pt x="6422" y="18024"/>
                      </a:cubicBezTo>
                      <a:cubicBezTo>
                        <a:pt x="1577" y="16409"/>
                        <a:pt x="-1114" y="11266"/>
                        <a:pt x="441" y="6422"/>
                      </a:cubicBezTo>
                      <a:close/>
                    </a:path>
                  </a:pathLst>
                </a:custGeom>
                <a:grpFill/>
                <a:ln w="5978" cap="flat">
                  <a:noFill/>
                  <a:prstDash val="solid"/>
                  <a:miter/>
                </a:ln>
              </p:spPr>
              <p:txBody>
                <a:bodyPr rtlCol="0" anchor="ctr"/>
                <a:lstStyle/>
                <a:p>
                  <a:endParaRPr lang="en-GB"/>
                </a:p>
              </p:txBody>
            </p:sp>
            <p:sp>
              <p:nvSpPr>
                <p:cNvPr id="4194" name="Vrije vorm: vorm 4193">
                  <a:extLst>
                    <a:ext uri="{FF2B5EF4-FFF2-40B4-BE49-F238E27FC236}">
                      <a16:creationId xmlns:a16="http://schemas.microsoft.com/office/drawing/2014/main" id="{ACE15AB1-6CD6-4EBF-B4F5-2D97F80D58AD}"/>
                    </a:ext>
                  </a:extLst>
                </p:cNvPr>
                <p:cNvSpPr/>
                <p:nvPr/>
              </p:nvSpPr>
              <p:spPr>
                <a:xfrm>
                  <a:off x="6600860" y="1650278"/>
                  <a:ext cx="18345" cy="18465"/>
                </a:xfrm>
                <a:custGeom>
                  <a:avLst/>
                  <a:gdLst>
                    <a:gd name="connsiteX0" fmla="*/ 441 w 18345"/>
                    <a:gd name="connsiteY0" fmla="*/ 6422 h 18465"/>
                    <a:gd name="connsiteX1" fmla="*/ 6422 w 18345"/>
                    <a:gd name="connsiteY1" fmla="*/ 18024 h 18465"/>
                    <a:gd name="connsiteX2" fmla="*/ 17905 w 18345"/>
                    <a:gd name="connsiteY2" fmla="*/ 12043 h 18465"/>
                    <a:gd name="connsiteX3" fmla="*/ 11924 w 18345"/>
                    <a:gd name="connsiteY3" fmla="*/ 441 h 18465"/>
                    <a:gd name="connsiteX4" fmla="*/ 441 w 18345"/>
                    <a:gd name="connsiteY4" fmla="*/ 642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5">
                      <a:moveTo>
                        <a:pt x="441" y="6422"/>
                      </a:moveTo>
                      <a:cubicBezTo>
                        <a:pt x="-1114" y="11266"/>
                        <a:pt x="1577" y="16469"/>
                        <a:pt x="6422" y="18024"/>
                      </a:cubicBezTo>
                      <a:cubicBezTo>
                        <a:pt x="11266" y="19579"/>
                        <a:pt x="16409" y="16888"/>
                        <a:pt x="17905" y="12043"/>
                      </a:cubicBezTo>
                      <a:cubicBezTo>
                        <a:pt x="19460" y="7199"/>
                        <a:pt x="16768" y="1996"/>
                        <a:pt x="11924" y="441"/>
                      </a:cubicBezTo>
                      <a:cubicBezTo>
                        <a:pt x="7079" y="-1114"/>
                        <a:pt x="1936" y="1577"/>
                        <a:pt x="441" y="6422"/>
                      </a:cubicBezTo>
                      <a:close/>
                    </a:path>
                  </a:pathLst>
                </a:custGeom>
                <a:grpFill/>
                <a:ln w="5978" cap="flat">
                  <a:noFill/>
                  <a:prstDash val="solid"/>
                  <a:miter/>
                </a:ln>
              </p:spPr>
              <p:txBody>
                <a:bodyPr rtlCol="0" anchor="ctr"/>
                <a:lstStyle/>
                <a:p>
                  <a:endParaRPr lang="en-GB"/>
                </a:p>
              </p:txBody>
            </p:sp>
          </p:grpSp>
          <p:grpSp>
            <p:nvGrpSpPr>
              <p:cNvPr id="398" name="Graphic 3">
                <a:extLst>
                  <a:ext uri="{FF2B5EF4-FFF2-40B4-BE49-F238E27FC236}">
                    <a16:creationId xmlns:a16="http://schemas.microsoft.com/office/drawing/2014/main" id="{3917DBA6-E86F-4A6B-A52C-0F62705E39D1}"/>
                  </a:ext>
                </a:extLst>
              </p:cNvPr>
              <p:cNvGrpSpPr/>
              <p:nvPr/>
            </p:nvGrpSpPr>
            <p:grpSpPr>
              <a:xfrm>
                <a:off x="6562226" y="1297767"/>
                <a:ext cx="211102" cy="495621"/>
                <a:chOff x="6562226" y="1297767"/>
                <a:chExt cx="211102" cy="495621"/>
              </a:xfrm>
              <a:grpFill/>
            </p:grpSpPr>
            <p:sp>
              <p:nvSpPr>
                <p:cNvPr id="4189" name="Vrije vorm: vorm 4188">
                  <a:extLst>
                    <a:ext uri="{FF2B5EF4-FFF2-40B4-BE49-F238E27FC236}">
                      <a16:creationId xmlns:a16="http://schemas.microsoft.com/office/drawing/2014/main" id="{E88B2711-8104-42A8-ABEA-CC6BB2DFF947}"/>
                    </a:ext>
                  </a:extLst>
                </p:cNvPr>
                <p:cNvSpPr/>
                <p:nvPr/>
              </p:nvSpPr>
              <p:spPr>
                <a:xfrm>
                  <a:off x="6569842" y="1305991"/>
                  <a:ext cx="195928" cy="479235"/>
                </a:xfrm>
                <a:custGeom>
                  <a:avLst/>
                  <a:gdLst>
                    <a:gd name="connsiteX0" fmla="*/ 195929 w 195928"/>
                    <a:gd name="connsiteY0" fmla="*/ 1136 h 479235"/>
                    <a:gd name="connsiteX1" fmla="*/ 2811 w 195928"/>
                    <a:gd name="connsiteY1" fmla="*/ 479235 h 479235"/>
                    <a:gd name="connsiteX2" fmla="*/ 0 w 195928"/>
                    <a:gd name="connsiteY2" fmla="*/ 478039 h 479235"/>
                    <a:gd name="connsiteX3" fmla="*/ 193118 w 195928"/>
                    <a:gd name="connsiteY3" fmla="*/ 0 h 479235"/>
                  </a:gdLst>
                  <a:ahLst/>
                  <a:cxnLst>
                    <a:cxn ang="0">
                      <a:pos x="connsiteX0" y="connsiteY0"/>
                    </a:cxn>
                    <a:cxn ang="0">
                      <a:pos x="connsiteX1" y="connsiteY1"/>
                    </a:cxn>
                    <a:cxn ang="0">
                      <a:pos x="connsiteX2" y="connsiteY2"/>
                    </a:cxn>
                    <a:cxn ang="0">
                      <a:pos x="connsiteX3" y="connsiteY3"/>
                    </a:cxn>
                  </a:cxnLst>
                  <a:rect l="l" t="t" r="r" b="b"/>
                  <a:pathLst>
                    <a:path w="195928" h="479235">
                      <a:moveTo>
                        <a:pt x="195929" y="1136"/>
                      </a:moveTo>
                      <a:lnTo>
                        <a:pt x="2811" y="479235"/>
                      </a:lnTo>
                      <a:lnTo>
                        <a:pt x="0" y="478039"/>
                      </a:lnTo>
                      <a:lnTo>
                        <a:pt x="193118" y="0"/>
                      </a:lnTo>
                      <a:close/>
                    </a:path>
                  </a:pathLst>
                </a:custGeom>
                <a:grpFill/>
                <a:ln w="5978" cap="flat">
                  <a:noFill/>
                  <a:prstDash val="solid"/>
                  <a:miter/>
                </a:ln>
              </p:spPr>
              <p:txBody>
                <a:bodyPr rtlCol="0" anchor="ctr"/>
                <a:lstStyle/>
                <a:p>
                  <a:endParaRPr lang="en-GB"/>
                </a:p>
              </p:txBody>
            </p:sp>
            <p:sp>
              <p:nvSpPr>
                <p:cNvPr id="4190" name="Vrije vorm: vorm 4189">
                  <a:extLst>
                    <a:ext uri="{FF2B5EF4-FFF2-40B4-BE49-F238E27FC236}">
                      <a16:creationId xmlns:a16="http://schemas.microsoft.com/office/drawing/2014/main" id="{0EFF4230-7CBA-405F-94AE-10701A3BA814}"/>
                    </a:ext>
                  </a:extLst>
                </p:cNvPr>
                <p:cNvSpPr/>
                <p:nvPr/>
              </p:nvSpPr>
              <p:spPr>
                <a:xfrm>
                  <a:off x="6562226" y="1774969"/>
                  <a:ext cx="18343" cy="18419"/>
                </a:xfrm>
                <a:custGeom>
                  <a:avLst/>
                  <a:gdLst>
                    <a:gd name="connsiteX0" fmla="*/ 17664 w 18343"/>
                    <a:gd name="connsiteY0" fmla="*/ 12709 h 18419"/>
                    <a:gd name="connsiteX1" fmla="*/ 5703 w 18343"/>
                    <a:gd name="connsiteY1" fmla="*/ 17732 h 18419"/>
                    <a:gd name="connsiteX2" fmla="*/ 679 w 18343"/>
                    <a:gd name="connsiteY2" fmla="*/ 5711 h 18419"/>
                    <a:gd name="connsiteX3" fmla="*/ 12641 w 18343"/>
                    <a:gd name="connsiteY3" fmla="*/ 687 h 18419"/>
                    <a:gd name="connsiteX4" fmla="*/ 17664 w 18343"/>
                    <a:gd name="connsiteY4" fmla="*/ 12709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9">
                      <a:moveTo>
                        <a:pt x="17664" y="12709"/>
                      </a:moveTo>
                      <a:cubicBezTo>
                        <a:pt x="15751" y="17433"/>
                        <a:pt x="10428" y="19646"/>
                        <a:pt x="5703" y="17732"/>
                      </a:cubicBezTo>
                      <a:cubicBezTo>
                        <a:pt x="1038" y="15819"/>
                        <a:pt x="-1235" y="10436"/>
                        <a:pt x="679" y="5711"/>
                      </a:cubicBezTo>
                      <a:cubicBezTo>
                        <a:pt x="2593" y="986"/>
                        <a:pt x="7916" y="-1227"/>
                        <a:pt x="12641" y="687"/>
                      </a:cubicBezTo>
                      <a:cubicBezTo>
                        <a:pt x="17306" y="2601"/>
                        <a:pt x="19578" y="7984"/>
                        <a:pt x="17664" y="12709"/>
                      </a:cubicBezTo>
                      <a:close/>
                    </a:path>
                  </a:pathLst>
                </a:custGeom>
                <a:grpFill/>
                <a:ln w="5978" cap="flat">
                  <a:noFill/>
                  <a:prstDash val="solid"/>
                  <a:miter/>
                </a:ln>
              </p:spPr>
              <p:txBody>
                <a:bodyPr rtlCol="0" anchor="ctr"/>
                <a:lstStyle/>
                <a:p>
                  <a:endParaRPr lang="en-GB"/>
                </a:p>
              </p:txBody>
            </p:sp>
            <p:sp>
              <p:nvSpPr>
                <p:cNvPr id="4191" name="Vrije vorm: vorm 4190">
                  <a:extLst>
                    <a:ext uri="{FF2B5EF4-FFF2-40B4-BE49-F238E27FC236}">
                      <a16:creationId xmlns:a16="http://schemas.microsoft.com/office/drawing/2014/main" id="{682A48ED-88C5-459F-AEFF-C1A71467905D}"/>
                    </a:ext>
                  </a:extLst>
                </p:cNvPr>
                <p:cNvSpPr/>
                <p:nvPr/>
              </p:nvSpPr>
              <p:spPr>
                <a:xfrm>
                  <a:off x="6754984" y="1297767"/>
                  <a:ext cx="18344" cy="18419"/>
                </a:xfrm>
                <a:custGeom>
                  <a:avLst/>
                  <a:gdLst>
                    <a:gd name="connsiteX0" fmla="*/ 17665 w 18344"/>
                    <a:gd name="connsiteY0" fmla="*/ 12709 h 18419"/>
                    <a:gd name="connsiteX1" fmla="*/ 12641 w 18344"/>
                    <a:gd name="connsiteY1" fmla="*/ 687 h 18419"/>
                    <a:gd name="connsiteX2" fmla="*/ 679 w 18344"/>
                    <a:gd name="connsiteY2" fmla="*/ 5711 h 18419"/>
                    <a:gd name="connsiteX3" fmla="*/ 5703 w 18344"/>
                    <a:gd name="connsiteY3" fmla="*/ 17732 h 18419"/>
                    <a:gd name="connsiteX4" fmla="*/ 17665 w 18344"/>
                    <a:gd name="connsiteY4" fmla="*/ 12709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19">
                      <a:moveTo>
                        <a:pt x="17665" y="12709"/>
                      </a:moveTo>
                      <a:cubicBezTo>
                        <a:pt x="19579" y="7984"/>
                        <a:pt x="17306" y="2601"/>
                        <a:pt x="12641" y="687"/>
                      </a:cubicBezTo>
                      <a:cubicBezTo>
                        <a:pt x="7976" y="-1227"/>
                        <a:pt x="2593" y="986"/>
                        <a:pt x="679" y="5711"/>
                      </a:cubicBezTo>
                      <a:cubicBezTo>
                        <a:pt x="-1235" y="10436"/>
                        <a:pt x="1038" y="15819"/>
                        <a:pt x="5703" y="17732"/>
                      </a:cubicBezTo>
                      <a:cubicBezTo>
                        <a:pt x="10368" y="19646"/>
                        <a:pt x="15811" y="17433"/>
                        <a:pt x="17665" y="12709"/>
                      </a:cubicBezTo>
                      <a:close/>
                    </a:path>
                  </a:pathLst>
                </a:custGeom>
                <a:grpFill/>
                <a:ln w="5978" cap="flat">
                  <a:noFill/>
                  <a:prstDash val="solid"/>
                  <a:miter/>
                </a:ln>
              </p:spPr>
              <p:txBody>
                <a:bodyPr rtlCol="0" anchor="ctr"/>
                <a:lstStyle/>
                <a:p>
                  <a:endParaRPr lang="en-GB"/>
                </a:p>
              </p:txBody>
            </p:sp>
          </p:grpSp>
          <p:grpSp>
            <p:nvGrpSpPr>
              <p:cNvPr id="399" name="Graphic 3">
                <a:extLst>
                  <a:ext uri="{FF2B5EF4-FFF2-40B4-BE49-F238E27FC236}">
                    <a16:creationId xmlns:a16="http://schemas.microsoft.com/office/drawing/2014/main" id="{A6BE82EB-06E2-426D-92E1-2E67310527CC}"/>
                  </a:ext>
                </a:extLst>
              </p:cNvPr>
              <p:cNvGrpSpPr/>
              <p:nvPr/>
            </p:nvGrpSpPr>
            <p:grpSpPr>
              <a:xfrm>
                <a:off x="6657282" y="1531166"/>
                <a:ext cx="116979" cy="279088"/>
                <a:chOff x="6657282" y="1531166"/>
                <a:chExt cx="116979" cy="279088"/>
              </a:xfrm>
              <a:grpFill/>
            </p:grpSpPr>
            <p:sp>
              <p:nvSpPr>
                <p:cNvPr id="4186" name="Vrije vorm: vorm 4185">
                  <a:extLst>
                    <a:ext uri="{FF2B5EF4-FFF2-40B4-BE49-F238E27FC236}">
                      <a16:creationId xmlns:a16="http://schemas.microsoft.com/office/drawing/2014/main" id="{391F3F7B-6D83-4CF6-8509-16B9914D9F17}"/>
                    </a:ext>
                  </a:extLst>
                </p:cNvPr>
                <p:cNvSpPr/>
                <p:nvPr/>
              </p:nvSpPr>
              <p:spPr>
                <a:xfrm>
                  <a:off x="6664876" y="1539418"/>
                  <a:ext cx="101792" cy="262613"/>
                </a:xfrm>
                <a:custGeom>
                  <a:avLst/>
                  <a:gdLst>
                    <a:gd name="connsiteX0" fmla="*/ 101792 w 101792"/>
                    <a:gd name="connsiteY0" fmla="*/ 1076 h 262613"/>
                    <a:gd name="connsiteX1" fmla="*/ 2811 w 101792"/>
                    <a:gd name="connsiteY1" fmla="*/ 262614 h 262613"/>
                    <a:gd name="connsiteX2" fmla="*/ 0 w 101792"/>
                    <a:gd name="connsiteY2" fmla="*/ 261477 h 262613"/>
                    <a:gd name="connsiteX3" fmla="*/ 98921 w 101792"/>
                    <a:gd name="connsiteY3" fmla="*/ 0 h 262613"/>
                  </a:gdLst>
                  <a:ahLst/>
                  <a:cxnLst>
                    <a:cxn ang="0">
                      <a:pos x="connsiteX0" y="connsiteY0"/>
                    </a:cxn>
                    <a:cxn ang="0">
                      <a:pos x="connsiteX1" y="connsiteY1"/>
                    </a:cxn>
                    <a:cxn ang="0">
                      <a:pos x="connsiteX2" y="connsiteY2"/>
                    </a:cxn>
                    <a:cxn ang="0">
                      <a:pos x="connsiteX3" y="connsiteY3"/>
                    </a:cxn>
                  </a:cxnLst>
                  <a:rect l="l" t="t" r="r" b="b"/>
                  <a:pathLst>
                    <a:path w="101792" h="262613">
                      <a:moveTo>
                        <a:pt x="101792" y="1076"/>
                      </a:moveTo>
                      <a:lnTo>
                        <a:pt x="2811" y="262614"/>
                      </a:lnTo>
                      <a:lnTo>
                        <a:pt x="0" y="261477"/>
                      </a:lnTo>
                      <a:lnTo>
                        <a:pt x="98921" y="0"/>
                      </a:lnTo>
                      <a:close/>
                    </a:path>
                  </a:pathLst>
                </a:custGeom>
                <a:grpFill/>
                <a:ln w="5978" cap="flat">
                  <a:noFill/>
                  <a:prstDash val="solid"/>
                  <a:miter/>
                </a:ln>
              </p:spPr>
              <p:txBody>
                <a:bodyPr rtlCol="0" anchor="ctr"/>
                <a:lstStyle/>
                <a:p>
                  <a:endParaRPr lang="en-GB"/>
                </a:p>
              </p:txBody>
            </p:sp>
            <p:sp>
              <p:nvSpPr>
                <p:cNvPr id="4187" name="Vrije vorm: vorm 4186">
                  <a:extLst>
                    <a:ext uri="{FF2B5EF4-FFF2-40B4-BE49-F238E27FC236}">
                      <a16:creationId xmlns:a16="http://schemas.microsoft.com/office/drawing/2014/main" id="{4E44FEDA-DC51-479E-8CEE-8F81348CCE6B}"/>
                    </a:ext>
                  </a:extLst>
                </p:cNvPr>
                <p:cNvSpPr/>
                <p:nvPr/>
              </p:nvSpPr>
              <p:spPr>
                <a:xfrm>
                  <a:off x="6755905" y="1531166"/>
                  <a:ext cx="18357" cy="18417"/>
                </a:xfrm>
                <a:custGeom>
                  <a:avLst/>
                  <a:gdLst>
                    <a:gd name="connsiteX0" fmla="*/ 596 w 18357"/>
                    <a:gd name="connsiteY0" fmla="*/ 5919 h 18417"/>
                    <a:gd name="connsiteX1" fmla="*/ 12438 w 18357"/>
                    <a:gd name="connsiteY1" fmla="*/ 596 h 18417"/>
                    <a:gd name="connsiteX2" fmla="*/ 17761 w 18357"/>
                    <a:gd name="connsiteY2" fmla="*/ 12498 h 18417"/>
                    <a:gd name="connsiteX3" fmla="*/ 5919 w 18357"/>
                    <a:gd name="connsiteY3" fmla="*/ 17821 h 18417"/>
                    <a:gd name="connsiteX4" fmla="*/ 596 w 18357"/>
                    <a:gd name="connsiteY4" fmla="*/ 5919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7">
                      <a:moveTo>
                        <a:pt x="596" y="5919"/>
                      </a:moveTo>
                      <a:cubicBezTo>
                        <a:pt x="2391" y="1195"/>
                        <a:pt x="7713" y="-1198"/>
                        <a:pt x="12438" y="596"/>
                      </a:cubicBezTo>
                      <a:cubicBezTo>
                        <a:pt x="17163" y="2450"/>
                        <a:pt x="19555" y="7773"/>
                        <a:pt x="17761" y="12498"/>
                      </a:cubicBezTo>
                      <a:cubicBezTo>
                        <a:pt x="15967" y="17223"/>
                        <a:pt x="10644" y="19615"/>
                        <a:pt x="5919" y="17821"/>
                      </a:cubicBezTo>
                      <a:cubicBezTo>
                        <a:pt x="1194" y="15967"/>
                        <a:pt x="-1198" y="10644"/>
                        <a:pt x="596" y="5919"/>
                      </a:cubicBezTo>
                      <a:close/>
                    </a:path>
                  </a:pathLst>
                </a:custGeom>
                <a:grpFill/>
                <a:ln w="5978" cap="flat">
                  <a:noFill/>
                  <a:prstDash val="solid"/>
                  <a:miter/>
                </a:ln>
              </p:spPr>
              <p:txBody>
                <a:bodyPr rtlCol="0" anchor="ctr"/>
                <a:lstStyle/>
                <a:p>
                  <a:endParaRPr lang="en-GB"/>
                </a:p>
              </p:txBody>
            </p:sp>
            <p:sp>
              <p:nvSpPr>
                <p:cNvPr id="4188" name="Vrije vorm: vorm 4187">
                  <a:extLst>
                    <a:ext uri="{FF2B5EF4-FFF2-40B4-BE49-F238E27FC236}">
                      <a16:creationId xmlns:a16="http://schemas.microsoft.com/office/drawing/2014/main" id="{62ED4B00-9D96-4D45-8D6A-EEFD86A5DBA2}"/>
                    </a:ext>
                  </a:extLst>
                </p:cNvPr>
                <p:cNvSpPr/>
                <p:nvPr/>
              </p:nvSpPr>
              <p:spPr>
                <a:xfrm>
                  <a:off x="6657282" y="1791806"/>
                  <a:ext cx="18357" cy="18448"/>
                </a:xfrm>
                <a:custGeom>
                  <a:avLst/>
                  <a:gdLst>
                    <a:gd name="connsiteX0" fmla="*/ 597 w 18357"/>
                    <a:gd name="connsiteY0" fmla="*/ 5919 h 18448"/>
                    <a:gd name="connsiteX1" fmla="*/ 5919 w 18357"/>
                    <a:gd name="connsiteY1" fmla="*/ 17821 h 18448"/>
                    <a:gd name="connsiteX2" fmla="*/ 17761 w 18357"/>
                    <a:gd name="connsiteY2" fmla="*/ 12498 h 18448"/>
                    <a:gd name="connsiteX3" fmla="*/ 12438 w 18357"/>
                    <a:gd name="connsiteY3" fmla="*/ 596 h 18448"/>
                    <a:gd name="connsiteX4" fmla="*/ 597 w 18357"/>
                    <a:gd name="connsiteY4" fmla="*/ 5919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8">
                      <a:moveTo>
                        <a:pt x="597" y="5919"/>
                      </a:moveTo>
                      <a:cubicBezTo>
                        <a:pt x="-1198" y="10644"/>
                        <a:pt x="1194" y="16027"/>
                        <a:pt x="5919" y="17821"/>
                      </a:cubicBezTo>
                      <a:cubicBezTo>
                        <a:pt x="10644" y="19675"/>
                        <a:pt x="15967" y="17283"/>
                        <a:pt x="17761" y="12498"/>
                      </a:cubicBezTo>
                      <a:cubicBezTo>
                        <a:pt x="19555" y="7773"/>
                        <a:pt x="17163" y="2391"/>
                        <a:pt x="12438" y="596"/>
                      </a:cubicBezTo>
                      <a:cubicBezTo>
                        <a:pt x="7714" y="-1198"/>
                        <a:pt x="2391" y="1194"/>
                        <a:pt x="597" y="5919"/>
                      </a:cubicBezTo>
                      <a:close/>
                    </a:path>
                  </a:pathLst>
                </a:custGeom>
                <a:grpFill/>
                <a:ln w="5978" cap="flat">
                  <a:noFill/>
                  <a:prstDash val="solid"/>
                  <a:miter/>
                </a:ln>
              </p:spPr>
              <p:txBody>
                <a:bodyPr rtlCol="0" anchor="ctr"/>
                <a:lstStyle/>
                <a:p>
                  <a:endParaRPr lang="en-GB"/>
                </a:p>
              </p:txBody>
            </p:sp>
          </p:grpSp>
          <p:grpSp>
            <p:nvGrpSpPr>
              <p:cNvPr id="400" name="Graphic 3">
                <a:extLst>
                  <a:ext uri="{FF2B5EF4-FFF2-40B4-BE49-F238E27FC236}">
                    <a16:creationId xmlns:a16="http://schemas.microsoft.com/office/drawing/2014/main" id="{0128B0C9-5B68-4411-8CD7-E997B7DC8935}"/>
                  </a:ext>
                </a:extLst>
              </p:cNvPr>
              <p:cNvGrpSpPr/>
              <p:nvPr/>
            </p:nvGrpSpPr>
            <p:grpSpPr>
              <a:xfrm>
                <a:off x="7520766" y="4237929"/>
                <a:ext cx="114353" cy="72467"/>
                <a:chOff x="7520766" y="4237929"/>
                <a:chExt cx="114353" cy="72467"/>
              </a:xfrm>
              <a:grpFill/>
            </p:grpSpPr>
            <p:sp>
              <p:nvSpPr>
                <p:cNvPr id="4183" name="Vrije vorm: vorm 4182">
                  <a:extLst>
                    <a:ext uri="{FF2B5EF4-FFF2-40B4-BE49-F238E27FC236}">
                      <a16:creationId xmlns:a16="http://schemas.microsoft.com/office/drawing/2014/main" id="{B400B892-87AD-4823-8F7E-E1FFDE9D2C5E}"/>
                    </a:ext>
                  </a:extLst>
                </p:cNvPr>
                <p:cNvSpPr/>
                <p:nvPr/>
              </p:nvSpPr>
              <p:spPr>
                <a:xfrm>
                  <a:off x="7528792" y="4245575"/>
                  <a:ext cx="98322" cy="57175"/>
                </a:xfrm>
                <a:custGeom>
                  <a:avLst/>
                  <a:gdLst>
                    <a:gd name="connsiteX0" fmla="*/ 98323 w 98322"/>
                    <a:gd name="connsiteY0" fmla="*/ 54485 h 57175"/>
                    <a:gd name="connsiteX1" fmla="*/ 96828 w 98322"/>
                    <a:gd name="connsiteY1" fmla="*/ 57176 h 57175"/>
                    <a:gd name="connsiteX2" fmla="*/ 0 w 98322"/>
                    <a:gd name="connsiteY2" fmla="*/ 2691 h 57175"/>
                    <a:gd name="connsiteX3" fmla="*/ 1495 w 98322"/>
                    <a:gd name="connsiteY3" fmla="*/ 0 h 57175"/>
                  </a:gdLst>
                  <a:ahLst/>
                  <a:cxnLst>
                    <a:cxn ang="0">
                      <a:pos x="connsiteX0" y="connsiteY0"/>
                    </a:cxn>
                    <a:cxn ang="0">
                      <a:pos x="connsiteX1" y="connsiteY1"/>
                    </a:cxn>
                    <a:cxn ang="0">
                      <a:pos x="connsiteX2" y="connsiteY2"/>
                    </a:cxn>
                    <a:cxn ang="0">
                      <a:pos x="connsiteX3" y="connsiteY3"/>
                    </a:cxn>
                  </a:cxnLst>
                  <a:rect l="l" t="t" r="r" b="b"/>
                  <a:pathLst>
                    <a:path w="98322" h="57175">
                      <a:moveTo>
                        <a:pt x="98323" y="54485"/>
                      </a:moveTo>
                      <a:lnTo>
                        <a:pt x="96828" y="57176"/>
                      </a:lnTo>
                      <a:lnTo>
                        <a:pt x="0" y="2691"/>
                      </a:lnTo>
                      <a:lnTo>
                        <a:pt x="1495" y="0"/>
                      </a:lnTo>
                      <a:close/>
                    </a:path>
                  </a:pathLst>
                </a:custGeom>
                <a:grpFill/>
                <a:ln w="5978" cap="flat">
                  <a:noFill/>
                  <a:prstDash val="solid"/>
                  <a:miter/>
                </a:ln>
              </p:spPr>
              <p:txBody>
                <a:bodyPr rtlCol="0" anchor="ctr"/>
                <a:lstStyle/>
                <a:p>
                  <a:endParaRPr lang="en-GB"/>
                </a:p>
              </p:txBody>
            </p:sp>
            <p:sp>
              <p:nvSpPr>
                <p:cNvPr id="4184" name="Vrije vorm: vorm 4183">
                  <a:extLst>
                    <a:ext uri="{FF2B5EF4-FFF2-40B4-BE49-F238E27FC236}">
                      <a16:creationId xmlns:a16="http://schemas.microsoft.com/office/drawing/2014/main" id="{C0737860-CCB9-43A9-84E3-2A2A7F67189B}"/>
                    </a:ext>
                  </a:extLst>
                </p:cNvPr>
                <p:cNvSpPr/>
                <p:nvPr/>
              </p:nvSpPr>
              <p:spPr>
                <a:xfrm>
                  <a:off x="7616777" y="4291961"/>
                  <a:ext cx="18342" cy="18435"/>
                </a:xfrm>
                <a:custGeom>
                  <a:avLst/>
                  <a:gdLst>
                    <a:gd name="connsiteX0" fmla="*/ 13627 w 18342"/>
                    <a:gd name="connsiteY0" fmla="*/ 1160 h 18435"/>
                    <a:gd name="connsiteX1" fmla="*/ 17155 w 18342"/>
                    <a:gd name="connsiteY1" fmla="*/ 13720 h 18435"/>
                    <a:gd name="connsiteX2" fmla="*/ 4715 w 18342"/>
                    <a:gd name="connsiteY2" fmla="*/ 17248 h 18435"/>
                    <a:gd name="connsiteX3" fmla="*/ 1187 w 18342"/>
                    <a:gd name="connsiteY3" fmla="*/ 4689 h 18435"/>
                    <a:gd name="connsiteX4" fmla="*/ 13627 w 18342"/>
                    <a:gd name="connsiteY4" fmla="*/ 116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35">
                      <a:moveTo>
                        <a:pt x="13627" y="1160"/>
                      </a:moveTo>
                      <a:cubicBezTo>
                        <a:pt x="18052" y="3672"/>
                        <a:pt x="19667" y="9294"/>
                        <a:pt x="17155" y="13720"/>
                      </a:cubicBezTo>
                      <a:cubicBezTo>
                        <a:pt x="14703" y="18146"/>
                        <a:pt x="9141" y="19760"/>
                        <a:pt x="4715" y="17248"/>
                      </a:cubicBezTo>
                      <a:cubicBezTo>
                        <a:pt x="290" y="14737"/>
                        <a:pt x="-1325" y="9115"/>
                        <a:pt x="1187" y="4689"/>
                      </a:cubicBezTo>
                      <a:cubicBezTo>
                        <a:pt x="3639" y="263"/>
                        <a:pt x="9201" y="-1292"/>
                        <a:pt x="13627" y="1160"/>
                      </a:cubicBezTo>
                      <a:close/>
                    </a:path>
                  </a:pathLst>
                </a:custGeom>
                <a:grpFill/>
                <a:ln w="5978" cap="flat">
                  <a:noFill/>
                  <a:prstDash val="solid"/>
                  <a:miter/>
                </a:ln>
              </p:spPr>
              <p:txBody>
                <a:bodyPr rtlCol="0" anchor="ctr"/>
                <a:lstStyle/>
                <a:p>
                  <a:endParaRPr lang="en-GB"/>
                </a:p>
              </p:txBody>
            </p:sp>
            <p:sp>
              <p:nvSpPr>
                <p:cNvPr id="4185" name="Vrije vorm: vorm 4184">
                  <a:extLst>
                    <a:ext uri="{FF2B5EF4-FFF2-40B4-BE49-F238E27FC236}">
                      <a16:creationId xmlns:a16="http://schemas.microsoft.com/office/drawing/2014/main" id="{B6A69817-0D51-48D5-B247-FE7652AA53A5}"/>
                    </a:ext>
                  </a:extLst>
                </p:cNvPr>
                <p:cNvSpPr/>
                <p:nvPr/>
              </p:nvSpPr>
              <p:spPr>
                <a:xfrm>
                  <a:off x="7520766" y="4237929"/>
                  <a:ext cx="18303" cy="18461"/>
                </a:xfrm>
                <a:custGeom>
                  <a:avLst/>
                  <a:gdLst>
                    <a:gd name="connsiteX0" fmla="*/ 13588 w 18303"/>
                    <a:gd name="connsiteY0" fmla="*/ 1187 h 18461"/>
                    <a:gd name="connsiteX1" fmla="*/ 1148 w 18303"/>
                    <a:gd name="connsiteY1" fmla="*/ 4715 h 18461"/>
                    <a:gd name="connsiteX2" fmla="*/ 4676 w 18303"/>
                    <a:gd name="connsiteY2" fmla="*/ 17275 h 18461"/>
                    <a:gd name="connsiteX3" fmla="*/ 17117 w 18303"/>
                    <a:gd name="connsiteY3" fmla="*/ 13746 h 18461"/>
                    <a:gd name="connsiteX4" fmla="*/ 13588 w 18303"/>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1">
                      <a:moveTo>
                        <a:pt x="13588" y="1187"/>
                      </a:moveTo>
                      <a:cubicBezTo>
                        <a:pt x="9162" y="-1325"/>
                        <a:pt x="3600" y="290"/>
                        <a:pt x="1148" y="4715"/>
                      </a:cubicBezTo>
                      <a:cubicBezTo>
                        <a:pt x="-1304" y="9141"/>
                        <a:pt x="311" y="14763"/>
                        <a:pt x="4676" y="17275"/>
                      </a:cubicBezTo>
                      <a:cubicBezTo>
                        <a:pt x="9043" y="19787"/>
                        <a:pt x="14664" y="18172"/>
                        <a:pt x="17117" y="13746"/>
                      </a:cubicBezTo>
                      <a:cubicBezTo>
                        <a:pt x="19628" y="9261"/>
                        <a:pt x="18014" y="3639"/>
                        <a:pt x="13588" y="1187"/>
                      </a:cubicBezTo>
                      <a:close/>
                    </a:path>
                  </a:pathLst>
                </a:custGeom>
                <a:grpFill/>
                <a:ln w="5978" cap="flat">
                  <a:noFill/>
                  <a:prstDash val="solid"/>
                  <a:miter/>
                </a:ln>
              </p:spPr>
              <p:txBody>
                <a:bodyPr rtlCol="0" anchor="ctr"/>
                <a:lstStyle/>
                <a:p>
                  <a:endParaRPr lang="en-GB"/>
                </a:p>
              </p:txBody>
            </p:sp>
          </p:grpSp>
          <p:grpSp>
            <p:nvGrpSpPr>
              <p:cNvPr id="401" name="Graphic 3">
                <a:extLst>
                  <a:ext uri="{FF2B5EF4-FFF2-40B4-BE49-F238E27FC236}">
                    <a16:creationId xmlns:a16="http://schemas.microsoft.com/office/drawing/2014/main" id="{526047A3-41F6-4609-A55B-69384CC93A24}"/>
                  </a:ext>
                </a:extLst>
              </p:cNvPr>
              <p:cNvGrpSpPr/>
              <p:nvPr/>
            </p:nvGrpSpPr>
            <p:grpSpPr>
              <a:xfrm>
                <a:off x="7526704" y="4433416"/>
                <a:ext cx="268761" cy="191854"/>
                <a:chOff x="7526704" y="4433416"/>
                <a:chExt cx="268761" cy="191854"/>
              </a:xfrm>
              <a:grpFill/>
            </p:grpSpPr>
            <p:sp>
              <p:nvSpPr>
                <p:cNvPr id="4180" name="Vrije vorm: vorm 4179">
                  <a:extLst>
                    <a:ext uri="{FF2B5EF4-FFF2-40B4-BE49-F238E27FC236}">
                      <a16:creationId xmlns:a16="http://schemas.microsoft.com/office/drawing/2014/main" id="{4D5CAC71-E9E4-488D-958A-D6E7AC326FC6}"/>
                    </a:ext>
                  </a:extLst>
                </p:cNvPr>
                <p:cNvSpPr/>
                <p:nvPr/>
              </p:nvSpPr>
              <p:spPr>
                <a:xfrm>
                  <a:off x="7534653" y="4441084"/>
                  <a:ext cx="252865" cy="176551"/>
                </a:xfrm>
                <a:custGeom>
                  <a:avLst/>
                  <a:gdLst>
                    <a:gd name="connsiteX0" fmla="*/ 252865 w 252865"/>
                    <a:gd name="connsiteY0" fmla="*/ 173979 h 176551"/>
                    <a:gd name="connsiteX1" fmla="*/ 251130 w 252865"/>
                    <a:gd name="connsiteY1" fmla="*/ 176551 h 176551"/>
                    <a:gd name="connsiteX2" fmla="*/ 0 w 252865"/>
                    <a:gd name="connsiteY2" fmla="*/ 2572 h 176551"/>
                    <a:gd name="connsiteX3" fmla="*/ 1675 w 252865"/>
                    <a:gd name="connsiteY3" fmla="*/ 0 h 176551"/>
                  </a:gdLst>
                  <a:ahLst/>
                  <a:cxnLst>
                    <a:cxn ang="0">
                      <a:pos x="connsiteX0" y="connsiteY0"/>
                    </a:cxn>
                    <a:cxn ang="0">
                      <a:pos x="connsiteX1" y="connsiteY1"/>
                    </a:cxn>
                    <a:cxn ang="0">
                      <a:pos x="connsiteX2" y="connsiteY2"/>
                    </a:cxn>
                    <a:cxn ang="0">
                      <a:pos x="connsiteX3" y="connsiteY3"/>
                    </a:cxn>
                  </a:cxnLst>
                  <a:rect l="l" t="t" r="r" b="b"/>
                  <a:pathLst>
                    <a:path w="252865" h="176551">
                      <a:moveTo>
                        <a:pt x="252865" y="173979"/>
                      </a:moveTo>
                      <a:lnTo>
                        <a:pt x="251130" y="176551"/>
                      </a:lnTo>
                      <a:lnTo>
                        <a:pt x="0" y="2572"/>
                      </a:lnTo>
                      <a:lnTo>
                        <a:pt x="1675" y="0"/>
                      </a:lnTo>
                      <a:close/>
                    </a:path>
                  </a:pathLst>
                </a:custGeom>
                <a:grpFill/>
                <a:ln w="5978" cap="flat">
                  <a:noFill/>
                  <a:prstDash val="solid"/>
                  <a:miter/>
                </a:ln>
              </p:spPr>
              <p:txBody>
                <a:bodyPr rtlCol="0" anchor="ctr"/>
                <a:lstStyle/>
                <a:p>
                  <a:endParaRPr lang="en-GB"/>
                </a:p>
              </p:txBody>
            </p:sp>
            <p:sp>
              <p:nvSpPr>
                <p:cNvPr id="4181" name="Vrije vorm: vorm 4180">
                  <a:extLst>
                    <a:ext uri="{FF2B5EF4-FFF2-40B4-BE49-F238E27FC236}">
                      <a16:creationId xmlns:a16="http://schemas.microsoft.com/office/drawing/2014/main" id="{0101D328-32AD-4BAF-A567-33FF795222EF}"/>
                    </a:ext>
                  </a:extLst>
                </p:cNvPr>
                <p:cNvSpPr/>
                <p:nvPr/>
              </p:nvSpPr>
              <p:spPr>
                <a:xfrm>
                  <a:off x="7777117" y="4606873"/>
                  <a:ext cx="18348" cy="18397"/>
                </a:xfrm>
                <a:custGeom>
                  <a:avLst/>
                  <a:gdLst>
                    <a:gd name="connsiteX0" fmla="*/ 14348 w 18348"/>
                    <a:gd name="connsiteY0" fmla="*/ 1612 h 18397"/>
                    <a:gd name="connsiteX1" fmla="*/ 16740 w 18348"/>
                    <a:gd name="connsiteY1" fmla="*/ 14411 h 18397"/>
                    <a:gd name="connsiteX2" fmla="*/ 4001 w 18348"/>
                    <a:gd name="connsiteY2" fmla="*/ 16743 h 18397"/>
                    <a:gd name="connsiteX3" fmla="*/ 1609 w 18348"/>
                    <a:gd name="connsiteY3" fmla="*/ 3944 h 18397"/>
                    <a:gd name="connsiteX4" fmla="*/ 14348 w 18348"/>
                    <a:gd name="connsiteY4" fmla="*/ 161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97">
                      <a:moveTo>
                        <a:pt x="14348" y="1612"/>
                      </a:moveTo>
                      <a:cubicBezTo>
                        <a:pt x="18534" y="4483"/>
                        <a:pt x="19610" y="10224"/>
                        <a:pt x="16740" y="14411"/>
                      </a:cubicBezTo>
                      <a:cubicBezTo>
                        <a:pt x="13869" y="18597"/>
                        <a:pt x="8188" y="19674"/>
                        <a:pt x="4001" y="16743"/>
                      </a:cubicBezTo>
                      <a:cubicBezTo>
                        <a:pt x="-185" y="13873"/>
                        <a:pt x="-1262" y="8131"/>
                        <a:pt x="1609" y="3944"/>
                      </a:cubicBezTo>
                      <a:cubicBezTo>
                        <a:pt x="4480" y="-182"/>
                        <a:pt x="10161" y="-1259"/>
                        <a:pt x="14348" y="1612"/>
                      </a:cubicBezTo>
                      <a:close/>
                    </a:path>
                  </a:pathLst>
                </a:custGeom>
                <a:grpFill/>
                <a:ln w="5978" cap="flat">
                  <a:noFill/>
                  <a:prstDash val="solid"/>
                  <a:miter/>
                </a:ln>
              </p:spPr>
              <p:txBody>
                <a:bodyPr rtlCol="0" anchor="ctr"/>
                <a:lstStyle/>
                <a:p>
                  <a:endParaRPr lang="en-GB"/>
                </a:p>
              </p:txBody>
            </p:sp>
            <p:sp>
              <p:nvSpPr>
                <p:cNvPr id="4182" name="Vrije vorm: vorm 4181">
                  <a:extLst>
                    <a:ext uri="{FF2B5EF4-FFF2-40B4-BE49-F238E27FC236}">
                      <a16:creationId xmlns:a16="http://schemas.microsoft.com/office/drawing/2014/main" id="{FDDAD42C-A22A-4615-8F8D-54DF818CC408}"/>
                    </a:ext>
                  </a:extLst>
                </p:cNvPr>
                <p:cNvSpPr/>
                <p:nvPr/>
              </p:nvSpPr>
              <p:spPr>
                <a:xfrm>
                  <a:off x="7526704" y="4433416"/>
                  <a:ext cx="18348" cy="18387"/>
                </a:xfrm>
                <a:custGeom>
                  <a:avLst/>
                  <a:gdLst>
                    <a:gd name="connsiteX0" fmla="*/ 14347 w 18348"/>
                    <a:gd name="connsiteY0" fmla="*/ 1628 h 18387"/>
                    <a:gd name="connsiteX1" fmla="*/ 1609 w 18348"/>
                    <a:gd name="connsiteY1" fmla="*/ 3961 h 18387"/>
                    <a:gd name="connsiteX2" fmla="*/ 4001 w 18348"/>
                    <a:gd name="connsiteY2" fmla="*/ 16759 h 18387"/>
                    <a:gd name="connsiteX3" fmla="*/ 16740 w 18348"/>
                    <a:gd name="connsiteY3" fmla="*/ 14427 h 18387"/>
                    <a:gd name="connsiteX4" fmla="*/ 14347 w 18348"/>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87">
                      <a:moveTo>
                        <a:pt x="14347" y="1628"/>
                      </a:moveTo>
                      <a:cubicBezTo>
                        <a:pt x="10161" y="-1243"/>
                        <a:pt x="4480" y="-226"/>
                        <a:pt x="1609" y="3961"/>
                      </a:cubicBezTo>
                      <a:cubicBezTo>
                        <a:pt x="-1262" y="8147"/>
                        <a:pt x="-185" y="13889"/>
                        <a:pt x="4001" y="16759"/>
                      </a:cubicBezTo>
                      <a:cubicBezTo>
                        <a:pt x="8188" y="19630"/>
                        <a:pt x="13869" y="18613"/>
                        <a:pt x="16740" y="14427"/>
                      </a:cubicBezTo>
                      <a:cubicBezTo>
                        <a:pt x="19610" y="10300"/>
                        <a:pt x="18534" y="4559"/>
                        <a:pt x="14347" y="1628"/>
                      </a:cubicBezTo>
                      <a:close/>
                    </a:path>
                  </a:pathLst>
                </a:custGeom>
                <a:grpFill/>
                <a:ln w="5978" cap="flat">
                  <a:noFill/>
                  <a:prstDash val="solid"/>
                  <a:miter/>
                </a:ln>
              </p:spPr>
              <p:txBody>
                <a:bodyPr rtlCol="0" anchor="ctr"/>
                <a:lstStyle/>
                <a:p>
                  <a:endParaRPr lang="en-GB"/>
                </a:p>
              </p:txBody>
            </p:sp>
          </p:grpSp>
          <p:grpSp>
            <p:nvGrpSpPr>
              <p:cNvPr id="402" name="Graphic 3">
                <a:extLst>
                  <a:ext uri="{FF2B5EF4-FFF2-40B4-BE49-F238E27FC236}">
                    <a16:creationId xmlns:a16="http://schemas.microsoft.com/office/drawing/2014/main" id="{65FA5FAC-6F04-45EE-95B9-4B3B0ECB502E}"/>
                  </a:ext>
                </a:extLst>
              </p:cNvPr>
              <p:cNvGrpSpPr/>
              <p:nvPr/>
            </p:nvGrpSpPr>
            <p:grpSpPr>
              <a:xfrm>
                <a:off x="7380373" y="4447457"/>
                <a:ext cx="731117" cy="634488"/>
                <a:chOff x="7380373" y="4447457"/>
                <a:chExt cx="731117" cy="634488"/>
              </a:xfrm>
              <a:grpFill/>
            </p:grpSpPr>
            <p:sp>
              <p:nvSpPr>
                <p:cNvPr id="4177" name="Vrije vorm: vorm 4176">
                  <a:extLst>
                    <a:ext uri="{FF2B5EF4-FFF2-40B4-BE49-F238E27FC236}">
                      <a16:creationId xmlns:a16="http://schemas.microsoft.com/office/drawing/2014/main" id="{56B077F2-B1EB-4E09-A1B6-FF9FB50D9D95}"/>
                    </a:ext>
                  </a:extLst>
                </p:cNvPr>
                <p:cNvSpPr/>
                <p:nvPr/>
              </p:nvSpPr>
              <p:spPr>
                <a:xfrm>
                  <a:off x="7388245" y="4455199"/>
                  <a:ext cx="715413" cy="619004"/>
                </a:xfrm>
                <a:custGeom>
                  <a:avLst/>
                  <a:gdLst>
                    <a:gd name="connsiteX0" fmla="*/ 715414 w 715413"/>
                    <a:gd name="connsiteY0" fmla="*/ 616672 h 619004"/>
                    <a:gd name="connsiteX1" fmla="*/ 713441 w 715413"/>
                    <a:gd name="connsiteY1" fmla="*/ 619005 h 619004"/>
                    <a:gd name="connsiteX2" fmla="*/ 0 w 715413"/>
                    <a:gd name="connsiteY2" fmla="*/ 2332 h 619004"/>
                    <a:gd name="connsiteX3" fmla="*/ 1973 w 715413"/>
                    <a:gd name="connsiteY3" fmla="*/ 0 h 619004"/>
                  </a:gdLst>
                  <a:ahLst/>
                  <a:cxnLst>
                    <a:cxn ang="0">
                      <a:pos x="connsiteX0" y="connsiteY0"/>
                    </a:cxn>
                    <a:cxn ang="0">
                      <a:pos x="connsiteX1" y="connsiteY1"/>
                    </a:cxn>
                    <a:cxn ang="0">
                      <a:pos x="connsiteX2" y="connsiteY2"/>
                    </a:cxn>
                    <a:cxn ang="0">
                      <a:pos x="connsiteX3" y="connsiteY3"/>
                    </a:cxn>
                  </a:cxnLst>
                  <a:rect l="l" t="t" r="r" b="b"/>
                  <a:pathLst>
                    <a:path w="715413" h="619004">
                      <a:moveTo>
                        <a:pt x="715414" y="616672"/>
                      </a:moveTo>
                      <a:lnTo>
                        <a:pt x="713441" y="619005"/>
                      </a:lnTo>
                      <a:lnTo>
                        <a:pt x="0" y="2332"/>
                      </a:lnTo>
                      <a:lnTo>
                        <a:pt x="1973" y="0"/>
                      </a:lnTo>
                      <a:close/>
                    </a:path>
                  </a:pathLst>
                </a:custGeom>
                <a:grpFill/>
                <a:ln w="5978" cap="flat">
                  <a:noFill/>
                  <a:prstDash val="solid"/>
                  <a:miter/>
                </a:ln>
              </p:spPr>
              <p:txBody>
                <a:bodyPr rtlCol="0" anchor="ctr"/>
                <a:lstStyle/>
                <a:p>
                  <a:endParaRPr lang="en-GB"/>
                </a:p>
              </p:txBody>
            </p:sp>
            <p:sp>
              <p:nvSpPr>
                <p:cNvPr id="4178" name="Vrije vorm: vorm 4177">
                  <a:extLst>
                    <a:ext uri="{FF2B5EF4-FFF2-40B4-BE49-F238E27FC236}">
                      <a16:creationId xmlns:a16="http://schemas.microsoft.com/office/drawing/2014/main" id="{3FFFDE5A-D4FA-47AA-A60C-B7FE28F8D26D}"/>
                    </a:ext>
                  </a:extLst>
                </p:cNvPr>
                <p:cNvSpPr/>
                <p:nvPr/>
              </p:nvSpPr>
              <p:spPr>
                <a:xfrm>
                  <a:off x="7380373" y="4447457"/>
                  <a:ext cx="18314" cy="18414"/>
                </a:xfrm>
                <a:custGeom>
                  <a:avLst/>
                  <a:gdLst>
                    <a:gd name="connsiteX0" fmla="*/ 3207 w 18314"/>
                    <a:gd name="connsiteY0" fmla="*/ 16175 h 18414"/>
                    <a:gd name="connsiteX1" fmla="*/ 2190 w 18314"/>
                    <a:gd name="connsiteY1" fmla="*/ 3197 h 18414"/>
                    <a:gd name="connsiteX2" fmla="*/ 15108 w 18314"/>
                    <a:gd name="connsiteY2" fmla="*/ 2240 h 18414"/>
                    <a:gd name="connsiteX3" fmla="*/ 16125 w 18314"/>
                    <a:gd name="connsiteY3" fmla="*/ 15218 h 18414"/>
                    <a:gd name="connsiteX4" fmla="*/ 3207 w 18314"/>
                    <a:gd name="connsiteY4" fmla="*/ 1617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14">
                      <a:moveTo>
                        <a:pt x="3207" y="16175"/>
                      </a:moveTo>
                      <a:cubicBezTo>
                        <a:pt x="-621" y="12826"/>
                        <a:pt x="-1099" y="7024"/>
                        <a:pt x="2190" y="3197"/>
                      </a:cubicBezTo>
                      <a:cubicBezTo>
                        <a:pt x="5479" y="-631"/>
                        <a:pt x="11280" y="-1110"/>
                        <a:pt x="15108" y="2240"/>
                      </a:cubicBezTo>
                      <a:cubicBezTo>
                        <a:pt x="18936" y="5589"/>
                        <a:pt x="19414" y="11390"/>
                        <a:pt x="16125" y="15218"/>
                      </a:cubicBezTo>
                      <a:cubicBezTo>
                        <a:pt x="12836" y="19045"/>
                        <a:pt x="7094" y="19524"/>
                        <a:pt x="3207" y="16175"/>
                      </a:cubicBezTo>
                      <a:close/>
                    </a:path>
                  </a:pathLst>
                </a:custGeom>
                <a:grpFill/>
                <a:ln w="5978" cap="flat">
                  <a:noFill/>
                  <a:prstDash val="solid"/>
                  <a:miter/>
                </a:ln>
              </p:spPr>
              <p:txBody>
                <a:bodyPr rtlCol="0" anchor="ctr"/>
                <a:lstStyle/>
                <a:p>
                  <a:endParaRPr lang="en-GB"/>
                </a:p>
              </p:txBody>
            </p:sp>
            <p:sp>
              <p:nvSpPr>
                <p:cNvPr id="4179" name="Vrije vorm: vorm 4178">
                  <a:extLst>
                    <a:ext uri="{FF2B5EF4-FFF2-40B4-BE49-F238E27FC236}">
                      <a16:creationId xmlns:a16="http://schemas.microsoft.com/office/drawing/2014/main" id="{FE722841-1938-489E-98AB-DA25041A6548}"/>
                    </a:ext>
                  </a:extLst>
                </p:cNvPr>
                <p:cNvSpPr/>
                <p:nvPr/>
              </p:nvSpPr>
              <p:spPr>
                <a:xfrm>
                  <a:off x="8093180" y="5063531"/>
                  <a:ext cx="18310" cy="18414"/>
                </a:xfrm>
                <a:custGeom>
                  <a:avLst/>
                  <a:gdLst>
                    <a:gd name="connsiteX0" fmla="*/ 3182 w 18310"/>
                    <a:gd name="connsiteY0" fmla="*/ 16175 h 18414"/>
                    <a:gd name="connsiteX1" fmla="*/ 16100 w 18310"/>
                    <a:gd name="connsiteY1" fmla="*/ 15218 h 18414"/>
                    <a:gd name="connsiteX2" fmla="*/ 15084 w 18310"/>
                    <a:gd name="connsiteY2" fmla="*/ 2240 h 18414"/>
                    <a:gd name="connsiteX3" fmla="*/ 2165 w 18310"/>
                    <a:gd name="connsiteY3" fmla="*/ 3197 h 18414"/>
                    <a:gd name="connsiteX4" fmla="*/ 3182 w 18310"/>
                    <a:gd name="connsiteY4" fmla="*/ 1617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4">
                      <a:moveTo>
                        <a:pt x="3182" y="16175"/>
                      </a:moveTo>
                      <a:cubicBezTo>
                        <a:pt x="7010" y="19524"/>
                        <a:pt x="12811" y="19045"/>
                        <a:pt x="16100" y="15218"/>
                      </a:cubicBezTo>
                      <a:cubicBezTo>
                        <a:pt x="19390" y="11390"/>
                        <a:pt x="18972" y="5529"/>
                        <a:pt x="15084" y="2240"/>
                      </a:cubicBezTo>
                      <a:cubicBezTo>
                        <a:pt x="11256" y="-1110"/>
                        <a:pt x="5455" y="-631"/>
                        <a:pt x="2165" y="3197"/>
                      </a:cubicBezTo>
                      <a:cubicBezTo>
                        <a:pt x="-1064" y="7024"/>
                        <a:pt x="-645" y="12826"/>
                        <a:pt x="3182" y="16175"/>
                      </a:cubicBezTo>
                      <a:close/>
                    </a:path>
                  </a:pathLst>
                </a:custGeom>
                <a:grpFill/>
                <a:ln w="5978" cap="flat">
                  <a:noFill/>
                  <a:prstDash val="solid"/>
                  <a:miter/>
                </a:ln>
              </p:spPr>
              <p:txBody>
                <a:bodyPr rtlCol="0" anchor="ctr"/>
                <a:lstStyle/>
                <a:p>
                  <a:endParaRPr lang="en-GB"/>
                </a:p>
              </p:txBody>
            </p:sp>
          </p:grpSp>
          <p:grpSp>
            <p:nvGrpSpPr>
              <p:cNvPr id="403" name="Graphic 3">
                <a:extLst>
                  <a:ext uri="{FF2B5EF4-FFF2-40B4-BE49-F238E27FC236}">
                    <a16:creationId xmlns:a16="http://schemas.microsoft.com/office/drawing/2014/main" id="{F734F825-4328-4FD7-A1B0-6C3CA47D50AC}"/>
                  </a:ext>
                </a:extLst>
              </p:cNvPr>
              <p:cNvGrpSpPr/>
              <p:nvPr/>
            </p:nvGrpSpPr>
            <p:grpSpPr>
              <a:xfrm>
                <a:off x="7363606" y="4474292"/>
                <a:ext cx="811062" cy="724678"/>
                <a:chOff x="7363606" y="4474292"/>
                <a:chExt cx="811062" cy="724678"/>
              </a:xfrm>
              <a:grpFill/>
            </p:grpSpPr>
            <p:sp>
              <p:nvSpPr>
                <p:cNvPr id="4174" name="Vrije vorm: vorm 4173">
                  <a:extLst>
                    <a:ext uri="{FF2B5EF4-FFF2-40B4-BE49-F238E27FC236}">
                      <a16:creationId xmlns:a16="http://schemas.microsoft.com/office/drawing/2014/main" id="{D3D07BA9-C462-4743-B26A-AE71B3D0CBAB}"/>
                    </a:ext>
                  </a:extLst>
                </p:cNvPr>
                <p:cNvSpPr/>
                <p:nvPr/>
              </p:nvSpPr>
              <p:spPr>
                <a:xfrm>
                  <a:off x="7371379" y="4482053"/>
                  <a:ext cx="795495" cy="709193"/>
                </a:xfrm>
                <a:custGeom>
                  <a:avLst/>
                  <a:gdLst>
                    <a:gd name="connsiteX0" fmla="*/ 795496 w 795495"/>
                    <a:gd name="connsiteY0" fmla="*/ 706861 h 709193"/>
                    <a:gd name="connsiteX1" fmla="*/ 793463 w 795495"/>
                    <a:gd name="connsiteY1" fmla="*/ 709194 h 709193"/>
                    <a:gd name="connsiteX2" fmla="*/ 0 w 795495"/>
                    <a:gd name="connsiteY2" fmla="*/ 2273 h 709193"/>
                    <a:gd name="connsiteX3" fmla="*/ 2034 w 795495"/>
                    <a:gd name="connsiteY3" fmla="*/ 0 h 709193"/>
                  </a:gdLst>
                  <a:ahLst/>
                  <a:cxnLst>
                    <a:cxn ang="0">
                      <a:pos x="connsiteX0" y="connsiteY0"/>
                    </a:cxn>
                    <a:cxn ang="0">
                      <a:pos x="connsiteX1" y="connsiteY1"/>
                    </a:cxn>
                    <a:cxn ang="0">
                      <a:pos x="connsiteX2" y="connsiteY2"/>
                    </a:cxn>
                    <a:cxn ang="0">
                      <a:pos x="connsiteX3" y="connsiteY3"/>
                    </a:cxn>
                  </a:cxnLst>
                  <a:rect l="l" t="t" r="r" b="b"/>
                  <a:pathLst>
                    <a:path w="795495" h="709193">
                      <a:moveTo>
                        <a:pt x="795496" y="706861"/>
                      </a:moveTo>
                      <a:lnTo>
                        <a:pt x="793463" y="709194"/>
                      </a:lnTo>
                      <a:lnTo>
                        <a:pt x="0" y="2273"/>
                      </a:lnTo>
                      <a:lnTo>
                        <a:pt x="2034" y="0"/>
                      </a:lnTo>
                      <a:close/>
                    </a:path>
                  </a:pathLst>
                </a:custGeom>
                <a:grpFill/>
                <a:ln w="5978" cap="flat">
                  <a:noFill/>
                  <a:prstDash val="solid"/>
                  <a:miter/>
                </a:ln>
              </p:spPr>
              <p:txBody>
                <a:bodyPr rtlCol="0" anchor="ctr"/>
                <a:lstStyle/>
                <a:p>
                  <a:endParaRPr lang="en-GB"/>
                </a:p>
              </p:txBody>
            </p:sp>
            <p:sp>
              <p:nvSpPr>
                <p:cNvPr id="4175" name="Vrije vorm: vorm 4174">
                  <a:extLst>
                    <a:ext uri="{FF2B5EF4-FFF2-40B4-BE49-F238E27FC236}">
                      <a16:creationId xmlns:a16="http://schemas.microsoft.com/office/drawing/2014/main" id="{0FDBDFB7-8A6F-469B-87E8-76CBA9BB2E6B}"/>
                    </a:ext>
                  </a:extLst>
                </p:cNvPr>
                <p:cNvSpPr/>
                <p:nvPr/>
              </p:nvSpPr>
              <p:spPr>
                <a:xfrm>
                  <a:off x="7363606" y="4474292"/>
                  <a:ext cx="18273" cy="18415"/>
                </a:xfrm>
                <a:custGeom>
                  <a:avLst/>
                  <a:gdLst>
                    <a:gd name="connsiteX0" fmla="*/ 3108 w 18273"/>
                    <a:gd name="connsiteY0" fmla="*/ 16073 h 18415"/>
                    <a:gd name="connsiteX1" fmla="*/ 2271 w 18273"/>
                    <a:gd name="connsiteY1" fmla="*/ 3095 h 18415"/>
                    <a:gd name="connsiteX2" fmla="*/ 15190 w 18273"/>
                    <a:gd name="connsiteY2" fmla="*/ 2318 h 18415"/>
                    <a:gd name="connsiteX3" fmla="*/ 16026 w 18273"/>
                    <a:gd name="connsiteY3" fmla="*/ 15296 h 18415"/>
                    <a:gd name="connsiteX4" fmla="*/ 3108 w 18273"/>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15">
                      <a:moveTo>
                        <a:pt x="3108" y="16073"/>
                      </a:moveTo>
                      <a:cubicBezTo>
                        <a:pt x="-659" y="12665"/>
                        <a:pt x="-1078" y="6863"/>
                        <a:pt x="2271" y="3095"/>
                      </a:cubicBezTo>
                      <a:cubicBezTo>
                        <a:pt x="5620" y="-733"/>
                        <a:pt x="11422" y="-1031"/>
                        <a:pt x="15190" y="2318"/>
                      </a:cubicBezTo>
                      <a:cubicBezTo>
                        <a:pt x="18957" y="5727"/>
                        <a:pt x="19316" y="11528"/>
                        <a:pt x="16026" y="15296"/>
                      </a:cubicBezTo>
                      <a:cubicBezTo>
                        <a:pt x="12678" y="19124"/>
                        <a:pt x="6876" y="19482"/>
                        <a:pt x="3108" y="16073"/>
                      </a:cubicBezTo>
                      <a:close/>
                    </a:path>
                  </a:pathLst>
                </a:custGeom>
                <a:grpFill/>
                <a:ln w="5978" cap="flat">
                  <a:noFill/>
                  <a:prstDash val="solid"/>
                  <a:miter/>
                </a:ln>
              </p:spPr>
              <p:txBody>
                <a:bodyPr rtlCol="0" anchor="ctr"/>
                <a:lstStyle/>
                <a:p>
                  <a:endParaRPr lang="en-GB"/>
                </a:p>
              </p:txBody>
            </p:sp>
            <p:sp>
              <p:nvSpPr>
                <p:cNvPr id="4176" name="Vrije vorm: vorm 4175">
                  <a:extLst>
                    <a:ext uri="{FF2B5EF4-FFF2-40B4-BE49-F238E27FC236}">
                      <a16:creationId xmlns:a16="http://schemas.microsoft.com/office/drawing/2014/main" id="{971C42E5-2AD1-4BA4-B1A5-10F3ADD50233}"/>
                    </a:ext>
                  </a:extLst>
                </p:cNvPr>
                <p:cNvSpPr/>
                <p:nvPr/>
              </p:nvSpPr>
              <p:spPr>
                <a:xfrm>
                  <a:off x="8156330" y="5180556"/>
                  <a:ext cx="18338" cy="18415"/>
                </a:xfrm>
                <a:custGeom>
                  <a:avLst/>
                  <a:gdLst>
                    <a:gd name="connsiteX0" fmla="*/ 3129 w 18338"/>
                    <a:gd name="connsiteY0" fmla="*/ 16073 h 18415"/>
                    <a:gd name="connsiteX1" fmla="*/ 16047 w 18338"/>
                    <a:gd name="connsiteY1" fmla="*/ 15296 h 18415"/>
                    <a:gd name="connsiteX2" fmla="*/ 15210 w 18338"/>
                    <a:gd name="connsiteY2" fmla="*/ 2318 h 18415"/>
                    <a:gd name="connsiteX3" fmla="*/ 2291 w 18338"/>
                    <a:gd name="connsiteY3" fmla="*/ 3095 h 18415"/>
                    <a:gd name="connsiteX4" fmla="*/ 3129 w 18338"/>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5">
                      <a:moveTo>
                        <a:pt x="3129" y="16073"/>
                      </a:moveTo>
                      <a:cubicBezTo>
                        <a:pt x="6896" y="19482"/>
                        <a:pt x="12698" y="19124"/>
                        <a:pt x="16047" y="15296"/>
                      </a:cubicBezTo>
                      <a:cubicBezTo>
                        <a:pt x="19397" y="11468"/>
                        <a:pt x="19038" y="5667"/>
                        <a:pt x="15210" y="2318"/>
                      </a:cubicBezTo>
                      <a:cubicBezTo>
                        <a:pt x="11382" y="-1031"/>
                        <a:pt x="5641" y="-733"/>
                        <a:pt x="2291" y="3095"/>
                      </a:cubicBezTo>
                      <a:cubicBezTo>
                        <a:pt x="-1058" y="6923"/>
                        <a:pt x="-699" y="12724"/>
                        <a:pt x="3129" y="16073"/>
                      </a:cubicBezTo>
                      <a:close/>
                    </a:path>
                  </a:pathLst>
                </a:custGeom>
                <a:grpFill/>
                <a:ln w="5978" cap="flat">
                  <a:noFill/>
                  <a:prstDash val="solid"/>
                  <a:miter/>
                </a:ln>
              </p:spPr>
              <p:txBody>
                <a:bodyPr rtlCol="0" anchor="ctr"/>
                <a:lstStyle/>
                <a:p>
                  <a:endParaRPr lang="en-GB"/>
                </a:p>
              </p:txBody>
            </p:sp>
          </p:grpSp>
          <p:grpSp>
            <p:nvGrpSpPr>
              <p:cNvPr id="404" name="Graphic 3">
                <a:extLst>
                  <a:ext uri="{FF2B5EF4-FFF2-40B4-BE49-F238E27FC236}">
                    <a16:creationId xmlns:a16="http://schemas.microsoft.com/office/drawing/2014/main" id="{E803F614-67C2-463D-9971-BB99B34324EA}"/>
                  </a:ext>
                </a:extLst>
              </p:cNvPr>
              <p:cNvGrpSpPr/>
              <p:nvPr/>
            </p:nvGrpSpPr>
            <p:grpSpPr>
              <a:xfrm>
                <a:off x="7489403" y="4575473"/>
                <a:ext cx="482116" cy="393614"/>
                <a:chOff x="7489403" y="4575473"/>
                <a:chExt cx="482116" cy="393614"/>
              </a:xfrm>
              <a:grpFill/>
            </p:grpSpPr>
            <p:sp>
              <p:nvSpPr>
                <p:cNvPr id="4171" name="Vrije vorm: vorm 4170">
                  <a:extLst>
                    <a:ext uri="{FF2B5EF4-FFF2-40B4-BE49-F238E27FC236}">
                      <a16:creationId xmlns:a16="http://schemas.microsoft.com/office/drawing/2014/main" id="{EDF44873-86CA-441A-B9F3-ABFBB2DBBD64}"/>
                    </a:ext>
                  </a:extLst>
                </p:cNvPr>
                <p:cNvSpPr/>
                <p:nvPr/>
              </p:nvSpPr>
              <p:spPr>
                <a:xfrm>
                  <a:off x="7497213" y="4583186"/>
                  <a:ext cx="466436" cy="378160"/>
                </a:xfrm>
                <a:custGeom>
                  <a:avLst/>
                  <a:gdLst>
                    <a:gd name="connsiteX0" fmla="*/ 466436 w 466436"/>
                    <a:gd name="connsiteY0" fmla="*/ 375769 h 378160"/>
                    <a:gd name="connsiteX1" fmla="*/ 464523 w 466436"/>
                    <a:gd name="connsiteY1" fmla="*/ 378161 h 378160"/>
                    <a:gd name="connsiteX2" fmla="*/ 0 w 466436"/>
                    <a:gd name="connsiteY2" fmla="*/ 2392 h 378160"/>
                    <a:gd name="connsiteX3" fmla="*/ 1914 w 466436"/>
                    <a:gd name="connsiteY3" fmla="*/ 0 h 378160"/>
                  </a:gdLst>
                  <a:ahLst/>
                  <a:cxnLst>
                    <a:cxn ang="0">
                      <a:pos x="connsiteX0" y="connsiteY0"/>
                    </a:cxn>
                    <a:cxn ang="0">
                      <a:pos x="connsiteX1" y="connsiteY1"/>
                    </a:cxn>
                    <a:cxn ang="0">
                      <a:pos x="connsiteX2" y="connsiteY2"/>
                    </a:cxn>
                    <a:cxn ang="0">
                      <a:pos x="connsiteX3" y="connsiteY3"/>
                    </a:cxn>
                  </a:cxnLst>
                  <a:rect l="l" t="t" r="r" b="b"/>
                  <a:pathLst>
                    <a:path w="466436" h="378160">
                      <a:moveTo>
                        <a:pt x="466436" y="375769"/>
                      </a:moveTo>
                      <a:lnTo>
                        <a:pt x="464523" y="378161"/>
                      </a:lnTo>
                      <a:lnTo>
                        <a:pt x="0" y="2392"/>
                      </a:lnTo>
                      <a:lnTo>
                        <a:pt x="1914" y="0"/>
                      </a:lnTo>
                      <a:close/>
                    </a:path>
                  </a:pathLst>
                </a:custGeom>
                <a:grpFill/>
                <a:ln w="5978" cap="flat">
                  <a:noFill/>
                  <a:prstDash val="solid"/>
                  <a:miter/>
                </a:ln>
              </p:spPr>
              <p:txBody>
                <a:bodyPr rtlCol="0" anchor="ctr"/>
                <a:lstStyle/>
                <a:p>
                  <a:endParaRPr lang="en-GB"/>
                </a:p>
              </p:txBody>
            </p:sp>
            <p:sp>
              <p:nvSpPr>
                <p:cNvPr id="4172" name="Vrije vorm: vorm 4171">
                  <a:extLst>
                    <a:ext uri="{FF2B5EF4-FFF2-40B4-BE49-F238E27FC236}">
                      <a16:creationId xmlns:a16="http://schemas.microsoft.com/office/drawing/2014/main" id="{BE483D7C-34D1-4048-A114-B0AA369A53B9}"/>
                    </a:ext>
                  </a:extLst>
                </p:cNvPr>
                <p:cNvSpPr/>
                <p:nvPr/>
              </p:nvSpPr>
              <p:spPr>
                <a:xfrm>
                  <a:off x="7953208" y="4950643"/>
                  <a:ext cx="18311" cy="18443"/>
                </a:xfrm>
                <a:custGeom>
                  <a:avLst/>
                  <a:gdLst>
                    <a:gd name="connsiteX0" fmla="*/ 14867 w 18311"/>
                    <a:gd name="connsiteY0" fmla="*/ 2032 h 18443"/>
                    <a:gd name="connsiteX1" fmla="*/ 16302 w 18311"/>
                    <a:gd name="connsiteY1" fmla="*/ 15010 h 18443"/>
                    <a:gd name="connsiteX2" fmla="*/ 3444 w 18311"/>
                    <a:gd name="connsiteY2" fmla="*/ 16386 h 18443"/>
                    <a:gd name="connsiteX3" fmla="*/ 2008 w 18311"/>
                    <a:gd name="connsiteY3" fmla="*/ 3408 h 18443"/>
                    <a:gd name="connsiteX4" fmla="*/ 14867 w 18311"/>
                    <a:gd name="connsiteY4" fmla="*/ 20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43">
                      <a:moveTo>
                        <a:pt x="14867" y="2032"/>
                      </a:moveTo>
                      <a:cubicBezTo>
                        <a:pt x="18814" y="5202"/>
                        <a:pt x="19472" y="11003"/>
                        <a:pt x="16302" y="15010"/>
                      </a:cubicBezTo>
                      <a:cubicBezTo>
                        <a:pt x="13133" y="18958"/>
                        <a:pt x="7391" y="19616"/>
                        <a:pt x="3444" y="16386"/>
                      </a:cubicBezTo>
                      <a:cubicBezTo>
                        <a:pt x="-503" y="13216"/>
                        <a:pt x="-1161" y="7415"/>
                        <a:pt x="2008" y="3408"/>
                      </a:cubicBezTo>
                      <a:cubicBezTo>
                        <a:pt x="5118" y="-539"/>
                        <a:pt x="10920" y="-1138"/>
                        <a:pt x="14867" y="2032"/>
                      </a:cubicBezTo>
                      <a:close/>
                    </a:path>
                  </a:pathLst>
                </a:custGeom>
                <a:grpFill/>
                <a:ln w="5978" cap="flat">
                  <a:noFill/>
                  <a:prstDash val="solid"/>
                  <a:miter/>
                </a:ln>
              </p:spPr>
              <p:txBody>
                <a:bodyPr rtlCol="0" anchor="ctr"/>
                <a:lstStyle/>
                <a:p>
                  <a:endParaRPr lang="en-GB"/>
                </a:p>
              </p:txBody>
            </p:sp>
            <p:sp>
              <p:nvSpPr>
                <p:cNvPr id="4173" name="Vrije vorm: vorm 4172">
                  <a:extLst>
                    <a:ext uri="{FF2B5EF4-FFF2-40B4-BE49-F238E27FC236}">
                      <a16:creationId xmlns:a16="http://schemas.microsoft.com/office/drawing/2014/main" id="{BCC9BF95-61FC-4FDB-9926-9A29D77F67E8}"/>
                    </a:ext>
                  </a:extLst>
                </p:cNvPr>
                <p:cNvSpPr/>
                <p:nvPr/>
              </p:nvSpPr>
              <p:spPr>
                <a:xfrm>
                  <a:off x="7489403" y="4575473"/>
                  <a:ext cx="18286" cy="18418"/>
                </a:xfrm>
                <a:custGeom>
                  <a:avLst/>
                  <a:gdLst>
                    <a:gd name="connsiteX0" fmla="*/ 14868 w 18286"/>
                    <a:gd name="connsiteY0" fmla="*/ 2032 h 18418"/>
                    <a:gd name="connsiteX1" fmla="*/ 2009 w 18286"/>
                    <a:gd name="connsiteY1" fmla="*/ 3408 h 18418"/>
                    <a:gd name="connsiteX2" fmla="*/ 3444 w 18286"/>
                    <a:gd name="connsiteY2" fmla="*/ 16386 h 18418"/>
                    <a:gd name="connsiteX3" fmla="*/ 16303 w 18286"/>
                    <a:gd name="connsiteY3" fmla="*/ 15011 h 18418"/>
                    <a:gd name="connsiteX4" fmla="*/ 14868 w 18286"/>
                    <a:gd name="connsiteY4" fmla="*/ 203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418">
                      <a:moveTo>
                        <a:pt x="14868" y="2032"/>
                      </a:moveTo>
                      <a:cubicBezTo>
                        <a:pt x="10920" y="-1137"/>
                        <a:pt x="5119" y="-539"/>
                        <a:pt x="2009" y="3408"/>
                      </a:cubicBezTo>
                      <a:cubicBezTo>
                        <a:pt x="-1161" y="7355"/>
                        <a:pt x="-503" y="13157"/>
                        <a:pt x="3444" y="16386"/>
                      </a:cubicBezTo>
                      <a:cubicBezTo>
                        <a:pt x="7392" y="19556"/>
                        <a:pt x="13193" y="18958"/>
                        <a:pt x="16303" y="15011"/>
                      </a:cubicBezTo>
                      <a:cubicBezTo>
                        <a:pt x="19413" y="11003"/>
                        <a:pt x="18814" y="5202"/>
                        <a:pt x="14868" y="2032"/>
                      </a:cubicBezTo>
                      <a:close/>
                    </a:path>
                  </a:pathLst>
                </a:custGeom>
                <a:grpFill/>
                <a:ln w="5978" cap="flat">
                  <a:noFill/>
                  <a:prstDash val="solid"/>
                  <a:miter/>
                </a:ln>
              </p:spPr>
              <p:txBody>
                <a:bodyPr rtlCol="0" anchor="ctr"/>
                <a:lstStyle/>
                <a:p>
                  <a:endParaRPr lang="en-GB"/>
                </a:p>
              </p:txBody>
            </p:sp>
          </p:grpSp>
          <p:grpSp>
            <p:nvGrpSpPr>
              <p:cNvPr id="405" name="Graphic 3">
                <a:extLst>
                  <a:ext uri="{FF2B5EF4-FFF2-40B4-BE49-F238E27FC236}">
                    <a16:creationId xmlns:a16="http://schemas.microsoft.com/office/drawing/2014/main" id="{54040D93-7EAF-4203-8E6A-222D99B2E410}"/>
                  </a:ext>
                </a:extLst>
              </p:cNvPr>
              <p:cNvGrpSpPr/>
              <p:nvPr/>
            </p:nvGrpSpPr>
            <p:grpSpPr>
              <a:xfrm>
                <a:off x="7470561" y="4317979"/>
                <a:ext cx="262810" cy="174682"/>
                <a:chOff x="7470561" y="4317979"/>
                <a:chExt cx="262810" cy="174682"/>
              </a:xfrm>
              <a:grpFill/>
            </p:grpSpPr>
            <p:sp>
              <p:nvSpPr>
                <p:cNvPr id="4168" name="Vrije vorm: vorm 4167">
                  <a:extLst>
                    <a:ext uri="{FF2B5EF4-FFF2-40B4-BE49-F238E27FC236}">
                      <a16:creationId xmlns:a16="http://schemas.microsoft.com/office/drawing/2014/main" id="{812EE809-3B89-47BC-BA34-AE1244BD549D}"/>
                    </a:ext>
                  </a:extLst>
                </p:cNvPr>
                <p:cNvSpPr/>
                <p:nvPr/>
              </p:nvSpPr>
              <p:spPr>
                <a:xfrm>
                  <a:off x="7478494" y="4325657"/>
                  <a:ext cx="246884" cy="159326"/>
                </a:xfrm>
                <a:custGeom>
                  <a:avLst/>
                  <a:gdLst>
                    <a:gd name="connsiteX0" fmla="*/ 246884 w 246884"/>
                    <a:gd name="connsiteY0" fmla="*/ 156695 h 159326"/>
                    <a:gd name="connsiteX1" fmla="*/ 245269 w 246884"/>
                    <a:gd name="connsiteY1" fmla="*/ 159327 h 159326"/>
                    <a:gd name="connsiteX2" fmla="*/ 0 w 246884"/>
                    <a:gd name="connsiteY2" fmla="*/ 2572 h 159326"/>
                    <a:gd name="connsiteX3" fmla="*/ 1615 w 246884"/>
                    <a:gd name="connsiteY3" fmla="*/ 0 h 159326"/>
                  </a:gdLst>
                  <a:ahLst/>
                  <a:cxnLst>
                    <a:cxn ang="0">
                      <a:pos x="connsiteX0" y="connsiteY0"/>
                    </a:cxn>
                    <a:cxn ang="0">
                      <a:pos x="connsiteX1" y="connsiteY1"/>
                    </a:cxn>
                    <a:cxn ang="0">
                      <a:pos x="connsiteX2" y="connsiteY2"/>
                    </a:cxn>
                    <a:cxn ang="0">
                      <a:pos x="connsiteX3" y="connsiteY3"/>
                    </a:cxn>
                  </a:cxnLst>
                  <a:rect l="l" t="t" r="r" b="b"/>
                  <a:pathLst>
                    <a:path w="246884" h="159326">
                      <a:moveTo>
                        <a:pt x="246884" y="156695"/>
                      </a:moveTo>
                      <a:lnTo>
                        <a:pt x="245269" y="159327"/>
                      </a:lnTo>
                      <a:lnTo>
                        <a:pt x="0" y="2572"/>
                      </a:lnTo>
                      <a:lnTo>
                        <a:pt x="1615" y="0"/>
                      </a:lnTo>
                      <a:close/>
                    </a:path>
                  </a:pathLst>
                </a:custGeom>
                <a:grpFill/>
                <a:ln w="5978" cap="flat">
                  <a:noFill/>
                  <a:prstDash val="solid"/>
                  <a:miter/>
                </a:ln>
              </p:spPr>
              <p:txBody>
                <a:bodyPr rtlCol="0" anchor="ctr"/>
                <a:lstStyle/>
                <a:p>
                  <a:endParaRPr lang="en-GB"/>
                </a:p>
              </p:txBody>
            </p:sp>
            <p:sp>
              <p:nvSpPr>
                <p:cNvPr id="4169" name="Vrije vorm: vorm 4168">
                  <a:extLst>
                    <a:ext uri="{FF2B5EF4-FFF2-40B4-BE49-F238E27FC236}">
                      <a16:creationId xmlns:a16="http://schemas.microsoft.com/office/drawing/2014/main" id="{A6EA4444-4C5C-4379-9BEC-83C14BA576F5}"/>
                    </a:ext>
                  </a:extLst>
                </p:cNvPr>
                <p:cNvSpPr/>
                <p:nvPr/>
              </p:nvSpPr>
              <p:spPr>
                <a:xfrm>
                  <a:off x="7715053" y="4474195"/>
                  <a:ext cx="18318" cy="18465"/>
                </a:xfrm>
                <a:custGeom>
                  <a:avLst/>
                  <a:gdLst>
                    <a:gd name="connsiteX0" fmla="*/ 14033 w 18318"/>
                    <a:gd name="connsiteY0" fmla="*/ 1458 h 18465"/>
                    <a:gd name="connsiteX1" fmla="*/ 16904 w 18318"/>
                    <a:gd name="connsiteY1" fmla="*/ 14197 h 18465"/>
                    <a:gd name="connsiteX2" fmla="*/ 4285 w 18318"/>
                    <a:gd name="connsiteY2" fmla="*/ 17008 h 18465"/>
                    <a:gd name="connsiteX3" fmla="*/ 1414 w 18318"/>
                    <a:gd name="connsiteY3" fmla="*/ 4269 h 18465"/>
                    <a:gd name="connsiteX4" fmla="*/ 14033 w 18318"/>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65">
                      <a:moveTo>
                        <a:pt x="14033" y="1458"/>
                      </a:moveTo>
                      <a:cubicBezTo>
                        <a:pt x="18339" y="4209"/>
                        <a:pt x="19596" y="9891"/>
                        <a:pt x="16904" y="14197"/>
                      </a:cubicBezTo>
                      <a:cubicBezTo>
                        <a:pt x="14213" y="18503"/>
                        <a:pt x="8531" y="19759"/>
                        <a:pt x="4285" y="17008"/>
                      </a:cubicBezTo>
                      <a:cubicBezTo>
                        <a:pt x="-21" y="14257"/>
                        <a:pt x="-1278" y="8575"/>
                        <a:pt x="1414" y="4269"/>
                      </a:cubicBezTo>
                      <a:cubicBezTo>
                        <a:pt x="4105" y="-37"/>
                        <a:pt x="9787" y="-1293"/>
                        <a:pt x="14033" y="1458"/>
                      </a:cubicBezTo>
                      <a:close/>
                    </a:path>
                  </a:pathLst>
                </a:custGeom>
                <a:grpFill/>
                <a:ln w="5978" cap="flat">
                  <a:noFill/>
                  <a:prstDash val="solid"/>
                  <a:miter/>
                </a:ln>
              </p:spPr>
              <p:txBody>
                <a:bodyPr rtlCol="0" anchor="ctr"/>
                <a:lstStyle/>
                <a:p>
                  <a:endParaRPr lang="en-GB"/>
                </a:p>
              </p:txBody>
            </p:sp>
            <p:sp>
              <p:nvSpPr>
                <p:cNvPr id="4170" name="Vrije vorm: vorm 4169">
                  <a:extLst>
                    <a:ext uri="{FF2B5EF4-FFF2-40B4-BE49-F238E27FC236}">
                      <a16:creationId xmlns:a16="http://schemas.microsoft.com/office/drawing/2014/main" id="{F1174424-E9D5-421B-A5D6-6990044629E3}"/>
                    </a:ext>
                  </a:extLst>
                </p:cNvPr>
                <p:cNvSpPr/>
                <p:nvPr/>
              </p:nvSpPr>
              <p:spPr>
                <a:xfrm>
                  <a:off x="7470561" y="4317979"/>
                  <a:ext cx="18303" cy="18465"/>
                </a:xfrm>
                <a:custGeom>
                  <a:avLst/>
                  <a:gdLst>
                    <a:gd name="connsiteX0" fmla="*/ 14033 w 18303"/>
                    <a:gd name="connsiteY0" fmla="*/ 1458 h 18465"/>
                    <a:gd name="connsiteX1" fmla="*/ 1414 w 18303"/>
                    <a:gd name="connsiteY1" fmla="*/ 4269 h 18465"/>
                    <a:gd name="connsiteX2" fmla="*/ 4285 w 18303"/>
                    <a:gd name="connsiteY2" fmla="*/ 17008 h 18465"/>
                    <a:gd name="connsiteX3" fmla="*/ 16904 w 18303"/>
                    <a:gd name="connsiteY3" fmla="*/ 14197 h 18465"/>
                    <a:gd name="connsiteX4" fmla="*/ 14033 w 18303"/>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33" y="1458"/>
                      </a:moveTo>
                      <a:cubicBezTo>
                        <a:pt x="9728" y="-1293"/>
                        <a:pt x="4105" y="-37"/>
                        <a:pt x="1414" y="4269"/>
                      </a:cubicBezTo>
                      <a:cubicBezTo>
                        <a:pt x="-1278" y="8575"/>
                        <a:pt x="-21" y="14256"/>
                        <a:pt x="4285" y="17008"/>
                      </a:cubicBezTo>
                      <a:cubicBezTo>
                        <a:pt x="8591" y="19759"/>
                        <a:pt x="14213" y="18503"/>
                        <a:pt x="16904" y="14197"/>
                      </a:cubicBezTo>
                      <a:cubicBezTo>
                        <a:pt x="19596" y="9891"/>
                        <a:pt x="18280" y="4209"/>
                        <a:pt x="14033" y="1458"/>
                      </a:cubicBezTo>
                      <a:close/>
                    </a:path>
                  </a:pathLst>
                </a:custGeom>
                <a:grpFill/>
                <a:ln w="5978" cap="flat">
                  <a:noFill/>
                  <a:prstDash val="solid"/>
                  <a:miter/>
                </a:ln>
              </p:spPr>
              <p:txBody>
                <a:bodyPr rtlCol="0" anchor="ctr"/>
                <a:lstStyle/>
                <a:p>
                  <a:endParaRPr lang="en-GB"/>
                </a:p>
              </p:txBody>
            </p:sp>
          </p:grpSp>
          <p:grpSp>
            <p:nvGrpSpPr>
              <p:cNvPr id="406" name="Graphic 3">
                <a:extLst>
                  <a:ext uri="{FF2B5EF4-FFF2-40B4-BE49-F238E27FC236}">
                    <a16:creationId xmlns:a16="http://schemas.microsoft.com/office/drawing/2014/main" id="{FA4F9829-2CE9-4DAA-9BE5-71D699057B95}"/>
                  </a:ext>
                </a:extLst>
              </p:cNvPr>
              <p:cNvGrpSpPr/>
              <p:nvPr/>
            </p:nvGrpSpPr>
            <p:grpSpPr>
              <a:xfrm>
                <a:off x="7500148" y="4540106"/>
                <a:ext cx="420976" cy="331848"/>
                <a:chOff x="7500148" y="4540106"/>
                <a:chExt cx="420976" cy="331848"/>
              </a:xfrm>
              <a:grpFill/>
            </p:grpSpPr>
            <p:sp>
              <p:nvSpPr>
                <p:cNvPr id="4165" name="Vrije vorm: vorm 4164">
                  <a:extLst>
                    <a:ext uri="{FF2B5EF4-FFF2-40B4-BE49-F238E27FC236}">
                      <a16:creationId xmlns:a16="http://schemas.microsoft.com/office/drawing/2014/main" id="{D0416139-BD37-444D-8C79-0D052DC5AF5D}"/>
                    </a:ext>
                  </a:extLst>
                </p:cNvPr>
                <p:cNvSpPr/>
                <p:nvPr/>
              </p:nvSpPr>
              <p:spPr>
                <a:xfrm>
                  <a:off x="7508039" y="4547841"/>
                  <a:ext cx="405193" cy="316439"/>
                </a:xfrm>
                <a:custGeom>
                  <a:avLst/>
                  <a:gdLst>
                    <a:gd name="connsiteX0" fmla="*/ 405194 w 405193"/>
                    <a:gd name="connsiteY0" fmla="*/ 314048 h 316439"/>
                    <a:gd name="connsiteX1" fmla="*/ 403340 w 405193"/>
                    <a:gd name="connsiteY1" fmla="*/ 316440 h 316439"/>
                    <a:gd name="connsiteX2" fmla="*/ 0 w 405193"/>
                    <a:gd name="connsiteY2" fmla="*/ 2392 h 316439"/>
                    <a:gd name="connsiteX3" fmla="*/ 1854 w 405193"/>
                    <a:gd name="connsiteY3" fmla="*/ 0 h 316439"/>
                  </a:gdLst>
                  <a:ahLst/>
                  <a:cxnLst>
                    <a:cxn ang="0">
                      <a:pos x="connsiteX0" y="connsiteY0"/>
                    </a:cxn>
                    <a:cxn ang="0">
                      <a:pos x="connsiteX1" y="connsiteY1"/>
                    </a:cxn>
                    <a:cxn ang="0">
                      <a:pos x="connsiteX2" y="connsiteY2"/>
                    </a:cxn>
                    <a:cxn ang="0">
                      <a:pos x="connsiteX3" y="connsiteY3"/>
                    </a:cxn>
                  </a:cxnLst>
                  <a:rect l="l" t="t" r="r" b="b"/>
                  <a:pathLst>
                    <a:path w="405193" h="316439">
                      <a:moveTo>
                        <a:pt x="405194" y="314048"/>
                      </a:moveTo>
                      <a:lnTo>
                        <a:pt x="403340" y="316440"/>
                      </a:lnTo>
                      <a:lnTo>
                        <a:pt x="0" y="2392"/>
                      </a:lnTo>
                      <a:lnTo>
                        <a:pt x="1854" y="0"/>
                      </a:lnTo>
                      <a:close/>
                    </a:path>
                  </a:pathLst>
                </a:custGeom>
                <a:grpFill/>
                <a:ln w="5978" cap="flat">
                  <a:noFill/>
                  <a:prstDash val="solid"/>
                  <a:miter/>
                </a:ln>
              </p:spPr>
              <p:txBody>
                <a:bodyPr rtlCol="0" anchor="ctr"/>
                <a:lstStyle/>
                <a:p>
                  <a:endParaRPr lang="en-GB"/>
                </a:p>
              </p:txBody>
            </p:sp>
            <p:sp>
              <p:nvSpPr>
                <p:cNvPr id="4166" name="Vrije vorm: vorm 4165">
                  <a:extLst>
                    <a:ext uri="{FF2B5EF4-FFF2-40B4-BE49-F238E27FC236}">
                      <a16:creationId xmlns:a16="http://schemas.microsoft.com/office/drawing/2014/main" id="{8213A57F-2E35-414C-BE5C-83E473BD1050}"/>
                    </a:ext>
                  </a:extLst>
                </p:cNvPr>
                <p:cNvSpPr/>
                <p:nvPr/>
              </p:nvSpPr>
              <p:spPr>
                <a:xfrm>
                  <a:off x="7902795" y="4853556"/>
                  <a:ext cx="18328" cy="18398"/>
                </a:xfrm>
                <a:custGeom>
                  <a:avLst/>
                  <a:gdLst>
                    <a:gd name="connsiteX0" fmla="*/ 14744 w 18328"/>
                    <a:gd name="connsiteY0" fmla="*/ 1933 h 18398"/>
                    <a:gd name="connsiteX1" fmla="*/ 16418 w 18328"/>
                    <a:gd name="connsiteY1" fmla="*/ 14851 h 18398"/>
                    <a:gd name="connsiteX2" fmla="*/ 3560 w 18328"/>
                    <a:gd name="connsiteY2" fmla="*/ 16466 h 18398"/>
                    <a:gd name="connsiteX3" fmla="*/ 1885 w 18328"/>
                    <a:gd name="connsiteY3" fmla="*/ 3548 h 18398"/>
                    <a:gd name="connsiteX4" fmla="*/ 14744 w 1832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8">
                      <a:moveTo>
                        <a:pt x="14744" y="1933"/>
                      </a:moveTo>
                      <a:cubicBezTo>
                        <a:pt x="18751" y="5043"/>
                        <a:pt x="19528" y="10844"/>
                        <a:pt x="16418" y="14851"/>
                      </a:cubicBezTo>
                      <a:cubicBezTo>
                        <a:pt x="13308" y="18858"/>
                        <a:pt x="7566" y="19576"/>
                        <a:pt x="3560" y="16466"/>
                      </a:cubicBezTo>
                      <a:cubicBezTo>
                        <a:pt x="-448" y="13356"/>
                        <a:pt x="-1165" y="7555"/>
                        <a:pt x="1885" y="3548"/>
                      </a:cubicBezTo>
                      <a:cubicBezTo>
                        <a:pt x="4995" y="-459"/>
                        <a:pt x="10736" y="-1177"/>
                        <a:pt x="14744" y="1933"/>
                      </a:cubicBezTo>
                      <a:close/>
                    </a:path>
                  </a:pathLst>
                </a:custGeom>
                <a:grpFill/>
                <a:ln w="5978" cap="flat">
                  <a:noFill/>
                  <a:prstDash val="solid"/>
                  <a:miter/>
                </a:ln>
              </p:spPr>
              <p:txBody>
                <a:bodyPr rtlCol="0" anchor="ctr"/>
                <a:lstStyle/>
                <a:p>
                  <a:endParaRPr lang="en-GB"/>
                </a:p>
              </p:txBody>
            </p:sp>
            <p:sp>
              <p:nvSpPr>
                <p:cNvPr id="4167" name="Vrije vorm: vorm 4166">
                  <a:extLst>
                    <a:ext uri="{FF2B5EF4-FFF2-40B4-BE49-F238E27FC236}">
                      <a16:creationId xmlns:a16="http://schemas.microsoft.com/office/drawing/2014/main" id="{F4384A55-77BC-45C4-91AA-1363E77384EE}"/>
                    </a:ext>
                  </a:extLst>
                </p:cNvPr>
                <p:cNvSpPr/>
                <p:nvPr/>
              </p:nvSpPr>
              <p:spPr>
                <a:xfrm>
                  <a:off x="7500148" y="4540106"/>
                  <a:ext cx="18353" cy="18398"/>
                </a:xfrm>
                <a:custGeom>
                  <a:avLst/>
                  <a:gdLst>
                    <a:gd name="connsiteX0" fmla="*/ 14768 w 18353"/>
                    <a:gd name="connsiteY0" fmla="*/ 1933 h 18398"/>
                    <a:gd name="connsiteX1" fmla="*/ 1911 w 18353"/>
                    <a:gd name="connsiteY1" fmla="*/ 3548 h 18398"/>
                    <a:gd name="connsiteX2" fmla="*/ 3585 w 18353"/>
                    <a:gd name="connsiteY2" fmla="*/ 16466 h 18398"/>
                    <a:gd name="connsiteX3" fmla="*/ 16443 w 18353"/>
                    <a:gd name="connsiteY3" fmla="*/ 14851 h 18398"/>
                    <a:gd name="connsiteX4" fmla="*/ 14768 w 18353"/>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398">
                      <a:moveTo>
                        <a:pt x="14768" y="1933"/>
                      </a:moveTo>
                      <a:cubicBezTo>
                        <a:pt x="10762" y="-1177"/>
                        <a:pt x="5020" y="-459"/>
                        <a:pt x="1911" y="3548"/>
                      </a:cubicBezTo>
                      <a:cubicBezTo>
                        <a:pt x="-1200" y="7555"/>
                        <a:pt x="-422" y="13356"/>
                        <a:pt x="3585" y="16466"/>
                      </a:cubicBezTo>
                      <a:cubicBezTo>
                        <a:pt x="7592" y="19576"/>
                        <a:pt x="13333" y="18858"/>
                        <a:pt x="16443" y="14851"/>
                      </a:cubicBezTo>
                      <a:cubicBezTo>
                        <a:pt x="19553" y="10844"/>
                        <a:pt x="18776" y="5043"/>
                        <a:pt x="14768" y="1933"/>
                      </a:cubicBezTo>
                      <a:close/>
                    </a:path>
                  </a:pathLst>
                </a:custGeom>
                <a:grpFill/>
                <a:ln w="5978" cap="flat">
                  <a:noFill/>
                  <a:prstDash val="solid"/>
                  <a:miter/>
                </a:ln>
              </p:spPr>
              <p:txBody>
                <a:bodyPr rtlCol="0" anchor="ctr"/>
                <a:lstStyle/>
                <a:p>
                  <a:endParaRPr lang="en-GB"/>
                </a:p>
              </p:txBody>
            </p:sp>
          </p:grpSp>
          <p:grpSp>
            <p:nvGrpSpPr>
              <p:cNvPr id="407" name="Graphic 3">
                <a:extLst>
                  <a:ext uri="{FF2B5EF4-FFF2-40B4-BE49-F238E27FC236}">
                    <a16:creationId xmlns:a16="http://schemas.microsoft.com/office/drawing/2014/main" id="{51A71B79-413B-4983-B972-B7F56E434D80}"/>
                  </a:ext>
                </a:extLst>
              </p:cNvPr>
              <p:cNvGrpSpPr/>
              <p:nvPr/>
            </p:nvGrpSpPr>
            <p:grpSpPr>
              <a:xfrm>
                <a:off x="7400403" y="4423230"/>
                <a:ext cx="587330" cy="500170"/>
                <a:chOff x="7400403" y="4423230"/>
                <a:chExt cx="587330" cy="500170"/>
              </a:xfrm>
              <a:grpFill/>
            </p:grpSpPr>
            <p:sp>
              <p:nvSpPr>
                <p:cNvPr id="4162" name="Vrije vorm: vorm 4161">
                  <a:extLst>
                    <a:ext uri="{FF2B5EF4-FFF2-40B4-BE49-F238E27FC236}">
                      <a16:creationId xmlns:a16="http://schemas.microsoft.com/office/drawing/2014/main" id="{CD28F37A-05B2-48A6-81DD-4F3E8AE737CC}"/>
                    </a:ext>
                  </a:extLst>
                </p:cNvPr>
                <p:cNvSpPr/>
                <p:nvPr/>
              </p:nvSpPr>
              <p:spPr>
                <a:xfrm>
                  <a:off x="7408220" y="4430977"/>
                  <a:ext cx="571637" cy="484677"/>
                </a:xfrm>
                <a:custGeom>
                  <a:avLst/>
                  <a:gdLst>
                    <a:gd name="connsiteX0" fmla="*/ 571638 w 571637"/>
                    <a:gd name="connsiteY0" fmla="*/ 482345 h 484677"/>
                    <a:gd name="connsiteX1" fmla="*/ 569724 w 571637"/>
                    <a:gd name="connsiteY1" fmla="*/ 484678 h 484677"/>
                    <a:gd name="connsiteX2" fmla="*/ 0 w 571637"/>
                    <a:gd name="connsiteY2" fmla="*/ 2333 h 484677"/>
                    <a:gd name="connsiteX3" fmla="*/ 1974 w 571637"/>
                    <a:gd name="connsiteY3" fmla="*/ 0 h 484677"/>
                  </a:gdLst>
                  <a:ahLst/>
                  <a:cxnLst>
                    <a:cxn ang="0">
                      <a:pos x="connsiteX0" y="connsiteY0"/>
                    </a:cxn>
                    <a:cxn ang="0">
                      <a:pos x="connsiteX1" y="connsiteY1"/>
                    </a:cxn>
                    <a:cxn ang="0">
                      <a:pos x="connsiteX2" y="connsiteY2"/>
                    </a:cxn>
                    <a:cxn ang="0">
                      <a:pos x="connsiteX3" y="connsiteY3"/>
                    </a:cxn>
                  </a:cxnLst>
                  <a:rect l="l" t="t" r="r" b="b"/>
                  <a:pathLst>
                    <a:path w="571637" h="484677">
                      <a:moveTo>
                        <a:pt x="571638" y="482345"/>
                      </a:moveTo>
                      <a:lnTo>
                        <a:pt x="569724" y="484678"/>
                      </a:lnTo>
                      <a:lnTo>
                        <a:pt x="0" y="2333"/>
                      </a:lnTo>
                      <a:lnTo>
                        <a:pt x="1974" y="0"/>
                      </a:lnTo>
                      <a:close/>
                    </a:path>
                  </a:pathLst>
                </a:custGeom>
                <a:grpFill/>
                <a:ln w="5978" cap="flat">
                  <a:noFill/>
                  <a:prstDash val="solid"/>
                  <a:miter/>
                </a:ln>
              </p:spPr>
              <p:txBody>
                <a:bodyPr rtlCol="0" anchor="ctr"/>
                <a:lstStyle/>
                <a:p>
                  <a:endParaRPr lang="en-GB"/>
                </a:p>
              </p:txBody>
            </p:sp>
            <p:sp>
              <p:nvSpPr>
                <p:cNvPr id="4163" name="Vrije vorm: vorm 4162">
                  <a:extLst>
                    <a:ext uri="{FF2B5EF4-FFF2-40B4-BE49-F238E27FC236}">
                      <a16:creationId xmlns:a16="http://schemas.microsoft.com/office/drawing/2014/main" id="{92203A5C-9F36-4991-9200-6A420986ACE2}"/>
                    </a:ext>
                  </a:extLst>
                </p:cNvPr>
                <p:cNvSpPr/>
                <p:nvPr/>
              </p:nvSpPr>
              <p:spPr>
                <a:xfrm>
                  <a:off x="7400403" y="4423230"/>
                  <a:ext cx="18324" cy="18423"/>
                </a:xfrm>
                <a:custGeom>
                  <a:avLst/>
                  <a:gdLst>
                    <a:gd name="connsiteX0" fmla="*/ 3271 w 18324"/>
                    <a:gd name="connsiteY0" fmla="*/ 16239 h 18423"/>
                    <a:gd name="connsiteX1" fmla="*/ 2135 w 18324"/>
                    <a:gd name="connsiteY1" fmla="*/ 3261 h 18423"/>
                    <a:gd name="connsiteX2" fmla="*/ 15053 w 18324"/>
                    <a:gd name="connsiteY2" fmla="*/ 2185 h 18423"/>
                    <a:gd name="connsiteX3" fmla="*/ 16190 w 18324"/>
                    <a:gd name="connsiteY3" fmla="*/ 15163 h 18423"/>
                    <a:gd name="connsiteX4" fmla="*/ 3271 w 18324"/>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3271" y="16239"/>
                      </a:moveTo>
                      <a:cubicBezTo>
                        <a:pt x="-616" y="12950"/>
                        <a:pt x="-1095" y="7149"/>
                        <a:pt x="2135" y="3261"/>
                      </a:cubicBezTo>
                      <a:cubicBezTo>
                        <a:pt x="5364" y="-626"/>
                        <a:pt x="11166" y="-1105"/>
                        <a:pt x="15053" y="2185"/>
                      </a:cubicBezTo>
                      <a:cubicBezTo>
                        <a:pt x="18941" y="5474"/>
                        <a:pt x="19420" y="11275"/>
                        <a:pt x="16190" y="15163"/>
                      </a:cubicBezTo>
                      <a:cubicBezTo>
                        <a:pt x="12960" y="19050"/>
                        <a:pt x="7159" y="19529"/>
                        <a:pt x="3271" y="16239"/>
                      </a:cubicBezTo>
                      <a:close/>
                    </a:path>
                  </a:pathLst>
                </a:custGeom>
                <a:grpFill/>
                <a:ln w="5978" cap="flat">
                  <a:noFill/>
                  <a:prstDash val="solid"/>
                  <a:miter/>
                </a:ln>
              </p:spPr>
              <p:txBody>
                <a:bodyPr rtlCol="0" anchor="ctr"/>
                <a:lstStyle/>
                <a:p>
                  <a:endParaRPr lang="en-GB"/>
                </a:p>
              </p:txBody>
            </p:sp>
            <p:sp>
              <p:nvSpPr>
                <p:cNvPr id="4164" name="Vrije vorm: vorm 4163">
                  <a:extLst>
                    <a:ext uri="{FF2B5EF4-FFF2-40B4-BE49-F238E27FC236}">
                      <a16:creationId xmlns:a16="http://schemas.microsoft.com/office/drawing/2014/main" id="{3AC341AE-EC66-447C-A6CE-88CD9E8702E2}"/>
                    </a:ext>
                  </a:extLst>
                </p:cNvPr>
                <p:cNvSpPr/>
                <p:nvPr/>
              </p:nvSpPr>
              <p:spPr>
                <a:xfrm>
                  <a:off x="7969385" y="4904978"/>
                  <a:ext cx="18349" cy="18423"/>
                </a:xfrm>
                <a:custGeom>
                  <a:avLst/>
                  <a:gdLst>
                    <a:gd name="connsiteX0" fmla="*/ 3296 w 18349"/>
                    <a:gd name="connsiteY0" fmla="*/ 16239 h 18423"/>
                    <a:gd name="connsiteX1" fmla="*/ 16215 w 18349"/>
                    <a:gd name="connsiteY1" fmla="*/ 15163 h 18423"/>
                    <a:gd name="connsiteX2" fmla="*/ 15078 w 18349"/>
                    <a:gd name="connsiteY2" fmla="*/ 2184 h 18423"/>
                    <a:gd name="connsiteX3" fmla="*/ 2160 w 18349"/>
                    <a:gd name="connsiteY3" fmla="*/ 3261 h 18423"/>
                    <a:gd name="connsiteX4" fmla="*/ 3296 w 18349"/>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3">
                      <a:moveTo>
                        <a:pt x="3296" y="16239"/>
                      </a:moveTo>
                      <a:cubicBezTo>
                        <a:pt x="7184" y="19529"/>
                        <a:pt x="12925" y="19050"/>
                        <a:pt x="16215" y="15163"/>
                      </a:cubicBezTo>
                      <a:cubicBezTo>
                        <a:pt x="19444" y="11275"/>
                        <a:pt x="18965" y="5474"/>
                        <a:pt x="15078" y="2184"/>
                      </a:cubicBezTo>
                      <a:cubicBezTo>
                        <a:pt x="11191" y="-1105"/>
                        <a:pt x="5449" y="-626"/>
                        <a:pt x="2160" y="3261"/>
                      </a:cubicBezTo>
                      <a:cubicBezTo>
                        <a:pt x="-1130" y="7149"/>
                        <a:pt x="-592" y="12950"/>
                        <a:pt x="3296" y="16239"/>
                      </a:cubicBezTo>
                      <a:close/>
                    </a:path>
                  </a:pathLst>
                </a:custGeom>
                <a:grpFill/>
                <a:ln w="5978" cap="flat">
                  <a:noFill/>
                  <a:prstDash val="solid"/>
                  <a:miter/>
                </a:ln>
              </p:spPr>
              <p:txBody>
                <a:bodyPr rtlCol="0" anchor="ctr"/>
                <a:lstStyle/>
                <a:p>
                  <a:endParaRPr lang="en-GB"/>
                </a:p>
              </p:txBody>
            </p:sp>
          </p:grpSp>
          <p:grpSp>
            <p:nvGrpSpPr>
              <p:cNvPr id="408" name="Graphic 3">
                <a:extLst>
                  <a:ext uri="{FF2B5EF4-FFF2-40B4-BE49-F238E27FC236}">
                    <a16:creationId xmlns:a16="http://schemas.microsoft.com/office/drawing/2014/main" id="{6C61B767-1A5F-4984-B09E-960E722DD64B}"/>
                  </a:ext>
                </a:extLst>
              </p:cNvPr>
              <p:cNvGrpSpPr/>
              <p:nvPr/>
            </p:nvGrpSpPr>
            <p:grpSpPr>
              <a:xfrm>
                <a:off x="7671250" y="4825652"/>
                <a:ext cx="156221" cy="138738"/>
                <a:chOff x="7671250" y="4825652"/>
                <a:chExt cx="156221" cy="138738"/>
              </a:xfrm>
              <a:grpFill/>
            </p:grpSpPr>
            <p:sp>
              <p:nvSpPr>
                <p:cNvPr id="4159" name="Vrije vorm: vorm 4158">
                  <a:extLst>
                    <a:ext uri="{FF2B5EF4-FFF2-40B4-BE49-F238E27FC236}">
                      <a16:creationId xmlns:a16="http://schemas.microsoft.com/office/drawing/2014/main" id="{61EB75AA-46F5-4B18-9E00-D2D75C718FC8}"/>
                    </a:ext>
                  </a:extLst>
                </p:cNvPr>
                <p:cNvSpPr/>
                <p:nvPr/>
              </p:nvSpPr>
              <p:spPr>
                <a:xfrm>
                  <a:off x="7679027" y="4833420"/>
                  <a:ext cx="140666" cy="123262"/>
                </a:xfrm>
                <a:custGeom>
                  <a:avLst/>
                  <a:gdLst>
                    <a:gd name="connsiteX0" fmla="*/ 140667 w 140666"/>
                    <a:gd name="connsiteY0" fmla="*/ 120930 h 123262"/>
                    <a:gd name="connsiteX1" fmla="*/ 138633 w 140666"/>
                    <a:gd name="connsiteY1" fmla="*/ 123263 h 123262"/>
                    <a:gd name="connsiteX2" fmla="*/ 0 w 140666"/>
                    <a:gd name="connsiteY2" fmla="*/ 2332 h 123262"/>
                    <a:gd name="connsiteX3" fmla="*/ 2033 w 140666"/>
                    <a:gd name="connsiteY3" fmla="*/ 0 h 123262"/>
                  </a:gdLst>
                  <a:ahLst/>
                  <a:cxnLst>
                    <a:cxn ang="0">
                      <a:pos x="connsiteX0" y="connsiteY0"/>
                    </a:cxn>
                    <a:cxn ang="0">
                      <a:pos x="connsiteX1" y="connsiteY1"/>
                    </a:cxn>
                    <a:cxn ang="0">
                      <a:pos x="connsiteX2" y="connsiteY2"/>
                    </a:cxn>
                    <a:cxn ang="0">
                      <a:pos x="connsiteX3" y="connsiteY3"/>
                    </a:cxn>
                  </a:cxnLst>
                  <a:rect l="l" t="t" r="r" b="b"/>
                  <a:pathLst>
                    <a:path w="140666" h="123262">
                      <a:moveTo>
                        <a:pt x="140667" y="120930"/>
                      </a:moveTo>
                      <a:lnTo>
                        <a:pt x="138633" y="123263"/>
                      </a:lnTo>
                      <a:lnTo>
                        <a:pt x="0" y="2332"/>
                      </a:lnTo>
                      <a:lnTo>
                        <a:pt x="2033" y="0"/>
                      </a:lnTo>
                      <a:close/>
                    </a:path>
                  </a:pathLst>
                </a:custGeom>
                <a:grpFill/>
                <a:ln w="5978" cap="flat">
                  <a:noFill/>
                  <a:prstDash val="solid"/>
                  <a:miter/>
                </a:ln>
              </p:spPr>
              <p:txBody>
                <a:bodyPr rtlCol="0" anchor="ctr"/>
                <a:lstStyle/>
                <a:p>
                  <a:endParaRPr lang="en-GB"/>
                </a:p>
              </p:txBody>
            </p:sp>
            <p:sp>
              <p:nvSpPr>
                <p:cNvPr id="4160" name="Vrije vorm: vorm 4159">
                  <a:extLst>
                    <a:ext uri="{FF2B5EF4-FFF2-40B4-BE49-F238E27FC236}">
                      <a16:creationId xmlns:a16="http://schemas.microsoft.com/office/drawing/2014/main" id="{E5E0CD79-479A-4BD8-9CAD-79512203278C}"/>
                    </a:ext>
                  </a:extLst>
                </p:cNvPr>
                <p:cNvSpPr/>
                <p:nvPr/>
              </p:nvSpPr>
              <p:spPr>
                <a:xfrm>
                  <a:off x="7809165" y="4945984"/>
                  <a:ext cx="18305" cy="18406"/>
                </a:xfrm>
                <a:custGeom>
                  <a:avLst/>
                  <a:gdLst>
                    <a:gd name="connsiteX0" fmla="*/ 15134 w 18305"/>
                    <a:gd name="connsiteY0" fmla="*/ 2265 h 18406"/>
                    <a:gd name="connsiteX1" fmla="*/ 16090 w 18305"/>
                    <a:gd name="connsiteY1" fmla="*/ 15244 h 18406"/>
                    <a:gd name="connsiteX2" fmla="*/ 3173 w 18305"/>
                    <a:gd name="connsiteY2" fmla="*/ 16141 h 18406"/>
                    <a:gd name="connsiteX3" fmla="*/ 2215 w 18305"/>
                    <a:gd name="connsiteY3" fmla="*/ 3163 h 18406"/>
                    <a:gd name="connsiteX4" fmla="*/ 15134 w 18305"/>
                    <a:gd name="connsiteY4" fmla="*/ 2265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6">
                      <a:moveTo>
                        <a:pt x="15134" y="2265"/>
                      </a:moveTo>
                      <a:cubicBezTo>
                        <a:pt x="18961" y="5615"/>
                        <a:pt x="19380" y="11416"/>
                        <a:pt x="16090" y="15244"/>
                      </a:cubicBezTo>
                      <a:cubicBezTo>
                        <a:pt x="12801" y="19071"/>
                        <a:pt x="7000" y="19490"/>
                        <a:pt x="3173" y="16141"/>
                      </a:cubicBezTo>
                      <a:cubicBezTo>
                        <a:pt x="-655" y="12791"/>
                        <a:pt x="-1074" y="6990"/>
                        <a:pt x="2215" y="3163"/>
                      </a:cubicBezTo>
                      <a:cubicBezTo>
                        <a:pt x="5504" y="-665"/>
                        <a:pt x="11306" y="-1084"/>
                        <a:pt x="15134" y="2265"/>
                      </a:cubicBezTo>
                      <a:close/>
                    </a:path>
                  </a:pathLst>
                </a:custGeom>
                <a:grpFill/>
                <a:ln w="5978" cap="flat">
                  <a:noFill/>
                  <a:prstDash val="solid"/>
                  <a:miter/>
                </a:ln>
              </p:spPr>
              <p:txBody>
                <a:bodyPr rtlCol="0" anchor="ctr"/>
                <a:lstStyle/>
                <a:p>
                  <a:endParaRPr lang="en-GB"/>
                </a:p>
              </p:txBody>
            </p:sp>
            <p:sp>
              <p:nvSpPr>
                <p:cNvPr id="4161" name="Vrije vorm: vorm 4160">
                  <a:extLst>
                    <a:ext uri="{FF2B5EF4-FFF2-40B4-BE49-F238E27FC236}">
                      <a16:creationId xmlns:a16="http://schemas.microsoft.com/office/drawing/2014/main" id="{FDDD927A-F8CD-4648-A806-49A734A70467}"/>
                    </a:ext>
                  </a:extLst>
                </p:cNvPr>
                <p:cNvSpPr/>
                <p:nvPr/>
              </p:nvSpPr>
              <p:spPr>
                <a:xfrm>
                  <a:off x="7671250" y="4825652"/>
                  <a:ext cx="18305" cy="18405"/>
                </a:xfrm>
                <a:custGeom>
                  <a:avLst/>
                  <a:gdLst>
                    <a:gd name="connsiteX0" fmla="*/ 15134 w 18305"/>
                    <a:gd name="connsiteY0" fmla="*/ 2265 h 18405"/>
                    <a:gd name="connsiteX1" fmla="*/ 2215 w 18305"/>
                    <a:gd name="connsiteY1" fmla="*/ 3163 h 18405"/>
                    <a:gd name="connsiteX2" fmla="*/ 3172 w 18305"/>
                    <a:gd name="connsiteY2" fmla="*/ 16141 h 18405"/>
                    <a:gd name="connsiteX3" fmla="*/ 16091 w 18305"/>
                    <a:gd name="connsiteY3" fmla="*/ 15244 h 18405"/>
                    <a:gd name="connsiteX4" fmla="*/ 15134 w 18305"/>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5134" y="2265"/>
                      </a:moveTo>
                      <a:cubicBezTo>
                        <a:pt x="11306" y="-1084"/>
                        <a:pt x="5505" y="-665"/>
                        <a:pt x="2215" y="3163"/>
                      </a:cubicBezTo>
                      <a:cubicBezTo>
                        <a:pt x="-1074" y="6990"/>
                        <a:pt x="-656" y="12791"/>
                        <a:pt x="3172" y="16141"/>
                      </a:cubicBezTo>
                      <a:cubicBezTo>
                        <a:pt x="7000" y="19490"/>
                        <a:pt x="12801" y="19071"/>
                        <a:pt x="16091" y="15244"/>
                      </a:cubicBezTo>
                      <a:cubicBezTo>
                        <a:pt x="19380" y="11476"/>
                        <a:pt x="18961" y="5615"/>
                        <a:pt x="15134" y="2265"/>
                      </a:cubicBezTo>
                      <a:close/>
                    </a:path>
                  </a:pathLst>
                </a:custGeom>
                <a:grpFill/>
                <a:ln w="5978" cap="flat">
                  <a:noFill/>
                  <a:prstDash val="solid"/>
                  <a:miter/>
                </a:ln>
              </p:spPr>
              <p:txBody>
                <a:bodyPr rtlCol="0" anchor="ctr"/>
                <a:lstStyle/>
                <a:p>
                  <a:endParaRPr lang="en-GB"/>
                </a:p>
              </p:txBody>
            </p:sp>
          </p:grpSp>
          <p:grpSp>
            <p:nvGrpSpPr>
              <p:cNvPr id="409" name="Graphic 3">
                <a:extLst>
                  <a:ext uri="{FF2B5EF4-FFF2-40B4-BE49-F238E27FC236}">
                    <a16:creationId xmlns:a16="http://schemas.microsoft.com/office/drawing/2014/main" id="{2BCD938C-4FE5-4851-85E9-7DF791416983}"/>
                  </a:ext>
                </a:extLst>
              </p:cNvPr>
              <p:cNvGrpSpPr/>
              <p:nvPr/>
            </p:nvGrpSpPr>
            <p:grpSpPr>
              <a:xfrm>
                <a:off x="6573350" y="1405227"/>
                <a:ext cx="82397" cy="235487"/>
                <a:chOff x="6573350" y="1405227"/>
                <a:chExt cx="82397" cy="235487"/>
              </a:xfrm>
              <a:grpFill/>
            </p:grpSpPr>
            <p:sp>
              <p:nvSpPr>
                <p:cNvPr id="4156" name="Vrije vorm: vorm 4155">
                  <a:extLst>
                    <a:ext uri="{FF2B5EF4-FFF2-40B4-BE49-F238E27FC236}">
                      <a16:creationId xmlns:a16="http://schemas.microsoft.com/office/drawing/2014/main" id="{6FA15ED9-B2F6-432B-BE28-3D09922E7E52}"/>
                    </a:ext>
                  </a:extLst>
                </p:cNvPr>
                <p:cNvSpPr/>
                <p:nvPr/>
              </p:nvSpPr>
              <p:spPr>
                <a:xfrm>
                  <a:off x="6580967" y="1413584"/>
                  <a:ext cx="67283" cy="218774"/>
                </a:xfrm>
                <a:custGeom>
                  <a:avLst/>
                  <a:gdLst>
                    <a:gd name="connsiteX0" fmla="*/ 67283 w 67283"/>
                    <a:gd name="connsiteY0" fmla="*/ 897 h 218774"/>
                    <a:gd name="connsiteX1" fmla="*/ 2871 w 67283"/>
                    <a:gd name="connsiteY1" fmla="*/ 218775 h 218774"/>
                    <a:gd name="connsiteX2" fmla="*/ 0 w 67283"/>
                    <a:gd name="connsiteY2" fmla="*/ 217878 h 218774"/>
                    <a:gd name="connsiteX3" fmla="*/ 64353 w 67283"/>
                    <a:gd name="connsiteY3" fmla="*/ 0 h 218774"/>
                  </a:gdLst>
                  <a:ahLst/>
                  <a:cxnLst>
                    <a:cxn ang="0">
                      <a:pos x="connsiteX0" y="connsiteY0"/>
                    </a:cxn>
                    <a:cxn ang="0">
                      <a:pos x="connsiteX1" y="connsiteY1"/>
                    </a:cxn>
                    <a:cxn ang="0">
                      <a:pos x="connsiteX2" y="connsiteY2"/>
                    </a:cxn>
                    <a:cxn ang="0">
                      <a:pos x="connsiteX3" y="connsiteY3"/>
                    </a:cxn>
                  </a:cxnLst>
                  <a:rect l="l" t="t" r="r" b="b"/>
                  <a:pathLst>
                    <a:path w="67283" h="218774">
                      <a:moveTo>
                        <a:pt x="67283" y="897"/>
                      </a:moveTo>
                      <a:lnTo>
                        <a:pt x="2871" y="218775"/>
                      </a:lnTo>
                      <a:lnTo>
                        <a:pt x="0" y="217878"/>
                      </a:lnTo>
                      <a:lnTo>
                        <a:pt x="64353" y="0"/>
                      </a:lnTo>
                      <a:close/>
                    </a:path>
                  </a:pathLst>
                </a:custGeom>
                <a:grpFill/>
                <a:ln w="5978" cap="flat">
                  <a:noFill/>
                  <a:prstDash val="solid"/>
                  <a:miter/>
                </a:ln>
              </p:spPr>
              <p:txBody>
                <a:bodyPr rtlCol="0" anchor="ctr"/>
                <a:lstStyle/>
                <a:p>
                  <a:endParaRPr lang="en-GB"/>
                </a:p>
              </p:txBody>
            </p:sp>
            <p:sp>
              <p:nvSpPr>
                <p:cNvPr id="4157" name="Vrije vorm: vorm 4156">
                  <a:extLst>
                    <a:ext uri="{FF2B5EF4-FFF2-40B4-BE49-F238E27FC236}">
                      <a16:creationId xmlns:a16="http://schemas.microsoft.com/office/drawing/2014/main" id="{ECC35EDD-D385-4585-9D88-1B697721CA6D}"/>
                    </a:ext>
                  </a:extLst>
                </p:cNvPr>
                <p:cNvSpPr/>
                <p:nvPr/>
              </p:nvSpPr>
              <p:spPr>
                <a:xfrm>
                  <a:off x="6637463" y="1405227"/>
                  <a:ext cx="18284" cy="18447"/>
                </a:xfrm>
                <a:custGeom>
                  <a:avLst/>
                  <a:gdLst>
                    <a:gd name="connsiteX0" fmla="*/ 380 w 18284"/>
                    <a:gd name="connsiteY0" fmla="*/ 6562 h 18447"/>
                    <a:gd name="connsiteX1" fmla="*/ 11744 w 18284"/>
                    <a:gd name="connsiteY1" fmla="*/ 402 h 18447"/>
                    <a:gd name="connsiteX2" fmla="*/ 17904 w 18284"/>
                    <a:gd name="connsiteY2" fmla="*/ 11885 h 18447"/>
                    <a:gd name="connsiteX3" fmla="*/ 6541 w 18284"/>
                    <a:gd name="connsiteY3" fmla="*/ 18045 h 18447"/>
                    <a:gd name="connsiteX4" fmla="*/ 380 w 1828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7">
                      <a:moveTo>
                        <a:pt x="380" y="6562"/>
                      </a:moveTo>
                      <a:cubicBezTo>
                        <a:pt x="1816" y="1718"/>
                        <a:pt x="6899" y="-1093"/>
                        <a:pt x="11744" y="402"/>
                      </a:cubicBezTo>
                      <a:cubicBezTo>
                        <a:pt x="16588" y="1897"/>
                        <a:pt x="19340" y="6981"/>
                        <a:pt x="17904" y="11885"/>
                      </a:cubicBezTo>
                      <a:cubicBezTo>
                        <a:pt x="16469" y="16730"/>
                        <a:pt x="11385" y="19540"/>
                        <a:pt x="6541" y="18045"/>
                      </a:cubicBezTo>
                      <a:cubicBezTo>
                        <a:pt x="1696" y="16610"/>
                        <a:pt x="-1055" y="11467"/>
                        <a:pt x="380" y="6562"/>
                      </a:cubicBezTo>
                      <a:close/>
                    </a:path>
                  </a:pathLst>
                </a:custGeom>
                <a:grpFill/>
                <a:ln w="5978" cap="flat">
                  <a:noFill/>
                  <a:prstDash val="solid"/>
                  <a:miter/>
                </a:ln>
              </p:spPr>
              <p:txBody>
                <a:bodyPr rtlCol="0" anchor="ctr"/>
                <a:lstStyle/>
                <a:p>
                  <a:endParaRPr lang="en-GB"/>
                </a:p>
              </p:txBody>
            </p:sp>
            <p:sp>
              <p:nvSpPr>
                <p:cNvPr id="4158" name="Vrije vorm: vorm 4157">
                  <a:extLst>
                    <a:ext uri="{FF2B5EF4-FFF2-40B4-BE49-F238E27FC236}">
                      <a16:creationId xmlns:a16="http://schemas.microsoft.com/office/drawing/2014/main" id="{686417A6-2ED3-4C4D-B312-C670B13D5930}"/>
                    </a:ext>
                  </a:extLst>
                </p:cNvPr>
                <p:cNvSpPr/>
                <p:nvPr/>
              </p:nvSpPr>
              <p:spPr>
                <a:xfrm>
                  <a:off x="6573350" y="1622268"/>
                  <a:ext cx="18344" cy="18447"/>
                </a:xfrm>
                <a:custGeom>
                  <a:avLst/>
                  <a:gdLst>
                    <a:gd name="connsiteX0" fmla="*/ 380 w 18344"/>
                    <a:gd name="connsiteY0" fmla="*/ 6562 h 18447"/>
                    <a:gd name="connsiteX1" fmla="*/ 6540 w 18344"/>
                    <a:gd name="connsiteY1" fmla="*/ 18045 h 18447"/>
                    <a:gd name="connsiteX2" fmla="*/ 17964 w 18344"/>
                    <a:gd name="connsiteY2" fmla="*/ 11885 h 18447"/>
                    <a:gd name="connsiteX3" fmla="*/ 11803 w 18344"/>
                    <a:gd name="connsiteY3" fmla="*/ 402 h 18447"/>
                    <a:gd name="connsiteX4" fmla="*/ 380 w 1834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47">
                      <a:moveTo>
                        <a:pt x="380" y="6562"/>
                      </a:moveTo>
                      <a:cubicBezTo>
                        <a:pt x="-1055" y="11407"/>
                        <a:pt x="1696" y="16550"/>
                        <a:pt x="6540" y="18045"/>
                      </a:cubicBezTo>
                      <a:cubicBezTo>
                        <a:pt x="11385" y="19540"/>
                        <a:pt x="16469" y="16730"/>
                        <a:pt x="17964" y="11885"/>
                      </a:cubicBezTo>
                      <a:cubicBezTo>
                        <a:pt x="19399" y="7041"/>
                        <a:pt x="16648" y="1897"/>
                        <a:pt x="11803" y="402"/>
                      </a:cubicBezTo>
                      <a:cubicBezTo>
                        <a:pt x="6959" y="-1093"/>
                        <a:pt x="1816" y="1718"/>
                        <a:pt x="380" y="6562"/>
                      </a:cubicBezTo>
                      <a:close/>
                    </a:path>
                  </a:pathLst>
                </a:custGeom>
                <a:grpFill/>
                <a:ln w="5978" cap="flat">
                  <a:noFill/>
                  <a:prstDash val="solid"/>
                  <a:miter/>
                </a:ln>
              </p:spPr>
              <p:txBody>
                <a:bodyPr rtlCol="0" anchor="ctr"/>
                <a:lstStyle/>
                <a:p>
                  <a:endParaRPr lang="en-GB"/>
                </a:p>
              </p:txBody>
            </p:sp>
          </p:grpSp>
          <p:grpSp>
            <p:nvGrpSpPr>
              <p:cNvPr id="410" name="Graphic 3">
                <a:extLst>
                  <a:ext uri="{FF2B5EF4-FFF2-40B4-BE49-F238E27FC236}">
                    <a16:creationId xmlns:a16="http://schemas.microsoft.com/office/drawing/2014/main" id="{6B372CC3-4A33-4012-93F3-79882A5326BA}"/>
                  </a:ext>
                </a:extLst>
              </p:cNvPr>
              <p:cNvGrpSpPr/>
              <p:nvPr/>
            </p:nvGrpSpPr>
            <p:grpSpPr>
              <a:xfrm>
                <a:off x="6627186" y="1599745"/>
                <a:ext cx="82891" cy="199194"/>
                <a:chOff x="6627186" y="1599745"/>
                <a:chExt cx="82891" cy="199194"/>
              </a:xfrm>
              <a:grpFill/>
            </p:grpSpPr>
            <p:sp>
              <p:nvSpPr>
                <p:cNvPr id="4153" name="Vrije vorm: vorm 4152">
                  <a:extLst>
                    <a:ext uri="{FF2B5EF4-FFF2-40B4-BE49-F238E27FC236}">
                      <a16:creationId xmlns:a16="http://schemas.microsoft.com/office/drawing/2014/main" id="{CE92BBE9-0087-4280-A2EC-640D6CD4FE79}"/>
                    </a:ext>
                  </a:extLst>
                </p:cNvPr>
                <p:cNvSpPr/>
                <p:nvPr/>
              </p:nvSpPr>
              <p:spPr>
                <a:xfrm>
                  <a:off x="6634734" y="1608017"/>
                  <a:ext cx="67761" cy="182651"/>
                </a:xfrm>
                <a:custGeom>
                  <a:avLst/>
                  <a:gdLst>
                    <a:gd name="connsiteX0" fmla="*/ 67761 w 67761"/>
                    <a:gd name="connsiteY0" fmla="*/ 1076 h 182651"/>
                    <a:gd name="connsiteX1" fmla="*/ 2871 w 67761"/>
                    <a:gd name="connsiteY1" fmla="*/ 182651 h 182651"/>
                    <a:gd name="connsiteX2" fmla="*/ 0 w 67761"/>
                    <a:gd name="connsiteY2" fmla="*/ 181634 h 182651"/>
                    <a:gd name="connsiteX3" fmla="*/ 64891 w 67761"/>
                    <a:gd name="connsiteY3" fmla="*/ 0 h 182651"/>
                  </a:gdLst>
                  <a:ahLst/>
                  <a:cxnLst>
                    <a:cxn ang="0">
                      <a:pos x="connsiteX0" y="connsiteY0"/>
                    </a:cxn>
                    <a:cxn ang="0">
                      <a:pos x="connsiteX1" y="connsiteY1"/>
                    </a:cxn>
                    <a:cxn ang="0">
                      <a:pos x="connsiteX2" y="connsiteY2"/>
                    </a:cxn>
                    <a:cxn ang="0">
                      <a:pos x="connsiteX3" y="connsiteY3"/>
                    </a:cxn>
                  </a:cxnLst>
                  <a:rect l="l" t="t" r="r" b="b"/>
                  <a:pathLst>
                    <a:path w="67761" h="182651">
                      <a:moveTo>
                        <a:pt x="67761" y="1076"/>
                      </a:moveTo>
                      <a:lnTo>
                        <a:pt x="2871" y="182651"/>
                      </a:lnTo>
                      <a:lnTo>
                        <a:pt x="0" y="181634"/>
                      </a:lnTo>
                      <a:lnTo>
                        <a:pt x="64891" y="0"/>
                      </a:lnTo>
                      <a:close/>
                    </a:path>
                  </a:pathLst>
                </a:custGeom>
                <a:grpFill/>
                <a:ln w="5978" cap="flat">
                  <a:noFill/>
                  <a:prstDash val="solid"/>
                  <a:miter/>
                </a:ln>
              </p:spPr>
              <p:txBody>
                <a:bodyPr rtlCol="0" anchor="ctr"/>
                <a:lstStyle/>
                <a:p>
                  <a:endParaRPr lang="en-GB"/>
                </a:p>
              </p:txBody>
            </p:sp>
            <p:sp>
              <p:nvSpPr>
                <p:cNvPr id="4154" name="Vrije vorm: vorm 4153">
                  <a:extLst>
                    <a:ext uri="{FF2B5EF4-FFF2-40B4-BE49-F238E27FC236}">
                      <a16:creationId xmlns:a16="http://schemas.microsoft.com/office/drawing/2014/main" id="{EDACCADE-D840-46FC-9C05-5E918D7D7692}"/>
                    </a:ext>
                  </a:extLst>
                </p:cNvPr>
                <p:cNvSpPr/>
                <p:nvPr/>
              </p:nvSpPr>
              <p:spPr>
                <a:xfrm>
                  <a:off x="6691719" y="1599745"/>
                  <a:ext cx="18359" cy="18397"/>
                </a:xfrm>
                <a:custGeom>
                  <a:avLst/>
                  <a:gdLst>
                    <a:gd name="connsiteX0" fmla="*/ 550 w 18359"/>
                    <a:gd name="connsiteY0" fmla="*/ 6059 h 18397"/>
                    <a:gd name="connsiteX1" fmla="*/ 12272 w 18359"/>
                    <a:gd name="connsiteY1" fmla="*/ 557 h 18397"/>
                    <a:gd name="connsiteX2" fmla="*/ 17834 w 18359"/>
                    <a:gd name="connsiteY2" fmla="*/ 12339 h 18397"/>
                    <a:gd name="connsiteX3" fmla="*/ 6112 w 18359"/>
                    <a:gd name="connsiteY3" fmla="*/ 17841 h 18397"/>
                    <a:gd name="connsiteX4" fmla="*/ 550 w 18359"/>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97">
                      <a:moveTo>
                        <a:pt x="550" y="6059"/>
                      </a:moveTo>
                      <a:cubicBezTo>
                        <a:pt x="2284" y="1274"/>
                        <a:pt x="7487" y="-1178"/>
                        <a:pt x="12272" y="557"/>
                      </a:cubicBezTo>
                      <a:cubicBezTo>
                        <a:pt x="17056" y="2291"/>
                        <a:pt x="19508" y="7554"/>
                        <a:pt x="17834" y="12339"/>
                      </a:cubicBezTo>
                      <a:cubicBezTo>
                        <a:pt x="16159" y="17123"/>
                        <a:pt x="10896" y="19575"/>
                        <a:pt x="6112" y="17841"/>
                      </a:cubicBezTo>
                      <a:cubicBezTo>
                        <a:pt x="1327" y="16166"/>
                        <a:pt x="-1185" y="10843"/>
                        <a:pt x="550" y="6059"/>
                      </a:cubicBezTo>
                      <a:close/>
                    </a:path>
                  </a:pathLst>
                </a:custGeom>
                <a:grpFill/>
                <a:ln w="5978" cap="flat">
                  <a:noFill/>
                  <a:prstDash val="solid"/>
                  <a:miter/>
                </a:ln>
              </p:spPr>
              <p:txBody>
                <a:bodyPr rtlCol="0" anchor="ctr"/>
                <a:lstStyle/>
                <a:p>
                  <a:endParaRPr lang="en-GB"/>
                </a:p>
              </p:txBody>
            </p:sp>
            <p:sp>
              <p:nvSpPr>
                <p:cNvPr id="4155" name="Vrije vorm: vorm 4154">
                  <a:extLst>
                    <a:ext uri="{FF2B5EF4-FFF2-40B4-BE49-F238E27FC236}">
                      <a16:creationId xmlns:a16="http://schemas.microsoft.com/office/drawing/2014/main" id="{29B422CB-4A4D-4442-8C01-379C4941E704}"/>
                    </a:ext>
                  </a:extLst>
                </p:cNvPr>
                <p:cNvSpPr/>
                <p:nvPr/>
              </p:nvSpPr>
              <p:spPr>
                <a:xfrm>
                  <a:off x="6627186" y="1780542"/>
                  <a:ext cx="18383" cy="18397"/>
                </a:xfrm>
                <a:custGeom>
                  <a:avLst/>
                  <a:gdLst>
                    <a:gd name="connsiteX0" fmla="*/ 549 w 18383"/>
                    <a:gd name="connsiteY0" fmla="*/ 6059 h 18397"/>
                    <a:gd name="connsiteX1" fmla="*/ 6111 w 18383"/>
                    <a:gd name="connsiteY1" fmla="*/ 17841 h 18397"/>
                    <a:gd name="connsiteX2" fmla="*/ 17834 w 18383"/>
                    <a:gd name="connsiteY2" fmla="*/ 12339 h 18397"/>
                    <a:gd name="connsiteX3" fmla="*/ 12272 w 18383"/>
                    <a:gd name="connsiteY3" fmla="*/ 557 h 18397"/>
                    <a:gd name="connsiteX4" fmla="*/ 549 w 18383"/>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397">
                      <a:moveTo>
                        <a:pt x="549" y="6059"/>
                      </a:moveTo>
                      <a:cubicBezTo>
                        <a:pt x="-1185" y="10844"/>
                        <a:pt x="1327" y="16106"/>
                        <a:pt x="6111" y="17841"/>
                      </a:cubicBezTo>
                      <a:cubicBezTo>
                        <a:pt x="10896" y="19575"/>
                        <a:pt x="16099" y="17123"/>
                        <a:pt x="17834" y="12339"/>
                      </a:cubicBezTo>
                      <a:cubicBezTo>
                        <a:pt x="19568" y="7554"/>
                        <a:pt x="17056" y="2291"/>
                        <a:pt x="12272" y="557"/>
                      </a:cubicBezTo>
                      <a:cubicBezTo>
                        <a:pt x="7487" y="-1178"/>
                        <a:pt x="2224" y="1274"/>
                        <a:pt x="549" y="6059"/>
                      </a:cubicBezTo>
                      <a:close/>
                    </a:path>
                  </a:pathLst>
                </a:custGeom>
                <a:grpFill/>
                <a:ln w="5978" cap="flat">
                  <a:noFill/>
                  <a:prstDash val="solid"/>
                  <a:miter/>
                </a:ln>
              </p:spPr>
              <p:txBody>
                <a:bodyPr rtlCol="0" anchor="ctr"/>
                <a:lstStyle/>
                <a:p>
                  <a:endParaRPr lang="en-GB"/>
                </a:p>
              </p:txBody>
            </p:sp>
          </p:grpSp>
          <p:grpSp>
            <p:nvGrpSpPr>
              <p:cNvPr id="411" name="Graphic 3">
                <a:extLst>
                  <a:ext uri="{FF2B5EF4-FFF2-40B4-BE49-F238E27FC236}">
                    <a16:creationId xmlns:a16="http://schemas.microsoft.com/office/drawing/2014/main" id="{DF873338-2D10-4E67-B240-07074509D54B}"/>
                  </a:ext>
                </a:extLst>
              </p:cNvPr>
              <p:cNvGrpSpPr/>
              <p:nvPr/>
            </p:nvGrpSpPr>
            <p:grpSpPr>
              <a:xfrm>
                <a:off x="6530152" y="1342367"/>
                <a:ext cx="185599" cy="447263"/>
                <a:chOff x="6530152" y="1342367"/>
                <a:chExt cx="185599" cy="447263"/>
              </a:xfrm>
              <a:grpFill/>
            </p:grpSpPr>
            <p:sp>
              <p:nvSpPr>
                <p:cNvPr id="4150" name="Vrije vorm: vorm 4149">
                  <a:extLst>
                    <a:ext uri="{FF2B5EF4-FFF2-40B4-BE49-F238E27FC236}">
                      <a16:creationId xmlns:a16="http://schemas.microsoft.com/office/drawing/2014/main" id="{E85842F0-68F0-46B0-A4A5-F28C4E9E1F6D}"/>
                    </a:ext>
                  </a:extLst>
                </p:cNvPr>
                <p:cNvSpPr/>
                <p:nvPr/>
              </p:nvSpPr>
              <p:spPr>
                <a:xfrm>
                  <a:off x="6537786" y="1350607"/>
                  <a:ext cx="170390" cy="430731"/>
                </a:xfrm>
                <a:custGeom>
                  <a:avLst/>
                  <a:gdLst>
                    <a:gd name="connsiteX0" fmla="*/ 170391 w 170390"/>
                    <a:gd name="connsiteY0" fmla="*/ 1136 h 430731"/>
                    <a:gd name="connsiteX1" fmla="*/ 2811 w 170390"/>
                    <a:gd name="connsiteY1" fmla="*/ 430732 h 430731"/>
                    <a:gd name="connsiteX2" fmla="*/ 0 w 170390"/>
                    <a:gd name="connsiteY2" fmla="*/ 429655 h 430731"/>
                    <a:gd name="connsiteX3" fmla="*/ 167520 w 170390"/>
                    <a:gd name="connsiteY3" fmla="*/ 0 h 430731"/>
                  </a:gdLst>
                  <a:ahLst/>
                  <a:cxnLst>
                    <a:cxn ang="0">
                      <a:pos x="connsiteX0" y="connsiteY0"/>
                    </a:cxn>
                    <a:cxn ang="0">
                      <a:pos x="connsiteX1" y="connsiteY1"/>
                    </a:cxn>
                    <a:cxn ang="0">
                      <a:pos x="connsiteX2" y="connsiteY2"/>
                    </a:cxn>
                    <a:cxn ang="0">
                      <a:pos x="connsiteX3" y="connsiteY3"/>
                    </a:cxn>
                  </a:cxnLst>
                  <a:rect l="l" t="t" r="r" b="b"/>
                  <a:pathLst>
                    <a:path w="170390" h="430731">
                      <a:moveTo>
                        <a:pt x="170391" y="1136"/>
                      </a:moveTo>
                      <a:lnTo>
                        <a:pt x="2811" y="430732"/>
                      </a:lnTo>
                      <a:lnTo>
                        <a:pt x="0" y="429655"/>
                      </a:lnTo>
                      <a:lnTo>
                        <a:pt x="167520" y="0"/>
                      </a:lnTo>
                      <a:close/>
                    </a:path>
                  </a:pathLst>
                </a:custGeom>
                <a:grpFill/>
                <a:ln w="5978" cap="flat">
                  <a:noFill/>
                  <a:prstDash val="solid"/>
                  <a:miter/>
                </a:ln>
              </p:spPr>
              <p:txBody>
                <a:bodyPr rtlCol="0" anchor="ctr"/>
                <a:lstStyle/>
                <a:p>
                  <a:endParaRPr lang="en-GB"/>
                </a:p>
              </p:txBody>
            </p:sp>
            <p:sp>
              <p:nvSpPr>
                <p:cNvPr id="4151" name="Vrije vorm: vorm 4150">
                  <a:extLst>
                    <a:ext uri="{FF2B5EF4-FFF2-40B4-BE49-F238E27FC236}">
                      <a16:creationId xmlns:a16="http://schemas.microsoft.com/office/drawing/2014/main" id="{0435AF62-BF1A-4CBD-9FCC-43FB1F8A69DB}"/>
                    </a:ext>
                  </a:extLst>
                </p:cNvPr>
                <p:cNvSpPr/>
                <p:nvPr/>
              </p:nvSpPr>
              <p:spPr>
                <a:xfrm>
                  <a:off x="6530152" y="1771192"/>
                  <a:ext cx="18378" cy="18438"/>
                </a:xfrm>
                <a:custGeom>
                  <a:avLst/>
                  <a:gdLst>
                    <a:gd name="connsiteX0" fmla="*/ 17742 w 18378"/>
                    <a:gd name="connsiteY0" fmla="*/ 12598 h 18438"/>
                    <a:gd name="connsiteX1" fmla="*/ 5840 w 18378"/>
                    <a:gd name="connsiteY1" fmla="*/ 17801 h 18438"/>
                    <a:gd name="connsiteX2" fmla="*/ 637 w 18378"/>
                    <a:gd name="connsiteY2" fmla="*/ 5840 h 18438"/>
                    <a:gd name="connsiteX3" fmla="*/ 12538 w 18378"/>
                    <a:gd name="connsiteY3" fmla="*/ 637 h 18438"/>
                    <a:gd name="connsiteX4" fmla="*/ 17742 w 1837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38">
                      <a:moveTo>
                        <a:pt x="17742" y="12598"/>
                      </a:moveTo>
                      <a:cubicBezTo>
                        <a:pt x="15888" y="17323"/>
                        <a:pt x="10565" y="19655"/>
                        <a:pt x="5840" y="17801"/>
                      </a:cubicBezTo>
                      <a:cubicBezTo>
                        <a:pt x="1115" y="15947"/>
                        <a:pt x="-1217" y="10565"/>
                        <a:pt x="637" y="5840"/>
                      </a:cubicBezTo>
                      <a:cubicBezTo>
                        <a:pt x="2491" y="1115"/>
                        <a:pt x="7813" y="-1217"/>
                        <a:pt x="12538" y="637"/>
                      </a:cubicBezTo>
                      <a:cubicBezTo>
                        <a:pt x="17263" y="2491"/>
                        <a:pt x="19596" y="7814"/>
                        <a:pt x="17742" y="12598"/>
                      </a:cubicBezTo>
                      <a:close/>
                    </a:path>
                  </a:pathLst>
                </a:custGeom>
                <a:grpFill/>
                <a:ln w="5978" cap="flat">
                  <a:noFill/>
                  <a:prstDash val="solid"/>
                  <a:miter/>
                </a:ln>
              </p:spPr>
              <p:txBody>
                <a:bodyPr rtlCol="0" anchor="ctr"/>
                <a:lstStyle/>
                <a:p>
                  <a:endParaRPr lang="en-GB"/>
                </a:p>
              </p:txBody>
            </p:sp>
            <p:sp>
              <p:nvSpPr>
                <p:cNvPr id="4152" name="Vrije vorm: vorm 4151">
                  <a:extLst>
                    <a:ext uri="{FF2B5EF4-FFF2-40B4-BE49-F238E27FC236}">
                      <a16:creationId xmlns:a16="http://schemas.microsoft.com/office/drawing/2014/main" id="{B630E789-FF8E-4A34-B43C-662C0D8FBEBB}"/>
                    </a:ext>
                  </a:extLst>
                </p:cNvPr>
                <p:cNvSpPr/>
                <p:nvPr/>
              </p:nvSpPr>
              <p:spPr>
                <a:xfrm>
                  <a:off x="6697373" y="1342367"/>
                  <a:ext cx="18378" cy="18445"/>
                </a:xfrm>
                <a:custGeom>
                  <a:avLst/>
                  <a:gdLst>
                    <a:gd name="connsiteX0" fmla="*/ 17742 w 18378"/>
                    <a:gd name="connsiteY0" fmla="*/ 12606 h 18445"/>
                    <a:gd name="connsiteX1" fmla="*/ 12538 w 18378"/>
                    <a:gd name="connsiteY1" fmla="*/ 644 h 18445"/>
                    <a:gd name="connsiteX2" fmla="*/ 637 w 18378"/>
                    <a:gd name="connsiteY2" fmla="*/ 5848 h 18445"/>
                    <a:gd name="connsiteX3" fmla="*/ 5840 w 18378"/>
                    <a:gd name="connsiteY3" fmla="*/ 17809 h 18445"/>
                    <a:gd name="connsiteX4" fmla="*/ 17742 w 18378"/>
                    <a:gd name="connsiteY4" fmla="*/ 12606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45">
                      <a:moveTo>
                        <a:pt x="17742" y="12606"/>
                      </a:moveTo>
                      <a:cubicBezTo>
                        <a:pt x="19596" y="7881"/>
                        <a:pt x="17263" y="2498"/>
                        <a:pt x="12538" y="644"/>
                      </a:cubicBezTo>
                      <a:cubicBezTo>
                        <a:pt x="7814" y="-1210"/>
                        <a:pt x="2491" y="1063"/>
                        <a:pt x="637" y="5848"/>
                      </a:cubicBezTo>
                      <a:cubicBezTo>
                        <a:pt x="-1217" y="10572"/>
                        <a:pt x="1115" y="15955"/>
                        <a:pt x="5840" y="17809"/>
                      </a:cubicBezTo>
                      <a:cubicBezTo>
                        <a:pt x="10565" y="19663"/>
                        <a:pt x="15888" y="17331"/>
                        <a:pt x="17742" y="12606"/>
                      </a:cubicBezTo>
                      <a:close/>
                    </a:path>
                  </a:pathLst>
                </a:custGeom>
                <a:grpFill/>
                <a:ln w="5978" cap="flat">
                  <a:noFill/>
                  <a:prstDash val="solid"/>
                  <a:miter/>
                </a:ln>
              </p:spPr>
              <p:txBody>
                <a:bodyPr rtlCol="0" anchor="ctr"/>
                <a:lstStyle/>
                <a:p>
                  <a:endParaRPr lang="en-GB"/>
                </a:p>
              </p:txBody>
            </p:sp>
          </p:grpSp>
          <p:grpSp>
            <p:nvGrpSpPr>
              <p:cNvPr id="412" name="Graphic 3">
                <a:extLst>
                  <a:ext uri="{FF2B5EF4-FFF2-40B4-BE49-F238E27FC236}">
                    <a16:creationId xmlns:a16="http://schemas.microsoft.com/office/drawing/2014/main" id="{1B741EED-9B63-41D9-B941-FE5CD715A730}"/>
                  </a:ext>
                </a:extLst>
              </p:cNvPr>
              <p:cNvGrpSpPr/>
              <p:nvPr/>
            </p:nvGrpSpPr>
            <p:grpSpPr>
              <a:xfrm>
                <a:off x="7443472" y="4338719"/>
                <a:ext cx="343183" cy="279687"/>
                <a:chOff x="7443472" y="4338719"/>
                <a:chExt cx="343183" cy="279687"/>
              </a:xfrm>
              <a:grpFill/>
            </p:grpSpPr>
            <p:sp>
              <p:nvSpPr>
                <p:cNvPr id="4147" name="Vrije vorm: vorm 4146">
                  <a:extLst>
                    <a:ext uri="{FF2B5EF4-FFF2-40B4-BE49-F238E27FC236}">
                      <a16:creationId xmlns:a16="http://schemas.microsoft.com/office/drawing/2014/main" id="{E548459F-DC98-4C8C-8922-D8262368378A}"/>
                    </a:ext>
                  </a:extLst>
                </p:cNvPr>
                <p:cNvSpPr/>
                <p:nvPr/>
              </p:nvSpPr>
              <p:spPr>
                <a:xfrm>
                  <a:off x="7451282" y="4346469"/>
                  <a:ext cx="327503" cy="264228"/>
                </a:xfrm>
                <a:custGeom>
                  <a:avLst/>
                  <a:gdLst>
                    <a:gd name="connsiteX0" fmla="*/ 327504 w 327503"/>
                    <a:gd name="connsiteY0" fmla="*/ 261836 h 264228"/>
                    <a:gd name="connsiteX1" fmla="*/ 325590 w 327503"/>
                    <a:gd name="connsiteY1" fmla="*/ 264229 h 264228"/>
                    <a:gd name="connsiteX2" fmla="*/ 0 w 327503"/>
                    <a:gd name="connsiteY2" fmla="*/ 2392 h 264228"/>
                    <a:gd name="connsiteX3" fmla="*/ 1914 w 327503"/>
                    <a:gd name="connsiteY3" fmla="*/ 0 h 264228"/>
                  </a:gdLst>
                  <a:ahLst/>
                  <a:cxnLst>
                    <a:cxn ang="0">
                      <a:pos x="connsiteX0" y="connsiteY0"/>
                    </a:cxn>
                    <a:cxn ang="0">
                      <a:pos x="connsiteX1" y="connsiteY1"/>
                    </a:cxn>
                    <a:cxn ang="0">
                      <a:pos x="connsiteX2" y="connsiteY2"/>
                    </a:cxn>
                    <a:cxn ang="0">
                      <a:pos x="connsiteX3" y="connsiteY3"/>
                    </a:cxn>
                  </a:cxnLst>
                  <a:rect l="l" t="t" r="r" b="b"/>
                  <a:pathLst>
                    <a:path w="327503" h="264228">
                      <a:moveTo>
                        <a:pt x="327504" y="261836"/>
                      </a:moveTo>
                      <a:lnTo>
                        <a:pt x="325590" y="264229"/>
                      </a:lnTo>
                      <a:lnTo>
                        <a:pt x="0" y="2392"/>
                      </a:lnTo>
                      <a:lnTo>
                        <a:pt x="1914" y="0"/>
                      </a:lnTo>
                      <a:close/>
                    </a:path>
                  </a:pathLst>
                </a:custGeom>
                <a:grpFill/>
                <a:ln w="5978" cap="flat">
                  <a:noFill/>
                  <a:prstDash val="solid"/>
                  <a:miter/>
                </a:ln>
              </p:spPr>
              <p:txBody>
                <a:bodyPr rtlCol="0" anchor="ctr"/>
                <a:lstStyle/>
                <a:p>
                  <a:endParaRPr lang="en-GB"/>
                </a:p>
              </p:txBody>
            </p:sp>
            <p:sp>
              <p:nvSpPr>
                <p:cNvPr id="4148" name="Vrije vorm: vorm 4147">
                  <a:extLst>
                    <a:ext uri="{FF2B5EF4-FFF2-40B4-BE49-F238E27FC236}">
                      <a16:creationId xmlns:a16="http://schemas.microsoft.com/office/drawing/2014/main" id="{7B3B2DDF-F22F-4888-931E-0860CB2FB9DA}"/>
                    </a:ext>
                  </a:extLst>
                </p:cNvPr>
                <p:cNvSpPr/>
                <p:nvPr/>
              </p:nvSpPr>
              <p:spPr>
                <a:xfrm>
                  <a:off x="7443472" y="4338719"/>
                  <a:ext cx="18311" cy="18474"/>
                </a:xfrm>
                <a:custGeom>
                  <a:avLst/>
                  <a:gdLst>
                    <a:gd name="connsiteX0" fmla="*/ 3444 w 18311"/>
                    <a:gd name="connsiteY0" fmla="*/ 16422 h 18474"/>
                    <a:gd name="connsiteX1" fmla="*/ 2008 w 18311"/>
                    <a:gd name="connsiteY1" fmla="*/ 3444 h 18474"/>
                    <a:gd name="connsiteX2" fmla="*/ 14867 w 18311"/>
                    <a:gd name="connsiteY2" fmla="*/ 2009 h 18474"/>
                    <a:gd name="connsiteX3" fmla="*/ 16302 w 18311"/>
                    <a:gd name="connsiteY3" fmla="*/ 14987 h 18474"/>
                    <a:gd name="connsiteX4" fmla="*/ 3444 w 18311"/>
                    <a:gd name="connsiteY4" fmla="*/ 16422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74">
                      <a:moveTo>
                        <a:pt x="3444" y="16422"/>
                      </a:moveTo>
                      <a:cubicBezTo>
                        <a:pt x="-503" y="13253"/>
                        <a:pt x="-1161" y="7451"/>
                        <a:pt x="2008" y="3444"/>
                      </a:cubicBezTo>
                      <a:cubicBezTo>
                        <a:pt x="5178" y="-503"/>
                        <a:pt x="10920" y="-1161"/>
                        <a:pt x="14867" y="2009"/>
                      </a:cubicBezTo>
                      <a:cubicBezTo>
                        <a:pt x="18815" y="5178"/>
                        <a:pt x="19472" y="10980"/>
                        <a:pt x="16302" y="14987"/>
                      </a:cubicBezTo>
                      <a:cubicBezTo>
                        <a:pt x="13132" y="18994"/>
                        <a:pt x="7391" y="19652"/>
                        <a:pt x="3444" y="16422"/>
                      </a:cubicBezTo>
                      <a:close/>
                    </a:path>
                  </a:pathLst>
                </a:custGeom>
                <a:grpFill/>
                <a:ln w="5978" cap="flat">
                  <a:noFill/>
                  <a:prstDash val="solid"/>
                  <a:miter/>
                </a:ln>
              </p:spPr>
              <p:txBody>
                <a:bodyPr rtlCol="0" anchor="ctr"/>
                <a:lstStyle/>
                <a:p>
                  <a:endParaRPr lang="en-GB"/>
                </a:p>
              </p:txBody>
            </p:sp>
            <p:sp>
              <p:nvSpPr>
                <p:cNvPr id="4149" name="Vrije vorm: vorm 4148">
                  <a:extLst>
                    <a:ext uri="{FF2B5EF4-FFF2-40B4-BE49-F238E27FC236}">
                      <a16:creationId xmlns:a16="http://schemas.microsoft.com/office/drawing/2014/main" id="{65F794E5-B7C8-4EC4-AC4F-BC28749AD543}"/>
                    </a:ext>
                  </a:extLst>
                </p:cNvPr>
                <p:cNvSpPr/>
                <p:nvPr/>
              </p:nvSpPr>
              <p:spPr>
                <a:xfrm>
                  <a:off x="7768344" y="4599938"/>
                  <a:ext cx="18311" cy="18468"/>
                </a:xfrm>
                <a:custGeom>
                  <a:avLst/>
                  <a:gdLst>
                    <a:gd name="connsiteX0" fmla="*/ 3444 w 18311"/>
                    <a:gd name="connsiteY0" fmla="*/ 16441 h 18468"/>
                    <a:gd name="connsiteX1" fmla="*/ 16303 w 18311"/>
                    <a:gd name="connsiteY1" fmla="*/ 15006 h 18468"/>
                    <a:gd name="connsiteX2" fmla="*/ 14868 w 18311"/>
                    <a:gd name="connsiteY2" fmla="*/ 2028 h 18468"/>
                    <a:gd name="connsiteX3" fmla="*/ 2009 w 18311"/>
                    <a:gd name="connsiteY3" fmla="*/ 3463 h 18468"/>
                    <a:gd name="connsiteX4" fmla="*/ 3444 w 18311"/>
                    <a:gd name="connsiteY4" fmla="*/ 16441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68">
                      <a:moveTo>
                        <a:pt x="3444" y="16441"/>
                      </a:moveTo>
                      <a:cubicBezTo>
                        <a:pt x="7392" y="19611"/>
                        <a:pt x="13193" y="19013"/>
                        <a:pt x="16303" y="15006"/>
                      </a:cubicBezTo>
                      <a:cubicBezTo>
                        <a:pt x="19472" y="11059"/>
                        <a:pt x="18814" y="5257"/>
                        <a:pt x="14868" y="2028"/>
                      </a:cubicBezTo>
                      <a:cubicBezTo>
                        <a:pt x="10920" y="-1142"/>
                        <a:pt x="5119" y="-544"/>
                        <a:pt x="2009" y="3463"/>
                      </a:cubicBezTo>
                      <a:cubicBezTo>
                        <a:pt x="-1161" y="7470"/>
                        <a:pt x="-503" y="13271"/>
                        <a:pt x="3444" y="16441"/>
                      </a:cubicBezTo>
                      <a:close/>
                    </a:path>
                  </a:pathLst>
                </a:custGeom>
                <a:grpFill/>
                <a:ln w="5978" cap="flat">
                  <a:noFill/>
                  <a:prstDash val="solid"/>
                  <a:miter/>
                </a:ln>
              </p:spPr>
              <p:txBody>
                <a:bodyPr rtlCol="0" anchor="ctr"/>
                <a:lstStyle/>
                <a:p>
                  <a:endParaRPr lang="en-GB"/>
                </a:p>
              </p:txBody>
            </p:sp>
          </p:grpSp>
          <p:grpSp>
            <p:nvGrpSpPr>
              <p:cNvPr id="413" name="Graphic 3">
                <a:extLst>
                  <a:ext uri="{FF2B5EF4-FFF2-40B4-BE49-F238E27FC236}">
                    <a16:creationId xmlns:a16="http://schemas.microsoft.com/office/drawing/2014/main" id="{56AFA0E0-415E-4F11-9C65-54BF55ED80BD}"/>
                  </a:ext>
                </a:extLst>
              </p:cNvPr>
              <p:cNvGrpSpPr/>
              <p:nvPr/>
            </p:nvGrpSpPr>
            <p:grpSpPr>
              <a:xfrm>
                <a:off x="6644538" y="1617044"/>
                <a:ext cx="22016" cy="29462"/>
                <a:chOff x="6644538" y="1617044"/>
                <a:chExt cx="22016" cy="29462"/>
              </a:xfrm>
              <a:grpFill/>
            </p:grpSpPr>
            <p:sp>
              <p:nvSpPr>
                <p:cNvPr id="4145" name="Vrije vorm: vorm 4144">
                  <a:extLst>
                    <a:ext uri="{FF2B5EF4-FFF2-40B4-BE49-F238E27FC236}">
                      <a16:creationId xmlns:a16="http://schemas.microsoft.com/office/drawing/2014/main" id="{1DCC8665-9892-468A-9498-947A4AAA0B97}"/>
                    </a:ext>
                  </a:extLst>
                </p:cNvPr>
                <p:cNvSpPr/>
                <p:nvPr/>
              </p:nvSpPr>
              <p:spPr>
                <a:xfrm>
                  <a:off x="6648246" y="1617044"/>
                  <a:ext cx="18308" cy="18428"/>
                </a:xfrm>
                <a:custGeom>
                  <a:avLst/>
                  <a:gdLst>
                    <a:gd name="connsiteX0" fmla="*/ 17827 w 18308"/>
                    <a:gd name="connsiteY0" fmla="*/ 12205 h 18428"/>
                    <a:gd name="connsiteX1" fmla="*/ 6224 w 18308"/>
                    <a:gd name="connsiteY1" fmla="*/ 17946 h 18428"/>
                    <a:gd name="connsiteX2" fmla="*/ 482 w 18308"/>
                    <a:gd name="connsiteY2" fmla="*/ 6224 h 18428"/>
                    <a:gd name="connsiteX3" fmla="*/ 12085 w 18308"/>
                    <a:gd name="connsiteY3" fmla="*/ 482 h 18428"/>
                    <a:gd name="connsiteX4" fmla="*/ 17827 w 18308"/>
                    <a:gd name="connsiteY4" fmla="*/ 1220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8">
                      <a:moveTo>
                        <a:pt x="17827" y="12205"/>
                      </a:moveTo>
                      <a:cubicBezTo>
                        <a:pt x="16212" y="16989"/>
                        <a:pt x="11009" y="19561"/>
                        <a:pt x="6224" y="17946"/>
                      </a:cubicBezTo>
                      <a:cubicBezTo>
                        <a:pt x="1440" y="16271"/>
                        <a:pt x="-1133" y="11068"/>
                        <a:pt x="482" y="6224"/>
                      </a:cubicBezTo>
                      <a:cubicBezTo>
                        <a:pt x="2097" y="1439"/>
                        <a:pt x="7300" y="-1132"/>
                        <a:pt x="12085" y="482"/>
                      </a:cubicBezTo>
                      <a:cubicBezTo>
                        <a:pt x="16870" y="2157"/>
                        <a:pt x="19441" y="7420"/>
                        <a:pt x="17827" y="12205"/>
                      </a:cubicBezTo>
                      <a:close/>
                    </a:path>
                  </a:pathLst>
                </a:custGeom>
                <a:grpFill/>
                <a:ln w="5978" cap="flat">
                  <a:noFill/>
                  <a:prstDash val="solid"/>
                  <a:miter/>
                </a:ln>
              </p:spPr>
              <p:txBody>
                <a:bodyPr rtlCol="0" anchor="ctr"/>
                <a:lstStyle/>
                <a:p>
                  <a:endParaRPr lang="en-GB"/>
                </a:p>
              </p:txBody>
            </p:sp>
            <p:sp>
              <p:nvSpPr>
                <p:cNvPr id="4146" name="Vrije vorm: vorm 4145">
                  <a:extLst>
                    <a:ext uri="{FF2B5EF4-FFF2-40B4-BE49-F238E27FC236}">
                      <a16:creationId xmlns:a16="http://schemas.microsoft.com/office/drawing/2014/main" id="{9A135ECA-AC2D-441A-8A45-9ACC93E7C88F}"/>
                    </a:ext>
                  </a:extLst>
                </p:cNvPr>
                <p:cNvSpPr/>
                <p:nvPr/>
              </p:nvSpPr>
              <p:spPr>
                <a:xfrm>
                  <a:off x="6644538" y="1628019"/>
                  <a:ext cx="18308" cy="18486"/>
                </a:xfrm>
                <a:custGeom>
                  <a:avLst/>
                  <a:gdLst>
                    <a:gd name="connsiteX0" fmla="*/ 17827 w 18308"/>
                    <a:gd name="connsiteY0" fmla="*/ 12234 h 18486"/>
                    <a:gd name="connsiteX1" fmla="*/ 12085 w 18308"/>
                    <a:gd name="connsiteY1" fmla="*/ 512 h 18486"/>
                    <a:gd name="connsiteX2" fmla="*/ 482 w 18308"/>
                    <a:gd name="connsiteY2" fmla="*/ 6253 h 18486"/>
                    <a:gd name="connsiteX3" fmla="*/ 6224 w 18308"/>
                    <a:gd name="connsiteY3" fmla="*/ 17975 h 18486"/>
                    <a:gd name="connsiteX4" fmla="*/ 17827 w 18308"/>
                    <a:gd name="connsiteY4" fmla="*/ 12234 h 18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86">
                      <a:moveTo>
                        <a:pt x="17827" y="12234"/>
                      </a:moveTo>
                      <a:cubicBezTo>
                        <a:pt x="19441" y="7449"/>
                        <a:pt x="16870" y="2186"/>
                        <a:pt x="12085" y="512"/>
                      </a:cubicBezTo>
                      <a:cubicBezTo>
                        <a:pt x="7300" y="-1163"/>
                        <a:pt x="2097" y="1409"/>
                        <a:pt x="482" y="6253"/>
                      </a:cubicBezTo>
                      <a:cubicBezTo>
                        <a:pt x="-1133" y="11038"/>
                        <a:pt x="1440" y="16301"/>
                        <a:pt x="6224" y="17975"/>
                      </a:cubicBezTo>
                      <a:cubicBezTo>
                        <a:pt x="11009" y="19650"/>
                        <a:pt x="16212" y="17078"/>
                        <a:pt x="17827" y="12234"/>
                      </a:cubicBezTo>
                      <a:close/>
                    </a:path>
                  </a:pathLst>
                </a:custGeom>
                <a:grpFill/>
                <a:ln w="5978" cap="flat">
                  <a:noFill/>
                  <a:prstDash val="solid"/>
                  <a:miter/>
                </a:ln>
              </p:spPr>
              <p:txBody>
                <a:bodyPr rtlCol="0" anchor="ctr"/>
                <a:lstStyle/>
                <a:p>
                  <a:endParaRPr lang="en-GB"/>
                </a:p>
              </p:txBody>
            </p:sp>
          </p:grpSp>
          <p:grpSp>
            <p:nvGrpSpPr>
              <p:cNvPr id="414" name="Graphic 3">
                <a:extLst>
                  <a:ext uri="{FF2B5EF4-FFF2-40B4-BE49-F238E27FC236}">
                    <a16:creationId xmlns:a16="http://schemas.microsoft.com/office/drawing/2014/main" id="{76527113-3604-49F8-BD11-DE4915086DFF}"/>
                  </a:ext>
                </a:extLst>
              </p:cNvPr>
              <p:cNvGrpSpPr/>
              <p:nvPr/>
            </p:nvGrpSpPr>
            <p:grpSpPr>
              <a:xfrm>
                <a:off x="7502979" y="4264051"/>
                <a:ext cx="51133" cy="37687"/>
                <a:chOff x="7502979" y="4264051"/>
                <a:chExt cx="51133" cy="37687"/>
              </a:xfrm>
              <a:grpFill/>
            </p:grpSpPr>
            <p:sp>
              <p:nvSpPr>
                <p:cNvPr id="4142" name="Vrije vorm: vorm 4141">
                  <a:extLst>
                    <a:ext uri="{FF2B5EF4-FFF2-40B4-BE49-F238E27FC236}">
                      <a16:creationId xmlns:a16="http://schemas.microsoft.com/office/drawing/2014/main" id="{DC6CADFF-E074-4A1F-A42B-9414139719E1}"/>
                    </a:ext>
                  </a:extLst>
                </p:cNvPr>
                <p:cNvSpPr/>
                <p:nvPr/>
              </p:nvSpPr>
              <p:spPr>
                <a:xfrm>
                  <a:off x="7510969" y="4271710"/>
                  <a:ext cx="35166" cy="22368"/>
                </a:xfrm>
                <a:custGeom>
                  <a:avLst/>
                  <a:gdLst>
                    <a:gd name="connsiteX0" fmla="*/ 35167 w 35166"/>
                    <a:gd name="connsiteY0" fmla="*/ 19737 h 22368"/>
                    <a:gd name="connsiteX1" fmla="*/ 33612 w 35166"/>
                    <a:gd name="connsiteY1" fmla="*/ 22368 h 22368"/>
                    <a:gd name="connsiteX2" fmla="*/ 0 w 35166"/>
                    <a:gd name="connsiteY2" fmla="*/ 2632 h 22368"/>
                    <a:gd name="connsiteX3" fmla="*/ 1495 w 35166"/>
                    <a:gd name="connsiteY3" fmla="*/ 0 h 22368"/>
                  </a:gdLst>
                  <a:ahLst/>
                  <a:cxnLst>
                    <a:cxn ang="0">
                      <a:pos x="connsiteX0" y="connsiteY0"/>
                    </a:cxn>
                    <a:cxn ang="0">
                      <a:pos x="connsiteX1" y="connsiteY1"/>
                    </a:cxn>
                    <a:cxn ang="0">
                      <a:pos x="connsiteX2" y="connsiteY2"/>
                    </a:cxn>
                    <a:cxn ang="0">
                      <a:pos x="connsiteX3" y="connsiteY3"/>
                    </a:cxn>
                  </a:cxnLst>
                  <a:rect l="l" t="t" r="r" b="b"/>
                  <a:pathLst>
                    <a:path w="35166" h="22368">
                      <a:moveTo>
                        <a:pt x="35167" y="19737"/>
                      </a:moveTo>
                      <a:lnTo>
                        <a:pt x="33612" y="22368"/>
                      </a:lnTo>
                      <a:lnTo>
                        <a:pt x="0" y="2632"/>
                      </a:lnTo>
                      <a:lnTo>
                        <a:pt x="1495" y="0"/>
                      </a:lnTo>
                      <a:close/>
                    </a:path>
                  </a:pathLst>
                </a:custGeom>
                <a:grpFill/>
                <a:ln w="5978" cap="flat">
                  <a:noFill/>
                  <a:prstDash val="solid"/>
                  <a:miter/>
                </a:ln>
              </p:spPr>
              <p:txBody>
                <a:bodyPr rtlCol="0" anchor="ctr"/>
                <a:lstStyle/>
                <a:p>
                  <a:endParaRPr lang="en-GB"/>
                </a:p>
              </p:txBody>
            </p:sp>
            <p:sp>
              <p:nvSpPr>
                <p:cNvPr id="4143" name="Vrije vorm: vorm 4142">
                  <a:extLst>
                    <a:ext uri="{FF2B5EF4-FFF2-40B4-BE49-F238E27FC236}">
                      <a16:creationId xmlns:a16="http://schemas.microsoft.com/office/drawing/2014/main" id="{981DD3BA-BAA4-4472-891A-8AFE222A0E5C}"/>
                    </a:ext>
                  </a:extLst>
                </p:cNvPr>
                <p:cNvSpPr/>
                <p:nvPr/>
              </p:nvSpPr>
              <p:spPr>
                <a:xfrm>
                  <a:off x="7535826" y="4283309"/>
                  <a:ext cx="18285" cy="18429"/>
                </a:xfrm>
                <a:custGeom>
                  <a:avLst/>
                  <a:gdLst>
                    <a:gd name="connsiteX0" fmla="*/ 13718 w 18285"/>
                    <a:gd name="connsiteY0" fmla="*/ 1260 h 18429"/>
                    <a:gd name="connsiteX1" fmla="*/ 17068 w 18285"/>
                    <a:gd name="connsiteY1" fmla="*/ 13880 h 18429"/>
                    <a:gd name="connsiteX2" fmla="*/ 4568 w 18285"/>
                    <a:gd name="connsiteY2" fmla="*/ 17169 h 18429"/>
                    <a:gd name="connsiteX3" fmla="*/ 1219 w 18285"/>
                    <a:gd name="connsiteY3" fmla="*/ 4550 h 18429"/>
                    <a:gd name="connsiteX4" fmla="*/ 13718 w 18285"/>
                    <a:gd name="connsiteY4" fmla="*/ 126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9">
                      <a:moveTo>
                        <a:pt x="13718" y="1260"/>
                      </a:moveTo>
                      <a:cubicBezTo>
                        <a:pt x="18084" y="3832"/>
                        <a:pt x="19579" y="9454"/>
                        <a:pt x="17068" y="13880"/>
                      </a:cubicBezTo>
                      <a:cubicBezTo>
                        <a:pt x="14496" y="18246"/>
                        <a:pt x="8934" y="19741"/>
                        <a:pt x="4568" y="17169"/>
                      </a:cubicBezTo>
                      <a:cubicBezTo>
                        <a:pt x="202" y="14597"/>
                        <a:pt x="-1293" y="8975"/>
                        <a:pt x="1219" y="4550"/>
                      </a:cubicBezTo>
                      <a:cubicBezTo>
                        <a:pt x="3730" y="184"/>
                        <a:pt x="9352" y="-1311"/>
                        <a:pt x="13718" y="1260"/>
                      </a:cubicBezTo>
                      <a:close/>
                    </a:path>
                  </a:pathLst>
                </a:custGeom>
                <a:grpFill/>
                <a:ln w="5978" cap="flat">
                  <a:noFill/>
                  <a:prstDash val="solid"/>
                  <a:miter/>
                </a:ln>
              </p:spPr>
              <p:txBody>
                <a:bodyPr rtlCol="0" anchor="ctr"/>
                <a:lstStyle/>
                <a:p>
                  <a:endParaRPr lang="en-GB"/>
                </a:p>
              </p:txBody>
            </p:sp>
            <p:sp>
              <p:nvSpPr>
                <p:cNvPr id="4144" name="Vrije vorm: vorm 4143">
                  <a:extLst>
                    <a:ext uri="{FF2B5EF4-FFF2-40B4-BE49-F238E27FC236}">
                      <a16:creationId xmlns:a16="http://schemas.microsoft.com/office/drawing/2014/main" id="{991D2DF4-A933-4FC3-A577-50A2DBD232C5}"/>
                    </a:ext>
                  </a:extLst>
                </p:cNvPr>
                <p:cNvSpPr/>
                <p:nvPr/>
              </p:nvSpPr>
              <p:spPr>
                <a:xfrm>
                  <a:off x="7502979" y="4264051"/>
                  <a:ext cx="18299" cy="18429"/>
                </a:xfrm>
                <a:custGeom>
                  <a:avLst/>
                  <a:gdLst>
                    <a:gd name="connsiteX0" fmla="*/ 13731 w 18299"/>
                    <a:gd name="connsiteY0" fmla="*/ 1261 h 18429"/>
                    <a:gd name="connsiteX1" fmla="*/ 1232 w 18299"/>
                    <a:gd name="connsiteY1" fmla="*/ 4550 h 18429"/>
                    <a:gd name="connsiteX2" fmla="*/ 4581 w 18299"/>
                    <a:gd name="connsiteY2" fmla="*/ 17169 h 18429"/>
                    <a:gd name="connsiteX3" fmla="*/ 17081 w 18299"/>
                    <a:gd name="connsiteY3" fmla="*/ 13880 h 18429"/>
                    <a:gd name="connsiteX4" fmla="*/ 13731 w 18299"/>
                    <a:gd name="connsiteY4" fmla="*/ 126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29">
                      <a:moveTo>
                        <a:pt x="13731" y="1261"/>
                      </a:moveTo>
                      <a:cubicBezTo>
                        <a:pt x="9366" y="-1311"/>
                        <a:pt x="3743" y="184"/>
                        <a:pt x="1232" y="4550"/>
                      </a:cubicBezTo>
                      <a:cubicBezTo>
                        <a:pt x="-1280" y="8916"/>
                        <a:pt x="155" y="14597"/>
                        <a:pt x="4581" y="17169"/>
                      </a:cubicBezTo>
                      <a:cubicBezTo>
                        <a:pt x="8946" y="19741"/>
                        <a:pt x="14569" y="18246"/>
                        <a:pt x="17081" y="13880"/>
                      </a:cubicBezTo>
                      <a:cubicBezTo>
                        <a:pt x="19592" y="9514"/>
                        <a:pt x="18097" y="3832"/>
                        <a:pt x="13731" y="1261"/>
                      </a:cubicBezTo>
                      <a:close/>
                    </a:path>
                  </a:pathLst>
                </a:custGeom>
                <a:grpFill/>
                <a:ln w="5978" cap="flat">
                  <a:noFill/>
                  <a:prstDash val="solid"/>
                  <a:miter/>
                </a:ln>
              </p:spPr>
              <p:txBody>
                <a:bodyPr rtlCol="0" anchor="ctr"/>
                <a:lstStyle/>
                <a:p>
                  <a:endParaRPr lang="en-GB"/>
                </a:p>
              </p:txBody>
            </p:sp>
          </p:grpSp>
          <p:grpSp>
            <p:nvGrpSpPr>
              <p:cNvPr id="415" name="Graphic 3">
                <a:extLst>
                  <a:ext uri="{FF2B5EF4-FFF2-40B4-BE49-F238E27FC236}">
                    <a16:creationId xmlns:a16="http://schemas.microsoft.com/office/drawing/2014/main" id="{798EF53F-7A1D-4DDB-8BAE-7FF876D0CD85}"/>
                  </a:ext>
                </a:extLst>
              </p:cNvPr>
              <p:cNvGrpSpPr/>
              <p:nvPr/>
            </p:nvGrpSpPr>
            <p:grpSpPr>
              <a:xfrm>
                <a:off x="7585167" y="4516851"/>
                <a:ext cx="21696" cy="20831"/>
                <a:chOff x="7585167" y="4516851"/>
                <a:chExt cx="21696" cy="20831"/>
              </a:xfrm>
              <a:grpFill/>
            </p:grpSpPr>
            <p:sp>
              <p:nvSpPr>
                <p:cNvPr id="4139" name="Vrije vorm: vorm 4138">
                  <a:extLst>
                    <a:ext uri="{FF2B5EF4-FFF2-40B4-BE49-F238E27FC236}">
                      <a16:creationId xmlns:a16="http://schemas.microsoft.com/office/drawing/2014/main" id="{A3F5ED76-2141-4EEE-BF77-510C72393B3E}"/>
                    </a:ext>
                  </a:extLst>
                </p:cNvPr>
                <p:cNvSpPr/>
                <p:nvPr/>
              </p:nvSpPr>
              <p:spPr>
                <a:xfrm>
                  <a:off x="7593084" y="4524575"/>
                  <a:ext cx="5860" cy="5442"/>
                </a:xfrm>
                <a:custGeom>
                  <a:avLst/>
                  <a:gdLst>
                    <a:gd name="connsiteX0" fmla="*/ 5861 w 5860"/>
                    <a:gd name="connsiteY0" fmla="*/ 2930 h 5442"/>
                    <a:gd name="connsiteX1" fmla="*/ 4066 w 5860"/>
                    <a:gd name="connsiteY1" fmla="*/ 5442 h 5442"/>
                    <a:gd name="connsiteX2" fmla="*/ 0 w 5860"/>
                    <a:gd name="connsiteY2" fmla="*/ 2452 h 5442"/>
                    <a:gd name="connsiteX3" fmla="*/ 1735 w 5860"/>
                    <a:gd name="connsiteY3" fmla="*/ 0 h 5442"/>
                  </a:gdLst>
                  <a:ahLst/>
                  <a:cxnLst>
                    <a:cxn ang="0">
                      <a:pos x="connsiteX0" y="connsiteY0"/>
                    </a:cxn>
                    <a:cxn ang="0">
                      <a:pos x="connsiteX1" y="connsiteY1"/>
                    </a:cxn>
                    <a:cxn ang="0">
                      <a:pos x="connsiteX2" y="connsiteY2"/>
                    </a:cxn>
                    <a:cxn ang="0">
                      <a:pos x="connsiteX3" y="connsiteY3"/>
                    </a:cxn>
                  </a:cxnLst>
                  <a:rect l="l" t="t" r="r" b="b"/>
                  <a:pathLst>
                    <a:path w="5860" h="5442">
                      <a:moveTo>
                        <a:pt x="5861" y="2930"/>
                      </a:moveTo>
                      <a:lnTo>
                        <a:pt x="4066" y="5442"/>
                      </a:lnTo>
                      <a:lnTo>
                        <a:pt x="0" y="2452"/>
                      </a:lnTo>
                      <a:lnTo>
                        <a:pt x="1735" y="0"/>
                      </a:lnTo>
                      <a:close/>
                    </a:path>
                  </a:pathLst>
                </a:custGeom>
                <a:grpFill/>
                <a:ln w="5978" cap="flat">
                  <a:noFill/>
                  <a:prstDash val="solid"/>
                  <a:miter/>
                </a:ln>
              </p:spPr>
              <p:txBody>
                <a:bodyPr rtlCol="0" anchor="ctr"/>
                <a:lstStyle/>
                <a:p>
                  <a:endParaRPr lang="en-GB"/>
                </a:p>
              </p:txBody>
            </p:sp>
            <p:sp>
              <p:nvSpPr>
                <p:cNvPr id="4140" name="Vrije vorm: vorm 4139">
                  <a:extLst>
                    <a:ext uri="{FF2B5EF4-FFF2-40B4-BE49-F238E27FC236}">
                      <a16:creationId xmlns:a16="http://schemas.microsoft.com/office/drawing/2014/main" id="{B40B66B2-07E8-424A-B6E9-3A1C50DDD4C1}"/>
                    </a:ext>
                  </a:extLst>
                </p:cNvPr>
                <p:cNvSpPr/>
                <p:nvPr/>
              </p:nvSpPr>
              <p:spPr>
                <a:xfrm>
                  <a:off x="7588516" y="4519269"/>
                  <a:ext cx="18346" cy="18413"/>
                </a:xfrm>
                <a:custGeom>
                  <a:avLst/>
                  <a:gdLst>
                    <a:gd name="connsiteX0" fmla="*/ 14496 w 18346"/>
                    <a:gd name="connsiteY0" fmla="*/ 1718 h 18413"/>
                    <a:gd name="connsiteX1" fmla="*/ 16649 w 18346"/>
                    <a:gd name="connsiteY1" fmla="*/ 14576 h 18413"/>
                    <a:gd name="connsiteX2" fmla="*/ 3851 w 18346"/>
                    <a:gd name="connsiteY2" fmla="*/ 16670 h 18413"/>
                    <a:gd name="connsiteX3" fmla="*/ 1698 w 18346"/>
                    <a:gd name="connsiteY3" fmla="*/ 3811 h 18413"/>
                    <a:gd name="connsiteX4" fmla="*/ 14496 w 18346"/>
                    <a:gd name="connsiteY4" fmla="*/ 171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3">
                      <a:moveTo>
                        <a:pt x="14496" y="1718"/>
                      </a:moveTo>
                      <a:cubicBezTo>
                        <a:pt x="18623" y="4708"/>
                        <a:pt x="19580" y="10450"/>
                        <a:pt x="16649" y="14576"/>
                      </a:cubicBezTo>
                      <a:cubicBezTo>
                        <a:pt x="13719" y="18703"/>
                        <a:pt x="7977" y="19660"/>
                        <a:pt x="3851" y="16670"/>
                      </a:cubicBezTo>
                      <a:cubicBezTo>
                        <a:pt x="-277" y="13680"/>
                        <a:pt x="-1233" y="7938"/>
                        <a:pt x="1698" y="3811"/>
                      </a:cubicBezTo>
                      <a:cubicBezTo>
                        <a:pt x="4628" y="-315"/>
                        <a:pt x="10369" y="-1213"/>
                        <a:pt x="14496" y="1718"/>
                      </a:cubicBezTo>
                      <a:close/>
                    </a:path>
                  </a:pathLst>
                </a:custGeom>
                <a:grpFill/>
                <a:ln w="5978" cap="flat">
                  <a:noFill/>
                  <a:prstDash val="solid"/>
                  <a:miter/>
                </a:ln>
              </p:spPr>
              <p:txBody>
                <a:bodyPr rtlCol="0" anchor="ctr"/>
                <a:lstStyle/>
                <a:p>
                  <a:endParaRPr lang="en-GB"/>
                </a:p>
              </p:txBody>
            </p:sp>
            <p:sp>
              <p:nvSpPr>
                <p:cNvPr id="4141" name="Vrije vorm: vorm 4140">
                  <a:extLst>
                    <a:ext uri="{FF2B5EF4-FFF2-40B4-BE49-F238E27FC236}">
                      <a16:creationId xmlns:a16="http://schemas.microsoft.com/office/drawing/2014/main" id="{4D14E11C-37D5-4F54-9EEA-834363C380DF}"/>
                    </a:ext>
                  </a:extLst>
                </p:cNvPr>
                <p:cNvSpPr/>
                <p:nvPr/>
              </p:nvSpPr>
              <p:spPr>
                <a:xfrm>
                  <a:off x="7585167" y="4516851"/>
                  <a:ext cx="18346" cy="18439"/>
                </a:xfrm>
                <a:custGeom>
                  <a:avLst/>
                  <a:gdLst>
                    <a:gd name="connsiteX0" fmla="*/ 14496 w 18346"/>
                    <a:gd name="connsiteY0" fmla="*/ 1744 h 18439"/>
                    <a:gd name="connsiteX1" fmla="*/ 1697 w 18346"/>
                    <a:gd name="connsiteY1" fmla="*/ 3837 h 18439"/>
                    <a:gd name="connsiteX2" fmla="*/ 3850 w 18346"/>
                    <a:gd name="connsiteY2" fmla="*/ 16696 h 18439"/>
                    <a:gd name="connsiteX3" fmla="*/ 16649 w 18346"/>
                    <a:gd name="connsiteY3" fmla="*/ 14603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0370" y="-1246"/>
                        <a:pt x="4628" y="-290"/>
                        <a:pt x="1697" y="3837"/>
                      </a:cubicBezTo>
                      <a:cubicBezTo>
                        <a:pt x="-1233" y="7964"/>
                        <a:pt x="-276" y="13705"/>
                        <a:pt x="3850" y="16696"/>
                      </a:cubicBezTo>
                      <a:cubicBezTo>
                        <a:pt x="7977" y="19686"/>
                        <a:pt x="13719" y="18729"/>
                        <a:pt x="16649" y="14603"/>
                      </a:cubicBezTo>
                      <a:cubicBezTo>
                        <a:pt x="19580" y="10476"/>
                        <a:pt x="18623" y="4734"/>
                        <a:pt x="14496" y="1744"/>
                      </a:cubicBezTo>
                      <a:close/>
                    </a:path>
                  </a:pathLst>
                </a:custGeom>
                <a:grpFill/>
                <a:ln w="5978" cap="flat">
                  <a:noFill/>
                  <a:prstDash val="solid"/>
                  <a:miter/>
                </a:ln>
              </p:spPr>
              <p:txBody>
                <a:bodyPr rtlCol="0" anchor="ctr"/>
                <a:lstStyle/>
                <a:p>
                  <a:endParaRPr lang="en-GB"/>
                </a:p>
              </p:txBody>
            </p:sp>
          </p:grpSp>
          <p:grpSp>
            <p:nvGrpSpPr>
              <p:cNvPr id="416" name="Graphic 3">
                <a:extLst>
                  <a:ext uri="{FF2B5EF4-FFF2-40B4-BE49-F238E27FC236}">
                    <a16:creationId xmlns:a16="http://schemas.microsoft.com/office/drawing/2014/main" id="{5A6D67E2-C034-467C-BC31-678C8DB3631E}"/>
                  </a:ext>
                </a:extLst>
              </p:cNvPr>
              <p:cNvGrpSpPr/>
              <p:nvPr/>
            </p:nvGrpSpPr>
            <p:grpSpPr>
              <a:xfrm>
                <a:off x="7474589" y="4608119"/>
                <a:ext cx="424964" cy="360052"/>
                <a:chOff x="7474589" y="4608119"/>
                <a:chExt cx="424964" cy="360052"/>
              </a:xfrm>
              <a:grpFill/>
            </p:grpSpPr>
            <p:sp>
              <p:nvSpPr>
                <p:cNvPr id="4136" name="Vrije vorm: vorm 4135">
                  <a:extLst>
                    <a:ext uri="{FF2B5EF4-FFF2-40B4-BE49-F238E27FC236}">
                      <a16:creationId xmlns:a16="http://schemas.microsoft.com/office/drawing/2014/main" id="{75C48226-8213-4804-8EA6-F5E384DCF5CC}"/>
                    </a:ext>
                  </a:extLst>
                </p:cNvPr>
                <p:cNvSpPr/>
                <p:nvPr/>
              </p:nvSpPr>
              <p:spPr>
                <a:xfrm>
                  <a:off x="7482441" y="4615841"/>
                  <a:ext cx="409260" cy="344549"/>
                </a:xfrm>
                <a:custGeom>
                  <a:avLst/>
                  <a:gdLst>
                    <a:gd name="connsiteX0" fmla="*/ 409260 w 409260"/>
                    <a:gd name="connsiteY0" fmla="*/ 342217 h 344549"/>
                    <a:gd name="connsiteX1" fmla="*/ 407287 w 409260"/>
                    <a:gd name="connsiteY1" fmla="*/ 344549 h 344549"/>
                    <a:gd name="connsiteX2" fmla="*/ 0 w 409260"/>
                    <a:gd name="connsiteY2" fmla="*/ 2333 h 344549"/>
                    <a:gd name="connsiteX3" fmla="*/ 1914 w 409260"/>
                    <a:gd name="connsiteY3" fmla="*/ 0 h 344549"/>
                  </a:gdLst>
                  <a:ahLst/>
                  <a:cxnLst>
                    <a:cxn ang="0">
                      <a:pos x="connsiteX0" y="connsiteY0"/>
                    </a:cxn>
                    <a:cxn ang="0">
                      <a:pos x="connsiteX1" y="connsiteY1"/>
                    </a:cxn>
                    <a:cxn ang="0">
                      <a:pos x="connsiteX2" y="connsiteY2"/>
                    </a:cxn>
                    <a:cxn ang="0">
                      <a:pos x="connsiteX3" y="connsiteY3"/>
                    </a:cxn>
                  </a:cxnLst>
                  <a:rect l="l" t="t" r="r" b="b"/>
                  <a:pathLst>
                    <a:path w="409260" h="344549">
                      <a:moveTo>
                        <a:pt x="409260" y="342217"/>
                      </a:moveTo>
                      <a:lnTo>
                        <a:pt x="407287" y="344549"/>
                      </a:lnTo>
                      <a:lnTo>
                        <a:pt x="0" y="2333"/>
                      </a:lnTo>
                      <a:lnTo>
                        <a:pt x="1914" y="0"/>
                      </a:lnTo>
                      <a:close/>
                    </a:path>
                  </a:pathLst>
                </a:custGeom>
                <a:grpFill/>
                <a:ln w="5978" cap="flat">
                  <a:noFill/>
                  <a:prstDash val="solid"/>
                  <a:miter/>
                </a:ln>
              </p:spPr>
              <p:txBody>
                <a:bodyPr rtlCol="0" anchor="ctr"/>
                <a:lstStyle/>
                <a:p>
                  <a:endParaRPr lang="en-GB"/>
                </a:p>
              </p:txBody>
            </p:sp>
            <p:sp>
              <p:nvSpPr>
                <p:cNvPr id="4137" name="Vrije vorm: vorm 4136">
                  <a:extLst>
                    <a:ext uri="{FF2B5EF4-FFF2-40B4-BE49-F238E27FC236}">
                      <a16:creationId xmlns:a16="http://schemas.microsoft.com/office/drawing/2014/main" id="{43D9DB38-DE22-411B-94BC-CAA9FBC52930}"/>
                    </a:ext>
                  </a:extLst>
                </p:cNvPr>
                <p:cNvSpPr/>
                <p:nvPr/>
              </p:nvSpPr>
              <p:spPr>
                <a:xfrm>
                  <a:off x="7881218" y="4949738"/>
                  <a:ext cx="18335" cy="18433"/>
                </a:xfrm>
                <a:custGeom>
                  <a:avLst/>
                  <a:gdLst>
                    <a:gd name="connsiteX0" fmla="*/ 15028 w 18335"/>
                    <a:gd name="connsiteY0" fmla="*/ 2160 h 18433"/>
                    <a:gd name="connsiteX1" fmla="*/ 16225 w 18335"/>
                    <a:gd name="connsiteY1" fmla="*/ 15138 h 18433"/>
                    <a:gd name="connsiteX2" fmla="*/ 3306 w 18335"/>
                    <a:gd name="connsiteY2" fmla="*/ 16274 h 18433"/>
                    <a:gd name="connsiteX3" fmla="*/ 2111 w 18335"/>
                    <a:gd name="connsiteY3" fmla="*/ 3296 h 18433"/>
                    <a:gd name="connsiteX4" fmla="*/ 15028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8" y="2160"/>
                      </a:moveTo>
                      <a:cubicBezTo>
                        <a:pt x="18916" y="5449"/>
                        <a:pt x="19454" y="11250"/>
                        <a:pt x="16225" y="15138"/>
                      </a:cubicBezTo>
                      <a:cubicBezTo>
                        <a:pt x="12995" y="19025"/>
                        <a:pt x="7194" y="19563"/>
                        <a:pt x="3306" y="16274"/>
                      </a:cubicBezTo>
                      <a:cubicBezTo>
                        <a:pt x="-581" y="12985"/>
                        <a:pt x="-1119" y="7183"/>
                        <a:pt x="2111" y="3296"/>
                      </a:cubicBezTo>
                      <a:cubicBezTo>
                        <a:pt x="5340" y="-592"/>
                        <a:pt x="11142" y="-1130"/>
                        <a:pt x="15028" y="2160"/>
                      </a:cubicBezTo>
                      <a:close/>
                    </a:path>
                  </a:pathLst>
                </a:custGeom>
                <a:grpFill/>
                <a:ln w="5978" cap="flat">
                  <a:noFill/>
                  <a:prstDash val="solid"/>
                  <a:miter/>
                </a:ln>
              </p:spPr>
              <p:txBody>
                <a:bodyPr rtlCol="0" anchor="ctr"/>
                <a:lstStyle/>
                <a:p>
                  <a:endParaRPr lang="en-GB"/>
                </a:p>
              </p:txBody>
            </p:sp>
            <p:sp>
              <p:nvSpPr>
                <p:cNvPr id="4138" name="Vrije vorm: vorm 4137">
                  <a:extLst>
                    <a:ext uri="{FF2B5EF4-FFF2-40B4-BE49-F238E27FC236}">
                      <a16:creationId xmlns:a16="http://schemas.microsoft.com/office/drawing/2014/main" id="{9D5C5283-E43F-4AF1-8C1D-93051B7D345F}"/>
                    </a:ext>
                  </a:extLst>
                </p:cNvPr>
                <p:cNvSpPr/>
                <p:nvPr/>
              </p:nvSpPr>
              <p:spPr>
                <a:xfrm>
                  <a:off x="7474589" y="4608119"/>
                  <a:ext cx="18335" cy="18433"/>
                </a:xfrm>
                <a:custGeom>
                  <a:avLst/>
                  <a:gdLst>
                    <a:gd name="connsiteX0" fmla="*/ 15028 w 18335"/>
                    <a:gd name="connsiteY0" fmla="*/ 2160 h 18433"/>
                    <a:gd name="connsiteX1" fmla="*/ 2111 w 18335"/>
                    <a:gd name="connsiteY1" fmla="*/ 3296 h 18433"/>
                    <a:gd name="connsiteX2" fmla="*/ 3306 w 18335"/>
                    <a:gd name="connsiteY2" fmla="*/ 16274 h 18433"/>
                    <a:gd name="connsiteX3" fmla="*/ 16225 w 18335"/>
                    <a:gd name="connsiteY3" fmla="*/ 15138 h 18433"/>
                    <a:gd name="connsiteX4" fmla="*/ 15028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8" y="2160"/>
                      </a:moveTo>
                      <a:cubicBezTo>
                        <a:pt x="11141" y="-1130"/>
                        <a:pt x="5340" y="-591"/>
                        <a:pt x="2111" y="3296"/>
                      </a:cubicBezTo>
                      <a:cubicBezTo>
                        <a:pt x="-1119" y="7183"/>
                        <a:pt x="-581" y="12985"/>
                        <a:pt x="3306" y="16274"/>
                      </a:cubicBezTo>
                      <a:cubicBezTo>
                        <a:pt x="7194" y="19564"/>
                        <a:pt x="12995" y="19026"/>
                        <a:pt x="16225" y="15138"/>
                      </a:cubicBezTo>
                      <a:cubicBezTo>
                        <a:pt x="19454" y="11250"/>
                        <a:pt x="18916" y="5389"/>
                        <a:pt x="15028" y="2160"/>
                      </a:cubicBezTo>
                      <a:close/>
                    </a:path>
                  </a:pathLst>
                </a:custGeom>
                <a:grpFill/>
                <a:ln w="5978" cap="flat">
                  <a:noFill/>
                  <a:prstDash val="solid"/>
                  <a:miter/>
                </a:ln>
              </p:spPr>
              <p:txBody>
                <a:bodyPr rtlCol="0" anchor="ctr"/>
                <a:lstStyle/>
                <a:p>
                  <a:endParaRPr lang="en-GB"/>
                </a:p>
              </p:txBody>
            </p:sp>
          </p:grpSp>
          <p:grpSp>
            <p:nvGrpSpPr>
              <p:cNvPr id="417" name="Graphic 3">
                <a:extLst>
                  <a:ext uri="{FF2B5EF4-FFF2-40B4-BE49-F238E27FC236}">
                    <a16:creationId xmlns:a16="http://schemas.microsoft.com/office/drawing/2014/main" id="{FA79FD71-EF7E-4CAF-A4D7-94E076545AF1}"/>
                  </a:ext>
                </a:extLst>
              </p:cNvPr>
              <p:cNvGrpSpPr/>
              <p:nvPr/>
            </p:nvGrpSpPr>
            <p:grpSpPr>
              <a:xfrm>
                <a:off x="6600883" y="1614035"/>
                <a:ext cx="29746" cy="54708"/>
                <a:chOff x="6600883" y="1614035"/>
                <a:chExt cx="29746" cy="54708"/>
              </a:xfrm>
              <a:grpFill/>
            </p:grpSpPr>
            <p:sp>
              <p:nvSpPr>
                <p:cNvPr id="4133" name="Vrije vorm: vorm 4132">
                  <a:extLst>
                    <a:ext uri="{FF2B5EF4-FFF2-40B4-BE49-F238E27FC236}">
                      <a16:creationId xmlns:a16="http://schemas.microsoft.com/office/drawing/2014/main" id="{27794DCA-44D9-4CDD-9501-44CD6997D757}"/>
                    </a:ext>
                  </a:extLst>
                </p:cNvPr>
                <p:cNvSpPr/>
                <p:nvPr/>
              </p:nvSpPr>
              <p:spPr>
                <a:xfrm>
                  <a:off x="6608418" y="1622371"/>
                  <a:ext cx="14592" cy="38037"/>
                </a:xfrm>
                <a:custGeom>
                  <a:avLst/>
                  <a:gdLst>
                    <a:gd name="connsiteX0" fmla="*/ 14593 w 14592"/>
                    <a:gd name="connsiteY0" fmla="*/ 957 h 38037"/>
                    <a:gd name="connsiteX1" fmla="*/ 2930 w 14592"/>
                    <a:gd name="connsiteY1" fmla="*/ 38037 h 38037"/>
                    <a:gd name="connsiteX2" fmla="*/ 0 w 14592"/>
                    <a:gd name="connsiteY2" fmla="*/ 37081 h 38037"/>
                    <a:gd name="connsiteX3" fmla="*/ 11722 w 14592"/>
                    <a:gd name="connsiteY3" fmla="*/ 0 h 38037"/>
                  </a:gdLst>
                  <a:ahLst/>
                  <a:cxnLst>
                    <a:cxn ang="0">
                      <a:pos x="connsiteX0" y="connsiteY0"/>
                    </a:cxn>
                    <a:cxn ang="0">
                      <a:pos x="connsiteX1" y="connsiteY1"/>
                    </a:cxn>
                    <a:cxn ang="0">
                      <a:pos x="connsiteX2" y="connsiteY2"/>
                    </a:cxn>
                    <a:cxn ang="0">
                      <a:pos x="connsiteX3" y="connsiteY3"/>
                    </a:cxn>
                  </a:cxnLst>
                  <a:rect l="l" t="t" r="r" b="b"/>
                  <a:pathLst>
                    <a:path w="14592" h="38037">
                      <a:moveTo>
                        <a:pt x="14593" y="957"/>
                      </a:moveTo>
                      <a:lnTo>
                        <a:pt x="2930" y="38037"/>
                      </a:lnTo>
                      <a:lnTo>
                        <a:pt x="0" y="37081"/>
                      </a:lnTo>
                      <a:lnTo>
                        <a:pt x="11722" y="0"/>
                      </a:lnTo>
                      <a:close/>
                    </a:path>
                  </a:pathLst>
                </a:custGeom>
                <a:grpFill/>
                <a:ln w="5978" cap="flat">
                  <a:noFill/>
                  <a:prstDash val="solid"/>
                  <a:miter/>
                </a:ln>
              </p:spPr>
              <p:txBody>
                <a:bodyPr rtlCol="0" anchor="ctr"/>
                <a:lstStyle/>
                <a:p>
                  <a:endParaRPr lang="en-GB"/>
                </a:p>
              </p:txBody>
            </p:sp>
            <p:sp>
              <p:nvSpPr>
                <p:cNvPr id="4134" name="Vrije vorm: vorm 4133">
                  <a:extLst>
                    <a:ext uri="{FF2B5EF4-FFF2-40B4-BE49-F238E27FC236}">
                      <a16:creationId xmlns:a16="http://schemas.microsoft.com/office/drawing/2014/main" id="{BAEECA0A-7932-4244-A3F2-39FF4715742E}"/>
                    </a:ext>
                  </a:extLst>
                </p:cNvPr>
                <p:cNvSpPr/>
                <p:nvPr/>
              </p:nvSpPr>
              <p:spPr>
                <a:xfrm>
                  <a:off x="6600883" y="1650278"/>
                  <a:ext cx="18300" cy="18465"/>
                </a:xfrm>
                <a:custGeom>
                  <a:avLst/>
                  <a:gdLst>
                    <a:gd name="connsiteX0" fmla="*/ 17882 w 18300"/>
                    <a:gd name="connsiteY0" fmla="*/ 12043 h 18465"/>
                    <a:gd name="connsiteX1" fmla="*/ 6399 w 18300"/>
                    <a:gd name="connsiteY1" fmla="*/ 18024 h 18465"/>
                    <a:gd name="connsiteX2" fmla="*/ 418 w 18300"/>
                    <a:gd name="connsiteY2" fmla="*/ 6422 h 18465"/>
                    <a:gd name="connsiteX3" fmla="*/ 11901 w 18300"/>
                    <a:gd name="connsiteY3" fmla="*/ 441 h 18465"/>
                    <a:gd name="connsiteX4" fmla="*/ 17882 w 18300"/>
                    <a:gd name="connsiteY4" fmla="*/ 12043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65">
                      <a:moveTo>
                        <a:pt x="17882" y="12043"/>
                      </a:moveTo>
                      <a:cubicBezTo>
                        <a:pt x="16327" y="16888"/>
                        <a:pt x="11184" y="19579"/>
                        <a:pt x="6399" y="18024"/>
                      </a:cubicBezTo>
                      <a:cubicBezTo>
                        <a:pt x="1555" y="16469"/>
                        <a:pt x="-1077" y="11266"/>
                        <a:pt x="418" y="6422"/>
                      </a:cubicBezTo>
                      <a:cubicBezTo>
                        <a:pt x="1974" y="1577"/>
                        <a:pt x="7117" y="-1114"/>
                        <a:pt x="11901" y="441"/>
                      </a:cubicBezTo>
                      <a:cubicBezTo>
                        <a:pt x="16746" y="1996"/>
                        <a:pt x="19377" y="7199"/>
                        <a:pt x="17882" y="12043"/>
                      </a:cubicBezTo>
                      <a:close/>
                    </a:path>
                  </a:pathLst>
                </a:custGeom>
                <a:grpFill/>
                <a:ln w="5978" cap="flat">
                  <a:noFill/>
                  <a:prstDash val="solid"/>
                  <a:miter/>
                </a:ln>
              </p:spPr>
              <p:txBody>
                <a:bodyPr rtlCol="0" anchor="ctr"/>
                <a:lstStyle/>
                <a:p>
                  <a:endParaRPr lang="en-GB"/>
                </a:p>
              </p:txBody>
            </p:sp>
            <p:sp>
              <p:nvSpPr>
                <p:cNvPr id="4135" name="Vrije vorm: vorm 4134">
                  <a:extLst>
                    <a:ext uri="{FF2B5EF4-FFF2-40B4-BE49-F238E27FC236}">
                      <a16:creationId xmlns:a16="http://schemas.microsoft.com/office/drawing/2014/main" id="{0CF48063-72A0-41D8-AEBF-8493A2D68EE9}"/>
                    </a:ext>
                  </a:extLst>
                </p:cNvPr>
                <p:cNvSpPr/>
                <p:nvPr/>
              </p:nvSpPr>
              <p:spPr>
                <a:xfrm>
                  <a:off x="6612283" y="1614035"/>
                  <a:ext cx="18345" cy="18465"/>
                </a:xfrm>
                <a:custGeom>
                  <a:avLst/>
                  <a:gdLst>
                    <a:gd name="connsiteX0" fmla="*/ 17905 w 18345"/>
                    <a:gd name="connsiteY0" fmla="*/ 12044 h 18465"/>
                    <a:gd name="connsiteX1" fmla="*/ 11924 w 18345"/>
                    <a:gd name="connsiteY1" fmla="*/ 441 h 18465"/>
                    <a:gd name="connsiteX2" fmla="*/ 441 w 18345"/>
                    <a:gd name="connsiteY2" fmla="*/ 6422 h 18465"/>
                    <a:gd name="connsiteX3" fmla="*/ 6421 w 18345"/>
                    <a:gd name="connsiteY3" fmla="*/ 18024 h 18465"/>
                    <a:gd name="connsiteX4" fmla="*/ 17905 w 18345"/>
                    <a:gd name="connsiteY4" fmla="*/ 1204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5">
                      <a:moveTo>
                        <a:pt x="17905" y="12044"/>
                      </a:moveTo>
                      <a:cubicBezTo>
                        <a:pt x="19460" y="7199"/>
                        <a:pt x="16768" y="1996"/>
                        <a:pt x="11924" y="441"/>
                      </a:cubicBezTo>
                      <a:cubicBezTo>
                        <a:pt x="7080" y="-1114"/>
                        <a:pt x="1936" y="1577"/>
                        <a:pt x="441" y="6422"/>
                      </a:cubicBezTo>
                      <a:cubicBezTo>
                        <a:pt x="-1114" y="11266"/>
                        <a:pt x="1577" y="16469"/>
                        <a:pt x="6421" y="18024"/>
                      </a:cubicBezTo>
                      <a:cubicBezTo>
                        <a:pt x="11206" y="19579"/>
                        <a:pt x="16350" y="16888"/>
                        <a:pt x="17905" y="12044"/>
                      </a:cubicBezTo>
                      <a:close/>
                    </a:path>
                  </a:pathLst>
                </a:custGeom>
                <a:grpFill/>
                <a:ln w="5978" cap="flat">
                  <a:noFill/>
                  <a:prstDash val="solid"/>
                  <a:miter/>
                </a:ln>
              </p:spPr>
              <p:txBody>
                <a:bodyPr rtlCol="0" anchor="ctr"/>
                <a:lstStyle/>
                <a:p>
                  <a:endParaRPr lang="en-GB"/>
                </a:p>
              </p:txBody>
            </p:sp>
          </p:grpSp>
          <p:grpSp>
            <p:nvGrpSpPr>
              <p:cNvPr id="418" name="Graphic 3">
                <a:extLst>
                  <a:ext uri="{FF2B5EF4-FFF2-40B4-BE49-F238E27FC236}">
                    <a16:creationId xmlns:a16="http://schemas.microsoft.com/office/drawing/2014/main" id="{977F7415-5273-4317-89BC-17966A7F7CDE}"/>
                  </a:ext>
                </a:extLst>
              </p:cNvPr>
              <p:cNvGrpSpPr/>
              <p:nvPr/>
            </p:nvGrpSpPr>
            <p:grpSpPr>
              <a:xfrm>
                <a:off x="7536691" y="4524653"/>
                <a:ext cx="109976" cy="87104"/>
                <a:chOff x="7536691" y="4524653"/>
                <a:chExt cx="109976" cy="87104"/>
              </a:xfrm>
              <a:grpFill/>
            </p:grpSpPr>
            <p:sp>
              <p:nvSpPr>
                <p:cNvPr id="4130" name="Vrije vorm: vorm 4129">
                  <a:extLst>
                    <a:ext uri="{FF2B5EF4-FFF2-40B4-BE49-F238E27FC236}">
                      <a16:creationId xmlns:a16="http://schemas.microsoft.com/office/drawing/2014/main" id="{3BDF88F2-4D85-4DDD-B7AC-5CA8E96265F8}"/>
                    </a:ext>
                  </a:extLst>
                </p:cNvPr>
                <p:cNvSpPr/>
                <p:nvPr/>
              </p:nvSpPr>
              <p:spPr>
                <a:xfrm>
                  <a:off x="7544581" y="4532350"/>
                  <a:ext cx="94196" cy="71648"/>
                </a:xfrm>
                <a:custGeom>
                  <a:avLst/>
                  <a:gdLst>
                    <a:gd name="connsiteX0" fmla="*/ 94196 w 94196"/>
                    <a:gd name="connsiteY0" fmla="*/ 69197 h 71648"/>
                    <a:gd name="connsiteX1" fmla="*/ 92402 w 94196"/>
                    <a:gd name="connsiteY1" fmla="*/ 71649 h 71648"/>
                    <a:gd name="connsiteX2" fmla="*/ 0 w 94196"/>
                    <a:gd name="connsiteY2" fmla="*/ 2452 h 71648"/>
                    <a:gd name="connsiteX3" fmla="*/ 1794 w 94196"/>
                    <a:gd name="connsiteY3" fmla="*/ 0 h 71648"/>
                  </a:gdLst>
                  <a:ahLst/>
                  <a:cxnLst>
                    <a:cxn ang="0">
                      <a:pos x="connsiteX0" y="connsiteY0"/>
                    </a:cxn>
                    <a:cxn ang="0">
                      <a:pos x="connsiteX1" y="connsiteY1"/>
                    </a:cxn>
                    <a:cxn ang="0">
                      <a:pos x="connsiteX2" y="connsiteY2"/>
                    </a:cxn>
                    <a:cxn ang="0">
                      <a:pos x="connsiteX3" y="connsiteY3"/>
                    </a:cxn>
                  </a:cxnLst>
                  <a:rect l="l" t="t" r="r" b="b"/>
                  <a:pathLst>
                    <a:path w="94196" h="71648">
                      <a:moveTo>
                        <a:pt x="94196" y="69197"/>
                      </a:moveTo>
                      <a:lnTo>
                        <a:pt x="92402" y="71649"/>
                      </a:lnTo>
                      <a:lnTo>
                        <a:pt x="0" y="2452"/>
                      </a:lnTo>
                      <a:lnTo>
                        <a:pt x="1794" y="0"/>
                      </a:lnTo>
                      <a:close/>
                    </a:path>
                  </a:pathLst>
                </a:custGeom>
                <a:grpFill/>
                <a:ln w="5978" cap="flat">
                  <a:noFill/>
                  <a:prstDash val="solid"/>
                  <a:miter/>
                </a:ln>
              </p:spPr>
              <p:txBody>
                <a:bodyPr rtlCol="0" anchor="ctr"/>
                <a:lstStyle/>
                <a:p>
                  <a:endParaRPr lang="en-GB"/>
                </a:p>
              </p:txBody>
            </p:sp>
            <p:sp>
              <p:nvSpPr>
                <p:cNvPr id="4131" name="Vrije vorm: vorm 4130">
                  <a:extLst>
                    <a:ext uri="{FF2B5EF4-FFF2-40B4-BE49-F238E27FC236}">
                      <a16:creationId xmlns:a16="http://schemas.microsoft.com/office/drawing/2014/main" id="{AB1E43BE-45AD-42F3-93A6-EA2D52AFAEA8}"/>
                    </a:ext>
                  </a:extLst>
                </p:cNvPr>
                <p:cNvSpPr/>
                <p:nvPr/>
              </p:nvSpPr>
              <p:spPr>
                <a:xfrm>
                  <a:off x="7628375" y="4593311"/>
                  <a:ext cx="18292" cy="18445"/>
                </a:xfrm>
                <a:custGeom>
                  <a:avLst/>
                  <a:gdLst>
                    <a:gd name="connsiteX0" fmla="*/ 14588 w 18292"/>
                    <a:gd name="connsiteY0" fmla="*/ 1837 h 18445"/>
                    <a:gd name="connsiteX1" fmla="*/ 16503 w 18292"/>
                    <a:gd name="connsiteY1" fmla="*/ 14755 h 18445"/>
                    <a:gd name="connsiteX2" fmla="*/ 3704 w 18292"/>
                    <a:gd name="connsiteY2" fmla="*/ 16609 h 18445"/>
                    <a:gd name="connsiteX3" fmla="*/ 1789 w 18292"/>
                    <a:gd name="connsiteY3" fmla="*/ 3691 h 18445"/>
                    <a:gd name="connsiteX4" fmla="*/ 14588 w 18292"/>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445">
                      <a:moveTo>
                        <a:pt x="14588" y="1837"/>
                      </a:moveTo>
                      <a:cubicBezTo>
                        <a:pt x="18656" y="4887"/>
                        <a:pt x="19493" y="10629"/>
                        <a:pt x="16503" y="14755"/>
                      </a:cubicBezTo>
                      <a:cubicBezTo>
                        <a:pt x="13512" y="18822"/>
                        <a:pt x="7770" y="19659"/>
                        <a:pt x="3704" y="16609"/>
                      </a:cubicBezTo>
                      <a:cubicBezTo>
                        <a:pt x="-363" y="13559"/>
                        <a:pt x="-1201" y="7817"/>
                        <a:pt x="1789" y="3691"/>
                      </a:cubicBezTo>
                      <a:cubicBezTo>
                        <a:pt x="4780" y="-376"/>
                        <a:pt x="10522" y="-1213"/>
                        <a:pt x="14588" y="1837"/>
                      </a:cubicBezTo>
                      <a:close/>
                    </a:path>
                  </a:pathLst>
                </a:custGeom>
                <a:grpFill/>
                <a:ln w="5978" cap="flat">
                  <a:noFill/>
                  <a:prstDash val="solid"/>
                  <a:miter/>
                </a:ln>
              </p:spPr>
              <p:txBody>
                <a:bodyPr rtlCol="0" anchor="ctr"/>
                <a:lstStyle/>
                <a:p>
                  <a:endParaRPr lang="en-GB"/>
                </a:p>
              </p:txBody>
            </p:sp>
            <p:sp>
              <p:nvSpPr>
                <p:cNvPr id="4132" name="Vrije vorm: vorm 4131">
                  <a:extLst>
                    <a:ext uri="{FF2B5EF4-FFF2-40B4-BE49-F238E27FC236}">
                      <a16:creationId xmlns:a16="http://schemas.microsoft.com/office/drawing/2014/main" id="{92B69F5D-3DF5-452E-B2FE-48E5F314E7CB}"/>
                    </a:ext>
                  </a:extLst>
                </p:cNvPr>
                <p:cNvSpPr/>
                <p:nvPr/>
              </p:nvSpPr>
              <p:spPr>
                <a:xfrm>
                  <a:off x="7536691" y="4524653"/>
                  <a:ext cx="18317" cy="18445"/>
                </a:xfrm>
                <a:custGeom>
                  <a:avLst/>
                  <a:gdLst>
                    <a:gd name="connsiteX0" fmla="*/ 14588 w 18317"/>
                    <a:gd name="connsiteY0" fmla="*/ 1837 h 18445"/>
                    <a:gd name="connsiteX1" fmla="*/ 1790 w 18317"/>
                    <a:gd name="connsiteY1" fmla="*/ 3691 h 18445"/>
                    <a:gd name="connsiteX2" fmla="*/ 3703 w 18317"/>
                    <a:gd name="connsiteY2" fmla="*/ 16609 h 18445"/>
                    <a:gd name="connsiteX3" fmla="*/ 16502 w 18317"/>
                    <a:gd name="connsiteY3" fmla="*/ 14755 h 18445"/>
                    <a:gd name="connsiteX4" fmla="*/ 14588 w 18317"/>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5">
                      <a:moveTo>
                        <a:pt x="14588" y="1837"/>
                      </a:moveTo>
                      <a:cubicBezTo>
                        <a:pt x="10521" y="-1213"/>
                        <a:pt x="4780" y="-376"/>
                        <a:pt x="1790" y="3691"/>
                      </a:cubicBezTo>
                      <a:cubicBezTo>
                        <a:pt x="-1201" y="7758"/>
                        <a:pt x="-363" y="13559"/>
                        <a:pt x="3703" y="16609"/>
                      </a:cubicBezTo>
                      <a:cubicBezTo>
                        <a:pt x="7770" y="19659"/>
                        <a:pt x="13512" y="18822"/>
                        <a:pt x="16502" y="14755"/>
                      </a:cubicBezTo>
                      <a:cubicBezTo>
                        <a:pt x="19552" y="10628"/>
                        <a:pt x="18655" y="4887"/>
                        <a:pt x="14588" y="1837"/>
                      </a:cubicBezTo>
                      <a:close/>
                    </a:path>
                  </a:pathLst>
                </a:custGeom>
                <a:grpFill/>
                <a:ln w="5978" cap="flat">
                  <a:noFill/>
                  <a:prstDash val="solid"/>
                  <a:miter/>
                </a:ln>
              </p:spPr>
              <p:txBody>
                <a:bodyPr rtlCol="0" anchor="ctr"/>
                <a:lstStyle/>
                <a:p>
                  <a:endParaRPr lang="en-GB"/>
                </a:p>
              </p:txBody>
            </p:sp>
          </p:grpSp>
          <p:grpSp>
            <p:nvGrpSpPr>
              <p:cNvPr id="419" name="Graphic 3">
                <a:extLst>
                  <a:ext uri="{FF2B5EF4-FFF2-40B4-BE49-F238E27FC236}">
                    <a16:creationId xmlns:a16="http://schemas.microsoft.com/office/drawing/2014/main" id="{DC8D5FE2-F6C0-4FFB-8B37-C2AED042B7C5}"/>
                  </a:ext>
                </a:extLst>
              </p:cNvPr>
              <p:cNvGrpSpPr/>
              <p:nvPr/>
            </p:nvGrpSpPr>
            <p:grpSpPr>
              <a:xfrm>
                <a:off x="6596812" y="1628108"/>
                <a:ext cx="65975" cy="160140"/>
                <a:chOff x="6596812" y="1628108"/>
                <a:chExt cx="65975" cy="160140"/>
              </a:xfrm>
              <a:grpFill/>
            </p:grpSpPr>
            <p:sp>
              <p:nvSpPr>
                <p:cNvPr id="4127" name="Vrije vorm: vorm 4126">
                  <a:extLst>
                    <a:ext uri="{FF2B5EF4-FFF2-40B4-BE49-F238E27FC236}">
                      <a16:creationId xmlns:a16="http://schemas.microsoft.com/office/drawing/2014/main" id="{EF462F43-349F-4E34-A077-92A46BE785DC}"/>
                    </a:ext>
                  </a:extLst>
                </p:cNvPr>
                <p:cNvSpPr/>
                <p:nvPr/>
              </p:nvSpPr>
              <p:spPr>
                <a:xfrm>
                  <a:off x="6604411" y="1636366"/>
                  <a:ext cx="50836" cy="143537"/>
                </a:xfrm>
                <a:custGeom>
                  <a:avLst/>
                  <a:gdLst>
                    <a:gd name="connsiteX0" fmla="*/ 50836 w 50836"/>
                    <a:gd name="connsiteY0" fmla="*/ 957 h 143537"/>
                    <a:gd name="connsiteX1" fmla="*/ 2871 w 50836"/>
                    <a:gd name="connsiteY1" fmla="*/ 143537 h 143537"/>
                    <a:gd name="connsiteX2" fmla="*/ 0 w 50836"/>
                    <a:gd name="connsiteY2" fmla="*/ 142580 h 143537"/>
                    <a:gd name="connsiteX3" fmla="*/ 47965 w 50836"/>
                    <a:gd name="connsiteY3" fmla="*/ 0 h 143537"/>
                  </a:gdLst>
                  <a:ahLst/>
                  <a:cxnLst>
                    <a:cxn ang="0">
                      <a:pos x="connsiteX0" y="connsiteY0"/>
                    </a:cxn>
                    <a:cxn ang="0">
                      <a:pos x="connsiteX1" y="connsiteY1"/>
                    </a:cxn>
                    <a:cxn ang="0">
                      <a:pos x="connsiteX2" y="connsiteY2"/>
                    </a:cxn>
                    <a:cxn ang="0">
                      <a:pos x="connsiteX3" y="connsiteY3"/>
                    </a:cxn>
                  </a:cxnLst>
                  <a:rect l="l" t="t" r="r" b="b"/>
                  <a:pathLst>
                    <a:path w="50836" h="143537">
                      <a:moveTo>
                        <a:pt x="50836" y="957"/>
                      </a:moveTo>
                      <a:lnTo>
                        <a:pt x="2871" y="143537"/>
                      </a:lnTo>
                      <a:lnTo>
                        <a:pt x="0" y="142580"/>
                      </a:lnTo>
                      <a:lnTo>
                        <a:pt x="47965" y="0"/>
                      </a:lnTo>
                      <a:close/>
                    </a:path>
                  </a:pathLst>
                </a:custGeom>
                <a:grpFill/>
                <a:ln w="5978" cap="flat">
                  <a:noFill/>
                  <a:prstDash val="solid"/>
                  <a:miter/>
                </a:ln>
              </p:spPr>
              <p:txBody>
                <a:bodyPr rtlCol="0" anchor="ctr"/>
                <a:lstStyle/>
                <a:p>
                  <a:endParaRPr lang="en-GB"/>
                </a:p>
              </p:txBody>
            </p:sp>
            <p:sp>
              <p:nvSpPr>
                <p:cNvPr id="4128" name="Vrije vorm: vorm 4127">
                  <a:extLst>
                    <a:ext uri="{FF2B5EF4-FFF2-40B4-BE49-F238E27FC236}">
                      <a16:creationId xmlns:a16="http://schemas.microsoft.com/office/drawing/2014/main" id="{BCBB4D41-00A2-4E8E-BC2D-79115833ED4A}"/>
                    </a:ext>
                  </a:extLst>
                </p:cNvPr>
                <p:cNvSpPr/>
                <p:nvPr/>
              </p:nvSpPr>
              <p:spPr>
                <a:xfrm>
                  <a:off x="6644478" y="1628108"/>
                  <a:ext cx="18308" cy="18428"/>
                </a:xfrm>
                <a:custGeom>
                  <a:avLst/>
                  <a:gdLst>
                    <a:gd name="connsiteX0" fmla="*/ 482 w 18308"/>
                    <a:gd name="connsiteY0" fmla="*/ 6224 h 18428"/>
                    <a:gd name="connsiteX1" fmla="*/ 12085 w 18308"/>
                    <a:gd name="connsiteY1" fmla="*/ 482 h 18428"/>
                    <a:gd name="connsiteX2" fmla="*/ 17826 w 18308"/>
                    <a:gd name="connsiteY2" fmla="*/ 12205 h 18428"/>
                    <a:gd name="connsiteX3" fmla="*/ 6224 w 18308"/>
                    <a:gd name="connsiteY3" fmla="*/ 17946 h 18428"/>
                    <a:gd name="connsiteX4" fmla="*/ 482 w 18308"/>
                    <a:gd name="connsiteY4" fmla="*/ 622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8">
                      <a:moveTo>
                        <a:pt x="482" y="6224"/>
                      </a:moveTo>
                      <a:cubicBezTo>
                        <a:pt x="2097" y="1439"/>
                        <a:pt x="7300" y="-1132"/>
                        <a:pt x="12085" y="482"/>
                      </a:cubicBezTo>
                      <a:cubicBezTo>
                        <a:pt x="16869" y="2157"/>
                        <a:pt x="19441" y="7360"/>
                        <a:pt x="17826" y="12205"/>
                      </a:cubicBezTo>
                      <a:cubicBezTo>
                        <a:pt x="16212" y="16989"/>
                        <a:pt x="11008" y="19561"/>
                        <a:pt x="6224" y="17946"/>
                      </a:cubicBezTo>
                      <a:cubicBezTo>
                        <a:pt x="1439" y="16271"/>
                        <a:pt x="-1132" y="11008"/>
                        <a:pt x="482" y="6224"/>
                      </a:cubicBezTo>
                      <a:close/>
                    </a:path>
                  </a:pathLst>
                </a:custGeom>
                <a:grpFill/>
                <a:ln w="5978" cap="flat">
                  <a:noFill/>
                  <a:prstDash val="solid"/>
                  <a:miter/>
                </a:ln>
              </p:spPr>
              <p:txBody>
                <a:bodyPr rtlCol="0" anchor="ctr"/>
                <a:lstStyle/>
                <a:p>
                  <a:endParaRPr lang="en-GB"/>
                </a:p>
              </p:txBody>
            </p:sp>
            <p:sp>
              <p:nvSpPr>
                <p:cNvPr id="4129" name="Vrije vorm: vorm 4128">
                  <a:extLst>
                    <a:ext uri="{FF2B5EF4-FFF2-40B4-BE49-F238E27FC236}">
                      <a16:creationId xmlns:a16="http://schemas.microsoft.com/office/drawing/2014/main" id="{B7647B79-651B-45EA-81C2-95AEB9EF70EA}"/>
                    </a:ext>
                  </a:extLst>
                </p:cNvPr>
                <p:cNvSpPr/>
                <p:nvPr/>
              </p:nvSpPr>
              <p:spPr>
                <a:xfrm>
                  <a:off x="6596812" y="1769792"/>
                  <a:ext cx="18308" cy="18457"/>
                </a:xfrm>
                <a:custGeom>
                  <a:avLst/>
                  <a:gdLst>
                    <a:gd name="connsiteX0" fmla="*/ 482 w 18308"/>
                    <a:gd name="connsiteY0" fmla="*/ 6224 h 18457"/>
                    <a:gd name="connsiteX1" fmla="*/ 6224 w 18308"/>
                    <a:gd name="connsiteY1" fmla="*/ 17946 h 18457"/>
                    <a:gd name="connsiteX2" fmla="*/ 17826 w 18308"/>
                    <a:gd name="connsiteY2" fmla="*/ 12205 h 18457"/>
                    <a:gd name="connsiteX3" fmla="*/ 12085 w 18308"/>
                    <a:gd name="connsiteY3" fmla="*/ 482 h 18457"/>
                    <a:gd name="connsiteX4" fmla="*/ 482 w 18308"/>
                    <a:gd name="connsiteY4" fmla="*/ 6224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7">
                      <a:moveTo>
                        <a:pt x="482" y="6224"/>
                      </a:moveTo>
                      <a:cubicBezTo>
                        <a:pt x="-1132" y="11008"/>
                        <a:pt x="1439" y="16271"/>
                        <a:pt x="6224" y="17946"/>
                      </a:cubicBezTo>
                      <a:cubicBezTo>
                        <a:pt x="11009" y="19621"/>
                        <a:pt x="16212" y="17049"/>
                        <a:pt x="17826" y="12205"/>
                      </a:cubicBezTo>
                      <a:cubicBezTo>
                        <a:pt x="19441" y="7420"/>
                        <a:pt x="16870" y="2157"/>
                        <a:pt x="12085" y="482"/>
                      </a:cubicBezTo>
                      <a:cubicBezTo>
                        <a:pt x="7360" y="-1132"/>
                        <a:pt x="2157" y="1439"/>
                        <a:pt x="482" y="6224"/>
                      </a:cubicBezTo>
                      <a:close/>
                    </a:path>
                  </a:pathLst>
                </a:custGeom>
                <a:grpFill/>
                <a:ln w="5978" cap="flat">
                  <a:noFill/>
                  <a:prstDash val="solid"/>
                  <a:miter/>
                </a:ln>
              </p:spPr>
              <p:txBody>
                <a:bodyPr rtlCol="0" anchor="ctr"/>
                <a:lstStyle/>
                <a:p>
                  <a:endParaRPr lang="en-GB"/>
                </a:p>
              </p:txBody>
            </p:sp>
          </p:grpSp>
          <p:grpSp>
            <p:nvGrpSpPr>
              <p:cNvPr id="420" name="Graphic 3">
                <a:extLst>
                  <a:ext uri="{FF2B5EF4-FFF2-40B4-BE49-F238E27FC236}">
                    <a16:creationId xmlns:a16="http://schemas.microsoft.com/office/drawing/2014/main" id="{4F00A3D0-4A09-494A-9229-319B242C0E2E}"/>
                  </a:ext>
                </a:extLst>
              </p:cNvPr>
              <p:cNvGrpSpPr/>
              <p:nvPr/>
            </p:nvGrpSpPr>
            <p:grpSpPr>
              <a:xfrm>
                <a:off x="6543363" y="1454028"/>
                <a:ext cx="58740" cy="165098"/>
                <a:chOff x="6543363" y="1454028"/>
                <a:chExt cx="58740" cy="165098"/>
              </a:xfrm>
              <a:grpFill/>
            </p:grpSpPr>
            <p:sp>
              <p:nvSpPr>
                <p:cNvPr id="4124" name="Vrije vorm: vorm 4123">
                  <a:extLst>
                    <a:ext uri="{FF2B5EF4-FFF2-40B4-BE49-F238E27FC236}">
                      <a16:creationId xmlns:a16="http://schemas.microsoft.com/office/drawing/2014/main" id="{5C755FD9-7462-48FC-80FF-6A185CC32515}"/>
                    </a:ext>
                  </a:extLst>
                </p:cNvPr>
                <p:cNvSpPr/>
                <p:nvPr/>
              </p:nvSpPr>
              <p:spPr>
                <a:xfrm>
                  <a:off x="6550944" y="1462386"/>
                  <a:ext cx="43539" cy="148381"/>
                </a:xfrm>
                <a:custGeom>
                  <a:avLst/>
                  <a:gdLst>
                    <a:gd name="connsiteX0" fmla="*/ 43539 w 43539"/>
                    <a:gd name="connsiteY0" fmla="*/ 837 h 148381"/>
                    <a:gd name="connsiteX1" fmla="*/ 2930 w 43539"/>
                    <a:gd name="connsiteY1" fmla="*/ 148382 h 148381"/>
                    <a:gd name="connsiteX2" fmla="*/ 0 w 43539"/>
                    <a:gd name="connsiteY2" fmla="*/ 147544 h 148381"/>
                    <a:gd name="connsiteX3" fmla="*/ 40609 w 43539"/>
                    <a:gd name="connsiteY3" fmla="*/ 0 h 148381"/>
                  </a:gdLst>
                  <a:ahLst/>
                  <a:cxnLst>
                    <a:cxn ang="0">
                      <a:pos x="connsiteX0" y="connsiteY0"/>
                    </a:cxn>
                    <a:cxn ang="0">
                      <a:pos x="connsiteX1" y="connsiteY1"/>
                    </a:cxn>
                    <a:cxn ang="0">
                      <a:pos x="connsiteX2" y="connsiteY2"/>
                    </a:cxn>
                    <a:cxn ang="0">
                      <a:pos x="connsiteX3" y="connsiteY3"/>
                    </a:cxn>
                  </a:cxnLst>
                  <a:rect l="l" t="t" r="r" b="b"/>
                  <a:pathLst>
                    <a:path w="43539" h="148381">
                      <a:moveTo>
                        <a:pt x="43539" y="837"/>
                      </a:moveTo>
                      <a:lnTo>
                        <a:pt x="2930" y="148382"/>
                      </a:lnTo>
                      <a:lnTo>
                        <a:pt x="0" y="147544"/>
                      </a:lnTo>
                      <a:lnTo>
                        <a:pt x="40609" y="0"/>
                      </a:lnTo>
                      <a:close/>
                    </a:path>
                  </a:pathLst>
                </a:custGeom>
                <a:grpFill/>
                <a:ln w="5978" cap="flat">
                  <a:noFill/>
                  <a:prstDash val="solid"/>
                  <a:miter/>
                </a:ln>
              </p:spPr>
              <p:txBody>
                <a:bodyPr rtlCol="0" anchor="ctr"/>
                <a:lstStyle/>
                <a:p>
                  <a:endParaRPr lang="en-GB"/>
                </a:p>
              </p:txBody>
            </p:sp>
            <p:sp>
              <p:nvSpPr>
                <p:cNvPr id="4125" name="Vrije vorm: vorm 4124">
                  <a:extLst>
                    <a:ext uri="{FF2B5EF4-FFF2-40B4-BE49-F238E27FC236}">
                      <a16:creationId xmlns:a16="http://schemas.microsoft.com/office/drawing/2014/main" id="{3A236FF5-D1E6-461A-9E84-8B34786D18DB}"/>
                    </a:ext>
                  </a:extLst>
                </p:cNvPr>
                <p:cNvSpPr/>
                <p:nvPr/>
              </p:nvSpPr>
              <p:spPr>
                <a:xfrm>
                  <a:off x="6583753" y="1454028"/>
                  <a:ext cx="18349" cy="18451"/>
                </a:xfrm>
                <a:custGeom>
                  <a:avLst/>
                  <a:gdLst>
                    <a:gd name="connsiteX0" fmla="*/ 323 w 18349"/>
                    <a:gd name="connsiteY0" fmla="*/ 6744 h 18451"/>
                    <a:gd name="connsiteX1" fmla="*/ 11627 w 18349"/>
                    <a:gd name="connsiteY1" fmla="*/ 344 h 18451"/>
                    <a:gd name="connsiteX2" fmla="*/ 18026 w 18349"/>
                    <a:gd name="connsiteY2" fmla="*/ 11708 h 18451"/>
                    <a:gd name="connsiteX3" fmla="*/ 6723 w 18349"/>
                    <a:gd name="connsiteY3" fmla="*/ 18107 h 18451"/>
                    <a:gd name="connsiteX4" fmla="*/ 323 w 18349"/>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1">
                      <a:moveTo>
                        <a:pt x="323" y="6744"/>
                      </a:moveTo>
                      <a:cubicBezTo>
                        <a:pt x="1699" y="1839"/>
                        <a:pt x="6723" y="-1031"/>
                        <a:pt x="11627" y="344"/>
                      </a:cubicBezTo>
                      <a:cubicBezTo>
                        <a:pt x="16531" y="1720"/>
                        <a:pt x="19342" y="6803"/>
                        <a:pt x="18026" y="11708"/>
                      </a:cubicBezTo>
                      <a:cubicBezTo>
                        <a:pt x="16651" y="16612"/>
                        <a:pt x="11627" y="19483"/>
                        <a:pt x="6723" y="18107"/>
                      </a:cubicBezTo>
                      <a:cubicBezTo>
                        <a:pt x="1819" y="16731"/>
                        <a:pt x="-992" y="11648"/>
                        <a:pt x="323" y="6744"/>
                      </a:cubicBezTo>
                      <a:close/>
                    </a:path>
                  </a:pathLst>
                </a:custGeom>
                <a:grpFill/>
                <a:ln w="5978" cap="flat">
                  <a:noFill/>
                  <a:prstDash val="solid"/>
                  <a:miter/>
                </a:ln>
              </p:spPr>
              <p:txBody>
                <a:bodyPr rtlCol="0" anchor="ctr"/>
                <a:lstStyle/>
                <a:p>
                  <a:endParaRPr lang="en-GB"/>
                </a:p>
              </p:txBody>
            </p:sp>
            <p:sp>
              <p:nvSpPr>
                <p:cNvPr id="4126" name="Vrije vorm: vorm 4125">
                  <a:extLst>
                    <a:ext uri="{FF2B5EF4-FFF2-40B4-BE49-F238E27FC236}">
                      <a16:creationId xmlns:a16="http://schemas.microsoft.com/office/drawing/2014/main" id="{927ABF8C-D40E-4BDF-A0C3-38D3939CE8EF}"/>
                    </a:ext>
                  </a:extLst>
                </p:cNvPr>
                <p:cNvSpPr/>
                <p:nvPr/>
              </p:nvSpPr>
              <p:spPr>
                <a:xfrm>
                  <a:off x="6543363" y="1600696"/>
                  <a:ext cx="18391" cy="18430"/>
                </a:xfrm>
                <a:custGeom>
                  <a:avLst/>
                  <a:gdLst>
                    <a:gd name="connsiteX0" fmla="*/ 344 w 18391"/>
                    <a:gd name="connsiteY0" fmla="*/ 6723 h 18430"/>
                    <a:gd name="connsiteX1" fmla="*/ 6744 w 18391"/>
                    <a:gd name="connsiteY1" fmla="*/ 18086 h 18430"/>
                    <a:gd name="connsiteX2" fmla="*/ 18047 w 18391"/>
                    <a:gd name="connsiteY2" fmla="*/ 11687 h 18430"/>
                    <a:gd name="connsiteX3" fmla="*/ 11648 w 18391"/>
                    <a:gd name="connsiteY3" fmla="*/ 323 h 18430"/>
                    <a:gd name="connsiteX4" fmla="*/ 344 w 18391"/>
                    <a:gd name="connsiteY4" fmla="*/ 672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30">
                      <a:moveTo>
                        <a:pt x="344" y="6723"/>
                      </a:moveTo>
                      <a:cubicBezTo>
                        <a:pt x="-1031" y="11627"/>
                        <a:pt x="1839" y="16711"/>
                        <a:pt x="6744" y="18086"/>
                      </a:cubicBezTo>
                      <a:cubicBezTo>
                        <a:pt x="11648" y="19462"/>
                        <a:pt x="16671" y="16591"/>
                        <a:pt x="18047" y="11687"/>
                      </a:cubicBezTo>
                      <a:cubicBezTo>
                        <a:pt x="19423" y="6783"/>
                        <a:pt x="16552" y="1699"/>
                        <a:pt x="11648" y="323"/>
                      </a:cubicBezTo>
                      <a:cubicBezTo>
                        <a:pt x="6744" y="-992"/>
                        <a:pt x="1720" y="1819"/>
                        <a:pt x="344" y="6723"/>
                      </a:cubicBezTo>
                      <a:close/>
                    </a:path>
                  </a:pathLst>
                </a:custGeom>
                <a:grpFill/>
                <a:ln w="5978" cap="flat">
                  <a:noFill/>
                  <a:prstDash val="solid"/>
                  <a:miter/>
                </a:ln>
              </p:spPr>
              <p:txBody>
                <a:bodyPr rtlCol="0" anchor="ctr"/>
                <a:lstStyle/>
                <a:p>
                  <a:endParaRPr lang="en-GB"/>
                </a:p>
              </p:txBody>
            </p:sp>
          </p:grpSp>
          <p:grpSp>
            <p:nvGrpSpPr>
              <p:cNvPr id="421" name="Graphic 3">
                <a:extLst>
                  <a:ext uri="{FF2B5EF4-FFF2-40B4-BE49-F238E27FC236}">
                    <a16:creationId xmlns:a16="http://schemas.microsoft.com/office/drawing/2014/main" id="{EC6DB407-AF2D-4CA3-A0AB-1411680C19E6}"/>
                  </a:ext>
                </a:extLst>
              </p:cNvPr>
              <p:cNvGrpSpPr/>
              <p:nvPr/>
            </p:nvGrpSpPr>
            <p:grpSpPr>
              <a:xfrm>
                <a:off x="6499503" y="1405053"/>
                <a:ext cx="155630" cy="377033"/>
                <a:chOff x="6499503" y="1405053"/>
                <a:chExt cx="155630" cy="377033"/>
              </a:xfrm>
              <a:grpFill/>
            </p:grpSpPr>
            <p:sp>
              <p:nvSpPr>
                <p:cNvPr id="4121" name="Vrije vorm: vorm 4120">
                  <a:extLst>
                    <a:ext uri="{FF2B5EF4-FFF2-40B4-BE49-F238E27FC236}">
                      <a16:creationId xmlns:a16="http://schemas.microsoft.com/office/drawing/2014/main" id="{527403FE-5F1D-4D77-B946-20DC79E95474}"/>
                    </a:ext>
                  </a:extLst>
                </p:cNvPr>
                <p:cNvSpPr/>
                <p:nvPr/>
              </p:nvSpPr>
              <p:spPr>
                <a:xfrm>
                  <a:off x="6507045" y="1413225"/>
                  <a:ext cx="140487" cy="360577"/>
                </a:xfrm>
                <a:custGeom>
                  <a:avLst/>
                  <a:gdLst>
                    <a:gd name="connsiteX0" fmla="*/ 140487 w 140487"/>
                    <a:gd name="connsiteY0" fmla="*/ 1136 h 360577"/>
                    <a:gd name="connsiteX1" fmla="*/ 2871 w 140487"/>
                    <a:gd name="connsiteY1" fmla="*/ 360578 h 360577"/>
                    <a:gd name="connsiteX2" fmla="*/ 0 w 140487"/>
                    <a:gd name="connsiteY2" fmla="*/ 359501 h 360577"/>
                    <a:gd name="connsiteX3" fmla="*/ 137676 w 140487"/>
                    <a:gd name="connsiteY3" fmla="*/ 0 h 360577"/>
                  </a:gdLst>
                  <a:ahLst/>
                  <a:cxnLst>
                    <a:cxn ang="0">
                      <a:pos x="connsiteX0" y="connsiteY0"/>
                    </a:cxn>
                    <a:cxn ang="0">
                      <a:pos x="connsiteX1" y="connsiteY1"/>
                    </a:cxn>
                    <a:cxn ang="0">
                      <a:pos x="connsiteX2" y="connsiteY2"/>
                    </a:cxn>
                    <a:cxn ang="0">
                      <a:pos x="connsiteX3" y="connsiteY3"/>
                    </a:cxn>
                  </a:cxnLst>
                  <a:rect l="l" t="t" r="r" b="b"/>
                  <a:pathLst>
                    <a:path w="140487" h="360577">
                      <a:moveTo>
                        <a:pt x="140487" y="1136"/>
                      </a:moveTo>
                      <a:lnTo>
                        <a:pt x="2871" y="360578"/>
                      </a:lnTo>
                      <a:lnTo>
                        <a:pt x="0" y="359501"/>
                      </a:lnTo>
                      <a:lnTo>
                        <a:pt x="137676" y="0"/>
                      </a:lnTo>
                      <a:close/>
                    </a:path>
                  </a:pathLst>
                </a:custGeom>
                <a:grpFill/>
                <a:ln w="5978" cap="flat">
                  <a:noFill/>
                  <a:prstDash val="solid"/>
                  <a:miter/>
                </a:ln>
              </p:spPr>
              <p:txBody>
                <a:bodyPr rtlCol="0" anchor="ctr"/>
                <a:lstStyle/>
                <a:p>
                  <a:endParaRPr lang="en-GB"/>
                </a:p>
              </p:txBody>
            </p:sp>
            <p:sp>
              <p:nvSpPr>
                <p:cNvPr id="4122" name="Vrije vorm: vorm 4121">
                  <a:extLst>
                    <a:ext uri="{FF2B5EF4-FFF2-40B4-BE49-F238E27FC236}">
                      <a16:creationId xmlns:a16="http://schemas.microsoft.com/office/drawing/2014/main" id="{4138609F-9693-4D54-B76B-D8E9A4D95290}"/>
                    </a:ext>
                  </a:extLst>
                </p:cNvPr>
                <p:cNvSpPr/>
                <p:nvPr/>
              </p:nvSpPr>
              <p:spPr>
                <a:xfrm>
                  <a:off x="6499503" y="1763664"/>
                  <a:ext cx="18306" cy="18422"/>
                </a:xfrm>
                <a:custGeom>
                  <a:avLst/>
                  <a:gdLst>
                    <a:gd name="connsiteX0" fmla="*/ 17709 w 18306"/>
                    <a:gd name="connsiteY0" fmla="*/ 12530 h 18422"/>
                    <a:gd name="connsiteX1" fmla="*/ 5867 w 18306"/>
                    <a:gd name="connsiteY1" fmla="*/ 17793 h 18422"/>
                    <a:gd name="connsiteX2" fmla="*/ 604 w 18306"/>
                    <a:gd name="connsiteY2" fmla="*/ 5892 h 18422"/>
                    <a:gd name="connsiteX3" fmla="*/ 12446 w 18306"/>
                    <a:gd name="connsiteY3" fmla="*/ 629 h 18422"/>
                    <a:gd name="connsiteX4" fmla="*/ 17709 w 18306"/>
                    <a:gd name="connsiteY4" fmla="*/ 12530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7709" y="12530"/>
                      </a:moveTo>
                      <a:cubicBezTo>
                        <a:pt x="15915" y="17255"/>
                        <a:pt x="10592" y="19647"/>
                        <a:pt x="5867" y="17793"/>
                      </a:cubicBezTo>
                      <a:cubicBezTo>
                        <a:pt x="1142" y="15939"/>
                        <a:pt x="-1190" y="10617"/>
                        <a:pt x="604" y="5892"/>
                      </a:cubicBezTo>
                      <a:cubicBezTo>
                        <a:pt x="2398" y="1167"/>
                        <a:pt x="7721" y="-1225"/>
                        <a:pt x="12446" y="629"/>
                      </a:cubicBezTo>
                      <a:cubicBezTo>
                        <a:pt x="17111" y="2423"/>
                        <a:pt x="19503" y="7746"/>
                        <a:pt x="17709" y="12530"/>
                      </a:cubicBezTo>
                      <a:close/>
                    </a:path>
                  </a:pathLst>
                </a:custGeom>
                <a:grpFill/>
                <a:ln w="5978" cap="flat">
                  <a:noFill/>
                  <a:prstDash val="solid"/>
                  <a:miter/>
                </a:ln>
              </p:spPr>
              <p:txBody>
                <a:bodyPr rtlCol="0" anchor="ctr"/>
                <a:lstStyle/>
                <a:p>
                  <a:endParaRPr lang="en-GB"/>
                </a:p>
              </p:txBody>
            </p:sp>
            <p:sp>
              <p:nvSpPr>
                <p:cNvPr id="4123" name="Vrije vorm: vorm 4122">
                  <a:extLst>
                    <a:ext uri="{FF2B5EF4-FFF2-40B4-BE49-F238E27FC236}">
                      <a16:creationId xmlns:a16="http://schemas.microsoft.com/office/drawing/2014/main" id="{3C01C510-446A-45E2-8164-C7569ED6D775}"/>
                    </a:ext>
                  </a:extLst>
                </p:cNvPr>
                <p:cNvSpPr/>
                <p:nvPr/>
              </p:nvSpPr>
              <p:spPr>
                <a:xfrm>
                  <a:off x="6636820" y="1405053"/>
                  <a:ext cx="18313" cy="18404"/>
                </a:xfrm>
                <a:custGeom>
                  <a:avLst/>
                  <a:gdLst>
                    <a:gd name="connsiteX0" fmla="*/ 17709 w 18313"/>
                    <a:gd name="connsiteY0" fmla="*/ 12538 h 18404"/>
                    <a:gd name="connsiteX1" fmla="*/ 12446 w 18313"/>
                    <a:gd name="connsiteY1" fmla="*/ 636 h 18404"/>
                    <a:gd name="connsiteX2" fmla="*/ 604 w 18313"/>
                    <a:gd name="connsiteY2" fmla="*/ 5899 h 18404"/>
                    <a:gd name="connsiteX3" fmla="*/ 5867 w 18313"/>
                    <a:gd name="connsiteY3" fmla="*/ 17801 h 18404"/>
                    <a:gd name="connsiteX4" fmla="*/ 17709 w 18313"/>
                    <a:gd name="connsiteY4" fmla="*/ 12538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17709" y="12538"/>
                      </a:moveTo>
                      <a:cubicBezTo>
                        <a:pt x="19503" y="7813"/>
                        <a:pt x="17171" y="2430"/>
                        <a:pt x="12446" y="636"/>
                      </a:cubicBezTo>
                      <a:cubicBezTo>
                        <a:pt x="7721" y="-1218"/>
                        <a:pt x="2399" y="1115"/>
                        <a:pt x="604" y="5899"/>
                      </a:cubicBezTo>
                      <a:cubicBezTo>
                        <a:pt x="-1190" y="10624"/>
                        <a:pt x="1143" y="16007"/>
                        <a:pt x="5867" y="17801"/>
                      </a:cubicBezTo>
                      <a:cubicBezTo>
                        <a:pt x="10592" y="19595"/>
                        <a:pt x="15855" y="17262"/>
                        <a:pt x="17709" y="12538"/>
                      </a:cubicBezTo>
                      <a:close/>
                    </a:path>
                  </a:pathLst>
                </a:custGeom>
                <a:grpFill/>
                <a:ln w="5978" cap="flat">
                  <a:noFill/>
                  <a:prstDash val="solid"/>
                  <a:miter/>
                </a:ln>
              </p:spPr>
              <p:txBody>
                <a:bodyPr rtlCol="0" anchor="ctr"/>
                <a:lstStyle/>
                <a:p>
                  <a:endParaRPr lang="en-GB"/>
                </a:p>
              </p:txBody>
            </p:sp>
          </p:grpSp>
          <p:grpSp>
            <p:nvGrpSpPr>
              <p:cNvPr id="422" name="Graphic 3">
                <a:extLst>
                  <a:ext uri="{FF2B5EF4-FFF2-40B4-BE49-F238E27FC236}">
                    <a16:creationId xmlns:a16="http://schemas.microsoft.com/office/drawing/2014/main" id="{42EC5E70-86A0-41EB-881A-D79A29A1C8AC}"/>
                  </a:ext>
                </a:extLst>
              </p:cNvPr>
              <p:cNvGrpSpPr/>
              <p:nvPr/>
            </p:nvGrpSpPr>
            <p:grpSpPr>
              <a:xfrm>
                <a:off x="7443983" y="4338110"/>
                <a:ext cx="163157" cy="114802"/>
                <a:chOff x="7443983" y="4338110"/>
                <a:chExt cx="163157" cy="114802"/>
              </a:xfrm>
              <a:grpFill/>
            </p:grpSpPr>
            <p:sp>
              <p:nvSpPr>
                <p:cNvPr id="4118" name="Vrije vorm: vorm 4117">
                  <a:extLst>
                    <a:ext uri="{FF2B5EF4-FFF2-40B4-BE49-F238E27FC236}">
                      <a16:creationId xmlns:a16="http://schemas.microsoft.com/office/drawing/2014/main" id="{83273309-EFA0-4A0D-8020-72F4A47FCE3D}"/>
                    </a:ext>
                  </a:extLst>
                </p:cNvPr>
                <p:cNvSpPr/>
                <p:nvPr/>
              </p:nvSpPr>
              <p:spPr>
                <a:xfrm>
                  <a:off x="7451880" y="4345752"/>
                  <a:ext cx="147305" cy="99459"/>
                </a:xfrm>
                <a:custGeom>
                  <a:avLst/>
                  <a:gdLst>
                    <a:gd name="connsiteX0" fmla="*/ 147305 w 147305"/>
                    <a:gd name="connsiteY0" fmla="*/ 96888 h 99459"/>
                    <a:gd name="connsiteX1" fmla="*/ 145630 w 147305"/>
                    <a:gd name="connsiteY1" fmla="*/ 99459 h 99459"/>
                    <a:gd name="connsiteX2" fmla="*/ 0 w 147305"/>
                    <a:gd name="connsiteY2" fmla="*/ 2572 h 99459"/>
                    <a:gd name="connsiteX3" fmla="*/ 1675 w 147305"/>
                    <a:gd name="connsiteY3" fmla="*/ 0 h 99459"/>
                  </a:gdLst>
                  <a:ahLst/>
                  <a:cxnLst>
                    <a:cxn ang="0">
                      <a:pos x="connsiteX0" y="connsiteY0"/>
                    </a:cxn>
                    <a:cxn ang="0">
                      <a:pos x="connsiteX1" y="connsiteY1"/>
                    </a:cxn>
                    <a:cxn ang="0">
                      <a:pos x="connsiteX2" y="connsiteY2"/>
                    </a:cxn>
                    <a:cxn ang="0">
                      <a:pos x="connsiteX3" y="connsiteY3"/>
                    </a:cxn>
                  </a:cxnLst>
                  <a:rect l="l" t="t" r="r" b="b"/>
                  <a:pathLst>
                    <a:path w="147305" h="99459">
                      <a:moveTo>
                        <a:pt x="147305" y="96888"/>
                      </a:moveTo>
                      <a:lnTo>
                        <a:pt x="145630" y="99459"/>
                      </a:lnTo>
                      <a:lnTo>
                        <a:pt x="0" y="2572"/>
                      </a:lnTo>
                      <a:lnTo>
                        <a:pt x="1675" y="0"/>
                      </a:lnTo>
                      <a:close/>
                    </a:path>
                  </a:pathLst>
                </a:custGeom>
                <a:grpFill/>
                <a:ln w="5978" cap="flat">
                  <a:noFill/>
                  <a:prstDash val="solid"/>
                  <a:miter/>
                </a:ln>
              </p:spPr>
              <p:txBody>
                <a:bodyPr rtlCol="0" anchor="ctr"/>
                <a:lstStyle/>
                <a:p>
                  <a:endParaRPr lang="en-GB"/>
                </a:p>
              </p:txBody>
            </p:sp>
            <p:sp>
              <p:nvSpPr>
                <p:cNvPr id="4119" name="Vrije vorm: vorm 4118">
                  <a:extLst>
                    <a:ext uri="{FF2B5EF4-FFF2-40B4-BE49-F238E27FC236}">
                      <a16:creationId xmlns:a16="http://schemas.microsoft.com/office/drawing/2014/main" id="{38C46663-AE40-4468-8C72-78C47EF051BD}"/>
                    </a:ext>
                  </a:extLst>
                </p:cNvPr>
                <p:cNvSpPr/>
                <p:nvPr/>
              </p:nvSpPr>
              <p:spPr>
                <a:xfrm>
                  <a:off x="7588852" y="4434459"/>
                  <a:ext cx="18288" cy="18453"/>
                </a:xfrm>
                <a:custGeom>
                  <a:avLst/>
                  <a:gdLst>
                    <a:gd name="connsiteX0" fmla="*/ 14161 w 18288"/>
                    <a:gd name="connsiteY0" fmla="*/ 1542 h 18453"/>
                    <a:gd name="connsiteX1" fmla="*/ 16792 w 18288"/>
                    <a:gd name="connsiteY1" fmla="*/ 14340 h 18453"/>
                    <a:gd name="connsiteX2" fmla="*/ 4113 w 18288"/>
                    <a:gd name="connsiteY2" fmla="*/ 16912 h 18453"/>
                    <a:gd name="connsiteX3" fmla="*/ 1482 w 18288"/>
                    <a:gd name="connsiteY3" fmla="*/ 4113 h 18453"/>
                    <a:gd name="connsiteX4" fmla="*/ 14161 w 18288"/>
                    <a:gd name="connsiteY4" fmla="*/ 154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14161" y="1542"/>
                      </a:moveTo>
                      <a:cubicBezTo>
                        <a:pt x="18407" y="4352"/>
                        <a:pt x="19543" y="10094"/>
                        <a:pt x="16792" y="14340"/>
                      </a:cubicBezTo>
                      <a:cubicBezTo>
                        <a:pt x="14041" y="18586"/>
                        <a:pt x="8299" y="19723"/>
                        <a:pt x="4113" y="16912"/>
                      </a:cubicBezTo>
                      <a:cubicBezTo>
                        <a:pt x="-73" y="14101"/>
                        <a:pt x="-1270" y="8360"/>
                        <a:pt x="1482" y="4113"/>
                      </a:cubicBezTo>
                      <a:cubicBezTo>
                        <a:pt x="4233" y="-133"/>
                        <a:pt x="9914" y="-1270"/>
                        <a:pt x="14161" y="1542"/>
                      </a:cubicBezTo>
                      <a:close/>
                    </a:path>
                  </a:pathLst>
                </a:custGeom>
                <a:grpFill/>
                <a:ln w="5978" cap="flat">
                  <a:noFill/>
                  <a:prstDash val="solid"/>
                  <a:miter/>
                </a:ln>
              </p:spPr>
              <p:txBody>
                <a:bodyPr rtlCol="0" anchor="ctr"/>
                <a:lstStyle/>
                <a:p>
                  <a:endParaRPr lang="en-GB"/>
                </a:p>
              </p:txBody>
            </p:sp>
            <p:sp>
              <p:nvSpPr>
                <p:cNvPr id="4120" name="Vrije vorm: vorm 4119">
                  <a:extLst>
                    <a:ext uri="{FF2B5EF4-FFF2-40B4-BE49-F238E27FC236}">
                      <a16:creationId xmlns:a16="http://schemas.microsoft.com/office/drawing/2014/main" id="{C4941AA2-0073-45B7-A3E6-119BEDA786ED}"/>
                    </a:ext>
                  </a:extLst>
                </p:cNvPr>
                <p:cNvSpPr/>
                <p:nvPr/>
              </p:nvSpPr>
              <p:spPr>
                <a:xfrm>
                  <a:off x="7443983" y="4338110"/>
                  <a:ext cx="18288" cy="18453"/>
                </a:xfrm>
                <a:custGeom>
                  <a:avLst/>
                  <a:gdLst>
                    <a:gd name="connsiteX0" fmla="*/ 14176 w 18288"/>
                    <a:gd name="connsiteY0" fmla="*/ 1542 h 18453"/>
                    <a:gd name="connsiteX1" fmla="*/ 1497 w 18288"/>
                    <a:gd name="connsiteY1" fmla="*/ 4113 h 18453"/>
                    <a:gd name="connsiteX2" fmla="*/ 4128 w 18288"/>
                    <a:gd name="connsiteY2" fmla="*/ 16912 h 18453"/>
                    <a:gd name="connsiteX3" fmla="*/ 16808 w 18288"/>
                    <a:gd name="connsiteY3" fmla="*/ 14340 h 18453"/>
                    <a:gd name="connsiteX4" fmla="*/ 14176 w 18288"/>
                    <a:gd name="connsiteY4" fmla="*/ 154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14176" y="1542"/>
                      </a:moveTo>
                      <a:cubicBezTo>
                        <a:pt x="9930" y="-1270"/>
                        <a:pt x="4248" y="-133"/>
                        <a:pt x="1497" y="4113"/>
                      </a:cubicBezTo>
                      <a:cubicBezTo>
                        <a:pt x="-1254" y="8359"/>
                        <a:pt x="-118" y="14041"/>
                        <a:pt x="4128" y="16912"/>
                      </a:cubicBezTo>
                      <a:cubicBezTo>
                        <a:pt x="8375" y="19723"/>
                        <a:pt x="14057" y="18586"/>
                        <a:pt x="16808" y="14340"/>
                      </a:cubicBezTo>
                      <a:cubicBezTo>
                        <a:pt x="19558" y="10034"/>
                        <a:pt x="18363" y="4352"/>
                        <a:pt x="14176" y="1542"/>
                      </a:cubicBezTo>
                      <a:close/>
                    </a:path>
                  </a:pathLst>
                </a:custGeom>
                <a:grpFill/>
                <a:ln w="5978" cap="flat">
                  <a:noFill/>
                  <a:prstDash val="solid"/>
                  <a:miter/>
                </a:ln>
              </p:spPr>
              <p:txBody>
                <a:bodyPr rtlCol="0" anchor="ctr"/>
                <a:lstStyle/>
                <a:p>
                  <a:endParaRPr lang="en-GB"/>
                </a:p>
              </p:txBody>
            </p:sp>
          </p:grpSp>
          <p:grpSp>
            <p:nvGrpSpPr>
              <p:cNvPr id="423" name="Graphic 3">
                <a:extLst>
                  <a:ext uri="{FF2B5EF4-FFF2-40B4-BE49-F238E27FC236}">
                    <a16:creationId xmlns:a16="http://schemas.microsoft.com/office/drawing/2014/main" id="{7304BBF2-7530-45F8-BFB5-FEF2BB2EA20A}"/>
                  </a:ext>
                </a:extLst>
              </p:cNvPr>
              <p:cNvGrpSpPr/>
              <p:nvPr/>
            </p:nvGrpSpPr>
            <p:grpSpPr>
              <a:xfrm>
                <a:off x="7483614" y="4443707"/>
                <a:ext cx="104947" cy="80818"/>
                <a:chOff x="7483614" y="4443707"/>
                <a:chExt cx="104947" cy="80818"/>
              </a:xfrm>
              <a:grpFill/>
            </p:grpSpPr>
            <p:sp>
              <p:nvSpPr>
                <p:cNvPr id="4115" name="Vrije vorm: vorm 4114">
                  <a:extLst>
                    <a:ext uri="{FF2B5EF4-FFF2-40B4-BE49-F238E27FC236}">
                      <a16:creationId xmlns:a16="http://schemas.microsoft.com/office/drawing/2014/main" id="{4C9F38BE-8F45-4112-9B2E-7CCD84AFCE1D}"/>
                    </a:ext>
                  </a:extLst>
                </p:cNvPr>
                <p:cNvSpPr/>
                <p:nvPr/>
              </p:nvSpPr>
              <p:spPr>
                <a:xfrm>
                  <a:off x="7491532" y="4451371"/>
                  <a:ext cx="89112" cy="65429"/>
                </a:xfrm>
                <a:custGeom>
                  <a:avLst/>
                  <a:gdLst>
                    <a:gd name="connsiteX0" fmla="*/ 89113 w 89112"/>
                    <a:gd name="connsiteY0" fmla="*/ 62977 h 65429"/>
                    <a:gd name="connsiteX1" fmla="*/ 87378 w 89112"/>
                    <a:gd name="connsiteY1" fmla="*/ 65429 h 65429"/>
                    <a:gd name="connsiteX2" fmla="*/ 0 w 89112"/>
                    <a:gd name="connsiteY2" fmla="*/ 2512 h 65429"/>
                    <a:gd name="connsiteX3" fmla="*/ 1734 w 89112"/>
                    <a:gd name="connsiteY3" fmla="*/ 0 h 65429"/>
                  </a:gdLst>
                  <a:ahLst/>
                  <a:cxnLst>
                    <a:cxn ang="0">
                      <a:pos x="connsiteX0" y="connsiteY0"/>
                    </a:cxn>
                    <a:cxn ang="0">
                      <a:pos x="connsiteX1" y="connsiteY1"/>
                    </a:cxn>
                    <a:cxn ang="0">
                      <a:pos x="connsiteX2" y="connsiteY2"/>
                    </a:cxn>
                    <a:cxn ang="0">
                      <a:pos x="connsiteX3" y="connsiteY3"/>
                    </a:cxn>
                  </a:cxnLst>
                  <a:rect l="l" t="t" r="r" b="b"/>
                  <a:pathLst>
                    <a:path w="89112" h="65429">
                      <a:moveTo>
                        <a:pt x="89113" y="62977"/>
                      </a:moveTo>
                      <a:lnTo>
                        <a:pt x="87378" y="65429"/>
                      </a:lnTo>
                      <a:lnTo>
                        <a:pt x="0" y="2512"/>
                      </a:lnTo>
                      <a:lnTo>
                        <a:pt x="1734" y="0"/>
                      </a:lnTo>
                      <a:close/>
                    </a:path>
                  </a:pathLst>
                </a:custGeom>
                <a:grpFill/>
                <a:ln w="5978" cap="flat">
                  <a:noFill/>
                  <a:prstDash val="solid"/>
                  <a:miter/>
                </a:ln>
              </p:spPr>
              <p:txBody>
                <a:bodyPr rtlCol="0" anchor="ctr"/>
                <a:lstStyle/>
                <a:p>
                  <a:endParaRPr lang="en-GB"/>
                </a:p>
              </p:txBody>
            </p:sp>
            <p:sp>
              <p:nvSpPr>
                <p:cNvPr id="4116" name="Vrije vorm: vorm 4115">
                  <a:extLst>
                    <a:ext uri="{FF2B5EF4-FFF2-40B4-BE49-F238E27FC236}">
                      <a16:creationId xmlns:a16="http://schemas.microsoft.com/office/drawing/2014/main" id="{8B63740B-D214-45BC-8D3F-1D428D7C99FF}"/>
                    </a:ext>
                  </a:extLst>
                </p:cNvPr>
                <p:cNvSpPr/>
                <p:nvPr/>
              </p:nvSpPr>
              <p:spPr>
                <a:xfrm>
                  <a:off x="7570215" y="4506086"/>
                  <a:ext cx="18346" cy="18439"/>
                </a:xfrm>
                <a:custGeom>
                  <a:avLst/>
                  <a:gdLst>
                    <a:gd name="connsiteX0" fmla="*/ 14496 w 18346"/>
                    <a:gd name="connsiteY0" fmla="*/ 1744 h 18439"/>
                    <a:gd name="connsiteX1" fmla="*/ 16649 w 18346"/>
                    <a:gd name="connsiteY1" fmla="*/ 14602 h 18439"/>
                    <a:gd name="connsiteX2" fmla="*/ 3850 w 18346"/>
                    <a:gd name="connsiteY2" fmla="*/ 16696 h 18439"/>
                    <a:gd name="connsiteX3" fmla="*/ 1697 w 18346"/>
                    <a:gd name="connsiteY3" fmla="*/ 3837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8623" y="4734"/>
                        <a:pt x="19580" y="10476"/>
                        <a:pt x="16649" y="14602"/>
                      </a:cubicBezTo>
                      <a:cubicBezTo>
                        <a:pt x="13719" y="18729"/>
                        <a:pt x="7977" y="19686"/>
                        <a:pt x="3850" y="16696"/>
                      </a:cubicBezTo>
                      <a:cubicBezTo>
                        <a:pt x="-276" y="13705"/>
                        <a:pt x="-1233" y="7964"/>
                        <a:pt x="1697" y="3837"/>
                      </a:cubicBezTo>
                      <a:cubicBezTo>
                        <a:pt x="4688" y="-290"/>
                        <a:pt x="10370" y="-1246"/>
                        <a:pt x="14496" y="1744"/>
                      </a:cubicBezTo>
                      <a:close/>
                    </a:path>
                  </a:pathLst>
                </a:custGeom>
                <a:grpFill/>
                <a:ln w="5978" cap="flat">
                  <a:noFill/>
                  <a:prstDash val="solid"/>
                  <a:miter/>
                </a:ln>
              </p:spPr>
              <p:txBody>
                <a:bodyPr rtlCol="0" anchor="ctr"/>
                <a:lstStyle/>
                <a:p>
                  <a:endParaRPr lang="en-GB"/>
                </a:p>
              </p:txBody>
            </p:sp>
            <p:sp>
              <p:nvSpPr>
                <p:cNvPr id="4117" name="Vrije vorm: vorm 4116">
                  <a:extLst>
                    <a:ext uri="{FF2B5EF4-FFF2-40B4-BE49-F238E27FC236}">
                      <a16:creationId xmlns:a16="http://schemas.microsoft.com/office/drawing/2014/main" id="{E9F784D1-9ED4-47B1-9140-3B7E26F876DA}"/>
                    </a:ext>
                  </a:extLst>
                </p:cNvPr>
                <p:cNvSpPr/>
                <p:nvPr/>
              </p:nvSpPr>
              <p:spPr>
                <a:xfrm>
                  <a:off x="7483614" y="4443707"/>
                  <a:ext cx="18346" cy="18439"/>
                </a:xfrm>
                <a:custGeom>
                  <a:avLst/>
                  <a:gdLst>
                    <a:gd name="connsiteX0" fmla="*/ 14496 w 18346"/>
                    <a:gd name="connsiteY0" fmla="*/ 1744 h 18439"/>
                    <a:gd name="connsiteX1" fmla="*/ 1697 w 18346"/>
                    <a:gd name="connsiteY1" fmla="*/ 3837 h 18439"/>
                    <a:gd name="connsiteX2" fmla="*/ 3850 w 18346"/>
                    <a:gd name="connsiteY2" fmla="*/ 16696 h 18439"/>
                    <a:gd name="connsiteX3" fmla="*/ 16649 w 18346"/>
                    <a:gd name="connsiteY3" fmla="*/ 14602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0369" y="-1246"/>
                        <a:pt x="4628" y="-290"/>
                        <a:pt x="1697" y="3837"/>
                      </a:cubicBezTo>
                      <a:cubicBezTo>
                        <a:pt x="-1233" y="7964"/>
                        <a:pt x="-276" y="13705"/>
                        <a:pt x="3850" y="16696"/>
                      </a:cubicBezTo>
                      <a:cubicBezTo>
                        <a:pt x="7977" y="19686"/>
                        <a:pt x="13719" y="18729"/>
                        <a:pt x="16649" y="14602"/>
                      </a:cubicBezTo>
                      <a:cubicBezTo>
                        <a:pt x="19580" y="10416"/>
                        <a:pt x="18623" y="4674"/>
                        <a:pt x="14496" y="1744"/>
                      </a:cubicBezTo>
                      <a:close/>
                    </a:path>
                  </a:pathLst>
                </a:custGeom>
                <a:grpFill/>
                <a:ln w="5978" cap="flat">
                  <a:noFill/>
                  <a:prstDash val="solid"/>
                  <a:miter/>
                </a:ln>
              </p:spPr>
              <p:txBody>
                <a:bodyPr rtlCol="0" anchor="ctr"/>
                <a:lstStyle/>
                <a:p>
                  <a:endParaRPr lang="en-GB"/>
                </a:p>
              </p:txBody>
            </p:sp>
          </p:grpSp>
          <p:grpSp>
            <p:nvGrpSpPr>
              <p:cNvPr id="424" name="Graphic 3">
                <a:extLst>
                  <a:ext uri="{FF2B5EF4-FFF2-40B4-BE49-F238E27FC236}">
                    <a16:creationId xmlns:a16="http://schemas.microsoft.com/office/drawing/2014/main" id="{733F6C12-883A-4A10-8910-03F75BD6F438}"/>
                  </a:ext>
                </a:extLst>
              </p:cNvPr>
              <p:cNvGrpSpPr/>
              <p:nvPr/>
            </p:nvGrpSpPr>
            <p:grpSpPr>
              <a:xfrm>
                <a:off x="6561567" y="1614035"/>
                <a:ext cx="69039" cy="179107"/>
                <a:chOff x="6561567" y="1614035"/>
                <a:chExt cx="69039" cy="179107"/>
              </a:xfrm>
              <a:grpFill/>
            </p:grpSpPr>
            <p:sp>
              <p:nvSpPr>
                <p:cNvPr id="4112" name="Vrije vorm: vorm 4111">
                  <a:extLst>
                    <a:ext uri="{FF2B5EF4-FFF2-40B4-BE49-F238E27FC236}">
                      <a16:creationId xmlns:a16="http://schemas.microsoft.com/office/drawing/2014/main" id="{8A21573B-2726-4EF5-AEFD-146550CCAD38}"/>
                    </a:ext>
                  </a:extLst>
                </p:cNvPr>
                <p:cNvSpPr/>
                <p:nvPr/>
              </p:nvSpPr>
              <p:spPr>
                <a:xfrm>
                  <a:off x="6569125" y="1622371"/>
                  <a:ext cx="53886" cy="162496"/>
                </a:xfrm>
                <a:custGeom>
                  <a:avLst/>
                  <a:gdLst>
                    <a:gd name="connsiteX0" fmla="*/ 53886 w 53886"/>
                    <a:gd name="connsiteY0" fmla="*/ 957 h 162496"/>
                    <a:gd name="connsiteX1" fmla="*/ 2930 w 53886"/>
                    <a:gd name="connsiteY1" fmla="*/ 162496 h 162496"/>
                    <a:gd name="connsiteX2" fmla="*/ 0 w 53886"/>
                    <a:gd name="connsiteY2" fmla="*/ 161539 h 162496"/>
                    <a:gd name="connsiteX3" fmla="*/ 51016 w 53886"/>
                    <a:gd name="connsiteY3" fmla="*/ 0 h 162496"/>
                  </a:gdLst>
                  <a:ahLst/>
                  <a:cxnLst>
                    <a:cxn ang="0">
                      <a:pos x="connsiteX0" y="connsiteY0"/>
                    </a:cxn>
                    <a:cxn ang="0">
                      <a:pos x="connsiteX1" y="connsiteY1"/>
                    </a:cxn>
                    <a:cxn ang="0">
                      <a:pos x="connsiteX2" y="connsiteY2"/>
                    </a:cxn>
                    <a:cxn ang="0">
                      <a:pos x="connsiteX3" y="connsiteY3"/>
                    </a:cxn>
                  </a:cxnLst>
                  <a:rect l="l" t="t" r="r" b="b"/>
                  <a:pathLst>
                    <a:path w="53886" h="162496">
                      <a:moveTo>
                        <a:pt x="53886" y="957"/>
                      </a:moveTo>
                      <a:lnTo>
                        <a:pt x="2930" y="162496"/>
                      </a:lnTo>
                      <a:lnTo>
                        <a:pt x="0" y="161539"/>
                      </a:lnTo>
                      <a:lnTo>
                        <a:pt x="51016" y="0"/>
                      </a:lnTo>
                      <a:close/>
                    </a:path>
                  </a:pathLst>
                </a:custGeom>
                <a:grpFill/>
                <a:ln w="5978" cap="flat">
                  <a:noFill/>
                  <a:prstDash val="solid"/>
                  <a:miter/>
                </a:ln>
              </p:spPr>
              <p:txBody>
                <a:bodyPr rtlCol="0" anchor="ctr"/>
                <a:lstStyle/>
                <a:p>
                  <a:endParaRPr lang="en-GB"/>
                </a:p>
              </p:txBody>
            </p:sp>
            <p:sp>
              <p:nvSpPr>
                <p:cNvPr id="4113" name="Vrije vorm: vorm 4112">
                  <a:extLst>
                    <a:ext uri="{FF2B5EF4-FFF2-40B4-BE49-F238E27FC236}">
                      <a16:creationId xmlns:a16="http://schemas.microsoft.com/office/drawing/2014/main" id="{68399E1B-CA3F-47D0-9318-78F8DCD98456}"/>
                    </a:ext>
                  </a:extLst>
                </p:cNvPr>
                <p:cNvSpPr/>
                <p:nvPr/>
              </p:nvSpPr>
              <p:spPr>
                <a:xfrm>
                  <a:off x="6612283" y="1614035"/>
                  <a:ext cx="18323" cy="18465"/>
                </a:xfrm>
                <a:custGeom>
                  <a:avLst/>
                  <a:gdLst>
                    <a:gd name="connsiteX0" fmla="*/ 441 w 18323"/>
                    <a:gd name="connsiteY0" fmla="*/ 6422 h 18465"/>
                    <a:gd name="connsiteX1" fmla="*/ 11924 w 18323"/>
                    <a:gd name="connsiteY1" fmla="*/ 441 h 18465"/>
                    <a:gd name="connsiteX2" fmla="*/ 17905 w 18323"/>
                    <a:gd name="connsiteY2" fmla="*/ 12044 h 18465"/>
                    <a:gd name="connsiteX3" fmla="*/ 6421 w 18323"/>
                    <a:gd name="connsiteY3" fmla="*/ 18024 h 18465"/>
                    <a:gd name="connsiteX4" fmla="*/ 441 w 18323"/>
                    <a:gd name="connsiteY4" fmla="*/ 642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65">
                      <a:moveTo>
                        <a:pt x="441" y="6422"/>
                      </a:moveTo>
                      <a:cubicBezTo>
                        <a:pt x="1996" y="1577"/>
                        <a:pt x="7140" y="-1114"/>
                        <a:pt x="11924" y="441"/>
                      </a:cubicBezTo>
                      <a:cubicBezTo>
                        <a:pt x="16768" y="1996"/>
                        <a:pt x="19400" y="7199"/>
                        <a:pt x="17905" y="12044"/>
                      </a:cubicBezTo>
                      <a:cubicBezTo>
                        <a:pt x="16350" y="16888"/>
                        <a:pt x="11206" y="19579"/>
                        <a:pt x="6421" y="18024"/>
                      </a:cubicBezTo>
                      <a:cubicBezTo>
                        <a:pt x="1577" y="16469"/>
                        <a:pt x="-1114" y="11266"/>
                        <a:pt x="441" y="6422"/>
                      </a:cubicBezTo>
                      <a:close/>
                    </a:path>
                  </a:pathLst>
                </a:custGeom>
                <a:grpFill/>
                <a:ln w="5978" cap="flat">
                  <a:noFill/>
                  <a:prstDash val="solid"/>
                  <a:miter/>
                </a:ln>
              </p:spPr>
              <p:txBody>
                <a:bodyPr rtlCol="0" anchor="ctr"/>
                <a:lstStyle/>
                <a:p>
                  <a:endParaRPr lang="en-GB"/>
                </a:p>
              </p:txBody>
            </p:sp>
            <p:sp>
              <p:nvSpPr>
                <p:cNvPr id="4114" name="Vrije vorm: vorm 4113">
                  <a:extLst>
                    <a:ext uri="{FF2B5EF4-FFF2-40B4-BE49-F238E27FC236}">
                      <a16:creationId xmlns:a16="http://schemas.microsoft.com/office/drawing/2014/main" id="{3257E25F-8015-412A-8597-F22456ADB067}"/>
                    </a:ext>
                  </a:extLst>
                </p:cNvPr>
                <p:cNvSpPr/>
                <p:nvPr/>
              </p:nvSpPr>
              <p:spPr>
                <a:xfrm>
                  <a:off x="6561567" y="1774700"/>
                  <a:ext cx="18345" cy="18442"/>
                </a:xfrm>
                <a:custGeom>
                  <a:avLst/>
                  <a:gdLst>
                    <a:gd name="connsiteX0" fmla="*/ 441 w 18345"/>
                    <a:gd name="connsiteY0" fmla="*/ 6399 h 18442"/>
                    <a:gd name="connsiteX1" fmla="*/ 6422 w 18345"/>
                    <a:gd name="connsiteY1" fmla="*/ 18002 h 18442"/>
                    <a:gd name="connsiteX2" fmla="*/ 17905 w 18345"/>
                    <a:gd name="connsiteY2" fmla="*/ 12021 h 18442"/>
                    <a:gd name="connsiteX3" fmla="*/ 11924 w 18345"/>
                    <a:gd name="connsiteY3" fmla="*/ 418 h 18442"/>
                    <a:gd name="connsiteX4" fmla="*/ 441 w 18345"/>
                    <a:gd name="connsiteY4" fmla="*/ 639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2">
                      <a:moveTo>
                        <a:pt x="441" y="6399"/>
                      </a:moveTo>
                      <a:cubicBezTo>
                        <a:pt x="-1114" y="11244"/>
                        <a:pt x="1577" y="16447"/>
                        <a:pt x="6422" y="18002"/>
                      </a:cubicBezTo>
                      <a:cubicBezTo>
                        <a:pt x="11266" y="19557"/>
                        <a:pt x="16409" y="16865"/>
                        <a:pt x="17905" y="12021"/>
                      </a:cubicBezTo>
                      <a:cubicBezTo>
                        <a:pt x="19460" y="7177"/>
                        <a:pt x="16768" y="1973"/>
                        <a:pt x="11924" y="418"/>
                      </a:cubicBezTo>
                      <a:cubicBezTo>
                        <a:pt x="7079" y="-1077"/>
                        <a:pt x="1936" y="1555"/>
                        <a:pt x="441" y="6399"/>
                      </a:cubicBezTo>
                      <a:close/>
                    </a:path>
                  </a:pathLst>
                </a:custGeom>
                <a:grpFill/>
                <a:ln w="5978" cap="flat">
                  <a:noFill/>
                  <a:prstDash val="solid"/>
                  <a:miter/>
                </a:ln>
              </p:spPr>
              <p:txBody>
                <a:bodyPr rtlCol="0" anchor="ctr"/>
                <a:lstStyle/>
                <a:p>
                  <a:endParaRPr lang="en-GB"/>
                </a:p>
              </p:txBody>
            </p:sp>
          </p:grpSp>
          <p:grpSp>
            <p:nvGrpSpPr>
              <p:cNvPr id="425" name="Graphic 3">
                <a:extLst>
                  <a:ext uri="{FF2B5EF4-FFF2-40B4-BE49-F238E27FC236}">
                    <a16:creationId xmlns:a16="http://schemas.microsoft.com/office/drawing/2014/main" id="{89EE94E1-460A-4F98-BAE6-82A1A2FB8723}"/>
                  </a:ext>
                </a:extLst>
              </p:cNvPr>
              <p:cNvGrpSpPr/>
              <p:nvPr/>
            </p:nvGrpSpPr>
            <p:grpSpPr>
              <a:xfrm>
                <a:off x="7415866" y="4396169"/>
                <a:ext cx="231352" cy="214828"/>
                <a:chOff x="7415866" y="4396169"/>
                <a:chExt cx="231352" cy="214828"/>
              </a:xfrm>
              <a:grpFill/>
            </p:grpSpPr>
            <p:sp>
              <p:nvSpPr>
                <p:cNvPr id="4109" name="Vrije vorm: vorm 4108">
                  <a:extLst>
                    <a:ext uri="{FF2B5EF4-FFF2-40B4-BE49-F238E27FC236}">
                      <a16:creationId xmlns:a16="http://schemas.microsoft.com/office/drawing/2014/main" id="{21190226-A6E7-42FF-B0A9-86AFAC01FA33}"/>
                    </a:ext>
                  </a:extLst>
                </p:cNvPr>
                <p:cNvSpPr/>
                <p:nvPr/>
              </p:nvSpPr>
              <p:spPr>
                <a:xfrm>
                  <a:off x="7423651" y="4404004"/>
                  <a:ext cx="215784" cy="199218"/>
                </a:xfrm>
                <a:custGeom>
                  <a:avLst/>
                  <a:gdLst>
                    <a:gd name="connsiteX0" fmla="*/ 215784 w 215784"/>
                    <a:gd name="connsiteY0" fmla="*/ 196945 h 199218"/>
                    <a:gd name="connsiteX1" fmla="*/ 213751 w 215784"/>
                    <a:gd name="connsiteY1" fmla="*/ 199218 h 199218"/>
                    <a:gd name="connsiteX2" fmla="*/ 0 w 215784"/>
                    <a:gd name="connsiteY2" fmla="*/ 2273 h 199218"/>
                    <a:gd name="connsiteX3" fmla="*/ 2093 w 215784"/>
                    <a:gd name="connsiteY3" fmla="*/ 0 h 199218"/>
                  </a:gdLst>
                  <a:ahLst/>
                  <a:cxnLst>
                    <a:cxn ang="0">
                      <a:pos x="connsiteX0" y="connsiteY0"/>
                    </a:cxn>
                    <a:cxn ang="0">
                      <a:pos x="connsiteX1" y="connsiteY1"/>
                    </a:cxn>
                    <a:cxn ang="0">
                      <a:pos x="connsiteX2" y="connsiteY2"/>
                    </a:cxn>
                    <a:cxn ang="0">
                      <a:pos x="connsiteX3" y="connsiteY3"/>
                    </a:cxn>
                  </a:cxnLst>
                  <a:rect l="l" t="t" r="r" b="b"/>
                  <a:pathLst>
                    <a:path w="215784" h="199218">
                      <a:moveTo>
                        <a:pt x="215784" y="196945"/>
                      </a:moveTo>
                      <a:lnTo>
                        <a:pt x="213751" y="199218"/>
                      </a:lnTo>
                      <a:lnTo>
                        <a:pt x="0" y="2273"/>
                      </a:lnTo>
                      <a:lnTo>
                        <a:pt x="2093" y="0"/>
                      </a:lnTo>
                      <a:close/>
                    </a:path>
                  </a:pathLst>
                </a:custGeom>
                <a:grpFill/>
                <a:ln w="5978" cap="flat">
                  <a:noFill/>
                  <a:prstDash val="solid"/>
                  <a:miter/>
                </a:ln>
              </p:spPr>
              <p:txBody>
                <a:bodyPr rtlCol="0" anchor="ctr"/>
                <a:lstStyle/>
                <a:p>
                  <a:endParaRPr lang="en-GB"/>
                </a:p>
              </p:txBody>
            </p:sp>
            <p:sp>
              <p:nvSpPr>
                <p:cNvPr id="4110" name="Vrije vorm: vorm 4109">
                  <a:extLst>
                    <a:ext uri="{FF2B5EF4-FFF2-40B4-BE49-F238E27FC236}">
                      <a16:creationId xmlns:a16="http://schemas.microsoft.com/office/drawing/2014/main" id="{22F2DA63-9F29-4FCB-A489-30E48CC5A411}"/>
                    </a:ext>
                  </a:extLst>
                </p:cNvPr>
                <p:cNvSpPr/>
                <p:nvPr/>
              </p:nvSpPr>
              <p:spPr>
                <a:xfrm>
                  <a:off x="7415866" y="4396169"/>
                  <a:ext cx="18298" cy="18481"/>
                </a:xfrm>
                <a:custGeom>
                  <a:avLst/>
                  <a:gdLst>
                    <a:gd name="connsiteX0" fmla="*/ 3000 w 18298"/>
                    <a:gd name="connsiteY0" fmla="*/ 16029 h 18481"/>
                    <a:gd name="connsiteX1" fmla="*/ 2402 w 18298"/>
                    <a:gd name="connsiteY1" fmla="*/ 2991 h 18481"/>
                    <a:gd name="connsiteX2" fmla="*/ 15320 w 18298"/>
                    <a:gd name="connsiteY2" fmla="*/ 2452 h 18481"/>
                    <a:gd name="connsiteX3" fmla="*/ 15918 w 18298"/>
                    <a:gd name="connsiteY3" fmla="*/ 15490 h 18481"/>
                    <a:gd name="connsiteX4" fmla="*/ 3000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3000" y="16029"/>
                      </a:moveTo>
                      <a:cubicBezTo>
                        <a:pt x="-768" y="12560"/>
                        <a:pt x="-1008" y="6758"/>
                        <a:pt x="2402" y="2991"/>
                      </a:cubicBezTo>
                      <a:cubicBezTo>
                        <a:pt x="5810" y="-777"/>
                        <a:pt x="11611" y="-1016"/>
                        <a:pt x="15320" y="2452"/>
                      </a:cubicBezTo>
                      <a:cubicBezTo>
                        <a:pt x="19028" y="5921"/>
                        <a:pt x="19327" y="11723"/>
                        <a:pt x="15918" y="15490"/>
                      </a:cubicBezTo>
                      <a:cubicBezTo>
                        <a:pt x="12509" y="19258"/>
                        <a:pt x="6708" y="19497"/>
                        <a:pt x="3000" y="16029"/>
                      </a:cubicBezTo>
                      <a:close/>
                    </a:path>
                  </a:pathLst>
                </a:custGeom>
                <a:grpFill/>
                <a:ln w="5978" cap="flat">
                  <a:noFill/>
                  <a:prstDash val="solid"/>
                  <a:miter/>
                </a:ln>
              </p:spPr>
              <p:txBody>
                <a:bodyPr rtlCol="0" anchor="ctr"/>
                <a:lstStyle/>
                <a:p>
                  <a:endParaRPr lang="en-GB"/>
                </a:p>
              </p:txBody>
            </p:sp>
            <p:sp>
              <p:nvSpPr>
                <p:cNvPr id="4111" name="Vrije vorm: vorm 4110">
                  <a:extLst>
                    <a:ext uri="{FF2B5EF4-FFF2-40B4-BE49-F238E27FC236}">
                      <a16:creationId xmlns:a16="http://schemas.microsoft.com/office/drawing/2014/main" id="{9E6C9D2F-AA20-4FCF-9AF9-A4616749F7DC}"/>
                    </a:ext>
                  </a:extLst>
                </p:cNvPr>
                <p:cNvSpPr/>
                <p:nvPr/>
              </p:nvSpPr>
              <p:spPr>
                <a:xfrm>
                  <a:off x="7628921" y="4592516"/>
                  <a:ext cx="18298" cy="18481"/>
                </a:xfrm>
                <a:custGeom>
                  <a:avLst/>
                  <a:gdLst>
                    <a:gd name="connsiteX0" fmla="*/ 2979 w 18298"/>
                    <a:gd name="connsiteY0" fmla="*/ 16029 h 18481"/>
                    <a:gd name="connsiteX1" fmla="*/ 15897 w 18298"/>
                    <a:gd name="connsiteY1" fmla="*/ 15491 h 18481"/>
                    <a:gd name="connsiteX2" fmla="*/ 15299 w 18298"/>
                    <a:gd name="connsiteY2" fmla="*/ 2453 h 18481"/>
                    <a:gd name="connsiteX3" fmla="*/ 2381 w 18298"/>
                    <a:gd name="connsiteY3" fmla="*/ 2991 h 18481"/>
                    <a:gd name="connsiteX4" fmla="*/ 2979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2979" y="16029"/>
                      </a:moveTo>
                      <a:cubicBezTo>
                        <a:pt x="6746" y="19498"/>
                        <a:pt x="12488" y="19258"/>
                        <a:pt x="15897" y="15491"/>
                      </a:cubicBezTo>
                      <a:cubicBezTo>
                        <a:pt x="19306" y="11723"/>
                        <a:pt x="19066" y="5921"/>
                        <a:pt x="15299" y="2453"/>
                      </a:cubicBezTo>
                      <a:cubicBezTo>
                        <a:pt x="11590" y="-1016"/>
                        <a:pt x="5789" y="-777"/>
                        <a:pt x="2381" y="2991"/>
                      </a:cubicBezTo>
                      <a:cubicBezTo>
                        <a:pt x="-1029" y="6759"/>
                        <a:pt x="-729" y="12620"/>
                        <a:pt x="2979" y="16029"/>
                      </a:cubicBezTo>
                      <a:close/>
                    </a:path>
                  </a:pathLst>
                </a:custGeom>
                <a:grpFill/>
                <a:ln w="5978" cap="flat">
                  <a:noFill/>
                  <a:prstDash val="solid"/>
                  <a:miter/>
                </a:ln>
              </p:spPr>
              <p:txBody>
                <a:bodyPr rtlCol="0" anchor="ctr"/>
                <a:lstStyle/>
                <a:p>
                  <a:endParaRPr lang="en-GB"/>
                </a:p>
              </p:txBody>
            </p:sp>
          </p:grpSp>
          <p:grpSp>
            <p:nvGrpSpPr>
              <p:cNvPr id="426" name="Graphic 3">
                <a:extLst>
                  <a:ext uri="{FF2B5EF4-FFF2-40B4-BE49-F238E27FC236}">
                    <a16:creationId xmlns:a16="http://schemas.microsoft.com/office/drawing/2014/main" id="{4E36BE90-F73D-4C8A-880D-D0BAE161854A}"/>
                  </a:ext>
                </a:extLst>
              </p:cNvPr>
              <p:cNvGrpSpPr/>
              <p:nvPr/>
            </p:nvGrpSpPr>
            <p:grpSpPr>
              <a:xfrm>
                <a:off x="6568146" y="1636224"/>
                <a:ext cx="19361" cy="22133"/>
                <a:chOff x="6568146" y="1636224"/>
                <a:chExt cx="19361" cy="22133"/>
              </a:xfrm>
              <a:grpFill/>
            </p:grpSpPr>
            <p:sp>
              <p:nvSpPr>
                <p:cNvPr id="4107" name="Vrije vorm: vorm 4106">
                  <a:extLst>
                    <a:ext uri="{FF2B5EF4-FFF2-40B4-BE49-F238E27FC236}">
                      <a16:creationId xmlns:a16="http://schemas.microsoft.com/office/drawing/2014/main" id="{64C72417-E352-48A8-81DB-D48FA4CB53D2}"/>
                    </a:ext>
                  </a:extLst>
                </p:cNvPr>
                <p:cNvSpPr/>
                <p:nvPr/>
              </p:nvSpPr>
              <p:spPr>
                <a:xfrm>
                  <a:off x="6568146" y="1639911"/>
                  <a:ext cx="18284" cy="18447"/>
                </a:xfrm>
                <a:custGeom>
                  <a:avLst/>
                  <a:gdLst>
                    <a:gd name="connsiteX0" fmla="*/ 381 w 18284"/>
                    <a:gd name="connsiteY0" fmla="*/ 6562 h 18447"/>
                    <a:gd name="connsiteX1" fmla="*/ 11744 w 18284"/>
                    <a:gd name="connsiteY1" fmla="*/ 402 h 18447"/>
                    <a:gd name="connsiteX2" fmla="*/ 17904 w 18284"/>
                    <a:gd name="connsiteY2" fmla="*/ 11885 h 18447"/>
                    <a:gd name="connsiteX3" fmla="*/ 6481 w 18284"/>
                    <a:gd name="connsiteY3" fmla="*/ 18045 h 18447"/>
                    <a:gd name="connsiteX4" fmla="*/ 381 w 1828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7">
                      <a:moveTo>
                        <a:pt x="381" y="6562"/>
                      </a:moveTo>
                      <a:cubicBezTo>
                        <a:pt x="1816" y="1718"/>
                        <a:pt x="6900" y="-1093"/>
                        <a:pt x="11744" y="402"/>
                      </a:cubicBezTo>
                      <a:cubicBezTo>
                        <a:pt x="16588" y="1897"/>
                        <a:pt x="19340" y="6981"/>
                        <a:pt x="17904" y="11885"/>
                      </a:cubicBezTo>
                      <a:cubicBezTo>
                        <a:pt x="16469" y="16730"/>
                        <a:pt x="11385" y="19541"/>
                        <a:pt x="6481" y="18045"/>
                      </a:cubicBezTo>
                      <a:cubicBezTo>
                        <a:pt x="1696" y="16550"/>
                        <a:pt x="-1055" y="11467"/>
                        <a:pt x="381" y="6562"/>
                      </a:cubicBezTo>
                      <a:close/>
                    </a:path>
                  </a:pathLst>
                </a:custGeom>
                <a:grpFill/>
                <a:ln w="5978" cap="flat">
                  <a:noFill/>
                  <a:prstDash val="solid"/>
                  <a:miter/>
                </a:ln>
              </p:spPr>
              <p:txBody>
                <a:bodyPr rtlCol="0" anchor="ctr"/>
                <a:lstStyle/>
                <a:p>
                  <a:endParaRPr lang="en-GB"/>
                </a:p>
              </p:txBody>
            </p:sp>
            <p:sp>
              <p:nvSpPr>
                <p:cNvPr id="4108" name="Vrije vorm: vorm 4107">
                  <a:extLst>
                    <a:ext uri="{FF2B5EF4-FFF2-40B4-BE49-F238E27FC236}">
                      <a16:creationId xmlns:a16="http://schemas.microsoft.com/office/drawing/2014/main" id="{A3F3933F-469B-4843-87CD-7D8201BB4832}"/>
                    </a:ext>
                  </a:extLst>
                </p:cNvPr>
                <p:cNvSpPr/>
                <p:nvPr/>
              </p:nvSpPr>
              <p:spPr>
                <a:xfrm>
                  <a:off x="6569223" y="1636224"/>
                  <a:ext cx="18284" cy="18425"/>
                </a:xfrm>
                <a:custGeom>
                  <a:avLst/>
                  <a:gdLst>
                    <a:gd name="connsiteX0" fmla="*/ 380 w 18284"/>
                    <a:gd name="connsiteY0" fmla="*/ 6541 h 18425"/>
                    <a:gd name="connsiteX1" fmla="*/ 6540 w 18284"/>
                    <a:gd name="connsiteY1" fmla="*/ 18024 h 18425"/>
                    <a:gd name="connsiteX2" fmla="*/ 17904 w 18284"/>
                    <a:gd name="connsiteY2" fmla="*/ 11863 h 18425"/>
                    <a:gd name="connsiteX3" fmla="*/ 11744 w 18284"/>
                    <a:gd name="connsiteY3" fmla="*/ 380 h 18425"/>
                    <a:gd name="connsiteX4" fmla="*/ 380 w 18284"/>
                    <a:gd name="connsiteY4" fmla="*/ 6541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25">
                      <a:moveTo>
                        <a:pt x="380" y="6541"/>
                      </a:moveTo>
                      <a:cubicBezTo>
                        <a:pt x="-1055" y="11385"/>
                        <a:pt x="1696" y="16528"/>
                        <a:pt x="6540" y="18024"/>
                      </a:cubicBezTo>
                      <a:cubicBezTo>
                        <a:pt x="11385" y="19519"/>
                        <a:pt x="16469" y="16708"/>
                        <a:pt x="17904" y="11863"/>
                      </a:cubicBezTo>
                      <a:cubicBezTo>
                        <a:pt x="19339" y="7019"/>
                        <a:pt x="16588" y="1876"/>
                        <a:pt x="11744" y="380"/>
                      </a:cubicBezTo>
                      <a:cubicBezTo>
                        <a:pt x="6959" y="-1055"/>
                        <a:pt x="1816" y="1696"/>
                        <a:pt x="380" y="6541"/>
                      </a:cubicBezTo>
                      <a:close/>
                    </a:path>
                  </a:pathLst>
                </a:custGeom>
                <a:grpFill/>
                <a:ln w="5978" cap="flat">
                  <a:noFill/>
                  <a:prstDash val="solid"/>
                  <a:miter/>
                </a:ln>
              </p:spPr>
              <p:txBody>
                <a:bodyPr rtlCol="0" anchor="ctr"/>
                <a:lstStyle/>
                <a:p>
                  <a:endParaRPr lang="en-GB"/>
                </a:p>
              </p:txBody>
            </p:sp>
          </p:grpSp>
          <p:grpSp>
            <p:nvGrpSpPr>
              <p:cNvPr id="427" name="Graphic 3">
                <a:extLst>
                  <a:ext uri="{FF2B5EF4-FFF2-40B4-BE49-F238E27FC236}">
                    <a16:creationId xmlns:a16="http://schemas.microsoft.com/office/drawing/2014/main" id="{BF4FC8C9-C216-4C0C-B18B-0FE7829B8C82}"/>
                  </a:ext>
                </a:extLst>
              </p:cNvPr>
              <p:cNvGrpSpPr/>
              <p:nvPr/>
            </p:nvGrpSpPr>
            <p:grpSpPr>
              <a:xfrm>
                <a:off x="7427734" y="4366530"/>
                <a:ext cx="179890" cy="170220"/>
                <a:chOff x="7427734" y="4366530"/>
                <a:chExt cx="179890" cy="170220"/>
              </a:xfrm>
              <a:grpFill/>
            </p:grpSpPr>
            <p:sp>
              <p:nvSpPr>
                <p:cNvPr id="4104" name="Vrije vorm: vorm 4103">
                  <a:extLst>
                    <a:ext uri="{FF2B5EF4-FFF2-40B4-BE49-F238E27FC236}">
                      <a16:creationId xmlns:a16="http://schemas.microsoft.com/office/drawing/2014/main" id="{E2A5D180-72AB-409F-8F32-CD960B8A9B9A}"/>
                    </a:ext>
                  </a:extLst>
                </p:cNvPr>
                <p:cNvSpPr/>
                <p:nvPr/>
              </p:nvSpPr>
              <p:spPr>
                <a:xfrm>
                  <a:off x="7435493" y="4374280"/>
                  <a:ext cx="164290" cy="154721"/>
                </a:xfrm>
                <a:custGeom>
                  <a:avLst/>
                  <a:gdLst>
                    <a:gd name="connsiteX0" fmla="*/ 164290 w 164290"/>
                    <a:gd name="connsiteY0" fmla="*/ 152508 h 154721"/>
                    <a:gd name="connsiteX1" fmla="*/ 162257 w 164290"/>
                    <a:gd name="connsiteY1" fmla="*/ 154721 h 154721"/>
                    <a:gd name="connsiteX2" fmla="*/ 0 w 164290"/>
                    <a:gd name="connsiteY2" fmla="*/ 2273 h 154721"/>
                    <a:gd name="connsiteX3" fmla="*/ 2093 w 164290"/>
                    <a:gd name="connsiteY3" fmla="*/ 0 h 154721"/>
                  </a:gdLst>
                  <a:ahLst/>
                  <a:cxnLst>
                    <a:cxn ang="0">
                      <a:pos x="connsiteX0" y="connsiteY0"/>
                    </a:cxn>
                    <a:cxn ang="0">
                      <a:pos x="connsiteX1" y="connsiteY1"/>
                    </a:cxn>
                    <a:cxn ang="0">
                      <a:pos x="connsiteX2" y="connsiteY2"/>
                    </a:cxn>
                    <a:cxn ang="0">
                      <a:pos x="connsiteX3" y="connsiteY3"/>
                    </a:cxn>
                  </a:cxnLst>
                  <a:rect l="l" t="t" r="r" b="b"/>
                  <a:pathLst>
                    <a:path w="164290" h="154721">
                      <a:moveTo>
                        <a:pt x="164290" y="152508"/>
                      </a:moveTo>
                      <a:lnTo>
                        <a:pt x="162257" y="154721"/>
                      </a:lnTo>
                      <a:lnTo>
                        <a:pt x="0" y="2273"/>
                      </a:lnTo>
                      <a:lnTo>
                        <a:pt x="2093" y="0"/>
                      </a:lnTo>
                      <a:close/>
                    </a:path>
                  </a:pathLst>
                </a:custGeom>
                <a:grpFill/>
                <a:ln w="5978" cap="flat">
                  <a:noFill/>
                  <a:prstDash val="solid"/>
                  <a:miter/>
                </a:ln>
              </p:spPr>
              <p:txBody>
                <a:bodyPr rtlCol="0" anchor="ctr"/>
                <a:lstStyle/>
                <a:p>
                  <a:endParaRPr lang="en-GB"/>
                </a:p>
              </p:txBody>
            </p:sp>
            <p:sp>
              <p:nvSpPr>
                <p:cNvPr id="4105" name="Vrije vorm: vorm 4104">
                  <a:extLst>
                    <a:ext uri="{FF2B5EF4-FFF2-40B4-BE49-F238E27FC236}">
                      <a16:creationId xmlns:a16="http://schemas.microsoft.com/office/drawing/2014/main" id="{3FC8B5E7-3C21-44BA-B097-C412951ED324}"/>
                    </a:ext>
                  </a:extLst>
                </p:cNvPr>
                <p:cNvSpPr/>
                <p:nvPr/>
              </p:nvSpPr>
              <p:spPr>
                <a:xfrm>
                  <a:off x="7427734" y="4366530"/>
                  <a:ext cx="18327" cy="18429"/>
                </a:xfrm>
                <a:custGeom>
                  <a:avLst/>
                  <a:gdLst>
                    <a:gd name="connsiteX0" fmla="*/ 2914 w 18327"/>
                    <a:gd name="connsiteY0" fmla="*/ 15943 h 18429"/>
                    <a:gd name="connsiteX1" fmla="*/ 2436 w 18327"/>
                    <a:gd name="connsiteY1" fmla="*/ 2905 h 18429"/>
                    <a:gd name="connsiteX2" fmla="*/ 15413 w 18327"/>
                    <a:gd name="connsiteY2" fmla="*/ 2487 h 18429"/>
                    <a:gd name="connsiteX3" fmla="*/ 15892 w 18327"/>
                    <a:gd name="connsiteY3" fmla="*/ 15525 h 18429"/>
                    <a:gd name="connsiteX4" fmla="*/ 2914 w 18327"/>
                    <a:gd name="connsiteY4" fmla="*/ 1594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2914" y="15943"/>
                      </a:moveTo>
                      <a:cubicBezTo>
                        <a:pt x="-794" y="12474"/>
                        <a:pt x="-974" y="6613"/>
                        <a:pt x="2436" y="2905"/>
                      </a:cubicBezTo>
                      <a:cubicBezTo>
                        <a:pt x="5904" y="-803"/>
                        <a:pt x="11705" y="-982"/>
                        <a:pt x="15413" y="2487"/>
                      </a:cubicBezTo>
                      <a:cubicBezTo>
                        <a:pt x="19121" y="5956"/>
                        <a:pt x="19301" y="11817"/>
                        <a:pt x="15892" y="15525"/>
                      </a:cubicBezTo>
                      <a:cubicBezTo>
                        <a:pt x="12364" y="19233"/>
                        <a:pt x="6562" y="19412"/>
                        <a:pt x="2914" y="15943"/>
                      </a:cubicBezTo>
                      <a:close/>
                    </a:path>
                  </a:pathLst>
                </a:custGeom>
                <a:grpFill/>
                <a:ln w="5978" cap="flat">
                  <a:noFill/>
                  <a:prstDash val="solid"/>
                  <a:miter/>
                </a:ln>
              </p:spPr>
              <p:txBody>
                <a:bodyPr rtlCol="0" anchor="ctr"/>
                <a:lstStyle/>
                <a:p>
                  <a:endParaRPr lang="en-GB"/>
                </a:p>
              </p:txBody>
            </p:sp>
            <p:sp>
              <p:nvSpPr>
                <p:cNvPr id="4106" name="Vrije vorm: vorm 4105">
                  <a:extLst>
                    <a:ext uri="{FF2B5EF4-FFF2-40B4-BE49-F238E27FC236}">
                      <a16:creationId xmlns:a16="http://schemas.microsoft.com/office/drawing/2014/main" id="{7FDC83B9-9697-488C-96CC-38CF31D161C5}"/>
                    </a:ext>
                  </a:extLst>
                </p:cNvPr>
                <p:cNvSpPr/>
                <p:nvPr/>
              </p:nvSpPr>
              <p:spPr>
                <a:xfrm>
                  <a:off x="7589273" y="4518321"/>
                  <a:ext cx="18350" cy="18429"/>
                </a:xfrm>
                <a:custGeom>
                  <a:avLst/>
                  <a:gdLst>
                    <a:gd name="connsiteX0" fmla="*/ 2914 w 18350"/>
                    <a:gd name="connsiteY0" fmla="*/ 15943 h 18429"/>
                    <a:gd name="connsiteX1" fmla="*/ 15892 w 18350"/>
                    <a:gd name="connsiteY1" fmla="*/ 15525 h 18429"/>
                    <a:gd name="connsiteX2" fmla="*/ 15413 w 18350"/>
                    <a:gd name="connsiteY2" fmla="*/ 2487 h 18429"/>
                    <a:gd name="connsiteX3" fmla="*/ 2436 w 18350"/>
                    <a:gd name="connsiteY3" fmla="*/ 2905 h 18429"/>
                    <a:gd name="connsiteX4" fmla="*/ 2914 w 18350"/>
                    <a:gd name="connsiteY4" fmla="*/ 1594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29">
                      <a:moveTo>
                        <a:pt x="2914" y="15943"/>
                      </a:moveTo>
                      <a:cubicBezTo>
                        <a:pt x="6622" y="19412"/>
                        <a:pt x="12423" y="19233"/>
                        <a:pt x="15892" y="15525"/>
                      </a:cubicBezTo>
                      <a:cubicBezTo>
                        <a:pt x="19361" y="11817"/>
                        <a:pt x="19121" y="5956"/>
                        <a:pt x="15413" y="2487"/>
                      </a:cubicBezTo>
                      <a:cubicBezTo>
                        <a:pt x="11705" y="-982"/>
                        <a:pt x="5904" y="-803"/>
                        <a:pt x="2436" y="2905"/>
                      </a:cubicBezTo>
                      <a:cubicBezTo>
                        <a:pt x="-974" y="6673"/>
                        <a:pt x="-794" y="12474"/>
                        <a:pt x="2914" y="15943"/>
                      </a:cubicBezTo>
                      <a:close/>
                    </a:path>
                  </a:pathLst>
                </a:custGeom>
                <a:grpFill/>
                <a:ln w="5978" cap="flat">
                  <a:noFill/>
                  <a:prstDash val="solid"/>
                  <a:miter/>
                </a:ln>
              </p:spPr>
              <p:txBody>
                <a:bodyPr rtlCol="0" anchor="ctr"/>
                <a:lstStyle/>
                <a:p>
                  <a:endParaRPr lang="en-GB"/>
                </a:p>
              </p:txBody>
            </p:sp>
          </p:grpSp>
          <p:grpSp>
            <p:nvGrpSpPr>
              <p:cNvPr id="428" name="Graphic 3">
                <a:extLst>
                  <a:ext uri="{FF2B5EF4-FFF2-40B4-BE49-F238E27FC236}">
                    <a16:creationId xmlns:a16="http://schemas.microsoft.com/office/drawing/2014/main" id="{CF8F7967-06C4-4CB7-A4C5-6E0DA6C53D6C}"/>
                  </a:ext>
                </a:extLst>
              </p:cNvPr>
              <p:cNvGrpSpPr/>
              <p:nvPr/>
            </p:nvGrpSpPr>
            <p:grpSpPr>
              <a:xfrm>
                <a:off x="7558345" y="4777458"/>
                <a:ext cx="181975" cy="166706"/>
                <a:chOff x="7558345" y="4777458"/>
                <a:chExt cx="181975" cy="166706"/>
              </a:xfrm>
              <a:grpFill/>
            </p:grpSpPr>
            <p:sp>
              <p:nvSpPr>
                <p:cNvPr id="4101" name="Vrije vorm: vorm 4100">
                  <a:extLst>
                    <a:ext uri="{FF2B5EF4-FFF2-40B4-BE49-F238E27FC236}">
                      <a16:creationId xmlns:a16="http://schemas.microsoft.com/office/drawing/2014/main" id="{B68DD1D3-C0B8-4761-A8C8-8AD5AC2118EF}"/>
                    </a:ext>
                  </a:extLst>
                </p:cNvPr>
                <p:cNvSpPr/>
                <p:nvPr/>
              </p:nvSpPr>
              <p:spPr>
                <a:xfrm>
                  <a:off x="7566111" y="4785275"/>
                  <a:ext cx="166383" cy="151073"/>
                </a:xfrm>
                <a:custGeom>
                  <a:avLst/>
                  <a:gdLst>
                    <a:gd name="connsiteX0" fmla="*/ 166383 w 166383"/>
                    <a:gd name="connsiteY0" fmla="*/ 148800 h 151073"/>
                    <a:gd name="connsiteX1" fmla="*/ 164350 w 166383"/>
                    <a:gd name="connsiteY1" fmla="*/ 151073 h 151073"/>
                    <a:gd name="connsiteX2" fmla="*/ 0 w 166383"/>
                    <a:gd name="connsiteY2" fmla="*/ 2273 h 151073"/>
                    <a:gd name="connsiteX3" fmla="*/ 2033 w 166383"/>
                    <a:gd name="connsiteY3" fmla="*/ 0 h 151073"/>
                  </a:gdLst>
                  <a:ahLst/>
                  <a:cxnLst>
                    <a:cxn ang="0">
                      <a:pos x="connsiteX0" y="connsiteY0"/>
                    </a:cxn>
                    <a:cxn ang="0">
                      <a:pos x="connsiteX1" y="connsiteY1"/>
                    </a:cxn>
                    <a:cxn ang="0">
                      <a:pos x="connsiteX2" y="connsiteY2"/>
                    </a:cxn>
                    <a:cxn ang="0">
                      <a:pos x="connsiteX3" y="connsiteY3"/>
                    </a:cxn>
                  </a:cxnLst>
                  <a:rect l="l" t="t" r="r" b="b"/>
                  <a:pathLst>
                    <a:path w="166383" h="151073">
                      <a:moveTo>
                        <a:pt x="166383" y="148800"/>
                      </a:moveTo>
                      <a:lnTo>
                        <a:pt x="164350" y="151073"/>
                      </a:lnTo>
                      <a:lnTo>
                        <a:pt x="0" y="2273"/>
                      </a:lnTo>
                      <a:lnTo>
                        <a:pt x="2033" y="0"/>
                      </a:lnTo>
                      <a:close/>
                    </a:path>
                  </a:pathLst>
                </a:custGeom>
                <a:grpFill/>
                <a:ln w="5978" cap="flat">
                  <a:noFill/>
                  <a:prstDash val="solid"/>
                  <a:miter/>
                </a:ln>
              </p:spPr>
              <p:txBody>
                <a:bodyPr rtlCol="0" anchor="ctr"/>
                <a:lstStyle/>
                <a:p>
                  <a:endParaRPr lang="en-GB"/>
                </a:p>
              </p:txBody>
            </p:sp>
            <p:sp>
              <p:nvSpPr>
                <p:cNvPr id="4102" name="Vrije vorm: vorm 4101">
                  <a:extLst>
                    <a:ext uri="{FF2B5EF4-FFF2-40B4-BE49-F238E27FC236}">
                      <a16:creationId xmlns:a16="http://schemas.microsoft.com/office/drawing/2014/main" id="{2AB36013-D622-489E-8562-3688EB77FFA2}"/>
                    </a:ext>
                  </a:extLst>
                </p:cNvPr>
                <p:cNvSpPr/>
                <p:nvPr/>
              </p:nvSpPr>
              <p:spPr>
                <a:xfrm>
                  <a:off x="7722037" y="4925720"/>
                  <a:ext cx="18283" cy="18444"/>
                </a:xfrm>
                <a:custGeom>
                  <a:avLst/>
                  <a:gdLst>
                    <a:gd name="connsiteX0" fmla="*/ 15242 w 18283"/>
                    <a:gd name="connsiteY0" fmla="*/ 2374 h 18444"/>
                    <a:gd name="connsiteX1" fmla="*/ 15960 w 18283"/>
                    <a:gd name="connsiteY1" fmla="*/ 15412 h 18444"/>
                    <a:gd name="connsiteX2" fmla="*/ 3041 w 18283"/>
                    <a:gd name="connsiteY2" fmla="*/ 16070 h 18444"/>
                    <a:gd name="connsiteX3" fmla="*/ 2324 w 18283"/>
                    <a:gd name="connsiteY3" fmla="*/ 303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9010" y="5783"/>
                        <a:pt x="19309" y="11585"/>
                        <a:pt x="15960" y="15412"/>
                      </a:cubicBezTo>
                      <a:cubicBezTo>
                        <a:pt x="12551" y="19180"/>
                        <a:pt x="6809" y="19479"/>
                        <a:pt x="3041" y="16070"/>
                      </a:cubicBezTo>
                      <a:cubicBezTo>
                        <a:pt x="-727" y="12661"/>
                        <a:pt x="-1025" y="6860"/>
                        <a:pt x="2324" y="3032"/>
                      </a:cubicBezTo>
                      <a:cubicBezTo>
                        <a:pt x="5673" y="-736"/>
                        <a:pt x="11474" y="-1035"/>
                        <a:pt x="15242" y="2374"/>
                      </a:cubicBezTo>
                      <a:close/>
                    </a:path>
                  </a:pathLst>
                </a:custGeom>
                <a:grpFill/>
                <a:ln w="5978" cap="flat">
                  <a:noFill/>
                  <a:prstDash val="solid"/>
                  <a:miter/>
                </a:ln>
              </p:spPr>
              <p:txBody>
                <a:bodyPr rtlCol="0" anchor="ctr"/>
                <a:lstStyle/>
                <a:p>
                  <a:endParaRPr lang="en-GB"/>
                </a:p>
              </p:txBody>
            </p:sp>
            <p:sp>
              <p:nvSpPr>
                <p:cNvPr id="4103" name="Vrije vorm: vorm 4102">
                  <a:extLst>
                    <a:ext uri="{FF2B5EF4-FFF2-40B4-BE49-F238E27FC236}">
                      <a16:creationId xmlns:a16="http://schemas.microsoft.com/office/drawing/2014/main" id="{680AE8E6-A744-461E-989A-8D884AB0653A}"/>
                    </a:ext>
                  </a:extLst>
                </p:cNvPr>
                <p:cNvSpPr/>
                <p:nvPr/>
              </p:nvSpPr>
              <p:spPr>
                <a:xfrm>
                  <a:off x="7558345" y="4777458"/>
                  <a:ext cx="18283" cy="18444"/>
                </a:xfrm>
                <a:custGeom>
                  <a:avLst/>
                  <a:gdLst>
                    <a:gd name="connsiteX0" fmla="*/ 15242 w 18283"/>
                    <a:gd name="connsiteY0" fmla="*/ 2374 h 18444"/>
                    <a:gd name="connsiteX1" fmla="*/ 2324 w 18283"/>
                    <a:gd name="connsiteY1" fmla="*/ 3032 h 18444"/>
                    <a:gd name="connsiteX2" fmla="*/ 3041 w 18283"/>
                    <a:gd name="connsiteY2" fmla="*/ 16070 h 18444"/>
                    <a:gd name="connsiteX3" fmla="*/ 15960 w 18283"/>
                    <a:gd name="connsiteY3" fmla="*/ 1541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1474" y="-1035"/>
                        <a:pt x="5673" y="-736"/>
                        <a:pt x="2324" y="3032"/>
                      </a:cubicBezTo>
                      <a:cubicBezTo>
                        <a:pt x="-1025" y="6800"/>
                        <a:pt x="-727" y="12661"/>
                        <a:pt x="3041" y="16070"/>
                      </a:cubicBezTo>
                      <a:cubicBezTo>
                        <a:pt x="6809" y="19479"/>
                        <a:pt x="12610" y="19180"/>
                        <a:pt x="15960" y="15412"/>
                      </a:cubicBezTo>
                      <a:cubicBezTo>
                        <a:pt x="19309" y="11644"/>
                        <a:pt x="19010" y="5783"/>
                        <a:pt x="15242" y="2374"/>
                      </a:cubicBezTo>
                      <a:close/>
                    </a:path>
                  </a:pathLst>
                </a:custGeom>
                <a:grpFill/>
                <a:ln w="5978" cap="flat">
                  <a:noFill/>
                  <a:prstDash val="solid"/>
                  <a:miter/>
                </a:ln>
              </p:spPr>
              <p:txBody>
                <a:bodyPr rtlCol="0" anchor="ctr"/>
                <a:lstStyle/>
                <a:p>
                  <a:endParaRPr lang="en-GB"/>
                </a:p>
              </p:txBody>
            </p:sp>
          </p:grpSp>
          <p:grpSp>
            <p:nvGrpSpPr>
              <p:cNvPr id="429" name="Graphic 3">
                <a:extLst>
                  <a:ext uri="{FF2B5EF4-FFF2-40B4-BE49-F238E27FC236}">
                    <a16:creationId xmlns:a16="http://schemas.microsoft.com/office/drawing/2014/main" id="{132B21C8-2BA3-4988-BE85-35160DDAFB46}"/>
                  </a:ext>
                </a:extLst>
              </p:cNvPr>
              <p:cNvGrpSpPr/>
              <p:nvPr/>
            </p:nvGrpSpPr>
            <p:grpSpPr>
              <a:xfrm>
                <a:off x="6514290" y="1500352"/>
                <a:ext cx="37003" cy="91807"/>
                <a:chOff x="6514290" y="1500352"/>
                <a:chExt cx="37003" cy="91807"/>
              </a:xfrm>
              <a:grpFill/>
            </p:grpSpPr>
            <p:sp>
              <p:nvSpPr>
                <p:cNvPr id="4098" name="Vrije vorm: vorm 4097">
                  <a:extLst>
                    <a:ext uri="{FF2B5EF4-FFF2-40B4-BE49-F238E27FC236}">
                      <a16:creationId xmlns:a16="http://schemas.microsoft.com/office/drawing/2014/main" id="{4BA3D72D-E4A2-44B9-BC1B-3022065103A6}"/>
                    </a:ext>
                  </a:extLst>
                </p:cNvPr>
                <p:cNvSpPr/>
                <p:nvPr/>
              </p:nvSpPr>
              <p:spPr>
                <a:xfrm>
                  <a:off x="6521877" y="1508737"/>
                  <a:ext cx="21889" cy="75058"/>
                </a:xfrm>
                <a:custGeom>
                  <a:avLst/>
                  <a:gdLst>
                    <a:gd name="connsiteX0" fmla="*/ 21889 w 21889"/>
                    <a:gd name="connsiteY0" fmla="*/ 778 h 75058"/>
                    <a:gd name="connsiteX1" fmla="*/ 2930 w 21889"/>
                    <a:gd name="connsiteY1" fmla="*/ 75058 h 75058"/>
                    <a:gd name="connsiteX2" fmla="*/ 0 w 21889"/>
                    <a:gd name="connsiteY2" fmla="*/ 74281 h 75058"/>
                    <a:gd name="connsiteX3" fmla="*/ 18959 w 21889"/>
                    <a:gd name="connsiteY3" fmla="*/ 0 h 75058"/>
                  </a:gdLst>
                  <a:ahLst/>
                  <a:cxnLst>
                    <a:cxn ang="0">
                      <a:pos x="connsiteX0" y="connsiteY0"/>
                    </a:cxn>
                    <a:cxn ang="0">
                      <a:pos x="connsiteX1" y="connsiteY1"/>
                    </a:cxn>
                    <a:cxn ang="0">
                      <a:pos x="connsiteX2" y="connsiteY2"/>
                    </a:cxn>
                    <a:cxn ang="0">
                      <a:pos x="connsiteX3" y="connsiteY3"/>
                    </a:cxn>
                  </a:cxnLst>
                  <a:rect l="l" t="t" r="r" b="b"/>
                  <a:pathLst>
                    <a:path w="21889" h="75058">
                      <a:moveTo>
                        <a:pt x="21889" y="778"/>
                      </a:moveTo>
                      <a:lnTo>
                        <a:pt x="2930" y="75058"/>
                      </a:lnTo>
                      <a:lnTo>
                        <a:pt x="0" y="74281"/>
                      </a:lnTo>
                      <a:lnTo>
                        <a:pt x="18959" y="0"/>
                      </a:lnTo>
                      <a:close/>
                    </a:path>
                  </a:pathLst>
                </a:custGeom>
                <a:grpFill/>
                <a:ln w="5978" cap="flat">
                  <a:noFill/>
                  <a:prstDash val="solid"/>
                  <a:miter/>
                </a:ln>
              </p:spPr>
              <p:txBody>
                <a:bodyPr rtlCol="0" anchor="ctr"/>
                <a:lstStyle/>
                <a:p>
                  <a:endParaRPr lang="en-GB"/>
                </a:p>
              </p:txBody>
            </p:sp>
            <p:sp>
              <p:nvSpPr>
                <p:cNvPr id="4099" name="Vrije vorm: vorm 4098">
                  <a:extLst>
                    <a:ext uri="{FF2B5EF4-FFF2-40B4-BE49-F238E27FC236}">
                      <a16:creationId xmlns:a16="http://schemas.microsoft.com/office/drawing/2014/main" id="{33A77D81-154D-4B49-8441-59BDB40000AC}"/>
                    </a:ext>
                  </a:extLst>
                </p:cNvPr>
                <p:cNvSpPr/>
                <p:nvPr/>
              </p:nvSpPr>
              <p:spPr>
                <a:xfrm>
                  <a:off x="6533013" y="1500352"/>
                  <a:ext cx="18280" cy="18443"/>
                </a:xfrm>
                <a:custGeom>
                  <a:avLst/>
                  <a:gdLst>
                    <a:gd name="connsiteX0" fmla="*/ 287 w 18280"/>
                    <a:gd name="connsiteY0" fmla="*/ 6889 h 18443"/>
                    <a:gd name="connsiteX1" fmla="*/ 11411 w 18280"/>
                    <a:gd name="connsiteY1" fmla="*/ 311 h 18443"/>
                    <a:gd name="connsiteX2" fmla="*/ 17990 w 18280"/>
                    <a:gd name="connsiteY2" fmla="*/ 11554 h 18443"/>
                    <a:gd name="connsiteX3" fmla="*/ 6866 w 18280"/>
                    <a:gd name="connsiteY3" fmla="*/ 18133 h 18443"/>
                    <a:gd name="connsiteX4" fmla="*/ 287 w 18280"/>
                    <a:gd name="connsiteY4" fmla="*/ 68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43">
                      <a:moveTo>
                        <a:pt x="287" y="6889"/>
                      </a:moveTo>
                      <a:cubicBezTo>
                        <a:pt x="1543" y="1985"/>
                        <a:pt x="6567" y="-1005"/>
                        <a:pt x="11411" y="311"/>
                      </a:cubicBezTo>
                      <a:cubicBezTo>
                        <a:pt x="16315" y="1567"/>
                        <a:pt x="19246" y="6650"/>
                        <a:pt x="17990" y="11554"/>
                      </a:cubicBezTo>
                      <a:cubicBezTo>
                        <a:pt x="16734" y="16459"/>
                        <a:pt x="11710" y="19449"/>
                        <a:pt x="6866" y="18133"/>
                      </a:cubicBezTo>
                      <a:cubicBezTo>
                        <a:pt x="2021" y="16877"/>
                        <a:pt x="-969" y="11853"/>
                        <a:pt x="287" y="6889"/>
                      </a:cubicBezTo>
                      <a:close/>
                    </a:path>
                  </a:pathLst>
                </a:custGeom>
                <a:grpFill/>
                <a:ln w="5978" cap="flat">
                  <a:noFill/>
                  <a:prstDash val="solid"/>
                  <a:miter/>
                </a:ln>
              </p:spPr>
              <p:txBody>
                <a:bodyPr rtlCol="0" anchor="ctr"/>
                <a:lstStyle/>
                <a:p>
                  <a:endParaRPr lang="en-GB"/>
                </a:p>
              </p:txBody>
            </p:sp>
            <p:sp>
              <p:nvSpPr>
                <p:cNvPr id="4100" name="Vrije vorm: vorm 4099">
                  <a:extLst>
                    <a:ext uri="{FF2B5EF4-FFF2-40B4-BE49-F238E27FC236}">
                      <a16:creationId xmlns:a16="http://schemas.microsoft.com/office/drawing/2014/main" id="{627C04B8-044B-40A7-8B5E-5B78508AE731}"/>
                    </a:ext>
                  </a:extLst>
                </p:cNvPr>
                <p:cNvSpPr/>
                <p:nvPr/>
              </p:nvSpPr>
              <p:spPr>
                <a:xfrm>
                  <a:off x="6514290" y="1573756"/>
                  <a:ext cx="18284" cy="18403"/>
                </a:xfrm>
                <a:custGeom>
                  <a:avLst/>
                  <a:gdLst>
                    <a:gd name="connsiteX0" fmla="*/ 291 w 18284"/>
                    <a:gd name="connsiteY0" fmla="*/ 6869 h 18403"/>
                    <a:gd name="connsiteX1" fmla="*/ 6869 w 18284"/>
                    <a:gd name="connsiteY1" fmla="*/ 18113 h 18403"/>
                    <a:gd name="connsiteX2" fmla="*/ 17994 w 18284"/>
                    <a:gd name="connsiteY2" fmla="*/ 11534 h 18403"/>
                    <a:gd name="connsiteX3" fmla="*/ 11415 w 18284"/>
                    <a:gd name="connsiteY3" fmla="*/ 291 h 18403"/>
                    <a:gd name="connsiteX4" fmla="*/ 291 w 18284"/>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03">
                      <a:moveTo>
                        <a:pt x="291" y="6869"/>
                      </a:moveTo>
                      <a:cubicBezTo>
                        <a:pt x="-966" y="11774"/>
                        <a:pt x="1965" y="16797"/>
                        <a:pt x="6869" y="18113"/>
                      </a:cubicBezTo>
                      <a:cubicBezTo>
                        <a:pt x="11773" y="19369"/>
                        <a:pt x="16738" y="16439"/>
                        <a:pt x="17994" y="11534"/>
                      </a:cubicBezTo>
                      <a:cubicBezTo>
                        <a:pt x="19249" y="6630"/>
                        <a:pt x="16319" y="1606"/>
                        <a:pt x="11415" y="291"/>
                      </a:cubicBezTo>
                      <a:cubicBezTo>
                        <a:pt x="6570" y="-965"/>
                        <a:pt x="1547" y="1965"/>
                        <a:pt x="291" y="6869"/>
                      </a:cubicBezTo>
                      <a:close/>
                    </a:path>
                  </a:pathLst>
                </a:custGeom>
                <a:grpFill/>
                <a:ln w="5978" cap="flat">
                  <a:noFill/>
                  <a:prstDash val="solid"/>
                  <a:miter/>
                </a:ln>
              </p:spPr>
              <p:txBody>
                <a:bodyPr rtlCol="0" anchor="ctr"/>
                <a:lstStyle/>
                <a:p>
                  <a:endParaRPr lang="en-GB"/>
                </a:p>
              </p:txBody>
            </p:sp>
          </p:grpSp>
          <p:grpSp>
            <p:nvGrpSpPr>
              <p:cNvPr id="430" name="Graphic 3">
                <a:extLst>
                  <a:ext uri="{FF2B5EF4-FFF2-40B4-BE49-F238E27FC236}">
                    <a16:creationId xmlns:a16="http://schemas.microsoft.com/office/drawing/2014/main" id="{50D6D60F-2999-4706-8191-09C456A40878}"/>
                  </a:ext>
                </a:extLst>
              </p:cNvPr>
              <p:cNvGrpSpPr/>
              <p:nvPr/>
            </p:nvGrpSpPr>
            <p:grpSpPr>
              <a:xfrm>
                <a:off x="7503079" y="4499414"/>
                <a:ext cx="37190" cy="32620"/>
                <a:chOff x="7503079" y="4499414"/>
                <a:chExt cx="37190" cy="32620"/>
              </a:xfrm>
              <a:grpFill/>
            </p:grpSpPr>
            <p:sp>
              <p:nvSpPr>
                <p:cNvPr id="4095" name="Vrije vorm: vorm 4094">
                  <a:extLst>
                    <a:ext uri="{FF2B5EF4-FFF2-40B4-BE49-F238E27FC236}">
                      <a16:creationId xmlns:a16="http://schemas.microsoft.com/office/drawing/2014/main" id="{C124D187-EB37-47BB-8709-75DFC5D1329C}"/>
                    </a:ext>
                  </a:extLst>
                </p:cNvPr>
                <p:cNvSpPr/>
                <p:nvPr/>
              </p:nvSpPr>
              <p:spPr>
                <a:xfrm>
                  <a:off x="7510909" y="4507112"/>
                  <a:ext cx="21470" cy="17224"/>
                </a:xfrm>
                <a:custGeom>
                  <a:avLst/>
                  <a:gdLst>
                    <a:gd name="connsiteX0" fmla="*/ 21471 w 21470"/>
                    <a:gd name="connsiteY0" fmla="*/ 14772 h 17224"/>
                    <a:gd name="connsiteX1" fmla="*/ 19676 w 21470"/>
                    <a:gd name="connsiteY1" fmla="*/ 17225 h 17224"/>
                    <a:gd name="connsiteX2" fmla="*/ 0 w 21470"/>
                    <a:gd name="connsiteY2" fmla="*/ 2452 h 17224"/>
                    <a:gd name="connsiteX3" fmla="*/ 1854 w 21470"/>
                    <a:gd name="connsiteY3" fmla="*/ 0 h 17224"/>
                  </a:gdLst>
                  <a:ahLst/>
                  <a:cxnLst>
                    <a:cxn ang="0">
                      <a:pos x="connsiteX0" y="connsiteY0"/>
                    </a:cxn>
                    <a:cxn ang="0">
                      <a:pos x="connsiteX1" y="connsiteY1"/>
                    </a:cxn>
                    <a:cxn ang="0">
                      <a:pos x="connsiteX2" y="connsiteY2"/>
                    </a:cxn>
                    <a:cxn ang="0">
                      <a:pos x="connsiteX3" y="connsiteY3"/>
                    </a:cxn>
                  </a:cxnLst>
                  <a:rect l="l" t="t" r="r" b="b"/>
                  <a:pathLst>
                    <a:path w="21470" h="17224">
                      <a:moveTo>
                        <a:pt x="21471" y="14772"/>
                      </a:moveTo>
                      <a:lnTo>
                        <a:pt x="19676" y="17225"/>
                      </a:lnTo>
                      <a:lnTo>
                        <a:pt x="0" y="2452"/>
                      </a:lnTo>
                      <a:lnTo>
                        <a:pt x="1854" y="0"/>
                      </a:lnTo>
                      <a:close/>
                    </a:path>
                  </a:pathLst>
                </a:custGeom>
                <a:grpFill/>
                <a:ln w="5978" cap="flat">
                  <a:noFill/>
                  <a:prstDash val="solid"/>
                  <a:miter/>
                </a:ln>
              </p:spPr>
              <p:txBody>
                <a:bodyPr rtlCol="0" anchor="ctr"/>
                <a:lstStyle/>
                <a:p>
                  <a:endParaRPr lang="en-GB"/>
                </a:p>
              </p:txBody>
            </p:sp>
            <p:sp>
              <p:nvSpPr>
                <p:cNvPr id="4096" name="Vrije vorm: vorm 4095">
                  <a:extLst>
                    <a:ext uri="{FF2B5EF4-FFF2-40B4-BE49-F238E27FC236}">
                      <a16:creationId xmlns:a16="http://schemas.microsoft.com/office/drawing/2014/main" id="{F2F9FA3E-ABB4-47FC-B744-6F5D99D08073}"/>
                    </a:ext>
                  </a:extLst>
                </p:cNvPr>
                <p:cNvSpPr/>
                <p:nvPr/>
              </p:nvSpPr>
              <p:spPr>
                <a:xfrm>
                  <a:off x="7521978" y="4513588"/>
                  <a:ext cx="18291" cy="18445"/>
                </a:xfrm>
                <a:custGeom>
                  <a:avLst/>
                  <a:gdLst>
                    <a:gd name="connsiteX0" fmla="*/ 14588 w 18291"/>
                    <a:gd name="connsiteY0" fmla="*/ 1837 h 18445"/>
                    <a:gd name="connsiteX1" fmla="*/ 16502 w 18291"/>
                    <a:gd name="connsiteY1" fmla="*/ 14755 h 18445"/>
                    <a:gd name="connsiteX2" fmla="*/ 3703 w 18291"/>
                    <a:gd name="connsiteY2" fmla="*/ 16609 h 18445"/>
                    <a:gd name="connsiteX3" fmla="*/ 1790 w 18291"/>
                    <a:gd name="connsiteY3" fmla="*/ 3691 h 18445"/>
                    <a:gd name="connsiteX4" fmla="*/ 14588 w 18291"/>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4588" y="1837"/>
                      </a:moveTo>
                      <a:cubicBezTo>
                        <a:pt x="18655" y="4887"/>
                        <a:pt x="19492" y="10628"/>
                        <a:pt x="16502" y="14755"/>
                      </a:cubicBezTo>
                      <a:cubicBezTo>
                        <a:pt x="13512" y="18822"/>
                        <a:pt x="7770" y="19659"/>
                        <a:pt x="3703" y="16609"/>
                      </a:cubicBezTo>
                      <a:cubicBezTo>
                        <a:pt x="-364" y="13559"/>
                        <a:pt x="-1201" y="7817"/>
                        <a:pt x="1790" y="3691"/>
                      </a:cubicBezTo>
                      <a:cubicBezTo>
                        <a:pt x="4780" y="-376"/>
                        <a:pt x="10521" y="-1213"/>
                        <a:pt x="14588" y="1837"/>
                      </a:cubicBezTo>
                      <a:close/>
                    </a:path>
                  </a:pathLst>
                </a:custGeom>
                <a:grpFill/>
                <a:ln w="5978" cap="flat">
                  <a:noFill/>
                  <a:prstDash val="solid"/>
                  <a:miter/>
                </a:ln>
              </p:spPr>
              <p:txBody>
                <a:bodyPr rtlCol="0" anchor="ctr"/>
                <a:lstStyle/>
                <a:p>
                  <a:endParaRPr lang="en-GB"/>
                </a:p>
              </p:txBody>
            </p:sp>
            <p:sp>
              <p:nvSpPr>
                <p:cNvPr id="4097" name="Vrije vorm: vorm 4096">
                  <a:extLst>
                    <a:ext uri="{FF2B5EF4-FFF2-40B4-BE49-F238E27FC236}">
                      <a16:creationId xmlns:a16="http://schemas.microsoft.com/office/drawing/2014/main" id="{BF7AAE47-9B11-415C-88E7-9CA6AE92CC0F}"/>
                    </a:ext>
                  </a:extLst>
                </p:cNvPr>
                <p:cNvSpPr/>
                <p:nvPr/>
              </p:nvSpPr>
              <p:spPr>
                <a:xfrm>
                  <a:off x="7503079" y="4499414"/>
                  <a:ext cx="18291" cy="18446"/>
                </a:xfrm>
                <a:custGeom>
                  <a:avLst/>
                  <a:gdLst>
                    <a:gd name="connsiteX0" fmla="*/ 14588 w 18291"/>
                    <a:gd name="connsiteY0" fmla="*/ 1837 h 18446"/>
                    <a:gd name="connsiteX1" fmla="*/ 1790 w 18291"/>
                    <a:gd name="connsiteY1" fmla="*/ 3691 h 18446"/>
                    <a:gd name="connsiteX2" fmla="*/ 3703 w 18291"/>
                    <a:gd name="connsiteY2" fmla="*/ 16609 h 18446"/>
                    <a:gd name="connsiteX3" fmla="*/ 16502 w 18291"/>
                    <a:gd name="connsiteY3" fmla="*/ 14755 h 18446"/>
                    <a:gd name="connsiteX4" fmla="*/ 14588 w 18291"/>
                    <a:gd name="connsiteY4" fmla="*/ 1837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6">
                      <a:moveTo>
                        <a:pt x="14588" y="1837"/>
                      </a:moveTo>
                      <a:cubicBezTo>
                        <a:pt x="10521" y="-1213"/>
                        <a:pt x="4780" y="-376"/>
                        <a:pt x="1790" y="3691"/>
                      </a:cubicBezTo>
                      <a:cubicBezTo>
                        <a:pt x="-1201" y="7758"/>
                        <a:pt x="-363" y="13559"/>
                        <a:pt x="3703" y="16609"/>
                      </a:cubicBezTo>
                      <a:cubicBezTo>
                        <a:pt x="7770" y="19660"/>
                        <a:pt x="13512" y="18822"/>
                        <a:pt x="16502" y="14755"/>
                      </a:cubicBezTo>
                      <a:cubicBezTo>
                        <a:pt x="19492" y="10688"/>
                        <a:pt x="18655" y="4887"/>
                        <a:pt x="14588" y="1837"/>
                      </a:cubicBezTo>
                      <a:close/>
                    </a:path>
                  </a:pathLst>
                </a:custGeom>
                <a:grpFill/>
                <a:ln w="5978" cap="flat">
                  <a:noFill/>
                  <a:prstDash val="solid"/>
                  <a:miter/>
                </a:ln>
              </p:spPr>
              <p:txBody>
                <a:bodyPr rtlCol="0" anchor="ctr"/>
                <a:lstStyle/>
                <a:p>
                  <a:endParaRPr lang="en-GB"/>
                </a:p>
              </p:txBody>
            </p:sp>
          </p:grpSp>
          <p:grpSp>
            <p:nvGrpSpPr>
              <p:cNvPr id="431" name="Graphic 3">
                <a:extLst>
                  <a:ext uri="{FF2B5EF4-FFF2-40B4-BE49-F238E27FC236}">
                    <a16:creationId xmlns:a16="http://schemas.microsoft.com/office/drawing/2014/main" id="{EE331D9B-AD68-484B-ADD5-EE01816BC0A5}"/>
                  </a:ext>
                </a:extLst>
              </p:cNvPr>
              <p:cNvGrpSpPr/>
              <p:nvPr/>
            </p:nvGrpSpPr>
            <p:grpSpPr>
              <a:xfrm>
                <a:off x="6531102" y="1618438"/>
                <a:ext cx="25786" cy="45364"/>
                <a:chOff x="6531102" y="1618438"/>
                <a:chExt cx="25786" cy="45364"/>
              </a:xfrm>
              <a:grpFill/>
            </p:grpSpPr>
            <p:sp>
              <p:nvSpPr>
                <p:cNvPr id="4092" name="Vrije vorm: vorm 4091">
                  <a:extLst>
                    <a:ext uri="{FF2B5EF4-FFF2-40B4-BE49-F238E27FC236}">
                      <a16:creationId xmlns:a16="http://schemas.microsoft.com/office/drawing/2014/main" id="{0A72BCC2-C911-4D9C-937C-AA27F993A895}"/>
                    </a:ext>
                  </a:extLst>
                </p:cNvPr>
                <p:cNvSpPr/>
                <p:nvPr/>
              </p:nvSpPr>
              <p:spPr>
                <a:xfrm>
                  <a:off x="6538683" y="1626796"/>
                  <a:ext cx="10585" cy="28647"/>
                </a:xfrm>
                <a:custGeom>
                  <a:avLst/>
                  <a:gdLst>
                    <a:gd name="connsiteX0" fmla="*/ 10586 w 10585"/>
                    <a:gd name="connsiteY0" fmla="*/ 837 h 28647"/>
                    <a:gd name="connsiteX1" fmla="*/ 2930 w 10585"/>
                    <a:gd name="connsiteY1" fmla="*/ 28648 h 28647"/>
                    <a:gd name="connsiteX2" fmla="*/ 0 w 10585"/>
                    <a:gd name="connsiteY2" fmla="*/ 27810 h 28647"/>
                    <a:gd name="connsiteX3" fmla="*/ 7655 w 10585"/>
                    <a:gd name="connsiteY3" fmla="*/ 0 h 28647"/>
                  </a:gdLst>
                  <a:ahLst/>
                  <a:cxnLst>
                    <a:cxn ang="0">
                      <a:pos x="connsiteX0" y="connsiteY0"/>
                    </a:cxn>
                    <a:cxn ang="0">
                      <a:pos x="connsiteX1" y="connsiteY1"/>
                    </a:cxn>
                    <a:cxn ang="0">
                      <a:pos x="connsiteX2" y="connsiteY2"/>
                    </a:cxn>
                    <a:cxn ang="0">
                      <a:pos x="connsiteX3" y="connsiteY3"/>
                    </a:cxn>
                  </a:cxnLst>
                  <a:rect l="l" t="t" r="r" b="b"/>
                  <a:pathLst>
                    <a:path w="10585" h="28647">
                      <a:moveTo>
                        <a:pt x="10586" y="837"/>
                      </a:moveTo>
                      <a:lnTo>
                        <a:pt x="2930" y="28648"/>
                      </a:lnTo>
                      <a:lnTo>
                        <a:pt x="0" y="27810"/>
                      </a:lnTo>
                      <a:lnTo>
                        <a:pt x="7655" y="0"/>
                      </a:lnTo>
                      <a:close/>
                    </a:path>
                  </a:pathLst>
                </a:custGeom>
                <a:grpFill/>
                <a:ln w="5978" cap="flat">
                  <a:noFill/>
                  <a:prstDash val="solid"/>
                  <a:miter/>
                </a:ln>
              </p:spPr>
              <p:txBody>
                <a:bodyPr rtlCol="0" anchor="ctr"/>
                <a:lstStyle/>
                <a:p>
                  <a:endParaRPr lang="en-GB"/>
                </a:p>
              </p:txBody>
            </p:sp>
            <p:sp>
              <p:nvSpPr>
                <p:cNvPr id="4093" name="Vrije vorm: vorm 4092">
                  <a:extLst>
                    <a:ext uri="{FF2B5EF4-FFF2-40B4-BE49-F238E27FC236}">
                      <a16:creationId xmlns:a16="http://schemas.microsoft.com/office/drawing/2014/main" id="{A0A7EF34-A7CB-4090-881A-A591FD7BD3BA}"/>
                    </a:ext>
                  </a:extLst>
                </p:cNvPr>
                <p:cNvSpPr/>
                <p:nvPr/>
              </p:nvSpPr>
              <p:spPr>
                <a:xfrm>
                  <a:off x="6538518" y="1618438"/>
                  <a:ext cx="18370" cy="18451"/>
                </a:xfrm>
                <a:custGeom>
                  <a:avLst/>
                  <a:gdLst>
                    <a:gd name="connsiteX0" fmla="*/ 344 w 18370"/>
                    <a:gd name="connsiteY0" fmla="*/ 6744 h 18451"/>
                    <a:gd name="connsiteX1" fmla="*/ 11648 w 18370"/>
                    <a:gd name="connsiteY1" fmla="*/ 344 h 18451"/>
                    <a:gd name="connsiteX2" fmla="*/ 18047 w 18370"/>
                    <a:gd name="connsiteY2" fmla="*/ 11708 h 18451"/>
                    <a:gd name="connsiteX3" fmla="*/ 6744 w 18370"/>
                    <a:gd name="connsiteY3" fmla="*/ 18107 h 18451"/>
                    <a:gd name="connsiteX4" fmla="*/ 344 w 18370"/>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51">
                      <a:moveTo>
                        <a:pt x="344" y="6744"/>
                      </a:moveTo>
                      <a:cubicBezTo>
                        <a:pt x="1720" y="1839"/>
                        <a:pt x="6744" y="-1031"/>
                        <a:pt x="11648" y="344"/>
                      </a:cubicBezTo>
                      <a:cubicBezTo>
                        <a:pt x="16552" y="1720"/>
                        <a:pt x="19363" y="6803"/>
                        <a:pt x="18047" y="11708"/>
                      </a:cubicBezTo>
                      <a:cubicBezTo>
                        <a:pt x="16671" y="16612"/>
                        <a:pt x="11648" y="19483"/>
                        <a:pt x="6744" y="18107"/>
                      </a:cubicBezTo>
                      <a:cubicBezTo>
                        <a:pt x="1839" y="16731"/>
                        <a:pt x="-1031" y="11648"/>
                        <a:pt x="344" y="6744"/>
                      </a:cubicBezTo>
                      <a:close/>
                    </a:path>
                  </a:pathLst>
                </a:custGeom>
                <a:grpFill/>
                <a:ln w="5978" cap="flat">
                  <a:noFill/>
                  <a:prstDash val="solid"/>
                  <a:miter/>
                </a:ln>
              </p:spPr>
              <p:txBody>
                <a:bodyPr rtlCol="0" anchor="ctr"/>
                <a:lstStyle/>
                <a:p>
                  <a:endParaRPr lang="en-GB"/>
                </a:p>
              </p:txBody>
            </p:sp>
            <p:sp>
              <p:nvSpPr>
                <p:cNvPr id="4094" name="Vrije vorm: vorm 4093">
                  <a:extLst>
                    <a:ext uri="{FF2B5EF4-FFF2-40B4-BE49-F238E27FC236}">
                      <a16:creationId xmlns:a16="http://schemas.microsoft.com/office/drawing/2014/main" id="{24CAC095-D82C-48E6-B884-127513867646}"/>
                    </a:ext>
                  </a:extLst>
                </p:cNvPr>
                <p:cNvSpPr/>
                <p:nvPr/>
              </p:nvSpPr>
              <p:spPr>
                <a:xfrm>
                  <a:off x="6531102" y="1645351"/>
                  <a:ext cx="18391" cy="18451"/>
                </a:xfrm>
                <a:custGeom>
                  <a:avLst/>
                  <a:gdLst>
                    <a:gd name="connsiteX0" fmla="*/ 344 w 18391"/>
                    <a:gd name="connsiteY0" fmla="*/ 6744 h 18451"/>
                    <a:gd name="connsiteX1" fmla="*/ 6744 w 18391"/>
                    <a:gd name="connsiteY1" fmla="*/ 18107 h 18451"/>
                    <a:gd name="connsiteX2" fmla="*/ 18047 w 18391"/>
                    <a:gd name="connsiteY2" fmla="*/ 11708 h 18451"/>
                    <a:gd name="connsiteX3" fmla="*/ 11648 w 18391"/>
                    <a:gd name="connsiteY3" fmla="*/ 344 h 18451"/>
                    <a:gd name="connsiteX4" fmla="*/ 344 w 18391"/>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51">
                      <a:moveTo>
                        <a:pt x="344" y="6744"/>
                      </a:moveTo>
                      <a:cubicBezTo>
                        <a:pt x="-1031" y="11648"/>
                        <a:pt x="1839" y="16731"/>
                        <a:pt x="6744" y="18107"/>
                      </a:cubicBezTo>
                      <a:cubicBezTo>
                        <a:pt x="11648" y="19483"/>
                        <a:pt x="16671" y="16612"/>
                        <a:pt x="18047" y="11708"/>
                      </a:cubicBezTo>
                      <a:cubicBezTo>
                        <a:pt x="19423" y="6803"/>
                        <a:pt x="16552" y="1720"/>
                        <a:pt x="11648" y="344"/>
                      </a:cubicBezTo>
                      <a:cubicBezTo>
                        <a:pt x="6744" y="-1031"/>
                        <a:pt x="1660" y="1839"/>
                        <a:pt x="344" y="6744"/>
                      </a:cubicBezTo>
                      <a:close/>
                    </a:path>
                  </a:pathLst>
                </a:custGeom>
                <a:grpFill/>
                <a:ln w="5978" cap="flat">
                  <a:noFill/>
                  <a:prstDash val="solid"/>
                  <a:miter/>
                </a:ln>
              </p:spPr>
              <p:txBody>
                <a:bodyPr rtlCol="0" anchor="ctr"/>
                <a:lstStyle/>
                <a:p>
                  <a:endParaRPr lang="en-GB"/>
                </a:p>
              </p:txBody>
            </p:sp>
          </p:grpSp>
          <p:grpSp>
            <p:nvGrpSpPr>
              <p:cNvPr id="432" name="Graphic 3">
                <a:extLst>
                  <a:ext uri="{FF2B5EF4-FFF2-40B4-BE49-F238E27FC236}">
                    <a16:creationId xmlns:a16="http://schemas.microsoft.com/office/drawing/2014/main" id="{3E2AC6FA-B842-482B-A67A-46D5D3D6B7A6}"/>
                  </a:ext>
                </a:extLst>
              </p:cNvPr>
              <p:cNvGrpSpPr/>
              <p:nvPr/>
            </p:nvGrpSpPr>
            <p:grpSpPr>
              <a:xfrm>
                <a:off x="7345381" y="4500344"/>
                <a:ext cx="482396" cy="463749"/>
                <a:chOff x="7345381" y="4500344"/>
                <a:chExt cx="482396" cy="463749"/>
              </a:xfrm>
              <a:grpFill/>
            </p:grpSpPr>
            <p:sp>
              <p:nvSpPr>
                <p:cNvPr id="4089" name="Vrije vorm: vorm 4088">
                  <a:extLst>
                    <a:ext uri="{FF2B5EF4-FFF2-40B4-BE49-F238E27FC236}">
                      <a16:creationId xmlns:a16="http://schemas.microsoft.com/office/drawing/2014/main" id="{69CD869C-72FE-4417-8629-C6EABD1223A0}"/>
                    </a:ext>
                  </a:extLst>
                </p:cNvPr>
                <p:cNvSpPr/>
                <p:nvPr/>
              </p:nvSpPr>
              <p:spPr>
                <a:xfrm>
                  <a:off x="7353138" y="4508128"/>
                  <a:ext cx="466854" cy="448195"/>
                </a:xfrm>
                <a:custGeom>
                  <a:avLst/>
                  <a:gdLst>
                    <a:gd name="connsiteX0" fmla="*/ 466855 w 466854"/>
                    <a:gd name="connsiteY0" fmla="*/ 445982 h 448195"/>
                    <a:gd name="connsiteX1" fmla="*/ 464762 w 466854"/>
                    <a:gd name="connsiteY1" fmla="*/ 448195 h 448195"/>
                    <a:gd name="connsiteX2" fmla="*/ 0 w 466854"/>
                    <a:gd name="connsiteY2" fmla="*/ 2213 h 448195"/>
                    <a:gd name="connsiteX3" fmla="*/ 2093 w 466854"/>
                    <a:gd name="connsiteY3" fmla="*/ 0 h 448195"/>
                  </a:gdLst>
                  <a:ahLst/>
                  <a:cxnLst>
                    <a:cxn ang="0">
                      <a:pos x="connsiteX0" y="connsiteY0"/>
                    </a:cxn>
                    <a:cxn ang="0">
                      <a:pos x="connsiteX1" y="connsiteY1"/>
                    </a:cxn>
                    <a:cxn ang="0">
                      <a:pos x="connsiteX2" y="connsiteY2"/>
                    </a:cxn>
                    <a:cxn ang="0">
                      <a:pos x="connsiteX3" y="connsiteY3"/>
                    </a:cxn>
                  </a:cxnLst>
                  <a:rect l="l" t="t" r="r" b="b"/>
                  <a:pathLst>
                    <a:path w="466854" h="448195">
                      <a:moveTo>
                        <a:pt x="466855" y="445982"/>
                      </a:moveTo>
                      <a:lnTo>
                        <a:pt x="464762" y="448195"/>
                      </a:lnTo>
                      <a:lnTo>
                        <a:pt x="0" y="2213"/>
                      </a:lnTo>
                      <a:lnTo>
                        <a:pt x="2093" y="0"/>
                      </a:lnTo>
                      <a:close/>
                    </a:path>
                  </a:pathLst>
                </a:custGeom>
                <a:grpFill/>
                <a:ln w="5978" cap="flat">
                  <a:noFill/>
                  <a:prstDash val="solid"/>
                  <a:miter/>
                </a:ln>
              </p:spPr>
              <p:txBody>
                <a:bodyPr rtlCol="0" anchor="ctr"/>
                <a:lstStyle/>
                <a:p>
                  <a:endParaRPr lang="en-GB"/>
                </a:p>
              </p:txBody>
            </p:sp>
            <p:sp>
              <p:nvSpPr>
                <p:cNvPr id="4090" name="Vrije vorm: vorm 4089">
                  <a:extLst>
                    <a:ext uri="{FF2B5EF4-FFF2-40B4-BE49-F238E27FC236}">
                      <a16:creationId xmlns:a16="http://schemas.microsoft.com/office/drawing/2014/main" id="{118AEBD3-BDCA-47CD-9EE2-10371D33EEF7}"/>
                    </a:ext>
                  </a:extLst>
                </p:cNvPr>
                <p:cNvSpPr/>
                <p:nvPr/>
              </p:nvSpPr>
              <p:spPr>
                <a:xfrm>
                  <a:off x="7345381" y="4500344"/>
                  <a:ext cx="18315" cy="18425"/>
                </a:xfrm>
                <a:custGeom>
                  <a:avLst/>
                  <a:gdLst>
                    <a:gd name="connsiteX0" fmla="*/ 2852 w 18315"/>
                    <a:gd name="connsiteY0" fmla="*/ 15859 h 18425"/>
                    <a:gd name="connsiteX1" fmla="*/ 2493 w 18315"/>
                    <a:gd name="connsiteY1" fmla="*/ 2821 h 18425"/>
                    <a:gd name="connsiteX2" fmla="*/ 15472 w 18315"/>
                    <a:gd name="connsiteY2" fmla="*/ 2522 h 18425"/>
                    <a:gd name="connsiteX3" fmla="*/ 15770 w 18315"/>
                    <a:gd name="connsiteY3" fmla="*/ 15560 h 18425"/>
                    <a:gd name="connsiteX4" fmla="*/ 2852 w 18315"/>
                    <a:gd name="connsiteY4" fmla="*/ 15859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5">
                      <a:moveTo>
                        <a:pt x="2852" y="15859"/>
                      </a:moveTo>
                      <a:cubicBezTo>
                        <a:pt x="-796" y="12330"/>
                        <a:pt x="-975" y="6529"/>
                        <a:pt x="2493" y="2821"/>
                      </a:cubicBezTo>
                      <a:cubicBezTo>
                        <a:pt x="5962" y="-827"/>
                        <a:pt x="11763" y="-947"/>
                        <a:pt x="15472" y="2522"/>
                      </a:cubicBezTo>
                      <a:cubicBezTo>
                        <a:pt x="19120" y="6051"/>
                        <a:pt x="19299" y="11852"/>
                        <a:pt x="15770" y="15560"/>
                      </a:cubicBezTo>
                      <a:cubicBezTo>
                        <a:pt x="12302" y="19268"/>
                        <a:pt x="6501" y="19387"/>
                        <a:pt x="2852" y="15859"/>
                      </a:cubicBezTo>
                      <a:close/>
                    </a:path>
                  </a:pathLst>
                </a:custGeom>
                <a:grpFill/>
                <a:ln w="5978" cap="flat">
                  <a:noFill/>
                  <a:prstDash val="solid"/>
                  <a:miter/>
                </a:ln>
              </p:spPr>
              <p:txBody>
                <a:bodyPr rtlCol="0" anchor="ctr"/>
                <a:lstStyle/>
                <a:p>
                  <a:endParaRPr lang="en-GB"/>
                </a:p>
              </p:txBody>
            </p:sp>
            <p:sp>
              <p:nvSpPr>
                <p:cNvPr id="4091" name="Vrije vorm: vorm 4090">
                  <a:extLst>
                    <a:ext uri="{FF2B5EF4-FFF2-40B4-BE49-F238E27FC236}">
                      <a16:creationId xmlns:a16="http://schemas.microsoft.com/office/drawing/2014/main" id="{D1058227-B0A4-46CB-BC10-27F032860EEA}"/>
                    </a:ext>
                  </a:extLst>
                </p:cNvPr>
                <p:cNvSpPr/>
                <p:nvPr/>
              </p:nvSpPr>
              <p:spPr>
                <a:xfrm>
                  <a:off x="7809457" y="4945623"/>
                  <a:ext cx="18320" cy="18470"/>
                </a:xfrm>
                <a:custGeom>
                  <a:avLst/>
                  <a:gdLst>
                    <a:gd name="connsiteX0" fmla="*/ 2821 w 18320"/>
                    <a:gd name="connsiteY0" fmla="*/ 15903 h 18470"/>
                    <a:gd name="connsiteX1" fmla="*/ 15798 w 18320"/>
                    <a:gd name="connsiteY1" fmla="*/ 15605 h 18470"/>
                    <a:gd name="connsiteX2" fmla="*/ 15500 w 18320"/>
                    <a:gd name="connsiteY2" fmla="*/ 2567 h 18470"/>
                    <a:gd name="connsiteX3" fmla="*/ 2521 w 18320"/>
                    <a:gd name="connsiteY3" fmla="*/ 2866 h 18470"/>
                    <a:gd name="connsiteX4" fmla="*/ 2821 w 18320"/>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70">
                      <a:moveTo>
                        <a:pt x="2821" y="15903"/>
                      </a:moveTo>
                      <a:cubicBezTo>
                        <a:pt x="6469" y="19432"/>
                        <a:pt x="12270" y="19313"/>
                        <a:pt x="15798" y="15605"/>
                      </a:cubicBezTo>
                      <a:cubicBezTo>
                        <a:pt x="19268" y="11956"/>
                        <a:pt x="19148" y="6095"/>
                        <a:pt x="15500" y="2567"/>
                      </a:cubicBezTo>
                      <a:cubicBezTo>
                        <a:pt x="11852" y="-962"/>
                        <a:pt x="6050" y="-842"/>
                        <a:pt x="2521" y="2866"/>
                      </a:cubicBezTo>
                      <a:cubicBezTo>
                        <a:pt x="-947" y="6574"/>
                        <a:pt x="-827" y="12375"/>
                        <a:pt x="2821" y="15903"/>
                      </a:cubicBezTo>
                      <a:close/>
                    </a:path>
                  </a:pathLst>
                </a:custGeom>
                <a:grpFill/>
                <a:ln w="5978" cap="flat">
                  <a:noFill/>
                  <a:prstDash val="solid"/>
                  <a:miter/>
                </a:ln>
              </p:spPr>
              <p:txBody>
                <a:bodyPr rtlCol="0" anchor="ctr"/>
                <a:lstStyle/>
                <a:p>
                  <a:endParaRPr lang="en-GB"/>
                </a:p>
              </p:txBody>
            </p:sp>
          </p:grpSp>
          <p:grpSp>
            <p:nvGrpSpPr>
              <p:cNvPr id="433" name="Graphic 3">
                <a:extLst>
                  <a:ext uri="{FF2B5EF4-FFF2-40B4-BE49-F238E27FC236}">
                    <a16:creationId xmlns:a16="http://schemas.microsoft.com/office/drawing/2014/main" id="{8C50570F-BC30-4F7F-8CFE-0E0CC6A1FAB4}"/>
                  </a:ext>
                </a:extLst>
              </p:cNvPr>
              <p:cNvGrpSpPr/>
              <p:nvPr/>
            </p:nvGrpSpPr>
            <p:grpSpPr>
              <a:xfrm>
                <a:off x="6465931" y="1453776"/>
                <a:ext cx="135367" cy="331898"/>
                <a:chOff x="6465931" y="1453776"/>
                <a:chExt cx="135367" cy="331898"/>
              </a:xfrm>
              <a:grpFill/>
            </p:grpSpPr>
            <p:sp>
              <p:nvSpPr>
                <p:cNvPr id="4086" name="Vrije vorm: vorm 4085">
                  <a:extLst>
                    <a:ext uri="{FF2B5EF4-FFF2-40B4-BE49-F238E27FC236}">
                      <a16:creationId xmlns:a16="http://schemas.microsoft.com/office/drawing/2014/main" id="{7915BC39-081E-4C22-8819-EC96A22C0452}"/>
                    </a:ext>
                  </a:extLst>
                </p:cNvPr>
                <p:cNvSpPr/>
                <p:nvPr/>
              </p:nvSpPr>
              <p:spPr>
                <a:xfrm>
                  <a:off x="6473493" y="1462027"/>
                  <a:ext cx="120212" cy="315423"/>
                </a:xfrm>
                <a:custGeom>
                  <a:avLst/>
                  <a:gdLst>
                    <a:gd name="connsiteX0" fmla="*/ 120212 w 120212"/>
                    <a:gd name="connsiteY0" fmla="*/ 1077 h 315423"/>
                    <a:gd name="connsiteX1" fmla="*/ 2871 w 120212"/>
                    <a:gd name="connsiteY1" fmla="*/ 315423 h 315423"/>
                    <a:gd name="connsiteX2" fmla="*/ 0 w 120212"/>
                    <a:gd name="connsiteY2" fmla="*/ 314347 h 315423"/>
                    <a:gd name="connsiteX3" fmla="*/ 117402 w 120212"/>
                    <a:gd name="connsiteY3" fmla="*/ 0 h 315423"/>
                  </a:gdLst>
                  <a:ahLst/>
                  <a:cxnLst>
                    <a:cxn ang="0">
                      <a:pos x="connsiteX0" y="connsiteY0"/>
                    </a:cxn>
                    <a:cxn ang="0">
                      <a:pos x="connsiteX1" y="connsiteY1"/>
                    </a:cxn>
                    <a:cxn ang="0">
                      <a:pos x="connsiteX2" y="connsiteY2"/>
                    </a:cxn>
                    <a:cxn ang="0">
                      <a:pos x="connsiteX3" y="connsiteY3"/>
                    </a:cxn>
                  </a:cxnLst>
                  <a:rect l="l" t="t" r="r" b="b"/>
                  <a:pathLst>
                    <a:path w="120212" h="315423">
                      <a:moveTo>
                        <a:pt x="120212" y="1077"/>
                      </a:moveTo>
                      <a:lnTo>
                        <a:pt x="2871" y="315423"/>
                      </a:lnTo>
                      <a:lnTo>
                        <a:pt x="0" y="314347"/>
                      </a:lnTo>
                      <a:lnTo>
                        <a:pt x="117402" y="0"/>
                      </a:lnTo>
                      <a:close/>
                    </a:path>
                  </a:pathLst>
                </a:custGeom>
                <a:grpFill/>
                <a:ln w="5978" cap="flat">
                  <a:noFill/>
                  <a:prstDash val="solid"/>
                  <a:miter/>
                </a:ln>
              </p:spPr>
              <p:txBody>
                <a:bodyPr rtlCol="0" anchor="ctr"/>
                <a:lstStyle/>
                <a:p>
                  <a:endParaRPr lang="en-GB"/>
                </a:p>
              </p:txBody>
            </p:sp>
            <p:sp>
              <p:nvSpPr>
                <p:cNvPr id="4087" name="Vrije vorm: vorm 4086">
                  <a:extLst>
                    <a:ext uri="{FF2B5EF4-FFF2-40B4-BE49-F238E27FC236}">
                      <a16:creationId xmlns:a16="http://schemas.microsoft.com/office/drawing/2014/main" id="{5D6E3764-3858-40E7-BD8C-81BCB9C80D1A}"/>
                    </a:ext>
                  </a:extLst>
                </p:cNvPr>
                <p:cNvSpPr/>
                <p:nvPr/>
              </p:nvSpPr>
              <p:spPr>
                <a:xfrm>
                  <a:off x="6465931" y="1767194"/>
                  <a:ext cx="18318" cy="18480"/>
                </a:xfrm>
                <a:custGeom>
                  <a:avLst/>
                  <a:gdLst>
                    <a:gd name="connsiteX0" fmla="*/ 17729 w 18318"/>
                    <a:gd name="connsiteY0" fmla="*/ 12530 h 18480"/>
                    <a:gd name="connsiteX1" fmla="*/ 5947 w 18318"/>
                    <a:gd name="connsiteY1" fmla="*/ 17852 h 18480"/>
                    <a:gd name="connsiteX2" fmla="*/ 565 w 18318"/>
                    <a:gd name="connsiteY2" fmla="*/ 5951 h 18480"/>
                    <a:gd name="connsiteX3" fmla="*/ 12347 w 18318"/>
                    <a:gd name="connsiteY3" fmla="*/ 628 h 18480"/>
                    <a:gd name="connsiteX4" fmla="*/ 17729 w 18318"/>
                    <a:gd name="connsiteY4" fmla="*/ 1253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80">
                      <a:moveTo>
                        <a:pt x="17729" y="12530"/>
                      </a:moveTo>
                      <a:cubicBezTo>
                        <a:pt x="15935" y="17314"/>
                        <a:pt x="10672" y="19706"/>
                        <a:pt x="5947" y="17852"/>
                      </a:cubicBezTo>
                      <a:cubicBezTo>
                        <a:pt x="1223" y="16058"/>
                        <a:pt x="-1170" y="10735"/>
                        <a:pt x="565" y="5951"/>
                      </a:cubicBezTo>
                      <a:cubicBezTo>
                        <a:pt x="2359" y="1166"/>
                        <a:pt x="7622" y="-1226"/>
                        <a:pt x="12347" y="628"/>
                      </a:cubicBezTo>
                      <a:cubicBezTo>
                        <a:pt x="17072" y="2482"/>
                        <a:pt x="19524" y="7805"/>
                        <a:pt x="17729" y="12530"/>
                      </a:cubicBezTo>
                      <a:close/>
                    </a:path>
                  </a:pathLst>
                </a:custGeom>
                <a:grpFill/>
                <a:ln w="5978" cap="flat">
                  <a:noFill/>
                  <a:prstDash val="solid"/>
                  <a:miter/>
                </a:ln>
              </p:spPr>
              <p:txBody>
                <a:bodyPr rtlCol="0" anchor="ctr"/>
                <a:lstStyle/>
                <a:p>
                  <a:endParaRPr lang="en-GB"/>
                </a:p>
              </p:txBody>
            </p:sp>
            <p:sp>
              <p:nvSpPr>
                <p:cNvPr id="4088" name="Vrije vorm: vorm 4087">
                  <a:extLst>
                    <a:ext uri="{FF2B5EF4-FFF2-40B4-BE49-F238E27FC236}">
                      <a16:creationId xmlns:a16="http://schemas.microsoft.com/office/drawing/2014/main" id="{FE1922EF-2333-4139-8260-2E3C467BA139}"/>
                    </a:ext>
                  </a:extLst>
                </p:cNvPr>
                <p:cNvSpPr/>
                <p:nvPr/>
              </p:nvSpPr>
              <p:spPr>
                <a:xfrm>
                  <a:off x="6582943" y="1453776"/>
                  <a:ext cx="18356" cy="18448"/>
                </a:xfrm>
                <a:custGeom>
                  <a:avLst/>
                  <a:gdLst>
                    <a:gd name="connsiteX0" fmla="*/ 17760 w 18356"/>
                    <a:gd name="connsiteY0" fmla="*/ 12498 h 18448"/>
                    <a:gd name="connsiteX1" fmla="*/ 12378 w 18356"/>
                    <a:gd name="connsiteY1" fmla="*/ 596 h 18448"/>
                    <a:gd name="connsiteX2" fmla="*/ 596 w 18356"/>
                    <a:gd name="connsiteY2" fmla="*/ 5919 h 18448"/>
                    <a:gd name="connsiteX3" fmla="*/ 5978 w 18356"/>
                    <a:gd name="connsiteY3" fmla="*/ 17821 h 18448"/>
                    <a:gd name="connsiteX4" fmla="*/ 17760 w 18356"/>
                    <a:gd name="connsiteY4" fmla="*/ 124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48">
                      <a:moveTo>
                        <a:pt x="17760" y="12498"/>
                      </a:moveTo>
                      <a:cubicBezTo>
                        <a:pt x="19555" y="7713"/>
                        <a:pt x="17162" y="2450"/>
                        <a:pt x="12378" y="596"/>
                      </a:cubicBezTo>
                      <a:cubicBezTo>
                        <a:pt x="7653" y="-1198"/>
                        <a:pt x="2330" y="1194"/>
                        <a:pt x="596" y="5919"/>
                      </a:cubicBezTo>
                      <a:cubicBezTo>
                        <a:pt x="-1199" y="10704"/>
                        <a:pt x="1194" y="15967"/>
                        <a:pt x="5978" y="17821"/>
                      </a:cubicBezTo>
                      <a:cubicBezTo>
                        <a:pt x="10703" y="19675"/>
                        <a:pt x="16026" y="17283"/>
                        <a:pt x="17760" y="12498"/>
                      </a:cubicBezTo>
                      <a:close/>
                    </a:path>
                  </a:pathLst>
                </a:custGeom>
                <a:grpFill/>
                <a:ln w="5978" cap="flat">
                  <a:noFill/>
                  <a:prstDash val="solid"/>
                  <a:miter/>
                </a:ln>
              </p:spPr>
              <p:txBody>
                <a:bodyPr rtlCol="0" anchor="ctr"/>
                <a:lstStyle/>
                <a:p>
                  <a:endParaRPr lang="en-GB"/>
                </a:p>
              </p:txBody>
            </p:sp>
          </p:grpSp>
          <p:grpSp>
            <p:nvGrpSpPr>
              <p:cNvPr id="434" name="Graphic 3">
                <a:extLst>
                  <a:ext uri="{FF2B5EF4-FFF2-40B4-BE49-F238E27FC236}">
                    <a16:creationId xmlns:a16="http://schemas.microsoft.com/office/drawing/2014/main" id="{308CA2B1-57D6-4510-9714-82F44A3A28B7}"/>
                  </a:ext>
                </a:extLst>
              </p:cNvPr>
              <p:cNvGrpSpPr/>
              <p:nvPr/>
            </p:nvGrpSpPr>
            <p:grpSpPr>
              <a:xfrm>
                <a:off x="7428561" y="4365475"/>
                <a:ext cx="101360" cy="75888"/>
                <a:chOff x="7428561" y="4365475"/>
                <a:chExt cx="101360" cy="75888"/>
              </a:xfrm>
              <a:grpFill/>
            </p:grpSpPr>
            <p:sp>
              <p:nvSpPr>
                <p:cNvPr id="4083" name="Vrije vorm: vorm 4082">
                  <a:extLst>
                    <a:ext uri="{FF2B5EF4-FFF2-40B4-BE49-F238E27FC236}">
                      <a16:creationId xmlns:a16="http://schemas.microsoft.com/office/drawing/2014/main" id="{6CB1C62A-0626-4614-91F8-EE4A45B9CAEA}"/>
                    </a:ext>
                  </a:extLst>
                </p:cNvPr>
                <p:cNvSpPr/>
                <p:nvPr/>
              </p:nvSpPr>
              <p:spPr>
                <a:xfrm>
                  <a:off x="7436449" y="4373144"/>
                  <a:ext cx="85524" cy="60524"/>
                </a:xfrm>
                <a:custGeom>
                  <a:avLst/>
                  <a:gdLst>
                    <a:gd name="connsiteX0" fmla="*/ 85525 w 85524"/>
                    <a:gd name="connsiteY0" fmla="*/ 58013 h 60524"/>
                    <a:gd name="connsiteX1" fmla="*/ 83790 w 85524"/>
                    <a:gd name="connsiteY1" fmla="*/ 60525 h 60524"/>
                    <a:gd name="connsiteX2" fmla="*/ 0 w 85524"/>
                    <a:gd name="connsiteY2" fmla="*/ 2512 h 60524"/>
                    <a:gd name="connsiteX3" fmla="*/ 1735 w 85524"/>
                    <a:gd name="connsiteY3" fmla="*/ 0 h 60524"/>
                  </a:gdLst>
                  <a:ahLst/>
                  <a:cxnLst>
                    <a:cxn ang="0">
                      <a:pos x="connsiteX0" y="connsiteY0"/>
                    </a:cxn>
                    <a:cxn ang="0">
                      <a:pos x="connsiteX1" y="connsiteY1"/>
                    </a:cxn>
                    <a:cxn ang="0">
                      <a:pos x="connsiteX2" y="connsiteY2"/>
                    </a:cxn>
                    <a:cxn ang="0">
                      <a:pos x="connsiteX3" y="connsiteY3"/>
                    </a:cxn>
                  </a:cxnLst>
                  <a:rect l="l" t="t" r="r" b="b"/>
                  <a:pathLst>
                    <a:path w="85524" h="60524">
                      <a:moveTo>
                        <a:pt x="85525" y="58013"/>
                      </a:moveTo>
                      <a:lnTo>
                        <a:pt x="83790" y="60525"/>
                      </a:lnTo>
                      <a:lnTo>
                        <a:pt x="0" y="2512"/>
                      </a:lnTo>
                      <a:lnTo>
                        <a:pt x="1735" y="0"/>
                      </a:lnTo>
                      <a:close/>
                    </a:path>
                  </a:pathLst>
                </a:custGeom>
                <a:grpFill/>
                <a:ln w="5978" cap="flat">
                  <a:noFill/>
                  <a:prstDash val="solid"/>
                  <a:miter/>
                </a:ln>
              </p:spPr>
              <p:txBody>
                <a:bodyPr rtlCol="0" anchor="ctr"/>
                <a:lstStyle/>
                <a:p>
                  <a:endParaRPr lang="en-GB"/>
                </a:p>
              </p:txBody>
            </p:sp>
            <p:sp>
              <p:nvSpPr>
                <p:cNvPr id="4084" name="Vrije vorm: vorm 4083">
                  <a:extLst>
                    <a:ext uri="{FF2B5EF4-FFF2-40B4-BE49-F238E27FC236}">
                      <a16:creationId xmlns:a16="http://schemas.microsoft.com/office/drawing/2014/main" id="{6C39D8B1-F1D7-47E6-98D5-5441D6442C78}"/>
                    </a:ext>
                  </a:extLst>
                </p:cNvPr>
                <p:cNvSpPr/>
                <p:nvPr/>
              </p:nvSpPr>
              <p:spPr>
                <a:xfrm>
                  <a:off x="7511573" y="4422950"/>
                  <a:ext cx="18348" cy="18413"/>
                </a:xfrm>
                <a:custGeom>
                  <a:avLst/>
                  <a:gdLst>
                    <a:gd name="connsiteX0" fmla="*/ 14348 w 18348"/>
                    <a:gd name="connsiteY0" fmla="*/ 1628 h 18413"/>
                    <a:gd name="connsiteX1" fmla="*/ 16740 w 18348"/>
                    <a:gd name="connsiteY1" fmla="*/ 14427 h 18413"/>
                    <a:gd name="connsiteX2" fmla="*/ 4001 w 18348"/>
                    <a:gd name="connsiteY2" fmla="*/ 16759 h 18413"/>
                    <a:gd name="connsiteX3" fmla="*/ 1609 w 18348"/>
                    <a:gd name="connsiteY3" fmla="*/ 3961 h 18413"/>
                    <a:gd name="connsiteX4" fmla="*/ 14348 w 18348"/>
                    <a:gd name="connsiteY4" fmla="*/ 162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3">
                      <a:moveTo>
                        <a:pt x="14348" y="1628"/>
                      </a:moveTo>
                      <a:cubicBezTo>
                        <a:pt x="18534" y="4499"/>
                        <a:pt x="19611" y="10240"/>
                        <a:pt x="16740" y="14427"/>
                      </a:cubicBezTo>
                      <a:cubicBezTo>
                        <a:pt x="13869" y="18613"/>
                        <a:pt x="8187" y="19690"/>
                        <a:pt x="4001" y="16759"/>
                      </a:cubicBezTo>
                      <a:cubicBezTo>
                        <a:pt x="-186" y="13889"/>
                        <a:pt x="-1262" y="8147"/>
                        <a:pt x="1609" y="3961"/>
                      </a:cubicBezTo>
                      <a:cubicBezTo>
                        <a:pt x="4479" y="-226"/>
                        <a:pt x="10161" y="-1243"/>
                        <a:pt x="14348" y="1628"/>
                      </a:cubicBezTo>
                      <a:close/>
                    </a:path>
                  </a:pathLst>
                </a:custGeom>
                <a:grpFill/>
                <a:ln w="5978" cap="flat">
                  <a:noFill/>
                  <a:prstDash val="solid"/>
                  <a:miter/>
                </a:ln>
              </p:spPr>
              <p:txBody>
                <a:bodyPr rtlCol="0" anchor="ctr"/>
                <a:lstStyle/>
                <a:p>
                  <a:endParaRPr lang="en-GB"/>
                </a:p>
              </p:txBody>
            </p:sp>
            <p:sp>
              <p:nvSpPr>
                <p:cNvPr id="4085" name="Vrije vorm: vorm 4084">
                  <a:extLst>
                    <a:ext uri="{FF2B5EF4-FFF2-40B4-BE49-F238E27FC236}">
                      <a16:creationId xmlns:a16="http://schemas.microsoft.com/office/drawing/2014/main" id="{E14042EB-EF6C-4721-AAD3-CC1642EA1733}"/>
                    </a:ext>
                  </a:extLst>
                </p:cNvPr>
                <p:cNvSpPr/>
                <p:nvPr/>
              </p:nvSpPr>
              <p:spPr>
                <a:xfrm>
                  <a:off x="7428561" y="4365475"/>
                  <a:ext cx="18322" cy="18387"/>
                </a:xfrm>
                <a:custGeom>
                  <a:avLst/>
                  <a:gdLst>
                    <a:gd name="connsiteX0" fmla="*/ 14348 w 18322"/>
                    <a:gd name="connsiteY0" fmla="*/ 1628 h 18387"/>
                    <a:gd name="connsiteX1" fmla="*/ 1609 w 18322"/>
                    <a:gd name="connsiteY1" fmla="*/ 3961 h 18387"/>
                    <a:gd name="connsiteX2" fmla="*/ 4001 w 18322"/>
                    <a:gd name="connsiteY2" fmla="*/ 16759 h 18387"/>
                    <a:gd name="connsiteX3" fmla="*/ 16740 w 18322"/>
                    <a:gd name="connsiteY3" fmla="*/ 14427 h 18387"/>
                    <a:gd name="connsiteX4" fmla="*/ 14348 w 18322"/>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87">
                      <a:moveTo>
                        <a:pt x="14348" y="1628"/>
                      </a:moveTo>
                      <a:cubicBezTo>
                        <a:pt x="10161" y="-1243"/>
                        <a:pt x="4479" y="-226"/>
                        <a:pt x="1609" y="3961"/>
                      </a:cubicBezTo>
                      <a:cubicBezTo>
                        <a:pt x="-1262" y="8147"/>
                        <a:pt x="-186" y="13888"/>
                        <a:pt x="4001" y="16759"/>
                      </a:cubicBezTo>
                      <a:cubicBezTo>
                        <a:pt x="8187" y="19630"/>
                        <a:pt x="13869" y="18613"/>
                        <a:pt x="16740" y="14427"/>
                      </a:cubicBezTo>
                      <a:cubicBezTo>
                        <a:pt x="19551" y="10240"/>
                        <a:pt x="18534" y="4499"/>
                        <a:pt x="14348" y="1628"/>
                      </a:cubicBezTo>
                      <a:close/>
                    </a:path>
                  </a:pathLst>
                </a:custGeom>
                <a:grpFill/>
                <a:ln w="5978" cap="flat">
                  <a:noFill/>
                  <a:prstDash val="solid"/>
                  <a:miter/>
                </a:ln>
              </p:spPr>
              <p:txBody>
                <a:bodyPr rtlCol="0" anchor="ctr"/>
                <a:lstStyle/>
                <a:p>
                  <a:endParaRPr lang="en-GB"/>
                </a:p>
              </p:txBody>
            </p:sp>
          </p:grpSp>
          <p:grpSp>
            <p:nvGrpSpPr>
              <p:cNvPr id="435" name="Graphic 3">
                <a:extLst>
                  <a:ext uri="{FF2B5EF4-FFF2-40B4-BE49-F238E27FC236}">
                    <a16:creationId xmlns:a16="http://schemas.microsoft.com/office/drawing/2014/main" id="{A1337ADB-767A-4E47-BEE8-5F78BCEB033B}"/>
                  </a:ext>
                </a:extLst>
              </p:cNvPr>
              <p:cNvGrpSpPr/>
              <p:nvPr/>
            </p:nvGrpSpPr>
            <p:grpSpPr>
              <a:xfrm>
                <a:off x="6529451" y="1653846"/>
                <a:ext cx="52852" cy="135490"/>
                <a:chOff x="6529451" y="1653846"/>
                <a:chExt cx="52852" cy="135490"/>
              </a:xfrm>
              <a:grpFill/>
            </p:grpSpPr>
            <p:sp>
              <p:nvSpPr>
                <p:cNvPr id="4080" name="Vrije vorm: vorm 4079">
                  <a:extLst>
                    <a:ext uri="{FF2B5EF4-FFF2-40B4-BE49-F238E27FC236}">
                      <a16:creationId xmlns:a16="http://schemas.microsoft.com/office/drawing/2014/main" id="{3C4742D8-21D6-4957-AD7F-5F473AA61EDE}"/>
                    </a:ext>
                  </a:extLst>
                </p:cNvPr>
                <p:cNvSpPr/>
                <p:nvPr/>
              </p:nvSpPr>
              <p:spPr>
                <a:xfrm>
                  <a:off x="6537068" y="1662202"/>
                  <a:ext cx="37738" cy="118777"/>
                </a:xfrm>
                <a:custGeom>
                  <a:avLst/>
                  <a:gdLst>
                    <a:gd name="connsiteX0" fmla="*/ 37738 w 37738"/>
                    <a:gd name="connsiteY0" fmla="*/ 897 h 118777"/>
                    <a:gd name="connsiteX1" fmla="*/ 2871 w 37738"/>
                    <a:gd name="connsiteY1" fmla="*/ 118777 h 118777"/>
                    <a:gd name="connsiteX2" fmla="*/ 0 w 37738"/>
                    <a:gd name="connsiteY2" fmla="*/ 117880 h 118777"/>
                    <a:gd name="connsiteX3" fmla="*/ 34808 w 37738"/>
                    <a:gd name="connsiteY3" fmla="*/ 0 h 118777"/>
                  </a:gdLst>
                  <a:ahLst/>
                  <a:cxnLst>
                    <a:cxn ang="0">
                      <a:pos x="connsiteX0" y="connsiteY0"/>
                    </a:cxn>
                    <a:cxn ang="0">
                      <a:pos x="connsiteX1" y="connsiteY1"/>
                    </a:cxn>
                    <a:cxn ang="0">
                      <a:pos x="connsiteX2" y="connsiteY2"/>
                    </a:cxn>
                    <a:cxn ang="0">
                      <a:pos x="connsiteX3" y="connsiteY3"/>
                    </a:cxn>
                  </a:cxnLst>
                  <a:rect l="l" t="t" r="r" b="b"/>
                  <a:pathLst>
                    <a:path w="37738" h="118777">
                      <a:moveTo>
                        <a:pt x="37738" y="897"/>
                      </a:moveTo>
                      <a:lnTo>
                        <a:pt x="2871" y="118777"/>
                      </a:lnTo>
                      <a:lnTo>
                        <a:pt x="0" y="117880"/>
                      </a:lnTo>
                      <a:lnTo>
                        <a:pt x="34808" y="0"/>
                      </a:lnTo>
                      <a:close/>
                    </a:path>
                  </a:pathLst>
                </a:custGeom>
                <a:grpFill/>
                <a:ln w="5978" cap="flat">
                  <a:noFill/>
                  <a:prstDash val="solid"/>
                  <a:miter/>
                </a:ln>
              </p:spPr>
              <p:txBody>
                <a:bodyPr rtlCol="0" anchor="ctr"/>
                <a:lstStyle/>
                <a:p>
                  <a:endParaRPr lang="en-GB"/>
                </a:p>
              </p:txBody>
            </p:sp>
            <p:sp>
              <p:nvSpPr>
                <p:cNvPr id="4081" name="Vrije vorm: vorm 4080">
                  <a:extLst>
                    <a:ext uri="{FF2B5EF4-FFF2-40B4-BE49-F238E27FC236}">
                      <a16:creationId xmlns:a16="http://schemas.microsoft.com/office/drawing/2014/main" id="{9F9950FC-909C-42EF-8A65-EBCB46144361}"/>
                    </a:ext>
                  </a:extLst>
                </p:cNvPr>
                <p:cNvSpPr/>
                <p:nvPr/>
              </p:nvSpPr>
              <p:spPr>
                <a:xfrm>
                  <a:off x="6564020" y="1653846"/>
                  <a:ext cx="18284" cy="18447"/>
                </a:xfrm>
                <a:custGeom>
                  <a:avLst/>
                  <a:gdLst>
                    <a:gd name="connsiteX0" fmla="*/ 380 w 18284"/>
                    <a:gd name="connsiteY0" fmla="*/ 6562 h 18447"/>
                    <a:gd name="connsiteX1" fmla="*/ 11744 w 18284"/>
                    <a:gd name="connsiteY1" fmla="*/ 402 h 18447"/>
                    <a:gd name="connsiteX2" fmla="*/ 17904 w 18284"/>
                    <a:gd name="connsiteY2" fmla="*/ 11885 h 18447"/>
                    <a:gd name="connsiteX3" fmla="*/ 6540 w 18284"/>
                    <a:gd name="connsiteY3" fmla="*/ 18045 h 18447"/>
                    <a:gd name="connsiteX4" fmla="*/ 380 w 1828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7">
                      <a:moveTo>
                        <a:pt x="380" y="6562"/>
                      </a:moveTo>
                      <a:cubicBezTo>
                        <a:pt x="1816" y="1718"/>
                        <a:pt x="6899" y="-1093"/>
                        <a:pt x="11744" y="402"/>
                      </a:cubicBezTo>
                      <a:cubicBezTo>
                        <a:pt x="16588" y="1838"/>
                        <a:pt x="19339" y="6981"/>
                        <a:pt x="17904" y="11885"/>
                      </a:cubicBezTo>
                      <a:cubicBezTo>
                        <a:pt x="16469" y="16730"/>
                        <a:pt x="11385" y="19540"/>
                        <a:pt x="6540" y="18045"/>
                      </a:cubicBezTo>
                      <a:cubicBezTo>
                        <a:pt x="1696" y="16610"/>
                        <a:pt x="-1055" y="11467"/>
                        <a:pt x="380" y="6562"/>
                      </a:cubicBezTo>
                      <a:close/>
                    </a:path>
                  </a:pathLst>
                </a:custGeom>
                <a:grpFill/>
                <a:ln w="5978" cap="flat">
                  <a:noFill/>
                  <a:prstDash val="solid"/>
                  <a:miter/>
                </a:ln>
              </p:spPr>
              <p:txBody>
                <a:bodyPr rtlCol="0" anchor="ctr"/>
                <a:lstStyle/>
                <a:p>
                  <a:endParaRPr lang="en-GB"/>
                </a:p>
              </p:txBody>
            </p:sp>
            <p:sp>
              <p:nvSpPr>
                <p:cNvPr id="4082" name="Vrije vorm: vorm 4081">
                  <a:extLst>
                    <a:ext uri="{FF2B5EF4-FFF2-40B4-BE49-F238E27FC236}">
                      <a16:creationId xmlns:a16="http://schemas.microsoft.com/office/drawing/2014/main" id="{2D3E1B6D-4187-4842-BE95-6754D200B54E}"/>
                    </a:ext>
                  </a:extLst>
                </p:cNvPr>
                <p:cNvSpPr/>
                <p:nvPr/>
              </p:nvSpPr>
              <p:spPr>
                <a:xfrm>
                  <a:off x="6529451" y="1770910"/>
                  <a:ext cx="18284" cy="18425"/>
                </a:xfrm>
                <a:custGeom>
                  <a:avLst/>
                  <a:gdLst>
                    <a:gd name="connsiteX0" fmla="*/ 380 w 18284"/>
                    <a:gd name="connsiteY0" fmla="*/ 6541 h 18425"/>
                    <a:gd name="connsiteX1" fmla="*/ 6541 w 18284"/>
                    <a:gd name="connsiteY1" fmla="*/ 18024 h 18425"/>
                    <a:gd name="connsiteX2" fmla="*/ 17904 w 18284"/>
                    <a:gd name="connsiteY2" fmla="*/ 11863 h 18425"/>
                    <a:gd name="connsiteX3" fmla="*/ 11744 w 18284"/>
                    <a:gd name="connsiteY3" fmla="*/ 380 h 18425"/>
                    <a:gd name="connsiteX4" fmla="*/ 380 w 18284"/>
                    <a:gd name="connsiteY4" fmla="*/ 6541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25">
                      <a:moveTo>
                        <a:pt x="380" y="6541"/>
                      </a:moveTo>
                      <a:cubicBezTo>
                        <a:pt x="-1055" y="11385"/>
                        <a:pt x="1696" y="16528"/>
                        <a:pt x="6541" y="18024"/>
                      </a:cubicBezTo>
                      <a:cubicBezTo>
                        <a:pt x="11385" y="19519"/>
                        <a:pt x="16469" y="16708"/>
                        <a:pt x="17904" y="11863"/>
                      </a:cubicBezTo>
                      <a:cubicBezTo>
                        <a:pt x="19340" y="7019"/>
                        <a:pt x="16588" y="1876"/>
                        <a:pt x="11744" y="380"/>
                      </a:cubicBezTo>
                      <a:cubicBezTo>
                        <a:pt x="6959" y="-1055"/>
                        <a:pt x="1816" y="1696"/>
                        <a:pt x="380" y="6541"/>
                      </a:cubicBezTo>
                      <a:close/>
                    </a:path>
                  </a:pathLst>
                </a:custGeom>
                <a:grpFill/>
                <a:ln w="5978" cap="flat">
                  <a:noFill/>
                  <a:prstDash val="solid"/>
                  <a:miter/>
                </a:ln>
              </p:spPr>
              <p:txBody>
                <a:bodyPr rtlCol="0" anchor="ctr"/>
                <a:lstStyle/>
                <a:p>
                  <a:endParaRPr lang="en-GB"/>
                </a:p>
              </p:txBody>
            </p:sp>
          </p:grpSp>
          <p:grpSp>
            <p:nvGrpSpPr>
              <p:cNvPr id="436" name="Graphic 3">
                <a:extLst>
                  <a:ext uri="{FF2B5EF4-FFF2-40B4-BE49-F238E27FC236}">
                    <a16:creationId xmlns:a16="http://schemas.microsoft.com/office/drawing/2014/main" id="{DB7B3D24-3342-48D9-AD3B-39A37764AF9D}"/>
                  </a:ext>
                </a:extLst>
              </p:cNvPr>
              <p:cNvGrpSpPr/>
              <p:nvPr/>
            </p:nvGrpSpPr>
            <p:grpSpPr>
              <a:xfrm>
                <a:off x="6480612" y="1529829"/>
                <a:ext cx="26192" cy="51774"/>
                <a:chOff x="6480612" y="1529829"/>
                <a:chExt cx="26192" cy="51774"/>
              </a:xfrm>
              <a:grpFill/>
            </p:grpSpPr>
            <p:sp>
              <p:nvSpPr>
                <p:cNvPr id="4077" name="Vrije vorm: vorm 4076">
                  <a:extLst>
                    <a:ext uri="{FF2B5EF4-FFF2-40B4-BE49-F238E27FC236}">
                      <a16:creationId xmlns:a16="http://schemas.microsoft.com/office/drawing/2014/main" id="{142027A2-6D36-4147-B9B2-22506A78A1C7}"/>
                    </a:ext>
                  </a:extLst>
                </p:cNvPr>
                <p:cNvSpPr/>
                <p:nvPr/>
              </p:nvSpPr>
              <p:spPr>
                <a:xfrm>
                  <a:off x="6488206" y="1538222"/>
                  <a:ext cx="11064" cy="34987"/>
                </a:xfrm>
                <a:custGeom>
                  <a:avLst/>
                  <a:gdLst>
                    <a:gd name="connsiteX0" fmla="*/ 11064 w 11064"/>
                    <a:gd name="connsiteY0" fmla="*/ 718 h 34987"/>
                    <a:gd name="connsiteX1" fmla="*/ 2990 w 11064"/>
                    <a:gd name="connsiteY1" fmla="*/ 34987 h 34987"/>
                    <a:gd name="connsiteX2" fmla="*/ 0 w 11064"/>
                    <a:gd name="connsiteY2" fmla="*/ 34270 h 34987"/>
                    <a:gd name="connsiteX3" fmla="*/ 8074 w 11064"/>
                    <a:gd name="connsiteY3" fmla="*/ 0 h 34987"/>
                  </a:gdLst>
                  <a:ahLst/>
                  <a:cxnLst>
                    <a:cxn ang="0">
                      <a:pos x="connsiteX0" y="connsiteY0"/>
                    </a:cxn>
                    <a:cxn ang="0">
                      <a:pos x="connsiteX1" y="connsiteY1"/>
                    </a:cxn>
                    <a:cxn ang="0">
                      <a:pos x="connsiteX2" y="connsiteY2"/>
                    </a:cxn>
                    <a:cxn ang="0">
                      <a:pos x="connsiteX3" y="connsiteY3"/>
                    </a:cxn>
                  </a:cxnLst>
                  <a:rect l="l" t="t" r="r" b="b"/>
                  <a:pathLst>
                    <a:path w="11064" h="34987">
                      <a:moveTo>
                        <a:pt x="11064" y="718"/>
                      </a:moveTo>
                      <a:lnTo>
                        <a:pt x="2990" y="34987"/>
                      </a:lnTo>
                      <a:lnTo>
                        <a:pt x="0" y="34270"/>
                      </a:lnTo>
                      <a:lnTo>
                        <a:pt x="8074" y="0"/>
                      </a:lnTo>
                      <a:close/>
                    </a:path>
                  </a:pathLst>
                </a:custGeom>
                <a:grpFill/>
                <a:ln w="5978" cap="flat">
                  <a:noFill/>
                  <a:prstDash val="solid"/>
                  <a:miter/>
                </a:ln>
              </p:spPr>
              <p:txBody>
                <a:bodyPr rtlCol="0" anchor="ctr"/>
                <a:lstStyle/>
                <a:p>
                  <a:endParaRPr lang="en-GB"/>
                </a:p>
              </p:txBody>
            </p:sp>
            <p:sp>
              <p:nvSpPr>
                <p:cNvPr id="4078" name="Vrije vorm: vorm 4077">
                  <a:extLst>
                    <a:ext uri="{FF2B5EF4-FFF2-40B4-BE49-F238E27FC236}">
                      <a16:creationId xmlns:a16="http://schemas.microsoft.com/office/drawing/2014/main" id="{35C91B55-E79E-4281-B55C-EED28F56E616}"/>
                    </a:ext>
                  </a:extLst>
                </p:cNvPr>
                <p:cNvSpPr/>
                <p:nvPr/>
              </p:nvSpPr>
              <p:spPr>
                <a:xfrm>
                  <a:off x="6488484" y="1529829"/>
                  <a:ext cx="18319" cy="18461"/>
                </a:xfrm>
                <a:custGeom>
                  <a:avLst/>
                  <a:gdLst>
                    <a:gd name="connsiteX0" fmla="*/ 260 w 18319"/>
                    <a:gd name="connsiteY0" fmla="*/ 7078 h 18461"/>
                    <a:gd name="connsiteX1" fmla="*/ 11264 w 18319"/>
                    <a:gd name="connsiteY1" fmla="*/ 260 h 18461"/>
                    <a:gd name="connsiteX2" fmla="*/ 18082 w 18319"/>
                    <a:gd name="connsiteY2" fmla="*/ 11384 h 18461"/>
                    <a:gd name="connsiteX3" fmla="*/ 7078 w 18319"/>
                    <a:gd name="connsiteY3" fmla="*/ 18202 h 18461"/>
                    <a:gd name="connsiteX4" fmla="*/ 260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60" y="7078"/>
                      </a:moveTo>
                      <a:cubicBezTo>
                        <a:pt x="1396" y="2114"/>
                        <a:pt x="6360" y="-936"/>
                        <a:pt x="11264" y="260"/>
                      </a:cubicBezTo>
                      <a:cubicBezTo>
                        <a:pt x="16169" y="1456"/>
                        <a:pt x="19218" y="6420"/>
                        <a:pt x="18082" y="11384"/>
                      </a:cubicBezTo>
                      <a:cubicBezTo>
                        <a:pt x="16946" y="16348"/>
                        <a:pt x="11982" y="19398"/>
                        <a:pt x="7078" y="18202"/>
                      </a:cubicBezTo>
                      <a:cubicBezTo>
                        <a:pt x="2114" y="17006"/>
                        <a:pt x="-937" y="12042"/>
                        <a:pt x="260" y="7078"/>
                      </a:cubicBezTo>
                      <a:close/>
                    </a:path>
                  </a:pathLst>
                </a:custGeom>
                <a:grpFill/>
                <a:ln w="5978" cap="flat">
                  <a:noFill/>
                  <a:prstDash val="solid"/>
                  <a:miter/>
                </a:ln>
              </p:spPr>
              <p:txBody>
                <a:bodyPr rtlCol="0" anchor="ctr"/>
                <a:lstStyle/>
                <a:p>
                  <a:endParaRPr lang="en-GB"/>
                </a:p>
              </p:txBody>
            </p:sp>
            <p:sp>
              <p:nvSpPr>
                <p:cNvPr id="4079" name="Vrije vorm: vorm 4078">
                  <a:extLst>
                    <a:ext uri="{FF2B5EF4-FFF2-40B4-BE49-F238E27FC236}">
                      <a16:creationId xmlns:a16="http://schemas.microsoft.com/office/drawing/2014/main" id="{6D67455C-9B7D-42C0-B6E7-80C3EB862910}"/>
                    </a:ext>
                  </a:extLst>
                </p:cNvPr>
                <p:cNvSpPr/>
                <p:nvPr/>
              </p:nvSpPr>
              <p:spPr>
                <a:xfrm>
                  <a:off x="6480612" y="1563141"/>
                  <a:ext cx="18297" cy="18461"/>
                </a:xfrm>
                <a:custGeom>
                  <a:avLst/>
                  <a:gdLst>
                    <a:gd name="connsiteX0" fmla="*/ 238 w 18297"/>
                    <a:gd name="connsiteY0" fmla="*/ 7078 h 18461"/>
                    <a:gd name="connsiteX1" fmla="*/ 7056 w 18297"/>
                    <a:gd name="connsiteY1" fmla="*/ 18202 h 18461"/>
                    <a:gd name="connsiteX2" fmla="*/ 18060 w 18297"/>
                    <a:gd name="connsiteY2" fmla="*/ 11384 h 18461"/>
                    <a:gd name="connsiteX3" fmla="*/ 11242 w 18297"/>
                    <a:gd name="connsiteY3" fmla="*/ 260 h 18461"/>
                    <a:gd name="connsiteX4" fmla="*/ 238 w 18297"/>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61">
                      <a:moveTo>
                        <a:pt x="238" y="7078"/>
                      </a:moveTo>
                      <a:cubicBezTo>
                        <a:pt x="-899" y="12042"/>
                        <a:pt x="2151" y="17006"/>
                        <a:pt x="7056" y="18202"/>
                      </a:cubicBezTo>
                      <a:cubicBezTo>
                        <a:pt x="11960" y="19398"/>
                        <a:pt x="16924" y="16348"/>
                        <a:pt x="18060" y="11384"/>
                      </a:cubicBezTo>
                      <a:cubicBezTo>
                        <a:pt x="19197" y="6420"/>
                        <a:pt x="16146" y="1456"/>
                        <a:pt x="11242" y="260"/>
                      </a:cubicBezTo>
                      <a:cubicBezTo>
                        <a:pt x="6398" y="-937"/>
                        <a:pt x="1434" y="2114"/>
                        <a:pt x="238" y="7078"/>
                      </a:cubicBezTo>
                      <a:close/>
                    </a:path>
                  </a:pathLst>
                </a:custGeom>
                <a:grpFill/>
                <a:ln w="5978" cap="flat">
                  <a:noFill/>
                  <a:prstDash val="solid"/>
                  <a:miter/>
                </a:ln>
              </p:spPr>
              <p:txBody>
                <a:bodyPr rtlCol="0" anchor="ctr"/>
                <a:lstStyle/>
                <a:p>
                  <a:endParaRPr lang="en-GB"/>
                </a:p>
              </p:txBody>
            </p:sp>
          </p:grpSp>
          <p:grpSp>
            <p:nvGrpSpPr>
              <p:cNvPr id="437" name="Graphic 3">
                <a:extLst>
                  <a:ext uri="{FF2B5EF4-FFF2-40B4-BE49-F238E27FC236}">
                    <a16:creationId xmlns:a16="http://schemas.microsoft.com/office/drawing/2014/main" id="{7E79D091-9872-4271-B72E-1D6F427C433D}"/>
                  </a:ext>
                </a:extLst>
              </p:cNvPr>
              <p:cNvGrpSpPr/>
              <p:nvPr/>
            </p:nvGrpSpPr>
            <p:grpSpPr>
              <a:xfrm>
                <a:off x="6494434" y="1591558"/>
                <a:ext cx="33594" cy="78290"/>
                <a:chOff x="6494434" y="1591558"/>
                <a:chExt cx="33594" cy="78290"/>
              </a:xfrm>
              <a:grpFill/>
            </p:grpSpPr>
            <p:sp>
              <p:nvSpPr>
                <p:cNvPr id="4074" name="Vrije vorm: vorm 4073">
                  <a:extLst>
                    <a:ext uri="{FF2B5EF4-FFF2-40B4-BE49-F238E27FC236}">
                      <a16:creationId xmlns:a16="http://schemas.microsoft.com/office/drawing/2014/main" id="{098D35D8-C13D-4324-ABD7-CCC3C4B16DF3}"/>
                    </a:ext>
                  </a:extLst>
                </p:cNvPr>
                <p:cNvSpPr/>
                <p:nvPr/>
              </p:nvSpPr>
              <p:spPr>
                <a:xfrm>
                  <a:off x="6502021" y="1599943"/>
                  <a:ext cx="18480" cy="61541"/>
                </a:xfrm>
                <a:custGeom>
                  <a:avLst/>
                  <a:gdLst>
                    <a:gd name="connsiteX0" fmla="*/ 18480 w 18480"/>
                    <a:gd name="connsiteY0" fmla="*/ 778 h 61541"/>
                    <a:gd name="connsiteX1" fmla="*/ 2930 w 18480"/>
                    <a:gd name="connsiteY1" fmla="*/ 61542 h 61541"/>
                    <a:gd name="connsiteX2" fmla="*/ 0 w 18480"/>
                    <a:gd name="connsiteY2" fmla="*/ 60764 h 61541"/>
                    <a:gd name="connsiteX3" fmla="*/ 15550 w 18480"/>
                    <a:gd name="connsiteY3" fmla="*/ 0 h 61541"/>
                  </a:gdLst>
                  <a:ahLst/>
                  <a:cxnLst>
                    <a:cxn ang="0">
                      <a:pos x="connsiteX0" y="connsiteY0"/>
                    </a:cxn>
                    <a:cxn ang="0">
                      <a:pos x="connsiteX1" y="connsiteY1"/>
                    </a:cxn>
                    <a:cxn ang="0">
                      <a:pos x="connsiteX2" y="connsiteY2"/>
                    </a:cxn>
                    <a:cxn ang="0">
                      <a:pos x="connsiteX3" y="connsiteY3"/>
                    </a:cxn>
                  </a:cxnLst>
                  <a:rect l="l" t="t" r="r" b="b"/>
                  <a:pathLst>
                    <a:path w="18480" h="61541">
                      <a:moveTo>
                        <a:pt x="18480" y="778"/>
                      </a:moveTo>
                      <a:lnTo>
                        <a:pt x="2930" y="61542"/>
                      </a:lnTo>
                      <a:lnTo>
                        <a:pt x="0" y="60764"/>
                      </a:lnTo>
                      <a:lnTo>
                        <a:pt x="15550" y="0"/>
                      </a:lnTo>
                      <a:close/>
                    </a:path>
                  </a:pathLst>
                </a:custGeom>
                <a:grpFill/>
                <a:ln w="5978" cap="flat">
                  <a:noFill/>
                  <a:prstDash val="solid"/>
                  <a:miter/>
                </a:ln>
              </p:spPr>
              <p:txBody>
                <a:bodyPr rtlCol="0" anchor="ctr"/>
                <a:lstStyle/>
                <a:p>
                  <a:endParaRPr lang="en-GB"/>
                </a:p>
              </p:txBody>
            </p:sp>
            <p:sp>
              <p:nvSpPr>
                <p:cNvPr id="4075" name="Vrije vorm: vorm 4074">
                  <a:extLst>
                    <a:ext uri="{FF2B5EF4-FFF2-40B4-BE49-F238E27FC236}">
                      <a16:creationId xmlns:a16="http://schemas.microsoft.com/office/drawing/2014/main" id="{233BF99D-57D5-4471-BD94-E9045E074F02}"/>
                    </a:ext>
                  </a:extLst>
                </p:cNvPr>
                <p:cNvSpPr/>
                <p:nvPr/>
              </p:nvSpPr>
              <p:spPr>
                <a:xfrm>
                  <a:off x="6509745" y="1591558"/>
                  <a:ext cx="18283" cy="18443"/>
                </a:xfrm>
                <a:custGeom>
                  <a:avLst/>
                  <a:gdLst>
                    <a:gd name="connsiteX0" fmla="*/ 290 w 18283"/>
                    <a:gd name="connsiteY0" fmla="*/ 6889 h 18443"/>
                    <a:gd name="connsiteX1" fmla="*/ 11415 w 18283"/>
                    <a:gd name="connsiteY1" fmla="*/ 311 h 18443"/>
                    <a:gd name="connsiteX2" fmla="*/ 17994 w 18283"/>
                    <a:gd name="connsiteY2" fmla="*/ 11554 h 18443"/>
                    <a:gd name="connsiteX3" fmla="*/ 6869 w 18283"/>
                    <a:gd name="connsiteY3" fmla="*/ 18133 h 18443"/>
                    <a:gd name="connsiteX4" fmla="*/ 290 w 18283"/>
                    <a:gd name="connsiteY4" fmla="*/ 68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3">
                      <a:moveTo>
                        <a:pt x="290" y="6889"/>
                      </a:moveTo>
                      <a:cubicBezTo>
                        <a:pt x="1547" y="1985"/>
                        <a:pt x="6570" y="-1005"/>
                        <a:pt x="11415" y="311"/>
                      </a:cubicBezTo>
                      <a:cubicBezTo>
                        <a:pt x="16319" y="1567"/>
                        <a:pt x="19249" y="6650"/>
                        <a:pt x="17994" y="11554"/>
                      </a:cubicBezTo>
                      <a:cubicBezTo>
                        <a:pt x="16737" y="16459"/>
                        <a:pt x="11714" y="19449"/>
                        <a:pt x="6869" y="18133"/>
                      </a:cubicBezTo>
                      <a:cubicBezTo>
                        <a:pt x="1965" y="16877"/>
                        <a:pt x="-965" y="11853"/>
                        <a:pt x="290" y="6889"/>
                      </a:cubicBezTo>
                      <a:close/>
                    </a:path>
                  </a:pathLst>
                </a:custGeom>
                <a:grpFill/>
                <a:ln w="5978" cap="flat">
                  <a:noFill/>
                  <a:prstDash val="solid"/>
                  <a:miter/>
                </a:ln>
              </p:spPr>
              <p:txBody>
                <a:bodyPr rtlCol="0" anchor="ctr"/>
                <a:lstStyle/>
                <a:p>
                  <a:endParaRPr lang="en-GB"/>
                </a:p>
              </p:txBody>
            </p:sp>
            <p:sp>
              <p:nvSpPr>
                <p:cNvPr id="4076" name="Vrije vorm: vorm 4075">
                  <a:extLst>
                    <a:ext uri="{FF2B5EF4-FFF2-40B4-BE49-F238E27FC236}">
                      <a16:creationId xmlns:a16="http://schemas.microsoft.com/office/drawing/2014/main" id="{FA756CEA-CB05-4AFC-BAE8-689E840C3ABB}"/>
                    </a:ext>
                  </a:extLst>
                </p:cNvPr>
                <p:cNvSpPr/>
                <p:nvPr/>
              </p:nvSpPr>
              <p:spPr>
                <a:xfrm>
                  <a:off x="6494434" y="1651445"/>
                  <a:ext cx="18283" cy="18403"/>
                </a:xfrm>
                <a:custGeom>
                  <a:avLst/>
                  <a:gdLst>
                    <a:gd name="connsiteX0" fmla="*/ 290 w 18283"/>
                    <a:gd name="connsiteY0" fmla="*/ 6869 h 18403"/>
                    <a:gd name="connsiteX1" fmla="*/ 6869 w 18283"/>
                    <a:gd name="connsiteY1" fmla="*/ 18113 h 18403"/>
                    <a:gd name="connsiteX2" fmla="*/ 17994 w 18283"/>
                    <a:gd name="connsiteY2" fmla="*/ 11534 h 18403"/>
                    <a:gd name="connsiteX3" fmla="*/ 11415 w 18283"/>
                    <a:gd name="connsiteY3" fmla="*/ 291 h 18403"/>
                    <a:gd name="connsiteX4" fmla="*/ 290 w 18283"/>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03">
                      <a:moveTo>
                        <a:pt x="290" y="6869"/>
                      </a:moveTo>
                      <a:cubicBezTo>
                        <a:pt x="-965" y="11773"/>
                        <a:pt x="1965" y="16797"/>
                        <a:pt x="6869" y="18113"/>
                      </a:cubicBezTo>
                      <a:cubicBezTo>
                        <a:pt x="11773" y="19369"/>
                        <a:pt x="16737" y="16438"/>
                        <a:pt x="17994" y="11534"/>
                      </a:cubicBezTo>
                      <a:cubicBezTo>
                        <a:pt x="19249" y="6630"/>
                        <a:pt x="16319" y="1606"/>
                        <a:pt x="11415" y="291"/>
                      </a:cubicBezTo>
                      <a:cubicBezTo>
                        <a:pt x="6570" y="-965"/>
                        <a:pt x="1547" y="1965"/>
                        <a:pt x="290" y="6869"/>
                      </a:cubicBezTo>
                      <a:close/>
                    </a:path>
                  </a:pathLst>
                </a:custGeom>
                <a:grpFill/>
                <a:ln w="5978" cap="flat">
                  <a:noFill/>
                  <a:prstDash val="solid"/>
                  <a:miter/>
                </a:ln>
              </p:spPr>
              <p:txBody>
                <a:bodyPr rtlCol="0" anchor="ctr"/>
                <a:lstStyle/>
                <a:p>
                  <a:endParaRPr lang="en-GB"/>
                </a:p>
              </p:txBody>
            </p:sp>
          </p:grpSp>
          <p:grpSp>
            <p:nvGrpSpPr>
              <p:cNvPr id="438" name="Graphic 3">
                <a:extLst>
                  <a:ext uri="{FF2B5EF4-FFF2-40B4-BE49-F238E27FC236}">
                    <a16:creationId xmlns:a16="http://schemas.microsoft.com/office/drawing/2014/main" id="{C3D8FD19-FF60-4C8F-8174-0A3DBA7843AC}"/>
                  </a:ext>
                </a:extLst>
              </p:cNvPr>
              <p:cNvGrpSpPr/>
              <p:nvPr/>
            </p:nvGrpSpPr>
            <p:grpSpPr>
              <a:xfrm>
                <a:off x="7449006" y="4631817"/>
                <a:ext cx="226674" cy="200160"/>
                <a:chOff x="7449006" y="4631817"/>
                <a:chExt cx="226674" cy="200160"/>
              </a:xfrm>
              <a:grpFill/>
            </p:grpSpPr>
            <p:sp>
              <p:nvSpPr>
                <p:cNvPr id="4071" name="Vrije vorm: vorm 4070">
                  <a:extLst>
                    <a:ext uri="{FF2B5EF4-FFF2-40B4-BE49-F238E27FC236}">
                      <a16:creationId xmlns:a16="http://schemas.microsoft.com/office/drawing/2014/main" id="{0A1C574A-F378-4861-B7C5-F47E91F75034}"/>
                    </a:ext>
                  </a:extLst>
                </p:cNvPr>
                <p:cNvSpPr/>
                <p:nvPr/>
              </p:nvSpPr>
              <p:spPr>
                <a:xfrm>
                  <a:off x="7456784" y="4639525"/>
                  <a:ext cx="211059" cy="184744"/>
                </a:xfrm>
                <a:custGeom>
                  <a:avLst/>
                  <a:gdLst>
                    <a:gd name="connsiteX0" fmla="*/ 211060 w 211059"/>
                    <a:gd name="connsiteY0" fmla="*/ 182412 h 184744"/>
                    <a:gd name="connsiteX1" fmla="*/ 209087 w 211059"/>
                    <a:gd name="connsiteY1" fmla="*/ 184745 h 184744"/>
                    <a:gd name="connsiteX2" fmla="*/ 0 w 211059"/>
                    <a:gd name="connsiteY2" fmla="*/ 2333 h 184744"/>
                    <a:gd name="connsiteX3" fmla="*/ 2033 w 211059"/>
                    <a:gd name="connsiteY3" fmla="*/ 0 h 184744"/>
                  </a:gdLst>
                  <a:ahLst/>
                  <a:cxnLst>
                    <a:cxn ang="0">
                      <a:pos x="connsiteX0" y="connsiteY0"/>
                    </a:cxn>
                    <a:cxn ang="0">
                      <a:pos x="connsiteX1" y="connsiteY1"/>
                    </a:cxn>
                    <a:cxn ang="0">
                      <a:pos x="connsiteX2" y="connsiteY2"/>
                    </a:cxn>
                    <a:cxn ang="0">
                      <a:pos x="connsiteX3" y="connsiteY3"/>
                    </a:cxn>
                  </a:cxnLst>
                  <a:rect l="l" t="t" r="r" b="b"/>
                  <a:pathLst>
                    <a:path w="211059" h="184744">
                      <a:moveTo>
                        <a:pt x="211060" y="182412"/>
                      </a:moveTo>
                      <a:lnTo>
                        <a:pt x="209087" y="184745"/>
                      </a:lnTo>
                      <a:lnTo>
                        <a:pt x="0" y="2333"/>
                      </a:lnTo>
                      <a:lnTo>
                        <a:pt x="2033" y="0"/>
                      </a:lnTo>
                      <a:close/>
                    </a:path>
                  </a:pathLst>
                </a:custGeom>
                <a:grpFill/>
                <a:ln w="5978" cap="flat">
                  <a:noFill/>
                  <a:prstDash val="solid"/>
                  <a:miter/>
                </a:ln>
              </p:spPr>
              <p:txBody>
                <a:bodyPr rtlCol="0" anchor="ctr"/>
                <a:lstStyle/>
                <a:p>
                  <a:endParaRPr lang="en-GB"/>
                </a:p>
              </p:txBody>
            </p:sp>
            <p:sp>
              <p:nvSpPr>
                <p:cNvPr id="4072" name="Vrije vorm: vorm 4071">
                  <a:extLst>
                    <a:ext uri="{FF2B5EF4-FFF2-40B4-BE49-F238E27FC236}">
                      <a16:creationId xmlns:a16="http://schemas.microsoft.com/office/drawing/2014/main" id="{50E2DEBB-1597-4821-92F9-F0B91F7D3EB7}"/>
                    </a:ext>
                  </a:extLst>
                </p:cNvPr>
                <p:cNvSpPr/>
                <p:nvPr/>
              </p:nvSpPr>
              <p:spPr>
                <a:xfrm>
                  <a:off x="7657375" y="4813571"/>
                  <a:ext cx="18306" cy="18405"/>
                </a:xfrm>
                <a:custGeom>
                  <a:avLst/>
                  <a:gdLst>
                    <a:gd name="connsiteX0" fmla="*/ 15134 w 18306"/>
                    <a:gd name="connsiteY0" fmla="*/ 2265 h 18405"/>
                    <a:gd name="connsiteX1" fmla="*/ 16090 w 18306"/>
                    <a:gd name="connsiteY1" fmla="*/ 15243 h 18405"/>
                    <a:gd name="connsiteX2" fmla="*/ 3173 w 18306"/>
                    <a:gd name="connsiteY2" fmla="*/ 16141 h 18405"/>
                    <a:gd name="connsiteX3" fmla="*/ 2215 w 18306"/>
                    <a:gd name="connsiteY3" fmla="*/ 3162 h 18405"/>
                    <a:gd name="connsiteX4" fmla="*/ 15134 w 18306"/>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5134" y="2265"/>
                      </a:moveTo>
                      <a:cubicBezTo>
                        <a:pt x="18962" y="5615"/>
                        <a:pt x="19380" y="11416"/>
                        <a:pt x="16090" y="15243"/>
                      </a:cubicBezTo>
                      <a:cubicBezTo>
                        <a:pt x="12801" y="19071"/>
                        <a:pt x="7000" y="19490"/>
                        <a:pt x="3173" y="16141"/>
                      </a:cubicBezTo>
                      <a:cubicBezTo>
                        <a:pt x="-655" y="12791"/>
                        <a:pt x="-1074" y="6990"/>
                        <a:pt x="2215" y="3162"/>
                      </a:cubicBezTo>
                      <a:cubicBezTo>
                        <a:pt x="5505" y="-665"/>
                        <a:pt x="11306" y="-1084"/>
                        <a:pt x="15134" y="2265"/>
                      </a:cubicBezTo>
                      <a:close/>
                    </a:path>
                  </a:pathLst>
                </a:custGeom>
                <a:grpFill/>
                <a:ln w="5978" cap="flat">
                  <a:noFill/>
                  <a:prstDash val="solid"/>
                  <a:miter/>
                </a:ln>
              </p:spPr>
              <p:txBody>
                <a:bodyPr rtlCol="0" anchor="ctr"/>
                <a:lstStyle/>
                <a:p>
                  <a:endParaRPr lang="en-GB"/>
                </a:p>
              </p:txBody>
            </p:sp>
            <p:sp>
              <p:nvSpPr>
                <p:cNvPr id="4073" name="Vrije vorm: vorm 4072">
                  <a:extLst>
                    <a:ext uri="{FF2B5EF4-FFF2-40B4-BE49-F238E27FC236}">
                      <a16:creationId xmlns:a16="http://schemas.microsoft.com/office/drawing/2014/main" id="{C28B1412-4152-4765-B7E5-E5525ADF8EF8}"/>
                    </a:ext>
                  </a:extLst>
                </p:cNvPr>
                <p:cNvSpPr/>
                <p:nvPr/>
              </p:nvSpPr>
              <p:spPr>
                <a:xfrm>
                  <a:off x="7449006" y="4631817"/>
                  <a:ext cx="18306" cy="18405"/>
                </a:xfrm>
                <a:custGeom>
                  <a:avLst/>
                  <a:gdLst>
                    <a:gd name="connsiteX0" fmla="*/ 15134 w 18306"/>
                    <a:gd name="connsiteY0" fmla="*/ 2265 h 18405"/>
                    <a:gd name="connsiteX1" fmla="*/ 2216 w 18306"/>
                    <a:gd name="connsiteY1" fmla="*/ 3163 h 18405"/>
                    <a:gd name="connsiteX2" fmla="*/ 3172 w 18306"/>
                    <a:gd name="connsiteY2" fmla="*/ 16141 h 18405"/>
                    <a:gd name="connsiteX3" fmla="*/ 16091 w 18306"/>
                    <a:gd name="connsiteY3" fmla="*/ 15243 h 18405"/>
                    <a:gd name="connsiteX4" fmla="*/ 15134 w 18306"/>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5134" y="2265"/>
                      </a:moveTo>
                      <a:cubicBezTo>
                        <a:pt x="11306" y="-1084"/>
                        <a:pt x="5505" y="-665"/>
                        <a:pt x="2216" y="3163"/>
                      </a:cubicBezTo>
                      <a:cubicBezTo>
                        <a:pt x="-1074" y="6990"/>
                        <a:pt x="-656" y="12791"/>
                        <a:pt x="3172" y="16141"/>
                      </a:cubicBezTo>
                      <a:cubicBezTo>
                        <a:pt x="7000" y="19490"/>
                        <a:pt x="12801" y="19071"/>
                        <a:pt x="16091" y="15243"/>
                      </a:cubicBezTo>
                      <a:cubicBezTo>
                        <a:pt x="19380" y="11416"/>
                        <a:pt x="18961" y="5555"/>
                        <a:pt x="15134" y="2265"/>
                      </a:cubicBezTo>
                      <a:close/>
                    </a:path>
                  </a:pathLst>
                </a:custGeom>
                <a:grpFill/>
                <a:ln w="5978" cap="flat">
                  <a:noFill/>
                  <a:prstDash val="solid"/>
                  <a:miter/>
                </a:ln>
              </p:spPr>
              <p:txBody>
                <a:bodyPr rtlCol="0" anchor="ctr"/>
                <a:lstStyle/>
                <a:p>
                  <a:endParaRPr lang="en-GB"/>
                </a:p>
              </p:txBody>
            </p:sp>
          </p:grpSp>
          <p:grpSp>
            <p:nvGrpSpPr>
              <p:cNvPr id="439" name="Graphic 3">
                <a:extLst>
                  <a:ext uri="{FF2B5EF4-FFF2-40B4-BE49-F238E27FC236}">
                    <a16:creationId xmlns:a16="http://schemas.microsoft.com/office/drawing/2014/main" id="{B921F25D-7C66-4B0B-9861-3C098ACBD413}"/>
                  </a:ext>
                </a:extLst>
              </p:cNvPr>
              <p:cNvGrpSpPr/>
              <p:nvPr/>
            </p:nvGrpSpPr>
            <p:grpSpPr>
              <a:xfrm>
                <a:off x="7416570" y="4395382"/>
                <a:ext cx="70438" cy="55998"/>
                <a:chOff x="7416570" y="4395382"/>
                <a:chExt cx="70438" cy="55998"/>
              </a:xfrm>
              <a:grpFill/>
            </p:grpSpPr>
            <p:sp>
              <p:nvSpPr>
                <p:cNvPr id="4068" name="Vrije vorm: vorm 4067">
                  <a:extLst>
                    <a:ext uri="{FF2B5EF4-FFF2-40B4-BE49-F238E27FC236}">
                      <a16:creationId xmlns:a16="http://schemas.microsoft.com/office/drawing/2014/main" id="{67ABBB56-64CF-431B-892B-B71300D23741}"/>
                    </a:ext>
                  </a:extLst>
                </p:cNvPr>
                <p:cNvSpPr/>
                <p:nvPr/>
              </p:nvSpPr>
              <p:spPr>
                <a:xfrm>
                  <a:off x="7424487" y="4403047"/>
                  <a:ext cx="54604" cy="40608"/>
                </a:xfrm>
                <a:custGeom>
                  <a:avLst/>
                  <a:gdLst>
                    <a:gd name="connsiteX0" fmla="*/ 54604 w 54604"/>
                    <a:gd name="connsiteY0" fmla="*/ 38097 h 40608"/>
                    <a:gd name="connsiteX1" fmla="*/ 52870 w 54604"/>
                    <a:gd name="connsiteY1" fmla="*/ 40609 h 40608"/>
                    <a:gd name="connsiteX2" fmla="*/ 0 w 54604"/>
                    <a:gd name="connsiteY2" fmla="*/ 2512 h 40608"/>
                    <a:gd name="connsiteX3" fmla="*/ 1735 w 54604"/>
                    <a:gd name="connsiteY3" fmla="*/ 0 h 40608"/>
                  </a:gdLst>
                  <a:ahLst/>
                  <a:cxnLst>
                    <a:cxn ang="0">
                      <a:pos x="connsiteX0" y="connsiteY0"/>
                    </a:cxn>
                    <a:cxn ang="0">
                      <a:pos x="connsiteX1" y="connsiteY1"/>
                    </a:cxn>
                    <a:cxn ang="0">
                      <a:pos x="connsiteX2" y="connsiteY2"/>
                    </a:cxn>
                    <a:cxn ang="0">
                      <a:pos x="connsiteX3" y="connsiteY3"/>
                    </a:cxn>
                  </a:cxnLst>
                  <a:rect l="l" t="t" r="r" b="b"/>
                  <a:pathLst>
                    <a:path w="54604" h="40608">
                      <a:moveTo>
                        <a:pt x="54604" y="38097"/>
                      </a:moveTo>
                      <a:lnTo>
                        <a:pt x="52870" y="40609"/>
                      </a:lnTo>
                      <a:lnTo>
                        <a:pt x="0" y="2512"/>
                      </a:lnTo>
                      <a:lnTo>
                        <a:pt x="1735" y="0"/>
                      </a:lnTo>
                      <a:close/>
                    </a:path>
                  </a:pathLst>
                </a:custGeom>
                <a:grpFill/>
                <a:ln w="5978" cap="flat">
                  <a:noFill/>
                  <a:prstDash val="solid"/>
                  <a:miter/>
                </a:ln>
              </p:spPr>
              <p:txBody>
                <a:bodyPr rtlCol="0" anchor="ctr"/>
                <a:lstStyle/>
                <a:p>
                  <a:endParaRPr lang="en-GB"/>
                </a:p>
              </p:txBody>
            </p:sp>
            <p:sp>
              <p:nvSpPr>
                <p:cNvPr id="4069" name="Vrije vorm: vorm 4068">
                  <a:extLst>
                    <a:ext uri="{FF2B5EF4-FFF2-40B4-BE49-F238E27FC236}">
                      <a16:creationId xmlns:a16="http://schemas.microsoft.com/office/drawing/2014/main" id="{99F9794F-A0C7-40CA-9DDE-52946FF3E0E6}"/>
                    </a:ext>
                  </a:extLst>
                </p:cNvPr>
                <p:cNvSpPr/>
                <p:nvPr/>
              </p:nvSpPr>
              <p:spPr>
                <a:xfrm>
                  <a:off x="7468663" y="4432941"/>
                  <a:ext cx="18346" cy="18439"/>
                </a:xfrm>
                <a:custGeom>
                  <a:avLst/>
                  <a:gdLst>
                    <a:gd name="connsiteX0" fmla="*/ 14496 w 18346"/>
                    <a:gd name="connsiteY0" fmla="*/ 1744 h 18439"/>
                    <a:gd name="connsiteX1" fmla="*/ 16649 w 18346"/>
                    <a:gd name="connsiteY1" fmla="*/ 14603 h 18439"/>
                    <a:gd name="connsiteX2" fmla="*/ 3850 w 18346"/>
                    <a:gd name="connsiteY2" fmla="*/ 16696 h 18439"/>
                    <a:gd name="connsiteX3" fmla="*/ 1697 w 18346"/>
                    <a:gd name="connsiteY3" fmla="*/ 3837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8623" y="4734"/>
                        <a:pt x="19580" y="10476"/>
                        <a:pt x="16649" y="14603"/>
                      </a:cubicBezTo>
                      <a:cubicBezTo>
                        <a:pt x="13719" y="18729"/>
                        <a:pt x="7977" y="19686"/>
                        <a:pt x="3850" y="16696"/>
                      </a:cubicBezTo>
                      <a:cubicBezTo>
                        <a:pt x="-276" y="13705"/>
                        <a:pt x="-1233" y="7964"/>
                        <a:pt x="1697" y="3837"/>
                      </a:cubicBezTo>
                      <a:cubicBezTo>
                        <a:pt x="4688" y="-289"/>
                        <a:pt x="10369" y="-1247"/>
                        <a:pt x="14496" y="1744"/>
                      </a:cubicBezTo>
                      <a:close/>
                    </a:path>
                  </a:pathLst>
                </a:custGeom>
                <a:grpFill/>
                <a:ln w="5978" cap="flat">
                  <a:noFill/>
                  <a:prstDash val="solid"/>
                  <a:miter/>
                </a:ln>
              </p:spPr>
              <p:txBody>
                <a:bodyPr rtlCol="0" anchor="ctr"/>
                <a:lstStyle/>
                <a:p>
                  <a:endParaRPr lang="en-GB"/>
                </a:p>
              </p:txBody>
            </p:sp>
            <p:sp>
              <p:nvSpPr>
                <p:cNvPr id="4070" name="Vrije vorm: vorm 4069">
                  <a:extLst>
                    <a:ext uri="{FF2B5EF4-FFF2-40B4-BE49-F238E27FC236}">
                      <a16:creationId xmlns:a16="http://schemas.microsoft.com/office/drawing/2014/main" id="{B84E3F7F-001D-4C65-94A0-FA7FC2DF232D}"/>
                    </a:ext>
                  </a:extLst>
                </p:cNvPr>
                <p:cNvSpPr/>
                <p:nvPr/>
              </p:nvSpPr>
              <p:spPr>
                <a:xfrm>
                  <a:off x="7416570" y="4395382"/>
                  <a:ext cx="18330" cy="18439"/>
                </a:xfrm>
                <a:custGeom>
                  <a:avLst/>
                  <a:gdLst>
                    <a:gd name="connsiteX0" fmla="*/ 14496 w 18330"/>
                    <a:gd name="connsiteY0" fmla="*/ 1744 h 18439"/>
                    <a:gd name="connsiteX1" fmla="*/ 1698 w 18330"/>
                    <a:gd name="connsiteY1" fmla="*/ 3837 h 18439"/>
                    <a:gd name="connsiteX2" fmla="*/ 3851 w 18330"/>
                    <a:gd name="connsiteY2" fmla="*/ 16696 h 18439"/>
                    <a:gd name="connsiteX3" fmla="*/ 16649 w 18330"/>
                    <a:gd name="connsiteY3" fmla="*/ 14602 h 18439"/>
                    <a:gd name="connsiteX4" fmla="*/ 14496 w 18330"/>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39">
                      <a:moveTo>
                        <a:pt x="14496" y="1744"/>
                      </a:moveTo>
                      <a:cubicBezTo>
                        <a:pt x="10369" y="-1246"/>
                        <a:pt x="4628" y="-290"/>
                        <a:pt x="1698" y="3837"/>
                      </a:cubicBezTo>
                      <a:cubicBezTo>
                        <a:pt x="-1233" y="7964"/>
                        <a:pt x="-277" y="13705"/>
                        <a:pt x="3851" y="16696"/>
                      </a:cubicBezTo>
                      <a:cubicBezTo>
                        <a:pt x="7977" y="19686"/>
                        <a:pt x="13719" y="18729"/>
                        <a:pt x="16649" y="14602"/>
                      </a:cubicBezTo>
                      <a:cubicBezTo>
                        <a:pt x="19580" y="10476"/>
                        <a:pt x="18563" y="4674"/>
                        <a:pt x="14496" y="1744"/>
                      </a:cubicBezTo>
                      <a:close/>
                    </a:path>
                  </a:pathLst>
                </a:custGeom>
                <a:grpFill/>
                <a:ln w="5978" cap="flat">
                  <a:noFill/>
                  <a:prstDash val="solid"/>
                  <a:miter/>
                </a:ln>
              </p:spPr>
              <p:txBody>
                <a:bodyPr rtlCol="0" anchor="ctr"/>
                <a:lstStyle/>
                <a:p>
                  <a:endParaRPr lang="en-GB"/>
                </a:p>
              </p:txBody>
            </p:sp>
          </p:grpSp>
          <p:grpSp>
            <p:nvGrpSpPr>
              <p:cNvPr id="440" name="Graphic 3">
                <a:extLst>
                  <a:ext uri="{FF2B5EF4-FFF2-40B4-BE49-F238E27FC236}">
                    <a16:creationId xmlns:a16="http://schemas.microsoft.com/office/drawing/2014/main" id="{0DA122E2-3E6F-4B09-A75B-FD1320C613F4}"/>
                  </a:ext>
                </a:extLst>
              </p:cNvPr>
              <p:cNvGrpSpPr/>
              <p:nvPr/>
            </p:nvGrpSpPr>
            <p:grpSpPr>
              <a:xfrm>
                <a:off x="6433702" y="1500074"/>
                <a:ext cx="116728" cy="285507"/>
                <a:chOff x="6433702" y="1500074"/>
                <a:chExt cx="116728" cy="285507"/>
              </a:xfrm>
              <a:grpFill/>
            </p:grpSpPr>
            <p:sp>
              <p:nvSpPr>
                <p:cNvPr id="4065" name="Vrije vorm: vorm 4064">
                  <a:extLst>
                    <a:ext uri="{FF2B5EF4-FFF2-40B4-BE49-F238E27FC236}">
                      <a16:creationId xmlns:a16="http://schemas.microsoft.com/office/drawing/2014/main" id="{3CBA70E5-5728-4F52-A271-EC90162EB7C6}"/>
                    </a:ext>
                  </a:extLst>
                </p:cNvPr>
                <p:cNvSpPr/>
                <p:nvPr/>
              </p:nvSpPr>
              <p:spPr>
                <a:xfrm>
                  <a:off x="6441317" y="1508318"/>
                  <a:ext cx="101552" cy="269012"/>
                </a:xfrm>
                <a:custGeom>
                  <a:avLst/>
                  <a:gdLst>
                    <a:gd name="connsiteX0" fmla="*/ 101553 w 101552"/>
                    <a:gd name="connsiteY0" fmla="*/ 1076 h 269012"/>
                    <a:gd name="connsiteX1" fmla="*/ 2811 w 101552"/>
                    <a:gd name="connsiteY1" fmla="*/ 269013 h 269012"/>
                    <a:gd name="connsiteX2" fmla="*/ 0 w 101552"/>
                    <a:gd name="connsiteY2" fmla="*/ 267936 h 269012"/>
                    <a:gd name="connsiteX3" fmla="*/ 98682 w 101552"/>
                    <a:gd name="connsiteY3" fmla="*/ 0 h 269012"/>
                  </a:gdLst>
                  <a:ahLst/>
                  <a:cxnLst>
                    <a:cxn ang="0">
                      <a:pos x="connsiteX0" y="connsiteY0"/>
                    </a:cxn>
                    <a:cxn ang="0">
                      <a:pos x="connsiteX1" y="connsiteY1"/>
                    </a:cxn>
                    <a:cxn ang="0">
                      <a:pos x="connsiteX2" y="connsiteY2"/>
                    </a:cxn>
                    <a:cxn ang="0">
                      <a:pos x="connsiteX3" y="connsiteY3"/>
                    </a:cxn>
                  </a:cxnLst>
                  <a:rect l="l" t="t" r="r" b="b"/>
                  <a:pathLst>
                    <a:path w="101552" h="269012">
                      <a:moveTo>
                        <a:pt x="101553" y="1076"/>
                      </a:moveTo>
                      <a:lnTo>
                        <a:pt x="2811" y="269013"/>
                      </a:lnTo>
                      <a:lnTo>
                        <a:pt x="0" y="267936"/>
                      </a:lnTo>
                      <a:lnTo>
                        <a:pt x="98682" y="0"/>
                      </a:lnTo>
                      <a:close/>
                    </a:path>
                  </a:pathLst>
                </a:custGeom>
                <a:grpFill/>
                <a:ln w="5978" cap="flat">
                  <a:noFill/>
                  <a:prstDash val="solid"/>
                  <a:miter/>
                </a:ln>
              </p:spPr>
              <p:txBody>
                <a:bodyPr rtlCol="0" anchor="ctr"/>
                <a:lstStyle/>
                <a:p>
                  <a:endParaRPr lang="en-GB"/>
                </a:p>
              </p:txBody>
            </p:sp>
            <p:sp>
              <p:nvSpPr>
                <p:cNvPr id="4066" name="Vrije vorm: vorm 4065">
                  <a:extLst>
                    <a:ext uri="{FF2B5EF4-FFF2-40B4-BE49-F238E27FC236}">
                      <a16:creationId xmlns:a16="http://schemas.microsoft.com/office/drawing/2014/main" id="{9224BF67-4CE2-4D21-B94F-D45E7F7E04CF}"/>
                    </a:ext>
                  </a:extLst>
                </p:cNvPr>
                <p:cNvSpPr/>
                <p:nvPr/>
              </p:nvSpPr>
              <p:spPr>
                <a:xfrm>
                  <a:off x="6433702" y="1767166"/>
                  <a:ext cx="18345" cy="18415"/>
                </a:xfrm>
                <a:custGeom>
                  <a:avLst/>
                  <a:gdLst>
                    <a:gd name="connsiteX0" fmla="*/ 17782 w 18345"/>
                    <a:gd name="connsiteY0" fmla="*/ 12438 h 18415"/>
                    <a:gd name="connsiteX1" fmla="*/ 6000 w 18345"/>
                    <a:gd name="connsiteY1" fmla="*/ 17820 h 18415"/>
                    <a:gd name="connsiteX2" fmla="*/ 557 w 18345"/>
                    <a:gd name="connsiteY2" fmla="*/ 5978 h 18415"/>
                    <a:gd name="connsiteX3" fmla="*/ 12339 w 18345"/>
                    <a:gd name="connsiteY3" fmla="*/ 596 h 18415"/>
                    <a:gd name="connsiteX4" fmla="*/ 17782 w 18345"/>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15">
                      <a:moveTo>
                        <a:pt x="17782" y="12438"/>
                      </a:moveTo>
                      <a:cubicBezTo>
                        <a:pt x="16047" y="17222"/>
                        <a:pt x="10784" y="19614"/>
                        <a:pt x="6000" y="17820"/>
                      </a:cubicBezTo>
                      <a:cubicBezTo>
                        <a:pt x="1275" y="16026"/>
                        <a:pt x="-1177" y="10703"/>
                        <a:pt x="557" y="5978"/>
                      </a:cubicBezTo>
                      <a:cubicBezTo>
                        <a:pt x="2291" y="1194"/>
                        <a:pt x="7555" y="-1198"/>
                        <a:pt x="12339" y="596"/>
                      </a:cubicBezTo>
                      <a:cubicBezTo>
                        <a:pt x="17124" y="2390"/>
                        <a:pt x="19516" y="7713"/>
                        <a:pt x="17782" y="12438"/>
                      </a:cubicBezTo>
                      <a:close/>
                    </a:path>
                  </a:pathLst>
                </a:custGeom>
                <a:grpFill/>
                <a:ln w="5978" cap="flat">
                  <a:noFill/>
                  <a:prstDash val="solid"/>
                  <a:miter/>
                </a:ln>
              </p:spPr>
              <p:txBody>
                <a:bodyPr rtlCol="0" anchor="ctr"/>
                <a:lstStyle/>
                <a:p>
                  <a:endParaRPr lang="en-GB"/>
                </a:p>
              </p:txBody>
            </p:sp>
            <p:sp>
              <p:nvSpPr>
                <p:cNvPr id="4067" name="Vrije vorm: vorm 4066">
                  <a:extLst>
                    <a:ext uri="{FF2B5EF4-FFF2-40B4-BE49-F238E27FC236}">
                      <a16:creationId xmlns:a16="http://schemas.microsoft.com/office/drawing/2014/main" id="{E35ED370-480F-4891-872F-DDC694AC6051}"/>
                    </a:ext>
                  </a:extLst>
                </p:cNvPr>
                <p:cNvSpPr/>
                <p:nvPr/>
              </p:nvSpPr>
              <p:spPr>
                <a:xfrm>
                  <a:off x="6532078" y="1500074"/>
                  <a:ext cx="18352" cy="18408"/>
                </a:xfrm>
                <a:custGeom>
                  <a:avLst/>
                  <a:gdLst>
                    <a:gd name="connsiteX0" fmla="*/ 17789 w 18352"/>
                    <a:gd name="connsiteY0" fmla="*/ 12431 h 18408"/>
                    <a:gd name="connsiteX1" fmla="*/ 12346 w 18352"/>
                    <a:gd name="connsiteY1" fmla="*/ 589 h 18408"/>
                    <a:gd name="connsiteX2" fmla="*/ 564 w 18352"/>
                    <a:gd name="connsiteY2" fmla="*/ 5971 h 18408"/>
                    <a:gd name="connsiteX3" fmla="*/ 6006 w 18352"/>
                    <a:gd name="connsiteY3" fmla="*/ 17813 h 18408"/>
                    <a:gd name="connsiteX4" fmla="*/ 17789 w 18352"/>
                    <a:gd name="connsiteY4" fmla="*/ 1243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8">
                      <a:moveTo>
                        <a:pt x="17789" y="12431"/>
                      </a:moveTo>
                      <a:cubicBezTo>
                        <a:pt x="19523" y="7646"/>
                        <a:pt x="17130" y="2383"/>
                        <a:pt x="12346" y="589"/>
                      </a:cubicBezTo>
                      <a:cubicBezTo>
                        <a:pt x="7621" y="-1206"/>
                        <a:pt x="2298" y="1247"/>
                        <a:pt x="564" y="5971"/>
                      </a:cubicBezTo>
                      <a:cubicBezTo>
                        <a:pt x="-1171" y="10756"/>
                        <a:pt x="1222" y="16019"/>
                        <a:pt x="6006" y="17813"/>
                      </a:cubicBezTo>
                      <a:cubicBezTo>
                        <a:pt x="10791" y="19607"/>
                        <a:pt x="16054" y="17215"/>
                        <a:pt x="17789" y="12431"/>
                      </a:cubicBezTo>
                      <a:close/>
                    </a:path>
                  </a:pathLst>
                </a:custGeom>
                <a:grpFill/>
                <a:ln w="5978" cap="flat">
                  <a:noFill/>
                  <a:prstDash val="solid"/>
                  <a:miter/>
                </a:ln>
              </p:spPr>
              <p:txBody>
                <a:bodyPr rtlCol="0" anchor="ctr"/>
                <a:lstStyle/>
                <a:p>
                  <a:endParaRPr lang="en-GB"/>
                </a:p>
              </p:txBody>
            </p:sp>
          </p:grpSp>
          <p:grpSp>
            <p:nvGrpSpPr>
              <p:cNvPr id="441" name="Graphic 3">
                <a:extLst>
                  <a:ext uri="{FF2B5EF4-FFF2-40B4-BE49-F238E27FC236}">
                    <a16:creationId xmlns:a16="http://schemas.microsoft.com/office/drawing/2014/main" id="{C738F927-A880-48B5-817E-6D8B6B338719}"/>
                  </a:ext>
                </a:extLst>
              </p:cNvPr>
              <p:cNvGrpSpPr/>
              <p:nvPr/>
            </p:nvGrpSpPr>
            <p:grpSpPr>
              <a:xfrm>
                <a:off x="6443559" y="1484882"/>
                <a:ext cx="36247" cy="101637"/>
                <a:chOff x="6443559" y="1484882"/>
                <a:chExt cx="36247" cy="101637"/>
              </a:xfrm>
              <a:grpFill/>
            </p:grpSpPr>
            <p:sp>
              <p:nvSpPr>
                <p:cNvPr id="4062" name="Vrije vorm: vorm 4061">
                  <a:extLst>
                    <a:ext uri="{FF2B5EF4-FFF2-40B4-BE49-F238E27FC236}">
                      <a16:creationId xmlns:a16="http://schemas.microsoft.com/office/drawing/2014/main" id="{80E129A3-5E1A-40FA-BA46-B0E43ED42A3B}"/>
                    </a:ext>
                  </a:extLst>
                </p:cNvPr>
                <p:cNvSpPr/>
                <p:nvPr/>
              </p:nvSpPr>
              <p:spPr>
                <a:xfrm>
                  <a:off x="6451125" y="1493307"/>
                  <a:ext cx="21111" cy="84746"/>
                </a:xfrm>
                <a:custGeom>
                  <a:avLst/>
                  <a:gdLst>
                    <a:gd name="connsiteX0" fmla="*/ 21112 w 21111"/>
                    <a:gd name="connsiteY0" fmla="*/ 658 h 84746"/>
                    <a:gd name="connsiteX1" fmla="*/ 2990 w 21111"/>
                    <a:gd name="connsiteY1" fmla="*/ 84747 h 84746"/>
                    <a:gd name="connsiteX2" fmla="*/ 0 w 21111"/>
                    <a:gd name="connsiteY2" fmla="*/ 84089 h 84746"/>
                    <a:gd name="connsiteX3" fmla="*/ 18181 w 21111"/>
                    <a:gd name="connsiteY3" fmla="*/ 0 h 84746"/>
                  </a:gdLst>
                  <a:ahLst/>
                  <a:cxnLst>
                    <a:cxn ang="0">
                      <a:pos x="connsiteX0" y="connsiteY0"/>
                    </a:cxn>
                    <a:cxn ang="0">
                      <a:pos x="connsiteX1" y="connsiteY1"/>
                    </a:cxn>
                    <a:cxn ang="0">
                      <a:pos x="connsiteX2" y="connsiteY2"/>
                    </a:cxn>
                    <a:cxn ang="0">
                      <a:pos x="connsiteX3" y="connsiteY3"/>
                    </a:cxn>
                  </a:cxnLst>
                  <a:rect l="l" t="t" r="r" b="b"/>
                  <a:pathLst>
                    <a:path w="21111" h="84746">
                      <a:moveTo>
                        <a:pt x="21112" y="658"/>
                      </a:moveTo>
                      <a:lnTo>
                        <a:pt x="2990" y="84747"/>
                      </a:lnTo>
                      <a:lnTo>
                        <a:pt x="0" y="84089"/>
                      </a:lnTo>
                      <a:lnTo>
                        <a:pt x="18181" y="0"/>
                      </a:lnTo>
                      <a:close/>
                    </a:path>
                  </a:pathLst>
                </a:custGeom>
                <a:grpFill/>
                <a:ln w="5978" cap="flat">
                  <a:noFill/>
                  <a:prstDash val="solid"/>
                  <a:miter/>
                </a:ln>
              </p:spPr>
              <p:txBody>
                <a:bodyPr rtlCol="0" anchor="ctr"/>
                <a:lstStyle/>
                <a:p>
                  <a:endParaRPr lang="en-GB"/>
                </a:p>
              </p:txBody>
            </p:sp>
            <p:sp>
              <p:nvSpPr>
                <p:cNvPr id="4063" name="Vrije vorm: vorm 4062">
                  <a:extLst>
                    <a:ext uri="{FF2B5EF4-FFF2-40B4-BE49-F238E27FC236}">
                      <a16:creationId xmlns:a16="http://schemas.microsoft.com/office/drawing/2014/main" id="{DB442AB3-DFAF-4704-A1E5-B5E529AE76B2}"/>
                    </a:ext>
                  </a:extLst>
                </p:cNvPr>
                <p:cNvSpPr/>
                <p:nvPr/>
              </p:nvSpPr>
              <p:spPr>
                <a:xfrm>
                  <a:off x="6461501" y="1484882"/>
                  <a:ext cx="18305" cy="18463"/>
                </a:xfrm>
                <a:custGeom>
                  <a:avLst/>
                  <a:gdLst>
                    <a:gd name="connsiteX0" fmla="*/ 210 w 18305"/>
                    <a:gd name="connsiteY0" fmla="*/ 7228 h 18463"/>
                    <a:gd name="connsiteX1" fmla="*/ 11095 w 18305"/>
                    <a:gd name="connsiteY1" fmla="*/ 231 h 18463"/>
                    <a:gd name="connsiteX2" fmla="*/ 18093 w 18305"/>
                    <a:gd name="connsiteY2" fmla="*/ 11236 h 18463"/>
                    <a:gd name="connsiteX3" fmla="*/ 7208 w 18305"/>
                    <a:gd name="connsiteY3" fmla="*/ 18233 h 18463"/>
                    <a:gd name="connsiteX4" fmla="*/ 210 w 18305"/>
                    <a:gd name="connsiteY4" fmla="*/ 7228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63">
                      <a:moveTo>
                        <a:pt x="210" y="7228"/>
                      </a:moveTo>
                      <a:cubicBezTo>
                        <a:pt x="1287" y="2264"/>
                        <a:pt x="6191" y="-905"/>
                        <a:pt x="11095" y="231"/>
                      </a:cubicBezTo>
                      <a:cubicBezTo>
                        <a:pt x="16059" y="1308"/>
                        <a:pt x="19169" y="6272"/>
                        <a:pt x="18093" y="11236"/>
                      </a:cubicBezTo>
                      <a:cubicBezTo>
                        <a:pt x="17016" y="16200"/>
                        <a:pt x="12112" y="19369"/>
                        <a:pt x="7208" y="18233"/>
                      </a:cubicBezTo>
                      <a:cubicBezTo>
                        <a:pt x="2304" y="17097"/>
                        <a:pt x="-866" y="12192"/>
                        <a:pt x="210" y="7228"/>
                      </a:cubicBezTo>
                      <a:close/>
                    </a:path>
                  </a:pathLst>
                </a:custGeom>
                <a:grpFill/>
                <a:ln w="5978" cap="flat">
                  <a:noFill/>
                  <a:prstDash val="solid"/>
                  <a:miter/>
                </a:ln>
              </p:spPr>
              <p:txBody>
                <a:bodyPr rtlCol="0" anchor="ctr"/>
                <a:lstStyle/>
                <a:p>
                  <a:endParaRPr lang="en-GB"/>
                </a:p>
              </p:txBody>
            </p:sp>
            <p:sp>
              <p:nvSpPr>
                <p:cNvPr id="4064" name="Vrije vorm: vorm 4063">
                  <a:extLst>
                    <a:ext uri="{FF2B5EF4-FFF2-40B4-BE49-F238E27FC236}">
                      <a16:creationId xmlns:a16="http://schemas.microsoft.com/office/drawing/2014/main" id="{3E8BB913-2233-45DF-AAD5-F63098CF70E1}"/>
                    </a:ext>
                  </a:extLst>
                </p:cNvPr>
                <p:cNvSpPr/>
                <p:nvPr/>
              </p:nvSpPr>
              <p:spPr>
                <a:xfrm>
                  <a:off x="6443559" y="1568074"/>
                  <a:ext cx="18302" cy="18445"/>
                </a:xfrm>
                <a:custGeom>
                  <a:avLst/>
                  <a:gdLst>
                    <a:gd name="connsiteX0" fmla="*/ 210 w 18302"/>
                    <a:gd name="connsiteY0" fmla="*/ 7228 h 18445"/>
                    <a:gd name="connsiteX1" fmla="*/ 7208 w 18302"/>
                    <a:gd name="connsiteY1" fmla="*/ 18233 h 18445"/>
                    <a:gd name="connsiteX2" fmla="*/ 18093 w 18302"/>
                    <a:gd name="connsiteY2" fmla="*/ 11236 h 18445"/>
                    <a:gd name="connsiteX3" fmla="*/ 11095 w 18302"/>
                    <a:gd name="connsiteY3" fmla="*/ 231 h 18445"/>
                    <a:gd name="connsiteX4" fmla="*/ 210 w 18302"/>
                    <a:gd name="connsiteY4" fmla="*/ 72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45">
                      <a:moveTo>
                        <a:pt x="210" y="7228"/>
                      </a:moveTo>
                      <a:cubicBezTo>
                        <a:pt x="-866" y="12192"/>
                        <a:pt x="2304" y="17097"/>
                        <a:pt x="7208" y="18233"/>
                      </a:cubicBezTo>
                      <a:cubicBezTo>
                        <a:pt x="12172" y="19310"/>
                        <a:pt x="17016" y="16200"/>
                        <a:pt x="18093" y="11236"/>
                      </a:cubicBezTo>
                      <a:cubicBezTo>
                        <a:pt x="19169" y="6272"/>
                        <a:pt x="15999" y="1367"/>
                        <a:pt x="11095" y="231"/>
                      </a:cubicBezTo>
                      <a:cubicBezTo>
                        <a:pt x="6131" y="-905"/>
                        <a:pt x="1287" y="2264"/>
                        <a:pt x="210" y="7228"/>
                      </a:cubicBezTo>
                      <a:close/>
                    </a:path>
                  </a:pathLst>
                </a:custGeom>
                <a:grpFill/>
                <a:ln w="5978" cap="flat">
                  <a:noFill/>
                  <a:prstDash val="solid"/>
                  <a:miter/>
                </a:ln>
              </p:spPr>
              <p:txBody>
                <a:bodyPr rtlCol="0" anchor="ctr"/>
                <a:lstStyle/>
                <a:p>
                  <a:endParaRPr lang="en-GB"/>
                </a:p>
              </p:txBody>
            </p:sp>
          </p:grpSp>
          <p:grpSp>
            <p:nvGrpSpPr>
              <p:cNvPr id="442" name="Graphic 3">
                <a:extLst>
                  <a:ext uri="{FF2B5EF4-FFF2-40B4-BE49-F238E27FC236}">
                    <a16:creationId xmlns:a16="http://schemas.microsoft.com/office/drawing/2014/main" id="{A3ED96AB-30D8-4867-82AD-8BBAD26A1D24}"/>
                  </a:ext>
                </a:extLst>
              </p:cNvPr>
              <p:cNvGrpSpPr/>
              <p:nvPr/>
            </p:nvGrpSpPr>
            <p:grpSpPr>
              <a:xfrm>
                <a:off x="6498627" y="1663054"/>
                <a:ext cx="45941" cy="118688"/>
                <a:chOff x="6498627" y="1663054"/>
                <a:chExt cx="45941" cy="118688"/>
              </a:xfrm>
              <a:grpFill/>
            </p:grpSpPr>
            <p:sp>
              <p:nvSpPr>
                <p:cNvPr id="4059" name="Vrije vorm: vorm 4058">
                  <a:extLst>
                    <a:ext uri="{FF2B5EF4-FFF2-40B4-BE49-F238E27FC236}">
                      <a16:creationId xmlns:a16="http://schemas.microsoft.com/office/drawing/2014/main" id="{BE1C3DE6-99A5-4E6A-A069-D2B7899A7202}"/>
                    </a:ext>
                  </a:extLst>
                </p:cNvPr>
                <p:cNvSpPr/>
                <p:nvPr/>
              </p:nvSpPr>
              <p:spPr>
                <a:xfrm>
                  <a:off x="6506208" y="1671472"/>
                  <a:ext cx="30741" cy="101911"/>
                </a:xfrm>
                <a:custGeom>
                  <a:avLst/>
                  <a:gdLst>
                    <a:gd name="connsiteX0" fmla="*/ 30741 w 30741"/>
                    <a:gd name="connsiteY0" fmla="*/ 778 h 101911"/>
                    <a:gd name="connsiteX1" fmla="*/ 2931 w 30741"/>
                    <a:gd name="connsiteY1" fmla="*/ 101911 h 101911"/>
                    <a:gd name="connsiteX2" fmla="*/ 0 w 30741"/>
                    <a:gd name="connsiteY2" fmla="*/ 101134 h 101911"/>
                    <a:gd name="connsiteX3" fmla="*/ 27811 w 30741"/>
                    <a:gd name="connsiteY3" fmla="*/ 0 h 101911"/>
                  </a:gdLst>
                  <a:ahLst/>
                  <a:cxnLst>
                    <a:cxn ang="0">
                      <a:pos x="connsiteX0" y="connsiteY0"/>
                    </a:cxn>
                    <a:cxn ang="0">
                      <a:pos x="connsiteX1" y="connsiteY1"/>
                    </a:cxn>
                    <a:cxn ang="0">
                      <a:pos x="connsiteX2" y="connsiteY2"/>
                    </a:cxn>
                    <a:cxn ang="0">
                      <a:pos x="connsiteX3" y="connsiteY3"/>
                    </a:cxn>
                  </a:cxnLst>
                  <a:rect l="l" t="t" r="r" b="b"/>
                  <a:pathLst>
                    <a:path w="30741" h="101911">
                      <a:moveTo>
                        <a:pt x="30741" y="778"/>
                      </a:moveTo>
                      <a:lnTo>
                        <a:pt x="2931" y="101911"/>
                      </a:lnTo>
                      <a:lnTo>
                        <a:pt x="0" y="101134"/>
                      </a:lnTo>
                      <a:lnTo>
                        <a:pt x="27811" y="0"/>
                      </a:lnTo>
                      <a:close/>
                    </a:path>
                  </a:pathLst>
                </a:custGeom>
                <a:grpFill/>
                <a:ln w="5978" cap="flat">
                  <a:noFill/>
                  <a:prstDash val="solid"/>
                  <a:miter/>
                </a:ln>
              </p:spPr>
              <p:txBody>
                <a:bodyPr rtlCol="0" anchor="ctr"/>
                <a:lstStyle/>
                <a:p>
                  <a:endParaRPr lang="en-GB"/>
                </a:p>
              </p:txBody>
            </p:sp>
            <p:sp>
              <p:nvSpPr>
                <p:cNvPr id="4060" name="Vrije vorm: vorm 4059">
                  <a:extLst>
                    <a:ext uri="{FF2B5EF4-FFF2-40B4-BE49-F238E27FC236}">
                      <a16:creationId xmlns:a16="http://schemas.microsoft.com/office/drawing/2014/main" id="{F8A2ABB1-F603-400A-8F04-B5F1D9086A61}"/>
                    </a:ext>
                  </a:extLst>
                </p:cNvPr>
                <p:cNvSpPr/>
                <p:nvPr/>
              </p:nvSpPr>
              <p:spPr>
                <a:xfrm>
                  <a:off x="6526219" y="1663054"/>
                  <a:ext cx="18349" cy="18451"/>
                </a:xfrm>
                <a:custGeom>
                  <a:avLst/>
                  <a:gdLst>
                    <a:gd name="connsiteX0" fmla="*/ 323 w 18349"/>
                    <a:gd name="connsiteY0" fmla="*/ 6744 h 18451"/>
                    <a:gd name="connsiteX1" fmla="*/ 11627 w 18349"/>
                    <a:gd name="connsiteY1" fmla="*/ 344 h 18451"/>
                    <a:gd name="connsiteX2" fmla="*/ 18026 w 18349"/>
                    <a:gd name="connsiteY2" fmla="*/ 11708 h 18451"/>
                    <a:gd name="connsiteX3" fmla="*/ 6723 w 18349"/>
                    <a:gd name="connsiteY3" fmla="*/ 18107 h 18451"/>
                    <a:gd name="connsiteX4" fmla="*/ 323 w 18349"/>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1">
                      <a:moveTo>
                        <a:pt x="323" y="6744"/>
                      </a:moveTo>
                      <a:cubicBezTo>
                        <a:pt x="1699" y="1839"/>
                        <a:pt x="6723" y="-1031"/>
                        <a:pt x="11627" y="344"/>
                      </a:cubicBezTo>
                      <a:cubicBezTo>
                        <a:pt x="16531" y="1720"/>
                        <a:pt x="19342" y="6803"/>
                        <a:pt x="18026" y="11708"/>
                      </a:cubicBezTo>
                      <a:cubicBezTo>
                        <a:pt x="16651" y="16612"/>
                        <a:pt x="11627" y="19483"/>
                        <a:pt x="6723" y="18107"/>
                      </a:cubicBezTo>
                      <a:cubicBezTo>
                        <a:pt x="1819" y="16731"/>
                        <a:pt x="-992" y="11648"/>
                        <a:pt x="323" y="6744"/>
                      </a:cubicBezTo>
                      <a:close/>
                    </a:path>
                  </a:pathLst>
                </a:custGeom>
                <a:grpFill/>
                <a:ln w="5978" cap="flat">
                  <a:noFill/>
                  <a:prstDash val="solid"/>
                  <a:miter/>
                </a:ln>
              </p:spPr>
              <p:txBody>
                <a:bodyPr rtlCol="0" anchor="ctr"/>
                <a:lstStyle/>
                <a:p>
                  <a:endParaRPr lang="en-GB"/>
                </a:p>
              </p:txBody>
            </p:sp>
            <p:sp>
              <p:nvSpPr>
                <p:cNvPr id="4061" name="Vrije vorm: vorm 4060">
                  <a:extLst>
                    <a:ext uri="{FF2B5EF4-FFF2-40B4-BE49-F238E27FC236}">
                      <a16:creationId xmlns:a16="http://schemas.microsoft.com/office/drawing/2014/main" id="{0772D8F9-419A-4A9F-9142-CCBCDE34F5B1}"/>
                    </a:ext>
                  </a:extLst>
                </p:cNvPr>
                <p:cNvSpPr/>
                <p:nvPr/>
              </p:nvSpPr>
              <p:spPr>
                <a:xfrm>
                  <a:off x="6498627" y="1763312"/>
                  <a:ext cx="18391" cy="18430"/>
                </a:xfrm>
                <a:custGeom>
                  <a:avLst/>
                  <a:gdLst>
                    <a:gd name="connsiteX0" fmla="*/ 344 w 18391"/>
                    <a:gd name="connsiteY0" fmla="*/ 6723 h 18430"/>
                    <a:gd name="connsiteX1" fmla="*/ 6744 w 18391"/>
                    <a:gd name="connsiteY1" fmla="*/ 18086 h 18430"/>
                    <a:gd name="connsiteX2" fmla="*/ 18047 w 18391"/>
                    <a:gd name="connsiteY2" fmla="*/ 11687 h 18430"/>
                    <a:gd name="connsiteX3" fmla="*/ 11648 w 18391"/>
                    <a:gd name="connsiteY3" fmla="*/ 323 h 18430"/>
                    <a:gd name="connsiteX4" fmla="*/ 344 w 18391"/>
                    <a:gd name="connsiteY4" fmla="*/ 672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30">
                      <a:moveTo>
                        <a:pt x="344" y="6723"/>
                      </a:moveTo>
                      <a:cubicBezTo>
                        <a:pt x="-1031" y="11627"/>
                        <a:pt x="1840" y="16711"/>
                        <a:pt x="6744" y="18086"/>
                      </a:cubicBezTo>
                      <a:cubicBezTo>
                        <a:pt x="11648" y="19462"/>
                        <a:pt x="16672" y="16591"/>
                        <a:pt x="18047" y="11687"/>
                      </a:cubicBezTo>
                      <a:cubicBezTo>
                        <a:pt x="19423" y="6783"/>
                        <a:pt x="16552" y="1699"/>
                        <a:pt x="11648" y="323"/>
                      </a:cubicBezTo>
                      <a:cubicBezTo>
                        <a:pt x="6744" y="-992"/>
                        <a:pt x="1660" y="1819"/>
                        <a:pt x="344" y="6723"/>
                      </a:cubicBezTo>
                      <a:close/>
                    </a:path>
                  </a:pathLst>
                </a:custGeom>
                <a:grpFill/>
                <a:ln w="5978" cap="flat">
                  <a:noFill/>
                  <a:prstDash val="solid"/>
                  <a:miter/>
                </a:ln>
              </p:spPr>
              <p:txBody>
                <a:bodyPr rtlCol="0" anchor="ctr"/>
                <a:lstStyle/>
                <a:p>
                  <a:endParaRPr lang="en-GB"/>
                </a:p>
              </p:txBody>
            </p:sp>
          </p:grpSp>
          <p:grpSp>
            <p:nvGrpSpPr>
              <p:cNvPr id="443" name="Graphic 3">
                <a:extLst>
                  <a:ext uri="{FF2B5EF4-FFF2-40B4-BE49-F238E27FC236}">
                    <a16:creationId xmlns:a16="http://schemas.microsoft.com/office/drawing/2014/main" id="{6B7814D6-920A-448C-B143-5230DDBF1BF2}"/>
                  </a:ext>
                </a:extLst>
              </p:cNvPr>
              <p:cNvGrpSpPr/>
              <p:nvPr/>
            </p:nvGrpSpPr>
            <p:grpSpPr>
              <a:xfrm>
                <a:off x="7499898" y="4774595"/>
                <a:ext cx="173909" cy="164658"/>
                <a:chOff x="7499898" y="4774595"/>
                <a:chExt cx="173909" cy="164658"/>
              </a:xfrm>
              <a:grpFill/>
            </p:grpSpPr>
            <p:sp>
              <p:nvSpPr>
                <p:cNvPr id="4056" name="Vrije vorm: vorm 4055">
                  <a:extLst>
                    <a:ext uri="{FF2B5EF4-FFF2-40B4-BE49-F238E27FC236}">
                      <a16:creationId xmlns:a16="http://schemas.microsoft.com/office/drawing/2014/main" id="{87A705C4-2997-4CC8-854A-198C15BFC265}"/>
                    </a:ext>
                  </a:extLst>
                </p:cNvPr>
                <p:cNvSpPr/>
                <p:nvPr/>
              </p:nvSpPr>
              <p:spPr>
                <a:xfrm>
                  <a:off x="7507680" y="4782344"/>
                  <a:ext cx="158369" cy="149159"/>
                </a:xfrm>
                <a:custGeom>
                  <a:avLst/>
                  <a:gdLst>
                    <a:gd name="connsiteX0" fmla="*/ 158369 w 158369"/>
                    <a:gd name="connsiteY0" fmla="*/ 146887 h 149159"/>
                    <a:gd name="connsiteX1" fmla="*/ 156276 w 158369"/>
                    <a:gd name="connsiteY1" fmla="*/ 149159 h 149159"/>
                    <a:gd name="connsiteX2" fmla="*/ 0 w 158369"/>
                    <a:gd name="connsiteY2" fmla="*/ 2273 h 149159"/>
                    <a:gd name="connsiteX3" fmla="*/ 2093 w 158369"/>
                    <a:gd name="connsiteY3" fmla="*/ 0 h 149159"/>
                  </a:gdLst>
                  <a:ahLst/>
                  <a:cxnLst>
                    <a:cxn ang="0">
                      <a:pos x="connsiteX0" y="connsiteY0"/>
                    </a:cxn>
                    <a:cxn ang="0">
                      <a:pos x="connsiteX1" y="connsiteY1"/>
                    </a:cxn>
                    <a:cxn ang="0">
                      <a:pos x="connsiteX2" y="connsiteY2"/>
                    </a:cxn>
                    <a:cxn ang="0">
                      <a:pos x="connsiteX3" y="connsiteY3"/>
                    </a:cxn>
                  </a:cxnLst>
                  <a:rect l="l" t="t" r="r" b="b"/>
                  <a:pathLst>
                    <a:path w="158369" h="149159">
                      <a:moveTo>
                        <a:pt x="158369" y="146887"/>
                      </a:moveTo>
                      <a:lnTo>
                        <a:pt x="156276" y="149159"/>
                      </a:lnTo>
                      <a:lnTo>
                        <a:pt x="0" y="2273"/>
                      </a:lnTo>
                      <a:lnTo>
                        <a:pt x="2093" y="0"/>
                      </a:lnTo>
                      <a:close/>
                    </a:path>
                  </a:pathLst>
                </a:custGeom>
                <a:grpFill/>
                <a:ln w="5978" cap="flat">
                  <a:noFill/>
                  <a:prstDash val="solid"/>
                  <a:miter/>
                </a:ln>
              </p:spPr>
              <p:txBody>
                <a:bodyPr rtlCol="0" anchor="ctr"/>
                <a:lstStyle/>
                <a:p>
                  <a:endParaRPr lang="en-GB"/>
                </a:p>
              </p:txBody>
            </p:sp>
            <p:sp>
              <p:nvSpPr>
                <p:cNvPr id="4057" name="Vrije vorm: vorm 4056">
                  <a:extLst>
                    <a:ext uri="{FF2B5EF4-FFF2-40B4-BE49-F238E27FC236}">
                      <a16:creationId xmlns:a16="http://schemas.microsoft.com/office/drawing/2014/main" id="{BC66B2EF-5A49-4095-95CE-C1AFB743E98A}"/>
                    </a:ext>
                  </a:extLst>
                </p:cNvPr>
                <p:cNvSpPr/>
                <p:nvPr/>
              </p:nvSpPr>
              <p:spPr>
                <a:xfrm>
                  <a:off x="7655480" y="4920823"/>
                  <a:ext cx="18327" cy="18429"/>
                </a:xfrm>
                <a:custGeom>
                  <a:avLst/>
                  <a:gdLst>
                    <a:gd name="connsiteX0" fmla="*/ 15414 w 18327"/>
                    <a:gd name="connsiteY0" fmla="*/ 2487 h 18429"/>
                    <a:gd name="connsiteX1" fmla="*/ 15892 w 18327"/>
                    <a:gd name="connsiteY1" fmla="*/ 15525 h 18429"/>
                    <a:gd name="connsiteX2" fmla="*/ 2914 w 18327"/>
                    <a:gd name="connsiteY2" fmla="*/ 15943 h 18429"/>
                    <a:gd name="connsiteX3" fmla="*/ 2435 w 18327"/>
                    <a:gd name="connsiteY3" fmla="*/ 2905 h 18429"/>
                    <a:gd name="connsiteX4" fmla="*/ 15414 w 18327"/>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5414" y="2487"/>
                      </a:moveTo>
                      <a:cubicBezTo>
                        <a:pt x="19122" y="5956"/>
                        <a:pt x="19301" y="11817"/>
                        <a:pt x="15892" y="15525"/>
                      </a:cubicBezTo>
                      <a:cubicBezTo>
                        <a:pt x="12423" y="19233"/>
                        <a:pt x="6622" y="19412"/>
                        <a:pt x="2914" y="15943"/>
                      </a:cubicBezTo>
                      <a:cubicBezTo>
                        <a:pt x="-795" y="12474"/>
                        <a:pt x="-973" y="6613"/>
                        <a:pt x="2435" y="2905"/>
                      </a:cubicBezTo>
                      <a:cubicBezTo>
                        <a:pt x="5905" y="-803"/>
                        <a:pt x="11706" y="-982"/>
                        <a:pt x="15414" y="2487"/>
                      </a:cubicBezTo>
                      <a:close/>
                    </a:path>
                  </a:pathLst>
                </a:custGeom>
                <a:grpFill/>
                <a:ln w="5978" cap="flat">
                  <a:noFill/>
                  <a:prstDash val="solid"/>
                  <a:miter/>
                </a:ln>
              </p:spPr>
              <p:txBody>
                <a:bodyPr rtlCol="0" anchor="ctr"/>
                <a:lstStyle/>
                <a:p>
                  <a:endParaRPr lang="en-GB"/>
                </a:p>
              </p:txBody>
            </p:sp>
            <p:sp>
              <p:nvSpPr>
                <p:cNvPr id="4058" name="Vrije vorm: vorm 4057">
                  <a:extLst>
                    <a:ext uri="{FF2B5EF4-FFF2-40B4-BE49-F238E27FC236}">
                      <a16:creationId xmlns:a16="http://schemas.microsoft.com/office/drawing/2014/main" id="{9752FF2A-4ED4-4CEA-BE64-8875A315BB6C}"/>
                    </a:ext>
                  </a:extLst>
                </p:cNvPr>
                <p:cNvSpPr/>
                <p:nvPr/>
              </p:nvSpPr>
              <p:spPr>
                <a:xfrm>
                  <a:off x="7499898" y="4774595"/>
                  <a:ext cx="18350" cy="18430"/>
                </a:xfrm>
                <a:custGeom>
                  <a:avLst/>
                  <a:gdLst>
                    <a:gd name="connsiteX0" fmla="*/ 15437 w 18350"/>
                    <a:gd name="connsiteY0" fmla="*/ 2487 h 18430"/>
                    <a:gd name="connsiteX1" fmla="*/ 2458 w 18350"/>
                    <a:gd name="connsiteY1" fmla="*/ 2905 h 18430"/>
                    <a:gd name="connsiteX2" fmla="*/ 2937 w 18350"/>
                    <a:gd name="connsiteY2" fmla="*/ 15943 h 18430"/>
                    <a:gd name="connsiteX3" fmla="*/ 15915 w 18350"/>
                    <a:gd name="connsiteY3" fmla="*/ 15525 h 18430"/>
                    <a:gd name="connsiteX4" fmla="*/ 15437 w 18350"/>
                    <a:gd name="connsiteY4" fmla="*/ 24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0">
                      <a:moveTo>
                        <a:pt x="15437" y="2487"/>
                      </a:moveTo>
                      <a:cubicBezTo>
                        <a:pt x="11729" y="-982"/>
                        <a:pt x="5928" y="-803"/>
                        <a:pt x="2458" y="2905"/>
                      </a:cubicBezTo>
                      <a:cubicBezTo>
                        <a:pt x="-1010" y="6613"/>
                        <a:pt x="-771" y="12475"/>
                        <a:pt x="2937" y="15943"/>
                      </a:cubicBezTo>
                      <a:cubicBezTo>
                        <a:pt x="6645" y="19412"/>
                        <a:pt x="12447" y="19233"/>
                        <a:pt x="15915" y="15525"/>
                      </a:cubicBezTo>
                      <a:cubicBezTo>
                        <a:pt x="19325" y="11816"/>
                        <a:pt x="19145" y="5955"/>
                        <a:pt x="15437" y="2487"/>
                      </a:cubicBezTo>
                      <a:close/>
                    </a:path>
                  </a:pathLst>
                </a:custGeom>
                <a:grpFill/>
                <a:ln w="5978" cap="flat">
                  <a:noFill/>
                  <a:prstDash val="solid"/>
                  <a:miter/>
                </a:ln>
              </p:spPr>
              <p:txBody>
                <a:bodyPr rtlCol="0" anchor="ctr"/>
                <a:lstStyle/>
                <a:p>
                  <a:endParaRPr lang="en-GB"/>
                </a:p>
              </p:txBody>
            </p:sp>
          </p:grpSp>
          <p:grpSp>
            <p:nvGrpSpPr>
              <p:cNvPr id="444" name="Graphic 3">
                <a:extLst>
                  <a:ext uri="{FF2B5EF4-FFF2-40B4-BE49-F238E27FC236}">
                    <a16:creationId xmlns:a16="http://schemas.microsoft.com/office/drawing/2014/main" id="{61638ED9-046C-42D2-9B5B-9C046A65EF2B}"/>
                  </a:ext>
                </a:extLst>
              </p:cNvPr>
              <p:cNvGrpSpPr/>
              <p:nvPr/>
            </p:nvGrpSpPr>
            <p:grpSpPr>
              <a:xfrm>
                <a:off x="7400809" y="4422801"/>
                <a:ext cx="105849" cy="84054"/>
                <a:chOff x="7400809" y="4422801"/>
                <a:chExt cx="105849" cy="84054"/>
              </a:xfrm>
              <a:grpFill/>
            </p:grpSpPr>
            <p:sp>
              <p:nvSpPr>
                <p:cNvPr id="4053" name="Vrije vorm: vorm 4052">
                  <a:extLst>
                    <a:ext uri="{FF2B5EF4-FFF2-40B4-BE49-F238E27FC236}">
                      <a16:creationId xmlns:a16="http://schemas.microsoft.com/office/drawing/2014/main" id="{1014B792-7CAB-4E90-ABAE-523687ECCA05}"/>
                    </a:ext>
                  </a:extLst>
                </p:cNvPr>
                <p:cNvSpPr/>
                <p:nvPr/>
              </p:nvSpPr>
              <p:spPr>
                <a:xfrm>
                  <a:off x="7408639" y="4430499"/>
                  <a:ext cx="90129" cy="68598"/>
                </a:xfrm>
                <a:custGeom>
                  <a:avLst/>
                  <a:gdLst>
                    <a:gd name="connsiteX0" fmla="*/ 90129 w 90129"/>
                    <a:gd name="connsiteY0" fmla="*/ 66147 h 68598"/>
                    <a:gd name="connsiteX1" fmla="*/ 88276 w 90129"/>
                    <a:gd name="connsiteY1" fmla="*/ 68599 h 68598"/>
                    <a:gd name="connsiteX2" fmla="*/ 0 w 90129"/>
                    <a:gd name="connsiteY2" fmla="*/ 2452 h 68598"/>
                    <a:gd name="connsiteX3" fmla="*/ 1794 w 90129"/>
                    <a:gd name="connsiteY3" fmla="*/ 0 h 68598"/>
                  </a:gdLst>
                  <a:ahLst/>
                  <a:cxnLst>
                    <a:cxn ang="0">
                      <a:pos x="connsiteX0" y="connsiteY0"/>
                    </a:cxn>
                    <a:cxn ang="0">
                      <a:pos x="connsiteX1" y="connsiteY1"/>
                    </a:cxn>
                    <a:cxn ang="0">
                      <a:pos x="connsiteX2" y="connsiteY2"/>
                    </a:cxn>
                    <a:cxn ang="0">
                      <a:pos x="connsiteX3" y="connsiteY3"/>
                    </a:cxn>
                  </a:cxnLst>
                  <a:rect l="l" t="t" r="r" b="b"/>
                  <a:pathLst>
                    <a:path w="90129" h="68598">
                      <a:moveTo>
                        <a:pt x="90129" y="66147"/>
                      </a:moveTo>
                      <a:lnTo>
                        <a:pt x="88276" y="68599"/>
                      </a:lnTo>
                      <a:lnTo>
                        <a:pt x="0" y="2452"/>
                      </a:lnTo>
                      <a:lnTo>
                        <a:pt x="1794" y="0"/>
                      </a:lnTo>
                      <a:close/>
                    </a:path>
                  </a:pathLst>
                </a:custGeom>
                <a:grpFill/>
                <a:ln w="5978" cap="flat">
                  <a:noFill/>
                  <a:prstDash val="solid"/>
                  <a:miter/>
                </a:ln>
              </p:spPr>
              <p:txBody>
                <a:bodyPr rtlCol="0" anchor="ctr"/>
                <a:lstStyle/>
                <a:p>
                  <a:endParaRPr lang="en-GB"/>
                </a:p>
              </p:txBody>
            </p:sp>
            <p:sp>
              <p:nvSpPr>
                <p:cNvPr id="4054" name="Vrije vorm: vorm 4053">
                  <a:extLst>
                    <a:ext uri="{FF2B5EF4-FFF2-40B4-BE49-F238E27FC236}">
                      <a16:creationId xmlns:a16="http://schemas.microsoft.com/office/drawing/2014/main" id="{98DD74B2-0B97-4232-830F-ECD7F1ACEB8E}"/>
                    </a:ext>
                  </a:extLst>
                </p:cNvPr>
                <p:cNvSpPr/>
                <p:nvPr/>
              </p:nvSpPr>
              <p:spPr>
                <a:xfrm>
                  <a:off x="7488367" y="4488409"/>
                  <a:ext cx="18291" cy="18445"/>
                </a:xfrm>
                <a:custGeom>
                  <a:avLst/>
                  <a:gdLst>
                    <a:gd name="connsiteX0" fmla="*/ 14588 w 18291"/>
                    <a:gd name="connsiteY0" fmla="*/ 1837 h 18445"/>
                    <a:gd name="connsiteX1" fmla="*/ 16502 w 18291"/>
                    <a:gd name="connsiteY1" fmla="*/ 14755 h 18445"/>
                    <a:gd name="connsiteX2" fmla="*/ 3703 w 18291"/>
                    <a:gd name="connsiteY2" fmla="*/ 16609 h 18445"/>
                    <a:gd name="connsiteX3" fmla="*/ 1790 w 18291"/>
                    <a:gd name="connsiteY3" fmla="*/ 3691 h 18445"/>
                    <a:gd name="connsiteX4" fmla="*/ 14588 w 18291"/>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4588" y="1837"/>
                      </a:moveTo>
                      <a:cubicBezTo>
                        <a:pt x="18655" y="4887"/>
                        <a:pt x="19492" y="10628"/>
                        <a:pt x="16502" y="14755"/>
                      </a:cubicBezTo>
                      <a:cubicBezTo>
                        <a:pt x="13512" y="18822"/>
                        <a:pt x="7770" y="19659"/>
                        <a:pt x="3703" y="16609"/>
                      </a:cubicBezTo>
                      <a:cubicBezTo>
                        <a:pt x="-364" y="13559"/>
                        <a:pt x="-1201" y="7817"/>
                        <a:pt x="1790" y="3691"/>
                      </a:cubicBezTo>
                      <a:cubicBezTo>
                        <a:pt x="4780" y="-376"/>
                        <a:pt x="10521" y="-1213"/>
                        <a:pt x="14588" y="1837"/>
                      </a:cubicBezTo>
                      <a:close/>
                    </a:path>
                  </a:pathLst>
                </a:custGeom>
                <a:grpFill/>
                <a:ln w="5978" cap="flat">
                  <a:noFill/>
                  <a:prstDash val="solid"/>
                  <a:miter/>
                </a:ln>
              </p:spPr>
              <p:txBody>
                <a:bodyPr rtlCol="0" anchor="ctr"/>
                <a:lstStyle/>
                <a:p>
                  <a:endParaRPr lang="en-GB"/>
                </a:p>
              </p:txBody>
            </p:sp>
            <p:sp>
              <p:nvSpPr>
                <p:cNvPr id="4055" name="Vrije vorm: vorm 4054">
                  <a:extLst>
                    <a:ext uri="{FF2B5EF4-FFF2-40B4-BE49-F238E27FC236}">
                      <a16:creationId xmlns:a16="http://schemas.microsoft.com/office/drawing/2014/main" id="{A8DCF9ED-D871-4D09-B11F-C28B20B46B4C}"/>
                    </a:ext>
                  </a:extLst>
                </p:cNvPr>
                <p:cNvSpPr/>
                <p:nvPr/>
              </p:nvSpPr>
              <p:spPr>
                <a:xfrm>
                  <a:off x="7400809" y="4422801"/>
                  <a:ext cx="18291" cy="18446"/>
                </a:xfrm>
                <a:custGeom>
                  <a:avLst/>
                  <a:gdLst>
                    <a:gd name="connsiteX0" fmla="*/ 14588 w 18291"/>
                    <a:gd name="connsiteY0" fmla="*/ 1837 h 18446"/>
                    <a:gd name="connsiteX1" fmla="*/ 1790 w 18291"/>
                    <a:gd name="connsiteY1" fmla="*/ 3691 h 18446"/>
                    <a:gd name="connsiteX2" fmla="*/ 3703 w 18291"/>
                    <a:gd name="connsiteY2" fmla="*/ 16609 h 18446"/>
                    <a:gd name="connsiteX3" fmla="*/ 16502 w 18291"/>
                    <a:gd name="connsiteY3" fmla="*/ 14755 h 18446"/>
                    <a:gd name="connsiteX4" fmla="*/ 14588 w 18291"/>
                    <a:gd name="connsiteY4" fmla="*/ 1837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6">
                      <a:moveTo>
                        <a:pt x="14588" y="1837"/>
                      </a:moveTo>
                      <a:cubicBezTo>
                        <a:pt x="10521" y="-1213"/>
                        <a:pt x="4780" y="-376"/>
                        <a:pt x="1790" y="3691"/>
                      </a:cubicBezTo>
                      <a:cubicBezTo>
                        <a:pt x="-1201" y="7758"/>
                        <a:pt x="-363" y="13559"/>
                        <a:pt x="3703" y="16609"/>
                      </a:cubicBezTo>
                      <a:cubicBezTo>
                        <a:pt x="7770" y="19660"/>
                        <a:pt x="13512" y="18822"/>
                        <a:pt x="16502" y="14755"/>
                      </a:cubicBezTo>
                      <a:cubicBezTo>
                        <a:pt x="19492" y="10688"/>
                        <a:pt x="18655" y="4887"/>
                        <a:pt x="14588" y="1837"/>
                      </a:cubicBezTo>
                      <a:close/>
                    </a:path>
                  </a:pathLst>
                </a:custGeom>
                <a:grpFill/>
                <a:ln w="5978" cap="flat">
                  <a:noFill/>
                  <a:prstDash val="solid"/>
                  <a:miter/>
                </a:ln>
              </p:spPr>
              <p:txBody>
                <a:bodyPr rtlCol="0" anchor="ctr"/>
                <a:lstStyle/>
                <a:p>
                  <a:endParaRPr lang="en-GB"/>
                </a:p>
              </p:txBody>
            </p:sp>
          </p:grpSp>
          <p:grpSp>
            <p:nvGrpSpPr>
              <p:cNvPr id="445" name="Graphic 3">
                <a:extLst>
                  <a:ext uri="{FF2B5EF4-FFF2-40B4-BE49-F238E27FC236}">
                    <a16:creationId xmlns:a16="http://schemas.microsoft.com/office/drawing/2014/main" id="{360AE75D-6766-42A5-9CFD-8A75F2A2656E}"/>
                  </a:ext>
                </a:extLst>
              </p:cNvPr>
              <p:cNvGrpSpPr/>
              <p:nvPr/>
            </p:nvGrpSpPr>
            <p:grpSpPr>
              <a:xfrm>
                <a:off x="7380653" y="4447106"/>
                <a:ext cx="123290" cy="100095"/>
                <a:chOff x="7380653" y="4447106"/>
                <a:chExt cx="123290" cy="100095"/>
              </a:xfrm>
              <a:grpFill/>
            </p:grpSpPr>
            <p:sp>
              <p:nvSpPr>
                <p:cNvPr id="4050" name="Vrije vorm: vorm 4049">
                  <a:extLst>
                    <a:ext uri="{FF2B5EF4-FFF2-40B4-BE49-F238E27FC236}">
                      <a16:creationId xmlns:a16="http://schemas.microsoft.com/office/drawing/2014/main" id="{4345785B-E296-4819-94D2-4ABCEFDD9964}"/>
                    </a:ext>
                  </a:extLst>
                </p:cNvPr>
                <p:cNvSpPr/>
                <p:nvPr/>
              </p:nvSpPr>
              <p:spPr>
                <a:xfrm>
                  <a:off x="7388543" y="4454781"/>
                  <a:ext cx="107534" cy="84746"/>
                </a:xfrm>
                <a:custGeom>
                  <a:avLst/>
                  <a:gdLst>
                    <a:gd name="connsiteX0" fmla="*/ 107534 w 107534"/>
                    <a:gd name="connsiteY0" fmla="*/ 82294 h 84746"/>
                    <a:gd name="connsiteX1" fmla="*/ 105680 w 107534"/>
                    <a:gd name="connsiteY1" fmla="*/ 84747 h 84746"/>
                    <a:gd name="connsiteX2" fmla="*/ 0 w 107534"/>
                    <a:gd name="connsiteY2" fmla="*/ 2452 h 84746"/>
                    <a:gd name="connsiteX3" fmla="*/ 1854 w 107534"/>
                    <a:gd name="connsiteY3" fmla="*/ 0 h 84746"/>
                  </a:gdLst>
                  <a:ahLst/>
                  <a:cxnLst>
                    <a:cxn ang="0">
                      <a:pos x="connsiteX0" y="connsiteY0"/>
                    </a:cxn>
                    <a:cxn ang="0">
                      <a:pos x="connsiteX1" y="connsiteY1"/>
                    </a:cxn>
                    <a:cxn ang="0">
                      <a:pos x="connsiteX2" y="connsiteY2"/>
                    </a:cxn>
                    <a:cxn ang="0">
                      <a:pos x="connsiteX3" y="connsiteY3"/>
                    </a:cxn>
                  </a:cxnLst>
                  <a:rect l="l" t="t" r="r" b="b"/>
                  <a:pathLst>
                    <a:path w="107534" h="84746">
                      <a:moveTo>
                        <a:pt x="107534" y="82294"/>
                      </a:moveTo>
                      <a:lnTo>
                        <a:pt x="105680" y="84747"/>
                      </a:lnTo>
                      <a:lnTo>
                        <a:pt x="0" y="2452"/>
                      </a:lnTo>
                      <a:lnTo>
                        <a:pt x="1854" y="0"/>
                      </a:lnTo>
                      <a:close/>
                    </a:path>
                  </a:pathLst>
                </a:custGeom>
                <a:grpFill/>
                <a:ln w="5978" cap="flat">
                  <a:noFill/>
                  <a:prstDash val="solid"/>
                  <a:miter/>
                </a:ln>
              </p:spPr>
              <p:txBody>
                <a:bodyPr rtlCol="0" anchor="ctr"/>
                <a:lstStyle/>
                <a:p>
                  <a:endParaRPr lang="en-GB"/>
                </a:p>
              </p:txBody>
            </p:sp>
            <p:sp>
              <p:nvSpPr>
                <p:cNvPr id="4051" name="Vrije vorm: vorm 4050">
                  <a:extLst>
                    <a:ext uri="{FF2B5EF4-FFF2-40B4-BE49-F238E27FC236}">
                      <a16:creationId xmlns:a16="http://schemas.microsoft.com/office/drawing/2014/main" id="{66B07843-F7A2-4379-981F-6BE4EAE0CC12}"/>
                    </a:ext>
                  </a:extLst>
                </p:cNvPr>
                <p:cNvSpPr/>
                <p:nvPr/>
              </p:nvSpPr>
              <p:spPr>
                <a:xfrm>
                  <a:off x="7485640" y="4528803"/>
                  <a:ext cx="18303" cy="18398"/>
                </a:xfrm>
                <a:custGeom>
                  <a:avLst/>
                  <a:gdLst>
                    <a:gd name="connsiteX0" fmla="*/ 14744 w 18303"/>
                    <a:gd name="connsiteY0" fmla="*/ 1933 h 18398"/>
                    <a:gd name="connsiteX1" fmla="*/ 16418 w 18303"/>
                    <a:gd name="connsiteY1" fmla="*/ 14851 h 18398"/>
                    <a:gd name="connsiteX2" fmla="*/ 3560 w 18303"/>
                    <a:gd name="connsiteY2" fmla="*/ 16466 h 18398"/>
                    <a:gd name="connsiteX3" fmla="*/ 1885 w 18303"/>
                    <a:gd name="connsiteY3" fmla="*/ 3548 h 18398"/>
                    <a:gd name="connsiteX4" fmla="*/ 14744 w 18303"/>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98">
                      <a:moveTo>
                        <a:pt x="14744" y="1933"/>
                      </a:moveTo>
                      <a:cubicBezTo>
                        <a:pt x="18751" y="5043"/>
                        <a:pt x="19469" y="10844"/>
                        <a:pt x="16418" y="14851"/>
                      </a:cubicBezTo>
                      <a:cubicBezTo>
                        <a:pt x="13308" y="18858"/>
                        <a:pt x="7566" y="19576"/>
                        <a:pt x="3560" y="16466"/>
                      </a:cubicBezTo>
                      <a:cubicBezTo>
                        <a:pt x="-448" y="13356"/>
                        <a:pt x="-1165" y="7555"/>
                        <a:pt x="1885" y="3548"/>
                      </a:cubicBezTo>
                      <a:cubicBezTo>
                        <a:pt x="4995" y="-459"/>
                        <a:pt x="10736" y="-1177"/>
                        <a:pt x="14744" y="1933"/>
                      </a:cubicBezTo>
                      <a:close/>
                    </a:path>
                  </a:pathLst>
                </a:custGeom>
                <a:grpFill/>
                <a:ln w="5978" cap="flat">
                  <a:noFill/>
                  <a:prstDash val="solid"/>
                  <a:miter/>
                </a:ln>
              </p:spPr>
              <p:txBody>
                <a:bodyPr rtlCol="0" anchor="ctr"/>
                <a:lstStyle/>
                <a:p>
                  <a:endParaRPr lang="en-GB"/>
                </a:p>
              </p:txBody>
            </p:sp>
            <p:sp>
              <p:nvSpPr>
                <p:cNvPr id="4052" name="Vrije vorm: vorm 4051">
                  <a:extLst>
                    <a:ext uri="{FF2B5EF4-FFF2-40B4-BE49-F238E27FC236}">
                      <a16:creationId xmlns:a16="http://schemas.microsoft.com/office/drawing/2014/main" id="{FB02E91D-320F-4C0A-A136-F03656E1C379}"/>
                    </a:ext>
                  </a:extLst>
                </p:cNvPr>
                <p:cNvSpPr/>
                <p:nvPr/>
              </p:nvSpPr>
              <p:spPr>
                <a:xfrm>
                  <a:off x="7380653" y="4447106"/>
                  <a:ext cx="18353" cy="18399"/>
                </a:xfrm>
                <a:custGeom>
                  <a:avLst/>
                  <a:gdLst>
                    <a:gd name="connsiteX0" fmla="*/ 14769 w 18353"/>
                    <a:gd name="connsiteY0" fmla="*/ 1933 h 18399"/>
                    <a:gd name="connsiteX1" fmla="*/ 1910 w 18353"/>
                    <a:gd name="connsiteY1" fmla="*/ 3548 h 18399"/>
                    <a:gd name="connsiteX2" fmla="*/ 3585 w 18353"/>
                    <a:gd name="connsiteY2" fmla="*/ 16466 h 18399"/>
                    <a:gd name="connsiteX3" fmla="*/ 16443 w 18353"/>
                    <a:gd name="connsiteY3" fmla="*/ 14851 h 18399"/>
                    <a:gd name="connsiteX4" fmla="*/ 14769 w 18353"/>
                    <a:gd name="connsiteY4" fmla="*/ 193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399">
                      <a:moveTo>
                        <a:pt x="14769" y="1933"/>
                      </a:moveTo>
                      <a:cubicBezTo>
                        <a:pt x="10762" y="-1177"/>
                        <a:pt x="5020" y="-459"/>
                        <a:pt x="1910" y="3548"/>
                      </a:cubicBezTo>
                      <a:cubicBezTo>
                        <a:pt x="-1199" y="7555"/>
                        <a:pt x="-422" y="13356"/>
                        <a:pt x="3585" y="16466"/>
                      </a:cubicBezTo>
                      <a:cubicBezTo>
                        <a:pt x="7592" y="19576"/>
                        <a:pt x="13333" y="18859"/>
                        <a:pt x="16443" y="14851"/>
                      </a:cubicBezTo>
                      <a:cubicBezTo>
                        <a:pt x="19553" y="10844"/>
                        <a:pt x="18776" y="5043"/>
                        <a:pt x="14769" y="1933"/>
                      </a:cubicBezTo>
                      <a:close/>
                    </a:path>
                  </a:pathLst>
                </a:custGeom>
                <a:grpFill/>
                <a:ln w="5978" cap="flat">
                  <a:noFill/>
                  <a:prstDash val="solid"/>
                  <a:miter/>
                </a:ln>
              </p:spPr>
              <p:txBody>
                <a:bodyPr rtlCol="0" anchor="ctr"/>
                <a:lstStyle/>
                <a:p>
                  <a:endParaRPr lang="en-GB"/>
                </a:p>
              </p:txBody>
            </p:sp>
          </p:grpSp>
          <p:grpSp>
            <p:nvGrpSpPr>
              <p:cNvPr id="446" name="Graphic 3">
                <a:extLst>
                  <a:ext uri="{FF2B5EF4-FFF2-40B4-BE49-F238E27FC236}">
                    <a16:creationId xmlns:a16="http://schemas.microsoft.com/office/drawing/2014/main" id="{C134B8E0-6D5D-4F1B-A627-73BD22073761}"/>
                  </a:ext>
                </a:extLst>
              </p:cNvPr>
              <p:cNvGrpSpPr/>
              <p:nvPr/>
            </p:nvGrpSpPr>
            <p:grpSpPr>
              <a:xfrm>
                <a:off x="7322576" y="4522430"/>
                <a:ext cx="418112" cy="421364"/>
                <a:chOff x="7322576" y="4522430"/>
                <a:chExt cx="418112" cy="421364"/>
              </a:xfrm>
              <a:grpFill/>
            </p:grpSpPr>
            <p:sp>
              <p:nvSpPr>
                <p:cNvPr id="4047" name="Vrije vorm: vorm 4046">
                  <a:extLst>
                    <a:ext uri="{FF2B5EF4-FFF2-40B4-BE49-F238E27FC236}">
                      <a16:creationId xmlns:a16="http://schemas.microsoft.com/office/drawing/2014/main" id="{FB4E40CE-EB5B-40EF-9644-533FB4DC5891}"/>
                    </a:ext>
                  </a:extLst>
                </p:cNvPr>
                <p:cNvSpPr/>
                <p:nvPr/>
              </p:nvSpPr>
              <p:spPr>
                <a:xfrm>
                  <a:off x="7330351" y="4530257"/>
                  <a:ext cx="402562" cy="405731"/>
                </a:xfrm>
                <a:custGeom>
                  <a:avLst/>
                  <a:gdLst>
                    <a:gd name="connsiteX0" fmla="*/ 402563 w 402562"/>
                    <a:gd name="connsiteY0" fmla="*/ 403579 h 405731"/>
                    <a:gd name="connsiteX1" fmla="*/ 400410 w 402562"/>
                    <a:gd name="connsiteY1" fmla="*/ 405732 h 405731"/>
                    <a:gd name="connsiteX2" fmla="*/ 0 w 402562"/>
                    <a:gd name="connsiteY2" fmla="*/ 2153 h 405731"/>
                    <a:gd name="connsiteX3" fmla="*/ 2153 w 402562"/>
                    <a:gd name="connsiteY3" fmla="*/ 0 h 405731"/>
                  </a:gdLst>
                  <a:ahLst/>
                  <a:cxnLst>
                    <a:cxn ang="0">
                      <a:pos x="connsiteX0" y="connsiteY0"/>
                    </a:cxn>
                    <a:cxn ang="0">
                      <a:pos x="connsiteX1" y="connsiteY1"/>
                    </a:cxn>
                    <a:cxn ang="0">
                      <a:pos x="connsiteX2" y="connsiteY2"/>
                    </a:cxn>
                    <a:cxn ang="0">
                      <a:pos x="connsiteX3" y="connsiteY3"/>
                    </a:cxn>
                  </a:cxnLst>
                  <a:rect l="l" t="t" r="r" b="b"/>
                  <a:pathLst>
                    <a:path w="402562" h="405731">
                      <a:moveTo>
                        <a:pt x="402563" y="403579"/>
                      </a:moveTo>
                      <a:lnTo>
                        <a:pt x="400410" y="405732"/>
                      </a:lnTo>
                      <a:lnTo>
                        <a:pt x="0" y="2153"/>
                      </a:lnTo>
                      <a:lnTo>
                        <a:pt x="2153" y="0"/>
                      </a:lnTo>
                      <a:close/>
                    </a:path>
                  </a:pathLst>
                </a:custGeom>
                <a:grpFill/>
                <a:ln w="5978" cap="flat">
                  <a:noFill/>
                  <a:prstDash val="solid"/>
                  <a:miter/>
                </a:ln>
              </p:spPr>
              <p:txBody>
                <a:bodyPr rtlCol="0" anchor="ctr"/>
                <a:lstStyle/>
                <a:p>
                  <a:endParaRPr lang="en-GB"/>
                </a:p>
              </p:txBody>
            </p:sp>
            <p:sp>
              <p:nvSpPr>
                <p:cNvPr id="4048" name="Vrije vorm: vorm 4047">
                  <a:extLst>
                    <a:ext uri="{FF2B5EF4-FFF2-40B4-BE49-F238E27FC236}">
                      <a16:creationId xmlns:a16="http://schemas.microsoft.com/office/drawing/2014/main" id="{184D59D3-26FB-4DE7-A2D6-B08F203CC90C}"/>
                    </a:ext>
                  </a:extLst>
                </p:cNvPr>
                <p:cNvSpPr/>
                <p:nvPr/>
              </p:nvSpPr>
              <p:spPr>
                <a:xfrm>
                  <a:off x="7322576" y="4522430"/>
                  <a:ext cx="18360" cy="18420"/>
                </a:xfrm>
                <a:custGeom>
                  <a:avLst/>
                  <a:gdLst>
                    <a:gd name="connsiteX0" fmla="*/ 2691 w 18360"/>
                    <a:gd name="connsiteY0" fmla="*/ 15722 h 18420"/>
                    <a:gd name="connsiteX1" fmla="*/ 2691 w 18360"/>
                    <a:gd name="connsiteY1" fmla="*/ 2684 h 18420"/>
                    <a:gd name="connsiteX2" fmla="*/ 15670 w 18360"/>
                    <a:gd name="connsiteY2" fmla="*/ 2744 h 18420"/>
                    <a:gd name="connsiteX3" fmla="*/ 15670 w 18360"/>
                    <a:gd name="connsiteY3" fmla="*/ 15782 h 18420"/>
                    <a:gd name="connsiteX4" fmla="*/ 2691 w 18360"/>
                    <a:gd name="connsiteY4" fmla="*/ 15722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2691" y="15722"/>
                      </a:moveTo>
                      <a:cubicBezTo>
                        <a:pt x="-897" y="12133"/>
                        <a:pt x="-897" y="6272"/>
                        <a:pt x="2691" y="2684"/>
                      </a:cubicBezTo>
                      <a:cubicBezTo>
                        <a:pt x="6280" y="-905"/>
                        <a:pt x="12081" y="-905"/>
                        <a:pt x="15670" y="2744"/>
                      </a:cubicBezTo>
                      <a:cubicBezTo>
                        <a:pt x="19258" y="6332"/>
                        <a:pt x="19258" y="12193"/>
                        <a:pt x="15670" y="15782"/>
                      </a:cubicBezTo>
                      <a:cubicBezTo>
                        <a:pt x="12081" y="19310"/>
                        <a:pt x="6280" y="19310"/>
                        <a:pt x="2691" y="15722"/>
                      </a:cubicBezTo>
                      <a:close/>
                    </a:path>
                  </a:pathLst>
                </a:custGeom>
                <a:grpFill/>
                <a:ln w="5978" cap="flat">
                  <a:noFill/>
                  <a:prstDash val="solid"/>
                  <a:miter/>
                </a:ln>
              </p:spPr>
              <p:txBody>
                <a:bodyPr rtlCol="0" anchor="ctr"/>
                <a:lstStyle/>
                <a:p>
                  <a:endParaRPr lang="en-GB"/>
                </a:p>
              </p:txBody>
            </p:sp>
            <p:sp>
              <p:nvSpPr>
                <p:cNvPr id="4049" name="Vrije vorm: vorm 4048">
                  <a:extLst>
                    <a:ext uri="{FF2B5EF4-FFF2-40B4-BE49-F238E27FC236}">
                      <a16:creationId xmlns:a16="http://schemas.microsoft.com/office/drawing/2014/main" id="{9CC40F2D-71BF-49D0-8E7C-A01EA1215151}"/>
                    </a:ext>
                  </a:extLst>
                </p:cNvPr>
                <p:cNvSpPr/>
                <p:nvPr/>
              </p:nvSpPr>
              <p:spPr>
                <a:xfrm>
                  <a:off x="7722328" y="4925373"/>
                  <a:ext cx="18360" cy="18421"/>
                </a:xfrm>
                <a:custGeom>
                  <a:avLst/>
                  <a:gdLst>
                    <a:gd name="connsiteX0" fmla="*/ 2691 w 18360"/>
                    <a:gd name="connsiteY0" fmla="*/ 15700 h 18421"/>
                    <a:gd name="connsiteX1" fmla="*/ 15670 w 18360"/>
                    <a:gd name="connsiteY1" fmla="*/ 15760 h 18421"/>
                    <a:gd name="connsiteX2" fmla="*/ 15670 w 18360"/>
                    <a:gd name="connsiteY2" fmla="*/ 2721 h 18421"/>
                    <a:gd name="connsiteX3" fmla="*/ 2691 w 18360"/>
                    <a:gd name="connsiteY3" fmla="*/ 2662 h 18421"/>
                    <a:gd name="connsiteX4" fmla="*/ 2691 w 18360"/>
                    <a:gd name="connsiteY4" fmla="*/ 1570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2691" y="15700"/>
                      </a:moveTo>
                      <a:cubicBezTo>
                        <a:pt x="6280" y="19288"/>
                        <a:pt x="12081" y="19348"/>
                        <a:pt x="15670" y="15760"/>
                      </a:cubicBezTo>
                      <a:cubicBezTo>
                        <a:pt x="19258" y="12171"/>
                        <a:pt x="19258" y="6370"/>
                        <a:pt x="15670" y="2721"/>
                      </a:cubicBezTo>
                      <a:cubicBezTo>
                        <a:pt x="12081" y="-867"/>
                        <a:pt x="6280" y="-927"/>
                        <a:pt x="2691" y="2662"/>
                      </a:cubicBezTo>
                      <a:cubicBezTo>
                        <a:pt x="-897" y="6250"/>
                        <a:pt x="-897" y="12051"/>
                        <a:pt x="2691" y="15700"/>
                      </a:cubicBezTo>
                      <a:close/>
                    </a:path>
                  </a:pathLst>
                </a:custGeom>
                <a:grpFill/>
                <a:ln w="5978" cap="flat">
                  <a:noFill/>
                  <a:prstDash val="solid"/>
                  <a:miter/>
                </a:ln>
              </p:spPr>
              <p:txBody>
                <a:bodyPr rtlCol="0" anchor="ctr"/>
                <a:lstStyle/>
                <a:p>
                  <a:endParaRPr lang="en-GB"/>
                </a:p>
              </p:txBody>
            </p:sp>
          </p:grpSp>
          <p:grpSp>
            <p:nvGrpSpPr>
              <p:cNvPr id="447" name="Graphic 3">
                <a:extLst>
                  <a:ext uri="{FF2B5EF4-FFF2-40B4-BE49-F238E27FC236}">
                    <a16:creationId xmlns:a16="http://schemas.microsoft.com/office/drawing/2014/main" id="{DB7CF7E1-0173-4C7E-BD5E-A77A768A423C}"/>
                  </a:ext>
                </a:extLst>
              </p:cNvPr>
              <p:cNvGrpSpPr/>
              <p:nvPr/>
            </p:nvGrpSpPr>
            <p:grpSpPr>
              <a:xfrm>
                <a:off x="6405623" y="1463235"/>
                <a:ext cx="41244" cy="134681"/>
                <a:chOff x="6405623" y="1463235"/>
                <a:chExt cx="41244" cy="134681"/>
              </a:xfrm>
              <a:grpFill/>
            </p:grpSpPr>
            <p:sp>
              <p:nvSpPr>
                <p:cNvPr id="4044" name="Vrije vorm: vorm 4043">
                  <a:extLst>
                    <a:ext uri="{FF2B5EF4-FFF2-40B4-BE49-F238E27FC236}">
                      <a16:creationId xmlns:a16="http://schemas.microsoft.com/office/drawing/2014/main" id="{5D66DD71-6555-473D-B9BE-6D6C7925FCEF}"/>
                    </a:ext>
                  </a:extLst>
                </p:cNvPr>
                <p:cNvSpPr/>
                <p:nvPr/>
              </p:nvSpPr>
              <p:spPr>
                <a:xfrm>
                  <a:off x="6413207" y="1471716"/>
                  <a:ext cx="26075" cy="117760"/>
                </a:xfrm>
                <a:custGeom>
                  <a:avLst/>
                  <a:gdLst>
                    <a:gd name="connsiteX0" fmla="*/ 26076 w 26075"/>
                    <a:gd name="connsiteY0" fmla="*/ 598 h 117760"/>
                    <a:gd name="connsiteX1" fmla="*/ 2990 w 26075"/>
                    <a:gd name="connsiteY1" fmla="*/ 117760 h 117760"/>
                    <a:gd name="connsiteX2" fmla="*/ 0 w 26075"/>
                    <a:gd name="connsiteY2" fmla="*/ 117162 h 117760"/>
                    <a:gd name="connsiteX3" fmla="*/ 23086 w 26075"/>
                    <a:gd name="connsiteY3" fmla="*/ 0 h 117760"/>
                  </a:gdLst>
                  <a:ahLst/>
                  <a:cxnLst>
                    <a:cxn ang="0">
                      <a:pos x="connsiteX0" y="connsiteY0"/>
                    </a:cxn>
                    <a:cxn ang="0">
                      <a:pos x="connsiteX1" y="connsiteY1"/>
                    </a:cxn>
                    <a:cxn ang="0">
                      <a:pos x="connsiteX2" y="connsiteY2"/>
                    </a:cxn>
                    <a:cxn ang="0">
                      <a:pos x="connsiteX3" y="connsiteY3"/>
                    </a:cxn>
                  </a:cxnLst>
                  <a:rect l="l" t="t" r="r" b="b"/>
                  <a:pathLst>
                    <a:path w="26075" h="117760">
                      <a:moveTo>
                        <a:pt x="26076" y="598"/>
                      </a:moveTo>
                      <a:lnTo>
                        <a:pt x="2990" y="117760"/>
                      </a:lnTo>
                      <a:lnTo>
                        <a:pt x="0" y="117162"/>
                      </a:lnTo>
                      <a:lnTo>
                        <a:pt x="23086" y="0"/>
                      </a:lnTo>
                      <a:close/>
                    </a:path>
                  </a:pathLst>
                </a:custGeom>
                <a:grpFill/>
                <a:ln w="5978" cap="flat">
                  <a:noFill/>
                  <a:prstDash val="solid"/>
                  <a:miter/>
                </a:ln>
              </p:spPr>
              <p:txBody>
                <a:bodyPr rtlCol="0" anchor="ctr"/>
                <a:lstStyle/>
                <a:p>
                  <a:endParaRPr lang="en-GB"/>
                </a:p>
              </p:txBody>
            </p:sp>
            <p:sp>
              <p:nvSpPr>
                <p:cNvPr id="4045" name="Vrije vorm: vorm 4044">
                  <a:extLst>
                    <a:ext uri="{FF2B5EF4-FFF2-40B4-BE49-F238E27FC236}">
                      <a16:creationId xmlns:a16="http://schemas.microsoft.com/office/drawing/2014/main" id="{0CC09C45-C472-4563-A236-A268ADED182A}"/>
                    </a:ext>
                  </a:extLst>
                </p:cNvPr>
                <p:cNvSpPr/>
                <p:nvPr/>
              </p:nvSpPr>
              <p:spPr>
                <a:xfrm>
                  <a:off x="6428511" y="1463235"/>
                  <a:ext cx="18356" cy="18457"/>
                </a:xfrm>
                <a:custGeom>
                  <a:avLst/>
                  <a:gdLst>
                    <a:gd name="connsiteX0" fmla="*/ 187 w 18356"/>
                    <a:gd name="connsiteY0" fmla="*/ 7405 h 18457"/>
                    <a:gd name="connsiteX1" fmla="*/ 10952 w 18356"/>
                    <a:gd name="connsiteY1" fmla="*/ 168 h 18457"/>
                    <a:gd name="connsiteX2" fmla="*/ 18189 w 18356"/>
                    <a:gd name="connsiteY2" fmla="*/ 11053 h 18457"/>
                    <a:gd name="connsiteX3" fmla="*/ 7423 w 18356"/>
                    <a:gd name="connsiteY3" fmla="*/ 18289 h 18457"/>
                    <a:gd name="connsiteX4" fmla="*/ 187 w 18356"/>
                    <a:gd name="connsiteY4" fmla="*/ 7405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57">
                      <a:moveTo>
                        <a:pt x="187" y="7405"/>
                      </a:moveTo>
                      <a:cubicBezTo>
                        <a:pt x="1144" y="2441"/>
                        <a:pt x="5988" y="-789"/>
                        <a:pt x="10952" y="168"/>
                      </a:cubicBezTo>
                      <a:cubicBezTo>
                        <a:pt x="15916" y="1185"/>
                        <a:pt x="19146" y="6029"/>
                        <a:pt x="18189" y="11053"/>
                      </a:cubicBezTo>
                      <a:cubicBezTo>
                        <a:pt x="17232" y="16017"/>
                        <a:pt x="12388" y="19246"/>
                        <a:pt x="7423" y="18289"/>
                      </a:cubicBezTo>
                      <a:cubicBezTo>
                        <a:pt x="2400" y="17273"/>
                        <a:pt x="-830" y="12428"/>
                        <a:pt x="187" y="7405"/>
                      </a:cubicBezTo>
                      <a:close/>
                    </a:path>
                  </a:pathLst>
                </a:custGeom>
                <a:grpFill/>
                <a:ln w="5978" cap="flat">
                  <a:noFill/>
                  <a:prstDash val="solid"/>
                  <a:miter/>
                </a:ln>
              </p:spPr>
              <p:txBody>
                <a:bodyPr rtlCol="0" anchor="ctr"/>
                <a:lstStyle/>
                <a:p>
                  <a:endParaRPr lang="en-GB"/>
                </a:p>
              </p:txBody>
            </p:sp>
            <p:sp>
              <p:nvSpPr>
                <p:cNvPr id="4046" name="Vrije vorm: vorm 4045">
                  <a:extLst>
                    <a:ext uri="{FF2B5EF4-FFF2-40B4-BE49-F238E27FC236}">
                      <a16:creationId xmlns:a16="http://schemas.microsoft.com/office/drawing/2014/main" id="{0683338C-B0D5-4D5F-BF37-3EB60B1C74B8}"/>
                    </a:ext>
                  </a:extLst>
                </p:cNvPr>
                <p:cNvSpPr/>
                <p:nvPr/>
              </p:nvSpPr>
              <p:spPr>
                <a:xfrm>
                  <a:off x="6405623" y="1579498"/>
                  <a:ext cx="18337" cy="18418"/>
                </a:xfrm>
                <a:custGeom>
                  <a:avLst/>
                  <a:gdLst>
                    <a:gd name="connsiteX0" fmla="*/ 168 w 18337"/>
                    <a:gd name="connsiteY0" fmla="*/ 7407 h 18418"/>
                    <a:gd name="connsiteX1" fmla="*/ 7405 w 18337"/>
                    <a:gd name="connsiteY1" fmla="*/ 18232 h 18418"/>
                    <a:gd name="connsiteX2" fmla="*/ 18170 w 18337"/>
                    <a:gd name="connsiteY2" fmla="*/ 10995 h 18418"/>
                    <a:gd name="connsiteX3" fmla="*/ 10933 w 18337"/>
                    <a:gd name="connsiteY3" fmla="*/ 170 h 18418"/>
                    <a:gd name="connsiteX4" fmla="*/ 168 w 18337"/>
                    <a:gd name="connsiteY4" fmla="*/ 740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8">
                      <a:moveTo>
                        <a:pt x="168" y="7407"/>
                      </a:moveTo>
                      <a:cubicBezTo>
                        <a:pt x="-789" y="12371"/>
                        <a:pt x="2441" y="17275"/>
                        <a:pt x="7405" y="18232"/>
                      </a:cubicBezTo>
                      <a:cubicBezTo>
                        <a:pt x="12368" y="19249"/>
                        <a:pt x="17213" y="16019"/>
                        <a:pt x="18170" y="10995"/>
                      </a:cubicBezTo>
                      <a:cubicBezTo>
                        <a:pt x="19127" y="6031"/>
                        <a:pt x="15897" y="1127"/>
                        <a:pt x="10933" y="170"/>
                      </a:cubicBezTo>
                      <a:cubicBezTo>
                        <a:pt x="5969" y="-787"/>
                        <a:pt x="1184" y="2383"/>
                        <a:pt x="168" y="7407"/>
                      </a:cubicBezTo>
                      <a:close/>
                    </a:path>
                  </a:pathLst>
                </a:custGeom>
                <a:grpFill/>
                <a:ln w="5978" cap="flat">
                  <a:noFill/>
                  <a:prstDash val="solid"/>
                  <a:miter/>
                </a:ln>
              </p:spPr>
              <p:txBody>
                <a:bodyPr rtlCol="0" anchor="ctr"/>
                <a:lstStyle/>
                <a:p>
                  <a:endParaRPr lang="en-GB"/>
                </a:p>
              </p:txBody>
            </p:sp>
          </p:grpSp>
          <p:grpSp>
            <p:nvGrpSpPr>
              <p:cNvPr id="448" name="Graphic 3">
                <a:extLst>
                  <a:ext uri="{FF2B5EF4-FFF2-40B4-BE49-F238E27FC236}">
                    <a16:creationId xmlns:a16="http://schemas.microsoft.com/office/drawing/2014/main" id="{6409BDCC-D91E-4D81-A3B6-738629331F31}"/>
                  </a:ext>
                </a:extLst>
              </p:cNvPr>
              <p:cNvGrpSpPr/>
              <p:nvPr/>
            </p:nvGrpSpPr>
            <p:grpSpPr>
              <a:xfrm>
                <a:off x="6457643" y="1581083"/>
                <a:ext cx="37080" cy="98064"/>
                <a:chOff x="6457643" y="1581083"/>
                <a:chExt cx="37080" cy="98064"/>
              </a:xfrm>
              <a:grpFill/>
            </p:grpSpPr>
            <p:sp>
              <p:nvSpPr>
                <p:cNvPr id="4041" name="Vrije vorm: vorm 4040">
                  <a:extLst>
                    <a:ext uri="{FF2B5EF4-FFF2-40B4-BE49-F238E27FC236}">
                      <a16:creationId xmlns:a16="http://schemas.microsoft.com/office/drawing/2014/main" id="{C1BAE23E-FF33-4964-889B-7D45A38847D8}"/>
                    </a:ext>
                  </a:extLst>
                </p:cNvPr>
                <p:cNvSpPr/>
                <p:nvPr/>
              </p:nvSpPr>
              <p:spPr>
                <a:xfrm>
                  <a:off x="6465240" y="1589477"/>
                  <a:ext cx="21949" cy="81218"/>
                </a:xfrm>
                <a:custGeom>
                  <a:avLst/>
                  <a:gdLst>
                    <a:gd name="connsiteX0" fmla="*/ 21949 w 21949"/>
                    <a:gd name="connsiteY0" fmla="*/ 718 h 81218"/>
                    <a:gd name="connsiteX1" fmla="*/ 2930 w 21949"/>
                    <a:gd name="connsiteY1" fmla="*/ 81218 h 81218"/>
                    <a:gd name="connsiteX2" fmla="*/ 0 w 21949"/>
                    <a:gd name="connsiteY2" fmla="*/ 80501 h 81218"/>
                    <a:gd name="connsiteX3" fmla="*/ 18959 w 21949"/>
                    <a:gd name="connsiteY3" fmla="*/ 0 h 81218"/>
                  </a:gdLst>
                  <a:ahLst/>
                  <a:cxnLst>
                    <a:cxn ang="0">
                      <a:pos x="connsiteX0" y="connsiteY0"/>
                    </a:cxn>
                    <a:cxn ang="0">
                      <a:pos x="connsiteX1" y="connsiteY1"/>
                    </a:cxn>
                    <a:cxn ang="0">
                      <a:pos x="connsiteX2" y="connsiteY2"/>
                    </a:cxn>
                    <a:cxn ang="0">
                      <a:pos x="connsiteX3" y="connsiteY3"/>
                    </a:cxn>
                  </a:cxnLst>
                  <a:rect l="l" t="t" r="r" b="b"/>
                  <a:pathLst>
                    <a:path w="21949" h="81218">
                      <a:moveTo>
                        <a:pt x="21949" y="718"/>
                      </a:moveTo>
                      <a:lnTo>
                        <a:pt x="2930" y="81218"/>
                      </a:lnTo>
                      <a:lnTo>
                        <a:pt x="0" y="80501"/>
                      </a:lnTo>
                      <a:lnTo>
                        <a:pt x="18959" y="0"/>
                      </a:lnTo>
                      <a:close/>
                    </a:path>
                  </a:pathLst>
                </a:custGeom>
                <a:grpFill/>
                <a:ln w="5978" cap="flat">
                  <a:noFill/>
                  <a:prstDash val="solid"/>
                  <a:miter/>
                </a:ln>
              </p:spPr>
              <p:txBody>
                <a:bodyPr rtlCol="0" anchor="ctr"/>
                <a:lstStyle/>
                <a:p>
                  <a:endParaRPr lang="en-GB"/>
                </a:p>
              </p:txBody>
            </p:sp>
            <p:sp>
              <p:nvSpPr>
                <p:cNvPr id="4042" name="Vrije vorm: vorm 4041">
                  <a:extLst>
                    <a:ext uri="{FF2B5EF4-FFF2-40B4-BE49-F238E27FC236}">
                      <a16:creationId xmlns:a16="http://schemas.microsoft.com/office/drawing/2014/main" id="{BFC43BF3-C26C-4BB5-B20F-C82338C711EE}"/>
                    </a:ext>
                  </a:extLst>
                </p:cNvPr>
                <p:cNvSpPr/>
                <p:nvPr/>
              </p:nvSpPr>
              <p:spPr>
                <a:xfrm>
                  <a:off x="6476403" y="1581083"/>
                  <a:ext cx="18319" cy="18461"/>
                </a:xfrm>
                <a:custGeom>
                  <a:avLst/>
                  <a:gdLst>
                    <a:gd name="connsiteX0" fmla="*/ 260 w 18319"/>
                    <a:gd name="connsiteY0" fmla="*/ 7078 h 18461"/>
                    <a:gd name="connsiteX1" fmla="*/ 11264 w 18319"/>
                    <a:gd name="connsiteY1" fmla="*/ 260 h 18461"/>
                    <a:gd name="connsiteX2" fmla="*/ 18082 w 18319"/>
                    <a:gd name="connsiteY2" fmla="*/ 11384 h 18461"/>
                    <a:gd name="connsiteX3" fmla="*/ 7078 w 18319"/>
                    <a:gd name="connsiteY3" fmla="*/ 18202 h 18461"/>
                    <a:gd name="connsiteX4" fmla="*/ 260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60" y="7078"/>
                      </a:moveTo>
                      <a:cubicBezTo>
                        <a:pt x="1396" y="2114"/>
                        <a:pt x="6360" y="-937"/>
                        <a:pt x="11264" y="260"/>
                      </a:cubicBezTo>
                      <a:cubicBezTo>
                        <a:pt x="16168" y="1456"/>
                        <a:pt x="19219" y="6420"/>
                        <a:pt x="18082" y="11384"/>
                      </a:cubicBezTo>
                      <a:cubicBezTo>
                        <a:pt x="16886" y="16348"/>
                        <a:pt x="11982" y="19398"/>
                        <a:pt x="7078" y="18202"/>
                      </a:cubicBezTo>
                      <a:cubicBezTo>
                        <a:pt x="2114" y="16946"/>
                        <a:pt x="-936" y="11982"/>
                        <a:pt x="260" y="7078"/>
                      </a:cubicBezTo>
                      <a:close/>
                    </a:path>
                  </a:pathLst>
                </a:custGeom>
                <a:grpFill/>
                <a:ln w="5978" cap="flat">
                  <a:noFill/>
                  <a:prstDash val="solid"/>
                  <a:miter/>
                </a:ln>
              </p:spPr>
              <p:txBody>
                <a:bodyPr rtlCol="0" anchor="ctr"/>
                <a:lstStyle/>
                <a:p>
                  <a:endParaRPr lang="en-GB"/>
                </a:p>
              </p:txBody>
            </p:sp>
            <p:sp>
              <p:nvSpPr>
                <p:cNvPr id="4043" name="Vrije vorm: vorm 4042">
                  <a:extLst>
                    <a:ext uri="{FF2B5EF4-FFF2-40B4-BE49-F238E27FC236}">
                      <a16:creationId xmlns:a16="http://schemas.microsoft.com/office/drawing/2014/main" id="{D486E5EF-CECD-456D-875E-9DD0044F454A}"/>
                    </a:ext>
                  </a:extLst>
                </p:cNvPr>
                <p:cNvSpPr/>
                <p:nvPr/>
              </p:nvSpPr>
              <p:spPr>
                <a:xfrm>
                  <a:off x="6457643" y="1660687"/>
                  <a:ext cx="18322" cy="18461"/>
                </a:xfrm>
                <a:custGeom>
                  <a:avLst/>
                  <a:gdLst>
                    <a:gd name="connsiteX0" fmla="*/ 241 w 18322"/>
                    <a:gd name="connsiteY0" fmla="*/ 7078 h 18461"/>
                    <a:gd name="connsiteX1" fmla="*/ 7058 w 18322"/>
                    <a:gd name="connsiteY1" fmla="*/ 18202 h 18461"/>
                    <a:gd name="connsiteX2" fmla="*/ 18063 w 18322"/>
                    <a:gd name="connsiteY2" fmla="*/ 11384 h 18461"/>
                    <a:gd name="connsiteX3" fmla="*/ 11245 w 18322"/>
                    <a:gd name="connsiteY3" fmla="*/ 260 h 18461"/>
                    <a:gd name="connsiteX4" fmla="*/ 241 w 18322"/>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61">
                      <a:moveTo>
                        <a:pt x="241" y="7078"/>
                      </a:moveTo>
                      <a:cubicBezTo>
                        <a:pt x="-896" y="12042"/>
                        <a:pt x="2095" y="17006"/>
                        <a:pt x="7058" y="18202"/>
                      </a:cubicBezTo>
                      <a:cubicBezTo>
                        <a:pt x="11963" y="19398"/>
                        <a:pt x="16927" y="16348"/>
                        <a:pt x="18063" y="11384"/>
                      </a:cubicBezTo>
                      <a:cubicBezTo>
                        <a:pt x="19259" y="6420"/>
                        <a:pt x="16209" y="1456"/>
                        <a:pt x="11245" y="260"/>
                      </a:cubicBezTo>
                      <a:cubicBezTo>
                        <a:pt x="6341" y="-937"/>
                        <a:pt x="1437" y="2114"/>
                        <a:pt x="241" y="7078"/>
                      </a:cubicBezTo>
                      <a:close/>
                    </a:path>
                  </a:pathLst>
                </a:custGeom>
                <a:grpFill/>
                <a:ln w="5978" cap="flat">
                  <a:noFill/>
                  <a:prstDash val="solid"/>
                  <a:miter/>
                </a:ln>
              </p:spPr>
              <p:txBody>
                <a:bodyPr rtlCol="0" anchor="ctr"/>
                <a:lstStyle/>
                <a:p>
                  <a:endParaRPr lang="en-GB"/>
                </a:p>
              </p:txBody>
            </p:sp>
          </p:grpSp>
          <p:grpSp>
            <p:nvGrpSpPr>
              <p:cNvPr id="449" name="Graphic 3">
                <a:extLst>
                  <a:ext uri="{FF2B5EF4-FFF2-40B4-BE49-F238E27FC236}">
                    <a16:creationId xmlns:a16="http://schemas.microsoft.com/office/drawing/2014/main" id="{FE48E8D0-3EAF-42E9-AA4D-071B5A4C17F9}"/>
                  </a:ext>
                </a:extLst>
              </p:cNvPr>
              <p:cNvGrpSpPr/>
              <p:nvPr/>
            </p:nvGrpSpPr>
            <p:grpSpPr>
              <a:xfrm>
                <a:off x="6464949" y="1669308"/>
                <a:ext cx="43223" cy="116088"/>
                <a:chOff x="6464949" y="1669308"/>
                <a:chExt cx="43223" cy="116088"/>
              </a:xfrm>
              <a:grpFill/>
            </p:grpSpPr>
            <p:sp>
              <p:nvSpPr>
                <p:cNvPr id="4038" name="Vrije vorm: vorm 4037">
                  <a:extLst>
                    <a:ext uri="{FF2B5EF4-FFF2-40B4-BE49-F238E27FC236}">
                      <a16:creationId xmlns:a16="http://schemas.microsoft.com/office/drawing/2014/main" id="{4CF7D534-EB3B-4E8B-8B85-103B9959B809}"/>
                    </a:ext>
                  </a:extLst>
                </p:cNvPr>
                <p:cNvSpPr/>
                <p:nvPr/>
              </p:nvSpPr>
              <p:spPr>
                <a:xfrm>
                  <a:off x="6472536" y="1677633"/>
                  <a:ext cx="28109" cy="99339"/>
                </a:xfrm>
                <a:custGeom>
                  <a:avLst/>
                  <a:gdLst>
                    <a:gd name="connsiteX0" fmla="*/ 28109 w 28109"/>
                    <a:gd name="connsiteY0" fmla="*/ 778 h 99339"/>
                    <a:gd name="connsiteX1" fmla="*/ 2930 w 28109"/>
                    <a:gd name="connsiteY1" fmla="*/ 99340 h 99339"/>
                    <a:gd name="connsiteX2" fmla="*/ 0 w 28109"/>
                    <a:gd name="connsiteY2" fmla="*/ 98622 h 99339"/>
                    <a:gd name="connsiteX3" fmla="*/ 25179 w 28109"/>
                    <a:gd name="connsiteY3" fmla="*/ 0 h 99339"/>
                  </a:gdLst>
                  <a:ahLst/>
                  <a:cxnLst>
                    <a:cxn ang="0">
                      <a:pos x="connsiteX0" y="connsiteY0"/>
                    </a:cxn>
                    <a:cxn ang="0">
                      <a:pos x="connsiteX1" y="connsiteY1"/>
                    </a:cxn>
                    <a:cxn ang="0">
                      <a:pos x="connsiteX2" y="connsiteY2"/>
                    </a:cxn>
                    <a:cxn ang="0">
                      <a:pos x="connsiteX3" y="connsiteY3"/>
                    </a:cxn>
                  </a:cxnLst>
                  <a:rect l="l" t="t" r="r" b="b"/>
                  <a:pathLst>
                    <a:path w="28109" h="99339">
                      <a:moveTo>
                        <a:pt x="28109" y="778"/>
                      </a:moveTo>
                      <a:lnTo>
                        <a:pt x="2930" y="99340"/>
                      </a:lnTo>
                      <a:lnTo>
                        <a:pt x="0" y="98622"/>
                      </a:lnTo>
                      <a:lnTo>
                        <a:pt x="25179" y="0"/>
                      </a:lnTo>
                      <a:close/>
                    </a:path>
                  </a:pathLst>
                </a:custGeom>
                <a:grpFill/>
                <a:ln w="5978" cap="flat">
                  <a:noFill/>
                  <a:prstDash val="solid"/>
                  <a:miter/>
                </a:ln>
              </p:spPr>
              <p:txBody>
                <a:bodyPr rtlCol="0" anchor="ctr"/>
                <a:lstStyle/>
                <a:p>
                  <a:endParaRPr lang="en-GB"/>
                </a:p>
              </p:txBody>
            </p:sp>
            <p:sp>
              <p:nvSpPr>
                <p:cNvPr id="4039" name="Vrije vorm: vorm 4038">
                  <a:extLst>
                    <a:ext uri="{FF2B5EF4-FFF2-40B4-BE49-F238E27FC236}">
                      <a16:creationId xmlns:a16="http://schemas.microsoft.com/office/drawing/2014/main" id="{78947345-4F1B-45B7-A078-ADC0CBDCA85A}"/>
                    </a:ext>
                  </a:extLst>
                </p:cNvPr>
                <p:cNvSpPr/>
                <p:nvPr/>
              </p:nvSpPr>
              <p:spPr>
                <a:xfrm>
                  <a:off x="6489892" y="1669308"/>
                  <a:ext cx="18280" cy="18443"/>
                </a:xfrm>
                <a:custGeom>
                  <a:avLst/>
                  <a:gdLst>
                    <a:gd name="connsiteX0" fmla="*/ 287 w 18280"/>
                    <a:gd name="connsiteY0" fmla="*/ 6889 h 18443"/>
                    <a:gd name="connsiteX1" fmla="*/ 11411 w 18280"/>
                    <a:gd name="connsiteY1" fmla="*/ 311 h 18443"/>
                    <a:gd name="connsiteX2" fmla="*/ 17990 w 18280"/>
                    <a:gd name="connsiteY2" fmla="*/ 11554 h 18443"/>
                    <a:gd name="connsiteX3" fmla="*/ 6866 w 18280"/>
                    <a:gd name="connsiteY3" fmla="*/ 18133 h 18443"/>
                    <a:gd name="connsiteX4" fmla="*/ 287 w 18280"/>
                    <a:gd name="connsiteY4" fmla="*/ 68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43">
                      <a:moveTo>
                        <a:pt x="287" y="6889"/>
                      </a:moveTo>
                      <a:cubicBezTo>
                        <a:pt x="1543" y="1985"/>
                        <a:pt x="6567" y="-1005"/>
                        <a:pt x="11411" y="311"/>
                      </a:cubicBezTo>
                      <a:cubicBezTo>
                        <a:pt x="16315" y="1567"/>
                        <a:pt x="19246" y="6650"/>
                        <a:pt x="17990" y="11554"/>
                      </a:cubicBezTo>
                      <a:cubicBezTo>
                        <a:pt x="16734" y="16459"/>
                        <a:pt x="11710" y="19449"/>
                        <a:pt x="6866" y="18133"/>
                      </a:cubicBezTo>
                      <a:cubicBezTo>
                        <a:pt x="2021" y="16817"/>
                        <a:pt x="-969" y="11794"/>
                        <a:pt x="287" y="6889"/>
                      </a:cubicBezTo>
                      <a:close/>
                    </a:path>
                  </a:pathLst>
                </a:custGeom>
                <a:grpFill/>
                <a:ln w="5978" cap="flat">
                  <a:noFill/>
                  <a:prstDash val="solid"/>
                  <a:miter/>
                </a:ln>
              </p:spPr>
              <p:txBody>
                <a:bodyPr rtlCol="0" anchor="ctr"/>
                <a:lstStyle/>
                <a:p>
                  <a:endParaRPr lang="en-GB"/>
                </a:p>
              </p:txBody>
            </p:sp>
            <p:sp>
              <p:nvSpPr>
                <p:cNvPr id="4040" name="Vrije vorm: vorm 4039">
                  <a:extLst>
                    <a:ext uri="{FF2B5EF4-FFF2-40B4-BE49-F238E27FC236}">
                      <a16:creationId xmlns:a16="http://schemas.microsoft.com/office/drawing/2014/main" id="{E023EB5A-07CC-40C0-A023-AE8F26DB020F}"/>
                    </a:ext>
                  </a:extLst>
                </p:cNvPr>
                <p:cNvSpPr/>
                <p:nvPr/>
              </p:nvSpPr>
              <p:spPr>
                <a:xfrm>
                  <a:off x="6464949" y="1766969"/>
                  <a:ext cx="18284" cy="18427"/>
                </a:xfrm>
                <a:custGeom>
                  <a:avLst/>
                  <a:gdLst>
                    <a:gd name="connsiteX0" fmla="*/ 291 w 18284"/>
                    <a:gd name="connsiteY0" fmla="*/ 6893 h 18427"/>
                    <a:gd name="connsiteX1" fmla="*/ 6869 w 18284"/>
                    <a:gd name="connsiteY1" fmla="*/ 18137 h 18427"/>
                    <a:gd name="connsiteX2" fmla="*/ 17994 w 18284"/>
                    <a:gd name="connsiteY2" fmla="*/ 11558 h 18427"/>
                    <a:gd name="connsiteX3" fmla="*/ 11415 w 18284"/>
                    <a:gd name="connsiteY3" fmla="*/ 315 h 18427"/>
                    <a:gd name="connsiteX4" fmla="*/ 291 w 18284"/>
                    <a:gd name="connsiteY4" fmla="*/ 6893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27">
                      <a:moveTo>
                        <a:pt x="291" y="6893"/>
                      </a:moveTo>
                      <a:cubicBezTo>
                        <a:pt x="-966" y="11798"/>
                        <a:pt x="1965" y="16821"/>
                        <a:pt x="6869" y="18137"/>
                      </a:cubicBezTo>
                      <a:cubicBezTo>
                        <a:pt x="11773" y="19393"/>
                        <a:pt x="16738" y="16462"/>
                        <a:pt x="17994" y="11558"/>
                      </a:cubicBezTo>
                      <a:cubicBezTo>
                        <a:pt x="19249" y="6654"/>
                        <a:pt x="16319" y="1630"/>
                        <a:pt x="11415" y="315"/>
                      </a:cubicBezTo>
                      <a:cubicBezTo>
                        <a:pt x="6570" y="-1001"/>
                        <a:pt x="1547" y="1929"/>
                        <a:pt x="291" y="6893"/>
                      </a:cubicBezTo>
                      <a:close/>
                    </a:path>
                  </a:pathLst>
                </a:custGeom>
                <a:grpFill/>
                <a:ln w="5978" cap="flat">
                  <a:noFill/>
                  <a:prstDash val="solid"/>
                  <a:miter/>
                </a:ln>
              </p:spPr>
              <p:txBody>
                <a:bodyPr rtlCol="0" anchor="ctr"/>
                <a:lstStyle/>
                <a:p>
                  <a:endParaRPr lang="en-GB"/>
                </a:p>
              </p:txBody>
            </p:sp>
          </p:grpSp>
          <p:grpSp>
            <p:nvGrpSpPr>
              <p:cNvPr id="450" name="Graphic 3">
                <a:extLst>
                  <a:ext uri="{FF2B5EF4-FFF2-40B4-BE49-F238E27FC236}">
                    <a16:creationId xmlns:a16="http://schemas.microsoft.com/office/drawing/2014/main" id="{46A787B9-3028-4D21-BEA0-CFBDA9F8E09C}"/>
                  </a:ext>
                </a:extLst>
              </p:cNvPr>
              <p:cNvGrpSpPr/>
              <p:nvPr/>
            </p:nvGrpSpPr>
            <p:grpSpPr>
              <a:xfrm>
                <a:off x="7363868" y="4473920"/>
                <a:ext cx="129553" cy="108393"/>
                <a:chOff x="7363868" y="4473920"/>
                <a:chExt cx="129553" cy="108393"/>
              </a:xfrm>
              <a:grpFill/>
            </p:grpSpPr>
            <p:sp>
              <p:nvSpPr>
                <p:cNvPr id="4035" name="Vrije vorm: vorm 4034">
                  <a:extLst>
                    <a:ext uri="{FF2B5EF4-FFF2-40B4-BE49-F238E27FC236}">
                      <a16:creationId xmlns:a16="http://schemas.microsoft.com/office/drawing/2014/main" id="{65253B6B-74ED-4AC2-B17A-B1366C24E048}"/>
                    </a:ext>
                  </a:extLst>
                </p:cNvPr>
                <p:cNvSpPr/>
                <p:nvPr/>
              </p:nvSpPr>
              <p:spPr>
                <a:xfrm>
                  <a:off x="7371738" y="4481694"/>
                  <a:ext cx="113813" cy="92880"/>
                </a:xfrm>
                <a:custGeom>
                  <a:avLst/>
                  <a:gdLst>
                    <a:gd name="connsiteX0" fmla="*/ 113813 w 113813"/>
                    <a:gd name="connsiteY0" fmla="*/ 90488 h 92880"/>
                    <a:gd name="connsiteX1" fmla="*/ 111899 w 113813"/>
                    <a:gd name="connsiteY1" fmla="*/ 92880 h 92880"/>
                    <a:gd name="connsiteX2" fmla="*/ 0 w 113813"/>
                    <a:gd name="connsiteY2" fmla="*/ 2332 h 92880"/>
                    <a:gd name="connsiteX3" fmla="*/ 1914 w 113813"/>
                    <a:gd name="connsiteY3" fmla="*/ 0 h 92880"/>
                  </a:gdLst>
                  <a:ahLst/>
                  <a:cxnLst>
                    <a:cxn ang="0">
                      <a:pos x="connsiteX0" y="connsiteY0"/>
                    </a:cxn>
                    <a:cxn ang="0">
                      <a:pos x="connsiteX1" y="connsiteY1"/>
                    </a:cxn>
                    <a:cxn ang="0">
                      <a:pos x="connsiteX2" y="connsiteY2"/>
                    </a:cxn>
                    <a:cxn ang="0">
                      <a:pos x="connsiteX3" y="connsiteY3"/>
                    </a:cxn>
                  </a:cxnLst>
                  <a:rect l="l" t="t" r="r" b="b"/>
                  <a:pathLst>
                    <a:path w="113813" h="92880">
                      <a:moveTo>
                        <a:pt x="113813" y="90488"/>
                      </a:moveTo>
                      <a:lnTo>
                        <a:pt x="111899" y="92880"/>
                      </a:lnTo>
                      <a:lnTo>
                        <a:pt x="0" y="2332"/>
                      </a:lnTo>
                      <a:lnTo>
                        <a:pt x="1914" y="0"/>
                      </a:lnTo>
                      <a:close/>
                    </a:path>
                  </a:pathLst>
                </a:custGeom>
                <a:grpFill/>
                <a:ln w="5978" cap="flat">
                  <a:noFill/>
                  <a:prstDash val="solid"/>
                  <a:miter/>
                </a:ln>
              </p:spPr>
              <p:txBody>
                <a:bodyPr rtlCol="0" anchor="ctr"/>
                <a:lstStyle/>
                <a:p>
                  <a:endParaRPr lang="en-GB"/>
                </a:p>
              </p:txBody>
            </p:sp>
            <p:sp>
              <p:nvSpPr>
                <p:cNvPr id="4036" name="Vrije vorm: vorm 4035">
                  <a:extLst>
                    <a:ext uri="{FF2B5EF4-FFF2-40B4-BE49-F238E27FC236}">
                      <a16:creationId xmlns:a16="http://schemas.microsoft.com/office/drawing/2014/main" id="{85516DA3-C99A-41CA-831B-66B083A9AB7B}"/>
                    </a:ext>
                  </a:extLst>
                </p:cNvPr>
                <p:cNvSpPr/>
                <p:nvPr/>
              </p:nvSpPr>
              <p:spPr>
                <a:xfrm>
                  <a:off x="7475109" y="4563870"/>
                  <a:ext cx="18311" cy="18443"/>
                </a:xfrm>
                <a:custGeom>
                  <a:avLst/>
                  <a:gdLst>
                    <a:gd name="connsiteX0" fmla="*/ 14868 w 18311"/>
                    <a:gd name="connsiteY0" fmla="*/ 2032 h 18443"/>
                    <a:gd name="connsiteX1" fmla="*/ 16303 w 18311"/>
                    <a:gd name="connsiteY1" fmla="*/ 15011 h 18443"/>
                    <a:gd name="connsiteX2" fmla="*/ 3444 w 18311"/>
                    <a:gd name="connsiteY2" fmla="*/ 16386 h 18443"/>
                    <a:gd name="connsiteX3" fmla="*/ 2009 w 18311"/>
                    <a:gd name="connsiteY3" fmla="*/ 3408 h 18443"/>
                    <a:gd name="connsiteX4" fmla="*/ 14868 w 18311"/>
                    <a:gd name="connsiteY4" fmla="*/ 20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43">
                      <a:moveTo>
                        <a:pt x="14868" y="2032"/>
                      </a:moveTo>
                      <a:cubicBezTo>
                        <a:pt x="18815" y="5202"/>
                        <a:pt x="19473" y="11003"/>
                        <a:pt x="16303" y="15011"/>
                      </a:cubicBezTo>
                      <a:cubicBezTo>
                        <a:pt x="13133" y="18958"/>
                        <a:pt x="7392" y="19616"/>
                        <a:pt x="3444" y="16386"/>
                      </a:cubicBezTo>
                      <a:cubicBezTo>
                        <a:pt x="-503" y="13216"/>
                        <a:pt x="-1161" y="7415"/>
                        <a:pt x="2009" y="3408"/>
                      </a:cubicBezTo>
                      <a:cubicBezTo>
                        <a:pt x="5119" y="-539"/>
                        <a:pt x="10860" y="-1137"/>
                        <a:pt x="14868" y="2032"/>
                      </a:cubicBezTo>
                      <a:close/>
                    </a:path>
                  </a:pathLst>
                </a:custGeom>
                <a:grpFill/>
                <a:ln w="5978" cap="flat">
                  <a:noFill/>
                  <a:prstDash val="solid"/>
                  <a:miter/>
                </a:ln>
              </p:spPr>
              <p:txBody>
                <a:bodyPr rtlCol="0" anchor="ctr"/>
                <a:lstStyle/>
                <a:p>
                  <a:endParaRPr lang="en-GB"/>
                </a:p>
              </p:txBody>
            </p:sp>
            <p:sp>
              <p:nvSpPr>
                <p:cNvPr id="4037" name="Vrije vorm: vorm 4036">
                  <a:extLst>
                    <a:ext uri="{FF2B5EF4-FFF2-40B4-BE49-F238E27FC236}">
                      <a16:creationId xmlns:a16="http://schemas.microsoft.com/office/drawing/2014/main" id="{237D8001-880E-4CEE-9EA6-550021E9E973}"/>
                    </a:ext>
                  </a:extLst>
                </p:cNvPr>
                <p:cNvSpPr/>
                <p:nvPr/>
              </p:nvSpPr>
              <p:spPr>
                <a:xfrm>
                  <a:off x="7363868" y="4473920"/>
                  <a:ext cx="18311" cy="18418"/>
                </a:xfrm>
                <a:custGeom>
                  <a:avLst/>
                  <a:gdLst>
                    <a:gd name="connsiteX0" fmla="*/ 14868 w 18311"/>
                    <a:gd name="connsiteY0" fmla="*/ 2032 h 18418"/>
                    <a:gd name="connsiteX1" fmla="*/ 2009 w 18311"/>
                    <a:gd name="connsiteY1" fmla="*/ 3408 h 18418"/>
                    <a:gd name="connsiteX2" fmla="*/ 3444 w 18311"/>
                    <a:gd name="connsiteY2" fmla="*/ 16386 h 18418"/>
                    <a:gd name="connsiteX3" fmla="*/ 16303 w 18311"/>
                    <a:gd name="connsiteY3" fmla="*/ 15010 h 18418"/>
                    <a:gd name="connsiteX4" fmla="*/ 14868 w 18311"/>
                    <a:gd name="connsiteY4" fmla="*/ 203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4868" y="2032"/>
                      </a:moveTo>
                      <a:cubicBezTo>
                        <a:pt x="10920" y="-1138"/>
                        <a:pt x="5119" y="-539"/>
                        <a:pt x="2009" y="3408"/>
                      </a:cubicBezTo>
                      <a:cubicBezTo>
                        <a:pt x="-1161" y="7355"/>
                        <a:pt x="-503" y="13156"/>
                        <a:pt x="3444" y="16386"/>
                      </a:cubicBezTo>
                      <a:cubicBezTo>
                        <a:pt x="7392" y="19556"/>
                        <a:pt x="13133" y="18958"/>
                        <a:pt x="16303" y="15010"/>
                      </a:cubicBezTo>
                      <a:cubicBezTo>
                        <a:pt x="19472" y="11063"/>
                        <a:pt x="18814" y="5262"/>
                        <a:pt x="14868" y="2032"/>
                      </a:cubicBezTo>
                      <a:close/>
                    </a:path>
                  </a:pathLst>
                </a:custGeom>
                <a:grpFill/>
                <a:ln w="5978" cap="flat">
                  <a:noFill/>
                  <a:prstDash val="solid"/>
                  <a:miter/>
                </a:ln>
              </p:spPr>
              <p:txBody>
                <a:bodyPr rtlCol="0" anchor="ctr"/>
                <a:lstStyle/>
                <a:p>
                  <a:endParaRPr lang="en-GB"/>
                </a:p>
              </p:txBody>
            </p:sp>
          </p:grpSp>
          <p:grpSp>
            <p:nvGrpSpPr>
              <p:cNvPr id="451" name="Graphic 3">
                <a:extLst>
                  <a:ext uri="{FF2B5EF4-FFF2-40B4-BE49-F238E27FC236}">
                    <a16:creationId xmlns:a16="http://schemas.microsoft.com/office/drawing/2014/main" id="{AFAAE8CF-224B-4C63-B449-E13989982703}"/>
                  </a:ext>
                </a:extLst>
              </p:cNvPr>
              <p:cNvGrpSpPr/>
              <p:nvPr/>
            </p:nvGrpSpPr>
            <p:grpSpPr>
              <a:xfrm>
                <a:off x="6402484" y="1529524"/>
                <a:ext cx="103323" cy="252820"/>
                <a:chOff x="6402484" y="1529524"/>
                <a:chExt cx="103323" cy="252820"/>
              </a:xfrm>
              <a:grpFill/>
            </p:grpSpPr>
            <p:sp>
              <p:nvSpPr>
                <p:cNvPr id="4032" name="Vrije vorm: vorm 4031">
                  <a:extLst>
                    <a:ext uri="{FF2B5EF4-FFF2-40B4-BE49-F238E27FC236}">
                      <a16:creationId xmlns:a16="http://schemas.microsoft.com/office/drawing/2014/main" id="{FBCAA196-32BE-461D-919E-0AC9CF879625}"/>
                    </a:ext>
                  </a:extLst>
                </p:cNvPr>
                <p:cNvSpPr/>
                <p:nvPr/>
              </p:nvSpPr>
              <p:spPr>
                <a:xfrm>
                  <a:off x="6410038" y="1537803"/>
                  <a:ext cx="88155" cy="236298"/>
                </a:xfrm>
                <a:custGeom>
                  <a:avLst/>
                  <a:gdLst>
                    <a:gd name="connsiteX0" fmla="*/ 88156 w 88155"/>
                    <a:gd name="connsiteY0" fmla="*/ 1017 h 236298"/>
                    <a:gd name="connsiteX1" fmla="*/ 2871 w 88155"/>
                    <a:gd name="connsiteY1" fmla="*/ 236298 h 236298"/>
                    <a:gd name="connsiteX2" fmla="*/ 0 w 88155"/>
                    <a:gd name="connsiteY2" fmla="*/ 235222 h 236298"/>
                    <a:gd name="connsiteX3" fmla="*/ 85285 w 88155"/>
                    <a:gd name="connsiteY3" fmla="*/ 0 h 236298"/>
                  </a:gdLst>
                  <a:ahLst/>
                  <a:cxnLst>
                    <a:cxn ang="0">
                      <a:pos x="connsiteX0" y="connsiteY0"/>
                    </a:cxn>
                    <a:cxn ang="0">
                      <a:pos x="connsiteX1" y="connsiteY1"/>
                    </a:cxn>
                    <a:cxn ang="0">
                      <a:pos x="connsiteX2" y="connsiteY2"/>
                    </a:cxn>
                    <a:cxn ang="0">
                      <a:pos x="connsiteX3" y="connsiteY3"/>
                    </a:cxn>
                  </a:cxnLst>
                  <a:rect l="l" t="t" r="r" b="b"/>
                  <a:pathLst>
                    <a:path w="88155" h="236298">
                      <a:moveTo>
                        <a:pt x="88156" y="1017"/>
                      </a:moveTo>
                      <a:lnTo>
                        <a:pt x="2871" y="236298"/>
                      </a:lnTo>
                      <a:lnTo>
                        <a:pt x="0" y="235222"/>
                      </a:lnTo>
                      <a:lnTo>
                        <a:pt x="85285" y="0"/>
                      </a:lnTo>
                      <a:close/>
                    </a:path>
                  </a:pathLst>
                </a:custGeom>
                <a:grpFill/>
                <a:ln w="5978" cap="flat">
                  <a:noFill/>
                  <a:prstDash val="solid"/>
                  <a:miter/>
                </a:ln>
              </p:spPr>
              <p:txBody>
                <a:bodyPr rtlCol="0" anchor="ctr"/>
                <a:lstStyle/>
                <a:p>
                  <a:endParaRPr lang="en-GB"/>
                </a:p>
              </p:txBody>
            </p:sp>
            <p:sp>
              <p:nvSpPr>
                <p:cNvPr id="4033" name="Vrije vorm: vorm 4032">
                  <a:extLst>
                    <a:ext uri="{FF2B5EF4-FFF2-40B4-BE49-F238E27FC236}">
                      <a16:creationId xmlns:a16="http://schemas.microsoft.com/office/drawing/2014/main" id="{58AAC555-67BF-462C-8FCE-7616ABE5EAF2}"/>
                    </a:ext>
                  </a:extLst>
                </p:cNvPr>
                <p:cNvSpPr/>
                <p:nvPr/>
              </p:nvSpPr>
              <p:spPr>
                <a:xfrm>
                  <a:off x="6402484" y="1763885"/>
                  <a:ext cx="18337" cy="18460"/>
                </a:xfrm>
                <a:custGeom>
                  <a:avLst/>
                  <a:gdLst>
                    <a:gd name="connsiteX0" fmla="*/ 17781 w 18337"/>
                    <a:gd name="connsiteY0" fmla="*/ 12430 h 18460"/>
                    <a:gd name="connsiteX1" fmla="*/ 6059 w 18337"/>
                    <a:gd name="connsiteY1" fmla="*/ 17872 h 18460"/>
                    <a:gd name="connsiteX2" fmla="*/ 557 w 18337"/>
                    <a:gd name="connsiteY2" fmla="*/ 6030 h 18460"/>
                    <a:gd name="connsiteX3" fmla="*/ 12279 w 18337"/>
                    <a:gd name="connsiteY3" fmla="*/ 588 h 18460"/>
                    <a:gd name="connsiteX4" fmla="*/ 17781 w 18337"/>
                    <a:gd name="connsiteY4" fmla="*/ 12430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60">
                      <a:moveTo>
                        <a:pt x="17781" y="12430"/>
                      </a:moveTo>
                      <a:cubicBezTo>
                        <a:pt x="16047" y="17214"/>
                        <a:pt x="10784" y="19667"/>
                        <a:pt x="6059" y="17872"/>
                      </a:cubicBezTo>
                      <a:cubicBezTo>
                        <a:pt x="1275" y="16138"/>
                        <a:pt x="-1178" y="10815"/>
                        <a:pt x="557" y="6030"/>
                      </a:cubicBezTo>
                      <a:cubicBezTo>
                        <a:pt x="2291" y="1246"/>
                        <a:pt x="7554" y="-1206"/>
                        <a:pt x="12279" y="588"/>
                      </a:cubicBezTo>
                      <a:cubicBezTo>
                        <a:pt x="17063" y="2322"/>
                        <a:pt x="19516" y="7645"/>
                        <a:pt x="17781" y="12430"/>
                      </a:cubicBezTo>
                      <a:close/>
                    </a:path>
                  </a:pathLst>
                </a:custGeom>
                <a:grpFill/>
                <a:ln w="5978" cap="flat">
                  <a:noFill/>
                  <a:prstDash val="solid"/>
                  <a:miter/>
                </a:ln>
              </p:spPr>
              <p:txBody>
                <a:bodyPr rtlCol="0" anchor="ctr"/>
                <a:lstStyle/>
                <a:p>
                  <a:endParaRPr lang="en-GB"/>
                </a:p>
              </p:txBody>
            </p:sp>
            <p:sp>
              <p:nvSpPr>
                <p:cNvPr id="4034" name="Vrije vorm: vorm 4033">
                  <a:extLst>
                    <a:ext uri="{FF2B5EF4-FFF2-40B4-BE49-F238E27FC236}">
                      <a16:creationId xmlns:a16="http://schemas.microsoft.com/office/drawing/2014/main" id="{B33BA60F-7147-47C7-8830-6701B0F9A6E1}"/>
                    </a:ext>
                  </a:extLst>
                </p:cNvPr>
                <p:cNvSpPr/>
                <p:nvPr/>
              </p:nvSpPr>
              <p:spPr>
                <a:xfrm>
                  <a:off x="6487470" y="1529524"/>
                  <a:ext cx="18337" cy="18436"/>
                </a:xfrm>
                <a:custGeom>
                  <a:avLst/>
                  <a:gdLst>
                    <a:gd name="connsiteX0" fmla="*/ 17781 w 18337"/>
                    <a:gd name="connsiteY0" fmla="*/ 12406 h 18436"/>
                    <a:gd name="connsiteX1" fmla="*/ 12279 w 18337"/>
                    <a:gd name="connsiteY1" fmla="*/ 564 h 18436"/>
                    <a:gd name="connsiteX2" fmla="*/ 557 w 18337"/>
                    <a:gd name="connsiteY2" fmla="*/ 6006 h 18436"/>
                    <a:gd name="connsiteX3" fmla="*/ 6059 w 18337"/>
                    <a:gd name="connsiteY3" fmla="*/ 17848 h 18436"/>
                    <a:gd name="connsiteX4" fmla="*/ 17781 w 18337"/>
                    <a:gd name="connsiteY4" fmla="*/ 1240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7781" y="12406"/>
                      </a:moveTo>
                      <a:cubicBezTo>
                        <a:pt x="19515" y="7621"/>
                        <a:pt x="17063" y="2358"/>
                        <a:pt x="12279" y="564"/>
                      </a:cubicBezTo>
                      <a:cubicBezTo>
                        <a:pt x="7494" y="-1170"/>
                        <a:pt x="2291" y="1222"/>
                        <a:pt x="557" y="6006"/>
                      </a:cubicBezTo>
                      <a:cubicBezTo>
                        <a:pt x="-1178" y="10791"/>
                        <a:pt x="1274" y="16054"/>
                        <a:pt x="6059" y="17848"/>
                      </a:cubicBezTo>
                      <a:cubicBezTo>
                        <a:pt x="10784" y="19643"/>
                        <a:pt x="16047" y="17190"/>
                        <a:pt x="17781" y="12406"/>
                      </a:cubicBezTo>
                      <a:close/>
                    </a:path>
                  </a:pathLst>
                </a:custGeom>
                <a:grpFill/>
                <a:ln w="5978" cap="flat">
                  <a:noFill/>
                  <a:prstDash val="solid"/>
                  <a:miter/>
                </a:ln>
              </p:spPr>
              <p:txBody>
                <a:bodyPr rtlCol="0" anchor="ctr"/>
                <a:lstStyle/>
                <a:p>
                  <a:endParaRPr lang="en-GB"/>
                </a:p>
              </p:txBody>
            </p:sp>
          </p:grpSp>
          <p:grpSp>
            <p:nvGrpSpPr>
              <p:cNvPr id="452" name="Graphic 3">
                <a:extLst>
                  <a:ext uri="{FF2B5EF4-FFF2-40B4-BE49-F238E27FC236}">
                    <a16:creationId xmlns:a16="http://schemas.microsoft.com/office/drawing/2014/main" id="{23EA53CD-20AC-4DB8-8696-A21042258168}"/>
                  </a:ext>
                </a:extLst>
              </p:cNvPr>
              <p:cNvGrpSpPr/>
              <p:nvPr/>
            </p:nvGrpSpPr>
            <p:grpSpPr>
              <a:xfrm>
                <a:off x="7457081" y="4784587"/>
                <a:ext cx="153326" cy="150117"/>
                <a:chOff x="7457081" y="4784587"/>
                <a:chExt cx="153326" cy="150117"/>
              </a:xfrm>
              <a:grpFill/>
            </p:grpSpPr>
            <p:sp>
              <p:nvSpPr>
                <p:cNvPr id="4029" name="Vrije vorm: vorm 4028">
                  <a:extLst>
                    <a:ext uri="{FF2B5EF4-FFF2-40B4-BE49-F238E27FC236}">
                      <a16:creationId xmlns:a16="http://schemas.microsoft.com/office/drawing/2014/main" id="{769E30FB-9D0B-4F89-9C23-241291761A43}"/>
                    </a:ext>
                  </a:extLst>
                </p:cNvPr>
                <p:cNvSpPr/>
                <p:nvPr/>
              </p:nvSpPr>
              <p:spPr>
                <a:xfrm>
                  <a:off x="7464857" y="4792392"/>
                  <a:ext cx="137736" cy="134566"/>
                </a:xfrm>
                <a:custGeom>
                  <a:avLst/>
                  <a:gdLst>
                    <a:gd name="connsiteX0" fmla="*/ 137736 w 137736"/>
                    <a:gd name="connsiteY0" fmla="*/ 132353 h 134566"/>
                    <a:gd name="connsiteX1" fmla="*/ 135643 w 137736"/>
                    <a:gd name="connsiteY1" fmla="*/ 134566 h 134566"/>
                    <a:gd name="connsiteX2" fmla="*/ 0 w 137736"/>
                    <a:gd name="connsiteY2" fmla="*/ 2213 h 134566"/>
                    <a:gd name="connsiteX3" fmla="*/ 2154 w 137736"/>
                    <a:gd name="connsiteY3" fmla="*/ 0 h 134566"/>
                  </a:gdLst>
                  <a:ahLst/>
                  <a:cxnLst>
                    <a:cxn ang="0">
                      <a:pos x="connsiteX0" y="connsiteY0"/>
                    </a:cxn>
                    <a:cxn ang="0">
                      <a:pos x="connsiteX1" y="connsiteY1"/>
                    </a:cxn>
                    <a:cxn ang="0">
                      <a:pos x="connsiteX2" y="connsiteY2"/>
                    </a:cxn>
                    <a:cxn ang="0">
                      <a:pos x="connsiteX3" y="connsiteY3"/>
                    </a:cxn>
                  </a:cxnLst>
                  <a:rect l="l" t="t" r="r" b="b"/>
                  <a:pathLst>
                    <a:path w="137736" h="134566">
                      <a:moveTo>
                        <a:pt x="137736" y="132353"/>
                      </a:moveTo>
                      <a:lnTo>
                        <a:pt x="135643" y="134566"/>
                      </a:lnTo>
                      <a:lnTo>
                        <a:pt x="0" y="2213"/>
                      </a:lnTo>
                      <a:lnTo>
                        <a:pt x="2154" y="0"/>
                      </a:lnTo>
                      <a:close/>
                    </a:path>
                  </a:pathLst>
                </a:custGeom>
                <a:grpFill/>
                <a:ln w="5978" cap="flat">
                  <a:noFill/>
                  <a:prstDash val="solid"/>
                  <a:miter/>
                </a:ln>
              </p:spPr>
              <p:txBody>
                <a:bodyPr rtlCol="0" anchor="ctr"/>
                <a:lstStyle/>
                <a:p>
                  <a:endParaRPr lang="en-GB"/>
                </a:p>
              </p:txBody>
            </p:sp>
            <p:sp>
              <p:nvSpPr>
                <p:cNvPr id="4030" name="Vrije vorm: vorm 4029">
                  <a:extLst>
                    <a:ext uri="{FF2B5EF4-FFF2-40B4-BE49-F238E27FC236}">
                      <a16:creationId xmlns:a16="http://schemas.microsoft.com/office/drawing/2014/main" id="{D99F2A1B-D804-40F7-8D82-06931E53B10F}"/>
                    </a:ext>
                  </a:extLst>
                </p:cNvPr>
                <p:cNvSpPr/>
                <p:nvPr/>
              </p:nvSpPr>
              <p:spPr>
                <a:xfrm>
                  <a:off x="7592089" y="4916282"/>
                  <a:ext cx="18318" cy="18422"/>
                </a:xfrm>
                <a:custGeom>
                  <a:avLst/>
                  <a:gdLst>
                    <a:gd name="connsiteX0" fmla="*/ 15529 w 18318"/>
                    <a:gd name="connsiteY0" fmla="*/ 2602 h 18422"/>
                    <a:gd name="connsiteX1" fmla="*/ 15768 w 18318"/>
                    <a:gd name="connsiteY1" fmla="*/ 15640 h 18422"/>
                    <a:gd name="connsiteX2" fmla="*/ 2790 w 18318"/>
                    <a:gd name="connsiteY2" fmla="*/ 15820 h 18422"/>
                    <a:gd name="connsiteX3" fmla="*/ 2551 w 18318"/>
                    <a:gd name="connsiteY3" fmla="*/ 2782 h 18422"/>
                    <a:gd name="connsiteX4" fmla="*/ 15529 w 18318"/>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2">
                      <a:moveTo>
                        <a:pt x="15529" y="2602"/>
                      </a:moveTo>
                      <a:cubicBezTo>
                        <a:pt x="19177" y="6131"/>
                        <a:pt x="19237" y="11992"/>
                        <a:pt x="15768" y="15640"/>
                      </a:cubicBezTo>
                      <a:cubicBezTo>
                        <a:pt x="12240" y="19289"/>
                        <a:pt x="6438" y="19348"/>
                        <a:pt x="2790" y="15820"/>
                      </a:cubicBezTo>
                      <a:cubicBezTo>
                        <a:pt x="-859" y="12291"/>
                        <a:pt x="-918" y="6430"/>
                        <a:pt x="2551" y="2782"/>
                      </a:cubicBezTo>
                      <a:cubicBezTo>
                        <a:pt x="6079" y="-866"/>
                        <a:pt x="11880" y="-926"/>
                        <a:pt x="15529" y="2602"/>
                      </a:cubicBezTo>
                      <a:close/>
                    </a:path>
                  </a:pathLst>
                </a:custGeom>
                <a:grpFill/>
                <a:ln w="5978" cap="flat">
                  <a:noFill/>
                  <a:prstDash val="solid"/>
                  <a:miter/>
                </a:ln>
              </p:spPr>
              <p:txBody>
                <a:bodyPr rtlCol="0" anchor="ctr"/>
                <a:lstStyle/>
                <a:p>
                  <a:endParaRPr lang="en-GB"/>
                </a:p>
              </p:txBody>
            </p:sp>
            <p:sp>
              <p:nvSpPr>
                <p:cNvPr id="4031" name="Vrije vorm: vorm 4030">
                  <a:extLst>
                    <a:ext uri="{FF2B5EF4-FFF2-40B4-BE49-F238E27FC236}">
                      <a16:creationId xmlns:a16="http://schemas.microsoft.com/office/drawing/2014/main" id="{FD07CD22-8434-41B2-BC73-F30B3E88407B}"/>
                    </a:ext>
                  </a:extLst>
                </p:cNvPr>
                <p:cNvSpPr/>
                <p:nvPr/>
              </p:nvSpPr>
              <p:spPr>
                <a:xfrm>
                  <a:off x="7457081" y="4784587"/>
                  <a:ext cx="18341" cy="18422"/>
                </a:xfrm>
                <a:custGeom>
                  <a:avLst/>
                  <a:gdLst>
                    <a:gd name="connsiteX0" fmla="*/ 15552 w 18341"/>
                    <a:gd name="connsiteY0" fmla="*/ 2602 h 18422"/>
                    <a:gd name="connsiteX1" fmla="*/ 2573 w 18341"/>
                    <a:gd name="connsiteY1" fmla="*/ 2782 h 18422"/>
                    <a:gd name="connsiteX2" fmla="*/ 2813 w 18341"/>
                    <a:gd name="connsiteY2" fmla="*/ 15820 h 18422"/>
                    <a:gd name="connsiteX3" fmla="*/ 15791 w 18341"/>
                    <a:gd name="connsiteY3" fmla="*/ 15640 h 18422"/>
                    <a:gd name="connsiteX4" fmla="*/ 15552 w 18341"/>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2">
                      <a:moveTo>
                        <a:pt x="15552" y="2602"/>
                      </a:moveTo>
                      <a:cubicBezTo>
                        <a:pt x="11903" y="-926"/>
                        <a:pt x="6102" y="-866"/>
                        <a:pt x="2573" y="2782"/>
                      </a:cubicBezTo>
                      <a:cubicBezTo>
                        <a:pt x="-955" y="6430"/>
                        <a:pt x="-836" y="12231"/>
                        <a:pt x="2813" y="15820"/>
                      </a:cubicBezTo>
                      <a:cubicBezTo>
                        <a:pt x="6461" y="19348"/>
                        <a:pt x="12262" y="19289"/>
                        <a:pt x="15791" y="15640"/>
                      </a:cubicBezTo>
                      <a:cubicBezTo>
                        <a:pt x="19260" y="11992"/>
                        <a:pt x="19200" y="6191"/>
                        <a:pt x="15552" y="2602"/>
                      </a:cubicBezTo>
                      <a:close/>
                    </a:path>
                  </a:pathLst>
                </a:custGeom>
                <a:grpFill/>
                <a:ln w="5978" cap="flat">
                  <a:noFill/>
                  <a:prstDash val="solid"/>
                  <a:miter/>
                </a:ln>
              </p:spPr>
              <p:txBody>
                <a:bodyPr rtlCol="0" anchor="ctr"/>
                <a:lstStyle/>
                <a:p>
                  <a:endParaRPr lang="en-GB"/>
                </a:p>
              </p:txBody>
            </p:sp>
          </p:grpSp>
          <p:grpSp>
            <p:nvGrpSpPr>
              <p:cNvPr id="453" name="Graphic 3">
                <a:extLst>
                  <a:ext uri="{FF2B5EF4-FFF2-40B4-BE49-F238E27FC236}">
                    <a16:creationId xmlns:a16="http://schemas.microsoft.com/office/drawing/2014/main" id="{EACEC17F-EEBF-41A5-85A3-D69C593187B8}"/>
                  </a:ext>
                </a:extLst>
              </p:cNvPr>
              <p:cNvGrpSpPr/>
              <p:nvPr/>
            </p:nvGrpSpPr>
            <p:grpSpPr>
              <a:xfrm>
                <a:off x="7297148" y="4541893"/>
                <a:ext cx="377044" cy="396969"/>
                <a:chOff x="7297148" y="4541893"/>
                <a:chExt cx="377044" cy="396969"/>
              </a:xfrm>
              <a:grpFill/>
            </p:grpSpPr>
            <p:sp>
              <p:nvSpPr>
                <p:cNvPr id="4026" name="Vrije vorm: vorm 4025">
                  <a:extLst>
                    <a:ext uri="{FF2B5EF4-FFF2-40B4-BE49-F238E27FC236}">
                      <a16:creationId xmlns:a16="http://schemas.microsoft.com/office/drawing/2014/main" id="{F5883BF2-98E9-4DDC-9E7C-A3AFADF65D19}"/>
                    </a:ext>
                  </a:extLst>
                </p:cNvPr>
                <p:cNvSpPr/>
                <p:nvPr/>
              </p:nvSpPr>
              <p:spPr>
                <a:xfrm>
                  <a:off x="7304873" y="4549695"/>
                  <a:ext cx="361535" cy="381390"/>
                </a:xfrm>
                <a:custGeom>
                  <a:avLst/>
                  <a:gdLst>
                    <a:gd name="connsiteX0" fmla="*/ 361535 w 361535"/>
                    <a:gd name="connsiteY0" fmla="*/ 379237 h 381390"/>
                    <a:gd name="connsiteX1" fmla="*/ 359382 w 361535"/>
                    <a:gd name="connsiteY1" fmla="*/ 381390 h 381390"/>
                    <a:gd name="connsiteX2" fmla="*/ 0 w 361535"/>
                    <a:gd name="connsiteY2" fmla="*/ 2153 h 381390"/>
                    <a:gd name="connsiteX3" fmla="*/ 2213 w 361535"/>
                    <a:gd name="connsiteY3" fmla="*/ 0 h 381390"/>
                  </a:gdLst>
                  <a:ahLst/>
                  <a:cxnLst>
                    <a:cxn ang="0">
                      <a:pos x="connsiteX0" y="connsiteY0"/>
                    </a:cxn>
                    <a:cxn ang="0">
                      <a:pos x="connsiteX1" y="connsiteY1"/>
                    </a:cxn>
                    <a:cxn ang="0">
                      <a:pos x="connsiteX2" y="connsiteY2"/>
                    </a:cxn>
                    <a:cxn ang="0">
                      <a:pos x="connsiteX3" y="connsiteY3"/>
                    </a:cxn>
                  </a:cxnLst>
                  <a:rect l="l" t="t" r="r" b="b"/>
                  <a:pathLst>
                    <a:path w="361535" h="381390">
                      <a:moveTo>
                        <a:pt x="361535" y="379237"/>
                      </a:moveTo>
                      <a:lnTo>
                        <a:pt x="359382" y="381390"/>
                      </a:lnTo>
                      <a:lnTo>
                        <a:pt x="0" y="2153"/>
                      </a:lnTo>
                      <a:lnTo>
                        <a:pt x="2213" y="0"/>
                      </a:lnTo>
                      <a:close/>
                    </a:path>
                  </a:pathLst>
                </a:custGeom>
                <a:grpFill/>
                <a:ln w="5978" cap="flat">
                  <a:noFill/>
                  <a:prstDash val="solid"/>
                  <a:miter/>
                </a:ln>
              </p:spPr>
              <p:txBody>
                <a:bodyPr rtlCol="0" anchor="ctr"/>
                <a:lstStyle/>
                <a:p>
                  <a:endParaRPr lang="en-GB"/>
                </a:p>
              </p:txBody>
            </p:sp>
            <p:sp>
              <p:nvSpPr>
                <p:cNvPr id="4027" name="Vrije vorm: vorm 4026">
                  <a:extLst>
                    <a:ext uri="{FF2B5EF4-FFF2-40B4-BE49-F238E27FC236}">
                      <a16:creationId xmlns:a16="http://schemas.microsoft.com/office/drawing/2014/main" id="{F89F5B93-2161-4E40-B6B2-21C439054B3F}"/>
                    </a:ext>
                  </a:extLst>
                </p:cNvPr>
                <p:cNvSpPr/>
                <p:nvPr/>
              </p:nvSpPr>
              <p:spPr>
                <a:xfrm>
                  <a:off x="7297148" y="4541893"/>
                  <a:ext cx="18320" cy="18428"/>
                </a:xfrm>
                <a:custGeom>
                  <a:avLst/>
                  <a:gdLst>
                    <a:gd name="connsiteX0" fmla="*/ 2521 w 18320"/>
                    <a:gd name="connsiteY0" fmla="*/ 15576 h 18428"/>
                    <a:gd name="connsiteX1" fmla="*/ 2821 w 18320"/>
                    <a:gd name="connsiteY1" fmla="*/ 2538 h 18428"/>
                    <a:gd name="connsiteX2" fmla="*/ 15799 w 18320"/>
                    <a:gd name="connsiteY2" fmla="*/ 2897 h 18428"/>
                    <a:gd name="connsiteX3" fmla="*/ 15500 w 18320"/>
                    <a:gd name="connsiteY3" fmla="*/ 15935 h 18428"/>
                    <a:gd name="connsiteX4" fmla="*/ 2521 w 18320"/>
                    <a:gd name="connsiteY4" fmla="*/ 1557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8">
                      <a:moveTo>
                        <a:pt x="2521" y="15576"/>
                      </a:moveTo>
                      <a:cubicBezTo>
                        <a:pt x="-947" y="11868"/>
                        <a:pt x="-827" y="6067"/>
                        <a:pt x="2821" y="2538"/>
                      </a:cubicBezTo>
                      <a:cubicBezTo>
                        <a:pt x="6469" y="-991"/>
                        <a:pt x="12270" y="-811"/>
                        <a:pt x="15799" y="2897"/>
                      </a:cubicBezTo>
                      <a:cubicBezTo>
                        <a:pt x="19268" y="6605"/>
                        <a:pt x="19148" y="12406"/>
                        <a:pt x="15500" y="15935"/>
                      </a:cubicBezTo>
                      <a:cubicBezTo>
                        <a:pt x="11852" y="19404"/>
                        <a:pt x="6051" y="19224"/>
                        <a:pt x="2521" y="15576"/>
                      </a:cubicBezTo>
                      <a:close/>
                    </a:path>
                  </a:pathLst>
                </a:custGeom>
                <a:grpFill/>
                <a:ln w="5978" cap="flat">
                  <a:noFill/>
                  <a:prstDash val="solid"/>
                  <a:miter/>
                </a:ln>
              </p:spPr>
              <p:txBody>
                <a:bodyPr rtlCol="0" anchor="ctr"/>
                <a:lstStyle/>
                <a:p>
                  <a:endParaRPr lang="en-GB"/>
                </a:p>
              </p:txBody>
            </p:sp>
            <p:sp>
              <p:nvSpPr>
                <p:cNvPr id="4028" name="Vrije vorm: vorm 4027">
                  <a:extLst>
                    <a:ext uri="{FF2B5EF4-FFF2-40B4-BE49-F238E27FC236}">
                      <a16:creationId xmlns:a16="http://schemas.microsoft.com/office/drawing/2014/main" id="{68274C63-DD2D-46A5-88A2-53B5EA4B2414}"/>
                    </a:ext>
                  </a:extLst>
                </p:cNvPr>
                <p:cNvSpPr/>
                <p:nvPr/>
              </p:nvSpPr>
              <p:spPr>
                <a:xfrm>
                  <a:off x="7655872" y="4920436"/>
                  <a:ext cx="18320" cy="18426"/>
                </a:xfrm>
                <a:custGeom>
                  <a:avLst/>
                  <a:gdLst>
                    <a:gd name="connsiteX0" fmla="*/ 2522 w 18320"/>
                    <a:gd name="connsiteY0" fmla="*/ 15553 h 18426"/>
                    <a:gd name="connsiteX1" fmla="*/ 15500 w 18320"/>
                    <a:gd name="connsiteY1" fmla="*/ 15912 h 18426"/>
                    <a:gd name="connsiteX2" fmla="*/ 15799 w 18320"/>
                    <a:gd name="connsiteY2" fmla="*/ 2874 h 18426"/>
                    <a:gd name="connsiteX3" fmla="*/ 2821 w 18320"/>
                    <a:gd name="connsiteY3" fmla="*/ 2515 h 18426"/>
                    <a:gd name="connsiteX4" fmla="*/ 2522 w 18320"/>
                    <a:gd name="connsiteY4" fmla="*/ 1555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6">
                      <a:moveTo>
                        <a:pt x="2522" y="15553"/>
                      </a:moveTo>
                      <a:cubicBezTo>
                        <a:pt x="5991" y="19261"/>
                        <a:pt x="11792" y="19381"/>
                        <a:pt x="15500" y="15912"/>
                      </a:cubicBezTo>
                      <a:cubicBezTo>
                        <a:pt x="19148" y="12383"/>
                        <a:pt x="19268" y="6582"/>
                        <a:pt x="15799" y="2874"/>
                      </a:cubicBezTo>
                      <a:cubicBezTo>
                        <a:pt x="12330" y="-834"/>
                        <a:pt x="6469" y="-954"/>
                        <a:pt x="2821" y="2515"/>
                      </a:cubicBezTo>
                      <a:cubicBezTo>
                        <a:pt x="-828" y="6044"/>
                        <a:pt x="-947" y="11905"/>
                        <a:pt x="2522" y="15553"/>
                      </a:cubicBezTo>
                      <a:close/>
                    </a:path>
                  </a:pathLst>
                </a:custGeom>
                <a:grpFill/>
                <a:ln w="5978" cap="flat">
                  <a:noFill/>
                  <a:prstDash val="solid"/>
                  <a:miter/>
                </a:ln>
              </p:spPr>
              <p:txBody>
                <a:bodyPr rtlCol="0" anchor="ctr"/>
                <a:lstStyle/>
                <a:p>
                  <a:endParaRPr lang="en-GB"/>
                </a:p>
              </p:txBody>
            </p:sp>
          </p:grpSp>
          <p:grpSp>
            <p:nvGrpSpPr>
              <p:cNvPr id="454" name="Graphic 3">
                <a:extLst>
                  <a:ext uri="{FF2B5EF4-FFF2-40B4-BE49-F238E27FC236}">
                    <a16:creationId xmlns:a16="http://schemas.microsoft.com/office/drawing/2014/main" id="{2D714A72-3FFA-418F-A3E1-08D39E5CDACC}"/>
                  </a:ext>
                </a:extLst>
              </p:cNvPr>
              <p:cNvGrpSpPr/>
              <p:nvPr/>
            </p:nvGrpSpPr>
            <p:grpSpPr>
              <a:xfrm>
                <a:off x="6421071" y="1586016"/>
                <a:ext cx="36905" cy="104448"/>
                <a:chOff x="6421071" y="1586016"/>
                <a:chExt cx="36905" cy="104448"/>
              </a:xfrm>
              <a:grpFill/>
            </p:grpSpPr>
            <p:sp>
              <p:nvSpPr>
                <p:cNvPr id="4023" name="Vrije vorm: vorm 4022">
                  <a:extLst>
                    <a:ext uri="{FF2B5EF4-FFF2-40B4-BE49-F238E27FC236}">
                      <a16:creationId xmlns:a16="http://schemas.microsoft.com/office/drawing/2014/main" id="{227C4E1E-6D8D-4BCA-BC2B-98A55265051B}"/>
                    </a:ext>
                  </a:extLst>
                </p:cNvPr>
                <p:cNvSpPr/>
                <p:nvPr/>
              </p:nvSpPr>
              <p:spPr>
                <a:xfrm>
                  <a:off x="6428638" y="1594501"/>
                  <a:ext cx="21769" cy="87497"/>
                </a:xfrm>
                <a:custGeom>
                  <a:avLst/>
                  <a:gdLst>
                    <a:gd name="connsiteX0" fmla="*/ 21770 w 21769"/>
                    <a:gd name="connsiteY0" fmla="*/ 658 h 87497"/>
                    <a:gd name="connsiteX1" fmla="*/ 2990 w 21769"/>
                    <a:gd name="connsiteY1" fmla="*/ 87498 h 87497"/>
                    <a:gd name="connsiteX2" fmla="*/ 0 w 21769"/>
                    <a:gd name="connsiteY2" fmla="*/ 86840 h 87497"/>
                    <a:gd name="connsiteX3" fmla="*/ 18780 w 21769"/>
                    <a:gd name="connsiteY3" fmla="*/ 0 h 87497"/>
                  </a:gdLst>
                  <a:ahLst/>
                  <a:cxnLst>
                    <a:cxn ang="0">
                      <a:pos x="connsiteX0" y="connsiteY0"/>
                    </a:cxn>
                    <a:cxn ang="0">
                      <a:pos x="connsiteX1" y="connsiteY1"/>
                    </a:cxn>
                    <a:cxn ang="0">
                      <a:pos x="connsiteX2" y="connsiteY2"/>
                    </a:cxn>
                    <a:cxn ang="0">
                      <a:pos x="connsiteX3" y="connsiteY3"/>
                    </a:cxn>
                  </a:cxnLst>
                  <a:rect l="l" t="t" r="r" b="b"/>
                  <a:pathLst>
                    <a:path w="21769" h="87497">
                      <a:moveTo>
                        <a:pt x="21770" y="658"/>
                      </a:moveTo>
                      <a:lnTo>
                        <a:pt x="2990" y="87498"/>
                      </a:lnTo>
                      <a:lnTo>
                        <a:pt x="0" y="86840"/>
                      </a:lnTo>
                      <a:lnTo>
                        <a:pt x="18780" y="0"/>
                      </a:lnTo>
                      <a:close/>
                    </a:path>
                  </a:pathLst>
                </a:custGeom>
                <a:grpFill/>
                <a:ln w="5978" cap="flat">
                  <a:noFill/>
                  <a:prstDash val="solid"/>
                  <a:miter/>
                </a:ln>
              </p:spPr>
              <p:txBody>
                <a:bodyPr rtlCol="0" anchor="ctr"/>
                <a:lstStyle/>
                <a:p>
                  <a:endParaRPr lang="en-GB"/>
                </a:p>
              </p:txBody>
            </p:sp>
            <p:sp>
              <p:nvSpPr>
                <p:cNvPr id="4024" name="Vrije vorm: vorm 4023">
                  <a:extLst>
                    <a:ext uri="{FF2B5EF4-FFF2-40B4-BE49-F238E27FC236}">
                      <a16:creationId xmlns:a16="http://schemas.microsoft.com/office/drawing/2014/main" id="{CB9A79A8-14ED-4E83-A3CA-275A96F01014}"/>
                    </a:ext>
                  </a:extLst>
                </p:cNvPr>
                <p:cNvSpPr/>
                <p:nvPr/>
              </p:nvSpPr>
              <p:spPr>
                <a:xfrm>
                  <a:off x="6439669" y="1586016"/>
                  <a:ext cx="18307" cy="18464"/>
                </a:xfrm>
                <a:custGeom>
                  <a:avLst/>
                  <a:gdLst>
                    <a:gd name="connsiteX0" fmla="*/ 213 w 18307"/>
                    <a:gd name="connsiteY0" fmla="*/ 7228 h 18464"/>
                    <a:gd name="connsiteX1" fmla="*/ 11098 w 18307"/>
                    <a:gd name="connsiteY1" fmla="*/ 231 h 18464"/>
                    <a:gd name="connsiteX2" fmla="*/ 18095 w 18307"/>
                    <a:gd name="connsiteY2" fmla="*/ 11236 h 18464"/>
                    <a:gd name="connsiteX3" fmla="*/ 7210 w 18307"/>
                    <a:gd name="connsiteY3" fmla="*/ 18233 h 18464"/>
                    <a:gd name="connsiteX4" fmla="*/ 213 w 18307"/>
                    <a:gd name="connsiteY4" fmla="*/ 7228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64">
                      <a:moveTo>
                        <a:pt x="213" y="7228"/>
                      </a:moveTo>
                      <a:cubicBezTo>
                        <a:pt x="1289" y="2264"/>
                        <a:pt x="6194" y="-905"/>
                        <a:pt x="11098" y="231"/>
                      </a:cubicBezTo>
                      <a:cubicBezTo>
                        <a:pt x="16062" y="1308"/>
                        <a:pt x="19172" y="6272"/>
                        <a:pt x="18095" y="11236"/>
                      </a:cubicBezTo>
                      <a:cubicBezTo>
                        <a:pt x="17019" y="16200"/>
                        <a:pt x="12114" y="19369"/>
                        <a:pt x="7210" y="18233"/>
                      </a:cubicBezTo>
                      <a:cubicBezTo>
                        <a:pt x="2246" y="17156"/>
                        <a:pt x="-864" y="12192"/>
                        <a:pt x="213" y="7228"/>
                      </a:cubicBezTo>
                      <a:close/>
                    </a:path>
                  </a:pathLst>
                </a:custGeom>
                <a:grpFill/>
                <a:ln w="5978" cap="flat">
                  <a:noFill/>
                  <a:prstDash val="solid"/>
                  <a:miter/>
                </a:ln>
              </p:spPr>
              <p:txBody>
                <a:bodyPr rtlCol="0" anchor="ctr"/>
                <a:lstStyle/>
                <a:p>
                  <a:endParaRPr lang="en-GB"/>
                </a:p>
              </p:txBody>
            </p:sp>
            <p:sp>
              <p:nvSpPr>
                <p:cNvPr id="4025" name="Vrije vorm: vorm 4024">
                  <a:extLst>
                    <a:ext uri="{FF2B5EF4-FFF2-40B4-BE49-F238E27FC236}">
                      <a16:creationId xmlns:a16="http://schemas.microsoft.com/office/drawing/2014/main" id="{46D875FA-CBFE-4D1D-81E7-47B4460444FB}"/>
                    </a:ext>
                  </a:extLst>
                </p:cNvPr>
                <p:cNvSpPr/>
                <p:nvPr/>
              </p:nvSpPr>
              <p:spPr>
                <a:xfrm>
                  <a:off x="6421071" y="1672019"/>
                  <a:ext cx="18302" cy="18445"/>
                </a:xfrm>
                <a:custGeom>
                  <a:avLst/>
                  <a:gdLst>
                    <a:gd name="connsiteX0" fmla="*/ 210 w 18302"/>
                    <a:gd name="connsiteY0" fmla="*/ 7228 h 18445"/>
                    <a:gd name="connsiteX1" fmla="*/ 7207 w 18302"/>
                    <a:gd name="connsiteY1" fmla="*/ 18233 h 18445"/>
                    <a:gd name="connsiteX2" fmla="*/ 18092 w 18302"/>
                    <a:gd name="connsiteY2" fmla="*/ 11236 h 18445"/>
                    <a:gd name="connsiteX3" fmla="*/ 11095 w 18302"/>
                    <a:gd name="connsiteY3" fmla="*/ 231 h 18445"/>
                    <a:gd name="connsiteX4" fmla="*/ 210 w 18302"/>
                    <a:gd name="connsiteY4" fmla="*/ 72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45">
                      <a:moveTo>
                        <a:pt x="210" y="7228"/>
                      </a:moveTo>
                      <a:cubicBezTo>
                        <a:pt x="-866" y="12192"/>
                        <a:pt x="2303" y="17097"/>
                        <a:pt x="7207" y="18233"/>
                      </a:cubicBezTo>
                      <a:cubicBezTo>
                        <a:pt x="12172" y="19309"/>
                        <a:pt x="17016" y="16200"/>
                        <a:pt x="18092" y="11236"/>
                      </a:cubicBezTo>
                      <a:cubicBezTo>
                        <a:pt x="19169" y="6272"/>
                        <a:pt x="15999" y="1367"/>
                        <a:pt x="11095" y="231"/>
                      </a:cubicBezTo>
                      <a:cubicBezTo>
                        <a:pt x="6131" y="-905"/>
                        <a:pt x="1287" y="2264"/>
                        <a:pt x="210" y="7228"/>
                      </a:cubicBezTo>
                      <a:close/>
                    </a:path>
                  </a:pathLst>
                </a:custGeom>
                <a:grpFill/>
                <a:ln w="5978" cap="flat">
                  <a:noFill/>
                  <a:prstDash val="solid"/>
                  <a:miter/>
                </a:ln>
              </p:spPr>
              <p:txBody>
                <a:bodyPr rtlCol="0" anchor="ctr"/>
                <a:lstStyle/>
                <a:p>
                  <a:endParaRPr lang="en-GB"/>
                </a:p>
              </p:txBody>
            </p:sp>
          </p:grpSp>
          <p:grpSp>
            <p:nvGrpSpPr>
              <p:cNvPr id="455" name="Graphic 3">
                <a:extLst>
                  <a:ext uri="{FF2B5EF4-FFF2-40B4-BE49-F238E27FC236}">
                    <a16:creationId xmlns:a16="http://schemas.microsoft.com/office/drawing/2014/main" id="{FB6035A1-0305-4CB6-9FBF-F54D4BC43B64}"/>
                  </a:ext>
                </a:extLst>
              </p:cNvPr>
              <p:cNvGrpSpPr/>
              <p:nvPr/>
            </p:nvGrpSpPr>
            <p:grpSpPr>
              <a:xfrm>
                <a:off x="7390825" y="4625787"/>
                <a:ext cx="172167" cy="157795"/>
                <a:chOff x="7390825" y="4625787"/>
                <a:chExt cx="172167" cy="157795"/>
              </a:xfrm>
              <a:grpFill/>
            </p:grpSpPr>
            <p:sp>
              <p:nvSpPr>
                <p:cNvPr id="4020" name="Vrije vorm: vorm 4019">
                  <a:extLst>
                    <a:ext uri="{FF2B5EF4-FFF2-40B4-BE49-F238E27FC236}">
                      <a16:creationId xmlns:a16="http://schemas.microsoft.com/office/drawing/2014/main" id="{807661DC-60FE-49E8-BFBC-457218E4459B}"/>
                    </a:ext>
                  </a:extLst>
                </p:cNvPr>
                <p:cNvSpPr/>
                <p:nvPr/>
              </p:nvSpPr>
              <p:spPr>
                <a:xfrm>
                  <a:off x="7398591" y="4633544"/>
                  <a:ext cx="156575" cy="142221"/>
                </a:xfrm>
                <a:custGeom>
                  <a:avLst/>
                  <a:gdLst>
                    <a:gd name="connsiteX0" fmla="*/ 156576 w 156575"/>
                    <a:gd name="connsiteY0" fmla="*/ 139949 h 142221"/>
                    <a:gd name="connsiteX1" fmla="*/ 154542 w 156575"/>
                    <a:gd name="connsiteY1" fmla="*/ 142222 h 142221"/>
                    <a:gd name="connsiteX2" fmla="*/ 0 w 156575"/>
                    <a:gd name="connsiteY2" fmla="*/ 2273 h 142221"/>
                    <a:gd name="connsiteX3" fmla="*/ 2033 w 156575"/>
                    <a:gd name="connsiteY3" fmla="*/ 0 h 142221"/>
                  </a:gdLst>
                  <a:ahLst/>
                  <a:cxnLst>
                    <a:cxn ang="0">
                      <a:pos x="connsiteX0" y="connsiteY0"/>
                    </a:cxn>
                    <a:cxn ang="0">
                      <a:pos x="connsiteX1" y="connsiteY1"/>
                    </a:cxn>
                    <a:cxn ang="0">
                      <a:pos x="connsiteX2" y="connsiteY2"/>
                    </a:cxn>
                    <a:cxn ang="0">
                      <a:pos x="connsiteX3" y="connsiteY3"/>
                    </a:cxn>
                  </a:cxnLst>
                  <a:rect l="l" t="t" r="r" b="b"/>
                  <a:pathLst>
                    <a:path w="156575" h="142221">
                      <a:moveTo>
                        <a:pt x="156576" y="139949"/>
                      </a:moveTo>
                      <a:lnTo>
                        <a:pt x="154542" y="142222"/>
                      </a:lnTo>
                      <a:lnTo>
                        <a:pt x="0" y="2273"/>
                      </a:lnTo>
                      <a:lnTo>
                        <a:pt x="2033" y="0"/>
                      </a:lnTo>
                      <a:close/>
                    </a:path>
                  </a:pathLst>
                </a:custGeom>
                <a:grpFill/>
                <a:ln w="5978" cap="flat">
                  <a:noFill/>
                  <a:prstDash val="solid"/>
                  <a:miter/>
                </a:ln>
              </p:spPr>
              <p:txBody>
                <a:bodyPr rtlCol="0" anchor="ctr"/>
                <a:lstStyle/>
                <a:p>
                  <a:endParaRPr lang="en-GB"/>
                </a:p>
              </p:txBody>
            </p:sp>
            <p:sp>
              <p:nvSpPr>
                <p:cNvPr id="4021" name="Vrije vorm: vorm 4020">
                  <a:extLst>
                    <a:ext uri="{FF2B5EF4-FFF2-40B4-BE49-F238E27FC236}">
                      <a16:creationId xmlns:a16="http://schemas.microsoft.com/office/drawing/2014/main" id="{B7D35408-279C-4A76-B4A9-BC1195372AA2}"/>
                    </a:ext>
                  </a:extLst>
                </p:cNvPr>
                <p:cNvSpPr/>
                <p:nvPr/>
              </p:nvSpPr>
              <p:spPr>
                <a:xfrm>
                  <a:off x="7544709" y="4765117"/>
                  <a:ext cx="18283" cy="18465"/>
                </a:xfrm>
                <a:custGeom>
                  <a:avLst/>
                  <a:gdLst>
                    <a:gd name="connsiteX0" fmla="*/ 15242 w 18283"/>
                    <a:gd name="connsiteY0" fmla="*/ 2395 h 18465"/>
                    <a:gd name="connsiteX1" fmla="*/ 15959 w 18283"/>
                    <a:gd name="connsiteY1" fmla="*/ 15433 h 18465"/>
                    <a:gd name="connsiteX2" fmla="*/ 3042 w 18283"/>
                    <a:gd name="connsiteY2" fmla="*/ 16091 h 18465"/>
                    <a:gd name="connsiteX3" fmla="*/ 2323 w 18283"/>
                    <a:gd name="connsiteY3" fmla="*/ 3053 h 18465"/>
                    <a:gd name="connsiteX4" fmla="*/ 15242 w 18283"/>
                    <a:gd name="connsiteY4" fmla="*/ 2395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65">
                      <a:moveTo>
                        <a:pt x="15242" y="2395"/>
                      </a:moveTo>
                      <a:cubicBezTo>
                        <a:pt x="19010" y="5804"/>
                        <a:pt x="19309" y="11606"/>
                        <a:pt x="15959" y="15433"/>
                      </a:cubicBezTo>
                      <a:cubicBezTo>
                        <a:pt x="12611" y="19201"/>
                        <a:pt x="6809" y="19500"/>
                        <a:pt x="3042" y="16091"/>
                      </a:cubicBezTo>
                      <a:cubicBezTo>
                        <a:pt x="-726" y="12682"/>
                        <a:pt x="-1026" y="6881"/>
                        <a:pt x="2323" y="3053"/>
                      </a:cubicBezTo>
                      <a:cubicBezTo>
                        <a:pt x="5673" y="-775"/>
                        <a:pt x="11474" y="-1014"/>
                        <a:pt x="15242" y="2395"/>
                      </a:cubicBezTo>
                      <a:close/>
                    </a:path>
                  </a:pathLst>
                </a:custGeom>
                <a:grpFill/>
                <a:ln w="5978" cap="flat">
                  <a:noFill/>
                  <a:prstDash val="solid"/>
                  <a:miter/>
                </a:ln>
              </p:spPr>
              <p:txBody>
                <a:bodyPr rtlCol="0" anchor="ctr"/>
                <a:lstStyle/>
                <a:p>
                  <a:endParaRPr lang="en-GB"/>
                </a:p>
              </p:txBody>
            </p:sp>
            <p:sp>
              <p:nvSpPr>
                <p:cNvPr id="4022" name="Vrije vorm: vorm 4021">
                  <a:extLst>
                    <a:ext uri="{FF2B5EF4-FFF2-40B4-BE49-F238E27FC236}">
                      <a16:creationId xmlns:a16="http://schemas.microsoft.com/office/drawing/2014/main" id="{68A91C57-41C7-467B-8912-B12E48A1C064}"/>
                    </a:ext>
                  </a:extLst>
                </p:cNvPr>
                <p:cNvSpPr/>
                <p:nvPr/>
              </p:nvSpPr>
              <p:spPr>
                <a:xfrm>
                  <a:off x="7390825" y="4625787"/>
                  <a:ext cx="18283" cy="18444"/>
                </a:xfrm>
                <a:custGeom>
                  <a:avLst/>
                  <a:gdLst>
                    <a:gd name="connsiteX0" fmla="*/ 15242 w 18283"/>
                    <a:gd name="connsiteY0" fmla="*/ 2374 h 18444"/>
                    <a:gd name="connsiteX1" fmla="*/ 2324 w 18283"/>
                    <a:gd name="connsiteY1" fmla="*/ 3032 h 18444"/>
                    <a:gd name="connsiteX2" fmla="*/ 3041 w 18283"/>
                    <a:gd name="connsiteY2" fmla="*/ 16070 h 18444"/>
                    <a:gd name="connsiteX3" fmla="*/ 15960 w 18283"/>
                    <a:gd name="connsiteY3" fmla="*/ 1541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1474" y="-1035"/>
                        <a:pt x="5673" y="-736"/>
                        <a:pt x="2324" y="3032"/>
                      </a:cubicBezTo>
                      <a:cubicBezTo>
                        <a:pt x="-1025" y="6800"/>
                        <a:pt x="-727" y="12601"/>
                        <a:pt x="3041" y="16070"/>
                      </a:cubicBezTo>
                      <a:cubicBezTo>
                        <a:pt x="6809" y="19479"/>
                        <a:pt x="12611" y="19180"/>
                        <a:pt x="15960" y="15412"/>
                      </a:cubicBezTo>
                      <a:cubicBezTo>
                        <a:pt x="19309" y="11585"/>
                        <a:pt x="19010" y="5783"/>
                        <a:pt x="15242" y="2374"/>
                      </a:cubicBezTo>
                      <a:close/>
                    </a:path>
                  </a:pathLst>
                </a:custGeom>
                <a:grpFill/>
                <a:ln w="5978" cap="flat">
                  <a:noFill/>
                  <a:prstDash val="solid"/>
                  <a:miter/>
                </a:ln>
              </p:spPr>
              <p:txBody>
                <a:bodyPr rtlCol="0" anchor="ctr"/>
                <a:lstStyle/>
                <a:p>
                  <a:endParaRPr lang="en-GB"/>
                </a:p>
              </p:txBody>
            </p:sp>
          </p:grpSp>
          <p:grpSp>
            <p:nvGrpSpPr>
              <p:cNvPr id="456" name="Graphic 3">
                <a:extLst>
                  <a:ext uri="{FF2B5EF4-FFF2-40B4-BE49-F238E27FC236}">
                    <a16:creationId xmlns:a16="http://schemas.microsoft.com/office/drawing/2014/main" id="{E4B55A1B-686B-48D8-A96A-9B313C098573}"/>
                  </a:ext>
                </a:extLst>
              </p:cNvPr>
              <p:cNvGrpSpPr/>
              <p:nvPr/>
            </p:nvGrpSpPr>
            <p:grpSpPr>
              <a:xfrm>
                <a:off x="6371374" y="1484578"/>
                <a:ext cx="107590" cy="293408"/>
                <a:chOff x="6371374" y="1484578"/>
                <a:chExt cx="107590" cy="293408"/>
              </a:xfrm>
              <a:grpFill/>
            </p:grpSpPr>
            <p:sp>
              <p:nvSpPr>
                <p:cNvPr id="4017" name="Vrije vorm: vorm 4016">
                  <a:extLst>
                    <a:ext uri="{FF2B5EF4-FFF2-40B4-BE49-F238E27FC236}">
                      <a16:creationId xmlns:a16="http://schemas.microsoft.com/office/drawing/2014/main" id="{2F9E15E8-4503-46B0-B034-DD60DD2A15AB}"/>
                    </a:ext>
                  </a:extLst>
                </p:cNvPr>
                <p:cNvSpPr/>
                <p:nvPr/>
              </p:nvSpPr>
              <p:spPr>
                <a:xfrm>
                  <a:off x="6378938" y="1492948"/>
                  <a:ext cx="92402" cy="276727"/>
                </a:xfrm>
                <a:custGeom>
                  <a:avLst/>
                  <a:gdLst>
                    <a:gd name="connsiteX0" fmla="*/ 92402 w 92402"/>
                    <a:gd name="connsiteY0" fmla="*/ 957 h 276727"/>
                    <a:gd name="connsiteX1" fmla="*/ 2871 w 92402"/>
                    <a:gd name="connsiteY1" fmla="*/ 276728 h 276727"/>
                    <a:gd name="connsiteX2" fmla="*/ 0 w 92402"/>
                    <a:gd name="connsiteY2" fmla="*/ 275771 h 276727"/>
                    <a:gd name="connsiteX3" fmla="*/ 89531 w 92402"/>
                    <a:gd name="connsiteY3" fmla="*/ 0 h 276727"/>
                  </a:gdLst>
                  <a:ahLst/>
                  <a:cxnLst>
                    <a:cxn ang="0">
                      <a:pos x="connsiteX0" y="connsiteY0"/>
                    </a:cxn>
                    <a:cxn ang="0">
                      <a:pos x="connsiteX1" y="connsiteY1"/>
                    </a:cxn>
                    <a:cxn ang="0">
                      <a:pos x="connsiteX2" y="connsiteY2"/>
                    </a:cxn>
                    <a:cxn ang="0">
                      <a:pos x="connsiteX3" y="connsiteY3"/>
                    </a:cxn>
                  </a:cxnLst>
                  <a:rect l="l" t="t" r="r" b="b"/>
                  <a:pathLst>
                    <a:path w="92402" h="276727">
                      <a:moveTo>
                        <a:pt x="92402" y="957"/>
                      </a:moveTo>
                      <a:lnTo>
                        <a:pt x="2871" y="276728"/>
                      </a:lnTo>
                      <a:lnTo>
                        <a:pt x="0" y="275771"/>
                      </a:lnTo>
                      <a:lnTo>
                        <a:pt x="89531" y="0"/>
                      </a:lnTo>
                      <a:close/>
                    </a:path>
                  </a:pathLst>
                </a:custGeom>
                <a:grpFill/>
                <a:ln w="5978" cap="flat">
                  <a:noFill/>
                  <a:prstDash val="solid"/>
                  <a:miter/>
                </a:ln>
              </p:spPr>
              <p:txBody>
                <a:bodyPr rtlCol="0" anchor="ctr"/>
                <a:lstStyle/>
                <a:p>
                  <a:endParaRPr lang="en-GB"/>
                </a:p>
              </p:txBody>
            </p:sp>
            <p:sp>
              <p:nvSpPr>
                <p:cNvPr id="4018" name="Vrije vorm: vorm 4017">
                  <a:extLst>
                    <a:ext uri="{FF2B5EF4-FFF2-40B4-BE49-F238E27FC236}">
                      <a16:creationId xmlns:a16="http://schemas.microsoft.com/office/drawing/2014/main" id="{06525208-D696-48DE-BC9B-1D152F9A1E8A}"/>
                    </a:ext>
                  </a:extLst>
                </p:cNvPr>
                <p:cNvSpPr/>
                <p:nvPr/>
              </p:nvSpPr>
              <p:spPr>
                <a:xfrm>
                  <a:off x="6371374" y="1759511"/>
                  <a:ext cx="18298" cy="18474"/>
                </a:xfrm>
                <a:custGeom>
                  <a:avLst/>
                  <a:gdLst>
                    <a:gd name="connsiteX0" fmla="*/ 17851 w 18298"/>
                    <a:gd name="connsiteY0" fmla="*/ 12138 h 18474"/>
                    <a:gd name="connsiteX1" fmla="*/ 6308 w 18298"/>
                    <a:gd name="connsiteY1" fmla="*/ 17999 h 18474"/>
                    <a:gd name="connsiteX2" fmla="*/ 447 w 18298"/>
                    <a:gd name="connsiteY2" fmla="*/ 6337 h 18474"/>
                    <a:gd name="connsiteX3" fmla="*/ 11990 w 18298"/>
                    <a:gd name="connsiteY3" fmla="*/ 476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6296" y="16982"/>
                        <a:pt x="11093" y="19614"/>
                        <a:pt x="6308" y="17999"/>
                      </a:cubicBezTo>
                      <a:cubicBezTo>
                        <a:pt x="1524" y="16384"/>
                        <a:pt x="-1108" y="11181"/>
                        <a:pt x="447" y="6337"/>
                      </a:cubicBezTo>
                      <a:cubicBezTo>
                        <a:pt x="2002" y="1492"/>
                        <a:pt x="7205" y="-1139"/>
                        <a:pt x="11990" y="476"/>
                      </a:cubicBezTo>
                      <a:cubicBezTo>
                        <a:pt x="16774" y="2090"/>
                        <a:pt x="19406" y="7294"/>
                        <a:pt x="17851" y="12138"/>
                      </a:cubicBezTo>
                      <a:close/>
                    </a:path>
                  </a:pathLst>
                </a:custGeom>
                <a:grpFill/>
                <a:ln w="5978" cap="flat">
                  <a:noFill/>
                  <a:prstDash val="solid"/>
                  <a:miter/>
                </a:ln>
              </p:spPr>
              <p:txBody>
                <a:bodyPr rtlCol="0" anchor="ctr"/>
                <a:lstStyle/>
                <a:p>
                  <a:endParaRPr lang="en-GB"/>
                </a:p>
              </p:txBody>
            </p:sp>
            <p:sp>
              <p:nvSpPr>
                <p:cNvPr id="4019" name="Vrije vorm: vorm 4018">
                  <a:extLst>
                    <a:ext uri="{FF2B5EF4-FFF2-40B4-BE49-F238E27FC236}">
                      <a16:creationId xmlns:a16="http://schemas.microsoft.com/office/drawing/2014/main" id="{54FFC527-4452-477F-9780-9E9982048C5E}"/>
                    </a:ext>
                  </a:extLst>
                </p:cNvPr>
                <p:cNvSpPr/>
                <p:nvPr/>
              </p:nvSpPr>
              <p:spPr>
                <a:xfrm>
                  <a:off x="6460666" y="1484578"/>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8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4" y="2090"/>
                        <a:pt x="11990" y="476"/>
                      </a:cubicBezTo>
                      <a:cubicBezTo>
                        <a:pt x="7205" y="-1139"/>
                        <a:pt x="2002" y="1492"/>
                        <a:pt x="447" y="6337"/>
                      </a:cubicBezTo>
                      <a:cubicBezTo>
                        <a:pt x="-1108" y="11181"/>
                        <a:pt x="1524" y="16384"/>
                        <a:pt x="6308" y="17999"/>
                      </a:cubicBezTo>
                      <a:cubicBezTo>
                        <a:pt x="11093" y="19614"/>
                        <a:pt x="16236" y="16982"/>
                        <a:pt x="17851" y="12138"/>
                      </a:cubicBezTo>
                      <a:close/>
                    </a:path>
                  </a:pathLst>
                </a:custGeom>
                <a:grpFill/>
                <a:ln w="5978" cap="flat">
                  <a:noFill/>
                  <a:prstDash val="solid"/>
                  <a:miter/>
                </a:ln>
              </p:spPr>
              <p:txBody>
                <a:bodyPr rtlCol="0" anchor="ctr"/>
                <a:lstStyle/>
                <a:p>
                  <a:endParaRPr lang="en-GB"/>
                </a:p>
              </p:txBody>
            </p:sp>
          </p:grpSp>
          <p:grpSp>
            <p:nvGrpSpPr>
              <p:cNvPr id="457" name="Graphic 3">
                <a:extLst>
                  <a:ext uri="{FF2B5EF4-FFF2-40B4-BE49-F238E27FC236}">
                    <a16:creationId xmlns:a16="http://schemas.microsoft.com/office/drawing/2014/main" id="{FA011854-E9B3-4467-B0A0-A4A3BEE09981}"/>
                  </a:ext>
                </a:extLst>
              </p:cNvPr>
              <p:cNvGrpSpPr/>
              <p:nvPr/>
            </p:nvGrpSpPr>
            <p:grpSpPr>
              <a:xfrm>
                <a:off x="7428974" y="4808271"/>
                <a:ext cx="156873" cy="158668"/>
                <a:chOff x="7428974" y="4808271"/>
                <a:chExt cx="156873" cy="158668"/>
              </a:xfrm>
              <a:grpFill/>
            </p:grpSpPr>
            <p:sp>
              <p:nvSpPr>
                <p:cNvPr id="4014" name="Vrije vorm: vorm 4013">
                  <a:extLst>
                    <a:ext uri="{FF2B5EF4-FFF2-40B4-BE49-F238E27FC236}">
                      <a16:creationId xmlns:a16="http://schemas.microsoft.com/office/drawing/2014/main" id="{A61B724A-17EF-4CA4-BFCE-207E3522F6DD}"/>
                    </a:ext>
                  </a:extLst>
                </p:cNvPr>
                <p:cNvSpPr/>
                <p:nvPr/>
              </p:nvSpPr>
              <p:spPr>
                <a:xfrm>
                  <a:off x="7436748" y="4816016"/>
                  <a:ext cx="141324" cy="143118"/>
                </a:xfrm>
                <a:custGeom>
                  <a:avLst/>
                  <a:gdLst>
                    <a:gd name="connsiteX0" fmla="*/ 141325 w 141324"/>
                    <a:gd name="connsiteY0" fmla="*/ 140966 h 143118"/>
                    <a:gd name="connsiteX1" fmla="*/ 139172 w 141324"/>
                    <a:gd name="connsiteY1" fmla="*/ 143119 h 143118"/>
                    <a:gd name="connsiteX2" fmla="*/ 0 w 141324"/>
                    <a:gd name="connsiteY2" fmla="*/ 2153 h 143118"/>
                    <a:gd name="connsiteX3" fmla="*/ 2153 w 141324"/>
                    <a:gd name="connsiteY3" fmla="*/ 0 h 143118"/>
                  </a:gdLst>
                  <a:ahLst/>
                  <a:cxnLst>
                    <a:cxn ang="0">
                      <a:pos x="connsiteX0" y="connsiteY0"/>
                    </a:cxn>
                    <a:cxn ang="0">
                      <a:pos x="connsiteX1" y="connsiteY1"/>
                    </a:cxn>
                    <a:cxn ang="0">
                      <a:pos x="connsiteX2" y="connsiteY2"/>
                    </a:cxn>
                    <a:cxn ang="0">
                      <a:pos x="connsiteX3" y="connsiteY3"/>
                    </a:cxn>
                  </a:cxnLst>
                  <a:rect l="l" t="t" r="r" b="b"/>
                  <a:pathLst>
                    <a:path w="141324" h="143118">
                      <a:moveTo>
                        <a:pt x="141325" y="140966"/>
                      </a:moveTo>
                      <a:lnTo>
                        <a:pt x="139172" y="143119"/>
                      </a:lnTo>
                      <a:lnTo>
                        <a:pt x="0" y="2153"/>
                      </a:lnTo>
                      <a:lnTo>
                        <a:pt x="2153" y="0"/>
                      </a:lnTo>
                      <a:close/>
                    </a:path>
                  </a:pathLst>
                </a:custGeom>
                <a:grpFill/>
                <a:ln w="5978" cap="flat">
                  <a:noFill/>
                  <a:prstDash val="solid"/>
                  <a:miter/>
                </a:ln>
              </p:spPr>
              <p:txBody>
                <a:bodyPr rtlCol="0" anchor="ctr"/>
                <a:lstStyle/>
                <a:p>
                  <a:endParaRPr lang="en-GB"/>
                </a:p>
              </p:txBody>
            </p:sp>
            <p:sp>
              <p:nvSpPr>
                <p:cNvPr id="4015" name="Vrije vorm: vorm 4014">
                  <a:extLst>
                    <a:ext uri="{FF2B5EF4-FFF2-40B4-BE49-F238E27FC236}">
                      <a16:creationId xmlns:a16="http://schemas.microsoft.com/office/drawing/2014/main" id="{21133545-6370-426E-A356-808F0C5EEE19}"/>
                    </a:ext>
                  </a:extLst>
                </p:cNvPr>
                <p:cNvSpPr/>
                <p:nvPr/>
              </p:nvSpPr>
              <p:spPr>
                <a:xfrm>
                  <a:off x="7567487" y="4948519"/>
                  <a:ext cx="18360" cy="18421"/>
                </a:xfrm>
                <a:custGeom>
                  <a:avLst/>
                  <a:gdLst>
                    <a:gd name="connsiteX0" fmla="*/ 15669 w 18360"/>
                    <a:gd name="connsiteY0" fmla="*/ 2721 h 18421"/>
                    <a:gd name="connsiteX1" fmla="*/ 15669 w 18360"/>
                    <a:gd name="connsiteY1" fmla="*/ 15760 h 18421"/>
                    <a:gd name="connsiteX2" fmla="*/ 2692 w 18360"/>
                    <a:gd name="connsiteY2" fmla="*/ 15700 h 18421"/>
                    <a:gd name="connsiteX3" fmla="*/ 2692 w 18360"/>
                    <a:gd name="connsiteY3" fmla="*/ 2662 h 18421"/>
                    <a:gd name="connsiteX4" fmla="*/ 15669 w 18360"/>
                    <a:gd name="connsiteY4" fmla="*/ 27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15669" y="2721"/>
                      </a:moveTo>
                      <a:cubicBezTo>
                        <a:pt x="19258" y="6310"/>
                        <a:pt x="19258" y="12171"/>
                        <a:pt x="15669" y="15760"/>
                      </a:cubicBezTo>
                      <a:cubicBezTo>
                        <a:pt x="12081" y="19348"/>
                        <a:pt x="6280" y="19288"/>
                        <a:pt x="2692" y="15700"/>
                      </a:cubicBezTo>
                      <a:cubicBezTo>
                        <a:pt x="-897" y="12111"/>
                        <a:pt x="-897" y="6250"/>
                        <a:pt x="2692" y="2662"/>
                      </a:cubicBezTo>
                      <a:cubicBezTo>
                        <a:pt x="6280" y="-927"/>
                        <a:pt x="12081" y="-867"/>
                        <a:pt x="15669" y="2721"/>
                      </a:cubicBezTo>
                      <a:close/>
                    </a:path>
                  </a:pathLst>
                </a:custGeom>
                <a:grpFill/>
                <a:ln w="5978" cap="flat">
                  <a:noFill/>
                  <a:prstDash val="solid"/>
                  <a:miter/>
                </a:ln>
              </p:spPr>
              <p:txBody>
                <a:bodyPr rtlCol="0" anchor="ctr"/>
                <a:lstStyle/>
                <a:p>
                  <a:endParaRPr lang="en-GB"/>
                </a:p>
              </p:txBody>
            </p:sp>
            <p:sp>
              <p:nvSpPr>
                <p:cNvPr id="4016" name="Vrije vorm: vorm 4015">
                  <a:extLst>
                    <a:ext uri="{FF2B5EF4-FFF2-40B4-BE49-F238E27FC236}">
                      <a16:creationId xmlns:a16="http://schemas.microsoft.com/office/drawing/2014/main" id="{8898119D-A4BD-403C-8E9E-503FB54F885F}"/>
                    </a:ext>
                  </a:extLst>
                </p:cNvPr>
                <p:cNvSpPr/>
                <p:nvPr/>
              </p:nvSpPr>
              <p:spPr>
                <a:xfrm>
                  <a:off x="7428974" y="4808271"/>
                  <a:ext cx="18315" cy="18421"/>
                </a:xfrm>
                <a:custGeom>
                  <a:avLst/>
                  <a:gdLst>
                    <a:gd name="connsiteX0" fmla="*/ 15669 w 18315"/>
                    <a:gd name="connsiteY0" fmla="*/ 2722 h 18421"/>
                    <a:gd name="connsiteX1" fmla="*/ 2691 w 18315"/>
                    <a:gd name="connsiteY1" fmla="*/ 2662 h 18421"/>
                    <a:gd name="connsiteX2" fmla="*/ 2691 w 18315"/>
                    <a:gd name="connsiteY2" fmla="*/ 15700 h 18421"/>
                    <a:gd name="connsiteX3" fmla="*/ 15669 w 18315"/>
                    <a:gd name="connsiteY3" fmla="*/ 15760 h 18421"/>
                    <a:gd name="connsiteX4" fmla="*/ 15669 w 18315"/>
                    <a:gd name="connsiteY4" fmla="*/ 272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1">
                      <a:moveTo>
                        <a:pt x="15669" y="2722"/>
                      </a:moveTo>
                      <a:cubicBezTo>
                        <a:pt x="12081" y="-867"/>
                        <a:pt x="6280" y="-927"/>
                        <a:pt x="2691" y="2662"/>
                      </a:cubicBezTo>
                      <a:cubicBezTo>
                        <a:pt x="-897" y="6250"/>
                        <a:pt x="-897" y="12052"/>
                        <a:pt x="2691" y="15700"/>
                      </a:cubicBezTo>
                      <a:cubicBezTo>
                        <a:pt x="6280" y="19288"/>
                        <a:pt x="12081" y="19348"/>
                        <a:pt x="15669" y="15760"/>
                      </a:cubicBezTo>
                      <a:cubicBezTo>
                        <a:pt x="19198" y="12171"/>
                        <a:pt x="19198" y="6310"/>
                        <a:pt x="15669" y="2722"/>
                      </a:cubicBezTo>
                      <a:close/>
                    </a:path>
                  </a:pathLst>
                </a:custGeom>
                <a:grpFill/>
                <a:ln w="5978" cap="flat">
                  <a:noFill/>
                  <a:prstDash val="solid"/>
                  <a:miter/>
                </a:ln>
              </p:spPr>
              <p:txBody>
                <a:bodyPr rtlCol="0" anchor="ctr"/>
                <a:lstStyle/>
                <a:p>
                  <a:endParaRPr lang="en-GB"/>
                </a:p>
              </p:txBody>
            </p:sp>
          </p:grpSp>
          <p:grpSp>
            <p:nvGrpSpPr>
              <p:cNvPr id="458" name="Graphic 3">
                <a:extLst>
                  <a:ext uri="{FF2B5EF4-FFF2-40B4-BE49-F238E27FC236}">
                    <a16:creationId xmlns:a16="http://schemas.microsoft.com/office/drawing/2014/main" id="{DFC7BC39-1503-4C50-9F95-0EA5066D2B44}"/>
                  </a:ext>
                </a:extLst>
              </p:cNvPr>
              <p:cNvGrpSpPr/>
              <p:nvPr/>
            </p:nvGrpSpPr>
            <p:grpSpPr>
              <a:xfrm>
                <a:off x="6367848" y="1467502"/>
                <a:ext cx="40840" cy="145147"/>
                <a:chOff x="6367848" y="1467502"/>
                <a:chExt cx="40840" cy="145147"/>
              </a:xfrm>
              <a:grpFill/>
            </p:grpSpPr>
            <p:sp>
              <p:nvSpPr>
                <p:cNvPr id="4011" name="Vrije vorm: vorm 4010">
                  <a:extLst>
                    <a:ext uri="{FF2B5EF4-FFF2-40B4-BE49-F238E27FC236}">
                      <a16:creationId xmlns:a16="http://schemas.microsoft.com/office/drawing/2014/main" id="{5C79947A-A027-4995-AF11-B1E2255DB0E9}"/>
                    </a:ext>
                  </a:extLst>
                </p:cNvPr>
                <p:cNvSpPr/>
                <p:nvPr/>
              </p:nvSpPr>
              <p:spPr>
                <a:xfrm>
                  <a:off x="6375469" y="1476022"/>
                  <a:ext cx="25597" cy="128107"/>
                </a:xfrm>
                <a:custGeom>
                  <a:avLst/>
                  <a:gdLst>
                    <a:gd name="connsiteX0" fmla="*/ 25598 w 25597"/>
                    <a:gd name="connsiteY0" fmla="*/ 538 h 128107"/>
                    <a:gd name="connsiteX1" fmla="*/ 2990 w 25597"/>
                    <a:gd name="connsiteY1" fmla="*/ 128107 h 128107"/>
                    <a:gd name="connsiteX2" fmla="*/ 0 w 25597"/>
                    <a:gd name="connsiteY2" fmla="*/ 127569 h 128107"/>
                    <a:gd name="connsiteX3" fmla="*/ 22607 w 25597"/>
                    <a:gd name="connsiteY3" fmla="*/ 0 h 128107"/>
                  </a:gdLst>
                  <a:ahLst/>
                  <a:cxnLst>
                    <a:cxn ang="0">
                      <a:pos x="connsiteX0" y="connsiteY0"/>
                    </a:cxn>
                    <a:cxn ang="0">
                      <a:pos x="connsiteX1" y="connsiteY1"/>
                    </a:cxn>
                    <a:cxn ang="0">
                      <a:pos x="connsiteX2" y="connsiteY2"/>
                    </a:cxn>
                    <a:cxn ang="0">
                      <a:pos x="connsiteX3" y="connsiteY3"/>
                    </a:cxn>
                  </a:cxnLst>
                  <a:rect l="l" t="t" r="r" b="b"/>
                  <a:pathLst>
                    <a:path w="25597" h="128107">
                      <a:moveTo>
                        <a:pt x="25598" y="538"/>
                      </a:moveTo>
                      <a:lnTo>
                        <a:pt x="2990" y="128107"/>
                      </a:lnTo>
                      <a:lnTo>
                        <a:pt x="0" y="127569"/>
                      </a:lnTo>
                      <a:lnTo>
                        <a:pt x="22607" y="0"/>
                      </a:lnTo>
                      <a:close/>
                    </a:path>
                  </a:pathLst>
                </a:custGeom>
                <a:grpFill/>
                <a:ln w="5978" cap="flat">
                  <a:noFill/>
                  <a:prstDash val="solid"/>
                  <a:miter/>
                </a:ln>
              </p:spPr>
              <p:txBody>
                <a:bodyPr rtlCol="0" anchor="ctr"/>
                <a:lstStyle/>
                <a:p>
                  <a:endParaRPr lang="en-GB"/>
                </a:p>
              </p:txBody>
            </p:sp>
            <p:sp>
              <p:nvSpPr>
                <p:cNvPr id="4012" name="Vrije vorm: vorm 4011">
                  <a:extLst>
                    <a:ext uri="{FF2B5EF4-FFF2-40B4-BE49-F238E27FC236}">
                      <a16:creationId xmlns:a16="http://schemas.microsoft.com/office/drawing/2014/main" id="{8F72D80E-120E-4C69-9A10-60DE1E597F75}"/>
                    </a:ext>
                  </a:extLst>
                </p:cNvPr>
                <p:cNvSpPr/>
                <p:nvPr/>
              </p:nvSpPr>
              <p:spPr>
                <a:xfrm>
                  <a:off x="6390335" y="1467502"/>
                  <a:ext cx="18352" cy="18416"/>
                </a:xfrm>
                <a:custGeom>
                  <a:avLst/>
                  <a:gdLst>
                    <a:gd name="connsiteX0" fmla="*/ 145 w 18352"/>
                    <a:gd name="connsiteY0" fmla="*/ 7563 h 18416"/>
                    <a:gd name="connsiteX1" fmla="*/ 10791 w 18352"/>
                    <a:gd name="connsiteY1" fmla="*/ 147 h 18416"/>
                    <a:gd name="connsiteX2" fmla="*/ 18207 w 18352"/>
                    <a:gd name="connsiteY2" fmla="*/ 10853 h 18416"/>
                    <a:gd name="connsiteX3" fmla="*/ 7561 w 18352"/>
                    <a:gd name="connsiteY3" fmla="*/ 18269 h 18416"/>
                    <a:gd name="connsiteX4" fmla="*/ 145 w 18352"/>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6">
                      <a:moveTo>
                        <a:pt x="145" y="7563"/>
                      </a:moveTo>
                      <a:cubicBezTo>
                        <a:pt x="1043" y="2540"/>
                        <a:pt x="5767" y="-750"/>
                        <a:pt x="10791" y="147"/>
                      </a:cubicBezTo>
                      <a:cubicBezTo>
                        <a:pt x="15755" y="1044"/>
                        <a:pt x="19104" y="5889"/>
                        <a:pt x="18207" y="10853"/>
                      </a:cubicBezTo>
                      <a:cubicBezTo>
                        <a:pt x="17310" y="15877"/>
                        <a:pt x="12585" y="19166"/>
                        <a:pt x="7561" y="18269"/>
                      </a:cubicBezTo>
                      <a:cubicBezTo>
                        <a:pt x="2597" y="17372"/>
                        <a:pt x="-752" y="12587"/>
                        <a:pt x="145" y="7563"/>
                      </a:cubicBezTo>
                      <a:close/>
                    </a:path>
                  </a:pathLst>
                </a:custGeom>
                <a:grpFill/>
                <a:ln w="5978" cap="flat">
                  <a:noFill/>
                  <a:prstDash val="solid"/>
                  <a:miter/>
                </a:ln>
              </p:spPr>
              <p:txBody>
                <a:bodyPr rtlCol="0" anchor="ctr"/>
                <a:lstStyle/>
                <a:p>
                  <a:endParaRPr lang="en-GB"/>
                </a:p>
              </p:txBody>
            </p:sp>
            <p:sp>
              <p:nvSpPr>
                <p:cNvPr id="4013" name="Vrije vorm: vorm 4012">
                  <a:extLst>
                    <a:ext uri="{FF2B5EF4-FFF2-40B4-BE49-F238E27FC236}">
                      <a16:creationId xmlns:a16="http://schemas.microsoft.com/office/drawing/2014/main" id="{DFC1DEBB-40CF-439E-AAEC-1DA7A79B5FAE}"/>
                    </a:ext>
                  </a:extLst>
                </p:cNvPr>
                <p:cNvSpPr/>
                <p:nvPr/>
              </p:nvSpPr>
              <p:spPr>
                <a:xfrm>
                  <a:off x="6367848" y="1594234"/>
                  <a:ext cx="18352" cy="18416"/>
                </a:xfrm>
                <a:custGeom>
                  <a:avLst/>
                  <a:gdLst>
                    <a:gd name="connsiteX0" fmla="*/ 145 w 18352"/>
                    <a:gd name="connsiteY0" fmla="*/ 7563 h 18416"/>
                    <a:gd name="connsiteX1" fmla="*/ 7561 w 18352"/>
                    <a:gd name="connsiteY1" fmla="*/ 18269 h 18416"/>
                    <a:gd name="connsiteX2" fmla="*/ 18207 w 18352"/>
                    <a:gd name="connsiteY2" fmla="*/ 10853 h 18416"/>
                    <a:gd name="connsiteX3" fmla="*/ 10791 w 18352"/>
                    <a:gd name="connsiteY3" fmla="*/ 147 h 18416"/>
                    <a:gd name="connsiteX4" fmla="*/ 145 w 18352"/>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6">
                      <a:moveTo>
                        <a:pt x="145" y="7563"/>
                      </a:moveTo>
                      <a:cubicBezTo>
                        <a:pt x="-752" y="12587"/>
                        <a:pt x="2598" y="17372"/>
                        <a:pt x="7561" y="18269"/>
                      </a:cubicBezTo>
                      <a:cubicBezTo>
                        <a:pt x="12525" y="19166"/>
                        <a:pt x="17310" y="15877"/>
                        <a:pt x="18207" y="10853"/>
                      </a:cubicBezTo>
                      <a:cubicBezTo>
                        <a:pt x="19104" y="5829"/>
                        <a:pt x="15755" y="1044"/>
                        <a:pt x="10791" y="147"/>
                      </a:cubicBezTo>
                      <a:cubicBezTo>
                        <a:pt x="5827" y="-750"/>
                        <a:pt x="1043" y="2540"/>
                        <a:pt x="145" y="7563"/>
                      </a:cubicBezTo>
                      <a:close/>
                    </a:path>
                  </a:pathLst>
                </a:custGeom>
                <a:grpFill/>
                <a:ln w="5978" cap="flat">
                  <a:noFill/>
                  <a:prstDash val="solid"/>
                  <a:miter/>
                </a:ln>
              </p:spPr>
              <p:txBody>
                <a:bodyPr rtlCol="0" anchor="ctr"/>
                <a:lstStyle/>
                <a:p>
                  <a:endParaRPr lang="en-GB"/>
                </a:p>
              </p:txBody>
            </p:sp>
          </p:grpSp>
          <p:grpSp>
            <p:nvGrpSpPr>
              <p:cNvPr id="459" name="Graphic 3">
                <a:extLst>
                  <a:ext uri="{FF2B5EF4-FFF2-40B4-BE49-F238E27FC236}">
                    <a16:creationId xmlns:a16="http://schemas.microsoft.com/office/drawing/2014/main" id="{E242F214-B79F-4CF9-B70E-CEFF893F358D}"/>
                  </a:ext>
                </a:extLst>
              </p:cNvPr>
              <p:cNvGrpSpPr/>
              <p:nvPr/>
            </p:nvGrpSpPr>
            <p:grpSpPr>
              <a:xfrm>
                <a:off x="7345764" y="4499868"/>
                <a:ext cx="133045" cy="114843"/>
                <a:chOff x="7345764" y="4499868"/>
                <a:chExt cx="133045" cy="114843"/>
              </a:xfrm>
              <a:grpFill/>
            </p:grpSpPr>
            <p:sp>
              <p:nvSpPr>
                <p:cNvPr id="4008" name="Vrije vorm: vorm 4007">
                  <a:extLst>
                    <a:ext uri="{FF2B5EF4-FFF2-40B4-BE49-F238E27FC236}">
                      <a16:creationId xmlns:a16="http://schemas.microsoft.com/office/drawing/2014/main" id="{DEDD9C46-86EE-4A72-A4D8-CF2C09D30038}"/>
                    </a:ext>
                  </a:extLst>
                </p:cNvPr>
                <p:cNvSpPr/>
                <p:nvPr/>
              </p:nvSpPr>
              <p:spPr>
                <a:xfrm>
                  <a:off x="7353616" y="4507650"/>
                  <a:ext cx="117401" cy="99280"/>
                </a:xfrm>
                <a:custGeom>
                  <a:avLst/>
                  <a:gdLst>
                    <a:gd name="connsiteX0" fmla="*/ 117402 w 117401"/>
                    <a:gd name="connsiteY0" fmla="*/ 96948 h 99280"/>
                    <a:gd name="connsiteX1" fmla="*/ 115428 w 117401"/>
                    <a:gd name="connsiteY1" fmla="*/ 99280 h 99280"/>
                    <a:gd name="connsiteX2" fmla="*/ 0 w 117401"/>
                    <a:gd name="connsiteY2" fmla="*/ 2333 h 99280"/>
                    <a:gd name="connsiteX3" fmla="*/ 1914 w 117401"/>
                    <a:gd name="connsiteY3" fmla="*/ 0 h 99280"/>
                  </a:gdLst>
                  <a:ahLst/>
                  <a:cxnLst>
                    <a:cxn ang="0">
                      <a:pos x="connsiteX0" y="connsiteY0"/>
                    </a:cxn>
                    <a:cxn ang="0">
                      <a:pos x="connsiteX1" y="connsiteY1"/>
                    </a:cxn>
                    <a:cxn ang="0">
                      <a:pos x="connsiteX2" y="connsiteY2"/>
                    </a:cxn>
                    <a:cxn ang="0">
                      <a:pos x="connsiteX3" y="connsiteY3"/>
                    </a:cxn>
                  </a:cxnLst>
                  <a:rect l="l" t="t" r="r" b="b"/>
                  <a:pathLst>
                    <a:path w="117401" h="99280">
                      <a:moveTo>
                        <a:pt x="117402" y="96948"/>
                      </a:moveTo>
                      <a:lnTo>
                        <a:pt x="115428" y="99280"/>
                      </a:lnTo>
                      <a:lnTo>
                        <a:pt x="0" y="2333"/>
                      </a:lnTo>
                      <a:lnTo>
                        <a:pt x="1914" y="0"/>
                      </a:lnTo>
                      <a:close/>
                    </a:path>
                  </a:pathLst>
                </a:custGeom>
                <a:grpFill/>
                <a:ln w="5978" cap="flat">
                  <a:noFill/>
                  <a:prstDash val="solid"/>
                  <a:miter/>
                </a:ln>
              </p:spPr>
              <p:txBody>
                <a:bodyPr rtlCol="0" anchor="ctr"/>
                <a:lstStyle/>
                <a:p>
                  <a:endParaRPr lang="en-GB"/>
                </a:p>
              </p:txBody>
            </p:sp>
            <p:sp>
              <p:nvSpPr>
                <p:cNvPr id="4009" name="Vrije vorm: vorm 4008">
                  <a:extLst>
                    <a:ext uri="{FF2B5EF4-FFF2-40B4-BE49-F238E27FC236}">
                      <a16:creationId xmlns:a16="http://schemas.microsoft.com/office/drawing/2014/main" id="{FFA666E1-3E93-41AE-A63D-BD4F7FEEB90E}"/>
                    </a:ext>
                  </a:extLst>
                </p:cNvPr>
                <p:cNvSpPr/>
                <p:nvPr/>
              </p:nvSpPr>
              <p:spPr>
                <a:xfrm>
                  <a:off x="7460475" y="4596278"/>
                  <a:ext cx="18335" cy="18433"/>
                </a:xfrm>
                <a:custGeom>
                  <a:avLst/>
                  <a:gdLst>
                    <a:gd name="connsiteX0" fmla="*/ 15029 w 18335"/>
                    <a:gd name="connsiteY0" fmla="*/ 2160 h 18433"/>
                    <a:gd name="connsiteX1" fmla="*/ 16225 w 18335"/>
                    <a:gd name="connsiteY1" fmla="*/ 15138 h 18433"/>
                    <a:gd name="connsiteX2" fmla="*/ 3307 w 18335"/>
                    <a:gd name="connsiteY2" fmla="*/ 16274 h 18433"/>
                    <a:gd name="connsiteX3" fmla="*/ 2110 w 18335"/>
                    <a:gd name="connsiteY3" fmla="*/ 3296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8916" y="5449"/>
                        <a:pt x="19454" y="11250"/>
                        <a:pt x="16225" y="15138"/>
                      </a:cubicBezTo>
                      <a:cubicBezTo>
                        <a:pt x="12995" y="19025"/>
                        <a:pt x="7194" y="19564"/>
                        <a:pt x="3307" y="16274"/>
                      </a:cubicBezTo>
                      <a:cubicBezTo>
                        <a:pt x="-581" y="12985"/>
                        <a:pt x="-1119" y="7184"/>
                        <a:pt x="2110" y="3296"/>
                      </a:cubicBezTo>
                      <a:cubicBezTo>
                        <a:pt x="5400" y="-591"/>
                        <a:pt x="11141" y="-1130"/>
                        <a:pt x="15029" y="2160"/>
                      </a:cubicBezTo>
                      <a:close/>
                    </a:path>
                  </a:pathLst>
                </a:custGeom>
                <a:grpFill/>
                <a:ln w="5978" cap="flat">
                  <a:noFill/>
                  <a:prstDash val="solid"/>
                  <a:miter/>
                </a:ln>
              </p:spPr>
              <p:txBody>
                <a:bodyPr rtlCol="0" anchor="ctr"/>
                <a:lstStyle/>
                <a:p>
                  <a:endParaRPr lang="en-GB"/>
                </a:p>
              </p:txBody>
            </p:sp>
            <p:sp>
              <p:nvSpPr>
                <p:cNvPr id="4010" name="Vrije vorm: vorm 4009">
                  <a:extLst>
                    <a:ext uri="{FF2B5EF4-FFF2-40B4-BE49-F238E27FC236}">
                      <a16:creationId xmlns:a16="http://schemas.microsoft.com/office/drawing/2014/main" id="{40F86E14-CE4A-4BE3-B8D7-033164F899F0}"/>
                    </a:ext>
                  </a:extLst>
                </p:cNvPr>
                <p:cNvSpPr/>
                <p:nvPr/>
              </p:nvSpPr>
              <p:spPr>
                <a:xfrm>
                  <a:off x="7345764" y="4499868"/>
                  <a:ext cx="18335" cy="18433"/>
                </a:xfrm>
                <a:custGeom>
                  <a:avLst/>
                  <a:gdLst>
                    <a:gd name="connsiteX0" fmla="*/ 15029 w 18335"/>
                    <a:gd name="connsiteY0" fmla="*/ 2160 h 18433"/>
                    <a:gd name="connsiteX1" fmla="*/ 2111 w 18335"/>
                    <a:gd name="connsiteY1" fmla="*/ 3296 h 18433"/>
                    <a:gd name="connsiteX2" fmla="*/ 3306 w 18335"/>
                    <a:gd name="connsiteY2" fmla="*/ 16274 h 18433"/>
                    <a:gd name="connsiteX3" fmla="*/ 16225 w 18335"/>
                    <a:gd name="connsiteY3" fmla="*/ 15138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1142" y="-1130"/>
                        <a:pt x="5340" y="-591"/>
                        <a:pt x="2111" y="3296"/>
                      </a:cubicBezTo>
                      <a:cubicBezTo>
                        <a:pt x="-1119" y="7184"/>
                        <a:pt x="-581" y="12985"/>
                        <a:pt x="3306" y="16274"/>
                      </a:cubicBezTo>
                      <a:cubicBezTo>
                        <a:pt x="7194" y="19564"/>
                        <a:pt x="12995" y="19025"/>
                        <a:pt x="16225" y="15138"/>
                      </a:cubicBezTo>
                      <a:cubicBezTo>
                        <a:pt x="19455" y="11250"/>
                        <a:pt x="18916" y="5449"/>
                        <a:pt x="15029" y="2160"/>
                      </a:cubicBezTo>
                      <a:close/>
                    </a:path>
                  </a:pathLst>
                </a:custGeom>
                <a:grpFill/>
                <a:ln w="5978" cap="flat">
                  <a:noFill/>
                  <a:prstDash val="solid"/>
                  <a:miter/>
                </a:ln>
              </p:spPr>
              <p:txBody>
                <a:bodyPr rtlCol="0" anchor="ctr"/>
                <a:lstStyle/>
                <a:p>
                  <a:endParaRPr lang="en-GB"/>
                </a:p>
              </p:txBody>
            </p:sp>
          </p:grpSp>
          <p:grpSp>
            <p:nvGrpSpPr>
              <p:cNvPr id="460" name="Graphic 3">
                <a:extLst>
                  <a:ext uri="{FF2B5EF4-FFF2-40B4-BE49-F238E27FC236}">
                    <a16:creationId xmlns:a16="http://schemas.microsoft.com/office/drawing/2014/main" id="{2DEF7BB0-3445-4012-B996-1CF667C88E91}"/>
                  </a:ext>
                </a:extLst>
              </p:cNvPr>
              <p:cNvGrpSpPr/>
              <p:nvPr/>
            </p:nvGrpSpPr>
            <p:grpSpPr>
              <a:xfrm>
                <a:off x="6432647" y="1678569"/>
                <a:ext cx="39110" cy="106736"/>
                <a:chOff x="6432647" y="1678569"/>
                <a:chExt cx="39110" cy="106736"/>
              </a:xfrm>
              <a:grpFill/>
            </p:grpSpPr>
            <p:sp>
              <p:nvSpPr>
                <p:cNvPr id="4005" name="Vrije vorm: vorm 4004">
                  <a:extLst>
                    <a:ext uri="{FF2B5EF4-FFF2-40B4-BE49-F238E27FC236}">
                      <a16:creationId xmlns:a16="http://schemas.microsoft.com/office/drawing/2014/main" id="{B1801FDF-5395-4C14-BD4D-ABF2F839E0EA}"/>
                    </a:ext>
                  </a:extLst>
                </p:cNvPr>
                <p:cNvSpPr/>
                <p:nvPr/>
              </p:nvSpPr>
              <p:spPr>
                <a:xfrm>
                  <a:off x="6440240" y="1687022"/>
                  <a:ext cx="23922" cy="89830"/>
                </a:xfrm>
                <a:custGeom>
                  <a:avLst/>
                  <a:gdLst>
                    <a:gd name="connsiteX0" fmla="*/ 23923 w 23922"/>
                    <a:gd name="connsiteY0" fmla="*/ 718 h 89830"/>
                    <a:gd name="connsiteX1" fmla="*/ 2930 w 23922"/>
                    <a:gd name="connsiteY1" fmla="*/ 89830 h 89830"/>
                    <a:gd name="connsiteX2" fmla="*/ 0 w 23922"/>
                    <a:gd name="connsiteY2" fmla="*/ 89113 h 89830"/>
                    <a:gd name="connsiteX3" fmla="*/ 20992 w 23922"/>
                    <a:gd name="connsiteY3" fmla="*/ 0 h 89830"/>
                  </a:gdLst>
                  <a:ahLst/>
                  <a:cxnLst>
                    <a:cxn ang="0">
                      <a:pos x="connsiteX0" y="connsiteY0"/>
                    </a:cxn>
                    <a:cxn ang="0">
                      <a:pos x="connsiteX1" y="connsiteY1"/>
                    </a:cxn>
                    <a:cxn ang="0">
                      <a:pos x="connsiteX2" y="connsiteY2"/>
                    </a:cxn>
                    <a:cxn ang="0">
                      <a:pos x="connsiteX3" y="connsiteY3"/>
                    </a:cxn>
                  </a:cxnLst>
                  <a:rect l="l" t="t" r="r" b="b"/>
                  <a:pathLst>
                    <a:path w="23922" h="89830">
                      <a:moveTo>
                        <a:pt x="23923" y="718"/>
                      </a:moveTo>
                      <a:lnTo>
                        <a:pt x="2930" y="89830"/>
                      </a:lnTo>
                      <a:lnTo>
                        <a:pt x="0" y="89113"/>
                      </a:lnTo>
                      <a:lnTo>
                        <a:pt x="20992" y="0"/>
                      </a:lnTo>
                      <a:close/>
                    </a:path>
                  </a:pathLst>
                </a:custGeom>
                <a:grpFill/>
                <a:ln w="5978" cap="flat">
                  <a:noFill/>
                  <a:prstDash val="solid"/>
                  <a:miter/>
                </a:ln>
              </p:spPr>
              <p:txBody>
                <a:bodyPr rtlCol="0" anchor="ctr"/>
                <a:lstStyle/>
                <a:p>
                  <a:endParaRPr lang="en-GB"/>
                </a:p>
              </p:txBody>
            </p:sp>
            <p:sp>
              <p:nvSpPr>
                <p:cNvPr id="4006" name="Vrije vorm: vorm 4005">
                  <a:extLst>
                    <a:ext uri="{FF2B5EF4-FFF2-40B4-BE49-F238E27FC236}">
                      <a16:creationId xmlns:a16="http://schemas.microsoft.com/office/drawing/2014/main" id="{1B7ECDEF-7548-4EA3-B06F-9D2600DF7E99}"/>
                    </a:ext>
                  </a:extLst>
                </p:cNvPr>
                <p:cNvSpPr/>
                <p:nvPr/>
              </p:nvSpPr>
              <p:spPr>
                <a:xfrm>
                  <a:off x="6453437" y="1678569"/>
                  <a:ext cx="18319" cy="18461"/>
                </a:xfrm>
                <a:custGeom>
                  <a:avLst/>
                  <a:gdLst>
                    <a:gd name="connsiteX0" fmla="*/ 260 w 18319"/>
                    <a:gd name="connsiteY0" fmla="*/ 7078 h 18461"/>
                    <a:gd name="connsiteX1" fmla="*/ 11264 w 18319"/>
                    <a:gd name="connsiteY1" fmla="*/ 260 h 18461"/>
                    <a:gd name="connsiteX2" fmla="*/ 18082 w 18319"/>
                    <a:gd name="connsiteY2" fmla="*/ 11384 h 18461"/>
                    <a:gd name="connsiteX3" fmla="*/ 7078 w 18319"/>
                    <a:gd name="connsiteY3" fmla="*/ 18202 h 18461"/>
                    <a:gd name="connsiteX4" fmla="*/ 260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60" y="7078"/>
                      </a:moveTo>
                      <a:cubicBezTo>
                        <a:pt x="1456" y="2114"/>
                        <a:pt x="6360" y="-936"/>
                        <a:pt x="11264" y="260"/>
                      </a:cubicBezTo>
                      <a:cubicBezTo>
                        <a:pt x="16168" y="1456"/>
                        <a:pt x="19218" y="6420"/>
                        <a:pt x="18082" y="11384"/>
                      </a:cubicBezTo>
                      <a:cubicBezTo>
                        <a:pt x="16886" y="16348"/>
                        <a:pt x="11982" y="19398"/>
                        <a:pt x="7078" y="18202"/>
                      </a:cubicBezTo>
                      <a:cubicBezTo>
                        <a:pt x="2114" y="17006"/>
                        <a:pt x="-937" y="12042"/>
                        <a:pt x="260" y="7078"/>
                      </a:cubicBezTo>
                      <a:close/>
                    </a:path>
                  </a:pathLst>
                </a:custGeom>
                <a:grpFill/>
                <a:ln w="5978" cap="flat">
                  <a:noFill/>
                  <a:prstDash val="solid"/>
                  <a:miter/>
                </a:ln>
              </p:spPr>
              <p:txBody>
                <a:bodyPr rtlCol="0" anchor="ctr"/>
                <a:lstStyle/>
                <a:p>
                  <a:endParaRPr lang="en-GB"/>
                </a:p>
              </p:txBody>
            </p:sp>
            <p:sp>
              <p:nvSpPr>
                <p:cNvPr id="4007" name="Vrije vorm: vorm 4006">
                  <a:extLst>
                    <a:ext uri="{FF2B5EF4-FFF2-40B4-BE49-F238E27FC236}">
                      <a16:creationId xmlns:a16="http://schemas.microsoft.com/office/drawing/2014/main" id="{9488B018-E4E9-49E2-BC53-E882727BFBEE}"/>
                    </a:ext>
                  </a:extLst>
                </p:cNvPr>
                <p:cNvSpPr/>
                <p:nvPr/>
              </p:nvSpPr>
              <p:spPr>
                <a:xfrm>
                  <a:off x="6432647" y="1766844"/>
                  <a:ext cx="18319" cy="18461"/>
                </a:xfrm>
                <a:custGeom>
                  <a:avLst/>
                  <a:gdLst>
                    <a:gd name="connsiteX0" fmla="*/ 238 w 18319"/>
                    <a:gd name="connsiteY0" fmla="*/ 7078 h 18461"/>
                    <a:gd name="connsiteX1" fmla="*/ 7055 w 18319"/>
                    <a:gd name="connsiteY1" fmla="*/ 18202 h 18461"/>
                    <a:gd name="connsiteX2" fmla="*/ 18060 w 18319"/>
                    <a:gd name="connsiteY2" fmla="*/ 11384 h 18461"/>
                    <a:gd name="connsiteX3" fmla="*/ 11242 w 18319"/>
                    <a:gd name="connsiteY3" fmla="*/ 260 h 18461"/>
                    <a:gd name="connsiteX4" fmla="*/ 238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38" y="7078"/>
                      </a:moveTo>
                      <a:cubicBezTo>
                        <a:pt x="-899" y="12042"/>
                        <a:pt x="2151" y="17006"/>
                        <a:pt x="7055" y="18202"/>
                      </a:cubicBezTo>
                      <a:cubicBezTo>
                        <a:pt x="11960" y="19398"/>
                        <a:pt x="16924" y="16348"/>
                        <a:pt x="18060" y="11384"/>
                      </a:cubicBezTo>
                      <a:cubicBezTo>
                        <a:pt x="19256" y="6420"/>
                        <a:pt x="16206" y="1456"/>
                        <a:pt x="11242" y="260"/>
                      </a:cubicBezTo>
                      <a:cubicBezTo>
                        <a:pt x="6338" y="-937"/>
                        <a:pt x="1433" y="2114"/>
                        <a:pt x="238" y="7078"/>
                      </a:cubicBezTo>
                      <a:close/>
                    </a:path>
                  </a:pathLst>
                </a:custGeom>
                <a:grpFill/>
                <a:ln w="5978" cap="flat">
                  <a:noFill/>
                  <a:prstDash val="solid"/>
                  <a:miter/>
                </a:ln>
              </p:spPr>
              <p:txBody>
                <a:bodyPr rtlCol="0" anchor="ctr"/>
                <a:lstStyle/>
                <a:p>
                  <a:endParaRPr lang="en-GB"/>
                </a:p>
              </p:txBody>
            </p:sp>
          </p:grpSp>
          <p:grpSp>
            <p:nvGrpSpPr>
              <p:cNvPr id="461" name="Graphic 3">
                <a:extLst>
                  <a:ext uri="{FF2B5EF4-FFF2-40B4-BE49-F238E27FC236}">
                    <a16:creationId xmlns:a16="http://schemas.microsoft.com/office/drawing/2014/main" id="{578F9D3C-8621-455D-A732-10BFF3536DB7}"/>
                  </a:ext>
                </a:extLst>
              </p:cNvPr>
              <p:cNvGrpSpPr/>
              <p:nvPr/>
            </p:nvGrpSpPr>
            <p:grpSpPr>
              <a:xfrm>
                <a:off x="6340460" y="1463055"/>
                <a:ext cx="105543" cy="309958"/>
                <a:chOff x="6340460" y="1463055"/>
                <a:chExt cx="105543" cy="309958"/>
              </a:xfrm>
              <a:grpFill/>
            </p:grpSpPr>
            <p:sp>
              <p:nvSpPr>
                <p:cNvPr id="4002" name="Vrije vorm: vorm 4001">
                  <a:extLst>
                    <a:ext uri="{FF2B5EF4-FFF2-40B4-BE49-F238E27FC236}">
                      <a16:creationId xmlns:a16="http://schemas.microsoft.com/office/drawing/2014/main" id="{9D13D2A8-B2BD-4538-B625-E095089D266E}"/>
                    </a:ext>
                  </a:extLst>
                </p:cNvPr>
                <p:cNvSpPr/>
                <p:nvPr/>
              </p:nvSpPr>
              <p:spPr>
                <a:xfrm>
                  <a:off x="6348018" y="1471357"/>
                  <a:ext cx="90368" cy="293354"/>
                </a:xfrm>
                <a:custGeom>
                  <a:avLst/>
                  <a:gdLst>
                    <a:gd name="connsiteX0" fmla="*/ 90369 w 90368"/>
                    <a:gd name="connsiteY0" fmla="*/ 897 h 293354"/>
                    <a:gd name="connsiteX1" fmla="*/ 2930 w 90368"/>
                    <a:gd name="connsiteY1" fmla="*/ 293354 h 293354"/>
                    <a:gd name="connsiteX2" fmla="*/ 0 w 90368"/>
                    <a:gd name="connsiteY2" fmla="*/ 292457 h 293354"/>
                    <a:gd name="connsiteX3" fmla="*/ 87498 w 90368"/>
                    <a:gd name="connsiteY3" fmla="*/ 0 h 293354"/>
                  </a:gdLst>
                  <a:ahLst/>
                  <a:cxnLst>
                    <a:cxn ang="0">
                      <a:pos x="connsiteX0" y="connsiteY0"/>
                    </a:cxn>
                    <a:cxn ang="0">
                      <a:pos x="connsiteX1" y="connsiteY1"/>
                    </a:cxn>
                    <a:cxn ang="0">
                      <a:pos x="connsiteX2" y="connsiteY2"/>
                    </a:cxn>
                    <a:cxn ang="0">
                      <a:pos x="connsiteX3" y="connsiteY3"/>
                    </a:cxn>
                  </a:cxnLst>
                  <a:rect l="l" t="t" r="r" b="b"/>
                  <a:pathLst>
                    <a:path w="90368" h="293354">
                      <a:moveTo>
                        <a:pt x="90369" y="897"/>
                      </a:moveTo>
                      <a:lnTo>
                        <a:pt x="2930" y="293354"/>
                      </a:lnTo>
                      <a:lnTo>
                        <a:pt x="0" y="292457"/>
                      </a:lnTo>
                      <a:lnTo>
                        <a:pt x="87498" y="0"/>
                      </a:lnTo>
                      <a:close/>
                    </a:path>
                  </a:pathLst>
                </a:custGeom>
                <a:grpFill/>
                <a:ln w="5978" cap="flat">
                  <a:noFill/>
                  <a:prstDash val="solid"/>
                  <a:miter/>
                </a:ln>
              </p:spPr>
              <p:txBody>
                <a:bodyPr rtlCol="0" anchor="ctr"/>
                <a:lstStyle/>
                <a:p>
                  <a:endParaRPr lang="en-GB"/>
                </a:p>
              </p:txBody>
            </p:sp>
            <p:sp>
              <p:nvSpPr>
                <p:cNvPr id="4003" name="Vrije vorm: vorm 4002">
                  <a:extLst>
                    <a:ext uri="{FF2B5EF4-FFF2-40B4-BE49-F238E27FC236}">
                      <a16:creationId xmlns:a16="http://schemas.microsoft.com/office/drawing/2014/main" id="{304E9412-513B-465B-A2DF-D90E4F18D368}"/>
                    </a:ext>
                  </a:extLst>
                </p:cNvPr>
                <p:cNvSpPr/>
                <p:nvPr/>
              </p:nvSpPr>
              <p:spPr>
                <a:xfrm>
                  <a:off x="6340460" y="1754616"/>
                  <a:ext cx="18344" cy="18398"/>
                </a:xfrm>
                <a:custGeom>
                  <a:avLst/>
                  <a:gdLst>
                    <a:gd name="connsiteX0" fmla="*/ 17964 w 18344"/>
                    <a:gd name="connsiteY0" fmla="*/ 11890 h 18398"/>
                    <a:gd name="connsiteX1" fmla="*/ 6540 w 18344"/>
                    <a:gd name="connsiteY1" fmla="*/ 17991 h 18398"/>
                    <a:gd name="connsiteX2" fmla="*/ 380 w 18344"/>
                    <a:gd name="connsiteY2" fmla="*/ 6508 h 18398"/>
                    <a:gd name="connsiteX3" fmla="*/ 11803 w 18344"/>
                    <a:gd name="connsiteY3" fmla="*/ 407 h 18398"/>
                    <a:gd name="connsiteX4" fmla="*/ 17964 w 18344"/>
                    <a:gd name="connsiteY4" fmla="*/ 1189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98">
                      <a:moveTo>
                        <a:pt x="17964" y="11890"/>
                      </a:moveTo>
                      <a:cubicBezTo>
                        <a:pt x="16528" y="16735"/>
                        <a:pt x="11385" y="19486"/>
                        <a:pt x="6540" y="17991"/>
                      </a:cubicBezTo>
                      <a:cubicBezTo>
                        <a:pt x="1696" y="16496"/>
                        <a:pt x="-1055" y="11352"/>
                        <a:pt x="380" y="6508"/>
                      </a:cubicBezTo>
                      <a:cubicBezTo>
                        <a:pt x="1816" y="1663"/>
                        <a:pt x="6959" y="-1088"/>
                        <a:pt x="11803" y="407"/>
                      </a:cubicBezTo>
                      <a:cubicBezTo>
                        <a:pt x="16648" y="1903"/>
                        <a:pt x="19399" y="7046"/>
                        <a:pt x="17964" y="11890"/>
                      </a:cubicBezTo>
                      <a:close/>
                    </a:path>
                  </a:pathLst>
                </a:custGeom>
                <a:grpFill/>
                <a:ln w="5978" cap="flat">
                  <a:noFill/>
                  <a:prstDash val="solid"/>
                  <a:miter/>
                </a:ln>
              </p:spPr>
              <p:txBody>
                <a:bodyPr rtlCol="0" anchor="ctr"/>
                <a:lstStyle/>
                <a:p>
                  <a:endParaRPr lang="en-GB"/>
                </a:p>
              </p:txBody>
            </p:sp>
            <p:sp>
              <p:nvSpPr>
                <p:cNvPr id="4004" name="Vrije vorm: vorm 4003">
                  <a:extLst>
                    <a:ext uri="{FF2B5EF4-FFF2-40B4-BE49-F238E27FC236}">
                      <a16:creationId xmlns:a16="http://schemas.microsoft.com/office/drawing/2014/main" id="{50D84246-5278-40DD-A037-A23C24810DE1}"/>
                    </a:ext>
                  </a:extLst>
                </p:cNvPr>
                <p:cNvSpPr/>
                <p:nvPr/>
              </p:nvSpPr>
              <p:spPr>
                <a:xfrm>
                  <a:off x="6427659" y="1463055"/>
                  <a:ext cx="18344" cy="18398"/>
                </a:xfrm>
                <a:custGeom>
                  <a:avLst/>
                  <a:gdLst>
                    <a:gd name="connsiteX0" fmla="*/ 17964 w 18344"/>
                    <a:gd name="connsiteY0" fmla="*/ 11890 h 18398"/>
                    <a:gd name="connsiteX1" fmla="*/ 11804 w 18344"/>
                    <a:gd name="connsiteY1" fmla="*/ 407 h 18398"/>
                    <a:gd name="connsiteX2" fmla="*/ 381 w 18344"/>
                    <a:gd name="connsiteY2" fmla="*/ 6508 h 18398"/>
                    <a:gd name="connsiteX3" fmla="*/ 6540 w 18344"/>
                    <a:gd name="connsiteY3" fmla="*/ 17991 h 18398"/>
                    <a:gd name="connsiteX4" fmla="*/ 17964 w 18344"/>
                    <a:gd name="connsiteY4" fmla="*/ 1189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98">
                      <a:moveTo>
                        <a:pt x="17964" y="11890"/>
                      </a:moveTo>
                      <a:cubicBezTo>
                        <a:pt x="19399" y="7046"/>
                        <a:pt x="16648" y="1903"/>
                        <a:pt x="11804" y="407"/>
                      </a:cubicBezTo>
                      <a:cubicBezTo>
                        <a:pt x="6959" y="-1088"/>
                        <a:pt x="1816" y="1663"/>
                        <a:pt x="381" y="6508"/>
                      </a:cubicBezTo>
                      <a:cubicBezTo>
                        <a:pt x="-1055" y="11352"/>
                        <a:pt x="1696" y="16496"/>
                        <a:pt x="6540" y="17991"/>
                      </a:cubicBezTo>
                      <a:cubicBezTo>
                        <a:pt x="11385" y="19486"/>
                        <a:pt x="16469" y="16735"/>
                        <a:pt x="17964" y="11890"/>
                      </a:cubicBezTo>
                      <a:close/>
                    </a:path>
                  </a:pathLst>
                </a:custGeom>
                <a:grpFill/>
                <a:ln w="5978" cap="flat">
                  <a:noFill/>
                  <a:prstDash val="solid"/>
                  <a:miter/>
                </a:ln>
              </p:spPr>
              <p:txBody>
                <a:bodyPr rtlCol="0" anchor="ctr"/>
                <a:lstStyle/>
                <a:p>
                  <a:endParaRPr lang="en-GB"/>
                </a:p>
              </p:txBody>
            </p:sp>
          </p:grpSp>
          <p:grpSp>
            <p:nvGrpSpPr>
              <p:cNvPr id="462" name="Graphic 3">
                <a:extLst>
                  <a:ext uri="{FF2B5EF4-FFF2-40B4-BE49-F238E27FC236}">
                    <a16:creationId xmlns:a16="http://schemas.microsoft.com/office/drawing/2014/main" id="{AFF68BC1-342D-4C93-8075-D20A86AB4B92}"/>
                  </a:ext>
                </a:extLst>
              </p:cNvPr>
              <p:cNvGrpSpPr/>
              <p:nvPr/>
            </p:nvGrpSpPr>
            <p:grpSpPr>
              <a:xfrm>
                <a:off x="6386964" y="1597562"/>
                <a:ext cx="33468" cy="95328"/>
                <a:chOff x="6386964" y="1597562"/>
                <a:chExt cx="33468" cy="95328"/>
              </a:xfrm>
              <a:grpFill/>
            </p:grpSpPr>
            <p:sp>
              <p:nvSpPr>
                <p:cNvPr id="3999" name="Vrije vorm: vorm 3998">
                  <a:extLst>
                    <a:ext uri="{FF2B5EF4-FFF2-40B4-BE49-F238E27FC236}">
                      <a16:creationId xmlns:a16="http://schemas.microsoft.com/office/drawing/2014/main" id="{A55DEE1D-0BAA-4100-832B-30F753D3DADF}"/>
                    </a:ext>
                  </a:extLst>
                </p:cNvPr>
                <p:cNvSpPr/>
                <p:nvPr/>
              </p:nvSpPr>
              <p:spPr>
                <a:xfrm>
                  <a:off x="6394548" y="1606043"/>
                  <a:ext cx="18300" cy="78347"/>
                </a:xfrm>
                <a:custGeom>
                  <a:avLst/>
                  <a:gdLst>
                    <a:gd name="connsiteX0" fmla="*/ 18301 w 18300"/>
                    <a:gd name="connsiteY0" fmla="*/ 598 h 78347"/>
                    <a:gd name="connsiteX1" fmla="*/ 2990 w 18300"/>
                    <a:gd name="connsiteY1" fmla="*/ 78347 h 78347"/>
                    <a:gd name="connsiteX2" fmla="*/ 0 w 18300"/>
                    <a:gd name="connsiteY2" fmla="*/ 77749 h 78347"/>
                    <a:gd name="connsiteX3" fmla="*/ 15311 w 18300"/>
                    <a:gd name="connsiteY3" fmla="*/ 0 h 78347"/>
                  </a:gdLst>
                  <a:ahLst/>
                  <a:cxnLst>
                    <a:cxn ang="0">
                      <a:pos x="connsiteX0" y="connsiteY0"/>
                    </a:cxn>
                    <a:cxn ang="0">
                      <a:pos x="connsiteX1" y="connsiteY1"/>
                    </a:cxn>
                    <a:cxn ang="0">
                      <a:pos x="connsiteX2" y="connsiteY2"/>
                    </a:cxn>
                    <a:cxn ang="0">
                      <a:pos x="connsiteX3" y="connsiteY3"/>
                    </a:cxn>
                  </a:cxnLst>
                  <a:rect l="l" t="t" r="r" b="b"/>
                  <a:pathLst>
                    <a:path w="18300" h="78347">
                      <a:moveTo>
                        <a:pt x="18301" y="598"/>
                      </a:moveTo>
                      <a:lnTo>
                        <a:pt x="2990" y="78347"/>
                      </a:lnTo>
                      <a:lnTo>
                        <a:pt x="0" y="77749"/>
                      </a:lnTo>
                      <a:lnTo>
                        <a:pt x="15311" y="0"/>
                      </a:lnTo>
                      <a:close/>
                    </a:path>
                  </a:pathLst>
                </a:custGeom>
                <a:grpFill/>
                <a:ln w="5978" cap="flat">
                  <a:noFill/>
                  <a:prstDash val="solid"/>
                  <a:miter/>
                </a:ln>
              </p:spPr>
              <p:txBody>
                <a:bodyPr rtlCol="0" anchor="ctr"/>
                <a:lstStyle/>
                <a:p>
                  <a:endParaRPr lang="en-GB"/>
                </a:p>
              </p:txBody>
            </p:sp>
            <p:sp>
              <p:nvSpPr>
                <p:cNvPr id="4000" name="Vrije vorm: vorm 3999">
                  <a:extLst>
                    <a:ext uri="{FF2B5EF4-FFF2-40B4-BE49-F238E27FC236}">
                      <a16:creationId xmlns:a16="http://schemas.microsoft.com/office/drawing/2014/main" id="{58687C68-82BD-4086-B1FD-9BBF5F249821}"/>
                    </a:ext>
                  </a:extLst>
                </p:cNvPr>
                <p:cNvSpPr/>
                <p:nvPr/>
              </p:nvSpPr>
              <p:spPr>
                <a:xfrm>
                  <a:off x="6402076" y="1597562"/>
                  <a:ext cx="18356" cy="18397"/>
                </a:xfrm>
                <a:custGeom>
                  <a:avLst/>
                  <a:gdLst>
                    <a:gd name="connsiteX0" fmla="*/ 187 w 18356"/>
                    <a:gd name="connsiteY0" fmla="*/ 7405 h 18397"/>
                    <a:gd name="connsiteX1" fmla="*/ 10952 w 18356"/>
                    <a:gd name="connsiteY1" fmla="*/ 168 h 18397"/>
                    <a:gd name="connsiteX2" fmla="*/ 18189 w 18356"/>
                    <a:gd name="connsiteY2" fmla="*/ 10993 h 18397"/>
                    <a:gd name="connsiteX3" fmla="*/ 7424 w 18356"/>
                    <a:gd name="connsiteY3" fmla="*/ 18230 h 18397"/>
                    <a:gd name="connsiteX4" fmla="*/ 187 w 18356"/>
                    <a:gd name="connsiteY4" fmla="*/ 7405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87" y="7405"/>
                      </a:moveTo>
                      <a:cubicBezTo>
                        <a:pt x="1144" y="2441"/>
                        <a:pt x="5988" y="-789"/>
                        <a:pt x="10952" y="168"/>
                      </a:cubicBezTo>
                      <a:cubicBezTo>
                        <a:pt x="15916" y="1185"/>
                        <a:pt x="19146" y="6029"/>
                        <a:pt x="18189" y="10993"/>
                      </a:cubicBezTo>
                      <a:cubicBezTo>
                        <a:pt x="17232" y="15957"/>
                        <a:pt x="12388" y="19187"/>
                        <a:pt x="7424" y="18230"/>
                      </a:cubicBezTo>
                      <a:cubicBezTo>
                        <a:pt x="2400" y="17273"/>
                        <a:pt x="-830" y="12369"/>
                        <a:pt x="187" y="7405"/>
                      </a:cubicBezTo>
                      <a:close/>
                    </a:path>
                  </a:pathLst>
                </a:custGeom>
                <a:grpFill/>
                <a:ln w="5978" cap="flat">
                  <a:noFill/>
                  <a:prstDash val="solid"/>
                  <a:miter/>
                </a:ln>
              </p:spPr>
              <p:txBody>
                <a:bodyPr rtlCol="0" anchor="ctr"/>
                <a:lstStyle/>
                <a:p>
                  <a:endParaRPr lang="en-GB"/>
                </a:p>
              </p:txBody>
            </p:sp>
            <p:sp>
              <p:nvSpPr>
                <p:cNvPr id="4001" name="Vrije vorm: vorm 4000">
                  <a:extLst>
                    <a:ext uri="{FF2B5EF4-FFF2-40B4-BE49-F238E27FC236}">
                      <a16:creationId xmlns:a16="http://schemas.microsoft.com/office/drawing/2014/main" id="{851AF6C4-CD79-4E9E-AE4C-DF2F15AB6DC9}"/>
                    </a:ext>
                  </a:extLst>
                </p:cNvPr>
                <p:cNvSpPr/>
                <p:nvPr/>
              </p:nvSpPr>
              <p:spPr>
                <a:xfrm>
                  <a:off x="6386964" y="1674435"/>
                  <a:ext cx="18337" cy="18455"/>
                </a:xfrm>
                <a:custGeom>
                  <a:avLst/>
                  <a:gdLst>
                    <a:gd name="connsiteX0" fmla="*/ 168 w 18337"/>
                    <a:gd name="connsiteY0" fmla="*/ 7384 h 18455"/>
                    <a:gd name="connsiteX1" fmla="*/ 7405 w 18337"/>
                    <a:gd name="connsiteY1" fmla="*/ 18269 h 18455"/>
                    <a:gd name="connsiteX2" fmla="*/ 18170 w 18337"/>
                    <a:gd name="connsiteY2" fmla="*/ 11032 h 18455"/>
                    <a:gd name="connsiteX3" fmla="*/ 10933 w 18337"/>
                    <a:gd name="connsiteY3" fmla="*/ 207 h 18455"/>
                    <a:gd name="connsiteX4" fmla="*/ 168 w 18337"/>
                    <a:gd name="connsiteY4" fmla="*/ 7384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5">
                      <a:moveTo>
                        <a:pt x="168" y="7384"/>
                      </a:moveTo>
                      <a:cubicBezTo>
                        <a:pt x="-789" y="12348"/>
                        <a:pt x="2441" y="17252"/>
                        <a:pt x="7405" y="18269"/>
                      </a:cubicBezTo>
                      <a:cubicBezTo>
                        <a:pt x="12368" y="19286"/>
                        <a:pt x="17213" y="16056"/>
                        <a:pt x="18170" y="11032"/>
                      </a:cubicBezTo>
                      <a:cubicBezTo>
                        <a:pt x="19127" y="6068"/>
                        <a:pt x="15897" y="1164"/>
                        <a:pt x="10933" y="207"/>
                      </a:cubicBezTo>
                      <a:cubicBezTo>
                        <a:pt x="5969" y="-870"/>
                        <a:pt x="1125" y="2360"/>
                        <a:pt x="168" y="7384"/>
                      </a:cubicBezTo>
                      <a:close/>
                    </a:path>
                  </a:pathLst>
                </a:custGeom>
                <a:grpFill/>
                <a:ln w="5978" cap="flat">
                  <a:noFill/>
                  <a:prstDash val="solid"/>
                  <a:miter/>
                </a:ln>
              </p:spPr>
              <p:txBody>
                <a:bodyPr rtlCol="0" anchor="ctr"/>
                <a:lstStyle/>
                <a:p>
                  <a:endParaRPr lang="en-GB"/>
                </a:p>
              </p:txBody>
            </p:sp>
          </p:grpSp>
          <p:grpSp>
            <p:nvGrpSpPr>
              <p:cNvPr id="463" name="Graphic 3">
                <a:extLst>
                  <a:ext uri="{FF2B5EF4-FFF2-40B4-BE49-F238E27FC236}">
                    <a16:creationId xmlns:a16="http://schemas.microsoft.com/office/drawing/2014/main" id="{29DC5D97-0AAE-462E-8BF8-C7322CFD6D38}"/>
                  </a:ext>
                </a:extLst>
              </p:cNvPr>
              <p:cNvGrpSpPr/>
              <p:nvPr/>
            </p:nvGrpSpPr>
            <p:grpSpPr>
              <a:xfrm>
                <a:off x="7409235" y="4840482"/>
                <a:ext cx="210165" cy="220058"/>
                <a:chOff x="7409235" y="4840482"/>
                <a:chExt cx="210165" cy="220058"/>
              </a:xfrm>
              <a:grpFill/>
            </p:grpSpPr>
            <p:sp>
              <p:nvSpPr>
                <p:cNvPr id="3996" name="Vrije vorm: vorm 3995">
                  <a:extLst>
                    <a:ext uri="{FF2B5EF4-FFF2-40B4-BE49-F238E27FC236}">
                      <a16:creationId xmlns:a16="http://schemas.microsoft.com/office/drawing/2014/main" id="{72C3EB5F-F0E9-4CDF-8775-F03B78C0C31C}"/>
                    </a:ext>
                  </a:extLst>
                </p:cNvPr>
                <p:cNvSpPr/>
                <p:nvPr/>
              </p:nvSpPr>
              <p:spPr>
                <a:xfrm>
                  <a:off x="7417012" y="4848312"/>
                  <a:ext cx="194612" cy="204421"/>
                </a:xfrm>
                <a:custGeom>
                  <a:avLst/>
                  <a:gdLst>
                    <a:gd name="connsiteX0" fmla="*/ 194613 w 194612"/>
                    <a:gd name="connsiteY0" fmla="*/ 202268 h 204421"/>
                    <a:gd name="connsiteX1" fmla="*/ 192460 w 194612"/>
                    <a:gd name="connsiteY1" fmla="*/ 204421 h 204421"/>
                    <a:gd name="connsiteX2" fmla="*/ 0 w 194612"/>
                    <a:gd name="connsiteY2" fmla="*/ 2153 h 204421"/>
                    <a:gd name="connsiteX3" fmla="*/ 2154 w 194612"/>
                    <a:gd name="connsiteY3" fmla="*/ 0 h 204421"/>
                  </a:gdLst>
                  <a:ahLst/>
                  <a:cxnLst>
                    <a:cxn ang="0">
                      <a:pos x="connsiteX0" y="connsiteY0"/>
                    </a:cxn>
                    <a:cxn ang="0">
                      <a:pos x="connsiteX1" y="connsiteY1"/>
                    </a:cxn>
                    <a:cxn ang="0">
                      <a:pos x="connsiteX2" y="connsiteY2"/>
                    </a:cxn>
                    <a:cxn ang="0">
                      <a:pos x="connsiteX3" y="connsiteY3"/>
                    </a:cxn>
                  </a:cxnLst>
                  <a:rect l="l" t="t" r="r" b="b"/>
                  <a:pathLst>
                    <a:path w="194612" h="204421">
                      <a:moveTo>
                        <a:pt x="194613" y="202268"/>
                      </a:moveTo>
                      <a:lnTo>
                        <a:pt x="192460" y="204421"/>
                      </a:lnTo>
                      <a:lnTo>
                        <a:pt x="0" y="2153"/>
                      </a:lnTo>
                      <a:lnTo>
                        <a:pt x="2154" y="0"/>
                      </a:lnTo>
                      <a:close/>
                    </a:path>
                  </a:pathLst>
                </a:custGeom>
                <a:grpFill/>
                <a:ln w="5978" cap="flat">
                  <a:noFill/>
                  <a:prstDash val="solid"/>
                  <a:miter/>
                </a:ln>
              </p:spPr>
              <p:txBody>
                <a:bodyPr rtlCol="0" anchor="ctr"/>
                <a:lstStyle/>
                <a:p>
                  <a:endParaRPr lang="en-GB"/>
                </a:p>
              </p:txBody>
            </p:sp>
            <p:sp>
              <p:nvSpPr>
                <p:cNvPr id="3997" name="Vrije vorm: vorm 3996">
                  <a:extLst>
                    <a:ext uri="{FF2B5EF4-FFF2-40B4-BE49-F238E27FC236}">
                      <a16:creationId xmlns:a16="http://schemas.microsoft.com/office/drawing/2014/main" id="{C4EF3A06-0397-4E0E-836B-1B6C85E775EF}"/>
                    </a:ext>
                  </a:extLst>
                </p:cNvPr>
                <p:cNvSpPr/>
                <p:nvPr/>
              </p:nvSpPr>
              <p:spPr>
                <a:xfrm>
                  <a:off x="7601037" y="5042114"/>
                  <a:ext cx="18364" cy="18426"/>
                </a:xfrm>
                <a:custGeom>
                  <a:avLst/>
                  <a:gdLst>
                    <a:gd name="connsiteX0" fmla="*/ 15791 w 18364"/>
                    <a:gd name="connsiteY0" fmla="*/ 2844 h 18426"/>
                    <a:gd name="connsiteX1" fmla="*/ 15551 w 18364"/>
                    <a:gd name="connsiteY1" fmla="*/ 15882 h 18426"/>
                    <a:gd name="connsiteX2" fmla="*/ 2574 w 18364"/>
                    <a:gd name="connsiteY2" fmla="*/ 15583 h 18426"/>
                    <a:gd name="connsiteX3" fmla="*/ 2812 w 18364"/>
                    <a:gd name="connsiteY3" fmla="*/ 2545 h 18426"/>
                    <a:gd name="connsiteX4" fmla="*/ 15791 w 18364"/>
                    <a:gd name="connsiteY4" fmla="*/ 284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15791" y="2844"/>
                      </a:moveTo>
                      <a:cubicBezTo>
                        <a:pt x="19319" y="6552"/>
                        <a:pt x="19200" y="12353"/>
                        <a:pt x="15551" y="15882"/>
                      </a:cubicBezTo>
                      <a:cubicBezTo>
                        <a:pt x="11903" y="19410"/>
                        <a:pt x="6102" y="19231"/>
                        <a:pt x="2574" y="15583"/>
                      </a:cubicBezTo>
                      <a:cubicBezTo>
                        <a:pt x="-955" y="11875"/>
                        <a:pt x="-836" y="6073"/>
                        <a:pt x="2812" y="2545"/>
                      </a:cubicBezTo>
                      <a:cubicBezTo>
                        <a:pt x="6521" y="-984"/>
                        <a:pt x="12322" y="-804"/>
                        <a:pt x="15791" y="2844"/>
                      </a:cubicBezTo>
                      <a:close/>
                    </a:path>
                  </a:pathLst>
                </a:custGeom>
                <a:grpFill/>
                <a:ln w="5978" cap="flat">
                  <a:noFill/>
                  <a:prstDash val="solid"/>
                  <a:miter/>
                </a:ln>
              </p:spPr>
              <p:txBody>
                <a:bodyPr rtlCol="0" anchor="ctr"/>
                <a:lstStyle/>
                <a:p>
                  <a:endParaRPr lang="en-GB"/>
                </a:p>
              </p:txBody>
            </p:sp>
            <p:sp>
              <p:nvSpPr>
                <p:cNvPr id="3998" name="Vrije vorm: vorm 3997">
                  <a:extLst>
                    <a:ext uri="{FF2B5EF4-FFF2-40B4-BE49-F238E27FC236}">
                      <a16:creationId xmlns:a16="http://schemas.microsoft.com/office/drawing/2014/main" id="{C07F64A6-4AF8-416D-84D8-BC6A5478E736}"/>
                    </a:ext>
                  </a:extLst>
                </p:cNvPr>
                <p:cNvSpPr/>
                <p:nvPr/>
              </p:nvSpPr>
              <p:spPr>
                <a:xfrm>
                  <a:off x="7409235" y="4840482"/>
                  <a:ext cx="18319" cy="18470"/>
                </a:xfrm>
                <a:custGeom>
                  <a:avLst/>
                  <a:gdLst>
                    <a:gd name="connsiteX0" fmla="*/ 15791 w 18319"/>
                    <a:gd name="connsiteY0" fmla="*/ 2866 h 18470"/>
                    <a:gd name="connsiteX1" fmla="*/ 2813 w 18319"/>
                    <a:gd name="connsiteY1" fmla="*/ 2567 h 18470"/>
                    <a:gd name="connsiteX2" fmla="*/ 2573 w 18319"/>
                    <a:gd name="connsiteY2" fmla="*/ 15605 h 18470"/>
                    <a:gd name="connsiteX3" fmla="*/ 15552 w 18319"/>
                    <a:gd name="connsiteY3" fmla="*/ 15903 h 18470"/>
                    <a:gd name="connsiteX4" fmla="*/ 15791 w 18319"/>
                    <a:gd name="connsiteY4" fmla="*/ 286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5791" y="2866"/>
                      </a:moveTo>
                      <a:cubicBezTo>
                        <a:pt x="12262" y="-842"/>
                        <a:pt x="6461" y="-962"/>
                        <a:pt x="2813" y="2567"/>
                      </a:cubicBezTo>
                      <a:cubicBezTo>
                        <a:pt x="-836" y="6095"/>
                        <a:pt x="-955" y="11897"/>
                        <a:pt x="2573" y="15605"/>
                      </a:cubicBezTo>
                      <a:cubicBezTo>
                        <a:pt x="6102" y="19313"/>
                        <a:pt x="11903" y="19432"/>
                        <a:pt x="15552" y="15903"/>
                      </a:cubicBezTo>
                      <a:cubicBezTo>
                        <a:pt x="19140" y="12435"/>
                        <a:pt x="19260" y="6574"/>
                        <a:pt x="15791" y="2866"/>
                      </a:cubicBezTo>
                      <a:close/>
                    </a:path>
                  </a:pathLst>
                </a:custGeom>
                <a:grpFill/>
                <a:ln w="5978" cap="flat">
                  <a:noFill/>
                  <a:prstDash val="solid"/>
                  <a:miter/>
                </a:ln>
              </p:spPr>
              <p:txBody>
                <a:bodyPr rtlCol="0" anchor="ctr"/>
                <a:lstStyle/>
                <a:p>
                  <a:endParaRPr lang="en-GB"/>
                </a:p>
              </p:txBody>
            </p:sp>
          </p:grpSp>
          <p:grpSp>
            <p:nvGrpSpPr>
              <p:cNvPr id="464" name="Graphic 3">
                <a:extLst>
                  <a:ext uri="{FF2B5EF4-FFF2-40B4-BE49-F238E27FC236}">
                    <a16:creationId xmlns:a16="http://schemas.microsoft.com/office/drawing/2014/main" id="{921D8EC4-5652-4677-9D13-6541E3335AC6}"/>
                  </a:ext>
                </a:extLst>
              </p:cNvPr>
              <p:cNvGrpSpPr/>
              <p:nvPr/>
            </p:nvGrpSpPr>
            <p:grpSpPr>
              <a:xfrm>
                <a:off x="7323052" y="4521951"/>
                <a:ext cx="130384" cy="116130"/>
                <a:chOff x="7323052" y="4521951"/>
                <a:chExt cx="130384" cy="116130"/>
              </a:xfrm>
              <a:grpFill/>
            </p:grpSpPr>
            <p:sp>
              <p:nvSpPr>
                <p:cNvPr id="3993" name="Vrije vorm: vorm 3992">
                  <a:extLst>
                    <a:ext uri="{FF2B5EF4-FFF2-40B4-BE49-F238E27FC236}">
                      <a16:creationId xmlns:a16="http://schemas.microsoft.com/office/drawing/2014/main" id="{330583F0-33D2-455F-A6F2-353211F85300}"/>
                    </a:ext>
                  </a:extLst>
                </p:cNvPr>
                <p:cNvSpPr/>
                <p:nvPr/>
              </p:nvSpPr>
              <p:spPr>
                <a:xfrm>
                  <a:off x="7330890" y="4529719"/>
                  <a:ext cx="114709" cy="100655"/>
                </a:xfrm>
                <a:custGeom>
                  <a:avLst/>
                  <a:gdLst>
                    <a:gd name="connsiteX0" fmla="*/ 114710 w 114709"/>
                    <a:gd name="connsiteY0" fmla="*/ 98323 h 100655"/>
                    <a:gd name="connsiteX1" fmla="*/ 112736 w 114709"/>
                    <a:gd name="connsiteY1" fmla="*/ 100656 h 100655"/>
                    <a:gd name="connsiteX2" fmla="*/ 0 w 114709"/>
                    <a:gd name="connsiteY2" fmla="*/ 2273 h 100655"/>
                    <a:gd name="connsiteX3" fmla="*/ 1973 w 114709"/>
                    <a:gd name="connsiteY3" fmla="*/ 0 h 100655"/>
                  </a:gdLst>
                  <a:ahLst/>
                  <a:cxnLst>
                    <a:cxn ang="0">
                      <a:pos x="connsiteX0" y="connsiteY0"/>
                    </a:cxn>
                    <a:cxn ang="0">
                      <a:pos x="connsiteX1" y="connsiteY1"/>
                    </a:cxn>
                    <a:cxn ang="0">
                      <a:pos x="connsiteX2" y="connsiteY2"/>
                    </a:cxn>
                    <a:cxn ang="0">
                      <a:pos x="connsiteX3" y="connsiteY3"/>
                    </a:cxn>
                  </a:cxnLst>
                  <a:rect l="l" t="t" r="r" b="b"/>
                  <a:pathLst>
                    <a:path w="114709" h="100655">
                      <a:moveTo>
                        <a:pt x="114710" y="98323"/>
                      </a:moveTo>
                      <a:lnTo>
                        <a:pt x="112736" y="100656"/>
                      </a:lnTo>
                      <a:lnTo>
                        <a:pt x="0" y="2273"/>
                      </a:lnTo>
                      <a:lnTo>
                        <a:pt x="1973" y="0"/>
                      </a:lnTo>
                      <a:close/>
                    </a:path>
                  </a:pathLst>
                </a:custGeom>
                <a:grpFill/>
                <a:ln w="5978" cap="flat">
                  <a:noFill/>
                  <a:prstDash val="solid"/>
                  <a:miter/>
                </a:ln>
              </p:spPr>
              <p:txBody>
                <a:bodyPr rtlCol="0" anchor="ctr"/>
                <a:lstStyle/>
                <a:p>
                  <a:endParaRPr lang="en-GB"/>
                </a:p>
              </p:txBody>
            </p:sp>
            <p:sp>
              <p:nvSpPr>
                <p:cNvPr id="3994" name="Vrije vorm: vorm 3993">
                  <a:extLst>
                    <a:ext uri="{FF2B5EF4-FFF2-40B4-BE49-F238E27FC236}">
                      <a16:creationId xmlns:a16="http://schemas.microsoft.com/office/drawing/2014/main" id="{188F6EC9-61D0-4705-8B29-23790D79FFEB}"/>
                    </a:ext>
                  </a:extLst>
                </p:cNvPr>
                <p:cNvSpPr/>
                <p:nvPr/>
              </p:nvSpPr>
              <p:spPr>
                <a:xfrm>
                  <a:off x="7435131" y="4619676"/>
                  <a:ext cx="18305" cy="18405"/>
                </a:xfrm>
                <a:custGeom>
                  <a:avLst/>
                  <a:gdLst>
                    <a:gd name="connsiteX0" fmla="*/ 15134 w 18305"/>
                    <a:gd name="connsiteY0" fmla="*/ 2265 h 18405"/>
                    <a:gd name="connsiteX1" fmla="*/ 16091 w 18305"/>
                    <a:gd name="connsiteY1" fmla="*/ 15244 h 18405"/>
                    <a:gd name="connsiteX2" fmla="*/ 3172 w 18305"/>
                    <a:gd name="connsiteY2" fmla="*/ 16141 h 18405"/>
                    <a:gd name="connsiteX3" fmla="*/ 2215 w 18305"/>
                    <a:gd name="connsiteY3" fmla="*/ 3163 h 18405"/>
                    <a:gd name="connsiteX4" fmla="*/ 15134 w 18305"/>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5134" y="2265"/>
                      </a:moveTo>
                      <a:cubicBezTo>
                        <a:pt x="18961" y="5615"/>
                        <a:pt x="19380" y="11416"/>
                        <a:pt x="16091" y="15244"/>
                      </a:cubicBezTo>
                      <a:cubicBezTo>
                        <a:pt x="12801" y="19071"/>
                        <a:pt x="7000" y="19490"/>
                        <a:pt x="3172" y="16141"/>
                      </a:cubicBezTo>
                      <a:cubicBezTo>
                        <a:pt x="-656" y="12791"/>
                        <a:pt x="-1074" y="6990"/>
                        <a:pt x="2215" y="3163"/>
                      </a:cubicBezTo>
                      <a:cubicBezTo>
                        <a:pt x="5505" y="-665"/>
                        <a:pt x="11306" y="-1084"/>
                        <a:pt x="15134" y="2265"/>
                      </a:cubicBezTo>
                      <a:close/>
                    </a:path>
                  </a:pathLst>
                </a:custGeom>
                <a:grpFill/>
                <a:ln w="5978" cap="flat">
                  <a:noFill/>
                  <a:prstDash val="solid"/>
                  <a:miter/>
                </a:ln>
              </p:spPr>
              <p:txBody>
                <a:bodyPr rtlCol="0" anchor="ctr"/>
                <a:lstStyle/>
                <a:p>
                  <a:endParaRPr lang="en-GB"/>
                </a:p>
              </p:txBody>
            </p:sp>
            <p:sp>
              <p:nvSpPr>
                <p:cNvPr id="3995" name="Vrije vorm: vorm 3994">
                  <a:extLst>
                    <a:ext uri="{FF2B5EF4-FFF2-40B4-BE49-F238E27FC236}">
                      <a16:creationId xmlns:a16="http://schemas.microsoft.com/office/drawing/2014/main" id="{098BEAAF-BD0B-4519-84E8-CE8DC762EA7D}"/>
                    </a:ext>
                  </a:extLst>
                </p:cNvPr>
                <p:cNvSpPr/>
                <p:nvPr/>
              </p:nvSpPr>
              <p:spPr>
                <a:xfrm>
                  <a:off x="7323052" y="4521951"/>
                  <a:ext cx="18326" cy="18405"/>
                </a:xfrm>
                <a:custGeom>
                  <a:avLst/>
                  <a:gdLst>
                    <a:gd name="connsiteX0" fmla="*/ 15134 w 18326"/>
                    <a:gd name="connsiteY0" fmla="*/ 2265 h 18405"/>
                    <a:gd name="connsiteX1" fmla="*/ 2215 w 18326"/>
                    <a:gd name="connsiteY1" fmla="*/ 3162 h 18405"/>
                    <a:gd name="connsiteX2" fmla="*/ 3172 w 18326"/>
                    <a:gd name="connsiteY2" fmla="*/ 16141 h 18405"/>
                    <a:gd name="connsiteX3" fmla="*/ 16091 w 18326"/>
                    <a:gd name="connsiteY3" fmla="*/ 15243 h 18405"/>
                    <a:gd name="connsiteX4" fmla="*/ 15134 w 18326"/>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05">
                      <a:moveTo>
                        <a:pt x="15134" y="2265"/>
                      </a:moveTo>
                      <a:cubicBezTo>
                        <a:pt x="11306" y="-1084"/>
                        <a:pt x="5505" y="-665"/>
                        <a:pt x="2215" y="3162"/>
                      </a:cubicBezTo>
                      <a:cubicBezTo>
                        <a:pt x="-1074" y="6990"/>
                        <a:pt x="-656" y="12791"/>
                        <a:pt x="3172" y="16141"/>
                      </a:cubicBezTo>
                      <a:cubicBezTo>
                        <a:pt x="7000" y="19490"/>
                        <a:pt x="12801" y="19071"/>
                        <a:pt x="16091" y="15243"/>
                      </a:cubicBezTo>
                      <a:cubicBezTo>
                        <a:pt x="19380" y="11416"/>
                        <a:pt x="19021" y="5615"/>
                        <a:pt x="15134" y="2265"/>
                      </a:cubicBezTo>
                      <a:close/>
                    </a:path>
                  </a:pathLst>
                </a:custGeom>
                <a:grpFill/>
                <a:ln w="5978" cap="flat">
                  <a:noFill/>
                  <a:prstDash val="solid"/>
                  <a:miter/>
                </a:ln>
              </p:spPr>
              <p:txBody>
                <a:bodyPr rtlCol="0" anchor="ctr"/>
                <a:lstStyle/>
                <a:p>
                  <a:endParaRPr lang="en-GB"/>
                </a:p>
              </p:txBody>
            </p:sp>
          </p:grpSp>
          <p:grpSp>
            <p:nvGrpSpPr>
              <p:cNvPr id="465" name="Graphic 3">
                <a:extLst>
                  <a:ext uri="{FF2B5EF4-FFF2-40B4-BE49-F238E27FC236}">
                    <a16:creationId xmlns:a16="http://schemas.microsoft.com/office/drawing/2014/main" id="{3420E6B8-7120-454E-8EB8-548024D03176}"/>
                  </a:ext>
                </a:extLst>
              </p:cNvPr>
              <p:cNvGrpSpPr/>
              <p:nvPr/>
            </p:nvGrpSpPr>
            <p:grpSpPr>
              <a:xfrm>
                <a:off x="6401275" y="1690039"/>
                <a:ext cx="34213" cy="91930"/>
                <a:chOff x="6401275" y="1690039"/>
                <a:chExt cx="34213" cy="91930"/>
              </a:xfrm>
              <a:grpFill/>
            </p:grpSpPr>
            <p:sp>
              <p:nvSpPr>
                <p:cNvPr id="3990" name="Vrije vorm: vorm 3989">
                  <a:extLst>
                    <a:ext uri="{FF2B5EF4-FFF2-40B4-BE49-F238E27FC236}">
                      <a16:creationId xmlns:a16="http://schemas.microsoft.com/office/drawing/2014/main" id="{4274B771-F814-4E3E-BB4B-1B7289BF53F1}"/>
                    </a:ext>
                  </a:extLst>
                </p:cNvPr>
                <p:cNvSpPr/>
                <p:nvPr/>
              </p:nvSpPr>
              <p:spPr>
                <a:xfrm>
                  <a:off x="6408842" y="1698445"/>
                  <a:ext cx="19078" cy="75117"/>
                </a:xfrm>
                <a:custGeom>
                  <a:avLst/>
                  <a:gdLst>
                    <a:gd name="connsiteX0" fmla="*/ 19079 w 19078"/>
                    <a:gd name="connsiteY0" fmla="*/ 658 h 75117"/>
                    <a:gd name="connsiteX1" fmla="*/ 2990 w 19078"/>
                    <a:gd name="connsiteY1" fmla="*/ 75118 h 75117"/>
                    <a:gd name="connsiteX2" fmla="*/ 0 w 19078"/>
                    <a:gd name="connsiteY2" fmla="*/ 74460 h 75117"/>
                    <a:gd name="connsiteX3" fmla="*/ 16088 w 19078"/>
                    <a:gd name="connsiteY3" fmla="*/ 0 h 75117"/>
                  </a:gdLst>
                  <a:ahLst/>
                  <a:cxnLst>
                    <a:cxn ang="0">
                      <a:pos x="connsiteX0" y="connsiteY0"/>
                    </a:cxn>
                    <a:cxn ang="0">
                      <a:pos x="connsiteX1" y="connsiteY1"/>
                    </a:cxn>
                    <a:cxn ang="0">
                      <a:pos x="connsiteX2" y="connsiteY2"/>
                    </a:cxn>
                    <a:cxn ang="0">
                      <a:pos x="connsiteX3" y="connsiteY3"/>
                    </a:cxn>
                  </a:cxnLst>
                  <a:rect l="l" t="t" r="r" b="b"/>
                  <a:pathLst>
                    <a:path w="19078" h="75117">
                      <a:moveTo>
                        <a:pt x="19079" y="658"/>
                      </a:moveTo>
                      <a:lnTo>
                        <a:pt x="2990" y="75118"/>
                      </a:lnTo>
                      <a:lnTo>
                        <a:pt x="0" y="74460"/>
                      </a:lnTo>
                      <a:lnTo>
                        <a:pt x="16088" y="0"/>
                      </a:lnTo>
                      <a:close/>
                    </a:path>
                  </a:pathLst>
                </a:custGeom>
                <a:grpFill/>
                <a:ln w="5978" cap="flat">
                  <a:noFill/>
                  <a:prstDash val="solid"/>
                  <a:miter/>
                </a:ln>
              </p:spPr>
              <p:txBody>
                <a:bodyPr rtlCol="0" anchor="ctr"/>
                <a:lstStyle/>
                <a:p>
                  <a:endParaRPr lang="en-GB"/>
                </a:p>
              </p:txBody>
            </p:sp>
            <p:sp>
              <p:nvSpPr>
                <p:cNvPr id="3991" name="Vrije vorm: vorm 3990">
                  <a:extLst>
                    <a:ext uri="{FF2B5EF4-FFF2-40B4-BE49-F238E27FC236}">
                      <a16:creationId xmlns:a16="http://schemas.microsoft.com/office/drawing/2014/main" id="{483F75AF-3CCF-4202-AE44-FBB8E6503EA0}"/>
                    </a:ext>
                  </a:extLst>
                </p:cNvPr>
                <p:cNvSpPr/>
                <p:nvPr/>
              </p:nvSpPr>
              <p:spPr>
                <a:xfrm>
                  <a:off x="6417181" y="1690039"/>
                  <a:ext cx="18307" cy="18445"/>
                </a:xfrm>
                <a:custGeom>
                  <a:avLst/>
                  <a:gdLst>
                    <a:gd name="connsiteX0" fmla="*/ 213 w 18307"/>
                    <a:gd name="connsiteY0" fmla="*/ 7210 h 18445"/>
                    <a:gd name="connsiteX1" fmla="*/ 11098 w 18307"/>
                    <a:gd name="connsiteY1" fmla="*/ 213 h 18445"/>
                    <a:gd name="connsiteX2" fmla="*/ 18095 w 18307"/>
                    <a:gd name="connsiteY2" fmla="*/ 11217 h 18445"/>
                    <a:gd name="connsiteX3" fmla="*/ 7210 w 18307"/>
                    <a:gd name="connsiteY3" fmla="*/ 18215 h 18445"/>
                    <a:gd name="connsiteX4" fmla="*/ 213 w 18307"/>
                    <a:gd name="connsiteY4" fmla="*/ 721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45">
                      <a:moveTo>
                        <a:pt x="213" y="7210"/>
                      </a:moveTo>
                      <a:cubicBezTo>
                        <a:pt x="1289" y="2246"/>
                        <a:pt x="6194" y="-864"/>
                        <a:pt x="11098" y="213"/>
                      </a:cubicBezTo>
                      <a:cubicBezTo>
                        <a:pt x="16062" y="1289"/>
                        <a:pt x="19172" y="6253"/>
                        <a:pt x="18095" y="11217"/>
                      </a:cubicBezTo>
                      <a:cubicBezTo>
                        <a:pt x="17019" y="16181"/>
                        <a:pt x="12114" y="19351"/>
                        <a:pt x="7210" y="18215"/>
                      </a:cubicBezTo>
                      <a:cubicBezTo>
                        <a:pt x="2246" y="17078"/>
                        <a:pt x="-864" y="12174"/>
                        <a:pt x="213" y="7210"/>
                      </a:cubicBezTo>
                      <a:close/>
                    </a:path>
                  </a:pathLst>
                </a:custGeom>
                <a:grpFill/>
                <a:ln w="5978" cap="flat">
                  <a:noFill/>
                  <a:prstDash val="solid"/>
                  <a:miter/>
                </a:ln>
              </p:spPr>
              <p:txBody>
                <a:bodyPr rtlCol="0" anchor="ctr"/>
                <a:lstStyle/>
                <a:p>
                  <a:endParaRPr lang="en-GB"/>
                </a:p>
              </p:txBody>
            </p:sp>
            <p:sp>
              <p:nvSpPr>
                <p:cNvPr id="3992" name="Vrije vorm: vorm 3991">
                  <a:extLst>
                    <a:ext uri="{FF2B5EF4-FFF2-40B4-BE49-F238E27FC236}">
                      <a16:creationId xmlns:a16="http://schemas.microsoft.com/office/drawing/2014/main" id="{A3E400AD-2615-48A7-A1A7-0E9A92C611BB}"/>
                    </a:ext>
                  </a:extLst>
                </p:cNvPr>
                <p:cNvSpPr/>
                <p:nvPr/>
              </p:nvSpPr>
              <p:spPr>
                <a:xfrm>
                  <a:off x="6401275" y="1763542"/>
                  <a:ext cx="18302" cy="18427"/>
                </a:xfrm>
                <a:custGeom>
                  <a:avLst/>
                  <a:gdLst>
                    <a:gd name="connsiteX0" fmla="*/ 210 w 18302"/>
                    <a:gd name="connsiteY0" fmla="*/ 7210 h 18427"/>
                    <a:gd name="connsiteX1" fmla="*/ 7208 w 18302"/>
                    <a:gd name="connsiteY1" fmla="*/ 18215 h 18427"/>
                    <a:gd name="connsiteX2" fmla="*/ 18093 w 18302"/>
                    <a:gd name="connsiteY2" fmla="*/ 11217 h 18427"/>
                    <a:gd name="connsiteX3" fmla="*/ 11095 w 18302"/>
                    <a:gd name="connsiteY3" fmla="*/ 213 h 18427"/>
                    <a:gd name="connsiteX4" fmla="*/ 210 w 18302"/>
                    <a:gd name="connsiteY4" fmla="*/ 7210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7">
                      <a:moveTo>
                        <a:pt x="210" y="7210"/>
                      </a:moveTo>
                      <a:cubicBezTo>
                        <a:pt x="-867" y="12174"/>
                        <a:pt x="2303" y="17079"/>
                        <a:pt x="7208" y="18215"/>
                      </a:cubicBezTo>
                      <a:cubicBezTo>
                        <a:pt x="12172" y="19291"/>
                        <a:pt x="17016" y="16181"/>
                        <a:pt x="18093" y="11217"/>
                      </a:cubicBezTo>
                      <a:cubicBezTo>
                        <a:pt x="19169" y="6253"/>
                        <a:pt x="15999" y="1349"/>
                        <a:pt x="11095" y="213"/>
                      </a:cubicBezTo>
                      <a:cubicBezTo>
                        <a:pt x="6191" y="-864"/>
                        <a:pt x="1287" y="2246"/>
                        <a:pt x="210" y="7210"/>
                      </a:cubicBezTo>
                      <a:close/>
                    </a:path>
                  </a:pathLst>
                </a:custGeom>
                <a:grpFill/>
                <a:ln w="5978" cap="flat">
                  <a:noFill/>
                  <a:prstDash val="solid"/>
                  <a:miter/>
                </a:ln>
              </p:spPr>
              <p:txBody>
                <a:bodyPr rtlCol="0" anchor="ctr"/>
                <a:lstStyle/>
                <a:p>
                  <a:endParaRPr lang="en-GB"/>
                </a:p>
              </p:txBody>
            </p:sp>
          </p:grpSp>
          <p:grpSp>
            <p:nvGrpSpPr>
              <p:cNvPr id="466" name="Graphic 3">
                <a:extLst>
                  <a:ext uri="{FF2B5EF4-FFF2-40B4-BE49-F238E27FC236}">
                    <a16:creationId xmlns:a16="http://schemas.microsoft.com/office/drawing/2014/main" id="{00200ECC-FC79-44EE-A5E0-4B952816D8B7}"/>
                  </a:ext>
                </a:extLst>
              </p:cNvPr>
              <p:cNvGrpSpPr/>
              <p:nvPr/>
            </p:nvGrpSpPr>
            <p:grpSpPr>
              <a:xfrm>
                <a:off x="7267425" y="4557069"/>
                <a:ext cx="343350" cy="377287"/>
                <a:chOff x="7267425" y="4557069"/>
                <a:chExt cx="343350" cy="377287"/>
              </a:xfrm>
              <a:grpFill/>
            </p:grpSpPr>
            <p:sp>
              <p:nvSpPr>
                <p:cNvPr id="3987" name="Vrije vorm: vorm 3986">
                  <a:extLst>
                    <a:ext uri="{FF2B5EF4-FFF2-40B4-BE49-F238E27FC236}">
                      <a16:creationId xmlns:a16="http://schemas.microsoft.com/office/drawing/2014/main" id="{AD9AF432-EC24-433E-9354-ED70AB700060}"/>
                    </a:ext>
                  </a:extLst>
                </p:cNvPr>
                <p:cNvSpPr/>
                <p:nvPr/>
              </p:nvSpPr>
              <p:spPr>
                <a:xfrm>
                  <a:off x="7275149" y="4564945"/>
                  <a:ext cx="327923" cy="361534"/>
                </a:xfrm>
                <a:custGeom>
                  <a:avLst/>
                  <a:gdLst>
                    <a:gd name="connsiteX0" fmla="*/ 327923 w 327923"/>
                    <a:gd name="connsiteY0" fmla="*/ 359501 h 361534"/>
                    <a:gd name="connsiteX1" fmla="*/ 325651 w 327923"/>
                    <a:gd name="connsiteY1" fmla="*/ 361535 h 361534"/>
                    <a:gd name="connsiteX2" fmla="*/ 0 w 327923"/>
                    <a:gd name="connsiteY2" fmla="*/ 2033 h 361534"/>
                    <a:gd name="connsiteX3" fmla="*/ 2273 w 327923"/>
                    <a:gd name="connsiteY3" fmla="*/ 0 h 361534"/>
                  </a:gdLst>
                  <a:ahLst/>
                  <a:cxnLst>
                    <a:cxn ang="0">
                      <a:pos x="connsiteX0" y="connsiteY0"/>
                    </a:cxn>
                    <a:cxn ang="0">
                      <a:pos x="connsiteX1" y="connsiteY1"/>
                    </a:cxn>
                    <a:cxn ang="0">
                      <a:pos x="connsiteX2" y="connsiteY2"/>
                    </a:cxn>
                    <a:cxn ang="0">
                      <a:pos x="connsiteX3" y="connsiteY3"/>
                    </a:cxn>
                  </a:cxnLst>
                  <a:rect l="l" t="t" r="r" b="b"/>
                  <a:pathLst>
                    <a:path w="327923" h="361534">
                      <a:moveTo>
                        <a:pt x="327923" y="359501"/>
                      </a:moveTo>
                      <a:lnTo>
                        <a:pt x="325651" y="361535"/>
                      </a:lnTo>
                      <a:lnTo>
                        <a:pt x="0" y="2033"/>
                      </a:lnTo>
                      <a:lnTo>
                        <a:pt x="2273" y="0"/>
                      </a:lnTo>
                      <a:close/>
                    </a:path>
                  </a:pathLst>
                </a:custGeom>
                <a:grpFill/>
                <a:ln w="5978" cap="flat">
                  <a:noFill/>
                  <a:prstDash val="solid"/>
                  <a:miter/>
                </a:ln>
              </p:spPr>
              <p:txBody>
                <a:bodyPr rtlCol="0" anchor="ctr"/>
                <a:lstStyle/>
                <a:p>
                  <a:endParaRPr lang="en-GB"/>
                </a:p>
              </p:txBody>
            </p:sp>
            <p:sp>
              <p:nvSpPr>
                <p:cNvPr id="3988" name="Vrije vorm: vorm 3987">
                  <a:extLst>
                    <a:ext uri="{FF2B5EF4-FFF2-40B4-BE49-F238E27FC236}">
                      <a16:creationId xmlns:a16="http://schemas.microsoft.com/office/drawing/2014/main" id="{137D3E08-3020-4131-A8FE-F50663BDBB36}"/>
                    </a:ext>
                  </a:extLst>
                </p:cNvPr>
                <p:cNvSpPr/>
                <p:nvPr/>
              </p:nvSpPr>
              <p:spPr>
                <a:xfrm>
                  <a:off x="7267425" y="4557069"/>
                  <a:ext cx="18319" cy="18444"/>
                </a:xfrm>
                <a:custGeom>
                  <a:avLst/>
                  <a:gdLst>
                    <a:gd name="connsiteX0" fmla="*/ 2401 w 18319"/>
                    <a:gd name="connsiteY0" fmla="*/ 15412 h 18444"/>
                    <a:gd name="connsiteX1" fmla="*/ 2999 w 18319"/>
                    <a:gd name="connsiteY1" fmla="*/ 2374 h 18444"/>
                    <a:gd name="connsiteX2" fmla="*/ 15918 w 18319"/>
                    <a:gd name="connsiteY2" fmla="*/ 3032 h 18444"/>
                    <a:gd name="connsiteX3" fmla="*/ 15320 w 18319"/>
                    <a:gd name="connsiteY3" fmla="*/ 16070 h 18444"/>
                    <a:gd name="connsiteX4" fmla="*/ 2401 w 18319"/>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2401" y="15412"/>
                      </a:moveTo>
                      <a:cubicBezTo>
                        <a:pt x="-1008" y="11644"/>
                        <a:pt x="-768" y="5843"/>
                        <a:pt x="2999" y="2374"/>
                      </a:cubicBezTo>
                      <a:cubicBezTo>
                        <a:pt x="6708" y="-1035"/>
                        <a:pt x="12509" y="-736"/>
                        <a:pt x="15918" y="3032"/>
                      </a:cubicBezTo>
                      <a:cubicBezTo>
                        <a:pt x="19327" y="6800"/>
                        <a:pt x="19088" y="12601"/>
                        <a:pt x="15320" y="16070"/>
                      </a:cubicBezTo>
                      <a:cubicBezTo>
                        <a:pt x="11612" y="19479"/>
                        <a:pt x="5811" y="19180"/>
                        <a:pt x="2401" y="15412"/>
                      </a:cubicBezTo>
                      <a:close/>
                    </a:path>
                  </a:pathLst>
                </a:custGeom>
                <a:grpFill/>
                <a:ln w="5978" cap="flat">
                  <a:noFill/>
                  <a:prstDash val="solid"/>
                  <a:miter/>
                </a:ln>
              </p:spPr>
              <p:txBody>
                <a:bodyPr rtlCol="0" anchor="ctr"/>
                <a:lstStyle/>
                <a:p>
                  <a:endParaRPr lang="en-GB"/>
                </a:p>
              </p:txBody>
            </p:sp>
            <p:sp>
              <p:nvSpPr>
                <p:cNvPr id="3989" name="Vrije vorm: vorm 3988">
                  <a:extLst>
                    <a:ext uri="{FF2B5EF4-FFF2-40B4-BE49-F238E27FC236}">
                      <a16:creationId xmlns:a16="http://schemas.microsoft.com/office/drawing/2014/main" id="{FAB7B720-F4A4-4FA0-A73E-1F7FC0C7403A}"/>
                    </a:ext>
                  </a:extLst>
                </p:cNvPr>
                <p:cNvSpPr/>
                <p:nvPr/>
              </p:nvSpPr>
              <p:spPr>
                <a:xfrm>
                  <a:off x="7592471" y="4915912"/>
                  <a:ext cx="18304" cy="18444"/>
                </a:xfrm>
                <a:custGeom>
                  <a:avLst/>
                  <a:gdLst>
                    <a:gd name="connsiteX0" fmla="*/ 2407 w 18304"/>
                    <a:gd name="connsiteY0" fmla="*/ 15412 h 18444"/>
                    <a:gd name="connsiteX1" fmla="*/ 15326 w 18304"/>
                    <a:gd name="connsiteY1" fmla="*/ 16070 h 18444"/>
                    <a:gd name="connsiteX2" fmla="*/ 15924 w 18304"/>
                    <a:gd name="connsiteY2" fmla="*/ 3032 h 18444"/>
                    <a:gd name="connsiteX3" fmla="*/ 2946 w 18304"/>
                    <a:gd name="connsiteY3" fmla="*/ 2374 h 18444"/>
                    <a:gd name="connsiteX4" fmla="*/ 2407 w 18304"/>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44">
                      <a:moveTo>
                        <a:pt x="2407" y="15412"/>
                      </a:moveTo>
                      <a:cubicBezTo>
                        <a:pt x="5817" y="19180"/>
                        <a:pt x="11618" y="19479"/>
                        <a:pt x="15326" y="16070"/>
                      </a:cubicBezTo>
                      <a:cubicBezTo>
                        <a:pt x="19034" y="12661"/>
                        <a:pt x="19333" y="6800"/>
                        <a:pt x="15924" y="3032"/>
                      </a:cubicBezTo>
                      <a:cubicBezTo>
                        <a:pt x="12515" y="-736"/>
                        <a:pt x="6714" y="-1035"/>
                        <a:pt x="2946" y="2374"/>
                      </a:cubicBezTo>
                      <a:cubicBezTo>
                        <a:pt x="-762" y="5783"/>
                        <a:pt x="-1001" y="11644"/>
                        <a:pt x="2407" y="15412"/>
                      </a:cubicBezTo>
                      <a:close/>
                    </a:path>
                  </a:pathLst>
                </a:custGeom>
                <a:grpFill/>
                <a:ln w="5978" cap="flat">
                  <a:noFill/>
                  <a:prstDash val="solid"/>
                  <a:miter/>
                </a:ln>
              </p:spPr>
              <p:txBody>
                <a:bodyPr rtlCol="0" anchor="ctr"/>
                <a:lstStyle/>
                <a:p>
                  <a:endParaRPr lang="en-GB"/>
                </a:p>
              </p:txBody>
            </p:sp>
          </p:grpSp>
          <p:grpSp>
            <p:nvGrpSpPr>
              <p:cNvPr id="467" name="Graphic 3">
                <a:extLst>
                  <a:ext uri="{FF2B5EF4-FFF2-40B4-BE49-F238E27FC236}">
                    <a16:creationId xmlns:a16="http://schemas.microsoft.com/office/drawing/2014/main" id="{7656D1EF-F0BD-4700-8564-569DED1FD4FF}"/>
                  </a:ext>
                </a:extLst>
              </p:cNvPr>
              <p:cNvGrpSpPr/>
              <p:nvPr/>
            </p:nvGrpSpPr>
            <p:grpSpPr>
              <a:xfrm>
                <a:off x="7331301" y="4616166"/>
                <a:ext cx="173490" cy="164239"/>
                <a:chOff x="7331301" y="4616166"/>
                <a:chExt cx="173490" cy="164239"/>
              </a:xfrm>
              <a:grpFill/>
            </p:grpSpPr>
            <p:sp>
              <p:nvSpPr>
                <p:cNvPr id="3984" name="Vrije vorm: vorm 3983">
                  <a:extLst>
                    <a:ext uri="{FF2B5EF4-FFF2-40B4-BE49-F238E27FC236}">
                      <a16:creationId xmlns:a16="http://schemas.microsoft.com/office/drawing/2014/main" id="{7871D253-1F94-4E65-AF24-68DE932D0744}"/>
                    </a:ext>
                  </a:extLst>
                </p:cNvPr>
                <p:cNvSpPr/>
                <p:nvPr/>
              </p:nvSpPr>
              <p:spPr>
                <a:xfrm>
                  <a:off x="7339143" y="4623915"/>
                  <a:ext cx="157890" cy="148680"/>
                </a:xfrm>
                <a:custGeom>
                  <a:avLst/>
                  <a:gdLst>
                    <a:gd name="connsiteX0" fmla="*/ 157890 w 157890"/>
                    <a:gd name="connsiteY0" fmla="*/ 146468 h 148680"/>
                    <a:gd name="connsiteX1" fmla="*/ 155797 w 157890"/>
                    <a:gd name="connsiteY1" fmla="*/ 148681 h 148680"/>
                    <a:gd name="connsiteX2" fmla="*/ 0 w 157890"/>
                    <a:gd name="connsiteY2" fmla="*/ 2213 h 148680"/>
                    <a:gd name="connsiteX3" fmla="*/ 2093 w 157890"/>
                    <a:gd name="connsiteY3" fmla="*/ 0 h 148680"/>
                  </a:gdLst>
                  <a:ahLst/>
                  <a:cxnLst>
                    <a:cxn ang="0">
                      <a:pos x="connsiteX0" y="connsiteY0"/>
                    </a:cxn>
                    <a:cxn ang="0">
                      <a:pos x="connsiteX1" y="connsiteY1"/>
                    </a:cxn>
                    <a:cxn ang="0">
                      <a:pos x="connsiteX2" y="connsiteY2"/>
                    </a:cxn>
                    <a:cxn ang="0">
                      <a:pos x="connsiteX3" y="connsiteY3"/>
                    </a:cxn>
                  </a:cxnLst>
                  <a:rect l="l" t="t" r="r" b="b"/>
                  <a:pathLst>
                    <a:path w="157890" h="148680">
                      <a:moveTo>
                        <a:pt x="157890" y="146468"/>
                      </a:moveTo>
                      <a:lnTo>
                        <a:pt x="155797" y="148681"/>
                      </a:lnTo>
                      <a:lnTo>
                        <a:pt x="0" y="2213"/>
                      </a:lnTo>
                      <a:lnTo>
                        <a:pt x="2093" y="0"/>
                      </a:lnTo>
                      <a:close/>
                    </a:path>
                  </a:pathLst>
                </a:custGeom>
                <a:grpFill/>
                <a:ln w="5978" cap="flat">
                  <a:noFill/>
                  <a:prstDash val="solid"/>
                  <a:miter/>
                </a:ln>
              </p:spPr>
              <p:txBody>
                <a:bodyPr rtlCol="0" anchor="ctr"/>
                <a:lstStyle/>
                <a:p>
                  <a:endParaRPr lang="en-GB"/>
                </a:p>
              </p:txBody>
            </p:sp>
            <p:sp>
              <p:nvSpPr>
                <p:cNvPr id="3985" name="Vrije vorm: vorm 3984">
                  <a:extLst>
                    <a:ext uri="{FF2B5EF4-FFF2-40B4-BE49-F238E27FC236}">
                      <a16:creationId xmlns:a16="http://schemas.microsoft.com/office/drawing/2014/main" id="{935FC139-AAF6-4E52-8B50-46A8A879FA48}"/>
                    </a:ext>
                  </a:extLst>
                </p:cNvPr>
                <p:cNvSpPr/>
                <p:nvPr/>
              </p:nvSpPr>
              <p:spPr>
                <a:xfrm>
                  <a:off x="7486465" y="4761975"/>
                  <a:ext cx="18327" cy="18429"/>
                </a:xfrm>
                <a:custGeom>
                  <a:avLst/>
                  <a:gdLst>
                    <a:gd name="connsiteX0" fmla="*/ 15413 w 18327"/>
                    <a:gd name="connsiteY0" fmla="*/ 2487 h 18429"/>
                    <a:gd name="connsiteX1" fmla="*/ 15892 w 18327"/>
                    <a:gd name="connsiteY1" fmla="*/ 15525 h 18429"/>
                    <a:gd name="connsiteX2" fmla="*/ 2914 w 18327"/>
                    <a:gd name="connsiteY2" fmla="*/ 15943 h 18429"/>
                    <a:gd name="connsiteX3" fmla="*/ 2435 w 18327"/>
                    <a:gd name="connsiteY3" fmla="*/ 2905 h 18429"/>
                    <a:gd name="connsiteX4" fmla="*/ 15413 w 18327"/>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5413" y="2487"/>
                      </a:moveTo>
                      <a:cubicBezTo>
                        <a:pt x="19121" y="5956"/>
                        <a:pt x="19301" y="11817"/>
                        <a:pt x="15892" y="15525"/>
                      </a:cubicBezTo>
                      <a:cubicBezTo>
                        <a:pt x="12423" y="19233"/>
                        <a:pt x="6622" y="19412"/>
                        <a:pt x="2914" y="15943"/>
                      </a:cubicBezTo>
                      <a:cubicBezTo>
                        <a:pt x="-794" y="12474"/>
                        <a:pt x="-974" y="6613"/>
                        <a:pt x="2435" y="2905"/>
                      </a:cubicBezTo>
                      <a:cubicBezTo>
                        <a:pt x="5904" y="-803"/>
                        <a:pt x="11705" y="-982"/>
                        <a:pt x="15413" y="2487"/>
                      </a:cubicBezTo>
                      <a:close/>
                    </a:path>
                  </a:pathLst>
                </a:custGeom>
                <a:grpFill/>
                <a:ln w="5978" cap="flat">
                  <a:noFill/>
                  <a:prstDash val="solid"/>
                  <a:miter/>
                </a:ln>
              </p:spPr>
              <p:txBody>
                <a:bodyPr rtlCol="0" anchor="ctr"/>
                <a:lstStyle/>
                <a:p>
                  <a:endParaRPr lang="en-GB"/>
                </a:p>
              </p:txBody>
            </p:sp>
            <p:sp>
              <p:nvSpPr>
                <p:cNvPr id="3986" name="Vrije vorm: vorm 3985">
                  <a:extLst>
                    <a:ext uri="{FF2B5EF4-FFF2-40B4-BE49-F238E27FC236}">
                      <a16:creationId xmlns:a16="http://schemas.microsoft.com/office/drawing/2014/main" id="{BB82E276-B69E-4889-B939-926434BACF8F}"/>
                    </a:ext>
                  </a:extLst>
                </p:cNvPr>
                <p:cNvSpPr/>
                <p:nvPr/>
              </p:nvSpPr>
              <p:spPr>
                <a:xfrm>
                  <a:off x="7331301" y="4616166"/>
                  <a:ext cx="18374" cy="18429"/>
                </a:xfrm>
                <a:custGeom>
                  <a:avLst/>
                  <a:gdLst>
                    <a:gd name="connsiteX0" fmla="*/ 15437 w 18374"/>
                    <a:gd name="connsiteY0" fmla="*/ 2487 h 18429"/>
                    <a:gd name="connsiteX1" fmla="*/ 2459 w 18374"/>
                    <a:gd name="connsiteY1" fmla="*/ 2905 h 18429"/>
                    <a:gd name="connsiteX2" fmla="*/ 2937 w 18374"/>
                    <a:gd name="connsiteY2" fmla="*/ 15943 h 18429"/>
                    <a:gd name="connsiteX3" fmla="*/ 15916 w 18374"/>
                    <a:gd name="connsiteY3" fmla="*/ 15524 h 18429"/>
                    <a:gd name="connsiteX4" fmla="*/ 15437 w 18374"/>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9">
                      <a:moveTo>
                        <a:pt x="15437" y="2487"/>
                      </a:moveTo>
                      <a:cubicBezTo>
                        <a:pt x="11729" y="-982"/>
                        <a:pt x="5928" y="-803"/>
                        <a:pt x="2459" y="2905"/>
                      </a:cubicBezTo>
                      <a:cubicBezTo>
                        <a:pt x="-1010" y="6613"/>
                        <a:pt x="-771" y="12415"/>
                        <a:pt x="2937" y="15943"/>
                      </a:cubicBezTo>
                      <a:cubicBezTo>
                        <a:pt x="6645" y="19412"/>
                        <a:pt x="12446" y="19232"/>
                        <a:pt x="15916" y="15524"/>
                      </a:cubicBezTo>
                      <a:cubicBezTo>
                        <a:pt x="19384" y="11757"/>
                        <a:pt x="19145" y="5955"/>
                        <a:pt x="15437" y="2487"/>
                      </a:cubicBezTo>
                      <a:close/>
                    </a:path>
                  </a:pathLst>
                </a:custGeom>
                <a:grpFill/>
                <a:ln w="5978" cap="flat">
                  <a:noFill/>
                  <a:prstDash val="solid"/>
                  <a:miter/>
                </a:ln>
              </p:spPr>
              <p:txBody>
                <a:bodyPr rtlCol="0" anchor="ctr"/>
                <a:lstStyle/>
                <a:p>
                  <a:endParaRPr lang="en-GB"/>
                </a:p>
              </p:txBody>
            </p:sp>
          </p:grpSp>
          <p:grpSp>
            <p:nvGrpSpPr>
              <p:cNvPr id="468" name="Graphic 3">
                <a:extLst>
                  <a:ext uri="{FF2B5EF4-FFF2-40B4-BE49-F238E27FC236}">
                    <a16:creationId xmlns:a16="http://schemas.microsoft.com/office/drawing/2014/main" id="{8108CF53-D44A-47F0-BB1C-BD6998784873}"/>
                  </a:ext>
                </a:extLst>
              </p:cNvPr>
              <p:cNvGrpSpPr/>
              <p:nvPr/>
            </p:nvGrpSpPr>
            <p:grpSpPr>
              <a:xfrm>
                <a:off x="7364853" y="4846458"/>
                <a:ext cx="282638" cy="306730"/>
                <a:chOff x="7364853" y="4846458"/>
                <a:chExt cx="282638" cy="306730"/>
              </a:xfrm>
              <a:grpFill/>
            </p:grpSpPr>
            <p:sp>
              <p:nvSpPr>
                <p:cNvPr id="3981" name="Vrije vorm: vorm 3980">
                  <a:extLst>
                    <a:ext uri="{FF2B5EF4-FFF2-40B4-BE49-F238E27FC236}">
                      <a16:creationId xmlns:a16="http://schemas.microsoft.com/office/drawing/2014/main" id="{10B8DB03-BF01-4871-B5EF-A21AC0F529F2}"/>
                    </a:ext>
                  </a:extLst>
                </p:cNvPr>
                <p:cNvSpPr/>
                <p:nvPr/>
              </p:nvSpPr>
              <p:spPr>
                <a:xfrm>
                  <a:off x="7372635" y="4854293"/>
                  <a:ext cx="267098" cy="291021"/>
                </a:xfrm>
                <a:custGeom>
                  <a:avLst/>
                  <a:gdLst>
                    <a:gd name="connsiteX0" fmla="*/ 267099 w 267098"/>
                    <a:gd name="connsiteY0" fmla="*/ 288929 h 291021"/>
                    <a:gd name="connsiteX1" fmla="*/ 264886 w 267098"/>
                    <a:gd name="connsiteY1" fmla="*/ 291022 h 291021"/>
                    <a:gd name="connsiteX2" fmla="*/ 0 w 267098"/>
                    <a:gd name="connsiteY2" fmla="*/ 2093 h 291021"/>
                    <a:gd name="connsiteX3" fmla="*/ 2213 w 267098"/>
                    <a:gd name="connsiteY3" fmla="*/ 0 h 291021"/>
                  </a:gdLst>
                  <a:ahLst/>
                  <a:cxnLst>
                    <a:cxn ang="0">
                      <a:pos x="connsiteX0" y="connsiteY0"/>
                    </a:cxn>
                    <a:cxn ang="0">
                      <a:pos x="connsiteX1" y="connsiteY1"/>
                    </a:cxn>
                    <a:cxn ang="0">
                      <a:pos x="connsiteX2" y="connsiteY2"/>
                    </a:cxn>
                    <a:cxn ang="0">
                      <a:pos x="connsiteX3" y="connsiteY3"/>
                    </a:cxn>
                  </a:cxnLst>
                  <a:rect l="l" t="t" r="r" b="b"/>
                  <a:pathLst>
                    <a:path w="267098" h="291021">
                      <a:moveTo>
                        <a:pt x="267099" y="288929"/>
                      </a:moveTo>
                      <a:lnTo>
                        <a:pt x="264886" y="291022"/>
                      </a:lnTo>
                      <a:lnTo>
                        <a:pt x="0" y="2093"/>
                      </a:lnTo>
                      <a:lnTo>
                        <a:pt x="2213" y="0"/>
                      </a:lnTo>
                      <a:close/>
                    </a:path>
                  </a:pathLst>
                </a:custGeom>
                <a:grpFill/>
                <a:ln w="5978" cap="flat">
                  <a:noFill/>
                  <a:prstDash val="solid"/>
                  <a:miter/>
                </a:ln>
              </p:spPr>
              <p:txBody>
                <a:bodyPr rtlCol="0" anchor="ctr"/>
                <a:lstStyle/>
                <a:p>
                  <a:endParaRPr lang="en-GB"/>
                </a:p>
              </p:txBody>
            </p:sp>
            <p:sp>
              <p:nvSpPr>
                <p:cNvPr id="3982" name="Vrije vorm: vorm 3981">
                  <a:extLst>
                    <a:ext uri="{FF2B5EF4-FFF2-40B4-BE49-F238E27FC236}">
                      <a16:creationId xmlns:a16="http://schemas.microsoft.com/office/drawing/2014/main" id="{C1B30CAC-2DF6-49F6-9761-7EDD61DC880B}"/>
                    </a:ext>
                  </a:extLst>
                </p:cNvPr>
                <p:cNvSpPr/>
                <p:nvPr/>
              </p:nvSpPr>
              <p:spPr>
                <a:xfrm>
                  <a:off x="7629165" y="5134728"/>
                  <a:ext cx="18327" cy="18459"/>
                </a:xfrm>
                <a:custGeom>
                  <a:avLst/>
                  <a:gdLst>
                    <a:gd name="connsiteX0" fmla="*/ 15892 w 18327"/>
                    <a:gd name="connsiteY0" fmla="*/ 2991 h 18459"/>
                    <a:gd name="connsiteX1" fmla="*/ 15413 w 18327"/>
                    <a:gd name="connsiteY1" fmla="*/ 16029 h 18459"/>
                    <a:gd name="connsiteX2" fmla="*/ 2435 w 18327"/>
                    <a:gd name="connsiteY2" fmla="*/ 15490 h 18459"/>
                    <a:gd name="connsiteX3" fmla="*/ 2914 w 18327"/>
                    <a:gd name="connsiteY3" fmla="*/ 2452 h 18459"/>
                    <a:gd name="connsiteX4" fmla="*/ 15892 w 18327"/>
                    <a:gd name="connsiteY4" fmla="*/ 2991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59">
                      <a:moveTo>
                        <a:pt x="15892" y="2991"/>
                      </a:moveTo>
                      <a:cubicBezTo>
                        <a:pt x="19301" y="6759"/>
                        <a:pt x="19121" y="12560"/>
                        <a:pt x="15413" y="16029"/>
                      </a:cubicBezTo>
                      <a:cubicBezTo>
                        <a:pt x="11705" y="19497"/>
                        <a:pt x="5904" y="19198"/>
                        <a:pt x="2435" y="15490"/>
                      </a:cubicBezTo>
                      <a:cubicBezTo>
                        <a:pt x="-974" y="11722"/>
                        <a:pt x="-794" y="5921"/>
                        <a:pt x="2914" y="2452"/>
                      </a:cubicBezTo>
                      <a:cubicBezTo>
                        <a:pt x="6622" y="-1016"/>
                        <a:pt x="12423" y="-777"/>
                        <a:pt x="15892" y="2991"/>
                      </a:cubicBezTo>
                      <a:close/>
                    </a:path>
                  </a:pathLst>
                </a:custGeom>
                <a:grpFill/>
                <a:ln w="5978" cap="flat">
                  <a:noFill/>
                  <a:prstDash val="solid"/>
                  <a:miter/>
                </a:ln>
              </p:spPr>
              <p:txBody>
                <a:bodyPr rtlCol="0" anchor="ctr"/>
                <a:lstStyle/>
                <a:p>
                  <a:endParaRPr lang="en-GB"/>
                </a:p>
              </p:txBody>
            </p:sp>
            <p:sp>
              <p:nvSpPr>
                <p:cNvPr id="3983" name="Vrije vorm: vorm 3982">
                  <a:extLst>
                    <a:ext uri="{FF2B5EF4-FFF2-40B4-BE49-F238E27FC236}">
                      <a16:creationId xmlns:a16="http://schemas.microsoft.com/office/drawing/2014/main" id="{4149D71C-CF3B-4984-995A-247774714E28}"/>
                    </a:ext>
                  </a:extLst>
                </p:cNvPr>
                <p:cNvSpPr/>
                <p:nvPr/>
              </p:nvSpPr>
              <p:spPr>
                <a:xfrm>
                  <a:off x="7364853" y="4846458"/>
                  <a:ext cx="18374" cy="18481"/>
                </a:xfrm>
                <a:custGeom>
                  <a:avLst/>
                  <a:gdLst>
                    <a:gd name="connsiteX0" fmla="*/ 15915 w 18374"/>
                    <a:gd name="connsiteY0" fmla="*/ 2991 h 18481"/>
                    <a:gd name="connsiteX1" fmla="*/ 2937 w 18374"/>
                    <a:gd name="connsiteY1" fmla="*/ 2452 h 18481"/>
                    <a:gd name="connsiteX2" fmla="*/ 2459 w 18374"/>
                    <a:gd name="connsiteY2" fmla="*/ 15490 h 18481"/>
                    <a:gd name="connsiteX3" fmla="*/ 15437 w 18374"/>
                    <a:gd name="connsiteY3" fmla="*/ 16029 h 18481"/>
                    <a:gd name="connsiteX4" fmla="*/ 15915 w 18374"/>
                    <a:gd name="connsiteY4" fmla="*/ 2991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81">
                      <a:moveTo>
                        <a:pt x="15915" y="2991"/>
                      </a:moveTo>
                      <a:cubicBezTo>
                        <a:pt x="12506" y="-777"/>
                        <a:pt x="6705" y="-1016"/>
                        <a:pt x="2937" y="2452"/>
                      </a:cubicBezTo>
                      <a:cubicBezTo>
                        <a:pt x="-771" y="5921"/>
                        <a:pt x="-1010" y="11722"/>
                        <a:pt x="2459" y="15490"/>
                      </a:cubicBezTo>
                      <a:cubicBezTo>
                        <a:pt x="5868" y="19258"/>
                        <a:pt x="11669" y="19498"/>
                        <a:pt x="15437" y="16029"/>
                      </a:cubicBezTo>
                      <a:cubicBezTo>
                        <a:pt x="19145" y="12560"/>
                        <a:pt x="19384" y="6759"/>
                        <a:pt x="15915" y="2991"/>
                      </a:cubicBezTo>
                      <a:close/>
                    </a:path>
                  </a:pathLst>
                </a:custGeom>
                <a:grpFill/>
                <a:ln w="5978" cap="flat">
                  <a:noFill/>
                  <a:prstDash val="solid"/>
                  <a:miter/>
                </a:ln>
              </p:spPr>
              <p:txBody>
                <a:bodyPr rtlCol="0" anchor="ctr"/>
                <a:lstStyle/>
                <a:p>
                  <a:endParaRPr lang="en-GB"/>
                </a:p>
              </p:txBody>
            </p:sp>
          </p:grpSp>
          <p:grpSp>
            <p:nvGrpSpPr>
              <p:cNvPr id="469" name="Graphic 3">
                <a:extLst>
                  <a:ext uri="{FF2B5EF4-FFF2-40B4-BE49-F238E27FC236}">
                    <a16:creationId xmlns:a16="http://schemas.microsoft.com/office/drawing/2014/main" id="{F84C57CD-7D9F-4C64-923A-22085FFAB01A}"/>
                  </a:ext>
                </a:extLst>
              </p:cNvPr>
              <p:cNvGrpSpPr/>
              <p:nvPr/>
            </p:nvGrpSpPr>
            <p:grpSpPr>
              <a:xfrm>
                <a:off x="7348770" y="4678967"/>
                <a:ext cx="113457" cy="111183"/>
                <a:chOff x="7348770" y="4678967"/>
                <a:chExt cx="113457" cy="111183"/>
              </a:xfrm>
              <a:grpFill/>
            </p:grpSpPr>
            <p:sp>
              <p:nvSpPr>
                <p:cNvPr id="3978" name="Vrije vorm: vorm 3977">
                  <a:extLst>
                    <a:ext uri="{FF2B5EF4-FFF2-40B4-BE49-F238E27FC236}">
                      <a16:creationId xmlns:a16="http://schemas.microsoft.com/office/drawing/2014/main" id="{36C5C5C1-DDA0-4FA2-9917-34A839B2DD5D}"/>
                    </a:ext>
                  </a:extLst>
                </p:cNvPr>
                <p:cNvSpPr/>
                <p:nvPr/>
              </p:nvSpPr>
              <p:spPr>
                <a:xfrm>
                  <a:off x="7356547" y="4686713"/>
                  <a:ext cx="97904" cy="95631"/>
                </a:xfrm>
                <a:custGeom>
                  <a:avLst/>
                  <a:gdLst>
                    <a:gd name="connsiteX0" fmla="*/ 97904 w 97904"/>
                    <a:gd name="connsiteY0" fmla="*/ 93479 h 95631"/>
                    <a:gd name="connsiteX1" fmla="*/ 95811 w 97904"/>
                    <a:gd name="connsiteY1" fmla="*/ 95632 h 95631"/>
                    <a:gd name="connsiteX2" fmla="*/ 0 w 97904"/>
                    <a:gd name="connsiteY2" fmla="*/ 2213 h 95631"/>
                    <a:gd name="connsiteX3" fmla="*/ 2093 w 97904"/>
                    <a:gd name="connsiteY3" fmla="*/ 0 h 95631"/>
                  </a:gdLst>
                  <a:ahLst/>
                  <a:cxnLst>
                    <a:cxn ang="0">
                      <a:pos x="connsiteX0" y="connsiteY0"/>
                    </a:cxn>
                    <a:cxn ang="0">
                      <a:pos x="connsiteX1" y="connsiteY1"/>
                    </a:cxn>
                    <a:cxn ang="0">
                      <a:pos x="connsiteX2" y="connsiteY2"/>
                    </a:cxn>
                    <a:cxn ang="0">
                      <a:pos x="connsiteX3" y="connsiteY3"/>
                    </a:cxn>
                  </a:cxnLst>
                  <a:rect l="l" t="t" r="r" b="b"/>
                  <a:pathLst>
                    <a:path w="97904" h="95631">
                      <a:moveTo>
                        <a:pt x="97904" y="93479"/>
                      </a:moveTo>
                      <a:lnTo>
                        <a:pt x="95811" y="95632"/>
                      </a:lnTo>
                      <a:lnTo>
                        <a:pt x="0" y="2213"/>
                      </a:lnTo>
                      <a:lnTo>
                        <a:pt x="2093" y="0"/>
                      </a:lnTo>
                      <a:close/>
                    </a:path>
                  </a:pathLst>
                </a:custGeom>
                <a:grpFill/>
                <a:ln w="5978" cap="flat">
                  <a:noFill/>
                  <a:prstDash val="solid"/>
                  <a:miter/>
                </a:ln>
              </p:spPr>
              <p:txBody>
                <a:bodyPr rtlCol="0" anchor="ctr"/>
                <a:lstStyle/>
                <a:p>
                  <a:endParaRPr lang="en-GB"/>
                </a:p>
              </p:txBody>
            </p:sp>
            <p:sp>
              <p:nvSpPr>
                <p:cNvPr id="3979" name="Vrije vorm: vorm 3978">
                  <a:extLst>
                    <a:ext uri="{FF2B5EF4-FFF2-40B4-BE49-F238E27FC236}">
                      <a16:creationId xmlns:a16="http://schemas.microsoft.com/office/drawing/2014/main" id="{2D3AD3F7-527E-4F91-888A-D30493ACF5B6}"/>
                    </a:ext>
                  </a:extLst>
                </p:cNvPr>
                <p:cNvSpPr/>
                <p:nvPr/>
              </p:nvSpPr>
              <p:spPr>
                <a:xfrm>
                  <a:off x="7443887" y="4771728"/>
                  <a:ext cx="18341" cy="18422"/>
                </a:xfrm>
                <a:custGeom>
                  <a:avLst/>
                  <a:gdLst>
                    <a:gd name="connsiteX0" fmla="*/ 15529 w 18341"/>
                    <a:gd name="connsiteY0" fmla="*/ 2602 h 18422"/>
                    <a:gd name="connsiteX1" fmla="*/ 15767 w 18341"/>
                    <a:gd name="connsiteY1" fmla="*/ 15640 h 18422"/>
                    <a:gd name="connsiteX2" fmla="*/ 2790 w 18341"/>
                    <a:gd name="connsiteY2" fmla="*/ 15820 h 18422"/>
                    <a:gd name="connsiteX3" fmla="*/ 2550 w 18341"/>
                    <a:gd name="connsiteY3" fmla="*/ 2782 h 18422"/>
                    <a:gd name="connsiteX4" fmla="*/ 15529 w 18341"/>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2">
                      <a:moveTo>
                        <a:pt x="15529" y="2602"/>
                      </a:moveTo>
                      <a:cubicBezTo>
                        <a:pt x="19177" y="6131"/>
                        <a:pt x="19297" y="11992"/>
                        <a:pt x="15767" y="15640"/>
                      </a:cubicBezTo>
                      <a:cubicBezTo>
                        <a:pt x="12239" y="19289"/>
                        <a:pt x="6438" y="19348"/>
                        <a:pt x="2790" y="15820"/>
                      </a:cubicBezTo>
                      <a:cubicBezTo>
                        <a:pt x="-858" y="12291"/>
                        <a:pt x="-918" y="6430"/>
                        <a:pt x="2550" y="2782"/>
                      </a:cubicBezTo>
                      <a:cubicBezTo>
                        <a:pt x="6139" y="-866"/>
                        <a:pt x="11940" y="-926"/>
                        <a:pt x="15529" y="2602"/>
                      </a:cubicBezTo>
                      <a:close/>
                    </a:path>
                  </a:pathLst>
                </a:custGeom>
                <a:grpFill/>
                <a:ln w="5978" cap="flat">
                  <a:noFill/>
                  <a:prstDash val="solid"/>
                  <a:miter/>
                </a:ln>
              </p:spPr>
              <p:txBody>
                <a:bodyPr rtlCol="0" anchor="ctr"/>
                <a:lstStyle/>
                <a:p>
                  <a:endParaRPr lang="en-GB"/>
                </a:p>
              </p:txBody>
            </p:sp>
            <p:sp>
              <p:nvSpPr>
                <p:cNvPr id="3980" name="Vrije vorm: vorm 3979">
                  <a:extLst>
                    <a:ext uri="{FF2B5EF4-FFF2-40B4-BE49-F238E27FC236}">
                      <a16:creationId xmlns:a16="http://schemas.microsoft.com/office/drawing/2014/main" id="{9D5B611D-D2D3-4204-9EF5-3F5CAE121BA4}"/>
                    </a:ext>
                  </a:extLst>
                </p:cNvPr>
                <p:cNvSpPr/>
                <p:nvPr/>
              </p:nvSpPr>
              <p:spPr>
                <a:xfrm>
                  <a:off x="7348770" y="4678967"/>
                  <a:ext cx="18319" cy="18422"/>
                </a:xfrm>
                <a:custGeom>
                  <a:avLst/>
                  <a:gdLst>
                    <a:gd name="connsiteX0" fmla="*/ 15552 w 18319"/>
                    <a:gd name="connsiteY0" fmla="*/ 2602 h 18422"/>
                    <a:gd name="connsiteX1" fmla="*/ 2573 w 18319"/>
                    <a:gd name="connsiteY1" fmla="*/ 2782 h 18422"/>
                    <a:gd name="connsiteX2" fmla="*/ 2813 w 18319"/>
                    <a:gd name="connsiteY2" fmla="*/ 15820 h 18422"/>
                    <a:gd name="connsiteX3" fmla="*/ 15791 w 18319"/>
                    <a:gd name="connsiteY3" fmla="*/ 15640 h 18422"/>
                    <a:gd name="connsiteX4" fmla="*/ 15552 w 18319"/>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2">
                      <a:moveTo>
                        <a:pt x="15552" y="2602"/>
                      </a:moveTo>
                      <a:cubicBezTo>
                        <a:pt x="11903" y="-926"/>
                        <a:pt x="6102" y="-866"/>
                        <a:pt x="2573" y="2782"/>
                      </a:cubicBezTo>
                      <a:cubicBezTo>
                        <a:pt x="-955" y="6430"/>
                        <a:pt x="-836" y="12231"/>
                        <a:pt x="2813" y="15820"/>
                      </a:cubicBezTo>
                      <a:cubicBezTo>
                        <a:pt x="6461" y="19348"/>
                        <a:pt x="12262" y="19289"/>
                        <a:pt x="15791" y="15640"/>
                      </a:cubicBezTo>
                      <a:cubicBezTo>
                        <a:pt x="19260" y="11932"/>
                        <a:pt x="19140" y="6131"/>
                        <a:pt x="15552" y="2602"/>
                      </a:cubicBezTo>
                      <a:close/>
                    </a:path>
                  </a:pathLst>
                </a:custGeom>
                <a:grpFill/>
                <a:ln w="5978" cap="flat">
                  <a:noFill/>
                  <a:prstDash val="solid"/>
                  <a:miter/>
                </a:ln>
              </p:spPr>
              <p:txBody>
                <a:bodyPr rtlCol="0" anchor="ctr"/>
                <a:lstStyle/>
                <a:p>
                  <a:endParaRPr lang="en-GB"/>
                </a:p>
              </p:txBody>
            </p:sp>
          </p:grpSp>
          <p:grpSp>
            <p:nvGrpSpPr>
              <p:cNvPr id="470" name="Graphic 3">
                <a:extLst>
                  <a:ext uri="{FF2B5EF4-FFF2-40B4-BE49-F238E27FC236}">
                    <a16:creationId xmlns:a16="http://schemas.microsoft.com/office/drawing/2014/main" id="{1F349759-E939-48C8-A906-227F71CFC761}"/>
                  </a:ext>
                </a:extLst>
              </p:cNvPr>
              <p:cNvGrpSpPr/>
              <p:nvPr/>
            </p:nvGrpSpPr>
            <p:grpSpPr>
              <a:xfrm>
                <a:off x="6310148" y="1467279"/>
                <a:ext cx="97607" cy="298047"/>
                <a:chOff x="6310148" y="1467279"/>
                <a:chExt cx="97607" cy="298047"/>
              </a:xfrm>
              <a:grpFill/>
            </p:grpSpPr>
            <p:sp>
              <p:nvSpPr>
                <p:cNvPr id="3975" name="Vrije vorm: vorm 3974">
                  <a:extLst>
                    <a:ext uri="{FF2B5EF4-FFF2-40B4-BE49-F238E27FC236}">
                      <a16:creationId xmlns:a16="http://schemas.microsoft.com/office/drawing/2014/main" id="{67408FE9-87BA-4EE8-8865-9ED91BAA93AA}"/>
                    </a:ext>
                  </a:extLst>
                </p:cNvPr>
                <p:cNvSpPr/>
                <p:nvPr/>
              </p:nvSpPr>
              <p:spPr>
                <a:xfrm>
                  <a:off x="6317695" y="1475664"/>
                  <a:ext cx="82533" cy="281333"/>
                </a:xfrm>
                <a:custGeom>
                  <a:avLst/>
                  <a:gdLst>
                    <a:gd name="connsiteX0" fmla="*/ 82534 w 82533"/>
                    <a:gd name="connsiteY0" fmla="*/ 837 h 281333"/>
                    <a:gd name="connsiteX1" fmla="*/ 2930 w 82533"/>
                    <a:gd name="connsiteY1" fmla="*/ 281333 h 281333"/>
                    <a:gd name="connsiteX2" fmla="*/ 0 w 82533"/>
                    <a:gd name="connsiteY2" fmla="*/ 280496 h 281333"/>
                    <a:gd name="connsiteX3" fmla="*/ 79603 w 82533"/>
                    <a:gd name="connsiteY3" fmla="*/ 0 h 281333"/>
                  </a:gdLst>
                  <a:ahLst/>
                  <a:cxnLst>
                    <a:cxn ang="0">
                      <a:pos x="connsiteX0" y="connsiteY0"/>
                    </a:cxn>
                    <a:cxn ang="0">
                      <a:pos x="connsiteX1" y="connsiteY1"/>
                    </a:cxn>
                    <a:cxn ang="0">
                      <a:pos x="connsiteX2" y="connsiteY2"/>
                    </a:cxn>
                    <a:cxn ang="0">
                      <a:pos x="connsiteX3" y="connsiteY3"/>
                    </a:cxn>
                  </a:cxnLst>
                  <a:rect l="l" t="t" r="r" b="b"/>
                  <a:pathLst>
                    <a:path w="82533" h="281333">
                      <a:moveTo>
                        <a:pt x="82534" y="837"/>
                      </a:moveTo>
                      <a:lnTo>
                        <a:pt x="2930" y="281333"/>
                      </a:lnTo>
                      <a:lnTo>
                        <a:pt x="0" y="280496"/>
                      </a:lnTo>
                      <a:lnTo>
                        <a:pt x="79603" y="0"/>
                      </a:lnTo>
                      <a:close/>
                    </a:path>
                  </a:pathLst>
                </a:custGeom>
                <a:grpFill/>
                <a:ln w="5978" cap="flat">
                  <a:noFill/>
                  <a:prstDash val="solid"/>
                  <a:miter/>
                </a:ln>
              </p:spPr>
              <p:txBody>
                <a:bodyPr rtlCol="0" anchor="ctr"/>
                <a:lstStyle/>
                <a:p>
                  <a:endParaRPr lang="en-GB"/>
                </a:p>
              </p:txBody>
            </p:sp>
            <p:sp>
              <p:nvSpPr>
                <p:cNvPr id="3976" name="Vrije vorm: vorm 3975">
                  <a:extLst>
                    <a:ext uri="{FF2B5EF4-FFF2-40B4-BE49-F238E27FC236}">
                      <a16:creationId xmlns:a16="http://schemas.microsoft.com/office/drawing/2014/main" id="{0EBC3255-5E13-47FF-95B9-BD5A43CA6E29}"/>
                    </a:ext>
                  </a:extLst>
                </p:cNvPr>
                <p:cNvSpPr/>
                <p:nvPr/>
              </p:nvSpPr>
              <p:spPr>
                <a:xfrm>
                  <a:off x="6310148" y="1746873"/>
                  <a:ext cx="18302" cy="18453"/>
                </a:xfrm>
                <a:custGeom>
                  <a:avLst/>
                  <a:gdLst>
                    <a:gd name="connsiteX0" fmla="*/ 17954 w 18302"/>
                    <a:gd name="connsiteY0" fmla="*/ 11798 h 18453"/>
                    <a:gd name="connsiteX1" fmla="*/ 6650 w 18302"/>
                    <a:gd name="connsiteY1" fmla="*/ 18078 h 18453"/>
                    <a:gd name="connsiteX2" fmla="*/ 370 w 18302"/>
                    <a:gd name="connsiteY2" fmla="*/ 6655 h 18453"/>
                    <a:gd name="connsiteX3" fmla="*/ 11674 w 18302"/>
                    <a:gd name="connsiteY3" fmla="*/ 375 h 18453"/>
                    <a:gd name="connsiteX4" fmla="*/ 17954 w 18302"/>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53">
                      <a:moveTo>
                        <a:pt x="17954" y="11798"/>
                      </a:moveTo>
                      <a:cubicBezTo>
                        <a:pt x="16578" y="16702"/>
                        <a:pt x="11494" y="19513"/>
                        <a:pt x="6650" y="18078"/>
                      </a:cubicBezTo>
                      <a:cubicBezTo>
                        <a:pt x="1806" y="16643"/>
                        <a:pt x="-1065" y="11559"/>
                        <a:pt x="370" y="6655"/>
                      </a:cubicBezTo>
                      <a:cubicBezTo>
                        <a:pt x="1746" y="1751"/>
                        <a:pt x="6830" y="-1060"/>
                        <a:pt x="11674" y="375"/>
                      </a:cubicBezTo>
                      <a:cubicBezTo>
                        <a:pt x="16518" y="1810"/>
                        <a:pt x="19329" y="6954"/>
                        <a:pt x="17954" y="11798"/>
                      </a:cubicBezTo>
                      <a:close/>
                    </a:path>
                  </a:pathLst>
                </a:custGeom>
                <a:grpFill/>
                <a:ln w="5978" cap="flat">
                  <a:noFill/>
                  <a:prstDash val="solid"/>
                  <a:miter/>
                </a:ln>
              </p:spPr>
              <p:txBody>
                <a:bodyPr rtlCol="0" anchor="ctr"/>
                <a:lstStyle/>
                <a:p>
                  <a:endParaRPr lang="en-GB"/>
                </a:p>
              </p:txBody>
            </p:sp>
            <p:sp>
              <p:nvSpPr>
                <p:cNvPr id="3977" name="Vrije vorm: vorm 3976">
                  <a:extLst>
                    <a:ext uri="{FF2B5EF4-FFF2-40B4-BE49-F238E27FC236}">
                      <a16:creationId xmlns:a16="http://schemas.microsoft.com/office/drawing/2014/main" id="{1759ADAD-7FA6-4000-9D37-59CA0D83978C}"/>
                    </a:ext>
                  </a:extLst>
                </p:cNvPr>
                <p:cNvSpPr/>
                <p:nvPr/>
              </p:nvSpPr>
              <p:spPr>
                <a:xfrm>
                  <a:off x="6389474" y="1467279"/>
                  <a:ext cx="18281" cy="18448"/>
                </a:xfrm>
                <a:custGeom>
                  <a:avLst/>
                  <a:gdLst>
                    <a:gd name="connsiteX0" fmla="*/ 17933 w 18281"/>
                    <a:gd name="connsiteY0" fmla="*/ 11794 h 18448"/>
                    <a:gd name="connsiteX1" fmla="*/ 11653 w 18281"/>
                    <a:gd name="connsiteY1" fmla="*/ 370 h 18448"/>
                    <a:gd name="connsiteX2" fmla="*/ 349 w 18281"/>
                    <a:gd name="connsiteY2" fmla="*/ 6650 h 18448"/>
                    <a:gd name="connsiteX3" fmla="*/ 6629 w 18281"/>
                    <a:gd name="connsiteY3" fmla="*/ 18073 h 18448"/>
                    <a:gd name="connsiteX4" fmla="*/ 17933 w 18281"/>
                    <a:gd name="connsiteY4" fmla="*/ 11794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48">
                      <a:moveTo>
                        <a:pt x="17933" y="11794"/>
                      </a:moveTo>
                      <a:cubicBezTo>
                        <a:pt x="19308" y="6889"/>
                        <a:pt x="16497" y="1806"/>
                        <a:pt x="11653" y="370"/>
                      </a:cubicBezTo>
                      <a:cubicBezTo>
                        <a:pt x="6809" y="-1065"/>
                        <a:pt x="1725" y="1806"/>
                        <a:pt x="349" y="6650"/>
                      </a:cubicBezTo>
                      <a:cubicBezTo>
                        <a:pt x="-1027" y="11554"/>
                        <a:pt x="1785" y="16638"/>
                        <a:pt x="6629" y="18073"/>
                      </a:cubicBezTo>
                      <a:cubicBezTo>
                        <a:pt x="11473" y="19509"/>
                        <a:pt x="16557" y="16698"/>
                        <a:pt x="17933" y="11794"/>
                      </a:cubicBezTo>
                      <a:close/>
                    </a:path>
                  </a:pathLst>
                </a:custGeom>
                <a:grpFill/>
                <a:ln w="5978" cap="flat">
                  <a:noFill/>
                  <a:prstDash val="solid"/>
                  <a:miter/>
                </a:ln>
              </p:spPr>
              <p:txBody>
                <a:bodyPr rtlCol="0" anchor="ctr"/>
                <a:lstStyle/>
                <a:p>
                  <a:endParaRPr lang="en-GB"/>
                </a:p>
              </p:txBody>
            </p:sp>
          </p:grpSp>
          <p:grpSp>
            <p:nvGrpSpPr>
              <p:cNvPr id="471" name="Graphic 3">
                <a:extLst>
                  <a:ext uri="{FF2B5EF4-FFF2-40B4-BE49-F238E27FC236}">
                    <a16:creationId xmlns:a16="http://schemas.microsoft.com/office/drawing/2014/main" id="{C968C45D-697B-495E-BF77-5BD539032F50}"/>
                  </a:ext>
                </a:extLst>
              </p:cNvPr>
              <p:cNvGrpSpPr/>
              <p:nvPr/>
            </p:nvGrpSpPr>
            <p:grpSpPr>
              <a:xfrm>
                <a:off x="6333434" y="1485644"/>
                <a:ext cx="35284" cy="125608"/>
                <a:chOff x="6333434" y="1485644"/>
                <a:chExt cx="35284" cy="125608"/>
              </a:xfrm>
              <a:grpFill/>
            </p:grpSpPr>
            <p:sp>
              <p:nvSpPr>
                <p:cNvPr id="3972" name="Vrije vorm: vorm 3971">
                  <a:extLst>
                    <a:ext uri="{FF2B5EF4-FFF2-40B4-BE49-F238E27FC236}">
                      <a16:creationId xmlns:a16="http://schemas.microsoft.com/office/drawing/2014/main" id="{11CDCE03-5929-4847-9D56-7A5046A17F8C}"/>
                    </a:ext>
                  </a:extLst>
                </p:cNvPr>
                <p:cNvSpPr/>
                <p:nvPr/>
              </p:nvSpPr>
              <p:spPr>
                <a:xfrm>
                  <a:off x="6341020" y="1494144"/>
                  <a:ext cx="20155" cy="108609"/>
                </a:xfrm>
                <a:custGeom>
                  <a:avLst/>
                  <a:gdLst>
                    <a:gd name="connsiteX0" fmla="*/ 20155 w 20155"/>
                    <a:gd name="connsiteY0" fmla="*/ 478 h 108609"/>
                    <a:gd name="connsiteX1" fmla="*/ 2990 w 20155"/>
                    <a:gd name="connsiteY1" fmla="*/ 108610 h 108609"/>
                    <a:gd name="connsiteX2" fmla="*/ 0 w 20155"/>
                    <a:gd name="connsiteY2" fmla="*/ 108131 h 108609"/>
                    <a:gd name="connsiteX3" fmla="*/ 17105 w 20155"/>
                    <a:gd name="connsiteY3" fmla="*/ 0 h 108609"/>
                  </a:gdLst>
                  <a:ahLst/>
                  <a:cxnLst>
                    <a:cxn ang="0">
                      <a:pos x="connsiteX0" y="connsiteY0"/>
                    </a:cxn>
                    <a:cxn ang="0">
                      <a:pos x="connsiteX1" y="connsiteY1"/>
                    </a:cxn>
                    <a:cxn ang="0">
                      <a:pos x="connsiteX2" y="connsiteY2"/>
                    </a:cxn>
                    <a:cxn ang="0">
                      <a:pos x="connsiteX3" y="connsiteY3"/>
                    </a:cxn>
                  </a:cxnLst>
                  <a:rect l="l" t="t" r="r" b="b"/>
                  <a:pathLst>
                    <a:path w="20155" h="108609">
                      <a:moveTo>
                        <a:pt x="20155" y="478"/>
                      </a:moveTo>
                      <a:lnTo>
                        <a:pt x="2990" y="108610"/>
                      </a:lnTo>
                      <a:lnTo>
                        <a:pt x="0" y="108131"/>
                      </a:lnTo>
                      <a:lnTo>
                        <a:pt x="17105" y="0"/>
                      </a:lnTo>
                      <a:close/>
                    </a:path>
                  </a:pathLst>
                </a:custGeom>
                <a:grpFill/>
                <a:ln w="5978" cap="flat">
                  <a:noFill/>
                  <a:prstDash val="solid"/>
                  <a:miter/>
                </a:ln>
              </p:spPr>
              <p:txBody>
                <a:bodyPr rtlCol="0" anchor="ctr"/>
                <a:lstStyle/>
                <a:p>
                  <a:endParaRPr lang="en-GB"/>
                </a:p>
              </p:txBody>
            </p:sp>
            <p:sp>
              <p:nvSpPr>
                <p:cNvPr id="3973" name="Vrije vorm: vorm 3972">
                  <a:extLst>
                    <a:ext uri="{FF2B5EF4-FFF2-40B4-BE49-F238E27FC236}">
                      <a16:creationId xmlns:a16="http://schemas.microsoft.com/office/drawing/2014/main" id="{F3112713-9E64-441F-8923-4D56C2301D03}"/>
                    </a:ext>
                  </a:extLst>
                </p:cNvPr>
                <p:cNvSpPr/>
                <p:nvPr/>
              </p:nvSpPr>
              <p:spPr>
                <a:xfrm>
                  <a:off x="6350419" y="1485644"/>
                  <a:ext cx="18298" cy="18434"/>
                </a:xfrm>
                <a:custGeom>
                  <a:avLst/>
                  <a:gdLst>
                    <a:gd name="connsiteX0" fmla="*/ 111 w 18298"/>
                    <a:gd name="connsiteY0" fmla="*/ 7722 h 18434"/>
                    <a:gd name="connsiteX1" fmla="*/ 10577 w 18298"/>
                    <a:gd name="connsiteY1" fmla="*/ 126 h 18434"/>
                    <a:gd name="connsiteX2" fmla="*/ 18172 w 18298"/>
                    <a:gd name="connsiteY2" fmla="*/ 10712 h 18434"/>
                    <a:gd name="connsiteX3" fmla="*/ 7706 w 18298"/>
                    <a:gd name="connsiteY3" fmla="*/ 18308 h 18434"/>
                    <a:gd name="connsiteX4" fmla="*/ 111 w 1829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4">
                      <a:moveTo>
                        <a:pt x="111" y="7722"/>
                      </a:moveTo>
                      <a:cubicBezTo>
                        <a:pt x="888" y="2698"/>
                        <a:pt x="5613" y="-711"/>
                        <a:pt x="10577" y="126"/>
                      </a:cubicBezTo>
                      <a:cubicBezTo>
                        <a:pt x="15600" y="964"/>
                        <a:pt x="19009" y="5689"/>
                        <a:pt x="18172" y="10712"/>
                      </a:cubicBezTo>
                      <a:cubicBezTo>
                        <a:pt x="17395" y="15736"/>
                        <a:pt x="12670" y="19145"/>
                        <a:pt x="7706" y="18308"/>
                      </a:cubicBezTo>
                      <a:cubicBezTo>
                        <a:pt x="2742" y="17471"/>
                        <a:pt x="-667" y="12746"/>
                        <a:pt x="111" y="7722"/>
                      </a:cubicBezTo>
                      <a:close/>
                    </a:path>
                  </a:pathLst>
                </a:custGeom>
                <a:grpFill/>
                <a:ln w="5978" cap="flat">
                  <a:noFill/>
                  <a:prstDash val="solid"/>
                  <a:miter/>
                </a:ln>
              </p:spPr>
              <p:txBody>
                <a:bodyPr rtlCol="0" anchor="ctr"/>
                <a:lstStyle/>
                <a:p>
                  <a:endParaRPr lang="en-GB"/>
                </a:p>
              </p:txBody>
            </p:sp>
            <p:sp>
              <p:nvSpPr>
                <p:cNvPr id="3974" name="Vrije vorm: vorm 3973">
                  <a:extLst>
                    <a:ext uri="{FF2B5EF4-FFF2-40B4-BE49-F238E27FC236}">
                      <a16:creationId xmlns:a16="http://schemas.microsoft.com/office/drawing/2014/main" id="{C69BD105-788F-46B7-93BE-82D455511DDB}"/>
                    </a:ext>
                  </a:extLst>
                </p:cNvPr>
                <p:cNvSpPr/>
                <p:nvPr/>
              </p:nvSpPr>
              <p:spPr>
                <a:xfrm>
                  <a:off x="6333434" y="1592819"/>
                  <a:ext cx="18282" cy="18434"/>
                </a:xfrm>
                <a:custGeom>
                  <a:avLst/>
                  <a:gdLst>
                    <a:gd name="connsiteX0" fmla="*/ 111 w 18282"/>
                    <a:gd name="connsiteY0" fmla="*/ 7722 h 18434"/>
                    <a:gd name="connsiteX1" fmla="*/ 7706 w 18282"/>
                    <a:gd name="connsiteY1" fmla="*/ 18308 h 18434"/>
                    <a:gd name="connsiteX2" fmla="*/ 18172 w 18282"/>
                    <a:gd name="connsiteY2" fmla="*/ 10712 h 18434"/>
                    <a:gd name="connsiteX3" fmla="*/ 10577 w 18282"/>
                    <a:gd name="connsiteY3" fmla="*/ 126 h 18434"/>
                    <a:gd name="connsiteX4" fmla="*/ 111 w 18282"/>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34">
                      <a:moveTo>
                        <a:pt x="111" y="7722"/>
                      </a:moveTo>
                      <a:cubicBezTo>
                        <a:pt x="-667" y="12746"/>
                        <a:pt x="2742" y="17471"/>
                        <a:pt x="7706" y="18308"/>
                      </a:cubicBezTo>
                      <a:cubicBezTo>
                        <a:pt x="12730" y="19145"/>
                        <a:pt x="17395" y="15736"/>
                        <a:pt x="18172" y="10712"/>
                      </a:cubicBezTo>
                      <a:cubicBezTo>
                        <a:pt x="18950" y="5689"/>
                        <a:pt x="15541" y="964"/>
                        <a:pt x="10577" y="126"/>
                      </a:cubicBezTo>
                      <a:cubicBezTo>
                        <a:pt x="5613" y="-711"/>
                        <a:pt x="888" y="2698"/>
                        <a:pt x="111" y="7722"/>
                      </a:cubicBezTo>
                      <a:close/>
                    </a:path>
                  </a:pathLst>
                </a:custGeom>
                <a:grpFill/>
                <a:ln w="5978" cap="flat">
                  <a:noFill/>
                  <a:prstDash val="solid"/>
                  <a:miter/>
                </a:ln>
              </p:spPr>
              <p:txBody>
                <a:bodyPr rtlCol="0" anchor="ctr"/>
                <a:lstStyle/>
                <a:p>
                  <a:endParaRPr lang="en-GB"/>
                </a:p>
              </p:txBody>
            </p:sp>
          </p:grpSp>
          <p:grpSp>
            <p:nvGrpSpPr>
              <p:cNvPr id="472" name="Graphic 3">
                <a:extLst>
                  <a:ext uri="{FF2B5EF4-FFF2-40B4-BE49-F238E27FC236}">
                    <a16:creationId xmlns:a16="http://schemas.microsoft.com/office/drawing/2014/main" id="{C94A2DD8-EBB1-4C2F-8B62-E6D21FE51ABA}"/>
                  </a:ext>
                </a:extLst>
              </p:cNvPr>
              <p:cNvGrpSpPr/>
              <p:nvPr/>
            </p:nvGrpSpPr>
            <p:grpSpPr>
              <a:xfrm>
                <a:off x="7256910" y="4590371"/>
                <a:ext cx="329375" cy="376172"/>
                <a:chOff x="7256910" y="4590371"/>
                <a:chExt cx="329375" cy="376172"/>
              </a:xfrm>
              <a:grpFill/>
            </p:grpSpPr>
            <p:sp>
              <p:nvSpPr>
                <p:cNvPr id="3969" name="Vrije vorm: vorm 3968">
                  <a:extLst>
                    <a:ext uri="{FF2B5EF4-FFF2-40B4-BE49-F238E27FC236}">
                      <a16:creationId xmlns:a16="http://schemas.microsoft.com/office/drawing/2014/main" id="{80E11311-985D-4084-BF85-97CD65201B7A}"/>
                    </a:ext>
                  </a:extLst>
                </p:cNvPr>
                <p:cNvSpPr/>
                <p:nvPr/>
              </p:nvSpPr>
              <p:spPr>
                <a:xfrm>
                  <a:off x="7264623" y="4598198"/>
                  <a:ext cx="313928" cy="360517"/>
                </a:xfrm>
                <a:custGeom>
                  <a:avLst/>
                  <a:gdLst>
                    <a:gd name="connsiteX0" fmla="*/ 313928 w 313928"/>
                    <a:gd name="connsiteY0" fmla="*/ 358484 h 360517"/>
                    <a:gd name="connsiteX1" fmla="*/ 311655 w 313928"/>
                    <a:gd name="connsiteY1" fmla="*/ 360518 h 360517"/>
                    <a:gd name="connsiteX2" fmla="*/ 0 w 313928"/>
                    <a:gd name="connsiteY2" fmla="*/ 2034 h 360517"/>
                    <a:gd name="connsiteX3" fmla="*/ 2273 w 313928"/>
                    <a:gd name="connsiteY3" fmla="*/ 0 h 360517"/>
                  </a:gdLst>
                  <a:ahLst/>
                  <a:cxnLst>
                    <a:cxn ang="0">
                      <a:pos x="connsiteX0" y="connsiteY0"/>
                    </a:cxn>
                    <a:cxn ang="0">
                      <a:pos x="connsiteX1" y="connsiteY1"/>
                    </a:cxn>
                    <a:cxn ang="0">
                      <a:pos x="connsiteX2" y="connsiteY2"/>
                    </a:cxn>
                    <a:cxn ang="0">
                      <a:pos x="connsiteX3" y="connsiteY3"/>
                    </a:cxn>
                  </a:cxnLst>
                  <a:rect l="l" t="t" r="r" b="b"/>
                  <a:pathLst>
                    <a:path w="313928" h="360517">
                      <a:moveTo>
                        <a:pt x="313928" y="358484"/>
                      </a:moveTo>
                      <a:lnTo>
                        <a:pt x="311655" y="360518"/>
                      </a:lnTo>
                      <a:lnTo>
                        <a:pt x="0" y="2034"/>
                      </a:lnTo>
                      <a:lnTo>
                        <a:pt x="2273" y="0"/>
                      </a:lnTo>
                      <a:close/>
                    </a:path>
                  </a:pathLst>
                </a:custGeom>
                <a:grpFill/>
                <a:ln w="5978" cap="flat">
                  <a:noFill/>
                  <a:prstDash val="solid"/>
                  <a:miter/>
                </a:ln>
              </p:spPr>
              <p:txBody>
                <a:bodyPr rtlCol="0" anchor="ctr"/>
                <a:lstStyle/>
                <a:p>
                  <a:endParaRPr lang="en-GB"/>
                </a:p>
              </p:txBody>
            </p:sp>
            <p:sp>
              <p:nvSpPr>
                <p:cNvPr id="3970" name="Vrije vorm: vorm 3969">
                  <a:extLst>
                    <a:ext uri="{FF2B5EF4-FFF2-40B4-BE49-F238E27FC236}">
                      <a16:creationId xmlns:a16="http://schemas.microsoft.com/office/drawing/2014/main" id="{CF607022-84BF-4144-BC54-660CC1D79C47}"/>
                    </a:ext>
                  </a:extLst>
                </p:cNvPr>
                <p:cNvSpPr/>
                <p:nvPr/>
              </p:nvSpPr>
              <p:spPr>
                <a:xfrm>
                  <a:off x="7256910" y="4590371"/>
                  <a:ext cx="18297" cy="18405"/>
                </a:xfrm>
                <a:custGeom>
                  <a:avLst/>
                  <a:gdLst>
                    <a:gd name="connsiteX0" fmla="*/ 2271 w 18297"/>
                    <a:gd name="connsiteY0" fmla="*/ 15243 h 18405"/>
                    <a:gd name="connsiteX1" fmla="*/ 3108 w 18297"/>
                    <a:gd name="connsiteY1" fmla="*/ 2265 h 18405"/>
                    <a:gd name="connsiteX2" fmla="*/ 16027 w 18297"/>
                    <a:gd name="connsiteY2" fmla="*/ 3162 h 18405"/>
                    <a:gd name="connsiteX3" fmla="*/ 15189 w 18297"/>
                    <a:gd name="connsiteY3" fmla="*/ 16141 h 18405"/>
                    <a:gd name="connsiteX4" fmla="*/ 2271 w 18297"/>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2271" y="15243"/>
                      </a:moveTo>
                      <a:cubicBezTo>
                        <a:pt x="-1078" y="11416"/>
                        <a:pt x="-660" y="5615"/>
                        <a:pt x="3108" y="2265"/>
                      </a:cubicBezTo>
                      <a:cubicBezTo>
                        <a:pt x="6936" y="-1084"/>
                        <a:pt x="12678" y="-665"/>
                        <a:pt x="16027" y="3162"/>
                      </a:cubicBezTo>
                      <a:cubicBezTo>
                        <a:pt x="19376" y="6990"/>
                        <a:pt x="18957" y="12791"/>
                        <a:pt x="15189" y="16141"/>
                      </a:cubicBezTo>
                      <a:cubicBezTo>
                        <a:pt x="11362" y="19490"/>
                        <a:pt x="5620" y="19071"/>
                        <a:pt x="2271" y="15243"/>
                      </a:cubicBezTo>
                      <a:close/>
                    </a:path>
                  </a:pathLst>
                </a:custGeom>
                <a:grpFill/>
                <a:ln w="5978" cap="flat">
                  <a:noFill/>
                  <a:prstDash val="solid"/>
                  <a:miter/>
                </a:ln>
              </p:spPr>
              <p:txBody>
                <a:bodyPr rtlCol="0" anchor="ctr"/>
                <a:lstStyle/>
                <a:p>
                  <a:endParaRPr lang="en-GB"/>
                </a:p>
              </p:txBody>
            </p:sp>
            <p:sp>
              <p:nvSpPr>
                <p:cNvPr id="3971" name="Vrije vorm: vorm 3970">
                  <a:extLst>
                    <a:ext uri="{FF2B5EF4-FFF2-40B4-BE49-F238E27FC236}">
                      <a16:creationId xmlns:a16="http://schemas.microsoft.com/office/drawing/2014/main" id="{9A132759-1BFD-4AA6-8727-769F6E013E68}"/>
                    </a:ext>
                  </a:extLst>
                </p:cNvPr>
                <p:cNvSpPr/>
                <p:nvPr/>
              </p:nvSpPr>
              <p:spPr>
                <a:xfrm>
                  <a:off x="7567946" y="4948138"/>
                  <a:ext cx="18338" cy="18405"/>
                </a:xfrm>
                <a:custGeom>
                  <a:avLst/>
                  <a:gdLst>
                    <a:gd name="connsiteX0" fmla="*/ 2291 w 18338"/>
                    <a:gd name="connsiteY0" fmla="*/ 15243 h 18405"/>
                    <a:gd name="connsiteX1" fmla="*/ 15210 w 18338"/>
                    <a:gd name="connsiteY1" fmla="*/ 16141 h 18405"/>
                    <a:gd name="connsiteX2" fmla="*/ 16047 w 18338"/>
                    <a:gd name="connsiteY2" fmla="*/ 3162 h 18405"/>
                    <a:gd name="connsiteX3" fmla="*/ 3129 w 18338"/>
                    <a:gd name="connsiteY3" fmla="*/ 2265 h 18405"/>
                    <a:gd name="connsiteX4" fmla="*/ 2291 w 18338"/>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5">
                      <a:moveTo>
                        <a:pt x="2291" y="15243"/>
                      </a:moveTo>
                      <a:cubicBezTo>
                        <a:pt x="5641" y="19071"/>
                        <a:pt x="11442" y="19490"/>
                        <a:pt x="15210" y="16141"/>
                      </a:cubicBezTo>
                      <a:cubicBezTo>
                        <a:pt x="19038" y="12791"/>
                        <a:pt x="19397" y="6990"/>
                        <a:pt x="16047" y="3162"/>
                      </a:cubicBezTo>
                      <a:cubicBezTo>
                        <a:pt x="12698" y="-665"/>
                        <a:pt x="6896" y="-1084"/>
                        <a:pt x="3129" y="2265"/>
                      </a:cubicBezTo>
                      <a:cubicBezTo>
                        <a:pt x="-699" y="5615"/>
                        <a:pt x="-1058" y="11416"/>
                        <a:pt x="2291" y="15243"/>
                      </a:cubicBezTo>
                      <a:close/>
                    </a:path>
                  </a:pathLst>
                </a:custGeom>
                <a:grpFill/>
                <a:ln w="5978" cap="flat">
                  <a:noFill/>
                  <a:prstDash val="solid"/>
                  <a:miter/>
                </a:ln>
              </p:spPr>
              <p:txBody>
                <a:bodyPr rtlCol="0" anchor="ctr"/>
                <a:lstStyle/>
                <a:p>
                  <a:endParaRPr lang="en-GB"/>
                </a:p>
              </p:txBody>
            </p:sp>
          </p:grpSp>
          <p:grpSp>
            <p:nvGrpSpPr>
              <p:cNvPr id="473" name="Graphic 3">
                <a:extLst>
                  <a:ext uri="{FF2B5EF4-FFF2-40B4-BE49-F238E27FC236}">
                    <a16:creationId xmlns:a16="http://schemas.microsoft.com/office/drawing/2014/main" id="{7CB1CD84-6EFE-4F5C-A03B-C5779464DC3B}"/>
                  </a:ext>
                </a:extLst>
              </p:cNvPr>
              <p:cNvGrpSpPr/>
              <p:nvPr/>
            </p:nvGrpSpPr>
            <p:grpSpPr>
              <a:xfrm>
                <a:off x="6370277" y="1692476"/>
                <a:ext cx="31495" cy="85221"/>
                <a:chOff x="6370277" y="1692476"/>
                <a:chExt cx="31495" cy="85221"/>
              </a:xfrm>
              <a:grpFill/>
            </p:grpSpPr>
            <p:sp>
              <p:nvSpPr>
                <p:cNvPr id="3966" name="Vrije vorm: vorm 3965">
                  <a:extLst>
                    <a:ext uri="{FF2B5EF4-FFF2-40B4-BE49-F238E27FC236}">
                      <a16:creationId xmlns:a16="http://schemas.microsoft.com/office/drawing/2014/main" id="{BCDED9BE-22A2-4169-837D-084939EB1D8E}"/>
                    </a:ext>
                  </a:extLst>
                </p:cNvPr>
                <p:cNvSpPr/>
                <p:nvPr/>
              </p:nvSpPr>
              <p:spPr>
                <a:xfrm>
                  <a:off x="6377861" y="1700957"/>
                  <a:ext cx="16267" cy="68299"/>
                </a:xfrm>
                <a:custGeom>
                  <a:avLst/>
                  <a:gdLst>
                    <a:gd name="connsiteX0" fmla="*/ 16267 w 16267"/>
                    <a:gd name="connsiteY0" fmla="*/ 598 h 68299"/>
                    <a:gd name="connsiteX1" fmla="*/ 2990 w 16267"/>
                    <a:gd name="connsiteY1" fmla="*/ 68300 h 68299"/>
                    <a:gd name="connsiteX2" fmla="*/ 0 w 16267"/>
                    <a:gd name="connsiteY2" fmla="*/ 67702 h 68299"/>
                    <a:gd name="connsiteX3" fmla="*/ 13277 w 16267"/>
                    <a:gd name="connsiteY3" fmla="*/ 0 h 68299"/>
                  </a:gdLst>
                  <a:ahLst/>
                  <a:cxnLst>
                    <a:cxn ang="0">
                      <a:pos x="connsiteX0" y="connsiteY0"/>
                    </a:cxn>
                    <a:cxn ang="0">
                      <a:pos x="connsiteX1" y="connsiteY1"/>
                    </a:cxn>
                    <a:cxn ang="0">
                      <a:pos x="connsiteX2" y="connsiteY2"/>
                    </a:cxn>
                    <a:cxn ang="0">
                      <a:pos x="connsiteX3" y="connsiteY3"/>
                    </a:cxn>
                  </a:cxnLst>
                  <a:rect l="l" t="t" r="r" b="b"/>
                  <a:pathLst>
                    <a:path w="16267" h="68299">
                      <a:moveTo>
                        <a:pt x="16267" y="598"/>
                      </a:moveTo>
                      <a:lnTo>
                        <a:pt x="2990" y="68300"/>
                      </a:lnTo>
                      <a:lnTo>
                        <a:pt x="0" y="67702"/>
                      </a:lnTo>
                      <a:lnTo>
                        <a:pt x="13277" y="0"/>
                      </a:lnTo>
                      <a:close/>
                    </a:path>
                  </a:pathLst>
                </a:custGeom>
                <a:grpFill/>
                <a:ln w="5978" cap="flat">
                  <a:noFill/>
                  <a:prstDash val="solid"/>
                  <a:miter/>
                </a:ln>
              </p:spPr>
              <p:txBody>
                <a:bodyPr rtlCol="0" anchor="ctr"/>
                <a:lstStyle/>
                <a:p>
                  <a:endParaRPr lang="en-GB"/>
                </a:p>
              </p:txBody>
            </p:sp>
            <p:sp>
              <p:nvSpPr>
                <p:cNvPr id="3967" name="Vrije vorm: vorm 3966">
                  <a:extLst>
                    <a:ext uri="{FF2B5EF4-FFF2-40B4-BE49-F238E27FC236}">
                      <a16:creationId xmlns:a16="http://schemas.microsoft.com/office/drawing/2014/main" id="{277FBFE5-545A-479C-B7F9-2988A0CD20FB}"/>
                    </a:ext>
                  </a:extLst>
                </p:cNvPr>
                <p:cNvSpPr/>
                <p:nvPr/>
              </p:nvSpPr>
              <p:spPr>
                <a:xfrm>
                  <a:off x="6383416" y="1692476"/>
                  <a:ext cx="18356" cy="18397"/>
                </a:xfrm>
                <a:custGeom>
                  <a:avLst/>
                  <a:gdLst>
                    <a:gd name="connsiteX0" fmla="*/ 187 w 18356"/>
                    <a:gd name="connsiteY0" fmla="*/ 7405 h 18397"/>
                    <a:gd name="connsiteX1" fmla="*/ 10953 w 18356"/>
                    <a:gd name="connsiteY1" fmla="*/ 168 h 18397"/>
                    <a:gd name="connsiteX2" fmla="*/ 18189 w 18356"/>
                    <a:gd name="connsiteY2" fmla="*/ 10993 h 18397"/>
                    <a:gd name="connsiteX3" fmla="*/ 7424 w 18356"/>
                    <a:gd name="connsiteY3" fmla="*/ 18230 h 18397"/>
                    <a:gd name="connsiteX4" fmla="*/ 187 w 18356"/>
                    <a:gd name="connsiteY4" fmla="*/ 7405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87" y="7405"/>
                      </a:moveTo>
                      <a:cubicBezTo>
                        <a:pt x="1144" y="2441"/>
                        <a:pt x="5988" y="-789"/>
                        <a:pt x="10953" y="168"/>
                      </a:cubicBezTo>
                      <a:cubicBezTo>
                        <a:pt x="15916" y="1185"/>
                        <a:pt x="19146" y="6029"/>
                        <a:pt x="18189" y="10993"/>
                      </a:cubicBezTo>
                      <a:cubicBezTo>
                        <a:pt x="17232" y="15957"/>
                        <a:pt x="12388" y="19187"/>
                        <a:pt x="7424" y="18230"/>
                      </a:cubicBezTo>
                      <a:cubicBezTo>
                        <a:pt x="2400" y="17213"/>
                        <a:pt x="-830" y="12369"/>
                        <a:pt x="187" y="7405"/>
                      </a:cubicBezTo>
                      <a:close/>
                    </a:path>
                  </a:pathLst>
                </a:custGeom>
                <a:grpFill/>
                <a:ln w="5978" cap="flat">
                  <a:noFill/>
                  <a:prstDash val="solid"/>
                  <a:miter/>
                </a:ln>
              </p:spPr>
              <p:txBody>
                <a:bodyPr rtlCol="0" anchor="ctr"/>
                <a:lstStyle/>
                <a:p>
                  <a:endParaRPr lang="en-GB"/>
                </a:p>
              </p:txBody>
            </p:sp>
            <p:sp>
              <p:nvSpPr>
                <p:cNvPr id="3968" name="Vrije vorm: vorm 3967">
                  <a:extLst>
                    <a:ext uri="{FF2B5EF4-FFF2-40B4-BE49-F238E27FC236}">
                      <a16:creationId xmlns:a16="http://schemas.microsoft.com/office/drawing/2014/main" id="{F6301CCE-042F-4551-86E5-37628EF4F39B}"/>
                    </a:ext>
                  </a:extLst>
                </p:cNvPr>
                <p:cNvSpPr/>
                <p:nvPr/>
              </p:nvSpPr>
              <p:spPr>
                <a:xfrm>
                  <a:off x="6370277" y="1759262"/>
                  <a:ext cx="18337" cy="18435"/>
                </a:xfrm>
                <a:custGeom>
                  <a:avLst/>
                  <a:gdLst>
                    <a:gd name="connsiteX0" fmla="*/ 168 w 18337"/>
                    <a:gd name="connsiteY0" fmla="*/ 7424 h 18435"/>
                    <a:gd name="connsiteX1" fmla="*/ 7404 w 18337"/>
                    <a:gd name="connsiteY1" fmla="*/ 18249 h 18435"/>
                    <a:gd name="connsiteX2" fmla="*/ 18170 w 18337"/>
                    <a:gd name="connsiteY2" fmla="*/ 11012 h 18435"/>
                    <a:gd name="connsiteX3" fmla="*/ 10933 w 18337"/>
                    <a:gd name="connsiteY3" fmla="*/ 187 h 18435"/>
                    <a:gd name="connsiteX4" fmla="*/ 168 w 18337"/>
                    <a:gd name="connsiteY4" fmla="*/ 742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5">
                      <a:moveTo>
                        <a:pt x="168" y="7424"/>
                      </a:moveTo>
                      <a:cubicBezTo>
                        <a:pt x="-789" y="12388"/>
                        <a:pt x="2441" y="17292"/>
                        <a:pt x="7404" y="18249"/>
                      </a:cubicBezTo>
                      <a:cubicBezTo>
                        <a:pt x="12368" y="19266"/>
                        <a:pt x="17213" y="16036"/>
                        <a:pt x="18170" y="11012"/>
                      </a:cubicBezTo>
                      <a:cubicBezTo>
                        <a:pt x="19127" y="6048"/>
                        <a:pt x="15897" y="1144"/>
                        <a:pt x="10933" y="187"/>
                      </a:cubicBezTo>
                      <a:cubicBezTo>
                        <a:pt x="5969" y="-830"/>
                        <a:pt x="1125" y="2400"/>
                        <a:pt x="168" y="7424"/>
                      </a:cubicBezTo>
                      <a:close/>
                    </a:path>
                  </a:pathLst>
                </a:custGeom>
                <a:grpFill/>
                <a:ln w="5978" cap="flat">
                  <a:noFill/>
                  <a:prstDash val="solid"/>
                  <a:miter/>
                </a:ln>
              </p:spPr>
              <p:txBody>
                <a:bodyPr rtlCol="0" anchor="ctr"/>
                <a:lstStyle/>
                <a:p>
                  <a:endParaRPr lang="en-GB"/>
                </a:p>
              </p:txBody>
            </p:sp>
          </p:grpSp>
          <p:grpSp>
            <p:nvGrpSpPr>
              <p:cNvPr id="474" name="Graphic 3">
                <a:extLst>
                  <a:ext uri="{FF2B5EF4-FFF2-40B4-BE49-F238E27FC236}">
                    <a16:creationId xmlns:a16="http://schemas.microsoft.com/office/drawing/2014/main" id="{F262DEE1-A9D5-4F5D-8C7E-39EAD14F5458}"/>
                  </a:ext>
                </a:extLst>
              </p:cNvPr>
              <p:cNvGrpSpPr/>
              <p:nvPr/>
            </p:nvGrpSpPr>
            <p:grpSpPr>
              <a:xfrm>
                <a:off x="6357142" y="1612355"/>
                <a:ext cx="25828" cy="60520"/>
                <a:chOff x="6357142" y="1612355"/>
                <a:chExt cx="25828" cy="60520"/>
              </a:xfrm>
              <a:grpFill/>
            </p:grpSpPr>
            <p:sp>
              <p:nvSpPr>
                <p:cNvPr id="3963" name="Vrije vorm: vorm 3962">
                  <a:extLst>
                    <a:ext uri="{FF2B5EF4-FFF2-40B4-BE49-F238E27FC236}">
                      <a16:creationId xmlns:a16="http://schemas.microsoft.com/office/drawing/2014/main" id="{C35011C9-B564-4A64-85E9-E334ADAD339F}"/>
                    </a:ext>
                  </a:extLst>
                </p:cNvPr>
                <p:cNvSpPr/>
                <p:nvPr/>
              </p:nvSpPr>
              <p:spPr>
                <a:xfrm>
                  <a:off x="6364764" y="1620816"/>
                  <a:ext cx="10645" cy="43599"/>
                </a:xfrm>
                <a:custGeom>
                  <a:avLst/>
                  <a:gdLst>
                    <a:gd name="connsiteX0" fmla="*/ 10645 w 10645"/>
                    <a:gd name="connsiteY0" fmla="*/ 598 h 43599"/>
                    <a:gd name="connsiteX1" fmla="*/ 2990 w 10645"/>
                    <a:gd name="connsiteY1" fmla="*/ 43599 h 43599"/>
                    <a:gd name="connsiteX2" fmla="*/ 0 w 10645"/>
                    <a:gd name="connsiteY2" fmla="*/ 43061 h 43599"/>
                    <a:gd name="connsiteX3" fmla="*/ 7655 w 10645"/>
                    <a:gd name="connsiteY3" fmla="*/ 0 h 43599"/>
                  </a:gdLst>
                  <a:ahLst/>
                  <a:cxnLst>
                    <a:cxn ang="0">
                      <a:pos x="connsiteX0" y="connsiteY0"/>
                    </a:cxn>
                    <a:cxn ang="0">
                      <a:pos x="connsiteX1" y="connsiteY1"/>
                    </a:cxn>
                    <a:cxn ang="0">
                      <a:pos x="connsiteX2" y="connsiteY2"/>
                    </a:cxn>
                    <a:cxn ang="0">
                      <a:pos x="connsiteX3" y="connsiteY3"/>
                    </a:cxn>
                  </a:cxnLst>
                  <a:rect l="l" t="t" r="r" b="b"/>
                  <a:pathLst>
                    <a:path w="10645" h="43599">
                      <a:moveTo>
                        <a:pt x="10645" y="598"/>
                      </a:moveTo>
                      <a:lnTo>
                        <a:pt x="2990" y="43599"/>
                      </a:lnTo>
                      <a:lnTo>
                        <a:pt x="0" y="43061"/>
                      </a:lnTo>
                      <a:lnTo>
                        <a:pt x="7655" y="0"/>
                      </a:lnTo>
                      <a:close/>
                    </a:path>
                  </a:pathLst>
                </a:custGeom>
                <a:grpFill/>
                <a:ln w="5978" cap="flat">
                  <a:noFill/>
                  <a:prstDash val="solid"/>
                  <a:miter/>
                </a:ln>
              </p:spPr>
              <p:txBody>
                <a:bodyPr rtlCol="0" anchor="ctr"/>
                <a:lstStyle/>
                <a:p>
                  <a:endParaRPr lang="en-GB"/>
                </a:p>
              </p:txBody>
            </p:sp>
            <p:sp>
              <p:nvSpPr>
                <p:cNvPr id="3964" name="Vrije vorm: vorm 3963">
                  <a:extLst>
                    <a:ext uri="{FF2B5EF4-FFF2-40B4-BE49-F238E27FC236}">
                      <a16:creationId xmlns:a16="http://schemas.microsoft.com/office/drawing/2014/main" id="{32DEA7B4-67A8-465A-8CFC-6B55DBB9D05B}"/>
                    </a:ext>
                  </a:extLst>
                </p:cNvPr>
                <p:cNvSpPr/>
                <p:nvPr/>
              </p:nvSpPr>
              <p:spPr>
                <a:xfrm>
                  <a:off x="6364634" y="1612355"/>
                  <a:ext cx="18337" cy="18416"/>
                </a:xfrm>
                <a:custGeom>
                  <a:avLst/>
                  <a:gdLst>
                    <a:gd name="connsiteX0" fmla="*/ 130 w 18337"/>
                    <a:gd name="connsiteY0" fmla="*/ 7563 h 18416"/>
                    <a:gd name="connsiteX1" fmla="*/ 10776 w 18337"/>
                    <a:gd name="connsiteY1" fmla="*/ 147 h 18416"/>
                    <a:gd name="connsiteX2" fmla="*/ 18192 w 18337"/>
                    <a:gd name="connsiteY2" fmla="*/ 10853 h 18416"/>
                    <a:gd name="connsiteX3" fmla="*/ 7546 w 18337"/>
                    <a:gd name="connsiteY3" fmla="*/ 18269 h 18416"/>
                    <a:gd name="connsiteX4" fmla="*/ 130 w 18337"/>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6">
                      <a:moveTo>
                        <a:pt x="130" y="7563"/>
                      </a:moveTo>
                      <a:cubicBezTo>
                        <a:pt x="1027" y="2540"/>
                        <a:pt x="5752" y="-750"/>
                        <a:pt x="10776" y="147"/>
                      </a:cubicBezTo>
                      <a:cubicBezTo>
                        <a:pt x="15740" y="1044"/>
                        <a:pt x="19089" y="5889"/>
                        <a:pt x="18192" y="10853"/>
                      </a:cubicBezTo>
                      <a:cubicBezTo>
                        <a:pt x="17295" y="15877"/>
                        <a:pt x="12570" y="19166"/>
                        <a:pt x="7546" y="18269"/>
                      </a:cubicBezTo>
                      <a:cubicBezTo>
                        <a:pt x="2582" y="17372"/>
                        <a:pt x="-707" y="12527"/>
                        <a:pt x="130" y="7563"/>
                      </a:cubicBezTo>
                      <a:close/>
                    </a:path>
                  </a:pathLst>
                </a:custGeom>
                <a:grpFill/>
                <a:ln w="5978" cap="flat">
                  <a:noFill/>
                  <a:prstDash val="solid"/>
                  <a:miter/>
                </a:ln>
              </p:spPr>
              <p:txBody>
                <a:bodyPr rtlCol="0" anchor="ctr"/>
                <a:lstStyle/>
                <a:p>
                  <a:endParaRPr lang="en-GB"/>
                </a:p>
              </p:txBody>
            </p:sp>
            <p:sp>
              <p:nvSpPr>
                <p:cNvPr id="3965" name="Vrije vorm: vorm 3964">
                  <a:extLst>
                    <a:ext uri="{FF2B5EF4-FFF2-40B4-BE49-F238E27FC236}">
                      <a16:creationId xmlns:a16="http://schemas.microsoft.com/office/drawing/2014/main" id="{C5CFA67F-66C6-41D6-A290-14E9CAD82122}"/>
                    </a:ext>
                  </a:extLst>
                </p:cNvPr>
                <p:cNvSpPr/>
                <p:nvPr/>
              </p:nvSpPr>
              <p:spPr>
                <a:xfrm>
                  <a:off x="6357142" y="1654461"/>
                  <a:ext cx="18352" cy="18414"/>
                </a:xfrm>
                <a:custGeom>
                  <a:avLst/>
                  <a:gdLst>
                    <a:gd name="connsiteX0" fmla="*/ 145 w 18352"/>
                    <a:gd name="connsiteY0" fmla="*/ 7562 h 18414"/>
                    <a:gd name="connsiteX1" fmla="*/ 7561 w 18352"/>
                    <a:gd name="connsiteY1" fmla="*/ 18267 h 18414"/>
                    <a:gd name="connsiteX2" fmla="*/ 18207 w 18352"/>
                    <a:gd name="connsiteY2" fmla="*/ 10851 h 18414"/>
                    <a:gd name="connsiteX3" fmla="*/ 10791 w 18352"/>
                    <a:gd name="connsiteY3" fmla="*/ 145 h 18414"/>
                    <a:gd name="connsiteX4" fmla="*/ 145 w 18352"/>
                    <a:gd name="connsiteY4" fmla="*/ 756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145" y="7562"/>
                      </a:moveTo>
                      <a:cubicBezTo>
                        <a:pt x="-752" y="12585"/>
                        <a:pt x="2597" y="17370"/>
                        <a:pt x="7561" y="18267"/>
                      </a:cubicBezTo>
                      <a:cubicBezTo>
                        <a:pt x="12526" y="19164"/>
                        <a:pt x="17310" y="15875"/>
                        <a:pt x="18207" y="10851"/>
                      </a:cubicBezTo>
                      <a:cubicBezTo>
                        <a:pt x="19104" y="5827"/>
                        <a:pt x="15755" y="1043"/>
                        <a:pt x="10791" y="145"/>
                      </a:cubicBezTo>
                      <a:cubicBezTo>
                        <a:pt x="5827" y="-752"/>
                        <a:pt x="1042" y="2598"/>
                        <a:pt x="145" y="7562"/>
                      </a:cubicBezTo>
                      <a:close/>
                    </a:path>
                  </a:pathLst>
                </a:custGeom>
                <a:grpFill/>
                <a:ln w="5978" cap="flat">
                  <a:noFill/>
                  <a:prstDash val="solid"/>
                  <a:miter/>
                </a:ln>
              </p:spPr>
              <p:txBody>
                <a:bodyPr rtlCol="0" anchor="ctr"/>
                <a:lstStyle/>
                <a:p>
                  <a:endParaRPr lang="en-GB"/>
                </a:p>
              </p:txBody>
            </p:sp>
          </p:grpSp>
          <p:grpSp>
            <p:nvGrpSpPr>
              <p:cNvPr id="475" name="Graphic 3">
                <a:extLst>
                  <a:ext uri="{FF2B5EF4-FFF2-40B4-BE49-F238E27FC236}">
                    <a16:creationId xmlns:a16="http://schemas.microsoft.com/office/drawing/2014/main" id="{5563A5EA-BE75-4164-B534-39018A7C617C}"/>
                  </a:ext>
                </a:extLst>
              </p:cNvPr>
              <p:cNvGrpSpPr/>
              <p:nvPr/>
            </p:nvGrpSpPr>
            <p:grpSpPr>
              <a:xfrm>
                <a:off x="6283480" y="1393291"/>
                <a:ext cx="23574" cy="61684"/>
                <a:chOff x="6283480" y="1393291"/>
                <a:chExt cx="23574" cy="61684"/>
              </a:xfrm>
              <a:grpFill/>
            </p:grpSpPr>
            <p:sp>
              <p:nvSpPr>
                <p:cNvPr id="3960" name="Vrije vorm: vorm 3959">
                  <a:extLst>
                    <a:ext uri="{FF2B5EF4-FFF2-40B4-BE49-F238E27FC236}">
                      <a16:creationId xmlns:a16="http://schemas.microsoft.com/office/drawing/2014/main" id="{9530D176-EC52-4A07-88D1-3D8BD7BC7EF5}"/>
                    </a:ext>
                  </a:extLst>
                </p:cNvPr>
                <p:cNvSpPr/>
                <p:nvPr/>
              </p:nvSpPr>
              <p:spPr>
                <a:xfrm>
                  <a:off x="6291141" y="1401861"/>
                  <a:ext cx="8372" cy="44496"/>
                </a:xfrm>
                <a:custGeom>
                  <a:avLst/>
                  <a:gdLst>
                    <a:gd name="connsiteX0" fmla="*/ 8373 w 8372"/>
                    <a:gd name="connsiteY0" fmla="*/ 359 h 44496"/>
                    <a:gd name="connsiteX1" fmla="*/ 3050 w 8372"/>
                    <a:gd name="connsiteY1" fmla="*/ 44497 h 44496"/>
                    <a:gd name="connsiteX2" fmla="*/ 0 w 8372"/>
                    <a:gd name="connsiteY2" fmla="*/ 44138 h 44496"/>
                    <a:gd name="connsiteX3" fmla="*/ 5323 w 8372"/>
                    <a:gd name="connsiteY3" fmla="*/ 0 h 44496"/>
                  </a:gdLst>
                  <a:ahLst/>
                  <a:cxnLst>
                    <a:cxn ang="0">
                      <a:pos x="connsiteX0" y="connsiteY0"/>
                    </a:cxn>
                    <a:cxn ang="0">
                      <a:pos x="connsiteX1" y="connsiteY1"/>
                    </a:cxn>
                    <a:cxn ang="0">
                      <a:pos x="connsiteX2" y="connsiteY2"/>
                    </a:cxn>
                    <a:cxn ang="0">
                      <a:pos x="connsiteX3" y="connsiteY3"/>
                    </a:cxn>
                  </a:cxnLst>
                  <a:rect l="l" t="t" r="r" b="b"/>
                  <a:pathLst>
                    <a:path w="8372" h="44496">
                      <a:moveTo>
                        <a:pt x="8373" y="359"/>
                      </a:moveTo>
                      <a:lnTo>
                        <a:pt x="3050" y="44497"/>
                      </a:lnTo>
                      <a:lnTo>
                        <a:pt x="0" y="44138"/>
                      </a:lnTo>
                      <a:lnTo>
                        <a:pt x="5323" y="0"/>
                      </a:lnTo>
                      <a:close/>
                    </a:path>
                  </a:pathLst>
                </a:custGeom>
                <a:grpFill/>
                <a:ln w="5978" cap="flat">
                  <a:noFill/>
                  <a:prstDash val="solid"/>
                  <a:miter/>
                </a:ln>
              </p:spPr>
              <p:txBody>
                <a:bodyPr rtlCol="0" anchor="ctr"/>
                <a:lstStyle/>
                <a:p>
                  <a:endParaRPr lang="en-GB"/>
                </a:p>
              </p:txBody>
            </p:sp>
            <p:sp>
              <p:nvSpPr>
                <p:cNvPr id="3961" name="Vrije vorm: vorm 3960">
                  <a:extLst>
                    <a:ext uri="{FF2B5EF4-FFF2-40B4-BE49-F238E27FC236}">
                      <a16:creationId xmlns:a16="http://schemas.microsoft.com/office/drawing/2014/main" id="{1C6FF741-80C7-468F-81C2-D0CAD8D3F121}"/>
                    </a:ext>
                  </a:extLst>
                </p:cNvPr>
                <p:cNvSpPr/>
                <p:nvPr/>
              </p:nvSpPr>
              <p:spPr>
                <a:xfrm>
                  <a:off x="6283480" y="1436544"/>
                  <a:ext cx="18384" cy="18431"/>
                </a:xfrm>
                <a:custGeom>
                  <a:avLst/>
                  <a:gdLst>
                    <a:gd name="connsiteX0" fmla="*/ 18306 w 18384"/>
                    <a:gd name="connsiteY0" fmla="*/ 10352 h 18431"/>
                    <a:gd name="connsiteX1" fmla="*/ 8079 w 18384"/>
                    <a:gd name="connsiteY1" fmla="*/ 18366 h 18431"/>
                    <a:gd name="connsiteX2" fmla="*/ 65 w 18384"/>
                    <a:gd name="connsiteY2" fmla="*/ 8079 h 18431"/>
                    <a:gd name="connsiteX3" fmla="*/ 10292 w 18384"/>
                    <a:gd name="connsiteY3" fmla="*/ 65 h 18431"/>
                    <a:gd name="connsiteX4" fmla="*/ 18306 w 18384"/>
                    <a:gd name="connsiteY4" fmla="*/ 1035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31">
                      <a:moveTo>
                        <a:pt x="18306" y="10352"/>
                      </a:moveTo>
                      <a:cubicBezTo>
                        <a:pt x="17708" y="15376"/>
                        <a:pt x="13103" y="18964"/>
                        <a:pt x="8079" y="18366"/>
                      </a:cubicBezTo>
                      <a:cubicBezTo>
                        <a:pt x="3055" y="17708"/>
                        <a:pt x="-533" y="13103"/>
                        <a:pt x="65" y="8079"/>
                      </a:cubicBezTo>
                      <a:cubicBezTo>
                        <a:pt x="663" y="3055"/>
                        <a:pt x="5268" y="-533"/>
                        <a:pt x="10292" y="65"/>
                      </a:cubicBezTo>
                      <a:cubicBezTo>
                        <a:pt x="15376" y="663"/>
                        <a:pt x="18964" y="5268"/>
                        <a:pt x="18306" y="10352"/>
                      </a:cubicBezTo>
                      <a:close/>
                    </a:path>
                  </a:pathLst>
                </a:custGeom>
                <a:grpFill/>
                <a:ln w="5978" cap="flat">
                  <a:noFill/>
                  <a:prstDash val="solid"/>
                  <a:miter/>
                </a:ln>
              </p:spPr>
              <p:txBody>
                <a:bodyPr rtlCol="0" anchor="ctr"/>
                <a:lstStyle/>
                <a:p>
                  <a:endParaRPr lang="en-GB"/>
                </a:p>
              </p:txBody>
            </p:sp>
            <p:sp>
              <p:nvSpPr>
                <p:cNvPr id="3962" name="Vrije vorm: vorm 3961">
                  <a:extLst>
                    <a:ext uri="{FF2B5EF4-FFF2-40B4-BE49-F238E27FC236}">
                      <a16:creationId xmlns:a16="http://schemas.microsoft.com/office/drawing/2014/main" id="{E38F1789-238F-4EC4-B671-33C9D682325C}"/>
                    </a:ext>
                  </a:extLst>
                </p:cNvPr>
                <p:cNvSpPr/>
                <p:nvPr/>
              </p:nvSpPr>
              <p:spPr>
                <a:xfrm>
                  <a:off x="6288683" y="1393291"/>
                  <a:ext cx="18371" cy="18443"/>
                </a:xfrm>
                <a:custGeom>
                  <a:avLst/>
                  <a:gdLst>
                    <a:gd name="connsiteX0" fmla="*/ 18306 w 18371"/>
                    <a:gd name="connsiteY0" fmla="*/ 10365 h 18443"/>
                    <a:gd name="connsiteX1" fmla="*/ 10292 w 18371"/>
                    <a:gd name="connsiteY1" fmla="*/ 78 h 18443"/>
                    <a:gd name="connsiteX2" fmla="*/ 65 w 18371"/>
                    <a:gd name="connsiteY2" fmla="*/ 8092 h 18443"/>
                    <a:gd name="connsiteX3" fmla="*/ 8079 w 18371"/>
                    <a:gd name="connsiteY3" fmla="*/ 18379 h 18443"/>
                    <a:gd name="connsiteX4" fmla="*/ 18306 w 18371"/>
                    <a:gd name="connsiteY4" fmla="*/ 1036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3">
                      <a:moveTo>
                        <a:pt x="18306" y="10365"/>
                      </a:moveTo>
                      <a:cubicBezTo>
                        <a:pt x="18905" y="5341"/>
                        <a:pt x="15316" y="736"/>
                        <a:pt x="10292" y="78"/>
                      </a:cubicBezTo>
                      <a:cubicBezTo>
                        <a:pt x="5268" y="-580"/>
                        <a:pt x="723" y="3008"/>
                        <a:pt x="65" y="8092"/>
                      </a:cubicBezTo>
                      <a:cubicBezTo>
                        <a:pt x="-533" y="13116"/>
                        <a:pt x="3055" y="17721"/>
                        <a:pt x="8079" y="18379"/>
                      </a:cubicBezTo>
                      <a:cubicBezTo>
                        <a:pt x="13163" y="18977"/>
                        <a:pt x="17708" y="15388"/>
                        <a:pt x="18306" y="10365"/>
                      </a:cubicBezTo>
                      <a:close/>
                    </a:path>
                  </a:pathLst>
                </a:custGeom>
                <a:grpFill/>
                <a:ln w="5978" cap="flat">
                  <a:noFill/>
                  <a:prstDash val="solid"/>
                  <a:miter/>
                </a:ln>
              </p:spPr>
              <p:txBody>
                <a:bodyPr rtlCol="0" anchor="ctr"/>
                <a:lstStyle/>
                <a:p>
                  <a:endParaRPr lang="en-GB"/>
                </a:p>
              </p:txBody>
            </p:sp>
          </p:grpSp>
          <p:grpSp>
            <p:nvGrpSpPr>
              <p:cNvPr id="476" name="Graphic 3">
                <a:extLst>
                  <a:ext uri="{FF2B5EF4-FFF2-40B4-BE49-F238E27FC236}">
                    <a16:creationId xmlns:a16="http://schemas.microsoft.com/office/drawing/2014/main" id="{6FA6E4B1-0FE9-4438-8963-287A1DB679B0}"/>
                  </a:ext>
                </a:extLst>
              </p:cNvPr>
              <p:cNvGrpSpPr/>
              <p:nvPr/>
            </p:nvGrpSpPr>
            <p:grpSpPr>
              <a:xfrm>
                <a:off x="7238724" y="4616562"/>
                <a:ext cx="381036" cy="443643"/>
                <a:chOff x="7238724" y="4616562"/>
                <a:chExt cx="381036" cy="443643"/>
              </a:xfrm>
              <a:grpFill/>
            </p:grpSpPr>
            <p:sp>
              <p:nvSpPr>
                <p:cNvPr id="3957" name="Vrije vorm: vorm 3956">
                  <a:extLst>
                    <a:ext uri="{FF2B5EF4-FFF2-40B4-BE49-F238E27FC236}">
                      <a16:creationId xmlns:a16="http://schemas.microsoft.com/office/drawing/2014/main" id="{476FD9D4-47F5-401B-9624-561B782947CA}"/>
                    </a:ext>
                  </a:extLst>
                </p:cNvPr>
                <p:cNvSpPr/>
                <p:nvPr/>
              </p:nvSpPr>
              <p:spPr>
                <a:xfrm>
                  <a:off x="7246442" y="4624394"/>
                  <a:ext cx="365601" cy="427920"/>
                </a:xfrm>
                <a:custGeom>
                  <a:avLst/>
                  <a:gdLst>
                    <a:gd name="connsiteX0" fmla="*/ 365602 w 365601"/>
                    <a:gd name="connsiteY0" fmla="*/ 425947 h 427920"/>
                    <a:gd name="connsiteX1" fmla="*/ 363329 w 365601"/>
                    <a:gd name="connsiteY1" fmla="*/ 427921 h 427920"/>
                    <a:gd name="connsiteX2" fmla="*/ 0 w 365601"/>
                    <a:gd name="connsiteY2" fmla="*/ 1974 h 427920"/>
                    <a:gd name="connsiteX3" fmla="*/ 2273 w 365601"/>
                    <a:gd name="connsiteY3" fmla="*/ 0 h 427920"/>
                  </a:gdLst>
                  <a:ahLst/>
                  <a:cxnLst>
                    <a:cxn ang="0">
                      <a:pos x="connsiteX0" y="connsiteY0"/>
                    </a:cxn>
                    <a:cxn ang="0">
                      <a:pos x="connsiteX1" y="connsiteY1"/>
                    </a:cxn>
                    <a:cxn ang="0">
                      <a:pos x="connsiteX2" y="connsiteY2"/>
                    </a:cxn>
                    <a:cxn ang="0">
                      <a:pos x="connsiteX3" y="connsiteY3"/>
                    </a:cxn>
                  </a:cxnLst>
                  <a:rect l="l" t="t" r="r" b="b"/>
                  <a:pathLst>
                    <a:path w="365601" h="427920">
                      <a:moveTo>
                        <a:pt x="365602" y="425947"/>
                      </a:moveTo>
                      <a:lnTo>
                        <a:pt x="363329" y="427921"/>
                      </a:lnTo>
                      <a:lnTo>
                        <a:pt x="0" y="1974"/>
                      </a:lnTo>
                      <a:lnTo>
                        <a:pt x="2273" y="0"/>
                      </a:lnTo>
                      <a:close/>
                    </a:path>
                  </a:pathLst>
                </a:custGeom>
                <a:grpFill/>
                <a:ln w="5978" cap="flat">
                  <a:noFill/>
                  <a:prstDash val="solid"/>
                  <a:miter/>
                </a:ln>
              </p:spPr>
              <p:txBody>
                <a:bodyPr rtlCol="0" anchor="ctr"/>
                <a:lstStyle/>
                <a:p>
                  <a:endParaRPr lang="en-GB"/>
                </a:p>
              </p:txBody>
            </p:sp>
            <p:sp>
              <p:nvSpPr>
                <p:cNvPr id="3958" name="Vrije vorm: vorm 3957">
                  <a:extLst>
                    <a:ext uri="{FF2B5EF4-FFF2-40B4-BE49-F238E27FC236}">
                      <a16:creationId xmlns:a16="http://schemas.microsoft.com/office/drawing/2014/main" id="{5FCE9F02-10EC-499B-B96D-9A39625525B5}"/>
                    </a:ext>
                  </a:extLst>
                </p:cNvPr>
                <p:cNvSpPr/>
                <p:nvPr/>
              </p:nvSpPr>
              <p:spPr>
                <a:xfrm>
                  <a:off x="7238724" y="4616562"/>
                  <a:ext cx="18306" cy="18394"/>
                </a:xfrm>
                <a:custGeom>
                  <a:avLst/>
                  <a:gdLst>
                    <a:gd name="connsiteX0" fmla="*/ 2215 w 18306"/>
                    <a:gd name="connsiteY0" fmla="*/ 15188 h 18394"/>
                    <a:gd name="connsiteX1" fmla="*/ 3173 w 18306"/>
                    <a:gd name="connsiteY1" fmla="*/ 2210 h 18394"/>
                    <a:gd name="connsiteX2" fmla="*/ 16090 w 18306"/>
                    <a:gd name="connsiteY2" fmla="*/ 3226 h 18394"/>
                    <a:gd name="connsiteX3" fmla="*/ 15134 w 18306"/>
                    <a:gd name="connsiteY3" fmla="*/ 16204 h 18394"/>
                    <a:gd name="connsiteX4" fmla="*/ 2215 w 18306"/>
                    <a:gd name="connsiteY4" fmla="*/ 151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4">
                      <a:moveTo>
                        <a:pt x="2215" y="15188"/>
                      </a:moveTo>
                      <a:cubicBezTo>
                        <a:pt x="-1074" y="11301"/>
                        <a:pt x="-655" y="5499"/>
                        <a:pt x="3173" y="2210"/>
                      </a:cubicBezTo>
                      <a:cubicBezTo>
                        <a:pt x="7000" y="-1080"/>
                        <a:pt x="12801" y="-661"/>
                        <a:pt x="16090" y="3226"/>
                      </a:cubicBezTo>
                      <a:cubicBezTo>
                        <a:pt x="19380" y="7114"/>
                        <a:pt x="18962" y="12915"/>
                        <a:pt x="15134" y="16204"/>
                      </a:cubicBezTo>
                      <a:cubicBezTo>
                        <a:pt x="11306" y="19494"/>
                        <a:pt x="5505" y="19016"/>
                        <a:pt x="2215" y="15188"/>
                      </a:cubicBezTo>
                      <a:close/>
                    </a:path>
                  </a:pathLst>
                </a:custGeom>
                <a:grpFill/>
                <a:ln w="5978" cap="flat">
                  <a:noFill/>
                  <a:prstDash val="solid"/>
                  <a:miter/>
                </a:ln>
              </p:spPr>
              <p:txBody>
                <a:bodyPr rtlCol="0" anchor="ctr"/>
                <a:lstStyle/>
                <a:p>
                  <a:endParaRPr lang="en-GB"/>
                </a:p>
              </p:txBody>
            </p:sp>
            <p:sp>
              <p:nvSpPr>
                <p:cNvPr id="3959" name="Vrije vorm: vorm 3958">
                  <a:extLst>
                    <a:ext uri="{FF2B5EF4-FFF2-40B4-BE49-F238E27FC236}">
                      <a16:creationId xmlns:a16="http://schemas.microsoft.com/office/drawing/2014/main" id="{B4421F10-2C60-4B12-A76C-BE9E59463B24}"/>
                    </a:ext>
                  </a:extLst>
                </p:cNvPr>
                <p:cNvSpPr/>
                <p:nvPr/>
              </p:nvSpPr>
              <p:spPr>
                <a:xfrm>
                  <a:off x="7601455" y="5041791"/>
                  <a:ext cx="18305" cy="18414"/>
                </a:xfrm>
                <a:custGeom>
                  <a:avLst/>
                  <a:gdLst>
                    <a:gd name="connsiteX0" fmla="*/ 2215 w 18305"/>
                    <a:gd name="connsiteY0" fmla="*/ 15188 h 18414"/>
                    <a:gd name="connsiteX1" fmla="*/ 15133 w 18305"/>
                    <a:gd name="connsiteY1" fmla="*/ 16205 h 18414"/>
                    <a:gd name="connsiteX2" fmla="*/ 16090 w 18305"/>
                    <a:gd name="connsiteY2" fmla="*/ 3227 h 18414"/>
                    <a:gd name="connsiteX3" fmla="*/ 3172 w 18305"/>
                    <a:gd name="connsiteY3" fmla="*/ 2210 h 18414"/>
                    <a:gd name="connsiteX4" fmla="*/ 2215 w 18305"/>
                    <a:gd name="connsiteY4" fmla="*/ 1518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14">
                      <a:moveTo>
                        <a:pt x="2215" y="15188"/>
                      </a:moveTo>
                      <a:cubicBezTo>
                        <a:pt x="5504" y="19075"/>
                        <a:pt x="11306" y="19494"/>
                        <a:pt x="15133" y="16205"/>
                      </a:cubicBezTo>
                      <a:cubicBezTo>
                        <a:pt x="18961" y="12915"/>
                        <a:pt x="19380" y="7114"/>
                        <a:pt x="16090" y="3227"/>
                      </a:cubicBezTo>
                      <a:cubicBezTo>
                        <a:pt x="12801" y="-661"/>
                        <a:pt x="7000" y="-1080"/>
                        <a:pt x="3172" y="2210"/>
                      </a:cubicBezTo>
                      <a:cubicBezTo>
                        <a:pt x="-655" y="5499"/>
                        <a:pt x="-1074" y="11301"/>
                        <a:pt x="2215" y="15188"/>
                      </a:cubicBezTo>
                      <a:close/>
                    </a:path>
                  </a:pathLst>
                </a:custGeom>
                <a:grpFill/>
                <a:ln w="5978" cap="flat">
                  <a:noFill/>
                  <a:prstDash val="solid"/>
                  <a:miter/>
                </a:ln>
              </p:spPr>
              <p:txBody>
                <a:bodyPr rtlCol="0" anchor="ctr"/>
                <a:lstStyle/>
                <a:p>
                  <a:endParaRPr lang="en-GB"/>
                </a:p>
              </p:txBody>
            </p:sp>
          </p:grpSp>
          <p:grpSp>
            <p:nvGrpSpPr>
              <p:cNvPr id="477" name="Graphic 3">
                <a:extLst>
                  <a:ext uri="{FF2B5EF4-FFF2-40B4-BE49-F238E27FC236}">
                    <a16:creationId xmlns:a16="http://schemas.microsoft.com/office/drawing/2014/main" id="{BFC47BEF-4374-4E4E-9AF3-2319A18F0654}"/>
                  </a:ext>
                </a:extLst>
              </p:cNvPr>
              <p:cNvGrpSpPr/>
              <p:nvPr/>
            </p:nvGrpSpPr>
            <p:grpSpPr>
              <a:xfrm>
                <a:off x="6304505" y="1483271"/>
                <a:ext cx="28102" cy="88297"/>
                <a:chOff x="6304505" y="1483271"/>
                <a:chExt cx="28102" cy="88297"/>
              </a:xfrm>
              <a:grpFill/>
            </p:grpSpPr>
            <p:sp>
              <p:nvSpPr>
                <p:cNvPr id="3954" name="Vrije vorm: vorm 3953">
                  <a:extLst>
                    <a:ext uri="{FF2B5EF4-FFF2-40B4-BE49-F238E27FC236}">
                      <a16:creationId xmlns:a16="http://schemas.microsoft.com/office/drawing/2014/main" id="{0BDC7835-01FA-4AB9-AEB5-4E9C2C88A44F}"/>
                    </a:ext>
                  </a:extLst>
                </p:cNvPr>
                <p:cNvSpPr/>
                <p:nvPr/>
              </p:nvSpPr>
              <p:spPr>
                <a:xfrm>
                  <a:off x="6312074" y="1491812"/>
                  <a:ext cx="12918" cy="71230"/>
                </a:xfrm>
                <a:custGeom>
                  <a:avLst/>
                  <a:gdLst>
                    <a:gd name="connsiteX0" fmla="*/ 12918 w 12918"/>
                    <a:gd name="connsiteY0" fmla="*/ 419 h 71230"/>
                    <a:gd name="connsiteX1" fmla="*/ 3050 w 12918"/>
                    <a:gd name="connsiteY1" fmla="*/ 71230 h 71230"/>
                    <a:gd name="connsiteX2" fmla="*/ 0 w 12918"/>
                    <a:gd name="connsiteY2" fmla="*/ 70812 h 71230"/>
                    <a:gd name="connsiteX3" fmla="*/ 9868 w 12918"/>
                    <a:gd name="connsiteY3" fmla="*/ 0 h 71230"/>
                  </a:gdLst>
                  <a:ahLst/>
                  <a:cxnLst>
                    <a:cxn ang="0">
                      <a:pos x="connsiteX0" y="connsiteY0"/>
                    </a:cxn>
                    <a:cxn ang="0">
                      <a:pos x="connsiteX1" y="connsiteY1"/>
                    </a:cxn>
                    <a:cxn ang="0">
                      <a:pos x="connsiteX2" y="connsiteY2"/>
                    </a:cxn>
                    <a:cxn ang="0">
                      <a:pos x="connsiteX3" y="connsiteY3"/>
                    </a:cxn>
                  </a:cxnLst>
                  <a:rect l="l" t="t" r="r" b="b"/>
                  <a:pathLst>
                    <a:path w="12918" h="71230">
                      <a:moveTo>
                        <a:pt x="12918" y="419"/>
                      </a:moveTo>
                      <a:lnTo>
                        <a:pt x="3050" y="71230"/>
                      </a:lnTo>
                      <a:lnTo>
                        <a:pt x="0" y="70812"/>
                      </a:lnTo>
                      <a:lnTo>
                        <a:pt x="9868" y="0"/>
                      </a:lnTo>
                      <a:close/>
                    </a:path>
                  </a:pathLst>
                </a:custGeom>
                <a:grpFill/>
                <a:ln w="5978" cap="flat">
                  <a:noFill/>
                  <a:prstDash val="solid"/>
                  <a:miter/>
                </a:ln>
              </p:spPr>
              <p:txBody>
                <a:bodyPr rtlCol="0" anchor="ctr"/>
                <a:lstStyle/>
                <a:p>
                  <a:endParaRPr lang="en-GB"/>
                </a:p>
              </p:txBody>
            </p:sp>
            <p:sp>
              <p:nvSpPr>
                <p:cNvPr id="3955" name="Vrije vorm: vorm 3954">
                  <a:extLst>
                    <a:ext uri="{FF2B5EF4-FFF2-40B4-BE49-F238E27FC236}">
                      <a16:creationId xmlns:a16="http://schemas.microsoft.com/office/drawing/2014/main" id="{BFD91E7C-A5BC-45E2-80A0-B6FE5F85357C}"/>
                    </a:ext>
                  </a:extLst>
                </p:cNvPr>
                <p:cNvSpPr/>
                <p:nvPr/>
              </p:nvSpPr>
              <p:spPr>
                <a:xfrm>
                  <a:off x="6314254" y="1483271"/>
                  <a:ext cx="18353" cy="18396"/>
                </a:xfrm>
                <a:custGeom>
                  <a:avLst/>
                  <a:gdLst>
                    <a:gd name="connsiteX0" fmla="*/ 93 w 18353"/>
                    <a:gd name="connsiteY0" fmla="*/ 7882 h 18396"/>
                    <a:gd name="connsiteX1" fmla="*/ 10439 w 18353"/>
                    <a:gd name="connsiteY1" fmla="*/ 107 h 18396"/>
                    <a:gd name="connsiteX2" fmla="*/ 18274 w 18353"/>
                    <a:gd name="connsiteY2" fmla="*/ 10514 h 18396"/>
                    <a:gd name="connsiteX3" fmla="*/ 7927 w 18353"/>
                    <a:gd name="connsiteY3" fmla="*/ 18289 h 18396"/>
                    <a:gd name="connsiteX4" fmla="*/ 93 w 18353"/>
                    <a:gd name="connsiteY4" fmla="*/ 788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396">
                      <a:moveTo>
                        <a:pt x="93" y="7882"/>
                      </a:moveTo>
                      <a:cubicBezTo>
                        <a:pt x="810" y="2859"/>
                        <a:pt x="5415" y="-670"/>
                        <a:pt x="10439" y="107"/>
                      </a:cubicBezTo>
                      <a:cubicBezTo>
                        <a:pt x="15463" y="825"/>
                        <a:pt x="18932" y="5490"/>
                        <a:pt x="18274" y="10514"/>
                      </a:cubicBezTo>
                      <a:cubicBezTo>
                        <a:pt x="17556" y="15538"/>
                        <a:pt x="12951" y="19066"/>
                        <a:pt x="7927" y="18289"/>
                      </a:cubicBezTo>
                      <a:cubicBezTo>
                        <a:pt x="2903" y="17631"/>
                        <a:pt x="-625" y="12966"/>
                        <a:pt x="93" y="7882"/>
                      </a:cubicBezTo>
                      <a:close/>
                    </a:path>
                  </a:pathLst>
                </a:custGeom>
                <a:grpFill/>
                <a:ln w="5978" cap="flat">
                  <a:noFill/>
                  <a:prstDash val="solid"/>
                  <a:miter/>
                </a:ln>
              </p:spPr>
              <p:txBody>
                <a:bodyPr rtlCol="0" anchor="ctr"/>
                <a:lstStyle/>
                <a:p>
                  <a:endParaRPr lang="en-GB"/>
                </a:p>
              </p:txBody>
            </p:sp>
            <p:sp>
              <p:nvSpPr>
                <p:cNvPr id="3956" name="Vrije vorm: vorm 3955">
                  <a:extLst>
                    <a:ext uri="{FF2B5EF4-FFF2-40B4-BE49-F238E27FC236}">
                      <a16:creationId xmlns:a16="http://schemas.microsoft.com/office/drawing/2014/main" id="{425E620A-4AA4-43E5-9E93-AF381E4A07F9}"/>
                    </a:ext>
                  </a:extLst>
                </p:cNvPr>
                <p:cNvSpPr/>
                <p:nvPr/>
              </p:nvSpPr>
              <p:spPr>
                <a:xfrm>
                  <a:off x="6304505" y="1553186"/>
                  <a:ext cx="18366" cy="18382"/>
                </a:xfrm>
                <a:custGeom>
                  <a:avLst/>
                  <a:gdLst>
                    <a:gd name="connsiteX0" fmla="*/ 93 w 18366"/>
                    <a:gd name="connsiteY0" fmla="*/ 7882 h 18382"/>
                    <a:gd name="connsiteX1" fmla="*/ 7927 w 18366"/>
                    <a:gd name="connsiteY1" fmla="*/ 18289 h 18382"/>
                    <a:gd name="connsiteX2" fmla="*/ 18274 w 18366"/>
                    <a:gd name="connsiteY2" fmla="*/ 10514 h 18382"/>
                    <a:gd name="connsiteX3" fmla="*/ 10439 w 18366"/>
                    <a:gd name="connsiteY3" fmla="*/ 107 h 18382"/>
                    <a:gd name="connsiteX4" fmla="*/ 93 w 18366"/>
                    <a:gd name="connsiteY4" fmla="*/ 7882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382">
                      <a:moveTo>
                        <a:pt x="93" y="7882"/>
                      </a:moveTo>
                      <a:cubicBezTo>
                        <a:pt x="-625" y="12906"/>
                        <a:pt x="2903" y="17571"/>
                        <a:pt x="7927" y="18289"/>
                      </a:cubicBezTo>
                      <a:cubicBezTo>
                        <a:pt x="12951" y="19006"/>
                        <a:pt x="17556" y="15538"/>
                        <a:pt x="18274" y="10514"/>
                      </a:cubicBezTo>
                      <a:cubicBezTo>
                        <a:pt x="18992" y="5490"/>
                        <a:pt x="15463" y="825"/>
                        <a:pt x="10439" y="107"/>
                      </a:cubicBezTo>
                      <a:cubicBezTo>
                        <a:pt x="5416" y="-670"/>
                        <a:pt x="810" y="2859"/>
                        <a:pt x="93" y="7882"/>
                      </a:cubicBezTo>
                      <a:close/>
                    </a:path>
                  </a:pathLst>
                </a:custGeom>
                <a:grpFill/>
                <a:ln w="5978" cap="flat">
                  <a:noFill/>
                  <a:prstDash val="solid"/>
                  <a:miter/>
                </a:ln>
              </p:spPr>
              <p:txBody>
                <a:bodyPr rtlCol="0" anchor="ctr"/>
                <a:lstStyle/>
                <a:p>
                  <a:endParaRPr lang="en-GB"/>
                </a:p>
              </p:txBody>
            </p:sp>
          </p:grpSp>
          <p:grpSp>
            <p:nvGrpSpPr>
              <p:cNvPr id="478" name="Graphic 3">
                <a:extLst>
                  <a:ext uri="{FF2B5EF4-FFF2-40B4-BE49-F238E27FC236}">
                    <a16:creationId xmlns:a16="http://schemas.microsoft.com/office/drawing/2014/main" id="{6439A9EA-1018-4E25-A6D2-959799FD97C4}"/>
                  </a:ext>
                </a:extLst>
              </p:cNvPr>
              <p:cNvGrpSpPr/>
              <p:nvPr/>
            </p:nvGrpSpPr>
            <p:grpSpPr>
              <a:xfrm>
                <a:off x="7216556" y="4638890"/>
                <a:ext cx="431233" cy="513977"/>
                <a:chOff x="7216556" y="4638890"/>
                <a:chExt cx="431233" cy="513977"/>
              </a:xfrm>
              <a:grpFill/>
            </p:grpSpPr>
            <p:sp>
              <p:nvSpPr>
                <p:cNvPr id="3951" name="Vrije vorm: vorm 3950">
                  <a:extLst>
                    <a:ext uri="{FF2B5EF4-FFF2-40B4-BE49-F238E27FC236}">
                      <a16:creationId xmlns:a16="http://schemas.microsoft.com/office/drawing/2014/main" id="{3F9CF8E8-DD9F-4965-8CC1-17D3F8CE3DCC}"/>
                    </a:ext>
                  </a:extLst>
                </p:cNvPr>
                <p:cNvSpPr/>
                <p:nvPr/>
              </p:nvSpPr>
              <p:spPr>
                <a:xfrm>
                  <a:off x="7224253" y="4646762"/>
                  <a:ext cx="415839" cy="498194"/>
                </a:xfrm>
                <a:custGeom>
                  <a:avLst/>
                  <a:gdLst>
                    <a:gd name="connsiteX0" fmla="*/ 415840 w 415839"/>
                    <a:gd name="connsiteY0" fmla="*/ 496221 h 498194"/>
                    <a:gd name="connsiteX1" fmla="*/ 413507 w 415839"/>
                    <a:gd name="connsiteY1" fmla="*/ 498194 h 498194"/>
                    <a:gd name="connsiteX2" fmla="*/ 0 w 415839"/>
                    <a:gd name="connsiteY2" fmla="*/ 1974 h 498194"/>
                    <a:gd name="connsiteX3" fmla="*/ 2333 w 415839"/>
                    <a:gd name="connsiteY3" fmla="*/ 0 h 498194"/>
                  </a:gdLst>
                  <a:ahLst/>
                  <a:cxnLst>
                    <a:cxn ang="0">
                      <a:pos x="connsiteX0" y="connsiteY0"/>
                    </a:cxn>
                    <a:cxn ang="0">
                      <a:pos x="connsiteX1" y="connsiteY1"/>
                    </a:cxn>
                    <a:cxn ang="0">
                      <a:pos x="connsiteX2" y="connsiteY2"/>
                    </a:cxn>
                    <a:cxn ang="0">
                      <a:pos x="connsiteX3" y="connsiteY3"/>
                    </a:cxn>
                  </a:cxnLst>
                  <a:rect l="l" t="t" r="r" b="b"/>
                  <a:pathLst>
                    <a:path w="415839" h="498194">
                      <a:moveTo>
                        <a:pt x="415840" y="496221"/>
                      </a:moveTo>
                      <a:lnTo>
                        <a:pt x="413507" y="498194"/>
                      </a:lnTo>
                      <a:lnTo>
                        <a:pt x="0" y="1974"/>
                      </a:lnTo>
                      <a:lnTo>
                        <a:pt x="2333" y="0"/>
                      </a:lnTo>
                      <a:close/>
                    </a:path>
                  </a:pathLst>
                </a:custGeom>
                <a:grpFill/>
                <a:ln w="5978" cap="flat">
                  <a:noFill/>
                  <a:prstDash val="solid"/>
                  <a:miter/>
                </a:ln>
              </p:spPr>
              <p:txBody>
                <a:bodyPr rtlCol="0" anchor="ctr"/>
                <a:lstStyle/>
                <a:p>
                  <a:endParaRPr lang="en-GB"/>
                </a:p>
              </p:txBody>
            </p:sp>
            <p:sp>
              <p:nvSpPr>
                <p:cNvPr id="3952" name="Vrije vorm: vorm 3951">
                  <a:extLst>
                    <a:ext uri="{FF2B5EF4-FFF2-40B4-BE49-F238E27FC236}">
                      <a16:creationId xmlns:a16="http://schemas.microsoft.com/office/drawing/2014/main" id="{ACF0051E-02BF-4704-87C6-2B8D7CCA4F52}"/>
                    </a:ext>
                  </a:extLst>
                </p:cNvPr>
                <p:cNvSpPr/>
                <p:nvPr/>
              </p:nvSpPr>
              <p:spPr>
                <a:xfrm>
                  <a:off x="7216556" y="4638890"/>
                  <a:ext cx="18324" cy="18433"/>
                </a:xfrm>
                <a:custGeom>
                  <a:avLst/>
                  <a:gdLst>
                    <a:gd name="connsiteX0" fmla="*/ 2135 w 18324"/>
                    <a:gd name="connsiteY0" fmla="*/ 15108 h 18433"/>
                    <a:gd name="connsiteX1" fmla="*/ 3271 w 18324"/>
                    <a:gd name="connsiteY1" fmla="*/ 2130 h 18433"/>
                    <a:gd name="connsiteX2" fmla="*/ 16190 w 18324"/>
                    <a:gd name="connsiteY2" fmla="*/ 3326 h 18433"/>
                    <a:gd name="connsiteX3" fmla="*/ 15053 w 18324"/>
                    <a:gd name="connsiteY3" fmla="*/ 16304 h 18433"/>
                    <a:gd name="connsiteX4" fmla="*/ 2135 w 18324"/>
                    <a:gd name="connsiteY4" fmla="*/ 15108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3">
                      <a:moveTo>
                        <a:pt x="2135" y="15108"/>
                      </a:moveTo>
                      <a:cubicBezTo>
                        <a:pt x="-1095" y="11221"/>
                        <a:pt x="-616" y="5360"/>
                        <a:pt x="3271" y="2130"/>
                      </a:cubicBezTo>
                      <a:cubicBezTo>
                        <a:pt x="7159" y="-1100"/>
                        <a:pt x="12900" y="-621"/>
                        <a:pt x="16190" y="3326"/>
                      </a:cubicBezTo>
                      <a:cubicBezTo>
                        <a:pt x="19420" y="7214"/>
                        <a:pt x="18941" y="13015"/>
                        <a:pt x="15053" y="16304"/>
                      </a:cubicBezTo>
                      <a:cubicBezTo>
                        <a:pt x="11166" y="19534"/>
                        <a:pt x="5424" y="19055"/>
                        <a:pt x="2135" y="15108"/>
                      </a:cubicBezTo>
                      <a:close/>
                    </a:path>
                  </a:pathLst>
                </a:custGeom>
                <a:grpFill/>
                <a:ln w="5978" cap="flat">
                  <a:noFill/>
                  <a:prstDash val="solid"/>
                  <a:miter/>
                </a:ln>
              </p:spPr>
              <p:txBody>
                <a:bodyPr rtlCol="0" anchor="ctr"/>
                <a:lstStyle/>
                <a:p>
                  <a:endParaRPr lang="en-GB"/>
                </a:p>
              </p:txBody>
            </p:sp>
            <p:sp>
              <p:nvSpPr>
                <p:cNvPr id="3953" name="Vrije vorm: vorm 3952">
                  <a:extLst>
                    <a:ext uri="{FF2B5EF4-FFF2-40B4-BE49-F238E27FC236}">
                      <a16:creationId xmlns:a16="http://schemas.microsoft.com/office/drawing/2014/main" id="{C27B1FE7-9795-4FB7-A47D-2662BB6216BD}"/>
                    </a:ext>
                  </a:extLst>
                </p:cNvPr>
                <p:cNvSpPr/>
                <p:nvPr/>
              </p:nvSpPr>
              <p:spPr>
                <a:xfrm>
                  <a:off x="7629465" y="5134472"/>
                  <a:ext cx="18324" cy="18395"/>
                </a:xfrm>
                <a:custGeom>
                  <a:avLst/>
                  <a:gdLst>
                    <a:gd name="connsiteX0" fmla="*/ 2135 w 18324"/>
                    <a:gd name="connsiteY0" fmla="*/ 15089 h 18395"/>
                    <a:gd name="connsiteX1" fmla="*/ 15053 w 18324"/>
                    <a:gd name="connsiteY1" fmla="*/ 16285 h 18395"/>
                    <a:gd name="connsiteX2" fmla="*/ 16190 w 18324"/>
                    <a:gd name="connsiteY2" fmla="*/ 3306 h 18395"/>
                    <a:gd name="connsiteX3" fmla="*/ 3271 w 18324"/>
                    <a:gd name="connsiteY3" fmla="*/ 2111 h 18395"/>
                    <a:gd name="connsiteX4" fmla="*/ 2135 w 18324"/>
                    <a:gd name="connsiteY4" fmla="*/ 15089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5">
                      <a:moveTo>
                        <a:pt x="2135" y="15089"/>
                      </a:moveTo>
                      <a:cubicBezTo>
                        <a:pt x="5365" y="18976"/>
                        <a:pt x="11166" y="19514"/>
                        <a:pt x="15053" y="16285"/>
                      </a:cubicBezTo>
                      <a:cubicBezTo>
                        <a:pt x="18941" y="13055"/>
                        <a:pt x="19419" y="7194"/>
                        <a:pt x="16190" y="3306"/>
                      </a:cubicBezTo>
                      <a:cubicBezTo>
                        <a:pt x="12960" y="-581"/>
                        <a:pt x="7159" y="-1119"/>
                        <a:pt x="3271" y="2111"/>
                      </a:cubicBezTo>
                      <a:cubicBezTo>
                        <a:pt x="-616" y="5340"/>
                        <a:pt x="-1094" y="11141"/>
                        <a:pt x="2135" y="15089"/>
                      </a:cubicBezTo>
                      <a:close/>
                    </a:path>
                  </a:pathLst>
                </a:custGeom>
                <a:grpFill/>
                <a:ln w="5978" cap="flat">
                  <a:noFill/>
                  <a:prstDash val="solid"/>
                  <a:miter/>
                </a:ln>
              </p:spPr>
              <p:txBody>
                <a:bodyPr rtlCol="0" anchor="ctr"/>
                <a:lstStyle/>
                <a:p>
                  <a:endParaRPr lang="en-GB"/>
                </a:p>
              </p:txBody>
            </p:sp>
          </p:grpSp>
          <p:grpSp>
            <p:nvGrpSpPr>
              <p:cNvPr id="479" name="Graphic 3">
                <a:extLst>
                  <a:ext uri="{FF2B5EF4-FFF2-40B4-BE49-F238E27FC236}">
                    <a16:creationId xmlns:a16="http://schemas.microsoft.com/office/drawing/2014/main" id="{54DCBC8B-F1D0-46ED-91D2-85D7083969C4}"/>
                  </a:ext>
                </a:extLst>
              </p:cNvPr>
              <p:cNvGrpSpPr/>
              <p:nvPr/>
            </p:nvGrpSpPr>
            <p:grpSpPr>
              <a:xfrm>
                <a:off x="7297622" y="4541399"/>
                <a:ext cx="97850" cy="90452"/>
                <a:chOff x="7297622" y="4541399"/>
                <a:chExt cx="97850" cy="90452"/>
              </a:xfrm>
              <a:grpFill/>
            </p:grpSpPr>
            <p:sp>
              <p:nvSpPr>
                <p:cNvPr id="3948" name="Vrije vorm: vorm 3947">
                  <a:extLst>
                    <a:ext uri="{FF2B5EF4-FFF2-40B4-BE49-F238E27FC236}">
                      <a16:creationId xmlns:a16="http://schemas.microsoft.com/office/drawing/2014/main" id="{3D173218-BEAE-4A08-8810-02BA6F6BF2AD}"/>
                    </a:ext>
                  </a:extLst>
                </p:cNvPr>
                <p:cNvSpPr/>
                <p:nvPr/>
              </p:nvSpPr>
              <p:spPr>
                <a:xfrm>
                  <a:off x="7305412" y="4549156"/>
                  <a:ext cx="82234" cy="74878"/>
                </a:xfrm>
                <a:custGeom>
                  <a:avLst/>
                  <a:gdLst>
                    <a:gd name="connsiteX0" fmla="*/ 82235 w 82234"/>
                    <a:gd name="connsiteY0" fmla="*/ 72606 h 74878"/>
                    <a:gd name="connsiteX1" fmla="*/ 80201 w 82234"/>
                    <a:gd name="connsiteY1" fmla="*/ 74879 h 74878"/>
                    <a:gd name="connsiteX2" fmla="*/ 0 w 82234"/>
                    <a:gd name="connsiteY2" fmla="*/ 2273 h 74878"/>
                    <a:gd name="connsiteX3" fmla="*/ 2033 w 82234"/>
                    <a:gd name="connsiteY3" fmla="*/ 0 h 74878"/>
                  </a:gdLst>
                  <a:ahLst/>
                  <a:cxnLst>
                    <a:cxn ang="0">
                      <a:pos x="connsiteX0" y="connsiteY0"/>
                    </a:cxn>
                    <a:cxn ang="0">
                      <a:pos x="connsiteX1" y="connsiteY1"/>
                    </a:cxn>
                    <a:cxn ang="0">
                      <a:pos x="connsiteX2" y="connsiteY2"/>
                    </a:cxn>
                    <a:cxn ang="0">
                      <a:pos x="connsiteX3" y="connsiteY3"/>
                    </a:cxn>
                  </a:cxnLst>
                  <a:rect l="l" t="t" r="r" b="b"/>
                  <a:pathLst>
                    <a:path w="82234" h="74878">
                      <a:moveTo>
                        <a:pt x="82235" y="72606"/>
                      </a:moveTo>
                      <a:lnTo>
                        <a:pt x="80201" y="74879"/>
                      </a:lnTo>
                      <a:lnTo>
                        <a:pt x="0" y="2273"/>
                      </a:lnTo>
                      <a:lnTo>
                        <a:pt x="2033" y="0"/>
                      </a:lnTo>
                      <a:close/>
                    </a:path>
                  </a:pathLst>
                </a:custGeom>
                <a:grpFill/>
                <a:ln w="5978" cap="flat">
                  <a:noFill/>
                  <a:prstDash val="solid"/>
                  <a:miter/>
                </a:ln>
              </p:spPr>
              <p:txBody>
                <a:bodyPr rtlCol="0" anchor="ctr"/>
                <a:lstStyle/>
                <a:p>
                  <a:endParaRPr lang="en-GB"/>
                </a:p>
              </p:txBody>
            </p:sp>
            <p:sp>
              <p:nvSpPr>
                <p:cNvPr id="3949" name="Vrije vorm: vorm 3948">
                  <a:extLst>
                    <a:ext uri="{FF2B5EF4-FFF2-40B4-BE49-F238E27FC236}">
                      <a16:creationId xmlns:a16="http://schemas.microsoft.com/office/drawing/2014/main" id="{8D62244F-616D-41E8-9B33-0E187D45B8CC}"/>
                    </a:ext>
                  </a:extLst>
                </p:cNvPr>
                <p:cNvSpPr/>
                <p:nvPr/>
              </p:nvSpPr>
              <p:spPr>
                <a:xfrm>
                  <a:off x="7377189" y="4613386"/>
                  <a:ext cx="18283" cy="18465"/>
                </a:xfrm>
                <a:custGeom>
                  <a:avLst/>
                  <a:gdLst>
                    <a:gd name="connsiteX0" fmla="*/ 15242 w 18283"/>
                    <a:gd name="connsiteY0" fmla="*/ 2395 h 18465"/>
                    <a:gd name="connsiteX1" fmla="*/ 15959 w 18283"/>
                    <a:gd name="connsiteY1" fmla="*/ 15433 h 18465"/>
                    <a:gd name="connsiteX2" fmla="*/ 3041 w 18283"/>
                    <a:gd name="connsiteY2" fmla="*/ 16091 h 18465"/>
                    <a:gd name="connsiteX3" fmla="*/ 2324 w 18283"/>
                    <a:gd name="connsiteY3" fmla="*/ 3053 h 18465"/>
                    <a:gd name="connsiteX4" fmla="*/ 15242 w 18283"/>
                    <a:gd name="connsiteY4" fmla="*/ 2395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65">
                      <a:moveTo>
                        <a:pt x="15242" y="2395"/>
                      </a:moveTo>
                      <a:cubicBezTo>
                        <a:pt x="19010" y="5804"/>
                        <a:pt x="19309" y="11606"/>
                        <a:pt x="15959" y="15433"/>
                      </a:cubicBezTo>
                      <a:cubicBezTo>
                        <a:pt x="12610" y="19201"/>
                        <a:pt x="6809" y="19500"/>
                        <a:pt x="3041" y="16091"/>
                      </a:cubicBezTo>
                      <a:cubicBezTo>
                        <a:pt x="-726" y="12682"/>
                        <a:pt x="-1026" y="6881"/>
                        <a:pt x="2324" y="3053"/>
                      </a:cubicBezTo>
                      <a:cubicBezTo>
                        <a:pt x="5673" y="-775"/>
                        <a:pt x="11474" y="-1014"/>
                        <a:pt x="15242" y="2395"/>
                      </a:cubicBezTo>
                      <a:close/>
                    </a:path>
                  </a:pathLst>
                </a:custGeom>
                <a:grpFill/>
                <a:ln w="5978" cap="flat">
                  <a:noFill/>
                  <a:prstDash val="solid"/>
                  <a:miter/>
                </a:ln>
              </p:spPr>
              <p:txBody>
                <a:bodyPr rtlCol="0" anchor="ctr"/>
                <a:lstStyle/>
                <a:p>
                  <a:endParaRPr lang="en-GB"/>
                </a:p>
              </p:txBody>
            </p:sp>
            <p:sp>
              <p:nvSpPr>
                <p:cNvPr id="3950" name="Vrije vorm: vorm 3949">
                  <a:extLst>
                    <a:ext uri="{FF2B5EF4-FFF2-40B4-BE49-F238E27FC236}">
                      <a16:creationId xmlns:a16="http://schemas.microsoft.com/office/drawing/2014/main" id="{C839EFA9-33FF-43C9-9CDA-4D299F5D9E1A}"/>
                    </a:ext>
                  </a:extLst>
                </p:cNvPr>
                <p:cNvSpPr/>
                <p:nvPr/>
              </p:nvSpPr>
              <p:spPr>
                <a:xfrm>
                  <a:off x="7297622" y="4541399"/>
                  <a:ext cx="18331" cy="18444"/>
                </a:xfrm>
                <a:custGeom>
                  <a:avLst/>
                  <a:gdLst>
                    <a:gd name="connsiteX0" fmla="*/ 15266 w 18331"/>
                    <a:gd name="connsiteY0" fmla="*/ 2374 h 18444"/>
                    <a:gd name="connsiteX1" fmla="*/ 2347 w 18331"/>
                    <a:gd name="connsiteY1" fmla="*/ 3032 h 18444"/>
                    <a:gd name="connsiteX2" fmla="*/ 3065 w 18331"/>
                    <a:gd name="connsiteY2" fmla="*/ 16070 h 18444"/>
                    <a:gd name="connsiteX3" fmla="*/ 15984 w 18331"/>
                    <a:gd name="connsiteY3" fmla="*/ 15412 h 18444"/>
                    <a:gd name="connsiteX4" fmla="*/ 15266 w 18331"/>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44">
                      <a:moveTo>
                        <a:pt x="15266" y="2374"/>
                      </a:moveTo>
                      <a:cubicBezTo>
                        <a:pt x="11498" y="-1035"/>
                        <a:pt x="5696" y="-736"/>
                        <a:pt x="2347" y="3032"/>
                      </a:cubicBezTo>
                      <a:cubicBezTo>
                        <a:pt x="-1061" y="6800"/>
                        <a:pt x="-703" y="12661"/>
                        <a:pt x="3065" y="16070"/>
                      </a:cubicBezTo>
                      <a:cubicBezTo>
                        <a:pt x="6833" y="19479"/>
                        <a:pt x="12634" y="19180"/>
                        <a:pt x="15984" y="15412"/>
                      </a:cubicBezTo>
                      <a:cubicBezTo>
                        <a:pt x="19392" y="11585"/>
                        <a:pt x="19034" y="5783"/>
                        <a:pt x="15266" y="2374"/>
                      </a:cubicBezTo>
                      <a:close/>
                    </a:path>
                  </a:pathLst>
                </a:custGeom>
                <a:grpFill/>
                <a:ln w="5978" cap="flat">
                  <a:noFill/>
                  <a:prstDash val="solid"/>
                  <a:miter/>
                </a:ln>
              </p:spPr>
              <p:txBody>
                <a:bodyPr rtlCol="0" anchor="ctr"/>
                <a:lstStyle/>
                <a:p>
                  <a:endParaRPr lang="en-GB"/>
                </a:p>
              </p:txBody>
            </p:sp>
          </p:grpSp>
          <p:grpSp>
            <p:nvGrpSpPr>
              <p:cNvPr id="480" name="Graphic 3">
                <a:extLst>
                  <a:ext uri="{FF2B5EF4-FFF2-40B4-BE49-F238E27FC236}">
                    <a16:creationId xmlns:a16="http://schemas.microsoft.com/office/drawing/2014/main" id="{57FD51A4-5BD1-461A-BB41-8CD4E795E4B6}"/>
                  </a:ext>
                </a:extLst>
              </p:cNvPr>
              <p:cNvGrpSpPr/>
              <p:nvPr/>
            </p:nvGrpSpPr>
            <p:grpSpPr>
              <a:xfrm>
                <a:off x="6330084" y="1611000"/>
                <a:ext cx="18777" cy="21424"/>
                <a:chOff x="6330084" y="1611000"/>
                <a:chExt cx="18777" cy="21424"/>
              </a:xfrm>
              <a:grpFill/>
            </p:grpSpPr>
            <p:sp>
              <p:nvSpPr>
                <p:cNvPr id="3945" name="Vrije vorm: vorm 3944">
                  <a:extLst>
                    <a:ext uri="{FF2B5EF4-FFF2-40B4-BE49-F238E27FC236}">
                      <a16:creationId xmlns:a16="http://schemas.microsoft.com/office/drawing/2014/main" id="{4AC27B1D-377F-4077-97C5-B2D4CCCAFA09}"/>
                    </a:ext>
                  </a:extLst>
                </p:cNvPr>
                <p:cNvSpPr/>
                <p:nvPr/>
              </p:nvSpPr>
              <p:spPr>
                <a:xfrm>
                  <a:off x="6337671" y="1619560"/>
                  <a:ext cx="3648" cy="4306"/>
                </a:xfrm>
                <a:custGeom>
                  <a:avLst/>
                  <a:gdLst>
                    <a:gd name="connsiteX0" fmla="*/ 3649 w 3648"/>
                    <a:gd name="connsiteY0" fmla="*/ 478 h 4306"/>
                    <a:gd name="connsiteX1" fmla="*/ 2990 w 3648"/>
                    <a:gd name="connsiteY1" fmla="*/ 4306 h 4306"/>
                    <a:gd name="connsiteX2" fmla="*/ 0 w 3648"/>
                    <a:gd name="connsiteY2" fmla="*/ 3828 h 4306"/>
                    <a:gd name="connsiteX3" fmla="*/ 598 w 3648"/>
                    <a:gd name="connsiteY3" fmla="*/ 0 h 4306"/>
                  </a:gdLst>
                  <a:ahLst/>
                  <a:cxnLst>
                    <a:cxn ang="0">
                      <a:pos x="connsiteX0" y="connsiteY0"/>
                    </a:cxn>
                    <a:cxn ang="0">
                      <a:pos x="connsiteX1" y="connsiteY1"/>
                    </a:cxn>
                    <a:cxn ang="0">
                      <a:pos x="connsiteX2" y="connsiteY2"/>
                    </a:cxn>
                    <a:cxn ang="0">
                      <a:pos x="connsiteX3" y="connsiteY3"/>
                    </a:cxn>
                  </a:cxnLst>
                  <a:rect l="l" t="t" r="r" b="b"/>
                  <a:pathLst>
                    <a:path w="3648" h="4306">
                      <a:moveTo>
                        <a:pt x="3649" y="478"/>
                      </a:moveTo>
                      <a:lnTo>
                        <a:pt x="2990" y="4306"/>
                      </a:lnTo>
                      <a:lnTo>
                        <a:pt x="0" y="3828"/>
                      </a:lnTo>
                      <a:lnTo>
                        <a:pt x="598" y="0"/>
                      </a:lnTo>
                      <a:close/>
                    </a:path>
                  </a:pathLst>
                </a:custGeom>
                <a:grpFill/>
                <a:ln w="5978" cap="flat">
                  <a:noFill/>
                  <a:prstDash val="solid"/>
                  <a:miter/>
                </a:ln>
              </p:spPr>
              <p:txBody>
                <a:bodyPr rtlCol="0" anchor="ctr"/>
                <a:lstStyle/>
                <a:p>
                  <a:endParaRPr lang="en-GB"/>
                </a:p>
              </p:txBody>
            </p:sp>
            <p:sp>
              <p:nvSpPr>
                <p:cNvPr id="3946" name="Vrije vorm: vorm 3945">
                  <a:extLst>
                    <a:ext uri="{FF2B5EF4-FFF2-40B4-BE49-F238E27FC236}">
                      <a16:creationId xmlns:a16="http://schemas.microsoft.com/office/drawing/2014/main" id="{6A688215-37A2-4E4B-BA6E-DCFE9E0C6B2B}"/>
                    </a:ext>
                  </a:extLst>
                </p:cNvPr>
                <p:cNvSpPr/>
                <p:nvPr/>
              </p:nvSpPr>
              <p:spPr>
                <a:xfrm>
                  <a:off x="6330563" y="1611000"/>
                  <a:ext cx="18298" cy="18434"/>
                </a:xfrm>
                <a:custGeom>
                  <a:avLst/>
                  <a:gdLst>
                    <a:gd name="connsiteX0" fmla="*/ 111 w 18298"/>
                    <a:gd name="connsiteY0" fmla="*/ 7722 h 18434"/>
                    <a:gd name="connsiteX1" fmla="*/ 10577 w 18298"/>
                    <a:gd name="connsiteY1" fmla="*/ 126 h 18434"/>
                    <a:gd name="connsiteX2" fmla="*/ 18172 w 18298"/>
                    <a:gd name="connsiteY2" fmla="*/ 10712 h 18434"/>
                    <a:gd name="connsiteX3" fmla="*/ 7706 w 18298"/>
                    <a:gd name="connsiteY3" fmla="*/ 18308 h 18434"/>
                    <a:gd name="connsiteX4" fmla="*/ 111 w 1829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4">
                      <a:moveTo>
                        <a:pt x="111" y="7722"/>
                      </a:moveTo>
                      <a:cubicBezTo>
                        <a:pt x="888" y="2698"/>
                        <a:pt x="5613" y="-711"/>
                        <a:pt x="10577" y="126"/>
                      </a:cubicBezTo>
                      <a:cubicBezTo>
                        <a:pt x="15601" y="964"/>
                        <a:pt x="19009" y="5688"/>
                        <a:pt x="18172" y="10712"/>
                      </a:cubicBezTo>
                      <a:cubicBezTo>
                        <a:pt x="17395" y="15736"/>
                        <a:pt x="12670" y="19145"/>
                        <a:pt x="7706" y="18308"/>
                      </a:cubicBezTo>
                      <a:cubicBezTo>
                        <a:pt x="2742" y="17530"/>
                        <a:pt x="-667" y="12746"/>
                        <a:pt x="111" y="7722"/>
                      </a:cubicBezTo>
                      <a:close/>
                    </a:path>
                  </a:pathLst>
                </a:custGeom>
                <a:grpFill/>
                <a:ln w="5978" cap="flat">
                  <a:noFill/>
                  <a:prstDash val="solid"/>
                  <a:miter/>
                </a:ln>
              </p:spPr>
              <p:txBody>
                <a:bodyPr rtlCol="0" anchor="ctr"/>
                <a:lstStyle/>
                <a:p>
                  <a:endParaRPr lang="en-GB"/>
                </a:p>
              </p:txBody>
            </p:sp>
            <p:sp>
              <p:nvSpPr>
                <p:cNvPr id="3947" name="Vrije vorm: vorm 3946">
                  <a:extLst>
                    <a:ext uri="{FF2B5EF4-FFF2-40B4-BE49-F238E27FC236}">
                      <a16:creationId xmlns:a16="http://schemas.microsoft.com/office/drawing/2014/main" id="{46BABD70-40B3-4A38-ACAB-26A5CACB2692}"/>
                    </a:ext>
                  </a:extLst>
                </p:cNvPr>
                <p:cNvSpPr/>
                <p:nvPr/>
              </p:nvSpPr>
              <p:spPr>
                <a:xfrm>
                  <a:off x="6330084" y="1613991"/>
                  <a:ext cx="18282" cy="18434"/>
                </a:xfrm>
                <a:custGeom>
                  <a:avLst/>
                  <a:gdLst>
                    <a:gd name="connsiteX0" fmla="*/ 111 w 18282"/>
                    <a:gd name="connsiteY0" fmla="*/ 7722 h 18434"/>
                    <a:gd name="connsiteX1" fmla="*/ 7706 w 18282"/>
                    <a:gd name="connsiteY1" fmla="*/ 18308 h 18434"/>
                    <a:gd name="connsiteX2" fmla="*/ 18172 w 18282"/>
                    <a:gd name="connsiteY2" fmla="*/ 10712 h 18434"/>
                    <a:gd name="connsiteX3" fmla="*/ 10577 w 18282"/>
                    <a:gd name="connsiteY3" fmla="*/ 126 h 18434"/>
                    <a:gd name="connsiteX4" fmla="*/ 111 w 18282"/>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34">
                      <a:moveTo>
                        <a:pt x="111" y="7722"/>
                      </a:moveTo>
                      <a:cubicBezTo>
                        <a:pt x="-667" y="12746"/>
                        <a:pt x="2742" y="17471"/>
                        <a:pt x="7706" y="18308"/>
                      </a:cubicBezTo>
                      <a:cubicBezTo>
                        <a:pt x="12730" y="19145"/>
                        <a:pt x="17395" y="15736"/>
                        <a:pt x="18172" y="10712"/>
                      </a:cubicBezTo>
                      <a:cubicBezTo>
                        <a:pt x="18950" y="5688"/>
                        <a:pt x="15541" y="964"/>
                        <a:pt x="10577" y="126"/>
                      </a:cubicBezTo>
                      <a:cubicBezTo>
                        <a:pt x="5613" y="-711"/>
                        <a:pt x="888" y="2698"/>
                        <a:pt x="111" y="7722"/>
                      </a:cubicBezTo>
                      <a:close/>
                    </a:path>
                  </a:pathLst>
                </a:custGeom>
                <a:grpFill/>
                <a:ln w="5978" cap="flat">
                  <a:noFill/>
                  <a:prstDash val="solid"/>
                  <a:miter/>
                </a:ln>
              </p:spPr>
              <p:txBody>
                <a:bodyPr rtlCol="0" anchor="ctr"/>
                <a:lstStyle/>
                <a:p>
                  <a:endParaRPr lang="en-GB"/>
                </a:p>
              </p:txBody>
            </p:sp>
          </p:grpSp>
          <p:grpSp>
            <p:nvGrpSpPr>
              <p:cNvPr id="481" name="Graphic 3">
                <a:extLst>
                  <a:ext uri="{FF2B5EF4-FFF2-40B4-BE49-F238E27FC236}">
                    <a16:creationId xmlns:a16="http://schemas.microsoft.com/office/drawing/2014/main" id="{ED982405-2188-43C9-9250-ABFD0E4C0979}"/>
                  </a:ext>
                </a:extLst>
              </p:cNvPr>
              <p:cNvGrpSpPr/>
              <p:nvPr/>
            </p:nvGrpSpPr>
            <p:grpSpPr>
              <a:xfrm>
                <a:off x="7339861" y="4718082"/>
                <a:ext cx="94495" cy="95512"/>
                <a:chOff x="7339861" y="4718082"/>
                <a:chExt cx="94495" cy="95512"/>
              </a:xfrm>
              <a:grpFill/>
            </p:grpSpPr>
            <p:sp>
              <p:nvSpPr>
                <p:cNvPr id="3942" name="Vrije vorm: vorm 3941">
                  <a:extLst>
                    <a:ext uri="{FF2B5EF4-FFF2-40B4-BE49-F238E27FC236}">
                      <a16:creationId xmlns:a16="http://schemas.microsoft.com/office/drawing/2014/main" id="{1CC6DEA1-606D-48C7-A2C5-703176B037AD}"/>
                    </a:ext>
                  </a:extLst>
                </p:cNvPr>
                <p:cNvSpPr/>
                <p:nvPr/>
              </p:nvSpPr>
              <p:spPr>
                <a:xfrm>
                  <a:off x="7347635" y="4725827"/>
                  <a:ext cx="78945" cy="79902"/>
                </a:xfrm>
                <a:custGeom>
                  <a:avLst/>
                  <a:gdLst>
                    <a:gd name="connsiteX0" fmla="*/ 78946 w 78945"/>
                    <a:gd name="connsiteY0" fmla="*/ 77749 h 79902"/>
                    <a:gd name="connsiteX1" fmla="*/ 76792 w 78945"/>
                    <a:gd name="connsiteY1" fmla="*/ 79902 h 79902"/>
                    <a:gd name="connsiteX2" fmla="*/ 0 w 78945"/>
                    <a:gd name="connsiteY2" fmla="*/ 2153 h 79902"/>
                    <a:gd name="connsiteX3" fmla="*/ 2213 w 78945"/>
                    <a:gd name="connsiteY3" fmla="*/ 0 h 79902"/>
                  </a:gdLst>
                  <a:ahLst/>
                  <a:cxnLst>
                    <a:cxn ang="0">
                      <a:pos x="connsiteX0" y="connsiteY0"/>
                    </a:cxn>
                    <a:cxn ang="0">
                      <a:pos x="connsiteX1" y="connsiteY1"/>
                    </a:cxn>
                    <a:cxn ang="0">
                      <a:pos x="connsiteX2" y="connsiteY2"/>
                    </a:cxn>
                    <a:cxn ang="0">
                      <a:pos x="connsiteX3" y="connsiteY3"/>
                    </a:cxn>
                  </a:cxnLst>
                  <a:rect l="l" t="t" r="r" b="b"/>
                  <a:pathLst>
                    <a:path w="78945" h="79902">
                      <a:moveTo>
                        <a:pt x="78946" y="77749"/>
                      </a:moveTo>
                      <a:lnTo>
                        <a:pt x="76792" y="79902"/>
                      </a:lnTo>
                      <a:lnTo>
                        <a:pt x="0" y="2153"/>
                      </a:lnTo>
                      <a:lnTo>
                        <a:pt x="2213" y="0"/>
                      </a:lnTo>
                      <a:close/>
                    </a:path>
                  </a:pathLst>
                </a:custGeom>
                <a:grpFill/>
                <a:ln w="5978" cap="flat">
                  <a:noFill/>
                  <a:prstDash val="solid"/>
                  <a:miter/>
                </a:ln>
              </p:spPr>
              <p:txBody>
                <a:bodyPr rtlCol="0" anchor="ctr"/>
                <a:lstStyle/>
                <a:p>
                  <a:endParaRPr lang="en-GB"/>
                </a:p>
              </p:txBody>
            </p:sp>
            <p:sp>
              <p:nvSpPr>
                <p:cNvPr id="3943" name="Vrije vorm: vorm 3942">
                  <a:extLst>
                    <a:ext uri="{FF2B5EF4-FFF2-40B4-BE49-F238E27FC236}">
                      <a16:creationId xmlns:a16="http://schemas.microsoft.com/office/drawing/2014/main" id="{1A297B27-F26F-4108-804D-AC4A845F806C}"/>
                    </a:ext>
                  </a:extLst>
                </p:cNvPr>
                <p:cNvSpPr/>
                <p:nvPr/>
              </p:nvSpPr>
              <p:spPr>
                <a:xfrm>
                  <a:off x="7415995" y="4795151"/>
                  <a:ext cx="18360" cy="18443"/>
                </a:xfrm>
                <a:custGeom>
                  <a:avLst/>
                  <a:gdLst>
                    <a:gd name="connsiteX0" fmla="*/ 15670 w 18360"/>
                    <a:gd name="connsiteY0" fmla="*/ 2744 h 18443"/>
                    <a:gd name="connsiteX1" fmla="*/ 15670 w 18360"/>
                    <a:gd name="connsiteY1" fmla="*/ 15782 h 18443"/>
                    <a:gd name="connsiteX2" fmla="*/ 2691 w 18360"/>
                    <a:gd name="connsiteY2" fmla="*/ 15722 h 18443"/>
                    <a:gd name="connsiteX3" fmla="*/ 2691 w 18360"/>
                    <a:gd name="connsiteY3" fmla="*/ 2684 h 18443"/>
                    <a:gd name="connsiteX4" fmla="*/ 15670 w 18360"/>
                    <a:gd name="connsiteY4" fmla="*/ 274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43">
                      <a:moveTo>
                        <a:pt x="15670" y="2744"/>
                      </a:moveTo>
                      <a:cubicBezTo>
                        <a:pt x="19258" y="6392"/>
                        <a:pt x="19258" y="12193"/>
                        <a:pt x="15670" y="15782"/>
                      </a:cubicBezTo>
                      <a:cubicBezTo>
                        <a:pt x="12081" y="19370"/>
                        <a:pt x="6280" y="19310"/>
                        <a:pt x="2691" y="15722"/>
                      </a:cubicBezTo>
                      <a:cubicBezTo>
                        <a:pt x="-897" y="12134"/>
                        <a:pt x="-897" y="6272"/>
                        <a:pt x="2691" y="2684"/>
                      </a:cubicBezTo>
                      <a:cubicBezTo>
                        <a:pt x="6339" y="-905"/>
                        <a:pt x="12141" y="-905"/>
                        <a:pt x="15670" y="2744"/>
                      </a:cubicBezTo>
                      <a:close/>
                    </a:path>
                  </a:pathLst>
                </a:custGeom>
                <a:grpFill/>
                <a:ln w="5978" cap="flat">
                  <a:noFill/>
                  <a:prstDash val="solid"/>
                  <a:miter/>
                </a:ln>
              </p:spPr>
              <p:txBody>
                <a:bodyPr rtlCol="0" anchor="ctr"/>
                <a:lstStyle/>
                <a:p>
                  <a:endParaRPr lang="en-GB"/>
                </a:p>
              </p:txBody>
            </p:sp>
            <p:sp>
              <p:nvSpPr>
                <p:cNvPr id="3944" name="Vrije vorm: vorm 3943">
                  <a:extLst>
                    <a:ext uri="{FF2B5EF4-FFF2-40B4-BE49-F238E27FC236}">
                      <a16:creationId xmlns:a16="http://schemas.microsoft.com/office/drawing/2014/main" id="{3FD76247-463C-469C-820A-ACFF1BF26A26}"/>
                    </a:ext>
                  </a:extLst>
                </p:cNvPr>
                <p:cNvSpPr/>
                <p:nvPr/>
              </p:nvSpPr>
              <p:spPr>
                <a:xfrm>
                  <a:off x="7339861" y="4718082"/>
                  <a:ext cx="18360" cy="18420"/>
                </a:xfrm>
                <a:custGeom>
                  <a:avLst/>
                  <a:gdLst>
                    <a:gd name="connsiteX0" fmla="*/ 15670 w 18360"/>
                    <a:gd name="connsiteY0" fmla="*/ 2721 h 18420"/>
                    <a:gd name="connsiteX1" fmla="*/ 2691 w 18360"/>
                    <a:gd name="connsiteY1" fmla="*/ 2661 h 18420"/>
                    <a:gd name="connsiteX2" fmla="*/ 2691 w 18360"/>
                    <a:gd name="connsiteY2" fmla="*/ 15699 h 18420"/>
                    <a:gd name="connsiteX3" fmla="*/ 15670 w 18360"/>
                    <a:gd name="connsiteY3" fmla="*/ 15759 h 18420"/>
                    <a:gd name="connsiteX4" fmla="*/ 15670 w 18360"/>
                    <a:gd name="connsiteY4" fmla="*/ 27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15670" y="2721"/>
                      </a:moveTo>
                      <a:cubicBezTo>
                        <a:pt x="12081" y="-867"/>
                        <a:pt x="6280" y="-927"/>
                        <a:pt x="2691" y="2661"/>
                      </a:cubicBezTo>
                      <a:cubicBezTo>
                        <a:pt x="-897" y="6250"/>
                        <a:pt x="-897" y="12051"/>
                        <a:pt x="2691" y="15699"/>
                      </a:cubicBezTo>
                      <a:cubicBezTo>
                        <a:pt x="6280" y="19288"/>
                        <a:pt x="12081" y="19348"/>
                        <a:pt x="15670" y="15759"/>
                      </a:cubicBezTo>
                      <a:cubicBezTo>
                        <a:pt x="19258" y="12171"/>
                        <a:pt x="19258" y="6310"/>
                        <a:pt x="15670" y="2721"/>
                      </a:cubicBezTo>
                      <a:close/>
                    </a:path>
                  </a:pathLst>
                </a:custGeom>
                <a:grpFill/>
                <a:ln w="5978" cap="flat">
                  <a:noFill/>
                  <a:prstDash val="solid"/>
                  <a:miter/>
                </a:ln>
              </p:spPr>
              <p:txBody>
                <a:bodyPr rtlCol="0" anchor="ctr"/>
                <a:lstStyle/>
                <a:p>
                  <a:endParaRPr lang="en-GB"/>
                </a:p>
              </p:txBody>
            </p:sp>
          </p:grpSp>
          <p:grpSp>
            <p:nvGrpSpPr>
              <p:cNvPr id="482" name="Graphic 3">
                <a:extLst>
                  <a:ext uri="{FF2B5EF4-FFF2-40B4-BE49-F238E27FC236}">
                    <a16:creationId xmlns:a16="http://schemas.microsoft.com/office/drawing/2014/main" id="{E69B3763-169B-4A24-A4C1-89C169F06156}"/>
                  </a:ext>
                </a:extLst>
              </p:cNvPr>
              <p:cNvGrpSpPr/>
              <p:nvPr/>
            </p:nvGrpSpPr>
            <p:grpSpPr>
              <a:xfrm>
                <a:off x="6246473" y="1409404"/>
                <a:ext cx="21086" cy="45439"/>
                <a:chOff x="6246473" y="1409404"/>
                <a:chExt cx="21086" cy="45439"/>
              </a:xfrm>
              <a:grpFill/>
            </p:grpSpPr>
            <p:sp>
              <p:nvSpPr>
                <p:cNvPr id="3939" name="Vrije vorm: vorm 3938">
                  <a:extLst>
                    <a:ext uri="{FF2B5EF4-FFF2-40B4-BE49-F238E27FC236}">
                      <a16:creationId xmlns:a16="http://schemas.microsoft.com/office/drawing/2014/main" id="{332CBFC0-DCB7-4FCB-B6F6-89D45D6FEBA5}"/>
                    </a:ext>
                  </a:extLst>
                </p:cNvPr>
                <p:cNvSpPr/>
                <p:nvPr/>
              </p:nvSpPr>
              <p:spPr>
                <a:xfrm>
                  <a:off x="6254120" y="1418009"/>
                  <a:ext cx="5860" cy="28229"/>
                </a:xfrm>
                <a:custGeom>
                  <a:avLst/>
                  <a:gdLst>
                    <a:gd name="connsiteX0" fmla="*/ 5861 w 5860"/>
                    <a:gd name="connsiteY0" fmla="*/ 299 h 28229"/>
                    <a:gd name="connsiteX1" fmla="*/ 2990 w 5860"/>
                    <a:gd name="connsiteY1" fmla="*/ 28229 h 28229"/>
                    <a:gd name="connsiteX2" fmla="*/ 0 w 5860"/>
                    <a:gd name="connsiteY2" fmla="*/ 27930 h 28229"/>
                    <a:gd name="connsiteX3" fmla="*/ 2811 w 5860"/>
                    <a:gd name="connsiteY3" fmla="*/ 0 h 28229"/>
                  </a:gdLst>
                  <a:ahLst/>
                  <a:cxnLst>
                    <a:cxn ang="0">
                      <a:pos x="connsiteX0" y="connsiteY0"/>
                    </a:cxn>
                    <a:cxn ang="0">
                      <a:pos x="connsiteX1" y="connsiteY1"/>
                    </a:cxn>
                    <a:cxn ang="0">
                      <a:pos x="connsiteX2" y="connsiteY2"/>
                    </a:cxn>
                    <a:cxn ang="0">
                      <a:pos x="connsiteX3" y="connsiteY3"/>
                    </a:cxn>
                  </a:cxnLst>
                  <a:rect l="l" t="t" r="r" b="b"/>
                  <a:pathLst>
                    <a:path w="5860" h="28229">
                      <a:moveTo>
                        <a:pt x="5861" y="299"/>
                      </a:moveTo>
                      <a:lnTo>
                        <a:pt x="2990" y="28229"/>
                      </a:lnTo>
                      <a:lnTo>
                        <a:pt x="0" y="27930"/>
                      </a:lnTo>
                      <a:lnTo>
                        <a:pt x="2811" y="0"/>
                      </a:lnTo>
                      <a:close/>
                    </a:path>
                  </a:pathLst>
                </a:custGeom>
                <a:grpFill/>
                <a:ln w="5978" cap="flat">
                  <a:noFill/>
                  <a:prstDash val="solid"/>
                  <a:miter/>
                </a:ln>
              </p:spPr>
              <p:txBody>
                <a:bodyPr rtlCol="0" anchor="ctr"/>
                <a:lstStyle/>
                <a:p>
                  <a:endParaRPr lang="en-GB"/>
                </a:p>
              </p:txBody>
            </p:sp>
            <p:sp>
              <p:nvSpPr>
                <p:cNvPr id="3940" name="Vrije vorm: vorm 3939">
                  <a:extLst>
                    <a:ext uri="{FF2B5EF4-FFF2-40B4-BE49-F238E27FC236}">
                      <a16:creationId xmlns:a16="http://schemas.microsoft.com/office/drawing/2014/main" id="{0179B5AB-AE2E-4B10-AE6B-57FF469F0423}"/>
                    </a:ext>
                  </a:extLst>
                </p:cNvPr>
                <p:cNvSpPr/>
                <p:nvPr/>
              </p:nvSpPr>
              <p:spPr>
                <a:xfrm>
                  <a:off x="6249234" y="1409404"/>
                  <a:ext cx="18325" cy="18406"/>
                </a:xfrm>
                <a:custGeom>
                  <a:avLst/>
                  <a:gdLst>
                    <a:gd name="connsiteX0" fmla="*/ 42 w 18325"/>
                    <a:gd name="connsiteY0" fmla="*/ 8246 h 18406"/>
                    <a:gd name="connsiteX1" fmla="*/ 10090 w 18325"/>
                    <a:gd name="connsiteY1" fmla="*/ 53 h 18406"/>
                    <a:gd name="connsiteX2" fmla="*/ 18283 w 18325"/>
                    <a:gd name="connsiteY2" fmla="*/ 10160 h 18406"/>
                    <a:gd name="connsiteX3" fmla="*/ 8236 w 18325"/>
                    <a:gd name="connsiteY3" fmla="*/ 18354 h 18406"/>
                    <a:gd name="connsiteX4" fmla="*/ 42 w 1832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6">
                      <a:moveTo>
                        <a:pt x="42" y="8246"/>
                      </a:moveTo>
                      <a:cubicBezTo>
                        <a:pt x="580" y="3163"/>
                        <a:pt x="5066" y="-486"/>
                        <a:pt x="10090" y="53"/>
                      </a:cubicBezTo>
                      <a:cubicBezTo>
                        <a:pt x="15113" y="591"/>
                        <a:pt x="18762" y="5136"/>
                        <a:pt x="18283" y="10160"/>
                      </a:cubicBezTo>
                      <a:cubicBezTo>
                        <a:pt x="17745" y="15244"/>
                        <a:pt x="13259" y="18892"/>
                        <a:pt x="8236" y="18354"/>
                      </a:cubicBezTo>
                      <a:cubicBezTo>
                        <a:pt x="3212" y="17815"/>
                        <a:pt x="-436" y="13270"/>
                        <a:pt x="42" y="8246"/>
                      </a:cubicBezTo>
                      <a:close/>
                    </a:path>
                  </a:pathLst>
                </a:custGeom>
                <a:grpFill/>
                <a:ln w="5978" cap="flat">
                  <a:noFill/>
                  <a:prstDash val="solid"/>
                  <a:miter/>
                </a:ln>
              </p:spPr>
              <p:txBody>
                <a:bodyPr rtlCol="0" anchor="ctr"/>
                <a:lstStyle/>
                <a:p>
                  <a:endParaRPr lang="en-GB"/>
                </a:p>
              </p:txBody>
            </p:sp>
            <p:sp>
              <p:nvSpPr>
                <p:cNvPr id="3941" name="Vrije vorm: vorm 3940">
                  <a:extLst>
                    <a:ext uri="{FF2B5EF4-FFF2-40B4-BE49-F238E27FC236}">
                      <a16:creationId xmlns:a16="http://schemas.microsoft.com/office/drawing/2014/main" id="{AA9B3728-A1B6-472A-9FC5-4EA492CB3F32}"/>
                    </a:ext>
                  </a:extLst>
                </p:cNvPr>
                <p:cNvSpPr/>
                <p:nvPr/>
              </p:nvSpPr>
              <p:spPr>
                <a:xfrm>
                  <a:off x="6246473" y="1436437"/>
                  <a:ext cx="18345" cy="18406"/>
                </a:xfrm>
                <a:custGeom>
                  <a:avLst/>
                  <a:gdLst>
                    <a:gd name="connsiteX0" fmla="*/ 52 w 18345"/>
                    <a:gd name="connsiteY0" fmla="*/ 8246 h 18406"/>
                    <a:gd name="connsiteX1" fmla="*/ 8245 w 18345"/>
                    <a:gd name="connsiteY1" fmla="*/ 18354 h 18406"/>
                    <a:gd name="connsiteX2" fmla="*/ 18293 w 18345"/>
                    <a:gd name="connsiteY2" fmla="*/ 10160 h 18406"/>
                    <a:gd name="connsiteX3" fmla="*/ 10099 w 18345"/>
                    <a:gd name="connsiteY3" fmla="*/ 53 h 18406"/>
                    <a:gd name="connsiteX4" fmla="*/ 52 w 1834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6">
                      <a:moveTo>
                        <a:pt x="52" y="8246"/>
                      </a:moveTo>
                      <a:cubicBezTo>
                        <a:pt x="-486" y="13330"/>
                        <a:pt x="3222" y="17815"/>
                        <a:pt x="8245" y="18354"/>
                      </a:cubicBezTo>
                      <a:cubicBezTo>
                        <a:pt x="13269" y="18892"/>
                        <a:pt x="17755" y="15244"/>
                        <a:pt x="18293" y="10160"/>
                      </a:cubicBezTo>
                      <a:cubicBezTo>
                        <a:pt x="18831" y="5076"/>
                        <a:pt x="15123" y="591"/>
                        <a:pt x="10099" y="53"/>
                      </a:cubicBezTo>
                      <a:cubicBezTo>
                        <a:pt x="5076" y="-486"/>
                        <a:pt x="590" y="3163"/>
                        <a:pt x="52" y="8246"/>
                      </a:cubicBezTo>
                      <a:close/>
                    </a:path>
                  </a:pathLst>
                </a:custGeom>
                <a:grpFill/>
                <a:ln w="5978" cap="flat">
                  <a:noFill/>
                  <a:prstDash val="solid"/>
                  <a:miter/>
                </a:ln>
              </p:spPr>
              <p:txBody>
                <a:bodyPr rtlCol="0" anchor="ctr"/>
                <a:lstStyle/>
                <a:p>
                  <a:endParaRPr lang="en-GB"/>
                </a:p>
              </p:txBody>
            </p:sp>
          </p:grpSp>
          <p:grpSp>
            <p:nvGrpSpPr>
              <p:cNvPr id="483" name="Graphic 3">
                <a:extLst>
                  <a:ext uri="{FF2B5EF4-FFF2-40B4-BE49-F238E27FC236}">
                    <a16:creationId xmlns:a16="http://schemas.microsoft.com/office/drawing/2014/main" id="{1C8573DD-402F-4FE9-A3AB-8481E14B6E51}"/>
                  </a:ext>
                </a:extLst>
              </p:cNvPr>
              <p:cNvGrpSpPr/>
              <p:nvPr/>
            </p:nvGrpSpPr>
            <p:grpSpPr>
              <a:xfrm>
                <a:off x="6294876" y="1571427"/>
                <a:ext cx="25411" cy="69278"/>
                <a:chOff x="6294876" y="1571427"/>
                <a:chExt cx="25411" cy="69278"/>
              </a:xfrm>
              <a:grpFill/>
            </p:grpSpPr>
            <p:sp>
              <p:nvSpPr>
                <p:cNvPr id="3936" name="Vrije vorm: vorm 3935">
                  <a:extLst>
                    <a:ext uri="{FF2B5EF4-FFF2-40B4-BE49-F238E27FC236}">
                      <a16:creationId xmlns:a16="http://schemas.microsoft.com/office/drawing/2014/main" id="{11BA12EC-5146-4A49-A22F-AD511B8301F9}"/>
                    </a:ext>
                  </a:extLst>
                </p:cNvPr>
                <p:cNvSpPr/>
                <p:nvPr/>
              </p:nvSpPr>
              <p:spPr>
                <a:xfrm>
                  <a:off x="6302445" y="1579967"/>
                  <a:ext cx="10286" cy="52211"/>
                </a:xfrm>
                <a:custGeom>
                  <a:avLst/>
                  <a:gdLst>
                    <a:gd name="connsiteX0" fmla="*/ 10287 w 10286"/>
                    <a:gd name="connsiteY0" fmla="*/ 419 h 52211"/>
                    <a:gd name="connsiteX1" fmla="*/ 3050 w 10286"/>
                    <a:gd name="connsiteY1" fmla="*/ 52212 h 52211"/>
                    <a:gd name="connsiteX2" fmla="*/ 0 w 10286"/>
                    <a:gd name="connsiteY2" fmla="*/ 51793 h 52211"/>
                    <a:gd name="connsiteX3" fmla="*/ 7236 w 10286"/>
                    <a:gd name="connsiteY3" fmla="*/ 0 h 52211"/>
                  </a:gdLst>
                  <a:ahLst/>
                  <a:cxnLst>
                    <a:cxn ang="0">
                      <a:pos x="connsiteX0" y="connsiteY0"/>
                    </a:cxn>
                    <a:cxn ang="0">
                      <a:pos x="connsiteX1" y="connsiteY1"/>
                    </a:cxn>
                    <a:cxn ang="0">
                      <a:pos x="connsiteX2" y="connsiteY2"/>
                    </a:cxn>
                    <a:cxn ang="0">
                      <a:pos x="connsiteX3" y="connsiteY3"/>
                    </a:cxn>
                  </a:cxnLst>
                  <a:rect l="l" t="t" r="r" b="b"/>
                  <a:pathLst>
                    <a:path w="10286" h="52211">
                      <a:moveTo>
                        <a:pt x="10287" y="419"/>
                      </a:moveTo>
                      <a:lnTo>
                        <a:pt x="3050" y="52212"/>
                      </a:lnTo>
                      <a:lnTo>
                        <a:pt x="0" y="51793"/>
                      </a:lnTo>
                      <a:lnTo>
                        <a:pt x="7236" y="0"/>
                      </a:lnTo>
                      <a:close/>
                    </a:path>
                  </a:pathLst>
                </a:custGeom>
                <a:grpFill/>
                <a:ln w="5978" cap="flat">
                  <a:noFill/>
                  <a:prstDash val="solid"/>
                  <a:miter/>
                </a:ln>
              </p:spPr>
              <p:txBody>
                <a:bodyPr rtlCol="0" anchor="ctr"/>
                <a:lstStyle/>
                <a:p>
                  <a:endParaRPr lang="en-GB"/>
                </a:p>
              </p:txBody>
            </p:sp>
            <p:sp>
              <p:nvSpPr>
                <p:cNvPr id="3937" name="Vrije vorm: vorm 3936">
                  <a:extLst>
                    <a:ext uri="{FF2B5EF4-FFF2-40B4-BE49-F238E27FC236}">
                      <a16:creationId xmlns:a16="http://schemas.microsoft.com/office/drawing/2014/main" id="{390B859C-15BC-4A65-AF48-4ED7D99AA044}"/>
                    </a:ext>
                  </a:extLst>
                </p:cNvPr>
                <p:cNvSpPr/>
                <p:nvPr/>
              </p:nvSpPr>
              <p:spPr>
                <a:xfrm>
                  <a:off x="6301946" y="1571427"/>
                  <a:ext cx="18341" cy="18396"/>
                </a:xfrm>
                <a:custGeom>
                  <a:avLst/>
                  <a:gdLst>
                    <a:gd name="connsiteX0" fmla="*/ 80 w 18341"/>
                    <a:gd name="connsiteY0" fmla="*/ 7882 h 18396"/>
                    <a:gd name="connsiteX1" fmla="*/ 10427 w 18341"/>
                    <a:gd name="connsiteY1" fmla="*/ 107 h 18396"/>
                    <a:gd name="connsiteX2" fmla="*/ 18261 w 18341"/>
                    <a:gd name="connsiteY2" fmla="*/ 10514 h 18396"/>
                    <a:gd name="connsiteX3" fmla="*/ 7915 w 18341"/>
                    <a:gd name="connsiteY3" fmla="*/ 18289 h 18396"/>
                    <a:gd name="connsiteX4" fmla="*/ 80 w 18341"/>
                    <a:gd name="connsiteY4" fmla="*/ 788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6">
                      <a:moveTo>
                        <a:pt x="80" y="7882"/>
                      </a:moveTo>
                      <a:cubicBezTo>
                        <a:pt x="798" y="2859"/>
                        <a:pt x="5403" y="-670"/>
                        <a:pt x="10427" y="107"/>
                      </a:cubicBezTo>
                      <a:cubicBezTo>
                        <a:pt x="15451" y="825"/>
                        <a:pt x="18919" y="5490"/>
                        <a:pt x="18261" y="10514"/>
                      </a:cubicBezTo>
                      <a:cubicBezTo>
                        <a:pt x="17544" y="15538"/>
                        <a:pt x="12938" y="19066"/>
                        <a:pt x="7915" y="18289"/>
                      </a:cubicBezTo>
                      <a:cubicBezTo>
                        <a:pt x="2891" y="17571"/>
                        <a:pt x="-578" y="12906"/>
                        <a:pt x="80" y="7882"/>
                      </a:cubicBezTo>
                      <a:close/>
                    </a:path>
                  </a:pathLst>
                </a:custGeom>
                <a:grpFill/>
                <a:ln w="5978" cap="flat">
                  <a:noFill/>
                  <a:prstDash val="solid"/>
                  <a:miter/>
                </a:ln>
              </p:spPr>
              <p:txBody>
                <a:bodyPr rtlCol="0" anchor="ctr"/>
                <a:lstStyle/>
                <a:p>
                  <a:endParaRPr lang="en-GB"/>
                </a:p>
              </p:txBody>
            </p:sp>
            <p:sp>
              <p:nvSpPr>
                <p:cNvPr id="3938" name="Vrije vorm: vorm 3937">
                  <a:extLst>
                    <a:ext uri="{FF2B5EF4-FFF2-40B4-BE49-F238E27FC236}">
                      <a16:creationId xmlns:a16="http://schemas.microsoft.com/office/drawing/2014/main" id="{DE81A2C6-4F12-4F67-B569-9314912B8FDA}"/>
                    </a:ext>
                  </a:extLst>
                </p:cNvPr>
                <p:cNvSpPr/>
                <p:nvPr/>
              </p:nvSpPr>
              <p:spPr>
                <a:xfrm>
                  <a:off x="6294876" y="1622323"/>
                  <a:ext cx="18366" cy="18382"/>
                </a:xfrm>
                <a:custGeom>
                  <a:avLst/>
                  <a:gdLst>
                    <a:gd name="connsiteX0" fmla="*/ 93 w 18366"/>
                    <a:gd name="connsiteY0" fmla="*/ 7882 h 18382"/>
                    <a:gd name="connsiteX1" fmla="*/ 7928 w 18366"/>
                    <a:gd name="connsiteY1" fmla="*/ 18289 h 18382"/>
                    <a:gd name="connsiteX2" fmla="*/ 18274 w 18366"/>
                    <a:gd name="connsiteY2" fmla="*/ 10514 h 18382"/>
                    <a:gd name="connsiteX3" fmla="*/ 10439 w 18366"/>
                    <a:gd name="connsiteY3" fmla="*/ 107 h 18382"/>
                    <a:gd name="connsiteX4" fmla="*/ 93 w 18366"/>
                    <a:gd name="connsiteY4" fmla="*/ 7882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382">
                      <a:moveTo>
                        <a:pt x="93" y="7882"/>
                      </a:moveTo>
                      <a:cubicBezTo>
                        <a:pt x="-625" y="12906"/>
                        <a:pt x="2904" y="17571"/>
                        <a:pt x="7928" y="18289"/>
                      </a:cubicBezTo>
                      <a:cubicBezTo>
                        <a:pt x="12951" y="19006"/>
                        <a:pt x="17556" y="15538"/>
                        <a:pt x="18274" y="10514"/>
                      </a:cubicBezTo>
                      <a:cubicBezTo>
                        <a:pt x="18992" y="5490"/>
                        <a:pt x="15463" y="825"/>
                        <a:pt x="10439" y="107"/>
                      </a:cubicBezTo>
                      <a:cubicBezTo>
                        <a:pt x="5415" y="-670"/>
                        <a:pt x="810" y="2859"/>
                        <a:pt x="93" y="7882"/>
                      </a:cubicBezTo>
                      <a:close/>
                    </a:path>
                  </a:pathLst>
                </a:custGeom>
                <a:grpFill/>
                <a:ln w="5978" cap="flat">
                  <a:noFill/>
                  <a:prstDash val="solid"/>
                  <a:miter/>
                </a:ln>
              </p:spPr>
              <p:txBody>
                <a:bodyPr rtlCol="0" anchor="ctr"/>
                <a:lstStyle/>
                <a:p>
                  <a:endParaRPr lang="en-GB"/>
                </a:p>
              </p:txBody>
            </p:sp>
          </p:grpSp>
          <p:grpSp>
            <p:nvGrpSpPr>
              <p:cNvPr id="484" name="Graphic 3">
                <a:extLst>
                  <a:ext uri="{FF2B5EF4-FFF2-40B4-BE49-F238E27FC236}">
                    <a16:creationId xmlns:a16="http://schemas.microsoft.com/office/drawing/2014/main" id="{AFFA061F-8D45-4725-A4D2-654FECF33949}"/>
                  </a:ext>
                </a:extLst>
              </p:cNvPr>
              <p:cNvGrpSpPr/>
              <p:nvPr/>
            </p:nvGrpSpPr>
            <p:grpSpPr>
              <a:xfrm>
                <a:off x="6279673" y="1485367"/>
                <a:ext cx="88101" cy="273170"/>
                <a:chOff x="6279673" y="1485367"/>
                <a:chExt cx="88101" cy="273170"/>
              </a:xfrm>
              <a:grpFill/>
            </p:grpSpPr>
            <p:sp>
              <p:nvSpPr>
                <p:cNvPr id="3933" name="Vrije vorm: vorm 3932">
                  <a:extLst>
                    <a:ext uri="{FF2B5EF4-FFF2-40B4-BE49-F238E27FC236}">
                      <a16:creationId xmlns:a16="http://schemas.microsoft.com/office/drawing/2014/main" id="{016D8D43-5A79-458E-A5A5-81E045E39E81}"/>
                    </a:ext>
                  </a:extLst>
                </p:cNvPr>
                <p:cNvSpPr/>
                <p:nvPr/>
              </p:nvSpPr>
              <p:spPr>
                <a:xfrm>
                  <a:off x="6287194" y="1493785"/>
                  <a:ext cx="72964" cy="256393"/>
                </a:xfrm>
                <a:custGeom>
                  <a:avLst/>
                  <a:gdLst>
                    <a:gd name="connsiteX0" fmla="*/ 72965 w 72964"/>
                    <a:gd name="connsiteY0" fmla="*/ 837 h 256393"/>
                    <a:gd name="connsiteX1" fmla="*/ 2990 w 72964"/>
                    <a:gd name="connsiteY1" fmla="*/ 256394 h 256393"/>
                    <a:gd name="connsiteX2" fmla="*/ 0 w 72964"/>
                    <a:gd name="connsiteY2" fmla="*/ 255556 h 256393"/>
                    <a:gd name="connsiteX3" fmla="*/ 70034 w 72964"/>
                    <a:gd name="connsiteY3" fmla="*/ 0 h 256393"/>
                  </a:gdLst>
                  <a:ahLst/>
                  <a:cxnLst>
                    <a:cxn ang="0">
                      <a:pos x="connsiteX0" y="connsiteY0"/>
                    </a:cxn>
                    <a:cxn ang="0">
                      <a:pos x="connsiteX1" y="connsiteY1"/>
                    </a:cxn>
                    <a:cxn ang="0">
                      <a:pos x="connsiteX2" y="connsiteY2"/>
                    </a:cxn>
                    <a:cxn ang="0">
                      <a:pos x="connsiteX3" y="connsiteY3"/>
                    </a:cxn>
                  </a:cxnLst>
                  <a:rect l="l" t="t" r="r" b="b"/>
                  <a:pathLst>
                    <a:path w="72964" h="256393">
                      <a:moveTo>
                        <a:pt x="72965" y="837"/>
                      </a:moveTo>
                      <a:lnTo>
                        <a:pt x="2990" y="256394"/>
                      </a:lnTo>
                      <a:lnTo>
                        <a:pt x="0" y="255556"/>
                      </a:lnTo>
                      <a:lnTo>
                        <a:pt x="70034" y="0"/>
                      </a:lnTo>
                      <a:close/>
                    </a:path>
                  </a:pathLst>
                </a:custGeom>
                <a:grpFill/>
                <a:ln w="5978" cap="flat">
                  <a:noFill/>
                  <a:prstDash val="solid"/>
                  <a:miter/>
                </a:ln>
              </p:spPr>
              <p:txBody>
                <a:bodyPr rtlCol="0" anchor="ctr"/>
                <a:lstStyle/>
                <a:p>
                  <a:endParaRPr lang="en-GB"/>
                </a:p>
              </p:txBody>
            </p:sp>
            <p:sp>
              <p:nvSpPr>
                <p:cNvPr id="3934" name="Vrije vorm: vorm 3933">
                  <a:extLst>
                    <a:ext uri="{FF2B5EF4-FFF2-40B4-BE49-F238E27FC236}">
                      <a16:creationId xmlns:a16="http://schemas.microsoft.com/office/drawing/2014/main" id="{E3F8C81F-7FBA-4B0D-A2C1-CE5BDB766B9F}"/>
                    </a:ext>
                  </a:extLst>
                </p:cNvPr>
                <p:cNvSpPr/>
                <p:nvPr/>
              </p:nvSpPr>
              <p:spPr>
                <a:xfrm>
                  <a:off x="6279673" y="1740086"/>
                  <a:ext cx="18306" cy="18451"/>
                </a:xfrm>
                <a:custGeom>
                  <a:avLst/>
                  <a:gdLst>
                    <a:gd name="connsiteX0" fmla="*/ 17987 w 18306"/>
                    <a:gd name="connsiteY0" fmla="*/ 11708 h 18451"/>
                    <a:gd name="connsiteX1" fmla="*/ 6743 w 18306"/>
                    <a:gd name="connsiteY1" fmla="*/ 18107 h 18451"/>
                    <a:gd name="connsiteX2" fmla="*/ 344 w 18306"/>
                    <a:gd name="connsiteY2" fmla="*/ 6744 h 18451"/>
                    <a:gd name="connsiteX3" fmla="*/ 11588 w 18306"/>
                    <a:gd name="connsiteY3" fmla="*/ 344 h 18451"/>
                    <a:gd name="connsiteX4" fmla="*/ 17987 w 18306"/>
                    <a:gd name="connsiteY4" fmla="*/ 1170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51">
                      <a:moveTo>
                        <a:pt x="17987" y="11708"/>
                      </a:moveTo>
                      <a:cubicBezTo>
                        <a:pt x="16672" y="16612"/>
                        <a:pt x="11588" y="19483"/>
                        <a:pt x="6743" y="18107"/>
                      </a:cubicBezTo>
                      <a:cubicBezTo>
                        <a:pt x="1840" y="16731"/>
                        <a:pt x="-1031" y="11648"/>
                        <a:pt x="344" y="6744"/>
                      </a:cubicBezTo>
                      <a:cubicBezTo>
                        <a:pt x="1660" y="1839"/>
                        <a:pt x="6743" y="-1031"/>
                        <a:pt x="11588" y="344"/>
                      </a:cubicBezTo>
                      <a:cubicBezTo>
                        <a:pt x="16433" y="1720"/>
                        <a:pt x="19303" y="6803"/>
                        <a:pt x="17987" y="11708"/>
                      </a:cubicBezTo>
                      <a:close/>
                    </a:path>
                  </a:pathLst>
                </a:custGeom>
                <a:grpFill/>
                <a:ln w="5978" cap="flat">
                  <a:noFill/>
                  <a:prstDash val="solid"/>
                  <a:miter/>
                </a:ln>
              </p:spPr>
              <p:txBody>
                <a:bodyPr rtlCol="0" anchor="ctr"/>
                <a:lstStyle/>
                <a:p>
                  <a:endParaRPr lang="en-GB"/>
                </a:p>
              </p:txBody>
            </p:sp>
            <p:sp>
              <p:nvSpPr>
                <p:cNvPr id="3935" name="Vrije vorm: vorm 3934">
                  <a:extLst>
                    <a:ext uri="{FF2B5EF4-FFF2-40B4-BE49-F238E27FC236}">
                      <a16:creationId xmlns:a16="http://schemas.microsoft.com/office/drawing/2014/main" id="{3F717B59-DE1B-432D-8690-A9837BB54063}"/>
                    </a:ext>
                  </a:extLst>
                </p:cNvPr>
                <p:cNvSpPr/>
                <p:nvPr/>
              </p:nvSpPr>
              <p:spPr>
                <a:xfrm>
                  <a:off x="6349492" y="1485367"/>
                  <a:ext cx="18281" cy="18451"/>
                </a:xfrm>
                <a:custGeom>
                  <a:avLst/>
                  <a:gdLst>
                    <a:gd name="connsiteX0" fmla="*/ 17963 w 18281"/>
                    <a:gd name="connsiteY0" fmla="*/ 11708 h 18451"/>
                    <a:gd name="connsiteX1" fmla="*/ 11563 w 18281"/>
                    <a:gd name="connsiteY1" fmla="*/ 344 h 18451"/>
                    <a:gd name="connsiteX2" fmla="*/ 319 w 18281"/>
                    <a:gd name="connsiteY2" fmla="*/ 6744 h 18451"/>
                    <a:gd name="connsiteX3" fmla="*/ 6719 w 18281"/>
                    <a:gd name="connsiteY3" fmla="*/ 18107 h 18451"/>
                    <a:gd name="connsiteX4" fmla="*/ 17963 w 18281"/>
                    <a:gd name="connsiteY4" fmla="*/ 1170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1">
                      <a:moveTo>
                        <a:pt x="17963" y="11708"/>
                      </a:moveTo>
                      <a:cubicBezTo>
                        <a:pt x="19278" y="6803"/>
                        <a:pt x="16408" y="1720"/>
                        <a:pt x="11563" y="344"/>
                      </a:cubicBezTo>
                      <a:cubicBezTo>
                        <a:pt x="6659" y="-1031"/>
                        <a:pt x="1635" y="1839"/>
                        <a:pt x="319" y="6744"/>
                      </a:cubicBezTo>
                      <a:cubicBezTo>
                        <a:pt x="-997" y="11648"/>
                        <a:pt x="1874" y="16731"/>
                        <a:pt x="6719" y="18107"/>
                      </a:cubicBezTo>
                      <a:cubicBezTo>
                        <a:pt x="11563" y="19483"/>
                        <a:pt x="16587" y="16612"/>
                        <a:pt x="17963" y="11708"/>
                      </a:cubicBezTo>
                      <a:close/>
                    </a:path>
                  </a:pathLst>
                </a:custGeom>
                <a:grpFill/>
                <a:ln w="5978" cap="flat">
                  <a:noFill/>
                  <a:prstDash val="solid"/>
                  <a:miter/>
                </a:ln>
              </p:spPr>
              <p:txBody>
                <a:bodyPr rtlCol="0" anchor="ctr"/>
                <a:lstStyle/>
                <a:p>
                  <a:endParaRPr lang="en-GB"/>
                </a:p>
              </p:txBody>
            </p:sp>
          </p:grpSp>
          <p:grpSp>
            <p:nvGrpSpPr>
              <p:cNvPr id="485" name="Graphic 3">
                <a:extLst>
                  <a:ext uri="{FF2B5EF4-FFF2-40B4-BE49-F238E27FC236}">
                    <a16:creationId xmlns:a16="http://schemas.microsoft.com/office/drawing/2014/main" id="{ED6F6DB0-FB09-461C-8E47-38AC4D38F8ED}"/>
                  </a:ext>
                </a:extLst>
              </p:cNvPr>
              <p:cNvGrpSpPr/>
              <p:nvPr/>
            </p:nvGrpSpPr>
            <p:grpSpPr>
              <a:xfrm>
                <a:off x="6339439" y="1672581"/>
                <a:ext cx="32825" cy="100172"/>
                <a:chOff x="6339439" y="1672581"/>
                <a:chExt cx="32825" cy="100172"/>
              </a:xfrm>
              <a:grpFill/>
            </p:grpSpPr>
            <p:sp>
              <p:nvSpPr>
                <p:cNvPr id="3930" name="Vrije vorm: vorm 3929">
                  <a:extLst>
                    <a:ext uri="{FF2B5EF4-FFF2-40B4-BE49-F238E27FC236}">
                      <a16:creationId xmlns:a16="http://schemas.microsoft.com/office/drawing/2014/main" id="{068DB05D-0F45-4CE7-86B0-AEAA6E440376}"/>
                    </a:ext>
                  </a:extLst>
                </p:cNvPr>
                <p:cNvSpPr/>
                <p:nvPr/>
              </p:nvSpPr>
              <p:spPr>
                <a:xfrm>
                  <a:off x="6347001" y="1681101"/>
                  <a:ext cx="17703" cy="83191"/>
                </a:xfrm>
                <a:custGeom>
                  <a:avLst/>
                  <a:gdLst>
                    <a:gd name="connsiteX0" fmla="*/ 17703 w 17703"/>
                    <a:gd name="connsiteY0" fmla="*/ 538 h 83191"/>
                    <a:gd name="connsiteX1" fmla="*/ 3050 w 17703"/>
                    <a:gd name="connsiteY1" fmla="*/ 83192 h 83191"/>
                    <a:gd name="connsiteX2" fmla="*/ 0 w 17703"/>
                    <a:gd name="connsiteY2" fmla="*/ 82654 h 83191"/>
                    <a:gd name="connsiteX3" fmla="*/ 14713 w 17703"/>
                    <a:gd name="connsiteY3" fmla="*/ 0 h 83191"/>
                  </a:gdLst>
                  <a:ahLst/>
                  <a:cxnLst>
                    <a:cxn ang="0">
                      <a:pos x="connsiteX0" y="connsiteY0"/>
                    </a:cxn>
                    <a:cxn ang="0">
                      <a:pos x="connsiteX1" y="connsiteY1"/>
                    </a:cxn>
                    <a:cxn ang="0">
                      <a:pos x="connsiteX2" y="connsiteY2"/>
                    </a:cxn>
                    <a:cxn ang="0">
                      <a:pos x="connsiteX3" y="connsiteY3"/>
                    </a:cxn>
                  </a:cxnLst>
                  <a:rect l="l" t="t" r="r" b="b"/>
                  <a:pathLst>
                    <a:path w="17703" h="83191">
                      <a:moveTo>
                        <a:pt x="17703" y="538"/>
                      </a:moveTo>
                      <a:lnTo>
                        <a:pt x="3050" y="83192"/>
                      </a:lnTo>
                      <a:lnTo>
                        <a:pt x="0" y="82654"/>
                      </a:lnTo>
                      <a:lnTo>
                        <a:pt x="14713" y="0"/>
                      </a:lnTo>
                      <a:close/>
                    </a:path>
                  </a:pathLst>
                </a:custGeom>
                <a:grpFill/>
                <a:ln w="5978" cap="flat">
                  <a:noFill/>
                  <a:prstDash val="solid"/>
                  <a:miter/>
                </a:ln>
              </p:spPr>
              <p:txBody>
                <a:bodyPr rtlCol="0" anchor="ctr"/>
                <a:lstStyle/>
                <a:p>
                  <a:endParaRPr lang="en-GB"/>
                </a:p>
              </p:txBody>
            </p:sp>
            <p:sp>
              <p:nvSpPr>
                <p:cNvPr id="3931" name="Vrije vorm: vorm 3930">
                  <a:extLst>
                    <a:ext uri="{FF2B5EF4-FFF2-40B4-BE49-F238E27FC236}">
                      <a16:creationId xmlns:a16="http://schemas.microsoft.com/office/drawing/2014/main" id="{A828E6AC-8A49-4A6A-AE6D-283BA6D55605}"/>
                    </a:ext>
                  </a:extLst>
                </p:cNvPr>
                <p:cNvSpPr/>
                <p:nvPr/>
              </p:nvSpPr>
              <p:spPr>
                <a:xfrm>
                  <a:off x="6353928" y="1672581"/>
                  <a:ext cx="18337" cy="18416"/>
                </a:xfrm>
                <a:custGeom>
                  <a:avLst/>
                  <a:gdLst>
                    <a:gd name="connsiteX0" fmla="*/ 130 w 18337"/>
                    <a:gd name="connsiteY0" fmla="*/ 7563 h 18416"/>
                    <a:gd name="connsiteX1" fmla="*/ 10776 w 18337"/>
                    <a:gd name="connsiteY1" fmla="*/ 147 h 18416"/>
                    <a:gd name="connsiteX2" fmla="*/ 18192 w 18337"/>
                    <a:gd name="connsiteY2" fmla="*/ 10853 h 18416"/>
                    <a:gd name="connsiteX3" fmla="*/ 7546 w 18337"/>
                    <a:gd name="connsiteY3" fmla="*/ 18269 h 18416"/>
                    <a:gd name="connsiteX4" fmla="*/ 130 w 18337"/>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6">
                      <a:moveTo>
                        <a:pt x="130" y="7563"/>
                      </a:moveTo>
                      <a:cubicBezTo>
                        <a:pt x="1027" y="2540"/>
                        <a:pt x="5752" y="-750"/>
                        <a:pt x="10776" y="147"/>
                      </a:cubicBezTo>
                      <a:cubicBezTo>
                        <a:pt x="15740" y="1044"/>
                        <a:pt x="19089" y="5829"/>
                        <a:pt x="18192" y="10853"/>
                      </a:cubicBezTo>
                      <a:cubicBezTo>
                        <a:pt x="17295" y="15877"/>
                        <a:pt x="12570" y="19166"/>
                        <a:pt x="7546" y="18269"/>
                      </a:cubicBezTo>
                      <a:cubicBezTo>
                        <a:pt x="2582" y="17372"/>
                        <a:pt x="-707" y="12587"/>
                        <a:pt x="130" y="7563"/>
                      </a:cubicBezTo>
                      <a:close/>
                    </a:path>
                  </a:pathLst>
                </a:custGeom>
                <a:grpFill/>
                <a:ln w="5978" cap="flat">
                  <a:noFill/>
                  <a:prstDash val="solid"/>
                  <a:miter/>
                </a:ln>
              </p:spPr>
              <p:txBody>
                <a:bodyPr rtlCol="0" anchor="ctr"/>
                <a:lstStyle/>
                <a:p>
                  <a:endParaRPr lang="en-GB"/>
                </a:p>
              </p:txBody>
            </p:sp>
            <p:sp>
              <p:nvSpPr>
                <p:cNvPr id="3932" name="Vrije vorm: vorm 3931">
                  <a:extLst>
                    <a:ext uri="{FF2B5EF4-FFF2-40B4-BE49-F238E27FC236}">
                      <a16:creationId xmlns:a16="http://schemas.microsoft.com/office/drawing/2014/main" id="{6346807B-28C7-490C-9875-09C7D3F15745}"/>
                    </a:ext>
                  </a:extLst>
                </p:cNvPr>
                <p:cNvSpPr/>
                <p:nvPr/>
              </p:nvSpPr>
              <p:spPr>
                <a:xfrm>
                  <a:off x="6339439" y="1754339"/>
                  <a:ext cx="18352" cy="18414"/>
                </a:xfrm>
                <a:custGeom>
                  <a:avLst/>
                  <a:gdLst>
                    <a:gd name="connsiteX0" fmla="*/ 145 w 18352"/>
                    <a:gd name="connsiteY0" fmla="*/ 7561 h 18414"/>
                    <a:gd name="connsiteX1" fmla="*/ 7561 w 18352"/>
                    <a:gd name="connsiteY1" fmla="*/ 18267 h 18414"/>
                    <a:gd name="connsiteX2" fmla="*/ 18207 w 18352"/>
                    <a:gd name="connsiteY2" fmla="*/ 10851 h 18414"/>
                    <a:gd name="connsiteX3" fmla="*/ 10791 w 18352"/>
                    <a:gd name="connsiteY3" fmla="*/ 145 h 18414"/>
                    <a:gd name="connsiteX4" fmla="*/ 145 w 18352"/>
                    <a:gd name="connsiteY4" fmla="*/ 7561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145" y="7561"/>
                      </a:moveTo>
                      <a:cubicBezTo>
                        <a:pt x="-752" y="12585"/>
                        <a:pt x="2598" y="17370"/>
                        <a:pt x="7561" y="18267"/>
                      </a:cubicBezTo>
                      <a:cubicBezTo>
                        <a:pt x="12525" y="19164"/>
                        <a:pt x="17310" y="15875"/>
                        <a:pt x="18207" y="10851"/>
                      </a:cubicBezTo>
                      <a:cubicBezTo>
                        <a:pt x="19104" y="5827"/>
                        <a:pt x="15755" y="1043"/>
                        <a:pt x="10791" y="145"/>
                      </a:cubicBezTo>
                      <a:cubicBezTo>
                        <a:pt x="5827" y="-752"/>
                        <a:pt x="1043" y="2597"/>
                        <a:pt x="145" y="7561"/>
                      </a:cubicBezTo>
                      <a:close/>
                    </a:path>
                  </a:pathLst>
                </a:custGeom>
                <a:grpFill/>
                <a:ln w="5978" cap="flat">
                  <a:noFill/>
                  <a:prstDash val="solid"/>
                  <a:miter/>
                </a:ln>
              </p:spPr>
              <p:txBody>
                <a:bodyPr rtlCol="0" anchor="ctr"/>
                <a:lstStyle/>
                <a:p>
                  <a:endParaRPr lang="en-GB"/>
                </a:p>
              </p:txBody>
            </p:sp>
          </p:grpSp>
          <p:grpSp>
            <p:nvGrpSpPr>
              <p:cNvPr id="486" name="Graphic 3">
                <a:extLst>
                  <a:ext uri="{FF2B5EF4-FFF2-40B4-BE49-F238E27FC236}">
                    <a16:creationId xmlns:a16="http://schemas.microsoft.com/office/drawing/2014/main" id="{B696530B-1564-4873-B8DF-0662B981A3D0}"/>
                  </a:ext>
                </a:extLst>
              </p:cNvPr>
              <p:cNvGrpSpPr/>
              <p:nvPr/>
            </p:nvGrpSpPr>
            <p:grpSpPr>
              <a:xfrm>
                <a:off x="7257444" y="4589854"/>
                <a:ext cx="96449" cy="94616"/>
                <a:chOff x="7257444" y="4589854"/>
                <a:chExt cx="96449" cy="94616"/>
              </a:xfrm>
              <a:grpFill/>
            </p:grpSpPr>
            <p:sp>
              <p:nvSpPr>
                <p:cNvPr id="3927" name="Vrije vorm: vorm 3926">
                  <a:extLst>
                    <a:ext uri="{FF2B5EF4-FFF2-40B4-BE49-F238E27FC236}">
                      <a16:creationId xmlns:a16="http://schemas.microsoft.com/office/drawing/2014/main" id="{1DB7848A-0109-46B8-AAB5-DAA6B3CD7588}"/>
                    </a:ext>
                  </a:extLst>
                </p:cNvPr>
                <p:cNvSpPr/>
                <p:nvPr/>
              </p:nvSpPr>
              <p:spPr>
                <a:xfrm>
                  <a:off x="7265221" y="4597600"/>
                  <a:ext cx="80919" cy="79124"/>
                </a:xfrm>
                <a:custGeom>
                  <a:avLst/>
                  <a:gdLst>
                    <a:gd name="connsiteX0" fmla="*/ 80919 w 80919"/>
                    <a:gd name="connsiteY0" fmla="*/ 76912 h 79124"/>
                    <a:gd name="connsiteX1" fmla="*/ 78826 w 80919"/>
                    <a:gd name="connsiteY1" fmla="*/ 79125 h 79124"/>
                    <a:gd name="connsiteX2" fmla="*/ 0 w 80919"/>
                    <a:gd name="connsiteY2" fmla="*/ 2213 h 79124"/>
                    <a:gd name="connsiteX3" fmla="*/ 2094 w 80919"/>
                    <a:gd name="connsiteY3" fmla="*/ 0 h 79124"/>
                  </a:gdLst>
                  <a:ahLst/>
                  <a:cxnLst>
                    <a:cxn ang="0">
                      <a:pos x="connsiteX0" y="connsiteY0"/>
                    </a:cxn>
                    <a:cxn ang="0">
                      <a:pos x="connsiteX1" y="connsiteY1"/>
                    </a:cxn>
                    <a:cxn ang="0">
                      <a:pos x="connsiteX2" y="connsiteY2"/>
                    </a:cxn>
                    <a:cxn ang="0">
                      <a:pos x="connsiteX3" y="connsiteY3"/>
                    </a:cxn>
                  </a:cxnLst>
                  <a:rect l="l" t="t" r="r" b="b"/>
                  <a:pathLst>
                    <a:path w="80919" h="79124">
                      <a:moveTo>
                        <a:pt x="80919" y="76912"/>
                      </a:moveTo>
                      <a:lnTo>
                        <a:pt x="78826" y="79125"/>
                      </a:lnTo>
                      <a:lnTo>
                        <a:pt x="0" y="2213"/>
                      </a:lnTo>
                      <a:lnTo>
                        <a:pt x="2094" y="0"/>
                      </a:lnTo>
                      <a:close/>
                    </a:path>
                  </a:pathLst>
                </a:custGeom>
                <a:grpFill/>
                <a:ln w="5978" cap="flat">
                  <a:noFill/>
                  <a:prstDash val="solid"/>
                  <a:miter/>
                </a:ln>
              </p:spPr>
              <p:txBody>
                <a:bodyPr rtlCol="0" anchor="ctr"/>
                <a:lstStyle/>
                <a:p>
                  <a:endParaRPr lang="en-GB"/>
                </a:p>
              </p:txBody>
            </p:sp>
            <p:sp>
              <p:nvSpPr>
                <p:cNvPr id="3928" name="Vrije vorm: vorm 3927">
                  <a:extLst>
                    <a:ext uri="{FF2B5EF4-FFF2-40B4-BE49-F238E27FC236}">
                      <a16:creationId xmlns:a16="http://schemas.microsoft.com/office/drawing/2014/main" id="{33238BEA-6690-4862-9124-1352ED8136C9}"/>
                    </a:ext>
                  </a:extLst>
                </p:cNvPr>
                <p:cNvSpPr/>
                <p:nvPr/>
              </p:nvSpPr>
              <p:spPr>
                <a:xfrm>
                  <a:off x="7335576" y="4666049"/>
                  <a:ext cx="18318" cy="18422"/>
                </a:xfrm>
                <a:custGeom>
                  <a:avLst/>
                  <a:gdLst>
                    <a:gd name="connsiteX0" fmla="*/ 15529 w 18318"/>
                    <a:gd name="connsiteY0" fmla="*/ 2602 h 18422"/>
                    <a:gd name="connsiteX1" fmla="*/ 15768 w 18318"/>
                    <a:gd name="connsiteY1" fmla="*/ 15640 h 18422"/>
                    <a:gd name="connsiteX2" fmla="*/ 2790 w 18318"/>
                    <a:gd name="connsiteY2" fmla="*/ 15820 h 18422"/>
                    <a:gd name="connsiteX3" fmla="*/ 2550 w 18318"/>
                    <a:gd name="connsiteY3" fmla="*/ 2782 h 18422"/>
                    <a:gd name="connsiteX4" fmla="*/ 15529 w 18318"/>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2">
                      <a:moveTo>
                        <a:pt x="15529" y="2602"/>
                      </a:moveTo>
                      <a:cubicBezTo>
                        <a:pt x="19177" y="6131"/>
                        <a:pt x="19237" y="11992"/>
                        <a:pt x="15768" y="15640"/>
                      </a:cubicBezTo>
                      <a:cubicBezTo>
                        <a:pt x="12239" y="19289"/>
                        <a:pt x="6438" y="19348"/>
                        <a:pt x="2790" y="15820"/>
                      </a:cubicBezTo>
                      <a:cubicBezTo>
                        <a:pt x="-859" y="12291"/>
                        <a:pt x="-918" y="6430"/>
                        <a:pt x="2550" y="2782"/>
                      </a:cubicBezTo>
                      <a:cubicBezTo>
                        <a:pt x="6079" y="-866"/>
                        <a:pt x="11880" y="-926"/>
                        <a:pt x="15529" y="2602"/>
                      </a:cubicBezTo>
                      <a:close/>
                    </a:path>
                  </a:pathLst>
                </a:custGeom>
                <a:grpFill/>
                <a:ln w="5978" cap="flat">
                  <a:noFill/>
                  <a:prstDash val="solid"/>
                  <a:miter/>
                </a:ln>
              </p:spPr>
              <p:txBody>
                <a:bodyPr rtlCol="0" anchor="ctr"/>
                <a:lstStyle/>
                <a:p>
                  <a:endParaRPr lang="en-GB"/>
                </a:p>
              </p:txBody>
            </p:sp>
            <p:sp>
              <p:nvSpPr>
                <p:cNvPr id="3929" name="Vrije vorm: vorm 3928">
                  <a:extLst>
                    <a:ext uri="{FF2B5EF4-FFF2-40B4-BE49-F238E27FC236}">
                      <a16:creationId xmlns:a16="http://schemas.microsoft.com/office/drawing/2014/main" id="{66E14ADF-7F1A-46DE-8770-34FC2CF65614}"/>
                    </a:ext>
                  </a:extLst>
                </p:cNvPr>
                <p:cNvSpPr/>
                <p:nvPr/>
              </p:nvSpPr>
              <p:spPr>
                <a:xfrm>
                  <a:off x="7257444" y="4589854"/>
                  <a:ext cx="18319" cy="18422"/>
                </a:xfrm>
                <a:custGeom>
                  <a:avLst/>
                  <a:gdLst>
                    <a:gd name="connsiteX0" fmla="*/ 15552 w 18319"/>
                    <a:gd name="connsiteY0" fmla="*/ 2602 h 18422"/>
                    <a:gd name="connsiteX1" fmla="*/ 2573 w 18319"/>
                    <a:gd name="connsiteY1" fmla="*/ 2782 h 18422"/>
                    <a:gd name="connsiteX2" fmla="*/ 2813 w 18319"/>
                    <a:gd name="connsiteY2" fmla="*/ 15820 h 18422"/>
                    <a:gd name="connsiteX3" fmla="*/ 15791 w 18319"/>
                    <a:gd name="connsiteY3" fmla="*/ 15640 h 18422"/>
                    <a:gd name="connsiteX4" fmla="*/ 15552 w 18319"/>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2">
                      <a:moveTo>
                        <a:pt x="15552" y="2602"/>
                      </a:moveTo>
                      <a:cubicBezTo>
                        <a:pt x="11903" y="-926"/>
                        <a:pt x="6102" y="-866"/>
                        <a:pt x="2573" y="2782"/>
                      </a:cubicBezTo>
                      <a:cubicBezTo>
                        <a:pt x="-955" y="6430"/>
                        <a:pt x="-836" y="12231"/>
                        <a:pt x="2813" y="15820"/>
                      </a:cubicBezTo>
                      <a:cubicBezTo>
                        <a:pt x="6461" y="19348"/>
                        <a:pt x="12262" y="19289"/>
                        <a:pt x="15791" y="15640"/>
                      </a:cubicBezTo>
                      <a:cubicBezTo>
                        <a:pt x="19260" y="11992"/>
                        <a:pt x="19140" y="6131"/>
                        <a:pt x="15552" y="2602"/>
                      </a:cubicBezTo>
                      <a:close/>
                    </a:path>
                  </a:pathLst>
                </a:custGeom>
                <a:grpFill/>
                <a:ln w="5978" cap="flat">
                  <a:noFill/>
                  <a:prstDash val="solid"/>
                  <a:miter/>
                </a:ln>
              </p:spPr>
              <p:txBody>
                <a:bodyPr rtlCol="0" anchor="ctr"/>
                <a:lstStyle/>
                <a:p>
                  <a:endParaRPr lang="en-GB"/>
                </a:p>
              </p:txBody>
            </p:sp>
          </p:grpSp>
          <p:grpSp>
            <p:nvGrpSpPr>
              <p:cNvPr id="487" name="Graphic 3">
                <a:extLst>
                  <a:ext uri="{FF2B5EF4-FFF2-40B4-BE49-F238E27FC236}">
                    <a16:creationId xmlns:a16="http://schemas.microsoft.com/office/drawing/2014/main" id="{FBA582F7-C406-48B2-86C9-18005AF1E718}"/>
                  </a:ext>
                </a:extLst>
              </p:cNvPr>
              <p:cNvGrpSpPr/>
              <p:nvPr/>
            </p:nvGrpSpPr>
            <p:grpSpPr>
              <a:xfrm>
                <a:off x="7314381" y="4740784"/>
                <a:ext cx="100539" cy="104809"/>
                <a:chOff x="7314381" y="4740784"/>
                <a:chExt cx="100539" cy="104809"/>
              </a:xfrm>
              <a:grpFill/>
            </p:grpSpPr>
            <p:sp>
              <p:nvSpPr>
                <p:cNvPr id="3924" name="Vrije vorm: vorm 3923">
                  <a:extLst>
                    <a:ext uri="{FF2B5EF4-FFF2-40B4-BE49-F238E27FC236}">
                      <a16:creationId xmlns:a16="http://schemas.microsoft.com/office/drawing/2014/main" id="{2E6E2AE2-F7C5-4E82-BB16-A6B6EDB0E3C0}"/>
                    </a:ext>
                  </a:extLst>
                </p:cNvPr>
                <p:cNvSpPr/>
                <p:nvPr/>
              </p:nvSpPr>
              <p:spPr>
                <a:xfrm>
                  <a:off x="7322098" y="4748613"/>
                  <a:ext cx="85046" cy="89172"/>
                </a:xfrm>
                <a:custGeom>
                  <a:avLst/>
                  <a:gdLst>
                    <a:gd name="connsiteX0" fmla="*/ 85046 w 85046"/>
                    <a:gd name="connsiteY0" fmla="*/ 87079 h 89172"/>
                    <a:gd name="connsiteX1" fmla="*/ 82834 w 85046"/>
                    <a:gd name="connsiteY1" fmla="*/ 89172 h 89172"/>
                    <a:gd name="connsiteX2" fmla="*/ 0 w 85046"/>
                    <a:gd name="connsiteY2" fmla="*/ 2153 h 89172"/>
                    <a:gd name="connsiteX3" fmla="*/ 2213 w 85046"/>
                    <a:gd name="connsiteY3" fmla="*/ 0 h 89172"/>
                  </a:gdLst>
                  <a:ahLst/>
                  <a:cxnLst>
                    <a:cxn ang="0">
                      <a:pos x="connsiteX0" y="connsiteY0"/>
                    </a:cxn>
                    <a:cxn ang="0">
                      <a:pos x="connsiteX1" y="connsiteY1"/>
                    </a:cxn>
                    <a:cxn ang="0">
                      <a:pos x="connsiteX2" y="connsiteY2"/>
                    </a:cxn>
                    <a:cxn ang="0">
                      <a:pos x="connsiteX3" y="connsiteY3"/>
                    </a:cxn>
                  </a:cxnLst>
                  <a:rect l="l" t="t" r="r" b="b"/>
                  <a:pathLst>
                    <a:path w="85046" h="89172">
                      <a:moveTo>
                        <a:pt x="85046" y="87079"/>
                      </a:moveTo>
                      <a:lnTo>
                        <a:pt x="82834" y="89172"/>
                      </a:lnTo>
                      <a:lnTo>
                        <a:pt x="0" y="2153"/>
                      </a:lnTo>
                      <a:lnTo>
                        <a:pt x="2213" y="0"/>
                      </a:lnTo>
                      <a:close/>
                    </a:path>
                  </a:pathLst>
                </a:custGeom>
                <a:grpFill/>
                <a:ln w="5978" cap="flat">
                  <a:noFill/>
                  <a:prstDash val="solid"/>
                  <a:miter/>
                </a:ln>
              </p:spPr>
              <p:txBody>
                <a:bodyPr rtlCol="0" anchor="ctr"/>
                <a:lstStyle/>
                <a:p>
                  <a:endParaRPr lang="en-GB"/>
                </a:p>
              </p:txBody>
            </p:sp>
            <p:sp>
              <p:nvSpPr>
                <p:cNvPr id="3925" name="Vrije vorm: vorm 3924">
                  <a:extLst>
                    <a:ext uri="{FF2B5EF4-FFF2-40B4-BE49-F238E27FC236}">
                      <a16:creationId xmlns:a16="http://schemas.microsoft.com/office/drawing/2014/main" id="{3B450E1D-E607-4350-A37F-067D4CAC5B0C}"/>
                    </a:ext>
                  </a:extLst>
                </p:cNvPr>
                <p:cNvSpPr/>
                <p:nvPr/>
              </p:nvSpPr>
              <p:spPr>
                <a:xfrm>
                  <a:off x="7396556" y="4827167"/>
                  <a:ext cx="18364" cy="18426"/>
                </a:xfrm>
                <a:custGeom>
                  <a:avLst/>
                  <a:gdLst>
                    <a:gd name="connsiteX0" fmla="*/ 15791 w 18364"/>
                    <a:gd name="connsiteY0" fmla="*/ 2844 h 18426"/>
                    <a:gd name="connsiteX1" fmla="*/ 15552 w 18364"/>
                    <a:gd name="connsiteY1" fmla="*/ 15882 h 18426"/>
                    <a:gd name="connsiteX2" fmla="*/ 2573 w 18364"/>
                    <a:gd name="connsiteY2" fmla="*/ 15583 h 18426"/>
                    <a:gd name="connsiteX3" fmla="*/ 2813 w 18364"/>
                    <a:gd name="connsiteY3" fmla="*/ 2545 h 18426"/>
                    <a:gd name="connsiteX4" fmla="*/ 15791 w 18364"/>
                    <a:gd name="connsiteY4" fmla="*/ 284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15791" y="2844"/>
                      </a:moveTo>
                      <a:cubicBezTo>
                        <a:pt x="19319" y="6552"/>
                        <a:pt x="19200" y="12353"/>
                        <a:pt x="15552" y="15882"/>
                      </a:cubicBezTo>
                      <a:cubicBezTo>
                        <a:pt x="11903" y="19410"/>
                        <a:pt x="6102" y="19231"/>
                        <a:pt x="2573" y="15583"/>
                      </a:cubicBezTo>
                      <a:cubicBezTo>
                        <a:pt x="-955" y="11875"/>
                        <a:pt x="-836" y="6073"/>
                        <a:pt x="2813" y="2545"/>
                      </a:cubicBezTo>
                      <a:cubicBezTo>
                        <a:pt x="6461" y="-984"/>
                        <a:pt x="12262" y="-804"/>
                        <a:pt x="15791" y="2844"/>
                      </a:cubicBezTo>
                      <a:close/>
                    </a:path>
                  </a:pathLst>
                </a:custGeom>
                <a:grpFill/>
                <a:ln w="5978" cap="flat">
                  <a:noFill/>
                  <a:prstDash val="solid"/>
                  <a:miter/>
                </a:ln>
              </p:spPr>
              <p:txBody>
                <a:bodyPr rtlCol="0" anchor="ctr"/>
                <a:lstStyle/>
                <a:p>
                  <a:endParaRPr lang="en-GB"/>
                </a:p>
              </p:txBody>
            </p:sp>
            <p:sp>
              <p:nvSpPr>
                <p:cNvPr id="3926" name="Vrije vorm: vorm 3925">
                  <a:extLst>
                    <a:ext uri="{FF2B5EF4-FFF2-40B4-BE49-F238E27FC236}">
                      <a16:creationId xmlns:a16="http://schemas.microsoft.com/office/drawing/2014/main" id="{96F06D23-8015-4136-BFCF-CDA845245D2F}"/>
                    </a:ext>
                  </a:extLst>
                </p:cNvPr>
                <p:cNvSpPr/>
                <p:nvPr/>
              </p:nvSpPr>
              <p:spPr>
                <a:xfrm>
                  <a:off x="7314381" y="4740784"/>
                  <a:ext cx="18319" cy="18470"/>
                </a:xfrm>
                <a:custGeom>
                  <a:avLst/>
                  <a:gdLst>
                    <a:gd name="connsiteX0" fmla="*/ 15791 w 18319"/>
                    <a:gd name="connsiteY0" fmla="*/ 2866 h 18470"/>
                    <a:gd name="connsiteX1" fmla="*/ 2813 w 18319"/>
                    <a:gd name="connsiteY1" fmla="*/ 2567 h 18470"/>
                    <a:gd name="connsiteX2" fmla="*/ 2573 w 18319"/>
                    <a:gd name="connsiteY2" fmla="*/ 15605 h 18470"/>
                    <a:gd name="connsiteX3" fmla="*/ 15552 w 18319"/>
                    <a:gd name="connsiteY3" fmla="*/ 15903 h 18470"/>
                    <a:gd name="connsiteX4" fmla="*/ 15791 w 18319"/>
                    <a:gd name="connsiteY4" fmla="*/ 286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5791" y="2866"/>
                      </a:moveTo>
                      <a:cubicBezTo>
                        <a:pt x="12262" y="-842"/>
                        <a:pt x="6461" y="-962"/>
                        <a:pt x="2813" y="2567"/>
                      </a:cubicBezTo>
                      <a:cubicBezTo>
                        <a:pt x="-836" y="6095"/>
                        <a:pt x="-955" y="11897"/>
                        <a:pt x="2573" y="15605"/>
                      </a:cubicBezTo>
                      <a:cubicBezTo>
                        <a:pt x="6102" y="19313"/>
                        <a:pt x="11903" y="19432"/>
                        <a:pt x="15552" y="15903"/>
                      </a:cubicBezTo>
                      <a:cubicBezTo>
                        <a:pt x="19140" y="12375"/>
                        <a:pt x="19260" y="6574"/>
                        <a:pt x="15791" y="2866"/>
                      </a:cubicBezTo>
                      <a:close/>
                    </a:path>
                  </a:pathLst>
                </a:custGeom>
                <a:grpFill/>
                <a:ln w="5978" cap="flat">
                  <a:noFill/>
                  <a:prstDash val="solid"/>
                  <a:miter/>
                </a:ln>
              </p:spPr>
              <p:txBody>
                <a:bodyPr rtlCol="0" anchor="ctr"/>
                <a:lstStyle/>
                <a:p>
                  <a:endParaRPr lang="en-GB"/>
                </a:p>
              </p:txBody>
            </p:sp>
          </p:grpSp>
          <p:grpSp>
            <p:nvGrpSpPr>
              <p:cNvPr id="488" name="Graphic 3">
                <a:extLst>
                  <a:ext uri="{FF2B5EF4-FFF2-40B4-BE49-F238E27FC236}">
                    <a16:creationId xmlns:a16="http://schemas.microsoft.com/office/drawing/2014/main" id="{2CF32E71-150E-4AA4-8B29-45650101ACB9}"/>
                  </a:ext>
                </a:extLst>
              </p:cNvPr>
              <p:cNvGrpSpPr/>
              <p:nvPr/>
            </p:nvGrpSpPr>
            <p:grpSpPr>
              <a:xfrm>
                <a:off x="7267906" y="4556538"/>
                <a:ext cx="68349" cy="65438"/>
                <a:chOff x="7267906" y="4556538"/>
                <a:chExt cx="68349" cy="65438"/>
              </a:xfrm>
              <a:grpFill/>
            </p:grpSpPr>
            <p:sp>
              <p:nvSpPr>
                <p:cNvPr id="3921" name="Vrije vorm: vorm 3920">
                  <a:extLst>
                    <a:ext uri="{FF2B5EF4-FFF2-40B4-BE49-F238E27FC236}">
                      <a16:creationId xmlns:a16="http://schemas.microsoft.com/office/drawing/2014/main" id="{E661F096-725D-43C8-A514-284636FB4E9E}"/>
                    </a:ext>
                  </a:extLst>
                </p:cNvPr>
                <p:cNvSpPr/>
                <p:nvPr/>
              </p:nvSpPr>
              <p:spPr>
                <a:xfrm>
                  <a:off x="7275747" y="4564347"/>
                  <a:ext cx="52690" cy="49819"/>
                </a:xfrm>
                <a:custGeom>
                  <a:avLst/>
                  <a:gdLst>
                    <a:gd name="connsiteX0" fmla="*/ 52691 w 52690"/>
                    <a:gd name="connsiteY0" fmla="*/ 47606 h 49819"/>
                    <a:gd name="connsiteX1" fmla="*/ 50657 w 52690"/>
                    <a:gd name="connsiteY1" fmla="*/ 49819 h 49819"/>
                    <a:gd name="connsiteX2" fmla="*/ 0 w 52690"/>
                    <a:gd name="connsiteY2" fmla="*/ 2213 h 49819"/>
                    <a:gd name="connsiteX3" fmla="*/ 2034 w 52690"/>
                    <a:gd name="connsiteY3" fmla="*/ 0 h 49819"/>
                  </a:gdLst>
                  <a:ahLst/>
                  <a:cxnLst>
                    <a:cxn ang="0">
                      <a:pos x="connsiteX0" y="connsiteY0"/>
                    </a:cxn>
                    <a:cxn ang="0">
                      <a:pos x="connsiteX1" y="connsiteY1"/>
                    </a:cxn>
                    <a:cxn ang="0">
                      <a:pos x="connsiteX2" y="connsiteY2"/>
                    </a:cxn>
                    <a:cxn ang="0">
                      <a:pos x="connsiteX3" y="connsiteY3"/>
                    </a:cxn>
                  </a:cxnLst>
                  <a:rect l="l" t="t" r="r" b="b"/>
                  <a:pathLst>
                    <a:path w="52690" h="49819">
                      <a:moveTo>
                        <a:pt x="52691" y="47606"/>
                      </a:moveTo>
                      <a:lnTo>
                        <a:pt x="50657" y="49819"/>
                      </a:lnTo>
                      <a:lnTo>
                        <a:pt x="0" y="2213"/>
                      </a:lnTo>
                      <a:lnTo>
                        <a:pt x="2034" y="0"/>
                      </a:lnTo>
                      <a:close/>
                    </a:path>
                  </a:pathLst>
                </a:custGeom>
                <a:grpFill/>
                <a:ln w="5978" cap="flat">
                  <a:noFill/>
                  <a:prstDash val="solid"/>
                  <a:miter/>
                </a:ln>
              </p:spPr>
              <p:txBody>
                <a:bodyPr rtlCol="0" anchor="ctr"/>
                <a:lstStyle/>
                <a:p>
                  <a:endParaRPr lang="en-GB"/>
                </a:p>
              </p:txBody>
            </p:sp>
            <p:sp>
              <p:nvSpPr>
                <p:cNvPr id="3922" name="Vrije vorm: vorm 3921">
                  <a:extLst>
                    <a:ext uri="{FF2B5EF4-FFF2-40B4-BE49-F238E27FC236}">
                      <a16:creationId xmlns:a16="http://schemas.microsoft.com/office/drawing/2014/main" id="{5758E04C-6DB2-4DD7-A229-6B45D9695F10}"/>
                    </a:ext>
                  </a:extLst>
                </p:cNvPr>
                <p:cNvSpPr/>
                <p:nvPr/>
              </p:nvSpPr>
              <p:spPr>
                <a:xfrm>
                  <a:off x="7317928" y="4603546"/>
                  <a:ext cx="18327" cy="18429"/>
                </a:xfrm>
                <a:custGeom>
                  <a:avLst/>
                  <a:gdLst>
                    <a:gd name="connsiteX0" fmla="*/ 15413 w 18327"/>
                    <a:gd name="connsiteY0" fmla="*/ 2487 h 18429"/>
                    <a:gd name="connsiteX1" fmla="*/ 15892 w 18327"/>
                    <a:gd name="connsiteY1" fmla="*/ 15525 h 18429"/>
                    <a:gd name="connsiteX2" fmla="*/ 2914 w 18327"/>
                    <a:gd name="connsiteY2" fmla="*/ 15943 h 18429"/>
                    <a:gd name="connsiteX3" fmla="*/ 2436 w 18327"/>
                    <a:gd name="connsiteY3" fmla="*/ 2905 h 18429"/>
                    <a:gd name="connsiteX4" fmla="*/ 15413 w 18327"/>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5413" y="2487"/>
                      </a:moveTo>
                      <a:cubicBezTo>
                        <a:pt x="19121" y="5956"/>
                        <a:pt x="19301" y="11817"/>
                        <a:pt x="15892" y="15525"/>
                      </a:cubicBezTo>
                      <a:cubicBezTo>
                        <a:pt x="12423" y="19233"/>
                        <a:pt x="6622" y="19412"/>
                        <a:pt x="2914" y="15943"/>
                      </a:cubicBezTo>
                      <a:cubicBezTo>
                        <a:pt x="-794" y="12474"/>
                        <a:pt x="-974" y="6613"/>
                        <a:pt x="2436" y="2905"/>
                      </a:cubicBezTo>
                      <a:cubicBezTo>
                        <a:pt x="5904" y="-803"/>
                        <a:pt x="11705" y="-982"/>
                        <a:pt x="15413" y="2487"/>
                      </a:cubicBezTo>
                      <a:close/>
                    </a:path>
                  </a:pathLst>
                </a:custGeom>
                <a:grpFill/>
                <a:ln w="5978" cap="flat">
                  <a:noFill/>
                  <a:prstDash val="solid"/>
                  <a:miter/>
                </a:ln>
              </p:spPr>
              <p:txBody>
                <a:bodyPr rtlCol="0" anchor="ctr"/>
                <a:lstStyle/>
                <a:p>
                  <a:endParaRPr lang="en-GB"/>
                </a:p>
              </p:txBody>
            </p:sp>
            <p:sp>
              <p:nvSpPr>
                <p:cNvPr id="3923" name="Vrije vorm: vorm 3922">
                  <a:extLst>
                    <a:ext uri="{FF2B5EF4-FFF2-40B4-BE49-F238E27FC236}">
                      <a16:creationId xmlns:a16="http://schemas.microsoft.com/office/drawing/2014/main" id="{1A58AAE5-A061-4C48-8FDF-086BFE14A8A4}"/>
                    </a:ext>
                  </a:extLst>
                </p:cNvPr>
                <p:cNvSpPr/>
                <p:nvPr/>
              </p:nvSpPr>
              <p:spPr>
                <a:xfrm>
                  <a:off x="7267906" y="4556538"/>
                  <a:ext cx="18374" cy="18429"/>
                </a:xfrm>
                <a:custGeom>
                  <a:avLst/>
                  <a:gdLst>
                    <a:gd name="connsiteX0" fmla="*/ 15437 w 18374"/>
                    <a:gd name="connsiteY0" fmla="*/ 2487 h 18429"/>
                    <a:gd name="connsiteX1" fmla="*/ 2459 w 18374"/>
                    <a:gd name="connsiteY1" fmla="*/ 2905 h 18429"/>
                    <a:gd name="connsiteX2" fmla="*/ 2937 w 18374"/>
                    <a:gd name="connsiteY2" fmla="*/ 15943 h 18429"/>
                    <a:gd name="connsiteX3" fmla="*/ 15916 w 18374"/>
                    <a:gd name="connsiteY3" fmla="*/ 15525 h 18429"/>
                    <a:gd name="connsiteX4" fmla="*/ 15437 w 18374"/>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9">
                      <a:moveTo>
                        <a:pt x="15437" y="2487"/>
                      </a:moveTo>
                      <a:cubicBezTo>
                        <a:pt x="11729" y="-982"/>
                        <a:pt x="5928" y="-803"/>
                        <a:pt x="2459" y="2905"/>
                      </a:cubicBezTo>
                      <a:cubicBezTo>
                        <a:pt x="-1010" y="6613"/>
                        <a:pt x="-771" y="12474"/>
                        <a:pt x="2937" y="15943"/>
                      </a:cubicBezTo>
                      <a:cubicBezTo>
                        <a:pt x="6645" y="19412"/>
                        <a:pt x="12446" y="19233"/>
                        <a:pt x="15916" y="15525"/>
                      </a:cubicBezTo>
                      <a:cubicBezTo>
                        <a:pt x="19384" y="11817"/>
                        <a:pt x="19145" y="6015"/>
                        <a:pt x="15437" y="2487"/>
                      </a:cubicBezTo>
                      <a:close/>
                    </a:path>
                  </a:pathLst>
                </a:custGeom>
                <a:grpFill/>
                <a:ln w="5978" cap="flat">
                  <a:noFill/>
                  <a:prstDash val="solid"/>
                  <a:miter/>
                </a:ln>
              </p:spPr>
              <p:txBody>
                <a:bodyPr rtlCol="0" anchor="ctr"/>
                <a:lstStyle/>
                <a:p>
                  <a:endParaRPr lang="en-GB"/>
                </a:p>
              </p:txBody>
            </p:sp>
          </p:grpSp>
          <p:grpSp>
            <p:nvGrpSpPr>
              <p:cNvPr id="489" name="Graphic 3">
                <a:extLst>
                  <a:ext uri="{FF2B5EF4-FFF2-40B4-BE49-F238E27FC236}">
                    <a16:creationId xmlns:a16="http://schemas.microsoft.com/office/drawing/2014/main" id="{BD183FC4-2289-4E1C-9B33-665DF3FDE57C}"/>
                  </a:ext>
                </a:extLst>
              </p:cNvPr>
              <p:cNvGrpSpPr/>
              <p:nvPr/>
            </p:nvGrpSpPr>
            <p:grpSpPr>
              <a:xfrm>
                <a:off x="6309092" y="1632172"/>
                <a:ext cx="36420" cy="132965"/>
                <a:chOff x="6309092" y="1632172"/>
                <a:chExt cx="36420" cy="132965"/>
              </a:xfrm>
              <a:grpFill/>
            </p:grpSpPr>
            <p:sp>
              <p:nvSpPr>
                <p:cNvPr id="3918" name="Vrije vorm: vorm 3917">
                  <a:extLst>
                    <a:ext uri="{FF2B5EF4-FFF2-40B4-BE49-F238E27FC236}">
                      <a16:creationId xmlns:a16="http://schemas.microsoft.com/office/drawing/2014/main" id="{786A8D14-223A-4B3D-BE6C-B9D1B9CD3E4A}"/>
                    </a:ext>
                  </a:extLst>
                </p:cNvPr>
                <p:cNvSpPr/>
                <p:nvPr/>
              </p:nvSpPr>
              <p:spPr>
                <a:xfrm>
                  <a:off x="6316678" y="1640672"/>
                  <a:ext cx="21291" cy="115906"/>
                </a:xfrm>
                <a:custGeom>
                  <a:avLst/>
                  <a:gdLst>
                    <a:gd name="connsiteX0" fmla="*/ 21292 w 21291"/>
                    <a:gd name="connsiteY0" fmla="*/ 478 h 115906"/>
                    <a:gd name="connsiteX1" fmla="*/ 2990 w 21291"/>
                    <a:gd name="connsiteY1" fmla="*/ 115906 h 115906"/>
                    <a:gd name="connsiteX2" fmla="*/ 0 w 21291"/>
                    <a:gd name="connsiteY2" fmla="*/ 115428 h 115906"/>
                    <a:gd name="connsiteX3" fmla="*/ 18241 w 21291"/>
                    <a:gd name="connsiteY3" fmla="*/ 0 h 115906"/>
                  </a:gdLst>
                  <a:ahLst/>
                  <a:cxnLst>
                    <a:cxn ang="0">
                      <a:pos x="connsiteX0" y="connsiteY0"/>
                    </a:cxn>
                    <a:cxn ang="0">
                      <a:pos x="connsiteX1" y="connsiteY1"/>
                    </a:cxn>
                    <a:cxn ang="0">
                      <a:pos x="connsiteX2" y="connsiteY2"/>
                    </a:cxn>
                    <a:cxn ang="0">
                      <a:pos x="connsiteX3" y="connsiteY3"/>
                    </a:cxn>
                  </a:cxnLst>
                  <a:rect l="l" t="t" r="r" b="b"/>
                  <a:pathLst>
                    <a:path w="21291" h="115906">
                      <a:moveTo>
                        <a:pt x="21292" y="478"/>
                      </a:moveTo>
                      <a:lnTo>
                        <a:pt x="2990" y="115906"/>
                      </a:lnTo>
                      <a:lnTo>
                        <a:pt x="0" y="115428"/>
                      </a:lnTo>
                      <a:lnTo>
                        <a:pt x="18241" y="0"/>
                      </a:lnTo>
                      <a:close/>
                    </a:path>
                  </a:pathLst>
                </a:custGeom>
                <a:grpFill/>
                <a:ln w="5978" cap="flat">
                  <a:noFill/>
                  <a:prstDash val="solid"/>
                  <a:miter/>
                </a:ln>
              </p:spPr>
              <p:txBody>
                <a:bodyPr rtlCol="0" anchor="ctr"/>
                <a:lstStyle/>
                <a:p>
                  <a:endParaRPr lang="en-GB"/>
                </a:p>
              </p:txBody>
            </p:sp>
            <p:sp>
              <p:nvSpPr>
                <p:cNvPr id="3919" name="Vrije vorm: vorm 3918">
                  <a:extLst>
                    <a:ext uri="{FF2B5EF4-FFF2-40B4-BE49-F238E27FC236}">
                      <a16:creationId xmlns:a16="http://schemas.microsoft.com/office/drawing/2014/main" id="{A9C0D924-17CA-49FD-A799-49C309C874B3}"/>
                    </a:ext>
                  </a:extLst>
                </p:cNvPr>
                <p:cNvSpPr/>
                <p:nvPr/>
              </p:nvSpPr>
              <p:spPr>
                <a:xfrm>
                  <a:off x="6327214" y="1632172"/>
                  <a:ext cx="18298" cy="18434"/>
                </a:xfrm>
                <a:custGeom>
                  <a:avLst/>
                  <a:gdLst>
                    <a:gd name="connsiteX0" fmla="*/ 111 w 18298"/>
                    <a:gd name="connsiteY0" fmla="*/ 7722 h 18434"/>
                    <a:gd name="connsiteX1" fmla="*/ 10577 w 18298"/>
                    <a:gd name="connsiteY1" fmla="*/ 126 h 18434"/>
                    <a:gd name="connsiteX2" fmla="*/ 18172 w 18298"/>
                    <a:gd name="connsiteY2" fmla="*/ 10712 h 18434"/>
                    <a:gd name="connsiteX3" fmla="*/ 7706 w 18298"/>
                    <a:gd name="connsiteY3" fmla="*/ 18308 h 18434"/>
                    <a:gd name="connsiteX4" fmla="*/ 111 w 1829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4">
                      <a:moveTo>
                        <a:pt x="111" y="7722"/>
                      </a:moveTo>
                      <a:cubicBezTo>
                        <a:pt x="888" y="2698"/>
                        <a:pt x="5613" y="-711"/>
                        <a:pt x="10577" y="126"/>
                      </a:cubicBezTo>
                      <a:cubicBezTo>
                        <a:pt x="15601" y="964"/>
                        <a:pt x="19009" y="5689"/>
                        <a:pt x="18172" y="10712"/>
                      </a:cubicBezTo>
                      <a:cubicBezTo>
                        <a:pt x="17395" y="15736"/>
                        <a:pt x="12670" y="19145"/>
                        <a:pt x="7706" y="18308"/>
                      </a:cubicBezTo>
                      <a:cubicBezTo>
                        <a:pt x="2742" y="17471"/>
                        <a:pt x="-667" y="12746"/>
                        <a:pt x="111" y="7722"/>
                      </a:cubicBezTo>
                      <a:close/>
                    </a:path>
                  </a:pathLst>
                </a:custGeom>
                <a:grpFill/>
                <a:ln w="5978" cap="flat">
                  <a:noFill/>
                  <a:prstDash val="solid"/>
                  <a:miter/>
                </a:ln>
              </p:spPr>
              <p:txBody>
                <a:bodyPr rtlCol="0" anchor="ctr"/>
                <a:lstStyle/>
                <a:p>
                  <a:endParaRPr lang="en-GB"/>
                </a:p>
              </p:txBody>
            </p:sp>
            <p:sp>
              <p:nvSpPr>
                <p:cNvPr id="3920" name="Vrije vorm: vorm 3919">
                  <a:extLst>
                    <a:ext uri="{FF2B5EF4-FFF2-40B4-BE49-F238E27FC236}">
                      <a16:creationId xmlns:a16="http://schemas.microsoft.com/office/drawing/2014/main" id="{97D8FEEF-0F14-49CF-BEDB-3589CAB77E72}"/>
                    </a:ext>
                  </a:extLst>
                </p:cNvPr>
                <p:cNvSpPr/>
                <p:nvPr/>
              </p:nvSpPr>
              <p:spPr>
                <a:xfrm>
                  <a:off x="6309092" y="1746703"/>
                  <a:ext cx="18282" cy="18434"/>
                </a:xfrm>
                <a:custGeom>
                  <a:avLst/>
                  <a:gdLst>
                    <a:gd name="connsiteX0" fmla="*/ 110 w 18282"/>
                    <a:gd name="connsiteY0" fmla="*/ 7722 h 18434"/>
                    <a:gd name="connsiteX1" fmla="*/ 7706 w 18282"/>
                    <a:gd name="connsiteY1" fmla="*/ 18308 h 18434"/>
                    <a:gd name="connsiteX2" fmla="*/ 18172 w 18282"/>
                    <a:gd name="connsiteY2" fmla="*/ 10712 h 18434"/>
                    <a:gd name="connsiteX3" fmla="*/ 10577 w 18282"/>
                    <a:gd name="connsiteY3" fmla="*/ 126 h 18434"/>
                    <a:gd name="connsiteX4" fmla="*/ 110 w 18282"/>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34">
                      <a:moveTo>
                        <a:pt x="110" y="7722"/>
                      </a:moveTo>
                      <a:cubicBezTo>
                        <a:pt x="-667" y="12746"/>
                        <a:pt x="2742" y="17471"/>
                        <a:pt x="7706" y="18308"/>
                      </a:cubicBezTo>
                      <a:cubicBezTo>
                        <a:pt x="12730" y="19145"/>
                        <a:pt x="17395" y="15736"/>
                        <a:pt x="18172" y="10712"/>
                      </a:cubicBezTo>
                      <a:cubicBezTo>
                        <a:pt x="18950" y="5689"/>
                        <a:pt x="15541" y="964"/>
                        <a:pt x="10577" y="126"/>
                      </a:cubicBezTo>
                      <a:cubicBezTo>
                        <a:pt x="5613" y="-711"/>
                        <a:pt x="888" y="2698"/>
                        <a:pt x="110" y="7722"/>
                      </a:cubicBezTo>
                      <a:close/>
                    </a:path>
                  </a:pathLst>
                </a:custGeom>
                <a:grpFill/>
                <a:ln w="5978" cap="flat">
                  <a:noFill/>
                  <a:prstDash val="solid"/>
                  <a:miter/>
                </a:ln>
              </p:spPr>
              <p:txBody>
                <a:bodyPr rtlCol="0" anchor="ctr"/>
                <a:lstStyle/>
                <a:p>
                  <a:endParaRPr lang="en-GB"/>
                </a:p>
              </p:txBody>
            </p:sp>
          </p:grpSp>
          <p:grpSp>
            <p:nvGrpSpPr>
              <p:cNvPr id="490" name="Graphic 3">
                <a:extLst>
                  <a:ext uri="{FF2B5EF4-FFF2-40B4-BE49-F238E27FC236}">
                    <a16:creationId xmlns:a16="http://schemas.microsoft.com/office/drawing/2014/main" id="{EA52E30F-134D-43D8-A3AF-B21B53129638}"/>
                  </a:ext>
                </a:extLst>
              </p:cNvPr>
              <p:cNvGrpSpPr/>
              <p:nvPr/>
            </p:nvGrpSpPr>
            <p:grpSpPr>
              <a:xfrm>
                <a:off x="6259079" y="1393244"/>
                <a:ext cx="48035" cy="264670"/>
                <a:chOff x="6259079" y="1393244"/>
                <a:chExt cx="48035" cy="264670"/>
              </a:xfrm>
              <a:grpFill/>
            </p:grpSpPr>
            <p:sp>
              <p:nvSpPr>
                <p:cNvPr id="3915" name="Vrije vorm: vorm 3914">
                  <a:extLst>
                    <a:ext uri="{FF2B5EF4-FFF2-40B4-BE49-F238E27FC236}">
                      <a16:creationId xmlns:a16="http://schemas.microsoft.com/office/drawing/2014/main" id="{AB58EBDF-EDDF-4475-AA09-64D388639E8C}"/>
                    </a:ext>
                  </a:extLst>
                </p:cNvPr>
                <p:cNvSpPr/>
                <p:nvPr/>
              </p:nvSpPr>
              <p:spPr>
                <a:xfrm>
                  <a:off x="6266680" y="1401861"/>
                  <a:ext cx="32834" cy="247482"/>
                </a:xfrm>
                <a:custGeom>
                  <a:avLst/>
                  <a:gdLst>
                    <a:gd name="connsiteX0" fmla="*/ 32834 w 32834"/>
                    <a:gd name="connsiteY0" fmla="*/ 359 h 247482"/>
                    <a:gd name="connsiteX1" fmla="*/ 3050 w 32834"/>
                    <a:gd name="connsiteY1" fmla="*/ 247482 h 247482"/>
                    <a:gd name="connsiteX2" fmla="*/ 0 w 32834"/>
                    <a:gd name="connsiteY2" fmla="*/ 247123 h 247482"/>
                    <a:gd name="connsiteX3" fmla="*/ 29784 w 32834"/>
                    <a:gd name="connsiteY3" fmla="*/ 0 h 247482"/>
                  </a:gdLst>
                  <a:ahLst/>
                  <a:cxnLst>
                    <a:cxn ang="0">
                      <a:pos x="connsiteX0" y="connsiteY0"/>
                    </a:cxn>
                    <a:cxn ang="0">
                      <a:pos x="connsiteX1" y="connsiteY1"/>
                    </a:cxn>
                    <a:cxn ang="0">
                      <a:pos x="connsiteX2" y="connsiteY2"/>
                    </a:cxn>
                    <a:cxn ang="0">
                      <a:pos x="connsiteX3" y="connsiteY3"/>
                    </a:cxn>
                  </a:cxnLst>
                  <a:rect l="l" t="t" r="r" b="b"/>
                  <a:pathLst>
                    <a:path w="32834" h="247482">
                      <a:moveTo>
                        <a:pt x="32834" y="359"/>
                      </a:moveTo>
                      <a:lnTo>
                        <a:pt x="3050" y="247482"/>
                      </a:lnTo>
                      <a:lnTo>
                        <a:pt x="0" y="247123"/>
                      </a:lnTo>
                      <a:lnTo>
                        <a:pt x="29784" y="0"/>
                      </a:lnTo>
                      <a:close/>
                    </a:path>
                  </a:pathLst>
                </a:custGeom>
                <a:grpFill/>
                <a:ln w="5978" cap="flat">
                  <a:noFill/>
                  <a:prstDash val="solid"/>
                  <a:miter/>
                </a:ln>
              </p:spPr>
              <p:txBody>
                <a:bodyPr rtlCol="0" anchor="ctr"/>
                <a:lstStyle/>
                <a:p>
                  <a:endParaRPr lang="en-GB"/>
                </a:p>
              </p:txBody>
            </p:sp>
            <p:sp>
              <p:nvSpPr>
                <p:cNvPr id="3916" name="Vrije vorm: vorm 3915">
                  <a:extLst>
                    <a:ext uri="{FF2B5EF4-FFF2-40B4-BE49-F238E27FC236}">
                      <a16:creationId xmlns:a16="http://schemas.microsoft.com/office/drawing/2014/main" id="{00CF298B-4719-4A6A-9880-28D57E8F8061}"/>
                    </a:ext>
                  </a:extLst>
                </p:cNvPr>
                <p:cNvSpPr/>
                <p:nvPr/>
              </p:nvSpPr>
              <p:spPr>
                <a:xfrm>
                  <a:off x="6288743" y="1393244"/>
                  <a:ext cx="18371" cy="18431"/>
                </a:xfrm>
                <a:custGeom>
                  <a:avLst/>
                  <a:gdLst>
                    <a:gd name="connsiteX0" fmla="*/ 65 w 18371"/>
                    <a:gd name="connsiteY0" fmla="*/ 8079 h 18431"/>
                    <a:gd name="connsiteX1" fmla="*/ 10292 w 18371"/>
                    <a:gd name="connsiteY1" fmla="*/ 65 h 18431"/>
                    <a:gd name="connsiteX2" fmla="*/ 18306 w 18371"/>
                    <a:gd name="connsiteY2" fmla="*/ 10352 h 18431"/>
                    <a:gd name="connsiteX3" fmla="*/ 8079 w 18371"/>
                    <a:gd name="connsiteY3" fmla="*/ 18366 h 18431"/>
                    <a:gd name="connsiteX4" fmla="*/ 65 w 18371"/>
                    <a:gd name="connsiteY4" fmla="*/ 807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31">
                      <a:moveTo>
                        <a:pt x="65" y="8079"/>
                      </a:moveTo>
                      <a:cubicBezTo>
                        <a:pt x="663" y="3055"/>
                        <a:pt x="5268" y="-533"/>
                        <a:pt x="10292" y="65"/>
                      </a:cubicBezTo>
                      <a:cubicBezTo>
                        <a:pt x="15316" y="723"/>
                        <a:pt x="18905" y="5328"/>
                        <a:pt x="18306" y="10352"/>
                      </a:cubicBezTo>
                      <a:cubicBezTo>
                        <a:pt x="17708" y="15376"/>
                        <a:pt x="13103" y="18964"/>
                        <a:pt x="8079" y="18366"/>
                      </a:cubicBezTo>
                      <a:cubicBezTo>
                        <a:pt x="3055" y="17768"/>
                        <a:pt x="-533" y="13163"/>
                        <a:pt x="65" y="8079"/>
                      </a:cubicBezTo>
                      <a:close/>
                    </a:path>
                  </a:pathLst>
                </a:custGeom>
                <a:grpFill/>
                <a:ln w="5978" cap="flat">
                  <a:noFill/>
                  <a:prstDash val="solid"/>
                  <a:miter/>
                </a:ln>
              </p:spPr>
              <p:txBody>
                <a:bodyPr rtlCol="0" anchor="ctr"/>
                <a:lstStyle/>
                <a:p>
                  <a:endParaRPr lang="en-GB"/>
                </a:p>
              </p:txBody>
            </p:sp>
            <p:sp>
              <p:nvSpPr>
                <p:cNvPr id="3917" name="Vrije vorm: vorm 3916">
                  <a:extLst>
                    <a:ext uri="{FF2B5EF4-FFF2-40B4-BE49-F238E27FC236}">
                      <a16:creationId xmlns:a16="http://schemas.microsoft.com/office/drawing/2014/main" id="{77D5F510-BB05-453E-9CC0-F797339DB02B}"/>
                    </a:ext>
                  </a:extLst>
                </p:cNvPr>
                <p:cNvSpPr/>
                <p:nvPr/>
              </p:nvSpPr>
              <p:spPr>
                <a:xfrm>
                  <a:off x="6259079" y="1639470"/>
                  <a:ext cx="18371" cy="18443"/>
                </a:xfrm>
                <a:custGeom>
                  <a:avLst/>
                  <a:gdLst>
                    <a:gd name="connsiteX0" fmla="*/ 65 w 18371"/>
                    <a:gd name="connsiteY0" fmla="*/ 8079 h 18443"/>
                    <a:gd name="connsiteX1" fmla="*/ 8079 w 18371"/>
                    <a:gd name="connsiteY1" fmla="*/ 18366 h 18443"/>
                    <a:gd name="connsiteX2" fmla="*/ 18307 w 18371"/>
                    <a:gd name="connsiteY2" fmla="*/ 10352 h 18443"/>
                    <a:gd name="connsiteX3" fmla="*/ 10292 w 18371"/>
                    <a:gd name="connsiteY3" fmla="*/ 65 h 18443"/>
                    <a:gd name="connsiteX4" fmla="*/ 65 w 18371"/>
                    <a:gd name="connsiteY4" fmla="*/ 807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3">
                      <a:moveTo>
                        <a:pt x="65" y="8079"/>
                      </a:moveTo>
                      <a:cubicBezTo>
                        <a:pt x="-533" y="13103"/>
                        <a:pt x="3055" y="17708"/>
                        <a:pt x="8079" y="18366"/>
                      </a:cubicBezTo>
                      <a:cubicBezTo>
                        <a:pt x="13103" y="19024"/>
                        <a:pt x="17648" y="15436"/>
                        <a:pt x="18307" y="10352"/>
                      </a:cubicBezTo>
                      <a:cubicBezTo>
                        <a:pt x="18905" y="5328"/>
                        <a:pt x="15316" y="723"/>
                        <a:pt x="10292" y="65"/>
                      </a:cubicBezTo>
                      <a:cubicBezTo>
                        <a:pt x="5268" y="-533"/>
                        <a:pt x="663" y="3055"/>
                        <a:pt x="65" y="8079"/>
                      </a:cubicBezTo>
                      <a:close/>
                    </a:path>
                  </a:pathLst>
                </a:custGeom>
                <a:grpFill/>
                <a:ln w="5978" cap="flat">
                  <a:noFill/>
                  <a:prstDash val="solid"/>
                  <a:miter/>
                </a:ln>
              </p:spPr>
              <p:txBody>
                <a:bodyPr rtlCol="0" anchor="ctr"/>
                <a:lstStyle/>
                <a:p>
                  <a:endParaRPr lang="en-GB"/>
                </a:p>
              </p:txBody>
            </p:sp>
          </p:grpSp>
          <p:grpSp>
            <p:nvGrpSpPr>
              <p:cNvPr id="491" name="Graphic 3">
                <a:extLst>
                  <a:ext uri="{FF2B5EF4-FFF2-40B4-BE49-F238E27FC236}">
                    <a16:creationId xmlns:a16="http://schemas.microsoft.com/office/drawing/2014/main" id="{238D3CCA-CAC6-49CE-8760-9BECEE57D7C2}"/>
                  </a:ext>
                </a:extLst>
              </p:cNvPr>
              <p:cNvGrpSpPr/>
              <p:nvPr/>
            </p:nvGrpSpPr>
            <p:grpSpPr>
              <a:xfrm>
                <a:off x="7288880" y="4815110"/>
                <a:ext cx="324110" cy="364618"/>
                <a:chOff x="7288880" y="4815110"/>
                <a:chExt cx="324110" cy="364618"/>
              </a:xfrm>
              <a:grpFill/>
            </p:grpSpPr>
            <p:sp>
              <p:nvSpPr>
                <p:cNvPr id="3912" name="Vrije vorm: vorm 3911">
                  <a:extLst>
                    <a:ext uri="{FF2B5EF4-FFF2-40B4-BE49-F238E27FC236}">
                      <a16:creationId xmlns:a16="http://schemas.microsoft.com/office/drawing/2014/main" id="{A7F46826-0BEE-46D8-AD6B-0AA8EAEC3AA9}"/>
                    </a:ext>
                  </a:extLst>
                </p:cNvPr>
                <p:cNvSpPr/>
                <p:nvPr/>
              </p:nvSpPr>
              <p:spPr>
                <a:xfrm>
                  <a:off x="7296620" y="4823014"/>
                  <a:ext cx="308665" cy="348915"/>
                </a:xfrm>
                <a:custGeom>
                  <a:avLst/>
                  <a:gdLst>
                    <a:gd name="connsiteX0" fmla="*/ 308666 w 308665"/>
                    <a:gd name="connsiteY0" fmla="*/ 346882 h 348915"/>
                    <a:gd name="connsiteX1" fmla="*/ 306393 w 308665"/>
                    <a:gd name="connsiteY1" fmla="*/ 348915 h 348915"/>
                    <a:gd name="connsiteX2" fmla="*/ 0 w 308665"/>
                    <a:gd name="connsiteY2" fmla="*/ 2033 h 348915"/>
                    <a:gd name="connsiteX3" fmla="*/ 2273 w 308665"/>
                    <a:gd name="connsiteY3" fmla="*/ 0 h 348915"/>
                  </a:gdLst>
                  <a:ahLst/>
                  <a:cxnLst>
                    <a:cxn ang="0">
                      <a:pos x="connsiteX0" y="connsiteY0"/>
                    </a:cxn>
                    <a:cxn ang="0">
                      <a:pos x="connsiteX1" y="connsiteY1"/>
                    </a:cxn>
                    <a:cxn ang="0">
                      <a:pos x="connsiteX2" y="connsiteY2"/>
                    </a:cxn>
                    <a:cxn ang="0">
                      <a:pos x="connsiteX3" y="connsiteY3"/>
                    </a:cxn>
                  </a:cxnLst>
                  <a:rect l="l" t="t" r="r" b="b"/>
                  <a:pathLst>
                    <a:path w="308665" h="348915">
                      <a:moveTo>
                        <a:pt x="308666" y="346882"/>
                      </a:moveTo>
                      <a:lnTo>
                        <a:pt x="306393" y="348915"/>
                      </a:lnTo>
                      <a:lnTo>
                        <a:pt x="0" y="2033"/>
                      </a:lnTo>
                      <a:lnTo>
                        <a:pt x="2273" y="0"/>
                      </a:lnTo>
                      <a:close/>
                    </a:path>
                  </a:pathLst>
                </a:custGeom>
                <a:grpFill/>
                <a:ln w="5978" cap="flat">
                  <a:noFill/>
                  <a:prstDash val="solid"/>
                  <a:miter/>
                </a:ln>
              </p:spPr>
              <p:txBody>
                <a:bodyPr rtlCol="0" anchor="ctr"/>
                <a:lstStyle/>
                <a:p>
                  <a:endParaRPr lang="en-GB"/>
                </a:p>
              </p:txBody>
            </p:sp>
            <p:sp>
              <p:nvSpPr>
                <p:cNvPr id="3913" name="Vrije vorm: vorm 3912">
                  <a:extLst>
                    <a:ext uri="{FF2B5EF4-FFF2-40B4-BE49-F238E27FC236}">
                      <a16:creationId xmlns:a16="http://schemas.microsoft.com/office/drawing/2014/main" id="{DA96A4B9-772D-4FF0-BAB1-8056C984B0B9}"/>
                    </a:ext>
                  </a:extLst>
                </p:cNvPr>
                <p:cNvSpPr/>
                <p:nvPr/>
              </p:nvSpPr>
              <p:spPr>
                <a:xfrm>
                  <a:off x="7594714" y="5161333"/>
                  <a:ext cx="18277" cy="18394"/>
                </a:xfrm>
                <a:custGeom>
                  <a:avLst/>
                  <a:gdLst>
                    <a:gd name="connsiteX0" fmla="*/ 15953 w 18277"/>
                    <a:gd name="connsiteY0" fmla="*/ 3119 h 18394"/>
                    <a:gd name="connsiteX1" fmla="*/ 15236 w 18277"/>
                    <a:gd name="connsiteY1" fmla="*/ 16097 h 18394"/>
                    <a:gd name="connsiteX2" fmla="*/ 2318 w 18277"/>
                    <a:gd name="connsiteY2" fmla="*/ 15320 h 18394"/>
                    <a:gd name="connsiteX3" fmla="*/ 3095 w 18277"/>
                    <a:gd name="connsiteY3" fmla="*/ 2342 h 18394"/>
                    <a:gd name="connsiteX4" fmla="*/ 15953 w 18277"/>
                    <a:gd name="connsiteY4" fmla="*/ 311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394">
                      <a:moveTo>
                        <a:pt x="15953" y="3119"/>
                      </a:moveTo>
                      <a:cubicBezTo>
                        <a:pt x="19303" y="6947"/>
                        <a:pt x="19004" y="12748"/>
                        <a:pt x="15236" y="16097"/>
                      </a:cubicBezTo>
                      <a:cubicBezTo>
                        <a:pt x="11468" y="19447"/>
                        <a:pt x="5667" y="19088"/>
                        <a:pt x="2318" y="15320"/>
                      </a:cubicBezTo>
                      <a:cubicBezTo>
                        <a:pt x="-1032" y="11492"/>
                        <a:pt x="-732" y="5691"/>
                        <a:pt x="3095" y="2342"/>
                      </a:cubicBezTo>
                      <a:cubicBezTo>
                        <a:pt x="6803" y="-1067"/>
                        <a:pt x="12605" y="-708"/>
                        <a:pt x="15953" y="3119"/>
                      </a:cubicBezTo>
                      <a:close/>
                    </a:path>
                  </a:pathLst>
                </a:custGeom>
                <a:grpFill/>
                <a:ln w="5978" cap="flat">
                  <a:noFill/>
                  <a:prstDash val="solid"/>
                  <a:miter/>
                </a:ln>
              </p:spPr>
              <p:txBody>
                <a:bodyPr rtlCol="0" anchor="ctr"/>
                <a:lstStyle/>
                <a:p>
                  <a:endParaRPr lang="en-GB"/>
                </a:p>
              </p:txBody>
            </p:sp>
            <p:sp>
              <p:nvSpPr>
                <p:cNvPr id="3914" name="Vrije vorm: vorm 3913">
                  <a:extLst>
                    <a:ext uri="{FF2B5EF4-FFF2-40B4-BE49-F238E27FC236}">
                      <a16:creationId xmlns:a16="http://schemas.microsoft.com/office/drawing/2014/main" id="{38BCCC7C-305F-415D-9380-0609BBADB4DF}"/>
                    </a:ext>
                  </a:extLst>
                </p:cNvPr>
                <p:cNvSpPr/>
                <p:nvPr/>
              </p:nvSpPr>
              <p:spPr>
                <a:xfrm>
                  <a:off x="7288880" y="4815110"/>
                  <a:ext cx="18334" cy="18438"/>
                </a:xfrm>
                <a:custGeom>
                  <a:avLst/>
                  <a:gdLst>
                    <a:gd name="connsiteX0" fmla="*/ 15993 w 18334"/>
                    <a:gd name="connsiteY0" fmla="*/ 3119 h 18438"/>
                    <a:gd name="connsiteX1" fmla="*/ 3075 w 18334"/>
                    <a:gd name="connsiteY1" fmla="*/ 2341 h 18438"/>
                    <a:gd name="connsiteX2" fmla="*/ 2297 w 18334"/>
                    <a:gd name="connsiteY2" fmla="*/ 15320 h 18438"/>
                    <a:gd name="connsiteX3" fmla="*/ 15215 w 18334"/>
                    <a:gd name="connsiteY3" fmla="*/ 16097 h 18438"/>
                    <a:gd name="connsiteX4" fmla="*/ 15993 w 18334"/>
                    <a:gd name="connsiteY4" fmla="*/ 311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8">
                      <a:moveTo>
                        <a:pt x="15993" y="3119"/>
                      </a:moveTo>
                      <a:cubicBezTo>
                        <a:pt x="12644" y="-708"/>
                        <a:pt x="6843" y="-1067"/>
                        <a:pt x="3075" y="2341"/>
                      </a:cubicBezTo>
                      <a:cubicBezTo>
                        <a:pt x="-693" y="5691"/>
                        <a:pt x="-1052" y="11552"/>
                        <a:pt x="2297" y="15320"/>
                      </a:cubicBezTo>
                      <a:cubicBezTo>
                        <a:pt x="5646" y="19147"/>
                        <a:pt x="11447" y="19506"/>
                        <a:pt x="15215" y="16097"/>
                      </a:cubicBezTo>
                      <a:cubicBezTo>
                        <a:pt x="19043" y="12748"/>
                        <a:pt x="19402" y="6947"/>
                        <a:pt x="15993" y="3119"/>
                      </a:cubicBezTo>
                      <a:close/>
                    </a:path>
                  </a:pathLst>
                </a:custGeom>
                <a:grpFill/>
                <a:ln w="5978" cap="flat">
                  <a:noFill/>
                  <a:prstDash val="solid"/>
                  <a:miter/>
                </a:ln>
              </p:spPr>
              <p:txBody>
                <a:bodyPr rtlCol="0" anchor="ctr"/>
                <a:lstStyle/>
                <a:p>
                  <a:endParaRPr lang="en-GB"/>
                </a:p>
              </p:txBody>
            </p:sp>
          </p:grpSp>
          <p:grpSp>
            <p:nvGrpSpPr>
              <p:cNvPr id="492" name="Graphic 3">
                <a:extLst>
                  <a:ext uri="{FF2B5EF4-FFF2-40B4-BE49-F238E27FC236}">
                    <a16:creationId xmlns:a16="http://schemas.microsoft.com/office/drawing/2014/main" id="{E7FA0548-59BB-450C-92F6-FD885025997D}"/>
                  </a:ext>
                </a:extLst>
              </p:cNvPr>
              <p:cNvGrpSpPr/>
              <p:nvPr/>
            </p:nvGrpSpPr>
            <p:grpSpPr>
              <a:xfrm>
                <a:off x="7192317" y="4659088"/>
                <a:ext cx="421040" cy="520411"/>
                <a:chOff x="7192317" y="4659088"/>
                <a:chExt cx="421040" cy="520411"/>
              </a:xfrm>
              <a:grpFill/>
            </p:grpSpPr>
            <p:sp>
              <p:nvSpPr>
                <p:cNvPr id="3909" name="Vrije vorm: vorm 3908">
                  <a:extLst>
                    <a:ext uri="{FF2B5EF4-FFF2-40B4-BE49-F238E27FC236}">
                      <a16:creationId xmlns:a16="http://schemas.microsoft.com/office/drawing/2014/main" id="{9086AA2A-0D89-4A8F-990D-0C413E3039E5}"/>
                    </a:ext>
                  </a:extLst>
                </p:cNvPr>
                <p:cNvSpPr/>
                <p:nvPr/>
              </p:nvSpPr>
              <p:spPr>
                <a:xfrm>
                  <a:off x="7200032" y="4667036"/>
                  <a:ext cx="405612" cy="504533"/>
                </a:xfrm>
                <a:custGeom>
                  <a:avLst/>
                  <a:gdLst>
                    <a:gd name="connsiteX0" fmla="*/ 405612 w 405612"/>
                    <a:gd name="connsiteY0" fmla="*/ 502620 h 504533"/>
                    <a:gd name="connsiteX1" fmla="*/ 403220 w 405612"/>
                    <a:gd name="connsiteY1" fmla="*/ 504534 h 504533"/>
                    <a:gd name="connsiteX2" fmla="*/ 0 w 405612"/>
                    <a:gd name="connsiteY2" fmla="*/ 1914 h 504533"/>
                    <a:gd name="connsiteX3" fmla="*/ 2333 w 405612"/>
                    <a:gd name="connsiteY3" fmla="*/ 0 h 504533"/>
                  </a:gdLst>
                  <a:ahLst/>
                  <a:cxnLst>
                    <a:cxn ang="0">
                      <a:pos x="connsiteX0" y="connsiteY0"/>
                    </a:cxn>
                    <a:cxn ang="0">
                      <a:pos x="connsiteX1" y="connsiteY1"/>
                    </a:cxn>
                    <a:cxn ang="0">
                      <a:pos x="connsiteX2" y="connsiteY2"/>
                    </a:cxn>
                    <a:cxn ang="0">
                      <a:pos x="connsiteX3" y="connsiteY3"/>
                    </a:cxn>
                  </a:cxnLst>
                  <a:rect l="l" t="t" r="r" b="b"/>
                  <a:pathLst>
                    <a:path w="405612" h="504533">
                      <a:moveTo>
                        <a:pt x="405612" y="502620"/>
                      </a:moveTo>
                      <a:lnTo>
                        <a:pt x="403220" y="504534"/>
                      </a:lnTo>
                      <a:lnTo>
                        <a:pt x="0" y="1914"/>
                      </a:lnTo>
                      <a:lnTo>
                        <a:pt x="2333" y="0"/>
                      </a:lnTo>
                      <a:close/>
                    </a:path>
                  </a:pathLst>
                </a:custGeom>
                <a:grpFill/>
                <a:ln w="5978" cap="flat">
                  <a:noFill/>
                  <a:prstDash val="solid"/>
                  <a:miter/>
                </a:ln>
              </p:spPr>
              <p:txBody>
                <a:bodyPr rtlCol="0" anchor="ctr"/>
                <a:lstStyle/>
                <a:p>
                  <a:endParaRPr lang="en-GB"/>
                </a:p>
              </p:txBody>
            </p:sp>
            <p:sp>
              <p:nvSpPr>
                <p:cNvPr id="3910" name="Vrije vorm: vorm 3909">
                  <a:extLst>
                    <a:ext uri="{FF2B5EF4-FFF2-40B4-BE49-F238E27FC236}">
                      <a16:creationId xmlns:a16="http://schemas.microsoft.com/office/drawing/2014/main" id="{B9C30CFE-748D-432B-98BF-51FEE855A115}"/>
                    </a:ext>
                  </a:extLst>
                </p:cNvPr>
                <p:cNvSpPr/>
                <p:nvPr/>
              </p:nvSpPr>
              <p:spPr>
                <a:xfrm>
                  <a:off x="7192317" y="4659088"/>
                  <a:ext cx="18358" cy="18468"/>
                </a:xfrm>
                <a:custGeom>
                  <a:avLst/>
                  <a:gdLst>
                    <a:gd name="connsiteX0" fmla="*/ 2032 w 18358"/>
                    <a:gd name="connsiteY0" fmla="*/ 15006 h 18468"/>
                    <a:gd name="connsiteX1" fmla="*/ 3408 w 18358"/>
                    <a:gd name="connsiteY1" fmla="*/ 2028 h 18468"/>
                    <a:gd name="connsiteX2" fmla="*/ 16326 w 18358"/>
                    <a:gd name="connsiteY2" fmla="*/ 3463 h 18468"/>
                    <a:gd name="connsiteX3" fmla="*/ 14951 w 18358"/>
                    <a:gd name="connsiteY3" fmla="*/ 16441 h 18468"/>
                    <a:gd name="connsiteX4" fmla="*/ 2032 w 18358"/>
                    <a:gd name="connsiteY4" fmla="*/ 1500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68">
                      <a:moveTo>
                        <a:pt x="2032" y="15006"/>
                      </a:moveTo>
                      <a:cubicBezTo>
                        <a:pt x="-1138" y="11058"/>
                        <a:pt x="-539" y="5257"/>
                        <a:pt x="3408" y="2028"/>
                      </a:cubicBezTo>
                      <a:cubicBezTo>
                        <a:pt x="7355" y="-1142"/>
                        <a:pt x="13096" y="-544"/>
                        <a:pt x="16326" y="3463"/>
                      </a:cubicBezTo>
                      <a:cubicBezTo>
                        <a:pt x="19496" y="7410"/>
                        <a:pt x="18898" y="13212"/>
                        <a:pt x="14951" y="16441"/>
                      </a:cubicBezTo>
                      <a:cubicBezTo>
                        <a:pt x="11003" y="19611"/>
                        <a:pt x="5262" y="19013"/>
                        <a:pt x="2032" y="15006"/>
                      </a:cubicBezTo>
                      <a:close/>
                    </a:path>
                  </a:pathLst>
                </a:custGeom>
                <a:grpFill/>
                <a:ln w="5978" cap="flat">
                  <a:noFill/>
                  <a:prstDash val="solid"/>
                  <a:miter/>
                </a:ln>
              </p:spPr>
              <p:txBody>
                <a:bodyPr rtlCol="0" anchor="ctr"/>
                <a:lstStyle/>
                <a:p>
                  <a:endParaRPr lang="en-GB"/>
                </a:p>
              </p:txBody>
            </p:sp>
            <p:sp>
              <p:nvSpPr>
                <p:cNvPr id="3911" name="Vrije vorm: vorm 3910">
                  <a:extLst>
                    <a:ext uri="{FF2B5EF4-FFF2-40B4-BE49-F238E27FC236}">
                      <a16:creationId xmlns:a16="http://schemas.microsoft.com/office/drawing/2014/main" id="{FE5B76D5-8AF4-4A24-8FD7-E8F0AB9E0FF5}"/>
                    </a:ext>
                  </a:extLst>
                </p:cNvPr>
                <p:cNvSpPr/>
                <p:nvPr/>
              </p:nvSpPr>
              <p:spPr>
                <a:xfrm>
                  <a:off x="7594999" y="5161068"/>
                  <a:ext cx="18358" cy="18431"/>
                </a:xfrm>
                <a:custGeom>
                  <a:avLst/>
                  <a:gdLst>
                    <a:gd name="connsiteX0" fmla="*/ 2032 w 18358"/>
                    <a:gd name="connsiteY0" fmla="*/ 14987 h 18431"/>
                    <a:gd name="connsiteX1" fmla="*/ 14950 w 18358"/>
                    <a:gd name="connsiteY1" fmla="*/ 16422 h 18431"/>
                    <a:gd name="connsiteX2" fmla="*/ 16326 w 18358"/>
                    <a:gd name="connsiteY2" fmla="*/ 3444 h 18431"/>
                    <a:gd name="connsiteX3" fmla="*/ 3408 w 18358"/>
                    <a:gd name="connsiteY3" fmla="*/ 2009 h 18431"/>
                    <a:gd name="connsiteX4" fmla="*/ 2032 w 18358"/>
                    <a:gd name="connsiteY4" fmla="*/ 14987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31">
                      <a:moveTo>
                        <a:pt x="2032" y="14987"/>
                      </a:moveTo>
                      <a:cubicBezTo>
                        <a:pt x="5202" y="18934"/>
                        <a:pt x="11004" y="19592"/>
                        <a:pt x="14950" y="16422"/>
                      </a:cubicBezTo>
                      <a:cubicBezTo>
                        <a:pt x="18898" y="13253"/>
                        <a:pt x="19496" y="7451"/>
                        <a:pt x="16326" y="3444"/>
                      </a:cubicBezTo>
                      <a:cubicBezTo>
                        <a:pt x="13157" y="-503"/>
                        <a:pt x="7355" y="-1161"/>
                        <a:pt x="3408" y="2009"/>
                      </a:cubicBezTo>
                      <a:cubicBezTo>
                        <a:pt x="-540" y="5178"/>
                        <a:pt x="-1137" y="10980"/>
                        <a:pt x="2032" y="14987"/>
                      </a:cubicBezTo>
                      <a:close/>
                    </a:path>
                  </a:pathLst>
                </a:custGeom>
                <a:grpFill/>
                <a:ln w="5978" cap="flat">
                  <a:noFill/>
                  <a:prstDash val="solid"/>
                  <a:miter/>
                </a:ln>
              </p:spPr>
              <p:txBody>
                <a:bodyPr rtlCol="0" anchor="ctr"/>
                <a:lstStyle/>
                <a:p>
                  <a:endParaRPr lang="en-GB"/>
                </a:p>
              </p:txBody>
            </p:sp>
          </p:grpSp>
          <p:grpSp>
            <p:nvGrpSpPr>
              <p:cNvPr id="493" name="Graphic 3">
                <a:extLst>
                  <a:ext uri="{FF2B5EF4-FFF2-40B4-BE49-F238E27FC236}">
                    <a16:creationId xmlns:a16="http://schemas.microsoft.com/office/drawing/2014/main" id="{5F7EE865-1744-4181-A7B4-A2C4B9150490}"/>
                  </a:ext>
                </a:extLst>
              </p:cNvPr>
              <p:cNvGrpSpPr/>
              <p:nvPr/>
            </p:nvGrpSpPr>
            <p:grpSpPr>
              <a:xfrm>
                <a:off x="6248686" y="1483088"/>
                <a:ext cx="82875" cy="271169"/>
                <a:chOff x="6248686" y="1483088"/>
                <a:chExt cx="82875" cy="271169"/>
              </a:xfrm>
              <a:grpFill/>
            </p:grpSpPr>
            <p:sp>
              <p:nvSpPr>
                <p:cNvPr id="3906" name="Vrije vorm: vorm 3905">
                  <a:extLst>
                    <a:ext uri="{FF2B5EF4-FFF2-40B4-BE49-F238E27FC236}">
                      <a16:creationId xmlns:a16="http://schemas.microsoft.com/office/drawing/2014/main" id="{C5379E1A-0E61-4D0A-AAA1-39ACC24E232E}"/>
                    </a:ext>
                  </a:extLst>
                </p:cNvPr>
                <p:cNvSpPr/>
                <p:nvPr/>
              </p:nvSpPr>
              <p:spPr>
                <a:xfrm>
                  <a:off x="6256273" y="1491453"/>
                  <a:ext cx="67701" cy="254419"/>
                </a:xfrm>
                <a:custGeom>
                  <a:avLst/>
                  <a:gdLst>
                    <a:gd name="connsiteX0" fmla="*/ 67702 w 67701"/>
                    <a:gd name="connsiteY0" fmla="*/ 777 h 254419"/>
                    <a:gd name="connsiteX1" fmla="*/ 2930 w 67701"/>
                    <a:gd name="connsiteY1" fmla="*/ 254420 h 254419"/>
                    <a:gd name="connsiteX2" fmla="*/ 0 w 67701"/>
                    <a:gd name="connsiteY2" fmla="*/ 253642 h 254419"/>
                    <a:gd name="connsiteX3" fmla="*/ 64771 w 67701"/>
                    <a:gd name="connsiteY3" fmla="*/ 0 h 254419"/>
                  </a:gdLst>
                  <a:ahLst/>
                  <a:cxnLst>
                    <a:cxn ang="0">
                      <a:pos x="connsiteX0" y="connsiteY0"/>
                    </a:cxn>
                    <a:cxn ang="0">
                      <a:pos x="connsiteX1" y="connsiteY1"/>
                    </a:cxn>
                    <a:cxn ang="0">
                      <a:pos x="connsiteX2" y="connsiteY2"/>
                    </a:cxn>
                    <a:cxn ang="0">
                      <a:pos x="connsiteX3" y="connsiteY3"/>
                    </a:cxn>
                  </a:cxnLst>
                  <a:rect l="l" t="t" r="r" b="b"/>
                  <a:pathLst>
                    <a:path w="67701" h="254419">
                      <a:moveTo>
                        <a:pt x="67702" y="777"/>
                      </a:moveTo>
                      <a:lnTo>
                        <a:pt x="2930" y="254420"/>
                      </a:lnTo>
                      <a:lnTo>
                        <a:pt x="0" y="253642"/>
                      </a:lnTo>
                      <a:lnTo>
                        <a:pt x="64771" y="0"/>
                      </a:lnTo>
                      <a:close/>
                    </a:path>
                  </a:pathLst>
                </a:custGeom>
                <a:grpFill/>
                <a:ln w="5978" cap="flat">
                  <a:noFill/>
                  <a:prstDash val="solid"/>
                  <a:miter/>
                </a:ln>
              </p:spPr>
              <p:txBody>
                <a:bodyPr rtlCol="0" anchor="ctr"/>
                <a:lstStyle/>
                <a:p>
                  <a:endParaRPr lang="en-GB"/>
                </a:p>
              </p:txBody>
            </p:sp>
            <p:sp>
              <p:nvSpPr>
                <p:cNvPr id="3907" name="Vrije vorm: vorm 3906">
                  <a:extLst>
                    <a:ext uri="{FF2B5EF4-FFF2-40B4-BE49-F238E27FC236}">
                      <a16:creationId xmlns:a16="http://schemas.microsoft.com/office/drawing/2014/main" id="{468436AF-BE2B-42CD-9C93-DFB37C64F5EA}"/>
                    </a:ext>
                  </a:extLst>
                </p:cNvPr>
                <p:cNvSpPr/>
                <p:nvPr/>
              </p:nvSpPr>
              <p:spPr>
                <a:xfrm>
                  <a:off x="6248686" y="1735813"/>
                  <a:ext cx="18339" cy="18443"/>
                </a:xfrm>
                <a:custGeom>
                  <a:avLst/>
                  <a:gdLst>
                    <a:gd name="connsiteX0" fmla="*/ 18053 w 18339"/>
                    <a:gd name="connsiteY0" fmla="*/ 11554 h 18443"/>
                    <a:gd name="connsiteX1" fmla="*/ 6869 w 18339"/>
                    <a:gd name="connsiteY1" fmla="*/ 18133 h 18443"/>
                    <a:gd name="connsiteX2" fmla="*/ 291 w 18339"/>
                    <a:gd name="connsiteY2" fmla="*/ 6889 h 18443"/>
                    <a:gd name="connsiteX3" fmla="*/ 11415 w 18339"/>
                    <a:gd name="connsiteY3" fmla="*/ 311 h 18443"/>
                    <a:gd name="connsiteX4" fmla="*/ 18053 w 18339"/>
                    <a:gd name="connsiteY4" fmla="*/ 1155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3">
                      <a:moveTo>
                        <a:pt x="18053" y="11554"/>
                      </a:moveTo>
                      <a:cubicBezTo>
                        <a:pt x="16797" y="16459"/>
                        <a:pt x="11773" y="19449"/>
                        <a:pt x="6869" y="18133"/>
                      </a:cubicBezTo>
                      <a:cubicBezTo>
                        <a:pt x="1965" y="16877"/>
                        <a:pt x="-965" y="11794"/>
                        <a:pt x="291" y="6889"/>
                      </a:cubicBezTo>
                      <a:cubicBezTo>
                        <a:pt x="1546" y="1985"/>
                        <a:pt x="6570" y="-1005"/>
                        <a:pt x="11415" y="311"/>
                      </a:cubicBezTo>
                      <a:cubicBezTo>
                        <a:pt x="16319" y="1567"/>
                        <a:pt x="19309" y="6590"/>
                        <a:pt x="18053" y="11554"/>
                      </a:cubicBezTo>
                      <a:close/>
                    </a:path>
                  </a:pathLst>
                </a:custGeom>
                <a:grpFill/>
                <a:ln w="5978" cap="flat">
                  <a:noFill/>
                  <a:prstDash val="solid"/>
                  <a:miter/>
                </a:ln>
              </p:spPr>
              <p:txBody>
                <a:bodyPr rtlCol="0" anchor="ctr"/>
                <a:lstStyle/>
                <a:p>
                  <a:endParaRPr lang="en-GB"/>
                </a:p>
              </p:txBody>
            </p:sp>
            <p:sp>
              <p:nvSpPr>
                <p:cNvPr id="3908" name="Vrije vorm: vorm 3907">
                  <a:extLst>
                    <a:ext uri="{FF2B5EF4-FFF2-40B4-BE49-F238E27FC236}">
                      <a16:creationId xmlns:a16="http://schemas.microsoft.com/office/drawing/2014/main" id="{C05EA309-5F80-4CFE-95DE-A55B1130B268}"/>
                    </a:ext>
                  </a:extLst>
                </p:cNvPr>
                <p:cNvSpPr/>
                <p:nvPr/>
              </p:nvSpPr>
              <p:spPr>
                <a:xfrm>
                  <a:off x="6313278" y="1483088"/>
                  <a:ext cx="18283" cy="18403"/>
                </a:xfrm>
                <a:custGeom>
                  <a:avLst/>
                  <a:gdLst>
                    <a:gd name="connsiteX0" fmla="*/ 17993 w 18283"/>
                    <a:gd name="connsiteY0" fmla="*/ 11534 h 18403"/>
                    <a:gd name="connsiteX1" fmla="*/ 11415 w 18283"/>
                    <a:gd name="connsiteY1" fmla="*/ 291 h 18403"/>
                    <a:gd name="connsiteX2" fmla="*/ 291 w 18283"/>
                    <a:gd name="connsiteY2" fmla="*/ 6869 h 18403"/>
                    <a:gd name="connsiteX3" fmla="*/ 6869 w 18283"/>
                    <a:gd name="connsiteY3" fmla="*/ 18113 h 18403"/>
                    <a:gd name="connsiteX4" fmla="*/ 17993 w 18283"/>
                    <a:gd name="connsiteY4" fmla="*/ 11534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03">
                      <a:moveTo>
                        <a:pt x="17993" y="11534"/>
                      </a:moveTo>
                      <a:cubicBezTo>
                        <a:pt x="19249" y="6630"/>
                        <a:pt x="16319" y="1606"/>
                        <a:pt x="11415" y="291"/>
                      </a:cubicBezTo>
                      <a:cubicBezTo>
                        <a:pt x="6510" y="-965"/>
                        <a:pt x="1546" y="1965"/>
                        <a:pt x="291" y="6869"/>
                      </a:cubicBezTo>
                      <a:cubicBezTo>
                        <a:pt x="-965" y="11774"/>
                        <a:pt x="1965" y="16797"/>
                        <a:pt x="6869" y="18113"/>
                      </a:cubicBezTo>
                      <a:cubicBezTo>
                        <a:pt x="11773" y="19369"/>
                        <a:pt x="16738" y="16439"/>
                        <a:pt x="17993" y="11534"/>
                      </a:cubicBezTo>
                      <a:close/>
                    </a:path>
                  </a:pathLst>
                </a:custGeom>
                <a:grpFill/>
                <a:ln w="5978" cap="flat">
                  <a:noFill/>
                  <a:prstDash val="solid"/>
                  <a:miter/>
                </a:ln>
              </p:spPr>
              <p:txBody>
                <a:bodyPr rtlCol="0" anchor="ctr"/>
                <a:lstStyle/>
                <a:p>
                  <a:endParaRPr lang="en-GB"/>
                </a:p>
              </p:txBody>
            </p:sp>
          </p:grpSp>
          <p:grpSp>
            <p:nvGrpSpPr>
              <p:cNvPr id="494" name="Graphic 3">
                <a:extLst>
                  <a:ext uri="{FF2B5EF4-FFF2-40B4-BE49-F238E27FC236}">
                    <a16:creationId xmlns:a16="http://schemas.microsoft.com/office/drawing/2014/main" id="{E3A99BBF-3950-4E1F-9B4B-B0F7E418F203}"/>
                  </a:ext>
                </a:extLst>
              </p:cNvPr>
              <p:cNvGrpSpPr/>
              <p:nvPr/>
            </p:nvGrpSpPr>
            <p:grpSpPr>
              <a:xfrm>
                <a:off x="7251070" y="4824427"/>
                <a:ext cx="318866" cy="371700"/>
                <a:chOff x="7251070" y="4824427"/>
                <a:chExt cx="318866" cy="371700"/>
              </a:xfrm>
              <a:grpFill/>
            </p:grpSpPr>
            <p:sp>
              <p:nvSpPr>
                <p:cNvPr id="3903" name="Vrije vorm: vorm 3902">
                  <a:extLst>
                    <a:ext uri="{FF2B5EF4-FFF2-40B4-BE49-F238E27FC236}">
                      <a16:creationId xmlns:a16="http://schemas.microsoft.com/office/drawing/2014/main" id="{634791C2-C523-45A8-9736-E48BA3FC617D}"/>
                    </a:ext>
                  </a:extLst>
                </p:cNvPr>
                <p:cNvSpPr/>
                <p:nvPr/>
              </p:nvSpPr>
              <p:spPr>
                <a:xfrm>
                  <a:off x="7258762" y="4832343"/>
                  <a:ext cx="303461" cy="355912"/>
                </a:xfrm>
                <a:custGeom>
                  <a:avLst/>
                  <a:gdLst>
                    <a:gd name="connsiteX0" fmla="*/ 303462 w 303461"/>
                    <a:gd name="connsiteY0" fmla="*/ 353939 h 355912"/>
                    <a:gd name="connsiteX1" fmla="*/ 301129 w 303461"/>
                    <a:gd name="connsiteY1" fmla="*/ 355912 h 355912"/>
                    <a:gd name="connsiteX2" fmla="*/ 0 w 303461"/>
                    <a:gd name="connsiteY2" fmla="*/ 1973 h 355912"/>
                    <a:gd name="connsiteX3" fmla="*/ 2333 w 303461"/>
                    <a:gd name="connsiteY3" fmla="*/ 0 h 355912"/>
                  </a:gdLst>
                  <a:ahLst/>
                  <a:cxnLst>
                    <a:cxn ang="0">
                      <a:pos x="connsiteX0" y="connsiteY0"/>
                    </a:cxn>
                    <a:cxn ang="0">
                      <a:pos x="connsiteX1" y="connsiteY1"/>
                    </a:cxn>
                    <a:cxn ang="0">
                      <a:pos x="connsiteX2" y="connsiteY2"/>
                    </a:cxn>
                    <a:cxn ang="0">
                      <a:pos x="connsiteX3" y="connsiteY3"/>
                    </a:cxn>
                  </a:cxnLst>
                  <a:rect l="l" t="t" r="r" b="b"/>
                  <a:pathLst>
                    <a:path w="303461" h="355912">
                      <a:moveTo>
                        <a:pt x="303462" y="353939"/>
                      </a:moveTo>
                      <a:lnTo>
                        <a:pt x="301129" y="355912"/>
                      </a:lnTo>
                      <a:lnTo>
                        <a:pt x="0" y="1973"/>
                      </a:lnTo>
                      <a:lnTo>
                        <a:pt x="2333" y="0"/>
                      </a:lnTo>
                      <a:close/>
                    </a:path>
                  </a:pathLst>
                </a:custGeom>
                <a:grpFill/>
                <a:ln w="5978" cap="flat">
                  <a:noFill/>
                  <a:prstDash val="solid"/>
                  <a:miter/>
                </a:ln>
              </p:spPr>
              <p:txBody>
                <a:bodyPr rtlCol="0" anchor="ctr"/>
                <a:lstStyle/>
                <a:p>
                  <a:endParaRPr lang="en-GB"/>
                </a:p>
              </p:txBody>
            </p:sp>
            <p:sp>
              <p:nvSpPr>
                <p:cNvPr id="3904" name="Vrije vorm: vorm 3903">
                  <a:extLst>
                    <a:ext uri="{FF2B5EF4-FFF2-40B4-BE49-F238E27FC236}">
                      <a16:creationId xmlns:a16="http://schemas.microsoft.com/office/drawing/2014/main" id="{3C382906-66B7-4714-BC8A-67FE6267A460}"/>
                    </a:ext>
                  </a:extLst>
                </p:cNvPr>
                <p:cNvSpPr/>
                <p:nvPr/>
              </p:nvSpPr>
              <p:spPr>
                <a:xfrm>
                  <a:off x="7551581" y="5177709"/>
                  <a:ext cx="18354" cy="18419"/>
                </a:xfrm>
                <a:custGeom>
                  <a:avLst/>
                  <a:gdLst>
                    <a:gd name="connsiteX0" fmla="*/ 16145 w 18354"/>
                    <a:gd name="connsiteY0" fmla="*/ 3251 h 18419"/>
                    <a:gd name="connsiteX1" fmla="*/ 15128 w 18354"/>
                    <a:gd name="connsiteY1" fmla="*/ 16229 h 18419"/>
                    <a:gd name="connsiteX2" fmla="*/ 2210 w 18354"/>
                    <a:gd name="connsiteY2" fmla="*/ 15212 h 18419"/>
                    <a:gd name="connsiteX3" fmla="*/ 3227 w 18354"/>
                    <a:gd name="connsiteY3" fmla="*/ 2234 h 18419"/>
                    <a:gd name="connsiteX4" fmla="*/ 16145 w 18354"/>
                    <a:gd name="connsiteY4" fmla="*/ 325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9">
                      <a:moveTo>
                        <a:pt x="16145" y="3251"/>
                      </a:moveTo>
                      <a:cubicBezTo>
                        <a:pt x="19434" y="7139"/>
                        <a:pt x="19016" y="12940"/>
                        <a:pt x="15128" y="16229"/>
                      </a:cubicBezTo>
                      <a:cubicBezTo>
                        <a:pt x="11300" y="19518"/>
                        <a:pt x="5499" y="19040"/>
                        <a:pt x="2210" y="15212"/>
                      </a:cubicBezTo>
                      <a:cubicBezTo>
                        <a:pt x="-1079" y="11325"/>
                        <a:pt x="-661" y="5524"/>
                        <a:pt x="3227" y="2234"/>
                      </a:cubicBezTo>
                      <a:cubicBezTo>
                        <a:pt x="7054" y="-1115"/>
                        <a:pt x="12855" y="-637"/>
                        <a:pt x="16145" y="3251"/>
                      </a:cubicBezTo>
                      <a:close/>
                    </a:path>
                  </a:pathLst>
                </a:custGeom>
                <a:grpFill/>
                <a:ln w="5978" cap="flat">
                  <a:noFill/>
                  <a:prstDash val="solid"/>
                  <a:miter/>
                </a:ln>
              </p:spPr>
              <p:txBody>
                <a:bodyPr rtlCol="0" anchor="ctr"/>
                <a:lstStyle/>
                <a:p>
                  <a:endParaRPr lang="en-GB"/>
                </a:p>
              </p:txBody>
            </p:sp>
            <p:sp>
              <p:nvSpPr>
                <p:cNvPr id="3905" name="Vrije vorm: vorm 3904">
                  <a:extLst>
                    <a:ext uri="{FF2B5EF4-FFF2-40B4-BE49-F238E27FC236}">
                      <a16:creationId xmlns:a16="http://schemas.microsoft.com/office/drawing/2014/main" id="{16686957-CA41-4B66-B87F-614EA7568DDE}"/>
                    </a:ext>
                  </a:extLst>
                </p:cNvPr>
                <p:cNvSpPr/>
                <p:nvPr/>
              </p:nvSpPr>
              <p:spPr>
                <a:xfrm>
                  <a:off x="7251070" y="4824427"/>
                  <a:ext cx="18334" cy="18463"/>
                </a:xfrm>
                <a:custGeom>
                  <a:avLst/>
                  <a:gdLst>
                    <a:gd name="connsiteX0" fmla="*/ 16125 w 18334"/>
                    <a:gd name="connsiteY0" fmla="*/ 3251 h 18463"/>
                    <a:gd name="connsiteX1" fmla="*/ 3207 w 18334"/>
                    <a:gd name="connsiteY1" fmla="*/ 2234 h 18463"/>
                    <a:gd name="connsiteX2" fmla="*/ 2190 w 18334"/>
                    <a:gd name="connsiteY2" fmla="*/ 15212 h 18463"/>
                    <a:gd name="connsiteX3" fmla="*/ 15108 w 18334"/>
                    <a:gd name="connsiteY3" fmla="*/ 16229 h 18463"/>
                    <a:gd name="connsiteX4" fmla="*/ 16125 w 18334"/>
                    <a:gd name="connsiteY4" fmla="*/ 32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3">
                      <a:moveTo>
                        <a:pt x="16125" y="3251"/>
                      </a:moveTo>
                      <a:cubicBezTo>
                        <a:pt x="12836" y="-637"/>
                        <a:pt x="7034" y="-1115"/>
                        <a:pt x="3207" y="2234"/>
                      </a:cubicBezTo>
                      <a:cubicBezTo>
                        <a:pt x="-621" y="5524"/>
                        <a:pt x="-1099" y="11325"/>
                        <a:pt x="2190" y="15212"/>
                      </a:cubicBezTo>
                      <a:cubicBezTo>
                        <a:pt x="5479" y="19100"/>
                        <a:pt x="11280" y="19578"/>
                        <a:pt x="15108" y="16229"/>
                      </a:cubicBezTo>
                      <a:cubicBezTo>
                        <a:pt x="18996" y="12940"/>
                        <a:pt x="19414" y="7139"/>
                        <a:pt x="16125" y="3251"/>
                      </a:cubicBezTo>
                      <a:close/>
                    </a:path>
                  </a:pathLst>
                </a:custGeom>
                <a:grpFill/>
                <a:ln w="5978" cap="flat">
                  <a:noFill/>
                  <a:prstDash val="solid"/>
                  <a:miter/>
                </a:ln>
              </p:spPr>
              <p:txBody>
                <a:bodyPr rtlCol="0" anchor="ctr"/>
                <a:lstStyle/>
                <a:p>
                  <a:endParaRPr lang="en-GB"/>
                </a:p>
              </p:txBody>
            </p:sp>
          </p:grpSp>
          <p:grpSp>
            <p:nvGrpSpPr>
              <p:cNvPr id="495" name="Graphic 3">
                <a:extLst>
                  <a:ext uri="{FF2B5EF4-FFF2-40B4-BE49-F238E27FC236}">
                    <a16:creationId xmlns:a16="http://schemas.microsoft.com/office/drawing/2014/main" id="{71781C4B-35A8-4325-9A2F-A5F6C63BD725}"/>
                  </a:ext>
                </a:extLst>
              </p:cNvPr>
              <p:cNvGrpSpPr/>
              <p:nvPr/>
            </p:nvGrpSpPr>
            <p:grpSpPr>
              <a:xfrm>
                <a:off x="6278489" y="1640564"/>
                <a:ext cx="32123" cy="117722"/>
                <a:chOff x="6278489" y="1640564"/>
                <a:chExt cx="32123" cy="117722"/>
              </a:xfrm>
              <a:grpFill/>
            </p:grpSpPr>
            <p:sp>
              <p:nvSpPr>
                <p:cNvPr id="3900" name="Vrije vorm: vorm 3899">
                  <a:extLst>
                    <a:ext uri="{FF2B5EF4-FFF2-40B4-BE49-F238E27FC236}">
                      <a16:creationId xmlns:a16="http://schemas.microsoft.com/office/drawing/2014/main" id="{14E1DBB1-6B30-44E8-999A-27C9E58C164A}"/>
                    </a:ext>
                  </a:extLst>
                </p:cNvPr>
                <p:cNvSpPr/>
                <p:nvPr/>
              </p:nvSpPr>
              <p:spPr>
                <a:xfrm>
                  <a:off x="6286057" y="1649104"/>
                  <a:ext cx="16985" cy="100655"/>
                </a:xfrm>
                <a:custGeom>
                  <a:avLst/>
                  <a:gdLst>
                    <a:gd name="connsiteX0" fmla="*/ 16985 w 16985"/>
                    <a:gd name="connsiteY0" fmla="*/ 419 h 100655"/>
                    <a:gd name="connsiteX1" fmla="*/ 3050 w 16985"/>
                    <a:gd name="connsiteY1" fmla="*/ 100656 h 100655"/>
                    <a:gd name="connsiteX2" fmla="*/ 0 w 16985"/>
                    <a:gd name="connsiteY2" fmla="*/ 100237 h 100655"/>
                    <a:gd name="connsiteX3" fmla="*/ 13995 w 16985"/>
                    <a:gd name="connsiteY3" fmla="*/ 0 h 100655"/>
                  </a:gdLst>
                  <a:ahLst/>
                  <a:cxnLst>
                    <a:cxn ang="0">
                      <a:pos x="connsiteX0" y="connsiteY0"/>
                    </a:cxn>
                    <a:cxn ang="0">
                      <a:pos x="connsiteX1" y="connsiteY1"/>
                    </a:cxn>
                    <a:cxn ang="0">
                      <a:pos x="connsiteX2" y="connsiteY2"/>
                    </a:cxn>
                    <a:cxn ang="0">
                      <a:pos x="connsiteX3" y="connsiteY3"/>
                    </a:cxn>
                  </a:cxnLst>
                  <a:rect l="l" t="t" r="r" b="b"/>
                  <a:pathLst>
                    <a:path w="16985" h="100655">
                      <a:moveTo>
                        <a:pt x="16985" y="419"/>
                      </a:moveTo>
                      <a:lnTo>
                        <a:pt x="3050" y="100656"/>
                      </a:lnTo>
                      <a:lnTo>
                        <a:pt x="0" y="100237"/>
                      </a:lnTo>
                      <a:lnTo>
                        <a:pt x="13995" y="0"/>
                      </a:lnTo>
                      <a:close/>
                    </a:path>
                  </a:pathLst>
                </a:custGeom>
                <a:grpFill/>
                <a:ln w="5978" cap="flat">
                  <a:noFill/>
                  <a:prstDash val="solid"/>
                  <a:miter/>
                </a:ln>
              </p:spPr>
              <p:txBody>
                <a:bodyPr rtlCol="0" anchor="ctr"/>
                <a:lstStyle/>
                <a:p>
                  <a:endParaRPr lang="en-GB"/>
                </a:p>
              </p:txBody>
            </p:sp>
            <p:sp>
              <p:nvSpPr>
                <p:cNvPr id="3901" name="Vrije vorm: vorm 3900">
                  <a:extLst>
                    <a:ext uri="{FF2B5EF4-FFF2-40B4-BE49-F238E27FC236}">
                      <a16:creationId xmlns:a16="http://schemas.microsoft.com/office/drawing/2014/main" id="{25C0186A-8515-4DC4-9646-7E01A9712730}"/>
                    </a:ext>
                  </a:extLst>
                </p:cNvPr>
                <p:cNvSpPr/>
                <p:nvPr/>
              </p:nvSpPr>
              <p:spPr>
                <a:xfrm>
                  <a:off x="6292317" y="1640564"/>
                  <a:ext cx="18295" cy="18396"/>
                </a:xfrm>
                <a:custGeom>
                  <a:avLst/>
                  <a:gdLst>
                    <a:gd name="connsiteX0" fmla="*/ 80 w 18295"/>
                    <a:gd name="connsiteY0" fmla="*/ 7882 h 18396"/>
                    <a:gd name="connsiteX1" fmla="*/ 10427 w 18295"/>
                    <a:gd name="connsiteY1" fmla="*/ 107 h 18396"/>
                    <a:gd name="connsiteX2" fmla="*/ 18202 w 18295"/>
                    <a:gd name="connsiteY2" fmla="*/ 10514 h 18396"/>
                    <a:gd name="connsiteX3" fmla="*/ 7855 w 18295"/>
                    <a:gd name="connsiteY3" fmla="*/ 18289 h 18396"/>
                    <a:gd name="connsiteX4" fmla="*/ 80 w 18295"/>
                    <a:gd name="connsiteY4" fmla="*/ 788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396">
                      <a:moveTo>
                        <a:pt x="80" y="7882"/>
                      </a:moveTo>
                      <a:cubicBezTo>
                        <a:pt x="798" y="2859"/>
                        <a:pt x="5403" y="-670"/>
                        <a:pt x="10427" y="107"/>
                      </a:cubicBezTo>
                      <a:cubicBezTo>
                        <a:pt x="15451" y="825"/>
                        <a:pt x="18919" y="5490"/>
                        <a:pt x="18202" y="10514"/>
                      </a:cubicBezTo>
                      <a:cubicBezTo>
                        <a:pt x="17484" y="15538"/>
                        <a:pt x="12879" y="19066"/>
                        <a:pt x="7855" y="18289"/>
                      </a:cubicBezTo>
                      <a:cubicBezTo>
                        <a:pt x="2891" y="17571"/>
                        <a:pt x="-578" y="12906"/>
                        <a:pt x="80" y="7882"/>
                      </a:cubicBezTo>
                      <a:close/>
                    </a:path>
                  </a:pathLst>
                </a:custGeom>
                <a:grpFill/>
                <a:ln w="5978" cap="flat">
                  <a:noFill/>
                  <a:prstDash val="solid"/>
                  <a:miter/>
                </a:ln>
              </p:spPr>
              <p:txBody>
                <a:bodyPr rtlCol="0" anchor="ctr"/>
                <a:lstStyle/>
                <a:p>
                  <a:endParaRPr lang="en-GB"/>
                </a:p>
              </p:txBody>
            </p:sp>
            <p:sp>
              <p:nvSpPr>
                <p:cNvPr id="3902" name="Vrije vorm: vorm 3901">
                  <a:extLst>
                    <a:ext uri="{FF2B5EF4-FFF2-40B4-BE49-F238E27FC236}">
                      <a16:creationId xmlns:a16="http://schemas.microsoft.com/office/drawing/2014/main" id="{A3D58F6A-E81A-4C12-A9CB-AAFDC611A29A}"/>
                    </a:ext>
                  </a:extLst>
                </p:cNvPr>
                <p:cNvSpPr/>
                <p:nvPr/>
              </p:nvSpPr>
              <p:spPr>
                <a:xfrm>
                  <a:off x="6278489" y="1739903"/>
                  <a:ext cx="18367" cy="18384"/>
                </a:xfrm>
                <a:custGeom>
                  <a:avLst/>
                  <a:gdLst>
                    <a:gd name="connsiteX0" fmla="*/ 93 w 18367"/>
                    <a:gd name="connsiteY0" fmla="*/ 7884 h 18384"/>
                    <a:gd name="connsiteX1" fmla="*/ 7927 w 18367"/>
                    <a:gd name="connsiteY1" fmla="*/ 18290 h 18384"/>
                    <a:gd name="connsiteX2" fmla="*/ 18274 w 18367"/>
                    <a:gd name="connsiteY2" fmla="*/ 10515 h 18384"/>
                    <a:gd name="connsiteX3" fmla="*/ 10499 w 18367"/>
                    <a:gd name="connsiteY3" fmla="*/ 109 h 18384"/>
                    <a:gd name="connsiteX4" fmla="*/ 93 w 18367"/>
                    <a:gd name="connsiteY4" fmla="*/ 7884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384">
                      <a:moveTo>
                        <a:pt x="93" y="7884"/>
                      </a:moveTo>
                      <a:cubicBezTo>
                        <a:pt x="-625" y="12908"/>
                        <a:pt x="2904" y="17573"/>
                        <a:pt x="7927" y="18290"/>
                      </a:cubicBezTo>
                      <a:cubicBezTo>
                        <a:pt x="12951" y="19008"/>
                        <a:pt x="17557" y="15539"/>
                        <a:pt x="18274" y="10515"/>
                      </a:cubicBezTo>
                      <a:cubicBezTo>
                        <a:pt x="18992" y="5492"/>
                        <a:pt x="15463" y="827"/>
                        <a:pt x="10499" y="109"/>
                      </a:cubicBezTo>
                      <a:cubicBezTo>
                        <a:pt x="5416" y="-669"/>
                        <a:pt x="810" y="2800"/>
                        <a:pt x="93" y="7884"/>
                      </a:cubicBezTo>
                      <a:close/>
                    </a:path>
                  </a:pathLst>
                </a:custGeom>
                <a:grpFill/>
                <a:ln w="5978" cap="flat">
                  <a:noFill/>
                  <a:prstDash val="solid"/>
                  <a:miter/>
                </a:ln>
              </p:spPr>
              <p:txBody>
                <a:bodyPr rtlCol="0" anchor="ctr"/>
                <a:lstStyle/>
                <a:p>
                  <a:endParaRPr lang="en-GB"/>
                </a:p>
              </p:txBody>
            </p:sp>
          </p:grpSp>
          <p:grpSp>
            <p:nvGrpSpPr>
              <p:cNvPr id="496" name="Graphic 3">
                <a:extLst>
                  <a:ext uri="{FF2B5EF4-FFF2-40B4-BE49-F238E27FC236}">
                    <a16:creationId xmlns:a16="http://schemas.microsoft.com/office/drawing/2014/main" id="{86AC4A57-DB40-4E5C-B8D2-51B0E93F731D}"/>
                  </a:ext>
                </a:extLst>
              </p:cNvPr>
              <p:cNvGrpSpPr/>
              <p:nvPr/>
            </p:nvGrpSpPr>
            <p:grpSpPr>
              <a:xfrm>
                <a:off x="7239205" y="4616088"/>
                <a:ext cx="106098" cy="107316"/>
                <a:chOff x="7239205" y="4616088"/>
                <a:chExt cx="106098" cy="107316"/>
              </a:xfrm>
              <a:grpFill/>
            </p:grpSpPr>
            <p:sp>
              <p:nvSpPr>
                <p:cNvPr id="3897" name="Vrije vorm: vorm 3896">
                  <a:extLst>
                    <a:ext uri="{FF2B5EF4-FFF2-40B4-BE49-F238E27FC236}">
                      <a16:creationId xmlns:a16="http://schemas.microsoft.com/office/drawing/2014/main" id="{0566AD6F-7BC1-4588-98F7-03D7BB2F2F7A}"/>
                    </a:ext>
                  </a:extLst>
                </p:cNvPr>
                <p:cNvSpPr/>
                <p:nvPr/>
              </p:nvSpPr>
              <p:spPr>
                <a:xfrm>
                  <a:off x="7246980" y="4623915"/>
                  <a:ext cx="90548" cy="91624"/>
                </a:xfrm>
                <a:custGeom>
                  <a:avLst/>
                  <a:gdLst>
                    <a:gd name="connsiteX0" fmla="*/ 90548 w 90548"/>
                    <a:gd name="connsiteY0" fmla="*/ 89472 h 91624"/>
                    <a:gd name="connsiteX1" fmla="*/ 88395 w 90548"/>
                    <a:gd name="connsiteY1" fmla="*/ 91625 h 91624"/>
                    <a:gd name="connsiteX2" fmla="*/ 0 w 90548"/>
                    <a:gd name="connsiteY2" fmla="*/ 2153 h 91624"/>
                    <a:gd name="connsiteX3" fmla="*/ 2153 w 90548"/>
                    <a:gd name="connsiteY3" fmla="*/ 0 h 91624"/>
                  </a:gdLst>
                  <a:ahLst/>
                  <a:cxnLst>
                    <a:cxn ang="0">
                      <a:pos x="connsiteX0" y="connsiteY0"/>
                    </a:cxn>
                    <a:cxn ang="0">
                      <a:pos x="connsiteX1" y="connsiteY1"/>
                    </a:cxn>
                    <a:cxn ang="0">
                      <a:pos x="connsiteX2" y="connsiteY2"/>
                    </a:cxn>
                    <a:cxn ang="0">
                      <a:pos x="connsiteX3" y="connsiteY3"/>
                    </a:cxn>
                  </a:cxnLst>
                  <a:rect l="l" t="t" r="r" b="b"/>
                  <a:pathLst>
                    <a:path w="90548" h="91624">
                      <a:moveTo>
                        <a:pt x="90548" y="89472"/>
                      </a:moveTo>
                      <a:lnTo>
                        <a:pt x="88395" y="91625"/>
                      </a:lnTo>
                      <a:lnTo>
                        <a:pt x="0" y="2153"/>
                      </a:lnTo>
                      <a:lnTo>
                        <a:pt x="2153" y="0"/>
                      </a:lnTo>
                      <a:close/>
                    </a:path>
                  </a:pathLst>
                </a:custGeom>
                <a:grpFill/>
                <a:ln w="5978" cap="flat">
                  <a:noFill/>
                  <a:prstDash val="solid"/>
                  <a:miter/>
                </a:ln>
              </p:spPr>
              <p:txBody>
                <a:bodyPr rtlCol="0" anchor="ctr"/>
                <a:lstStyle/>
                <a:p>
                  <a:endParaRPr lang="en-GB"/>
                </a:p>
              </p:txBody>
            </p:sp>
            <p:sp>
              <p:nvSpPr>
                <p:cNvPr id="3898" name="Vrije vorm: vorm 3897">
                  <a:extLst>
                    <a:ext uri="{FF2B5EF4-FFF2-40B4-BE49-F238E27FC236}">
                      <a16:creationId xmlns:a16="http://schemas.microsoft.com/office/drawing/2014/main" id="{4472C507-E1B7-4E48-A7E5-50D6966ED67D}"/>
                    </a:ext>
                  </a:extLst>
                </p:cNvPr>
                <p:cNvSpPr/>
                <p:nvPr/>
              </p:nvSpPr>
              <p:spPr>
                <a:xfrm>
                  <a:off x="7326942" y="4704961"/>
                  <a:ext cx="18360" cy="18443"/>
                </a:xfrm>
                <a:custGeom>
                  <a:avLst/>
                  <a:gdLst>
                    <a:gd name="connsiteX0" fmla="*/ 15670 w 18360"/>
                    <a:gd name="connsiteY0" fmla="*/ 2744 h 18443"/>
                    <a:gd name="connsiteX1" fmla="*/ 15670 w 18360"/>
                    <a:gd name="connsiteY1" fmla="*/ 15782 h 18443"/>
                    <a:gd name="connsiteX2" fmla="*/ 2691 w 18360"/>
                    <a:gd name="connsiteY2" fmla="*/ 15722 h 18443"/>
                    <a:gd name="connsiteX3" fmla="*/ 2691 w 18360"/>
                    <a:gd name="connsiteY3" fmla="*/ 2684 h 18443"/>
                    <a:gd name="connsiteX4" fmla="*/ 15670 w 18360"/>
                    <a:gd name="connsiteY4" fmla="*/ 274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43">
                      <a:moveTo>
                        <a:pt x="15670" y="2744"/>
                      </a:moveTo>
                      <a:cubicBezTo>
                        <a:pt x="19258" y="6392"/>
                        <a:pt x="19258" y="12193"/>
                        <a:pt x="15670" y="15782"/>
                      </a:cubicBezTo>
                      <a:cubicBezTo>
                        <a:pt x="12081" y="19370"/>
                        <a:pt x="6280" y="19310"/>
                        <a:pt x="2691" y="15722"/>
                      </a:cubicBezTo>
                      <a:cubicBezTo>
                        <a:pt x="-897" y="12133"/>
                        <a:pt x="-897" y="6272"/>
                        <a:pt x="2691" y="2684"/>
                      </a:cubicBezTo>
                      <a:cubicBezTo>
                        <a:pt x="6280" y="-905"/>
                        <a:pt x="12081" y="-905"/>
                        <a:pt x="15670" y="2744"/>
                      </a:cubicBezTo>
                      <a:close/>
                    </a:path>
                  </a:pathLst>
                </a:custGeom>
                <a:grpFill/>
                <a:ln w="5978" cap="flat">
                  <a:noFill/>
                  <a:prstDash val="solid"/>
                  <a:miter/>
                </a:ln>
              </p:spPr>
              <p:txBody>
                <a:bodyPr rtlCol="0" anchor="ctr"/>
                <a:lstStyle/>
                <a:p>
                  <a:endParaRPr lang="en-GB"/>
                </a:p>
              </p:txBody>
            </p:sp>
            <p:sp>
              <p:nvSpPr>
                <p:cNvPr id="3899" name="Vrije vorm: vorm 3898">
                  <a:extLst>
                    <a:ext uri="{FF2B5EF4-FFF2-40B4-BE49-F238E27FC236}">
                      <a16:creationId xmlns:a16="http://schemas.microsoft.com/office/drawing/2014/main" id="{FD003990-D791-49DB-B3CD-459882D29EE4}"/>
                    </a:ext>
                  </a:extLst>
                </p:cNvPr>
                <p:cNvSpPr/>
                <p:nvPr/>
              </p:nvSpPr>
              <p:spPr>
                <a:xfrm>
                  <a:off x="7239205" y="4616088"/>
                  <a:ext cx="18316" cy="18443"/>
                </a:xfrm>
                <a:custGeom>
                  <a:avLst/>
                  <a:gdLst>
                    <a:gd name="connsiteX0" fmla="*/ 15669 w 18316"/>
                    <a:gd name="connsiteY0" fmla="*/ 2744 h 18443"/>
                    <a:gd name="connsiteX1" fmla="*/ 2692 w 18316"/>
                    <a:gd name="connsiteY1" fmla="*/ 2684 h 18443"/>
                    <a:gd name="connsiteX2" fmla="*/ 2692 w 18316"/>
                    <a:gd name="connsiteY2" fmla="*/ 15722 h 18443"/>
                    <a:gd name="connsiteX3" fmla="*/ 15669 w 18316"/>
                    <a:gd name="connsiteY3" fmla="*/ 15782 h 18443"/>
                    <a:gd name="connsiteX4" fmla="*/ 15669 w 18316"/>
                    <a:gd name="connsiteY4" fmla="*/ 274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3">
                      <a:moveTo>
                        <a:pt x="15669" y="2744"/>
                      </a:moveTo>
                      <a:cubicBezTo>
                        <a:pt x="12081" y="-905"/>
                        <a:pt x="6280" y="-905"/>
                        <a:pt x="2692" y="2684"/>
                      </a:cubicBezTo>
                      <a:cubicBezTo>
                        <a:pt x="-897" y="6272"/>
                        <a:pt x="-897" y="12074"/>
                        <a:pt x="2692" y="15722"/>
                      </a:cubicBezTo>
                      <a:cubicBezTo>
                        <a:pt x="6280" y="19310"/>
                        <a:pt x="12081" y="19370"/>
                        <a:pt x="15669" y="15782"/>
                      </a:cubicBezTo>
                      <a:cubicBezTo>
                        <a:pt x="19199" y="12193"/>
                        <a:pt x="19199" y="6332"/>
                        <a:pt x="15669" y="2744"/>
                      </a:cubicBezTo>
                      <a:close/>
                    </a:path>
                  </a:pathLst>
                </a:custGeom>
                <a:grpFill/>
                <a:ln w="5978" cap="flat">
                  <a:noFill/>
                  <a:prstDash val="solid"/>
                  <a:miter/>
                </a:ln>
              </p:spPr>
              <p:txBody>
                <a:bodyPr rtlCol="0" anchor="ctr"/>
                <a:lstStyle/>
                <a:p>
                  <a:endParaRPr lang="en-GB"/>
                </a:p>
              </p:txBody>
            </p:sp>
          </p:grpSp>
          <p:grpSp>
            <p:nvGrpSpPr>
              <p:cNvPr id="497" name="Graphic 3">
                <a:extLst>
                  <a:ext uri="{FF2B5EF4-FFF2-40B4-BE49-F238E27FC236}">
                    <a16:creationId xmlns:a16="http://schemas.microsoft.com/office/drawing/2014/main" id="{B0BE3736-023F-4414-8907-EACEF42951D8}"/>
                  </a:ext>
                </a:extLst>
              </p:cNvPr>
              <p:cNvGrpSpPr/>
              <p:nvPr/>
            </p:nvGrpSpPr>
            <p:grpSpPr>
              <a:xfrm>
                <a:off x="7294639" y="4769844"/>
                <a:ext cx="76124" cy="81496"/>
                <a:chOff x="7294639" y="4769844"/>
                <a:chExt cx="76124" cy="81496"/>
              </a:xfrm>
              <a:grpFill/>
            </p:grpSpPr>
            <p:sp>
              <p:nvSpPr>
                <p:cNvPr id="3894" name="Vrije vorm: vorm 3893">
                  <a:extLst>
                    <a:ext uri="{FF2B5EF4-FFF2-40B4-BE49-F238E27FC236}">
                      <a16:creationId xmlns:a16="http://schemas.microsoft.com/office/drawing/2014/main" id="{93B4A972-5426-4207-AC58-B9A6C971283E}"/>
                    </a:ext>
                  </a:extLst>
                </p:cNvPr>
                <p:cNvSpPr/>
                <p:nvPr/>
              </p:nvSpPr>
              <p:spPr>
                <a:xfrm>
                  <a:off x="7302362" y="4777680"/>
                  <a:ext cx="60704" cy="65787"/>
                </a:xfrm>
                <a:custGeom>
                  <a:avLst/>
                  <a:gdLst>
                    <a:gd name="connsiteX0" fmla="*/ 60704 w 60704"/>
                    <a:gd name="connsiteY0" fmla="*/ 63754 h 65787"/>
                    <a:gd name="connsiteX1" fmla="*/ 58432 w 60704"/>
                    <a:gd name="connsiteY1" fmla="*/ 65788 h 65787"/>
                    <a:gd name="connsiteX2" fmla="*/ 0 w 60704"/>
                    <a:gd name="connsiteY2" fmla="*/ 2093 h 65787"/>
                    <a:gd name="connsiteX3" fmla="*/ 2273 w 60704"/>
                    <a:gd name="connsiteY3" fmla="*/ 0 h 65787"/>
                  </a:gdLst>
                  <a:ahLst/>
                  <a:cxnLst>
                    <a:cxn ang="0">
                      <a:pos x="connsiteX0" y="connsiteY0"/>
                    </a:cxn>
                    <a:cxn ang="0">
                      <a:pos x="connsiteX1" y="connsiteY1"/>
                    </a:cxn>
                    <a:cxn ang="0">
                      <a:pos x="connsiteX2" y="connsiteY2"/>
                    </a:cxn>
                    <a:cxn ang="0">
                      <a:pos x="connsiteX3" y="connsiteY3"/>
                    </a:cxn>
                  </a:cxnLst>
                  <a:rect l="l" t="t" r="r" b="b"/>
                  <a:pathLst>
                    <a:path w="60704" h="65787">
                      <a:moveTo>
                        <a:pt x="60704" y="63754"/>
                      </a:moveTo>
                      <a:lnTo>
                        <a:pt x="58432" y="65788"/>
                      </a:lnTo>
                      <a:lnTo>
                        <a:pt x="0" y="2093"/>
                      </a:lnTo>
                      <a:lnTo>
                        <a:pt x="2273" y="0"/>
                      </a:lnTo>
                      <a:close/>
                    </a:path>
                  </a:pathLst>
                </a:custGeom>
                <a:grpFill/>
                <a:ln w="5978" cap="flat">
                  <a:noFill/>
                  <a:prstDash val="solid"/>
                  <a:miter/>
                </a:ln>
              </p:spPr>
              <p:txBody>
                <a:bodyPr rtlCol="0" anchor="ctr"/>
                <a:lstStyle/>
                <a:p>
                  <a:endParaRPr lang="en-GB"/>
                </a:p>
              </p:txBody>
            </p:sp>
            <p:sp>
              <p:nvSpPr>
                <p:cNvPr id="3895" name="Vrije vorm: vorm 3894">
                  <a:extLst>
                    <a:ext uri="{FF2B5EF4-FFF2-40B4-BE49-F238E27FC236}">
                      <a16:creationId xmlns:a16="http://schemas.microsoft.com/office/drawing/2014/main" id="{F4EBFFD1-7905-4EDC-8545-57BAD96E3F5B}"/>
                    </a:ext>
                  </a:extLst>
                </p:cNvPr>
                <p:cNvSpPr/>
                <p:nvPr/>
              </p:nvSpPr>
              <p:spPr>
                <a:xfrm>
                  <a:off x="7352437" y="4832881"/>
                  <a:ext cx="18327" cy="18460"/>
                </a:xfrm>
                <a:custGeom>
                  <a:avLst/>
                  <a:gdLst>
                    <a:gd name="connsiteX0" fmla="*/ 15892 w 18327"/>
                    <a:gd name="connsiteY0" fmla="*/ 2991 h 18460"/>
                    <a:gd name="connsiteX1" fmla="*/ 15413 w 18327"/>
                    <a:gd name="connsiteY1" fmla="*/ 16029 h 18460"/>
                    <a:gd name="connsiteX2" fmla="*/ 2436 w 18327"/>
                    <a:gd name="connsiteY2" fmla="*/ 15491 h 18460"/>
                    <a:gd name="connsiteX3" fmla="*/ 2914 w 18327"/>
                    <a:gd name="connsiteY3" fmla="*/ 2453 h 18460"/>
                    <a:gd name="connsiteX4" fmla="*/ 15892 w 18327"/>
                    <a:gd name="connsiteY4" fmla="*/ 2991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0">
                      <a:moveTo>
                        <a:pt x="15892" y="2991"/>
                      </a:moveTo>
                      <a:cubicBezTo>
                        <a:pt x="19301" y="6759"/>
                        <a:pt x="19121" y="12560"/>
                        <a:pt x="15413" y="16029"/>
                      </a:cubicBezTo>
                      <a:cubicBezTo>
                        <a:pt x="11705" y="19498"/>
                        <a:pt x="5904" y="19199"/>
                        <a:pt x="2436" y="15491"/>
                      </a:cubicBezTo>
                      <a:cubicBezTo>
                        <a:pt x="-974" y="11723"/>
                        <a:pt x="-794" y="5921"/>
                        <a:pt x="2914" y="2453"/>
                      </a:cubicBezTo>
                      <a:cubicBezTo>
                        <a:pt x="6682" y="-1016"/>
                        <a:pt x="12483" y="-777"/>
                        <a:pt x="15892" y="2991"/>
                      </a:cubicBezTo>
                      <a:close/>
                    </a:path>
                  </a:pathLst>
                </a:custGeom>
                <a:grpFill/>
                <a:ln w="5978" cap="flat">
                  <a:noFill/>
                  <a:prstDash val="solid"/>
                  <a:miter/>
                </a:ln>
              </p:spPr>
              <p:txBody>
                <a:bodyPr rtlCol="0" anchor="ctr"/>
                <a:lstStyle/>
                <a:p>
                  <a:endParaRPr lang="en-GB"/>
                </a:p>
              </p:txBody>
            </p:sp>
            <p:sp>
              <p:nvSpPr>
                <p:cNvPr id="3896" name="Vrije vorm: vorm 3895">
                  <a:extLst>
                    <a:ext uri="{FF2B5EF4-FFF2-40B4-BE49-F238E27FC236}">
                      <a16:creationId xmlns:a16="http://schemas.microsoft.com/office/drawing/2014/main" id="{C33828D1-3267-4D89-A021-3371A51F5FA8}"/>
                    </a:ext>
                  </a:extLst>
                </p:cNvPr>
                <p:cNvSpPr/>
                <p:nvPr/>
              </p:nvSpPr>
              <p:spPr>
                <a:xfrm>
                  <a:off x="7294639" y="4769844"/>
                  <a:ext cx="18372" cy="18481"/>
                </a:xfrm>
                <a:custGeom>
                  <a:avLst/>
                  <a:gdLst>
                    <a:gd name="connsiteX0" fmla="*/ 15916 w 18372"/>
                    <a:gd name="connsiteY0" fmla="*/ 2991 h 18481"/>
                    <a:gd name="connsiteX1" fmla="*/ 2937 w 18372"/>
                    <a:gd name="connsiteY1" fmla="*/ 2452 h 18481"/>
                    <a:gd name="connsiteX2" fmla="*/ 2459 w 18372"/>
                    <a:gd name="connsiteY2" fmla="*/ 15490 h 18481"/>
                    <a:gd name="connsiteX3" fmla="*/ 15437 w 18372"/>
                    <a:gd name="connsiteY3" fmla="*/ 16029 h 18481"/>
                    <a:gd name="connsiteX4" fmla="*/ 15916 w 18372"/>
                    <a:gd name="connsiteY4" fmla="*/ 2991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81">
                      <a:moveTo>
                        <a:pt x="15916" y="2991"/>
                      </a:moveTo>
                      <a:cubicBezTo>
                        <a:pt x="12506" y="-777"/>
                        <a:pt x="6705" y="-1016"/>
                        <a:pt x="2937" y="2452"/>
                      </a:cubicBezTo>
                      <a:cubicBezTo>
                        <a:pt x="-771" y="5921"/>
                        <a:pt x="-1010" y="11722"/>
                        <a:pt x="2459" y="15490"/>
                      </a:cubicBezTo>
                      <a:cubicBezTo>
                        <a:pt x="5868" y="19258"/>
                        <a:pt x="11669" y="19498"/>
                        <a:pt x="15437" y="16029"/>
                      </a:cubicBezTo>
                      <a:cubicBezTo>
                        <a:pt x="19205" y="12560"/>
                        <a:pt x="19324" y="6759"/>
                        <a:pt x="15916" y="2991"/>
                      </a:cubicBezTo>
                      <a:close/>
                    </a:path>
                  </a:pathLst>
                </a:custGeom>
                <a:grpFill/>
                <a:ln w="5978" cap="flat">
                  <a:noFill/>
                  <a:prstDash val="solid"/>
                  <a:miter/>
                </a:ln>
              </p:spPr>
              <p:txBody>
                <a:bodyPr rtlCol="0" anchor="ctr"/>
                <a:lstStyle/>
                <a:p>
                  <a:endParaRPr lang="en-GB"/>
                </a:p>
              </p:txBody>
            </p:sp>
          </p:grpSp>
          <p:grpSp>
            <p:nvGrpSpPr>
              <p:cNvPr id="498" name="Graphic 3">
                <a:extLst>
                  <a:ext uri="{FF2B5EF4-FFF2-40B4-BE49-F238E27FC236}">
                    <a16:creationId xmlns:a16="http://schemas.microsoft.com/office/drawing/2014/main" id="{763B66F2-32CD-4293-BBF5-51B30DEC3F19}"/>
                  </a:ext>
                </a:extLst>
              </p:cNvPr>
              <p:cNvGrpSpPr/>
              <p:nvPr/>
            </p:nvGrpSpPr>
            <p:grpSpPr>
              <a:xfrm>
                <a:off x="7167417" y="4678523"/>
                <a:ext cx="402839" cy="517325"/>
                <a:chOff x="7167417" y="4678523"/>
                <a:chExt cx="402839" cy="517325"/>
              </a:xfrm>
              <a:grpFill/>
            </p:grpSpPr>
            <p:sp>
              <p:nvSpPr>
                <p:cNvPr id="3891" name="Vrije vorm: vorm 3890">
                  <a:extLst>
                    <a:ext uri="{FF2B5EF4-FFF2-40B4-BE49-F238E27FC236}">
                      <a16:creationId xmlns:a16="http://schemas.microsoft.com/office/drawing/2014/main" id="{B3A8F673-D108-4E81-8433-8DD91B471B78}"/>
                    </a:ext>
                  </a:extLst>
                </p:cNvPr>
                <p:cNvSpPr/>
                <p:nvPr/>
              </p:nvSpPr>
              <p:spPr>
                <a:xfrm>
                  <a:off x="7175092" y="4686414"/>
                  <a:ext cx="387491" cy="501543"/>
                </a:xfrm>
                <a:custGeom>
                  <a:avLst/>
                  <a:gdLst>
                    <a:gd name="connsiteX0" fmla="*/ 387491 w 387491"/>
                    <a:gd name="connsiteY0" fmla="*/ 499629 h 501543"/>
                    <a:gd name="connsiteX1" fmla="*/ 385099 w 387491"/>
                    <a:gd name="connsiteY1" fmla="*/ 501543 h 501543"/>
                    <a:gd name="connsiteX2" fmla="*/ 0 w 387491"/>
                    <a:gd name="connsiteY2" fmla="*/ 1854 h 501543"/>
                    <a:gd name="connsiteX3" fmla="*/ 2392 w 387491"/>
                    <a:gd name="connsiteY3" fmla="*/ 0 h 501543"/>
                  </a:gdLst>
                  <a:ahLst/>
                  <a:cxnLst>
                    <a:cxn ang="0">
                      <a:pos x="connsiteX0" y="connsiteY0"/>
                    </a:cxn>
                    <a:cxn ang="0">
                      <a:pos x="connsiteX1" y="connsiteY1"/>
                    </a:cxn>
                    <a:cxn ang="0">
                      <a:pos x="connsiteX2" y="connsiteY2"/>
                    </a:cxn>
                    <a:cxn ang="0">
                      <a:pos x="connsiteX3" y="connsiteY3"/>
                    </a:cxn>
                  </a:cxnLst>
                  <a:rect l="l" t="t" r="r" b="b"/>
                  <a:pathLst>
                    <a:path w="387491" h="501543">
                      <a:moveTo>
                        <a:pt x="387491" y="499629"/>
                      </a:moveTo>
                      <a:lnTo>
                        <a:pt x="385099" y="501543"/>
                      </a:lnTo>
                      <a:lnTo>
                        <a:pt x="0" y="1854"/>
                      </a:lnTo>
                      <a:lnTo>
                        <a:pt x="2392" y="0"/>
                      </a:lnTo>
                      <a:close/>
                    </a:path>
                  </a:pathLst>
                </a:custGeom>
                <a:grpFill/>
                <a:ln w="5978" cap="flat">
                  <a:noFill/>
                  <a:prstDash val="solid"/>
                  <a:miter/>
                </a:ln>
              </p:spPr>
              <p:txBody>
                <a:bodyPr rtlCol="0" anchor="ctr"/>
                <a:lstStyle/>
                <a:p>
                  <a:endParaRPr lang="en-GB"/>
                </a:p>
              </p:txBody>
            </p:sp>
            <p:sp>
              <p:nvSpPr>
                <p:cNvPr id="3892" name="Vrije vorm: vorm 3891">
                  <a:extLst>
                    <a:ext uri="{FF2B5EF4-FFF2-40B4-BE49-F238E27FC236}">
                      <a16:creationId xmlns:a16="http://schemas.microsoft.com/office/drawing/2014/main" id="{F61DB58E-6D6D-4682-9E94-67A28C5E7912}"/>
                    </a:ext>
                  </a:extLst>
                </p:cNvPr>
                <p:cNvSpPr/>
                <p:nvPr/>
              </p:nvSpPr>
              <p:spPr>
                <a:xfrm>
                  <a:off x="7167417" y="4678523"/>
                  <a:ext cx="18338" cy="18413"/>
                </a:xfrm>
                <a:custGeom>
                  <a:avLst/>
                  <a:gdLst>
                    <a:gd name="connsiteX0" fmla="*/ 1933 w 18338"/>
                    <a:gd name="connsiteY0" fmla="*/ 14829 h 18413"/>
                    <a:gd name="connsiteX1" fmla="*/ 3548 w 18338"/>
                    <a:gd name="connsiteY1" fmla="*/ 1910 h 18413"/>
                    <a:gd name="connsiteX2" fmla="*/ 16406 w 18338"/>
                    <a:gd name="connsiteY2" fmla="*/ 3585 h 18413"/>
                    <a:gd name="connsiteX3" fmla="*/ 14791 w 18338"/>
                    <a:gd name="connsiteY3" fmla="*/ 16503 h 18413"/>
                    <a:gd name="connsiteX4" fmla="*/ 1933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3" y="14829"/>
                      </a:moveTo>
                      <a:cubicBezTo>
                        <a:pt x="-1177" y="10822"/>
                        <a:pt x="-459" y="5021"/>
                        <a:pt x="3548" y="1910"/>
                      </a:cubicBezTo>
                      <a:cubicBezTo>
                        <a:pt x="7554" y="-1200"/>
                        <a:pt x="13296" y="-422"/>
                        <a:pt x="16406" y="3585"/>
                      </a:cubicBezTo>
                      <a:cubicBezTo>
                        <a:pt x="19516" y="7592"/>
                        <a:pt x="18798" y="13393"/>
                        <a:pt x="14791" y="16503"/>
                      </a:cubicBezTo>
                      <a:cubicBezTo>
                        <a:pt x="10784" y="19614"/>
                        <a:pt x="5043" y="18836"/>
                        <a:pt x="1933" y="14829"/>
                      </a:cubicBezTo>
                      <a:close/>
                    </a:path>
                  </a:pathLst>
                </a:custGeom>
                <a:grpFill/>
                <a:ln w="5978" cap="flat">
                  <a:noFill/>
                  <a:prstDash val="solid"/>
                  <a:miter/>
                </a:ln>
              </p:spPr>
              <p:txBody>
                <a:bodyPr rtlCol="0" anchor="ctr"/>
                <a:lstStyle/>
                <a:p>
                  <a:endParaRPr lang="en-GB"/>
                </a:p>
              </p:txBody>
            </p:sp>
            <p:sp>
              <p:nvSpPr>
                <p:cNvPr id="3893" name="Vrije vorm: vorm 3892">
                  <a:extLst>
                    <a:ext uri="{FF2B5EF4-FFF2-40B4-BE49-F238E27FC236}">
                      <a16:creationId xmlns:a16="http://schemas.microsoft.com/office/drawing/2014/main" id="{DA2A4A64-3B39-46E0-87EB-4706774AF9EF}"/>
                    </a:ext>
                  </a:extLst>
                </p:cNvPr>
                <p:cNvSpPr/>
                <p:nvPr/>
              </p:nvSpPr>
              <p:spPr>
                <a:xfrm>
                  <a:off x="7551918" y="5177434"/>
                  <a:ext cx="18338" cy="18413"/>
                </a:xfrm>
                <a:custGeom>
                  <a:avLst/>
                  <a:gdLst>
                    <a:gd name="connsiteX0" fmla="*/ 1932 w 18338"/>
                    <a:gd name="connsiteY0" fmla="*/ 14829 h 18413"/>
                    <a:gd name="connsiteX1" fmla="*/ 14791 w 18338"/>
                    <a:gd name="connsiteY1" fmla="*/ 16503 h 18413"/>
                    <a:gd name="connsiteX2" fmla="*/ 16406 w 18338"/>
                    <a:gd name="connsiteY2" fmla="*/ 3585 h 18413"/>
                    <a:gd name="connsiteX3" fmla="*/ 3547 w 18338"/>
                    <a:gd name="connsiteY3" fmla="*/ 1910 h 18413"/>
                    <a:gd name="connsiteX4" fmla="*/ 1932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2" y="14829"/>
                      </a:moveTo>
                      <a:cubicBezTo>
                        <a:pt x="5043" y="18836"/>
                        <a:pt x="10785" y="19613"/>
                        <a:pt x="14791" y="16503"/>
                      </a:cubicBezTo>
                      <a:cubicBezTo>
                        <a:pt x="18798" y="13394"/>
                        <a:pt x="19516" y="7592"/>
                        <a:pt x="16406" y="3585"/>
                      </a:cubicBezTo>
                      <a:cubicBezTo>
                        <a:pt x="13296" y="-422"/>
                        <a:pt x="7555" y="-1199"/>
                        <a:pt x="3547" y="1910"/>
                      </a:cubicBezTo>
                      <a:cubicBezTo>
                        <a:pt x="-459" y="5020"/>
                        <a:pt x="-1177" y="10762"/>
                        <a:pt x="1932" y="14829"/>
                      </a:cubicBezTo>
                      <a:close/>
                    </a:path>
                  </a:pathLst>
                </a:custGeom>
                <a:grpFill/>
                <a:ln w="5978" cap="flat">
                  <a:noFill/>
                  <a:prstDash val="solid"/>
                  <a:miter/>
                </a:ln>
              </p:spPr>
              <p:txBody>
                <a:bodyPr rtlCol="0" anchor="ctr"/>
                <a:lstStyle/>
                <a:p>
                  <a:endParaRPr lang="en-GB"/>
                </a:p>
              </p:txBody>
            </p:sp>
          </p:grpSp>
          <p:grpSp>
            <p:nvGrpSpPr>
              <p:cNvPr id="499" name="Graphic 3">
                <a:extLst>
                  <a:ext uri="{FF2B5EF4-FFF2-40B4-BE49-F238E27FC236}">
                    <a16:creationId xmlns:a16="http://schemas.microsoft.com/office/drawing/2014/main" id="{FFDAFD04-B52F-469D-ABD7-734EDC0DF6C7}"/>
                  </a:ext>
                </a:extLst>
              </p:cNvPr>
              <p:cNvGrpSpPr/>
              <p:nvPr/>
            </p:nvGrpSpPr>
            <p:grpSpPr>
              <a:xfrm>
                <a:off x="6203312" y="1478263"/>
                <a:ext cx="21115" cy="52455"/>
                <a:chOff x="6203312" y="1478263"/>
                <a:chExt cx="21115" cy="52455"/>
              </a:xfrm>
              <a:grpFill/>
            </p:grpSpPr>
            <p:sp>
              <p:nvSpPr>
                <p:cNvPr id="3888" name="Vrije vorm: vorm 3887">
                  <a:extLst>
                    <a:ext uri="{FF2B5EF4-FFF2-40B4-BE49-F238E27FC236}">
                      <a16:creationId xmlns:a16="http://schemas.microsoft.com/office/drawing/2014/main" id="{C53E6D28-EB36-43A6-B7E5-5E1EB8F36328}"/>
                    </a:ext>
                  </a:extLst>
                </p:cNvPr>
                <p:cNvSpPr/>
                <p:nvPr/>
              </p:nvSpPr>
              <p:spPr>
                <a:xfrm>
                  <a:off x="6210880" y="1486907"/>
                  <a:ext cx="5980" cy="35166"/>
                </a:xfrm>
                <a:custGeom>
                  <a:avLst/>
                  <a:gdLst>
                    <a:gd name="connsiteX0" fmla="*/ 5981 w 5980"/>
                    <a:gd name="connsiteY0" fmla="*/ 239 h 35166"/>
                    <a:gd name="connsiteX1" fmla="*/ 3050 w 5980"/>
                    <a:gd name="connsiteY1" fmla="*/ 35167 h 35166"/>
                    <a:gd name="connsiteX2" fmla="*/ 0 w 5980"/>
                    <a:gd name="connsiteY2" fmla="*/ 34927 h 35166"/>
                    <a:gd name="connsiteX3" fmla="*/ 2930 w 5980"/>
                    <a:gd name="connsiteY3" fmla="*/ 0 h 35166"/>
                  </a:gdLst>
                  <a:ahLst/>
                  <a:cxnLst>
                    <a:cxn ang="0">
                      <a:pos x="connsiteX0" y="connsiteY0"/>
                    </a:cxn>
                    <a:cxn ang="0">
                      <a:pos x="connsiteX1" y="connsiteY1"/>
                    </a:cxn>
                    <a:cxn ang="0">
                      <a:pos x="connsiteX2" y="connsiteY2"/>
                    </a:cxn>
                    <a:cxn ang="0">
                      <a:pos x="connsiteX3" y="connsiteY3"/>
                    </a:cxn>
                  </a:cxnLst>
                  <a:rect l="l" t="t" r="r" b="b"/>
                  <a:pathLst>
                    <a:path w="5980" h="35166">
                      <a:moveTo>
                        <a:pt x="5981" y="239"/>
                      </a:moveTo>
                      <a:lnTo>
                        <a:pt x="3050" y="35167"/>
                      </a:lnTo>
                      <a:lnTo>
                        <a:pt x="0" y="34927"/>
                      </a:lnTo>
                      <a:lnTo>
                        <a:pt x="2930" y="0"/>
                      </a:lnTo>
                      <a:close/>
                    </a:path>
                  </a:pathLst>
                </a:custGeom>
                <a:grpFill/>
                <a:ln w="5978" cap="flat">
                  <a:noFill/>
                  <a:prstDash val="solid"/>
                  <a:miter/>
                </a:ln>
              </p:spPr>
              <p:txBody>
                <a:bodyPr rtlCol="0" anchor="ctr"/>
                <a:lstStyle/>
                <a:p>
                  <a:endParaRPr lang="en-GB"/>
                </a:p>
              </p:txBody>
            </p:sp>
            <p:sp>
              <p:nvSpPr>
                <p:cNvPr id="3889" name="Vrije vorm: vorm 3888">
                  <a:extLst>
                    <a:ext uri="{FF2B5EF4-FFF2-40B4-BE49-F238E27FC236}">
                      <a16:creationId xmlns:a16="http://schemas.microsoft.com/office/drawing/2014/main" id="{D2E67EB8-C832-499B-AF54-02C905107B0D}"/>
                    </a:ext>
                  </a:extLst>
                </p:cNvPr>
                <p:cNvSpPr/>
                <p:nvPr/>
              </p:nvSpPr>
              <p:spPr>
                <a:xfrm>
                  <a:off x="6206123" y="1478263"/>
                  <a:ext cx="18304" cy="18425"/>
                </a:xfrm>
                <a:custGeom>
                  <a:avLst/>
                  <a:gdLst>
                    <a:gd name="connsiteX0" fmla="*/ 32 w 18304"/>
                    <a:gd name="connsiteY0" fmla="*/ 8405 h 18425"/>
                    <a:gd name="connsiteX1" fmla="*/ 9900 w 18304"/>
                    <a:gd name="connsiteY1" fmla="*/ 32 h 18425"/>
                    <a:gd name="connsiteX2" fmla="*/ 18273 w 18304"/>
                    <a:gd name="connsiteY2" fmla="*/ 10020 h 18425"/>
                    <a:gd name="connsiteX3" fmla="*/ 8405 w 18304"/>
                    <a:gd name="connsiteY3" fmla="*/ 18393 h 18425"/>
                    <a:gd name="connsiteX4" fmla="*/ 32 w 1830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32" y="8405"/>
                      </a:moveTo>
                      <a:cubicBezTo>
                        <a:pt x="450" y="3322"/>
                        <a:pt x="4876" y="-386"/>
                        <a:pt x="9900" y="32"/>
                      </a:cubicBezTo>
                      <a:cubicBezTo>
                        <a:pt x="14924" y="451"/>
                        <a:pt x="18692" y="4936"/>
                        <a:pt x="18273" y="10020"/>
                      </a:cubicBezTo>
                      <a:cubicBezTo>
                        <a:pt x="17854" y="15104"/>
                        <a:pt x="13429" y="18812"/>
                        <a:pt x="8405" y="18393"/>
                      </a:cubicBezTo>
                      <a:cubicBezTo>
                        <a:pt x="3381" y="17974"/>
                        <a:pt x="-387" y="13489"/>
                        <a:pt x="32" y="8405"/>
                      </a:cubicBezTo>
                      <a:close/>
                    </a:path>
                  </a:pathLst>
                </a:custGeom>
                <a:grpFill/>
                <a:ln w="5978" cap="flat">
                  <a:noFill/>
                  <a:prstDash val="solid"/>
                  <a:miter/>
                </a:ln>
              </p:spPr>
              <p:txBody>
                <a:bodyPr rtlCol="0" anchor="ctr"/>
                <a:lstStyle/>
                <a:p>
                  <a:endParaRPr lang="en-GB"/>
                </a:p>
              </p:txBody>
            </p:sp>
            <p:sp>
              <p:nvSpPr>
                <p:cNvPr id="3890" name="Vrije vorm: vorm 3889">
                  <a:extLst>
                    <a:ext uri="{FF2B5EF4-FFF2-40B4-BE49-F238E27FC236}">
                      <a16:creationId xmlns:a16="http://schemas.microsoft.com/office/drawing/2014/main" id="{DFBAB166-1FBC-4BBD-8CEF-2E9955EEE647}"/>
                    </a:ext>
                  </a:extLst>
                </p:cNvPr>
                <p:cNvSpPr/>
                <p:nvPr/>
              </p:nvSpPr>
              <p:spPr>
                <a:xfrm>
                  <a:off x="6203312" y="1512284"/>
                  <a:ext cx="18304" cy="18433"/>
                </a:xfrm>
                <a:custGeom>
                  <a:avLst/>
                  <a:gdLst>
                    <a:gd name="connsiteX0" fmla="*/ 32 w 18304"/>
                    <a:gd name="connsiteY0" fmla="*/ 8414 h 18433"/>
                    <a:gd name="connsiteX1" fmla="*/ 8405 w 18304"/>
                    <a:gd name="connsiteY1" fmla="*/ 18402 h 18433"/>
                    <a:gd name="connsiteX2" fmla="*/ 18273 w 18304"/>
                    <a:gd name="connsiteY2" fmla="*/ 10029 h 18433"/>
                    <a:gd name="connsiteX3" fmla="*/ 9900 w 18304"/>
                    <a:gd name="connsiteY3" fmla="*/ 41 h 18433"/>
                    <a:gd name="connsiteX4" fmla="*/ 32 w 18304"/>
                    <a:gd name="connsiteY4" fmla="*/ 8414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3">
                      <a:moveTo>
                        <a:pt x="32" y="8414"/>
                      </a:moveTo>
                      <a:cubicBezTo>
                        <a:pt x="-387" y="13498"/>
                        <a:pt x="3381" y="17923"/>
                        <a:pt x="8405" y="18402"/>
                      </a:cubicBezTo>
                      <a:cubicBezTo>
                        <a:pt x="13429" y="18820"/>
                        <a:pt x="17854" y="15112"/>
                        <a:pt x="18273" y="10029"/>
                      </a:cubicBezTo>
                      <a:cubicBezTo>
                        <a:pt x="18692" y="4945"/>
                        <a:pt x="14924" y="519"/>
                        <a:pt x="9900" y="41"/>
                      </a:cubicBezTo>
                      <a:cubicBezTo>
                        <a:pt x="4876" y="-437"/>
                        <a:pt x="450" y="3330"/>
                        <a:pt x="32" y="8414"/>
                      </a:cubicBezTo>
                      <a:close/>
                    </a:path>
                  </a:pathLst>
                </a:custGeom>
                <a:grpFill/>
                <a:ln w="5978" cap="flat">
                  <a:noFill/>
                  <a:prstDash val="solid"/>
                  <a:miter/>
                </a:ln>
              </p:spPr>
              <p:txBody>
                <a:bodyPr rtlCol="0" anchor="ctr"/>
                <a:lstStyle/>
                <a:p>
                  <a:endParaRPr lang="en-GB"/>
                </a:p>
              </p:txBody>
            </p:sp>
          </p:grpSp>
          <p:grpSp>
            <p:nvGrpSpPr>
              <p:cNvPr id="500" name="Graphic 3">
                <a:extLst>
                  <a:ext uri="{FF2B5EF4-FFF2-40B4-BE49-F238E27FC236}">
                    <a16:creationId xmlns:a16="http://schemas.microsoft.com/office/drawing/2014/main" id="{E8F6DE0D-5343-4F54-B71F-588596194520}"/>
                  </a:ext>
                </a:extLst>
              </p:cNvPr>
              <p:cNvGrpSpPr/>
              <p:nvPr/>
            </p:nvGrpSpPr>
            <p:grpSpPr>
              <a:xfrm>
                <a:off x="6217520" y="1454613"/>
                <a:ext cx="81211" cy="296718"/>
                <a:chOff x="6217520" y="1454613"/>
                <a:chExt cx="81211" cy="296718"/>
              </a:xfrm>
              <a:grpFill/>
            </p:grpSpPr>
            <p:sp>
              <p:nvSpPr>
                <p:cNvPr id="3885" name="Vrije vorm: vorm 3884">
                  <a:extLst>
                    <a:ext uri="{FF2B5EF4-FFF2-40B4-BE49-F238E27FC236}">
                      <a16:creationId xmlns:a16="http://schemas.microsoft.com/office/drawing/2014/main" id="{A5FBB4B1-EF2B-4AF5-B7C4-0EFAF4EFCA54}"/>
                    </a:ext>
                  </a:extLst>
                </p:cNvPr>
                <p:cNvSpPr/>
                <p:nvPr/>
              </p:nvSpPr>
              <p:spPr>
                <a:xfrm>
                  <a:off x="6225054" y="1463044"/>
                  <a:ext cx="66086" cy="279897"/>
                </a:xfrm>
                <a:custGeom>
                  <a:avLst/>
                  <a:gdLst>
                    <a:gd name="connsiteX0" fmla="*/ 66087 w 66086"/>
                    <a:gd name="connsiteY0" fmla="*/ 718 h 279897"/>
                    <a:gd name="connsiteX1" fmla="*/ 2930 w 66086"/>
                    <a:gd name="connsiteY1" fmla="*/ 279898 h 279897"/>
                    <a:gd name="connsiteX2" fmla="*/ 0 w 66086"/>
                    <a:gd name="connsiteY2" fmla="*/ 279180 h 279897"/>
                    <a:gd name="connsiteX3" fmla="*/ 63156 w 66086"/>
                    <a:gd name="connsiteY3" fmla="*/ 0 h 279897"/>
                  </a:gdLst>
                  <a:ahLst/>
                  <a:cxnLst>
                    <a:cxn ang="0">
                      <a:pos x="connsiteX0" y="connsiteY0"/>
                    </a:cxn>
                    <a:cxn ang="0">
                      <a:pos x="connsiteX1" y="connsiteY1"/>
                    </a:cxn>
                    <a:cxn ang="0">
                      <a:pos x="connsiteX2" y="connsiteY2"/>
                    </a:cxn>
                    <a:cxn ang="0">
                      <a:pos x="connsiteX3" y="connsiteY3"/>
                    </a:cxn>
                  </a:cxnLst>
                  <a:rect l="l" t="t" r="r" b="b"/>
                  <a:pathLst>
                    <a:path w="66086" h="279897">
                      <a:moveTo>
                        <a:pt x="66087" y="718"/>
                      </a:moveTo>
                      <a:lnTo>
                        <a:pt x="2930" y="279898"/>
                      </a:lnTo>
                      <a:lnTo>
                        <a:pt x="0" y="279180"/>
                      </a:lnTo>
                      <a:lnTo>
                        <a:pt x="63156" y="0"/>
                      </a:lnTo>
                      <a:close/>
                    </a:path>
                  </a:pathLst>
                </a:custGeom>
                <a:grpFill/>
                <a:ln w="5978" cap="flat">
                  <a:noFill/>
                  <a:prstDash val="solid"/>
                  <a:miter/>
                </a:ln>
              </p:spPr>
              <p:txBody>
                <a:bodyPr rtlCol="0" anchor="ctr"/>
                <a:lstStyle/>
                <a:p>
                  <a:endParaRPr lang="en-GB"/>
                </a:p>
              </p:txBody>
            </p:sp>
            <p:sp>
              <p:nvSpPr>
                <p:cNvPr id="3886" name="Vrije vorm: vorm 3885">
                  <a:extLst>
                    <a:ext uri="{FF2B5EF4-FFF2-40B4-BE49-F238E27FC236}">
                      <a16:creationId xmlns:a16="http://schemas.microsoft.com/office/drawing/2014/main" id="{F53C72D2-52A8-432D-B092-81C9E433484A}"/>
                    </a:ext>
                  </a:extLst>
                </p:cNvPr>
                <p:cNvSpPr/>
                <p:nvPr/>
              </p:nvSpPr>
              <p:spPr>
                <a:xfrm>
                  <a:off x="6217520" y="1732877"/>
                  <a:ext cx="18275" cy="18454"/>
                </a:xfrm>
                <a:custGeom>
                  <a:avLst/>
                  <a:gdLst>
                    <a:gd name="connsiteX0" fmla="*/ 18060 w 18275"/>
                    <a:gd name="connsiteY0" fmla="*/ 11321 h 18454"/>
                    <a:gd name="connsiteX1" fmla="*/ 7115 w 18275"/>
                    <a:gd name="connsiteY1" fmla="*/ 18198 h 18454"/>
                    <a:gd name="connsiteX2" fmla="*/ 237 w 18275"/>
                    <a:gd name="connsiteY2" fmla="*/ 7134 h 18454"/>
                    <a:gd name="connsiteX3" fmla="*/ 11182 w 18275"/>
                    <a:gd name="connsiteY3" fmla="*/ 256 h 18454"/>
                    <a:gd name="connsiteX4" fmla="*/ 18060 w 18275"/>
                    <a:gd name="connsiteY4" fmla="*/ 1132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54">
                      <a:moveTo>
                        <a:pt x="18060" y="11321"/>
                      </a:moveTo>
                      <a:cubicBezTo>
                        <a:pt x="16923" y="16285"/>
                        <a:pt x="12020" y="19394"/>
                        <a:pt x="7115" y="18198"/>
                      </a:cubicBezTo>
                      <a:cubicBezTo>
                        <a:pt x="2151" y="17062"/>
                        <a:pt x="-899" y="12098"/>
                        <a:pt x="237" y="7134"/>
                      </a:cubicBezTo>
                      <a:cubicBezTo>
                        <a:pt x="1374" y="2170"/>
                        <a:pt x="6278" y="-940"/>
                        <a:pt x="11182" y="256"/>
                      </a:cubicBezTo>
                      <a:cubicBezTo>
                        <a:pt x="16086" y="1452"/>
                        <a:pt x="19137" y="6416"/>
                        <a:pt x="18060" y="11321"/>
                      </a:cubicBezTo>
                      <a:close/>
                    </a:path>
                  </a:pathLst>
                </a:custGeom>
                <a:grpFill/>
                <a:ln w="5978" cap="flat">
                  <a:noFill/>
                  <a:prstDash val="solid"/>
                  <a:miter/>
                </a:ln>
              </p:spPr>
              <p:txBody>
                <a:bodyPr rtlCol="0" anchor="ctr"/>
                <a:lstStyle/>
                <a:p>
                  <a:endParaRPr lang="en-GB"/>
                </a:p>
              </p:txBody>
            </p:sp>
            <p:sp>
              <p:nvSpPr>
                <p:cNvPr id="3887" name="Vrije vorm: vorm 3886">
                  <a:extLst>
                    <a:ext uri="{FF2B5EF4-FFF2-40B4-BE49-F238E27FC236}">
                      <a16:creationId xmlns:a16="http://schemas.microsoft.com/office/drawing/2014/main" id="{98A189AA-0153-4CE1-A664-946F1BD1ED3C}"/>
                    </a:ext>
                  </a:extLst>
                </p:cNvPr>
                <p:cNvSpPr/>
                <p:nvPr/>
              </p:nvSpPr>
              <p:spPr>
                <a:xfrm>
                  <a:off x="6280440" y="1454613"/>
                  <a:ext cx="18291" cy="18435"/>
                </a:xfrm>
                <a:custGeom>
                  <a:avLst/>
                  <a:gdLst>
                    <a:gd name="connsiteX0" fmla="*/ 18057 w 18291"/>
                    <a:gd name="connsiteY0" fmla="*/ 11302 h 18435"/>
                    <a:gd name="connsiteX1" fmla="*/ 11179 w 18291"/>
                    <a:gd name="connsiteY1" fmla="*/ 237 h 18435"/>
                    <a:gd name="connsiteX2" fmla="*/ 234 w 18291"/>
                    <a:gd name="connsiteY2" fmla="*/ 7115 h 18435"/>
                    <a:gd name="connsiteX3" fmla="*/ 7112 w 18291"/>
                    <a:gd name="connsiteY3" fmla="*/ 18180 h 18435"/>
                    <a:gd name="connsiteX4" fmla="*/ 18057 w 18291"/>
                    <a:gd name="connsiteY4" fmla="*/ 1130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35">
                      <a:moveTo>
                        <a:pt x="18057" y="11302"/>
                      </a:moveTo>
                      <a:cubicBezTo>
                        <a:pt x="19193" y="6338"/>
                        <a:pt x="16083" y="1374"/>
                        <a:pt x="11179" y="237"/>
                      </a:cubicBezTo>
                      <a:cubicBezTo>
                        <a:pt x="6215" y="-899"/>
                        <a:pt x="1311" y="2151"/>
                        <a:pt x="234" y="7115"/>
                      </a:cubicBezTo>
                      <a:cubicBezTo>
                        <a:pt x="-902" y="12079"/>
                        <a:pt x="2208" y="17043"/>
                        <a:pt x="7112" y="18180"/>
                      </a:cubicBezTo>
                      <a:cubicBezTo>
                        <a:pt x="12016" y="19376"/>
                        <a:pt x="16980" y="16266"/>
                        <a:pt x="18057" y="11302"/>
                      </a:cubicBezTo>
                      <a:close/>
                    </a:path>
                  </a:pathLst>
                </a:custGeom>
                <a:grpFill/>
                <a:ln w="5978" cap="flat">
                  <a:noFill/>
                  <a:prstDash val="solid"/>
                  <a:miter/>
                </a:ln>
              </p:spPr>
              <p:txBody>
                <a:bodyPr rtlCol="0" anchor="ctr"/>
                <a:lstStyle/>
                <a:p>
                  <a:endParaRPr lang="en-GB"/>
                </a:p>
              </p:txBody>
            </p:sp>
          </p:grpSp>
          <p:grpSp>
            <p:nvGrpSpPr>
              <p:cNvPr id="501" name="Graphic 3">
                <a:extLst>
                  <a:ext uri="{FF2B5EF4-FFF2-40B4-BE49-F238E27FC236}">
                    <a16:creationId xmlns:a16="http://schemas.microsoft.com/office/drawing/2014/main" id="{0D36B5D3-84EA-48C7-918D-52324F8C4CD3}"/>
                  </a:ext>
                </a:extLst>
              </p:cNvPr>
              <p:cNvGrpSpPr/>
              <p:nvPr/>
            </p:nvGrpSpPr>
            <p:grpSpPr>
              <a:xfrm>
                <a:off x="6224643" y="1454738"/>
                <a:ext cx="38310" cy="214693"/>
                <a:chOff x="6224643" y="1454738"/>
                <a:chExt cx="38310" cy="214693"/>
              </a:xfrm>
              <a:grpFill/>
            </p:grpSpPr>
            <p:sp>
              <p:nvSpPr>
                <p:cNvPr id="3882" name="Vrije vorm: vorm 3881">
                  <a:extLst>
                    <a:ext uri="{FF2B5EF4-FFF2-40B4-BE49-F238E27FC236}">
                      <a16:creationId xmlns:a16="http://schemas.microsoft.com/office/drawing/2014/main" id="{F407731B-0366-4BB6-8240-AAD2A79FFC63}"/>
                    </a:ext>
                  </a:extLst>
                </p:cNvPr>
                <p:cNvSpPr/>
                <p:nvPr/>
              </p:nvSpPr>
              <p:spPr>
                <a:xfrm>
                  <a:off x="6232291" y="1463343"/>
                  <a:ext cx="23085" cy="197543"/>
                </a:xfrm>
                <a:custGeom>
                  <a:avLst/>
                  <a:gdLst>
                    <a:gd name="connsiteX0" fmla="*/ 23086 w 23085"/>
                    <a:gd name="connsiteY0" fmla="*/ 359 h 197543"/>
                    <a:gd name="connsiteX1" fmla="*/ 2990 w 23085"/>
                    <a:gd name="connsiteY1" fmla="*/ 197543 h 197543"/>
                    <a:gd name="connsiteX2" fmla="*/ 0 w 23085"/>
                    <a:gd name="connsiteY2" fmla="*/ 197244 h 197543"/>
                    <a:gd name="connsiteX3" fmla="*/ 20036 w 23085"/>
                    <a:gd name="connsiteY3" fmla="*/ 0 h 197543"/>
                  </a:gdLst>
                  <a:ahLst/>
                  <a:cxnLst>
                    <a:cxn ang="0">
                      <a:pos x="connsiteX0" y="connsiteY0"/>
                    </a:cxn>
                    <a:cxn ang="0">
                      <a:pos x="connsiteX1" y="connsiteY1"/>
                    </a:cxn>
                    <a:cxn ang="0">
                      <a:pos x="connsiteX2" y="connsiteY2"/>
                    </a:cxn>
                    <a:cxn ang="0">
                      <a:pos x="connsiteX3" y="connsiteY3"/>
                    </a:cxn>
                  </a:cxnLst>
                  <a:rect l="l" t="t" r="r" b="b"/>
                  <a:pathLst>
                    <a:path w="23085" h="197543">
                      <a:moveTo>
                        <a:pt x="23086" y="359"/>
                      </a:moveTo>
                      <a:lnTo>
                        <a:pt x="2990" y="197543"/>
                      </a:lnTo>
                      <a:lnTo>
                        <a:pt x="0" y="197244"/>
                      </a:lnTo>
                      <a:lnTo>
                        <a:pt x="20036" y="0"/>
                      </a:lnTo>
                      <a:close/>
                    </a:path>
                  </a:pathLst>
                </a:custGeom>
                <a:grpFill/>
                <a:ln w="5978" cap="flat">
                  <a:noFill/>
                  <a:prstDash val="solid"/>
                  <a:miter/>
                </a:ln>
              </p:spPr>
              <p:txBody>
                <a:bodyPr rtlCol="0" anchor="ctr"/>
                <a:lstStyle/>
                <a:p>
                  <a:endParaRPr lang="en-GB"/>
                </a:p>
              </p:txBody>
            </p:sp>
            <p:sp>
              <p:nvSpPr>
                <p:cNvPr id="3883" name="Vrije vorm: vorm 3882">
                  <a:extLst>
                    <a:ext uri="{FF2B5EF4-FFF2-40B4-BE49-F238E27FC236}">
                      <a16:creationId xmlns:a16="http://schemas.microsoft.com/office/drawing/2014/main" id="{9B624F09-B44D-494B-8BB4-2C9C3AC6A6E1}"/>
                    </a:ext>
                  </a:extLst>
                </p:cNvPr>
                <p:cNvSpPr/>
                <p:nvPr/>
              </p:nvSpPr>
              <p:spPr>
                <a:xfrm>
                  <a:off x="6244628" y="1454738"/>
                  <a:ext cx="18325" cy="18406"/>
                </a:xfrm>
                <a:custGeom>
                  <a:avLst/>
                  <a:gdLst>
                    <a:gd name="connsiteX0" fmla="*/ 42 w 18325"/>
                    <a:gd name="connsiteY0" fmla="*/ 8246 h 18406"/>
                    <a:gd name="connsiteX1" fmla="*/ 10090 w 18325"/>
                    <a:gd name="connsiteY1" fmla="*/ 53 h 18406"/>
                    <a:gd name="connsiteX2" fmla="*/ 18283 w 18325"/>
                    <a:gd name="connsiteY2" fmla="*/ 10160 h 18406"/>
                    <a:gd name="connsiteX3" fmla="*/ 8236 w 18325"/>
                    <a:gd name="connsiteY3" fmla="*/ 18354 h 18406"/>
                    <a:gd name="connsiteX4" fmla="*/ 42 w 1832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6">
                      <a:moveTo>
                        <a:pt x="42" y="8246"/>
                      </a:moveTo>
                      <a:cubicBezTo>
                        <a:pt x="581" y="3163"/>
                        <a:pt x="5066" y="-486"/>
                        <a:pt x="10090" y="53"/>
                      </a:cubicBezTo>
                      <a:cubicBezTo>
                        <a:pt x="15114" y="591"/>
                        <a:pt x="18762" y="5136"/>
                        <a:pt x="18283" y="10160"/>
                      </a:cubicBezTo>
                      <a:cubicBezTo>
                        <a:pt x="17745" y="15244"/>
                        <a:pt x="13260" y="18892"/>
                        <a:pt x="8236" y="18354"/>
                      </a:cubicBezTo>
                      <a:cubicBezTo>
                        <a:pt x="3212" y="17875"/>
                        <a:pt x="-436" y="13330"/>
                        <a:pt x="42" y="8246"/>
                      </a:cubicBezTo>
                      <a:close/>
                    </a:path>
                  </a:pathLst>
                </a:custGeom>
                <a:grpFill/>
                <a:ln w="5978" cap="flat">
                  <a:noFill/>
                  <a:prstDash val="solid"/>
                  <a:miter/>
                </a:ln>
              </p:spPr>
              <p:txBody>
                <a:bodyPr rtlCol="0" anchor="ctr"/>
                <a:lstStyle/>
                <a:p>
                  <a:endParaRPr lang="en-GB"/>
                </a:p>
              </p:txBody>
            </p:sp>
            <p:sp>
              <p:nvSpPr>
                <p:cNvPr id="3884" name="Vrije vorm: vorm 3883">
                  <a:extLst>
                    <a:ext uri="{FF2B5EF4-FFF2-40B4-BE49-F238E27FC236}">
                      <a16:creationId xmlns:a16="http://schemas.microsoft.com/office/drawing/2014/main" id="{0DBFECA1-B6AB-401D-9871-63F2159ACA74}"/>
                    </a:ext>
                  </a:extLst>
                </p:cNvPr>
                <p:cNvSpPr/>
                <p:nvPr/>
              </p:nvSpPr>
              <p:spPr>
                <a:xfrm>
                  <a:off x="6224643" y="1651036"/>
                  <a:ext cx="18345" cy="18395"/>
                </a:xfrm>
                <a:custGeom>
                  <a:avLst/>
                  <a:gdLst>
                    <a:gd name="connsiteX0" fmla="*/ 52 w 18345"/>
                    <a:gd name="connsiteY0" fmla="*/ 8236 h 18395"/>
                    <a:gd name="connsiteX1" fmla="*/ 8246 w 18345"/>
                    <a:gd name="connsiteY1" fmla="*/ 18343 h 18395"/>
                    <a:gd name="connsiteX2" fmla="*/ 18293 w 18345"/>
                    <a:gd name="connsiteY2" fmla="*/ 10150 h 18395"/>
                    <a:gd name="connsiteX3" fmla="*/ 10100 w 18345"/>
                    <a:gd name="connsiteY3" fmla="*/ 42 h 18395"/>
                    <a:gd name="connsiteX4" fmla="*/ 52 w 18345"/>
                    <a:gd name="connsiteY4" fmla="*/ 8236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395">
                      <a:moveTo>
                        <a:pt x="52" y="8236"/>
                      </a:moveTo>
                      <a:cubicBezTo>
                        <a:pt x="-486" y="13319"/>
                        <a:pt x="3222" y="17805"/>
                        <a:pt x="8246" y="18343"/>
                      </a:cubicBezTo>
                      <a:cubicBezTo>
                        <a:pt x="13269" y="18881"/>
                        <a:pt x="17755" y="15233"/>
                        <a:pt x="18293" y="10150"/>
                      </a:cubicBezTo>
                      <a:cubicBezTo>
                        <a:pt x="18831" y="5066"/>
                        <a:pt x="15123" y="580"/>
                        <a:pt x="10100" y="42"/>
                      </a:cubicBezTo>
                      <a:cubicBezTo>
                        <a:pt x="5076" y="-436"/>
                        <a:pt x="590" y="3212"/>
                        <a:pt x="52" y="8236"/>
                      </a:cubicBezTo>
                      <a:close/>
                    </a:path>
                  </a:pathLst>
                </a:custGeom>
                <a:grpFill/>
                <a:ln w="5978" cap="flat">
                  <a:noFill/>
                  <a:prstDash val="solid"/>
                  <a:miter/>
                </a:ln>
              </p:spPr>
              <p:txBody>
                <a:bodyPr rtlCol="0" anchor="ctr"/>
                <a:lstStyle/>
                <a:p>
                  <a:endParaRPr lang="en-GB"/>
                </a:p>
              </p:txBody>
            </p:sp>
          </p:grpSp>
          <p:grpSp>
            <p:nvGrpSpPr>
              <p:cNvPr id="502" name="Graphic 3">
                <a:extLst>
                  <a:ext uri="{FF2B5EF4-FFF2-40B4-BE49-F238E27FC236}">
                    <a16:creationId xmlns:a16="http://schemas.microsoft.com/office/drawing/2014/main" id="{8785206E-8FA1-4002-AC8D-A89AA340A5B6}"/>
                  </a:ext>
                </a:extLst>
              </p:cNvPr>
              <p:cNvGrpSpPr/>
              <p:nvPr/>
            </p:nvGrpSpPr>
            <p:grpSpPr>
              <a:xfrm>
                <a:off x="7217015" y="4638513"/>
                <a:ext cx="102991" cy="107381"/>
                <a:chOff x="7217015" y="4638513"/>
                <a:chExt cx="102991" cy="107381"/>
              </a:xfrm>
              <a:grpFill/>
            </p:grpSpPr>
            <p:sp>
              <p:nvSpPr>
                <p:cNvPr id="3879" name="Vrije vorm: vorm 3878">
                  <a:extLst>
                    <a:ext uri="{FF2B5EF4-FFF2-40B4-BE49-F238E27FC236}">
                      <a16:creationId xmlns:a16="http://schemas.microsoft.com/office/drawing/2014/main" id="{EFC523E1-F2BF-4BA5-90B8-D74EFAED27CE}"/>
                    </a:ext>
                  </a:extLst>
                </p:cNvPr>
                <p:cNvSpPr/>
                <p:nvPr/>
              </p:nvSpPr>
              <p:spPr>
                <a:xfrm>
                  <a:off x="7224792" y="4646343"/>
                  <a:ext cx="87438" cy="91744"/>
                </a:xfrm>
                <a:custGeom>
                  <a:avLst/>
                  <a:gdLst>
                    <a:gd name="connsiteX0" fmla="*/ 87438 w 87438"/>
                    <a:gd name="connsiteY0" fmla="*/ 89591 h 91744"/>
                    <a:gd name="connsiteX1" fmla="*/ 85284 w 87438"/>
                    <a:gd name="connsiteY1" fmla="*/ 91744 h 91744"/>
                    <a:gd name="connsiteX2" fmla="*/ 0 w 87438"/>
                    <a:gd name="connsiteY2" fmla="*/ 2093 h 91744"/>
                    <a:gd name="connsiteX3" fmla="*/ 2153 w 87438"/>
                    <a:gd name="connsiteY3" fmla="*/ 0 h 91744"/>
                  </a:gdLst>
                  <a:ahLst/>
                  <a:cxnLst>
                    <a:cxn ang="0">
                      <a:pos x="connsiteX0" y="connsiteY0"/>
                    </a:cxn>
                    <a:cxn ang="0">
                      <a:pos x="connsiteX1" y="connsiteY1"/>
                    </a:cxn>
                    <a:cxn ang="0">
                      <a:pos x="connsiteX2" y="connsiteY2"/>
                    </a:cxn>
                    <a:cxn ang="0">
                      <a:pos x="connsiteX3" y="connsiteY3"/>
                    </a:cxn>
                  </a:cxnLst>
                  <a:rect l="l" t="t" r="r" b="b"/>
                  <a:pathLst>
                    <a:path w="87438" h="91744">
                      <a:moveTo>
                        <a:pt x="87438" y="89591"/>
                      </a:moveTo>
                      <a:lnTo>
                        <a:pt x="85284" y="91744"/>
                      </a:lnTo>
                      <a:lnTo>
                        <a:pt x="0" y="2093"/>
                      </a:lnTo>
                      <a:lnTo>
                        <a:pt x="2153" y="0"/>
                      </a:lnTo>
                      <a:close/>
                    </a:path>
                  </a:pathLst>
                </a:custGeom>
                <a:grpFill/>
                <a:ln w="5978" cap="flat">
                  <a:noFill/>
                  <a:prstDash val="solid"/>
                  <a:miter/>
                </a:ln>
              </p:spPr>
              <p:txBody>
                <a:bodyPr rtlCol="0" anchor="ctr"/>
                <a:lstStyle/>
                <a:p>
                  <a:endParaRPr lang="en-GB"/>
                </a:p>
              </p:txBody>
            </p:sp>
            <p:sp>
              <p:nvSpPr>
                <p:cNvPr id="3880" name="Vrije vorm: vorm 3879">
                  <a:extLst>
                    <a:ext uri="{FF2B5EF4-FFF2-40B4-BE49-F238E27FC236}">
                      <a16:creationId xmlns:a16="http://schemas.microsoft.com/office/drawing/2014/main" id="{4FA244E8-E1AC-4A6E-935A-F366DE209925}"/>
                    </a:ext>
                  </a:extLst>
                </p:cNvPr>
                <p:cNvSpPr/>
                <p:nvPr/>
              </p:nvSpPr>
              <p:spPr>
                <a:xfrm>
                  <a:off x="7301642" y="4727468"/>
                  <a:ext cx="18364" cy="18426"/>
                </a:xfrm>
                <a:custGeom>
                  <a:avLst/>
                  <a:gdLst>
                    <a:gd name="connsiteX0" fmla="*/ 15791 w 18364"/>
                    <a:gd name="connsiteY0" fmla="*/ 2844 h 18426"/>
                    <a:gd name="connsiteX1" fmla="*/ 15552 w 18364"/>
                    <a:gd name="connsiteY1" fmla="*/ 15882 h 18426"/>
                    <a:gd name="connsiteX2" fmla="*/ 2573 w 18364"/>
                    <a:gd name="connsiteY2" fmla="*/ 15583 h 18426"/>
                    <a:gd name="connsiteX3" fmla="*/ 2813 w 18364"/>
                    <a:gd name="connsiteY3" fmla="*/ 2545 h 18426"/>
                    <a:gd name="connsiteX4" fmla="*/ 15791 w 18364"/>
                    <a:gd name="connsiteY4" fmla="*/ 284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15791" y="2844"/>
                      </a:moveTo>
                      <a:cubicBezTo>
                        <a:pt x="19319" y="6552"/>
                        <a:pt x="19200" y="12353"/>
                        <a:pt x="15552" y="15882"/>
                      </a:cubicBezTo>
                      <a:cubicBezTo>
                        <a:pt x="11903" y="19410"/>
                        <a:pt x="6102" y="19231"/>
                        <a:pt x="2573" y="15583"/>
                      </a:cubicBezTo>
                      <a:cubicBezTo>
                        <a:pt x="-955" y="11875"/>
                        <a:pt x="-836" y="6073"/>
                        <a:pt x="2813" y="2545"/>
                      </a:cubicBezTo>
                      <a:cubicBezTo>
                        <a:pt x="6521" y="-984"/>
                        <a:pt x="12322" y="-805"/>
                        <a:pt x="15791" y="2844"/>
                      </a:cubicBezTo>
                      <a:close/>
                    </a:path>
                  </a:pathLst>
                </a:custGeom>
                <a:grpFill/>
                <a:ln w="5978" cap="flat">
                  <a:noFill/>
                  <a:prstDash val="solid"/>
                  <a:miter/>
                </a:ln>
              </p:spPr>
              <p:txBody>
                <a:bodyPr rtlCol="0" anchor="ctr"/>
                <a:lstStyle/>
                <a:p>
                  <a:endParaRPr lang="en-GB"/>
                </a:p>
              </p:txBody>
            </p:sp>
            <p:sp>
              <p:nvSpPr>
                <p:cNvPr id="3881" name="Vrije vorm: vorm 3880">
                  <a:extLst>
                    <a:ext uri="{FF2B5EF4-FFF2-40B4-BE49-F238E27FC236}">
                      <a16:creationId xmlns:a16="http://schemas.microsoft.com/office/drawing/2014/main" id="{9A9F5C9A-5FDE-40D5-963B-4FED791B38A7}"/>
                    </a:ext>
                  </a:extLst>
                </p:cNvPr>
                <p:cNvSpPr/>
                <p:nvPr/>
              </p:nvSpPr>
              <p:spPr>
                <a:xfrm>
                  <a:off x="7217015" y="4638513"/>
                  <a:ext cx="18319" cy="18469"/>
                </a:xfrm>
                <a:custGeom>
                  <a:avLst/>
                  <a:gdLst>
                    <a:gd name="connsiteX0" fmla="*/ 15791 w 18319"/>
                    <a:gd name="connsiteY0" fmla="*/ 2865 h 18469"/>
                    <a:gd name="connsiteX1" fmla="*/ 2813 w 18319"/>
                    <a:gd name="connsiteY1" fmla="*/ 2566 h 18469"/>
                    <a:gd name="connsiteX2" fmla="*/ 2573 w 18319"/>
                    <a:gd name="connsiteY2" fmla="*/ 15604 h 18469"/>
                    <a:gd name="connsiteX3" fmla="*/ 15552 w 18319"/>
                    <a:gd name="connsiteY3" fmla="*/ 15904 h 18469"/>
                    <a:gd name="connsiteX4" fmla="*/ 15791 w 18319"/>
                    <a:gd name="connsiteY4" fmla="*/ 2865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9">
                      <a:moveTo>
                        <a:pt x="15791" y="2865"/>
                      </a:moveTo>
                      <a:cubicBezTo>
                        <a:pt x="12263" y="-843"/>
                        <a:pt x="6461" y="-962"/>
                        <a:pt x="2813" y="2566"/>
                      </a:cubicBezTo>
                      <a:cubicBezTo>
                        <a:pt x="-836" y="6095"/>
                        <a:pt x="-955" y="11896"/>
                        <a:pt x="2573" y="15604"/>
                      </a:cubicBezTo>
                      <a:cubicBezTo>
                        <a:pt x="6102" y="19312"/>
                        <a:pt x="11903" y="19432"/>
                        <a:pt x="15552" y="15904"/>
                      </a:cubicBezTo>
                      <a:cubicBezTo>
                        <a:pt x="19140" y="12375"/>
                        <a:pt x="19260" y="6514"/>
                        <a:pt x="15791" y="2865"/>
                      </a:cubicBezTo>
                      <a:close/>
                    </a:path>
                  </a:pathLst>
                </a:custGeom>
                <a:grpFill/>
                <a:ln w="5978" cap="flat">
                  <a:noFill/>
                  <a:prstDash val="solid"/>
                  <a:miter/>
                </a:ln>
              </p:spPr>
              <p:txBody>
                <a:bodyPr rtlCol="0" anchor="ctr"/>
                <a:lstStyle/>
                <a:p>
                  <a:endParaRPr lang="en-GB"/>
                </a:p>
              </p:txBody>
            </p:sp>
          </p:grpSp>
          <p:grpSp>
            <p:nvGrpSpPr>
              <p:cNvPr id="503" name="Graphic 3">
                <a:extLst>
                  <a:ext uri="{FF2B5EF4-FFF2-40B4-BE49-F238E27FC236}">
                    <a16:creationId xmlns:a16="http://schemas.microsoft.com/office/drawing/2014/main" id="{1057E320-9906-4649-97B3-E92374850AD7}"/>
                  </a:ext>
                </a:extLst>
              </p:cNvPr>
              <p:cNvGrpSpPr/>
              <p:nvPr/>
            </p:nvGrpSpPr>
            <p:grpSpPr>
              <a:xfrm>
                <a:off x="6186191" y="1409272"/>
                <a:ext cx="80597" cy="339954"/>
                <a:chOff x="6186191" y="1409272"/>
                <a:chExt cx="80597" cy="339954"/>
              </a:xfrm>
              <a:grpFill/>
            </p:grpSpPr>
            <p:sp>
              <p:nvSpPr>
                <p:cNvPr id="3876" name="Vrije vorm: vorm 3875">
                  <a:extLst>
                    <a:ext uri="{FF2B5EF4-FFF2-40B4-BE49-F238E27FC236}">
                      <a16:creationId xmlns:a16="http://schemas.microsoft.com/office/drawing/2014/main" id="{5744EC39-6321-4C34-917D-A6EE87FD451C}"/>
                    </a:ext>
                  </a:extLst>
                </p:cNvPr>
                <p:cNvSpPr/>
                <p:nvPr/>
              </p:nvSpPr>
              <p:spPr>
                <a:xfrm>
                  <a:off x="6193775" y="1417710"/>
                  <a:ext cx="65369" cy="323018"/>
                </a:xfrm>
                <a:custGeom>
                  <a:avLst/>
                  <a:gdLst>
                    <a:gd name="connsiteX0" fmla="*/ 65369 w 65369"/>
                    <a:gd name="connsiteY0" fmla="*/ 598 h 323018"/>
                    <a:gd name="connsiteX1" fmla="*/ 2990 w 65369"/>
                    <a:gd name="connsiteY1" fmla="*/ 323019 h 323018"/>
                    <a:gd name="connsiteX2" fmla="*/ 0 w 65369"/>
                    <a:gd name="connsiteY2" fmla="*/ 322421 h 323018"/>
                    <a:gd name="connsiteX3" fmla="*/ 62439 w 65369"/>
                    <a:gd name="connsiteY3" fmla="*/ 0 h 323018"/>
                  </a:gdLst>
                  <a:ahLst/>
                  <a:cxnLst>
                    <a:cxn ang="0">
                      <a:pos x="connsiteX0" y="connsiteY0"/>
                    </a:cxn>
                    <a:cxn ang="0">
                      <a:pos x="connsiteX1" y="connsiteY1"/>
                    </a:cxn>
                    <a:cxn ang="0">
                      <a:pos x="connsiteX2" y="connsiteY2"/>
                    </a:cxn>
                    <a:cxn ang="0">
                      <a:pos x="connsiteX3" y="connsiteY3"/>
                    </a:cxn>
                  </a:cxnLst>
                  <a:rect l="l" t="t" r="r" b="b"/>
                  <a:pathLst>
                    <a:path w="65369" h="323018">
                      <a:moveTo>
                        <a:pt x="65369" y="598"/>
                      </a:moveTo>
                      <a:lnTo>
                        <a:pt x="2990" y="323019"/>
                      </a:lnTo>
                      <a:lnTo>
                        <a:pt x="0" y="322421"/>
                      </a:lnTo>
                      <a:lnTo>
                        <a:pt x="62439" y="0"/>
                      </a:lnTo>
                      <a:close/>
                    </a:path>
                  </a:pathLst>
                </a:custGeom>
                <a:grpFill/>
                <a:ln w="5978" cap="flat">
                  <a:noFill/>
                  <a:prstDash val="solid"/>
                  <a:miter/>
                </a:ln>
              </p:spPr>
              <p:txBody>
                <a:bodyPr rtlCol="0" anchor="ctr"/>
                <a:lstStyle/>
                <a:p>
                  <a:endParaRPr lang="en-GB"/>
                </a:p>
              </p:txBody>
            </p:sp>
            <p:sp>
              <p:nvSpPr>
                <p:cNvPr id="3877" name="Vrije vorm: vorm 3876">
                  <a:extLst>
                    <a:ext uri="{FF2B5EF4-FFF2-40B4-BE49-F238E27FC236}">
                      <a16:creationId xmlns:a16="http://schemas.microsoft.com/office/drawing/2014/main" id="{186334F8-0736-43EA-92BC-709B99170941}"/>
                    </a:ext>
                  </a:extLst>
                </p:cNvPr>
                <p:cNvSpPr/>
                <p:nvPr/>
              </p:nvSpPr>
              <p:spPr>
                <a:xfrm>
                  <a:off x="6186191" y="1730796"/>
                  <a:ext cx="18335" cy="18431"/>
                </a:xfrm>
                <a:custGeom>
                  <a:avLst/>
                  <a:gdLst>
                    <a:gd name="connsiteX0" fmla="*/ 18170 w 18335"/>
                    <a:gd name="connsiteY0" fmla="*/ 11010 h 18431"/>
                    <a:gd name="connsiteX1" fmla="*/ 7405 w 18335"/>
                    <a:gd name="connsiteY1" fmla="*/ 18246 h 18431"/>
                    <a:gd name="connsiteX2" fmla="*/ 168 w 18335"/>
                    <a:gd name="connsiteY2" fmla="*/ 7421 h 18431"/>
                    <a:gd name="connsiteX3" fmla="*/ 10933 w 18335"/>
                    <a:gd name="connsiteY3" fmla="*/ 185 h 18431"/>
                    <a:gd name="connsiteX4" fmla="*/ 18170 w 18335"/>
                    <a:gd name="connsiteY4" fmla="*/ 1101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1">
                      <a:moveTo>
                        <a:pt x="18170" y="11010"/>
                      </a:moveTo>
                      <a:cubicBezTo>
                        <a:pt x="17213" y="15974"/>
                        <a:pt x="12368" y="19263"/>
                        <a:pt x="7405" y="18246"/>
                      </a:cubicBezTo>
                      <a:cubicBezTo>
                        <a:pt x="2441" y="17230"/>
                        <a:pt x="-789" y="12385"/>
                        <a:pt x="168" y="7421"/>
                      </a:cubicBezTo>
                      <a:cubicBezTo>
                        <a:pt x="1125" y="2457"/>
                        <a:pt x="5969" y="-832"/>
                        <a:pt x="10933" y="185"/>
                      </a:cubicBezTo>
                      <a:cubicBezTo>
                        <a:pt x="15837" y="1142"/>
                        <a:pt x="19127" y="5986"/>
                        <a:pt x="18170" y="11010"/>
                      </a:cubicBezTo>
                      <a:close/>
                    </a:path>
                  </a:pathLst>
                </a:custGeom>
                <a:grpFill/>
                <a:ln w="5978" cap="flat">
                  <a:noFill/>
                  <a:prstDash val="solid"/>
                  <a:miter/>
                </a:ln>
              </p:spPr>
              <p:txBody>
                <a:bodyPr rtlCol="0" anchor="ctr"/>
                <a:lstStyle/>
                <a:p>
                  <a:endParaRPr lang="en-GB"/>
                </a:p>
              </p:txBody>
            </p:sp>
            <p:sp>
              <p:nvSpPr>
                <p:cNvPr id="3878" name="Vrije vorm: vorm 3877">
                  <a:extLst>
                    <a:ext uri="{FF2B5EF4-FFF2-40B4-BE49-F238E27FC236}">
                      <a16:creationId xmlns:a16="http://schemas.microsoft.com/office/drawing/2014/main" id="{74006024-D8E6-4ED7-B1B5-E0E81B6EC226}"/>
                    </a:ext>
                  </a:extLst>
                </p:cNvPr>
                <p:cNvSpPr/>
                <p:nvPr/>
              </p:nvSpPr>
              <p:spPr>
                <a:xfrm>
                  <a:off x="6248450" y="1409272"/>
                  <a:ext cx="18337" cy="18431"/>
                </a:xfrm>
                <a:custGeom>
                  <a:avLst/>
                  <a:gdLst>
                    <a:gd name="connsiteX0" fmla="*/ 18170 w 18337"/>
                    <a:gd name="connsiteY0" fmla="*/ 11010 h 18431"/>
                    <a:gd name="connsiteX1" fmla="*/ 10933 w 18337"/>
                    <a:gd name="connsiteY1" fmla="*/ 185 h 18431"/>
                    <a:gd name="connsiteX2" fmla="*/ 168 w 18337"/>
                    <a:gd name="connsiteY2" fmla="*/ 7421 h 18431"/>
                    <a:gd name="connsiteX3" fmla="*/ 7404 w 18337"/>
                    <a:gd name="connsiteY3" fmla="*/ 18246 h 18431"/>
                    <a:gd name="connsiteX4" fmla="*/ 18170 w 18337"/>
                    <a:gd name="connsiteY4" fmla="*/ 1101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1">
                      <a:moveTo>
                        <a:pt x="18170" y="11010"/>
                      </a:moveTo>
                      <a:cubicBezTo>
                        <a:pt x="19127" y="6046"/>
                        <a:pt x="15897" y="1142"/>
                        <a:pt x="10933" y="185"/>
                      </a:cubicBezTo>
                      <a:cubicBezTo>
                        <a:pt x="5969" y="-832"/>
                        <a:pt x="1125" y="2457"/>
                        <a:pt x="168" y="7421"/>
                      </a:cubicBezTo>
                      <a:cubicBezTo>
                        <a:pt x="-789" y="12385"/>
                        <a:pt x="2440" y="17289"/>
                        <a:pt x="7404" y="18246"/>
                      </a:cubicBezTo>
                      <a:cubicBezTo>
                        <a:pt x="12369" y="19263"/>
                        <a:pt x="17153" y="15974"/>
                        <a:pt x="18170" y="11010"/>
                      </a:cubicBezTo>
                      <a:close/>
                    </a:path>
                  </a:pathLst>
                </a:custGeom>
                <a:grpFill/>
                <a:ln w="5978" cap="flat">
                  <a:noFill/>
                  <a:prstDash val="solid"/>
                  <a:miter/>
                </a:ln>
              </p:spPr>
              <p:txBody>
                <a:bodyPr rtlCol="0" anchor="ctr"/>
                <a:lstStyle/>
                <a:p>
                  <a:endParaRPr lang="en-GB"/>
                </a:p>
              </p:txBody>
            </p:sp>
          </p:grpSp>
          <p:grpSp>
            <p:nvGrpSpPr>
              <p:cNvPr id="504" name="Graphic 3">
                <a:extLst>
                  <a:ext uri="{FF2B5EF4-FFF2-40B4-BE49-F238E27FC236}">
                    <a16:creationId xmlns:a16="http://schemas.microsoft.com/office/drawing/2014/main" id="{990A176C-E1AC-4F4A-9A48-16EED6E1341D}"/>
                  </a:ext>
                </a:extLst>
              </p:cNvPr>
              <p:cNvGrpSpPr/>
              <p:nvPr/>
            </p:nvGrpSpPr>
            <p:grpSpPr>
              <a:xfrm>
                <a:off x="6165828" y="1375164"/>
                <a:ext cx="29278" cy="188439"/>
                <a:chOff x="6165828" y="1375164"/>
                <a:chExt cx="29278" cy="188439"/>
              </a:xfrm>
              <a:grpFill/>
            </p:grpSpPr>
            <p:sp>
              <p:nvSpPr>
                <p:cNvPr id="3873" name="Vrije vorm: vorm 3872">
                  <a:extLst>
                    <a:ext uri="{FF2B5EF4-FFF2-40B4-BE49-F238E27FC236}">
                      <a16:creationId xmlns:a16="http://schemas.microsoft.com/office/drawing/2014/main" id="{8CBD74B5-100D-4AA8-9D93-E62DA49FF3E5}"/>
                    </a:ext>
                  </a:extLst>
                </p:cNvPr>
                <p:cNvSpPr/>
                <p:nvPr/>
              </p:nvSpPr>
              <p:spPr>
                <a:xfrm>
                  <a:off x="6173440" y="1383800"/>
                  <a:ext cx="14054" cy="171168"/>
                </a:xfrm>
                <a:custGeom>
                  <a:avLst/>
                  <a:gdLst>
                    <a:gd name="connsiteX0" fmla="*/ 14055 w 14054"/>
                    <a:gd name="connsiteY0" fmla="*/ 239 h 171168"/>
                    <a:gd name="connsiteX1" fmla="*/ 3050 w 14054"/>
                    <a:gd name="connsiteY1" fmla="*/ 171168 h 171168"/>
                    <a:gd name="connsiteX2" fmla="*/ 0 w 14054"/>
                    <a:gd name="connsiteY2" fmla="*/ 170929 h 171168"/>
                    <a:gd name="connsiteX3" fmla="*/ 11004 w 14054"/>
                    <a:gd name="connsiteY3" fmla="*/ 0 h 171168"/>
                  </a:gdLst>
                  <a:ahLst/>
                  <a:cxnLst>
                    <a:cxn ang="0">
                      <a:pos x="connsiteX0" y="connsiteY0"/>
                    </a:cxn>
                    <a:cxn ang="0">
                      <a:pos x="connsiteX1" y="connsiteY1"/>
                    </a:cxn>
                    <a:cxn ang="0">
                      <a:pos x="connsiteX2" y="connsiteY2"/>
                    </a:cxn>
                    <a:cxn ang="0">
                      <a:pos x="connsiteX3" y="connsiteY3"/>
                    </a:cxn>
                  </a:cxnLst>
                  <a:rect l="l" t="t" r="r" b="b"/>
                  <a:pathLst>
                    <a:path w="14054" h="171168">
                      <a:moveTo>
                        <a:pt x="14055" y="239"/>
                      </a:moveTo>
                      <a:lnTo>
                        <a:pt x="3050" y="171168"/>
                      </a:lnTo>
                      <a:lnTo>
                        <a:pt x="0" y="170929"/>
                      </a:lnTo>
                      <a:lnTo>
                        <a:pt x="11004" y="0"/>
                      </a:lnTo>
                      <a:close/>
                    </a:path>
                  </a:pathLst>
                </a:custGeom>
                <a:grpFill/>
                <a:ln w="5978" cap="flat">
                  <a:noFill/>
                  <a:prstDash val="solid"/>
                  <a:miter/>
                </a:ln>
              </p:spPr>
              <p:txBody>
                <a:bodyPr rtlCol="0" anchor="ctr"/>
                <a:lstStyle/>
                <a:p>
                  <a:endParaRPr lang="en-GB"/>
                </a:p>
              </p:txBody>
            </p:sp>
            <p:sp>
              <p:nvSpPr>
                <p:cNvPr id="3874" name="Vrije vorm: vorm 3873">
                  <a:extLst>
                    <a:ext uri="{FF2B5EF4-FFF2-40B4-BE49-F238E27FC236}">
                      <a16:creationId xmlns:a16="http://schemas.microsoft.com/office/drawing/2014/main" id="{031B871C-CF17-4AD0-9CBF-107A6E63EFAC}"/>
                    </a:ext>
                  </a:extLst>
                </p:cNvPr>
                <p:cNvSpPr/>
                <p:nvPr/>
              </p:nvSpPr>
              <p:spPr>
                <a:xfrm>
                  <a:off x="6176766" y="1375164"/>
                  <a:ext cx="18340" cy="18407"/>
                </a:xfrm>
                <a:custGeom>
                  <a:avLst/>
                  <a:gdLst>
                    <a:gd name="connsiteX0" fmla="*/ 23 w 18340"/>
                    <a:gd name="connsiteY0" fmla="*/ 8576 h 18407"/>
                    <a:gd name="connsiteX1" fmla="*/ 9772 w 18340"/>
                    <a:gd name="connsiteY1" fmla="*/ 23 h 18407"/>
                    <a:gd name="connsiteX2" fmla="*/ 18324 w 18340"/>
                    <a:gd name="connsiteY2" fmla="*/ 9832 h 18407"/>
                    <a:gd name="connsiteX3" fmla="*/ 8576 w 18340"/>
                    <a:gd name="connsiteY3" fmla="*/ 18384 h 18407"/>
                    <a:gd name="connsiteX4" fmla="*/ 23 w 18340"/>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7">
                      <a:moveTo>
                        <a:pt x="23" y="8576"/>
                      </a:moveTo>
                      <a:cubicBezTo>
                        <a:pt x="322" y="3492"/>
                        <a:pt x="4688" y="-336"/>
                        <a:pt x="9772" y="23"/>
                      </a:cubicBezTo>
                      <a:cubicBezTo>
                        <a:pt x="14796" y="382"/>
                        <a:pt x="18623" y="4748"/>
                        <a:pt x="18324" y="9832"/>
                      </a:cubicBezTo>
                      <a:cubicBezTo>
                        <a:pt x="18025" y="14915"/>
                        <a:pt x="13659" y="18743"/>
                        <a:pt x="8576" y="18384"/>
                      </a:cubicBezTo>
                      <a:cubicBezTo>
                        <a:pt x="3492" y="18025"/>
                        <a:pt x="-336" y="13659"/>
                        <a:pt x="23" y="8576"/>
                      </a:cubicBezTo>
                      <a:close/>
                    </a:path>
                  </a:pathLst>
                </a:custGeom>
                <a:grpFill/>
                <a:ln w="5978" cap="flat">
                  <a:noFill/>
                  <a:prstDash val="solid"/>
                  <a:miter/>
                </a:ln>
              </p:spPr>
              <p:txBody>
                <a:bodyPr rtlCol="0" anchor="ctr"/>
                <a:lstStyle/>
                <a:p>
                  <a:endParaRPr lang="en-GB"/>
                </a:p>
              </p:txBody>
            </p:sp>
            <p:sp>
              <p:nvSpPr>
                <p:cNvPr id="3875" name="Vrije vorm: vorm 3874">
                  <a:extLst>
                    <a:ext uri="{FF2B5EF4-FFF2-40B4-BE49-F238E27FC236}">
                      <a16:creationId xmlns:a16="http://schemas.microsoft.com/office/drawing/2014/main" id="{18F201E6-4085-401B-9BD1-9F95AB44F77A}"/>
                    </a:ext>
                  </a:extLst>
                </p:cNvPr>
                <p:cNvSpPr/>
                <p:nvPr/>
              </p:nvSpPr>
              <p:spPr>
                <a:xfrm>
                  <a:off x="6165828" y="1545196"/>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3" y="18743"/>
                        <a:pt x="17959" y="14915"/>
                        <a:pt x="18317" y="9832"/>
                      </a:cubicBezTo>
                      <a:cubicBezTo>
                        <a:pt x="18616" y="4748"/>
                        <a:pt x="14789" y="382"/>
                        <a:pt x="9765" y="23"/>
                      </a:cubicBezTo>
                      <a:cubicBezTo>
                        <a:pt x="4682" y="-336"/>
                        <a:pt x="315" y="3492"/>
                        <a:pt x="16" y="8576"/>
                      </a:cubicBezTo>
                      <a:close/>
                    </a:path>
                  </a:pathLst>
                </a:custGeom>
                <a:grpFill/>
                <a:ln w="5978" cap="flat">
                  <a:noFill/>
                  <a:prstDash val="solid"/>
                  <a:miter/>
                </a:ln>
              </p:spPr>
              <p:txBody>
                <a:bodyPr rtlCol="0" anchor="ctr"/>
                <a:lstStyle/>
                <a:p>
                  <a:endParaRPr lang="en-GB"/>
                </a:p>
              </p:txBody>
            </p:sp>
          </p:grpSp>
          <p:grpSp>
            <p:nvGrpSpPr>
              <p:cNvPr id="505" name="Graphic 3">
                <a:extLst>
                  <a:ext uri="{FF2B5EF4-FFF2-40B4-BE49-F238E27FC236}">
                    <a16:creationId xmlns:a16="http://schemas.microsoft.com/office/drawing/2014/main" id="{1F30DB1D-00C6-4285-84C3-2EF270AF0590}"/>
                  </a:ext>
                </a:extLst>
              </p:cNvPr>
              <p:cNvGrpSpPr/>
              <p:nvPr/>
            </p:nvGrpSpPr>
            <p:grpSpPr>
              <a:xfrm>
                <a:off x="7285289" y="4920667"/>
                <a:ext cx="222522" cy="267697"/>
                <a:chOff x="7285289" y="4920667"/>
                <a:chExt cx="222522" cy="267697"/>
              </a:xfrm>
              <a:grpFill/>
            </p:grpSpPr>
            <p:sp>
              <p:nvSpPr>
                <p:cNvPr id="3870" name="Vrije vorm: vorm 3869">
                  <a:extLst>
                    <a:ext uri="{FF2B5EF4-FFF2-40B4-BE49-F238E27FC236}">
                      <a16:creationId xmlns:a16="http://schemas.microsoft.com/office/drawing/2014/main" id="{306CDFF4-ACDD-4517-B883-866FFFF89C4D}"/>
                    </a:ext>
                  </a:extLst>
                </p:cNvPr>
                <p:cNvSpPr/>
                <p:nvPr/>
              </p:nvSpPr>
              <p:spPr>
                <a:xfrm>
                  <a:off x="7292971" y="4928573"/>
                  <a:ext cx="207112" cy="251848"/>
                </a:xfrm>
                <a:custGeom>
                  <a:avLst/>
                  <a:gdLst>
                    <a:gd name="connsiteX0" fmla="*/ 207112 w 207112"/>
                    <a:gd name="connsiteY0" fmla="*/ 249934 h 251848"/>
                    <a:gd name="connsiteX1" fmla="*/ 204780 w 207112"/>
                    <a:gd name="connsiteY1" fmla="*/ 251848 h 251848"/>
                    <a:gd name="connsiteX2" fmla="*/ 0 w 207112"/>
                    <a:gd name="connsiteY2" fmla="*/ 1914 h 251848"/>
                    <a:gd name="connsiteX3" fmla="*/ 2333 w 207112"/>
                    <a:gd name="connsiteY3" fmla="*/ 0 h 251848"/>
                  </a:gdLst>
                  <a:ahLst/>
                  <a:cxnLst>
                    <a:cxn ang="0">
                      <a:pos x="connsiteX0" y="connsiteY0"/>
                    </a:cxn>
                    <a:cxn ang="0">
                      <a:pos x="connsiteX1" y="connsiteY1"/>
                    </a:cxn>
                    <a:cxn ang="0">
                      <a:pos x="connsiteX2" y="connsiteY2"/>
                    </a:cxn>
                    <a:cxn ang="0">
                      <a:pos x="connsiteX3" y="connsiteY3"/>
                    </a:cxn>
                  </a:cxnLst>
                  <a:rect l="l" t="t" r="r" b="b"/>
                  <a:pathLst>
                    <a:path w="207112" h="251848">
                      <a:moveTo>
                        <a:pt x="207112" y="249934"/>
                      </a:moveTo>
                      <a:lnTo>
                        <a:pt x="204780" y="251848"/>
                      </a:lnTo>
                      <a:lnTo>
                        <a:pt x="0" y="1914"/>
                      </a:lnTo>
                      <a:lnTo>
                        <a:pt x="2333" y="0"/>
                      </a:lnTo>
                      <a:close/>
                    </a:path>
                  </a:pathLst>
                </a:custGeom>
                <a:grpFill/>
                <a:ln w="5978" cap="flat">
                  <a:noFill/>
                  <a:prstDash val="solid"/>
                  <a:miter/>
                </a:ln>
              </p:spPr>
              <p:txBody>
                <a:bodyPr rtlCol="0" anchor="ctr"/>
                <a:lstStyle/>
                <a:p>
                  <a:endParaRPr lang="en-GB"/>
                </a:p>
              </p:txBody>
            </p:sp>
            <p:sp>
              <p:nvSpPr>
                <p:cNvPr id="3871" name="Vrije vorm: vorm 3870">
                  <a:extLst>
                    <a:ext uri="{FF2B5EF4-FFF2-40B4-BE49-F238E27FC236}">
                      <a16:creationId xmlns:a16="http://schemas.microsoft.com/office/drawing/2014/main" id="{53F16F12-6A10-4902-A6A2-D242A748689E}"/>
                    </a:ext>
                  </a:extLst>
                </p:cNvPr>
                <p:cNvSpPr/>
                <p:nvPr/>
              </p:nvSpPr>
              <p:spPr>
                <a:xfrm>
                  <a:off x="7489426" y="5169907"/>
                  <a:ext cx="18384" cy="18456"/>
                </a:xfrm>
                <a:custGeom>
                  <a:avLst/>
                  <a:gdLst>
                    <a:gd name="connsiteX0" fmla="*/ 16280 w 18384"/>
                    <a:gd name="connsiteY0" fmla="*/ 3397 h 18456"/>
                    <a:gd name="connsiteX1" fmla="*/ 15023 w 18384"/>
                    <a:gd name="connsiteY1" fmla="*/ 16375 h 18456"/>
                    <a:gd name="connsiteX2" fmla="*/ 2106 w 18384"/>
                    <a:gd name="connsiteY2" fmla="*/ 15059 h 18456"/>
                    <a:gd name="connsiteX3" fmla="*/ 3361 w 18384"/>
                    <a:gd name="connsiteY3" fmla="*/ 2081 h 18456"/>
                    <a:gd name="connsiteX4" fmla="*/ 16280 w 18384"/>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56">
                      <a:moveTo>
                        <a:pt x="16280" y="3397"/>
                      </a:moveTo>
                      <a:cubicBezTo>
                        <a:pt x="19509" y="7344"/>
                        <a:pt x="18971" y="13145"/>
                        <a:pt x="15023" y="16375"/>
                      </a:cubicBezTo>
                      <a:cubicBezTo>
                        <a:pt x="11137" y="19605"/>
                        <a:pt x="5335" y="19007"/>
                        <a:pt x="2106" y="15059"/>
                      </a:cubicBezTo>
                      <a:cubicBezTo>
                        <a:pt x="-1124" y="11112"/>
                        <a:pt x="-586" y="5311"/>
                        <a:pt x="3361" y="2081"/>
                      </a:cubicBezTo>
                      <a:cubicBezTo>
                        <a:pt x="7249" y="-1148"/>
                        <a:pt x="13050" y="-550"/>
                        <a:pt x="16280" y="3397"/>
                      </a:cubicBezTo>
                      <a:close/>
                    </a:path>
                  </a:pathLst>
                </a:custGeom>
                <a:grpFill/>
                <a:ln w="5978" cap="flat">
                  <a:noFill/>
                  <a:prstDash val="solid"/>
                  <a:miter/>
                </a:ln>
              </p:spPr>
              <p:txBody>
                <a:bodyPr rtlCol="0" anchor="ctr"/>
                <a:lstStyle/>
                <a:p>
                  <a:endParaRPr lang="en-GB"/>
                </a:p>
              </p:txBody>
            </p:sp>
            <p:sp>
              <p:nvSpPr>
                <p:cNvPr id="3872" name="Vrije vorm: vorm 3871">
                  <a:extLst>
                    <a:ext uri="{FF2B5EF4-FFF2-40B4-BE49-F238E27FC236}">
                      <a16:creationId xmlns:a16="http://schemas.microsoft.com/office/drawing/2014/main" id="{735FDBB2-EF2C-4B07-8167-320074BC048F}"/>
                    </a:ext>
                  </a:extLst>
                </p:cNvPr>
                <p:cNvSpPr/>
                <p:nvPr/>
              </p:nvSpPr>
              <p:spPr>
                <a:xfrm>
                  <a:off x="7285289" y="4920667"/>
                  <a:ext cx="18341" cy="18455"/>
                </a:xfrm>
                <a:custGeom>
                  <a:avLst/>
                  <a:gdLst>
                    <a:gd name="connsiteX0" fmla="*/ 16236 w 18341"/>
                    <a:gd name="connsiteY0" fmla="*/ 3361 h 18455"/>
                    <a:gd name="connsiteX1" fmla="*/ 3317 w 18341"/>
                    <a:gd name="connsiteY1" fmla="*/ 2105 h 18455"/>
                    <a:gd name="connsiteX2" fmla="*/ 2061 w 18341"/>
                    <a:gd name="connsiteY2" fmla="*/ 15084 h 18455"/>
                    <a:gd name="connsiteX3" fmla="*/ 14980 w 18341"/>
                    <a:gd name="connsiteY3" fmla="*/ 16399 h 18455"/>
                    <a:gd name="connsiteX4" fmla="*/ 16236 w 18341"/>
                    <a:gd name="connsiteY4" fmla="*/ 3361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5">
                      <a:moveTo>
                        <a:pt x="16236" y="3361"/>
                      </a:moveTo>
                      <a:cubicBezTo>
                        <a:pt x="13006" y="-586"/>
                        <a:pt x="7205" y="-1124"/>
                        <a:pt x="3317" y="2105"/>
                      </a:cubicBezTo>
                      <a:cubicBezTo>
                        <a:pt x="-571" y="5335"/>
                        <a:pt x="-1109" y="11136"/>
                        <a:pt x="2061" y="15084"/>
                      </a:cubicBezTo>
                      <a:cubicBezTo>
                        <a:pt x="5291" y="19031"/>
                        <a:pt x="11092" y="19569"/>
                        <a:pt x="14980" y="16399"/>
                      </a:cubicBezTo>
                      <a:cubicBezTo>
                        <a:pt x="18927" y="13110"/>
                        <a:pt x="19465" y="7309"/>
                        <a:pt x="16236" y="3361"/>
                      </a:cubicBezTo>
                      <a:close/>
                    </a:path>
                  </a:pathLst>
                </a:custGeom>
                <a:grpFill/>
                <a:ln w="5978" cap="flat">
                  <a:noFill/>
                  <a:prstDash val="solid"/>
                  <a:miter/>
                </a:ln>
              </p:spPr>
              <p:txBody>
                <a:bodyPr rtlCol="0" anchor="ctr"/>
                <a:lstStyle/>
                <a:p>
                  <a:endParaRPr lang="en-GB"/>
                </a:p>
              </p:txBody>
            </p:sp>
          </p:grpSp>
          <p:grpSp>
            <p:nvGrpSpPr>
              <p:cNvPr id="506" name="Graphic 3">
                <a:extLst>
                  <a:ext uri="{FF2B5EF4-FFF2-40B4-BE49-F238E27FC236}">
                    <a16:creationId xmlns:a16="http://schemas.microsoft.com/office/drawing/2014/main" id="{006C7506-D3CF-489E-B786-E892B8523885}"/>
                  </a:ext>
                </a:extLst>
              </p:cNvPr>
              <p:cNvGrpSpPr/>
              <p:nvPr/>
            </p:nvGrpSpPr>
            <p:grpSpPr>
              <a:xfrm>
                <a:off x="6247536" y="1657771"/>
                <a:ext cx="27701" cy="96253"/>
                <a:chOff x="6247536" y="1657771"/>
                <a:chExt cx="27701" cy="96253"/>
              </a:xfrm>
              <a:grpFill/>
            </p:grpSpPr>
            <p:sp>
              <p:nvSpPr>
                <p:cNvPr id="3867" name="Vrije vorm: vorm 3866">
                  <a:extLst>
                    <a:ext uri="{FF2B5EF4-FFF2-40B4-BE49-F238E27FC236}">
                      <a16:creationId xmlns:a16="http://schemas.microsoft.com/office/drawing/2014/main" id="{FA07DD5A-D76A-4FA9-9794-C2AC930E282D}"/>
                    </a:ext>
                  </a:extLst>
                </p:cNvPr>
                <p:cNvSpPr/>
                <p:nvPr/>
              </p:nvSpPr>
              <p:spPr>
                <a:xfrm>
                  <a:off x="6255077" y="1666329"/>
                  <a:ext cx="12559" cy="79124"/>
                </a:xfrm>
                <a:custGeom>
                  <a:avLst/>
                  <a:gdLst>
                    <a:gd name="connsiteX0" fmla="*/ 12560 w 12559"/>
                    <a:gd name="connsiteY0" fmla="*/ 419 h 79124"/>
                    <a:gd name="connsiteX1" fmla="*/ 3050 w 12559"/>
                    <a:gd name="connsiteY1" fmla="*/ 79125 h 79124"/>
                    <a:gd name="connsiteX2" fmla="*/ 0 w 12559"/>
                    <a:gd name="connsiteY2" fmla="*/ 78706 h 79124"/>
                    <a:gd name="connsiteX3" fmla="*/ 9510 w 12559"/>
                    <a:gd name="connsiteY3" fmla="*/ 0 h 79124"/>
                  </a:gdLst>
                  <a:ahLst/>
                  <a:cxnLst>
                    <a:cxn ang="0">
                      <a:pos x="connsiteX0" y="connsiteY0"/>
                    </a:cxn>
                    <a:cxn ang="0">
                      <a:pos x="connsiteX1" y="connsiteY1"/>
                    </a:cxn>
                    <a:cxn ang="0">
                      <a:pos x="connsiteX2" y="connsiteY2"/>
                    </a:cxn>
                    <a:cxn ang="0">
                      <a:pos x="connsiteX3" y="connsiteY3"/>
                    </a:cxn>
                  </a:cxnLst>
                  <a:rect l="l" t="t" r="r" b="b"/>
                  <a:pathLst>
                    <a:path w="12559" h="79124">
                      <a:moveTo>
                        <a:pt x="12560" y="419"/>
                      </a:moveTo>
                      <a:lnTo>
                        <a:pt x="3050" y="79125"/>
                      </a:lnTo>
                      <a:lnTo>
                        <a:pt x="0" y="78706"/>
                      </a:lnTo>
                      <a:lnTo>
                        <a:pt x="9510" y="0"/>
                      </a:lnTo>
                      <a:close/>
                    </a:path>
                  </a:pathLst>
                </a:custGeom>
                <a:grpFill/>
                <a:ln w="5978" cap="flat">
                  <a:noFill/>
                  <a:prstDash val="solid"/>
                  <a:miter/>
                </a:ln>
              </p:spPr>
              <p:txBody>
                <a:bodyPr rtlCol="0" anchor="ctr"/>
                <a:lstStyle/>
                <a:p>
                  <a:endParaRPr lang="en-GB"/>
                </a:p>
              </p:txBody>
            </p:sp>
            <p:sp>
              <p:nvSpPr>
                <p:cNvPr id="3868" name="Vrije vorm: vorm 3867">
                  <a:extLst>
                    <a:ext uri="{FF2B5EF4-FFF2-40B4-BE49-F238E27FC236}">
                      <a16:creationId xmlns:a16="http://schemas.microsoft.com/office/drawing/2014/main" id="{76D7D7B3-1360-418A-9106-FFBD5C6D7203}"/>
                    </a:ext>
                  </a:extLst>
                </p:cNvPr>
                <p:cNvSpPr/>
                <p:nvPr/>
              </p:nvSpPr>
              <p:spPr>
                <a:xfrm>
                  <a:off x="6256866" y="1657771"/>
                  <a:ext cx="18371" cy="18431"/>
                </a:xfrm>
                <a:custGeom>
                  <a:avLst/>
                  <a:gdLst>
                    <a:gd name="connsiteX0" fmla="*/ 65 w 18371"/>
                    <a:gd name="connsiteY0" fmla="*/ 8079 h 18431"/>
                    <a:gd name="connsiteX1" fmla="*/ 10292 w 18371"/>
                    <a:gd name="connsiteY1" fmla="*/ 65 h 18431"/>
                    <a:gd name="connsiteX2" fmla="*/ 18307 w 18371"/>
                    <a:gd name="connsiteY2" fmla="*/ 10352 h 18431"/>
                    <a:gd name="connsiteX3" fmla="*/ 8079 w 18371"/>
                    <a:gd name="connsiteY3" fmla="*/ 18366 h 18431"/>
                    <a:gd name="connsiteX4" fmla="*/ 65 w 18371"/>
                    <a:gd name="connsiteY4" fmla="*/ 807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31">
                      <a:moveTo>
                        <a:pt x="65" y="8079"/>
                      </a:moveTo>
                      <a:cubicBezTo>
                        <a:pt x="663" y="3055"/>
                        <a:pt x="5268" y="-533"/>
                        <a:pt x="10292" y="65"/>
                      </a:cubicBezTo>
                      <a:cubicBezTo>
                        <a:pt x="15316" y="723"/>
                        <a:pt x="18905" y="5328"/>
                        <a:pt x="18307" y="10352"/>
                      </a:cubicBezTo>
                      <a:cubicBezTo>
                        <a:pt x="17708" y="15376"/>
                        <a:pt x="13103" y="18964"/>
                        <a:pt x="8079" y="18366"/>
                      </a:cubicBezTo>
                      <a:cubicBezTo>
                        <a:pt x="3055" y="17708"/>
                        <a:pt x="-533" y="13103"/>
                        <a:pt x="65" y="8079"/>
                      </a:cubicBezTo>
                      <a:close/>
                    </a:path>
                  </a:pathLst>
                </a:custGeom>
                <a:grpFill/>
                <a:ln w="5978" cap="flat">
                  <a:noFill/>
                  <a:prstDash val="solid"/>
                  <a:miter/>
                </a:ln>
              </p:spPr>
              <p:txBody>
                <a:bodyPr rtlCol="0" anchor="ctr"/>
                <a:lstStyle/>
                <a:p>
                  <a:endParaRPr lang="en-GB"/>
                </a:p>
              </p:txBody>
            </p:sp>
            <p:sp>
              <p:nvSpPr>
                <p:cNvPr id="3869" name="Vrije vorm: vorm 3868">
                  <a:extLst>
                    <a:ext uri="{FF2B5EF4-FFF2-40B4-BE49-F238E27FC236}">
                      <a16:creationId xmlns:a16="http://schemas.microsoft.com/office/drawing/2014/main" id="{C9E77473-196C-421A-9287-83E7DF9C3D1D}"/>
                    </a:ext>
                  </a:extLst>
                </p:cNvPr>
                <p:cNvSpPr/>
                <p:nvPr/>
              </p:nvSpPr>
              <p:spPr>
                <a:xfrm>
                  <a:off x="6247536" y="1735579"/>
                  <a:ext cx="18371" cy="18444"/>
                </a:xfrm>
                <a:custGeom>
                  <a:avLst/>
                  <a:gdLst>
                    <a:gd name="connsiteX0" fmla="*/ 65 w 18371"/>
                    <a:gd name="connsiteY0" fmla="*/ 8080 h 18444"/>
                    <a:gd name="connsiteX1" fmla="*/ 8079 w 18371"/>
                    <a:gd name="connsiteY1" fmla="*/ 18367 h 18444"/>
                    <a:gd name="connsiteX2" fmla="*/ 18306 w 18371"/>
                    <a:gd name="connsiteY2" fmla="*/ 10353 h 18444"/>
                    <a:gd name="connsiteX3" fmla="*/ 10292 w 18371"/>
                    <a:gd name="connsiteY3" fmla="*/ 66 h 18444"/>
                    <a:gd name="connsiteX4" fmla="*/ 65 w 18371"/>
                    <a:gd name="connsiteY4" fmla="*/ 808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4">
                      <a:moveTo>
                        <a:pt x="65" y="8080"/>
                      </a:moveTo>
                      <a:cubicBezTo>
                        <a:pt x="-533" y="13104"/>
                        <a:pt x="3055" y="17709"/>
                        <a:pt x="8079" y="18367"/>
                      </a:cubicBezTo>
                      <a:cubicBezTo>
                        <a:pt x="13103" y="19025"/>
                        <a:pt x="17648" y="15437"/>
                        <a:pt x="18306" y="10353"/>
                      </a:cubicBezTo>
                      <a:cubicBezTo>
                        <a:pt x="18905" y="5329"/>
                        <a:pt x="15316" y="724"/>
                        <a:pt x="10292" y="66"/>
                      </a:cubicBezTo>
                      <a:cubicBezTo>
                        <a:pt x="5209" y="-532"/>
                        <a:pt x="663" y="2997"/>
                        <a:pt x="65" y="8080"/>
                      </a:cubicBezTo>
                      <a:close/>
                    </a:path>
                  </a:pathLst>
                </a:custGeom>
                <a:grpFill/>
                <a:ln w="5978" cap="flat">
                  <a:noFill/>
                  <a:prstDash val="solid"/>
                  <a:miter/>
                </a:ln>
              </p:spPr>
              <p:txBody>
                <a:bodyPr rtlCol="0" anchor="ctr"/>
                <a:lstStyle/>
                <a:p>
                  <a:endParaRPr lang="en-GB"/>
                </a:p>
              </p:txBody>
            </p:sp>
          </p:grpSp>
          <p:grpSp>
            <p:nvGrpSpPr>
              <p:cNvPr id="507" name="Graphic 3">
                <a:extLst>
                  <a:ext uri="{FF2B5EF4-FFF2-40B4-BE49-F238E27FC236}">
                    <a16:creationId xmlns:a16="http://schemas.microsoft.com/office/drawing/2014/main" id="{66D8C855-4BA0-418E-948D-B9E812580B20}"/>
                  </a:ext>
                </a:extLst>
              </p:cNvPr>
              <p:cNvGrpSpPr/>
              <p:nvPr/>
            </p:nvGrpSpPr>
            <p:grpSpPr>
              <a:xfrm>
                <a:off x="6134017" y="1292165"/>
                <a:ext cx="26993" cy="209106"/>
                <a:chOff x="6134017" y="1292165"/>
                <a:chExt cx="26993" cy="209106"/>
              </a:xfrm>
              <a:grpFill/>
            </p:grpSpPr>
            <p:sp>
              <p:nvSpPr>
                <p:cNvPr id="3864" name="Vrije vorm: vorm 3863">
                  <a:extLst>
                    <a:ext uri="{FF2B5EF4-FFF2-40B4-BE49-F238E27FC236}">
                      <a16:creationId xmlns:a16="http://schemas.microsoft.com/office/drawing/2014/main" id="{77EB3C8E-BA39-4E53-A09B-DC40673D3521}"/>
                    </a:ext>
                  </a:extLst>
                </p:cNvPr>
                <p:cNvSpPr/>
                <p:nvPr/>
              </p:nvSpPr>
              <p:spPr>
                <a:xfrm>
                  <a:off x="6141623" y="1300847"/>
                  <a:ext cx="11781" cy="191741"/>
                </a:xfrm>
                <a:custGeom>
                  <a:avLst/>
                  <a:gdLst>
                    <a:gd name="connsiteX0" fmla="*/ 11782 w 11781"/>
                    <a:gd name="connsiteY0" fmla="*/ 120 h 191741"/>
                    <a:gd name="connsiteX1" fmla="*/ 3050 w 11781"/>
                    <a:gd name="connsiteY1" fmla="*/ 191742 h 191741"/>
                    <a:gd name="connsiteX2" fmla="*/ 0 w 11781"/>
                    <a:gd name="connsiteY2" fmla="*/ 191622 h 191741"/>
                    <a:gd name="connsiteX3" fmla="*/ 8791 w 11781"/>
                    <a:gd name="connsiteY3" fmla="*/ 0 h 191741"/>
                  </a:gdLst>
                  <a:ahLst/>
                  <a:cxnLst>
                    <a:cxn ang="0">
                      <a:pos x="connsiteX0" y="connsiteY0"/>
                    </a:cxn>
                    <a:cxn ang="0">
                      <a:pos x="connsiteX1" y="connsiteY1"/>
                    </a:cxn>
                    <a:cxn ang="0">
                      <a:pos x="connsiteX2" y="connsiteY2"/>
                    </a:cxn>
                    <a:cxn ang="0">
                      <a:pos x="connsiteX3" y="connsiteY3"/>
                    </a:cxn>
                  </a:cxnLst>
                  <a:rect l="l" t="t" r="r" b="b"/>
                  <a:pathLst>
                    <a:path w="11781" h="191741">
                      <a:moveTo>
                        <a:pt x="11782" y="120"/>
                      </a:moveTo>
                      <a:lnTo>
                        <a:pt x="3050" y="191742"/>
                      </a:lnTo>
                      <a:lnTo>
                        <a:pt x="0" y="191622"/>
                      </a:lnTo>
                      <a:lnTo>
                        <a:pt x="8791" y="0"/>
                      </a:lnTo>
                      <a:close/>
                    </a:path>
                  </a:pathLst>
                </a:custGeom>
                <a:grpFill/>
                <a:ln w="5978" cap="flat">
                  <a:noFill/>
                  <a:prstDash val="solid"/>
                  <a:miter/>
                </a:ln>
              </p:spPr>
              <p:txBody>
                <a:bodyPr rtlCol="0" anchor="ctr"/>
                <a:lstStyle/>
                <a:p>
                  <a:endParaRPr lang="en-GB"/>
                </a:p>
              </p:txBody>
            </p:sp>
            <p:sp>
              <p:nvSpPr>
                <p:cNvPr id="3865" name="Vrije vorm: vorm 3864">
                  <a:extLst>
                    <a:ext uri="{FF2B5EF4-FFF2-40B4-BE49-F238E27FC236}">
                      <a16:creationId xmlns:a16="http://schemas.microsoft.com/office/drawing/2014/main" id="{9599A11B-FE5C-4E10-97E2-A253E54AC234}"/>
                    </a:ext>
                  </a:extLst>
                </p:cNvPr>
                <p:cNvSpPr/>
                <p:nvPr/>
              </p:nvSpPr>
              <p:spPr>
                <a:xfrm>
                  <a:off x="6142693" y="1292165"/>
                  <a:ext cx="18317" cy="18441"/>
                </a:xfrm>
                <a:custGeom>
                  <a:avLst/>
                  <a:gdLst>
                    <a:gd name="connsiteX0" fmla="*/ 6 w 18317"/>
                    <a:gd name="connsiteY0" fmla="*/ 8742 h 18441"/>
                    <a:gd name="connsiteX1" fmla="*/ 9575 w 18317"/>
                    <a:gd name="connsiteY1" fmla="*/ 10 h 18441"/>
                    <a:gd name="connsiteX2" fmla="*/ 18307 w 18317"/>
                    <a:gd name="connsiteY2" fmla="*/ 9699 h 18441"/>
                    <a:gd name="connsiteX3" fmla="*/ 8738 w 18317"/>
                    <a:gd name="connsiteY3" fmla="*/ 18431 h 18441"/>
                    <a:gd name="connsiteX4" fmla="*/ 6 w 18317"/>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1">
                      <a:moveTo>
                        <a:pt x="6" y="8742"/>
                      </a:moveTo>
                      <a:cubicBezTo>
                        <a:pt x="245" y="3659"/>
                        <a:pt x="4551" y="-229"/>
                        <a:pt x="9575" y="10"/>
                      </a:cubicBezTo>
                      <a:cubicBezTo>
                        <a:pt x="14659" y="250"/>
                        <a:pt x="18546" y="4616"/>
                        <a:pt x="18307" y="9699"/>
                      </a:cubicBezTo>
                      <a:cubicBezTo>
                        <a:pt x="18068" y="14783"/>
                        <a:pt x="13762" y="18670"/>
                        <a:pt x="8738" y="18431"/>
                      </a:cubicBezTo>
                      <a:cubicBezTo>
                        <a:pt x="3714" y="18132"/>
                        <a:pt x="-174" y="13826"/>
                        <a:pt x="6" y="8742"/>
                      </a:cubicBezTo>
                      <a:close/>
                    </a:path>
                  </a:pathLst>
                </a:custGeom>
                <a:grpFill/>
                <a:ln w="5978" cap="flat">
                  <a:noFill/>
                  <a:prstDash val="solid"/>
                  <a:miter/>
                </a:ln>
              </p:spPr>
              <p:txBody>
                <a:bodyPr rtlCol="0" anchor="ctr"/>
                <a:lstStyle/>
                <a:p>
                  <a:endParaRPr lang="en-GB"/>
                </a:p>
              </p:txBody>
            </p:sp>
            <p:sp>
              <p:nvSpPr>
                <p:cNvPr id="3866" name="Vrije vorm: vorm 3865">
                  <a:extLst>
                    <a:ext uri="{FF2B5EF4-FFF2-40B4-BE49-F238E27FC236}">
                      <a16:creationId xmlns:a16="http://schemas.microsoft.com/office/drawing/2014/main" id="{4FB2A34C-895C-49F7-8561-A3D039926EB7}"/>
                    </a:ext>
                  </a:extLst>
                </p:cNvPr>
                <p:cNvSpPr/>
                <p:nvPr/>
              </p:nvSpPr>
              <p:spPr>
                <a:xfrm>
                  <a:off x="6134017" y="1482830"/>
                  <a:ext cx="18321" cy="18441"/>
                </a:xfrm>
                <a:custGeom>
                  <a:avLst/>
                  <a:gdLst>
                    <a:gd name="connsiteX0" fmla="*/ 10 w 18321"/>
                    <a:gd name="connsiteY0" fmla="*/ 8742 h 18441"/>
                    <a:gd name="connsiteX1" fmla="*/ 8742 w 18321"/>
                    <a:gd name="connsiteY1" fmla="*/ 18431 h 18441"/>
                    <a:gd name="connsiteX2" fmla="*/ 18311 w 18321"/>
                    <a:gd name="connsiteY2" fmla="*/ 9699 h 18441"/>
                    <a:gd name="connsiteX3" fmla="*/ 9580 w 18321"/>
                    <a:gd name="connsiteY3" fmla="*/ 10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29" y="13826"/>
                        <a:pt x="3718" y="18132"/>
                        <a:pt x="8742" y="18431"/>
                      </a:cubicBezTo>
                      <a:cubicBezTo>
                        <a:pt x="13826" y="18670"/>
                        <a:pt x="18072" y="14783"/>
                        <a:pt x="18311" y="9699"/>
                      </a:cubicBezTo>
                      <a:cubicBezTo>
                        <a:pt x="18551" y="4616"/>
                        <a:pt x="14603" y="309"/>
                        <a:pt x="9580" y="10"/>
                      </a:cubicBezTo>
                      <a:cubicBezTo>
                        <a:pt x="4496" y="-229"/>
                        <a:pt x="249" y="3659"/>
                        <a:pt x="10" y="8742"/>
                      </a:cubicBezTo>
                      <a:close/>
                    </a:path>
                  </a:pathLst>
                </a:custGeom>
                <a:grpFill/>
                <a:ln w="5978" cap="flat">
                  <a:noFill/>
                  <a:prstDash val="solid"/>
                  <a:miter/>
                </a:ln>
              </p:spPr>
              <p:txBody>
                <a:bodyPr rtlCol="0" anchor="ctr"/>
                <a:lstStyle/>
                <a:p>
                  <a:endParaRPr lang="en-GB"/>
                </a:p>
              </p:txBody>
            </p:sp>
          </p:grpSp>
          <p:grpSp>
            <p:nvGrpSpPr>
              <p:cNvPr id="508" name="Graphic 3">
                <a:extLst>
                  <a:ext uri="{FF2B5EF4-FFF2-40B4-BE49-F238E27FC236}">
                    <a16:creationId xmlns:a16="http://schemas.microsoft.com/office/drawing/2014/main" id="{2C32B43D-AE2D-4E3B-AF7B-11566FA9C9DC}"/>
                  </a:ext>
                </a:extLst>
              </p:cNvPr>
              <p:cNvGrpSpPr/>
              <p:nvPr/>
            </p:nvGrpSpPr>
            <p:grpSpPr>
              <a:xfrm>
                <a:off x="7192788" y="4658723"/>
                <a:ext cx="107762" cy="116005"/>
                <a:chOff x="7192788" y="4658723"/>
                <a:chExt cx="107762" cy="116005"/>
              </a:xfrm>
              <a:grpFill/>
            </p:grpSpPr>
            <p:sp>
              <p:nvSpPr>
                <p:cNvPr id="3861" name="Vrije vorm: vorm 3860">
                  <a:extLst>
                    <a:ext uri="{FF2B5EF4-FFF2-40B4-BE49-F238E27FC236}">
                      <a16:creationId xmlns:a16="http://schemas.microsoft.com/office/drawing/2014/main" id="{48EA1A19-C261-456D-ACFB-727A30626B45}"/>
                    </a:ext>
                  </a:extLst>
                </p:cNvPr>
                <p:cNvSpPr/>
                <p:nvPr/>
              </p:nvSpPr>
              <p:spPr>
                <a:xfrm>
                  <a:off x="7200510" y="4666558"/>
                  <a:ext cx="92282" cy="100296"/>
                </a:xfrm>
                <a:custGeom>
                  <a:avLst/>
                  <a:gdLst>
                    <a:gd name="connsiteX0" fmla="*/ 92283 w 92282"/>
                    <a:gd name="connsiteY0" fmla="*/ 98203 h 100296"/>
                    <a:gd name="connsiteX1" fmla="*/ 90070 w 92282"/>
                    <a:gd name="connsiteY1" fmla="*/ 100297 h 100296"/>
                    <a:gd name="connsiteX2" fmla="*/ 0 w 92282"/>
                    <a:gd name="connsiteY2" fmla="*/ 2093 h 100296"/>
                    <a:gd name="connsiteX3" fmla="*/ 2273 w 92282"/>
                    <a:gd name="connsiteY3" fmla="*/ 0 h 100296"/>
                  </a:gdLst>
                  <a:ahLst/>
                  <a:cxnLst>
                    <a:cxn ang="0">
                      <a:pos x="connsiteX0" y="connsiteY0"/>
                    </a:cxn>
                    <a:cxn ang="0">
                      <a:pos x="connsiteX1" y="connsiteY1"/>
                    </a:cxn>
                    <a:cxn ang="0">
                      <a:pos x="connsiteX2" y="connsiteY2"/>
                    </a:cxn>
                    <a:cxn ang="0">
                      <a:pos x="connsiteX3" y="connsiteY3"/>
                    </a:cxn>
                  </a:cxnLst>
                  <a:rect l="l" t="t" r="r" b="b"/>
                  <a:pathLst>
                    <a:path w="92282" h="100296">
                      <a:moveTo>
                        <a:pt x="92283" y="98203"/>
                      </a:moveTo>
                      <a:lnTo>
                        <a:pt x="90070" y="100297"/>
                      </a:lnTo>
                      <a:lnTo>
                        <a:pt x="0" y="2093"/>
                      </a:lnTo>
                      <a:lnTo>
                        <a:pt x="2273" y="0"/>
                      </a:lnTo>
                      <a:close/>
                    </a:path>
                  </a:pathLst>
                </a:custGeom>
                <a:grpFill/>
                <a:ln w="5978" cap="flat">
                  <a:noFill/>
                  <a:prstDash val="solid"/>
                  <a:miter/>
                </a:ln>
              </p:spPr>
              <p:txBody>
                <a:bodyPr rtlCol="0" anchor="ctr"/>
                <a:lstStyle/>
                <a:p>
                  <a:endParaRPr lang="en-GB"/>
                </a:p>
              </p:txBody>
            </p:sp>
            <p:sp>
              <p:nvSpPr>
                <p:cNvPr id="3862" name="Vrije vorm: vorm 3861">
                  <a:extLst>
                    <a:ext uri="{FF2B5EF4-FFF2-40B4-BE49-F238E27FC236}">
                      <a16:creationId xmlns:a16="http://schemas.microsoft.com/office/drawing/2014/main" id="{CE47CFE4-1FA5-4014-934E-AA24E69F826F}"/>
                    </a:ext>
                  </a:extLst>
                </p:cNvPr>
                <p:cNvSpPr/>
                <p:nvPr/>
              </p:nvSpPr>
              <p:spPr>
                <a:xfrm>
                  <a:off x="7282223" y="4756268"/>
                  <a:ext cx="18327" cy="18460"/>
                </a:xfrm>
                <a:custGeom>
                  <a:avLst/>
                  <a:gdLst>
                    <a:gd name="connsiteX0" fmla="*/ 15892 w 18327"/>
                    <a:gd name="connsiteY0" fmla="*/ 2991 h 18460"/>
                    <a:gd name="connsiteX1" fmla="*/ 15413 w 18327"/>
                    <a:gd name="connsiteY1" fmla="*/ 16029 h 18460"/>
                    <a:gd name="connsiteX2" fmla="*/ 2435 w 18327"/>
                    <a:gd name="connsiteY2" fmla="*/ 15491 h 18460"/>
                    <a:gd name="connsiteX3" fmla="*/ 2914 w 18327"/>
                    <a:gd name="connsiteY3" fmla="*/ 2453 h 18460"/>
                    <a:gd name="connsiteX4" fmla="*/ 15892 w 18327"/>
                    <a:gd name="connsiteY4" fmla="*/ 2991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0">
                      <a:moveTo>
                        <a:pt x="15892" y="2991"/>
                      </a:moveTo>
                      <a:cubicBezTo>
                        <a:pt x="19301" y="6759"/>
                        <a:pt x="19121" y="12560"/>
                        <a:pt x="15413" y="16029"/>
                      </a:cubicBezTo>
                      <a:cubicBezTo>
                        <a:pt x="11705" y="19498"/>
                        <a:pt x="5904" y="19199"/>
                        <a:pt x="2435" y="15491"/>
                      </a:cubicBezTo>
                      <a:cubicBezTo>
                        <a:pt x="-974" y="11723"/>
                        <a:pt x="-794" y="5921"/>
                        <a:pt x="2914" y="2453"/>
                      </a:cubicBezTo>
                      <a:cubicBezTo>
                        <a:pt x="6622" y="-1016"/>
                        <a:pt x="12423" y="-777"/>
                        <a:pt x="15892" y="2991"/>
                      </a:cubicBezTo>
                      <a:close/>
                    </a:path>
                  </a:pathLst>
                </a:custGeom>
                <a:grpFill/>
                <a:ln w="5978" cap="flat">
                  <a:noFill/>
                  <a:prstDash val="solid"/>
                  <a:miter/>
                </a:ln>
              </p:spPr>
              <p:txBody>
                <a:bodyPr rtlCol="0" anchor="ctr"/>
                <a:lstStyle/>
                <a:p>
                  <a:endParaRPr lang="en-GB"/>
                </a:p>
              </p:txBody>
            </p:sp>
            <p:sp>
              <p:nvSpPr>
                <p:cNvPr id="3863" name="Vrije vorm: vorm 3862">
                  <a:extLst>
                    <a:ext uri="{FF2B5EF4-FFF2-40B4-BE49-F238E27FC236}">
                      <a16:creationId xmlns:a16="http://schemas.microsoft.com/office/drawing/2014/main" id="{C4130F83-21B8-44FE-BC76-762C6AD1B22F}"/>
                    </a:ext>
                  </a:extLst>
                </p:cNvPr>
                <p:cNvSpPr/>
                <p:nvPr/>
              </p:nvSpPr>
              <p:spPr>
                <a:xfrm>
                  <a:off x="7192788" y="4658723"/>
                  <a:ext cx="18329" cy="18481"/>
                </a:xfrm>
                <a:custGeom>
                  <a:avLst/>
                  <a:gdLst>
                    <a:gd name="connsiteX0" fmla="*/ 15915 w 18329"/>
                    <a:gd name="connsiteY0" fmla="*/ 2991 h 18481"/>
                    <a:gd name="connsiteX1" fmla="*/ 2937 w 18329"/>
                    <a:gd name="connsiteY1" fmla="*/ 2452 h 18481"/>
                    <a:gd name="connsiteX2" fmla="*/ 2459 w 18329"/>
                    <a:gd name="connsiteY2" fmla="*/ 15491 h 18481"/>
                    <a:gd name="connsiteX3" fmla="*/ 15437 w 18329"/>
                    <a:gd name="connsiteY3" fmla="*/ 16029 h 18481"/>
                    <a:gd name="connsiteX4" fmla="*/ 15915 w 18329"/>
                    <a:gd name="connsiteY4" fmla="*/ 2991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81">
                      <a:moveTo>
                        <a:pt x="15915" y="2991"/>
                      </a:moveTo>
                      <a:cubicBezTo>
                        <a:pt x="12507" y="-777"/>
                        <a:pt x="6705" y="-1016"/>
                        <a:pt x="2937" y="2452"/>
                      </a:cubicBezTo>
                      <a:cubicBezTo>
                        <a:pt x="-771" y="5921"/>
                        <a:pt x="-1010" y="11723"/>
                        <a:pt x="2459" y="15491"/>
                      </a:cubicBezTo>
                      <a:cubicBezTo>
                        <a:pt x="5868" y="19258"/>
                        <a:pt x="11669" y="19498"/>
                        <a:pt x="15437" y="16029"/>
                      </a:cubicBezTo>
                      <a:cubicBezTo>
                        <a:pt x="19085" y="12560"/>
                        <a:pt x="19324" y="6759"/>
                        <a:pt x="15915" y="2991"/>
                      </a:cubicBezTo>
                      <a:close/>
                    </a:path>
                  </a:pathLst>
                </a:custGeom>
                <a:grpFill/>
                <a:ln w="5978" cap="flat">
                  <a:noFill/>
                  <a:prstDash val="solid"/>
                  <a:miter/>
                </a:ln>
              </p:spPr>
              <p:txBody>
                <a:bodyPr rtlCol="0" anchor="ctr"/>
                <a:lstStyle/>
                <a:p>
                  <a:endParaRPr lang="en-GB"/>
                </a:p>
              </p:txBody>
            </p:sp>
          </p:grpSp>
          <p:grpSp>
            <p:nvGrpSpPr>
              <p:cNvPr id="509" name="Graphic 3">
                <a:extLst>
                  <a:ext uri="{FF2B5EF4-FFF2-40B4-BE49-F238E27FC236}">
                    <a16:creationId xmlns:a16="http://schemas.microsoft.com/office/drawing/2014/main" id="{B6D8758B-B47A-4B25-AC6A-97893B7DC5EA}"/>
                  </a:ext>
                </a:extLst>
              </p:cNvPr>
              <p:cNvGrpSpPr/>
              <p:nvPr/>
            </p:nvGrpSpPr>
            <p:grpSpPr>
              <a:xfrm>
                <a:off x="7278011" y="4802840"/>
                <a:ext cx="29159" cy="30742"/>
                <a:chOff x="7278011" y="4802840"/>
                <a:chExt cx="29159" cy="30742"/>
              </a:xfrm>
              <a:grpFill/>
            </p:grpSpPr>
            <p:sp>
              <p:nvSpPr>
                <p:cNvPr id="3859" name="Vrije vorm: vorm 3858">
                  <a:extLst>
                    <a:ext uri="{FF2B5EF4-FFF2-40B4-BE49-F238E27FC236}">
                      <a16:creationId xmlns:a16="http://schemas.microsoft.com/office/drawing/2014/main" id="{AAE229A0-6439-4B38-99CE-4B7668FF38C7}"/>
                    </a:ext>
                  </a:extLst>
                </p:cNvPr>
                <p:cNvSpPr/>
                <p:nvPr/>
              </p:nvSpPr>
              <p:spPr>
                <a:xfrm>
                  <a:off x="7288880" y="4815160"/>
                  <a:ext cx="18289" cy="18422"/>
                </a:xfrm>
                <a:custGeom>
                  <a:avLst/>
                  <a:gdLst>
                    <a:gd name="connsiteX0" fmla="*/ 2297 w 18289"/>
                    <a:gd name="connsiteY0" fmla="*/ 15270 h 18422"/>
                    <a:gd name="connsiteX1" fmla="*/ 3075 w 18289"/>
                    <a:gd name="connsiteY1" fmla="*/ 2291 h 18422"/>
                    <a:gd name="connsiteX2" fmla="*/ 15993 w 18289"/>
                    <a:gd name="connsiteY2" fmla="*/ 3129 h 18422"/>
                    <a:gd name="connsiteX3" fmla="*/ 15215 w 18289"/>
                    <a:gd name="connsiteY3" fmla="*/ 16107 h 18422"/>
                    <a:gd name="connsiteX4" fmla="*/ 2297 w 18289"/>
                    <a:gd name="connsiteY4" fmla="*/ 15270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22">
                      <a:moveTo>
                        <a:pt x="2297" y="15270"/>
                      </a:moveTo>
                      <a:cubicBezTo>
                        <a:pt x="-1052" y="11442"/>
                        <a:pt x="-693" y="5641"/>
                        <a:pt x="3075" y="2291"/>
                      </a:cubicBezTo>
                      <a:cubicBezTo>
                        <a:pt x="6843" y="-1058"/>
                        <a:pt x="12644" y="-699"/>
                        <a:pt x="15993" y="3129"/>
                      </a:cubicBezTo>
                      <a:cubicBezTo>
                        <a:pt x="19342" y="6956"/>
                        <a:pt x="18983" y="12758"/>
                        <a:pt x="15215" y="16107"/>
                      </a:cubicBezTo>
                      <a:cubicBezTo>
                        <a:pt x="11447" y="19516"/>
                        <a:pt x="5646" y="19097"/>
                        <a:pt x="2297" y="15270"/>
                      </a:cubicBezTo>
                      <a:close/>
                    </a:path>
                  </a:pathLst>
                </a:custGeom>
                <a:grpFill/>
                <a:ln w="5978" cap="flat">
                  <a:noFill/>
                  <a:prstDash val="solid"/>
                  <a:miter/>
                </a:ln>
              </p:spPr>
              <p:txBody>
                <a:bodyPr rtlCol="0" anchor="ctr"/>
                <a:lstStyle/>
                <a:p>
                  <a:endParaRPr lang="en-GB"/>
                </a:p>
              </p:txBody>
            </p:sp>
            <p:sp>
              <p:nvSpPr>
                <p:cNvPr id="3860" name="Vrije vorm: vorm 3859">
                  <a:extLst>
                    <a:ext uri="{FF2B5EF4-FFF2-40B4-BE49-F238E27FC236}">
                      <a16:creationId xmlns:a16="http://schemas.microsoft.com/office/drawing/2014/main" id="{81075A28-041E-4D80-8ECA-FDB9E03FF58C}"/>
                    </a:ext>
                  </a:extLst>
                </p:cNvPr>
                <p:cNvSpPr/>
                <p:nvPr/>
              </p:nvSpPr>
              <p:spPr>
                <a:xfrm>
                  <a:off x="7278011" y="4802840"/>
                  <a:ext cx="18334" cy="18398"/>
                </a:xfrm>
                <a:custGeom>
                  <a:avLst/>
                  <a:gdLst>
                    <a:gd name="connsiteX0" fmla="*/ 2342 w 18334"/>
                    <a:gd name="connsiteY0" fmla="*/ 15270 h 18398"/>
                    <a:gd name="connsiteX1" fmla="*/ 15260 w 18334"/>
                    <a:gd name="connsiteY1" fmla="*/ 16107 h 18398"/>
                    <a:gd name="connsiteX2" fmla="*/ 16038 w 18334"/>
                    <a:gd name="connsiteY2" fmla="*/ 3129 h 18398"/>
                    <a:gd name="connsiteX3" fmla="*/ 3119 w 18334"/>
                    <a:gd name="connsiteY3" fmla="*/ 2291 h 18398"/>
                    <a:gd name="connsiteX4" fmla="*/ 2342 w 18334"/>
                    <a:gd name="connsiteY4" fmla="*/ 1527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98">
                      <a:moveTo>
                        <a:pt x="2342" y="15270"/>
                      </a:moveTo>
                      <a:cubicBezTo>
                        <a:pt x="5691" y="19097"/>
                        <a:pt x="11492" y="19456"/>
                        <a:pt x="15260" y="16107"/>
                      </a:cubicBezTo>
                      <a:cubicBezTo>
                        <a:pt x="19028" y="12758"/>
                        <a:pt x="19387" y="6897"/>
                        <a:pt x="16038" y="3129"/>
                      </a:cubicBezTo>
                      <a:cubicBezTo>
                        <a:pt x="12688" y="-699"/>
                        <a:pt x="6887" y="-1058"/>
                        <a:pt x="3119" y="2291"/>
                      </a:cubicBezTo>
                      <a:cubicBezTo>
                        <a:pt x="-709" y="5581"/>
                        <a:pt x="-1067" y="11442"/>
                        <a:pt x="2342" y="15270"/>
                      </a:cubicBezTo>
                      <a:close/>
                    </a:path>
                  </a:pathLst>
                </a:custGeom>
                <a:grpFill/>
                <a:ln w="5978" cap="flat">
                  <a:noFill/>
                  <a:prstDash val="solid"/>
                  <a:miter/>
                </a:ln>
              </p:spPr>
              <p:txBody>
                <a:bodyPr rtlCol="0" anchor="ctr"/>
                <a:lstStyle/>
                <a:p>
                  <a:endParaRPr lang="en-GB"/>
                </a:p>
              </p:txBody>
            </p:sp>
          </p:grpSp>
          <p:grpSp>
            <p:nvGrpSpPr>
              <p:cNvPr id="510" name="Graphic 3">
                <a:extLst>
                  <a:ext uri="{FF2B5EF4-FFF2-40B4-BE49-F238E27FC236}">
                    <a16:creationId xmlns:a16="http://schemas.microsoft.com/office/drawing/2014/main" id="{B8942030-FE54-49A3-B227-6876D7824BDF}"/>
                  </a:ext>
                </a:extLst>
              </p:cNvPr>
              <p:cNvGrpSpPr/>
              <p:nvPr/>
            </p:nvGrpSpPr>
            <p:grpSpPr>
              <a:xfrm>
                <a:off x="7139631" y="4694496"/>
                <a:ext cx="368522" cy="493554"/>
                <a:chOff x="7139631" y="4694496"/>
                <a:chExt cx="368522" cy="493554"/>
              </a:xfrm>
              <a:grpFill/>
            </p:grpSpPr>
            <p:sp>
              <p:nvSpPr>
                <p:cNvPr id="3856" name="Vrije vorm: vorm 3855">
                  <a:extLst>
                    <a:ext uri="{FF2B5EF4-FFF2-40B4-BE49-F238E27FC236}">
                      <a16:creationId xmlns:a16="http://schemas.microsoft.com/office/drawing/2014/main" id="{B82B7C2D-7F57-4A14-8518-84FB82CCA298}"/>
                    </a:ext>
                  </a:extLst>
                </p:cNvPr>
                <p:cNvSpPr/>
                <p:nvPr/>
              </p:nvSpPr>
              <p:spPr>
                <a:xfrm>
                  <a:off x="7147281" y="4702382"/>
                  <a:ext cx="353221" cy="477740"/>
                </a:xfrm>
                <a:custGeom>
                  <a:avLst/>
                  <a:gdLst>
                    <a:gd name="connsiteX0" fmla="*/ 353222 w 353221"/>
                    <a:gd name="connsiteY0" fmla="*/ 475886 h 477740"/>
                    <a:gd name="connsiteX1" fmla="*/ 350770 w 353221"/>
                    <a:gd name="connsiteY1" fmla="*/ 477740 h 477740"/>
                    <a:gd name="connsiteX2" fmla="*/ 0 w 353221"/>
                    <a:gd name="connsiteY2" fmla="*/ 1794 h 477740"/>
                    <a:gd name="connsiteX3" fmla="*/ 2452 w 353221"/>
                    <a:gd name="connsiteY3" fmla="*/ 0 h 477740"/>
                  </a:gdLst>
                  <a:ahLst/>
                  <a:cxnLst>
                    <a:cxn ang="0">
                      <a:pos x="connsiteX0" y="connsiteY0"/>
                    </a:cxn>
                    <a:cxn ang="0">
                      <a:pos x="connsiteX1" y="connsiteY1"/>
                    </a:cxn>
                    <a:cxn ang="0">
                      <a:pos x="connsiteX2" y="connsiteY2"/>
                    </a:cxn>
                    <a:cxn ang="0">
                      <a:pos x="connsiteX3" y="connsiteY3"/>
                    </a:cxn>
                  </a:cxnLst>
                  <a:rect l="l" t="t" r="r" b="b"/>
                  <a:pathLst>
                    <a:path w="353221" h="477740">
                      <a:moveTo>
                        <a:pt x="353222" y="475886"/>
                      </a:moveTo>
                      <a:lnTo>
                        <a:pt x="350770" y="477740"/>
                      </a:lnTo>
                      <a:lnTo>
                        <a:pt x="0" y="1794"/>
                      </a:lnTo>
                      <a:lnTo>
                        <a:pt x="2452" y="0"/>
                      </a:lnTo>
                      <a:close/>
                    </a:path>
                  </a:pathLst>
                </a:custGeom>
                <a:grpFill/>
                <a:ln w="5978" cap="flat">
                  <a:noFill/>
                  <a:prstDash val="solid"/>
                  <a:miter/>
                </a:ln>
              </p:spPr>
              <p:txBody>
                <a:bodyPr rtlCol="0" anchor="ctr"/>
                <a:lstStyle/>
                <a:p>
                  <a:endParaRPr lang="en-GB"/>
                </a:p>
              </p:txBody>
            </p:sp>
            <p:sp>
              <p:nvSpPr>
                <p:cNvPr id="3857" name="Vrije vorm: vorm 3856">
                  <a:extLst>
                    <a:ext uri="{FF2B5EF4-FFF2-40B4-BE49-F238E27FC236}">
                      <a16:creationId xmlns:a16="http://schemas.microsoft.com/office/drawing/2014/main" id="{2E0D62C0-43AB-4AA1-A411-4E76FE14F42F}"/>
                    </a:ext>
                  </a:extLst>
                </p:cNvPr>
                <p:cNvSpPr/>
                <p:nvPr/>
              </p:nvSpPr>
              <p:spPr>
                <a:xfrm>
                  <a:off x="7139631" y="4694496"/>
                  <a:ext cx="18291" cy="18386"/>
                </a:xfrm>
                <a:custGeom>
                  <a:avLst/>
                  <a:gdLst>
                    <a:gd name="connsiteX0" fmla="*/ 1790 w 18291"/>
                    <a:gd name="connsiteY0" fmla="*/ 14644 h 18386"/>
                    <a:gd name="connsiteX1" fmla="*/ 3703 w 18291"/>
                    <a:gd name="connsiteY1" fmla="*/ 1786 h 18386"/>
                    <a:gd name="connsiteX2" fmla="*/ 16502 w 18291"/>
                    <a:gd name="connsiteY2" fmla="*/ 3759 h 18386"/>
                    <a:gd name="connsiteX3" fmla="*/ 14588 w 18291"/>
                    <a:gd name="connsiteY3" fmla="*/ 16618 h 18386"/>
                    <a:gd name="connsiteX4" fmla="*/ 1790 w 18291"/>
                    <a:gd name="connsiteY4" fmla="*/ 14644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386">
                      <a:moveTo>
                        <a:pt x="1790" y="14644"/>
                      </a:moveTo>
                      <a:cubicBezTo>
                        <a:pt x="-1201" y="10517"/>
                        <a:pt x="-363" y="4776"/>
                        <a:pt x="3703" y="1786"/>
                      </a:cubicBezTo>
                      <a:cubicBezTo>
                        <a:pt x="7770" y="-1205"/>
                        <a:pt x="13512" y="-368"/>
                        <a:pt x="16502" y="3759"/>
                      </a:cubicBezTo>
                      <a:cubicBezTo>
                        <a:pt x="19492" y="7826"/>
                        <a:pt x="18655" y="13627"/>
                        <a:pt x="14588" y="16618"/>
                      </a:cubicBezTo>
                      <a:cubicBezTo>
                        <a:pt x="10581" y="19608"/>
                        <a:pt x="4840" y="18711"/>
                        <a:pt x="1790" y="14644"/>
                      </a:cubicBezTo>
                      <a:close/>
                    </a:path>
                  </a:pathLst>
                </a:custGeom>
                <a:grpFill/>
                <a:ln w="5978" cap="flat">
                  <a:noFill/>
                  <a:prstDash val="solid"/>
                  <a:miter/>
                </a:ln>
              </p:spPr>
              <p:txBody>
                <a:bodyPr rtlCol="0" anchor="ctr"/>
                <a:lstStyle/>
                <a:p>
                  <a:endParaRPr lang="en-GB"/>
                </a:p>
              </p:txBody>
            </p:sp>
            <p:sp>
              <p:nvSpPr>
                <p:cNvPr id="3858" name="Vrije vorm: vorm 3857">
                  <a:extLst>
                    <a:ext uri="{FF2B5EF4-FFF2-40B4-BE49-F238E27FC236}">
                      <a16:creationId xmlns:a16="http://schemas.microsoft.com/office/drawing/2014/main" id="{D1EB8FF9-9EF3-4F18-A935-365107D9EAEE}"/>
                    </a:ext>
                  </a:extLst>
                </p:cNvPr>
                <p:cNvSpPr/>
                <p:nvPr/>
              </p:nvSpPr>
              <p:spPr>
                <a:xfrm>
                  <a:off x="7489836" y="5169682"/>
                  <a:ext cx="18317" cy="18369"/>
                </a:xfrm>
                <a:custGeom>
                  <a:avLst/>
                  <a:gdLst>
                    <a:gd name="connsiteX0" fmla="*/ 1816 w 18317"/>
                    <a:gd name="connsiteY0" fmla="*/ 14627 h 18369"/>
                    <a:gd name="connsiteX1" fmla="*/ 14614 w 18317"/>
                    <a:gd name="connsiteY1" fmla="*/ 16601 h 18369"/>
                    <a:gd name="connsiteX2" fmla="*/ 16528 w 18317"/>
                    <a:gd name="connsiteY2" fmla="*/ 3742 h 18369"/>
                    <a:gd name="connsiteX3" fmla="*/ 3729 w 18317"/>
                    <a:gd name="connsiteY3" fmla="*/ 1768 h 18369"/>
                    <a:gd name="connsiteX4" fmla="*/ 1816 w 18317"/>
                    <a:gd name="connsiteY4" fmla="*/ 14627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69">
                      <a:moveTo>
                        <a:pt x="1816" y="14627"/>
                      </a:moveTo>
                      <a:cubicBezTo>
                        <a:pt x="4806" y="18694"/>
                        <a:pt x="10547" y="19591"/>
                        <a:pt x="14614" y="16601"/>
                      </a:cubicBezTo>
                      <a:cubicBezTo>
                        <a:pt x="18681" y="13610"/>
                        <a:pt x="19518" y="7809"/>
                        <a:pt x="16528" y="3742"/>
                      </a:cubicBezTo>
                      <a:cubicBezTo>
                        <a:pt x="13538" y="-325"/>
                        <a:pt x="7796" y="-1222"/>
                        <a:pt x="3729" y="1768"/>
                      </a:cubicBezTo>
                      <a:cubicBezTo>
                        <a:pt x="-338" y="4759"/>
                        <a:pt x="-1235" y="10500"/>
                        <a:pt x="1816" y="14627"/>
                      </a:cubicBezTo>
                      <a:close/>
                    </a:path>
                  </a:pathLst>
                </a:custGeom>
                <a:grpFill/>
                <a:ln w="5978" cap="flat">
                  <a:noFill/>
                  <a:prstDash val="solid"/>
                  <a:miter/>
                </a:ln>
              </p:spPr>
              <p:txBody>
                <a:bodyPr rtlCol="0" anchor="ctr"/>
                <a:lstStyle/>
                <a:p>
                  <a:endParaRPr lang="en-GB"/>
                </a:p>
              </p:txBody>
            </p:sp>
          </p:grpSp>
          <p:grpSp>
            <p:nvGrpSpPr>
              <p:cNvPr id="511" name="Graphic 3">
                <a:extLst>
                  <a:ext uri="{FF2B5EF4-FFF2-40B4-BE49-F238E27FC236}">
                    <a16:creationId xmlns:a16="http://schemas.microsoft.com/office/drawing/2014/main" id="{2FDA1706-DBE4-47E4-BED8-7787B35130F4}"/>
                  </a:ext>
                </a:extLst>
              </p:cNvPr>
              <p:cNvGrpSpPr/>
              <p:nvPr/>
            </p:nvGrpSpPr>
            <p:grpSpPr>
              <a:xfrm>
                <a:off x="6193265" y="1530654"/>
                <a:ext cx="26797" cy="121054"/>
                <a:chOff x="6193265" y="1530654"/>
                <a:chExt cx="26797" cy="121054"/>
              </a:xfrm>
              <a:grpFill/>
            </p:grpSpPr>
            <p:sp>
              <p:nvSpPr>
                <p:cNvPr id="3853" name="Vrije vorm: vorm 3852">
                  <a:extLst>
                    <a:ext uri="{FF2B5EF4-FFF2-40B4-BE49-F238E27FC236}">
                      <a16:creationId xmlns:a16="http://schemas.microsoft.com/office/drawing/2014/main" id="{D5F9F782-D014-43DF-9D68-CEE1969E3D33}"/>
                    </a:ext>
                  </a:extLst>
                </p:cNvPr>
                <p:cNvSpPr/>
                <p:nvPr/>
              </p:nvSpPr>
              <p:spPr>
                <a:xfrm>
                  <a:off x="6200892" y="1539239"/>
                  <a:ext cx="11602" cy="103885"/>
                </a:xfrm>
                <a:custGeom>
                  <a:avLst/>
                  <a:gdLst>
                    <a:gd name="connsiteX0" fmla="*/ 11603 w 11602"/>
                    <a:gd name="connsiteY0" fmla="*/ 299 h 103885"/>
                    <a:gd name="connsiteX1" fmla="*/ 2990 w 11602"/>
                    <a:gd name="connsiteY1" fmla="*/ 103885 h 103885"/>
                    <a:gd name="connsiteX2" fmla="*/ 0 w 11602"/>
                    <a:gd name="connsiteY2" fmla="*/ 103586 h 103885"/>
                    <a:gd name="connsiteX3" fmla="*/ 8552 w 11602"/>
                    <a:gd name="connsiteY3" fmla="*/ 0 h 103885"/>
                  </a:gdLst>
                  <a:ahLst/>
                  <a:cxnLst>
                    <a:cxn ang="0">
                      <a:pos x="connsiteX0" y="connsiteY0"/>
                    </a:cxn>
                    <a:cxn ang="0">
                      <a:pos x="connsiteX1" y="connsiteY1"/>
                    </a:cxn>
                    <a:cxn ang="0">
                      <a:pos x="connsiteX2" y="connsiteY2"/>
                    </a:cxn>
                    <a:cxn ang="0">
                      <a:pos x="connsiteX3" y="connsiteY3"/>
                    </a:cxn>
                  </a:cxnLst>
                  <a:rect l="l" t="t" r="r" b="b"/>
                  <a:pathLst>
                    <a:path w="11602" h="103885">
                      <a:moveTo>
                        <a:pt x="11603" y="299"/>
                      </a:moveTo>
                      <a:lnTo>
                        <a:pt x="2990" y="103885"/>
                      </a:lnTo>
                      <a:lnTo>
                        <a:pt x="0" y="103586"/>
                      </a:lnTo>
                      <a:lnTo>
                        <a:pt x="8552" y="0"/>
                      </a:lnTo>
                      <a:close/>
                    </a:path>
                  </a:pathLst>
                </a:custGeom>
                <a:grpFill/>
                <a:ln w="5978" cap="flat">
                  <a:noFill/>
                  <a:prstDash val="solid"/>
                  <a:miter/>
                </a:ln>
              </p:spPr>
              <p:txBody>
                <a:bodyPr rtlCol="0" anchor="ctr"/>
                <a:lstStyle/>
                <a:p>
                  <a:endParaRPr lang="en-GB"/>
                </a:p>
              </p:txBody>
            </p:sp>
            <p:sp>
              <p:nvSpPr>
                <p:cNvPr id="3854" name="Vrije vorm: vorm 3853">
                  <a:extLst>
                    <a:ext uri="{FF2B5EF4-FFF2-40B4-BE49-F238E27FC236}">
                      <a16:creationId xmlns:a16="http://schemas.microsoft.com/office/drawing/2014/main" id="{9894FD17-D96C-438E-A693-BAE8887CE389}"/>
                    </a:ext>
                  </a:extLst>
                </p:cNvPr>
                <p:cNvSpPr/>
                <p:nvPr/>
              </p:nvSpPr>
              <p:spPr>
                <a:xfrm>
                  <a:off x="6201757" y="1530654"/>
                  <a:ext cx="18304" cy="18425"/>
                </a:xfrm>
                <a:custGeom>
                  <a:avLst/>
                  <a:gdLst>
                    <a:gd name="connsiteX0" fmla="*/ 32 w 18304"/>
                    <a:gd name="connsiteY0" fmla="*/ 8405 h 18425"/>
                    <a:gd name="connsiteX1" fmla="*/ 9900 w 18304"/>
                    <a:gd name="connsiteY1" fmla="*/ 32 h 18425"/>
                    <a:gd name="connsiteX2" fmla="*/ 18273 w 18304"/>
                    <a:gd name="connsiteY2" fmla="*/ 10020 h 18425"/>
                    <a:gd name="connsiteX3" fmla="*/ 8405 w 18304"/>
                    <a:gd name="connsiteY3" fmla="*/ 18393 h 18425"/>
                    <a:gd name="connsiteX4" fmla="*/ 32 w 1830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32" y="8405"/>
                      </a:moveTo>
                      <a:cubicBezTo>
                        <a:pt x="450" y="3322"/>
                        <a:pt x="4876" y="-386"/>
                        <a:pt x="9900" y="32"/>
                      </a:cubicBezTo>
                      <a:cubicBezTo>
                        <a:pt x="14924" y="451"/>
                        <a:pt x="18692" y="4936"/>
                        <a:pt x="18273" y="10020"/>
                      </a:cubicBezTo>
                      <a:cubicBezTo>
                        <a:pt x="17854" y="15104"/>
                        <a:pt x="13429" y="18812"/>
                        <a:pt x="8405" y="18393"/>
                      </a:cubicBezTo>
                      <a:cubicBezTo>
                        <a:pt x="3381" y="17915"/>
                        <a:pt x="-387" y="13429"/>
                        <a:pt x="32" y="8405"/>
                      </a:cubicBezTo>
                      <a:close/>
                    </a:path>
                  </a:pathLst>
                </a:custGeom>
                <a:grpFill/>
                <a:ln w="5978" cap="flat">
                  <a:noFill/>
                  <a:prstDash val="solid"/>
                  <a:miter/>
                </a:ln>
              </p:spPr>
              <p:txBody>
                <a:bodyPr rtlCol="0" anchor="ctr"/>
                <a:lstStyle/>
                <a:p>
                  <a:endParaRPr lang="en-GB"/>
                </a:p>
              </p:txBody>
            </p:sp>
            <p:sp>
              <p:nvSpPr>
                <p:cNvPr id="3855" name="Vrije vorm: vorm 3854">
                  <a:extLst>
                    <a:ext uri="{FF2B5EF4-FFF2-40B4-BE49-F238E27FC236}">
                      <a16:creationId xmlns:a16="http://schemas.microsoft.com/office/drawing/2014/main" id="{58AABADC-9DEC-4B74-BB60-483F8A0F3615}"/>
                    </a:ext>
                  </a:extLst>
                </p:cNvPr>
                <p:cNvSpPr/>
                <p:nvPr/>
              </p:nvSpPr>
              <p:spPr>
                <a:xfrm>
                  <a:off x="6193265" y="1633284"/>
                  <a:ext cx="18304" cy="18424"/>
                </a:xfrm>
                <a:custGeom>
                  <a:avLst/>
                  <a:gdLst>
                    <a:gd name="connsiteX0" fmla="*/ 32 w 18304"/>
                    <a:gd name="connsiteY0" fmla="*/ 8405 h 18424"/>
                    <a:gd name="connsiteX1" fmla="*/ 8405 w 18304"/>
                    <a:gd name="connsiteY1" fmla="*/ 18393 h 18424"/>
                    <a:gd name="connsiteX2" fmla="*/ 18273 w 18304"/>
                    <a:gd name="connsiteY2" fmla="*/ 10020 h 18424"/>
                    <a:gd name="connsiteX3" fmla="*/ 9900 w 18304"/>
                    <a:gd name="connsiteY3" fmla="*/ 32 h 18424"/>
                    <a:gd name="connsiteX4" fmla="*/ 32 w 18304"/>
                    <a:gd name="connsiteY4" fmla="*/ 8405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4">
                      <a:moveTo>
                        <a:pt x="32" y="8405"/>
                      </a:moveTo>
                      <a:cubicBezTo>
                        <a:pt x="-387" y="13488"/>
                        <a:pt x="3381" y="17914"/>
                        <a:pt x="8405" y="18393"/>
                      </a:cubicBezTo>
                      <a:cubicBezTo>
                        <a:pt x="13429" y="18811"/>
                        <a:pt x="17854" y="15103"/>
                        <a:pt x="18273" y="10020"/>
                      </a:cubicBezTo>
                      <a:cubicBezTo>
                        <a:pt x="18692" y="4936"/>
                        <a:pt x="14924" y="510"/>
                        <a:pt x="9900" y="32"/>
                      </a:cubicBezTo>
                      <a:cubicBezTo>
                        <a:pt x="4876" y="-387"/>
                        <a:pt x="450" y="3381"/>
                        <a:pt x="32" y="8405"/>
                      </a:cubicBezTo>
                      <a:close/>
                    </a:path>
                  </a:pathLst>
                </a:custGeom>
                <a:grpFill/>
                <a:ln w="5978" cap="flat">
                  <a:noFill/>
                  <a:prstDash val="solid"/>
                  <a:miter/>
                </a:ln>
              </p:spPr>
              <p:txBody>
                <a:bodyPr rtlCol="0" anchor="ctr"/>
                <a:lstStyle/>
                <a:p>
                  <a:endParaRPr lang="en-GB"/>
                </a:p>
              </p:txBody>
            </p:sp>
          </p:grpSp>
          <p:grpSp>
            <p:nvGrpSpPr>
              <p:cNvPr id="512" name="Graphic 3">
                <a:extLst>
                  <a:ext uri="{FF2B5EF4-FFF2-40B4-BE49-F238E27FC236}">
                    <a16:creationId xmlns:a16="http://schemas.microsoft.com/office/drawing/2014/main" id="{DF2DAA3C-D787-4616-B420-4F429735090C}"/>
                  </a:ext>
                </a:extLst>
              </p:cNvPr>
              <p:cNvGrpSpPr/>
              <p:nvPr/>
            </p:nvGrpSpPr>
            <p:grpSpPr>
              <a:xfrm>
                <a:off x="6099337" y="1280985"/>
                <a:ext cx="22672" cy="179851"/>
                <a:chOff x="6099337" y="1280985"/>
                <a:chExt cx="22672" cy="179851"/>
              </a:xfrm>
              <a:grpFill/>
            </p:grpSpPr>
            <p:sp>
              <p:nvSpPr>
                <p:cNvPr id="3850" name="Vrije vorm: vorm 3849">
                  <a:extLst>
                    <a:ext uri="{FF2B5EF4-FFF2-40B4-BE49-F238E27FC236}">
                      <a16:creationId xmlns:a16="http://schemas.microsoft.com/office/drawing/2014/main" id="{7EDC7274-6BBC-41AE-BBA9-3600A22E2D68}"/>
                    </a:ext>
                  </a:extLst>
                </p:cNvPr>
                <p:cNvSpPr/>
                <p:nvPr/>
              </p:nvSpPr>
              <p:spPr>
                <a:xfrm>
                  <a:off x="6106935" y="1289663"/>
                  <a:ext cx="7475" cy="162496"/>
                </a:xfrm>
                <a:custGeom>
                  <a:avLst/>
                  <a:gdLst>
                    <a:gd name="connsiteX0" fmla="*/ 7476 w 7475"/>
                    <a:gd name="connsiteY0" fmla="*/ 120 h 162496"/>
                    <a:gd name="connsiteX1" fmla="*/ 3050 w 7475"/>
                    <a:gd name="connsiteY1" fmla="*/ 162496 h 162496"/>
                    <a:gd name="connsiteX2" fmla="*/ 0 w 7475"/>
                    <a:gd name="connsiteY2" fmla="*/ 162377 h 162496"/>
                    <a:gd name="connsiteX3" fmla="*/ 4426 w 7475"/>
                    <a:gd name="connsiteY3" fmla="*/ 0 h 162496"/>
                  </a:gdLst>
                  <a:ahLst/>
                  <a:cxnLst>
                    <a:cxn ang="0">
                      <a:pos x="connsiteX0" y="connsiteY0"/>
                    </a:cxn>
                    <a:cxn ang="0">
                      <a:pos x="connsiteX1" y="connsiteY1"/>
                    </a:cxn>
                    <a:cxn ang="0">
                      <a:pos x="connsiteX2" y="connsiteY2"/>
                    </a:cxn>
                    <a:cxn ang="0">
                      <a:pos x="connsiteX3" y="connsiteY3"/>
                    </a:cxn>
                  </a:cxnLst>
                  <a:rect l="l" t="t" r="r" b="b"/>
                  <a:pathLst>
                    <a:path w="7475" h="162496">
                      <a:moveTo>
                        <a:pt x="7476" y="120"/>
                      </a:moveTo>
                      <a:lnTo>
                        <a:pt x="3050" y="162496"/>
                      </a:lnTo>
                      <a:lnTo>
                        <a:pt x="0" y="162377"/>
                      </a:lnTo>
                      <a:lnTo>
                        <a:pt x="4426" y="0"/>
                      </a:lnTo>
                      <a:close/>
                    </a:path>
                  </a:pathLst>
                </a:custGeom>
                <a:grpFill/>
                <a:ln w="5978" cap="flat">
                  <a:noFill/>
                  <a:prstDash val="solid"/>
                  <a:miter/>
                </a:ln>
              </p:spPr>
              <p:txBody>
                <a:bodyPr rtlCol="0" anchor="ctr"/>
                <a:lstStyle/>
                <a:p>
                  <a:endParaRPr lang="en-GB"/>
                </a:p>
              </p:txBody>
            </p:sp>
            <p:sp>
              <p:nvSpPr>
                <p:cNvPr id="3851" name="Vrije vorm: vorm 3850">
                  <a:extLst>
                    <a:ext uri="{FF2B5EF4-FFF2-40B4-BE49-F238E27FC236}">
                      <a16:creationId xmlns:a16="http://schemas.microsoft.com/office/drawing/2014/main" id="{440AAA5A-3912-45CB-8590-4A72C6AE80A0}"/>
                    </a:ext>
                  </a:extLst>
                </p:cNvPr>
                <p:cNvSpPr/>
                <p:nvPr/>
              </p:nvSpPr>
              <p:spPr>
                <a:xfrm>
                  <a:off x="6103702" y="1280985"/>
                  <a:ext cx="18306" cy="18432"/>
                </a:xfrm>
                <a:custGeom>
                  <a:avLst/>
                  <a:gdLst>
                    <a:gd name="connsiteX0" fmla="*/ 3 w 18306"/>
                    <a:gd name="connsiteY0" fmla="*/ 8917 h 18432"/>
                    <a:gd name="connsiteX1" fmla="*/ 9392 w 18306"/>
                    <a:gd name="connsiteY1" fmla="*/ 6 h 18432"/>
                    <a:gd name="connsiteX2" fmla="*/ 18304 w 18306"/>
                    <a:gd name="connsiteY2" fmla="*/ 9515 h 18432"/>
                    <a:gd name="connsiteX3" fmla="*/ 8914 w 18306"/>
                    <a:gd name="connsiteY3" fmla="*/ 1842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22" y="3833"/>
                        <a:pt x="4369" y="-174"/>
                        <a:pt x="9392" y="6"/>
                      </a:cubicBezTo>
                      <a:cubicBezTo>
                        <a:pt x="14476" y="185"/>
                        <a:pt x="18423" y="4432"/>
                        <a:pt x="18304" y="9515"/>
                      </a:cubicBezTo>
                      <a:cubicBezTo>
                        <a:pt x="18184" y="14599"/>
                        <a:pt x="13938" y="18606"/>
                        <a:pt x="8914" y="18426"/>
                      </a:cubicBezTo>
                      <a:cubicBezTo>
                        <a:pt x="3890" y="18247"/>
                        <a:pt x="-117" y="14001"/>
                        <a:pt x="3" y="8917"/>
                      </a:cubicBezTo>
                      <a:close/>
                    </a:path>
                  </a:pathLst>
                </a:custGeom>
                <a:grpFill/>
                <a:ln w="5978" cap="flat">
                  <a:noFill/>
                  <a:prstDash val="solid"/>
                  <a:miter/>
                </a:ln>
              </p:spPr>
              <p:txBody>
                <a:bodyPr rtlCol="0" anchor="ctr"/>
                <a:lstStyle/>
                <a:p>
                  <a:endParaRPr lang="en-GB"/>
                </a:p>
              </p:txBody>
            </p:sp>
            <p:sp>
              <p:nvSpPr>
                <p:cNvPr id="3852" name="Vrije vorm: vorm 3851">
                  <a:extLst>
                    <a:ext uri="{FF2B5EF4-FFF2-40B4-BE49-F238E27FC236}">
                      <a16:creationId xmlns:a16="http://schemas.microsoft.com/office/drawing/2014/main" id="{056B1532-02F5-4C47-8051-14A236DF2A82}"/>
                    </a:ext>
                  </a:extLst>
                </p:cNvPr>
                <p:cNvSpPr/>
                <p:nvPr/>
              </p:nvSpPr>
              <p:spPr>
                <a:xfrm>
                  <a:off x="6099337" y="1442408"/>
                  <a:ext cx="18306" cy="18429"/>
                </a:xfrm>
                <a:custGeom>
                  <a:avLst/>
                  <a:gdLst>
                    <a:gd name="connsiteX0" fmla="*/ 3 w 18306"/>
                    <a:gd name="connsiteY0" fmla="*/ 8914 h 18429"/>
                    <a:gd name="connsiteX1" fmla="*/ 8914 w 18306"/>
                    <a:gd name="connsiteY1" fmla="*/ 18423 h 18429"/>
                    <a:gd name="connsiteX2" fmla="*/ 18304 w 18306"/>
                    <a:gd name="connsiteY2" fmla="*/ 9512 h 18429"/>
                    <a:gd name="connsiteX3" fmla="*/ 9392 w 18306"/>
                    <a:gd name="connsiteY3" fmla="*/ 3 h 18429"/>
                    <a:gd name="connsiteX4" fmla="*/ 3 w 18306"/>
                    <a:gd name="connsiteY4" fmla="*/ 891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9">
                      <a:moveTo>
                        <a:pt x="3" y="8914"/>
                      </a:moveTo>
                      <a:cubicBezTo>
                        <a:pt x="-117" y="13998"/>
                        <a:pt x="3830" y="18244"/>
                        <a:pt x="8914" y="18423"/>
                      </a:cubicBezTo>
                      <a:cubicBezTo>
                        <a:pt x="13997" y="18603"/>
                        <a:pt x="18184" y="14596"/>
                        <a:pt x="18304" y="9512"/>
                      </a:cubicBezTo>
                      <a:cubicBezTo>
                        <a:pt x="18423" y="4428"/>
                        <a:pt x="14476" y="182"/>
                        <a:pt x="9392" y="3"/>
                      </a:cubicBezTo>
                      <a:cubicBezTo>
                        <a:pt x="4368" y="-117"/>
                        <a:pt x="122" y="3830"/>
                        <a:pt x="3" y="8914"/>
                      </a:cubicBezTo>
                      <a:close/>
                    </a:path>
                  </a:pathLst>
                </a:custGeom>
                <a:grpFill/>
                <a:ln w="5978" cap="flat">
                  <a:noFill/>
                  <a:prstDash val="solid"/>
                  <a:miter/>
                </a:ln>
              </p:spPr>
              <p:txBody>
                <a:bodyPr rtlCol="0" anchor="ctr"/>
                <a:lstStyle/>
                <a:p>
                  <a:endParaRPr lang="en-GB"/>
                </a:p>
              </p:txBody>
            </p:sp>
          </p:grpSp>
          <p:grpSp>
            <p:nvGrpSpPr>
              <p:cNvPr id="513" name="Graphic 3">
                <a:extLst>
                  <a:ext uri="{FF2B5EF4-FFF2-40B4-BE49-F238E27FC236}">
                    <a16:creationId xmlns:a16="http://schemas.microsoft.com/office/drawing/2014/main" id="{A3BEC209-7296-44D4-BE66-1474DBE238BE}"/>
                  </a:ext>
                </a:extLst>
              </p:cNvPr>
              <p:cNvGrpSpPr/>
              <p:nvPr/>
            </p:nvGrpSpPr>
            <p:grpSpPr>
              <a:xfrm>
                <a:off x="6155191" y="1478108"/>
                <a:ext cx="68255" cy="269566"/>
                <a:chOff x="6155191" y="1478108"/>
                <a:chExt cx="68255" cy="269566"/>
              </a:xfrm>
              <a:grpFill/>
            </p:grpSpPr>
            <p:sp>
              <p:nvSpPr>
                <p:cNvPr id="3847" name="Vrije vorm: vorm 3846">
                  <a:extLst>
                    <a:ext uri="{FF2B5EF4-FFF2-40B4-BE49-F238E27FC236}">
                      <a16:creationId xmlns:a16="http://schemas.microsoft.com/office/drawing/2014/main" id="{D8DCB4B5-FF69-4A8E-99A1-E2AE0794BACA}"/>
                    </a:ext>
                  </a:extLst>
                </p:cNvPr>
                <p:cNvSpPr/>
                <p:nvPr/>
              </p:nvSpPr>
              <p:spPr>
                <a:xfrm>
                  <a:off x="6162735" y="1486608"/>
                  <a:ext cx="53108" cy="252625"/>
                </a:xfrm>
                <a:custGeom>
                  <a:avLst/>
                  <a:gdLst>
                    <a:gd name="connsiteX0" fmla="*/ 53109 w 53108"/>
                    <a:gd name="connsiteY0" fmla="*/ 598 h 252625"/>
                    <a:gd name="connsiteX1" fmla="*/ 2990 w 53108"/>
                    <a:gd name="connsiteY1" fmla="*/ 252626 h 252625"/>
                    <a:gd name="connsiteX2" fmla="*/ 0 w 53108"/>
                    <a:gd name="connsiteY2" fmla="*/ 252028 h 252625"/>
                    <a:gd name="connsiteX3" fmla="*/ 50118 w 53108"/>
                    <a:gd name="connsiteY3" fmla="*/ 0 h 252625"/>
                  </a:gdLst>
                  <a:ahLst/>
                  <a:cxnLst>
                    <a:cxn ang="0">
                      <a:pos x="connsiteX0" y="connsiteY0"/>
                    </a:cxn>
                    <a:cxn ang="0">
                      <a:pos x="connsiteX1" y="connsiteY1"/>
                    </a:cxn>
                    <a:cxn ang="0">
                      <a:pos x="connsiteX2" y="connsiteY2"/>
                    </a:cxn>
                    <a:cxn ang="0">
                      <a:pos x="connsiteX3" y="connsiteY3"/>
                    </a:cxn>
                  </a:cxnLst>
                  <a:rect l="l" t="t" r="r" b="b"/>
                  <a:pathLst>
                    <a:path w="53108" h="252625">
                      <a:moveTo>
                        <a:pt x="53109" y="598"/>
                      </a:moveTo>
                      <a:lnTo>
                        <a:pt x="2990" y="252626"/>
                      </a:lnTo>
                      <a:lnTo>
                        <a:pt x="0" y="252028"/>
                      </a:lnTo>
                      <a:lnTo>
                        <a:pt x="50118" y="0"/>
                      </a:lnTo>
                      <a:close/>
                    </a:path>
                  </a:pathLst>
                </a:custGeom>
                <a:grpFill/>
                <a:ln w="5978" cap="flat">
                  <a:noFill/>
                  <a:prstDash val="solid"/>
                  <a:miter/>
                </a:ln>
              </p:spPr>
              <p:txBody>
                <a:bodyPr rtlCol="0" anchor="ctr"/>
                <a:lstStyle/>
                <a:p>
                  <a:endParaRPr lang="en-GB"/>
                </a:p>
              </p:txBody>
            </p:sp>
            <p:sp>
              <p:nvSpPr>
                <p:cNvPr id="3848" name="Vrije vorm: vorm 3847">
                  <a:extLst>
                    <a:ext uri="{FF2B5EF4-FFF2-40B4-BE49-F238E27FC236}">
                      <a16:creationId xmlns:a16="http://schemas.microsoft.com/office/drawing/2014/main" id="{EDB9AB59-E515-47AE-9982-6468A445CB52}"/>
                    </a:ext>
                  </a:extLst>
                </p:cNvPr>
                <p:cNvSpPr/>
                <p:nvPr/>
              </p:nvSpPr>
              <p:spPr>
                <a:xfrm>
                  <a:off x="6155191" y="1729238"/>
                  <a:ext cx="18316" cy="18436"/>
                </a:xfrm>
                <a:custGeom>
                  <a:avLst/>
                  <a:gdLst>
                    <a:gd name="connsiteX0" fmla="*/ 18129 w 18316"/>
                    <a:gd name="connsiteY0" fmla="*/ 11072 h 18436"/>
                    <a:gd name="connsiteX1" fmla="*/ 7364 w 18316"/>
                    <a:gd name="connsiteY1" fmla="*/ 18249 h 18436"/>
                    <a:gd name="connsiteX2" fmla="*/ 187 w 18316"/>
                    <a:gd name="connsiteY2" fmla="*/ 7364 h 18436"/>
                    <a:gd name="connsiteX3" fmla="*/ 10952 w 18316"/>
                    <a:gd name="connsiteY3" fmla="*/ 187 h 18436"/>
                    <a:gd name="connsiteX4" fmla="*/ 18129 w 18316"/>
                    <a:gd name="connsiteY4" fmla="*/ 1107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18129" y="11072"/>
                      </a:moveTo>
                      <a:cubicBezTo>
                        <a:pt x="17113" y="16036"/>
                        <a:pt x="12328" y="19266"/>
                        <a:pt x="7364" y="18249"/>
                      </a:cubicBezTo>
                      <a:cubicBezTo>
                        <a:pt x="2400" y="17232"/>
                        <a:pt x="-830" y="12388"/>
                        <a:pt x="187" y="7364"/>
                      </a:cubicBezTo>
                      <a:cubicBezTo>
                        <a:pt x="1204" y="2400"/>
                        <a:pt x="5988" y="-830"/>
                        <a:pt x="10952" y="187"/>
                      </a:cubicBezTo>
                      <a:cubicBezTo>
                        <a:pt x="15916" y="1204"/>
                        <a:pt x="19146" y="6108"/>
                        <a:pt x="18129" y="11072"/>
                      </a:cubicBezTo>
                      <a:close/>
                    </a:path>
                  </a:pathLst>
                </a:custGeom>
                <a:grpFill/>
                <a:ln w="5978" cap="flat">
                  <a:noFill/>
                  <a:prstDash val="solid"/>
                  <a:miter/>
                </a:ln>
              </p:spPr>
              <p:txBody>
                <a:bodyPr rtlCol="0" anchor="ctr"/>
                <a:lstStyle/>
                <a:p>
                  <a:endParaRPr lang="en-GB"/>
                </a:p>
              </p:txBody>
            </p:sp>
            <p:sp>
              <p:nvSpPr>
                <p:cNvPr id="3849" name="Vrije vorm: vorm 3848">
                  <a:extLst>
                    <a:ext uri="{FF2B5EF4-FFF2-40B4-BE49-F238E27FC236}">
                      <a16:creationId xmlns:a16="http://schemas.microsoft.com/office/drawing/2014/main" id="{CA8F5E77-F966-47EC-A024-8D1FECE6E248}"/>
                    </a:ext>
                  </a:extLst>
                </p:cNvPr>
                <p:cNvSpPr/>
                <p:nvPr/>
              </p:nvSpPr>
              <p:spPr>
                <a:xfrm>
                  <a:off x="6205130" y="1478108"/>
                  <a:ext cx="18316" cy="18436"/>
                </a:xfrm>
                <a:custGeom>
                  <a:avLst/>
                  <a:gdLst>
                    <a:gd name="connsiteX0" fmla="*/ 18129 w 18316"/>
                    <a:gd name="connsiteY0" fmla="*/ 11072 h 18436"/>
                    <a:gd name="connsiteX1" fmla="*/ 10953 w 18316"/>
                    <a:gd name="connsiteY1" fmla="*/ 187 h 18436"/>
                    <a:gd name="connsiteX2" fmla="*/ 187 w 18316"/>
                    <a:gd name="connsiteY2" fmla="*/ 7364 h 18436"/>
                    <a:gd name="connsiteX3" fmla="*/ 7364 w 18316"/>
                    <a:gd name="connsiteY3" fmla="*/ 18249 h 18436"/>
                    <a:gd name="connsiteX4" fmla="*/ 18129 w 18316"/>
                    <a:gd name="connsiteY4" fmla="*/ 1107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18129" y="11072"/>
                      </a:moveTo>
                      <a:cubicBezTo>
                        <a:pt x="19146" y="6108"/>
                        <a:pt x="15916" y="1204"/>
                        <a:pt x="10953" y="187"/>
                      </a:cubicBezTo>
                      <a:cubicBezTo>
                        <a:pt x="5989" y="-830"/>
                        <a:pt x="1144" y="2400"/>
                        <a:pt x="187" y="7364"/>
                      </a:cubicBezTo>
                      <a:cubicBezTo>
                        <a:pt x="-830" y="12328"/>
                        <a:pt x="2400" y="17232"/>
                        <a:pt x="7364" y="18249"/>
                      </a:cubicBezTo>
                      <a:cubicBezTo>
                        <a:pt x="12328" y="19266"/>
                        <a:pt x="17113" y="16036"/>
                        <a:pt x="18129" y="11072"/>
                      </a:cubicBezTo>
                      <a:close/>
                    </a:path>
                  </a:pathLst>
                </a:custGeom>
                <a:grpFill/>
                <a:ln w="5978" cap="flat">
                  <a:noFill/>
                  <a:prstDash val="solid"/>
                  <a:miter/>
                </a:ln>
              </p:spPr>
              <p:txBody>
                <a:bodyPr rtlCol="0" anchor="ctr"/>
                <a:lstStyle/>
                <a:p>
                  <a:endParaRPr lang="en-GB"/>
                </a:p>
              </p:txBody>
            </p:sp>
          </p:grpSp>
          <p:grpSp>
            <p:nvGrpSpPr>
              <p:cNvPr id="514" name="Graphic 3">
                <a:extLst>
                  <a:ext uri="{FF2B5EF4-FFF2-40B4-BE49-F238E27FC236}">
                    <a16:creationId xmlns:a16="http://schemas.microsoft.com/office/drawing/2014/main" id="{185D8887-893F-4FA1-90DD-07E20E97EB51}"/>
                  </a:ext>
                </a:extLst>
              </p:cNvPr>
              <p:cNvGrpSpPr/>
              <p:nvPr/>
            </p:nvGrpSpPr>
            <p:grpSpPr>
              <a:xfrm>
                <a:off x="6216330" y="1669386"/>
                <a:ext cx="24794" cy="81742"/>
                <a:chOff x="6216330" y="1669386"/>
                <a:chExt cx="24794" cy="81742"/>
              </a:xfrm>
              <a:grpFill/>
            </p:grpSpPr>
            <p:sp>
              <p:nvSpPr>
                <p:cNvPr id="3844" name="Vrije vorm: vorm 3843">
                  <a:extLst>
                    <a:ext uri="{FF2B5EF4-FFF2-40B4-BE49-F238E27FC236}">
                      <a16:creationId xmlns:a16="http://schemas.microsoft.com/office/drawing/2014/main" id="{BAF80530-1033-4E15-8924-BF7A91FD5E50}"/>
                    </a:ext>
                  </a:extLst>
                </p:cNvPr>
                <p:cNvSpPr/>
                <p:nvPr/>
              </p:nvSpPr>
              <p:spPr>
                <a:xfrm>
                  <a:off x="6223977" y="1677991"/>
                  <a:ext cx="9569" cy="64591"/>
                </a:xfrm>
                <a:custGeom>
                  <a:avLst/>
                  <a:gdLst>
                    <a:gd name="connsiteX0" fmla="*/ 9569 w 9569"/>
                    <a:gd name="connsiteY0" fmla="*/ 299 h 64591"/>
                    <a:gd name="connsiteX1" fmla="*/ 2990 w 9569"/>
                    <a:gd name="connsiteY1" fmla="*/ 64592 h 64591"/>
                    <a:gd name="connsiteX2" fmla="*/ 0 w 9569"/>
                    <a:gd name="connsiteY2" fmla="*/ 64293 h 64591"/>
                    <a:gd name="connsiteX3" fmla="*/ 6519 w 9569"/>
                    <a:gd name="connsiteY3" fmla="*/ 0 h 64591"/>
                  </a:gdLst>
                  <a:ahLst/>
                  <a:cxnLst>
                    <a:cxn ang="0">
                      <a:pos x="connsiteX0" y="connsiteY0"/>
                    </a:cxn>
                    <a:cxn ang="0">
                      <a:pos x="connsiteX1" y="connsiteY1"/>
                    </a:cxn>
                    <a:cxn ang="0">
                      <a:pos x="connsiteX2" y="connsiteY2"/>
                    </a:cxn>
                    <a:cxn ang="0">
                      <a:pos x="connsiteX3" y="connsiteY3"/>
                    </a:cxn>
                  </a:cxnLst>
                  <a:rect l="l" t="t" r="r" b="b"/>
                  <a:pathLst>
                    <a:path w="9569" h="64591">
                      <a:moveTo>
                        <a:pt x="9569" y="299"/>
                      </a:moveTo>
                      <a:lnTo>
                        <a:pt x="2990" y="64592"/>
                      </a:lnTo>
                      <a:lnTo>
                        <a:pt x="0" y="64293"/>
                      </a:lnTo>
                      <a:lnTo>
                        <a:pt x="6519" y="0"/>
                      </a:lnTo>
                      <a:close/>
                    </a:path>
                  </a:pathLst>
                </a:custGeom>
                <a:grpFill/>
                <a:ln w="5978" cap="flat">
                  <a:noFill/>
                  <a:prstDash val="solid"/>
                  <a:miter/>
                </a:ln>
              </p:spPr>
              <p:txBody>
                <a:bodyPr rtlCol="0" anchor="ctr"/>
                <a:lstStyle/>
                <a:p>
                  <a:endParaRPr lang="en-GB"/>
                </a:p>
              </p:txBody>
            </p:sp>
            <p:sp>
              <p:nvSpPr>
                <p:cNvPr id="3845" name="Vrije vorm: vorm 3844">
                  <a:extLst>
                    <a:ext uri="{FF2B5EF4-FFF2-40B4-BE49-F238E27FC236}">
                      <a16:creationId xmlns:a16="http://schemas.microsoft.com/office/drawing/2014/main" id="{B83E8638-370A-4DAB-AC1B-09C005F705D7}"/>
                    </a:ext>
                  </a:extLst>
                </p:cNvPr>
                <p:cNvSpPr/>
                <p:nvPr/>
              </p:nvSpPr>
              <p:spPr>
                <a:xfrm>
                  <a:off x="6222799" y="1669386"/>
                  <a:ext cx="18325" cy="18406"/>
                </a:xfrm>
                <a:custGeom>
                  <a:avLst/>
                  <a:gdLst>
                    <a:gd name="connsiteX0" fmla="*/ 42 w 18325"/>
                    <a:gd name="connsiteY0" fmla="*/ 8246 h 18406"/>
                    <a:gd name="connsiteX1" fmla="*/ 10090 w 18325"/>
                    <a:gd name="connsiteY1" fmla="*/ 53 h 18406"/>
                    <a:gd name="connsiteX2" fmla="*/ 18283 w 18325"/>
                    <a:gd name="connsiteY2" fmla="*/ 10160 h 18406"/>
                    <a:gd name="connsiteX3" fmla="*/ 8236 w 18325"/>
                    <a:gd name="connsiteY3" fmla="*/ 18354 h 18406"/>
                    <a:gd name="connsiteX4" fmla="*/ 42 w 1832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6">
                      <a:moveTo>
                        <a:pt x="42" y="8246"/>
                      </a:moveTo>
                      <a:cubicBezTo>
                        <a:pt x="580" y="3163"/>
                        <a:pt x="5066" y="-486"/>
                        <a:pt x="10090" y="53"/>
                      </a:cubicBezTo>
                      <a:cubicBezTo>
                        <a:pt x="15113" y="591"/>
                        <a:pt x="18762" y="5136"/>
                        <a:pt x="18283" y="10160"/>
                      </a:cubicBezTo>
                      <a:cubicBezTo>
                        <a:pt x="17745" y="15244"/>
                        <a:pt x="13259" y="18892"/>
                        <a:pt x="8236" y="18354"/>
                      </a:cubicBezTo>
                      <a:cubicBezTo>
                        <a:pt x="3212" y="17815"/>
                        <a:pt x="-436" y="13270"/>
                        <a:pt x="42" y="8246"/>
                      </a:cubicBezTo>
                      <a:close/>
                    </a:path>
                  </a:pathLst>
                </a:custGeom>
                <a:grpFill/>
                <a:ln w="5978" cap="flat">
                  <a:noFill/>
                  <a:prstDash val="solid"/>
                  <a:miter/>
                </a:ln>
              </p:spPr>
              <p:txBody>
                <a:bodyPr rtlCol="0" anchor="ctr"/>
                <a:lstStyle/>
                <a:p>
                  <a:endParaRPr lang="en-GB"/>
                </a:p>
              </p:txBody>
            </p:sp>
            <p:sp>
              <p:nvSpPr>
                <p:cNvPr id="3846" name="Vrije vorm: vorm 3845">
                  <a:extLst>
                    <a:ext uri="{FF2B5EF4-FFF2-40B4-BE49-F238E27FC236}">
                      <a16:creationId xmlns:a16="http://schemas.microsoft.com/office/drawing/2014/main" id="{ECB46709-D7A7-4B07-BB96-A61D5E7FF03F}"/>
                    </a:ext>
                  </a:extLst>
                </p:cNvPr>
                <p:cNvSpPr/>
                <p:nvPr/>
              </p:nvSpPr>
              <p:spPr>
                <a:xfrm>
                  <a:off x="6216330" y="1732723"/>
                  <a:ext cx="18345" cy="18405"/>
                </a:xfrm>
                <a:custGeom>
                  <a:avLst/>
                  <a:gdLst>
                    <a:gd name="connsiteX0" fmla="*/ 52 w 18345"/>
                    <a:gd name="connsiteY0" fmla="*/ 8246 h 18405"/>
                    <a:gd name="connsiteX1" fmla="*/ 8246 w 18345"/>
                    <a:gd name="connsiteY1" fmla="*/ 18353 h 18405"/>
                    <a:gd name="connsiteX2" fmla="*/ 18293 w 18345"/>
                    <a:gd name="connsiteY2" fmla="*/ 10159 h 18405"/>
                    <a:gd name="connsiteX3" fmla="*/ 10100 w 18345"/>
                    <a:gd name="connsiteY3" fmla="*/ 52 h 18405"/>
                    <a:gd name="connsiteX4" fmla="*/ 52 w 18345"/>
                    <a:gd name="connsiteY4" fmla="*/ 8246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5">
                      <a:moveTo>
                        <a:pt x="52" y="8246"/>
                      </a:moveTo>
                      <a:cubicBezTo>
                        <a:pt x="-486" y="13329"/>
                        <a:pt x="3222" y="17815"/>
                        <a:pt x="8246" y="18353"/>
                      </a:cubicBezTo>
                      <a:cubicBezTo>
                        <a:pt x="13269" y="18891"/>
                        <a:pt x="17755" y="15243"/>
                        <a:pt x="18293" y="10159"/>
                      </a:cubicBezTo>
                      <a:cubicBezTo>
                        <a:pt x="18832" y="5076"/>
                        <a:pt x="15123" y="590"/>
                        <a:pt x="10100" y="52"/>
                      </a:cubicBezTo>
                      <a:cubicBezTo>
                        <a:pt x="5076" y="-486"/>
                        <a:pt x="590" y="3222"/>
                        <a:pt x="52" y="8246"/>
                      </a:cubicBezTo>
                      <a:close/>
                    </a:path>
                  </a:pathLst>
                </a:custGeom>
                <a:grpFill/>
                <a:ln w="5978" cap="flat">
                  <a:noFill/>
                  <a:prstDash val="solid"/>
                  <a:miter/>
                </a:ln>
              </p:spPr>
              <p:txBody>
                <a:bodyPr rtlCol="0" anchor="ctr"/>
                <a:lstStyle/>
                <a:p>
                  <a:endParaRPr lang="en-GB"/>
                </a:p>
              </p:txBody>
            </p:sp>
          </p:grpSp>
          <p:grpSp>
            <p:nvGrpSpPr>
              <p:cNvPr id="515" name="Graphic 3">
                <a:extLst>
                  <a:ext uri="{FF2B5EF4-FFF2-40B4-BE49-F238E27FC236}">
                    <a16:creationId xmlns:a16="http://schemas.microsoft.com/office/drawing/2014/main" id="{C46FCF07-36A2-4267-A114-9911DD5C9730}"/>
                  </a:ext>
                </a:extLst>
              </p:cNvPr>
              <p:cNvGrpSpPr/>
              <p:nvPr/>
            </p:nvGrpSpPr>
            <p:grpSpPr>
              <a:xfrm>
                <a:off x="6160446" y="1563557"/>
                <a:ext cx="22520" cy="83597"/>
                <a:chOff x="6160446" y="1563557"/>
                <a:chExt cx="22520" cy="83597"/>
              </a:xfrm>
              <a:grpFill/>
            </p:grpSpPr>
            <p:sp>
              <p:nvSpPr>
                <p:cNvPr id="3841" name="Vrije vorm: vorm 3840">
                  <a:extLst>
                    <a:ext uri="{FF2B5EF4-FFF2-40B4-BE49-F238E27FC236}">
                      <a16:creationId xmlns:a16="http://schemas.microsoft.com/office/drawing/2014/main" id="{7F483FDD-2D34-42CB-91B2-E9EFD10A9E8D}"/>
                    </a:ext>
                  </a:extLst>
                </p:cNvPr>
                <p:cNvSpPr/>
                <p:nvPr/>
              </p:nvSpPr>
              <p:spPr>
                <a:xfrm>
                  <a:off x="6168058" y="1572192"/>
                  <a:ext cx="7296" cy="66326"/>
                </a:xfrm>
                <a:custGeom>
                  <a:avLst/>
                  <a:gdLst>
                    <a:gd name="connsiteX0" fmla="*/ 7297 w 7296"/>
                    <a:gd name="connsiteY0" fmla="*/ 239 h 66326"/>
                    <a:gd name="connsiteX1" fmla="*/ 3050 w 7296"/>
                    <a:gd name="connsiteY1" fmla="*/ 66326 h 66326"/>
                    <a:gd name="connsiteX2" fmla="*/ 0 w 7296"/>
                    <a:gd name="connsiteY2" fmla="*/ 66147 h 66326"/>
                    <a:gd name="connsiteX3" fmla="*/ 4246 w 7296"/>
                    <a:gd name="connsiteY3" fmla="*/ 0 h 66326"/>
                  </a:gdLst>
                  <a:ahLst/>
                  <a:cxnLst>
                    <a:cxn ang="0">
                      <a:pos x="connsiteX0" y="connsiteY0"/>
                    </a:cxn>
                    <a:cxn ang="0">
                      <a:pos x="connsiteX1" y="connsiteY1"/>
                    </a:cxn>
                    <a:cxn ang="0">
                      <a:pos x="connsiteX2" y="connsiteY2"/>
                    </a:cxn>
                    <a:cxn ang="0">
                      <a:pos x="connsiteX3" y="connsiteY3"/>
                    </a:cxn>
                  </a:cxnLst>
                  <a:rect l="l" t="t" r="r" b="b"/>
                  <a:pathLst>
                    <a:path w="7296" h="66326">
                      <a:moveTo>
                        <a:pt x="7297" y="239"/>
                      </a:moveTo>
                      <a:lnTo>
                        <a:pt x="3050" y="66326"/>
                      </a:lnTo>
                      <a:lnTo>
                        <a:pt x="0" y="66147"/>
                      </a:lnTo>
                      <a:lnTo>
                        <a:pt x="4246" y="0"/>
                      </a:lnTo>
                      <a:close/>
                    </a:path>
                  </a:pathLst>
                </a:custGeom>
                <a:grpFill/>
                <a:ln w="5978" cap="flat">
                  <a:noFill/>
                  <a:prstDash val="solid"/>
                  <a:miter/>
                </a:ln>
              </p:spPr>
              <p:txBody>
                <a:bodyPr rtlCol="0" anchor="ctr"/>
                <a:lstStyle/>
                <a:p>
                  <a:endParaRPr lang="en-GB"/>
                </a:p>
              </p:txBody>
            </p:sp>
            <p:sp>
              <p:nvSpPr>
                <p:cNvPr id="3842" name="Vrije vorm: vorm 3841">
                  <a:extLst>
                    <a:ext uri="{FF2B5EF4-FFF2-40B4-BE49-F238E27FC236}">
                      <a16:creationId xmlns:a16="http://schemas.microsoft.com/office/drawing/2014/main" id="{573A401E-047E-4DEB-A3D0-3C761BBD4AC4}"/>
                    </a:ext>
                  </a:extLst>
                </p:cNvPr>
                <p:cNvSpPr/>
                <p:nvPr/>
              </p:nvSpPr>
              <p:spPr>
                <a:xfrm>
                  <a:off x="6164632" y="1563557"/>
                  <a:ext cx="18333" cy="18407"/>
                </a:xfrm>
                <a:custGeom>
                  <a:avLst/>
                  <a:gdLst>
                    <a:gd name="connsiteX0" fmla="*/ 16 w 18333"/>
                    <a:gd name="connsiteY0" fmla="*/ 8576 h 18407"/>
                    <a:gd name="connsiteX1" fmla="*/ 9765 w 18333"/>
                    <a:gd name="connsiteY1" fmla="*/ 23 h 18407"/>
                    <a:gd name="connsiteX2" fmla="*/ 18317 w 18333"/>
                    <a:gd name="connsiteY2" fmla="*/ 9832 h 18407"/>
                    <a:gd name="connsiteX3" fmla="*/ 8569 w 18333"/>
                    <a:gd name="connsiteY3" fmla="*/ 18384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315" y="3492"/>
                        <a:pt x="4682" y="-336"/>
                        <a:pt x="9765" y="23"/>
                      </a:cubicBezTo>
                      <a:cubicBezTo>
                        <a:pt x="14789" y="382"/>
                        <a:pt x="18616" y="4748"/>
                        <a:pt x="18317" y="9832"/>
                      </a:cubicBezTo>
                      <a:cubicBezTo>
                        <a:pt x="18018" y="14915"/>
                        <a:pt x="13653" y="18743"/>
                        <a:pt x="8569" y="18384"/>
                      </a:cubicBezTo>
                      <a:cubicBezTo>
                        <a:pt x="3545" y="18085"/>
                        <a:pt x="-283" y="13659"/>
                        <a:pt x="16" y="8576"/>
                      </a:cubicBezTo>
                      <a:close/>
                    </a:path>
                  </a:pathLst>
                </a:custGeom>
                <a:grpFill/>
                <a:ln w="5978" cap="flat">
                  <a:noFill/>
                  <a:prstDash val="solid"/>
                  <a:miter/>
                </a:ln>
              </p:spPr>
              <p:txBody>
                <a:bodyPr rtlCol="0" anchor="ctr"/>
                <a:lstStyle/>
                <a:p>
                  <a:endParaRPr lang="en-GB"/>
                </a:p>
              </p:txBody>
            </p:sp>
            <p:sp>
              <p:nvSpPr>
                <p:cNvPr id="3843" name="Vrije vorm: vorm 3842">
                  <a:extLst>
                    <a:ext uri="{FF2B5EF4-FFF2-40B4-BE49-F238E27FC236}">
                      <a16:creationId xmlns:a16="http://schemas.microsoft.com/office/drawing/2014/main" id="{92EA8941-31C2-4F01-A073-368BB516851D}"/>
                    </a:ext>
                  </a:extLst>
                </p:cNvPr>
                <p:cNvSpPr/>
                <p:nvPr/>
              </p:nvSpPr>
              <p:spPr>
                <a:xfrm>
                  <a:off x="6160446" y="1628747"/>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3" y="18743"/>
                        <a:pt x="17959" y="14915"/>
                        <a:pt x="18317" y="9832"/>
                      </a:cubicBezTo>
                      <a:cubicBezTo>
                        <a:pt x="18617" y="4748"/>
                        <a:pt x="14789" y="382"/>
                        <a:pt x="9765" y="23"/>
                      </a:cubicBezTo>
                      <a:cubicBezTo>
                        <a:pt x="4682" y="-336"/>
                        <a:pt x="316" y="3492"/>
                        <a:pt x="16" y="8576"/>
                      </a:cubicBezTo>
                      <a:close/>
                    </a:path>
                  </a:pathLst>
                </a:custGeom>
                <a:grpFill/>
                <a:ln w="5978" cap="flat">
                  <a:noFill/>
                  <a:prstDash val="solid"/>
                  <a:miter/>
                </a:ln>
              </p:spPr>
              <p:txBody>
                <a:bodyPr rtlCol="0" anchor="ctr"/>
                <a:lstStyle/>
                <a:p>
                  <a:endParaRPr lang="en-GB"/>
                </a:p>
              </p:txBody>
            </p:sp>
          </p:grpSp>
          <p:grpSp>
            <p:nvGrpSpPr>
              <p:cNvPr id="516" name="Graphic 3">
                <a:extLst>
                  <a:ext uri="{FF2B5EF4-FFF2-40B4-BE49-F238E27FC236}">
                    <a16:creationId xmlns:a16="http://schemas.microsoft.com/office/drawing/2014/main" id="{C51B66CB-3325-45D2-B5FF-2F1C19036665}"/>
                  </a:ext>
                </a:extLst>
              </p:cNvPr>
              <p:cNvGrpSpPr/>
              <p:nvPr/>
            </p:nvGrpSpPr>
            <p:grpSpPr>
              <a:xfrm>
                <a:off x="6123765" y="1375019"/>
                <a:ext cx="70583" cy="371261"/>
                <a:chOff x="6123765" y="1375019"/>
                <a:chExt cx="70583" cy="371261"/>
              </a:xfrm>
              <a:grpFill/>
            </p:grpSpPr>
            <p:sp>
              <p:nvSpPr>
                <p:cNvPr id="3838" name="Vrije vorm: vorm 3837">
                  <a:extLst>
                    <a:ext uri="{FF2B5EF4-FFF2-40B4-BE49-F238E27FC236}">
                      <a16:creationId xmlns:a16="http://schemas.microsoft.com/office/drawing/2014/main" id="{C77A2AAE-9527-415B-B3AB-D103C0723956}"/>
                    </a:ext>
                  </a:extLst>
                </p:cNvPr>
                <p:cNvSpPr/>
                <p:nvPr/>
              </p:nvSpPr>
              <p:spPr>
                <a:xfrm>
                  <a:off x="6131336" y="1383620"/>
                  <a:ext cx="55381" cy="354118"/>
                </a:xfrm>
                <a:custGeom>
                  <a:avLst/>
                  <a:gdLst>
                    <a:gd name="connsiteX0" fmla="*/ 55382 w 55381"/>
                    <a:gd name="connsiteY0" fmla="*/ 419 h 354118"/>
                    <a:gd name="connsiteX1" fmla="*/ 2990 w 55381"/>
                    <a:gd name="connsiteY1" fmla="*/ 354119 h 354118"/>
                    <a:gd name="connsiteX2" fmla="*/ 0 w 55381"/>
                    <a:gd name="connsiteY2" fmla="*/ 353640 h 354118"/>
                    <a:gd name="connsiteX3" fmla="*/ 52391 w 55381"/>
                    <a:gd name="connsiteY3" fmla="*/ 0 h 354118"/>
                  </a:gdLst>
                  <a:ahLst/>
                  <a:cxnLst>
                    <a:cxn ang="0">
                      <a:pos x="connsiteX0" y="connsiteY0"/>
                    </a:cxn>
                    <a:cxn ang="0">
                      <a:pos x="connsiteX1" y="connsiteY1"/>
                    </a:cxn>
                    <a:cxn ang="0">
                      <a:pos x="connsiteX2" y="connsiteY2"/>
                    </a:cxn>
                    <a:cxn ang="0">
                      <a:pos x="connsiteX3" y="connsiteY3"/>
                    </a:cxn>
                  </a:cxnLst>
                  <a:rect l="l" t="t" r="r" b="b"/>
                  <a:pathLst>
                    <a:path w="55381" h="354118">
                      <a:moveTo>
                        <a:pt x="55382" y="419"/>
                      </a:moveTo>
                      <a:lnTo>
                        <a:pt x="2990" y="354119"/>
                      </a:lnTo>
                      <a:lnTo>
                        <a:pt x="0" y="353640"/>
                      </a:lnTo>
                      <a:lnTo>
                        <a:pt x="52391" y="0"/>
                      </a:lnTo>
                      <a:close/>
                    </a:path>
                  </a:pathLst>
                </a:custGeom>
                <a:grpFill/>
                <a:ln w="5978" cap="flat">
                  <a:noFill/>
                  <a:prstDash val="solid"/>
                  <a:miter/>
                </a:ln>
              </p:spPr>
              <p:txBody>
                <a:bodyPr rtlCol="0" anchor="ctr"/>
                <a:lstStyle/>
                <a:p>
                  <a:endParaRPr lang="en-GB"/>
                </a:p>
              </p:txBody>
            </p:sp>
            <p:sp>
              <p:nvSpPr>
                <p:cNvPr id="3839" name="Vrije vorm: vorm 3838">
                  <a:extLst>
                    <a:ext uri="{FF2B5EF4-FFF2-40B4-BE49-F238E27FC236}">
                      <a16:creationId xmlns:a16="http://schemas.microsoft.com/office/drawing/2014/main" id="{B723CD24-C61D-4183-87D5-163D06C1486D}"/>
                    </a:ext>
                  </a:extLst>
                </p:cNvPr>
                <p:cNvSpPr/>
                <p:nvPr/>
              </p:nvSpPr>
              <p:spPr>
                <a:xfrm>
                  <a:off x="6123765" y="1727821"/>
                  <a:ext cx="18311" cy="18459"/>
                </a:xfrm>
                <a:custGeom>
                  <a:avLst/>
                  <a:gdLst>
                    <a:gd name="connsiteX0" fmla="*/ 18217 w 18311"/>
                    <a:gd name="connsiteY0" fmla="*/ 10635 h 18459"/>
                    <a:gd name="connsiteX1" fmla="*/ 7811 w 18311"/>
                    <a:gd name="connsiteY1" fmla="*/ 18350 h 18459"/>
                    <a:gd name="connsiteX2" fmla="*/ 95 w 18311"/>
                    <a:gd name="connsiteY2" fmla="*/ 7824 h 18459"/>
                    <a:gd name="connsiteX3" fmla="*/ 10502 w 18311"/>
                    <a:gd name="connsiteY3" fmla="*/ 109 h 18459"/>
                    <a:gd name="connsiteX4" fmla="*/ 18217 w 18311"/>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9">
                      <a:moveTo>
                        <a:pt x="18217" y="10635"/>
                      </a:moveTo>
                      <a:cubicBezTo>
                        <a:pt x="17499" y="15659"/>
                        <a:pt x="12834" y="19128"/>
                        <a:pt x="7811" y="18350"/>
                      </a:cubicBezTo>
                      <a:cubicBezTo>
                        <a:pt x="2787" y="17573"/>
                        <a:pt x="-622" y="12908"/>
                        <a:pt x="95" y="7824"/>
                      </a:cubicBezTo>
                      <a:cubicBezTo>
                        <a:pt x="813" y="2800"/>
                        <a:pt x="5478" y="-669"/>
                        <a:pt x="10502" y="109"/>
                      </a:cubicBezTo>
                      <a:cubicBezTo>
                        <a:pt x="15466" y="886"/>
                        <a:pt x="18935" y="5611"/>
                        <a:pt x="18217" y="10635"/>
                      </a:cubicBezTo>
                      <a:close/>
                    </a:path>
                  </a:pathLst>
                </a:custGeom>
                <a:grpFill/>
                <a:ln w="5978" cap="flat">
                  <a:noFill/>
                  <a:prstDash val="solid"/>
                  <a:miter/>
                </a:ln>
              </p:spPr>
              <p:txBody>
                <a:bodyPr rtlCol="0" anchor="ctr"/>
                <a:lstStyle/>
                <a:p>
                  <a:endParaRPr lang="en-GB"/>
                </a:p>
              </p:txBody>
            </p:sp>
            <p:sp>
              <p:nvSpPr>
                <p:cNvPr id="3840" name="Vrije vorm: vorm 3839">
                  <a:extLst>
                    <a:ext uri="{FF2B5EF4-FFF2-40B4-BE49-F238E27FC236}">
                      <a16:creationId xmlns:a16="http://schemas.microsoft.com/office/drawing/2014/main" id="{9FBEF8B6-2B22-42E8-8E9D-3DE063DE6564}"/>
                    </a:ext>
                  </a:extLst>
                </p:cNvPr>
                <p:cNvSpPr/>
                <p:nvPr/>
              </p:nvSpPr>
              <p:spPr>
                <a:xfrm>
                  <a:off x="6176036" y="1375019"/>
                  <a:ext cx="18312" cy="18460"/>
                </a:xfrm>
                <a:custGeom>
                  <a:avLst/>
                  <a:gdLst>
                    <a:gd name="connsiteX0" fmla="*/ 18217 w 18312"/>
                    <a:gd name="connsiteY0" fmla="*/ 10635 h 18460"/>
                    <a:gd name="connsiteX1" fmla="*/ 10502 w 18312"/>
                    <a:gd name="connsiteY1" fmla="*/ 109 h 18460"/>
                    <a:gd name="connsiteX2" fmla="*/ 95 w 18312"/>
                    <a:gd name="connsiteY2" fmla="*/ 7824 h 18460"/>
                    <a:gd name="connsiteX3" fmla="*/ 7811 w 18312"/>
                    <a:gd name="connsiteY3" fmla="*/ 18350 h 18460"/>
                    <a:gd name="connsiteX4" fmla="*/ 18217 w 18312"/>
                    <a:gd name="connsiteY4" fmla="*/ 10635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60">
                      <a:moveTo>
                        <a:pt x="18217" y="10635"/>
                      </a:moveTo>
                      <a:cubicBezTo>
                        <a:pt x="18935" y="5611"/>
                        <a:pt x="15526" y="886"/>
                        <a:pt x="10502" y="109"/>
                      </a:cubicBezTo>
                      <a:cubicBezTo>
                        <a:pt x="5478" y="-669"/>
                        <a:pt x="813" y="2800"/>
                        <a:pt x="95" y="7824"/>
                      </a:cubicBezTo>
                      <a:cubicBezTo>
                        <a:pt x="-622" y="12848"/>
                        <a:pt x="2787" y="17573"/>
                        <a:pt x="7811" y="18350"/>
                      </a:cubicBezTo>
                      <a:cubicBezTo>
                        <a:pt x="12775" y="19128"/>
                        <a:pt x="17440" y="15719"/>
                        <a:pt x="18217" y="10635"/>
                      </a:cubicBezTo>
                      <a:close/>
                    </a:path>
                  </a:pathLst>
                </a:custGeom>
                <a:grpFill/>
                <a:ln w="5978" cap="flat">
                  <a:noFill/>
                  <a:prstDash val="solid"/>
                  <a:miter/>
                </a:ln>
              </p:spPr>
              <p:txBody>
                <a:bodyPr rtlCol="0" anchor="ctr"/>
                <a:lstStyle/>
                <a:p>
                  <a:endParaRPr lang="en-GB"/>
                </a:p>
              </p:txBody>
            </p:sp>
          </p:grpSp>
          <p:grpSp>
            <p:nvGrpSpPr>
              <p:cNvPr id="517" name="Graphic 3">
                <a:extLst>
                  <a:ext uri="{FF2B5EF4-FFF2-40B4-BE49-F238E27FC236}">
                    <a16:creationId xmlns:a16="http://schemas.microsoft.com/office/drawing/2014/main" id="{B56F6D5A-6D60-4C20-8379-5165501696FC}"/>
                  </a:ext>
                </a:extLst>
              </p:cNvPr>
              <p:cNvGrpSpPr/>
              <p:nvPr/>
            </p:nvGrpSpPr>
            <p:grpSpPr>
              <a:xfrm>
                <a:off x="7167900" y="4678091"/>
                <a:ext cx="128412" cy="143092"/>
                <a:chOff x="7167900" y="4678091"/>
                <a:chExt cx="128412" cy="143092"/>
              </a:xfrm>
              <a:grpFill/>
            </p:grpSpPr>
            <p:sp>
              <p:nvSpPr>
                <p:cNvPr id="3835" name="Vrije vorm: vorm 3834">
                  <a:extLst>
                    <a:ext uri="{FF2B5EF4-FFF2-40B4-BE49-F238E27FC236}">
                      <a16:creationId xmlns:a16="http://schemas.microsoft.com/office/drawing/2014/main" id="{8434C679-A786-4245-ACAA-EF3C6850DC31}"/>
                    </a:ext>
                  </a:extLst>
                </p:cNvPr>
                <p:cNvSpPr/>
                <p:nvPr/>
              </p:nvSpPr>
              <p:spPr>
                <a:xfrm>
                  <a:off x="7175630" y="4685935"/>
                  <a:ext cx="112975" cy="127449"/>
                </a:xfrm>
                <a:custGeom>
                  <a:avLst/>
                  <a:gdLst>
                    <a:gd name="connsiteX0" fmla="*/ 112976 w 112975"/>
                    <a:gd name="connsiteY0" fmla="*/ 125416 h 127449"/>
                    <a:gd name="connsiteX1" fmla="*/ 110703 w 112975"/>
                    <a:gd name="connsiteY1" fmla="*/ 127449 h 127449"/>
                    <a:gd name="connsiteX2" fmla="*/ 0 w 112975"/>
                    <a:gd name="connsiteY2" fmla="*/ 2034 h 127449"/>
                    <a:gd name="connsiteX3" fmla="*/ 2273 w 112975"/>
                    <a:gd name="connsiteY3" fmla="*/ 0 h 127449"/>
                  </a:gdLst>
                  <a:ahLst/>
                  <a:cxnLst>
                    <a:cxn ang="0">
                      <a:pos x="connsiteX0" y="connsiteY0"/>
                    </a:cxn>
                    <a:cxn ang="0">
                      <a:pos x="connsiteX1" y="connsiteY1"/>
                    </a:cxn>
                    <a:cxn ang="0">
                      <a:pos x="connsiteX2" y="connsiteY2"/>
                    </a:cxn>
                    <a:cxn ang="0">
                      <a:pos x="connsiteX3" y="connsiteY3"/>
                    </a:cxn>
                  </a:cxnLst>
                  <a:rect l="l" t="t" r="r" b="b"/>
                  <a:pathLst>
                    <a:path w="112975" h="127449">
                      <a:moveTo>
                        <a:pt x="112976" y="125416"/>
                      </a:moveTo>
                      <a:lnTo>
                        <a:pt x="110703" y="127449"/>
                      </a:lnTo>
                      <a:lnTo>
                        <a:pt x="0" y="2034"/>
                      </a:lnTo>
                      <a:lnTo>
                        <a:pt x="2273" y="0"/>
                      </a:lnTo>
                      <a:close/>
                    </a:path>
                  </a:pathLst>
                </a:custGeom>
                <a:grpFill/>
                <a:ln w="5978" cap="flat">
                  <a:noFill/>
                  <a:prstDash val="solid"/>
                  <a:miter/>
                </a:ln>
              </p:spPr>
              <p:txBody>
                <a:bodyPr rtlCol="0" anchor="ctr"/>
                <a:lstStyle/>
                <a:p>
                  <a:endParaRPr lang="en-GB"/>
                </a:p>
              </p:txBody>
            </p:sp>
            <p:sp>
              <p:nvSpPr>
                <p:cNvPr id="3836" name="Vrije vorm: vorm 3835">
                  <a:extLst>
                    <a:ext uri="{FF2B5EF4-FFF2-40B4-BE49-F238E27FC236}">
                      <a16:creationId xmlns:a16="http://schemas.microsoft.com/office/drawing/2014/main" id="{00BEE20E-0EBB-4682-8746-9EDCC759106A}"/>
                    </a:ext>
                  </a:extLst>
                </p:cNvPr>
                <p:cNvSpPr/>
                <p:nvPr/>
              </p:nvSpPr>
              <p:spPr>
                <a:xfrm>
                  <a:off x="7278035" y="4802789"/>
                  <a:ext cx="18277" cy="18394"/>
                </a:xfrm>
                <a:custGeom>
                  <a:avLst/>
                  <a:gdLst>
                    <a:gd name="connsiteX0" fmla="*/ 15954 w 18277"/>
                    <a:gd name="connsiteY0" fmla="*/ 3119 h 18394"/>
                    <a:gd name="connsiteX1" fmla="*/ 15236 w 18277"/>
                    <a:gd name="connsiteY1" fmla="*/ 16098 h 18394"/>
                    <a:gd name="connsiteX2" fmla="*/ 2318 w 18277"/>
                    <a:gd name="connsiteY2" fmla="*/ 15320 h 18394"/>
                    <a:gd name="connsiteX3" fmla="*/ 3095 w 18277"/>
                    <a:gd name="connsiteY3" fmla="*/ 2342 h 18394"/>
                    <a:gd name="connsiteX4" fmla="*/ 15954 w 18277"/>
                    <a:gd name="connsiteY4" fmla="*/ 311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394">
                      <a:moveTo>
                        <a:pt x="15954" y="3119"/>
                      </a:moveTo>
                      <a:cubicBezTo>
                        <a:pt x="19303" y="6947"/>
                        <a:pt x="19004" y="12748"/>
                        <a:pt x="15236" y="16098"/>
                      </a:cubicBezTo>
                      <a:cubicBezTo>
                        <a:pt x="11468" y="19447"/>
                        <a:pt x="5667" y="19088"/>
                        <a:pt x="2318" y="15320"/>
                      </a:cubicBezTo>
                      <a:cubicBezTo>
                        <a:pt x="-1031" y="11492"/>
                        <a:pt x="-733" y="5691"/>
                        <a:pt x="3095" y="2342"/>
                      </a:cubicBezTo>
                      <a:cubicBezTo>
                        <a:pt x="6803" y="-1067"/>
                        <a:pt x="12604" y="-708"/>
                        <a:pt x="15954" y="3119"/>
                      </a:cubicBezTo>
                      <a:close/>
                    </a:path>
                  </a:pathLst>
                </a:custGeom>
                <a:grpFill/>
                <a:ln w="5978" cap="flat">
                  <a:noFill/>
                  <a:prstDash val="solid"/>
                  <a:miter/>
                </a:ln>
              </p:spPr>
              <p:txBody>
                <a:bodyPr rtlCol="0" anchor="ctr"/>
                <a:lstStyle/>
                <a:p>
                  <a:endParaRPr lang="en-GB"/>
                </a:p>
              </p:txBody>
            </p:sp>
            <p:sp>
              <p:nvSpPr>
                <p:cNvPr id="3837" name="Vrije vorm: vorm 3836">
                  <a:extLst>
                    <a:ext uri="{FF2B5EF4-FFF2-40B4-BE49-F238E27FC236}">
                      <a16:creationId xmlns:a16="http://schemas.microsoft.com/office/drawing/2014/main" id="{52109176-77C3-43DA-80C7-25CAA7A7ECC8}"/>
                    </a:ext>
                  </a:extLst>
                </p:cNvPr>
                <p:cNvSpPr/>
                <p:nvPr/>
              </p:nvSpPr>
              <p:spPr>
                <a:xfrm>
                  <a:off x="7167900" y="4678091"/>
                  <a:ext cx="18307" cy="18439"/>
                </a:xfrm>
                <a:custGeom>
                  <a:avLst/>
                  <a:gdLst>
                    <a:gd name="connsiteX0" fmla="*/ 15983 w 18307"/>
                    <a:gd name="connsiteY0" fmla="*/ 3119 h 18439"/>
                    <a:gd name="connsiteX1" fmla="*/ 3066 w 18307"/>
                    <a:gd name="connsiteY1" fmla="*/ 2342 h 18439"/>
                    <a:gd name="connsiteX2" fmla="*/ 2347 w 18307"/>
                    <a:gd name="connsiteY2" fmla="*/ 15320 h 18439"/>
                    <a:gd name="connsiteX3" fmla="*/ 15266 w 18307"/>
                    <a:gd name="connsiteY3" fmla="*/ 16097 h 18439"/>
                    <a:gd name="connsiteX4" fmla="*/ 15983 w 18307"/>
                    <a:gd name="connsiteY4" fmla="*/ 3119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9">
                      <a:moveTo>
                        <a:pt x="15983" y="3119"/>
                      </a:moveTo>
                      <a:cubicBezTo>
                        <a:pt x="12635" y="-708"/>
                        <a:pt x="6833" y="-1067"/>
                        <a:pt x="3066" y="2342"/>
                      </a:cubicBezTo>
                      <a:cubicBezTo>
                        <a:pt x="-702" y="5691"/>
                        <a:pt x="-1062" y="11552"/>
                        <a:pt x="2347" y="15320"/>
                      </a:cubicBezTo>
                      <a:cubicBezTo>
                        <a:pt x="5697" y="19148"/>
                        <a:pt x="11498" y="19506"/>
                        <a:pt x="15266" y="16097"/>
                      </a:cubicBezTo>
                      <a:cubicBezTo>
                        <a:pt x="19034" y="12748"/>
                        <a:pt x="19333" y="6947"/>
                        <a:pt x="15983" y="3119"/>
                      </a:cubicBezTo>
                      <a:close/>
                    </a:path>
                  </a:pathLst>
                </a:custGeom>
                <a:grpFill/>
                <a:ln w="5978" cap="flat">
                  <a:noFill/>
                  <a:prstDash val="solid"/>
                  <a:miter/>
                </a:ln>
              </p:spPr>
              <p:txBody>
                <a:bodyPr rtlCol="0" anchor="ctr"/>
                <a:lstStyle/>
                <a:p>
                  <a:endParaRPr lang="en-GB"/>
                </a:p>
              </p:txBody>
            </p:sp>
          </p:grpSp>
          <p:grpSp>
            <p:nvGrpSpPr>
              <p:cNvPr id="518" name="Graphic 3">
                <a:extLst>
                  <a:ext uri="{FF2B5EF4-FFF2-40B4-BE49-F238E27FC236}">
                    <a16:creationId xmlns:a16="http://schemas.microsoft.com/office/drawing/2014/main" id="{4C17DCBA-87DD-439E-8453-528F94D534AA}"/>
                  </a:ext>
                </a:extLst>
              </p:cNvPr>
              <p:cNvGrpSpPr/>
              <p:nvPr/>
            </p:nvGrpSpPr>
            <p:grpSpPr>
              <a:xfrm>
                <a:off x="7247063" y="4819703"/>
                <a:ext cx="22341" cy="23188"/>
                <a:chOff x="7247063" y="4819703"/>
                <a:chExt cx="22341" cy="23188"/>
              </a:xfrm>
              <a:grpFill/>
            </p:grpSpPr>
            <p:sp>
              <p:nvSpPr>
                <p:cNvPr id="3833" name="Vrije vorm: vorm 3832">
                  <a:extLst>
                    <a:ext uri="{FF2B5EF4-FFF2-40B4-BE49-F238E27FC236}">
                      <a16:creationId xmlns:a16="http://schemas.microsoft.com/office/drawing/2014/main" id="{7D755599-31F6-4002-9DC1-AADD770D239C}"/>
                    </a:ext>
                  </a:extLst>
                </p:cNvPr>
                <p:cNvSpPr/>
                <p:nvPr/>
              </p:nvSpPr>
              <p:spPr>
                <a:xfrm>
                  <a:off x="7251050" y="4824472"/>
                  <a:ext cx="18354" cy="18419"/>
                </a:xfrm>
                <a:custGeom>
                  <a:avLst/>
                  <a:gdLst>
                    <a:gd name="connsiteX0" fmla="*/ 2210 w 18354"/>
                    <a:gd name="connsiteY0" fmla="*/ 15168 h 18419"/>
                    <a:gd name="connsiteX1" fmla="*/ 3227 w 18354"/>
                    <a:gd name="connsiteY1" fmla="*/ 2190 h 18419"/>
                    <a:gd name="connsiteX2" fmla="*/ 16145 w 18354"/>
                    <a:gd name="connsiteY2" fmla="*/ 3207 h 18419"/>
                    <a:gd name="connsiteX3" fmla="*/ 15128 w 18354"/>
                    <a:gd name="connsiteY3" fmla="*/ 16185 h 18419"/>
                    <a:gd name="connsiteX4" fmla="*/ 2210 w 18354"/>
                    <a:gd name="connsiteY4" fmla="*/ 15168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9">
                      <a:moveTo>
                        <a:pt x="2210" y="15168"/>
                      </a:moveTo>
                      <a:cubicBezTo>
                        <a:pt x="-1079" y="11280"/>
                        <a:pt x="-661" y="5479"/>
                        <a:pt x="3227" y="2190"/>
                      </a:cubicBezTo>
                      <a:cubicBezTo>
                        <a:pt x="7054" y="-1099"/>
                        <a:pt x="12855" y="-621"/>
                        <a:pt x="16145" y="3207"/>
                      </a:cubicBezTo>
                      <a:cubicBezTo>
                        <a:pt x="19434" y="7094"/>
                        <a:pt x="19016" y="12895"/>
                        <a:pt x="15128" y="16185"/>
                      </a:cubicBezTo>
                      <a:cubicBezTo>
                        <a:pt x="11300" y="19534"/>
                        <a:pt x="5559" y="19056"/>
                        <a:pt x="2210" y="15168"/>
                      </a:cubicBezTo>
                      <a:close/>
                    </a:path>
                  </a:pathLst>
                </a:custGeom>
                <a:grpFill/>
                <a:ln w="5978" cap="flat">
                  <a:noFill/>
                  <a:prstDash val="solid"/>
                  <a:miter/>
                </a:ln>
              </p:spPr>
              <p:txBody>
                <a:bodyPr rtlCol="0" anchor="ctr"/>
                <a:lstStyle/>
                <a:p>
                  <a:endParaRPr lang="en-GB"/>
                </a:p>
              </p:txBody>
            </p:sp>
            <p:sp>
              <p:nvSpPr>
                <p:cNvPr id="3834" name="Vrije vorm: vorm 3833">
                  <a:extLst>
                    <a:ext uri="{FF2B5EF4-FFF2-40B4-BE49-F238E27FC236}">
                      <a16:creationId xmlns:a16="http://schemas.microsoft.com/office/drawing/2014/main" id="{32C90674-1064-4B78-803F-923C3818D86A}"/>
                    </a:ext>
                  </a:extLst>
                </p:cNvPr>
                <p:cNvSpPr/>
                <p:nvPr/>
              </p:nvSpPr>
              <p:spPr>
                <a:xfrm>
                  <a:off x="7247063" y="4819703"/>
                  <a:ext cx="18314" cy="18463"/>
                </a:xfrm>
                <a:custGeom>
                  <a:avLst/>
                  <a:gdLst>
                    <a:gd name="connsiteX0" fmla="*/ 2190 w 18314"/>
                    <a:gd name="connsiteY0" fmla="*/ 15213 h 18463"/>
                    <a:gd name="connsiteX1" fmla="*/ 15109 w 18314"/>
                    <a:gd name="connsiteY1" fmla="*/ 16229 h 18463"/>
                    <a:gd name="connsiteX2" fmla="*/ 16125 w 18314"/>
                    <a:gd name="connsiteY2" fmla="*/ 3251 h 18463"/>
                    <a:gd name="connsiteX3" fmla="*/ 3206 w 18314"/>
                    <a:gd name="connsiteY3" fmla="*/ 2234 h 18463"/>
                    <a:gd name="connsiteX4" fmla="*/ 2190 w 18314"/>
                    <a:gd name="connsiteY4" fmla="*/ 15213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63">
                      <a:moveTo>
                        <a:pt x="2190" y="15213"/>
                      </a:moveTo>
                      <a:cubicBezTo>
                        <a:pt x="5479" y="19100"/>
                        <a:pt x="11281" y="19578"/>
                        <a:pt x="15109" y="16229"/>
                      </a:cubicBezTo>
                      <a:cubicBezTo>
                        <a:pt x="18936" y="12940"/>
                        <a:pt x="19415" y="7138"/>
                        <a:pt x="16125" y="3251"/>
                      </a:cubicBezTo>
                      <a:cubicBezTo>
                        <a:pt x="12836" y="-636"/>
                        <a:pt x="7034" y="-1115"/>
                        <a:pt x="3206" y="2234"/>
                      </a:cubicBezTo>
                      <a:cubicBezTo>
                        <a:pt x="-621" y="5524"/>
                        <a:pt x="-1100" y="11325"/>
                        <a:pt x="2190" y="15213"/>
                      </a:cubicBezTo>
                      <a:close/>
                    </a:path>
                  </a:pathLst>
                </a:custGeom>
                <a:grpFill/>
                <a:ln w="5978" cap="flat">
                  <a:noFill/>
                  <a:prstDash val="solid"/>
                  <a:miter/>
                </a:ln>
              </p:spPr>
              <p:txBody>
                <a:bodyPr rtlCol="0" anchor="ctr"/>
                <a:lstStyle/>
                <a:p>
                  <a:endParaRPr lang="en-GB"/>
                </a:p>
              </p:txBody>
            </p:sp>
          </p:grpSp>
          <p:grpSp>
            <p:nvGrpSpPr>
              <p:cNvPr id="519" name="Graphic 3">
                <a:extLst>
                  <a:ext uri="{FF2B5EF4-FFF2-40B4-BE49-F238E27FC236}">
                    <a16:creationId xmlns:a16="http://schemas.microsoft.com/office/drawing/2014/main" id="{4EFE12D6-42A0-444B-A156-7612120716DA}"/>
                  </a:ext>
                </a:extLst>
              </p:cNvPr>
              <p:cNvGrpSpPr/>
              <p:nvPr/>
            </p:nvGrpSpPr>
            <p:grpSpPr>
              <a:xfrm>
                <a:off x="7289277" y="4984272"/>
                <a:ext cx="101868" cy="124303"/>
                <a:chOff x="7289277" y="4984272"/>
                <a:chExt cx="101868" cy="124303"/>
              </a:xfrm>
              <a:grpFill/>
            </p:grpSpPr>
            <p:sp>
              <p:nvSpPr>
                <p:cNvPr id="3830" name="Vrije vorm: vorm 3829">
                  <a:extLst>
                    <a:ext uri="{FF2B5EF4-FFF2-40B4-BE49-F238E27FC236}">
                      <a16:creationId xmlns:a16="http://schemas.microsoft.com/office/drawing/2014/main" id="{F8EE3DDE-EB32-4EB1-B7E9-CF5EA6BFA7E2}"/>
                    </a:ext>
                  </a:extLst>
                </p:cNvPr>
                <p:cNvSpPr/>
                <p:nvPr/>
              </p:nvSpPr>
              <p:spPr>
                <a:xfrm>
                  <a:off x="7296979" y="4992208"/>
                  <a:ext cx="86481" cy="108490"/>
                </a:xfrm>
                <a:custGeom>
                  <a:avLst/>
                  <a:gdLst>
                    <a:gd name="connsiteX0" fmla="*/ 86481 w 86481"/>
                    <a:gd name="connsiteY0" fmla="*/ 106636 h 108490"/>
                    <a:gd name="connsiteX1" fmla="*/ 84089 w 86481"/>
                    <a:gd name="connsiteY1" fmla="*/ 108490 h 108490"/>
                    <a:gd name="connsiteX2" fmla="*/ 0 w 86481"/>
                    <a:gd name="connsiteY2" fmla="*/ 1914 h 108490"/>
                    <a:gd name="connsiteX3" fmla="*/ 2333 w 86481"/>
                    <a:gd name="connsiteY3" fmla="*/ 0 h 108490"/>
                  </a:gdLst>
                  <a:ahLst/>
                  <a:cxnLst>
                    <a:cxn ang="0">
                      <a:pos x="connsiteX0" y="connsiteY0"/>
                    </a:cxn>
                    <a:cxn ang="0">
                      <a:pos x="connsiteX1" y="connsiteY1"/>
                    </a:cxn>
                    <a:cxn ang="0">
                      <a:pos x="connsiteX2" y="connsiteY2"/>
                    </a:cxn>
                    <a:cxn ang="0">
                      <a:pos x="connsiteX3" y="connsiteY3"/>
                    </a:cxn>
                  </a:cxnLst>
                  <a:rect l="l" t="t" r="r" b="b"/>
                  <a:pathLst>
                    <a:path w="86481" h="108490">
                      <a:moveTo>
                        <a:pt x="86481" y="106636"/>
                      </a:moveTo>
                      <a:lnTo>
                        <a:pt x="84089" y="108490"/>
                      </a:lnTo>
                      <a:lnTo>
                        <a:pt x="0" y="1914"/>
                      </a:lnTo>
                      <a:lnTo>
                        <a:pt x="2333" y="0"/>
                      </a:lnTo>
                      <a:close/>
                    </a:path>
                  </a:pathLst>
                </a:custGeom>
                <a:grpFill/>
                <a:ln w="5978" cap="flat">
                  <a:noFill/>
                  <a:prstDash val="solid"/>
                  <a:miter/>
                </a:ln>
              </p:spPr>
              <p:txBody>
                <a:bodyPr rtlCol="0" anchor="ctr"/>
                <a:lstStyle/>
                <a:p>
                  <a:endParaRPr lang="en-GB"/>
                </a:p>
              </p:txBody>
            </p:sp>
            <p:sp>
              <p:nvSpPr>
                <p:cNvPr id="3831" name="Vrije vorm: vorm 3830">
                  <a:extLst>
                    <a:ext uri="{FF2B5EF4-FFF2-40B4-BE49-F238E27FC236}">
                      <a16:creationId xmlns:a16="http://schemas.microsoft.com/office/drawing/2014/main" id="{CD198406-6876-48E5-98B8-F0C137CA01D7}"/>
                    </a:ext>
                  </a:extLst>
                </p:cNvPr>
                <p:cNvSpPr/>
                <p:nvPr/>
              </p:nvSpPr>
              <p:spPr>
                <a:xfrm>
                  <a:off x="7372809" y="5090190"/>
                  <a:ext cx="18336" cy="18384"/>
                </a:xfrm>
                <a:custGeom>
                  <a:avLst/>
                  <a:gdLst>
                    <a:gd name="connsiteX0" fmla="*/ 16333 w 18336"/>
                    <a:gd name="connsiteY0" fmla="*/ 3511 h 18384"/>
                    <a:gd name="connsiteX1" fmla="*/ 14838 w 18336"/>
                    <a:gd name="connsiteY1" fmla="*/ 16429 h 18384"/>
                    <a:gd name="connsiteX2" fmla="*/ 1979 w 18336"/>
                    <a:gd name="connsiteY2" fmla="*/ 14874 h 18384"/>
                    <a:gd name="connsiteX3" fmla="*/ 3474 w 18336"/>
                    <a:gd name="connsiteY3" fmla="*/ 1956 h 18384"/>
                    <a:gd name="connsiteX4" fmla="*/ 16333 w 18336"/>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84">
                      <a:moveTo>
                        <a:pt x="16333" y="3511"/>
                      </a:moveTo>
                      <a:cubicBezTo>
                        <a:pt x="19502" y="7518"/>
                        <a:pt x="18844" y="13319"/>
                        <a:pt x="14838" y="16429"/>
                      </a:cubicBezTo>
                      <a:cubicBezTo>
                        <a:pt x="10830" y="19539"/>
                        <a:pt x="5089" y="18881"/>
                        <a:pt x="1979" y="14874"/>
                      </a:cubicBezTo>
                      <a:cubicBezTo>
                        <a:pt x="-1131" y="10867"/>
                        <a:pt x="-533" y="5066"/>
                        <a:pt x="3474" y="1956"/>
                      </a:cubicBezTo>
                      <a:cubicBezTo>
                        <a:pt x="7482" y="-1154"/>
                        <a:pt x="13163" y="-496"/>
                        <a:pt x="16333" y="3511"/>
                      </a:cubicBezTo>
                      <a:close/>
                    </a:path>
                  </a:pathLst>
                </a:custGeom>
                <a:grpFill/>
                <a:ln w="5978" cap="flat">
                  <a:noFill/>
                  <a:prstDash val="solid"/>
                  <a:miter/>
                </a:ln>
              </p:spPr>
              <p:txBody>
                <a:bodyPr rtlCol="0" anchor="ctr"/>
                <a:lstStyle/>
                <a:p>
                  <a:endParaRPr lang="en-GB"/>
                </a:p>
              </p:txBody>
            </p:sp>
            <p:sp>
              <p:nvSpPr>
                <p:cNvPr id="3832" name="Vrije vorm: vorm 3831">
                  <a:extLst>
                    <a:ext uri="{FF2B5EF4-FFF2-40B4-BE49-F238E27FC236}">
                      <a16:creationId xmlns:a16="http://schemas.microsoft.com/office/drawing/2014/main" id="{F6D32721-DFF6-4C95-83D7-02C5DCD5F2B2}"/>
                    </a:ext>
                  </a:extLst>
                </p:cNvPr>
                <p:cNvSpPr/>
                <p:nvPr/>
              </p:nvSpPr>
              <p:spPr>
                <a:xfrm>
                  <a:off x="7289277" y="4984272"/>
                  <a:ext cx="18317" cy="18384"/>
                </a:xfrm>
                <a:custGeom>
                  <a:avLst/>
                  <a:gdLst>
                    <a:gd name="connsiteX0" fmla="*/ 16314 w 18317"/>
                    <a:gd name="connsiteY0" fmla="*/ 3511 h 18384"/>
                    <a:gd name="connsiteX1" fmla="*/ 3456 w 18317"/>
                    <a:gd name="connsiteY1" fmla="*/ 1956 h 18384"/>
                    <a:gd name="connsiteX2" fmla="*/ 1960 w 18317"/>
                    <a:gd name="connsiteY2" fmla="*/ 14874 h 18384"/>
                    <a:gd name="connsiteX3" fmla="*/ 14818 w 18317"/>
                    <a:gd name="connsiteY3" fmla="*/ 16429 h 18384"/>
                    <a:gd name="connsiteX4" fmla="*/ 16314 w 18317"/>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84">
                      <a:moveTo>
                        <a:pt x="16314" y="3511"/>
                      </a:moveTo>
                      <a:cubicBezTo>
                        <a:pt x="13144" y="-496"/>
                        <a:pt x="7402" y="-1154"/>
                        <a:pt x="3456" y="1956"/>
                      </a:cubicBezTo>
                      <a:cubicBezTo>
                        <a:pt x="-492" y="5125"/>
                        <a:pt x="-1150" y="10927"/>
                        <a:pt x="1960" y="14874"/>
                      </a:cubicBezTo>
                      <a:cubicBezTo>
                        <a:pt x="5130" y="18881"/>
                        <a:pt x="10872" y="19539"/>
                        <a:pt x="14818" y="16429"/>
                      </a:cubicBezTo>
                      <a:cubicBezTo>
                        <a:pt x="18826" y="13319"/>
                        <a:pt x="19483" y="7518"/>
                        <a:pt x="16314" y="3511"/>
                      </a:cubicBezTo>
                      <a:close/>
                    </a:path>
                  </a:pathLst>
                </a:custGeom>
                <a:grpFill/>
                <a:ln w="5978" cap="flat">
                  <a:noFill/>
                  <a:prstDash val="solid"/>
                  <a:miter/>
                </a:ln>
              </p:spPr>
              <p:txBody>
                <a:bodyPr rtlCol="0" anchor="ctr"/>
                <a:lstStyle/>
                <a:p>
                  <a:endParaRPr lang="en-GB"/>
                </a:p>
              </p:txBody>
            </p:sp>
          </p:grpSp>
          <p:grpSp>
            <p:nvGrpSpPr>
              <p:cNvPr id="520" name="Graphic 3">
                <a:extLst>
                  <a:ext uri="{FF2B5EF4-FFF2-40B4-BE49-F238E27FC236}">
                    <a16:creationId xmlns:a16="http://schemas.microsoft.com/office/drawing/2014/main" id="{3D9EBF1C-F716-4778-B4B9-722B6337AD6B}"/>
                  </a:ext>
                </a:extLst>
              </p:cNvPr>
              <p:cNvGrpSpPr/>
              <p:nvPr/>
            </p:nvGrpSpPr>
            <p:grpSpPr>
              <a:xfrm>
                <a:off x="6092408" y="1292110"/>
                <a:ext cx="67998" cy="452331"/>
                <a:chOff x="6092408" y="1292110"/>
                <a:chExt cx="67998" cy="452331"/>
              </a:xfrm>
              <a:grpFill/>
            </p:grpSpPr>
            <p:sp>
              <p:nvSpPr>
                <p:cNvPr id="3827" name="Vrije vorm: vorm 3826">
                  <a:extLst>
                    <a:ext uri="{FF2B5EF4-FFF2-40B4-BE49-F238E27FC236}">
                      <a16:creationId xmlns:a16="http://schemas.microsoft.com/office/drawing/2014/main" id="{2E88FCC1-C1A3-4A46-B1C5-FDF10E9734F6}"/>
                    </a:ext>
                  </a:extLst>
                </p:cNvPr>
                <p:cNvSpPr/>
                <p:nvPr/>
              </p:nvSpPr>
              <p:spPr>
                <a:xfrm>
                  <a:off x="6100057" y="1300668"/>
                  <a:ext cx="52750" cy="435157"/>
                </a:xfrm>
                <a:custGeom>
                  <a:avLst/>
                  <a:gdLst>
                    <a:gd name="connsiteX0" fmla="*/ 52750 w 52750"/>
                    <a:gd name="connsiteY0" fmla="*/ 359 h 435157"/>
                    <a:gd name="connsiteX1" fmla="*/ 2990 w 52750"/>
                    <a:gd name="connsiteY1" fmla="*/ 435157 h 435157"/>
                    <a:gd name="connsiteX2" fmla="*/ 0 w 52750"/>
                    <a:gd name="connsiteY2" fmla="*/ 434798 h 435157"/>
                    <a:gd name="connsiteX3" fmla="*/ 49760 w 52750"/>
                    <a:gd name="connsiteY3" fmla="*/ 0 h 435157"/>
                  </a:gdLst>
                  <a:ahLst/>
                  <a:cxnLst>
                    <a:cxn ang="0">
                      <a:pos x="connsiteX0" y="connsiteY0"/>
                    </a:cxn>
                    <a:cxn ang="0">
                      <a:pos x="connsiteX1" y="connsiteY1"/>
                    </a:cxn>
                    <a:cxn ang="0">
                      <a:pos x="connsiteX2" y="connsiteY2"/>
                    </a:cxn>
                    <a:cxn ang="0">
                      <a:pos x="connsiteX3" y="connsiteY3"/>
                    </a:cxn>
                  </a:cxnLst>
                  <a:rect l="l" t="t" r="r" b="b"/>
                  <a:pathLst>
                    <a:path w="52750" h="435157">
                      <a:moveTo>
                        <a:pt x="52750" y="359"/>
                      </a:moveTo>
                      <a:lnTo>
                        <a:pt x="2990" y="435157"/>
                      </a:lnTo>
                      <a:lnTo>
                        <a:pt x="0" y="434798"/>
                      </a:lnTo>
                      <a:lnTo>
                        <a:pt x="49760" y="0"/>
                      </a:lnTo>
                      <a:close/>
                    </a:path>
                  </a:pathLst>
                </a:custGeom>
                <a:grpFill/>
                <a:ln w="5978" cap="flat">
                  <a:noFill/>
                  <a:prstDash val="solid"/>
                  <a:miter/>
                </a:ln>
              </p:spPr>
              <p:txBody>
                <a:bodyPr rtlCol="0" anchor="ctr"/>
                <a:lstStyle/>
                <a:p>
                  <a:endParaRPr lang="en-GB"/>
                </a:p>
              </p:txBody>
            </p:sp>
            <p:sp>
              <p:nvSpPr>
                <p:cNvPr id="3828" name="Vrije vorm: vorm 3827">
                  <a:extLst>
                    <a:ext uri="{FF2B5EF4-FFF2-40B4-BE49-F238E27FC236}">
                      <a16:creationId xmlns:a16="http://schemas.microsoft.com/office/drawing/2014/main" id="{05E198B9-BCC5-471B-9743-AA24A600D3E4}"/>
                    </a:ext>
                  </a:extLst>
                </p:cNvPr>
                <p:cNvSpPr/>
                <p:nvPr/>
              </p:nvSpPr>
              <p:spPr>
                <a:xfrm>
                  <a:off x="6092408" y="1726012"/>
                  <a:ext cx="18359" cy="18429"/>
                </a:xfrm>
                <a:custGeom>
                  <a:avLst/>
                  <a:gdLst>
                    <a:gd name="connsiteX0" fmla="*/ 18295 w 18359"/>
                    <a:gd name="connsiteY0" fmla="*/ 10291 h 18429"/>
                    <a:gd name="connsiteX1" fmla="*/ 8128 w 18359"/>
                    <a:gd name="connsiteY1" fmla="*/ 18365 h 18429"/>
                    <a:gd name="connsiteX2" fmla="*/ 53 w 18359"/>
                    <a:gd name="connsiteY2" fmla="*/ 8138 h 18429"/>
                    <a:gd name="connsiteX3" fmla="*/ 10221 w 18359"/>
                    <a:gd name="connsiteY3" fmla="*/ 64 h 18429"/>
                    <a:gd name="connsiteX4" fmla="*/ 18295 w 18359"/>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29">
                      <a:moveTo>
                        <a:pt x="18295" y="10291"/>
                      </a:moveTo>
                      <a:cubicBezTo>
                        <a:pt x="17697" y="15315"/>
                        <a:pt x="13151" y="18963"/>
                        <a:pt x="8128" y="18365"/>
                      </a:cubicBezTo>
                      <a:cubicBezTo>
                        <a:pt x="3104" y="17767"/>
                        <a:pt x="-485" y="13162"/>
                        <a:pt x="53" y="8138"/>
                      </a:cubicBezTo>
                      <a:cubicBezTo>
                        <a:pt x="652" y="3114"/>
                        <a:pt x="5197" y="-534"/>
                        <a:pt x="10221" y="64"/>
                      </a:cubicBezTo>
                      <a:cubicBezTo>
                        <a:pt x="15245" y="602"/>
                        <a:pt x="18893" y="5208"/>
                        <a:pt x="18295" y="10291"/>
                      </a:cubicBezTo>
                      <a:close/>
                    </a:path>
                  </a:pathLst>
                </a:custGeom>
                <a:grpFill/>
                <a:ln w="5978" cap="flat">
                  <a:noFill/>
                  <a:prstDash val="solid"/>
                  <a:miter/>
                </a:ln>
              </p:spPr>
              <p:txBody>
                <a:bodyPr rtlCol="0" anchor="ctr"/>
                <a:lstStyle/>
                <a:p>
                  <a:endParaRPr lang="en-GB"/>
                </a:p>
              </p:txBody>
            </p:sp>
            <p:sp>
              <p:nvSpPr>
                <p:cNvPr id="3829" name="Vrije vorm: vorm 3828">
                  <a:extLst>
                    <a:ext uri="{FF2B5EF4-FFF2-40B4-BE49-F238E27FC236}">
                      <a16:creationId xmlns:a16="http://schemas.microsoft.com/office/drawing/2014/main" id="{F753A609-64C7-469E-A608-B7698DFBF76E}"/>
                    </a:ext>
                  </a:extLst>
                </p:cNvPr>
                <p:cNvSpPr/>
                <p:nvPr/>
              </p:nvSpPr>
              <p:spPr>
                <a:xfrm>
                  <a:off x="6142037" y="1292110"/>
                  <a:ext cx="18369" cy="18430"/>
                </a:xfrm>
                <a:custGeom>
                  <a:avLst/>
                  <a:gdLst>
                    <a:gd name="connsiteX0" fmla="*/ 18305 w 18369"/>
                    <a:gd name="connsiteY0" fmla="*/ 10292 h 18430"/>
                    <a:gd name="connsiteX1" fmla="*/ 10231 w 18369"/>
                    <a:gd name="connsiteY1" fmla="*/ 65 h 18430"/>
                    <a:gd name="connsiteX2" fmla="*/ 64 w 18369"/>
                    <a:gd name="connsiteY2" fmla="*/ 8139 h 18430"/>
                    <a:gd name="connsiteX3" fmla="*/ 8138 w 18369"/>
                    <a:gd name="connsiteY3" fmla="*/ 18366 h 18430"/>
                    <a:gd name="connsiteX4" fmla="*/ 18305 w 18369"/>
                    <a:gd name="connsiteY4" fmla="*/ 1029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30">
                      <a:moveTo>
                        <a:pt x="18305" y="10292"/>
                      </a:moveTo>
                      <a:cubicBezTo>
                        <a:pt x="18903" y="5268"/>
                        <a:pt x="15255" y="663"/>
                        <a:pt x="10231" y="65"/>
                      </a:cubicBezTo>
                      <a:cubicBezTo>
                        <a:pt x="5208" y="-533"/>
                        <a:pt x="662" y="3055"/>
                        <a:pt x="64" y="8139"/>
                      </a:cubicBezTo>
                      <a:cubicBezTo>
                        <a:pt x="-534" y="13163"/>
                        <a:pt x="3114" y="17768"/>
                        <a:pt x="8138" y="18366"/>
                      </a:cubicBezTo>
                      <a:cubicBezTo>
                        <a:pt x="13222" y="18964"/>
                        <a:pt x="17767" y="15316"/>
                        <a:pt x="18305" y="10292"/>
                      </a:cubicBezTo>
                      <a:close/>
                    </a:path>
                  </a:pathLst>
                </a:custGeom>
                <a:grpFill/>
                <a:ln w="5978" cap="flat">
                  <a:noFill/>
                  <a:prstDash val="solid"/>
                  <a:miter/>
                </a:ln>
              </p:spPr>
              <p:txBody>
                <a:bodyPr rtlCol="0" anchor="ctr"/>
                <a:lstStyle/>
                <a:p>
                  <a:endParaRPr lang="en-GB"/>
                </a:p>
              </p:txBody>
            </p:sp>
          </p:grpSp>
          <p:grpSp>
            <p:nvGrpSpPr>
              <p:cNvPr id="521" name="Graphic 3">
                <a:extLst>
                  <a:ext uri="{FF2B5EF4-FFF2-40B4-BE49-F238E27FC236}">
                    <a16:creationId xmlns:a16="http://schemas.microsoft.com/office/drawing/2014/main" id="{E4D9B980-7B57-4BFF-BB73-95C4500BA20A}"/>
                  </a:ext>
                </a:extLst>
              </p:cNvPr>
              <p:cNvGrpSpPr/>
              <p:nvPr/>
            </p:nvGrpSpPr>
            <p:grpSpPr>
              <a:xfrm>
                <a:off x="6185190" y="1651644"/>
                <a:ext cx="24823" cy="97430"/>
                <a:chOff x="6185190" y="1651644"/>
                <a:chExt cx="24823" cy="97430"/>
              </a:xfrm>
              <a:grpFill/>
            </p:grpSpPr>
            <p:sp>
              <p:nvSpPr>
                <p:cNvPr id="3824" name="Vrije vorm: vorm 3823">
                  <a:extLst>
                    <a:ext uri="{FF2B5EF4-FFF2-40B4-BE49-F238E27FC236}">
                      <a16:creationId xmlns:a16="http://schemas.microsoft.com/office/drawing/2014/main" id="{6C5D9C06-154E-4311-AE0A-AB21FC8237B0}"/>
                    </a:ext>
                  </a:extLst>
                </p:cNvPr>
                <p:cNvSpPr/>
                <p:nvPr/>
              </p:nvSpPr>
              <p:spPr>
                <a:xfrm>
                  <a:off x="6192818" y="1660288"/>
                  <a:ext cx="9628" cy="80141"/>
                </a:xfrm>
                <a:custGeom>
                  <a:avLst/>
                  <a:gdLst>
                    <a:gd name="connsiteX0" fmla="*/ 9629 w 9628"/>
                    <a:gd name="connsiteY0" fmla="*/ 239 h 80141"/>
                    <a:gd name="connsiteX1" fmla="*/ 2990 w 9628"/>
                    <a:gd name="connsiteY1" fmla="*/ 80142 h 80141"/>
                    <a:gd name="connsiteX2" fmla="*/ 0 w 9628"/>
                    <a:gd name="connsiteY2" fmla="*/ 79902 h 80141"/>
                    <a:gd name="connsiteX3" fmla="*/ 6579 w 9628"/>
                    <a:gd name="connsiteY3" fmla="*/ 0 h 80141"/>
                  </a:gdLst>
                  <a:ahLst/>
                  <a:cxnLst>
                    <a:cxn ang="0">
                      <a:pos x="connsiteX0" y="connsiteY0"/>
                    </a:cxn>
                    <a:cxn ang="0">
                      <a:pos x="connsiteX1" y="connsiteY1"/>
                    </a:cxn>
                    <a:cxn ang="0">
                      <a:pos x="connsiteX2" y="connsiteY2"/>
                    </a:cxn>
                    <a:cxn ang="0">
                      <a:pos x="connsiteX3" y="connsiteY3"/>
                    </a:cxn>
                  </a:cxnLst>
                  <a:rect l="l" t="t" r="r" b="b"/>
                  <a:pathLst>
                    <a:path w="9628" h="80141">
                      <a:moveTo>
                        <a:pt x="9629" y="239"/>
                      </a:moveTo>
                      <a:lnTo>
                        <a:pt x="2990" y="80142"/>
                      </a:lnTo>
                      <a:lnTo>
                        <a:pt x="0" y="79902"/>
                      </a:lnTo>
                      <a:lnTo>
                        <a:pt x="6579" y="0"/>
                      </a:lnTo>
                      <a:close/>
                    </a:path>
                  </a:pathLst>
                </a:custGeom>
                <a:grpFill/>
                <a:ln w="5978" cap="flat">
                  <a:noFill/>
                  <a:prstDash val="solid"/>
                  <a:miter/>
                </a:ln>
              </p:spPr>
              <p:txBody>
                <a:bodyPr rtlCol="0" anchor="ctr"/>
                <a:lstStyle/>
                <a:p>
                  <a:endParaRPr lang="en-GB"/>
                </a:p>
              </p:txBody>
            </p:sp>
            <p:sp>
              <p:nvSpPr>
                <p:cNvPr id="3825" name="Vrije vorm: vorm 3824">
                  <a:extLst>
                    <a:ext uri="{FF2B5EF4-FFF2-40B4-BE49-F238E27FC236}">
                      <a16:creationId xmlns:a16="http://schemas.microsoft.com/office/drawing/2014/main" id="{5064D4EF-3362-4719-8222-59CA652226F3}"/>
                    </a:ext>
                  </a:extLst>
                </p:cNvPr>
                <p:cNvSpPr/>
                <p:nvPr/>
              </p:nvSpPr>
              <p:spPr>
                <a:xfrm>
                  <a:off x="6191710" y="1651644"/>
                  <a:ext cx="18304" cy="18425"/>
                </a:xfrm>
                <a:custGeom>
                  <a:avLst/>
                  <a:gdLst>
                    <a:gd name="connsiteX0" fmla="*/ 32 w 18304"/>
                    <a:gd name="connsiteY0" fmla="*/ 8405 h 18425"/>
                    <a:gd name="connsiteX1" fmla="*/ 9900 w 18304"/>
                    <a:gd name="connsiteY1" fmla="*/ 32 h 18425"/>
                    <a:gd name="connsiteX2" fmla="*/ 18273 w 18304"/>
                    <a:gd name="connsiteY2" fmla="*/ 10020 h 18425"/>
                    <a:gd name="connsiteX3" fmla="*/ 8405 w 18304"/>
                    <a:gd name="connsiteY3" fmla="*/ 18393 h 18425"/>
                    <a:gd name="connsiteX4" fmla="*/ 32 w 1830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32" y="8405"/>
                      </a:moveTo>
                      <a:cubicBezTo>
                        <a:pt x="450" y="3322"/>
                        <a:pt x="4876" y="-386"/>
                        <a:pt x="9900" y="32"/>
                      </a:cubicBezTo>
                      <a:cubicBezTo>
                        <a:pt x="14924" y="451"/>
                        <a:pt x="18692" y="4936"/>
                        <a:pt x="18273" y="10020"/>
                      </a:cubicBezTo>
                      <a:cubicBezTo>
                        <a:pt x="17854" y="15104"/>
                        <a:pt x="13429" y="18812"/>
                        <a:pt x="8405" y="18393"/>
                      </a:cubicBezTo>
                      <a:cubicBezTo>
                        <a:pt x="3381" y="17974"/>
                        <a:pt x="-387" y="13489"/>
                        <a:pt x="32" y="8405"/>
                      </a:cubicBezTo>
                      <a:close/>
                    </a:path>
                  </a:pathLst>
                </a:custGeom>
                <a:grpFill/>
                <a:ln w="5978" cap="flat">
                  <a:noFill/>
                  <a:prstDash val="solid"/>
                  <a:miter/>
                </a:ln>
              </p:spPr>
              <p:txBody>
                <a:bodyPr rtlCol="0" anchor="ctr"/>
                <a:lstStyle/>
                <a:p>
                  <a:endParaRPr lang="en-GB"/>
                </a:p>
              </p:txBody>
            </p:sp>
            <p:sp>
              <p:nvSpPr>
                <p:cNvPr id="3826" name="Vrije vorm: vorm 3825">
                  <a:extLst>
                    <a:ext uri="{FF2B5EF4-FFF2-40B4-BE49-F238E27FC236}">
                      <a16:creationId xmlns:a16="http://schemas.microsoft.com/office/drawing/2014/main" id="{98CC9FBC-1A9A-4F4D-AD30-600194B655E7}"/>
                    </a:ext>
                  </a:extLst>
                </p:cNvPr>
                <p:cNvSpPr/>
                <p:nvPr/>
              </p:nvSpPr>
              <p:spPr>
                <a:xfrm>
                  <a:off x="6185190" y="1730641"/>
                  <a:ext cx="18304" cy="18434"/>
                </a:xfrm>
                <a:custGeom>
                  <a:avLst/>
                  <a:gdLst>
                    <a:gd name="connsiteX0" fmla="*/ 32 w 18304"/>
                    <a:gd name="connsiteY0" fmla="*/ 8414 h 18434"/>
                    <a:gd name="connsiteX1" fmla="*/ 8405 w 18304"/>
                    <a:gd name="connsiteY1" fmla="*/ 18402 h 18434"/>
                    <a:gd name="connsiteX2" fmla="*/ 18273 w 18304"/>
                    <a:gd name="connsiteY2" fmla="*/ 10029 h 18434"/>
                    <a:gd name="connsiteX3" fmla="*/ 9900 w 18304"/>
                    <a:gd name="connsiteY3" fmla="*/ 41 h 18434"/>
                    <a:gd name="connsiteX4" fmla="*/ 32 w 18304"/>
                    <a:gd name="connsiteY4" fmla="*/ 841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4">
                      <a:moveTo>
                        <a:pt x="32" y="8414"/>
                      </a:moveTo>
                      <a:cubicBezTo>
                        <a:pt x="-387" y="13498"/>
                        <a:pt x="3381" y="17923"/>
                        <a:pt x="8405" y="18402"/>
                      </a:cubicBezTo>
                      <a:cubicBezTo>
                        <a:pt x="13429" y="18820"/>
                        <a:pt x="17854" y="15112"/>
                        <a:pt x="18273" y="10029"/>
                      </a:cubicBezTo>
                      <a:cubicBezTo>
                        <a:pt x="18692" y="4945"/>
                        <a:pt x="14924" y="519"/>
                        <a:pt x="9900" y="41"/>
                      </a:cubicBezTo>
                      <a:cubicBezTo>
                        <a:pt x="4876" y="-437"/>
                        <a:pt x="450" y="3330"/>
                        <a:pt x="32" y="8414"/>
                      </a:cubicBezTo>
                      <a:close/>
                    </a:path>
                  </a:pathLst>
                </a:custGeom>
                <a:grpFill/>
                <a:ln w="5978" cap="flat">
                  <a:noFill/>
                  <a:prstDash val="solid"/>
                  <a:miter/>
                </a:ln>
              </p:spPr>
              <p:txBody>
                <a:bodyPr rtlCol="0" anchor="ctr"/>
                <a:lstStyle/>
                <a:p>
                  <a:endParaRPr lang="en-GB"/>
                </a:p>
              </p:txBody>
            </p:sp>
          </p:grpSp>
          <p:grpSp>
            <p:nvGrpSpPr>
              <p:cNvPr id="522" name="Graphic 3">
                <a:extLst>
                  <a:ext uri="{FF2B5EF4-FFF2-40B4-BE49-F238E27FC236}">
                    <a16:creationId xmlns:a16="http://schemas.microsoft.com/office/drawing/2014/main" id="{6D56FEE2-C72D-4CAC-87A6-D58433D176E5}"/>
                  </a:ext>
                </a:extLst>
              </p:cNvPr>
              <p:cNvGrpSpPr/>
              <p:nvPr/>
            </p:nvGrpSpPr>
            <p:grpSpPr>
              <a:xfrm>
                <a:off x="7214178" y="4833875"/>
                <a:ext cx="77789" cy="90977"/>
                <a:chOff x="7214178" y="4833875"/>
                <a:chExt cx="77789" cy="90977"/>
              </a:xfrm>
              <a:grpFill/>
            </p:grpSpPr>
            <p:sp>
              <p:nvSpPr>
                <p:cNvPr id="3821" name="Vrije vorm: vorm 3820">
                  <a:extLst>
                    <a:ext uri="{FF2B5EF4-FFF2-40B4-BE49-F238E27FC236}">
                      <a16:creationId xmlns:a16="http://schemas.microsoft.com/office/drawing/2014/main" id="{E851DE31-3841-410A-A46B-B6284226E0E1}"/>
                    </a:ext>
                  </a:extLst>
                </p:cNvPr>
                <p:cNvSpPr/>
                <p:nvPr/>
              </p:nvSpPr>
              <p:spPr>
                <a:xfrm>
                  <a:off x="7221920" y="4841793"/>
                  <a:ext cx="62319" cy="75177"/>
                </a:xfrm>
                <a:custGeom>
                  <a:avLst/>
                  <a:gdLst>
                    <a:gd name="connsiteX0" fmla="*/ 62319 w 62319"/>
                    <a:gd name="connsiteY0" fmla="*/ 73204 h 75177"/>
                    <a:gd name="connsiteX1" fmla="*/ 59987 w 62319"/>
                    <a:gd name="connsiteY1" fmla="*/ 75178 h 75177"/>
                    <a:gd name="connsiteX2" fmla="*/ 0 w 62319"/>
                    <a:gd name="connsiteY2" fmla="*/ 1914 h 75177"/>
                    <a:gd name="connsiteX3" fmla="*/ 2333 w 62319"/>
                    <a:gd name="connsiteY3" fmla="*/ 0 h 75177"/>
                  </a:gdLst>
                  <a:ahLst/>
                  <a:cxnLst>
                    <a:cxn ang="0">
                      <a:pos x="connsiteX0" y="connsiteY0"/>
                    </a:cxn>
                    <a:cxn ang="0">
                      <a:pos x="connsiteX1" y="connsiteY1"/>
                    </a:cxn>
                    <a:cxn ang="0">
                      <a:pos x="connsiteX2" y="connsiteY2"/>
                    </a:cxn>
                    <a:cxn ang="0">
                      <a:pos x="connsiteX3" y="connsiteY3"/>
                    </a:cxn>
                  </a:cxnLst>
                  <a:rect l="l" t="t" r="r" b="b"/>
                  <a:pathLst>
                    <a:path w="62319" h="75177">
                      <a:moveTo>
                        <a:pt x="62319" y="73204"/>
                      </a:moveTo>
                      <a:lnTo>
                        <a:pt x="59987" y="75178"/>
                      </a:lnTo>
                      <a:lnTo>
                        <a:pt x="0" y="1914"/>
                      </a:lnTo>
                      <a:lnTo>
                        <a:pt x="2333" y="0"/>
                      </a:lnTo>
                      <a:close/>
                    </a:path>
                  </a:pathLst>
                </a:custGeom>
                <a:grpFill/>
                <a:ln w="5978" cap="flat">
                  <a:noFill/>
                  <a:prstDash val="solid"/>
                  <a:miter/>
                </a:ln>
              </p:spPr>
              <p:txBody>
                <a:bodyPr rtlCol="0" anchor="ctr"/>
                <a:lstStyle/>
                <a:p>
                  <a:endParaRPr lang="en-GB"/>
                </a:p>
              </p:txBody>
            </p:sp>
            <p:sp>
              <p:nvSpPr>
                <p:cNvPr id="3822" name="Vrije vorm: vorm 3821">
                  <a:extLst>
                    <a:ext uri="{FF2B5EF4-FFF2-40B4-BE49-F238E27FC236}">
                      <a16:creationId xmlns:a16="http://schemas.microsoft.com/office/drawing/2014/main" id="{82F7A91D-859C-480D-A236-5688CCD070DB}"/>
                    </a:ext>
                  </a:extLst>
                </p:cNvPr>
                <p:cNvSpPr/>
                <p:nvPr/>
              </p:nvSpPr>
              <p:spPr>
                <a:xfrm>
                  <a:off x="7273582" y="4906397"/>
                  <a:ext cx="18384" cy="18456"/>
                </a:xfrm>
                <a:custGeom>
                  <a:avLst/>
                  <a:gdLst>
                    <a:gd name="connsiteX0" fmla="*/ 16279 w 18384"/>
                    <a:gd name="connsiteY0" fmla="*/ 3397 h 18456"/>
                    <a:gd name="connsiteX1" fmla="*/ 15024 w 18384"/>
                    <a:gd name="connsiteY1" fmla="*/ 16375 h 18456"/>
                    <a:gd name="connsiteX2" fmla="*/ 2105 w 18384"/>
                    <a:gd name="connsiteY2" fmla="*/ 15059 h 18456"/>
                    <a:gd name="connsiteX3" fmla="*/ 3361 w 18384"/>
                    <a:gd name="connsiteY3" fmla="*/ 2081 h 18456"/>
                    <a:gd name="connsiteX4" fmla="*/ 16279 w 18384"/>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56">
                      <a:moveTo>
                        <a:pt x="16279" y="3397"/>
                      </a:moveTo>
                      <a:cubicBezTo>
                        <a:pt x="19509" y="7344"/>
                        <a:pt x="18971" y="13145"/>
                        <a:pt x="15024" y="16375"/>
                      </a:cubicBezTo>
                      <a:cubicBezTo>
                        <a:pt x="11136" y="19605"/>
                        <a:pt x="5335" y="19007"/>
                        <a:pt x="2105" y="15059"/>
                      </a:cubicBezTo>
                      <a:cubicBezTo>
                        <a:pt x="-1124" y="11112"/>
                        <a:pt x="-586" y="5311"/>
                        <a:pt x="3361" y="2081"/>
                      </a:cubicBezTo>
                      <a:cubicBezTo>
                        <a:pt x="7249" y="-1148"/>
                        <a:pt x="13050" y="-550"/>
                        <a:pt x="16279" y="3397"/>
                      </a:cubicBezTo>
                      <a:close/>
                    </a:path>
                  </a:pathLst>
                </a:custGeom>
                <a:grpFill/>
                <a:ln w="5978" cap="flat">
                  <a:noFill/>
                  <a:prstDash val="solid"/>
                  <a:miter/>
                </a:ln>
              </p:spPr>
              <p:txBody>
                <a:bodyPr rtlCol="0" anchor="ctr"/>
                <a:lstStyle/>
                <a:p>
                  <a:endParaRPr lang="en-GB"/>
                </a:p>
              </p:txBody>
            </p:sp>
            <p:sp>
              <p:nvSpPr>
                <p:cNvPr id="3823" name="Vrije vorm: vorm 3822">
                  <a:extLst>
                    <a:ext uri="{FF2B5EF4-FFF2-40B4-BE49-F238E27FC236}">
                      <a16:creationId xmlns:a16="http://schemas.microsoft.com/office/drawing/2014/main" id="{4D5F208F-5F52-4EE8-B9AA-B8CD1D9DA32D}"/>
                    </a:ext>
                  </a:extLst>
                </p:cNvPr>
                <p:cNvSpPr/>
                <p:nvPr/>
              </p:nvSpPr>
              <p:spPr>
                <a:xfrm>
                  <a:off x="7214178" y="4833875"/>
                  <a:ext cx="18341" cy="18406"/>
                </a:xfrm>
                <a:custGeom>
                  <a:avLst/>
                  <a:gdLst>
                    <a:gd name="connsiteX0" fmla="*/ 16236 w 18341"/>
                    <a:gd name="connsiteY0" fmla="*/ 3372 h 18406"/>
                    <a:gd name="connsiteX1" fmla="*/ 3317 w 18341"/>
                    <a:gd name="connsiteY1" fmla="*/ 2056 h 18406"/>
                    <a:gd name="connsiteX2" fmla="*/ 2061 w 18341"/>
                    <a:gd name="connsiteY2" fmla="*/ 15034 h 18406"/>
                    <a:gd name="connsiteX3" fmla="*/ 14980 w 18341"/>
                    <a:gd name="connsiteY3" fmla="*/ 16350 h 18406"/>
                    <a:gd name="connsiteX4" fmla="*/ 16236 w 18341"/>
                    <a:gd name="connsiteY4" fmla="*/ 3372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6">
                      <a:moveTo>
                        <a:pt x="16236" y="3372"/>
                      </a:moveTo>
                      <a:cubicBezTo>
                        <a:pt x="13006" y="-575"/>
                        <a:pt x="7205" y="-1114"/>
                        <a:pt x="3317" y="2056"/>
                      </a:cubicBezTo>
                      <a:cubicBezTo>
                        <a:pt x="-571" y="5286"/>
                        <a:pt x="-1109" y="11087"/>
                        <a:pt x="2061" y="15034"/>
                      </a:cubicBezTo>
                      <a:cubicBezTo>
                        <a:pt x="5291" y="18982"/>
                        <a:pt x="11092" y="19520"/>
                        <a:pt x="14980" y="16350"/>
                      </a:cubicBezTo>
                      <a:cubicBezTo>
                        <a:pt x="18927" y="13120"/>
                        <a:pt x="19465" y="7319"/>
                        <a:pt x="16236" y="3372"/>
                      </a:cubicBezTo>
                      <a:close/>
                    </a:path>
                  </a:pathLst>
                </a:custGeom>
                <a:grpFill/>
                <a:ln w="5978" cap="flat">
                  <a:noFill/>
                  <a:prstDash val="solid"/>
                  <a:miter/>
                </a:ln>
              </p:spPr>
              <p:txBody>
                <a:bodyPr rtlCol="0" anchor="ctr"/>
                <a:lstStyle/>
                <a:p>
                  <a:endParaRPr lang="en-GB"/>
                </a:p>
              </p:txBody>
            </p:sp>
          </p:grpSp>
          <p:grpSp>
            <p:nvGrpSpPr>
              <p:cNvPr id="523" name="Graphic 3">
                <a:extLst>
                  <a:ext uri="{FF2B5EF4-FFF2-40B4-BE49-F238E27FC236}">
                    <a16:creationId xmlns:a16="http://schemas.microsoft.com/office/drawing/2014/main" id="{FF8A31AD-58A2-403F-AB59-C622A57C291A}"/>
                  </a:ext>
                </a:extLst>
              </p:cNvPr>
              <p:cNvGrpSpPr/>
              <p:nvPr/>
            </p:nvGrpSpPr>
            <p:grpSpPr>
              <a:xfrm>
                <a:off x="6063035" y="1266697"/>
                <a:ext cx="19677" cy="173860"/>
                <a:chOff x="6063035" y="1266697"/>
                <a:chExt cx="19677" cy="173860"/>
              </a:xfrm>
              <a:grpFill/>
            </p:grpSpPr>
            <p:sp>
              <p:nvSpPr>
                <p:cNvPr id="3818" name="Vrije vorm: vorm 3817">
                  <a:extLst>
                    <a:ext uri="{FF2B5EF4-FFF2-40B4-BE49-F238E27FC236}">
                      <a16:creationId xmlns:a16="http://schemas.microsoft.com/office/drawing/2014/main" id="{8848FE32-E5D0-4D75-A46D-8AEBF7F7EEBF}"/>
                    </a:ext>
                  </a:extLst>
                </p:cNvPr>
                <p:cNvSpPr/>
                <p:nvPr/>
              </p:nvSpPr>
              <p:spPr>
                <a:xfrm>
                  <a:off x="6070692" y="1275429"/>
                  <a:ext cx="4365" cy="156395"/>
                </a:xfrm>
                <a:custGeom>
                  <a:avLst/>
                  <a:gdLst>
                    <a:gd name="connsiteX0" fmla="*/ 4366 w 4365"/>
                    <a:gd name="connsiteY0" fmla="*/ 0 h 156395"/>
                    <a:gd name="connsiteX1" fmla="*/ 2990 w 4365"/>
                    <a:gd name="connsiteY1" fmla="*/ 156396 h 156395"/>
                    <a:gd name="connsiteX2" fmla="*/ 0 w 4365"/>
                    <a:gd name="connsiteY2" fmla="*/ 156396 h 156395"/>
                    <a:gd name="connsiteX3" fmla="*/ 1316 w 4365"/>
                    <a:gd name="connsiteY3" fmla="*/ 0 h 156395"/>
                  </a:gdLst>
                  <a:ahLst/>
                  <a:cxnLst>
                    <a:cxn ang="0">
                      <a:pos x="connsiteX0" y="connsiteY0"/>
                    </a:cxn>
                    <a:cxn ang="0">
                      <a:pos x="connsiteX1" y="connsiteY1"/>
                    </a:cxn>
                    <a:cxn ang="0">
                      <a:pos x="connsiteX2" y="connsiteY2"/>
                    </a:cxn>
                    <a:cxn ang="0">
                      <a:pos x="connsiteX3" y="connsiteY3"/>
                    </a:cxn>
                  </a:cxnLst>
                  <a:rect l="l" t="t" r="r" b="b"/>
                  <a:pathLst>
                    <a:path w="4365" h="156395">
                      <a:moveTo>
                        <a:pt x="4366" y="0"/>
                      </a:moveTo>
                      <a:lnTo>
                        <a:pt x="2990" y="156396"/>
                      </a:lnTo>
                      <a:lnTo>
                        <a:pt x="0" y="156396"/>
                      </a:lnTo>
                      <a:lnTo>
                        <a:pt x="1316" y="0"/>
                      </a:lnTo>
                      <a:close/>
                    </a:path>
                  </a:pathLst>
                </a:custGeom>
                <a:grpFill/>
                <a:ln w="5978" cap="flat">
                  <a:noFill/>
                  <a:prstDash val="solid"/>
                  <a:miter/>
                </a:ln>
              </p:spPr>
              <p:txBody>
                <a:bodyPr rtlCol="0" anchor="ctr"/>
                <a:lstStyle/>
                <a:p>
                  <a:endParaRPr lang="en-GB"/>
                </a:p>
              </p:txBody>
            </p:sp>
            <p:sp>
              <p:nvSpPr>
                <p:cNvPr id="3819" name="Vrije vorm: vorm 3818">
                  <a:extLst>
                    <a:ext uri="{FF2B5EF4-FFF2-40B4-BE49-F238E27FC236}">
                      <a16:creationId xmlns:a16="http://schemas.microsoft.com/office/drawing/2014/main" id="{AC3F6793-8D9D-4DC4-BBCC-2756D8735901}"/>
                    </a:ext>
                  </a:extLst>
                </p:cNvPr>
                <p:cNvSpPr/>
                <p:nvPr/>
              </p:nvSpPr>
              <p:spPr>
                <a:xfrm>
                  <a:off x="6064352" y="1266697"/>
                  <a:ext cx="18361" cy="18421"/>
                </a:xfrm>
                <a:custGeom>
                  <a:avLst/>
                  <a:gdLst>
                    <a:gd name="connsiteX0" fmla="*/ 0 w 18361"/>
                    <a:gd name="connsiteY0" fmla="*/ 9091 h 18421"/>
                    <a:gd name="connsiteX1" fmla="*/ 9270 w 18361"/>
                    <a:gd name="connsiteY1" fmla="*/ 1 h 18421"/>
                    <a:gd name="connsiteX2" fmla="*/ 18360 w 18361"/>
                    <a:gd name="connsiteY2" fmla="*/ 9331 h 18421"/>
                    <a:gd name="connsiteX3" fmla="*/ 9090 w 18361"/>
                    <a:gd name="connsiteY3" fmla="*/ 18421 h 18421"/>
                    <a:gd name="connsiteX4" fmla="*/ 0 w 18361"/>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0" y="9091"/>
                      </a:moveTo>
                      <a:cubicBezTo>
                        <a:pt x="60" y="4008"/>
                        <a:pt x="4186" y="-59"/>
                        <a:pt x="9270" y="1"/>
                      </a:cubicBezTo>
                      <a:cubicBezTo>
                        <a:pt x="14354" y="60"/>
                        <a:pt x="18420" y="4247"/>
                        <a:pt x="18360" y="9331"/>
                      </a:cubicBezTo>
                      <a:cubicBezTo>
                        <a:pt x="18301" y="14414"/>
                        <a:pt x="14174" y="18481"/>
                        <a:pt x="9090" y="18421"/>
                      </a:cubicBezTo>
                      <a:cubicBezTo>
                        <a:pt x="4067" y="18361"/>
                        <a:pt x="0" y="14175"/>
                        <a:pt x="0" y="9091"/>
                      </a:cubicBezTo>
                      <a:close/>
                    </a:path>
                  </a:pathLst>
                </a:custGeom>
                <a:grpFill/>
                <a:ln w="5978" cap="flat">
                  <a:noFill/>
                  <a:prstDash val="solid"/>
                  <a:miter/>
                </a:ln>
              </p:spPr>
              <p:txBody>
                <a:bodyPr rtlCol="0" anchor="ctr"/>
                <a:lstStyle/>
                <a:p>
                  <a:endParaRPr lang="en-GB"/>
                </a:p>
              </p:txBody>
            </p:sp>
            <p:sp>
              <p:nvSpPr>
                <p:cNvPr id="3820" name="Vrije vorm: vorm 3819">
                  <a:extLst>
                    <a:ext uri="{FF2B5EF4-FFF2-40B4-BE49-F238E27FC236}">
                      <a16:creationId xmlns:a16="http://schemas.microsoft.com/office/drawing/2014/main" id="{F3D7DE4D-FC99-4944-AF2B-111A53B2193B}"/>
                    </a:ext>
                  </a:extLst>
                </p:cNvPr>
                <p:cNvSpPr/>
                <p:nvPr/>
              </p:nvSpPr>
              <p:spPr>
                <a:xfrm>
                  <a:off x="6063035" y="1422135"/>
                  <a:ext cx="18362" cy="18421"/>
                </a:xfrm>
                <a:custGeom>
                  <a:avLst/>
                  <a:gdLst>
                    <a:gd name="connsiteX0" fmla="*/ 1 w 18362"/>
                    <a:gd name="connsiteY0" fmla="*/ 9091 h 18421"/>
                    <a:gd name="connsiteX1" fmla="*/ 9091 w 18362"/>
                    <a:gd name="connsiteY1" fmla="*/ 18421 h 18421"/>
                    <a:gd name="connsiteX2" fmla="*/ 18362 w 18362"/>
                    <a:gd name="connsiteY2" fmla="*/ 9331 h 18421"/>
                    <a:gd name="connsiteX3" fmla="*/ 9271 w 18362"/>
                    <a:gd name="connsiteY3" fmla="*/ 1 h 18421"/>
                    <a:gd name="connsiteX4" fmla="*/ 1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091"/>
                      </a:moveTo>
                      <a:cubicBezTo>
                        <a:pt x="-59" y="14175"/>
                        <a:pt x="4008" y="18361"/>
                        <a:pt x="9091" y="18421"/>
                      </a:cubicBezTo>
                      <a:cubicBezTo>
                        <a:pt x="14175" y="18481"/>
                        <a:pt x="18302" y="14414"/>
                        <a:pt x="18362" y="9331"/>
                      </a:cubicBezTo>
                      <a:cubicBezTo>
                        <a:pt x="18421" y="4247"/>
                        <a:pt x="14355" y="60"/>
                        <a:pt x="9271" y="1"/>
                      </a:cubicBezTo>
                      <a:cubicBezTo>
                        <a:pt x="4187" y="-59"/>
                        <a:pt x="61" y="4008"/>
                        <a:pt x="1" y="9091"/>
                      </a:cubicBezTo>
                      <a:close/>
                    </a:path>
                  </a:pathLst>
                </a:custGeom>
                <a:grpFill/>
                <a:ln w="5978" cap="flat">
                  <a:noFill/>
                  <a:prstDash val="solid"/>
                  <a:miter/>
                </a:ln>
              </p:spPr>
              <p:txBody>
                <a:bodyPr rtlCol="0" anchor="ctr"/>
                <a:lstStyle/>
                <a:p>
                  <a:endParaRPr lang="en-GB"/>
                </a:p>
              </p:txBody>
            </p:sp>
          </p:grpSp>
          <p:grpSp>
            <p:nvGrpSpPr>
              <p:cNvPr id="524" name="Graphic 3">
                <a:extLst>
                  <a:ext uri="{FF2B5EF4-FFF2-40B4-BE49-F238E27FC236}">
                    <a16:creationId xmlns:a16="http://schemas.microsoft.com/office/drawing/2014/main" id="{57BA5412-2B9C-483E-B7CB-03EF6762E1A9}"/>
                  </a:ext>
                </a:extLst>
              </p:cNvPr>
              <p:cNvGrpSpPr/>
              <p:nvPr/>
            </p:nvGrpSpPr>
            <p:grpSpPr>
              <a:xfrm>
                <a:off x="6127498" y="1501251"/>
                <a:ext cx="24003" cy="142302"/>
                <a:chOff x="6127498" y="1501251"/>
                <a:chExt cx="24003" cy="142302"/>
              </a:xfrm>
              <a:grpFill/>
            </p:grpSpPr>
            <p:sp>
              <p:nvSpPr>
                <p:cNvPr id="3815" name="Vrije vorm: vorm 3814">
                  <a:extLst>
                    <a:ext uri="{FF2B5EF4-FFF2-40B4-BE49-F238E27FC236}">
                      <a16:creationId xmlns:a16="http://schemas.microsoft.com/office/drawing/2014/main" id="{07C9A060-FF57-46BD-A221-DA2E3BD575E5}"/>
                    </a:ext>
                  </a:extLst>
                </p:cNvPr>
                <p:cNvSpPr/>
                <p:nvPr/>
              </p:nvSpPr>
              <p:spPr>
                <a:xfrm>
                  <a:off x="6135104" y="1509933"/>
                  <a:ext cx="8731" cy="124937"/>
                </a:xfrm>
                <a:custGeom>
                  <a:avLst/>
                  <a:gdLst>
                    <a:gd name="connsiteX0" fmla="*/ 8732 w 8731"/>
                    <a:gd name="connsiteY0" fmla="*/ 120 h 124937"/>
                    <a:gd name="connsiteX1" fmla="*/ 3050 w 8731"/>
                    <a:gd name="connsiteY1" fmla="*/ 124937 h 124937"/>
                    <a:gd name="connsiteX2" fmla="*/ 0 w 8731"/>
                    <a:gd name="connsiteY2" fmla="*/ 124758 h 124937"/>
                    <a:gd name="connsiteX3" fmla="*/ 5742 w 8731"/>
                    <a:gd name="connsiteY3" fmla="*/ 0 h 124937"/>
                  </a:gdLst>
                  <a:ahLst/>
                  <a:cxnLst>
                    <a:cxn ang="0">
                      <a:pos x="connsiteX0" y="connsiteY0"/>
                    </a:cxn>
                    <a:cxn ang="0">
                      <a:pos x="connsiteX1" y="connsiteY1"/>
                    </a:cxn>
                    <a:cxn ang="0">
                      <a:pos x="connsiteX2" y="connsiteY2"/>
                    </a:cxn>
                    <a:cxn ang="0">
                      <a:pos x="connsiteX3" y="connsiteY3"/>
                    </a:cxn>
                  </a:cxnLst>
                  <a:rect l="l" t="t" r="r" b="b"/>
                  <a:pathLst>
                    <a:path w="8731" h="124937">
                      <a:moveTo>
                        <a:pt x="8732" y="120"/>
                      </a:moveTo>
                      <a:lnTo>
                        <a:pt x="3050" y="124937"/>
                      </a:lnTo>
                      <a:lnTo>
                        <a:pt x="0" y="124758"/>
                      </a:lnTo>
                      <a:lnTo>
                        <a:pt x="5742" y="0"/>
                      </a:lnTo>
                      <a:close/>
                    </a:path>
                  </a:pathLst>
                </a:custGeom>
                <a:grpFill/>
                <a:ln w="5978" cap="flat">
                  <a:noFill/>
                  <a:prstDash val="solid"/>
                  <a:miter/>
                </a:ln>
              </p:spPr>
              <p:txBody>
                <a:bodyPr rtlCol="0" anchor="ctr"/>
                <a:lstStyle/>
                <a:p>
                  <a:endParaRPr lang="en-GB"/>
                </a:p>
              </p:txBody>
            </p:sp>
            <p:sp>
              <p:nvSpPr>
                <p:cNvPr id="3816" name="Vrije vorm: vorm 3815">
                  <a:extLst>
                    <a:ext uri="{FF2B5EF4-FFF2-40B4-BE49-F238E27FC236}">
                      <a16:creationId xmlns:a16="http://schemas.microsoft.com/office/drawing/2014/main" id="{AF994455-9238-4B6F-8AC2-726452DC6196}"/>
                    </a:ext>
                  </a:extLst>
                </p:cNvPr>
                <p:cNvSpPr/>
                <p:nvPr/>
              </p:nvSpPr>
              <p:spPr>
                <a:xfrm>
                  <a:off x="6133179" y="1501251"/>
                  <a:ext cx="18321" cy="18441"/>
                </a:xfrm>
                <a:custGeom>
                  <a:avLst/>
                  <a:gdLst>
                    <a:gd name="connsiteX0" fmla="*/ 10 w 18321"/>
                    <a:gd name="connsiteY0" fmla="*/ 8742 h 18441"/>
                    <a:gd name="connsiteX1" fmla="*/ 9580 w 18321"/>
                    <a:gd name="connsiteY1" fmla="*/ 10 h 18441"/>
                    <a:gd name="connsiteX2" fmla="*/ 18311 w 18321"/>
                    <a:gd name="connsiteY2" fmla="*/ 9699 h 18441"/>
                    <a:gd name="connsiteX3" fmla="*/ 8742 w 18321"/>
                    <a:gd name="connsiteY3" fmla="*/ 18431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50" y="3659"/>
                        <a:pt x="4556" y="-229"/>
                        <a:pt x="9580" y="10"/>
                      </a:cubicBezTo>
                      <a:cubicBezTo>
                        <a:pt x="14663" y="250"/>
                        <a:pt x="18551" y="4616"/>
                        <a:pt x="18311" y="9699"/>
                      </a:cubicBezTo>
                      <a:cubicBezTo>
                        <a:pt x="18072" y="14783"/>
                        <a:pt x="13766" y="18670"/>
                        <a:pt x="8742" y="18431"/>
                      </a:cubicBezTo>
                      <a:cubicBezTo>
                        <a:pt x="3659" y="18132"/>
                        <a:pt x="-229" y="13826"/>
                        <a:pt x="10" y="8742"/>
                      </a:cubicBezTo>
                      <a:close/>
                    </a:path>
                  </a:pathLst>
                </a:custGeom>
                <a:grpFill/>
                <a:ln w="5978" cap="flat">
                  <a:noFill/>
                  <a:prstDash val="solid"/>
                  <a:miter/>
                </a:ln>
              </p:spPr>
              <p:txBody>
                <a:bodyPr rtlCol="0" anchor="ctr"/>
                <a:lstStyle/>
                <a:p>
                  <a:endParaRPr lang="en-GB"/>
                </a:p>
              </p:txBody>
            </p:sp>
            <p:sp>
              <p:nvSpPr>
                <p:cNvPr id="3817" name="Vrije vorm: vorm 3816">
                  <a:extLst>
                    <a:ext uri="{FF2B5EF4-FFF2-40B4-BE49-F238E27FC236}">
                      <a16:creationId xmlns:a16="http://schemas.microsoft.com/office/drawing/2014/main" id="{030D3C09-0793-43FC-BAE3-61AC565473D0}"/>
                    </a:ext>
                  </a:extLst>
                </p:cNvPr>
                <p:cNvSpPr/>
                <p:nvPr/>
              </p:nvSpPr>
              <p:spPr>
                <a:xfrm>
                  <a:off x="6127498" y="1625106"/>
                  <a:ext cx="18321" cy="18447"/>
                </a:xfrm>
                <a:custGeom>
                  <a:avLst/>
                  <a:gdLst>
                    <a:gd name="connsiteX0" fmla="*/ 10 w 18321"/>
                    <a:gd name="connsiteY0" fmla="*/ 8748 h 18447"/>
                    <a:gd name="connsiteX1" fmla="*/ 8742 w 18321"/>
                    <a:gd name="connsiteY1" fmla="*/ 18437 h 18447"/>
                    <a:gd name="connsiteX2" fmla="*/ 18311 w 18321"/>
                    <a:gd name="connsiteY2" fmla="*/ 9705 h 18447"/>
                    <a:gd name="connsiteX3" fmla="*/ 9579 w 18321"/>
                    <a:gd name="connsiteY3" fmla="*/ 16 h 18447"/>
                    <a:gd name="connsiteX4" fmla="*/ 10 w 18321"/>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7">
                      <a:moveTo>
                        <a:pt x="10" y="8748"/>
                      </a:moveTo>
                      <a:cubicBezTo>
                        <a:pt x="-229" y="13831"/>
                        <a:pt x="3718" y="18138"/>
                        <a:pt x="8742" y="18437"/>
                      </a:cubicBezTo>
                      <a:cubicBezTo>
                        <a:pt x="13826" y="18676"/>
                        <a:pt x="18072" y="14788"/>
                        <a:pt x="18311" y="9705"/>
                      </a:cubicBezTo>
                      <a:cubicBezTo>
                        <a:pt x="18550" y="4621"/>
                        <a:pt x="14663" y="315"/>
                        <a:pt x="9579" y="16"/>
                      </a:cubicBezTo>
                      <a:cubicBezTo>
                        <a:pt x="4496" y="-283"/>
                        <a:pt x="249" y="3664"/>
                        <a:pt x="10" y="8748"/>
                      </a:cubicBezTo>
                      <a:close/>
                    </a:path>
                  </a:pathLst>
                </a:custGeom>
                <a:grpFill/>
                <a:ln w="5978" cap="flat">
                  <a:noFill/>
                  <a:prstDash val="solid"/>
                  <a:miter/>
                </a:ln>
              </p:spPr>
              <p:txBody>
                <a:bodyPr rtlCol="0" anchor="ctr"/>
                <a:lstStyle/>
                <a:p>
                  <a:endParaRPr lang="en-GB"/>
                </a:p>
              </p:txBody>
            </p:sp>
          </p:grpSp>
          <p:grpSp>
            <p:nvGrpSpPr>
              <p:cNvPr id="525" name="Graphic 3">
                <a:extLst>
                  <a:ext uri="{FF2B5EF4-FFF2-40B4-BE49-F238E27FC236}">
                    <a16:creationId xmlns:a16="http://schemas.microsoft.com/office/drawing/2014/main" id="{24C11403-AAAC-41D9-BF43-ADFBC793D22D}"/>
                  </a:ext>
                </a:extLst>
              </p:cNvPr>
              <p:cNvGrpSpPr/>
              <p:nvPr/>
            </p:nvGrpSpPr>
            <p:grpSpPr>
              <a:xfrm>
                <a:off x="6094671" y="1460826"/>
                <a:ext cx="22492" cy="172196"/>
                <a:chOff x="6094671" y="1460826"/>
                <a:chExt cx="22492" cy="172196"/>
              </a:xfrm>
              <a:grpFill/>
            </p:grpSpPr>
            <p:sp>
              <p:nvSpPr>
                <p:cNvPr id="3812" name="Vrije vorm: vorm 3811">
                  <a:extLst>
                    <a:ext uri="{FF2B5EF4-FFF2-40B4-BE49-F238E27FC236}">
                      <a16:creationId xmlns:a16="http://schemas.microsoft.com/office/drawing/2014/main" id="{31F69057-8D82-4FB6-9BB4-B332735AC3A5}"/>
                    </a:ext>
                  </a:extLst>
                </p:cNvPr>
                <p:cNvSpPr/>
                <p:nvPr/>
              </p:nvSpPr>
              <p:spPr>
                <a:xfrm>
                  <a:off x="6102270" y="1469563"/>
                  <a:ext cx="7236" cy="154721"/>
                </a:xfrm>
                <a:custGeom>
                  <a:avLst/>
                  <a:gdLst>
                    <a:gd name="connsiteX0" fmla="*/ 7237 w 7236"/>
                    <a:gd name="connsiteY0" fmla="*/ 60 h 154721"/>
                    <a:gd name="connsiteX1" fmla="*/ 3050 w 7236"/>
                    <a:gd name="connsiteY1" fmla="*/ 154721 h 154721"/>
                    <a:gd name="connsiteX2" fmla="*/ 0 w 7236"/>
                    <a:gd name="connsiteY2" fmla="*/ 154602 h 154721"/>
                    <a:gd name="connsiteX3" fmla="*/ 4187 w 7236"/>
                    <a:gd name="connsiteY3" fmla="*/ 0 h 154721"/>
                  </a:gdLst>
                  <a:ahLst/>
                  <a:cxnLst>
                    <a:cxn ang="0">
                      <a:pos x="connsiteX0" y="connsiteY0"/>
                    </a:cxn>
                    <a:cxn ang="0">
                      <a:pos x="connsiteX1" y="connsiteY1"/>
                    </a:cxn>
                    <a:cxn ang="0">
                      <a:pos x="connsiteX2" y="connsiteY2"/>
                    </a:cxn>
                    <a:cxn ang="0">
                      <a:pos x="connsiteX3" y="connsiteY3"/>
                    </a:cxn>
                  </a:cxnLst>
                  <a:rect l="l" t="t" r="r" b="b"/>
                  <a:pathLst>
                    <a:path w="7236" h="154721">
                      <a:moveTo>
                        <a:pt x="7237" y="60"/>
                      </a:moveTo>
                      <a:lnTo>
                        <a:pt x="3050" y="154721"/>
                      </a:lnTo>
                      <a:lnTo>
                        <a:pt x="0" y="154602"/>
                      </a:lnTo>
                      <a:lnTo>
                        <a:pt x="4187" y="0"/>
                      </a:lnTo>
                      <a:close/>
                    </a:path>
                  </a:pathLst>
                </a:custGeom>
                <a:grpFill/>
                <a:ln w="5978" cap="flat">
                  <a:noFill/>
                  <a:prstDash val="solid"/>
                  <a:miter/>
                </a:ln>
              </p:spPr>
              <p:txBody>
                <a:bodyPr rtlCol="0" anchor="ctr"/>
                <a:lstStyle/>
                <a:p>
                  <a:endParaRPr lang="en-GB"/>
                </a:p>
              </p:txBody>
            </p:sp>
            <p:sp>
              <p:nvSpPr>
                <p:cNvPr id="3813" name="Vrije vorm: vorm 3812">
                  <a:extLst>
                    <a:ext uri="{FF2B5EF4-FFF2-40B4-BE49-F238E27FC236}">
                      <a16:creationId xmlns:a16="http://schemas.microsoft.com/office/drawing/2014/main" id="{117C9DAB-3D21-4EBE-8348-450CD04FD25F}"/>
                    </a:ext>
                  </a:extLst>
                </p:cNvPr>
                <p:cNvSpPr/>
                <p:nvPr/>
              </p:nvSpPr>
              <p:spPr>
                <a:xfrm>
                  <a:off x="6098855" y="1460826"/>
                  <a:ext cx="18309" cy="18432"/>
                </a:xfrm>
                <a:custGeom>
                  <a:avLst/>
                  <a:gdLst>
                    <a:gd name="connsiteX0" fmla="*/ 6 w 18309"/>
                    <a:gd name="connsiteY0" fmla="*/ 8917 h 18432"/>
                    <a:gd name="connsiteX1" fmla="*/ 9396 w 18309"/>
                    <a:gd name="connsiteY1" fmla="*/ 6 h 18432"/>
                    <a:gd name="connsiteX2" fmla="*/ 18307 w 18309"/>
                    <a:gd name="connsiteY2" fmla="*/ 9515 h 18432"/>
                    <a:gd name="connsiteX3" fmla="*/ 8917 w 18309"/>
                    <a:gd name="connsiteY3" fmla="*/ 18426 h 18432"/>
                    <a:gd name="connsiteX4" fmla="*/ 6 w 18309"/>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2">
                      <a:moveTo>
                        <a:pt x="6" y="8917"/>
                      </a:moveTo>
                      <a:cubicBezTo>
                        <a:pt x="126" y="3833"/>
                        <a:pt x="4372" y="-174"/>
                        <a:pt x="9396" y="6"/>
                      </a:cubicBezTo>
                      <a:cubicBezTo>
                        <a:pt x="14479" y="185"/>
                        <a:pt x="18427" y="4432"/>
                        <a:pt x="18307" y="9515"/>
                      </a:cubicBezTo>
                      <a:cubicBezTo>
                        <a:pt x="18187" y="14599"/>
                        <a:pt x="13941" y="18606"/>
                        <a:pt x="8917" y="18426"/>
                      </a:cubicBezTo>
                      <a:cubicBezTo>
                        <a:pt x="3834" y="18247"/>
                        <a:pt x="-173" y="14001"/>
                        <a:pt x="6" y="8917"/>
                      </a:cubicBezTo>
                      <a:close/>
                    </a:path>
                  </a:pathLst>
                </a:custGeom>
                <a:grpFill/>
                <a:ln w="5978" cap="flat">
                  <a:noFill/>
                  <a:prstDash val="solid"/>
                  <a:miter/>
                </a:ln>
              </p:spPr>
              <p:txBody>
                <a:bodyPr rtlCol="0" anchor="ctr"/>
                <a:lstStyle/>
                <a:p>
                  <a:endParaRPr lang="en-GB"/>
                </a:p>
              </p:txBody>
            </p:sp>
            <p:sp>
              <p:nvSpPr>
                <p:cNvPr id="3814" name="Vrije vorm: vorm 3813">
                  <a:extLst>
                    <a:ext uri="{FF2B5EF4-FFF2-40B4-BE49-F238E27FC236}">
                      <a16:creationId xmlns:a16="http://schemas.microsoft.com/office/drawing/2014/main" id="{56CA2BD4-31E8-4927-BDF1-CE77B19BC1F4}"/>
                    </a:ext>
                  </a:extLst>
                </p:cNvPr>
                <p:cNvSpPr/>
                <p:nvPr/>
              </p:nvSpPr>
              <p:spPr>
                <a:xfrm>
                  <a:off x="6094671" y="1614590"/>
                  <a:ext cx="18306" cy="18432"/>
                </a:xfrm>
                <a:custGeom>
                  <a:avLst/>
                  <a:gdLst>
                    <a:gd name="connsiteX0" fmla="*/ 3 w 18306"/>
                    <a:gd name="connsiteY0" fmla="*/ 8917 h 18432"/>
                    <a:gd name="connsiteX1" fmla="*/ 8914 w 18306"/>
                    <a:gd name="connsiteY1" fmla="*/ 18426 h 18432"/>
                    <a:gd name="connsiteX2" fmla="*/ 18304 w 18306"/>
                    <a:gd name="connsiteY2" fmla="*/ 9515 h 18432"/>
                    <a:gd name="connsiteX3" fmla="*/ 9392 w 18306"/>
                    <a:gd name="connsiteY3" fmla="*/ 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17" y="14001"/>
                        <a:pt x="3830" y="18247"/>
                        <a:pt x="8914" y="18426"/>
                      </a:cubicBezTo>
                      <a:cubicBezTo>
                        <a:pt x="13998" y="18606"/>
                        <a:pt x="18184" y="14599"/>
                        <a:pt x="18304" y="9515"/>
                      </a:cubicBezTo>
                      <a:cubicBezTo>
                        <a:pt x="18423" y="4431"/>
                        <a:pt x="14476" y="185"/>
                        <a:pt x="9392" y="6"/>
                      </a:cubicBezTo>
                      <a:cubicBezTo>
                        <a:pt x="4369" y="-174"/>
                        <a:pt x="122" y="3833"/>
                        <a:pt x="3" y="8917"/>
                      </a:cubicBezTo>
                      <a:close/>
                    </a:path>
                  </a:pathLst>
                </a:custGeom>
                <a:grpFill/>
                <a:ln w="5978" cap="flat">
                  <a:noFill/>
                  <a:prstDash val="solid"/>
                  <a:miter/>
                </a:ln>
              </p:spPr>
              <p:txBody>
                <a:bodyPr rtlCol="0" anchor="ctr"/>
                <a:lstStyle/>
                <a:p>
                  <a:endParaRPr lang="en-GB"/>
                </a:p>
              </p:txBody>
            </p:sp>
          </p:grpSp>
          <p:grpSp>
            <p:nvGrpSpPr>
              <p:cNvPr id="526" name="Graphic 3">
                <a:extLst>
                  <a:ext uri="{FF2B5EF4-FFF2-40B4-BE49-F238E27FC236}">
                    <a16:creationId xmlns:a16="http://schemas.microsoft.com/office/drawing/2014/main" id="{42C9B158-2DA7-41CC-979B-851FE7D68A68}"/>
                  </a:ext>
                </a:extLst>
              </p:cNvPr>
              <p:cNvGrpSpPr/>
              <p:nvPr/>
            </p:nvGrpSpPr>
            <p:grpSpPr>
              <a:xfrm>
                <a:off x="7140127" y="4694048"/>
                <a:ext cx="125270" cy="144073"/>
                <a:chOff x="7140127" y="4694048"/>
                <a:chExt cx="125270" cy="144073"/>
              </a:xfrm>
              <a:grpFill/>
            </p:grpSpPr>
            <p:sp>
              <p:nvSpPr>
                <p:cNvPr id="3809" name="Vrije vorm: vorm 3808">
                  <a:extLst>
                    <a:ext uri="{FF2B5EF4-FFF2-40B4-BE49-F238E27FC236}">
                      <a16:creationId xmlns:a16="http://schemas.microsoft.com/office/drawing/2014/main" id="{720CDF2A-0ED9-4464-8F73-4689D8A1F61C}"/>
                    </a:ext>
                  </a:extLst>
                </p:cNvPr>
                <p:cNvSpPr/>
                <p:nvPr/>
              </p:nvSpPr>
              <p:spPr>
                <a:xfrm>
                  <a:off x="7147819" y="4701904"/>
                  <a:ext cx="109866" cy="128405"/>
                </a:xfrm>
                <a:custGeom>
                  <a:avLst/>
                  <a:gdLst>
                    <a:gd name="connsiteX0" fmla="*/ 109867 w 109866"/>
                    <a:gd name="connsiteY0" fmla="*/ 126372 h 128405"/>
                    <a:gd name="connsiteX1" fmla="*/ 107534 w 109866"/>
                    <a:gd name="connsiteY1" fmla="*/ 128406 h 128405"/>
                    <a:gd name="connsiteX2" fmla="*/ 0 w 109866"/>
                    <a:gd name="connsiteY2" fmla="*/ 1973 h 128405"/>
                    <a:gd name="connsiteX3" fmla="*/ 2333 w 109866"/>
                    <a:gd name="connsiteY3" fmla="*/ 0 h 128405"/>
                  </a:gdLst>
                  <a:ahLst/>
                  <a:cxnLst>
                    <a:cxn ang="0">
                      <a:pos x="connsiteX0" y="connsiteY0"/>
                    </a:cxn>
                    <a:cxn ang="0">
                      <a:pos x="connsiteX1" y="connsiteY1"/>
                    </a:cxn>
                    <a:cxn ang="0">
                      <a:pos x="connsiteX2" y="connsiteY2"/>
                    </a:cxn>
                    <a:cxn ang="0">
                      <a:pos x="connsiteX3" y="connsiteY3"/>
                    </a:cxn>
                  </a:cxnLst>
                  <a:rect l="l" t="t" r="r" b="b"/>
                  <a:pathLst>
                    <a:path w="109866" h="128405">
                      <a:moveTo>
                        <a:pt x="109867" y="126372"/>
                      </a:moveTo>
                      <a:lnTo>
                        <a:pt x="107534" y="128406"/>
                      </a:lnTo>
                      <a:lnTo>
                        <a:pt x="0" y="1973"/>
                      </a:lnTo>
                      <a:lnTo>
                        <a:pt x="2333" y="0"/>
                      </a:lnTo>
                      <a:close/>
                    </a:path>
                  </a:pathLst>
                </a:custGeom>
                <a:grpFill/>
                <a:ln w="5978" cap="flat">
                  <a:noFill/>
                  <a:prstDash val="solid"/>
                  <a:miter/>
                </a:ln>
              </p:spPr>
              <p:txBody>
                <a:bodyPr rtlCol="0" anchor="ctr"/>
                <a:lstStyle/>
                <a:p>
                  <a:endParaRPr lang="en-GB"/>
                </a:p>
              </p:txBody>
            </p:sp>
            <p:sp>
              <p:nvSpPr>
                <p:cNvPr id="3810" name="Vrije vorm: vorm 3809">
                  <a:extLst>
                    <a:ext uri="{FF2B5EF4-FFF2-40B4-BE49-F238E27FC236}">
                      <a16:creationId xmlns:a16="http://schemas.microsoft.com/office/drawing/2014/main" id="{9F40F8D6-70BA-410F-8121-BE98C550606D}"/>
                    </a:ext>
                  </a:extLst>
                </p:cNvPr>
                <p:cNvSpPr/>
                <p:nvPr/>
              </p:nvSpPr>
              <p:spPr>
                <a:xfrm>
                  <a:off x="7247037" y="4819747"/>
                  <a:ext cx="18360" cy="18374"/>
                </a:xfrm>
                <a:custGeom>
                  <a:avLst/>
                  <a:gdLst>
                    <a:gd name="connsiteX0" fmla="*/ 16150 w 18360"/>
                    <a:gd name="connsiteY0" fmla="*/ 3207 h 18374"/>
                    <a:gd name="connsiteX1" fmla="*/ 15134 w 18360"/>
                    <a:gd name="connsiteY1" fmla="*/ 16185 h 18374"/>
                    <a:gd name="connsiteX2" fmla="*/ 2215 w 18360"/>
                    <a:gd name="connsiteY2" fmla="*/ 15168 h 18374"/>
                    <a:gd name="connsiteX3" fmla="*/ 3173 w 18360"/>
                    <a:gd name="connsiteY3" fmla="*/ 2190 h 18374"/>
                    <a:gd name="connsiteX4" fmla="*/ 16150 w 18360"/>
                    <a:gd name="connsiteY4" fmla="*/ 3207 h 1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374">
                      <a:moveTo>
                        <a:pt x="16150" y="3207"/>
                      </a:moveTo>
                      <a:cubicBezTo>
                        <a:pt x="19440" y="7094"/>
                        <a:pt x="19021" y="12896"/>
                        <a:pt x="15134" y="16185"/>
                      </a:cubicBezTo>
                      <a:cubicBezTo>
                        <a:pt x="11306" y="19474"/>
                        <a:pt x="5504" y="18996"/>
                        <a:pt x="2215" y="15168"/>
                      </a:cubicBezTo>
                      <a:cubicBezTo>
                        <a:pt x="-1074" y="11281"/>
                        <a:pt x="-655" y="5480"/>
                        <a:pt x="3173" y="2190"/>
                      </a:cubicBezTo>
                      <a:cubicBezTo>
                        <a:pt x="7059" y="-1100"/>
                        <a:pt x="12861" y="-621"/>
                        <a:pt x="16150" y="3207"/>
                      </a:cubicBezTo>
                      <a:close/>
                    </a:path>
                  </a:pathLst>
                </a:custGeom>
                <a:grpFill/>
                <a:ln w="5978" cap="flat">
                  <a:noFill/>
                  <a:prstDash val="solid"/>
                  <a:miter/>
                </a:ln>
              </p:spPr>
              <p:txBody>
                <a:bodyPr rtlCol="0" anchor="ctr"/>
                <a:lstStyle/>
                <a:p>
                  <a:endParaRPr lang="en-GB"/>
                </a:p>
              </p:txBody>
            </p:sp>
            <p:sp>
              <p:nvSpPr>
                <p:cNvPr id="3811" name="Vrije vorm: vorm 3810">
                  <a:extLst>
                    <a:ext uri="{FF2B5EF4-FFF2-40B4-BE49-F238E27FC236}">
                      <a16:creationId xmlns:a16="http://schemas.microsoft.com/office/drawing/2014/main" id="{5B3D3B34-224A-480C-93A9-1B058CC50FED}"/>
                    </a:ext>
                  </a:extLst>
                </p:cNvPr>
                <p:cNvSpPr/>
                <p:nvPr/>
              </p:nvSpPr>
              <p:spPr>
                <a:xfrm>
                  <a:off x="7140127" y="4694048"/>
                  <a:ext cx="18334" cy="18463"/>
                </a:xfrm>
                <a:custGeom>
                  <a:avLst/>
                  <a:gdLst>
                    <a:gd name="connsiteX0" fmla="*/ 16125 w 18334"/>
                    <a:gd name="connsiteY0" fmla="*/ 3251 h 18463"/>
                    <a:gd name="connsiteX1" fmla="*/ 3206 w 18334"/>
                    <a:gd name="connsiteY1" fmla="*/ 2234 h 18463"/>
                    <a:gd name="connsiteX2" fmla="*/ 2190 w 18334"/>
                    <a:gd name="connsiteY2" fmla="*/ 15212 h 18463"/>
                    <a:gd name="connsiteX3" fmla="*/ 15109 w 18334"/>
                    <a:gd name="connsiteY3" fmla="*/ 16229 h 18463"/>
                    <a:gd name="connsiteX4" fmla="*/ 16125 w 18334"/>
                    <a:gd name="connsiteY4" fmla="*/ 32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3">
                      <a:moveTo>
                        <a:pt x="16125" y="3251"/>
                      </a:moveTo>
                      <a:cubicBezTo>
                        <a:pt x="12836" y="-637"/>
                        <a:pt x="7034" y="-1115"/>
                        <a:pt x="3206" y="2234"/>
                      </a:cubicBezTo>
                      <a:cubicBezTo>
                        <a:pt x="-621" y="5524"/>
                        <a:pt x="-1100" y="11325"/>
                        <a:pt x="2190" y="15212"/>
                      </a:cubicBezTo>
                      <a:cubicBezTo>
                        <a:pt x="5479" y="19100"/>
                        <a:pt x="11281" y="19578"/>
                        <a:pt x="15109" y="16229"/>
                      </a:cubicBezTo>
                      <a:cubicBezTo>
                        <a:pt x="18995" y="12940"/>
                        <a:pt x="19415" y="7079"/>
                        <a:pt x="16125" y="3251"/>
                      </a:cubicBezTo>
                      <a:close/>
                    </a:path>
                  </a:pathLst>
                </a:custGeom>
                <a:grpFill/>
                <a:ln w="5978" cap="flat">
                  <a:noFill/>
                  <a:prstDash val="solid"/>
                  <a:miter/>
                </a:ln>
              </p:spPr>
              <p:txBody>
                <a:bodyPr rtlCol="0" anchor="ctr"/>
                <a:lstStyle/>
                <a:p>
                  <a:endParaRPr lang="en-GB"/>
                </a:p>
              </p:txBody>
            </p:sp>
          </p:grpSp>
          <p:grpSp>
            <p:nvGrpSpPr>
              <p:cNvPr id="527" name="Graphic 3">
                <a:extLst>
                  <a:ext uri="{FF2B5EF4-FFF2-40B4-BE49-F238E27FC236}">
                    <a16:creationId xmlns:a16="http://schemas.microsoft.com/office/drawing/2014/main" id="{4569EFCA-DBB8-4C86-927F-A4C8432E3BD6}"/>
                  </a:ext>
                </a:extLst>
              </p:cNvPr>
              <p:cNvGrpSpPr/>
              <p:nvPr/>
            </p:nvGrpSpPr>
            <p:grpSpPr>
              <a:xfrm>
                <a:off x="7110423" y="4708473"/>
                <a:ext cx="281153" cy="399800"/>
                <a:chOff x="7110423" y="4708473"/>
                <a:chExt cx="281153" cy="399800"/>
              </a:xfrm>
              <a:grpFill/>
            </p:grpSpPr>
            <p:sp>
              <p:nvSpPr>
                <p:cNvPr id="3806" name="Vrije vorm: vorm 3805">
                  <a:extLst>
                    <a:ext uri="{FF2B5EF4-FFF2-40B4-BE49-F238E27FC236}">
                      <a16:creationId xmlns:a16="http://schemas.microsoft.com/office/drawing/2014/main" id="{6A4EC290-BE57-4776-9740-171590EB9975}"/>
                    </a:ext>
                  </a:extLst>
                </p:cNvPr>
                <p:cNvSpPr/>
                <p:nvPr/>
              </p:nvSpPr>
              <p:spPr>
                <a:xfrm>
                  <a:off x="7118095" y="4716437"/>
                  <a:ext cx="265843" cy="383902"/>
                </a:xfrm>
                <a:custGeom>
                  <a:avLst/>
                  <a:gdLst>
                    <a:gd name="connsiteX0" fmla="*/ 265844 w 265843"/>
                    <a:gd name="connsiteY0" fmla="*/ 382108 h 383902"/>
                    <a:gd name="connsiteX1" fmla="*/ 263331 w 265843"/>
                    <a:gd name="connsiteY1" fmla="*/ 383903 h 383902"/>
                    <a:gd name="connsiteX2" fmla="*/ 0 w 265843"/>
                    <a:gd name="connsiteY2" fmla="*/ 1734 h 383902"/>
                    <a:gd name="connsiteX3" fmla="*/ 2512 w 265843"/>
                    <a:gd name="connsiteY3" fmla="*/ 0 h 383902"/>
                  </a:gdLst>
                  <a:ahLst/>
                  <a:cxnLst>
                    <a:cxn ang="0">
                      <a:pos x="connsiteX0" y="connsiteY0"/>
                    </a:cxn>
                    <a:cxn ang="0">
                      <a:pos x="connsiteX1" y="connsiteY1"/>
                    </a:cxn>
                    <a:cxn ang="0">
                      <a:pos x="connsiteX2" y="connsiteY2"/>
                    </a:cxn>
                    <a:cxn ang="0">
                      <a:pos x="connsiteX3" y="connsiteY3"/>
                    </a:cxn>
                  </a:cxnLst>
                  <a:rect l="l" t="t" r="r" b="b"/>
                  <a:pathLst>
                    <a:path w="265843" h="383902">
                      <a:moveTo>
                        <a:pt x="265844" y="382108"/>
                      </a:moveTo>
                      <a:lnTo>
                        <a:pt x="263331" y="383903"/>
                      </a:lnTo>
                      <a:lnTo>
                        <a:pt x="0" y="1734"/>
                      </a:lnTo>
                      <a:lnTo>
                        <a:pt x="2512" y="0"/>
                      </a:lnTo>
                      <a:close/>
                    </a:path>
                  </a:pathLst>
                </a:custGeom>
                <a:grpFill/>
                <a:ln w="5978" cap="flat">
                  <a:noFill/>
                  <a:prstDash val="solid"/>
                  <a:miter/>
                </a:ln>
              </p:spPr>
              <p:txBody>
                <a:bodyPr rtlCol="0" anchor="ctr"/>
                <a:lstStyle/>
                <a:p>
                  <a:endParaRPr lang="en-GB"/>
                </a:p>
              </p:txBody>
            </p:sp>
            <p:sp>
              <p:nvSpPr>
                <p:cNvPr id="3807" name="Vrije vorm: vorm 3806">
                  <a:extLst>
                    <a:ext uri="{FF2B5EF4-FFF2-40B4-BE49-F238E27FC236}">
                      <a16:creationId xmlns:a16="http://schemas.microsoft.com/office/drawing/2014/main" id="{E01AF56D-2BE9-4338-950F-0B6899D6C1F8}"/>
                    </a:ext>
                  </a:extLst>
                </p:cNvPr>
                <p:cNvSpPr/>
                <p:nvPr/>
              </p:nvSpPr>
              <p:spPr>
                <a:xfrm>
                  <a:off x="7110423" y="4708473"/>
                  <a:ext cx="18274" cy="18424"/>
                </a:xfrm>
                <a:custGeom>
                  <a:avLst/>
                  <a:gdLst>
                    <a:gd name="connsiteX0" fmla="*/ 1631 w 18274"/>
                    <a:gd name="connsiteY0" fmla="*/ 14423 h 18424"/>
                    <a:gd name="connsiteX1" fmla="*/ 3904 w 18274"/>
                    <a:gd name="connsiteY1" fmla="*/ 1625 h 18424"/>
                    <a:gd name="connsiteX2" fmla="*/ 16643 w 18274"/>
                    <a:gd name="connsiteY2" fmla="*/ 4017 h 18424"/>
                    <a:gd name="connsiteX3" fmla="*/ 14370 w 18274"/>
                    <a:gd name="connsiteY3" fmla="*/ 16816 h 18424"/>
                    <a:gd name="connsiteX4" fmla="*/ 1631 w 18274"/>
                    <a:gd name="connsiteY4" fmla="*/ 1442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24">
                      <a:moveTo>
                        <a:pt x="1631" y="14423"/>
                      </a:moveTo>
                      <a:cubicBezTo>
                        <a:pt x="-1239" y="10237"/>
                        <a:pt x="-222" y="4495"/>
                        <a:pt x="3904" y="1625"/>
                      </a:cubicBezTo>
                      <a:cubicBezTo>
                        <a:pt x="8031" y="-1246"/>
                        <a:pt x="13772" y="-229"/>
                        <a:pt x="16643" y="4017"/>
                      </a:cubicBezTo>
                      <a:cubicBezTo>
                        <a:pt x="19514" y="8203"/>
                        <a:pt x="18497" y="13945"/>
                        <a:pt x="14370" y="16816"/>
                      </a:cubicBezTo>
                      <a:cubicBezTo>
                        <a:pt x="10244" y="19686"/>
                        <a:pt x="4562" y="18610"/>
                        <a:pt x="1631" y="14423"/>
                      </a:cubicBezTo>
                      <a:close/>
                    </a:path>
                  </a:pathLst>
                </a:custGeom>
                <a:grpFill/>
                <a:ln w="5978" cap="flat">
                  <a:noFill/>
                  <a:prstDash val="solid"/>
                  <a:miter/>
                </a:ln>
              </p:spPr>
              <p:txBody>
                <a:bodyPr rtlCol="0" anchor="ctr"/>
                <a:lstStyle/>
                <a:p>
                  <a:endParaRPr lang="en-GB"/>
                </a:p>
              </p:txBody>
            </p:sp>
            <p:sp>
              <p:nvSpPr>
                <p:cNvPr id="3808" name="Vrije vorm: vorm 3807">
                  <a:extLst>
                    <a:ext uri="{FF2B5EF4-FFF2-40B4-BE49-F238E27FC236}">
                      <a16:creationId xmlns:a16="http://schemas.microsoft.com/office/drawing/2014/main" id="{177BC451-882F-4378-8B21-DE74A464A480}"/>
                    </a:ext>
                  </a:extLst>
                </p:cNvPr>
                <p:cNvSpPr/>
                <p:nvPr/>
              </p:nvSpPr>
              <p:spPr>
                <a:xfrm>
                  <a:off x="7373276" y="5089834"/>
                  <a:ext cx="18300" cy="18439"/>
                </a:xfrm>
                <a:custGeom>
                  <a:avLst/>
                  <a:gdLst>
                    <a:gd name="connsiteX0" fmla="*/ 1631 w 18300"/>
                    <a:gd name="connsiteY0" fmla="*/ 14453 h 18439"/>
                    <a:gd name="connsiteX1" fmla="*/ 14370 w 18300"/>
                    <a:gd name="connsiteY1" fmla="*/ 16786 h 18439"/>
                    <a:gd name="connsiteX2" fmla="*/ 16643 w 18300"/>
                    <a:gd name="connsiteY2" fmla="*/ 3987 h 18439"/>
                    <a:gd name="connsiteX3" fmla="*/ 3904 w 18300"/>
                    <a:gd name="connsiteY3" fmla="*/ 1654 h 18439"/>
                    <a:gd name="connsiteX4" fmla="*/ 1631 w 18300"/>
                    <a:gd name="connsiteY4" fmla="*/ 14453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39">
                      <a:moveTo>
                        <a:pt x="1631" y="14453"/>
                      </a:moveTo>
                      <a:cubicBezTo>
                        <a:pt x="4502" y="18640"/>
                        <a:pt x="10243" y="19716"/>
                        <a:pt x="14370" y="16786"/>
                      </a:cubicBezTo>
                      <a:cubicBezTo>
                        <a:pt x="18497" y="13915"/>
                        <a:pt x="19574" y="8173"/>
                        <a:pt x="16643" y="3987"/>
                      </a:cubicBezTo>
                      <a:cubicBezTo>
                        <a:pt x="13772" y="-200"/>
                        <a:pt x="8031" y="-1276"/>
                        <a:pt x="3904" y="1654"/>
                      </a:cubicBezTo>
                      <a:cubicBezTo>
                        <a:pt x="-223" y="4525"/>
                        <a:pt x="-1239" y="10266"/>
                        <a:pt x="1631" y="14453"/>
                      </a:cubicBezTo>
                      <a:close/>
                    </a:path>
                  </a:pathLst>
                </a:custGeom>
                <a:grpFill/>
                <a:ln w="5978" cap="flat">
                  <a:noFill/>
                  <a:prstDash val="solid"/>
                  <a:miter/>
                </a:ln>
              </p:spPr>
              <p:txBody>
                <a:bodyPr rtlCol="0" anchor="ctr"/>
                <a:lstStyle/>
                <a:p>
                  <a:endParaRPr lang="en-GB"/>
                </a:p>
              </p:txBody>
            </p:sp>
          </p:grpSp>
          <p:grpSp>
            <p:nvGrpSpPr>
              <p:cNvPr id="528" name="Graphic 3">
                <a:extLst>
                  <a:ext uri="{FF2B5EF4-FFF2-40B4-BE49-F238E27FC236}">
                    <a16:creationId xmlns:a16="http://schemas.microsoft.com/office/drawing/2014/main" id="{617A5DA0-95A1-4BBA-A300-B262B63276BC}"/>
                  </a:ext>
                </a:extLst>
              </p:cNvPr>
              <p:cNvGrpSpPr/>
              <p:nvPr/>
            </p:nvGrpSpPr>
            <p:grpSpPr>
              <a:xfrm>
                <a:off x="7196038" y="4866093"/>
                <a:ext cx="100134" cy="122175"/>
                <a:chOff x="7196038" y="4866093"/>
                <a:chExt cx="100134" cy="122175"/>
              </a:xfrm>
              <a:grpFill/>
            </p:grpSpPr>
            <p:sp>
              <p:nvSpPr>
                <p:cNvPr id="3803" name="Vrije vorm: vorm 3802">
                  <a:extLst>
                    <a:ext uri="{FF2B5EF4-FFF2-40B4-BE49-F238E27FC236}">
                      <a16:creationId xmlns:a16="http://schemas.microsoft.com/office/drawing/2014/main" id="{C8A3E56A-0CFE-41F6-AEA3-AAE652AC2A62}"/>
                    </a:ext>
                  </a:extLst>
                </p:cNvPr>
                <p:cNvSpPr/>
                <p:nvPr/>
              </p:nvSpPr>
              <p:spPr>
                <a:xfrm>
                  <a:off x="7203740" y="4873969"/>
                  <a:ext cx="84746" cy="106397"/>
                </a:xfrm>
                <a:custGeom>
                  <a:avLst/>
                  <a:gdLst>
                    <a:gd name="connsiteX0" fmla="*/ 84746 w 84746"/>
                    <a:gd name="connsiteY0" fmla="*/ 104483 h 106397"/>
                    <a:gd name="connsiteX1" fmla="*/ 82355 w 84746"/>
                    <a:gd name="connsiteY1" fmla="*/ 106397 h 106397"/>
                    <a:gd name="connsiteX2" fmla="*/ 0 w 84746"/>
                    <a:gd name="connsiteY2" fmla="*/ 1914 h 106397"/>
                    <a:gd name="connsiteX3" fmla="*/ 2392 w 84746"/>
                    <a:gd name="connsiteY3" fmla="*/ 0 h 106397"/>
                  </a:gdLst>
                  <a:ahLst/>
                  <a:cxnLst>
                    <a:cxn ang="0">
                      <a:pos x="connsiteX0" y="connsiteY0"/>
                    </a:cxn>
                    <a:cxn ang="0">
                      <a:pos x="connsiteX1" y="connsiteY1"/>
                    </a:cxn>
                    <a:cxn ang="0">
                      <a:pos x="connsiteX2" y="connsiteY2"/>
                    </a:cxn>
                    <a:cxn ang="0">
                      <a:pos x="connsiteX3" y="connsiteY3"/>
                    </a:cxn>
                  </a:cxnLst>
                  <a:rect l="l" t="t" r="r" b="b"/>
                  <a:pathLst>
                    <a:path w="84746" h="106397">
                      <a:moveTo>
                        <a:pt x="84746" y="104483"/>
                      </a:moveTo>
                      <a:lnTo>
                        <a:pt x="82355" y="106397"/>
                      </a:lnTo>
                      <a:lnTo>
                        <a:pt x="0" y="1914"/>
                      </a:lnTo>
                      <a:lnTo>
                        <a:pt x="2392" y="0"/>
                      </a:lnTo>
                      <a:close/>
                    </a:path>
                  </a:pathLst>
                </a:custGeom>
                <a:grpFill/>
                <a:ln w="5978" cap="flat">
                  <a:noFill/>
                  <a:prstDash val="solid"/>
                  <a:miter/>
                </a:ln>
              </p:spPr>
              <p:txBody>
                <a:bodyPr rtlCol="0" anchor="ctr"/>
                <a:lstStyle/>
                <a:p>
                  <a:endParaRPr lang="en-GB"/>
                </a:p>
              </p:txBody>
            </p:sp>
            <p:sp>
              <p:nvSpPr>
                <p:cNvPr id="3804" name="Vrije vorm: vorm 3803">
                  <a:extLst>
                    <a:ext uri="{FF2B5EF4-FFF2-40B4-BE49-F238E27FC236}">
                      <a16:creationId xmlns:a16="http://schemas.microsoft.com/office/drawing/2014/main" id="{04BE5357-7DAE-43A4-966A-74DAF9D57F26}"/>
                    </a:ext>
                  </a:extLst>
                </p:cNvPr>
                <p:cNvSpPr/>
                <p:nvPr/>
              </p:nvSpPr>
              <p:spPr>
                <a:xfrm>
                  <a:off x="7277810" y="4969833"/>
                  <a:ext cx="18361" cy="18435"/>
                </a:xfrm>
                <a:custGeom>
                  <a:avLst/>
                  <a:gdLst>
                    <a:gd name="connsiteX0" fmla="*/ 16358 w 18361"/>
                    <a:gd name="connsiteY0" fmla="*/ 3536 h 18435"/>
                    <a:gd name="connsiteX1" fmla="*/ 14863 w 18361"/>
                    <a:gd name="connsiteY1" fmla="*/ 16454 h 18435"/>
                    <a:gd name="connsiteX2" fmla="*/ 2004 w 18361"/>
                    <a:gd name="connsiteY2" fmla="*/ 14899 h 18435"/>
                    <a:gd name="connsiteX3" fmla="*/ 3499 w 18361"/>
                    <a:gd name="connsiteY3" fmla="*/ 1981 h 18435"/>
                    <a:gd name="connsiteX4" fmla="*/ 16358 w 18361"/>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35">
                      <a:moveTo>
                        <a:pt x="16358" y="3536"/>
                      </a:moveTo>
                      <a:cubicBezTo>
                        <a:pt x="19527" y="7543"/>
                        <a:pt x="18870" y="13344"/>
                        <a:pt x="14863" y="16454"/>
                      </a:cubicBezTo>
                      <a:cubicBezTo>
                        <a:pt x="10915" y="19624"/>
                        <a:pt x="5114" y="18906"/>
                        <a:pt x="2004" y="14899"/>
                      </a:cubicBezTo>
                      <a:cubicBezTo>
                        <a:pt x="-1166" y="10892"/>
                        <a:pt x="-508" y="5091"/>
                        <a:pt x="3499" y="1981"/>
                      </a:cubicBezTo>
                      <a:cubicBezTo>
                        <a:pt x="7447" y="-1189"/>
                        <a:pt x="13248" y="-471"/>
                        <a:pt x="16358" y="3536"/>
                      </a:cubicBezTo>
                      <a:close/>
                    </a:path>
                  </a:pathLst>
                </a:custGeom>
                <a:grpFill/>
                <a:ln w="5978" cap="flat">
                  <a:noFill/>
                  <a:prstDash val="solid"/>
                  <a:miter/>
                </a:ln>
              </p:spPr>
              <p:txBody>
                <a:bodyPr rtlCol="0" anchor="ctr"/>
                <a:lstStyle/>
                <a:p>
                  <a:endParaRPr lang="en-GB"/>
                </a:p>
              </p:txBody>
            </p:sp>
            <p:sp>
              <p:nvSpPr>
                <p:cNvPr id="3805" name="Vrije vorm: vorm 3804">
                  <a:extLst>
                    <a:ext uri="{FF2B5EF4-FFF2-40B4-BE49-F238E27FC236}">
                      <a16:creationId xmlns:a16="http://schemas.microsoft.com/office/drawing/2014/main" id="{C88DCD10-7842-4F6A-BE7E-BB1B93E31CA2}"/>
                    </a:ext>
                  </a:extLst>
                </p:cNvPr>
                <p:cNvSpPr/>
                <p:nvPr/>
              </p:nvSpPr>
              <p:spPr>
                <a:xfrm>
                  <a:off x="7196038" y="4866093"/>
                  <a:ext cx="18299" cy="18384"/>
                </a:xfrm>
                <a:custGeom>
                  <a:avLst/>
                  <a:gdLst>
                    <a:gd name="connsiteX0" fmla="*/ 16314 w 18299"/>
                    <a:gd name="connsiteY0" fmla="*/ 3511 h 18384"/>
                    <a:gd name="connsiteX1" fmla="*/ 3455 w 18299"/>
                    <a:gd name="connsiteY1" fmla="*/ 1956 h 18384"/>
                    <a:gd name="connsiteX2" fmla="*/ 1960 w 18299"/>
                    <a:gd name="connsiteY2" fmla="*/ 14874 h 18384"/>
                    <a:gd name="connsiteX3" fmla="*/ 14819 w 18299"/>
                    <a:gd name="connsiteY3" fmla="*/ 16429 h 18384"/>
                    <a:gd name="connsiteX4" fmla="*/ 16314 w 18299"/>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84">
                      <a:moveTo>
                        <a:pt x="16314" y="3511"/>
                      </a:moveTo>
                      <a:cubicBezTo>
                        <a:pt x="13144" y="-496"/>
                        <a:pt x="7402" y="-1154"/>
                        <a:pt x="3455" y="1956"/>
                      </a:cubicBezTo>
                      <a:cubicBezTo>
                        <a:pt x="-492" y="5126"/>
                        <a:pt x="-1150" y="10927"/>
                        <a:pt x="1960" y="14874"/>
                      </a:cubicBezTo>
                      <a:cubicBezTo>
                        <a:pt x="5130" y="18881"/>
                        <a:pt x="10871" y="19539"/>
                        <a:pt x="14819" y="16429"/>
                      </a:cubicBezTo>
                      <a:cubicBezTo>
                        <a:pt x="18766" y="13319"/>
                        <a:pt x="19484" y="7458"/>
                        <a:pt x="16314" y="3511"/>
                      </a:cubicBezTo>
                      <a:close/>
                    </a:path>
                  </a:pathLst>
                </a:custGeom>
                <a:grpFill/>
                <a:ln w="5978" cap="flat">
                  <a:noFill/>
                  <a:prstDash val="solid"/>
                  <a:miter/>
                </a:ln>
              </p:spPr>
              <p:txBody>
                <a:bodyPr rtlCol="0" anchor="ctr"/>
                <a:lstStyle/>
                <a:p>
                  <a:endParaRPr lang="en-GB"/>
                </a:p>
              </p:txBody>
            </p:sp>
          </p:grpSp>
          <p:grpSp>
            <p:nvGrpSpPr>
              <p:cNvPr id="529" name="Graphic 3">
                <a:extLst>
                  <a:ext uri="{FF2B5EF4-FFF2-40B4-BE49-F238E27FC236}">
                    <a16:creationId xmlns:a16="http://schemas.microsoft.com/office/drawing/2014/main" id="{61D49486-D019-4EBE-AAA1-292A86845B0A}"/>
                  </a:ext>
                </a:extLst>
              </p:cNvPr>
              <p:cNvGrpSpPr/>
              <p:nvPr/>
            </p:nvGrpSpPr>
            <p:grpSpPr>
              <a:xfrm>
                <a:off x="7232199" y="4970733"/>
                <a:ext cx="89327" cy="111908"/>
                <a:chOff x="7232199" y="4970733"/>
                <a:chExt cx="89327" cy="111908"/>
              </a:xfrm>
              <a:grpFill/>
            </p:grpSpPr>
            <p:sp>
              <p:nvSpPr>
                <p:cNvPr id="3800" name="Vrije vorm: vorm 3799">
                  <a:extLst>
                    <a:ext uri="{FF2B5EF4-FFF2-40B4-BE49-F238E27FC236}">
                      <a16:creationId xmlns:a16="http://schemas.microsoft.com/office/drawing/2014/main" id="{9149A600-EE6F-4714-838F-967BCB2E4D17}"/>
                    </a:ext>
                  </a:extLst>
                </p:cNvPr>
                <p:cNvSpPr/>
                <p:nvPr/>
              </p:nvSpPr>
              <p:spPr>
                <a:xfrm>
                  <a:off x="7239922" y="4978632"/>
                  <a:ext cx="73921" cy="96110"/>
                </a:xfrm>
                <a:custGeom>
                  <a:avLst/>
                  <a:gdLst>
                    <a:gd name="connsiteX0" fmla="*/ 73922 w 73921"/>
                    <a:gd name="connsiteY0" fmla="*/ 94256 h 96110"/>
                    <a:gd name="connsiteX1" fmla="*/ 71470 w 73921"/>
                    <a:gd name="connsiteY1" fmla="*/ 96110 h 96110"/>
                    <a:gd name="connsiteX2" fmla="*/ 0 w 73921"/>
                    <a:gd name="connsiteY2" fmla="*/ 1854 h 96110"/>
                    <a:gd name="connsiteX3" fmla="*/ 2392 w 73921"/>
                    <a:gd name="connsiteY3" fmla="*/ 0 h 96110"/>
                  </a:gdLst>
                  <a:ahLst/>
                  <a:cxnLst>
                    <a:cxn ang="0">
                      <a:pos x="connsiteX0" y="connsiteY0"/>
                    </a:cxn>
                    <a:cxn ang="0">
                      <a:pos x="connsiteX1" y="connsiteY1"/>
                    </a:cxn>
                    <a:cxn ang="0">
                      <a:pos x="connsiteX2" y="connsiteY2"/>
                    </a:cxn>
                    <a:cxn ang="0">
                      <a:pos x="connsiteX3" y="connsiteY3"/>
                    </a:cxn>
                  </a:cxnLst>
                  <a:rect l="l" t="t" r="r" b="b"/>
                  <a:pathLst>
                    <a:path w="73921" h="96110">
                      <a:moveTo>
                        <a:pt x="73922" y="94256"/>
                      </a:moveTo>
                      <a:lnTo>
                        <a:pt x="71470" y="96110"/>
                      </a:lnTo>
                      <a:lnTo>
                        <a:pt x="0" y="1854"/>
                      </a:lnTo>
                      <a:lnTo>
                        <a:pt x="2392" y="0"/>
                      </a:lnTo>
                      <a:close/>
                    </a:path>
                  </a:pathLst>
                </a:custGeom>
                <a:grpFill/>
                <a:ln w="5978" cap="flat">
                  <a:noFill/>
                  <a:prstDash val="solid"/>
                  <a:miter/>
                </a:ln>
              </p:spPr>
              <p:txBody>
                <a:bodyPr rtlCol="0" anchor="ctr"/>
                <a:lstStyle/>
                <a:p>
                  <a:endParaRPr lang="en-GB"/>
                </a:p>
              </p:txBody>
            </p:sp>
            <p:sp>
              <p:nvSpPr>
                <p:cNvPr id="3801" name="Vrije vorm: vorm 3800">
                  <a:extLst>
                    <a:ext uri="{FF2B5EF4-FFF2-40B4-BE49-F238E27FC236}">
                      <a16:creationId xmlns:a16="http://schemas.microsoft.com/office/drawing/2014/main" id="{4C1EE72F-7C0E-4D92-968B-8DF546693016}"/>
                    </a:ext>
                  </a:extLst>
                </p:cNvPr>
                <p:cNvSpPr/>
                <p:nvPr/>
              </p:nvSpPr>
              <p:spPr>
                <a:xfrm>
                  <a:off x="7303172" y="5064211"/>
                  <a:ext cx="18354" cy="18429"/>
                </a:xfrm>
                <a:custGeom>
                  <a:avLst/>
                  <a:gdLst>
                    <a:gd name="connsiteX0" fmla="*/ 16474 w 18354"/>
                    <a:gd name="connsiteY0" fmla="*/ 3653 h 18429"/>
                    <a:gd name="connsiteX1" fmla="*/ 14739 w 18354"/>
                    <a:gd name="connsiteY1" fmla="*/ 16571 h 18429"/>
                    <a:gd name="connsiteX2" fmla="*/ 1881 w 18354"/>
                    <a:gd name="connsiteY2" fmla="*/ 14777 h 18429"/>
                    <a:gd name="connsiteX3" fmla="*/ 3615 w 18354"/>
                    <a:gd name="connsiteY3" fmla="*/ 1859 h 18429"/>
                    <a:gd name="connsiteX4" fmla="*/ 16474 w 18354"/>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29">
                      <a:moveTo>
                        <a:pt x="16474" y="3653"/>
                      </a:moveTo>
                      <a:cubicBezTo>
                        <a:pt x="19524" y="7720"/>
                        <a:pt x="18807" y="13461"/>
                        <a:pt x="14739" y="16571"/>
                      </a:cubicBezTo>
                      <a:cubicBezTo>
                        <a:pt x="10732" y="19621"/>
                        <a:pt x="4991" y="18844"/>
                        <a:pt x="1881" y="14777"/>
                      </a:cubicBezTo>
                      <a:cubicBezTo>
                        <a:pt x="-1170" y="10710"/>
                        <a:pt x="-452" y="4969"/>
                        <a:pt x="3615" y="1859"/>
                      </a:cubicBezTo>
                      <a:cubicBezTo>
                        <a:pt x="7622" y="-1192"/>
                        <a:pt x="13364" y="-414"/>
                        <a:pt x="16474" y="3653"/>
                      </a:cubicBezTo>
                      <a:close/>
                    </a:path>
                  </a:pathLst>
                </a:custGeom>
                <a:grpFill/>
                <a:ln w="5978" cap="flat">
                  <a:noFill/>
                  <a:prstDash val="solid"/>
                  <a:miter/>
                </a:ln>
              </p:spPr>
              <p:txBody>
                <a:bodyPr rtlCol="0" anchor="ctr"/>
                <a:lstStyle/>
                <a:p>
                  <a:endParaRPr lang="en-GB"/>
                </a:p>
              </p:txBody>
            </p:sp>
            <p:sp>
              <p:nvSpPr>
                <p:cNvPr id="3802" name="Vrije vorm: vorm 3801">
                  <a:extLst>
                    <a:ext uri="{FF2B5EF4-FFF2-40B4-BE49-F238E27FC236}">
                      <a16:creationId xmlns:a16="http://schemas.microsoft.com/office/drawing/2014/main" id="{09699063-3052-4152-B671-FE2C1F7984A1}"/>
                    </a:ext>
                  </a:extLst>
                </p:cNvPr>
                <p:cNvSpPr/>
                <p:nvPr/>
              </p:nvSpPr>
              <p:spPr>
                <a:xfrm>
                  <a:off x="7232199" y="4970733"/>
                  <a:ext cx="18361" cy="18429"/>
                </a:xfrm>
                <a:custGeom>
                  <a:avLst/>
                  <a:gdLst>
                    <a:gd name="connsiteX0" fmla="*/ 16456 w 18361"/>
                    <a:gd name="connsiteY0" fmla="*/ 3653 h 18429"/>
                    <a:gd name="connsiteX1" fmla="*/ 3597 w 18361"/>
                    <a:gd name="connsiteY1" fmla="*/ 1858 h 18429"/>
                    <a:gd name="connsiteX2" fmla="*/ 1863 w 18361"/>
                    <a:gd name="connsiteY2" fmla="*/ 14777 h 18429"/>
                    <a:gd name="connsiteX3" fmla="*/ 14721 w 18361"/>
                    <a:gd name="connsiteY3" fmla="*/ 16571 h 18429"/>
                    <a:gd name="connsiteX4" fmla="*/ 16456 w 18361"/>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9">
                      <a:moveTo>
                        <a:pt x="16456" y="3653"/>
                      </a:moveTo>
                      <a:cubicBezTo>
                        <a:pt x="13406" y="-414"/>
                        <a:pt x="7604" y="-1191"/>
                        <a:pt x="3597" y="1858"/>
                      </a:cubicBezTo>
                      <a:cubicBezTo>
                        <a:pt x="-410" y="4909"/>
                        <a:pt x="-1188" y="10710"/>
                        <a:pt x="1863" y="14777"/>
                      </a:cubicBezTo>
                      <a:cubicBezTo>
                        <a:pt x="4913" y="18844"/>
                        <a:pt x="10714" y="19621"/>
                        <a:pt x="14721" y="16571"/>
                      </a:cubicBezTo>
                      <a:cubicBezTo>
                        <a:pt x="18788" y="13461"/>
                        <a:pt x="19565" y="7720"/>
                        <a:pt x="16456" y="3653"/>
                      </a:cubicBezTo>
                      <a:close/>
                    </a:path>
                  </a:pathLst>
                </a:custGeom>
                <a:grpFill/>
                <a:ln w="5978" cap="flat">
                  <a:noFill/>
                  <a:prstDash val="solid"/>
                  <a:miter/>
                </a:ln>
              </p:spPr>
              <p:txBody>
                <a:bodyPr rtlCol="0" anchor="ctr"/>
                <a:lstStyle/>
                <a:p>
                  <a:endParaRPr lang="en-GB"/>
                </a:p>
              </p:txBody>
            </p:sp>
          </p:grpSp>
          <p:grpSp>
            <p:nvGrpSpPr>
              <p:cNvPr id="530" name="Graphic 3">
                <a:extLst>
                  <a:ext uri="{FF2B5EF4-FFF2-40B4-BE49-F238E27FC236}">
                    <a16:creationId xmlns:a16="http://schemas.microsoft.com/office/drawing/2014/main" id="{6959D872-B224-47C6-8A4D-29D5E17BC682}"/>
                  </a:ext>
                </a:extLst>
              </p:cNvPr>
              <p:cNvGrpSpPr/>
              <p:nvPr/>
            </p:nvGrpSpPr>
            <p:grpSpPr>
              <a:xfrm>
                <a:off x="6153987" y="1647167"/>
                <a:ext cx="23596" cy="100343"/>
                <a:chOff x="6153987" y="1647167"/>
                <a:chExt cx="23596" cy="100343"/>
              </a:xfrm>
              <a:grpFill/>
            </p:grpSpPr>
            <p:sp>
              <p:nvSpPr>
                <p:cNvPr id="3797" name="Vrije vorm: vorm 3796">
                  <a:extLst>
                    <a:ext uri="{FF2B5EF4-FFF2-40B4-BE49-F238E27FC236}">
                      <a16:creationId xmlns:a16="http://schemas.microsoft.com/office/drawing/2014/main" id="{A575E1FC-BE7B-459F-8CB0-DBEB4C673586}"/>
                    </a:ext>
                  </a:extLst>
                </p:cNvPr>
                <p:cNvSpPr/>
                <p:nvPr/>
              </p:nvSpPr>
              <p:spPr>
                <a:xfrm>
                  <a:off x="6161598" y="1655803"/>
                  <a:ext cx="8373" cy="83072"/>
                </a:xfrm>
                <a:custGeom>
                  <a:avLst/>
                  <a:gdLst>
                    <a:gd name="connsiteX0" fmla="*/ 8373 w 8373"/>
                    <a:gd name="connsiteY0" fmla="*/ 179 h 83072"/>
                    <a:gd name="connsiteX1" fmla="*/ 3050 w 8373"/>
                    <a:gd name="connsiteY1" fmla="*/ 83072 h 83072"/>
                    <a:gd name="connsiteX2" fmla="*/ 0 w 8373"/>
                    <a:gd name="connsiteY2" fmla="*/ 82893 h 83072"/>
                    <a:gd name="connsiteX3" fmla="*/ 5323 w 8373"/>
                    <a:gd name="connsiteY3" fmla="*/ 0 h 83072"/>
                  </a:gdLst>
                  <a:ahLst/>
                  <a:cxnLst>
                    <a:cxn ang="0">
                      <a:pos x="connsiteX0" y="connsiteY0"/>
                    </a:cxn>
                    <a:cxn ang="0">
                      <a:pos x="connsiteX1" y="connsiteY1"/>
                    </a:cxn>
                    <a:cxn ang="0">
                      <a:pos x="connsiteX2" y="connsiteY2"/>
                    </a:cxn>
                    <a:cxn ang="0">
                      <a:pos x="connsiteX3" y="connsiteY3"/>
                    </a:cxn>
                  </a:cxnLst>
                  <a:rect l="l" t="t" r="r" b="b"/>
                  <a:pathLst>
                    <a:path w="8373" h="83072">
                      <a:moveTo>
                        <a:pt x="8373" y="179"/>
                      </a:moveTo>
                      <a:lnTo>
                        <a:pt x="3050" y="83072"/>
                      </a:lnTo>
                      <a:lnTo>
                        <a:pt x="0" y="82893"/>
                      </a:lnTo>
                      <a:lnTo>
                        <a:pt x="5323" y="0"/>
                      </a:lnTo>
                      <a:close/>
                    </a:path>
                  </a:pathLst>
                </a:custGeom>
                <a:grpFill/>
                <a:ln w="5978" cap="flat">
                  <a:noFill/>
                  <a:prstDash val="solid"/>
                  <a:miter/>
                </a:ln>
              </p:spPr>
              <p:txBody>
                <a:bodyPr rtlCol="0" anchor="ctr"/>
                <a:lstStyle/>
                <a:p>
                  <a:endParaRPr lang="en-GB"/>
                </a:p>
              </p:txBody>
            </p:sp>
            <p:sp>
              <p:nvSpPr>
                <p:cNvPr id="3798" name="Vrije vorm: vorm 3797">
                  <a:extLst>
                    <a:ext uri="{FF2B5EF4-FFF2-40B4-BE49-F238E27FC236}">
                      <a16:creationId xmlns:a16="http://schemas.microsoft.com/office/drawing/2014/main" id="{45D2F15E-E45D-4B66-A276-3E65DCBFA886}"/>
                    </a:ext>
                  </a:extLst>
                </p:cNvPr>
                <p:cNvSpPr/>
                <p:nvPr/>
              </p:nvSpPr>
              <p:spPr>
                <a:xfrm>
                  <a:off x="6159250" y="1647167"/>
                  <a:ext cx="18333" cy="18407"/>
                </a:xfrm>
                <a:custGeom>
                  <a:avLst/>
                  <a:gdLst>
                    <a:gd name="connsiteX0" fmla="*/ 16 w 18333"/>
                    <a:gd name="connsiteY0" fmla="*/ 8576 h 18407"/>
                    <a:gd name="connsiteX1" fmla="*/ 9765 w 18333"/>
                    <a:gd name="connsiteY1" fmla="*/ 23 h 18407"/>
                    <a:gd name="connsiteX2" fmla="*/ 18317 w 18333"/>
                    <a:gd name="connsiteY2" fmla="*/ 9832 h 18407"/>
                    <a:gd name="connsiteX3" fmla="*/ 8569 w 18333"/>
                    <a:gd name="connsiteY3" fmla="*/ 18384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315" y="3492"/>
                        <a:pt x="4681" y="-336"/>
                        <a:pt x="9765" y="23"/>
                      </a:cubicBezTo>
                      <a:cubicBezTo>
                        <a:pt x="14789" y="382"/>
                        <a:pt x="18616" y="4748"/>
                        <a:pt x="18317" y="9832"/>
                      </a:cubicBezTo>
                      <a:cubicBezTo>
                        <a:pt x="18018" y="14915"/>
                        <a:pt x="13652" y="18743"/>
                        <a:pt x="8569" y="18384"/>
                      </a:cubicBezTo>
                      <a:cubicBezTo>
                        <a:pt x="3545" y="18025"/>
                        <a:pt x="-283" y="13659"/>
                        <a:pt x="16" y="8576"/>
                      </a:cubicBezTo>
                      <a:close/>
                    </a:path>
                  </a:pathLst>
                </a:custGeom>
                <a:grpFill/>
                <a:ln w="5978" cap="flat">
                  <a:noFill/>
                  <a:prstDash val="solid"/>
                  <a:miter/>
                </a:ln>
              </p:spPr>
              <p:txBody>
                <a:bodyPr rtlCol="0" anchor="ctr"/>
                <a:lstStyle/>
                <a:p>
                  <a:endParaRPr lang="en-GB"/>
                </a:p>
              </p:txBody>
            </p:sp>
            <p:sp>
              <p:nvSpPr>
                <p:cNvPr id="3799" name="Vrije vorm: vorm 3798">
                  <a:extLst>
                    <a:ext uri="{FF2B5EF4-FFF2-40B4-BE49-F238E27FC236}">
                      <a16:creationId xmlns:a16="http://schemas.microsoft.com/office/drawing/2014/main" id="{4BDCB9C3-C91E-48E4-82EC-A7DCD256674D}"/>
                    </a:ext>
                  </a:extLst>
                </p:cNvPr>
                <p:cNvSpPr/>
                <p:nvPr/>
              </p:nvSpPr>
              <p:spPr>
                <a:xfrm>
                  <a:off x="6153987" y="1729103"/>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2" y="18743"/>
                        <a:pt x="17959" y="14915"/>
                        <a:pt x="18317" y="9832"/>
                      </a:cubicBezTo>
                      <a:cubicBezTo>
                        <a:pt x="18616" y="4748"/>
                        <a:pt x="14789" y="382"/>
                        <a:pt x="9765" y="23"/>
                      </a:cubicBezTo>
                      <a:cubicBezTo>
                        <a:pt x="4681" y="-336"/>
                        <a:pt x="315" y="3492"/>
                        <a:pt x="16" y="8576"/>
                      </a:cubicBezTo>
                      <a:close/>
                    </a:path>
                  </a:pathLst>
                </a:custGeom>
                <a:grpFill/>
                <a:ln w="5978" cap="flat">
                  <a:noFill/>
                  <a:prstDash val="solid"/>
                  <a:miter/>
                </a:ln>
              </p:spPr>
              <p:txBody>
                <a:bodyPr rtlCol="0" anchor="ctr"/>
                <a:lstStyle/>
                <a:p>
                  <a:endParaRPr lang="en-GB"/>
                </a:p>
              </p:txBody>
            </p:sp>
          </p:grpSp>
          <p:grpSp>
            <p:nvGrpSpPr>
              <p:cNvPr id="531" name="Graphic 3">
                <a:extLst>
                  <a:ext uri="{FF2B5EF4-FFF2-40B4-BE49-F238E27FC236}">
                    <a16:creationId xmlns:a16="http://schemas.microsoft.com/office/drawing/2014/main" id="{098C9B39-5BA1-4627-A749-470450DBD231}"/>
                  </a:ext>
                </a:extLst>
              </p:cNvPr>
              <p:cNvGrpSpPr/>
              <p:nvPr/>
            </p:nvGrpSpPr>
            <p:grpSpPr>
              <a:xfrm>
                <a:off x="6061200" y="1281009"/>
                <a:ext cx="60249" cy="461736"/>
                <a:chOff x="6061200" y="1281009"/>
                <a:chExt cx="60249" cy="461736"/>
              </a:xfrm>
              <a:grpFill/>
            </p:grpSpPr>
            <p:sp>
              <p:nvSpPr>
                <p:cNvPr id="3794" name="Vrije vorm: vorm 3793">
                  <a:extLst>
                    <a:ext uri="{FF2B5EF4-FFF2-40B4-BE49-F238E27FC236}">
                      <a16:creationId xmlns:a16="http://schemas.microsoft.com/office/drawing/2014/main" id="{0D896C47-25D6-49DC-A175-B9B9650D6BA7}"/>
                    </a:ext>
                  </a:extLst>
                </p:cNvPr>
                <p:cNvSpPr/>
                <p:nvPr/>
              </p:nvSpPr>
              <p:spPr>
                <a:xfrm>
                  <a:off x="6068838" y="1289544"/>
                  <a:ext cx="44974" cy="444606"/>
                </a:xfrm>
                <a:custGeom>
                  <a:avLst/>
                  <a:gdLst>
                    <a:gd name="connsiteX0" fmla="*/ 44975 w 44974"/>
                    <a:gd name="connsiteY0" fmla="*/ 299 h 444606"/>
                    <a:gd name="connsiteX1" fmla="*/ 3050 w 44974"/>
                    <a:gd name="connsiteY1" fmla="*/ 444607 h 444606"/>
                    <a:gd name="connsiteX2" fmla="*/ 0 w 44974"/>
                    <a:gd name="connsiteY2" fmla="*/ 444308 h 444606"/>
                    <a:gd name="connsiteX3" fmla="*/ 41925 w 44974"/>
                    <a:gd name="connsiteY3" fmla="*/ 0 h 444606"/>
                  </a:gdLst>
                  <a:ahLst/>
                  <a:cxnLst>
                    <a:cxn ang="0">
                      <a:pos x="connsiteX0" y="connsiteY0"/>
                    </a:cxn>
                    <a:cxn ang="0">
                      <a:pos x="connsiteX1" y="connsiteY1"/>
                    </a:cxn>
                    <a:cxn ang="0">
                      <a:pos x="connsiteX2" y="connsiteY2"/>
                    </a:cxn>
                    <a:cxn ang="0">
                      <a:pos x="connsiteX3" y="connsiteY3"/>
                    </a:cxn>
                  </a:cxnLst>
                  <a:rect l="l" t="t" r="r" b="b"/>
                  <a:pathLst>
                    <a:path w="44974" h="444606">
                      <a:moveTo>
                        <a:pt x="44975" y="299"/>
                      </a:moveTo>
                      <a:lnTo>
                        <a:pt x="3050" y="444607"/>
                      </a:lnTo>
                      <a:lnTo>
                        <a:pt x="0" y="444308"/>
                      </a:lnTo>
                      <a:lnTo>
                        <a:pt x="41925" y="0"/>
                      </a:lnTo>
                      <a:close/>
                    </a:path>
                  </a:pathLst>
                </a:custGeom>
                <a:grpFill/>
                <a:ln w="5978" cap="flat">
                  <a:noFill/>
                  <a:prstDash val="solid"/>
                  <a:miter/>
                </a:ln>
              </p:spPr>
              <p:txBody>
                <a:bodyPr rtlCol="0" anchor="ctr"/>
                <a:lstStyle/>
                <a:p>
                  <a:endParaRPr lang="en-GB"/>
                </a:p>
              </p:txBody>
            </p:sp>
            <p:sp>
              <p:nvSpPr>
                <p:cNvPr id="3795" name="Vrije vorm: vorm 3794">
                  <a:extLst>
                    <a:ext uri="{FF2B5EF4-FFF2-40B4-BE49-F238E27FC236}">
                      <a16:creationId xmlns:a16="http://schemas.microsoft.com/office/drawing/2014/main" id="{81C26FDB-54FB-4AFE-B1AF-2E255D866985}"/>
                    </a:ext>
                  </a:extLst>
                </p:cNvPr>
                <p:cNvSpPr/>
                <p:nvPr/>
              </p:nvSpPr>
              <p:spPr>
                <a:xfrm>
                  <a:off x="6061200" y="1724360"/>
                  <a:ext cx="18324" cy="18385"/>
                </a:xfrm>
                <a:custGeom>
                  <a:avLst/>
                  <a:gdLst>
                    <a:gd name="connsiteX0" fmla="*/ 18283 w 18324"/>
                    <a:gd name="connsiteY0" fmla="*/ 10090 h 18385"/>
                    <a:gd name="connsiteX1" fmla="*/ 8295 w 18324"/>
                    <a:gd name="connsiteY1" fmla="*/ 18343 h 18385"/>
                    <a:gd name="connsiteX2" fmla="*/ 42 w 18324"/>
                    <a:gd name="connsiteY2" fmla="*/ 8296 h 18385"/>
                    <a:gd name="connsiteX3" fmla="*/ 10029 w 18324"/>
                    <a:gd name="connsiteY3" fmla="*/ 42 h 18385"/>
                    <a:gd name="connsiteX4" fmla="*/ 18283 w 18324"/>
                    <a:gd name="connsiteY4" fmla="*/ 10090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5">
                      <a:moveTo>
                        <a:pt x="18283" y="10090"/>
                      </a:moveTo>
                      <a:cubicBezTo>
                        <a:pt x="17804" y="15173"/>
                        <a:pt x="13319" y="18822"/>
                        <a:pt x="8295" y="18343"/>
                      </a:cubicBezTo>
                      <a:cubicBezTo>
                        <a:pt x="3271" y="17865"/>
                        <a:pt x="-437" y="13319"/>
                        <a:pt x="42" y="8296"/>
                      </a:cubicBezTo>
                      <a:cubicBezTo>
                        <a:pt x="520" y="3212"/>
                        <a:pt x="5006" y="-436"/>
                        <a:pt x="10029" y="42"/>
                      </a:cubicBezTo>
                      <a:cubicBezTo>
                        <a:pt x="15113" y="461"/>
                        <a:pt x="18761" y="5006"/>
                        <a:pt x="18283" y="10090"/>
                      </a:cubicBezTo>
                      <a:close/>
                    </a:path>
                  </a:pathLst>
                </a:custGeom>
                <a:grpFill/>
                <a:ln w="5978" cap="flat">
                  <a:noFill/>
                  <a:prstDash val="solid"/>
                  <a:miter/>
                </a:ln>
              </p:spPr>
              <p:txBody>
                <a:bodyPr rtlCol="0" anchor="ctr"/>
                <a:lstStyle/>
                <a:p>
                  <a:endParaRPr lang="en-GB"/>
                </a:p>
              </p:txBody>
            </p:sp>
            <p:sp>
              <p:nvSpPr>
                <p:cNvPr id="3796" name="Vrije vorm: vorm 3795">
                  <a:extLst>
                    <a:ext uri="{FF2B5EF4-FFF2-40B4-BE49-F238E27FC236}">
                      <a16:creationId xmlns:a16="http://schemas.microsoft.com/office/drawing/2014/main" id="{3F767908-4036-4F7E-AEFD-71AD4073246A}"/>
                    </a:ext>
                  </a:extLst>
                </p:cNvPr>
                <p:cNvSpPr/>
                <p:nvPr/>
              </p:nvSpPr>
              <p:spPr>
                <a:xfrm>
                  <a:off x="6103125" y="1281009"/>
                  <a:ext cx="18324" cy="18384"/>
                </a:xfrm>
                <a:custGeom>
                  <a:avLst/>
                  <a:gdLst>
                    <a:gd name="connsiteX0" fmla="*/ 18283 w 18324"/>
                    <a:gd name="connsiteY0" fmla="*/ 10090 h 18384"/>
                    <a:gd name="connsiteX1" fmla="*/ 10029 w 18324"/>
                    <a:gd name="connsiteY1" fmla="*/ 42 h 18384"/>
                    <a:gd name="connsiteX2" fmla="*/ 42 w 18324"/>
                    <a:gd name="connsiteY2" fmla="*/ 8296 h 18384"/>
                    <a:gd name="connsiteX3" fmla="*/ 8295 w 18324"/>
                    <a:gd name="connsiteY3" fmla="*/ 18343 h 18384"/>
                    <a:gd name="connsiteX4" fmla="*/ 18283 w 18324"/>
                    <a:gd name="connsiteY4" fmla="*/ 10090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18283" y="10090"/>
                      </a:moveTo>
                      <a:cubicBezTo>
                        <a:pt x="18761" y="5006"/>
                        <a:pt x="15053" y="521"/>
                        <a:pt x="10029" y="42"/>
                      </a:cubicBezTo>
                      <a:cubicBezTo>
                        <a:pt x="5005" y="-436"/>
                        <a:pt x="520" y="3212"/>
                        <a:pt x="42" y="8296"/>
                      </a:cubicBezTo>
                      <a:cubicBezTo>
                        <a:pt x="-437" y="13379"/>
                        <a:pt x="3271" y="17865"/>
                        <a:pt x="8295" y="18343"/>
                      </a:cubicBezTo>
                      <a:cubicBezTo>
                        <a:pt x="13319" y="18822"/>
                        <a:pt x="17804" y="15114"/>
                        <a:pt x="18283" y="10090"/>
                      </a:cubicBezTo>
                      <a:close/>
                    </a:path>
                  </a:pathLst>
                </a:custGeom>
                <a:grpFill/>
                <a:ln w="5978" cap="flat">
                  <a:noFill/>
                  <a:prstDash val="solid"/>
                  <a:miter/>
                </a:ln>
              </p:spPr>
              <p:txBody>
                <a:bodyPr rtlCol="0" anchor="ctr"/>
                <a:lstStyle/>
                <a:p>
                  <a:endParaRPr lang="en-GB"/>
                </a:p>
              </p:txBody>
            </p:sp>
          </p:grpSp>
          <p:grpSp>
            <p:nvGrpSpPr>
              <p:cNvPr id="532" name="Graphic 3">
                <a:extLst>
                  <a:ext uri="{FF2B5EF4-FFF2-40B4-BE49-F238E27FC236}">
                    <a16:creationId xmlns:a16="http://schemas.microsoft.com/office/drawing/2014/main" id="{8863FFEE-8F6E-4522-8F90-ABDAB8A5CDF1}"/>
                  </a:ext>
                </a:extLst>
              </p:cNvPr>
              <p:cNvGrpSpPr/>
              <p:nvPr/>
            </p:nvGrpSpPr>
            <p:grpSpPr>
              <a:xfrm>
                <a:off x="6061480" y="1440556"/>
                <a:ext cx="19737" cy="178645"/>
                <a:chOff x="6061480" y="1440556"/>
                <a:chExt cx="19737" cy="178645"/>
              </a:xfrm>
              <a:grpFill/>
            </p:grpSpPr>
            <p:sp>
              <p:nvSpPr>
                <p:cNvPr id="3791" name="Vrije vorm: vorm 3790">
                  <a:extLst>
                    <a:ext uri="{FF2B5EF4-FFF2-40B4-BE49-F238E27FC236}">
                      <a16:creationId xmlns:a16="http://schemas.microsoft.com/office/drawing/2014/main" id="{A65B1F97-38C0-4175-BBCD-1A36DAE5FB85}"/>
                    </a:ext>
                  </a:extLst>
                </p:cNvPr>
                <p:cNvSpPr/>
                <p:nvPr/>
              </p:nvSpPr>
              <p:spPr>
                <a:xfrm>
                  <a:off x="6069137" y="1449289"/>
                  <a:ext cx="4425" cy="161180"/>
                </a:xfrm>
                <a:custGeom>
                  <a:avLst/>
                  <a:gdLst>
                    <a:gd name="connsiteX0" fmla="*/ 4426 w 4425"/>
                    <a:gd name="connsiteY0" fmla="*/ 60 h 161180"/>
                    <a:gd name="connsiteX1" fmla="*/ 3050 w 4425"/>
                    <a:gd name="connsiteY1" fmla="*/ 161180 h 161180"/>
                    <a:gd name="connsiteX2" fmla="*/ 0 w 4425"/>
                    <a:gd name="connsiteY2" fmla="*/ 161121 h 161180"/>
                    <a:gd name="connsiteX3" fmla="*/ 1375 w 4425"/>
                    <a:gd name="connsiteY3" fmla="*/ 0 h 161180"/>
                  </a:gdLst>
                  <a:ahLst/>
                  <a:cxnLst>
                    <a:cxn ang="0">
                      <a:pos x="connsiteX0" y="connsiteY0"/>
                    </a:cxn>
                    <a:cxn ang="0">
                      <a:pos x="connsiteX1" y="connsiteY1"/>
                    </a:cxn>
                    <a:cxn ang="0">
                      <a:pos x="connsiteX2" y="connsiteY2"/>
                    </a:cxn>
                    <a:cxn ang="0">
                      <a:pos x="connsiteX3" y="connsiteY3"/>
                    </a:cxn>
                  </a:cxnLst>
                  <a:rect l="l" t="t" r="r" b="b"/>
                  <a:pathLst>
                    <a:path w="4425" h="161180">
                      <a:moveTo>
                        <a:pt x="4426" y="60"/>
                      </a:moveTo>
                      <a:lnTo>
                        <a:pt x="3050" y="161180"/>
                      </a:lnTo>
                      <a:lnTo>
                        <a:pt x="0" y="161121"/>
                      </a:lnTo>
                      <a:lnTo>
                        <a:pt x="1375" y="0"/>
                      </a:lnTo>
                      <a:close/>
                    </a:path>
                  </a:pathLst>
                </a:custGeom>
                <a:grpFill/>
                <a:ln w="5978" cap="flat">
                  <a:noFill/>
                  <a:prstDash val="solid"/>
                  <a:miter/>
                </a:ln>
              </p:spPr>
              <p:txBody>
                <a:bodyPr rtlCol="0" anchor="ctr"/>
                <a:lstStyle/>
                <a:p>
                  <a:endParaRPr lang="en-GB"/>
                </a:p>
              </p:txBody>
            </p:sp>
            <p:sp>
              <p:nvSpPr>
                <p:cNvPr id="3792" name="Vrije vorm: vorm 3791">
                  <a:extLst>
                    <a:ext uri="{FF2B5EF4-FFF2-40B4-BE49-F238E27FC236}">
                      <a16:creationId xmlns:a16="http://schemas.microsoft.com/office/drawing/2014/main" id="{01BE2C37-6E72-4A00-95B2-C19FBA58B065}"/>
                    </a:ext>
                  </a:extLst>
                </p:cNvPr>
                <p:cNvSpPr/>
                <p:nvPr/>
              </p:nvSpPr>
              <p:spPr>
                <a:xfrm>
                  <a:off x="6062856" y="1440556"/>
                  <a:ext cx="18361" cy="18421"/>
                </a:xfrm>
                <a:custGeom>
                  <a:avLst/>
                  <a:gdLst>
                    <a:gd name="connsiteX0" fmla="*/ 1 w 18361"/>
                    <a:gd name="connsiteY0" fmla="*/ 9091 h 18421"/>
                    <a:gd name="connsiteX1" fmla="*/ 9271 w 18361"/>
                    <a:gd name="connsiteY1" fmla="*/ 1 h 18421"/>
                    <a:gd name="connsiteX2" fmla="*/ 18361 w 18361"/>
                    <a:gd name="connsiteY2" fmla="*/ 9331 h 18421"/>
                    <a:gd name="connsiteX3" fmla="*/ 9091 w 18361"/>
                    <a:gd name="connsiteY3" fmla="*/ 18421 h 18421"/>
                    <a:gd name="connsiteX4" fmla="*/ 1 w 18361"/>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1" y="9091"/>
                      </a:moveTo>
                      <a:cubicBezTo>
                        <a:pt x="60" y="4008"/>
                        <a:pt x="4187" y="-59"/>
                        <a:pt x="9271" y="1"/>
                      </a:cubicBezTo>
                      <a:cubicBezTo>
                        <a:pt x="14354" y="60"/>
                        <a:pt x="18421" y="4247"/>
                        <a:pt x="18361" y="9331"/>
                      </a:cubicBezTo>
                      <a:cubicBezTo>
                        <a:pt x="18302" y="14414"/>
                        <a:pt x="14175" y="18481"/>
                        <a:pt x="9091" y="18421"/>
                      </a:cubicBezTo>
                      <a:cubicBezTo>
                        <a:pt x="4067" y="18361"/>
                        <a:pt x="-59" y="14235"/>
                        <a:pt x="1" y="9091"/>
                      </a:cubicBezTo>
                      <a:close/>
                    </a:path>
                  </a:pathLst>
                </a:custGeom>
                <a:grpFill/>
                <a:ln w="5978" cap="flat">
                  <a:noFill/>
                  <a:prstDash val="solid"/>
                  <a:miter/>
                </a:ln>
              </p:spPr>
              <p:txBody>
                <a:bodyPr rtlCol="0" anchor="ctr"/>
                <a:lstStyle/>
                <a:p>
                  <a:endParaRPr lang="en-GB"/>
                </a:p>
              </p:txBody>
            </p:sp>
            <p:sp>
              <p:nvSpPr>
                <p:cNvPr id="3793" name="Vrije vorm: vorm 3792">
                  <a:extLst>
                    <a:ext uri="{FF2B5EF4-FFF2-40B4-BE49-F238E27FC236}">
                      <a16:creationId xmlns:a16="http://schemas.microsoft.com/office/drawing/2014/main" id="{0D3E5110-C450-4E49-ABD0-56449B990F5A}"/>
                    </a:ext>
                  </a:extLst>
                </p:cNvPr>
                <p:cNvSpPr/>
                <p:nvPr/>
              </p:nvSpPr>
              <p:spPr>
                <a:xfrm>
                  <a:off x="6061480" y="1600780"/>
                  <a:ext cx="18362" cy="18421"/>
                </a:xfrm>
                <a:custGeom>
                  <a:avLst/>
                  <a:gdLst>
                    <a:gd name="connsiteX0" fmla="*/ 1 w 18362"/>
                    <a:gd name="connsiteY0" fmla="*/ 9091 h 18421"/>
                    <a:gd name="connsiteX1" fmla="*/ 9091 w 18362"/>
                    <a:gd name="connsiteY1" fmla="*/ 18421 h 18421"/>
                    <a:gd name="connsiteX2" fmla="*/ 18362 w 18362"/>
                    <a:gd name="connsiteY2" fmla="*/ 9331 h 18421"/>
                    <a:gd name="connsiteX3" fmla="*/ 9271 w 18362"/>
                    <a:gd name="connsiteY3" fmla="*/ 1 h 18421"/>
                    <a:gd name="connsiteX4" fmla="*/ 1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091"/>
                      </a:moveTo>
                      <a:cubicBezTo>
                        <a:pt x="-59" y="14175"/>
                        <a:pt x="4008" y="18362"/>
                        <a:pt x="9091" y="18421"/>
                      </a:cubicBezTo>
                      <a:cubicBezTo>
                        <a:pt x="14175" y="18481"/>
                        <a:pt x="18302" y="14414"/>
                        <a:pt x="18362" y="9331"/>
                      </a:cubicBezTo>
                      <a:cubicBezTo>
                        <a:pt x="18421" y="4247"/>
                        <a:pt x="14355" y="61"/>
                        <a:pt x="9271" y="1"/>
                      </a:cubicBezTo>
                      <a:cubicBezTo>
                        <a:pt x="4187" y="-59"/>
                        <a:pt x="61" y="4008"/>
                        <a:pt x="1" y="9091"/>
                      </a:cubicBezTo>
                      <a:close/>
                    </a:path>
                  </a:pathLst>
                </a:custGeom>
                <a:grpFill/>
                <a:ln w="5978" cap="flat">
                  <a:noFill/>
                  <a:prstDash val="solid"/>
                  <a:miter/>
                </a:ln>
              </p:spPr>
              <p:txBody>
                <a:bodyPr rtlCol="0" anchor="ctr"/>
                <a:lstStyle/>
                <a:p>
                  <a:endParaRPr lang="en-GB"/>
                </a:p>
              </p:txBody>
            </p:sp>
          </p:grpSp>
          <p:grpSp>
            <p:nvGrpSpPr>
              <p:cNvPr id="533" name="Graphic 3">
                <a:extLst>
                  <a:ext uri="{FF2B5EF4-FFF2-40B4-BE49-F238E27FC236}">
                    <a16:creationId xmlns:a16="http://schemas.microsoft.com/office/drawing/2014/main" id="{624CA216-4D94-4A6E-A4E9-721A2EF776DE}"/>
                  </a:ext>
                </a:extLst>
              </p:cNvPr>
              <p:cNvGrpSpPr/>
              <p:nvPr/>
            </p:nvGrpSpPr>
            <p:grpSpPr>
              <a:xfrm>
                <a:off x="7111070" y="4707981"/>
                <a:ext cx="109786" cy="130096"/>
                <a:chOff x="7111070" y="4707981"/>
                <a:chExt cx="109786" cy="130096"/>
              </a:xfrm>
              <a:grpFill/>
            </p:grpSpPr>
            <p:sp>
              <p:nvSpPr>
                <p:cNvPr id="3788" name="Vrije vorm: vorm 3787">
                  <a:extLst>
                    <a:ext uri="{FF2B5EF4-FFF2-40B4-BE49-F238E27FC236}">
                      <a16:creationId xmlns:a16="http://schemas.microsoft.com/office/drawing/2014/main" id="{CECE14C2-EBB7-424E-AFB7-6CDB3A7DCD1F}"/>
                    </a:ext>
                  </a:extLst>
                </p:cNvPr>
                <p:cNvSpPr/>
                <p:nvPr/>
              </p:nvSpPr>
              <p:spPr>
                <a:xfrm>
                  <a:off x="7118753" y="4715899"/>
                  <a:ext cx="94435" cy="114291"/>
                </a:xfrm>
                <a:custGeom>
                  <a:avLst/>
                  <a:gdLst>
                    <a:gd name="connsiteX0" fmla="*/ 94436 w 94435"/>
                    <a:gd name="connsiteY0" fmla="*/ 112378 h 114291"/>
                    <a:gd name="connsiteX1" fmla="*/ 92043 w 94435"/>
                    <a:gd name="connsiteY1" fmla="*/ 114291 h 114291"/>
                    <a:gd name="connsiteX2" fmla="*/ 0 w 94435"/>
                    <a:gd name="connsiteY2" fmla="*/ 1914 h 114291"/>
                    <a:gd name="connsiteX3" fmla="*/ 2333 w 94435"/>
                    <a:gd name="connsiteY3" fmla="*/ 0 h 114291"/>
                  </a:gdLst>
                  <a:ahLst/>
                  <a:cxnLst>
                    <a:cxn ang="0">
                      <a:pos x="connsiteX0" y="connsiteY0"/>
                    </a:cxn>
                    <a:cxn ang="0">
                      <a:pos x="connsiteX1" y="connsiteY1"/>
                    </a:cxn>
                    <a:cxn ang="0">
                      <a:pos x="connsiteX2" y="connsiteY2"/>
                    </a:cxn>
                    <a:cxn ang="0">
                      <a:pos x="connsiteX3" y="connsiteY3"/>
                    </a:cxn>
                  </a:cxnLst>
                  <a:rect l="l" t="t" r="r" b="b"/>
                  <a:pathLst>
                    <a:path w="94435" h="114291">
                      <a:moveTo>
                        <a:pt x="94436" y="112378"/>
                      </a:moveTo>
                      <a:lnTo>
                        <a:pt x="92043" y="114291"/>
                      </a:lnTo>
                      <a:lnTo>
                        <a:pt x="0" y="1914"/>
                      </a:lnTo>
                      <a:lnTo>
                        <a:pt x="2333" y="0"/>
                      </a:lnTo>
                      <a:close/>
                    </a:path>
                  </a:pathLst>
                </a:custGeom>
                <a:grpFill/>
                <a:ln w="5978" cap="flat">
                  <a:noFill/>
                  <a:prstDash val="solid"/>
                  <a:miter/>
                </a:ln>
              </p:spPr>
              <p:txBody>
                <a:bodyPr rtlCol="0" anchor="ctr"/>
                <a:lstStyle/>
                <a:p>
                  <a:endParaRPr lang="en-GB"/>
                </a:p>
              </p:txBody>
            </p:sp>
            <p:sp>
              <p:nvSpPr>
                <p:cNvPr id="3789" name="Vrije vorm: vorm 3788">
                  <a:extLst>
                    <a:ext uri="{FF2B5EF4-FFF2-40B4-BE49-F238E27FC236}">
                      <a16:creationId xmlns:a16="http://schemas.microsoft.com/office/drawing/2014/main" id="{52FCE6E7-8558-447E-9DD7-4FDC5CF90C95}"/>
                    </a:ext>
                  </a:extLst>
                </p:cNvPr>
                <p:cNvSpPr/>
                <p:nvPr/>
              </p:nvSpPr>
              <p:spPr>
                <a:xfrm>
                  <a:off x="7202466" y="4819652"/>
                  <a:ext cx="18389" cy="18425"/>
                </a:xfrm>
                <a:custGeom>
                  <a:avLst/>
                  <a:gdLst>
                    <a:gd name="connsiteX0" fmla="*/ 16285 w 18389"/>
                    <a:gd name="connsiteY0" fmla="*/ 3361 h 18425"/>
                    <a:gd name="connsiteX1" fmla="*/ 15028 w 18389"/>
                    <a:gd name="connsiteY1" fmla="*/ 16339 h 18425"/>
                    <a:gd name="connsiteX2" fmla="*/ 2111 w 18389"/>
                    <a:gd name="connsiteY2" fmla="*/ 15083 h 18425"/>
                    <a:gd name="connsiteX3" fmla="*/ 3306 w 18389"/>
                    <a:gd name="connsiteY3" fmla="*/ 2105 h 18425"/>
                    <a:gd name="connsiteX4" fmla="*/ 16285 w 18389"/>
                    <a:gd name="connsiteY4" fmla="*/ 3361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9" h="18425">
                      <a:moveTo>
                        <a:pt x="16285" y="3361"/>
                      </a:moveTo>
                      <a:cubicBezTo>
                        <a:pt x="19514" y="7308"/>
                        <a:pt x="18976" y="13110"/>
                        <a:pt x="15028" y="16339"/>
                      </a:cubicBezTo>
                      <a:cubicBezTo>
                        <a:pt x="11141" y="19569"/>
                        <a:pt x="5340" y="18971"/>
                        <a:pt x="2111" y="15083"/>
                      </a:cubicBezTo>
                      <a:cubicBezTo>
                        <a:pt x="-1119" y="11136"/>
                        <a:pt x="-581" y="5335"/>
                        <a:pt x="3306" y="2105"/>
                      </a:cubicBezTo>
                      <a:cubicBezTo>
                        <a:pt x="7314" y="-1124"/>
                        <a:pt x="13055" y="-586"/>
                        <a:pt x="16285" y="3361"/>
                      </a:cubicBezTo>
                      <a:close/>
                    </a:path>
                  </a:pathLst>
                </a:custGeom>
                <a:grpFill/>
                <a:ln w="5978" cap="flat">
                  <a:noFill/>
                  <a:prstDash val="solid"/>
                  <a:miter/>
                </a:ln>
              </p:spPr>
              <p:txBody>
                <a:bodyPr rtlCol="0" anchor="ctr"/>
                <a:lstStyle/>
                <a:p>
                  <a:endParaRPr lang="en-GB"/>
                </a:p>
              </p:txBody>
            </p:sp>
            <p:sp>
              <p:nvSpPr>
                <p:cNvPr id="3790" name="Vrije vorm: vorm 3789">
                  <a:extLst>
                    <a:ext uri="{FF2B5EF4-FFF2-40B4-BE49-F238E27FC236}">
                      <a16:creationId xmlns:a16="http://schemas.microsoft.com/office/drawing/2014/main" id="{801647B7-D464-449D-8158-83B8C55EF916}"/>
                    </a:ext>
                  </a:extLst>
                </p:cNvPr>
                <p:cNvSpPr/>
                <p:nvPr/>
              </p:nvSpPr>
              <p:spPr>
                <a:xfrm>
                  <a:off x="7111070" y="4707981"/>
                  <a:ext cx="18321" cy="18395"/>
                </a:xfrm>
                <a:custGeom>
                  <a:avLst/>
                  <a:gdLst>
                    <a:gd name="connsiteX0" fmla="*/ 16236 w 18321"/>
                    <a:gd name="connsiteY0" fmla="*/ 3372 h 18395"/>
                    <a:gd name="connsiteX1" fmla="*/ 3317 w 18321"/>
                    <a:gd name="connsiteY1" fmla="*/ 2056 h 18395"/>
                    <a:gd name="connsiteX2" fmla="*/ 2061 w 18321"/>
                    <a:gd name="connsiteY2" fmla="*/ 15034 h 18395"/>
                    <a:gd name="connsiteX3" fmla="*/ 14980 w 18321"/>
                    <a:gd name="connsiteY3" fmla="*/ 16290 h 18395"/>
                    <a:gd name="connsiteX4" fmla="*/ 16236 w 18321"/>
                    <a:gd name="connsiteY4" fmla="*/ 3372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95">
                      <a:moveTo>
                        <a:pt x="16236" y="3372"/>
                      </a:moveTo>
                      <a:cubicBezTo>
                        <a:pt x="13006" y="-575"/>
                        <a:pt x="7265" y="-1114"/>
                        <a:pt x="3317" y="2056"/>
                      </a:cubicBezTo>
                      <a:cubicBezTo>
                        <a:pt x="-571" y="5286"/>
                        <a:pt x="-1109" y="11087"/>
                        <a:pt x="2061" y="15034"/>
                      </a:cubicBezTo>
                      <a:cubicBezTo>
                        <a:pt x="5291" y="18981"/>
                        <a:pt x="11032" y="19520"/>
                        <a:pt x="14980" y="16290"/>
                      </a:cubicBezTo>
                      <a:cubicBezTo>
                        <a:pt x="18867" y="13120"/>
                        <a:pt x="19465" y="7319"/>
                        <a:pt x="16236" y="3372"/>
                      </a:cubicBezTo>
                      <a:close/>
                    </a:path>
                  </a:pathLst>
                </a:custGeom>
                <a:grpFill/>
                <a:ln w="5978" cap="flat">
                  <a:noFill/>
                  <a:prstDash val="solid"/>
                  <a:miter/>
                </a:ln>
              </p:spPr>
              <p:txBody>
                <a:bodyPr rtlCol="0" anchor="ctr"/>
                <a:lstStyle/>
                <a:p>
                  <a:endParaRPr lang="en-GB"/>
                </a:p>
              </p:txBody>
            </p:sp>
          </p:grpSp>
          <p:grpSp>
            <p:nvGrpSpPr>
              <p:cNvPr id="534" name="Graphic 3">
                <a:extLst>
                  <a:ext uri="{FF2B5EF4-FFF2-40B4-BE49-F238E27FC236}">
                    <a16:creationId xmlns:a16="http://schemas.microsoft.com/office/drawing/2014/main" id="{06F07A23-5461-4A1F-97C4-ADF5C2754044}"/>
                  </a:ext>
                </a:extLst>
              </p:cNvPr>
              <p:cNvGrpSpPr/>
              <p:nvPr/>
            </p:nvGrpSpPr>
            <p:grpSpPr>
              <a:xfrm>
                <a:off x="6024460" y="1247977"/>
                <a:ext cx="20216" cy="206754"/>
                <a:chOff x="6024460" y="1247977"/>
                <a:chExt cx="20216" cy="206754"/>
              </a:xfrm>
              <a:grpFill/>
            </p:grpSpPr>
            <p:sp>
              <p:nvSpPr>
                <p:cNvPr id="3785" name="Vrije vorm: vorm 3784">
                  <a:extLst>
                    <a:ext uri="{FF2B5EF4-FFF2-40B4-BE49-F238E27FC236}">
                      <a16:creationId xmlns:a16="http://schemas.microsoft.com/office/drawing/2014/main" id="{5BBC8853-589C-4969-A8A3-E9DDB2CBB47F}"/>
                    </a:ext>
                  </a:extLst>
                </p:cNvPr>
                <p:cNvSpPr/>
                <p:nvPr/>
              </p:nvSpPr>
              <p:spPr>
                <a:xfrm>
                  <a:off x="6032116" y="1256709"/>
                  <a:ext cx="4904" cy="189289"/>
                </a:xfrm>
                <a:custGeom>
                  <a:avLst/>
                  <a:gdLst>
                    <a:gd name="connsiteX0" fmla="*/ 3050 w 4904"/>
                    <a:gd name="connsiteY0" fmla="*/ 0 h 189289"/>
                    <a:gd name="connsiteX1" fmla="*/ 4904 w 4904"/>
                    <a:gd name="connsiteY1" fmla="*/ 189290 h 189289"/>
                    <a:gd name="connsiteX2" fmla="*/ 1854 w 4904"/>
                    <a:gd name="connsiteY2" fmla="*/ 189290 h 189289"/>
                    <a:gd name="connsiteX3" fmla="*/ 0 w 4904"/>
                    <a:gd name="connsiteY3" fmla="*/ 0 h 189289"/>
                  </a:gdLst>
                  <a:ahLst/>
                  <a:cxnLst>
                    <a:cxn ang="0">
                      <a:pos x="connsiteX0" y="connsiteY0"/>
                    </a:cxn>
                    <a:cxn ang="0">
                      <a:pos x="connsiteX1" y="connsiteY1"/>
                    </a:cxn>
                    <a:cxn ang="0">
                      <a:pos x="connsiteX2" y="connsiteY2"/>
                    </a:cxn>
                    <a:cxn ang="0">
                      <a:pos x="connsiteX3" y="connsiteY3"/>
                    </a:cxn>
                  </a:cxnLst>
                  <a:rect l="l" t="t" r="r" b="b"/>
                  <a:pathLst>
                    <a:path w="4904" h="189289">
                      <a:moveTo>
                        <a:pt x="3050" y="0"/>
                      </a:moveTo>
                      <a:lnTo>
                        <a:pt x="4904" y="189290"/>
                      </a:lnTo>
                      <a:lnTo>
                        <a:pt x="1854" y="189290"/>
                      </a:lnTo>
                      <a:lnTo>
                        <a:pt x="0" y="0"/>
                      </a:lnTo>
                      <a:close/>
                    </a:path>
                  </a:pathLst>
                </a:custGeom>
                <a:grpFill/>
                <a:ln w="5978" cap="flat">
                  <a:noFill/>
                  <a:prstDash val="solid"/>
                  <a:miter/>
                </a:ln>
              </p:spPr>
              <p:txBody>
                <a:bodyPr rtlCol="0" anchor="ctr"/>
                <a:lstStyle/>
                <a:p>
                  <a:endParaRPr lang="en-GB"/>
                </a:p>
              </p:txBody>
            </p:sp>
            <p:sp>
              <p:nvSpPr>
                <p:cNvPr id="3786" name="Vrije vorm: vorm 3785">
                  <a:extLst>
                    <a:ext uri="{FF2B5EF4-FFF2-40B4-BE49-F238E27FC236}">
                      <a16:creationId xmlns:a16="http://schemas.microsoft.com/office/drawing/2014/main" id="{60B1F58F-A352-4644-8C00-BFB8E44DAE69}"/>
                    </a:ext>
                  </a:extLst>
                </p:cNvPr>
                <p:cNvSpPr/>
                <p:nvPr/>
              </p:nvSpPr>
              <p:spPr>
                <a:xfrm>
                  <a:off x="6024460" y="1247977"/>
                  <a:ext cx="18362" cy="18421"/>
                </a:xfrm>
                <a:custGeom>
                  <a:avLst/>
                  <a:gdLst>
                    <a:gd name="connsiteX0" fmla="*/ 1 w 18362"/>
                    <a:gd name="connsiteY0" fmla="*/ 9271 h 18421"/>
                    <a:gd name="connsiteX1" fmla="*/ 9091 w 18362"/>
                    <a:gd name="connsiteY1" fmla="*/ 1 h 18421"/>
                    <a:gd name="connsiteX2" fmla="*/ 18362 w 18362"/>
                    <a:gd name="connsiteY2" fmla="*/ 9151 h 18421"/>
                    <a:gd name="connsiteX3" fmla="*/ 9271 w 18362"/>
                    <a:gd name="connsiteY3" fmla="*/ 1842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59" y="4187"/>
                        <a:pt x="4008" y="60"/>
                        <a:pt x="9091" y="1"/>
                      </a:cubicBezTo>
                      <a:cubicBezTo>
                        <a:pt x="14175" y="-59"/>
                        <a:pt x="18302" y="4068"/>
                        <a:pt x="18362" y="9151"/>
                      </a:cubicBezTo>
                      <a:cubicBezTo>
                        <a:pt x="18421" y="14235"/>
                        <a:pt x="14355" y="18361"/>
                        <a:pt x="9271" y="18421"/>
                      </a:cubicBezTo>
                      <a:cubicBezTo>
                        <a:pt x="4187" y="18481"/>
                        <a:pt x="61" y="14354"/>
                        <a:pt x="1" y="9271"/>
                      </a:cubicBezTo>
                      <a:close/>
                    </a:path>
                  </a:pathLst>
                </a:custGeom>
                <a:grpFill/>
                <a:ln w="5978" cap="flat">
                  <a:noFill/>
                  <a:prstDash val="solid"/>
                  <a:miter/>
                </a:ln>
              </p:spPr>
              <p:txBody>
                <a:bodyPr rtlCol="0" anchor="ctr"/>
                <a:lstStyle/>
                <a:p>
                  <a:endParaRPr lang="en-GB"/>
                </a:p>
              </p:txBody>
            </p:sp>
            <p:sp>
              <p:nvSpPr>
                <p:cNvPr id="3787" name="Vrije vorm: vorm 3786">
                  <a:extLst>
                    <a:ext uri="{FF2B5EF4-FFF2-40B4-BE49-F238E27FC236}">
                      <a16:creationId xmlns:a16="http://schemas.microsoft.com/office/drawing/2014/main" id="{82602ECB-717A-4B04-9375-4E6A1EB03FE6}"/>
                    </a:ext>
                  </a:extLst>
                </p:cNvPr>
                <p:cNvSpPr/>
                <p:nvPr/>
              </p:nvSpPr>
              <p:spPr>
                <a:xfrm>
                  <a:off x="6026314" y="1436310"/>
                  <a:ext cx="18361" cy="18421"/>
                </a:xfrm>
                <a:custGeom>
                  <a:avLst/>
                  <a:gdLst>
                    <a:gd name="connsiteX0" fmla="*/ 0 w 18361"/>
                    <a:gd name="connsiteY0" fmla="*/ 9271 h 18421"/>
                    <a:gd name="connsiteX1" fmla="*/ 9270 w 18361"/>
                    <a:gd name="connsiteY1" fmla="*/ 18421 h 18421"/>
                    <a:gd name="connsiteX2" fmla="*/ 18361 w 18361"/>
                    <a:gd name="connsiteY2" fmla="*/ 9151 h 18421"/>
                    <a:gd name="connsiteX3" fmla="*/ 9091 w 18361"/>
                    <a:gd name="connsiteY3" fmla="*/ 1 h 18421"/>
                    <a:gd name="connsiteX4" fmla="*/ 0 w 18361"/>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0" y="9271"/>
                      </a:moveTo>
                      <a:cubicBezTo>
                        <a:pt x="60" y="14354"/>
                        <a:pt x="4187" y="18481"/>
                        <a:pt x="9270" y="18421"/>
                      </a:cubicBezTo>
                      <a:cubicBezTo>
                        <a:pt x="14354" y="18421"/>
                        <a:pt x="18421" y="14235"/>
                        <a:pt x="18361" y="9151"/>
                      </a:cubicBezTo>
                      <a:cubicBezTo>
                        <a:pt x="18301" y="4068"/>
                        <a:pt x="14174" y="-59"/>
                        <a:pt x="9091" y="1"/>
                      </a:cubicBezTo>
                      <a:cubicBezTo>
                        <a:pt x="4067" y="60"/>
                        <a:pt x="0" y="4187"/>
                        <a:pt x="0" y="9271"/>
                      </a:cubicBezTo>
                      <a:close/>
                    </a:path>
                  </a:pathLst>
                </a:custGeom>
                <a:grpFill/>
                <a:ln w="5978" cap="flat">
                  <a:noFill/>
                  <a:prstDash val="solid"/>
                  <a:miter/>
                </a:ln>
              </p:spPr>
              <p:txBody>
                <a:bodyPr rtlCol="0" anchor="ctr"/>
                <a:lstStyle/>
                <a:p>
                  <a:endParaRPr lang="en-GB"/>
                </a:p>
              </p:txBody>
            </p:sp>
          </p:grpSp>
          <p:grpSp>
            <p:nvGrpSpPr>
              <p:cNvPr id="535" name="Graphic 3">
                <a:extLst>
                  <a:ext uri="{FF2B5EF4-FFF2-40B4-BE49-F238E27FC236}">
                    <a16:creationId xmlns:a16="http://schemas.microsoft.com/office/drawing/2014/main" id="{EA5A909C-8B03-4F17-8110-460BE3996254}"/>
                  </a:ext>
                </a:extLst>
              </p:cNvPr>
              <p:cNvGrpSpPr/>
              <p:nvPr/>
            </p:nvGrpSpPr>
            <p:grpSpPr>
              <a:xfrm>
                <a:off x="6122773" y="1643532"/>
                <a:ext cx="22209" cy="102650"/>
                <a:chOff x="6122773" y="1643532"/>
                <a:chExt cx="22209" cy="102650"/>
              </a:xfrm>
              <a:grpFill/>
            </p:grpSpPr>
            <p:sp>
              <p:nvSpPr>
                <p:cNvPr id="3782" name="Vrije vorm: vorm 3781">
                  <a:extLst>
                    <a:ext uri="{FF2B5EF4-FFF2-40B4-BE49-F238E27FC236}">
                      <a16:creationId xmlns:a16="http://schemas.microsoft.com/office/drawing/2014/main" id="{01AF7659-FCE2-420F-9208-1CA3D3C65E0A}"/>
                    </a:ext>
                  </a:extLst>
                </p:cNvPr>
                <p:cNvSpPr/>
                <p:nvPr/>
              </p:nvSpPr>
              <p:spPr>
                <a:xfrm>
                  <a:off x="6130439" y="1652155"/>
                  <a:ext cx="6937" cy="85344"/>
                </a:xfrm>
                <a:custGeom>
                  <a:avLst/>
                  <a:gdLst>
                    <a:gd name="connsiteX0" fmla="*/ 6937 w 6937"/>
                    <a:gd name="connsiteY0" fmla="*/ 179 h 85344"/>
                    <a:gd name="connsiteX1" fmla="*/ 2990 w 6937"/>
                    <a:gd name="connsiteY1" fmla="*/ 85345 h 85344"/>
                    <a:gd name="connsiteX2" fmla="*/ 0 w 6937"/>
                    <a:gd name="connsiteY2" fmla="*/ 85165 h 85344"/>
                    <a:gd name="connsiteX3" fmla="*/ 3887 w 6937"/>
                    <a:gd name="connsiteY3" fmla="*/ 0 h 85344"/>
                  </a:gdLst>
                  <a:ahLst/>
                  <a:cxnLst>
                    <a:cxn ang="0">
                      <a:pos x="connsiteX0" y="connsiteY0"/>
                    </a:cxn>
                    <a:cxn ang="0">
                      <a:pos x="connsiteX1" y="connsiteY1"/>
                    </a:cxn>
                    <a:cxn ang="0">
                      <a:pos x="connsiteX2" y="connsiteY2"/>
                    </a:cxn>
                    <a:cxn ang="0">
                      <a:pos x="connsiteX3" y="connsiteY3"/>
                    </a:cxn>
                  </a:cxnLst>
                  <a:rect l="l" t="t" r="r" b="b"/>
                  <a:pathLst>
                    <a:path w="6937" h="85344">
                      <a:moveTo>
                        <a:pt x="6937" y="179"/>
                      </a:moveTo>
                      <a:lnTo>
                        <a:pt x="2990" y="85345"/>
                      </a:lnTo>
                      <a:lnTo>
                        <a:pt x="0" y="85165"/>
                      </a:lnTo>
                      <a:lnTo>
                        <a:pt x="3887" y="0"/>
                      </a:lnTo>
                      <a:close/>
                    </a:path>
                  </a:pathLst>
                </a:custGeom>
                <a:grpFill/>
                <a:ln w="5978" cap="flat">
                  <a:noFill/>
                  <a:prstDash val="solid"/>
                  <a:miter/>
                </a:ln>
              </p:spPr>
              <p:txBody>
                <a:bodyPr rtlCol="0" anchor="ctr"/>
                <a:lstStyle/>
                <a:p>
                  <a:endParaRPr lang="en-GB"/>
                </a:p>
              </p:txBody>
            </p:sp>
            <p:sp>
              <p:nvSpPr>
                <p:cNvPr id="3783" name="Vrije vorm: vorm 3782">
                  <a:extLst>
                    <a:ext uri="{FF2B5EF4-FFF2-40B4-BE49-F238E27FC236}">
                      <a16:creationId xmlns:a16="http://schemas.microsoft.com/office/drawing/2014/main" id="{FD550DAD-107B-49B8-B714-4E4364C6CA19}"/>
                    </a:ext>
                  </a:extLst>
                </p:cNvPr>
                <p:cNvSpPr/>
                <p:nvPr/>
              </p:nvSpPr>
              <p:spPr>
                <a:xfrm>
                  <a:off x="6126661" y="1643532"/>
                  <a:ext cx="18321" cy="18441"/>
                </a:xfrm>
                <a:custGeom>
                  <a:avLst/>
                  <a:gdLst>
                    <a:gd name="connsiteX0" fmla="*/ 10 w 18321"/>
                    <a:gd name="connsiteY0" fmla="*/ 8742 h 18441"/>
                    <a:gd name="connsiteX1" fmla="*/ 9580 w 18321"/>
                    <a:gd name="connsiteY1" fmla="*/ 10 h 18441"/>
                    <a:gd name="connsiteX2" fmla="*/ 18311 w 18321"/>
                    <a:gd name="connsiteY2" fmla="*/ 9699 h 18441"/>
                    <a:gd name="connsiteX3" fmla="*/ 8742 w 18321"/>
                    <a:gd name="connsiteY3" fmla="*/ 18431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50" y="3659"/>
                        <a:pt x="4556" y="-229"/>
                        <a:pt x="9580" y="10"/>
                      </a:cubicBezTo>
                      <a:cubicBezTo>
                        <a:pt x="14663" y="250"/>
                        <a:pt x="18551" y="4616"/>
                        <a:pt x="18311" y="9699"/>
                      </a:cubicBezTo>
                      <a:cubicBezTo>
                        <a:pt x="18072" y="14783"/>
                        <a:pt x="13766" y="18670"/>
                        <a:pt x="8742" y="18431"/>
                      </a:cubicBezTo>
                      <a:cubicBezTo>
                        <a:pt x="3659" y="18132"/>
                        <a:pt x="-229" y="13826"/>
                        <a:pt x="10" y="8742"/>
                      </a:cubicBezTo>
                      <a:close/>
                    </a:path>
                  </a:pathLst>
                </a:custGeom>
                <a:grpFill/>
                <a:ln w="5978" cap="flat">
                  <a:noFill/>
                  <a:prstDash val="solid"/>
                  <a:miter/>
                </a:ln>
              </p:spPr>
              <p:txBody>
                <a:bodyPr rtlCol="0" anchor="ctr"/>
                <a:lstStyle/>
                <a:p>
                  <a:endParaRPr lang="en-GB"/>
                </a:p>
              </p:txBody>
            </p:sp>
            <p:sp>
              <p:nvSpPr>
                <p:cNvPr id="3784" name="Vrije vorm: vorm 3783">
                  <a:extLst>
                    <a:ext uri="{FF2B5EF4-FFF2-40B4-BE49-F238E27FC236}">
                      <a16:creationId xmlns:a16="http://schemas.microsoft.com/office/drawing/2014/main" id="{F39CF41F-B2EB-42EF-855D-4575C67B01E0}"/>
                    </a:ext>
                  </a:extLst>
                </p:cNvPr>
                <p:cNvSpPr/>
                <p:nvPr/>
              </p:nvSpPr>
              <p:spPr>
                <a:xfrm>
                  <a:off x="6122773" y="1727741"/>
                  <a:ext cx="18321" cy="18441"/>
                </a:xfrm>
                <a:custGeom>
                  <a:avLst/>
                  <a:gdLst>
                    <a:gd name="connsiteX0" fmla="*/ 10 w 18321"/>
                    <a:gd name="connsiteY0" fmla="*/ 8742 h 18441"/>
                    <a:gd name="connsiteX1" fmla="*/ 8742 w 18321"/>
                    <a:gd name="connsiteY1" fmla="*/ 18431 h 18441"/>
                    <a:gd name="connsiteX2" fmla="*/ 18311 w 18321"/>
                    <a:gd name="connsiteY2" fmla="*/ 9699 h 18441"/>
                    <a:gd name="connsiteX3" fmla="*/ 9580 w 18321"/>
                    <a:gd name="connsiteY3" fmla="*/ 10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29" y="13826"/>
                        <a:pt x="3718" y="18132"/>
                        <a:pt x="8742" y="18431"/>
                      </a:cubicBezTo>
                      <a:cubicBezTo>
                        <a:pt x="13826" y="18670"/>
                        <a:pt x="18072" y="14783"/>
                        <a:pt x="18311" y="9699"/>
                      </a:cubicBezTo>
                      <a:cubicBezTo>
                        <a:pt x="18551" y="4616"/>
                        <a:pt x="14603" y="309"/>
                        <a:pt x="9580" y="10"/>
                      </a:cubicBezTo>
                      <a:cubicBezTo>
                        <a:pt x="4556" y="-229"/>
                        <a:pt x="250" y="3659"/>
                        <a:pt x="10" y="8742"/>
                      </a:cubicBezTo>
                      <a:close/>
                    </a:path>
                  </a:pathLst>
                </a:custGeom>
                <a:grpFill/>
                <a:ln w="5978" cap="flat">
                  <a:noFill/>
                  <a:prstDash val="solid"/>
                  <a:miter/>
                </a:ln>
              </p:spPr>
              <p:txBody>
                <a:bodyPr rtlCol="0" anchor="ctr"/>
                <a:lstStyle/>
                <a:p>
                  <a:endParaRPr lang="en-GB"/>
                </a:p>
              </p:txBody>
            </p:sp>
          </p:grpSp>
          <p:grpSp>
            <p:nvGrpSpPr>
              <p:cNvPr id="536" name="Graphic 3">
                <a:extLst>
                  <a:ext uri="{FF2B5EF4-FFF2-40B4-BE49-F238E27FC236}">
                    <a16:creationId xmlns:a16="http://schemas.microsoft.com/office/drawing/2014/main" id="{E7D2B30A-17A9-4CC6-9B8C-D586CFF63AE5}"/>
                  </a:ext>
                </a:extLst>
              </p:cNvPr>
              <p:cNvGrpSpPr/>
              <p:nvPr/>
            </p:nvGrpSpPr>
            <p:grpSpPr>
              <a:xfrm>
                <a:off x="7086112" y="4728059"/>
                <a:ext cx="235953" cy="354184"/>
                <a:chOff x="7086112" y="4728059"/>
                <a:chExt cx="235953" cy="354184"/>
              </a:xfrm>
              <a:grpFill/>
            </p:grpSpPr>
            <p:sp>
              <p:nvSpPr>
                <p:cNvPr id="3779" name="Vrije vorm: vorm 3778">
                  <a:extLst>
                    <a:ext uri="{FF2B5EF4-FFF2-40B4-BE49-F238E27FC236}">
                      <a16:creationId xmlns:a16="http://schemas.microsoft.com/office/drawing/2014/main" id="{5899F112-9157-4338-AFE8-5E1DA4240E96}"/>
                    </a:ext>
                  </a:extLst>
                </p:cNvPr>
                <p:cNvSpPr/>
                <p:nvPr/>
              </p:nvSpPr>
              <p:spPr>
                <a:xfrm>
                  <a:off x="7093694" y="4736054"/>
                  <a:ext cx="220748" cy="338209"/>
                </a:xfrm>
                <a:custGeom>
                  <a:avLst/>
                  <a:gdLst>
                    <a:gd name="connsiteX0" fmla="*/ 220749 w 220748"/>
                    <a:gd name="connsiteY0" fmla="*/ 336535 h 338209"/>
                    <a:gd name="connsiteX1" fmla="*/ 218177 w 220748"/>
                    <a:gd name="connsiteY1" fmla="*/ 338210 h 338209"/>
                    <a:gd name="connsiteX2" fmla="*/ 0 w 220748"/>
                    <a:gd name="connsiteY2" fmla="*/ 1615 h 338209"/>
                    <a:gd name="connsiteX3" fmla="*/ 2571 w 220748"/>
                    <a:gd name="connsiteY3" fmla="*/ 0 h 338209"/>
                  </a:gdLst>
                  <a:ahLst/>
                  <a:cxnLst>
                    <a:cxn ang="0">
                      <a:pos x="connsiteX0" y="connsiteY0"/>
                    </a:cxn>
                    <a:cxn ang="0">
                      <a:pos x="connsiteX1" y="connsiteY1"/>
                    </a:cxn>
                    <a:cxn ang="0">
                      <a:pos x="connsiteX2" y="connsiteY2"/>
                    </a:cxn>
                    <a:cxn ang="0">
                      <a:pos x="connsiteX3" y="connsiteY3"/>
                    </a:cxn>
                  </a:cxnLst>
                  <a:rect l="l" t="t" r="r" b="b"/>
                  <a:pathLst>
                    <a:path w="220748" h="338209">
                      <a:moveTo>
                        <a:pt x="220749" y="336535"/>
                      </a:moveTo>
                      <a:lnTo>
                        <a:pt x="218177" y="338210"/>
                      </a:lnTo>
                      <a:lnTo>
                        <a:pt x="0" y="1615"/>
                      </a:lnTo>
                      <a:lnTo>
                        <a:pt x="2571" y="0"/>
                      </a:lnTo>
                      <a:close/>
                    </a:path>
                  </a:pathLst>
                </a:custGeom>
                <a:grpFill/>
                <a:ln w="5978" cap="flat">
                  <a:noFill/>
                  <a:prstDash val="solid"/>
                  <a:miter/>
                </a:ln>
              </p:spPr>
              <p:txBody>
                <a:bodyPr rtlCol="0" anchor="ctr"/>
                <a:lstStyle/>
                <a:p>
                  <a:endParaRPr lang="en-GB"/>
                </a:p>
              </p:txBody>
            </p:sp>
            <p:sp>
              <p:nvSpPr>
                <p:cNvPr id="3780" name="Vrije vorm: vorm 3779">
                  <a:extLst>
                    <a:ext uri="{FF2B5EF4-FFF2-40B4-BE49-F238E27FC236}">
                      <a16:creationId xmlns:a16="http://schemas.microsoft.com/office/drawing/2014/main" id="{C339430D-2380-4B60-AC2B-8FAE5B755931}"/>
                    </a:ext>
                  </a:extLst>
                </p:cNvPr>
                <p:cNvSpPr/>
                <p:nvPr/>
              </p:nvSpPr>
              <p:spPr>
                <a:xfrm>
                  <a:off x="7086112" y="4728059"/>
                  <a:ext cx="18273" cy="18426"/>
                </a:xfrm>
                <a:custGeom>
                  <a:avLst/>
                  <a:gdLst>
                    <a:gd name="connsiteX0" fmla="*/ 1481 w 18273"/>
                    <a:gd name="connsiteY0" fmla="*/ 14215 h 18426"/>
                    <a:gd name="connsiteX1" fmla="*/ 4113 w 18273"/>
                    <a:gd name="connsiteY1" fmla="*/ 1476 h 18426"/>
                    <a:gd name="connsiteX2" fmla="*/ 16792 w 18273"/>
                    <a:gd name="connsiteY2" fmla="*/ 4227 h 18426"/>
                    <a:gd name="connsiteX3" fmla="*/ 14160 w 18273"/>
                    <a:gd name="connsiteY3" fmla="*/ 16966 h 18426"/>
                    <a:gd name="connsiteX4" fmla="*/ 1481 w 18273"/>
                    <a:gd name="connsiteY4" fmla="*/ 142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26">
                      <a:moveTo>
                        <a:pt x="1481" y="14215"/>
                      </a:moveTo>
                      <a:cubicBezTo>
                        <a:pt x="-1270" y="9968"/>
                        <a:pt x="-74" y="4227"/>
                        <a:pt x="4113" y="1476"/>
                      </a:cubicBezTo>
                      <a:cubicBezTo>
                        <a:pt x="8359" y="-1276"/>
                        <a:pt x="14041" y="-79"/>
                        <a:pt x="16792" y="4227"/>
                      </a:cubicBezTo>
                      <a:cubicBezTo>
                        <a:pt x="19543" y="8533"/>
                        <a:pt x="18347" y="14215"/>
                        <a:pt x="14160" y="16966"/>
                      </a:cubicBezTo>
                      <a:cubicBezTo>
                        <a:pt x="9974" y="19717"/>
                        <a:pt x="4232" y="18461"/>
                        <a:pt x="1481" y="14215"/>
                      </a:cubicBezTo>
                      <a:close/>
                    </a:path>
                  </a:pathLst>
                </a:custGeom>
                <a:grpFill/>
                <a:ln w="5978" cap="flat">
                  <a:noFill/>
                  <a:prstDash val="solid"/>
                  <a:miter/>
                </a:ln>
              </p:spPr>
              <p:txBody>
                <a:bodyPr rtlCol="0" anchor="ctr"/>
                <a:lstStyle/>
                <a:p>
                  <a:endParaRPr lang="en-GB"/>
                </a:p>
              </p:txBody>
            </p:sp>
            <p:sp>
              <p:nvSpPr>
                <p:cNvPr id="3781" name="Vrije vorm: vorm 3780">
                  <a:extLst>
                    <a:ext uri="{FF2B5EF4-FFF2-40B4-BE49-F238E27FC236}">
                      <a16:creationId xmlns:a16="http://schemas.microsoft.com/office/drawing/2014/main" id="{1ABE281D-2F59-4B45-9D6E-4C6D6A9E9884}"/>
                    </a:ext>
                  </a:extLst>
                </p:cNvPr>
                <p:cNvSpPr/>
                <p:nvPr/>
              </p:nvSpPr>
              <p:spPr>
                <a:xfrm>
                  <a:off x="7303736" y="5063832"/>
                  <a:ext cx="18330" cy="18411"/>
                </a:xfrm>
                <a:custGeom>
                  <a:avLst/>
                  <a:gdLst>
                    <a:gd name="connsiteX0" fmla="*/ 1497 w 18330"/>
                    <a:gd name="connsiteY0" fmla="*/ 14200 h 18411"/>
                    <a:gd name="connsiteX1" fmla="*/ 14176 w 18330"/>
                    <a:gd name="connsiteY1" fmla="*/ 16951 h 18411"/>
                    <a:gd name="connsiteX2" fmla="*/ 16807 w 18330"/>
                    <a:gd name="connsiteY2" fmla="*/ 4212 h 18411"/>
                    <a:gd name="connsiteX3" fmla="*/ 4128 w 18330"/>
                    <a:gd name="connsiteY3" fmla="*/ 1461 h 18411"/>
                    <a:gd name="connsiteX4" fmla="*/ 1497 w 18330"/>
                    <a:gd name="connsiteY4" fmla="*/ 1420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11">
                      <a:moveTo>
                        <a:pt x="1497" y="14200"/>
                      </a:moveTo>
                      <a:cubicBezTo>
                        <a:pt x="4247" y="18446"/>
                        <a:pt x="9930" y="19702"/>
                        <a:pt x="14176" y="16951"/>
                      </a:cubicBezTo>
                      <a:cubicBezTo>
                        <a:pt x="18422" y="14200"/>
                        <a:pt x="19618" y="8458"/>
                        <a:pt x="16807" y="4212"/>
                      </a:cubicBezTo>
                      <a:cubicBezTo>
                        <a:pt x="14056" y="-35"/>
                        <a:pt x="8375" y="-1290"/>
                        <a:pt x="4128" y="1461"/>
                      </a:cubicBezTo>
                      <a:cubicBezTo>
                        <a:pt x="-118" y="4212"/>
                        <a:pt x="-1254" y="9953"/>
                        <a:pt x="1497" y="14200"/>
                      </a:cubicBezTo>
                      <a:close/>
                    </a:path>
                  </a:pathLst>
                </a:custGeom>
                <a:grpFill/>
                <a:ln w="5978" cap="flat">
                  <a:noFill/>
                  <a:prstDash val="solid"/>
                  <a:miter/>
                </a:ln>
              </p:spPr>
              <p:txBody>
                <a:bodyPr rtlCol="0" anchor="ctr"/>
                <a:lstStyle/>
                <a:p>
                  <a:endParaRPr lang="en-GB"/>
                </a:p>
              </p:txBody>
            </p:sp>
          </p:grpSp>
          <p:grpSp>
            <p:nvGrpSpPr>
              <p:cNvPr id="537" name="Graphic 3">
                <a:extLst>
                  <a:ext uri="{FF2B5EF4-FFF2-40B4-BE49-F238E27FC236}">
                    <a16:creationId xmlns:a16="http://schemas.microsoft.com/office/drawing/2014/main" id="{DEC40A7B-83BD-492B-92C3-3460481F7560}"/>
                  </a:ext>
                </a:extLst>
              </p:cNvPr>
              <p:cNvGrpSpPr/>
              <p:nvPr/>
            </p:nvGrpSpPr>
            <p:grpSpPr>
              <a:xfrm>
                <a:off x="6091622" y="1633010"/>
                <a:ext cx="20818" cy="111372"/>
                <a:chOff x="6091622" y="1633010"/>
                <a:chExt cx="20818" cy="111372"/>
              </a:xfrm>
              <a:grpFill/>
            </p:grpSpPr>
            <p:sp>
              <p:nvSpPr>
                <p:cNvPr id="3776" name="Vrije vorm: vorm 3775">
                  <a:extLst>
                    <a:ext uri="{FF2B5EF4-FFF2-40B4-BE49-F238E27FC236}">
                      <a16:creationId xmlns:a16="http://schemas.microsoft.com/office/drawing/2014/main" id="{70C2260E-A186-4E87-AA6B-6497BFA9404A}"/>
                    </a:ext>
                  </a:extLst>
                </p:cNvPr>
                <p:cNvSpPr/>
                <p:nvPr/>
              </p:nvSpPr>
              <p:spPr>
                <a:xfrm>
                  <a:off x="6099279" y="1641688"/>
                  <a:ext cx="5562" cy="93957"/>
                </a:xfrm>
                <a:custGeom>
                  <a:avLst/>
                  <a:gdLst>
                    <a:gd name="connsiteX0" fmla="*/ 5562 w 5562"/>
                    <a:gd name="connsiteY0" fmla="*/ 120 h 93957"/>
                    <a:gd name="connsiteX1" fmla="*/ 3050 w 5562"/>
                    <a:gd name="connsiteY1" fmla="*/ 93957 h 93957"/>
                    <a:gd name="connsiteX2" fmla="*/ 0 w 5562"/>
                    <a:gd name="connsiteY2" fmla="*/ 93837 h 93957"/>
                    <a:gd name="connsiteX3" fmla="*/ 2512 w 5562"/>
                    <a:gd name="connsiteY3" fmla="*/ 0 h 93957"/>
                  </a:gdLst>
                  <a:ahLst/>
                  <a:cxnLst>
                    <a:cxn ang="0">
                      <a:pos x="connsiteX0" y="connsiteY0"/>
                    </a:cxn>
                    <a:cxn ang="0">
                      <a:pos x="connsiteX1" y="connsiteY1"/>
                    </a:cxn>
                    <a:cxn ang="0">
                      <a:pos x="connsiteX2" y="connsiteY2"/>
                    </a:cxn>
                    <a:cxn ang="0">
                      <a:pos x="connsiteX3" y="connsiteY3"/>
                    </a:cxn>
                  </a:cxnLst>
                  <a:rect l="l" t="t" r="r" b="b"/>
                  <a:pathLst>
                    <a:path w="5562" h="93957">
                      <a:moveTo>
                        <a:pt x="5562" y="120"/>
                      </a:moveTo>
                      <a:lnTo>
                        <a:pt x="3050" y="93957"/>
                      </a:lnTo>
                      <a:lnTo>
                        <a:pt x="0" y="93837"/>
                      </a:lnTo>
                      <a:lnTo>
                        <a:pt x="2512" y="0"/>
                      </a:lnTo>
                      <a:close/>
                    </a:path>
                  </a:pathLst>
                </a:custGeom>
                <a:grpFill/>
                <a:ln w="5978" cap="flat">
                  <a:noFill/>
                  <a:prstDash val="solid"/>
                  <a:miter/>
                </a:ln>
              </p:spPr>
              <p:txBody>
                <a:bodyPr rtlCol="0" anchor="ctr"/>
                <a:lstStyle/>
                <a:p>
                  <a:endParaRPr lang="en-GB"/>
                </a:p>
              </p:txBody>
            </p:sp>
            <p:sp>
              <p:nvSpPr>
                <p:cNvPr id="3777" name="Vrije vorm: vorm 3776">
                  <a:extLst>
                    <a:ext uri="{FF2B5EF4-FFF2-40B4-BE49-F238E27FC236}">
                      <a16:creationId xmlns:a16="http://schemas.microsoft.com/office/drawing/2014/main" id="{48874180-B8DA-4BD5-B090-CE61BE6D3E4B}"/>
                    </a:ext>
                  </a:extLst>
                </p:cNvPr>
                <p:cNvSpPr/>
                <p:nvPr/>
              </p:nvSpPr>
              <p:spPr>
                <a:xfrm>
                  <a:off x="6094133" y="1633010"/>
                  <a:ext cx="18306" cy="18432"/>
                </a:xfrm>
                <a:custGeom>
                  <a:avLst/>
                  <a:gdLst>
                    <a:gd name="connsiteX0" fmla="*/ 3 w 18306"/>
                    <a:gd name="connsiteY0" fmla="*/ 8917 h 18432"/>
                    <a:gd name="connsiteX1" fmla="*/ 9392 w 18306"/>
                    <a:gd name="connsiteY1" fmla="*/ 6 h 18432"/>
                    <a:gd name="connsiteX2" fmla="*/ 18304 w 18306"/>
                    <a:gd name="connsiteY2" fmla="*/ 9515 h 18432"/>
                    <a:gd name="connsiteX3" fmla="*/ 8914 w 18306"/>
                    <a:gd name="connsiteY3" fmla="*/ 1842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22" y="3833"/>
                        <a:pt x="4368" y="-174"/>
                        <a:pt x="9392" y="6"/>
                      </a:cubicBezTo>
                      <a:cubicBezTo>
                        <a:pt x="14476" y="185"/>
                        <a:pt x="18423" y="4432"/>
                        <a:pt x="18304" y="9515"/>
                      </a:cubicBezTo>
                      <a:cubicBezTo>
                        <a:pt x="18184" y="14599"/>
                        <a:pt x="13938" y="18606"/>
                        <a:pt x="8914" y="18426"/>
                      </a:cubicBezTo>
                      <a:cubicBezTo>
                        <a:pt x="3890" y="18247"/>
                        <a:pt x="-117" y="14001"/>
                        <a:pt x="3" y="8917"/>
                      </a:cubicBezTo>
                      <a:close/>
                    </a:path>
                  </a:pathLst>
                </a:custGeom>
                <a:grpFill/>
                <a:ln w="5978" cap="flat">
                  <a:noFill/>
                  <a:prstDash val="solid"/>
                  <a:miter/>
                </a:ln>
              </p:spPr>
              <p:txBody>
                <a:bodyPr rtlCol="0" anchor="ctr"/>
                <a:lstStyle/>
                <a:p>
                  <a:endParaRPr lang="en-GB"/>
                </a:p>
              </p:txBody>
            </p:sp>
            <p:sp>
              <p:nvSpPr>
                <p:cNvPr id="3778" name="Vrije vorm: vorm 3777">
                  <a:extLst>
                    <a:ext uri="{FF2B5EF4-FFF2-40B4-BE49-F238E27FC236}">
                      <a16:creationId xmlns:a16="http://schemas.microsoft.com/office/drawing/2014/main" id="{584AC038-DC37-44C5-B4AD-8D439485BA78}"/>
                    </a:ext>
                  </a:extLst>
                </p:cNvPr>
                <p:cNvSpPr/>
                <p:nvPr/>
              </p:nvSpPr>
              <p:spPr>
                <a:xfrm>
                  <a:off x="6091622" y="1725951"/>
                  <a:ext cx="18306" cy="18432"/>
                </a:xfrm>
                <a:custGeom>
                  <a:avLst/>
                  <a:gdLst>
                    <a:gd name="connsiteX0" fmla="*/ 3 w 18306"/>
                    <a:gd name="connsiteY0" fmla="*/ 8917 h 18432"/>
                    <a:gd name="connsiteX1" fmla="*/ 8914 w 18306"/>
                    <a:gd name="connsiteY1" fmla="*/ 18427 h 18432"/>
                    <a:gd name="connsiteX2" fmla="*/ 18304 w 18306"/>
                    <a:gd name="connsiteY2" fmla="*/ 9515 h 18432"/>
                    <a:gd name="connsiteX3" fmla="*/ 9392 w 18306"/>
                    <a:gd name="connsiteY3" fmla="*/ 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17" y="14001"/>
                        <a:pt x="3830" y="18247"/>
                        <a:pt x="8914" y="18427"/>
                      </a:cubicBezTo>
                      <a:cubicBezTo>
                        <a:pt x="13997" y="18606"/>
                        <a:pt x="18184" y="14599"/>
                        <a:pt x="18304" y="9515"/>
                      </a:cubicBezTo>
                      <a:cubicBezTo>
                        <a:pt x="18423" y="4432"/>
                        <a:pt x="14476" y="185"/>
                        <a:pt x="9392" y="6"/>
                      </a:cubicBezTo>
                      <a:cubicBezTo>
                        <a:pt x="4368" y="-174"/>
                        <a:pt x="182" y="3774"/>
                        <a:pt x="3" y="8917"/>
                      </a:cubicBezTo>
                      <a:close/>
                    </a:path>
                  </a:pathLst>
                </a:custGeom>
                <a:grpFill/>
                <a:ln w="5978" cap="flat">
                  <a:noFill/>
                  <a:prstDash val="solid"/>
                  <a:miter/>
                </a:ln>
              </p:spPr>
              <p:txBody>
                <a:bodyPr rtlCol="0" anchor="ctr"/>
                <a:lstStyle/>
                <a:p>
                  <a:endParaRPr lang="en-GB"/>
                </a:p>
              </p:txBody>
            </p:sp>
          </p:grpSp>
          <p:grpSp>
            <p:nvGrpSpPr>
              <p:cNvPr id="538" name="Graphic 3">
                <a:extLst>
                  <a:ext uri="{FF2B5EF4-FFF2-40B4-BE49-F238E27FC236}">
                    <a16:creationId xmlns:a16="http://schemas.microsoft.com/office/drawing/2014/main" id="{39F91989-0B05-4BDF-8966-5700FC6168E8}"/>
                  </a:ext>
                </a:extLst>
              </p:cNvPr>
              <p:cNvGrpSpPr/>
              <p:nvPr/>
            </p:nvGrpSpPr>
            <p:grpSpPr>
              <a:xfrm>
                <a:off x="6029999" y="1266606"/>
                <a:ext cx="52079" cy="477675"/>
                <a:chOff x="6029999" y="1266606"/>
                <a:chExt cx="52079" cy="477675"/>
              </a:xfrm>
              <a:grpFill/>
            </p:grpSpPr>
            <p:sp>
              <p:nvSpPr>
                <p:cNvPr id="3773" name="Vrije vorm: vorm 3772">
                  <a:extLst>
                    <a:ext uri="{FF2B5EF4-FFF2-40B4-BE49-F238E27FC236}">
                      <a16:creationId xmlns:a16="http://schemas.microsoft.com/office/drawing/2014/main" id="{F5E5E677-558E-4FD7-9E18-C2821F28B85B}"/>
                    </a:ext>
                  </a:extLst>
                </p:cNvPr>
                <p:cNvSpPr/>
                <p:nvPr/>
              </p:nvSpPr>
              <p:spPr>
                <a:xfrm>
                  <a:off x="6037618" y="1275309"/>
                  <a:ext cx="36900" cy="460276"/>
                </a:xfrm>
                <a:custGeom>
                  <a:avLst/>
                  <a:gdLst>
                    <a:gd name="connsiteX0" fmla="*/ 36901 w 36900"/>
                    <a:gd name="connsiteY0" fmla="*/ 239 h 460276"/>
                    <a:gd name="connsiteX1" fmla="*/ 3050 w 36900"/>
                    <a:gd name="connsiteY1" fmla="*/ 460276 h 460276"/>
                    <a:gd name="connsiteX2" fmla="*/ 0 w 36900"/>
                    <a:gd name="connsiteY2" fmla="*/ 460097 h 460276"/>
                    <a:gd name="connsiteX3" fmla="*/ 33851 w 36900"/>
                    <a:gd name="connsiteY3" fmla="*/ 0 h 460276"/>
                  </a:gdLst>
                  <a:ahLst/>
                  <a:cxnLst>
                    <a:cxn ang="0">
                      <a:pos x="connsiteX0" y="connsiteY0"/>
                    </a:cxn>
                    <a:cxn ang="0">
                      <a:pos x="connsiteX1" y="connsiteY1"/>
                    </a:cxn>
                    <a:cxn ang="0">
                      <a:pos x="connsiteX2" y="connsiteY2"/>
                    </a:cxn>
                    <a:cxn ang="0">
                      <a:pos x="connsiteX3" y="connsiteY3"/>
                    </a:cxn>
                  </a:cxnLst>
                  <a:rect l="l" t="t" r="r" b="b"/>
                  <a:pathLst>
                    <a:path w="36900" h="460276">
                      <a:moveTo>
                        <a:pt x="36901" y="239"/>
                      </a:moveTo>
                      <a:lnTo>
                        <a:pt x="3050" y="460276"/>
                      </a:lnTo>
                      <a:lnTo>
                        <a:pt x="0" y="460097"/>
                      </a:lnTo>
                      <a:lnTo>
                        <a:pt x="33851" y="0"/>
                      </a:lnTo>
                      <a:close/>
                    </a:path>
                  </a:pathLst>
                </a:custGeom>
                <a:grpFill/>
                <a:ln w="5978" cap="flat">
                  <a:noFill/>
                  <a:prstDash val="solid"/>
                  <a:miter/>
                </a:ln>
              </p:spPr>
              <p:txBody>
                <a:bodyPr rtlCol="0" anchor="ctr"/>
                <a:lstStyle/>
                <a:p>
                  <a:endParaRPr lang="en-GB"/>
                </a:p>
              </p:txBody>
            </p:sp>
            <p:sp>
              <p:nvSpPr>
                <p:cNvPr id="3774" name="Vrije vorm: vorm 3773">
                  <a:extLst>
                    <a:ext uri="{FF2B5EF4-FFF2-40B4-BE49-F238E27FC236}">
                      <a16:creationId xmlns:a16="http://schemas.microsoft.com/office/drawing/2014/main" id="{04FFBC22-C7F8-450F-A488-4EA29FB0AAC0}"/>
                    </a:ext>
                  </a:extLst>
                </p:cNvPr>
                <p:cNvSpPr/>
                <p:nvPr/>
              </p:nvSpPr>
              <p:spPr>
                <a:xfrm>
                  <a:off x="6029999" y="1725813"/>
                  <a:ext cx="18347" cy="18467"/>
                </a:xfrm>
                <a:custGeom>
                  <a:avLst/>
                  <a:gdLst>
                    <a:gd name="connsiteX0" fmla="*/ 18324 w 18347"/>
                    <a:gd name="connsiteY0" fmla="*/ 9952 h 18467"/>
                    <a:gd name="connsiteX1" fmla="*/ 8516 w 18347"/>
                    <a:gd name="connsiteY1" fmla="*/ 18444 h 18467"/>
                    <a:gd name="connsiteX2" fmla="*/ 23 w 18347"/>
                    <a:gd name="connsiteY2" fmla="*/ 8516 h 18467"/>
                    <a:gd name="connsiteX3" fmla="*/ 9832 w 18347"/>
                    <a:gd name="connsiteY3" fmla="*/ 24 h 18467"/>
                    <a:gd name="connsiteX4" fmla="*/ 18324 w 18347"/>
                    <a:gd name="connsiteY4" fmla="*/ 995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67">
                      <a:moveTo>
                        <a:pt x="18324" y="9952"/>
                      </a:moveTo>
                      <a:cubicBezTo>
                        <a:pt x="17965" y="15035"/>
                        <a:pt x="13540" y="18803"/>
                        <a:pt x="8516" y="18444"/>
                      </a:cubicBezTo>
                      <a:cubicBezTo>
                        <a:pt x="3492" y="18026"/>
                        <a:pt x="-336" y="13600"/>
                        <a:pt x="23" y="8516"/>
                      </a:cubicBezTo>
                      <a:cubicBezTo>
                        <a:pt x="382" y="3433"/>
                        <a:pt x="4808" y="-335"/>
                        <a:pt x="9832" y="24"/>
                      </a:cubicBezTo>
                      <a:cubicBezTo>
                        <a:pt x="14856" y="442"/>
                        <a:pt x="18683" y="4868"/>
                        <a:pt x="18324" y="9952"/>
                      </a:cubicBezTo>
                      <a:close/>
                    </a:path>
                  </a:pathLst>
                </a:custGeom>
                <a:grpFill/>
                <a:ln w="5978" cap="flat">
                  <a:noFill/>
                  <a:prstDash val="solid"/>
                  <a:miter/>
                </a:ln>
              </p:spPr>
              <p:txBody>
                <a:bodyPr rtlCol="0" anchor="ctr"/>
                <a:lstStyle/>
                <a:p>
                  <a:endParaRPr lang="en-GB"/>
                </a:p>
              </p:txBody>
            </p:sp>
            <p:sp>
              <p:nvSpPr>
                <p:cNvPr id="3775" name="Vrije vorm: vorm 3774">
                  <a:extLst>
                    <a:ext uri="{FF2B5EF4-FFF2-40B4-BE49-F238E27FC236}">
                      <a16:creationId xmlns:a16="http://schemas.microsoft.com/office/drawing/2014/main" id="{FFE7DD56-A0A0-4C12-A412-3ABB8222616A}"/>
                    </a:ext>
                  </a:extLst>
                </p:cNvPr>
                <p:cNvSpPr/>
                <p:nvPr/>
              </p:nvSpPr>
              <p:spPr>
                <a:xfrm>
                  <a:off x="6063730" y="1266606"/>
                  <a:ext cx="18348" cy="18483"/>
                </a:xfrm>
                <a:custGeom>
                  <a:avLst/>
                  <a:gdLst>
                    <a:gd name="connsiteX0" fmla="*/ 18325 w 18348"/>
                    <a:gd name="connsiteY0" fmla="*/ 9959 h 18483"/>
                    <a:gd name="connsiteX1" fmla="*/ 9832 w 18348"/>
                    <a:gd name="connsiteY1" fmla="*/ 31 h 18483"/>
                    <a:gd name="connsiteX2" fmla="*/ 24 w 18348"/>
                    <a:gd name="connsiteY2" fmla="*/ 8524 h 18483"/>
                    <a:gd name="connsiteX3" fmla="*/ 8516 w 18348"/>
                    <a:gd name="connsiteY3" fmla="*/ 18452 h 18483"/>
                    <a:gd name="connsiteX4" fmla="*/ 18325 w 18348"/>
                    <a:gd name="connsiteY4" fmla="*/ 9959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83">
                      <a:moveTo>
                        <a:pt x="18325" y="9959"/>
                      </a:moveTo>
                      <a:cubicBezTo>
                        <a:pt x="18683" y="4876"/>
                        <a:pt x="14916" y="450"/>
                        <a:pt x="9832" y="31"/>
                      </a:cubicBezTo>
                      <a:cubicBezTo>
                        <a:pt x="4808" y="-387"/>
                        <a:pt x="382" y="3440"/>
                        <a:pt x="24" y="8524"/>
                      </a:cubicBezTo>
                      <a:cubicBezTo>
                        <a:pt x="-335" y="13608"/>
                        <a:pt x="3433" y="18033"/>
                        <a:pt x="8516" y="18452"/>
                      </a:cubicBezTo>
                      <a:cubicBezTo>
                        <a:pt x="13600" y="18871"/>
                        <a:pt x="17966" y="15043"/>
                        <a:pt x="18325" y="9959"/>
                      </a:cubicBezTo>
                      <a:close/>
                    </a:path>
                  </a:pathLst>
                </a:custGeom>
                <a:grpFill/>
                <a:ln w="5978" cap="flat">
                  <a:noFill/>
                  <a:prstDash val="solid"/>
                  <a:miter/>
                </a:ln>
              </p:spPr>
              <p:txBody>
                <a:bodyPr rtlCol="0" anchor="ctr"/>
                <a:lstStyle/>
                <a:p>
                  <a:endParaRPr lang="en-GB"/>
                </a:p>
              </p:txBody>
            </p:sp>
          </p:grpSp>
          <p:grpSp>
            <p:nvGrpSpPr>
              <p:cNvPr id="539" name="Graphic 3">
                <a:extLst>
                  <a:ext uri="{FF2B5EF4-FFF2-40B4-BE49-F238E27FC236}">
                    <a16:creationId xmlns:a16="http://schemas.microsoft.com/office/drawing/2014/main" id="{39E2D91E-72A8-478F-BEB1-60ACABE53B59}"/>
                  </a:ext>
                </a:extLst>
              </p:cNvPr>
              <p:cNvGrpSpPr/>
              <p:nvPr/>
            </p:nvGrpSpPr>
            <p:grpSpPr>
              <a:xfrm>
                <a:off x="7086770" y="4727519"/>
                <a:ext cx="116222" cy="142510"/>
                <a:chOff x="7086770" y="4727519"/>
                <a:chExt cx="116222" cy="142510"/>
              </a:xfrm>
              <a:grpFill/>
            </p:grpSpPr>
            <p:sp>
              <p:nvSpPr>
                <p:cNvPr id="3770" name="Vrije vorm: vorm 3769">
                  <a:extLst>
                    <a:ext uri="{FF2B5EF4-FFF2-40B4-BE49-F238E27FC236}">
                      <a16:creationId xmlns:a16="http://schemas.microsoft.com/office/drawing/2014/main" id="{94A4DB96-2443-46CA-B3C7-E02D7F4E766B}"/>
                    </a:ext>
                  </a:extLst>
                </p:cNvPr>
                <p:cNvSpPr/>
                <p:nvPr/>
              </p:nvSpPr>
              <p:spPr>
                <a:xfrm>
                  <a:off x="7094472" y="4735456"/>
                  <a:ext cx="100775" cy="126671"/>
                </a:xfrm>
                <a:custGeom>
                  <a:avLst/>
                  <a:gdLst>
                    <a:gd name="connsiteX0" fmla="*/ 100775 w 100775"/>
                    <a:gd name="connsiteY0" fmla="*/ 124758 h 126671"/>
                    <a:gd name="connsiteX1" fmla="*/ 98383 w 100775"/>
                    <a:gd name="connsiteY1" fmla="*/ 126672 h 126671"/>
                    <a:gd name="connsiteX2" fmla="*/ 0 w 100775"/>
                    <a:gd name="connsiteY2" fmla="*/ 1854 h 126671"/>
                    <a:gd name="connsiteX3" fmla="*/ 2392 w 100775"/>
                    <a:gd name="connsiteY3" fmla="*/ 0 h 126671"/>
                  </a:gdLst>
                  <a:ahLst/>
                  <a:cxnLst>
                    <a:cxn ang="0">
                      <a:pos x="connsiteX0" y="connsiteY0"/>
                    </a:cxn>
                    <a:cxn ang="0">
                      <a:pos x="connsiteX1" y="connsiteY1"/>
                    </a:cxn>
                    <a:cxn ang="0">
                      <a:pos x="connsiteX2" y="connsiteY2"/>
                    </a:cxn>
                    <a:cxn ang="0">
                      <a:pos x="connsiteX3" y="connsiteY3"/>
                    </a:cxn>
                  </a:cxnLst>
                  <a:rect l="l" t="t" r="r" b="b"/>
                  <a:pathLst>
                    <a:path w="100775" h="126671">
                      <a:moveTo>
                        <a:pt x="100775" y="124758"/>
                      </a:moveTo>
                      <a:lnTo>
                        <a:pt x="98383" y="126672"/>
                      </a:lnTo>
                      <a:lnTo>
                        <a:pt x="0" y="1854"/>
                      </a:lnTo>
                      <a:lnTo>
                        <a:pt x="2392" y="0"/>
                      </a:lnTo>
                      <a:close/>
                    </a:path>
                  </a:pathLst>
                </a:custGeom>
                <a:grpFill/>
                <a:ln w="5978" cap="flat">
                  <a:noFill/>
                  <a:prstDash val="solid"/>
                  <a:miter/>
                </a:ln>
              </p:spPr>
              <p:txBody>
                <a:bodyPr rtlCol="0" anchor="ctr"/>
                <a:lstStyle/>
                <a:p>
                  <a:endParaRPr lang="en-GB"/>
                </a:p>
              </p:txBody>
            </p:sp>
            <p:sp>
              <p:nvSpPr>
                <p:cNvPr id="3771" name="Vrije vorm: vorm 3770">
                  <a:extLst>
                    <a:ext uri="{FF2B5EF4-FFF2-40B4-BE49-F238E27FC236}">
                      <a16:creationId xmlns:a16="http://schemas.microsoft.com/office/drawing/2014/main" id="{83131DCE-B4C3-489C-B6C7-6854533653E1}"/>
                    </a:ext>
                  </a:extLst>
                </p:cNvPr>
                <p:cNvSpPr/>
                <p:nvPr/>
              </p:nvSpPr>
              <p:spPr>
                <a:xfrm>
                  <a:off x="7184631" y="4851619"/>
                  <a:ext cx="18361" cy="18410"/>
                </a:xfrm>
                <a:custGeom>
                  <a:avLst/>
                  <a:gdLst>
                    <a:gd name="connsiteX0" fmla="*/ 16357 w 18361"/>
                    <a:gd name="connsiteY0" fmla="*/ 3511 h 18410"/>
                    <a:gd name="connsiteX1" fmla="*/ 14862 w 18361"/>
                    <a:gd name="connsiteY1" fmla="*/ 16429 h 18410"/>
                    <a:gd name="connsiteX2" fmla="*/ 2004 w 18361"/>
                    <a:gd name="connsiteY2" fmla="*/ 14874 h 18410"/>
                    <a:gd name="connsiteX3" fmla="*/ 3499 w 18361"/>
                    <a:gd name="connsiteY3" fmla="*/ 1956 h 18410"/>
                    <a:gd name="connsiteX4" fmla="*/ 16357 w 18361"/>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0">
                      <a:moveTo>
                        <a:pt x="16357" y="3511"/>
                      </a:moveTo>
                      <a:cubicBezTo>
                        <a:pt x="19527" y="7518"/>
                        <a:pt x="18870" y="13319"/>
                        <a:pt x="14862" y="16429"/>
                      </a:cubicBezTo>
                      <a:cubicBezTo>
                        <a:pt x="10915" y="19599"/>
                        <a:pt x="5114" y="18881"/>
                        <a:pt x="2004" y="14874"/>
                      </a:cubicBezTo>
                      <a:cubicBezTo>
                        <a:pt x="-1166" y="10867"/>
                        <a:pt x="-508" y="5066"/>
                        <a:pt x="3499" y="1956"/>
                      </a:cubicBezTo>
                      <a:cubicBezTo>
                        <a:pt x="7446" y="-1154"/>
                        <a:pt x="13188" y="-496"/>
                        <a:pt x="16357" y="3511"/>
                      </a:cubicBezTo>
                      <a:close/>
                    </a:path>
                  </a:pathLst>
                </a:custGeom>
                <a:grpFill/>
                <a:ln w="5978" cap="flat">
                  <a:noFill/>
                  <a:prstDash val="solid"/>
                  <a:miter/>
                </a:ln>
              </p:spPr>
              <p:txBody>
                <a:bodyPr rtlCol="0" anchor="ctr"/>
                <a:lstStyle/>
                <a:p>
                  <a:endParaRPr lang="en-GB"/>
                </a:p>
              </p:txBody>
            </p:sp>
            <p:sp>
              <p:nvSpPr>
                <p:cNvPr id="3772" name="Vrije vorm: vorm 3771">
                  <a:extLst>
                    <a:ext uri="{FF2B5EF4-FFF2-40B4-BE49-F238E27FC236}">
                      <a16:creationId xmlns:a16="http://schemas.microsoft.com/office/drawing/2014/main" id="{C6317D13-B747-4259-9ED2-74E84EF68EFE}"/>
                    </a:ext>
                  </a:extLst>
                </p:cNvPr>
                <p:cNvSpPr/>
                <p:nvPr/>
              </p:nvSpPr>
              <p:spPr>
                <a:xfrm>
                  <a:off x="7086770" y="4727519"/>
                  <a:ext cx="18317" cy="18366"/>
                </a:xfrm>
                <a:custGeom>
                  <a:avLst/>
                  <a:gdLst>
                    <a:gd name="connsiteX0" fmla="*/ 16314 w 18317"/>
                    <a:gd name="connsiteY0" fmla="*/ 3511 h 18366"/>
                    <a:gd name="connsiteX1" fmla="*/ 3456 w 18317"/>
                    <a:gd name="connsiteY1" fmla="*/ 1956 h 18366"/>
                    <a:gd name="connsiteX2" fmla="*/ 1960 w 18317"/>
                    <a:gd name="connsiteY2" fmla="*/ 14874 h 18366"/>
                    <a:gd name="connsiteX3" fmla="*/ 14818 w 18317"/>
                    <a:gd name="connsiteY3" fmla="*/ 16429 h 18366"/>
                    <a:gd name="connsiteX4" fmla="*/ 16314 w 18317"/>
                    <a:gd name="connsiteY4" fmla="*/ 3511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66">
                      <a:moveTo>
                        <a:pt x="16314" y="3511"/>
                      </a:moveTo>
                      <a:cubicBezTo>
                        <a:pt x="13144" y="-496"/>
                        <a:pt x="7402" y="-1154"/>
                        <a:pt x="3456" y="1956"/>
                      </a:cubicBezTo>
                      <a:cubicBezTo>
                        <a:pt x="-492" y="5066"/>
                        <a:pt x="-1150" y="10927"/>
                        <a:pt x="1960" y="14874"/>
                      </a:cubicBezTo>
                      <a:cubicBezTo>
                        <a:pt x="5070" y="18821"/>
                        <a:pt x="10872" y="19539"/>
                        <a:pt x="14818" y="16429"/>
                      </a:cubicBezTo>
                      <a:cubicBezTo>
                        <a:pt x="18826" y="13319"/>
                        <a:pt x="19483" y="7518"/>
                        <a:pt x="16314" y="3511"/>
                      </a:cubicBezTo>
                      <a:close/>
                    </a:path>
                  </a:pathLst>
                </a:custGeom>
                <a:grpFill/>
                <a:ln w="5978" cap="flat">
                  <a:noFill/>
                  <a:prstDash val="solid"/>
                  <a:miter/>
                </a:ln>
              </p:spPr>
              <p:txBody>
                <a:bodyPr rtlCol="0" anchor="ctr"/>
                <a:lstStyle/>
                <a:p>
                  <a:endParaRPr lang="en-GB"/>
                </a:p>
              </p:txBody>
            </p:sp>
          </p:grpSp>
          <p:grpSp>
            <p:nvGrpSpPr>
              <p:cNvPr id="540" name="Graphic 3">
                <a:extLst>
                  <a:ext uri="{FF2B5EF4-FFF2-40B4-BE49-F238E27FC236}">
                    <a16:creationId xmlns:a16="http://schemas.microsoft.com/office/drawing/2014/main" id="{2273B860-E16B-4D27-AA3E-1BC2D4D8D2C3}"/>
                  </a:ext>
                </a:extLst>
              </p:cNvPr>
              <p:cNvGrpSpPr/>
              <p:nvPr/>
            </p:nvGrpSpPr>
            <p:grpSpPr>
              <a:xfrm>
                <a:off x="7154091" y="4867864"/>
                <a:ext cx="85319" cy="106585"/>
                <a:chOff x="7154091" y="4867864"/>
                <a:chExt cx="85319" cy="106585"/>
              </a:xfrm>
              <a:grpFill/>
            </p:grpSpPr>
            <p:sp>
              <p:nvSpPr>
                <p:cNvPr id="3767" name="Vrije vorm: vorm 3766">
                  <a:extLst>
                    <a:ext uri="{FF2B5EF4-FFF2-40B4-BE49-F238E27FC236}">
                      <a16:creationId xmlns:a16="http://schemas.microsoft.com/office/drawing/2014/main" id="{A8411188-E987-4198-AF9F-D10298EC1D36}"/>
                    </a:ext>
                  </a:extLst>
                </p:cNvPr>
                <p:cNvSpPr/>
                <p:nvPr/>
              </p:nvSpPr>
              <p:spPr>
                <a:xfrm>
                  <a:off x="7161815" y="4875763"/>
                  <a:ext cx="69914" cy="90787"/>
                </a:xfrm>
                <a:custGeom>
                  <a:avLst/>
                  <a:gdLst>
                    <a:gd name="connsiteX0" fmla="*/ 69914 w 69914"/>
                    <a:gd name="connsiteY0" fmla="*/ 88933 h 90787"/>
                    <a:gd name="connsiteX1" fmla="*/ 67522 w 69914"/>
                    <a:gd name="connsiteY1" fmla="*/ 90788 h 90787"/>
                    <a:gd name="connsiteX2" fmla="*/ 0 w 69914"/>
                    <a:gd name="connsiteY2" fmla="*/ 1854 h 90787"/>
                    <a:gd name="connsiteX3" fmla="*/ 2392 w 69914"/>
                    <a:gd name="connsiteY3" fmla="*/ 0 h 90787"/>
                  </a:gdLst>
                  <a:ahLst/>
                  <a:cxnLst>
                    <a:cxn ang="0">
                      <a:pos x="connsiteX0" y="connsiteY0"/>
                    </a:cxn>
                    <a:cxn ang="0">
                      <a:pos x="connsiteX1" y="connsiteY1"/>
                    </a:cxn>
                    <a:cxn ang="0">
                      <a:pos x="connsiteX2" y="connsiteY2"/>
                    </a:cxn>
                    <a:cxn ang="0">
                      <a:pos x="connsiteX3" y="connsiteY3"/>
                    </a:cxn>
                  </a:cxnLst>
                  <a:rect l="l" t="t" r="r" b="b"/>
                  <a:pathLst>
                    <a:path w="69914" h="90787">
                      <a:moveTo>
                        <a:pt x="69914" y="88933"/>
                      </a:moveTo>
                      <a:lnTo>
                        <a:pt x="67522" y="90788"/>
                      </a:lnTo>
                      <a:lnTo>
                        <a:pt x="0" y="1854"/>
                      </a:lnTo>
                      <a:lnTo>
                        <a:pt x="2392" y="0"/>
                      </a:lnTo>
                      <a:close/>
                    </a:path>
                  </a:pathLst>
                </a:custGeom>
                <a:grpFill/>
                <a:ln w="5978" cap="flat">
                  <a:noFill/>
                  <a:prstDash val="solid"/>
                  <a:miter/>
                </a:ln>
              </p:spPr>
              <p:txBody>
                <a:bodyPr rtlCol="0" anchor="ctr"/>
                <a:lstStyle/>
                <a:p>
                  <a:endParaRPr lang="en-GB"/>
                </a:p>
              </p:txBody>
            </p:sp>
            <p:sp>
              <p:nvSpPr>
                <p:cNvPr id="3768" name="Vrije vorm: vorm 3767">
                  <a:extLst>
                    <a:ext uri="{FF2B5EF4-FFF2-40B4-BE49-F238E27FC236}">
                      <a16:creationId xmlns:a16="http://schemas.microsoft.com/office/drawing/2014/main" id="{E1B32682-E6A3-4E96-9C32-9F7789734E16}"/>
                    </a:ext>
                  </a:extLst>
                </p:cNvPr>
                <p:cNvSpPr/>
                <p:nvPr/>
              </p:nvSpPr>
              <p:spPr>
                <a:xfrm>
                  <a:off x="7221057" y="4956038"/>
                  <a:ext cx="18353" cy="18411"/>
                </a:xfrm>
                <a:custGeom>
                  <a:avLst/>
                  <a:gdLst>
                    <a:gd name="connsiteX0" fmla="*/ 16473 w 18353"/>
                    <a:gd name="connsiteY0" fmla="*/ 3635 h 18411"/>
                    <a:gd name="connsiteX1" fmla="*/ 14739 w 18353"/>
                    <a:gd name="connsiteY1" fmla="*/ 16553 h 18411"/>
                    <a:gd name="connsiteX2" fmla="*/ 1881 w 18353"/>
                    <a:gd name="connsiteY2" fmla="*/ 14759 h 18411"/>
                    <a:gd name="connsiteX3" fmla="*/ 3615 w 18353"/>
                    <a:gd name="connsiteY3" fmla="*/ 1841 h 18411"/>
                    <a:gd name="connsiteX4" fmla="*/ 16473 w 18353"/>
                    <a:gd name="connsiteY4" fmla="*/ 3635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1">
                      <a:moveTo>
                        <a:pt x="16473" y="3635"/>
                      </a:moveTo>
                      <a:cubicBezTo>
                        <a:pt x="19524" y="7702"/>
                        <a:pt x="18806" y="13443"/>
                        <a:pt x="14739" y="16553"/>
                      </a:cubicBezTo>
                      <a:cubicBezTo>
                        <a:pt x="10732" y="19603"/>
                        <a:pt x="4991" y="18826"/>
                        <a:pt x="1881" y="14759"/>
                      </a:cubicBezTo>
                      <a:cubicBezTo>
                        <a:pt x="-1170" y="10692"/>
                        <a:pt x="-452" y="4951"/>
                        <a:pt x="3615" y="1841"/>
                      </a:cubicBezTo>
                      <a:cubicBezTo>
                        <a:pt x="7622" y="-1209"/>
                        <a:pt x="13424" y="-372"/>
                        <a:pt x="16473" y="3635"/>
                      </a:cubicBezTo>
                      <a:close/>
                    </a:path>
                  </a:pathLst>
                </a:custGeom>
                <a:grpFill/>
                <a:ln w="5978" cap="flat">
                  <a:noFill/>
                  <a:prstDash val="solid"/>
                  <a:miter/>
                </a:ln>
              </p:spPr>
              <p:txBody>
                <a:bodyPr rtlCol="0" anchor="ctr"/>
                <a:lstStyle/>
                <a:p>
                  <a:endParaRPr lang="en-GB"/>
                </a:p>
              </p:txBody>
            </p:sp>
            <p:sp>
              <p:nvSpPr>
                <p:cNvPr id="3769" name="Vrije vorm: vorm 3768">
                  <a:extLst>
                    <a:ext uri="{FF2B5EF4-FFF2-40B4-BE49-F238E27FC236}">
                      <a16:creationId xmlns:a16="http://schemas.microsoft.com/office/drawing/2014/main" id="{94D2975A-91D7-44BD-A3CC-669CBEEFDAB2}"/>
                    </a:ext>
                  </a:extLst>
                </p:cNvPr>
                <p:cNvSpPr/>
                <p:nvPr/>
              </p:nvSpPr>
              <p:spPr>
                <a:xfrm>
                  <a:off x="7154091" y="4867864"/>
                  <a:ext cx="18361" cy="18429"/>
                </a:xfrm>
                <a:custGeom>
                  <a:avLst/>
                  <a:gdLst>
                    <a:gd name="connsiteX0" fmla="*/ 16455 w 18361"/>
                    <a:gd name="connsiteY0" fmla="*/ 3653 h 18429"/>
                    <a:gd name="connsiteX1" fmla="*/ 3597 w 18361"/>
                    <a:gd name="connsiteY1" fmla="*/ 1859 h 18429"/>
                    <a:gd name="connsiteX2" fmla="*/ 1863 w 18361"/>
                    <a:gd name="connsiteY2" fmla="*/ 14777 h 18429"/>
                    <a:gd name="connsiteX3" fmla="*/ 14721 w 18361"/>
                    <a:gd name="connsiteY3" fmla="*/ 16571 h 18429"/>
                    <a:gd name="connsiteX4" fmla="*/ 16455 w 18361"/>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9">
                      <a:moveTo>
                        <a:pt x="16455" y="3653"/>
                      </a:moveTo>
                      <a:cubicBezTo>
                        <a:pt x="13405" y="-414"/>
                        <a:pt x="7604" y="-1192"/>
                        <a:pt x="3597" y="1859"/>
                      </a:cubicBezTo>
                      <a:cubicBezTo>
                        <a:pt x="-410" y="4908"/>
                        <a:pt x="-1187" y="10710"/>
                        <a:pt x="1863" y="14777"/>
                      </a:cubicBezTo>
                      <a:cubicBezTo>
                        <a:pt x="4913" y="18844"/>
                        <a:pt x="10714" y="19621"/>
                        <a:pt x="14721" y="16571"/>
                      </a:cubicBezTo>
                      <a:cubicBezTo>
                        <a:pt x="18788" y="13461"/>
                        <a:pt x="19565" y="7660"/>
                        <a:pt x="16455" y="3653"/>
                      </a:cubicBezTo>
                      <a:close/>
                    </a:path>
                  </a:pathLst>
                </a:custGeom>
                <a:grpFill/>
                <a:ln w="5978" cap="flat">
                  <a:noFill/>
                  <a:prstDash val="solid"/>
                  <a:miter/>
                </a:ln>
              </p:spPr>
              <p:txBody>
                <a:bodyPr rtlCol="0" anchor="ctr"/>
                <a:lstStyle/>
                <a:p>
                  <a:endParaRPr lang="en-GB"/>
                </a:p>
              </p:txBody>
            </p:sp>
          </p:grpSp>
          <p:grpSp>
            <p:nvGrpSpPr>
              <p:cNvPr id="541" name="Graphic 3">
                <a:extLst>
                  <a:ext uri="{FF2B5EF4-FFF2-40B4-BE49-F238E27FC236}">
                    <a16:creationId xmlns:a16="http://schemas.microsoft.com/office/drawing/2014/main" id="{238EBF2B-8728-421F-9199-A533E8197629}"/>
                  </a:ext>
                </a:extLst>
              </p:cNvPr>
              <p:cNvGrpSpPr/>
              <p:nvPr/>
            </p:nvGrpSpPr>
            <p:grpSpPr>
              <a:xfrm>
                <a:off x="7176732" y="4956413"/>
                <a:ext cx="143502" cy="189888"/>
                <a:chOff x="7176732" y="4956413"/>
                <a:chExt cx="143502" cy="189888"/>
              </a:xfrm>
              <a:grpFill/>
            </p:grpSpPr>
            <p:sp>
              <p:nvSpPr>
                <p:cNvPr id="3764" name="Vrije vorm: vorm 3763">
                  <a:extLst>
                    <a:ext uri="{FF2B5EF4-FFF2-40B4-BE49-F238E27FC236}">
                      <a16:creationId xmlns:a16="http://schemas.microsoft.com/office/drawing/2014/main" id="{FC14EA7F-68A5-4994-97B7-DF6ED604006B}"/>
                    </a:ext>
                  </a:extLst>
                </p:cNvPr>
                <p:cNvSpPr/>
                <p:nvPr/>
              </p:nvSpPr>
              <p:spPr>
                <a:xfrm>
                  <a:off x="7184422" y="4964398"/>
                  <a:ext cx="128166" cy="173979"/>
                </a:xfrm>
                <a:custGeom>
                  <a:avLst/>
                  <a:gdLst>
                    <a:gd name="connsiteX0" fmla="*/ 128166 w 128166"/>
                    <a:gd name="connsiteY0" fmla="*/ 172185 h 173979"/>
                    <a:gd name="connsiteX1" fmla="*/ 125714 w 128166"/>
                    <a:gd name="connsiteY1" fmla="*/ 173979 h 173979"/>
                    <a:gd name="connsiteX2" fmla="*/ 0 w 128166"/>
                    <a:gd name="connsiteY2" fmla="*/ 1794 h 173979"/>
                    <a:gd name="connsiteX3" fmla="*/ 2452 w 128166"/>
                    <a:gd name="connsiteY3" fmla="*/ 0 h 173979"/>
                  </a:gdLst>
                  <a:ahLst/>
                  <a:cxnLst>
                    <a:cxn ang="0">
                      <a:pos x="connsiteX0" y="connsiteY0"/>
                    </a:cxn>
                    <a:cxn ang="0">
                      <a:pos x="connsiteX1" y="connsiteY1"/>
                    </a:cxn>
                    <a:cxn ang="0">
                      <a:pos x="connsiteX2" y="connsiteY2"/>
                    </a:cxn>
                    <a:cxn ang="0">
                      <a:pos x="connsiteX3" y="connsiteY3"/>
                    </a:cxn>
                  </a:cxnLst>
                  <a:rect l="l" t="t" r="r" b="b"/>
                  <a:pathLst>
                    <a:path w="128166" h="173979">
                      <a:moveTo>
                        <a:pt x="128166" y="172185"/>
                      </a:moveTo>
                      <a:lnTo>
                        <a:pt x="125714" y="173979"/>
                      </a:lnTo>
                      <a:lnTo>
                        <a:pt x="0" y="1794"/>
                      </a:lnTo>
                      <a:lnTo>
                        <a:pt x="2452" y="0"/>
                      </a:lnTo>
                      <a:close/>
                    </a:path>
                  </a:pathLst>
                </a:custGeom>
                <a:grpFill/>
                <a:ln w="5978" cap="flat">
                  <a:noFill/>
                  <a:prstDash val="solid"/>
                  <a:miter/>
                </a:ln>
              </p:spPr>
              <p:txBody>
                <a:bodyPr rtlCol="0" anchor="ctr"/>
                <a:lstStyle/>
                <a:p>
                  <a:endParaRPr lang="en-GB"/>
                </a:p>
              </p:txBody>
            </p:sp>
            <p:sp>
              <p:nvSpPr>
                <p:cNvPr id="3765" name="Vrije vorm: vorm 3764">
                  <a:extLst>
                    <a:ext uri="{FF2B5EF4-FFF2-40B4-BE49-F238E27FC236}">
                      <a16:creationId xmlns:a16="http://schemas.microsoft.com/office/drawing/2014/main" id="{DC7887A0-C2A2-4168-B2AF-B1A633A67636}"/>
                    </a:ext>
                  </a:extLst>
                </p:cNvPr>
                <p:cNvSpPr/>
                <p:nvPr/>
              </p:nvSpPr>
              <p:spPr>
                <a:xfrm>
                  <a:off x="7301892" y="5127880"/>
                  <a:ext cx="18343" cy="18421"/>
                </a:xfrm>
                <a:custGeom>
                  <a:avLst/>
                  <a:gdLst>
                    <a:gd name="connsiteX0" fmla="*/ 16558 w 18343"/>
                    <a:gd name="connsiteY0" fmla="*/ 3798 h 18421"/>
                    <a:gd name="connsiteX1" fmla="*/ 14584 w 18343"/>
                    <a:gd name="connsiteY1" fmla="*/ 16656 h 18421"/>
                    <a:gd name="connsiteX2" fmla="*/ 1786 w 18343"/>
                    <a:gd name="connsiteY2" fmla="*/ 14623 h 18421"/>
                    <a:gd name="connsiteX3" fmla="*/ 3759 w 18343"/>
                    <a:gd name="connsiteY3" fmla="*/ 1765 h 18421"/>
                    <a:gd name="connsiteX4" fmla="*/ 16558 w 1834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1">
                      <a:moveTo>
                        <a:pt x="16558" y="3798"/>
                      </a:moveTo>
                      <a:cubicBezTo>
                        <a:pt x="19548" y="7925"/>
                        <a:pt x="18711" y="13666"/>
                        <a:pt x="14584" y="16656"/>
                      </a:cubicBezTo>
                      <a:cubicBezTo>
                        <a:pt x="10457" y="19647"/>
                        <a:pt x="4776" y="18750"/>
                        <a:pt x="1786" y="14623"/>
                      </a:cubicBezTo>
                      <a:cubicBezTo>
                        <a:pt x="-1205" y="10497"/>
                        <a:pt x="-367" y="4755"/>
                        <a:pt x="3759" y="1765"/>
                      </a:cubicBezTo>
                      <a:cubicBezTo>
                        <a:pt x="7826" y="-1226"/>
                        <a:pt x="13567" y="-329"/>
                        <a:pt x="16558" y="3798"/>
                      </a:cubicBezTo>
                      <a:close/>
                    </a:path>
                  </a:pathLst>
                </a:custGeom>
                <a:grpFill/>
                <a:ln w="5978" cap="flat">
                  <a:noFill/>
                  <a:prstDash val="solid"/>
                  <a:miter/>
                </a:ln>
              </p:spPr>
              <p:txBody>
                <a:bodyPr rtlCol="0" anchor="ctr"/>
                <a:lstStyle/>
                <a:p>
                  <a:endParaRPr lang="en-GB"/>
                </a:p>
              </p:txBody>
            </p:sp>
            <p:sp>
              <p:nvSpPr>
                <p:cNvPr id="3766" name="Vrije vorm: vorm 3765">
                  <a:extLst>
                    <a:ext uri="{FF2B5EF4-FFF2-40B4-BE49-F238E27FC236}">
                      <a16:creationId xmlns:a16="http://schemas.microsoft.com/office/drawing/2014/main" id="{549DC6F0-A82E-4657-9A84-F2E637945875}"/>
                    </a:ext>
                  </a:extLst>
                </p:cNvPr>
                <p:cNvSpPr/>
                <p:nvPr/>
              </p:nvSpPr>
              <p:spPr>
                <a:xfrm>
                  <a:off x="7176732" y="4956413"/>
                  <a:ext cx="18326" cy="18421"/>
                </a:xfrm>
                <a:custGeom>
                  <a:avLst/>
                  <a:gdLst>
                    <a:gd name="connsiteX0" fmla="*/ 16541 w 18326"/>
                    <a:gd name="connsiteY0" fmla="*/ 3798 h 18421"/>
                    <a:gd name="connsiteX1" fmla="*/ 3742 w 18326"/>
                    <a:gd name="connsiteY1" fmla="*/ 1765 h 18421"/>
                    <a:gd name="connsiteX2" fmla="*/ 1768 w 18326"/>
                    <a:gd name="connsiteY2" fmla="*/ 14623 h 18421"/>
                    <a:gd name="connsiteX3" fmla="*/ 14567 w 18326"/>
                    <a:gd name="connsiteY3" fmla="*/ 16657 h 18421"/>
                    <a:gd name="connsiteX4" fmla="*/ 16541 w 18326"/>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1">
                      <a:moveTo>
                        <a:pt x="16541" y="3798"/>
                      </a:moveTo>
                      <a:cubicBezTo>
                        <a:pt x="13551" y="-329"/>
                        <a:pt x="7809" y="-1226"/>
                        <a:pt x="3742" y="1765"/>
                      </a:cubicBezTo>
                      <a:cubicBezTo>
                        <a:pt x="-325" y="4755"/>
                        <a:pt x="-1222" y="10556"/>
                        <a:pt x="1768" y="14623"/>
                      </a:cubicBezTo>
                      <a:cubicBezTo>
                        <a:pt x="4759" y="18750"/>
                        <a:pt x="10501" y="19647"/>
                        <a:pt x="14567" y="16657"/>
                      </a:cubicBezTo>
                      <a:cubicBezTo>
                        <a:pt x="18694" y="13666"/>
                        <a:pt x="19532" y="7925"/>
                        <a:pt x="16541" y="3798"/>
                      </a:cubicBezTo>
                      <a:close/>
                    </a:path>
                  </a:pathLst>
                </a:custGeom>
                <a:grpFill/>
                <a:ln w="5978" cap="flat">
                  <a:noFill/>
                  <a:prstDash val="solid"/>
                  <a:miter/>
                </a:ln>
              </p:spPr>
              <p:txBody>
                <a:bodyPr rtlCol="0" anchor="ctr"/>
                <a:lstStyle/>
                <a:p>
                  <a:endParaRPr lang="en-GB"/>
                </a:p>
              </p:txBody>
            </p:sp>
          </p:grpSp>
          <p:grpSp>
            <p:nvGrpSpPr>
              <p:cNvPr id="542" name="Graphic 3">
                <a:extLst>
                  <a:ext uri="{FF2B5EF4-FFF2-40B4-BE49-F238E27FC236}">
                    <a16:creationId xmlns:a16="http://schemas.microsoft.com/office/drawing/2014/main" id="{33EE762F-B845-48F2-98CB-77EA88F6CAB5}"/>
                  </a:ext>
                </a:extLst>
              </p:cNvPr>
              <p:cNvGrpSpPr/>
              <p:nvPr/>
            </p:nvGrpSpPr>
            <p:grpSpPr>
              <a:xfrm>
                <a:off x="5984746" y="1259757"/>
                <a:ext cx="23928" cy="213217"/>
                <a:chOff x="5984746" y="1259757"/>
                <a:chExt cx="23928" cy="213217"/>
              </a:xfrm>
              <a:grpFill/>
            </p:grpSpPr>
            <p:sp>
              <p:nvSpPr>
                <p:cNvPr id="3761" name="Vrije vorm: vorm 3760">
                  <a:extLst>
                    <a:ext uri="{FF2B5EF4-FFF2-40B4-BE49-F238E27FC236}">
                      <a16:creationId xmlns:a16="http://schemas.microsoft.com/office/drawing/2014/main" id="{0F9F8315-45C0-43AE-9773-AF6856380E30}"/>
                    </a:ext>
                  </a:extLst>
                </p:cNvPr>
                <p:cNvSpPr/>
                <p:nvPr/>
              </p:nvSpPr>
              <p:spPr>
                <a:xfrm>
                  <a:off x="5992344" y="1268432"/>
                  <a:ext cx="8672" cy="195868"/>
                </a:xfrm>
                <a:custGeom>
                  <a:avLst/>
                  <a:gdLst>
                    <a:gd name="connsiteX0" fmla="*/ 3050 w 8672"/>
                    <a:gd name="connsiteY0" fmla="*/ 0 h 195868"/>
                    <a:gd name="connsiteX1" fmla="*/ 8672 w 8672"/>
                    <a:gd name="connsiteY1" fmla="*/ 195749 h 195868"/>
                    <a:gd name="connsiteX2" fmla="*/ 5622 w 8672"/>
                    <a:gd name="connsiteY2" fmla="*/ 195869 h 195868"/>
                    <a:gd name="connsiteX3" fmla="*/ 0 w 8672"/>
                    <a:gd name="connsiteY3" fmla="*/ 120 h 195868"/>
                  </a:gdLst>
                  <a:ahLst/>
                  <a:cxnLst>
                    <a:cxn ang="0">
                      <a:pos x="connsiteX0" y="connsiteY0"/>
                    </a:cxn>
                    <a:cxn ang="0">
                      <a:pos x="connsiteX1" y="connsiteY1"/>
                    </a:cxn>
                    <a:cxn ang="0">
                      <a:pos x="connsiteX2" y="connsiteY2"/>
                    </a:cxn>
                    <a:cxn ang="0">
                      <a:pos x="connsiteX3" y="connsiteY3"/>
                    </a:cxn>
                  </a:cxnLst>
                  <a:rect l="l" t="t" r="r" b="b"/>
                  <a:pathLst>
                    <a:path w="8672" h="195868">
                      <a:moveTo>
                        <a:pt x="3050" y="0"/>
                      </a:moveTo>
                      <a:lnTo>
                        <a:pt x="8672" y="195749"/>
                      </a:lnTo>
                      <a:lnTo>
                        <a:pt x="5622" y="195869"/>
                      </a:lnTo>
                      <a:lnTo>
                        <a:pt x="0" y="120"/>
                      </a:lnTo>
                      <a:close/>
                    </a:path>
                  </a:pathLst>
                </a:custGeom>
                <a:grpFill/>
                <a:ln w="5978" cap="flat">
                  <a:noFill/>
                  <a:prstDash val="solid"/>
                  <a:miter/>
                </a:ln>
              </p:spPr>
              <p:txBody>
                <a:bodyPr rtlCol="0" anchor="ctr"/>
                <a:lstStyle/>
                <a:p>
                  <a:endParaRPr lang="en-GB"/>
                </a:p>
              </p:txBody>
            </p:sp>
            <p:sp>
              <p:nvSpPr>
                <p:cNvPr id="3762" name="Vrije vorm: vorm 3761">
                  <a:extLst>
                    <a:ext uri="{FF2B5EF4-FFF2-40B4-BE49-F238E27FC236}">
                      <a16:creationId xmlns:a16="http://schemas.microsoft.com/office/drawing/2014/main" id="{D9734D0C-BA43-4934-8074-5D73E03BE1C2}"/>
                    </a:ext>
                  </a:extLst>
                </p:cNvPr>
                <p:cNvSpPr/>
                <p:nvPr/>
              </p:nvSpPr>
              <p:spPr>
                <a:xfrm>
                  <a:off x="5984746" y="1259757"/>
                  <a:ext cx="18366" cy="18425"/>
                </a:xfrm>
                <a:custGeom>
                  <a:avLst/>
                  <a:gdLst>
                    <a:gd name="connsiteX0" fmla="*/ 3 w 18366"/>
                    <a:gd name="connsiteY0" fmla="*/ 9452 h 18425"/>
                    <a:gd name="connsiteX1" fmla="*/ 8914 w 18366"/>
                    <a:gd name="connsiteY1" fmla="*/ 3 h 18425"/>
                    <a:gd name="connsiteX2" fmla="*/ 18363 w 18366"/>
                    <a:gd name="connsiteY2" fmla="*/ 8974 h 18425"/>
                    <a:gd name="connsiteX3" fmla="*/ 9452 w 18366"/>
                    <a:gd name="connsiteY3" fmla="*/ 1842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17" y="4369"/>
                        <a:pt x="3830" y="122"/>
                        <a:pt x="8914" y="3"/>
                      </a:cubicBezTo>
                      <a:cubicBezTo>
                        <a:pt x="13998" y="-117"/>
                        <a:pt x="18184" y="3890"/>
                        <a:pt x="18363" y="8974"/>
                      </a:cubicBezTo>
                      <a:cubicBezTo>
                        <a:pt x="18483" y="14057"/>
                        <a:pt x="14536" y="18304"/>
                        <a:pt x="9452" y="18423"/>
                      </a:cubicBezTo>
                      <a:cubicBezTo>
                        <a:pt x="4369" y="18543"/>
                        <a:pt x="122" y="14536"/>
                        <a:pt x="3" y="9452"/>
                      </a:cubicBezTo>
                      <a:close/>
                    </a:path>
                  </a:pathLst>
                </a:custGeom>
                <a:grpFill/>
                <a:ln w="5978" cap="flat">
                  <a:noFill/>
                  <a:prstDash val="solid"/>
                  <a:miter/>
                </a:ln>
              </p:spPr>
              <p:txBody>
                <a:bodyPr rtlCol="0" anchor="ctr"/>
                <a:lstStyle/>
                <a:p>
                  <a:endParaRPr lang="en-GB"/>
                </a:p>
              </p:txBody>
            </p:sp>
            <p:sp>
              <p:nvSpPr>
                <p:cNvPr id="3763" name="Vrije vorm: vorm 3762">
                  <a:extLst>
                    <a:ext uri="{FF2B5EF4-FFF2-40B4-BE49-F238E27FC236}">
                      <a16:creationId xmlns:a16="http://schemas.microsoft.com/office/drawing/2014/main" id="{DBE181C8-297B-4CA7-AD02-8423E48D1407}"/>
                    </a:ext>
                  </a:extLst>
                </p:cNvPr>
                <p:cNvSpPr/>
                <p:nvPr/>
              </p:nvSpPr>
              <p:spPr>
                <a:xfrm>
                  <a:off x="5990305" y="1454549"/>
                  <a:ext cx="18368" cy="18425"/>
                </a:xfrm>
                <a:custGeom>
                  <a:avLst/>
                  <a:gdLst>
                    <a:gd name="connsiteX0" fmla="*/ 6 w 18368"/>
                    <a:gd name="connsiteY0" fmla="*/ 9452 h 18425"/>
                    <a:gd name="connsiteX1" fmla="*/ 9455 w 18368"/>
                    <a:gd name="connsiteY1" fmla="*/ 18423 h 18425"/>
                    <a:gd name="connsiteX2" fmla="*/ 18366 w 18368"/>
                    <a:gd name="connsiteY2" fmla="*/ 8974 h 18425"/>
                    <a:gd name="connsiteX3" fmla="*/ 8917 w 18368"/>
                    <a:gd name="connsiteY3" fmla="*/ 3 h 18425"/>
                    <a:gd name="connsiteX4" fmla="*/ 6 w 18368"/>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5">
                      <a:moveTo>
                        <a:pt x="6" y="9452"/>
                      </a:moveTo>
                      <a:cubicBezTo>
                        <a:pt x="125" y="14536"/>
                        <a:pt x="4372" y="18543"/>
                        <a:pt x="9455" y="18423"/>
                      </a:cubicBezTo>
                      <a:cubicBezTo>
                        <a:pt x="14539" y="18304"/>
                        <a:pt x="18486" y="14057"/>
                        <a:pt x="18366" y="8974"/>
                      </a:cubicBezTo>
                      <a:cubicBezTo>
                        <a:pt x="18247" y="3890"/>
                        <a:pt x="14000" y="-117"/>
                        <a:pt x="8917" y="3"/>
                      </a:cubicBezTo>
                      <a:cubicBezTo>
                        <a:pt x="3833" y="182"/>
                        <a:pt x="-174" y="4369"/>
                        <a:pt x="6" y="9452"/>
                      </a:cubicBezTo>
                      <a:close/>
                    </a:path>
                  </a:pathLst>
                </a:custGeom>
                <a:grpFill/>
                <a:ln w="5978" cap="flat">
                  <a:noFill/>
                  <a:prstDash val="solid"/>
                  <a:miter/>
                </a:ln>
              </p:spPr>
              <p:txBody>
                <a:bodyPr rtlCol="0" anchor="ctr"/>
                <a:lstStyle/>
                <a:p>
                  <a:endParaRPr lang="en-GB"/>
                </a:p>
              </p:txBody>
            </p:sp>
          </p:grpSp>
          <p:grpSp>
            <p:nvGrpSpPr>
              <p:cNvPr id="543" name="Graphic 3">
                <a:extLst>
                  <a:ext uri="{FF2B5EF4-FFF2-40B4-BE49-F238E27FC236}">
                    <a16:creationId xmlns:a16="http://schemas.microsoft.com/office/drawing/2014/main" id="{801C098F-8632-458A-9AEC-705680CBAB6C}"/>
                  </a:ext>
                </a:extLst>
              </p:cNvPr>
              <p:cNvGrpSpPr/>
              <p:nvPr/>
            </p:nvGrpSpPr>
            <p:grpSpPr>
              <a:xfrm>
                <a:off x="7065364" y="4752163"/>
                <a:ext cx="255399" cy="393787"/>
                <a:chOff x="7065364" y="4752163"/>
                <a:chExt cx="255399" cy="393787"/>
              </a:xfrm>
              <a:grpFill/>
            </p:grpSpPr>
            <p:sp>
              <p:nvSpPr>
                <p:cNvPr id="3758" name="Vrije vorm: vorm 3757">
                  <a:extLst>
                    <a:ext uri="{FF2B5EF4-FFF2-40B4-BE49-F238E27FC236}">
                      <a16:creationId xmlns:a16="http://schemas.microsoft.com/office/drawing/2014/main" id="{6FDBBCE6-B5EA-4289-A57F-10B5A98B58F4}"/>
                    </a:ext>
                  </a:extLst>
                </p:cNvPr>
                <p:cNvSpPr/>
                <p:nvPr/>
              </p:nvSpPr>
              <p:spPr>
                <a:xfrm>
                  <a:off x="7072941" y="4760156"/>
                  <a:ext cx="240185" cy="377802"/>
                </a:xfrm>
                <a:custGeom>
                  <a:avLst/>
                  <a:gdLst>
                    <a:gd name="connsiteX0" fmla="*/ 240185 w 240185"/>
                    <a:gd name="connsiteY0" fmla="*/ 376187 h 377802"/>
                    <a:gd name="connsiteX1" fmla="*/ 237614 w 240185"/>
                    <a:gd name="connsiteY1" fmla="*/ 377802 h 377802"/>
                    <a:gd name="connsiteX2" fmla="*/ 0 w 240185"/>
                    <a:gd name="connsiteY2" fmla="*/ 1674 h 377802"/>
                    <a:gd name="connsiteX3" fmla="*/ 2571 w 240185"/>
                    <a:gd name="connsiteY3" fmla="*/ 0 h 377802"/>
                  </a:gdLst>
                  <a:ahLst/>
                  <a:cxnLst>
                    <a:cxn ang="0">
                      <a:pos x="connsiteX0" y="connsiteY0"/>
                    </a:cxn>
                    <a:cxn ang="0">
                      <a:pos x="connsiteX1" y="connsiteY1"/>
                    </a:cxn>
                    <a:cxn ang="0">
                      <a:pos x="connsiteX2" y="connsiteY2"/>
                    </a:cxn>
                    <a:cxn ang="0">
                      <a:pos x="connsiteX3" y="connsiteY3"/>
                    </a:cxn>
                  </a:cxnLst>
                  <a:rect l="l" t="t" r="r" b="b"/>
                  <a:pathLst>
                    <a:path w="240185" h="377802">
                      <a:moveTo>
                        <a:pt x="240185" y="376187"/>
                      </a:moveTo>
                      <a:lnTo>
                        <a:pt x="237614" y="377802"/>
                      </a:lnTo>
                      <a:lnTo>
                        <a:pt x="0" y="1674"/>
                      </a:lnTo>
                      <a:lnTo>
                        <a:pt x="2571" y="0"/>
                      </a:lnTo>
                      <a:close/>
                    </a:path>
                  </a:pathLst>
                </a:custGeom>
                <a:grpFill/>
                <a:ln w="5978" cap="flat">
                  <a:noFill/>
                  <a:prstDash val="solid"/>
                  <a:miter/>
                </a:ln>
              </p:spPr>
              <p:txBody>
                <a:bodyPr rtlCol="0" anchor="ctr"/>
                <a:lstStyle/>
                <a:p>
                  <a:endParaRPr lang="en-GB"/>
                </a:p>
              </p:txBody>
            </p:sp>
            <p:sp>
              <p:nvSpPr>
                <p:cNvPr id="3759" name="Vrije vorm: vorm 3758">
                  <a:extLst>
                    <a:ext uri="{FF2B5EF4-FFF2-40B4-BE49-F238E27FC236}">
                      <a16:creationId xmlns:a16="http://schemas.microsoft.com/office/drawing/2014/main" id="{6D51C5BA-30D9-4A88-9EF3-5E3A37F40561}"/>
                    </a:ext>
                  </a:extLst>
                </p:cNvPr>
                <p:cNvSpPr/>
                <p:nvPr/>
              </p:nvSpPr>
              <p:spPr>
                <a:xfrm>
                  <a:off x="7065364" y="4752163"/>
                  <a:ext cx="18323" cy="18395"/>
                </a:xfrm>
                <a:custGeom>
                  <a:avLst/>
                  <a:gdLst>
                    <a:gd name="connsiteX0" fmla="*/ 1417 w 18323"/>
                    <a:gd name="connsiteY0" fmla="*/ 14153 h 18395"/>
                    <a:gd name="connsiteX1" fmla="*/ 4228 w 18323"/>
                    <a:gd name="connsiteY1" fmla="*/ 1414 h 18395"/>
                    <a:gd name="connsiteX2" fmla="*/ 16907 w 18323"/>
                    <a:gd name="connsiteY2" fmla="*/ 4285 h 18395"/>
                    <a:gd name="connsiteX3" fmla="*/ 14096 w 18323"/>
                    <a:gd name="connsiteY3" fmla="*/ 16964 h 18395"/>
                    <a:gd name="connsiteX4" fmla="*/ 1417 w 18323"/>
                    <a:gd name="connsiteY4" fmla="*/ 14153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95">
                      <a:moveTo>
                        <a:pt x="1417" y="14153"/>
                      </a:moveTo>
                      <a:cubicBezTo>
                        <a:pt x="-1275" y="9847"/>
                        <a:pt x="-18" y="4165"/>
                        <a:pt x="4228" y="1414"/>
                      </a:cubicBezTo>
                      <a:cubicBezTo>
                        <a:pt x="8474" y="-1277"/>
                        <a:pt x="14156" y="-21"/>
                        <a:pt x="16907" y="4285"/>
                      </a:cubicBezTo>
                      <a:cubicBezTo>
                        <a:pt x="19599" y="8591"/>
                        <a:pt x="18342" y="14273"/>
                        <a:pt x="14096" y="16964"/>
                      </a:cubicBezTo>
                      <a:cubicBezTo>
                        <a:pt x="9850" y="19655"/>
                        <a:pt x="4108" y="18459"/>
                        <a:pt x="1417" y="14153"/>
                      </a:cubicBezTo>
                      <a:close/>
                    </a:path>
                  </a:pathLst>
                </a:custGeom>
                <a:grpFill/>
                <a:ln w="5978" cap="flat">
                  <a:noFill/>
                  <a:prstDash val="solid"/>
                  <a:miter/>
                </a:ln>
              </p:spPr>
              <p:txBody>
                <a:bodyPr rtlCol="0" anchor="ctr"/>
                <a:lstStyle/>
                <a:p>
                  <a:endParaRPr lang="en-GB"/>
                </a:p>
              </p:txBody>
            </p:sp>
            <p:sp>
              <p:nvSpPr>
                <p:cNvPr id="3760" name="Vrije vorm: vorm 3759">
                  <a:extLst>
                    <a:ext uri="{FF2B5EF4-FFF2-40B4-BE49-F238E27FC236}">
                      <a16:creationId xmlns:a16="http://schemas.microsoft.com/office/drawing/2014/main" id="{96B205DB-BE75-40E7-89AF-457BE9F7243F}"/>
                    </a:ext>
                  </a:extLst>
                </p:cNvPr>
                <p:cNvSpPr/>
                <p:nvPr/>
              </p:nvSpPr>
              <p:spPr>
                <a:xfrm>
                  <a:off x="7302440" y="5127573"/>
                  <a:ext cx="18323" cy="18377"/>
                </a:xfrm>
                <a:custGeom>
                  <a:avLst/>
                  <a:gdLst>
                    <a:gd name="connsiteX0" fmla="*/ 1417 w 18323"/>
                    <a:gd name="connsiteY0" fmla="*/ 14093 h 18377"/>
                    <a:gd name="connsiteX1" fmla="*/ 14096 w 18323"/>
                    <a:gd name="connsiteY1" fmla="*/ 16964 h 18377"/>
                    <a:gd name="connsiteX2" fmla="*/ 16907 w 18323"/>
                    <a:gd name="connsiteY2" fmla="*/ 4285 h 18377"/>
                    <a:gd name="connsiteX3" fmla="*/ 4228 w 18323"/>
                    <a:gd name="connsiteY3" fmla="*/ 1414 h 18377"/>
                    <a:gd name="connsiteX4" fmla="*/ 1417 w 18323"/>
                    <a:gd name="connsiteY4" fmla="*/ 14093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77">
                      <a:moveTo>
                        <a:pt x="1417" y="14093"/>
                      </a:moveTo>
                      <a:cubicBezTo>
                        <a:pt x="4108" y="18399"/>
                        <a:pt x="9790" y="19655"/>
                        <a:pt x="14096" y="16964"/>
                      </a:cubicBezTo>
                      <a:cubicBezTo>
                        <a:pt x="18342" y="14273"/>
                        <a:pt x="19598" y="8531"/>
                        <a:pt x="16907" y="4285"/>
                      </a:cubicBezTo>
                      <a:cubicBezTo>
                        <a:pt x="14216" y="-21"/>
                        <a:pt x="8534" y="-1277"/>
                        <a:pt x="4228" y="1414"/>
                      </a:cubicBezTo>
                      <a:cubicBezTo>
                        <a:pt x="-18" y="4105"/>
                        <a:pt x="-1275" y="9787"/>
                        <a:pt x="1417" y="14093"/>
                      </a:cubicBezTo>
                      <a:close/>
                    </a:path>
                  </a:pathLst>
                </a:custGeom>
                <a:grpFill/>
                <a:ln w="5978" cap="flat">
                  <a:noFill/>
                  <a:prstDash val="solid"/>
                  <a:miter/>
                </a:ln>
              </p:spPr>
              <p:txBody>
                <a:bodyPr rtlCol="0" anchor="ctr"/>
                <a:lstStyle/>
                <a:p>
                  <a:endParaRPr lang="en-GB"/>
                </a:p>
              </p:txBody>
            </p:sp>
          </p:grpSp>
          <p:grpSp>
            <p:nvGrpSpPr>
              <p:cNvPr id="544" name="Graphic 3">
                <a:extLst>
                  <a:ext uri="{FF2B5EF4-FFF2-40B4-BE49-F238E27FC236}">
                    <a16:creationId xmlns:a16="http://schemas.microsoft.com/office/drawing/2014/main" id="{B9323806-1AC3-4913-819C-CE6887339747}"/>
                  </a:ext>
                </a:extLst>
              </p:cNvPr>
              <p:cNvGrpSpPr/>
              <p:nvPr/>
            </p:nvGrpSpPr>
            <p:grpSpPr>
              <a:xfrm>
                <a:off x="6026553" y="1454731"/>
                <a:ext cx="19916" cy="175714"/>
                <a:chOff x="6026553" y="1454731"/>
                <a:chExt cx="19916" cy="175714"/>
              </a:xfrm>
              <a:grpFill/>
            </p:grpSpPr>
            <p:sp>
              <p:nvSpPr>
                <p:cNvPr id="3755" name="Vrije vorm: vorm 3754">
                  <a:extLst>
                    <a:ext uri="{FF2B5EF4-FFF2-40B4-BE49-F238E27FC236}">
                      <a16:creationId xmlns:a16="http://schemas.microsoft.com/office/drawing/2014/main" id="{4702B2E7-74B5-47B2-81F1-E36D73003251}"/>
                    </a:ext>
                  </a:extLst>
                </p:cNvPr>
                <p:cNvSpPr/>
                <p:nvPr/>
              </p:nvSpPr>
              <p:spPr>
                <a:xfrm>
                  <a:off x="6034149" y="1463523"/>
                  <a:ext cx="4605" cy="158190"/>
                </a:xfrm>
                <a:custGeom>
                  <a:avLst/>
                  <a:gdLst>
                    <a:gd name="connsiteX0" fmla="*/ 3050 w 4605"/>
                    <a:gd name="connsiteY0" fmla="*/ 0 h 158190"/>
                    <a:gd name="connsiteX1" fmla="*/ 4605 w 4605"/>
                    <a:gd name="connsiteY1" fmla="*/ 158190 h 158190"/>
                    <a:gd name="connsiteX2" fmla="*/ 1615 w 4605"/>
                    <a:gd name="connsiteY2" fmla="*/ 158190 h 158190"/>
                    <a:gd name="connsiteX3" fmla="*/ 0 w 4605"/>
                    <a:gd name="connsiteY3" fmla="*/ 0 h 158190"/>
                  </a:gdLst>
                  <a:ahLst/>
                  <a:cxnLst>
                    <a:cxn ang="0">
                      <a:pos x="connsiteX0" y="connsiteY0"/>
                    </a:cxn>
                    <a:cxn ang="0">
                      <a:pos x="connsiteX1" y="connsiteY1"/>
                    </a:cxn>
                    <a:cxn ang="0">
                      <a:pos x="connsiteX2" y="connsiteY2"/>
                    </a:cxn>
                    <a:cxn ang="0">
                      <a:pos x="connsiteX3" y="connsiteY3"/>
                    </a:cxn>
                  </a:cxnLst>
                  <a:rect l="l" t="t" r="r" b="b"/>
                  <a:pathLst>
                    <a:path w="4605" h="158190">
                      <a:moveTo>
                        <a:pt x="3050" y="0"/>
                      </a:moveTo>
                      <a:lnTo>
                        <a:pt x="4605" y="158190"/>
                      </a:lnTo>
                      <a:lnTo>
                        <a:pt x="1615" y="158190"/>
                      </a:lnTo>
                      <a:lnTo>
                        <a:pt x="0" y="0"/>
                      </a:lnTo>
                      <a:close/>
                    </a:path>
                  </a:pathLst>
                </a:custGeom>
                <a:grpFill/>
                <a:ln w="5978" cap="flat">
                  <a:noFill/>
                  <a:prstDash val="solid"/>
                  <a:miter/>
                </a:ln>
              </p:spPr>
              <p:txBody>
                <a:bodyPr rtlCol="0" anchor="ctr"/>
                <a:lstStyle/>
                <a:p>
                  <a:endParaRPr lang="en-GB"/>
                </a:p>
              </p:txBody>
            </p:sp>
            <p:sp>
              <p:nvSpPr>
                <p:cNvPr id="3756" name="Vrije vorm: vorm 3755">
                  <a:extLst>
                    <a:ext uri="{FF2B5EF4-FFF2-40B4-BE49-F238E27FC236}">
                      <a16:creationId xmlns:a16="http://schemas.microsoft.com/office/drawing/2014/main" id="{28B2CBA5-15F6-46A0-B569-045B84EBBE3F}"/>
                    </a:ext>
                  </a:extLst>
                </p:cNvPr>
                <p:cNvSpPr/>
                <p:nvPr/>
              </p:nvSpPr>
              <p:spPr>
                <a:xfrm>
                  <a:off x="6026553" y="1454731"/>
                  <a:ext cx="18362" cy="18421"/>
                </a:xfrm>
                <a:custGeom>
                  <a:avLst/>
                  <a:gdLst>
                    <a:gd name="connsiteX0" fmla="*/ 1 w 18362"/>
                    <a:gd name="connsiteY0" fmla="*/ 9270 h 18421"/>
                    <a:gd name="connsiteX1" fmla="*/ 9091 w 18362"/>
                    <a:gd name="connsiteY1" fmla="*/ 0 h 18421"/>
                    <a:gd name="connsiteX2" fmla="*/ 18362 w 18362"/>
                    <a:gd name="connsiteY2" fmla="*/ 9151 h 18421"/>
                    <a:gd name="connsiteX3" fmla="*/ 9271 w 18362"/>
                    <a:gd name="connsiteY3" fmla="*/ 18421 h 18421"/>
                    <a:gd name="connsiteX4" fmla="*/ 1 w 18362"/>
                    <a:gd name="connsiteY4" fmla="*/ 927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0"/>
                      </a:moveTo>
                      <a:cubicBezTo>
                        <a:pt x="-59" y="4187"/>
                        <a:pt x="4008" y="60"/>
                        <a:pt x="9091" y="0"/>
                      </a:cubicBezTo>
                      <a:cubicBezTo>
                        <a:pt x="14175" y="0"/>
                        <a:pt x="18302" y="4067"/>
                        <a:pt x="18362" y="9151"/>
                      </a:cubicBezTo>
                      <a:cubicBezTo>
                        <a:pt x="18421" y="14234"/>
                        <a:pt x="14354" y="18361"/>
                        <a:pt x="9271" y="18421"/>
                      </a:cubicBezTo>
                      <a:cubicBezTo>
                        <a:pt x="4187" y="18480"/>
                        <a:pt x="1" y="14414"/>
                        <a:pt x="1" y="9270"/>
                      </a:cubicBezTo>
                      <a:close/>
                    </a:path>
                  </a:pathLst>
                </a:custGeom>
                <a:grpFill/>
                <a:ln w="5978" cap="flat">
                  <a:noFill/>
                  <a:prstDash val="solid"/>
                  <a:miter/>
                </a:ln>
              </p:spPr>
              <p:txBody>
                <a:bodyPr rtlCol="0" anchor="ctr"/>
                <a:lstStyle/>
                <a:p>
                  <a:endParaRPr lang="en-GB"/>
                </a:p>
              </p:txBody>
            </p:sp>
            <p:sp>
              <p:nvSpPr>
                <p:cNvPr id="3757" name="Vrije vorm: vorm 3756">
                  <a:extLst>
                    <a:ext uri="{FF2B5EF4-FFF2-40B4-BE49-F238E27FC236}">
                      <a16:creationId xmlns:a16="http://schemas.microsoft.com/office/drawing/2014/main" id="{5A14D198-D81A-442D-923C-2E2D1004FA98}"/>
                    </a:ext>
                  </a:extLst>
                </p:cNvPr>
                <p:cNvSpPr/>
                <p:nvPr/>
              </p:nvSpPr>
              <p:spPr>
                <a:xfrm>
                  <a:off x="6028108" y="1612023"/>
                  <a:ext cx="18362" cy="18421"/>
                </a:xfrm>
                <a:custGeom>
                  <a:avLst/>
                  <a:gdLst>
                    <a:gd name="connsiteX0" fmla="*/ 1 w 18362"/>
                    <a:gd name="connsiteY0" fmla="*/ 9271 h 18421"/>
                    <a:gd name="connsiteX1" fmla="*/ 9271 w 18362"/>
                    <a:gd name="connsiteY1" fmla="*/ 18421 h 18421"/>
                    <a:gd name="connsiteX2" fmla="*/ 18362 w 18362"/>
                    <a:gd name="connsiteY2" fmla="*/ 9151 h 18421"/>
                    <a:gd name="connsiteX3" fmla="*/ 9091 w 18362"/>
                    <a:gd name="connsiteY3" fmla="*/ 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61" y="14354"/>
                        <a:pt x="4187" y="18481"/>
                        <a:pt x="9271" y="18421"/>
                      </a:cubicBezTo>
                      <a:cubicBezTo>
                        <a:pt x="14355" y="18362"/>
                        <a:pt x="18421" y="14235"/>
                        <a:pt x="18362" y="9151"/>
                      </a:cubicBezTo>
                      <a:cubicBezTo>
                        <a:pt x="18302" y="4068"/>
                        <a:pt x="14175" y="-59"/>
                        <a:pt x="9091" y="1"/>
                      </a:cubicBezTo>
                      <a:cubicBezTo>
                        <a:pt x="4008" y="1"/>
                        <a:pt x="-59" y="4187"/>
                        <a:pt x="1" y="9271"/>
                      </a:cubicBezTo>
                      <a:close/>
                    </a:path>
                  </a:pathLst>
                </a:custGeom>
                <a:grpFill/>
                <a:ln w="5978" cap="flat">
                  <a:noFill/>
                  <a:prstDash val="solid"/>
                  <a:miter/>
                </a:ln>
              </p:spPr>
              <p:txBody>
                <a:bodyPr rtlCol="0" anchor="ctr"/>
                <a:lstStyle/>
                <a:p>
                  <a:endParaRPr lang="en-GB"/>
                </a:p>
              </p:txBody>
            </p:sp>
          </p:grpSp>
          <p:grpSp>
            <p:nvGrpSpPr>
              <p:cNvPr id="545" name="Graphic 3">
                <a:extLst>
                  <a:ext uri="{FF2B5EF4-FFF2-40B4-BE49-F238E27FC236}">
                    <a16:creationId xmlns:a16="http://schemas.microsoft.com/office/drawing/2014/main" id="{14D7671C-1372-4064-9620-D510FEA0C766}"/>
                  </a:ext>
                </a:extLst>
              </p:cNvPr>
              <p:cNvGrpSpPr/>
              <p:nvPr/>
            </p:nvGrpSpPr>
            <p:grpSpPr>
              <a:xfrm>
                <a:off x="6060404" y="1619200"/>
                <a:ext cx="19318" cy="123503"/>
                <a:chOff x="6060404" y="1619200"/>
                <a:chExt cx="19318" cy="123503"/>
              </a:xfrm>
              <a:grpFill/>
            </p:grpSpPr>
            <p:sp>
              <p:nvSpPr>
                <p:cNvPr id="3752" name="Vrije vorm: vorm 3751">
                  <a:extLst>
                    <a:ext uri="{FF2B5EF4-FFF2-40B4-BE49-F238E27FC236}">
                      <a16:creationId xmlns:a16="http://schemas.microsoft.com/office/drawing/2014/main" id="{F1536D28-02B4-46DA-8DF9-959B092DC89E}"/>
                    </a:ext>
                  </a:extLst>
                </p:cNvPr>
                <p:cNvSpPr/>
                <p:nvPr/>
              </p:nvSpPr>
              <p:spPr>
                <a:xfrm>
                  <a:off x="6068060" y="1627933"/>
                  <a:ext cx="3947" cy="106038"/>
                </a:xfrm>
                <a:custGeom>
                  <a:avLst/>
                  <a:gdLst>
                    <a:gd name="connsiteX0" fmla="*/ 3947 w 3947"/>
                    <a:gd name="connsiteY0" fmla="*/ 0 h 106038"/>
                    <a:gd name="connsiteX1" fmla="*/ 3050 w 3947"/>
                    <a:gd name="connsiteY1" fmla="*/ 106038 h 106038"/>
                    <a:gd name="connsiteX2" fmla="*/ 0 w 3947"/>
                    <a:gd name="connsiteY2" fmla="*/ 105978 h 106038"/>
                    <a:gd name="connsiteX3" fmla="*/ 897 w 3947"/>
                    <a:gd name="connsiteY3" fmla="*/ 0 h 106038"/>
                  </a:gdLst>
                  <a:ahLst/>
                  <a:cxnLst>
                    <a:cxn ang="0">
                      <a:pos x="connsiteX0" y="connsiteY0"/>
                    </a:cxn>
                    <a:cxn ang="0">
                      <a:pos x="connsiteX1" y="connsiteY1"/>
                    </a:cxn>
                    <a:cxn ang="0">
                      <a:pos x="connsiteX2" y="connsiteY2"/>
                    </a:cxn>
                    <a:cxn ang="0">
                      <a:pos x="connsiteX3" y="connsiteY3"/>
                    </a:cxn>
                  </a:cxnLst>
                  <a:rect l="l" t="t" r="r" b="b"/>
                  <a:pathLst>
                    <a:path w="3947" h="106038">
                      <a:moveTo>
                        <a:pt x="3947" y="0"/>
                      </a:moveTo>
                      <a:lnTo>
                        <a:pt x="3050" y="106038"/>
                      </a:lnTo>
                      <a:lnTo>
                        <a:pt x="0" y="105978"/>
                      </a:lnTo>
                      <a:lnTo>
                        <a:pt x="897" y="0"/>
                      </a:lnTo>
                      <a:close/>
                    </a:path>
                  </a:pathLst>
                </a:custGeom>
                <a:grpFill/>
                <a:ln w="5978" cap="flat">
                  <a:noFill/>
                  <a:prstDash val="solid"/>
                  <a:miter/>
                </a:ln>
              </p:spPr>
              <p:txBody>
                <a:bodyPr rtlCol="0" anchor="ctr"/>
                <a:lstStyle/>
                <a:p>
                  <a:endParaRPr lang="en-GB"/>
                </a:p>
              </p:txBody>
            </p:sp>
            <p:sp>
              <p:nvSpPr>
                <p:cNvPr id="3753" name="Vrije vorm: vorm 3752">
                  <a:extLst>
                    <a:ext uri="{FF2B5EF4-FFF2-40B4-BE49-F238E27FC236}">
                      <a16:creationId xmlns:a16="http://schemas.microsoft.com/office/drawing/2014/main" id="{2C33C638-7583-47A9-AF59-E0F6D6396BAE}"/>
                    </a:ext>
                  </a:extLst>
                </p:cNvPr>
                <p:cNvSpPr/>
                <p:nvPr/>
              </p:nvSpPr>
              <p:spPr>
                <a:xfrm>
                  <a:off x="6061361" y="1619200"/>
                  <a:ext cx="18361" cy="18421"/>
                </a:xfrm>
                <a:custGeom>
                  <a:avLst/>
                  <a:gdLst>
                    <a:gd name="connsiteX0" fmla="*/ 1 w 18361"/>
                    <a:gd name="connsiteY0" fmla="*/ 9091 h 18421"/>
                    <a:gd name="connsiteX1" fmla="*/ 9271 w 18361"/>
                    <a:gd name="connsiteY1" fmla="*/ 1 h 18421"/>
                    <a:gd name="connsiteX2" fmla="*/ 18361 w 18361"/>
                    <a:gd name="connsiteY2" fmla="*/ 9331 h 18421"/>
                    <a:gd name="connsiteX3" fmla="*/ 9091 w 18361"/>
                    <a:gd name="connsiteY3" fmla="*/ 18421 h 18421"/>
                    <a:gd name="connsiteX4" fmla="*/ 1 w 18361"/>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1" y="9091"/>
                      </a:moveTo>
                      <a:cubicBezTo>
                        <a:pt x="60" y="4008"/>
                        <a:pt x="4187" y="-59"/>
                        <a:pt x="9271" y="1"/>
                      </a:cubicBezTo>
                      <a:cubicBezTo>
                        <a:pt x="14354" y="61"/>
                        <a:pt x="18421" y="4247"/>
                        <a:pt x="18361" y="9331"/>
                      </a:cubicBezTo>
                      <a:cubicBezTo>
                        <a:pt x="18302" y="14414"/>
                        <a:pt x="14175" y="18481"/>
                        <a:pt x="9091" y="18421"/>
                      </a:cubicBezTo>
                      <a:cubicBezTo>
                        <a:pt x="4008" y="18362"/>
                        <a:pt x="-59" y="14175"/>
                        <a:pt x="1" y="9091"/>
                      </a:cubicBezTo>
                      <a:close/>
                    </a:path>
                  </a:pathLst>
                </a:custGeom>
                <a:grpFill/>
                <a:ln w="5978" cap="flat">
                  <a:noFill/>
                  <a:prstDash val="solid"/>
                  <a:miter/>
                </a:ln>
              </p:spPr>
              <p:txBody>
                <a:bodyPr rtlCol="0" anchor="ctr"/>
                <a:lstStyle/>
                <a:p>
                  <a:endParaRPr lang="en-GB"/>
                </a:p>
              </p:txBody>
            </p:sp>
            <p:sp>
              <p:nvSpPr>
                <p:cNvPr id="3754" name="Vrije vorm: vorm 3753">
                  <a:extLst>
                    <a:ext uri="{FF2B5EF4-FFF2-40B4-BE49-F238E27FC236}">
                      <a16:creationId xmlns:a16="http://schemas.microsoft.com/office/drawing/2014/main" id="{8E6226F7-6AD1-483D-ADCB-8B9C4D29FDD0}"/>
                    </a:ext>
                  </a:extLst>
                </p:cNvPr>
                <p:cNvSpPr/>
                <p:nvPr/>
              </p:nvSpPr>
              <p:spPr>
                <a:xfrm>
                  <a:off x="6060404" y="1724282"/>
                  <a:ext cx="18362" cy="18421"/>
                </a:xfrm>
                <a:custGeom>
                  <a:avLst/>
                  <a:gdLst>
                    <a:gd name="connsiteX0" fmla="*/ 1 w 18362"/>
                    <a:gd name="connsiteY0" fmla="*/ 9091 h 18421"/>
                    <a:gd name="connsiteX1" fmla="*/ 9091 w 18362"/>
                    <a:gd name="connsiteY1" fmla="*/ 18421 h 18421"/>
                    <a:gd name="connsiteX2" fmla="*/ 18362 w 18362"/>
                    <a:gd name="connsiteY2" fmla="*/ 9331 h 18421"/>
                    <a:gd name="connsiteX3" fmla="*/ 9271 w 18362"/>
                    <a:gd name="connsiteY3" fmla="*/ 1 h 18421"/>
                    <a:gd name="connsiteX4" fmla="*/ 1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091"/>
                      </a:moveTo>
                      <a:cubicBezTo>
                        <a:pt x="-59" y="14175"/>
                        <a:pt x="4008" y="18361"/>
                        <a:pt x="9091" y="18421"/>
                      </a:cubicBezTo>
                      <a:cubicBezTo>
                        <a:pt x="14175" y="18481"/>
                        <a:pt x="18302" y="14414"/>
                        <a:pt x="18362" y="9331"/>
                      </a:cubicBezTo>
                      <a:cubicBezTo>
                        <a:pt x="18421" y="4247"/>
                        <a:pt x="14355" y="60"/>
                        <a:pt x="9271" y="1"/>
                      </a:cubicBezTo>
                      <a:cubicBezTo>
                        <a:pt x="4187" y="-59"/>
                        <a:pt x="61" y="4008"/>
                        <a:pt x="1" y="9091"/>
                      </a:cubicBezTo>
                      <a:close/>
                    </a:path>
                  </a:pathLst>
                </a:custGeom>
                <a:grpFill/>
                <a:ln w="5978" cap="flat">
                  <a:noFill/>
                  <a:prstDash val="solid"/>
                  <a:miter/>
                </a:ln>
              </p:spPr>
              <p:txBody>
                <a:bodyPr rtlCol="0" anchor="ctr"/>
                <a:lstStyle/>
                <a:p>
                  <a:endParaRPr lang="en-GB"/>
                </a:p>
              </p:txBody>
            </p:sp>
          </p:grpSp>
          <p:grpSp>
            <p:nvGrpSpPr>
              <p:cNvPr id="546" name="Graphic 3">
                <a:extLst>
                  <a:ext uri="{FF2B5EF4-FFF2-40B4-BE49-F238E27FC236}">
                    <a16:creationId xmlns:a16="http://schemas.microsoft.com/office/drawing/2014/main" id="{C5836F52-B9FF-4DDB-BEB8-7B1E30D2021A}"/>
                  </a:ext>
                </a:extLst>
              </p:cNvPr>
              <p:cNvGrpSpPr/>
              <p:nvPr/>
            </p:nvGrpSpPr>
            <p:grpSpPr>
              <a:xfrm>
                <a:off x="5998793" y="1247902"/>
                <a:ext cx="43441" cy="497030"/>
                <a:chOff x="5998793" y="1247902"/>
                <a:chExt cx="43441" cy="497030"/>
              </a:xfrm>
              <a:grpFill/>
            </p:grpSpPr>
            <p:sp>
              <p:nvSpPr>
                <p:cNvPr id="3749" name="Vrije vorm: vorm 3748">
                  <a:extLst>
                    <a:ext uri="{FF2B5EF4-FFF2-40B4-BE49-F238E27FC236}">
                      <a16:creationId xmlns:a16="http://schemas.microsoft.com/office/drawing/2014/main" id="{95420BF9-51C6-4521-B39B-5767E98F277C}"/>
                    </a:ext>
                  </a:extLst>
                </p:cNvPr>
                <p:cNvSpPr/>
                <p:nvPr/>
              </p:nvSpPr>
              <p:spPr>
                <a:xfrm>
                  <a:off x="6006399" y="1256650"/>
                  <a:ext cx="28228" cy="479653"/>
                </a:xfrm>
                <a:custGeom>
                  <a:avLst/>
                  <a:gdLst>
                    <a:gd name="connsiteX0" fmla="*/ 28229 w 28228"/>
                    <a:gd name="connsiteY0" fmla="*/ 179 h 479653"/>
                    <a:gd name="connsiteX1" fmla="*/ 3050 w 28228"/>
                    <a:gd name="connsiteY1" fmla="*/ 479654 h 479653"/>
                    <a:gd name="connsiteX2" fmla="*/ 0 w 28228"/>
                    <a:gd name="connsiteY2" fmla="*/ 479474 h 479653"/>
                    <a:gd name="connsiteX3" fmla="*/ 25179 w 28228"/>
                    <a:gd name="connsiteY3" fmla="*/ 0 h 479653"/>
                  </a:gdLst>
                  <a:ahLst/>
                  <a:cxnLst>
                    <a:cxn ang="0">
                      <a:pos x="connsiteX0" y="connsiteY0"/>
                    </a:cxn>
                    <a:cxn ang="0">
                      <a:pos x="connsiteX1" y="connsiteY1"/>
                    </a:cxn>
                    <a:cxn ang="0">
                      <a:pos x="connsiteX2" y="connsiteY2"/>
                    </a:cxn>
                    <a:cxn ang="0">
                      <a:pos x="connsiteX3" y="connsiteY3"/>
                    </a:cxn>
                  </a:cxnLst>
                  <a:rect l="l" t="t" r="r" b="b"/>
                  <a:pathLst>
                    <a:path w="28228" h="479653">
                      <a:moveTo>
                        <a:pt x="28229" y="179"/>
                      </a:moveTo>
                      <a:lnTo>
                        <a:pt x="3050" y="479654"/>
                      </a:lnTo>
                      <a:lnTo>
                        <a:pt x="0" y="479474"/>
                      </a:lnTo>
                      <a:lnTo>
                        <a:pt x="25179" y="0"/>
                      </a:lnTo>
                      <a:close/>
                    </a:path>
                  </a:pathLst>
                </a:custGeom>
                <a:grpFill/>
                <a:ln w="5978" cap="flat">
                  <a:noFill/>
                  <a:prstDash val="solid"/>
                  <a:miter/>
                </a:ln>
              </p:spPr>
              <p:txBody>
                <a:bodyPr rtlCol="0" anchor="ctr"/>
                <a:lstStyle/>
                <a:p>
                  <a:endParaRPr lang="en-GB"/>
                </a:p>
              </p:txBody>
            </p:sp>
            <p:sp>
              <p:nvSpPr>
                <p:cNvPr id="3750" name="Vrije vorm: vorm 3749">
                  <a:extLst>
                    <a:ext uri="{FF2B5EF4-FFF2-40B4-BE49-F238E27FC236}">
                      <a16:creationId xmlns:a16="http://schemas.microsoft.com/office/drawing/2014/main" id="{7909405A-3DFF-4EE9-8F2B-418F305D4D63}"/>
                    </a:ext>
                  </a:extLst>
                </p:cNvPr>
                <p:cNvSpPr/>
                <p:nvPr/>
              </p:nvSpPr>
              <p:spPr>
                <a:xfrm>
                  <a:off x="5998793" y="1726479"/>
                  <a:ext cx="18322" cy="18452"/>
                </a:xfrm>
                <a:custGeom>
                  <a:avLst/>
                  <a:gdLst>
                    <a:gd name="connsiteX0" fmla="*/ 18312 w 18322"/>
                    <a:gd name="connsiteY0" fmla="*/ 9765 h 18452"/>
                    <a:gd name="connsiteX1" fmla="*/ 8683 w 18322"/>
                    <a:gd name="connsiteY1" fmla="*/ 18437 h 18452"/>
                    <a:gd name="connsiteX2" fmla="*/ 11 w 18322"/>
                    <a:gd name="connsiteY2" fmla="*/ 8688 h 18452"/>
                    <a:gd name="connsiteX3" fmla="*/ 9639 w 18322"/>
                    <a:gd name="connsiteY3" fmla="*/ 16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073" y="14848"/>
                        <a:pt x="13706" y="18736"/>
                        <a:pt x="8683" y="18437"/>
                      </a:cubicBezTo>
                      <a:cubicBezTo>
                        <a:pt x="3599" y="18138"/>
                        <a:pt x="-228" y="13772"/>
                        <a:pt x="11" y="8688"/>
                      </a:cubicBezTo>
                      <a:cubicBezTo>
                        <a:pt x="250" y="3605"/>
                        <a:pt x="4616" y="-283"/>
                        <a:pt x="9639" y="16"/>
                      </a:cubicBezTo>
                      <a:cubicBezTo>
                        <a:pt x="14723" y="375"/>
                        <a:pt x="18551" y="4741"/>
                        <a:pt x="18312" y="9765"/>
                      </a:cubicBezTo>
                      <a:close/>
                    </a:path>
                  </a:pathLst>
                </a:custGeom>
                <a:grpFill/>
                <a:ln w="5978" cap="flat">
                  <a:noFill/>
                  <a:prstDash val="solid"/>
                  <a:miter/>
                </a:ln>
              </p:spPr>
              <p:txBody>
                <a:bodyPr rtlCol="0" anchor="ctr"/>
                <a:lstStyle/>
                <a:p>
                  <a:endParaRPr lang="en-GB"/>
                </a:p>
              </p:txBody>
            </p:sp>
            <p:sp>
              <p:nvSpPr>
                <p:cNvPr id="3751" name="Vrije vorm: vorm 3750">
                  <a:extLst>
                    <a:ext uri="{FF2B5EF4-FFF2-40B4-BE49-F238E27FC236}">
                      <a16:creationId xmlns:a16="http://schemas.microsoft.com/office/drawing/2014/main" id="{25FD513A-27A8-4536-B201-B6F7E091CC4A}"/>
                    </a:ext>
                  </a:extLst>
                </p:cNvPr>
                <p:cNvSpPr/>
                <p:nvPr/>
              </p:nvSpPr>
              <p:spPr>
                <a:xfrm>
                  <a:off x="6023912" y="1247902"/>
                  <a:ext cx="18322" cy="18452"/>
                </a:xfrm>
                <a:custGeom>
                  <a:avLst/>
                  <a:gdLst>
                    <a:gd name="connsiteX0" fmla="*/ 18312 w 18322"/>
                    <a:gd name="connsiteY0" fmla="*/ 9765 h 18452"/>
                    <a:gd name="connsiteX1" fmla="*/ 9640 w 18322"/>
                    <a:gd name="connsiteY1" fmla="*/ 16 h 18452"/>
                    <a:gd name="connsiteX2" fmla="*/ 11 w 18322"/>
                    <a:gd name="connsiteY2" fmla="*/ 8688 h 18452"/>
                    <a:gd name="connsiteX3" fmla="*/ 8682 w 18322"/>
                    <a:gd name="connsiteY3" fmla="*/ 18437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551" y="4681"/>
                        <a:pt x="14723" y="315"/>
                        <a:pt x="9640" y="16"/>
                      </a:cubicBezTo>
                      <a:cubicBezTo>
                        <a:pt x="4556" y="-283"/>
                        <a:pt x="250" y="3605"/>
                        <a:pt x="11" y="8688"/>
                      </a:cubicBezTo>
                      <a:cubicBezTo>
                        <a:pt x="-229" y="13772"/>
                        <a:pt x="3599" y="18138"/>
                        <a:pt x="8682" y="18437"/>
                      </a:cubicBezTo>
                      <a:cubicBezTo>
                        <a:pt x="13706" y="18736"/>
                        <a:pt x="18013" y="14848"/>
                        <a:pt x="18312" y="9765"/>
                      </a:cubicBezTo>
                      <a:close/>
                    </a:path>
                  </a:pathLst>
                </a:custGeom>
                <a:grpFill/>
                <a:ln w="5978" cap="flat">
                  <a:noFill/>
                  <a:prstDash val="solid"/>
                  <a:miter/>
                </a:ln>
              </p:spPr>
              <p:txBody>
                <a:bodyPr rtlCol="0" anchor="ctr"/>
                <a:lstStyle/>
                <a:p>
                  <a:endParaRPr lang="en-GB"/>
                </a:p>
              </p:txBody>
            </p:sp>
          </p:grpSp>
          <p:grpSp>
            <p:nvGrpSpPr>
              <p:cNvPr id="547" name="Graphic 3">
                <a:extLst>
                  <a:ext uri="{FF2B5EF4-FFF2-40B4-BE49-F238E27FC236}">
                    <a16:creationId xmlns:a16="http://schemas.microsoft.com/office/drawing/2014/main" id="{142E6E95-7E0B-418F-A281-58C78C2C7D05}"/>
                  </a:ext>
                </a:extLst>
              </p:cNvPr>
              <p:cNvGrpSpPr/>
              <p:nvPr/>
            </p:nvGrpSpPr>
            <p:grpSpPr>
              <a:xfrm>
                <a:off x="7065995" y="4751719"/>
                <a:ext cx="95308" cy="119862"/>
                <a:chOff x="7065995" y="4751719"/>
                <a:chExt cx="95308" cy="119862"/>
              </a:xfrm>
              <a:grpFill/>
            </p:grpSpPr>
            <p:sp>
              <p:nvSpPr>
                <p:cNvPr id="3746" name="Vrije vorm: vorm 3745">
                  <a:extLst>
                    <a:ext uri="{FF2B5EF4-FFF2-40B4-BE49-F238E27FC236}">
                      <a16:creationId xmlns:a16="http://schemas.microsoft.com/office/drawing/2014/main" id="{1C7BC87B-43DB-4033-96C4-24BA65F03859}"/>
                    </a:ext>
                  </a:extLst>
                </p:cNvPr>
                <p:cNvSpPr/>
                <p:nvPr/>
              </p:nvSpPr>
              <p:spPr>
                <a:xfrm>
                  <a:off x="7073659" y="4759618"/>
                  <a:ext cx="79962" cy="104064"/>
                </a:xfrm>
                <a:custGeom>
                  <a:avLst/>
                  <a:gdLst>
                    <a:gd name="connsiteX0" fmla="*/ 79962 w 79962"/>
                    <a:gd name="connsiteY0" fmla="*/ 102211 h 104064"/>
                    <a:gd name="connsiteX1" fmla="*/ 77570 w 79962"/>
                    <a:gd name="connsiteY1" fmla="*/ 104065 h 104064"/>
                    <a:gd name="connsiteX2" fmla="*/ 0 w 79962"/>
                    <a:gd name="connsiteY2" fmla="*/ 1854 h 104064"/>
                    <a:gd name="connsiteX3" fmla="*/ 2392 w 79962"/>
                    <a:gd name="connsiteY3" fmla="*/ 0 h 104064"/>
                  </a:gdLst>
                  <a:ahLst/>
                  <a:cxnLst>
                    <a:cxn ang="0">
                      <a:pos x="connsiteX0" y="connsiteY0"/>
                    </a:cxn>
                    <a:cxn ang="0">
                      <a:pos x="connsiteX1" y="connsiteY1"/>
                    </a:cxn>
                    <a:cxn ang="0">
                      <a:pos x="connsiteX2" y="connsiteY2"/>
                    </a:cxn>
                    <a:cxn ang="0">
                      <a:pos x="connsiteX3" y="connsiteY3"/>
                    </a:cxn>
                  </a:cxnLst>
                  <a:rect l="l" t="t" r="r" b="b"/>
                  <a:pathLst>
                    <a:path w="79962" h="104064">
                      <a:moveTo>
                        <a:pt x="79962" y="102211"/>
                      </a:moveTo>
                      <a:lnTo>
                        <a:pt x="77570" y="104065"/>
                      </a:lnTo>
                      <a:lnTo>
                        <a:pt x="0" y="1854"/>
                      </a:lnTo>
                      <a:lnTo>
                        <a:pt x="2392" y="0"/>
                      </a:lnTo>
                      <a:close/>
                    </a:path>
                  </a:pathLst>
                </a:custGeom>
                <a:grpFill/>
                <a:ln w="5978" cap="flat">
                  <a:noFill/>
                  <a:prstDash val="solid"/>
                  <a:miter/>
                </a:ln>
              </p:spPr>
              <p:txBody>
                <a:bodyPr rtlCol="0" anchor="ctr"/>
                <a:lstStyle/>
                <a:p>
                  <a:endParaRPr lang="en-GB"/>
                </a:p>
              </p:txBody>
            </p:sp>
            <p:sp>
              <p:nvSpPr>
                <p:cNvPr id="3747" name="Vrije vorm: vorm 3746">
                  <a:extLst>
                    <a:ext uri="{FF2B5EF4-FFF2-40B4-BE49-F238E27FC236}">
                      <a16:creationId xmlns:a16="http://schemas.microsoft.com/office/drawing/2014/main" id="{7F6C006F-7DB0-4141-8AE9-D70D599AD21F}"/>
                    </a:ext>
                  </a:extLst>
                </p:cNvPr>
                <p:cNvSpPr/>
                <p:nvPr/>
              </p:nvSpPr>
              <p:spPr>
                <a:xfrm>
                  <a:off x="7142949" y="4853152"/>
                  <a:ext cx="18354" cy="18429"/>
                </a:xfrm>
                <a:custGeom>
                  <a:avLst/>
                  <a:gdLst>
                    <a:gd name="connsiteX0" fmla="*/ 16473 w 18354"/>
                    <a:gd name="connsiteY0" fmla="*/ 3653 h 18429"/>
                    <a:gd name="connsiteX1" fmla="*/ 14739 w 18354"/>
                    <a:gd name="connsiteY1" fmla="*/ 16571 h 18429"/>
                    <a:gd name="connsiteX2" fmla="*/ 1880 w 18354"/>
                    <a:gd name="connsiteY2" fmla="*/ 14777 h 18429"/>
                    <a:gd name="connsiteX3" fmla="*/ 3615 w 18354"/>
                    <a:gd name="connsiteY3" fmla="*/ 1859 h 18429"/>
                    <a:gd name="connsiteX4" fmla="*/ 16473 w 18354"/>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29">
                      <a:moveTo>
                        <a:pt x="16473" y="3653"/>
                      </a:moveTo>
                      <a:cubicBezTo>
                        <a:pt x="19524" y="7720"/>
                        <a:pt x="18806" y="13461"/>
                        <a:pt x="14739" y="16571"/>
                      </a:cubicBezTo>
                      <a:cubicBezTo>
                        <a:pt x="10732" y="19621"/>
                        <a:pt x="4990" y="18844"/>
                        <a:pt x="1880" y="14777"/>
                      </a:cubicBezTo>
                      <a:cubicBezTo>
                        <a:pt x="-1169" y="10710"/>
                        <a:pt x="-452" y="4969"/>
                        <a:pt x="3615" y="1859"/>
                      </a:cubicBezTo>
                      <a:cubicBezTo>
                        <a:pt x="7622" y="-1192"/>
                        <a:pt x="13423" y="-414"/>
                        <a:pt x="16473" y="3653"/>
                      </a:cubicBezTo>
                      <a:close/>
                    </a:path>
                  </a:pathLst>
                </a:custGeom>
                <a:grpFill/>
                <a:ln w="5978" cap="flat">
                  <a:noFill/>
                  <a:prstDash val="solid"/>
                  <a:miter/>
                </a:ln>
              </p:spPr>
              <p:txBody>
                <a:bodyPr rtlCol="0" anchor="ctr"/>
                <a:lstStyle/>
                <a:p>
                  <a:endParaRPr lang="en-GB"/>
                </a:p>
              </p:txBody>
            </p:sp>
            <p:sp>
              <p:nvSpPr>
                <p:cNvPr id="3748" name="Vrije vorm: vorm 3747">
                  <a:extLst>
                    <a:ext uri="{FF2B5EF4-FFF2-40B4-BE49-F238E27FC236}">
                      <a16:creationId xmlns:a16="http://schemas.microsoft.com/office/drawing/2014/main" id="{304AFE81-00B1-4291-AF0E-47CF44965D9E}"/>
                    </a:ext>
                  </a:extLst>
                </p:cNvPr>
                <p:cNvSpPr/>
                <p:nvPr/>
              </p:nvSpPr>
              <p:spPr>
                <a:xfrm>
                  <a:off x="7065995" y="4751719"/>
                  <a:ext cx="18318" cy="18429"/>
                </a:xfrm>
                <a:custGeom>
                  <a:avLst/>
                  <a:gdLst>
                    <a:gd name="connsiteX0" fmla="*/ 16456 w 18318"/>
                    <a:gd name="connsiteY0" fmla="*/ 3653 h 18429"/>
                    <a:gd name="connsiteX1" fmla="*/ 3597 w 18318"/>
                    <a:gd name="connsiteY1" fmla="*/ 1859 h 18429"/>
                    <a:gd name="connsiteX2" fmla="*/ 1862 w 18318"/>
                    <a:gd name="connsiteY2" fmla="*/ 14777 h 18429"/>
                    <a:gd name="connsiteX3" fmla="*/ 14721 w 18318"/>
                    <a:gd name="connsiteY3" fmla="*/ 16571 h 18429"/>
                    <a:gd name="connsiteX4" fmla="*/ 16456 w 18318"/>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9">
                      <a:moveTo>
                        <a:pt x="16456" y="3653"/>
                      </a:moveTo>
                      <a:cubicBezTo>
                        <a:pt x="13405" y="-414"/>
                        <a:pt x="7604" y="-1192"/>
                        <a:pt x="3597" y="1859"/>
                      </a:cubicBezTo>
                      <a:cubicBezTo>
                        <a:pt x="-410" y="4909"/>
                        <a:pt x="-1187" y="10710"/>
                        <a:pt x="1862" y="14777"/>
                      </a:cubicBezTo>
                      <a:cubicBezTo>
                        <a:pt x="4913" y="18844"/>
                        <a:pt x="10714" y="19621"/>
                        <a:pt x="14721" y="16571"/>
                      </a:cubicBezTo>
                      <a:cubicBezTo>
                        <a:pt x="18728" y="13461"/>
                        <a:pt x="19506" y="7720"/>
                        <a:pt x="16456" y="3653"/>
                      </a:cubicBezTo>
                      <a:close/>
                    </a:path>
                  </a:pathLst>
                </a:custGeom>
                <a:grpFill/>
                <a:ln w="5978" cap="flat">
                  <a:noFill/>
                  <a:prstDash val="solid"/>
                  <a:miter/>
                </a:ln>
              </p:spPr>
              <p:txBody>
                <a:bodyPr rtlCol="0" anchor="ctr"/>
                <a:lstStyle/>
                <a:p>
                  <a:endParaRPr lang="en-GB"/>
                </a:p>
              </p:txBody>
            </p:sp>
          </p:grpSp>
          <p:grpSp>
            <p:nvGrpSpPr>
              <p:cNvPr id="548" name="Graphic 3">
                <a:extLst>
                  <a:ext uri="{FF2B5EF4-FFF2-40B4-BE49-F238E27FC236}">
                    <a16:creationId xmlns:a16="http://schemas.microsoft.com/office/drawing/2014/main" id="{4608D394-E6B3-41BD-A005-E603EF074A56}"/>
                  </a:ext>
                </a:extLst>
              </p:cNvPr>
              <p:cNvGrpSpPr/>
              <p:nvPr/>
            </p:nvGrpSpPr>
            <p:grpSpPr>
              <a:xfrm>
                <a:off x="7101854" y="4853904"/>
                <a:ext cx="82319" cy="106038"/>
                <a:chOff x="7101854" y="4853904"/>
                <a:chExt cx="82319" cy="106038"/>
              </a:xfrm>
              <a:grpFill/>
            </p:grpSpPr>
            <p:sp>
              <p:nvSpPr>
                <p:cNvPr id="3743" name="Vrije vorm: vorm 3742">
                  <a:extLst>
                    <a:ext uri="{FF2B5EF4-FFF2-40B4-BE49-F238E27FC236}">
                      <a16:creationId xmlns:a16="http://schemas.microsoft.com/office/drawing/2014/main" id="{928D52FB-8FF3-4B8D-A069-3956B2B0A7DA}"/>
                    </a:ext>
                  </a:extLst>
                </p:cNvPr>
                <p:cNvSpPr/>
                <p:nvPr/>
              </p:nvSpPr>
              <p:spPr>
                <a:xfrm>
                  <a:off x="7109543" y="4861888"/>
                  <a:ext cx="66983" cy="90129"/>
                </a:xfrm>
                <a:custGeom>
                  <a:avLst/>
                  <a:gdLst>
                    <a:gd name="connsiteX0" fmla="*/ 66984 w 66983"/>
                    <a:gd name="connsiteY0" fmla="*/ 88335 h 90129"/>
                    <a:gd name="connsiteX1" fmla="*/ 64531 w 66983"/>
                    <a:gd name="connsiteY1" fmla="*/ 90129 h 90129"/>
                    <a:gd name="connsiteX2" fmla="*/ 0 w 66983"/>
                    <a:gd name="connsiteY2" fmla="*/ 1794 h 90129"/>
                    <a:gd name="connsiteX3" fmla="*/ 2452 w 66983"/>
                    <a:gd name="connsiteY3" fmla="*/ 0 h 90129"/>
                  </a:gdLst>
                  <a:ahLst/>
                  <a:cxnLst>
                    <a:cxn ang="0">
                      <a:pos x="connsiteX0" y="connsiteY0"/>
                    </a:cxn>
                    <a:cxn ang="0">
                      <a:pos x="connsiteX1" y="connsiteY1"/>
                    </a:cxn>
                    <a:cxn ang="0">
                      <a:pos x="connsiteX2" y="connsiteY2"/>
                    </a:cxn>
                    <a:cxn ang="0">
                      <a:pos x="connsiteX3" y="connsiteY3"/>
                    </a:cxn>
                  </a:cxnLst>
                  <a:rect l="l" t="t" r="r" b="b"/>
                  <a:pathLst>
                    <a:path w="66983" h="90129">
                      <a:moveTo>
                        <a:pt x="66984" y="88335"/>
                      </a:moveTo>
                      <a:lnTo>
                        <a:pt x="64531" y="90129"/>
                      </a:lnTo>
                      <a:lnTo>
                        <a:pt x="0" y="1794"/>
                      </a:lnTo>
                      <a:lnTo>
                        <a:pt x="2452" y="0"/>
                      </a:lnTo>
                      <a:close/>
                    </a:path>
                  </a:pathLst>
                </a:custGeom>
                <a:grpFill/>
                <a:ln w="5978" cap="flat">
                  <a:noFill/>
                  <a:prstDash val="solid"/>
                  <a:miter/>
                </a:ln>
              </p:spPr>
              <p:txBody>
                <a:bodyPr rtlCol="0" anchor="ctr"/>
                <a:lstStyle/>
                <a:p>
                  <a:endParaRPr lang="en-GB"/>
                </a:p>
              </p:txBody>
            </p:sp>
            <p:sp>
              <p:nvSpPr>
                <p:cNvPr id="3744" name="Vrije vorm: vorm 3743">
                  <a:extLst>
                    <a:ext uri="{FF2B5EF4-FFF2-40B4-BE49-F238E27FC236}">
                      <a16:creationId xmlns:a16="http://schemas.microsoft.com/office/drawing/2014/main" id="{C99650E7-C521-4CBE-89E9-14659563CB7E}"/>
                    </a:ext>
                  </a:extLst>
                </p:cNvPr>
                <p:cNvSpPr/>
                <p:nvPr/>
              </p:nvSpPr>
              <p:spPr>
                <a:xfrm>
                  <a:off x="7165830" y="4941564"/>
                  <a:ext cx="18343" cy="18378"/>
                </a:xfrm>
                <a:custGeom>
                  <a:avLst/>
                  <a:gdLst>
                    <a:gd name="connsiteX0" fmla="*/ 16558 w 18343"/>
                    <a:gd name="connsiteY0" fmla="*/ 3755 h 18378"/>
                    <a:gd name="connsiteX1" fmla="*/ 14584 w 18343"/>
                    <a:gd name="connsiteY1" fmla="*/ 16614 h 18378"/>
                    <a:gd name="connsiteX2" fmla="*/ 1786 w 18343"/>
                    <a:gd name="connsiteY2" fmla="*/ 14580 h 18378"/>
                    <a:gd name="connsiteX3" fmla="*/ 3759 w 18343"/>
                    <a:gd name="connsiteY3" fmla="*/ 1722 h 18378"/>
                    <a:gd name="connsiteX4" fmla="*/ 16558 w 18343"/>
                    <a:gd name="connsiteY4" fmla="*/ 3755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8">
                      <a:moveTo>
                        <a:pt x="16558" y="3755"/>
                      </a:moveTo>
                      <a:cubicBezTo>
                        <a:pt x="19548" y="7882"/>
                        <a:pt x="18711" y="13623"/>
                        <a:pt x="14584" y="16614"/>
                      </a:cubicBezTo>
                      <a:cubicBezTo>
                        <a:pt x="10517" y="19604"/>
                        <a:pt x="4776" y="18707"/>
                        <a:pt x="1786" y="14580"/>
                      </a:cubicBezTo>
                      <a:cubicBezTo>
                        <a:pt x="-1205" y="10453"/>
                        <a:pt x="-367" y="4712"/>
                        <a:pt x="3759" y="1722"/>
                      </a:cubicBezTo>
                      <a:cubicBezTo>
                        <a:pt x="7826" y="-1209"/>
                        <a:pt x="13567" y="-312"/>
                        <a:pt x="16558" y="3755"/>
                      </a:cubicBezTo>
                      <a:close/>
                    </a:path>
                  </a:pathLst>
                </a:custGeom>
                <a:grpFill/>
                <a:ln w="5978" cap="flat">
                  <a:noFill/>
                  <a:prstDash val="solid"/>
                  <a:miter/>
                </a:ln>
              </p:spPr>
              <p:txBody>
                <a:bodyPr rtlCol="0" anchor="ctr"/>
                <a:lstStyle/>
                <a:p>
                  <a:endParaRPr lang="en-GB"/>
                </a:p>
              </p:txBody>
            </p:sp>
            <p:sp>
              <p:nvSpPr>
                <p:cNvPr id="3745" name="Vrije vorm: vorm 3744">
                  <a:extLst>
                    <a:ext uri="{FF2B5EF4-FFF2-40B4-BE49-F238E27FC236}">
                      <a16:creationId xmlns:a16="http://schemas.microsoft.com/office/drawing/2014/main" id="{34B99986-8959-4213-8C15-3A425EBD47C4}"/>
                    </a:ext>
                  </a:extLst>
                </p:cNvPr>
                <p:cNvSpPr/>
                <p:nvPr/>
              </p:nvSpPr>
              <p:spPr>
                <a:xfrm>
                  <a:off x="7101854" y="4853904"/>
                  <a:ext cx="18352" cy="18421"/>
                </a:xfrm>
                <a:custGeom>
                  <a:avLst/>
                  <a:gdLst>
                    <a:gd name="connsiteX0" fmla="*/ 16541 w 18352"/>
                    <a:gd name="connsiteY0" fmla="*/ 3798 h 18421"/>
                    <a:gd name="connsiteX1" fmla="*/ 3742 w 18352"/>
                    <a:gd name="connsiteY1" fmla="*/ 1765 h 18421"/>
                    <a:gd name="connsiteX2" fmla="*/ 1769 w 18352"/>
                    <a:gd name="connsiteY2" fmla="*/ 14623 h 18421"/>
                    <a:gd name="connsiteX3" fmla="*/ 14567 w 18352"/>
                    <a:gd name="connsiteY3" fmla="*/ 16656 h 18421"/>
                    <a:gd name="connsiteX4" fmla="*/ 16541 w 18352"/>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21">
                      <a:moveTo>
                        <a:pt x="16541" y="3798"/>
                      </a:moveTo>
                      <a:cubicBezTo>
                        <a:pt x="13550" y="-329"/>
                        <a:pt x="7809" y="-1226"/>
                        <a:pt x="3742" y="1765"/>
                      </a:cubicBezTo>
                      <a:cubicBezTo>
                        <a:pt x="-325" y="4755"/>
                        <a:pt x="-1222" y="10556"/>
                        <a:pt x="1769" y="14623"/>
                      </a:cubicBezTo>
                      <a:cubicBezTo>
                        <a:pt x="4759" y="18750"/>
                        <a:pt x="10500" y="19647"/>
                        <a:pt x="14567" y="16656"/>
                      </a:cubicBezTo>
                      <a:cubicBezTo>
                        <a:pt x="18694" y="13666"/>
                        <a:pt x="19591" y="7925"/>
                        <a:pt x="16541" y="3798"/>
                      </a:cubicBezTo>
                      <a:close/>
                    </a:path>
                  </a:pathLst>
                </a:custGeom>
                <a:grpFill/>
                <a:ln w="5978" cap="flat">
                  <a:noFill/>
                  <a:prstDash val="solid"/>
                  <a:miter/>
                </a:ln>
              </p:spPr>
              <p:txBody>
                <a:bodyPr rtlCol="0" anchor="ctr"/>
                <a:lstStyle/>
                <a:p>
                  <a:endParaRPr lang="en-GB"/>
                </a:p>
              </p:txBody>
            </p:sp>
          </p:grpSp>
          <p:grpSp>
            <p:nvGrpSpPr>
              <p:cNvPr id="549" name="Graphic 3">
                <a:extLst>
                  <a:ext uri="{FF2B5EF4-FFF2-40B4-BE49-F238E27FC236}">
                    <a16:creationId xmlns:a16="http://schemas.microsoft.com/office/drawing/2014/main" id="{83C53D6E-153D-4A66-9D15-D9129EF024FD}"/>
                  </a:ext>
                </a:extLst>
              </p:cNvPr>
              <p:cNvGrpSpPr/>
              <p:nvPr/>
            </p:nvGrpSpPr>
            <p:grpSpPr>
              <a:xfrm>
                <a:off x="7044136" y="4776163"/>
                <a:ext cx="261220" cy="416580"/>
                <a:chOff x="7044136" y="4776163"/>
                <a:chExt cx="261220" cy="416580"/>
              </a:xfrm>
              <a:grpFill/>
            </p:grpSpPr>
            <p:sp>
              <p:nvSpPr>
                <p:cNvPr id="3740" name="Vrije vorm: vorm 3739">
                  <a:extLst>
                    <a:ext uri="{FF2B5EF4-FFF2-40B4-BE49-F238E27FC236}">
                      <a16:creationId xmlns:a16="http://schemas.microsoft.com/office/drawing/2014/main" id="{808A5D4B-1E06-4069-9AAB-D57C7B78EFF8}"/>
                    </a:ext>
                  </a:extLst>
                </p:cNvPr>
                <p:cNvSpPr/>
                <p:nvPr/>
              </p:nvSpPr>
              <p:spPr>
                <a:xfrm>
                  <a:off x="7051769" y="4784198"/>
                  <a:ext cx="245927" cy="400529"/>
                </a:xfrm>
                <a:custGeom>
                  <a:avLst/>
                  <a:gdLst>
                    <a:gd name="connsiteX0" fmla="*/ 245927 w 245927"/>
                    <a:gd name="connsiteY0" fmla="*/ 398914 h 400529"/>
                    <a:gd name="connsiteX1" fmla="*/ 243355 w 245927"/>
                    <a:gd name="connsiteY1" fmla="*/ 400529 h 400529"/>
                    <a:gd name="connsiteX2" fmla="*/ 0 w 245927"/>
                    <a:gd name="connsiteY2" fmla="*/ 1615 h 400529"/>
                    <a:gd name="connsiteX3" fmla="*/ 2631 w 245927"/>
                    <a:gd name="connsiteY3" fmla="*/ 0 h 400529"/>
                  </a:gdLst>
                  <a:ahLst/>
                  <a:cxnLst>
                    <a:cxn ang="0">
                      <a:pos x="connsiteX0" y="connsiteY0"/>
                    </a:cxn>
                    <a:cxn ang="0">
                      <a:pos x="connsiteX1" y="connsiteY1"/>
                    </a:cxn>
                    <a:cxn ang="0">
                      <a:pos x="connsiteX2" y="connsiteY2"/>
                    </a:cxn>
                    <a:cxn ang="0">
                      <a:pos x="connsiteX3" y="connsiteY3"/>
                    </a:cxn>
                  </a:cxnLst>
                  <a:rect l="l" t="t" r="r" b="b"/>
                  <a:pathLst>
                    <a:path w="245927" h="400529">
                      <a:moveTo>
                        <a:pt x="245927" y="398914"/>
                      </a:moveTo>
                      <a:lnTo>
                        <a:pt x="243355" y="400529"/>
                      </a:lnTo>
                      <a:lnTo>
                        <a:pt x="0" y="1615"/>
                      </a:lnTo>
                      <a:lnTo>
                        <a:pt x="2631" y="0"/>
                      </a:lnTo>
                      <a:close/>
                    </a:path>
                  </a:pathLst>
                </a:custGeom>
                <a:grpFill/>
                <a:ln w="5978" cap="flat">
                  <a:noFill/>
                  <a:prstDash val="solid"/>
                  <a:miter/>
                </a:ln>
              </p:spPr>
              <p:txBody>
                <a:bodyPr rtlCol="0" anchor="ctr"/>
                <a:lstStyle/>
                <a:p>
                  <a:endParaRPr lang="en-GB"/>
                </a:p>
              </p:txBody>
            </p:sp>
            <p:sp>
              <p:nvSpPr>
                <p:cNvPr id="3741" name="Vrije vorm: vorm 3740">
                  <a:extLst>
                    <a:ext uri="{FF2B5EF4-FFF2-40B4-BE49-F238E27FC236}">
                      <a16:creationId xmlns:a16="http://schemas.microsoft.com/office/drawing/2014/main" id="{B8828A92-3787-405C-A438-C2722DAD23FD}"/>
                    </a:ext>
                  </a:extLst>
                </p:cNvPr>
                <p:cNvSpPr/>
                <p:nvPr/>
              </p:nvSpPr>
              <p:spPr>
                <a:xfrm>
                  <a:off x="7044136" y="4776163"/>
                  <a:ext cx="18343" cy="18443"/>
                </a:xfrm>
                <a:custGeom>
                  <a:avLst/>
                  <a:gdLst>
                    <a:gd name="connsiteX0" fmla="*/ 1353 w 18343"/>
                    <a:gd name="connsiteY0" fmla="*/ 14016 h 18443"/>
                    <a:gd name="connsiteX1" fmla="*/ 4344 w 18343"/>
                    <a:gd name="connsiteY1" fmla="*/ 1337 h 18443"/>
                    <a:gd name="connsiteX2" fmla="*/ 16963 w 18343"/>
                    <a:gd name="connsiteY2" fmla="*/ 4387 h 18443"/>
                    <a:gd name="connsiteX3" fmla="*/ 13973 w 18343"/>
                    <a:gd name="connsiteY3" fmla="*/ 17066 h 18443"/>
                    <a:gd name="connsiteX4" fmla="*/ 1353 w 18343"/>
                    <a:gd name="connsiteY4" fmla="*/ 14016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3">
                      <a:moveTo>
                        <a:pt x="1353" y="14016"/>
                      </a:moveTo>
                      <a:cubicBezTo>
                        <a:pt x="-1278" y="9650"/>
                        <a:pt x="38" y="4028"/>
                        <a:pt x="4344" y="1337"/>
                      </a:cubicBezTo>
                      <a:cubicBezTo>
                        <a:pt x="8650" y="-1295"/>
                        <a:pt x="14272" y="81"/>
                        <a:pt x="16963" y="4387"/>
                      </a:cubicBezTo>
                      <a:cubicBezTo>
                        <a:pt x="19655" y="8693"/>
                        <a:pt x="18279" y="14375"/>
                        <a:pt x="13973" y="17066"/>
                      </a:cubicBezTo>
                      <a:cubicBezTo>
                        <a:pt x="9667" y="19758"/>
                        <a:pt x="4045" y="18382"/>
                        <a:pt x="1353" y="14016"/>
                      </a:cubicBezTo>
                      <a:close/>
                    </a:path>
                  </a:pathLst>
                </a:custGeom>
                <a:grpFill/>
                <a:ln w="5978" cap="flat">
                  <a:noFill/>
                  <a:prstDash val="solid"/>
                  <a:miter/>
                </a:ln>
              </p:spPr>
              <p:txBody>
                <a:bodyPr rtlCol="0" anchor="ctr"/>
                <a:lstStyle/>
                <a:p>
                  <a:endParaRPr lang="en-GB"/>
                </a:p>
              </p:txBody>
            </p:sp>
            <p:sp>
              <p:nvSpPr>
                <p:cNvPr id="3742" name="Vrije vorm: vorm 3741">
                  <a:extLst>
                    <a:ext uri="{FF2B5EF4-FFF2-40B4-BE49-F238E27FC236}">
                      <a16:creationId xmlns:a16="http://schemas.microsoft.com/office/drawing/2014/main" id="{8DE50A5D-7220-4725-B627-3CF0822D322F}"/>
                    </a:ext>
                  </a:extLst>
                </p:cNvPr>
                <p:cNvSpPr/>
                <p:nvPr/>
              </p:nvSpPr>
              <p:spPr>
                <a:xfrm>
                  <a:off x="7287013" y="5174259"/>
                  <a:ext cx="18343" cy="18484"/>
                </a:xfrm>
                <a:custGeom>
                  <a:avLst/>
                  <a:gdLst>
                    <a:gd name="connsiteX0" fmla="*/ 1353 w 18343"/>
                    <a:gd name="connsiteY0" fmla="*/ 14057 h 18484"/>
                    <a:gd name="connsiteX1" fmla="*/ 13973 w 18343"/>
                    <a:gd name="connsiteY1" fmla="*/ 17107 h 18484"/>
                    <a:gd name="connsiteX2" fmla="*/ 16964 w 18343"/>
                    <a:gd name="connsiteY2" fmla="*/ 4428 h 18484"/>
                    <a:gd name="connsiteX3" fmla="*/ 4344 w 18343"/>
                    <a:gd name="connsiteY3" fmla="*/ 1378 h 18484"/>
                    <a:gd name="connsiteX4" fmla="*/ 1353 w 18343"/>
                    <a:gd name="connsiteY4" fmla="*/ 14057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1353" y="14057"/>
                      </a:moveTo>
                      <a:cubicBezTo>
                        <a:pt x="3985" y="18423"/>
                        <a:pt x="9667" y="19798"/>
                        <a:pt x="13973" y="17107"/>
                      </a:cubicBezTo>
                      <a:cubicBezTo>
                        <a:pt x="18279" y="14475"/>
                        <a:pt x="19655" y="8794"/>
                        <a:pt x="16964" y="4428"/>
                      </a:cubicBezTo>
                      <a:cubicBezTo>
                        <a:pt x="14332" y="62"/>
                        <a:pt x="8650" y="-1314"/>
                        <a:pt x="4344" y="1378"/>
                      </a:cubicBezTo>
                      <a:cubicBezTo>
                        <a:pt x="38" y="4069"/>
                        <a:pt x="-1278" y="9751"/>
                        <a:pt x="1353" y="14057"/>
                      </a:cubicBezTo>
                      <a:close/>
                    </a:path>
                  </a:pathLst>
                </a:custGeom>
                <a:grpFill/>
                <a:ln w="5978" cap="flat">
                  <a:noFill/>
                  <a:prstDash val="solid"/>
                  <a:miter/>
                </a:ln>
              </p:spPr>
              <p:txBody>
                <a:bodyPr rtlCol="0" anchor="ctr"/>
                <a:lstStyle/>
                <a:p>
                  <a:endParaRPr lang="en-GB"/>
                </a:p>
              </p:txBody>
            </p:sp>
          </p:grpSp>
          <p:grpSp>
            <p:nvGrpSpPr>
              <p:cNvPr id="550" name="Graphic 3">
                <a:extLst>
                  <a:ext uri="{FF2B5EF4-FFF2-40B4-BE49-F238E27FC236}">
                    <a16:creationId xmlns:a16="http://schemas.microsoft.com/office/drawing/2014/main" id="{0B6FE75E-94F2-4D23-8305-106CADA73694}"/>
                  </a:ext>
                </a:extLst>
              </p:cNvPr>
              <p:cNvGrpSpPr/>
              <p:nvPr/>
            </p:nvGrpSpPr>
            <p:grpSpPr>
              <a:xfrm>
                <a:off x="7111181" y="4925011"/>
                <a:ext cx="193651" cy="268088"/>
                <a:chOff x="7111181" y="4925011"/>
                <a:chExt cx="193651" cy="268088"/>
              </a:xfrm>
              <a:grpFill/>
            </p:grpSpPr>
            <p:sp>
              <p:nvSpPr>
                <p:cNvPr id="3737" name="Vrije vorm: vorm 3736">
                  <a:extLst>
                    <a:ext uri="{FF2B5EF4-FFF2-40B4-BE49-F238E27FC236}">
                      <a16:creationId xmlns:a16="http://schemas.microsoft.com/office/drawing/2014/main" id="{3EEEDE60-19C4-4735-BE11-59550274C457}"/>
                    </a:ext>
                  </a:extLst>
                </p:cNvPr>
                <p:cNvSpPr/>
                <p:nvPr/>
              </p:nvSpPr>
              <p:spPr>
                <a:xfrm>
                  <a:off x="7118873" y="4932939"/>
                  <a:ext cx="178285" cy="252207"/>
                </a:xfrm>
                <a:custGeom>
                  <a:avLst/>
                  <a:gdLst>
                    <a:gd name="connsiteX0" fmla="*/ 178286 w 178285"/>
                    <a:gd name="connsiteY0" fmla="*/ 250413 h 252207"/>
                    <a:gd name="connsiteX1" fmla="*/ 175833 w 178285"/>
                    <a:gd name="connsiteY1" fmla="*/ 252207 h 252207"/>
                    <a:gd name="connsiteX2" fmla="*/ 0 w 178285"/>
                    <a:gd name="connsiteY2" fmla="*/ 1795 h 252207"/>
                    <a:gd name="connsiteX3" fmla="*/ 2512 w 178285"/>
                    <a:gd name="connsiteY3" fmla="*/ 0 h 252207"/>
                  </a:gdLst>
                  <a:ahLst/>
                  <a:cxnLst>
                    <a:cxn ang="0">
                      <a:pos x="connsiteX0" y="connsiteY0"/>
                    </a:cxn>
                    <a:cxn ang="0">
                      <a:pos x="connsiteX1" y="connsiteY1"/>
                    </a:cxn>
                    <a:cxn ang="0">
                      <a:pos x="connsiteX2" y="connsiteY2"/>
                    </a:cxn>
                    <a:cxn ang="0">
                      <a:pos x="connsiteX3" y="connsiteY3"/>
                    </a:cxn>
                  </a:cxnLst>
                  <a:rect l="l" t="t" r="r" b="b"/>
                  <a:pathLst>
                    <a:path w="178285" h="252207">
                      <a:moveTo>
                        <a:pt x="178286" y="250413"/>
                      </a:moveTo>
                      <a:lnTo>
                        <a:pt x="175833" y="252207"/>
                      </a:lnTo>
                      <a:lnTo>
                        <a:pt x="0" y="1795"/>
                      </a:lnTo>
                      <a:lnTo>
                        <a:pt x="2512" y="0"/>
                      </a:lnTo>
                      <a:close/>
                    </a:path>
                  </a:pathLst>
                </a:custGeom>
                <a:grpFill/>
                <a:ln w="5978" cap="flat">
                  <a:noFill/>
                  <a:prstDash val="solid"/>
                  <a:miter/>
                </a:ln>
              </p:spPr>
              <p:txBody>
                <a:bodyPr rtlCol="0" anchor="ctr"/>
                <a:lstStyle/>
                <a:p>
                  <a:endParaRPr lang="en-GB"/>
                </a:p>
              </p:txBody>
            </p:sp>
            <p:sp>
              <p:nvSpPr>
                <p:cNvPr id="3738" name="Vrije vorm: vorm 3737">
                  <a:extLst>
                    <a:ext uri="{FF2B5EF4-FFF2-40B4-BE49-F238E27FC236}">
                      <a16:creationId xmlns:a16="http://schemas.microsoft.com/office/drawing/2014/main" id="{AD8B43F7-F6D3-4331-810E-1D6D1F6CA6E4}"/>
                    </a:ext>
                  </a:extLst>
                </p:cNvPr>
                <p:cNvSpPr/>
                <p:nvPr/>
              </p:nvSpPr>
              <p:spPr>
                <a:xfrm>
                  <a:off x="7286433" y="5174663"/>
                  <a:ext cx="18399" cy="18436"/>
                </a:xfrm>
                <a:custGeom>
                  <a:avLst/>
                  <a:gdLst>
                    <a:gd name="connsiteX0" fmla="*/ 16706 w 18399"/>
                    <a:gd name="connsiteY0" fmla="*/ 3904 h 18436"/>
                    <a:gd name="connsiteX1" fmla="*/ 14493 w 18399"/>
                    <a:gd name="connsiteY1" fmla="*/ 16763 h 18436"/>
                    <a:gd name="connsiteX2" fmla="*/ 1694 w 18399"/>
                    <a:gd name="connsiteY2" fmla="*/ 14490 h 18436"/>
                    <a:gd name="connsiteX3" fmla="*/ 3907 w 18399"/>
                    <a:gd name="connsiteY3" fmla="*/ 1631 h 18436"/>
                    <a:gd name="connsiteX4" fmla="*/ 16706 w 18399"/>
                    <a:gd name="connsiteY4" fmla="*/ 390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36">
                      <a:moveTo>
                        <a:pt x="16706" y="3904"/>
                      </a:moveTo>
                      <a:cubicBezTo>
                        <a:pt x="19636" y="8091"/>
                        <a:pt x="18679" y="13832"/>
                        <a:pt x="14493" y="16763"/>
                      </a:cubicBezTo>
                      <a:cubicBezTo>
                        <a:pt x="10366" y="19693"/>
                        <a:pt x="4625" y="18677"/>
                        <a:pt x="1694" y="14490"/>
                      </a:cubicBezTo>
                      <a:cubicBezTo>
                        <a:pt x="-1236" y="10303"/>
                        <a:pt x="-280" y="4562"/>
                        <a:pt x="3907" y="1631"/>
                      </a:cubicBezTo>
                      <a:cubicBezTo>
                        <a:pt x="8093" y="-1239"/>
                        <a:pt x="13775" y="-223"/>
                        <a:pt x="16706" y="3904"/>
                      </a:cubicBezTo>
                      <a:close/>
                    </a:path>
                  </a:pathLst>
                </a:custGeom>
                <a:grpFill/>
                <a:ln w="5978" cap="flat">
                  <a:noFill/>
                  <a:prstDash val="solid"/>
                  <a:miter/>
                </a:ln>
              </p:spPr>
              <p:txBody>
                <a:bodyPr rtlCol="0" anchor="ctr"/>
                <a:lstStyle/>
                <a:p>
                  <a:endParaRPr lang="en-GB"/>
                </a:p>
              </p:txBody>
            </p:sp>
            <p:sp>
              <p:nvSpPr>
                <p:cNvPr id="3739" name="Vrije vorm: vorm 3738">
                  <a:extLst>
                    <a:ext uri="{FF2B5EF4-FFF2-40B4-BE49-F238E27FC236}">
                      <a16:creationId xmlns:a16="http://schemas.microsoft.com/office/drawing/2014/main" id="{98F360B0-3987-4BD5-A3CC-FDFEA98D3A9A}"/>
                    </a:ext>
                  </a:extLst>
                </p:cNvPr>
                <p:cNvSpPr/>
                <p:nvPr/>
              </p:nvSpPr>
              <p:spPr>
                <a:xfrm>
                  <a:off x="7111181" y="4925011"/>
                  <a:ext cx="18356" cy="18426"/>
                </a:xfrm>
                <a:custGeom>
                  <a:avLst/>
                  <a:gdLst>
                    <a:gd name="connsiteX0" fmla="*/ 16663 w 18356"/>
                    <a:gd name="connsiteY0" fmla="*/ 3920 h 18426"/>
                    <a:gd name="connsiteX1" fmla="*/ 3864 w 18356"/>
                    <a:gd name="connsiteY1" fmla="*/ 1648 h 18426"/>
                    <a:gd name="connsiteX2" fmla="*/ 1651 w 18356"/>
                    <a:gd name="connsiteY2" fmla="*/ 14506 h 18426"/>
                    <a:gd name="connsiteX3" fmla="*/ 14450 w 18356"/>
                    <a:gd name="connsiteY3" fmla="*/ 16779 h 18426"/>
                    <a:gd name="connsiteX4" fmla="*/ 16663 w 18356"/>
                    <a:gd name="connsiteY4" fmla="*/ 392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6">
                      <a:moveTo>
                        <a:pt x="16663" y="3920"/>
                      </a:moveTo>
                      <a:cubicBezTo>
                        <a:pt x="13732" y="-266"/>
                        <a:pt x="7991" y="-1223"/>
                        <a:pt x="3864" y="1648"/>
                      </a:cubicBezTo>
                      <a:cubicBezTo>
                        <a:pt x="-262" y="4578"/>
                        <a:pt x="-1219" y="10320"/>
                        <a:pt x="1651" y="14506"/>
                      </a:cubicBezTo>
                      <a:cubicBezTo>
                        <a:pt x="4582" y="18693"/>
                        <a:pt x="10324" y="19650"/>
                        <a:pt x="14450" y="16779"/>
                      </a:cubicBezTo>
                      <a:cubicBezTo>
                        <a:pt x="18637" y="13849"/>
                        <a:pt x="19593" y="8107"/>
                        <a:pt x="16663" y="3920"/>
                      </a:cubicBezTo>
                      <a:close/>
                    </a:path>
                  </a:pathLst>
                </a:custGeom>
                <a:grpFill/>
                <a:ln w="5978" cap="flat">
                  <a:noFill/>
                  <a:prstDash val="solid"/>
                  <a:miter/>
                </a:ln>
              </p:spPr>
              <p:txBody>
                <a:bodyPr rtlCol="0" anchor="ctr"/>
                <a:lstStyle/>
                <a:p>
                  <a:endParaRPr lang="en-GB"/>
                </a:p>
              </p:txBody>
            </p:sp>
          </p:grpSp>
          <p:grpSp>
            <p:nvGrpSpPr>
              <p:cNvPr id="551" name="Graphic 3">
                <a:extLst>
                  <a:ext uri="{FF2B5EF4-FFF2-40B4-BE49-F238E27FC236}">
                    <a16:creationId xmlns:a16="http://schemas.microsoft.com/office/drawing/2014/main" id="{89D5160C-F345-4AEF-98E3-B37930C30DB5}"/>
                  </a:ext>
                </a:extLst>
              </p:cNvPr>
              <p:cNvGrpSpPr/>
              <p:nvPr/>
            </p:nvGrpSpPr>
            <p:grpSpPr>
              <a:xfrm>
                <a:off x="7111269" y="4986521"/>
                <a:ext cx="172287" cy="246561"/>
                <a:chOff x="7111269" y="4986521"/>
                <a:chExt cx="172287" cy="246561"/>
              </a:xfrm>
              <a:grpFill/>
            </p:grpSpPr>
            <p:sp>
              <p:nvSpPr>
                <p:cNvPr id="3734" name="Vrije vorm: vorm 3733">
                  <a:extLst>
                    <a:ext uri="{FF2B5EF4-FFF2-40B4-BE49-F238E27FC236}">
                      <a16:creationId xmlns:a16="http://schemas.microsoft.com/office/drawing/2014/main" id="{28DB708B-4E25-49F4-A6C5-11A51526415D}"/>
                    </a:ext>
                  </a:extLst>
                </p:cNvPr>
                <p:cNvSpPr/>
                <p:nvPr/>
              </p:nvSpPr>
              <p:spPr>
                <a:xfrm>
                  <a:off x="7118933" y="4994481"/>
                  <a:ext cx="156993" cy="230616"/>
                </a:xfrm>
                <a:custGeom>
                  <a:avLst/>
                  <a:gdLst>
                    <a:gd name="connsiteX0" fmla="*/ 156994 w 156993"/>
                    <a:gd name="connsiteY0" fmla="*/ 228882 h 230616"/>
                    <a:gd name="connsiteX1" fmla="*/ 154423 w 156993"/>
                    <a:gd name="connsiteY1" fmla="*/ 230617 h 230616"/>
                    <a:gd name="connsiteX2" fmla="*/ 0 w 156993"/>
                    <a:gd name="connsiteY2" fmla="*/ 1734 h 230616"/>
                    <a:gd name="connsiteX3" fmla="*/ 2512 w 156993"/>
                    <a:gd name="connsiteY3" fmla="*/ 0 h 230616"/>
                  </a:gdLst>
                  <a:ahLst/>
                  <a:cxnLst>
                    <a:cxn ang="0">
                      <a:pos x="connsiteX0" y="connsiteY0"/>
                    </a:cxn>
                    <a:cxn ang="0">
                      <a:pos x="connsiteX1" y="connsiteY1"/>
                    </a:cxn>
                    <a:cxn ang="0">
                      <a:pos x="connsiteX2" y="connsiteY2"/>
                    </a:cxn>
                    <a:cxn ang="0">
                      <a:pos x="connsiteX3" y="connsiteY3"/>
                    </a:cxn>
                  </a:cxnLst>
                  <a:rect l="l" t="t" r="r" b="b"/>
                  <a:pathLst>
                    <a:path w="156993" h="230616">
                      <a:moveTo>
                        <a:pt x="156994" y="228882"/>
                      </a:moveTo>
                      <a:lnTo>
                        <a:pt x="154423" y="230617"/>
                      </a:lnTo>
                      <a:lnTo>
                        <a:pt x="0" y="1734"/>
                      </a:lnTo>
                      <a:lnTo>
                        <a:pt x="2512" y="0"/>
                      </a:lnTo>
                      <a:close/>
                    </a:path>
                  </a:pathLst>
                </a:custGeom>
                <a:grpFill/>
                <a:ln w="5978" cap="flat">
                  <a:noFill/>
                  <a:prstDash val="solid"/>
                  <a:miter/>
                </a:ln>
              </p:spPr>
              <p:txBody>
                <a:bodyPr rtlCol="0" anchor="ctr"/>
                <a:lstStyle/>
                <a:p>
                  <a:endParaRPr lang="en-GB"/>
                </a:p>
              </p:txBody>
            </p:sp>
            <p:sp>
              <p:nvSpPr>
                <p:cNvPr id="3735" name="Vrije vorm: vorm 3734">
                  <a:extLst>
                    <a:ext uri="{FF2B5EF4-FFF2-40B4-BE49-F238E27FC236}">
                      <a16:creationId xmlns:a16="http://schemas.microsoft.com/office/drawing/2014/main" id="{5BA4FBBA-D03D-49FF-802C-D2D9154A0EFF}"/>
                    </a:ext>
                  </a:extLst>
                </p:cNvPr>
                <p:cNvSpPr/>
                <p:nvPr/>
              </p:nvSpPr>
              <p:spPr>
                <a:xfrm>
                  <a:off x="7265187" y="5214642"/>
                  <a:ext cx="18370" cy="18441"/>
                </a:xfrm>
                <a:custGeom>
                  <a:avLst/>
                  <a:gdLst>
                    <a:gd name="connsiteX0" fmla="*/ 16781 w 18370"/>
                    <a:gd name="connsiteY0" fmla="*/ 4056 h 18441"/>
                    <a:gd name="connsiteX1" fmla="*/ 14328 w 18370"/>
                    <a:gd name="connsiteY1" fmla="*/ 16855 h 18441"/>
                    <a:gd name="connsiteX2" fmla="*/ 1589 w 18370"/>
                    <a:gd name="connsiteY2" fmla="*/ 14343 h 18441"/>
                    <a:gd name="connsiteX3" fmla="*/ 4042 w 18370"/>
                    <a:gd name="connsiteY3" fmla="*/ 1545 h 18441"/>
                    <a:gd name="connsiteX4" fmla="*/ 16781 w 18370"/>
                    <a:gd name="connsiteY4" fmla="*/ 405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41">
                      <a:moveTo>
                        <a:pt x="16781" y="4056"/>
                      </a:moveTo>
                      <a:cubicBezTo>
                        <a:pt x="19651" y="8303"/>
                        <a:pt x="18515" y="13984"/>
                        <a:pt x="14328" y="16855"/>
                      </a:cubicBezTo>
                      <a:cubicBezTo>
                        <a:pt x="10142" y="19726"/>
                        <a:pt x="4461" y="18590"/>
                        <a:pt x="1589" y="14343"/>
                      </a:cubicBezTo>
                      <a:cubicBezTo>
                        <a:pt x="-1281" y="10097"/>
                        <a:pt x="-145" y="4415"/>
                        <a:pt x="4042" y="1545"/>
                      </a:cubicBezTo>
                      <a:cubicBezTo>
                        <a:pt x="8228" y="-1267"/>
                        <a:pt x="13910" y="-130"/>
                        <a:pt x="16781" y="4056"/>
                      </a:cubicBezTo>
                      <a:close/>
                    </a:path>
                  </a:pathLst>
                </a:custGeom>
                <a:grpFill/>
                <a:ln w="5978" cap="flat">
                  <a:noFill/>
                  <a:prstDash val="solid"/>
                  <a:miter/>
                </a:ln>
              </p:spPr>
              <p:txBody>
                <a:bodyPr rtlCol="0" anchor="ctr"/>
                <a:lstStyle/>
                <a:p>
                  <a:endParaRPr lang="en-GB"/>
                </a:p>
              </p:txBody>
            </p:sp>
            <p:sp>
              <p:nvSpPr>
                <p:cNvPr id="3736" name="Vrije vorm: vorm 3735">
                  <a:extLst>
                    <a:ext uri="{FF2B5EF4-FFF2-40B4-BE49-F238E27FC236}">
                      <a16:creationId xmlns:a16="http://schemas.microsoft.com/office/drawing/2014/main" id="{87EFE632-16AE-41A9-89E2-BA5480A51238}"/>
                    </a:ext>
                  </a:extLst>
                </p:cNvPr>
                <p:cNvSpPr/>
                <p:nvPr/>
              </p:nvSpPr>
              <p:spPr>
                <a:xfrm>
                  <a:off x="7111269" y="4986521"/>
                  <a:ext cx="18317" cy="18430"/>
                </a:xfrm>
                <a:custGeom>
                  <a:avLst/>
                  <a:gdLst>
                    <a:gd name="connsiteX0" fmla="*/ 16754 w 18317"/>
                    <a:gd name="connsiteY0" fmla="*/ 4072 h 18430"/>
                    <a:gd name="connsiteX1" fmla="*/ 4015 w 18317"/>
                    <a:gd name="connsiteY1" fmla="*/ 1560 h 18430"/>
                    <a:gd name="connsiteX2" fmla="*/ 1563 w 18317"/>
                    <a:gd name="connsiteY2" fmla="*/ 14359 h 18430"/>
                    <a:gd name="connsiteX3" fmla="*/ 14302 w 18317"/>
                    <a:gd name="connsiteY3" fmla="*/ 16871 h 18430"/>
                    <a:gd name="connsiteX4" fmla="*/ 16754 w 18317"/>
                    <a:gd name="connsiteY4" fmla="*/ 407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30">
                      <a:moveTo>
                        <a:pt x="16754" y="4072"/>
                      </a:moveTo>
                      <a:cubicBezTo>
                        <a:pt x="13884" y="-174"/>
                        <a:pt x="8202" y="-1251"/>
                        <a:pt x="4015" y="1560"/>
                      </a:cubicBezTo>
                      <a:cubicBezTo>
                        <a:pt x="-171" y="4431"/>
                        <a:pt x="-1248" y="10113"/>
                        <a:pt x="1563" y="14359"/>
                      </a:cubicBezTo>
                      <a:cubicBezTo>
                        <a:pt x="4434" y="18605"/>
                        <a:pt x="10116" y="19682"/>
                        <a:pt x="14302" y="16871"/>
                      </a:cubicBezTo>
                      <a:cubicBezTo>
                        <a:pt x="18489" y="14000"/>
                        <a:pt x="19565" y="8259"/>
                        <a:pt x="16754" y="4072"/>
                      </a:cubicBezTo>
                      <a:close/>
                    </a:path>
                  </a:pathLst>
                </a:custGeom>
                <a:grpFill/>
                <a:ln w="5978" cap="flat">
                  <a:noFill/>
                  <a:prstDash val="solid"/>
                  <a:miter/>
                </a:ln>
              </p:spPr>
              <p:txBody>
                <a:bodyPr rtlCol="0" anchor="ctr"/>
                <a:lstStyle/>
                <a:p>
                  <a:endParaRPr lang="en-GB"/>
                </a:p>
              </p:txBody>
            </p:sp>
          </p:grpSp>
          <p:grpSp>
            <p:nvGrpSpPr>
              <p:cNvPr id="552" name="Graphic 3">
                <a:extLst>
                  <a:ext uri="{FF2B5EF4-FFF2-40B4-BE49-F238E27FC236}">
                    <a16:creationId xmlns:a16="http://schemas.microsoft.com/office/drawing/2014/main" id="{132E2F7D-9D16-4E0C-A6CB-AFB40AE399B7}"/>
                  </a:ext>
                </a:extLst>
              </p:cNvPr>
              <p:cNvGrpSpPr/>
              <p:nvPr/>
            </p:nvGrpSpPr>
            <p:grpSpPr>
              <a:xfrm>
                <a:off x="5967458" y="1259754"/>
                <a:ext cx="34998" cy="483313"/>
                <a:chOff x="5967458" y="1259754"/>
                <a:chExt cx="34998" cy="483313"/>
              </a:xfrm>
              <a:grpFill/>
            </p:grpSpPr>
            <p:sp>
              <p:nvSpPr>
                <p:cNvPr id="3731" name="Vrije vorm: vorm 3730">
                  <a:extLst>
                    <a:ext uri="{FF2B5EF4-FFF2-40B4-BE49-F238E27FC236}">
                      <a16:creationId xmlns:a16="http://schemas.microsoft.com/office/drawing/2014/main" id="{FA370265-22EB-4911-800A-3D6E28C91DB6}"/>
                    </a:ext>
                  </a:extLst>
                </p:cNvPr>
                <p:cNvSpPr/>
                <p:nvPr/>
              </p:nvSpPr>
              <p:spPr>
                <a:xfrm>
                  <a:off x="5975119" y="1268432"/>
                  <a:ext cx="19736" cy="465958"/>
                </a:xfrm>
                <a:custGeom>
                  <a:avLst/>
                  <a:gdLst>
                    <a:gd name="connsiteX0" fmla="*/ 19736 w 19736"/>
                    <a:gd name="connsiteY0" fmla="*/ 120 h 465958"/>
                    <a:gd name="connsiteX1" fmla="*/ 3050 w 19736"/>
                    <a:gd name="connsiteY1" fmla="*/ 465958 h 465958"/>
                    <a:gd name="connsiteX2" fmla="*/ 0 w 19736"/>
                    <a:gd name="connsiteY2" fmla="*/ 465779 h 465958"/>
                    <a:gd name="connsiteX3" fmla="*/ 16686 w 19736"/>
                    <a:gd name="connsiteY3" fmla="*/ 0 h 465958"/>
                  </a:gdLst>
                  <a:ahLst/>
                  <a:cxnLst>
                    <a:cxn ang="0">
                      <a:pos x="connsiteX0" y="connsiteY0"/>
                    </a:cxn>
                    <a:cxn ang="0">
                      <a:pos x="connsiteX1" y="connsiteY1"/>
                    </a:cxn>
                    <a:cxn ang="0">
                      <a:pos x="connsiteX2" y="connsiteY2"/>
                    </a:cxn>
                    <a:cxn ang="0">
                      <a:pos x="connsiteX3" y="connsiteY3"/>
                    </a:cxn>
                  </a:cxnLst>
                  <a:rect l="l" t="t" r="r" b="b"/>
                  <a:pathLst>
                    <a:path w="19736" h="465958">
                      <a:moveTo>
                        <a:pt x="19736" y="120"/>
                      </a:moveTo>
                      <a:lnTo>
                        <a:pt x="3050" y="465958"/>
                      </a:lnTo>
                      <a:lnTo>
                        <a:pt x="0" y="465779"/>
                      </a:lnTo>
                      <a:lnTo>
                        <a:pt x="16686" y="0"/>
                      </a:lnTo>
                      <a:close/>
                    </a:path>
                  </a:pathLst>
                </a:custGeom>
                <a:grpFill/>
                <a:ln w="5978" cap="flat">
                  <a:noFill/>
                  <a:prstDash val="solid"/>
                  <a:miter/>
                </a:ln>
              </p:spPr>
              <p:txBody>
                <a:bodyPr rtlCol="0" anchor="ctr"/>
                <a:lstStyle/>
                <a:p>
                  <a:endParaRPr lang="en-GB"/>
                </a:p>
              </p:txBody>
            </p:sp>
            <p:sp>
              <p:nvSpPr>
                <p:cNvPr id="3732" name="Vrije vorm: vorm 3731">
                  <a:extLst>
                    <a:ext uri="{FF2B5EF4-FFF2-40B4-BE49-F238E27FC236}">
                      <a16:creationId xmlns:a16="http://schemas.microsoft.com/office/drawing/2014/main" id="{BE44179E-4CE8-4851-91C1-081C445B8C8C}"/>
                    </a:ext>
                  </a:extLst>
                </p:cNvPr>
                <p:cNvSpPr/>
                <p:nvPr/>
              </p:nvSpPr>
              <p:spPr>
                <a:xfrm>
                  <a:off x="5967458" y="1724635"/>
                  <a:ext cx="18372" cy="18432"/>
                </a:xfrm>
                <a:custGeom>
                  <a:avLst/>
                  <a:gdLst>
                    <a:gd name="connsiteX0" fmla="*/ 18367 w 18372"/>
                    <a:gd name="connsiteY0" fmla="*/ 9575 h 18432"/>
                    <a:gd name="connsiteX1" fmla="*/ 8857 w 18372"/>
                    <a:gd name="connsiteY1" fmla="*/ 18427 h 18432"/>
                    <a:gd name="connsiteX2" fmla="*/ 6 w 18372"/>
                    <a:gd name="connsiteY2" fmla="*/ 8857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7" y="14659"/>
                        <a:pt x="13941" y="18606"/>
                        <a:pt x="8857" y="18427"/>
                      </a:cubicBezTo>
                      <a:cubicBezTo>
                        <a:pt x="3774" y="18247"/>
                        <a:pt x="-174" y="13941"/>
                        <a:pt x="6" y="8857"/>
                      </a:cubicBezTo>
                      <a:cubicBezTo>
                        <a:pt x="185" y="3774"/>
                        <a:pt x="4432" y="-174"/>
                        <a:pt x="9515" y="6"/>
                      </a:cubicBezTo>
                      <a:cubicBezTo>
                        <a:pt x="14599" y="185"/>
                        <a:pt x="18546" y="4491"/>
                        <a:pt x="18367" y="9575"/>
                      </a:cubicBezTo>
                      <a:close/>
                    </a:path>
                  </a:pathLst>
                </a:custGeom>
                <a:grpFill/>
                <a:ln w="5978" cap="flat">
                  <a:noFill/>
                  <a:prstDash val="solid"/>
                  <a:miter/>
                </a:ln>
              </p:spPr>
              <p:txBody>
                <a:bodyPr rtlCol="0" anchor="ctr"/>
                <a:lstStyle/>
                <a:p>
                  <a:endParaRPr lang="en-GB"/>
                </a:p>
              </p:txBody>
            </p:sp>
            <p:sp>
              <p:nvSpPr>
                <p:cNvPr id="3733" name="Vrije vorm: vorm 3732">
                  <a:extLst>
                    <a:ext uri="{FF2B5EF4-FFF2-40B4-BE49-F238E27FC236}">
                      <a16:creationId xmlns:a16="http://schemas.microsoft.com/office/drawing/2014/main" id="{8AAC0BCC-EFA4-4E58-A825-1A175165FACC}"/>
                    </a:ext>
                  </a:extLst>
                </p:cNvPr>
                <p:cNvSpPr/>
                <p:nvPr/>
              </p:nvSpPr>
              <p:spPr>
                <a:xfrm>
                  <a:off x="5984085" y="1259754"/>
                  <a:ext cx="18372" cy="18432"/>
                </a:xfrm>
                <a:custGeom>
                  <a:avLst/>
                  <a:gdLst>
                    <a:gd name="connsiteX0" fmla="*/ 18367 w 18372"/>
                    <a:gd name="connsiteY0" fmla="*/ 9575 h 18432"/>
                    <a:gd name="connsiteX1" fmla="*/ 9515 w 18372"/>
                    <a:gd name="connsiteY1" fmla="*/ 6 h 18432"/>
                    <a:gd name="connsiteX2" fmla="*/ 6 w 18372"/>
                    <a:gd name="connsiteY2" fmla="*/ 8857 h 18432"/>
                    <a:gd name="connsiteX3" fmla="*/ 8858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4"/>
                        <a:pt x="185" y="3774"/>
                        <a:pt x="6" y="8857"/>
                      </a:cubicBezTo>
                      <a:cubicBezTo>
                        <a:pt x="-173" y="13941"/>
                        <a:pt x="3774" y="18247"/>
                        <a:pt x="8858" y="18427"/>
                      </a:cubicBezTo>
                      <a:cubicBezTo>
                        <a:pt x="13941" y="18606"/>
                        <a:pt x="18188" y="14659"/>
                        <a:pt x="18367" y="9575"/>
                      </a:cubicBezTo>
                      <a:close/>
                    </a:path>
                  </a:pathLst>
                </a:custGeom>
                <a:grpFill/>
                <a:ln w="5978" cap="flat">
                  <a:noFill/>
                  <a:prstDash val="solid"/>
                  <a:miter/>
                </a:ln>
              </p:spPr>
              <p:txBody>
                <a:bodyPr rtlCol="0" anchor="ctr"/>
                <a:lstStyle/>
                <a:p>
                  <a:endParaRPr lang="en-GB"/>
                </a:p>
              </p:txBody>
            </p:sp>
          </p:grpSp>
          <p:grpSp>
            <p:nvGrpSpPr>
              <p:cNvPr id="553" name="Graphic 3">
                <a:extLst>
                  <a:ext uri="{FF2B5EF4-FFF2-40B4-BE49-F238E27FC236}">
                    <a16:creationId xmlns:a16="http://schemas.microsoft.com/office/drawing/2014/main" id="{12E7D127-6498-4FC4-8296-8B0AC6866A00}"/>
                  </a:ext>
                </a:extLst>
              </p:cNvPr>
              <p:cNvGrpSpPr/>
              <p:nvPr/>
            </p:nvGrpSpPr>
            <p:grpSpPr>
              <a:xfrm>
                <a:off x="5990786" y="1472970"/>
                <a:ext cx="22791" cy="173206"/>
                <a:chOff x="5990786" y="1472970"/>
                <a:chExt cx="22791" cy="173206"/>
              </a:xfrm>
              <a:grpFill/>
            </p:grpSpPr>
            <p:sp>
              <p:nvSpPr>
                <p:cNvPr id="3728" name="Vrije vorm: vorm 3727">
                  <a:extLst>
                    <a:ext uri="{FF2B5EF4-FFF2-40B4-BE49-F238E27FC236}">
                      <a16:creationId xmlns:a16="http://schemas.microsoft.com/office/drawing/2014/main" id="{5A13F604-C917-48EA-BB67-02979723BC03}"/>
                    </a:ext>
                  </a:extLst>
                </p:cNvPr>
                <p:cNvSpPr/>
                <p:nvPr/>
              </p:nvSpPr>
              <p:spPr>
                <a:xfrm>
                  <a:off x="5998444" y="1481704"/>
                  <a:ext cx="7475" cy="155797"/>
                </a:xfrm>
                <a:custGeom>
                  <a:avLst/>
                  <a:gdLst>
                    <a:gd name="connsiteX0" fmla="*/ 3050 w 7475"/>
                    <a:gd name="connsiteY0" fmla="*/ 0 h 155797"/>
                    <a:gd name="connsiteX1" fmla="*/ 7476 w 7475"/>
                    <a:gd name="connsiteY1" fmla="*/ 155678 h 155797"/>
                    <a:gd name="connsiteX2" fmla="*/ 4426 w 7475"/>
                    <a:gd name="connsiteY2" fmla="*/ 155798 h 155797"/>
                    <a:gd name="connsiteX3" fmla="*/ 0 w 7475"/>
                    <a:gd name="connsiteY3" fmla="*/ 60 h 155797"/>
                  </a:gdLst>
                  <a:ahLst/>
                  <a:cxnLst>
                    <a:cxn ang="0">
                      <a:pos x="connsiteX0" y="connsiteY0"/>
                    </a:cxn>
                    <a:cxn ang="0">
                      <a:pos x="connsiteX1" y="connsiteY1"/>
                    </a:cxn>
                    <a:cxn ang="0">
                      <a:pos x="connsiteX2" y="connsiteY2"/>
                    </a:cxn>
                    <a:cxn ang="0">
                      <a:pos x="connsiteX3" y="connsiteY3"/>
                    </a:cxn>
                  </a:cxnLst>
                  <a:rect l="l" t="t" r="r" b="b"/>
                  <a:pathLst>
                    <a:path w="7475" h="155797">
                      <a:moveTo>
                        <a:pt x="3050" y="0"/>
                      </a:moveTo>
                      <a:lnTo>
                        <a:pt x="7476" y="155678"/>
                      </a:lnTo>
                      <a:lnTo>
                        <a:pt x="4426" y="155798"/>
                      </a:lnTo>
                      <a:lnTo>
                        <a:pt x="0" y="60"/>
                      </a:lnTo>
                      <a:close/>
                    </a:path>
                  </a:pathLst>
                </a:custGeom>
                <a:grpFill/>
                <a:ln w="5978" cap="flat">
                  <a:noFill/>
                  <a:prstDash val="solid"/>
                  <a:miter/>
                </a:ln>
              </p:spPr>
              <p:txBody>
                <a:bodyPr rtlCol="0" anchor="ctr"/>
                <a:lstStyle/>
                <a:p>
                  <a:endParaRPr lang="en-GB"/>
                </a:p>
              </p:txBody>
            </p:sp>
            <p:sp>
              <p:nvSpPr>
                <p:cNvPr id="3729" name="Vrije vorm: vorm 3728">
                  <a:extLst>
                    <a:ext uri="{FF2B5EF4-FFF2-40B4-BE49-F238E27FC236}">
                      <a16:creationId xmlns:a16="http://schemas.microsoft.com/office/drawing/2014/main" id="{97FA0D6B-FDCA-45AD-AC09-B185C418385A}"/>
                    </a:ext>
                  </a:extLst>
                </p:cNvPr>
                <p:cNvSpPr/>
                <p:nvPr/>
              </p:nvSpPr>
              <p:spPr>
                <a:xfrm>
                  <a:off x="5990786" y="1472970"/>
                  <a:ext cx="18366" cy="18425"/>
                </a:xfrm>
                <a:custGeom>
                  <a:avLst/>
                  <a:gdLst>
                    <a:gd name="connsiteX0" fmla="*/ 3 w 18366"/>
                    <a:gd name="connsiteY0" fmla="*/ 9452 h 18425"/>
                    <a:gd name="connsiteX1" fmla="*/ 8914 w 18366"/>
                    <a:gd name="connsiteY1" fmla="*/ 3 h 18425"/>
                    <a:gd name="connsiteX2" fmla="*/ 18363 w 18366"/>
                    <a:gd name="connsiteY2" fmla="*/ 8974 h 18425"/>
                    <a:gd name="connsiteX3" fmla="*/ 9452 w 18366"/>
                    <a:gd name="connsiteY3" fmla="*/ 1842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17" y="4369"/>
                        <a:pt x="3830" y="122"/>
                        <a:pt x="8914" y="3"/>
                      </a:cubicBezTo>
                      <a:cubicBezTo>
                        <a:pt x="13998" y="-117"/>
                        <a:pt x="18184" y="3890"/>
                        <a:pt x="18363" y="8974"/>
                      </a:cubicBezTo>
                      <a:cubicBezTo>
                        <a:pt x="18483" y="14057"/>
                        <a:pt x="14536" y="18304"/>
                        <a:pt x="9452" y="18423"/>
                      </a:cubicBezTo>
                      <a:cubicBezTo>
                        <a:pt x="4369" y="18543"/>
                        <a:pt x="182" y="14536"/>
                        <a:pt x="3" y="9452"/>
                      </a:cubicBezTo>
                      <a:close/>
                    </a:path>
                  </a:pathLst>
                </a:custGeom>
                <a:grpFill/>
                <a:ln w="5978" cap="flat">
                  <a:noFill/>
                  <a:prstDash val="solid"/>
                  <a:miter/>
                </a:ln>
              </p:spPr>
              <p:txBody>
                <a:bodyPr rtlCol="0" anchor="ctr"/>
                <a:lstStyle/>
                <a:p>
                  <a:endParaRPr lang="en-GB"/>
                </a:p>
              </p:txBody>
            </p:sp>
            <p:sp>
              <p:nvSpPr>
                <p:cNvPr id="3730" name="Vrije vorm: vorm 3729">
                  <a:extLst>
                    <a:ext uri="{FF2B5EF4-FFF2-40B4-BE49-F238E27FC236}">
                      <a16:creationId xmlns:a16="http://schemas.microsoft.com/office/drawing/2014/main" id="{4E5F5DC7-9EB8-47F8-AE09-044CC6EA39B5}"/>
                    </a:ext>
                  </a:extLst>
                </p:cNvPr>
                <p:cNvSpPr/>
                <p:nvPr/>
              </p:nvSpPr>
              <p:spPr>
                <a:xfrm>
                  <a:off x="5995212" y="1627751"/>
                  <a:ext cx="18366" cy="18425"/>
                </a:xfrm>
                <a:custGeom>
                  <a:avLst/>
                  <a:gdLst>
                    <a:gd name="connsiteX0" fmla="*/ 3 w 18366"/>
                    <a:gd name="connsiteY0" fmla="*/ 9452 h 18425"/>
                    <a:gd name="connsiteX1" fmla="*/ 9452 w 18366"/>
                    <a:gd name="connsiteY1" fmla="*/ 18423 h 18425"/>
                    <a:gd name="connsiteX2" fmla="*/ 18363 w 18366"/>
                    <a:gd name="connsiteY2" fmla="*/ 8974 h 18425"/>
                    <a:gd name="connsiteX3" fmla="*/ 8914 w 18366"/>
                    <a:gd name="connsiteY3" fmla="*/ 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22" y="14536"/>
                        <a:pt x="4369" y="18543"/>
                        <a:pt x="9452" y="18423"/>
                      </a:cubicBezTo>
                      <a:cubicBezTo>
                        <a:pt x="14536" y="18304"/>
                        <a:pt x="18483" y="14057"/>
                        <a:pt x="18363" y="8974"/>
                      </a:cubicBezTo>
                      <a:cubicBezTo>
                        <a:pt x="18244" y="3890"/>
                        <a:pt x="13998" y="-117"/>
                        <a:pt x="8914" y="3"/>
                      </a:cubicBezTo>
                      <a:cubicBezTo>
                        <a:pt x="3890" y="122"/>
                        <a:pt x="-117" y="4369"/>
                        <a:pt x="3" y="9452"/>
                      </a:cubicBezTo>
                      <a:close/>
                    </a:path>
                  </a:pathLst>
                </a:custGeom>
                <a:grpFill/>
                <a:ln w="5978" cap="flat">
                  <a:noFill/>
                  <a:prstDash val="solid"/>
                  <a:miter/>
                </a:ln>
              </p:spPr>
              <p:txBody>
                <a:bodyPr rtlCol="0" anchor="ctr"/>
                <a:lstStyle/>
                <a:p>
                  <a:endParaRPr lang="en-GB"/>
                </a:p>
              </p:txBody>
            </p:sp>
          </p:grpSp>
          <p:grpSp>
            <p:nvGrpSpPr>
              <p:cNvPr id="554" name="Graphic 3">
                <a:extLst>
                  <a:ext uri="{FF2B5EF4-FFF2-40B4-BE49-F238E27FC236}">
                    <a16:creationId xmlns:a16="http://schemas.microsoft.com/office/drawing/2014/main" id="{2393419A-FE4A-49D7-9BFF-CB11E52ECD61}"/>
                  </a:ext>
                </a:extLst>
              </p:cNvPr>
              <p:cNvGrpSpPr/>
              <p:nvPr/>
            </p:nvGrpSpPr>
            <p:grpSpPr>
              <a:xfrm>
                <a:off x="6028288" y="1630444"/>
                <a:ext cx="19318" cy="113754"/>
                <a:chOff x="6028288" y="1630444"/>
                <a:chExt cx="19318" cy="113754"/>
              </a:xfrm>
              <a:grpFill/>
            </p:grpSpPr>
            <p:sp>
              <p:nvSpPr>
                <p:cNvPr id="3725" name="Vrije vorm: vorm 3724">
                  <a:extLst>
                    <a:ext uri="{FF2B5EF4-FFF2-40B4-BE49-F238E27FC236}">
                      <a16:creationId xmlns:a16="http://schemas.microsoft.com/office/drawing/2014/main" id="{773F0F1C-F2D8-400F-A979-F7EEF9018018}"/>
                    </a:ext>
                  </a:extLst>
                </p:cNvPr>
                <p:cNvSpPr/>
                <p:nvPr/>
              </p:nvSpPr>
              <p:spPr>
                <a:xfrm>
                  <a:off x="6035884" y="1639176"/>
                  <a:ext cx="4006" cy="96289"/>
                </a:xfrm>
                <a:custGeom>
                  <a:avLst/>
                  <a:gdLst>
                    <a:gd name="connsiteX0" fmla="*/ 3050 w 4006"/>
                    <a:gd name="connsiteY0" fmla="*/ 0 h 96289"/>
                    <a:gd name="connsiteX1" fmla="*/ 4007 w 4006"/>
                    <a:gd name="connsiteY1" fmla="*/ 96290 h 96289"/>
                    <a:gd name="connsiteX2" fmla="*/ 1017 w 4006"/>
                    <a:gd name="connsiteY2" fmla="*/ 96290 h 96289"/>
                    <a:gd name="connsiteX3" fmla="*/ 0 w 4006"/>
                    <a:gd name="connsiteY3" fmla="*/ 60 h 96289"/>
                  </a:gdLst>
                  <a:ahLst/>
                  <a:cxnLst>
                    <a:cxn ang="0">
                      <a:pos x="connsiteX0" y="connsiteY0"/>
                    </a:cxn>
                    <a:cxn ang="0">
                      <a:pos x="connsiteX1" y="connsiteY1"/>
                    </a:cxn>
                    <a:cxn ang="0">
                      <a:pos x="connsiteX2" y="connsiteY2"/>
                    </a:cxn>
                    <a:cxn ang="0">
                      <a:pos x="connsiteX3" y="connsiteY3"/>
                    </a:cxn>
                  </a:cxnLst>
                  <a:rect l="l" t="t" r="r" b="b"/>
                  <a:pathLst>
                    <a:path w="4006" h="96289">
                      <a:moveTo>
                        <a:pt x="3050" y="0"/>
                      </a:moveTo>
                      <a:lnTo>
                        <a:pt x="4007" y="96290"/>
                      </a:lnTo>
                      <a:lnTo>
                        <a:pt x="1017" y="96290"/>
                      </a:lnTo>
                      <a:lnTo>
                        <a:pt x="0" y="60"/>
                      </a:lnTo>
                      <a:close/>
                    </a:path>
                  </a:pathLst>
                </a:custGeom>
                <a:grpFill/>
                <a:ln w="5978" cap="flat">
                  <a:noFill/>
                  <a:prstDash val="solid"/>
                  <a:miter/>
                </a:ln>
              </p:spPr>
              <p:txBody>
                <a:bodyPr rtlCol="0" anchor="ctr"/>
                <a:lstStyle/>
                <a:p>
                  <a:endParaRPr lang="en-GB"/>
                </a:p>
              </p:txBody>
            </p:sp>
            <p:sp>
              <p:nvSpPr>
                <p:cNvPr id="3726" name="Vrije vorm: vorm 3725">
                  <a:extLst>
                    <a:ext uri="{FF2B5EF4-FFF2-40B4-BE49-F238E27FC236}">
                      <a16:creationId xmlns:a16="http://schemas.microsoft.com/office/drawing/2014/main" id="{517F48FC-4AB1-4F95-95E0-46A1528CE08A}"/>
                    </a:ext>
                  </a:extLst>
                </p:cNvPr>
                <p:cNvSpPr/>
                <p:nvPr/>
              </p:nvSpPr>
              <p:spPr>
                <a:xfrm>
                  <a:off x="6028288" y="1630444"/>
                  <a:ext cx="18362" cy="18421"/>
                </a:xfrm>
                <a:custGeom>
                  <a:avLst/>
                  <a:gdLst>
                    <a:gd name="connsiteX0" fmla="*/ 1 w 18362"/>
                    <a:gd name="connsiteY0" fmla="*/ 9271 h 18421"/>
                    <a:gd name="connsiteX1" fmla="*/ 9091 w 18362"/>
                    <a:gd name="connsiteY1" fmla="*/ 1 h 18421"/>
                    <a:gd name="connsiteX2" fmla="*/ 18362 w 18362"/>
                    <a:gd name="connsiteY2" fmla="*/ 9151 h 18421"/>
                    <a:gd name="connsiteX3" fmla="*/ 9271 w 18362"/>
                    <a:gd name="connsiteY3" fmla="*/ 1842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59" y="4187"/>
                        <a:pt x="4008" y="60"/>
                        <a:pt x="9091" y="1"/>
                      </a:cubicBezTo>
                      <a:cubicBezTo>
                        <a:pt x="14175" y="-59"/>
                        <a:pt x="18302" y="4067"/>
                        <a:pt x="18362" y="9151"/>
                      </a:cubicBezTo>
                      <a:cubicBezTo>
                        <a:pt x="18421" y="14235"/>
                        <a:pt x="14355" y="18361"/>
                        <a:pt x="9271" y="18421"/>
                      </a:cubicBezTo>
                      <a:cubicBezTo>
                        <a:pt x="4187" y="18481"/>
                        <a:pt x="61" y="14354"/>
                        <a:pt x="1" y="9271"/>
                      </a:cubicBezTo>
                      <a:close/>
                    </a:path>
                  </a:pathLst>
                </a:custGeom>
                <a:grpFill/>
                <a:ln w="5978" cap="flat">
                  <a:noFill/>
                  <a:prstDash val="solid"/>
                  <a:miter/>
                </a:ln>
              </p:spPr>
              <p:txBody>
                <a:bodyPr rtlCol="0" anchor="ctr"/>
                <a:lstStyle/>
                <a:p>
                  <a:endParaRPr lang="en-GB"/>
                </a:p>
              </p:txBody>
            </p:sp>
            <p:sp>
              <p:nvSpPr>
                <p:cNvPr id="3727" name="Vrije vorm: vorm 3726">
                  <a:extLst>
                    <a:ext uri="{FF2B5EF4-FFF2-40B4-BE49-F238E27FC236}">
                      <a16:creationId xmlns:a16="http://schemas.microsoft.com/office/drawing/2014/main" id="{88472D3A-8864-462C-99CB-B595E92325C3}"/>
                    </a:ext>
                  </a:extLst>
                </p:cNvPr>
                <p:cNvSpPr/>
                <p:nvPr/>
              </p:nvSpPr>
              <p:spPr>
                <a:xfrm>
                  <a:off x="6029244" y="1725777"/>
                  <a:ext cx="18362" cy="18421"/>
                </a:xfrm>
                <a:custGeom>
                  <a:avLst/>
                  <a:gdLst>
                    <a:gd name="connsiteX0" fmla="*/ 1 w 18362"/>
                    <a:gd name="connsiteY0" fmla="*/ 9271 h 18421"/>
                    <a:gd name="connsiteX1" fmla="*/ 9271 w 18362"/>
                    <a:gd name="connsiteY1" fmla="*/ 18421 h 18421"/>
                    <a:gd name="connsiteX2" fmla="*/ 18362 w 18362"/>
                    <a:gd name="connsiteY2" fmla="*/ 9151 h 18421"/>
                    <a:gd name="connsiteX3" fmla="*/ 9091 w 18362"/>
                    <a:gd name="connsiteY3" fmla="*/ 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61" y="14354"/>
                        <a:pt x="4187" y="18481"/>
                        <a:pt x="9271" y="18421"/>
                      </a:cubicBezTo>
                      <a:cubicBezTo>
                        <a:pt x="14355" y="18361"/>
                        <a:pt x="18421" y="14235"/>
                        <a:pt x="18362" y="9151"/>
                      </a:cubicBezTo>
                      <a:cubicBezTo>
                        <a:pt x="18302" y="4067"/>
                        <a:pt x="14175" y="-59"/>
                        <a:pt x="9091" y="1"/>
                      </a:cubicBezTo>
                      <a:cubicBezTo>
                        <a:pt x="4008" y="60"/>
                        <a:pt x="-59" y="4187"/>
                        <a:pt x="1" y="9271"/>
                      </a:cubicBezTo>
                      <a:close/>
                    </a:path>
                  </a:pathLst>
                </a:custGeom>
                <a:grpFill/>
                <a:ln w="5978" cap="flat">
                  <a:noFill/>
                  <a:prstDash val="solid"/>
                  <a:miter/>
                </a:ln>
              </p:spPr>
              <p:txBody>
                <a:bodyPr rtlCol="0" anchor="ctr"/>
                <a:lstStyle/>
                <a:p>
                  <a:endParaRPr lang="en-GB"/>
                </a:p>
              </p:txBody>
            </p:sp>
          </p:grpSp>
          <p:grpSp>
            <p:nvGrpSpPr>
              <p:cNvPr id="555" name="Graphic 3">
                <a:extLst>
                  <a:ext uri="{FF2B5EF4-FFF2-40B4-BE49-F238E27FC236}">
                    <a16:creationId xmlns:a16="http://schemas.microsoft.com/office/drawing/2014/main" id="{BF6CE61C-B589-498A-AFC0-E233EB8EF85A}"/>
                  </a:ext>
                </a:extLst>
              </p:cNvPr>
              <p:cNvGrpSpPr/>
              <p:nvPr/>
            </p:nvGrpSpPr>
            <p:grpSpPr>
              <a:xfrm>
                <a:off x="5952861" y="1430140"/>
                <a:ext cx="22269" cy="101932"/>
                <a:chOff x="5952861" y="1430140"/>
                <a:chExt cx="22269" cy="101932"/>
              </a:xfrm>
              <a:grpFill/>
            </p:grpSpPr>
            <p:sp>
              <p:nvSpPr>
                <p:cNvPr id="3722" name="Vrije vorm: vorm 3721">
                  <a:extLst>
                    <a:ext uri="{FF2B5EF4-FFF2-40B4-BE49-F238E27FC236}">
                      <a16:creationId xmlns:a16="http://schemas.microsoft.com/office/drawing/2014/main" id="{AE576C0E-15A9-410A-AFEA-D0B64042EAC4}"/>
                    </a:ext>
                  </a:extLst>
                </p:cNvPr>
                <p:cNvSpPr/>
                <p:nvPr/>
              </p:nvSpPr>
              <p:spPr>
                <a:xfrm>
                  <a:off x="5960467" y="1438822"/>
                  <a:ext cx="7057" cy="84567"/>
                </a:xfrm>
                <a:custGeom>
                  <a:avLst/>
                  <a:gdLst>
                    <a:gd name="connsiteX0" fmla="*/ 3050 w 7057"/>
                    <a:gd name="connsiteY0" fmla="*/ 0 h 84567"/>
                    <a:gd name="connsiteX1" fmla="*/ 7058 w 7057"/>
                    <a:gd name="connsiteY1" fmla="*/ 84448 h 84567"/>
                    <a:gd name="connsiteX2" fmla="*/ 4007 w 7057"/>
                    <a:gd name="connsiteY2" fmla="*/ 84567 h 84567"/>
                    <a:gd name="connsiteX3" fmla="*/ 0 w 7057"/>
                    <a:gd name="connsiteY3" fmla="*/ 179 h 84567"/>
                  </a:gdLst>
                  <a:ahLst/>
                  <a:cxnLst>
                    <a:cxn ang="0">
                      <a:pos x="connsiteX0" y="connsiteY0"/>
                    </a:cxn>
                    <a:cxn ang="0">
                      <a:pos x="connsiteX1" y="connsiteY1"/>
                    </a:cxn>
                    <a:cxn ang="0">
                      <a:pos x="connsiteX2" y="connsiteY2"/>
                    </a:cxn>
                    <a:cxn ang="0">
                      <a:pos x="connsiteX3" y="connsiteY3"/>
                    </a:cxn>
                  </a:cxnLst>
                  <a:rect l="l" t="t" r="r" b="b"/>
                  <a:pathLst>
                    <a:path w="7057" h="84567">
                      <a:moveTo>
                        <a:pt x="3050" y="0"/>
                      </a:moveTo>
                      <a:lnTo>
                        <a:pt x="7058" y="84448"/>
                      </a:lnTo>
                      <a:lnTo>
                        <a:pt x="4007" y="84567"/>
                      </a:lnTo>
                      <a:lnTo>
                        <a:pt x="0" y="179"/>
                      </a:lnTo>
                      <a:close/>
                    </a:path>
                  </a:pathLst>
                </a:custGeom>
                <a:grpFill/>
                <a:ln w="5978" cap="flat">
                  <a:noFill/>
                  <a:prstDash val="solid"/>
                  <a:miter/>
                </a:ln>
              </p:spPr>
              <p:txBody>
                <a:bodyPr rtlCol="0" anchor="ctr"/>
                <a:lstStyle/>
                <a:p>
                  <a:endParaRPr lang="en-GB"/>
                </a:p>
              </p:txBody>
            </p:sp>
            <p:sp>
              <p:nvSpPr>
                <p:cNvPr id="3723" name="Vrije vorm: vorm 3722">
                  <a:extLst>
                    <a:ext uri="{FF2B5EF4-FFF2-40B4-BE49-F238E27FC236}">
                      <a16:creationId xmlns:a16="http://schemas.microsoft.com/office/drawing/2014/main" id="{383956B5-9014-4FD5-B188-690190502713}"/>
                    </a:ext>
                  </a:extLst>
                </p:cNvPr>
                <p:cNvSpPr/>
                <p:nvPr/>
              </p:nvSpPr>
              <p:spPr>
                <a:xfrm>
                  <a:off x="5952861" y="1430140"/>
                  <a:ext cx="18321" cy="18441"/>
                </a:xfrm>
                <a:custGeom>
                  <a:avLst/>
                  <a:gdLst>
                    <a:gd name="connsiteX0" fmla="*/ 10 w 18321"/>
                    <a:gd name="connsiteY0" fmla="*/ 9639 h 18441"/>
                    <a:gd name="connsiteX1" fmla="*/ 8742 w 18321"/>
                    <a:gd name="connsiteY1" fmla="*/ 10 h 18441"/>
                    <a:gd name="connsiteX2" fmla="*/ 18311 w 18321"/>
                    <a:gd name="connsiteY2" fmla="*/ 8802 h 18441"/>
                    <a:gd name="connsiteX3" fmla="*/ 9580 w 18321"/>
                    <a:gd name="connsiteY3" fmla="*/ 18431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29" y="4556"/>
                        <a:pt x="3659" y="250"/>
                        <a:pt x="8742" y="10"/>
                      </a:cubicBezTo>
                      <a:cubicBezTo>
                        <a:pt x="13826" y="-229"/>
                        <a:pt x="18072" y="3718"/>
                        <a:pt x="18311" y="8802"/>
                      </a:cubicBezTo>
                      <a:cubicBezTo>
                        <a:pt x="18551" y="13886"/>
                        <a:pt x="14663" y="18192"/>
                        <a:pt x="9580" y="18431"/>
                      </a:cubicBezTo>
                      <a:cubicBezTo>
                        <a:pt x="4556" y="18670"/>
                        <a:pt x="250" y="14723"/>
                        <a:pt x="10" y="9639"/>
                      </a:cubicBezTo>
                      <a:close/>
                    </a:path>
                  </a:pathLst>
                </a:custGeom>
                <a:grpFill/>
                <a:ln w="5978" cap="flat">
                  <a:noFill/>
                  <a:prstDash val="solid"/>
                  <a:miter/>
                </a:ln>
              </p:spPr>
              <p:txBody>
                <a:bodyPr rtlCol="0" anchor="ctr"/>
                <a:lstStyle/>
                <a:p>
                  <a:endParaRPr lang="en-GB"/>
                </a:p>
              </p:txBody>
            </p:sp>
            <p:sp>
              <p:nvSpPr>
                <p:cNvPr id="3724" name="Vrije vorm: vorm 3723">
                  <a:extLst>
                    <a:ext uri="{FF2B5EF4-FFF2-40B4-BE49-F238E27FC236}">
                      <a16:creationId xmlns:a16="http://schemas.microsoft.com/office/drawing/2014/main" id="{99A28216-7186-49F0-8BE1-DE37B9EF0759}"/>
                    </a:ext>
                  </a:extLst>
                </p:cNvPr>
                <p:cNvSpPr/>
                <p:nvPr/>
              </p:nvSpPr>
              <p:spPr>
                <a:xfrm>
                  <a:off x="5956808" y="1513631"/>
                  <a:ext cx="18321" cy="18441"/>
                </a:xfrm>
                <a:custGeom>
                  <a:avLst/>
                  <a:gdLst>
                    <a:gd name="connsiteX0" fmla="*/ 10 w 18321"/>
                    <a:gd name="connsiteY0" fmla="*/ 9639 h 18441"/>
                    <a:gd name="connsiteX1" fmla="*/ 9580 w 18321"/>
                    <a:gd name="connsiteY1" fmla="*/ 18431 h 18441"/>
                    <a:gd name="connsiteX2" fmla="*/ 18311 w 18321"/>
                    <a:gd name="connsiteY2" fmla="*/ 8802 h 18441"/>
                    <a:gd name="connsiteX3" fmla="*/ 8742 w 18321"/>
                    <a:gd name="connsiteY3" fmla="*/ 10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50" y="14723"/>
                        <a:pt x="4556" y="18670"/>
                        <a:pt x="9580" y="18431"/>
                      </a:cubicBezTo>
                      <a:cubicBezTo>
                        <a:pt x="14663" y="18192"/>
                        <a:pt x="18551" y="13886"/>
                        <a:pt x="18311" y="8802"/>
                      </a:cubicBezTo>
                      <a:cubicBezTo>
                        <a:pt x="18072" y="3718"/>
                        <a:pt x="13766" y="-229"/>
                        <a:pt x="8742" y="10"/>
                      </a:cubicBezTo>
                      <a:cubicBezTo>
                        <a:pt x="3659" y="250"/>
                        <a:pt x="-229" y="4556"/>
                        <a:pt x="10" y="9639"/>
                      </a:cubicBezTo>
                      <a:close/>
                    </a:path>
                  </a:pathLst>
                </a:custGeom>
                <a:grpFill/>
                <a:ln w="5978" cap="flat">
                  <a:noFill/>
                  <a:prstDash val="solid"/>
                  <a:miter/>
                </a:ln>
              </p:spPr>
              <p:txBody>
                <a:bodyPr rtlCol="0" anchor="ctr"/>
                <a:lstStyle/>
                <a:p>
                  <a:endParaRPr lang="en-GB"/>
                </a:p>
              </p:txBody>
            </p:sp>
          </p:grpSp>
          <p:grpSp>
            <p:nvGrpSpPr>
              <p:cNvPr id="556" name="Graphic 3">
                <a:extLst>
                  <a:ext uri="{FF2B5EF4-FFF2-40B4-BE49-F238E27FC236}">
                    <a16:creationId xmlns:a16="http://schemas.microsoft.com/office/drawing/2014/main" id="{37F235EE-9CC8-4B15-A9D9-45D19A62B266}"/>
                  </a:ext>
                </a:extLst>
              </p:cNvPr>
              <p:cNvGrpSpPr/>
              <p:nvPr/>
            </p:nvGrpSpPr>
            <p:grpSpPr>
              <a:xfrm>
                <a:off x="7020589" y="4797232"/>
                <a:ext cx="263431" cy="435525"/>
                <a:chOff x="7020589" y="4797232"/>
                <a:chExt cx="263431" cy="435525"/>
              </a:xfrm>
              <a:grpFill/>
            </p:grpSpPr>
            <p:sp>
              <p:nvSpPr>
                <p:cNvPr id="3719" name="Vrije vorm: vorm 3718">
                  <a:extLst>
                    <a:ext uri="{FF2B5EF4-FFF2-40B4-BE49-F238E27FC236}">
                      <a16:creationId xmlns:a16="http://schemas.microsoft.com/office/drawing/2014/main" id="{1856F713-E4FF-482A-AC1F-34B3D0824A83}"/>
                    </a:ext>
                  </a:extLst>
                </p:cNvPr>
                <p:cNvSpPr/>
                <p:nvPr/>
              </p:nvSpPr>
              <p:spPr>
                <a:xfrm>
                  <a:off x="7028205" y="4805251"/>
                  <a:ext cx="248199" cy="419487"/>
                </a:xfrm>
                <a:custGeom>
                  <a:avLst/>
                  <a:gdLst>
                    <a:gd name="connsiteX0" fmla="*/ 248200 w 248199"/>
                    <a:gd name="connsiteY0" fmla="*/ 417933 h 419487"/>
                    <a:gd name="connsiteX1" fmla="*/ 245569 w 248199"/>
                    <a:gd name="connsiteY1" fmla="*/ 419488 h 419487"/>
                    <a:gd name="connsiteX2" fmla="*/ 0 w 248199"/>
                    <a:gd name="connsiteY2" fmla="*/ 1555 h 419487"/>
                    <a:gd name="connsiteX3" fmla="*/ 2632 w 248199"/>
                    <a:gd name="connsiteY3" fmla="*/ 0 h 419487"/>
                  </a:gdLst>
                  <a:ahLst/>
                  <a:cxnLst>
                    <a:cxn ang="0">
                      <a:pos x="connsiteX0" y="connsiteY0"/>
                    </a:cxn>
                    <a:cxn ang="0">
                      <a:pos x="connsiteX1" y="connsiteY1"/>
                    </a:cxn>
                    <a:cxn ang="0">
                      <a:pos x="connsiteX2" y="connsiteY2"/>
                    </a:cxn>
                    <a:cxn ang="0">
                      <a:pos x="connsiteX3" y="connsiteY3"/>
                    </a:cxn>
                  </a:cxnLst>
                  <a:rect l="l" t="t" r="r" b="b"/>
                  <a:pathLst>
                    <a:path w="248199" h="419487">
                      <a:moveTo>
                        <a:pt x="248200" y="417933"/>
                      </a:moveTo>
                      <a:lnTo>
                        <a:pt x="245569" y="419488"/>
                      </a:lnTo>
                      <a:lnTo>
                        <a:pt x="0" y="1555"/>
                      </a:lnTo>
                      <a:lnTo>
                        <a:pt x="2632" y="0"/>
                      </a:lnTo>
                      <a:close/>
                    </a:path>
                  </a:pathLst>
                </a:custGeom>
                <a:grpFill/>
                <a:ln w="5978" cap="flat">
                  <a:noFill/>
                  <a:prstDash val="solid"/>
                  <a:miter/>
                </a:ln>
              </p:spPr>
              <p:txBody>
                <a:bodyPr rtlCol="0" anchor="ctr"/>
                <a:lstStyle/>
                <a:p>
                  <a:endParaRPr lang="en-GB"/>
                </a:p>
              </p:txBody>
            </p:sp>
            <p:sp>
              <p:nvSpPr>
                <p:cNvPr id="3720" name="Vrije vorm: vorm 3719">
                  <a:extLst>
                    <a:ext uri="{FF2B5EF4-FFF2-40B4-BE49-F238E27FC236}">
                      <a16:creationId xmlns:a16="http://schemas.microsoft.com/office/drawing/2014/main" id="{A772B014-904A-40D2-B300-1F342825FAE5}"/>
                    </a:ext>
                  </a:extLst>
                </p:cNvPr>
                <p:cNvSpPr/>
                <p:nvPr/>
              </p:nvSpPr>
              <p:spPr>
                <a:xfrm>
                  <a:off x="7020589" y="4797232"/>
                  <a:ext cx="18341" cy="18429"/>
                </a:xfrm>
                <a:custGeom>
                  <a:avLst/>
                  <a:gdLst>
                    <a:gd name="connsiteX0" fmla="*/ 1276 w 18341"/>
                    <a:gd name="connsiteY0" fmla="*/ 13880 h 18429"/>
                    <a:gd name="connsiteX1" fmla="*/ 4506 w 18341"/>
                    <a:gd name="connsiteY1" fmla="*/ 1260 h 18429"/>
                    <a:gd name="connsiteX2" fmla="*/ 17065 w 18341"/>
                    <a:gd name="connsiteY2" fmla="*/ 4550 h 18429"/>
                    <a:gd name="connsiteX3" fmla="*/ 13836 w 18341"/>
                    <a:gd name="connsiteY3" fmla="*/ 17169 h 18429"/>
                    <a:gd name="connsiteX4" fmla="*/ 1276 w 18341"/>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276" y="13880"/>
                      </a:moveTo>
                      <a:cubicBezTo>
                        <a:pt x="-1296" y="9514"/>
                        <a:pt x="139" y="3832"/>
                        <a:pt x="4506" y="1260"/>
                      </a:cubicBezTo>
                      <a:cubicBezTo>
                        <a:pt x="8872" y="-1311"/>
                        <a:pt x="14493" y="184"/>
                        <a:pt x="17065" y="4550"/>
                      </a:cubicBezTo>
                      <a:cubicBezTo>
                        <a:pt x="19637" y="8916"/>
                        <a:pt x="18201" y="14597"/>
                        <a:pt x="13836" y="17169"/>
                      </a:cubicBezTo>
                      <a:cubicBezTo>
                        <a:pt x="9470" y="19741"/>
                        <a:pt x="3848" y="18246"/>
                        <a:pt x="1276" y="13880"/>
                      </a:cubicBezTo>
                      <a:close/>
                    </a:path>
                  </a:pathLst>
                </a:custGeom>
                <a:grpFill/>
                <a:ln w="5978" cap="flat">
                  <a:noFill/>
                  <a:prstDash val="solid"/>
                  <a:miter/>
                </a:ln>
              </p:spPr>
              <p:txBody>
                <a:bodyPr rtlCol="0" anchor="ctr"/>
                <a:lstStyle/>
                <a:p>
                  <a:endParaRPr lang="en-GB"/>
                </a:p>
              </p:txBody>
            </p:sp>
            <p:sp>
              <p:nvSpPr>
                <p:cNvPr id="3721" name="Vrije vorm: vorm 3720">
                  <a:extLst>
                    <a:ext uri="{FF2B5EF4-FFF2-40B4-BE49-F238E27FC236}">
                      <a16:creationId xmlns:a16="http://schemas.microsoft.com/office/drawing/2014/main" id="{1AB2EE95-CC2A-450E-A678-D7F1AC6DD799}"/>
                    </a:ext>
                  </a:extLst>
                </p:cNvPr>
                <p:cNvSpPr/>
                <p:nvPr/>
              </p:nvSpPr>
              <p:spPr>
                <a:xfrm>
                  <a:off x="7265680" y="5214327"/>
                  <a:ext cx="18340" cy="18429"/>
                </a:xfrm>
                <a:custGeom>
                  <a:avLst/>
                  <a:gdLst>
                    <a:gd name="connsiteX0" fmla="*/ 1276 w 18340"/>
                    <a:gd name="connsiteY0" fmla="*/ 13880 h 18429"/>
                    <a:gd name="connsiteX1" fmla="*/ 13835 w 18340"/>
                    <a:gd name="connsiteY1" fmla="*/ 17169 h 18429"/>
                    <a:gd name="connsiteX2" fmla="*/ 17065 w 18340"/>
                    <a:gd name="connsiteY2" fmla="*/ 4550 h 18429"/>
                    <a:gd name="connsiteX3" fmla="*/ 4506 w 18340"/>
                    <a:gd name="connsiteY3" fmla="*/ 1260 h 18429"/>
                    <a:gd name="connsiteX4" fmla="*/ 1276 w 18340"/>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9">
                      <a:moveTo>
                        <a:pt x="1276" y="13880"/>
                      </a:moveTo>
                      <a:cubicBezTo>
                        <a:pt x="3848" y="18246"/>
                        <a:pt x="9469" y="19741"/>
                        <a:pt x="13835" y="17169"/>
                      </a:cubicBezTo>
                      <a:cubicBezTo>
                        <a:pt x="18201" y="14598"/>
                        <a:pt x="19637" y="8976"/>
                        <a:pt x="17065" y="4550"/>
                      </a:cubicBezTo>
                      <a:cubicBezTo>
                        <a:pt x="14493" y="184"/>
                        <a:pt x="8871" y="-1311"/>
                        <a:pt x="4506" y="1260"/>
                      </a:cubicBezTo>
                      <a:cubicBezTo>
                        <a:pt x="140" y="3832"/>
                        <a:pt x="-1296" y="9514"/>
                        <a:pt x="1276" y="13880"/>
                      </a:cubicBezTo>
                      <a:close/>
                    </a:path>
                  </a:pathLst>
                </a:custGeom>
                <a:grpFill/>
                <a:ln w="5978" cap="flat">
                  <a:noFill/>
                  <a:prstDash val="solid"/>
                  <a:miter/>
                </a:ln>
              </p:spPr>
              <p:txBody>
                <a:bodyPr rtlCol="0" anchor="ctr"/>
                <a:lstStyle/>
                <a:p>
                  <a:endParaRPr lang="en-GB"/>
                </a:p>
              </p:txBody>
            </p:sp>
          </p:grpSp>
          <p:grpSp>
            <p:nvGrpSpPr>
              <p:cNvPr id="557" name="Graphic 3">
                <a:extLst>
                  <a:ext uri="{FF2B5EF4-FFF2-40B4-BE49-F238E27FC236}">
                    <a16:creationId xmlns:a16="http://schemas.microsoft.com/office/drawing/2014/main" id="{65283CE8-4F8C-49C1-AE19-08C05BBD5FD7}"/>
                  </a:ext>
                </a:extLst>
              </p:cNvPr>
              <p:cNvGrpSpPr/>
              <p:nvPr/>
            </p:nvGrpSpPr>
            <p:grpSpPr>
              <a:xfrm>
                <a:off x="7044798" y="4775735"/>
                <a:ext cx="64557" cy="81697"/>
                <a:chOff x="7044798" y="4775735"/>
                <a:chExt cx="64557" cy="81697"/>
              </a:xfrm>
              <a:grpFill/>
            </p:grpSpPr>
            <p:sp>
              <p:nvSpPr>
                <p:cNvPr id="3716" name="Vrije vorm: vorm 3715">
                  <a:extLst>
                    <a:ext uri="{FF2B5EF4-FFF2-40B4-BE49-F238E27FC236}">
                      <a16:creationId xmlns:a16="http://schemas.microsoft.com/office/drawing/2014/main" id="{7DAF8FEF-8C00-45AC-98CE-9A7F270F9E51}"/>
                    </a:ext>
                  </a:extLst>
                </p:cNvPr>
                <p:cNvSpPr/>
                <p:nvPr/>
              </p:nvSpPr>
              <p:spPr>
                <a:xfrm>
                  <a:off x="7052487" y="4783660"/>
                  <a:ext cx="49161" cy="65847"/>
                </a:xfrm>
                <a:custGeom>
                  <a:avLst/>
                  <a:gdLst>
                    <a:gd name="connsiteX0" fmla="*/ 49161 w 49161"/>
                    <a:gd name="connsiteY0" fmla="*/ 64053 h 65847"/>
                    <a:gd name="connsiteX1" fmla="*/ 46710 w 49161"/>
                    <a:gd name="connsiteY1" fmla="*/ 65848 h 65847"/>
                    <a:gd name="connsiteX2" fmla="*/ 0 w 49161"/>
                    <a:gd name="connsiteY2" fmla="*/ 1854 h 65847"/>
                    <a:gd name="connsiteX3" fmla="*/ 2452 w 49161"/>
                    <a:gd name="connsiteY3" fmla="*/ 0 h 65847"/>
                  </a:gdLst>
                  <a:ahLst/>
                  <a:cxnLst>
                    <a:cxn ang="0">
                      <a:pos x="connsiteX0" y="connsiteY0"/>
                    </a:cxn>
                    <a:cxn ang="0">
                      <a:pos x="connsiteX1" y="connsiteY1"/>
                    </a:cxn>
                    <a:cxn ang="0">
                      <a:pos x="connsiteX2" y="connsiteY2"/>
                    </a:cxn>
                    <a:cxn ang="0">
                      <a:pos x="connsiteX3" y="connsiteY3"/>
                    </a:cxn>
                  </a:cxnLst>
                  <a:rect l="l" t="t" r="r" b="b"/>
                  <a:pathLst>
                    <a:path w="49161" h="65847">
                      <a:moveTo>
                        <a:pt x="49161" y="64053"/>
                      </a:moveTo>
                      <a:lnTo>
                        <a:pt x="46710" y="65848"/>
                      </a:lnTo>
                      <a:lnTo>
                        <a:pt x="0" y="1854"/>
                      </a:lnTo>
                      <a:lnTo>
                        <a:pt x="2452" y="0"/>
                      </a:lnTo>
                      <a:close/>
                    </a:path>
                  </a:pathLst>
                </a:custGeom>
                <a:grpFill/>
                <a:ln w="5978" cap="flat">
                  <a:noFill/>
                  <a:prstDash val="solid"/>
                  <a:miter/>
                </a:ln>
              </p:spPr>
              <p:txBody>
                <a:bodyPr rtlCol="0" anchor="ctr"/>
                <a:lstStyle/>
                <a:p>
                  <a:endParaRPr lang="en-GB"/>
                </a:p>
              </p:txBody>
            </p:sp>
            <p:sp>
              <p:nvSpPr>
                <p:cNvPr id="3717" name="Vrije vorm: vorm 3716">
                  <a:extLst>
                    <a:ext uri="{FF2B5EF4-FFF2-40B4-BE49-F238E27FC236}">
                      <a16:creationId xmlns:a16="http://schemas.microsoft.com/office/drawing/2014/main" id="{93F4CAFC-7364-465B-9C85-2A4FA51BA489}"/>
                    </a:ext>
                  </a:extLst>
                </p:cNvPr>
                <p:cNvSpPr/>
                <p:nvPr/>
              </p:nvSpPr>
              <p:spPr>
                <a:xfrm>
                  <a:off x="7091011" y="4839012"/>
                  <a:ext cx="18343" cy="18421"/>
                </a:xfrm>
                <a:custGeom>
                  <a:avLst/>
                  <a:gdLst>
                    <a:gd name="connsiteX0" fmla="*/ 16558 w 18343"/>
                    <a:gd name="connsiteY0" fmla="*/ 3798 h 18421"/>
                    <a:gd name="connsiteX1" fmla="*/ 14584 w 18343"/>
                    <a:gd name="connsiteY1" fmla="*/ 16656 h 18421"/>
                    <a:gd name="connsiteX2" fmla="*/ 1786 w 18343"/>
                    <a:gd name="connsiteY2" fmla="*/ 14623 h 18421"/>
                    <a:gd name="connsiteX3" fmla="*/ 3759 w 18343"/>
                    <a:gd name="connsiteY3" fmla="*/ 1765 h 18421"/>
                    <a:gd name="connsiteX4" fmla="*/ 16558 w 1834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1">
                      <a:moveTo>
                        <a:pt x="16558" y="3798"/>
                      </a:moveTo>
                      <a:cubicBezTo>
                        <a:pt x="19548" y="7925"/>
                        <a:pt x="18711" y="13666"/>
                        <a:pt x="14584" y="16656"/>
                      </a:cubicBezTo>
                      <a:cubicBezTo>
                        <a:pt x="10517" y="19647"/>
                        <a:pt x="4776" y="18750"/>
                        <a:pt x="1786" y="14623"/>
                      </a:cubicBezTo>
                      <a:cubicBezTo>
                        <a:pt x="-1205" y="10497"/>
                        <a:pt x="-367" y="4755"/>
                        <a:pt x="3759" y="1765"/>
                      </a:cubicBezTo>
                      <a:cubicBezTo>
                        <a:pt x="7826" y="-1226"/>
                        <a:pt x="13567" y="-329"/>
                        <a:pt x="16558" y="3798"/>
                      </a:cubicBezTo>
                      <a:close/>
                    </a:path>
                  </a:pathLst>
                </a:custGeom>
                <a:grpFill/>
                <a:ln w="5978" cap="flat">
                  <a:noFill/>
                  <a:prstDash val="solid"/>
                  <a:miter/>
                </a:ln>
              </p:spPr>
              <p:txBody>
                <a:bodyPr rtlCol="0" anchor="ctr"/>
                <a:lstStyle/>
                <a:p>
                  <a:endParaRPr lang="en-GB"/>
                </a:p>
              </p:txBody>
            </p:sp>
            <p:sp>
              <p:nvSpPr>
                <p:cNvPr id="3718" name="Vrije vorm: vorm 3717">
                  <a:extLst>
                    <a:ext uri="{FF2B5EF4-FFF2-40B4-BE49-F238E27FC236}">
                      <a16:creationId xmlns:a16="http://schemas.microsoft.com/office/drawing/2014/main" id="{55419CA2-2255-4F86-BBA2-428FB168BCDA}"/>
                    </a:ext>
                  </a:extLst>
                </p:cNvPr>
                <p:cNvSpPr/>
                <p:nvPr/>
              </p:nvSpPr>
              <p:spPr>
                <a:xfrm>
                  <a:off x="7044798" y="4775735"/>
                  <a:ext cx="18326" cy="18421"/>
                </a:xfrm>
                <a:custGeom>
                  <a:avLst/>
                  <a:gdLst>
                    <a:gd name="connsiteX0" fmla="*/ 16541 w 18326"/>
                    <a:gd name="connsiteY0" fmla="*/ 3798 h 18421"/>
                    <a:gd name="connsiteX1" fmla="*/ 3742 w 18326"/>
                    <a:gd name="connsiteY1" fmla="*/ 1765 h 18421"/>
                    <a:gd name="connsiteX2" fmla="*/ 1768 w 18326"/>
                    <a:gd name="connsiteY2" fmla="*/ 14623 h 18421"/>
                    <a:gd name="connsiteX3" fmla="*/ 14567 w 18326"/>
                    <a:gd name="connsiteY3" fmla="*/ 16656 h 18421"/>
                    <a:gd name="connsiteX4" fmla="*/ 16541 w 18326"/>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1">
                      <a:moveTo>
                        <a:pt x="16541" y="3798"/>
                      </a:moveTo>
                      <a:cubicBezTo>
                        <a:pt x="13550" y="-329"/>
                        <a:pt x="7809" y="-1226"/>
                        <a:pt x="3742" y="1765"/>
                      </a:cubicBezTo>
                      <a:cubicBezTo>
                        <a:pt x="-325" y="4755"/>
                        <a:pt x="-1222" y="10556"/>
                        <a:pt x="1768" y="14623"/>
                      </a:cubicBezTo>
                      <a:cubicBezTo>
                        <a:pt x="4759" y="18750"/>
                        <a:pt x="10500" y="19647"/>
                        <a:pt x="14567" y="16656"/>
                      </a:cubicBezTo>
                      <a:cubicBezTo>
                        <a:pt x="18694" y="13666"/>
                        <a:pt x="19531" y="7925"/>
                        <a:pt x="16541" y="3798"/>
                      </a:cubicBezTo>
                      <a:close/>
                    </a:path>
                  </a:pathLst>
                </a:custGeom>
                <a:grpFill/>
                <a:ln w="5978" cap="flat">
                  <a:noFill/>
                  <a:prstDash val="solid"/>
                  <a:miter/>
                </a:ln>
              </p:spPr>
              <p:txBody>
                <a:bodyPr rtlCol="0" anchor="ctr"/>
                <a:lstStyle/>
                <a:p>
                  <a:endParaRPr lang="en-GB"/>
                </a:p>
              </p:txBody>
            </p:sp>
          </p:grpSp>
          <p:grpSp>
            <p:nvGrpSpPr>
              <p:cNvPr id="558" name="Graphic 3">
                <a:extLst>
                  <a:ext uri="{FF2B5EF4-FFF2-40B4-BE49-F238E27FC236}">
                    <a16:creationId xmlns:a16="http://schemas.microsoft.com/office/drawing/2014/main" id="{4FA15DE6-FF18-4E4A-A497-D24021B92F6E}"/>
                  </a:ext>
                </a:extLst>
              </p:cNvPr>
              <p:cNvGrpSpPr/>
              <p:nvPr/>
            </p:nvGrpSpPr>
            <p:grpSpPr>
              <a:xfrm>
                <a:off x="7106210" y="5043677"/>
                <a:ext cx="163482" cy="242284"/>
                <a:chOff x="7106210" y="5043677"/>
                <a:chExt cx="163482" cy="242284"/>
              </a:xfrm>
              <a:grpFill/>
            </p:grpSpPr>
            <p:sp>
              <p:nvSpPr>
                <p:cNvPr id="3713" name="Vrije vorm: vorm 3712">
                  <a:extLst>
                    <a:ext uri="{FF2B5EF4-FFF2-40B4-BE49-F238E27FC236}">
                      <a16:creationId xmlns:a16="http://schemas.microsoft.com/office/drawing/2014/main" id="{EA3FF2AB-9AE7-4F91-86A0-C7C813147B73}"/>
                    </a:ext>
                  </a:extLst>
                </p:cNvPr>
                <p:cNvSpPr/>
                <p:nvPr/>
              </p:nvSpPr>
              <p:spPr>
                <a:xfrm>
                  <a:off x="7113909" y="5051656"/>
                  <a:ext cx="148142" cy="226370"/>
                </a:xfrm>
                <a:custGeom>
                  <a:avLst/>
                  <a:gdLst>
                    <a:gd name="connsiteX0" fmla="*/ 148143 w 148142"/>
                    <a:gd name="connsiteY0" fmla="*/ 224696 h 226370"/>
                    <a:gd name="connsiteX1" fmla="*/ 145571 w 148142"/>
                    <a:gd name="connsiteY1" fmla="*/ 226370 h 226370"/>
                    <a:gd name="connsiteX2" fmla="*/ 0 w 148142"/>
                    <a:gd name="connsiteY2" fmla="*/ 1674 h 226370"/>
                    <a:gd name="connsiteX3" fmla="*/ 2511 w 148142"/>
                    <a:gd name="connsiteY3" fmla="*/ 0 h 226370"/>
                  </a:gdLst>
                  <a:ahLst/>
                  <a:cxnLst>
                    <a:cxn ang="0">
                      <a:pos x="connsiteX0" y="connsiteY0"/>
                    </a:cxn>
                    <a:cxn ang="0">
                      <a:pos x="connsiteX1" y="connsiteY1"/>
                    </a:cxn>
                    <a:cxn ang="0">
                      <a:pos x="connsiteX2" y="connsiteY2"/>
                    </a:cxn>
                    <a:cxn ang="0">
                      <a:pos x="connsiteX3" y="connsiteY3"/>
                    </a:cxn>
                  </a:cxnLst>
                  <a:rect l="l" t="t" r="r" b="b"/>
                  <a:pathLst>
                    <a:path w="148142" h="226370">
                      <a:moveTo>
                        <a:pt x="148143" y="224696"/>
                      </a:moveTo>
                      <a:lnTo>
                        <a:pt x="145571" y="226370"/>
                      </a:lnTo>
                      <a:lnTo>
                        <a:pt x="0" y="1674"/>
                      </a:lnTo>
                      <a:lnTo>
                        <a:pt x="2511" y="0"/>
                      </a:lnTo>
                      <a:close/>
                    </a:path>
                  </a:pathLst>
                </a:custGeom>
                <a:grpFill/>
                <a:ln w="5978" cap="flat">
                  <a:noFill/>
                  <a:prstDash val="solid"/>
                  <a:miter/>
                </a:ln>
              </p:spPr>
              <p:txBody>
                <a:bodyPr rtlCol="0" anchor="ctr"/>
                <a:lstStyle/>
                <a:p>
                  <a:endParaRPr lang="en-GB"/>
                </a:p>
              </p:txBody>
            </p:sp>
            <p:sp>
              <p:nvSpPr>
                <p:cNvPr id="3714" name="Vrije vorm: vorm 3713">
                  <a:extLst>
                    <a:ext uri="{FF2B5EF4-FFF2-40B4-BE49-F238E27FC236}">
                      <a16:creationId xmlns:a16="http://schemas.microsoft.com/office/drawing/2014/main" id="{F066CA4E-F52E-48B1-BCEC-A7C8AE83B815}"/>
                    </a:ext>
                  </a:extLst>
                </p:cNvPr>
                <p:cNvSpPr/>
                <p:nvPr/>
              </p:nvSpPr>
              <p:spPr>
                <a:xfrm>
                  <a:off x="7251420" y="5267535"/>
                  <a:ext cx="18273" cy="18426"/>
                </a:xfrm>
                <a:custGeom>
                  <a:avLst/>
                  <a:gdLst>
                    <a:gd name="connsiteX0" fmla="*/ 16792 w 18273"/>
                    <a:gd name="connsiteY0" fmla="*/ 4212 h 18426"/>
                    <a:gd name="connsiteX1" fmla="*/ 14160 w 18273"/>
                    <a:gd name="connsiteY1" fmla="*/ 16951 h 18426"/>
                    <a:gd name="connsiteX2" fmla="*/ 1481 w 18273"/>
                    <a:gd name="connsiteY2" fmla="*/ 14200 h 18426"/>
                    <a:gd name="connsiteX3" fmla="*/ 4112 w 18273"/>
                    <a:gd name="connsiteY3" fmla="*/ 1461 h 18426"/>
                    <a:gd name="connsiteX4" fmla="*/ 16792 w 18273"/>
                    <a:gd name="connsiteY4" fmla="*/ 421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26">
                      <a:moveTo>
                        <a:pt x="16792" y="4212"/>
                      </a:moveTo>
                      <a:cubicBezTo>
                        <a:pt x="19543" y="8458"/>
                        <a:pt x="18347" y="14200"/>
                        <a:pt x="14160" y="16951"/>
                      </a:cubicBezTo>
                      <a:cubicBezTo>
                        <a:pt x="9914" y="19702"/>
                        <a:pt x="4232" y="18506"/>
                        <a:pt x="1481" y="14200"/>
                      </a:cubicBezTo>
                      <a:cubicBezTo>
                        <a:pt x="-1270" y="9953"/>
                        <a:pt x="-74" y="4212"/>
                        <a:pt x="4112" y="1461"/>
                      </a:cubicBezTo>
                      <a:cubicBezTo>
                        <a:pt x="8299" y="-1290"/>
                        <a:pt x="14041" y="-35"/>
                        <a:pt x="16792" y="4212"/>
                      </a:cubicBezTo>
                      <a:close/>
                    </a:path>
                  </a:pathLst>
                </a:custGeom>
                <a:grpFill/>
                <a:ln w="5978" cap="flat">
                  <a:noFill/>
                  <a:prstDash val="solid"/>
                  <a:miter/>
                </a:ln>
              </p:spPr>
              <p:txBody>
                <a:bodyPr rtlCol="0" anchor="ctr"/>
                <a:lstStyle/>
                <a:p>
                  <a:endParaRPr lang="en-GB"/>
                </a:p>
              </p:txBody>
            </p:sp>
            <p:sp>
              <p:nvSpPr>
                <p:cNvPr id="3715" name="Vrije vorm: vorm 3714">
                  <a:extLst>
                    <a:ext uri="{FF2B5EF4-FFF2-40B4-BE49-F238E27FC236}">
                      <a16:creationId xmlns:a16="http://schemas.microsoft.com/office/drawing/2014/main" id="{4A11684E-89A5-4499-88E2-2B93619C8C48}"/>
                    </a:ext>
                  </a:extLst>
                </p:cNvPr>
                <p:cNvSpPr/>
                <p:nvPr/>
              </p:nvSpPr>
              <p:spPr>
                <a:xfrm>
                  <a:off x="7106210" y="5043677"/>
                  <a:ext cx="18369" cy="18411"/>
                </a:xfrm>
                <a:custGeom>
                  <a:avLst/>
                  <a:gdLst>
                    <a:gd name="connsiteX0" fmla="*/ 16849 w 18369"/>
                    <a:gd name="connsiteY0" fmla="*/ 4212 h 18411"/>
                    <a:gd name="connsiteX1" fmla="*/ 4170 w 18369"/>
                    <a:gd name="connsiteY1" fmla="*/ 1461 h 18411"/>
                    <a:gd name="connsiteX2" fmla="*/ 1478 w 18369"/>
                    <a:gd name="connsiteY2" fmla="*/ 14200 h 18411"/>
                    <a:gd name="connsiteX3" fmla="*/ 14158 w 18369"/>
                    <a:gd name="connsiteY3" fmla="*/ 16951 h 18411"/>
                    <a:gd name="connsiteX4" fmla="*/ 16849 w 18369"/>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1">
                      <a:moveTo>
                        <a:pt x="16849" y="4212"/>
                      </a:moveTo>
                      <a:cubicBezTo>
                        <a:pt x="14098" y="-35"/>
                        <a:pt x="8416" y="-1290"/>
                        <a:pt x="4170" y="1461"/>
                      </a:cubicBezTo>
                      <a:cubicBezTo>
                        <a:pt x="-77" y="4212"/>
                        <a:pt x="-1272" y="9953"/>
                        <a:pt x="1478" y="14200"/>
                      </a:cubicBezTo>
                      <a:cubicBezTo>
                        <a:pt x="4229" y="18446"/>
                        <a:pt x="9911" y="19702"/>
                        <a:pt x="14158" y="16951"/>
                      </a:cubicBezTo>
                      <a:cubicBezTo>
                        <a:pt x="18463" y="14200"/>
                        <a:pt x="19660" y="8458"/>
                        <a:pt x="16849" y="4212"/>
                      </a:cubicBezTo>
                      <a:close/>
                    </a:path>
                  </a:pathLst>
                </a:custGeom>
                <a:grpFill/>
                <a:ln w="5978" cap="flat">
                  <a:noFill/>
                  <a:prstDash val="solid"/>
                  <a:miter/>
                </a:ln>
              </p:spPr>
              <p:txBody>
                <a:bodyPr rtlCol="0" anchor="ctr"/>
                <a:lstStyle/>
                <a:p>
                  <a:endParaRPr lang="en-GB"/>
                </a:p>
              </p:txBody>
            </p:sp>
          </p:grpSp>
          <p:grpSp>
            <p:nvGrpSpPr>
              <p:cNvPr id="559" name="Graphic 3">
                <a:extLst>
                  <a:ext uri="{FF2B5EF4-FFF2-40B4-BE49-F238E27FC236}">
                    <a16:creationId xmlns:a16="http://schemas.microsoft.com/office/drawing/2014/main" id="{C5701AD1-877A-471E-A409-6C49DFAF7A07}"/>
                  </a:ext>
                </a:extLst>
              </p:cNvPr>
              <p:cNvGrpSpPr/>
              <p:nvPr/>
            </p:nvGrpSpPr>
            <p:grpSpPr>
              <a:xfrm>
                <a:off x="7060943" y="4853422"/>
                <a:ext cx="58009" cy="74970"/>
                <a:chOff x="7060943" y="4853422"/>
                <a:chExt cx="58009" cy="74970"/>
              </a:xfrm>
              <a:grpFill/>
            </p:grpSpPr>
            <p:sp>
              <p:nvSpPr>
                <p:cNvPr id="3710" name="Vrije vorm: vorm 3709">
                  <a:extLst>
                    <a:ext uri="{FF2B5EF4-FFF2-40B4-BE49-F238E27FC236}">
                      <a16:creationId xmlns:a16="http://schemas.microsoft.com/office/drawing/2014/main" id="{57F4B219-954F-42C6-859B-5081849A1A97}"/>
                    </a:ext>
                  </a:extLst>
                </p:cNvPr>
                <p:cNvSpPr/>
                <p:nvPr/>
              </p:nvSpPr>
              <p:spPr>
                <a:xfrm>
                  <a:off x="7068635" y="4861410"/>
                  <a:ext cx="42642" cy="58969"/>
                </a:xfrm>
                <a:custGeom>
                  <a:avLst/>
                  <a:gdLst>
                    <a:gd name="connsiteX0" fmla="*/ 42643 w 42642"/>
                    <a:gd name="connsiteY0" fmla="*/ 57236 h 58969"/>
                    <a:gd name="connsiteX1" fmla="*/ 40191 w 42642"/>
                    <a:gd name="connsiteY1" fmla="*/ 58970 h 58969"/>
                    <a:gd name="connsiteX2" fmla="*/ 0 w 42642"/>
                    <a:gd name="connsiteY2" fmla="*/ 1734 h 58969"/>
                    <a:gd name="connsiteX3" fmla="*/ 2452 w 42642"/>
                    <a:gd name="connsiteY3" fmla="*/ 0 h 58969"/>
                  </a:gdLst>
                  <a:ahLst/>
                  <a:cxnLst>
                    <a:cxn ang="0">
                      <a:pos x="connsiteX0" y="connsiteY0"/>
                    </a:cxn>
                    <a:cxn ang="0">
                      <a:pos x="connsiteX1" y="connsiteY1"/>
                    </a:cxn>
                    <a:cxn ang="0">
                      <a:pos x="connsiteX2" y="connsiteY2"/>
                    </a:cxn>
                    <a:cxn ang="0">
                      <a:pos x="connsiteX3" y="connsiteY3"/>
                    </a:cxn>
                  </a:cxnLst>
                  <a:rect l="l" t="t" r="r" b="b"/>
                  <a:pathLst>
                    <a:path w="42642" h="58969">
                      <a:moveTo>
                        <a:pt x="42643" y="57236"/>
                      </a:moveTo>
                      <a:lnTo>
                        <a:pt x="40191" y="58970"/>
                      </a:lnTo>
                      <a:lnTo>
                        <a:pt x="0" y="1734"/>
                      </a:lnTo>
                      <a:lnTo>
                        <a:pt x="2452" y="0"/>
                      </a:lnTo>
                      <a:close/>
                    </a:path>
                  </a:pathLst>
                </a:custGeom>
                <a:grpFill/>
                <a:ln w="5978" cap="flat">
                  <a:noFill/>
                  <a:prstDash val="solid"/>
                  <a:miter/>
                </a:ln>
              </p:spPr>
              <p:txBody>
                <a:bodyPr rtlCol="0" anchor="ctr"/>
                <a:lstStyle/>
                <a:p>
                  <a:endParaRPr lang="en-GB"/>
                </a:p>
              </p:txBody>
            </p:sp>
            <p:sp>
              <p:nvSpPr>
                <p:cNvPr id="3711" name="Vrije vorm: vorm 3710">
                  <a:extLst>
                    <a:ext uri="{FF2B5EF4-FFF2-40B4-BE49-F238E27FC236}">
                      <a16:creationId xmlns:a16="http://schemas.microsoft.com/office/drawing/2014/main" id="{B31E0816-7248-4A18-B468-5A7E4930773A}"/>
                    </a:ext>
                  </a:extLst>
                </p:cNvPr>
                <p:cNvSpPr/>
                <p:nvPr/>
              </p:nvSpPr>
              <p:spPr>
                <a:xfrm>
                  <a:off x="7100552" y="4909914"/>
                  <a:ext cx="18399" cy="18479"/>
                </a:xfrm>
                <a:custGeom>
                  <a:avLst/>
                  <a:gdLst>
                    <a:gd name="connsiteX0" fmla="*/ 16705 w 18399"/>
                    <a:gd name="connsiteY0" fmla="*/ 3946 h 18479"/>
                    <a:gd name="connsiteX1" fmla="*/ 14493 w 18399"/>
                    <a:gd name="connsiteY1" fmla="*/ 16805 h 18479"/>
                    <a:gd name="connsiteX2" fmla="*/ 1694 w 18399"/>
                    <a:gd name="connsiteY2" fmla="*/ 14532 h 18479"/>
                    <a:gd name="connsiteX3" fmla="*/ 3907 w 18399"/>
                    <a:gd name="connsiteY3" fmla="*/ 1674 h 18479"/>
                    <a:gd name="connsiteX4" fmla="*/ 16705 w 18399"/>
                    <a:gd name="connsiteY4" fmla="*/ 3946 h 1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79">
                      <a:moveTo>
                        <a:pt x="16705" y="3946"/>
                      </a:moveTo>
                      <a:cubicBezTo>
                        <a:pt x="19636" y="8133"/>
                        <a:pt x="18680" y="13875"/>
                        <a:pt x="14493" y="16805"/>
                      </a:cubicBezTo>
                      <a:cubicBezTo>
                        <a:pt x="10366" y="19736"/>
                        <a:pt x="4625" y="18719"/>
                        <a:pt x="1694" y="14532"/>
                      </a:cubicBezTo>
                      <a:cubicBezTo>
                        <a:pt x="-1237" y="10346"/>
                        <a:pt x="-280" y="4605"/>
                        <a:pt x="3907" y="1674"/>
                      </a:cubicBezTo>
                      <a:cubicBezTo>
                        <a:pt x="8094" y="-1257"/>
                        <a:pt x="13775" y="-240"/>
                        <a:pt x="16705" y="3946"/>
                      </a:cubicBezTo>
                      <a:close/>
                    </a:path>
                  </a:pathLst>
                </a:custGeom>
                <a:grpFill/>
                <a:ln w="5978" cap="flat">
                  <a:noFill/>
                  <a:prstDash val="solid"/>
                  <a:miter/>
                </a:ln>
              </p:spPr>
              <p:txBody>
                <a:bodyPr rtlCol="0" anchor="ctr"/>
                <a:lstStyle/>
                <a:p>
                  <a:endParaRPr lang="en-GB"/>
                </a:p>
              </p:txBody>
            </p:sp>
            <p:sp>
              <p:nvSpPr>
                <p:cNvPr id="3712" name="Vrije vorm: vorm 3711">
                  <a:extLst>
                    <a:ext uri="{FF2B5EF4-FFF2-40B4-BE49-F238E27FC236}">
                      <a16:creationId xmlns:a16="http://schemas.microsoft.com/office/drawing/2014/main" id="{B51C7BC5-C52D-4465-B845-F5E68F59D596}"/>
                    </a:ext>
                  </a:extLst>
                </p:cNvPr>
                <p:cNvSpPr/>
                <p:nvPr/>
              </p:nvSpPr>
              <p:spPr>
                <a:xfrm>
                  <a:off x="7060943" y="4853422"/>
                  <a:ext cx="18356" cy="18426"/>
                </a:xfrm>
                <a:custGeom>
                  <a:avLst/>
                  <a:gdLst>
                    <a:gd name="connsiteX0" fmla="*/ 16663 w 18356"/>
                    <a:gd name="connsiteY0" fmla="*/ 3921 h 18426"/>
                    <a:gd name="connsiteX1" fmla="*/ 3865 w 18356"/>
                    <a:gd name="connsiteY1" fmla="*/ 1648 h 18426"/>
                    <a:gd name="connsiteX2" fmla="*/ 1651 w 18356"/>
                    <a:gd name="connsiteY2" fmla="*/ 14506 h 18426"/>
                    <a:gd name="connsiteX3" fmla="*/ 14450 w 18356"/>
                    <a:gd name="connsiteY3" fmla="*/ 16779 h 18426"/>
                    <a:gd name="connsiteX4" fmla="*/ 16663 w 18356"/>
                    <a:gd name="connsiteY4" fmla="*/ 3921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6">
                      <a:moveTo>
                        <a:pt x="16663" y="3921"/>
                      </a:moveTo>
                      <a:cubicBezTo>
                        <a:pt x="13732" y="-266"/>
                        <a:pt x="7991" y="-1223"/>
                        <a:pt x="3865" y="1648"/>
                      </a:cubicBezTo>
                      <a:cubicBezTo>
                        <a:pt x="-262" y="4578"/>
                        <a:pt x="-1220" y="10320"/>
                        <a:pt x="1651" y="14506"/>
                      </a:cubicBezTo>
                      <a:cubicBezTo>
                        <a:pt x="4522" y="18693"/>
                        <a:pt x="10324" y="19650"/>
                        <a:pt x="14450" y="16779"/>
                      </a:cubicBezTo>
                      <a:cubicBezTo>
                        <a:pt x="18637" y="13848"/>
                        <a:pt x="19593" y="8107"/>
                        <a:pt x="16663" y="3921"/>
                      </a:cubicBezTo>
                      <a:close/>
                    </a:path>
                  </a:pathLst>
                </a:custGeom>
                <a:grpFill/>
                <a:ln w="5978" cap="flat">
                  <a:noFill/>
                  <a:prstDash val="solid"/>
                  <a:miter/>
                </a:ln>
              </p:spPr>
              <p:txBody>
                <a:bodyPr rtlCol="0" anchor="ctr"/>
                <a:lstStyle/>
                <a:p>
                  <a:endParaRPr lang="en-GB"/>
                </a:p>
              </p:txBody>
            </p:sp>
          </p:grpSp>
          <p:grpSp>
            <p:nvGrpSpPr>
              <p:cNvPr id="560" name="Graphic 3">
                <a:extLst>
                  <a:ext uri="{FF2B5EF4-FFF2-40B4-BE49-F238E27FC236}">
                    <a16:creationId xmlns:a16="http://schemas.microsoft.com/office/drawing/2014/main" id="{23E1800D-A112-41A6-8945-3CC3699A5B01}"/>
                  </a:ext>
                </a:extLst>
              </p:cNvPr>
              <p:cNvGrpSpPr/>
              <p:nvPr/>
            </p:nvGrpSpPr>
            <p:grpSpPr>
              <a:xfrm>
                <a:off x="5957645" y="1532051"/>
                <a:ext cx="22807" cy="113594"/>
                <a:chOff x="5957645" y="1532051"/>
                <a:chExt cx="22807" cy="113594"/>
              </a:xfrm>
              <a:grpFill/>
            </p:grpSpPr>
            <p:sp>
              <p:nvSpPr>
                <p:cNvPr id="3707" name="Vrije vorm: vorm 3706">
                  <a:extLst>
                    <a:ext uri="{FF2B5EF4-FFF2-40B4-BE49-F238E27FC236}">
                      <a16:creationId xmlns:a16="http://schemas.microsoft.com/office/drawing/2014/main" id="{35297B01-BBD4-4C28-8C08-E5D7B96D9506}"/>
                    </a:ext>
                  </a:extLst>
                </p:cNvPr>
                <p:cNvSpPr/>
                <p:nvPr/>
              </p:nvSpPr>
              <p:spPr>
                <a:xfrm>
                  <a:off x="5965311" y="1540794"/>
                  <a:ext cx="7535" cy="96170"/>
                </a:xfrm>
                <a:custGeom>
                  <a:avLst/>
                  <a:gdLst>
                    <a:gd name="connsiteX0" fmla="*/ 2990 w 7535"/>
                    <a:gd name="connsiteY0" fmla="*/ 0 h 96170"/>
                    <a:gd name="connsiteX1" fmla="*/ 7536 w 7535"/>
                    <a:gd name="connsiteY1" fmla="*/ 96050 h 96170"/>
                    <a:gd name="connsiteX2" fmla="*/ 4486 w 7535"/>
                    <a:gd name="connsiteY2" fmla="*/ 96170 h 96170"/>
                    <a:gd name="connsiteX3" fmla="*/ 0 w 7535"/>
                    <a:gd name="connsiteY3" fmla="*/ 120 h 96170"/>
                  </a:gdLst>
                  <a:ahLst/>
                  <a:cxnLst>
                    <a:cxn ang="0">
                      <a:pos x="connsiteX0" y="connsiteY0"/>
                    </a:cxn>
                    <a:cxn ang="0">
                      <a:pos x="connsiteX1" y="connsiteY1"/>
                    </a:cxn>
                    <a:cxn ang="0">
                      <a:pos x="connsiteX2" y="connsiteY2"/>
                    </a:cxn>
                    <a:cxn ang="0">
                      <a:pos x="connsiteX3" y="connsiteY3"/>
                    </a:cxn>
                  </a:cxnLst>
                  <a:rect l="l" t="t" r="r" b="b"/>
                  <a:pathLst>
                    <a:path w="7535" h="96170">
                      <a:moveTo>
                        <a:pt x="2990" y="0"/>
                      </a:moveTo>
                      <a:lnTo>
                        <a:pt x="7536" y="96050"/>
                      </a:lnTo>
                      <a:lnTo>
                        <a:pt x="4486" y="96170"/>
                      </a:lnTo>
                      <a:lnTo>
                        <a:pt x="0" y="120"/>
                      </a:lnTo>
                      <a:close/>
                    </a:path>
                  </a:pathLst>
                </a:custGeom>
                <a:grpFill/>
                <a:ln w="5978" cap="flat">
                  <a:noFill/>
                  <a:prstDash val="solid"/>
                  <a:miter/>
                </a:ln>
              </p:spPr>
              <p:txBody>
                <a:bodyPr rtlCol="0" anchor="ctr"/>
                <a:lstStyle/>
                <a:p>
                  <a:endParaRPr lang="en-GB"/>
                </a:p>
              </p:txBody>
            </p:sp>
            <p:sp>
              <p:nvSpPr>
                <p:cNvPr id="3708" name="Vrije vorm: vorm 3707">
                  <a:extLst>
                    <a:ext uri="{FF2B5EF4-FFF2-40B4-BE49-F238E27FC236}">
                      <a16:creationId xmlns:a16="http://schemas.microsoft.com/office/drawing/2014/main" id="{412FD8C8-D484-4BA3-84F3-2C1DEA301EF9}"/>
                    </a:ext>
                  </a:extLst>
                </p:cNvPr>
                <p:cNvSpPr/>
                <p:nvPr/>
              </p:nvSpPr>
              <p:spPr>
                <a:xfrm>
                  <a:off x="5957645" y="1532051"/>
                  <a:ext cx="18321" cy="18441"/>
                </a:xfrm>
                <a:custGeom>
                  <a:avLst/>
                  <a:gdLst>
                    <a:gd name="connsiteX0" fmla="*/ 10 w 18321"/>
                    <a:gd name="connsiteY0" fmla="*/ 9639 h 18441"/>
                    <a:gd name="connsiteX1" fmla="*/ 8742 w 18321"/>
                    <a:gd name="connsiteY1" fmla="*/ 10 h 18441"/>
                    <a:gd name="connsiteX2" fmla="*/ 18311 w 18321"/>
                    <a:gd name="connsiteY2" fmla="*/ 8802 h 18441"/>
                    <a:gd name="connsiteX3" fmla="*/ 9579 w 18321"/>
                    <a:gd name="connsiteY3" fmla="*/ 18431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29" y="4556"/>
                        <a:pt x="3659" y="250"/>
                        <a:pt x="8742" y="10"/>
                      </a:cubicBezTo>
                      <a:cubicBezTo>
                        <a:pt x="13826" y="-229"/>
                        <a:pt x="18072" y="3718"/>
                        <a:pt x="18311" y="8802"/>
                      </a:cubicBezTo>
                      <a:cubicBezTo>
                        <a:pt x="18551" y="13886"/>
                        <a:pt x="14663" y="18192"/>
                        <a:pt x="9579" y="18431"/>
                      </a:cubicBezTo>
                      <a:cubicBezTo>
                        <a:pt x="4556" y="18670"/>
                        <a:pt x="250" y="14723"/>
                        <a:pt x="10" y="9639"/>
                      </a:cubicBezTo>
                      <a:close/>
                    </a:path>
                  </a:pathLst>
                </a:custGeom>
                <a:grpFill/>
                <a:ln w="5978" cap="flat">
                  <a:noFill/>
                  <a:prstDash val="solid"/>
                  <a:miter/>
                </a:ln>
              </p:spPr>
              <p:txBody>
                <a:bodyPr rtlCol="0" anchor="ctr"/>
                <a:lstStyle/>
                <a:p>
                  <a:endParaRPr lang="en-GB"/>
                </a:p>
              </p:txBody>
            </p:sp>
            <p:sp>
              <p:nvSpPr>
                <p:cNvPr id="3709" name="Vrije vorm: vorm 3708">
                  <a:extLst>
                    <a:ext uri="{FF2B5EF4-FFF2-40B4-BE49-F238E27FC236}">
                      <a16:creationId xmlns:a16="http://schemas.microsoft.com/office/drawing/2014/main" id="{6C7B297B-4088-49AF-A98E-1EE057C48C98}"/>
                    </a:ext>
                  </a:extLst>
                </p:cNvPr>
                <p:cNvSpPr/>
                <p:nvPr/>
              </p:nvSpPr>
              <p:spPr>
                <a:xfrm>
                  <a:off x="5962131" y="1627205"/>
                  <a:ext cx="18321" cy="18441"/>
                </a:xfrm>
                <a:custGeom>
                  <a:avLst/>
                  <a:gdLst>
                    <a:gd name="connsiteX0" fmla="*/ 10 w 18321"/>
                    <a:gd name="connsiteY0" fmla="*/ 9639 h 18441"/>
                    <a:gd name="connsiteX1" fmla="*/ 9579 w 18321"/>
                    <a:gd name="connsiteY1" fmla="*/ 18431 h 18441"/>
                    <a:gd name="connsiteX2" fmla="*/ 18311 w 18321"/>
                    <a:gd name="connsiteY2" fmla="*/ 8802 h 18441"/>
                    <a:gd name="connsiteX3" fmla="*/ 8742 w 18321"/>
                    <a:gd name="connsiteY3" fmla="*/ 10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49" y="14723"/>
                        <a:pt x="4556" y="18670"/>
                        <a:pt x="9579" y="18431"/>
                      </a:cubicBezTo>
                      <a:cubicBezTo>
                        <a:pt x="14663" y="18192"/>
                        <a:pt x="18550" y="13886"/>
                        <a:pt x="18311" y="8802"/>
                      </a:cubicBezTo>
                      <a:cubicBezTo>
                        <a:pt x="18072" y="3718"/>
                        <a:pt x="13766" y="-229"/>
                        <a:pt x="8742" y="10"/>
                      </a:cubicBezTo>
                      <a:cubicBezTo>
                        <a:pt x="3718" y="250"/>
                        <a:pt x="-229" y="4556"/>
                        <a:pt x="10" y="9639"/>
                      </a:cubicBezTo>
                      <a:close/>
                    </a:path>
                  </a:pathLst>
                </a:custGeom>
                <a:grpFill/>
                <a:ln w="5978" cap="flat">
                  <a:noFill/>
                  <a:prstDash val="solid"/>
                  <a:miter/>
                </a:ln>
              </p:spPr>
              <p:txBody>
                <a:bodyPr rtlCol="0" anchor="ctr"/>
                <a:lstStyle/>
                <a:p>
                  <a:endParaRPr lang="en-GB"/>
                </a:p>
              </p:txBody>
            </p:sp>
          </p:grpSp>
          <p:grpSp>
            <p:nvGrpSpPr>
              <p:cNvPr id="561" name="Graphic 3">
                <a:extLst>
                  <a:ext uri="{FF2B5EF4-FFF2-40B4-BE49-F238E27FC236}">
                    <a16:creationId xmlns:a16="http://schemas.microsoft.com/office/drawing/2014/main" id="{DEA32474-A5B7-4FE7-AFD5-601420B0ED6B}"/>
                  </a:ext>
                </a:extLst>
              </p:cNvPr>
              <p:cNvGrpSpPr/>
              <p:nvPr/>
            </p:nvGrpSpPr>
            <p:grpSpPr>
              <a:xfrm>
                <a:off x="5914631" y="1407766"/>
                <a:ext cx="26833" cy="148414"/>
                <a:chOff x="5914631" y="1407766"/>
                <a:chExt cx="26833" cy="148414"/>
              </a:xfrm>
              <a:grpFill/>
            </p:grpSpPr>
            <p:sp>
              <p:nvSpPr>
                <p:cNvPr id="3704" name="Vrije vorm: vorm 3703">
                  <a:extLst>
                    <a:ext uri="{FF2B5EF4-FFF2-40B4-BE49-F238E27FC236}">
                      <a16:creationId xmlns:a16="http://schemas.microsoft.com/office/drawing/2014/main" id="{D24D4986-796E-478A-9BF5-B73CB60E0CF7}"/>
                    </a:ext>
                  </a:extLst>
                </p:cNvPr>
                <p:cNvSpPr/>
                <p:nvPr/>
              </p:nvSpPr>
              <p:spPr>
                <a:xfrm>
                  <a:off x="5922250" y="1416395"/>
                  <a:ext cx="11602" cy="131097"/>
                </a:xfrm>
                <a:custGeom>
                  <a:avLst/>
                  <a:gdLst>
                    <a:gd name="connsiteX0" fmla="*/ 2990 w 11602"/>
                    <a:gd name="connsiteY0" fmla="*/ 0 h 131097"/>
                    <a:gd name="connsiteX1" fmla="*/ 11603 w 11602"/>
                    <a:gd name="connsiteY1" fmla="*/ 130918 h 131097"/>
                    <a:gd name="connsiteX2" fmla="*/ 8552 w 11602"/>
                    <a:gd name="connsiteY2" fmla="*/ 131097 h 131097"/>
                    <a:gd name="connsiteX3" fmla="*/ 0 w 11602"/>
                    <a:gd name="connsiteY3" fmla="*/ 179 h 131097"/>
                  </a:gdLst>
                  <a:ahLst/>
                  <a:cxnLst>
                    <a:cxn ang="0">
                      <a:pos x="connsiteX0" y="connsiteY0"/>
                    </a:cxn>
                    <a:cxn ang="0">
                      <a:pos x="connsiteX1" y="connsiteY1"/>
                    </a:cxn>
                    <a:cxn ang="0">
                      <a:pos x="connsiteX2" y="connsiteY2"/>
                    </a:cxn>
                    <a:cxn ang="0">
                      <a:pos x="connsiteX3" y="connsiteY3"/>
                    </a:cxn>
                  </a:cxnLst>
                  <a:rect l="l" t="t" r="r" b="b"/>
                  <a:pathLst>
                    <a:path w="11602" h="131097">
                      <a:moveTo>
                        <a:pt x="2990" y="0"/>
                      </a:moveTo>
                      <a:lnTo>
                        <a:pt x="11603" y="130918"/>
                      </a:lnTo>
                      <a:lnTo>
                        <a:pt x="8552" y="131097"/>
                      </a:lnTo>
                      <a:lnTo>
                        <a:pt x="0" y="179"/>
                      </a:lnTo>
                      <a:close/>
                    </a:path>
                  </a:pathLst>
                </a:custGeom>
                <a:grpFill/>
                <a:ln w="5978" cap="flat">
                  <a:noFill/>
                  <a:prstDash val="solid"/>
                  <a:miter/>
                </a:ln>
              </p:spPr>
              <p:txBody>
                <a:bodyPr rtlCol="0" anchor="ctr"/>
                <a:lstStyle/>
                <a:p>
                  <a:endParaRPr lang="en-GB"/>
                </a:p>
              </p:txBody>
            </p:sp>
            <p:sp>
              <p:nvSpPr>
                <p:cNvPr id="3705" name="Vrije vorm: vorm 3704">
                  <a:extLst>
                    <a:ext uri="{FF2B5EF4-FFF2-40B4-BE49-F238E27FC236}">
                      <a16:creationId xmlns:a16="http://schemas.microsoft.com/office/drawing/2014/main" id="{86F4296E-DF9D-418F-B299-54B477B1E122}"/>
                    </a:ext>
                  </a:extLst>
                </p:cNvPr>
                <p:cNvSpPr/>
                <p:nvPr/>
              </p:nvSpPr>
              <p:spPr>
                <a:xfrm>
                  <a:off x="5914631" y="1407766"/>
                  <a:ext cx="18347" cy="18393"/>
                </a:xfrm>
                <a:custGeom>
                  <a:avLst/>
                  <a:gdLst>
                    <a:gd name="connsiteX0" fmla="*/ 23 w 18347"/>
                    <a:gd name="connsiteY0" fmla="*/ 9765 h 18393"/>
                    <a:gd name="connsiteX1" fmla="*/ 8576 w 18347"/>
                    <a:gd name="connsiteY1" fmla="*/ 16 h 18393"/>
                    <a:gd name="connsiteX2" fmla="*/ 18324 w 18347"/>
                    <a:gd name="connsiteY2" fmla="*/ 8629 h 18393"/>
                    <a:gd name="connsiteX3" fmla="*/ 9772 w 18347"/>
                    <a:gd name="connsiteY3" fmla="*/ 18377 h 18393"/>
                    <a:gd name="connsiteX4" fmla="*/ 23 w 18347"/>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393">
                      <a:moveTo>
                        <a:pt x="23" y="9765"/>
                      </a:moveTo>
                      <a:cubicBezTo>
                        <a:pt x="-336" y="4681"/>
                        <a:pt x="3492" y="315"/>
                        <a:pt x="8576" y="16"/>
                      </a:cubicBezTo>
                      <a:cubicBezTo>
                        <a:pt x="13600" y="-283"/>
                        <a:pt x="17965" y="3545"/>
                        <a:pt x="18324" y="8629"/>
                      </a:cubicBezTo>
                      <a:cubicBezTo>
                        <a:pt x="18683" y="13712"/>
                        <a:pt x="14855" y="18078"/>
                        <a:pt x="9772" y="18377"/>
                      </a:cubicBezTo>
                      <a:cubicBezTo>
                        <a:pt x="4688" y="18676"/>
                        <a:pt x="322" y="14849"/>
                        <a:pt x="23" y="9765"/>
                      </a:cubicBezTo>
                      <a:close/>
                    </a:path>
                  </a:pathLst>
                </a:custGeom>
                <a:grpFill/>
                <a:ln w="5978" cap="flat">
                  <a:noFill/>
                  <a:prstDash val="solid"/>
                  <a:miter/>
                </a:ln>
              </p:spPr>
              <p:txBody>
                <a:bodyPr rtlCol="0" anchor="ctr"/>
                <a:lstStyle/>
                <a:p>
                  <a:endParaRPr lang="en-GB"/>
                </a:p>
              </p:txBody>
            </p:sp>
            <p:sp>
              <p:nvSpPr>
                <p:cNvPr id="3706" name="Vrije vorm: vorm 3705">
                  <a:extLst>
                    <a:ext uri="{FF2B5EF4-FFF2-40B4-BE49-F238E27FC236}">
                      <a16:creationId xmlns:a16="http://schemas.microsoft.com/office/drawing/2014/main" id="{AB0C8E44-7FE7-4A28-81CD-AA3FFF802C34}"/>
                    </a:ext>
                  </a:extLst>
                </p:cNvPr>
                <p:cNvSpPr/>
                <p:nvPr/>
              </p:nvSpPr>
              <p:spPr>
                <a:xfrm>
                  <a:off x="5923131" y="1537787"/>
                  <a:ext cx="18333" cy="18393"/>
                </a:xfrm>
                <a:custGeom>
                  <a:avLst/>
                  <a:gdLst>
                    <a:gd name="connsiteX0" fmla="*/ 16 w 18333"/>
                    <a:gd name="connsiteY0" fmla="*/ 9765 h 18393"/>
                    <a:gd name="connsiteX1" fmla="*/ 9765 w 18333"/>
                    <a:gd name="connsiteY1" fmla="*/ 18377 h 18393"/>
                    <a:gd name="connsiteX2" fmla="*/ 18317 w 18333"/>
                    <a:gd name="connsiteY2" fmla="*/ 8629 h 18393"/>
                    <a:gd name="connsiteX3" fmla="*/ 8569 w 18333"/>
                    <a:gd name="connsiteY3" fmla="*/ 16 h 18393"/>
                    <a:gd name="connsiteX4" fmla="*/ 16 w 18333"/>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6" y="9765"/>
                      </a:moveTo>
                      <a:cubicBezTo>
                        <a:pt x="375" y="14849"/>
                        <a:pt x="4741" y="18676"/>
                        <a:pt x="9765" y="18377"/>
                      </a:cubicBezTo>
                      <a:cubicBezTo>
                        <a:pt x="14789" y="18078"/>
                        <a:pt x="18617" y="13712"/>
                        <a:pt x="18317" y="8629"/>
                      </a:cubicBezTo>
                      <a:cubicBezTo>
                        <a:pt x="17959" y="3545"/>
                        <a:pt x="13593" y="-283"/>
                        <a:pt x="8569" y="16"/>
                      </a:cubicBezTo>
                      <a:cubicBezTo>
                        <a:pt x="3545" y="315"/>
                        <a:pt x="-283" y="4681"/>
                        <a:pt x="16" y="9765"/>
                      </a:cubicBezTo>
                      <a:close/>
                    </a:path>
                  </a:pathLst>
                </a:custGeom>
                <a:grpFill/>
                <a:ln w="5978" cap="flat">
                  <a:noFill/>
                  <a:prstDash val="solid"/>
                  <a:miter/>
                </a:ln>
              </p:spPr>
              <p:txBody>
                <a:bodyPr rtlCol="0" anchor="ctr"/>
                <a:lstStyle/>
                <a:p>
                  <a:endParaRPr lang="en-GB"/>
                </a:p>
              </p:txBody>
            </p:sp>
          </p:grpSp>
          <p:grpSp>
            <p:nvGrpSpPr>
              <p:cNvPr id="562" name="Graphic 3">
                <a:extLst>
                  <a:ext uri="{FF2B5EF4-FFF2-40B4-BE49-F238E27FC236}">
                    <a16:creationId xmlns:a16="http://schemas.microsoft.com/office/drawing/2014/main" id="{28778F56-EDA3-4CCB-8ED6-35A8831782DA}"/>
                  </a:ext>
                </a:extLst>
              </p:cNvPr>
              <p:cNvGrpSpPr/>
              <p:nvPr/>
            </p:nvGrpSpPr>
            <p:grpSpPr>
              <a:xfrm>
                <a:off x="5995750" y="1646171"/>
                <a:ext cx="20638" cy="98746"/>
                <a:chOff x="5995750" y="1646171"/>
                <a:chExt cx="20638" cy="98746"/>
              </a:xfrm>
              <a:grpFill/>
            </p:grpSpPr>
            <p:sp>
              <p:nvSpPr>
                <p:cNvPr id="3701" name="Vrije vorm: vorm 3700">
                  <a:extLst>
                    <a:ext uri="{FF2B5EF4-FFF2-40B4-BE49-F238E27FC236}">
                      <a16:creationId xmlns:a16="http://schemas.microsoft.com/office/drawing/2014/main" id="{5C87CD9A-8578-48B6-9604-DECC9124BA7E}"/>
                    </a:ext>
                  </a:extLst>
                </p:cNvPr>
                <p:cNvSpPr/>
                <p:nvPr/>
              </p:nvSpPr>
              <p:spPr>
                <a:xfrm>
                  <a:off x="6003409" y="1654906"/>
                  <a:ext cx="5322" cy="81337"/>
                </a:xfrm>
                <a:custGeom>
                  <a:avLst/>
                  <a:gdLst>
                    <a:gd name="connsiteX0" fmla="*/ 2990 w 5322"/>
                    <a:gd name="connsiteY0" fmla="*/ 0 h 81337"/>
                    <a:gd name="connsiteX1" fmla="*/ 5323 w 5322"/>
                    <a:gd name="connsiteY1" fmla="*/ 81278 h 81337"/>
                    <a:gd name="connsiteX2" fmla="*/ 2272 w 5322"/>
                    <a:gd name="connsiteY2" fmla="*/ 81338 h 81337"/>
                    <a:gd name="connsiteX3" fmla="*/ 0 w 5322"/>
                    <a:gd name="connsiteY3" fmla="*/ 60 h 81337"/>
                  </a:gdLst>
                  <a:ahLst/>
                  <a:cxnLst>
                    <a:cxn ang="0">
                      <a:pos x="connsiteX0" y="connsiteY0"/>
                    </a:cxn>
                    <a:cxn ang="0">
                      <a:pos x="connsiteX1" y="connsiteY1"/>
                    </a:cxn>
                    <a:cxn ang="0">
                      <a:pos x="connsiteX2" y="connsiteY2"/>
                    </a:cxn>
                    <a:cxn ang="0">
                      <a:pos x="connsiteX3" y="connsiteY3"/>
                    </a:cxn>
                  </a:cxnLst>
                  <a:rect l="l" t="t" r="r" b="b"/>
                  <a:pathLst>
                    <a:path w="5322" h="81337">
                      <a:moveTo>
                        <a:pt x="2990" y="0"/>
                      </a:moveTo>
                      <a:lnTo>
                        <a:pt x="5323" y="81278"/>
                      </a:lnTo>
                      <a:lnTo>
                        <a:pt x="2272" y="81338"/>
                      </a:lnTo>
                      <a:lnTo>
                        <a:pt x="0" y="60"/>
                      </a:lnTo>
                      <a:close/>
                    </a:path>
                  </a:pathLst>
                </a:custGeom>
                <a:grpFill/>
                <a:ln w="5978" cap="flat">
                  <a:noFill/>
                  <a:prstDash val="solid"/>
                  <a:miter/>
                </a:ln>
              </p:spPr>
              <p:txBody>
                <a:bodyPr rtlCol="0" anchor="ctr"/>
                <a:lstStyle/>
                <a:p>
                  <a:endParaRPr lang="en-GB"/>
                </a:p>
              </p:txBody>
            </p:sp>
            <p:sp>
              <p:nvSpPr>
                <p:cNvPr id="3702" name="Vrije vorm: vorm 3701">
                  <a:extLst>
                    <a:ext uri="{FF2B5EF4-FFF2-40B4-BE49-F238E27FC236}">
                      <a16:creationId xmlns:a16="http://schemas.microsoft.com/office/drawing/2014/main" id="{F3876676-EB9C-4943-9884-75859A42AD97}"/>
                    </a:ext>
                  </a:extLst>
                </p:cNvPr>
                <p:cNvSpPr/>
                <p:nvPr/>
              </p:nvSpPr>
              <p:spPr>
                <a:xfrm>
                  <a:off x="5995750" y="1646171"/>
                  <a:ext cx="18366" cy="18425"/>
                </a:xfrm>
                <a:custGeom>
                  <a:avLst/>
                  <a:gdLst>
                    <a:gd name="connsiteX0" fmla="*/ 3 w 18366"/>
                    <a:gd name="connsiteY0" fmla="*/ 9452 h 18425"/>
                    <a:gd name="connsiteX1" fmla="*/ 8914 w 18366"/>
                    <a:gd name="connsiteY1" fmla="*/ 3 h 18425"/>
                    <a:gd name="connsiteX2" fmla="*/ 18364 w 18366"/>
                    <a:gd name="connsiteY2" fmla="*/ 8974 h 18425"/>
                    <a:gd name="connsiteX3" fmla="*/ 9452 w 18366"/>
                    <a:gd name="connsiteY3" fmla="*/ 1842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17" y="4369"/>
                        <a:pt x="3830" y="122"/>
                        <a:pt x="8914" y="3"/>
                      </a:cubicBezTo>
                      <a:cubicBezTo>
                        <a:pt x="13998" y="-117"/>
                        <a:pt x="18184" y="3890"/>
                        <a:pt x="18364" y="8974"/>
                      </a:cubicBezTo>
                      <a:cubicBezTo>
                        <a:pt x="18483" y="14057"/>
                        <a:pt x="14536" y="18304"/>
                        <a:pt x="9452" y="18423"/>
                      </a:cubicBezTo>
                      <a:cubicBezTo>
                        <a:pt x="4368" y="18543"/>
                        <a:pt x="182" y="14536"/>
                        <a:pt x="3" y="9452"/>
                      </a:cubicBezTo>
                      <a:close/>
                    </a:path>
                  </a:pathLst>
                </a:custGeom>
                <a:grpFill/>
                <a:ln w="5978" cap="flat">
                  <a:noFill/>
                  <a:prstDash val="solid"/>
                  <a:miter/>
                </a:ln>
              </p:spPr>
              <p:txBody>
                <a:bodyPr rtlCol="0" anchor="ctr"/>
                <a:lstStyle/>
                <a:p>
                  <a:endParaRPr lang="en-GB"/>
                </a:p>
              </p:txBody>
            </p:sp>
            <p:sp>
              <p:nvSpPr>
                <p:cNvPr id="3703" name="Vrije vorm: vorm 3702">
                  <a:extLst>
                    <a:ext uri="{FF2B5EF4-FFF2-40B4-BE49-F238E27FC236}">
                      <a16:creationId xmlns:a16="http://schemas.microsoft.com/office/drawing/2014/main" id="{116802D1-9044-45FE-8758-75EC5551F60F}"/>
                    </a:ext>
                  </a:extLst>
                </p:cNvPr>
                <p:cNvSpPr/>
                <p:nvPr/>
              </p:nvSpPr>
              <p:spPr>
                <a:xfrm>
                  <a:off x="5998023" y="1726492"/>
                  <a:ext cx="18366" cy="18425"/>
                </a:xfrm>
                <a:custGeom>
                  <a:avLst/>
                  <a:gdLst>
                    <a:gd name="connsiteX0" fmla="*/ 3 w 18366"/>
                    <a:gd name="connsiteY0" fmla="*/ 9452 h 18425"/>
                    <a:gd name="connsiteX1" fmla="*/ 9452 w 18366"/>
                    <a:gd name="connsiteY1" fmla="*/ 18423 h 18425"/>
                    <a:gd name="connsiteX2" fmla="*/ 18363 w 18366"/>
                    <a:gd name="connsiteY2" fmla="*/ 8974 h 18425"/>
                    <a:gd name="connsiteX3" fmla="*/ 8914 w 18366"/>
                    <a:gd name="connsiteY3" fmla="*/ 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22" y="14536"/>
                        <a:pt x="4368" y="18543"/>
                        <a:pt x="9452" y="18423"/>
                      </a:cubicBezTo>
                      <a:cubicBezTo>
                        <a:pt x="14536" y="18304"/>
                        <a:pt x="18483" y="14057"/>
                        <a:pt x="18363" y="8974"/>
                      </a:cubicBezTo>
                      <a:cubicBezTo>
                        <a:pt x="18244" y="3890"/>
                        <a:pt x="13998" y="-117"/>
                        <a:pt x="8914" y="3"/>
                      </a:cubicBezTo>
                      <a:cubicBezTo>
                        <a:pt x="3890" y="182"/>
                        <a:pt x="-117" y="4369"/>
                        <a:pt x="3" y="9452"/>
                      </a:cubicBezTo>
                      <a:close/>
                    </a:path>
                  </a:pathLst>
                </a:custGeom>
                <a:grpFill/>
                <a:ln w="5978" cap="flat">
                  <a:noFill/>
                  <a:prstDash val="solid"/>
                  <a:miter/>
                </a:ln>
              </p:spPr>
              <p:txBody>
                <a:bodyPr rtlCol="0" anchor="ctr"/>
                <a:lstStyle/>
                <a:p>
                  <a:endParaRPr lang="en-GB"/>
                </a:p>
              </p:txBody>
            </p:sp>
          </p:grpSp>
          <p:grpSp>
            <p:nvGrpSpPr>
              <p:cNvPr id="563" name="Graphic 3">
                <a:extLst>
                  <a:ext uri="{FF2B5EF4-FFF2-40B4-BE49-F238E27FC236}">
                    <a16:creationId xmlns:a16="http://schemas.microsoft.com/office/drawing/2014/main" id="{04F929A9-8EA7-49E3-9E64-F83D8D016F71}"/>
                  </a:ext>
                </a:extLst>
              </p:cNvPr>
              <p:cNvGrpSpPr/>
              <p:nvPr/>
            </p:nvGrpSpPr>
            <p:grpSpPr>
              <a:xfrm>
                <a:off x="7021231" y="4796845"/>
                <a:ext cx="47483" cy="59959"/>
                <a:chOff x="7021231" y="4796845"/>
                <a:chExt cx="47483" cy="59959"/>
              </a:xfrm>
              <a:grpFill/>
            </p:grpSpPr>
            <p:sp>
              <p:nvSpPr>
                <p:cNvPr id="3698" name="Vrije vorm: vorm 3697">
                  <a:extLst>
                    <a:ext uri="{FF2B5EF4-FFF2-40B4-BE49-F238E27FC236}">
                      <a16:creationId xmlns:a16="http://schemas.microsoft.com/office/drawing/2014/main" id="{1FA171B3-F58A-47AC-8130-5AC541E720EC}"/>
                    </a:ext>
                  </a:extLst>
                </p:cNvPr>
                <p:cNvSpPr/>
                <p:nvPr/>
              </p:nvSpPr>
              <p:spPr>
                <a:xfrm>
                  <a:off x="7028863" y="4804772"/>
                  <a:ext cx="32176" cy="44018"/>
                </a:xfrm>
                <a:custGeom>
                  <a:avLst/>
                  <a:gdLst>
                    <a:gd name="connsiteX0" fmla="*/ 32176 w 32176"/>
                    <a:gd name="connsiteY0" fmla="*/ 42284 h 44018"/>
                    <a:gd name="connsiteX1" fmla="*/ 29724 w 32176"/>
                    <a:gd name="connsiteY1" fmla="*/ 44018 h 44018"/>
                    <a:gd name="connsiteX2" fmla="*/ 0 w 32176"/>
                    <a:gd name="connsiteY2" fmla="*/ 1795 h 44018"/>
                    <a:gd name="connsiteX3" fmla="*/ 2511 w 32176"/>
                    <a:gd name="connsiteY3" fmla="*/ 0 h 44018"/>
                  </a:gdLst>
                  <a:ahLst/>
                  <a:cxnLst>
                    <a:cxn ang="0">
                      <a:pos x="connsiteX0" y="connsiteY0"/>
                    </a:cxn>
                    <a:cxn ang="0">
                      <a:pos x="connsiteX1" y="connsiteY1"/>
                    </a:cxn>
                    <a:cxn ang="0">
                      <a:pos x="connsiteX2" y="connsiteY2"/>
                    </a:cxn>
                    <a:cxn ang="0">
                      <a:pos x="connsiteX3" y="connsiteY3"/>
                    </a:cxn>
                  </a:cxnLst>
                  <a:rect l="l" t="t" r="r" b="b"/>
                  <a:pathLst>
                    <a:path w="32176" h="44018">
                      <a:moveTo>
                        <a:pt x="32176" y="42284"/>
                      </a:moveTo>
                      <a:lnTo>
                        <a:pt x="29724" y="44018"/>
                      </a:lnTo>
                      <a:lnTo>
                        <a:pt x="0" y="1795"/>
                      </a:lnTo>
                      <a:lnTo>
                        <a:pt x="2511" y="0"/>
                      </a:lnTo>
                      <a:close/>
                    </a:path>
                  </a:pathLst>
                </a:custGeom>
                <a:grpFill/>
                <a:ln w="5978" cap="flat">
                  <a:noFill/>
                  <a:prstDash val="solid"/>
                  <a:miter/>
                </a:ln>
              </p:spPr>
              <p:txBody>
                <a:bodyPr rtlCol="0" anchor="ctr"/>
                <a:lstStyle/>
                <a:p>
                  <a:endParaRPr lang="en-GB"/>
                </a:p>
              </p:txBody>
            </p:sp>
            <p:sp>
              <p:nvSpPr>
                <p:cNvPr id="3699" name="Vrije vorm: vorm 3698">
                  <a:extLst>
                    <a:ext uri="{FF2B5EF4-FFF2-40B4-BE49-F238E27FC236}">
                      <a16:creationId xmlns:a16="http://schemas.microsoft.com/office/drawing/2014/main" id="{B33E4C3B-88D2-4281-A601-8EBF45AB8D70}"/>
                    </a:ext>
                  </a:extLst>
                </p:cNvPr>
                <p:cNvSpPr/>
                <p:nvPr/>
              </p:nvSpPr>
              <p:spPr>
                <a:xfrm>
                  <a:off x="7050315" y="4838351"/>
                  <a:ext cx="18399" cy="18452"/>
                </a:xfrm>
                <a:custGeom>
                  <a:avLst/>
                  <a:gdLst>
                    <a:gd name="connsiteX0" fmla="*/ 16706 w 18399"/>
                    <a:gd name="connsiteY0" fmla="*/ 3920 h 18452"/>
                    <a:gd name="connsiteX1" fmla="*/ 14493 w 18399"/>
                    <a:gd name="connsiteY1" fmla="*/ 16779 h 18452"/>
                    <a:gd name="connsiteX2" fmla="*/ 1694 w 18399"/>
                    <a:gd name="connsiteY2" fmla="*/ 14506 h 18452"/>
                    <a:gd name="connsiteX3" fmla="*/ 3907 w 18399"/>
                    <a:gd name="connsiteY3" fmla="*/ 1648 h 18452"/>
                    <a:gd name="connsiteX4" fmla="*/ 16706 w 18399"/>
                    <a:gd name="connsiteY4" fmla="*/ 3920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52">
                      <a:moveTo>
                        <a:pt x="16706" y="3920"/>
                      </a:moveTo>
                      <a:cubicBezTo>
                        <a:pt x="19636" y="8107"/>
                        <a:pt x="18679" y="13848"/>
                        <a:pt x="14493" y="16779"/>
                      </a:cubicBezTo>
                      <a:cubicBezTo>
                        <a:pt x="10366" y="19710"/>
                        <a:pt x="4625" y="18693"/>
                        <a:pt x="1694" y="14506"/>
                      </a:cubicBezTo>
                      <a:cubicBezTo>
                        <a:pt x="-1236" y="10320"/>
                        <a:pt x="-280" y="4578"/>
                        <a:pt x="3907" y="1648"/>
                      </a:cubicBezTo>
                      <a:cubicBezTo>
                        <a:pt x="8033" y="-1223"/>
                        <a:pt x="13774" y="-266"/>
                        <a:pt x="16706" y="3920"/>
                      </a:cubicBezTo>
                      <a:close/>
                    </a:path>
                  </a:pathLst>
                </a:custGeom>
                <a:grpFill/>
                <a:ln w="5978" cap="flat">
                  <a:noFill/>
                  <a:prstDash val="solid"/>
                  <a:miter/>
                </a:ln>
              </p:spPr>
              <p:txBody>
                <a:bodyPr rtlCol="0" anchor="ctr"/>
                <a:lstStyle/>
                <a:p>
                  <a:endParaRPr lang="en-GB"/>
                </a:p>
              </p:txBody>
            </p:sp>
            <p:sp>
              <p:nvSpPr>
                <p:cNvPr id="3700" name="Vrije vorm: vorm 3699">
                  <a:extLst>
                    <a:ext uri="{FF2B5EF4-FFF2-40B4-BE49-F238E27FC236}">
                      <a16:creationId xmlns:a16="http://schemas.microsoft.com/office/drawing/2014/main" id="{5715CFF8-45C3-4416-A802-E11E3EA3EF8B}"/>
                    </a:ext>
                  </a:extLst>
                </p:cNvPr>
                <p:cNvSpPr/>
                <p:nvPr/>
              </p:nvSpPr>
              <p:spPr>
                <a:xfrm>
                  <a:off x="7021231" y="4796845"/>
                  <a:ext cx="18314" cy="18426"/>
                </a:xfrm>
                <a:custGeom>
                  <a:avLst/>
                  <a:gdLst>
                    <a:gd name="connsiteX0" fmla="*/ 16663 w 18314"/>
                    <a:gd name="connsiteY0" fmla="*/ 3920 h 18426"/>
                    <a:gd name="connsiteX1" fmla="*/ 3865 w 18314"/>
                    <a:gd name="connsiteY1" fmla="*/ 1648 h 18426"/>
                    <a:gd name="connsiteX2" fmla="*/ 1652 w 18314"/>
                    <a:gd name="connsiteY2" fmla="*/ 14506 h 18426"/>
                    <a:gd name="connsiteX3" fmla="*/ 14450 w 18314"/>
                    <a:gd name="connsiteY3" fmla="*/ 16779 h 18426"/>
                    <a:gd name="connsiteX4" fmla="*/ 16663 w 18314"/>
                    <a:gd name="connsiteY4" fmla="*/ 392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26">
                      <a:moveTo>
                        <a:pt x="16663" y="3920"/>
                      </a:moveTo>
                      <a:cubicBezTo>
                        <a:pt x="13732" y="-266"/>
                        <a:pt x="7991" y="-1223"/>
                        <a:pt x="3865" y="1648"/>
                      </a:cubicBezTo>
                      <a:cubicBezTo>
                        <a:pt x="-263" y="4578"/>
                        <a:pt x="-1220" y="10320"/>
                        <a:pt x="1652" y="14506"/>
                      </a:cubicBezTo>
                      <a:cubicBezTo>
                        <a:pt x="4582" y="18693"/>
                        <a:pt x="10323" y="19650"/>
                        <a:pt x="14450" y="16779"/>
                      </a:cubicBezTo>
                      <a:cubicBezTo>
                        <a:pt x="18577" y="13848"/>
                        <a:pt x="19534" y="8047"/>
                        <a:pt x="16663" y="3920"/>
                      </a:cubicBezTo>
                      <a:close/>
                    </a:path>
                  </a:pathLst>
                </a:custGeom>
                <a:grpFill/>
                <a:ln w="5978" cap="flat">
                  <a:noFill/>
                  <a:prstDash val="solid"/>
                  <a:miter/>
                </a:ln>
              </p:spPr>
              <p:txBody>
                <a:bodyPr rtlCol="0" anchor="ctr"/>
                <a:lstStyle/>
                <a:p>
                  <a:endParaRPr lang="en-GB"/>
                </a:p>
              </p:txBody>
            </p:sp>
          </p:grpSp>
          <p:grpSp>
            <p:nvGrpSpPr>
              <p:cNvPr id="564" name="Graphic 3">
                <a:extLst>
                  <a:ext uri="{FF2B5EF4-FFF2-40B4-BE49-F238E27FC236}">
                    <a16:creationId xmlns:a16="http://schemas.microsoft.com/office/drawing/2014/main" id="{563937BC-30CE-4C0C-ABBA-3FBCBB41C911}"/>
                  </a:ext>
                </a:extLst>
              </p:cNvPr>
              <p:cNvGrpSpPr/>
              <p:nvPr/>
            </p:nvGrpSpPr>
            <p:grpSpPr>
              <a:xfrm>
                <a:off x="7050220" y="4896033"/>
                <a:ext cx="69105" cy="93634"/>
                <a:chOff x="7050220" y="4896033"/>
                <a:chExt cx="69105" cy="93634"/>
              </a:xfrm>
              <a:grpFill/>
            </p:grpSpPr>
            <p:sp>
              <p:nvSpPr>
                <p:cNvPr id="3695" name="Vrije vorm: vorm 3694">
                  <a:extLst>
                    <a:ext uri="{FF2B5EF4-FFF2-40B4-BE49-F238E27FC236}">
                      <a16:creationId xmlns:a16="http://schemas.microsoft.com/office/drawing/2014/main" id="{A500B238-26EE-47B0-B6E2-9D91D38BBA2C}"/>
                    </a:ext>
                  </a:extLst>
                </p:cNvPr>
                <p:cNvSpPr/>
                <p:nvPr/>
              </p:nvSpPr>
              <p:spPr>
                <a:xfrm>
                  <a:off x="7057870" y="4904052"/>
                  <a:ext cx="53766" cy="77629"/>
                </a:xfrm>
                <a:custGeom>
                  <a:avLst/>
                  <a:gdLst>
                    <a:gd name="connsiteX0" fmla="*/ 53767 w 53766"/>
                    <a:gd name="connsiteY0" fmla="*/ 75955 h 77629"/>
                    <a:gd name="connsiteX1" fmla="*/ 51254 w 53766"/>
                    <a:gd name="connsiteY1" fmla="*/ 77630 h 77629"/>
                    <a:gd name="connsiteX2" fmla="*/ 0 w 53766"/>
                    <a:gd name="connsiteY2" fmla="*/ 1674 h 77629"/>
                    <a:gd name="connsiteX3" fmla="*/ 2511 w 53766"/>
                    <a:gd name="connsiteY3" fmla="*/ 0 h 77629"/>
                  </a:gdLst>
                  <a:ahLst/>
                  <a:cxnLst>
                    <a:cxn ang="0">
                      <a:pos x="connsiteX0" y="connsiteY0"/>
                    </a:cxn>
                    <a:cxn ang="0">
                      <a:pos x="connsiteX1" y="connsiteY1"/>
                    </a:cxn>
                    <a:cxn ang="0">
                      <a:pos x="connsiteX2" y="connsiteY2"/>
                    </a:cxn>
                    <a:cxn ang="0">
                      <a:pos x="connsiteX3" y="connsiteY3"/>
                    </a:cxn>
                  </a:cxnLst>
                  <a:rect l="l" t="t" r="r" b="b"/>
                  <a:pathLst>
                    <a:path w="53766" h="77629">
                      <a:moveTo>
                        <a:pt x="53767" y="75955"/>
                      </a:moveTo>
                      <a:lnTo>
                        <a:pt x="51254" y="77630"/>
                      </a:lnTo>
                      <a:lnTo>
                        <a:pt x="0" y="1674"/>
                      </a:lnTo>
                      <a:lnTo>
                        <a:pt x="2511" y="0"/>
                      </a:lnTo>
                      <a:close/>
                    </a:path>
                  </a:pathLst>
                </a:custGeom>
                <a:grpFill/>
                <a:ln w="5978" cap="flat">
                  <a:noFill/>
                  <a:prstDash val="solid"/>
                  <a:miter/>
                </a:ln>
              </p:spPr>
              <p:txBody>
                <a:bodyPr rtlCol="0" anchor="ctr"/>
                <a:lstStyle/>
                <a:p>
                  <a:endParaRPr lang="en-GB"/>
                </a:p>
              </p:txBody>
            </p:sp>
            <p:sp>
              <p:nvSpPr>
                <p:cNvPr id="3696" name="Vrije vorm: vorm 3695">
                  <a:extLst>
                    <a:ext uri="{FF2B5EF4-FFF2-40B4-BE49-F238E27FC236}">
                      <a16:creationId xmlns:a16="http://schemas.microsoft.com/office/drawing/2014/main" id="{E5E5A434-7862-4462-AB62-FECCFFBEF85F}"/>
                    </a:ext>
                  </a:extLst>
                </p:cNvPr>
                <p:cNvSpPr/>
                <p:nvPr/>
              </p:nvSpPr>
              <p:spPr>
                <a:xfrm>
                  <a:off x="7100956" y="4971226"/>
                  <a:ext cx="18370" cy="18441"/>
                </a:xfrm>
                <a:custGeom>
                  <a:avLst/>
                  <a:gdLst>
                    <a:gd name="connsiteX0" fmla="*/ 16781 w 18370"/>
                    <a:gd name="connsiteY0" fmla="*/ 4056 h 18441"/>
                    <a:gd name="connsiteX1" fmla="*/ 14329 w 18370"/>
                    <a:gd name="connsiteY1" fmla="*/ 16855 h 18441"/>
                    <a:gd name="connsiteX2" fmla="*/ 1590 w 18370"/>
                    <a:gd name="connsiteY2" fmla="*/ 14343 h 18441"/>
                    <a:gd name="connsiteX3" fmla="*/ 4042 w 18370"/>
                    <a:gd name="connsiteY3" fmla="*/ 1545 h 18441"/>
                    <a:gd name="connsiteX4" fmla="*/ 16781 w 18370"/>
                    <a:gd name="connsiteY4" fmla="*/ 405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41">
                      <a:moveTo>
                        <a:pt x="16781" y="4056"/>
                      </a:moveTo>
                      <a:cubicBezTo>
                        <a:pt x="19651" y="8303"/>
                        <a:pt x="18515" y="13985"/>
                        <a:pt x="14329" y="16855"/>
                      </a:cubicBezTo>
                      <a:cubicBezTo>
                        <a:pt x="10142" y="19726"/>
                        <a:pt x="4460" y="18590"/>
                        <a:pt x="1590" y="14343"/>
                      </a:cubicBezTo>
                      <a:cubicBezTo>
                        <a:pt x="-1281" y="10097"/>
                        <a:pt x="-145" y="4415"/>
                        <a:pt x="4042" y="1545"/>
                      </a:cubicBezTo>
                      <a:cubicBezTo>
                        <a:pt x="8228" y="-1267"/>
                        <a:pt x="13910" y="-130"/>
                        <a:pt x="16781" y="4056"/>
                      </a:cubicBezTo>
                      <a:close/>
                    </a:path>
                  </a:pathLst>
                </a:custGeom>
                <a:grpFill/>
                <a:ln w="5978" cap="flat">
                  <a:noFill/>
                  <a:prstDash val="solid"/>
                  <a:miter/>
                </a:ln>
              </p:spPr>
              <p:txBody>
                <a:bodyPr rtlCol="0" anchor="ctr"/>
                <a:lstStyle/>
                <a:p>
                  <a:endParaRPr lang="en-GB"/>
                </a:p>
              </p:txBody>
            </p:sp>
            <p:sp>
              <p:nvSpPr>
                <p:cNvPr id="3697" name="Vrije vorm: vorm 3696">
                  <a:extLst>
                    <a:ext uri="{FF2B5EF4-FFF2-40B4-BE49-F238E27FC236}">
                      <a16:creationId xmlns:a16="http://schemas.microsoft.com/office/drawing/2014/main" id="{D43A92D1-B52D-4337-B642-BB708375EF74}"/>
                    </a:ext>
                  </a:extLst>
                </p:cNvPr>
                <p:cNvSpPr/>
                <p:nvPr/>
              </p:nvSpPr>
              <p:spPr>
                <a:xfrm>
                  <a:off x="7050220" y="4896033"/>
                  <a:ext cx="18332" cy="18430"/>
                </a:xfrm>
                <a:custGeom>
                  <a:avLst/>
                  <a:gdLst>
                    <a:gd name="connsiteX0" fmla="*/ 16740 w 18332"/>
                    <a:gd name="connsiteY0" fmla="*/ 4072 h 18430"/>
                    <a:gd name="connsiteX1" fmla="*/ 4001 w 18332"/>
                    <a:gd name="connsiteY1" fmla="*/ 1560 h 18430"/>
                    <a:gd name="connsiteX2" fmla="*/ 1609 w 18332"/>
                    <a:gd name="connsiteY2" fmla="*/ 14359 h 18430"/>
                    <a:gd name="connsiteX3" fmla="*/ 14348 w 18332"/>
                    <a:gd name="connsiteY3" fmla="*/ 16871 h 18430"/>
                    <a:gd name="connsiteX4" fmla="*/ 16740 w 18332"/>
                    <a:gd name="connsiteY4" fmla="*/ 407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30">
                      <a:moveTo>
                        <a:pt x="16740" y="4072"/>
                      </a:moveTo>
                      <a:cubicBezTo>
                        <a:pt x="13869" y="-174"/>
                        <a:pt x="8187" y="-1251"/>
                        <a:pt x="4001" y="1560"/>
                      </a:cubicBezTo>
                      <a:cubicBezTo>
                        <a:pt x="-186" y="4431"/>
                        <a:pt x="-1262" y="10112"/>
                        <a:pt x="1609" y="14359"/>
                      </a:cubicBezTo>
                      <a:cubicBezTo>
                        <a:pt x="4479" y="18605"/>
                        <a:pt x="10161" y="19682"/>
                        <a:pt x="14348" y="16871"/>
                      </a:cubicBezTo>
                      <a:cubicBezTo>
                        <a:pt x="18474" y="14000"/>
                        <a:pt x="19611" y="8318"/>
                        <a:pt x="16740" y="4072"/>
                      </a:cubicBezTo>
                      <a:close/>
                    </a:path>
                  </a:pathLst>
                </a:custGeom>
                <a:grpFill/>
                <a:ln w="5978" cap="flat">
                  <a:noFill/>
                  <a:prstDash val="solid"/>
                  <a:miter/>
                </a:ln>
              </p:spPr>
              <p:txBody>
                <a:bodyPr rtlCol="0" anchor="ctr"/>
                <a:lstStyle/>
                <a:p>
                  <a:endParaRPr lang="en-GB"/>
                </a:p>
              </p:txBody>
            </p:sp>
          </p:grpSp>
          <p:grpSp>
            <p:nvGrpSpPr>
              <p:cNvPr id="565" name="Graphic 3">
                <a:extLst>
                  <a:ext uri="{FF2B5EF4-FFF2-40B4-BE49-F238E27FC236}">
                    <a16:creationId xmlns:a16="http://schemas.microsoft.com/office/drawing/2014/main" id="{AB934E80-B630-440F-B215-876FA5D74375}"/>
                  </a:ext>
                </a:extLst>
              </p:cNvPr>
              <p:cNvGrpSpPr/>
              <p:nvPr/>
            </p:nvGrpSpPr>
            <p:grpSpPr>
              <a:xfrm>
                <a:off x="6996966" y="4818403"/>
                <a:ext cx="273166" cy="467284"/>
                <a:chOff x="6996966" y="4818403"/>
                <a:chExt cx="273166" cy="467284"/>
              </a:xfrm>
              <a:grpFill/>
            </p:grpSpPr>
            <p:sp>
              <p:nvSpPr>
                <p:cNvPr id="3692" name="Vrije vorm: vorm 3691">
                  <a:extLst>
                    <a:ext uri="{FF2B5EF4-FFF2-40B4-BE49-F238E27FC236}">
                      <a16:creationId xmlns:a16="http://schemas.microsoft.com/office/drawing/2014/main" id="{7DCC689D-5066-4472-8A99-02F69E916B26}"/>
                    </a:ext>
                  </a:extLst>
                </p:cNvPr>
                <p:cNvSpPr/>
                <p:nvPr/>
              </p:nvSpPr>
              <p:spPr>
                <a:xfrm>
                  <a:off x="7004581" y="4826422"/>
                  <a:ext cx="257948" cy="451245"/>
                </a:xfrm>
                <a:custGeom>
                  <a:avLst/>
                  <a:gdLst>
                    <a:gd name="connsiteX0" fmla="*/ 257949 w 257948"/>
                    <a:gd name="connsiteY0" fmla="*/ 449750 h 451245"/>
                    <a:gd name="connsiteX1" fmla="*/ 255317 w 257948"/>
                    <a:gd name="connsiteY1" fmla="*/ 451246 h 451245"/>
                    <a:gd name="connsiteX2" fmla="*/ 0 w 257948"/>
                    <a:gd name="connsiteY2" fmla="*/ 1555 h 451245"/>
                    <a:gd name="connsiteX3" fmla="*/ 2632 w 257948"/>
                    <a:gd name="connsiteY3" fmla="*/ 0 h 451245"/>
                  </a:gdLst>
                  <a:ahLst/>
                  <a:cxnLst>
                    <a:cxn ang="0">
                      <a:pos x="connsiteX0" y="connsiteY0"/>
                    </a:cxn>
                    <a:cxn ang="0">
                      <a:pos x="connsiteX1" y="connsiteY1"/>
                    </a:cxn>
                    <a:cxn ang="0">
                      <a:pos x="connsiteX2" y="connsiteY2"/>
                    </a:cxn>
                    <a:cxn ang="0">
                      <a:pos x="connsiteX3" y="connsiteY3"/>
                    </a:cxn>
                  </a:cxnLst>
                  <a:rect l="l" t="t" r="r" b="b"/>
                  <a:pathLst>
                    <a:path w="257948" h="451245">
                      <a:moveTo>
                        <a:pt x="257949" y="449750"/>
                      </a:moveTo>
                      <a:lnTo>
                        <a:pt x="255317" y="451246"/>
                      </a:lnTo>
                      <a:lnTo>
                        <a:pt x="0" y="1555"/>
                      </a:lnTo>
                      <a:lnTo>
                        <a:pt x="2632" y="0"/>
                      </a:lnTo>
                      <a:close/>
                    </a:path>
                  </a:pathLst>
                </a:custGeom>
                <a:grpFill/>
                <a:ln w="5978" cap="flat">
                  <a:noFill/>
                  <a:prstDash val="solid"/>
                  <a:miter/>
                </a:ln>
              </p:spPr>
              <p:txBody>
                <a:bodyPr rtlCol="0" anchor="ctr"/>
                <a:lstStyle/>
                <a:p>
                  <a:endParaRPr lang="en-GB"/>
                </a:p>
              </p:txBody>
            </p:sp>
            <p:sp>
              <p:nvSpPr>
                <p:cNvPr id="3693" name="Vrije vorm: vorm 3692">
                  <a:extLst>
                    <a:ext uri="{FF2B5EF4-FFF2-40B4-BE49-F238E27FC236}">
                      <a16:creationId xmlns:a16="http://schemas.microsoft.com/office/drawing/2014/main" id="{470BCCBB-93B5-4C01-AEC8-376BCB819209}"/>
                    </a:ext>
                  </a:extLst>
                </p:cNvPr>
                <p:cNvSpPr/>
                <p:nvPr/>
              </p:nvSpPr>
              <p:spPr>
                <a:xfrm>
                  <a:off x="6996966" y="4818403"/>
                  <a:ext cx="18341" cy="18431"/>
                </a:xfrm>
                <a:custGeom>
                  <a:avLst/>
                  <a:gdLst>
                    <a:gd name="connsiteX0" fmla="*/ 1217 w 18341"/>
                    <a:gd name="connsiteY0" fmla="*/ 13761 h 18431"/>
                    <a:gd name="connsiteX1" fmla="*/ 4625 w 18341"/>
                    <a:gd name="connsiteY1" fmla="*/ 1202 h 18431"/>
                    <a:gd name="connsiteX2" fmla="*/ 17125 w 18341"/>
                    <a:gd name="connsiteY2" fmla="*/ 4670 h 18431"/>
                    <a:gd name="connsiteX3" fmla="*/ 13716 w 18341"/>
                    <a:gd name="connsiteY3" fmla="*/ 17230 h 18431"/>
                    <a:gd name="connsiteX4" fmla="*/ 1217 w 18341"/>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1">
                      <a:moveTo>
                        <a:pt x="1217" y="13761"/>
                      </a:moveTo>
                      <a:cubicBezTo>
                        <a:pt x="-1296" y="9335"/>
                        <a:pt x="200" y="3713"/>
                        <a:pt x="4625" y="1202"/>
                      </a:cubicBezTo>
                      <a:cubicBezTo>
                        <a:pt x="8991" y="-1311"/>
                        <a:pt x="14613" y="245"/>
                        <a:pt x="17125" y="4670"/>
                      </a:cubicBezTo>
                      <a:cubicBezTo>
                        <a:pt x="19637" y="9096"/>
                        <a:pt x="18142" y="14718"/>
                        <a:pt x="13716" y="17230"/>
                      </a:cubicBezTo>
                      <a:cubicBezTo>
                        <a:pt x="9290" y="19742"/>
                        <a:pt x="3728" y="18187"/>
                        <a:pt x="1217" y="13761"/>
                      </a:cubicBezTo>
                      <a:close/>
                    </a:path>
                  </a:pathLst>
                </a:custGeom>
                <a:grpFill/>
                <a:ln w="5978" cap="flat">
                  <a:noFill/>
                  <a:prstDash val="solid"/>
                  <a:miter/>
                </a:ln>
              </p:spPr>
              <p:txBody>
                <a:bodyPr rtlCol="0" anchor="ctr"/>
                <a:lstStyle/>
                <a:p>
                  <a:endParaRPr lang="en-GB"/>
                </a:p>
              </p:txBody>
            </p:sp>
            <p:sp>
              <p:nvSpPr>
                <p:cNvPr id="3694" name="Vrije vorm: vorm 3693">
                  <a:extLst>
                    <a:ext uri="{FF2B5EF4-FFF2-40B4-BE49-F238E27FC236}">
                      <a16:creationId xmlns:a16="http://schemas.microsoft.com/office/drawing/2014/main" id="{D10A0D0C-2603-4716-B0B7-60632D1E1BDB}"/>
                    </a:ext>
                  </a:extLst>
                </p:cNvPr>
                <p:cNvSpPr/>
                <p:nvPr/>
              </p:nvSpPr>
              <p:spPr>
                <a:xfrm>
                  <a:off x="7251817" y="5267256"/>
                  <a:ext cx="18315" cy="18431"/>
                </a:xfrm>
                <a:custGeom>
                  <a:avLst/>
                  <a:gdLst>
                    <a:gd name="connsiteX0" fmla="*/ 1204 w 18315"/>
                    <a:gd name="connsiteY0" fmla="*/ 13761 h 18431"/>
                    <a:gd name="connsiteX1" fmla="*/ 13703 w 18315"/>
                    <a:gd name="connsiteY1" fmla="*/ 17230 h 18431"/>
                    <a:gd name="connsiteX2" fmla="*/ 17112 w 18315"/>
                    <a:gd name="connsiteY2" fmla="*/ 4670 h 18431"/>
                    <a:gd name="connsiteX3" fmla="*/ 4612 w 18315"/>
                    <a:gd name="connsiteY3" fmla="*/ 1201 h 18431"/>
                    <a:gd name="connsiteX4" fmla="*/ 1204 w 18315"/>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204" y="13761"/>
                      </a:moveTo>
                      <a:cubicBezTo>
                        <a:pt x="3715" y="18187"/>
                        <a:pt x="9337" y="19742"/>
                        <a:pt x="13703" y="17230"/>
                      </a:cubicBezTo>
                      <a:cubicBezTo>
                        <a:pt x="18069" y="14718"/>
                        <a:pt x="19624" y="9096"/>
                        <a:pt x="17112" y="4670"/>
                      </a:cubicBezTo>
                      <a:cubicBezTo>
                        <a:pt x="14600" y="244"/>
                        <a:pt x="8978" y="-1310"/>
                        <a:pt x="4612" y="1201"/>
                      </a:cubicBezTo>
                      <a:cubicBezTo>
                        <a:pt x="247" y="3713"/>
                        <a:pt x="-1308" y="9335"/>
                        <a:pt x="1204" y="13761"/>
                      </a:cubicBezTo>
                      <a:close/>
                    </a:path>
                  </a:pathLst>
                </a:custGeom>
                <a:grpFill/>
                <a:ln w="5978" cap="flat">
                  <a:noFill/>
                  <a:prstDash val="solid"/>
                  <a:miter/>
                </a:ln>
              </p:spPr>
              <p:txBody>
                <a:bodyPr rtlCol="0" anchor="ctr"/>
                <a:lstStyle/>
                <a:p>
                  <a:endParaRPr lang="en-GB"/>
                </a:p>
              </p:txBody>
            </p:sp>
          </p:grpSp>
          <p:grpSp>
            <p:nvGrpSpPr>
              <p:cNvPr id="566" name="Graphic 3">
                <a:extLst>
                  <a:ext uri="{FF2B5EF4-FFF2-40B4-BE49-F238E27FC236}">
                    <a16:creationId xmlns:a16="http://schemas.microsoft.com/office/drawing/2014/main" id="{A58486DD-F90C-446B-8841-BADC16F765B2}"/>
                  </a:ext>
                </a:extLst>
              </p:cNvPr>
              <p:cNvGrpSpPr/>
              <p:nvPr/>
            </p:nvGrpSpPr>
            <p:grpSpPr>
              <a:xfrm>
                <a:off x="7088452" y="5083496"/>
                <a:ext cx="142164" cy="217455"/>
                <a:chOff x="7088452" y="5083496"/>
                <a:chExt cx="142164" cy="217455"/>
              </a:xfrm>
              <a:grpFill/>
            </p:grpSpPr>
            <p:sp>
              <p:nvSpPr>
                <p:cNvPr id="3689" name="Vrije vorm: vorm 3688">
                  <a:extLst>
                    <a:ext uri="{FF2B5EF4-FFF2-40B4-BE49-F238E27FC236}">
                      <a16:creationId xmlns:a16="http://schemas.microsoft.com/office/drawing/2014/main" id="{9CD3ED02-22CE-4767-8703-93551CA10415}"/>
                    </a:ext>
                  </a:extLst>
                </p:cNvPr>
                <p:cNvSpPr/>
                <p:nvPr/>
              </p:nvSpPr>
              <p:spPr>
                <a:xfrm>
                  <a:off x="7096087" y="5091488"/>
                  <a:ext cx="126910" cy="201490"/>
                </a:xfrm>
                <a:custGeom>
                  <a:avLst/>
                  <a:gdLst>
                    <a:gd name="connsiteX0" fmla="*/ 126911 w 126910"/>
                    <a:gd name="connsiteY0" fmla="*/ 199876 h 201490"/>
                    <a:gd name="connsiteX1" fmla="*/ 124339 w 126910"/>
                    <a:gd name="connsiteY1" fmla="*/ 201491 h 201490"/>
                    <a:gd name="connsiteX2" fmla="*/ 0 w 126910"/>
                    <a:gd name="connsiteY2" fmla="*/ 1615 h 201490"/>
                    <a:gd name="connsiteX3" fmla="*/ 2571 w 126910"/>
                    <a:gd name="connsiteY3" fmla="*/ 0 h 201490"/>
                  </a:gdLst>
                  <a:ahLst/>
                  <a:cxnLst>
                    <a:cxn ang="0">
                      <a:pos x="connsiteX0" y="connsiteY0"/>
                    </a:cxn>
                    <a:cxn ang="0">
                      <a:pos x="connsiteX1" y="connsiteY1"/>
                    </a:cxn>
                    <a:cxn ang="0">
                      <a:pos x="connsiteX2" y="connsiteY2"/>
                    </a:cxn>
                    <a:cxn ang="0">
                      <a:pos x="connsiteX3" y="connsiteY3"/>
                    </a:cxn>
                  </a:cxnLst>
                  <a:rect l="l" t="t" r="r" b="b"/>
                  <a:pathLst>
                    <a:path w="126910" h="201490">
                      <a:moveTo>
                        <a:pt x="126911" y="199876"/>
                      </a:moveTo>
                      <a:lnTo>
                        <a:pt x="124339" y="201491"/>
                      </a:lnTo>
                      <a:lnTo>
                        <a:pt x="0" y="1615"/>
                      </a:lnTo>
                      <a:lnTo>
                        <a:pt x="2571" y="0"/>
                      </a:lnTo>
                      <a:close/>
                    </a:path>
                  </a:pathLst>
                </a:custGeom>
                <a:grpFill/>
                <a:ln w="5978" cap="flat">
                  <a:noFill/>
                  <a:prstDash val="solid"/>
                  <a:miter/>
                </a:ln>
              </p:spPr>
              <p:txBody>
                <a:bodyPr rtlCol="0" anchor="ctr"/>
                <a:lstStyle/>
                <a:p>
                  <a:endParaRPr lang="en-GB"/>
                </a:p>
              </p:txBody>
            </p:sp>
            <p:sp>
              <p:nvSpPr>
                <p:cNvPr id="3690" name="Vrije vorm: vorm 3689">
                  <a:extLst>
                    <a:ext uri="{FF2B5EF4-FFF2-40B4-BE49-F238E27FC236}">
                      <a16:creationId xmlns:a16="http://schemas.microsoft.com/office/drawing/2014/main" id="{A155456B-15C0-4B32-BCCF-73BEAC709A02}"/>
                    </a:ext>
                  </a:extLst>
                </p:cNvPr>
                <p:cNvSpPr/>
                <p:nvPr/>
              </p:nvSpPr>
              <p:spPr>
                <a:xfrm>
                  <a:off x="7212328" y="5282534"/>
                  <a:ext cx="18289" cy="18417"/>
                </a:xfrm>
                <a:custGeom>
                  <a:avLst/>
                  <a:gdLst>
                    <a:gd name="connsiteX0" fmla="*/ 16890 w 18289"/>
                    <a:gd name="connsiteY0" fmla="*/ 4344 h 18417"/>
                    <a:gd name="connsiteX1" fmla="*/ 14019 w 18289"/>
                    <a:gd name="connsiteY1" fmla="*/ 17023 h 18417"/>
                    <a:gd name="connsiteX2" fmla="*/ 1399 w 18289"/>
                    <a:gd name="connsiteY2" fmla="*/ 14033 h 18417"/>
                    <a:gd name="connsiteX3" fmla="*/ 4270 w 18289"/>
                    <a:gd name="connsiteY3" fmla="*/ 1354 h 18417"/>
                    <a:gd name="connsiteX4" fmla="*/ 16890 w 18289"/>
                    <a:gd name="connsiteY4" fmla="*/ 4344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17">
                      <a:moveTo>
                        <a:pt x="16890" y="4344"/>
                      </a:moveTo>
                      <a:cubicBezTo>
                        <a:pt x="19581" y="8650"/>
                        <a:pt x="18265" y="14332"/>
                        <a:pt x="14019" y="17023"/>
                      </a:cubicBezTo>
                      <a:cubicBezTo>
                        <a:pt x="9713" y="19714"/>
                        <a:pt x="4091" y="18399"/>
                        <a:pt x="1399" y="14033"/>
                      </a:cubicBezTo>
                      <a:cubicBezTo>
                        <a:pt x="-1292" y="9726"/>
                        <a:pt x="24" y="4045"/>
                        <a:pt x="4270" y="1354"/>
                      </a:cubicBezTo>
                      <a:cubicBezTo>
                        <a:pt x="8577" y="-1278"/>
                        <a:pt x="14198" y="38"/>
                        <a:pt x="16890" y="4344"/>
                      </a:cubicBezTo>
                      <a:close/>
                    </a:path>
                  </a:pathLst>
                </a:custGeom>
                <a:grpFill/>
                <a:ln w="5978" cap="flat">
                  <a:noFill/>
                  <a:prstDash val="solid"/>
                  <a:miter/>
                </a:ln>
              </p:spPr>
              <p:txBody>
                <a:bodyPr rtlCol="0" anchor="ctr"/>
                <a:lstStyle/>
                <a:p>
                  <a:endParaRPr lang="en-GB"/>
                </a:p>
              </p:txBody>
            </p:sp>
            <p:sp>
              <p:nvSpPr>
                <p:cNvPr id="3691" name="Vrije vorm: vorm 3690">
                  <a:extLst>
                    <a:ext uri="{FF2B5EF4-FFF2-40B4-BE49-F238E27FC236}">
                      <a16:creationId xmlns:a16="http://schemas.microsoft.com/office/drawing/2014/main" id="{9306B7BC-1B7A-4BD8-ACA5-F6201D6BB2B0}"/>
                    </a:ext>
                  </a:extLst>
                </p:cNvPr>
                <p:cNvSpPr/>
                <p:nvPr/>
              </p:nvSpPr>
              <p:spPr>
                <a:xfrm>
                  <a:off x="7088452" y="5083496"/>
                  <a:ext cx="18317" cy="18376"/>
                </a:xfrm>
                <a:custGeom>
                  <a:avLst/>
                  <a:gdLst>
                    <a:gd name="connsiteX0" fmla="*/ 16904 w 18317"/>
                    <a:gd name="connsiteY0" fmla="*/ 4344 h 18376"/>
                    <a:gd name="connsiteX1" fmla="*/ 4285 w 18317"/>
                    <a:gd name="connsiteY1" fmla="*/ 1354 h 18376"/>
                    <a:gd name="connsiteX2" fmla="*/ 1414 w 18317"/>
                    <a:gd name="connsiteY2" fmla="*/ 14033 h 18376"/>
                    <a:gd name="connsiteX3" fmla="*/ 14033 w 18317"/>
                    <a:gd name="connsiteY3" fmla="*/ 17023 h 18376"/>
                    <a:gd name="connsiteX4" fmla="*/ 16904 w 18317"/>
                    <a:gd name="connsiteY4" fmla="*/ 4344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76">
                      <a:moveTo>
                        <a:pt x="16904" y="4344"/>
                      </a:moveTo>
                      <a:cubicBezTo>
                        <a:pt x="14213" y="38"/>
                        <a:pt x="8531" y="-1278"/>
                        <a:pt x="4285" y="1354"/>
                      </a:cubicBezTo>
                      <a:cubicBezTo>
                        <a:pt x="-21" y="4045"/>
                        <a:pt x="-1277" y="9727"/>
                        <a:pt x="1414" y="14033"/>
                      </a:cubicBezTo>
                      <a:cubicBezTo>
                        <a:pt x="4105" y="18339"/>
                        <a:pt x="9787" y="19654"/>
                        <a:pt x="14033" y="17023"/>
                      </a:cubicBezTo>
                      <a:cubicBezTo>
                        <a:pt x="18339" y="14332"/>
                        <a:pt x="19596" y="8650"/>
                        <a:pt x="16904" y="4344"/>
                      </a:cubicBezTo>
                      <a:close/>
                    </a:path>
                  </a:pathLst>
                </a:custGeom>
                <a:grpFill/>
                <a:ln w="5978" cap="flat">
                  <a:noFill/>
                  <a:prstDash val="solid"/>
                  <a:miter/>
                </a:ln>
              </p:spPr>
              <p:txBody>
                <a:bodyPr rtlCol="0" anchor="ctr"/>
                <a:lstStyle/>
                <a:p>
                  <a:endParaRPr lang="en-GB"/>
                </a:p>
              </p:txBody>
            </p:sp>
          </p:grpSp>
          <p:grpSp>
            <p:nvGrpSpPr>
              <p:cNvPr id="567" name="Graphic 3">
                <a:extLst>
                  <a:ext uri="{FF2B5EF4-FFF2-40B4-BE49-F238E27FC236}">
                    <a16:creationId xmlns:a16="http://schemas.microsoft.com/office/drawing/2014/main" id="{916383EA-18F3-4482-AE2F-36BD2541D78E}"/>
                  </a:ext>
                </a:extLst>
              </p:cNvPr>
              <p:cNvGrpSpPr/>
              <p:nvPr/>
            </p:nvGrpSpPr>
            <p:grpSpPr>
              <a:xfrm>
                <a:off x="5866418" y="1278029"/>
                <a:ext cx="35230" cy="219077"/>
                <a:chOff x="5866418" y="1278029"/>
                <a:chExt cx="35230" cy="219077"/>
              </a:xfrm>
              <a:grpFill/>
            </p:grpSpPr>
            <p:sp>
              <p:nvSpPr>
                <p:cNvPr id="3686" name="Vrije vorm: vorm 3685">
                  <a:extLst>
                    <a:ext uri="{FF2B5EF4-FFF2-40B4-BE49-F238E27FC236}">
                      <a16:creationId xmlns:a16="http://schemas.microsoft.com/office/drawing/2014/main" id="{BFB98CDC-2B75-4A78-91BA-83D448156A3A}"/>
                    </a:ext>
                  </a:extLst>
                </p:cNvPr>
                <p:cNvSpPr/>
                <p:nvPr/>
              </p:nvSpPr>
              <p:spPr>
                <a:xfrm>
                  <a:off x="5873986" y="1286613"/>
                  <a:ext cx="20035" cy="201909"/>
                </a:xfrm>
                <a:custGeom>
                  <a:avLst/>
                  <a:gdLst>
                    <a:gd name="connsiteX0" fmla="*/ 3050 w 20035"/>
                    <a:gd name="connsiteY0" fmla="*/ 0 h 201909"/>
                    <a:gd name="connsiteX1" fmla="*/ 20035 w 20035"/>
                    <a:gd name="connsiteY1" fmla="*/ 201610 h 201909"/>
                    <a:gd name="connsiteX2" fmla="*/ 16985 w 20035"/>
                    <a:gd name="connsiteY2" fmla="*/ 201909 h 201909"/>
                    <a:gd name="connsiteX3" fmla="*/ 0 w 20035"/>
                    <a:gd name="connsiteY3" fmla="*/ 299 h 201909"/>
                  </a:gdLst>
                  <a:ahLst/>
                  <a:cxnLst>
                    <a:cxn ang="0">
                      <a:pos x="connsiteX0" y="connsiteY0"/>
                    </a:cxn>
                    <a:cxn ang="0">
                      <a:pos x="connsiteX1" y="connsiteY1"/>
                    </a:cxn>
                    <a:cxn ang="0">
                      <a:pos x="connsiteX2" y="connsiteY2"/>
                    </a:cxn>
                    <a:cxn ang="0">
                      <a:pos x="connsiteX3" y="connsiteY3"/>
                    </a:cxn>
                  </a:cxnLst>
                  <a:rect l="l" t="t" r="r" b="b"/>
                  <a:pathLst>
                    <a:path w="20035" h="201909">
                      <a:moveTo>
                        <a:pt x="3050" y="0"/>
                      </a:moveTo>
                      <a:lnTo>
                        <a:pt x="20035" y="201610"/>
                      </a:lnTo>
                      <a:lnTo>
                        <a:pt x="16985" y="201909"/>
                      </a:lnTo>
                      <a:lnTo>
                        <a:pt x="0" y="299"/>
                      </a:lnTo>
                      <a:close/>
                    </a:path>
                  </a:pathLst>
                </a:custGeom>
                <a:grpFill/>
                <a:ln w="5978" cap="flat">
                  <a:noFill/>
                  <a:prstDash val="solid"/>
                  <a:miter/>
                </a:ln>
              </p:spPr>
              <p:txBody>
                <a:bodyPr rtlCol="0" anchor="ctr"/>
                <a:lstStyle/>
                <a:p>
                  <a:endParaRPr lang="en-GB"/>
                </a:p>
              </p:txBody>
            </p:sp>
            <p:sp>
              <p:nvSpPr>
                <p:cNvPr id="3687" name="Vrije vorm: vorm 3686">
                  <a:extLst>
                    <a:ext uri="{FF2B5EF4-FFF2-40B4-BE49-F238E27FC236}">
                      <a16:creationId xmlns:a16="http://schemas.microsoft.com/office/drawing/2014/main" id="{B0929D75-247F-480B-B84C-DD340FD97B80}"/>
                    </a:ext>
                  </a:extLst>
                </p:cNvPr>
                <p:cNvSpPr/>
                <p:nvPr/>
              </p:nvSpPr>
              <p:spPr>
                <a:xfrm>
                  <a:off x="5866418" y="1278029"/>
                  <a:ext cx="18365" cy="18423"/>
                </a:xfrm>
                <a:custGeom>
                  <a:avLst/>
                  <a:gdLst>
                    <a:gd name="connsiteX0" fmla="*/ 32 w 18365"/>
                    <a:gd name="connsiteY0" fmla="*/ 9960 h 18423"/>
                    <a:gd name="connsiteX1" fmla="*/ 8405 w 18365"/>
                    <a:gd name="connsiteY1" fmla="*/ 32 h 18423"/>
                    <a:gd name="connsiteX2" fmla="*/ 18333 w 18365"/>
                    <a:gd name="connsiteY2" fmla="*/ 8465 h 18423"/>
                    <a:gd name="connsiteX3" fmla="*/ 9960 w 18365"/>
                    <a:gd name="connsiteY3" fmla="*/ 18393 h 18423"/>
                    <a:gd name="connsiteX4" fmla="*/ 32 w 18365"/>
                    <a:gd name="connsiteY4" fmla="*/ 9960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3">
                      <a:moveTo>
                        <a:pt x="32" y="9960"/>
                      </a:moveTo>
                      <a:cubicBezTo>
                        <a:pt x="-386" y="4876"/>
                        <a:pt x="3322" y="450"/>
                        <a:pt x="8405" y="32"/>
                      </a:cubicBezTo>
                      <a:cubicBezTo>
                        <a:pt x="13429" y="-387"/>
                        <a:pt x="17855" y="3381"/>
                        <a:pt x="18333" y="8465"/>
                      </a:cubicBezTo>
                      <a:cubicBezTo>
                        <a:pt x="18752" y="13548"/>
                        <a:pt x="15044" y="17974"/>
                        <a:pt x="9960" y="18393"/>
                      </a:cubicBezTo>
                      <a:cubicBezTo>
                        <a:pt x="4877" y="18811"/>
                        <a:pt x="451" y="14984"/>
                        <a:pt x="32" y="9960"/>
                      </a:cubicBezTo>
                      <a:close/>
                    </a:path>
                  </a:pathLst>
                </a:custGeom>
                <a:grpFill/>
                <a:ln w="5978" cap="flat">
                  <a:noFill/>
                  <a:prstDash val="solid"/>
                  <a:miter/>
                </a:ln>
              </p:spPr>
              <p:txBody>
                <a:bodyPr rtlCol="0" anchor="ctr"/>
                <a:lstStyle/>
                <a:p>
                  <a:endParaRPr lang="en-GB"/>
                </a:p>
              </p:txBody>
            </p:sp>
            <p:sp>
              <p:nvSpPr>
                <p:cNvPr id="3688" name="Vrije vorm: vorm 3687">
                  <a:extLst>
                    <a:ext uri="{FF2B5EF4-FFF2-40B4-BE49-F238E27FC236}">
                      <a16:creationId xmlns:a16="http://schemas.microsoft.com/office/drawing/2014/main" id="{CB97EE11-77E1-4C97-9758-66A7424F610A}"/>
                    </a:ext>
                  </a:extLst>
                </p:cNvPr>
                <p:cNvSpPr/>
                <p:nvPr/>
              </p:nvSpPr>
              <p:spPr>
                <a:xfrm>
                  <a:off x="5883284" y="1478682"/>
                  <a:ext cx="18364" cy="18424"/>
                </a:xfrm>
                <a:custGeom>
                  <a:avLst/>
                  <a:gdLst>
                    <a:gd name="connsiteX0" fmla="*/ 32 w 18364"/>
                    <a:gd name="connsiteY0" fmla="*/ 9960 h 18424"/>
                    <a:gd name="connsiteX1" fmla="*/ 9960 w 18364"/>
                    <a:gd name="connsiteY1" fmla="*/ 18393 h 18424"/>
                    <a:gd name="connsiteX2" fmla="*/ 18333 w 18364"/>
                    <a:gd name="connsiteY2" fmla="*/ 8465 h 18424"/>
                    <a:gd name="connsiteX3" fmla="*/ 8405 w 18364"/>
                    <a:gd name="connsiteY3" fmla="*/ 32 h 18424"/>
                    <a:gd name="connsiteX4" fmla="*/ 32 w 18364"/>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32" y="9960"/>
                      </a:moveTo>
                      <a:cubicBezTo>
                        <a:pt x="450" y="15043"/>
                        <a:pt x="4876" y="18811"/>
                        <a:pt x="9960" y="18393"/>
                      </a:cubicBezTo>
                      <a:cubicBezTo>
                        <a:pt x="14984" y="17974"/>
                        <a:pt x="18751" y="13548"/>
                        <a:pt x="18333" y="8465"/>
                      </a:cubicBezTo>
                      <a:cubicBezTo>
                        <a:pt x="17914" y="3381"/>
                        <a:pt x="13488" y="-387"/>
                        <a:pt x="8405" y="32"/>
                      </a:cubicBezTo>
                      <a:cubicBezTo>
                        <a:pt x="3381" y="450"/>
                        <a:pt x="-387" y="4876"/>
                        <a:pt x="32" y="9960"/>
                      </a:cubicBezTo>
                      <a:close/>
                    </a:path>
                  </a:pathLst>
                </a:custGeom>
                <a:grpFill/>
                <a:ln w="5978" cap="flat">
                  <a:noFill/>
                  <a:prstDash val="solid"/>
                  <a:miter/>
                </a:ln>
              </p:spPr>
              <p:txBody>
                <a:bodyPr rtlCol="0" anchor="ctr"/>
                <a:lstStyle/>
                <a:p>
                  <a:endParaRPr lang="en-GB"/>
                </a:p>
              </p:txBody>
            </p:sp>
          </p:grpSp>
          <p:grpSp>
            <p:nvGrpSpPr>
              <p:cNvPr id="568" name="Graphic 3">
                <a:extLst>
                  <a:ext uri="{FF2B5EF4-FFF2-40B4-BE49-F238E27FC236}">
                    <a16:creationId xmlns:a16="http://schemas.microsoft.com/office/drawing/2014/main" id="{8DAFC986-6360-4BFF-AB94-3219A53AD1FE}"/>
                  </a:ext>
                </a:extLst>
              </p:cNvPr>
              <p:cNvGrpSpPr/>
              <p:nvPr/>
            </p:nvGrpSpPr>
            <p:grpSpPr>
              <a:xfrm>
                <a:off x="5807487" y="1092915"/>
                <a:ext cx="49375" cy="319394"/>
                <a:chOff x="5807487" y="1092915"/>
                <a:chExt cx="49375" cy="319394"/>
              </a:xfrm>
              <a:grpFill/>
            </p:grpSpPr>
            <p:sp>
              <p:nvSpPr>
                <p:cNvPr id="3683" name="Vrije vorm: vorm 3682">
                  <a:extLst>
                    <a:ext uri="{FF2B5EF4-FFF2-40B4-BE49-F238E27FC236}">
                      <a16:creationId xmlns:a16="http://schemas.microsoft.com/office/drawing/2014/main" id="{C141D522-6E65-4E09-A8E8-4B059981888B}"/>
                    </a:ext>
                  </a:extLst>
                </p:cNvPr>
                <p:cNvSpPr/>
                <p:nvPr/>
              </p:nvSpPr>
              <p:spPr>
                <a:xfrm>
                  <a:off x="5815135" y="1101569"/>
                  <a:ext cx="34090" cy="302146"/>
                </a:xfrm>
                <a:custGeom>
                  <a:avLst/>
                  <a:gdLst>
                    <a:gd name="connsiteX0" fmla="*/ 2990 w 34090"/>
                    <a:gd name="connsiteY0" fmla="*/ 0 h 302146"/>
                    <a:gd name="connsiteX1" fmla="*/ 34090 w 34090"/>
                    <a:gd name="connsiteY1" fmla="*/ 301847 h 302146"/>
                    <a:gd name="connsiteX2" fmla="*/ 31100 w 34090"/>
                    <a:gd name="connsiteY2" fmla="*/ 302146 h 302146"/>
                    <a:gd name="connsiteX3" fmla="*/ 0 w 34090"/>
                    <a:gd name="connsiteY3" fmla="*/ 299 h 302146"/>
                  </a:gdLst>
                  <a:ahLst/>
                  <a:cxnLst>
                    <a:cxn ang="0">
                      <a:pos x="connsiteX0" y="connsiteY0"/>
                    </a:cxn>
                    <a:cxn ang="0">
                      <a:pos x="connsiteX1" y="connsiteY1"/>
                    </a:cxn>
                    <a:cxn ang="0">
                      <a:pos x="connsiteX2" y="connsiteY2"/>
                    </a:cxn>
                    <a:cxn ang="0">
                      <a:pos x="connsiteX3" y="connsiteY3"/>
                    </a:cxn>
                  </a:cxnLst>
                  <a:rect l="l" t="t" r="r" b="b"/>
                  <a:pathLst>
                    <a:path w="34090" h="302146">
                      <a:moveTo>
                        <a:pt x="2990" y="0"/>
                      </a:moveTo>
                      <a:lnTo>
                        <a:pt x="34090" y="301847"/>
                      </a:lnTo>
                      <a:lnTo>
                        <a:pt x="31100" y="302146"/>
                      </a:lnTo>
                      <a:lnTo>
                        <a:pt x="0" y="299"/>
                      </a:lnTo>
                      <a:close/>
                    </a:path>
                  </a:pathLst>
                </a:custGeom>
                <a:grpFill/>
                <a:ln w="5978" cap="flat">
                  <a:noFill/>
                  <a:prstDash val="solid"/>
                  <a:miter/>
                </a:ln>
              </p:spPr>
              <p:txBody>
                <a:bodyPr rtlCol="0" anchor="ctr"/>
                <a:lstStyle/>
                <a:p>
                  <a:endParaRPr lang="en-GB"/>
                </a:p>
              </p:txBody>
            </p:sp>
            <p:sp>
              <p:nvSpPr>
                <p:cNvPr id="3684" name="Vrije vorm: vorm 3683">
                  <a:extLst>
                    <a:ext uri="{FF2B5EF4-FFF2-40B4-BE49-F238E27FC236}">
                      <a16:creationId xmlns:a16="http://schemas.microsoft.com/office/drawing/2014/main" id="{A19435C2-4A67-43E1-8145-694BABA1389D}"/>
                    </a:ext>
                  </a:extLst>
                </p:cNvPr>
                <p:cNvSpPr/>
                <p:nvPr/>
              </p:nvSpPr>
              <p:spPr>
                <a:xfrm>
                  <a:off x="5807487" y="1092915"/>
                  <a:ext cx="18346" cy="18454"/>
                </a:xfrm>
                <a:custGeom>
                  <a:avLst/>
                  <a:gdLst>
                    <a:gd name="connsiteX0" fmla="*/ 53 w 18346"/>
                    <a:gd name="connsiteY0" fmla="*/ 10150 h 18454"/>
                    <a:gd name="connsiteX1" fmla="*/ 8246 w 18346"/>
                    <a:gd name="connsiteY1" fmla="*/ 42 h 18454"/>
                    <a:gd name="connsiteX2" fmla="*/ 18294 w 18346"/>
                    <a:gd name="connsiteY2" fmla="*/ 8296 h 18454"/>
                    <a:gd name="connsiteX3" fmla="*/ 10100 w 18346"/>
                    <a:gd name="connsiteY3" fmla="*/ 18403 h 18454"/>
                    <a:gd name="connsiteX4" fmla="*/ 53 w 18346"/>
                    <a:gd name="connsiteY4" fmla="*/ 10150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4">
                      <a:moveTo>
                        <a:pt x="53" y="10150"/>
                      </a:moveTo>
                      <a:cubicBezTo>
                        <a:pt x="-486" y="5066"/>
                        <a:pt x="3162" y="580"/>
                        <a:pt x="8246" y="42"/>
                      </a:cubicBezTo>
                      <a:cubicBezTo>
                        <a:pt x="13270" y="-436"/>
                        <a:pt x="17755" y="3212"/>
                        <a:pt x="18294" y="8296"/>
                      </a:cubicBezTo>
                      <a:cubicBezTo>
                        <a:pt x="18832" y="13379"/>
                        <a:pt x="15184" y="17865"/>
                        <a:pt x="10100" y="18403"/>
                      </a:cubicBezTo>
                      <a:cubicBezTo>
                        <a:pt x="5076" y="18941"/>
                        <a:pt x="591" y="15233"/>
                        <a:pt x="53" y="10150"/>
                      </a:cubicBezTo>
                      <a:close/>
                    </a:path>
                  </a:pathLst>
                </a:custGeom>
                <a:grpFill/>
                <a:ln w="5978" cap="flat">
                  <a:noFill/>
                  <a:prstDash val="solid"/>
                  <a:miter/>
                </a:ln>
              </p:spPr>
              <p:txBody>
                <a:bodyPr rtlCol="0" anchor="ctr"/>
                <a:lstStyle/>
                <a:p>
                  <a:endParaRPr lang="en-GB"/>
                </a:p>
              </p:txBody>
            </p:sp>
            <p:sp>
              <p:nvSpPr>
                <p:cNvPr id="3685" name="Vrije vorm: vorm 3684">
                  <a:extLst>
                    <a:ext uri="{FF2B5EF4-FFF2-40B4-BE49-F238E27FC236}">
                      <a16:creationId xmlns:a16="http://schemas.microsoft.com/office/drawing/2014/main" id="{2C667A1E-D04A-4F7A-BE40-FE0CEA697349}"/>
                    </a:ext>
                  </a:extLst>
                </p:cNvPr>
                <p:cNvSpPr/>
                <p:nvPr/>
              </p:nvSpPr>
              <p:spPr>
                <a:xfrm>
                  <a:off x="5838527" y="1393865"/>
                  <a:ext cx="18335" cy="18445"/>
                </a:xfrm>
                <a:custGeom>
                  <a:avLst/>
                  <a:gdLst>
                    <a:gd name="connsiteX0" fmla="*/ 53 w 18335"/>
                    <a:gd name="connsiteY0" fmla="*/ 10150 h 18445"/>
                    <a:gd name="connsiteX1" fmla="*/ 10100 w 18335"/>
                    <a:gd name="connsiteY1" fmla="*/ 18403 h 18445"/>
                    <a:gd name="connsiteX2" fmla="*/ 18294 w 18335"/>
                    <a:gd name="connsiteY2" fmla="*/ 8296 h 18445"/>
                    <a:gd name="connsiteX3" fmla="*/ 8246 w 18335"/>
                    <a:gd name="connsiteY3" fmla="*/ 42 h 18445"/>
                    <a:gd name="connsiteX4" fmla="*/ 53 w 18335"/>
                    <a:gd name="connsiteY4" fmla="*/ 1015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5">
                      <a:moveTo>
                        <a:pt x="53" y="10150"/>
                      </a:moveTo>
                      <a:cubicBezTo>
                        <a:pt x="591" y="15233"/>
                        <a:pt x="5076" y="18881"/>
                        <a:pt x="10100" y="18403"/>
                      </a:cubicBezTo>
                      <a:cubicBezTo>
                        <a:pt x="15124" y="17925"/>
                        <a:pt x="18772" y="13379"/>
                        <a:pt x="18294" y="8296"/>
                      </a:cubicBezTo>
                      <a:cubicBezTo>
                        <a:pt x="17755" y="3212"/>
                        <a:pt x="13270" y="-436"/>
                        <a:pt x="8246" y="42"/>
                      </a:cubicBezTo>
                      <a:cubicBezTo>
                        <a:pt x="3162" y="580"/>
                        <a:pt x="-486" y="5126"/>
                        <a:pt x="53" y="10150"/>
                      </a:cubicBezTo>
                      <a:close/>
                    </a:path>
                  </a:pathLst>
                </a:custGeom>
                <a:grpFill/>
                <a:ln w="5978" cap="flat">
                  <a:noFill/>
                  <a:prstDash val="solid"/>
                  <a:miter/>
                </a:ln>
              </p:spPr>
              <p:txBody>
                <a:bodyPr rtlCol="0" anchor="ctr"/>
                <a:lstStyle/>
                <a:p>
                  <a:endParaRPr lang="en-GB"/>
                </a:p>
              </p:txBody>
            </p:sp>
          </p:grpSp>
          <p:grpSp>
            <p:nvGrpSpPr>
              <p:cNvPr id="569" name="Graphic 3">
                <a:extLst>
                  <a:ext uri="{FF2B5EF4-FFF2-40B4-BE49-F238E27FC236}">
                    <a16:creationId xmlns:a16="http://schemas.microsoft.com/office/drawing/2014/main" id="{C70E474A-8AAA-47EE-913B-26607FE1DCAA}"/>
                  </a:ext>
                </a:extLst>
              </p:cNvPr>
              <p:cNvGrpSpPr/>
              <p:nvPr/>
            </p:nvGrpSpPr>
            <p:grpSpPr>
              <a:xfrm>
                <a:off x="5936414" y="1430134"/>
                <a:ext cx="33872" cy="311269"/>
                <a:chOff x="5936414" y="1430134"/>
                <a:chExt cx="33872" cy="311269"/>
              </a:xfrm>
              <a:grpFill/>
            </p:grpSpPr>
            <p:sp>
              <p:nvSpPr>
                <p:cNvPr id="3680" name="Vrije vorm: vorm 3679">
                  <a:extLst>
                    <a:ext uri="{FF2B5EF4-FFF2-40B4-BE49-F238E27FC236}">
                      <a16:creationId xmlns:a16="http://schemas.microsoft.com/office/drawing/2014/main" id="{900625E1-5692-4FF9-9542-D5E6F3F130F1}"/>
                    </a:ext>
                  </a:extLst>
                </p:cNvPr>
                <p:cNvSpPr/>
                <p:nvPr/>
              </p:nvSpPr>
              <p:spPr>
                <a:xfrm>
                  <a:off x="5944020" y="1438822"/>
                  <a:ext cx="18660" cy="293892"/>
                </a:xfrm>
                <a:custGeom>
                  <a:avLst/>
                  <a:gdLst>
                    <a:gd name="connsiteX0" fmla="*/ 18660 w 18660"/>
                    <a:gd name="connsiteY0" fmla="*/ 179 h 293892"/>
                    <a:gd name="connsiteX1" fmla="*/ 3050 w 18660"/>
                    <a:gd name="connsiteY1" fmla="*/ 293893 h 293892"/>
                    <a:gd name="connsiteX2" fmla="*/ 0 w 18660"/>
                    <a:gd name="connsiteY2" fmla="*/ 293713 h 293892"/>
                    <a:gd name="connsiteX3" fmla="*/ 15610 w 18660"/>
                    <a:gd name="connsiteY3" fmla="*/ 0 h 293892"/>
                  </a:gdLst>
                  <a:ahLst/>
                  <a:cxnLst>
                    <a:cxn ang="0">
                      <a:pos x="connsiteX0" y="connsiteY0"/>
                    </a:cxn>
                    <a:cxn ang="0">
                      <a:pos x="connsiteX1" y="connsiteY1"/>
                    </a:cxn>
                    <a:cxn ang="0">
                      <a:pos x="connsiteX2" y="connsiteY2"/>
                    </a:cxn>
                    <a:cxn ang="0">
                      <a:pos x="connsiteX3" y="connsiteY3"/>
                    </a:cxn>
                  </a:cxnLst>
                  <a:rect l="l" t="t" r="r" b="b"/>
                  <a:pathLst>
                    <a:path w="18660" h="293892">
                      <a:moveTo>
                        <a:pt x="18660" y="179"/>
                      </a:moveTo>
                      <a:lnTo>
                        <a:pt x="3050" y="293893"/>
                      </a:lnTo>
                      <a:lnTo>
                        <a:pt x="0" y="293713"/>
                      </a:lnTo>
                      <a:lnTo>
                        <a:pt x="15610" y="0"/>
                      </a:lnTo>
                      <a:close/>
                    </a:path>
                  </a:pathLst>
                </a:custGeom>
                <a:grpFill/>
                <a:ln w="5978" cap="flat">
                  <a:noFill/>
                  <a:prstDash val="solid"/>
                  <a:miter/>
                </a:ln>
              </p:spPr>
              <p:txBody>
                <a:bodyPr rtlCol="0" anchor="ctr"/>
                <a:lstStyle/>
                <a:p>
                  <a:endParaRPr lang="en-GB"/>
                </a:p>
              </p:txBody>
            </p:sp>
            <p:sp>
              <p:nvSpPr>
                <p:cNvPr id="3681" name="Vrije vorm: vorm 3680">
                  <a:extLst>
                    <a:ext uri="{FF2B5EF4-FFF2-40B4-BE49-F238E27FC236}">
                      <a16:creationId xmlns:a16="http://schemas.microsoft.com/office/drawing/2014/main" id="{5EF22C2C-F05D-45FF-8511-827504CF4BCD}"/>
                    </a:ext>
                  </a:extLst>
                </p:cNvPr>
                <p:cNvSpPr/>
                <p:nvPr/>
              </p:nvSpPr>
              <p:spPr>
                <a:xfrm>
                  <a:off x="5936414" y="1722950"/>
                  <a:ext cx="18322" cy="18452"/>
                </a:xfrm>
                <a:custGeom>
                  <a:avLst/>
                  <a:gdLst>
                    <a:gd name="connsiteX0" fmla="*/ 18312 w 18322"/>
                    <a:gd name="connsiteY0" fmla="*/ 9765 h 18452"/>
                    <a:gd name="connsiteX1" fmla="*/ 8683 w 18322"/>
                    <a:gd name="connsiteY1" fmla="*/ 18437 h 18452"/>
                    <a:gd name="connsiteX2" fmla="*/ 11 w 18322"/>
                    <a:gd name="connsiteY2" fmla="*/ 8688 h 18452"/>
                    <a:gd name="connsiteX3" fmla="*/ 9640 w 18322"/>
                    <a:gd name="connsiteY3" fmla="*/ 16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072" y="14848"/>
                        <a:pt x="13706" y="18736"/>
                        <a:pt x="8683" y="18437"/>
                      </a:cubicBezTo>
                      <a:cubicBezTo>
                        <a:pt x="3599" y="18138"/>
                        <a:pt x="-229" y="13772"/>
                        <a:pt x="11" y="8688"/>
                      </a:cubicBezTo>
                      <a:cubicBezTo>
                        <a:pt x="310" y="3605"/>
                        <a:pt x="4616" y="-283"/>
                        <a:pt x="9640" y="16"/>
                      </a:cubicBezTo>
                      <a:cubicBezTo>
                        <a:pt x="14663" y="315"/>
                        <a:pt x="18551" y="4681"/>
                        <a:pt x="18312" y="9765"/>
                      </a:cubicBezTo>
                      <a:close/>
                    </a:path>
                  </a:pathLst>
                </a:custGeom>
                <a:grpFill/>
                <a:ln w="5978" cap="flat">
                  <a:noFill/>
                  <a:prstDash val="solid"/>
                  <a:miter/>
                </a:ln>
              </p:spPr>
              <p:txBody>
                <a:bodyPr rtlCol="0" anchor="ctr"/>
                <a:lstStyle/>
                <a:p>
                  <a:endParaRPr lang="en-GB"/>
                </a:p>
              </p:txBody>
            </p:sp>
            <p:sp>
              <p:nvSpPr>
                <p:cNvPr id="3682" name="Vrije vorm: vorm 3681">
                  <a:extLst>
                    <a:ext uri="{FF2B5EF4-FFF2-40B4-BE49-F238E27FC236}">
                      <a16:creationId xmlns:a16="http://schemas.microsoft.com/office/drawing/2014/main" id="{E14D5646-67C6-4A4D-A779-5FA822A72CB7}"/>
                    </a:ext>
                  </a:extLst>
                </p:cNvPr>
                <p:cNvSpPr/>
                <p:nvPr/>
              </p:nvSpPr>
              <p:spPr>
                <a:xfrm>
                  <a:off x="5951963" y="1430134"/>
                  <a:ext cx="18322" cy="18452"/>
                </a:xfrm>
                <a:custGeom>
                  <a:avLst/>
                  <a:gdLst>
                    <a:gd name="connsiteX0" fmla="*/ 18312 w 18322"/>
                    <a:gd name="connsiteY0" fmla="*/ 9765 h 18452"/>
                    <a:gd name="connsiteX1" fmla="*/ 9639 w 18322"/>
                    <a:gd name="connsiteY1" fmla="*/ 16 h 18452"/>
                    <a:gd name="connsiteX2" fmla="*/ 11 w 18322"/>
                    <a:gd name="connsiteY2" fmla="*/ 8688 h 18452"/>
                    <a:gd name="connsiteX3" fmla="*/ 8683 w 18322"/>
                    <a:gd name="connsiteY3" fmla="*/ 18437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551" y="4681"/>
                        <a:pt x="14723" y="315"/>
                        <a:pt x="9639" y="16"/>
                      </a:cubicBezTo>
                      <a:cubicBezTo>
                        <a:pt x="4556" y="-283"/>
                        <a:pt x="250" y="3605"/>
                        <a:pt x="11" y="8688"/>
                      </a:cubicBezTo>
                      <a:cubicBezTo>
                        <a:pt x="-228" y="13772"/>
                        <a:pt x="3599" y="18138"/>
                        <a:pt x="8683" y="18437"/>
                      </a:cubicBezTo>
                      <a:cubicBezTo>
                        <a:pt x="13707" y="18736"/>
                        <a:pt x="18013" y="14848"/>
                        <a:pt x="18312" y="9765"/>
                      </a:cubicBezTo>
                      <a:close/>
                    </a:path>
                  </a:pathLst>
                </a:custGeom>
                <a:grpFill/>
                <a:ln w="5978" cap="flat">
                  <a:noFill/>
                  <a:prstDash val="solid"/>
                  <a:miter/>
                </a:ln>
              </p:spPr>
              <p:txBody>
                <a:bodyPr rtlCol="0" anchor="ctr"/>
                <a:lstStyle/>
                <a:p>
                  <a:endParaRPr lang="en-GB"/>
                </a:p>
              </p:txBody>
            </p:sp>
          </p:grpSp>
          <p:grpSp>
            <p:nvGrpSpPr>
              <p:cNvPr id="570" name="Graphic 3">
                <a:extLst>
                  <a:ext uri="{FF2B5EF4-FFF2-40B4-BE49-F238E27FC236}">
                    <a16:creationId xmlns:a16="http://schemas.microsoft.com/office/drawing/2014/main" id="{07C7CB0D-050E-4FDE-9C42-CFED4E807F43}"/>
                  </a:ext>
                </a:extLst>
              </p:cNvPr>
              <p:cNvGrpSpPr/>
              <p:nvPr/>
            </p:nvGrpSpPr>
            <p:grpSpPr>
              <a:xfrm>
                <a:off x="5963028" y="1645625"/>
                <a:ext cx="22029" cy="97386"/>
                <a:chOff x="5963028" y="1645625"/>
                <a:chExt cx="22029" cy="97386"/>
              </a:xfrm>
              <a:grpFill/>
            </p:grpSpPr>
            <p:sp>
              <p:nvSpPr>
                <p:cNvPr id="3677" name="Vrije vorm: vorm 3676">
                  <a:extLst>
                    <a:ext uri="{FF2B5EF4-FFF2-40B4-BE49-F238E27FC236}">
                      <a16:creationId xmlns:a16="http://schemas.microsoft.com/office/drawing/2014/main" id="{78F198F2-7759-4359-A8CC-17F8E05079B5}"/>
                    </a:ext>
                  </a:extLst>
                </p:cNvPr>
                <p:cNvSpPr/>
                <p:nvPr/>
              </p:nvSpPr>
              <p:spPr>
                <a:xfrm>
                  <a:off x="5970634" y="1654308"/>
                  <a:ext cx="6818" cy="80081"/>
                </a:xfrm>
                <a:custGeom>
                  <a:avLst/>
                  <a:gdLst>
                    <a:gd name="connsiteX0" fmla="*/ 3050 w 6818"/>
                    <a:gd name="connsiteY0" fmla="*/ 0 h 80081"/>
                    <a:gd name="connsiteX1" fmla="*/ 6818 w 6818"/>
                    <a:gd name="connsiteY1" fmla="*/ 79902 h 80081"/>
                    <a:gd name="connsiteX2" fmla="*/ 3768 w 6818"/>
                    <a:gd name="connsiteY2" fmla="*/ 80082 h 80081"/>
                    <a:gd name="connsiteX3" fmla="*/ 0 w 6818"/>
                    <a:gd name="connsiteY3" fmla="*/ 120 h 80081"/>
                  </a:gdLst>
                  <a:ahLst/>
                  <a:cxnLst>
                    <a:cxn ang="0">
                      <a:pos x="connsiteX0" y="connsiteY0"/>
                    </a:cxn>
                    <a:cxn ang="0">
                      <a:pos x="connsiteX1" y="connsiteY1"/>
                    </a:cxn>
                    <a:cxn ang="0">
                      <a:pos x="connsiteX2" y="connsiteY2"/>
                    </a:cxn>
                    <a:cxn ang="0">
                      <a:pos x="connsiteX3" y="connsiteY3"/>
                    </a:cxn>
                  </a:cxnLst>
                  <a:rect l="l" t="t" r="r" b="b"/>
                  <a:pathLst>
                    <a:path w="6818" h="80081">
                      <a:moveTo>
                        <a:pt x="3050" y="0"/>
                      </a:moveTo>
                      <a:lnTo>
                        <a:pt x="6818" y="79902"/>
                      </a:lnTo>
                      <a:lnTo>
                        <a:pt x="3768" y="80082"/>
                      </a:lnTo>
                      <a:lnTo>
                        <a:pt x="0" y="120"/>
                      </a:lnTo>
                      <a:close/>
                    </a:path>
                  </a:pathLst>
                </a:custGeom>
                <a:grpFill/>
                <a:ln w="5978" cap="flat">
                  <a:noFill/>
                  <a:prstDash val="solid"/>
                  <a:miter/>
                </a:ln>
              </p:spPr>
              <p:txBody>
                <a:bodyPr rtlCol="0" anchor="ctr"/>
                <a:lstStyle/>
                <a:p>
                  <a:endParaRPr lang="en-GB"/>
                </a:p>
              </p:txBody>
            </p:sp>
            <p:sp>
              <p:nvSpPr>
                <p:cNvPr id="3678" name="Vrije vorm: vorm 3677">
                  <a:extLst>
                    <a:ext uri="{FF2B5EF4-FFF2-40B4-BE49-F238E27FC236}">
                      <a16:creationId xmlns:a16="http://schemas.microsoft.com/office/drawing/2014/main" id="{8D604000-DF7D-497D-B8A7-472320B4A105}"/>
                    </a:ext>
                  </a:extLst>
                </p:cNvPr>
                <p:cNvSpPr/>
                <p:nvPr/>
              </p:nvSpPr>
              <p:spPr>
                <a:xfrm>
                  <a:off x="5963028" y="1645625"/>
                  <a:ext cx="18321" cy="18436"/>
                </a:xfrm>
                <a:custGeom>
                  <a:avLst/>
                  <a:gdLst>
                    <a:gd name="connsiteX0" fmla="*/ 10 w 18321"/>
                    <a:gd name="connsiteY0" fmla="*/ 9639 h 18436"/>
                    <a:gd name="connsiteX1" fmla="*/ 8742 w 18321"/>
                    <a:gd name="connsiteY1" fmla="*/ 10 h 18436"/>
                    <a:gd name="connsiteX2" fmla="*/ 18311 w 18321"/>
                    <a:gd name="connsiteY2" fmla="*/ 8802 h 18436"/>
                    <a:gd name="connsiteX3" fmla="*/ 9580 w 18321"/>
                    <a:gd name="connsiteY3" fmla="*/ 18431 h 18436"/>
                    <a:gd name="connsiteX4" fmla="*/ 10 w 18321"/>
                    <a:gd name="connsiteY4" fmla="*/ 963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0" y="9639"/>
                      </a:moveTo>
                      <a:cubicBezTo>
                        <a:pt x="-229" y="4556"/>
                        <a:pt x="3659" y="250"/>
                        <a:pt x="8742" y="10"/>
                      </a:cubicBezTo>
                      <a:cubicBezTo>
                        <a:pt x="13826" y="-229"/>
                        <a:pt x="18072" y="3718"/>
                        <a:pt x="18311" y="8802"/>
                      </a:cubicBezTo>
                      <a:cubicBezTo>
                        <a:pt x="18551" y="13886"/>
                        <a:pt x="14663" y="18192"/>
                        <a:pt x="9580" y="18431"/>
                      </a:cubicBezTo>
                      <a:cubicBezTo>
                        <a:pt x="4496" y="18610"/>
                        <a:pt x="250" y="14723"/>
                        <a:pt x="10" y="9639"/>
                      </a:cubicBezTo>
                      <a:close/>
                    </a:path>
                  </a:pathLst>
                </a:custGeom>
                <a:grpFill/>
                <a:ln w="5978" cap="flat">
                  <a:noFill/>
                  <a:prstDash val="solid"/>
                  <a:miter/>
                </a:ln>
              </p:spPr>
              <p:txBody>
                <a:bodyPr rtlCol="0" anchor="ctr"/>
                <a:lstStyle/>
                <a:p>
                  <a:endParaRPr lang="en-GB"/>
                </a:p>
              </p:txBody>
            </p:sp>
            <p:sp>
              <p:nvSpPr>
                <p:cNvPr id="3679" name="Vrije vorm: vorm 3678">
                  <a:extLst>
                    <a:ext uri="{FF2B5EF4-FFF2-40B4-BE49-F238E27FC236}">
                      <a16:creationId xmlns:a16="http://schemas.microsoft.com/office/drawing/2014/main" id="{A38985EB-4873-491B-AABD-D05F411A815E}"/>
                    </a:ext>
                  </a:extLst>
                </p:cNvPr>
                <p:cNvSpPr/>
                <p:nvPr/>
              </p:nvSpPr>
              <p:spPr>
                <a:xfrm>
                  <a:off x="5966736" y="1724571"/>
                  <a:ext cx="18321" cy="18441"/>
                </a:xfrm>
                <a:custGeom>
                  <a:avLst/>
                  <a:gdLst>
                    <a:gd name="connsiteX0" fmla="*/ 10 w 18321"/>
                    <a:gd name="connsiteY0" fmla="*/ 9639 h 18441"/>
                    <a:gd name="connsiteX1" fmla="*/ 9580 w 18321"/>
                    <a:gd name="connsiteY1" fmla="*/ 18431 h 18441"/>
                    <a:gd name="connsiteX2" fmla="*/ 18311 w 18321"/>
                    <a:gd name="connsiteY2" fmla="*/ 8802 h 18441"/>
                    <a:gd name="connsiteX3" fmla="*/ 8742 w 18321"/>
                    <a:gd name="connsiteY3" fmla="*/ 10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50" y="14723"/>
                        <a:pt x="4556" y="18670"/>
                        <a:pt x="9580" y="18431"/>
                      </a:cubicBezTo>
                      <a:cubicBezTo>
                        <a:pt x="14663" y="18192"/>
                        <a:pt x="18551" y="13886"/>
                        <a:pt x="18311" y="8802"/>
                      </a:cubicBezTo>
                      <a:cubicBezTo>
                        <a:pt x="18072" y="3718"/>
                        <a:pt x="13766" y="-229"/>
                        <a:pt x="8742" y="10"/>
                      </a:cubicBezTo>
                      <a:cubicBezTo>
                        <a:pt x="3659" y="309"/>
                        <a:pt x="-229" y="4556"/>
                        <a:pt x="10" y="9639"/>
                      </a:cubicBezTo>
                      <a:close/>
                    </a:path>
                  </a:pathLst>
                </a:custGeom>
                <a:grpFill/>
                <a:ln w="5978" cap="flat">
                  <a:noFill/>
                  <a:prstDash val="solid"/>
                  <a:miter/>
                </a:ln>
              </p:spPr>
              <p:txBody>
                <a:bodyPr rtlCol="0" anchor="ctr"/>
                <a:lstStyle/>
                <a:p>
                  <a:endParaRPr lang="en-GB"/>
                </a:p>
              </p:txBody>
            </p:sp>
          </p:grpSp>
          <p:grpSp>
            <p:nvGrpSpPr>
              <p:cNvPr id="571" name="Graphic 3">
                <a:extLst>
                  <a:ext uri="{FF2B5EF4-FFF2-40B4-BE49-F238E27FC236}">
                    <a16:creationId xmlns:a16="http://schemas.microsoft.com/office/drawing/2014/main" id="{C2D87CC3-31D4-4BEA-85FD-93D4755908C6}"/>
                  </a:ext>
                </a:extLst>
              </p:cNvPr>
              <p:cNvGrpSpPr/>
              <p:nvPr/>
            </p:nvGrpSpPr>
            <p:grpSpPr>
              <a:xfrm>
                <a:off x="5924380" y="1556148"/>
                <a:ext cx="21211" cy="62292"/>
                <a:chOff x="5924380" y="1556148"/>
                <a:chExt cx="21211" cy="62292"/>
              </a:xfrm>
              <a:grpFill/>
            </p:grpSpPr>
            <p:sp>
              <p:nvSpPr>
                <p:cNvPr id="3674" name="Vrije vorm: vorm 3673">
                  <a:extLst>
                    <a:ext uri="{FF2B5EF4-FFF2-40B4-BE49-F238E27FC236}">
                      <a16:creationId xmlns:a16="http://schemas.microsoft.com/office/drawing/2014/main" id="{A206D277-FAD7-448C-9B5D-6D01CC1ED65F}"/>
                    </a:ext>
                  </a:extLst>
                </p:cNvPr>
                <p:cNvSpPr/>
                <p:nvPr/>
              </p:nvSpPr>
              <p:spPr>
                <a:xfrm>
                  <a:off x="5931999" y="1564776"/>
                  <a:ext cx="5980" cy="44974"/>
                </a:xfrm>
                <a:custGeom>
                  <a:avLst/>
                  <a:gdLst>
                    <a:gd name="connsiteX0" fmla="*/ 2990 w 5980"/>
                    <a:gd name="connsiteY0" fmla="*/ 0 h 44974"/>
                    <a:gd name="connsiteX1" fmla="*/ 5981 w 5980"/>
                    <a:gd name="connsiteY1" fmla="*/ 44796 h 44974"/>
                    <a:gd name="connsiteX2" fmla="*/ 2930 w 5980"/>
                    <a:gd name="connsiteY2" fmla="*/ 44975 h 44974"/>
                    <a:gd name="connsiteX3" fmla="*/ 0 w 5980"/>
                    <a:gd name="connsiteY3" fmla="*/ 239 h 44974"/>
                  </a:gdLst>
                  <a:ahLst/>
                  <a:cxnLst>
                    <a:cxn ang="0">
                      <a:pos x="connsiteX0" y="connsiteY0"/>
                    </a:cxn>
                    <a:cxn ang="0">
                      <a:pos x="connsiteX1" y="connsiteY1"/>
                    </a:cxn>
                    <a:cxn ang="0">
                      <a:pos x="connsiteX2" y="connsiteY2"/>
                    </a:cxn>
                    <a:cxn ang="0">
                      <a:pos x="connsiteX3" y="connsiteY3"/>
                    </a:cxn>
                  </a:cxnLst>
                  <a:rect l="l" t="t" r="r" b="b"/>
                  <a:pathLst>
                    <a:path w="5980" h="44974">
                      <a:moveTo>
                        <a:pt x="2990" y="0"/>
                      </a:moveTo>
                      <a:lnTo>
                        <a:pt x="5981" y="44796"/>
                      </a:lnTo>
                      <a:lnTo>
                        <a:pt x="2930" y="44975"/>
                      </a:lnTo>
                      <a:lnTo>
                        <a:pt x="0" y="239"/>
                      </a:lnTo>
                      <a:close/>
                    </a:path>
                  </a:pathLst>
                </a:custGeom>
                <a:grpFill/>
                <a:ln w="5978" cap="flat">
                  <a:noFill/>
                  <a:prstDash val="solid"/>
                  <a:miter/>
                </a:ln>
              </p:spPr>
              <p:txBody>
                <a:bodyPr rtlCol="0" anchor="ctr"/>
                <a:lstStyle/>
                <a:p>
                  <a:endParaRPr lang="en-GB"/>
                </a:p>
              </p:txBody>
            </p:sp>
            <p:sp>
              <p:nvSpPr>
                <p:cNvPr id="3675" name="Vrije vorm: vorm 3674">
                  <a:extLst>
                    <a:ext uri="{FF2B5EF4-FFF2-40B4-BE49-F238E27FC236}">
                      <a16:creationId xmlns:a16="http://schemas.microsoft.com/office/drawing/2014/main" id="{88BF150E-D5F8-4621-BF82-31E9CB4A24EB}"/>
                    </a:ext>
                  </a:extLst>
                </p:cNvPr>
                <p:cNvSpPr/>
                <p:nvPr/>
              </p:nvSpPr>
              <p:spPr>
                <a:xfrm>
                  <a:off x="5924380" y="1556148"/>
                  <a:ext cx="18347" cy="18400"/>
                </a:xfrm>
                <a:custGeom>
                  <a:avLst/>
                  <a:gdLst>
                    <a:gd name="connsiteX0" fmla="*/ 23 w 18347"/>
                    <a:gd name="connsiteY0" fmla="*/ 9765 h 18400"/>
                    <a:gd name="connsiteX1" fmla="*/ 8576 w 18347"/>
                    <a:gd name="connsiteY1" fmla="*/ 16 h 18400"/>
                    <a:gd name="connsiteX2" fmla="*/ 18324 w 18347"/>
                    <a:gd name="connsiteY2" fmla="*/ 8629 h 18400"/>
                    <a:gd name="connsiteX3" fmla="*/ 9772 w 18347"/>
                    <a:gd name="connsiteY3" fmla="*/ 18377 h 18400"/>
                    <a:gd name="connsiteX4" fmla="*/ 23 w 18347"/>
                    <a:gd name="connsiteY4" fmla="*/ 976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23" y="9765"/>
                      </a:moveTo>
                      <a:cubicBezTo>
                        <a:pt x="-336" y="4681"/>
                        <a:pt x="3492" y="315"/>
                        <a:pt x="8576" y="16"/>
                      </a:cubicBezTo>
                      <a:cubicBezTo>
                        <a:pt x="13600" y="-283"/>
                        <a:pt x="17965" y="3545"/>
                        <a:pt x="18324" y="8629"/>
                      </a:cubicBezTo>
                      <a:cubicBezTo>
                        <a:pt x="18683" y="13712"/>
                        <a:pt x="14855" y="18078"/>
                        <a:pt x="9772" y="18377"/>
                      </a:cubicBezTo>
                      <a:cubicBezTo>
                        <a:pt x="4688" y="18736"/>
                        <a:pt x="322" y="14849"/>
                        <a:pt x="23" y="9765"/>
                      </a:cubicBezTo>
                      <a:close/>
                    </a:path>
                  </a:pathLst>
                </a:custGeom>
                <a:grpFill/>
                <a:ln w="5978" cap="flat">
                  <a:noFill/>
                  <a:prstDash val="solid"/>
                  <a:miter/>
                </a:ln>
              </p:spPr>
              <p:txBody>
                <a:bodyPr rtlCol="0" anchor="ctr"/>
                <a:lstStyle/>
                <a:p>
                  <a:endParaRPr lang="en-GB"/>
                </a:p>
              </p:txBody>
            </p:sp>
            <p:sp>
              <p:nvSpPr>
                <p:cNvPr id="3676" name="Vrije vorm: vorm 3675">
                  <a:extLst>
                    <a:ext uri="{FF2B5EF4-FFF2-40B4-BE49-F238E27FC236}">
                      <a16:creationId xmlns:a16="http://schemas.microsoft.com/office/drawing/2014/main" id="{3829A73C-F80C-44B4-89E8-892F2DE8D3BA}"/>
                    </a:ext>
                  </a:extLst>
                </p:cNvPr>
                <p:cNvSpPr/>
                <p:nvPr/>
              </p:nvSpPr>
              <p:spPr>
                <a:xfrm>
                  <a:off x="5927250" y="1600046"/>
                  <a:ext cx="18340" cy="18393"/>
                </a:xfrm>
                <a:custGeom>
                  <a:avLst/>
                  <a:gdLst>
                    <a:gd name="connsiteX0" fmla="*/ 23 w 18340"/>
                    <a:gd name="connsiteY0" fmla="*/ 9765 h 18393"/>
                    <a:gd name="connsiteX1" fmla="*/ 9772 w 18340"/>
                    <a:gd name="connsiteY1" fmla="*/ 18377 h 18393"/>
                    <a:gd name="connsiteX2" fmla="*/ 18324 w 18340"/>
                    <a:gd name="connsiteY2" fmla="*/ 8629 h 18393"/>
                    <a:gd name="connsiteX3" fmla="*/ 8576 w 18340"/>
                    <a:gd name="connsiteY3" fmla="*/ 16 h 18393"/>
                    <a:gd name="connsiteX4" fmla="*/ 23 w 18340"/>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23" y="9765"/>
                      </a:moveTo>
                      <a:cubicBezTo>
                        <a:pt x="382" y="14849"/>
                        <a:pt x="4748" y="18676"/>
                        <a:pt x="9772" y="18377"/>
                      </a:cubicBezTo>
                      <a:cubicBezTo>
                        <a:pt x="14796" y="18078"/>
                        <a:pt x="18623" y="13712"/>
                        <a:pt x="18324" y="8629"/>
                      </a:cubicBezTo>
                      <a:cubicBezTo>
                        <a:pt x="17965" y="3545"/>
                        <a:pt x="13600" y="-283"/>
                        <a:pt x="8576" y="16"/>
                      </a:cubicBezTo>
                      <a:cubicBezTo>
                        <a:pt x="3492" y="315"/>
                        <a:pt x="-336" y="4681"/>
                        <a:pt x="23" y="9765"/>
                      </a:cubicBezTo>
                      <a:close/>
                    </a:path>
                  </a:pathLst>
                </a:custGeom>
                <a:grpFill/>
                <a:ln w="5978" cap="flat">
                  <a:noFill/>
                  <a:prstDash val="solid"/>
                  <a:miter/>
                </a:ln>
              </p:spPr>
              <p:txBody>
                <a:bodyPr rtlCol="0" anchor="ctr"/>
                <a:lstStyle/>
                <a:p>
                  <a:endParaRPr lang="en-GB"/>
                </a:p>
              </p:txBody>
            </p:sp>
          </p:grpSp>
          <p:grpSp>
            <p:nvGrpSpPr>
              <p:cNvPr id="572" name="Graphic 3">
                <a:extLst>
                  <a:ext uri="{FF2B5EF4-FFF2-40B4-BE49-F238E27FC236}">
                    <a16:creationId xmlns:a16="http://schemas.microsoft.com/office/drawing/2014/main" id="{9DF36171-7690-46CB-98B1-E5C7D2FE096E}"/>
                  </a:ext>
                </a:extLst>
              </p:cNvPr>
              <p:cNvGrpSpPr/>
              <p:nvPr/>
            </p:nvGrpSpPr>
            <p:grpSpPr>
              <a:xfrm>
                <a:off x="6969778" y="4834469"/>
                <a:ext cx="261348" cy="466217"/>
                <a:chOff x="6969778" y="4834469"/>
                <a:chExt cx="261348" cy="466217"/>
              </a:xfrm>
              <a:grpFill/>
            </p:grpSpPr>
            <p:sp>
              <p:nvSpPr>
                <p:cNvPr id="3671" name="Vrije vorm: vorm 3670">
                  <a:extLst>
                    <a:ext uri="{FF2B5EF4-FFF2-40B4-BE49-F238E27FC236}">
                      <a16:creationId xmlns:a16="http://schemas.microsoft.com/office/drawing/2014/main" id="{04FE1DBB-24B5-44E8-A568-BD27755CE891}"/>
                    </a:ext>
                  </a:extLst>
                </p:cNvPr>
                <p:cNvSpPr/>
                <p:nvPr/>
              </p:nvSpPr>
              <p:spPr>
                <a:xfrm>
                  <a:off x="6977429" y="4842570"/>
                  <a:ext cx="246047" cy="450049"/>
                </a:xfrm>
                <a:custGeom>
                  <a:avLst/>
                  <a:gdLst>
                    <a:gd name="connsiteX0" fmla="*/ 246047 w 246047"/>
                    <a:gd name="connsiteY0" fmla="*/ 448614 h 450049"/>
                    <a:gd name="connsiteX1" fmla="*/ 243416 w 246047"/>
                    <a:gd name="connsiteY1" fmla="*/ 450049 h 450049"/>
                    <a:gd name="connsiteX2" fmla="*/ 0 w 246047"/>
                    <a:gd name="connsiteY2" fmla="*/ 1435 h 450049"/>
                    <a:gd name="connsiteX3" fmla="*/ 2692 w 246047"/>
                    <a:gd name="connsiteY3" fmla="*/ 0 h 450049"/>
                  </a:gdLst>
                  <a:ahLst/>
                  <a:cxnLst>
                    <a:cxn ang="0">
                      <a:pos x="connsiteX0" y="connsiteY0"/>
                    </a:cxn>
                    <a:cxn ang="0">
                      <a:pos x="connsiteX1" y="connsiteY1"/>
                    </a:cxn>
                    <a:cxn ang="0">
                      <a:pos x="connsiteX2" y="connsiteY2"/>
                    </a:cxn>
                    <a:cxn ang="0">
                      <a:pos x="connsiteX3" y="connsiteY3"/>
                    </a:cxn>
                  </a:cxnLst>
                  <a:rect l="l" t="t" r="r" b="b"/>
                  <a:pathLst>
                    <a:path w="246047" h="450049">
                      <a:moveTo>
                        <a:pt x="246047" y="448614"/>
                      </a:moveTo>
                      <a:lnTo>
                        <a:pt x="243416" y="450049"/>
                      </a:lnTo>
                      <a:lnTo>
                        <a:pt x="0" y="1435"/>
                      </a:lnTo>
                      <a:lnTo>
                        <a:pt x="2692" y="0"/>
                      </a:lnTo>
                      <a:close/>
                    </a:path>
                  </a:pathLst>
                </a:custGeom>
                <a:grpFill/>
                <a:ln w="5978" cap="flat">
                  <a:noFill/>
                  <a:prstDash val="solid"/>
                  <a:miter/>
                </a:ln>
              </p:spPr>
              <p:txBody>
                <a:bodyPr rtlCol="0" anchor="ctr"/>
                <a:lstStyle/>
                <a:p>
                  <a:endParaRPr lang="en-GB"/>
                </a:p>
              </p:txBody>
            </p:sp>
            <p:sp>
              <p:nvSpPr>
                <p:cNvPr id="3672" name="Vrije vorm: vorm 3671">
                  <a:extLst>
                    <a:ext uri="{FF2B5EF4-FFF2-40B4-BE49-F238E27FC236}">
                      <a16:creationId xmlns:a16="http://schemas.microsoft.com/office/drawing/2014/main" id="{8C434EDD-F266-4360-9A0F-EF9E641A393B}"/>
                    </a:ext>
                  </a:extLst>
                </p:cNvPr>
                <p:cNvSpPr/>
                <p:nvPr/>
              </p:nvSpPr>
              <p:spPr>
                <a:xfrm>
                  <a:off x="6969778" y="4834469"/>
                  <a:ext cx="18352" cy="18441"/>
                </a:xfrm>
                <a:custGeom>
                  <a:avLst/>
                  <a:gdLst>
                    <a:gd name="connsiteX0" fmla="*/ 1132 w 18352"/>
                    <a:gd name="connsiteY0" fmla="*/ 13603 h 18441"/>
                    <a:gd name="connsiteX1" fmla="*/ 4780 w 18352"/>
                    <a:gd name="connsiteY1" fmla="*/ 1104 h 18441"/>
                    <a:gd name="connsiteX2" fmla="*/ 17220 w 18352"/>
                    <a:gd name="connsiteY2" fmla="*/ 4812 h 18441"/>
                    <a:gd name="connsiteX3" fmla="*/ 13572 w 18352"/>
                    <a:gd name="connsiteY3" fmla="*/ 17311 h 18441"/>
                    <a:gd name="connsiteX4" fmla="*/ 1132 w 18352"/>
                    <a:gd name="connsiteY4" fmla="*/ 13603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41">
                      <a:moveTo>
                        <a:pt x="1132" y="13603"/>
                      </a:moveTo>
                      <a:cubicBezTo>
                        <a:pt x="-1320" y="9118"/>
                        <a:pt x="354" y="3556"/>
                        <a:pt x="4780" y="1104"/>
                      </a:cubicBezTo>
                      <a:cubicBezTo>
                        <a:pt x="9206" y="-1289"/>
                        <a:pt x="14768" y="326"/>
                        <a:pt x="17220" y="4812"/>
                      </a:cubicBezTo>
                      <a:cubicBezTo>
                        <a:pt x="19672" y="9297"/>
                        <a:pt x="17998" y="14859"/>
                        <a:pt x="13572" y="17311"/>
                      </a:cubicBezTo>
                      <a:cubicBezTo>
                        <a:pt x="9146" y="19763"/>
                        <a:pt x="3584" y="18089"/>
                        <a:pt x="1132" y="13603"/>
                      </a:cubicBezTo>
                      <a:close/>
                    </a:path>
                  </a:pathLst>
                </a:custGeom>
                <a:grpFill/>
                <a:ln w="5978" cap="flat">
                  <a:noFill/>
                  <a:prstDash val="solid"/>
                  <a:miter/>
                </a:ln>
              </p:spPr>
              <p:txBody>
                <a:bodyPr rtlCol="0" anchor="ctr"/>
                <a:lstStyle/>
                <a:p>
                  <a:endParaRPr lang="en-GB"/>
                </a:p>
              </p:txBody>
            </p:sp>
            <p:sp>
              <p:nvSpPr>
                <p:cNvPr id="3673" name="Vrije vorm: vorm 3672">
                  <a:extLst>
                    <a:ext uri="{FF2B5EF4-FFF2-40B4-BE49-F238E27FC236}">
                      <a16:creationId xmlns:a16="http://schemas.microsoft.com/office/drawing/2014/main" id="{9DFF922C-B45D-462E-BFDA-BAD38B2FF175}"/>
                    </a:ext>
                  </a:extLst>
                </p:cNvPr>
                <p:cNvSpPr/>
                <p:nvPr/>
              </p:nvSpPr>
              <p:spPr>
                <a:xfrm>
                  <a:off x="7212762" y="5282220"/>
                  <a:ext cx="18364" cy="18467"/>
                </a:xfrm>
                <a:custGeom>
                  <a:avLst/>
                  <a:gdLst>
                    <a:gd name="connsiteX0" fmla="*/ 1144 w 18364"/>
                    <a:gd name="connsiteY0" fmla="*/ 13630 h 18467"/>
                    <a:gd name="connsiteX1" fmla="*/ 13584 w 18364"/>
                    <a:gd name="connsiteY1" fmla="*/ 17338 h 18467"/>
                    <a:gd name="connsiteX2" fmla="*/ 17233 w 18364"/>
                    <a:gd name="connsiteY2" fmla="*/ 4838 h 18467"/>
                    <a:gd name="connsiteX3" fmla="*/ 4792 w 18364"/>
                    <a:gd name="connsiteY3" fmla="*/ 1130 h 18467"/>
                    <a:gd name="connsiteX4" fmla="*/ 1144 w 18364"/>
                    <a:gd name="connsiteY4" fmla="*/ 136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67">
                      <a:moveTo>
                        <a:pt x="1144" y="13630"/>
                      </a:moveTo>
                      <a:cubicBezTo>
                        <a:pt x="3596" y="18115"/>
                        <a:pt x="9158" y="19790"/>
                        <a:pt x="13584" y="17338"/>
                      </a:cubicBezTo>
                      <a:cubicBezTo>
                        <a:pt x="18010" y="14886"/>
                        <a:pt x="19684" y="9323"/>
                        <a:pt x="17233" y="4838"/>
                      </a:cubicBezTo>
                      <a:cubicBezTo>
                        <a:pt x="14780" y="352"/>
                        <a:pt x="9218" y="-1322"/>
                        <a:pt x="4792" y="1130"/>
                      </a:cubicBezTo>
                      <a:cubicBezTo>
                        <a:pt x="307" y="3582"/>
                        <a:pt x="-1308" y="9204"/>
                        <a:pt x="1144" y="13630"/>
                      </a:cubicBezTo>
                      <a:close/>
                    </a:path>
                  </a:pathLst>
                </a:custGeom>
                <a:grpFill/>
                <a:ln w="5978" cap="flat">
                  <a:noFill/>
                  <a:prstDash val="solid"/>
                  <a:miter/>
                </a:ln>
              </p:spPr>
              <p:txBody>
                <a:bodyPr rtlCol="0" anchor="ctr"/>
                <a:lstStyle/>
                <a:p>
                  <a:endParaRPr lang="en-GB"/>
                </a:p>
              </p:txBody>
            </p:sp>
          </p:grpSp>
          <p:grpSp>
            <p:nvGrpSpPr>
              <p:cNvPr id="573" name="Graphic 3">
                <a:extLst>
                  <a:ext uri="{FF2B5EF4-FFF2-40B4-BE49-F238E27FC236}">
                    <a16:creationId xmlns:a16="http://schemas.microsoft.com/office/drawing/2014/main" id="{8643EEE0-B78A-4D24-B1AF-191D9CBA04A9}"/>
                  </a:ext>
                </a:extLst>
              </p:cNvPr>
              <p:cNvGrpSpPr/>
              <p:nvPr/>
            </p:nvGrpSpPr>
            <p:grpSpPr>
              <a:xfrm>
                <a:off x="7049035" y="4955461"/>
                <a:ext cx="65518" cy="91151"/>
                <a:chOff x="7049035" y="4955461"/>
                <a:chExt cx="65518" cy="91151"/>
              </a:xfrm>
              <a:grpFill/>
            </p:grpSpPr>
            <p:sp>
              <p:nvSpPr>
                <p:cNvPr id="3668" name="Vrije vorm: vorm 3667">
                  <a:extLst>
                    <a:ext uri="{FF2B5EF4-FFF2-40B4-BE49-F238E27FC236}">
                      <a16:creationId xmlns:a16="http://schemas.microsoft.com/office/drawing/2014/main" id="{B27FA27A-4335-4172-A5A8-388B59E4500E}"/>
                    </a:ext>
                  </a:extLst>
                </p:cNvPr>
                <p:cNvSpPr/>
                <p:nvPr/>
              </p:nvSpPr>
              <p:spPr>
                <a:xfrm>
                  <a:off x="7056673" y="4963441"/>
                  <a:ext cx="50238" cy="75177"/>
                </a:xfrm>
                <a:custGeom>
                  <a:avLst/>
                  <a:gdLst>
                    <a:gd name="connsiteX0" fmla="*/ 50238 w 50238"/>
                    <a:gd name="connsiteY0" fmla="*/ 73563 h 75177"/>
                    <a:gd name="connsiteX1" fmla="*/ 47667 w 50238"/>
                    <a:gd name="connsiteY1" fmla="*/ 75178 h 75177"/>
                    <a:gd name="connsiteX2" fmla="*/ 0 w 50238"/>
                    <a:gd name="connsiteY2" fmla="*/ 1674 h 75177"/>
                    <a:gd name="connsiteX3" fmla="*/ 2572 w 50238"/>
                    <a:gd name="connsiteY3" fmla="*/ 0 h 75177"/>
                  </a:gdLst>
                  <a:ahLst/>
                  <a:cxnLst>
                    <a:cxn ang="0">
                      <a:pos x="connsiteX0" y="connsiteY0"/>
                    </a:cxn>
                    <a:cxn ang="0">
                      <a:pos x="connsiteX1" y="connsiteY1"/>
                    </a:cxn>
                    <a:cxn ang="0">
                      <a:pos x="connsiteX2" y="connsiteY2"/>
                    </a:cxn>
                    <a:cxn ang="0">
                      <a:pos x="connsiteX3" y="connsiteY3"/>
                    </a:cxn>
                  </a:cxnLst>
                  <a:rect l="l" t="t" r="r" b="b"/>
                  <a:pathLst>
                    <a:path w="50238" h="75177">
                      <a:moveTo>
                        <a:pt x="50238" y="73563"/>
                      </a:moveTo>
                      <a:lnTo>
                        <a:pt x="47667" y="75178"/>
                      </a:lnTo>
                      <a:lnTo>
                        <a:pt x="0" y="1674"/>
                      </a:lnTo>
                      <a:lnTo>
                        <a:pt x="2572" y="0"/>
                      </a:lnTo>
                      <a:close/>
                    </a:path>
                  </a:pathLst>
                </a:custGeom>
                <a:grpFill/>
                <a:ln w="5978" cap="flat">
                  <a:noFill/>
                  <a:prstDash val="solid"/>
                  <a:miter/>
                </a:ln>
              </p:spPr>
              <p:txBody>
                <a:bodyPr rtlCol="0" anchor="ctr"/>
                <a:lstStyle/>
                <a:p>
                  <a:endParaRPr lang="en-GB"/>
                </a:p>
              </p:txBody>
            </p:sp>
            <p:sp>
              <p:nvSpPr>
                <p:cNvPr id="3669" name="Vrije vorm: vorm 3668">
                  <a:extLst>
                    <a:ext uri="{FF2B5EF4-FFF2-40B4-BE49-F238E27FC236}">
                      <a16:creationId xmlns:a16="http://schemas.microsoft.com/office/drawing/2014/main" id="{B69D35BA-13B9-4F62-93A3-154F508C6277}"/>
                    </a:ext>
                  </a:extLst>
                </p:cNvPr>
                <p:cNvSpPr/>
                <p:nvPr/>
              </p:nvSpPr>
              <p:spPr>
                <a:xfrm>
                  <a:off x="7096282" y="5028213"/>
                  <a:ext cx="18270" cy="18399"/>
                </a:xfrm>
                <a:custGeom>
                  <a:avLst/>
                  <a:gdLst>
                    <a:gd name="connsiteX0" fmla="*/ 16789 w 18270"/>
                    <a:gd name="connsiteY0" fmla="*/ 4185 h 18399"/>
                    <a:gd name="connsiteX1" fmla="*/ 14157 w 18270"/>
                    <a:gd name="connsiteY1" fmla="*/ 16924 h 18399"/>
                    <a:gd name="connsiteX2" fmla="*/ 1478 w 18270"/>
                    <a:gd name="connsiteY2" fmla="*/ 14173 h 18399"/>
                    <a:gd name="connsiteX3" fmla="*/ 4170 w 18270"/>
                    <a:gd name="connsiteY3" fmla="*/ 1434 h 18399"/>
                    <a:gd name="connsiteX4" fmla="*/ 16789 w 18270"/>
                    <a:gd name="connsiteY4" fmla="*/ 4185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0" h="18399">
                      <a:moveTo>
                        <a:pt x="16789" y="4185"/>
                      </a:moveTo>
                      <a:cubicBezTo>
                        <a:pt x="19540" y="8432"/>
                        <a:pt x="18344" y="14173"/>
                        <a:pt x="14157" y="16924"/>
                      </a:cubicBezTo>
                      <a:cubicBezTo>
                        <a:pt x="9911" y="19675"/>
                        <a:pt x="4230" y="18479"/>
                        <a:pt x="1478" y="14173"/>
                      </a:cubicBezTo>
                      <a:cubicBezTo>
                        <a:pt x="-1273" y="9927"/>
                        <a:pt x="-76" y="4185"/>
                        <a:pt x="4170" y="1434"/>
                      </a:cubicBezTo>
                      <a:cubicBezTo>
                        <a:pt x="8296" y="-1257"/>
                        <a:pt x="13978" y="-61"/>
                        <a:pt x="16789" y="4185"/>
                      </a:cubicBezTo>
                      <a:close/>
                    </a:path>
                  </a:pathLst>
                </a:custGeom>
                <a:grpFill/>
                <a:ln w="5978" cap="flat">
                  <a:noFill/>
                  <a:prstDash val="solid"/>
                  <a:miter/>
                </a:ln>
              </p:spPr>
              <p:txBody>
                <a:bodyPr rtlCol="0" anchor="ctr"/>
                <a:lstStyle/>
                <a:p>
                  <a:endParaRPr lang="en-GB"/>
                </a:p>
              </p:txBody>
            </p:sp>
            <p:sp>
              <p:nvSpPr>
                <p:cNvPr id="3670" name="Vrije vorm: vorm 3669">
                  <a:extLst>
                    <a:ext uri="{FF2B5EF4-FFF2-40B4-BE49-F238E27FC236}">
                      <a16:creationId xmlns:a16="http://schemas.microsoft.com/office/drawing/2014/main" id="{CE772C38-1A4F-47EA-AB37-EA56F29B47A5}"/>
                    </a:ext>
                  </a:extLst>
                </p:cNvPr>
                <p:cNvSpPr/>
                <p:nvPr/>
              </p:nvSpPr>
              <p:spPr>
                <a:xfrm>
                  <a:off x="7049035" y="4955461"/>
                  <a:ext cx="18368" cy="18411"/>
                </a:xfrm>
                <a:custGeom>
                  <a:avLst/>
                  <a:gdLst>
                    <a:gd name="connsiteX0" fmla="*/ 16849 w 18368"/>
                    <a:gd name="connsiteY0" fmla="*/ 4212 h 18411"/>
                    <a:gd name="connsiteX1" fmla="*/ 4170 w 18368"/>
                    <a:gd name="connsiteY1" fmla="*/ 1461 h 18411"/>
                    <a:gd name="connsiteX2" fmla="*/ 1479 w 18368"/>
                    <a:gd name="connsiteY2" fmla="*/ 14200 h 18411"/>
                    <a:gd name="connsiteX3" fmla="*/ 14158 w 18368"/>
                    <a:gd name="connsiteY3" fmla="*/ 16951 h 18411"/>
                    <a:gd name="connsiteX4" fmla="*/ 16849 w 18368"/>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11">
                      <a:moveTo>
                        <a:pt x="16849" y="4212"/>
                      </a:moveTo>
                      <a:cubicBezTo>
                        <a:pt x="14098" y="-35"/>
                        <a:pt x="8416" y="-1290"/>
                        <a:pt x="4170" y="1461"/>
                      </a:cubicBezTo>
                      <a:cubicBezTo>
                        <a:pt x="-76" y="4212"/>
                        <a:pt x="-1273" y="9953"/>
                        <a:pt x="1479" y="14200"/>
                      </a:cubicBezTo>
                      <a:cubicBezTo>
                        <a:pt x="4230" y="18446"/>
                        <a:pt x="9911" y="19702"/>
                        <a:pt x="14158" y="16951"/>
                      </a:cubicBezTo>
                      <a:cubicBezTo>
                        <a:pt x="18464" y="14200"/>
                        <a:pt x="19660" y="8458"/>
                        <a:pt x="16849" y="4212"/>
                      </a:cubicBezTo>
                      <a:close/>
                    </a:path>
                  </a:pathLst>
                </a:custGeom>
                <a:grpFill/>
                <a:ln w="5978" cap="flat">
                  <a:noFill/>
                  <a:prstDash val="solid"/>
                  <a:miter/>
                </a:ln>
              </p:spPr>
              <p:txBody>
                <a:bodyPr rtlCol="0" anchor="ctr"/>
                <a:lstStyle/>
                <a:p>
                  <a:endParaRPr lang="en-GB"/>
                </a:p>
              </p:txBody>
            </p:sp>
          </p:grpSp>
          <p:grpSp>
            <p:nvGrpSpPr>
              <p:cNvPr id="574" name="Graphic 3">
                <a:extLst>
                  <a:ext uri="{FF2B5EF4-FFF2-40B4-BE49-F238E27FC236}">
                    <a16:creationId xmlns:a16="http://schemas.microsoft.com/office/drawing/2014/main" id="{0C23C0DB-5016-49CF-A998-B84AF3CEE23C}"/>
                  </a:ext>
                </a:extLst>
              </p:cNvPr>
              <p:cNvGrpSpPr/>
              <p:nvPr/>
            </p:nvGrpSpPr>
            <p:grpSpPr>
              <a:xfrm>
                <a:off x="6997516" y="4817984"/>
                <a:ext cx="60747" cy="81254"/>
                <a:chOff x="6997516" y="4817984"/>
                <a:chExt cx="60747" cy="81254"/>
              </a:xfrm>
              <a:grpFill/>
            </p:grpSpPr>
            <p:sp>
              <p:nvSpPr>
                <p:cNvPr id="3665" name="Vrije vorm: vorm 3664">
                  <a:extLst>
                    <a:ext uri="{FF2B5EF4-FFF2-40B4-BE49-F238E27FC236}">
                      <a16:creationId xmlns:a16="http://schemas.microsoft.com/office/drawing/2014/main" id="{03505982-2455-48F8-A605-C0D0986DADAC}"/>
                    </a:ext>
                  </a:extLst>
                </p:cNvPr>
                <p:cNvSpPr/>
                <p:nvPr/>
              </p:nvSpPr>
              <p:spPr>
                <a:xfrm>
                  <a:off x="7005179" y="4826004"/>
                  <a:ext cx="45394" cy="65249"/>
                </a:xfrm>
                <a:custGeom>
                  <a:avLst/>
                  <a:gdLst>
                    <a:gd name="connsiteX0" fmla="*/ 45394 w 45394"/>
                    <a:gd name="connsiteY0" fmla="*/ 63515 h 65249"/>
                    <a:gd name="connsiteX1" fmla="*/ 42882 w 45394"/>
                    <a:gd name="connsiteY1" fmla="*/ 65250 h 65249"/>
                    <a:gd name="connsiteX2" fmla="*/ 0 w 45394"/>
                    <a:gd name="connsiteY2" fmla="*/ 1674 h 65249"/>
                    <a:gd name="connsiteX3" fmla="*/ 2572 w 45394"/>
                    <a:gd name="connsiteY3" fmla="*/ 0 h 65249"/>
                  </a:gdLst>
                  <a:ahLst/>
                  <a:cxnLst>
                    <a:cxn ang="0">
                      <a:pos x="connsiteX0" y="connsiteY0"/>
                    </a:cxn>
                    <a:cxn ang="0">
                      <a:pos x="connsiteX1" y="connsiteY1"/>
                    </a:cxn>
                    <a:cxn ang="0">
                      <a:pos x="connsiteX2" y="connsiteY2"/>
                    </a:cxn>
                    <a:cxn ang="0">
                      <a:pos x="connsiteX3" y="connsiteY3"/>
                    </a:cxn>
                  </a:cxnLst>
                  <a:rect l="l" t="t" r="r" b="b"/>
                  <a:pathLst>
                    <a:path w="45394" h="65249">
                      <a:moveTo>
                        <a:pt x="45394" y="63515"/>
                      </a:moveTo>
                      <a:lnTo>
                        <a:pt x="42882" y="65250"/>
                      </a:lnTo>
                      <a:lnTo>
                        <a:pt x="0" y="1674"/>
                      </a:lnTo>
                      <a:lnTo>
                        <a:pt x="2572" y="0"/>
                      </a:lnTo>
                      <a:close/>
                    </a:path>
                  </a:pathLst>
                </a:custGeom>
                <a:grpFill/>
                <a:ln w="5978" cap="flat">
                  <a:noFill/>
                  <a:prstDash val="solid"/>
                  <a:miter/>
                </a:ln>
              </p:spPr>
              <p:txBody>
                <a:bodyPr rtlCol="0" anchor="ctr"/>
                <a:lstStyle/>
                <a:p>
                  <a:endParaRPr lang="en-GB"/>
                </a:p>
              </p:txBody>
            </p:sp>
            <p:sp>
              <p:nvSpPr>
                <p:cNvPr id="3666" name="Vrije vorm: vorm 3665">
                  <a:extLst>
                    <a:ext uri="{FF2B5EF4-FFF2-40B4-BE49-F238E27FC236}">
                      <a16:creationId xmlns:a16="http://schemas.microsoft.com/office/drawing/2014/main" id="{A2D7977D-850A-4C38-AC3F-F4C00D7B0266}"/>
                    </a:ext>
                  </a:extLst>
                </p:cNvPr>
                <p:cNvSpPr/>
                <p:nvPr/>
              </p:nvSpPr>
              <p:spPr>
                <a:xfrm>
                  <a:off x="7039893" y="4880782"/>
                  <a:ext cx="18370" cy="18457"/>
                </a:xfrm>
                <a:custGeom>
                  <a:avLst/>
                  <a:gdLst>
                    <a:gd name="connsiteX0" fmla="*/ 16780 w 18370"/>
                    <a:gd name="connsiteY0" fmla="*/ 4072 h 18457"/>
                    <a:gd name="connsiteX1" fmla="*/ 14329 w 18370"/>
                    <a:gd name="connsiteY1" fmla="*/ 16871 h 18457"/>
                    <a:gd name="connsiteX2" fmla="*/ 1590 w 18370"/>
                    <a:gd name="connsiteY2" fmla="*/ 14359 h 18457"/>
                    <a:gd name="connsiteX3" fmla="*/ 4041 w 18370"/>
                    <a:gd name="connsiteY3" fmla="*/ 1560 h 18457"/>
                    <a:gd name="connsiteX4" fmla="*/ 16780 w 18370"/>
                    <a:gd name="connsiteY4" fmla="*/ 407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57">
                      <a:moveTo>
                        <a:pt x="16780" y="4072"/>
                      </a:moveTo>
                      <a:cubicBezTo>
                        <a:pt x="19652" y="8319"/>
                        <a:pt x="18515" y="14000"/>
                        <a:pt x="14329" y="16871"/>
                      </a:cubicBezTo>
                      <a:cubicBezTo>
                        <a:pt x="10142" y="19742"/>
                        <a:pt x="4460" y="18605"/>
                        <a:pt x="1590" y="14359"/>
                      </a:cubicBezTo>
                      <a:cubicBezTo>
                        <a:pt x="-1281" y="10113"/>
                        <a:pt x="-145" y="4431"/>
                        <a:pt x="4041" y="1560"/>
                      </a:cubicBezTo>
                      <a:cubicBezTo>
                        <a:pt x="8228" y="-1251"/>
                        <a:pt x="13910" y="-174"/>
                        <a:pt x="16780" y="4072"/>
                      </a:cubicBezTo>
                      <a:close/>
                    </a:path>
                  </a:pathLst>
                </a:custGeom>
                <a:grpFill/>
                <a:ln w="5978" cap="flat">
                  <a:noFill/>
                  <a:prstDash val="solid"/>
                  <a:miter/>
                </a:ln>
              </p:spPr>
              <p:txBody>
                <a:bodyPr rtlCol="0" anchor="ctr"/>
                <a:lstStyle/>
                <a:p>
                  <a:endParaRPr lang="en-GB"/>
                </a:p>
              </p:txBody>
            </p:sp>
            <p:sp>
              <p:nvSpPr>
                <p:cNvPr id="3667" name="Vrije vorm: vorm 3666">
                  <a:extLst>
                    <a:ext uri="{FF2B5EF4-FFF2-40B4-BE49-F238E27FC236}">
                      <a16:creationId xmlns:a16="http://schemas.microsoft.com/office/drawing/2014/main" id="{2747E9A6-CE98-4C29-92C7-D19A1816209A}"/>
                    </a:ext>
                  </a:extLst>
                </p:cNvPr>
                <p:cNvSpPr/>
                <p:nvPr/>
              </p:nvSpPr>
              <p:spPr>
                <a:xfrm>
                  <a:off x="6997516" y="4817984"/>
                  <a:ext cx="18359" cy="18430"/>
                </a:xfrm>
                <a:custGeom>
                  <a:avLst/>
                  <a:gdLst>
                    <a:gd name="connsiteX0" fmla="*/ 16754 w 18359"/>
                    <a:gd name="connsiteY0" fmla="*/ 4072 h 18430"/>
                    <a:gd name="connsiteX1" fmla="*/ 4015 w 18359"/>
                    <a:gd name="connsiteY1" fmla="*/ 1560 h 18430"/>
                    <a:gd name="connsiteX2" fmla="*/ 1563 w 18359"/>
                    <a:gd name="connsiteY2" fmla="*/ 14359 h 18430"/>
                    <a:gd name="connsiteX3" fmla="*/ 14302 w 18359"/>
                    <a:gd name="connsiteY3" fmla="*/ 16871 h 18430"/>
                    <a:gd name="connsiteX4" fmla="*/ 16754 w 18359"/>
                    <a:gd name="connsiteY4" fmla="*/ 407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30">
                      <a:moveTo>
                        <a:pt x="16754" y="4072"/>
                      </a:moveTo>
                      <a:cubicBezTo>
                        <a:pt x="13884" y="-174"/>
                        <a:pt x="8202" y="-1251"/>
                        <a:pt x="4015" y="1560"/>
                      </a:cubicBezTo>
                      <a:cubicBezTo>
                        <a:pt x="-171" y="4431"/>
                        <a:pt x="-1248" y="10113"/>
                        <a:pt x="1563" y="14359"/>
                      </a:cubicBezTo>
                      <a:cubicBezTo>
                        <a:pt x="4434" y="18605"/>
                        <a:pt x="10116" y="19682"/>
                        <a:pt x="14302" y="16871"/>
                      </a:cubicBezTo>
                      <a:cubicBezTo>
                        <a:pt x="18549" y="14000"/>
                        <a:pt x="19625" y="8319"/>
                        <a:pt x="16754" y="4072"/>
                      </a:cubicBezTo>
                      <a:close/>
                    </a:path>
                  </a:pathLst>
                </a:custGeom>
                <a:grpFill/>
                <a:ln w="5978" cap="flat">
                  <a:noFill/>
                  <a:prstDash val="solid"/>
                  <a:miter/>
                </a:ln>
              </p:spPr>
              <p:txBody>
                <a:bodyPr rtlCol="0" anchor="ctr"/>
                <a:lstStyle/>
                <a:p>
                  <a:endParaRPr lang="en-GB"/>
                </a:p>
              </p:txBody>
            </p:sp>
          </p:grpSp>
          <p:grpSp>
            <p:nvGrpSpPr>
              <p:cNvPr id="575" name="Graphic 3">
                <a:extLst>
                  <a:ext uri="{FF2B5EF4-FFF2-40B4-BE49-F238E27FC236}">
                    <a16:creationId xmlns:a16="http://schemas.microsoft.com/office/drawing/2014/main" id="{E9719AD6-3418-4322-8161-9DBC06CCC7B3}"/>
                  </a:ext>
                </a:extLst>
              </p:cNvPr>
              <p:cNvGrpSpPr/>
              <p:nvPr/>
            </p:nvGrpSpPr>
            <p:grpSpPr>
              <a:xfrm>
                <a:off x="5905023" y="1407717"/>
                <a:ext cx="27037" cy="334154"/>
                <a:chOff x="5905023" y="1407717"/>
                <a:chExt cx="27037" cy="334154"/>
              </a:xfrm>
              <a:grpFill/>
            </p:grpSpPr>
            <p:sp>
              <p:nvSpPr>
                <p:cNvPr id="3662" name="Vrije vorm: vorm 3661">
                  <a:extLst>
                    <a:ext uri="{FF2B5EF4-FFF2-40B4-BE49-F238E27FC236}">
                      <a16:creationId xmlns:a16="http://schemas.microsoft.com/office/drawing/2014/main" id="{9E9F55FD-CE2A-47F2-82CC-B46D8B7B96D3}"/>
                    </a:ext>
                  </a:extLst>
                </p:cNvPr>
                <p:cNvSpPr/>
                <p:nvPr/>
              </p:nvSpPr>
              <p:spPr>
                <a:xfrm>
                  <a:off x="5912621" y="1416454"/>
                  <a:ext cx="11842" cy="316738"/>
                </a:xfrm>
                <a:custGeom>
                  <a:avLst/>
                  <a:gdLst>
                    <a:gd name="connsiteX0" fmla="*/ 11842 w 11842"/>
                    <a:gd name="connsiteY0" fmla="*/ 60 h 316738"/>
                    <a:gd name="connsiteX1" fmla="*/ 3050 w 11842"/>
                    <a:gd name="connsiteY1" fmla="*/ 316739 h 316738"/>
                    <a:gd name="connsiteX2" fmla="*/ 0 w 11842"/>
                    <a:gd name="connsiteY2" fmla="*/ 316619 h 316738"/>
                    <a:gd name="connsiteX3" fmla="*/ 8792 w 11842"/>
                    <a:gd name="connsiteY3" fmla="*/ 0 h 316738"/>
                  </a:gdLst>
                  <a:ahLst/>
                  <a:cxnLst>
                    <a:cxn ang="0">
                      <a:pos x="connsiteX0" y="connsiteY0"/>
                    </a:cxn>
                    <a:cxn ang="0">
                      <a:pos x="connsiteX1" y="connsiteY1"/>
                    </a:cxn>
                    <a:cxn ang="0">
                      <a:pos x="connsiteX2" y="connsiteY2"/>
                    </a:cxn>
                    <a:cxn ang="0">
                      <a:pos x="connsiteX3" y="connsiteY3"/>
                    </a:cxn>
                  </a:cxnLst>
                  <a:rect l="l" t="t" r="r" b="b"/>
                  <a:pathLst>
                    <a:path w="11842" h="316738">
                      <a:moveTo>
                        <a:pt x="11842" y="60"/>
                      </a:moveTo>
                      <a:lnTo>
                        <a:pt x="3050" y="316739"/>
                      </a:lnTo>
                      <a:lnTo>
                        <a:pt x="0" y="316619"/>
                      </a:lnTo>
                      <a:lnTo>
                        <a:pt x="8792" y="0"/>
                      </a:lnTo>
                      <a:close/>
                    </a:path>
                  </a:pathLst>
                </a:custGeom>
                <a:grpFill/>
                <a:ln w="5978" cap="flat">
                  <a:noFill/>
                  <a:prstDash val="solid"/>
                  <a:miter/>
                </a:ln>
              </p:spPr>
              <p:txBody>
                <a:bodyPr rtlCol="0" anchor="ctr"/>
                <a:lstStyle/>
                <a:p>
                  <a:endParaRPr lang="en-GB"/>
                </a:p>
              </p:txBody>
            </p:sp>
            <p:sp>
              <p:nvSpPr>
                <p:cNvPr id="3663" name="Vrije vorm: vorm 3662">
                  <a:extLst>
                    <a:ext uri="{FF2B5EF4-FFF2-40B4-BE49-F238E27FC236}">
                      <a16:creationId xmlns:a16="http://schemas.microsoft.com/office/drawing/2014/main" id="{B62E2761-D102-447F-896D-7DE09E020215}"/>
                    </a:ext>
                  </a:extLst>
                </p:cNvPr>
                <p:cNvSpPr/>
                <p:nvPr/>
              </p:nvSpPr>
              <p:spPr>
                <a:xfrm>
                  <a:off x="5905023" y="1723439"/>
                  <a:ext cx="18306" cy="18432"/>
                </a:xfrm>
                <a:custGeom>
                  <a:avLst/>
                  <a:gdLst>
                    <a:gd name="connsiteX0" fmla="*/ 18304 w 18306"/>
                    <a:gd name="connsiteY0" fmla="*/ 9515 h 18432"/>
                    <a:gd name="connsiteX1" fmla="*/ 8914 w 18306"/>
                    <a:gd name="connsiteY1" fmla="*/ 18426 h 18432"/>
                    <a:gd name="connsiteX2" fmla="*/ 3 w 18306"/>
                    <a:gd name="connsiteY2" fmla="*/ 8917 h 18432"/>
                    <a:gd name="connsiteX3" fmla="*/ 9392 w 18306"/>
                    <a:gd name="connsiteY3" fmla="*/ 6 h 18432"/>
                    <a:gd name="connsiteX4" fmla="*/ 18304 w 18306"/>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18304" y="9515"/>
                      </a:moveTo>
                      <a:cubicBezTo>
                        <a:pt x="18184" y="14599"/>
                        <a:pt x="13937" y="18606"/>
                        <a:pt x="8914" y="18426"/>
                      </a:cubicBezTo>
                      <a:cubicBezTo>
                        <a:pt x="3830" y="18247"/>
                        <a:pt x="-117" y="14001"/>
                        <a:pt x="3" y="8917"/>
                      </a:cubicBezTo>
                      <a:cubicBezTo>
                        <a:pt x="122" y="3833"/>
                        <a:pt x="4368" y="-174"/>
                        <a:pt x="9392" y="6"/>
                      </a:cubicBezTo>
                      <a:cubicBezTo>
                        <a:pt x="14416" y="185"/>
                        <a:pt x="18423" y="4431"/>
                        <a:pt x="18304" y="9515"/>
                      </a:cubicBezTo>
                      <a:close/>
                    </a:path>
                  </a:pathLst>
                </a:custGeom>
                <a:grpFill/>
                <a:ln w="5978" cap="flat">
                  <a:noFill/>
                  <a:prstDash val="solid"/>
                  <a:miter/>
                </a:ln>
              </p:spPr>
              <p:txBody>
                <a:bodyPr rtlCol="0" anchor="ctr"/>
                <a:lstStyle/>
                <a:p>
                  <a:endParaRPr lang="en-GB"/>
                </a:p>
              </p:txBody>
            </p:sp>
            <p:sp>
              <p:nvSpPr>
                <p:cNvPr id="3664" name="Vrije vorm: vorm 3663">
                  <a:extLst>
                    <a:ext uri="{FF2B5EF4-FFF2-40B4-BE49-F238E27FC236}">
                      <a16:creationId xmlns:a16="http://schemas.microsoft.com/office/drawing/2014/main" id="{A7F970A2-741B-4EB2-9F92-0683FC943DFD}"/>
                    </a:ext>
                  </a:extLst>
                </p:cNvPr>
                <p:cNvSpPr/>
                <p:nvPr/>
              </p:nvSpPr>
              <p:spPr>
                <a:xfrm>
                  <a:off x="5913755" y="1407717"/>
                  <a:ext cx="18306" cy="18432"/>
                </a:xfrm>
                <a:custGeom>
                  <a:avLst/>
                  <a:gdLst>
                    <a:gd name="connsiteX0" fmla="*/ 18304 w 18306"/>
                    <a:gd name="connsiteY0" fmla="*/ 9515 h 18432"/>
                    <a:gd name="connsiteX1" fmla="*/ 9392 w 18306"/>
                    <a:gd name="connsiteY1" fmla="*/ 6 h 18432"/>
                    <a:gd name="connsiteX2" fmla="*/ 3 w 18306"/>
                    <a:gd name="connsiteY2" fmla="*/ 8917 h 18432"/>
                    <a:gd name="connsiteX3" fmla="*/ 8914 w 18306"/>
                    <a:gd name="connsiteY3" fmla="*/ 18426 h 18432"/>
                    <a:gd name="connsiteX4" fmla="*/ 18304 w 18306"/>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18304" y="9515"/>
                      </a:moveTo>
                      <a:cubicBezTo>
                        <a:pt x="18423" y="4432"/>
                        <a:pt x="14476" y="185"/>
                        <a:pt x="9392" y="6"/>
                      </a:cubicBezTo>
                      <a:cubicBezTo>
                        <a:pt x="4309" y="-174"/>
                        <a:pt x="122" y="3833"/>
                        <a:pt x="3" y="8917"/>
                      </a:cubicBezTo>
                      <a:cubicBezTo>
                        <a:pt x="-117" y="14001"/>
                        <a:pt x="3830" y="18247"/>
                        <a:pt x="8914" y="18426"/>
                      </a:cubicBezTo>
                      <a:cubicBezTo>
                        <a:pt x="13938" y="18606"/>
                        <a:pt x="18184" y="14599"/>
                        <a:pt x="18304" y="9515"/>
                      </a:cubicBezTo>
                      <a:close/>
                    </a:path>
                  </a:pathLst>
                </a:custGeom>
                <a:grpFill/>
                <a:ln w="5978" cap="flat">
                  <a:noFill/>
                  <a:prstDash val="solid"/>
                  <a:miter/>
                </a:ln>
              </p:spPr>
              <p:txBody>
                <a:bodyPr rtlCol="0" anchor="ctr"/>
                <a:lstStyle/>
                <a:p>
                  <a:endParaRPr lang="en-GB"/>
                </a:p>
              </p:txBody>
            </p:sp>
          </p:grpSp>
          <p:grpSp>
            <p:nvGrpSpPr>
              <p:cNvPr id="576" name="Graphic 3">
                <a:extLst>
                  <a:ext uri="{FF2B5EF4-FFF2-40B4-BE49-F238E27FC236}">
                    <a16:creationId xmlns:a16="http://schemas.microsoft.com/office/drawing/2014/main" id="{BFE21453-CCC2-491B-9161-096FD8AE2183}"/>
                  </a:ext>
                </a:extLst>
              </p:cNvPr>
              <p:cNvGrpSpPr/>
              <p:nvPr/>
            </p:nvGrpSpPr>
            <p:grpSpPr>
              <a:xfrm>
                <a:off x="5884838" y="1497043"/>
                <a:ext cx="25422" cy="101975"/>
                <a:chOff x="5884838" y="1497043"/>
                <a:chExt cx="25422" cy="101975"/>
              </a:xfrm>
              <a:grpFill/>
            </p:grpSpPr>
            <p:sp>
              <p:nvSpPr>
                <p:cNvPr id="3659" name="Vrije vorm: vorm 3658">
                  <a:extLst>
                    <a:ext uri="{FF2B5EF4-FFF2-40B4-BE49-F238E27FC236}">
                      <a16:creationId xmlns:a16="http://schemas.microsoft.com/office/drawing/2014/main" id="{EA02110E-A497-4100-A174-3F7FB1CA8B4F}"/>
                    </a:ext>
                  </a:extLst>
                </p:cNvPr>
                <p:cNvSpPr/>
                <p:nvPr/>
              </p:nvSpPr>
              <p:spPr>
                <a:xfrm>
                  <a:off x="5892466" y="1505687"/>
                  <a:ext cx="10167" cy="84687"/>
                </a:xfrm>
                <a:custGeom>
                  <a:avLst/>
                  <a:gdLst>
                    <a:gd name="connsiteX0" fmla="*/ 3050 w 10167"/>
                    <a:gd name="connsiteY0" fmla="*/ 0 h 84687"/>
                    <a:gd name="connsiteX1" fmla="*/ 10167 w 10167"/>
                    <a:gd name="connsiteY1" fmla="*/ 84448 h 84687"/>
                    <a:gd name="connsiteX2" fmla="*/ 7117 w 10167"/>
                    <a:gd name="connsiteY2" fmla="*/ 84687 h 84687"/>
                    <a:gd name="connsiteX3" fmla="*/ 0 w 10167"/>
                    <a:gd name="connsiteY3" fmla="*/ 239 h 84687"/>
                  </a:gdLst>
                  <a:ahLst/>
                  <a:cxnLst>
                    <a:cxn ang="0">
                      <a:pos x="connsiteX0" y="connsiteY0"/>
                    </a:cxn>
                    <a:cxn ang="0">
                      <a:pos x="connsiteX1" y="connsiteY1"/>
                    </a:cxn>
                    <a:cxn ang="0">
                      <a:pos x="connsiteX2" y="connsiteY2"/>
                    </a:cxn>
                    <a:cxn ang="0">
                      <a:pos x="connsiteX3" y="connsiteY3"/>
                    </a:cxn>
                  </a:cxnLst>
                  <a:rect l="l" t="t" r="r" b="b"/>
                  <a:pathLst>
                    <a:path w="10167" h="84687">
                      <a:moveTo>
                        <a:pt x="3050" y="0"/>
                      </a:moveTo>
                      <a:lnTo>
                        <a:pt x="10167" y="84448"/>
                      </a:lnTo>
                      <a:lnTo>
                        <a:pt x="7117" y="84687"/>
                      </a:lnTo>
                      <a:lnTo>
                        <a:pt x="0" y="239"/>
                      </a:lnTo>
                      <a:close/>
                    </a:path>
                  </a:pathLst>
                </a:custGeom>
                <a:grpFill/>
                <a:ln w="5978" cap="flat">
                  <a:noFill/>
                  <a:prstDash val="solid"/>
                  <a:miter/>
                </a:ln>
              </p:spPr>
              <p:txBody>
                <a:bodyPr rtlCol="0" anchor="ctr"/>
                <a:lstStyle/>
                <a:p>
                  <a:endParaRPr lang="en-GB"/>
                </a:p>
              </p:txBody>
            </p:sp>
            <p:sp>
              <p:nvSpPr>
                <p:cNvPr id="3660" name="Vrije vorm: vorm 3659">
                  <a:extLst>
                    <a:ext uri="{FF2B5EF4-FFF2-40B4-BE49-F238E27FC236}">
                      <a16:creationId xmlns:a16="http://schemas.microsoft.com/office/drawing/2014/main" id="{9D31873E-4140-4BFE-8D1D-0EA6123EC710}"/>
                    </a:ext>
                  </a:extLst>
                </p:cNvPr>
                <p:cNvSpPr/>
                <p:nvPr/>
              </p:nvSpPr>
              <p:spPr>
                <a:xfrm>
                  <a:off x="5884838" y="1497043"/>
                  <a:ext cx="18365" cy="18424"/>
                </a:xfrm>
                <a:custGeom>
                  <a:avLst/>
                  <a:gdLst>
                    <a:gd name="connsiteX0" fmla="*/ 32 w 18365"/>
                    <a:gd name="connsiteY0" fmla="*/ 9960 h 18424"/>
                    <a:gd name="connsiteX1" fmla="*/ 8405 w 18365"/>
                    <a:gd name="connsiteY1" fmla="*/ 32 h 18424"/>
                    <a:gd name="connsiteX2" fmla="*/ 18333 w 18365"/>
                    <a:gd name="connsiteY2" fmla="*/ 8465 h 18424"/>
                    <a:gd name="connsiteX3" fmla="*/ 9960 w 18365"/>
                    <a:gd name="connsiteY3" fmla="*/ 18393 h 18424"/>
                    <a:gd name="connsiteX4" fmla="*/ 32 w 18365"/>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4">
                      <a:moveTo>
                        <a:pt x="32" y="9960"/>
                      </a:moveTo>
                      <a:cubicBezTo>
                        <a:pt x="-386" y="4876"/>
                        <a:pt x="3322" y="450"/>
                        <a:pt x="8405" y="32"/>
                      </a:cubicBezTo>
                      <a:cubicBezTo>
                        <a:pt x="13429" y="-387"/>
                        <a:pt x="17855" y="3381"/>
                        <a:pt x="18333" y="8465"/>
                      </a:cubicBezTo>
                      <a:cubicBezTo>
                        <a:pt x="18752" y="13548"/>
                        <a:pt x="15044" y="17974"/>
                        <a:pt x="9960" y="18393"/>
                      </a:cubicBezTo>
                      <a:cubicBezTo>
                        <a:pt x="4936" y="18811"/>
                        <a:pt x="451" y="15043"/>
                        <a:pt x="32" y="9960"/>
                      </a:cubicBezTo>
                      <a:close/>
                    </a:path>
                  </a:pathLst>
                </a:custGeom>
                <a:grpFill/>
                <a:ln w="5978" cap="flat">
                  <a:noFill/>
                  <a:prstDash val="solid"/>
                  <a:miter/>
                </a:ln>
              </p:spPr>
              <p:txBody>
                <a:bodyPr rtlCol="0" anchor="ctr"/>
                <a:lstStyle/>
                <a:p>
                  <a:endParaRPr lang="en-GB"/>
                </a:p>
              </p:txBody>
            </p:sp>
            <p:sp>
              <p:nvSpPr>
                <p:cNvPr id="3661" name="Vrije vorm: vorm 3660">
                  <a:extLst>
                    <a:ext uri="{FF2B5EF4-FFF2-40B4-BE49-F238E27FC236}">
                      <a16:creationId xmlns:a16="http://schemas.microsoft.com/office/drawing/2014/main" id="{F54E4E4E-D826-4272-BF8C-CC5E525EA1C0}"/>
                    </a:ext>
                  </a:extLst>
                </p:cNvPr>
                <p:cNvSpPr/>
                <p:nvPr/>
              </p:nvSpPr>
              <p:spPr>
                <a:xfrm>
                  <a:off x="5891896" y="1580593"/>
                  <a:ext cx="18364" cy="18424"/>
                </a:xfrm>
                <a:custGeom>
                  <a:avLst/>
                  <a:gdLst>
                    <a:gd name="connsiteX0" fmla="*/ 32 w 18364"/>
                    <a:gd name="connsiteY0" fmla="*/ 9960 h 18424"/>
                    <a:gd name="connsiteX1" fmla="*/ 9960 w 18364"/>
                    <a:gd name="connsiteY1" fmla="*/ 18393 h 18424"/>
                    <a:gd name="connsiteX2" fmla="*/ 18333 w 18364"/>
                    <a:gd name="connsiteY2" fmla="*/ 8465 h 18424"/>
                    <a:gd name="connsiteX3" fmla="*/ 8405 w 18364"/>
                    <a:gd name="connsiteY3" fmla="*/ 32 h 18424"/>
                    <a:gd name="connsiteX4" fmla="*/ 32 w 18364"/>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32" y="9960"/>
                      </a:moveTo>
                      <a:cubicBezTo>
                        <a:pt x="450" y="15043"/>
                        <a:pt x="4876" y="18811"/>
                        <a:pt x="9960" y="18393"/>
                      </a:cubicBezTo>
                      <a:cubicBezTo>
                        <a:pt x="14984" y="17974"/>
                        <a:pt x="18751" y="13548"/>
                        <a:pt x="18333" y="8465"/>
                      </a:cubicBezTo>
                      <a:cubicBezTo>
                        <a:pt x="17914" y="3381"/>
                        <a:pt x="13488" y="-387"/>
                        <a:pt x="8405" y="32"/>
                      </a:cubicBezTo>
                      <a:cubicBezTo>
                        <a:pt x="3381" y="450"/>
                        <a:pt x="-387" y="4876"/>
                        <a:pt x="32" y="9960"/>
                      </a:cubicBezTo>
                      <a:close/>
                    </a:path>
                  </a:pathLst>
                </a:custGeom>
                <a:grpFill/>
                <a:ln w="5978" cap="flat">
                  <a:noFill/>
                  <a:prstDash val="solid"/>
                  <a:miter/>
                </a:ln>
              </p:spPr>
              <p:txBody>
                <a:bodyPr rtlCol="0" anchor="ctr"/>
                <a:lstStyle/>
                <a:p>
                  <a:endParaRPr lang="en-GB"/>
                </a:p>
              </p:txBody>
            </p:sp>
          </p:grpSp>
          <p:grpSp>
            <p:nvGrpSpPr>
              <p:cNvPr id="577" name="Graphic 3">
                <a:extLst>
                  <a:ext uri="{FF2B5EF4-FFF2-40B4-BE49-F238E27FC236}">
                    <a16:creationId xmlns:a16="http://schemas.microsoft.com/office/drawing/2014/main" id="{89C3F372-B981-411A-B7A8-1DFB9001F5CF}"/>
                  </a:ext>
                </a:extLst>
              </p:cNvPr>
              <p:cNvGrpSpPr/>
              <p:nvPr/>
            </p:nvGrpSpPr>
            <p:grpSpPr>
              <a:xfrm>
                <a:off x="7013574" y="4963104"/>
                <a:ext cx="83493" cy="123139"/>
                <a:chOff x="7013574" y="4963104"/>
                <a:chExt cx="83493" cy="123139"/>
              </a:xfrm>
              <a:grpFill/>
            </p:grpSpPr>
            <p:sp>
              <p:nvSpPr>
                <p:cNvPr id="3656" name="Vrije vorm: vorm 3655">
                  <a:extLst>
                    <a:ext uri="{FF2B5EF4-FFF2-40B4-BE49-F238E27FC236}">
                      <a16:creationId xmlns:a16="http://schemas.microsoft.com/office/drawing/2014/main" id="{77B25DE9-C954-48AD-9B92-0A9083B5D367}"/>
                    </a:ext>
                  </a:extLst>
                </p:cNvPr>
                <p:cNvSpPr/>
                <p:nvPr/>
              </p:nvSpPr>
              <p:spPr>
                <a:xfrm>
                  <a:off x="7021208" y="4971156"/>
                  <a:ext cx="68180" cy="107114"/>
                </a:xfrm>
                <a:custGeom>
                  <a:avLst/>
                  <a:gdLst>
                    <a:gd name="connsiteX0" fmla="*/ 68180 w 68180"/>
                    <a:gd name="connsiteY0" fmla="*/ 105500 h 107114"/>
                    <a:gd name="connsiteX1" fmla="*/ 65608 w 68180"/>
                    <a:gd name="connsiteY1" fmla="*/ 107115 h 107114"/>
                    <a:gd name="connsiteX2" fmla="*/ 0 w 68180"/>
                    <a:gd name="connsiteY2" fmla="*/ 1615 h 107114"/>
                    <a:gd name="connsiteX3" fmla="*/ 2571 w 68180"/>
                    <a:gd name="connsiteY3" fmla="*/ 0 h 107114"/>
                  </a:gdLst>
                  <a:ahLst/>
                  <a:cxnLst>
                    <a:cxn ang="0">
                      <a:pos x="connsiteX0" y="connsiteY0"/>
                    </a:cxn>
                    <a:cxn ang="0">
                      <a:pos x="connsiteX1" y="connsiteY1"/>
                    </a:cxn>
                    <a:cxn ang="0">
                      <a:pos x="connsiteX2" y="connsiteY2"/>
                    </a:cxn>
                    <a:cxn ang="0">
                      <a:pos x="connsiteX3" y="connsiteY3"/>
                    </a:cxn>
                  </a:cxnLst>
                  <a:rect l="l" t="t" r="r" b="b"/>
                  <a:pathLst>
                    <a:path w="68180" h="107114">
                      <a:moveTo>
                        <a:pt x="68180" y="105500"/>
                      </a:moveTo>
                      <a:lnTo>
                        <a:pt x="65608" y="107115"/>
                      </a:lnTo>
                      <a:lnTo>
                        <a:pt x="0" y="1615"/>
                      </a:lnTo>
                      <a:lnTo>
                        <a:pt x="2571" y="0"/>
                      </a:lnTo>
                      <a:close/>
                    </a:path>
                  </a:pathLst>
                </a:custGeom>
                <a:grpFill/>
                <a:ln w="5978" cap="flat">
                  <a:noFill/>
                  <a:prstDash val="solid"/>
                  <a:miter/>
                </a:ln>
              </p:spPr>
              <p:txBody>
                <a:bodyPr rtlCol="0" anchor="ctr"/>
                <a:lstStyle/>
                <a:p>
                  <a:endParaRPr lang="en-GB"/>
                </a:p>
              </p:txBody>
            </p:sp>
            <p:sp>
              <p:nvSpPr>
                <p:cNvPr id="3657" name="Vrije vorm: vorm 3656">
                  <a:extLst>
                    <a:ext uri="{FF2B5EF4-FFF2-40B4-BE49-F238E27FC236}">
                      <a16:creationId xmlns:a16="http://schemas.microsoft.com/office/drawing/2014/main" id="{1945629C-27A7-4568-A8F1-5370AA8AE0A3}"/>
                    </a:ext>
                  </a:extLst>
                </p:cNvPr>
                <p:cNvSpPr/>
                <p:nvPr/>
              </p:nvSpPr>
              <p:spPr>
                <a:xfrm>
                  <a:off x="7078778" y="5067826"/>
                  <a:ext cx="18288" cy="18417"/>
                </a:xfrm>
                <a:custGeom>
                  <a:avLst/>
                  <a:gdLst>
                    <a:gd name="connsiteX0" fmla="*/ 16889 w 18288"/>
                    <a:gd name="connsiteY0" fmla="*/ 4344 h 18417"/>
                    <a:gd name="connsiteX1" fmla="*/ 14019 w 18288"/>
                    <a:gd name="connsiteY1" fmla="*/ 17023 h 18417"/>
                    <a:gd name="connsiteX2" fmla="*/ 1399 w 18288"/>
                    <a:gd name="connsiteY2" fmla="*/ 14033 h 18417"/>
                    <a:gd name="connsiteX3" fmla="*/ 4270 w 18288"/>
                    <a:gd name="connsiteY3" fmla="*/ 1354 h 18417"/>
                    <a:gd name="connsiteX4" fmla="*/ 16889 w 18288"/>
                    <a:gd name="connsiteY4" fmla="*/ 4344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17">
                      <a:moveTo>
                        <a:pt x="16889" y="4344"/>
                      </a:moveTo>
                      <a:cubicBezTo>
                        <a:pt x="19581" y="8650"/>
                        <a:pt x="18265" y="14332"/>
                        <a:pt x="14019" y="17023"/>
                      </a:cubicBezTo>
                      <a:cubicBezTo>
                        <a:pt x="9713" y="19714"/>
                        <a:pt x="4090" y="18399"/>
                        <a:pt x="1399" y="14033"/>
                      </a:cubicBezTo>
                      <a:cubicBezTo>
                        <a:pt x="-1292" y="9727"/>
                        <a:pt x="24" y="4045"/>
                        <a:pt x="4270" y="1354"/>
                      </a:cubicBezTo>
                      <a:cubicBezTo>
                        <a:pt x="8516" y="-1278"/>
                        <a:pt x="14198" y="38"/>
                        <a:pt x="16889" y="4344"/>
                      </a:cubicBezTo>
                      <a:close/>
                    </a:path>
                  </a:pathLst>
                </a:custGeom>
                <a:grpFill/>
                <a:ln w="5978" cap="flat">
                  <a:noFill/>
                  <a:prstDash val="solid"/>
                  <a:miter/>
                </a:ln>
              </p:spPr>
              <p:txBody>
                <a:bodyPr rtlCol="0" anchor="ctr"/>
                <a:lstStyle/>
                <a:p>
                  <a:endParaRPr lang="en-GB"/>
                </a:p>
              </p:txBody>
            </p:sp>
            <p:sp>
              <p:nvSpPr>
                <p:cNvPr id="3658" name="Vrije vorm: vorm 3657">
                  <a:extLst>
                    <a:ext uri="{FF2B5EF4-FFF2-40B4-BE49-F238E27FC236}">
                      <a16:creationId xmlns:a16="http://schemas.microsoft.com/office/drawing/2014/main" id="{2AA8C2BA-C13E-4408-B834-B467213ABB13}"/>
                    </a:ext>
                  </a:extLst>
                </p:cNvPr>
                <p:cNvSpPr/>
                <p:nvPr/>
              </p:nvSpPr>
              <p:spPr>
                <a:xfrm>
                  <a:off x="7013574" y="4963104"/>
                  <a:ext cx="18318" cy="18376"/>
                </a:xfrm>
                <a:custGeom>
                  <a:avLst/>
                  <a:gdLst>
                    <a:gd name="connsiteX0" fmla="*/ 16904 w 18318"/>
                    <a:gd name="connsiteY0" fmla="*/ 4344 h 18376"/>
                    <a:gd name="connsiteX1" fmla="*/ 4285 w 18318"/>
                    <a:gd name="connsiteY1" fmla="*/ 1354 h 18376"/>
                    <a:gd name="connsiteX2" fmla="*/ 1414 w 18318"/>
                    <a:gd name="connsiteY2" fmla="*/ 14033 h 18376"/>
                    <a:gd name="connsiteX3" fmla="*/ 14033 w 18318"/>
                    <a:gd name="connsiteY3" fmla="*/ 17023 h 18376"/>
                    <a:gd name="connsiteX4" fmla="*/ 16904 w 18318"/>
                    <a:gd name="connsiteY4" fmla="*/ 4344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76">
                      <a:moveTo>
                        <a:pt x="16904" y="4344"/>
                      </a:moveTo>
                      <a:cubicBezTo>
                        <a:pt x="14213" y="38"/>
                        <a:pt x="8531" y="-1278"/>
                        <a:pt x="4285" y="1354"/>
                      </a:cubicBezTo>
                      <a:cubicBezTo>
                        <a:pt x="-21" y="4045"/>
                        <a:pt x="-1277" y="9727"/>
                        <a:pt x="1414" y="14033"/>
                      </a:cubicBezTo>
                      <a:cubicBezTo>
                        <a:pt x="4106" y="18339"/>
                        <a:pt x="9787" y="19654"/>
                        <a:pt x="14033" y="17023"/>
                      </a:cubicBezTo>
                      <a:cubicBezTo>
                        <a:pt x="18340" y="14391"/>
                        <a:pt x="19596" y="8710"/>
                        <a:pt x="16904" y="4344"/>
                      </a:cubicBezTo>
                      <a:close/>
                    </a:path>
                  </a:pathLst>
                </a:custGeom>
                <a:grpFill/>
                <a:ln w="5978" cap="flat">
                  <a:noFill/>
                  <a:prstDash val="solid"/>
                  <a:miter/>
                </a:ln>
              </p:spPr>
              <p:txBody>
                <a:bodyPr rtlCol="0" anchor="ctr"/>
                <a:lstStyle/>
                <a:p>
                  <a:endParaRPr lang="en-GB"/>
                </a:p>
              </p:txBody>
            </p:sp>
          </p:grpSp>
          <p:grpSp>
            <p:nvGrpSpPr>
              <p:cNvPr id="578" name="Graphic 3">
                <a:extLst>
                  <a:ext uri="{FF2B5EF4-FFF2-40B4-BE49-F238E27FC236}">
                    <a16:creationId xmlns:a16="http://schemas.microsoft.com/office/drawing/2014/main" id="{320CFFBD-4A0B-4E85-8B88-C703721641EC}"/>
                  </a:ext>
                </a:extLst>
              </p:cNvPr>
              <p:cNvGrpSpPr/>
              <p:nvPr/>
            </p:nvGrpSpPr>
            <p:grpSpPr>
              <a:xfrm>
                <a:off x="6970388" y="4834112"/>
                <a:ext cx="86988" cy="124285"/>
                <a:chOff x="6970388" y="4834112"/>
                <a:chExt cx="86988" cy="124285"/>
              </a:xfrm>
              <a:grpFill/>
            </p:grpSpPr>
            <p:sp>
              <p:nvSpPr>
                <p:cNvPr id="3653" name="Vrije vorm: vorm 3652">
                  <a:extLst>
                    <a:ext uri="{FF2B5EF4-FFF2-40B4-BE49-F238E27FC236}">
                      <a16:creationId xmlns:a16="http://schemas.microsoft.com/office/drawing/2014/main" id="{8814621E-816B-4ECD-AA4D-7468362BF0BB}"/>
                    </a:ext>
                  </a:extLst>
                </p:cNvPr>
                <p:cNvSpPr/>
                <p:nvPr/>
              </p:nvSpPr>
              <p:spPr>
                <a:xfrm>
                  <a:off x="6978087" y="4842152"/>
                  <a:ext cx="71648" cy="108251"/>
                </a:xfrm>
                <a:custGeom>
                  <a:avLst/>
                  <a:gdLst>
                    <a:gd name="connsiteX0" fmla="*/ 71649 w 71648"/>
                    <a:gd name="connsiteY0" fmla="*/ 106576 h 108251"/>
                    <a:gd name="connsiteX1" fmla="*/ 69077 w 71648"/>
                    <a:gd name="connsiteY1" fmla="*/ 108251 h 108251"/>
                    <a:gd name="connsiteX2" fmla="*/ 0 w 71648"/>
                    <a:gd name="connsiteY2" fmla="*/ 1615 h 108251"/>
                    <a:gd name="connsiteX3" fmla="*/ 2511 w 71648"/>
                    <a:gd name="connsiteY3" fmla="*/ 0 h 108251"/>
                  </a:gdLst>
                  <a:ahLst/>
                  <a:cxnLst>
                    <a:cxn ang="0">
                      <a:pos x="connsiteX0" y="connsiteY0"/>
                    </a:cxn>
                    <a:cxn ang="0">
                      <a:pos x="connsiteX1" y="connsiteY1"/>
                    </a:cxn>
                    <a:cxn ang="0">
                      <a:pos x="connsiteX2" y="connsiteY2"/>
                    </a:cxn>
                    <a:cxn ang="0">
                      <a:pos x="connsiteX3" y="connsiteY3"/>
                    </a:cxn>
                  </a:cxnLst>
                  <a:rect l="l" t="t" r="r" b="b"/>
                  <a:pathLst>
                    <a:path w="71648" h="108251">
                      <a:moveTo>
                        <a:pt x="71649" y="106576"/>
                      </a:moveTo>
                      <a:lnTo>
                        <a:pt x="69077" y="108251"/>
                      </a:lnTo>
                      <a:lnTo>
                        <a:pt x="0" y="1615"/>
                      </a:lnTo>
                      <a:lnTo>
                        <a:pt x="2511" y="0"/>
                      </a:lnTo>
                      <a:close/>
                    </a:path>
                  </a:pathLst>
                </a:custGeom>
                <a:grpFill/>
                <a:ln w="5978" cap="flat">
                  <a:noFill/>
                  <a:prstDash val="solid"/>
                  <a:miter/>
                </a:ln>
              </p:spPr>
              <p:txBody>
                <a:bodyPr rtlCol="0" anchor="ctr"/>
                <a:lstStyle/>
                <a:p>
                  <a:endParaRPr lang="en-GB"/>
                </a:p>
              </p:txBody>
            </p:sp>
            <p:sp>
              <p:nvSpPr>
                <p:cNvPr id="3654" name="Vrije vorm: vorm 3653">
                  <a:extLst>
                    <a:ext uri="{FF2B5EF4-FFF2-40B4-BE49-F238E27FC236}">
                      <a16:creationId xmlns:a16="http://schemas.microsoft.com/office/drawing/2014/main" id="{1BC568DA-9C8F-4076-8270-72EA0E2E879E}"/>
                    </a:ext>
                  </a:extLst>
                </p:cNvPr>
                <p:cNvSpPr/>
                <p:nvPr/>
              </p:nvSpPr>
              <p:spPr>
                <a:xfrm>
                  <a:off x="7039104" y="4939971"/>
                  <a:ext cx="18273" cy="18426"/>
                </a:xfrm>
                <a:custGeom>
                  <a:avLst/>
                  <a:gdLst>
                    <a:gd name="connsiteX0" fmla="*/ 16792 w 18273"/>
                    <a:gd name="connsiteY0" fmla="*/ 4212 h 18426"/>
                    <a:gd name="connsiteX1" fmla="*/ 14160 w 18273"/>
                    <a:gd name="connsiteY1" fmla="*/ 16951 h 18426"/>
                    <a:gd name="connsiteX2" fmla="*/ 1481 w 18273"/>
                    <a:gd name="connsiteY2" fmla="*/ 14200 h 18426"/>
                    <a:gd name="connsiteX3" fmla="*/ 4112 w 18273"/>
                    <a:gd name="connsiteY3" fmla="*/ 1461 h 18426"/>
                    <a:gd name="connsiteX4" fmla="*/ 16792 w 18273"/>
                    <a:gd name="connsiteY4" fmla="*/ 421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26">
                      <a:moveTo>
                        <a:pt x="16792" y="4212"/>
                      </a:moveTo>
                      <a:cubicBezTo>
                        <a:pt x="19543" y="8458"/>
                        <a:pt x="18347" y="14200"/>
                        <a:pt x="14160" y="16951"/>
                      </a:cubicBezTo>
                      <a:cubicBezTo>
                        <a:pt x="9914" y="19702"/>
                        <a:pt x="4232" y="18506"/>
                        <a:pt x="1481" y="14200"/>
                      </a:cubicBezTo>
                      <a:cubicBezTo>
                        <a:pt x="-1270" y="9953"/>
                        <a:pt x="-74" y="4212"/>
                        <a:pt x="4112" y="1461"/>
                      </a:cubicBezTo>
                      <a:cubicBezTo>
                        <a:pt x="8299" y="-1290"/>
                        <a:pt x="13981" y="-34"/>
                        <a:pt x="16792" y="4212"/>
                      </a:cubicBezTo>
                      <a:close/>
                    </a:path>
                  </a:pathLst>
                </a:custGeom>
                <a:grpFill/>
                <a:ln w="5978" cap="flat">
                  <a:noFill/>
                  <a:prstDash val="solid"/>
                  <a:miter/>
                </a:ln>
              </p:spPr>
              <p:txBody>
                <a:bodyPr rtlCol="0" anchor="ctr"/>
                <a:lstStyle/>
                <a:p>
                  <a:endParaRPr lang="en-GB"/>
                </a:p>
              </p:txBody>
            </p:sp>
            <p:sp>
              <p:nvSpPr>
                <p:cNvPr id="3655" name="Vrije vorm: vorm 3654">
                  <a:extLst>
                    <a:ext uri="{FF2B5EF4-FFF2-40B4-BE49-F238E27FC236}">
                      <a16:creationId xmlns:a16="http://schemas.microsoft.com/office/drawing/2014/main" id="{19B1FDC5-C864-4FC5-9BC7-9E086C1110EC}"/>
                    </a:ext>
                  </a:extLst>
                </p:cNvPr>
                <p:cNvSpPr/>
                <p:nvPr/>
              </p:nvSpPr>
              <p:spPr>
                <a:xfrm>
                  <a:off x="6970388" y="4834112"/>
                  <a:ext cx="18368" cy="18411"/>
                </a:xfrm>
                <a:custGeom>
                  <a:avLst/>
                  <a:gdLst>
                    <a:gd name="connsiteX0" fmla="*/ 16849 w 18368"/>
                    <a:gd name="connsiteY0" fmla="*/ 4212 h 18411"/>
                    <a:gd name="connsiteX1" fmla="*/ 4169 w 18368"/>
                    <a:gd name="connsiteY1" fmla="*/ 1461 h 18411"/>
                    <a:gd name="connsiteX2" fmla="*/ 1478 w 18368"/>
                    <a:gd name="connsiteY2" fmla="*/ 14200 h 18411"/>
                    <a:gd name="connsiteX3" fmla="*/ 14158 w 18368"/>
                    <a:gd name="connsiteY3" fmla="*/ 16951 h 18411"/>
                    <a:gd name="connsiteX4" fmla="*/ 16849 w 18368"/>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11">
                      <a:moveTo>
                        <a:pt x="16849" y="4212"/>
                      </a:moveTo>
                      <a:cubicBezTo>
                        <a:pt x="14098" y="-34"/>
                        <a:pt x="8416" y="-1291"/>
                        <a:pt x="4169" y="1461"/>
                      </a:cubicBezTo>
                      <a:cubicBezTo>
                        <a:pt x="-77" y="4212"/>
                        <a:pt x="-1272" y="9953"/>
                        <a:pt x="1478" y="14200"/>
                      </a:cubicBezTo>
                      <a:cubicBezTo>
                        <a:pt x="4229" y="18446"/>
                        <a:pt x="9911" y="19702"/>
                        <a:pt x="14158" y="16951"/>
                      </a:cubicBezTo>
                      <a:cubicBezTo>
                        <a:pt x="18463" y="14200"/>
                        <a:pt x="19660" y="8518"/>
                        <a:pt x="16849" y="4212"/>
                      </a:cubicBezTo>
                      <a:close/>
                    </a:path>
                  </a:pathLst>
                </a:custGeom>
                <a:grpFill/>
                <a:ln w="5978" cap="flat">
                  <a:noFill/>
                  <a:prstDash val="solid"/>
                  <a:miter/>
                </a:ln>
              </p:spPr>
              <p:txBody>
                <a:bodyPr rtlCol="0" anchor="ctr"/>
                <a:lstStyle/>
                <a:p>
                  <a:endParaRPr lang="en-GB"/>
                </a:p>
              </p:txBody>
            </p:sp>
          </p:grpSp>
          <p:grpSp>
            <p:nvGrpSpPr>
              <p:cNvPr id="579" name="Graphic 3">
                <a:extLst>
                  <a:ext uri="{FF2B5EF4-FFF2-40B4-BE49-F238E27FC236}">
                    <a16:creationId xmlns:a16="http://schemas.microsoft.com/office/drawing/2014/main" id="{2C6FA1E8-8406-4537-A4A3-D9927EFCA0DA}"/>
                  </a:ext>
                </a:extLst>
              </p:cNvPr>
              <p:cNvGrpSpPr/>
              <p:nvPr/>
            </p:nvGrpSpPr>
            <p:grpSpPr>
              <a:xfrm>
                <a:off x="5776194" y="1192411"/>
                <a:ext cx="36207" cy="165376"/>
                <a:chOff x="5776194" y="1192411"/>
                <a:chExt cx="36207" cy="165376"/>
              </a:xfrm>
              <a:grpFill/>
            </p:grpSpPr>
            <p:sp>
              <p:nvSpPr>
                <p:cNvPr id="3650" name="Vrije vorm: vorm 3649">
                  <a:extLst>
                    <a:ext uri="{FF2B5EF4-FFF2-40B4-BE49-F238E27FC236}">
                      <a16:creationId xmlns:a16="http://schemas.microsoft.com/office/drawing/2014/main" id="{51B3CBEF-E2DD-4B04-AE72-7DF0E07036DC}"/>
                    </a:ext>
                  </a:extLst>
                </p:cNvPr>
                <p:cNvSpPr/>
                <p:nvPr/>
              </p:nvSpPr>
              <p:spPr>
                <a:xfrm>
                  <a:off x="5783736" y="1200969"/>
                  <a:ext cx="21052" cy="148262"/>
                </a:xfrm>
                <a:custGeom>
                  <a:avLst/>
                  <a:gdLst>
                    <a:gd name="connsiteX0" fmla="*/ 3050 w 21052"/>
                    <a:gd name="connsiteY0" fmla="*/ 0 h 148262"/>
                    <a:gd name="connsiteX1" fmla="*/ 21052 w 21052"/>
                    <a:gd name="connsiteY1" fmla="*/ 147903 h 148262"/>
                    <a:gd name="connsiteX2" fmla="*/ 18062 w 21052"/>
                    <a:gd name="connsiteY2" fmla="*/ 148262 h 148262"/>
                    <a:gd name="connsiteX3" fmla="*/ 0 w 21052"/>
                    <a:gd name="connsiteY3" fmla="*/ 359 h 148262"/>
                  </a:gdLst>
                  <a:ahLst/>
                  <a:cxnLst>
                    <a:cxn ang="0">
                      <a:pos x="connsiteX0" y="connsiteY0"/>
                    </a:cxn>
                    <a:cxn ang="0">
                      <a:pos x="connsiteX1" y="connsiteY1"/>
                    </a:cxn>
                    <a:cxn ang="0">
                      <a:pos x="connsiteX2" y="connsiteY2"/>
                    </a:cxn>
                    <a:cxn ang="0">
                      <a:pos x="connsiteX3" y="connsiteY3"/>
                    </a:cxn>
                  </a:cxnLst>
                  <a:rect l="l" t="t" r="r" b="b"/>
                  <a:pathLst>
                    <a:path w="21052" h="148262">
                      <a:moveTo>
                        <a:pt x="3050" y="0"/>
                      </a:moveTo>
                      <a:lnTo>
                        <a:pt x="21052" y="147903"/>
                      </a:lnTo>
                      <a:lnTo>
                        <a:pt x="18062" y="148262"/>
                      </a:lnTo>
                      <a:lnTo>
                        <a:pt x="0" y="359"/>
                      </a:lnTo>
                      <a:close/>
                    </a:path>
                  </a:pathLst>
                </a:custGeom>
                <a:grpFill/>
                <a:ln w="5978" cap="flat">
                  <a:noFill/>
                  <a:prstDash val="solid"/>
                  <a:miter/>
                </a:ln>
              </p:spPr>
              <p:txBody>
                <a:bodyPr rtlCol="0" anchor="ctr"/>
                <a:lstStyle/>
                <a:p>
                  <a:endParaRPr lang="en-GB"/>
                </a:p>
              </p:txBody>
            </p:sp>
            <p:sp>
              <p:nvSpPr>
                <p:cNvPr id="3651" name="Vrije vorm: vorm 3650">
                  <a:extLst>
                    <a:ext uri="{FF2B5EF4-FFF2-40B4-BE49-F238E27FC236}">
                      <a16:creationId xmlns:a16="http://schemas.microsoft.com/office/drawing/2014/main" id="{401EEAC5-0068-4F0A-877C-D058882CF420}"/>
                    </a:ext>
                  </a:extLst>
                </p:cNvPr>
                <p:cNvSpPr/>
                <p:nvPr/>
              </p:nvSpPr>
              <p:spPr>
                <a:xfrm>
                  <a:off x="5776194" y="1192411"/>
                  <a:ext cx="18313" cy="18431"/>
                </a:xfrm>
                <a:custGeom>
                  <a:avLst/>
                  <a:gdLst>
                    <a:gd name="connsiteX0" fmla="*/ 66 w 18313"/>
                    <a:gd name="connsiteY0" fmla="*/ 10292 h 18431"/>
                    <a:gd name="connsiteX1" fmla="*/ 8020 w 18313"/>
                    <a:gd name="connsiteY1" fmla="*/ 65 h 18431"/>
                    <a:gd name="connsiteX2" fmla="*/ 18248 w 18313"/>
                    <a:gd name="connsiteY2" fmla="*/ 8139 h 18431"/>
                    <a:gd name="connsiteX3" fmla="*/ 10293 w 18313"/>
                    <a:gd name="connsiteY3" fmla="*/ 18366 h 18431"/>
                    <a:gd name="connsiteX4" fmla="*/ 66 w 18313"/>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66" y="10292"/>
                      </a:moveTo>
                      <a:cubicBezTo>
                        <a:pt x="-532" y="5268"/>
                        <a:pt x="2997" y="663"/>
                        <a:pt x="8020" y="65"/>
                      </a:cubicBezTo>
                      <a:cubicBezTo>
                        <a:pt x="13044" y="-533"/>
                        <a:pt x="17589" y="3055"/>
                        <a:pt x="18248" y="8139"/>
                      </a:cubicBezTo>
                      <a:cubicBezTo>
                        <a:pt x="18846" y="13163"/>
                        <a:pt x="15317" y="17768"/>
                        <a:pt x="10293" y="18366"/>
                      </a:cubicBezTo>
                      <a:cubicBezTo>
                        <a:pt x="5209" y="18964"/>
                        <a:pt x="664" y="15376"/>
                        <a:pt x="66" y="10292"/>
                      </a:cubicBezTo>
                      <a:close/>
                    </a:path>
                  </a:pathLst>
                </a:custGeom>
                <a:grpFill/>
                <a:ln w="5978" cap="flat">
                  <a:noFill/>
                  <a:prstDash val="solid"/>
                  <a:miter/>
                </a:ln>
              </p:spPr>
              <p:txBody>
                <a:bodyPr rtlCol="0" anchor="ctr"/>
                <a:lstStyle/>
                <a:p>
                  <a:endParaRPr lang="en-GB"/>
                </a:p>
              </p:txBody>
            </p:sp>
            <p:sp>
              <p:nvSpPr>
                <p:cNvPr id="3652" name="Vrije vorm: vorm 3651">
                  <a:extLst>
                    <a:ext uri="{FF2B5EF4-FFF2-40B4-BE49-F238E27FC236}">
                      <a16:creationId xmlns:a16="http://schemas.microsoft.com/office/drawing/2014/main" id="{15426CDE-ED04-4681-80CF-D9113AFDB9FD}"/>
                    </a:ext>
                  </a:extLst>
                </p:cNvPr>
                <p:cNvSpPr/>
                <p:nvPr/>
              </p:nvSpPr>
              <p:spPr>
                <a:xfrm>
                  <a:off x="5794077" y="1339358"/>
                  <a:ext cx="18325" cy="18429"/>
                </a:xfrm>
                <a:custGeom>
                  <a:avLst/>
                  <a:gdLst>
                    <a:gd name="connsiteX0" fmla="*/ 66 w 18325"/>
                    <a:gd name="connsiteY0" fmla="*/ 10291 h 18429"/>
                    <a:gd name="connsiteX1" fmla="*/ 10293 w 18325"/>
                    <a:gd name="connsiteY1" fmla="*/ 18365 h 18429"/>
                    <a:gd name="connsiteX2" fmla="*/ 18248 w 18325"/>
                    <a:gd name="connsiteY2" fmla="*/ 8138 h 18429"/>
                    <a:gd name="connsiteX3" fmla="*/ 8020 w 18325"/>
                    <a:gd name="connsiteY3" fmla="*/ 64 h 18429"/>
                    <a:gd name="connsiteX4" fmla="*/ 66 w 18325"/>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9">
                      <a:moveTo>
                        <a:pt x="66" y="10291"/>
                      </a:moveTo>
                      <a:cubicBezTo>
                        <a:pt x="664" y="15315"/>
                        <a:pt x="5269" y="18963"/>
                        <a:pt x="10293" y="18365"/>
                      </a:cubicBezTo>
                      <a:cubicBezTo>
                        <a:pt x="15317" y="17767"/>
                        <a:pt x="18905" y="13162"/>
                        <a:pt x="18248" y="8138"/>
                      </a:cubicBezTo>
                      <a:cubicBezTo>
                        <a:pt x="17649" y="3114"/>
                        <a:pt x="13044" y="-534"/>
                        <a:pt x="8020" y="64"/>
                      </a:cubicBezTo>
                      <a:cubicBezTo>
                        <a:pt x="2997" y="662"/>
                        <a:pt x="-532" y="5267"/>
                        <a:pt x="66" y="10291"/>
                      </a:cubicBezTo>
                      <a:close/>
                    </a:path>
                  </a:pathLst>
                </a:custGeom>
                <a:grpFill/>
                <a:ln w="5978" cap="flat">
                  <a:noFill/>
                  <a:prstDash val="solid"/>
                  <a:miter/>
                </a:ln>
              </p:spPr>
              <p:txBody>
                <a:bodyPr rtlCol="0" anchor="ctr"/>
                <a:lstStyle/>
                <a:p>
                  <a:endParaRPr lang="en-GB"/>
                </a:p>
              </p:txBody>
            </p:sp>
          </p:grpSp>
          <p:grpSp>
            <p:nvGrpSpPr>
              <p:cNvPr id="580" name="Graphic 3">
                <a:extLst>
                  <a:ext uri="{FF2B5EF4-FFF2-40B4-BE49-F238E27FC236}">
                    <a16:creationId xmlns:a16="http://schemas.microsoft.com/office/drawing/2014/main" id="{16F13F82-E5C8-4347-A1DD-F47832C6471B}"/>
                  </a:ext>
                </a:extLst>
              </p:cNvPr>
              <p:cNvGrpSpPr/>
              <p:nvPr/>
            </p:nvGrpSpPr>
            <p:grpSpPr>
              <a:xfrm>
                <a:off x="7041523" y="5076175"/>
                <a:ext cx="88239" cy="135648"/>
                <a:chOff x="7041523" y="5076175"/>
                <a:chExt cx="88239" cy="135648"/>
              </a:xfrm>
              <a:grpFill/>
            </p:grpSpPr>
            <p:sp>
              <p:nvSpPr>
                <p:cNvPr id="3647" name="Vrije vorm: vorm 3646">
                  <a:extLst>
                    <a:ext uri="{FF2B5EF4-FFF2-40B4-BE49-F238E27FC236}">
                      <a16:creationId xmlns:a16="http://schemas.microsoft.com/office/drawing/2014/main" id="{39C2F602-4019-4E36-9BB6-3878EC61EEA0}"/>
                    </a:ext>
                  </a:extLst>
                </p:cNvPr>
                <p:cNvSpPr/>
                <p:nvPr/>
              </p:nvSpPr>
              <p:spPr>
                <a:xfrm>
                  <a:off x="7049137" y="5084251"/>
                  <a:ext cx="73025" cy="119494"/>
                </a:xfrm>
                <a:custGeom>
                  <a:avLst/>
                  <a:gdLst>
                    <a:gd name="connsiteX0" fmla="*/ 73025 w 73025"/>
                    <a:gd name="connsiteY0" fmla="*/ 117940 h 119494"/>
                    <a:gd name="connsiteX1" fmla="*/ 70393 w 73025"/>
                    <a:gd name="connsiteY1" fmla="*/ 119495 h 119494"/>
                    <a:gd name="connsiteX2" fmla="*/ 0 w 73025"/>
                    <a:gd name="connsiteY2" fmla="*/ 1555 h 119494"/>
                    <a:gd name="connsiteX3" fmla="*/ 2632 w 73025"/>
                    <a:gd name="connsiteY3" fmla="*/ 0 h 119494"/>
                  </a:gdLst>
                  <a:ahLst/>
                  <a:cxnLst>
                    <a:cxn ang="0">
                      <a:pos x="connsiteX0" y="connsiteY0"/>
                    </a:cxn>
                    <a:cxn ang="0">
                      <a:pos x="connsiteX1" y="connsiteY1"/>
                    </a:cxn>
                    <a:cxn ang="0">
                      <a:pos x="connsiteX2" y="connsiteY2"/>
                    </a:cxn>
                    <a:cxn ang="0">
                      <a:pos x="connsiteX3" y="connsiteY3"/>
                    </a:cxn>
                  </a:cxnLst>
                  <a:rect l="l" t="t" r="r" b="b"/>
                  <a:pathLst>
                    <a:path w="73025" h="119494">
                      <a:moveTo>
                        <a:pt x="73025" y="117940"/>
                      </a:moveTo>
                      <a:lnTo>
                        <a:pt x="70393" y="119495"/>
                      </a:lnTo>
                      <a:lnTo>
                        <a:pt x="0" y="1555"/>
                      </a:lnTo>
                      <a:lnTo>
                        <a:pt x="2632" y="0"/>
                      </a:lnTo>
                      <a:close/>
                    </a:path>
                  </a:pathLst>
                </a:custGeom>
                <a:grpFill/>
                <a:ln w="5978" cap="flat">
                  <a:noFill/>
                  <a:prstDash val="solid"/>
                  <a:miter/>
                </a:ln>
              </p:spPr>
              <p:txBody>
                <a:bodyPr rtlCol="0" anchor="ctr"/>
                <a:lstStyle/>
                <a:p>
                  <a:endParaRPr lang="en-GB"/>
                </a:p>
              </p:txBody>
            </p:sp>
            <p:sp>
              <p:nvSpPr>
                <p:cNvPr id="3648" name="Vrije vorm: vorm 3647">
                  <a:extLst>
                    <a:ext uri="{FF2B5EF4-FFF2-40B4-BE49-F238E27FC236}">
                      <a16:creationId xmlns:a16="http://schemas.microsoft.com/office/drawing/2014/main" id="{E9A887AC-79DC-425D-856D-4E90157F158D}"/>
                    </a:ext>
                  </a:extLst>
                </p:cNvPr>
                <p:cNvSpPr/>
                <p:nvPr/>
              </p:nvSpPr>
              <p:spPr>
                <a:xfrm>
                  <a:off x="7111452" y="5193397"/>
                  <a:ext cx="18311" cy="18426"/>
                </a:xfrm>
                <a:custGeom>
                  <a:avLst/>
                  <a:gdLst>
                    <a:gd name="connsiteX0" fmla="*/ 16990 w 18311"/>
                    <a:gd name="connsiteY0" fmla="*/ 4488 h 18426"/>
                    <a:gd name="connsiteX1" fmla="*/ 13881 w 18311"/>
                    <a:gd name="connsiteY1" fmla="*/ 17108 h 18426"/>
                    <a:gd name="connsiteX2" fmla="*/ 1321 w 18311"/>
                    <a:gd name="connsiteY2" fmla="*/ 13938 h 18426"/>
                    <a:gd name="connsiteX3" fmla="*/ 4431 w 18311"/>
                    <a:gd name="connsiteY3" fmla="*/ 1318 h 18426"/>
                    <a:gd name="connsiteX4" fmla="*/ 16990 w 18311"/>
                    <a:gd name="connsiteY4" fmla="*/ 448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6">
                      <a:moveTo>
                        <a:pt x="16990" y="4488"/>
                      </a:moveTo>
                      <a:cubicBezTo>
                        <a:pt x="19622" y="8854"/>
                        <a:pt x="18187" y="14536"/>
                        <a:pt x="13881" y="17108"/>
                      </a:cubicBezTo>
                      <a:cubicBezTo>
                        <a:pt x="9514" y="19739"/>
                        <a:pt x="3893" y="18304"/>
                        <a:pt x="1321" y="13938"/>
                      </a:cubicBezTo>
                      <a:cubicBezTo>
                        <a:pt x="-1311" y="9572"/>
                        <a:pt x="125" y="3890"/>
                        <a:pt x="4431" y="1318"/>
                      </a:cubicBezTo>
                      <a:cubicBezTo>
                        <a:pt x="8737" y="-1313"/>
                        <a:pt x="14359" y="122"/>
                        <a:pt x="16990" y="4488"/>
                      </a:cubicBezTo>
                      <a:close/>
                    </a:path>
                  </a:pathLst>
                </a:custGeom>
                <a:grpFill/>
                <a:ln w="5978" cap="flat">
                  <a:noFill/>
                  <a:prstDash val="solid"/>
                  <a:miter/>
                </a:ln>
              </p:spPr>
              <p:txBody>
                <a:bodyPr rtlCol="0" anchor="ctr"/>
                <a:lstStyle/>
                <a:p>
                  <a:endParaRPr lang="en-GB"/>
                </a:p>
              </p:txBody>
            </p:sp>
            <p:sp>
              <p:nvSpPr>
                <p:cNvPr id="3649" name="Vrije vorm: vorm 3648">
                  <a:extLst>
                    <a:ext uri="{FF2B5EF4-FFF2-40B4-BE49-F238E27FC236}">
                      <a16:creationId xmlns:a16="http://schemas.microsoft.com/office/drawing/2014/main" id="{3BF420D1-CF8D-4753-8615-037957E80DAC}"/>
                    </a:ext>
                  </a:extLst>
                </p:cNvPr>
                <p:cNvSpPr/>
                <p:nvPr/>
              </p:nvSpPr>
              <p:spPr>
                <a:xfrm>
                  <a:off x="7041523" y="5076175"/>
                  <a:ext cx="18324" cy="18425"/>
                </a:xfrm>
                <a:custGeom>
                  <a:avLst/>
                  <a:gdLst>
                    <a:gd name="connsiteX0" fmla="*/ 17004 w 18324"/>
                    <a:gd name="connsiteY0" fmla="*/ 4488 h 18425"/>
                    <a:gd name="connsiteX1" fmla="*/ 4445 w 18324"/>
                    <a:gd name="connsiteY1" fmla="*/ 1318 h 18425"/>
                    <a:gd name="connsiteX2" fmla="*/ 1335 w 18324"/>
                    <a:gd name="connsiteY2" fmla="*/ 13938 h 18425"/>
                    <a:gd name="connsiteX3" fmla="*/ 13894 w 18324"/>
                    <a:gd name="connsiteY3" fmla="*/ 17107 h 18425"/>
                    <a:gd name="connsiteX4" fmla="*/ 17004 w 18324"/>
                    <a:gd name="connsiteY4" fmla="*/ 448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7004" y="4488"/>
                      </a:moveTo>
                      <a:cubicBezTo>
                        <a:pt x="14372" y="122"/>
                        <a:pt x="8751" y="-1313"/>
                        <a:pt x="4445" y="1318"/>
                      </a:cubicBezTo>
                      <a:cubicBezTo>
                        <a:pt x="79" y="3950"/>
                        <a:pt x="-1297" y="9572"/>
                        <a:pt x="1335" y="13938"/>
                      </a:cubicBezTo>
                      <a:cubicBezTo>
                        <a:pt x="3966" y="18303"/>
                        <a:pt x="9588" y="19739"/>
                        <a:pt x="13894" y="17107"/>
                      </a:cubicBezTo>
                      <a:cubicBezTo>
                        <a:pt x="18200" y="14536"/>
                        <a:pt x="19635" y="8914"/>
                        <a:pt x="17004" y="4488"/>
                      </a:cubicBezTo>
                      <a:close/>
                    </a:path>
                  </a:pathLst>
                </a:custGeom>
                <a:grpFill/>
                <a:ln w="5978" cap="flat">
                  <a:noFill/>
                  <a:prstDash val="solid"/>
                  <a:miter/>
                </a:ln>
              </p:spPr>
              <p:txBody>
                <a:bodyPr rtlCol="0" anchor="ctr"/>
                <a:lstStyle/>
                <a:p>
                  <a:endParaRPr lang="en-GB"/>
                </a:p>
              </p:txBody>
            </p:sp>
          </p:grpSp>
          <p:grpSp>
            <p:nvGrpSpPr>
              <p:cNvPr id="581" name="Graphic 3">
                <a:extLst>
                  <a:ext uri="{FF2B5EF4-FFF2-40B4-BE49-F238E27FC236}">
                    <a16:creationId xmlns:a16="http://schemas.microsoft.com/office/drawing/2014/main" id="{CFD8A539-E565-4E69-A6AC-703E385E56CD}"/>
                  </a:ext>
                </a:extLst>
              </p:cNvPr>
              <p:cNvGrpSpPr/>
              <p:nvPr/>
            </p:nvGrpSpPr>
            <p:grpSpPr>
              <a:xfrm>
                <a:off x="5840381" y="1412226"/>
                <a:ext cx="34603" cy="175977"/>
                <a:chOff x="5840381" y="1412226"/>
                <a:chExt cx="34603" cy="175977"/>
              </a:xfrm>
              <a:grpFill/>
            </p:grpSpPr>
            <p:sp>
              <p:nvSpPr>
                <p:cNvPr id="3644" name="Vrije vorm: vorm 3643">
                  <a:extLst>
                    <a:ext uri="{FF2B5EF4-FFF2-40B4-BE49-F238E27FC236}">
                      <a16:creationId xmlns:a16="http://schemas.microsoft.com/office/drawing/2014/main" id="{4C8BA775-72D8-424F-8FBA-5DD2A9DE09C3}"/>
                    </a:ext>
                  </a:extLst>
                </p:cNvPr>
                <p:cNvSpPr/>
                <p:nvPr/>
              </p:nvSpPr>
              <p:spPr>
                <a:xfrm>
                  <a:off x="5848029" y="1420880"/>
                  <a:ext cx="19317" cy="158728"/>
                </a:xfrm>
                <a:custGeom>
                  <a:avLst/>
                  <a:gdLst>
                    <a:gd name="connsiteX0" fmla="*/ 2990 w 19317"/>
                    <a:gd name="connsiteY0" fmla="*/ 0 h 158728"/>
                    <a:gd name="connsiteX1" fmla="*/ 19318 w 19317"/>
                    <a:gd name="connsiteY1" fmla="*/ 158429 h 158728"/>
                    <a:gd name="connsiteX2" fmla="*/ 16268 w 19317"/>
                    <a:gd name="connsiteY2" fmla="*/ 158728 h 158728"/>
                    <a:gd name="connsiteX3" fmla="*/ 0 w 19317"/>
                    <a:gd name="connsiteY3" fmla="*/ 299 h 158728"/>
                  </a:gdLst>
                  <a:ahLst/>
                  <a:cxnLst>
                    <a:cxn ang="0">
                      <a:pos x="connsiteX0" y="connsiteY0"/>
                    </a:cxn>
                    <a:cxn ang="0">
                      <a:pos x="connsiteX1" y="connsiteY1"/>
                    </a:cxn>
                    <a:cxn ang="0">
                      <a:pos x="connsiteX2" y="connsiteY2"/>
                    </a:cxn>
                    <a:cxn ang="0">
                      <a:pos x="connsiteX3" y="connsiteY3"/>
                    </a:cxn>
                  </a:cxnLst>
                  <a:rect l="l" t="t" r="r" b="b"/>
                  <a:pathLst>
                    <a:path w="19317" h="158728">
                      <a:moveTo>
                        <a:pt x="2990" y="0"/>
                      </a:moveTo>
                      <a:lnTo>
                        <a:pt x="19318" y="158429"/>
                      </a:lnTo>
                      <a:lnTo>
                        <a:pt x="16268" y="158728"/>
                      </a:lnTo>
                      <a:lnTo>
                        <a:pt x="0" y="299"/>
                      </a:lnTo>
                      <a:close/>
                    </a:path>
                  </a:pathLst>
                </a:custGeom>
                <a:grpFill/>
                <a:ln w="5978" cap="flat">
                  <a:noFill/>
                  <a:prstDash val="solid"/>
                  <a:miter/>
                </a:ln>
              </p:spPr>
              <p:txBody>
                <a:bodyPr rtlCol="0" anchor="ctr"/>
                <a:lstStyle/>
                <a:p>
                  <a:endParaRPr lang="en-GB"/>
                </a:p>
              </p:txBody>
            </p:sp>
            <p:sp>
              <p:nvSpPr>
                <p:cNvPr id="3645" name="Vrije vorm: vorm 3644">
                  <a:extLst>
                    <a:ext uri="{FF2B5EF4-FFF2-40B4-BE49-F238E27FC236}">
                      <a16:creationId xmlns:a16="http://schemas.microsoft.com/office/drawing/2014/main" id="{EB4B97E7-A356-4F1A-AF1C-D1493D1B545D}"/>
                    </a:ext>
                  </a:extLst>
                </p:cNvPr>
                <p:cNvSpPr/>
                <p:nvPr/>
              </p:nvSpPr>
              <p:spPr>
                <a:xfrm>
                  <a:off x="5840381" y="1412226"/>
                  <a:ext cx="18346" cy="18445"/>
                </a:xfrm>
                <a:custGeom>
                  <a:avLst/>
                  <a:gdLst>
                    <a:gd name="connsiteX0" fmla="*/ 53 w 18346"/>
                    <a:gd name="connsiteY0" fmla="*/ 10150 h 18445"/>
                    <a:gd name="connsiteX1" fmla="*/ 8246 w 18346"/>
                    <a:gd name="connsiteY1" fmla="*/ 42 h 18445"/>
                    <a:gd name="connsiteX2" fmla="*/ 18294 w 18346"/>
                    <a:gd name="connsiteY2" fmla="*/ 8296 h 18445"/>
                    <a:gd name="connsiteX3" fmla="*/ 10100 w 18346"/>
                    <a:gd name="connsiteY3" fmla="*/ 18403 h 18445"/>
                    <a:gd name="connsiteX4" fmla="*/ 53 w 18346"/>
                    <a:gd name="connsiteY4" fmla="*/ 1015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5">
                      <a:moveTo>
                        <a:pt x="53" y="10150"/>
                      </a:moveTo>
                      <a:cubicBezTo>
                        <a:pt x="-486" y="5066"/>
                        <a:pt x="3162" y="580"/>
                        <a:pt x="8246" y="42"/>
                      </a:cubicBezTo>
                      <a:cubicBezTo>
                        <a:pt x="13270" y="-436"/>
                        <a:pt x="17755" y="3212"/>
                        <a:pt x="18294" y="8296"/>
                      </a:cubicBezTo>
                      <a:cubicBezTo>
                        <a:pt x="18832" y="13379"/>
                        <a:pt x="15184" y="17865"/>
                        <a:pt x="10100" y="18403"/>
                      </a:cubicBezTo>
                      <a:cubicBezTo>
                        <a:pt x="5076" y="18881"/>
                        <a:pt x="591" y="15233"/>
                        <a:pt x="53" y="10150"/>
                      </a:cubicBezTo>
                      <a:close/>
                    </a:path>
                  </a:pathLst>
                </a:custGeom>
                <a:grpFill/>
                <a:ln w="5978" cap="flat">
                  <a:noFill/>
                  <a:prstDash val="solid"/>
                  <a:miter/>
                </a:ln>
              </p:spPr>
              <p:txBody>
                <a:bodyPr rtlCol="0" anchor="ctr"/>
                <a:lstStyle/>
                <a:p>
                  <a:endParaRPr lang="en-GB"/>
                </a:p>
              </p:txBody>
            </p:sp>
            <p:sp>
              <p:nvSpPr>
                <p:cNvPr id="3646" name="Vrije vorm: vorm 3645">
                  <a:extLst>
                    <a:ext uri="{FF2B5EF4-FFF2-40B4-BE49-F238E27FC236}">
                      <a16:creationId xmlns:a16="http://schemas.microsoft.com/office/drawing/2014/main" id="{511169C6-463B-4BF6-B6E2-285E4DBDF84F}"/>
                    </a:ext>
                  </a:extLst>
                </p:cNvPr>
                <p:cNvSpPr/>
                <p:nvPr/>
              </p:nvSpPr>
              <p:spPr>
                <a:xfrm>
                  <a:off x="5856649" y="1569758"/>
                  <a:ext cx="18335" cy="18445"/>
                </a:xfrm>
                <a:custGeom>
                  <a:avLst/>
                  <a:gdLst>
                    <a:gd name="connsiteX0" fmla="*/ 53 w 18335"/>
                    <a:gd name="connsiteY0" fmla="*/ 10150 h 18445"/>
                    <a:gd name="connsiteX1" fmla="*/ 10100 w 18335"/>
                    <a:gd name="connsiteY1" fmla="*/ 18403 h 18445"/>
                    <a:gd name="connsiteX2" fmla="*/ 18294 w 18335"/>
                    <a:gd name="connsiteY2" fmla="*/ 8296 h 18445"/>
                    <a:gd name="connsiteX3" fmla="*/ 8246 w 18335"/>
                    <a:gd name="connsiteY3" fmla="*/ 42 h 18445"/>
                    <a:gd name="connsiteX4" fmla="*/ 53 w 18335"/>
                    <a:gd name="connsiteY4" fmla="*/ 1015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5">
                      <a:moveTo>
                        <a:pt x="53" y="10150"/>
                      </a:moveTo>
                      <a:cubicBezTo>
                        <a:pt x="591" y="15233"/>
                        <a:pt x="5077" y="18881"/>
                        <a:pt x="10100" y="18403"/>
                      </a:cubicBezTo>
                      <a:cubicBezTo>
                        <a:pt x="15124" y="17925"/>
                        <a:pt x="18772" y="13379"/>
                        <a:pt x="18294" y="8296"/>
                      </a:cubicBezTo>
                      <a:cubicBezTo>
                        <a:pt x="17756" y="3212"/>
                        <a:pt x="13270" y="-436"/>
                        <a:pt x="8246" y="42"/>
                      </a:cubicBezTo>
                      <a:cubicBezTo>
                        <a:pt x="3163" y="580"/>
                        <a:pt x="-486" y="5066"/>
                        <a:pt x="53" y="10150"/>
                      </a:cubicBezTo>
                      <a:close/>
                    </a:path>
                  </a:pathLst>
                </a:custGeom>
                <a:grpFill/>
                <a:ln w="5978" cap="flat">
                  <a:noFill/>
                  <a:prstDash val="solid"/>
                  <a:miter/>
                </a:ln>
              </p:spPr>
              <p:txBody>
                <a:bodyPr rtlCol="0" anchor="ctr"/>
                <a:lstStyle/>
                <a:p>
                  <a:endParaRPr lang="en-GB"/>
                </a:p>
              </p:txBody>
            </p:sp>
          </p:grpSp>
          <p:grpSp>
            <p:nvGrpSpPr>
              <p:cNvPr id="582" name="Graphic 3">
                <a:extLst>
                  <a:ext uri="{FF2B5EF4-FFF2-40B4-BE49-F238E27FC236}">
                    <a16:creationId xmlns:a16="http://schemas.microsoft.com/office/drawing/2014/main" id="{4A997375-FF45-4F80-94AE-9EB81F5952D6}"/>
                  </a:ext>
                </a:extLst>
              </p:cNvPr>
              <p:cNvGrpSpPr/>
              <p:nvPr/>
            </p:nvGrpSpPr>
            <p:grpSpPr>
              <a:xfrm>
                <a:off x="5865732" y="1278060"/>
                <a:ext cx="26017" cy="465540"/>
                <a:chOff x="5865732" y="1278060"/>
                <a:chExt cx="26017" cy="465540"/>
              </a:xfrm>
              <a:grpFill/>
            </p:grpSpPr>
            <p:sp>
              <p:nvSpPr>
                <p:cNvPr id="3641" name="Vrije vorm: vorm 3640">
                  <a:extLst>
                    <a:ext uri="{FF2B5EF4-FFF2-40B4-BE49-F238E27FC236}">
                      <a16:creationId xmlns:a16="http://schemas.microsoft.com/office/drawing/2014/main" id="{466B81F5-95FA-46A8-8B36-122199CA0E53}"/>
                    </a:ext>
                  </a:extLst>
                </p:cNvPr>
                <p:cNvSpPr/>
                <p:nvPr/>
              </p:nvSpPr>
              <p:spPr>
                <a:xfrm>
                  <a:off x="5873387" y="1286792"/>
                  <a:ext cx="10705" cy="448075"/>
                </a:xfrm>
                <a:custGeom>
                  <a:avLst/>
                  <a:gdLst>
                    <a:gd name="connsiteX0" fmla="*/ 3050 w 10705"/>
                    <a:gd name="connsiteY0" fmla="*/ 0 h 448075"/>
                    <a:gd name="connsiteX1" fmla="*/ 10706 w 10705"/>
                    <a:gd name="connsiteY1" fmla="*/ 448076 h 448075"/>
                    <a:gd name="connsiteX2" fmla="*/ 7656 w 10705"/>
                    <a:gd name="connsiteY2" fmla="*/ 448076 h 448075"/>
                    <a:gd name="connsiteX3" fmla="*/ 0 w 10705"/>
                    <a:gd name="connsiteY3" fmla="*/ 0 h 448075"/>
                  </a:gdLst>
                  <a:ahLst/>
                  <a:cxnLst>
                    <a:cxn ang="0">
                      <a:pos x="connsiteX0" y="connsiteY0"/>
                    </a:cxn>
                    <a:cxn ang="0">
                      <a:pos x="connsiteX1" y="connsiteY1"/>
                    </a:cxn>
                    <a:cxn ang="0">
                      <a:pos x="connsiteX2" y="connsiteY2"/>
                    </a:cxn>
                    <a:cxn ang="0">
                      <a:pos x="connsiteX3" y="connsiteY3"/>
                    </a:cxn>
                  </a:cxnLst>
                  <a:rect l="l" t="t" r="r" b="b"/>
                  <a:pathLst>
                    <a:path w="10705" h="448075">
                      <a:moveTo>
                        <a:pt x="3050" y="0"/>
                      </a:moveTo>
                      <a:lnTo>
                        <a:pt x="10706" y="448076"/>
                      </a:lnTo>
                      <a:lnTo>
                        <a:pt x="7656" y="448076"/>
                      </a:lnTo>
                      <a:lnTo>
                        <a:pt x="0" y="0"/>
                      </a:lnTo>
                      <a:close/>
                    </a:path>
                  </a:pathLst>
                </a:custGeom>
                <a:grpFill/>
                <a:ln w="5978" cap="flat">
                  <a:noFill/>
                  <a:prstDash val="solid"/>
                  <a:miter/>
                </a:ln>
              </p:spPr>
              <p:txBody>
                <a:bodyPr rtlCol="0" anchor="ctr"/>
                <a:lstStyle/>
                <a:p>
                  <a:endParaRPr lang="en-GB"/>
                </a:p>
              </p:txBody>
            </p:sp>
            <p:sp>
              <p:nvSpPr>
                <p:cNvPr id="3642" name="Vrije vorm: vorm 3641">
                  <a:extLst>
                    <a:ext uri="{FF2B5EF4-FFF2-40B4-BE49-F238E27FC236}">
                      <a16:creationId xmlns:a16="http://schemas.microsoft.com/office/drawing/2014/main" id="{1FCCB632-5AE2-4553-9C43-57D3543DB916}"/>
                    </a:ext>
                  </a:extLst>
                </p:cNvPr>
                <p:cNvSpPr/>
                <p:nvPr/>
              </p:nvSpPr>
              <p:spPr>
                <a:xfrm>
                  <a:off x="5873387" y="1725179"/>
                  <a:ext cx="18362" cy="18421"/>
                </a:xfrm>
                <a:custGeom>
                  <a:avLst/>
                  <a:gdLst>
                    <a:gd name="connsiteX0" fmla="*/ 18362 w 18362"/>
                    <a:gd name="connsiteY0" fmla="*/ 9091 h 18421"/>
                    <a:gd name="connsiteX1" fmla="*/ 9331 w 18362"/>
                    <a:gd name="connsiteY1" fmla="*/ 18421 h 18421"/>
                    <a:gd name="connsiteX2" fmla="*/ 1 w 18362"/>
                    <a:gd name="connsiteY2" fmla="*/ 9331 h 18421"/>
                    <a:gd name="connsiteX3" fmla="*/ 9032 w 18362"/>
                    <a:gd name="connsiteY3" fmla="*/ 1 h 18421"/>
                    <a:gd name="connsiteX4" fmla="*/ 18362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8362" y="9091"/>
                      </a:moveTo>
                      <a:cubicBezTo>
                        <a:pt x="18421" y="14175"/>
                        <a:pt x="14414" y="18362"/>
                        <a:pt x="9331" y="18421"/>
                      </a:cubicBezTo>
                      <a:cubicBezTo>
                        <a:pt x="4247" y="18481"/>
                        <a:pt x="120" y="14414"/>
                        <a:pt x="1" y="9331"/>
                      </a:cubicBezTo>
                      <a:cubicBezTo>
                        <a:pt x="-59" y="4247"/>
                        <a:pt x="3948" y="61"/>
                        <a:pt x="9032" y="1"/>
                      </a:cubicBezTo>
                      <a:cubicBezTo>
                        <a:pt x="14115" y="-59"/>
                        <a:pt x="18302" y="4008"/>
                        <a:pt x="18362" y="9091"/>
                      </a:cubicBezTo>
                      <a:close/>
                    </a:path>
                  </a:pathLst>
                </a:custGeom>
                <a:grpFill/>
                <a:ln w="5978" cap="flat">
                  <a:noFill/>
                  <a:prstDash val="solid"/>
                  <a:miter/>
                </a:ln>
              </p:spPr>
              <p:txBody>
                <a:bodyPr rtlCol="0" anchor="ctr"/>
                <a:lstStyle/>
                <a:p>
                  <a:endParaRPr lang="en-GB"/>
                </a:p>
              </p:txBody>
            </p:sp>
            <p:sp>
              <p:nvSpPr>
                <p:cNvPr id="3643" name="Vrije vorm: vorm 3642">
                  <a:extLst>
                    <a:ext uri="{FF2B5EF4-FFF2-40B4-BE49-F238E27FC236}">
                      <a16:creationId xmlns:a16="http://schemas.microsoft.com/office/drawing/2014/main" id="{B78322FE-5237-4834-974B-620D7D385496}"/>
                    </a:ext>
                  </a:extLst>
                </p:cNvPr>
                <p:cNvSpPr/>
                <p:nvPr/>
              </p:nvSpPr>
              <p:spPr>
                <a:xfrm>
                  <a:off x="5865732" y="1278060"/>
                  <a:ext cx="18364" cy="18421"/>
                </a:xfrm>
                <a:custGeom>
                  <a:avLst/>
                  <a:gdLst>
                    <a:gd name="connsiteX0" fmla="*/ 18362 w 18364"/>
                    <a:gd name="connsiteY0" fmla="*/ 9091 h 18421"/>
                    <a:gd name="connsiteX1" fmla="*/ 9032 w 18364"/>
                    <a:gd name="connsiteY1" fmla="*/ 1 h 18421"/>
                    <a:gd name="connsiteX2" fmla="*/ 1 w 18364"/>
                    <a:gd name="connsiteY2" fmla="*/ 9331 h 18421"/>
                    <a:gd name="connsiteX3" fmla="*/ 9331 w 18364"/>
                    <a:gd name="connsiteY3" fmla="*/ 18421 h 18421"/>
                    <a:gd name="connsiteX4" fmla="*/ 18362 w 18364"/>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1">
                      <a:moveTo>
                        <a:pt x="18362" y="9091"/>
                      </a:moveTo>
                      <a:cubicBezTo>
                        <a:pt x="18302" y="4008"/>
                        <a:pt x="14115" y="-59"/>
                        <a:pt x="9032" y="1"/>
                      </a:cubicBezTo>
                      <a:cubicBezTo>
                        <a:pt x="3948" y="60"/>
                        <a:pt x="-59" y="4247"/>
                        <a:pt x="1" y="9331"/>
                      </a:cubicBezTo>
                      <a:cubicBezTo>
                        <a:pt x="61" y="14414"/>
                        <a:pt x="4247" y="18481"/>
                        <a:pt x="9331" y="18421"/>
                      </a:cubicBezTo>
                      <a:cubicBezTo>
                        <a:pt x="14414" y="18361"/>
                        <a:pt x="18481" y="14175"/>
                        <a:pt x="18362" y="9091"/>
                      </a:cubicBezTo>
                      <a:close/>
                    </a:path>
                  </a:pathLst>
                </a:custGeom>
                <a:grpFill/>
                <a:ln w="5978" cap="flat">
                  <a:noFill/>
                  <a:prstDash val="solid"/>
                  <a:miter/>
                </a:ln>
              </p:spPr>
              <p:txBody>
                <a:bodyPr rtlCol="0" anchor="ctr"/>
                <a:lstStyle/>
                <a:p>
                  <a:endParaRPr lang="en-GB"/>
                </a:p>
              </p:txBody>
            </p:sp>
          </p:grpSp>
          <p:grpSp>
            <p:nvGrpSpPr>
              <p:cNvPr id="583" name="Graphic 3">
                <a:extLst>
                  <a:ext uri="{FF2B5EF4-FFF2-40B4-BE49-F238E27FC236}">
                    <a16:creationId xmlns:a16="http://schemas.microsoft.com/office/drawing/2014/main" id="{1E53FFDF-D945-4C48-B267-4608AEEBC9FF}"/>
                  </a:ext>
                </a:extLst>
              </p:cNvPr>
              <p:cNvGrpSpPr/>
              <p:nvPr/>
            </p:nvGrpSpPr>
            <p:grpSpPr>
              <a:xfrm>
                <a:off x="5928447" y="1618407"/>
                <a:ext cx="25218" cy="122996"/>
                <a:chOff x="5928447" y="1618407"/>
                <a:chExt cx="25218" cy="122996"/>
              </a:xfrm>
              <a:grpFill/>
            </p:grpSpPr>
            <p:sp>
              <p:nvSpPr>
                <p:cNvPr id="3638" name="Vrije vorm: vorm 3637">
                  <a:extLst>
                    <a:ext uri="{FF2B5EF4-FFF2-40B4-BE49-F238E27FC236}">
                      <a16:creationId xmlns:a16="http://schemas.microsoft.com/office/drawing/2014/main" id="{2AF6F826-B55F-4AE5-A6A2-BE067F2DD97D}"/>
                    </a:ext>
                  </a:extLst>
                </p:cNvPr>
                <p:cNvSpPr/>
                <p:nvPr/>
              </p:nvSpPr>
              <p:spPr>
                <a:xfrm>
                  <a:off x="5936066" y="1627036"/>
                  <a:ext cx="9927" cy="105679"/>
                </a:xfrm>
                <a:custGeom>
                  <a:avLst/>
                  <a:gdLst>
                    <a:gd name="connsiteX0" fmla="*/ 3050 w 9927"/>
                    <a:gd name="connsiteY0" fmla="*/ 0 h 105679"/>
                    <a:gd name="connsiteX1" fmla="*/ 9928 w 9927"/>
                    <a:gd name="connsiteY1" fmla="*/ 105500 h 105679"/>
                    <a:gd name="connsiteX2" fmla="*/ 6937 w 9927"/>
                    <a:gd name="connsiteY2" fmla="*/ 105679 h 105679"/>
                    <a:gd name="connsiteX3" fmla="*/ 0 w 9927"/>
                    <a:gd name="connsiteY3" fmla="*/ 179 h 105679"/>
                  </a:gdLst>
                  <a:ahLst/>
                  <a:cxnLst>
                    <a:cxn ang="0">
                      <a:pos x="connsiteX0" y="connsiteY0"/>
                    </a:cxn>
                    <a:cxn ang="0">
                      <a:pos x="connsiteX1" y="connsiteY1"/>
                    </a:cxn>
                    <a:cxn ang="0">
                      <a:pos x="connsiteX2" y="connsiteY2"/>
                    </a:cxn>
                    <a:cxn ang="0">
                      <a:pos x="connsiteX3" y="connsiteY3"/>
                    </a:cxn>
                  </a:cxnLst>
                  <a:rect l="l" t="t" r="r" b="b"/>
                  <a:pathLst>
                    <a:path w="9927" h="105679">
                      <a:moveTo>
                        <a:pt x="3050" y="0"/>
                      </a:moveTo>
                      <a:lnTo>
                        <a:pt x="9928" y="105500"/>
                      </a:lnTo>
                      <a:lnTo>
                        <a:pt x="6937" y="105679"/>
                      </a:lnTo>
                      <a:lnTo>
                        <a:pt x="0" y="179"/>
                      </a:lnTo>
                      <a:close/>
                    </a:path>
                  </a:pathLst>
                </a:custGeom>
                <a:grpFill/>
                <a:ln w="5978" cap="flat">
                  <a:noFill/>
                  <a:prstDash val="solid"/>
                  <a:miter/>
                </a:ln>
              </p:spPr>
              <p:txBody>
                <a:bodyPr rtlCol="0" anchor="ctr"/>
                <a:lstStyle/>
                <a:p>
                  <a:endParaRPr lang="en-GB"/>
                </a:p>
              </p:txBody>
            </p:sp>
            <p:sp>
              <p:nvSpPr>
                <p:cNvPr id="3639" name="Vrije vorm: vorm 3638">
                  <a:extLst>
                    <a:ext uri="{FF2B5EF4-FFF2-40B4-BE49-F238E27FC236}">
                      <a16:creationId xmlns:a16="http://schemas.microsoft.com/office/drawing/2014/main" id="{D377CA4E-D91E-4A40-B795-D412430AA605}"/>
                    </a:ext>
                  </a:extLst>
                </p:cNvPr>
                <p:cNvSpPr/>
                <p:nvPr/>
              </p:nvSpPr>
              <p:spPr>
                <a:xfrm>
                  <a:off x="5928447" y="1618407"/>
                  <a:ext cx="18347" cy="18400"/>
                </a:xfrm>
                <a:custGeom>
                  <a:avLst/>
                  <a:gdLst>
                    <a:gd name="connsiteX0" fmla="*/ 23 w 18347"/>
                    <a:gd name="connsiteY0" fmla="*/ 9765 h 18400"/>
                    <a:gd name="connsiteX1" fmla="*/ 8576 w 18347"/>
                    <a:gd name="connsiteY1" fmla="*/ 16 h 18400"/>
                    <a:gd name="connsiteX2" fmla="*/ 18324 w 18347"/>
                    <a:gd name="connsiteY2" fmla="*/ 8629 h 18400"/>
                    <a:gd name="connsiteX3" fmla="*/ 9772 w 18347"/>
                    <a:gd name="connsiteY3" fmla="*/ 18377 h 18400"/>
                    <a:gd name="connsiteX4" fmla="*/ 23 w 18347"/>
                    <a:gd name="connsiteY4" fmla="*/ 976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23" y="9765"/>
                      </a:moveTo>
                      <a:cubicBezTo>
                        <a:pt x="-336" y="4681"/>
                        <a:pt x="3492" y="315"/>
                        <a:pt x="8576" y="16"/>
                      </a:cubicBezTo>
                      <a:cubicBezTo>
                        <a:pt x="13600" y="-283"/>
                        <a:pt x="17965" y="3545"/>
                        <a:pt x="18324" y="8629"/>
                      </a:cubicBezTo>
                      <a:cubicBezTo>
                        <a:pt x="18683" y="13712"/>
                        <a:pt x="14855" y="18078"/>
                        <a:pt x="9772" y="18377"/>
                      </a:cubicBezTo>
                      <a:cubicBezTo>
                        <a:pt x="4688" y="18736"/>
                        <a:pt x="382" y="14849"/>
                        <a:pt x="23" y="9765"/>
                      </a:cubicBezTo>
                      <a:close/>
                    </a:path>
                  </a:pathLst>
                </a:custGeom>
                <a:grpFill/>
                <a:ln w="5978" cap="flat">
                  <a:noFill/>
                  <a:prstDash val="solid"/>
                  <a:miter/>
                </a:ln>
              </p:spPr>
              <p:txBody>
                <a:bodyPr rtlCol="0" anchor="ctr"/>
                <a:lstStyle/>
                <a:p>
                  <a:endParaRPr lang="en-GB"/>
                </a:p>
              </p:txBody>
            </p:sp>
            <p:sp>
              <p:nvSpPr>
                <p:cNvPr id="3640" name="Vrije vorm: vorm 3639">
                  <a:extLst>
                    <a:ext uri="{FF2B5EF4-FFF2-40B4-BE49-F238E27FC236}">
                      <a16:creationId xmlns:a16="http://schemas.microsoft.com/office/drawing/2014/main" id="{68B974F7-CC70-421F-9A09-471AED020F01}"/>
                    </a:ext>
                  </a:extLst>
                </p:cNvPr>
                <p:cNvSpPr/>
                <p:nvPr/>
              </p:nvSpPr>
              <p:spPr>
                <a:xfrm>
                  <a:off x="5935325" y="1723010"/>
                  <a:ext cx="18340" cy="18393"/>
                </a:xfrm>
                <a:custGeom>
                  <a:avLst/>
                  <a:gdLst>
                    <a:gd name="connsiteX0" fmla="*/ 23 w 18340"/>
                    <a:gd name="connsiteY0" fmla="*/ 9765 h 18393"/>
                    <a:gd name="connsiteX1" fmla="*/ 9772 w 18340"/>
                    <a:gd name="connsiteY1" fmla="*/ 18377 h 18393"/>
                    <a:gd name="connsiteX2" fmla="*/ 18324 w 18340"/>
                    <a:gd name="connsiteY2" fmla="*/ 8629 h 18393"/>
                    <a:gd name="connsiteX3" fmla="*/ 8576 w 18340"/>
                    <a:gd name="connsiteY3" fmla="*/ 16 h 18393"/>
                    <a:gd name="connsiteX4" fmla="*/ 23 w 18340"/>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23" y="9765"/>
                      </a:moveTo>
                      <a:cubicBezTo>
                        <a:pt x="382" y="14849"/>
                        <a:pt x="4748" y="18676"/>
                        <a:pt x="9772" y="18377"/>
                      </a:cubicBezTo>
                      <a:cubicBezTo>
                        <a:pt x="14796" y="18078"/>
                        <a:pt x="18623" y="13712"/>
                        <a:pt x="18324" y="8629"/>
                      </a:cubicBezTo>
                      <a:cubicBezTo>
                        <a:pt x="17965" y="3545"/>
                        <a:pt x="13599" y="-283"/>
                        <a:pt x="8576" y="16"/>
                      </a:cubicBezTo>
                      <a:cubicBezTo>
                        <a:pt x="3492" y="256"/>
                        <a:pt x="-336" y="4681"/>
                        <a:pt x="23" y="9765"/>
                      </a:cubicBezTo>
                      <a:close/>
                    </a:path>
                  </a:pathLst>
                </a:custGeom>
                <a:grpFill/>
                <a:ln w="5978" cap="flat">
                  <a:noFill/>
                  <a:prstDash val="solid"/>
                  <a:miter/>
                </a:ln>
              </p:spPr>
              <p:txBody>
                <a:bodyPr rtlCol="0" anchor="ctr"/>
                <a:lstStyle/>
                <a:p>
                  <a:endParaRPr lang="en-GB"/>
                </a:p>
              </p:txBody>
            </p:sp>
          </p:grpSp>
          <p:grpSp>
            <p:nvGrpSpPr>
              <p:cNvPr id="584" name="Graphic 3">
                <a:extLst>
                  <a:ext uri="{FF2B5EF4-FFF2-40B4-BE49-F238E27FC236}">
                    <a16:creationId xmlns:a16="http://schemas.microsoft.com/office/drawing/2014/main" id="{6E9E0A70-9799-4B88-B74C-F5B48AFB3967}"/>
                  </a:ext>
                </a:extLst>
              </p:cNvPr>
              <p:cNvGrpSpPr/>
              <p:nvPr/>
            </p:nvGrpSpPr>
            <p:grpSpPr>
              <a:xfrm>
                <a:off x="6942487" y="4850582"/>
                <a:ext cx="187916" cy="360881"/>
                <a:chOff x="6942487" y="4850582"/>
                <a:chExt cx="187916" cy="360881"/>
              </a:xfrm>
              <a:grpFill/>
            </p:grpSpPr>
            <p:sp>
              <p:nvSpPr>
                <p:cNvPr id="3635" name="Vrije vorm: vorm 3634">
                  <a:extLst>
                    <a:ext uri="{FF2B5EF4-FFF2-40B4-BE49-F238E27FC236}">
                      <a16:creationId xmlns:a16="http://schemas.microsoft.com/office/drawing/2014/main" id="{2D9F64F6-2EA2-4E23-8996-EE5EB1F4720E}"/>
                    </a:ext>
                  </a:extLst>
                </p:cNvPr>
                <p:cNvSpPr/>
                <p:nvPr/>
              </p:nvSpPr>
              <p:spPr>
                <a:xfrm>
                  <a:off x="6950097" y="4858658"/>
                  <a:ext cx="172723" cy="344668"/>
                </a:xfrm>
                <a:custGeom>
                  <a:avLst/>
                  <a:gdLst>
                    <a:gd name="connsiteX0" fmla="*/ 172723 w 172723"/>
                    <a:gd name="connsiteY0" fmla="*/ 343294 h 344668"/>
                    <a:gd name="connsiteX1" fmla="*/ 169972 w 172723"/>
                    <a:gd name="connsiteY1" fmla="*/ 344669 h 344668"/>
                    <a:gd name="connsiteX2" fmla="*/ 0 w 172723"/>
                    <a:gd name="connsiteY2" fmla="*/ 1375 h 344668"/>
                    <a:gd name="connsiteX3" fmla="*/ 2691 w 172723"/>
                    <a:gd name="connsiteY3" fmla="*/ 0 h 344668"/>
                  </a:gdLst>
                  <a:ahLst/>
                  <a:cxnLst>
                    <a:cxn ang="0">
                      <a:pos x="connsiteX0" y="connsiteY0"/>
                    </a:cxn>
                    <a:cxn ang="0">
                      <a:pos x="connsiteX1" y="connsiteY1"/>
                    </a:cxn>
                    <a:cxn ang="0">
                      <a:pos x="connsiteX2" y="connsiteY2"/>
                    </a:cxn>
                    <a:cxn ang="0">
                      <a:pos x="connsiteX3" y="connsiteY3"/>
                    </a:cxn>
                  </a:cxnLst>
                  <a:rect l="l" t="t" r="r" b="b"/>
                  <a:pathLst>
                    <a:path w="172723" h="344668">
                      <a:moveTo>
                        <a:pt x="172723" y="343294"/>
                      </a:moveTo>
                      <a:lnTo>
                        <a:pt x="169972" y="344669"/>
                      </a:lnTo>
                      <a:lnTo>
                        <a:pt x="0" y="1375"/>
                      </a:lnTo>
                      <a:lnTo>
                        <a:pt x="2691" y="0"/>
                      </a:lnTo>
                      <a:close/>
                    </a:path>
                  </a:pathLst>
                </a:custGeom>
                <a:grpFill/>
                <a:ln w="5978" cap="flat">
                  <a:noFill/>
                  <a:prstDash val="solid"/>
                  <a:miter/>
                </a:ln>
              </p:spPr>
              <p:txBody>
                <a:bodyPr rtlCol="0" anchor="ctr"/>
                <a:lstStyle/>
                <a:p>
                  <a:endParaRPr lang="en-GB"/>
                </a:p>
              </p:txBody>
            </p:sp>
            <p:sp>
              <p:nvSpPr>
                <p:cNvPr id="3636" name="Vrije vorm: vorm 3635">
                  <a:extLst>
                    <a:ext uri="{FF2B5EF4-FFF2-40B4-BE49-F238E27FC236}">
                      <a16:creationId xmlns:a16="http://schemas.microsoft.com/office/drawing/2014/main" id="{869FD681-2C37-49F1-A60B-6B67781D8522}"/>
                    </a:ext>
                  </a:extLst>
                </p:cNvPr>
                <p:cNvSpPr/>
                <p:nvPr/>
              </p:nvSpPr>
              <p:spPr>
                <a:xfrm>
                  <a:off x="6942487" y="4850582"/>
                  <a:ext cx="18389" cy="18398"/>
                </a:xfrm>
                <a:custGeom>
                  <a:avLst/>
                  <a:gdLst>
                    <a:gd name="connsiteX0" fmla="*/ 971 w 18389"/>
                    <a:gd name="connsiteY0" fmla="*/ 13279 h 18398"/>
                    <a:gd name="connsiteX1" fmla="*/ 5098 w 18389"/>
                    <a:gd name="connsiteY1" fmla="*/ 959 h 18398"/>
                    <a:gd name="connsiteX2" fmla="*/ 17418 w 18389"/>
                    <a:gd name="connsiteY2" fmla="*/ 5146 h 18398"/>
                    <a:gd name="connsiteX3" fmla="*/ 13291 w 18389"/>
                    <a:gd name="connsiteY3" fmla="*/ 17466 h 18398"/>
                    <a:gd name="connsiteX4" fmla="*/ 971 w 18389"/>
                    <a:gd name="connsiteY4" fmla="*/ 1327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9" h="18398">
                      <a:moveTo>
                        <a:pt x="971" y="13279"/>
                      </a:moveTo>
                      <a:cubicBezTo>
                        <a:pt x="-1302" y="8734"/>
                        <a:pt x="552" y="3172"/>
                        <a:pt x="5098" y="959"/>
                      </a:cubicBezTo>
                      <a:cubicBezTo>
                        <a:pt x="9643" y="-1314"/>
                        <a:pt x="15145" y="600"/>
                        <a:pt x="17418" y="5146"/>
                      </a:cubicBezTo>
                      <a:cubicBezTo>
                        <a:pt x="19691" y="9691"/>
                        <a:pt x="17836" y="15253"/>
                        <a:pt x="13291" y="17466"/>
                      </a:cubicBezTo>
                      <a:cubicBezTo>
                        <a:pt x="8746" y="19679"/>
                        <a:pt x="3244" y="17825"/>
                        <a:pt x="971" y="13279"/>
                      </a:cubicBezTo>
                      <a:close/>
                    </a:path>
                  </a:pathLst>
                </a:custGeom>
                <a:grpFill/>
                <a:ln w="5978" cap="flat">
                  <a:noFill/>
                  <a:prstDash val="solid"/>
                  <a:miter/>
                </a:ln>
              </p:spPr>
              <p:txBody>
                <a:bodyPr rtlCol="0" anchor="ctr"/>
                <a:lstStyle/>
                <a:p>
                  <a:endParaRPr lang="en-GB"/>
                </a:p>
              </p:txBody>
            </p:sp>
            <p:sp>
              <p:nvSpPr>
                <p:cNvPr id="3637" name="Vrije vorm: vorm 3636">
                  <a:extLst>
                    <a:ext uri="{FF2B5EF4-FFF2-40B4-BE49-F238E27FC236}">
                      <a16:creationId xmlns:a16="http://schemas.microsoft.com/office/drawing/2014/main" id="{401EF243-290B-4BD9-964C-3B1A4362F459}"/>
                    </a:ext>
                  </a:extLst>
                </p:cNvPr>
                <p:cNvSpPr/>
                <p:nvPr/>
              </p:nvSpPr>
              <p:spPr>
                <a:xfrm>
                  <a:off x="7112041" y="5193039"/>
                  <a:ext cx="18362" cy="18424"/>
                </a:xfrm>
                <a:custGeom>
                  <a:avLst/>
                  <a:gdLst>
                    <a:gd name="connsiteX0" fmla="*/ 971 w 18362"/>
                    <a:gd name="connsiteY0" fmla="*/ 13279 h 18424"/>
                    <a:gd name="connsiteX1" fmla="*/ 13292 w 18362"/>
                    <a:gd name="connsiteY1" fmla="*/ 17466 h 18424"/>
                    <a:gd name="connsiteX2" fmla="*/ 17418 w 18362"/>
                    <a:gd name="connsiteY2" fmla="*/ 5146 h 18424"/>
                    <a:gd name="connsiteX3" fmla="*/ 5098 w 18362"/>
                    <a:gd name="connsiteY3" fmla="*/ 959 h 18424"/>
                    <a:gd name="connsiteX4" fmla="*/ 971 w 18362"/>
                    <a:gd name="connsiteY4" fmla="*/ 1327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971" y="13279"/>
                      </a:moveTo>
                      <a:cubicBezTo>
                        <a:pt x="3244" y="17825"/>
                        <a:pt x="8746" y="19739"/>
                        <a:pt x="13292" y="17466"/>
                      </a:cubicBezTo>
                      <a:cubicBezTo>
                        <a:pt x="17836" y="15193"/>
                        <a:pt x="19631" y="9691"/>
                        <a:pt x="17418" y="5146"/>
                      </a:cubicBezTo>
                      <a:cubicBezTo>
                        <a:pt x="15145" y="600"/>
                        <a:pt x="9643" y="-1314"/>
                        <a:pt x="5098" y="959"/>
                      </a:cubicBezTo>
                      <a:cubicBezTo>
                        <a:pt x="553" y="3172"/>
                        <a:pt x="-1302" y="8734"/>
                        <a:pt x="971" y="13279"/>
                      </a:cubicBezTo>
                      <a:close/>
                    </a:path>
                  </a:pathLst>
                </a:custGeom>
                <a:grpFill/>
                <a:ln w="5978" cap="flat">
                  <a:noFill/>
                  <a:prstDash val="solid"/>
                  <a:miter/>
                </a:ln>
              </p:spPr>
              <p:txBody>
                <a:bodyPr rtlCol="0" anchor="ctr"/>
                <a:lstStyle/>
                <a:p>
                  <a:endParaRPr lang="en-GB"/>
                </a:p>
              </p:txBody>
            </p:sp>
          </p:grpSp>
          <p:grpSp>
            <p:nvGrpSpPr>
              <p:cNvPr id="585" name="Graphic 3">
                <a:extLst>
                  <a:ext uri="{FF2B5EF4-FFF2-40B4-BE49-F238E27FC236}">
                    <a16:creationId xmlns:a16="http://schemas.microsoft.com/office/drawing/2014/main" id="{3F4DABA6-3239-4756-BA8F-FD7788F17C9D}"/>
                  </a:ext>
                </a:extLst>
              </p:cNvPr>
              <p:cNvGrpSpPr/>
              <p:nvPr/>
            </p:nvGrpSpPr>
            <p:grpSpPr>
              <a:xfrm>
                <a:off x="5807051" y="1093007"/>
                <a:ext cx="53254" cy="653354"/>
                <a:chOff x="5807051" y="1093007"/>
                <a:chExt cx="53254" cy="653354"/>
              </a:xfrm>
              <a:grpFill/>
            </p:grpSpPr>
            <p:sp>
              <p:nvSpPr>
                <p:cNvPr id="3632" name="Vrije vorm: vorm 3631">
                  <a:extLst>
                    <a:ext uri="{FF2B5EF4-FFF2-40B4-BE49-F238E27FC236}">
                      <a16:creationId xmlns:a16="http://schemas.microsoft.com/office/drawing/2014/main" id="{2C42B4B7-AF8E-4DCD-ADCC-C29D01D4B970}"/>
                    </a:ext>
                  </a:extLst>
                </p:cNvPr>
                <p:cNvSpPr/>
                <p:nvPr/>
              </p:nvSpPr>
              <p:spPr>
                <a:xfrm>
                  <a:off x="5814657" y="1101689"/>
                  <a:ext cx="38037" cy="635989"/>
                </a:xfrm>
                <a:custGeom>
                  <a:avLst/>
                  <a:gdLst>
                    <a:gd name="connsiteX0" fmla="*/ 3050 w 38037"/>
                    <a:gd name="connsiteY0" fmla="*/ 0 h 635989"/>
                    <a:gd name="connsiteX1" fmla="*/ 38037 w 38037"/>
                    <a:gd name="connsiteY1" fmla="*/ 635810 h 635989"/>
                    <a:gd name="connsiteX2" fmla="*/ 34987 w 38037"/>
                    <a:gd name="connsiteY2" fmla="*/ 635990 h 635989"/>
                    <a:gd name="connsiteX3" fmla="*/ 0 w 38037"/>
                    <a:gd name="connsiteY3" fmla="*/ 120 h 635989"/>
                  </a:gdLst>
                  <a:ahLst/>
                  <a:cxnLst>
                    <a:cxn ang="0">
                      <a:pos x="connsiteX0" y="connsiteY0"/>
                    </a:cxn>
                    <a:cxn ang="0">
                      <a:pos x="connsiteX1" y="connsiteY1"/>
                    </a:cxn>
                    <a:cxn ang="0">
                      <a:pos x="connsiteX2" y="connsiteY2"/>
                    </a:cxn>
                    <a:cxn ang="0">
                      <a:pos x="connsiteX3" y="connsiteY3"/>
                    </a:cxn>
                  </a:cxnLst>
                  <a:rect l="l" t="t" r="r" b="b"/>
                  <a:pathLst>
                    <a:path w="38037" h="635989">
                      <a:moveTo>
                        <a:pt x="3050" y="0"/>
                      </a:moveTo>
                      <a:lnTo>
                        <a:pt x="38037" y="635810"/>
                      </a:lnTo>
                      <a:lnTo>
                        <a:pt x="34987" y="635990"/>
                      </a:lnTo>
                      <a:lnTo>
                        <a:pt x="0" y="120"/>
                      </a:lnTo>
                      <a:close/>
                    </a:path>
                  </a:pathLst>
                </a:custGeom>
                <a:grpFill/>
                <a:ln w="5978" cap="flat">
                  <a:noFill/>
                  <a:prstDash val="solid"/>
                  <a:miter/>
                </a:ln>
              </p:spPr>
              <p:txBody>
                <a:bodyPr rtlCol="0" anchor="ctr"/>
                <a:lstStyle/>
                <a:p>
                  <a:endParaRPr lang="en-GB"/>
                </a:p>
              </p:txBody>
            </p:sp>
            <p:sp>
              <p:nvSpPr>
                <p:cNvPr id="3633" name="Vrije vorm: vorm 3632">
                  <a:extLst>
                    <a:ext uri="{FF2B5EF4-FFF2-40B4-BE49-F238E27FC236}">
                      <a16:creationId xmlns:a16="http://schemas.microsoft.com/office/drawing/2014/main" id="{19F966EF-E4F7-4D42-8513-335353200EEC}"/>
                    </a:ext>
                  </a:extLst>
                </p:cNvPr>
                <p:cNvSpPr/>
                <p:nvPr/>
              </p:nvSpPr>
              <p:spPr>
                <a:xfrm>
                  <a:off x="5841972" y="1727914"/>
                  <a:ext cx="18333" cy="18447"/>
                </a:xfrm>
                <a:custGeom>
                  <a:avLst/>
                  <a:gdLst>
                    <a:gd name="connsiteX0" fmla="*/ 18317 w 18333"/>
                    <a:gd name="connsiteY0" fmla="*/ 8748 h 18447"/>
                    <a:gd name="connsiteX1" fmla="*/ 9645 w 18333"/>
                    <a:gd name="connsiteY1" fmla="*/ 18437 h 18447"/>
                    <a:gd name="connsiteX2" fmla="*/ 16 w 18333"/>
                    <a:gd name="connsiteY2" fmla="*/ 9705 h 18447"/>
                    <a:gd name="connsiteX3" fmla="*/ 8688 w 18333"/>
                    <a:gd name="connsiteY3" fmla="*/ 16 h 18447"/>
                    <a:gd name="connsiteX4" fmla="*/ 18317 w 18333"/>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8748"/>
                      </a:moveTo>
                      <a:cubicBezTo>
                        <a:pt x="18616" y="13831"/>
                        <a:pt x="14729" y="18138"/>
                        <a:pt x="9645" y="18437"/>
                      </a:cubicBezTo>
                      <a:cubicBezTo>
                        <a:pt x="4621" y="18676"/>
                        <a:pt x="256" y="14788"/>
                        <a:pt x="16" y="9705"/>
                      </a:cubicBezTo>
                      <a:cubicBezTo>
                        <a:pt x="-283" y="4621"/>
                        <a:pt x="3605" y="315"/>
                        <a:pt x="8688" y="16"/>
                      </a:cubicBezTo>
                      <a:cubicBezTo>
                        <a:pt x="13772" y="-283"/>
                        <a:pt x="18078" y="3664"/>
                        <a:pt x="18317" y="8748"/>
                      </a:cubicBezTo>
                      <a:close/>
                    </a:path>
                  </a:pathLst>
                </a:custGeom>
                <a:grpFill/>
                <a:ln w="5978" cap="flat">
                  <a:noFill/>
                  <a:prstDash val="solid"/>
                  <a:miter/>
                </a:ln>
              </p:spPr>
              <p:txBody>
                <a:bodyPr rtlCol="0" anchor="ctr"/>
                <a:lstStyle/>
                <a:p>
                  <a:endParaRPr lang="en-GB"/>
                </a:p>
              </p:txBody>
            </p:sp>
            <p:sp>
              <p:nvSpPr>
                <p:cNvPr id="3634" name="Vrije vorm: vorm 3633">
                  <a:extLst>
                    <a:ext uri="{FF2B5EF4-FFF2-40B4-BE49-F238E27FC236}">
                      <a16:creationId xmlns:a16="http://schemas.microsoft.com/office/drawing/2014/main" id="{5EB9F76A-6274-453D-AE63-EA691AE42C9A}"/>
                    </a:ext>
                  </a:extLst>
                </p:cNvPr>
                <p:cNvSpPr/>
                <p:nvPr/>
              </p:nvSpPr>
              <p:spPr>
                <a:xfrm>
                  <a:off x="5807051" y="1093007"/>
                  <a:ext cx="18327" cy="18441"/>
                </a:xfrm>
                <a:custGeom>
                  <a:avLst/>
                  <a:gdLst>
                    <a:gd name="connsiteX0" fmla="*/ 18311 w 18327"/>
                    <a:gd name="connsiteY0" fmla="*/ 8742 h 18441"/>
                    <a:gd name="connsiteX1" fmla="*/ 8683 w 18327"/>
                    <a:gd name="connsiteY1" fmla="*/ 10 h 18441"/>
                    <a:gd name="connsiteX2" fmla="*/ 10 w 18327"/>
                    <a:gd name="connsiteY2" fmla="*/ 9699 h 18441"/>
                    <a:gd name="connsiteX3" fmla="*/ 9639 w 18327"/>
                    <a:gd name="connsiteY3" fmla="*/ 18431 h 18441"/>
                    <a:gd name="connsiteX4" fmla="*/ 18311 w 18327"/>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18311" y="8742"/>
                      </a:moveTo>
                      <a:cubicBezTo>
                        <a:pt x="18013" y="3659"/>
                        <a:pt x="13706" y="-229"/>
                        <a:pt x="8683" y="10"/>
                      </a:cubicBezTo>
                      <a:cubicBezTo>
                        <a:pt x="3659" y="250"/>
                        <a:pt x="-229" y="4616"/>
                        <a:pt x="10" y="9699"/>
                      </a:cubicBezTo>
                      <a:cubicBezTo>
                        <a:pt x="309" y="14783"/>
                        <a:pt x="4616" y="18670"/>
                        <a:pt x="9639" y="18431"/>
                      </a:cubicBezTo>
                      <a:cubicBezTo>
                        <a:pt x="14723" y="18132"/>
                        <a:pt x="18610" y="13826"/>
                        <a:pt x="18311" y="8742"/>
                      </a:cubicBezTo>
                      <a:close/>
                    </a:path>
                  </a:pathLst>
                </a:custGeom>
                <a:grpFill/>
                <a:ln w="5978" cap="flat">
                  <a:noFill/>
                  <a:prstDash val="solid"/>
                  <a:miter/>
                </a:ln>
              </p:spPr>
              <p:txBody>
                <a:bodyPr rtlCol="0" anchor="ctr"/>
                <a:lstStyle/>
                <a:p>
                  <a:endParaRPr lang="en-GB"/>
                </a:p>
              </p:txBody>
            </p:sp>
          </p:grpSp>
          <p:grpSp>
            <p:nvGrpSpPr>
              <p:cNvPr id="586" name="Graphic 3">
                <a:extLst>
                  <a:ext uri="{FF2B5EF4-FFF2-40B4-BE49-F238E27FC236}">
                    <a16:creationId xmlns:a16="http://schemas.microsoft.com/office/drawing/2014/main" id="{154E5433-E809-4644-9454-BAE9CEBC5939}"/>
                  </a:ext>
                </a:extLst>
              </p:cNvPr>
              <p:cNvGrpSpPr/>
              <p:nvPr/>
            </p:nvGrpSpPr>
            <p:grpSpPr>
              <a:xfrm>
                <a:off x="5893451" y="1598954"/>
                <a:ext cx="28891" cy="142942"/>
                <a:chOff x="5893451" y="1598954"/>
                <a:chExt cx="28891" cy="142942"/>
              </a:xfrm>
              <a:grpFill/>
            </p:grpSpPr>
            <p:sp>
              <p:nvSpPr>
                <p:cNvPr id="3629" name="Vrije vorm: vorm 3628">
                  <a:extLst>
                    <a:ext uri="{FF2B5EF4-FFF2-40B4-BE49-F238E27FC236}">
                      <a16:creationId xmlns:a16="http://schemas.microsoft.com/office/drawing/2014/main" id="{902D0D18-9EC6-4752-8042-2A8A67A038AC}"/>
                    </a:ext>
                  </a:extLst>
                </p:cNvPr>
                <p:cNvSpPr/>
                <p:nvPr/>
              </p:nvSpPr>
              <p:spPr>
                <a:xfrm>
                  <a:off x="5901078" y="1607598"/>
                  <a:ext cx="13576" cy="125655"/>
                </a:xfrm>
                <a:custGeom>
                  <a:avLst/>
                  <a:gdLst>
                    <a:gd name="connsiteX0" fmla="*/ 3050 w 13576"/>
                    <a:gd name="connsiteY0" fmla="*/ 0 h 125655"/>
                    <a:gd name="connsiteX1" fmla="*/ 13576 w 13576"/>
                    <a:gd name="connsiteY1" fmla="*/ 125416 h 125655"/>
                    <a:gd name="connsiteX2" fmla="*/ 10526 w 13576"/>
                    <a:gd name="connsiteY2" fmla="*/ 125655 h 125655"/>
                    <a:gd name="connsiteX3" fmla="*/ 0 w 13576"/>
                    <a:gd name="connsiteY3" fmla="*/ 239 h 125655"/>
                  </a:gdLst>
                  <a:ahLst/>
                  <a:cxnLst>
                    <a:cxn ang="0">
                      <a:pos x="connsiteX0" y="connsiteY0"/>
                    </a:cxn>
                    <a:cxn ang="0">
                      <a:pos x="connsiteX1" y="connsiteY1"/>
                    </a:cxn>
                    <a:cxn ang="0">
                      <a:pos x="connsiteX2" y="connsiteY2"/>
                    </a:cxn>
                    <a:cxn ang="0">
                      <a:pos x="connsiteX3" y="connsiteY3"/>
                    </a:cxn>
                  </a:cxnLst>
                  <a:rect l="l" t="t" r="r" b="b"/>
                  <a:pathLst>
                    <a:path w="13576" h="125655">
                      <a:moveTo>
                        <a:pt x="3050" y="0"/>
                      </a:moveTo>
                      <a:lnTo>
                        <a:pt x="13576" y="125416"/>
                      </a:lnTo>
                      <a:lnTo>
                        <a:pt x="10526" y="125655"/>
                      </a:lnTo>
                      <a:lnTo>
                        <a:pt x="0" y="239"/>
                      </a:lnTo>
                      <a:close/>
                    </a:path>
                  </a:pathLst>
                </a:custGeom>
                <a:grpFill/>
                <a:ln w="5978" cap="flat">
                  <a:noFill/>
                  <a:prstDash val="solid"/>
                  <a:miter/>
                </a:ln>
              </p:spPr>
              <p:txBody>
                <a:bodyPr rtlCol="0" anchor="ctr"/>
                <a:lstStyle/>
                <a:p>
                  <a:endParaRPr lang="en-GB"/>
                </a:p>
              </p:txBody>
            </p:sp>
            <p:sp>
              <p:nvSpPr>
                <p:cNvPr id="3630" name="Vrije vorm: vorm 3629">
                  <a:extLst>
                    <a:ext uri="{FF2B5EF4-FFF2-40B4-BE49-F238E27FC236}">
                      <a16:creationId xmlns:a16="http://schemas.microsoft.com/office/drawing/2014/main" id="{41FFD874-0F50-46D5-91D5-139AF533EADF}"/>
                    </a:ext>
                  </a:extLst>
                </p:cNvPr>
                <p:cNvSpPr/>
                <p:nvPr/>
              </p:nvSpPr>
              <p:spPr>
                <a:xfrm>
                  <a:off x="5893451" y="1598954"/>
                  <a:ext cx="18365" cy="18424"/>
                </a:xfrm>
                <a:custGeom>
                  <a:avLst/>
                  <a:gdLst>
                    <a:gd name="connsiteX0" fmla="*/ 32 w 18365"/>
                    <a:gd name="connsiteY0" fmla="*/ 9960 h 18424"/>
                    <a:gd name="connsiteX1" fmla="*/ 8405 w 18365"/>
                    <a:gd name="connsiteY1" fmla="*/ 32 h 18424"/>
                    <a:gd name="connsiteX2" fmla="*/ 18333 w 18365"/>
                    <a:gd name="connsiteY2" fmla="*/ 8465 h 18424"/>
                    <a:gd name="connsiteX3" fmla="*/ 9960 w 18365"/>
                    <a:gd name="connsiteY3" fmla="*/ 18393 h 18424"/>
                    <a:gd name="connsiteX4" fmla="*/ 32 w 18365"/>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4">
                      <a:moveTo>
                        <a:pt x="32" y="9960"/>
                      </a:moveTo>
                      <a:cubicBezTo>
                        <a:pt x="-386" y="4876"/>
                        <a:pt x="3322" y="450"/>
                        <a:pt x="8405" y="32"/>
                      </a:cubicBezTo>
                      <a:cubicBezTo>
                        <a:pt x="13429" y="-387"/>
                        <a:pt x="17855" y="3381"/>
                        <a:pt x="18333" y="8465"/>
                      </a:cubicBezTo>
                      <a:cubicBezTo>
                        <a:pt x="18752" y="13548"/>
                        <a:pt x="15044" y="17974"/>
                        <a:pt x="9960" y="18393"/>
                      </a:cubicBezTo>
                      <a:cubicBezTo>
                        <a:pt x="4877" y="18811"/>
                        <a:pt x="451" y="15043"/>
                        <a:pt x="32" y="9960"/>
                      </a:cubicBezTo>
                      <a:close/>
                    </a:path>
                  </a:pathLst>
                </a:custGeom>
                <a:grpFill/>
                <a:ln w="5978" cap="flat">
                  <a:noFill/>
                  <a:prstDash val="solid"/>
                  <a:miter/>
                </a:ln>
              </p:spPr>
              <p:txBody>
                <a:bodyPr rtlCol="0" anchor="ctr"/>
                <a:lstStyle/>
                <a:p>
                  <a:endParaRPr lang="en-GB"/>
                </a:p>
              </p:txBody>
            </p:sp>
            <p:sp>
              <p:nvSpPr>
                <p:cNvPr id="3631" name="Vrije vorm: vorm 3630">
                  <a:extLst>
                    <a:ext uri="{FF2B5EF4-FFF2-40B4-BE49-F238E27FC236}">
                      <a16:creationId xmlns:a16="http://schemas.microsoft.com/office/drawing/2014/main" id="{C1A02021-743B-4A57-92D6-F5AD5FADA7B9}"/>
                    </a:ext>
                  </a:extLst>
                </p:cNvPr>
                <p:cNvSpPr/>
                <p:nvPr/>
              </p:nvSpPr>
              <p:spPr>
                <a:xfrm>
                  <a:off x="5903968" y="1723473"/>
                  <a:ext cx="18374" cy="18424"/>
                </a:xfrm>
                <a:custGeom>
                  <a:avLst/>
                  <a:gdLst>
                    <a:gd name="connsiteX0" fmla="*/ 41 w 18374"/>
                    <a:gd name="connsiteY0" fmla="*/ 9960 h 18424"/>
                    <a:gd name="connsiteX1" fmla="*/ 9969 w 18374"/>
                    <a:gd name="connsiteY1" fmla="*/ 18393 h 18424"/>
                    <a:gd name="connsiteX2" fmla="*/ 18342 w 18374"/>
                    <a:gd name="connsiteY2" fmla="*/ 8465 h 18424"/>
                    <a:gd name="connsiteX3" fmla="*/ 8414 w 18374"/>
                    <a:gd name="connsiteY3" fmla="*/ 32 h 18424"/>
                    <a:gd name="connsiteX4" fmla="*/ 41 w 18374"/>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4">
                      <a:moveTo>
                        <a:pt x="41" y="9960"/>
                      </a:moveTo>
                      <a:cubicBezTo>
                        <a:pt x="460" y="15043"/>
                        <a:pt x="4886" y="18811"/>
                        <a:pt x="9969" y="18393"/>
                      </a:cubicBezTo>
                      <a:cubicBezTo>
                        <a:pt x="14993" y="17974"/>
                        <a:pt x="18761" y="13548"/>
                        <a:pt x="18342" y="8465"/>
                      </a:cubicBezTo>
                      <a:cubicBezTo>
                        <a:pt x="17924" y="3381"/>
                        <a:pt x="13498" y="-387"/>
                        <a:pt x="8414" y="32"/>
                      </a:cubicBezTo>
                      <a:cubicBezTo>
                        <a:pt x="3331" y="450"/>
                        <a:pt x="-437" y="4876"/>
                        <a:pt x="41" y="9960"/>
                      </a:cubicBezTo>
                      <a:close/>
                    </a:path>
                  </a:pathLst>
                </a:custGeom>
                <a:grpFill/>
                <a:ln w="5978" cap="flat">
                  <a:noFill/>
                  <a:prstDash val="solid"/>
                  <a:miter/>
                </a:ln>
              </p:spPr>
              <p:txBody>
                <a:bodyPr rtlCol="0" anchor="ctr"/>
                <a:lstStyle/>
                <a:p>
                  <a:endParaRPr lang="en-GB"/>
                </a:p>
              </p:txBody>
            </p:sp>
          </p:grpSp>
          <p:grpSp>
            <p:nvGrpSpPr>
              <p:cNvPr id="587" name="Graphic 3">
                <a:extLst>
                  <a:ext uri="{FF2B5EF4-FFF2-40B4-BE49-F238E27FC236}">
                    <a16:creationId xmlns:a16="http://schemas.microsoft.com/office/drawing/2014/main" id="{81F1CC90-E3AB-4F50-B8C4-5DB5DCDFCFF0}"/>
                  </a:ext>
                </a:extLst>
              </p:cNvPr>
              <p:cNvGrpSpPr/>
              <p:nvPr/>
            </p:nvGrpSpPr>
            <p:grpSpPr>
              <a:xfrm>
                <a:off x="6976752" y="4967684"/>
                <a:ext cx="73646" cy="111127"/>
                <a:chOff x="6976752" y="4967684"/>
                <a:chExt cx="73646" cy="111127"/>
              </a:xfrm>
              <a:grpFill/>
            </p:grpSpPr>
            <p:sp>
              <p:nvSpPr>
                <p:cNvPr id="3626" name="Vrije vorm: vorm 3625">
                  <a:extLst>
                    <a:ext uri="{FF2B5EF4-FFF2-40B4-BE49-F238E27FC236}">
                      <a16:creationId xmlns:a16="http://schemas.microsoft.com/office/drawing/2014/main" id="{5E4960A7-1E15-425A-99B2-FD664FC0E76F}"/>
                    </a:ext>
                  </a:extLst>
                </p:cNvPr>
                <p:cNvSpPr/>
                <p:nvPr/>
              </p:nvSpPr>
              <p:spPr>
                <a:xfrm>
                  <a:off x="6984366" y="4975701"/>
                  <a:ext cx="58431" cy="95033"/>
                </a:xfrm>
                <a:custGeom>
                  <a:avLst/>
                  <a:gdLst>
                    <a:gd name="connsiteX0" fmla="*/ 58432 w 58431"/>
                    <a:gd name="connsiteY0" fmla="*/ 93479 h 95033"/>
                    <a:gd name="connsiteX1" fmla="*/ 55800 w 58431"/>
                    <a:gd name="connsiteY1" fmla="*/ 95034 h 95033"/>
                    <a:gd name="connsiteX2" fmla="*/ 0 w 58431"/>
                    <a:gd name="connsiteY2" fmla="*/ 1555 h 95033"/>
                    <a:gd name="connsiteX3" fmla="*/ 2632 w 58431"/>
                    <a:gd name="connsiteY3" fmla="*/ 0 h 95033"/>
                  </a:gdLst>
                  <a:ahLst/>
                  <a:cxnLst>
                    <a:cxn ang="0">
                      <a:pos x="connsiteX0" y="connsiteY0"/>
                    </a:cxn>
                    <a:cxn ang="0">
                      <a:pos x="connsiteX1" y="connsiteY1"/>
                    </a:cxn>
                    <a:cxn ang="0">
                      <a:pos x="connsiteX2" y="connsiteY2"/>
                    </a:cxn>
                    <a:cxn ang="0">
                      <a:pos x="connsiteX3" y="connsiteY3"/>
                    </a:cxn>
                  </a:cxnLst>
                  <a:rect l="l" t="t" r="r" b="b"/>
                  <a:pathLst>
                    <a:path w="58431" h="95033">
                      <a:moveTo>
                        <a:pt x="58432" y="93479"/>
                      </a:moveTo>
                      <a:lnTo>
                        <a:pt x="55800" y="95034"/>
                      </a:lnTo>
                      <a:lnTo>
                        <a:pt x="0" y="1555"/>
                      </a:lnTo>
                      <a:lnTo>
                        <a:pt x="2632" y="0"/>
                      </a:lnTo>
                      <a:close/>
                    </a:path>
                  </a:pathLst>
                </a:custGeom>
                <a:grpFill/>
                <a:ln w="5978" cap="flat">
                  <a:noFill/>
                  <a:prstDash val="solid"/>
                  <a:miter/>
                </a:ln>
              </p:spPr>
              <p:txBody>
                <a:bodyPr rtlCol="0" anchor="ctr"/>
                <a:lstStyle/>
                <a:p>
                  <a:endParaRPr lang="en-GB"/>
                </a:p>
              </p:txBody>
            </p:sp>
            <p:sp>
              <p:nvSpPr>
                <p:cNvPr id="3627" name="Vrije vorm: vorm 3626">
                  <a:extLst>
                    <a:ext uri="{FF2B5EF4-FFF2-40B4-BE49-F238E27FC236}">
                      <a16:creationId xmlns:a16="http://schemas.microsoft.com/office/drawing/2014/main" id="{536A678A-F52F-4E35-A8A2-CC477B0214B1}"/>
                    </a:ext>
                  </a:extLst>
                </p:cNvPr>
                <p:cNvSpPr/>
                <p:nvPr/>
              </p:nvSpPr>
              <p:spPr>
                <a:xfrm>
                  <a:off x="7032088" y="5060386"/>
                  <a:ext cx="18311" cy="18426"/>
                </a:xfrm>
                <a:custGeom>
                  <a:avLst/>
                  <a:gdLst>
                    <a:gd name="connsiteX0" fmla="*/ 16991 w 18311"/>
                    <a:gd name="connsiteY0" fmla="*/ 4488 h 18426"/>
                    <a:gd name="connsiteX1" fmla="*/ 13880 w 18311"/>
                    <a:gd name="connsiteY1" fmla="*/ 17108 h 18426"/>
                    <a:gd name="connsiteX2" fmla="*/ 1321 w 18311"/>
                    <a:gd name="connsiteY2" fmla="*/ 13938 h 18426"/>
                    <a:gd name="connsiteX3" fmla="*/ 4430 w 18311"/>
                    <a:gd name="connsiteY3" fmla="*/ 1318 h 18426"/>
                    <a:gd name="connsiteX4" fmla="*/ 16991 w 18311"/>
                    <a:gd name="connsiteY4" fmla="*/ 448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6">
                      <a:moveTo>
                        <a:pt x="16991" y="4488"/>
                      </a:moveTo>
                      <a:cubicBezTo>
                        <a:pt x="19622" y="8854"/>
                        <a:pt x="18186" y="14536"/>
                        <a:pt x="13880" y="17108"/>
                      </a:cubicBezTo>
                      <a:cubicBezTo>
                        <a:pt x="9515" y="19739"/>
                        <a:pt x="3892" y="18304"/>
                        <a:pt x="1321" y="13938"/>
                      </a:cubicBezTo>
                      <a:cubicBezTo>
                        <a:pt x="-1311" y="9572"/>
                        <a:pt x="124" y="3890"/>
                        <a:pt x="4430" y="1318"/>
                      </a:cubicBezTo>
                      <a:cubicBezTo>
                        <a:pt x="8737" y="-1313"/>
                        <a:pt x="14418" y="122"/>
                        <a:pt x="16991" y="4488"/>
                      </a:cubicBezTo>
                      <a:close/>
                    </a:path>
                  </a:pathLst>
                </a:custGeom>
                <a:grpFill/>
                <a:ln w="5978" cap="flat">
                  <a:noFill/>
                  <a:prstDash val="solid"/>
                  <a:miter/>
                </a:ln>
              </p:spPr>
              <p:txBody>
                <a:bodyPr rtlCol="0" anchor="ctr"/>
                <a:lstStyle/>
                <a:p>
                  <a:endParaRPr lang="en-GB"/>
                </a:p>
              </p:txBody>
            </p:sp>
            <p:sp>
              <p:nvSpPr>
                <p:cNvPr id="3628" name="Vrije vorm: vorm 3627">
                  <a:extLst>
                    <a:ext uri="{FF2B5EF4-FFF2-40B4-BE49-F238E27FC236}">
                      <a16:creationId xmlns:a16="http://schemas.microsoft.com/office/drawing/2014/main" id="{90AA412B-AB9D-47E2-9326-23AD4A6DE88F}"/>
                    </a:ext>
                  </a:extLst>
                </p:cNvPr>
                <p:cNvSpPr/>
                <p:nvPr/>
              </p:nvSpPr>
              <p:spPr>
                <a:xfrm>
                  <a:off x="6976752" y="4967684"/>
                  <a:ext cx="18338" cy="18426"/>
                </a:xfrm>
                <a:custGeom>
                  <a:avLst/>
                  <a:gdLst>
                    <a:gd name="connsiteX0" fmla="*/ 17004 w 18338"/>
                    <a:gd name="connsiteY0" fmla="*/ 4488 h 18426"/>
                    <a:gd name="connsiteX1" fmla="*/ 4444 w 18338"/>
                    <a:gd name="connsiteY1" fmla="*/ 1318 h 18426"/>
                    <a:gd name="connsiteX2" fmla="*/ 1335 w 18338"/>
                    <a:gd name="connsiteY2" fmla="*/ 13938 h 18426"/>
                    <a:gd name="connsiteX3" fmla="*/ 13894 w 18338"/>
                    <a:gd name="connsiteY3" fmla="*/ 17108 h 18426"/>
                    <a:gd name="connsiteX4" fmla="*/ 17004 w 18338"/>
                    <a:gd name="connsiteY4" fmla="*/ 448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6">
                      <a:moveTo>
                        <a:pt x="17004" y="4488"/>
                      </a:moveTo>
                      <a:cubicBezTo>
                        <a:pt x="14372" y="122"/>
                        <a:pt x="8751" y="-1313"/>
                        <a:pt x="4444" y="1318"/>
                      </a:cubicBezTo>
                      <a:cubicBezTo>
                        <a:pt x="78" y="3950"/>
                        <a:pt x="-1297" y="9572"/>
                        <a:pt x="1335" y="13938"/>
                      </a:cubicBezTo>
                      <a:cubicBezTo>
                        <a:pt x="3966" y="18304"/>
                        <a:pt x="9588" y="19739"/>
                        <a:pt x="13894" y="17108"/>
                      </a:cubicBezTo>
                      <a:cubicBezTo>
                        <a:pt x="18260" y="14536"/>
                        <a:pt x="19636" y="8854"/>
                        <a:pt x="17004" y="4488"/>
                      </a:cubicBezTo>
                      <a:close/>
                    </a:path>
                  </a:pathLst>
                </a:custGeom>
                <a:grpFill/>
                <a:ln w="5978" cap="flat">
                  <a:noFill/>
                  <a:prstDash val="solid"/>
                  <a:miter/>
                </a:ln>
              </p:spPr>
              <p:txBody>
                <a:bodyPr rtlCol="0" anchor="ctr"/>
                <a:lstStyle/>
                <a:p>
                  <a:endParaRPr lang="en-GB"/>
                </a:p>
              </p:txBody>
            </p:sp>
          </p:grpSp>
          <p:grpSp>
            <p:nvGrpSpPr>
              <p:cNvPr id="588" name="Graphic 3">
                <a:extLst>
                  <a:ext uri="{FF2B5EF4-FFF2-40B4-BE49-F238E27FC236}">
                    <a16:creationId xmlns:a16="http://schemas.microsoft.com/office/drawing/2014/main" id="{1D5E942B-676F-4F5D-A7AE-A1F2F7A4A33F}"/>
                  </a:ext>
                </a:extLst>
              </p:cNvPr>
              <p:cNvGrpSpPr/>
              <p:nvPr/>
            </p:nvGrpSpPr>
            <p:grpSpPr>
              <a:xfrm>
                <a:off x="6943300" y="4850128"/>
                <a:ext cx="78828" cy="115783"/>
                <a:chOff x="6943300" y="4850128"/>
                <a:chExt cx="78828" cy="115783"/>
              </a:xfrm>
              <a:grpFill/>
            </p:grpSpPr>
            <p:sp>
              <p:nvSpPr>
                <p:cNvPr id="3623" name="Vrije vorm: vorm 3622">
                  <a:extLst>
                    <a:ext uri="{FF2B5EF4-FFF2-40B4-BE49-F238E27FC236}">
                      <a16:creationId xmlns:a16="http://schemas.microsoft.com/office/drawing/2014/main" id="{6C4A4B97-72D6-4AD0-BADB-6C7D196E4D14}"/>
                    </a:ext>
                  </a:extLst>
                </p:cNvPr>
                <p:cNvSpPr/>
                <p:nvPr/>
              </p:nvSpPr>
              <p:spPr>
                <a:xfrm>
                  <a:off x="6950874" y="4858120"/>
                  <a:ext cx="63634" cy="99758"/>
                </a:xfrm>
                <a:custGeom>
                  <a:avLst/>
                  <a:gdLst>
                    <a:gd name="connsiteX0" fmla="*/ 63635 w 63634"/>
                    <a:gd name="connsiteY0" fmla="*/ 98143 h 99758"/>
                    <a:gd name="connsiteX1" fmla="*/ 61063 w 63634"/>
                    <a:gd name="connsiteY1" fmla="*/ 99758 h 99758"/>
                    <a:gd name="connsiteX2" fmla="*/ 0 w 63634"/>
                    <a:gd name="connsiteY2" fmla="*/ 1615 h 99758"/>
                    <a:gd name="connsiteX3" fmla="*/ 2571 w 63634"/>
                    <a:gd name="connsiteY3" fmla="*/ 0 h 99758"/>
                  </a:gdLst>
                  <a:ahLst/>
                  <a:cxnLst>
                    <a:cxn ang="0">
                      <a:pos x="connsiteX0" y="connsiteY0"/>
                    </a:cxn>
                    <a:cxn ang="0">
                      <a:pos x="connsiteX1" y="connsiteY1"/>
                    </a:cxn>
                    <a:cxn ang="0">
                      <a:pos x="connsiteX2" y="connsiteY2"/>
                    </a:cxn>
                    <a:cxn ang="0">
                      <a:pos x="connsiteX3" y="connsiteY3"/>
                    </a:cxn>
                  </a:cxnLst>
                  <a:rect l="l" t="t" r="r" b="b"/>
                  <a:pathLst>
                    <a:path w="63634" h="99758">
                      <a:moveTo>
                        <a:pt x="63635" y="98143"/>
                      </a:moveTo>
                      <a:lnTo>
                        <a:pt x="61063" y="99758"/>
                      </a:lnTo>
                      <a:lnTo>
                        <a:pt x="0" y="1615"/>
                      </a:lnTo>
                      <a:lnTo>
                        <a:pt x="2571" y="0"/>
                      </a:lnTo>
                      <a:close/>
                    </a:path>
                  </a:pathLst>
                </a:custGeom>
                <a:grpFill/>
                <a:ln w="5978" cap="flat">
                  <a:noFill/>
                  <a:prstDash val="solid"/>
                  <a:miter/>
                </a:ln>
              </p:spPr>
              <p:txBody>
                <a:bodyPr rtlCol="0" anchor="ctr"/>
                <a:lstStyle/>
                <a:p>
                  <a:endParaRPr lang="en-GB"/>
                </a:p>
              </p:txBody>
            </p:sp>
            <p:sp>
              <p:nvSpPr>
                <p:cNvPr id="3624" name="Vrije vorm: vorm 3623">
                  <a:extLst>
                    <a:ext uri="{FF2B5EF4-FFF2-40B4-BE49-F238E27FC236}">
                      <a16:creationId xmlns:a16="http://schemas.microsoft.com/office/drawing/2014/main" id="{F50720CC-EE58-410B-940B-3CDCF093A289}"/>
                    </a:ext>
                  </a:extLst>
                </p:cNvPr>
                <p:cNvSpPr/>
                <p:nvPr/>
              </p:nvSpPr>
              <p:spPr>
                <a:xfrm>
                  <a:off x="7003840" y="4947454"/>
                  <a:ext cx="18289" cy="18458"/>
                </a:xfrm>
                <a:custGeom>
                  <a:avLst/>
                  <a:gdLst>
                    <a:gd name="connsiteX0" fmla="*/ 16889 w 18289"/>
                    <a:gd name="connsiteY0" fmla="*/ 4385 h 18458"/>
                    <a:gd name="connsiteX1" fmla="*/ 14019 w 18289"/>
                    <a:gd name="connsiteY1" fmla="*/ 17064 h 18458"/>
                    <a:gd name="connsiteX2" fmla="*/ 1399 w 18289"/>
                    <a:gd name="connsiteY2" fmla="*/ 14073 h 18458"/>
                    <a:gd name="connsiteX3" fmla="*/ 4270 w 18289"/>
                    <a:gd name="connsiteY3" fmla="*/ 1394 h 18458"/>
                    <a:gd name="connsiteX4" fmla="*/ 16889 w 18289"/>
                    <a:gd name="connsiteY4" fmla="*/ 438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8">
                      <a:moveTo>
                        <a:pt x="16889" y="4385"/>
                      </a:moveTo>
                      <a:cubicBezTo>
                        <a:pt x="19581" y="8691"/>
                        <a:pt x="18265" y="14372"/>
                        <a:pt x="14019" y="17064"/>
                      </a:cubicBezTo>
                      <a:cubicBezTo>
                        <a:pt x="9713" y="19755"/>
                        <a:pt x="4091" y="18439"/>
                        <a:pt x="1399" y="14073"/>
                      </a:cubicBezTo>
                      <a:cubicBezTo>
                        <a:pt x="-1292" y="9767"/>
                        <a:pt x="24" y="4086"/>
                        <a:pt x="4270" y="1394"/>
                      </a:cubicBezTo>
                      <a:cubicBezTo>
                        <a:pt x="8577" y="-1297"/>
                        <a:pt x="14258" y="19"/>
                        <a:pt x="16889" y="4385"/>
                      </a:cubicBezTo>
                      <a:close/>
                    </a:path>
                  </a:pathLst>
                </a:custGeom>
                <a:grpFill/>
                <a:ln w="5978" cap="flat">
                  <a:noFill/>
                  <a:prstDash val="solid"/>
                  <a:miter/>
                </a:ln>
              </p:spPr>
              <p:txBody>
                <a:bodyPr rtlCol="0" anchor="ctr"/>
                <a:lstStyle/>
                <a:p>
                  <a:endParaRPr lang="en-GB"/>
                </a:p>
              </p:txBody>
            </p:sp>
            <p:sp>
              <p:nvSpPr>
                <p:cNvPr id="3625" name="Vrije vorm: vorm 3624">
                  <a:extLst>
                    <a:ext uri="{FF2B5EF4-FFF2-40B4-BE49-F238E27FC236}">
                      <a16:creationId xmlns:a16="http://schemas.microsoft.com/office/drawing/2014/main" id="{8071BBC3-E174-4759-8945-540A4A92F93D}"/>
                    </a:ext>
                  </a:extLst>
                </p:cNvPr>
                <p:cNvSpPr/>
                <p:nvPr/>
              </p:nvSpPr>
              <p:spPr>
                <a:xfrm>
                  <a:off x="6943300" y="4850128"/>
                  <a:ext cx="18303" cy="18376"/>
                </a:xfrm>
                <a:custGeom>
                  <a:avLst/>
                  <a:gdLst>
                    <a:gd name="connsiteX0" fmla="*/ 16904 w 18303"/>
                    <a:gd name="connsiteY0" fmla="*/ 4344 h 18376"/>
                    <a:gd name="connsiteX1" fmla="*/ 4285 w 18303"/>
                    <a:gd name="connsiteY1" fmla="*/ 1354 h 18376"/>
                    <a:gd name="connsiteX2" fmla="*/ 1414 w 18303"/>
                    <a:gd name="connsiteY2" fmla="*/ 14033 h 18376"/>
                    <a:gd name="connsiteX3" fmla="*/ 14033 w 18303"/>
                    <a:gd name="connsiteY3" fmla="*/ 17023 h 18376"/>
                    <a:gd name="connsiteX4" fmla="*/ 16904 w 18303"/>
                    <a:gd name="connsiteY4" fmla="*/ 4344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76">
                      <a:moveTo>
                        <a:pt x="16904" y="4344"/>
                      </a:moveTo>
                      <a:cubicBezTo>
                        <a:pt x="14213" y="38"/>
                        <a:pt x="8531" y="-1278"/>
                        <a:pt x="4285" y="1354"/>
                      </a:cubicBezTo>
                      <a:cubicBezTo>
                        <a:pt x="-21" y="4045"/>
                        <a:pt x="-1277" y="9727"/>
                        <a:pt x="1414" y="14033"/>
                      </a:cubicBezTo>
                      <a:cubicBezTo>
                        <a:pt x="4106" y="18339"/>
                        <a:pt x="9787" y="19654"/>
                        <a:pt x="14033" y="17023"/>
                      </a:cubicBezTo>
                      <a:cubicBezTo>
                        <a:pt x="18280" y="14332"/>
                        <a:pt x="19596" y="8650"/>
                        <a:pt x="16904" y="4344"/>
                      </a:cubicBezTo>
                      <a:close/>
                    </a:path>
                  </a:pathLst>
                </a:custGeom>
                <a:grpFill/>
                <a:ln w="5978" cap="flat">
                  <a:noFill/>
                  <a:prstDash val="solid"/>
                  <a:miter/>
                </a:ln>
              </p:spPr>
              <p:txBody>
                <a:bodyPr rtlCol="0" anchor="ctr"/>
                <a:lstStyle/>
                <a:p>
                  <a:endParaRPr lang="en-GB"/>
                </a:p>
              </p:txBody>
            </p:sp>
          </p:grpSp>
          <p:grpSp>
            <p:nvGrpSpPr>
              <p:cNvPr id="589" name="Graphic 3">
                <a:extLst>
                  <a:ext uri="{FF2B5EF4-FFF2-40B4-BE49-F238E27FC236}">
                    <a16:creationId xmlns:a16="http://schemas.microsoft.com/office/drawing/2014/main" id="{640155A8-CDAE-41F0-A9A1-BFEED6DD742F}"/>
                  </a:ext>
                </a:extLst>
              </p:cNvPr>
              <p:cNvGrpSpPr/>
              <p:nvPr/>
            </p:nvGrpSpPr>
            <p:grpSpPr>
              <a:xfrm>
                <a:off x="5796290" y="1357659"/>
                <a:ext cx="42893" cy="219741"/>
                <a:chOff x="5796290" y="1357659"/>
                <a:chExt cx="42893" cy="219741"/>
              </a:xfrm>
              <a:grpFill/>
            </p:grpSpPr>
            <p:sp>
              <p:nvSpPr>
                <p:cNvPr id="3620" name="Vrije vorm: vorm 3619">
                  <a:extLst>
                    <a:ext uri="{FF2B5EF4-FFF2-40B4-BE49-F238E27FC236}">
                      <a16:creationId xmlns:a16="http://schemas.microsoft.com/office/drawing/2014/main" id="{9029220C-D38B-48AF-A5C4-0550EF1EB4F3}"/>
                    </a:ext>
                  </a:extLst>
                </p:cNvPr>
                <p:cNvSpPr/>
                <p:nvPr/>
              </p:nvSpPr>
              <p:spPr>
                <a:xfrm>
                  <a:off x="5803891" y="1366216"/>
                  <a:ext cx="27630" cy="202626"/>
                </a:xfrm>
                <a:custGeom>
                  <a:avLst/>
                  <a:gdLst>
                    <a:gd name="connsiteX0" fmla="*/ 3050 w 27630"/>
                    <a:gd name="connsiteY0" fmla="*/ 0 h 202626"/>
                    <a:gd name="connsiteX1" fmla="*/ 27631 w 27630"/>
                    <a:gd name="connsiteY1" fmla="*/ 202268 h 202626"/>
                    <a:gd name="connsiteX2" fmla="*/ 24641 w 27630"/>
                    <a:gd name="connsiteY2" fmla="*/ 202627 h 202626"/>
                    <a:gd name="connsiteX3" fmla="*/ 0 w 27630"/>
                    <a:gd name="connsiteY3" fmla="*/ 419 h 202626"/>
                  </a:gdLst>
                  <a:ahLst/>
                  <a:cxnLst>
                    <a:cxn ang="0">
                      <a:pos x="connsiteX0" y="connsiteY0"/>
                    </a:cxn>
                    <a:cxn ang="0">
                      <a:pos x="connsiteX1" y="connsiteY1"/>
                    </a:cxn>
                    <a:cxn ang="0">
                      <a:pos x="connsiteX2" y="connsiteY2"/>
                    </a:cxn>
                    <a:cxn ang="0">
                      <a:pos x="connsiteX3" y="connsiteY3"/>
                    </a:cxn>
                  </a:cxnLst>
                  <a:rect l="l" t="t" r="r" b="b"/>
                  <a:pathLst>
                    <a:path w="27630" h="202626">
                      <a:moveTo>
                        <a:pt x="3050" y="0"/>
                      </a:moveTo>
                      <a:lnTo>
                        <a:pt x="27631" y="202268"/>
                      </a:lnTo>
                      <a:lnTo>
                        <a:pt x="24641" y="202627"/>
                      </a:lnTo>
                      <a:lnTo>
                        <a:pt x="0" y="419"/>
                      </a:lnTo>
                      <a:close/>
                    </a:path>
                  </a:pathLst>
                </a:custGeom>
                <a:grpFill/>
                <a:ln w="5978" cap="flat">
                  <a:noFill/>
                  <a:prstDash val="solid"/>
                  <a:miter/>
                </a:ln>
              </p:spPr>
              <p:txBody>
                <a:bodyPr rtlCol="0" anchor="ctr"/>
                <a:lstStyle/>
                <a:p>
                  <a:endParaRPr lang="en-GB"/>
                </a:p>
              </p:txBody>
            </p:sp>
            <p:sp>
              <p:nvSpPr>
                <p:cNvPr id="3621" name="Vrije vorm: vorm 3620">
                  <a:extLst>
                    <a:ext uri="{FF2B5EF4-FFF2-40B4-BE49-F238E27FC236}">
                      <a16:creationId xmlns:a16="http://schemas.microsoft.com/office/drawing/2014/main" id="{4C6EC543-5E0F-4BD3-8512-0A723805B006}"/>
                    </a:ext>
                  </a:extLst>
                </p:cNvPr>
                <p:cNvSpPr/>
                <p:nvPr/>
              </p:nvSpPr>
              <p:spPr>
                <a:xfrm>
                  <a:off x="5796290" y="1357659"/>
                  <a:ext cx="18312" cy="18431"/>
                </a:xfrm>
                <a:custGeom>
                  <a:avLst/>
                  <a:gdLst>
                    <a:gd name="connsiteX0" fmla="*/ 66 w 18312"/>
                    <a:gd name="connsiteY0" fmla="*/ 10292 h 18431"/>
                    <a:gd name="connsiteX1" fmla="*/ 8020 w 18312"/>
                    <a:gd name="connsiteY1" fmla="*/ 65 h 18431"/>
                    <a:gd name="connsiteX2" fmla="*/ 18248 w 18312"/>
                    <a:gd name="connsiteY2" fmla="*/ 8139 h 18431"/>
                    <a:gd name="connsiteX3" fmla="*/ 10293 w 18312"/>
                    <a:gd name="connsiteY3" fmla="*/ 18366 h 18431"/>
                    <a:gd name="connsiteX4" fmla="*/ 66 w 18312"/>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1">
                      <a:moveTo>
                        <a:pt x="66" y="10292"/>
                      </a:moveTo>
                      <a:cubicBezTo>
                        <a:pt x="-532" y="5268"/>
                        <a:pt x="2997" y="663"/>
                        <a:pt x="8020" y="65"/>
                      </a:cubicBezTo>
                      <a:cubicBezTo>
                        <a:pt x="13044" y="-533"/>
                        <a:pt x="17590" y="3055"/>
                        <a:pt x="18248" y="8139"/>
                      </a:cubicBezTo>
                      <a:cubicBezTo>
                        <a:pt x="18846" y="13163"/>
                        <a:pt x="15257" y="17768"/>
                        <a:pt x="10293" y="18366"/>
                      </a:cubicBezTo>
                      <a:cubicBezTo>
                        <a:pt x="5270" y="18964"/>
                        <a:pt x="724" y="15376"/>
                        <a:pt x="66" y="10292"/>
                      </a:cubicBezTo>
                      <a:close/>
                    </a:path>
                  </a:pathLst>
                </a:custGeom>
                <a:grpFill/>
                <a:ln w="5978" cap="flat">
                  <a:noFill/>
                  <a:prstDash val="solid"/>
                  <a:miter/>
                </a:ln>
              </p:spPr>
              <p:txBody>
                <a:bodyPr rtlCol="0" anchor="ctr"/>
                <a:lstStyle/>
                <a:p>
                  <a:endParaRPr lang="en-GB"/>
                </a:p>
              </p:txBody>
            </p:sp>
            <p:sp>
              <p:nvSpPr>
                <p:cNvPr id="3622" name="Vrije vorm: vorm 3621">
                  <a:extLst>
                    <a:ext uri="{FF2B5EF4-FFF2-40B4-BE49-F238E27FC236}">
                      <a16:creationId xmlns:a16="http://schemas.microsoft.com/office/drawing/2014/main" id="{6489C2B3-F6BC-44CA-90CA-2A0EF2E32DBF}"/>
                    </a:ext>
                  </a:extLst>
                </p:cNvPr>
                <p:cNvSpPr/>
                <p:nvPr/>
              </p:nvSpPr>
              <p:spPr>
                <a:xfrm>
                  <a:off x="5820812" y="1558971"/>
                  <a:ext cx="18371" cy="18429"/>
                </a:xfrm>
                <a:custGeom>
                  <a:avLst/>
                  <a:gdLst>
                    <a:gd name="connsiteX0" fmla="*/ 65 w 18371"/>
                    <a:gd name="connsiteY0" fmla="*/ 10291 h 18429"/>
                    <a:gd name="connsiteX1" fmla="*/ 10292 w 18371"/>
                    <a:gd name="connsiteY1" fmla="*/ 18365 h 18429"/>
                    <a:gd name="connsiteX2" fmla="*/ 18306 w 18371"/>
                    <a:gd name="connsiteY2" fmla="*/ 8138 h 18429"/>
                    <a:gd name="connsiteX3" fmla="*/ 8079 w 18371"/>
                    <a:gd name="connsiteY3" fmla="*/ 64 h 18429"/>
                    <a:gd name="connsiteX4" fmla="*/ 65 w 18371"/>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29">
                      <a:moveTo>
                        <a:pt x="65" y="10291"/>
                      </a:moveTo>
                      <a:cubicBezTo>
                        <a:pt x="663" y="15315"/>
                        <a:pt x="5268" y="18963"/>
                        <a:pt x="10292" y="18365"/>
                      </a:cubicBezTo>
                      <a:cubicBezTo>
                        <a:pt x="15316" y="17767"/>
                        <a:pt x="18904" y="13162"/>
                        <a:pt x="18306" y="8138"/>
                      </a:cubicBezTo>
                      <a:cubicBezTo>
                        <a:pt x="17708" y="3114"/>
                        <a:pt x="13103" y="-534"/>
                        <a:pt x="8079" y="64"/>
                      </a:cubicBezTo>
                      <a:cubicBezTo>
                        <a:pt x="3056" y="662"/>
                        <a:pt x="-533" y="5267"/>
                        <a:pt x="65" y="10291"/>
                      </a:cubicBezTo>
                      <a:close/>
                    </a:path>
                  </a:pathLst>
                </a:custGeom>
                <a:grpFill/>
                <a:ln w="5978" cap="flat">
                  <a:noFill/>
                  <a:prstDash val="solid"/>
                  <a:miter/>
                </a:ln>
              </p:spPr>
              <p:txBody>
                <a:bodyPr rtlCol="0" anchor="ctr"/>
                <a:lstStyle/>
                <a:p>
                  <a:endParaRPr lang="en-GB"/>
                </a:p>
              </p:txBody>
            </p:sp>
          </p:grpSp>
          <p:grpSp>
            <p:nvGrpSpPr>
              <p:cNvPr id="590" name="Graphic 3">
                <a:extLst>
                  <a:ext uri="{FF2B5EF4-FFF2-40B4-BE49-F238E27FC236}">
                    <a16:creationId xmlns:a16="http://schemas.microsoft.com/office/drawing/2014/main" id="{0CBA5E59-B1CF-4181-8AFF-FF8FD4874603}"/>
                  </a:ext>
                </a:extLst>
              </p:cNvPr>
              <p:cNvGrpSpPr/>
              <p:nvPr/>
            </p:nvGrpSpPr>
            <p:grpSpPr>
              <a:xfrm>
                <a:off x="5758597" y="1364151"/>
                <a:ext cx="20567" cy="34990"/>
                <a:chOff x="5758597" y="1364151"/>
                <a:chExt cx="20567" cy="34990"/>
              </a:xfrm>
              <a:grpFill/>
            </p:grpSpPr>
            <p:sp>
              <p:nvSpPr>
                <p:cNvPr id="3618" name="Vrije vorm: vorm 3617">
                  <a:extLst>
                    <a:ext uri="{FF2B5EF4-FFF2-40B4-BE49-F238E27FC236}">
                      <a16:creationId xmlns:a16="http://schemas.microsoft.com/office/drawing/2014/main" id="{71298661-A510-4A25-A643-5EC18EBF9344}"/>
                    </a:ext>
                  </a:extLst>
                </p:cNvPr>
                <p:cNvSpPr/>
                <p:nvPr/>
              </p:nvSpPr>
              <p:spPr>
                <a:xfrm>
                  <a:off x="5758597" y="1364151"/>
                  <a:ext cx="18341" cy="18411"/>
                </a:xfrm>
                <a:custGeom>
                  <a:avLst/>
                  <a:gdLst>
                    <a:gd name="connsiteX0" fmla="*/ 18262 w 18341"/>
                    <a:gd name="connsiteY0" fmla="*/ 7986 h 18411"/>
                    <a:gd name="connsiteX1" fmla="*/ 10427 w 18341"/>
                    <a:gd name="connsiteY1" fmla="*/ 18333 h 18411"/>
                    <a:gd name="connsiteX2" fmla="*/ 80 w 18341"/>
                    <a:gd name="connsiteY2" fmla="*/ 10438 h 18411"/>
                    <a:gd name="connsiteX3" fmla="*/ 7915 w 18341"/>
                    <a:gd name="connsiteY3" fmla="*/ 91 h 18411"/>
                    <a:gd name="connsiteX4" fmla="*/ 18262 w 18341"/>
                    <a:gd name="connsiteY4" fmla="*/ 7986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11">
                      <a:moveTo>
                        <a:pt x="18262" y="7986"/>
                      </a:moveTo>
                      <a:cubicBezTo>
                        <a:pt x="18919" y="13010"/>
                        <a:pt x="15450" y="17675"/>
                        <a:pt x="10427" y="18333"/>
                      </a:cubicBezTo>
                      <a:cubicBezTo>
                        <a:pt x="5403" y="18991"/>
                        <a:pt x="798" y="15462"/>
                        <a:pt x="80" y="10438"/>
                      </a:cubicBezTo>
                      <a:cubicBezTo>
                        <a:pt x="-578" y="5414"/>
                        <a:pt x="2891" y="749"/>
                        <a:pt x="7915" y="91"/>
                      </a:cubicBezTo>
                      <a:cubicBezTo>
                        <a:pt x="12939" y="-626"/>
                        <a:pt x="17544" y="2962"/>
                        <a:pt x="18262" y="7986"/>
                      </a:cubicBezTo>
                      <a:close/>
                    </a:path>
                  </a:pathLst>
                </a:custGeom>
                <a:grpFill/>
                <a:ln w="5978" cap="flat">
                  <a:noFill/>
                  <a:prstDash val="solid"/>
                  <a:miter/>
                </a:ln>
              </p:spPr>
              <p:txBody>
                <a:bodyPr rtlCol="0" anchor="ctr"/>
                <a:lstStyle/>
                <a:p>
                  <a:endParaRPr lang="en-GB"/>
                </a:p>
              </p:txBody>
            </p:sp>
            <p:sp>
              <p:nvSpPr>
                <p:cNvPr id="3619" name="Vrije vorm: vorm 3618">
                  <a:extLst>
                    <a:ext uri="{FF2B5EF4-FFF2-40B4-BE49-F238E27FC236}">
                      <a16:creationId xmlns:a16="http://schemas.microsoft.com/office/drawing/2014/main" id="{EBDB3FCF-AD1B-4E44-B850-19516347CC2B}"/>
                    </a:ext>
                  </a:extLst>
                </p:cNvPr>
                <p:cNvSpPr/>
                <p:nvPr/>
              </p:nvSpPr>
              <p:spPr>
                <a:xfrm>
                  <a:off x="5760797" y="1380718"/>
                  <a:ext cx="18367" cy="18424"/>
                </a:xfrm>
                <a:custGeom>
                  <a:avLst/>
                  <a:gdLst>
                    <a:gd name="connsiteX0" fmla="*/ 18274 w 18367"/>
                    <a:gd name="connsiteY0" fmla="*/ 7986 h 18424"/>
                    <a:gd name="connsiteX1" fmla="*/ 7927 w 18367"/>
                    <a:gd name="connsiteY1" fmla="*/ 91 h 18424"/>
                    <a:gd name="connsiteX2" fmla="*/ 93 w 18367"/>
                    <a:gd name="connsiteY2" fmla="*/ 10438 h 18424"/>
                    <a:gd name="connsiteX3" fmla="*/ 10440 w 18367"/>
                    <a:gd name="connsiteY3" fmla="*/ 18333 h 18424"/>
                    <a:gd name="connsiteX4" fmla="*/ 18274 w 18367"/>
                    <a:gd name="connsiteY4" fmla="*/ 7986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24">
                      <a:moveTo>
                        <a:pt x="18274" y="7986"/>
                      </a:moveTo>
                      <a:cubicBezTo>
                        <a:pt x="17616" y="2962"/>
                        <a:pt x="12951" y="-626"/>
                        <a:pt x="7927" y="91"/>
                      </a:cubicBezTo>
                      <a:cubicBezTo>
                        <a:pt x="2904" y="749"/>
                        <a:pt x="-625" y="5414"/>
                        <a:pt x="93" y="10438"/>
                      </a:cubicBezTo>
                      <a:cubicBezTo>
                        <a:pt x="751" y="15462"/>
                        <a:pt x="5416" y="19050"/>
                        <a:pt x="10440" y="18333"/>
                      </a:cubicBezTo>
                      <a:cubicBezTo>
                        <a:pt x="15463" y="17675"/>
                        <a:pt x="18992" y="13070"/>
                        <a:pt x="18274" y="7986"/>
                      </a:cubicBezTo>
                      <a:close/>
                    </a:path>
                  </a:pathLst>
                </a:custGeom>
                <a:grpFill/>
                <a:ln w="5978" cap="flat">
                  <a:noFill/>
                  <a:prstDash val="solid"/>
                  <a:miter/>
                </a:ln>
              </p:spPr>
              <p:txBody>
                <a:bodyPr rtlCol="0" anchor="ctr"/>
                <a:lstStyle/>
                <a:p>
                  <a:endParaRPr lang="en-GB"/>
                </a:p>
              </p:txBody>
            </p:sp>
          </p:grpSp>
          <p:grpSp>
            <p:nvGrpSpPr>
              <p:cNvPr id="591" name="Graphic 3">
                <a:extLst>
                  <a:ext uri="{FF2B5EF4-FFF2-40B4-BE49-F238E27FC236}">
                    <a16:creationId xmlns:a16="http://schemas.microsoft.com/office/drawing/2014/main" id="{9D05DA87-913C-422D-92DF-2C80BC7A3B24}"/>
                  </a:ext>
                </a:extLst>
              </p:cNvPr>
              <p:cNvGrpSpPr/>
              <p:nvPr/>
            </p:nvGrpSpPr>
            <p:grpSpPr>
              <a:xfrm>
                <a:off x="5858503" y="1588119"/>
                <a:ext cx="32450" cy="155523"/>
                <a:chOff x="5858503" y="1588119"/>
                <a:chExt cx="32450" cy="155523"/>
              </a:xfrm>
              <a:grpFill/>
            </p:grpSpPr>
            <p:sp>
              <p:nvSpPr>
                <p:cNvPr id="3615" name="Vrije vorm: vorm 3614">
                  <a:extLst>
                    <a:ext uri="{FF2B5EF4-FFF2-40B4-BE49-F238E27FC236}">
                      <a16:creationId xmlns:a16="http://schemas.microsoft.com/office/drawing/2014/main" id="{EC30255E-A22F-42D6-81FC-5C4233E4ACF7}"/>
                    </a:ext>
                  </a:extLst>
                </p:cNvPr>
                <p:cNvSpPr/>
                <p:nvPr/>
              </p:nvSpPr>
              <p:spPr>
                <a:xfrm>
                  <a:off x="5866091" y="1596713"/>
                  <a:ext cx="17284" cy="138334"/>
                </a:xfrm>
                <a:custGeom>
                  <a:avLst/>
                  <a:gdLst>
                    <a:gd name="connsiteX0" fmla="*/ 3050 w 17284"/>
                    <a:gd name="connsiteY0" fmla="*/ 0 h 138334"/>
                    <a:gd name="connsiteX1" fmla="*/ 17284 w 17284"/>
                    <a:gd name="connsiteY1" fmla="*/ 138035 h 138334"/>
                    <a:gd name="connsiteX2" fmla="*/ 14234 w 17284"/>
                    <a:gd name="connsiteY2" fmla="*/ 138334 h 138334"/>
                    <a:gd name="connsiteX3" fmla="*/ 0 w 17284"/>
                    <a:gd name="connsiteY3" fmla="*/ 299 h 138334"/>
                  </a:gdLst>
                  <a:ahLst/>
                  <a:cxnLst>
                    <a:cxn ang="0">
                      <a:pos x="connsiteX0" y="connsiteY0"/>
                    </a:cxn>
                    <a:cxn ang="0">
                      <a:pos x="connsiteX1" y="connsiteY1"/>
                    </a:cxn>
                    <a:cxn ang="0">
                      <a:pos x="connsiteX2" y="connsiteY2"/>
                    </a:cxn>
                    <a:cxn ang="0">
                      <a:pos x="connsiteX3" y="connsiteY3"/>
                    </a:cxn>
                  </a:cxnLst>
                  <a:rect l="l" t="t" r="r" b="b"/>
                  <a:pathLst>
                    <a:path w="17284" h="138334">
                      <a:moveTo>
                        <a:pt x="3050" y="0"/>
                      </a:moveTo>
                      <a:lnTo>
                        <a:pt x="17284" y="138035"/>
                      </a:lnTo>
                      <a:lnTo>
                        <a:pt x="14234" y="138334"/>
                      </a:lnTo>
                      <a:lnTo>
                        <a:pt x="0" y="299"/>
                      </a:lnTo>
                      <a:close/>
                    </a:path>
                  </a:pathLst>
                </a:custGeom>
                <a:grpFill/>
                <a:ln w="5978" cap="flat">
                  <a:noFill/>
                  <a:prstDash val="solid"/>
                  <a:miter/>
                </a:ln>
              </p:spPr>
              <p:txBody>
                <a:bodyPr rtlCol="0" anchor="ctr"/>
                <a:lstStyle/>
                <a:p>
                  <a:endParaRPr lang="en-GB"/>
                </a:p>
              </p:txBody>
            </p:sp>
            <p:sp>
              <p:nvSpPr>
                <p:cNvPr id="3616" name="Vrije vorm: vorm 3615">
                  <a:extLst>
                    <a:ext uri="{FF2B5EF4-FFF2-40B4-BE49-F238E27FC236}">
                      <a16:creationId xmlns:a16="http://schemas.microsoft.com/office/drawing/2014/main" id="{15B39CC9-9C3F-4EBE-AF56-D12880ACBACA}"/>
                    </a:ext>
                  </a:extLst>
                </p:cNvPr>
                <p:cNvSpPr/>
                <p:nvPr/>
              </p:nvSpPr>
              <p:spPr>
                <a:xfrm>
                  <a:off x="5858503" y="1588119"/>
                  <a:ext cx="18346" cy="18444"/>
                </a:xfrm>
                <a:custGeom>
                  <a:avLst/>
                  <a:gdLst>
                    <a:gd name="connsiteX0" fmla="*/ 53 w 18346"/>
                    <a:gd name="connsiteY0" fmla="*/ 10150 h 18444"/>
                    <a:gd name="connsiteX1" fmla="*/ 8246 w 18346"/>
                    <a:gd name="connsiteY1" fmla="*/ 42 h 18444"/>
                    <a:gd name="connsiteX2" fmla="*/ 18294 w 18346"/>
                    <a:gd name="connsiteY2" fmla="*/ 8296 h 18444"/>
                    <a:gd name="connsiteX3" fmla="*/ 10100 w 18346"/>
                    <a:gd name="connsiteY3" fmla="*/ 18403 h 18444"/>
                    <a:gd name="connsiteX4" fmla="*/ 53 w 18346"/>
                    <a:gd name="connsiteY4" fmla="*/ 1015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53" y="10150"/>
                      </a:moveTo>
                      <a:cubicBezTo>
                        <a:pt x="-485" y="5066"/>
                        <a:pt x="3163" y="580"/>
                        <a:pt x="8246" y="42"/>
                      </a:cubicBezTo>
                      <a:cubicBezTo>
                        <a:pt x="13270" y="-436"/>
                        <a:pt x="17756" y="3212"/>
                        <a:pt x="18294" y="8296"/>
                      </a:cubicBezTo>
                      <a:cubicBezTo>
                        <a:pt x="18832" y="13379"/>
                        <a:pt x="15184" y="17865"/>
                        <a:pt x="10100" y="18403"/>
                      </a:cubicBezTo>
                      <a:cubicBezTo>
                        <a:pt x="5077" y="18881"/>
                        <a:pt x="591" y="15173"/>
                        <a:pt x="53" y="10150"/>
                      </a:cubicBezTo>
                      <a:close/>
                    </a:path>
                  </a:pathLst>
                </a:custGeom>
                <a:grpFill/>
                <a:ln w="5978" cap="flat">
                  <a:noFill/>
                  <a:prstDash val="solid"/>
                  <a:miter/>
                </a:ln>
              </p:spPr>
              <p:txBody>
                <a:bodyPr rtlCol="0" anchor="ctr"/>
                <a:lstStyle/>
                <a:p>
                  <a:endParaRPr lang="en-GB"/>
                </a:p>
              </p:txBody>
            </p:sp>
            <p:sp>
              <p:nvSpPr>
                <p:cNvPr id="3617" name="Vrije vorm: vorm 3616">
                  <a:extLst>
                    <a:ext uri="{FF2B5EF4-FFF2-40B4-BE49-F238E27FC236}">
                      <a16:creationId xmlns:a16="http://schemas.microsoft.com/office/drawing/2014/main" id="{65BDB5CD-9F65-49D3-A5D8-01B0409306D4}"/>
                    </a:ext>
                  </a:extLst>
                </p:cNvPr>
                <p:cNvSpPr/>
                <p:nvPr/>
              </p:nvSpPr>
              <p:spPr>
                <a:xfrm>
                  <a:off x="5872628" y="1725197"/>
                  <a:ext cx="18325" cy="18445"/>
                </a:xfrm>
                <a:custGeom>
                  <a:avLst/>
                  <a:gdLst>
                    <a:gd name="connsiteX0" fmla="*/ 42 w 18325"/>
                    <a:gd name="connsiteY0" fmla="*/ 10149 h 18445"/>
                    <a:gd name="connsiteX1" fmla="*/ 10090 w 18325"/>
                    <a:gd name="connsiteY1" fmla="*/ 18403 h 18445"/>
                    <a:gd name="connsiteX2" fmla="*/ 18284 w 18325"/>
                    <a:gd name="connsiteY2" fmla="*/ 8295 h 18445"/>
                    <a:gd name="connsiteX3" fmla="*/ 8236 w 18325"/>
                    <a:gd name="connsiteY3" fmla="*/ 42 h 18445"/>
                    <a:gd name="connsiteX4" fmla="*/ 42 w 18325"/>
                    <a:gd name="connsiteY4" fmla="*/ 10149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45">
                      <a:moveTo>
                        <a:pt x="42" y="10149"/>
                      </a:moveTo>
                      <a:cubicBezTo>
                        <a:pt x="581" y="15233"/>
                        <a:pt x="5066" y="18881"/>
                        <a:pt x="10090" y="18403"/>
                      </a:cubicBezTo>
                      <a:cubicBezTo>
                        <a:pt x="15114" y="17924"/>
                        <a:pt x="18762" y="13379"/>
                        <a:pt x="18284" y="8295"/>
                      </a:cubicBezTo>
                      <a:cubicBezTo>
                        <a:pt x="17745" y="3212"/>
                        <a:pt x="13260" y="-436"/>
                        <a:pt x="8236" y="42"/>
                      </a:cubicBezTo>
                      <a:cubicBezTo>
                        <a:pt x="3212" y="580"/>
                        <a:pt x="-436" y="5126"/>
                        <a:pt x="42" y="10149"/>
                      </a:cubicBezTo>
                      <a:close/>
                    </a:path>
                  </a:pathLst>
                </a:custGeom>
                <a:grpFill/>
                <a:ln w="5978" cap="flat">
                  <a:noFill/>
                  <a:prstDash val="solid"/>
                  <a:miter/>
                </a:ln>
              </p:spPr>
              <p:txBody>
                <a:bodyPr rtlCol="0" anchor="ctr"/>
                <a:lstStyle/>
                <a:p>
                  <a:endParaRPr lang="en-GB"/>
                </a:p>
              </p:txBody>
            </p:sp>
          </p:grpSp>
          <p:grpSp>
            <p:nvGrpSpPr>
              <p:cNvPr id="592" name="Graphic 3">
                <a:extLst>
                  <a:ext uri="{FF2B5EF4-FFF2-40B4-BE49-F238E27FC236}">
                    <a16:creationId xmlns:a16="http://schemas.microsoft.com/office/drawing/2014/main" id="{C47319F5-F712-4915-AE10-E0ECD84ED257}"/>
                  </a:ext>
                </a:extLst>
              </p:cNvPr>
              <p:cNvGrpSpPr/>
              <p:nvPr/>
            </p:nvGrpSpPr>
            <p:grpSpPr>
              <a:xfrm>
                <a:off x="6913476" y="4861646"/>
                <a:ext cx="72151" cy="108615"/>
                <a:chOff x="6913476" y="4861646"/>
                <a:chExt cx="72151" cy="108615"/>
              </a:xfrm>
              <a:grpFill/>
            </p:grpSpPr>
            <p:sp>
              <p:nvSpPr>
                <p:cNvPr id="3612" name="Vrije vorm: vorm 3611">
                  <a:extLst>
                    <a:ext uri="{FF2B5EF4-FFF2-40B4-BE49-F238E27FC236}">
                      <a16:creationId xmlns:a16="http://schemas.microsoft.com/office/drawing/2014/main" id="{73446041-323D-49A5-9DAA-EFF1A0CE7B1A}"/>
                    </a:ext>
                  </a:extLst>
                </p:cNvPr>
                <p:cNvSpPr/>
                <p:nvPr/>
              </p:nvSpPr>
              <p:spPr>
                <a:xfrm>
                  <a:off x="6921091" y="4869663"/>
                  <a:ext cx="56936" cy="92581"/>
                </a:xfrm>
                <a:custGeom>
                  <a:avLst/>
                  <a:gdLst>
                    <a:gd name="connsiteX0" fmla="*/ 56937 w 56936"/>
                    <a:gd name="connsiteY0" fmla="*/ 91026 h 92581"/>
                    <a:gd name="connsiteX1" fmla="*/ 54305 w 56936"/>
                    <a:gd name="connsiteY1" fmla="*/ 92581 h 92581"/>
                    <a:gd name="connsiteX2" fmla="*/ 0 w 56936"/>
                    <a:gd name="connsiteY2" fmla="*/ 1555 h 92581"/>
                    <a:gd name="connsiteX3" fmla="*/ 2631 w 56936"/>
                    <a:gd name="connsiteY3" fmla="*/ 0 h 92581"/>
                  </a:gdLst>
                  <a:ahLst/>
                  <a:cxnLst>
                    <a:cxn ang="0">
                      <a:pos x="connsiteX0" y="connsiteY0"/>
                    </a:cxn>
                    <a:cxn ang="0">
                      <a:pos x="connsiteX1" y="connsiteY1"/>
                    </a:cxn>
                    <a:cxn ang="0">
                      <a:pos x="connsiteX2" y="connsiteY2"/>
                    </a:cxn>
                    <a:cxn ang="0">
                      <a:pos x="connsiteX3" y="connsiteY3"/>
                    </a:cxn>
                  </a:cxnLst>
                  <a:rect l="l" t="t" r="r" b="b"/>
                  <a:pathLst>
                    <a:path w="56936" h="92581">
                      <a:moveTo>
                        <a:pt x="56937" y="91026"/>
                      </a:moveTo>
                      <a:lnTo>
                        <a:pt x="54305" y="92581"/>
                      </a:lnTo>
                      <a:lnTo>
                        <a:pt x="0" y="1555"/>
                      </a:lnTo>
                      <a:lnTo>
                        <a:pt x="2631" y="0"/>
                      </a:lnTo>
                      <a:close/>
                    </a:path>
                  </a:pathLst>
                </a:custGeom>
                <a:grpFill/>
                <a:ln w="5978" cap="flat">
                  <a:noFill/>
                  <a:prstDash val="solid"/>
                  <a:miter/>
                </a:ln>
              </p:spPr>
              <p:txBody>
                <a:bodyPr rtlCol="0" anchor="ctr"/>
                <a:lstStyle/>
                <a:p>
                  <a:endParaRPr lang="en-GB"/>
                </a:p>
              </p:txBody>
            </p:sp>
            <p:sp>
              <p:nvSpPr>
                <p:cNvPr id="3613" name="Vrije vorm: vorm 3612">
                  <a:extLst>
                    <a:ext uri="{FF2B5EF4-FFF2-40B4-BE49-F238E27FC236}">
                      <a16:creationId xmlns:a16="http://schemas.microsoft.com/office/drawing/2014/main" id="{6F137229-C0EF-4504-AA52-FD10BCFE7E04}"/>
                    </a:ext>
                  </a:extLst>
                </p:cNvPr>
                <p:cNvSpPr/>
                <p:nvPr/>
              </p:nvSpPr>
              <p:spPr>
                <a:xfrm>
                  <a:off x="6967316" y="4951835"/>
                  <a:ext cx="18311" cy="18425"/>
                </a:xfrm>
                <a:custGeom>
                  <a:avLst/>
                  <a:gdLst>
                    <a:gd name="connsiteX0" fmla="*/ 16990 w 18311"/>
                    <a:gd name="connsiteY0" fmla="*/ 4488 h 18425"/>
                    <a:gd name="connsiteX1" fmla="*/ 13880 w 18311"/>
                    <a:gd name="connsiteY1" fmla="*/ 17108 h 18425"/>
                    <a:gd name="connsiteX2" fmla="*/ 1321 w 18311"/>
                    <a:gd name="connsiteY2" fmla="*/ 13938 h 18425"/>
                    <a:gd name="connsiteX3" fmla="*/ 4431 w 18311"/>
                    <a:gd name="connsiteY3" fmla="*/ 1318 h 18425"/>
                    <a:gd name="connsiteX4" fmla="*/ 16990 w 18311"/>
                    <a:gd name="connsiteY4" fmla="*/ 448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5">
                      <a:moveTo>
                        <a:pt x="16990" y="4488"/>
                      </a:moveTo>
                      <a:cubicBezTo>
                        <a:pt x="19622" y="8854"/>
                        <a:pt x="18187" y="14536"/>
                        <a:pt x="13880" y="17108"/>
                      </a:cubicBezTo>
                      <a:cubicBezTo>
                        <a:pt x="9514" y="19739"/>
                        <a:pt x="3893" y="18304"/>
                        <a:pt x="1321" y="13938"/>
                      </a:cubicBezTo>
                      <a:cubicBezTo>
                        <a:pt x="-1311" y="9572"/>
                        <a:pt x="125" y="3890"/>
                        <a:pt x="4431" y="1318"/>
                      </a:cubicBezTo>
                      <a:cubicBezTo>
                        <a:pt x="8796" y="-1313"/>
                        <a:pt x="14419" y="122"/>
                        <a:pt x="16990" y="4488"/>
                      </a:cubicBezTo>
                      <a:close/>
                    </a:path>
                  </a:pathLst>
                </a:custGeom>
                <a:grpFill/>
                <a:ln w="5978" cap="flat">
                  <a:noFill/>
                  <a:prstDash val="solid"/>
                  <a:miter/>
                </a:ln>
              </p:spPr>
              <p:txBody>
                <a:bodyPr rtlCol="0" anchor="ctr"/>
                <a:lstStyle/>
                <a:p>
                  <a:endParaRPr lang="en-GB"/>
                </a:p>
              </p:txBody>
            </p:sp>
            <p:sp>
              <p:nvSpPr>
                <p:cNvPr id="3614" name="Vrije vorm: vorm 3613">
                  <a:extLst>
                    <a:ext uri="{FF2B5EF4-FFF2-40B4-BE49-F238E27FC236}">
                      <a16:creationId xmlns:a16="http://schemas.microsoft.com/office/drawing/2014/main" id="{89791272-7D59-4942-889D-C93F66B3864E}"/>
                    </a:ext>
                  </a:extLst>
                </p:cNvPr>
                <p:cNvSpPr/>
                <p:nvPr/>
              </p:nvSpPr>
              <p:spPr>
                <a:xfrm>
                  <a:off x="6913476" y="4861646"/>
                  <a:ext cx="18324" cy="18425"/>
                </a:xfrm>
                <a:custGeom>
                  <a:avLst/>
                  <a:gdLst>
                    <a:gd name="connsiteX0" fmla="*/ 17004 w 18324"/>
                    <a:gd name="connsiteY0" fmla="*/ 4488 h 18425"/>
                    <a:gd name="connsiteX1" fmla="*/ 4444 w 18324"/>
                    <a:gd name="connsiteY1" fmla="*/ 1318 h 18425"/>
                    <a:gd name="connsiteX2" fmla="*/ 1334 w 18324"/>
                    <a:gd name="connsiteY2" fmla="*/ 13938 h 18425"/>
                    <a:gd name="connsiteX3" fmla="*/ 13894 w 18324"/>
                    <a:gd name="connsiteY3" fmla="*/ 17107 h 18425"/>
                    <a:gd name="connsiteX4" fmla="*/ 17004 w 18324"/>
                    <a:gd name="connsiteY4" fmla="*/ 448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7004" y="4488"/>
                      </a:moveTo>
                      <a:cubicBezTo>
                        <a:pt x="14373" y="122"/>
                        <a:pt x="8750" y="-1313"/>
                        <a:pt x="4444" y="1318"/>
                      </a:cubicBezTo>
                      <a:cubicBezTo>
                        <a:pt x="79" y="3950"/>
                        <a:pt x="-1297" y="9572"/>
                        <a:pt x="1334" y="13938"/>
                      </a:cubicBezTo>
                      <a:cubicBezTo>
                        <a:pt x="3966" y="18303"/>
                        <a:pt x="9588" y="19739"/>
                        <a:pt x="13894" y="17107"/>
                      </a:cubicBezTo>
                      <a:cubicBezTo>
                        <a:pt x="18200" y="14476"/>
                        <a:pt x="19636" y="8854"/>
                        <a:pt x="17004" y="4488"/>
                      </a:cubicBezTo>
                      <a:close/>
                    </a:path>
                  </a:pathLst>
                </a:custGeom>
                <a:grpFill/>
                <a:ln w="5978" cap="flat">
                  <a:noFill/>
                  <a:prstDash val="solid"/>
                  <a:miter/>
                </a:ln>
              </p:spPr>
              <p:txBody>
                <a:bodyPr rtlCol="0" anchor="ctr"/>
                <a:lstStyle/>
                <a:p>
                  <a:endParaRPr lang="en-GB"/>
                </a:p>
              </p:txBody>
            </p:sp>
          </p:grpSp>
          <p:grpSp>
            <p:nvGrpSpPr>
              <p:cNvPr id="593" name="Graphic 3">
                <a:extLst>
                  <a:ext uri="{FF2B5EF4-FFF2-40B4-BE49-F238E27FC236}">
                    <a16:creationId xmlns:a16="http://schemas.microsoft.com/office/drawing/2014/main" id="{70D96C41-16F1-4735-B544-81623C2959E9}"/>
                  </a:ext>
                </a:extLst>
              </p:cNvPr>
              <p:cNvGrpSpPr/>
              <p:nvPr/>
            </p:nvGrpSpPr>
            <p:grpSpPr>
              <a:xfrm>
                <a:off x="5775646" y="1192460"/>
                <a:ext cx="55062" cy="567782"/>
                <a:chOff x="5775646" y="1192460"/>
                <a:chExt cx="55062" cy="567782"/>
              </a:xfrm>
              <a:grpFill/>
            </p:grpSpPr>
            <p:sp>
              <p:nvSpPr>
                <p:cNvPr id="3609" name="Vrije vorm: vorm 3608">
                  <a:extLst>
                    <a:ext uri="{FF2B5EF4-FFF2-40B4-BE49-F238E27FC236}">
                      <a16:creationId xmlns:a16="http://schemas.microsoft.com/office/drawing/2014/main" id="{F7C64A2F-4A79-4F8B-BA91-A2FD7A9A1353}"/>
                    </a:ext>
                  </a:extLst>
                </p:cNvPr>
                <p:cNvSpPr/>
                <p:nvPr/>
              </p:nvSpPr>
              <p:spPr>
                <a:xfrm>
                  <a:off x="5783258" y="1201148"/>
                  <a:ext cx="39831" cy="550465"/>
                </a:xfrm>
                <a:custGeom>
                  <a:avLst/>
                  <a:gdLst>
                    <a:gd name="connsiteX0" fmla="*/ 3050 w 39831"/>
                    <a:gd name="connsiteY0" fmla="*/ 0 h 550465"/>
                    <a:gd name="connsiteX1" fmla="*/ 39831 w 39831"/>
                    <a:gd name="connsiteY1" fmla="*/ 550286 h 550465"/>
                    <a:gd name="connsiteX2" fmla="*/ 36781 w 39831"/>
                    <a:gd name="connsiteY2" fmla="*/ 550466 h 550465"/>
                    <a:gd name="connsiteX3" fmla="*/ 0 w 39831"/>
                    <a:gd name="connsiteY3" fmla="*/ 179 h 550465"/>
                  </a:gdLst>
                  <a:ahLst/>
                  <a:cxnLst>
                    <a:cxn ang="0">
                      <a:pos x="connsiteX0" y="connsiteY0"/>
                    </a:cxn>
                    <a:cxn ang="0">
                      <a:pos x="connsiteX1" y="connsiteY1"/>
                    </a:cxn>
                    <a:cxn ang="0">
                      <a:pos x="connsiteX2" y="connsiteY2"/>
                    </a:cxn>
                    <a:cxn ang="0">
                      <a:pos x="connsiteX3" y="connsiteY3"/>
                    </a:cxn>
                  </a:cxnLst>
                  <a:rect l="l" t="t" r="r" b="b"/>
                  <a:pathLst>
                    <a:path w="39831" h="550465">
                      <a:moveTo>
                        <a:pt x="3050" y="0"/>
                      </a:moveTo>
                      <a:lnTo>
                        <a:pt x="39831" y="550286"/>
                      </a:lnTo>
                      <a:lnTo>
                        <a:pt x="36781" y="550466"/>
                      </a:lnTo>
                      <a:lnTo>
                        <a:pt x="0" y="179"/>
                      </a:lnTo>
                      <a:close/>
                    </a:path>
                  </a:pathLst>
                </a:custGeom>
                <a:grpFill/>
                <a:ln w="5978" cap="flat">
                  <a:noFill/>
                  <a:prstDash val="solid"/>
                  <a:miter/>
                </a:ln>
              </p:spPr>
              <p:txBody>
                <a:bodyPr rtlCol="0" anchor="ctr"/>
                <a:lstStyle/>
                <a:p>
                  <a:endParaRPr lang="en-GB"/>
                </a:p>
              </p:txBody>
            </p:sp>
            <p:sp>
              <p:nvSpPr>
                <p:cNvPr id="3610" name="Vrije vorm: vorm 3609">
                  <a:extLst>
                    <a:ext uri="{FF2B5EF4-FFF2-40B4-BE49-F238E27FC236}">
                      <a16:creationId xmlns:a16="http://schemas.microsoft.com/office/drawing/2014/main" id="{2BC7C9EA-1A00-4A63-BE48-28F8296AA001}"/>
                    </a:ext>
                  </a:extLst>
                </p:cNvPr>
                <p:cNvSpPr/>
                <p:nvPr/>
              </p:nvSpPr>
              <p:spPr>
                <a:xfrm>
                  <a:off x="5812361" y="1741843"/>
                  <a:ext cx="18347" cy="18400"/>
                </a:xfrm>
                <a:custGeom>
                  <a:avLst/>
                  <a:gdLst>
                    <a:gd name="connsiteX0" fmla="*/ 18324 w 18347"/>
                    <a:gd name="connsiteY0" fmla="*/ 8635 h 18400"/>
                    <a:gd name="connsiteX1" fmla="*/ 9772 w 18347"/>
                    <a:gd name="connsiteY1" fmla="*/ 18384 h 18400"/>
                    <a:gd name="connsiteX2" fmla="*/ 23 w 18347"/>
                    <a:gd name="connsiteY2" fmla="*/ 9772 h 18400"/>
                    <a:gd name="connsiteX3" fmla="*/ 8576 w 18347"/>
                    <a:gd name="connsiteY3" fmla="*/ 23 h 18400"/>
                    <a:gd name="connsiteX4" fmla="*/ 18324 w 18347"/>
                    <a:gd name="connsiteY4" fmla="*/ 863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18324" y="8635"/>
                      </a:moveTo>
                      <a:cubicBezTo>
                        <a:pt x="18683" y="13719"/>
                        <a:pt x="14855" y="18085"/>
                        <a:pt x="9772" y="18384"/>
                      </a:cubicBezTo>
                      <a:cubicBezTo>
                        <a:pt x="4748" y="18683"/>
                        <a:pt x="382" y="14855"/>
                        <a:pt x="23" y="9772"/>
                      </a:cubicBezTo>
                      <a:cubicBezTo>
                        <a:pt x="-336" y="4688"/>
                        <a:pt x="3492" y="322"/>
                        <a:pt x="8576" y="23"/>
                      </a:cubicBezTo>
                      <a:cubicBezTo>
                        <a:pt x="13599" y="-336"/>
                        <a:pt x="17965" y="3552"/>
                        <a:pt x="18324" y="8635"/>
                      </a:cubicBezTo>
                      <a:close/>
                    </a:path>
                  </a:pathLst>
                </a:custGeom>
                <a:grpFill/>
                <a:ln w="5978" cap="flat">
                  <a:noFill/>
                  <a:prstDash val="solid"/>
                  <a:miter/>
                </a:ln>
              </p:spPr>
              <p:txBody>
                <a:bodyPr rtlCol="0" anchor="ctr"/>
                <a:lstStyle/>
                <a:p>
                  <a:endParaRPr lang="en-GB"/>
                </a:p>
              </p:txBody>
            </p:sp>
            <p:sp>
              <p:nvSpPr>
                <p:cNvPr id="3611" name="Vrije vorm: vorm 3610">
                  <a:extLst>
                    <a:ext uri="{FF2B5EF4-FFF2-40B4-BE49-F238E27FC236}">
                      <a16:creationId xmlns:a16="http://schemas.microsoft.com/office/drawing/2014/main" id="{31204F70-B14E-4D3D-99AD-C0C8555A80DD}"/>
                    </a:ext>
                  </a:extLst>
                </p:cNvPr>
                <p:cNvSpPr/>
                <p:nvPr/>
              </p:nvSpPr>
              <p:spPr>
                <a:xfrm>
                  <a:off x="5775646" y="1192460"/>
                  <a:ext cx="18340" cy="18393"/>
                </a:xfrm>
                <a:custGeom>
                  <a:avLst/>
                  <a:gdLst>
                    <a:gd name="connsiteX0" fmla="*/ 18317 w 18340"/>
                    <a:gd name="connsiteY0" fmla="*/ 8629 h 18393"/>
                    <a:gd name="connsiteX1" fmla="*/ 8569 w 18340"/>
                    <a:gd name="connsiteY1" fmla="*/ 16 h 18393"/>
                    <a:gd name="connsiteX2" fmla="*/ 16 w 18340"/>
                    <a:gd name="connsiteY2" fmla="*/ 9765 h 18393"/>
                    <a:gd name="connsiteX3" fmla="*/ 9765 w 18340"/>
                    <a:gd name="connsiteY3" fmla="*/ 18377 h 18393"/>
                    <a:gd name="connsiteX4" fmla="*/ 18317 w 18340"/>
                    <a:gd name="connsiteY4" fmla="*/ 8629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18317" y="8629"/>
                      </a:moveTo>
                      <a:cubicBezTo>
                        <a:pt x="17959" y="3545"/>
                        <a:pt x="13593" y="-283"/>
                        <a:pt x="8569" y="16"/>
                      </a:cubicBezTo>
                      <a:cubicBezTo>
                        <a:pt x="3545" y="315"/>
                        <a:pt x="-283" y="4741"/>
                        <a:pt x="16" y="9765"/>
                      </a:cubicBezTo>
                      <a:cubicBezTo>
                        <a:pt x="375" y="14849"/>
                        <a:pt x="4741" y="18676"/>
                        <a:pt x="9765" y="18377"/>
                      </a:cubicBezTo>
                      <a:cubicBezTo>
                        <a:pt x="14848" y="18078"/>
                        <a:pt x="18676" y="13712"/>
                        <a:pt x="18317" y="8629"/>
                      </a:cubicBezTo>
                      <a:close/>
                    </a:path>
                  </a:pathLst>
                </a:custGeom>
                <a:grpFill/>
                <a:ln w="5978" cap="flat">
                  <a:noFill/>
                  <a:prstDash val="solid"/>
                  <a:miter/>
                </a:ln>
              </p:spPr>
              <p:txBody>
                <a:bodyPr rtlCol="0" anchor="ctr"/>
                <a:lstStyle/>
                <a:p>
                  <a:endParaRPr lang="en-GB"/>
                </a:p>
              </p:txBody>
            </p:sp>
          </p:grpSp>
          <p:grpSp>
            <p:nvGrpSpPr>
              <p:cNvPr id="594" name="Graphic 3">
                <a:extLst>
                  <a:ext uri="{FF2B5EF4-FFF2-40B4-BE49-F238E27FC236}">
                    <a16:creationId xmlns:a16="http://schemas.microsoft.com/office/drawing/2014/main" id="{A9709FB4-2FA4-4447-8FEA-C6A9CD01D320}"/>
                  </a:ext>
                </a:extLst>
              </p:cNvPr>
              <p:cNvGrpSpPr/>
              <p:nvPr/>
            </p:nvGrpSpPr>
            <p:grpSpPr>
              <a:xfrm>
                <a:off x="6976901" y="5035701"/>
                <a:ext cx="60895" cy="92934"/>
                <a:chOff x="6976901" y="5035701"/>
                <a:chExt cx="60895" cy="92934"/>
              </a:xfrm>
              <a:grpFill/>
            </p:grpSpPr>
            <p:sp>
              <p:nvSpPr>
                <p:cNvPr id="3606" name="Vrije vorm: vorm 3605">
                  <a:extLst>
                    <a:ext uri="{FF2B5EF4-FFF2-40B4-BE49-F238E27FC236}">
                      <a16:creationId xmlns:a16="http://schemas.microsoft.com/office/drawing/2014/main" id="{E97D65BE-E103-47EC-826F-392A19A944AA}"/>
                    </a:ext>
                  </a:extLst>
                </p:cNvPr>
                <p:cNvSpPr/>
                <p:nvPr/>
              </p:nvSpPr>
              <p:spPr>
                <a:xfrm>
                  <a:off x="6984486" y="5043762"/>
                  <a:ext cx="45692" cy="76792"/>
                </a:xfrm>
                <a:custGeom>
                  <a:avLst/>
                  <a:gdLst>
                    <a:gd name="connsiteX0" fmla="*/ 45693 w 45692"/>
                    <a:gd name="connsiteY0" fmla="*/ 75297 h 76792"/>
                    <a:gd name="connsiteX1" fmla="*/ 43061 w 45692"/>
                    <a:gd name="connsiteY1" fmla="*/ 76793 h 76792"/>
                    <a:gd name="connsiteX2" fmla="*/ 0 w 45692"/>
                    <a:gd name="connsiteY2" fmla="*/ 1495 h 76792"/>
                    <a:gd name="connsiteX3" fmla="*/ 2631 w 45692"/>
                    <a:gd name="connsiteY3" fmla="*/ 0 h 76792"/>
                  </a:gdLst>
                  <a:ahLst/>
                  <a:cxnLst>
                    <a:cxn ang="0">
                      <a:pos x="connsiteX0" y="connsiteY0"/>
                    </a:cxn>
                    <a:cxn ang="0">
                      <a:pos x="connsiteX1" y="connsiteY1"/>
                    </a:cxn>
                    <a:cxn ang="0">
                      <a:pos x="connsiteX2" y="connsiteY2"/>
                    </a:cxn>
                    <a:cxn ang="0">
                      <a:pos x="connsiteX3" y="connsiteY3"/>
                    </a:cxn>
                  </a:cxnLst>
                  <a:rect l="l" t="t" r="r" b="b"/>
                  <a:pathLst>
                    <a:path w="45692" h="76792">
                      <a:moveTo>
                        <a:pt x="45693" y="75297"/>
                      </a:moveTo>
                      <a:lnTo>
                        <a:pt x="43061" y="76793"/>
                      </a:lnTo>
                      <a:lnTo>
                        <a:pt x="0" y="1495"/>
                      </a:lnTo>
                      <a:lnTo>
                        <a:pt x="2631" y="0"/>
                      </a:lnTo>
                      <a:close/>
                    </a:path>
                  </a:pathLst>
                </a:custGeom>
                <a:grpFill/>
                <a:ln w="5978" cap="flat">
                  <a:noFill/>
                  <a:prstDash val="solid"/>
                  <a:miter/>
                </a:ln>
              </p:spPr>
              <p:txBody>
                <a:bodyPr rtlCol="0" anchor="ctr"/>
                <a:lstStyle/>
                <a:p>
                  <a:endParaRPr lang="en-GB"/>
                </a:p>
              </p:txBody>
            </p:sp>
            <p:sp>
              <p:nvSpPr>
                <p:cNvPr id="3607" name="Vrije vorm: vorm 3606">
                  <a:extLst>
                    <a:ext uri="{FF2B5EF4-FFF2-40B4-BE49-F238E27FC236}">
                      <a16:creationId xmlns:a16="http://schemas.microsoft.com/office/drawing/2014/main" id="{009AD185-F9F9-43B0-964E-E3CB9A4E71CE}"/>
                    </a:ext>
                  </a:extLst>
                </p:cNvPr>
                <p:cNvSpPr/>
                <p:nvPr/>
              </p:nvSpPr>
              <p:spPr>
                <a:xfrm>
                  <a:off x="7019511" y="5110221"/>
                  <a:ext cx="18285" cy="18414"/>
                </a:xfrm>
                <a:custGeom>
                  <a:avLst/>
                  <a:gdLst>
                    <a:gd name="connsiteX0" fmla="*/ 17067 w 18285"/>
                    <a:gd name="connsiteY0" fmla="*/ 4652 h 18414"/>
                    <a:gd name="connsiteX1" fmla="*/ 13718 w 18285"/>
                    <a:gd name="connsiteY1" fmla="*/ 17211 h 18414"/>
                    <a:gd name="connsiteX2" fmla="*/ 1218 w 18285"/>
                    <a:gd name="connsiteY2" fmla="*/ 13802 h 18414"/>
                    <a:gd name="connsiteX3" fmla="*/ 4568 w 18285"/>
                    <a:gd name="connsiteY3" fmla="*/ 1243 h 18414"/>
                    <a:gd name="connsiteX4" fmla="*/ 17067 w 18285"/>
                    <a:gd name="connsiteY4" fmla="*/ 465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14">
                      <a:moveTo>
                        <a:pt x="17067" y="4652"/>
                      </a:moveTo>
                      <a:cubicBezTo>
                        <a:pt x="19579" y="9078"/>
                        <a:pt x="18084" y="14700"/>
                        <a:pt x="13718" y="17211"/>
                      </a:cubicBezTo>
                      <a:cubicBezTo>
                        <a:pt x="9353" y="19723"/>
                        <a:pt x="3730" y="18168"/>
                        <a:pt x="1218" y="13802"/>
                      </a:cubicBezTo>
                      <a:cubicBezTo>
                        <a:pt x="-1293" y="9377"/>
                        <a:pt x="202" y="3755"/>
                        <a:pt x="4568" y="1243"/>
                      </a:cubicBezTo>
                      <a:cubicBezTo>
                        <a:pt x="8934" y="-1329"/>
                        <a:pt x="14556" y="226"/>
                        <a:pt x="17067" y="4652"/>
                      </a:cubicBezTo>
                      <a:close/>
                    </a:path>
                  </a:pathLst>
                </a:custGeom>
                <a:grpFill/>
                <a:ln w="5978" cap="flat">
                  <a:noFill/>
                  <a:prstDash val="solid"/>
                  <a:miter/>
                </a:ln>
              </p:spPr>
              <p:txBody>
                <a:bodyPr rtlCol="0" anchor="ctr"/>
                <a:lstStyle/>
                <a:p>
                  <a:endParaRPr lang="en-GB"/>
                </a:p>
              </p:txBody>
            </p:sp>
            <p:sp>
              <p:nvSpPr>
                <p:cNvPr id="3608" name="Vrije vorm: vorm 3607">
                  <a:extLst>
                    <a:ext uri="{FF2B5EF4-FFF2-40B4-BE49-F238E27FC236}">
                      <a16:creationId xmlns:a16="http://schemas.microsoft.com/office/drawing/2014/main" id="{06116166-3FF4-4493-8819-101773F9304B}"/>
                    </a:ext>
                  </a:extLst>
                </p:cNvPr>
                <p:cNvSpPr/>
                <p:nvPr/>
              </p:nvSpPr>
              <p:spPr>
                <a:xfrm>
                  <a:off x="6976901" y="5035701"/>
                  <a:ext cx="18312" cy="18454"/>
                </a:xfrm>
                <a:custGeom>
                  <a:avLst/>
                  <a:gdLst>
                    <a:gd name="connsiteX0" fmla="*/ 17094 w 18312"/>
                    <a:gd name="connsiteY0" fmla="*/ 4652 h 18454"/>
                    <a:gd name="connsiteX1" fmla="*/ 4594 w 18312"/>
                    <a:gd name="connsiteY1" fmla="*/ 1243 h 18454"/>
                    <a:gd name="connsiteX2" fmla="*/ 1245 w 18312"/>
                    <a:gd name="connsiteY2" fmla="*/ 13803 h 18454"/>
                    <a:gd name="connsiteX3" fmla="*/ 13745 w 18312"/>
                    <a:gd name="connsiteY3" fmla="*/ 17211 h 18454"/>
                    <a:gd name="connsiteX4" fmla="*/ 17094 w 18312"/>
                    <a:gd name="connsiteY4" fmla="*/ 46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4">
                      <a:moveTo>
                        <a:pt x="17094" y="4652"/>
                      </a:moveTo>
                      <a:cubicBezTo>
                        <a:pt x="14582" y="226"/>
                        <a:pt x="8960" y="-1329"/>
                        <a:pt x="4594" y="1243"/>
                      </a:cubicBezTo>
                      <a:cubicBezTo>
                        <a:pt x="229" y="3755"/>
                        <a:pt x="-1326" y="9377"/>
                        <a:pt x="1245" y="13803"/>
                      </a:cubicBezTo>
                      <a:cubicBezTo>
                        <a:pt x="3757" y="18228"/>
                        <a:pt x="9379" y="19783"/>
                        <a:pt x="13745" y="17211"/>
                      </a:cubicBezTo>
                      <a:cubicBezTo>
                        <a:pt x="18111" y="14700"/>
                        <a:pt x="19606" y="9078"/>
                        <a:pt x="17094" y="4652"/>
                      </a:cubicBezTo>
                      <a:close/>
                    </a:path>
                  </a:pathLst>
                </a:custGeom>
                <a:grpFill/>
                <a:ln w="5978" cap="flat">
                  <a:noFill/>
                  <a:prstDash val="solid"/>
                  <a:miter/>
                </a:ln>
              </p:spPr>
              <p:txBody>
                <a:bodyPr rtlCol="0" anchor="ctr"/>
                <a:lstStyle/>
                <a:p>
                  <a:endParaRPr lang="en-GB"/>
                </a:p>
              </p:txBody>
            </p:sp>
          </p:grpSp>
          <p:grpSp>
            <p:nvGrpSpPr>
              <p:cNvPr id="595" name="Graphic 3">
                <a:extLst>
                  <a:ext uri="{FF2B5EF4-FFF2-40B4-BE49-F238E27FC236}">
                    <a16:creationId xmlns:a16="http://schemas.microsoft.com/office/drawing/2014/main" id="{E003F2D9-96E8-4D33-A827-203EF24F85B0}"/>
                  </a:ext>
                </a:extLst>
              </p:cNvPr>
              <p:cNvGrpSpPr/>
              <p:nvPr/>
            </p:nvGrpSpPr>
            <p:grpSpPr>
              <a:xfrm>
                <a:off x="6912419" y="4862138"/>
                <a:ext cx="126311" cy="266060"/>
                <a:chOff x="6912419" y="4862138"/>
                <a:chExt cx="126311" cy="266060"/>
              </a:xfrm>
              <a:grpFill/>
            </p:grpSpPr>
            <p:sp>
              <p:nvSpPr>
                <p:cNvPr id="3603" name="Vrije vorm: vorm 3602">
                  <a:extLst>
                    <a:ext uri="{FF2B5EF4-FFF2-40B4-BE49-F238E27FC236}">
                      <a16:creationId xmlns:a16="http://schemas.microsoft.com/office/drawing/2014/main" id="{DD0B4CA8-094A-47AC-92AF-ABD2E1BDE586}"/>
                    </a:ext>
                  </a:extLst>
                </p:cNvPr>
                <p:cNvSpPr/>
                <p:nvPr/>
              </p:nvSpPr>
              <p:spPr>
                <a:xfrm>
                  <a:off x="6919951" y="4870436"/>
                  <a:ext cx="111160" cy="249660"/>
                </a:xfrm>
                <a:custGeom>
                  <a:avLst/>
                  <a:gdLst>
                    <a:gd name="connsiteX0" fmla="*/ 0 w 111160"/>
                    <a:gd name="connsiteY0" fmla="*/ 1219 h 249660"/>
                    <a:gd name="connsiteX1" fmla="*/ 2796 w 111160"/>
                    <a:gd name="connsiteY1" fmla="*/ 0 h 249660"/>
                    <a:gd name="connsiteX2" fmla="*/ 111160 w 111160"/>
                    <a:gd name="connsiteY2" fmla="*/ 248441 h 249660"/>
                    <a:gd name="connsiteX3" fmla="*/ 108364 w 111160"/>
                    <a:gd name="connsiteY3" fmla="*/ 249660 h 249660"/>
                  </a:gdLst>
                  <a:ahLst/>
                  <a:cxnLst>
                    <a:cxn ang="0">
                      <a:pos x="connsiteX0" y="connsiteY0"/>
                    </a:cxn>
                    <a:cxn ang="0">
                      <a:pos x="connsiteX1" y="connsiteY1"/>
                    </a:cxn>
                    <a:cxn ang="0">
                      <a:pos x="connsiteX2" y="connsiteY2"/>
                    </a:cxn>
                    <a:cxn ang="0">
                      <a:pos x="connsiteX3" y="connsiteY3"/>
                    </a:cxn>
                  </a:cxnLst>
                  <a:rect l="l" t="t" r="r" b="b"/>
                  <a:pathLst>
                    <a:path w="111160" h="249660">
                      <a:moveTo>
                        <a:pt x="0" y="1219"/>
                      </a:moveTo>
                      <a:lnTo>
                        <a:pt x="2796" y="0"/>
                      </a:lnTo>
                      <a:lnTo>
                        <a:pt x="111160" y="248441"/>
                      </a:lnTo>
                      <a:lnTo>
                        <a:pt x="108364" y="249660"/>
                      </a:lnTo>
                      <a:close/>
                    </a:path>
                  </a:pathLst>
                </a:custGeom>
                <a:grpFill/>
                <a:ln w="5978" cap="flat">
                  <a:noFill/>
                  <a:prstDash val="solid"/>
                  <a:miter/>
                </a:ln>
              </p:spPr>
              <p:txBody>
                <a:bodyPr rtlCol="0" anchor="ctr"/>
                <a:lstStyle/>
                <a:p>
                  <a:endParaRPr lang="en-GB"/>
                </a:p>
              </p:txBody>
            </p:sp>
            <p:sp>
              <p:nvSpPr>
                <p:cNvPr id="3604" name="Vrije vorm: vorm 3603">
                  <a:extLst>
                    <a:ext uri="{FF2B5EF4-FFF2-40B4-BE49-F238E27FC236}">
                      <a16:creationId xmlns:a16="http://schemas.microsoft.com/office/drawing/2014/main" id="{76953BC1-9BD2-4DA3-9ECC-3FB038A7DFC7}"/>
                    </a:ext>
                  </a:extLst>
                </p:cNvPr>
                <p:cNvSpPr/>
                <p:nvPr/>
              </p:nvSpPr>
              <p:spPr>
                <a:xfrm>
                  <a:off x="6912419" y="4862138"/>
                  <a:ext cx="18359" cy="18458"/>
                </a:xfrm>
                <a:custGeom>
                  <a:avLst/>
                  <a:gdLst>
                    <a:gd name="connsiteX0" fmla="*/ 776 w 18359"/>
                    <a:gd name="connsiteY0" fmla="*/ 12907 h 18458"/>
                    <a:gd name="connsiteX1" fmla="*/ 5501 w 18359"/>
                    <a:gd name="connsiteY1" fmla="*/ 767 h 18458"/>
                    <a:gd name="connsiteX2" fmla="*/ 17583 w 18359"/>
                    <a:gd name="connsiteY2" fmla="*/ 5551 h 18458"/>
                    <a:gd name="connsiteX3" fmla="*/ 12858 w 18359"/>
                    <a:gd name="connsiteY3" fmla="*/ 17692 h 18458"/>
                    <a:gd name="connsiteX4" fmla="*/ 776 w 18359"/>
                    <a:gd name="connsiteY4" fmla="*/ 12907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58">
                      <a:moveTo>
                        <a:pt x="776" y="12907"/>
                      </a:moveTo>
                      <a:cubicBezTo>
                        <a:pt x="-1257" y="8243"/>
                        <a:pt x="836" y="2800"/>
                        <a:pt x="5501" y="767"/>
                      </a:cubicBezTo>
                      <a:cubicBezTo>
                        <a:pt x="10107" y="-1267"/>
                        <a:pt x="15549" y="886"/>
                        <a:pt x="17583" y="5551"/>
                      </a:cubicBezTo>
                      <a:cubicBezTo>
                        <a:pt x="19616" y="10216"/>
                        <a:pt x="17523" y="15659"/>
                        <a:pt x="12858" y="17692"/>
                      </a:cubicBezTo>
                      <a:cubicBezTo>
                        <a:pt x="8252" y="19726"/>
                        <a:pt x="2810" y="17573"/>
                        <a:pt x="776" y="12907"/>
                      </a:cubicBezTo>
                      <a:close/>
                    </a:path>
                  </a:pathLst>
                </a:custGeom>
                <a:grpFill/>
                <a:ln w="5978" cap="flat">
                  <a:noFill/>
                  <a:prstDash val="solid"/>
                  <a:miter/>
                </a:ln>
              </p:spPr>
              <p:txBody>
                <a:bodyPr rtlCol="0" anchor="ctr"/>
                <a:lstStyle/>
                <a:p>
                  <a:endParaRPr lang="en-GB"/>
                </a:p>
              </p:txBody>
            </p:sp>
            <p:sp>
              <p:nvSpPr>
                <p:cNvPr id="3605" name="Vrije vorm: vorm 3604">
                  <a:extLst>
                    <a:ext uri="{FF2B5EF4-FFF2-40B4-BE49-F238E27FC236}">
                      <a16:creationId xmlns:a16="http://schemas.microsoft.com/office/drawing/2014/main" id="{53D6363D-0C29-4F18-BEB6-FD8F5F9CFC59}"/>
                    </a:ext>
                  </a:extLst>
                </p:cNvPr>
                <p:cNvSpPr/>
                <p:nvPr/>
              </p:nvSpPr>
              <p:spPr>
                <a:xfrm>
                  <a:off x="7020371" y="5109740"/>
                  <a:ext cx="18358" cy="18458"/>
                </a:xfrm>
                <a:custGeom>
                  <a:avLst/>
                  <a:gdLst>
                    <a:gd name="connsiteX0" fmla="*/ 776 w 18358"/>
                    <a:gd name="connsiteY0" fmla="*/ 12908 h 18458"/>
                    <a:gd name="connsiteX1" fmla="*/ 12858 w 18358"/>
                    <a:gd name="connsiteY1" fmla="*/ 17692 h 18458"/>
                    <a:gd name="connsiteX2" fmla="*/ 17582 w 18358"/>
                    <a:gd name="connsiteY2" fmla="*/ 5551 h 18458"/>
                    <a:gd name="connsiteX3" fmla="*/ 5501 w 18358"/>
                    <a:gd name="connsiteY3" fmla="*/ 767 h 18458"/>
                    <a:gd name="connsiteX4" fmla="*/ 776 w 18358"/>
                    <a:gd name="connsiteY4" fmla="*/ 12908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58">
                      <a:moveTo>
                        <a:pt x="776" y="12908"/>
                      </a:moveTo>
                      <a:cubicBezTo>
                        <a:pt x="2810" y="17572"/>
                        <a:pt x="8192" y="19726"/>
                        <a:pt x="12858" y="17692"/>
                      </a:cubicBezTo>
                      <a:cubicBezTo>
                        <a:pt x="17523" y="15659"/>
                        <a:pt x="19616" y="10216"/>
                        <a:pt x="17582" y="5551"/>
                      </a:cubicBezTo>
                      <a:cubicBezTo>
                        <a:pt x="15549" y="886"/>
                        <a:pt x="10166" y="-1267"/>
                        <a:pt x="5501" y="767"/>
                      </a:cubicBezTo>
                      <a:cubicBezTo>
                        <a:pt x="836" y="2800"/>
                        <a:pt x="-1257" y="8242"/>
                        <a:pt x="776" y="12908"/>
                      </a:cubicBezTo>
                      <a:close/>
                    </a:path>
                  </a:pathLst>
                </a:custGeom>
                <a:grpFill/>
                <a:ln w="5978" cap="flat">
                  <a:noFill/>
                  <a:prstDash val="solid"/>
                  <a:miter/>
                </a:ln>
              </p:spPr>
              <p:txBody>
                <a:bodyPr rtlCol="0" anchor="ctr"/>
                <a:lstStyle/>
                <a:p>
                  <a:endParaRPr lang="en-GB"/>
                </a:p>
              </p:txBody>
            </p:sp>
          </p:grpSp>
          <p:grpSp>
            <p:nvGrpSpPr>
              <p:cNvPr id="596" name="Graphic 3">
                <a:extLst>
                  <a:ext uri="{FF2B5EF4-FFF2-40B4-BE49-F238E27FC236}">
                    <a16:creationId xmlns:a16="http://schemas.microsoft.com/office/drawing/2014/main" id="{F55CB92A-FF17-4702-80D4-718B1C3894A8}"/>
                  </a:ext>
                </a:extLst>
              </p:cNvPr>
              <p:cNvGrpSpPr/>
              <p:nvPr/>
            </p:nvGrpSpPr>
            <p:grpSpPr>
              <a:xfrm>
                <a:off x="5676570" y="1092907"/>
                <a:ext cx="35091" cy="123318"/>
                <a:chOff x="5676570" y="1092907"/>
                <a:chExt cx="35091" cy="123318"/>
              </a:xfrm>
              <a:grpFill/>
            </p:grpSpPr>
            <p:sp>
              <p:nvSpPr>
                <p:cNvPr id="3600" name="Vrije vorm: vorm 3599">
                  <a:extLst>
                    <a:ext uri="{FF2B5EF4-FFF2-40B4-BE49-F238E27FC236}">
                      <a16:creationId xmlns:a16="http://schemas.microsoft.com/office/drawing/2014/main" id="{2B573B2F-DFA6-4FEF-9634-0A1ABC765437}"/>
                    </a:ext>
                  </a:extLst>
                </p:cNvPr>
                <p:cNvSpPr/>
                <p:nvPr/>
              </p:nvSpPr>
              <p:spPr>
                <a:xfrm>
                  <a:off x="5684158" y="1101450"/>
                  <a:ext cx="19856" cy="106277"/>
                </a:xfrm>
                <a:custGeom>
                  <a:avLst/>
                  <a:gdLst>
                    <a:gd name="connsiteX0" fmla="*/ 2990 w 19856"/>
                    <a:gd name="connsiteY0" fmla="*/ 0 h 106277"/>
                    <a:gd name="connsiteX1" fmla="*/ 19856 w 19856"/>
                    <a:gd name="connsiteY1" fmla="*/ 105799 h 106277"/>
                    <a:gd name="connsiteX2" fmla="*/ 16866 w 19856"/>
                    <a:gd name="connsiteY2" fmla="*/ 106277 h 106277"/>
                    <a:gd name="connsiteX3" fmla="*/ 0 w 19856"/>
                    <a:gd name="connsiteY3" fmla="*/ 419 h 106277"/>
                  </a:gdLst>
                  <a:ahLst/>
                  <a:cxnLst>
                    <a:cxn ang="0">
                      <a:pos x="connsiteX0" y="connsiteY0"/>
                    </a:cxn>
                    <a:cxn ang="0">
                      <a:pos x="connsiteX1" y="connsiteY1"/>
                    </a:cxn>
                    <a:cxn ang="0">
                      <a:pos x="connsiteX2" y="connsiteY2"/>
                    </a:cxn>
                    <a:cxn ang="0">
                      <a:pos x="connsiteX3" y="connsiteY3"/>
                    </a:cxn>
                  </a:cxnLst>
                  <a:rect l="l" t="t" r="r" b="b"/>
                  <a:pathLst>
                    <a:path w="19856" h="106277">
                      <a:moveTo>
                        <a:pt x="2990" y="0"/>
                      </a:moveTo>
                      <a:lnTo>
                        <a:pt x="19856" y="105799"/>
                      </a:lnTo>
                      <a:lnTo>
                        <a:pt x="16866" y="106277"/>
                      </a:lnTo>
                      <a:lnTo>
                        <a:pt x="0" y="419"/>
                      </a:lnTo>
                      <a:close/>
                    </a:path>
                  </a:pathLst>
                </a:custGeom>
                <a:grpFill/>
                <a:ln w="5978" cap="flat">
                  <a:noFill/>
                  <a:prstDash val="solid"/>
                  <a:miter/>
                </a:ln>
              </p:spPr>
              <p:txBody>
                <a:bodyPr rtlCol="0" anchor="ctr"/>
                <a:lstStyle/>
                <a:p>
                  <a:endParaRPr lang="en-GB"/>
                </a:p>
              </p:txBody>
            </p:sp>
            <p:sp>
              <p:nvSpPr>
                <p:cNvPr id="3601" name="Vrije vorm: vorm 3600">
                  <a:extLst>
                    <a:ext uri="{FF2B5EF4-FFF2-40B4-BE49-F238E27FC236}">
                      <a16:creationId xmlns:a16="http://schemas.microsoft.com/office/drawing/2014/main" id="{4451C2FA-A7AE-4B53-8B51-E7FDABF39254}"/>
                    </a:ext>
                  </a:extLst>
                </p:cNvPr>
                <p:cNvSpPr/>
                <p:nvPr/>
              </p:nvSpPr>
              <p:spPr>
                <a:xfrm>
                  <a:off x="5676570" y="1092907"/>
                  <a:ext cx="18345" cy="18402"/>
                </a:xfrm>
                <a:custGeom>
                  <a:avLst/>
                  <a:gdLst>
                    <a:gd name="connsiteX0" fmla="*/ 112 w 18345"/>
                    <a:gd name="connsiteY0" fmla="*/ 10637 h 18402"/>
                    <a:gd name="connsiteX1" fmla="*/ 7707 w 18345"/>
                    <a:gd name="connsiteY1" fmla="*/ 110 h 18402"/>
                    <a:gd name="connsiteX2" fmla="*/ 18233 w 18345"/>
                    <a:gd name="connsiteY2" fmla="*/ 7766 h 18402"/>
                    <a:gd name="connsiteX3" fmla="*/ 10638 w 18345"/>
                    <a:gd name="connsiteY3" fmla="*/ 18292 h 18402"/>
                    <a:gd name="connsiteX4" fmla="*/ 112 w 18345"/>
                    <a:gd name="connsiteY4" fmla="*/ 10637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2">
                      <a:moveTo>
                        <a:pt x="112" y="10637"/>
                      </a:moveTo>
                      <a:cubicBezTo>
                        <a:pt x="-666" y="5613"/>
                        <a:pt x="2684" y="888"/>
                        <a:pt x="7707" y="110"/>
                      </a:cubicBezTo>
                      <a:cubicBezTo>
                        <a:pt x="12731" y="-667"/>
                        <a:pt x="17396" y="2742"/>
                        <a:pt x="18233" y="7766"/>
                      </a:cubicBezTo>
                      <a:cubicBezTo>
                        <a:pt x="19011" y="12790"/>
                        <a:pt x="15662" y="17514"/>
                        <a:pt x="10638" y="18292"/>
                      </a:cubicBezTo>
                      <a:cubicBezTo>
                        <a:pt x="5614" y="19069"/>
                        <a:pt x="890" y="15660"/>
                        <a:pt x="112" y="10637"/>
                      </a:cubicBezTo>
                      <a:close/>
                    </a:path>
                  </a:pathLst>
                </a:custGeom>
                <a:grpFill/>
                <a:ln w="5978" cap="flat">
                  <a:noFill/>
                  <a:prstDash val="solid"/>
                  <a:miter/>
                </a:ln>
              </p:spPr>
              <p:txBody>
                <a:bodyPr rtlCol="0" anchor="ctr"/>
                <a:lstStyle/>
                <a:p>
                  <a:endParaRPr lang="en-GB"/>
                </a:p>
              </p:txBody>
            </p:sp>
            <p:sp>
              <p:nvSpPr>
                <p:cNvPr id="3602" name="Vrije vorm: vorm 3601">
                  <a:extLst>
                    <a:ext uri="{FF2B5EF4-FFF2-40B4-BE49-F238E27FC236}">
                      <a16:creationId xmlns:a16="http://schemas.microsoft.com/office/drawing/2014/main" id="{B6D93D91-925B-4DCA-92EC-1D01D6421298}"/>
                    </a:ext>
                  </a:extLst>
                </p:cNvPr>
                <p:cNvSpPr/>
                <p:nvPr/>
              </p:nvSpPr>
              <p:spPr>
                <a:xfrm>
                  <a:off x="5693301" y="1197794"/>
                  <a:ext cx="18359" cy="18430"/>
                </a:xfrm>
                <a:custGeom>
                  <a:avLst/>
                  <a:gdLst>
                    <a:gd name="connsiteX0" fmla="*/ 126 w 18359"/>
                    <a:gd name="connsiteY0" fmla="*/ 10651 h 18430"/>
                    <a:gd name="connsiteX1" fmla="*/ 10653 w 18359"/>
                    <a:gd name="connsiteY1" fmla="*/ 18306 h 18430"/>
                    <a:gd name="connsiteX2" fmla="*/ 18248 w 18359"/>
                    <a:gd name="connsiteY2" fmla="*/ 7780 h 18430"/>
                    <a:gd name="connsiteX3" fmla="*/ 7722 w 18359"/>
                    <a:gd name="connsiteY3" fmla="*/ 125 h 18430"/>
                    <a:gd name="connsiteX4" fmla="*/ 126 w 18359"/>
                    <a:gd name="connsiteY4" fmla="*/ 1065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30">
                      <a:moveTo>
                        <a:pt x="126" y="10651"/>
                      </a:moveTo>
                      <a:cubicBezTo>
                        <a:pt x="904" y="15675"/>
                        <a:pt x="5629" y="19143"/>
                        <a:pt x="10653" y="18306"/>
                      </a:cubicBezTo>
                      <a:cubicBezTo>
                        <a:pt x="15676" y="17529"/>
                        <a:pt x="19025" y="12804"/>
                        <a:pt x="18248" y="7780"/>
                      </a:cubicBezTo>
                      <a:cubicBezTo>
                        <a:pt x="17470" y="2756"/>
                        <a:pt x="12746" y="-713"/>
                        <a:pt x="7722" y="125"/>
                      </a:cubicBezTo>
                      <a:cubicBezTo>
                        <a:pt x="2698" y="902"/>
                        <a:pt x="-711" y="5627"/>
                        <a:pt x="126" y="10651"/>
                      </a:cubicBezTo>
                      <a:close/>
                    </a:path>
                  </a:pathLst>
                </a:custGeom>
                <a:grpFill/>
                <a:ln w="5978" cap="flat">
                  <a:noFill/>
                  <a:prstDash val="solid"/>
                  <a:miter/>
                </a:ln>
              </p:spPr>
              <p:txBody>
                <a:bodyPr rtlCol="0" anchor="ctr"/>
                <a:lstStyle/>
                <a:p>
                  <a:endParaRPr lang="en-GB"/>
                </a:p>
              </p:txBody>
            </p:sp>
          </p:grpSp>
          <p:grpSp>
            <p:nvGrpSpPr>
              <p:cNvPr id="597" name="Graphic 3">
                <a:extLst>
                  <a:ext uri="{FF2B5EF4-FFF2-40B4-BE49-F238E27FC236}">
                    <a16:creationId xmlns:a16="http://schemas.microsoft.com/office/drawing/2014/main" id="{8840D0F4-98A9-4450-8F09-3F9C347A0BB1}"/>
                  </a:ext>
                </a:extLst>
              </p:cNvPr>
              <p:cNvGrpSpPr/>
              <p:nvPr/>
            </p:nvGrpSpPr>
            <p:grpSpPr>
              <a:xfrm>
                <a:off x="6938445" y="4968418"/>
                <a:ext cx="47618" cy="69669"/>
                <a:chOff x="6938445" y="4968418"/>
                <a:chExt cx="47618" cy="69669"/>
              </a:xfrm>
              <a:grpFill/>
            </p:grpSpPr>
            <p:sp>
              <p:nvSpPr>
                <p:cNvPr id="3597" name="Vrije vorm: vorm 3596">
                  <a:extLst>
                    <a:ext uri="{FF2B5EF4-FFF2-40B4-BE49-F238E27FC236}">
                      <a16:creationId xmlns:a16="http://schemas.microsoft.com/office/drawing/2014/main" id="{746D9A05-6A10-45C0-B0EF-94ADA0F75AD2}"/>
                    </a:ext>
                  </a:extLst>
                </p:cNvPr>
                <p:cNvSpPr/>
                <p:nvPr/>
              </p:nvSpPr>
              <p:spPr>
                <a:xfrm>
                  <a:off x="6946030" y="4976479"/>
                  <a:ext cx="32415" cy="53587"/>
                </a:xfrm>
                <a:custGeom>
                  <a:avLst/>
                  <a:gdLst>
                    <a:gd name="connsiteX0" fmla="*/ 32416 w 32415"/>
                    <a:gd name="connsiteY0" fmla="*/ 52092 h 53587"/>
                    <a:gd name="connsiteX1" fmla="*/ 29785 w 32415"/>
                    <a:gd name="connsiteY1" fmla="*/ 53587 h 53587"/>
                    <a:gd name="connsiteX2" fmla="*/ 0 w 32415"/>
                    <a:gd name="connsiteY2" fmla="*/ 1495 h 53587"/>
                    <a:gd name="connsiteX3" fmla="*/ 2632 w 32415"/>
                    <a:gd name="connsiteY3" fmla="*/ 0 h 53587"/>
                  </a:gdLst>
                  <a:ahLst/>
                  <a:cxnLst>
                    <a:cxn ang="0">
                      <a:pos x="connsiteX0" y="connsiteY0"/>
                    </a:cxn>
                    <a:cxn ang="0">
                      <a:pos x="connsiteX1" y="connsiteY1"/>
                    </a:cxn>
                    <a:cxn ang="0">
                      <a:pos x="connsiteX2" y="connsiteY2"/>
                    </a:cxn>
                    <a:cxn ang="0">
                      <a:pos x="connsiteX3" y="connsiteY3"/>
                    </a:cxn>
                  </a:cxnLst>
                  <a:rect l="l" t="t" r="r" b="b"/>
                  <a:pathLst>
                    <a:path w="32415" h="53587">
                      <a:moveTo>
                        <a:pt x="32416" y="52092"/>
                      </a:moveTo>
                      <a:lnTo>
                        <a:pt x="29785" y="53587"/>
                      </a:lnTo>
                      <a:lnTo>
                        <a:pt x="0" y="1495"/>
                      </a:lnTo>
                      <a:lnTo>
                        <a:pt x="2632" y="0"/>
                      </a:lnTo>
                      <a:close/>
                    </a:path>
                  </a:pathLst>
                </a:custGeom>
                <a:grpFill/>
                <a:ln w="5978" cap="flat">
                  <a:noFill/>
                  <a:prstDash val="solid"/>
                  <a:miter/>
                </a:ln>
              </p:spPr>
              <p:txBody>
                <a:bodyPr rtlCol="0" anchor="ctr"/>
                <a:lstStyle/>
                <a:p>
                  <a:endParaRPr lang="en-GB"/>
                </a:p>
              </p:txBody>
            </p:sp>
            <p:sp>
              <p:nvSpPr>
                <p:cNvPr id="3598" name="Vrije vorm: vorm 3597">
                  <a:extLst>
                    <a:ext uri="{FF2B5EF4-FFF2-40B4-BE49-F238E27FC236}">
                      <a16:creationId xmlns:a16="http://schemas.microsoft.com/office/drawing/2014/main" id="{7AF69177-1576-4FFC-955C-24913C7412C2}"/>
                    </a:ext>
                  </a:extLst>
                </p:cNvPr>
                <p:cNvSpPr/>
                <p:nvPr/>
              </p:nvSpPr>
              <p:spPr>
                <a:xfrm>
                  <a:off x="6967777" y="5019699"/>
                  <a:ext cx="18285" cy="18388"/>
                </a:xfrm>
                <a:custGeom>
                  <a:avLst/>
                  <a:gdLst>
                    <a:gd name="connsiteX0" fmla="*/ 17067 w 18285"/>
                    <a:gd name="connsiteY0" fmla="*/ 4625 h 18388"/>
                    <a:gd name="connsiteX1" fmla="*/ 13718 w 18285"/>
                    <a:gd name="connsiteY1" fmla="*/ 17185 h 18388"/>
                    <a:gd name="connsiteX2" fmla="*/ 1219 w 18285"/>
                    <a:gd name="connsiteY2" fmla="*/ 13776 h 18388"/>
                    <a:gd name="connsiteX3" fmla="*/ 4568 w 18285"/>
                    <a:gd name="connsiteY3" fmla="*/ 1216 h 18388"/>
                    <a:gd name="connsiteX4" fmla="*/ 17067 w 18285"/>
                    <a:gd name="connsiteY4" fmla="*/ 4625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388">
                      <a:moveTo>
                        <a:pt x="17067" y="4625"/>
                      </a:moveTo>
                      <a:cubicBezTo>
                        <a:pt x="19579" y="9051"/>
                        <a:pt x="18084" y="14673"/>
                        <a:pt x="13718" y="17185"/>
                      </a:cubicBezTo>
                      <a:cubicBezTo>
                        <a:pt x="9352" y="19697"/>
                        <a:pt x="3730" y="18142"/>
                        <a:pt x="1219" y="13776"/>
                      </a:cubicBezTo>
                      <a:cubicBezTo>
                        <a:pt x="-1293" y="9350"/>
                        <a:pt x="202" y="3728"/>
                        <a:pt x="4568" y="1216"/>
                      </a:cubicBezTo>
                      <a:cubicBezTo>
                        <a:pt x="8933" y="-1295"/>
                        <a:pt x="14556" y="200"/>
                        <a:pt x="17067" y="4625"/>
                      </a:cubicBezTo>
                      <a:close/>
                    </a:path>
                  </a:pathLst>
                </a:custGeom>
                <a:grpFill/>
                <a:ln w="5978" cap="flat">
                  <a:noFill/>
                  <a:prstDash val="solid"/>
                  <a:miter/>
                </a:ln>
              </p:spPr>
              <p:txBody>
                <a:bodyPr rtlCol="0" anchor="ctr"/>
                <a:lstStyle/>
                <a:p>
                  <a:endParaRPr lang="en-GB"/>
                </a:p>
              </p:txBody>
            </p:sp>
            <p:sp>
              <p:nvSpPr>
                <p:cNvPr id="3599" name="Vrije vorm: vorm 3598">
                  <a:extLst>
                    <a:ext uri="{FF2B5EF4-FFF2-40B4-BE49-F238E27FC236}">
                      <a16:creationId xmlns:a16="http://schemas.microsoft.com/office/drawing/2014/main" id="{06B310AA-005A-4492-B20C-CD28468E9567}"/>
                    </a:ext>
                  </a:extLst>
                </p:cNvPr>
                <p:cNvSpPr/>
                <p:nvPr/>
              </p:nvSpPr>
              <p:spPr>
                <a:xfrm>
                  <a:off x="6938445" y="4968418"/>
                  <a:ext cx="18312" cy="18454"/>
                </a:xfrm>
                <a:custGeom>
                  <a:avLst/>
                  <a:gdLst>
                    <a:gd name="connsiteX0" fmla="*/ 17094 w 18312"/>
                    <a:gd name="connsiteY0" fmla="*/ 4652 h 18454"/>
                    <a:gd name="connsiteX1" fmla="*/ 4594 w 18312"/>
                    <a:gd name="connsiteY1" fmla="*/ 1243 h 18454"/>
                    <a:gd name="connsiteX2" fmla="*/ 1245 w 18312"/>
                    <a:gd name="connsiteY2" fmla="*/ 13803 h 18454"/>
                    <a:gd name="connsiteX3" fmla="*/ 13745 w 18312"/>
                    <a:gd name="connsiteY3" fmla="*/ 17211 h 18454"/>
                    <a:gd name="connsiteX4" fmla="*/ 17094 w 18312"/>
                    <a:gd name="connsiteY4" fmla="*/ 46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4">
                      <a:moveTo>
                        <a:pt x="17094" y="4652"/>
                      </a:moveTo>
                      <a:cubicBezTo>
                        <a:pt x="14582" y="226"/>
                        <a:pt x="8961" y="-1329"/>
                        <a:pt x="4594" y="1243"/>
                      </a:cubicBezTo>
                      <a:cubicBezTo>
                        <a:pt x="228" y="3755"/>
                        <a:pt x="-1327" y="9377"/>
                        <a:pt x="1245" y="13803"/>
                      </a:cubicBezTo>
                      <a:cubicBezTo>
                        <a:pt x="3757" y="18228"/>
                        <a:pt x="9379" y="19783"/>
                        <a:pt x="13745" y="17211"/>
                      </a:cubicBezTo>
                      <a:cubicBezTo>
                        <a:pt x="18111" y="14640"/>
                        <a:pt x="19606" y="9078"/>
                        <a:pt x="17094" y="4652"/>
                      </a:cubicBezTo>
                      <a:close/>
                    </a:path>
                  </a:pathLst>
                </a:custGeom>
                <a:grpFill/>
                <a:ln w="5978" cap="flat">
                  <a:noFill/>
                  <a:prstDash val="solid"/>
                  <a:miter/>
                </a:ln>
              </p:spPr>
              <p:txBody>
                <a:bodyPr rtlCol="0" anchor="ctr"/>
                <a:lstStyle/>
                <a:p>
                  <a:endParaRPr lang="en-GB"/>
                </a:p>
              </p:txBody>
            </p:sp>
          </p:grpSp>
          <p:grpSp>
            <p:nvGrpSpPr>
              <p:cNvPr id="598" name="Graphic 3">
                <a:extLst>
                  <a:ext uri="{FF2B5EF4-FFF2-40B4-BE49-F238E27FC236}">
                    <a16:creationId xmlns:a16="http://schemas.microsoft.com/office/drawing/2014/main" id="{D8D39C49-7CB9-4096-A8C8-973CBFDD06F9}"/>
                  </a:ext>
                </a:extLst>
              </p:cNvPr>
              <p:cNvGrpSpPr/>
              <p:nvPr/>
            </p:nvGrpSpPr>
            <p:grpSpPr>
              <a:xfrm>
                <a:off x="5823024" y="1577271"/>
                <a:ext cx="36685" cy="169144"/>
                <a:chOff x="5823024" y="1577271"/>
                <a:chExt cx="36685" cy="169144"/>
              </a:xfrm>
              <a:grpFill/>
            </p:grpSpPr>
            <p:sp>
              <p:nvSpPr>
                <p:cNvPr id="3594" name="Vrije vorm: vorm 3593">
                  <a:extLst>
                    <a:ext uri="{FF2B5EF4-FFF2-40B4-BE49-F238E27FC236}">
                      <a16:creationId xmlns:a16="http://schemas.microsoft.com/office/drawing/2014/main" id="{EA30CC34-F862-4397-AD25-F3EAF8A655B6}"/>
                    </a:ext>
                  </a:extLst>
                </p:cNvPr>
                <p:cNvSpPr/>
                <p:nvPr/>
              </p:nvSpPr>
              <p:spPr>
                <a:xfrm>
                  <a:off x="5830625" y="1585888"/>
                  <a:ext cx="21530" cy="151910"/>
                </a:xfrm>
                <a:custGeom>
                  <a:avLst/>
                  <a:gdLst>
                    <a:gd name="connsiteX0" fmla="*/ 3050 w 21530"/>
                    <a:gd name="connsiteY0" fmla="*/ 0 h 151910"/>
                    <a:gd name="connsiteX1" fmla="*/ 21530 w 21530"/>
                    <a:gd name="connsiteY1" fmla="*/ 151551 h 151910"/>
                    <a:gd name="connsiteX2" fmla="*/ 18480 w 21530"/>
                    <a:gd name="connsiteY2" fmla="*/ 151910 h 151910"/>
                    <a:gd name="connsiteX3" fmla="*/ 0 w 21530"/>
                    <a:gd name="connsiteY3" fmla="*/ 359 h 151910"/>
                  </a:gdLst>
                  <a:ahLst/>
                  <a:cxnLst>
                    <a:cxn ang="0">
                      <a:pos x="connsiteX0" y="connsiteY0"/>
                    </a:cxn>
                    <a:cxn ang="0">
                      <a:pos x="connsiteX1" y="connsiteY1"/>
                    </a:cxn>
                    <a:cxn ang="0">
                      <a:pos x="connsiteX2" y="connsiteY2"/>
                    </a:cxn>
                    <a:cxn ang="0">
                      <a:pos x="connsiteX3" y="connsiteY3"/>
                    </a:cxn>
                  </a:cxnLst>
                  <a:rect l="l" t="t" r="r" b="b"/>
                  <a:pathLst>
                    <a:path w="21530" h="151910">
                      <a:moveTo>
                        <a:pt x="3050" y="0"/>
                      </a:moveTo>
                      <a:lnTo>
                        <a:pt x="21530" y="151551"/>
                      </a:lnTo>
                      <a:lnTo>
                        <a:pt x="18480" y="151910"/>
                      </a:lnTo>
                      <a:lnTo>
                        <a:pt x="0" y="359"/>
                      </a:lnTo>
                      <a:close/>
                    </a:path>
                  </a:pathLst>
                </a:custGeom>
                <a:grpFill/>
                <a:ln w="5978" cap="flat">
                  <a:noFill/>
                  <a:prstDash val="solid"/>
                  <a:miter/>
                </a:ln>
              </p:spPr>
              <p:txBody>
                <a:bodyPr rtlCol="0" anchor="ctr"/>
                <a:lstStyle/>
                <a:p>
                  <a:endParaRPr lang="en-GB"/>
                </a:p>
              </p:txBody>
            </p:sp>
            <p:sp>
              <p:nvSpPr>
                <p:cNvPr id="3595" name="Vrije vorm: vorm 3594">
                  <a:extLst>
                    <a:ext uri="{FF2B5EF4-FFF2-40B4-BE49-F238E27FC236}">
                      <a16:creationId xmlns:a16="http://schemas.microsoft.com/office/drawing/2014/main" id="{026C564F-E331-44F1-8FD1-FDACD9C07005}"/>
                    </a:ext>
                  </a:extLst>
                </p:cNvPr>
                <p:cNvSpPr/>
                <p:nvPr/>
              </p:nvSpPr>
              <p:spPr>
                <a:xfrm>
                  <a:off x="5823024" y="1577271"/>
                  <a:ext cx="18313" cy="18431"/>
                </a:xfrm>
                <a:custGeom>
                  <a:avLst/>
                  <a:gdLst>
                    <a:gd name="connsiteX0" fmla="*/ 66 w 18313"/>
                    <a:gd name="connsiteY0" fmla="*/ 10292 h 18431"/>
                    <a:gd name="connsiteX1" fmla="*/ 8020 w 18313"/>
                    <a:gd name="connsiteY1" fmla="*/ 65 h 18431"/>
                    <a:gd name="connsiteX2" fmla="*/ 18247 w 18313"/>
                    <a:gd name="connsiteY2" fmla="*/ 8139 h 18431"/>
                    <a:gd name="connsiteX3" fmla="*/ 10293 w 18313"/>
                    <a:gd name="connsiteY3" fmla="*/ 18366 h 18431"/>
                    <a:gd name="connsiteX4" fmla="*/ 66 w 18313"/>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66" y="10292"/>
                      </a:moveTo>
                      <a:cubicBezTo>
                        <a:pt x="-532" y="5268"/>
                        <a:pt x="2997" y="663"/>
                        <a:pt x="8020" y="65"/>
                      </a:cubicBezTo>
                      <a:cubicBezTo>
                        <a:pt x="13044" y="-533"/>
                        <a:pt x="17589" y="3055"/>
                        <a:pt x="18247" y="8139"/>
                      </a:cubicBezTo>
                      <a:cubicBezTo>
                        <a:pt x="18846" y="13163"/>
                        <a:pt x="15317" y="17768"/>
                        <a:pt x="10293" y="18366"/>
                      </a:cubicBezTo>
                      <a:cubicBezTo>
                        <a:pt x="5269" y="18964"/>
                        <a:pt x="724" y="15376"/>
                        <a:pt x="66" y="10292"/>
                      </a:cubicBezTo>
                      <a:close/>
                    </a:path>
                  </a:pathLst>
                </a:custGeom>
                <a:grpFill/>
                <a:ln w="5978" cap="flat">
                  <a:noFill/>
                  <a:prstDash val="solid"/>
                  <a:miter/>
                </a:ln>
              </p:spPr>
              <p:txBody>
                <a:bodyPr rtlCol="0" anchor="ctr"/>
                <a:lstStyle/>
                <a:p>
                  <a:endParaRPr lang="en-GB"/>
                </a:p>
              </p:txBody>
            </p:sp>
            <p:sp>
              <p:nvSpPr>
                <p:cNvPr id="3596" name="Vrije vorm: vorm 3595">
                  <a:extLst>
                    <a:ext uri="{FF2B5EF4-FFF2-40B4-BE49-F238E27FC236}">
                      <a16:creationId xmlns:a16="http://schemas.microsoft.com/office/drawing/2014/main" id="{2B32FA56-015A-427D-BABC-67CCE2E548AF}"/>
                    </a:ext>
                  </a:extLst>
                </p:cNvPr>
                <p:cNvSpPr/>
                <p:nvPr/>
              </p:nvSpPr>
              <p:spPr>
                <a:xfrm>
                  <a:off x="5841385" y="1727986"/>
                  <a:ext cx="18324" cy="18429"/>
                </a:xfrm>
                <a:custGeom>
                  <a:avLst/>
                  <a:gdLst>
                    <a:gd name="connsiteX0" fmla="*/ 65 w 18324"/>
                    <a:gd name="connsiteY0" fmla="*/ 10291 h 18429"/>
                    <a:gd name="connsiteX1" fmla="*/ 10292 w 18324"/>
                    <a:gd name="connsiteY1" fmla="*/ 18365 h 18429"/>
                    <a:gd name="connsiteX2" fmla="*/ 18246 w 18324"/>
                    <a:gd name="connsiteY2" fmla="*/ 8138 h 18429"/>
                    <a:gd name="connsiteX3" fmla="*/ 8020 w 18324"/>
                    <a:gd name="connsiteY3" fmla="*/ 64 h 18429"/>
                    <a:gd name="connsiteX4" fmla="*/ 65 w 18324"/>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9">
                      <a:moveTo>
                        <a:pt x="65" y="10291"/>
                      </a:moveTo>
                      <a:cubicBezTo>
                        <a:pt x="663" y="15315"/>
                        <a:pt x="5268" y="18963"/>
                        <a:pt x="10292" y="18365"/>
                      </a:cubicBezTo>
                      <a:cubicBezTo>
                        <a:pt x="15316" y="17767"/>
                        <a:pt x="18904" y="13162"/>
                        <a:pt x="18246" y="8138"/>
                      </a:cubicBezTo>
                      <a:cubicBezTo>
                        <a:pt x="17649" y="3114"/>
                        <a:pt x="13043" y="-534"/>
                        <a:pt x="8020" y="64"/>
                      </a:cubicBezTo>
                      <a:cubicBezTo>
                        <a:pt x="3056" y="662"/>
                        <a:pt x="-533" y="5208"/>
                        <a:pt x="65" y="10291"/>
                      </a:cubicBezTo>
                      <a:close/>
                    </a:path>
                  </a:pathLst>
                </a:custGeom>
                <a:grpFill/>
                <a:ln w="5978" cap="flat">
                  <a:noFill/>
                  <a:prstDash val="solid"/>
                  <a:miter/>
                </a:ln>
              </p:spPr>
              <p:txBody>
                <a:bodyPr rtlCol="0" anchor="ctr"/>
                <a:lstStyle/>
                <a:p>
                  <a:endParaRPr lang="en-GB"/>
                </a:p>
              </p:txBody>
            </p:sp>
          </p:grpSp>
          <p:grpSp>
            <p:nvGrpSpPr>
              <p:cNvPr id="599" name="Graphic 3">
                <a:extLst>
                  <a:ext uri="{FF2B5EF4-FFF2-40B4-BE49-F238E27FC236}">
                    <a16:creationId xmlns:a16="http://schemas.microsoft.com/office/drawing/2014/main" id="{953428AC-6547-48D2-ACEE-1394BBD12C41}"/>
                  </a:ext>
                </a:extLst>
              </p:cNvPr>
              <p:cNvGrpSpPr/>
              <p:nvPr/>
            </p:nvGrpSpPr>
            <p:grpSpPr>
              <a:xfrm>
                <a:off x="5760917" y="1380717"/>
                <a:ext cx="42769" cy="192750"/>
                <a:chOff x="5760917" y="1380717"/>
                <a:chExt cx="42769" cy="192750"/>
              </a:xfrm>
              <a:grpFill/>
            </p:grpSpPr>
            <p:sp>
              <p:nvSpPr>
                <p:cNvPr id="3591" name="Vrije vorm: vorm 3590">
                  <a:extLst>
                    <a:ext uri="{FF2B5EF4-FFF2-40B4-BE49-F238E27FC236}">
                      <a16:creationId xmlns:a16="http://schemas.microsoft.com/office/drawing/2014/main" id="{CCC73A96-0846-4A9A-B8DD-6E0D16A2025D}"/>
                    </a:ext>
                  </a:extLst>
                </p:cNvPr>
                <p:cNvSpPr/>
                <p:nvPr/>
              </p:nvSpPr>
              <p:spPr>
                <a:xfrm>
                  <a:off x="5768690" y="1389517"/>
                  <a:ext cx="27646" cy="175618"/>
                </a:xfrm>
                <a:custGeom>
                  <a:avLst/>
                  <a:gdLst>
                    <a:gd name="connsiteX0" fmla="*/ 0 w 27646"/>
                    <a:gd name="connsiteY0" fmla="*/ 425 h 175618"/>
                    <a:gd name="connsiteX1" fmla="*/ 3021 w 27646"/>
                    <a:gd name="connsiteY1" fmla="*/ 0 h 175618"/>
                    <a:gd name="connsiteX2" fmla="*/ 27646 w 27646"/>
                    <a:gd name="connsiteY2" fmla="*/ 175194 h 175618"/>
                    <a:gd name="connsiteX3" fmla="*/ 24626 w 27646"/>
                    <a:gd name="connsiteY3" fmla="*/ 175618 h 175618"/>
                  </a:gdLst>
                  <a:ahLst/>
                  <a:cxnLst>
                    <a:cxn ang="0">
                      <a:pos x="connsiteX0" y="connsiteY0"/>
                    </a:cxn>
                    <a:cxn ang="0">
                      <a:pos x="connsiteX1" y="connsiteY1"/>
                    </a:cxn>
                    <a:cxn ang="0">
                      <a:pos x="connsiteX2" y="connsiteY2"/>
                    </a:cxn>
                    <a:cxn ang="0">
                      <a:pos x="connsiteX3" y="connsiteY3"/>
                    </a:cxn>
                  </a:cxnLst>
                  <a:rect l="l" t="t" r="r" b="b"/>
                  <a:pathLst>
                    <a:path w="27646" h="175618">
                      <a:moveTo>
                        <a:pt x="0" y="425"/>
                      </a:moveTo>
                      <a:lnTo>
                        <a:pt x="3021" y="0"/>
                      </a:lnTo>
                      <a:lnTo>
                        <a:pt x="27646" y="175194"/>
                      </a:lnTo>
                      <a:lnTo>
                        <a:pt x="24626" y="175618"/>
                      </a:lnTo>
                      <a:close/>
                    </a:path>
                  </a:pathLst>
                </a:custGeom>
                <a:grpFill/>
                <a:ln w="5978" cap="flat">
                  <a:noFill/>
                  <a:prstDash val="solid"/>
                  <a:miter/>
                </a:ln>
              </p:spPr>
              <p:txBody>
                <a:bodyPr rtlCol="0" anchor="ctr"/>
                <a:lstStyle/>
                <a:p>
                  <a:endParaRPr lang="en-GB"/>
                </a:p>
              </p:txBody>
            </p:sp>
            <p:sp>
              <p:nvSpPr>
                <p:cNvPr id="3592" name="Vrije vorm: vorm 3591">
                  <a:extLst>
                    <a:ext uri="{FF2B5EF4-FFF2-40B4-BE49-F238E27FC236}">
                      <a16:creationId xmlns:a16="http://schemas.microsoft.com/office/drawing/2014/main" id="{941E187B-E930-456C-825E-F93C29093078}"/>
                    </a:ext>
                  </a:extLst>
                </p:cNvPr>
                <p:cNvSpPr/>
                <p:nvPr/>
              </p:nvSpPr>
              <p:spPr>
                <a:xfrm>
                  <a:off x="5760917" y="1380717"/>
                  <a:ext cx="18308" cy="18472"/>
                </a:xfrm>
                <a:custGeom>
                  <a:avLst/>
                  <a:gdLst>
                    <a:gd name="connsiteX0" fmla="*/ 93 w 18308"/>
                    <a:gd name="connsiteY0" fmla="*/ 10499 h 18472"/>
                    <a:gd name="connsiteX1" fmla="*/ 7868 w 18308"/>
                    <a:gd name="connsiteY1" fmla="*/ 93 h 18472"/>
                    <a:gd name="connsiteX2" fmla="*/ 18215 w 18308"/>
                    <a:gd name="connsiteY2" fmla="*/ 7987 h 18472"/>
                    <a:gd name="connsiteX3" fmla="*/ 10439 w 18308"/>
                    <a:gd name="connsiteY3" fmla="*/ 18394 h 18472"/>
                    <a:gd name="connsiteX4" fmla="*/ 93 w 18308"/>
                    <a:gd name="connsiteY4" fmla="*/ 10499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72">
                      <a:moveTo>
                        <a:pt x="93" y="10499"/>
                      </a:moveTo>
                      <a:cubicBezTo>
                        <a:pt x="-625" y="5475"/>
                        <a:pt x="2904" y="810"/>
                        <a:pt x="7868" y="93"/>
                      </a:cubicBezTo>
                      <a:cubicBezTo>
                        <a:pt x="12892" y="-625"/>
                        <a:pt x="17496" y="2904"/>
                        <a:pt x="18215" y="7987"/>
                      </a:cubicBezTo>
                      <a:cubicBezTo>
                        <a:pt x="18932" y="13011"/>
                        <a:pt x="15463" y="17676"/>
                        <a:pt x="10439" y="18394"/>
                      </a:cubicBezTo>
                      <a:cubicBezTo>
                        <a:pt x="5416" y="19052"/>
                        <a:pt x="751" y="15523"/>
                        <a:pt x="93" y="10499"/>
                      </a:cubicBezTo>
                      <a:close/>
                    </a:path>
                  </a:pathLst>
                </a:custGeom>
                <a:grpFill/>
                <a:ln w="5978" cap="flat">
                  <a:noFill/>
                  <a:prstDash val="solid"/>
                  <a:miter/>
                </a:ln>
              </p:spPr>
              <p:txBody>
                <a:bodyPr rtlCol="0" anchor="ctr"/>
                <a:lstStyle/>
                <a:p>
                  <a:endParaRPr lang="en-GB"/>
                </a:p>
              </p:txBody>
            </p:sp>
            <p:sp>
              <p:nvSpPr>
                <p:cNvPr id="3593" name="Vrije vorm: vorm 3592">
                  <a:extLst>
                    <a:ext uri="{FF2B5EF4-FFF2-40B4-BE49-F238E27FC236}">
                      <a16:creationId xmlns:a16="http://schemas.microsoft.com/office/drawing/2014/main" id="{1B1CACC9-C64F-424B-966E-80D356F3A329}"/>
                    </a:ext>
                  </a:extLst>
                </p:cNvPr>
                <p:cNvSpPr/>
                <p:nvPr/>
              </p:nvSpPr>
              <p:spPr>
                <a:xfrm>
                  <a:off x="5785378" y="1555009"/>
                  <a:ext cx="18308" cy="18458"/>
                </a:xfrm>
                <a:custGeom>
                  <a:avLst/>
                  <a:gdLst>
                    <a:gd name="connsiteX0" fmla="*/ 93 w 18308"/>
                    <a:gd name="connsiteY0" fmla="*/ 10485 h 18458"/>
                    <a:gd name="connsiteX1" fmla="*/ 10439 w 18308"/>
                    <a:gd name="connsiteY1" fmla="*/ 18380 h 18458"/>
                    <a:gd name="connsiteX2" fmla="*/ 18214 w 18308"/>
                    <a:gd name="connsiteY2" fmla="*/ 7973 h 18458"/>
                    <a:gd name="connsiteX3" fmla="*/ 7868 w 18308"/>
                    <a:gd name="connsiteY3" fmla="*/ 79 h 18458"/>
                    <a:gd name="connsiteX4" fmla="*/ 93 w 18308"/>
                    <a:gd name="connsiteY4" fmla="*/ 1048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8">
                      <a:moveTo>
                        <a:pt x="93" y="10485"/>
                      </a:moveTo>
                      <a:cubicBezTo>
                        <a:pt x="810" y="15509"/>
                        <a:pt x="5415" y="19038"/>
                        <a:pt x="10439" y="18380"/>
                      </a:cubicBezTo>
                      <a:cubicBezTo>
                        <a:pt x="15463" y="17662"/>
                        <a:pt x="18932" y="13057"/>
                        <a:pt x="18214" y="7973"/>
                      </a:cubicBezTo>
                      <a:cubicBezTo>
                        <a:pt x="17496" y="2950"/>
                        <a:pt x="12891" y="-579"/>
                        <a:pt x="7868" y="79"/>
                      </a:cubicBezTo>
                      <a:cubicBezTo>
                        <a:pt x="2904" y="797"/>
                        <a:pt x="-625" y="5402"/>
                        <a:pt x="93" y="10485"/>
                      </a:cubicBezTo>
                      <a:close/>
                    </a:path>
                  </a:pathLst>
                </a:custGeom>
                <a:grpFill/>
                <a:ln w="5978" cap="flat">
                  <a:noFill/>
                  <a:prstDash val="solid"/>
                  <a:miter/>
                </a:ln>
              </p:spPr>
              <p:txBody>
                <a:bodyPr rtlCol="0" anchor="ctr"/>
                <a:lstStyle/>
                <a:p>
                  <a:endParaRPr lang="en-GB"/>
                </a:p>
              </p:txBody>
            </p:sp>
          </p:grpSp>
          <p:grpSp>
            <p:nvGrpSpPr>
              <p:cNvPr id="600" name="Graphic 3">
                <a:extLst>
                  <a:ext uri="{FF2B5EF4-FFF2-40B4-BE49-F238E27FC236}">
                    <a16:creationId xmlns:a16="http://schemas.microsoft.com/office/drawing/2014/main" id="{37A02C6B-2DF9-47F0-A54A-4EEE577C00B9}"/>
                  </a:ext>
                </a:extLst>
              </p:cNvPr>
              <p:cNvGrpSpPr/>
              <p:nvPr/>
            </p:nvGrpSpPr>
            <p:grpSpPr>
              <a:xfrm>
                <a:off x="6885695" y="4876255"/>
                <a:ext cx="61912" cy="94549"/>
                <a:chOff x="6885695" y="4876255"/>
                <a:chExt cx="61912" cy="94549"/>
              </a:xfrm>
              <a:grpFill/>
            </p:grpSpPr>
            <p:sp>
              <p:nvSpPr>
                <p:cNvPr id="3588" name="Vrije vorm: vorm 3587">
                  <a:extLst>
                    <a:ext uri="{FF2B5EF4-FFF2-40B4-BE49-F238E27FC236}">
                      <a16:creationId xmlns:a16="http://schemas.microsoft.com/office/drawing/2014/main" id="{9493CD1F-E0F4-4070-AAA3-84555A136B17}"/>
                    </a:ext>
                  </a:extLst>
                </p:cNvPr>
                <p:cNvSpPr/>
                <p:nvPr/>
              </p:nvSpPr>
              <p:spPr>
                <a:xfrm>
                  <a:off x="6893340" y="4884316"/>
                  <a:ext cx="46649" cy="78467"/>
                </a:xfrm>
                <a:custGeom>
                  <a:avLst/>
                  <a:gdLst>
                    <a:gd name="connsiteX0" fmla="*/ 46649 w 46649"/>
                    <a:gd name="connsiteY0" fmla="*/ 76972 h 78467"/>
                    <a:gd name="connsiteX1" fmla="*/ 44018 w 46649"/>
                    <a:gd name="connsiteY1" fmla="*/ 78467 h 78467"/>
                    <a:gd name="connsiteX2" fmla="*/ 0 w 46649"/>
                    <a:gd name="connsiteY2" fmla="*/ 1495 h 78467"/>
                    <a:gd name="connsiteX3" fmla="*/ 2631 w 46649"/>
                    <a:gd name="connsiteY3" fmla="*/ 0 h 78467"/>
                  </a:gdLst>
                  <a:ahLst/>
                  <a:cxnLst>
                    <a:cxn ang="0">
                      <a:pos x="connsiteX0" y="connsiteY0"/>
                    </a:cxn>
                    <a:cxn ang="0">
                      <a:pos x="connsiteX1" y="connsiteY1"/>
                    </a:cxn>
                    <a:cxn ang="0">
                      <a:pos x="connsiteX2" y="connsiteY2"/>
                    </a:cxn>
                    <a:cxn ang="0">
                      <a:pos x="connsiteX3" y="connsiteY3"/>
                    </a:cxn>
                  </a:cxnLst>
                  <a:rect l="l" t="t" r="r" b="b"/>
                  <a:pathLst>
                    <a:path w="46649" h="78467">
                      <a:moveTo>
                        <a:pt x="46649" y="76972"/>
                      </a:moveTo>
                      <a:lnTo>
                        <a:pt x="44018" y="78467"/>
                      </a:lnTo>
                      <a:lnTo>
                        <a:pt x="0" y="1495"/>
                      </a:lnTo>
                      <a:lnTo>
                        <a:pt x="2631" y="0"/>
                      </a:lnTo>
                      <a:close/>
                    </a:path>
                  </a:pathLst>
                </a:custGeom>
                <a:grpFill/>
                <a:ln w="5978" cap="flat">
                  <a:noFill/>
                  <a:prstDash val="solid"/>
                  <a:miter/>
                </a:ln>
              </p:spPr>
              <p:txBody>
                <a:bodyPr rtlCol="0" anchor="ctr"/>
                <a:lstStyle/>
                <a:p>
                  <a:endParaRPr lang="en-GB"/>
                </a:p>
              </p:txBody>
            </p:sp>
            <p:sp>
              <p:nvSpPr>
                <p:cNvPr id="3589" name="Vrije vorm: vorm 3588">
                  <a:extLst>
                    <a:ext uri="{FF2B5EF4-FFF2-40B4-BE49-F238E27FC236}">
                      <a16:creationId xmlns:a16="http://schemas.microsoft.com/office/drawing/2014/main" id="{562A6EB7-D10A-41E8-849F-0A332B88605A}"/>
                    </a:ext>
                  </a:extLst>
                </p:cNvPr>
                <p:cNvSpPr/>
                <p:nvPr/>
              </p:nvSpPr>
              <p:spPr>
                <a:xfrm>
                  <a:off x="6929321" y="4952429"/>
                  <a:ext cx="18286" cy="18375"/>
                </a:xfrm>
                <a:custGeom>
                  <a:avLst/>
                  <a:gdLst>
                    <a:gd name="connsiteX0" fmla="*/ 17068 w 18286"/>
                    <a:gd name="connsiteY0" fmla="*/ 4612 h 18375"/>
                    <a:gd name="connsiteX1" fmla="*/ 13718 w 18286"/>
                    <a:gd name="connsiteY1" fmla="*/ 17172 h 18375"/>
                    <a:gd name="connsiteX2" fmla="*/ 1219 w 18286"/>
                    <a:gd name="connsiteY2" fmla="*/ 13763 h 18375"/>
                    <a:gd name="connsiteX3" fmla="*/ 4568 w 18286"/>
                    <a:gd name="connsiteY3" fmla="*/ 1203 h 18375"/>
                    <a:gd name="connsiteX4" fmla="*/ 17068 w 18286"/>
                    <a:gd name="connsiteY4" fmla="*/ 4612 h 18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375">
                      <a:moveTo>
                        <a:pt x="17068" y="4612"/>
                      </a:moveTo>
                      <a:cubicBezTo>
                        <a:pt x="19580" y="9038"/>
                        <a:pt x="18085" y="14660"/>
                        <a:pt x="13718" y="17172"/>
                      </a:cubicBezTo>
                      <a:cubicBezTo>
                        <a:pt x="9352" y="19684"/>
                        <a:pt x="3731" y="18129"/>
                        <a:pt x="1219" y="13763"/>
                      </a:cubicBezTo>
                      <a:cubicBezTo>
                        <a:pt x="-1293" y="9397"/>
                        <a:pt x="202" y="3715"/>
                        <a:pt x="4568" y="1203"/>
                      </a:cubicBezTo>
                      <a:cubicBezTo>
                        <a:pt x="8934" y="-1308"/>
                        <a:pt x="14496" y="247"/>
                        <a:pt x="17068" y="4612"/>
                      </a:cubicBezTo>
                      <a:close/>
                    </a:path>
                  </a:pathLst>
                </a:custGeom>
                <a:grpFill/>
                <a:ln w="5978" cap="flat">
                  <a:noFill/>
                  <a:prstDash val="solid"/>
                  <a:miter/>
                </a:ln>
              </p:spPr>
              <p:txBody>
                <a:bodyPr rtlCol="0" anchor="ctr"/>
                <a:lstStyle/>
                <a:p>
                  <a:endParaRPr lang="en-GB"/>
                </a:p>
              </p:txBody>
            </p:sp>
            <p:sp>
              <p:nvSpPr>
                <p:cNvPr id="3590" name="Vrije vorm: vorm 3589">
                  <a:extLst>
                    <a:ext uri="{FF2B5EF4-FFF2-40B4-BE49-F238E27FC236}">
                      <a16:creationId xmlns:a16="http://schemas.microsoft.com/office/drawing/2014/main" id="{246CAA3C-7393-4A93-B26A-5540A5CDD825}"/>
                    </a:ext>
                  </a:extLst>
                </p:cNvPr>
                <p:cNvSpPr/>
                <p:nvPr/>
              </p:nvSpPr>
              <p:spPr>
                <a:xfrm>
                  <a:off x="6885695" y="4876255"/>
                  <a:ext cx="18339" cy="18454"/>
                </a:xfrm>
                <a:custGeom>
                  <a:avLst/>
                  <a:gdLst>
                    <a:gd name="connsiteX0" fmla="*/ 17094 w 18339"/>
                    <a:gd name="connsiteY0" fmla="*/ 4652 h 18454"/>
                    <a:gd name="connsiteX1" fmla="*/ 4594 w 18339"/>
                    <a:gd name="connsiteY1" fmla="*/ 1243 h 18454"/>
                    <a:gd name="connsiteX2" fmla="*/ 1245 w 18339"/>
                    <a:gd name="connsiteY2" fmla="*/ 13802 h 18454"/>
                    <a:gd name="connsiteX3" fmla="*/ 13745 w 18339"/>
                    <a:gd name="connsiteY3" fmla="*/ 17211 h 18454"/>
                    <a:gd name="connsiteX4" fmla="*/ 17094 w 18339"/>
                    <a:gd name="connsiteY4" fmla="*/ 46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4">
                      <a:moveTo>
                        <a:pt x="17094" y="4652"/>
                      </a:moveTo>
                      <a:cubicBezTo>
                        <a:pt x="14582" y="226"/>
                        <a:pt x="8960" y="-1329"/>
                        <a:pt x="4594" y="1243"/>
                      </a:cubicBezTo>
                      <a:cubicBezTo>
                        <a:pt x="229" y="3755"/>
                        <a:pt x="-1326" y="9377"/>
                        <a:pt x="1245" y="13802"/>
                      </a:cubicBezTo>
                      <a:cubicBezTo>
                        <a:pt x="3757" y="18228"/>
                        <a:pt x="9379" y="19783"/>
                        <a:pt x="13745" y="17211"/>
                      </a:cubicBezTo>
                      <a:cubicBezTo>
                        <a:pt x="18111" y="14700"/>
                        <a:pt x="19666" y="9078"/>
                        <a:pt x="17094" y="4652"/>
                      </a:cubicBezTo>
                      <a:close/>
                    </a:path>
                  </a:pathLst>
                </a:custGeom>
                <a:grpFill/>
                <a:ln w="5978" cap="flat">
                  <a:noFill/>
                  <a:prstDash val="solid"/>
                  <a:miter/>
                </a:ln>
              </p:spPr>
              <p:txBody>
                <a:bodyPr rtlCol="0" anchor="ctr"/>
                <a:lstStyle/>
                <a:p>
                  <a:endParaRPr lang="en-GB"/>
                </a:p>
              </p:txBody>
            </p:sp>
          </p:grpSp>
          <p:grpSp>
            <p:nvGrpSpPr>
              <p:cNvPr id="601" name="Graphic 3">
                <a:extLst>
                  <a:ext uri="{FF2B5EF4-FFF2-40B4-BE49-F238E27FC236}">
                    <a16:creationId xmlns:a16="http://schemas.microsoft.com/office/drawing/2014/main" id="{AEDC410D-3F91-4CEA-B157-1E8FC349E5C8}"/>
                  </a:ext>
                </a:extLst>
              </p:cNvPr>
              <p:cNvGrpSpPr/>
              <p:nvPr/>
            </p:nvGrpSpPr>
            <p:grpSpPr>
              <a:xfrm>
                <a:off x="5629049" y="1074152"/>
                <a:ext cx="37791" cy="127081"/>
                <a:chOff x="5629049" y="1074152"/>
                <a:chExt cx="37791" cy="127081"/>
              </a:xfrm>
              <a:grpFill/>
            </p:grpSpPr>
            <p:sp>
              <p:nvSpPr>
                <p:cNvPr id="3585" name="Vrije vorm: vorm 3584">
                  <a:extLst>
                    <a:ext uri="{FF2B5EF4-FFF2-40B4-BE49-F238E27FC236}">
                      <a16:creationId xmlns:a16="http://schemas.microsoft.com/office/drawing/2014/main" id="{24D8F2FE-D21F-43B7-BFB5-B0FBFBB5A5D6}"/>
                    </a:ext>
                  </a:extLst>
                </p:cNvPr>
                <p:cNvSpPr/>
                <p:nvPr/>
              </p:nvSpPr>
              <p:spPr>
                <a:xfrm>
                  <a:off x="5636671" y="1082670"/>
                  <a:ext cx="22547" cy="110045"/>
                </a:xfrm>
                <a:custGeom>
                  <a:avLst/>
                  <a:gdLst>
                    <a:gd name="connsiteX0" fmla="*/ 2990 w 22547"/>
                    <a:gd name="connsiteY0" fmla="*/ 0 h 110045"/>
                    <a:gd name="connsiteX1" fmla="*/ 22547 w 22547"/>
                    <a:gd name="connsiteY1" fmla="*/ 109507 h 110045"/>
                    <a:gd name="connsiteX2" fmla="*/ 19557 w 22547"/>
                    <a:gd name="connsiteY2" fmla="*/ 110045 h 110045"/>
                    <a:gd name="connsiteX3" fmla="*/ 0 w 22547"/>
                    <a:gd name="connsiteY3" fmla="*/ 478 h 110045"/>
                  </a:gdLst>
                  <a:ahLst/>
                  <a:cxnLst>
                    <a:cxn ang="0">
                      <a:pos x="connsiteX0" y="connsiteY0"/>
                    </a:cxn>
                    <a:cxn ang="0">
                      <a:pos x="connsiteX1" y="connsiteY1"/>
                    </a:cxn>
                    <a:cxn ang="0">
                      <a:pos x="connsiteX2" y="connsiteY2"/>
                    </a:cxn>
                    <a:cxn ang="0">
                      <a:pos x="connsiteX3" y="connsiteY3"/>
                    </a:cxn>
                  </a:cxnLst>
                  <a:rect l="l" t="t" r="r" b="b"/>
                  <a:pathLst>
                    <a:path w="22547" h="110045">
                      <a:moveTo>
                        <a:pt x="2990" y="0"/>
                      </a:moveTo>
                      <a:lnTo>
                        <a:pt x="22547" y="109507"/>
                      </a:lnTo>
                      <a:lnTo>
                        <a:pt x="19557" y="110045"/>
                      </a:lnTo>
                      <a:lnTo>
                        <a:pt x="0" y="478"/>
                      </a:lnTo>
                      <a:close/>
                    </a:path>
                  </a:pathLst>
                </a:custGeom>
                <a:grpFill/>
                <a:ln w="5978" cap="flat">
                  <a:noFill/>
                  <a:prstDash val="solid"/>
                  <a:miter/>
                </a:ln>
              </p:spPr>
              <p:txBody>
                <a:bodyPr rtlCol="0" anchor="ctr"/>
                <a:lstStyle/>
                <a:p>
                  <a:endParaRPr lang="en-GB"/>
                </a:p>
              </p:txBody>
            </p:sp>
            <p:sp>
              <p:nvSpPr>
                <p:cNvPr id="3586" name="Vrije vorm: vorm 3585">
                  <a:extLst>
                    <a:ext uri="{FF2B5EF4-FFF2-40B4-BE49-F238E27FC236}">
                      <a16:creationId xmlns:a16="http://schemas.microsoft.com/office/drawing/2014/main" id="{C694F73D-916F-4394-9769-030B194515CB}"/>
                    </a:ext>
                  </a:extLst>
                </p:cNvPr>
                <p:cNvSpPr/>
                <p:nvPr/>
              </p:nvSpPr>
              <p:spPr>
                <a:xfrm>
                  <a:off x="5648485" y="1182822"/>
                  <a:ext cx="18356" cy="18412"/>
                </a:xfrm>
                <a:custGeom>
                  <a:avLst/>
                  <a:gdLst>
                    <a:gd name="connsiteX0" fmla="*/ 18209 w 18356"/>
                    <a:gd name="connsiteY0" fmla="*/ 7621 h 18412"/>
                    <a:gd name="connsiteX1" fmla="*/ 10793 w 18356"/>
                    <a:gd name="connsiteY1" fmla="*/ 18267 h 18412"/>
                    <a:gd name="connsiteX2" fmla="*/ 147 w 18356"/>
                    <a:gd name="connsiteY2" fmla="*/ 10791 h 18412"/>
                    <a:gd name="connsiteX3" fmla="*/ 7563 w 18356"/>
                    <a:gd name="connsiteY3" fmla="*/ 145 h 18412"/>
                    <a:gd name="connsiteX4" fmla="*/ 18209 w 18356"/>
                    <a:gd name="connsiteY4" fmla="*/ 762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2">
                      <a:moveTo>
                        <a:pt x="18209" y="7621"/>
                      </a:moveTo>
                      <a:cubicBezTo>
                        <a:pt x="19106" y="12645"/>
                        <a:pt x="15817" y="17430"/>
                        <a:pt x="10793" y="18267"/>
                      </a:cubicBezTo>
                      <a:cubicBezTo>
                        <a:pt x="5829" y="19164"/>
                        <a:pt x="1044" y="15815"/>
                        <a:pt x="147" y="10791"/>
                      </a:cubicBezTo>
                      <a:cubicBezTo>
                        <a:pt x="-750" y="5767"/>
                        <a:pt x="2539" y="983"/>
                        <a:pt x="7563" y="145"/>
                      </a:cubicBezTo>
                      <a:cubicBezTo>
                        <a:pt x="12528" y="-752"/>
                        <a:pt x="17312" y="2597"/>
                        <a:pt x="18209" y="7621"/>
                      </a:cubicBezTo>
                      <a:close/>
                    </a:path>
                  </a:pathLst>
                </a:custGeom>
                <a:grpFill/>
                <a:ln w="5978" cap="flat">
                  <a:noFill/>
                  <a:prstDash val="solid"/>
                  <a:miter/>
                </a:ln>
              </p:spPr>
              <p:txBody>
                <a:bodyPr rtlCol="0" anchor="ctr"/>
                <a:lstStyle/>
                <a:p>
                  <a:endParaRPr lang="en-GB"/>
                </a:p>
              </p:txBody>
            </p:sp>
            <p:sp>
              <p:nvSpPr>
                <p:cNvPr id="3587" name="Vrije vorm: vorm 3586">
                  <a:extLst>
                    <a:ext uri="{FF2B5EF4-FFF2-40B4-BE49-F238E27FC236}">
                      <a16:creationId xmlns:a16="http://schemas.microsoft.com/office/drawing/2014/main" id="{90183F04-CA08-4A5C-915C-9BF141F831C6}"/>
                    </a:ext>
                  </a:extLst>
                </p:cNvPr>
                <p:cNvSpPr/>
                <p:nvPr/>
              </p:nvSpPr>
              <p:spPr>
                <a:xfrm>
                  <a:off x="5629049" y="1074152"/>
                  <a:ext cx="18354" cy="18412"/>
                </a:xfrm>
                <a:custGeom>
                  <a:avLst/>
                  <a:gdLst>
                    <a:gd name="connsiteX0" fmla="*/ 18207 w 18354"/>
                    <a:gd name="connsiteY0" fmla="*/ 7621 h 18412"/>
                    <a:gd name="connsiteX1" fmla="*/ 7561 w 18354"/>
                    <a:gd name="connsiteY1" fmla="*/ 145 h 18412"/>
                    <a:gd name="connsiteX2" fmla="*/ 145 w 18354"/>
                    <a:gd name="connsiteY2" fmla="*/ 10791 h 18412"/>
                    <a:gd name="connsiteX3" fmla="*/ 10791 w 18354"/>
                    <a:gd name="connsiteY3" fmla="*/ 18267 h 18412"/>
                    <a:gd name="connsiteX4" fmla="*/ 18207 w 18354"/>
                    <a:gd name="connsiteY4" fmla="*/ 762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8207" y="7621"/>
                      </a:moveTo>
                      <a:cubicBezTo>
                        <a:pt x="17310" y="2597"/>
                        <a:pt x="12526" y="-752"/>
                        <a:pt x="7561" y="145"/>
                      </a:cubicBezTo>
                      <a:cubicBezTo>
                        <a:pt x="2597" y="1042"/>
                        <a:pt x="-752" y="5827"/>
                        <a:pt x="145" y="10791"/>
                      </a:cubicBezTo>
                      <a:cubicBezTo>
                        <a:pt x="1042" y="15815"/>
                        <a:pt x="5827" y="19164"/>
                        <a:pt x="10791" y="18267"/>
                      </a:cubicBezTo>
                      <a:cubicBezTo>
                        <a:pt x="15815" y="17430"/>
                        <a:pt x="19104" y="12645"/>
                        <a:pt x="18207" y="7621"/>
                      </a:cubicBezTo>
                      <a:close/>
                    </a:path>
                  </a:pathLst>
                </a:custGeom>
                <a:grpFill/>
                <a:ln w="5978" cap="flat">
                  <a:noFill/>
                  <a:prstDash val="solid"/>
                  <a:miter/>
                </a:ln>
              </p:spPr>
              <p:txBody>
                <a:bodyPr rtlCol="0" anchor="ctr"/>
                <a:lstStyle/>
                <a:p>
                  <a:endParaRPr lang="en-GB"/>
                </a:p>
              </p:txBody>
            </p:sp>
          </p:grpSp>
          <p:grpSp>
            <p:nvGrpSpPr>
              <p:cNvPr id="602" name="Graphic 3">
                <a:extLst>
                  <a:ext uri="{FF2B5EF4-FFF2-40B4-BE49-F238E27FC236}">
                    <a16:creationId xmlns:a16="http://schemas.microsoft.com/office/drawing/2014/main" id="{25F9CB89-D127-45E9-AFEB-89BA8D38F430}"/>
                  </a:ext>
                </a:extLst>
              </p:cNvPr>
              <p:cNvGrpSpPr/>
              <p:nvPr/>
            </p:nvGrpSpPr>
            <p:grpSpPr>
              <a:xfrm>
                <a:off x="5696186" y="1215990"/>
                <a:ext cx="75700" cy="377798"/>
                <a:chOff x="5696186" y="1215990"/>
                <a:chExt cx="75700" cy="377798"/>
              </a:xfrm>
              <a:grpFill/>
            </p:grpSpPr>
            <p:sp>
              <p:nvSpPr>
                <p:cNvPr id="3582" name="Vrije vorm: vorm 3581">
                  <a:extLst>
                    <a:ext uri="{FF2B5EF4-FFF2-40B4-BE49-F238E27FC236}">
                      <a16:creationId xmlns:a16="http://schemas.microsoft.com/office/drawing/2014/main" id="{7A29960D-83CA-4CCC-92A2-2A408952D191}"/>
                    </a:ext>
                  </a:extLst>
                </p:cNvPr>
                <p:cNvSpPr/>
                <p:nvPr/>
              </p:nvSpPr>
              <p:spPr>
                <a:xfrm>
                  <a:off x="5703774" y="1224533"/>
                  <a:ext cx="60524" cy="360697"/>
                </a:xfrm>
                <a:custGeom>
                  <a:avLst/>
                  <a:gdLst>
                    <a:gd name="connsiteX0" fmla="*/ 3050 w 60524"/>
                    <a:gd name="connsiteY0" fmla="*/ 0 h 360697"/>
                    <a:gd name="connsiteX1" fmla="*/ 60525 w 60524"/>
                    <a:gd name="connsiteY1" fmla="*/ 360219 h 360697"/>
                    <a:gd name="connsiteX2" fmla="*/ 57475 w 60524"/>
                    <a:gd name="connsiteY2" fmla="*/ 360697 h 360697"/>
                    <a:gd name="connsiteX3" fmla="*/ 0 w 60524"/>
                    <a:gd name="connsiteY3" fmla="*/ 478 h 360697"/>
                  </a:gdLst>
                  <a:ahLst/>
                  <a:cxnLst>
                    <a:cxn ang="0">
                      <a:pos x="connsiteX0" y="connsiteY0"/>
                    </a:cxn>
                    <a:cxn ang="0">
                      <a:pos x="connsiteX1" y="connsiteY1"/>
                    </a:cxn>
                    <a:cxn ang="0">
                      <a:pos x="connsiteX2" y="connsiteY2"/>
                    </a:cxn>
                    <a:cxn ang="0">
                      <a:pos x="connsiteX3" y="connsiteY3"/>
                    </a:cxn>
                  </a:cxnLst>
                  <a:rect l="l" t="t" r="r" b="b"/>
                  <a:pathLst>
                    <a:path w="60524" h="360697">
                      <a:moveTo>
                        <a:pt x="3050" y="0"/>
                      </a:moveTo>
                      <a:lnTo>
                        <a:pt x="60525" y="360219"/>
                      </a:lnTo>
                      <a:lnTo>
                        <a:pt x="57475" y="360697"/>
                      </a:lnTo>
                      <a:lnTo>
                        <a:pt x="0" y="478"/>
                      </a:lnTo>
                      <a:close/>
                    </a:path>
                  </a:pathLst>
                </a:custGeom>
                <a:grpFill/>
                <a:ln w="5978" cap="flat">
                  <a:noFill/>
                  <a:prstDash val="solid"/>
                  <a:miter/>
                </a:ln>
              </p:spPr>
              <p:txBody>
                <a:bodyPr rtlCol="0" anchor="ctr"/>
                <a:lstStyle/>
                <a:p>
                  <a:endParaRPr lang="en-GB"/>
                </a:p>
              </p:txBody>
            </p:sp>
            <p:sp>
              <p:nvSpPr>
                <p:cNvPr id="3583" name="Vrije vorm: vorm 3582">
                  <a:extLst>
                    <a:ext uri="{FF2B5EF4-FFF2-40B4-BE49-F238E27FC236}">
                      <a16:creationId xmlns:a16="http://schemas.microsoft.com/office/drawing/2014/main" id="{7BA70F70-516F-4854-9F10-1987872457E9}"/>
                    </a:ext>
                  </a:extLst>
                </p:cNvPr>
                <p:cNvSpPr/>
                <p:nvPr/>
              </p:nvSpPr>
              <p:spPr>
                <a:xfrm>
                  <a:off x="5696186" y="1215990"/>
                  <a:ext cx="18345" cy="18416"/>
                </a:xfrm>
                <a:custGeom>
                  <a:avLst/>
                  <a:gdLst>
                    <a:gd name="connsiteX0" fmla="*/ 112 w 18345"/>
                    <a:gd name="connsiteY0" fmla="*/ 10636 h 18416"/>
                    <a:gd name="connsiteX1" fmla="*/ 7708 w 18345"/>
                    <a:gd name="connsiteY1" fmla="*/ 110 h 18416"/>
                    <a:gd name="connsiteX2" fmla="*/ 18234 w 18345"/>
                    <a:gd name="connsiteY2" fmla="*/ 7766 h 18416"/>
                    <a:gd name="connsiteX3" fmla="*/ 10638 w 18345"/>
                    <a:gd name="connsiteY3" fmla="*/ 18292 h 18416"/>
                    <a:gd name="connsiteX4" fmla="*/ 112 w 18345"/>
                    <a:gd name="connsiteY4" fmla="*/ 10636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16">
                      <a:moveTo>
                        <a:pt x="112" y="10636"/>
                      </a:moveTo>
                      <a:cubicBezTo>
                        <a:pt x="-666" y="5613"/>
                        <a:pt x="2684" y="888"/>
                        <a:pt x="7708" y="110"/>
                      </a:cubicBezTo>
                      <a:cubicBezTo>
                        <a:pt x="12731" y="-667"/>
                        <a:pt x="17396" y="2742"/>
                        <a:pt x="18234" y="7766"/>
                      </a:cubicBezTo>
                      <a:cubicBezTo>
                        <a:pt x="19011" y="12790"/>
                        <a:pt x="15662" y="17514"/>
                        <a:pt x="10638" y="18292"/>
                      </a:cubicBezTo>
                      <a:cubicBezTo>
                        <a:pt x="5614" y="19129"/>
                        <a:pt x="949" y="15660"/>
                        <a:pt x="112" y="10636"/>
                      </a:cubicBezTo>
                      <a:close/>
                    </a:path>
                  </a:pathLst>
                </a:custGeom>
                <a:grpFill/>
                <a:ln w="5978" cap="flat">
                  <a:noFill/>
                  <a:prstDash val="solid"/>
                  <a:miter/>
                </a:ln>
              </p:spPr>
              <p:txBody>
                <a:bodyPr rtlCol="0" anchor="ctr"/>
                <a:lstStyle/>
                <a:p>
                  <a:endParaRPr lang="en-GB"/>
                </a:p>
              </p:txBody>
            </p:sp>
            <p:sp>
              <p:nvSpPr>
                <p:cNvPr id="3584" name="Vrije vorm: vorm 3583">
                  <a:extLst>
                    <a:ext uri="{FF2B5EF4-FFF2-40B4-BE49-F238E27FC236}">
                      <a16:creationId xmlns:a16="http://schemas.microsoft.com/office/drawing/2014/main" id="{7989D0EE-C566-4E6E-B1F3-C3956B3FCDCD}"/>
                    </a:ext>
                  </a:extLst>
                </p:cNvPr>
                <p:cNvSpPr/>
                <p:nvPr/>
              </p:nvSpPr>
              <p:spPr>
                <a:xfrm>
                  <a:off x="5753543" y="1575357"/>
                  <a:ext cx="18343" cy="18430"/>
                </a:xfrm>
                <a:custGeom>
                  <a:avLst/>
                  <a:gdLst>
                    <a:gd name="connsiteX0" fmla="*/ 111 w 18343"/>
                    <a:gd name="connsiteY0" fmla="*/ 10651 h 18430"/>
                    <a:gd name="connsiteX1" fmla="*/ 10637 w 18343"/>
                    <a:gd name="connsiteY1" fmla="*/ 18306 h 18430"/>
                    <a:gd name="connsiteX2" fmla="*/ 18232 w 18343"/>
                    <a:gd name="connsiteY2" fmla="*/ 7780 h 18430"/>
                    <a:gd name="connsiteX3" fmla="*/ 7706 w 18343"/>
                    <a:gd name="connsiteY3" fmla="*/ 125 h 18430"/>
                    <a:gd name="connsiteX4" fmla="*/ 111 w 18343"/>
                    <a:gd name="connsiteY4" fmla="*/ 1065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30">
                      <a:moveTo>
                        <a:pt x="111" y="10651"/>
                      </a:moveTo>
                      <a:cubicBezTo>
                        <a:pt x="888" y="15675"/>
                        <a:pt x="5613" y="19144"/>
                        <a:pt x="10637" y="18306"/>
                      </a:cubicBezTo>
                      <a:cubicBezTo>
                        <a:pt x="15660" y="17469"/>
                        <a:pt x="19009" y="12804"/>
                        <a:pt x="18232" y="7780"/>
                      </a:cubicBezTo>
                      <a:cubicBezTo>
                        <a:pt x="17454" y="2756"/>
                        <a:pt x="12730" y="-713"/>
                        <a:pt x="7706" y="125"/>
                      </a:cubicBezTo>
                      <a:cubicBezTo>
                        <a:pt x="2742" y="902"/>
                        <a:pt x="-667" y="5627"/>
                        <a:pt x="111" y="10651"/>
                      </a:cubicBezTo>
                      <a:close/>
                    </a:path>
                  </a:pathLst>
                </a:custGeom>
                <a:grpFill/>
                <a:ln w="5978" cap="flat">
                  <a:noFill/>
                  <a:prstDash val="solid"/>
                  <a:miter/>
                </a:ln>
              </p:spPr>
              <p:txBody>
                <a:bodyPr rtlCol="0" anchor="ctr"/>
                <a:lstStyle/>
                <a:p>
                  <a:endParaRPr lang="en-GB"/>
                </a:p>
              </p:txBody>
            </p:sp>
          </p:grpSp>
          <p:grpSp>
            <p:nvGrpSpPr>
              <p:cNvPr id="603" name="Graphic 3">
                <a:extLst>
                  <a:ext uri="{FF2B5EF4-FFF2-40B4-BE49-F238E27FC236}">
                    <a16:creationId xmlns:a16="http://schemas.microsoft.com/office/drawing/2014/main" id="{5FF6FE7E-6C49-4044-8C7A-55944CC2E345}"/>
                  </a:ext>
                </a:extLst>
              </p:cNvPr>
              <p:cNvGrpSpPr/>
              <p:nvPr/>
            </p:nvGrpSpPr>
            <p:grpSpPr>
              <a:xfrm>
                <a:off x="5760336" y="1382473"/>
                <a:ext cx="38727" cy="375914"/>
                <a:chOff x="5760336" y="1382473"/>
                <a:chExt cx="38727" cy="375914"/>
              </a:xfrm>
              <a:grpFill/>
            </p:grpSpPr>
            <p:sp>
              <p:nvSpPr>
                <p:cNvPr id="3579" name="Vrije vorm: vorm 3578">
                  <a:extLst>
                    <a:ext uri="{FF2B5EF4-FFF2-40B4-BE49-F238E27FC236}">
                      <a16:creationId xmlns:a16="http://schemas.microsoft.com/office/drawing/2014/main" id="{3284FFDC-7993-4534-8AE2-A706AC4B31BB}"/>
                    </a:ext>
                  </a:extLst>
                </p:cNvPr>
                <p:cNvSpPr/>
                <p:nvPr/>
              </p:nvSpPr>
              <p:spPr>
                <a:xfrm>
                  <a:off x="5768007" y="1391156"/>
                  <a:ext cx="23444" cy="358544"/>
                </a:xfrm>
                <a:custGeom>
                  <a:avLst/>
                  <a:gdLst>
                    <a:gd name="connsiteX0" fmla="*/ 2990 w 23444"/>
                    <a:gd name="connsiteY0" fmla="*/ 0 h 358544"/>
                    <a:gd name="connsiteX1" fmla="*/ 23445 w 23444"/>
                    <a:gd name="connsiteY1" fmla="*/ 358365 h 358544"/>
                    <a:gd name="connsiteX2" fmla="*/ 20394 w 23444"/>
                    <a:gd name="connsiteY2" fmla="*/ 358544 h 358544"/>
                    <a:gd name="connsiteX3" fmla="*/ 0 w 23444"/>
                    <a:gd name="connsiteY3" fmla="*/ 179 h 358544"/>
                  </a:gdLst>
                  <a:ahLst/>
                  <a:cxnLst>
                    <a:cxn ang="0">
                      <a:pos x="connsiteX0" y="connsiteY0"/>
                    </a:cxn>
                    <a:cxn ang="0">
                      <a:pos x="connsiteX1" y="connsiteY1"/>
                    </a:cxn>
                    <a:cxn ang="0">
                      <a:pos x="connsiteX2" y="connsiteY2"/>
                    </a:cxn>
                    <a:cxn ang="0">
                      <a:pos x="connsiteX3" y="connsiteY3"/>
                    </a:cxn>
                  </a:cxnLst>
                  <a:rect l="l" t="t" r="r" b="b"/>
                  <a:pathLst>
                    <a:path w="23444" h="358544">
                      <a:moveTo>
                        <a:pt x="2990" y="0"/>
                      </a:moveTo>
                      <a:lnTo>
                        <a:pt x="23445" y="358365"/>
                      </a:lnTo>
                      <a:lnTo>
                        <a:pt x="20394" y="358544"/>
                      </a:lnTo>
                      <a:lnTo>
                        <a:pt x="0" y="179"/>
                      </a:lnTo>
                      <a:close/>
                    </a:path>
                  </a:pathLst>
                </a:custGeom>
                <a:grpFill/>
                <a:ln w="5978" cap="flat">
                  <a:noFill/>
                  <a:prstDash val="solid"/>
                  <a:miter/>
                </a:ln>
              </p:spPr>
              <p:txBody>
                <a:bodyPr rtlCol="0" anchor="ctr"/>
                <a:lstStyle/>
                <a:p>
                  <a:endParaRPr lang="en-GB"/>
                </a:p>
              </p:txBody>
            </p:sp>
            <p:sp>
              <p:nvSpPr>
                <p:cNvPr id="3580" name="Vrije vorm: vorm 3579">
                  <a:extLst>
                    <a:ext uri="{FF2B5EF4-FFF2-40B4-BE49-F238E27FC236}">
                      <a16:creationId xmlns:a16="http://schemas.microsoft.com/office/drawing/2014/main" id="{8180070D-E112-414A-9D56-37B38E383A2C}"/>
                    </a:ext>
                  </a:extLst>
                </p:cNvPr>
                <p:cNvSpPr/>
                <p:nvPr/>
              </p:nvSpPr>
              <p:spPr>
                <a:xfrm>
                  <a:off x="5780730" y="1739936"/>
                  <a:ext cx="18333" cy="18452"/>
                </a:xfrm>
                <a:custGeom>
                  <a:avLst/>
                  <a:gdLst>
                    <a:gd name="connsiteX0" fmla="*/ 18317 w 18333"/>
                    <a:gd name="connsiteY0" fmla="*/ 8748 h 18452"/>
                    <a:gd name="connsiteX1" fmla="*/ 9705 w 18333"/>
                    <a:gd name="connsiteY1" fmla="*/ 18437 h 18452"/>
                    <a:gd name="connsiteX2" fmla="*/ 16 w 18333"/>
                    <a:gd name="connsiteY2" fmla="*/ 9705 h 18452"/>
                    <a:gd name="connsiteX3" fmla="*/ 8628 w 18333"/>
                    <a:gd name="connsiteY3" fmla="*/ 16 h 18452"/>
                    <a:gd name="connsiteX4" fmla="*/ 18317 w 18333"/>
                    <a:gd name="connsiteY4" fmla="*/ 874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317" y="8748"/>
                      </a:moveTo>
                      <a:cubicBezTo>
                        <a:pt x="18616" y="13831"/>
                        <a:pt x="14729" y="18138"/>
                        <a:pt x="9705" y="18437"/>
                      </a:cubicBezTo>
                      <a:cubicBezTo>
                        <a:pt x="4681" y="18736"/>
                        <a:pt x="315" y="14788"/>
                        <a:pt x="16" y="9705"/>
                      </a:cubicBezTo>
                      <a:cubicBezTo>
                        <a:pt x="-283" y="4621"/>
                        <a:pt x="3605" y="315"/>
                        <a:pt x="8628" y="16"/>
                      </a:cubicBezTo>
                      <a:cubicBezTo>
                        <a:pt x="13712" y="-283"/>
                        <a:pt x="18018" y="3664"/>
                        <a:pt x="18317" y="8748"/>
                      </a:cubicBezTo>
                      <a:close/>
                    </a:path>
                  </a:pathLst>
                </a:custGeom>
                <a:grpFill/>
                <a:ln w="5978" cap="flat">
                  <a:noFill/>
                  <a:prstDash val="solid"/>
                  <a:miter/>
                </a:ln>
              </p:spPr>
              <p:txBody>
                <a:bodyPr rtlCol="0" anchor="ctr"/>
                <a:lstStyle/>
                <a:p>
                  <a:endParaRPr lang="en-GB"/>
                </a:p>
              </p:txBody>
            </p:sp>
            <p:sp>
              <p:nvSpPr>
                <p:cNvPr id="3581" name="Vrije vorm: vorm 3580">
                  <a:extLst>
                    <a:ext uri="{FF2B5EF4-FFF2-40B4-BE49-F238E27FC236}">
                      <a16:creationId xmlns:a16="http://schemas.microsoft.com/office/drawing/2014/main" id="{B7E9C045-E441-49AE-AD3B-C3727AB50CE0}"/>
                    </a:ext>
                  </a:extLst>
                </p:cNvPr>
                <p:cNvSpPr/>
                <p:nvPr/>
              </p:nvSpPr>
              <p:spPr>
                <a:xfrm>
                  <a:off x="5760336" y="1382473"/>
                  <a:ext cx="18333" cy="18441"/>
                </a:xfrm>
                <a:custGeom>
                  <a:avLst/>
                  <a:gdLst>
                    <a:gd name="connsiteX0" fmla="*/ 18317 w 18333"/>
                    <a:gd name="connsiteY0" fmla="*/ 8742 h 18441"/>
                    <a:gd name="connsiteX1" fmla="*/ 8628 w 18333"/>
                    <a:gd name="connsiteY1" fmla="*/ 10 h 18441"/>
                    <a:gd name="connsiteX2" fmla="*/ 16 w 18333"/>
                    <a:gd name="connsiteY2" fmla="*/ 9699 h 18441"/>
                    <a:gd name="connsiteX3" fmla="*/ 9705 w 18333"/>
                    <a:gd name="connsiteY3" fmla="*/ 18431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018" y="3659"/>
                        <a:pt x="13712" y="-229"/>
                        <a:pt x="8628" y="10"/>
                      </a:cubicBezTo>
                      <a:cubicBezTo>
                        <a:pt x="3604" y="309"/>
                        <a:pt x="-283" y="4616"/>
                        <a:pt x="16" y="9699"/>
                      </a:cubicBezTo>
                      <a:cubicBezTo>
                        <a:pt x="315" y="14783"/>
                        <a:pt x="4621" y="18670"/>
                        <a:pt x="9705" y="18431"/>
                      </a:cubicBezTo>
                      <a:cubicBezTo>
                        <a:pt x="14788" y="18132"/>
                        <a:pt x="18616" y="13826"/>
                        <a:pt x="18317" y="8742"/>
                      </a:cubicBezTo>
                      <a:close/>
                    </a:path>
                  </a:pathLst>
                </a:custGeom>
                <a:grpFill/>
                <a:ln w="5978" cap="flat">
                  <a:noFill/>
                  <a:prstDash val="solid"/>
                  <a:miter/>
                </a:ln>
              </p:spPr>
              <p:txBody>
                <a:bodyPr rtlCol="0" anchor="ctr"/>
                <a:lstStyle/>
                <a:p>
                  <a:endParaRPr lang="en-GB"/>
                </a:p>
              </p:txBody>
            </p:sp>
          </p:grpSp>
          <p:grpSp>
            <p:nvGrpSpPr>
              <p:cNvPr id="604" name="Graphic 3">
                <a:extLst>
                  <a:ext uri="{FF2B5EF4-FFF2-40B4-BE49-F238E27FC236}">
                    <a16:creationId xmlns:a16="http://schemas.microsoft.com/office/drawing/2014/main" id="{99349340-442B-4495-9895-7FAAE27D6786}"/>
                  </a:ext>
                </a:extLst>
              </p:cNvPr>
              <p:cNvGrpSpPr/>
              <p:nvPr/>
            </p:nvGrpSpPr>
            <p:grpSpPr>
              <a:xfrm>
                <a:off x="6884509" y="4876802"/>
                <a:ext cx="101280" cy="230002"/>
                <a:chOff x="6884509" y="4876802"/>
                <a:chExt cx="101280" cy="230002"/>
              </a:xfrm>
              <a:grpFill/>
            </p:grpSpPr>
            <p:sp>
              <p:nvSpPr>
                <p:cNvPr id="3576" name="Vrije vorm: vorm 3575">
                  <a:extLst>
                    <a:ext uri="{FF2B5EF4-FFF2-40B4-BE49-F238E27FC236}">
                      <a16:creationId xmlns:a16="http://schemas.microsoft.com/office/drawing/2014/main" id="{BA0A8042-F8EF-4DE3-AFFF-255A9022628C}"/>
                    </a:ext>
                  </a:extLst>
                </p:cNvPr>
                <p:cNvSpPr/>
                <p:nvPr/>
              </p:nvSpPr>
              <p:spPr>
                <a:xfrm>
                  <a:off x="6892121" y="4884962"/>
                  <a:ext cx="86166" cy="213456"/>
                </a:xfrm>
                <a:custGeom>
                  <a:avLst/>
                  <a:gdLst>
                    <a:gd name="connsiteX0" fmla="*/ 0 w 86166"/>
                    <a:gd name="connsiteY0" fmla="*/ 1114 h 213456"/>
                    <a:gd name="connsiteX1" fmla="*/ 2839 w 86166"/>
                    <a:gd name="connsiteY1" fmla="*/ 0 h 213456"/>
                    <a:gd name="connsiteX2" fmla="*/ 86166 w 86166"/>
                    <a:gd name="connsiteY2" fmla="*/ 212343 h 213456"/>
                    <a:gd name="connsiteX3" fmla="*/ 83327 w 86166"/>
                    <a:gd name="connsiteY3" fmla="*/ 213457 h 213456"/>
                  </a:gdLst>
                  <a:ahLst/>
                  <a:cxnLst>
                    <a:cxn ang="0">
                      <a:pos x="connsiteX0" y="connsiteY0"/>
                    </a:cxn>
                    <a:cxn ang="0">
                      <a:pos x="connsiteX1" y="connsiteY1"/>
                    </a:cxn>
                    <a:cxn ang="0">
                      <a:pos x="connsiteX2" y="connsiteY2"/>
                    </a:cxn>
                    <a:cxn ang="0">
                      <a:pos x="connsiteX3" y="connsiteY3"/>
                    </a:cxn>
                  </a:cxnLst>
                  <a:rect l="l" t="t" r="r" b="b"/>
                  <a:pathLst>
                    <a:path w="86166" h="213456">
                      <a:moveTo>
                        <a:pt x="0" y="1114"/>
                      </a:moveTo>
                      <a:lnTo>
                        <a:pt x="2839" y="0"/>
                      </a:lnTo>
                      <a:lnTo>
                        <a:pt x="86166" y="212343"/>
                      </a:lnTo>
                      <a:lnTo>
                        <a:pt x="83327" y="213457"/>
                      </a:lnTo>
                      <a:close/>
                    </a:path>
                  </a:pathLst>
                </a:custGeom>
                <a:grpFill/>
                <a:ln w="5978" cap="flat">
                  <a:noFill/>
                  <a:prstDash val="solid"/>
                  <a:miter/>
                </a:ln>
              </p:spPr>
              <p:txBody>
                <a:bodyPr rtlCol="0" anchor="ctr"/>
                <a:lstStyle/>
                <a:p>
                  <a:endParaRPr lang="en-GB"/>
                </a:p>
              </p:txBody>
            </p:sp>
            <p:sp>
              <p:nvSpPr>
                <p:cNvPr id="3577" name="Vrije vorm: vorm 3576">
                  <a:extLst>
                    <a:ext uri="{FF2B5EF4-FFF2-40B4-BE49-F238E27FC236}">
                      <a16:creationId xmlns:a16="http://schemas.microsoft.com/office/drawing/2014/main" id="{B2A771A6-2F35-4764-AAD9-B05560363AA4}"/>
                    </a:ext>
                  </a:extLst>
                </p:cNvPr>
                <p:cNvSpPr/>
                <p:nvPr/>
              </p:nvSpPr>
              <p:spPr>
                <a:xfrm>
                  <a:off x="6884509" y="4876802"/>
                  <a:ext cx="18320" cy="18437"/>
                </a:xfrm>
                <a:custGeom>
                  <a:avLst/>
                  <a:gdLst>
                    <a:gd name="connsiteX0" fmla="*/ 638 w 18320"/>
                    <a:gd name="connsiteY0" fmla="*/ 12597 h 18437"/>
                    <a:gd name="connsiteX1" fmla="*/ 5781 w 18320"/>
                    <a:gd name="connsiteY1" fmla="*/ 636 h 18437"/>
                    <a:gd name="connsiteX2" fmla="*/ 17683 w 18320"/>
                    <a:gd name="connsiteY2" fmla="*/ 5899 h 18437"/>
                    <a:gd name="connsiteX3" fmla="*/ 12539 w 18320"/>
                    <a:gd name="connsiteY3" fmla="*/ 17801 h 18437"/>
                    <a:gd name="connsiteX4" fmla="*/ 638 w 18320"/>
                    <a:gd name="connsiteY4" fmla="*/ 12597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7">
                      <a:moveTo>
                        <a:pt x="638" y="12597"/>
                      </a:moveTo>
                      <a:cubicBezTo>
                        <a:pt x="-1217" y="7873"/>
                        <a:pt x="1116" y="2490"/>
                        <a:pt x="5781" y="636"/>
                      </a:cubicBezTo>
                      <a:cubicBezTo>
                        <a:pt x="10506" y="-1218"/>
                        <a:pt x="15829" y="1115"/>
                        <a:pt x="17683" y="5899"/>
                      </a:cubicBezTo>
                      <a:cubicBezTo>
                        <a:pt x="19537" y="10624"/>
                        <a:pt x="17204" y="16007"/>
                        <a:pt x="12539" y="17801"/>
                      </a:cubicBezTo>
                      <a:cubicBezTo>
                        <a:pt x="7814" y="19655"/>
                        <a:pt x="2491" y="17322"/>
                        <a:pt x="638" y="12597"/>
                      </a:cubicBezTo>
                      <a:close/>
                    </a:path>
                  </a:pathLst>
                </a:custGeom>
                <a:grpFill/>
                <a:ln w="5978" cap="flat">
                  <a:noFill/>
                  <a:prstDash val="solid"/>
                  <a:miter/>
                </a:ln>
              </p:spPr>
              <p:txBody>
                <a:bodyPr rtlCol="0" anchor="ctr"/>
                <a:lstStyle/>
                <a:p>
                  <a:endParaRPr lang="en-GB"/>
                </a:p>
              </p:txBody>
            </p:sp>
            <p:sp>
              <p:nvSpPr>
                <p:cNvPr id="3578" name="Vrije vorm: vorm 3577">
                  <a:extLst>
                    <a:ext uri="{FF2B5EF4-FFF2-40B4-BE49-F238E27FC236}">
                      <a16:creationId xmlns:a16="http://schemas.microsoft.com/office/drawing/2014/main" id="{BE501748-D06F-47C7-BFD7-ED620C8AC8CD}"/>
                    </a:ext>
                  </a:extLst>
                </p:cNvPr>
                <p:cNvSpPr/>
                <p:nvPr/>
              </p:nvSpPr>
              <p:spPr>
                <a:xfrm>
                  <a:off x="6967454" y="5088399"/>
                  <a:ext cx="18335" cy="18405"/>
                </a:xfrm>
                <a:custGeom>
                  <a:avLst/>
                  <a:gdLst>
                    <a:gd name="connsiteX0" fmla="*/ 645 w 18335"/>
                    <a:gd name="connsiteY0" fmla="*/ 12538 h 18405"/>
                    <a:gd name="connsiteX1" fmla="*/ 12547 w 18335"/>
                    <a:gd name="connsiteY1" fmla="*/ 17801 h 18405"/>
                    <a:gd name="connsiteX2" fmla="*/ 17690 w 18335"/>
                    <a:gd name="connsiteY2" fmla="*/ 5840 h 18405"/>
                    <a:gd name="connsiteX3" fmla="*/ 5789 w 18335"/>
                    <a:gd name="connsiteY3" fmla="*/ 637 h 18405"/>
                    <a:gd name="connsiteX4" fmla="*/ 645 w 18335"/>
                    <a:gd name="connsiteY4" fmla="*/ 12538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05">
                      <a:moveTo>
                        <a:pt x="645" y="12538"/>
                      </a:moveTo>
                      <a:cubicBezTo>
                        <a:pt x="2499" y="17263"/>
                        <a:pt x="7822" y="19596"/>
                        <a:pt x="12547" y="17801"/>
                      </a:cubicBezTo>
                      <a:cubicBezTo>
                        <a:pt x="17272" y="15947"/>
                        <a:pt x="19545" y="10624"/>
                        <a:pt x="17690" y="5840"/>
                      </a:cubicBezTo>
                      <a:cubicBezTo>
                        <a:pt x="15837" y="1115"/>
                        <a:pt x="10514" y="-1217"/>
                        <a:pt x="5789" y="637"/>
                      </a:cubicBezTo>
                      <a:cubicBezTo>
                        <a:pt x="1064" y="2431"/>
                        <a:pt x="-1209" y="7814"/>
                        <a:pt x="645" y="12538"/>
                      </a:cubicBezTo>
                      <a:close/>
                    </a:path>
                  </a:pathLst>
                </a:custGeom>
                <a:grpFill/>
                <a:ln w="5978" cap="flat">
                  <a:noFill/>
                  <a:prstDash val="solid"/>
                  <a:miter/>
                </a:ln>
              </p:spPr>
              <p:txBody>
                <a:bodyPr rtlCol="0" anchor="ctr"/>
                <a:lstStyle/>
                <a:p>
                  <a:endParaRPr lang="en-GB"/>
                </a:p>
              </p:txBody>
            </p:sp>
          </p:grpSp>
          <p:grpSp>
            <p:nvGrpSpPr>
              <p:cNvPr id="605" name="Graphic 3">
                <a:extLst>
                  <a:ext uri="{FF2B5EF4-FFF2-40B4-BE49-F238E27FC236}">
                    <a16:creationId xmlns:a16="http://schemas.microsoft.com/office/drawing/2014/main" id="{14F5E1AF-FD9F-4452-8DBF-D766AB741A0C}"/>
                  </a:ext>
                </a:extLst>
              </p:cNvPr>
              <p:cNvGrpSpPr/>
              <p:nvPr/>
            </p:nvGrpSpPr>
            <p:grpSpPr>
              <a:xfrm>
                <a:off x="6944585" y="5049077"/>
                <a:ext cx="40149" cy="58195"/>
                <a:chOff x="6944585" y="5049077"/>
                <a:chExt cx="40149" cy="58195"/>
              </a:xfrm>
              <a:grpFill/>
            </p:grpSpPr>
            <p:sp>
              <p:nvSpPr>
                <p:cNvPr id="3573" name="Vrije vorm: vorm 3572">
                  <a:extLst>
                    <a:ext uri="{FF2B5EF4-FFF2-40B4-BE49-F238E27FC236}">
                      <a16:creationId xmlns:a16="http://schemas.microsoft.com/office/drawing/2014/main" id="{BA14CACC-1618-4353-AEA1-F561BA051D1C}"/>
                    </a:ext>
                  </a:extLst>
                </p:cNvPr>
                <p:cNvSpPr/>
                <p:nvPr/>
              </p:nvSpPr>
              <p:spPr>
                <a:xfrm>
                  <a:off x="6952190" y="5057159"/>
                  <a:ext cx="24880" cy="42044"/>
                </a:xfrm>
                <a:custGeom>
                  <a:avLst/>
                  <a:gdLst>
                    <a:gd name="connsiteX0" fmla="*/ 24880 w 24880"/>
                    <a:gd name="connsiteY0" fmla="*/ 40609 h 42044"/>
                    <a:gd name="connsiteX1" fmla="*/ 22248 w 24880"/>
                    <a:gd name="connsiteY1" fmla="*/ 42045 h 42044"/>
                    <a:gd name="connsiteX2" fmla="*/ 0 w 24880"/>
                    <a:gd name="connsiteY2" fmla="*/ 1495 h 42044"/>
                    <a:gd name="connsiteX3" fmla="*/ 2692 w 24880"/>
                    <a:gd name="connsiteY3" fmla="*/ 0 h 42044"/>
                  </a:gdLst>
                  <a:ahLst/>
                  <a:cxnLst>
                    <a:cxn ang="0">
                      <a:pos x="connsiteX0" y="connsiteY0"/>
                    </a:cxn>
                    <a:cxn ang="0">
                      <a:pos x="connsiteX1" y="connsiteY1"/>
                    </a:cxn>
                    <a:cxn ang="0">
                      <a:pos x="connsiteX2" y="connsiteY2"/>
                    </a:cxn>
                    <a:cxn ang="0">
                      <a:pos x="connsiteX3" y="connsiteY3"/>
                    </a:cxn>
                  </a:cxnLst>
                  <a:rect l="l" t="t" r="r" b="b"/>
                  <a:pathLst>
                    <a:path w="24880" h="42044">
                      <a:moveTo>
                        <a:pt x="24880" y="40609"/>
                      </a:moveTo>
                      <a:lnTo>
                        <a:pt x="22248" y="42045"/>
                      </a:lnTo>
                      <a:lnTo>
                        <a:pt x="0" y="1495"/>
                      </a:lnTo>
                      <a:lnTo>
                        <a:pt x="2692" y="0"/>
                      </a:lnTo>
                      <a:close/>
                    </a:path>
                  </a:pathLst>
                </a:custGeom>
                <a:grpFill/>
                <a:ln w="5978" cap="flat">
                  <a:noFill/>
                  <a:prstDash val="solid"/>
                  <a:miter/>
                </a:ln>
              </p:spPr>
              <p:txBody>
                <a:bodyPr rtlCol="0" anchor="ctr"/>
                <a:lstStyle/>
                <a:p>
                  <a:endParaRPr lang="en-GB"/>
                </a:p>
              </p:txBody>
            </p:sp>
            <p:sp>
              <p:nvSpPr>
                <p:cNvPr id="3574" name="Vrije vorm: vorm 3573">
                  <a:extLst>
                    <a:ext uri="{FF2B5EF4-FFF2-40B4-BE49-F238E27FC236}">
                      <a16:creationId xmlns:a16="http://schemas.microsoft.com/office/drawing/2014/main" id="{F0A2D3FE-E7F4-4DE8-8B31-5BA7755C4C39}"/>
                    </a:ext>
                  </a:extLst>
                </p:cNvPr>
                <p:cNvSpPr/>
                <p:nvPr/>
              </p:nvSpPr>
              <p:spPr>
                <a:xfrm>
                  <a:off x="6966415" y="5088861"/>
                  <a:ext cx="18319" cy="18411"/>
                </a:xfrm>
                <a:custGeom>
                  <a:avLst/>
                  <a:gdLst>
                    <a:gd name="connsiteX0" fmla="*/ 17174 w 18319"/>
                    <a:gd name="connsiteY0" fmla="*/ 4780 h 18411"/>
                    <a:gd name="connsiteX1" fmla="*/ 13586 w 18319"/>
                    <a:gd name="connsiteY1" fmla="*/ 17280 h 18411"/>
                    <a:gd name="connsiteX2" fmla="*/ 1146 w 18319"/>
                    <a:gd name="connsiteY2" fmla="*/ 13632 h 18411"/>
                    <a:gd name="connsiteX3" fmla="*/ 4734 w 18319"/>
                    <a:gd name="connsiteY3" fmla="*/ 1132 h 18411"/>
                    <a:gd name="connsiteX4" fmla="*/ 17174 w 18319"/>
                    <a:gd name="connsiteY4" fmla="*/ 478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1">
                      <a:moveTo>
                        <a:pt x="17174" y="4780"/>
                      </a:moveTo>
                      <a:cubicBezTo>
                        <a:pt x="19626" y="9266"/>
                        <a:pt x="18011" y="14828"/>
                        <a:pt x="13586" y="17280"/>
                      </a:cubicBezTo>
                      <a:cubicBezTo>
                        <a:pt x="9160" y="19732"/>
                        <a:pt x="3598" y="18057"/>
                        <a:pt x="1146" y="13632"/>
                      </a:cubicBezTo>
                      <a:cubicBezTo>
                        <a:pt x="-1306" y="9146"/>
                        <a:pt x="309" y="3584"/>
                        <a:pt x="4734" y="1132"/>
                      </a:cubicBezTo>
                      <a:cubicBezTo>
                        <a:pt x="9160" y="-1320"/>
                        <a:pt x="14722" y="354"/>
                        <a:pt x="17174" y="4780"/>
                      </a:cubicBezTo>
                      <a:close/>
                    </a:path>
                  </a:pathLst>
                </a:custGeom>
                <a:grpFill/>
                <a:ln w="5978" cap="flat">
                  <a:noFill/>
                  <a:prstDash val="solid"/>
                  <a:miter/>
                </a:ln>
              </p:spPr>
              <p:txBody>
                <a:bodyPr rtlCol="0" anchor="ctr"/>
                <a:lstStyle/>
                <a:p>
                  <a:endParaRPr lang="en-GB"/>
                </a:p>
              </p:txBody>
            </p:sp>
            <p:sp>
              <p:nvSpPr>
                <p:cNvPr id="3575" name="Vrije vorm: vorm 3574">
                  <a:extLst>
                    <a:ext uri="{FF2B5EF4-FFF2-40B4-BE49-F238E27FC236}">
                      <a16:creationId xmlns:a16="http://schemas.microsoft.com/office/drawing/2014/main" id="{EA583C4A-B35E-48ED-A2EA-0E65BC9AE6C5}"/>
                    </a:ext>
                  </a:extLst>
                </p:cNvPr>
                <p:cNvSpPr/>
                <p:nvPr/>
              </p:nvSpPr>
              <p:spPr>
                <a:xfrm>
                  <a:off x="6944585" y="5049077"/>
                  <a:ext cx="18319" cy="18435"/>
                </a:xfrm>
                <a:custGeom>
                  <a:avLst/>
                  <a:gdLst>
                    <a:gd name="connsiteX0" fmla="*/ 17174 w 18319"/>
                    <a:gd name="connsiteY0" fmla="*/ 4792 h 18435"/>
                    <a:gd name="connsiteX1" fmla="*/ 4734 w 18319"/>
                    <a:gd name="connsiteY1" fmla="*/ 1144 h 18435"/>
                    <a:gd name="connsiteX2" fmla="*/ 1146 w 18319"/>
                    <a:gd name="connsiteY2" fmla="*/ 13644 h 18435"/>
                    <a:gd name="connsiteX3" fmla="*/ 13586 w 18319"/>
                    <a:gd name="connsiteY3" fmla="*/ 17292 h 18435"/>
                    <a:gd name="connsiteX4" fmla="*/ 17174 w 18319"/>
                    <a:gd name="connsiteY4" fmla="*/ 479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35">
                      <a:moveTo>
                        <a:pt x="17174" y="4792"/>
                      </a:moveTo>
                      <a:cubicBezTo>
                        <a:pt x="14722" y="307"/>
                        <a:pt x="9160" y="-1308"/>
                        <a:pt x="4734" y="1144"/>
                      </a:cubicBezTo>
                      <a:cubicBezTo>
                        <a:pt x="309" y="3596"/>
                        <a:pt x="-1306" y="9158"/>
                        <a:pt x="1146" y="13644"/>
                      </a:cubicBezTo>
                      <a:cubicBezTo>
                        <a:pt x="3598" y="18129"/>
                        <a:pt x="9160" y="19744"/>
                        <a:pt x="13586" y="17292"/>
                      </a:cubicBezTo>
                      <a:cubicBezTo>
                        <a:pt x="18011" y="14840"/>
                        <a:pt x="19626" y="9278"/>
                        <a:pt x="17174" y="4792"/>
                      </a:cubicBezTo>
                      <a:close/>
                    </a:path>
                  </a:pathLst>
                </a:custGeom>
                <a:grpFill/>
                <a:ln w="5978" cap="flat">
                  <a:noFill/>
                  <a:prstDash val="solid"/>
                  <a:miter/>
                </a:ln>
              </p:spPr>
              <p:txBody>
                <a:bodyPr rtlCol="0" anchor="ctr"/>
                <a:lstStyle/>
                <a:p>
                  <a:endParaRPr lang="en-GB"/>
                </a:p>
              </p:txBody>
            </p:sp>
          </p:grpSp>
          <p:grpSp>
            <p:nvGrpSpPr>
              <p:cNvPr id="606" name="Graphic 3">
                <a:extLst>
                  <a:ext uri="{FF2B5EF4-FFF2-40B4-BE49-F238E27FC236}">
                    <a16:creationId xmlns:a16="http://schemas.microsoft.com/office/drawing/2014/main" id="{FC4A1472-B636-4D31-8764-4BBAB8BC914C}"/>
                  </a:ext>
                </a:extLst>
              </p:cNvPr>
              <p:cNvGrpSpPr/>
              <p:nvPr/>
            </p:nvGrpSpPr>
            <p:grpSpPr>
              <a:xfrm>
                <a:off x="5787949" y="1573236"/>
                <a:ext cx="42053" cy="187128"/>
                <a:chOff x="5787949" y="1573236"/>
                <a:chExt cx="42053" cy="187128"/>
              </a:xfrm>
              <a:grpFill/>
            </p:grpSpPr>
            <p:sp>
              <p:nvSpPr>
                <p:cNvPr id="3570" name="Vrije vorm: vorm 3569">
                  <a:extLst>
                    <a:ext uri="{FF2B5EF4-FFF2-40B4-BE49-F238E27FC236}">
                      <a16:creationId xmlns:a16="http://schemas.microsoft.com/office/drawing/2014/main" id="{7DAE3487-DC21-4934-BD1E-5C9F1CD0480E}"/>
                    </a:ext>
                  </a:extLst>
                </p:cNvPr>
                <p:cNvSpPr/>
                <p:nvPr/>
              </p:nvSpPr>
              <p:spPr>
                <a:xfrm>
                  <a:off x="5795828" y="1581640"/>
                  <a:ext cx="26872" cy="169992"/>
                </a:xfrm>
                <a:custGeom>
                  <a:avLst/>
                  <a:gdLst>
                    <a:gd name="connsiteX0" fmla="*/ 0 w 26872"/>
                    <a:gd name="connsiteY0" fmla="*/ 425 h 169992"/>
                    <a:gd name="connsiteX1" fmla="*/ 3021 w 26872"/>
                    <a:gd name="connsiteY1" fmla="*/ 0 h 169992"/>
                    <a:gd name="connsiteX2" fmla="*/ 26873 w 26872"/>
                    <a:gd name="connsiteY2" fmla="*/ 169567 h 169992"/>
                    <a:gd name="connsiteX3" fmla="*/ 23852 w 26872"/>
                    <a:gd name="connsiteY3" fmla="*/ 169992 h 169992"/>
                  </a:gdLst>
                  <a:ahLst/>
                  <a:cxnLst>
                    <a:cxn ang="0">
                      <a:pos x="connsiteX0" y="connsiteY0"/>
                    </a:cxn>
                    <a:cxn ang="0">
                      <a:pos x="connsiteX1" y="connsiteY1"/>
                    </a:cxn>
                    <a:cxn ang="0">
                      <a:pos x="connsiteX2" y="connsiteY2"/>
                    </a:cxn>
                    <a:cxn ang="0">
                      <a:pos x="connsiteX3" y="connsiteY3"/>
                    </a:cxn>
                  </a:cxnLst>
                  <a:rect l="l" t="t" r="r" b="b"/>
                  <a:pathLst>
                    <a:path w="26872" h="169992">
                      <a:moveTo>
                        <a:pt x="0" y="425"/>
                      </a:moveTo>
                      <a:lnTo>
                        <a:pt x="3021" y="0"/>
                      </a:lnTo>
                      <a:lnTo>
                        <a:pt x="26873" y="169567"/>
                      </a:lnTo>
                      <a:lnTo>
                        <a:pt x="23852" y="169992"/>
                      </a:lnTo>
                      <a:close/>
                    </a:path>
                  </a:pathLst>
                </a:custGeom>
                <a:grpFill/>
                <a:ln w="5978" cap="flat">
                  <a:noFill/>
                  <a:prstDash val="solid"/>
                  <a:miter/>
                </a:ln>
              </p:spPr>
              <p:txBody>
                <a:bodyPr rtlCol="0" anchor="ctr"/>
                <a:lstStyle/>
                <a:p>
                  <a:endParaRPr lang="en-GB"/>
                </a:p>
              </p:txBody>
            </p:sp>
            <p:sp>
              <p:nvSpPr>
                <p:cNvPr id="3571" name="Vrije vorm: vorm 3570">
                  <a:extLst>
                    <a:ext uri="{FF2B5EF4-FFF2-40B4-BE49-F238E27FC236}">
                      <a16:creationId xmlns:a16="http://schemas.microsoft.com/office/drawing/2014/main" id="{E892E94C-E8CC-4450-A616-E82A0DA1FE74}"/>
                    </a:ext>
                  </a:extLst>
                </p:cNvPr>
                <p:cNvSpPr/>
                <p:nvPr/>
              </p:nvSpPr>
              <p:spPr>
                <a:xfrm>
                  <a:off x="5787949" y="1573236"/>
                  <a:ext cx="18309" cy="18472"/>
                </a:xfrm>
                <a:custGeom>
                  <a:avLst/>
                  <a:gdLst>
                    <a:gd name="connsiteX0" fmla="*/ 94 w 18309"/>
                    <a:gd name="connsiteY0" fmla="*/ 10499 h 18472"/>
                    <a:gd name="connsiteX1" fmla="*/ 7869 w 18309"/>
                    <a:gd name="connsiteY1" fmla="*/ 93 h 18472"/>
                    <a:gd name="connsiteX2" fmla="*/ 18215 w 18309"/>
                    <a:gd name="connsiteY2" fmla="*/ 7987 h 18472"/>
                    <a:gd name="connsiteX3" fmla="*/ 10441 w 18309"/>
                    <a:gd name="connsiteY3" fmla="*/ 18394 h 18472"/>
                    <a:gd name="connsiteX4" fmla="*/ 94 w 18309"/>
                    <a:gd name="connsiteY4" fmla="*/ 10499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72">
                      <a:moveTo>
                        <a:pt x="94" y="10499"/>
                      </a:moveTo>
                      <a:cubicBezTo>
                        <a:pt x="-624" y="5475"/>
                        <a:pt x="2845" y="810"/>
                        <a:pt x="7869" y="93"/>
                      </a:cubicBezTo>
                      <a:cubicBezTo>
                        <a:pt x="12892" y="-625"/>
                        <a:pt x="17498" y="2904"/>
                        <a:pt x="18215" y="7987"/>
                      </a:cubicBezTo>
                      <a:cubicBezTo>
                        <a:pt x="18933" y="13011"/>
                        <a:pt x="15465" y="17676"/>
                        <a:pt x="10441" y="18394"/>
                      </a:cubicBezTo>
                      <a:cubicBezTo>
                        <a:pt x="5476" y="19052"/>
                        <a:pt x="812" y="15523"/>
                        <a:pt x="94" y="10499"/>
                      </a:cubicBezTo>
                      <a:close/>
                    </a:path>
                  </a:pathLst>
                </a:custGeom>
                <a:grpFill/>
                <a:ln w="5978" cap="flat">
                  <a:noFill/>
                  <a:prstDash val="solid"/>
                  <a:miter/>
                </a:ln>
              </p:spPr>
              <p:txBody>
                <a:bodyPr rtlCol="0" anchor="ctr"/>
                <a:lstStyle/>
                <a:p>
                  <a:endParaRPr lang="en-GB"/>
                </a:p>
              </p:txBody>
            </p:sp>
            <p:sp>
              <p:nvSpPr>
                <p:cNvPr id="3572" name="Vrije vorm: vorm 3571">
                  <a:extLst>
                    <a:ext uri="{FF2B5EF4-FFF2-40B4-BE49-F238E27FC236}">
                      <a16:creationId xmlns:a16="http://schemas.microsoft.com/office/drawing/2014/main" id="{0D56C2F0-4C8A-4EFA-88CC-61A09B6FB836}"/>
                    </a:ext>
                  </a:extLst>
                </p:cNvPr>
                <p:cNvSpPr/>
                <p:nvPr/>
              </p:nvSpPr>
              <p:spPr>
                <a:xfrm>
                  <a:off x="5811692" y="1741905"/>
                  <a:ext cx="18309" cy="18459"/>
                </a:xfrm>
                <a:custGeom>
                  <a:avLst/>
                  <a:gdLst>
                    <a:gd name="connsiteX0" fmla="*/ 94 w 18309"/>
                    <a:gd name="connsiteY0" fmla="*/ 10486 h 18459"/>
                    <a:gd name="connsiteX1" fmla="*/ 10441 w 18309"/>
                    <a:gd name="connsiteY1" fmla="*/ 18381 h 18459"/>
                    <a:gd name="connsiteX2" fmla="*/ 18216 w 18309"/>
                    <a:gd name="connsiteY2" fmla="*/ 7975 h 18459"/>
                    <a:gd name="connsiteX3" fmla="*/ 7869 w 18309"/>
                    <a:gd name="connsiteY3" fmla="*/ 80 h 18459"/>
                    <a:gd name="connsiteX4" fmla="*/ 94 w 18309"/>
                    <a:gd name="connsiteY4" fmla="*/ 10486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59">
                      <a:moveTo>
                        <a:pt x="94" y="10486"/>
                      </a:moveTo>
                      <a:cubicBezTo>
                        <a:pt x="812" y="15510"/>
                        <a:pt x="5417" y="19039"/>
                        <a:pt x="10441" y="18381"/>
                      </a:cubicBezTo>
                      <a:cubicBezTo>
                        <a:pt x="15464" y="17663"/>
                        <a:pt x="18933" y="13058"/>
                        <a:pt x="18216" y="7975"/>
                      </a:cubicBezTo>
                      <a:cubicBezTo>
                        <a:pt x="17498" y="2891"/>
                        <a:pt x="12893" y="-578"/>
                        <a:pt x="7869" y="80"/>
                      </a:cubicBezTo>
                      <a:cubicBezTo>
                        <a:pt x="2845" y="798"/>
                        <a:pt x="-624" y="5403"/>
                        <a:pt x="94" y="10486"/>
                      </a:cubicBezTo>
                      <a:close/>
                    </a:path>
                  </a:pathLst>
                </a:custGeom>
                <a:grpFill/>
                <a:ln w="5978" cap="flat">
                  <a:noFill/>
                  <a:prstDash val="solid"/>
                  <a:miter/>
                </a:ln>
              </p:spPr>
              <p:txBody>
                <a:bodyPr rtlCol="0" anchor="ctr"/>
                <a:lstStyle/>
                <a:p>
                  <a:endParaRPr lang="en-GB"/>
                </a:p>
              </p:txBody>
            </p:sp>
          </p:grpSp>
          <p:grpSp>
            <p:nvGrpSpPr>
              <p:cNvPr id="607" name="Graphic 3">
                <a:extLst>
                  <a:ext uri="{FF2B5EF4-FFF2-40B4-BE49-F238E27FC236}">
                    <a16:creationId xmlns:a16="http://schemas.microsoft.com/office/drawing/2014/main" id="{E9893063-B887-410F-AD02-E6DAAAED1F47}"/>
                  </a:ext>
                </a:extLst>
              </p:cNvPr>
              <p:cNvGrpSpPr/>
              <p:nvPr/>
            </p:nvGrpSpPr>
            <p:grpSpPr>
              <a:xfrm>
                <a:off x="6899132" y="4966005"/>
                <a:ext cx="54921" cy="85348"/>
                <a:chOff x="6899132" y="4966005"/>
                <a:chExt cx="54921" cy="85348"/>
              </a:xfrm>
              <a:grpFill/>
            </p:grpSpPr>
            <p:sp>
              <p:nvSpPr>
                <p:cNvPr id="3567" name="Vrije vorm: vorm 3566">
                  <a:extLst>
                    <a:ext uri="{FF2B5EF4-FFF2-40B4-BE49-F238E27FC236}">
                      <a16:creationId xmlns:a16="http://schemas.microsoft.com/office/drawing/2014/main" id="{C71F44FD-A9E4-41D4-9CBD-1131A19209A2}"/>
                    </a:ext>
                  </a:extLst>
                </p:cNvPr>
                <p:cNvSpPr/>
                <p:nvPr/>
              </p:nvSpPr>
              <p:spPr>
                <a:xfrm>
                  <a:off x="6906737" y="4974086"/>
                  <a:ext cx="39712" cy="69196"/>
                </a:xfrm>
                <a:custGeom>
                  <a:avLst/>
                  <a:gdLst>
                    <a:gd name="connsiteX0" fmla="*/ 39712 w 39712"/>
                    <a:gd name="connsiteY0" fmla="*/ 67702 h 69196"/>
                    <a:gd name="connsiteX1" fmla="*/ 37080 w 39712"/>
                    <a:gd name="connsiteY1" fmla="*/ 69197 h 69196"/>
                    <a:gd name="connsiteX2" fmla="*/ 0 w 39712"/>
                    <a:gd name="connsiteY2" fmla="*/ 1436 h 69196"/>
                    <a:gd name="connsiteX3" fmla="*/ 2631 w 39712"/>
                    <a:gd name="connsiteY3" fmla="*/ 0 h 69196"/>
                  </a:gdLst>
                  <a:ahLst/>
                  <a:cxnLst>
                    <a:cxn ang="0">
                      <a:pos x="connsiteX0" y="connsiteY0"/>
                    </a:cxn>
                    <a:cxn ang="0">
                      <a:pos x="connsiteX1" y="connsiteY1"/>
                    </a:cxn>
                    <a:cxn ang="0">
                      <a:pos x="connsiteX2" y="connsiteY2"/>
                    </a:cxn>
                    <a:cxn ang="0">
                      <a:pos x="connsiteX3" y="connsiteY3"/>
                    </a:cxn>
                  </a:cxnLst>
                  <a:rect l="l" t="t" r="r" b="b"/>
                  <a:pathLst>
                    <a:path w="39712" h="69196">
                      <a:moveTo>
                        <a:pt x="39712" y="67702"/>
                      </a:moveTo>
                      <a:lnTo>
                        <a:pt x="37080" y="69197"/>
                      </a:lnTo>
                      <a:lnTo>
                        <a:pt x="0" y="1436"/>
                      </a:lnTo>
                      <a:lnTo>
                        <a:pt x="2631" y="0"/>
                      </a:lnTo>
                      <a:close/>
                    </a:path>
                  </a:pathLst>
                </a:custGeom>
                <a:grpFill/>
                <a:ln w="5978" cap="flat">
                  <a:noFill/>
                  <a:prstDash val="solid"/>
                  <a:miter/>
                </a:ln>
              </p:spPr>
              <p:txBody>
                <a:bodyPr rtlCol="0" anchor="ctr"/>
                <a:lstStyle/>
                <a:p>
                  <a:endParaRPr lang="en-GB"/>
                </a:p>
              </p:txBody>
            </p:sp>
            <p:sp>
              <p:nvSpPr>
                <p:cNvPr id="3568" name="Vrije vorm: vorm 3567">
                  <a:extLst>
                    <a:ext uri="{FF2B5EF4-FFF2-40B4-BE49-F238E27FC236}">
                      <a16:creationId xmlns:a16="http://schemas.microsoft.com/office/drawing/2014/main" id="{AB2608B4-2610-4853-BE46-88F59B764E2A}"/>
                    </a:ext>
                  </a:extLst>
                </p:cNvPr>
                <p:cNvSpPr/>
                <p:nvPr/>
              </p:nvSpPr>
              <p:spPr>
                <a:xfrm>
                  <a:off x="6935734" y="5032929"/>
                  <a:ext cx="18319" cy="18423"/>
                </a:xfrm>
                <a:custGeom>
                  <a:avLst/>
                  <a:gdLst>
                    <a:gd name="connsiteX0" fmla="*/ 17174 w 18319"/>
                    <a:gd name="connsiteY0" fmla="*/ 4792 h 18423"/>
                    <a:gd name="connsiteX1" fmla="*/ 13586 w 18319"/>
                    <a:gd name="connsiteY1" fmla="*/ 17292 h 18423"/>
                    <a:gd name="connsiteX2" fmla="*/ 1146 w 18319"/>
                    <a:gd name="connsiteY2" fmla="*/ 13644 h 18423"/>
                    <a:gd name="connsiteX3" fmla="*/ 4734 w 18319"/>
                    <a:gd name="connsiteY3" fmla="*/ 1144 h 18423"/>
                    <a:gd name="connsiteX4" fmla="*/ 17174 w 18319"/>
                    <a:gd name="connsiteY4" fmla="*/ 47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3">
                      <a:moveTo>
                        <a:pt x="17174" y="4792"/>
                      </a:moveTo>
                      <a:cubicBezTo>
                        <a:pt x="19626" y="9278"/>
                        <a:pt x="18011" y="14840"/>
                        <a:pt x="13586" y="17292"/>
                      </a:cubicBezTo>
                      <a:cubicBezTo>
                        <a:pt x="9160" y="19744"/>
                        <a:pt x="3598" y="18070"/>
                        <a:pt x="1146" y="13644"/>
                      </a:cubicBezTo>
                      <a:cubicBezTo>
                        <a:pt x="-1306" y="9158"/>
                        <a:pt x="309" y="3596"/>
                        <a:pt x="4734" y="1144"/>
                      </a:cubicBezTo>
                      <a:cubicBezTo>
                        <a:pt x="9160" y="-1308"/>
                        <a:pt x="14722" y="307"/>
                        <a:pt x="17174" y="4792"/>
                      </a:cubicBezTo>
                      <a:close/>
                    </a:path>
                  </a:pathLst>
                </a:custGeom>
                <a:grpFill/>
                <a:ln w="5978" cap="flat">
                  <a:noFill/>
                  <a:prstDash val="solid"/>
                  <a:miter/>
                </a:ln>
              </p:spPr>
              <p:txBody>
                <a:bodyPr rtlCol="0" anchor="ctr"/>
                <a:lstStyle/>
                <a:p>
                  <a:endParaRPr lang="en-GB"/>
                </a:p>
              </p:txBody>
            </p:sp>
            <p:sp>
              <p:nvSpPr>
                <p:cNvPr id="3569" name="Vrije vorm: vorm 3568">
                  <a:extLst>
                    <a:ext uri="{FF2B5EF4-FFF2-40B4-BE49-F238E27FC236}">
                      <a16:creationId xmlns:a16="http://schemas.microsoft.com/office/drawing/2014/main" id="{6890D734-5D29-4D89-924F-4B664AD751A4}"/>
                    </a:ext>
                  </a:extLst>
                </p:cNvPr>
                <p:cNvSpPr/>
                <p:nvPr/>
              </p:nvSpPr>
              <p:spPr>
                <a:xfrm>
                  <a:off x="6899132" y="4966005"/>
                  <a:ext cx="18319" cy="18436"/>
                </a:xfrm>
                <a:custGeom>
                  <a:avLst/>
                  <a:gdLst>
                    <a:gd name="connsiteX0" fmla="*/ 17174 w 18319"/>
                    <a:gd name="connsiteY0" fmla="*/ 4792 h 18436"/>
                    <a:gd name="connsiteX1" fmla="*/ 4734 w 18319"/>
                    <a:gd name="connsiteY1" fmla="*/ 1144 h 18436"/>
                    <a:gd name="connsiteX2" fmla="*/ 1146 w 18319"/>
                    <a:gd name="connsiteY2" fmla="*/ 13644 h 18436"/>
                    <a:gd name="connsiteX3" fmla="*/ 13586 w 18319"/>
                    <a:gd name="connsiteY3" fmla="*/ 17292 h 18436"/>
                    <a:gd name="connsiteX4" fmla="*/ 17174 w 18319"/>
                    <a:gd name="connsiteY4" fmla="*/ 47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36">
                      <a:moveTo>
                        <a:pt x="17174" y="4792"/>
                      </a:moveTo>
                      <a:cubicBezTo>
                        <a:pt x="14722" y="307"/>
                        <a:pt x="9160" y="-1308"/>
                        <a:pt x="4734" y="1144"/>
                      </a:cubicBezTo>
                      <a:cubicBezTo>
                        <a:pt x="309" y="3596"/>
                        <a:pt x="-1306" y="9158"/>
                        <a:pt x="1146" y="13644"/>
                      </a:cubicBezTo>
                      <a:cubicBezTo>
                        <a:pt x="3598" y="18129"/>
                        <a:pt x="9160" y="19744"/>
                        <a:pt x="13586" y="17292"/>
                      </a:cubicBezTo>
                      <a:cubicBezTo>
                        <a:pt x="18011" y="14840"/>
                        <a:pt x="19626" y="9278"/>
                        <a:pt x="17174" y="4792"/>
                      </a:cubicBezTo>
                      <a:close/>
                    </a:path>
                  </a:pathLst>
                </a:custGeom>
                <a:grpFill/>
                <a:ln w="5978" cap="flat">
                  <a:noFill/>
                  <a:prstDash val="solid"/>
                  <a:miter/>
                </a:ln>
              </p:spPr>
              <p:txBody>
                <a:bodyPr rtlCol="0" anchor="ctr"/>
                <a:lstStyle/>
                <a:p>
                  <a:endParaRPr lang="en-GB"/>
                </a:p>
              </p:txBody>
            </p:sp>
          </p:grpSp>
          <p:grpSp>
            <p:nvGrpSpPr>
              <p:cNvPr id="608" name="Graphic 3">
                <a:extLst>
                  <a:ext uri="{FF2B5EF4-FFF2-40B4-BE49-F238E27FC236}">
                    <a16:creationId xmlns:a16="http://schemas.microsoft.com/office/drawing/2014/main" id="{C1894B41-59E6-4111-BFE4-4A1BA447F497}"/>
                  </a:ext>
                </a:extLst>
              </p:cNvPr>
              <p:cNvGrpSpPr/>
              <p:nvPr/>
            </p:nvGrpSpPr>
            <p:grpSpPr>
              <a:xfrm>
                <a:off x="6856528" y="4890395"/>
                <a:ext cx="135788" cy="306194"/>
                <a:chOff x="6856528" y="4890395"/>
                <a:chExt cx="135788" cy="306194"/>
              </a:xfrm>
              <a:grpFill/>
            </p:grpSpPr>
            <p:sp>
              <p:nvSpPr>
                <p:cNvPr id="3564" name="Vrije vorm: vorm 3563">
                  <a:extLst>
                    <a:ext uri="{FF2B5EF4-FFF2-40B4-BE49-F238E27FC236}">
                      <a16:creationId xmlns:a16="http://schemas.microsoft.com/office/drawing/2014/main" id="{3B609624-5D83-418A-99AA-2A8968F26BD3}"/>
                    </a:ext>
                  </a:extLst>
                </p:cNvPr>
                <p:cNvSpPr/>
                <p:nvPr/>
              </p:nvSpPr>
              <p:spPr>
                <a:xfrm>
                  <a:off x="6864269" y="4899017"/>
                  <a:ext cx="120838" cy="289678"/>
                </a:xfrm>
                <a:custGeom>
                  <a:avLst/>
                  <a:gdLst>
                    <a:gd name="connsiteX0" fmla="*/ 0 w 120838"/>
                    <a:gd name="connsiteY0" fmla="*/ 1155 h 289678"/>
                    <a:gd name="connsiteX1" fmla="*/ 2823 w 120838"/>
                    <a:gd name="connsiteY1" fmla="*/ 0 h 289678"/>
                    <a:gd name="connsiteX2" fmla="*/ 120839 w 120838"/>
                    <a:gd name="connsiteY2" fmla="*/ 288524 h 289678"/>
                    <a:gd name="connsiteX3" fmla="*/ 118015 w 120838"/>
                    <a:gd name="connsiteY3" fmla="*/ 289679 h 289678"/>
                  </a:gdLst>
                  <a:ahLst/>
                  <a:cxnLst>
                    <a:cxn ang="0">
                      <a:pos x="connsiteX0" y="connsiteY0"/>
                    </a:cxn>
                    <a:cxn ang="0">
                      <a:pos x="connsiteX1" y="connsiteY1"/>
                    </a:cxn>
                    <a:cxn ang="0">
                      <a:pos x="connsiteX2" y="connsiteY2"/>
                    </a:cxn>
                    <a:cxn ang="0">
                      <a:pos x="connsiteX3" y="connsiteY3"/>
                    </a:cxn>
                  </a:cxnLst>
                  <a:rect l="l" t="t" r="r" b="b"/>
                  <a:pathLst>
                    <a:path w="120838" h="289678">
                      <a:moveTo>
                        <a:pt x="0" y="1155"/>
                      </a:moveTo>
                      <a:lnTo>
                        <a:pt x="2823" y="0"/>
                      </a:lnTo>
                      <a:lnTo>
                        <a:pt x="120839" y="288524"/>
                      </a:lnTo>
                      <a:lnTo>
                        <a:pt x="118015" y="289679"/>
                      </a:lnTo>
                      <a:close/>
                    </a:path>
                  </a:pathLst>
                </a:custGeom>
                <a:grpFill/>
                <a:ln w="5978" cap="flat">
                  <a:noFill/>
                  <a:prstDash val="solid"/>
                  <a:miter/>
                </a:ln>
              </p:spPr>
              <p:txBody>
                <a:bodyPr rtlCol="0" anchor="ctr"/>
                <a:lstStyle/>
                <a:p>
                  <a:endParaRPr lang="en-GB"/>
                </a:p>
              </p:txBody>
            </p:sp>
            <p:sp>
              <p:nvSpPr>
                <p:cNvPr id="3565" name="Vrije vorm: vorm 3564">
                  <a:extLst>
                    <a:ext uri="{FF2B5EF4-FFF2-40B4-BE49-F238E27FC236}">
                      <a16:creationId xmlns:a16="http://schemas.microsoft.com/office/drawing/2014/main" id="{AF51D0F1-9A3D-473B-ABEB-7160C900B8BE}"/>
                    </a:ext>
                  </a:extLst>
                </p:cNvPr>
                <p:cNvSpPr/>
                <p:nvPr/>
              </p:nvSpPr>
              <p:spPr>
                <a:xfrm>
                  <a:off x="6856528" y="4890395"/>
                  <a:ext cx="18301" cy="18462"/>
                </a:xfrm>
                <a:custGeom>
                  <a:avLst/>
                  <a:gdLst>
                    <a:gd name="connsiteX0" fmla="*/ 688 w 18301"/>
                    <a:gd name="connsiteY0" fmla="*/ 12700 h 18462"/>
                    <a:gd name="connsiteX1" fmla="*/ 5652 w 18301"/>
                    <a:gd name="connsiteY1" fmla="*/ 678 h 18462"/>
                    <a:gd name="connsiteX2" fmla="*/ 17614 w 18301"/>
                    <a:gd name="connsiteY2" fmla="*/ 5762 h 18462"/>
                    <a:gd name="connsiteX3" fmla="*/ 12649 w 18301"/>
                    <a:gd name="connsiteY3" fmla="*/ 17784 h 18462"/>
                    <a:gd name="connsiteX4" fmla="*/ 688 w 18301"/>
                    <a:gd name="connsiteY4" fmla="*/ 1270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2">
                      <a:moveTo>
                        <a:pt x="688" y="12700"/>
                      </a:moveTo>
                      <a:cubicBezTo>
                        <a:pt x="-1226" y="7975"/>
                        <a:pt x="987" y="2592"/>
                        <a:pt x="5652" y="678"/>
                      </a:cubicBezTo>
                      <a:cubicBezTo>
                        <a:pt x="10317" y="-1235"/>
                        <a:pt x="15700" y="1037"/>
                        <a:pt x="17614" y="5762"/>
                      </a:cubicBezTo>
                      <a:cubicBezTo>
                        <a:pt x="19527" y="10487"/>
                        <a:pt x="17315" y="15870"/>
                        <a:pt x="12649" y="17784"/>
                      </a:cubicBezTo>
                      <a:cubicBezTo>
                        <a:pt x="7984" y="19697"/>
                        <a:pt x="2602" y="17425"/>
                        <a:pt x="688" y="12700"/>
                      </a:cubicBezTo>
                      <a:close/>
                    </a:path>
                  </a:pathLst>
                </a:custGeom>
                <a:grpFill/>
                <a:ln w="5978" cap="flat">
                  <a:noFill/>
                  <a:prstDash val="solid"/>
                  <a:miter/>
                </a:ln>
              </p:spPr>
              <p:txBody>
                <a:bodyPr rtlCol="0" anchor="ctr"/>
                <a:lstStyle/>
                <a:p>
                  <a:endParaRPr lang="en-GB"/>
                </a:p>
              </p:txBody>
            </p:sp>
            <p:sp>
              <p:nvSpPr>
                <p:cNvPr id="3566" name="Vrije vorm: vorm 3565">
                  <a:extLst>
                    <a:ext uri="{FF2B5EF4-FFF2-40B4-BE49-F238E27FC236}">
                      <a16:creationId xmlns:a16="http://schemas.microsoft.com/office/drawing/2014/main" id="{90B4E575-9515-4CD1-A8B2-882ADB27BFA0}"/>
                    </a:ext>
                  </a:extLst>
                </p:cNvPr>
                <p:cNvSpPr/>
                <p:nvPr/>
              </p:nvSpPr>
              <p:spPr>
                <a:xfrm>
                  <a:off x="6973998" y="5178128"/>
                  <a:ext cx="18318" cy="18461"/>
                </a:xfrm>
                <a:custGeom>
                  <a:avLst/>
                  <a:gdLst>
                    <a:gd name="connsiteX0" fmla="*/ 680 w 18318"/>
                    <a:gd name="connsiteY0" fmla="*/ 12700 h 18461"/>
                    <a:gd name="connsiteX1" fmla="*/ 12641 w 18318"/>
                    <a:gd name="connsiteY1" fmla="*/ 17783 h 18461"/>
                    <a:gd name="connsiteX2" fmla="*/ 17605 w 18318"/>
                    <a:gd name="connsiteY2" fmla="*/ 5762 h 18461"/>
                    <a:gd name="connsiteX3" fmla="*/ 5644 w 18318"/>
                    <a:gd name="connsiteY3" fmla="*/ 679 h 18461"/>
                    <a:gd name="connsiteX4" fmla="*/ 680 w 18318"/>
                    <a:gd name="connsiteY4" fmla="*/ 1270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61">
                      <a:moveTo>
                        <a:pt x="680" y="12700"/>
                      </a:moveTo>
                      <a:cubicBezTo>
                        <a:pt x="2594" y="17424"/>
                        <a:pt x="7976" y="19697"/>
                        <a:pt x="12641" y="17783"/>
                      </a:cubicBezTo>
                      <a:cubicBezTo>
                        <a:pt x="17307" y="15869"/>
                        <a:pt x="19579" y="10487"/>
                        <a:pt x="17605" y="5762"/>
                      </a:cubicBezTo>
                      <a:cubicBezTo>
                        <a:pt x="15692" y="1037"/>
                        <a:pt x="10309" y="-1235"/>
                        <a:pt x="5644" y="679"/>
                      </a:cubicBezTo>
                      <a:cubicBezTo>
                        <a:pt x="1039" y="2592"/>
                        <a:pt x="-1234" y="7975"/>
                        <a:pt x="680" y="12700"/>
                      </a:cubicBezTo>
                      <a:close/>
                    </a:path>
                  </a:pathLst>
                </a:custGeom>
                <a:grpFill/>
                <a:ln w="5978" cap="flat">
                  <a:noFill/>
                  <a:prstDash val="solid"/>
                  <a:miter/>
                </a:ln>
              </p:spPr>
              <p:txBody>
                <a:bodyPr rtlCol="0" anchor="ctr"/>
                <a:lstStyle/>
                <a:p>
                  <a:endParaRPr lang="en-GB"/>
                </a:p>
              </p:txBody>
            </p:sp>
          </p:grpSp>
          <p:grpSp>
            <p:nvGrpSpPr>
              <p:cNvPr id="609" name="Graphic 3">
                <a:extLst>
                  <a:ext uri="{FF2B5EF4-FFF2-40B4-BE49-F238E27FC236}">
                    <a16:creationId xmlns:a16="http://schemas.microsoft.com/office/drawing/2014/main" id="{86E93204-9797-45D7-9593-22D2AFC012FA}"/>
                  </a:ext>
                </a:extLst>
              </p:cNvPr>
              <p:cNvGrpSpPr/>
              <p:nvPr/>
            </p:nvGrpSpPr>
            <p:grpSpPr>
              <a:xfrm>
                <a:off x="6936222" y="5107829"/>
                <a:ext cx="55294" cy="89119"/>
                <a:chOff x="6936222" y="5107829"/>
                <a:chExt cx="55294" cy="89119"/>
              </a:xfrm>
              <a:grpFill/>
            </p:grpSpPr>
            <p:sp>
              <p:nvSpPr>
                <p:cNvPr id="3561" name="Vrije vorm: vorm 3560">
                  <a:extLst>
                    <a:ext uri="{FF2B5EF4-FFF2-40B4-BE49-F238E27FC236}">
                      <a16:creationId xmlns:a16="http://schemas.microsoft.com/office/drawing/2014/main" id="{1A1E179A-7EA7-412F-BC19-B43782C21BDD}"/>
                    </a:ext>
                  </a:extLst>
                </p:cNvPr>
                <p:cNvSpPr/>
                <p:nvPr/>
              </p:nvSpPr>
              <p:spPr>
                <a:xfrm>
                  <a:off x="6943817" y="5115889"/>
                  <a:ext cx="40131" cy="72964"/>
                </a:xfrm>
                <a:custGeom>
                  <a:avLst/>
                  <a:gdLst>
                    <a:gd name="connsiteX0" fmla="*/ 40131 w 40131"/>
                    <a:gd name="connsiteY0" fmla="*/ 71530 h 72964"/>
                    <a:gd name="connsiteX1" fmla="*/ 37439 w 40131"/>
                    <a:gd name="connsiteY1" fmla="*/ 72965 h 72964"/>
                    <a:gd name="connsiteX2" fmla="*/ 0 w 40131"/>
                    <a:gd name="connsiteY2" fmla="*/ 1435 h 72964"/>
                    <a:gd name="connsiteX3" fmla="*/ 2692 w 40131"/>
                    <a:gd name="connsiteY3" fmla="*/ 0 h 72964"/>
                  </a:gdLst>
                  <a:ahLst/>
                  <a:cxnLst>
                    <a:cxn ang="0">
                      <a:pos x="connsiteX0" y="connsiteY0"/>
                    </a:cxn>
                    <a:cxn ang="0">
                      <a:pos x="connsiteX1" y="connsiteY1"/>
                    </a:cxn>
                    <a:cxn ang="0">
                      <a:pos x="connsiteX2" y="connsiteY2"/>
                    </a:cxn>
                    <a:cxn ang="0">
                      <a:pos x="connsiteX3" y="connsiteY3"/>
                    </a:cxn>
                  </a:cxnLst>
                  <a:rect l="l" t="t" r="r" b="b"/>
                  <a:pathLst>
                    <a:path w="40131" h="72964">
                      <a:moveTo>
                        <a:pt x="40131" y="71530"/>
                      </a:moveTo>
                      <a:lnTo>
                        <a:pt x="37439" y="72965"/>
                      </a:lnTo>
                      <a:lnTo>
                        <a:pt x="0" y="1435"/>
                      </a:lnTo>
                      <a:lnTo>
                        <a:pt x="2692" y="0"/>
                      </a:lnTo>
                      <a:close/>
                    </a:path>
                  </a:pathLst>
                </a:custGeom>
                <a:grpFill/>
                <a:ln w="5978" cap="flat">
                  <a:noFill/>
                  <a:prstDash val="solid"/>
                  <a:miter/>
                </a:ln>
              </p:spPr>
              <p:txBody>
                <a:bodyPr rtlCol="0" anchor="ctr"/>
                <a:lstStyle/>
                <a:p>
                  <a:endParaRPr lang="en-GB"/>
                </a:p>
              </p:txBody>
            </p:sp>
            <p:sp>
              <p:nvSpPr>
                <p:cNvPr id="3562" name="Vrije vorm: vorm 3561">
                  <a:extLst>
                    <a:ext uri="{FF2B5EF4-FFF2-40B4-BE49-F238E27FC236}">
                      <a16:creationId xmlns:a16="http://schemas.microsoft.com/office/drawing/2014/main" id="{739DF00A-B1C5-4916-A0E8-FB5D3B19A610}"/>
                    </a:ext>
                  </a:extLst>
                </p:cNvPr>
                <p:cNvSpPr/>
                <p:nvPr/>
              </p:nvSpPr>
              <p:spPr>
                <a:xfrm>
                  <a:off x="6973209" y="5178509"/>
                  <a:ext cx="18307" cy="18438"/>
                </a:xfrm>
                <a:custGeom>
                  <a:avLst/>
                  <a:gdLst>
                    <a:gd name="connsiteX0" fmla="*/ 17257 w 18307"/>
                    <a:gd name="connsiteY0" fmla="*/ 4962 h 18438"/>
                    <a:gd name="connsiteX1" fmla="*/ 13430 w 18307"/>
                    <a:gd name="connsiteY1" fmla="*/ 17402 h 18438"/>
                    <a:gd name="connsiteX2" fmla="*/ 1050 w 18307"/>
                    <a:gd name="connsiteY2" fmla="*/ 13514 h 18438"/>
                    <a:gd name="connsiteX3" fmla="*/ 4878 w 18307"/>
                    <a:gd name="connsiteY3" fmla="*/ 1075 h 18438"/>
                    <a:gd name="connsiteX4" fmla="*/ 17257 w 18307"/>
                    <a:gd name="connsiteY4" fmla="*/ 496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17257" y="4962"/>
                      </a:moveTo>
                      <a:cubicBezTo>
                        <a:pt x="19590" y="9448"/>
                        <a:pt x="17915" y="15010"/>
                        <a:pt x="13430" y="17402"/>
                      </a:cubicBezTo>
                      <a:cubicBezTo>
                        <a:pt x="8944" y="19735"/>
                        <a:pt x="3382" y="18000"/>
                        <a:pt x="1050" y="13514"/>
                      </a:cubicBezTo>
                      <a:cubicBezTo>
                        <a:pt x="-1283" y="9029"/>
                        <a:pt x="392" y="3467"/>
                        <a:pt x="4878" y="1075"/>
                      </a:cubicBezTo>
                      <a:cubicBezTo>
                        <a:pt x="9363" y="-1318"/>
                        <a:pt x="14925" y="417"/>
                        <a:pt x="17257" y="4962"/>
                      </a:cubicBezTo>
                      <a:close/>
                    </a:path>
                  </a:pathLst>
                </a:custGeom>
                <a:grpFill/>
                <a:ln w="5978" cap="flat">
                  <a:noFill/>
                  <a:prstDash val="solid"/>
                  <a:miter/>
                </a:ln>
              </p:spPr>
              <p:txBody>
                <a:bodyPr rtlCol="0" anchor="ctr"/>
                <a:lstStyle/>
                <a:p>
                  <a:endParaRPr lang="en-GB"/>
                </a:p>
              </p:txBody>
            </p:sp>
            <p:sp>
              <p:nvSpPr>
                <p:cNvPr id="3563" name="Vrije vorm: vorm 3562">
                  <a:extLst>
                    <a:ext uri="{FF2B5EF4-FFF2-40B4-BE49-F238E27FC236}">
                      <a16:creationId xmlns:a16="http://schemas.microsoft.com/office/drawing/2014/main" id="{C5AB06BA-0CBE-4C77-88AB-7A0473FCC3A6}"/>
                    </a:ext>
                  </a:extLst>
                </p:cNvPr>
                <p:cNvSpPr/>
                <p:nvPr/>
              </p:nvSpPr>
              <p:spPr>
                <a:xfrm>
                  <a:off x="6936222" y="5107829"/>
                  <a:ext cx="18322" cy="18453"/>
                </a:xfrm>
                <a:custGeom>
                  <a:avLst/>
                  <a:gdLst>
                    <a:gd name="connsiteX0" fmla="*/ 17284 w 18322"/>
                    <a:gd name="connsiteY0" fmla="*/ 4950 h 18453"/>
                    <a:gd name="connsiteX1" fmla="*/ 4904 w 18322"/>
                    <a:gd name="connsiteY1" fmla="*/ 1063 h 18453"/>
                    <a:gd name="connsiteX2" fmla="*/ 1076 w 18322"/>
                    <a:gd name="connsiteY2" fmla="*/ 13503 h 18453"/>
                    <a:gd name="connsiteX3" fmla="*/ 13457 w 18322"/>
                    <a:gd name="connsiteY3" fmla="*/ 17390 h 18453"/>
                    <a:gd name="connsiteX4" fmla="*/ 17284 w 18322"/>
                    <a:gd name="connsiteY4" fmla="*/ 4950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7284" y="4950"/>
                      </a:moveTo>
                      <a:cubicBezTo>
                        <a:pt x="14952" y="465"/>
                        <a:pt x="9390" y="-1329"/>
                        <a:pt x="4904" y="1063"/>
                      </a:cubicBezTo>
                      <a:cubicBezTo>
                        <a:pt x="419" y="3395"/>
                        <a:pt x="-1316" y="8958"/>
                        <a:pt x="1076" y="13503"/>
                      </a:cubicBezTo>
                      <a:cubicBezTo>
                        <a:pt x="3409" y="17988"/>
                        <a:pt x="8971" y="19783"/>
                        <a:pt x="13457" y="17390"/>
                      </a:cubicBezTo>
                      <a:cubicBezTo>
                        <a:pt x="17883" y="14998"/>
                        <a:pt x="19616" y="9436"/>
                        <a:pt x="17284" y="4950"/>
                      </a:cubicBezTo>
                      <a:close/>
                    </a:path>
                  </a:pathLst>
                </a:custGeom>
                <a:grpFill/>
                <a:ln w="5978" cap="flat">
                  <a:noFill/>
                  <a:prstDash val="solid"/>
                  <a:miter/>
                </a:ln>
              </p:spPr>
              <p:txBody>
                <a:bodyPr rtlCol="0" anchor="ctr"/>
                <a:lstStyle/>
                <a:p>
                  <a:endParaRPr lang="en-GB"/>
                </a:p>
              </p:txBody>
            </p:sp>
          </p:grpSp>
          <p:grpSp>
            <p:nvGrpSpPr>
              <p:cNvPr id="610" name="Graphic 3">
                <a:extLst>
                  <a:ext uri="{FF2B5EF4-FFF2-40B4-BE49-F238E27FC236}">
                    <a16:creationId xmlns:a16="http://schemas.microsoft.com/office/drawing/2014/main" id="{230250D4-090F-4293-8349-39E16B0EECF8}"/>
                  </a:ext>
                </a:extLst>
              </p:cNvPr>
              <p:cNvGrpSpPr/>
              <p:nvPr/>
            </p:nvGrpSpPr>
            <p:grpSpPr>
              <a:xfrm>
                <a:off x="5629107" y="1074152"/>
                <a:ext cx="123495" cy="607094"/>
                <a:chOff x="5629107" y="1074152"/>
                <a:chExt cx="123495" cy="607094"/>
              </a:xfrm>
              <a:grpFill/>
            </p:grpSpPr>
            <p:sp>
              <p:nvSpPr>
                <p:cNvPr id="3558" name="Vrije vorm: vorm 3557">
                  <a:extLst>
                    <a:ext uri="{FF2B5EF4-FFF2-40B4-BE49-F238E27FC236}">
                      <a16:creationId xmlns:a16="http://schemas.microsoft.com/office/drawing/2014/main" id="{E3BB4426-F3E7-487B-B814-54D91F1B39D4}"/>
                    </a:ext>
                  </a:extLst>
                </p:cNvPr>
                <p:cNvSpPr/>
                <p:nvPr/>
              </p:nvSpPr>
              <p:spPr>
                <a:xfrm>
                  <a:off x="5636671" y="1082670"/>
                  <a:ext cx="108310" cy="590057"/>
                </a:xfrm>
                <a:custGeom>
                  <a:avLst/>
                  <a:gdLst>
                    <a:gd name="connsiteX0" fmla="*/ 2990 w 108310"/>
                    <a:gd name="connsiteY0" fmla="*/ 0 h 590057"/>
                    <a:gd name="connsiteX1" fmla="*/ 108311 w 108310"/>
                    <a:gd name="connsiteY1" fmla="*/ 589580 h 590057"/>
                    <a:gd name="connsiteX2" fmla="*/ 105320 w 108310"/>
                    <a:gd name="connsiteY2" fmla="*/ 590058 h 590057"/>
                    <a:gd name="connsiteX3" fmla="*/ 0 w 108310"/>
                    <a:gd name="connsiteY3" fmla="*/ 478 h 590057"/>
                  </a:gdLst>
                  <a:ahLst/>
                  <a:cxnLst>
                    <a:cxn ang="0">
                      <a:pos x="connsiteX0" y="connsiteY0"/>
                    </a:cxn>
                    <a:cxn ang="0">
                      <a:pos x="connsiteX1" y="connsiteY1"/>
                    </a:cxn>
                    <a:cxn ang="0">
                      <a:pos x="connsiteX2" y="connsiteY2"/>
                    </a:cxn>
                    <a:cxn ang="0">
                      <a:pos x="connsiteX3" y="connsiteY3"/>
                    </a:cxn>
                  </a:cxnLst>
                  <a:rect l="l" t="t" r="r" b="b"/>
                  <a:pathLst>
                    <a:path w="108310" h="590057">
                      <a:moveTo>
                        <a:pt x="2990" y="0"/>
                      </a:moveTo>
                      <a:lnTo>
                        <a:pt x="108311" y="589580"/>
                      </a:lnTo>
                      <a:lnTo>
                        <a:pt x="105320" y="590058"/>
                      </a:lnTo>
                      <a:lnTo>
                        <a:pt x="0" y="478"/>
                      </a:lnTo>
                      <a:close/>
                    </a:path>
                  </a:pathLst>
                </a:custGeom>
                <a:grpFill/>
                <a:ln w="5978" cap="flat">
                  <a:noFill/>
                  <a:prstDash val="solid"/>
                  <a:miter/>
                </a:ln>
              </p:spPr>
              <p:txBody>
                <a:bodyPr rtlCol="0" anchor="ctr"/>
                <a:lstStyle/>
                <a:p>
                  <a:endParaRPr lang="en-GB"/>
                </a:p>
              </p:txBody>
            </p:sp>
            <p:sp>
              <p:nvSpPr>
                <p:cNvPr id="3559" name="Vrije vorm: vorm 3558">
                  <a:extLst>
                    <a:ext uri="{FF2B5EF4-FFF2-40B4-BE49-F238E27FC236}">
                      <a16:creationId xmlns:a16="http://schemas.microsoft.com/office/drawing/2014/main" id="{FE929F68-D9B3-4B66-BD3B-C81E980E1256}"/>
                    </a:ext>
                  </a:extLst>
                </p:cNvPr>
                <p:cNvSpPr/>
                <p:nvPr/>
              </p:nvSpPr>
              <p:spPr>
                <a:xfrm>
                  <a:off x="5629107" y="1074152"/>
                  <a:ext cx="18356" cy="18412"/>
                </a:xfrm>
                <a:custGeom>
                  <a:avLst/>
                  <a:gdLst>
                    <a:gd name="connsiteX0" fmla="*/ 147 w 18356"/>
                    <a:gd name="connsiteY0" fmla="*/ 10791 h 18412"/>
                    <a:gd name="connsiteX1" fmla="*/ 7563 w 18356"/>
                    <a:gd name="connsiteY1" fmla="*/ 145 h 18412"/>
                    <a:gd name="connsiteX2" fmla="*/ 18209 w 18356"/>
                    <a:gd name="connsiteY2" fmla="*/ 7621 h 18412"/>
                    <a:gd name="connsiteX3" fmla="*/ 10793 w 18356"/>
                    <a:gd name="connsiteY3" fmla="*/ 18267 h 18412"/>
                    <a:gd name="connsiteX4" fmla="*/ 147 w 18356"/>
                    <a:gd name="connsiteY4" fmla="*/ 1079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2">
                      <a:moveTo>
                        <a:pt x="147" y="10791"/>
                      </a:moveTo>
                      <a:cubicBezTo>
                        <a:pt x="-750" y="5767"/>
                        <a:pt x="2539" y="983"/>
                        <a:pt x="7563" y="145"/>
                      </a:cubicBezTo>
                      <a:cubicBezTo>
                        <a:pt x="12527" y="-752"/>
                        <a:pt x="17312" y="2597"/>
                        <a:pt x="18209" y="7621"/>
                      </a:cubicBezTo>
                      <a:cubicBezTo>
                        <a:pt x="19106" y="12645"/>
                        <a:pt x="15817" y="17430"/>
                        <a:pt x="10793" y="18267"/>
                      </a:cubicBezTo>
                      <a:cubicBezTo>
                        <a:pt x="5769" y="19164"/>
                        <a:pt x="984" y="15815"/>
                        <a:pt x="147" y="10791"/>
                      </a:cubicBezTo>
                      <a:close/>
                    </a:path>
                  </a:pathLst>
                </a:custGeom>
                <a:grpFill/>
                <a:ln w="5978" cap="flat">
                  <a:noFill/>
                  <a:prstDash val="solid"/>
                  <a:miter/>
                </a:ln>
              </p:spPr>
              <p:txBody>
                <a:bodyPr rtlCol="0" anchor="ctr"/>
                <a:lstStyle/>
                <a:p>
                  <a:endParaRPr lang="en-GB"/>
                </a:p>
              </p:txBody>
            </p:sp>
            <p:sp>
              <p:nvSpPr>
                <p:cNvPr id="3560" name="Vrije vorm: vorm 3559">
                  <a:extLst>
                    <a:ext uri="{FF2B5EF4-FFF2-40B4-BE49-F238E27FC236}">
                      <a16:creationId xmlns:a16="http://schemas.microsoft.com/office/drawing/2014/main" id="{07E751B6-43EF-485E-BF9C-2E466DD35A14}"/>
                    </a:ext>
                  </a:extLst>
                </p:cNvPr>
                <p:cNvSpPr/>
                <p:nvPr/>
              </p:nvSpPr>
              <p:spPr>
                <a:xfrm>
                  <a:off x="5734248" y="1662834"/>
                  <a:ext cx="18354" cy="18412"/>
                </a:xfrm>
                <a:custGeom>
                  <a:avLst/>
                  <a:gdLst>
                    <a:gd name="connsiteX0" fmla="*/ 147 w 18354"/>
                    <a:gd name="connsiteY0" fmla="*/ 10791 h 18412"/>
                    <a:gd name="connsiteX1" fmla="*/ 10793 w 18354"/>
                    <a:gd name="connsiteY1" fmla="*/ 18267 h 18412"/>
                    <a:gd name="connsiteX2" fmla="*/ 18209 w 18354"/>
                    <a:gd name="connsiteY2" fmla="*/ 7621 h 18412"/>
                    <a:gd name="connsiteX3" fmla="*/ 7563 w 18354"/>
                    <a:gd name="connsiteY3" fmla="*/ 145 h 18412"/>
                    <a:gd name="connsiteX4" fmla="*/ 147 w 18354"/>
                    <a:gd name="connsiteY4" fmla="*/ 1079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47" y="10791"/>
                      </a:moveTo>
                      <a:cubicBezTo>
                        <a:pt x="1045" y="15815"/>
                        <a:pt x="5829" y="19164"/>
                        <a:pt x="10793" y="18267"/>
                      </a:cubicBezTo>
                      <a:cubicBezTo>
                        <a:pt x="15757" y="17370"/>
                        <a:pt x="19106" y="12585"/>
                        <a:pt x="18209" y="7621"/>
                      </a:cubicBezTo>
                      <a:cubicBezTo>
                        <a:pt x="17312" y="2597"/>
                        <a:pt x="12527" y="-752"/>
                        <a:pt x="7563" y="145"/>
                      </a:cubicBezTo>
                      <a:cubicBezTo>
                        <a:pt x="2540" y="983"/>
                        <a:pt x="-750" y="5767"/>
                        <a:pt x="147" y="10791"/>
                      </a:cubicBezTo>
                      <a:close/>
                    </a:path>
                  </a:pathLst>
                </a:custGeom>
                <a:grpFill/>
                <a:ln w="5978" cap="flat">
                  <a:noFill/>
                  <a:prstDash val="solid"/>
                  <a:miter/>
                </a:ln>
              </p:spPr>
              <p:txBody>
                <a:bodyPr rtlCol="0" anchor="ctr"/>
                <a:lstStyle/>
                <a:p>
                  <a:endParaRPr lang="en-GB"/>
                </a:p>
              </p:txBody>
            </p:sp>
          </p:grpSp>
          <p:grpSp>
            <p:nvGrpSpPr>
              <p:cNvPr id="611" name="Graphic 3">
                <a:extLst>
                  <a:ext uri="{FF2B5EF4-FFF2-40B4-BE49-F238E27FC236}">
                    <a16:creationId xmlns:a16="http://schemas.microsoft.com/office/drawing/2014/main" id="{5A4BADE3-E427-4443-A731-0293A10F39CB}"/>
                  </a:ext>
                </a:extLst>
              </p:cNvPr>
              <p:cNvGrpSpPr/>
              <p:nvPr/>
            </p:nvGrpSpPr>
            <p:grpSpPr>
              <a:xfrm>
                <a:off x="5676139" y="1092905"/>
                <a:ext cx="90366" cy="662888"/>
                <a:chOff x="5676139" y="1092905"/>
                <a:chExt cx="90366" cy="662888"/>
              </a:xfrm>
              <a:grpFill/>
            </p:grpSpPr>
            <p:sp>
              <p:nvSpPr>
                <p:cNvPr id="3555" name="Vrije vorm: vorm 3554">
                  <a:extLst>
                    <a:ext uri="{FF2B5EF4-FFF2-40B4-BE49-F238E27FC236}">
                      <a16:creationId xmlns:a16="http://schemas.microsoft.com/office/drawing/2014/main" id="{A71AC03A-6647-4521-9959-202F6F4D60BE}"/>
                    </a:ext>
                  </a:extLst>
                </p:cNvPr>
                <p:cNvSpPr/>
                <p:nvPr/>
              </p:nvSpPr>
              <p:spPr>
                <a:xfrm>
                  <a:off x="5683739" y="1101569"/>
                  <a:ext cx="75177" cy="645618"/>
                </a:xfrm>
                <a:custGeom>
                  <a:avLst/>
                  <a:gdLst>
                    <a:gd name="connsiteX0" fmla="*/ 2990 w 75177"/>
                    <a:gd name="connsiteY0" fmla="*/ 0 h 645618"/>
                    <a:gd name="connsiteX1" fmla="*/ 75178 w 75177"/>
                    <a:gd name="connsiteY1" fmla="*/ 645260 h 645618"/>
                    <a:gd name="connsiteX2" fmla="*/ 72128 w 75177"/>
                    <a:gd name="connsiteY2" fmla="*/ 645619 h 645618"/>
                    <a:gd name="connsiteX3" fmla="*/ 0 w 75177"/>
                    <a:gd name="connsiteY3" fmla="*/ 299 h 645618"/>
                  </a:gdLst>
                  <a:ahLst/>
                  <a:cxnLst>
                    <a:cxn ang="0">
                      <a:pos x="connsiteX0" y="connsiteY0"/>
                    </a:cxn>
                    <a:cxn ang="0">
                      <a:pos x="connsiteX1" y="connsiteY1"/>
                    </a:cxn>
                    <a:cxn ang="0">
                      <a:pos x="connsiteX2" y="connsiteY2"/>
                    </a:cxn>
                    <a:cxn ang="0">
                      <a:pos x="connsiteX3" y="connsiteY3"/>
                    </a:cxn>
                  </a:cxnLst>
                  <a:rect l="l" t="t" r="r" b="b"/>
                  <a:pathLst>
                    <a:path w="75177" h="645618">
                      <a:moveTo>
                        <a:pt x="2990" y="0"/>
                      </a:moveTo>
                      <a:lnTo>
                        <a:pt x="75178" y="645260"/>
                      </a:lnTo>
                      <a:lnTo>
                        <a:pt x="72128" y="645619"/>
                      </a:lnTo>
                      <a:lnTo>
                        <a:pt x="0" y="299"/>
                      </a:lnTo>
                      <a:close/>
                    </a:path>
                  </a:pathLst>
                </a:custGeom>
                <a:grpFill/>
                <a:ln w="5978" cap="flat">
                  <a:noFill/>
                  <a:prstDash val="solid"/>
                  <a:miter/>
                </a:ln>
              </p:spPr>
              <p:txBody>
                <a:bodyPr rtlCol="0" anchor="ctr"/>
                <a:lstStyle/>
                <a:p>
                  <a:endParaRPr lang="en-GB"/>
                </a:p>
              </p:txBody>
            </p:sp>
            <p:sp>
              <p:nvSpPr>
                <p:cNvPr id="3556" name="Vrije vorm: vorm 3555">
                  <a:extLst>
                    <a:ext uri="{FF2B5EF4-FFF2-40B4-BE49-F238E27FC236}">
                      <a16:creationId xmlns:a16="http://schemas.microsoft.com/office/drawing/2014/main" id="{92B82D09-67CE-4F90-860E-CA4B710C698E}"/>
                    </a:ext>
                  </a:extLst>
                </p:cNvPr>
                <p:cNvSpPr/>
                <p:nvPr/>
              </p:nvSpPr>
              <p:spPr>
                <a:xfrm>
                  <a:off x="5748217" y="1737327"/>
                  <a:ext cx="18288" cy="18466"/>
                </a:xfrm>
                <a:custGeom>
                  <a:avLst/>
                  <a:gdLst>
                    <a:gd name="connsiteX0" fmla="*/ 18235 w 18288"/>
                    <a:gd name="connsiteY0" fmla="*/ 8246 h 18466"/>
                    <a:gd name="connsiteX1" fmla="*/ 10161 w 18288"/>
                    <a:gd name="connsiteY1" fmla="*/ 18413 h 18466"/>
                    <a:gd name="connsiteX2" fmla="*/ 53 w 18288"/>
                    <a:gd name="connsiteY2" fmla="*/ 10220 h 18466"/>
                    <a:gd name="connsiteX3" fmla="*/ 8128 w 18288"/>
                    <a:gd name="connsiteY3" fmla="*/ 53 h 18466"/>
                    <a:gd name="connsiteX4" fmla="*/ 18235 w 18288"/>
                    <a:gd name="connsiteY4" fmla="*/ 82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6">
                      <a:moveTo>
                        <a:pt x="18235" y="8246"/>
                      </a:moveTo>
                      <a:cubicBezTo>
                        <a:pt x="18773" y="13330"/>
                        <a:pt x="15185" y="17875"/>
                        <a:pt x="10161" y="18413"/>
                      </a:cubicBezTo>
                      <a:cubicBezTo>
                        <a:pt x="5137" y="18952"/>
                        <a:pt x="592" y="15303"/>
                        <a:pt x="53" y="10220"/>
                      </a:cubicBezTo>
                      <a:cubicBezTo>
                        <a:pt x="-485" y="5136"/>
                        <a:pt x="3104" y="591"/>
                        <a:pt x="8128" y="53"/>
                      </a:cubicBezTo>
                      <a:cubicBezTo>
                        <a:pt x="13091" y="-486"/>
                        <a:pt x="17637" y="3163"/>
                        <a:pt x="18235" y="8246"/>
                      </a:cubicBezTo>
                      <a:close/>
                    </a:path>
                  </a:pathLst>
                </a:custGeom>
                <a:grpFill/>
                <a:ln w="5978" cap="flat">
                  <a:noFill/>
                  <a:prstDash val="solid"/>
                  <a:miter/>
                </a:ln>
              </p:spPr>
              <p:txBody>
                <a:bodyPr rtlCol="0" anchor="ctr"/>
                <a:lstStyle/>
                <a:p>
                  <a:endParaRPr lang="en-GB"/>
                </a:p>
              </p:txBody>
            </p:sp>
            <p:sp>
              <p:nvSpPr>
                <p:cNvPr id="3557" name="Vrije vorm: vorm 3556">
                  <a:extLst>
                    <a:ext uri="{FF2B5EF4-FFF2-40B4-BE49-F238E27FC236}">
                      <a16:creationId xmlns:a16="http://schemas.microsoft.com/office/drawing/2014/main" id="{3FADEA22-AE21-4D00-817C-38BE1A2A0B78}"/>
                    </a:ext>
                  </a:extLst>
                </p:cNvPr>
                <p:cNvSpPr/>
                <p:nvPr/>
              </p:nvSpPr>
              <p:spPr>
                <a:xfrm>
                  <a:off x="5676139" y="1092905"/>
                  <a:ext cx="18309" cy="18466"/>
                </a:xfrm>
                <a:custGeom>
                  <a:avLst/>
                  <a:gdLst>
                    <a:gd name="connsiteX0" fmla="*/ 18245 w 18309"/>
                    <a:gd name="connsiteY0" fmla="*/ 8246 h 18466"/>
                    <a:gd name="connsiteX1" fmla="*/ 8138 w 18309"/>
                    <a:gd name="connsiteY1" fmla="*/ 53 h 18466"/>
                    <a:gd name="connsiteX2" fmla="*/ 64 w 18309"/>
                    <a:gd name="connsiteY2" fmla="*/ 10220 h 18466"/>
                    <a:gd name="connsiteX3" fmla="*/ 10172 w 18309"/>
                    <a:gd name="connsiteY3" fmla="*/ 18413 h 18466"/>
                    <a:gd name="connsiteX4" fmla="*/ 18245 w 18309"/>
                    <a:gd name="connsiteY4" fmla="*/ 82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6">
                      <a:moveTo>
                        <a:pt x="18245" y="8246"/>
                      </a:moveTo>
                      <a:cubicBezTo>
                        <a:pt x="17707" y="3163"/>
                        <a:pt x="13162" y="-486"/>
                        <a:pt x="8138" y="53"/>
                      </a:cubicBezTo>
                      <a:cubicBezTo>
                        <a:pt x="3114" y="591"/>
                        <a:pt x="-534" y="5136"/>
                        <a:pt x="64" y="10220"/>
                      </a:cubicBezTo>
                      <a:cubicBezTo>
                        <a:pt x="602" y="15304"/>
                        <a:pt x="5148" y="18952"/>
                        <a:pt x="10172" y="18413"/>
                      </a:cubicBezTo>
                      <a:cubicBezTo>
                        <a:pt x="15195" y="17875"/>
                        <a:pt x="18844" y="13330"/>
                        <a:pt x="18245" y="8246"/>
                      </a:cubicBezTo>
                      <a:close/>
                    </a:path>
                  </a:pathLst>
                </a:custGeom>
                <a:grpFill/>
                <a:ln w="5978" cap="flat">
                  <a:noFill/>
                  <a:prstDash val="solid"/>
                  <a:miter/>
                </a:ln>
              </p:spPr>
              <p:txBody>
                <a:bodyPr rtlCol="0" anchor="ctr"/>
                <a:lstStyle/>
                <a:p>
                  <a:endParaRPr lang="en-GB"/>
                </a:p>
              </p:txBody>
            </p:sp>
          </p:grpSp>
          <p:grpSp>
            <p:nvGrpSpPr>
              <p:cNvPr id="612" name="Graphic 3">
                <a:extLst>
                  <a:ext uri="{FF2B5EF4-FFF2-40B4-BE49-F238E27FC236}">
                    <a16:creationId xmlns:a16="http://schemas.microsoft.com/office/drawing/2014/main" id="{D5A9CABD-D139-4D99-B0D7-568993C3356A}"/>
                  </a:ext>
                </a:extLst>
              </p:cNvPr>
              <p:cNvGrpSpPr/>
              <p:nvPr/>
            </p:nvGrpSpPr>
            <p:grpSpPr>
              <a:xfrm>
                <a:off x="5604666" y="1177060"/>
                <a:ext cx="20512" cy="29636"/>
                <a:chOff x="5604666" y="1177060"/>
                <a:chExt cx="20512" cy="29636"/>
              </a:xfrm>
              <a:grpFill/>
            </p:grpSpPr>
            <p:sp>
              <p:nvSpPr>
                <p:cNvPr id="3553" name="Vrije vorm: vorm 3552">
                  <a:extLst>
                    <a:ext uri="{FF2B5EF4-FFF2-40B4-BE49-F238E27FC236}">
                      <a16:creationId xmlns:a16="http://schemas.microsoft.com/office/drawing/2014/main" id="{F3DC00BA-D3DC-40B9-90DC-64EEEDC79FB8}"/>
                    </a:ext>
                  </a:extLst>
                </p:cNvPr>
                <p:cNvSpPr/>
                <p:nvPr/>
              </p:nvSpPr>
              <p:spPr>
                <a:xfrm>
                  <a:off x="5606879" y="1188225"/>
                  <a:ext cx="18299" cy="18471"/>
                </a:xfrm>
                <a:custGeom>
                  <a:avLst/>
                  <a:gdLst>
                    <a:gd name="connsiteX0" fmla="*/ 187 w 18299"/>
                    <a:gd name="connsiteY0" fmla="*/ 11010 h 18471"/>
                    <a:gd name="connsiteX1" fmla="*/ 7364 w 18299"/>
                    <a:gd name="connsiteY1" fmla="*/ 185 h 18471"/>
                    <a:gd name="connsiteX2" fmla="*/ 18129 w 18299"/>
                    <a:gd name="connsiteY2" fmla="*/ 7481 h 18471"/>
                    <a:gd name="connsiteX3" fmla="*/ 10952 w 18299"/>
                    <a:gd name="connsiteY3" fmla="*/ 18306 h 18471"/>
                    <a:gd name="connsiteX4" fmla="*/ 187 w 18299"/>
                    <a:gd name="connsiteY4" fmla="*/ 11010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71">
                      <a:moveTo>
                        <a:pt x="187" y="11010"/>
                      </a:moveTo>
                      <a:cubicBezTo>
                        <a:pt x="-830" y="6046"/>
                        <a:pt x="2400" y="1201"/>
                        <a:pt x="7364" y="185"/>
                      </a:cubicBezTo>
                      <a:cubicBezTo>
                        <a:pt x="12328" y="-832"/>
                        <a:pt x="17172" y="2457"/>
                        <a:pt x="18129" y="7481"/>
                      </a:cubicBezTo>
                      <a:cubicBezTo>
                        <a:pt x="19086" y="12505"/>
                        <a:pt x="15916" y="17289"/>
                        <a:pt x="10952" y="18306"/>
                      </a:cubicBezTo>
                      <a:cubicBezTo>
                        <a:pt x="5988" y="19263"/>
                        <a:pt x="1144" y="15974"/>
                        <a:pt x="187" y="11010"/>
                      </a:cubicBezTo>
                      <a:close/>
                    </a:path>
                  </a:pathLst>
                </a:custGeom>
                <a:grpFill/>
                <a:ln w="5978" cap="flat">
                  <a:noFill/>
                  <a:prstDash val="solid"/>
                  <a:miter/>
                </a:ln>
              </p:spPr>
              <p:txBody>
                <a:bodyPr rtlCol="0" anchor="ctr"/>
                <a:lstStyle/>
                <a:p>
                  <a:endParaRPr lang="en-GB"/>
                </a:p>
              </p:txBody>
            </p:sp>
            <p:sp>
              <p:nvSpPr>
                <p:cNvPr id="3554" name="Vrije vorm: vorm 3553">
                  <a:extLst>
                    <a:ext uri="{FF2B5EF4-FFF2-40B4-BE49-F238E27FC236}">
                      <a16:creationId xmlns:a16="http://schemas.microsoft.com/office/drawing/2014/main" id="{EBD0B915-316C-413F-B7E0-F0D28A81D119}"/>
                    </a:ext>
                  </a:extLst>
                </p:cNvPr>
                <p:cNvSpPr/>
                <p:nvPr/>
              </p:nvSpPr>
              <p:spPr>
                <a:xfrm>
                  <a:off x="5604666" y="1177060"/>
                  <a:ext cx="18316" cy="18452"/>
                </a:xfrm>
                <a:custGeom>
                  <a:avLst/>
                  <a:gdLst>
                    <a:gd name="connsiteX0" fmla="*/ 187 w 18316"/>
                    <a:gd name="connsiteY0" fmla="*/ 10991 h 18452"/>
                    <a:gd name="connsiteX1" fmla="*/ 10952 w 18316"/>
                    <a:gd name="connsiteY1" fmla="*/ 18287 h 18452"/>
                    <a:gd name="connsiteX2" fmla="*/ 18129 w 18316"/>
                    <a:gd name="connsiteY2" fmla="*/ 7462 h 18452"/>
                    <a:gd name="connsiteX3" fmla="*/ 7364 w 18316"/>
                    <a:gd name="connsiteY3" fmla="*/ 166 h 18452"/>
                    <a:gd name="connsiteX4" fmla="*/ 187 w 18316"/>
                    <a:gd name="connsiteY4" fmla="*/ 1099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2">
                      <a:moveTo>
                        <a:pt x="187" y="10991"/>
                      </a:moveTo>
                      <a:cubicBezTo>
                        <a:pt x="1144" y="15955"/>
                        <a:pt x="5988" y="19244"/>
                        <a:pt x="10952" y="18287"/>
                      </a:cubicBezTo>
                      <a:cubicBezTo>
                        <a:pt x="15916" y="17330"/>
                        <a:pt x="19146" y="12486"/>
                        <a:pt x="18129" y="7462"/>
                      </a:cubicBezTo>
                      <a:cubicBezTo>
                        <a:pt x="17172" y="2498"/>
                        <a:pt x="12328" y="-791"/>
                        <a:pt x="7364" y="166"/>
                      </a:cubicBezTo>
                      <a:cubicBezTo>
                        <a:pt x="2400" y="1182"/>
                        <a:pt x="-830" y="6027"/>
                        <a:pt x="187" y="10991"/>
                      </a:cubicBezTo>
                      <a:close/>
                    </a:path>
                  </a:pathLst>
                </a:custGeom>
                <a:grpFill/>
                <a:ln w="5978" cap="flat">
                  <a:noFill/>
                  <a:prstDash val="solid"/>
                  <a:miter/>
                </a:ln>
              </p:spPr>
              <p:txBody>
                <a:bodyPr rtlCol="0" anchor="ctr"/>
                <a:lstStyle/>
                <a:p>
                  <a:endParaRPr lang="en-GB"/>
                </a:p>
              </p:txBody>
            </p:sp>
          </p:grpSp>
          <p:grpSp>
            <p:nvGrpSpPr>
              <p:cNvPr id="613" name="Graphic 3">
                <a:extLst>
                  <a:ext uri="{FF2B5EF4-FFF2-40B4-BE49-F238E27FC236}">
                    <a16:creationId xmlns:a16="http://schemas.microsoft.com/office/drawing/2014/main" id="{D954CF97-3FD3-411F-970F-A51B64F77B55}"/>
                  </a:ext>
                </a:extLst>
              </p:cNvPr>
              <p:cNvGrpSpPr/>
              <p:nvPr/>
            </p:nvGrpSpPr>
            <p:grpSpPr>
              <a:xfrm>
                <a:off x="6857506" y="4889990"/>
                <a:ext cx="51094" cy="78290"/>
                <a:chOff x="6857506" y="4889990"/>
                <a:chExt cx="51094" cy="78290"/>
              </a:xfrm>
              <a:grpFill/>
            </p:grpSpPr>
            <p:sp>
              <p:nvSpPr>
                <p:cNvPr id="3550" name="Vrije vorm: vorm 3549">
                  <a:extLst>
                    <a:ext uri="{FF2B5EF4-FFF2-40B4-BE49-F238E27FC236}">
                      <a16:creationId xmlns:a16="http://schemas.microsoft.com/office/drawing/2014/main" id="{20632D33-FDB4-4C2D-B64C-6F2745B9AF0A}"/>
                    </a:ext>
                  </a:extLst>
                </p:cNvPr>
                <p:cNvSpPr/>
                <p:nvPr/>
              </p:nvSpPr>
              <p:spPr>
                <a:xfrm>
                  <a:off x="6865051" y="4898072"/>
                  <a:ext cx="35944" cy="62139"/>
                </a:xfrm>
                <a:custGeom>
                  <a:avLst/>
                  <a:gdLst>
                    <a:gd name="connsiteX0" fmla="*/ 35944 w 35944"/>
                    <a:gd name="connsiteY0" fmla="*/ 60644 h 62139"/>
                    <a:gd name="connsiteX1" fmla="*/ 33252 w 35944"/>
                    <a:gd name="connsiteY1" fmla="*/ 62139 h 62139"/>
                    <a:gd name="connsiteX2" fmla="*/ 0 w 35944"/>
                    <a:gd name="connsiteY2" fmla="*/ 1435 h 62139"/>
                    <a:gd name="connsiteX3" fmla="*/ 2691 w 35944"/>
                    <a:gd name="connsiteY3" fmla="*/ 0 h 62139"/>
                  </a:gdLst>
                  <a:ahLst/>
                  <a:cxnLst>
                    <a:cxn ang="0">
                      <a:pos x="connsiteX0" y="connsiteY0"/>
                    </a:cxn>
                    <a:cxn ang="0">
                      <a:pos x="connsiteX1" y="connsiteY1"/>
                    </a:cxn>
                    <a:cxn ang="0">
                      <a:pos x="connsiteX2" y="connsiteY2"/>
                    </a:cxn>
                    <a:cxn ang="0">
                      <a:pos x="connsiteX3" y="connsiteY3"/>
                    </a:cxn>
                  </a:cxnLst>
                  <a:rect l="l" t="t" r="r" b="b"/>
                  <a:pathLst>
                    <a:path w="35944" h="62139">
                      <a:moveTo>
                        <a:pt x="35944" y="60644"/>
                      </a:moveTo>
                      <a:lnTo>
                        <a:pt x="33252" y="62139"/>
                      </a:lnTo>
                      <a:lnTo>
                        <a:pt x="0" y="1435"/>
                      </a:lnTo>
                      <a:lnTo>
                        <a:pt x="2691" y="0"/>
                      </a:lnTo>
                      <a:close/>
                    </a:path>
                  </a:pathLst>
                </a:custGeom>
                <a:grpFill/>
                <a:ln w="5978" cap="flat">
                  <a:noFill/>
                  <a:prstDash val="solid"/>
                  <a:miter/>
                </a:ln>
              </p:spPr>
              <p:txBody>
                <a:bodyPr rtlCol="0" anchor="ctr"/>
                <a:lstStyle/>
                <a:p>
                  <a:endParaRPr lang="en-GB"/>
                </a:p>
              </p:txBody>
            </p:sp>
            <p:sp>
              <p:nvSpPr>
                <p:cNvPr id="3551" name="Vrije vorm: vorm 3550">
                  <a:extLst>
                    <a:ext uri="{FF2B5EF4-FFF2-40B4-BE49-F238E27FC236}">
                      <a16:creationId xmlns:a16="http://schemas.microsoft.com/office/drawing/2014/main" id="{32566E7F-5EC5-4F9F-84A2-5F534C362597}"/>
                    </a:ext>
                  </a:extLst>
                </p:cNvPr>
                <p:cNvSpPr/>
                <p:nvPr/>
              </p:nvSpPr>
              <p:spPr>
                <a:xfrm>
                  <a:off x="6890280" y="4949857"/>
                  <a:ext cx="18320" cy="18423"/>
                </a:xfrm>
                <a:custGeom>
                  <a:avLst/>
                  <a:gdLst>
                    <a:gd name="connsiteX0" fmla="*/ 17174 w 18320"/>
                    <a:gd name="connsiteY0" fmla="*/ 4792 h 18423"/>
                    <a:gd name="connsiteX1" fmla="*/ 13586 w 18320"/>
                    <a:gd name="connsiteY1" fmla="*/ 17292 h 18423"/>
                    <a:gd name="connsiteX2" fmla="*/ 1146 w 18320"/>
                    <a:gd name="connsiteY2" fmla="*/ 13644 h 18423"/>
                    <a:gd name="connsiteX3" fmla="*/ 4735 w 18320"/>
                    <a:gd name="connsiteY3" fmla="*/ 1144 h 18423"/>
                    <a:gd name="connsiteX4" fmla="*/ 17174 w 18320"/>
                    <a:gd name="connsiteY4" fmla="*/ 47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17174" y="4792"/>
                      </a:moveTo>
                      <a:cubicBezTo>
                        <a:pt x="19626" y="9278"/>
                        <a:pt x="18012" y="14840"/>
                        <a:pt x="13586" y="17292"/>
                      </a:cubicBezTo>
                      <a:cubicBezTo>
                        <a:pt x="9160" y="19744"/>
                        <a:pt x="3598" y="18070"/>
                        <a:pt x="1146" y="13644"/>
                      </a:cubicBezTo>
                      <a:cubicBezTo>
                        <a:pt x="-1306" y="9158"/>
                        <a:pt x="309" y="3596"/>
                        <a:pt x="4735" y="1144"/>
                      </a:cubicBezTo>
                      <a:cubicBezTo>
                        <a:pt x="9160" y="-1308"/>
                        <a:pt x="14722" y="307"/>
                        <a:pt x="17174" y="4792"/>
                      </a:cubicBezTo>
                      <a:close/>
                    </a:path>
                  </a:pathLst>
                </a:custGeom>
                <a:grpFill/>
                <a:ln w="5978" cap="flat">
                  <a:noFill/>
                  <a:prstDash val="solid"/>
                  <a:miter/>
                </a:ln>
              </p:spPr>
              <p:txBody>
                <a:bodyPr rtlCol="0" anchor="ctr"/>
                <a:lstStyle/>
                <a:p>
                  <a:endParaRPr lang="en-GB"/>
                </a:p>
              </p:txBody>
            </p:sp>
            <p:sp>
              <p:nvSpPr>
                <p:cNvPr id="3552" name="Vrije vorm: vorm 3551">
                  <a:extLst>
                    <a:ext uri="{FF2B5EF4-FFF2-40B4-BE49-F238E27FC236}">
                      <a16:creationId xmlns:a16="http://schemas.microsoft.com/office/drawing/2014/main" id="{121B0080-AEE7-4F0D-8006-E132027DFC6E}"/>
                    </a:ext>
                  </a:extLst>
                </p:cNvPr>
                <p:cNvSpPr/>
                <p:nvPr/>
              </p:nvSpPr>
              <p:spPr>
                <a:xfrm>
                  <a:off x="6857506" y="4889990"/>
                  <a:ext cx="18293" cy="18436"/>
                </a:xfrm>
                <a:custGeom>
                  <a:avLst/>
                  <a:gdLst>
                    <a:gd name="connsiteX0" fmla="*/ 17174 w 18293"/>
                    <a:gd name="connsiteY0" fmla="*/ 4792 h 18436"/>
                    <a:gd name="connsiteX1" fmla="*/ 4734 w 18293"/>
                    <a:gd name="connsiteY1" fmla="*/ 1144 h 18436"/>
                    <a:gd name="connsiteX2" fmla="*/ 1146 w 18293"/>
                    <a:gd name="connsiteY2" fmla="*/ 13644 h 18436"/>
                    <a:gd name="connsiteX3" fmla="*/ 13586 w 18293"/>
                    <a:gd name="connsiteY3" fmla="*/ 17292 h 18436"/>
                    <a:gd name="connsiteX4" fmla="*/ 17174 w 18293"/>
                    <a:gd name="connsiteY4" fmla="*/ 47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36">
                      <a:moveTo>
                        <a:pt x="17174" y="4792"/>
                      </a:moveTo>
                      <a:cubicBezTo>
                        <a:pt x="14722" y="307"/>
                        <a:pt x="9160" y="-1308"/>
                        <a:pt x="4734" y="1144"/>
                      </a:cubicBezTo>
                      <a:cubicBezTo>
                        <a:pt x="308" y="3596"/>
                        <a:pt x="-1306" y="9158"/>
                        <a:pt x="1146" y="13644"/>
                      </a:cubicBezTo>
                      <a:cubicBezTo>
                        <a:pt x="3598" y="18129"/>
                        <a:pt x="9160" y="19744"/>
                        <a:pt x="13586" y="17292"/>
                      </a:cubicBezTo>
                      <a:cubicBezTo>
                        <a:pt x="18012" y="14840"/>
                        <a:pt x="19567" y="9218"/>
                        <a:pt x="17174" y="4792"/>
                      </a:cubicBezTo>
                      <a:close/>
                    </a:path>
                  </a:pathLst>
                </a:custGeom>
                <a:grpFill/>
                <a:ln w="5978" cap="flat">
                  <a:noFill/>
                  <a:prstDash val="solid"/>
                  <a:miter/>
                </a:ln>
              </p:spPr>
              <p:txBody>
                <a:bodyPr rtlCol="0" anchor="ctr"/>
                <a:lstStyle/>
                <a:p>
                  <a:endParaRPr lang="en-GB"/>
                </a:p>
              </p:txBody>
            </p:sp>
          </p:grpSp>
          <p:grpSp>
            <p:nvGrpSpPr>
              <p:cNvPr id="614" name="Graphic 3">
                <a:extLst>
                  <a:ext uri="{FF2B5EF4-FFF2-40B4-BE49-F238E27FC236}">
                    <a16:creationId xmlns:a16="http://schemas.microsoft.com/office/drawing/2014/main" id="{D5F6875D-E6C2-461A-B034-027DFBAE19CC}"/>
                  </a:ext>
                </a:extLst>
              </p:cNvPr>
              <p:cNvGrpSpPr/>
              <p:nvPr/>
            </p:nvGrpSpPr>
            <p:grpSpPr>
              <a:xfrm>
                <a:off x="6875517" y="4991863"/>
                <a:ext cx="70486" cy="118065"/>
                <a:chOff x="6875517" y="4991863"/>
                <a:chExt cx="70486" cy="118065"/>
              </a:xfrm>
              <a:grpFill/>
            </p:grpSpPr>
            <p:sp>
              <p:nvSpPr>
                <p:cNvPr id="3547" name="Vrije vorm: vorm 3546">
                  <a:extLst>
                    <a:ext uri="{FF2B5EF4-FFF2-40B4-BE49-F238E27FC236}">
                      <a16:creationId xmlns:a16="http://schemas.microsoft.com/office/drawing/2014/main" id="{A53913C4-E14B-4772-B902-44ACADF88D7F}"/>
                    </a:ext>
                  </a:extLst>
                </p:cNvPr>
                <p:cNvSpPr/>
                <p:nvPr/>
              </p:nvSpPr>
              <p:spPr>
                <a:xfrm>
                  <a:off x="6883113" y="4999983"/>
                  <a:ext cx="55261" cy="101851"/>
                </a:xfrm>
                <a:custGeom>
                  <a:avLst/>
                  <a:gdLst>
                    <a:gd name="connsiteX0" fmla="*/ 55262 w 55261"/>
                    <a:gd name="connsiteY0" fmla="*/ 100416 h 101851"/>
                    <a:gd name="connsiteX1" fmla="*/ 52570 w 55261"/>
                    <a:gd name="connsiteY1" fmla="*/ 101852 h 101851"/>
                    <a:gd name="connsiteX2" fmla="*/ 0 w 55261"/>
                    <a:gd name="connsiteY2" fmla="*/ 1435 h 101851"/>
                    <a:gd name="connsiteX3" fmla="*/ 2691 w 55261"/>
                    <a:gd name="connsiteY3" fmla="*/ 0 h 101851"/>
                  </a:gdLst>
                  <a:ahLst/>
                  <a:cxnLst>
                    <a:cxn ang="0">
                      <a:pos x="connsiteX0" y="connsiteY0"/>
                    </a:cxn>
                    <a:cxn ang="0">
                      <a:pos x="connsiteX1" y="connsiteY1"/>
                    </a:cxn>
                    <a:cxn ang="0">
                      <a:pos x="connsiteX2" y="connsiteY2"/>
                    </a:cxn>
                    <a:cxn ang="0">
                      <a:pos x="connsiteX3" y="connsiteY3"/>
                    </a:cxn>
                  </a:cxnLst>
                  <a:rect l="l" t="t" r="r" b="b"/>
                  <a:pathLst>
                    <a:path w="55261" h="101851">
                      <a:moveTo>
                        <a:pt x="55262" y="100416"/>
                      </a:moveTo>
                      <a:lnTo>
                        <a:pt x="52570" y="101852"/>
                      </a:lnTo>
                      <a:lnTo>
                        <a:pt x="0" y="1435"/>
                      </a:lnTo>
                      <a:lnTo>
                        <a:pt x="2691" y="0"/>
                      </a:lnTo>
                      <a:close/>
                    </a:path>
                  </a:pathLst>
                </a:custGeom>
                <a:grpFill/>
                <a:ln w="5978" cap="flat">
                  <a:noFill/>
                  <a:prstDash val="solid"/>
                  <a:miter/>
                </a:ln>
              </p:spPr>
              <p:txBody>
                <a:bodyPr rtlCol="0" anchor="ctr"/>
                <a:lstStyle/>
                <a:p>
                  <a:endParaRPr lang="en-GB"/>
                </a:p>
              </p:txBody>
            </p:sp>
            <p:sp>
              <p:nvSpPr>
                <p:cNvPr id="3548" name="Vrije vorm: vorm 3547">
                  <a:extLst>
                    <a:ext uri="{FF2B5EF4-FFF2-40B4-BE49-F238E27FC236}">
                      <a16:creationId xmlns:a16="http://schemas.microsoft.com/office/drawing/2014/main" id="{5AC6454A-8219-4B8F-B70D-69A4DC95C2F0}"/>
                    </a:ext>
                  </a:extLst>
                </p:cNvPr>
                <p:cNvSpPr/>
                <p:nvPr/>
              </p:nvSpPr>
              <p:spPr>
                <a:xfrm>
                  <a:off x="6927696" y="5091490"/>
                  <a:ext cx="18307" cy="18438"/>
                </a:xfrm>
                <a:custGeom>
                  <a:avLst/>
                  <a:gdLst>
                    <a:gd name="connsiteX0" fmla="*/ 17258 w 18307"/>
                    <a:gd name="connsiteY0" fmla="*/ 4962 h 18438"/>
                    <a:gd name="connsiteX1" fmla="*/ 13430 w 18307"/>
                    <a:gd name="connsiteY1" fmla="*/ 17402 h 18438"/>
                    <a:gd name="connsiteX2" fmla="*/ 1050 w 18307"/>
                    <a:gd name="connsiteY2" fmla="*/ 13515 h 18438"/>
                    <a:gd name="connsiteX3" fmla="*/ 4877 w 18307"/>
                    <a:gd name="connsiteY3" fmla="*/ 1075 h 18438"/>
                    <a:gd name="connsiteX4" fmla="*/ 17258 w 18307"/>
                    <a:gd name="connsiteY4" fmla="*/ 496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17258" y="4962"/>
                      </a:moveTo>
                      <a:cubicBezTo>
                        <a:pt x="19590" y="9448"/>
                        <a:pt x="17915" y="15010"/>
                        <a:pt x="13430" y="17402"/>
                      </a:cubicBezTo>
                      <a:cubicBezTo>
                        <a:pt x="8944" y="19734"/>
                        <a:pt x="3382" y="18000"/>
                        <a:pt x="1050" y="13515"/>
                      </a:cubicBezTo>
                      <a:cubicBezTo>
                        <a:pt x="-1283" y="9029"/>
                        <a:pt x="392" y="3467"/>
                        <a:pt x="4877" y="1075"/>
                      </a:cubicBezTo>
                      <a:cubicBezTo>
                        <a:pt x="9303" y="-1318"/>
                        <a:pt x="14865" y="417"/>
                        <a:pt x="17258" y="4962"/>
                      </a:cubicBezTo>
                      <a:close/>
                    </a:path>
                  </a:pathLst>
                </a:custGeom>
                <a:grpFill/>
                <a:ln w="5978" cap="flat">
                  <a:noFill/>
                  <a:prstDash val="solid"/>
                  <a:miter/>
                </a:ln>
              </p:spPr>
              <p:txBody>
                <a:bodyPr rtlCol="0" anchor="ctr"/>
                <a:lstStyle/>
                <a:p>
                  <a:endParaRPr lang="en-GB"/>
                </a:p>
              </p:txBody>
            </p:sp>
            <p:sp>
              <p:nvSpPr>
                <p:cNvPr id="3549" name="Vrije vorm: vorm 3548">
                  <a:extLst>
                    <a:ext uri="{FF2B5EF4-FFF2-40B4-BE49-F238E27FC236}">
                      <a16:creationId xmlns:a16="http://schemas.microsoft.com/office/drawing/2014/main" id="{BD621ACD-3230-49B9-B732-6DB4E32C39FE}"/>
                    </a:ext>
                  </a:extLst>
                </p:cNvPr>
                <p:cNvSpPr/>
                <p:nvPr/>
              </p:nvSpPr>
              <p:spPr>
                <a:xfrm>
                  <a:off x="6875517" y="4991863"/>
                  <a:ext cx="18322" cy="18453"/>
                </a:xfrm>
                <a:custGeom>
                  <a:avLst/>
                  <a:gdLst>
                    <a:gd name="connsiteX0" fmla="*/ 17285 w 18322"/>
                    <a:gd name="connsiteY0" fmla="*/ 4951 h 18453"/>
                    <a:gd name="connsiteX1" fmla="*/ 4904 w 18322"/>
                    <a:gd name="connsiteY1" fmla="*/ 1063 h 18453"/>
                    <a:gd name="connsiteX2" fmla="*/ 1076 w 18322"/>
                    <a:gd name="connsiteY2" fmla="*/ 13503 h 18453"/>
                    <a:gd name="connsiteX3" fmla="*/ 13457 w 18322"/>
                    <a:gd name="connsiteY3" fmla="*/ 17390 h 18453"/>
                    <a:gd name="connsiteX4" fmla="*/ 17285 w 18322"/>
                    <a:gd name="connsiteY4" fmla="*/ 495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7285" y="4951"/>
                      </a:moveTo>
                      <a:cubicBezTo>
                        <a:pt x="14952" y="465"/>
                        <a:pt x="9390" y="-1329"/>
                        <a:pt x="4904" y="1063"/>
                      </a:cubicBezTo>
                      <a:cubicBezTo>
                        <a:pt x="419" y="3396"/>
                        <a:pt x="-1316" y="8958"/>
                        <a:pt x="1076" y="13503"/>
                      </a:cubicBezTo>
                      <a:cubicBezTo>
                        <a:pt x="3409" y="17989"/>
                        <a:pt x="8971" y="19783"/>
                        <a:pt x="13457" y="17390"/>
                      </a:cubicBezTo>
                      <a:cubicBezTo>
                        <a:pt x="17883" y="15058"/>
                        <a:pt x="19616" y="9496"/>
                        <a:pt x="17285" y="4951"/>
                      </a:cubicBezTo>
                      <a:close/>
                    </a:path>
                  </a:pathLst>
                </a:custGeom>
                <a:grpFill/>
                <a:ln w="5978" cap="flat">
                  <a:noFill/>
                  <a:prstDash val="solid"/>
                  <a:miter/>
                </a:ln>
              </p:spPr>
              <p:txBody>
                <a:bodyPr rtlCol="0" anchor="ctr"/>
                <a:lstStyle/>
                <a:p>
                  <a:endParaRPr lang="en-GB"/>
                </a:p>
              </p:txBody>
            </p:sp>
          </p:grpSp>
          <p:grpSp>
            <p:nvGrpSpPr>
              <p:cNvPr id="615" name="Graphic 3">
                <a:extLst>
                  <a:ext uri="{FF2B5EF4-FFF2-40B4-BE49-F238E27FC236}">
                    <a16:creationId xmlns:a16="http://schemas.microsoft.com/office/drawing/2014/main" id="{8A9FB1DE-8BFF-43D9-B965-1916824301A4}"/>
                  </a:ext>
                </a:extLst>
              </p:cNvPr>
              <p:cNvGrpSpPr/>
              <p:nvPr/>
            </p:nvGrpSpPr>
            <p:grpSpPr>
              <a:xfrm>
                <a:off x="6828000" y="4902954"/>
                <a:ext cx="169434" cy="387028"/>
                <a:chOff x="6828000" y="4902954"/>
                <a:chExt cx="169434" cy="387028"/>
              </a:xfrm>
              <a:grpFill/>
            </p:grpSpPr>
            <p:sp>
              <p:nvSpPr>
                <p:cNvPr id="3544" name="Vrije vorm: vorm 3543">
                  <a:extLst>
                    <a:ext uri="{FF2B5EF4-FFF2-40B4-BE49-F238E27FC236}">
                      <a16:creationId xmlns:a16="http://schemas.microsoft.com/office/drawing/2014/main" id="{80176387-A781-4AF5-BE74-D153D755E5AF}"/>
                    </a:ext>
                  </a:extLst>
                </p:cNvPr>
                <p:cNvSpPr/>
                <p:nvPr/>
              </p:nvSpPr>
              <p:spPr>
                <a:xfrm>
                  <a:off x="6835373" y="4910830"/>
                  <a:ext cx="154505" cy="370486"/>
                </a:xfrm>
                <a:custGeom>
                  <a:avLst/>
                  <a:gdLst>
                    <a:gd name="connsiteX0" fmla="*/ 0 w 154505"/>
                    <a:gd name="connsiteY0" fmla="*/ 1159 h 370486"/>
                    <a:gd name="connsiteX1" fmla="*/ 2821 w 154505"/>
                    <a:gd name="connsiteY1" fmla="*/ 0 h 370486"/>
                    <a:gd name="connsiteX2" fmla="*/ 154505 w 154505"/>
                    <a:gd name="connsiteY2" fmla="*/ 369327 h 370486"/>
                    <a:gd name="connsiteX3" fmla="*/ 151684 w 154505"/>
                    <a:gd name="connsiteY3" fmla="*/ 370486 h 370486"/>
                  </a:gdLst>
                  <a:ahLst/>
                  <a:cxnLst>
                    <a:cxn ang="0">
                      <a:pos x="connsiteX0" y="connsiteY0"/>
                    </a:cxn>
                    <a:cxn ang="0">
                      <a:pos x="connsiteX1" y="connsiteY1"/>
                    </a:cxn>
                    <a:cxn ang="0">
                      <a:pos x="connsiteX2" y="connsiteY2"/>
                    </a:cxn>
                    <a:cxn ang="0">
                      <a:pos x="connsiteX3" y="connsiteY3"/>
                    </a:cxn>
                  </a:cxnLst>
                  <a:rect l="l" t="t" r="r" b="b"/>
                  <a:pathLst>
                    <a:path w="154505" h="370486">
                      <a:moveTo>
                        <a:pt x="0" y="1159"/>
                      </a:moveTo>
                      <a:lnTo>
                        <a:pt x="2821" y="0"/>
                      </a:lnTo>
                      <a:lnTo>
                        <a:pt x="154505" y="369327"/>
                      </a:lnTo>
                      <a:lnTo>
                        <a:pt x="151684" y="370486"/>
                      </a:lnTo>
                      <a:close/>
                    </a:path>
                  </a:pathLst>
                </a:custGeom>
                <a:grpFill/>
                <a:ln w="5978" cap="flat">
                  <a:noFill/>
                  <a:prstDash val="solid"/>
                  <a:miter/>
                </a:ln>
              </p:spPr>
              <p:txBody>
                <a:bodyPr rtlCol="0" anchor="ctr"/>
                <a:lstStyle/>
                <a:p>
                  <a:endParaRPr lang="en-GB"/>
                </a:p>
              </p:txBody>
            </p:sp>
            <p:sp>
              <p:nvSpPr>
                <p:cNvPr id="3545" name="Vrije vorm: vorm 3544">
                  <a:extLst>
                    <a:ext uri="{FF2B5EF4-FFF2-40B4-BE49-F238E27FC236}">
                      <a16:creationId xmlns:a16="http://schemas.microsoft.com/office/drawing/2014/main" id="{AF957197-0452-456E-93E2-A266819FBF9D}"/>
                    </a:ext>
                  </a:extLst>
                </p:cNvPr>
                <p:cNvSpPr/>
                <p:nvPr/>
              </p:nvSpPr>
              <p:spPr>
                <a:xfrm>
                  <a:off x="6828000" y="4902954"/>
                  <a:ext cx="18301" cy="18436"/>
                </a:xfrm>
                <a:custGeom>
                  <a:avLst/>
                  <a:gdLst>
                    <a:gd name="connsiteX0" fmla="*/ 688 w 18301"/>
                    <a:gd name="connsiteY0" fmla="*/ 12701 h 18436"/>
                    <a:gd name="connsiteX1" fmla="*/ 5652 w 18301"/>
                    <a:gd name="connsiteY1" fmla="*/ 679 h 18436"/>
                    <a:gd name="connsiteX2" fmla="*/ 17614 w 18301"/>
                    <a:gd name="connsiteY2" fmla="*/ 5703 h 18436"/>
                    <a:gd name="connsiteX3" fmla="*/ 12649 w 18301"/>
                    <a:gd name="connsiteY3" fmla="*/ 17724 h 18436"/>
                    <a:gd name="connsiteX4" fmla="*/ 688 w 18301"/>
                    <a:gd name="connsiteY4" fmla="*/ 127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6">
                      <a:moveTo>
                        <a:pt x="688" y="12701"/>
                      </a:moveTo>
                      <a:cubicBezTo>
                        <a:pt x="-1226" y="7976"/>
                        <a:pt x="987" y="2593"/>
                        <a:pt x="5652" y="679"/>
                      </a:cubicBezTo>
                      <a:cubicBezTo>
                        <a:pt x="10317" y="-1235"/>
                        <a:pt x="15700" y="1038"/>
                        <a:pt x="17614" y="5703"/>
                      </a:cubicBezTo>
                      <a:cubicBezTo>
                        <a:pt x="19527" y="10428"/>
                        <a:pt x="17314" y="15810"/>
                        <a:pt x="12649" y="17724"/>
                      </a:cubicBezTo>
                      <a:cubicBezTo>
                        <a:pt x="7985" y="19698"/>
                        <a:pt x="2602" y="17425"/>
                        <a:pt x="688" y="12701"/>
                      </a:cubicBezTo>
                      <a:close/>
                    </a:path>
                  </a:pathLst>
                </a:custGeom>
                <a:grpFill/>
                <a:ln w="5978" cap="flat">
                  <a:noFill/>
                  <a:prstDash val="solid"/>
                  <a:miter/>
                </a:ln>
              </p:spPr>
              <p:txBody>
                <a:bodyPr rtlCol="0" anchor="ctr"/>
                <a:lstStyle/>
                <a:p>
                  <a:endParaRPr lang="en-GB"/>
                </a:p>
              </p:txBody>
            </p:sp>
            <p:sp>
              <p:nvSpPr>
                <p:cNvPr id="3546" name="Vrije vorm: vorm 3545">
                  <a:extLst>
                    <a:ext uri="{FF2B5EF4-FFF2-40B4-BE49-F238E27FC236}">
                      <a16:creationId xmlns:a16="http://schemas.microsoft.com/office/drawing/2014/main" id="{0294D27F-4F89-4D24-802C-3BA5AF42072A}"/>
                    </a:ext>
                  </a:extLst>
                </p:cNvPr>
                <p:cNvSpPr/>
                <p:nvPr/>
              </p:nvSpPr>
              <p:spPr>
                <a:xfrm>
                  <a:off x="6979133" y="5271513"/>
                  <a:ext cx="18301" cy="18469"/>
                </a:xfrm>
                <a:custGeom>
                  <a:avLst/>
                  <a:gdLst>
                    <a:gd name="connsiteX0" fmla="*/ 688 w 18301"/>
                    <a:gd name="connsiteY0" fmla="*/ 12734 h 18469"/>
                    <a:gd name="connsiteX1" fmla="*/ 12649 w 18301"/>
                    <a:gd name="connsiteY1" fmla="*/ 17757 h 18469"/>
                    <a:gd name="connsiteX2" fmla="*/ 17614 w 18301"/>
                    <a:gd name="connsiteY2" fmla="*/ 5736 h 18469"/>
                    <a:gd name="connsiteX3" fmla="*/ 5652 w 18301"/>
                    <a:gd name="connsiteY3" fmla="*/ 712 h 18469"/>
                    <a:gd name="connsiteX4" fmla="*/ 688 w 18301"/>
                    <a:gd name="connsiteY4" fmla="*/ 12734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9">
                      <a:moveTo>
                        <a:pt x="688" y="12734"/>
                      </a:moveTo>
                      <a:cubicBezTo>
                        <a:pt x="2602" y="17458"/>
                        <a:pt x="7984" y="19731"/>
                        <a:pt x="12649" y="17757"/>
                      </a:cubicBezTo>
                      <a:cubicBezTo>
                        <a:pt x="17315" y="15843"/>
                        <a:pt x="19527" y="10461"/>
                        <a:pt x="17614" y="5736"/>
                      </a:cubicBezTo>
                      <a:cubicBezTo>
                        <a:pt x="15700" y="1011"/>
                        <a:pt x="10317" y="-1261"/>
                        <a:pt x="5652" y="712"/>
                      </a:cubicBezTo>
                      <a:cubicBezTo>
                        <a:pt x="987" y="2626"/>
                        <a:pt x="-1226" y="8009"/>
                        <a:pt x="688" y="12734"/>
                      </a:cubicBezTo>
                      <a:close/>
                    </a:path>
                  </a:pathLst>
                </a:custGeom>
                <a:grpFill/>
                <a:ln w="5978" cap="flat">
                  <a:noFill/>
                  <a:prstDash val="solid"/>
                  <a:miter/>
                </a:ln>
              </p:spPr>
              <p:txBody>
                <a:bodyPr rtlCol="0" anchor="ctr"/>
                <a:lstStyle/>
                <a:p>
                  <a:endParaRPr lang="en-GB"/>
                </a:p>
              </p:txBody>
            </p:sp>
          </p:grpSp>
          <p:grpSp>
            <p:nvGrpSpPr>
              <p:cNvPr id="616" name="Graphic 3">
                <a:extLst>
                  <a:ext uri="{FF2B5EF4-FFF2-40B4-BE49-F238E27FC236}">
                    <a16:creationId xmlns:a16="http://schemas.microsoft.com/office/drawing/2014/main" id="{7CFD283E-B7B0-4CA3-83C2-FF4A16292D64}"/>
                  </a:ext>
                </a:extLst>
              </p:cNvPr>
              <p:cNvGrpSpPr/>
              <p:nvPr/>
            </p:nvGrpSpPr>
            <p:grpSpPr>
              <a:xfrm>
                <a:off x="6919150" y="5153195"/>
                <a:ext cx="77682" cy="137046"/>
                <a:chOff x="6919150" y="5153195"/>
                <a:chExt cx="77682" cy="137046"/>
              </a:xfrm>
              <a:grpFill/>
            </p:grpSpPr>
            <p:sp>
              <p:nvSpPr>
                <p:cNvPr id="3541" name="Vrije vorm: vorm 3540">
                  <a:extLst>
                    <a:ext uri="{FF2B5EF4-FFF2-40B4-BE49-F238E27FC236}">
                      <a16:creationId xmlns:a16="http://schemas.microsoft.com/office/drawing/2014/main" id="{39032886-87B7-47B9-A49E-EBC3C91639CD}"/>
                    </a:ext>
                  </a:extLst>
                </p:cNvPr>
                <p:cNvSpPr/>
                <p:nvPr/>
              </p:nvSpPr>
              <p:spPr>
                <a:xfrm>
                  <a:off x="6926562" y="5160999"/>
                  <a:ext cx="62557" cy="120759"/>
                </a:xfrm>
                <a:custGeom>
                  <a:avLst/>
                  <a:gdLst>
                    <a:gd name="connsiteX0" fmla="*/ 0 w 62557"/>
                    <a:gd name="connsiteY0" fmla="*/ 1367 h 120759"/>
                    <a:gd name="connsiteX1" fmla="*/ 2727 w 62557"/>
                    <a:gd name="connsiteY1" fmla="*/ 0 h 120759"/>
                    <a:gd name="connsiteX2" fmla="*/ 62557 w 62557"/>
                    <a:gd name="connsiteY2" fmla="*/ 119394 h 120759"/>
                    <a:gd name="connsiteX3" fmla="*/ 59830 w 62557"/>
                    <a:gd name="connsiteY3" fmla="*/ 120760 h 120759"/>
                  </a:gdLst>
                  <a:ahLst/>
                  <a:cxnLst>
                    <a:cxn ang="0">
                      <a:pos x="connsiteX0" y="connsiteY0"/>
                    </a:cxn>
                    <a:cxn ang="0">
                      <a:pos x="connsiteX1" y="connsiteY1"/>
                    </a:cxn>
                    <a:cxn ang="0">
                      <a:pos x="connsiteX2" y="connsiteY2"/>
                    </a:cxn>
                    <a:cxn ang="0">
                      <a:pos x="connsiteX3" y="connsiteY3"/>
                    </a:cxn>
                  </a:cxnLst>
                  <a:rect l="l" t="t" r="r" b="b"/>
                  <a:pathLst>
                    <a:path w="62557" h="120759">
                      <a:moveTo>
                        <a:pt x="0" y="1367"/>
                      </a:moveTo>
                      <a:lnTo>
                        <a:pt x="2727" y="0"/>
                      </a:lnTo>
                      <a:lnTo>
                        <a:pt x="62557" y="119394"/>
                      </a:lnTo>
                      <a:lnTo>
                        <a:pt x="59830" y="120760"/>
                      </a:lnTo>
                      <a:close/>
                    </a:path>
                  </a:pathLst>
                </a:custGeom>
                <a:grpFill/>
                <a:ln w="5978" cap="flat">
                  <a:noFill/>
                  <a:prstDash val="solid"/>
                  <a:miter/>
                </a:ln>
              </p:spPr>
              <p:txBody>
                <a:bodyPr rtlCol="0" anchor="ctr"/>
                <a:lstStyle/>
                <a:p>
                  <a:endParaRPr lang="en-GB"/>
                </a:p>
              </p:txBody>
            </p:sp>
            <p:sp>
              <p:nvSpPr>
                <p:cNvPr id="3542" name="Vrije vorm: vorm 3541">
                  <a:extLst>
                    <a:ext uri="{FF2B5EF4-FFF2-40B4-BE49-F238E27FC236}">
                      <a16:creationId xmlns:a16="http://schemas.microsoft.com/office/drawing/2014/main" id="{9E169934-9301-49D4-B1CE-A797722BFFBC}"/>
                    </a:ext>
                  </a:extLst>
                </p:cNvPr>
                <p:cNvSpPr/>
                <p:nvPr/>
              </p:nvSpPr>
              <p:spPr>
                <a:xfrm>
                  <a:off x="6978479" y="5271792"/>
                  <a:ext cx="18353" cy="18449"/>
                </a:xfrm>
                <a:custGeom>
                  <a:avLst/>
                  <a:gdLst>
                    <a:gd name="connsiteX0" fmla="*/ 17371 w 18353"/>
                    <a:gd name="connsiteY0" fmla="*/ 5098 h 18449"/>
                    <a:gd name="connsiteX1" fmla="*/ 13303 w 18353"/>
                    <a:gd name="connsiteY1" fmla="*/ 17478 h 18449"/>
                    <a:gd name="connsiteX2" fmla="*/ 983 w 18353"/>
                    <a:gd name="connsiteY2" fmla="*/ 13351 h 18449"/>
                    <a:gd name="connsiteX3" fmla="*/ 5050 w 18353"/>
                    <a:gd name="connsiteY3" fmla="*/ 971 h 18449"/>
                    <a:gd name="connsiteX4" fmla="*/ 17371 w 18353"/>
                    <a:gd name="connsiteY4" fmla="*/ 509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9">
                      <a:moveTo>
                        <a:pt x="17371" y="5098"/>
                      </a:moveTo>
                      <a:cubicBezTo>
                        <a:pt x="19643" y="9643"/>
                        <a:pt x="17849" y="15205"/>
                        <a:pt x="13303" y="17478"/>
                      </a:cubicBezTo>
                      <a:cubicBezTo>
                        <a:pt x="8758" y="19751"/>
                        <a:pt x="3256" y="17897"/>
                        <a:pt x="983" y="13351"/>
                      </a:cubicBezTo>
                      <a:cubicBezTo>
                        <a:pt x="-1289" y="8806"/>
                        <a:pt x="505" y="3244"/>
                        <a:pt x="5050" y="971"/>
                      </a:cubicBezTo>
                      <a:cubicBezTo>
                        <a:pt x="9595" y="-1302"/>
                        <a:pt x="15098" y="552"/>
                        <a:pt x="17371" y="5098"/>
                      </a:cubicBezTo>
                      <a:close/>
                    </a:path>
                  </a:pathLst>
                </a:custGeom>
                <a:grpFill/>
                <a:ln w="5978" cap="flat">
                  <a:noFill/>
                  <a:prstDash val="solid"/>
                  <a:miter/>
                </a:ln>
              </p:spPr>
              <p:txBody>
                <a:bodyPr rtlCol="0" anchor="ctr"/>
                <a:lstStyle/>
                <a:p>
                  <a:endParaRPr lang="en-GB"/>
                </a:p>
              </p:txBody>
            </p:sp>
            <p:sp>
              <p:nvSpPr>
                <p:cNvPr id="3543" name="Vrije vorm: vorm 3542">
                  <a:extLst>
                    <a:ext uri="{FF2B5EF4-FFF2-40B4-BE49-F238E27FC236}">
                      <a16:creationId xmlns:a16="http://schemas.microsoft.com/office/drawing/2014/main" id="{D123FC2E-AE4C-440C-9C04-BE0B734CC64B}"/>
                    </a:ext>
                  </a:extLst>
                </p:cNvPr>
                <p:cNvSpPr/>
                <p:nvPr/>
              </p:nvSpPr>
              <p:spPr>
                <a:xfrm>
                  <a:off x="6919150" y="5153195"/>
                  <a:ext cx="18343" cy="18448"/>
                </a:xfrm>
                <a:custGeom>
                  <a:avLst/>
                  <a:gdLst>
                    <a:gd name="connsiteX0" fmla="*/ 17370 w 18343"/>
                    <a:gd name="connsiteY0" fmla="*/ 5098 h 18448"/>
                    <a:gd name="connsiteX1" fmla="*/ 5051 w 18343"/>
                    <a:gd name="connsiteY1" fmla="*/ 971 h 18448"/>
                    <a:gd name="connsiteX2" fmla="*/ 983 w 18343"/>
                    <a:gd name="connsiteY2" fmla="*/ 13351 h 18448"/>
                    <a:gd name="connsiteX3" fmla="*/ 13304 w 18343"/>
                    <a:gd name="connsiteY3" fmla="*/ 17478 h 18448"/>
                    <a:gd name="connsiteX4" fmla="*/ 17370 w 18343"/>
                    <a:gd name="connsiteY4" fmla="*/ 50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8">
                      <a:moveTo>
                        <a:pt x="17370" y="5098"/>
                      </a:moveTo>
                      <a:cubicBezTo>
                        <a:pt x="15098" y="552"/>
                        <a:pt x="9596" y="-1302"/>
                        <a:pt x="5051" y="971"/>
                      </a:cubicBezTo>
                      <a:cubicBezTo>
                        <a:pt x="505" y="3244"/>
                        <a:pt x="-1289" y="8746"/>
                        <a:pt x="983" y="13351"/>
                      </a:cubicBezTo>
                      <a:cubicBezTo>
                        <a:pt x="3256" y="17896"/>
                        <a:pt x="8759" y="19750"/>
                        <a:pt x="13304" y="17478"/>
                      </a:cubicBezTo>
                      <a:cubicBezTo>
                        <a:pt x="17790" y="15145"/>
                        <a:pt x="19643" y="9643"/>
                        <a:pt x="17370" y="5098"/>
                      </a:cubicBezTo>
                      <a:close/>
                    </a:path>
                  </a:pathLst>
                </a:custGeom>
                <a:grpFill/>
                <a:ln w="5978" cap="flat">
                  <a:noFill/>
                  <a:prstDash val="solid"/>
                  <a:miter/>
                </a:ln>
              </p:spPr>
              <p:txBody>
                <a:bodyPr rtlCol="0" anchor="ctr"/>
                <a:lstStyle/>
                <a:p>
                  <a:endParaRPr lang="en-GB"/>
                </a:p>
              </p:txBody>
            </p:sp>
          </p:grpSp>
          <p:grpSp>
            <p:nvGrpSpPr>
              <p:cNvPr id="617" name="Graphic 3">
                <a:extLst>
                  <a:ext uri="{FF2B5EF4-FFF2-40B4-BE49-F238E27FC236}">
                    <a16:creationId xmlns:a16="http://schemas.microsoft.com/office/drawing/2014/main" id="{41BF0245-9E06-40EB-AE95-E0F226990E9D}"/>
                  </a:ext>
                </a:extLst>
              </p:cNvPr>
              <p:cNvGrpSpPr/>
              <p:nvPr/>
            </p:nvGrpSpPr>
            <p:grpSpPr>
              <a:xfrm>
                <a:off x="5756472" y="1593553"/>
                <a:ext cx="41670" cy="164884"/>
                <a:chOff x="5756472" y="1593553"/>
                <a:chExt cx="41670" cy="164884"/>
              </a:xfrm>
              <a:grpFill/>
            </p:grpSpPr>
            <p:sp>
              <p:nvSpPr>
                <p:cNvPr id="3538" name="Vrije vorm: vorm 3537">
                  <a:extLst>
                    <a:ext uri="{FF2B5EF4-FFF2-40B4-BE49-F238E27FC236}">
                      <a16:creationId xmlns:a16="http://schemas.microsoft.com/office/drawing/2014/main" id="{64B8B5BF-1ACB-4C45-A36E-74A93B7362DC}"/>
                    </a:ext>
                  </a:extLst>
                </p:cNvPr>
                <p:cNvSpPr/>
                <p:nvPr/>
              </p:nvSpPr>
              <p:spPr>
                <a:xfrm>
                  <a:off x="5764060" y="1602096"/>
                  <a:ext cx="26494" cy="147843"/>
                </a:xfrm>
                <a:custGeom>
                  <a:avLst/>
                  <a:gdLst>
                    <a:gd name="connsiteX0" fmla="*/ 2990 w 26494"/>
                    <a:gd name="connsiteY0" fmla="*/ 0 h 147843"/>
                    <a:gd name="connsiteX1" fmla="*/ 26495 w 26494"/>
                    <a:gd name="connsiteY1" fmla="*/ 147365 h 147843"/>
                    <a:gd name="connsiteX2" fmla="*/ 23504 w 26494"/>
                    <a:gd name="connsiteY2" fmla="*/ 147843 h 147843"/>
                    <a:gd name="connsiteX3" fmla="*/ 0 w 26494"/>
                    <a:gd name="connsiteY3" fmla="*/ 478 h 147843"/>
                  </a:gdLst>
                  <a:ahLst/>
                  <a:cxnLst>
                    <a:cxn ang="0">
                      <a:pos x="connsiteX0" y="connsiteY0"/>
                    </a:cxn>
                    <a:cxn ang="0">
                      <a:pos x="connsiteX1" y="connsiteY1"/>
                    </a:cxn>
                    <a:cxn ang="0">
                      <a:pos x="connsiteX2" y="connsiteY2"/>
                    </a:cxn>
                    <a:cxn ang="0">
                      <a:pos x="connsiteX3" y="connsiteY3"/>
                    </a:cxn>
                  </a:cxnLst>
                  <a:rect l="l" t="t" r="r" b="b"/>
                  <a:pathLst>
                    <a:path w="26494" h="147843">
                      <a:moveTo>
                        <a:pt x="2990" y="0"/>
                      </a:moveTo>
                      <a:lnTo>
                        <a:pt x="26495" y="147365"/>
                      </a:lnTo>
                      <a:lnTo>
                        <a:pt x="23504" y="147843"/>
                      </a:lnTo>
                      <a:lnTo>
                        <a:pt x="0" y="478"/>
                      </a:lnTo>
                      <a:close/>
                    </a:path>
                  </a:pathLst>
                </a:custGeom>
                <a:grpFill/>
                <a:ln w="5978" cap="flat">
                  <a:noFill/>
                  <a:prstDash val="solid"/>
                  <a:miter/>
                </a:ln>
              </p:spPr>
              <p:txBody>
                <a:bodyPr rtlCol="0" anchor="ctr"/>
                <a:lstStyle/>
                <a:p>
                  <a:endParaRPr lang="en-GB"/>
                </a:p>
              </p:txBody>
            </p:sp>
            <p:sp>
              <p:nvSpPr>
                <p:cNvPr id="3539" name="Vrije vorm: vorm 3538">
                  <a:extLst>
                    <a:ext uri="{FF2B5EF4-FFF2-40B4-BE49-F238E27FC236}">
                      <a16:creationId xmlns:a16="http://schemas.microsoft.com/office/drawing/2014/main" id="{9C39FBAD-1549-46D4-83E4-834BB8B84CDB}"/>
                    </a:ext>
                  </a:extLst>
                </p:cNvPr>
                <p:cNvSpPr/>
                <p:nvPr/>
              </p:nvSpPr>
              <p:spPr>
                <a:xfrm>
                  <a:off x="5756472" y="1593553"/>
                  <a:ext cx="18343" cy="18416"/>
                </a:xfrm>
                <a:custGeom>
                  <a:avLst/>
                  <a:gdLst>
                    <a:gd name="connsiteX0" fmla="*/ 112 w 18343"/>
                    <a:gd name="connsiteY0" fmla="*/ 10636 h 18416"/>
                    <a:gd name="connsiteX1" fmla="*/ 7708 w 18343"/>
                    <a:gd name="connsiteY1" fmla="*/ 110 h 18416"/>
                    <a:gd name="connsiteX2" fmla="*/ 18233 w 18343"/>
                    <a:gd name="connsiteY2" fmla="*/ 7766 h 18416"/>
                    <a:gd name="connsiteX3" fmla="*/ 10638 w 18343"/>
                    <a:gd name="connsiteY3" fmla="*/ 18292 h 18416"/>
                    <a:gd name="connsiteX4" fmla="*/ 112 w 18343"/>
                    <a:gd name="connsiteY4" fmla="*/ 10636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6">
                      <a:moveTo>
                        <a:pt x="112" y="10636"/>
                      </a:moveTo>
                      <a:cubicBezTo>
                        <a:pt x="-666" y="5613"/>
                        <a:pt x="2684" y="888"/>
                        <a:pt x="7708" y="110"/>
                      </a:cubicBezTo>
                      <a:cubicBezTo>
                        <a:pt x="12731" y="-667"/>
                        <a:pt x="17396" y="2742"/>
                        <a:pt x="18233" y="7766"/>
                      </a:cubicBezTo>
                      <a:cubicBezTo>
                        <a:pt x="19011" y="12790"/>
                        <a:pt x="15602" y="17514"/>
                        <a:pt x="10638" y="18292"/>
                      </a:cubicBezTo>
                      <a:cubicBezTo>
                        <a:pt x="5614" y="19129"/>
                        <a:pt x="890" y="15660"/>
                        <a:pt x="112" y="10636"/>
                      </a:cubicBezTo>
                      <a:close/>
                    </a:path>
                  </a:pathLst>
                </a:custGeom>
                <a:grpFill/>
                <a:ln w="5978" cap="flat">
                  <a:noFill/>
                  <a:prstDash val="solid"/>
                  <a:miter/>
                </a:ln>
              </p:spPr>
              <p:txBody>
                <a:bodyPr rtlCol="0" anchor="ctr"/>
                <a:lstStyle/>
                <a:p>
                  <a:endParaRPr lang="en-GB"/>
                </a:p>
              </p:txBody>
            </p:sp>
            <p:sp>
              <p:nvSpPr>
                <p:cNvPr id="3540" name="Vrije vorm: vorm 3539">
                  <a:extLst>
                    <a:ext uri="{FF2B5EF4-FFF2-40B4-BE49-F238E27FC236}">
                      <a16:creationId xmlns:a16="http://schemas.microsoft.com/office/drawing/2014/main" id="{EFBC1623-F8A3-417E-90A8-50327CD7F7DC}"/>
                    </a:ext>
                  </a:extLst>
                </p:cNvPr>
                <p:cNvSpPr/>
                <p:nvPr/>
              </p:nvSpPr>
              <p:spPr>
                <a:xfrm>
                  <a:off x="5779798" y="1740006"/>
                  <a:ext cx="18344" cy="18430"/>
                </a:xfrm>
                <a:custGeom>
                  <a:avLst/>
                  <a:gdLst>
                    <a:gd name="connsiteX0" fmla="*/ 110 w 18344"/>
                    <a:gd name="connsiteY0" fmla="*/ 10651 h 18430"/>
                    <a:gd name="connsiteX1" fmla="*/ 10637 w 18344"/>
                    <a:gd name="connsiteY1" fmla="*/ 18306 h 18430"/>
                    <a:gd name="connsiteX2" fmla="*/ 18232 w 18344"/>
                    <a:gd name="connsiteY2" fmla="*/ 7780 h 18430"/>
                    <a:gd name="connsiteX3" fmla="*/ 7706 w 18344"/>
                    <a:gd name="connsiteY3" fmla="*/ 125 h 18430"/>
                    <a:gd name="connsiteX4" fmla="*/ 110 w 18344"/>
                    <a:gd name="connsiteY4" fmla="*/ 1065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30">
                      <a:moveTo>
                        <a:pt x="110" y="10651"/>
                      </a:moveTo>
                      <a:cubicBezTo>
                        <a:pt x="888" y="15675"/>
                        <a:pt x="5613" y="19144"/>
                        <a:pt x="10637" y="18306"/>
                      </a:cubicBezTo>
                      <a:cubicBezTo>
                        <a:pt x="15661" y="17529"/>
                        <a:pt x="19010" y="12804"/>
                        <a:pt x="18232" y="7780"/>
                      </a:cubicBezTo>
                      <a:cubicBezTo>
                        <a:pt x="17455" y="2756"/>
                        <a:pt x="12730" y="-713"/>
                        <a:pt x="7706" y="125"/>
                      </a:cubicBezTo>
                      <a:cubicBezTo>
                        <a:pt x="2742" y="902"/>
                        <a:pt x="-667" y="5627"/>
                        <a:pt x="110" y="10651"/>
                      </a:cubicBezTo>
                      <a:close/>
                    </a:path>
                  </a:pathLst>
                </a:custGeom>
                <a:grpFill/>
                <a:ln w="5978" cap="flat">
                  <a:noFill/>
                  <a:prstDash val="solid"/>
                  <a:miter/>
                </a:ln>
              </p:spPr>
              <p:txBody>
                <a:bodyPr rtlCol="0" anchor="ctr"/>
                <a:lstStyle/>
                <a:p>
                  <a:endParaRPr lang="en-GB"/>
                </a:p>
              </p:txBody>
            </p:sp>
          </p:grpSp>
          <p:grpSp>
            <p:nvGrpSpPr>
              <p:cNvPr id="618" name="Graphic 3">
                <a:extLst>
                  <a:ext uri="{FF2B5EF4-FFF2-40B4-BE49-F238E27FC236}">
                    <a16:creationId xmlns:a16="http://schemas.microsoft.com/office/drawing/2014/main" id="{4176038C-1185-4985-9437-40ABB6C7C700}"/>
                  </a:ext>
                </a:extLst>
              </p:cNvPr>
              <p:cNvGrpSpPr/>
              <p:nvPr/>
            </p:nvGrpSpPr>
            <p:grpSpPr>
              <a:xfrm>
                <a:off x="5545850" y="1104828"/>
                <a:ext cx="23750" cy="43421"/>
                <a:chOff x="5545850" y="1104828"/>
                <a:chExt cx="23750" cy="43421"/>
              </a:xfrm>
              <a:grpFill/>
            </p:grpSpPr>
            <p:sp>
              <p:nvSpPr>
                <p:cNvPr id="3535" name="Vrije vorm: vorm 3534">
                  <a:extLst>
                    <a:ext uri="{FF2B5EF4-FFF2-40B4-BE49-F238E27FC236}">
                      <a16:creationId xmlns:a16="http://schemas.microsoft.com/office/drawing/2014/main" id="{6A4B81DD-F191-4E13-B064-BCAA0CDB93EC}"/>
                    </a:ext>
                  </a:extLst>
                </p:cNvPr>
                <p:cNvSpPr/>
                <p:nvPr/>
              </p:nvSpPr>
              <p:spPr>
                <a:xfrm>
                  <a:off x="5553479" y="1113292"/>
                  <a:ext cx="8552" cy="26494"/>
                </a:xfrm>
                <a:custGeom>
                  <a:avLst/>
                  <a:gdLst>
                    <a:gd name="connsiteX0" fmla="*/ 2930 w 8552"/>
                    <a:gd name="connsiteY0" fmla="*/ 0 h 26494"/>
                    <a:gd name="connsiteX1" fmla="*/ 8552 w 8552"/>
                    <a:gd name="connsiteY1" fmla="*/ 25897 h 26494"/>
                    <a:gd name="connsiteX2" fmla="*/ 5622 w 8552"/>
                    <a:gd name="connsiteY2" fmla="*/ 26495 h 26494"/>
                    <a:gd name="connsiteX3" fmla="*/ 0 w 8552"/>
                    <a:gd name="connsiteY3" fmla="*/ 598 h 26494"/>
                  </a:gdLst>
                  <a:ahLst/>
                  <a:cxnLst>
                    <a:cxn ang="0">
                      <a:pos x="connsiteX0" y="connsiteY0"/>
                    </a:cxn>
                    <a:cxn ang="0">
                      <a:pos x="connsiteX1" y="connsiteY1"/>
                    </a:cxn>
                    <a:cxn ang="0">
                      <a:pos x="connsiteX2" y="connsiteY2"/>
                    </a:cxn>
                    <a:cxn ang="0">
                      <a:pos x="connsiteX3" y="connsiteY3"/>
                    </a:cxn>
                  </a:cxnLst>
                  <a:rect l="l" t="t" r="r" b="b"/>
                  <a:pathLst>
                    <a:path w="8552" h="26494">
                      <a:moveTo>
                        <a:pt x="2930" y="0"/>
                      </a:moveTo>
                      <a:lnTo>
                        <a:pt x="8552" y="25897"/>
                      </a:lnTo>
                      <a:lnTo>
                        <a:pt x="5622" y="26495"/>
                      </a:lnTo>
                      <a:lnTo>
                        <a:pt x="0" y="598"/>
                      </a:lnTo>
                      <a:close/>
                    </a:path>
                  </a:pathLst>
                </a:custGeom>
                <a:grpFill/>
                <a:ln w="5978" cap="flat">
                  <a:noFill/>
                  <a:prstDash val="solid"/>
                  <a:miter/>
                </a:ln>
              </p:spPr>
              <p:txBody>
                <a:bodyPr rtlCol="0" anchor="ctr"/>
                <a:lstStyle/>
                <a:p>
                  <a:endParaRPr lang="en-GB"/>
                </a:p>
              </p:txBody>
            </p:sp>
            <p:sp>
              <p:nvSpPr>
                <p:cNvPr id="3536" name="Vrije vorm: vorm 3535">
                  <a:extLst>
                    <a:ext uri="{FF2B5EF4-FFF2-40B4-BE49-F238E27FC236}">
                      <a16:creationId xmlns:a16="http://schemas.microsoft.com/office/drawing/2014/main" id="{7A07D969-B083-4290-8998-5EA1521A1150}"/>
                    </a:ext>
                  </a:extLst>
                </p:cNvPr>
                <p:cNvSpPr/>
                <p:nvPr/>
              </p:nvSpPr>
              <p:spPr>
                <a:xfrm>
                  <a:off x="5545850" y="1104828"/>
                  <a:ext cx="18307" cy="18421"/>
                </a:xfrm>
                <a:custGeom>
                  <a:avLst/>
                  <a:gdLst>
                    <a:gd name="connsiteX0" fmla="*/ 213 w 18307"/>
                    <a:gd name="connsiteY0" fmla="*/ 11155 h 18421"/>
                    <a:gd name="connsiteX1" fmla="*/ 7210 w 18307"/>
                    <a:gd name="connsiteY1" fmla="*/ 210 h 18421"/>
                    <a:gd name="connsiteX2" fmla="*/ 18095 w 18307"/>
                    <a:gd name="connsiteY2" fmla="*/ 7267 h 18421"/>
                    <a:gd name="connsiteX3" fmla="*/ 11098 w 18307"/>
                    <a:gd name="connsiteY3" fmla="*/ 18212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864" y="6191"/>
                        <a:pt x="2246" y="1287"/>
                        <a:pt x="7210" y="210"/>
                      </a:cubicBezTo>
                      <a:cubicBezTo>
                        <a:pt x="12174" y="-867"/>
                        <a:pt x="17019" y="2303"/>
                        <a:pt x="18095" y="7267"/>
                      </a:cubicBezTo>
                      <a:cubicBezTo>
                        <a:pt x="19172" y="12231"/>
                        <a:pt x="16062" y="17135"/>
                        <a:pt x="11098" y="18212"/>
                      </a:cubicBezTo>
                      <a:cubicBezTo>
                        <a:pt x="6194" y="19288"/>
                        <a:pt x="1349" y="16119"/>
                        <a:pt x="213" y="11155"/>
                      </a:cubicBezTo>
                      <a:close/>
                    </a:path>
                  </a:pathLst>
                </a:custGeom>
                <a:grpFill/>
                <a:ln w="5978" cap="flat">
                  <a:noFill/>
                  <a:prstDash val="solid"/>
                  <a:miter/>
                </a:ln>
              </p:spPr>
              <p:txBody>
                <a:bodyPr rtlCol="0" anchor="ctr"/>
                <a:lstStyle/>
                <a:p>
                  <a:endParaRPr lang="en-GB"/>
                </a:p>
              </p:txBody>
            </p:sp>
            <p:sp>
              <p:nvSpPr>
                <p:cNvPr id="3537" name="Vrije vorm: vorm 3536">
                  <a:extLst>
                    <a:ext uri="{FF2B5EF4-FFF2-40B4-BE49-F238E27FC236}">
                      <a16:creationId xmlns:a16="http://schemas.microsoft.com/office/drawing/2014/main" id="{21B09680-091B-4E3D-8428-82D9A14B8F74}"/>
                    </a:ext>
                  </a:extLst>
                </p:cNvPr>
                <p:cNvSpPr/>
                <p:nvPr/>
              </p:nvSpPr>
              <p:spPr>
                <a:xfrm>
                  <a:off x="5551295" y="1129828"/>
                  <a:ext cx="18305" cy="18421"/>
                </a:xfrm>
                <a:custGeom>
                  <a:avLst/>
                  <a:gdLst>
                    <a:gd name="connsiteX0" fmla="*/ 210 w 18305"/>
                    <a:gd name="connsiteY0" fmla="*/ 11155 h 18421"/>
                    <a:gd name="connsiteX1" fmla="*/ 11095 w 18305"/>
                    <a:gd name="connsiteY1" fmla="*/ 18212 h 18421"/>
                    <a:gd name="connsiteX2" fmla="*/ 18093 w 18305"/>
                    <a:gd name="connsiteY2" fmla="*/ 7267 h 18421"/>
                    <a:gd name="connsiteX3" fmla="*/ 7208 w 18305"/>
                    <a:gd name="connsiteY3" fmla="*/ 210 h 18421"/>
                    <a:gd name="connsiteX4" fmla="*/ 210 w 18305"/>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21">
                      <a:moveTo>
                        <a:pt x="210" y="11155"/>
                      </a:moveTo>
                      <a:cubicBezTo>
                        <a:pt x="1287" y="16119"/>
                        <a:pt x="6191" y="19288"/>
                        <a:pt x="11095" y="18212"/>
                      </a:cubicBezTo>
                      <a:cubicBezTo>
                        <a:pt x="16059" y="17135"/>
                        <a:pt x="19169" y="12231"/>
                        <a:pt x="18093" y="7267"/>
                      </a:cubicBezTo>
                      <a:cubicBezTo>
                        <a:pt x="17016" y="2303"/>
                        <a:pt x="12112" y="-867"/>
                        <a:pt x="7208" y="210"/>
                      </a:cubicBezTo>
                      <a:cubicBezTo>
                        <a:pt x="2303" y="1287"/>
                        <a:pt x="-867" y="6131"/>
                        <a:pt x="210" y="11155"/>
                      </a:cubicBezTo>
                      <a:close/>
                    </a:path>
                  </a:pathLst>
                </a:custGeom>
                <a:grpFill/>
                <a:ln w="5978" cap="flat">
                  <a:noFill/>
                  <a:prstDash val="solid"/>
                  <a:miter/>
                </a:ln>
              </p:spPr>
              <p:txBody>
                <a:bodyPr rtlCol="0" anchor="ctr"/>
                <a:lstStyle/>
                <a:p>
                  <a:endParaRPr lang="en-GB"/>
                </a:p>
              </p:txBody>
            </p:sp>
          </p:grpSp>
          <p:grpSp>
            <p:nvGrpSpPr>
              <p:cNvPr id="619" name="Graphic 3">
                <a:extLst>
                  <a:ext uri="{FF2B5EF4-FFF2-40B4-BE49-F238E27FC236}">
                    <a16:creationId xmlns:a16="http://schemas.microsoft.com/office/drawing/2014/main" id="{F2EDC22B-9E18-4C62-980F-10860DA6C5DC}"/>
                  </a:ext>
                </a:extLst>
              </p:cNvPr>
              <p:cNvGrpSpPr/>
              <p:nvPr/>
            </p:nvGrpSpPr>
            <p:grpSpPr>
              <a:xfrm>
                <a:off x="5608254" y="1195179"/>
                <a:ext cx="91161" cy="386628"/>
                <a:chOff x="5608254" y="1195179"/>
                <a:chExt cx="91161" cy="386628"/>
              </a:xfrm>
              <a:grpFill/>
            </p:grpSpPr>
            <p:sp>
              <p:nvSpPr>
                <p:cNvPr id="3532" name="Vrije vorm: vorm 3531">
                  <a:extLst>
                    <a:ext uri="{FF2B5EF4-FFF2-40B4-BE49-F238E27FC236}">
                      <a16:creationId xmlns:a16="http://schemas.microsoft.com/office/drawing/2014/main" id="{2F8B8327-0A5F-4C84-A4CC-6BBE7CCAB706}"/>
                    </a:ext>
                  </a:extLst>
                </p:cNvPr>
                <p:cNvSpPr/>
                <p:nvPr/>
              </p:nvSpPr>
              <p:spPr>
                <a:xfrm>
                  <a:off x="5615930" y="1203431"/>
                  <a:ext cx="76021" cy="369690"/>
                </a:xfrm>
                <a:custGeom>
                  <a:avLst/>
                  <a:gdLst>
                    <a:gd name="connsiteX0" fmla="*/ 0 w 76021"/>
                    <a:gd name="connsiteY0" fmla="*/ 592 h 369690"/>
                    <a:gd name="connsiteX1" fmla="*/ 2992 w 76021"/>
                    <a:gd name="connsiteY1" fmla="*/ 0 h 369690"/>
                    <a:gd name="connsiteX2" fmla="*/ 76022 w 76021"/>
                    <a:gd name="connsiteY2" fmla="*/ 369098 h 369690"/>
                    <a:gd name="connsiteX3" fmla="*/ 73030 w 76021"/>
                    <a:gd name="connsiteY3" fmla="*/ 369691 h 369690"/>
                  </a:gdLst>
                  <a:ahLst/>
                  <a:cxnLst>
                    <a:cxn ang="0">
                      <a:pos x="connsiteX0" y="connsiteY0"/>
                    </a:cxn>
                    <a:cxn ang="0">
                      <a:pos x="connsiteX1" y="connsiteY1"/>
                    </a:cxn>
                    <a:cxn ang="0">
                      <a:pos x="connsiteX2" y="connsiteY2"/>
                    </a:cxn>
                    <a:cxn ang="0">
                      <a:pos x="connsiteX3" y="connsiteY3"/>
                    </a:cxn>
                  </a:cxnLst>
                  <a:rect l="l" t="t" r="r" b="b"/>
                  <a:pathLst>
                    <a:path w="76021" h="369690">
                      <a:moveTo>
                        <a:pt x="0" y="592"/>
                      </a:moveTo>
                      <a:lnTo>
                        <a:pt x="2992" y="0"/>
                      </a:lnTo>
                      <a:lnTo>
                        <a:pt x="76022" y="369098"/>
                      </a:lnTo>
                      <a:lnTo>
                        <a:pt x="73030" y="369691"/>
                      </a:lnTo>
                      <a:close/>
                    </a:path>
                  </a:pathLst>
                </a:custGeom>
                <a:grpFill/>
                <a:ln w="5978" cap="flat">
                  <a:noFill/>
                  <a:prstDash val="solid"/>
                  <a:miter/>
                </a:ln>
              </p:spPr>
              <p:txBody>
                <a:bodyPr rtlCol="0" anchor="ctr"/>
                <a:lstStyle/>
                <a:p>
                  <a:endParaRPr lang="en-GB"/>
                </a:p>
              </p:txBody>
            </p:sp>
            <p:sp>
              <p:nvSpPr>
                <p:cNvPr id="3533" name="Vrije vorm: vorm 3532">
                  <a:extLst>
                    <a:ext uri="{FF2B5EF4-FFF2-40B4-BE49-F238E27FC236}">
                      <a16:creationId xmlns:a16="http://schemas.microsoft.com/office/drawing/2014/main" id="{96C2AE73-84AB-49D4-8857-BCA91FB1AF82}"/>
                    </a:ext>
                  </a:extLst>
                </p:cNvPr>
                <p:cNvSpPr/>
                <p:nvPr/>
              </p:nvSpPr>
              <p:spPr>
                <a:xfrm>
                  <a:off x="5608254" y="1195179"/>
                  <a:ext cx="18316" cy="18455"/>
                </a:xfrm>
                <a:custGeom>
                  <a:avLst/>
                  <a:gdLst>
                    <a:gd name="connsiteX0" fmla="*/ 187 w 18316"/>
                    <a:gd name="connsiteY0" fmla="*/ 10993 h 18455"/>
                    <a:gd name="connsiteX1" fmla="*/ 7364 w 18316"/>
                    <a:gd name="connsiteY1" fmla="*/ 168 h 18455"/>
                    <a:gd name="connsiteX2" fmla="*/ 18129 w 18316"/>
                    <a:gd name="connsiteY2" fmla="*/ 7464 h 18455"/>
                    <a:gd name="connsiteX3" fmla="*/ 10952 w 18316"/>
                    <a:gd name="connsiteY3" fmla="*/ 18289 h 18455"/>
                    <a:gd name="connsiteX4" fmla="*/ 187 w 18316"/>
                    <a:gd name="connsiteY4" fmla="*/ 10993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5">
                      <a:moveTo>
                        <a:pt x="187" y="10993"/>
                      </a:moveTo>
                      <a:cubicBezTo>
                        <a:pt x="-830" y="6029"/>
                        <a:pt x="2400" y="1185"/>
                        <a:pt x="7364" y="168"/>
                      </a:cubicBezTo>
                      <a:cubicBezTo>
                        <a:pt x="12328" y="-789"/>
                        <a:pt x="17173" y="2440"/>
                        <a:pt x="18129" y="7464"/>
                      </a:cubicBezTo>
                      <a:cubicBezTo>
                        <a:pt x="19146" y="12428"/>
                        <a:pt x="15916" y="17273"/>
                        <a:pt x="10952" y="18289"/>
                      </a:cubicBezTo>
                      <a:cubicBezTo>
                        <a:pt x="5989" y="19246"/>
                        <a:pt x="1144" y="15957"/>
                        <a:pt x="187" y="10993"/>
                      </a:cubicBezTo>
                      <a:close/>
                    </a:path>
                  </a:pathLst>
                </a:custGeom>
                <a:grpFill/>
                <a:ln w="5978" cap="flat">
                  <a:noFill/>
                  <a:prstDash val="solid"/>
                  <a:miter/>
                </a:ln>
              </p:spPr>
              <p:txBody>
                <a:bodyPr rtlCol="0" anchor="ctr"/>
                <a:lstStyle/>
                <a:p>
                  <a:endParaRPr lang="en-GB"/>
                </a:p>
              </p:txBody>
            </p:sp>
            <p:sp>
              <p:nvSpPr>
                <p:cNvPr id="3534" name="Vrije vorm: vorm 3533">
                  <a:extLst>
                    <a:ext uri="{FF2B5EF4-FFF2-40B4-BE49-F238E27FC236}">
                      <a16:creationId xmlns:a16="http://schemas.microsoft.com/office/drawing/2014/main" id="{003F7DBB-452B-438F-B5B3-8BCFDF3902A2}"/>
                    </a:ext>
                  </a:extLst>
                </p:cNvPr>
                <p:cNvSpPr/>
                <p:nvPr/>
              </p:nvSpPr>
              <p:spPr>
                <a:xfrm>
                  <a:off x="5681099" y="1563355"/>
                  <a:ext cx="18316" cy="18452"/>
                </a:xfrm>
                <a:custGeom>
                  <a:avLst/>
                  <a:gdLst>
                    <a:gd name="connsiteX0" fmla="*/ 187 w 18316"/>
                    <a:gd name="connsiteY0" fmla="*/ 10991 h 18452"/>
                    <a:gd name="connsiteX1" fmla="*/ 10953 w 18316"/>
                    <a:gd name="connsiteY1" fmla="*/ 18287 h 18452"/>
                    <a:gd name="connsiteX2" fmla="*/ 18129 w 18316"/>
                    <a:gd name="connsiteY2" fmla="*/ 7462 h 18452"/>
                    <a:gd name="connsiteX3" fmla="*/ 7364 w 18316"/>
                    <a:gd name="connsiteY3" fmla="*/ 166 h 18452"/>
                    <a:gd name="connsiteX4" fmla="*/ 187 w 18316"/>
                    <a:gd name="connsiteY4" fmla="*/ 1099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2">
                      <a:moveTo>
                        <a:pt x="187" y="10991"/>
                      </a:moveTo>
                      <a:cubicBezTo>
                        <a:pt x="1204" y="15955"/>
                        <a:pt x="5989" y="19244"/>
                        <a:pt x="10953" y="18287"/>
                      </a:cubicBezTo>
                      <a:cubicBezTo>
                        <a:pt x="15916" y="17330"/>
                        <a:pt x="19146" y="12486"/>
                        <a:pt x="18129" y="7462"/>
                      </a:cubicBezTo>
                      <a:cubicBezTo>
                        <a:pt x="17113" y="2498"/>
                        <a:pt x="12328" y="-791"/>
                        <a:pt x="7364" y="166"/>
                      </a:cubicBezTo>
                      <a:cubicBezTo>
                        <a:pt x="2400" y="1182"/>
                        <a:pt x="-830" y="6027"/>
                        <a:pt x="187" y="10991"/>
                      </a:cubicBezTo>
                      <a:close/>
                    </a:path>
                  </a:pathLst>
                </a:custGeom>
                <a:grpFill/>
                <a:ln w="5978" cap="flat">
                  <a:noFill/>
                  <a:prstDash val="solid"/>
                  <a:miter/>
                </a:ln>
              </p:spPr>
              <p:txBody>
                <a:bodyPr rtlCol="0" anchor="ctr"/>
                <a:lstStyle/>
                <a:p>
                  <a:endParaRPr lang="en-GB"/>
                </a:p>
              </p:txBody>
            </p:sp>
          </p:grpSp>
          <p:grpSp>
            <p:nvGrpSpPr>
              <p:cNvPr id="620" name="Graphic 3">
                <a:extLst>
                  <a:ext uri="{FF2B5EF4-FFF2-40B4-BE49-F238E27FC236}">
                    <a16:creationId xmlns:a16="http://schemas.microsoft.com/office/drawing/2014/main" id="{EC0858EB-3B6E-4FA6-80DD-990AD5C52479}"/>
                  </a:ext>
                </a:extLst>
              </p:cNvPr>
              <p:cNvGrpSpPr/>
              <p:nvPr/>
            </p:nvGrpSpPr>
            <p:grpSpPr>
              <a:xfrm>
                <a:off x="5651139" y="1201024"/>
                <a:ext cx="82544" cy="550535"/>
                <a:chOff x="5651139" y="1201024"/>
                <a:chExt cx="82544" cy="550535"/>
              </a:xfrm>
              <a:grpFill/>
            </p:grpSpPr>
            <p:sp>
              <p:nvSpPr>
                <p:cNvPr id="3529" name="Vrije vorm: vorm 3528">
                  <a:extLst>
                    <a:ext uri="{FF2B5EF4-FFF2-40B4-BE49-F238E27FC236}">
                      <a16:creationId xmlns:a16="http://schemas.microsoft.com/office/drawing/2014/main" id="{37113411-BFA7-4A89-8D20-0BFE9FDE65BD}"/>
                    </a:ext>
                  </a:extLst>
                </p:cNvPr>
                <p:cNvSpPr/>
                <p:nvPr/>
              </p:nvSpPr>
              <p:spPr>
                <a:xfrm>
                  <a:off x="5658743" y="1209659"/>
                  <a:ext cx="67293" cy="533388"/>
                </a:xfrm>
                <a:custGeom>
                  <a:avLst/>
                  <a:gdLst>
                    <a:gd name="connsiteX0" fmla="*/ 0 w 67293"/>
                    <a:gd name="connsiteY0" fmla="*/ 365 h 533388"/>
                    <a:gd name="connsiteX1" fmla="*/ 3028 w 67293"/>
                    <a:gd name="connsiteY1" fmla="*/ 0 h 533388"/>
                    <a:gd name="connsiteX2" fmla="*/ 67294 w 67293"/>
                    <a:gd name="connsiteY2" fmla="*/ 533024 h 533388"/>
                    <a:gd name="connsiteX3" fmla="*/ 64266 w 67293"/>
                    <a:gd name="connsiteY3" fmla="*/ 533389 h 533388"/>
                  </a:gdLst>
                  <a:ahLst/>
                  <a:cxnLst>
                    <a:cxn ang="0">
                      <a:pos x="connsiteX0" y="connsiteY0"/>
                    </a:cxn>
                    <a:cxn ang="0">
                      <a:pos x="connsiteX1" y="connsiteY1"/>
                    </a:cxn>
                    <a:cxn ang="0">
                      <a:pos x="connsiteX2" y="connsiteY2"/>
                    </a:cxn>
                    <a:cxn ang="0">
                      <a:pos x="connsiteX3" y="connsiteY3"/>
                    </a:cxn>
                  </a:cxnLst>
                  <a:rect l="l" t="t" r="r" b="b"/>
                  <a:pathLst>
                    <a:path w="67293" h="533388">
                      <a:moveTo>
                        <a:pt x="0" y="365"/>
                      </a:moveTo>
                      <a:lnTo>
                        <a:pt x="3028" y="0"/>
                      </a:lnTo>
                      <a:lnTo>
                        <a:pt x="67294" y="533024"/>
                      </a:lnTo>
                      <a:lnTo>
                        <a:pt x="64266" y="533389"/>
                      </a:lnTo>
                      <a:close/>
                    </a:path>
                  </a:pathLst>
                </a:custGeom>
                <a:grpFill/>
                <a:ln w="5978" cap="flat">
                  <a:noFill/>
                  <a:prstDash val="solid"/>
                  <a:miter/>
                </a:ln>
              </p:spPr>
              <p:txBody>
                <a:bodyPr rtlCol="0" anchor="ctr"/>
                <a:lstStyle/>
                <a:p>
                  <a:endParaRPr lang="en-GB"/>
                </a:p>
              </p:txBody>
            </p:sp>
            <p:sp>
              <p:nvSpPr>
                <p:cNvPr id="3530" name="Vrije vorm: vorm 3529">
                  <a:extLst>
                    <a:ext uri="{FF2B5EF4-FFF2-40B4-BE49-F238E27FC236}">
                      <a16:creationId xmlns:a16="http://schemas.microsoft.com/office/drawing/2014/main" id="{41D595B5-D348-4A6F-8FAA-26F4FBB7B309}"/>
                    </a:ext>
                  </a:extLst>
                </p:cNvPr>
                <p:cNvSpPr/>
                <p:nvPr/>
              </p:nvSpPr>
              <p:spPr>
                <a:xfrm>
                  <a:off x="5715312" y="1733128"/>
                  <a:ext cx="18371" cy="18430"/>
                </a:xfrm>
                <a:custGeom>
                  <a:avLst/>
                  <a:gdLst>
                    <a:gd name="connsiteX0" fmla="*/ 18306 w 18371"/>
                    <a:gd name="connsiteY0" fmla="*/ 8139 h 18430"/>
                    <a:gd name="connsiteX1" fmla="*/ 10292 w 18371"/>
                    <a:gd name="connsiteY1" fmla="*/ 18366 h 18430"/>
                    <a:gd name="connsiteX2" fmla="*/ 65 w 18371"/>
                    <a:gd name="connsiteY2" fmla="*/ 10292 h 18430"/>
                    <a:gd name="connsiteX3" fmla="*/ 8079 w 18371"/>
                    <a:gd name="connsiteY3" fmla="*/ 65 h 18430"/>
                    <a:gd name="connsiteX4" fmla="*/ 18306 w 18371"/>
                    <a:gd name="connsiteY4" fmla="*/ 8139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30">
                      <a:moveTo>
                        <a:pt x="18306" y="8139"/>
                      </a:moveTo>
                      <a:cubicBezTo>
                        <a:pt x="18905" y="13163"/>
                        <a:pt x="15316" y="17768"/>
                        <a:pt x="10292" y="18366"/>
                      </a:cubicBezTo>
                      <a:cubicBezTo>
                        <a:pt x="5268" y="18964"/>
                        <a:pt x="723" y="15316"/>
                        <a:pt x="65" y="10292"/>
                      </a:cubicBezTo>
                      <a:cubicBezTo>
                        <a:pt x="-533" y="5268"/>
                        <a:pt x="3055" y="663"/>
                        <a:pt x="8079" y="65"/>
                      </a:cubicBezTo>
                      <a:cubicBezTo>
                        <a:pt x="13163" y="-533"/>
                        <a:pt x="17708" y="3055"/>
                        <a:pt x="18306" y="8139"/>
                      </a:cubicBezTo>
                      <a:close/>
                    </a:path>
                  </a:pathLst>
                </a:custGeom>
                <a:grpFill/>
                <a:ln w="5978" cap="flat">
                  <a:noFill/>
                  <a:prstDash val="solid"/>
                  <a:miter/>
                </a:ln>
              </p:spPr>
              <p:txBody>
                <a:bodyPr rtlCol="0" anchor="ctr"/>
                <a:lstStyle/>
                <a:p>
                  <a:endParaRPr lang="en-GB"/>
                </a:p>
              </p:txBody>
            </p:sp>
            <p:sp>
              <p:nvSpPr>
                <p:cNvPr id="3531" name="Vrije vorm: vorm 3530">
                  <a:extLst>
                    <a:ext uri="{FF2B5EF4-FFF2-40B4-BE49-F238E27FC236}">
                      <a16:creationId xmlns:a16="http://schemas.microsoft.com/office/drawing/2014/main" id="{7B5AF072-E594-48C5-92ED-8D30BB2BB006}"/>
                    </a:ext>
                  </a:extLst>
                </p:cNvPr>
                <p:cNvSpPr/>
                <p:nvPr/>
              </p:nvSpPr>
              <p:spPr>
                <a:xfrm>
                  <a:off x="5651139" y="1201024"/>
                  <a:ext cx="18384" cy="18430"/>
                </a:xfrm>
                <a:custGeom>
                  <a:avLst/>
                  <a:gdLst>
                    <a:gd name="connsiteX0" fmla="*/ 18306 w 18384"/>
                    <a:gd name="connsiteY0" fmla="*/ 8139 h 18430"/>
                    <a:gd name="connsiteX1" fmla="*/ 8079 w 18384"/>
                    <a:gd name="connsiteY1" fmla="*/ 65 h 18430"/>
                    <a:gd name="connsiteX2" fmla="*/ 65 w 18384"/>
                    <a:gd name="connsiteY2" fmla="*/ 10292 h 18430"/>
                    <a:gd name="connsiteX3" fmla="*/ 10292 w 18384"/>
                    <a:gd name="connsiteY3" fmla="*/ 18366 h 18430"/>
                    <a:gd name="connsiteX4" fmla="*/ 18306 w 18384"/>
                    <a:gd name="connsiteY4" fmla="*/ 8139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30">
                      <a:moveTo>
                        <a:pt x="18306" y="8139"/>
                      </a:moveTo>
                      <a:cubicBezTo>
                        <a:pt x="17708" y="3055"/>
                        <a:pt x="13103" y="-533"/>
                        <a:pt x="8079" y="65"/>
                      </a:cubicBezTo>
                      <a:cubicBezTo>
                        <a:pt x="3056" y="663"/>
                        <a:pt x="-533" y="5209"/>
                        <a:pt x="65" y="10292"/>
                      </a:cubicBezTo>
                      <a:cubicBezTo>
                        <a:pt x="663" y="15316"/>
                        <a:pt x="5268" y="18964"/>
                        <a:pt x="10292" y="18366"/>
                      </a:cubicBezTo>
                      <a:cubicBezTo>
                        <a:pt x="15376" y="17768"/>
                        <a:pt x="18964" y="13223"/>
                        <a:pt x="18306" y="8139"/>
                      </a:cubicBezTo>
                      <a:close/>
                    </a:path>
                  </a:pathLst>
                </a:custGeom>
                <a:grpFill/>
                <a:ln w="5978" cap="flat">
                  <a:noFill/>
                  <a:prstDash val="solid"/>
                  <a:miter/>
                </a:ln>
              </p:spPr>
              <p:txBody>
                <a:bodyPr rtlCol="0" anchor="ctr"/>
                <a:lstStyle/>
                <a:p>
                  <a:endParaRPr lang="en-GB"/>
                </a:p>
              </p:txBody>
            </p:sp>
          </p:grpSp>
          <p:grpSp>
            <p:nvGrpSpPr>
              <p:cNvPr id="621" name="Graphic 3">
                <a:extLst>
                  <a:ext uri="{FF2B5EF4-FFF2-40B4-BE49-F238E27FC236}">
                    <a16:creationId xmlns:a16="http://schemas.microsoft.com/office/drawing/2014/main" id="{DDB2AC56-32BF-4217-9B4E-5C235289B8B3}"/>
                  </a:ext>
                </a:extLst>
              </p:cNvPr>
              <p:cNvGrpSpPr/>
              <p:nvPr/>
            </p:nvGrpSpPr>
            <p:grpSpPr>
              <a:xfrm>
                <a:off x="6828748" y="4902630"/>
                <a:ext cx="56550" cy="91332"/>
                <a:chOff x="6828748" y="4902630"/>
                <a:chExt cx="56550" cy="91332"/>
              </a:xfrm>
              <a:grpFill/>
            </p:grpSpPr>
            <p:sp>
              <p:nvSpPr>
                <p:cNvPr id="3526" name="Vrije vorm: vorm 3525">
                  <a:extLst>
                    <a:ext uri="{FF2B5EF4-FFF2-40B4-BE49-F238E27FC236}">
                      <a16:creationId xmlns:a16="http://schemas.microsoft.com/office/drawing/2014/main" id="{78573D08-EEDC-45F3-8AAE-07ACF8E86F04}"/>
                    </a:ext>
                  </a:extLst>
                </p:cNvPr>
                <p:cNvSpPr/>
                <p:nvPr/>
              </p:nvSpPr>
              <p:spPr>
                <a:xfrm>
                  <a:off x="6836343" y="4910691"/>
                  <a:ext cx="41326" cy="75177"/>
                </a:xfrm>
                <a:custGeom>
                  <a:avLst/>
                  <a:gdLst>
                    <a:gd name="connsiteX0" fmla="*/ 41327 w 41326"/>
                    <a:gd name="connsiteY0" fmla="*/ 73802 h 75177"/>
                    <a:gd name="connsiteX1" fmla="*/ 38635 w 41326"/>
                    <a:gd name="connsiteY1" fmla="*/ 75178 h 75177"/>
                    <a:gd name="connsiteX2" fmla="*/ 0 w 41326"/>
                    <a:gd name="connsiteY2" fmla="*/ 1435 h 75177"/>
                    <a:gd name="connsiteX3" fmla="*/ 2692 w 41326"/>
                    <a:gd name="connsiteY3" fmla="*/ 0 h 75177"/>
                  </a:gdLst>
                  <a:ahLst/>
                  <a:cxnLst>
                    <a:cxn ang="0">
                      <a:pos x="connsiteX0" y="connsiteY0"/>
                    </a:cxn>
                    <a:cxn ang="0">
                      <a:pos x="connsiteX1" y="connsiteY1"/>
                    </a:cxn>
                    <a:cxn ang="0">
                      <a:pos x="connsiteX2" y="connsiteY2"/>
                    </a:cxn>
                    <a:cxn ang="0">
                      <a:pos x="connsiteX3" y="connsiteY3"/>
                    </a:cxn>
                  </a:cxnLst>
                  <a:rect l="l" t="t" r="r" b="b"/>
                  <a:pathLst>
                    <a:path w="41326" h="75177">
                      <a:moveTo>
                        <a:pt x="41327" y="73802"/>
                      </a:moveTo>
                      <a:lnTo>
                        <a:pt x="38635" y="75178"/>
                      </a:lnTo>
                      <a:lnTo>
                        <a:pt x="0" y="1435"/>
                      </a:lnTo>
                      <a:lnTo>
                        <a:pt x="2692" y="0"/>
                      </a:lnTo>
                      <a:close/>
                    </a:path>
                  </a:pathLst>
                </a:custGeom>
                <a:grpFill/>
                <a:ln w="5978" cap="flat">
                  <a:noFill/>
                  <a:prstDash val="solid"/>
                  <a:miter/>
                </a:ln>
              </p:spPr>
              <p:txBody>
                <a:bodyPr rtlCol="0" anchor="ctr"/>
                <a:lstStyle/>
                <a:p>
                  <a:endParaRPr lang="en-GB"/>
                </a:p>
              </p:txBody>
            </p:sp>
            <p:sp>
              <p:nvSpPr>
                <p:cNvPr id="3527" name="Vrije vorm: vorm 3526">
                  <a:extLst>
                    <a:ext uri="{FF2B5EF4-FFF2-40B4-BE49-F238E27FC236}">
                      <a16:creationId xmlns:a16="http://schemas.microsoft.com/office/drawing/2014/main" id="{7CD54FF7-EC4C-4EF8-9B9A-B687FE1B4F0E}"/>
                    </a:ext>
                  </a:extLst>
                </p:cNvPr>
                <p:cNvSpPr/>
                <p:nvPr/>
              </p:nvSpPr>
              <p:spPr>
                <a:xfrm>
                  <a:off x="6866992" y="4975562"/>
                  <a:ext cx="18307" cy="18400"/>
                </a:xfrm>
                <a:custGeom>
                  <a:avLst/>
                  <a:gdLst>
                    <a:gd name="connsiteX0" fmla="*/ 17257 w 18307"/>
                    <a:gd name="connsiteY0" fmla="*/ 4924 h 18400"/>
                    <a:gd name="connsiteX1" fmla="*/ 13430 w 18307"/>
                    <a:gd name="connsiteY1" fmla="*/ 17364 h 18400"/>
                    <a:gd name="connsiteX2" fmla="*/ 1050 w 18307"/>
                    <a:gd name="connsiteY2" fmla="*/ 13476 h 18400"/>
                    <a:gd name="connsiteX3" fmla="*/ 4878 w 18307"/>
                    <a:gd name="connsiteY3" fmla="*/ 1037 h 18400"/>
                    <a:gd name="connsiteX4" fmla="*/ 17257 w 18307"/>
                    <a:gd name="connsiteY4" fmla="*/ 492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00">
                      <a:moveTo>
                        <a:pt x="17257" y="4924"/>
                      </a:moveTo>
                      <a:cubicBezTo>
                        <a:pt x="19590" y="9410"/>
                        <a:pt x="17915" y="14972"/>
                        <a:pt x="13430" y="17364"/>
                      </a:cubicBezTo>
                      <a:cubicBezTo>
                        <a:pt x="8944" y="19697"/>
                        <a:pt x="3382" y="17962"/>
                        <a:pt x="1050" y="13476"/>
                      </a:cubicBezTo>
                      <a:cubicBezTo>
                        <a:pt x="-1283" y="8991"/>
                        <a:pt x="392" y="3429"/>
                        <a:pt x="4878" y="1037"/>
                      </a:cubicBezTo>
                      <a:cubicBezTo>
                        <a:pt x="9303" y="-1296"/>
                        <a:pt x="14865" y="439"/>
                        <a:pt x="17257" y="4924"/>
                      </a:cubicBezTo>
                      <a:close/>
                    </a:path>
                  </a:pathLst>
                </a:custGeom>
                <a:grpFill/>
                <a:ln w="5978" cap="flat">
                  <a:noFill/>
                  <a:prstDash val="solid"/>
                  <a:miter/>
                </a:ln>
              </p:spPr>
              <p:txBody>
                <a:bodyPr rtlCol="0" anchor="ctr"/>
                <a:lstStyle/>
                <a:p>
                  <a:endParaRPr lang="en-GB"/>
                </a:p>
              </p:txBody>
            </p:sp>
            <p:sp>
              <p:nvSpPr>
                <p:cNvPr id="3528" name="Vrije vorm: vorm 3527">
                  <a:extLst>
                    <a:ext uri="{FF2B5EF4-FFF2-40B4-BE49-F238E27FC236}">
                      <a16:creationId xmlns:a16="http://schemas.microsoft.com/office/drawing/2014/main" id="{A03BB0D7-2A1E-417C-8354-62275E6CC9CB}"/>
                    </a:ext>
                  </a:extLst>
                </p:cNvPr>
                <p:cNvSpPr/>
                <p:nvPr/>
              </p:nvSpPr>
              <p:spPr>
                <a:xfrm>
                  <a:off x="6828748" y="4902630"/>
                  <a:ext cx="18333" cy="18453"/>
                </a:xfrm>
                <a:custGeom>
                  <a:avLst/>
                  <a:gdLst>
                    <a:gd name="connsiteX0" fmla="*/ 17284 w 18333"/>
                    <a:gd name="connsiteY0" fmla="*/ 4950 h 18453"/>
                    <a:gd name="connsiteX1" fmla="*/ 4904 w 18333"/>
                    <a:gd name="connsiteY1" fmla="*/ 1063 h 18453"/>
                    <a:gd name="connsiteX2" fmla="*/ 1076 w 18333"/>
                    <a:gd name="connsiteY2" fmla="*/ 13503 h 18453"/>
                    <a:gd name="connsiteX3" fmla="*/ 13456 w 18333"/>
                    <a:gd name="connsiteY3" fmla="*/ 17390 h 18453"/>
                    <a:gd name="connsiteX4" fmla="*/ 17284 w 18333"/>
                    <a:gd name="connsiteY4" fmla="*/ 4950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17284" y="4950"/>
                      </a:moveTo>
                      <a:cubicBezTo>
                        <a:pt x="14892" y="465"/>
                        <a:pt x="9390" y="-1329"/>
                        <a:pt x="4904" y="1063"/>
                      </a:cubicBezTo>
                      <a:cubicBezTo>
                        <a:pt x="418" y="3395"/>
                        <a:pt x="-1316" y="8958"/>
                        <a:pt x="1076" y="13503"/>
                      </a:cubicBezTo>
                      <a:cubicBezTo>
                        <a:pt x="3409" y="17988"/>
                        <a:pt x="8971" y="19783"/>
                        <a:pt x="13456" y="17390"/>
                      </a:cubicBezTo>
                      <a:cubicBezTo>
                        <a:pt x="17942" y="14998"/>
                        <a:pt x="19617" y="9436"/>
                        <a:pt x="17284" y="4950"/>
                      </a:cubicBezTo>
                      <a:close/>
                    </a:path>
                  </a:pathLst>
                </a:custGeom>
                <a:grpFill/>
                <a:ln w="5978" cap="flat">
                  <a:noFill/>
                  <a:prstDash val="solid"/>
                  <a:miter/>
                </a:ln>
              </p:spPr>
              <p:txBody>
                <a:bodyPr rtlCol="0" anchor="ctr"/>
                <a:lstStyle/>
                <a:p>
                  <a:endParaRPr lang="en-GB"/>
                </a:p>
              </p:txBody>
            </p:sp>
          </p:grpSp>
          <p:grpSp>
            <p:nvGrpSpPr>
              <p:cNvPr id="622" name="Graphic 3">
                <a:extLst>
                  <a:ext uri="{FF2B5EF4-FFF2-40B4-BE49-F238E27FC236}">
                    <a16:creationId xmlns:a16="http://schemas.microsoft.com/office/drawing/2014/main" id="{5F49FEF7-A8BC-4FCD-B924-5398E063B01B}"/>
                  </a:ext>
                </a:extLst>
              </p:cNvPr>
              <p:cNvGrpSpPr/>
              <p:nvPr/>
            </p:nvGrpSpPr>
            <p:grpSpPr>
              <a:xfrm>
                <a:off x="5737478" y="1681016"/>
                <a:ext cx="28461" cy="74810"/>
                <a:chOff x="5737478" y="1681016"/>
                <a:chExt cx="28461" cy="74810"/>
              </a:xfrm>
              <a:grpFill/>
            </p:grpSpPr>
            <p:sp>
              <p:nvSpPr>
                <p:cNvPr id="3523" name="Vrije vorm: vorm 3522">
                  <a:extLst>
                    <a:ext uri="{FF2B5EF4-FFF2-40B4-BE49-F238E27FC236}">
                      <a16:creationId xmlns:a16="http://schemas.microsoft.com/office/drawing/2014/main" id="{7A34F75D-C574-4121-996F-89CA890D326A}"/>
                    </a:ext>
                  </a:extLst>
                </p:cNvPr>
                <p:cNvSpPr/>
                <p:nvPr/>
              </p:nvSpPr>
              <p:spPr>
                <a:xfrm>
                  <a:off x="5745101" y="1689474"/>
                  <a:ext cx="13217" cy="57893"/>
                </a:xfrm>
                <a:custGeom>
                  <a:avLst/>
                  <a:gdLst>
                    <a:gd name="connsiteX0" fmla="*/ 2990 w 13217"/>
                    <a:gd name="connsiteY0" fmla="*/ 0 h 57893"/>
                    <a:gd name="connsiteX1" fmla="*/ 13217 w 13217"/>
                    <a:gd name="connsiteY1" fmla="*/ 57355 h 57893"/>
                    <a:gd name="connsiteX2" fmla="*/ 10227 w 13217"/>
                    <a:gd name="connsiteY2" fmla="*/ 57893 h 57893"/>
                    <a:gd name="connsiteX3" fmla="*/ 0 w 13217"/>
                    <a:gd name="connsiteY3" fmla="*/ 538 h 57893"/>
                  </a:gdLst>
                  <a:ahLst/>
                  <a:cxnLst>
                    <a:cxn ang="0">
                      <a:pos x="connsiteX0" y="connsiteY0"/>
                    </a:cxn>
                    <a:cxn ang="0">
                      <a:pos x="connsiteX1" y="connsiteY1"/>
                    </a:cxn>
                    <a:cxn ang="0">
                      <a:pos x="connsiteX2" y="connsiteY2"/>
                    </a:cxn>
                    <a:cxn ang="0">
                      <a:pos x="connsiteX3" y="connsiteY3"/>
                    </a:cxn>
                  </a:cxnLst>
                  <a:rect l="l" t="t" r="r" b="b"/>
                  <a:pathLst>
                    <a:path w="13217" h="57893">
                      <a:moveTo>
                        <a:pt x="2990" y="0"/>
                      </a:moveTo>
                      <a:lnTo>
                        <a:pt x="13217" y="57355"/>
                      </a:lnTo>
                      <a:lnTo>
                        <a:pt x="10227" y="57893"/>
                      </a:lnTo>
                      <a:lnTo>
                        <a:pt x="0" y="538"/>
                      </a:lnTo>
                      <a:close/>
                    </a:path>
                  </a:pathLst>
                </a:custGeom>
                <a:grpFill/>
                <a:ln w="5978" cap="flat">
                  <a:noFill/>
                  <a:prstDash val="solid"/>
                  <a:miter/>
                </a:ln>
              </p:spPr>
              <p:txBody>
                <a:bodyPr rtlCol="0" anchor="ctr"/>
                <a:lstStyle/>
                <a:p>
                  <a:endParaRPr lang="en-GB"/>
                </a:p>
              </p:txBody>
            </p:sp>
            <p:sp>
              <p:nvSpPr>
                <p:cNvPr id="3524" name="Vrije vorm: vorm 3523">
                  <a:extLst>
                    <a:ext uri="{FF2B5EF4-FFF2-40B4-BE49-F238E27FC236}">
                      <a16:creationId xmlns:a16="http://schemas.microsoft.com/office/drawing/2014/main" id="{04633B8A-9FBB-4FA8-84CE-9FA78AC471FC}"/>
                    </a:ext>
                  </a:extLst>
                </p:cNvPr>
                <p:cNvSpPr/>
                <p:nvPr/>
              </p:nvSpPr>
              <p:spPr>
                <a:xfrm>
                  <a:off x="5737478" y="1681016"/>
                  <a:ext cx="18356" cy="18395"/>
                </a:xfrm>
                <a:custGeom>
                  <a:avLst/>
                  <a:gdLst>
                    <a:gd name="connsiteX0" fmla="*/ 147 w 18356"/>
                    <a:gd name="connsiteY0" fmla="*/ 10791 h 18395"/>
                    <a:gd name="connsiteX1" fmla="*/ 7563 w 18356"/>
                    <a:gd name="connsiteY1" fmla="*/ 145 h 18395"/>
                    <a:gd name="connsiteX2" fmla="*/ 18209 w 18356"/>
                    <a:gd name="connsiteY2" fmla="*/ 7621 h 18395"/>
                    <a:gd name="connsiteX3" fmla="*/ 10793 w 18356"/>
                    <a:gd name="connsiteY3" fmla="*/ 18267 h 18395"/>
                    <a:gd name="connsiteX4" fmla="*/ 147 w 18356"/>
                    <a:gd name="connsiteY4" fmla="*/ 1079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5">
                      <a:moveTo>
                        <a:pt x="147" y="10791"/>
                      </a:moveTo>
                      <a:cubicBezTo>
                        <a:pt x="-750" y="5767"/>
                        <a:pt x="2539" y="983"/>
                        <a:pt x="7563" y="145"/>
                      </a:cubicBezTo>
                      <a:cubicBezTo>
                        <a:pt x="12527" y="-752"/>
                        <a:pt x="17312" y="2597"/>
                        <a:pt x="18209" y="7621"/>
                      </a:cubicBezTo>
                      <a:cubicBezTo>
                        <a:pt x="19106" y="12645"/>
                        <a:pt x="15817" y="17430"/>
                        <a:pt x="10793" y="18267"/>
                      </a:cubicBezTo>
                      <a:cubicBezTo>
                        <a:pt x="5829" y="19104"/>
                        <a:pt x="1044" y="15755"/>
                        <a:pt x="147" y="10791"/>
                      </a:cubicBezTo>
                      <a:close/>
                    </a:path>
                  </a:pathLst>
                </a:custGeom>
                <a:grpFill/>
                <a:ln w="5978" cap="flat">
                  <a:noFill/>
                  <a:prstDash val="solid"/>
                  <a:miter/>
                </a:ln>
              </p:spPr>
              <p:txBody>
                <a:bodyPr rtlCol="0" anchor="ctr"/>
                <a:lstStyle/>
                <a:p>
                  <a:endParaRPr lang="en-GB"/>
                </a:p>
              </p:txBody>
            </p:sp>
            <p:sp>
              <p:nvSpPr>
                <p:cNvPr id="3525" name="Vrije vorm: vorm 3524">
                  <a:extLst>
                    <a:ext uri="{FF2B5EF4-FFF2-40B4-BE49-F238E27FC236}">
                      <a16:creationId xmlns:a16="http://schemas.microsoft.com/office/drawing/2014/main" id="{EBADA285-C0A4-467A-94B7-CC5FE9B84705}"/>
                    </a:ext>
                  </a:extLst>
                </p:cNvPr>
                <p:cNvSpPr/>
                <p:nvPr/>
              </p:nvSpPr>
              <p:spPr>
                <a:xfrm>
                  <a:off x="5747585" y="1737414"/>
                  <a:ext cx="18354" cy="18412"/>
                </a:xfrm>
                <a:custGeom>
                  <a:avLst/>
                  <a:gdLst>
                    <a:gd name="connsiteX0" fmla="*/ 147 w 18354"/>
                    <a:gd name="connsiteY0" fmla="*/ 10791 h 18412"/>
                    <a:gd name="connsiteX1" fmla="*/ 10793 w 18354"/>
                    <a:gd name="connsiteY1" fmla="*/ 18267 h 18412"/>
                    <a:gd name="connsiteX2" fmla="*/ 18209 w 18354"/>
                    <a:gd name="connsiteY2" fmla="*/ 7621 h 18412"/>
                    <a:gd name="connsiteX3" fmla="*/ 7563 w 18354"/>
                    <a:gd name="connsiteY3" fmla="*/ 145 h 18412"/>
                    <a:gd name="connsiteX4" fmla="*/ 147 w 18354"/>
                    <a:gd name="connsiteY4" fmla="*/ 1079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47" y="10791"/>
                      </a:moveTo>
                      <a:cubicBezTo>
                        <a:pt x="1044" y="15815"/>
                        <a:pt x="5829" y="19164"/>
                        <a:pt x="10793" y="18267"/>
                      </a:cubicBezTo>
                      <a:cubicBezTo>
                        <a:pt x="15757" y="17370"/>
                        <a:pt x="19106" y="12585"/>
                        <a:pt x="18209" y="7621"/>
                      </a:cubicBezTo>
                      <a:cubicBezTo>
                        <a:pt x="17312" y="2597"/>
                        <a:pt x="12527" y="-752"/>
                        <a:pt x="7563" y="145"/>
                      </a:cubicBezTo>
                      <a:cubicBezTo>
                        <a:pt x="2539" y="1042"/>
                        <a:pt x="-750" y="5827"/>
                        <a:pt x="147" y="10791"/>
                      </a:cubicBezTo>
                      <a:close/>
                    </a:path>
                  </a:pathLst>
                </a:custGeom>
                <a:grpFill/>
                <a:ln w="5978" cap="flat">
                  <a:noFill/>
                  <a:prstDash val="solid"/>
                  <a:miter/>
                </a:ln>
              </p:spPr>
              <p:txBody>
                <a:bodyPr rtlCol="0" anchor="ctr"/>
                <a:lstStyle/>
                <a:p>
                  <a:endParaRPr lang="en-GB"/>
                </a:p>
              </p:txBody>
            </p:sp>
          </p:grpSp>
          <p:grpSp>
            <p:nvGrpSpPr>
              <p:cNvPr id="623" name="Graphic 3">
                <a:extLst>
                  <a:ext uri="{FF2B5EF4-FFF2-40B4-BE49-F238E27FC236}">
                    <a16:creationId xmlns:a16="http://schemas.microsoft.com/office/drawing/2014/main" id="{F4D2E6C7-BCE8-47AE-BC07-B3E15E6A9812}"/>
                  </a:ext>
                </a:extLst>
              </p:cNvPr>
              <p:cNvGrpSpPr/>
              <p:nvPr/>
            </p:nvGrpSpPr>
            <p:grpSpPr>
              <a:xfrm>
                <a:off x="6856950" y="5028856"/>
                <a:ext cx="72300" cy="126281"/>
                <a:chOff x="6856950" y="5028856"/>
                <a:chExt cx="72300" cy="126281"/>
              </a:xfrm>
              <a:grpFill/>
            </p:grpSpPr>
            <p:sp>
              <p:nvSpPr>
                <p:cNvPr id="3520" name="Vrije vorm: vorm 3519">
                  <a:extLst>
                    <a:ext uri="{FF2B5EF4-FFF2-40B4-BE49-F238E27FC236}">
                      <a16:creationId xmlns:a16="http://schemas.microsoft.com/office/drawing/2014/main" id="{1D9B3AC1-9CB5-4CA5-B2B2-35B588871AE4}"/>
                    </a:ext>
                  </a:extLst>
                </p:cNvPr>
                <p:cNvSpPr/>
                <p:nvPr/>
              </p:nvSpPr>
              <p:spPr>
                <a:xfrm>
                  <a:off x="6864550" y="5037159"/>
                  <a:ext cx="57207" cy="110001"/>
                </a:xfrm>
                <a:custGeom>
                  <a:avLst/>
                  <a:gdLst>
                    <a:gd name="connsiteX0" fmla="*/ 0 w 57207"/>
                    <a:gd name="connsiteY0" fmla="*/ 1368 h 110001"/>
                    <a:gd name="connsiteX1" fmla="*/ 2726 w 57207"/>
                    <a:gd name="connsiteY1" fmla="*/ 0 h 110001"/>
                    <a:gd name="connsiteX2" fmla="*/ 57208 w 57207"/>
                    <a:gd name="connsiteY2" fmla="*/ 108634 h 110001"/>
                    <a:gd name="connsiteX3" fmla="*/ 54481 w 57207"/>
                    <a:gd name="connsiteY3" fmla="*/ 110002 h 110001"/>
                  </a:gdLst>
                  <a:ahLst/>
                  <a:cxnLst>
                    <a:cxn ang="0">
                      <a:pos x="connsiteX0" y="connsiteY0"/>
                    </a:cxn>
                    <a:cxn ang="0">
                      <a:pos x="connsiteX1" y="connsiteY1"/>
                    </a:cxn>
                    <a:cxn ang="0">
                      <a:pos x="connsiteX2" y="connsiteY2"/>
                    </a:cxn>
                    <a:cxn ang="0">
                      <a:pos x="connsiteX3" y="connsiteY3"/>
                    </a:cxn>
                  </a:cxnLst>
                  <a:rect l="l" t="t" r="r" b="b"/>
                  <a:pathLst>
                    <a:path w="57207" h="110001">
                      <a:moveTo>
                        <a:pt x="0" y="1368"/>
                      </a:moveTo>
                      <a:lnTo>
                        <a:pt x="2726" y="0"/>
                      </a:lnTo>
                      <a:lnTo>
                        <a:pt x="57208" y="108634"/>
                      </a:lnTo>
                      <a:lnTo>
                        <a:pt x="54481" y="110002"/>
                      </a:lnTo>
                      <a:close/>
                    </a:path>
                  </a:pathLst>
                </a:custGeom>
                <a:grpFill/>
                <a:ln w="5978" cap="flat">
                  <a:noFill/>
                  <a:prstDash val="solid"/>
                  <a:miter/>
                </a:ln>
              </p:spPr>
              <p:txBody>
                <a:bodyPr rtlCol="0" anchor="ctr"/>
                <a:lstStyle/>
                <a:p>
                  <a:endParaRPr lang="en-GB"/>
                </a:p>
              </p:txBody>
            </p:sp>
            <p:sp>
              <p:nvSpPr>
                <p:cNvPr id="3521" name="Vrije vorm: vorm 3520">
                  <a:extLst>
                    <a:ext uri="{FF2B5EF4-FFF2-40B4-BE49-F238E27FC236}">
                      <a16:creationId xmlns:a16="http://schemas.microsoft.com/office/drawing/2014/main" id="{F8F84100-624A-417A-BB0E-A5D48DAD9922}"/>
                    </a:ext>
                  </a:extLst>
                </p:cNvPr>
                <p:cNvSpPr/>
                <p:nvPr/>
              </p:nvSpPr>
              <p:spPr>
                <a:xfrm>
                  <a:off x="6910897" y="5136688"/>
                  <a:ext cx="18353" cy="18448"/>
                </a:xfrm>
                <a:custGeom>
                  <a:avLst/>
                  <a:gdLst>
                    <a:gd name="connsiteX0" fmla="*/ 17370 w 18353"/>
                    <a:gd name="connsiteY0" fmla="*/ 5098 h 18448"/>
                    <a:gd name="connsiteX1" fmla="*/ 13304 w 18353"/>
                    <a:gd name="connsiteY1" fmla="*/ 17478 h 18448"/>
                    <a:gd name="connsiteX2" fmla="*/ 983 w 18353"/>
                    <a:gd name="connsiteY2" fmla="*/ 13351 h 18448"/>
                    <a:gd name="connsiteX3" fmla="*/ 5051 w 18353"/>
                    <a:gd name="connsiteY3" fmla="*/ 971 h 18448"/>
                    <a:gd name="connsiteX4" fmla="*/ 17370 w 18353"/>
                    <a:gd name="connsiteY4" fmla="*/ 50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8">
                      <a:moveTo>
                        <a:pt x="17370" y="5098"/>
                      </a:moveTo>
                      <a:cubicBezTo>
                        <a:pt x="19643" y="9643"/>
                        <a:pt x="17849" y="15205"/>
                        <a:pt x="13304" y="17478"/>
                      </a:cubicBezTo>
                      <a:cubicBezTo>
                        <a:pt x="8759" y="19751"/>
                        <a:pt x="3256" y="17896"/>
                        <a:pt x="983" y="13351"/>
                      </a:cubicBezTo>
                      <a:cubicBezTo>
                        <a:pt x="-1289" y="8806"/>
                        <a:pt x="505" y="3244"/>
                        <a:pt x="5051" y="971"/>
                      </a:cubicBezTo>
                      <a:cubicBezTo>
                        <a:pt x="9596" y="-1302"/>
                        <a:pt x="15098" y="552"/>
                        <a:pt x="17370" y="5098"/>
                      </a:cubicBezTo>
                      <a:close/>
                    </a:path>
                  </a:pathLst>
                </a:custGeom>
                <a:grpFill/>
                <a:ln w="5978" cap="flat">
                  <a:noFill/>
                  <a:prstDash val="solid"/>
                  <a:miter/>
                </a:ln>
              </p:spPr>
              <p:txBody>
                <a:bodyPr rtlCol="0" anchor="ctr"/>
                <a:lstStyle/>
                <a:p>
                  <a:endParaRPr lang="en-GB"/>
                </a:p>
              </p:txBody>
            </p:sp>
            <p:sp>
              <p:nvSpPr>
                <p:cNvPr id="3522" name="Vrije vorm: vorm 3521">
                  <a:extLst>
                    <a:ext uri="{FF2B5EF4-FFF2-40B4-BE49-F238E27FC236}">
                      <a16:creationId xmlns:a16="http://schemas.microsoft.com/office/drawing/2014/main" id="{BDEA32A3-9E88-4AA3-8BE2-5BABF526259B}"/>
                    </a:ext>
                  </a:extLst>
                </p:cNvPr>
                <p:cNvSpPr/>
                <p:nvPr/>
              </p:nvSpPr>
              <p:spPr>
                <a:xfrm>
                  <a:off x="6856950" y="5028856"/>
                  <a:ext cx="18343" cy="18449"/>
                </a:xfrm>
                <a:custGeom>
                  <a:avLst/>
                  <a:gdLst>
                    <a:gd name="connsiteX0" fmla="*/ 17370 w 18343"/>
                    <a:gd name="connsiteY0" fmla="*/ 5098 h 18449"/>
                    <a:gd name="connsiteX1" fmla="*/ 5051 w 18343"/>
                    <a:gd name="connsiteY1" fmla="*/ 971 h 18449"/>
                    <a:gd name="connsiteX2" fmla="*/ 983 w 18343"/>
                    <a:gd name="connsiteY2" fmla="*/ 13351 h 18449"/>
                    <a:gd name="connsiteX3" fmla="*/ 13304 w 18343"/>
                    <a:gd name="connsiteY3" fmla="*/ 17478 h 18449"/>
                    <a:gd name="connsiteX4" fmla="*/ 17370 w 18343"/>
                    <a:gd name="connsiteY4" fmla="*/ 509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9">
                      <a:moveTo>
                        <a:pt x="17370" y="5098"/>
                      </a:moveTo>
                      <a:cubicBezTo>
                        <a:pt x="15098" y="552"/>
                        <a:pt x="9596" y="-1302"/>
                        <a:pt x="5051" y="971"/>
                      </a:cubicBezTo>
                      <a:cubicBezTo>
                        <a:pt x="505" y="3244"/>
                        <a:pt x="-1289" y="8746"/>
                        <a:pt x="983" y="13351"/>
                      </a:cubicBezTo>
                      <a:cubicBezTo>
                        <a:pt x="3256" y="17897"/>
                        <a:pt x="8759" y="19751"/>
                        <a:pt x="13304" y="17478"/>
                      </a:cubicBezTo>
                      <a:cubicBezTo>
                        <a:pt x="17790" y="15145"/>
                        <a:pt x="19643" y="9643"/>
                        <a:pt x="17370" y="5098"/>
                      </a:cubicBezTo>
                      <a:close/>
                    </a:path>
                  </a:pathLst>
                </a:custGeom>
                <a:grpFill/>
                <a:ln w="5978" cap="flat">
                  <a:noFill/>
                  <a:prstDash val="solid"/>
                  <a:miter/>
                </a:ln>
              </p:spPr>
              <p:txBody>
                <a:bodyPr rtlCol="0" anchor="ctr"/>
                <a:lstStyle/>
                <a:p>
                  <a:endParaRPr lang="en-GB"/>
                </a:p>
              </p:txBody>
            </p:sp>
          </p:grpSp>
          <p:grpSp>
            <p:nvGrpSpPr>
              <p:cNvPr id="624" name="Graphic 3">
                <a:extLst>
                  <a:ext uri="{FF2B5EF4-FFF2-40B4-BE49-F238E27FC236}">
                    <a16:creationId xmlns:a16="http://schemas.microsoft.com/office/drawing/2014/main" id="{2F1CD9CB-C39D-4177-9A11-E66C5EBFB397}"/>
                  </a:ext>
                </a:extLst>
              </p:cNvPr>
              <p:cNvGrpSpPr/>
              <p:nvPr/>
            </p:nvGrpSpPr>
            <p:grpSpPr>
              <a:xfrm>
                <a:off x="6798618" y="4914061"/>
                <a:ext cx="176346" cy="418548"/>
                <a:chOff x="6798618" y="4914061"/>
                <a:chExt cx="176346" cy="418548"/>
              </a:xfrm>
              <a:grpFill/>
            </p:grpSpPr>
            <p:sp>
              <p:nvSpPr>
                <p:cNvPr id="3517" name="Vrije vorm: vorm 3516">
                  <a:extLst>
                    <a:ext uri="{FF2B5EF4-FFF2-40B4-BE49-F238E27FC236}">
                      <a16:creationId xmlns:a16="http://schemas.microsoft.com/office/drawing/2014/main" id="{0E6A3E10-92B3-4B44-9DCF-E02CC44FFF19}"/>
                    </a:ext>
                  </a:extLst>
                </p:cNvPr>
                <p:cNvSpPr/>
                <p:nvPr/>
              </p:nvSpPr>
              <p:spPr>
                <a:xfrm>
                  <a:off x="6806081" y="4922490"/>
                  <a:ext cx="161047" cy="402119"/>
                </a:xfrm>
                <a:custGeom>
                  <a:avLst/>
                  <a:gdLst>
                    <a:gd name="connsiteX0" fmla="*/ 0 w 161047"/>
                    <a:gd name="connsiteY0" fmla="*/ 1119 h 402119"/>
                    <a:gd name="connsiteX1" fmla="*/ 2838 w 161047"/>
                    <a:gd name="connsiteY1" fmla="*/ 0 h 402119"/>
                    <a:gd name="connsiteX2" fmla="*/ 161048 w 161047"/>
                    <a:gd name="connsiteY2" fmla="*/ 401000 h 402119"/>
                    <a:gd name="connsiteX3" fmla="*/ 158211 w 161047"/>
                    <a:gd name="connsiteY3" fmla="*/ 402120 h 402119"/>
                  </a:gdLst>
                  <a:ahLst/>
                  <a:cxnLst>
                    <a:cxn ang="0">
                      <a:pos x="connsiteX0" y="connsiteY0"/>
                    </a:cxn>
                    <a:cxn ang="0">
                      <a:pos x="connsiteX1" y="connsiteY1"/>
                    </a:cxn>
                    <a:cxn ang="0">
                      <a:pos x="connsiteX2" y="connsiteY2"/>
                    </a:cxn>
                    <a:cxn ang="0">
                      <a:pos x="connsiteX3" y="connsiteY3"/>
                    </a:cxn>
                  </a:cxnLst>
                  <a:rect l="l" t="t" r="r" b="b"/>
                  <a:pathLst>
                    <a:path w="161047" h="402119">
                      <a:moveTo>
                        <a:pt x="0" y="1119"/>
                      </a:moveTo>
                      <a:lnTo>
                        <a:pt x="2838" y="0"/>
                      </a:lnTo>
                      <a:lnTo>
                        <a:pt x="161048" y="401000"/>
                      </a:lnTo>
                      <a:lnTo>
                        <a:pt x="158211" y="402120"/>
                      </a:lnTo>
                      <a:close/>
                    </a:path>
                  </a:pathLst>
                </a:custGeom>
                <a:grpFill/>
                <a:ln w="5978" cap="flat">
                  <a:noFill/>
                  <a:prstDash val="solid"/>
                  <a:miter/>
                </a:ln>
              </p:spPr>
              <p:txBody>
                <a:bodyPr rtlCol="0" anchor="ctr"/>
                <a:lstStyle/>
                <a:p>
                  <a:endParaRPr lang="en-GB"/>
                </a:p>
              </p:txBody>
            </p:sp>
            <p:sp>
              <p:nvSpPr>
                <p:cNvPr id="3518" name="Vrije vorm: vorm 3517">
                  <a:extLst>
                    <a:ext uri="{FF2B5EF4-FFF2-40B4-BE49-F238E27FC236}">
                      <a16:creationId xmlns:a16="http://schemas.microsoft.com/office/drawing/2014/main" id="{FA8039BF-544C-4CAD-AC74-A857B081140A}"/>
                    </a:ext>
                  </a:extLst>
                </p:cNvPr>
                <p:cNvSpPr/>
                <p:nvPr/>
              </p:nvSpPr>
              <p:spPr>
                <a:xfrm>
                  <a:off x="6798618" y="4914061"/>
                  <a:ext cx="18335" cy="18445"/>
                </a:xfrm>
                <a:custGeom>
                  <a:avLst/>
                  <a:gdLst>
                    <a:gd name="connsiteX0" fmla="*/ 645 w 18335"/>
                    <a:gd name="connsiteY0" fmla="*/ 12598 h 18445"/>
                    <a:gd name="connsiteX1" fmla="*/ 5789 w 18335"/>
                    <a:gd name="connsiteY1" fmla="*/ 637 h 18445"/>
                    <a:gd name="connsiteX2" fmla="*/ 17690 w 18335"/>
                    <a:gd name="connsiteY2" fmla="*/ 5840 h 18445"/>
                    <a:gd name="connsiteX3" fmla="*/ 12547 w 18335"/>
                    <a:gd name="connsiteY3" fmla="*/ 17801 h 18445"/>
                    <a:gd name="connsiteX4" fmla="*/ 645 w 18335"/>
                    <a:gd name="connsiteY4" fmla="*/ 1259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5">
                      <a:moveTo>
                        <a:pt x="645" y="12598"/>
                      </a:moveTo>
                      <a:cubicBezTo>
                        <a:pt x="-1209" y="7874"/>
                        <a:pt x="1064" y="2491"/>
                        <a:pt x="5789" y="637"/>
                      </a:cubicBezTo>
                      <a:cubicBezTo>
                        <a:pt x="10513" y="-1217"/>
                        <a:pt x="15836" y="1115"/>
                        <a:pt x="17690" y="5840"/>
                      </a:cubicBezTo>
                      <a:cubicBezTo>
                        <a:pt x="19544" y="10565"/>
                        <a:pt x="17272" y="15947"/>
                        <a:pt x="12547" y="17801"/>
                      </a:cubicBezTo>
                      <a:cubicBezTo>
                        <a:pt x="7882" y="19655"/>
                        <a:pt x="2559" y="17383"/>
                        <a:pt x="645" y="12598"/>
                      </a:cubicBezTo>
                      <a:close/>
                    </a:path>
                  </a:pathLst>
                </a:custGeom>
                <a:grpFill/>
                <a:ln w="5978" cap="flat">
                  <a:noFill/>
                  <a:prstDash val="solid"/>
                  <a:miter/>
                </a:ln>
              </p:spPr>
              <p:txBody>
                <a:bodyPr rtlCol="0" anchor="ctr"/>
                <a:lstStyle/>
                <a:p>
                  <a:endParaRPr lang="en-GB"/>
                </a:p>
              </p:txBody>
            </p:sp>
            <p:sp>
              <p:nvSpPr>
                <p:cNvPr id="3519" name="Vrije vorm: vorm 3518">
                  <a:extLst>
                    <a:ext uri="{FF2B5EF4-FFF2-40B4-BE49-F238E27FC236}">
                      <a16:creationId xmlns:a16="http://schemas.microsoft.com/office/drawing/2014/main" id="{62C45BA8-1589-4F4C-98B4-DD6BE584FF44}"/>
                    </a:ext>
                  </a:extLst>
                </p:cNvPr>
                <p:cNvSpPr/>
                <p:nvPr/>
              </p:nvSpPr>
              <p:spPr>
                <a:xfrm>
                  <a:off x="6956629" y="5314171"/>
                  <a:ext cx="18335" cy="18438"/>
                </a:xfrm>
                <a:custGeom>
                  <a:avLst/>
                  <a:gdLst>
                    <a:gd name="connsiteX0" fmla="*/ 645 w 18335"/>
                    <a:gd name="connsiteY0" fmla="*/ 12598 h 18438"/>
                    <a:gd name="connsiteX1" fmla="*/ 12547 w 18335"/>
                    <a:gd name="connsiteY1" fmla="*/ 17801 h 18438"/>
                    <a:gd name="connsiteX2" fmla="*/ 17691 w 18335"/>
                    <a:gd name="connsiteY2" fmla="*/ 5840 h 18438"/>
                    <a:gd name="connsiteX3" fmla="*/ 5788 w 18335"/>
                    <a:gd name="connsiteY3" fmla="*/ 637 h 18438"/>
                    <a:gd name="connsiteX4" fmla="*/ 645 w 18335"/>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645" y="12598"/>
                      </a:moveTo>
                      <a:cubicBezTo>
                        <a:pt x="2499" y="17323"/>
                        <a:pt x="7822" y="19655"/>
                        <a:pt x="12547" y="17801"/>
                      </a:cubicBezTo>
                      <a:cubicBezTo>
                        <a:pt x="17272" y="15947"/>
                        <a:pt x="19544" y="10565"/>
                        <a:pt x="17691" y="5840"/>
                      </a:cubicBezTo>
                      <a:cubicBezTo>
                        <a:pt x="15836" y="1115"/>
                        <a:pt x="10513" y="-1217"/>
                        <a:pt x="5788" y="637"/>
                      </a:cubicBezTo>
                      <a:cubicBezTo>
                        <a:pt x="1064" y="2491"/>
                        <a:pt x="-1209" y="7814"/>
                        <a:pt x="645" y="12598"/>
                      </a:cubicBezTo>
                      <a:close/>
                    </a:path>
                  </a:pathLst>
                </a:custGeom>
                <a:grpFill/>
                <a:ln w="5978" cap="flat">
                  <a:noFill/>
                  <a:prstDash val="solid"/>
                  <a:miter/>
                </a:ln>
              </p:spPr>
              <p:txBody>
                <a:bodyPr rtlCol="0" anchor="ctr"/>
                <a:lstStyle/>
                <a:p>
                  <a:endParaRPr lang="en-GB"/>
                </a:p>
              </p:txBody>
            </p:sp>
          </p:grpSp>
          <p:grpSp>
            <p:nvGrpSpPr>
              <p:cNvPr id="625" name="Graphic 3">
                <a:extLst>
                  <a:ext uri="{FF2B5EF4-FFF2-40B4-BE49-F238E27FC236}">
                    <a16:creationId xmlns:a16="http://schemas.microsoft.com/office/drawing/2014/main" id="{C799840A-1E96-46E9-9332-198BE3586333}"/>
                  </a:ext>
                </a:extLst>
              </p:cNvPr>
              <p:cNvGrpSpPr/>
              <p:nvPr/>
            </p:nvGrpSpPr>
            <p:grpSpPr>
              <a:xfrm>
                <a:off x="6898915" y="5194730"/>
                <a:ext cx="75486" cy="138065"/>
                <a:chOff x="6898915" y="5194730"/>
                <a:chExt cx="75486" cy="138065"/>
              </a:xfrm>
              <a:grpFill/>
            </p:grpSpPr>
            <p:sp>
              <p:nvSpPr>
                <p:cNvPr id="3514" name="Vrije vorm: vorm 3513">
                  <a:extLst>
                    <a:ext uri="{FF2B5EF4-FFF2-40B4-BE49-F238E27FC236}">
                      <a16:creationId xmlns:a16="http://schemas.microsoft.com/office/drawing/2014/main" id="{1CBE47AC-CC1E-4191-AEEA-99B8C438587A}"/>
                    </a:ext>
                  </a:extLst>
                </p:cNvPr>
                <p:cNvSpPr/>
                <p:nvPr/>
              </p:nvSpPr>
              <p:spPr>
                <a:xfrm>
                  <a:off x="6906497" y="5202849"/>
                  <a:ext cx="60286" cy="121827"/>
                </a:xfrm>
                <a:custGeom>
                  <a:avLst/>
                  <a:gdLst>
                    <a:gd name="connsiteX0" fmla="*/ 60286 w 60286"/>
                    <a:gd name="connsiteY0" fmla="*/ 120512 h 121827"/>
                    <a:gd name="connsiteX1" fmla="*/ 57535 w 60286"/>
                    <a:gd name="connsiteY1" fmla="*/ 121827 h 121827"/>
                    <a:gd name="connsiteX2" fmla="*/ 0 w 60286"/>
                    <a:gd name="connsiteY2" fmla="*/ 1316 h 121827"/>
                    <a:gd name="connsiteX3" fmla="*/ 2752 w 60286"/>
                    <a:gd name="connsiteY3" fmla="*/ 0 h 121827"/>
                  </a:gdLst>
                  <a:ahLst/>
                  <a:cxnLst>
                    <a:cxn ang="0">
                      <a:pos x="connsiteX0" y="connsiteY0"/>
                    </a:cxn>
                    <a:cxn ang="0">
                      <a:pos x="connsiteX1" y="connsiteY1"/>
                    </a:cxn>
                    <a:cxn ang="0">
                      <a:pos x="connsiteX2" y="connsiteY2"/>
                    </a:cxn>
                    <a:cxn ang="0">
                      <a:pos x="connsiteX3" y="connsiteY3"/>
                    </a:cxn>
                  </a:cxnLst>
                  <a:rect l="l" t="t" r="r" b="b"/>
                  <a:pathLst>
                    <a:path w="60286" h="121827">
                      <a:moveTo>
                        <a:pt x="60286" y="120512"/>
                      </a:moveTo>
                      <a:lnTo>
                        <a:pt x="57535" y="121827"/>
                      </a:lnTo>
                      <a:lnTo>
                        <a:pt x="0" y="1316"/>
                      </a:lnTo>
                      <a:lnTo>
                        <a:pt x="2752" y="0"/>
                      </a:lnTo>
                      <a:close/>
                    </a:path>
                  </a:pathLst>
                </a:custGeom>
                <a:grpFill/>
                <a:ln w="5978" cap="flat">
                  <a:noFill/>
                  <a:prstDash val="solid"/>
                  <a:miter/>
                </a:ln>
              </p:spPr>
              <p:txBody>
                <a:bodyPr rtlCol="0" anchor="ctr"/>
                <a:lstStyle/>
                <a:p>
                  <a:endParaRPr lang="en-GB"/>
                </a:p>
              </p:txBody>
            </p:sp>
            <p:sp>
              <p:nvSpPr>
                <p:cNvPr id="3515" name="Vrije vorm: vorm 3514">
                  <a:extLst>
                    <a:ext uri="{FF2B5EF4-FFF2-40B4-BE49-F238E27FC236}">
                      <a16:creationId xmlns:a16="http://schemas.microsoft.com/office/drawing/2014/main" id="{420F1BEF-7CCE-4078-9E39-B5A19884F82E}"/>
                    </a:ext>
                  </a:extLst>
                </p:cNvPr>
                <p:cNvSpPr/>
                <p:nvPr/>
              </p:nvSpPr>
              <p:spPr>
                <a:xfrm>
                  <a:off x="6955995" y="5314404"/>
                  <a:ext cx="18406" cy="18390"/>
                </a:xfrm>
                <a:custGeom>
                  <a:avLst/>
                  <a:gdLst>
                    <a:gd name="connsiteX0" fmla="*/ 17487 w 18406"/>
                    <a:gd name="connsiteY0" fmla="*/ 5248 h 18390"/>
                    <a:gd name="connsiteX1" fmla="*/ 13180 w 18406"/>
                    <a:gd name="connsiteY1" fmla="*/ 17509 h 18390"/>
                    <a:gd name="connsiteX2" fmla="*/ 920 w 18406"/>
                    <a:gd name="connsiteY2" fmla="*/ 13143 h 18390"/>
                    <a:gd name="connsiteX3" fmla="*/ 5226 w 18406"/>
                    <a:gd name="connsiteY3" fmla="*/ 882 h 18390"/>
                    <a:gd name="connsiteX4" fmla="*/ 17487 w 18406"/>
                    <a:gd name="connsiteY4" fmla="*/ 5248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6" h="18390">
                      <a:moveTo>
                        <a:pt x="17487" y="5248"/>
                      </a:moveTo>
                      <a:cubicBezTo>
                        <a:pt x="19699" y="9854"/>
                        <a:pt x="17785" y="15356"/>
                        <a:pt x="13180" y="17509"/>
                      </a:cubicBezTo>
                      <a:cubicBezTo>
                        <a:pt x="8575" y="19662"/>
                        <a:pt x="3133" y="17748"/>
                        <a:pt x="920" y="13143"/>
                      </a:cubicBezTo>
                      <a:cubicBezTo>
                        <a:pt x="-1293" y="8538"/>
                        <a:pt x="620" y="3035"/>
                        <a:pt x="5226" y="882"/>
                      </a:cubicBezTo>
                      <a:cubicBezTo>
                        <a:pt x="9831" y="-1271"/>
                        <a:pt x="15274" y="643"/>
                        <a:pt x="17487" y="5248"/>
                      </a:cubicBezTo>
                      <a:close/>
                    </a:path>
                  </a:pathLst>
                </a:custGeom>
                <a:grpFill/>
                <a:ln w="5978" cap="flat">
                  <a:noFill/>
                  <a:prstDash val="solid"/>
                  <a:miter/>
                </a:ln>
              </p:spPr>
              <p:txBody>
                <a:bodyPr rtlCol="0" anchor="ctr"/>
                <a:lstStyle/>
                <a:p>
                  <a:endParaRPr lang="en-GB"/>
                </a:p>
              </p:txBody>
            </p:sp>
            <p:sp>
              <p:nvSpPr>
                <p:cNvPr id="3516" name="Vrije vorm: vorm 3515">
                  <a:extLst>
                    <a:ext uri="{FF2B5EF4-FFF2-40B4-BE49-F238E27FC236}">
                      <a16:creationId xmlns:a16="http://schemas.microsoft.com/office/drawing/2014/main" id="{6A98C1C2-3BB8-49B6-ABC2-F43B188AB5C7}"/>
                    </a:ext>
                  </a:extLst>
                </p:cNvPr>
                <p:cNvSpPr/>
                <p:nvPr/>
              </p:nvSpPr>
              <p:spPr>
                <a:xfrm>
                  <a:off x="6898915" y="5194730"/>
                  <a:ext cx="18333" cy="18390"/>
                </a:xfrm>
                <a:custGeom>
                  <a:avLst/>
                  <a:gdLst>
                    <a:gd name="connsiteX0" fmla="*/ 17450 w 18333"/>
                    <a:gd name="connsiteY0" fmla="*/ 5248 h 18390"/>
                    <a:gd name="connsiteX1" fmla="*/ 5189 w 18333"/>
                    <a:gd name="connsiteY1" fmla="*/ 882 h 18390"/>
                    <a:gd name="connsiteX2" fmla="*/ 883 w 18333"/>
                    <a:gd name="connsiteY2" fmla="*/ 13143 h 18390"/>
                    <a:gd name="connsiteX3" fmla="*/ 13144 w 18333"/>
                    <a:gd name="connsiteY3" fmla="*/ 17509 h 18390"/>
                    <a:gd name="connsiteX4" fmla="*/ 17450 w 18333"/>
                    <a:gd name="connsiteY4" fmla="*/ 5248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0">
                      <a:moveTo>
                        <a:pt x="17450" y="5248"/>
                      </a:moveTo>
                      <a:cubicBezTo>
                        <a:pt x="15237" y="643"/>
                        <a:pt x="9795" y="-1271"/>
                        <a:pt x="5189" y="882"/>
                      </a:cubicBezTo>
                      <a:cubicBezTo>
                        <a:pt x="645" y="3095"/>
                        <a:pt x="-1270" y="8538"/>
                        <a:pt x="883" y="13143"/>
                      </a:cubicBezTo>
                      <a:cubicBezTo>
                        <a:pt x="3096" y="17748"/>
                        <a:pt x="8539" y="19662"/>
                        <a:pt x="13144" y="17509"/>
                      </a:cubicBezTo>
                      <a:cubicBezTo>
                        <a:pt x="17690" y="15296"/>
                        <a:pt x="19603" y="9854"/>
                        <a:pt x="17450" y="5248"/>
                      </a:cubicBezTo>
                      <a:close/>
                    </a:path>
                  </a:pathLst>
                </a:custGeom>
                <a:grpFill/>
                <a:ln w="5978" cap="flat">
                  <a:noFill/>
                  <a:prstDash val="solid"/>
                  <a:miter/>
                </a:ln>
              </p:spPr>
              <p:txBody>
                <a:bodyPr rtlCol="0" anchor="ctr"/>
                <a:lstStyle/>
                <a:p>
                  <a:endParaRPr lang="en-GB"/>
                </a:p>
              </p:txBody>
            </p:sp>
          </p:grpSp>
          <p:grpSp>
            <p:nvGrpSpPr>
              <p:cNvPr id="626" name="Graphic 3">
                <a:extLst>
                  <a:ext uri="{FF2B5EF4-FFF2-40B4-BE49-F238E27FC236}">
                    <a16:creationId xmlns:a16="http://schemas.microsoft.com/office/drawing/2014/main" id="{547CB78E-283D-443C-87F2-23AE5750A3F5}"/>
                  </a:ext>
                </a:extLst>
              </p:cNvPr>
              <p:cNvGrpSpPr/>
              <p:nvPr/>
            </p:nvGrpSpPr>
            <p:grpSpPr>
              <a:xfrm>
                <a:off x="5555239" y="1147830"/>
                <a:ext cx="100243" cy="395745"/>
                <a:chOff x="5555239" y="1147830"/>
                <a:chExt cx="100243" cy="395745"/>
              </a:xfrm>
              <a:grpFill/>
            </p:grpSpPr>
            <p:sp>
              <p:nvSpPr>
                <p:cNvPr id="3511" name="Vrije vorm: vorm 3510">
                  <a:extLst>
                    <a:ext uri="{FF2B5EF4-FFF2-40B4-BE49-F238E27FC236}">
                      <a16:creationId xmlns:a16="http://schemas.microsoft.com/office/drawing/2014/main" id="{2246E6C0-EC15-45AA-A94E-454017C60547}"/>
                    </a:ext>
                  </a:extLst>
                </p:cNvPr>
                <p:cNvSpPr/>
                <p:nvPr/>
              </p:nvSpPr>
              <p:spPr>
                <a:xfrm>
                  <a:off x="5562808" y="1156293"/>
                  <a:ext cx="85105" cy="378878"/>
                </a:xfrm>
                <a:custGeom>
                  <a:avLst/>
                  <a:gdLst>
                    <a:gd name="connsiteX0" fmla="*/ 2990 w 85105"/>
                    <a:gd name="connsiteY0" fmla="*/ 0 h 378878"/>
                    <a:gd name="connsiteX1" fmla="*/ 85106 w 85105"/>
                    <a:gd name="connsiteY1" fmla="*/ 378221 h 378878"/>
                    <a:gd name="connsiteX2" fmla="*/ 82116 w 85105"/>
                    <a:gd name="connsiteY2" fmla="*/ 378879 h 378878"/>
                    <a:gd name="connsiteX3" fmla="*/ 0 w 85105"/>
                    <a:gd name="connsiteY3" fmla="*/ 598 h 378878"/>
                  </a:gdLst>
                  <a:ahLst/>
                  <a:cxnLst>
                    <a:cxn ang="0">
                      <a:pos x="connsiteX0" y="connsiteY0"/>
                    </a:cxn>
                    <a:cxn ang="0">
                      <a:pos x="connsiteX1" y="connsiteY1"/>
                    </a:cxn>
                    <a:cxn ang="0">
                      <a:pos x="connsiteX2" y="connsiteY2"/>
                    </a:cxn>
                    <a:cxn ang="0">
                      <a:pos x="connsiteX3" y="connsiteY3"/>
                    </a:cxn>
                  </a:cxnLst>
                  <a:rect l="l" t="t" r="r" b="b"/>
                  <a:pathLst>
                    <a:path w="85105" h="378878">
                      <a:moveTo>
                        <a:pt x="2990" y="0"/>
                      </a:moveTo>
                      <a:lnTo>
                        <a:pt x="85106" y="378221"/>
                      </a:lnTo>
                      <a:lnTo>
                        <a:pt x="82116" y="378879"/>
                      </a:lnTo>
                      <a:lnTo>
                        <a:pt x="0" y="598"/>
                      </a:lnTo>
                      <a:close/>
                    </a:path>
                  </a:pathLst>
                </a:custGeom>
                <a:grpFill/>
                <a:ln w="5978" cap="flat">
                  <a:noFill/>
                  <a:prstDash val="solid"/>
                  <a:miter/>
                </a:ln>
              </p:spPr>
              <p:txBody>
                <a:bodyPr rtlCol="0" anchor="ctr"/>
                <a:lstStyle/>
                <a:p>
                  <a:endParaRPr lang="en-GB"/>
                </a:p>
              </p:txBody>
            </p:sp>
            <p:sp>
              <p:nvSpPr>
                <p:cNvPr id="3512" name="Vrije vorm: vorm 3511">
                  <a:extLst>
                    <a:ext uri="{FF2B5EF4-FFF2-40B4-BE49-F238E27FC236}">
                      <a16:creationId xmlns:a16="http://schemas.microsoft.com/office/drawing/2014/main" id="{D82251A6-9DF7-418E-94BD-E89F84CEC545}"/>
                    </a:ext>
                  </a:extLst>
                </p:cNvPr>
                <p:cNvSpPr/>
                <p:nvPr/>
              </p:nvSpPr>
              <p:spPr>
                <a:xfrm>
                  <a:off x="5555239" y="1147830"/>
                  <a:ext cx="18307" cy="18421"/>
                </a:xfrm>
                <a:custGeom>
                  <a:avLst/>
                  <a:gdLst>
                    <a:gd name="connsiteX0" fmla="*/ 213 w 18307"/>
                    <a:gd name="connsiteY0" fmla="*/ 11155 h 18421"/>
                    <a:gd name="connsiteX1" fmla="*/ 7210 w 18307"/>
                    <a:gd name="connsiteY1" fmla="*/ 210 h 18421"/>
                    <a:gd name="connsiteX2" fmla="*/ 18095 w 18307"/>
                    <a:gd name="connsiteY2" fmla="*/ 7267 h 18421"/>
                    <a:gd name="connsiteX3" fmla="*/ 11098 w 18307"/>
                    <a:gd name="connsiteY3" fmla="*/ 18212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864" y="6191"/>
                        <a:pt x="2246" y="1287"/>
                        <a:pt x="7210" y="210"/>
                      </a:cubicBezTo>
                      <a:cubicBezTo>
                        <a:pt x="12174" y="-867"/>
                        <a:pt x="17019" y="2303"/>
                        <a:pt x="18095" y="7267"/>
                      </a:cubicBezTo>
                      <a:cubicBezTo>
                        <a:pt x="19172" y="12231"/>
                        <a:pt x="16062" y="17135"/>
                        <a:pt x="11098" y="18212"/>
                      </a:cubicBezTo>
                      <a:cubicBezTo>
                        <a:pt x="6134" y="19288"/>
                        <a:pt x="1289" y="16119"/>
                        <a:pt x="213" y="11155"/>
                      </a:cubicBezTo>
                      <a:close/>
                    </a:path>
                  </a:pathLst>
                </a:custGeom>
                <a:grpFill/>
                <a:ln w="5978" cap="flat">
                  <a:noFill/>
                  <a:prstDash val="solid"/>
                  <a:miter/>
                </a:ln>
              </p:spPr>
              <p:txBody>
                <a:bodyPr rtlCol="0" anchor="ctr"/>
                <a:lstStyle/>
                <a:p>
                  <a:endParaRPr lang="en-GB"/>
                </a:p>
              </p:txBody>
            </p:sp>
            <p:sp>
              <p:nvSpPr>
                <p:cNvPr id="3513" name="Vrije vorm: vorm 3512">
                  <a:extLst>
                    <a:ext uri="{FF2B5EF4-FFF2-40B4-BE49-F238E27FC236}">
                      <a16:creationId xmlns:a16="http://schemas.microsoft.com/office/drawing/2014/main" id="{30793D10-88F8-4098-A005-9AAD572BFCC3}"/>
                    </a:ext>
                  </a:extLst>
                </p:cNvPr>
                <p:cNvSpPr/>
                <p:nvPr/>
              </p:nvSpPr>
              <p:spPr>
                <a:xfrm>
                  <a:off x="5637175" y="1525153"/>
                  <a:ext cx="18307" cy="18421"/>
                </a:xfrm>
                <a:custGeom>
                  <a:avLst/>
                  <a:gdLst>
                    <a:gd name="connsiteX0" fmla="*/ 213 w 18307"/>
                    <a:gd name="connsiteY0" fmla="*/ 11155 h 18421"/>
                    <a:gd name="connsiteX1" fmla="*/ 11098 w 18307"/>
                    <a:gd name="connsiteY1" fmla="*/ 18212 h 18421"/>
                    <a:gd name="connsiteX2" fmla="*/ 18095 w 18307"/>
                    <a:gd name="connsiteY2" fmla="*/ 7267 h 18421"/>
                    <a:gd name="connsiteX3" fmla="*/ 7210 w 18307"/>
                    <a:gd name="connsiteY3" fmla="*/ 210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1289" y="16119"/>
                        <a:pt x="6194" y="19288"/>
                        <a:pt x="11098" y="18212"/>
                      </a:cubicBezTo>
                      <a:cubicBezTo>
                        <a:pt x="16062" y="17135"/>
                        <a:pt x="19172" y="12231"/>
                        <a:pt x="18095" y="7267"/>
                      </a:cubicBezTo>
                      <a:cubicBezTo>
                        <a:pt x="17019" y="2303"/>
                        <a:pt x="12114" y="-867"/>
                        <a:pt x="7210" y="210"/>
                      </a:cubicBezTo>
                      <a:cubicBezTo>
                        <a:pt x="2246" y="1287"/>
                        <a:pt x="-864" y="6191"/>
                        <a:pt x="213" y="11155"/>
                      </a:cubicBezTo>
                      <a:close/>
                    </a:path>
                  </a:pathLst>
                </a:custGeom>
                <a:grpFill/>
                <a:ln w="5978" cap="flat">
                  <a:noFill/>
                  <a:prstDash val="solid"/>
                  <a:miter/>
                </a:ln>
              </p:spPr>
              <p:txBody>
                <a:bodyPr rtlCol="0" anchor="ctr"/>
                <a:lstStyle/>
                <a:p>
                  <a:endParaRPr lang="en-GB"/>
                </a:p>
              </p:txBody>
            </p:sp>
          </p:grpSp>
          <p:grpSp>
            <p:nvGrpSpPr>
              <p:cNvPr id="627" name="Graphic 3">
                <a:extLst>
                  <a:ext uri="{FF2B5EF4-FFF2-40B4-BE49-F238E27FC236}">
                    <a16:creationId xmlns:a16="http://schemas.microsoft.com/office/drawing/2014/main" id="{06C2056C-3FFF-4524-93EF-77DF8B95A55A}"/>
                  </a:ext>
                </a:extLst>
              </p:cNvPr>
              <p:cNvGrpSpPr/>
              <p:nvPr/>
            </p:nvGrpSpPr>
            <p:grpSpPr>
              <a:xfrm>
                <a:off x="5606328" y="1188331"/>
                <a:ext cx="92156" cy="549845"/>
                <a:chOff x="5606328" y="1188331"/>
                <a:chExt cx="92156" cy="549845"/>
              </a:xfrm>
              <a:grpFill/>
            </p:grpSpPr>
            <p:sp>
              <p:nvSpPr>
                <p:cNvPr id="3508" name="Vrije vorm: vorm 3507">
                  <a:extLst>
                    <a:ext uri="{FF2B5EF4-FFF2-40B4-BE49-F238E27FC236}">
                      <a16:creationId xmlns:a16="http://schemas.microsoft.com/office/drawing/2014/main" id="{28C3BD77-7F2D-47CD-B495-7B12511FB87A}"/>
                    </a:ext>
                  </a:extLst>
                </p:cNvPr>
                <p:cNvSpPr/>
                <p:nvPr/>
              </p:nvSpPr>
              <p:spPr>
                <a:xfrm>
                  <a:off x="5613944" y="1196902"/>
                  <a:ext cx="76912" cy="532762"/>
                </a:xfrm>
                <a:custGeom>
                  <a:avLst/>
                  <a:gdLst>
                    <a:gd name="connsiteX0" fmla="*/ 3050 w 76912"/>
                    <a:gd name="connsiteY0" fmla="*/ 0 h 532762"/>
                    <a:gd name="connsiteX1" fmla="*/ 76912 w 76912"/>
                    <a:gd name="connsiteY1" fmla="*/ 532344 h 532762"/>
                    <a:gd name="connsiteX2" fmla="*/ 73922 w 76912"/>
                    <a:gd name="connsiteY2" fmla="*/ 532763 h 532762"/>
                    <a:gd name="connsiteX3" fmla="*/ 0 w 76912"/>
                    <a:gd name="connsiteY3" fmla="*/ 419 h 532762"/>
                  </a:gdLst>
                  <a:ahLst/>
                  <a:cxnLst>
                    <a:cxn ang="0">
                      <a:pos x="connsiteX0" y="connsiteY0"/>
                    </a:cxn>
                    <a:cxn ang="0">
                      <a:pos x="connsiteX1" y="connsiteY1"/>
                    </a:cxn>
                    <a:cxn ang="0">
                      <a:pos x="connsiteX2" y="connsiteY2"/>
                    </a:cxn>
                    <a:cxn ang="0">
                      <a:pos x="connsiteX3" y="connsiteY3"/>
                    </a:cxn>
                  </a:cxnLst>
                  <a:rect l="l" t="t" r="r" b="b"/>
                  <a:pathLst>
                    <a:path w="76912" h="532762">
                      <a:moveTo>
                        <a:pt x="3050" y="0"/>
                      </a:moveTo>
                      <a:lnTo>
                        <a:pt x="76912" y="532344"/>
                      </a:lnTo>
                      <a:lnTo>
                        <a:pt x="73922" y="532763"/>
                      </a:lnTo>
                      <a:lnTo>
                        <a:pt x="0" y="419"/>
                      </a:lnTo>
                      <a:close/>
                    </a:path>
                  </a:pathLst>
                </a:custGeom>
                <a:grpFill/>
                <a:ln w="5978" cap="flat">
                  <a:noFill/>
                  <a:prstDash val="solid"/>
                  <a:miter/>
                </a:ln>
              </p:spPr>
              <p:txBody>
                <a:bodyPr rtlCol="0" anchor="ctr"/>
                <a:lstStyle/>
                <a:p>
                  <a:endParaRPr lang="en-GB"/>
                </a:p>
              </p:txBody>
            </p:sp>
            <p:sp>
              <p:nvSpPr>
                <p:cNvPr id="3509" name="Vrije vorm: vorm 3508">
                  <a:extLst>
                    <a:ext uri="{FF2B5EF4-FFF2-40B4-BE49-F238E27FC236}">
                      <a16:creationId xmlns:a16="http://schemas.microsoft.com/office/drawing/2014/main" id="{DAFC706A-677F-407C-B98D-91E736B5A499}"/>
                    </a:ext>
                  </a:extLst>
                </p:cNvPr>
                <p:cNvSpPr/>
                <p:nvPr/>
              </p:nvSpPr>
              <p:spPr>
                <a:xfrm>
                  <a:off x="5680117" y="1719777"/>
                  <a:ext cx="18367" cy="18399"/>
                </a:xfrm>
                <a:custGeom>
                  <a:avLst/>
                  <a:gdLst>
                    <a:gd name="connsiteX0" fmla="*/ 18274 w 18367"/>
                    <a:gd name="connsiteY0" fmla="*/ 7973 h 18399"/>
                    <a:gd name="connsiteX1" fmla="*/ 10440 w 18367"/>
                    <a:gd name="connsiteY1" fmla="*/ 18320 h 18399"/>
                    <a:gd name="connsiteX2" fmla="*/ 93 w 18367"/>
                    <a:gd name="connsiteY2" fmla="*/ 10426 h 18399"/>
                    <a:gd name="connsiteX3" fmla="*/ 7927 w 18367"/>
                    <a:gd name="connsiteY3" fmla="*/ 79 h 18399"/>
                    <a:gd name="connsiteX4" fmla="*/ 18274 w 18367"/>
                    <a:gd name="connsiteY4" fmla="*/ 797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399">
                      <a:moveTo>
                        <a:pt x="18274" y="7973"/>
                      </a:moveTo>
                      <a:cubicBezTo>
                        <a:pt x="18992" y="12997"/>
                        <a:pt x="15463" y="17662"/>
                        <a:pt x="10440" y="18320"/>
                      </a:cubicBezTo>
                      <a:cubicBezTo>
                        <a:pt x="5416" y="18978"/>
                        <a:pt x="810" y="15449"/>
                        <a:pt x="93" y="10426"/>
                      </a:cubicBezTo>
                      <a:cubicBezTo>
                        <a:pt x="-625" y="5402"/>
                        <a:pt x="2904" y="737"/>
                        <a:pt x="7927" y="79"/>
                      </a:cubicBezTo>
                      <a:cubicBezTo>
                        <a:pt x="12951" y="-579"/>
                        <a:pt x="17556" y="2950"/>
                        <a:pt x="18274" y="7973"/>
                      </a:cubicBezTo>
                      <a:close/>
                    </a:path>
                  </a:pathLst>
                </a:custGeom>
                <a:grpFill/>
                <a:ln w="5978" cap="flat">
                  <a:noFill/>
                  <a:prstDash val="solid"/>
                  <a:miter/>
                </a:ln>
              </p:spPr>
              <p:txBody>
                <a:bodyPr rtlCol="0" anchor="ctr"/>
                <a:lstStyle/>
                <a:p>
                  <a:endParaRPr lang="en-GB"/>
                </a:p>
              </p:txBody>
            </p:sp>
            <p:sp>
              <p:nvSpPr>
                <p:cNvPr id="3510" name="Vrije vorm: vorm 3509">
                  <a:extLst>
                    <a:ext uri="{FF2B5EF4-FFF2-40B4-BE49-F238E27FC236}">
                      <a16:creationId xmlns:a16="http://schemas.microsoft.com/office/drawing/2014/main" id="{A8123B2A-8F4A-487A-B39E-AC8548C863A3}"/>
                    </a:ext>
                  </a:extLst>
                </p:cNvPr>
                <p:cNvSpPr/>
                <p:nvPr/>
              </p:nvSpPr>
              <p:spPr>
                <a:xfrm>
                  <a:off x="5606328" y="1188331"/>
                  <a:ext cx="18355" cy="18399"/>
                </a:xfrm>
                <a:custGeom>
                  <a:avLst/>
                  <a:gdLst>
                    <a:gd name="connsiteX0" fmla="*/ 18261 w 18355"/>
                    <a:gd name="connsiteY0" fmla="*/ 7973 h 18399"/>
                    <a:gd name="connsiteX1" fmla="*/ 7915 w 18355"/>
                    <a:gd name="connsiteY1" fmla="*/ 79 h 18399"/>
                    <a:gd name="connsiteX2" fmla="*/ 80 w 18355"/>
                    <a:gd name="connsiteY2" fmla="*/ 10426 h 18399"/>
                    <a:gd name="connsiteX3" fmla="*/ 10427 w 18355"/>
                    <a:gd name="connsiteY3" fmla="*/ 18320 h 18399"/>
                    <a:gd name="connsiteX4" fmla="*/ 18261 w 18355"/>
                    <a:gd name="connsiteY4" fmla="*/ 797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399">
                      <a:moveTo>
                        <a:pt x="18261" y="7973"/>
                      </a:moveTo>
                      <a:cubicBezTo>
                        <a:pt x="17544" y="2950"/>
                        <a:pt x="12938" y="-579"/>
                        <a:pt x="7915" y="79"/>
                      </a:cubicBezTo>
                      <a:cubicBezTo>
                        <a:pt x="2891" y="737"/>
                        <a:pt x="-578" y="5402"/>
                        <a:pt x="80" y="10426"/>
                      </a:cubicBezTo>
                      <a:cubicBezTo>
                        <a:pt x="798" y="15449"/>
                        <a:pt x="5403" y="18978"/>
                        <a:pt x="10427" y="18320"/>
                      </a:cubicBezTo>
                      <a:cubicBezTo>
                        <a:pt x="15510" y="17662"/>
                        <a:pt x="18979" y="13057"/>
                        <a:pt x="18261" y="7973"/>
                      </a:cubicBezTo>
                      <a:close/>
                    </a:path>
                  </a:pathLst>
                </a:custGeom>
                <a:grpFill/>
                <a:ln w="5978" cap="flat">
                  <a:noFill/>
                  <a:prstDash val="solid"/>
                  <a:miter/>
                </a:ln>
              </p:spPr>
              <p:txBody>
                <a:bodyPr rtlCol="0" anchor="ctr"/>
                <a:lstStyle/>
                <a:p>
                  <a:endParaRPr lang="en-GB"/>
                </a:p>
              </p:txBody>
            </p:sp>
          </p:grpSp>
          <p:grpSp>
            <p:nvGrpSpPr>
              <p:cNvPr id="628" name="Graphic 3">
                <a:extLst>
                  <a:ext uri="{FF2B5EF4-FFF2-40B4-BE49-F238E27FC236}">
                    <a16:creationId xmlns:a16="http://schemas.microsoft.com/office/drawing/2014/main" id="{63C36051-9D5C-44FE-BC3D-94935900E5AD}"/>
                  </a:ext>
                </a:extLst>
              </p:cNvPr>
              <p:cNvGrpSpPr/>
              <p:nvPr/>
            </p:nvGrpSpPr>
            <p:grpSpPr>
              <a:xfrm>
                <a:off x="6799356" y="4913787"/>
                <a:ext cx="67694" cy="117011"/>
                <a:chOff x="6799356" y="4913787"/>
                <a:chExt cx="67694" cy="117011"/>
              </a:xfrm>
              <a:grpFill/>
            </p:grpSpPr>
            <p:sp>
              <p:nvSpPr>
                <p:cNvPr id="3505" name="Vrije vorm: vorm 3504">
                  <a:extLst>
                    <a:ext uri="{FF2B5EF4-FFF2-40B4-BE49-F238E27FC236}">
                      <a16:creationId xmlns:a16="http://schemas.microsoft.com/office/drawing/2014/main" id="{5E04E23A-3065-4324-B472-A4240F3A229C}"/>
                    </a:ext>
                  </a:extLst>
                </p:cNvPr>
                <p:cNvSpPr/>
                <p:nvPr/>
              </p:nvSpPr>
              <p:spPr>
                <a:xfrm>
                  <a:off x="6807052" y="4921705"/>
                  <a:ext cx="52569" cy="100752"/>
                </a:xfrm>
                <a:custGeom>
                  <a:avLst/>
                  <a:gdLst>
                    <a:gd name="connsiteX0" fmla="*/ 0 w 52569"/>
                    <a:gd name="connsiteY0" fmla="*/ 1368 h 100752"/>
                    <a:gd name="connsiteX1" fmla="*/ 2726 w 52569"/>
                    <a:gd name="connsiteY1" fmla="*/ 0 h 100752"/>
                    <a:gd name="connsiteX2" fmla="*/ 52569 w 52569"/>
                    <a:gd name="connsiteY2" fmla="*/ 99385 h 100752"/>
                    <a:gd name="connsiteX3" fmla="*/ 49843 w 52569"/>
                    <a:gd name="connsiteY3" fmla="*/ 100753 h 100752"/>
                  </a:gdLst>
                  <a:ahLst/>
                  <a:cxnLst>
                    <a:cxn ang="0">
                      <a:pos x="connsiteX0" y="connsiteY0"/>
                    </a:cxn>
                    <a:cxn ang="0">
                      <a:pos x="connsiteX1" y="connsiteY1"/>
                    </a:cxn>
                    <a:cxn ang="0">
                      <a:pos x="connsiteX2" y="connsiteY2"/>
                    </a:cxn>
                    <a:cxn ang="0">
                      <a:pos x="connsiteX3" y="connsiteY3"/>
                    </a:cxn>
                  </a:cxnLst>
                  <a:rect l="l" t="t" r="r" b="b"/>
                  <a:pathLst>
                    <a:path w="52569" h="100752">
                      <a:moveTo>
                        <a:pt x="0" y="1368"/>
                      </a:moveTo>
                      <a:lnTo>
                        <a:pt x="2726" y="0"/>
                      </a:lnTo>
                      <a:lnTo>
                        <a:pt x="52569" y="99385"/>
                      </a:lnTo>
                      <a:lnTo>
                        <a:pt x="49843" y="100753"/>
                      </a:lnTo>
                      <a:close/>
                    </a:path>
                  </a:pathLst>
                </a:custGeom>
                <a:grpFill/>
                <a:ln w="5978" cap="flat">
                  <a:noFill/>
                  <a:prstDash val="solid"/>
                  <a:miter/>
                </a:ln>
              </p:spPr>
              <p:txBody>
                <a:bodyPr rtlCol="0" anchor="ctr"/>
                <a:lstStyle/>
                <a:p>
                  <a:endParaRPr lang="en-GB"/>
                </a:p>
              </p:txBody>
            </p:sp>
            <p:sp>
              <p:nvSpPr>
                <p:cNvPr id="3506" name="Vrije vorm: vorm 3505">
                  <a:extLst>
                    <a:ext uri="{FF2B5EF4-FFF2-40B4-BE49-F238E27FC236}">
                      <a16:creationId xmlns:a16="http://schemas.microsoft.com/office/drawing/2014/main" id="{7AF37476-A3D4-4CC5-A15A-408673C264F0}"/>
                    </a:ext>
                  </a:extLst>
                </p:cNvPr>
                <p:cNvSpPr/>
                <p:nvPr/>
              </p:nvSpPr>
              <p:spPr>
                <a:xfrm>
                  <a:off x="6848697" y="5012349"/>
                  <a:ext cx="18353" cy="18448"/>
                </a:xfrm>
                <a:custGeom>
                  <a:avLst/>
                  <a:gdLst>
                    <a:gd name="connsiteX0" fmla="*/ 17370 w 18353"/>
                    <a:gd name="connsiteY0" fmla="*/ 5098 h 18448"/>
                    <a:gd name="connsiteX1" fmla="*/ 13304 w 18353"/>
                    <a:gd name="connsiteY1" fmla="*/ 17478 h 18448"/>
                    <a:gd name="connsiteX2" fmla="*/ 983 w 18353"/>
                    <a:gd name="connsiteY2" fmla="*/ 13351 h 18448"/>
                    <a:gd name="connsiteX3" fmla="*/ 5051 w 18353"/>
                    <a:gd name="connsiteY3" fmla="*/ 971 h 18448"/>
                    <a:gd name="connsiteX4" fmla="*/ 17370 w 18353"/>
                    <a:gd name="connsiteY4" fmla="*/ 50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8">
                      <a:moveTo>
                        <a:pt x="17370" y="5098"/>
                      </a:moveTo>
                      <a:cubicBezTo>
                        <a:pt x="19643" y="9643"/>
                        <a:pt x="17849" y="15205"/>
                        <a:pt x="13304" y="17478"/>
                      </a:cubicBezTo>
                      <a:cubicBezTo>
                        <a:pt x="8759" y="19751"/>
                        <a:pt x="3256" y="17897"/>
                        <a:pt x="983" y="13351"/>
                      </a:cubicBezTo>
                      <a:cubicBezTo>
                        <a:pt x="-1289" y="8806"/>
                        <a:pt x="505" y="3244"/>
                        <a:pt x="5051" y="971"/>
                      </a:cubicBezTo>
                      <a:cubicBezTo>
                        <a:pt x="9596" y="-1302"/>
                        <a:pt x="15098" y="553"/>
                        <a:pt x="17370" y="5098"/>
                      </a:cubicBezTo>
                      <a:close/>
                    </a:path>
                  </a:pathLst>
                </a:custGeom>
                <a:grpFill/>
                <a:ln w="5978" cap="flat">
                  <a:noFill/>
                  <a:prstDash val="solid"/>
                  <a:miter/>
                </a:ln>
              </p:spPr>
              <p:txBody>
                <a:bodyPr rtlCol="0" anchor="ctr"/>
                <a:lstStyle/>
                <a:p>
                  <a:endParaRPr lang="en-GB"/>
                </a:p>
              </p:txBody>
            </p:sp>
            <p:sp>
              <p:nvSpPr>
                <p:cNvPr id="3507" name="Vrije vorm: vorm 3506">
                  <a:extLst>
                    <a:ext uri="{FF2B5EF4-FFF2-40B4-BE49-F238E27FC236}">
                      <a16:creationId xmlns:a16="http://schemas.microsoft.com/office/drawing/2014/main" id="{7250E5E8-6AA1-49DA-90F9-412CF2C47B78}"/>
                    </a:ext>
                  </a:extLst>
                </p:cNvPr>
                <p:cNvSpPr/>
                <p:nvPr/>
              </p:nvSpPr>
              <p:spPr>
                <a:xfrm>
                  <a:off x="6799356" y="4913787"/>
                  <a:ext cx="18353" cy="18449"/>
                </a:xfrm>
                <a:custGeom>
                  <a:avLst/>
                  <a:gdLst>
                    <a:gd name="connsiteX0" fmla="*/ 17371 w 18353"/>
                    <a:gd name="connsiteY0" fmla="*/ 5098 h 18449"/>
                    <a:gd name="connsiteX1" fmla="*/ 5050 w 18353"/>
                    <a:gd name="connsiteY1" fmla="*/ 971 h 18449"/>
                    <a:gd name="connsiteX2" fmla="*/ 983 w 18353"/>
                    <a:gd name="connsiteY2" fmla="*/ 13351 h 18449"/>
                    <a:gd name="connsiteX3" fmla="*/ 13304 w 18353"/>
                    <a:gd name="connsiteY3" fmla="*/ 17478 h 18449"/>
                    <a:gd name="connsiteX4" fmla="*/ 17371 w 18353"/>
                    <a:gd name="connsiteY4" fmla="*/ 509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9">
                      <a:moveTo>
                        <a:pt x="17371" y="5098"/>
                      </a:moveTo>
                      <a:cubicBezTo>
                        <a:pt x="15098" y="552"/>
                        <a:pt x="9596" y="-1302"/>
                        <a:pt x="5050" y="971"/>
                      </a:cubicBezTo>
                      <a:cubicBezTo>
                        <a:pt x="505" y="3244"/>
                        <a:pt x="-1289" y="8806"/>
                        <a:pt x="983" y="13351"/>
                      </a:cubicBezTo>
                      <a:cubicBezTo>
                        <a:pt x="3256" y="17897"/>
                        <a:pt x="8758" y="19751"/>
                        <a:pt x="13304" y="17478"/>
                      </a:cubicBezTo>
                      <a:cubicBezTo>
                        <a:pt x="17849" y="15145"/>
                        <a:pt x="19643" y="9643"/>
                        <a:pt x="17371" y="5098"/>
                      </a:cubicBezTo>
                      <a:close/>
                    </a:path>
                  </a:pathLst>
                </a:custGeom>
                <a:grpFill/>
                <a:ln w="5978" cap="flat">
                  <a:noFill/>
                  <a:prstDash val="solid"/>
                  <a:miter/>
                </a:ln>
              </p:spPr>
              <p:txBody>
                <a:bodyPr rtlCol="0" anchor="ctr"/>
                <a:lstStyle/>
                <a:p>
                  <a:endParaRPr lang="en-GB"/>
                </a:p>
              </p:txBody>
            </p:sp>
          </p:grpSp>
          <p:grpSp>
            <p:nvGrpSpPr>
              <p:cNvPr id="629" name="Graphic 3">
                <a:extLst>
                  <a:ext uri="{FF2B5EF4-FFF2-40B4-BE49-F238E27FC236}">
                    <a16:creationId xmlns:a16="http://schemas.microsoft.com/office/drawing/2014/main" id="{4381BF15-6099-4E1D-A4DC-3A9149AC25F0}"/>
                  </a:ext>
                </a:extLst>
              </p:cNvPr>
              <p:cNvGrpSpPr/>
              <p:nvPr/>
            </p:nvGrpSpPr>
            <p:grpSpPr>
              <a:xfrm>
                <a:off x="5684705" y="1581474"/>
                <a:ext cx="48263" cy="170185"/>
                <a:chOff x="5684705" y="1581474"/>
                <a:chExt cx="48263" cy="170185"/>
              </a:xfrm>
              <a:grpFill/>
            </p:grpSpPr>
            <p:sp>
              <p:nvSpPr>
                <p:cNvPr id="3502" name="Vrije vorm: vorm 3501">
                  <a:extLst>
                    <a:ext uri="{FF2B5EF4-FFF2-40B4-BE49-F238E27FC236}">
                      <a16:creationId xmlns:a16="http://schemas.microsoft.com/office/drawing/2014/main" id="{7F3AD1EF-617F-46FE-B5BF-6D253F105465}"/>
                    </a:ext>
                  </a:extLst>
                </p:cNvPr>
                <p:cNvSpPr/>
                <p:nvPr/>
              </p:nvSpPr>
              <p:spPr>
                <a:xfrm>
                  <a:off x="5692321" y="1589749"/>
                  <a:ext cx="33197" cy="153253"/>
                </a:xfrm>
                <a:custGeom>
                  <a:avLst/>
                  <a:gdLst>
                    <a:gd name="connsiteX0" fmla="*/ 0 w 33197"/>
                    <a:gd name="connsiteY0" fmla="*/ 592 h 153253"/>
                    <a:gd name="connsiteX1" fmla="*/ 2992 w 33197"/>
                    <a:gd name="connsiteY1" fmla="*/ 0 h 153253"/>
                    <a:gd name="connsiteX2" fmla="*/ 33198 w 33197"/>
                    <a:gd name="connsiteY2" fmla="*/ 152662 h 153253"/>
                    <a:gd name="connsiteX3" fmla="*/ 30206 w 33197"/>
                    <a:gd name="connsiteY3" fmla="*/ 153254 h 153253"/>
                  </a:gdLst>
                  <a:ahLst/>
                  <a:cxnLst>
                    <a:cxn ang="0">
                      <a:pos x="connsiteX0" y="connsiteY0"/>
                    </a:cxn>
                    <a:cxn ang="0">
                      <a:pos x="connsiteX1" y="connsiteY1"/>
                    </a:cxn>
                    <a:cxn ang="0">
                      <a:pos x="connsiteX2" y="connsiteY2"/>
                    </a:cxn>
                    <a:cxn ang="0">
                      <a:pos x="connsiteX3" y="connsiteY3"/>
                    </a:cxn>
                  </a:cxnLst>
                  <a:rect l="l" t="t" r="r" b="b"/>
                  <a:pathLst>
                    <a:path w="33197" h="153253">
                      <a:moveTo>
                        <a:pt x="0" y="592"/>
                      </a:moveTo>
                      <a:lnTo>
                        <a:pt x="2992" y="0"/>
                      </a:lnTo>
                      <a:lnTo>
                        <a:pt x="33198" y="152662"/>
                      </a:lnTo>
                      <a:lnTo>
                        <a:pt x="30206" y="153254"/>
                      </a:lnTo>
                      <a:close/>
                    </a:path>
                  </a:pathLst>
                </a:custGeom>
                <a:grpFill/>
                <a:ln w="5978" cap="flat">
                  <a:noFill/>
                  <a:prstDash val="solid"/>
                  <a:miter/>
                </a:ln>
              </p:spPr>
              <p:txBody>
                <a:bodyPr rtlCol="0" anchor="ctr"/>
                <a:lstStyle/>
                <a:p>
                  <a:endParaRPr lang="en-GB"/>
                </a:p>
              </p:txBody>
            </p:sp>
            <p:sp>
              <p:nvSpPr>
                <p:cNvPr id="3503" name="Vrije vorm: vorm 3502">
                  <a:extLst>
                    <a:ext uri="{FF2B5EF4-FFF2-40B4-BE49-F238E27FC236}">
                      <a16:creationId xmlns:a16="http://schemas.microsoft.com/office/drawing/2014/main" id="{A57A90F9-07A3-442B-AE21-AE89C5B0766A}"/>
                    </a:ext>
                  </a:extLst>
                </p:cNvPr>
                <p:cNvSpPr/>
                <p:nvPr/>
              </p:nvSpPr>
              <p:spPr>
                <a:xfrm>
                  <a:off x="5684705" y="1581474"/>
                  <a:ext cx="18282" cy="18455"/>
                </a:xfrm>
                <a:custGeom>
                  <a:avLst/>
                  <a:gdLst>
                    <a:gd name="connsiteX0" fmla="*/ 170 w 18282"/>
                    <a:gd name="connsiteY0" fmla="*/ 10993 h 18455"/>
                    <a:gd name="connsiteX1" fmla="*/ 7347 w 18282"/>
                    <a:gd name="connsiteY1" fmla="*/ 168 h 18455"/>
                    <a:gd name="connsiteX2" fmla="*/ 18112 w 18282"/>
                    <a:gd name="connsiteY2" fmla="*/ 7464 h 18455"/>
                    <a:gd name="connsiteX3" fmla="*/ 10936 w 18282"/>
                    <a:gd name="connsiteY3" fmla="*/ 18289 h 18455"/>
                    <a:gd name="connsiteX4" fmla="*/ 170 w 18282"/>
                    <a:gd name="connsiteY4" fmla="*/ 10993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55">
                      <a:moveTo>
                        <a:pt x="170" y="10993"/>
                      </a:moveTo>
                      <a:cubicBezTo>
                        <a:pt x="-787" y="6029"/>
                        <a:pt x="2383" y="1185"/>
                        <a:pt x="7347" y="168"/>
                      </a:cubicBezTo>
                      <a:cubicBezTo>
                        <a:pt x="12311" y="-789"/>
                        <a:pt x="17155" y="2441"/>
                        <a:pt x="18112" y="7464"/>
                      </a:cubicBezTo>
                      <a:cubicBezTo>
                        <a:pt x="19069" y="12428"/>
                        <a:pt x="15900" y="17273"/>
                        <a:pt x="10936" y="18289"/>
                      </a:cubicBezTo>
                      <a:cubicBezTo>
                        <a:pt x="5971" y="19246"/>
                        <a:pt x="1127" y="15957"/>
                        <a:pt x="170" y="10993"/>
                      </a:cubicBezTo>
                      <a:close/>
                    </a:path>
                  </a:pathLst>
                </a:custGeom>
                <a:grpFill/>
                <a:ln w="5978" cap="flat">
                  <a:noFill/>
                  <a:prstDash val="solid"/>
                  <a:miter/>
                </a:ln>
              </p:spPr>
              <p:txBody>
                <a:bodyPr rtlCol="0" anchor="ctr"/>
                <a:lstStyle/>
                <a:p>
                  <a:endParaRPr lang="en-GB"/>
                </a:p>
              </p:txBody>
            </p:sp>
            <p:sp>
              <p:nvSpPr>
                <p:cNvPr id="3504" name="Vrije vorm: vorm 3503">
                  <a:extLst>
                    <a:ext uri="{FF2B5EF4-FFF2-40B4-BE49-F238E27FC236}">
                      <a16:creationId xmlns:a16="http://schemas.microsoft.com/office/drawing/2014/main" id="{CD83BAB3-7612-4ADB-883D-5C07BAA76B51}"/>
                    </a:ext>
                  </a:extLst>
                </p:cNvPr>
                <p:cNvSpPr/>
                <p:nvPr/>
              </p:nvSpPr>
              <p:spPr>
                <a:xfrm>
                  <a:off x="5714671" y="1733207"/>
                  <a:ext cx="18297" cy="18452"/>
                </a:xfrm>
                <a:custGeom>
                  <a:avLst/>
                  <a:gdLst>
                    <a:gd name="connsiteX0" fmla="*/ 168 w 18297"/>
                    <a:gd name="connsiteY0" fmla="*/ 10991 h 18452"/>
                    <a:gd name="connsiteX1" fmla="*/ 10933 w 18297"/>
                    <a:gd name="connsiteY1" fmla="*/ 18287 h 18452"/>
                    <a:gd name="connsiteX2" fmla="*/ 18110 w 18297"/>
                    <a:gd name="connsiteY2" fmla="*/ 7462 h 18452"/>
                    <a:gd name="connsiteX3" fmla="*/ 7345 w 18297"/>
                    <a:gd name="connsiteY3" fmla="*/ 166 h 18452"/>
                    <a:gd name="connsiteX4" fmla="*/ 168 w 18297"/>
                    <a:gd name="connsiteY4" fmla="*/ 1099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52">
                      <a:moveTo>
                        <a:pt x="168" y="10991"/>
                      </a:moveTo>
                      <a:cubicBezTo>
                        <a:pt x="1185" y="15955"/>
                        <a:pt x="5969" y="19244"/>
                        <a:pt x="10933" y="18287"/>
                      </a:cubicBezTo>
                      <a:cubicBezTo>
                        <a:pt x="15897" y="17330"/>
                        <a:pt x="19127" y="12486"/>
                        <a:pt x="18110" y="7462"/>
                      </a:cubicBezTo>
                      <a:cubicBezTo>
                        <a:pt x="17153" y="2498"/>
                        <a:pt x="12309" y="-791"/>
                        <a:pt x="7345" y="166"/>
                      </a:cubicBezTo>
                      <a:cubicBezTo>
                        <a:pt x="2440" y="1182"/>
                        <a:pt x="-789" y="5967"/>
                        <a:pt x="168" y="10991"/>
                      </a:cubicBezTo>
                      <a:close/>
                    </a:path>
                  </a:pathLst>
                </a:custGeom>
                <a:grpFill/>
                <a:ln w="5978" cap="flat">
                  <a:noFill/>
                  <a:prstDash val="solid"/>
                  <a:miter/>
                </a:ln>
              </p:spPr>
              <p:txBody>
                <a:bodyPr rtlCol="0" anchor="ctr"/>
                <a:lstStyle/>
                <a:p>
                  <a:endParaRPr lang="en-GB"/>
                </a:p>
              </p:txBody>
            </p:sp>
          </p:grpSp>
          <p:grpSp>
            <p:nvGrpSpPr>
              <p:cNvPr id="630" name="Graphic 3">
                <a:extLst>
                  <a:ext uri="{FF2B5EF4-FFF2-40B4-BE49-F238E27FC236}">
                    <a16:creationId xmlns:a16="http://schemas.microsoft.com/office/drawing/2014/main" id="{53EEE2DD-79AC-4D4C-A05A-4ADD83F252FA}"/>
                  </a:ext>
                </a:extLst>
              </p:cNvPr>
              <p:cNvGrpSpPr/>
              <p:nvPr/>
            </p:nvGrpSpPr>
            <p:grpSpPr>
              <a:xfrm>
                <a:off x="6835400" y="5061719"/>
                <a:ext cx="73930" cy="134801"/>
                <a:chOff x="6835400" y="5061719"/>
                <a:chExt cx="73930" cy="134801"/>
              </a:xfrm>
              <a:grpFill/>
            </p:grpSpPr>
            <p:sp>
              <p:nvSpPr>
                <p:cNvPr id="3499" name="Vrije vorm: vorm 3498">
                  <a:extLst>
                    <a:ext uri="{FF2B5EF4-FFF2-40B4-BE49-F238E27FC236}">
                      <a16:creationId xmlns:a16="http://schemas.microsoft.com/office/drawing/2014/main" id="{A0A6AC8A-2F72-4A29-A6BB-81B1F156C02F}"/>
                    </a:ext>
                  </a:extLst>
                </p:cNvPr>
                <p:cNvSpPr/>
                <p:nvPr/>
              </p:nvSpPr>
              <p:spPr>
                <a:xfrm>
                  <a:off x="6842993" y="5069930"/>
                  <a:ext cx="58919" cy="118384"/>
                </a:xfrm>
                <a:custGeom>
                  <a:avLst/>
                  <a:gdLst>
                    <a:gd name="connsiteX0" fmla="*/ 0 w 58919"/>
                    <a:gd name="connsiteY0" fmla="*/ 1319 h 118384"/>
                    <a:gd name="connsiteX1" fmla="*/ 2750 w 58919"/>
                    <a:gd name="connsiteY1" fmla="*/ 0 h 118384"/>
                    <a:gd name="connsiteX2" fmla="*/ 58920 w 58919"/>
                    <a:gd name="connsiteY2" fmla="*/ 117065 h 118384"/>
                    <a:gd name="connsiteX3" fmla="*/ 56169 w 58919"/>
                    <a:gd name="connsiteY3" fmla="*/ 118385 h 118384"/>
                  </a:gdLst>
                  <a:ahLst/>
                  <a:cxnLst>
                    <a:cxn ang="0">
                      <a:pos x="connsiteX0" y="connsiteY0"/>
                    </a:cxn>
                    <a:cxn ang="0">
                      <a:pos x="connsiteX1" y="connsiteY1"/>
                    </a:cxn>
                    <a:cxn ang="0">
                      <a:pos x="connsiteX2" y="connsiteY2"/>
                    </a:cxn>
                    <a:cxn ang="0">
                      <a:pos x="connsiteX3" y="connsiteY3"/>
                    </a:cxn>
                  </a:cxnLst>
                  <a:rect l="l" t="t" r="r" b="b"/>
                  <a:pathLst>
                    <a:path w="58919" h="118384">
                      <a:moveTo>
                        <a:pt x="0" y="1319"/>
                      </a:moveTo>
                      <a:lnTo>
                        <a:pt x="2750" y="0"/>
                      </a:lnTo>
                      <a:lnTo>
                        <a:pt x="58920" y="117065"/>
                      </a:lnTo>
                      <a:lnTo>
                        <a:pt x="56169" y="118385"/>
                      </a:lnTo>
                      <a:close/>
                    </a:path>
                  </a:pathLst>
                </a:custGeom>
                <a:grpFill/>
                <a:ln w="5978" cap="flat">
                  <a:noFill/>
                  <a:prstDash val="solid"/>
                  <a:miter/>
                </a:ln>
              </p:spPr>
              <p:txBody>
                <a:bodyPr rtlCol="0" anchor="ctr"/>
                <a:lstStyle/>
                <a:p>
                  <a:endParaRPr lang="en-GB"/>
                </a:p>
              </p:txBody>
            </p:sp>
            <p:sp>
              <p:nvSpPr>
                <p:cNvPr id="3500" name="Vrije vorm: vorm 3499">
                  <a:extLst>
                    <a:ext uri="{FF2B5EF4-FFF2-40B4-BE49-F238E27FC236}">
                      <a16:creationId xmlns:a16="http://schemas.microsoft.com/office/drawing/2014/main" id="{83BEA4F5-2CBB-48FD-BF80-2AEC948F6575}"/>
                    </a:ext>
                  </a:extLst>
                </p:cNvPr>
                <p:cNvSpPr/>
                <p:nvPr/>
              </p:nvSpPr>
              <p:spPr>
                <a:xfrm>
                  <a:off x="6890925" y="5178078"/>
                  <a:ext cx="18406" cy="18443"/>
                </a:xfrm>
                <a:custGeom>
                  <a:avLst/>
                  <a:gdLst>
                    <a:gd name="connsiteX0" fmla="*/ 17487 w 18406"/>
                    <a:gd name="connsiteY0" fmla="*/ 5274 h 18443"/>
                    <a:gd name="connsiteX1" fmla="*/ 13180 w 18406"/>
                    <a:gd name="connsiteY1" fmla="*/ 17535 h 18443"/>
                    <a:gd name="connsiteX2" fmla="*/ 920 w 18406"/>
                    <a:gd name="connsiteY2" fmla="*/ 13169 h 18443"/>
                    <a:gd name="connsiteX3" fmla="*/ 5226 w 18406"/>
                    <a:gd name="connsiteY3" fmla="*/ 908 h 18443"/>
                    <a:gd name="connsiteX4" fmla="*/ 17487 w 18406"/>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6" h="18443">
                      <a:moveTo>
                        <a:pt x="17487" y="5274"/>
                      </a:moveTo>
                      <a:cubicBezTo>
                        <a:pt x="19699" y="9879"/>
                        <a:pt x="17785" y="15381"/>
                        <a:pt x="13180" y="17535"/>
                      </a:cubicBezTo>
                      <a:cubicBezTo>
                        <a:pt x="8635" y="19748"/>
                        <a:pt x="3133" y="17774"/>
                        <a:pt x="920" y="13169"/>
                      </a:cubicBezTo>
                      <a:cubicBezTo>
                        <a:pt x="-1293" y="8564"/>
                        <a:pt x="620" y="3061"/>
                        <a:pt x="5226" y="908"/>
                      </a:cubicBezTo>
                      <a:cubicBezTo>
                        <a:pt x="9831" y="-1305"/>
                        <a:pt x="15274" y="669"/>
                        <a:pt x="17487" y="5274"/>
                      </a:cubicBezTo>
                      <a:close/>
                    </a:path>
                  </a:pathLst>
                </a:custGeom>
                <a:grpFill/>
                <a:ln w="5978" cap="flat">
                  <a:noFill/>
                  <a:prstDash val="solid"/>
                  <a:miter/>
                </a:ln>
              </p:spPr>
              <p:txBody>
                <a:bodyPr rtlCol="0" anchor="ctr"/>
                <a:lstStyle/>
                <a:p>
                  <a:endParaRPr lang="en-GB"/>
                </a:p>
              </p:txBody>
            </p:sp>
            <p:sp>
              <p:nvSpPr>
                <p:cNvPr id="3501" name="Vrije vorm: vorm 3500">
                  <a:extLst>
                    <a:ext uri="{FF2B5EF4-FFF2-40B4-BE49-F238E27FC236}">
                      <a16:creationId xmlns:a16="http://schemas.microsoft.com/office/drawing/2014/main" id="{16CD9641-0536-4544-BEDB-A90EFBEA90E4}"/>
                    </a:ext>
                  </a:extLst>
                </p:cNvPr>
                <p:cNvSpPr/>
                <p:nvPr/>
              </p:nvSpPr>
              <p:spPr>
                <a:xfrm>
                  <a:off x="6835400" y="5061719"/>
                  <a:ext cx="18369" cy="18390"/>
                </a:xfrm>
                <a:custGeom>
                  <a:avLst/>
                  <a:gdLst>
                    <a:gd name="connsiteX0" fmla="*/ 17450 w 18369"/>
                    <a:gd name="connsiteY0" fmla="*/ 5248 h 18390"/>
                    <a:gd name="connsiteX1" fmla="*/ 5189 w 18369"/>
                    <a:gd name="connsiteY1" fmla="*/ 882 h 18390"/>
                    <a:gd name="connsiteX2" fmla="*/ 883 w 18369"/>
                    <a:gd name="connsiteY2" fmla="*/ 13143 h 18390"/>
                    <a:gd name="connsiteX3" fmla="*/ 13144 w 18369"/>
                    <a:gd name="connsiteY3" fmla="*/ 17509 h 18390"/>
                    <a:gd name="connsiteX4" fmla="*/ 17450 w 18369"/>
                    <a:gd name="connsiteY4" fmla="*/ 5248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0">
                      <a:moveTo>
                        <a:pt x="17450" y="5248"/>
                      </a:moveTo>
                      <a:cubicBezTo>
                        <a:pt x="15237" y="643"/>
                        <a:pt x="9795" y="-1271"/>
                        <a:pt x="5189" y="882"/>
                      </a:cubicBezTo>
                      <a:cubicBezTo>
                        <a:pt x="645" y="3095"/>
                        <a:pt x="-1270" y="8538"/>
                        <a:pt x="883" y="13143"/>
                      </a:cubicBezTo>
                      <a:cubicBezTo>
                        <a:pt x="3036" y="17748"/>
                        <a:pt x="8539" y="19662"/>
                        <a:pt x="13144" y="17509"/>
                      </a:cubicBezTo>
                      <a:cubicBezTo>
                        <a:pt x="17750" y="15356"/>
                        <a:pt x="19663" y="9854"/>
                        <a:pt x="17450" y="5248"/>
                      </a:cubicBezTo>
                      <a:close/>
                    </a:path>
                  </a:pathLst>
                </a:custGeom>
                <a:grpFill/>
                <a:ln w="5978" cap="flat">
                  <a:noFill/>
                  <a:prstDash val="solid"/>
                  <a:miter/>
                </a:ln>
              </p:spPr>
              <p:txBody>
                <a:bodyPr rtlCol="0" anchor="ctr"/>
                <a:lstStyle/>
                <a:p>
                  <a:endParaRPr lang="en-GB"/>
                </a:p>
              </p:txBody>
            </p:sp>
          </p:grpSp>
          <p:grpSp>
            <p:nvGrpSpPr>
              <p:cNvPr id="631" name="Graphic 3">
                <a:extLst>
                  <a:ext uri="{FF2B5EF4-FFF2-40B4-BE49-F238E27FC236}">
                    <a16:creationId xmlns:a16="http://schemas.microsoft.com/office/drawing/2014/main" id="{179E29DB-0388-4910-A30D-234F267B3C1F}"/>
                  </a:ext>
                </a:extLst>
              </p:cNvPr>
              <p:cNvGrpSpPr/>
              <p:nvPr/>
            </p:nvGrpSpPr>
            <p:grpSpPr>
              <a:xfrm>
                <a:off x="6878365" y="5238099"/>
                <a:ext cx="57185" cy="103906"/>
                <a:chOff x="6878365" y="5238099"/>
                <a:chExt cx="57185" cy="103906"/>
              </a:xfrm>
              <a:grpFill/>
            </p:grpSpPr>
            <p:sp>
              <p:nvSpPr>
                <p:cNvPr id="3496" name="Vrije vorm: vorm 3495">
                  <a:extLst>
                    <a:ext uri="{FF2B5EF4-FFF2-40B4-BE49-F238E27FC236}">
                      <a16:creationId xmlns:a16="http://schemas.microsoft.com/office/drawing/2014/main" id="{B79677A8-E6ED-4464-B6C0-551EF2599ABE}"/>
                    </a:ext>
                  </a:extLst>
                </p:cNvPr>
                <p:cNvSpPr/>
                <p:nvPr/>
              </p:nvSpPr>
              <p:spPr>
                <a:xfrm>
                  <a:off x="6886038" y="5245967"/>
                  <a:ext cx="42058" cy="87536"/>
                </a:xfrm>
                <a:custGeom>
                  <a:avLst/>
                  <a:gdLst>
                    <a:gd name="connsiteX0" fmla="*/ 0 w 42058"/>
                    <a:gd name="connsiteY0" fmla="*/ 1264 h 87536"/>
                    <a:gd name="connsiteX1" fmla="*/ 2776 w 42058"/>
                    <a:gd name="connsiteY1" fmla="*/ 0 h 87536"/>
                    <a:gd name="connsiteX2" fmla="*/ 42059 w 42058"/>
                    <a:gd name="connsiteY2" fmla="*/ 86272 h 87536"/>
                    <a:gd name="connsiteX3" fmla="*/ 39283 w 42058"/>
                    <a:gd name="connsiteY3" fmla="*/ 87536 h 87536"/>
                  </a:gdLst>
                  <a:ahLst/>
                  <a:cxnLst>
                    <a:cxn ang="0">
                      <a:pos x="connsiteX0" y="connsiteY0"/>
                    </a:cxn>
                    <a:cxn ang="0">
                      <a:pos x="connsiteX1" y="connsiteY1"/>
                    </a:cxn>
                    <a:cxn ang="0">
                      <a:pos x="connsiteX2" y="connsiteY2"/>
                    </a:cxn>
                    <a:cxn ang="0">
                      <a:pos x="connsiteX3" y="connsiteY3"/>
                    </a:cxn>
                  </a:cxnLst>
                  <a:rect l="l" t="t" r="r" b="b"/>
                  <a:pathLst>
                    <a:path w="42058" h="87536">
                      <a:moveTo>
                        <a:pt x="0" y="1264"/>
                      </a:moveTo>
                      <a:lnTo>
                        <a:pt x="2776" y="0"/>
                      </a:lnTo>
                      <a:lnTo>
                        <a:pt x="42059" y="86272"/>
                      </a:lnTo>
                      <a:lnTo>
                        <a:pt x="39283" y="87536"/>
                      </a:lnTo>
                      <a:close/>
                    </a:path>
                  </a:pathLst>
                </a:custGeom>
                <a:grpFill/>
                <a:ln w="5978" cap="flat">
                  <a:noFill/>
                  <a:prstDash val="solid"/>
                  <a:miter/>
                </a:ln>
              </p:spPr>
              <p:txBody>
                <a:bodyPr rtlCol="0" anchor="ctr"/>
                <a:lstStyle/>
                <a:p>
                  <a:endParaRPr lang="en-GB"/>
                </a:p>
              </p:txBody>
            </p:sp>
            <p:sp>
              <p:nvSpPr>
                <p:cNvPr id="3497" name="Vrije vorm: vorm 3496">
                  <a:extLst>
                    <a:ext uri="{FF2B5EF4-FFF2-40B4-BE49-F238E27FC236}">
                      <a16:creationId xmlns:a16="http://schemas.microsoft.com/office/drawing/2014/main" id="{F0F76FCF-65F6-45A4-B6D4-4E4993E7E2D7}"/>
                    </a:ext>
                  </a:extLst>
                </p:cNvPr>
                <p:cNvSpPr/>
                <p:nvPr/>
              </p:nvSpPr>
              <p:spPr>
                <a:xfrm>
                  <a:off x="6917217" y="5323555"/>
                  <a:ext cx="18333" cy="18451"/>
                </a:xfrm>
                <a:custGeom>
                  <a:avLst/>
                  <a:gdLst>
                    <a:gd name="connsiteX0" fmla="*/ 17510 w 18333"/>
                    <a:gd name="connsiteY0" fmla="*/ 5428 h 18451"/>
                    <a:gd name="connsiteX1" fmla="*/ 12965 w 18333"/>
                    <a:gd name="connsiteY1" fmla="*/ 17628 h 18451"/>
                    <a:gd name="connsiteX2" fmla="*/ 824 w 18333"/>
                    <a:gd name="connsiteY2" fmla="*/ 13023 h 18451"/>
                    <a:gd name="connsiteX3" fmla="*/ 5369 w 18333"/>
                    <a:gd name="connsiteY3" fmla="*/ 823 h 18451"/>
                    <a:gd name="connsiteX4" fmla="*/ 17510 w 18333"/>
                    <a:gd name="connsiteY4" fmla="*/ 542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1">
                      <a:moveTo>
                        <a:pt x="17510" y="5428"/>
                      </a:moveTo>
                      <a:cubicBezTo>
                        <a:pt x="19603" y="10033"/>
                        <a:pt x="17569" y="15535"/>
                        <a:pt x="12965" y="17628"/>
                      </a:cubicBezTo>
                      <a:cubicBezTo>
                        <a:pt x="8359" y="19722"/>
                        <a:pt x="2917" y="17688"/>
                        <a:pt x="824" y="13023"/>
                      </a:cubicBezTo>
                      <a:cubicBezTo>
                        <a:pt x="-1269" y="8358"/>
                        <a:pt x="764" y="2916"/>
                        <a:pt x="5369" y="823"/>
                      </a:cubicBezTo>
                      <a:cubicBezTo>
                        <a:pt x="9974" y="-1271"/>
                        <a:pt x="15416" y="763"/>
                        <a:pt x="17510" y="5428"/>
                      </a:cubicBezTo>
                      <a:close/>
                    </a:path>
                  </a:pathLst>
                </a:custGeom>
                <a:grpFill/>
                <a:ln w="5978" cap="flat">
                  <a:noFill/>
                  <a:prstDash val="solid"/>
                  <a:miter/>
                </a:ln>
              </p:spPr>
              <p:txBody>
                <a:bodyPr rtlCol="0" anchor="ctr"/>
                <a:lstStyle/>
                <a:p>
                  <a:endParaRPr lang="en-GB"/>
                </a:p>
              </p:txBody>
            </p:sp>
            <p:sp>
              <p:nvSpPr>
                <p:cNvPr id="3498" name="Vrije vorm: vorm 3497">
                  <a:extLst>
                    <a:ext uri="{FF2B5EF4-FFF2-40B4-BE49-F238E27FC236}">
                      <a16:creationId xmlns:a16="http://schemas.microsoft.com/office/drawing/2014/main" id="{5E0BF1C1-6AC3-4983-BBF5-5ABA325179AA}"/>
                    </a:ext>
                  </a:extLst>
                </p:cNvPr>
                <p:cNvSpPr/>
                <p:nvPr/>
              </p:nvSpPr>
              <p:spPr>
                <a:xfrm>
                  <a:off x="6878365" y="5238099"/>
                  <a:ext cx="18320" cy="18432"/>
                </a:xfrm>
                <a:custGeom>
                  <a:avLst/>
                  <a:gdLst>
                    <a:gd name="connsiteX0" fmla="*/ 17487 w 18320"/>
                    <a:gd name="connsiteY0" fmla="*/ 5419 h 18432"/>
                    <a:gd name="connsiteX1" fmla="*/ 5346 w 18320"/>
                    <a:gd name="connsiteY1" fmla="*/ 813 h 18432"/>
                    <a:gd name="connsiteX2" fmla="*/ 860 w 18320"/>
                    <a:gd name="connsiteY2" fmla="*/ 13014 h 18432"/>
                    <a:gd name="connsiteX3" fmla="*/ 13001 w 18320"/>
                    <a:gd name="connsiteY3" fmla="*/ 17619 h 18432"/>
                    <a:gd name="connsiteX4" fmla="*/ 17487 w 18320"/>
                    <a:gd name="connsiteY4" fmla="*/ 5419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2">
                      <a:moveTo>
                        <a:pt x="17487" y="5419"/>
                      </a:moveTo>
                      <a:cubicBezTo>
                        <a:pt x="15393" y="813"/>
                        <a:pt x="9951" y="-1280"/>
                        <a:pt x="5346" y="813"/>
                      </a:cubicBezTo>
                      <a:cubicBezTo>
                        <a:pt x="740" y="2907"/>
                        <a:pt x="-1293" y="8349"/>
                        <a:pt x="860" y="13014"/>
                      </a:cubicBezTo>
                      <a:cubicBezTo>
                        <a:pt x="2953" y="17619"/>
                        <a:pt x="8396" y="19712"/>
                        <a:pt x="13001" y="17619"/>
                      </a:cubicBezTo>
                      <a:cubicBezTo>
                        <a:pt x="17606" y="15526"/>
                        <a:pt x="19580" y="10083"/>
                        <a:pt x="17487" y="5419"/>
                      </a:cubicBezTo>
                      <a:close/>
                    </a:path>
                  </a:pathLst>
                </a:custGeom>
                <a:grpFill/>
                <a:ln w="5978" cap="flat">
                  <a:noFill/>
                  <a:prstDash val="solid"/>
                  <a:miter/>
                </a:ln>
              </p:spPr>
              <p:txBody>
                <a:bodyPr rtlCol="0" anchor="ctr"/>
                <a:lstStyle/>
                <a:p>
                  <a:endParaRPr lang="en-GB"/>
                </a:p>
              </p:txBody>
            </p:sp>
          </p:grpSp>
          <p:grpSp>
            <p:nvGrpSpPr>
              <p:cNvPr id="632" name="Graphic 3">
                <a:extLst>
                  <a:ext uri="{FF2B5EF4-FFF2-40B4-BE49-F238E27FC236}">
                    <a16:creationId xmlns:a16="http://schemas.microsoft.com/office/drawing/2014/main" id="{3F96AB96-C1DE-4642-862B-7C1F8639ACB9}"/>
                  </a:ext>
                </a:extLst>
              </p:cNvPr>
              <p:cNvGrpSpPr/>
              <p:nvPr/>
            </p:nvGrpSpPr>
            <p:grpSpPr>
              <a:xfrm>
                <a:off x="6769721" y="4926011"/>
                <a:ext cx="166407" cy="415735"/>
                <a:chOff x="6769721" y="4926011"/>
                <a:chExt cx="166407" cy="415735"/>
              </a:xfrm>
              <a:grpFill/>
            </p:grpSpPr>
            <p:sp>
              <p:nvSpPr>
                <p:cNvPr id="3493" name="Vrije vorm: vorm 3492">
                  <a:extLst>
                    <a:ext uri="{FF2B5EF4-FFF2-40B4-BE49-F238E27FC236}">
                      <a16:creationId xmlns:a16="http://schemas.microsoft.com/office/drawing/2014/main" id="{454D68CB-6148-4C02-A545-954F2AC05F4B}"/>
                    </a:ext>
                  </a:extLst>
                </p:cNvPr>
                <p:cNvSpPr/>
                <p:nvPr/>
              </p:nvSpPr>
              <p:spPr>
                <a:xfrm>
                  <a:off x="6777135" y="4934536"/>
                  <a:ext cx="151286" cy="399225"/>
                </a:xfrm>
                <a:custGeom>
                  <a:avLst/>
                  <a:gdLst>
                    <a:gd name="connsiteX0" fmla="*/ 0 w 151286"/>
                    <a:gd name="connsiteY0" fmla="*/ 1065 h 399225"/>
                    <a:gd name="connsiteX1" fmla="*/ 2858 w 151286"/>
                    <a:gd name="connsiteY1" fmla="*/ 0 h 399225"/>
                    <a:gd name="connsiteX2" fmla="*/ 151286 w 151286"/>
                    <a:gd name="connsiteY2" fmla="*/ 398159 h 399225"/>
                    <a:gd name="connsiteX3" fmla="*/ 148428 w 151286"/>
                    <a:gd name="connsiteY3" fmla="*/ 399225 h 399225"/>
                  </a:gdLst>
                  <a:ahLst/>
                  <a:cxnLst>
                    <a:cxn ang="0">
                      <a:pos x="connsiteX0" y="connsiteY0"/>
                    </a:cxn>
                    <a:cxn ang="0">
                      <a:pos x="connsiteX1" y="connsiteY1"/>
                    </a:cxn>
                    <a:cxn ang="0">
                      <a:pos x="connsiteX2" y="connsiteY2"/>
                    </a:cxn>
                    <a:cxn ang="0">
                      <a:pos x="connsiteX3" y="connsiteY3"/>
                    </a:cxn>
                  </a:cxnLst>
                  <a:rect l="l" t="t" r="r" b="b"/>
                  <a:pathLst>
                    <a:path w="151286" h="399225">
                      <a:moveTo>
                        <a:pt x="0" y="1065"/>
                      </a:moveTo>
                      <a:lnTo>
                        <a:pt x="2858" y="0"/>
                      </a:lnTo>
                      <a:lnTo>
                        <a:pt x="151286" y="398159"/>
                      </a:lnTo>
                      <a:lnTo>
                        <a:pt x="148428" y="399225"/>
                      </a:lnTo>
                      <a:close/>
                    </a:path>
                  </a:pathLst>
                </a:custGeom>
                <a:grpFill/>
                <a:ln w="5978" cap="flat">
                  <a:noFill/>
                  <a:prstDash val="solid"/>
                  <a:miter/>
                </a:ln>
              </p:spPr>
              <p:txBody>
                <a:bodyPr rtlCol="0" anchor="ctr"/>
                <a:lstStyle/>
                <a:p>
                  <a:endParaRPr lang="en-GB"/>
                </a:p>
              </p:txBody>
            </p:sp>
            <p:sp>
              <p:nvSpPr>
                <p:cNvPr id="3494" name="Vrije vorm: vorm 3493">
                  <a:extLst>
                    <a:ext uri="{FF2B5EF4-FFF2-40B4-BE49-F238E27FC236}">
                      <a16:creationId xmlns:a16="http://schemas.microsoft.com/office/drawing/2014/main" id="{407DB59A-B585-4366-AD92-04A0F0D239EA}"/>
                    </a:ext>
                  </a:extLst>
                </p:cNvPr>
                <p:cNvSpPr/>
                <p:nvPr/>
              </p:nvSpPr>
              <p:spPr>
                <a:xfrm>
                  <a:off x="6769721" y="4926011"/>
                  <a:ext cx="18356" cy="18429"/>
                </a:xfrm>
                <a:custGeom>
                  <a:avLst/>
                  <a:gdLst>
                    <a:gd name="connsiteX0" fmla="*/ 596 w 18356"/>
                    <a:gd name="connsiteY0" fmla="*/ 12430 h 18429"/>
                    <a:gd name="connsiteX1" fmla="*/ 5978 w 18356"/>
                    <a:gd name="connsiteY1" fmla="*/ 588 h 18429"/>
                    <a:gd name="connsiteX2" fmla="*/ 17760 w 18356"/>
                    <a:gd name="connsiteY2" fmla="*/ 6031 h 18429"/>
                    <a:gd name="connsiteX3" fmla="*/ 12378 w 18356"/>
                    <a:gd name="connsiteY3" fmla="*/ 17872 h 18429"/>
                    <a:gd name="connsiteX4" fmla="*/ 596 w 18356"/>
                    <a:gd name="connsiteY4" fmla="*/ 1243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9">
                      <a:moveTo>
                        <a:pt x="596" y="12430"/>
                      </a:moveTo>
                      <a:cubicBezTo>
                        <a:pt x="-1198" y="7646"/>
                        <a:pt x="1194" y="2383"/>
                        <a:pt x="5978" y="588"/>
                      </a:cubicBezTo>
                      <a:cubicBezTo>
                        <a:pt x="10703" y="-1206"/>
                        <a:pt x="16026" y="1246"/>
                        <a:pt x="17760" y="6031"/>
                      </a:cubicBezTo>
                      <a:cubicBezTo>
                        <a:pt x="19554" y="10815"/>
                        <a:pt x="17162" y="16078"/>
                        <a:pt x="12378" y="17872"/>
                      </a:cubicBezTo>
                      <a:cubicBezTo>
                        <a:pt x="7653" y="19607"/>
                        <a:pt x="2390" y="17155"/>
                        <a:pt x="596" y="12430"/>
                      </a:cubicBezTo>
                      <a:close/>
                    </a:path>
                  </a:pathLst>
                </a:custGeom>
                <a:grpFill/>
                <a:ln w="5978" cap="flat">
                  <a:noFill/>
                  <a:prstDash val="solid"/>
                  <a:miter/>
                </a:ln>
              </p:spPr>
              <p:txBody>
                <a:bodyPr rtlCol="0" anchor="ctr"/>
                <a:lstStyle/>
                <a:p>
                  <a:endParaRPr lang="en-GB"/>
                </a:p>
              </p:txBody>
            </p:sp>
            <p:sp>
              <p:nvSpPr>
                <p:cNvPr id="3495" name="Vrije vorm: vorm 3494">
                  <a:extLst>
                    <a:ext uri="{FF2B5EF4-FFF2-40B4-BE49-F238E27FC236}">
                      <a16:creationId xmlns:a16="http://schemas.microsoft.com/office/drawing/2014/main" id="{386CDEBA-34F9-477C-8690-56494D179939}"/>
                    </a:ext>
                  </a:extLst>
                </p:cNvPr>
                <p:cNvSpPr/>
                <p:nvPr/>
              </p:nvSpPr>
              <p:spPr>
                <a:xfrm>
                  <a:off x="6917810" y="5323335"/>
                  <a:ext cx="18317" cy="18412"/>
                </a:xfrm>
                <a:custGeom>
                  <a:avLst/>
                  <a:gdLst>
                    <a:gd name="connsiteX0" fmla="*/ 589 w 18317"/>
                    <a:gd name="connsiteY0" fmla="*/ 12406 h 18412"/>
                    <a:gd name="connsiteX1" fmla="*/ 12371 w 18317"/>
                    <a:gd name="connsiteY1" fmla="*/ 17848 h 18412"/>
                    <a:gd name="connsiteX2" fmla="*/ 17753 w 18317"/>
                    <a:gd name="connsiteY2" fmla="*/ 6006 h 18412"/>
                    <a:gd name="connsiteX3" fmla="*/ 5971 w 18317"/>
                    <a:gd name="connsiteY3" fmla="*/ 564 h 18412"/>
                    <a:gd name="connsiteX4" fmla="*/ 589 w 18317"/>
                    <a:gd name="connsiteY4" fmla="*/ 12406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12">
                      <a:moveTo>
                        <a:pt x="589" y="12406"/>
                      </a:moveTo>
                      <a:cubicBezTo>
                        <a:pt x="2383" y="17190"/>
                        <a:pt x="7646" y="19583"/>
                        <a:pt x="12371" y="17848"/>
                      </a:cubicBezTo>
                      <a:cubicBezTo>
                        <a:pt x="17095" y="16054"/>
                        <a:pt x="19488" y="10791"/>
                        <a:pt x="17753" y="6006"/>
                      </a:cubicBezTo>
                      <a:cubicBezTo>
                        <a:pt x="15959" y="1222"/>
                        <a:pt x="10696" y="-1171"/>
                        <a:pt x="5971" y="564"/>
                      </a:cubicBezTo>
                      <a:cubicBezTo>
                        <a:pt x="1246" y="2298"/>
                        <a:pt x="-1205" y="7621"/>
                        <a:pt x="589" y="12406"/>
                      </a:cubicBezTo>
                      <a:close/>
                    </a:path>
                  </a:pathLst>
                </a:custGeom>
                <a:grpFill/>
                <a:ln w="5978" cap="flat">
                  <a:noFill/>
                  <a:prstDash val="solid"/>
                  <a:miter/>
                </a:ln>
              </p:spPr>
              <p:txBody>
                <a:bodyPr rtlCol="0" anchor="ctr"/>
                <a:lstStyle/>
                <a:p>
                  <a:endParaRPr lang="en-GB"/>
                </a:p>
              </p:txBody>
            </p:sp>
          </p:grpSp>
          <p:grpSp>
            <p:nvGrpSpPr>
              <p:cNvPr id="633" name="Graphic 3">
                <a:extLst>
                  <a:ext uri="{FF2B5EF4-FFF2-40B4-BE49-F238E27FC236}">
                    <a16:creationId xmlns:a16="http://schemas.microsoft.com/office/drawing/2014/main" id="{DBCB7432-1B4D-43CA-B283-121C806B03F1}"/>
                  </a:ext>
                </a:extLst>
              </p:cNvPr>
              <p:cNvGrpSpPr/>
              <p:nvPr/>
            </p:nvGrpSpPr>
            <p:grpSpPr>
              <a:xfrm>
                <a:off x="6770450" y="4925717"/>
                <a:ext cx="75366" cy="137792"/>
                <a:chOff x="6770450" y="4925717"/>
                <a:chExt cx="75366" cy="137792"/>
              </a:xfrm>
              <a:grpFill/>
            </p:grpSpPr>
            <p:sp>
              <p:nvSpPr>
                <p:cNvPr id="3490" name="Vrije vorm: vorm 3489">
                  <a:extLst>
                    <a:ext uri="{FF2B5EF4-FFF2-40B4-BE49-F238E27FC236}">
                      <a16:creationId xmlns:a16="http://schemas.microsoft.com/office/drawing/2014/main" id="{7DF17C0B-4E17-44DE-8FDF-6B079BB11BBD}"/>
                    </a:ext>
                  </a:extLst>
                </p:cNvPr>
                <p:cNvSpPr/>
                <p:nvPr/>
              </p:nvSpPr>
              <p:spPr>
                <a:xfrm>
                  <a:off x="6778091" y="4933836"/>
                  <a:ext cx="60166" cy="121528"/>
                </a:xfrm>
                <a:custGeom>
                  <a:avLst/>
                  <a:gdLst>
                    <a:gd name="connsiteX0" fmla="*/ 60166 w 60166"/>
                    <a:gd name="connsiteY0" fmla="*/ 120212 h 121528"/>
                    <a:gd name="connsiteX1" fmla="*/ 57415 w 60166"/>
                    <a:gd name="connsiteY1" fmla="*/ 121528 h 121528"/>
                    <a:gd name="connsiteX2" fmla="*/ 0 w 60166"/>
                    <a:gd name="connsiteY2" fmla="*/ 1316 h 121528"/>
                    <a:gd name="connsiteX3" fmla="*/ 2751 w 60166"/>
                    <a:gd name="connsiteY3" fmla="*/ 0 h 121528"/>
                  </a:gdLst>
                  <a:ahLst/>
                  <a:cxnLst>
                    <a:cxn ang="0">
                      <a:pos x="connsiteX0" y="connsiteY0"/>
                    </a:cxn>
                    <a:cxn ang="0">
                      <a:pos x="connsiteX1" y="connsiteY1"/>
                    </a:cxn>
                    <a:cxn ang="0">
                      <a:pos x="connsiteX2" y="connsiteY2"/>
                    </a:cxn>
                    <a:cxn ang="0">
                      <a:pos x="connsiteX3" y="connsiteY3"/>
                    </a:cxn>
                  </a:cxnLst>
                  <a:rect l="l" t="t" r="r" b="b"/>
                  <a:pathLst>
                    <a:path w="60166" h="121528">
                      <a:moveTo>
                        <a:pt x="60166" y="120212"/>
                      </a:moveTo>
                      <a:lnTo>
                        <a:pt x="57415" y="121528"/>
                      </a:lnTo>
                      <a:lnTo>
                        <a:pt x="0" y="1316"/>
                      </a:lnTo>
                      <a:lnTo>
                        <a:pt x="2751" y="0"/>
                      </a:lnTo>
                      <a:close/>
                    </a:path>
                  </a:pathLst>
                </a:custGeom>
                <a:grpFill/>
                <a:ln w="5978" cap="flat">
                  <a:noFill/>
                  <a:prstDash val="solid"/>
                  <a:miter/>
                </a:ln>
              </p:spPr>
              <p:txBody>
                <a:bodyPr rtlCol="0" anchor="ctr"/>
                <a:lstStyle/>
                <a:p>
                  <a:endParaRPr lang="en-GB"/>
                </a:p>
              </p:txBody>
            </p:sp>
            <p:sp>
              <p:nvSpPr>
                <p:cNvPr id="3491" name="Vrije vorm: vorm 3490">
                  <a:extLst>
                    <a:ext uri="{FF2B5EF4-FFF2-40B4-BE49-F238E27FC236}">
                      <a16:creationId xmlns:a16="http://schemas.microsoft.com/office/drawing/2014/main" id="{1CDBA6F4-D540-4F9B-A809-381FFD43B834}"/>
                    </a:ext>
                  </a:extLst>
                </p:cNvPr>
                <p:cNvSpPr/>
                <p:nvPr/>
              </p:nvSpPr>
              <p:spPr>
                <a:xfrm>
                  <a:off x="6827496" y="5045066"/>
                  <a:ext cx="18320" cy="18443"/>
                </a:xfrm>
                <a:custGeom>
                  <a:avLst/>
                  <a:gdLst>
                    <a:gd name="connsiteX0" fmla="*/ 17401 w 18320"/>
                    <a:gd name="connsiteY0" fmla="*/ 5274 h 18443"/>
                    <a:gd name="connsiteX1" fmla="*/ 13094 w 18320"/>
                    <a:gd name="connsiteY1" fmla="*/ 17535 h 18443"/>
                    <a:gd name="connsiteX2" fmla="*/ 894 w 18320"/>
                    <a:gd name="connsiteY2" fmla="*/ 13169 h 18443"/>
                    <a:gd name="connsiteX3" fmla="*/ 5200 w 18320"/>
                    <a:gd name="connsiteY3" fmla="*/ 908 h 18443"/>
                    <a:gd name="connsiteX4" fmla="*/ 17401 w 18320"/>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43">
                      <a:moveTo>
                        <a:pt x="17401" y="5274"/>
                      </a:moveTo>
                      <a:cubicBezTo>
                        <a:pt x="19614" y="9879"/>
                        <a:pt x="17699" y="15382"/>
                        <a:pt x="13094" y="17535"/>
                      </a:cubicBezTo>
                      <a:cubicBezTo>
                        <a:pt x="8549" y="19748"/>
                        <a:pt x="3047" y="17774"/>
                        <a:pt x="894" y="13169"/>
                      </a:cubicBezTo>
                      <a:cubicBezTo>
                        <a:pt x="-1259" y="8564"/>
                        <a:pt x="595" y="3061"/>
                        <a:pt x="5200" y="908"/>
                      </a:cubicBezTo>
                      <a:cubicBezTo>
                        <a:pt x="9745" y="-1305"/>
                        <a:pt x="15248" y="669"/>
                        <a:pt x="17401" y="5274"/>
                      </a:cubicBezTo>
                      <a:close/>
                    </a:path>
                  </a:pathLst>
                </a:custGeom>
                <a:grpFill/>
                <a:ln w="5978" cap="flat">
                  <a:noFill/>
                  <a:prstDash val="solid"/>
                  <a:miter/>
                </a:ln>
              </p:spPr>
              <p:txBody>
                <a:bodyPr rtlCol="0" anchor="ctr"/>
                <a:lstStyle/>
                <a:p>
                  <a:endParaRPr lang="en-GB"/>
                </a:p>
              </p:txBody>
            </p:sp>
            <p:sp>
              <p:nvSpPr>
                <p:cNvPr id="3492" name="Vrije vorm: vorm 3491">
                  <a:extLst>
                    <a:ext uri="{FF2B5EF4-FFF2-40B4-BE49-F238E27FC236}">
                      <a16:creationId xmlns:a16="http://schemas.microsoft.com/office/drawing/2014/main" id="{61F243BC-E94C-40E6-8646-C513FC79D08A}"/>
                    </a:ext>
                  </a:extLst>
                </p:cNvPr>
                <p:cNvSpPr/>
                <p:nvPr/>
              </p:nvSpPr>
              <p:spPr>
                <a:xfrm>
                  <a:off x="6770450" y="4925717"/>
                  <a:ext cx="18369" cy="18391"/>
                </a:xfrm>
                <a:custGeom>
                  <a:avLst/>
                  <a:gdLst>
                    <a:gd name="connsiteX0" fmla="*/ 17450 w 18369"/>
                    <a:gd name="connsiteY0" fmla="*/ 5248 h 18391"/>
                    <a:gd name="connsiteX1" fmla="*/ 5190 w 18369"/>
                    <a:gd name="connsiteY1" fmla="*/ 882 h 18391"/>
                    <a:gd name="connsiteX2" fmla="*/ 884 w 18369"/>
                    <a:gd name="connsiteY2" fmla="*/ 13143 h 18391"/>
                    <a:gd name="connsiteX3" fmla="*/ 13144 w 18369"/>
                    <a:gd name="connsiteY3" fmla="*/ 17509 h 18391"/>
                    <a:gd name="connsiteX4" fmla="*/ 17450 w 18369"/>
                    <a:gd name="connsiteY4" fmla="*/ 5248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1">
                      <a:moveTo>
                        <a:pt x="17450" y="5248"/>
                      </a:moveTo>
                      <a:cubicBezTo>
                        <a:pt x="15237" y="643"/>
                        <a:pt x="9795" y="-1271"/>
                        <a:pt x="5190" y="882"/>
                      </a:cubicBezTo>
                      <a:cubicBezTo>
                        <a:pt x="644" y="3095"/>
                        <a:pt x="-1269" y="8538"/>
                        <a:pt x="884" y="13143"/>
                      </a:cubicBezTo>
                      <a:cubicBezTo>
                        <a:pt x="3096" y="17748"/>
                        <a:pt x="8539" y="19662"/>
                        <a:pt x="13144" y="17509"/>
                      </a:cubicBezTo>
                      <a:cubicBezTo>
                        <a:pt x="17749" y="15296"/>
                        <a:pt x="19663" y="9794"/>
                        <a:pt x="17450" y="5248"/>
                      </a:cubicBezTo>
                      <a:close/>
                    </a:path>
                  </a:pathLst>
                </a:custGeom>
                <a:grpFill/>
                <a:ln w="5978" cap="flat">
                  <a:noFill/>
                  <a:prstDash val="solid"/>
                  <a:miter/>
                </a:ln>
              </p:spPr>
              <p:txBody>
                <a:bodyPr rtlCol="0" anchor="ctr"/>
                <a:lstStyle/>
                <a:p>
                  <a:endParaRPr lang="en-GB"/>
                </a:p>
              </p:txBody>
            </p:sp>
          </p:grpSp>
          <p:grpSp>
            <p:nvGrpSpPr>
              <p:cNvPr id="634" name="Graphic 3">
                <a:extLst>
                  <a:ext uri="{FF2B5EF4-FFF2-40B4-BE49-F238E27FC236}">
                    <a16:creationId xmlns:a16="http://schemas.microsoft.com/office/drawing/2014/main" id="{3041DF03-A8D8-4017-AACD-40005D35D7F4}"/>
                  </a:ext>
                </a:extLst>
              </p:cNvPr>
              <p:cNvGrpSpPr/>
              <p:nvPr/>
            </p:nvGrpSpPr>
            <p:grpSpPr>
              <a:xfrm>
                <a:off x="5545457" y="1104912"/>
                <a:ext cx="122082" cy="641804"/>
                <a:chOff x="5545457" y="1104912"/>
                <a:chExt cx="122082" cy="641804"/>
              </a:xfrm>
              <a:grpFill/>
            </p:grpSpPr>
            <p:sp>
              <p:nvSpPr>
                <p:cNvPr id="3487" name="Vrije vorm: vorm 3486">
                  <a:extLst>
                    <a:ext uri="{FF2B5EF4-FFF2-40B4-BE49-F238E27FC236}">
                      <a16:creationId xmlns:a16="http://schemas.microsoft.com/office/drawing/2014/main" id="{B6EBEAC0-6532-4F67-90A8-BA111BB5048F}"/>
                    </a:ext>
                  </a:extLst>
                </p:cNvPr>
                <p:cNvSpPr/>
                <p:nvPr/>
              </p:nvSpPr>
              <p:spPr>
                <a:xfrm>
                  <a:off x="5553000" y="1113411"/>
                  <a:ext cx="106934" cy="624746"/>
                </a:xfrm>
                <a:custGeom>
                  <a:avLst/>
                  <a:gdLst>
                    <a:gd name="connsiteX0" fmla="*/ 3050 w 106934"/>
                    <a:gd name="connsiteY0" fmla="*/ 0 h 624746"/>
                    <a:gd name="connsiteX1" fmla="*/ 106935 w 106934"/>
                    <a:gd name="connsiteY1" fmla="*/ 624268 h 624746"/>
                    <a:gd name="connsiteX2" fmla="*/ 103885 w 106934"/>
                    <a:gd name="connsiteY2" fmla="*/ 624746 h 624746"/>
                    <a:gd name="connsiteX3" fmla="*/ 0 w 106934"/>
                    <a:gd name="connsiteY3" fmla="*/ 478 h 624746"/>
                  </a:gdLst>
                  <a:ahLst/>
                  <a:cxnLst>
                    <a:cxn ang="0">
                      <a:pos x="connsiteX0" y="connsiteY0"/>
                    </a:cxn>
                    <a:cxn ang="0">
                      <a:pos x="connsiteX1" y="connsiteY1"/>
                    </a:cxn>
                    <a:cxn ang="0">
                      <a:pos x="connsiteX2" y="connsiteY2"/>
                    </a:cxn>
                    <a:cxn ang="0">
                      <a:pos x="connsiteX3" y="connsiteY3"/>
                    </a:cxn>
                  </a:cxnLst>
                  <a:rect l="l" t="t" r="r" b="b"/>
                  <a:pathLst>
                    <a:path w="106934" h="624746">
                      <a:moveTo>
                        <a:pt x="3050" y="0"/>
                      </a:moveTo>
                      <a:lnTo>
                        <a:pt x="106935" y="624268"/>
                      </a:lnTo>
                      <a:lnTo>
                        <a:pt x="103885" y="624746"/>
                      </a:lnTo>
                      <a:lnTo>
                        <a:pt x="0" y="478"/>
                      </a:lnTo>
                      <a:close/>
                    </a:path>
                  </a:pathLst>
                </a:custGeom>
                <a:grpFill/>
                <a:ln w="5978" cap="flat">
                  <a:noFill/>
                  <a:prstDash val="solid"/>
                  <a:miter/>
                </a:ln>
              </p:spPr>
              <p:txBody>
                <a:bodyPr rtlCol="0" anchor="ctr"/>
                <a:lstStyle/>
                <a:p>
                  <a:endParaRPr lang="en-GB"/>
                </a:p>
              </p:txBody>
            </p:sp>
            <p:sp>
              <p:nvSpPr>
                <p:cNvPr id="3488" name="Vrije vorm: vorm 3487">
                  <a:extLst>
                    <a:ext uri="{FF2B5EF4-FFF2-40B4-BE49-F238E27FC236}">
                      <a16:creationId xmlns:a16="http://schemas.microsoft.com/office/drawing/2014/main" id="{203A377C-BC69-4FB6-A9E2-2C1D66970814}"/>
                    </a:ext>
                  </a:extLst>
                </p:cNvPr>
                <p:cNvSpPr/>
                <p:nvPr/>
              </p:nvSpPr>
              <p:spPr>
                <a:xfrm>
                  <a:off x="5649221" y="1728282"/>
                  <a:ext cx="18318" cy="18434"/>
                </a:xfrm>
                <a:custGeom>
                  <a:avLst/>
                  <a:gdLst>
                    <a:gd name="connsiteX0" fmla="*/ 18190 w 18318"/>
                    <a:gd name="connsiteY0" fmla="*/ 7722 h 18434"/>
                    <a:gd name="connsiteX1" fmla="*/ 10654 w 18318"/>
                    <a:gd name="connsiteY1" fmla="*/ 18308 h 18434"/>
                    <a:gd name="connsiteX2" fmla="*/ 128 w 18318"/>
                    <a:gd name="connsiteY2" fmla="*/ 10712 h 18434"/>
                    <a:gd name="connsiteX3" fmla="*/ 766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7" y="12746"/>
                        <a:pt x="15678" y="17471"/>
                        <a:pt x="10654" y="18308"/>
                      </a:cubicBezTo>
                      <a:cubicBezTo>
                        <a:pt x="5690" y="19145"/>
                        <a:pt x="966" y="15736"/>
                        <a:pt x="128" y="10712"/>
                      </a:cubicBezTo>
                      <a:cubicBezTo>
                        <a:pt x="-709" y="5688"/>
                        <a:pt x="2640" y="964"/>
                        <a:pt x="7664" y="126"/>
                      </a:cubicBezTo>
                      <a:cubicBezTo>
                        <a:pt x="12628" y="-711"/>
                        <a:pt x="17353" y="2698"/>
                        <a:pt x="18190" y="7722"/>
                      </a:cubicBezTo>
                      <a:close/>
                    </a:path>
                  </a:pathLst>
                </a:custGeom>
                <a:grpFill/>
                <a:ln w="5978" cap="flat">
                  <a:noFill/>
                  <a:prstDash val="solid"/>
                  <a:miter/>
                </a:ln>
              </p:spPr>
              <p:txBody>
                <a:bodyPr rtlCol="0" anchor="ctr"/>
                <a:lstStyle/>
                <a:p>
                  <a:endParaRPr lang="en-GB"/>
                </a:p>
              </p:txBody>
            </p:sp>
            <p:sp>
              <p:nvSpPr>
                <p:cNvPr id="3489" name="Vrije vorm: vorm 3488">
                  <a:extLst>
                    <a:ext uri="{FF2B5EF4-FFF2-40B4-BE49-F238E27FC236}">
                      <a16:creationId xmlns:a16="http://schemas.microsoft.com/office/drawing/2014/main" id="{4588F8B4-9A23-49C6-B9E0-0DF5FECB9B1E}"/>
                    </a:ext>
                  </a:extLst>
                </p:cNvPr>
                <p:cNvSpPr/>
                <p:nvPr/>
              </p:nvSpPr>
              <p:spPr>
                <a:xfrm>
                  <a:off x="5545457" y="1104912"/>
                  <a:ext cx="18316" cy="18434"/>
                </a:xfrm>
                <a:custGeom>
                  <a:avLst/>
                  <a:gdLst>
                    <a:gd name="connsiteX0" fmla="*/ 18188 w 18316"/>
                    <a:gd name="connsiteY0" fmla="*/ 7722 h 18434"/>
                    <a:gd name="connsiteX1" fmla="*/ 7662 w 18316"/>
                    <a:gd name="connsiteY1" fmla="*/ 126 h 18434"/>
                    <a:gd name="connsiteX2" fmla="*/ 126 w 18316"/>
                    <a:gd name="connsiteY2" fmla="*/ 10712 h 18434"/>
                    <a:gd name="connsiteX3" fmla="*/ 10653 w 18316"/>
                    <a:gd name="connsiteY3" fmla="*/ 18308 h 18434"/>
                    <a:gd name="connsiteX4" fmla="*/ 18188 w 18316"/>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4">
                      <a:moveTo>
                        <a:pt x="18188" y="7722"/>
                      </a:moveTo>
                      <a:cubicBezTo>
                        <a:pt x="17351" y="2698"/>
                        <a:pt x="12626" y="-711"/>
                        <a:pt x="7662" y="126"/>
                      </a:cubicBezTo>
                      <a:cubicBezTo>
                        <a:pt x="2698" y="964"/>
                        <a:pt x="-711" y="5689"/>
                        <a:pt x="126" y="10712"/>
                      </a:cubicBezTo>
                      <a:cubicBezTo>
                        <a:pt x="964" y="15736"/>
                        <a:pt x="5688" y="19145"/>
                        <a:pt x="10653" y="18308"/>
                      </a:cubicBezTo>
                      <a:cubicBezTo>
                        <a:pt x="15677" y="17471"/>
                        <a:pt x="19026" y="12746"/>
                        <a:pt x="18188" y="7722"/>
                      </a:cubicBezTo>
                      <a:close/>
                    </a:path>
                  </a:pathLst>
                </a:custGeom>
                <a:grpFill/>
                <a:ln w="5978" cap="flat">
                  <a:noFill/>
                  <a:prstDash val="solid"/>
                  <a:miter/>
                </a:ln>
              </p:spPr>
              <p:txBody>
                <a:bodyPr rtlCol="0" anchor="ctr"/>
                <a:lstStyle/>
                <a:p>
                  <a:endParaRPr lang="en-GB"/>
                </a:p>
              </p:txBody>
            </p:sp>
          </p:grpSp>
          <p:grpSp>
            <p:nvGrpSpPr>
              <p:cNvPr id="635" name="Graphic 3">
                <a:extLst>
                  <a:ext uri="{FF2B5EF4-FFF2-40B4-BE49-F238E27FC236}">
                    <a16:creationId xmlns:a16="http://schemas.microsoft.com/office/drawing/2014/main" id="{D51DC71D-C9AE-4151-9603-CCA61CBEE3E3}"/>
                  </a:ext>
                </a:extLst>
              </p:cNvPr>
              <p:cNvGrpSpPr/>
              <p:nvPr/>
            </p:nvGrpSpPr>
            <p:grpSpPr>
              <a:xfrm>
                <a:off x="5510397" y="1144573"/>
                <a:ext cx="23642" cy="40605"/>
                <a:chOff x="5510397" y="1144573"/>
                <a:chExt cx="23642" cy="40605"/>
              </a:xfrm>
              <a:grpFill/>
            </p:grpSpPr>
            <p:sp>
              <p:nvSpPr>
                <p:cNvPr id="3484" name="Vrije vorm: vorm 3483">
                  <a:extLst>
                    <a:ext uri="{FF2B5EF4-FFF2-40B4-BE49-F238E27FC236}">
                      <a16:creationId xmlns:a16="http://schemas.microsoft.com/office/drawing/2014/main" id="{E9B8BC26-1CF4-400F-8962-81F6EDEFAD18}"/>
                    </a:ext>
                  </a:extLst>
                </p:cNvPr>
                <p:cNvSpPr/>
                <p:nvPr/>
              </p:nvSpPr>
              <p:spPr>
                <a:xfrm>
                  <a:off x="5518013" y="1153004"/>
                  <a:ext cx="8433" cy="23803"/>
                </a:xfrm>
                <a:custGeom>
                  <a:avLst/>
                  <a:gdLst>
                    <a:gd name="connsiteX0" fmla="*/ 2930 w 8433"/>
                    <a:gd name="connsiteY0" fmla="*/ 0 h 23803"/>
                    <a:gd name="connsiteX1" fmla="*/ 8433 w 8433"/>
                    <a:gd name="connsiteY1" fmla="*/ 23086 h 23803"/>
                    <a:gd name="connsiteX2" fmla="*/ 5443 w 8433"/>
                    <a:gd name="connsiteY2" fmla="*/ 23803 h 23803"/>
                    <a:gd name="connsiteX3" fmla="*/ 0 w 8433"/>
                    <a:gd name="connsiteY3" fmla="*/ 658 h 23803"/>
                  </a:gdLst>
                  <a:ahLst/>
                  <a:cxnLst>
                    <a:cxn ang="0">
                      <a:pos x="connsiteX0" y="connsiteY0"/>
                    </a:cxn>
                    <a:cxn ang="0">
                      <a:pos x="connsiteX1" y="connsiteY1"/>
                    </a:cxn>
                    <a:cxn ang="0">
                      <a:pos x="connsiteX2" y="connsiteY2"/>
                    </a:cxn>
                    <a:cxn ang="0">
                      <a:pos x="connsiteX3" y="connsiteY3"/>
                    </a:cxn>
                  </a:cxnLst>
                  <a:rect l="l" t="t" r="r" b="b"/>
                  <a:pathLst>
                    <a:path w="8433" h="23803">
                      <a:moveTo>
                        <a:pt x="2930" y="0"/>
                      </a:moveTo>
                      <a:lnTo>
                        <a:pt x="8433" y="23086"/>
                      </a:lnTo>
                      <a:lnTo>
                        <a:pt x="5443" y="23803"/>
                      </a:lnTo>
                      <a:lnTo>
                        <a:pt x="0" y="658"/>
                      </a:lnTo>
                      <a:close/>
                    </a:path>
                  </a:pathLst>
                </a:custGeom>
                <a:grpFill/>
                <a:ln w="5978" cap="flat">
                  <a:noFill/>
                  <a:prstDash val="solid"/>
                  <a:miter/>
                </a:ln>
              </p:spPr>
              <p:txBody>
                <a:bodyPr rtlCol="0" anchor="ctr"/>
                <a:lstStyle/>
                <a:p>
                  <a:endParaRPr lang="en-GB"/>
                </a:p>
              </p:txBody>
            </p:sp>
            <p:sp>
              <p:nvSpPr>
                <p:cNvPr id="3485" name="Vrije vorm: vorm 3484">
                  <a:extLst>
                    <a:ext uri="{FF2B5EF4-FFF2-40B4-BE49-F238E27FC236}">
                      <a16:creationId xmlns:a16="http://schemas.microsoft.com/office/drawing/2014/main" id="{9AA0A4C5-BBF4-4DF3-B3C7-6C7C0FAD72B7}"/>
                    </a:ext>
                  </a:extLst>
                </p:cNvPr>
                <p:cNvSpPr/>
                <p:nvPr/>
              </p:nvSpPr>
              <p:spPr>
                <a:xfrm>
                  <a:off x="5510397" y="1144573"/>
                  <a:ext cx="18401" cy="18416"/>
                </a:xfrm>
                <a:custGeom>
                  <a:avLst/>
                  <a:gdLst>
                    <a:gd name="connsiteX0" fmla="*/ 260 w 18401"/>
                    <a:gd name="connsiteY0" fmla="*/ 11302 h 18416"/>
                    <a:gd name="connsiteX1" fmla="*/ 7078 w 18401"/>
                    <a:gd name="connsiteY1" fmla="*/ 237 h 18416"/>
                    <a:gd name="connsiteX2" fmla="*/ 18142 w 18401"/>
                    <a:gd name="connsiteY2" fmla="*/ 7115 h 18416"/>
                    <a:gd name="connsiteX3" fmla="*/ 11324 w 18401"/>
                    <a:gd name="connsiteY3" fmla="*/ 18180 h 18416"/>
                    <a:gd name="connsiteX4" fmla="*/ 260 w 18401"/>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16">
                      <a:moveTo>
                        <a:pt x="260" y="11302"/>
                      </a:moveTo>
                      <a:cubicBezTo>
                        <a:pt x="-937" y="6338"/>
                        <a:pt x="2114" y="1374"/>
                        <a:pt x="7078" y="237"/>
                      </a:cubicBezTo>
                      <a:cubicBezTo>
                        <a:pt x="11982" y="-899"/>
                        <a:pt x="16946" y="2151"/>
                        <a:pt x="18142" y="7115"/>
                      </a:cubicBezTo>
                      <a:cubicBezTo>
                        <a:pt x="19338" y="12079"/>
                        <a:pt x="16288" y="17043"/>
                        <a:pt x="11324" y="18180"/>
                      </a:cubicBezTo>
                      <a:cubicBezTo>
                        <a:pt x="6420" y="19316"/>
                        <a:pt x="1456" y="16266"/>
                        <a:pt x="260" y="11302"/>
                      </a:cubicBezTo>
                      <a:close/>
                    </a:path>
                  </a:pathLst>
                </a:custGeom>
                <a:grpFill/>
                <a:ln w="5978" cap="flat">
                  <a:noFill/>
                  <a:prstDash val="solid"/>
                  <a:miter/>
                </a:ln>
              </p:spPr>
              <p:txBody>
                <a:bodyPr rtlCol="0" anchor="ctr"/>
                <a:lstStyle/>
                <a:p>
                  <a:endParaRPr lang="en-GB"/>
                </a:p>
              </p:txBody>
            </p:sp>
            <p:sp>
              <p:nvSpPr>
                <p:cNvPr id="3486" name="Vrije vorm: vorm 3485">
                  <a:extLst>
                    <a:ext uri="{FF2B5EF4-FFF2-40B4-BE49-F238E27FC236}">
                      <a16:creationId xmlns:a16="http://schemas.microsoft.com/office/drawing/2014/main" id="{726ED0AE-A260-46B7-9877-4D32BF9A1F3D}"/>
                    </a:ext>
                  </a:extLst>
                </p:cNvPr>
                <p:cNvSpPr/>
                <p:nvPr/>
              </p:nvSpPr>
              <p:spPr>
                <a:xfrm>
                  <a:off x="5515679" y="1166761"/>
                  <a:ext cx="18360" cy="18416"/>
                </a:xfrm>
                <a:custGeom>
                  <a:avLst/>
                  <a:gdLst>
                    <a:gd name="connsiteX0" fmla="*/ 241 w 18360"/>
                    <a:gd name="connsiteY0" fmla="*/ 11302 h 18416"/>
                    <a:gd name="connsiteX1" fmla="*/ 11305 w 18360"/>
                    <a:gd name="connsiteY1" fmla="*/ 18180 h 18416"/>
                    <a:gd name="connsiteX2" fmla="*/ 18123 w 18360"/>
                    <a:gd name="connsiteY2" fmla="*/ 7115 h 18416"/>
                    <a:gd name="connsiteX3" fmla="*/ 7058 w 18360"/>
                    <a:gd name="connsiteY3" fmla="*/ 237 h 18416"/>
                    <a:gd name="connsiteX4" fmla="*/ 241 w 18360"/>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6">
                      <a:moveTo>
                        <a:pt x="241" y="11302"/>
                      </a:moveTo>
                      <a:cubicBezTo>
                        <a:pt x="1437" y="16266"/>
                        <a:pt x="6341" y="19316"/>
                        <a:pt x="11305" y="18180"/>
                      </a:cubicBezTo>
                      <a:cubicBezTo>
                        <a:pt x="16209" y="17043"/>
                        <a:pt x="19259" y="12079"/>
                        <a:pt x="18123" y="7115"/>
                      </a:cubicBezTo>
                      <a:cubicBezTo>
                        <a:pt x="16927" y="2151"/>
                        <a:pt x="12022" y="-899"/>
                        <a:pt x="7058" y="237"/>
                      </a:cubicBezTo>
                      <a:cubicBezTo>
                        <a:pt x="2095" y="1433"/>
                        <a:pt x="-896" y="6397"/>
                        <a:pt x="241" y="11302"/>
                      </a:cubicBezTo>
                      <a:close/>
                    </a:path>
                  </a:pathLst>
                </a:custGeom>
                <a:grpFill/>
                <a:ln w="5978" cap="flat">
                  <a:noFill/>
                  <a:prstDash val="solid"/>
                  <a:miter/>
                </a:ln>
              </p:spPr>
              <p:txBody>
                <a:bodyPr rtlCol="0" anchor="ctr"/>
                <a:lstStyle/>
                <a:p>
                  <a:endParaRPr lang="en-GB"/>
                </a:p>
              </p:txBody>
            </p:sp>
          </p:grpSp>
          <p:grpSp>
            <p:nvGrpSpPr>
              <p:cNvPr id="636" name="Graphic 3">
                <a:extLst>
                  <a:ext uri="{FF2B5EF4-FFF2-40B4-BE49-F238E27FC236}">
                    <a16:creationId xmlns:a16="http://schemas.microsoft.com/office/drawing/2014/main" id="{6FA92808-0DB9-4BC8-BCD9-B9087C4755A9}"/>
                  </a:ext>
                </a:extLst>
              </p:cNvPr>
              <p:cNvGrpSpPr/>
              <p:nvPr/>
            </p:nvGrpSpPr>
            <p:grpSpPr>
              <a:xfrm>
                <a:off x="6809623" y="5086957"/>
                <a:ext cx="79456" cy="152778"/>
                <a:chOff x="6809623" y="5086957"/>
                <a:chExt cx="79456" cy="152778"/>
              </a:xfrm>
              <a:grpFill/>
            </p:grpSpPr>
            <p:sp>
              <p:nvSpPr>
                <p:cNvPr id="3481" name="Vrije vorm: vorm 3480">
                  <a:extLst>
                    <a:ext uri="{FF2B5EF4-FFF2-40B4-BE49-F238E27FC236}">
                      <a16:creationId xmlns:a16="http://schemas.microsoft.com/office/drawing/2014/main" id="{D6764FA2-98ED-4E21-AE65-14AAC70DB593}"/>
                    </a:ext>
                  </a:extLst>
                </p:cNvPr>
                <p:cNvSpPr/>
                <p:nvPr/>
              </p:nvSpPr>
              <p:spPr>
                <a:xfrm>
                  <a:off x="6817293" y="5094795"/>
                  <a:ext cx="64339" cy="136469"/>
                </a:xfrm>
                <a:custGeom>
                  <a:avLst/>
                  <a:gdLst>
                    <a:gd name="connsiteX0" fmla="*/ 0 w 64339"/>
                    <a:gd name="connsiteY0" fmla="*/ 1264 h 136469"/>
                    <a:gd name="connsiteX1" fmla="*/ 2776 w 64339"/>
                    <a:gd name="connsiteY1" fmla="*/ 0 h 136469"/>
                    <a:gd name="connsiteX2" fmla="*/ 64340 w 64339"/>
                    <a:gd name="connsiteY2" fmla="*/ 135206 h 136469"/>
                    <a:gd name="connsiteX3" fmla="*/ 61564 w 64339"/>
                    <a:gd name="connsiteY3" fmla="*/ 136470 h 136469"/>
                  </a:gdLst>
                  <a:ahLst/>
                  <a:cxnLst>
                    <a:cxn ang="0">
                      <a:pos x="connsiteX0" y="connsiteY0"/>
                    </a:cxn>
                    <a:cxn ang="0">
                      <a:pos x="connsiteX1" y="connsiteY1"/>
                    </a:cxn>
                    <a:cxn ang="0">
                      <a:pos x="connsiteX2" y="connsiteY2"/>
                    </a:cxn>
                    <a:cxn ang="0">
                      <a:pos x="connsiteX3" y="connsiteY3"/>
                    </a:cxn>
                  </a:cxnLst>
                  <a:rect l="l" t="t" r="r" b="b"/>
                  <a:pathLst>
                    <a:path w="64339" h="136469">
                      <a:moveTo>
                        <a:pt x="0" y="1264"/>
                      </a:moveTo>
                      <a:lnTo>
                        <a:pt x="2776" y="0"/>
                      </a:lnTo>
                      <a:lnTo>
                        <a:pt x="64340" y="135206"/>
                      </a:lnTo>
                      <a:lnTo>
                        <a:pt x="61564" y="136470"/>
                      </a:lnTo>
                      <a:close/>
                    </a:path>
                  </a:pathLst>
                </a:custGeom>
                <a:grpFill/>
                <a:ln w="5978" cap="flat">
                  <a:noFill/>
                  <a:prstDash val="solid"/>
                  <a:miter/>
                </a:ln>
              </p:spPr>
              <p:txBody>
                <a:bodyPr rtlCol="0" anchor="ctr"/>
                <a:lstStyle/>
                <a:p>
                  <a:endParaRPr lang="en-GB"/>
                </a:p>
              </p:txBody>
            </p:sp>
            <p:sp>
              <p:nvSpPr>
                <p:cNvPr id="3482" name="Vrije vorm: vorm 3481">
                  <a:extLst>
                    <a:ext uri="{FF2B5EF4-FFF2-40B4-BE49-F238E27FC236}">
                      <a16:creationId xmlns:a16="http://schemas.microsoft.com/office/drawing/2014/main" id="{9D52F066-0127-4E5C-8EC1-0015EC0E6549}"/>
                    </a:ext>
                  </a:extLst>
                </p:cNvPr>
                <p:cNvSpPr/>
                <p:nvPr/>
              </p:nvSpPr>
              <p:spPr>
                <a:xfrm>
                  <a:off x="6870746" y="5221319"/>
                  <a:ext cx="18333" cy="18416"/>
                </a:xfrm>
                <a:custGeom>
                  <a:avLst/>
                  <a:gdLst>
                    <a:gd name="connsiteX0" fmla="*/ 17510 w 18333"/>
                    <a:gd name="connsiteY0" fmla="*/ 5393 h 18416"/>
                    <a:gd name="connsiteX1" fmla="*/ 12965 w 18333"/>
                    <a:gd name="connsiteY1" fmla="*/ 17594 h 18416"/>
                    <a:gd name="connsiteX2" fmla="*/ 824 w 18333"/>
                    <a:gd name="connsiteY2" fmla="*/ 12988 h 18416"/>
                    <a:gd name="connsiteX3" fmla="*/ 5369 w 18333"/>
                    <a:gd name="connsiteY3" fmla="*/ 788 h 18416"/>
                    <a:gd name="connsiteX4" fmla="*/ 17510 w 18333"/>
                    <a:gd name="connsiteY4" fmla="*/ 539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17510" y="5393"/>
                      </a:moveTo>
                      <a:cubicBezTo>
                        <a:pt x="19603" y="9998"/>
                        <a:pt x="17570" y="15500"/>
                        <a:pt x="12965" y="17594"/>
                      </a:cubicBezTo>
                      <a:cubicBezTo>
                        <a:pt x="8359" y="19687"/>
                        <a:pt x="2917" y="17653"/>
                        <a:pt x="824" y="12988"/>
                      </a:cubicBezTo>
                      <a:cubicBezTo>
                        <a:pt x="-1269" y="8383"/>
                        <a:pt x="764" y="2881"/>
                        <a:pt x="5369" y="788"/>
                      </a:cubicBezTo>
                      <a:cubicBezTo>
                        <a:pt x="9914" y="-1246"/>
                        <a:pt x="15357" y="788"/>
                        <a:pt x="17510" y="5393"/>
                      </a:cubicBezTo>
                      <a:close/>
                    </a:path>
                  </a:pathLst>
                </a:custGeom>
                <a:grpFill/>
                <a:ln w="5978" cap="flat">
                  <a:noFill/>
                  <a:prstDash val="solid"/>
                  <a:miter/>
                </a:ln>
              </p:spPr>
              <p:txBody>
                <a:bodyPr rtlCol="0" anchor="ctr"/>
                <a:lstStyle/>
                <a:p>
                  <a:endParaRPr lang="en-GB"/>
                </a:p>
              </p:txBody>
            </p:sp>
            <p:sp>
              <p:nvSpPr>
                <p:cNvPr id="3483" name="Vrije vorm: vorm 3482">
                  <a:extLst>
                    <a:ext uri="{FF2B5EF4-FFF2-40B4-BE49-F238E27FC236}">
                      <a16:creationId xmlns:a16="http://schemas.microsoft.com/office/drawing/2014/main" id="{3EF0BA3F-80C5-44E6-9A16-AEAE889CF026}"/>
                    </a:ext>
                  </a:extLst>
                </p:cNvPr>
                <p:cNvSpPr/>
                <p:nvPr/>
              </p:nvSpPr>
              <p:spPr>
                <a:xfrm>
                  <a:off x="6809623" y="5086957"/>
                  <a:ext cx="18333" cy="18441"/>
                </a:xfrm>
                <a:custGeom>
                  <a:avLst/>
                  <a:gdLst>
                    <a:gd name="connsiteX0" fmla="*/ 17510 w 18333"/>
                    <a:gd name="connsiteY0" fmla="*/ 5428 h 18441"/>
                    <a:gd name="connsiteX1" fmla="*/ 5369 w 18333"/>
                    <a:gd name="connsiteY1" fmla="*/ 823 h 18441"/>
                    <a:gd name="connsiteX2" fmla="*/ 824 w 18333"/>
                    <a:gd name="connsiteY2" fmla="*/ 13023 h 18441"/>
                    <a:gd name="connsiteX3" fmla="*/ 12965 w 18333"/>
                    <a:gd name="connsiteY3" fmla="*/ 17628 h 18441"/>
                    <a:gd name="connsiteX4" fmla="*/ 17510 w 18333"/>
                    <a:gd name="connsiteY4" fmla="*/ 542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7510" y="5428"/>
                      </a:moveTo>
                      <a:cubicBezTo>
                        <a:pt x="15416" y="763"/>
                        <a:pt x="9974" y="-1271"/>
                        <a:pt x="5369" y="823"/>
                      </a:cubicBezTo>
                      <a:cubicBezTo>
                        <a:pt x="764" y="2916"/>
                        <a:pt x="-1270" y="8358"/>
                        <a:pt x="824" y="13023"/>
                      </a:cubicBezTo>
                      <a:cubicBezTo>
                        <a:pt x="2917" y="17628"/>
                        <a:pt x="8359" y="19722"/>
                        <a:pt x="12965" y="17628"/>
                      </a:cubicBezTo>
                      <a:cubicBezTo>
                        <a:pt x="17570" y="15535"/>
                        <a:pt x="19603" y="10033"/>
                        <a:pt x="17510" y="5428"/>
                      </a:cubicBezTo>
                      <a:close/>
                    </a:path>
                  </a:pathLst>
                </a:custGeom>
                <a:grpFill/>
                <a:ln w="5978" cap="flat">
                  <a:noFill/>
                  <a:prstDash val="solid"/>
                  <a:miter/>
                </a:ln>
              </p:spPr>
              <p:txBody>
                <a:bodyPr rtlCol="0" anchor="ctr"/>
                <a:lstStyle/>
                <a:p>
                  <a:endParaRPr lang="en-GB"/>
                </a:p>
              </p:txBody>
            </p:sp>
          </p:grpSp>
          <p:grpSp>
            <p:nvGrpSpPr>
              <p:cNvPr id="637" name="Graphic 3">
                <a:extLst>
                  <a:ext uri="{FF2B5EF4-FFF2-40B4-BE49-F238E27FC236}">
                    <a16:creationId xmlns:a16="http://schemas.microsoft.com/office/drawing/2014/main" id="{31D80C7F-9AA1-45D7-97D2-EA378C266EDC}"/>
                  </a:ext>
                </a:extLst>
              </p:cNvPr>
              <p:cNvGrpSpPr/>
              <p:nvPr/>
            </p:nvGrpSpPr>
            <p:grpSpPr>
              <a:xfrm>
                <a:off x="5641063" y="1543215"/>
                <a:ext cx="56704" cy="195092"/>
                <a:chOff x="5641063" y="1543215"/>
                <a:chExt cx="56704" cy="195092"/>
              </a:xfrm>
              <a:grpFill/>
            </p:grpSpPr>
            <p:sp>
              <p:nvSpPr>
                <p:cNvPr id="3478" name="Vrije vorm: vorm 3477">
                  <a:extLst>
                    <a:ext uri="{FF2B5EF4-FFF2-40B4-BE49-F238E27FC236}">
                      <a16:creationId xmlns:a16="http://schemas.microsoft.com/office/drawing/2014/main" id="{5A954707-03C9-4DCA-BA40-3C2F7FCDBA0E}"/>
                    </a:ext>
                  </a:extLst>
                </p:cNvPr>
                <p:cNvSpPr/>
                <p:nvPr/>
              </p:nvSpPr>
              <p:spPr>
                <a:xfrm>
                  <a:off x="5648632" y="1551619"/>
                  <a:ext cx="41565" cy="178285"/>
                </a:xfrm>
                <a:custGeom>
                  <a:avLst/>
                  <a:gdLst>
                    <a:gd name="connsiteX0" fmla="*/ 2990 w 41565"/>
                    <a:gd name="connsiteY0" fmla="*/ 0 h 178285"/>
                    <a:gd name="connsiteX1" fmla="*/ 41566 w 41565"/>
                    <a:gd name="connsiteY1" fmla="*/ 177628 h 178285"/>
                    <a:gd name="connsiteX2" fmla="*/ 38575 w 41565"/>
                    <a:gd name="connsiteY2" fmla="*/ 178285 h 178285"/>
                    <a:gd name="connsiteX3" fmla="*/ 0 w 41565"/>
                    <a:gd name="connsiteY3" fmla="*/ 658 h 178285"/>
                  </a:gdLst>
                  <a:ahLst/>
                  <a:cxnLst>
                    <a:cxn ang="0">
                      <a:pos x="connsiteX0" y="connsiteY0"/>
                    </a:cxn>
                    <a:cxn ang="0">
                      <a:pos x="connsiteX1" y="connsiteY1"/>
                    </a:cxn>
                    <a:cxn ang="0">
                      <a:pos x="connsiteX2" y="connsiteY2"/>
                    </a:cxn>
                    <a:cxn ang="0">
                      <a:pos x="connsiteX3" y="connsiteY3"/>
                    </a:cxn>
                  </a:cxnLst>
                  <a:rect l="l" t="t" r="r" b="b"/>
                  <a:pathLst>
                    <a:path w="41565" h="178285">
                      <a:moveTo>
                        <a:pt x="2990" y="0"/>
                      </a:moveTo>
                      <a:lnTo>
                        <a:pt x="41566" y="177628"/>
                      </a:lnTo>
                      <a:lnTo>
                        <a:pt x="38575" y="178285"/>
                      </a:lnTo>
                      <a:lnTo>
                        <a:pt x="0" y="658"/>
                      </a:lnTo>
                      <a:close/>
                    </a:path>
                  </a:pathLst>
                </a:custGeom>
                <a:grpFill/>
                <a:ln w="5978" cap="flat">
                  <a:noFill/>
                  <a:prstDash val="solid"/>
                  <a:miter/>
                </a:ln>
              </p:spPr>
              <p:txBody>
                <a:bodyPr rtlCol="0" anchor="ctr"/>
                <a:lstStyle/>
                <a:p>
                  <a:endParaRPr lang="en-GB"/>
                </a:p>
              </p:txBody>
            </p:sp>
            <p:sp>
              <p:nvSpPr>
                <p:cNvPr id="3479" name="Vrije vorm: vorm 3478">
                  <a:extLst>
                    <a:ext uri="{FF2B5EF4-FFF2-40B4-BE49-F238E27FC236}">
                      <a16:creationId xmlns:a16="http://schemas.microsoft.com/office/drawing/2014/main" id="{80A5EAC3-9658-4DE8-A1BC-FE8688D51930}"/>
                    </a:ext>
                  </a:extLst>
                </p:cNvPr>
                <p:cNvSpPr/>
                <p:nvPr/>
              </p:nvSpPr>
              <p:spPr>
                <a:xfrm>
                  <a:off x="5641063" y="1543215"/>
                  <a:ext cx="18308" cy="18421"/>
                </a:xfrm>
                <a:custGeom>
                  <a:avLst/>
                  <a:gdLst>
                    <a:gd name="connsiteX0" fmla="*/ 213 w 18308"/>
                    <a:gd name="connsiteY0" fmla="*/ 11155 h 18421"/>
                    <a:gd name="connsiteX1" fmla="*/ 7211 w 18308"/>
                    <a:gd name="connsiteY1" fmla="*/ 210 h 18421"/>
                    <a:gd name="connsiteX2" fmla="*/ 18096 w 18308"/>
                    <a:gd name="connsiteY2" fmla="*/ 7267 h 18421"/>
                    <a:gd name="connsiteX3" fmla="*/ 11098 w 18308"/>
                    <a:gd name="connsiteY3" fmla="*/ 18212 h 18421"/>
                    <a:gd name="connsiteX4" fmla="*/ 213 w 18308"/>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213" y="11155"/>
                      </a:moveTo>
                      <a:cubicBezTo>
                        <a:pt x="-864" y="6191"/>
                        <a:pt x="2246" y="1287"/>
                        <a:pt x="7211" y="210"/>
                      </a:cubicBezTo>
                      <a:cubicBezTo>
                        <a:pt x="12174" y="-867"/>
                        <a:pt x="17019" y="2303"/>
                        <a:pt x="18096" y="7267"/>
                      </a:cubicBezTo>
                      <a:cubicBezTo>
                        <a:pt x="19172" y="12231"/>
                        <a:pt x="16062" y="17135"/>
                        <a:pt x="11098" y="18212"/>
                      </a:cubicBezTo>
                      <a:cubicBezTo>
                        <a:pt x="6194" y="19288"/>
                        <a:pt x="1289" y="16119"/>
                        <a:pt x="213" y="11155"/>
                      </a:cubicBezTo>
                      <a:close/>
                    </a:path>
                  </a:pathLst>
                </a:custGeom>
                <a:grpFill/>
                <a:ln w="5978" cap="flat">
                  <a:noFill/>
                  <a:prstDash val="solid"/>
                  <a:miter/>
                </a:ln>
              </p:spPr>
              <p:txBody>
                <a:bodyPr rtlCol="0" anchor="ctr"/>
                <a:lstStyle/>
                <a:p>
                  <a:endParaRPr lang="en-GB"/>
                </a:p>
              </p:txBody>
            </p:sp>
            <p:sp>
              <p:nvSpPr>
                <p:cNvPr id="3480" name="Vrije vorm: vorm 3479">
                  <a:extLst>
                    <a:ext uri="{FF2B5EF4-FFF2-40B4-BE49-F238E27FC236}">
                      <a16:creationId xmlns:a16="http://schemas.microsoft.com/office/drawing/2014/main" id="{202698F1-8145-4519-8089-9413337C7974}"/>
                    </a:ext>
                  </a:extLst>
                </p:cNvPr>
                <p:cNvSpPr/>
                <p:nvPr/>
              </p:nvSpPr>
              <p:spPr>
                <a:xfrm>
                  <a:off x="5679459" y="1719886"/>
                  <a:ext cx="18307" cy="18421"/>
                </a:xfrm>
                <a:custGeom>
                  <a:avLst/>
                  <a:gdLst>
                    <a:gd name="connsiteX0" fmla="*/ 213 w 18307"/>
                    <a:gd name="connsiteY0" fmla="*/ 11155 h 18421"/>
                    <a:gd name="connsiteX1" fmla="*/ 11098 w 18307"/>
                    <a:gd name="connsiteY1" fmla="*/ 18212 h 18421"/>
                    <a:gd name="connsiteX2" fmla="*/ 18095 w 18307"/>
                    <a:gd name="connsiteY2" fmla="*/ 7267 h 18421"/>
                    <a:gd name="connsiteX3" fmla="*/ 7210 w 18307"/>
                    <a:gd name="connsiteY3" fmla="*/ 210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1289" y="16119"/>
                        <a:pt x="6194" y="19288"/>
                        <a:pt x="11098" y="18212"/>
                      </a:cubicBezTo>
                      <a:cubicBezTo>
                        <a:pt x="16062" y="17135"/>
                        <a:pt x="19172" y="12231"/>
                        <a:pt x="18095" y="7267"/>
                      </a:cubicBezTo>
                      <a:cubicBezTo>
                        <a:pt x="17019" y="2303"/>
                        <a:pt x="12114" y="-867"/>
                        <a:pt x="7210" y="210"/>
                      </a:cubicBezTo>
                      <a:cubicBezTo>
                        <a:pt x="2246" y="1286"/>
                        <a:pt x="-864" y="6191"/>
                        <a:pt x="213" y="11155"/>
                      </a:cubicBezTo>
                      <a:close/>
                    </a:path>
                  </a:pathLst>
                </a:custGeom>
                <a:grpFill/>
                <a:ln w="5978" cap="flat">
                  <a:noFill/>
                  <a:prstDash val="solid"/>
                  <a:miter/>
                </a:ln>
              </p:spPr>
              <p:txBody>
                <a:bodyPr rtlCol="0" anchor="ctr"/>
                <a:lstStyle/>
                <a:p>
                  <a:endParaRPr lang="en-GB"/>
                </a:p>
              </p:txBody>
            </p:sp>
          </p:grpSp>
          <p:grpSp>
            <p:nvGrpSpPr>
              <p:cNvPr id="638" name="Graphic 3">
                <a:extLst>
                  <a:ext uri="{FF2B5EF4-FFF2-40B4-BE49-F238E27FC236}">
                    <a16:creationId xmlns:a16="http://schemas.microsoft.com/office/drawing/2014/main" id="{893BEA65-8481-4DBC-BFA5-B1FF26B5B941}"/>
                  </a:ext>
                </a:extLst>
              </p:cNvPr>
              <p:cNvGrpSpPr/>
              <p:nvPr/>
            </p:nvGrpSpPr>
            <p:grpSpPr>
              <a:xfrm>
                <a:off x="5519906" y="1184763"/>
                <a:ext cx="69813" cy="235696"/>
                <a:chOff x="5519906" y="1184763"/>
                <a:chExt cx="69813" cy="235696"/>
              </a:xfrm>
              <a:grpFill/>
            </p:grpSpPr>
            <p:sp>
              <p:nvSpPr>
                <p:cNvPr id="3475" name="Vrije vorm: vorm 3474">
                  <a:extLst>
                    <a:ext uri="{FF2B5EF4-FFF2-40B4-BE49-F238E27FC236}">
                      <a16:creationId xmlns:a16="http://schemas.microsoft.com/office/drawing/2014/main" id="{4C298FAB-C0C0-441A-8A4A-453435FCA488}"/>
                    </a:ext>
                  </a:extLst>
                </p:cNvPr>
                <p:cNvSpPr/>
                <p:nvPr/>
              </p:nvSpPr>
              <p:spPr>
                <a:xfrm>
                  <a:off x="5527522" y="1193134"/>
                  <a:ext cx="54604" cy="218954"/>
                </a:xfrm>
                <a:custGeom>
                  <a:avLst/>
                  <a:gdLst>
                    <a:gd name="connsiteX0" fmla="*/ 2930 w 54604"/>
                    <a:gd name="connsiteY0" fmla="*/ 0 h 218954"/>
                    <a:gd name="connsiteX1" fmla="*/ 54604 w 54604"/>
                    <a:gd name="connsiteY1" fmla="*/ 218237 h 218954"/>
                    <a:gd name="connsiteX2" fmla="*/ 51614 w 54604"/>
                    <a:gd name="connsiteY2" fmla="*/ 218954 h 218954"/>
                    <a:gd name="connsiteX3" fmla="*/ 0 w 54604"/>
                    <a:gd name="connsiteY3" fmla="*/ 718 h 218954"/>
                  </a:gdLst>
                  <a:ahLst/>
                  <a:cxnLst>
                    <a:cxn ang="0">
                      <a:pos x="connsiteX0" y="connsiteY0"/>
                    </a:cxn>
                    <a:cxn ang="0">
                      <a:pos x="connsiteX1" y="connsiteY1"/>
                    </a:cxn>
                    <a:cxn ang="0">
                      <a:pos x="connsiteX2" y="connsiteY2"/>
                    </a:cxn>
                    <a:cxn ang="0">
                      <a:pos x="connsiteX3" y="connsiteY3"/>
                    </a:cxn>
                  </a:cxnLst>
                  <a:rect l="l" t="t" r="r" b="b"/>
                  <a:pathLst>
                    <a:path w="54604" h="218954">
                      <a:moveTo>
                        <a:pt x="2930" y="0"/>
                      </a:moveTo>
                      <a:lnTo>
                        <a:pt x="54604" y="218237"/>
                      </a:lnTo>
                      <a:lnTo>
                        <a:pt x="51614" y="218954"/>
                      </a:lnTo>
                      <a:lnTo>
                        <a:pt x="0" y="718"/>
                      </a:lnTo>
                      <a:close/>
                    </a:path>
                  </a:pathLst>
                </a:custGeom>
                <a:grpFill/>
                <a:ln w="5978" cap="flat">
                  <a:noFill/>
                  <a:prstDash val="solid"/>
                  <a:miter/>
                </a:ln>
              </p:spPr>
              <p:txBody>
                <a:bodyPr rtlCol="0" anchor="ctr"/>
                <a:lstStyle/>
                <a:p>
                  <a:endParaRPr lang="en-GB"/>
                </a:p>
              </p:txBody>
            </p:sp>
            <p:sp>
              <p:nvSpPr>
                <p:cNvPr id="3476" name="Vrije vorm: vorm 3475">
                  <a:extLst>
                    <a:ext uri="{FF2B5EF4-FFF2-40B4-BE49-F238E27FC236}">
                      <a16:creationId xmlns:a16="http://schemas.microsoft.com/office/drawing/2014/main" id="{087D54C3-9291-4539-BFAF-DAE81D94B802}"/>
                    </a:ext>
                  </a:extLst>
                </p:cNvPr>
                <p:cNvSpPr/>
                <p:nvPr/>
              </p:nvSpPr>
              <p:spPr>
                <a:xfrm>
                  <a:off x="5519906" y="1184763"/>
                  <a:ext cx="18401" cy="18413"/>
                </a:xfrm>
                <a:custGeom>
                  <a:avLst/>
                  <a:gdLst>
                    <a:gd name="connsiteX0" fmla="*/ 260 w 18401"/>
                    <a:gd name="connsiteY0" fmla="*/ 11302 h 18413"/>
                    <a:gd name="connsiteX1" fmla="*/ 7078 w 18401"/>
                    <a:gd name="connsiteY1" fmla="*/ 237 h 18413"/>
                    <a:gd name="connsiteX2" fmla="*/ 18142 w 18401"/>
                    <a:gd name="connsiteY2" fmla="*/ 7115 h 18413"/>
                    <a:gd name="connsiteX3" fmla="*/ 11324 w 18401"/>
                    <a:gd name="connsiteY3" fmla="*/ 18180 h 18413"/>
                    <a:gd name="connsiteX4" fmla="*/ 260 w 18401"/>
                    <a:gd name="connsiteY4" fmla="*/ 11302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13">
                      <a:moveTo>
                        <a:pt x="260" y="11302"/>
                      </a:moveTo>
                      <a:cubicBezTo>
                        <a:pt x="-936" y="6338"/>
                        <a:pt x="2114" y="1374"/>
                        <a:pt x="7078" y="237"/>
                      </a:cubicBezTo>
                      <a:cubicBezTo>
                        <a:pt x="11982" y="-899"/>
                        <a:pt x="16946" y="2151"/>
                        <a:pt x="18142" y="7115"/>
                      </a:cubicBezTo>
                      <a:cubicBezTo>
                        <a:pt x="19338" y="12079"/>
                        <a:pt x="16288" y="17043"/>
                        <a:pt x="11324" y="18180"/>
                      </a:cubicBezTo>
                      <a:cubicBezTo>
                        <a:pt x="6360" y="19316"/>
                        <a:pt x="1456" y="16206"/>
                        <a:pt x="260" y="11302"/>
                      </a:cubicBezTo>
                      <a:close/>
                    </a:path>
                  </a:pathLst>
                </a:custGeom>
                <a:grpFill/>
                <a:ln w="5978" cap="flat">
                  <a:noFill/>
                  <a:prstDash val="solid"/>
                  <a:miter/>
                </a:ln>
              </p:spPr>
              <p:txBody>
                <a:bodyPr rtlCol="0" anchor="ctr"/>
                <a:lstStyle/>
                <a:p>
                  <a:endParaRPr lang="en-GB"/>
                </a:p>
              </p:txBody>
            </p:sp>
            <p:sp>
              <p:nvSpPr>
                <p:cNvPr id="3477" name="Vrije vorm: vorm 3476">
                  <a:extLst>
                    <a:ext uri="{FF2B5EF4-FFF2-40B4-BE49-F238E27FC236}">
                      <a16:creationId xmlns:a16="http://schemas.microsoft.com/office/drawing/2014/main" id="{34F4E889-4641-45A8-AA95-FB449460EEF5}"/>
                    </a:ext>
                  </a:extLst>
                </p:cNvPr>
                <p:cNvSpPr/>
                <p:nvPr/>
              </p:nvSpPr>
              <p:spPr>
                <a:xfrm>
                  <a:off x="5571360" y="1402043"/>
                  <a:ext cx="18360" cy="18416"/>
                </a:xfrm>
                <a:custGeom>
                  <a:avLst/>
                  <a:gdLst>
                    <a:gd name="connsiteX0" fmla="*/ 241 w 18360"/>
                    <a:gd name="connsiteY0" fmla="*/ 11302 h 18416"/>
                    <a:gd name="connsiteX1" fmla="*/ 11305 w 18360"/>
                    <a:gd name="connsiteY1" fmla="*/ 18180 h 18416"/>
                    <a:gd name="connsiteX2" fmla="*/ 18123 w 18360"/>
                    <a:gd name="connsiteY2" fmla="*/ 7115 h 18416"/>
                    <a:gd name="connsiteX3" fmla="*/ 7059 w 18360"/>
                    <a:gd name="connsiteY3" fmla="*/ 237 h 18416"/>
                    <a:gd name="connsiteX4" fmla="*/ 241 w 18360"/>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6">
                      <a:moveTo>
                        <a:pt x="241" y="11302"/>
                      </a:moveTo>
                      <a:cubicBezTo>
                        <a:pt x="1437" y="16266"/>
                        <a:pt x="6341" y="19316"/>
                        <a:pt x="11305" y="18180"/>
                      </a:cubicBezTo>
                      <a:cubicBezTo>
                        <a:pt x="16209" y="17043"/>
                        <a:pt x="19259" y="12079"/>
                        <a:pt x="18123" y="7115"/>
                      </a:cubicBezTo>
                      <a:cubicBezTo>
                        <a:pt x="16927" y="2151"/>
                        <a:pt x="12022" y="-899"/>
                        <a:pt x="7059" y="237"/>
                      </a:cubicBezTo>
                      <a:cubicBezTo>
                        <a:pt x="2095" y="1433"/>
                        <a:pt x="-896" y="6397"/>
                        <a:pt x="241" y="11302"/>
                      </a:cubicBezTo>
                      <a:close/>
                    </a:path>
                  </a:pathLst>
                </a:custGeom>
                <a:grpFill/>
                <a:ln w="5978" cap="flat">
                  <a:noFill/>
                  <a:prstDash val="solid"/>
                  <a:miter/>
                </a:ln>
              </p:spPr>
              <p:txBody>
                <a:bodyPr rtlCol="0" anchor="ctr"/>
                <a:lstStyle/>
                <a:p>
                  <a:endParaRPr lang="en-GB"/>
                </a:p>
              </p:txBody>
            </p:sp>
          </p:grpSp>
          <p:grpSp>
            <p:nvGrpSpPr>
              <p:cNvPr id="639" name="Graphic 3">
                <a:extLst>
                  <a:ext uri="{FF2B5EF4-FFF2-40B4-BE49-F238E27FC236}">
                    <a16:creationId xmlns:a16="http://schemas.microsoft.com/office/drawing/2014/main" id="{8EEF94A9-1BB1-4523-A064-4B3AC8F0A5AE}"/>
                  </a:ext>
                </a:extLst>
              </p:cNvPr>
              <p:cNvGrpSpPr/>
              <p:nvPr/>
            </p:nvGrpSpPr>
            <p:grpSpPr>
              <a:xfrm>
                <a:off x="6840411" y="5244222"/>
                <a:ext cx="56208" cy="105921"/>
                <a:chOff x="6840411" y="5244222"/>
                <a:chExt cx="56208" cy="105921"/>
              </a:xfrm>
              <a:grpFill/>
            </p:grpSpPr>
            <p:sp>
              <p:nvSpPr>
                <p:cNvPr id="3472" name="Vrije vorm: vorm 3471">
                  <a:extLst>
                    <a:ext uri="{FF2B5EF4-FFF2-40B4-BE49-F238E27FC236}">
                      <a16:creationId xmlns:a16="http://schemas.microsoft.com/office/drawing/2014/main" id="{CDB0C184-0E3D-437B-8350-8AB0C9AF060E}"/>
                    </a:ext>
                  </a:extLst>
                </p:cNvPr>
                <p:cNvSpPr/>
                <p:nvPr/>
              </p:nvSpPr>
              <p:spPr>
                <a:xfrm>
                  <a:off x="6848006" y="5252429"/>
                  <a:ext cx="41027" cy="89531"/>
                </a:xfrm>
                <a:custGeom>
                  <a:avLst/>
                  <a:gdLst>
                    <a:gd name="connsiteX0" fmla="*/ 41028 w 41027"/>
                    <a:gd name="connsiteY0" fmla="*/ 88276 h 89531"/>
                    <a:gd name="connsiteX1" fmla="*/ 38216 w 41027"/>
                    <a:gd name="connsiteY1" fmla="*/ 89531 h 89531"/>
                    <a:gd name="connsiteX2" fmla="*/ 0 w 41027"/>
                    <a:gd name="connsiteY2" fmla="*/ 1196 h 89531"/>
                    <a:gd name="connsiteX3" fmla="*/ 2811 w 41027"/>
                    <a:gd name="connsiteY3" fmla="*/ 0 h 89531"/>
                  </a:gdLst>
                  <a:ahLst/>
                  <a:cxnLst>
                    <a:cxn ang="0">
                      <a:pos x="connsiteX0" y="connsiteY0"/>
                    </a:cxn>
                    <a:cxn ang="0">
                      <a:pos x="connsiteX1" y="connsiteY1"/>
                    </a:cxn>
                    <a:cxn ang="0">
                      <a:pos x="connsiteX2" y="connsiteY2"/>
                    </a:cxn>
                    <a:cxn ang="0">
                      <a:pos x="connsiteX3" y="connsiteY3"/>
                    </a:cxn>
                  </a:cxnLst>
                  <a:rect l="l" t="t" r="r" b="b"/>
                  <a:pathLst>
                    <a:path w="41027" h="89531">
                      <a:moveTo>
                        <a:pt x="41028" y="88276"/>
                      </a:moveTo>
                      <a:lnTo>
                        <a:pt x="38216" y="89531"/>
                      </a:lnTo>
                      <a:lnTo>
                        <a:pt x="0" y="1196"/>
                      </a:lnTo>
                      <a:lnTo>
                        <a:pt x="2811" y="0"/>
                      </a:lnTo>
                      <a:close/>
                    </a:path>
                  </a:pathLst>
                </a:custGeom>
                <a:grpFill/>
                <a:ln w="5978" cap="flat">
                  <a:noFill/>
                  <a:prstDash val="solid"/>
                  <a:miter/>
                </a:ln>
              </p:spPr>
              <p:txBody>
                <a:bodyPr rtlCol="0" anchor="ctr"/>
                <a:lstStyle/>
                <a:p>
                  <a:endParaRPr lang="en-GB"/>
                </a:p>
              </p:txBody>
            </p:sp>
            <p:sp>
              <p:nvSpPr>
                <p:cNvPr id="3473" name="Vrije vorm: vorm 3472">
                  <a:extLst>
                    <a:ext uri="{FF2B5EF4-FFF2-40B4-BE49-F238E27FC236}">
                      <a16:creationId xmlns:a16="http://schemas.microsoft.com/office/drawing/2014/main" id="{7A6E4C2F-C1FC-4D8A-B653-469A0A9274E0}"/>
                    </a:ext>
                  </a:extLst>
                </p:cNvPr>
                <p:cNvSpPr/>
                <p:nvPr/>
              </p:nvSpPr>
              <p:spPr>
                <a:xfrm>
                  <a:off x="6878278" y="5331710"/>
                  <a:ext cx="18341" cy="18433"/>
                </a:xfrm>
                <a:custGeom>
                  <a:avLst/>
                  <a:gdLst>
                    <a:gd name="connsiteX0" fmla="*/ 17574 w 18341"/>
                    <a:gd name="connsiteY0" fmla="*/ 5586 h 18433"/>
                    <a:gd name="connsiteX1" fmla="*/ 12849 w 18341"/>
                    <a:gd name="connsiteY1" fmla="*/ 17667 h 18433"/>
                    <a:gd name="connsiteX2" fmla="*/ 768 w 18341"/>
                    <a:gd name="connsiteY2" fmla="*/ 12882 h 18433"/>
                    <a:gd name="connsiteX3" fmla="*/ 5493 w 18341"/>
                    <a:gd name="connsiteY3" fmla="*/ 801 h 18433"/>
                    <a:gd name="connsiteX4" fmla="*/ 17574 w 18341"/>
                    <a:gd name="connsiteY4" fmla="*/ 5586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3">
                      <a:moveTo>
                        <a:pt x="17574" y="5586"/>
                      </a:moveTo>
                      <a:cubicBezTo>
                        <a:pt x="19607" y="10251"/>
                        <a:pt x="17454" y="15693"/>
                        <a:pt x="12849" y="17667"/>
                      </a:cubicBezTo>
                      <a:cubicBezTo>
                        <a:pt x="8184" y="19700"/>
                        <a:pt x="2801" y="17547"/>
                        <a:pt x="768" y="12882"/>
                      </a:cubicBezTo>
                      <a:cubicBezTo>
                        <a:pt x="-1266" y="8217"/>
                        <a:pt x="887" y="2775"/>
                        <a:pt x="5493" y="801"/>
                      </a:cubicBezTo>
                      <a:cubicBezTo>
                        <a:pt x="10157" y="-1292"/>
                        <a:pt x="15540" y="861"/>
                        <a:pt x="17574" y="5586"/>
                      </a:cubicBezTo>
                      <a:close/>
                    </a:path>
                  </a:pathLst>
                </a:custGeom>
                <a:grpFill/>
                <a:ln w="5978" cap="flat">
                  <a:noFill/>
                  <a:prstDash val="solid"/>
                  <a:miter/>
                </a:ln>
              </p:spPr>
              <p:txBody>
                <a:bodyPr rtlCol="0" anchor="ctr"/>
                <a:lstStyle/>
                <a:p>
                  <a:endParaRPr lang="en-GB"/>
                </a:p>
              </p:txBody>
            </p:sp>
            <p:sp>
              <p:nvSpPr>
                <p:cNvPr id="3474" name="Vrije vorm: vorm 3473">
                  <a:extLst>
                    <a:ext uri="{FF2B5EF4-FFF2-40B4-BE49-F238E27FC236}">
                      <a16:creationId xmlns:a16="http://schemas.microsoft.com/office/drawing/2014/main" id="{FD09B3A1-CD12-48A3-B1F8-1224C7840356}"/>
                    </a:ext>
                  </a:extLst>
                </p:cNvPr>
                <p:cNvSpPr/>
                <p:nvPr/>
              </p:nvSpPr>
              <p:spPr>
                <a:xfrm>
                  <a:off x="6840411" y="5244222"/>
                  <a:ext cx="18358" cy="18388"/>
                </a:xfrm>
                <a:custGeom>
                  <a:avLst/>
                  <a:gdLst>
                    <a:gd name="connsiteX0" fmla="*/ 17582 w 18358"/>
                    <a:gd name="connsiteY0" fmla="*/ 5576 h 18388"/>
                    <a:gd name="connsiteX1" fmla="*/ 5501 w 18358"/>
                    <a:gd name="connsiteY1" fmla="*/ 732 h 18388"/>
                    <a:gd name="connsiteX2" fmla="*/ 777 w 18358"/>
                    <a:gd name="connsiteY2" fmla="*/ 12813 h 18388"/>
                    <a:gd name="connsiteX3" fmla="*/ 12857 w 18358"/>
                    <a:gd name="connsiteY3" fmla="*/ 17657 h 18388"/>
                    <a:gd name="connsiteX4" fmla="*/ 17582 w 18358"/>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388">
                      <a:moveTo>
                        <a:pt x="17582" y="5576"/>
                      </a:moveTo>
                      <a:cubicBezTo>
                        <a:pt x="15549" y="911"/>
                        <a:pt x="10166" y="-1242"/>
                        <a:pt x="5501" y="732"/>
                      </a:cubicBezTo>
                      <a:cubicBezTo>
                        <a:pt x="837" y="2765"/>
                        <a:pt x="-1257" y="8148"/>
                        <a:pt x="777" y="12813"/>
                      </a:cubicBezTo>
                      <a:cubicBezTo>
                        <a:pt x="2810" y="17478"/>
                        <a:pt x="8193" y="19631"/>
                        <a:pt x="12857" y="17657"/>
                      </a:cubicBezTo>
                      <a:cubicBezTo>
                        <a:pt x="17522" y="15684"/>
                        <a:pt x="19615" y="10241"/>
                        <a:pt x="17582" y="5576"/>
                      </a:cubicBezTo>
                      <a:close/>
                    </a:path>
                  </a:pathLst>
                </a:custGeom>
                <a:grpFill/>
                <a:ln w="5978" cap="flat">
                  <a:noFill/>
                  <a:prstDash val="solid"/>
                  <a:miter/>
                </a:ln>
              </p:spPr>
              <p:txBody>
                <a:bodyPr rtlCol="0" anchor="ctr"/>
                <a:lstStyle/>
                <a:p>
                  <a:endParaRPr lang="en-GB"/>
                </a:p>
              </p:txBody>
            </p:sp>
          </p:grpSp>
          <p:grpSp>
            <p:nvGrpSpPr>
              <p:cNvPr id="640" name="Graphic 3">
                <a:extLst>
                  <a:ext uri="{FF2B5EF4-FFF2-40B4-BE49-F238E27FC236}">
                    <a16:creationId xmlns:a16="http://schemas.microsoft.com/office/drawing/2014/main" id="{E9D495A3-E572-43CF-8A35-B8C078C63D7A}"/>
                  </a:ext>
                </a:extLst>
              </p:cNvPr>
              <p:cNvGrpSpPr/>
              <p:nvPr/>
            </p:nvGrpSpPr>
            <p:grpSpPr>
              <a:xfrm>
                <a:off x="6741449" y="4939059"/>
                <a:ext cx="155758" cy="410829"/>
                <a:chOff x="6741449" y="4939059"/>
                <a:chExt cx="155758" cy="410829"/>
              </a:xfrm>
              <a:grpFill/>
            </p:grpSpPr>
            <p:sp>
              <p:nvSpPr>
                <p:cNvPr id="3469" name="Vrije vorm: vorm 3468">
                  <a:extLst>
                    <a:ext uri="{FF2B5EF4-FFF2-40B4-BE49-F238E27FC236}">
                      <a16:creationId xmlns:a16="http://schemas.microsoft.com/office/drawing/2014/main" id="{88182E01-6FA0-47A3-A776-D14F2FC590B4}"/>
                    </a:ext>
                  </a:extLst>
                </p:cNvPr>
                <p:cNvSpPr/>
                <p:nvPr/>
              </p:nvSpPr>
              <p:spPr>
                <a:xfrm>
                  <a:off x="6749304" y="4947142"/>
                  <a:ext cx="140632" cy="394267"/>
                </a:xfrm>
                <a:custGeom>
                  <a:avLst/>
                  <a:gdLst>
                    <a:gd name="connsiteX0" fmla="*/ 0 w 140632"/>
                    <a:gd name="connsiteY0" fmla="*/ 1008 h 394267"/>
                    <a:gd name="connsiteX1" fmla="*/ 2879 w 140632"/>
                    <a:gd name="connsiteY1" fmla="*/ 0 h 394267"/>
                    <a:gd name="connsiteX2" fmla="*/ 140632 w 140632"/>
                    <a:gd name="connsiteY2" fmla="*/ 393260 h 394267"/>
                    <a:gd name="connsiteX3" fmla="*/ 137753 w 140632"/>
                    <a:gd name="connsiteY3" fmla="*/ 394268 h 394267"/>
                  </a:gdLst>
                  <a:ahLst/>
                  <a:cxnLst>
                    <a:cxn ang="0">
                      <a:pos x="connsiteX0" y="connsiteY0"/>
                    </a:cxn>
                    <a:cxn ang="0">
                      <a:pos x="connsiteX1" y="connsiteY1"/>
                    </a:cxn>
                    <a:cxn ang="0">
                      <a:pos x="connsiteX2" y="connsiteY2"/>
                    </a:cxn>
                    <a:cxn ang="0">
                      <a:pos x="connsiteX3" y="connsiteY3"/>
                    </a:cxn>
                  </a:cxnLst>
                  <a:rect l="l" t="t" r="r" b="b"/>
                  <a:pathLst>
                    <a:path w="140632" h="394267">
                      <a:moveTo>
                        <a:pt x="0" y="1008"/>
                      </a:moveTo>
                      <a:lnTo>
                        <a:pt x="2879" y="0"/>
                      </a:lnTo>
                      <a:lnTo>
                        <a:pt x="140632" y="393260"/>
                      </a:lnTo>
                      <a:lnTo>
                        <a:pt x="137753" y="394268"/>
                      </a:lnTo>
                      <a:close/>
                    </a:path>
                  </a:pathLst>
                </a:custGeom>
                <a:grpFill/>
                <a:ln w="5978" cap="flat">
                  <a:noFill/>
                  <a:prstDash val="solid"/>
                  <a:miter/>
                </a:ln>
              </p:spPr>
              <p:txBody>
                <a:bodyPr rtlCol="0" anchor="ctr"/>
                <a:lstStyle/>
                <a:p>
                  <a:endParaRPr lang="en-GB"/>
                </a:p>
              </p:txBody>
            </p:sp>
            <p:sp>
              <p:nvSpPr>
                <p:cNvPr id="3470" name="Vrije vorm: vorm 3469">
                  <a:extLst>
                    <a:ext uri="{FF2B5EF4-FFF2-40B4-BE49-F238E27FC236}">
                      <a16:creationId xmlns:a16="http://schemas.microsoft.com/office/drawing/2014/main" id="{643BDC04-B640-4D7C-925C-D6F1E63ED03B}"/>
                    </a:ext>
                  </a:extLst>
                </p:cNvPr>
                <p:cNvSpPr/>
                <p:nvPr/>
              </p:nvSpPr>
              <p:spPr>
                <a:xfrm>
                  <a:off x="6741449" y="4939059"/>
                  <a:ext cx="18381" cy="18440"/>
                </a:xfrm>
                <a:custGeom>
                  <a:avLst/>
                  <a:gdLst>
                    <a:gd name="connsiteX0" fmla="*/ 519 w 18381"/>
                    <a:gd name="connsiteY0" fmla="*/ 12240 h 18440"/>
                    <a:gd name="connsiteX1" fmla="*/ 6141 w 18381"/>
                    <a:gd name="connsiteY1" fmla="*/ 518 h 18440"/>
                    <a:gd name="connsiteX2" fmla="*/ 17863 w 18381"/>
                    <a:gd name="connsiteY2" fmla="*/ 6200 h 18440"/>
                    <a:gd name="connsiteX3" fmla="*/ 12241 w 18381"/>
                    <a:gd name="connsiteY3" fmla="*/ 17922 h 18440"/>
                    <a:gd name="connsiteX4" fmla="*/ 519 w 18381"/>
                    <a:gd name="connsiteY4" fmla="*/ 12240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0">
                      <a:moveTo>
                        <a:pt x="519" y="12240"/>
                      </a:moveTo>
                      <a:cubicBezTo>
                        <a:pt x="-1156" y="7456"/>
                        <a:pt x="1356" y="2193"/>
                        <a:pt x="6141" y="518"/>
                      </a:cubicBezTo>
                      <a:cubicBezTo>
                        <a:pt x="10925" y="-1156"/>
                        <a:pt x="16129" y="1355"/>
                        <a:pt x="17863" y="6200"/>
                      </a:cubicBezTo>
                      <a:cubicBezTo>
                        <a:pt x="19538" y="10985"/>
                        <a:pt x="17026" y="16248"/>
                        <a:pt x="12241" y="17922"/>
                      </a:cubicBezTo>
                      <a:cubicBezTo>
                        <a:pt x="7456" y="19597"/>
                        <a:pt x="2193" y="17085"/>
                        <a:pt x="519" y="12240"/>
                      </a:cubicBezTo>
                      <a:close/>
                    </a:path>
                  </a:pathLst>
                </a:custGeom>
                <a:grpFill/>
                <a:ln w="5978" cap="flat">
                  <a:noFill/>
                  <a:prstDash val="solid"/>
                  <a:miter/>
                </a:ln>
              </p:spPr>
              <p:txBody>
                <a:bodyPr rtlCol="0" anchor="ctr"/>
                <a:lstStyle/>
                <a:p>
                  <a:endParaRPr lang="en-GB"/>
                </a:p>
              </p:txBody>
            </p:sp>
            <p:sp>
              <p:nvSpPr>
                <p:cNvPr id="3471" name="Vrije vorm: vorm 3470">
                  <a:extLst>
                    <a:ext uri="{FF2B5EF4-FFF2-40B4-BE49-F238E27FC236}">
                      <a16:creationId xmlns:a16="http://schemas.microsoft.com/office/drawing/2014/main" id="{FEA4CB51-22A8-4E69-8900-A06D64843300}"/>
                    </a:ext>
                  </a:extLst>
                </p:cNvPr>
                <p:cNvSpPr/>
                <p:nvPr/>
              </p:nvSpPr>
              <p:spPr>
                <a:xfrm>
                  <a:off x="6878886" y="5331461"/>
                  <a:ext cx="18321" cy="18428"/>
                </a:xfrm>
                <a:custGeom>
                  <a:avLst/>
                  <a:gdLst>
                    <a:gd name="connsiteX0" fmla="*/ 519 w 18321"/>
                    <a:gd name="connsiteY0" fmla="*/ 12235 h 18428"/>
                    <a:gd name="connsiteX1" fmla="*/ 12181 w 18321"/>
                    <a:gd name="connsiteY1" fmla="*/ 17916 h 18428"/>
                    <a:gd name="connsiteX2" fmla="*/ 17803 w 18321"/>
                    <a:gd name="connsiteY2" fmla="*/ 6194 h 18428"/>
                    <a:gd name="connsiteX3" fmla="*/ 6141 w 18321"/>
                    <a:gd name="connsiteY3" fmla="*/ 512 h 18428"/>
                    <a:gd name="connsiteX4" fmla="*/ 519 w 18321"/>
                    <a:gd name="connsiteY4" fmla="*/ 1223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519" y="12235"/>
                      </a:moveTo>
                      <a:cubicBezTo>
                        <a:pt x="2193" y="17019"/>
                        <a:pt x="7456" y="19591"/>
                        <a:pt x="12181" y="17916"/>
                      </a:cubicBezTo>
                      <a:cubicBezTo>
                        <a:pt x="16966" y="16241"/>
                        <a:pt x="19477" y="10978"/>
                        <a:pt x="17803" y="6194"/>
                      </a:cubicBezTo>
                      <a:cubicBezTo>
                        <a:pt x="16129" y="1409"/>
                        <a:pt x="10866" y="-1163"/>
                        <a:pt x="6141" y="512"/>
                      </a:cubicBezTo>
                      <a:cubicBezTo>
                        <a:pt x="1356" y="2187"/>
                        <a:pt x="-1156" y="7450"/>
                        <a:pt x="519" y="12235"/>
                      </a:cubicBezTo>
                      <a:close/>
                    </a:path>
                  </a:pathLst>
                </a:custGeom>
                <a:grpFill/>
                <a:ln w="5978" cap="flat">
                  <a:noFill/>
                  <a:prstDash val="solid"/>
                  <a:miter/>
                </a:ln>
              </p:spPr>
              <p:txBody>
                <a:bodyPr rtlCol="0" anchor="ctr"/>
                <a:lstStyle/>
                <a:p>
                  <a:endParaRPr lang="en-GB"/>
                </a:p>
              </p:txBody>
            </p:sp>
          </p:grpSp>
          <p:grpSp>
            <p:nvGrpSpPr>
              <p:cNvPr id="641" name="Graphic 3">
                <a:extLst>
                  <a:ext uri="{FF2B5EF4-FFF2-40B4-BE49-F238E27FC236}">
                    <a16:creationId xmlns:a16="http://schemas.microsoft.com/office/drawing/2014/main" id="{E9C8895F-B892-4329-B12B-FAC12D2D2B06}"/>
                  </a:ext>
                </a:extLst>
              </p:cNvPr>
              <p:cNvGrpSpPr/>
              <p:nvPr/>
            </p:nvGrpSpPr>
            <p:grpSpPr>
              <a:xfrm>
                <a:off x="6742244" y="4938764"/>
                <a:ext cx="78058" cy="149838"/>
                <a:chOff x="6742244" y="4938764"/>
                <a:chExt cx="78058" cy="149838"/>
              </a:xfrm>
              <a:grpFill/>
            </p:grpSpPr>
            <p:sp>
              <p:nvSpPr>
                <p:cNvPr id="3466" name="Vrije vorm: vorm 3465">
                  <a:extLst>
                    <a:ext uri="{FF2B5EF4-FFF2-40B4-BE49-F238E27FC236}">
                      <a16:creationId xmlns:a16="http://schemas.microsoft.com/office/drawing/2014/main" id="{7F7CBC2A-FCC9-482F-BB7A-CA8FC1EC4E48}"/>
                    </a:ext>
                  </a:extLst>
                </p:cNvPr>
                <p:cNvSpPr/>
                <p:nvPr/>
              </p:nvSpPr>
              <p:spPr>
                <a:xfrm>
                  <a:off x="6749702" y="4946539"/>
                  <a:ext cx="63062" cy="133434"/>
                </a:xfrm>
                <a:custGeom>
                  <a:avLst/>
                  <a:gdLst>
                    <a:gd name="connsiteX0" fmla="*/ 0 w 63062"/>
                    <a:gd name="connsiteY0" fmla="*/ 1266 h 133434"/>
                    <a:gd name="connsiteX1" fmla="*/ 2775 w 63062"/>
                    <a:gd name="connsiteY1" fmla="*/ 0 h 133434"/>
                    <a:gd name="connsiteX2" fmla="*/ 63063 w 63062"/>
                    <a:gd name="connsiteY2" fmla="*/ 132168 h 133434"/>
                    <a:gd name="connsiteX3" fmla="*/ 60288 w 63062"/>
                    <a:gd name="connsiteY3" fmla="*/ 133434 h 133434"/>
                  </a:gdLst>
                  <a:ahLst/>
                  <a:cxnLst>
                    <a:cxn ang="0">
                      <a:pos x="connsiteX0" y="connsiteY0"/>
                    </a:cxn>
                    <a:cxn ang="0">
                      <a:pos x="connsiteX1" y="connsiteY1"/>
                    </a:cxn>
                    <a:cxn ang="0">
                      <a:pos x="connsiteX2" y="connsiteY2"/>
                    </a:cxn>
                    <a:cxn ang="0">
                      <a:pos x="connsiteX3" y="connsiteY3"/>
                    </a:cxn>
                  </a:cxnLst>
                  <a:rect l="l" t="t" r="r" b="b"/>
                  <a:pathLst>
                    <a:path w="63062" h="133434">
                      <a:moveTo>
                        <a:pt x="0" y="1266"/>
                      </a:moveTo>
                      <a:lnTo>
                        <a:pt x="2775" y="0"/>
                      </a:lnTo>
                      <a:lnTo>
                        <a:pt x="63063" y="132168"/>
                      </a:lnTo>
                      <a:lnTo>
                        <a:pt x="60288" y="133434"/>
                      </a:lnTo>
                      <a:close/>
                    </a:path>
                  </a:pathLst>
                </a:custGeom>
                <a:grpFill/>
                <a:ln w="5978" cap="flat">
                  <a:noFill/>
                  <a:prstDash val="solid"/>
                  <a:miter/>
                </a:ln>
              </p:spPr>
              <p:txBody>
                <a:bodyPr rtlCol="0" anchor="ctr"/>
                <a:lstStyle/>
                <a:p>
                  <a:endParaRPr lang="en-GB"/>
                </a:p>
              </p:txBody>
            </p:sp>
            <p:sp>
              <p:nvSpPr>
                <p:cNvPr id="3467" name="Vrije vorm: vorm 3466">
                  <a:extLst>
                    <a:ext uri="{FF2B5EF4-FFF2-40B4-BE49-F238E27FC236}">
                      <a16:creationId xmlns:a16="http://schemas.microsoft.com/office/drawing/2014/main" id="{39CA643A-8D08-46AB-A291-9EEE27A7A426}"/>
                    </a:ext>
                  </a:extLst>
                </p:cNvPr>
                <p:cNvSpPr/>
                <p:nvPr/>
              </p:nvSpPr>
              <p:spPr>
                <a:xfrm>
                  <a:off x="6802028" y="5070161"/>
                  <a:ext cx="18275" cy="18441"/>
                </a:xfrm>
                <a:custGeom>
                  <a:avLst/>
                  <a:gdLst>
                    <a:gd name="connsiteX0" fmla="*/ 17450 w 18275"/>
                    <a:gd name="connsiteY0" fmla="*/ 5419 h 18441"/>
                    <a:gd name="connsiteX1" fmla="*/ 12965 w 18275"/>
                    <a:gd name="connsiteY1" fmla="*/ 17619 h 18441"/>
                    <a:gd name="connsiteX2" fmla="*/ 824 w 18275"/>
                    <a:gd name="connsiteY2" fmla="*/ 13014 h 18441"/>
                    <a:gd name="connsiteX3" fmla="*/ 5369 w 18275"/>
                    <a:gd name="connsiteY3" fmla="*/ 813 h 18441"/>
                    <a:gd name="connsiteX4" fmla="*/ 17450 w 18275"/>
                    <a:gd name="connsiteY4" fmla="*/ 541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41">
                      <a:moveTo>
                        <a:pt x="17450" y="5419"/>
                      </a:moveTo>
                      <a:cubicBezTo>
                        <a:pt x="19544" y="10024"/>
                        <a:pt x="17510" y="15526"/>
                        <a:pt x="12965" y="17619"/>
                      </a:cubicBezTo>
                      <a:cubicBezTo>
                        <a:pt x="8360" y="19713"/>
                        <a:pt x="2917" y="17679"/>
                        <a:pt x="824" y="13014"/>
                      </a:cubicBezTo>
                      <a:cubicBezTo>
                        <a:pt x="-1270" y="8349"/>
                        <a:pt x="764" y="2907"/>
                        <a:pt x="5369" y="813"/>
                      </a:cubicBezTo>
                      <a:cubicBezTo>
                        <a:pt x="9915" y="-1280"/>
                        <a:pt x="15357" y="813"/>
                        <a:pt x="17450" y="5419"/>
                      </a:cubicBezTo>
                      <a:close/>
                    </a:path>
                  </a:pathLst>
                </a:custGeom>
                <a:grpFill/>
                <a:ln w="5978" cap="flat">
                  <a:noFill/>
                  <a:prstDash val="solid"/>
                  <a:miter/>
                </a:ln>
              </p:spPr>
              <p:txBody>
                <a:bodyPr rtlCol="0" anchor="ctr"/>
                <a:lstStyle/>
                <a:p>
                  <a:endParaRPr lang="en-GB"/>
                </a:p>
              </p:txBody>
            </p:sp>
            <p:sp>
              <p:nvSpPr>
                <p:cNvPr id="3468" name="Vrije vorm: vorm 3467">
                  <a:extLst>
                    <a:ext uri="{FF2B5EF4-FFF2-40B4-BE49-F238E27FC236}">
                      <a16:creationId xmlns:a16="http://schemas.microsoft.com/office/drawing/2014/main" id="{A095F0D5-1240-42A1-9C9E-0F92702757F4}"/>
                    </a:ext>
                  </a:extLst>
                </p:cNvPr>
                <p:cNvSpPr/>
                <p:nvPr/>
              </p:nvSpPr>
              <p:spPr>
                <a:xfrm>
                  <a:off x="6742244" y="4938764"/>
                  <a:ext cx="18311" cy="18432"/>
                </a:xfrm>
                <a:custGeom>
                  <a:avLst/>
                  <a:gdLst>
                    <a:gd name="connsiteX0" fmla="*/ 17487 w 18311"/>
                    <a:gd name="connsiteY0" fmla="*/ 5418 h 18432"/>
                    <a:gd name="connsiteX1" fmla="*/ 5346 w 18311"/>
                    <a:gd name="connsiteY1" fmla="*/ 813 h 18432"/>
                    <a:gd name="connsiteX2" fmla="*/ 860 w 18311"/>
                    <a:gd name="connsiteY2" fmla="*/ 13014 h 18432"/>
                    <a:gd name="connsiteX3" fmla="*/ 13001 w 18311"/>
                    <a:gd name="connsiteY3" fmla="*/ 17619 h 18432"/>
                    <a:gd name="connsiteX4" fmla="*/ 17487 w 18311"/>
                    <a:gd name="connsiteY4" fmla="*/ 5418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2">
                      <a:moveTo>
                        <a:pt x="17487" y="5418"/>
                      </a:moveTo>
                      <a:cubicBezTo>
                        <a:pt x="15393" y="813"/>
                        <a:pt x="9951" y="-1280"/>
                        <a:pt x="5346" y="813"/>
                      </a:cubicBezTo>
                      <a:cubicBezTo>
                        <a:pt x="741" y="2907"/>
                        <a:pt x="-1293" y="8349"/>
                        <a:pt x="860" y="13014"/>
                      </a:cubicBezTo>
                      <a:cubicBezTo>
                        <a:pt x="2953" y="17619"/>
                        <a:pt x="8396" y="19712"/>
                        <a:pt x="13001" y="17619"/>
                      </a:cubicBezTo>
                      <a:cubicBezTo>
                        <a:pt x="17546" y="15526"/>
                        <a:pt x="19580" y="10083"/>
                        <a:pt x="17487" y="5418"/>
                      </a:cubicBezTo>
                      <a:close/>
                    </a:path>
                  </a:pathLst>
                </a:custGeom>
                <a:grpFill/>
                <a:ln w="5978" cap="flat">
                  <a:noFill/>
                  <a:prstDash val="solid"/>
                  <a:miter/>
                </a:ln>
              </p:spPr>
              <p:txBody>
                <a:bodyPr rtlCol="0" anchor="ctr"/>
                <a:lstStyle/>
                <a:p>
                  <a:endParaRPr lang="en-GB"/>
                </a:p>
              </p:txBody>
            </p:sp>
          </p:grpSp>
          <p:grpSp>
            <p:nvGrpSpPr>
              <p:cNvPr id="642" name="Graphic 3">
                <a:extLst>
                  <a:ext uri="{FF2B5EF4-FFF2-40B4-BE49-F238E27FC236}">
                    <a16:creationId xmlns:a16="http://schemas.microsoft.com/office/drawing/2014/main" id="{CA1C3AE0-7B7C-4F83-BE5C-EDB4DB62F317}"/>
                  </a:ext>
                </a:extLst>
              </p:cNvPr>
              <p:cNvGrpSpPr/>
              <p:nvPr/>
            </p:nvGrpSpPr>
            <p:grpSpPr>
              <a:xfrm>
                <a:off x="6777494" y="5098795"/>
                <a:ext cx="73970" cy="146924"/>
                <a:chOff x="6777494" y="5098795"/>
                <a:chExt cx="73970" cy="146924"/>
              </a:xfrm>
              <a:grpFill/>
            </p:grpSpPr>
            <p:sp>
              <p:nvSpPr>
                <p:cNvPr id="3463" name="Vrije vorm: vorm 3462">
                  <a:extLst>
                    <a:ext uri="{FF2B5EF4-FFF2-40B4-BE49-F238E27FC236}">
                      <a16:creationId xmlns:a16="http://schemas.microsoft.com/office/drawing/2014/main" id="{E9547273-E1C1-47B4-947B-7A282FC7CD2C}"/>
                    </a:ext>
                  </a:extLst>
                </p:cNvPr>
                <p:cNvSpPr/>
                <p:nvPr/>
              </p:nvSpPr>
              <p:spPr>
                <a:xfrm>
                  <a:off x="6785089" y="5106978"/>
                  <a:ext cx="58790" cy="130559"/>
                </a:xfrm>
                <a:custGeom>
                  <a:avLst/>
                  <a:gdLst>
                    <a:gd name="connsiteX0" fmla="*/ 58791 w 58790"/>
                    <a:gd name="connsiteY0" fmla="*/ 129363 h 130559"/>
                    <a:gd name="connsiteX1" fmla="*/ 55980 w 58790"/>
                    <a:gd name="connsiteY1" fmla="*/ 130559 h 130559"/>
                    <a:gd name="connsiteX2" fmla="*/ 0 w 58790"/>
                    <a:gd name="connsiteY2" fmla="*/ 1196 h 130559"/>
                    <a:gd name="connsiteX3" fmla="*/ 2811 w 58790"/>
                    <a:gd name="connsiteY3" fmla="*/ 0 h 130559"/>
                  </a:gdLst>
                  <a:ahLst/>
                  <a:cxnLst>
                    <a:cxn ang="0">
                      <a:pos x="connsiteX0" y="connsiteY0"/>
                    </a:cxn>
                    <a:cxn ang="0">
                      <a:pos x="connsiteX1" y="connsiteY1"/>
                    </a:cxn>
                    <a:cxn ang="0">
                      <a:pos x="connsiteX2" y="connsiteY2"/>
                    </a:cxn>
                    <a:cxn ang="0">
                      <a:pos x="connsiteX3" y="connsiteY3"/>
                    </a:cxn>
                  </a:cxnLst>
                  <a:rect l="l" t="t" r="r" b="b"/>
                  <a:pathLst>
                    <a:path w="58790" h="130559">
                      <a:moveTo>
                        <a:pt x="58791" y="129363"/>
                      </a:moveTo>
                      <a:lnTo>
                        <a:pt x="55980" y="130559"/>
                      </a:lnTo>
                      <a:lnTo>
                        <a:pt x="0" y="1196"/>
                      </a:lnTo>
                      <a:lnTo>
                        <a:pt x="2811" y="0"/>
                      </a:lnTo>
                      <a:close/>
                    </a:path>
                  </a:pathLst>
                </a:custGeom>
                <a:grpFill/>
                <a:ln w="5978" cap="flat">
                  <a:noFill/>
                  <a:prstDash val="solid"/>
                  <a:miter/>
                </a:ln>
              </p:spPr>
              <p:txBody>
                <a:bodyPr rtlCol="0" anchor="ctr"/>
                <a:lstStyle/>
                <a:p>
                  <a:endParaRPr lang="en-GB"/>
                </a:p>
              </p:txBody>
            </p:sp>
            <p:sp>
              <p:nvSpPr>
                <p:cNvPr id="3464" name="Vrije vorm: vorm 3463">
                  <a:extLst>
                    <a:ext uri="{FF2B5EF4-FFF2-40B4-BE49-F238E27FC236}">
                      <a16:creationId xmlns:a16="http://schemas.microsoft.com/office/drawing/2014/main" id="{AEDCFD5B-CC92-42AF-B559-9F44DB702400}"/>
                    </a:ext>
                  </a:extLst>
                </p:cNvPr>
                <p:cNvSpPr/>
                <p:nvPr/>
              </p:nvSpPr>
              <p:spPr>
                <a:xfrm>
                  <a:off x="6833124" y="5227321"/>
                  <a:ext cx="18341" cy="18398"/>
                </a:xfrm>
                <a:custGeom>
                  <a:avLst/>
                  <a:gdLst>
                    <a:gd name="connsiteX0" fmla="*/ 17574 w 18341"/>
                    <a:gd name="connsiteY0" fmla="*/ 5551 h 18398"/>
                    <a:gd name="connsiteX1" fmla="*/ 12849 w 18341"/>
                    <a:gd name="connsiteY1" fmla="*/ 17632 h 18398"/>
                    <a:gd name="connsiteX2" fmla="*/ 768 w 18341"/>
                    <a:gd name="connsiteY2" fmla="*/ 12848 h 18398"/>
                    <a:gd name="connsiteX3" fmla="*/ 5493 w 18341"/>
                    <a:gd name="connsiteY3" fmla="*/ 767 h 18398"/>
                    <a:gd name="connsiteX4" fmla="*/ 17574 w 18341"/>
                    <a:gd name="connsiteY4" fmla="*/ 555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8">
                      <a:moveTo>
                        <a:pt x="17574" y="5551"/>
                      </a:moveTo>
                      <a:cubicBezTo>
                        <a:pt x="19607" y="10216"/>
                        <a:pt x="17454" y="15659"/>
                        <a:pt x="12849" y="17632"/>
                      </a:cubicBezTo>
                      <a:cubicBezTo>
                        <a:pt x="8184" y="19666"/>
                        <a:pt x="2802" y="17513"/>
                        <a:pt x="768" y="12848"/>
                      </a:cubicBezTo>
                      <a:cubicBezTo>
                        <a:pt x="-1266" y="8183"/>
                        <a:pt x="887" y="2740"/>
                        <a:pt x="5493" y="767"/>
                      </a:cubicBezTo>
                      <a:cubicBezTo>
                        <a:pt x="10158" y="-1267"/>
                        <a:pt x="15541" y="886"/>
                        <a:pt x="17574" y="5551"/>
                      </a:cubicBezTo>
                      <a:close/>
                    </a:path>
                  </a:pathLst>
                </a:custGeom>
                <a:grpFill/>
                <a:ln w="5978" cap="flat">
                  <a:noFill/>
                  <a:prstDash val="solid"/>
                  <a:miter/>
                </a:ln>
              </p:spPr>
              <p:txBody>
                <a:bodyPr rtlCol="0" anchor="ctr"/>
                <a:lstStyle/>
                <a:p>
                  <a:endParaRPr lang="en-GB"/>
                </a:p>
              </p:txBody>
            </p:sp>
            <p:sp>
              <p:nvSpPr>
                <p:cNvPr id="3465" name="Vrije vorm: vorm 3464">
                  <a:extLst>
                    <a:ext uri="{FF2B5EF4-FFF2-40B4-BE49-F238E27FC236}">
                      <a16:creationId xmlns:a16="http://schemas.microsoft.com/office/drawing/2014/main" id="{86FFD20B-7B00-49D9-B609-57462D5CC729}"/>
                    </a:ext>
                  </a:extLst>
                </p:cNvPr>
                <p:cNvSpPr/>
                <p:nvPr/>
              </p:nvSpPr>
              <p:spPr>
                <a:xfrm>
                  <a:off x="6777494" y="5098795"/>
                  <a:ext cx="18350" cy="18399"/>
                </a:xfrm>
                <a:custGeom>
                  <a:avLst/>
                  <a:gdLst>
                    <a:gd name="connsiteX0" fmla="*/ 17582 w 18350"/>
                    <a:gd name="connsiteY0" fmla="*/ 5551 h 18399"/>
                    <a:gd name="connsiteX1" fmla="*/ 5501 w 18350"/>
                    <a:gd name="connsiteY1" fmla="*/ 767 h 18399"/>
                    <a:gd name="connsiteX2" fmla="*/ 777 w 18350"/>
                    <a:gd name="connsiteY2" fmla="*/ 12848 h 18399"/>
                    <a:gd name="connsiteX3" fmla="*/ 12857 w 18350"/>
                    <a:gd name="connsiteY3" fmla="*/ 17632 h 18399"/>
                    <a:gd name="connsiteX4" fmla="*/ 17582 w 18350"/>
                    <a:gd name="connsiteY4" fmla="*/ 5551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99">
                      <a:moveTo>
                        <a:pt x="17582" y="5551"/>
                      </a:moveTo>
                      <a:cubicBezTo>
                        <a:pt x="15549" y="886"/>
                        <a:pt x="10166" y="-1267"/>
                        <a:pt x="5501" y="767"/>
                      </a:cubicBezTo>
                      <a:cubicBezTo>
                        <a:pt x="836" y="2800"/>
                        <a:pt x="-1257" y="8183"/>
                        <a:pt x="777" y="12848"/>
                      </a:cubicBezTo>
                      <a:cubicBezTo>
                        <a:pt x="2810" y="17513"/>
                        <a:pt x="8193" y="19666"/>
                        <a:pt x="12857" y="17632"/>
                      </a:cubicBezTo>
                      <a:cubicBezTo>
                        <a:pt x="17463" y="15659"/>
                        <a:pt x="19616" y="10216"/>
                        <a:pt x="17582" y="5551"/>
                      </a:cubicBezTo>
                      <a:close/>
                    </a:path>
                  </a:pathLst>
                </a:custGeom>
                <a:grpFill/>
                <a:ln w="5978" cap="flat">
                  <a:noFill/>
                  <a:prstDash val="solid"/>
                  <a:miter/>
                </a:ln>
              </p:spPr>
              <p:txBody>
                <a:bodyPr rtlCol="0" anchor="ctr"/>
                <a:lstStyle/>
                <a:p>
                  <a:endParaRPr lang="en-GB"/>
                </a:p>
              </p:txBody>
            </p:sp>
          </p:grpSp>
          <p:grpSp>
            <p:nvGrpSpPr>
              <p:cNvPr id="643" name="Graphic 3">
                <a:extLst>
                  <a:ext uri="{FF2B5EF4-FFF2-40B4-BE49-F238E27FC236}">
                    <a16:creationId xmlns:a16="http://schemas.microsoft.com/office/drawing/2014/main" id="{D1E86635-6092-407D-8F62-2166FB4ECBFF}"/>
                  </a:ext>
                </a:extLst>
              </p:cNvPr>
              <p:cNvGrpSpPr/>
              <p:nvPr/>
            </p:nvGrpSpPr>
            <p:grpSpPr>
              <a:xfrm>
                <a:off x="5575587" y="1419985"/>
                <a:ext cx="91344" cy="326842"/>
                <a:chOff x="5575587" y="1419985"/>
                <a:chExt cx="91344" cy="326842"/>
              </a:xfrm>
              <a:grpFill/>
            </p:grpSpPr>
            <p:sp>
              <p:nvSpPr>
                <p:cNvPr id="3460" name="Vrije vorm: vorm 3459">
                  <a:extLst>
                    <a:ext uri="{FF2B5EF4-FFF2-40B4-BE49-F238E27FC236}">
                      <a16:creationId xmlns:a16="http://schemas.microsoft.com/office/drawing/2014/main" id="{BCBF8699-E2F0-450F-A4DE-2FF57861A9EB}"/>
                    </a:ext>
                  </a:extLst>
                </p:cNvPr>
                <p:cNvSpPr/>
                <p:nvPr/>
              </p:nvSpPr>
              <p:spPr>
                <a:xfrm>
                  <a:off x="5583203" y="1428416"/>
                  <a:ext cx="76134" cy="309980"/>
                </a:xfrm>
                <a:custGeom>
                  <a:avLst/>
                  <a:gdLst>
                    <a:gd name="connsiteX0" fmla="*/ 2930 w 76134"/>
                    <a:gd name="connsiteY0" fmla="*/ 0 h 309980"/>
                    <a:gd name="connsiteX1" fmla="*/ 76134 w 76134"/>
                    <a:gd name="connsiteY1" fmla="*/ 309263 h 309980"/>
                    <a:gd name="connsiteX2" fmla="*/ 73144 w 76134"/>
                    <a:gd name="connsiteY2" fmla="*/ 309981 h 309980"/>
                    <a:gd name="connsiteX3" fmla="*/ 0 w 76134"/>
                    <a:gd name="connsiteY3" fmla="*/ 718 h 309980"/>
                  </a:gdLst>
                  <a:ahLst/>
                  <a:cxnLst>
                    <a:cxn ang="0">
                      <a:pos x="connsiteX0" y="connsiteY0"/>
                    </a:cxn>
                    <a:cxn ang="0">
                      <a:pos x="connsiteX1" y="connsiteY1"/>
                    </a:cxn>
                    <a:cxn ang="0">
                      <a:pos x="connsiteX2" y="connsiteY2"/>
                    </a:cxn>
                    <a:cxn ang="0">
                      <a:pos x="connsiteX3" y="connsiteY3"/>
                    </a:cxn>
                  </a:cxnLst>
                  <a:rect l="l" t="t" r="r" b="b"/>
                  <a:pathLst>
                    <a:path w="76134" h="309980">
                      <a:moveTo>
                        <a:pt x="2930" y="0"/>
                      </a:moveTo>
                      <a:lnTo>
                        <a:pt x="76134" y="309263"/>
                      </a:lnTo>
                      <a:lnTo>
                        <a:pt x="73144" y="309981"/>
                      </a:lnTo>
                      <a:lnTo>
                        <a:pt x="0" y="718"/>
                      </a:lnTo>
                      <a:close/>
                    </a:path>
                  </a:pathLst>
                </a:custGeom>
                <a:grpFill/>
                <a:ln w="5978" cap="flat">
                  <a:noFill/>
                  <a:prstDash val="solid"/>
                  <a:miter/>
                </a:ln>
              </p:spPr>
              <p:txBody>
                <a:bodyPr rtlCol="0" anchor="ctr"/>
                <a:lstStyle/>
                <a:p>
                  <a:endParaRPr lang="en-GB"/>
                </a:p>
              </p:txBody>
            </p:sp>
            <p:sp>
              <p:nvSpPr>
                <p:cNvPr id="3461" name="Vrije vorm: vorm 3460">
                  <a:extLst>
                    <a:ext uri="{FF2B5EF4-FFF2-40B4-BE49-F238E27FC236}">
                      <a16:creationId xmlns:a16="http://schemas.microsoft.com/office/drawing/2014/main" id="{A8190144-D236-4F55-B708-02EFD3C57021}"/>
                    </a:ext>
                  </a:extLst>
                </p:cNvPr>
                <p:cNvSpPr/>
                <p:nvPr/>
              </p:nvSpPr>
              <p:spPr>
                <a:xfrm>
                  <a:off x="5575587" y="1419985"/>
                  <a:ext cx="18401" cy="18435"/>
                </a:xfrm>
                <a:custGeom>
                  <a:avLst/>
                  <a:gdLst>
                    <a:gd name="connsiteX0" fmla="*/ 260 w 18401"/>
                    <a:gd name="connsiteY0" fmla="*/ 11302 h 18435"/>
                    <a:gd name="connsiteX1" fmla="*/ 7078 w 18401"/>
                    <a:gd name="connsiteY1" fmla="*/ 237 h 18435"/>
                    <a:gd name="connsiteX2" fmla="*/ 18142 w 18401"/>
                    <a:gd name="connsiteY2" fmla="*/ 7115 h 18435"/>
                    <a:gd name="connsiteX3" fmla="*/ 11324 w 18401"/>
                    <a:gd name="connsiteY3" fmla="*/ 18180 h 18435"/>
                    <a:gd name="connsiteX4" fmla="*/ 260 w 18401"/>
                    <a:gd name="connsiteY4" fmla="*/ 1130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35">
                      <a:moveTo>
                        <a:pt x="260" y="11302"/>
                      </a:moveTo>
                      <a:cubicBezTo>
                        <a:pt x="-936" y="6338"/>
                        <a:pt x="2114" y="1374"/>
                        <a:pt x="7078" y="237"/>
                      </a:cubicBezTo>
                      <a:cubicBezTo>
                        <a:pt x="11982" y="-899"/>
                        <a:pt x="16946" y="2151"/>
                        <a:pt x="18142" y="7115"/>
                      </a:cubicBezTo>
                      <a:cubicBezTo>
                        <a:pt x="19338" y="12079"/>
                        <a:pt x="16288" y="17043"/>
                        <a:pt x="11324" y="18180"/>
                      </a:cubicBezTo>
                      <a:cubicBezTo>
                        <a:pt x="6360" y="19376"/>
                        <a:pt x="1456" y="16266"/>
                        <a:pt x="260" y="11302"/>
                      </a:cubicBezTo>
                      <a:close/>
                    </a:path>
                  </a:pathLst>
                </a:custGeom>
                <a:grpFill/>
                <a:ln w="5978" cap="flat">
                  <a:noFill/>
                  <a:prstDash val="solid"/>
                  <a:miter/>
                </a:ln>
              </p:spPr>
              <p:txBody>
                <a:bodyPr rtlCol="0" anchor="ctr"/>
                <a:lstStyle/>
                <a:p>
                  <a:endParaRPr lang="en-GB"/>
                </a:p>
              </p:txBody>
            </p:sp>
            <p:sp>
              <p:nvSpPr>
                <p:cNvPr id="3462" name="Vrije vorm: vorm 3461">
                  <a:extLst>
                    <a:ext uri="{FF2B5EF4-FFF2-40B4-BE49-F238E27FC236}">
                      <a16:creationId xmlns:a16="http://schemas.microsoft.com/office/drawing/2014/main" id="{9149EC6B-1519-423C-8E87-5CCD1854C872}"/>
                    </a:ext>
                  </a:extLst>
                </p:cNvPr>
                <p:cNvSpPr/>
                <p:nvPr/>
              </p:nvSpPr>
              <p:spPr>
                <a:xfrm>
                  <a:off x="5648571" y="1728411"/>
                  <a:ext cx="18360" cy="18416"/>
                </a:xfrm>
                <a:custGeom>
                  <a:avLst/>
                  <a:gdLst>
                    <a:gd name="connsiteX0" fmla="*/ 241 w 18360"/>
                    <a:gd name="connsiteY0" fmla="*/ 11302 h 18416"/>
                    <a:gd name="connsiteX1" fmla="*/ 11305 w 18360"/>
                    <a:gd name="connsiteY1" fmla="*/ 18180 h 18416"/>
                    <a:gd name="connsiteX2" fmla="*/ 18123 w 18360"/>
                    <a:gd name="connsiteY2" fmla="*/ 7115 h 18416"/>
                    <a:gd name="connsiteX3" fmla="*/ 7059 w 18360"/>
                    <a:gd name="connsiteY3" fmla="*/ 237 h 18416"/>
                    <a:gd name="connsiteX4" fmla="*/ 241 w 18360"/>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6">
                      <a:moveTo>
                        <a:pt x="241" y="11302"/>
                      </a:moveTo>
                      <a:cubicBezTo>
                        <a:pt x="1437" y="16266"/>
                        <a:pt x="6341" y="19316"/>
                        <a:pt x="11305" y="18180"/>
                      </a:cubicBezTo>
                      <a:cubicBezTo>
                        <a:pt x="16209" y="17043"/>
                        <a:pt x="19259" y="12079"/>
                        <a:pt x="18123" y="7115"/>
                      </a:cubicBezTo>
                      <a:cubicBezTo>
                        <a:pt x="16927" y="2151"/>
                        <a:pt x="12023" y="-899"/>
                        <a:pt x="7059" y="237"/>
                      </a:cubicBezTo>
                      <a:cubicBezTo>
                        <a:pt x="2095" y="1374"/>
                        <a:pt x="-896" y="6338"/>
                        <a:pt x="241" y="11302"/>
                      </a:cubicBezTo>
                      <a:close/>
                    </a:path>
                  </a:pathLst>
                </a:custGeom>
                <a:grpFill/>
                <a:ln w="5978" cap="flat">
                  <a:noFill/>
                  <a:prstDash val="solid"/>
                  <a:miter/>
                </a:ln>
              </p:spPr>
              <p:txBody>
                <a:bodyPr rtlCol="0" anchor="ctr"/>
                <a:lstStyle/>
                <a:p>
                  <a:endParaRPr lang="en-GB"/>
                </a:p>
              </p:txBody>
            </p:sp>
          </p:grpSp>
          <p:grpSp>
            <p:nvGrpSpPr>
              <p:cNvPr id="644" name="Graphic 3">
                <a:extLst>
                  <a:ext uri="{FF2B5EF4-FFF2-40B4-BE49-F238E27FC236}">
                    <a16:creationId xmlns:a16="http://schemas.microsoft.com/office/drawing/2014/main" id="{3CDD8B13-C956-47DC-B9C5-9F04B233EC0A}"/>
                  </a:ext>
                </a:extLst>
              </p:cNvPr>
              <p:cNvGrpSpPr/>
              <p:nvPr/>
            </p:nvGrpSpPr>
            <p:grpSpPr>
              <a:xfrm>
                <a:off x="5509971" y="1144663"/>
                <a:ext cx="132068" cy="631440"/>
                <a:chOff x="5509971" y="1144663"/>
                <a:chExt cx="132068" cy="631440"/>
              </a:xfrm>
              <a:grpFill/>
            </p:grpSpPr>
            <p:sp>
              <p:nvSpPr>
                <p:cNvPr id="3457" name="Vrije vorm: vorm 3456">
                  <a:extLst>
                    <a:ext uri="{FF2B5EF4-FFF2-40B4-BE49-F238E27FC236}">
                      <a16:creationId xmlns:a16="http://schemas.microsoft.com/office/drawing/2014/main" id="{F3058796-97F8-47B0-9F53-A844426849A7}"/>
                    </a:ext>
                  </a:extLst>
                </p:cNvPr>
                <p:cNvSpPr/>
                <p:nvPr/>
              </p:nvSpPr>
              <p:spPr>
                <a:xfrm>
                  <a:off x="5517594" y="1153123"/>
                  <a:ext cx="116863" cy="614519"/>
                </a:xfrm>
                <a:custGeom>
                  <a:avLst/>
                  <a:gdLst>
                    <a:gd name="connsiteX0" fmla="*/ 2990 w 116863"/>
                    <a:gd name="connsiteY0" fmla="*/ 0 h 614519"/>
                    <a:gd name="connsiteX1" fmla="*/ 116864 w 116863"/>
                    <a:gd name="connsiteY1" fmla="*/ 613981 h 614519"/>
                    <a:gd name="connsiteX2" fmla="*/ 113873 w 116863"/>
                    <a:gd name="connsiteY2" fmla="*/ 614519 h 614519"/>
                    <a:gd name="connsiteX3" fmla="*/ 0 w 116863"/>
                    <a:gd name="connsiteY3" fmla="*/ 538 h 614519"/>
                  </a:gdLst>
                  <a:ahLst/>
                  <a:cxnLst>
                    <a:cxn ang="0">
                      <a:pos x="connsiteX0" y="connsiteY0"/>
                    </a:cxn>
                    <a:cxn ang="0">
                      <a:pos x="connsiteX1" y="connsiteY1"/>
                    </a:cxn>
                    <a:cxn ang="0">
                      <a:pos x="connsiteX2" y="connsiteY2"/>
                    </a:cxn>
                    <a:cxn ang="0">
                      <a:pos x="connsiteX3" y="connsiteY3"/>
                    </a:cxn>
                  </a:cxnLst>
                  <a:rect l="l" t="t" r="r" b="b"/>
                  <a:pathLst>
                    <a:path w="116863" h="614519">
                      <a:moveTo>
                        <a:pt x="2990" y="0"/>
                      </a:moveTo>
                      <a:lnTo>
                        <a:pt x="116864" y="613981"/>
                      </a:lnTo>
                      <a:lnTo>
                        <a:pt x="113873" y="614519"/>
                      </a:lnTo>
                      <a:lnTo>
                        <a:pt x="0" y="538"/>
                      </a:lnTo>
                      <a:close/>
                    </a:path>
                  </a:pathLst>
                </a:custGeom>
                <a:grpFill/>
                <a:ln w="5978" cap="flat">
                  <a:noFill/>
                  <a:prstDash val="solid"/>
                  <a:miter/>
                </a:ln>
              </p:spPr>
              <p:txBody>
                <a:bodyPr rtlCol="0" anchor="ctr"/>
                <a:lstStyle/>
                <a:p>
                  <a:endParaRPr lang="en-GB"/>
                </a:p>
              </p:txBody>
            </p:sp>
            <p:sp>
              <p:nvSpPr>
                <p:cNvPr id="3458" name="Vrije vorm: vorm 3457">
                  <a:extLst>
                    <a:ext uri="{FF2B5EF4-FFF2-40B4-BE49-F238E27FC236}">
                      <a16:creationId xmlns:a16="http://schemas.microsoft.com/office/drawing/2014/main" id="{3F24070B-E4D0-4035-BFE8-09324A501F3C}"/>
                    </a:ext>
                  </a:extLst>
                </p:cNvPr>
                <p:cNvSpPr/>
                <p:nvPr/>
              </p:nvSpPr>
              <p:spPr>
                <a:xfrm>
                  <a:off x="5623646" y="1757689"/>
                  <a:ext cx="18392" cy="18414"/>
                </a:xfrm>
                <a:custGeom>
                  <a:avLst/>
                  <a:gdLst>
                    <a:gd name="connsiteX0" fmla="*/ 18227 w 18392"/>
                    <a:gd name="connsiteY0" fmla="*/ 7561 h 18414"/>
                    <a:gd name="connsiteX1" fmla="*/ 10871 w 18392"/>
                    <a:gd name="connsiteY1" fmla="*/ 18267 h 18414"/>
                    <a:gd name="connsiteX2" fmla="*/ 165 w 18392"/>
                    <a:gd name="connsiteY2" fmla="*/ 10851 h 18414"/>
                    <a:gd name="connsiteX3" fmla="*/ 7522 w 18392"/>
                    <a:gd name="connsiteY3" fmla="*/ 145 h 18414"/>
                    <a:gd name="connsiteX4" fmla="*/ 18227 w 18392"/>
                    <a:gd name="connsiteY4" fmla="*/ 7561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14">
                      <a:moveTo>
                        <a:pt x="18227" y="7561"/>
                      </a:moveTo>
                      <a:cubicBezTo>
                        <a:pt x="19184" y="12585"/>
                        <a:pt x="15895" y="17370"/>
                        <a:pt x="10871" y="18267"/>
                      </a:cubicBezTo>
                      <a:cubicBezTo>
                        <a:pt x="5907" y="19164"/>
                        <a:pt x="1123" y="15875"/>
                        <a:pt x="165" y="10851"/>
                      </a:cubicBezTo>
                      <a:cubicBezTo>
                        <a:pt x="-791" y="5827"/>
                        <a:pt x="2498" y="1043"/>
                        <a:pt x="7522" y="145"/>
                      </a:cubicBezTo>
                      <a:cubicBezTo>
                        <a:pt x="12546" y="-752"/>
                        <a:pt x="17330" y="2597"/>
                        <a:pt x="18227" y="7561"/>
                      </a:cubicBezTo>
                      <a:close/>
                    </a:path>
                  </a:pathLst>
                </a:custGeom>
                <a:grpFill/>
                <a:ln w="5978" cap="flat">
                  <a:noFill/>
                  <a:prstDash val="solid"/>
                  <a:miter/>
                </a:ln>
              </p:spPr>
              <p:txBody>
                <a:bodyPr rtlCol="0" anchor="ctr"/>
                <a:lstStyle/>
                <a:p>
                  <a:endParaRPr lang="en-GB"/>
                </a:p>
              </p:txBody>
            </p:sp>
            <p:sp>
              <p:nvSpPr>
                <p:cNvPr id="3459" name="Vrije vorm: vorm 3458">
                  <a:extLst>
                    <a:ext uri="{FF2B5EF4-FFF2-40B4-BE49-F238E27FC236}">
                      <a16:creationId xmlns:a16="http://schemas.microsoft.com/office/drawing/2014/main" id="{D319F4A2-C207-4C08-ADC9-3FF124B7E5BF}"/>
                    </a:ext>
                  </a:extLst>
                </p:cNvPr>
                <p:cNvSpPr/>
                <p:nvPr/>
              </p:nvSpPr>
              <p:spPr>
                <a:xfrm>
                  <a:off x="5509971" y="1144663"/>
                  <a:ext cx="18356" cy="18416"/>
                </a:xfrm>
                <a:custGeom>
                  <a:avLst/>
                  <a:gdLst>
                    <a:gd name="connsiteX0" fmla="*/ 18209 w 18356"/>
                    <a:gd name="connsiteY0" fmla="*/ 7563 h 18416"/>
                    <a:gd name="connsiteX1" fmla="*/ 7504 w 18356"/>
                    <a:gd name="connsiteY1" fmla="*/ 147 h 18416"/>
                    <a:gd name="connsiteX2" fmla="*/ 147 w 18356"/>
                    <a:gd name="connsiteY2" fmla="*/ 10853 h 18416"/>
                    <a:gd name="connsiteX3" fmla="*/ 10853 w 18356"/>
                    <a:gd name="connsiteY3" fmla="*/ 18269 h 18416"/>
                    <a:gd name="connsiteX4" fmla="*/ 18209 w 18356"/>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6">
                      <a:moveTo>
                        <a:pt x="18209" y="7563"/>
                      </a:moveTo>
                      <a:cubicBezTo>
                        <a:pt x="17252" y="2540"/>
                        <a:pt x="12468" y="-750"/>
                        <a:pt x="7504" y="147"/>
                      </a:cubicBezTo>
                      <a:cubicBezTo>
                        <a:pt x="2540" y="1044"/>
                        <a:pt x="-750" y="5889"/>
                        <a:pt x="147" y="10853"/>
                      </a:cubicBezTo>
                      <a:cubicBezTo>
                        <a:pt x="1045" y="15877"/>
                        <a:pt x="5889" y="19166"/>
                        <a:pt x="10853" y="18269"/>
                      </a:cubicBezTo>
                      <a:cubicBezTo>
                        <a:pt x="15817" y="17372"/>
                        <a:pt x="19107" y="12527"/>
                        <a:pt x="18209" y="7563"/>
                      </a:cubicBezTo>
                      <a:close/>
                    </a:path>
                  </a:pathLst>
                </a:custGeom>
                <a:grpFill/>
                <a:ln w="5978" cap="flat">
                  <a:noFill/>
                  <a:prstDash val="solid"/>
                  <a:miter/>
                </a:ln>
              </p:spPr>
              <p:txBody>
                <a:bodyPr rtlCol="0" anchor="ctr"/>
                <a:lstStyle/>
                <a:p>
                  <a:endParaRPr lang="en-GB"/>
                </a:p>
              </p:txBody>
            </p:sp>
          </p:grpSp>
          <p:grpSp>
            <p:nvGrpSpPr>
              <p:cNvPr id="645" name="Graphic 3">
                <a:extLst>
                  <a:ext uri="{FF2B5EF4-FFF2-40B4-BE49-F238E27FC236}">
                    <a16:creationId xmlns:a16="http://schemas.microsoft.com/office/drawing/2014/main" id="{14F8A1C3-42E6-4767-9AB2-D39137A11572}"/>
                  </a:ext>
                </a:extLst>
              </p:cNvPr>
              <p:cNvGrpSpPr/>
              <p:nvPr/>
            </p:nvGrpSpPr>
            <p:grpSpPr>
              <a:xfrm>
                <a:off x="5481001" y="1203434"/>
                <a:ext cx="29946" cy="63610"/>
                <a:chOff x="5481001" y="1203434"/>
                <a:chExt cx="29946" cy="63610"/>
              </a:xfrm>
              <a:grpFill/>
            </p:grpSpPr>
            <p:sp>
              <p:nvSpPr>
                <p:cNvPr id="3454" name="Vrije vorm: vorm 3453">
                  <a:extLst>
                    <a:ext uri="{FF2B5EF4-FFF2-40B4-BE49-F238E27FC236}">
                      <a16:creationId xmlns:a16="http://schemas.microsoft.com/office/drawing/2014/main" id="{1120B2EB-DCE8-48A7-A814-857E7AEB43A3}"/>
                    </a:ext>
                  </a:extLst>
                </p:cNvPr>
                <p:cNvSpPr/>
                <p:nvPr/>
              </p:nvSpPr>
              <p:spPr>
                <a:xfrm>
                  <a:off x="5488644" y="1211642"/>
                  <a:ext cx="14775" cy="46873"/>
                </a:xfrm>
                <a:custGeom>
                  <a:avLst/>
                  <a:gdLst>
                    <a:gd name="connsiteX0" fmla="*/ 0 w 14775"/>
                    <a:gd name="connsiteY0" fmla="*/ 757 h 46873"/>
                    <a:gd name="connsiteX1" fmla="*/ 2955 w 14775"/>
                    <a:gd name="connsiteY1" fmla="*/ 0 h 46873"/>
                    <a:gd name="connsiteX2" fmla="*/ 14775 w 14775"/>
                    <a:gd name="connsiteY2" fmla="*/ 46116 h 46873"/>
                    <a:gd name="connsiteX3" fmla="*/ 11821 w 14775"/>
                    <a:gd name="connsiteY3" fmla="*/ 46874 h 46873"/>
                  </a:gdLst>
                  <a:ahLst/>
                  <a:cxnLst>
                    <a:cxn ang="0">
                      <a:pos x="connsiteX0" y="connsiteY0"/>
                    </a:cxn>
                    <a:cxn ang="0">
                      <a:pos x="connsiteX1" y="connsiteY1"/>
                    </a:cxn>
                    <a:cxn ang="0">
                      <a:pos x="connsiteX2" y="connsiteY2"/>
                    </a:cxn>
                    <a:cxn ang="0">
                      <a:pos x="connsiteX3" y="connsiteY3"/>
                    </a:cxn>
                  </a:cxnLst>
                  <a:rect l="l" t="t" r="r" b="b"/>
                  <a:pathLst>
                    <a:path w="14775" h="46873">
                      <a:moveTo>
                        <a:pt x="0" y="757"/>
                      </a:moveTo>
                      <a:lnTo>
                        <a:pt x="2955" y="0"/>
                      </a:lnTo>
                      <a:lnTo>
                        <a:pt x="14775" y="46116"/>
                      </a:lnTo>
                      <a:lnTo>
                        <a:pt x="11821" y="46874"/>
                      </a:lnTo>
                      <a:close/>
                    </a:path>
                  </a:pathLst>
                </a:custGeom>
                <a:grpFill/>
                <a:ln w="5978" cap="flat">
                  <a:noFill/>
                  <a:prstDash val="solid"/>
                  <a:miter/>
                </a:ln>
              </p:spPr>
              <p:txBody>
                <a:bodyPr rtlCol="0" anchor="ctr"/>
                <a:lstStyle/>
                <a:p>
                  <a:endParaRPr lang="en-GB"/>
                </a:p>
              </p:txBody>
            </p:sp>
            <p:sp>
              <p:nvSpPr>
                <p:cNvPr id="3455" name="Vrije vorm: vorm 3454">
                  <a:extLst>
                    <a:ext uri="{FF2B5EF4-FFF2-40B4-BE49-F238E27FC236}">
                      <a16:creationId xmlns:a16="http://schemas.microsoft.com/office/drawing/2014/main" id="{704B1471-D319-4FF7-BED5-157B89F5632F}"/>
                    </a:ext>
                  </a:extLst>
                </p:cNvPr>
                <p:cNvSpPr/>
                <p:nvPr/>
              </p:nvSpPr>
              <p:spPr>
                <a:xfrm>
                  <a:off x="5492603" y="1248648"/>
                  <a:ext cx="18343" cy="18395"/>
                </a:xfrm>
                <a:custGeom>
                  <a:avLst/>
                  <a:gdLst>
                    <a:gd name="connsiteX0" fmla="*/ 18053 w 18343"/>
                    <a:gd name="connsiteY0" fmla="*/ 6925 h 18395"/>
                    <a:gd name="connsiteX1" fmla="*/ 11474 w 18343"/>
                    <a:gd name="connsiteY1" fmla="*/ 18109 h 18395"/>
                    <a:gd name="connsiteX2" fmla="*/ 290 w 18343"/>
                    <a:gd name="connsiteY2" fmla="*/ 11471 h 18395"/>
                    <a:gd name="connsiteX3" fmla="*/ 6869 w 18343"/>
                    <a:gd name="connsiteY3" fmla="*/ 287 h 18395"/>
                    <a:gd name="connsiteX4" fmla="*/ 18053 w 18343"/>
                    <a:gd name="connsiteY4" fmla="*/ 6925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18053" y="6925"/>
                      </a:moveTo>
                      <a:cubicBezTo>
                        <a:pt x="19309" y="11829"/>
                        <a:pt x="16379" y="16853"/>
                        <a:pt x="11474" y="18109"/>
                      </a:cubicBezTo>
                      <a:cubicBezTo>
                        <a:pt x="6571" y="19365"/>
                        <a:pt x="1547" y="16375"/>
                        <a:pt x="290" y="11471"/>
                      </a:cubicBezTo>
                      <a:cubicBezTo>
                        <a:pt x="-965" y="6566"/>
                        <a:pt x="1965" y="1543"/>
                        <a:pt x="6869" y="287"/>
                      </a:cubicBezTo>
                      <a:cubicBezTo>
                        <a:pt x="11774" y="-969"/>
                        <a:pt x="16797" y="2021"/>
                        <a:pt x="18053" y="6925"/>
                      </a:cubicBezTo>
                      <a:close/>
                    </a:path>
                  </a:pathLst>
                </a:custGeom>
                <a:grpFill/>
                <a:ln w="5978" cap="flat">
                  <a:noFill/>
                  <a:prstDash val="solid"/>
                  <a:miter/>
                </a:ln>
              </p:spPr>
              <p:txBody>
                <a:bodyPr rtlCol="0" anchor="ctr"/>
                <a:lstStyle/>
                <a:p>
                  <a:endParaRPr lang="en-GB"/>
                </a:p>
              </p:txBody>
            </p:sp>
            <p:sp>
              <p:nvSpPr>
                <p:cNvPr id="3456" name="Vrije vorm: vorm 3455">
                  <a:extLst>
                    <a:ext uri="{FF2B5EF4-FFF2-40B4-BE49-F238E27FC236}">
                      <a16:creationId xmlns:a16="http://schemas.microsoft.com/office/drawing/2014/main" id="{6DC25708-9E8F-41F6-B268-D1A81B6B992E}"/>
                    </a:ext>
                  </a:extLst>
                </p:cNvPr>
                <p:cNvSpPr/>
                <p:nvPr/>
              </p:nvSpPr>
              <p:spPr>
                <a:xfrm>
                  <a:off x="5481001" y="1203434"/>
                  <a:ext cx="18343" cy="18395"/>
                </a:xfrm>
                <a:custGeom>
                  <a:avLst/>
                  <a:gdLst>
                    <a:gd name="connsiteX0" fmla="*/ 18053 w 18343"/>
                    <a:gd name="connsiteY0" fmla="*/ 6925 h 18395"/>
                    <a:gd name="connsiteX1" fmla="*/ 6869 w 18343"/>
                    <a:gd name="connsiteY1" fmla="*/ 287 h 18395"/>
                    <a:gd name="connsiteX2" fmla="*/ 290 w 18343"/>
                    <a:gd name="connsiteY2" fmla="*/ 11471 h 18395"/>
                    <a:gd name="connsiteX3" fmla="*/ 11474 w 18343"/>
                    <a:gd name="connsiteY3" fmla="*/ 18109 h 18395"/>
                    <a:gd name="connsiteX4" fmla="*/ 18053 w 18343"/>
                    <a:gd name="connsiteY4" fmla="*/ 6925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18053" y="6925"/>
                      </a:moveTo>
                      <a:cubicBezTo>
                        <a:pt x="16797" y="2021"/>
                        <a:pt x="11774" y="-969"/>
                        <a:pt x="6869" y="287"/>
                      </a:cubicBezTo>
                      <a:cubicBezTo>
                        <a:pt x="1965" y="1543"/>
                        <a:pt x="-965" y="6566"/>
                        <a:pt x="290" y="11471"/>
                      </a:cubicBezTo>
                      <a:cubicBezTo>
                        <a:pt x="1547" y="16375"/>
                        <a:pt x="6571" y="19365"/>
                        <a:pt x="11474" y="18109"/>
                      </a:cubicBezTo>
                      <a:cubicBezTo>
                        <a:pt x="16379" y="16853"/>
                        <a:pt x="19309" y="11889"/>
                        <a:pt x="18053" y="6925"/>
                      </a:cubicBezTo>
                      <a:close/>
                    </a:path>
                  </a:pathLst>
                </a:custGeom>
                <a:grpFill/>
                <a:ln w="5978" cap="flat">
                  <a:noFill/>
                  <a:prstDash val="solid"/>
                  <a:miter/>
                </a:ln>
              </p:spPr>
              <p:txBody>
                <a:bodyPr rtlCol="0" anchor="ctr"/>
                <a:lstStyle/>
                <a:p>
                  <a:endParaRPr lang="en-GB"/>
                </a:p>
              </p:txBody>
            </p:sp>
          </p:grpSp>
          <p:grpSp>
            <p:nvGrpSpPr>
              <p:cNvPr id="646" name="Graphic 3">
                <a:extLst>
                  <a:ext uri="{FF2B5EF4-FFF2-40B4-BE49-F238E27FC236}">
                    <a16:creationId xmlns:a16="http://schemas.microsoft.com/office/drawing/2014/main" id="{93EA4076-4779-477B-9FBC-B2FA09945E55}"/>
                  </a:ext>
                </a:extLst>
              </p:cNvPr>
              <p:cNvGrpSpPr/>
              <p:nvPr/>
            </p:nvGrpSpPr>
            <p:grpSpPr>
              <a:xfrm>
                <a:off x="5481061" y="1203434"/>
                <a:ext cx="76177" cy="244168"/>
                <a:chOff x="5481061" y="1203434"/>
                <a:chExt cx="76177" cy="244168"/>
              </a:xfrm>
              <a:grpFill/>
            </p:grpSpPr>
            <p:sp>
              <p:nvSpPr>
                <p:cNvPr id="3451" name="Vrije vorm: vorm 3450">
                  <a:extLst>
                    <a:ext uri="{FF2B5EF4-FFF2-40B4-BE49-F238E27FC236}">
                      <a16:creationId xmlns:a16="http://schemas.microsoft.com/office/drawing/2014/main" id="{E286CE80-FBC1-450C-ACFC-C5DD5BFFDFBB}"/>
                    </a:ext>
                  </a:extLst>
                </p:cNvPr>
                <p:cNvSpPr/>
                <p:nvPr/>
              </p:nvSpPr>
              <p:spPr>
                <a:xfrm>
                  <a:off x="5488563" y="1211863"/>
                  <a:ext cx="61039" cy="227457"/>
                </a:xfrm>
                <a:custGeom>
                  <a:avLst/>
                  <a:gdLst>
                    <a:gd name="connsiteX0" fmla="*/ 0 w 61039"/>
                    <a:gd name="connsiteY0" fmla="*/ 757 h 227457"/>
                    <a:gd name="connsiteX1" fmla="*/ 2955 w 61039"/>
                    <a:gd name="connsiteY1" fmla="*/ 0 h 227457"/>
                    <a:gd name="connsiteX2" fmla="*/ 61040 w 61039"/>
                    <a:gd name="connsiteY2" fmla="*/ 226701 h 227457"/>
                    <a:gd name="connsiteX3" fmla="*/ 58085 w 61039"/>
                    <a:gd name="connsiteY3" fmla="*/ 227458 h 227457"/>
                  </a:gdLst>
                  <a:ahLst/>
                  <a:cxnLst>
                    <a:cxn ang="0">
                      <a:pos x="connsiteX0" y="connsiteY0"/>
                    </a:cxn>
                    <a:cxn ang="0">
                      <a:pos x="connsiteX1" y="connsiteY1"/>
                    </a:cxn>
                    <a:cxn ang="0">
                      <a:pos x="connsiteX2" y="connsiteY2"/>
                    </a:cxn>
                    <a:cxn ang="0">
                      <a:pos x="connsiteX3" y="connsiteY3"/>
                    </a:cxn>
                  </a:cxnLst>
                  <a:rect l="l" t="t" r="r" b="b"/>
                  <a:pathLst>
                    <a:path w="61039" h="227457">
                      <a:moveTo>
                        <a:pt x="0" y="757"/>
                      </a:moveTo>
                      <a:lnTo>
                        <a:pt x="2955" y="0"/>
                      </a:lnTo>
                      <a:lnTo>
                        <a:pt x="61040" y="226701"/>
                      </a:lnTo>
                      <a:lnTo>
                        <a:pt x="58085" y="227458"/>
                      </a:lnTo>
                      <a:close/>
                    </a:path>
                  </a:pathLst>
                </a:custGeom>
                <a:grpFill/>
                <a:ln w="5978" cap="flat">
                  <a:noFill/>
                  <a:prstDash val="solid"/>
                  <a:miter/>
                </a:ln>
              </p:spPr>
              <p:txBody>
                <a:bodyPr rtlCol="0" anchor="ctr"/>
                <a:lstStyle/>
                <a:p>
                  <a:endParaRPr lang="en-GB"/>
                </a:p>
              </p:txBody>
            </p:sp>
            <p:sp>
              <p:nvSpPr>
                <p:cNvPr id="3452" name="Vrije vorm: vorm 3451">
                  <a:extLst>
                    <a:ext uri="{FF2B5EF4-FFF2-40B4-BE49-F238E27FC236}">
                      <a16:creationId xmlns:a16="http://schemas.microsoft.com/office/drawing/2014/main" id="{8973CC16-4ABA-4A76-A7AB-2FB4A19C0ED1}"/>
                    </a:ext>
                  </a:extLst>
                </p:cNvPr>
                <p:cNvSpPr/>
                <p:nvPr/>
              </p:nvSpPr>
              <p:spPr>
                <a:xfrm>
                  <a:off x="5481061" y="1203434"/>
                  <a:ext cx="18343" cy="18395"/>
                </a:xfrm>
                <a:custGeom>
                  <a:avLst/>
                  <a:gdLst>
                    <a:gd name="connsiteX0" fmla="*/ 290 w 18343"/>
                    <a:gd name="connsiteY0" fmla="*/ 11471 h 18395"/>
                    <a:gd name="connsiteX1" fmla="*/ 6869 w 18343"/>
                    <a:gd name="connsiteY1" fmla="*/ 287 h 18395"/>
                    <a:gd name="connsiteX2" fmla="*/ 18053 w 18343"/>
                    <a:gd name="connsiteY2" fmla="*/ 6925 h 18395"/>
                    <a:gd name="connsiteX3" fmla="*/ 11474 w 18343"/>
                    <a:gd name="connsiteY3" fmla="*/ 18109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965" y="6566"/>
                        <a:pt x="1965" y="1543"/>
                        <a:pt x="6869" y="287"/>
                      </a:cubicBezTo>
                      <a:cubicBezTo>
                        <a:pt x="11773" y="-969"/>
                        <a:pt x="16797" y="2021"/>
                        <a:pt x="18053" y="6925"/>
                      </a:cubicBezTo>
                      <a:cubicBezTo>
                        <a:pt x="19309" y="11829"/>
                        <a:pt x="16379" y="16853"/>
                        <a:pt x="11474" y="18109"/>
                      </a:cubicBezTo>
                      <a:cubicBezTo>
                        <a:pt x="6511" y="19365"/>
                        <a:pt x="1547" y="16375"/>
                        <a:pt x="290" y="11471"/>
                      </a:cubicBezTo>
                      <a:close/>
                    </a:path>
                  </a:pathLst>
                </a:custGeom>
                <a:grpFill/>
                <a:ln w="5978" cap="flat">
                  <a:noFill/>
                  <a:prstDash val="solid"/>
                  <a:miter/>
                </a:ln>
              </p:spPr>
              <p:txBody>
                <a:bodyPr rtlCol="0" anchor="ctr"/>
                <a:lstStyle/>
                <a:p>
                  <a:endParaRPr lang="en-GB"/>
                </a:p>
              </p:txBody>
            </p:sp>
            <p:sp>
              <p:nvSpPr>
                <p:cNvPr id="3453" name="Vrije vorm: vorm 3452">
                  <a:extLst>
                    <a:ext uri="{FF2B5EF4-FFF2-40B4-BE49-F238E27FC236}">
                      <a16:creationId xmlns:a16="http://schemas.microsoft.com/office/drawing/2014/main" id="{605E9FE8-D558-4794-BCE8-88E722D8C092}"/>
                    </a:ext>
                  </a:extLst>
                </p:cNvPr>
                <p:cNvSpPr/>
                <p:nvPr/>
              </p:nvSpPr>
              <p:spPr>
                <a:xfrm>
                  <a:off x="5538894" y="1429206"/>
                  <a:ext cx="18343" cy="18395"/>
                </a:xfrm>
                <a:custGeom>
                  <a:avLst/>
                  <a:gdLst>
                    <a:gd name="connsiteX0" fmla="*/ 290 w 18343"/>
                    <a:gd name="connsiteY0" fmla="*/ 11471 h 18395"/>
                    <a:gd name="connsiteX1" fmla="*/ 11475 w 18343"/>
                    <a:gd name="connsiteY1" fmla="*/ 18109 h 18395"/>
                    <a:gd name="connsiteX2" fmla="*/ 18053 w 18343"/>
                    <a:gd name="connsiteY2" fmla="*/ 6925 h 18395"/>
                    <a:gd name="connsiteX3" fmla="*/ 6869 w 18343"/>
                    <a:gd name="connsiteY3" fmla="*/ 287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1547" y="16375"/>
                        <a:pt x="6571" y="19365"/>
                        <a:pt x="11475" y="18109"/>
                      </a:cubicBezTo>
                      <a:cubicBezTo>
                        <a:pt x="16379" y="16853"/>
                        <a:pt x="19309" y="11829"/>
                        <a:pt x="18053" y="6925"/>
                      </a:cubicBezTo>
                      <a:cubicBezTo>
                        <a:pt x="16797" y="2021"/>
                        <a:pt x="11774" y="-969"/>
                        <a:pt x="6869" y="287"/>
                      </a:cubicBezTo>
                      <a:cubicBezTo>
                        <a:pt x="1965" y="1543"/>
                        <a:pt x="-965" y="6566"/>
                        <a:pt x="290" y="11471"/>
                      </a:cubicBezTo>
                      <a:close/>
                    </a:path>
                  </a:pathLst>
                </a:custGeom>
                <a:grpFill/>
                <a:ln w="5978" cap="flat">
                  <a:noFill/>
                  <a:prstDash val="solid"/>
                  <a:miter/>
                </a:ln>
              </p:spPr>
              <p:txBody>
                <a:bodyPr rtlCol="0" anchor="ctr"/>
                <a:lstStyle/>
                <a:p>
                  <a:endParaRPr lang="en-GB"/>
                </a:p>
              </p:txBody>
            </p:sp>
          </p:grpSp>
          <p:grpSp>
            <p:nvGrpSpPr>
              <p:cNvPr id="647" name="Graphic 3">
                <a:extLst>
                  <a:ext uri="{FF2B5EF4-FFF2-40B4-BE49-F238E27FC236}">
                    <a16:creationId xmlns:a16="http://schemas.microsoft.com/office/drawing/2014/main" id="{3AC1BDB3-4E43-4747-AFB4-BEA5BF0CE76A}"/>
                  </a:ext>
                </a:extLst>
              </p:cNvPr>
              <p:cNvGrpSpPr/>
              <p:nvPr/>
            </p:nvGrpSpPr>
            <p:grpSpPr>
              <a:xfrm>
                <a:off x="6713919" y="4951849"/>
                <a:ext cx="74568" cy="148419"/>
                <a:chOff x="6713919" y="4951849"/>
                <a:chExt cx="74568" cy="148419"/>
              </a:xfrm>
              <a:grpFill/>
            </p:grpSpPr>
            <p:sp>
              <p:nvSpPr>
                <p:cNvPr id="3448" name="Vrije vorm: vorm 3447">
                  <a:extLst>
                    <a:ext uri="{FF2B5EF4-FFF2-40B4-BE49-F238E27FC236}">
                      <a16:creationId xmlns:a16="http://schemas.microsoft.com/office/drawing/2014/main" id="{6952BA86-0DD9-462E-97FC-37FC8594BD67}"/>
                    </a:ext>
                  </a:extLst>
                </p:cNvPr>
                <p:cNvSpPr/>
                <p:nvPr/>
              </p:nvSpPr>
              <p:spPr>
                <a:xfrm>
                  <a:off x="6721514" y="4960032"/>
                  <a:ext cx="59388" cy="132054"/>
                </a:xfrm>
                <a:custGeom>
                  <a:avLst/>
                  <a:gdLst>
                    <a:gd name="connsiteX0" fmla="*/ 59389 w 59388"/>
                    <a:gd name="connsiteY0" fmla="*/ 130858 h 132054"/>
                    <a:gd name="connsiteX1" fmla="*/ 56638 w 59388"/>
                    <a:gd name="connsiteY1" fmla="*/ 132054 h 132054"/>
                    <a:gd name="connsiteX2" fmla="*/ 0 w 59388"/>
                    <a:gd name="connsiteY2" fmla="*/ 1196 h 132054"/>
                    <a:gd name="connsiteX3" fmla="*/ 2811 w 59388"/>
                    <a:gd name="connsiteY3" fmla="*/ 0 h 132054"/>
                  </a:gdLst>
                  <a:ahLst/>
                  <a:cxnLst>
                    <a:cxn ang="0">
                      <a:pos x="connsiteX0" y="connsiteY0"/>
                    </a:cxn>
                    <a:cxn ang="0">
                      <a:pos x="connsiteX1" y="connsiteY1"/>
                    </a:cxn>
                    <a:cxn ang="0">
                      <a:pos x="connsiteX2" y="connsiteY2"/>
                    </a:cxn>
                    <a:cxn ang="0">
                      <a:pos x="connsiteX3" y="connsiteY3"/>
                    </a:cxn>
                  </a:cxnLst>
                  <a:rect l="l" t="t" r="r" b="b"/>
                  <a:pathLst>
                    <a:path w="59388" h="132054">
                      <a:moveTo>
                        <a:pt x="59389" y="130858"/>
                      </a:moveTo>
                      <a:lnTo>
                        <a:pt x="56638" y="132054"/>
                      </a:lnTo>
                      <a:lnTo>
                        <a:pt x="0" y="1196"/>
                      </a:lnTo>
                      <a:lnTo>
                        <a:pt x="2811" y="0"/>
                      </a:lnTo>
                      <a:close/>
                    </a:path>
                  </a:pathLst>
                </a:custGeom>
                <a:grpFill/>
                <a:ln w="5978" cap="flat">
                  <a:noFill/>
                  <a:prstDash val="solid"/>
                  <a:miter/>
                </a:ln>
              </p:spPr>
              <p:txBody>
                <a:bodyPr rtlCol="0" anchor="ctr"/>
                <a:lstStyle/>
                <a:p>
                  <a:endParaRPr lang="en-GB"/>
                </a:p>
              </p:txBody>
            </p:sp>
            <p:sp>
              <p:nvSpPr>
                <p:cNvPr id="3449" name="Vrije vorm: vorm 3448">
                  <a:extLst>
                    <a:ext uri="{FF2B5EF4-FFF2-40B4-BE49-F238E27FC236}">
                      <a16:creationId xmlns:a16="http://schemas.microsoft.com/office/drawing/2014/main" id="{D0E47816-290E-4E65-AC2D-E09D41378DE3}"/>
                    </a:ext>
                  </a:extLst>
                </p:cNvPr>
                <p:cNvSpPr/>
                <p:nvPr/>
              </p:nvSpPr>
              <p:spPr>
                <a:xfrm>
                  <a:off x="6770147" y="5081870"/>
                  <a:ext cx="18341" cy="18398"/>
                </a:xfrm>
                <a:custGeom>
                  <a:avLst/>
                  <a:gdLst>
                    <a:gd name="connsiteX0" fmla="*/ 17573 w 18341"/>
                    <a:gd name="connsiteY0" fmla="*/ 5551 h 18398"/>
                    <a:gd name="connsiteX1" fmla="*/ 12849 w 18341"/>
                    <a:gd name="connsiteY1" fmla="*/ 17632 h 18398"/>
                    <a:gd name="connsiteX2" fmla="*/ 768 w 18341"/>
                    <a:gd name="connsiteY2" fmla="*/ 12848 h 18398"/>
                    <a:gd name="connsiteX3" fmla="*/ 5493 w 18341"/>
                    <a:gd name="connsiteY3" fmla="*/ 767 h 18398"/>
                    <a:gd name="connsiteX4" fmla="*/ 17573 w 18341"/>
                    <a:gd name="connsiteY4" fmla="*/ 555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8">
                      <a:moveTo>
                        <a:pt x="17573" y="5551"/>
                      </a:moveTo>
                      <a:cubicBezTo>
                        <a:pt x="19607" y="10216"/>
                        <a:pt x="17454" y="15659"/>
                        <a:pt x="12849" y="17632"/>
                      </a:cubicBezTo>
                      <a:cubicBezTo>
                        <a:pt x="8184" y="19666"/>
                        <a:pt x="2801" y="17513"/>
                        <a:pt x="768" y="12848"/>
                      </a:cubicBezTo>
                      <a:cubicBezTo>
                        <a:pt x="-1266" y="8183"/>
                        <a:pt x="887" y="2740"/>
                        <a:pt x="5493" y="767"/>
                      </a:cubicBezTo>
                      <a:cubicBezTo>
                        <a:pt x="10157" y="-1267"/>
                        <a:pt x="15600" y="886"/>
                        <a:pt x="17573" y="5551"/>
                      </a:cubicBezTo>
                      <a:close/>
                    </a:path>
                  </a:pathLst>
                </a:custGeom>
                <a:grpFill/>
                <a:ln w="5978" cap="flat">
                  <a:noFill/>
                  <a:prstDash val="solid"/>
                  <a:miter/>
                </a:ln>
              </p:spPr>
              <p:txBody>
                <a:bodyPr rtlCol="0" anchor="ctr"/>
                <a:lstStyle/>
                <a:p>
                  <a:endParaRPr lang="en-GB"/>
                </a:p>
              </p:txBody>
            </p:sp>
            <p:sp>
              <p:nvSpPr>
                <p:cNvPr id="3450" name="Vrije vorm: vorm 3449">
                  <a:extLst>
                    <a:ext uri="{FF2B5EF4-FFF2-40B4-BE49-F238E27FC236}">
                      <a16:creationId xmlns:a16="http://schemas.microsoft.com/office/drawing/2014/main" id="{018B690C-4E4E-450E-B489-2480B5895045}"/>
                    </a:ext>
                  </a:extLst>
                </p:cNvPr>
                <p:cNvSpPr/>
                <p:nvPr/>
              </p:nvSpPr>
              <p:spPr>
                <a:xfrm>
                  <a:off x="6713919" y="4951849"/>
                  <a:ext cx="18358" cy="18399"/>
                </a:xfrm>
                <a:custGeom>
                  <a:avLst/>
                  <a:gdLst>
                    <a:gd name="connsiteX0" fmla="*/ 17582 w 18358"/>
                    <a:gd name="connsiteY0" fmla="*/ 5551 h 18399"/>
                    <a:gd name="connsiteX1" fmla="*/ 5501 w 18358"/>
                    <a:gd name="connsiteY1" fmla="*/ 767 h 18399"/>
                    <a:gd name="connsiteX2" fmla="*/ 777 w 18358"/>
                    <a:gd name="connsiteY2" fmla="*/ 12848 h 18399"/>
                    <a:gd name="connsiteX3" fmla="*/ 12857 w 18358"/>
                    <a:gd name="connsiteY3" fmla="*/ 17632 h 18399"/>
                    <a:gd name="connsiteX4" fmla="*/ 17582 w 18358"/>
                    <a:gd name="connsiteY4" fmla="*/ 5551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399">
                      <a:moveTo>
                        <a:pt x="17582" y="5551"/>
                      </a:moveTo>
                      <a:cubicBezTo>
                        <a:pt x="15549" y="886"/>
                        <a:pt x="10166" y="-1267"/>
                        <a:pt x="5501" y="767"/>
                      </a:cubicBezTo>
                      <a:cubicBezTo>
                        <a:pt x="836" y="2800"/>
                        <a:pt x="-1257" y="8183"/>
                        <a:pt x="777" y="12848"/>
                      </a:cubicBezTo>
                      <a:cubicBezTo>
                        <a:pt x="2810" y="17513"/>
                        <a:pt x="8193" y="19666"/>
                        <a:pt x="12857" y="17632"/>
                      </a:cubicBezTo>
                      <a:cubicBezTo>
                        <a:pt x="17523" y="15659"/>
                        <a:pt x="19616" y="10276"/>
                        <a:pt x="17582" y="5551"/>
                      </a:cubicBezTo>
                      <a:close/>
                    </a:path>
                  </a:pathLst>
                </a:custGeom>
                <a:grpFill/>
                <a:ln w="5978" cap="flat">
                  <a:noFill/>
                  <a:prstDash val="solid"/>
                  <a:miter/>
                </a:ln>
              </p:spPr>
              <p:txBody>
                <a:bodyPr rtlCol="0" anchor="ctr"/>
                <a:lstStyle/>
                <a:p>
                  <a:endParaRPr lang="en-GB"/>
                </a:p>
              </p:txBody>
            </p:sp>
          </p:grpSp>
          <p:grpSp>
            <p:nvGrpSpPr>
              <p:cNvPr id="648" name="Graphic 3">
                <a:extLst>
                  <a:ext uri="{FF2B5EF4-FFF2-40B4-BE49-F238E27FC236}">
                    <a16:creationId xmlns:a16="http://schemas.microsoft.com/office/drawing/2014/main" id="{472856E7-6C05-44B8-A526-EA4753AB97CB}"/>
                  </a:ext>
                </a:extLst>
              </p:cNvPr>
              <p:cNvGrpSpPr/>
              <p:nvPr/>
            </p:nvGrpSpPr>
            <p:grpSpPr>
              <a:xfrm>
                <a:off x="6713203" y="4952080"/>
                <a:ext cx="153460" cy="425582"/>
                <a:chOff x="6713203" y="4952080"/>
                <a:chExt cx="153460" cy="425582"/>
              </a:xfrm>
              <a:grpFill/>
            </p:grpSpPr>
            <p:sp>
              <p:nvSpPr>
                <p:cNvPr id="3445" name="Vrije vorm: vorm 3444">
                  <a:extLst>
                    <a:ext uri="{FF2B5EF4-FFF2-40B4-BE49-F238E27FC236}">
                      <a16:creationId xmlns:a16="http://schemas.microsoft.com/office/drawing/2014/main" id="{2F99D58C-7D57-43BF-8D88-19C422E7ABE3}"/>
                    </a:ext>
                  </a:extLst>
                </p:cNvPr>
                <p:cNvSpPr/>
                <p:nvPr/>
              </p:nvSpPr>
              <p:spPr>
                <a:xfrm>
                  <a:off x="6720816" y="4960453"/>
                  <a:ext cx="138292" cy="408916"/>
                </a:xfrm>
                <a:custGeom>
                  <a:avLst/>
                  <a:gdLst>
                    <a:gd name="connsiteX0" fmla="*/ 0 w 138292"/>
                    <a:gd name="connsiteY0" fmla="*/ 961 h 408916"/>
                    <a:gd name="connsiteX1" fmla="*/ 2895 w 138292"/>
                    <a:gd name="connsiteY1" fmla="*/ 0 h 408916"/>
                    <a:gd name="connsiteX2" fmla="*/ 138293 w 138292"/>
                    <a:gd name="connsiteY2" fmla="*/ 407956 h 408916"/>
                    <a:gd name="connsiteX3" fmla="*/ 135398 w 138292"/>
                    <a:gd name="connsiteY3" fmla="*/ 408917 h 408916"/>
                  </a:gdLst>
                  <a:ahLst/>
                  <a:cxnLst>
                    <a:cxn ang="0">
                      <a:pos x="connsiteX0" y="connsiteY0"/>
                    </a:cxn>
                    <a:cxn ang="0">
                      <a:pos x="connsiteX1" y="connsiteY1"/>
                    </a:cxn>
                    <a:cxn ang="0">
                      <a:pos x="connsiteX2" y="connsiteY2"/>
                    </a:cxn>
                    <a:cxn ang="0">
                      <a:pos x="connsiteX3" y="connsiteY3"/>
                    </a:cxn>
                  </a:cxnLst>
                  <a:rect l="l" t="t" r="r" b="b"/>
                  <a:pathLst>
                    <a:path w="138292" h="408916">
                      <a:moveTo>
                        <a:pt x="0" y="961"/>
                      </a:moveTo>
                      <a:lnTo>
                        <a:pt x="2895" y="0"/>
                      </a:lnTo>
                      <a:lnTo>
                        <a:pt x="138293" y="407956"/>
                      </a:lnTo>
                      <a:lnTo>
                        <a:pt x="135398" y="408917"/>
                      </a:lnTo>
                      <a:close/>
                    </a:path>
                  </a:pathLst>
                </a:custGeom>
                <a:grpFill/>
                <a:ln w="5978" cap="flat">
                  <a:noFill/>
                  <a:prstDash val="solid"/>
                  <a:miter/>
                </a:ln>
              </p:spPr>
              <p:txBody>
                <a:bodyPr rtlCol="0" anchor="ctr"/>
                <a:lstStyle/>
                <a:p>
                  <a:endParaRPr lang="en-GB"/>
                </a:p>
              </p:txBody>
            </p:sp>
            <p:sp>
              <p:nvSpPr>
                <p:cNvPr id="3446" name="Vrije vorm: vorm 3445">
                  <a:extLst>
                    <a:ext uri="{FF2B5EF4-FFF2-40B4-BE49-F238E27FC236}">
                      <a16:creationId xmlns:a16="http://schemas.microsoft.com/office/drawing/2014/main" id="{9A4579A4-F1C2-48AE-A395-77B56A0C8295}"/>
                    </a:ext>
                  </a:extLst>
                </p:cNvPr>
                <p:cNvSpPr/>
                <p:nvPr/>
              </p:nvSpPr>
              <p:spPr>
                <a:xfrm>
                  <a:off x="6713203" y="4952080"/>
                  <a:ext cx="18356" cy="18474"/>
                </a:xfrm>
                <a:custGeom>
                  <a:avLst/>
                  <a:gdLst>
                    <a:gd name="connsiteX0" fmla="*/ 476 w 18356"/>
                    <a:gd name="connsiteY0" fmla="*/ 12138 h 18474"/>
                    <a:gd name="connsiteX1" fmla="*/ 6277 w 18356"/>
                    <a:gd name="connsiteY1" fmla="*/ 476 h 18474"/>
                    <a:gd name="connsiteX2" fmla="*/ 17880 w 18356"/>
                    <a:gd name="connsiteY2" fmla="*/ 6337 h 18474"/>
                    <a:gd name="connsiteX3" fmla="*/ 12079 w 18356"/>
                    <a:gd name="connsiteY3" fmla="*/ 17999 h 18474"/>
                    <a:gd name="connsiteX4" fmla="*/ 476 w 18356"/>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74">
                      <a:moveTo>
                        <a:pt x="476" y="12138"/>
                      </a:moveTo>
                      <a:cubicBezTo>
                        <a:pt x="-1139" y="7294"/>
                        <a:pt x="1493" y="2091"/>
                        <a:pt x="6277" y="476"/>
                      </a:cubicBezTo>
                      <a:cubicBezTo>
                        <a:pt x="11062" y="-1139"/>
                        <a:pt x="16265" y="1492"/>
                        <a:pt x="17880" y="6337"/>
                      </a:cubicBezTo>
                      <a:cubicBezTo>
                        <a:pt x="19495" y="11181"/>
                        <a:pt x="16863" y="16384"/>
                        <a:pt x="12079" y="17999"/>
                      </a:cubicBezTo>
                      <a:cubicBezTo>
                        <a:pt x="7234" y="19614"/>
                        <a:pt x="2091" y="16982"/>
                        <a:pt x="476" y="12138"/>
                      </a:cubicBezTo>
                      <a:close/>
                    </a:path>
                  </a:pathLst>
                </a:custGeom>
                <a:grpFill/>
                <a:ln w="5978" cap="flat">
                  <a:noFill/>
                  <a:prstDash val="solid"/>
                  <a:miter/>
                </a:ln>
              </p:spPr>
              <p:txBody>
                <a:bodyPr rtlCol="0" anchor="ctr"/>
                <a:lstStyle/>
                <a:p>
                  <a:endParaRPr lang="en-GB"/>
                </a:p>
              </p:txBody>
            </p:sp>
            <p:sp>
              <p:nvSpPr>
                <p:cNvPr id="3447" name="Vrije vorm: vorm 3446">
                  <a:extLst>
                    <a:ext uri="{FF2B5EF4-FFF2-40B4-BE49-F238E27FC236}">
                      <a16:creationId xmlns:a16="http://schemas.microsoft.com/office/drawing/2014/main" id="{AADA398E-2F11-433A-A4C3-789B4CE54B03}"/>
                    </a:ext>
                  </a:extLst>
                </p:cNvPr>
                <p:cNvSpPr/>
                <p:nvPr/>
              </p:nvSpPr>
              <p:spPr>
                <a:xfrm>
                  <a:off x="6848302" y="5359188"/>
                  <a:ext cx="18361" cy="18474"/>
                </a:xfrm>
                <a:custGeom>
                  <a:avLst/>
                  <a:gdLst>
                    <a:gd name="connsiteX0" fmla="*/ 482 w 18361"/>
                    <a:gd name="connsiteY0" fmla="*/ 12138 h 18474"/>
                    <a:gd name="connsiteX1" fmla="*/ 12085 w 18361"/>
                    <a:gd name="connsiteY1" fmla="*/ 17999 h 18474"/>
                    <a:gd name="connsiteX2" fmla="*/ 17886 w 18361"/>
                    <a:gd name="connsiteY2" fmla="*/ 6337 h 18474"/>
                    <a:gd name="connsiteX3" fmla="*/ 6283 w 18361"/>
                    <a:gd name="connsiteY3" fmla="*/ 476 h 18474"/>
                    <a:gd name="connsiteX4" fmla="*/ 482 w 18361"/>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74">
                      <a:moveTo>
                        <a:pt x="482" y="12138"/>
                      </a:moveTo>
                      <a:cubicBezTo>
                        <a:pt x="2097" y="16982"/>
                        <a:pt x="7300" y="19614"/>
                        <a:pt x="12085" y="17999"/>
                      </a:cubicBezTo>
                      <a:cubicBezTo>
                        <a:pt x="16869" y="16384"/>
                        <a:pt x="19501" y="11181"/>
                        <a:pt x="17886" y="6337"/>
                      </a:cubicBezTo>
                      <a:cubicBezTo>
                        <a:pt x="16271" y="1492"/>
                        <a:pt x="11068" y="-1139"/>
                        <a:pt x="6283" y="476"/>
                      </a:cubicBezTo>
                      <a:cubicBezTo>
                        <a:pt x="1439" y="2091"/>
                        <a:pt x="-1133" y="7294"/>
                        <a:pt x="482" y="12138"/>
                      </a:cubicBezTo>
                      <a:close/>
                    </a:path>
                  </a:pathLst>
                </a:custGeom>
                <a:grpFill/>
                <a:ln w="5978" cap="flat">
                  <a:noFill/>
                  <a:prstDash val="solid"/>
                  <a:miter/>
                </a:ln>
              </p:spPr>
              <p:txBody>
                <a:bodyPr rtlCol="0" anchor="ctr"/>
                <a:lstStyle/>
                <a:p>
                  <a:endParaRPr lang="en-GB"/>
                </a:p>
              </p:txBody>
            </p:sp>
          </p:grpSp>
          <p:grpSp>
            <p:nvGrpSpPr>
              <p:cNvPr id="649" name="Graphic 3">
                <a:extLst>
                  <a:ext uri="{FF2B5EF4-FFF2-40B4-BE49-F238E27FC236}">
                    <a16:creationId xmlns:a16="http://schemas.microsoft.com/office/drawing/2014/main" id="{5CE31022-1B9F-47A6-839F-EE02DE090F7C}"/>
                  </a:ext>
                </a:extLst>
              </p:cNvPr>
              <p:cNvGrpSpPr/>
              <p:nvPr/>
            </p:nvGrpSpPr>
            <p:grpSpPr>
              <a:xfrm>
                <a:off x="5543499" y="1447088"/>
                <a:ext cx="97947" cy="329154"/>
                <a:chOff x="5543499" y="1447088"/>
                <a:chExt cx="97947" cy="329154"/>
              </a:xfrm>
              <a:grpFill/>
            </p:grpSpPr>
            <p:sp>
              <p:nvSpPr>
                <p:cNvPr id="3442" name="Vrije vorm: vorm 3441">
                  <a:extLst>
                    <a:ext uri="{FF2B5EF4-FFF2-40B4-BE49-F238E27FC236}">
                      <a16:creationId xmlns:a16="http://schemas.microsoft.com/office/drawing/2014/main" id="{E1381848-7BB3-46EB-8E74-6C15FAFDDE97}"/>
                    </a:ext>
                  </a:extLst>
                </p:cNvPr>
                <p:cNvSpPr/>
                <p:nvPr/>
              </p:nvSpPr>
              <p:spPr>
                <a:xfrm>
                  <a:off x="5551105" y="1455397"/>
                  <a:ext cx="82833" cy="312391"/>
                </a:xfrm>
                <a:custGeom>
                  <a:avLst/>
                  <a:gdLst>
                    <a:gd name="connsiteX0" fmla="*/ 0 w 82833"/>
                    <a:gd name="connsiteY0" fmla="*/ 757 h 312391"/>
                    <a:gd name="connsiteX1" fmla="*/ 2955 w 82833"/>
                    <a:gd name="connsiteY1" fmla="*/ 0 h 312391"/>
                    <a:gd name="connsiteX2" fmla="*/ 82834 w 82833"/>
                    <a:gd name="connsiteY2" fmla="*/ 311634 h 312391"/>
                    <a:gd name="connsiteX3" fmla="*/ 79879 w 82833"/>
                    <a:gd name="connsiteY3" fmla="*/ 312391 h 312391"/>
                  </a:gdLst>
                  <a:ahLst/>
                  <a:cxnLst>
                    <a:cxn ang="0">
                      <a:pos x="connsiteX0" y="connsiteY0"/>
                    </a:cxn>
                    <a:cxn ang="0">
                      <a:pos x="connsiteX1" y="connsiteY1"/>
                    </a:cxn>
                    <a:cxn ang="0">
                      <a:pos x="connsiteX2" y="connsiteY2"/>
                    </a:cxn>
                    <a:cxn ang="0">
                      <a:pos x="connsiteX3" y="connsiteY3"/>
                    </a:cxn>
                  </a:cxnLst>
                  <a:rect l="l" t="t" r="r" b="b"/>
                  <a:pathLst>
                    <a:path w="82833" h="312391">
                      <a:moveTo>
                        <a:pt x="0" y="757"/>
                      </a:moveTo>
                      <a:lnTo>
                        <a:pt x="2955" y="0"/>
                      </a:lnTo>
                      <a:lnTo>
                        <a:pt x="82834" y="311634"/>
                      </a:lnTo>
                      <a:lnTo>
                        <a:pt x="79879" y="312391"/>
                      </a:lnTo>
                      <a:close/>
                    </a:path>
                  </a:pathLst>
                </a:custGeom>
                <a:grpFill/>
                <a:ln w="5978" cap="flat">
                  <a:noFill/>
                  <a:prstDash val="solid"/>
                  <a:miter/>
                </a:ln>
              </p:spPr>
              <p:txBody>
                <a:bodyPr rtlCol="0" anchor="ctr"/>
                <a:lstStyle/>
                <a:p>
                  <a:endParaRPr lang="en-GB"/>
                </a:p>
              </p:txBody>
            </p:sp>
            <p:sp>
              <p:nvSpPr>
                <p:cNvPr id="3443" name="Vrije vorm: vorm 3442">
                  <a:extLst>
                    <a:ext uri="{FF2B5EF4-FFF2-40B4-BE49-F238E27FC236}">
                      <a16:creationId xmlns:a16="http://schemas.microsoft.com/office/drawing/2014/main" id="{B54A2E5C-DBC7-4534-817A-9D6ACA1D1BC9}"/>
                    </a:ext>
                  </a:extLst>
                </p:cNvPr>
                <p:cNvSpPr/>
                <p:nvPr/>
              </p:nvSpPr>
              <p:spPr>
                <a:xfrm>
                  <a:off x="5543499" y="1447088"/>
                  <a:ext cx="18343" cy="18395"/>
                </a:xfrm>
                <a:custGeom>
                  <a:avLst/>
                  <a:gdLst>
                    <a:gd name="connsiteX0" fmla="*/ 290 w 18343"/>
                    <a:gd name="connsiteY0" fmla="*/ 11471 h 18395"/>
                    <a:gd name="connsiteX1" fmla="*/ 6869 w 18343"/>
                    <a:gd name="connsiteY1" fmla="*/ 287 h 18395"/>
                    <a:gd name="connsiteX2" fmla="*/ 18053 w 18343"/>
                    <a:gd name="connsiteY2" fmla="*/ 6925 h 18395"/>
                    <a:gd name="connsiteX3" fmla="*/ 11474 w 18343"/>
                    <a:gd name="connsiteY3" fmla="*/ 18109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965" y="6566"/>
                        <a:pt x="1965" y="1543"/>
                        <a:pt x="6869" y="287"/>
                      </a:cubicBezTo>
                      <a:cubicBezTo>
                        <a:pt x="11773" y="-969"/>
                        <a:pt x="16797" y="2021"/>
                        <a:pt x="18053" y="6925"/>
                      </a:cubicBezTo>
                      <a:cubicBezTo>
                        <a:pt x="19309" y="11829"/>
                        <a:pt x="16379" y="16853"/>
                        <a:pt x="11474" y="18109"/>
                      </a:cubicBezTo>
                      <a:cubicBezTo>
                        <a:pt x="6570" y="19365"/>
                        <a:pt x="1547" y="16375"/>
                        <a:pt x="290" y="11471"/>
                      </a:cubicBezTo>
                      <a:close/>
                    </a:path>
                  </a:pathLst>
                </a:custGeom>
                <a:grpFill/>
                <a:ln w="5978" cap="flat">
                  <a:noFill/>
                  <a:prstDash val="solid"/>
                  <a:miter/>
                </a:ln>
              </p:spPr>
              <p:txBody>
                <a:bodyPr rtlCol="0" anchor="ctr"/>
                <a:lstStyle/>
                <a:p>
                  <a:endParaRPr lang="en-GB"/>
                </a:p>
              </p:txBody>
            </p:sp>
            <p:sp>
              <p:nvSpPr>
                <p:cNvPr id="3444" name="Vrije vorm: vorm 3443">
                  <a:extLst>
                    <a:ext uri="{FF2B5EF4-FFF2-40B4-BE49-F238E27FC236}">
                      <a16:creationId xmlns:a16="http://schemas.microsoft.com/office/drawing/2014/main" id="{039A0AD1-88F0-45DB-AC0A-7317D57D5ABC}"/>
                    </a:ext>
                  </a:extLst>
                </p:cNvPr>
                <p:cNvSpPr/>
                <p:nvPr/>
              </p:nvSpPr>
              <p:spPr>
                <a:xfrm>
                  <a:off x="5623103" y="1757846"/>
                  <a:ext cx="18343" cy="18395"/>
                </a:xfrm>
                <a:custGeom>
                  <a:avLst/>
                  <a:gdLst>
                    <a:gd name="connsiteX0" fmla="*/ 290 w 18343"/>
                    <a:gd name="connsiteY0" fmla="*/ 11471 h 18395"/>
                    <a:gd name="connsiteX1" fmla="*/ 11474 w 18343"/>
                    <a:gd name="connsiteY1" fmla="*/ 18109 h 18395"/>
                    <a:gd name="connsiteX2" fmla="*/ 18053 w 18343"/>
                    <a:gd name="connsiteY2" fmla="*/ 6925 h 18395"/>
                    <a:gd name="connsiteX3" fmla="*/ 6869 w 18343"/>
                    <a:gd name="connsiteY3" fmla="*/ 287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1547" y="16375"/>
                        <a:pt x="6570" y="19365"/>
                        <a:pt x="11474" y="18109"/>
                      </a:cubicBezTo>
                      <a:cubicBezTo>
                        <a:pt x="16379" y="16853"/>
                        <a:pt x="19309" y="11829"/>
                        <a:pt x="18053" y="6925"/>
                      </a:cubicBezTo>
                      <a:cubicBezTo>
                        <a:pt x="16797" y="2021"/>
                        <a:pt x="11773" y="-969"/>
                        <a:pt x="6869" y="287"/>
                      </a:cubicBezTo>
                      <a:cubicBezTo>
                        <a:pt x="1965" y="1543"/>
                        <a:pt x="-965" y="6566"/>
                        <a:pt x="290" y="11471"/>
                      </a:cubicBezTo>
                      <a:close/>
                    </a:path>
                  </a:pathLst>
                </a:custGeom>
                <a:grpFill/>
                <a:ln w="5978" cap="flat">
                  <a:noFill/>
                  <a:prstDash val="solid"/>
                  <a:miter/>
                </a:ln>
              </p:spPr>
              <p:txBody>
                <a:bodyPr rtlCol="0" anchor="ctr"/>
                <a:lstStyle/>
                <a:p>
                  <a:endParaRPr lang="en-GB"/>
                </a:p>
              </p:txBody>
            </p:sp>
          </p:grpSp>
          <p:grpSp>
            <p:nvGrpSpPr>
              <p:cNvPr id="650" name="Graphic 3">
                <a:extLst>
                  <a:ext uri="{FF2B5EF4-FFF2-40B4-BE49-F238E27FC236}">
                    <a16:creationId xmlns:a16="http://schemas.microsoft.com/office/drawing/2014/main" id="{6B424FBB-201E-4EA8-9A17-B563D96E4063}"/>
                  </a:ext>
                </a:extLst>
              </p:cNvPr>
              <p:cNvGrpSpPr/>
              <p:nvPr/>
            </p:nvGrpSpPr>
            <p:grpSpPr>
              <a:xfrm>
                <a:off x="6799532" y="5242113"/>
                <a:ext cx="66506" cy="135753"/>
                <a:chOff x="6799532" y="5242113"/>
                <a:chExt cx="66506" cy="135753"/>
              </a:xfrm>
              <a:grpFill/>
            </p:grpSpPr>
            <p:sp>
              <p:nvSpPr>
                <p:cNvPr id="3439" name="Vrije vorm: vorm 3438">
                  <a:extLst>
                    <a:ext uri="{FF2B5EF4-FFF2-40B4-BE49-F238E27FC236}">
                      <a16:creationId xmlns:a16="http://schemas.microsoft.com/office/drawing/2014/main" id="{FCB1AB64-673A-400C-B524-2614B975665C}"/>
                    </a:ext>
                  </a:extLst>
                </p:cNvPr>
                <p:cNvSpPr/>
                <p:nvPr/>
              </p:nvSpPr>
              <p:spPr>
                <a:xfrm>
                  <a:off x="6806995" y="5249917"/>
                  <a:ext cx="51375" cy="119381"/>
                </a:xfrm>
                <a:custGeom>
                  <a:avLst/>
                  <a:gdLst>
                    <a:gd name="connsiteX0" fmla="*/ 0 w 51375"/>
                    <a:gd name="connsiteY0" fmla="*/ 1159 h 119381"/>
                    <a:gd name="connsiteX1" fmla="*/ 2822 w 51375"/>
                    <a:gd name="connsiteY1" fmla="*/ 0 h 119381"/>
                    <a:gd name="connsiteX2" fmla="*/ 51376 w 51375"/>
                    <a:gd name="connsiteY2" fmla="*/ 118222 h 119381"/>
                    <a:gd name="connsiteX3" fmla="*/ 48554 w 51375"/>
                    <a:gd name="connsiteY3" fmla="*/ 119381 h 119381"/>
                  </a:gdLst>
                  <a:ahLst/>
                  <a:cxnLst>
                    <a:cxn ang="0">
                      <a:pos x="connsiteX0" y="connsiteY0"/>
                    </a:cxn>
                    <a:cxn ang="0">
                      <a:pos x="connsiteX1" y="connsiteY1"/>
                    </a:cxn>
                    <a:cxn ang="0">
                      <a:pos x="connsiteX2" y="connsiteY2"/>
                    </a:cxn>
                    <a:cxn ang="0">
                      <a:pos x="connsiteX3" y="connsiteY3"/>
                    </a:cxn>
                  </a:cxnLst>
                  <a:rect l="l" t="t" r="r" b="b"/>
                  <a:pathLst>
                    <a:path w="51375" h="119381">
                      <a:moveTo>
                        <a:pt x="0" y="1159"/>
                      </a:moveTo>
                      <a:lnTo>
                        <a:pt x="2822" y="0"/>
                      </a:lnTo>
                      <a:lnTo>
                        <a:pt x="51376" y="118222"/>
                      </a:lnTo>
                      <a:lnTo>
                        <a:pt x="48554" y="119381"/>
                      </a:lnTo>
                      <a:close/>
                    </a:path>
                  </a:pathLst>
                </a:custGeom>
                <a:grpFill/>
                <a:ln w="5978" cap="flat">
                  <a:noFill/>
                  <a:prstDash val="solid"/>
                  <a:miter/>
                </a:ln>
              </p:spPr>
              <p:txBody>
                <a:bodyPr rtlCol="0" anchor="ctr"/>
                <a:lstStyle/>
                <a:p>
                  <a:endParaRPr lang="en-GB"/>
                </a:p>
              </p:txBody>
            </p:sp>
            <p:sp>
              <p:nvSpPr>
                <p:cNvPr id="3440" name="Vrije vorm: vorm 3439">
                  <a:extLst>
                    <a:ext uri="{FF2B5EF4-FFF2-40B4-BE49-F238E27FC236}">
                      <a16:creationId xmlns:a16="http://schemas.microsoft.com/office/drawing/2014/main" id="{FC932841-871B-493C-9218-274FADCB769B}"/>
                    </a:ext>
                  </a:extLst>
                </p:cNvPr>
                <p:cNvSpPr/>
                <p:nvPr/>
              </p:nvSpPr>
              <p:spPr>
                <a:xfrm>
                  <a:off x="6847737" y="5359463"/>
                  <a:ext cx="18301" cy="18403"/>
                </a:xfrm>
                <a:custGeom>
                  <a:avLst/>
                  <a:gdLst>
                    <a:gd name="connsiteX0" fmla="*/ 17613 w 18301"/>
                    <a:gd name="connsiteY0" fmla="*/ 5703 h 18403"/>
                    <a:gd name="connsiteX1" fmla="*/ 12649 w 18301"/>
                    <a:gd name="connsiteY1" fmla="*/ 17724 h 18403"/>
                    <a:gd name="connsiteX2" fmla="*/ 688 w 18301"/>
                    <a:gd name="connsiteY2" fmla="*/ 12700 h 18403"/>
                    <a:gd name="connsiteX3" fmla="*/ 5652 w 18301"/>
                    <a:gd name="connsiteY3" fmla="*/ 679 h 18403"/>
                    <a:gd name="connsiteX4" fmla="*/ 17613 w 18301"/>
                    <a:gd name="connsiteY4" fmla="*/ 57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03">
                      <a:moveTo>
                        <a:pt x="17613" y="5703"/>
                      </a:moveTo>
                      <a:cubicBezTo>
                        <a:pt x="19527" y="10428"/>
                        <a:pt x="17315" y="15810"/>
                        <a:pt x="12649" y="17724"/>
                      </a:cubicBezTo>
                      <a:cubicBezTo>
                        <a:pt x="7984" y="19638"/>
                        <a:pt x="2602" y="17365"/>
                        <a:pt x="688" y="12700"/>
                      </a:cubicBezTo>
                      <a:cubicBezTo>
                        <a:pt x="-1225" y="7976"/>
                        <a:pt x="987" y="2593"/>
                        <a:pt x="5652" y="679"/>
                      </a:cubicBezTo>
                      <a:cubicBezTo>
                        <a:pt x="10317" y="-1235"/>
                        <a:pt x="15700" y="1038"/>
                        <a:pt x="17613" y="5703"/>
                      </a:cubicBezTo>
                      <a:close/>
                    </a:path>
                  </a:pathLst>
                </a:custGeom>
                <a:grpFill/>
                <a:ln w="5978" cap="flat">
                  <a:noFill/>
                  <a:prstDash val="solid"/>
                  <a:miter/>
                </a:ln>
              </p:spPr>
              <p:txBody>
                <a:bodyPr rtlCol="0" anchor="ctr"/>
                <a:lstStyle/>
                <a:p>
                  <a:endParaRPr lang="en-GB"/>
                </a:p>
              </p:txBody>
            </p:sp>
            <p:sp>
              <p:nvSpPr>
                <p:cNvPr id="3441" name="Vrije vorm: vorm 3440">
                  <a:extLst>
                    <a:ext uri="{FF2B5EF4-FFF2-40B4-BE49-F238E27FC236}">
                      <a16:creationId xmlns:a16="http://schemas.microsoft.com/office/drawing/2014/main" id="{D5054C72-D84C-4FAD-A1CC-38419A214FDE}"/>
                    </a:ext>
                  </a:extLst>
                </p:cNvPr>
                <p:cNvSpPr/>
                <p:nvPr/>
              </p:nvSpPr>
              <p:spPr>
                <a:xfrm>
                  <a:off x="6799532" y="5242113"/>
                  <a:ext cx="18301" cy="18419"/>
                </a:xfrm>
                <a:custGeom>
                  <a:avLst/>
                  <a:gdLst>
                    <a:gd name="connsiteX0" fmla="*/ 17614 w 18301"/>
                    <a:gd name="connsiteY0" fmla="*/ 5711 h 18419"/>
                    <a:gd name="connsiteX1" fmla="*/ 5652 w 18301"/>
                    <a:gd name="connsiteY1" fmla="*/ 687 h 18419"/>
                    <a:gd name="connsiteX2" fmla="*/ 688 w 18301"/>
                    <a:gd name="connsiteY2" fmla="*/ 12708 h 18419"/>
                    <a:gd name="connsiteX3" fmla="*/ 12650 w 18301"/>
                    <a:gd name="connsiteY3" fmla="*/ 17732 h 18419"/>
                    <a:gd name="connsiteX4" fmla="*/ 17614 w 18301"/>
                    <a:gd name="connsiteY4" fmla="*/ 571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19">
                      <a:moveTo>
                        <a:pt x="17614" y="5711"/>
                      </a:moveTo>
                      <a:cubicBezTo>
                        <a:pt x="15700" y="986"/>
                        <a:pt x="10317" y="-1226"/>
                        <a:pt x="5652" y="687"/>
                      </a:cubicBezTo>
                      <a:cubicBezTo>
                        <a:pt x="987" y="2601"/>
                        <a:pt x="-1226" y="7984"/>
                        <a:pt x="688" y="12708"/>
                      </a:cubicBezTo>
                      <a:cubicBezTo>
                        <a:pt x="2602" y="17433"/>
                        <a:pt x="7985" y="19646"/>
                        <a:pt x="12650" y="17732"/>
                      </a:cubicBezTo>
                      <a:cubicBezTo>
                        <a:pt x="17314" y="15759"/>
                        <a:pt x="19527" y="10376"/>
                        <a:pt x="17614" y="5711"/>
                      </a:cubicBezTo>
                      <a:close/>
                    </a:path>
                  </a:pathLst>
                </a:custGeom>
                <a:grpFill/>
                <a:ln w="5978" cap="flat">
                  <a:noFill/>
                  <a:prstDash val="solid"/>
                  <a:miter/>
                </a:ln>
              </p:spPr>
              <p:txBody>
                <a:bodyPr rtlCol="0" anchor="ctr"/>
                <a:lstStyle/>
                <a:p>
                  <a:endParaRPr lang="en-GB"/>
                </a:p>
              </p:txBody>
            </p:sp>
          </p:grpSp>
          <p:grpSp>
            <p:nvGrpSpPr>
              <p:cNvPr id="651" name="Graphic 3">
                <a:extLst>
                  <a:ext uri="{FF2B5EF4-FFF2-40B4-BE49-F238E27FC236}">
                    <a16:creationId xmlns:a16="http://schemas.microsoft.com/office/drawing/2014/main" id="{84DC8059-0BE1-4B0E-9D74-C856F620443C}"/>
                  </a:ext>
                </a:extLst>
              </p:cNvPr>
              <p:cNvGrpSpPr/>
              <p:nvPr/>
            </p:nvGrpSpPr>
            <p:grpSpPr>
              <a:xfrm>
                <a:off x="5489260" y="1391555"/>
                <a:ext cx="55690" cy="153565"/>
                <a:chOff x="5489260" y="1391555"/>
                <a:chExt cx="55690" cy="153565"/>
              </a:xfrm>
              <a:grpFill/>
            </p:grpSpPr>
            <p:sp>
              <p:nvSpPr>
                <p:cNvPr id="3436" name="Vrije vorm: vorm 3435">
                  <a:extLst>
                    <a:ext uri="{FF2B5EF4-FFF2-40B4-BE49-F238E27FC236}">
                      <a16:creationId xmlns:a16="http://schemas.microsoft.com/office/drawing/2014/main" id="{76F25B51-5C47-420C-B877-7BEF85AFF048}"/>
                    </a:ext>
                  </a:extLst>
                </p:cNvPr>
                <p:cNvSpPr/>
                <p:nvPr/>
              </p:nvSpPr>
              <p:spPr>
                <a:xfrm>
                  <a:off x="5496710" y="1399629"/>
                  <a:ext cx="40512" cy="136861"/>
                </a:xfrm>
                <a:custGeom>
                  <a:avLst/>
                  <a:gdLst>
                    <a:gd name="connsiteX0" fmla="*/ 0 w 40512"/>
                    <a:gd name="connsiteY0" fmla="*/ 812 h 136861"/>
                    <a:gd name="connsiteX1" fmla="*/ 2940 w 40512"/>
                    <a:gd name="connsiteY1" fmla="*/ 0 h 136861"/>
                    <a:gd name="connsiteX2" fmla="*/ 40513 w 40512"/>
                    <a:gd name="connsiteY2" fmla="*/ 136050 h 136861"/>
                    <a:gd name="connsiteX3" fmla="*/ 37573 w 40512"/>
                    <a:gd name="connsiteY3" fmla="*/ 136862 h 136861"/>
                  </a:gdLst>
                  <a:ahLst/>
                  <a:cxnLst>
                    <a:cxn ang="0">
                      <a:pos x="connsiteX0" y="connsiteY0"/>
                    </a:cxn>
                    <a:cxn ang="0">
                      <a:pos x="connsiteX1" y="connsiteY1"/>
                    </a:cxn>
                    <a:cxn ang="0">
                      <a:pos x="connsiteX2" y="connsiteY2"/>
                    </a:cxn>
                    <a:cxn ang="0">
                      <a:pos x="connsiteX3" y="connsiteY3"/>
                    </a:cxn>
                  </a:cxnLst>
                  <a:rect l="l" t="t" r="r" b="b"/>
                  <a:pathLst>
                    <a:path w="40512" h="136861">
                      <a:moveTo>
                        <a:pt x="0" y="812"/>
                      </a:moveTo>
                      <a:lnTo>
                        <a:pt x="2940" y="0"/>
                      </a:lnTo>
                      <a:lnTo>
                        <a:pt x="40513" y="136050"/>
                      </a:lnTo>
                      <a:lnTo>
                        <a:pt x="37573" y="136862"/>
                      </a:lnTo>
                      <a:close/>
                    </a:path>
                  </a:pathLst>
                </a:custGeom>
                <a:grpFill/>
                <a:ln w="5978" cap="flat">
                  <a:noFill/>
                  <a:prstDash val="solid"/>
                  <a:miter/>
                </a:ln>
              </p:spPr>
              <p:txBody>
                <a:bodyPr rtlCol="0" anchor="ctr"/>
                <a:lstStyle/>
                <a:p>
                  <a:endParaRPr lang="en-GB"/>
                </a:p>
              </p:txBody>
            </p:sp>
            <p:sp>
              <p:nvSpPr>
                <p:cNvPr id="3437" name="Vrije vorm: vorm 3436">
                  <a:extLst>
                    <a:ext uri="{FF2B5EF4-FFF2-40B4-BE49-F238E27FC236}">
                      <a16:creationId xmlns:a16="http://schemas.microsoft.com/office/drawing/2014/main" id="{F82E7C6C-938C-4D80-BDD9-5B5C949EE8B6}"/>
                    </a:ext>
                  </a:extLst>
                </p:cNvPr>
                <p:cNvSpPr/>
                <p:nvPr/>
              </p:nvSpPr>
              <p:spPr>
                <a:xfrm>
                  <a:off x="5489260" y="1391555"/>
                  <a:ext cx="18391" cy="18400"/>
                </a:xfrm>
                <a:custGeom>
                  <a:avLst/>
                  <a:gdLst>
                    <a:gd name="connsiteX0" fmla="*/ 344 w 18391"/>
                    <a:gd name="connsiteY0" fmla="*/ 11623 h 18400"/>
                    <a:gd name="connsiteX1" fmla="*/ 6744 w 18391"/>
                    <a:gd name="connsiteY1" fmla="*/ 319 h 18400"/>
                    <a:gd name="connsiteX2" fmla="*/ 18047 w 18391"/>
                    <a:gd name="connsiteY2" fmla="*/ 6778 h 18400"/>
                    <a:gd name="connsiteX3" fmla="*/ 11648 w 18391"/>
                    <a:gd name="connsiteY3" fmla="*/ 18082 h 18400"/>
                    <a:gd name="connsiteX4" fmla="*/ 344 w 18391"/>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00">
                      <a:moveTo>
                        <a:pt x="344" y="11623"/>
                      </a:moveTo>
                      <a:cubicBezTo>
                        <a:pt x="-1031" y="6718"/>
                        <a:pt x="1839" y="1635"/>
                        <a:pt x="6744" y="319"/>
                      </a:cubicBezTo>
                      <a:cubicBezTo>
                        <a:pt x="11648" y="-997"/>
                        <a:pt x="16671" y="1874"/>
                        <a:pt x="18047" y="6778"/>
                      </a:cubicBezTo>
                      <a:cubicBezTo>
                        <a:pt x="19423" y="11682"/>
                        <a:pt x="16552" y="16766"/>
                        <a:pt x="11648" y="18082"/>
                      </a:cubicBezTo>
                      <a:cubicBezTo>
                        <a:pt x="6744" y="19398"/>
                        <a:pt x="1660" y="16527"/>
                        <a:pt x="344" y="11623"/>
                      </a:cubicBezTo>
                      <a:close/>
                    </a:path>
                  </a:pathLst>
                </a:custGeom>
                <a:grpFill/>
                <a:ln w="5978" cap="flat">
                  <a:noFill/>
                  <a:prstDash val="solid"/>
                  <a:miter/>
                </a:ln>
              </p:spPr>
              <p:txBody>
                <a:bodyPr rtlCol="0" anchor="ctr"/>
                <a:lstStyle/>
                <a:p>
                  <a:endParaRPr lang="en-GB"/>
                </a:p>
              </p:txBody>
            </p:sp>
            <p:sp>
              <p:nvSpPr>
                <p:cNvPr id="3438" name="Vrije vorm: vorm 3437">
                  <a:extLst>
                    <a:ext uri="{FF2B5EF4-FFF2-40B4-BE49-F238E27FC236}">
                      <a16:creationId xmlns:a16="http://schemas.microsoft.com/office/drawing/2014/main" id="{B9408B14-8E8A-4D07-B309-8D85330F2232}"/>
                    </a:ext>
                  </a:extLst>
                </p:cNvPr>
                <p:cNvSpPr/>
                <p:nvPr/>
              </p:nvSpPr>
              <p:spPr>
                <a:xfrm>
                  <a:off x="5526580" y="1526719"/>
                  <a:ext cx="18370" cy="18400"/>
                </a:xfrm>
                <a:custGeom>
                  <a:avLst/>
                  <a:gdLst>
                    <a:gd name="connsiteX0" fmla="*/ 344 w 18370"/>
                    <a:gd name="connsiteY0" fmla="*/ 11623 h 18400"/>
                    <a:gd name="connsiteX1" fmla="*/ 11648 w 18370"/>
                    <a:gd name="connsiteY1" fmla="*/ 18082 h 18400"/>
                    <a:gd name="connsiteX2" fmla="*/ 18047 w 18370"/>
                    <a:gd name="connsiteY2" fmla="*/ 6778 h 18400"/>
                    <a:gd name="connsiteX3" fmla="*/ 6744 w 18370"/>
                    <a:gd name="connsiteY3" fmla="*/ 319 h 18400"/>
                    <a:gd name="connsiteX4" fmla="*/ 344 w 18370"/>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00">
                      <a:moveTo>
                        <a:pt x="344" y="11623"/>
                      </a:moveTo>
                      <a:cubicBezTo>
                        <a:pt x="1720" y="16527"/>
                        <a:pt x="6744" y="19398"/>
                        <a:pt x="11648" y="18082"/>
                      </a:cubicBezTo>
                      <a:cubicBezTo>
                        <a:pt x="16552" y="16766"/>
                        <a:pt x="19363" y="11682"/>
                        <a:pt x="18047" y="6778"/>
                      </a:cubicBezTo>
                      <a:cubicBezTo>
                        <a:pt x="16672" y="1874"/>
                        <a:pt x="11648" y="-997"/>
                        <a:pt x="6744" y="319"/>
                      </a:cubicBezTo>
                      <a:cubicBezTo>
                        <a:pt x="1839" y="1635"/>
                        <a:pt x="-1031" y="6718"/>
                        <a:pt x="344" y="11623"/>
                      </a:cubicBezTo>
                      <a:close/>
                    </a:path>
                  </a:pathLst>
                </a:custGeom>
                <a:grpFill/>
                <a:ln w="5978" cap="flat">
                  <a:noFill/>
                  <a:prstDash val="solid"/>
                  <a:miter/>
                </a:ln>
              </p:spPr>
              <p:txBody>
                <a:bodyPr rtlCol="0" anchor="ctr"/>
                <a:lstStyle/>
                <a:p>
                  <a:endParaRPr lang="en-GB"/>
                </a:p>
              </p:txBody>
            </p:sp>
          </p:grpSp>
          <p:grpSp>
            <p:nvGrpSpPr>
              <p:cNvPr id="652" name="Graphic 3">
                <a:extLst>
                  <a:ext uri="{FF2B5EF4-FFF2-40B4-BE49-F238E27FC236}">
                    <a16:creationId xmlns:a16="http://schemas.microsoft.com/office/drawing/2014/main" id="{9FA79B0B-C7D1-46C8-A7D6-787B8E25C80E}"/>
                  </a:ext>
                </a:extLst>
              </p:cNvPr>
              <p:cNvGrpSpPr/>
              <p:nvPr/>
            </p:nvGrpSpPr>
            <p:grpSpPr>
              <a:xfrm>
                <a:off x="5452957" y="1260218"/>
                <a:ext cx="49709" cy="131974"/>
                <a:chOff x="5452957" y="1260218"/>
                <a:chExt cx="49709" cy="131974"/>
              </a:xfrm>
              <a:grpFill/>
            </p:grpSpPr>
            <p:sp>
              <p:nvSpPr>
                <p:cNvPr id="3433" name="Vrije vorm: vorm 3432">
                  <a:extLst>
                    <a:ext uri="{FF2B5EF4-FFF2-40B4-BE49-F238E27FC236}">
                      <a16:creationId xmlns:a16="http://schemas.microsoft.com/office/drawing/2014/main" id="{EEFB1E75-E0A7-41A1-B756-7F0B24B42FFE}"/>
                    </a:ext>
                  </a:extLst>
                </p:cNvPr>
                <p:cNvSpPr/>
                <p:nvPr/>
              </p:nvSpPr>
              <p:spPr>
                <a:xfrm>
                  <a:off x="5460332" y="1268688"/>
                  <a:ext cx="34546" cy="115300"/>
                </a:xfrm>
                <a:custGeom>
                  <a:avLst/>
                  <a:gdLst>
                    <a:gd name="connsiteX0" fmla="*/ 0 w 34546"/>
                    <a:gd name="connsiteY0" fmla="*/ 812 h 115300"/>
                    <a:gd name="connsiteX1" fmla="*/ 2940 w 34546"/>
                    <a:gd name="connsiteY1" fmla="*/ 0 h 115300"/>
                    <a:gd name="connsiteX2" fmla="*/ 34547 w 34546"/>
                    <a:gd name="connsiteY2" fmla="*/ 114489 h 115300"/>
                    <a:gd name="connsiteX3" fmla="*/ 31607 w 34546"/>
                    <a:gd name="connsiteY3" fmla="*/ 115301 h 115300"/>
                  </a:gdLst>
                  <a:ahLst/>
                  <a:cxnLst>
                    <a:cxn ang="0">
                      <a:pos x="connsiteX0" y="connsiteY0"/>
                    </a:cxn>
                    <a:cxn ang="0">
                      <a:pos x="connsiteX1" y="connsiteY1"/>
                    </a:cxn>
                    <a:cxn ang="0">
                      <a:pos x="connsiteX2" y="connsiteY2"/>
                    </a:cxn>
                    <a:cxn ang="0">
                      <a:pos x="connsiteX3" y="connsiteY3"/>
                    </a:cxn>
                  </a:cxnLst>
                  <a:rect l="l" t="t" r="r" b="b"/>
                  <a:pathLst>
                    <a:path w="34546" h="115300">
                      <a:moveTo>
                        <a:pt x="0" y="812"/>
                      </a:moveTo>
                      <a:lnTo>
                        <a:pt x="2940" y="0"/>
                      </a:lnTo>
                      <a:lnTo>
                        <a:pt x="34547" y="114489"/>
                      </a:lnTo>
                      <a:lnTo>
                        <a:pt x="31607" y="115301"/>
                      </a:lnTo>
                      <a:close/>
                    </a:path>
                  </a:pathLst>
                </a:custGeom>
                <a:grpFill/>
                <a:ln w="5978" cap="flat">
                  <a:noFill/>
                  <a:prstDash val="solid"/>
                  <a:miter/>
                </a:ln>
              </p:spPr>
              <p:txBody>
                <a:bodyPr rtlCol="0" anchor="ctr"/>
                <a:lstStyle/>
                <a:p>
                  <a:endParaRPr lang="en-GB"/>
                </a:p>
              </p:txBody>
            </p:sp>
            <p:sp>
              <p:nvSpPr>
                <p:cNvPr id="3434" name="Vrije vorm: vorm 3433">
                  <a:extLst>
                    <a:ext uri="{FF2B5EF4-FFF2-40B4-BE49-F238E27FC236}">
                      <a16:creationId xmlns:a16="http://schemas.microsoft.com/office/drawing/2014/main" id="{D7BBA524-1EE9-4A00-B806-5ACD6458B85F}"/>
                    </a:ext>
                  </a:extLst>
                </p:cNvPr>
                <p:cNvSpPr/>
                <p:nvPr/>
              </p:nvSpPr>
              <p:spPr>
                <a:xfrm>
                  <a:off x="5452957" y="1260218"/>
                  <a:ext cx="18391" cy="18400"/>
                </a:xfrm>
                <a:custGeom>
                  <a:avLst/>
                  <a:gdLst>
                    <a:gd name="connsiteX0" fmla="*/ 344 w 18391"/>
                    <a:gd name="connsiteY0" fmla="*/ 11623 h 18400"/>
                    <a:gd name="connsiteX1" fmla="*/ 6744 w 18391"/>
                    <a:gd name="connsiteY1" fmla="*/ 319 h 18400"/>
                    <a:gd name="connsiteX2" fmla="*/ 18047 w 18391"/>
                    <a:gd name="connsiteY2" fmla="*/ 6778 h 18400"/>
                    <a:gd name="connsiteX3" fmla="*/ 11648 w 18391"/>
                    <a:gd name="connsiteY3" fmla="*/ 18082 h 18400"/>
                    <a:gd name="connsiteX4" fmla="*/ 344 w 18391"/>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00">
                      <a:moveTo>
                        <a:pt x="344" y="11623"/>
                      </a:moveTo>
                      <a:cubicBezTo>
                        <a:pt x="-1031" y="6718"/>
                        <a:pt x="1839" y="1635"/>
                        <a:pt x="6744" y="319"/>
                      </a:cubicBezTo>
                      <a:cubicBezTo>
                        <a:pt x="11648" y="-997"/>
                        <a:pt x="16672" y="1874"/>
                        <a:pt x="18047" y="6778"/>
                      </a:cubicBezTo>
                      <a:cubicBezTo>
                        <a:pt x="19423" y="11682"/>
                        <a:pt x="16552" y="16766"/>
                        <a:pt x="11648" y="18082"/>
                      </a:cubicBezTo>
                      <a:cubicBezTo>
                        <a:pt x="6744" y="19398"/>
                        <a:pt x="1720" y="16527"/>
                        <a:pt x="344" y="11623"/>
                      </a:cubicBezTo>
                      <a:close/>
                    </a:path>
                  </a:pathLst>
                </a:custGeom>
                <a:grpFill/>
                <a:ln w="5978" cap="flat">
                  <a:noFill/>
                  <a:prstDash val="solid"/>
                  <a:miter/>
                </a:ln>
              </p:spPr>
              <p:txBody>
                <a:bodyPr rtlCol="0" anchor="ctr"/>
                <a:lstStyle/>
                <a:p>
                  <a:endParaRPr lang="en-GB"/>
                </a:p>
              </p:txBody>
            </p:sp>
            <p:sp>
              <p:nvSpPr>
                <p:cNvPr id="3435" name="Vrije vorm: vorm 3434">
                  <a:extLst>
                    <a:ext uri="{FF2B5EF4-FFF2-40B4-BE49-F238E27FC236}">
                      <a16:creationId xmlns:a16="http://schemas.microsoft.com/office/drawing/2014/main" id="{B20B7C12-C8BE-440D-8FFD-FC1AB4D428E7}"/>
                    </a:ext>
                  </a:extLst>
                </p:cNvPr>
                <p:cNvSpPr/>
                <p:nvPr/>
              </p:nvSpPr>
              <p:spPr>
                <a:xfrm>
                  <a:off x="5484321" y="1373792"/>
                  <a:ext cx="18345" cy="18400"/>
                </a:xfrm>
                <a:custGeom>
                  <a:avLst/>
                  <a:gdLst>
                    <a:gd name="connsiteX0" fmla="*/ 319 w 18345"/>
                    <a:gd name="connsiteY0" fmla="*/ 11623 h 18400"/>
                    <a:gd name="connsiteX1" fmla="*/ 11623 w 18345"/>
                    <a:gd name="connsiteY1" fmla="*/ 18082 h 18400"/>
                    <a:gd name="connsiteX2" fmla="*/ 18022 w 18345"/>
                    <a:gd name="connsiteY2" fmla="*/ 6778 h 18400"/>
                    <a:gd name="connsiteX3" fmla="*/ 6719 w 18345"/>
                    <a:gd name="connsiteY3" fmla="*/ 319 h 18400"/>
                    <a:gd name="connsiteX4" fmla="*/ 319 w 18345"/>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0">
                      <a:moveTo>
                        <a:pt x="319" y="11623"/>
                      </a:moveTo>
                      <a:cubicBezTo>
                        <a:pt x="1695" y="16527"/>
                        <a:pt x="6719" y="19398"/>
                        <a:pt x="11623" y="18082"/>
                      </a:cubicBezTo>
                      <a:cubicBezTo>
                        <a:pt x="16527" y="16766"/>
                        <a:pt x="19338" y="11682"/>
                        <a:pt x="18022" y="6778"/>
                      </a:cubicBezTo>
                      <a:cubicBezTo>
                        <a:pt x="16647" y="1874"/>
                        <a:pt x="11623" y="-997"/>
                        <a:pt x="6719" y="319"/>
                      </a:cubicBezTo>
                      <a:cubicBezTo>
                        <a:pt x="1874" y="1635"/>
                        <a:pt x="-996" y="6718"/>
                        <a:pt x="319" y="11623"/>
                      </a:cubicBezTo>
                      <a:close/>
                    </a:path>
                  </a:pathLst>
                </a:custGeom>
                <a:grpFill/>
                <a:ln w="5978" cap="flat">
                  <a:noFill/>
                  <a:prstDash val="solid"/>
                  <a:miter/>
                </a:ln>
              </p:spPr>
              <p:txBody>
                <a:bodyPr rtlCol="0" anchor="ctr"/>
                <a:lstStyle/>
                <a:p>
                  <a:endParaRPr lang="en-GB"/>
                </a:p>
              </p:txBody>
            </p:sp>
          </p:grpSp>
          <p:grpSp>
            <p:nvGrpSpPr>
              <p:cNvPr id="653" name="Graphic 3">
                <a:extLst>
                  <a:ext uri="{FF2B5EF4-FFF2-40B4-BE49-F238E27FC236}">
                    <a16:creationId xmlns:a16="http://schemas.microsoft.com/office/drawing/2014/main" id="{8B11DDD3-DDDC-4A9F-90DA-99B5F687C11C}"/>
                  </a:ext>
                </a:extLst>
              </p:cNvPr>
              <p:cNvGrpSpPr/>
              <p:nvPr/>
            </p:nvGrpSpPr>
            <p:grpSpPr>
              <a:xfrm>
                <a:off x="5496673" y="1266589"/>
                <a:ext cx="117797" cy="527773"/>
                <a:chOff x="5496673" y="1266589"/>
                <a:chExt cx="117797" cy="527773"/>
              </a:xfrm>
              <a:grpFill/>
            </p:grpSpPr>
            <p:sp>
              <p:nvSpPr>
                <p:cNvPr id="3430" name="Vrije vorm: vorm 3429">
                  <a:extLst>
                    <a:ext uri="{FF2B5EF4-FFF2-40B4-BE49-F238E27FC236}">
                      <a16:creationId xmlns:a16="http://schemas.microsoft.com/office/drawing/2014/main" id="{96461F77-5946-4BAA-919B-02A272187884}"/>
                    </a:ext>
                  </a:extLst>
                </p:cNvPr>
                <p:cNvSpPr/>
                <p:nvPr/>
              </p:nvSpPr>
              <p:spPr>
                <a:xfrm>
                  <a:off x="5504257" y="1275070"/>
                  <a:ext cx="102629" cy="510873"/>
                </a:xfrm>
                <a:custGeom>
                  <a:avLst/>
                  <a:gdLst>
                    <a:gd name="connsiteX0" fmla="*/ 2990 w 102629"/>
                    <a:gd name="connsiteY0" fmla="*/ 0 h 510873"/>
                    <a:gd name="connsiteX1" fmla="*/ 102629 w 102629"/>
                    <a:gd name="connsiteY1" fmla="*/ 510275 h 510873"/>
                    <a:gd name="connsiteX2" fmla="*/ 99639 w 102629"/>
                    <a:gd name="connsiteY2" fmla="*/ 510873 h 510873"/>
                    <a:gd name="connsiteX3" fmla="*/ 0 w 102629"/>
                    <a:gd name="connsiteY3" fmla="*/ 598 h 510873"/>
                  </a:gdLst>
                  <a:ahLst/>
                  <a:cxnLst>
                    <a:cxn ang="0">
                      <a:pos x="connsiteX0" y="connsiteY0"/>
                    </a:cxn>
                    <a:cxn ang="0">
                      <a:pos x="connsiteX1" y="connsiteY1"/>
                    </a:cxn>
                    <a:cxn ang="0">
                      <a:pos x="connsiteX2" y="connsiteY2"/>
                    </a:cxn>
                    <a:cxn ang="0">
                      <a:pos x="connsiteX3" y="connsiteY3"/>
                    </a:cxn>
                  </a:cxnLst>
                  <a:rect l="l" t="t" r="r" b="b"/>
                  <a:pathLst>
                    <a:path w="102629" h="510873">
                      <a:moveTo>
                        <a:pt x="2990" y="0"/>
                      </a:moveTo>
                      <a:lnTo>
                        <a:pt x="102629" y="510275"/>
                      </a:lnTo>
                      <a:lnTo>
                        <a:pt x="99639" y="510873"/>
                      </a:lnTo>
                      <a:lnTo>
                        <a:pt x="0" y="598"/>
                      </a:lnTo>
                      <a:close/>
                    </a:path>
                  </a:pathLst>
                </a:custGeom>
                <a:grpFill/>
                <a:ln w="5978" cap="flat">
                  <a:noFill/>
                  <a:prstDash val="solid"/>
                  <a:miter/>
                </a:ln>
              </p:spPr>
              <p:txBody>
                <a:bodyPr rtlCol="0" anchor="ctr"/>
                <a:lstStyle/>
                <a:p>
                  <a:endParaRPr lang="en-GB"/>
                </a:p>
              </p:txBody>
            </p:sp>
            <p:sp>
              <p:nvSpPr>
                <p:cNvPr id="3431" name="Vrije vorm: vorm 3430">
                  <a:extLst>
                    <a:ext uri="{FF2B5EF4-FFF2-40B4-BE49-F238E27FC236}">
                      <a16:creationId xmlns:a16="http://schemas.microsoft.com/office/drawing/2014/main" id="{3C122F0F-D9D1-4C58-A65F-102675D6510E}"/>
                    </a:ext>
                  </a:extLst>
                </p:cNvPr>
                <p:cNvSpPr/>
                <p:nvPr/>
              </p:nvSpPr>
              <p:spPr>
                <a:xfrm>
                  <a:off x="5596133" y="1775967"/>
                  <a:ext cx="18337" cy="18395"/>
                </a:xfrm>
                <a:custGeom>
                  <a:avLst/>
                  <a:gdLst>
                    <a:gd name="connsiteX0" fmla="*/ 18170 w 18337"/>
                    <a:gd name="connsiteY0" fmla="*/ 7464 h 18395"/>
                    <a:gd name="connsiteX1" fmla="*/ 10933 w 18337"/>
                    <a:gd name="connsiteY1" fmla="*/ 18230 h 18395"/>
                    <a:gd name="connsiteX2" fmla="*/ 168 w 18337"/>
                    <a:gd name="connsiteY2" fmla="*/ 10933 h 18395"/>
                    <a:gd name="connsiteX3" fmla="*/ 7404 w 18337"/>
                    <a:gd name="connsiteY3" fmla="*/ 168 h 18395"/>
                    <a:gd name="connsiteX4" fmla="*/ 18170 w 18337"/>
                    <a:gd name="connsiteY4" fmla="*/ 7464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395">
                      <a:moveTo>
                        <a:pt x="18170" y="7464"/>
                      </a:moveTo>
                      <a:cubicBezTo>
                        <a:pt x="19127" y="12488"/>
                        <a:pt x="15897" y="17273"/>
                        <a:pt x="10933" y="18230"/>
                      </a:cubicBezTo>
                      <a:cubicBezTo>
                        <a:pt x="5969" y="19186"/>
                        <a:pt x="1125" y="15897"/>
                        <a:pt x="168" y="10933"/>
                      </a:cubicBezTo>
                      <a:cubicBezTo>
                        <a:pt x="-789" y="5909"/>
                        <a:pt x="2441" y="1125"/>
                        <a:pt x="7404" y="168"/>
                      </a:cubicBezTo>
                      <a:cubicBezTo>
                        <a:pt x="12368" y="-789"/>
                        <a:pt x="17153" y="2441"/>
                        <a:pt x="18170" y="7464"/>
                      </a:cubicBezTo>
                      <a:close/>
                    </a:path>
                  </a:pathLst>
                </a:custGeom>
                <a:grpFill/>
                <a:ln w="5978" cap="flat">
                  <a:noFill/>
                  <a:prstDash val="solid"/>
                  <a:miter/>
                </a:ln>
              </p:spPr>
              <p:txBody>
                <a:bodyPr rtlCol="0" anchor="ctr"/>
                <a:lstStyle/>
                <a:p>
                  <a:endParaRPr lang="en-GB"/>
                </a:p>
              </p:txBody>
            </p:sp>
            <p:sp>
              <p:nvSpPr>
                <p:cNvPr id="3432" name="Vrije vorm: vorm 3431">
                  <a:extLst>
                    <a:ext uri="{FF2B5EF4-FFF2-40B4-BE49-F238E27FC236}">
                      <a16:creationId xmlns:a16="http://schemas.microsoft.com/office/drawing/2014/main" id="{DDABB2A8-91CC-4535-857C-09AADF3A838C}"/>
                    </a:ext>
                  </a:extLst>
                </p:cNvPr>
                <p:cNvSpPr/>
                <p:nvPr/>
              </p:nvSpPr>
              <p:spPr>
                <a:xfrm>
                  <a:off x="5496673" y="1266589"/>
                  <a:ext cx="18337" cy="18397"/>
                </a:xfrm>
                <a:custGeom>
                  <a:avLst/>
                  <a:gdLst>
                    <a:gd name="connsiteX0" fmla="*/ 18170 w 18337"/>
                    <a:gd name="connsiteY0" fmla="*/ 7464 h 18397"/>
                    <a:gd name="connsiteX1" fmla="*/ 7404 w 18337"/>
                    <a:gd name="connsiteY1" fmla="*/ 168 h 18397"/>
                    <a:gd name="connsiteX2" fmla="*/ 168 w 18337"/>
                    <a:gd name="connsiteY2" fmla="*/ 10933 h 18397"/>
                    <a:gd name="connsiteX3" fmla="*/ 10933 w 18337"/>
                    <a:gd name="connsiteY3" fmla="*/ 18230 h 18397"/>
                    <a:gd name="connsiteX4" fmla="*/ 18170 w 18337"/>
                    <a:gd name="connsiteY4" fmla="*/ 7464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397">
                      <a:moveTo>
                        <a:pt x="18170" y="7464"/>
                      </a:moveTo>
                      <a:cubicBezTo>
                        <a:pt x="17213" y="2440"/>
                        <a:pt x="12368" y="-789"/>
                        <a:pt x="7404" y="168"/>
                      </a:cubicBezTo>
                      <a:cubicBezTo>
                        <a:pt x="2441" y="1125"/>
                        <a:pt x="-789" y="5969"/>
                        <a:pt x="168" y="10933"/>
                      </a:cubicBezTo>
                      <a:cubicBezTo>
                        <a:pt x="1125" y="15957"/>
                        <a:pt x="5969" y="19186"/>
                        <a:pt x="10933" y="18230"/>
                      </a:cubicBezTo>
                      <a:cubicBezTo>
                        <a:pt x="15897" y="17332"/>
                        <a:pt x="19127" y="12488"/>
                        <a:pt x="18170" y="7464"/>
                      </a:cubicBezTo>
                      <a:close/>
                    </a:path>
                  </a:pathLst>
                </a:custGeom>
                <a:grpFill/>
                <a:ln w="5978" cap="flat">
                  <a:noFill/>
                  <a:prstDash val="solid"/>
                  <a:miter/>
                </a:ln>
              </p:spPr>
              <p:txBody>
                <a:bodyPr rtlCol="0" anchor="ctr"/>
                <a:lstStyle/>
                <a:p>
                  <a:endParaRPr lang="en-GB"/>
                </a:p>
              </p:txBody>
            </p:sp>
          </p:grpSp>
          <p:grpSp>
            <p:nvGrpSpPr>
              <p:cNvPr id="654" name="Graphic 3">
                <a:extLst>
                  <a:ext uri="{FF2B5EF4-FFF2-40B4-BE49-F238E27FC236}">
                    <a16:creationId xmlns:a16="http://schemas.microsoft.com/office/drawing/2014/main" id="{E14516BF-B2CF-4444-8DDB-05FC9BA7CAB3}"/>
                  </a:ext>
                </a:extLst>
              </p:cNvPr>
              <p:cNvGrpSpPr/>
              <p:nvPr/>
            </p:nvGrpSpPr>
            <p:grpSpPr>
              <a:xfrm>
                <a:off x="6742177" y="5102583"/>
                <a:ext cx="68599" cy="140896"/>
                <a:chOff x="6742177" y="5102583"/>
                <a:chExt cx="68599" cy="140896"/>
              </a:xfrm>
              <a:grpFill/>
            </p:grpSpPr>
            <p:sp>
              <p:nvSpPr>
                <p:cNvPr id="3427" name="Vrije vorm: vorm 3426">
                  <a:extLst>
                    <a:ext uri="{FF2B5EF4-FFF2-40B4-BE49-F238E27FC236}">
                      <a16:creationId xmlns:a16="http://schemas.microsoft.com/office/drawing/2014/main" id="{08B4528C-3F63-433A-9244-F5FE371FD494}"/>
                    </a:ext>
                  </a:extLst>
                </p:cNvPr>
                <p:cNvSpPr/>
                <p:nvPr/>
              </p:nvSpPr>
              <p:spPr>
                <a:xfrm>
                  <a:off x="6749790" y="5110424"/>
                  <a:ext cx="53505" cy="124458"/>
                </a:xfrm>
                <a:custGeom>
                  <a:avLst/>
                  <a:gdLst>
                    <a:gd name="connsiteX0" fmla="*/ 0 w 53505"/>
                    <a:gd name="connsiteY0" fmla="*/ 1160 h 124458"/>
                    <a:gd name="connsiteX1" fmla="*/ 2821 w 53505"/>
                    <a:gd name="connsiteY1" fmla="*/ 0 h 124458"/>
                    <a:gd name="connsiteX2" fmla="*/ 53506 w 53505"/>
                    <a:gd name="connsiteY2" fmla="*/ 123299 h 124458"/>
                    <a:gd name="connsiteX3" fmla="*/ 50684 w 53505"/>
                    <a:gd name="connsiteY3" fmla="*/ 124458 h 124458"/>
                  </a:gdLst>
                  <a:ahLst/>
                  <a:cxnLst>
                    <a:cxn ang="0">
                      <a:pos x="connsiteX0" y="connsiteY0"/>
                    </a:cxn>
                    <a:cxn ang="0">
                      <a:pos x="connsiteX1" y="connsiteY1"/>
                    </a:cxn>
                    <a:cxn ang="0">
                      <a:pos x="connsiteX2" y="connsiteY2"/>
                    </a:cxn>
                    <a:cxn ang="0">
                      <a:pos x="connsiteX3" y="connsiteY3"/>
                    </a:cxn>
                  </a:cxnLst>
                  <a:rect l="l" t="t" r="r" b="b"/>
                  <a:pathLst>
                    <a:path w="53505" h="124458">
                      <a:moveTo>
                        <a:pt x="0" y="1160"/>
                      </a:moveTo>
                      <a:lnTo>
                        <a:pt x="2821" y="0"/>
                      </a:lnTo>
                      <a:lnTo>
                        <a:pt x="53506" y="123299"/>
                      </a:lnTo>
                      <a:lnTo>
                        <a:pt x="50684" y="124458"/>
                      </a:lnTo>
                      <a:close/>
                    </a:path>
                  </a:pathLst>
                </a:custGeom>
                <a:grpFill/>
                <a:ln w="5978" cap="flat">
                  <a:noFill/>
                  <a:prstDash val="solid"/>
                  <a:miter/>
                </a:ln>
              </p:spPr>
              <p:txBody>
                <a:bodyPr rtlCol="0" anchor="ctr"/>
                <a:lstStyle/>
                <a:p>
                  <a:endParaRPr lang="en-GB"/>
                </a:p>
              </p:txBody>
            </p:sp>
            <p:sp>
              <p:nvSpPr>
                <p:cNvPr id="3428" name="Vrije vorm: vorm 3427">
                  <a:extLst>
                    <a:ext uri="{FF2B5EF4-FFF2-40B4-BE49-F238E27FC236}">
                      <a16:creationId xmlns:a16="http://schemas.microsoft.com/office/drawing/2014/main" id="{A476DEC6-2B59-4E2D-B0E5-18BCBD8857A9}"/>
                    </a:ext>
                  </a:extLst>
                </p:cNvPr>
                <p:cNvSpPr/>
                <p:nvPr/>
              </p:nvSpPr>
              <p:spPr>
                <a:xfrm>
                  <a:off x="6792475" y="5225043"/>
                  <a:ext cx="18301" cy="18436"/>
                </a:xfrm>
                <a:custGeom>
                  <a:avLst/>
                  <a:gdLst>
                    <a:gd name="connsiteX0" fmla="*/ 17613 w 18301"/>
                    <a:gd name="connsiteY0" fmla="*/ 5736 h 18436"/>
                    <a:gd name="connsiteX1" fmla="*/ 12650 w 18301"/>
                    <a:gd name="connsiteY1" fmla="*/ 17757 h 18436"/>
                    <a:gd name="connsiteX2" fmla="*/ 688 w 18301"/>
                    <a:gd name="connsiteY2" fmla="*/ 12734 h 18436"/>
                    <a:gd name="connsiteX3" fmla="*/ 5652 w 18301"/>
                    <a:gd name="connsiteY3" fmla="*/ 712 h 18436"/>
                    <a:gd name="connsiteX4" fmla="*/ 17613 w 18301"/>
                    <a:gd name="connsiteY4" fmla="*/ 573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6">
                      <a:moveTo>
                        <a:pt x="17613" y="5736"/>
                      </a:moveTo>
                      <a:cubicBezTo>
                        <a:pt x="19527" y="10461"/>
                        <a:pt x="17314" y="15844"/>
                        <a:pt x="12650" y="17757"/>
                      </a:cubicBezTo>
                      <a:cubicBezTo>
                        <a:pt x="7985" y="19671"/>
                        <a:pt x="2602" y="17398"/>
                        <a:pt x="688" y="12734"/>
                      </a:cubicBezTo>
                      <a:cubicBezTo>
                        <a:pt x="-1226" y="8009"/>
                        <a:pt x="987" y="2626"/>
                        <a:pt x="5652" y="712"/>
                      </a:cubicBezTo>
                      <a:cubicBezTo>
                        <a:pt x="10317" y="-1261"/>
                        <a:pt x="15700" y="1011"/>
                        <a:pt x="17613" y="5736"/>
                      </a:cubicBezTo>
                      <a:close/>
                    </a:path>
                  </a:pathLst>
                </a:custGeom>
                <a:grpFill/>
                <a:ln w="5978" cap="flat">
                  <a:noFill/>
                  <a:prstDash val="solid"/>
                  <a:miter/>
                </a:ln>
              </p:spPr>
              <p:txBody>
                <a:bodyPr rtlCol="0" anchor="ctr"/>
                <a:lstStyle/>
                <a:p>
                  <a:endParaRPr lang="en-GB"/>
                </a:p>
              </p:txBody>
            </p:sp>
            <p:sp>
              <p:nvSpPr>
                <p:cNvPr id="3429" name="Vrije vorm: vorm 3428">
                  <a:extLst>
                    <a:ext uri="{FF2B5EF4-FFF2-40B4-BE49-F238E27FC236}">
                      <a16:creationId xmlns:a16="http://schemas.microsoft.com/office/drawing/2014/main" id="{36673F55-283A-4158-8D33-D69F105B029A}"/>
                    </a:ext>
                  </a:extLst>
                </p:cNvPr>
                <p:cNvSpPr/>
                <p:nvPr/>
              </p:nvSpPr>
              <p:spPr>
                <a:xfrm>
                  <a:off x="6742177" y="5102583"/>
                  <a:ext cx="18327" cy="18419"/>
                </a:xfrm>
                <a:custGeom>
                  <a:avLst/>
                  <a:gdLst>
                    <a:gd name="connsiteX0" fmla="*/ 17614 w 18327"/>
                    <a:gd name="connsiteY0" fmla="*/ 5711 h 18419"/>
                    <a:gd name="connsiteX1" fmla="*/ 5652 w 18327"/>
                    <a:gd name="connsiteY1" fmla="*/ 687 h 18419"/>
                    <a:gd name="connsiteX2" fmla="*/ 688 w 18327"/>
                    <a:gd name="connsiteY2" fmla="*/ 12709 h 18419"/>
                    <a:gd name="connsiteX3" fmla="*/ 12650 w 18327"/>
                    <a:gd name="connsiteY3" fmla="*/ 17732 h 18419"/>
                    <a:gd name="connsiteX4" fmla="*/ 17614 w 18327"/>
                    <a:gd name="connsiteY4" fmla="*/ 571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7614" y="5711"/>
                      </a:moveTo>
                      <a:cubicBezTo>
                        <a:pt x="15700" y="986"/>
                        <a:pt x="10317" y="-1227"/>
                        <a:pt x="5652" y="687"/>
                      </a:cubicBezTo>
                      <a:cubicBezTo>
                        <a:pt x="987" y="2601"/>
                        <a:pt x="-1226" y="7984"/>
                        <a:pt x="688" y="12709"/>
                      </a:cubicBezTo>
                      <a:cubicBezTo>
                        <a:pt x="2602" y="17433"/>
                        <a:pt x="7985" y="19646"/>
                        <a:pt x="12650" y="17732"/>
                      </a:cubicBezTo>
                      <a:cubicBezTo>
                        <a:pt x="17315" y="15759"/>
                        <a:pt x="19587" y="10376"/>
                        <a:pt x="17614" y="5711"/>
                      </a:cubicBezTo>
                      <a:close/>
                    </a:path>
                  </a:pathLst>
                </a:custGeom>
                <a:grpFill/>
                <a:ln w="5978" cap="flat">
                  <a:noFill/>
                  <a:prstDash val="solid"/>
                  <a:miter/>
                </a:ln>
              </p:spPr>
              <p:txBody>
                <a:bodyPr rtlCol="0" anchor="ctr"/>
                <a:lstStyle/>
                <a:p>
                  <a:endParaRPr lang="en-GB"/>
                </a:p>
              </p:txBody>
            </p:sp>
          </p:grpSp>
          <p:grpSp>
            <p:nvGrpSpPr>
              <p:cNvPr id="655" name="Graphic 3">
                <a:extLst>
                  <a:ext uri="{FF2B5EF4-FFF2-40B4-BE49-F238E27FC236}">
                    <a16:creationId xmlns:a16="http://schemas.microsoft.com/office/drawing/2014/main" id="{CD30DB70-DEA8-44CC-A290-0DE5AF7219CF}"/>
                  </a:ext>
                </a:extLst>
              </p:cNvPr>
              <p:cNvGrpSpPr/>
              <p:nvPr/>
            </p:nvGrpSpPr>
            <p:grpSpPr>
              <a:xfrm>
                <a:off x="6685061" y="4963591"/>
                <a:ext cx="68420" cy="140358"/>
                <a:chOff x="6685061" y="4963591"/>
                <a:chExt cx="68420" cy="140358"/>
              </a:xfrm>
              <a:grpFill/>
            </p:grpSpPr>
            <p:sp>
              <p:nvSpPr>
                <p:cNvPr id="3424" name="Vrije vorm: vorm 3423">
                  <a:extLst>
                    <a:ext uri="{FF2B5EF4-FFF2-40B4-BE49-F238E27FC236}">
                      <a16:creationId xmlns:a16="http://schemas.microsoft.com/office/drawing/2014/main" id="{E565F42E-4187-42B1-96B0-B597C7B708C4}"/>
                    </a:ext>
                  </a:extLst>
                </p:cNvPr>
                <p:cNvSpPr/>
                <p:nvPr/>
              </p:nvSpPr>
              <p:spPr>
                <a:xfrm>
                  <a:off x="6692657" y="4971423"/>
                  <a:ext cx="53301" cy="123960"/>
                </a:xfrm>
                <a:custGeom>
                  <a:avLst/>
                  <a:gdLst>
                    <a:gd name="connsiteX0" fmla="*/ 0 w 53301"/>
                    <a:gd name="connsiteY0" fmla="*/ 1159 h 123960"/>
                    <a:gd name="connsiteX1" fmla="*/ 2821 w 53301"/>
                    <a:gd name="connsiteY1" fmla="*/ 0 h 123960"/>
                    <a:gd name="connsiteX2" fmla="*/ 53301 w 53301"/>
                    <a:gd name="connsiteY2" fmla="*/ 122801 h 123960"/>
                    <a:gd name="connsiteX3" fmla="*/ 50480 w 53301"/>
                    <a:gd name="connsiteY3" fmla="*/ 123960 h 123960"/>
                  </a:gdLst>
                  <a:ahLst/>
                  <a:cxnLst>
                    <a:cxn ang="0">
                      <a:pos x="connsiteX0" y="connsiteY0"/>
                    </a:cxn>
                    <a:cxn ang="0">
                      <a:pos x="connsiteX1" y="connsiteY1"/>
                    </a:cxn>
                    <a:cxn ang="0">
                      <a:pos x="connsiteX2" y="connsiteY2"/>
                    </a:cxn>
                    <a:cxn ang="0">
                      <a:pos x="connsiteX3" y="connsiteY3"/>
                    </a:cxn>
                  </a:cxnLst>
                  <a:rect l="l" t="t" r="r" b="b"/>
                  <a:pathLst>
                    <a:path w="53301" h="123960">
                      <a:moveTo>
                        <a:pt x="0" y="1159"/>
                      </a:moveTo>
                      <a:lnTo>
                        <a:pt x="2821" y="0"/>
                      </a:lnTo>
                      <a:lnTo>
                        <a:pt x="53301" y="122801"/>
                      </a:lnTo>
                      <a:lnTo>
                        <a:pt x="50480" y="123960"/>
                      </a:lnTo>
                      <a:close/>
                    </a:path>
                  </a:pathLst>
                </a:custGeom>
                <a:grpFill/>
                <a:ln w="5978" cap="flat">
                  <a:noFill/>
                  <a:prstDash val="solid"/>
                  <a:miter/>
                </a:ln>
              </p:spPr>
              <p:txBody>
                <a:bodyPr rtlCol="0" anchor="ctr"/>
                <a:lstStyle/>
                <a:p>
                  <a:endParaRPr lang="en-GB"/>
                </a:p>
              </p:txBody>
            </p:sp>
            <p:sp>
              <p:nvSpPr>
                <p:cNvPr id="3425" name="Vrije vorm: vorm 3424">
                  <a:extLst>
                    <a:ext uri="{FF2B5EF4-FFF2-40B4-BE49-F238E27FC236}">
                      <a16:creationId xmlns:a16="http://schemas.microsoft.com/office/drawing/2014/main" id="{AFA0C630-3193-4BA5-8950-8AE1D34E6E7B}"/>
                    </a:ext>
                  </a:extLst>
                </p:cNvPr>
                <p:cNvSpPr/>
                <p:nvPr/>
              </p:nvSpPr>
              <p:spPr>
                <a:xfrm>
                  <a:off x="6735179" y="5085513"/>
                  <a:ext cx="18301" cy="18436"/>
                </a:xfrm>
                <a:custGeom>
                  <a:avLst/>
                  <a:gdLst>
                    <a:gd name="connsiteX0" fmla="*/ 17614 w 18301"/>
                    <a:gd name="connsiteY0" fmla="*/ 5736 h 18436"/>
                    <a:gd name="connsiteX1" fmla="*/ 12650 w 18301"/>
                    <a:gd name="connsiteY1" fmla="*/ 17757 h 18436"/>
                    <a:gd name="connsiteX2" fmla="*/ 688 w 18301"/>
                    <a:gd name="connsiteY2" fmla="*/ 12734 h 18436"/>
                    <a:gd name="connsiteX3" fmla="*/ 5652 w 18301"/>
                    <a:gd name="connsiteY3" fmla="*/ 712 h 18436"/>
                    <a:gd name="connsiteX4" fmla="*/ 17614 w 18301"/>
                    <a:gd name="connsiteY4" fmla="*/ 573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6">
                      <a:moveTo>
                        <a:pt x="17614" y="5736"/>
                      </a:moveTo>
                      <a:cubicBezTo>
                        <a:pt x="19528" y="10461"/>
                        <a:pt x="17315" y="15844"/>
                        <a:pt x="12650" y="17757"/>
                      </a:cubicBezTo>
                      <a:cubicBezTo>
                        <a:pt x="7985" y="19671"/>
                        <a:pt x="2602" y="17399"/>
                        <a:pt x="688" y="12734"/>
                      </a:cubicBezTo>
                      <a:cubicBezTo>
                        <a:pt x="-1226" y="8009"/>
                        <a:pt x="987" y="2626"/>
                        <a:pt x="5652" y="712"/>
                      </a:cubicBezTo>
                      <a:cubicBezTo>
                        <a:pt x="10317" y="-1261"/>
                        <a:pt x="15700" y="1012"/>
                        <a:pt x="17614" y="5736"/>
                      </a:cubicBezTo>
                      <a:close/>
                    </a:path>
                  </a:pathLst>
                </a:custGeom>
                <a:grpFill/>
                <a:ln w="5978" cap="flat">
                  <a:noFill/>
                  <a:prstDash val="solid"/>
                  <a:miter/>
                </a:ln>
              </p:spPr>
              <p:txBody>
                <a:bodyPr rtlCol="0" anchor="ctr"/>
                <a:lstStyle/>
                <a:p>
                  <a:endParaRPr lang="en-GB"/>
                </a:p>
              </p:txBody>
            </p:sp>
            <p:sp>
              <p:nvSpPr>
                <p:cNvPr id="3426" name="Vrije vorm: vorm 3425">
                  <a:extLst>
                    <a:ext uri="{FF2B5EF4-FFF2-40B4-BE49-F238E27FC236}">
                      <a16:creationId xmlns:a16="http://schemas.microsoft.com/office/drawing/2014/main" id="{AED3D6AB-F97A-4B5C-9169-E833BC45BDDB}"/>
                    </a:ext>
                  </a:extLst>
                </p:cNvPr>
                <p:cNvSpPr/>
                <p:nvPr/>
              </p:nvSpPr>
              <p:spPr>
                <a:xfrm>
                  <a:off x="6685061" y="4963591"/>
                  <a:ext cx="18335" cy="18419"/>
                </a:xfrm>
                <a:custGeom>
                  <a:avLst/>
                  <a:gdLst>
                    <a:gd name="connsiteX0" fmla="*/ 17614 w 18335"/>
                    <a:gd name="connsiteY0" fmla="*/ 5711 h 18419"/>
                    <a:gd name="connsiteX1" fmla="*/ 5652 w 18335"/>
                    <a:gd name="connsiteY1" fmla="*/ 687 h 18419"/>
                    <a:gd name="connsiteX2" fmla="*/ 688 w 18335"/>
                    <a:gd name="connsiteY2" fmla="*/ 12708 h 18419"/>
                    <a:gd name="connsiteX3" fmla="*/ 12650 w 18335"/>
                    <a:gd name="connsiteY3" fmla="*/ 17732 h 18419"/>
                    <a:gd name="connsiteX4" fmla="*/ 17614 w 18335"/>
                    <a:gd name="connsiteY4" fmla="*/ 571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19">
                      <a:moveTo>
                        <a:pt x="17614" y="5711"/>
                      </a:moveTo>
                      <a:cubicBezTo>
                        <a:pt x="15700" y="986"/>
                        <a:pt x="10317" y="-1227"/>
                        <a:pt x="5652" y="687"/>
                      </a:cubicBezTo>
                      <a:cubicBezTo>
                        <a:pt x="987" y="2601"/>
                        <a:pt x="-1226" y="7984"/>
                        <a:pt x="688" y="12708"/>
                      </a:cubicBezTo>
                      <a:cubicBezTo>
                        <a:pt x="2602" y="17433"/>
                        <a:pt x="7985" y="19646"/>
                        <a:pt x="12650" y="17732"/>
                      </a:cubicBezTo>
                      <a:cubicBezTo>
                        <a:pt x="17374" y="15759"/>
                        <a:pt x="19588" y="10376"/>
                        <a:pt x="17614" y="5711"/>
                      </a:cubicBezTo>
                      <a:close/>
                    </a:path>
                  </a:pathLst>
                </a:custGeom>
                <a:grpFill/>
                <a:ln w="5978" cap="flat">
                  <a:noFill/>
                  <a:prstDash val="solid"/>
                  <a:miter/>
                </a:ln>
              </p:spPr>
              <p:txBody>
                <a:bodyPr rtlCol="0" anchor="ctr"/>
                <a:lstStyle/>
                <a:p>
                  <a:endParaRPr lang="en-GB"/>
                </a:p>
              </p:txBody>
            </p:sp>
          </p:grpSp>
          <p:grpSp>
            <p:nvGrpSpPr>
              <p:cNvPr id="656" name="Graphic 3">
                <a:extLst>
                  <a:ext uri="{FF2B5EF4-FFF2-40B4-BE49-F238E27FC236}">
                    <a16:creationId xmlns:a16="http://schemas.microsoft.com/office/drawing/2014/main" id="{6214D51A-755D-4B5A-B056-8BFF0C2202E9}"/>
                  </a:ext>
                </a:extLst>
              </p:cNvPr>
              <p:cNvGrpSpPr/>
              <p:nvPr/>
            </p:nvGrpSpPr>
            <p:grpSpPr>
              <a:xfrm>
                <a:off x="5531484" y="1544482"/>
                <a:ext cx="82304" cy="250034"/>
                <a:chOff x="5531484" y="1544482"/>
                <a:chExt cx="82304" cy="250034"/>
              </a:xfrm>
              <a:grpFill/>
            </p:grpSpPr>
            <p:sp>
              <p:nvSpPr>
                <p:cNvPr id="3421" name="Vrije vorm: vorm 3420">
                  <a:extLst>
                    <a:ext uri="{FF2B5EF4-FFF2-40B4-BE49-F238E27FC236}">
                      <a16:creationId xmlns:a16="http://schemas.microsoft.com/office/drawing/2014/main" id="{CDF0D03E-C2C2-4ED0-90F5-AA1B6AB1C9E0}"/>
                    </a:ext>
                  </a:extLst>
                </p:cNvPr>
                <p:cNvSpPr/>
                <p:nvPr/>
              </p:nvSpPr>
              <p:spPr>
                <a:xfrm>
                  <a:off x="5538903" y="1552627"/>
                  <a:ext cx="67164" cy="233364"/>
                </a:xfrm>
                <a:custGeom>
                  <a:avLst/>
                  <a:gdLst>
                    <a:gd name="connsiteX0" fmla="*/ 0 w 67164"/>
                    <a:gd name="connsiteY0" fmla="*/ 812 h 233364"/>
                    <a:gd name="connsiteX1" fmla="*/ 2940 w 67164"/>
                    <a:gd name="connsiteY1" fmla="*/ 0 h 233364"/>
                    <a:gd name="connsiteX2" fmla="*/ 67164 w 67164"/>
                    <a:gd name="connsiteY2" fmla="*/ 232553 h 233364"/>
                    <a:gd name="connsiteX3" fmla="*/ 64224 w 67164"/>
                    <a:gd name="connsiteY3" fmla="*/ 233365 h 233364"/>
                  </a:gdLst>
                  <a:ahLst/>
                  <a:cxnLst>
                    <a:cxn ang="0">
                      <a:pos x="connsiteX0" y="connsiteY0"/>
                    </a:cxn>
                    <a:cxn ang="0">
                      <a:pos x="connsiteX1" y="connsiteY1"/>
                    </a:cxn>
                    <a:cxn ang="0">
                      <a:pos x="connsiteX2" y="connsiteY2"/>
                    </a:cxn>
                    <a:cxn ang="0">
                      <a:pos x="connsiteX3" y="connsiteY3"/>
                    </a:cxn>
                  </a:cxnLst>
                  <a:rect l="l" t="t" r="r" b="b"/>
                  <a:pathLst>
                    <a:path w="67164" h="233364">
                      <a:moveTo>
                        <a:pt x="0" y="812"/>
                      </a:moveTo>
                      <a:lnTo>
                        <a:pt x="2940" y="0"/>
                      </a:lnTo>
                      <a:lnTo>
                        <a:pt x="67164" y="232553"/>
                      </a:lnTo>
                      <a:lnTo>
                        <a:pt x="64224" y="233365"/>
                      </a:lnTo>
                      <a:close/>
                    </a:path>
                  </a:pathLst>
                </a:custGeom>
                <a:grpFill/>
                <a:ln w="5978" cap="flat">
                  <a:noFill/>
                  <a:prstDash val="solid"/>
                  <a:miter/>
                </a:ln>
              </p:spPr>
              <p:txBody>
                <a:bodyPr rtlCol="0" anchor="ctr"/>
                <a:lstStyle/>
                <a:p>
                  <a:endParaRPr lang="en-GB"/>
                </a:p>
              </p:txBody>
            </p:sp>
            <p:sp>
              <p:nvSpPr>
                <p:cNvPr id="3422" name="Vrije vorm: vorm 3421">
                  <a:extLst>
                    <a:ext uri="{FF2B5EF4-FFF2-40B4-BE49-F238E27FC236}">
                      <a16:creationId xmlns:a16="http://schemas.microsoft.com/office/drawing/2014/main" id="{27DF5E4D-1278-4B0B-B973-14DA46AA2E33}"/>
                    </a:ext>
                  </a:extLst>
                </p:cNvPr>
                <p:cNvSpPr/>
                <p:nvPr/>
              </p:nvSpPr>
              <p:spPr>
                <a:xfrm>
                  <a:off x="5531484" y="1544482"/>
                  <a:ext cx="18391" cy="18421"/>
                </a:xfrm>
                <a:custGeom>
                  <a:avLst/>
                  <a:gdLst>
                    <a:gd name="connsiteX0" fmla="*/ 344 w 18391"/>
                    <a:gd name="connsiteY0" fmla="*/ 11623 h 18421"/>
                    <a:gd name="connsiteX1" fmla="*/ 6744 w 18391"/>
                    <a:gd name="connsiteY1" fmla="*/ 319 h 18421"/>
                    <a:gd name="connsiteX2" fmla="*/ 18047 w 18391"/>
                    <a:gd name="connsiteY2" fmla="*/ 6778 h 18421"/>
                    <a:gd name="connsiteX3" fmla="*/ 11648 w 18391"/>
                    <a:gd name="connsiteY3" fmla="*/ 18082 h 18421"/>
                    <a:gd name="connsiteX4" fmla="*/ 344 w 18391"/>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21">
                      <a:moveTo>
                        <a:pt x="344" y="11623"/>
                      </a:moveTo>
                      <a:cubicBezTo>
                        <a:pt x="-1031" y="6718"/>
                        <a:pt x="1839" y="1635"/>
                        <a:pt x="6744" y="319"/>
                      </a:cubicBezTo>
                      <a:cubicBezTo>
                        <a:pt x="11648" y="-997"/>
                        <a:pt x="16671" y="1874"/>
                        <a:pt x="18047" y="6778"/>
                      </a:cubicBezTo>
                      <a:cubicBezTo>
                        <a:pt x="19423" y="11682"/>
                        <a:pt x="16552" y="16766"/>
                        <a:pt x="11648" y="18082"/>
                      </a:cubicBezTo>
                      <a:cubicBezTo>
                        <a:pt x="6744" y="19457"/>
                        <a:pt x="1660" y="16527"/>
                        <a:pt x="344" y="11623"/>
                      </a:cubicBezTo>
                      <a:close/>
                    </a:path>
                  </a:pathLst>
                </a:custGeom>
                <a:grpFill/>
                <a:ln w="5978" cap="flat">
                  <a:noFill/>
                  <a:prstDash val="solid"/>
                  <a:miter/>
                </a:ln>
              </p:spPr>
              <p:txBody>
                <a:bodyPr rtlCol="0" anchor="ctr"/>
                <a:lstStyle/>
                <a:p>
                  <a:endParaRPr lang="en-GB"/>
                </a:p>
              </p:txBody>
            </p:sp>
            <p:sp>
              <p:nvSpPr>
                <p:cNvPr id="3423" name="Vrije vorm: vorm 3422">
                  <a:extLst>
                    <a:ext uri="{FF2B5EF4-FFF2-40B4-BE49-F238E27FC236}">
                      <a16:creationId xmlns:a16="http://schemas.microsoft.com/office/drawing/2014/main" id="{67864ED3-E2CA-4693-B09A-1EE02C015348}"/>
                    </a:ext>
                  </a:extLst>
                </p:cNvPr>
                <p:cNvSpPr/>
                <p:nvPr/>
              </p:nvSpPr>
              <p:spPr>
                <a:xfrm>
                  <a:off x="5595418" y="1776115"/>
                  <a:ext cx="18370" cy="18400"/>
                </a:xfrm>
                <a:custGeom>
                  <a:avLst/>
                  <a:gdLst>
                    <a:gd name="connsiteX0" fmla="*/ 344 w 18370"/>
                    <a:gd name="connsiteY0" fmla="*/ 11623 h 18400"/>
                    <a:gd name="connsiteX1" fmla="*/ 11648 w 18370"/>
                    <a:gd name="connsiteY1" fmla="*/ 18082 h 18400"/>
                    <a:gd name="connsiteX2" fmla="*/ 18047 w 18370"/>
                    <a:gd name="connsiteY2" fmla="*/ 6778 h 18400"/>
                    <a:gd name="connsiteX3" fmla="*/ 6744 w 18370"/>
                    <a:gd name="connsiteY3" fmla="*/ 319 h 18400"/>
                    <a:gd name="connsiteX4" fmla="*/ 344 w 18370"/>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00">
                      <a:moveTo>
                        <a:pt x="344" y="11623"/>
                      </a:moveTo>
                      <a:cubicBezTo>
                        <a:pt x="1720" y="16527"/>
                        <a:pt x="6744" y="19398"/>
                        <a:pt x="11648" y="18082"/>
                      </a:cubicBezTo>
                      <a:cubicBezTo>
                        <a:pt x="16552" y="16766"/>
                        <a:pt x="19363" y="11682"/>
                        <a:pt x="18047" y="6778"/>
                      </a:cubicBezTo>
                      <a:cubicBezTo>
                        <a:pt x="16671" y="1874"/>
                        <a:pt x="11648" y="-997"/>
                        <a:pt x="6744" y="319"/>
                      </a:cubicBezTo>
                      <a:cubicBezTo>
                        <a:pt x="1839" y="1695"/>
                        <a:pt x="-1031" y="6718"/>
                        <a:pt x="344" y="11623"/>
                      </a:cubicBezTo>
                      <a:close/>
                    </a:path>
                  </a:pathLst>
                </a:custGeom>
                <a:grpFill/>
                <a:ln w="5978" cap="flat">
                  <a:noFill/>
                  <a:prstDash val="solid"/>
                  <a:miter/>
                </a:ln>
              </p:spPr>
              <p:txBody>
                <a:bodyPr rtlCol="0" anchor="ctr"/>
                <a:lstStyle/>
                <a:p>
                  <a:endParaRPr lang="en-GB"/>
                </a:p>
              </p:txBody>
            </p:sp>
          </p:grpSp>
          <p:grpSp>
            <p:nvGrpSpPr>
              <p:cNvPr id="657" name="Graphic 3">
                <a:extLst>
                  <a:ext uri="{FF2B5EF4-FFF2-40B4-BE49-F238E27FC236}">
                    <a16:creationId xmlns:a16="http://schemas.microsoft.com/office/drawing/2014/main" id="{710817B2-C81C-42D7-8D8B-C663FAB40C3F}"/>
                  </a:ext>
                </a:extLst>
              </p:cNvPr>
              <p:cNvGrpSpPr/>
              <p:nvPr/>
            </p:nvGrpSpPr>
            <p:grpSpPr>
              <a:xfrm>
                <a:off x="6684319" y="4963806"/>
                <a:ext cx="146245" cy="428979"/>
                <a:chOff x="6684319" y="4963806"/>
                <a:chExt cx="146245" cy="428979"/>
              </a:xfrm>
              <a:grpFill/>
            </p:grpSpPr>
            <p:sp>
              <p:nvSpPr>
                <p:cNvPr id="3418" name="Vrije vorm: vorm 3417">
                  <a:extLst>
                    <a:ext uri="{FF2B5EF4-FFF2-40B4-BE49-F238E27FC236}">
                      <a16:creationId xmlns:a16="http://schemas.microsoft.com/office/drawing/2014/main" id="{08214C5E-5BF1-4C74-87AF-B4355B42AB7F}"/>
                    </a:ext>
                  </a:extLst>
                </p:cNvPr>
                <p:cNvSpPr/>
                <p:nvPr/>
              </p:nvSpPr>
              <p:spPr>
                <a:xfrm>
                  <a:off x="6691637" y="4972361"/>
                  <a:ext cx="131108" cy="412298"/>
                </a:xfrm>
                <a:custGeom>
                  <a:avLst/>
                  <a:gdLst>
                    <a:gd name="connsiteX0" fmla="*/ 0 w 131108"/>
                    <a:gd name="connsiteY0" fmla="*/ 907 h 412298"/>
                    <a:gd name="connsiteX1" fmla="*/ 2912 w 131108"/>
                    <a:gd name="connsiteY1" fmla="*/ 0 h 412298"/>
                    <a:gd name="connsiteX2" fmla="*/ 131108 w 131108"/>
                    <a:gd name="connsiteY2" fmla="*/ 411391 h 412298"/>
                    <a:gd name="connsiteX3" fmla="*/ 128196 w 131108"/>
                    <a:gd name="connsiteY3" fmla="*/ 412298 h 412298"/>
                  </a:gdLst>
                  <a:ahLst/>
                  <a:cxnLst>
                    <a:cxn ang="0">
                      <a:pos x="connsiteX0" y="connsiteY0"/>
                    </a:cxn>
                    <a:cxn ang="0">
                      <a:pos x="connsiteX1" y="connsiteY1"/>
                    </a:cxn>
                    <a:cxn ang="0">
                      <a:pos x="connsiteX2" y="connsiteY2"/>
                    </a:cxn>
                    <a:cxn ang="0">
                      <a:pos x="connsiteX3" y="connsiteY3"/>
                    </a:cxn>
                  </a:cxnLst>
                  <a:rect l="l" t="t" r="r" b="b"/>
                  <a:pathLst>
                    <a:path w="131108" h="412298">
                      <a:moveTo>
                        <a:pt x="0" y="907"/>
                      </a:moveTo>
                      <a:lnTo>
                        <a:pt x="2912" y="0"/>
                      </a:lnTo>
                      <a:lnTo>
                        <a:pt x="131108" y="411391"/>
                      </a:lnTo>
                      <a:lnTo>
                        <a:pt x="128196" y="412298"/>
                      </a:lnTo>
                      <a:close/>
                    </a:path>
                  </a:pathLst>
                </a:custGeom>
                <a:grpFill/>
                <a:ln w="5978" cap="flat">
                  <a:noFill/>
                  <a:prstDash val="solid"/>
                  <a:miter/>
                </a:ln>
              </p:spPr>
              <p:txBody>
                <a:bodyPr rtlCol="0" anchor="ctr"/>
                <a:lstStyle/>
                <a:p>
                  <a:endParaRPr lang="en-GB"/>
                </a:p>
              </p:txBody>
            </p:sp>
            <p:sp>
              <p:nvSpPr>
                <p:cNvPr id="3419" name="Vrije vorm: vorm 3418">
                  <a:extLst>
                    <a:ext uri="{FF2B5EF4-FFF2-40B4-BE49-F238E27FC236}">
                      <a16:creationId xmlns:a16="http://schemas.microsoft.com/office/drawing/2014/main" id="{842CA8FE-6849-4F71-96F4-FE15269C9A5C}"/>
                    </a:ext>
                  </a:extLst>
                </p:cNvPr>
                <p:cNvSpPr/>
                <p:nvPr/>
              </p:nvSpPr>
              <p:spPr>
                <a:xfrm>
                  <a:off x="6684319" y="4963806"/>
                  <a:ext cx="18290" cy="18463"/>
                </a:xfrm>
                <a:custGeom>
                  <a:avLst/>
                  <a:gdLst>
                    <a:gd name="connsiteX0" fmla="*/ 413 w 18290"/>
                    <a:gd name="connsiteY0" fmla="*/ 11955 h 18463"/>
                    <a:gd name="connsiteX1" fmla="*/ 6394 w 18290"/>
                    <a:gd name="connsiteY1" fmla="*/ 413 h 18463"/>
                    <a:gd name="connsiteX2" fmla="*/ 17877 w 18290"/>
                    <a:gd name="connsiteY2" fmla="*/ 6513 h 18463"/>
                    <a:gd name="connsiteX3" fmla="*/ 11896 w 18290"/>
                    <a:gd name="connsiteY3" fmla="*/ 18056 h 18463"/>
                    <a:gd name="connsiteX4" fmla="*/ 413 w 18290"/>
                    <a:gd name="connsiteY4" fmla="*/ 11955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63">
                      <a:moveTo>
                        <a:pt x="413" y="11955"/>
                      </a:moveTo>
                      <a:cubicBezTo>
                        <a:pt x="-1082" y="7111"/>
                        <a:pt x="1610" y="1908"/>
                        <a:pt x="6394" y="413"/>
                      </a:cubicBezTo>
                      <a:cubicBezTo>
                        <a:pt x="11238" y="-1083"/>
                        <a:pt x="16382" y="1609"/>
                        <a:pt x="17877" y="6513"/>
                      </a:cubicBezTo>
                      <a:cubicBezTo>
                        <a:pt x="19372" y="11357"/>
                        <a:pt x="16681" y="16561"/>
                        <a:pt x="11896" y="18056"/>
                      </a:cubicBezTo>
                      <a:cubicBezTo>
                        <a:pt x="7052" y="19551"/>
                        <a:pt x="1908" y="16800"/>
                        <a:pt x="413" y="11955"/>
                      </a:cubicBezTo>
                      <a:close/>
                    </a:path>
                  </a:pathLst>
                </a:custGeom>
                <a:grpFill/>
                <a:ln w="5978" cap="flat">
                  <a:noFill/>
                  <a:prstDash val="solid"/>
                  <a:miter/>
                </a:ln>
              </p:spPr>
              <p:txBody>
                <a:bodyPr rtlCol="0" anchor="ctr"/>
                <a:lstStyle/>
                <a:p>
                  <a:endParaRPr lang="en-GB"/>
                </a:p>
              </p:txBody>
            </p:sp>
            <p:sp>
              <p:nvSpPr>
                <p:cNvPr id="3420" name="Vrije vorm: vorm 3419">
                  <a:extLst>
                    <a:ext uri="{FF2B5EF4-FFF2-40B4-BE49-F238E27FC236}">
                      <a16:creationId xmlns:a16="http://schemas.microsoft.com/office/drawing/2014/main" id="{F5E321EE-3F3C-44F1-9110-F19F34AD4D26}"/>
                    </a:ext>
                  </a:extLst>
                </p:cNvPr>
                <p:cNvSpPr/>
                <p:nvPr/>
              </p:nvSpPr>
              <p:spPr>
                <a:xfrm>
                  <a:off x="6812247" y="5374328"/>
                  <a:ext cx="18317" cy="18457"/>
                </a:xfrm>
                <a:custGeom>
                  <a:avLst/>
                  <a:gdLst>
                    <a:gd name="connsiteX0" fmla="*/ 413 w 18317"/>
                    <a:gd name="connsiteY0" fmla="*/ 11950 h 18457"/>
                    <a:gd name="connsiteX1" fmla="*/ 11896 w 18317"/>
                    <a:gd name="connsiteY1" fmla="*/ 18050 h 18457"/>
                    <a:gd name="connsiteX2" fmla="*/ 17877 w 18317"/>
                    <a:gd name="connsiteY2" fmla="*/ 6508 h 18457"/>
                    <a:gd name="connsiteX3" fmla="*/ 6394 w 18317"/>
                    <a:gd name="connsiteY3" fmla="*/ 407 h 18457"/>
                    <a:gd name="connsiteX4" fmla="*/ 413 w 18317"/>
                    <a:gd name="connsiteY4" fmla="*/ 1195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7">
                      <a:moveTo>
                        <a:pt x="413" y="11950"/>
                      </a:moveTo>
                      <a:cubicBezTo>
                        <a:pt x="1908" y="16795"/>
                        <a:pt x="7052" y="19546"/>
                        <a:pt x="11896" y="18050"/>
                      </a:cubicBezTo>
                      <a:cubicBezTo>
                        <a:pt x="16741" y="16555"/>
                        <a:pt x="19432" y="11412"/>
                        <a:pt x="17877" y="6508"/>
                      </a:cubicBezTo>
                      <a:cubicBezTo>
                        <a:pt x="16382" y="1663"/>
                        <a:pt x="11238" y="-1088"/>
                        <a:pt x="6394" y="407"/>
                      </a:cubicBezTo>
                      <a:cubicBezTo>
                        <a:pt x="1609" y="1962"/>
                        <a:pt x="-1082" y="7106"/>
                        <a:pt x="413" y="11950"/>
                      </a:cubicBezTo>
                      <a:close/>
                    </a:path>
                  </a:pathLst>
                </a:custGeom>
                <a:grpFill/>
                <a:ln w="5978" cap="flat">
                  <a:noFill/>
                  <a:prstDash val="solid"/>
                  <a:miter/>
                </a:ln>
              </p:spPr>
              <p:txBody>
                <a:bodyPr rtlCol="0" anchor="ctr"/>
                <a:lstStyle/>
                <a:p>
                  <a:endParaRPr lang="en-GB"/>
                </a:p>
              </p:txBody>
            </p:sp>
          </p:grpSp>
          <p:grpSp>
            <p:nvGrpSpPr>
              <p:cNvPr id="658" name="Graphic 3">
                <a:extLst>
                  <a:ext uri="{FF2B5EF4-FFF2-40B4-BE49-F238E27FC236}">
                    <a16:creationId xmlns:a16="http://schemas.microsoft.com/office/drawing/2014/main" id="{0472094E-11B1-461E-95D2-7F1121F90E01}"/>
                  </a:ext>
                </a:extLst>
              </p:cNvPr>
              <p:cNvGrpSpPr/>
              <p:nvPr/>
            </p:nvGrpSpPr>
            <p:grpSpPr>
              <a:xfrm>
                <a:off x="6756881" y="5234038"/>
                <a:ext cx="73102" cy="158968"/>
                <a:chOff x="6756881" y="5234038"/>
                <a:chExt cx="73102" cy="158968"/>
              </a:xfrm>
              <a:grpFill/>
            </p:grpSpPr>
            <p:sp>
              <p:nvSpPr>
                <p:cNvPr id="3415" name="Vrije vorm: vorm 3414">
                  <a:extLst>
                    <a:ext uri="{FF2B5EF4-FFF2-40B4-BE49-F238E27FC236}">
                      <a16:creationId xmlns:a16="http://schemas.microsoft.com/office/drawing/2014/main" id="{E8947061-8BAB-4F32-8692-EDDA907A9FD0}"/>
                    </a:ext>
                  </a:extLst>
                </p:cNvPr>
                <p:cNvSpPr/>
                <p:nvPr/>
              </p:nvSpPr>
              <p:spPr>
                <a:xfrm>
                  <a:off x="6764613" y="5242207"/>
                  <a:ext cx="58040" cy="142446"/>
                </a:xfrm>
                <a:custGeom>
                  <a:avLst/>
                  <a:gdLst>
                    <a:gd name="connsiteX0" fmla="*/ 0 w 58040"/>
                    <a:gd name="connsiteY0" fmla="*/ 1110 h 142446"/>
                    <a:gd name="connsiteX1" fmla="*/ 2841 w 58040"/>
                    <a:gd name="connsiteY1" fmla="*/ 0 h 142446"/>
                    <a:gd name="connsiteX2" fmla="*/ 58041 w 58040"/>
                    <a:gd name="connsiteY2" fmla="*/ 141337 h 142446"/>
                    <a:gd name="connsiteX3" fmla="*/ 55200 w 58040"/>
                    <a:gd name="connsiteY3" fmla="*/ 142447 h 142446"/>
                  </a:gdLst>
                  <a:ahLst/>
                  <a:cxnLst>
                    <a:cxn ang="0">
                      <a:pos x="connsiteX0" y="connsiteY0"/>
                    </a:cxn>
                    <a:cxn ang="0">
                      <a:pos x="connsiteX1" y="connsiteY1"/>
                    </a:cxn>
                    <a:cxn ang="0">
                      <a:pos x="connsiteX2" y="connsiteY2"/>
                    </a:cxn>
                    <a:cxn ang="0">
                      <a:pos x="connsiteX3" y="connsiteY3"/>
                    </a:cxn>
                  </a:cxnLst>
                  <a:rect l="l" t="t" r="r" b="b"/>
                  <a:pathLst>
                    <a:path w="58040" h="142446">
                      <a:moveTo>
                        <a:pt x="0" y="1110"/>
                      </a:moveTo>
                      <a:lnTo>
                        <a:pt x="2841" y="0"/>
                      </a:lnTo>
                      <a:lnTo>
                        <a:pt x="58041" y="141337"/>
                      </a:lnTo>
                      <a:lnTo>
                        <a:pt x="55200" y="142447"/>
                      </a:lnTo>
                      <a:close/>
                    </a:path>
                  </a:pathLst>
                </a:custGeom>
                <a:grpFill/>
                <a:ln w="5978" cap="flat">
                  <a:noFill/>
                  <a:prstDash val="solid"/>
                  <a:miter/>
                </a:ln>
              </p:spPr>
              <p:txBody>
                <a:bodyPr rtlCol="0" anchor="ctr"/>
                <a:lstStyle/>
                <a:p>
                  <a:endParaRPr lang="en-GB"/>
                </a:p>
              </p:txBody>
            </p:sp>
            <p:sp>
              <p:nvSpPr>
                <p:cNvPr id="3416" name="Vrije vorm: vorm 3415">
                  <a:extLst>
                    <a:ext uri="{FF2B5EF4-FFF2-40B4-BE49-F238E27FC236}">
                      <a16:creationId xmlns:a16="http://schemas.microsoft.com/office/drawing/2014/main" id="{1A4C8DD5-ED50-40CE-A0BD-C61E503D1D74}"/>
                    </a:ext>
                  </a:extLst>
                </p:cNvPr>
                <p:cNvSpPr/>
                <p:nvPr/>
              </p:nvSpPr>
              <p:spPr>
                <a:xfrm>
                  <a:off x="6811605" y="5374577"/>
                  <a:ext cx="18378" cy="18429"/>
                </a:xfrm>
                <a:custGeom>
                  <a:avLst/>
                  <a:gdLst>
                    <a:gd name="connsiteX0" fmla="*/ 17742 w 18378"/>
                    <a:gd name="connsiteY0" fmla="*/ 5899 h 18429"/>
                    <a:gd name="connsiteX1" fmla="*/ 12538 w 18378"/>
                    <a:gd name="connsiteY1" fmla="*/ 17801 h 18429"/>
                    <a:gd name="connsiteX2" fmla="*/ 637 w 18378"/>
                    <a:gd name="connsiteY2" fmla="*/ 12538 h 18429"/>
                    <a:gd name="connsiteX3" fmla="*/ 5840 w 18378"/>
                    <a:gd name="connsiteY3" fmla="*/ 636 h 18429"/>
                    <a:gd name="connsiteX4" fmla="*/ 17742 w 18378"/>
                    <a:gd name="connsiteY4" fmla="*/ 58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9">
                      <a:moveTo>
                        <a:pt x="17742" y="5899"/>
                      </a:moveTo>
                      <a:cubicBezTo>
                        <a:pt x="19596" y="10624"/>
                        <a:pt x="17263" y="16007"/>
                        <a:pt x="12538" y="17801"/>
                      </a:cubicBezTo>
                      <a:cubicBezTo>
                        <a:pt x="7814" y="19655"/>
                        <a:pt x="2491" y="17263"/>
                        <a:pt x="637" y="12538"/>
                      </a:cubicBezTo>
                      <a:cubicBezTo>
                        <a:pt x="-1217" y="7813"/>
                        <a:pt x="1115" y="2430"/>
                        <a:pt x="5840" y="636"/>
                      </a:cubicBezTo>
                      <a:cubicBezTo>
                        <a:pt x="10565" y="-1218"/>
                        <a:pt x="15888" y="1115"/>
                        <a:pt x="17742" y="5899"/>
                      </a:cubicBezTo>
                      <a:close/>
                    </a:path>
                  </a:pathLst>
                </a:custGeom>
                <a:grpFill/>
                <a:ln w="5978" cap="flat">
                  <a:noFill/>
                  <a:prstDash val="solid"/>
                  <a:miter/>
                </a:ln>
              </p:spPr>
              <p:txBody>
                <a:bodyPr rtlCol="0" anchor="ctr"/>
                <a:lstStyle/>
                <a:p>
                  <a:endParaRPr lang="en-GB"/>
                </a:p>
              </p:txBody>
            </p:sp>
            <p:sp>
              <p:nvSpPr>
                <p:cNvPr id="3417" name="Vrije vorm: vorm 3416">
                  <a:extLst>
                    <a:ext uri="{FF2B5EF4-FFF2-40B4-BE49-F238E27FC236}">
                      <a16:creationId xmlns:a16="http://schemas.microsoft.com/office/drawing/2014/main" id="{B101EE32-2AF9-4C8D-9509-1BCA190773CC}"/>
                    </a:ext>
                  </a:extLst>
                </p:cNvPr>
                <p:cNvSpPr/>
                <p:nvPr/>
              </p:nvSpPr>
              <p:spPr>
                <a:xfrm>
                  <a:off x="6756881" y="5234038"/>
                  <a:ext cx="18378" cy="18421"/>
                </a:xfrm>
                <a:custGeom>
                  <a:avLst/>
                  <a:gdLst>
                    <a:gd name="connsiteX0" fmla="*/ 17742 w 18378"/>
                    <a:gd name="connsiteY0" fmla="*/ 5892 h 18421"/>
                    <a:gd name="connsiteX1" fmla="*/ 5840 w 18378"/>
                    <a:gd name="connsiteY1" fmla="*/ 629 h 18421"/>
                    <a:gd name="connsiteX2" fmla="*/ 637 w 18378"/>
                    <a:gd name="connsiteY2" fmla="*/ 12530 h 18421"/>
                    <a:gd name="connsiteX3" fmla="*/ 12538 w 18378"/>
                    <a:gd name="connsiteY3" fmla="*/ 17793 h 18421"/>
                    <a:gd name="connsiteX4" fmla="*/ 17742 w 18378"/>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1">
                      <a:moveTo>
                        <a:pt x="17742" y="5892"/>
                      </a:moveTo>
                      <a:cubicBezTo>
                        <a:pt x="15888" y="1167"/>
                        <a:pt x="10565" y="-1225"/>
                        <a:pt x="5840" y="629"/>
                      </a:cubicBezTo>
                      <a:cubicBezTo>
                        <a:pt x="1115" y="2483"/>
                        <a:pt x="-1217" y="7806"/>
                        <a:pt x="637" y="12530"/>
                      </a:cubicBezTo>
                      <a:cubicBezTo>
                        <a:pt x="2491" y="17255"/>
                        <a:pt x="7814" y="19647"/>
                        <a:pt x="12538" y="17793"/>
                      </a:cubicBezTo>
                      <a:cubicBezTo>
                        <a:pt x="17263" y="15939"/>
                        <a:pt x="19596" y="10617"/>
                        <a:pt x="17742" y="5892"/>
                      </a:cubicBezTo>
                      <a:close/>
                    </a:path>
                  </a:pathLst>
                </a:custGeom>
                <a:grpFill/>
                <a:ln w="5978" cap="flat">
                  <a:noFill/>
                  <a:prstDash val="solid"/>
                  <a:miter/>
                </a:ln>
              </p:spPr>
              <p:txBody>
                <a:bodyPr rtlCol="0" anchor="ctr"/>
                <a:lstStyle/>
                <a:p>
                  <a:endParaRPr lang="en-GB"/>
                </a:p>
              </p:txBody>
            </p:sp>
          </p:grpSp>
          <p:grpSp>
            <p:nvGrpSpPr>
              <p:cNvPr id="659" name="Graphic 3">
                <a:extLst>
                  <a:ext uri="{FF2B5EF4-FFF2-40B4-BE49-F238E27FC236}">
                    <a16:creationId xmlns:a16="http://schemas.microsoft.com/office/drawing/2014/main" id="{F9300A27-F478-4A74-9B43-535C8806BF3C}"/>
                  </a:ext>
                </a:extLst>
              </p:cNvPr>
              <p:cNvGrpSpPr/>
              <p:nvPr/>
            </p:nvGrpSpPr>
            <p:grpSpPr>
              <a:xfrm>
                <a:off x="6708796" y="5110476"/>
                <a:ext cx="59764" cy="124818"/>
                <a:chOff x="6708796" y="5110476"/>
                <a:chExt cx="59764" cy="124818"/>
              </a:xfrm>
              <a:grpFill/>
            </p:grpSpPr>
            <p:sp>
              <p:nvSpPr>
                <p:cNvPr id="3412" name="Vrije vorm: vorm 3411">
                  <a:extLst>
                    <a:ext uri="{FF2B5EF4-FFF2-40B4-BE49-F238E27FC236}">
                      <a16:creationId xmlns:a16="http://schemas.microsoft.com/office/drawing/2014/main" id="{AE5CC10B-4211-40B3-A108-BB87ACDAFCE0}"/>
                    </a:ext>
                  </a:extLst>
                </p:cNvPr>
                <p:cNvSpPr/>
                <p:nvPr/>
              </p:nvSpPr>
              <p:spPr>
                <a:xfrm>
                  <a:off x="6716487" y="5118474"/>
                  <a:ext cx="44669" cy="108307"/>
                </a:xfrm>
                <a:custGeom>
                  <a:avLst/>
                  <a:gdLst>
                    <a:gd name="connsiteX0" fmla="*/ 0 w 44669"/>
                    <a:gd name="connsiteY0" fmla="*/ 1109 h 108307"/>
                    <a:gd name="connsiteX1" fmla="*/ 2842 w 44669"/>
                    <a:gd name="connsiteY1" fmla="*/ 0 h 108307"/>
                    <a:gd name="connsiteX2" fmla="*/ 44669 w 44669"/>
                    <a:gd name="connsiteY2" fmla="*/ 107198 h 108307"/>
                    <a:gd name="connsiteX3" fmla="*/ 41828 w 44669"/>
                    <a:gd name="connsiteY3" fmla="*/ 108307 h 108307"/>
                  </a:gdLst>
                  <a:ahLst/>
                  <a:cxnLst>
                    <a:cxn ang="0">
                      <a:pos x="connsiteX0" y="connsiteY0"/>
                    </a:cxn>
                    <a:cxn ang="0">
                      <a:pos x="connsiteX1" y="connsiteY1"/>
                    </a:cxn>
                    <a:cxn ang="0">
                      <a:pos x="connsiteX2" y="connsiteY2"/>
                    </a:cxn>
                    <a:cxn ang="0">
                      <a:pos x="connsiteX3" y="connsiteY3"/>
                    </a:cxn>
                  </a:cxnLst>
                  <a:rect l="l" t="t" r="r" b="b"/>
                  <a:pathLst>
                    <a:path w="44669" h="108307">
                      <a:moveTo>
                        <a:pt x="0" y="1109"/>
                      </a:moveTo>
                      <a:lnTo>
                        <a:pt x="2842" y="0"/>
                      </a:lnTo>
                      <a:lnTo>
                        <a:pt x="44669" y="107198"/>
                      </a:lnTo>
                      <a:lnTo>
                        <a:pt x="41828" y="108307"/>
                      </a:lnTo>
                      <a:close/>
                    </a:path>
                  </a:pathLst>
                </a:custGeom>
                <a:grpFill/>
                <a:ln w="5978" cap="flat">
                  <a:noFill/>
                  <a:prstDash val="solid"/>
                  <a:miter/>
                </a:ln>
              </p:spPr>
              <p:txBody>
                <a:bodyPr rtlCol="0" anchor="ctr"/>
                <a:lstStyle/>
                <a:p>
                  <a:endParaRPr lang="en-GB"/>
                </a:p>
              </p:txBody>
            </p:sp>
            <p:sp>
              <p:nvSpPr>
                <p:cNvPr id="3413" name="Vrije vorm: vorm 3412">
                  <a:extLst>
                    <a:ext uri="{FF2B5EF4-FFF2-40B4-BE49-F238E27FC236}">
                      <a16:creationId xmlns:a16="http://schemas.microsoft.com/office/drawing/2014/main" id="{8D99AFC1-834C-452C-92D2-557D42280C85}"/>
                    </a:ext>
                  </a:extLst>
                </p:cNvPr>
                <p:cNvSpPr/>
                <p:nvPr/>
              </p:nvSpPr>
              <p:spPr>
                <a:xfrm>
                  <a:off x="6750182" y="5216866"/>
                  <a:ext cx="18378" cy="18429"/>
                </a:xfrm>
                <a:custGeom>
                  <a:avLst/>
                  <a:gdLst>
                    <a:gd name="connsiteX0" fmla="*/ 17742 w 18378"/>
                    <a:gd name="connsiteY0" fmla="*/ 5899 h 18429"/>
                    <a:gd name="connsiteX1" fmla="*/ 12538 w 18378"/>
                    <a:gd name="connsiteY1" fmla="*/ 17801 h 18429"/>
                    <a:gd name="connsiteX2" fmla="*/ 637 w 18378"/>
                    <a:gd name="connsiteY2" fmla="*/ 12538 h 18429"/>
                    <a:gd name="connsiteX3" fmla="*/ 5840 w 18378"/>
                    <a:gd name="connsiteY3" fmla="*/ 636 h 18429"/>
                    <a:gd name="connsiteX4" fmla="*/ 17742 w 18378"/>
                    <a:gd name="connsiteY4" fmla="*/ 58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9">
                      <a:moveTo>
                        <a:pt x="17742" y="5899"/>
                      </a:moveTo>
                      <a:cubicBezTo>
                        <a:pt x="19596" y="10624"/>
                        <a:pt x="17263" y="16007"/>
                        <a:pt x="12538" y="17801"/>
                      </a:cubicBezTo>
                      <a:cubicBezTo>
                        <a:pt x="7814" y="19655"/>
                        <a:pt x="2491" y="17263"/>
                        <a:pt x="637" y="12538"/>
                      </a:cubicBezTo>
                      <a:cubicBezTo>
                        <a:pt x="-1217" y="7813"/>
                        <a:pt x="1115" y="2430"/>
                        <a:pt x="5840" y="636"/>
                      </a:cubicBezTo>
                      <a:cubicBezTo>
                        <a:pt x="10625" y="-1218"/>
                        <a:pt x="15947" y="1115"/>
                        <a:pt x="17742" y="5899"/>
                      </a:cubicBezTo>
                      <a:close/>
                    </a:path>
                  </a:pathLst>
                </a:custGeom>
                <a:grpFill/>
                <a:ln w="5978" cap="flat">
                  <a:noFill/>
                  <a:prstDash val="solid"/>
                  <a:miter/>
                </a:ln>
              </p:spPr>
              <p:txBody>
                <a:bodyPr rtlCol="0" anchor="ctr"/>
                <a:lstStyle/>
                <a:p>
                  <a:endParaRPr lang="en-GB"/>
                </a:p>
              </p:txBody>
            </p:sp>
            <p:sp>
              <p:nvSpPr>
                <p:cNvPr id="3414" name="Vrije vorm: vorm 3413">
                  <a:extLst>
                    <a:ext uri="{FF2B5EF4-FFF2-40B4-BE49-F238E27FC236}">
                      <a16:creationId xmlns:a16="http://schemas.microsoft.com/office/drawing/2014/main" id="{D2D18025-0E6A-4256-AD4E-FFE4CD9DED29}"/>
                    </a:ext>
                  </a:extLst>
                </p:cNvPr>
                <p:cNvSpPr/>
                <p:nvPr/>
              </p:nvSpPr>
              <p:spPr>
                <a:xfrm>
                  <a:off x="6708796" y="5110476"/>
                  <a:ext cx="18378" cy="18421"/>
                </a:xfrm>
                <a:custGeom>
                  <a:avLst/>
                  <a:gdLst>
                    <a:gd name="connsiteX0" fmla="*/ 17742 w 18378"/>
                    <a:gd name="connsiteY0" fmla="*/ 5892 h 18421"/>
                    <a:gd name="connsiteX1" fmla="*/ 5840 w 18378"/>
                    <a:gd name="connsiteY1" fmla="*/ 629 h 18421"/>
                    <a:gd name="connsiteX2" fmla="*/ 637 w 18378"/>
                    <a:gd name="connsiteY2" fmla="*/ 12530 h 18421"/>
                    <a:gd name="connsiteX3" fmla="*/ 12538 w 18378"/>
                    <a:gd name="connsiteY3" fmla="*/ 17793 h 18421"/>
                    <a:gd name="connsiteX4" fmla="*/ 17742 w 18378"/>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1">
                      <a:moveTo>
                        <a:pt x="17742" y="5892"/>
                      </a:moveTo>
                      <a:cubicBezTo>
                        <a:pt x="15888" y="1167"/>
                        <a:pt x="10565" y="-1225"/>
                        <a:pt x="5840" y="629"/>
                      </a:cubicBezTo>
                      <a:cubicBezTo>
                        <a:pt x="1115" y="2483"/>
                        <a:pt x="-1217" y="7806"/>
                        <a:pt x="637" y="12530"/>
                      </a:cubicBezTo>
                      <a:cubicBezTo>
                        <a:pt x="2491" y="17255"/>
                        <a:pt x="7814" y="19647"/>
                        <a:pt x="12538" y="17793"/>
                      </a:cubicBezTo>
                      <a:cubicBezTo>
                        <a:pt x="17263" y="15939"/>
                        <a:pt x="19596" y="10616"/>
                        <a:pt x="17742" y="5892"/>
                      </a:cubicBezTo>
                      <a:close/>
                    </a:path>
                  </a:pathLst>
                </a:custGeom>
                <a:grpFill/>
                <a:ln w="5978" cap="flat">
                  <a:noFill/>
                  <a:prstDash val="solid"/>
                  <a:miter/>
                </a:ln>
              </p:spPr>
              <p:txBody>
                <a:bodyPr rtlCol="0" anchor="ctr"/>
                <a:lstStyle/>
                <a:p>
                  <a:endParaRPr lang="en-GB"/>
                </a:p>
              </p:txBody>
            </p:sp>
          </p:grpSp>
          <p:grpSp>
            <p:nvGrpSpPr>
              <p:cNvPr id="660" name="Graphic 3">
                <a:extLst>
                  <a:ext uri="{FF2B5EF4-FFF2-40B4-BE49-F238E27FC236}">
                    <a16:creationId xmlns:a16="http://schemas.microsoft.com/office/drawing/2014/main" id="{3C64E17D-B0BE-4A5E-85C6-815C26268598}"/>
                  </a:ext>
                </a:extLst>
              </p:cNvPr>
              <p:cNvGrpSpPr/>
              <p:nvPr/>
            </p:nvGrpSpPr>
            <p:grpSpPr>
              <a:xfrm>
                <a:off x="5452491" y="1260327"/>
                <a:ext cx="134393" cy="551483"/>
                <a:chOff x="5452491" y="1260327"/>
                <a:chExt cx="134393" cy="551483"/>
              </a:xfrm>
              <a:grpFill/>
            </p:grpSpPr>
            <p:sp>
              <p:nvSpPr>
                <p:cNvPr id="3409" name="Vrije vorm: vorm 3408">
                  <a:extLst>
                    <a:ext uri="{FF2B5EF4-FFF2-40B4-BE49-F238E27FC236}">
                      <a16:creationId xmlns:a16="http://schemas.microsoft.com/office/drawing/2014/main" id="{2980E27A-3B61-4340-873A-35BA449B34BA}"/>
                    </a:ext>
                  </a:extLst>
                </p:cNvPr>
                <p:cNvSpPr/>
                <p:nvPr/>
              </p:nvSpPr>
              <p:spPr>
                <a:xfrm>
                  <a:off x="5460035" y="1268955"/>
                  <a:ext cx="119212" cy="534593"/>
                </a:xfrm>
                <a:custGeom>
                  <a:avLst/>
                  <a:gdLst>
                    <a:gd name="connsiteX0" fmla="*/ 0 w 119212"/>
                    <a:gd name="connsiteY0" fmla="*/ 649 h 534593"/>
                    <a:gd name="connsiteX1" fmla="*/ 2981 w 119212"/>
                    <a:gd name="connsiteY1" fmla="*/ 0 h 534593"/>
                    <a:gd name="connsiteX2" fmla="*/ 119212 w 119212"/>
                    <a:gd name="connsiteY2" fmla="*/ 533945 h 534593"/>
                    <a:gd name="connsiteX3" fmla="*/ 116232 w 119212"/>
                    <a:gd name="connsiteY3" fmla="*/ 534593 h 534593"/>
                  </a:gdLst>
                  <a:ahLst/>
                  <a:cxnLst>
                    <a:cxn ang="0">
                      <a:pos x="connsiteX0" y="connsiteY0"/>
                    </a:cxn>
                    <a:cxn ang="0">
                      <a:pos x="connsiteX1" y="connsiteY1"/>
                    </a:cxn>
                    <a:cxn ang="0">
                      <a:pos x="connsiteX2" y="connsiteY2"/>
                    </a:cxn>
                    <a:cxn ang="0">
                      <a:pos x="connsiteX3" y="connsiteY3"/>
                    </a:cxn>
                  </a:cxnLst>
                  <a:rect l="l" t="t" r="r" b="b"/>
                  <a:pathLst>
                    <a:path w="119212" h="534593">
                      <a:moveTo>
                        <a:pt x="0" y="649"/>
                      </a:moveTo>
                      <a:lnTo>
                        <a:pt x="2981" y="0"/>
                      </a:lnTo>
                      <a:lnTo>
                        <a:pt x="119212" y="533945"/>
                      </a:lnTo>
                      <a:lnTo>
                        <a:pt x="116232" y="534593"/>
                      </a:lnTo>
                      <a:close/>
                    </a:path>
                  </a:pathLst>
                </a:custGeom>
                <a:grpFill/>
                <a:ln w="5978" cap="flat">
                  <a:noFill/>
                  <a:prstDash val="solid"/>
                  <a:miter/>
                </a:ln>
              </p:spPr>
              <p:txBody>
                <a:bodyPr rtlCol="0" anchor="ctr"/>
                <a:lstStyle/>
                <a:p>
                  <a:endParaRPr lang="en-GB"/>
                </a:p>
              </p:txBody>
            </p:sp>
            <p:sp>
              <p:nvSpPr>
                <p:cNvPr id="3410" name="Vrije vorm: vorm 3409">
                  <a:extLst>
                    <a:ext uri="{FF2B5EF4-FFF2-40B4-BE49-F238E27FC236}">
                      <a16:creationId xmlns:a16="http://schemas.microsoft.com/office/drawing/2014/main" id="{69D64202-8F5F-48AF-88AF-24DC60E3875A}"/>
                    </a:ext>
                  </a:extLst>
                </p:cNvPr>
                <p:cNvSpPr/>
                <p:nvPr/>
              </p:nvSpPr>
              <p:spPr>
                <a:xfrm>
                  <a:off x="5568576" y="1793389"/>
                  <a:ext cx="18308" cy="18421"/>
                </a:xfrm>
                <a:custGeom>
                  <a:avLst/>
                  <a:gdLst>
                    <a:gd name="connsiteX0" fmla="*/ 18095 w 18308"/>
                    <a:gd name="connsiteY0" fmla="*/ 7267 h 18421"/>
                    <a:gd name="connsiteX1" fmla="*/ 11098 w 18308"/>
                    <a:gd name="connsiteY1" fmla="*/ 18212 h 18421"/>
                    <a:gd name="connsiteX2" fmla="*/ 213 w 18308"/>
                    <a:gd name="connsiteY2" fmla="*/ 11155 h 18421"/>
                    <a:gd name="connsiteX3" fmla="*/ 7211 w 18308"/>
                    <a:gd name="connsiteY3" fmla="*/ 210 h 18421"/>
                    <a:gd name="connsiteX4" fmla="*/ 18095 w 18308"/>
                    <a:gd name="connsiteY4" fmla="*/ 7267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18095" y="7267"/>
                      </a:moveTo>
                      <a:cubicBezTo>
                        <a:pt x="19172" y="12231"/>
                        <a:pt x="16062" y="17135"/>
                        <a:pt x="11098" y="18212"/>
                      </a:cubicBezTo>
                      <a:cubicBezTo>
                        <a:pt x="6134" y="19288"/>
                        <a:pt x="1289" y="16119"/>
                        <a:pt x="213" y="11155"/>
                      </a:cubicBezTo>
                      <a:cubicBezTo>
                        <a:pt x="-864" y="6191"/>
                        <a:pt x="2246" y="1286"/>
                        <a:pt x="7211" y="210"/>
                      </a:cubicBezTo>
                      <a:cubicBezTo>
                        <a:pt x="12114" y="-867"/>
                        <a:pt x="17019" y="2303"/>
                        <a:pt x="18095" y="7267"/>
                      </a:cubicBezTo>
                      <a:close/>
                    </a:path>
                  </a:pathLst>
                </a:custGeom>
                <a:grpFill/>
                <a:ln w="5978" cap="flat">
                  <a:noFill/>
                  <a:prstDash val="solid"/>
                  <a:miter/>
                </a:ln>
              </p:spPr>
              <p:txBody>
                <a:bodyPr rtlCol="0" anchor="ctr"/>
                <a:lstStyle/>
                <a:p>
                  <a:endParaRPr lang="en-GB"/>
                </a:p>
              </p:txBody>
            </p:sp>
            <p:sp>
              <p:nvSpPr>
                <p:cNvPr id="3411" name="Vrije vorm: vorm 3410">
                  <a:extLst>
                    <a:ext uri="{FF2B5EF4-FFF2-40B4-BE49-F238E27FC236}">
                      <a16:creationId xmlns:a16="http://schemas.microsoft.com/office/drawing/2014/main" id="{38642B43-F314-4A9E-B834-FD216DCAF992}"/>
                    </a:ext>
                  </a:extLst>
                </p:cNvPr>
                <p:cNvSpPr/>
                <p:nvPr/>
              </p:nvSpPr>
              <p:spPr>
                <a:xfrm>
                  <a:off x="5452491" y="1260327"/>
                  <a:ext cx="18307" cy="18421"/>
                </a:xfrm>
                <a:custGeom>
                  <a:avLst/>
                  <a:gdLst>
                    <a:gd name="connsiteX0" fmla="*/ 18095 w 18307"/>
                    <a:gd name="connsiteY0" fmla="*/ 7267 h 18421"/>
                    <a:gd name="connsiteX1" fmla="*/ 7210 w 18307"/>
                    <a:gd name="connsiteY1" fmla="*/ 210 h 18421"/>
                    <a:gd name="connsiteX2" fmla="*/ 213 w 18307"/>
                    <a:gd name="connsiteY2" fmla="*/ 11155 h 18421"/>
                    <a:gd name="connsiteX3" fmla="*/ 11098 w 18307"/>
                    <a:gd name="connsiteY3" fmla="*/ 18212 h 18421"/>
                    <a:gd name="connsiteX4" fmla="*/ 18095 w 18307"/>
                    <a:gd name="connsiteY4" fmla="*/ 7267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18095" y="7267"/>
                      </a:moveTo>
                      <a:cubicBezTo>
                        <a:pt x="17019" y="2303"/>
                        <a:pt x="12114" y="-867"/>
                        <a:pt x="7210" y="210"/>
                      </a:cubicBezTo>
                      <a:cubicBezTo>
                        <a:pt x="2246" y="1287"/>
                        <a:pt x="-864" y="6191"/>
                        <a:pt x="213" y="11155"/>
                      </a:cubicBezTo>
                      <a:cubicBezTo>
                        <a:pt x="1289" y="16119"/>
                        <a:pt x="6194" y="19288"/>
                        <a:pt x="11098" y="18212"/>
                      </a:cubicBezTo>
                      <a:cubicBezTo>
                        <a:pt x="16062" y="17135"/>
                        <a:pt x="19172" y="12231"/>
                        <a:pt x="18095" y="7267"/>
                      </a:cubicBezTo>
                      <a:close/>
                    </a:path>
                  </a:pathLst>
                </a:custGeom>
                <a:grpFill/>
                <a:ln w="5978" cap="flat">
                  <a:noFill/>
                  <a:prstDash val="solid"/>
                  <a:miter/>
                </a:ln>
              </p:spPr>
              <p:txBody>
                <a:bodyPr rtlCol="0" anchor="ctr"/>
                <a:lstStyle/>
                <a:p>
                  <a:endParaRPr lang="en-GB"/>
                </a:p>
              </p:txBody>
            </p:sp>
          </p:grpSp>
          <p:grpSp>
            <p:nvGrpSpPr>
              <p:cNvPr id="661" name="Graphic 3">
                <a:extLst>
                  <a:ext uri="{FF2B5EF4-FFF2-40B4-BE49-F238E27FC236}">
                    <a16:creationId xmlns:a16="http://schemas.microsoft.com/office/drawing/2014/main" id="{97C9B767-7FC5-4764-8EDA-0D2468EC785B}"/>
                  </a:ext>
                </a:extLst>
              </p:cNvPr>
              <p:cNvGrpSpPr/>
              <p:nvPr/>
            </p:nvGrpSpPr>
            <p:grpSpPr>
              <a:xfrm>
                <a:off x="5428819" y="1323976"/>
                <a:ext cx="21753" cy="29821"/>
                <a:chOff x="5428819" y="1323976"/>
                <a:chExt cx="21753" cy="29821"/>
              </a:xfrm>
              <a:grpFill/>
            </p:grpSpPr>
            <p:sp>
              <p:nvSpPr>
                <p:cNvPr id="3406" name="Vrije vorm: vorm 3405">
                  <a:extLst>
                    <a:ext uri="{FF2B5EF4-FFF2-40B4-BE49-F238E27FC236}">
                      <a16:creationId xmlns:a16="http://schemas.microsoft.com/office/drawing/2014/main" id="{C46FEBC2-6BAC-4C6F-8BB7-F26A8B8797B3}"/>
                    </a:ext>
                  </a:extLst>
                </p:cNvPr>
                <p:cNvSpPr/>
                <p:nvPr/>
              </p:nvSpPr>
              <p:spPr>
                <a:xfrm>
                  <a:off x="5436428" y="1332418"/>
                  <a:ext cx="6552" cy="13138"/>
                </a:xfrm>
                <a:custGeom>
                  <a:avLst/>
                  <a:gdLst>
                    <a:gd name="connsiteX0" fmla="*/ 0 w 6552"/>
                    <a:gd name="connsiteY0" fmla="*/ 864 h 13138"/>
                    <a:gd name="connsiteX1" fmla="*/ 2925 w 6552"/>
                    <a:gd name="connsiteY1" fmla="*/ 0 h 13138"/>
                    <a:gd name="connsiteX2" fmla="*/ 6552 w 6552"/>
                    <a:gd name="connsiteY2" fmla="*/ 12274 h 13138"/>
                    <a:gd name="connsiteX3" fmla="*/ 3627 w 6552"/>
                    <a:gd name="connsiteY3" fmla="*/ 13138 h 13138"/>
                  </a:gdLst>
                  <a:ahLst/>
                  <a:cxnLst>
                    <a:cxn ang="0">
                      <a:pos x="connsiteX0" y="connsiteY0"/>
                    </a:cxn>
                    <a:cxn ang="0">
                      <a:pos x="connsiteX1" y="connsiteY1"/>
                    </a:cxn>
                    <a:cxn ang="0">
                      <a:pos x="connsiteX2" y="connsiteY2"/>
                    </a:cxn>
                    <a:cxn ang="0">
                      <a:pos x="connsiteX3" y="connsiteY3"/>
                    </a:cxn>
                  </a:cxnLst>
                  <a:rect l="l" t="t" r="r" b="b"/>
                  <a:pathLst>
                    <a:path w="6552" h="13138">
                      <a:moveTo>
                        <a:pt x="0" y="864"/>
                      </a:moveTo>
                      <a:lnTo>
                        <a:pt x="2925" y="0"/>
                      </a:lnTo>
                      <a:lnTo>
                        <a:pt x="6552" y="12274"/>
                      </a:lnTo>
                      <a:lnTo>
                        <a:pt x="3627" y="13138"/>
                      </a:lnTo>
                      <a:close/>
                    </a:path>
                  </a:pathLst>
                </a:custGeom>
                <a:grpFill/>
                <a:ln w="5978" cap="flat">
                  <a:noFill/>
                  <a:prstDash val="solid"/>
                  <a:miter/>
                </a:ln>
              </p:spPr>
              <p:txBody>
                <a:bodyPr rtlCol="0" anchor="ctr"/>
                <a:lstStyle/>
                <a:p>
                  <a:endParaRPr lang="en-GB"/>
                </a:p>
              </p:txBody>
            </p:sp>
            <p:sp>
              <p:nvSpPr>
                <p:cNvPr id="3407" name="Vrije vorm: vorm 3406">
                  <a:extLst>
                    <a:ext uri="{FF2B5EF4-FFF2-40B4-BE49-F238E27FC236}">
                      <a16:creationId xmlns:a16="http://schemas.microsoft.com/office/drawing/2014/main" id="{078A2062-1066-4846-94CC-5C691E99C08E}"/>
                    </a:ext>
                  </a:extLst>
                </p:cNvPr>
                <p:cNvSpPr/>
                <p:nvPr/>
              </p:nvSpPr>
              <p:spPr>
                <a:xfrm>
                  <a:off x="5428819" y="1323976"/>
                  <a:ext cx="18344" cy="18398"/>
                </a:xfrm>
                <a:custGeom>
                  <a:avLst/>
                  <a:gdLst>
                    <a:gd name="connsiteX0" fmla="*/ 380 w 18344"/>
                    <a:gd name="connsiteY0" fmla="*/ 11799 h 18398"/>
                    <a:gd name="connsiteX1" fmla="*/ 6540 w 18344"/>
                    <a:gd name="connsiteY1" fmla="*/ 375 h 18398"/>
                    <a:gd name="connsiteX2" fmla="*/ 17964 w 18344"/>
                    <a:gd name="connsiteY2" fmla="*/ 6595 h 18398"/>
                    <a:gd name="connsiteX3" fmla="*/ 11803 w 18344"/>
                    <a:gd name="connsiteY3" fmla="*/ 18018 h 18398"/>
                    <a:gd name="connsiteX4" fmla="*/ 380 w 18344"/>
                    <a:gd name="connsiteY4" fmla="*/ 1179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98">
                      <a:moveTo>
                        <a:pt x="380" y="11799"/>
                      </a:moveTo>
                      <a:cubicBezTo>
                        <a:pt x="-1055" y="6894"/>
                        <a:pt x="1696" y="1811"/>
                        <a:pt x="6540" y="375"/>
                      </a:cubicBezTo>
                      <a:cubicBezTo>
                        <a:pt x="11385" y="-1060"/>
                        <a:pt x="16469" y="1751"/>
                        <a:pt x="17964" y="6595"/>
                      </a:cubicBezTo>
                      <a:cubicBezTo>
                        <a:pt x="19399" y="11499"/>
                        <a:pt x="16648" y="16583"/>
                        <a:pt x="11803" y="18018"/>
                      </a:cubicBezTo>
                      <a:cubicBezTo>
                        <a:pt x="6959" y="19454"/>
                        <a:pt x="1816" y="16703"/>
                        <a:pt x="380" y="11799"/>
                      </a:cubicBezTo>
                      <a:close/>
                    </a:path>
                  </a:pathLst>
                </a:custGeom>
                <a:grpFill/>
                <a:ln w="5978" cap="flat">
                  <a:noFill/>
                  <a:prstDash val="solid"/>
                  <a:miter/>
                </a:ln>
              </p:spPr>
              <p:txBody>
                <a:bodyPr rtlCol="0" anchor="ctr"/>
                <a:lstStyle/>
                <a:p>
                  <a:endParaRPr lang="en-GB"/>
                </a:p>
              </p:txBody>
            </p:sp>
            <p:sp>
              <p:nvSpPr>
                <p:cNvPr id="3408" name="Vrije vorm: vorm 3407">
                  <a:extLst>
                    <a:ext uri="{FF2B5EF4-FFF2-40B4-BE49-F238E27FC236}">
                      <a16:creationId xmlns:a16="http://schemas.microsoft.com/office/drawing/2014/main" id="{0951EE4E-5AFF-4EDB-9E40-EFCC1CCDEBA2}"/>
                    </a:ext>
                  </a:extLst>
                </p:cNvPr>
                <p:cNvSpPr/>
                <p:nvPr/>
              </p:nvSpPr>
              <p:spPr>
                <a:xfrm>
                  <a:off x="5432228" y="1335394"/>
                  <a:ext cx="18344" cy="18403"/>
                </a:xfrm>
                <a:custGeom>
                  <a:avLst/>
                  <a:gdLst>
                    <a:gd name="connsiteX0" fmla="*/ 381 w 18344"/>
                    <a:gd name="connsiteY0" fmla="*/ 11803 h 18403"/>
                    <a:gd name="connsiteX1" fmla="*/ 11804 w 18344"/>
                    <a:gd name="connsiteY1" fmla="*/ 18023 h 18403"/>
                    <a:gd name="connsiteX2" fmla="*/ 17964 w 18344"/>
                    <a:gd name="connsiteY2" fmla="*/ 6600 h 18403"/>
                    <a:gd name="connsiteX3" fmla="*/ 6540 w 18344"/>
                    <a:gd name="connsiteY3" fmla="*/ 380 h 18403"/>
                    <a:gd name="connsiteX4" fmla="*/ 381 w 18344"/>
                    <a:gd name="connsiteY4" fmla="*/ 118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3">
                      <a:moveTo>
                        <a:pt x="381" y="11803"/>
                      </a:moveTo>
                      <a:cubicBezTo>
                        <a:pt x="1816" y="16707"/>
                        <a:pt x="6899" y="19459"/>
                        <a:pt x="11804" y="18023"/>
                      </a:cubicBezTo>
                      <a:cubicBezTo>
                        <a:pt x="16648" y="16588"/>
                        <a:pt x="19399" y="11444"/>
                        <a:pt x="17964" y="6600"/>
                      </a:cubicBezTo>
                      <a:cubicBezTo>
                        <a:pt x="16528" y="1696"/>
                        <a:pt x="11445" y="-1055"/>
                        <a:pt x="6540" y="380"/>
                      </a:cubicBezTo>
                      <a:cubicBezTo>
                        <a:pt x="1696" y="1815"/>
                        <a:pt x="-1055" y="6899"/>
                        <a:pt x="381" y="11803"/>
                      </a:cubicBezTo>
                      <a:close/>
                    </a:path>
                  </a:pathLst>
                </a:custGeom>
                <a:grpFill/>
                <a:ln w="5978" cap="flat">
                  <a:noFill/>
                  <a:prstDash val="solid"/>
                  <a:miter/>
                </a:ln>
              </p:spPr>
              <p:txBody>
                <a:bodyPr rtlCol="0" anchor="ctr"/>
                <a:lstStyle/>
                <a:p>
                  <a:endParaRPr lang="en-GB"/>
                </a:p>
              </p:txBody>
            </p:sp>
          </p:grpSp>
          <p:grpSp>
            <p:nvGrpSpPr>
              <p:cNvPr id="662" name="Graphic 3">
                <a:extLst>
                  <a:ext uri="{FF2B5EF4-FFF2-40B4-BE49-F238E27FC236}">
                    <a16:creationId xmlns:a16="http://schemas.microsoft.com/office/drawing/2014/main" id="{F4B25375-F4FF-409C-A067-A1FCFE45053A}"/>
                  </a:ext>
                </a:extLst>
              </p:cNvPr>
              <p:cNvGrpSpPr/>
              <p:nvPr/>
            </p:nvGrpSpPr>
            <p:grpSpPr>
              <a:xfrm>
                <a:off x="6656584" y="4976448"/>
                <a:ext cx="63891" cy="135285"/>
                <a:chOff x="6656584" y="4976448"/>
                <a:chExt cx="63891" cy="135285"/>
              </a:xfrm>
              <a:grpFill/>
            </p:grpSpPr>
            <p:sp>
              <p:nvSpPr>
                <p:cNvPr id="3403" name="Vrije vorm: vorm 3402">
                  <a:extLst>
                    <a:ext uri="{FF2B5EF4-FFF2-40B4-BE49-F238E27FC236}">
                      <a16:creationId xmlns:a16="http://schemas.microsoft.com/office/drawing/2014/main" id="{DA654552-22A7-4139-8AB1-1C40F1C45601}"/>
                    </a:ext>
                  </a:extLst>
                </p:cNvPr>
                <p:cNvSpPr/>
                <p:nvPr/>
              </p:nvSpPr>
              <p:spPr>
                <a:xfrm>
                  <a:off x="6663836" y="4984792"/>
                  <a:ext cx="48706" cy="118793"/>
                </a:xfrm>
                <a:custGeom>
                  <a:avLst/>
                  <a:gdLst>
                    <a:gd name="connsiteX0" fmla="*/ 0 w 48706"/>
                    <a:gd name="connsiteY0" fmla="*/ 1107 h 118793"/>
                    <a:gd name="connsiteX1" fmla="*/ 2842 w 48706"/>
                    <a:gd name="connsiteY1" fmla="*/ 0 h 118793"/>
                    <a:gd name="connsiteX2" fmla="*/ 48706 w 48706"/>
                    <a:gd name="connsiteY2" fmla="*/ 117686 h 118793"/>
                    <a:gd name="connsiteX3" fmla="*/ 45864 w 48706"/>
                    <a:gd name="connsiteY3" fmla="*/ 118793 h 118793"/>
                  </a:gdLst>
                  <a:ahLst/>
                  <a:cxnLst>
                    <a:cxn ang="0">
                      <a:pos x="connsiteX0" y="connsiteY0"/>
                    </a:cxn>
                    <a:cxn ang="0">
                      <a:pos x="connsiteX1" y="connsiteY1"/>
                    </a:cxn>
                    <a:cxn ang="0">
                      <a:pos x="connsiteX2" y="connsiteY2"/>
                    </a:cxn>
                    <a:cxn ang="0">
                      <a:pos x="connsiteX3" y="connsiteY3"/>
                    </a:cxn>
                  </a:cxnLst>
                  <a:rect l="l" t="t" r="r" b="b"/>
                  <a:pathLst>
                    <a:path w="48706" h="118793">
                      <a:moveTo>
                        <a:pt x="0" y="1107"/>
                      </a:moveTo>
                      <a:lnTo>
                        <a:pt x="2842" y="0"/>
                      </a:lnTo>
                      <a:lnTo>
                        <a:pt x="48706" y="117686"/>
                      </a:lnTo>
                      <a:lnTo>
                        <a:pt x="45864" y="118793"/>
                      </a:lnTo>
                      <a:close/>
                    </a:path>
                  </a:pathLst>
                </a:custGeom>
                <a:grpFill/>
                <a:ln w="5978" cap="flat">
                  <a:noFill/>
                  <a:prstDash val="solid"/>
                  <a:miter/>
                </a:ln>
              </p:spPr>
              <p:txBody>
                <a:bodyPr rtlCol="0" anchor="ctr"/>
                <a:lstStyle/>
                <a:p>
                  <a:endParaRPr lang="en-GB"/>
                </a:p>
              </p:txBody>
            </p:sp>
            <p:sp>
              <p:nvSpPr>
                <p:cNvPr id="3404" name="Vrije vorm: vorm 3403">
                  <a:extLst>
                    <a:ext uri="{FF2B5EF4-FFF2-40B4-BE49-F238E27FC236}">
                      <a16:creationId xmlns:a16="http://schemas.microsoft.com/office/drawing/2014/main" id="{005D57CE-5158-48D8-A068-32A523F00A87}"/>
                    </a:ext>
                  </a:extLst>
                </p:cNvPr>
                <p:cNvSpPr/>
                <p:nvPr/>
              </p:nvSpPr>
              <p:spPr>
                <a:xfrm>
                  <a:off x="6702097" y="5093304"/>
                  <a:ext cx="18378" cy="18429"/>
                </a:xfrm>
                <a:custGeom>
                  <a:avLst/>
                  <a:gdLst>
                    <a:gd name="connsiteX0" fmla="*/ 17742 w 18378"/>
                    <a:gd name="connsiteY0" fmla="*/ 5899 h 18429"/>
                    <a:gd name="connsiteX1" fmla="*/ 12538 w 18378"/>
                    <a:gd name="connsiteY1" fmla="*/ 17801 h 18429"/>
                    <a:gd name="connsiteX2" fmla="*/ 637 w 18378"/>
                    <a:gd name="connsiteY2" fmla="*/ 12538 h 18429"/>
                    <a:gd name="connsiteX3" fmla="*/ 5840 w 18378"/>
                    <a:gd name="connsiteY3" fmla="*/ 636 h 18429"/>
                    <a:gd name="connsiteX4" fmla="*/ 17742 w 18378"/>
                    <a:gd name="connsiteY4" fmla="*/ 58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9">
                      <a:moveTo>
                        <a:pt x="17742" y="5899"/>
                      </a:moveTo>
                      <a:cubicBezTo>
                        <a:pt x="19596" y="10624"/>
                        <a:pt x="17263" y="16007"/>
                        <a:pt x="12538" y="17801"/>
                      </a:cubicBezTo>
                      <a:cubicBezTo>
                        <a:pt x="7813" y="19655"/>
                        <a:pt x="2491" y="17262"/>
                        <a:pt x="637" y="12538"/>
                      </a:cubicBezTo>
                      <a:cubicBezTo>
                        <a:pt x="-1217" y="7813"/>
                        <a:pt x="1115" y="2430"/>
                        <a:pt x="5840" y="636"/>
                      </a:cubicBezTo>
                      <a:cubicBezTo>
                        <a:pt x="10565" y="-1218"/>
                        <a:pt x="15888" y="1114"/>
                        <a:pt x="17742" y="5899"/>
                      </a:cubicBezTo>
                      <a:close/>
                    </a:path>
                  </a:pathLst>
                </a:custGeom>
                <a:grpFill/>
                <a:ln w="5978" cap="flat">
                  <a:noFill/>
                  <a:prstDash val="solid"/>
                  <a:miter/>
                </a:ln>
              </p:spPr>
              <p:txBody>
                <a:bodyPr rtlCol="0" anchor="ctr"/>
                <a:lstStyle/>
                <a:p>
                  <a:endParaRPr lang="en-GB"/>
                </a:p>
              </p:txBody>
            </p:sp>
            <p:sp>
              <p:nvSpPr>
                <p:cNvPr id="3405" name="Vrije vorm: vorm 3404">
                  <a:extLst>
                    <a:ext uri="{FF2B5EF4-FFF2-40B4-BE49-F238E27FC236}">
                      <a16:creationId xmlns:a16="http://schemas.microsoft.com/office/drawing/2014/main" id="{3355A3C1-6ADC-461C-9929-6A8DCF1AA40C}"/>
                    </a:ext>
                  </a:extLst>
                </p:cNvPr>
                <p:cNvSpPr/>
                <p:nvPr/>
              </p:nvSpPr>
              <p:spPr>
                <a:xfrm>
                  <a:off x="6656584" y="4976448"/>
                  <a:ext cx="18378" cy="18421"/>
                </a:xfrm>
                <a:custGeom>
                  <a:avLst/>
                  <a:gdLst>
                    <a:gd name="connsiteX0" fmla="*/ 17742 w 18378"/>
                    <a:gd name="connsiteY0" fmla="*/ 5892 h 18421"/>
                    <a:gd name="connsiteX1" fmla="*/ 5840 w 18378"/>
                    <a:gd name="connsiteY1" fmla="*/ 629 h 18421"/>
                    <a:gd name="connsiteX2" fmla="*/ 637 w 18378"/>
                    <a:gd name="connsiteY2" fmla="*/ 12531 h 18421"/>
                    <a:gd name="connsiteX3" fmla="*/ 12539 w 18378"/>
                    <a:gd name="connsiteY3" fmla="*/ 17793 h 18421"/>
                    <a:gd name="connsiteX4" fmla="*/ 17742 w 18378"/>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1">
                      <a:moveTo>
                        <a:pt x="17742" y="5892"/>
                      </a:moveTo>
                      <a:cubicBezTo>
                        <a:pt x="15888" y="1167"/>
                        <a:pt x="10565" y="-1225"/>
                        <a:pt x="5840" y="629"/>
                      </a:cubicBezTo>
                      <a:cubicBezTo>
                        <a:pt x="1115" y="2483"/>
                        <a:pt x="-1217" y="7806"/>
                        <a:pt x="637" y="12531"/>
                      </a:cubicBezTo>
                      <a:cubicBezTo>
                        <a:pt x="2491" y="17255"/>
                        <a:pt x="7814" y="19647"/>
                        <a:pt x="12539" y="17793"/>
                      </a:cubicBezTo>
                      <a:cubicBezTo>
                        <a:pt x="17263" y="15939"/>
                        <a:pt x="19596" y="10617"/>
                        <a:pt x="17742" y="5892"/>
                      </a:cubicBezTo>
                      <a:close/>
                    </a:path>
                  </a:pathLst>
                </a:custGeom>
                <a:grpFill/>
                <a:ln w="5978" cap="flat">
                  <a:noFill/>
                  <a:prstDash val="solid"/>
                  <a:miter/>
                </a:ln>
              </p:spPr>
              <p:txBody>
                <a:bodyPr rtlCol="0" anchor="ctr"/>
                <a:lstStyle/>
                <a:p>
                  <a:endParaRPr lang="en-GB"/>
                </a:p>
              </p:txBody>
            </p:sp>
          </p:grpSp>
          <p:grpSp>
            <p:nvGrpSpPr>
              <p:cNvPr id="663" name="Graphic 3">
                <a:extLst>
                  <a:ext uri="{FF2B5EF4-FFF2-40B4-BE49-F238E27FC236}">
                    <a16:creationId xmlns:a16="http://schemas.microsoft.com/office/drawing/2014/main" id="{34727269-AE40-4382-AB7E-F38BA832654A}"/>
                  </a:ext>
                </a:extLst>
              </p:cNvPr>
              <p:cNvGrpSpPr/>
              <p:nvPr/>
            </p:nvGrpSpPr>
            <p:grpSpPr>
              <a:xfrm>
                <a:off x="5437431" y="1353042"/>
                <a:ext cx="56022" cy="145608"/>
                <a:chOff x="5437431" y="1353042"/>
                <a:chExt cx="56022" cy="145608"/>
              </a:xfrm>
              <a:grpFill/>
            </p:grpSpPr>
            <p:sp>
              <p:nvSpPr>
                <p:cNvPr id="3400" name="Vrije vorm: vorm 3399">
                  <a:extLst>
                    <a:ext uri="{FF2B5EF4-FFF2-40B4-BE49-F238E27FC236}">
                      <a16:creationId xmlns:a16="http://schemas.microsoft.com/office/drawing/2014/main" id="{90A2B8CB-D6F5-4A50-88C7-787F2C94C66D}"/>
                    </a:ext>
                  </a:extLst>
                </p:cNvPr>
                <p:cNvSpPr/>
                <p:nvPr/>
              </p:nvSpPr>
              <p:spPr>
                <a:xfrm>
                  <a:off x="5444988" y="1361372"/>
                  <a:ext cx="40848" cy="128944"/>
                </a:xfrm>
                <a:custGeom>
                  <a:avLst/>
                  <a:gdLst>
                    <a:gd name="connsiteX0" fmla="*/ 2931 w 40848"/>
                    <a:gd name="connsiteY0" fmla="*/ 0 h 128944"/>
                    <a:gd name="connsiteX1" fmla="*/ 40848 w 40848"/>
                    <a:gd name="connsiteY1" fmla="*/ 128047 h 128944"/>
                    <a:gd name="connsiteX2" fmla="*/ 37978 w 40848"/>
                    <a:gd name="connsiteY2" fmla="*/ 128944 h 128944"/>
                    <a:gd name="connsiteX3" fmla="*/ 0 w 40848"/>
                    <a:gd name="connsiteY3" fmla="*/ 897 h 128944"/>
                  </a:gdLst>
                  <a:ahLst/>
                  <a:cxnLst>
                    <a:cxn ang="0">
                      <a:pos x="connsiteX0" y="connsiteY0"/>
                    </a:cxn>
                    <a:cxn ang="0">
                      <a:pos x="connsiteX1" y="connsiteY1"/>
                    </a:cxn>
                    <a:cxn ang="0">
                      <a:pos x="connsiteX2" y="connsiteY2"/>
                    </a:cxn>
                    <a:cxn ang="0">
                      <a:pos x="connsiteX3" y="connsiteY3"/>
                    </a:cxn>
                  </a:cxnLst>
                  <a:rect l="l" t="t" r="r" b="b"/>
                  <a:pathLst>
                    <a:path w="40848" h="128944">
                      <a:moveTo>
                        <a:pt x="2931" y="0"/>
                      </a:moveTo>
                      <a:lnTo>
                        <a:pt x="40848" y="128047"/>
                      </a:lnTo>
                      <a:lnTo>
                        <a:pt x="37978" y="128944"/>
                      </a:lnTo>
                      <a:lnTo>
                        <a:pt x="0" y="897"/>
                      </a:lnTo>
                      <a:close/>
                    </a:path>
                  </a:pathLst>
                </a:custGeom>
                <a:grpFill/>
                <a:ln w="5978" cap="flat">
                  <a:noFill/>
                  <a:prstDash val="solid"/>
                  <a:miter/>
                </a:ln>
              </p:spPr>
              <p:txBody>
                <a:bodyPr rtlCol="0" anchor="ctr"/>
                <a:lstStyle/>
                <a:p>
                  <a:endParaRPr lang="en-GB"/>
                </a:p>
              </p:txBody>
            </p:sp>
            <p:sp>
              <p:nvSpPr>
                <p:cNvPr id="3401" name="Vrije vorm: vorm 3400">
                  <a:extLst>
                    <a:ext uri="{FF2B5EF4-FFF2-40B4-BE49-F238E27FC236}">
                      <a16:creationId xmlns:a16="http://schemas.microsoft.com/office/drawing/2014/main" id="{6353500B-28A8-4C34-81B1-DD6091B9ADA6}"/>
                    </a:ext>
                  </a:extLst>
                </p:cNvPr>
                <p:cNvSpPr/>
                <p:nvPr/>
              </p:nvSpPr>
              <p:spPr>
                <a:xfrm>
                  <a:off x="5437431" y="1353042"/>
                  <a:ext cx="18344" cy="18420"/>
                </a:xfrm>
                <a:custGeom>
                  <a:avLst/>
                  <a:gdLst>
                    <a:gd name="connsiteX0" fmla="*/ 380 w 18344"/>
                    <a:gd name="connsiteY0" fmla="*/ 11799 h 18420"/>
                    <a:gd name="connsiteX1" fmla="*/ 6540 w 18344"/>
                    <a:gd name="connsiteY1" fmla="*/ 375 h 18420"/>
                    <a:gd name="connsiteX2" fmla="*/ 17964 w 18344"/>
                    <a:gd name="connsiteY2" fmla="*/ 6595 h 18420"/>
                    <a:gd name="connsiteX3" fmla="*/ 11803 w 18344"/>
                    <a:gd name="connsiteY3" fmla="*/ 18018 h 18420"/>
                    <a:gd name="connsiteX4" fmla="*/ 380 w 18344"/>
                    <a:gd name="connsiteY4" fmla="*/ 1179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0">
                      <a:moveTo>
                        <a:pt x="380" y="11799"/>
                      </a:moveTo>
                      <a:cubicBezTo>
                        <a:pt x="-1055" y="6894"/>
                        <a:pt x="1696" y="1811"/>
                        <a:pt x="6540" y="375"/>
                      </a:cubicBezTo>
                      <a:cubicBezTo>
                        <a:pt x="11385" y="-1060"/>
                        <a:pt x="16469" y="1751"/>
                        <a:pt x="17964" y="6595"/>
                      </a:cubicBezTo>
                      <a:cubicBezTo>
                        <a:pt x="19399" y="11499"/>
                        <a:pt x="16648" y="16583"/>
                        <a:pt x="11803" y="18018"/>
                      </a:cubicBezTo>
                      <a:cubicBezTo>
                        <a:pt x="6959" y="19514"/>
                        <a:pt x="1816" y="16703"/>
                        <a:pt x="380" y="11799"/>
                      </a:cubicBezTo>
                      <a:close/>
                    </a:path>
                  </a:pathLst>
                </a:custGeom>
                <a:grpFill/>
                <a:ln w="5978" cap="flat">
                  <a:noFill/>
                  <a:prstDash val="solid"/>
                  <a:miter/>
                </a:ln>
              </p:spPr>
              <p:txBody>
                <a:bodyPr rtlCol="0" anchor="ctr"/>
                <a:lstStyle/>
                <a:p>
                  <a:endParaRPr lang="en-GB"/>
                </a:p>
              </p:txBody>
            </p:sp>
            <p:sp>
              <p:nvSpPr>
                <p:cNvPr id="3402" name="Vrije vorm: vorm 3401">
                  <a:extLst>
                    <a:ext uri="{FF2B5EF4-FFF2-40B4-BE49-F238E27FC236}">
                      <a16:creationId xmlns:a16="http://schemas.microsoft.com/office/drawing/2014/main" id="{B7BE06A8-A585-4566-A56F-A158BE420EF8}"/>
                    </a:ext>
                  </a:extLst>
                </p:cNvPr>
                <p:cNvSpPr/>
                <p:nvPr/>
              </p:nvSpPr>
              <p:spPr>
                <a:xfrm>
                  <a:off x="5475110" y="1480248"/>
                  <a:ext cx="18344" cy="18403"/>
                </a:xfrm>
                <a:custGeom>
                  <a:avLst/>
                  <a:gdLst>
                    <a:gd name="connsiteX0" fmla="*/ 380 w 18344"/>
                    <a:gd name="connsiteY0" fmla="*/ 11803 h 18403"/>
                    <a:gd name="connsiteX1" fmla="*/ 11803 w 18344"/>
                    <a:gd name="connsiteY1" fmla="*/ 18023 h 18403"/>
                    <a:gd name="connsiteX2" fmla="*/ 17964 w 18344"/>
                    <a:gd name="connsiteY2" fmla="*/ 6600 h 18403"/>
                    <a:gd name="connsiteX3" fmla="*/ 6540 w 18344"/>
                    <a:gd name="connsiteY3" fmla="*/ 380 h 18403"/>
                    <a:gd name="connsiteX4" fmla="*/ 380 w 18344"/>
                    <a:gd name="connsiteY4" fmla="*/ 118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3">
                      <a:moveTo>
                        <a:pt x="380" y="11803"/>
                      </a:moveTo>
                      <a:cubicBezTo>
                        <a:pt x="1816" y="16707"/>
                        <a:pt x="6959" y="19459"/>
                        <a:pt x="11803" y="18023"/>
                      </a:cubicBezTo>
                      <a:cubicBezTo>
                        <a:pt x="16648" y="16588"/>
                        <a:pt x="19399" y="11444"/>
                        <a:pt x="17964" y="6600"/>
                      </a:cubicBezTo>
                      <a:cubicBezTo>
                        <a:pt x="16528" y="1696"/>
                        <a:pt x="11385" y="-1055"/>
                        <a:pt x="6540" y="380"/>
                      </a:cubicBezTo>
                      <a:cubicBezTo>
                        <a:pt x="1696" y="1756"/>
                        <a:pt x="-1055" y="6899"/>
                        <a:pt x="380" y="11803"/>
                      </a:cubicBezTo>
                      <a:close/>
                    </a:path>
                  </a:pathLst>
                </a:custGeom>
                <a:grpFill/>
                <a:ln w="5978" cap="flat">
                  <a:noFill/>
                  <a:prstDash val="solid"/>
                  <a:miter/>
                </a:ln>
              </p:spPr>
              <p:txBody>
                <a:bodyPr rtlCol="0" anchor="ctr"/>
                <a:lstStyle/>
                <a:p>
                  <a:endParaRPr lang="en-GB"/>
                </a:p>
              </p:txBody>
            </p:sp>
          </p:grpSp>
          <p:grpSp>
            <p:nvGrpSpPr>
              <p:cNvPr id="664" name="Graphic 3">
                <a:extLst>
                  <a:ext uri="{FF2B5EF4-FFF2-40B4-BE49-F238E27FC236}">
                    <a16:creationId xmlns:a16="http://schemas.microsoft.com/office/drawing/2014/main" id="{9D90EE60-BBBE-4276-9BC9-44C104D0D136}"/>
                  </a:ext>
                </a:extLst>
              </p:cNvPr>
              <p:cNvGrpSpPr/>
              <p:nvPr/>
            </p:nvGrpSpPr>
            <p:grpSpPr>
              <a:xfrm>
                <a:off x="6655889" y="4976702"/>
                <a:ext cx="139264" cy="433036"/>
                <a:chOff x="6655889" y="4976702"/>
                <a:chExt cx="139264" cy="433036"/>
              </a:xfrm>
              <a:grpFill/>
            </p:grpSpPr>
            <p:sp>
              <p:nvSpPr>
                <p:cNvPr id="3397" name="Vrije vorm: vorm 3396">
                  <a:extLst>
                    <a:ext uri="{FF2B5EF4-FFF2-40B4-BE49-F238E27FC236}">
                      <a16:creationId xmlns:a16="http://schemas.microsoft.com/office/drawing/2014/main" id="{BAA9BFC3-DD4F-4C1E-89E5-90ECEF47AD53}"/>
                    </a:ext>
                  </a:extLst>
                </p:cNvPr>
                <p:cNvSpPr/>
                <p:nvPr/>
              </p:nvSpPr>
              <p:spPr>
                <a:xfrm>
                  <a:off x="6663391" y="4985352"/>
                  <a:ext cx="124119" cy="416365"/>
                </a:xfrm>
                <a:custGeom>
                  <a:avLst/>
                  <a:gdLst>
                    <a:gd name="connsiteX0" fmla="*/ 0 w 124119"/>
                    <a:gd name="connsiteY0" fmla="*/ 854 h 416365"/>
                    <a:gd name="connsiteX1" fmla="*/ 2928 w 124119"/>
                    <a:gd name="connsiteY1" fmla="*/ 0 h 416365"/>
                    <a:gd name="connsiteX2" fmla="*/ 124119 w 124119"/>
                    <a:gd name="connsiteY2" fmla="*/ 415512 h 416365"/>
                    <a:gd name="connsiteX3" fmla="*/ 121191 w 124119"/>
                    <a:gd name="connsiteY3" fmla="*/ 416366 h 416365"/>
                  </a:gdLst>
                  <a:ahLst/>
                  <a:cxnLst>
                    <a:cxn ang="0">
                      <a:pos x="connsiteX0" y="connsiteY0"/>
                    </a:cxn>
                    <a:cxn ang="0">
                      <a:pos x="connsiteX1" y="connsiteY1"/>
                    </a:cxn>
                    <a:cxn ang="0">
                      <a:pos x="connsiteX2" y="connsiteY2"/>
                    </a:cxn>
                    <a:cxn ang="0">
                      <a:pos x="connsiteX3" y="connsiteY3"/>
                    </a:cxn>
                  </a:cxnLst>
                  <a:rect l="l" t="t" r="r" b="b"/>
                  <a:pathLst>
                    <a:path w="124119" h="416365">
                      <a:moveTo>
                        <a:pt x="0" y="854"/>
                      </a:moveTo>
                      <a:lnTo>
                        <a:pt x="2928" y="0"/>
                      </a:lnTo>
                      <a:lnTo>
                        <a:pt x="124119" y="415512"/>
                      </a:lnTo>
                      <a:lnTo>
                        <a:pt x="121191" y="416366"/>
                      </a:lnTo>
                      <a:close/>
                    </a:path>
                  </a:pathLst>
                </a:custGeom>
                <a:grpFill/>
                <a:ln w="5978" cap="flat">
                  <a:noFill/>
                  <a:prstDash val="solid"/>
                  <a:miter/>
                </a:ln>
              </p:spPr>
              <p:txBody>
                <a:bodyPr rtlCol="0" anchor="ctr"/>
                <a:lstStyle/>
                <a:p>
                  <a:endParaRPr lang="en-GB"/>
                </a:p>
              </p:txBody>
            </p:sp>
            <p:sp>
              <p:nvSpPr>
                <p:cNvPr id="3398" name="Vrije vorm: vorm 3397">
                  <a:extLst>
                    <a:ext uri="{FF2B5EF4-FFF2-40B4-BE49-F238E27FC236}">
                      <a16:creationId xmlns:a16="http://schemas.microsoft.com/office/drawing/2014/main" id="{7791FDE7-69FC-4804-B707-FCF4C8F86832}"/>
                    </a:ext>
                  </a:extLst>
                </p:cNvPr>
                <p:cNvSpPr/>
                <p:nvPr/>
              </p:nvSpPr>
              <p:spPr>
                <a:xfrm>
                  <a:off x="6655889" y="4976702"/>
                  <a:ext cx="18334" cy="18427"/>
                </a:xfrm>
                <a:custGeom>
                  <a:avLst/>
                  <a:gdLst>
                    <a:gd name="connsiteX0" fmla="*/ 375 w 18334"/>
                    <a:gd name="connsiteY0" fmla="*/ 11798 h 18427"/>
                    <a:gd name="connsiteX1" fmla="*/ 6595 w 18334"/>
                    <a:gd name="connsiteY1" fmla="*/ 375 h 18427"/>
                    <a:gd name="connsiteX2" fmla="*/ 17959 w 18334"/>
                    <a:gd name="connsiteY2" fmla="*/ 6655 h 18427"/>
                    <a:gd name="connsiteX3" fmla="*/ 11739 w 18334"/>
                    <a:gd name="connsiteY3" fmla="*/ 18078 h 18427"/>
                    <a:gd name="connsiteX4" fmla="*/ 375 w 18334"/>
                    <a:gd name="connsiteY4" fmla="*/ 1179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7">
                      <a:moveTo>
                        <a:pt x="375" y="11798"/>
                      </a:moveTo>
                      <a:cubicBezTo>
                        <a:pt x="-1060" y="6894"/>
                        <a:pt x="1751" y="1811"/>
                        <a:pt x="6595" y="375"/>
                      </a:cubicBezTo>
                      <a:cubicBezTo>
                        <a:pt x="11440" y="-1060"/>
                        <a:pt x="16523" y="1751"/>
                        <a:pt x="17959" y="6655"/>
                      </a:cubicBezTo>
                      <a:cubicBezTo>
                        <a:pt x="19394" y="11559"/>
                        <a:pt x="16583" y="16643"/>
                        <a:pt x="11739" y="18078"/>
                      </a:cubicBezTo>
                      <a:cubicBezTo>
                        <a:pt x="6894" y="19453"/>
                        <a:pt x="1811" y="16643"/>
                        <a:pt x="375" y="11798"/>
                      </a:cubicBezTo>
                      <a:close/>
                    </a:path>
                  </a:pathLst>
                </a:custGeom>
                <a:grpFill/>
                <a:ln w="5978" cap="flat">
                  <a:noFill/>
                  <a:prstDash val="solid"/>
                  <a:miter/>
                </a:ln>
              </p:spPr>
              <p:txBody>
                <a:bodyPr rtlCol="0" anchor="ctr"/>
                <a:lstStyle/>
                <a:p>
                  <a:endParaRPr lang="en-GB"/>
                </a:p>
              </p:txBody>
            </p:sp>
            <p:sp>
              <p:nvSpPr>
                <p:cNvPr id="3399" name="Vrije vorm: vorm 3398">
                  <a:extLst>
                    <a:ext uri="{FF2B5EF4-FFF2-40B4-BE49-F238E27FC236}">
                      <a16:creationId xmlns:a16="http://schemas.microsoft.com/office/drawing/2014/main" id="{56878248-21C8-4DFA-911B-8E7893BE82CD}"/>
                    </a:ext>
                  </a:extLst>
                </p:cNvPr>
                <p:cNvSpPr/>
                <p:nvPr/>
              </p:nvSpPr>
              <p:spPr>
                <a:xfrm>
                  <a:off x="6776819" y="5391285"/>
                  <a:ext cx="18334" cy="18453"/>
                </a:xfrm>
                <a:custGeom>
                  <a:avLst/>
                  <a:gdLst>
                    <a:gd name="connsiteX0" fmla="*/ 375 w 18334"/>
                    <a:gd name="connsiteY0" fmla="*/ 11798 h 18453"/>
                    <a:gd name="connsiteX1" fmla="*/ 11739 w 18334"/>
                    <a:gd name="connsiteY1" fmla="*/ 18078 h 18453"/>
                    <a:gd name="connsiteX2" fmla="*/ 17959 w 18334"/>
                    <a:gd name="connsiteY2" fmla="*/ 6655 h 18453"/>
                    <a:gd name="connsiteX3" fmla="*/ 6595 w 18334"/>
                    <a:gd name="connsiteY3" fmla="*/ 375 h 18453"/>
                    <a:gd name="connsiteX4" fmla="*/ 375 w 18334"/>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3">
                      <a:moveTo>
                        <a:pt x="375" y="11798"/>
                      </a:moveTo>
                      <a:cubicBezTo>
                        <a:pt x="1811" y="16703"/>
                        <a:pt x="6894" y="19513"/>
                        <a:pt x="11739" y="18078"/>
                      </a:cubicBezTo>
                      <a:cubicBezTo>
                        <a:pt x="16583" y="16643"/>
                        <a:pt x="19394" y="11559"/>
                        <a:pt x="17959" y="6655"/>
                      </a:cubicBezTo>
                      <a:cubicBezTo>
                        <a:pt x="16523" y="1751"/>
                        <a:pt x="11440" y="-1060"/>
                        <a:pt x="6595" y="375"/>
                      </a:cubicBezTo>
                      <a:cubicBezTo>
                        <a:pt x="1751" y="1810"/>
                        <a:pt x="-1060" y="6894"/>
                        <a:pt x="375" y="11798"/>
                      </a:cubicBezTo>
                      <a:close/>
                    </a:path>
                  </a:pathLst>
                </a:custGeom>
                <a:grpFill/>
                <a:ln w="5978" cap="flat">
                  <a:noFill/>
                  <a:prstDash val="solid"/>
                  <a:miter/>
                </a:ln>
              </p:spPr>
              <p:txBody>
                <a:bodyPr rtlCol="0" anchor="ctr"/>
                <a:lstStyle/>
                <a:p>
                  <a:endParaRPr lang="en-GB"/>
                </a:p>
              </p:txBody>
            </p:sp>
          </p:grpSp>
          <p:grpSp>
            <p:nvGrpSpPr>
              <p:cNvPr id="665" name="Graphic 3">
                <a:extLst>
                  <a:ext uri="{FF2B5EF4-FFF2-40B4-BE49-F238E27FC236}">
                    <a16:creationId xmlns:a16="http://schemas.microsoft.com/office/drawing/2014/main" id="{B24C4AA6-176F-456A-9BFF-76E041FBEA02}"/>
                  </a:ext>
                </a:extLst>
              </p:cNvPr>
              <p:cNvGrpSpPr/>
              <p:nvPr/>
            </p:nvGrpSpPr>
            <p:grpSpPr>
              <a:xfrm>
                <a:off x="5480373" y="1497895"/>
                <a:ext cx="105842" cy="314025"/>
                <a:chOff x="5480373" y="1497895"/>
                <a:chExt cx="105842" cy="314025"/>
              </a:xfrm>
              <a:grpFill/>
            </p:grpSpPr>
            <p:sp>
              <p:nvSpPr>
                <p:cNvPr id="3394" name="Vrije vorm: vorm 3393">
                  <a:extLst>
                    <a:ext uri="{FF2B5EF4-FFF2-40B4-BE49-F238E27FC236}">
                      <a16:creationId xmlns:a16="http://schemas.microsoft.com/office/drawing/2014/main" id="{09C0FA92-9CAA-4F8A-AF89-EAD2ACF662F7}"/>
                    </a:ext>
                  </a:extLst>
                </p:cNvPr>
                <p:cNvSpPr/>
                <p:nvPr/>
              </p:nvSpPr>
              <p:spPr>
                <a:xfrm>
                  <a:off x="5487930" y="1506225"/>
                  <a:ext cx="90727" cy="297361"/>
                </a:xfrm>
                <a:custGeom>
                  <a:avLst/>
                  <a:gdLst>
                    <a:gd name="connsiteX0" fmla="*/ 2930 w 90727"/>
                    <a:gd name="connsiteY0" fmla="*/ 0 h 297361"/>
                    <a:gd name="connsiteX1" fmla="*/ 90727 w 90727"/>
                    <a:gd name="connsiteY1" fmla="*/ 296524 h 297361"/>
                    <a:gd name="connsiteX2" fmla="*/ 87797 w 90727"/>
                    <a:gd name="connsiteY2" fmla="*/ 297361 h 297361"/>
                    <a:gd name="connsiteX3" fmla="*/ 0 w 90727"/>
                    <a:gd name="connsiteY3" fmla="*/ 897 h 297361"/>
                  </a:gdLst>
                  <a:ahLst/>
                  <a:cxnLst>
                    <a:cxn ang="0">
                      <a:pos x="connsiteX0" y="connsiteY0"/>
                    </a:cxn>
                    <a:cxn ang="0">
                      <a:pos x="connsiteX1" y="connsiteY1"/>
                    </a:cxn>
                    <a:cxn ang="0">
                      <a:pos x="connsiteX2" y="connsiteY2"/>
                    </a:cxn>
                    <a:cxn ang="0">
                      <a:pos x="connsiteX3" y="connsiteY3"/>
                    </a:cxn>
                  </a:cxnLst>
                  <a:rect l="l" t="t" r="r" b="b"/>
                  <a:pathLst>
                    <a:path w="90727" h="297361">
                      <a:moveTo>
                        <a:pt x="2930" y="0"/>
                      </a:moveTo>
                      <a:lnTo>
                        <a:pt x="90727" y="296524"/>
                      </a:lnTo>
                      <a:lnTo>
                        <a:pt x="87797" y="297361"/>
                      </a:lnTo>
                      <a:lnTo>
                        <a:pt x="0" y="897"/>
                      </a:lnTo>
                      <a:close/>
                    </a:path>
                  </a:pathLst>
                </a:custGeom>
                <a:grpFill/>
                <a:ln w="5978" cap="flat">
                  <a:noFill/>
                  <a:prstDash val="solid"/>
                  <a:miter/>
                </a:ln>
              </p:spPr>
              <p:txBody>
                <a:bodyPr rtlCol="0" anchor="ctr"/>
                <a:lstStyle/>
                <a:p>
                  <a:endParaRPr lang="en-GB"/>
                </a:p>
              </p:txBody>
            </p:sp>
            <p:sp>
              <p:nvSpPr>
                <p:cNvPr id="3395" name="Vrije vorm: vorm 3394">
                  <a:extLst>
                    <a:ext uri="{FF2B5EF4-FFF2-40B4-BE49-F238E27FC236}">
                      <a16:creationId xmlns:a16="http://schemas.microsoft.com/office/drawing/2014/main" id="{528B1ACD-FFD1-40A8-B20F-79A054296921}"/>
                    </a:ext>
                  </a:extLst>
                </p:cNvPr>
                <p:cNvSpPr/>
                <p:nvPr/>
              </p:nvSpPr>
              <p:spPr>
                <a:xfrm>
                  <a:off x="5480373" y="1497895"/>
                  <a:ext cx="18344" cy="18420"/>
                </a:xfrm>
                <a:custGeom>
                  <a:avLst/>
                  <a:gdLst>
                    <a:gd name="connsiteX0" fmla="*/ 380 w 18344"/>
                    <a:gd name="connsiteY0" fmla="*/ 11799 h 18420"/>
                    <a:gd name="connsiteX1" fmla="*/ 6540 w 18344"/>
                    <a:gd name="connsiteY1" fmla="*/ 375 h 18420"/>
                    <a:gd name="connsiteX2" fmla="*/ 17964 w 18344"/>
                    <a:gd name="connsiteY2" fmla="*/ 6595 h 18420"/>
                    <a:gd name="connsiteX3" fmla="*/ 11803 w 18344"/>
                    <a:gd name="connsiteY3" fmla="*/ 18019 h 18420"/>
                    <a:gd name="connsiteX4" fmla="*/ 380 w 18344"/>
                    <a:gd name="connsiteY4" fmla="*/ 1179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0">
                      <a:moveTo>
                        <a:pt x="380" y="11799"/>
                      </a:moveTo>
                      <a:cubicBezTo>
                        <a:pt x="-1055" y="6894"/>
                        <a:pt x="1696" y="1811"/>
                        <a:pt x="6540" y="375"/>
                      </a:cubicBezTo>
                      <a:cubicBezTo>
                        <a:pt x="11385" y="-1060"/>
                        <a:pt x="16469" y="1751"/>
                        <a:pt x="17964" y="6595"/>
                      </a:cubicBezTo>
                      <a:cubicBezTo>
                        <a:pt x="19399" y="11499"/>
                        <a:pt x="16648" y="16583"/>
                        <a:pt x="11803" y="18019"/>
                      </a:cubicBezTo>
                      <a:cubicBezTo>
                        <a:pt x="6899" y="19514"/>
                        <a:pt x="1816" y="16703"/>
                        <a:pt x="380" y="11799"/>
                      </a:cubicBezTo>
                      <a:close/>
                    </a:path>
                  </a:pathLst>
                </a:custGeom>
                <a:grpFill/>
                <a:ln w="5978" cap="flat">
                  <a:noFill/>
                  <a:prstDash val="solid"/>
                  <a:miter/>
                </a:ln>
              </p:spPr>
              <p:txBody>
                <a:bodyPr rtlCol="0" anchor="ctr"/>
                <a:lstStyle/>
                <a:p>
                  <a:endParaRPr lang="en-GB"/>
                </a:p>
              </p:txBody>
            </p:sp>
            <p:sp>
              <p:nvSpPr>
                <p:cNvPr id="3396" name="Vrije vorm: vorm 3395">
                  <a:extLst>
                    <a:ext uri="{FF2B5EF4-FFF2-40B4-BE49-F238E27FC236}">
                      <a16:creationId xmlns:a16="http://schemas.microsoft.com/office/drawing/2014/main" id="{97FF645A-EEBA-4F0A-BB89-6E1326E16DDE}"/>
                    </a:ext>
                  </a:extLst>
                </p:cNvPr>
                <p:cNvSpPr/>
                <p:nvPr/>
              </p:nvSpPr>
              <p:spPr>
                <a:xfrm>
                  <a:off x="5567871" y="1793518"/>
                  <a:ext cx="18344" cy="18403"/>
                </a:xfrm>
                <a:custGeom>
                  <a:avLst/>
                  <a:gdLst>
                    <a:gd name="connsiteX0" fmla="*/ 380 w 18344"/>
                    <a:gd name="connsiteY0" fmla="*/ 11803 h 18403"/>
                    <a:gd name="connsiteX1" fmla="*/ 11803 w 18344"/>
                    <a:gd name="connsiteY1" fmla="*/ 18023 h 18403"/>
                    <a:gd name="connsiteX2" fmla="*/ 17964 w 18344"/>
                    <a:gd name="connsiteY2" fmla="*/ 6600 h 18403"/>
                    <a:gd name="connsiteX3" fmla="*/ 6540 w 18344"/>
                    <a:gd name="connsiteY3" fmla="*/ 380 h 18403"/>
                    <a:gd name="connsiteX4" fmla="*/ 380 w 18344"/>
                    <a:gd name="connsiteY4" fmla="*/ 118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3">
                      <a:moveTo>
                        <a:pt x="380" y="11803"/>
                      </a:moveTo>
                      <a:cubicBezTo>
                        <a:pt x="1816" y="16707"/>
                        <a:pt x="6959" y="19459"/>
                        <a:pt x="11803" y="18023"/>
                      </a:cubicBezTo>
                      <a:cubicBezTo>
                        <a:pt x="16648" y="16588"/>
                        <a:pt x="19399" y="11444"/>
                        <a:pt x="17964" y="6600"/>
                      </a:cubicBezTo>
                      <a:cubicBezTo>
                        <a:pt x="16528" y="1696"/>
                        <a:pt x="11385" y="-1055"/>
                        <a:pt x="6540" y="380"/>
                      </a:cubicBezTo>
                      <a:cubicBezTo>
                        <a:pt x="1696" y="1815"/>
                        <a:pt x="-1055" y="6959"/>
                        <a:pt x="380" y="11803"/>
                      </a:cubicBezTo>
                      <a:close/>
                    </a:path>
                  </a:pathLst>
                </a:custGeom>
                <a:grpFill/>
                <a:ln w="5978" cap="flat">
                  <a:noFill/>
                  <a:prstDash val="solid"/>
                  <a:miter/>
                </a:ln>
              </p:spPr>
              <p:txBody>
                <a:bodyPr rtlCol="0" anchor="ctr"/>
                <a:lstStyle/>
                <a:p>
                  <a:endParaRPr lang="en-GB"/>
                </a:p>
              </p:txBody>
            </p:sp>
          </p:grpSp>
          <p:grpSp>
            <p:nvGrpSpPr>
              <p:cNvPr id="666" name="Graphic 3">
                <a:extLst>
                  <a:ext uri="{FF2B5EF4-FFF2-40B4-BE49-F238E27FC236}">
                    <a16:creationId xmlns:a16="http://schemas.microsoft.com/office/drawing/2014/main" id="{0585E98F-3870-4101-9DBD-EE56B3794443}"/>
                  </a:ext>
                </a:extLst>
              </p:cNvPr>
              <p:cNvGrpSpPr/>
              <p:nvPr/>
            </p:nvGrpSpPr>
            <p:grpSpPr>
              <a:xfrm>
                <a:off x="5428247" y="1324117"/>
                <a:ext cx="128399" cy="495253"/>
                <a:chOff x="5428247" y="1324117"/>
                <a:chExt cx="128399" cy="495253"/>
              </a:xfrm>
              <a:grpFill/>
            </p:grpSpPr>
            <p:sp>
              <p:nvSpPr>
                <p:cNvPr id="3391" name="Vrije vorm: vorm 3390">
                  <a:extLst>
                    <a:ext uri="{FF2B5EF4-FFF2-40B4-BE49-F238E27FC236}">
                      <a16:creationId xmlns:a16="http://schemas.microsoft.com/office/drawing/2014/main" id="{FA9B84BB-F26E-4561-A597-A2F79A3E6456}"/>
                    </a:ext>
                  </a:extLst>
                </p:cNvPr>
                <p:cNvSpPr/>
                <p:nvPr/>
              </p:nvSpPr>
              <p:spPr>
                <a:xfrm>
                  <a:off x="5435821" y="1332558"/>
                  <a:ext cx="113191" cy="478433"/>
                </a:xfrm>
                <a:custGeom>
                  <a:avLst/>
                  <a:gdLst>
                    <a:gd name="connsiteX0" fmla="*/ 0 w 113191"/>
                    <a:gd name="connsiteY0" fmla="*/ 686 h 478433"/>
                    <a:gd name="connsiteX1" fmla="*/ 2972 w 113191"/>
                    <a:gd name="connsiteY1" fmla="*/ 0 h 478433"/>
                    <a:gd name="connsiteX2" fmla="*/ 113192 w 113191"/>
                    <a:gd name="connsiteY2" fmla="*/ 477748 h 478433"/>
                    <a:gd name="connsiteX3" fmla="*/ 110219 w 113191"/>
                    <a:gd name="connsiteY3" fmla="*/ 478434 h 478433"/>
                  </a:gdLst>
                  <a:ahLst/>
                  <a:cxnLst>
                    <a:cxn ang="0">
                      <a:pos x="connsiteX0" y="connsiteY0"/>
                    </a:cxn>
                    <a:cxn ang="0">
                      <a:pos x="connsiteX1" y="connsiteY1"/>
                    </a:cxn>
                    <a:cxn ang="0">
                      <a:pos x="connsiteX2" y="connsiteY2"/>
                    </a:cxn>
                    <a:cxn ang="0">
                      <a:pos x="connsiteX3" y="connsiteY3"/>
                    </a:cxn>
                  </a:cxnLst>
                  <a:rect l="l" t="t" r="r" b="b"/>
                  <a:pathLst>
                    <a:path w="113191" h="478433">
                      <a:moveTo>
                        <a:pt x="0" y="686"/>
                      </a:moveTo>
                      <a:lnTo>
                        <a:pt x="2972" y="0"/>
                      </a:lnTo>
                      <a:lnTo>
                        <a:pt x="113192" y="477748"/>
                      </a:lnTo>
                      <a:lnTo>
                        <a:pt x="110219" y="478434"/>
                      </a:lnTo>
                      <a:close/>
                    </a:path>
                  </a:pathLst>
                </a:custGeom>
                <a:grpFill/>
                <a:ln w="5978" cap="flat">
                  <a:noFill/>
                  <a:prstDash val="solid"/>
                  <a:miter/>
                </a:ln>
              </p:spPr>
              <p:txBody>
                <a:bodyPr rtlCol="0" anchor="ctr"/>
                <a:lstStyle/>
                <a:p>
                  <a:endParaRPr lang="en-GB"/>
                </a:p>
              </p:txBody>
            </p:sp>
            <p:sp>
              <p:nvSpPr>
                <p:cNvPr id="3392" name="Vrije vorm: vorm 3391">
                  <a:extLst>
                    <a:ext uri="{FF2B5EF4-FFF2-40B4-BE49-F238E27FC236}">
                      <a16:creationId xmlns:a16="http://schemas.microsoft.com/office/drawing/2014/main" id="{B40CFFAE-AE92-43FF-A26F-5F362C90211E}"/>
                    </a:ext>
                  </a:extLst>
                </p:cNvPr>
                <p:cNvSpPr/>
                <p:nvPr/>
              </p:nvSpPr>
              <p:spPr>
                <a:xfrm>
                  <a:off x="5538289" y="1800960"/>
                  <a:ext cx="18357" cy="18410"/>
                </a:xfrm>
                <a:custGeom>
                  <a:avLst/>
                  <a:gdLst>
                    <a:gd name="connsiteX0" fmla="*/ 18120 w 18357"/>
                    <a:gd name="connsiteY0" fmla="*/ 7172 h 18410"/>
                    <a:gd name="connsiteX1" fmla="*/ 11242 w 18357"/>
                    <a:gd name="connsiteY1" fmla="*/ 18176 h 18410"/>
                    <a:gd name="connsiteX2" fmla="*/ 237 w 18357"/>
                    <a:gd name="connsiteY2" fmla="*/ 11239 h 18410"/>
                    <a:gd name="connsiteX3" fmla="*/ 7115 w 18357"/>
                    <a:gd name="connsiteY3" fmla="*/ 234 h 18410"/>
                    <a:gd name="connsiteX4" fmla="*/ 18120 w 18357"/>
                    <a:gd name="connsiteY4" fmla="*/ 7172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0">
                      <a:moveTo>
                        <a:pt x="18120" y="7172"/>
                      </a:moveTo>
                      <a:cubicBezTo>
                        <a:pt x="19256" y="12136"/>
                        <a:pt x="16206" y="17100"/>
                        <a:pt x="11242" y="18176"/>
                      </a:cubicBezTo>
                      <a:cubicBezTo>
                        <a:pt x="6338" y="19313"/>
                        <a:pt x="1374" y="16203"/>
                        <a:pt x="237" y="11239"/>
                      </a:cubicBezTo>
                      <a:cubicBezTo>
                        <a:pt x="-899" y="6275"/>
                        <a:pt x="2151" y="1371"/>
                        <a:pt x="7115" y="234"/>
                      </a:cubicBezTo>
                      <a:cubicBezTo>
                        <a:pt x="12020" y="-902"/>
                        <a:pt x="16983" y="2208"/>
                        <a:pt x="18120" y="7172"/>
                      </a:cubicBezTo>
                      <a:close/>
                    </a:path>
                  </a:pathLst>
                </a:custGeom>
                <a:grpFill/>
                <a:ln w="5978" cap="flat">
                  <a:noFill/>
                  <a:prstDash val="solid"/>
                  <a:miter/>
                </a:ln>
              </p:spPr>
              <p:txBody>
                <a:bodyPr rtlCol="0" anchor="ctr"/>
                <a:lstStyle/>
                <a:p>
                  <a:endParaRPr lang="en-GB"/>
                </a:p>
              </p:txBody>
            </p:sp>
            <p:sp>
              <p:nvSpPr>
                <p:cNvPr id="3393" name="Vrije vorm: vorm 3392">
                  <a:extLst>
                    <a:ext uri="{FF2B5EF4-FFF2-40B4-BE49-F238E27FC236}">
                      <a16:creationId xmlns:a16="http://schemas.microsoft.com/office/drawing/2014/main" id="{A34D33CB-88DB-494E-9ED4-A64B4F8ECB9F}"/>
                    </a:ext>
                  </a:extLst>
                </p:cNvPr>
                <p:cNvSpPr/>
                <p:nvPr/>
              </p:nvSpPr>
              <p:spPr>
                <a:xfrm>
                  <a:off x="5428247" y="1324117"/>
                  <a:ext cx="18353" cy="18410"/>
                </a:xfrm>
                <a:custGeom>
                  <a:avLst/>
                  <a:gdLst>
                    <a:gd name="connsiteX0" fmla="*/ 18117 w 18353"/>
                    <a:gd name="connsiteY0" fmla="*/ 7172 h 18410"/>
                    <a:gd name="connsiteX1" fmla="*/ 7112 w 18353"/>
                    <a:gd name="connsiteY1" fmla="*/ 234 h 18410"/>
                    <a:gd name="connsiteX2" fmla="*/ 234 w 18353"/>
                    <a:gd name="connsiteY2" fmla="*/ 11239 h 18410"/>
                    <a:gd name="connsiteX3" fmla="*/ 11239 w 18353"/>
                    <a:gd name="connsiteY3" fmla="*/ 18176 h 18410"/>
                    <a:gd name="connsiteX4" fmla="*/ 18117 w 18353"/>
                    <a:gd name="connsiteY4" fmla="*/ 7172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0">
                      <a:moveTo>
                        <a:pt x="18117" y="7172"/>
                      </a:moveTo>
                      <a:cubicBezTo>
                        <a:pt x="16980" y="2208"/>
                        <a:pt x="12016" y="-902"/>
                        <a:pt x="7112" y="234"/>
                      </a:cubicBezTo>
                      <a:cubicBezTo>
                        <a:pt x="2208" y="1371"/>
                        <a:pt x="-902" y="6334"/>
                        <a:pt x="234" y="11239"/>
                      </a:cubicBezTo>
                      <a:cubicBezTo>
                        <a:pt x="1371" y="16203"/>
                        <a:pt x="6275" y="19313"/>
                        <a:pt x="11239" y="18176"/>
                      </a:cubicBezTo>
                      <a:cubicBezTo>
                        <a:pt x="16203" y="17040"/>
                        <a:pt x="19253" y="12136"/>
                        <a:pt x="18117" y="7172"/>
                      </a:cubicBezTo>
                      <a:close/>
                    </a:path>
                  </a:pathLst>
                </a:custGeom>
                <a:grpFill/>
                <a:ln w="5978" cap="flat">
                  <a:noFill/>
                  <a:prstDash val="solid"/>
                  <a:miter/>
                </a:ln>
              </p:spPr>
              <p:txBody>
                <a:bodyPr rtlCol="0" anchor="ctr"/>
                <a:lstStyle/>
                <a:p>
                  <a:endParaRPr lang="en-GB"/>
                </a:p>
              </p:txBody>
            </p:sp>
          </p:grpSp>
          <p:grpSp>
            <p:nvGrpSpPr>
              <p:cNvPr id="667" name="Graphic 3">
                <a:extLst>
                  <a:ext uri="{FF2B5EF4-FFF2-40B4-BE49-F238E27FC236}">
                    <a16:creationId xmlns:a16="http://schemas.microsoft.com/office/drawing/2014/main" id="{EF34BEB8-7C44-4C0D-973A-409F9D92FFDF}"/>
                  </a:ext>
                </a:extLst>
              </p:cNvPr>
              <p:cNvGrpSpPr/>
              <p:nvPr/>
            </p:nvGrpSpPr>
            <p:grpSpPr>
              <a:xfrm>
                <a:off x="6717337" y="5231478"/>
                <a:ext cx="77228" cy="178441"/>
                <a:chOff x="6717337" y="5231478"/>
                <a:chExt cx="77228" cy="178441"/>
              </a:xfrm>
              <a:grpFill/>
            </p:grpSpPr>
            <p:sp>
              <p:nvSpPr>
                <p:cNvPr id="3388" name="Vrije vorm: vorm 3387">
                  <a:extLst>
                    <a:ext uri="{FF2B5EF4-FFF2-40B4-BE49-F238E27FC236}">
                      <a16:creationId xmlns:a16="http://schemas.microsoft.com/office/drawing/2014/main" id="{A2AB2092-9604-484F-83CE-877F652AE43D}"/>
                    </a:ext>
                  </a:extLst>
                </p:cNvPr>
                <p:cNvSpPr/>
                <p:nvPr/>
              </p:nvSpPr>
              <p:spPr>
                <a:xfrm>
                  <a:off x="6725183" y="5239649"/>
                  <a:ext cx="62015" cy="161935"/>
                </a:xfrm>
                <a:custGeom>
                  <a:avLst/>
                  <a:gdLst>
                    <a:gd name="connsiteX0" fmla="*/ 0 w 62015"/>
                    <a:gd name="connsiteY0" fmla="*/ 1053 h 161935"/>
                    <a:gd name="connsiteX1" fmla="*/ 2863 w 62015"/>
                    <a:gd name="connsiteY1" fmla="*/ 0 h 161935"/>
                    <a:gd name="connsiteX2" fmla="*/ 62015 w 62015"/>
                    <a:gd name="connsiteY2" fmla="*/ 160883 h 161935"/>
                    <a:gd name="connsiteX3" fmla="*/ 59152 w 62015"/>
                    <a:gd name="connsiteY3" fmla="*/ 161935 h 161935"/>
                  </a:gdLst>
                  <a:ahLst/>
                  <a:cxnLst>
                    <a:cxn ang="0">
                      <a:pos x="connsiteX0" y="connsiteY0"/>
                    </a:cxn>
                    <a:cxn ang="0">
                      <a:pos x="connsiteX1" y="connsiteY1"/>
                    </a:cxn>
                    <a:cxn ang="0">
                      <a:pos x="connsiteX2" y="connsiteY2"/>
                    </a:cxn>
                    <a:cxn ang="0">
                      <a:pos x="connsiteX3" y="connsiteY3"/>
                    </a:cxn>
                  </a:cxnLst>
                  <a:rect l="l" t="t" r="r" b="b"/>
                  <a:pathLst>
                    <a:path w="62015" h="161935">
                      <a:moveTo>
                        <a:pt x="0" y="1053"/>
                      </a:moveTo>
                      <a:lnTo>
                        <a:pt x="2863" y="0"/>
                      </a:lnTo>
                      <a:lnTo>
                        <a:pt x="62015" y="160883"/>
                      </a:lnTo>
                      <a:lnTo>
                        <a:pt x="59152" y="161935"/>
                      </a:lnTo>
                      <a:close/>
                    </a:path>
                  </a:pathLst>
                </a:custGeom>
                <a:grpFill/>
                <a:ln w="5978" cap="flat">
                  <a:noFill/>
                  <a:prstDash val="solid"/>
                  <a:miter/>
                </a:ln>
              </p:spPr>
              <p:txBody>
                <a:bodyPr rtlCol="0" anchor="ctr"/>
                <a:lstStyle/>
                <a:p>
                  <a:endParaRPr lang="en-GB"/>
                </a:p>
              </p:txBody>
            </p:sp>
            <p:sp>
              <p:nvSpPr>
                <p:cNvPr id="3389" name="Vrije vorm: vorm 3388">
                  <a:extLst>
                    <a:ext uri="{FF2B5EF4-FFF2-40B4-BE49-F238E27FC236}">
                      <a16:creationId xmlns:a16="http://schemas.microsoft.com/office/drawing/2014/main" id="{A2E2DFB1-D57C-4AFC-92DD-74D1A21ED4B3}"/>
                    </a:ext>
                  </a:extLst>
                </p:cNvPr>
                <p:cNvSpPr/>
                <p:nvPr/>
              </p:nvSpPr>
              <p:spPr>
                <a:xfrm>
                  <a:off x="6776271" y="5391493"/>
                  <a:ext cx="18294" cy="18427"/>
                </a:xfrm>
                <a:custGeom>
                  <a:avLst/>
                  <a:gdLst>
                    <a:gd name="connsiteX0" fmla="*/ 17730 w 18294"/>
                    <a:gd name="connsiteY0" fmla="*/ 6029 h 18427"/>
                    <a:gd name="connsiteX1" fmla="*/ 12347 w 18294"/>
                    <a:gd name="connsiteY1" fmla="*/ 17870 h 18427"/>
                    <a:gd name="connsiteX2" fmla="*/ 565 w 18294"/>
                    <a:gd name="connsiteY2" fmla="*/ 12368 h 18427"/>
                    <a:gd name="connsiteX3" fmla="*/ 5947 w 18294"/>
                    <a:gd name="connsiteY3" fmla="*/ 526 h 18427"/>
                    <a:gd name="connsiteX4" fmla="*/ 17730 w 18294"/>
                    <a:gd name="connsiteY4" fmla="*/ 6029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7">
                      <a:moveTo>
                        <a:pt x="17730" y="6029"/>
                      </a:moveTo>
                      <a:cubicBezTo>
                        <a:pt x="19464" y="10813"/>
                        <a:pt x="17071" y="16076"/>
                        <a:pt x="12347" y="17870"/>
                      </a:cubicBezTo>
                      <a:cubicBezTo>
                        <a:pt x="7622" y="19605"/>
                        <a:pt x="2299" y="17153"/>
                        <a:pt x="565" y="12368"/>
                      </a:cubicBezTo>
                      <a:cubicBezTo>
                        <a:pt x="-1170" y="7583"/>
                        <a:pt x="1223" y="2320"/>
                        <a:pt x="5947" y="526"/>
                      </a:cubicBezTo>
                      <a:cubicBezTo>
                        <a:pt x="10672" y="-1148"/>
                        <a:pt x="15935" y="1304"/>
                        <a:pt x="17730" y="6029"/>
                      </a:cubicBezTo>
                      <a:close/>
                    </a:path>
                  </a:pathLst>
                </a:custGeom>
                <a:grpFill/>
                <a:ln w="5978" cap="flat">
                  <a:noFill/>
                  <a:prstDash val="solid"/>
                  <a:miter/>
                </a:ln>
              </p:spPr>
              <p:txBody>
                <a:bodyPr rtlCol="0" anchor="ctr"/>
                <a:lstStyle/>
                <a:p>
                  <a:endParaRPr lang="en-GB"/>
                </a:p>
              </p:txBody>
            </p:sp>
            <p:sp>
              <p:nvSpPr>
                <p:cNvPr id="3390" name="Vrije vorm: vorm 3389">
                  <a:extLst>
                    <a:ext uri="{FF2B5EF4-FFF2-40B4-BE49-F238E27FC236}">
                      <a16:creationId xmlns:a16="http://schemas.microsoft.com/office/drawing/2014/main" id="{C16B772F-1CA0-40AC-8A10-746D80B0515F}"/>
                    </a:ext>
                  </a:extLst>
                </p:cNvPr>
                <p:cNvSpPr/>
                <p:nvPr/>
              </p:nvSpPr>
              <p:spPr>
                <a:xfrm>
                  <a:off x="6717337" y="5231478"/>
                  <a:ext cx="18317" cy="18457"/>
                </a:xfrm>
                <a:custGeom>
                  <a:avLst/>
                  <a:gdLst>
                    <a:gd name="connsiteX0" fmla="*/ 17753 w 18317"/>
                    <a:gd name="connsiteY0" fmla="*/ 6059 h 18457"/>
                    <a:gd name="connsiteX1" fmla="*/ 5971 w 18317"/>
                    <a:gd name="connsiteY1" fmla="*/ 557 h 18457"/>
                    <a:gd name="connsiteX2" fmla="*/ 589 w 18317"/>
                    <a:gd name="connsiteY2" fmla="*/ 12399 h 18457"/>
                    <a:gd name="connsiteX3" fmla="*/ 12371 w 18317"/>
                    <a:gd name="connsiteY3" fmla="*/ 17901 h 18457"/>
                    <a:gd name="connsiteX4" fmla="*/ 17753 w 18317"/>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7">
                      <a:moveTo>
                        <a:pt x="17753" y="6059"/>
                      </a:moveTo>
                      <a:cubicBezTo>
                        <a:pt x="16019" y="1274"/>
                        <a:pt x="10696" y="-1178"/>
                        <a:pt x="5971" y="557"/>
                      </a:cubicBezTo>
                      <a:cubicBezTo>
                        <a:pt x="1246" y="2291"/>
                        <a:pt x="-1205" y="7614"/>
                        <a:pt x="589" y="12399"/>
                      </a:cubicBezTo>
                      <a:cubicBezTo>
                        <a:pt x="2323" y="17183"/>
                        <a:pt x="7646" y="19635"/>
                        <a:pt x="12371" y="17901"/>
                      </a:cubicBezTo>
                      <a:cubicBezTo>
                        <a:pt x="17096" y="16107"/>
                        <a:pt x="19488" y="10844"/>
                        <a:pt x="17753" y="6059"/>
                      </a:cubicBezTo>
                      <a:close/>
                    </a:path>
                  </a:pathLst>
                </a:custGeom>
                <a:grpFill/>
                <a:ln w="5978" cap="flat">
                  <a:noFill/>
                  <a:prstDash val="solid"/>
                  <a:miter/>
                </a:ln>
              </p:spPr>
              <p:txBody>
                <a:bodyPr rtlCol="0" anchor="ctr"/>
                <a:lstStyle/>
                <a:p>
                  <a:endParaRPr lang="en-GB"/>
                </a:p>
              </p:txBody>
            </p:sp>
          </p:grpSp>
          <p:grpSp>
            <p:nvGrpSpPr>
              <p:cNvPr id="668" name="Graphic 3">
                <a:extLst>
                  <a:ext uri="{FF2B5EF4-FFF2-40B4-BE49-F238E27FC236}">
                    <a16:creationId xmlns:a16="http://schemas.microsoft.com/office/drawing/2014/main" id="{A2F87086-C94D-4859-ABE8-6E876A81CD49}"/>
                  </a:ext>
                </a:extLst>
              </p:cNvPr>
              <p:cNvGrpSpPr/>
              <p:nvPr/>
            </p:nvGrpSpPr>
            <p:grpSpPr>
              <a:xfrm>
                <a:off x="6677624" y="5123706"/>
                <a:ext cx="51630" cy="108945"/>
                <a:chOff x="6677624" y="5123706"/>
                <a:chExt cx="51630" cy="108945"/>
              </a:xfrm>
              <a:grpFill/>
            </p:grpSpPr>
            <p:sp>
              <p:nvSpPr>
                <p:cNvPr id="3385" name="Vrije vorm: vorm 3384">
                  <a:extLst>
                    <a:ext uri="{FF2B5EF4-FFF2-40B4-BE49-F238E27FC236}">
                      <a16:creationId xmlns:a16="http://schemas.microsoft.com/office/drawing/2014/main" id="{EC6153C4-8EAF-41C0-ACC2-C3734935441E}"/>
                    </a:ext>
                  </a:extLst>
                </p:cNvPr>
                <p:cNvSpPr/>
                <p:nvPr/>
              </p:nvSpPr>
              <p:spPr>
                <a:xfrm>
                  <a:off x="6685169" y="5132254"/>
                  <a:ext cx="36433" cy="92384"/>
                </a:xfrm>
                <a:custGeom>
                  <a:avLst/>
                  <a:gdLst>
                    <a:gd name="connsiteX0" fmla="*/ 0 w 36433"/>
                    <a:gd name="connsiteY0" fmla="*/ 1052 h 92384"/>
                    <a:gd name="connsiteX1" fmla="*/ 2863 w 36433"/>
                    <a:gd name="connsiteY1" fmla="*/ 0 h 92384"/>
                    <a:gd name="connsiteX2" fmla="*/ 36434 w 36433"/>
                    <a:gd name="connsiteY2" fmla="*/ 91332 h 92384"/>
                    <a:gd name="connsiteX3" fmla="*/ 33571 w 36433"/>
                    <a:gd name="connsiteY3" fmla="*/ 92384 h 92384"/>
                  </a:gdLst>
                  <a:ahLst/>
                  <a:cxnLst>
                    <a:cxn ang="0">
                      <a:pos x="connsiteX0" y="connsiteY0"/>
                    </a:cxn>
                    <a:cxn ang="0">
                      <a:pos x="connsiteX1" y="connsiteY1"/>
                    </a:cxn>
                    <a:cxn ang="0">
                      <a:pos x="connsiteX2" y="connsiteY2"/>
                    </a:cxn>
                    <a:cxn ang="0">
                      <a:pos x="connsiteX3" y="connsiteY3"/>
                    </a:cxn>
                  </a:cxnLst>
                  <a:rect l="l" t="t" r="r" b="b"/>
                  <a:pathLst>
                    <a:path w="36433" h="92384">
                      <a:moveTo>
                        <a:pt x="0" y="1052"/>
                      </a:moveTo>
                      <a:lnTo>
                        <a:pt x="2863" y="0"/>
                      </a:lnTo>
                      <a:lnTo>
                        <a:pt x="36434" y="91332"/>
                      </a:lnTo>
                      <a:lnTo>
                        <a:pt x="33571" y="92384"/>
                      </a:lnTo>
                      <a:close/>
                    </a:path>
                  </a:pathLst>
                </a:custGeom>
                <a:grpFill/>
                <a:ln w="5978" cap="flat">
                  <a:noFill/>
                  <a:prstDash val="solid"/>
                  <a:miter/>
                </a:ln>
              </p:spPr>
              <p:txBody>
                <a:bodyPr rtlCol="0" anchor="ctr"/>
                <a:lstStyle/>
                <a:p>
                  <a:endParaRPr lang="en-GB"/>
                </a:p>
              </p:txBody>
            </p:sp>
            <p:sp>
              <p:nvSpPr>
                <p:cNvPr id="3386" name="Vrije vorm: vorm 3385">
                  <a:extLst>
                    <a:ext uri="{FF2B5EF4-FFF2-40B4-BE49-F238E27FC236}">
                      <a16:creationId xmlns:a16="http://schemas.microsoft.com/office/drawing/2014/main" id="{EBF4D62B-B4CD-4FA7-A26C-B09E4E7D8019}"/>
                    </a:ext>
                  </a:extLst>
                </p:cNvPr>
                <p:cNvSpPr/>
                <p:nvPr/>
              </p:nvSpPr>
              <p:spPr>
                <a:xfrm>
                  <a:off x="6710961" y="5214194"/>
                  <a:ext cx="18293" cy="18457"/>
                </a:xfrm>
                <a:custGeom>
                  <a:avLst/>
                  <a:gdLst>
                    <a:gd name="connsiteX0" fmla="*/ 17729 w 18293"/>
                    <a:gd name="connsiteY0" fmla="*/ 6059 h 18457"/>
                    <a:gd name="connsiteX1" fmla="*/ 12347 w 18293"/>
                    <a:gd name="connsiteY1" fmla="*/ 17901 h 18457"/>
                    <a:gd name="connsiteX2" fmla="*/ 565 w 18293"/>
                    <a:gd name="connsiteY2" fmla="*/ 12398 h 18457"/>
                    <a:gd name="connsiteX3" fmla="*/ 5947 w 18293"/>
                    <a:gd name="connsiteY3" fmla="*/ 557 h 18457"/>
                    <a:gd name="connsiteX4" fmla="*/ 17729 w 18293"/>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57">
                      <a:moveTo>
                        <a:pt x="17729" y="6059"/>
                      </a:moveTo>
                      <a:cubicBezTo>
                        <a:pt x="19464" y="10843"/>
                        <a:pt x="17071" y="16106"/>
                        <a:pt x="12347" y="17901"/>
                      </a:cubicBezTo>
                      <a:cubicBezTo>
                        <a:pt x="7622" y="19635"/>
                        <a:pt x="2299" y="17183"/>
                        <a:pt x="565" y="12398"/>
                      </a:cubicBezTo>
                      <a:cubicBezTo>
                        <a:pt x="-1170" y="7614"/>
                        <a:pt x="1222" y="2351"/>
                        <a:pt x="5947" y="557"/>
                      </a:cubicBezTo>
                      <a:cubicBezTo>
                        <a:pt x="10732" y="-1178"/>
                        <a:pt x="15995" y="1274"/>
                        <a:pt x="17729" y="6059"/>
                      </a:cubicBezTo>
                      <a:close/>
                    </a:path>
                  </a:pathLst>
                </a:custGeom>
                <a:grpFill/>
                <a:ln w="5978" cap="flat">
                  <a:noFill/>
                  <a:prstDash val="solid"/>
                  <a:miter/>
                </a:ln>
              </p:spPr>
              <p:txBody>
                <a:bodyPr rtlCol="0" anchor="ctr"/>
                <a:lstStyle/>
                <a:p>
                  <a:endParaRPr lang="en-GB"/>
                </a:p>
              </p:txBody>
            </p:sp>
            <p:sp>
              <p:nvSpPr>
                <p:cNvPr id="3387" name="Vrije vorm: vorm 3386">
                  <a:extLst>
                    <a:ext uri="{FF2B5EF4-FFF2-40B4-BE49-F238E27FC236}">
                      <a16:creationId xmlns:a16="http://schemas.microsoft.com/office/drawing/2014/main" id="{A255D988-D71E-4B95-AB9B-88F2B6C59DDD}"/>
                    </a:ext>
                  </a:extLst>
                </p:cNvPr>
                <p:cNvSpPr/>
                <p:nvPr/>
              </p:nvSpPr>
              <p:spPr>
                <a:xfrm>
                  <a:off x="6677624" y="5123706"/>
                  <a:ext cx="18342" cy="18457"/>
                </a:xfrm>
                <a:custGeom>
                  <a:avLst/>
                  <a:gdLst>
                    <a:gd name="connsiteX0" fmla="*/ 17753 w 18342"/>
                    <a:gd name="connsiteY0" fmla="*/ 6059 h 18457"/>
                    <a:gd name="connsiteX1" fmla="*/ 5971 w 18342"/>
                    <a:gd name="connsiteY1" fmla="*/ 557 h 18457"/>
                    <a:gd name="connsiteX2" fmla="*/ 589 w 18342"/>
                    <a:gd name="connsiteY2" fmla="*/ 12398 h 18457"/>
                    <a:gd name="connsiteX3" fmla="*/ 12371 w 18342"/>
                    <a:gd name="connsiteY3" fmla="*/ 17901 h 18457"/>
                    <a:gd name="connsiteX4" fmla="*/ 17753 w 18342"/>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57">
                      <a:moveTo>
                        <a:pt x="17753" y="6059"/>
                      </a:moveTo>
                      <a:cubicBezTo>
                        <a:pt x="16019" y="1274"/>
                        <a:pt x="10696" y="-1178"/>
                        <a:pt x="5971" y="557"/>
                      </a:cubicBezTo>
                      <a:cubicBezTo>
                        <a:pt x="1247" y="2291"/>
                        <a:pt x="-1205" y="7614"/>
                        <a:pt x="589" y="12398"/>
                      </a:cubicBezTo>
                      <a:cubicBezTo>
                        <a:pt x="2323" y="17183"/>
                        <a:pt x="7646" y="19635"/>
                        <a:pt x="12371" y="17901"/>
                      </a:cubicBezTo>
                      <a:cubicBezTo>
                        <a:pt x="17096" y="16106"/>
                        <a:pt x="19548" y="10843"/>
                        <a:pt x="17753" y="6059"/>
                      </a:cubicBezTo>
                      <a:close/>
                    </a:path>
                  </a:pathLst>
                </a:custGeom>
                <a:grpFill/>
                <a:ln w="5978" cap="flat">
                  <a:noFill/>
                  <a:prstDash val="solid"/>
                  <a:miter/>
                </a:ln>
              </p:spPr>
              <p:txBody>
                <a:bodyPr rtlCol="0" anchor="ctr"/>
                <a:lstStyle/>
                <a:p>
                  <a:endParaRPr lang="en-GB"/>
                </a:p>
              </p:txBody>
            </p:sp>
          </p:grpSp>
          <p:grpSp>
            <p:nvGrpSpPr>
              <p:cNvPr id="669" name="Graphic 3">
                <a:extLst>
                  <a:ext uri="{FF2B5EF4-FFF2-40B4-BE49-F238E27FC236}">
                    <a16:creationId xmlns:a16="http://schemas.microsoft.com/office/drawing/2014/main" id="{7990F7CC-29AC-422E-924D-4DAF95E8DB58}"/>
                  </a:ext>
                </a:extLst>
              </p:cNvPr>
              <p:cNvGrpSpPr/>
              <p:nvPr/>
            </p:nvGrpSpPr>
            <p:grpSpPr>
              <a:xfrm>
                <a:off x="6627805" y="4988242"/>
                <a:ext cx="61797" cy="136636"/>
                <a:chOff x="6627805" y="4988242"/>
                <a:chExt cx="61797" cy="136636"/>
              </a:xfrm>
              <a:grpFill/>
            </p:grpSpPr>
            <p:sp>
              <p:nvSpPr>
                <p:cNvPr id="3382" name="Vrije vorm: vorm 3381">
                  <a:extLst>
                    <a:ext uri="{FF2B5EF4-FFF2-40B4-BE49-F238E27FC236}">
                      <a16:creationId xmlns:a16="http://schemas.microsoft.com/office/drawing/2014/main" id="{BB3FFD13-75EF-41A0-AD02-75A69A58088C}"/>
                    </a:ext>
                  </a:extLst>
                </p:cNvPr>
                <p:cNvSpPr/>
                <p:nvPr/>
              </p:nvSpPr>
              <p:spPr>
                <a:xfrm>
                  <a:off x="6635702" y="4996551"/>
                  <a:ext cx="46714" cy="120091"/>
                </a:xfrm>
                <a:custGeom>
                  <a:avLst/>
                  <a:gdLst>
                    <a:gd name="connsiteX0" fmla="*/ 0 w 46714"/>
                    <a:gd name="connsiteY0" fmla="*/ 1054 h 120091"/>
                    <a:gd name="connsiteX1" fmla="*/ 2862 w 46714"/>
                    <a:gd name="connsiteY1" fmla="*/ 0 h 120091"/>
                    <a:gd name="connsiteX2" fmla="*/ 46715 w 46714"/>
                    <a:gd name="connsiteY2" fmla="*/ 119037 h 120091"/>
                    <a:gd name="connsiteX3" fmla="*/ 43853 w 46714"/>
                    <a:gd name="connsiteY3" fmla="*/ 120091 h 120091"/>
                  </a:gdLst>
                  <a:ahLst/>
                  <a:cxnLst>
                    <a:cxn ang="0">
                      <a:pos x="connsiteX0" y="connsiteY0"/>
                    </a:cxn>
                    <a:cxn ang="0">
                      <a:pos x="connsiteX1" y="connsiteY1"/>
                    </a:cxn>
                    <a:cxn ang="0">
                      <a:pos x="connsiteX2" y="connsiteY2"/>
                    </a:cxn>
                    <a:cxn ang="0">
                      <a:pos x="connsiteX3" y="connsiteY3"/>
                    </a:cxn>
                  </a:cxnLst>
                  <a:rect l="l" t="t" r="r" b="b"/>
                  <a:pathLst>
                    <a:path w="46714" h="120091">
                      <a:moveTo>
                        <a:pt x="0" y="1054"/>
                      </a:moveTo>
                      <a:lnTo>
                        <a:pt x="2862" y="0"/>
                      </a:lnTo>
                      <a:lnTo>
                        <a:pt x="46715" y="119037"/>
                      </a:lnTo>
                      <a:lnTo>
                        <a:pt x="43853" y="120091"/>
                      </a:lnTo>
                      <a:close/>
                    </a:path>
                  </a:pathLst>
                </a:custGeom>
                <a:grpFill/>
                <a:ln w="5978" cap="flat">
                  <a:noFill/>
                  <a:prstDash val="solid"/>
                  <a:miter/>
                </a:ln>
              </p:spPr>
              <p:txBody>
                <a:bodyPr rtlCol="0" anchor="ctr"/>
                <a:lstStyle/>
                <a:p>
                  <a:endParaRPr lang="en-GB"/>
                </a:p>
              </p:txBody>
            </p:sp>
            <p:sp>
              <p:nvSpPr>
                <p:cNvPr id="3383" name="Vrije vorm: vorm 3382">
                  <a:extLst>
                    <a:ext uri="{FF2B5EF4-FFF2-40B4-BE49-F238E27FC236}">
                      <a16:creationId xmlns:a16="http://schemas.microsoft.com/office/drawing/2014/main" id="{C251EA86-BC60-473D-98EC-6125F31A9462}"/>
                    </a:ext>
                  </a:extLst>
                </p:cNvPr>
                <p:cNvSpPr/>
                <p:nvPr/>
              </p:nvSpPr>
              <p:spPr>
                <a:xfrm>
                  <a:off x="6671309" y="5106421"/>
                  <a:ext cx="18293" cy="18457"/>
                </a:xfrm>
                <a:custGeom>
                  <a:avLst/>
                  <a:gdLst>
                    <a:gd name="connsiteX0" fmla="*/ 17729 w 18293"/>
                    <a:gd name="connsiteY0" fmla="*/ 6059 h 18457"/>
                    <a:gd name="connsiteX1" fmla="*/ 12347 w 18293"/>
                    <a:gd name="connsiteY1" fmla="*/ 17901 h 18457"/>
                    <a:gd name="connsiteX2" fmla="*/ 565 w 18293"/>
                    <a:gd name="connsiteY2" fmla="*/ 12398 h 18457"/>
                    <a:gd name="connsiteX3" fmla="*/ 5947 w 18293"/>
                    <a:gd name="connsiteY3" fmla="*/ 557 h 18457"/>
                    <a:gd name="connsiteX4" fmla="*/ 17729 w 18293"/>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57">
                      <a:moveTo>
                        <a:pt x="17729" y="6059"/>
                      </a:moveTo>
                      <a:cubicBezTo>
                        <a:pt x="19464" y="10843"/>
                        <a:pt x="17071" y="16106"/>
                        <a:pt x="12347" y="17901"/>
                      </a:cubicBezTo>
                      <a:cubicBezTo>
                        <a:pt x="7622" y="19635"/>
                        <a:pt x="2299" y="17183"/>
                        <a:pt x="565" y="12398"/>
                      </a:cubicBezTo>
                      <a:cubicBezTo>
                        <a:pt x="-1170" y="7614"/>
                        <a:pt x="1222" y="2351"/>
                        <a:pt x="5947" y="557"/>
                      </a:cubicBezTo>
                      <a:cubicBezTo>
                        <a:pt x="10672" y="-1178"/>
                        <a:pt x="15995" y="1274"/>
                        <a:pt x="17729" y="6059"/>
                      </a:cubicBezTo>
                      <a:close/>
                    </a:path>
                  </a:pathLst>
                </a:custGeom>
                <a:grpFill/>
                <a:ln w="5978" cap="flat">
                  <a:noFill/>
                  <a:prstDash val="solid"/>
                  <a:miter/>
                </a:ln>
              </p:spPr>
              <p:txBody>
                <a:bodyPr rtlCol="0" anchor="ctr"/>
                <a:lstStyle/>
                <a:p>
                  <a:endParaRPr lang="en-GB"/>
                </a:p>
              </p:txBody>
            </p:sp>
            <p:sp>
              <p:nvSpPr>
                <p:cNvPr id="3384" name="Vrije vorm: vorm 3383">
                  <a:extLst>
                    <a:ext uri="{FF2B5EF4-FFF2-40B4-BE49-F238E27FC236}">
                      <a16:creationId xmlns:a16="http://schemas.microsoft.com/office/drawing/2014/main" id="{5D38ED4A-FF2A-4639-B76D-A3C1CB9FA7BD}"/>
                    </a:ext>
                  </a:extLst>
                </p:cNvPr>
                <p:cNvSpPr/>
                <p:nvPr/>
              </p:nvSpPr>
              <p:spPr>
                <a:xfrm>
                  <a:off x="6627805" y="4988242"/>
                  <a:ext cx="18311" cy="18457"/>
                </a:xfrm>
                <a:custGeom>
                  <a:avLst/>
                  <a:gdLst>
                    <a:gd name="connsiteX0" fmla="*/ 17753 w 18311"/>
                    <a:gd name="connsiteY0" fmla="*/ 6059 h 18457"/>
                    <a:gd name="connsiteX1" fmla="*/ 5971 w 18311"/>
                    <a:gd name="connsiteY1" fmla="*/ 557 h 18457"/>
                    <a:gd name="connsiteX2" fmla="*/ 589 w 18311"/>
                    <a:gd name="connsiteY2" fmla="*/ 12398 h 18457"/>
                    <a:gd name="connsiteX3" fmla="*/ 12371 w 18311"/>
                    <a:gd name="connsiteY3" fmla="*/ 17901 h 18457"/>
                    <a:gd name="connsiteX4" fmla="*/ 17753 w 18311"/>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7">
                      <a:moveTo>
                        <a:pt x="17753" y="6059"/>
                      </a:moveTo>
                      <a:cubicBezTo>
                        <a:pt x="16019" y="1274"/>
                        <a:pt x="10696" y="-1178"/>
                        <a:pt x="5971" y="557"/>
                      </a:cubicBezTo>
                      <a:cubicBezTo>
                        <a:pt x="1247" y="2291"/>
                        <a:pt x="-1206" y="7614"/>
                        <a:pt x="589" y="12398"/>
                      </a:cubicBezTo>
                      <a:cubicBezTo>
                        <a:pt x="2323" y="17183"/>
                        <a:pt x="7646" y="19635"/>
                        <a:pt x="12371" y="17901"/>
                      </a:cubicBezTo>
                      <a:cubicBezTo>
                        <a:pt x="17036" y="16106"/>
                        <a:pt x="19488" y="10843"/>
                        <a:pt x="17753" y="6059"/>
                      </a:cubicBezTo>
                      <a:close/>
                    </a:path>
                  </a:pathLst>
                </a:custGeom>
                <a:grpFill/>
                <a:ln w="5978" cap="flat">
                  <a:noFill/>
                  <a:prstDash val="solid"/>
                  <a:miter/>
                </a:ln>
              </p:spPr>
              <p:txBody>
                <a:bodyPr rtlCol="0" anchor="ctr"/>
                <a:lstStyle/>
                <a:p>
                  <a:endParaRPr lang="en-GB"/>
                </a:p>
              </p:txBody>
            </p:sp>
          </p:grpSp>
          <p:grpSp>
            <p:nvGrpSpPr>
              <p:cNvPr id="670" name="Graphic 3">
                <a:extLst>
                  <a:ext uri="{FF2B5EF4-FFF2-40B4-BE49-F238E27FC236}">
                    <a16:creationId xmlns:a16="http://schemas.microsoft.com/office/drawing/2014/main" id="{5531C3ED-2E7C-4D62-B41B-5ECF9CE522D6}"/>
                  </a:ext>
                </a:extLst>
              </p:cNvPr>
              <p:cNvGrpSpPr/>
              <p:nvPr/>
            </p:nvGrpSpPr>
            <p:grpSpPr>
              <a:xfrm>
                <a:off x="6627033" y="4988480"/>
                <a:ext cx="142111" cy="465758"/>
                <a:chOff x="6627033" y="4988480"/>
                <a:chExt cx="142111" cy="465758"/>
              </a:xfrm>
              <a:grpFill/>
            </p:grpSpPr>
            <p:sp>
              <p:nvSpPr>
                <p:cNvPr id="3379" name="Vrije vorm: vorm 3378">
                  <a:extLst>
                    <a:ext uri="{FF2B5EF4-FFF2-40B4-BE49-F238E27FC236}">
                      <a16:creationId xmlns:a16="http://schemas.microsoft.com/office/drawing/2014/main" id="{C7BF92C6-4B69-4B5F-9E2E-28EB52F11BB3}"/>
                    </a:ext>
                  </a:extLst>
                </p:cNvPr>
                <p:cNvSpPr/>
                <p:nvPr/>
              </p:nvSpPr>
              <p:spPr>
                <a:xfrm>
                  <a:off x="6634461" y="4997092"/>
                  <a:ext cx="126925" cy="449038"/>
                </a:xfrm>
                <a:custGeom>
                  <a:avLst/>
                  <a:gdLst>
                    <a:gd name="connsiteX0" fmla="*/ 0 w 126925"/>
                    <a:gd name="connsiteY0" fmla="*/ 813 h 449038"/>
                    <a:gd name="connsiteX1" fmla="*/ 2940 w 126925"/>
                    <a:gd name="connsiteY1" fmla="*/ 0 h 449038"/>
                    <a:gd name="connsiteX2" fmla="*/ 126925 w 126925"/>
                    <a:gd name="connsiteY2" fmla="*/ 448226 h 449038"/>
                    <a:gd name="connsiteX3" fmla="*/ 123985 w 126925"/>
                    <a:gd name="connsiteY3" fmla="*/ 449039 h 449038"/>
                  </a:gdLst>
                  <a:ahLst/>
                  <a:cxnLst>
                    <a:cxn ang="0">
                      <a:pos x="connsiteX0" y="connsiteY0"/>
                    </a:cxn>
                    <a:cxn ang="0">
                      <a:pos x="connsiteX1" y="connsiteY1"/>
                    </a:cxn>
                    <a:cxn ang="0">
                      <a:pos x="connsiteX2" y="connsiteY2"/>
                    </a:cxn>
                    <a:cxn ang="0">
                      <a:pos x="connsiteX3" y="connsiteY3"/>
                    </a:cxn>
                  </a:cxnLst>
                  <a:rect l="l" t="t" r="r" b="b"/>
                  <a:pathLst>
                    <a:path w="126925" h="449038">
                      <a:moveTo>
                        <a:pt x="0" y="813"/>
                      </a:moveTo>
                      <a:lnTo>
                        <a:pt x="2940" y="0"/>
                      </a:lnTo>
                      <a:lnTo>
                        <a:pt x="126925" y="448226"/>
                      </a:lnTo>
                      <a:lnTo>
                        <a:pt x="123985" y="449039"/>
                      </a:lnTo>
                      <a:close/>
                    </a:path>
                  </a:pathLst>
                </a:custGeom>
                <a:grpFill/>
                <a:ln w="5978" cap="flat">
                  <a:noFill/>
                  <a:prstDash val="solid"/>
                  <a:miter/>
                </a:ln>
              </p:spPr>
              <p:txBody>
                <a:bodyPr rtlCol="0" anchor="ctr"/>
                <a:lstStyle/>
                <a:p>
                  <a:endParaRPr lang="en-GB"/>
                </a:p>
              </p:txBody>
            </p:sp>
            <p:sp>
              <p:nvSpPr>
                <p:cNvPr id="3380" name="Vrije vorm: vorm 3379">
                  <a:extLst>
                    <a:ext uri="{FF2B5EF4-FFF2-40B4-BE49-F238E27FC236}">
                      <a16:creationId xmlns:a16="http://schemas.microsoft.com/office/drawing/2014/main" id="{B077A602-A6DB-4CE3-8985-45200BD18684}"/>
                    </a:ext>
                  </a:extLst>
                </p:cNvPr>
                <p:cNvSpPr/>
                <p:nvPr/>
              </p:nvSpPr>
              <p:spPr>
                <a:xfrm>
                  <a:off x="6627033" y="4988480"/>
                  <a:ext cx="18391" cy="18421"/>
                </a:xfrm>
                <a:custGeom>
                  <a:avLst/>
                  <a:gdLst>
                    <a:gd name="connsiteX0" fmla="*/ 344 w 18391"/>
                    <a:gd name="connsiteY0" fmla="*/ 11623 h 18421"/>
                    <a:gd name="connsiteX1" fmla="*/ 6744 w 18391"/>
                    <a:gd name="connsiteY1" fmla="*/ 319 h 18421"/>
                    <a:gd name="connsiteX2" fmla="*/ 18047 w 18391"/>
                    <a:gd name="connsiteY2" fmla="*/ 6778 h 18421"/>
                    <a:gd name="connsiteX3" fmla="*/ 11648 w 18391"/>
                    <a:gd name="connsiteY3" fmla="*/ 18082 h 18421"/>
                    <a:gd name="connsiteX4" fmla="*/ 344 w 18391"/>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21">
                      <a:moveTo>
                        <a:pt x="344" y="11623"/>
                      </a:moveTo>
                      <a:cubicBezTo>
                        <a:pt x="-1031" y="6718"/>
                        <a:pt x="1839" y="1635"/>
                        <a:pt x="6744" y="319"/>
                      </a:cubicBezTo>
                      <a:cubicBezTo>
                        <a:pt x="11648" y="-997"/>
                        <a:pt x="16672" y="1874"/>
                        <a:pt x="18047" y="6778"/>
                      </a:cubicBezTo>
                      <a:cubicBezTo>
                        <a:pt x="19423" y="11683"/>
                        <a:pt x="16552" y="16766"/>
                        <a:pt x="11648" y="18082"/>
                      </a:cubicBezTo>
                      <a:cubicBezTo>
                        <a:pt x="6744" y="19457"/>
                        <a:pt x="1720" y="16527"/>
                        <a:pt x="344" y="11623"/>
                      </a:cubicBezTo>
                      <a:close/>
                    </a:path>
                  </a:pathLst>
                </a:custGeom>
                <a:grpFill/>
                <a:ln w="5978" cap="flat">
                  <a:noFill/>
                  <a:prstDash val="solid"/>
                  <a:miter/>
                </a:ln>
              </p:spPr>
              <p:txBody>
                <a:bodyPr rtlCol="0" anchor="ctr"/>
                <a:lstStyle/>
                <a:p>
                  <a:endParaRPr lang="en-GB"/>
                </a:p>
              </p:txBody>
            </p:sp>
            <p:sp>
              <p:nvSpPr>
                <p:cNvPr id="3381" name="Vrije vorm: vorm 3380">
                  <a:extLst>
                    <a:ext uri="{FF2B5EF4-FFF2-40B4-BE49-F238E27FC236}">
                      <a16:creationId xmlns:a16="http://schemas.microsoft.com/office/drawing/2014/main" id="{339D241C-9FE2-46A1-9566-C57679CCEB1B}"/>
                    </a:ext>
                  </a:extLst>
                </p:cNvPr>
                <p:cNvSpPr/>
                <p:nvPr/>
              </p:nvSpPr>
              <p:spPr>
                <a:xfrm>
                  <a:off x="6750795" y="5435838"/>
                  <a:ext cx="18349" cy="18400"/>
                </a:xfrm>
                <a:custGeom>
                  <a:avLst/>
                  <a:gdLst>
                    <a:gd name="connsiteX0" fmla="*/ 323 w 18349"/>
                    <a:gd name="connsiteY0" fmla="*/ 11623 h 18400"/>
                    <a:gd name="connsiteX1" fmla="*/ 11627 w 18349"/>
                    <a:gd name="connsiteY1" fmla="*/ 18082 h 18400"/>
                    <a:gd name="connsiteX2" fmla="*/ 18026 w 18349"/>
                    <a:gd name="connsiteY2" fmla="*/ 6778 h 18400"/>
                    <a:gd name="connsiteX3" fmla="*/ 6723 w 18349"/>
                    <a:gd name="connsiteY3" fmla="*/ 319 h 18400"/>
                    <a:gd name="connsiteX4" fmla="*/ 323 w 18349"/>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0">
                      <a:moveTo>
                        <a:pt x="323" y="11623"/>
                      </a:moveTo>
                      <a:cubicBezTo>
                        <a:pt x="1699" y="16527"/>
                        <a:pt x="6723" y="19398"/>
                        <a:pt x="11627" y="18082"/>
                      </a:cubicBezTo>
                      <a:cubicBezTo>
                        <a:pt x="16531" y="16766"/>
                        <a:pt x="19342" y="11683"/>
                        <a:pt x="18026" y="6778"/>
                      </a:cubicBezTo>
                      <a:cubicBezTo>
                        <a:pt x="16710" y="1874"/>
                        <a:pt x="11627" y="-997"/>
                        <a:pt x="6723" y="319"/>
                      </a:cubicBezTo>
                      <a:cubicBezTo>
                        <a:pt x="1819" y="1635"/>
                        <a:pt x="-992" y="6718"/>
                        <a:pt x="323" y="11623"/>
                      </a:cubicBezTo>
                      <a:close/>
                    </a:path>
                  </a:pathLst>
                </a:custGeom>
                <a:grpFill/>
                <a:ln w="5978" cap="flat">
                  <a:noFill/>
                  <a:prstDash val="solid"/>
                  <a:miter/>
                </a:ln>
              </p:spPr>
              <p:txBody>
                <a:bodyPr rtlCol="0" anchor="ctr"/>
                <a:lstStyle/>
                <a:p>
                  <a:endParaRPr lang="en-GB"/>
                </a:p>
              </p:txBody>
            </p:sp>
          </p:grpSp>
          <p:grpSp>
            <p:nvGrpSpPr>
              <p:cNvPr id="671" name="Graphic 3">
                <a:extLst>
                  <a:ext uri="{FF2B5EF4-FFF2-40B4-BE49-F238E27FC236}">
                    <a16:creationId xmlns:a16="http://schemas.microsoft.com/office/drawing/2014/main" id="{ED46F552-764F-42E7-8AFD-32ECC6B59253}"/>
                  </a:ext>
                </a:extLst>
              </p:cNvPr>
              <p:cNvGrpSpPr/>
              <p:nvPr/>
            </p:nvGrpSpPr>
            <p:grpSpPr>
              <a:xfrm>
                <a:off x="6688400" y="5257898"/>
                <a:ext cx="80162" cy="196534"/>
                <a:chOff x="6688400" y="5257898"/>
                <a:chExt cx="80162" cy="196534"/>
              </a:xfrm>
              <a:grpFill/>
            </p:grpSpPr>
            <p:sp>
              <p:nvSpPr>
                <p:cNvPr id="3376" name="Vrije vorm: vorm 3375">
                  <a:extLst>
                    <a:ext uri="{FF2B5EF4-FFF2-40B4-BE49-F238E27FC236}">
                      <a16:creationId xmlns:a16="http://schemas.microsoft.com/office/drawing/2014/main" id="{E8E59544-D8B4-45F4-9466-6099FA6E9622}"/>
                    </a:ext>
                  </a:extLst>
                </p:cNvPr>
                <p:cNvSpPr/>
                <p:nvPr/>
              </p:nvSpPr>
              <p:spPr>
                <a:xfrm>
                  <a:off x="6695747" y="5265916"/>
                  <a:ext cx="65102" cy="179955"/>
                </a:xfrm>
                <a:custGeom>
                  <a:avLst/>
                  <a:gdLst>
                    <a:gd name="connsiteX0" fmla="*/ 0 w 65102"/>
                    <a:gd name="connsiteY0" fmla="*/ 1002 h 179955"/>
                    <a:gd name="connsiteX1" fmla="*/ 2881 w 65102"/>
                    <a:gd name="connsiteY1" fmla="*/ 0 h 179955"/>
                    <a:gd name="connsiteX2" fmla="*/ 65103 w 65102"/>
                    <a:gd name="connsiteY2" fmla="*/ 178954 h 179955"/>
                    <a:gd name="connsiteX3" fmla="*/ 62222 w 65102"/>
                    <a:gd name="connsiteY3" fmla="*/ 179955 h 179955"/>
                  </a:gdLst>
                  <a:ahLst/>
                  <a:cxnLst>
                    <a:cxn ang="0">
                      <a:pos x="connsiteX0" y="connsiteY0"/>
                    </a:cxn>
                    <a:cxn ang="0">
                      <a:pos x="connsiteX1" y="connsiteY1"/>
                    </a:cxn>
                    <a:cxn ang="0">
                      <a:pos x="connsiteX2" y="connsiteY2"/>
                    </a:cxn>
                    <a:cxn ang="0">
                      <a:pos x="connsiteX3" y="connsiteY3"/>
                    </a:cxn>
                  </a:cxnLst>
                  <a:rect l="l" t="t" r="r" b="b"/>
                  <a:pathLst>
                    <a:path w="65102" h="179955">
                      <a:moveTo>
                        <a:pt x="0" y="1002"/>
                      </a:moveTo>
                      <a:lnTo>
                        <a:pt x="2881" y="0"/>
                      </a:lnTo>
                      <a:lnTo>
                        <a:pt x="65103" y="178954"/>
                      </a:lnTo>
                      <a:lnTo>
                        <a:pt x="62222" y="179955"/>
                      </a:lnTo>
                      <a:close/>
                    </a:path>
                  </a:pathLst>
                </a:custGeom>
                <a:grpFill/>
                <a:ln w="5978" cap="flat">
                  <a:noFill/>
                  <a:prstDash val="solid"/>
                  <a:miter/>
                </a:ln>
              </p:spPr>
              <p:txBody>
                <a:bodyPr rtlCol="0" anchor="ctr"/>
                <a:lstStyle/>
                <a:p>
                  <a:endParaRPr lang="en-GB"/>
                </a:p>
              </p:txBody>
            </p:sp>
            <p:sp>
              <p:nvSpPr>
                <p:cNvPr id="3377" name="Vrije vorm: vorm 3376">
                  <a:extLst>
                    <a:ext uri="{FF2B5EF4-FFF2-40B4-BE49-F238E27FC236}">
                      <a16:creationId xmlns:a16="http://schemas.microsoft.com/office/drawing/2014/main" id="{DEC503CB-CEF3-4E98-891B-D30FF5890EC2}"/>
                    </a:ext>
                  </a:extLst>
                </p:cNvPr>
                <p:cNvSpPr/>
                <p:nvPr/>
              </p:nvSpPr>
              <p:spPr>
                <a:xfrm>
                  <a:off x="6750241" y="5436004"/>
                  <a:ext cx="18321" cy="18428"/>
                </a:xfrm>
                <a:custGeom>
                  <a:avLst/>
                  <a:gdLst>
                    <a:gd name="connsiteX0" fmla="*/ 17803 w 18321"/>
                    <a:gd name="connsiteY0" fmla="*/ 6194 h 18428"/>
                    <a:gd name="connsiteX1" fmla="*/ 12181 w 18321"/>
                    <a:gd name="connsiteY1" fmla="*/ 17916 h 18428"/>
                    <a:gd name="connsiteX2" fmla="*/ 519 w 18321"/>
                    <a:gd name="connsiteY2" fmla="*/ 12234 h 18428"/>
                    <a:gd name="connsiteX3" fmla="*/ 6141 w 18321"/>
                    <a:gd name="connsiteY3" fmla="*/ 512 h 18428"/>
                    <a:gd name="connsiteX4" fmla="*/ 17803 w 18321"/>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7803" y="6194"/>
                      </a:moveTo>
                      <a:cubicBezTo>
                        <a:pt x="19478" y="10978"/>
                        <a:pt x="16966" y="16241"/>
                        <a:pt x="12181" y="17916"/>
                      </a:cubicBezTo>
                      <a:cubicBezTo>
                        <a:pt x="7397" y="19591"/>
                        <a:pt x="2194" y="17019"/>
                        <a:pt x="519" y="12234"/>
                      </a:cubicBezTo>
                      <a:cubicBezTo>
                        <a:pt x="-1156" y="7450"/>
                        <a:pt x="1356" y="2187"/>
                        <a:pt x="6141" y="512"/>
                      </a:cubicBezTo>
                      <a:cubicBezTo>
                        <a:pt x="10925" y="-1162"/>
                        <a:pt x="16128" y="1409"/>
                        <a:pt x="17803" y="6194"/>
                      </a:cubicBezTo>
                      <a:close/>
                    </a:path>
                  </a:pathLst>
                </a:custGeom>
                <a:grpFill/>
                <a:ln w="5978" cap="flat">
                  <a:noFill/>
                  <a:prstDash val="solid"/>
                  <a:miter/>
                </a:ln>
              </p:spPr>
              <p:txBody>
                <a:bodyPr rtlCol="0" anchor="ctr"/>
                <a:lstStyle/>
                <a:p>
                  <a:endParaRPr lang="en-GB"/>
                </a:p>
              </p:txBody>
            </p:sp>
            <p:sp>
              <p:nvSpPr>
                <p:cNvPr id="3378" name="Vrije vorm: vorm 3377">
                  <a:extLst>
                    <a:ext uri="{FF2B5EF4-FFF2-40B4-BE49-F238E27FC236}">
                      <a16:creationId xmlns:a16="http://schemas.microsoft.com/office/drawing/2014/main" id="{09CA30B7-0C02-4805-952B-EE760F508DC0}"/>
                    </a:ext>
                  </a:extLst>
                </p:cNvPr>
                <p:cNvSpPr/>
                <p:nvPr/>
              </p:nvSpPr>
              <p:spPr>
                <a:xfrm>
                  <a:off x="6688400" y="5257898"/>
                  <a:ext cx="18321" cy="18428"/>
                </a:xfrm>
                <a:custGeom>
                  <a:avLst/>
                  <a:gdLst>
                    <a:gd name="connsiteX0" fmla="*/ 17803 w 18321"/>
                    <a:gd name="connsiteY0" fmla="*/ 6194 h 18428"/>
                    <a:gd name="connsiteX1" fmla="*/ 6141 w 18321"/>
                    <a:gd name="connsiteY1" fmla="*/ 512 h 18428"/>
                    <a:gd name="connsiteX2" fmla="*/ 519 w 18321"/>
                    <a:gd name="connsiteY2" fmla="*/ 12234 h 18428"/>
                    <a:gd name="connsiteX3" fmla="*/ 12181 w 18321"/>
                    <a:gd name="connsiteY3" fmla="*/ 17916 h 18428"/>
                    <a:gd name="connsiteX4" fmla="*/ 17803 w 18321"/>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7803" y="6194"/>
                      </a:moveTo>
                      <a:cubicBezTo>
                        <a:pt x="16129" y="1409"/>
                        <a:pt x="10925" y="-1163"/>
                        <a:pt x="6141" y="512"/>
                      </a:cubicBezTo>
                      <a:cubicBezTo>
                        <a:pt x="1356" y="2187"/>
                        <a:pt x="-1156" y="7390"/>
                        <a:pt x="519" y="12234"/>
                      </a:cubicBezTo>
                      <a:cubicBezTo>
                        <a:pt x="2193" y="17019"/>
                        <a:pt x="7397" y="19591"/>
                        <a:pt x="12181" y="17916"/>
                      </a:cubicBezTo>
                      <a:cubicBezTo>
                        <a:pt x="16966" y="16242"/>
                        <a:pt x="19478" y="11038"/>
                        <a:pt x="17803" y="6194"/>
                      </a:cubicBezTo>
                      <a:close/>
                    </a:path>
                  </a:pathLst>
                </a:custGeom>
                <a:grpFill/>
                <a:ln w="5978" cap="flat">
                  <a:noFill/>
                  <a:prstDash val="solid"/>
                  <a:miter/>
                </a:ln>
              </p:spPr>
              <p:txBody>
                <a:bodyPr rtlCol="0" anchor="ctr"/>
                <a:lstStyle/>
                <a:p>
                  <a:endParaRPr lang="en-GB"/>
                </a:p>
              </p:txBody>
            </p:sp>
          </p:grpSp>
          <p:grpSp>
            <p:nvGrpSpPr>
              <p:cNvPr id="672" name="Graphic 3">
                <a:extLst>
                  <a:ext uri="{FF2B5EF4-FFF2-40B4-BE49-F238E27FC236}">
                    <a16:creationId xmlns:a16="http://schemas.microsoft.com/office/drawing/2014/main" id="{6C47D993-60BC-4023-A657-7E7157031075}"/>
                  </a:ext>
                </a:extLst>
              </p:cNvPr>
              <p:cNvGrpSpPr/>
              <p:nvPr/>
            </p:nvGrpSpPr>
            <p:grpSpPr>
              <a:xfrm>
                <a:off x="5494785" y="1665856"/>
                <a:ext cx="61173" cy="153752"/>
                <a:chOff x="5494785" y="1665856"/>
                <a:chExt cx="61173" cy="153752"/>
              </a:xfrm>
              <a:grpFill/>
            </p:grpSpPr>
            <p:sp>
              <p:nvSpPr>
                <p:cNvPr id="3373" name="Vrije vorm: vorm 3372">
                  <a:extLst>
                    <a:ext uri="{FF2B5EF4-FFF2-40B4-BE49-F238E27FC236}">
                      <a16:creationId xmlns:a16="http://schemas.microsoft.com/office/drawing/2014/main" id="{ED842606-AB08-4772-BB32-0BA248F2DF80}"/>
                    </a:ext>
                  </a:extLst>
                </p:cNvPr>
                <p:cNvSpPr/>
                <p:nvPr/>
              </p:nvSpPr>
              <p:spPr>
                <a:xfrm>
                  <a:off x="5502343" y="1674164"/>
                  <a:ext cx="45991" cy="137137"/>
                </a:xfrm>
                <a:custGeom>
                  <a:avLst/>
                  <a:gdLst>
                    <a:gd name="connsiteX0" fmla="*/ 2930 w 45991"/>
                    <a:gd name="connsiteY0" fmla="*/ 0 h 137137"/>
                    <a:gd name="connsiteX1" fmla="*/ 45992 w 45991"/>
                    <a:gd name="connsiteY1" fmla="*/ 136181 h 137137"/>
                    <a:gd name="connsiteX2" fmla="*/ 43121 w 45991"/>
                    <a:gd name="connsiteY2" fmla="*/ 137138 h 137137"/>
                    <a:gd name="connsiteX3" fmla="*/ 0 w 45991"/>
                    <a:gd name="connsiteY3" fmla="*/ 957 h 137137"/>
                  </a:gdLst>
                  <a:ahLst/>
                  <a:cxnLst>
                    <a:cxn ang="0">
                      <a:pos x="connsiteX0" y="connsiteY0"/>
                    </a:cxn>
                    <a:cxn ang="0">
                      <a:pos x="connsiteX1" y="connsiteY1"/>
                    </a:cxn>
                    <a:cxn ang="0">
                      <a:pos x="connsiteX2" y="connsiteY2"/>
                    </a:cxn>
                    <a:cxn ang="0">
                      <a:pos x="connsiteX3" y="connsiteY3"/>
                    </a:cxn>
                  </a:cxnLst>
                  <a:rect l="l" t="t" r="r" b="b"/>
                  <a:pathLst>
                    <a:path w="45991" h="137137">
                      <a:moveTo>
                        <a:pt x="2930" y="0"/>
                      </a:moveTo>
                      <a:lnTo>
                        <a:pt x="45992" y="136181"/>
                      </a:lnTo>
                      <a:lnTo>
                        <a:pt x="43121" y="137138"/>
                      </a:lnTo>
                      <a:lnTo>
                        <a:pt x="0" y="957"/>
                      </a:lnTo>
                      <a:close/>
                    </a:path>
                  </a:pathLst>
                </a:custGeom>
                <a:grpFill/>
                <a:ln w="5978" cap="flat">
                  <a:noFill/>
                  <a:prstDash val="solid"/>
                  <a:miter/>
                </a:ln>
              </p:spPr>
              <p:txBody>
                <a:bodyPr rtlCol="0" anchor="ctr"/>
                <a:lstStyle/>
                <a:p>
                  <a:endParaRPr lang="en-GB"/>
                </a:p>
              </p:txBody>
            </p:sp>
            <p:sp>
              <p:nvSpPr>
                <p:cNvPr id="3374" name="Vrije vorm: vorm 3373">
                  <a:extLst>
                    <a:ext uri="{FF2B5EF4-FFF2-40B4-BE49-F238E27FC236}">
                      <a16:creationId xmlns:a16="http://schemas.microsoft.com/office/drawing/2014/main" id="{AA21365D-FC24-4C19-9496-61A4F82D4877}"/>
                    </a:ext>
                  </a:extLst>
                </p:cNvPr>
                <p:cNvSpPr/>
                <p:nvPr/>
              </p:nvSpPr>
              <p:spPr>
                <a:xfrm>
                  <a:off x="5494785" y="1665856"/>
                  <a:ext cx="18345" cy="18431"/>
                </a:xfrm>
                <a:custGeom>
                  <a:avLst/>
                  <a:gdLst>
                    <a:gd name="connsiteX0" fmla="*/ 441 w 18345"/>
                    <a:gd name="connsiteY0" fmla="*/ 11956 h 18431"/>
                    <a:gd name="connsiteX1" fmla="*/ 6362 w 18345"/>
                    <a:gd name="connsiteY1" fmla="*/ 413 h 18431"/>
                    <a:gd name="connsiteX2" fmla="*/ 17905 w 18345"/>
                    <a:gd name="connsiteY2" fmla="*/ 6453 h 18431"/>
                    <a:gd name="connsiteX3" fmla="*/ 11924 w 18345"/>
                    <a:gd name="connsiteY3" fmla="*/ 17996 h 18431"/>
                    <a:gd name="connsiteX4" fmla="*/ 441 w 18345"/>
                    <a:gd name="connsiteY4" fmla="*/ 11956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31">
                      <a:moveTo>
                        <a:pt x="441" y="11956"/>
                      </a:moveTo>
                      <a:cubicBezTo>
                        <a:pt x="-1114" y="7111"/>
                        <a:pt x="1578" y="1908"/>
                        <a:pt x="6362" y="413"/>
                      </a:cubicBezTo>
                      <a:cubicBezTo>
                        <a:pt x="11207" y="-1082"/>
                        <a:pt x="16350" y="1609"/>
                        <a:pt x="17905" y="6453"/>
                      </a:cubicBezTo>
                      <a:cubicBezTo>
                        <a:pt x="19460" y="11298"/>
                        <a:pt x="16769" y="16501"/>
                        <a:pt x="11924" y="17996"/>
                      </a:cubicBezTo>
                      <a:cubicBezTo>
                        <a:pt x="7140" y="19551"/>
                        <a:pt x="1996" y="16800"/>
                        <a:pt x="441" y="11956"/>
                      </a:cubicBezTo>
                      <a:close/>
                    </a:path>
                  </a:pathLst>
                </a:custGeom>
                <a:grpFill/>
                <a:ln w="5978" cap="flat">
                  <a:noFill/>
                  <a:prstDash val="solid"/>
                  <a:miter/>
                </a:ln>
              </p:spPr>
              <p:txBody>
                <a:bodyPr rtlCol="0" anchor="ctr"/>
                <a:lstStyle/>
                <a:p>
                  <a:endParaRPr lang="en-GB"/>
                </a:p>
              </p:txBody>
            </p:sp>
            <p:sp>
              <p:nvSpPr>
                <p:cNvPr id="3375" name="Vrije vorm: vorm 3374">
                  <a:extLst>
                    <a:ext uri="{FF2B5EF4-FFF2-40B4-BE49-F238E27FC236}">
                      <a16:creationId xmlns:a16="http://schemas.microsoft.com/office/drawing/2014/main" id="{AE0F2F07-1430-4A94-9461-1D6B5DB2FFDB}"/>
                    </a:ext>
                  </a:extLst>
                </p:cNvPr>
                <p:cNvSpPr/>
                <p:nvPr/>
              </p:nvSpPr>
              <p:spPr>
                <a:xfrm>
                  <a:off x="5537608" y="1801200"/>
                  <a:ext cx="18351" cy="18409"/>
                </a:xfrm>
                <a:custGeom>
                  <a:avLst/>
                  <a:gdLst>
                    <a:gd name="connsiteX0" fmla="*/ 441 w 18351"/>
                    <a:gd name="connsiteY0" fmla="*/ 11956 h 18409"/>
                    <a:gd name="connsiteX1" fmla="*/ 11984 w 18351"/>
                    <a:gd name="connsiteY1" fmla="*/ 17996 h 18409"/>
                    <a:gd name="connsiteX2" fmla="*/ 17905 w 18351"/>
                    <a:gd name="connsiteY2" fmla="*/ 6453 h 18409"/>
                    <a:gd name="connsiteX3" fmla="*/ 6422 w 18351"/>
                    <a:gd name="connsiteY3" fmla="*/ 413 h 18409"/>
                    <a:gd name="connsiteX4" fmla="*/ 441 w 18351"/>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09">
                      <a:moveTo>
                        <a:pt x="441" y="11956"/>
                      </a:moveTo>
                      <a:cubicBezTo>
                        <a:pt x="1996" y="16800"/>
                        <a:pt x="7139" y="19491"/>
                        <a:pt x="11984" y="17996"/>
                      </a:cubicBezTo>
                      <a:cubicBezTo>
                        <a:pt x="16828" y="16441"/>
                        <a:pt x="19460" y="11298"/>
                        <a:pt x="17905" y="6453"/>
                      </a:cubicBezTo>
                      <a:cubicBezTo>
                        <a:pt x="16349" y="1609"/>
                        <a:pt x="11206" y="-1082"/>
                        <a:pt x="6422" y="413"/>
                      </a:cubicBezTo>
                      <a:cubicBezTo>
                        <a:pt x="1577" y="1908"/>
                        <a:pt x="-1114" y="7111"/>
                        <a:pt x="441" y="11956"/>
                      </a:cubicBezTo>
                      <a:close/>
                    </a:path>
                  </a:pathLst>
                </a:custGeom>
                <a:grpFill/>
                <a:ln w="5978" cap="flat">
                  <a:noFill/>
                  <a:prstDash val="solid"/>
                  <a:miter/>
                </a:ln>
              </p:spPr>
              <p:txBody>
                <a:bodyPr rtlCol="0" anchor="ctr"/>
                <a:lstStyle/>
                <a:p>
                  <a:endParaRPr lang="en-GB"/>
                </a:p>
              </p:txBody>
            </p:sp>
          </p:grpSp>
          <p:grpSp>
            <p:nvGrpSpPr>
              <p:cNvPr id="673" name="Graphic 3">
                <a:extLst>
                  <a:ext uri="{FF2B5EF4-FFF2-40B4-BE49-F238E27FC236}">
                    <a16:creationId xmlns:a16="http://schemas.microsoft.com/office/drawing/2014/main" id="{8AE18E1F-1A1A-4239-84B6-CD984F4756E5}"/>
                  </a:ext>
                </a:extLst>
              </p:cNvPr>
              <p:cNvGrpSpPr/>
              <p:nvPr/>
            </p:nvGrpSpPr>
            <p:grpSpPr>
              <a:xfrm>
                <a:off x="5352145" y="1215149"/>
                <a:ext cx="155401" cy="451532"/>
                <a:chOff x="5352145" y="1215149"/>
                <a:chExt cx="155401" cy="451532"/>
              </a:xfrm>
              <a:grpFill/>
            </p:grpSpPr>
            <p:sp>
              <p:nvSpPr>
                <p:cNvPr id="3370" name="Vrije vorm: vorm 3369">
                  <a:extLst>
                    <a:ext uri="{FF2B5EF4-FFF2-40B4-BE49-F238E27FC236}">
                      <a16:creationId xmlns:a16="http://schemas.microsoft.com/office/drawing/2014/main" id="{14894177-D11E-4D4F-998C-E62A1CBD6E39}"/>
                    </a:ext>
                  </a:extLst>
                </p:cNvPr>
                <p:cNvSpPr/>
                <p:nvPr/>
              </p:nvSpPr>
              <p:spPr>
                <a:xfrm>
                  <a:off x="5359715" y="1223247"/>
                  <a:ext cx="140257" cy="434957"/>
                </a:xfrm>
                <a:custGeom>
                  <a:avLst/>
                  <a:gdLst>
                    <a:gd name="connsiteX0" fmla="*/ 0 w 140257"/>
                    <a:gd name="connsiteY0" fmla="*/ 920 h 434957"/>
                    <a:gd name="connsiteX1" fmla="*/ 2908 w 140257"/>
                    <a:gd name="connsiteY1" fmla="*/ 0 h 434957"/>
                    <a:gd name="connsiteX2" fmla="*/ 140258 w 140257"/>
                    <a:gd name="connsiteY2" fmla="*/ 434038 h 434957"/>
                    <a:gd name="connsiteX3" fmla="*/ 137350 w 140257"/>
                    <a:gd name="connsiteY3" fmla="*/ 434958 h 434957"/>
                  </a:gdLst>
                  <a:ahLst/>
                  <a:cxnLst>
                    <a:cxn ang="0">
                      <a:pos x="connsiteX0" y="connsiteY0"/>
                    </a:cxn>
                    <a:cxn ang="0">
                      <a:pos x="connsiteX1" y="connsiteY1"/>
                    </a:cxn>
                    <a:cxn ang="0">
                      <a:pos x="connsiteX2" y="connsiteY2"/>
                    </a:cxn>
                    <a:cxn ang="0">
                      <a:pos x="connsiteX3" y="connsiteY3"/>
                    </a:cxn>
                  </a:cxnLst>
                  <a:rect l="l" t="t" r="r" b="b"/>
                  <a:pathLst>
                    <a:path w="140257" h="434957">
                      <a:moveTo>
                        <a:pt x="0" y="920"/>
                      </a:moveTo>
                      <a:lnTo>
                        <a:pt x="2908" y="0"/>
                      </a:lnTo>
                      <a:lnTo>
                        <a:pt x="140258" y="434038"/>
                      </a:lnTo>
                      <a:lnTo>
                        <a:pt x="137350" y="434958"/>
                      </a:lnTo>
                      <a:close/>
                    </a:path>
                  </a:pathLst>
                </a:custGeom>
                <a:grpFill/>
                <a:ln w="5978" cap="flat">
                  <a:noFill/>
                  <a:prstDash val="solid"/>
                  <a:miter/>
                </a:ln>
              </p:spPr>
              <p:txBody>
                <a:bodyPr rtlCol="0" anchor="ctr"/>
                <a:lstStyle/>
                <a:p>
                  <a:endParaRPr lang="en-GB"/>
                </a:p>
              </p:txBody>
            </p:sp>
            <p:sp>
              <p:nvSpPr>
                <p:cNvPr id="3371" name="Vrije vorm: vorm 3370">
                  <a:extLst>
                    <a:ext uri="{FF2B5EF4-FFF2-40B4-BE49-F238E27FC236}">
                      <a16:creationId xmlns:a16="http://schemas.microsoft.com/office/drawing/2014/main" id="{E8745056-D8AE-4C50-B801-A85F0A9D4124}"/>
                    </a:ext>
                  </a:extLst>
                </p:cNvPr>
                <p:cNvSpPr/>
                <p:nvPr/>
              </p:nvSpPr>
              <p:spPr>
                <a:xfrm>
                  <a:off x="5352145" y="1215149"/>
                  <a:ext cx="18405" cy="18409"/>
                </a:xfrm>
                <a:custGeom>
                  <a:avLst/>
                  <a:gdLst>
                    <a:gd name="connsiteX0" fmla="*/ 441 w 18405"/>
                    <a:gd name="connsiteY0" fmla="*/ 11956 h 18409"/>
                    <a:gd name="connsiteX1" fmla="*/ 6422 w 18405"/>
                    <a:gd name="connsiteY1" fmla="*/ 413 h 18409"/>
                    <a:gd name="connsiteX2" fmla="*/ 17964 w 18405"/>
                    <a:gd name="connsiteY2" fmla="*/ 6453 h 18409"/>
                    <a:gd name="connsiteX3" fmla="*/ 11984 w 18405"/>
                    <a:gd name="connsiteY3" fmla="*/ 17996 h 18409"/>
                    <a:gd name="connsiteX4" fmla="*/ 441 w 18405"/>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5" h="18409">
                      <a:moveTo>
                        <a:pt x="441" y="11956"/>
                      </a:moveTo>
                      <a:cubicBezTo>
                        <a:pt x="-1114" y="7111"/>
                        <a:pt x="1577" y="1908"/>
                        <a:pt x="6422" y="413"/>
                      </a:cubicBezTo>
                      <a:cubicBezTo>
                        <a:pt x="11266" y="-1082"/>
                        <a:pt x="16409" y="1609"/>
                        <a:pt x="17964" y="6453"/>
                      </a:cubicBezTo>
                      <a:cubicBezTo>
                        <a:pt x="19519" y="11298"/>
                        <a:pt x="16828" y="16501"/>
                        <a:pt x="11984" y="17996"/>
                      </a:cubicBezTo>
                      <a:cubicBezTo>
                        <a:pt x="7139" y="19491"/>
                        <a:pt x="1996" y="16800"/>
                        <a:pt x="441" y="11956"/>
                      </a:cubicBezTo>
                      <a:close/>
                    </a:path>
                  </a:pathLst>
                </a:custGeom>
                <a:grpFill/>
                <a:ln w="5978" cap="flat">
                  <a:noFill/>
                  <a:prstDash val="solid"/>
                  <a:miter/>
                </a:ln>
              </p:spPr>
              <p:txBody>
                <a:bodyPr rtlCol="0" anchor="ctr"/>
                <a:lstStyle/>
                <a:p>
                  <a:endParaRPr lang="en-GB"/>
                </a:p>
              </p:txBody>
            </p:sp>
            <p:sp>
              <p:nvSpPr>
                <p:cNvPr id="3372" name="Vrije vorm: vorm 3371">
                  <a:extLst>
                    <a:ext uri="{FF2B5EF4-FFF2-40B4-BE49-F238E27FC236}">
                      <a16:creationId xmlns:a16="http://schemas.microsoft.com/office/drawing/2014/main" id="{F48D9B91-F15A-491A-97CF-A0BFC43D8340}"/>
                    </a:ext>
                  </a:extLst>
                </p:cNvPr>
                <p:cNvSpPr/>
                <p:nvPr/>
              </p:nvSpPr>
              <p:spPr>
                <a:xfrm>
                  <a:off x="5489223" y="1648273"/>
                  <a:ext cx="18322" cy="18409"/>
                </a:xfrm>
                <a:custGeom>
                  <a:avLst/>
                  <a:gdLst>
                    <a:gd name="connsiteX0" fmla="*/ 441 w 18322"/>
                    <a:gd name="connsiteY0" fmla="*/ 11956 h 18409"/>
                    <a:gd name="connsiteX1" fmla="*/ 11924 w 18322"/>
                    <a:gd name="connsiteY1" fmla="*/ 17996 h 18409"/>
                    <a:gd name="connsiteX2" fmla="*/ 17905 w 18322"/>
                    <a:gd name="connsiteY2" fmla="*/ 6453 h 18409"/>
                    <a:gd name="connsiteX3" fmla="*/ 6422 w 18322"/>
                    <a:gd name="connsiteY3" fmla="*/ 413 h 18409"/>
                    <a:gd name="connsiteX4" fmla="*/ 441 w 18322"/>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09">
                      <a:moveTo>
                        <a:pt x="441" y="11956"/>
                      </a:moveTo>
                      <a:cubicBezTo>
                        <a:pt x="1996" y="16800"/>
                        <a:pt x="7139" y="19491"/>
                        <a:pt x="11924" y="17996"/>
                      </a:cubicBezTo>
                      <a:cubicBezTo>
                        <a:pt x="16768" y="16501"/>
                        <a:pt x="19400" y="11298"/>
                        <a:pt x="17905" y="6453"/>
                      </a:cubicBezTo>
                      <a:cubicBezTo>
                        <a:pt x="16349" y="1609"/>
                        <a:pt x="11206" y="-1082"/>
                        <a:pt x="6422" y="413"/>
                      </a:cubicBezTo>
                      <a:cubicBezTo>
                        <a:pt x="1577" y="1968"/>
                        <a:pt x="-1114" y="7111"/>
                        <a:pt x="441" y="11956"/>
                      </a:cubicBezTo>
                      <a:close/>
                    </a:path>
                  </a:pathLst>
                </a:custGeom>
                <a:grpFill/>
                <a:ln w="5978" cap="flat">
                  <a:noFill/>
                  <a:prstDash val="solid"/>
                  <a:miter/>
                </a:ln>
              </p:spPr>
              <p:txBody>
                <a:bodyPr rtlCol="0" anchor="ctr"/>
                <a:lstStyle/>
                <a:p>
                  <a:endParaRPr lang="en-GB"/>
                </a:p>
              </p:txBody>
            </p:sp>
          </p:grpSp>
          <p:grpSp>
            <p:nvGrpSpPr>
              <p:cNvPr id="674" name="Graphic 3">
                <a:extLst>
                  <a:ext uri="{FF2B5EF4-FFF2-40B4-BE49-F238E27FC236}">
                    <a16:creationId xmlns:a16="http://schemas.microsoft.com/office/drawing/2014/main" id="{8FA7ECB3-B1B9-4FE9-829D-F2C0B3D06865}"/>
                  </a:ext>
                </a:extLst>
              </p:cNvPr>
              <p:cNvGrpSpPr/>
              <p:nvPr/>
            </p:nvGrpSpPr>
            <p:grpSpPr>
              <a:xfrm>
                <a:off x="5352140" y="1215089"/>
                <a:ext cx="45683" cy="104830"/>
                <a:chOff x="5352140" y="1215089"/>
                <a:chExt cx="45683" cy="104830"/>
              </a:xfrm>
              <a:grpFill/>
            </p:grpSpPr>
            <p:sp>
              <p:nvSpPr>
                <p:cNvPr id="3367" name="Vrije vorm: vorm 3366">
                  <a:extLst>
                    <a:ext uri="{FF2B5EF4-FFF2-40B4-BE49-F238E27FC236}">
                      <a16:creationId xmlns:a16="http://schemas.microsoft.com/office/drawing/2014/main" id="{0EBA4B1A-6BE3-42F0-AFDE-B51C2B15E1EA}"/>
                    </a:ext>
                  </a:extLst>
                </p:cNvPr>
                <p:cNvSpPr/>
                <p:nvPr/>
              </p:nvSpPr>
              <p:spPr>
                <a:xfrm>
                  <a:off x="5359740" y="1223579"/>
                  <a:ext cx="30515" cy="88161"/>
                </a:xfrm>
                <a:custGeom>
                  <a:avLst/>
                  <a:gdLst>
                    <a:gd name="connsiteX0" fmla="*/ 0 w 30515"/>
                    <a:gd name="connsiteY0" fmla="*/ 920 h 88161"/>
                    <a:gd name="connsiteX1" fmla="*/ 2908 w 30515"/>
                    <a:gd name="connsiteY1" fmla="*/ 0 h 88161"/>
                    <a:gd name="connsiteX2" fmla="*/ 30515 w 30515"/>
                    <a:gd name="connsiteY2" fmla="*/ 87241 h 88161"/>
                    <a:gd name="connsiteX3" fmla="*/ 27607 w 30515"/>
                    <a:gd name="connsiteY3" fmla="*/ 88161 h 88161"/>
                  </a:gdLst>
                  <a:ahLst/>
                  <a:cxnLst>
                    <a:cxn ang="0">
                      <a:pos x="connsiteX0" y="connsiteY0"/>
                    </a:cxn>
                    <a:cxn ang="0">
                      <a:pos x="connsiteX1" y="connsiteY1"/>
                    </a:cxn>
                    <a:cxn ang="0">
                      <a:pos x="connsiteX2" y="connsiteY2"/>
                    </a:cxn>
                    <a:cxn ang="0">
                      <a:pos x="connsiteX3" y="connsiteY3"/>
                    </a:cxn>
                  </a:cxnLst>
                  <a:rect l="l" t="t" r="r" b="b"/>
                  <a:pathLst>
                    <a:path w="30515" h="88161">
                      <a:moveTo>
                        <a:pt x="0" y="920"/>
                      </a:moveTo>
                      <a:lnTo>
                        <a:pt x="2908" y="0"/>
                      </a:lnTo>
                      <a:lnTo>
                        <a:pt x="30515" y="87241"/>
                      </a:lnTo>
                      <a:lnTo>
                        <a:pt x="27607" y="88161"/>
                      </a:lnTo>
                      <a:close/>
                    </a:path>
                  </a:pathLst>
                </a:custGeom>
                <a:grpFill/>
                <a:ln w="5978" cap="flat">
                  <a:noFill/>
                  <a:prstDash val="solid"/>
                  <a:miter/>
                </a:ln>
              </p:spPr>
              <p:txBody>
                <a:bodyPr rtlCol="0" anchor="ctr"/>
                <a:lstStyle/>
                <a:p>
                  <a:endParaRPr lang="en-GB"/>
                </a:p>
              </p:txBody>
            </p:sp>
            <p:sp>
              <p:nvSpPr>
                <p:cNvPr id="3368" name="Vrije vorm: vorm 3367">
                  <a:extLst>
                    <a:ext uri="{FF2B5EF4-FFF2-40B4-BE49-F238E27FC236}">
                      <a16:creationId xmlns:a16="http://schemas.microsoft.com/office/drawing/2014/main" id="{9BC423EC-DC83-4FC7-89FE-CCC453CCFEE1}"/>
                    </a:ext>
                  </a:extLst>
                </p:cNvPr>
                <p:cNvSpPr/>
                <p:nvPr/>
              </p:nvSpPr>
              <p:spPr>
                <a:xfrm>
                  <a:off x="5379477" y="1301511"/>
                  <a:ext cx="18345" cy="18409"/>
                </a:xfrm>
                <a:custGeom>
                  <a:avLst/>
                  <a:gdLst>
                    <a:gd name="connsiteX0" fmla="*/ 17905 w 18345"/>
                    <a:gd name="connsiteY0" fmla="*/ 6453 h 18409"/>
                    <a:gd name="connsiteX1" fmla="*/ 11984 w 18345"/>
                    <a:gd name="connsiteY1" fmla="*/ 17996 h 18409"/>
                    <a:gd name="connsiteX2" fmla="*/ 441 w 18345"/>
                    <a:gd name="connsiteY2" fmla="*/ 11956 h 18409"/>
                    <a:gd name="connsiteX3" fmla="*/ 6422 w 18345"/>
                    <a:gd name="connsiteY3" fmla="*/ 413 h 18409"/>
                    <a:gd name="connsiteX4" fmla="*/ 17905 w 18345"/>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9">
                      <a:moveTo>
                        <a:pt x="17905" y="6453"/>
                      </a:moveTo>
                      <a:cubicBezTo>
                        <a:pt x="19460" y="11298"/>
                        <a:pt x="16768" y="16501"/>
                        <a:pt x="11984" y="17996"/>
                      </a:cubicBezTo>
                      <a:cubicBezTo>
                        <a:pt x="7139" y="19491"/>
                        <a:pt x="1996" y="16800"/>
                        <a:pt x="441" y="11956"/>
                      </a:cubicBezTo>
                      <a:cubicBezTo>
                        <a:pt x="-1114" y="7111"/>
                        <a:pt x="1577" y="1908"/>
                        <a:pt x="6422" y="413"/>
                      </a:cubicBezTo>
                      <a:cubicBezTo>
                        <a:pt x="11206" y="-1082"/>
                        <a:pt x="16409" y="1609"/>
                        <a:pt x="17905" y="6453"/>
                      </a:cubicBezTo>
                      <a:close/>
                    </a:path>
                  </a:pathLst>
                </a:custGeom>
                <a:grpFill/>
                <a:ln w="5978" cap="flat">
                  <a:noFill/>
                  <a:prstDash val="solid"/>
                  <a:miter/>
                </a:ln>
              </p:spPr>
              <p:txBody>
                <a:bodyPr rtlCol="0" anchor="ctr"/>
                <a:lstStyle/>
                <a:p>
                  <a:endParaRPr lang="en-GB"/>
                </a:p>
              </p:txBody>
            </p:sp>
            <p:sp>
              <p:nvSpPr>
                <p:cNvPr id="3369" name="Vrije vorm: vorm 3368">
                  <a:extLst>
                    <a:ext uri="{FF2B5EF4-FFF2-40B4-BE49-F238E27FC236}">
                      <a16:creationId xmlns:a16="http://schemas.microsoft.com/office/drawing/2014/main" id="{619401D4-B1D5-4017-9C0D-1E90DDBD0AF0}"/>
                    </a:ext>
                  </a:extLst>
                </p:cNvPr>
                <p:cNvSpPr/>
                <p:nvPr/>
              </p:nvSpPr>
              <p:spPr>
                <a:xfrm>
                  <a:off x="5352140" y="1215089"/>
                  <a:ext cx="18351" cy="18409"/>
                </a:xfrm>
                <a:custGeom>
                  <a:avLst/>
                  <a:gdLst>
                    <a:gd name="connsiteX0" fmla="*/ 17910 w 18351"/>
                    <a:gd name="connsiteY0" fmla="*/ 6453 h 18409"/>
                    <a:gd name="connsiteX1" fmla="*/ 6368 w 18351"/>
                    <a:gd name="connsiteY1" fmla="*/ 413 h 18409"/>
                    <a:gd name="connsiteX2" fmla="*/ 447 w 18351"/>
                    <a:gd name="connsiteY2" fmla="*/ 11956 h 18409"/>
                    <a:gd name="connsiteX3" fmla="*/ 11930 w 18351"/>
                    <a:gd name="connsiteY3" fmla="*/ 17996 h 18409"/>
                    <a:gd name="connsiteX4" fmla="*/ 17910 w 18351"/>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09">
                      <a:moveTo>
                        <a:pt x="17910" y="6453"/>
                      </a:moveTo>
                      <a:cubicBezTo>
                        <a:pt x="16355" y="1609"/>
                        <a:pt x="11212" y="-1082"/>
                        <a:pt x="6368" y="413"/>
                      </a:cubicBezTo>
                      <a:cubicBezTo>
                        <a:pt x="1523" y="1908"/>
                        <a:pt x="-1108" y="7111"/>
                        <a:pt x="447" y="11956"/>
                      </a:cubicBezTo>
                      <a:cubicBezTo>
                        <a:pt x="2002" y="16800"/>
                        <a:pt x="7145" y="19491"/>
                        <a:pt x="11930" y="17996"/>
                      </a:cubicBezTo>
                      <a:cubicBezTo>
                        <a:pt x="16774" y="16501"/>
                        <a:pt x="19465" y="11358"/>
                        <a:pt x="17910" y="6453"/>
                      </a:cubicBezTo>
                      <a:close/>
                    </a:path>
                  </a:pathLst>
                </a:custGeom>
                <a:grpFill/>
                <a:ln w="5978" cap="flat">
                  <a:noFill/>
                  <a:prstDash val="solid"/>
                  <a:miter/>
                </a:ln>
              </p:spPr>
              <p:txBody>
                <a:bodyPr rtlCol="0" anchor="ctr"/>
                <a:lstStyle/>
                <a:p>
                  <a:endParaRPr lang="en-GB"/>
                </a:p>
              </p:txBody>
            </p:sp>
          </p:grpSp>
          <p:grpSp>
            <p:nvGrpSpPr>
              <p:cNvPr id="675" name="Graphic 3">
                <a:extLst>
                  <a:ext uri="{FF2B5EF4-FFF2-40B4-BE49-F238E27FC236}">
                    <a16:creationId xmlns:a16="http://schemas.microsoft.com/office/drawing/2014/main" id="{1EC100F2-7901-4B55-BE2A-5FF0D809F27F}"/>
                  </a:ext>
                </a:extLst>
              </p:cNvPr>
              <p:cNvGrpSpPr/>
              <p:nvPr/>
            </p:nvGrpSpPr>
            <p:grpSpPr>
              <a:xfrm>
                <a:off x="6647851" y="5141094"/>
                <a:ext cx="52830" cy="117827"/>
                <a:chOff x="6647851" y="5141094"/>
                <a:chExt cx="52830" cy="117827"/>
              </a:xfrm>
              <a:grpFill/>
            </p:grpSpPr>
            <p:sp>
              <p:nvSpPr>
                <p:cNvPr id="3364" name="Vrije vorm: vorm 3363">
                  <a:extLst>
                    <a:ext uri="{FF2B5EF4-FFF2-40B4-BE49-F238E27FC236}">
                      <a16:creationId xmlns:a16="http://schemas.microsoft.com/office/drawing/2014/main" id="{7E8EB3E2-9A00-4F1D-8EBC-EBC9A66ECD28}"/>
                    </a:ext>
                  </a:extLst>
                </p:cNvPr>
                <p:cNvSpPr/>
                <p:nvPr/>
              </p:nvSpPr>
              <p:spPr>
                <a:xfrm>
                  <a:off x="6655080" y="5149499"/>
                  <a:ext cx="37806" cy="101248"/>
                </a:xfrm>
                <a:custGeom>
                  <a:avLst/>
                  <a:gdLst>
                    <a:gd name="connsiteX0" fmla="*/ 0 w 37806"/>
                    <a:gd name="connsiteY0" fmla="*/ 1004 h 101248"/>
                    <a:gd name="connsiteX1" fmla="*/ 2880 w 37806"/>
                    <a:gd name="connsiteY1" fmla="*/ 0 h 101248"/>
                    <a:gd name="connsiteX2" fmla="*/ 37806 w 37806"/>
                    <a:gd name="connsiteY2" fmla="*/ 100245 h 101248"/>
                    <a:gd name="connsiteX3" fmla="*/ 34926 w 37806"/>
                    <a:gd name="connsiteY3" fmla="*/ 101248 h 101248"/>
                  </a:gdLst>
                  <a:ahLst/>
                  <a:cxnLst>
                    <a:cxn ang="0">
                      <a:pos x="connsiteX0" y="connsiteY0"/>
                    </a:cxn>
                    <a:cxn ang="0">
                      <a:pos x="connsiteX1" y="connsiteY1"/>
                    </a:cxn>
                    <a:cxn ang="0">
                      <a:pos x="connsiteX2" y="connsiteY2"/>
                    </a:cxn>
                    <a:cxn ang="0">
                      <a:pos x="connsiteX3" y="connsiteY3"/>
                    </a:cxn>
                  </a:cxnLst>
                  <a:rect l="l" t="t" r="r" b="b"/>
                  <a:pathLst>
                    <a:path w="37806" h="101248">
                      <a:moveTo>
                        <a:pt x="0" y="1004"/>
                      </a:moveTo>
                      <a:lnTo>
                        <a:pt x="2880" y="0"/>
                      </a:lnTo>
                      <a:lnTo>
                        <a:pt x="37806" y="100245"/>
                      </a:lnTo>
                      <a:lnTo>
                        <a:pt x="34926" y="101248"/>
                      </a:lnTo>
                      <a:close/>
                    </a:path>
                  </a:pathLst>
                </a:custGeom>
                <a:grpFill/>
                <a:ln w="5978" cap="flat">
                  <a:noFill/>
                  <a:prstDash val="solid"/>
                  <a:miter/>
                </a:ln>
              </p:spPr>
              <p:txBody>
                <a:bodyPr rtlCol="0" anchor="ctr"/>
                <a:lstStyle/>
                <a:p>
                  <a:endParaRPr lang="en-GB"/>
                </a:p>
              </p:txBody>
            </p:sp>
            <p:sp>
              <p:nvSpPr>
                <p:cNvPr id="3365" name="Vrije vorm: vorm 3364">
                  <a:extLst>
                    <a:ext uri="{FF2B5EF4-FFF2-40B4-BE49-F238E27FC236}">
                      <a16:creationId xmlns:a16="http://schemas.microsoft.com/office/drawing/2014/main" id="{A463BF83-833D-444E-B406-842F3C3C90FE}"/>
                    </a:ext>
                  </a:extLst>
                </p:cNvPr>
                <p:cNvSpPr/>
                <p:nvPr/>
              </p:nvSpPr>
              <p:spPr>
                <a:xfrm>
                  <a:off x="6682359" y="5240494"/>
                  <a:ext cx="18322" cy="18428"/>
                </a:xfrm>
                <a:custGeom>
                  <a:avLst/>
                  <a:gdLst>
                    <a:gd name="connsiteX0" fmla="*/ 17803 w 18322"/>
                    <a:gd name="connsiteY0" fmla="*/ 6194 h 18428"/>
                    <a:gd name="connsiteX1" fmla="*/ 12181 w 18322"/>
                    <a:gd name="connsiteY1" fmla="*/ 17916 h 18428"/>
                    <a:gd name="connsiteX2" fmla="*/ 519 w 18322"/>
                    <a:gd name="connsiteY2" fmla="*/ 12234 h 18428"/>
                    <a:gd name="connsiteX3" fmla="*/ 6141 w 18322"/>
                    <a:gd name="connsiteY3" fmla="*/ 512 h 18428"/>
                    <a:gd name="connsiteX4" fmla="*/ 17803 w 18322"/>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17803" y="6194"/>
                      </a:moveTo>
                      <a:cubicBezTo>
                        <a:pt x="19478" y="10978"/>
                        <a:pt x="16966" y="16241"/>
                        <a:pt x="12181" y="17916"/>
                      </a:cubicBezTo>
                      <a:cubicBezTo>
                        <a:pt x="7397" y="19591"/>
                        <a:pt x="2193" y="17019"/>
                        <a:pt x="519" y="12234"/>
                      </a:cubicBezTo>
                      <a:cubicBezTo>
                        <a:pt x="-1156" y="7450"/>
                        <a:pt x="1356" y="2187"/>
                        <a:pt x="6141" y="512"/>
                      </a:cubicBezTo>
                      <a:cubicBezTo>
                        <a:pt x="10925" y="-1162"/>
                        <a:pt x="16129" y="1409"/>
                        <a:pt x="17803" y="6194"/>
                      </a:cubicBezTo>
                      <a:close/>
                    </a:path>
                  </a:pathLst>
                </a:custGeom>
                <a:grpFill/>
                <a:ln w="5978" cap="flat">
                  <a:noFill/>
                  <a:prstDash val="solid"/>
                  <a:miter/>
                </a:ln>
              </p:spPr>
              <p:txBody>
                <a:bodyPr rtlCol="0" anchor="ctr"/>
                <a:lstStyle/>
                <a:p>
                  <a:endParaRPr lang="en-GB"/>
                </a:p>
              </p:txBody>
            </p:sp>
            <p:sp>
              <p:nvSpPr>
                <p:cNvPr id="3366" name="Vrije vorm: vorm 3365">
                  <a:extLst>
                    <a:ext uri="{FF2B5EF4-FFF2-40B4-BE49-F238E27FC236}">
                      <a16:creationId xmlns:a16="http://schemas.microsoft.com/office/drawing/2014/main" id="{66719BD6-EE54-4130-93D3-3EBFEDE615D2}"/>
                    </a:ext>
                  </a:extLst>
                </p:cNvPr>
                <p:cNvSpPr/>
                <p:nvPr/>
              </p:nvSpPr>
              <p:spPr>
                <a:xfrm>
                  <a:off x="6647851" y="5141094"/>
                  <a:ext cx="18321" cy="18428"/>
                </a:xfrm>
                <a:custGeom>
                  <a:avLst/>
                  <a:gdLst>
                    <a:gd name="connsiteX0" fmla="*/ 17803 w 18321"/>
                    <a:gd name="connsiteY0" fmla="*/ 6194 h 18428"/>
                    <a:gd name="connsiteX1" fmla="*/ 6141 w 18321"/>
                    <a:gd name="connsiteY1" fmla="*/ 512 h 18428"/>
                    <a:gd name="connsiteX2" fmla="*/ 519 w 18321"/>
                    <a:gd name="connsiteY2" fmla="*/ 12234 h 18428"/>
                    <a:gd name="connsiteX3" fmla="*/ 12181 w 18321"/>
                    <a:gd name="connsiteY3" fmla="*/ 17916 h 18428"/>
                    <a:gd name="connsiteX4" fmla="*/ 17803 w 18321"/>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7803" y="6194"/>
                      </a:moveTo>
                      <a:cubicBezTo>
                        <a:pt x="16128" y="1409"/>
                        <a:pt x="10925" y="-1162"/>
                        <a:pt x="6141" y="512"/>
                      </a:cubicBezTo>
                      <a:cubicBezTo>
                        <a:pt x="1356" y="2187"/>
                        <a:pt x="-1156" y="7390"/>
                        <a:pt x="519" y="12234"/>
                      </a:cubicBezTo>
                      <a:cubicBezTo>
                        <a:pt x="2194" y="17019"/>
                        <a:pt x="7397" y="19591"/>
                        <a:pt x="12181" y="17916"/>
                      </a:cubicBezTo>
                      <a:cubicBezTo>
                        <a:pt x="16966" y="16241"/>
                        <a:pt x="19478" y="11038"/>
                        <a:pt x="17803" y="6194"/>
                      </a:cubicBezTo>
                      <a:close/>
                    </a:path>
                  </a:pathLst>
                </a:custGeom>
                <a:grpFill/>
                <a:ln w="5978" cap="flat">
                  <a:noFill/>
                  <a:prstDash val="solid"/>
                  <a:miter/>
                </a:ln>
              </p:spPr>
              <p:txBody>
                <a:bodyPr rtlCol="0" anchor="ctr"/>
                <a:lstStyle/>
                <a:p>
                  <a:endParaRPr lang="en-GB"/>
                </a:p>
              </p:txBody>
            </p:sp>
          </p:grpSp>
          <p:grpSp>
            <p:nvGrpSpPr>
              <p:cNvPr id="676" name="Graphic 3">
                <a:extLst>
                  <a:ext uri="{FF2B5EF4-FFF2-40B4-BE49-F238E27FC236}">
                    <a16:creationId xmlns:a16="http://schemas.microsoft.com/office/drawing/2014/main" id="{A9637F16-8CF2-47FE-9E72-CF78B8FC4C77}"/>
                  </a:ext>
                </a:extLst>
              </p:cNvPr>
              <p:cNvGrpSpPr/>
              <p:nvPr/>
            </p:nvGrpSpPr>
            <p:grpSpPr>
              <a:xfrm>
                <a:off x="6598211" y="4998215"/>
                <a:ext cx="61921" cy="143903"/>
                <a:chOff x="6598211" y="4998215"/>
                <a:chExt cx="61921" cy="143903"/>
              </a:xfrm>
              <a:grpFill/>
            </p:grpSpPr>
            <p:sp>
              <p:nvSpPr>
                <p:cNvPr id="3361" name="Vrije vorm: vorm 3360">
                  <a:extLst>
                    <a:ext uri="{FF2B5EF4-FFF2-40B4-BE49-F238E27FC236}">
                      <a16:creationId xmlns:a16="http://schemas.microsoft.com/office/drawing/2014/main" id="{5015F8C5-F117-40C8-8825-4942E78D7057}"/>
                    </a:ext>
                  </a:extLst>
                </p:cNvPr>
                <p:cNvSpPr/>
                <p:nvPr/>
              </p:nvSpPr>
              <p:spPr>
                <a:xfrm>
                  <a:off x="6605546" y="5006206"/>
                  <a:ext cx="46797" cy="127308"/>
                </a:xfrm>
                <a:custGeom>
                  <a:avLst/>
                  <a:gdLst>
                    <a:gd name="connsiteX0" fmla="*/ 0 w 46797"/>
                    <a:gd name="connsiteY0" fmla="*/ 1002 h 127308"/>
                    <a:gd name="connsiteX1" fmla="*/ 2881 w 46797"/>
                    <a:gd name="connsiteY1" fmla="*/ 0 h 127308"/>
                    <a:gd name="connsiteX2" fmla="*/ 46798 w 46797"/>
                    <a:gd name="connsiteY2" fmla="*/ 126307 h 127308"/>
                    <a:gd name="connsiteX3" fmla="*/ 43917 w 46797"/>
                    <a:gd name="connsiteY3" fmla="*/ 127308 h 127308"/>
                  </a:gdLst>
                  <a:ahLst/>
                  <a:cxnLst>
                    <a:cxn ang="0">
                      <a:pos x="connsiteX0" y="connsiteY0"/>
                    </a:cxn>
                    <a:cxn ang="0">
                      <a:pos x="connsiteX1" y="connsiteY1"/>
                    </a:cxn>
                    <a:cxn ang="0">
                      <a:pos x="connsiteX2" y="connsiteY2"/>
                    </a:cxn>
                    <a:cxn ang="0">
                      <a:pos x="connsiteX3" y="connsiteY3"/>
                    </a:cxn>
                  </a:cxnLst>
                  <a:rect l="l" t="t" r="r" b="b"/>
                  <a:pathLst>
                    <a:path w="46797" h="127308">
                      <a:moveTo>
                        <a:pt x="0" y="1002"/>
                      </a:moveTo>
                      <a:lnTo>
                        <a:pt x="2881" y="0"/>
                      </a:lnTo>
                      <a:lnTo>
                        <a:pt x="46798" y="126307"/>
                      </a:lnTo>
                      <a:lnTo>
                        <a:pt x="43917" y="127308"/>
                      </a:lnTo>
                      <a:close/>
                    </a:path>
                  </a:pathLst>
                </a:custGeom>
                <a:grpFill/>
                <a:ln w="5978" cap="flat">
                  <a:noFill/>
                  <a:prstDash val="solid"/>
                  <a:miter/>
                </a:ln>
              </p:spPr>
              <p:txBody>
                <a:bodyPr rtlCol="0" anchor="ctr"/>
                <a:lstStyle/>
                <a:p>
                  <a:endParaRPr lang="en-GB"/>
                </a:p>
              </p:txBody>
            </p:sp>
            <p:sp>
              <p:nvSpPr>
                <p:cNvPr id="3362" name="Vrije vorm: vorm 3361">
                  <a:extLst>
                    <a:ext uri="{FF2B5EF4-FFF2-40B4-BE49-F238E27FC236}">
                      <a16:creationId xmlns:a16="http://schemas.microsoft.com/office/drawing/2014/main" id="{A7D5FE7D-FEE8-4EC9-A502-BD30043D2629}"/>
                    </a:ext>
                  </a:extLst>
                </p:cNvPr>
                <p:cNvSpPr/>
                <p:nvPr/>
              </p:nvSpPr>
              <p:spPr>
                <a:xfrm>
                  <a:off x="6641810" y="5123690"/>
                  <a:ext cx="18322" cy="18428"/>
                </a:xfrm>
                <a:custGeom>
                  <a:avLst/>
                  <a:gdLst>
                    <a:gd name="connsiteX0" fmla="*/ 17803 w 18322"/>
                    <a:gd name="connsiteY0" fmla="*/ 6194 h 18428"/>
                    <a:gd name="connsiteX1" fmla="*/ 12181 w 18322"/>
                    <a:gd name="connsiteY1" fmla="*/ 17916 h 18428"/>
                    <a:gd name="connsiteX2" fmla="*/ 519 w 18322"/>
                    <a:gd name="connsiteY2" fmla="*/ 12234 h 18428"/>
                    <a:gd name="connsiteX3" fmla="*/ 6141 w 18322"/>
                    <a:gd name="connsiteY3" fmla="*/ 512 h 18428"/>
                    <a:gd name="connsiteX4" fmla="*/ 17803 w 18322"/>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17803" y="6194"/>
                      </a:moveTo>
                      <a:cubicBezTo>
                        <a:pt x="19478" y="10978"/>
                        <a:pt x="16966" y="16242"/>
                        <a:pt x="12181" y="17916"/>
                      </a:cubicBezTo>
                      <a:cubicBezTo>
                        <a:pt x="7397" y="19591"/>
                        <a:pt x="2194" y="17019"/>
                        <a:pt x="519" y="12234"/>
                      </a:cubicBezTo>
                      <a:cubicBezTo>
                        <a:pt x="-1156" y="7450"/>
                        <a:pt x="1356" y="2187"/>
                        <a:pt x="6141" y="512"/>
                      </a:cubicBezTo>
                      <a:cubicBezTo>
                        <a:pt x="10866" y="-1163"/>
                        <a:pt x="16129" y="1409"/>
                        <a:pt x="17803" y="6194"/>
                      </a:cubicBezTo>
                      <a:close/>
                    </a:path>
                  </a:pathLst>
                </a:custGeom>
                <a:grpFill/>
                <a:ln w="5978" cap="flat">
                  <a:noFill/>
                  <a:prstDash val="solid"/>
                  <a:miter/>
                </a:ln>
              </p:spPr>
              <p:txBody>
                <a:bodyPr rtlCol="0" anchor="ctr"/>
                <a:lstStyle/>
                <a:p>
                  <a:endParaRPr lang="en-GB"/>
                </a:p>
              </p:txBody>
            </p:sp>
            <p:sp>
              <p:nvSpPr>
                <p:cNvPr id="3363" name="Vrije vorm: vorm 3362">
                  <a:extLst>
                    <a:ext uri="{FF2B5EF4-FFF2-40B4-BE49-F238E27FC236}">
                      <a16:creationId xmlns:a16="http://schemas.microsoft.com/office/drawing/2014/main" id="{886FD9F9-62DC-476C-998E-5E5FAB278321}"/>
                    </a:ext>
                  </a:extLst>
                </p:cNvPr>
                <p:cNvSpPr/>
                <p:nvPr/>
              </p:nvSpPr>
              <p:spPr>
                <a:xfrm>
                  <a:off x="6598211" y="4998215"/>
                  <a:ext cx="18322" cy="18428"/>
                </a:xfrm>
                <a:custGeom>
                  <a:avLst/>
                  <a:gdLst>
                    <a:gd name="connsiteX0" fmla="*/ 17803 w 18322"/>
                    <a:gd name="connsiteY0" fmla="*/ 6194 h 18428"/>
                    <a:gd name="connsiteX1" fmla="*/ 6141 w 18322"/>
                    <a:gd name="connsiteY1" fmla="*/ 512 h 18428"/>
                    <a:gd name="connsiteX2" fmla="*/ 519 w 18322"/>
                    <a:gd name="connsiteY2" fmla="*/ 12234 h 18428"/>
                    <a:gd name="connsiteX3" fmla="*/ 12181 w 18322"/>
                    <a:gd name="connsiteY3" fmla="*/ 17916 h 18428"/>
                    <a:gd name="connsiteX4" fmla="*/ 17803 w 18322"/>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17803" y="6194"/>
                      </a:moveTo>
                      <a:cubicBezTo>
                        <a:pt x="16129" y="1409"/>
                        <a:pt x="10925" y="-1162"/>
                        <a:pt x="6141" y="512"/>
                      </a:cubicBezTo>
                      <a:cubicBezTo>
                        <a:pt x="1356" y="2187"/>
                        <a:pt x="-1156" y="7390"/>
                        <a:pt x="519" y="12234"/>
                      </a:cubicBezTo>
                      <a:cubicBezTo>
                        <a:pt x="2193" y="17019"/>
                        <a:pt x="7397" y="19591"/>
                        <a:pt x="12181" y="17916"/>
                      </a:cubicBezTo>
                      <a:cubicBezTo>
                        <a:pt x="16966" y="16241"/>
                        <a:pt x="19478" y="10978"/>
                        <a:pt x="17803" y="6194"/>
                      </a:cubicBezTo>
                      <a:close/>
                    </a:path>
                  </a:pathLst>
                </a:custGeom>
                <a:grpFill/>
                <a:ln w="5978" cap="flat">
                  <a:noFill/>
                  <a:prstDash val="solid"/>
                  <a:miter/>
                </a:ln>
              </p:spPr>
              <p:txBody>
                <a:bodyPr rtlCol="0" anchor="ctr"/>
                <a:lstStyle/>
                <a:p>
                  <a:endParaRPr lang="en-GB"/>
                </a:p>
              </p:txBody>
            </p:sp>
          </p:grpSp>
          <p:grpSp>
            <p:nvGrpSpPr>
              <p:cNvPr id="677" name="Graphic 3">
                <a:extLst>
                  <a:ext uri="{FF2B5EF4-FFF2-40B4-BE49-F238E27FC236}">
                    <a16:creationId xmlns:a16="http://schemas.microsoft.com/office/drawing/2014/main" id="{5180A97F-9E06-4E7B-B9F1-A171A73553FC}"/>
                  </a:ext>
                </a:extLst>
              </p:cNvPr>
              <p:cNvGrpSpPr/>
              <p:nvPr/>
            </p:nvGrpSpPr>
            <p:grpSpPr>
              <a:xfrm>
                <a:off x="5384536" y="1319220"/>
                <a:ext cx="140821" cy="505162"/>
                <a:chOff x="5384536" y="1319220"/>
                <a:chExt cx="140821" cy="505162"/>
              </a:xfrm>
              <a:grpFill/>
            </p:grpSpPr>
            <p:sp>
              <p:nvSpPr>
                <p:cNvPr id="3358" name="Vrije vorm: vorm 3357">
                  <a:extLst>
                    <a:ext uri="{FF2B5EF4-FFF2-40B4-BE49-F238E27FC236}">
                      <a16:creationId xmlns:a16="http://schemas.microsoft.com/office/drawing/2014/main" id="{DBE34682-32FD-4C89-9428-8A7B190D69DE}"/>
                    </a:ext>
                  </a:extLst>
                </p:cNvPr>
                <p:cNvSpPr/>
                <p:nvPr/>
              </p:nvSpPr>
              <p:spPr>
                <a:xfrm>
                  <a:off x="5392333" y="1327542"/>
                  <a:ext cx="125691" cy="488359"/>
                </a:xfrm>
                <a:custGeom>
                  <a:avLst/>
                  <a:gdLst>
                    <a:gd name="connsiteX0" fmla="*/ 0 w 125691"/>
                    <a:gd name="connsiteY0" fmla="*/ 745 h 488359"/>
                    <a:gd name="connsiteX1" fmla="*/ 2958 w 125691"/>
                    <a:gd name="connsiteY1" fmla="*/ 0 h 488359"/>
                    <a:gd name="connsiteX2" fmla="*/ 125691 w 125691"/>
                    <a:gd name="connsiteY2" fmla="*/ 487615 h 488359"/>
                    <a:gd name="connsiteX3" fmla="*/ 122733 w 125691"/>
                    <a:gd name="connsiteY3" fmla="*/ 488359 h 488359"/>
                  </a:gdLst>
                  <a:ahLst/>
                  <a:cxnLst>
                    <a:cxn ang="0">
                      <a:pos x="connsiteX0" y="connsiteY0"/>
                    </a:cxn>
                    <a:cxn ang="0">
                      <a:pos x="connsiteX1" y="connsiteY1"/>
                    </a:cxn>
                    <a:cxn ang="0">
                      <a:pos x="connsiteX2" y="connsiteY2"/>
                    </a:cxn>
                    <a:cxn ang="0">
                      <a:pos x="connsiteX3" y="connsiteY3"/>
                    </a:cxn>
                  </a:cxnLst>
                  <a:rect l="l" t="t" r="r" b="b"/>
                  <a:pathLst>
                    <a:path w="125691" h="488359">
                      <a:moveTo>
                        <a:pt x="0" y="745"/>
                      </a:moveTo>
                      <a:lnTo>
                        <a:pt x="2958" y="0"/>
                      </a:lnTo>
                      <a:lnTo>
                        <a:pt x="125691" y="487615"/>
                      </a:lnTo>
                      <a:lnTo>
                        <a:pt x="122733" y="488359"/>
                      </a:lnTo>
                      <a:close/>
                    </a:path>
                  </a:pathLst>
                </a:custGeom>
                <a:grpFill/>
                <a:ln w="5978" cap="flat">
                  <a:noFill/>
                  <a:prstDash val="solid"/>
                  <a:miter/>
                </a:ln>
              </p:spPr>
              <p:txBody>
                <a:bodyPr rtlCol="0" anchor="ctr"/>
                <a:lstStyle/>
                <a:p>
                  <a:endParaRPr lang="en-GB"/>
                </a:p>
              </p:txBody>
            </p:sp>
            <p:sp>
              <p:nvSpPr>
                <p:cNvPr id="3359" name="Vrije vorm: vorm 3358">
                  <a:extLst>
                    <a:ext uri="{FF2B5EF4-FFF2-40B4-BE49-F238E27FC236}">
                      <a16:creationId xmlns:a16="http://schemas.microsoft.com/office/drawing/2014/main" id="{22D2C29F-0F8C-4577-8383-224936EBAA9B}"/>
                    </a:ext>
                  </a:extLst>
                </p:cNvPr>
                <p:cNvSpPr/>
                <p:nvPr/>
              </p:nvSpPr>
              <p:spPr>
                <a:xfrm>
                  <a:off x="5507021" y="1805932"/>
                  <a:ext cx="18335" cy="18451"/>
                </a:xfrm>
                <a:custGeom>
                  <a:avLst/>
                  <a:gdLst>
                    <a:gd name="connsiteX0" fmla="*/ 18049 w 18335"/>
                    <a:gd name="connsiteY0" fmla="*/ 6985 h 18451"/>
                    <a:gd name="connsiteX1" fmla="*/ 11411 w 18335"/>
                    <a:gd name="connsiteY1" fmla="*/ 18169 h 18451"/>
                    <a:gd name="connsiteX2" fmla="*/ 287 w 18335"/>
                    <a:gd name="connsiteY2" fmla="*/ 11470 h 18451"/>
                    <a:gd name="connsiteX3" fmla="*/ 6925 w 18335"/>
                    <a:gd name="connsiteY3" fmla="*/ 286 h 18451"/>
                    <a:gd name="connsiteX4" fmla="*/ 18049 w 18335"/>
                    <a:gd name="connsiteY4" fmla="*/ 6985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1">
                      <a:moveTo>
                        <a:pt x="18049" y="6985"/>
                      </a:moveTo>
                      <a:cubicBezTo>
                        <a:pt x="19305" y="11949"/>
                        <a:pt x="16315" y="16913"/>
                        <a:pt x="11411" y="18169"/>
                      </a:cubicBezTo>
                      <a:cubicBezTo>
                        <a:pt x="6507" y="19425"/>
                        <a:pt x="1542" y="16375"/>
                        <a:pt x="287" y="11470"/>
                      </a:cubicBezTo>
                      <a:cubicBezTo>
                        <a:pt x="-969" y="6506"/>
                        <a:pt x="2021" y="1542"/>
                        <a:pt x="6925" y="286"/>
                      </a:cubicBezTo>
                      <a:cubicBezTo>
                        <a:pt x="11829" y="-970"/>
                        <a:pt x="16794" y="2021"/>
                        <a:pt x="18049" y="6985"/>
                      </a:cubicBezTo>
                      <a:close/>
                    </a:path>
                  </a:pathLst>
                </a:custGeom>
                <a:grpFill/>
                <a:ln w="5978" cap="flat">
                  <a:noFill/>
                  <a:prstDash val="solid"/>
                  <a:miter/>
                </a:ln>
              </p:spPr>
              <p:txBody>
                <a:bodyPr rtlCol="0" anchor="ctr"/>
                <a:lstStyle/>
                <a:p>
                  <a:endParaRPr lang="en-GB"/>
                </a:p>
              </p:txBody>
            </p:sp>
            <p:sp>
              <p:nvSpPr>
                <p:cNvPr id="3360" name="Vrije vorm: vorm 3359">
                  <a:extLst>
                    <a:ext uri="{FF2B5EF4-FFF2-40B4-BE49-F238E27FC236}">
                      <a16:creationId xmlns:a16="http://schemas.microsoft.com/office/drawing/2014/main" id="{09CF2C8F-B11F-4E94-BD6C-75116019A43C}"/>
                    </a:ext>
                  </a:extLst>
                </p:cNvPr>
                <p:cNvSpPr/>
                <p:nvPr/>
              </p:nvSpPr>
              <p:spPr>
                <a:xfrm>
                  <a:off x="5384536" y="1319220"/>
                  <a:ext cx="18336" cy="18455"/>
                </a:xfrm>
                <a:custGeom>
                  <a:avLst/>
                  <a:gdLst>
                    <a:gd name="connsiteX0" fmla="*/ 18049 w 18336"/>
                    <a:gd name="connsiteY0" fmla="*/ 6985 h 18455"/>
                    <a:gd name="connsiteX1" fmla="*/ 6925 w 18336"/>
                    <a:gd name="connsiteY1" fmla="*/ 286 h 18455"/>
                    <a:gd name="connsiteX2" fmla="*/ 287 w 18336"/>
                    <a:gd name="connsiteY2" fmla="*/ 11470 h 18455"/>
                    <a:gd name="connsiteX3" fmla="*/ 11411 w 18336"/>
                    <a:gd name="connsiteY3" fmla="*/ 18169 h 18455"/>
                    <a:gd name="connsiteX4" fmla="*/ 18049 w 18336"/>
                    <a:gd name="connsiteY4" fmla="*/ 6985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5">
                      <a:moveTo>
                        <a:pt x="18049" y="6985"/>
                      </a:moveTo>
                      <a:cubicBezTo>
                        <a:pt x="16793" y="2021"/>
                        <a:pt x="11830" y="-970"/>
                        <a:pt x="6925" y="286"/>
                      </a:cubicBezTo>
                      <a:cubicBezTo>
                        <a:pt x="2021" y="1542"/>
                        <a:pt x="-969" y="6506"/>
                        <a:pt x="287" y="11470"/>
                      </a:cubicBezTo>
                      <a:cubicBezTo>
                        <a:pt x="1543" y="16434"/>
                        <a:pt x="6507" y="19425"/>
                        <a:pt x="11411" y="18169"/>
                      </a:cubicBezTo>
                      <a:cubicBezTo>
                        <a:pt x="16315" y="16913"/>
                        <a:pt x="19306" y="11949"/>
                        <a:pt x="18049" y="6985"/>
                      </a:cubicBezTo>
                      <a:close/>
                    </a:path>
                  </a:pathLst>
                </a:custGeom>
                <a:grpFill/>
                <a:ln w="5978" cap="flat">
                  <a:noFill/>
                  <a:prstDash val="solid"/>
                  <a:miter/>
                </a:ln>
              </p:spPr>
              <p:txBody>
                <a:bodyPr rtlCol="0" anchor="ctr"/>
                <a:lstStyle/>
                <a:p>
                  <a:endParaRPr lang="en-GB"/>
                </a:p>
              </p:txBody>
            </p:sp>
          </p:grpSp>
          <p:grpSp>
            <p:nvGrpSpPr>
              <p:cNvPr id="678" name="Graphic 3">
                <a:extLst>
                  <a:ext uri="{FF2B5EF4-FFF2-40B4-BE49-F238E27FC236}">
                    <a16:creationId xmlns:a16="http://schemas.microsoft.com/office/drawing/2014/main" id="{C61387CE-8993-41CB-A4EB-3BF4AF89E271}"/>
                  </a:ext>
                </a:extLst>
              </p:cNvPr>
              <p:cNvGrpSpPr/>
              <p:nvPr/>
            </p:nvGrpSpPr>
            <p:grpSpPr>
              <a:xfrm>
                <a:off x="6597482" y="4998440"/>
                <a:ext cx="135984" cy="474665"/>
                <a:chOff x="6597482" y="4998440"/>
                <a:chExt cx="135984" cy="474665"/>
              </a:xfrm>
              <a:grpFill/>
            </p:grpSpPr>
            <p:sp>
              <p:nvSpPr>
                <p:cNvPr id="3355" name="Vrije vorm: vorm 3354">
                  <a:extLst>
                    <a:ext uri="{FF2B5EF4-FFF2-40B4-BE49-F238E27FC236}">
                      <a16:creationId xmlns:a16="http://schemas.microsoft.com/office/drawing/2014/main" id="{D543EEDB-9396-481F-AFF8-E2A2B08533FF}"/>
                    </a:ext>
                  </a:extLst>
                </p:cNvPr>
                <p:cNvSpPr/>
                <p:nvPr/>
              </p:nvSpPr>
              <p:spPr>
                <a:xfrm>
                  <a:off x="6604995" y="5006411"/>
                  <a:ext cx="120841" cy="457913"/>
                </a:xfrm>
                <a:custGeom>
                  <a:avLst/>
                  <a:gdLst>
                    <a:gd name="connsiteX0" fmla="*/ 0 w 120841"/>
                    <a:gd name="connsiteY0" fmla="*/ 762 h 457913"/>
                    <a:gd name="connsiteX1" fmla="*/ 2954 w 120841"/>
                    <a:gd name="connsiteY1" fmla="*/ 0 h 457913"/>
                    <a:gd name="connsiteX2" fmla="*/ 120842 w 120841"/>
                    <a:gd name="connsiteY2" fmla="*/ 457152 h 457913"/>
                    <a:gd name="connsiteX3" fmla="*/ 117888 w 120841"/>
                    <a:gd name="connsiteY3" fmla="*/ 457914 h 457913"/>
                  </a:gdLst>
                  <a:ahLst/>
                  <a:cxnLst>
                    <a:cxn ang="0">
                      <a:pos x="connsiteX0" y="connsiteY0"/>
                    </a:cxn>
                    <a:cxn ang="0">
                      <a:pos x="connsiteX1" y="connsiteY1"/>
                    </a:cxn>
                    <a:cxn ang="0">
                      <a:pos x="connsiteX2" y="connsiteY2"/>
                    </a:cxn>
                    <a:cxn ang="0">
                      <a:pos x="connsiteX3" y="connsiteY3"/>
                    </a:cxn>
                  </a:cxnLst>
                  <a:rect l="l" t="t" r="r" b="b"/>
                  <a:pathLst>
                    <a:path w="120841" h="457913">
                      <a:moveTo>
                        <a:pt x="0" y="762"/>
                      </a:moveTo>
                      <a:lnTo>
                        <a:pt x="2954" y="0"/>
                      </a:lnTo>
                      <a:lnTo>
                        <a:pt x="120842" y="457152"/>
                      </a:lnTo>
                      <a:lnTo>
                        <a:pt x="117888" y="457914"/>
                      </a:lnTo>
                      <a:close/>
                    </a:path>
                  </a:pathLst>
                </a:custGeom>
                <a:grpFill/>
                <a:ln w="5978" cap="flat">
                  <a:noFill/>
                  <a:prstDash val="solid"/>
                  <a:miter/>
                </a:ln>
              </p:spPr>
              <p:txBody>
                <a:bodyPr rtlCol="0" anchor="ctr"/>
                <a:lstStyle/>
                <a:p>
                  <a:endParaRPr lang="en-GB"/>
                </a:p>
              </p:txBody>
            </p:sp>
            <p:sp>
              <p:nvSpPr>
                <p:cNvPr id="3356" name="Vrije vorm: vorm 3355">
                  <a:extLst>
                    <a:ext uri="{FF2B5EF4-FFF2-40B4-BE49-F238E27FC236}">
                      <a16:creationId xmlns:a16="http://schemas.microsoft.com/office/drawing/2014/main" id="{B650F873-9175-434D-B63F-130E140C906C}"/>
                    </a:ext>
                  </a:extLst>
                </p:cNvPr>
                <p:cNvSpPr/>
                <p:nvPr/>
              </p:nvSpPr>
              <p:spPr>
                <a:xfrm>
                  <a:off x="6597482" y="4998440"/>
                  <a:ext cx="18343" cy="18395"/>
                </a:xfrm>
                <a:custGeom>
                  <a:avLst/>
                  <a:gdLst>
                    <a:gd name="connsiteX0" fmla="*/ 290 w 18343"/>
                    <a:gd name="connsiteY0" fmla="*/ 11471 h 18395"/>
                    <a:gd name="connsiteX1" fmla="*/ 6869 w 18343"/>
                    <a:gd name="connsiteY1" fmla="*/ 287 h 18395"/>
                    <a:gd name="connsiteX2" fmla="*/ 18053 w 18343"/>
                    <a:gd name="connsiteY2" fmla="*/ 6925 h 18395"/>
                    <a:gd name="connsiteX3" fmla="*/ 11475 w 18343"/>
                    <a:gd name="connsiteY3" fmla="*/ 18109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965" y="6567"/>
                        <a:pt x="1965" y="1543"/>
                        <a:pt x="6869" y="287"/>
                      </a:cubicBezTo>
                      <a:cubicBezTo>
                        <a:pt x="11774" y="-969"/>
                        <a:pt x="16797" y="2021"/>
                        <a:pt x="18053" y="6925"/>
                      </a:cubicBezTo>
                      <a:cubicBezTo>
                        <a:pt x="19309" y="11830"/>
                        <a:pt x="16379" y="16853"/>
                        <a:pt x="11475" y="18109"/>
                      </a:cubicBezTo>
                      <a:cubicBezTo>
                        <a:pt x="6571" y="19365"/>
                        <a:pt x="1547" y="16375"/>
                        <a:pt x="290" y="11471"/>
                      </a:cubicBezTo>
                      <a:close/>
                    </a:path>
                  </a:pathLst>
                </a:custGeom>
                <a:grpFill/>
                <a:ln w="5978" cap="flat">
                  <a:noFill/>
                  <a:prstDash val="solid"/>
                  <a:miter/>
                </a:ln>
              </p:spPr>
              <p:txBody>
                <a:bodyPr rtlCol="0" anchor="ctr"/>
                <a:lstStyle/>
                <a:p>
                  <a:endParaRPr lang="en-GB"/>
                </a:p>
              </p:txBody>
            </p:sp>
            <p:sp>
              <p:nvSpPr>
                <p:cNvPr id="3357" name="Vrije vorm: vorm 3356">
                  <a:extLst>
                    <a:ext uri="{FF2B5EF4-FFF2-40B4-BE49-F238E27FC236}">
                      <a16:creationId xmlns:a16="http://schemas.microsoft.com/office/drawing/2014/main" id="{8DBBB63C-B186-4225-98F1-E3B7FDA64539}"/>
                    </a:ext>
                  </a:extLst>
                </p:cNvPr>
                <p:cNvSpPr/>
                <p:nvPr/>
              </p:nvSpPr>
              <p:spPr>
                <a:xfrm>
                  <a:off x="6715123" y="5454710"/>
                  <a:ext cx="18343" cy="18395"/>
                </a:xfrm>
                <a:custGeom>
                  <a:avLst/>
                  <a:gdLst>
                    <a:gd name="connsiteX0" fmla="*/ 291 w 18343"/>
                    <a:gd name="connsiteY0" fmla="*/ 11471 h 18395"/>
                    <a:gd name="connsiteX1" fmla="*/ 11475 w 18343"/>
                    <a:gd name="connsiteY1" fmla="*/ 18109 h 18395"/>
                    <a:gd name="connsiteX2" fmla="*/ 18053 w 18343"/>
                    <a:gd name="connsiteY2" fmla="*/ 6925 h 18395"/>
                    <a:gd name="connsiteX3" fmla="*/ 6869 w 18343"/>
                    <a:gd name="connsiteY3" fmla="*/ 287 h 18395"/>
                    <a:gd name="connsiteX4" fmla="*/ 291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1" y="11471"/>
                      </a:moveTo>
                      <a:cubicBezTo>
                        <a:pt x="1546" y="16375"/>
                        <a:pt x="6570" y="19365"/>
                        <a:pt x="11475" y="18109"/>
                      </a:cubicBezTo>
                      <a:cubicBezTo>
                        <a:pt x="16379" y="16853"/>
                        <a:pt x="19309" y="11829"/>
                        <a:pt x="18053" y="6925"/>
                      </a:cubicBezTo>
                      <a:cubicBezTo>
                        <a:pt x="16797" y="2021"/>
                        <a:pt x="11773" y="-969"/>
                        <a:pt x="6869" y="287"/>
                      </a:cubicBezTo>
                      <a:cubicBezTo>
                        <a:pt x="1965" y="1542"/>
                        <a:pt x="-965" y="6566"/>
                        <a:pt x="291" y="11471"/>
                      </a:cubicBezTo>
                      <a:close/>
                    </a:path>
                  </a:pathLst>
                </a:custGeom>
                <a:grpFill/>
                <a:ln w="5978" cap="flat">
                  <a:noFill/>
                  <a:prstDash val="solid"/>
                  <a:miter/>
                </a:ln>
              </p:spPr>
              <p:txBody>
                <a:bodyPr rtlCol="0" anchor="ctr"/>
                <a:lstStyle/>
                <a:p>
                  <a:endParaRPr lang="en-GB"/>
                </a:p>
              </p:txBody>
            </p:sp>
          </p:grpSp>
          <p:grpSp>
            <p:nvGrpSpPr>
              <p:cNvPr id="679" name="Graphic 3">
                <a:extLst>
                  <a:ext uri="{FF2B5EF4-FFF2-40B4-BE49-F238E27FC236}">
                    <a16:creationId xmlns:a16="http://schemas.microsoft.com/office/drawing/2014/main" id="{132CE11C-B93B-49D5-88C1-BEFE9E2280F4}"/>
                  </a:ext>
                </a:extLst>
              </p:cNvPr>
              <p:cNvGrpSpPr/>
              <p:nvPr/>
            </p:nvGrpSpPr>
            <p:grpSpPr>
              <a:xfrm>
                <a:off x="5488285" y="1752573"/>
                <a:ext cx="36370" cy="71949"/>
                <a:chOff x="5488285" y="1752573"/>
                <a:chExt cx="36370" cy="71949"/>
              </a:xfrm>
              <a:grpFill/>
            </p:grpSpPr>
            <p:sp>
              <p:nvSpPr>
                <p:cNvPr id="3352" name="Vrije vorm: vorm 3351">
                  <a:extLst>
                    <a:ext uri="{FF2B5EF4-FFF2-40B4-BE49-F238E27FC236}">
                      <a16:creationId xmlns:a16="http://schemas.microsoft.com/office/drawing/2014/main" id="{E9C25563-EEAD-41AD-AF25-7B256EAC05B2}"/>
                    </a:ext>
                  </a:extLst>
                </p:cNvPr>
                <p:cNvSpPr/>
                <p:nvPr/>
              </p:nvSpPr>
              <p:spPr>
                <a:xfrm>
                  <a:off x="5496085" y="1760696"/>
                  <a:ext cx="21223" cy="55386"/>
                </a:xfrm>
                <a:custGeom>
                  <a:avLst/>
                  <a:gdLst>
                    <a:gd name="connsiteX0" fmla="*/ 0 w 21223"/>
                    <a:gd name="connsiteY0" fmla="*/ 974 h 55386"/>
                    <a:gd name="connsiteX1" fmla="*/ 2891 w 21223"/>
                    <a:gd name="connsiteY1" fmla="*/ 0 h 55386"/>
                    <a:gd name="connsiteX2" fmla="*/ 21223 w 21223"/>
                    <a:gd name="connsiteY2" fmla="*/ 54412 h 55386"/>
                    <a:gd name="connsiteX3" fmla="*/ 18333 w 21223"/>
                    <a:gd name="connsiteY3" fmla="*/ 55386 h 55386"/>
                  </a:gdLst>
                  <a:ahLst/>
                  <a:cxnLst>
                    <a:cxn ang="0">
                      <a:pos x="connsiteX0" y="connsiteY0"/>
                    </a:cxn>
                    <a:cxn ang="0">
                      <a:pos x="connsiteX1" y="connsiteY1"/>
                    </a:cxn>
                    <a:cxn ang="0">
                      <a:pos x="connsiteX2" y="connsiteY2"/>
                    </a:cxn>
                    <a:cxn ang="0">
                      <a:pos x="connsiteX3" y="connsiteY3"/>
                    </a:cxn>
                  </a:cxnLst>
                  <a:rect l="l" t="t" r="r" b="b"/>
                  <a:pathLst>
                    <a:path w="21223" h="55386">
                      <a:moveTo>
                        <a:pt x="0" y="974"/>
                      </a:moveTo>
                      <a:lnTo>
                        <a:pt x="2891" y="0"/>
                      </a:lnTo>
                      <a:lnTo>
                        <a:pt x="21223" y="54412"/>
                      </a:lnTo>
                      <a:lnTo>
                        <a:pt x="18333" y="55386"/>
                      </a:lnTo>
                      <a:close/>
                    </a:path>
                  </a:pathLst>
                </a:custGeom>
                <a:grpFill/>
                <a:ln w="5978" cap="flat">
                  <a:noFill/>
                  <a:prstDash val="solid"/>
                  <a:miter/>
                </a:ln>
              </p:spPr>
              <p:txBody>
                <a:bodyPr rtlCol="0" anchor="ctr"/>
                <a:lstStyle/>
                <a:p>
                  <a:endParaRPr lang="en-GB"/>
                </a:p>
              </p:txBody>
            </p:sp>
            <p:sp>
              <p:nvSpPr>
                <p:cNvPr id="3353" name="Vrije vorm: vorm 3352">
                  <a:extLst>
                    <a:ext uri="{FF2B5EF4-FFF2-40B4-BE49-F238E27FC236}">
                      <a16:creationId xmlns:a16="http://schemas.microsoft.com/office/drawing/2014/main" id="{D74C7AD5-846F-46F1-9F35-EC3DCBB5A384}"/>
                    </a:ext>
                  </a:extLst>
                </p:cNvPr>
                <p:cNvSpPr/>
                <p:nvPr/>
              </p:nvSpPr>
              <p:spPr>
                <a:xfrm>
                  <a:off x="5488285" y="1752573"/>
                  <a:ext cx="18308" cy="18444"/>
                </a:xfrm>
                <a:custGeom>
                  <a:avLst/>
                  <a:gdLst>
                    <a:gd name="connsiteX0" fmla="*/ 482 w 18308"/>
                    <a:gd name="connsiteY0" fmla="*/ 12138 h 18444"/>
                    <a:gd name="connsiteX1" fmla="*/ 6224 w 18308"/>
                    <a:gd name="connsiteY1" fmla="*/ 476 h 18444"/>
                    <a:gd name="connsiteX2" fmla="*/ 17826 w 18308"/>
                    <a:gd name="connsiteY2" fmla="*/ 6277 h 18444"/>
                    <a:gd name="connsiteX3" fmla="*/ 12085 w 18308"/>
                    <a:gd name="connsiteY3" fmla="*/ 17940 h 18444"/>
                    <a:gd name="connsiteX4" fmla="*/ 482 w 18308"/>
                    <a:gd name="connsiteY4" fmla="*/ 1213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4">
                      <a:moveTo>
                        <a:pt x="482" y="12138"/>
                      </a:moveTo>
                      <a:cubicBezTo>
                        <a:pt x="-1132" y="7294"/>
                        <a:pt x="1439" y="2091"/>
                        <a:pt x="6224" y="476"/>
                      </a:cubicBezTo>
                      <a:cubicBezTo>
                        <a:pt x="11008" y="-1139"/>
                        <a:pt x="16212" y="1493"/>
                        <a:pt x="17826" y="6277"/>
                      </a:cubicBezTo>
                      <a:cubicBezTo>
                        <a:pt x="19441" y="11122"/>
                        <a:pt x="16870" y="16325"/>
                        <a:pt x="12085" y="17940"/>
                      </a:cubicBezTo>
                      <a:cubicBezTo>
                        <a:pt x="7360" y="19614"/>
                        <a:pt x="2157" y="16983"/>
                        <a:pt x="482" y="12138"/>
                      </a:cubicBezTo>
                      <a:close/>
                    </a:path>
                  </a:pathLst>
                </a:custGeom>
                <a:grpFill/>
                <a:ln w="5978" cap="flat">
                  <a:noFill/>
                  <a:prstDash val="solid"/>
                  <a:miter/>
                </a:ln>
              </p:spPr>
              <p:txBody>
                <a:bodyPr rtlCol="0" anchor="ctr"/>
                <a:lstStyle/>
                <a:p>
                  <a:endParaRPr lang="en-GB"/>
                </a:p>
              </p:txBody>
            </p:sp>
            <p:sp>
              <p:nvSpPr>
                <p:cNvPr id="3354" name="Vrije vorm: vorm 3353">
                  <a:extLst>
                    <a:ext uri="{FF2B5EF4-FFF2-40B4-BE49-F238E27FC236}">
                      <a16:creationId xmlns:a16="http://schemas.microsoft.com/office/drawing/2014/main" id="{57F65372-CB31-4C9B-B4B8-00C510F0B722}"/>
                    </a:ext>
                  </a:extLst>
                </p:cNvPr>
                <p:cNvSpPr/>
                <p:nvPr/>
              </p:nvSpPr>
              <p:spPr>
                <a:xfrm>
                  <a:off x="5506347" y="1806095"/>
                  <a:ext cx="18308" cy="18427"/>
                </a:xfrm>
                <a:custGeom>
                  <a:avLst/>
                  <a:gdLst>
                    <a:gd name="connsiteX0" fmla="*/ 482 w 18308"/>
                    <a:gd name="connsiteY0" fmla="*/ 12144 h 18427"/>
                    <a:gd name="connsiteX1" fmla="*/ 12085 w 18308"/>
                    <a:gd name="connsiteY1" fmla="*/ 17946 h 18427"/>
                    <a:gd name="connsiteX2" fmla="*/ 17827 w 18308"/>
                    <a:gd name="connsiteY2" fmla="*/ 6283 h 18427"/>
                    <a:gd name="connsiteX3" fmla="*/ 6224 w 18308"/>
                    <a:gd name="connsiteY3" fmla="*/ 482 h 18427"/>
                    <a:gd name="connsiteX4" fmla="*/ 482 w 18308"/>
                    <a:gd name="connsiteY4" fmla="*/ 1214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482" y="12144"/>
                      </a:moveTo>
                      <a:cubicBezTo>
                        <a:pt x="2097" y="16989"/>
                        <a:pt x="7301" y="19560"/>
                        <a:pt x="12085" y="17946"/>
                      </a:cubicBezTo>
                      <a:cubicBezTo>
                        <a:pt x="16870" y="16331"/>
                        <a:pt x="19441" y="11128"/>
                        <a:pt x="17827" y="6283"/>
                      </a:cubicBezTo>
                      <a:cubicBezTo>
                        <a:pt x="16212" y="1439"/>
                        <a:pt x="11009" y="-1133"/>
                        <a:pt x="6224" y="482"/>
                      </a:cubicBezTo>
                      <a:cubicBezTo>
                        <a:pt x="1439" y="2097"/>
                        <a:pt x="-1132" y="7360"/>
                        <a:pt x="482" y="12144"/>
                      </a:cubicBezTo>
                      <a:close/>
                    </a:path>
                  </a:pathLst>
                </a:custGeom>
                <a:grpFill/>
                <a:ln w="5978" cap="flat">
                  <a:noFill/>
                  <a:prstDash val="solid"/>
                  <a:miter/>
                </a:ln>
              </p:spPr>
              <p:txBody>
                <a:bodyPr rtlCol="0" anchor="ctr"/>
                <a:lstStyle/>
                <a:p>
                  <a:endParaRPr lang="en-GB"/>
                </a:p>
              </p:txBody>
            </p:sp>
          </p:grpSp>
          <p:grpSp>
            <p:nvGrpSpPr>
              <p:cNvPr id="680" name="Graphic 3">
                <a:extLst>
                  <a:ext uri="{FF2B5EF4-FFF2-40B4-BE49-F238E27FC236}">
                    <a16:creationId xmlns:a16="http://schemas.microsoft.com/office/drawing/2014/main" id="{8C9198C9-7B26-420A-BFC2-DE6C54A4C2BF}"/>
                  </a:ext>
                </a:extLst>
              </p:cNvPr>
              <p:cNvGrpSpPr/>
              <p:nvPr/>
            </p:nvGrpSpPr>
            <p:grpSpPr>
              <a:xfrm>
                <a:off x="5401923" y="1496180"/>
                <a:ext cx="98809" cy="257351"/>
                <a:chOff x="5401923" y="1496180"/>
                <a:chExt cx="98809" cy="257351"/>
              </a:xfrm>
              <a:grpFill/>
            </p:grpSpPr>
            <p:sp>
              <p:nvSpPr>
                <p:cNvPr id="3349" name="Vrije vorm: vorm 3348">
                  <a:extLst>
                    <a:ext uri="{FF2B5EF4-FFF2-40B4-BE49-F238E27FC236}">
                      <a16:creationId xmlns:a16="http://schemas.microsoft.com/office/drawing/2014/main" id="{FF878119-69AC-4809-8B5C-069697259238}"/>
                    </a:ext>
                  </a:extLst>
                </p:cNvPr>
                <p:cNvSpPr/>
                <p:nvPr/>
              </p:nvSpPr>
              <p:spPr>
                <a:xfrm>
                  <a:off x="5409710" y="1504367"/>
                  <a:ext cx="83687" cy="240784"/>
                </a:xfrm>
                <a:custGeom>
                  <a:avLst/>
                  <a:gdLst>
                    <a:gd name="connsiteX0" fmla="*/ 0 w 83687"/>
                    <a:gd name="connsiteY0" fmla="*/ 974 h 240784"/>
                    <a:gd name="connsiteX1" fmla="*/ 2891 w 83687"/>
                    <a:gd name="connsiteY1" fmla="*/ 0 h 240784"/>
                    <a:gd name="connsiteX2" fmla="*/ 83688 w 83687"/>
                    <a:gd name="connsiteY2" fmla="*/ 239810 h 240784"/>
                    <a:gd name="connsiteX3" fmla="*/ 80797 w 83687"/>
                    <a:gd name="connsiteY3" fmla="*/ 240784 h 240784"/>
                  </a:gdLst>
                  <a:ahLst/>
                  <a:cxnLst>
                    <a:cxn ang="0">
                      <a:pos x="connsiteX0" y="connsiteY0"/>
                    </a:cxn>
                    <a:cxn ang="0">
                      <a:pos x="connsiteX1" y="connsiteY1"/>
                    </a:cxn>
                    <a:cxn ang="0">
                      <a:pos x="connsiteX2" y="connsiteY2"/>
                    </a:cxn>
                    <a:cxn ang="0">
                      <a:pos x="connsiteX3" y="connsiteY3"/>
                    </a:cxn>
                  </a:cxnLst>
                  <a:rect l="l" t="t" r="r" b="b"/>
                  <a:pathLst>
                    <a:path w="83687" h="240784">
                      <a:moveTo>
                        <a:pt x="0" y="974"/>
                      </a:moveTo>
                      <a:lnTo>
                        <a:pt x="2891" y="0"/>
                      </a:lnTo>
                      <a:lnTo>
                        <a:pt x="83688" y="239810"/>
                      </a:lnTo>
                      <a:lnTo>
                        <a:pt x="80797" y="240784"/>
                      </a:lnTo>
                      <a:close/>
                    </a:path>
                  </a:pathLst>
                </a:custGeom>
                <a:grpFill/>
                <a:ln w="5978" cap="flat">
                  <a:noFill/>
                  <a:prstDash val="solid"/>
                  <a:miter/>
                </a:ln>
              </p:spPr>
              <p:txBody>
                <a:bodyPr rtlCol="0" anchor="ctr"/>
                <a:lstStyle/>
                <a:p>
                  <a:endParaRPr lang="en-GB"/>
                </a:p>
              </p:txBody>
            </p:sp>
            <p:sp>
              <p:nvSpPr>
                <p:cNvPr id="3350" name="Vrije vorm: vorm 3349">
                  <a:extLst>
                    <a:ext uri="{FF2B5EF4-FFF2-40B4-BE49-F238E27FC236}">
                      <a16:creationId xmlns:a16="http://schemas.microsoft.com/office/drawing/2014/main" id="{DB6E8941-22A6-4990-9AF4-59F3195A13A1}"/>
                    </a:ext>
                  </a:extLst>
                </p:cNvPr>
                <p:cNvSpPr/>
                <p:nvPr/>
              </p:nvSpPr>
              <p:spPr>
                <a:xfrm>
                  <a:off x="5401923" y="1496180"/>
                  <a:ext cx="18308" cy="18421"/>
                </a:xfrm>
                <a:custGeom>
                  <a:avLst/>
                  <a:gdLst>
                    <a:gd name="connsiteX0" fmla="*/ 482 w 18308"/>
                    <a:gd name="connsiteY0" fmla="*/ 12138 h 18421"/>
                    <a:gd name="connsiteX1" fmla="*/ 6224 w 18308"/>
                    <a:gd name="connsiteY1" fmla="*/ 476 h 18421"/>
                    <a:gd name="connsiteX2" fmla="*/ 17826 w 18308"/>
                    <a:gd name="connsiteY2" fmla="*/ 6277 h 18421"/>
                    <a:gd name="connsiteX3" fmla="*/ 12085 w 18308"/>
                    <a:gd name="connsiteY3" fmla="*/ 17940 h 18421"/>
                    <a:gd name="connsiteX4" fmla="*/ 482 w 18308"/>
                    <a:gd name="connsiteY4" fmla="*/ 1213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482" y="12138"/>
                      </a:moveTo>
                      <a:cubicBezTo>
                        <a:pt x="-1132" y="7294"/>
                        <a:pt x="1439" y="2091"/>
                        <a:pt x="6224" y="476"/>
                      </a:cubicBezTo>
                      <a:cubicBezTo>
                        <a:pt x="11008" y="-1139"/>
                        <a:pt x="16212" y="1493"/>
                        <a:pt x="17826" y="6277"/>
                      </a:cubicBezTo>
                      <a:cubicBezTo>
                        <a:pt x="19441" y="11122"/>
                        <a:pt x="16870" y="16325"/>
                        <a:pt x="12085" y="17940"/>
                      </a:cubicBezTo>
                      <a:cubicBezTo>
                        <a:pt x="7300" y="19555"/>
                        <a:pt x="2097" y="16983"/>
                        <a:pt x="482" y="12138"/>
                      </a:cubicBezTo>
                      <a:close/>
                    </a:path>
                  </a:pathLst>
                </a:custGeom>
                <a:grpFill/>
                <a:ln w="5978" cap="flat">
                  <a:noFill/>
                  <a:prstDash val="solid"/>
                  <a:miter/>
                </a:ln>
              </p:spPr>
              <p:txBody>
                <a:bodyPr rtlCol="0" anchor="ctr"/>
                <a:lstStyle/>
                <a:p>
                  <a:endParaRPr lang="en-GB"/>
                </a:p>
              </p:txBody>
            </p:sp>
            <p:sp>
              <p:nvSpPr>
                <p:cNvPr id="3351" name="Vrije vorm: vorm 3350">
                  <a:extLst>
                    <a:ext uri="{FF2B5EF4-FFF2-40B4-BE49-F238E27FC236}">
                      <a16:creationId xmlns:a16="http://schemas.microsoft.com/office/drawing/2014/main" id="{18DDA506-D400-4025-A189-15A318F67E10}"/>
                    </a:ext>
                  </a:extLst>
                </p:cNvPr>
                <p:cNvSpPr/>
                <p:nvPr/>
              </p:nvSpPr>
              <p:spPr>
                <a:xfrm>
                  <a:off x="5482424" y="1735104"/>
                  <a:ext cx="18308" cy="18427"/>
                </a:xfrm>
                <a:custGeom>
                  <a:avLst/>
                  <a:gdLst>
                    <a:gd name="connsiteX0" fmla="*/ 482 w 18308"/>
                    <a:gd name="connsiteY0" fmla="*/ 12144 h 18427"/>
                    <a:gd name="connsiteX1" fmla="*/ 12085 w 18308"/>
                    <a:gd name="connsiteY1" fmla="*/ 17946 h 18427"/>
                    <a:gd name="connsiteX2" fmla="*/ 17827 w 18308"/>
                    <a:gd name="connsiteY2" fmla="*/ 6283 h 18427"/>
                    <a:gd name="connsiteX3" fmla="*/ 6224 w 18308"/>
                    <a:gd name="connsiteY3" fmla="*/ 482 h 18427"/>
                    <a:gd name="connsiteX4" fmla="*/ 482 w 18308"/>
                    <a:gd name="connsiteY4" fmla="*/ 1214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482" y="12144"/>
                      </a:moveTo>
                      <a:cubicBezTo>
                        <a:pt x="2097" y="16989"/>
                        <a:pt x="7301" y="19560"/>
                        <a:pt x="12085" y="17946"/>
                      </a:cubicBezTo>
                      <a:cubicBezTo>
                        <a:pt x="16870" y="16331"/>
                        <a:pt x="19441" y="11128"/>
                        <a:pt x="17827" y="6283"/>
                      </a:cubicBezTo>
                      <a:cubicBezTo>
                        <a:pt x="16212" y="1439"/>
                        <a:pt x="11009" y="-1133"/>
                        <a:pt x="6224" y="482"/>
                      </a:cubicBezTo>
                      <a:cubicBezTo>
                        <a:pt x="1439" y="2097"/>
                        <a:pt x="-1132" y="7360"/>
                        <a:pt x="482" y="12144"/>
                      </a:cubicBezTo>
                      <a:close/>
                    </a:path>
                  </a:pathLst>
                </a:custGeom>
                <a:grpFill/>
                <a:ln w="5978" cap="flat">
                  <a:noFill/>
                  <a:prstDash val="solid"/>
                  <a:miter/>
                </a:ln>
              </p:spPr>
              <p:txBody>
                <a:bodyPr rtlCol="0" anchor="ctr"/>
                <a:lstStyle/>
                <a:p>
                  <a:endParaRPr lang="en-GB"/>
                </a:p>
              </p:txBody>
            </p:sp>
          </p:grpSp>
          <p:grpSp>
            <p:nvGrpSpPr>
              <p:cNvPr id="681" name="Graphic 3">
                <a:extLst>
                  <a:ext uri="{FF2B5EF4-FFF2-40B4-BE49-F238E27FC236}">
                    <a16:creationId xmlns:a16="http://schemas.microsoft.com/office/drawing/2014/main" id="{229C3D9A-5920-4A64-A742-D8E6501753F9}"/>
                  </a:ext>
                </a:extLst>
              </p:cNvPr>
              <p:cNvGrpSpPr/>
              <p:nvPr/>
            </p:nvGrpSpPr>
            <p:grpSpPr>
              <a:xfrm>
                <a:off x="5356470" y="1361315"/>
                <a:ext cx="57841" cy="135823"/>
                <a:chOff x="5356470" y="1361315"/>
                <a:chExt cx="57841" cy="135823"/>
              </a:xfrm>
              <a:grpFill/>
            </p:grpSpPr>
            <p:sp>
              <p:nvSpPr>
                <p:cNvPr id="3346" name="Vrije vorm: vorm 3345">
                  <a:extLst>
                    <a:ext uri="{FF2B5EF4-FFF2-40B4-BE49-F238E27FC236}">
                      <a16:creationId xmlns:a16="http://schemas.microsoft.com/office/drawing/2014/main" id="{99FB6213-692A-49CB-8E84-3E6C7A6CCED0}"/>
                    </a:ext>
                  </a:extLst>
                </p:cNvPr>
                <p:cNvSpPr/>
                <p:nvPr/>
              </p:nvSpPr>
              <p:spPr>
                <a:xfrm>
                  <a:off x="5364285" y="1369542"/>
                  <a:ext cx="42725" cy="119206"/>
                </a:xfrm>
                <a:custGeom>
                  <a:avLst/>
                  <a:gdLst>
                    <a:gd name="connsiteX0" fmla="*/ 0 w 42725"/>
                    <a:gd name="connsiteY0" fmla="*/ 974 h 119206"/>
                    <a:gd name="connsiteX1" fmla="*/ 2891 w 42725"/>
                    <a:gd name="connsiteY1" fmla="*/ 0 h 119206"/>
                    <a:gd name="connsiteX2" fmla="*/ 42726 w 42725"/>
                    <a:gd name="connsiteY2" fmla="*/ 118233 h 119206"/>
                    <a:gd name="connsiteX3" fmla="*/ 39835 w 42725"/>
                    <a:gd name="connsiteY3" fmla="*/ 119207 h 119206"/>
                  </a:gdLst>
                  <a:ahLst/>
                  <a:cxnLst>
                    <a:cxn ang="0">
                      <a:pos x="connsiteX0" y="connsiteY0"/>
                    </a:cxn>
                    <a:cxn ang="0">
                      <a:pos x="connsiteX1" y="connsiteY1"/>
                    </a:cxn>
                    <a:cxn ang="0">
                      <a:pos x="connsiteX2" y="connsiteY2"/>
                    </a:cxn>
                    <a:cxn ang="0">
                      <a:pos x="connsiteX3" y="connsiteY3"/>
                    </a:cxn>
                  </a:cxnLst>
                  <a:rect l="l" t="t" r="r" b="b"/>
                  <a:pathLst>
                    <a:path w="42725" h="119206">
                      <a:moveTo>
                        <a:pt x="0" y="974"/>
                      </a:moveTo>
                      <a:lnTo>
                        <a:pt x="2891" y="0"/>
                      </a:lnTo>
                      <a:lnTo>
                        <a:pt x="42726" y="118233"/>
                      </a:lnTo>
                      <a:lnTo>
                        <a:pt x="39835" y="119207"/>
                      </a:lnTo>
                      <a:close/>
                    </a:path>
                  </a:pathLst>
                </a:custGeom>
                <a:grpFill/>
                <a:ln w="5978" cap="flat">
                  <a:noFill/>
                  <a:prstDash val="solid"/>
                  <a:miter/>
                </a:ln>
              </p:spPr>
              <p:txBody>
                <a:bodyPr rtlCol="0" anchor="ctr"/>
                <a:lstStyle/>
                <a:p>
                  <a:endParaRPr lang="en-GB"/>
                </a:p>
              </p:txBody>
            </p:sp>
            <p:sp>
              <p:nvSpPr>
                <p:cNvPr id="3347" name="Vrije vorm: vorm 3346">
                  <a:extLst>
                    <a:ext uri="{FF2B5EF4-FFF2-40B4-BE49-F238E27FC236}">
                      <a16:creationId xmlns:a16="http://schemas.microsoft.com/office/drawing/2014/main" id="{57B81943-464E-49CE-90BD-1A941EE253A1}"/>
                    </a:ext>
                  </a:extLst>
                </p:cNvPr>
                <p:cNvSpPr/>
                <p:nvPr/>
              </p:nvSpPr>
              <p:spPr>
                <a:xfrm>
                  <a:off x="5356470" y="1361315"/>
                  <a:ext cx="18308" cy="18444"/>
                </a:xfrm>
                <a:custGeom>
                  <a:avLst/>
                  <a:gdLst>
                    <a:gd name="connsiteX0" fmla="*/ 482 w 18308"/>
                    <a:gd name="connsiteY0" fmla="*/ 12138 h 18444"/>
                    <a:gd name="connsiteX1" fmla="*/ 6224 w 18308"/>
                    <a:gd name="connsiteY1" fmla="*/ 476 h 18444"/>
                    <a:gd name="connsiteX2" fmla="*/ 17827 w 18308"/>
                    <a:gd name="connsiteY2" fmla="*/ 6277 h 18444"/>
                    <a:gd name="connsiteX3" fmla="*/ 12085 w 18308"/>
                    <a:gd name="connsiteY3" fmla="*/ 17940 h 18444"/>
                    <a:gd name="connsiteX4" fmla="*/ 482 w 18308"/>
                    <a:gd name="connsiteY4" fmla="*/ 1213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4">
                      <a:moveTo>
                        <a:pt x="482" y="12138"/>
                      </a:moveTo>
                      <a:cubicBezTo>
                        <a:pt x="-1132" y="7294"/>
                        <a:pt x="1439" y="2091"/>
                        <a:pt x="6224" y="476"/>
                      </a:cubicBezTo>
                      <a:cubicBezTo>
                        <a:pt x="11009" y="-1139"/>
                        <a:pt x="16212" y="1493"/>
                        <a:pt x="17827" y="6277"/>
                      </a:cubicBezTo>
                      <a:cubicBezTo>
                        <a:pt x="19441" y="11122"/>
                        <a:pt x="16870" y="16325"/>
                        <a:pt x="12085" y="17940"/>
                      </a:cubicBezTo>
                      <a:cubicBezTo>
                        <a:pt x="7360" y="19614"/>
                        <a:pt x="2157" y="16983"/>
                        <a:pt x="482" y="12138"/>
                      </a:cubicBezTo>
                      <a:close/>
                    </a:path>
                  </a:pathLst>
                </a:custGeom>
                <a:grpFill/>
                <a:ln w="5978" cap="flat">
                  <a:noFill/>
                  <a:prstDash val="solid"/>
                  <a:miter/>
                </a:ln>
              </p:spPr>
              <p:txBody>
                <a:bodyPr rtlCol="0" anchor="ctr"/>
                <a:lstStyle/>
                <a:p>
                  <a:endParaRPr lang="en-GB"/>
                </a:p>
              </p:txBody>
            </p:sp>
            <p:sp>
              <p:nvSpPr>
                <p:cNvPr id="3348" name="Vrije vorm: vorm 3347">
                  <a:extLst>
                    <a:ext uri="{FF2B5EF4-FFF2-40B4-BE49-F238E27FC236}">
                      <a16:creationId xmlns:a16="http://schemas.microsoft.com/office/drawing/2014/main" id="{0FB64639-D719-49BF-8B47-3D899AD784AD}"/>
                    </a:ext>
                  </a:extLst>
                </p:cNvPr>
                <p:cNvSpPr/>
                <p:nvPr/>
              </p:nvSpPr>
              <p:spPr>
                <a:xfrm>
                  <a:off x="5396002" y="1478710"/>
                  <a:ext cx="18308" cy="18427"/>
                </a:xfrm>
                <a:custGeom>
                  <a:avLst/>
                  <a:gdLst>
                    <a:gd name="connsiteX0" fmla="*/ 482 w 18308"/>
                    <a:gd name="connsiteY0" fmla="*/ 12144 h 18427"/>
                    <a:gd name="connsiteX1" fmla="*/ 12085 w 18308"/>
                    <a:gd name="connsiteY1" fmla="*/ 17946 h 18427"/>
                    <a:gd name="connsiteX2" fmla="*/ 17826 w 18308"/>
                    <a:gd name="connsiteY2" fmla="*/ 6283 h 18427"/>
                    <a:gd name="connsiteX3" fmla="*/ 6224 w 18308"/>
                    <a:gd name="connsiteY3" fmla="*/ 482 h 18427"/>
                    <a:gd name="connsiteX4" fmla="*/ 482 w 18308"/>
                    <a:gd name="connsiteY4" fmla="*/ 1214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482" y="12144"/>
                      </a:moveTo>
                      <a:cubicBezTo>
                        <a:pt x="2097" y="16989"/>
                        <a:pt x="7300" y="19560"/>
                        <a:pt x="12085" y="17946"/>
                      </a:cubicBezTo>
                      <a:cubicBezTo>
                        <a:pt x="16869" y="16331"/>
                        <a:pt x="19441" y="11128"/>
                        <a:pt x="17826" y="6283"/>
                      </a:cubicBezTo>
                      <a:cubicBezTo>
                        <a:pt x="16212" y="1439"/>
                        <a:pt x="11008" y="-1133"/>
                        <a:pt x="6224" y="482"/>
                      </a:cubicBezTo>
                      <a:cubicBezTo>
                        <a:pt x="1439" y="2097"/>
                        <a:pt x="-1132" y="7300"/>
                        <a:pt x="482" y="12144"/>
                      </a:cubicBezTo>
                      <a:close/>
                    </a:path>
                  </a:pathLst>
                </a:custGeom>
                <a:grpFill/>
                <a:ln w="5978" cap="flat">
                  <a:noFill/>
                  <a:prstDash val="solid"/>
                  <a:miter/>
                </a:ln>
              </p:spPr>
              <p:txBody>
                <a:bodyPr rtlCol="0" anchor="ctr"/>
                <a:lstStyle/>
                <a:p>
                  <a:endParaRPr lang="en-GB"/>
                </a:p>
              </p:txBody>
            </p:sp>
          </p:grpSp>
          <p:grpSp>
            <p:nvGrpSpPr>
              <p:cNvPr id="682" name="Graphic 3">
                <a:extLst>
                  <a:ext uri="{FF2B5EF4-FFF2-40B4-BE49-F238E27FC236}">
                    <a16:creationId xmlns:a16="http://schemas.microsoft.com/office/drawing/2014/main" id="{7A174677-3FCC-4D8D-AFA8-BF50C5B5A109}"/>
                  </a:ext>
                </a:extLst>
              </p:cNvPr>
              <p:cNvGrpSpPr/>
              <p:nvPr/>
            </p:nvGrpSpPr>
            <p:grpSpPr>
              <a:xfrm>
                <a:off x="6675852" y="5336191"/>
                <a:ext cx="57058" cy="137074"/>
                <a:chOff x="6675852" y="5336191"/>
                <a:chExt cx="57058" cy="137074"/>
              </a:xfrm>
              <a:grpFill/>
            </p:grpSpPr>
            <p:sp>
              <p:nvSpPr>
                <p:cNvPr id="3343" name="Vrije vorm: vorm 3342">
                  <a:extLst>
                    <a:ext uri="{FF2B5EF4-FFF2-40B4-BE49-F238E27FC236}">
                      <a16:creationId xmlns:a16="http://schemas.microsoft.com/office/drawing/2014/main" id="{CE1463F4-654C-44ED-B054-11D25076A4B6}"/>
                    </a:ext>
                  </a:extLst>
                </p:cNvPr>
                <p:cNvSpPr/>
                <p:nvPr/>
              </p:nvSpPr>
              <p:spPr>
                <a:xfrm>
                  <a:off x="6683697" y="5344304"/>
                  <a:ext cx="41952" cy="120508"/>
                </a:xfrm>
                <a:custGeom>
                  <a:avLst/>
                  <a:gdLst>
                    <a:gd name="connsiteX0" fmla="*/ 0 w 41952"/>
                    <a:gd name="connsiteY0" fmla="*/ 947 h 120508"/>
                    <a:gd name="connsiteX1" fmla="*/ 2899 w 41952"/>
                    <a:gd name="connsiteY1" fmla="*/ 0 h 120508"/>
                    <a:gd name="connsiteX2" fmla="*/ 41952 w 41952"/>
                    <a:gd name="connsiteY2" fmla="*/ 119561 h 120508"/>
                    <a:gd name="connsiteX3" fmla="*/ 39053 w 41952"/>
                    <a:gd name="connsiteY3" fmla="*/ 120508 h 120508"/>
                  </a:gdLst>
                  <a:ahLst/>
                  <a:cxnLst>
                    <a:cxn ang="0">
                      <a:pos x="connsiteX0" y="connsiteY0"/>
                    </a:cxn>
                    <a:cxn ang="0">
                      <a:pos x="connsiteX1" y="connsiteY1"/>
                    </a:cxn>
                    <a:cxn ang="0">
                      <a:pos x="connsiteX2" y="connsiteY2"/>
                    </a:cxn>
                    <a:cxn ang="0">
                      <a:pos x="connsiteX3" y="connsiteY3"/>
                    </a:cxn>
                  </a:cxnLst>
                  <a:rect l="l" t="t" r="r" b="b"/>
                  <a:pathLst>
                    <a:path w="41952" h="120508">
                      <a:moveTo>
                        <a:pt x="0" y="947"/>
                      </a:moveTo>
                      <a:lnTo>
                        <a:pt x="2899" y="0"/>
                      </a:lnTo>
                      <a:lnTo>
                        <a:pt x="41952" y="119561"/>
                      </a:lnTo>
                      <a:lnTo>
                        <a:pt x="39053" y="120508"/>
                      </a:lnTo>
                      <a:close/>
                    </a:path>
                  </a:pathLst>
                </a:custGeom>
                <a:grpFill/>
                <a:ln w="5978" cap="flat">
                  <a:noFill/>
                  <a:prstDash val="solid"/>
                  <a:miter/>
                </a:ln>
              </p:spPr>
              <p:txBody>
                <a:bodyPr rtlCol="0" anchor="ctr"/>
                <a:lstStyle/>
                <a:p>
                  <a:endParaRPr lang="en-GB"/>
                </a:p>
              </p:txBody>
            </p:sp>
            <p:sp>
              <p:nvSpPr>
                <p:cNvPr id="3344" name="Vrije vorm: vorm 3343">
                  <a:extLst>
                    <a:ext uri="{FF2B5EF4-FFF2-40B4-BE49-F238E27FC236}">
                      <a16:creationId xmlns:a16="http://schemas.microsoft.com/office/drawing/2014/main" id="{E92F4BD2-B3A3-4FC7-98D8-011DF6819FCB}"/>
                    </a:ext>
                  </a:extLst>
                </p:cNvPr>
                <p:cNvSpPr/>
                <p:nvPr/>
              </p:nvSpPr>
              <p:spPr>
                <a:xfrm>
                  <a:off x="6714602" y="5454848"/>
                  <a:ext cx="18309" cy="18416"/>
                </a:xfrm>
                <a:custGeom>
                  <a:avLst/>
                  <a:gdLst>
                    <a:gd name="connsiteX0" fmla="*/ 17856 w 18309"/>
                    <a:gd name="connsiteY0" fmla="*/ 6368 h 18416"/>
                    <a:gd name="connsiteX1" fmla="*/ 11995 w 18309"/>
                    <a:gd name="connsiteY1" fmla="*/ 17970 h 18416"/>
                    <a:gd name="connsiteX2" fmla="*/ 453 w 18309"/>
                    <a:gd name="connsiteY2" fmla="*/ 12049 h 18416"/>
                    <a:gd name="connsiteX3" fmla="*/ 6314 w 18309"/>
                    <a:gd name="connsiteY3" fmla="*/ 447 h 18416"/>
                    <a:gd name="connsiteX4" fmla="*/ 17856 w 18309"/>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16">
                      <a:moveTo>
                        <a:pt x="17856" y="6368"/>
                      </a:moveTo>
                      <a:cubicBezTo>
                        <a:pt x="19412" y="11212"/>
                        <a:pt x="16840" y="16415"/>
                        <a:pt x="11995" y="17970"/>
                      </a:cubicBezTo>
                      <a:cubicBezTo>
                        <a:pt x="7211" y="19525"/>
                        <a:pt x="2008" y="16894"/>
                        <a:pt x="453" y="12049"/>
                      </a:cubicBezTo>
                      <a:cubicBezTo>
                        <a:pt x="-1102" y="7205"/>
                        <a:pt x="1469" y="2002"/>
                        <a:pt x="6314" y="447"/>
                      </a:cubicBezTo>
                      <a:cubicBezTo>
                        <a:pt x="11098" y="-1108"/>
                        <a:pt x="16242" y="1523"/>
                        <a:pt x="17856" y="6368"/>
                      </a:cubicBezTo>
                      <a:close/>
                    </a:path>
                  </a:pathLst>
                </a:custGeom>
                <a:grpFill/>
                <a:ln w="5978" cap="flat">
                  <a:noFill/>
                  <a:prstDash val="solid"/>
                  <a:miter/>
                </a:ln>
              </p:spPr>
              <p:txBody>
                <a:bodyPr rtlCol="0" anchor="ctr"/>
                <a:lstStyle/>
                <a:p>
                  <a:endParaRPr lang="en-GB"/>
                </a:p>
              </p:txBody>
            </p:sp>
            <p:sp>
              <p:nvSpPr>
                <p:cNvPr id="3345" name="Vrije vorm: vorm 3344">
                  <a:extLst>
                    <a:ext uri="{FF2B5EF4-FFF2-40B4-BE49-F238E27FC236}">
                      <a16:creationId xmlns:a16="http://schemas.microsoft.com/office/drawing/2014/main" id="{387CB7A1-0D92-4686-B194-68B7335509F3}"/>
                    </a:ext>
                  </a:extLst>
                </p:cNvPr>
                <p:cNvSpPr/>
                <p:nvPr/>
              </p:nvSpPr>
              <p:spPr>
                <a:xfrm>
                  <a:off x="6675852" y="5336191"/>
                  <a:ext cx="18298" cy="18416"/>
                </a:xfrm>
                <a:custGeom>
                  <a:avLst/>
                  <a:gdLst>
                    <a:gd name="connsiteX0" fmla="*/ 17851 w 18298"/>
                    <a:gd name="connsiteY0" fmla="*/ 6368 h 18416"/>
                    <a:gd name="connsiteX1" fmla="*/ 6308 w 18298"/>
                    <a:gd name="connsiteY1" fmla="*/ 447 h 18416"/>
                    <a:gd name="connsiteX2" fmla="*/ 447 w 18298"/>
                    <a:gd name="connsiteY2" fmla="*/ 12049 h 18416"/>
                    <a:gd name="connsiteX3" fmla="*/ 11990 w 18298"/>
                    <a:gd name="connsiteY3" fmla="*/ 17970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6296" y="1523"/>
                        <a:pt x="11093" y="-1108"/>
                        <a:pt x="6308" y="447"/>
                      </a:cubicBezTo>
                      <a:cubicBezTo>
                        <a:pt x="1524" y="2002"/>
                        <a:pt x="-1108" y="7205"/>
                        <a:pt x="447" y="12049"/>
                      </a:cubicBezTo>
                      <a:cubicBezTo>
                        <a:pt x="2002" y="16894"/>
                        <a:pt x="7205" y="19525"/>
                        <a:pt x="11990" y="17970"/>
                      </a:cubicBezTo>
                      <a:cubicBezTo>
                        <a:pt x="16775" y="16415"/>
                        <a:pt x="19406" y="11212"/>
                        <a:pt x="17851" y="6368"/>
                      </a:cubicBezTo>
                      <a:close/>
                    </a:path>
                  </a:pathLst>
                </a:custGeom>
                <a:grpFill/>
                <a:ln w="5978" cap="flat">
                  <a:noFill/>
                  <a:prstDash val="solid"/>
                  <a:miter/>
                </a:ln>
              </p:spPr>
              <p:txBody>
                <a:bodyPr rtlCol="0" anchor="ctr"/>
                <a:lstStyle/>
                <a:p>
                  <a:endParaRPr lang="en-GB"/>
                </a:p>
              </p:txBody>
            </p:sp>
          </p:grpSp>
          <p:grpSp>
            <p:nvGrpSpPr>
              <p:cNvPr id="683" name="Graphic 3">
                <a:extLst>
                  <a:ext uri="{FF2B5EF4-FFF2-40B4-BE49-F238E27FC236}">
                    <a16:creationId xmlns:a16="http://schemas.microsoft.com/office/drawing/2014/main" id="{D35D5B9D-1F53-4A2C-B166-8A0933691073}"/>
                  </a:ext>
                </a:extLst>
              </p:cNvPr>
              <p:cNvGrpSpPr/>
              <p:nvPr/>
            </p:nvGrpSpPr>
            <p:grpSpPr>
              <a:xfrm>
                <a:off x="6615327" y="5150908"/>
                <a:ext cx="73087" cy="186176"/>
                <a:chOff x="6615327" y="5150908"/>
                <a:chExt cx="73087" cy="186176"/>
              </a:xfrm>
              <a:grpFill/>
            </p:grpSpPr>
            <p:sp>
              <p:nvSpPr>
                <p:cNvPr id="3340" name="Vrije vorm: vorm 3339">
                  <a:extLst>
                    <a:ext uri="{FF2B5EF4-FFF2-40B4-BE49-F238E27FC236}">
                      <a16:creationId xmlns:a16="http://schemas.microsoft.com/office/drawing/2014/main" id="{4DF5F7AE-980F-4E1A-AF4A-678489CD64A1}"/>
                    </a:ext>
                  </a:extLst>
                </p:cNvPr>
                <p:cNvSpPr/>
                <p:nvPr/>
              </p:nvSpPr>
              <p:spPr>
                <a:xfrm>
                  <a:off x="6623038" y="5159321"/>
                  <a:ext cx="57997" cy="169629"/>
                </a:xfrm>
                <a:custGeom>
                  <a:avLst/>
                  <a:gdLst>
                    <a:gd name="connsiteX0" fmla="*/ 0 w 57997"/>
                    <a:gd name="connsiteY0" fmla="*/ 947 h 169629"/>
                    <a:gd name="connsiteX1" fmla="*/ 2900 w 57997"/>
                    <a:gd name="connsiteY1" fmla="*/ 0 h 169629"/>
                    <a:gd name="connsiteX2" fmla="*/ 57997 w 57997"/>
                    <a:gd name="connsiteY2" fmla="*/ 168682 h 169629"/>
                    <a:gd name="connsiteX3" fmla="*/ 55098 w 57997"/>
                    <a:gd name="connsiteY3" fmla="*/ 169629 h 169629"/>
                  </a:gdLst>
                  <a:ahLst/>
                  <a:cxnLst>
                    <a:cxn ang="0">
                      <a:pos x="connsiteX0" y="connsiteY0"/>
                    </a:cxn>
                    <a:cxn ang="0">
                      <a:pos x="connsiteX1" y="connsiteY1"/>
                    </a:cxn>
                    <a:cxn ang="0">
                      <a:pos x="connsiteX2" y="connsiteY2"/>
                    </a:cxn>
                    <a:cxn ang="0">
                      <a:pos x="connsiteX3" y="connsiteY3"/>
                    </a:cxn>
                  </a:cxnLst>
                  <a:rect l="l" t="t" r="r" b="b"/>
                  <a:pathLst>
                    <a:path w="57997" h="169629">
                      <a:moveTo>
                        <a:pt x="0" y="947"/>
                      </a:moveTo>
                      <a:lnTo>
                        <a:pt x="2900" y="0"/>
                      </a:lnTo>
                      <a:lnTo>
                        <a:pt x="57997" y="168682"/>
                      </a:lnTo>
                      <a:lnTo>
                        <a:pt x="55098" y="169629"/>
                      </a:lnTo>
                      <a:close/>
                    </a:path>
                  </a:pathLst>
                </a:custGeom>
                <a:grpFill/>
                <a:ln w="5978" cap="flat">
                  <a:noFill/>
                  <a:prstDash val="solid"/>
                  <a:miter/>
                </a:ln>
              </p:spPr>
              <p:txBody>
                <a:bodyPr rtlCol="0" anchor="ctr"/>
                <a:lstStyle/>
                <a:p>
                  <a:endParaRPr lang="en-GB"/>
                </a:p>
              </p:txBody>
            </p:sp>
            <p:sp>
              <p:nvSpPr>
                <p:cNvPr id="3341" name="Vrije vorm: vorm 3340">
                  <a:extLst>
                    <a:ext uri="{FF2B5EF4-FFF2-40B4-BE49-F238E27FC236}">
                      <a16:creationId xmlns:a16="http://schemas.microsoft.com/office/drawing/2014/main" id="{E75E75A7-0260-4E65-AFCF-A78527194D53}"/>
                    </a:ext>
                  </a:extLst>
                </p:cNvPr>
                <p:cNvSpPr/>
                <p:nvPr/>
              </p:nvSpPr>
              <p:spPr>
                <a:xfrm>
                  <a:off x="6670105" y="5318667"/>
                  <a:ext cx="18309" cy="18416"/>
                </a:xfrm>
                <a:custGeom>
                  <a:avLst/>
                  <a:gdLst>
                    <a:gd name="connsiteX0" fmla="*/ 17856 w 18309"/>
                    <a:gd name="connsiteY0" fmla="*/ 6368 h 18416"/>
                    <a:gd name="connsiteX1" fmla="*/ 11995 w 18309"/>
                    <a:gd name="connsiteY1" fmla="*/ 17970 h 18416"/>
                    <a:gd name="connsiteX2" fmla="*/ 453 w 18309"/>
                    <a:gd name="connsiteY2" fmla="*/ 12049 h 18416"/>
                    <a:gd name="connsiteX3" fmla="*/ 6314 w 18309"/>
                    <a:gd name="connsiteY3" fmla="*/ 447 h 18416"/>
                    <a:gd name="connsiteX4" fmla="*/ 17856 w 18309"/>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16">
                      <a:moveTo>
                        <a:pt x="17856" y="6368"/>
                      </a:moveTo>
                      <a:cubicBezTo>
                        <a:pt x="19412" y="11212"/>
                        <a:pt x="16840" y="16416"/>
                        <a:pt x="11995" y="17970"/>
                      </a:cubicBezTo>
                      <a:cubicBezTo>
                        <a:pt x="7211" y="19525"/>
                        <a:pt x="2008" y="16894"/>
                        <a:pt x="453" y="12049"/>
                      </a:cubicBezTo>
                      <a:cubicBezTo>
                        <a:pt x="-1102" y="7205"/>
                        <a:pt x="1469" y="2002"/>
                        <a:pt x="6314" y="447"/>
                      </a:cubicBezTo>
                      <a:cubicBezTo>
                        <a:pt x="11098" y="-1108"/>
                        <a:pt x="16301" y="1523"/>
                        <a:pt x="17856" y="6368"/>
                      </a:cubicBezTo>
                      <a:close/>
                    </a:path>
                  </a:pathLst>
                </a:custGeom>
                <a:grpFill/>
                <a:ln w="5978" cap="flat">
                  <a:noFill/>
                  <a:prstDash val="solid"/>
                  <a:miter/>
                </a:ln>
              </p:spPr>
              <p:txBody>
                <a:bodyPr rtlCol="0" anchor="ctr"/>
                <a:lstStyle/>
                <a:p>
                  <a:endParaRPr lang="en-GB"/>
                </a:p>
              </p:txBody>
            </p:sp>
            <p:sp>
              <p:nvSpPr>
                <p:cNvPr id="3342" name="Vrije vorm: vorm 3341">
                  <a:extLst>
                    <a:ext uri="{FF2B5EF4-FFF2-40B4-BE49-F238E27FC236}">
                      <a16:creationId xmlns:a16="http://schemas.microsoft.com/office/drawing/2014/main" id="{A21FCE64-2251-44FE-8EF4-8CA06585F077}"/>
                    </a:ext>
                  </a:extLst>
                </p:cNvPr>
                <p:cNvSpPr/>
                <p:nvPr/>
              </p:nvSpPr>
              <p:spPr>
                <a:xfrm>
                  <a:off x="6615327" y="5150908"/>
                  <a:ext cx="18298" cy="18416"/>
                </a:xfrm>
                <a:custGeom>
                  <a:avLst/>
                  <a:gdLst>
                    <a:gd name="connsiteX0" fmla="*/ 17851 w 18298"/>
                    <a:gd name="connsiteY0" fmla="*/ 6368 h 18416"/>
                    <a:gd name="connsiteX1" fmla="*/ 6309 w 18298"/>
                    <a:gd name="connsiteY1" fmla="*/ 447 h 18416"/>
                    <a:gd name="connsiteX2" fmla="*/ 447 w 18298"/>
                    <a:gd name="connsiteY2" fmla="*/ 12049 h 18416"/>
                    <a:gd name="connsiteX3" fmla="*/ 11990 w 18298"/>
                    <a:gd name="connsiteY3" fmla="*/ 17970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6296" y="1523"/>
                        <a:pt x="11093" y="-1108"/>
                        <a:pt x="6309" y="447"/>
                      </a:cubicBezTo>
                      <a:cubicBezTo>
                        <a:pt x="1524" y="2002"/>
                        <a:pt x="-1108" y="7205"/>
                        <a:pt x="447" y="12049"/>
                      </a:cubicBezTo>
                      <a:cubicBezTo>
                        <a:pt x="2002" y="16894"/>
                        <a:pt x="7205" y="19525"/>
                        <a:pt x="11990" y="17970"/>
                      </a:cubicBezTo>
                      <a:cubicBezTo>
                        <a:pt x="16775" y="16356"/>
                        <a:pt x="19406" y="11212"/>
                        <a:pt x="17851" y="6368"/>
                      </a:cubicBezTo>
                      <a:close/>
                    </a:path>
                  </a:pathLst>
                </a:custGeom>
                <a:grpFill/>
                <a:ln w="5978" cap="flat">
                  <a:noFill/>
                  <a:prstDash val="solid"/>
                  <a:miter/>
                </a:ln>
              </p:spPr>
              <p:txBody>
                <a:bodyPr rtlCol="0" anchor="ctr"/>
                <a:lstStyle/>
                <a:p>
                  <a:endParaRPr lang="en-GB"/>
                </a:p>
              </p:txBody>
            </p:sp>
          </p:grpSp>
          <p:grpSp>
            <p:nvGrpSpPr>
              <p:cNvPr id="684" name="Graphic 3">
                <a:extLst>
                  <a:ext uri="{FF2B5EF4-FFF2-40B4-BE49-F238E27FC236}">
                    <a16:creationId xmlns:a16="http://schemas.microsoft.com/office/drawing/2014/main" id="{02F50096-7049-4D9C-98BB-A32BE1C11C60}"/>
                  </a:ext>
                </a:extLst>
              </p:cNvPr>
              <p:cNvGrpSpPr/>
              <p:nvPr/>
            </p:nvGrpSpPr>
            <p:grpSpPr>
              <a:xfrm>
                <a:off x="6568618" y="5007849"/>
                <a:ext cx="59271" cy="143952"/>
                <a:chOff x="6568618" y="5007849"/>
                <a:chExt cx="59271" cy="143952"/>
              </a:xfrm>
              <a:grpFill/>
            </p:grpSpPr>
            <p:sp>
              <p:nvSpPr>
                <p:cNvPr id="3337" name="Vrije vorm: vorm 3336">
                  <a:extLst>
                    <a:ext uri="{FF2B5EF4-FFF2-40B4-BE49-F238E27FC236}">
                      <a16:creationId xmlns:a16="http://schemas.microsoft.com/office/drawing/2014/main" id="{106E6ACD-F1D5-4F5B-A406-565E58F8BDD4}"/>
                    </a:ext>
                  </a:extLst>
                </p:cNvPr>
                <p:cNvSpPr/>
                <p:nvPr/>
              </p:nvSpPr>
              <p:spPr>
                <a:xfrm>
                  <a:off x="6576383" y="5016048"/>
                  <a:ext cx="44180" cy="127330"/>
                </a:xfrm>
                <a:custGeom>
                  <a:avLst/>
                  <a:gdLst>
                    <a:gd name="connsiteX0" fmla="*/ 0 w 44180"/>
                    <a:gd name="connsiteY0" fmla="*/ 947 h 127330"/>
                    <a:gd name="connsiteX1" fmla="*/ 2899 w 44180"/>
                    <a:gd name="connsiteY1" fmla="*/ 0 h 127330"/>
                    <a:gd name="connsiteX2" fmla="*/ 44181 w 44180"/>
                    <a:gd name="connsiteY2" fmla="*/ 126383 h 127330"/>
                    <a:gd name="connsiteX3" fmla="*/ 41281 w 44180"/>
                    <a:gd name="connsiteY3" fmla="*/ 127331 h 127330"/>
                  </a:gdLst>
                  <a:ahLst/>
                  <a:cxnLst>
                    <a:cxn ang="0">
                      <a:pos x="connsiteX0" y="connsiteY0"/>
                    </a:cxn>
                    <a:cxn ang="0">
                      <a:pos x="connsiteX1" y="connsiteY1"/>
                    </a:cxn>
                    <a:cxn ang="0">
                      <a:pos x="connsiteX2" y="connsiteY2"/>
                    </a:cxn>
                    <a:cxn ang="0">
                      <a:pos x="connsiteX3" y="connsiteY3"/>
                    </a:cxn>
                  </a:cxnLst>
                  <a:rect l="l" t="t" r="r" b="b"/>
                  <a:pathLst>
                    <a:path w="44180" h="127330">
                      <a:moveTo>
                        <a:pt x="0" y="947"/>
                      </a:moveTo>
                      <a:lnTo>
                        <a:pt x="2899" y="0"/>
                      </a:lnTo>
                      <a:lnTo>
                        <a:pt x="44181" y="126383"/>
                      </a:lnTo>
                      <a:lnTo>
                        <a:pt x="41281" y="127331"/>
                      </a:lnTo>
                      <a:close/>
                    </a:path>
                  </a:pathLst>
                </a:custGeom>
                <a:grpFill/>
                <a:ln w="5978" cap="flat">
                  <a:noFill/>
                  <a:prstDash val="solid"/>
                  <a:miter/>
                </a:ln>
              </p:spPr>
              <p:txBody>
                <a:bodyPr rtlCol="0" anchor="ctr"/>
                <a:lstStyle/>
                <a:p>
                  <a:endParaRPr lang="en-GB"/>
                </a:p>
              </p:txBody>
            </p:sp>
            <p:sp>
              <p:nvSpPr>
                <p:cNvPr id="3338" name="Vrije vorm: vorm 3337">
                  <a:extLst>
                    <a:ext uri="{FF2B5EF4-FFF2-40B4-BE49-F238E27FC236}">
                      <a16:creationId xmlns:a16="http://schemas.microsoft.com/office/drawing/2014/main" id="{12807938-C1E9-4C53-95AA-86D0FE1A93B0}"/>
                    </a:ext>
                  </a:extLst>
                </p:cNvPr>
                <p:cNvSpPr/>
                <p:nvPr/>
              </p:nvSpPr>
              <p:spPr>
                <a:xfrm>
                  <a:off x="6609580" y="5133362"/>
                  <a:ext cx="18309" cy="18439"/>
                </a:xfrm>
                <a:custGeom>
                  <a:avLst/>
                  <a:gdLst>
                    <a:gd name="connsiteX0" fmla="*/ 17856 w 18309"/>
                    <a:gd name="connsiteY0" fmla="*/ 6390 h 18439"/>
                    <a:gd name="connsiteX1" fmla="*/ 11995 w 18309"/>
                    <a:gd name="connsiteY1" fmla="*/ 17993 h 18439"/>
                    <a:gd name="connsiteX2" fmla="*/ 453 w 18309"/>
                    <a:gd name="connsiteY2" fmla="*/ 12072 h 18439"/>
                    <a:gd name="connsiteX3" fmla="*/ 6314 w 18309"/>
                    <a:gd name="connsiteY3" fmla="*/ 470 h 18439"/>
                    <a:gd name="connsiteX4" fmla="*/ 17856 w 18309"/>
                    <a:gd name="connsiteY4" fmla="*/ 639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9">
                      <a:moveTo>
                        <a:pt x="17856" y="6390"/>
                      </a:moveTo>
                      <a:cubicBezTo>
                        <a:pt x="19412" y="11235"/>
                        <a:pt x="16840" y="16438"/>
                        <a:pt x="11995" y="17993"/>
                      </a:cubicBezTo>
                      <a:cubicBezTo>
                        <a:pt x="7211" y="19548"/>
                        <a:pt x="2008" y="16916"/>
                        <a:pt x="453" y="12072"/>
                      </a:cubicBezTo>
                      <a:cubicBezTo>
                        <a:pt x="-1102" y="7228"/>
                        <a:pt x="1469" y="2025"/>
                        <a:pt x="6314" y="470"/>
                      </a:cubicBezTo>
                      <a:cubicBezTo>
                        <a:pt x="11098" y="-1145"/>
                        <a:pt x="16242" y="1546"/>
                        <a:pt x="17856" y="6390"/>
                      </a:cubicBezTo>
                      <a:close/>
                    </a:path>
                  </a:pathLst>
                </a:custGeom>
                <a:grpFill/>
                <a:ln w="5978" cap="flat">
                  <a:noFill/>
                  <a:prstDash val="solid"/>
                  <a:miter/>
                </a:ln>
              </p:spPr>
              <p:txBody>
                <a:bodyPr rtlCol="0" anchor="ctr"/>
                <a:lstStyle/>
                <a:p>
                  <a:endParaRPr lang="en-GB"/>
                </a:p>
              </p:txBody>
            </p:sp>
            <p:sp>
              <p:nvSpPr>
                <p:cNvPr id="3339" name="Vrije vorm: vorm 3338">
                  <a:extLst>
                    <a:ext uri="{FF2B5EF4-FFF2-40B4-BE49-F238E27FC236}">
                      <a16:creationId xmlns:a16="http://schemas.microsoft.com/office/drawing/2014/main" id="{0E5C930B-9F2D-4970-8A10-8BF1AE375258}"/>
                    </a:ext>
                  </a:extLst>
                </p:cNvPr>
                <p:cNvSpPr/>
                <p:nvPr/>
              </p:nvSpPr>
              <p:spPr>
                <a:xfrm>
                  <a:off x="6568618" y="5007849"/>
                  <a:ext cx="18298" cy="18416"/>
                </a:xfrm>
                <a:custGeom>
                  <a:avLst/>
                  <a:gdLst>
                    <a:gd name="connsiteX0" fmla="*/ 17851 w 18298"/>
                    <a:gd name="connsiteY0" fmla="*/ 6368 h 18416"/>
                    <a:gd name="connsiteX1" fmla="*/ 6309 w 18298"/>
                    <a:gd name="connsiteY1" fmla="*/ 447 h 18416"/>
                    <a:gd name="connsiteX2" fmla="*/ 447 w 18298"/>
                    <a:gd name="connsiteY2" fmla="*/ 12049 h 18416"/>
                    <a:gd name="connsiteX3" fmla="*/ 11990 w 18298"/>
                    <a:gd name="connsiteY3" fmla="*/ 17970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6296" y="1523"/>
                        <a:pt x="11093" y="-1108"/>
                        <a:pt x="6309" y="447"/>
                      </a:cubicBezTo>
                      <a:cubicBezTo>
                        <a:pt x="1524" y="2002"/>
                        <a:pt x="-1108" y="7205"/>
                        <a:pt x="447" y="12049"/>
                      </a:cubicBezTo>
                      <a:cubicBezTo>
                        <a:pt x="2002" y="16894"/>
                        <a:pt x="7205" y="19525"/>
                        <a:pt x="11990" y="17970"/>
                      </a:cubicBezTo>
                      <a:cubicBezTo>
                        <a:pt x="16775" y="16415"/>
                        <a:pt x="19406" y="11212"/>
                        <a:pt x="17851" y="6368"/>
                      </a:cubicBezTo>
                      <a:close/>
                    </a:path>
                  </a:pathLst>
                </a:custGeom>
                <a:grpFill/>
                <a:ln w="5978" cap="flat">
                  <a:noFill/>
                  <a:prstDash val="solid"/>
                  <a:miter/>
                </a:ln>
              </p:spPr>
              <p:txBody>
                <a:bodyPr rtlCol="0" anchor="ctr"/>
                <a:lstStyle/>
                <a:p>
                  <a:endParaRPr lang="en-GB"/>
                </a:p>
              </p:txBody>
            </p:sp>
          </p:grpSp>
          <p:grpSp>
            <p:nvGrpSpPr>
              <p:cNvPr id="685" name="Graphic 3">
                <a:extLst>
                  <a:ext uri="{FF2B5EF4-FFF2-40B4-BE49-F238E27FC236}">
                    <a16:creationId xmlns:a16="http://schemas.microsoft.com/office/drawing/2014/main" id="{E2F61BA6-4F65-4BB0-B04D-3FC974F1EAAE}"/>
                  </a:ext>
                </a:extLst>
              </p:cNvPr>
              <p:cNvGrpSpPr/>
              <p:nvPr/>
            </p:nvGrpSpPr>
            <p:grpSpPr>
              <a:xfrm>
                <a:off x="5457416" y="1762333"/>
                <a:ext cx="36392" cy="68895"/>
                <a:chOff x="5457416" y="1762333"/>
                <a:chExt cx="36392" cy="68895"/>
              </a:xfrm>
              <a:grpFill/>
            </p:grpSpPr>
            <p:sp>
              <p:nvSpPr>
                <p:cNvPr id="3334" name="Vrije vorm: vorm 3333">
                  <a:extLst>
                    <a:ext uri="{FF2B5EF4-FFF2-40B4-BE49-F238E27FC236}">
                      <a16:creationId xmlns:a16="http://schemas.microsoft.com/office/drawing/2014/main" id="{876F9A8F-A9C5-43BB-840B-942E8BC11F27}"/>
                    </a:ext>
                  </a:extLst>
                </p:cNvPr>
                <p:cNvSpPr/>
                <p:nvPr/>
              </p:nvSpPr>
              <p:spPr>
                <a:xfrm>
                  <a:off x="5465196" y="1770578"/>
                  <a:ext cx="21290" cy="52372"/>
                </a:xfrm>
                <a:custGeom>
                  <a:avLst/>
                  <a:gdLst>
                    <a:gd name="connsiteX0" fmla="*/ 0 w 21290"/>
                    <a:gd name="connsiteY0" fmla="*/ 1030 h 52372"/>
                    <a:gd name="connsiteX1" fmla="*/ 2871 w 21290"/>
                    <a:gd name="connsiteY1" fmla="*/ 0 h 52372"/>
                    <a:gd name="connsiteX2" fmla="*/ 21291 w 21290"/>
                    <a:gd name="connsiteY2" fmla="*/ 51342 h 52372"/>
                    <a:gd name="connsiteX3" fmla="*/ 18420 w 21290"/>
                    <a:gd name="connsiteY3" fmla="*/ 52372 h 52372"/>
                  </a:gdLst>
                  <a:ahLst/>
                  <a:cxnLst>
                    <a:cxn ang="0">
                      <a:pos x="connsiteX0" y="connsiteY0"/>
                    </a:cxn>
                    <a:cxn ang="0">
                      <a:pos x="connsiteX1" y="connsiteY1"/>
                    </a:cxn>
                    <a:cxn ang="0">
                      <a:pos x="connsiteX2" y="connsiteY2"/>
                    </a:cxn>
                    <a:cxn ang="0">
                      <a:pos x="connsiteX3" y="connsiteY3"/>
                    </a:cxn>
                  </a:cxnLst>
                  <a:rect l="l" t="t" r="r" b="b"/>
                  <a:pathLst>
                    <a:path w="21290" h="52372">
                      <a:moveTo>
                        <a:pt x="0" y="1030"/>
                      </a:moveTo>
                      <a:lnTo>
                        <a:pt x="2871" y="0"/>
                      </a:lnTo>
                      <a:lnTo>
                        <a:pt x="21291" y="51342"/>
                      </a:lnTo>
                      <a:lnTo>
                        <a:pt x="18420" y="52372"/>
                      </a:lnTo>
                      <a:close/>
                    </a:path>
                  </a:pathLst>
                </a:custGeom>
                <a:grpFill/>
                <a:ln w="5978" cap="flat">
                  <a:noFill/>
                  <a:prstDash val="solid"/>
                  <a:miter/>
                </a:ln>
              </p:spPr>
              <p:txBody>
                <a:bodyPr rtlCol="0" anchor="ctr"/>
                <a:lstStyle/>
                <a:p>
                  <a:endParaRPr lang="en-GB"/>
                </a:p>
              </p:txBody>
            </p:sp>
            <p:sp>
              <p:nvSpPr>
                <p:cNvPr id="3335" name="Vrije vorm: vorm 3334">
                  <a:extLst>
                    <a:ext uri="{FF2B5EF4-FFF2-40B4-BE49-F238E27FC236}">
                      <a16:creationId xmlns:a16="http://schemas.microsoft.com/office/drawing/2014/main" id="{81174377-2E96-4F1C-BF0D-5BAF6D1894B7}"/>
                    </a:ext>
                  </a:extLst>
                </p:cNvPr>
                <p:cNvSpPr/>
                <p:nvPr/>
              </p:nvSpPr>
              <p:spPr>
                <a:xfrm>
                  <a:off x="5457416" y="1762333"/>
                  <a:ext cx="18324" cy="18447"/>
                </a:xfrm>
                <a:custGeom>
                  <a:avLst/>
                  <a:gdLst>
                    <a:gd name="connsiteX0" fmla="*/ 550 w 18324"/>
                    <a:gd name="connsiteY0" fmla="*/ 12307 h 18447"/>
                    <a:gd name="connsiteX1" fmla="*/ 6052 w 18324"/>
                    <a:gd name="connsiteY1" fmla="*/ 525 h 18447"/>
                    <a:gd name="connsiteX2" fmla="*/ 17775 w 18324"/>
                    <a:gd name="connsiteY2" fmla="*/ 6147 h 18447"/>
                    <a:gd name="connsiteX3" fmla="*/ 12272 w 18324"/>
                    <a:gd name="connsiteY3" fmla="*/ 17929 h 18447"/>
                    <a:gd name="connsiteX4" fmla="*/ 550 w 18324"/>
                    <a:gd name="connsiteY4" fmla="*/ 1230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7">
                      <a:moveTo>
                        <a:pt x="550" y="12307"/>
                      </a:moveTo>
                      <a:cubicBezTo>
                        <a:pt x="-1185" y="7523"/>
                        <a:pt x="1328" y="2260"/>
                        <a:pt x="6052" y="525"/>
                      </a:cubicBezTo>
                      <a:cubicBezTo>
                        <a:pt x="10837" y="-1149"/>
                        <a:pt x="16040" y="1303"/>
                        <a:pt x="17775" y="6147"/>
                      </a:cubicBezTo>
                      <a:cubicBezTo>
                        <a:pt x="19509" y="10932"/>
                        <a:pt x="16997" y="16195"/>
                        <a:pt x="12272" y="17929"/>
                      </a:cubicBezTo>
                      <a:cubicBezTo>
                        <a:pt x="7488" y="19604"/>
                        <a:pt x="2284" y="17092"/>
                        <a:pt x="550" y="12307"/>
                      </a:cubicBezTo>
                      <a:close/>
                    </a:path>
                  </a:pathLst>
                </a:custGeom>
                <a:grpFill/>
                <a:ln w="5978" cap="flat">
                  <a:noFill/>
                  <a:prstDash val="solid"/>
                  <a:miter/>
                </a:ln>
              </p:spPr>
              <p:txBody>
                <a:bodyPr rtlCol="0" anchor="ctr"/>
                <a:lstStyle/>
                <a:p>
                  <a:endParaRPr lang="en-GB"/>
                </a:p>
              </p:txBody>
            </p:sp>
            <p:sp>
              <p:nvSpPr>
                <p:cNvPr id="3336" name="Vrije vorm: vorm 3335">
                  <a:extLst>
                    <a:ext uri="{FF2B5EF4-FFF2-40B4-BE49-F238E27FC236}">
                      <a16:creationId xmlns:a16="http://schemas.microsoft.com/office/drawing/2014/main" id="{E977F259-0E4D-433E-92EB-0C3CEC74FD36}"/>
                    </a:ext>
                  </a:extLst>
                </p:cNvPr>
                <p:cNvSpPr/>
                <p:nvPr/>
              </p:nvSpPr>
              <p:spPr>
                <a:xfrm>
                  <a:off x="5475478" y="1812786"/>
                  <a:ext cx="18331" cy="18443"/>
                </a:xfrm>
                <a:custGeom>
                  <a:avLst/>
                  <a:gdLst>
                    <a:gd name="connsiteX0" fmla="*/ 550 w 18331"/>
                    <a:gd name="connsiteY0" fmla="*/ 12332 h 18443"/>
                    <a:gd name="connsiteX1" fmla="*/ 12272 w 18331"/>
                    <a:gd name="connsiteY1" fmla="*/ 17894 h 18443"/>
                    <a:gd name="connsiteX2" fmla="*/ 17774 w 18331"/>
                    <a:gd name="connsiteY2" fmla="*/ 6112 h 18443"/>
                    <a:gd name="connsiteX3" fmla="*/ 6053 w 18331"/>
                    <a:gd name="connsiteY3" fmla="*/ 549 h 18443"/>
                    <a:gd name="connsiteX4" fmla="*/ 550 w 18331"/>
                    <a:gd name="connsiteY4" fmla="*/ 123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43">
                      <a:moveTo>
                        <a:pt x="550" y="12332"/>
                      </a:moveTo>
                      <a:cubicBezTo>
                        <a:pt x="2285" y="17116"/>
                        <a:pt x="7488" y="19628"/>
                        <a:pt x="12272" y="17894"/>
                      </a:cubicBezTo>
                      <a:cubicBezTo>
                        <a:pt x="17057" y="16219"/>
                        <a:pt x="19509" y="10896"/>
                        <a:pt x="17774" y="6112"/>
                      </a:cubicBezTo>
                      <a:cubicBezTo>
                        <a:pt x="16040" y="1327"/>
                        <a:pt x="10837" y="-1185"/>
                        <a:pt x="6053" y="549"/>
                      </a:cubicBezTo>
                      <a:cubicBezTo>
                        <a:pt x="1328" y="2284"/>
                        <a:pt x="-1184" y="7547"/>
                        <a:pt x="550" y="12332"/>
                      </a:cubicBezTo>
                      <a:close/>
                    </a:path>
                  </a:pathLst>
                </a:custGeom>
                <a:grpFill/>
                <a:ln w="5978" cap="flat">
                  <a:noFill/>
                  <a:prstDash val="solid"/>
                  <a:miter/>
                </a:ln>
              </p:spPr>
              <p:txBody>
                <a:bodyPr rtlCol="0" anchor="ctr"/>
                <a:lstStyle/>
                <a:p>
                  <a:endParaRPr lang="en-GB"/>
                </a:p>
              </p:txBody>
            </p:sp>
          </p:grpSp>
          <p:grpSp>
            <p:nvGrpSpPr>
              <p:cNvPr id="686" name="Graphic 3">
                <a:extLst>
                  <a:ext uri="{FF2B5EF4-FFF2-40B4-BE49-F238E27FC236}">
                    <a16:creationId xmlns:a16="http://schemas.microsoft.com/office/drawing/2014/main" id="{FDE3359C-925B-4786-8C92-9F7A47DFCA98}"/>
                  </a:ext>
                </a:extLst>
              </p:cNvPr>
              <p:cNvGrpSpPr/>
              <p:nvPr/>
            </p:nvGrpSpPr>
            <p:grpSpPr>
              <a:xfrm>
                <a:off x="5388519" y="1569694"/>
                <a:ext cx="81009" cy="193742"/>
                <a:chOff x="5388519" y="1569694"/>
                <a:chExt cx="81009" cy="193742"/>
              </a:xfrm>
              <a:grpFill/>
            </p:grpSpPr>
            <p:sp>
              <p:nvSpPr>
                <p:cNvPr id="3331" name="Vrije vorm: vorm 3330">
                  <a:extLst>
                    <a:ext uri="{FF2B5EF4-FFF2-40B4-BE49-F238E27FC236}">
                      <a16:creationId xmlns:a16="http://schemas.microsoft.com/office/drawing/2014/main" id="{DDF95B07-3A4B-40FE-91EA-4BFD63AB4324}"/>
                    </a:ext>
                  </a:extLst>
                </p:cNvPr>
                <p:cNvSpPr/>
                <p:nvPr/>
              </p:nvSpPr>
              <p:spPr>
                <a:xfrm>
                  <a:off x="5396126" y="1577994"/>
                  <a:ext cx="65847" cy="177149"/>
                </a:xfrm>
                <a:custGeom>
                  <a:avLst/>
                  <a:gdLst>
                    <a:gd name="connsiteX0" fmla="*/ 65848 w 65847"/>
                    <a:gd name="connsiteY0" fmla="*/ 176132 h 177149"/>
                    <a:gd name="connsiteX1" fmla="*/ 62977 w 65847"/>
                    <a:gd name="connsiteY1" fmla="*/ 177149 h 177149"/>
                    <a:gd name="connsiteX2" fmla="*/ 0 w 65847"/>
                    <a:gd name="connsiteY2" fmla="*/ 1017 h 177149"/>
                    <a:gd name="connsiteX3" fmla="*/ 2871 w 65847"/>
                    <a:gd name="connsiteY3" fmla="*/ 0 h 177149"/>
                  </a:gdLst>
                  <a:ahLst/>
                  <a:cxnLst>
                    <a:cxn ang="0">
                      <a:pos x="connsiteX0" y="connsiteY0"/>
                    </a:cxn>
                    <a:cxn ang="0">
                      <a:pos x="connsiteX1" y="connsiteY1"/>
                    </a:cxn>
                    <a:cxn ang="0">
                      <a:pos x="connsiteX2" y="connsiteY2"/>
                    </a:cxn>
                    <a:cxn ang="0">
                      <a:pos x="connsiteX3" y="connsiteY3"/>
                    </a:cxn>
                  </a:cxnLst>
                  <a:rect l="l" t="t" r="r" b="b"/>
                  <a:pathLst>
                    <a:path w="65847" h="177149">
                      <a:moveTo>
                        <a:pt x="65848" y="176132"/>
                      </a:moveTo>
                      <a:lnTo>
                        <a:pt x="62977" y="177149"/>
                      </a:lnTo>
                      <a:lnTo>
                        <a:pt x="0" y="1017"/>
                      </a:lnTo>
                      <a:lnTo>
                        <a:pt x="2871" y="0"/>
                      </a:lnTo>
                      <a:close/>
                    </a:path>
                  </a:pathLst>
                </a:custGeom>
                <a:grpFill/>
                <a:ln w="5978" cap="flat">
                  <a:noFill/>
                  <a:prstDash val="solid"/>
                  <a:miter/>
                </a:ln>
              </p:spPr>
              <p:txBody>
                <a:bodyPr rtlCol="0" anchor="ctr"/>
                <a:lstStyle/>
                <a:p>
                  <a:endParaRPr lang="en-GB"/>
                </a:p>
              </p:txBody>
            </p:sp>
            <p:sp>
              <p:nvSpPr>
                <p:cNvPr id="3332" name="Vrije vorm: vorm 3331">
                  <a:extLst>
                    <a:ext uri="{FF2B5EF4-FFF2-40B4-BE49-F238E27FC236}">
                      <a16:creationId xmlns:a16="http://schemas.microsoft.com/office/drawing/2014/main" id="{54DE606F-93C8-49E8-8B2D-58087C6A1F9E}"/>
                    </a:ext>
                  </a:extLst>
                </p:cNvPr>
                <p:cNvSpPr/>
                <p:nvPr/>
              </p:nvSpPr>
              <p:spPr>
                <a:xfrm>
                  <a:off x="5388519" y="1569694"/>
                  <a:ext cx="18324" cy="18454"/>
                </a:xfrm>
                <a:custGeom>
                  <a:avLst/>
                  <a:gdLst>
                    <a:gd name="connsiteX0" fmla="*/ 550 w 18324"/>
                    <a:gd name="connsiteY0" fmla="*/ 12307 h 18454"/>
                    <a:gd name="connsiteX1" fmla="*/ 6052 w 18324"/>
                    <a:gd name="connsiteY1" fmla="*/ 525 h 18454"/>
                    <a:gd name="connsiteX2" fmla="*/ 17775 w 18324"/>
                    <a:gd name="connsiteY2" fmla="*/ 6147 h 18454"/>
                    <a:gd name="connsiteX3" fmla="*/ 12272 w 18324"/>
                    <a:gd name="connsiteY3" fmla="*/ 17929 h 18454"/>
                    <a:gd name="connsiteX4" fmla="*/ 550 w 18324"/>
                    <a:gd name="connsiteY4" fmla="*/ 1230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4">
                      <a:moveTo>
                        <a:pt x="550" y="12307"/>
                      </a:moveTo>
                      <a:cubicBezTo>
                        <a:pt x="-1184" y="7523"/>
                        <a:pt x="1328" y="2260"/>
                        <a:pt x="6052" y="525"/>
                      </a:cubicBezTo>
                      <a:cubicBezTo>
                        <a:pt x="10837" y="-1149"/>
                        <a:pt x="16040" y="1303"/>
                        <a:pt x="17775" y="6147"/>
                      </a:cubicBezTo>
                      <a:cubicBezTo>
                        <a:pt x="19509" y="10932"/>
                        <a:pt x="16997" y="16195"/>
                        <a:pt x="12272" y="17929"/>
                      </a:cubicBezTo>
                      <a:cubicBezTo>
                        <a:pt x="7547" y="19604"/>
                        <a:pt x="2284" y="17152"/>
                        <a:pt x="550" y="12307"/>
                      </a:cubicBezTo>
                      <a:close/>
                    </a:path>
                  </a:pathLst>
                </a:custGeom>
                <a:grpFill/>
                <a:ln w="5978" cap="flat">
                  <a:noFill/>
                  <a:prstDash val="solid"/>
                  <a:miter/>
                </a:ln>
              </p:spPr>
              <p:txBody>
                <a:bodyPr rtlCol="0" anchor="ctr"/>
                <a:lstStyle/>
                <a:p>
                  <a:endParaRPr lang="en-GB"/>
                </a:p>
              </p:txBody>
            </p:sp>
            <p:sp>
              <p:nvSpPr>
                <p:cNvPr id="3333" name="Vrije vorm: vorm 3332">
                  <a:extLst>
                    <a:ext uri="{FF2B5EF4-FFF2-40B4-BE49-F238E27FC236}">
                      <a16:creationId xmlns:a16="http://schemas.microsoft.com/office/drawing/2014/main" id="{AEAEF684-A7F3-4EF0-9B20-1E6FC22AD731}"/>
                    </a:ext>
                  </a:extLst>
                </p:cNvPr>
                <p:cNvSpPr/>
                <p:nvPr/>
              </p:nvSpPr>
              <p:spPr>
                <a:xfrm>
                  <a:off x="5451220" y="1744995"/>
                  <a:ext cx="18307" cy="18441"/>
                </a:xfrm>
                <a:custGeom>
                  <a:avLst/>
                  <a:gdLst>
                    <a:gd name="connsiteX0" fmla="*/ 526 w 18307"/>
                    <a:gd name="connsiteY0" fmla="*/ 12301 h 18441"/>
                    <a:gd name="connsiteX1" fmla="*/ 12249 w 18307"/>
                    <a:gd name="connsiteY1" fmla="*/ 17923 h 18441"/>
                    <a:gd name="connsiteX2" fmla="*/ 17751 w 18307"/>
                    <a:gd name="connsiteY2" fmla="*/ 6141 h 18441"/>
                    <a:gd name="connsiteX3" fmla="*/ 6029 w 18307"/>
                    <a:gd name="connsiteY3" fmla="*/ 519 h 18441"/>
                    <a:gd name="connsiteX4" fmla="*/ 526 w 18307"/>
                    <a:gd name="connsiteY4" fmla="*/ 1230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41">
                      <a:moveTo>
                        <a:pt x="526" y="12301"/>
                      </a:moveTo>
                      <a:cubicBezTo>
                        <a:pt x="2261" y="17085"/>
                        <a:pt x="7464" y="19597"/>
                        <a:pt x="12249" y="17923"/>
                      </a:cubicBezTo>
                      <a:cubicBezTo>
                        <a:pt x="17033" y="16248"/>
                        <a:pt x="19485" y="10925"/>
                        <a:pt x="17751" y="6141"/>
                      </a:cubicBezTo>
                      <a:cubicBezTo>
                        <a:pt x="16016" y="1356"/>
                        <a:pt x="10813" y="-1156"/>
                        <a:pt x="6029" y="519"/>
                      </a:cubicBezTo>
                      <a:cubicBezTo>
                        <a:pt x="1304" y="2193"/>
                        <a:pt x="-1148" y="7456"/>
                        <a:pt x="526" y="12301"/>
                      </a:cubicBezTo>
                      <a:close/>
                    </a:path>
                  </a:pathLst>
                </a:custGeom>
                <a:grpFill/>
                <a:ln w="5978" cap="flat">
                  <a:noFill/>
                  <a:prstDash val="solid"/>
                  <a:miter/>
                </a:ln>
              </p:spPr>
              <p:txBody>
                <a:bodyPr rtlCol="0" anchor="ctr"/>
                <a:lstStyle/>
                <a:p>
                  <a:endParaRPr lang="en-GB"/>
                </a:p>
              </p:txBody>
            </p:sp>
          </p:grpSp>
          <p:grpSp>
            <p:nvGrpSpPr>
              <p:cNvPr id="687" name="Graphic 3">
                <a:extLst>
                  <a:ext uri="{FF2B5EF4-FFF2-40B4-BE49-F238E27FC236}">
                    <a16:creationId xmlns:a16="http://schemas.microsoft.com/office/drawing/2014/main" id="{B428991B-46BB-43A7-8A47-017C7D1E4DD9}"/>
                  </a:ext>
                </a:extLst>
              </p:cNvPr>
              <p:cNvGrpSpPr/>
              <p:nvPr/>
            </p:nvGrpSpPr>
            <p:grpSpPr>
              <a:xfrm>
                <a:off x="6567751" y="5008062"/>
                <a:ext cx="110098" cy="419417"/>
                <a:chOff x="6567751" y="5008062"/>
                <a:chExt cx="110098" cy="419417"/>
              </a:xfrm>
              <a:grpFill/>
            </p:grpSpPr>
            <p:sp>
              <p:nvSpPr>
                <p:cNvPr id="3328" name="Vrije vorm: vorm 3327">
                  <a:extLst>
                    <a:ext uri="{FF2B5EF4-FFF2-40B4-BE49-F238E27FC236}">
                      <a16:creationId xmlns:a16="http://schemas.microsoft.com/office/drawing/2014/main" id="{AD4B2BB1-5EEC-4A1F-9933-6742C7ED3C30}"/>
                    </a:ext>
                  </a:extLst>
                </p:cNvPr>
                <p:cNvSpPr/>
                <p:nvPr/>
              </p:nvSpPr>
              <p:spPr>
                <a:xfrm>
                  <a:off x="6575435" y="5016340"/>
                  <a:ext cx="94946" cy="402542"/>
                </a:xfrm>
                <a:custGeom>
                  <a:avLst/>
                  <a:gdLst>
                    <a:gd name="connsiteX0" fmla="*/ 0 w 94946"/>
                    <a:gd name="connsiteY0" fmla="*/ 681 h 402542"/>
                    <a:gd name="connsiteX1" fmla="*/ 2974 w 94946"/>
                    <a:gd name="connsiteY1" fmla="*/ 0 h 402542"/>
                    <a:gd name="connsiteX2" fmla="*/ 94947 w 94946"/>
                    <a:gd name="connsiteY2" fmla="*/ 401862 h 402542"/>
                    <a:gd name="connsiteX3" fmla="*/ 91973 w 94946"/>
                    <a:gd name="connsiteY3" fmla="*/ 402543 h 402542"/>
                  </a:gdLst>
                  <a:ahLst/>
                  <a:cxnLst>
                    <a:cxn ang="0">
                      <a:pos x="connsiteX0" y="connsiteY0"/>
                    </a:cxn>
                    <a:cxn ang="0">
                      <a:pos x="connsiteX1" y="connsiteY1"/>
                    </a:cxn>
                    <a:cxn ang="0">
                      <a:pos x="connsiteX2" y="connsiteY2"/>
                    </a:cxn>
                    <a:cxn ang="0">
                      <a:pos x="connsiteX3" y="connsiteY3"/>
                    </a:cxn>
                  </a:cxnLst>
                  <a:rect l="l" t="t" r="r" b="b"/>
                  <a:pathLst>
                    <a:path w="94946" h="402542">
                      <a:moveTo>
                        <a:pt x="0" y="681"/>
                      </a:moveTo>
                      <a:lnTo>
                        <a:pt x="2974" y="0"/>
                      </a:lnTo>
                      <a:lnTo>
                        <a:pt x="94947" y="401862"/>
                      </a:lnTo>
                      <a:lnTo>
                        <a:pt x="91973" y="402543"/>
                      </a:lnTo>
                      <a:close/>
                    </a:path>
                  </a:pathLst>
                </a:custGeom>
                <a:grpFill/>
                <a:ln w="5978" cap="flat">
                  <a:noFill/>
                  <a:prstDash val="solid"/>
                  <a:miter/>
                </a:ln>
              </p:spPr>
              <p:txBody>
                <a:bodyPr rtlCol="0" anchor="ctr"/>
                <a:lstStyle/>
                <a:p>
                  <a:endParaRPr lang="en-GB"/>
                </a:p>
              </p:txBody>
            </p:sp>
            <p:sp>
              <p:nvSpPr>
                <p:cNvPr id="3329" name="Vrije vorm: vorm 3328">
                  <a:extLst>
                    <a:ext uri="{FF2B5EF4-FFF2-40B4-BE49-F238E27FC236}">
                      <a16:creationId xmlns:a16="http://schemas.microsoft.com/office/drawing/2014/main" id="{16709AA7-EB4C-476C-94C1-6C81A9D4CE62}"/>
                    </a:ext>
                  </a:extLst>
                </p:cNvPr>
                <p:cNvSpPr/>
                <p:nvPr/>
              </p:nvSpPr>
              <p:spPr>
                <a:xfrm>
                  <a:off x="6567751" y="5008062"/>
                  <a:ext cx="18353" cy="18429"/>
                </a:xfrm>
                <a:custGeom>
                  <a:avLst/>
                  <a:gdLst>
                    <a:gd name="connsiteX0" fmla="*/ 237 w 18353"/>
                    <a:gd name="connsiteY0" fmla="*/ 11238 h 18429"/>
                    <a:gd name="connsiteX1" fmla="*/ 7115 w 18353"/>
                    <a:gd name="connsiteY1" fmla="*/ 234 h 18429"/>
                    <a:gd name="connsiteX2" fmla="*/ 18120 w 18353"/>
                    <a:gd name="connsiteY2" fmla="*/ 7172 h 18429"/>
                    <a:gd name="connsiteX3" fmla="*/ 11242 w 18353"/>
                    <a:gd name="connsiteY3" fmla="*/ 18176 h 18429"/>
                    <a:gd name="connsiteX4" fmla="*/ 237 w 18353"/>
                    <a:gd name="connsiteY4" fmla="*/ 1123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9">
                      <a:moveTo>
                        <a:pt x="237" y="11238"/>
                      </a:moveTo>
                      <a:cubicBezTo>
                        <a:pt x="-899" y="6275"/>
                        <a:pt x="2151" y="1371"/>
                        <a:pt x="7115" y="234"/>
                      </a:cubicBezTo>
                      <a:cubicBezTo>
                        <a:pt x="12020" y="-902"/>
                        <a:pt x="16983" y="2208"/>
                        <a:pt x="18120" y="7172"/>
                      </a:cubicBezTo>
                      <a:cubicBezTo>
                        <a:pt x="19256" y="12136"/>
                        <a:pt x="16146" y="17040"/>
                        <a:pt x="11242" y="18176"/>
                      </a:cubicBezTo>
                      <a:cubicBezTo>
                        <a:pt x="6278" y="19373"/>
                        <a:pt x="1374" y="16203"/>
                        <a:pt x="237" y="11238"/>
                      </a:cubicBezTo>
                      <a:close/>
                    </a:path>
                  </a:pathLst>
                </a:custGeom>
                <a:grpFill/>
                <a:ln w="5978" cap="flat">
                  <a:noFill/>
                  <a:prstDash val="solid"/>
                  <a:miter/>
                </a:ln>
              </p:spPr>
              <p:txBody>
                <a:bodyPr rtlCol="0" anchor="ctr"/>
                <a:lstStyle/>
                <a:p>
                  <a:endParaRPr lang="en-GB"/>
                </a:p>
              </p:txBody>
            </p:sp>
            <p:sp>
              <p:nvSpPr>
                <p:cNvPr id="3330" name="Vrije vorm: vorm 3329">
                  <a:extLst>
                    <a:ext uri="{FF2B5EF4-FFF2-40B4-BE49-F238E27FC236}">
                      <a16:creationId xmlns:a16="http://schemas.microsoft.com/office/drawing/2014/main" id="{9626469A-8E49-4301-8712-6FEFC06D78D3}"/>
                    </a:ext>
                  </a:extLst>
                </p:cNvPr>
                <p:cNvSpPr/>
                <p:nvPr/>
              </p:nvSpPr>
              <p:spPr>
                <a:xfrm>
                  <a:off x="6659499" y="5409069"/>
                  <a:ext cx="18350" cy="18410"/>
                </a:xfrm>
                <a:custGeom>
                  <a:avLst/>
                  <a:gdLst>
                    <a:gd name="connsiteX0" fmla="*/ 234 w 18350"/>
                    <a:gd name="connsiteY0" fmla="*/ 11239 h 18410"/>
                    <a:gd name="connsiteX1" fmla="*/ 11239 w 18350"/>
                    <a:gd name="connsiteY1" fmla="*/ 18176 h 18410"/>
                    <a:gd name="connsiteX2" fmla="*/ 18117 w 18350"/>
                    <a:gd name="connsiteY2" fmla="*/ 7172 h 18410"/>
                    <a:gd name="connsiteX3" fmla="*/ 7112 w 18350"/>
                    <a:gd name="connsiteY3" fmla="*/ 234 h 18410"/>
                    <a:gd name="connsiteX4" fmla="*/ 234 w 18350"/>
                    <a:gd name="connsiteY4" fmla="*/ 11239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0">
                      <a:moveTo>
                        <a:pt x="234" y="11239"/>
                      </a:moveTo>
                      <a:cubicBezTo>
                        <a:pt x="1371" y="16203"/>
                        <a:pt x="6275" y="19313"/>
                        <a:pt x="11239" y="18176"/>
                      </a:cubicBezTo>
                      <a:cubicBezTo>
                        <a:pt x="16143" y="17040"/>
                        <a:pt x="19253" y="12136"/>
                        <a:pt x="18117" y="7172"/>
                      </a:cubicBezTo>
                      <a:cubicBezTo>
                        <a:pt x="16980" y="2208"/>
                        <a:pt x="12076" y="-902"/>
                        <a:pt x="7112" y="234"/>
                      </a:cubicBezTo>
                      <a:cubicBezTo>
                        <a:pt x="2208" y="1311"/>
                        <a:pt x="-902" y="6275"/>
                        <a:pt x="234" y="11239"/>
                      </a:cubicBezTo>
                      <a:close/>
                    </a:path>
                  </a:pathLst>
                </a:custGeom>
                <a:grpFill/>
                <a:ln w="5978" cap="flat">
                  <a:noFill/>
                  <a:prstDash val="solid"/>
                  <a:miter/>
                </a:ln>
              </p:spPr>
              <p:txBody>
                <a:bodyPr rtlCol="0" anchor="ctr"/>
                <a:lstStyle/>
                <a:p>
                  <a:endParaRPr lang="en-GB"/>
                </a:p>
              </p:txBody>
            </p:sp>
          </p:grpSp>
          <p:grpSp>
            <p:nvGrpSpPr>
              <p:cNvPr id="688" name="Graphic 3">
                <a:extLst>
                  <a:ext uri="{FF2B5EF4-FFF2-40B4-BE49-F238E27FC236}">
                    <a16:creationId xmlns:a16="http://schemas.microsoft.com/office/drawing/2014/main" id="{E23BD293-D9AA-42FF-B6EE-D122A5A02678}"/>
                  </a:ext>
                </a:extLst>
              </p:cNvPr>
              <p:cNvGrpSpPr/>
              <p:nvPr/>
            </p:nvGrpSpPr>
            <p:grpSpPr>
              <a:xfrm>
                <a:off x="5318664" y="1374399"/>
                <a:ext cx="81966" cy="196398"/>
                <a:chOff x="5318664" y="1374399"/>
                <a:chExt cx="81966" cy="196398"/>
              </a:xfrm>
              <a:grpFill/>
            </p:grpSpPr>
            <p:sp>
              <p:nvSpPr>
                <p:cNvPr id="3325" name="Vrije vorm: vorm 3324">
                  <a:extLst>
                    <a:ext uri="{FF2B5EF4-FFF2-40B4-BE49-F238E27FC236}">
                      <a16:creationId xmlns:a16="http://schemas.microsoft.com/office/drawing/2014/main" id="{51E8C475-6C4B-4C14-A44E-AE0571F27D88}"/>
                    </a:ext>
                  </a:extLst>
                </p:cNvPr>
                <p:cNvSpPr/>
                <p:nvPr/>
              </p:nvSpPr>
              <p:spPr>
                <a:xfrm>
                  <a:off x="5326271" y="1382663"/>
                  <a:ext cx="66804" cy="179840"/>
                </a:xfrm>
                <a:custGeom>
                  <a:avLst/>
                  <a:gdLst>
                    <a:gd name="connsiteX0" fmla="*/ 66805 w 66804"/>
                    <a:gd name="connsiteY0" fmla="*/ 178824 h 179840"/>
                    <a:gd name="connsiteX1" fmla="*/ 63934 w 66804"/>
                    <a:gd name="connsiteY1" fmla="*/ 179840 h 179840"/>
                    <a:gd name="connsiteX2" fmla="*/ 0 w 66804"/>
                    <a:gd name="connsiteY2" fmla="*/ 1017 h 179840"/>
                    <a:gd name="connsiteX3" fmla="*/ 2871 w 66804"/>
                    <a:gd name="connsiteY3" fmla="*/ 0 h 179840"/>
                  </a:gdLst>
                  <a:ahLst/>
                  <a:cxnLst>
                    <a:cxn ang="0">
                      <a:pos x="connsiteX0" y="connsiteY0"/>
                    </a:cxn>
                    <a:cxn ang="0">
                      <a:pos x="connsiteX1" y="connsiteY1"/>
                    </a:cxn>
                    <a:cxn ang="0">
                      <a:pos x="connsiteX2" y="connsiteY2"/>
                    </a:cxn>
                    <a:cxn ang="0">
                      <a:pos x="connsiteX3" y="connsiteY3"/>
                    </a:cxn>
                  </a:cxnLst>
                  <a:rect l="l" t="t" r="r" b="b"/>
                  <a:pathLst>
                    <a:path w="66804" h="179840">
                      <a:moveTo>
                        <a:pt x="66805" y="178824"/>
                      </a:moveTo>
                      <a:lnTo>
                        <a:pt x="63934" y="179840"/>
                      </a:lnTo>
                      <a:lnTo>
                        <a:pt x="0" y="1017"/>
                      </a:lnTo>
                      <a:lnTo>
                        <a:pt x="2871" y="0"/>
                      </a:lnTo>
                      <a:close/>
                    </a:path>
                  </a:pathLst>
                </a:custGeom>
                <a:grpFill/>
                <a:ln w="5978" cap="flat">
                  <a:noFill/>
                  <a:prstDash val="solid"/>
                  <a:miter/>
                </a:ln>
              </p:spPr>
              <p:txBody>
                <a:bodyPr rtlCol="0" anchor="ctr"/>
                <a:lstStyle/>
                <a:p>
                  <a:endParaRPr lang="en-GB"/>
                </a:p>
              </p:txBody>
            </p:sp>
            <p:sp>
              <p:nvSpPr>
                <p:cNvPr id="3326" name="Vrije vorm: vorm 3325">
                  <a:extLst>
                    <a:ext uri="{FF2B5EF4-FFF2-40B4-BE49-F238E27FC236}">
                      <a16:creationId xmlns:a16="http://schemas.microsoft.com/office/drawing/2014/main" id="{B2BCED86-2956-4EDC-AF39-7B7F70733C36}"/>
                    </a:ext>
                  </a:extLst>
                </p:cNvPr>
                <p:cNvSpPr/>
                <p:nvPr/>
              </p:nvSpPr>
              <p:spPr>
                <a:xfrm>
                  <a:off x="5318664" y="1374399"/>
                  <a:ext cx="18324" cy="18471"/>
                </a:xfrm>
                <a:custGeom>
                  <a:avLst/>
                  <a:gdLst>
                    <a:gd name="connsiteX0" fmla="*/ 550 w 18324"/>
                    <a:gd name="connsiteY0" fmla="*/ 12331 h 18471"/>
                    <a:gd name="connsiteX1" fmla="*/ 6052 w 18324"/>
                    <a:gd name="connsiteY1" fmla="*/ 549 h 18471"/>
                    <a:gd name="connsiteX2" fmla="*/ 17775 w 18324"/>
                    <a:gd name="connsiteY2" fmla="*/ 6171 h 18471"/>
                    <a:gd name="connsiteX3" fmla="*/ 12272 w 18324"/>
                    <a:gd name="connsiteY3" fmla="*/ 17953 h 18471"/>
                    <a:gd name="connsiteX4" fmla="*/ 550 w 18324"/>
                    <a:gd name="connsiteY4" fmla="*/ 12331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71">
                      <a:moveTo>
                        <a:pt x="550" y="12331"/>
                      </a:moveTo>
                      <a:cubicBezTo>
                        <a:pt x="-1184" y="7546"/>
                        <a:pt x="1328" y="2283"/>
                        <a:pt x="6052" y="549"/>
                      </a:cubicBezTo>
                      <a:cubicBezTo>
                        <a:pt x="10837" y="-1186"/>
                        <a:pt x="16040" y="1326"/>
                        <a:pt x="17775" y="6171"/>
                      </a:cubicBezTo>
                      <a:cubicBezTo>
                        <a:pt x="19509" y="10955"/>
                        <a:pt x="16997" y="16218"/>
                        <a:pt x="12272" y="17953"/>
                      </a:cubicBezTo>
                      <a:cubicBezTo>
                        <a:pt x="7547" y="19627"/>
                        <a:pt x="2284" y="17115"/>
                        <a:pt x="550" y="12331"/>
                      </a:cubicBezTo>
                      <a:close/>
                    </a:path>
                  </a:pathLst>
                </a:custGeom>
                <a:grpFill/>
                <a:ln w="5978" cap="flat">
                  <a:noFill/>
                  <a:prstDash val="solid"/>
                  <a:miter/>
                </a:ln>
              </p:spPr>
              <p:txBody>
                <a:bodyPr rtlCol="0" anchor="ctr"/>
                <a:lstStyle/>
                <a:p>
                  <a:endParaRPr lang="en-GB"/>
                </a:p>
              </p:txBody>
            </p:sp>
            <p:sp>
              <p:nvSpPr>
                <p:cNvPr id="3327" name="Vrije vorm: vorm 3326">
                  <a:extLst>
                    <a:ext uri="{FF2B5EF4-FFF2-40B4-BE49-F238E27FC236}">
                      <a16:creationId xmlns:a16="http://schemas.microsoft.com/office/drawing/2014/main" id="{CA6B8A12-45FC-4769-A2A4-BE852279EEF6}"/>
                    </a:ext>
                  </a:extLst>
                </p:cNvPr>
                <p:cNvSpPr/>
                <p:nvPr/>
              </p:nvSpPr>
              <p:spPr>
                <a:xfrm>
                  <a:off x="5382322" y="1552356"/>
                  <a:ext cx="18307" cy="18441"/>
                </a:xfrm>
                <a:custGeom>
                  <a:avLst/>
                  <a:gdLst>
                    <a:gd name="connsiteX0" fmla="*/ 526 w 18307"/>
                    <a:gd name="connsiteY0" fmla="*/ 12301 h 18441"/>
                    <a:gd name="connsiteX1" fmla="*/ 12248 w 18307"/>
                    <a:gd name="connsiteY1" fmla="*/ 17923 h 18441"/>
                    <a:gd name="connsiteX2" fmla="*/ 17751 w 18307"/>
                    <a:gd name="connsiteY2" fmla="*/ 6141 h 18441"/>
                    <a:gd name="connsiteX3" fmla="*/ 6029 w 18307"/>
                    <a:gd name="connsiteY3" fmla="*/ 519 h 18441"/>
                    <a:gd name="connsiteX4" fmla="*/ 526 w 18307"/>
                    <a:gd name="connsiteY4" fmla="*/ 1230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41">
                      <a:moveTo>
                        <a:pt x="526" y="12301"/>
                      </a:moveTo>
                      <a:cubicBezTo>
                        <a:pt x="2261" y="17085"/>
                        <a:pt x="7464" y="19597"/>
                        <a:pt x="12248" y="17923"/>
                      </a:cubicBezTo>
                      <a:cubicBezTo>
                        <a:pt x="17033" y="16248"/>
                        <a:pt x="19485" y="10925"/>
                        <a:pt x="17751" y="6141"/>
                      </a:cubicBezTo>
                      <a:cubicBezTo>
                        <a:pt x="16016" y="1356"/>
                        <a:pt x="10813" y="-1156"/>
                        <a:pt x="6029" y="519"/>
                      </a:cubicBezTo>
                      <a:cubicBezTo>
                        <a:pt x="1304" y="2253"/>
                        <a:pt x="-1148" y="7516"/>
                        <a:pt x="526" y="12301"/>
                      </a:cubicBezTo>
                      <a:close/>
                    </a:path>
                  </a:pathLst>
                </a:custGeom>
                <a:grpFill/>
                <a:ln w="5978" cap="flat">
                  <a:noFill/>
                  <a:prstDash val="solid"/>
                  <a:miter/>
                </a:ln>
              </p:spPr>
              <p:txBody>
                <a:bodyPr rtlCol="0" anchor="ctr"/>
                <a:lstStyle/>
                <a:p>
                  <a:endParaRPr lang="en-GB"/>
                </a:p>
              </p:txBody>
            </p:sp>
          </p:grpSp>
          <p:grpSp>
            <p:nvGrpSpPr>
              <p:cNvPr id="689" name="Graphic 3">
                <a:extLst>
                  <a:ext uri="{FF2B5EF4-FFF2-40B4-BE49-F238E27FC236}">
                    <a16:creationId xmlns:a16="http://schemas.microsoft.com/office/drawing/2014/main" id="{8A77FABE-DB70-4453-913D-42DD7BCEF774}"/>
                  </a:ext>
                </a:extLst>
              </p:cNvPr>
              <p:cNvGrpSpPr/>
              <p:nvPr/>
            </p:nvGrpSpPr>
            <p:grpSpPr>
              <a:xfrm>
                <a:off x="6581989" y="5158152"/>
                <a:ext cx="23372" cy="34910"/>
                <a:chOff x="6581989" y="5158152"/>
                <a:chExt cx="23372" cy="34910"/>
              </a:xfrm>
              <a:grpFill/>
            </p:grpSpPr>
            <p:sp>
              <p:nvSpPr>
                <p:cNvPr id="3323" name="Vrije vorm: vorm 3322">
                  <a:extLst>
                    <a:ext uri="{FF2B5EF4-FFF2-40B4-BE49-F238E27FC236}">
                      <a16:creationId xmlns:a16="http://schemas.microsoft.com/office/drawing/2014/main" id="{0AF47D5B-808D-4268-AD2C-F5848C5F666F}"/>
                    </a:ext>
                  </a:extLst>
                </p:cNvPr>
                <p:cNvSpPr/>
                <p:nvPr/>
              </p:nvSpPr>
              <p:spPr>
                <a:xfrm>
                  <a:off x="6581989" y="5158152"/>
                  <a:ext cx="18349" cy="18430"/>
                </a:xfrm>
                <a:custGeom>
                  <a:avLst/>
                  <a:gdLst>
                    <a:gd name="connsiteX0" fmla="*/ 17936 w 18349"/>
                    <a:gd name="connsiteY0" fmla="*/ 6540 h 18430"/>
                    <a:gd name="connsiteX1" fmla="*/ 11896 w 18349"/>
                    <a:gd name="connsiteY1" fmla="*/ 18024 h 18430"/>
                    <a:gd name="connsiteX2" fmla="*/ 413 w 18349"/>
                    <a:gd name="connsiteY2" fmla="*/ 11863 h 18430"/>
                    <a:gd name="connsiteX3" fmla="*/ 6453 w 18349"/>
                    <a:gd name="connsiteY3" fmla="*/ 380 h 18430"/>
                    <a:gd name="connsiteX4" fmla="*/ 17936 w 18349"/>
                    <a:gd name="connsiteY4" fmla="*/ 654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0">
                      <a:moveTo>
                        <a:pt x="17936" y="6540"/>
                      </a:moveTo>
                      <a:cubicBezTo>
                        <a:pt x="19432" y="11385"/>
                        <a:pt x="16740" y="16528"/>
                        <a:pt x="11896" y="18024"/>
                      </a:cubicBezTo>
                      <a:cubicBezTo>
                        <a:pt x="7051" y="19519"/>
                        <a:pt x="1908" y="16767"/>
                        <a:pt x="413" y="11863"/>
                      </a:cubicBezTo>
                      <a:cubicBezTo>
                        <a:pt x="-1082" y="7019"/>
                        <a:pt x="1609" y="1876"/>
                        <a:pt x="6453" y="380"/>
                      </a:cubicBezTo>
                      <a:cubicBezTo>
                        <a:pt x="11298" y="-1055"/>
                        <a:pt x="16441" y="1696"/>
                        <a:pt x="17936" y="6540"/>
                      </a:cubicBezTo>
                      <a:close/>
                    </a:path>
                  </a:pathLst>
                </a:custGeom>
                <a:grpFill/>
                <a:ln w="5978" cap="flat">
                  <a:noFill/>
                  <a:prstDash val="solid"/>
                  <a:miter/>
                </a:ln>
              </p:spPr>
              <p:txBody>
                <a:bodyPr rtlCol="0" anchor="ctr"/>
                <a:lstStyle/>
                <a:p>
                  <a:endParaRPr lang="en-GB"/>
                </a:p>
              </p:txBody>
            </p:sp>
            <p:sp>
              <p:nvSpPr>
                <p:cNvPr id="3324" name="Vrije vorm: vorm 3323">
                  <a:extLst>
                    <a:ext uri="{FF2B5EF4-FFF2-40B4-BE49-F238E27FC236}">
                      <a16:creationId xmlns:a16="http://schemas.microsoft.com/office/drawing/2014/main" id="{3E067F9A-1C6B-4767-BBA3-DA353C0DBF58}"/>
                    </a:ext>
                  </a:extLst>
                </p:cNvPr>
                <p:cNvSpPr/>
                <p:nvPr/>
              </p:nvSpPr>
              <p:spPr>
                <a:xfrm>
                  <a:off x="6587013" y="5174658"/>
                  <a:ext cx="18349" cy="18403"/>
                </a:xfrm>
                <a:custGeom>
                  <a:avLst/>
                  <a:gdLst>
                    <a:gd name="connsiteX0" fmla="*/ 17936 w 18349"/>
                    <a:gd name="connsiteY0" fmla="*/ 6540 h 18403"/>
                    <a:gd name="connsiteX1" fmla="*/ 6453 w 18349"/>
                    <a:gd name="connsiteY1" fmla="*/ 380 h 18403"/>
                    <a:gd name="connsiteX2" fmla="*/ 413 w 18349"/>
                    <a:gd name="connsiteY2" fmla="*/ 11863 h 18403"/>
                    <a:gd name="connsiteX3" fmla="*/ 11896 w 18349"/>
                    <a:gd name="connsiteY3" fmla="*/ 18024 h 18403"/>
                    <a:gd name="connsiteX4" fmla="*/ 17936 w 18349"/>
                    <a:gd name="connsiteY4" fmla="*/ 654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3">
                      <a:moveTo>
                        <a:pt x="17936" y="6540"/>
                      </a:moveTo>
                      <a:cubicBezTo>
                        <a:pt x="16441" y="1696"/>
                        <a:pt x="11298" y="-1055"/>
                        <a:pt x="6453" y="380"/>
                      </a:cubicBezTo>
                      <a:cubicBezTo>
                        <a:pt x="1609" y="1876"/>
                        <a:pt x="-1082" y="7019"/>
                        <a:pt x="413" y="11863"/>
                      </a:cubicBezTo>
                      <a:cubicBezTo>
                        <a:pt x="1908" y="16708"/>
                        <a:pt x="7051" y="19459"/>
                        <a:pt x="11896" y="18024"/>
                      </a:cubicBezTo>
                      <a:cubicBezTo>
                        <a:pt x="16740" y="16588"/>
                        <a:pt x="19432" y="11445"/>
                        <a:pt x="17936" y="6540"/>
                      </a:cubicBezTo>
                      <a:close/>
                    </a:path>
                  </a:pathLst>
                </a:custGeom>
                <a:grpFill/>
                <a:ln w="5978" cap="flat">
                  <a:noFill/>
                  <a:prstDash val="solid"/>
                  <a:miter/>
                </a:ln>
              </p:spPr>
              <p:txBody>
                <a:bodyPr rtlCol="0" anchor="ctr"/>
                <a:lstStyle/>
                <a:p>
                  <a:endParaRPr lang="en-GB"/>
                </a:p>
              </p:txBody>
            </p:sp>
          </p:grpSp>
          <p:grpSp>
            <p:nvGrpSpPr>
              <p:cNvPr id="690" name="Graphic 3">
                <a:extLst>
                  <a:ext uri="{FF2B5EF4-FFF2-40B4-BE49-F238E27FC236}">
                    <a16:creationId xmlns:a16="http://schemas.microsoft.com/office/drawing/2014/main" id="{937EAC12-A4D6-4EF0-B0CA-FC28EB12E5A5}"/>
                  </a:ext>
                </a:extLst>
              </p:cNvPr>
              <p:cNvGrpSpPr/>
              <p:nvPr/>
            </p:nvGrpSpPr>
            <p:grpSpPr>
              <a:xfrm>
                <a:off x="6540005" y="5021133"/>
                <a:ext cx="59975" cy="154372"/>
                <a:chOff x="6540005" y="5021133"/>
                <a:chExt cx="59975" cy="154372"/>
              </a:xfrm>
              <a:grpFill/>
            </p:grpSpPr>
            <p:sp>
              <p:nvSpPr>
                <p:cNvPr id="3320" name="Vrije vorm: vorm 3319">
                  <a:extLst>
                    <a:ext uri="{FF2B5EF4-FFF2-40B4-BE49-F238E27FC236}">
                      <a16:creationId xmlns:a16="http://schemas.microsoft.com/office/drawing/2014/main" id="{C2763D5B-136A-4ED7-A388-1BDF26EE3362}"/>
                    </a:ext>
                  </a:extLst>
                </p:cNvPr>
                <p:cNvSpPr/>
                <p:nvPr/>
              </p:nvSpPr>
              <p:spPr>
                <a:xfrm>
                  <a:off x="6547797" y="5029424"/>
                  <a:ext cx="44804" cy="137685"/>
                </a:xfrm>
                <a:custGeom>
                  <a:avLst/>
                  <a:gdLst>
                    <a:gd name="connsiteX0" fmla="*/ 0 w 44804"/>
                    <a:gd name="connsiteY0" fmla="*/ 893 h 137685"/>
                    <a:gd name="connsiteX1" fmla="*/ 2917 w 44804"/>
                    <a:gd name="connsiteY1" fmla="*/ 0 h 137685"/>
                    <a:gd name="connsiteX2" fmla="*/ 44804 w 44804"/>
                    <a:gd name="connsiteY2" fmla="*/ 136793 h 137685"/>
                    <a:gd name="connsiteX3" fmla="*/ 41888 w 44804"/>
                    <a:gd name="connsiteY3" fmla="*/ 137686 h 137685"/>
                  </a:gdLst>
                  <a:ahLst/>
                  <a:cxnLst>
                    <a:cxn ang="0">
                      <a:pos x="connsiteX0" y="connsiteY0"/>
                    </a:cxn>
                    <a:cxn ang="0">
                      <a:pos x="connsiteX1" y="connsiteY1"/>
                    </a:cxn>
                    <a:cxn ang="0">
                      <a:pos x="connsiteX2" y="connsiteY2"/>
                    </a:cxn>
                    <a:cxn ang="0">
                      <a:pos x="connsiteX3" y="connsiteY3"/>
                    </a:cxn>
                  </a:cxnLst>
                  <a:rect l="l" t="t" r="r" b="b"/>
                  <a:pathLst>
                    <a:path w="44804" h="137685">
                      <a:moveTo>
                        <a:pt x="0" y="893"/>
                      </a:moveTo>
                      <a:lnTo>
                        <a:pt x="2917" y="0"/>
                      </a:lnTo>
                      <a:lnTo>
                        <a:pt x="44804" y="136793"/>
                      </a:lnTo>
                      <a:lnTo>
                        <a:pt x="41888" y="137686"/>
                      </a:lnTo>
                      <a:close/>
                    </a:path>
                  </a:pathLst>
                </a:custGeom>
                <a:grpFill/>
                <a:ln w="5978" cap="flat">
                  <a:noFill/>
                  <a:prstDash val="solid"/>
                  <a:miter/>
                </a:ln>
              </p:spPr>
              <p:txBody>
                <a:bodyPr rtlCol="0" anchor="ctr"/>
                <a:lstStyle/>
                <a:p>
                  <a:endParaRPr lang="en-GB"/>
                </a:p>
              </p:txBody>
            </p:sp>
            <p:sp>
              <p:nvSpPr>
                <p:cNvPr id="3321" name="Vrije vorm: vorm 3320">
                  <a:extLst>
                    <a:ext uri="{FF2B5EF4-FFF2-40B4-BE49-F238E27FC236}">
                      <a16:creationId xmlns:a16="http://schemas.microsoft.com/office/drawing/2014/main" id="{358CB01A-492D-4EB2-A019-EA9DB2EA8440}"/>
                    </a:ext>
                  </a:extLst>
                </p:cNvPr>
                <p:cNvSpPr/>
                <p:nvPr/>
              </p:nvSpPr>
              <p:spPr>
                <a:xfrm>
                  <a:off x="6581630" y="5157048"/>
                  <a:ext cx="18349" cy="18457"/>
                </a:xfrm>
                <a:custGeom>
                  <a:avLst/>
                  <a:gdLst>
                    <a:gd name="connsiteX0" fmla="*/ 17936 w 18349"/>
                    <a:gd name="connsiteY0" fmla="*/ 6567 h 18457"/>
                    <a:gd name="connsiteX1" fmla="*/ 11896 w 18349"/>
                    <a:gd name="connsiteY1" fmla="*/ 18050 h 18457"/>
                    <a:gd name="connsiteX2" fmla="*/ 413 w 18349"/>
                    <a:gd name="connsiteY2" fmla="*/ 11890 h 18457"/>
                    <a:gd name="connsiteX3" fmla="*/ 6453 w 18349"/>
                    <a:gd name="connsiteY3" fmla="*/ 407 h 18457"/>
                    <a:gd name="connsiteX4" fmla="*/ 17936 w 18349"/>
                    <a:gd name="connsiteY4" fmla="*/ 6567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7">
                      <a:moveTo>
                        <a:pt x="17936" y="6567"/>
                      </a:moveTo>
                      <a:cubicBezTo>
                        <a:pt x="19432" y="11411"/>
                        <a:pt x="16740" y="16555"/>
                        <a:pt x="11896" y="18050"/>
                      </a:cubicBezTo>
                      <a:cubicBezTo>
                        <a:pt x="7051" y="19545"/>
                        <a:pt x="1908" y="16794"/>
                        <a:pt x="413" y="11890"/>
                      </a:cubicBezTo>
                      <a:cubicBezTo>
                        <a:pt x="-1082" y="7046"/>
                        <a:pt x="1609" y="1902"/>
                        <a:pt x="6453" y="407"/>
                      </a:cubicBezTo>
                      <a:cubicBezTo>
                        <a:pt x="11298" y="-1088"/>
                        <a:pt x="16441" y="1663"/>
                        <a:pt x="17936" y="6567"/>
                      </a:cubicBezTo>
                      <a:close/>
                    </a:path>
                  </a:pathLst>
                </a:custGeom>
                <a:grpFill/>
                <a:ln w="5978" cap="flat">
                  <a:noFill/>
                  <a:prstDash val="solid"/>
                  <a:miter/>
                </a:ln>
              </p:spPr>
              <p:txBody>
                <a:bodyPr rtlCol="0" anchor="ctr"/>
                <a:lstStyle/>
                <a:p>
                  <a:endParaRPr lang="en-GB"/>
                </a:p>
              </p:txBody>
            </p:sp>
            <p:sp>
              <p:nvSpPr>
                <p:cNvPr id="3322" name="Vrije vorm: vorm 3321">
                  <a:extLst>
                    <a:ext uri="{FF2B5EF4-FFF2-40B4-BE49-F238E27FC236}">
                      <a16:creationId xmlns:a16="http://schemas.microsoft.com/office/drawing/2014/main" id="{45043AC0-8565-460E-AEB2-78A040F2947F}"/>
                    </a:ext>
                  </a:extLst>
                </p:cNvPr>
                <p:cNvSpPr/>
                <p:nvPr/>
              </p:nvSpPr>
              <p:spPr>
                <a:xfrm>
                  <a:off x="6540005" y="5021133"/>
                  <a:ext cx="18349" cy="18403"/>
                </a:xfrm>
                <a:custGeom>
                  <a:avLst/>
                  <a:gdLst>
                    <a:gd name="connsiteX0" fmla="*/ 17936 w 18349"/>
                    <a:gd name="connsiteY0" fmla="*/ 6541 h 18403"/>
                    <a:gd name="connsiteX1" fmla="*/ 6453 w 18349"/>
                    <a:gd name="connsiteY1" fmla="*/ 380 h 18403"/>
                    <a:gd name="connsiteX2" fmla="*/ 413 w 18349"/>
                    <a:gd name="connsiteY2" fmla="*/ 11864 h 18403"/>
                    <a:gd name="connsiteX3" fmla="*/ 11896 w 18349"/>
                    <a:gd name="connsiteY3" fmla="*/ 18024 h 18403"/>
                    <a:gd name="connsiteX4" fmla="*/ 17936 w 18349"/>
                    <a:gd name="connsiteY4" fmla="*/ 6541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3">
                      <a:moveTo>
                        <a:pt x="17936" y="6541"/>
                      </a:moveTo>
                      <a:cubicBezTo>
                        <a:pt x="16441" y="1696"/>
                        <a:pt x="11298" y="-1055"/>
                        <a:pt x="6453" y="380"/>
                      </a:cubicBezTo>
                      <a:cubicBezTo>
                        <a:pt x="1609" y="1876"/>
                        <a:pt x="-1082" y="7019"/>
                        <a:pt x="413" y="11864"/>
                      </a:cubicBezTo>
                      <a:cubicBezTo>
                        <a:pt x="1908" y="16708"/>
                        <a:pt x="7051" y="19459"/>
                        <a:pt x="11896" y="18024"/>
                      </a:cubicBezTo>
                      <a:cubicBezTo>
                        <a:pt x="16740" y="16588"/>
                        <a:pt x="19432" y="11445"/>
                        <a:pt x="17936" y="6541"/>
                      </a:cubicBezTo>
                      <a:close/>
                    </a:path>
                  </a:pathLst>
                </a:custGeom>
                <a:grpFill/>
                <a:ln w="5978" cap="flat">
                  <a:noFill/>
                  <a:prstDash val="solid"/>
                  <a:miter/>
                </a:ln>
              </p:spPr>
              <p:txBody>
                <a:bodyPr rtlCol="0" anchor="ctr"/>
                <a:lstStyle/>
                <a:p>
                  <a:endParaRPr lang="en-GB"/>
                </a:p>
              </p:txBody>
            </p:sp>
          </p:grpSp>
          <p:grpSp>
            <p:nvGrpSpPr>
              <p:cNvPr id="691" name="Graphic 3">
                <a:extLst>
                  <a:ext uri="{FF2B5EF4-FFF2-40B4-BE49-F238E27FC236}">
                    <a16:creationId xmlns:a16="http://schemas.microsoft.com/office/drawing/2014/main" id="{833CE2E0-E6CE-440E-854C-86752DAEA1CF}"/>
                  </a:ext>
                </a:extLst>
              </p:cNvPr>
              <p:cNvGrpSpPr/>
              <p:nvPr/>
            </p:nvGrpSpPr>
            <p:grpSpPr>
              <a:xfrm>
                <a:off x="6587372" y="5175795"/>
                <a:ext cx="89818" cy="251858"/>
                <a:chOff x="6587372" y="5175795"/>
                <a:chExt cx="89818" cy="251858"/>
              </a:xfrm>
              <a:grpFill/>
            </p:grpSpPr>
            <p:sp>
              <p:nvSpPr>
                <p:cNvPr id="3317" name="Vrije vorm: vorm 3316">
                  <a:extLst>
                    <a:ext uri="{FF2B5EF4-FFF2-40B4-BE49-F238E27FC236}">
                      <a16:creationId xmlns:a16="http://schemas.microsoft.com/office/drawing/2014/main" id="{B5C81239-0300-4AE0-AA9E-B5090F6181BB}"/>
                    </a:ext>
                  </a:extLst>
                </p:cNvPr>
                <p:cNvSpPr/>
                <p:nvPr/>
              </p:nvSpPr>
              <p:spPr>
                <a:xfrm>
                  <a:off x="6595116" y="5184326"/>
                  <a:ext cx="74661" cy="235190"/>
                </a:xfrm>
                <a:custGeom>
                  <a:avLst/>
                  <a:gdLst>
                    <a:gd name="connsiteX0" fmla="*/ 0 w 74661"/>
                    <a:gd name="connsiteY0" fmla="*/ 893 h 235190"/>
                    <a:gd name="connsiteX1" fmla="*/ 2917 w 74661"/>
                    <a:gd name="connsiteY1" fmla="*/ 0 h 235190"/>
                    <a:gd name="connsiteX2" fmla="*/ 74661 w 74661"/>
                    <a:gd name="connsiteY2" fmla="*/ 234298 h 235190"/>
                    <a:gd name="connsiteX3" fmla="*/ 71745 w 74661"/>
                    <a:gd name="connsiteY3" fmla="*/ 235191 h 235190"/>
                  </a:gdLst>
                  <a:ahLst/>
                  <a:cxnLst>
                    <a:cxn ang="0">
                      <a:pos x="connsiteX0" y="connsiteY0"/>
                    </a:cxn>
                    <a:cxn ang="0">
                      <a:pos x="connsiteX1" y="connsiteY1"/>
                    </a:cxn>
                    <a:cxn ang="0">
                      <a:pos x="connsiteX2" y="connsiteY2"/>
                    </a:cxn>
                    <a:cxn ang="0">
                      <a:pos x="connsiteX3" y="connsiteY3"/>
                    </a:cxn>
                  </a:cxnLst>
                  <a:rect l="l" t="t" r="r" b="b"/>
                  <a:pathLst>
                    <a:path w="74661" h="235190">
                      <a:moveTo>
                        <a:pt x="0" y="893"/>
                      </a:moveTo>
                      <a:lnTo>
                        <a:pt x="2917" y="0"/>
                      </a:lnTo>
                      <a:lnTo>
                        <a:pt x="74661" y="234298"/>
                      </a:lnTo>
                      <a:lnTo>
                        <a:pt x="71745" y="235191"/>
                      </a:lnTo>
                      <a:close/>
                    </a:path>
                  </a:pathLst>
                </a:custGeom>
                <a:grpFill/>
                <a:ln w="5978" cap="flat">
                  <a:noFill/>
                  <a:prstDash val="solid"/>
                  <a:miter/>
                </a:ln>
              </p:spPr>
              <p:txBody>
                <a:bodyPr rtlCol="0" anchor="ctr"/>
                <a:lstStyle/>
                <a:p>
                  <a:endParaRPr lang="en-GB"/>
                </a:p>
              </p:txBody>
            </p:sp>
            <p:sp>
              <p:nvSpPr>
                <p:cNvPr id="3318" name="Vrije vorm: vorm 3317">
                  <a:extLst>
                    <a:ext uri="{FF2B5EF4-FFF2-40B4-BE49-F238E27FC236}">
                      <a16:creationId xmlns:a16="http://schemas.microsoft.com/office/drawing/2014/main" id="{286B440A-4073-4DAC-88F8-5ED49FE9014C}"/>
                    </a:ext>
                  </a:extLst>
                </p:cNvPr>
                <p:cNvSpPr/>
                <p:nvPr/>
              </p:nvSpPr>
              <p:spPr>
                <a:xfrm>
                  <a:off x="6658841" y="5409195"/>
                  <a:ext cx="18349" cy="18457"/>
                </a:xfrm>
                <a:custGeom>
                  <a:avLst/>
                  <a:gdLst>
                    <a:gd name="connsiteX0" fmla="*/ 17936 w 18349"/>
                    <a:gd name="connsiteY0" fmla="*/ 6567 h 18457"/>
                    <a:gd name="connsiteX1" fmla="*/ 11896 w 18349"/>
                    <a:gd name="connsiteY1" fmla="*/ 18050 h 18457"/>
                    <a:gd name="connsiteX2" fmla="*/ 413 w 18349"/>
                    <a:gd name="connsiteY2" fmla="*/ 11890 h 18457"/>
                    <a:gd name="connsiteX3" fmla="*/ 6453 w 18349"/>
                    <a:gd name="connsiteY3" fmla="*/ 407 h 18457"/>
                    <a:gd name="connsiteX4" fmla="*/ 17936 w 18349"/>
                    <a:gd name="connsiteY4" fmla="*/ 6567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7">
                      <a:moveTo>
                        <a:pt x="17936" y="6567"/>
                      </a:moveTo>
                      <a:cubicBezTo>
                        <a:pt x="19432" y="11412"/>
                        <a:pt x="16740" y="16555"/>
                        <a:pt x="11896" y="18050"/>
                      </a:cubicBezTo>
                      <a:cubicBezTo>
                        <a:pt x="7051" y="19545"/>
                        <a:pt x="1908" y="16794"/>
                        <a:pt x="413" y="11890"/>
                      </a:cubicBezTo>
                      <a:cubicBezTo>
                        <a:pt x="-1082" y="7046"/>
                        <a:pt x="1609" y="1902"/>
                        <a:pt x="6453" y="407"/>
                      </a:cubicBezTo>
                      <a:cubicBezTo>
                        <a:pt x="11358" y="-1088"/>
                        <a:pt x="16441" y="1663"/>
                        <a:pt x="17936" y="6567"/>
                      </a:cubicBezTo>
                      <a:close/>
                    </a:path>
                  </a:pathLst>
                </a:custGeom>
                <a:grpFill/>
                <a:ln w="5978" cap="flat">
                  <a:noFill/>
                  <a:prstDash val="solid"/>
                  <a:miter/>
                </a:ln>
              </p:spPr>
              <p:txBody>
                <a:bodyPr rtlCol="0" anchor="ctr"/>
                <a:lstStyle/>
                <a:p>
                  <a:endParaRPr lang="en-GB"/>
                </a:p>
              </p:txBody>
            </p:sp>
            <p:sp>
              <p:nvSpPr>
                <p:cNvPr id="3319" name="Vrije vorm: vorm 3318">
                  <a:extLst>
                    <a:ext uri="{FF2B5EF4-FFF2-40B4-BE49-F238E27FC236}">
                      <a16:creationId xmlns:a16="http://schemas.microsoft.com/office/drawing/2014/main" id="{7A491EA0-0146-4C3F-BB47-420D85B484E6}"/>
                    </a:ext>
                  </a:extLst>
                </p:cNvPr>
                <p:cNvSpPr/>
                <p:nvPr/>
              </p:nvSpPr>
              <p:spPr>
                <a:xfrm>
                  <a:off x="6587372" y="5175795"/>
                  <a:ext cx="18349" cy="18403"/>
                </a:xfrm>
                <a:custGeom>
                  <a:avLst/>
                  <a:gdLst>
                    <a:gd name="connsiteX0" fmla="*/ 17936 w 18349"/>
                    <a:gd name="connsiteY0" fmla="*/ 6540 h 18403"/>
                    <a:gd name="connsiteX1" fmla="*/ 6453 w 18349"/>
                    <a:gd name="connsiteY1" fmla="*/ 380 h 18403"/>
                    <a:gd name="connsiteX2" fmla="*/ 413 w 18349"/>
                    <a:gd name="connsiteY2" fmla="*/ 11863 h 18403"/>
                    <a:gd name="connsiteX3" fmla="*/ 11896 w 18349"/>
                    <a:gd name="connsiteY3" fmla="*/ 18024 h 18403"/>
                    <a:gd name="connsiteX4" fmla="*/ 17936 w 18349"/>
                    <a:gd name="connsiteY4" fmla="*/ 654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3">
                      <a:moveTo>
                        <a:pt x="17936" y="6540"/>
                      </a:moveTo>
                      <a:cubicBezTo>
                        <a:pt x="16441" y="1696"/>
                        <a:pt x="11298" y="-1055"/>
                        <a:pt x="6453" y="380"/>
                      </a:cubicBezTo>
                      <a:cubicBezTo>
                        <a:pt x="1609" y="1876"/>
                        <a:pt x="-1082" y="7019"/>
                        <a:pt x="413" y="11863"/>
                      </a:cubicBezTo>
                      <a:cubicBezTo>
                        <a:pt x="1908" y="16708"/>
                        <a:pt x="7051" y="19459"/>
                        <a:pt x="11896" y="18024"/>
                      </a:cubicBezTo>
                      <a:cubicBezTo>
                        <a:pt x="16741" y="16588"/>
                        <a:pt x="19432" y="11445"/>
                        <a:pt x="17936" y="6540"/>
                      </a:cubicBezTo>
                      <a:close/>
                    </a:path>
                  </a:pathLst>
                </a:custGeom>
                <a:grpFill/>
                <a:ln w="5978" cap="flat">
                  <a:noFill/>
                  <a:prstDash val="solid"/>
                  <a:miter/>
                </a:ln>
              </p:spPr>
              <p:txBody>
                <a:bodyPr rtlCol="0" anchor="ctr"/>
                <a:lstStyle/>
                <a:p>
                  <a:endParaRPr lang="en-GB"/>
                </a:p>
              </p:txBody>
            </p:sp>
          </p:grpSp>
          <p:grpSp>
            <p:nvGrpSpPr>
              <p:cNvPr id="692" name="Graphic 3">
                <a:extLst>
                  <a:ext uri="{FF2B5EF4-FFF2-40B4-BE49-F238E27FC236}">
                    <a16:creationId xmlns:a16="http://schemas.microsoft.com/office/drawing/2014/main" id="{52C8D11C-D1E1-4459-8F10-1C858596AE5D}"/>
                  </a:ext>
                </a:extLst>
              </p:cNvPr>
              <p:cNvGrpSpPr/>
              <p:nvPr/>
            </p:nvGrpSpPr>
            <p:grpSpPr>
              <a:xfrm>
                <a:off x="5318087" y="1374599"/>
                <a:ext cx="144654" cy="461033"/>
                <a:chOff x="5318087" y="1374599"/>
                <a:chExt cx="144654" cy="461033"/>
              </a:xfrm>
              <a:grpFill/>
            </p:grpSpPr>
            <p:sp>
              <p:nvSpPr>
                <p:cNvPr id="3314" name="Vrije vorm: vorm 3313">
                  <a:extLst>
                    <a:ext uri="{FF2B5EF4-FFF2-40B4-BE49-F238E27FC236}">
                      <a16:creationId xmlns:a16="http://schemas.microsoft.com/office/drawing/2014/main" id="{49216B3A-74EA-4814-A02B-403D864ADA1C}"/>
                    </a:ext>
                  </a:extLst>
                </p:cNvPr>
                <p:cNvSpPr/>
                <p:nvPr/>
              </p:nvSpPr>
              <p:spPr>
                <a:xfrm>
                  <a:off x="5325617" y="1383081"/>
                  <a:ext cx="129479" cy="444301"/>
                </a:xfrm>
                <a:custGeom>
                  <a:avLst/>
                  <a:gdLst>
                    <a:gd name="connsiteX0" fmla="*/ 0 w 129479"/>
                    <a:gd name="connsiteY0" fmla="*/ 837 h 444301"/>
                    <a:gd name="connsiteX1" fmla="*/ 2933 w 129479"/>
                    <a:gd name="connsiteY1" fmla="*/ 0 h 444301"/>
                    <a:gd name="connsiteX2" fmla="*/ 129479 w 129479"/>
                    <a:gd name="connsiteY2" fmla="*/ 443464 h 444301"/>
                    <a:gd name="connsiteX3" fmla="*/ 126546 w 129479"/>
                    <a:gd name="connsiteY3" fmla="*/ 444301 h 444301"/>
                  </a:gdLst>
                  <a:ahLst/>
                  <a:cxnLst>
                    <a:cxn ang="0">
                      <a:pos x="connsiteX0" y="connsiteY0"/>
                    </a:cxn>
                    <a:cxn ang="0">
                      <a:pos x="connsiteX1" y="connsiteY1"/>
                    </a:cxn>
                    <a:cxn ang="0">
                      <a:pos x="connsiteX2" y="connsiteY2"/>
                    </a:cxn>
                    <a:cxn ang="0">
                      <a:pos x="connsiteX3" y="connsiteY3"/>
                    </a:cxn>
                  </a:cxnLst>
                  <a:rect l="l" t="t" r="r" b="b"/>
                  <a:pathLst>
                    <a:path w="129479" h="444301">
                      <a:moveTo>
                        <a:pt x="0" y="837"/>
                      </a:moveTo>
                      <a:lnTo>
                        <a:pt x="2933" y="0"/>
                      </a:lnTo>
                      <a:lnTo>
                        <a:pt x="129479" y="443464"/>
                      </a:lnTo>
                      <a:lnTo>
                        <a:pt x="126546" y="444301"/>
                      </a:lnTo>
                      <a:close/>
                    </a:path>
                  </a:pathLst>
                </a:custGeom>
                <a:grpFill/>
                <a:ln w="5978" cap="flat">
                  <a:noFill/>
                  <a:prstDash val="solid"/>
                  <a:miter/>
                </a:ln>
              </p:spPr>
              <p:txBody>
                <a:bodyPr rtlCol="0" anchor="ctr"/>
                <a:lstStyle/>
                <a:p>
                  <a:endParaRPr lang="en-GB"/>
                </a:p>
              </p:txBody>
            </p:sp>
            <p:sp>
              <p:nvSpPr>
                <p:cNvPr id="3315" name="Vrije vorm: vorm 3314">
                  <a:extLst>
                    <a:ext uri="{FF2B5EF4-FFF2-40B4-BE49-F238E27FC236}">
                      <a16:creationId xmlns:a16="http://schemas.microsoft.com/office/drawing/2014/main" id="{442331E5-F66B-4E64-B21C-F8B759B07963}"/>
                    </a:ext>
                  </a:extLst>
                </p:cNvPr>
                <p:cNvSpPr/>
                <p:nvPr/>
              </p:nvSpPr>
              <p:spPr>
                <a:xfrm>
                  <a:off x="5444400" y="1817211"/>
                  <a:ext cx="18341" cy="18421"/>
                </a:xfrm>
                <a:custGeom>
                  <a:avLst/>
                  <a:gdLst>
                    <a:gd name="connsiteX0" fmla="*/ 17992 w 18341"/>
                    <a:gd name="connsiteY0" fmla="*/ 6710 h 18421"/>
                    <a:gd name="connsiteX1" fmla="*/ 11713 w 18341"/>
                    <a:gd name="connsiteY1" fmla="*/ 18073 h 18421"/>
                    <a:gd name="connsiteX2" fmla="*/ 349 w 18341"/>
                    <a:gd name="connsiteY2" fmla="*/ 11734 h 18421"/>
                    <a:gd name="connsiteX3" fmla="*/ 6629 w 18341"/>
                    <a:gd name="connsiteY3" fmla="*/ 370 h 18421"/>
                    <a:gd name="connsiteX4" fmla="*/ 17992 w 18341"/>
                    <a:gd name="connsiteY4" fmla="*/ 67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1">
                      <a:moveTo>
                        <a:pt x="17992" y="6710"/>
                      </a:moveTo>
                      <a:cubicBezTo>
                        <a:pt x="19368" y="11614"/>
                        <a:pt x="16557" y="16698"/>
                        <a:pt x="11713" y="18073"/>
                      </a:cubicBezTo>
                      <a:cubicBezTo>
                        <a:pt x="6868" y="19449"/>
                        <a:pt x="1784" y="16638"/>
                        <a:pt x="349" y="11734"/>
                      </a:cubicBezTo>
                      <a:cubicBezTo>
                        <a:pt x="-1026" y="6829"/>
                        <a:pt x="1784" y="1746"/>
                        <a:pt x="6629" y="370"/>
                      </a:cubicBezTo>
                      <a:cubicBezTo>
                        <a:pt x="11533" y="-1065"/>
                        <a:pt x="16617" y="1806"/>
                        <a:pt x="17992" y="6710"/>
                      </a:cubicBezTo>
                      <a:close/>
                    </a:path>
                  </a:pathLst>
                </a:custGeom>
                <a:grpFill/>
                <a:ln w="5978" cap="flat">
                  <a:noFill/>
                  <a:prstDash val="solid"/>
                  <a:miter/>
                </a:ln>
              </p:spPr>
              <p:txBody>
                <a:bodyPr rtlCol="0" anchor="ctr"/>
                <a:lstStyle/>
                <a:p>
                  <a:endParaRPr lang="en-GB"/>
                </a:p>
              </p:txBody>
            </p:sp>
            <p:sp>
              <p:nvSpPr>
                <p:cNvPr id="3316" name="Vrije vorm: vorm 3315">
                  <a:extLst>
                    <a:ext uri="{FF2B5EF4-FFF2-40B4-BE49-F238E27FC236}">
                      <a16:creationId xmlns:a16="http://schemas.microsoft.com/office/drawing/2014/main" id="{E3080626-C7BD-4BCC-B251-A2F1E9E92E9D}"/>
                    </a:ext>
                  </a:extLst>
                </p:cNvPr>
                <p:cNvSpPr/>
                <p:nvPr/>
              </p:nvSpPr>
              <p:spPr>
                <a:xfrm>
                  <a:off x="5318087" y="1374599"/>
                  <a:ext cx="18341" cy="18400"/>
                </a:xfrm>
                <a:custGeom>
                  <a:avLst/>
                  <a:gdLst>
                    <a:gd name="connsiteX0" fmla="*/ 17992 w 18341"/>
                    <a:gd name="connsiteY0" fmla="*/ 6688 h 18400"/>
                    <a:gd name="connsiteX1" fmla="*/ 6629 w 18341"/>
                    <a:gd name="connsiteY1" fmla="*/ 349 h 18400"/>
                    <a:gd name="connsiteX2" fmla="*/ 349 w 18341"/>
                    <a:gd name="connsiteY2" fmla="*/ 11712 h 18400"/>
                    <a:gd name="connsiteX3" fmla="*/ 11713 w 18341"/>
                    <a:gd name="connsiteY3" fmla="*/ 18052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6617" y="1784"/>
                        <a:pt x="11533" y="-1027"/>
                        <a:pt x="6629" y="349"/>
                      </a:cubicBezTo>
                      <a:cubicBezTo>
                        <a:pt x="1784" y="1724"/>
                        <a:pt x="-1026" y="6808"/>
                        <a:pt x="349" y="11712"/>
                      </a:cubicBezTo>
                      <a:cubicBezTo>
                        <a:pt x="1725" y="16616"/>
                        <a:pt x="6808" y="19427"/>
                        <a:pt x="11713" y="18052"/>
                      </a:cubicBezTo>
                      <a:cubicBezTo>
                        <a:pt x="16557" y="16676"/>
                        <a:pt x="19368" y="11593"/>
                        <a:pt x="17992" y="6688"/>
                      </a:cubicBezTo>
                      <a:close/>
                    </a:path>
                  </a:pathLst>
                </a:custGeom>
                <a:grpFill/>
                <a:ln w="5978" cap="flat">
                  <a:noFill/>
                  <a:prstDash val="solid"/>
                  <a:miter/>
                </a:ln>
              </p:spPr>
              <p:txBody>
                <a:bodyPr rtlCol="0" anchor="ctr"/>
                <a:lstStyle/>
                <a:p>
                  <a:endParaRPr lang="en-GB"/>
                </a:p>
              </p:txBody>
            </p:sp>
          </p:grpSp>
          <p:grpSp>
            <p:nvGrpSpPr>
              <p:cNvPr id="693" name="Graphic 3">
                <a:extLst>
                  <a:ext uri="{FF2B5EF4-FFF2-40B4-BE49-F238E27FC236}">
                    <a16:creationId xmlns:a16="http://schemas.microsoft.com/office/drawing/2014/main" id="{24840B4D-9D46-46D4-A763-EE0A1C4FAADD}"/>
                  </a:ext>
                </a:extLst>
              </p:cNvPr>
              <p:cNvGrpSpPr/>
              <p:nvPr/>
            </p:nvGrpSpPr>
            <p:grpSpPr>
              <a:xfrm>
                <a:off x="5420050" y="1754966"/>
                <a:ext cx="41981" cy="80914"/>
                <a:chOff x="5420050" y="1754966"/>
                <a:chExt cx="41981" cy="80914"/>
              </a:xfrm>
              <a:grpFill/>
            </p:grpSpPr>
            <p:sp>
              <p:nvSpPr>
                <p:cNvPr id="3311" name="Vrije vorm: vorm 3310">
                  <a:extLst>
                    <a:ext uri="{FF2B5EF4-FFF2-40B4-BE49-F238E27FC236}">
                      <a16:creationId xmlns:a16="http://schemas.microsoft.com/office/drawing/2014/main" id="{4651CB34-4C51-49C8-A38D-FE7A360A4614}"/>
                    </a:ext>
                  </a:extLst>
                </p:cNvPr>
                <p:cNvSpPr/>
                <p:nvPr/>
              </p:nvSpPr>
              <p:spPr>
                <a:xfrm>
                  <a:off x="5427584" y="1763157"/>
                  <a:ext cx="26853" cy="64472"/>
                </a:xfrm>
                <a:custGeom>
                  <a:avLst/>
                  <a:gdLst>
                    <a:gd name="connsiteX0" fmla="*/ 26853 w 26853"/>
                    <a:gd name="connsiteY0" fmla="*/ 63396 h 64472"/>
                    <a:gd name="connsiteX1" fmla="*/ 23983 w 26853"/>
                    <a:gd name="connsiteY1" fmla="*/ 64472 h 64472"/>
                    <a:gd name="connsiteX2" fmla="*/ 0 w 26853"/>
                    <a:gd name="connsiteY2" fmla="*/ 1076 h 64472"/>
                    <a:gd name="connsiteX3" fmla="*/ 2871 w 26853"/>
                    <a:gd name="connsiteY3" fmla="*/ 0 h 64472"/>
                  </a:gdLst>
                  <a:ahLst/>
                  <a:cxnLst>
                    <a:cxn ang="0">
                      <a:pos x="connsiteX0" y="connsiteY0"/>
                    </a:cxn>
                    <a:cxn ang="0">
                      <a:pos x="connsiteX1" y="connsiteY1"/>
                    </a:cxn>
                    <a:cxn ang="0">
                      <a:pos x="connsiteX2" y="connsiteY2"/>
                    </a:cxn>
                    <a:cxn ang="0">
                      <a:pos x="connsiteX3" y="connsiteY3"/>
                    </a:cxn>
                  </a:cxnLst>
                  <a:rect l="l" t="t" r="r" b="b"/>
                  <a:pathLst>
                    <a:path w="26853" h="64472">
                      <a:moveTo>
                        <a:pt x="26853" y="63396"/>
                      </a:moveTo>
                      <a:lnTo>
                        <a:pt x="23983" y="64472"/>
                      </a:lnTo>
                      <a:lnTo>
                        <a:pt x="0" y="1076"/>
                      </a:lnTo>
                      <a:lnTo>
                        <a:pt x="2871" y="0"/>
                      </a:lnTo>
                      <a:close/>
                    </a:path>
                  </a:pathLst>
                </a:custGeom>
                <a:grpFill/>
                <a:ln w="5978" cap="flat">
                  <a:noFill/>
                  <a:prstDash val="solid"/>
                  <a:miter/>
                </a:ln>
              </p:spPr>
              <p:txBody>
                <a:bodyPr rtlCol="0" anchor="ctr"/>
                <a:lstStyle/>
                <a:p>
                  <a:endParaRPr lang="en-GB"/>
                </a:p>
              </p:txBody>
            </p:sp>
            <p:sp>
              <p:nvSpPr>
                <p:cNvPr id="3312" name="Vrije vorm: vorm 3311">
                  <a:extLst>
                    <a:ext uri="{FF2B5EF4-FFF2-40B4-BE49-F238E27FC236}">
                      <a16:creationId xmlns:a16="http://schemas.microsoft.com/office/drawing/2014/main" id="{BFF12721-E49E-4354-9F84-2E1806A18B8F}"/>
                    </a:ext>
                  </a:extLst>
                </p:cNvPr>
                <p:cNvSpPr/>
                <p:nvPr/>
              </p:nvSpPr>
              <p:spPr>
                <a:xfrm>
                  <a:off x="5420050" y="1754966"/>
                  <a:ext cx="18357" cy="18408"/>
                </a:xfrm>
                <a:custGeom>
                  <a:avLst/>
                  <a:gdLst>
                    <a:gd name="connsiteX0" fmla="*/ 597 w 18357"/>
                    <a:gd name="connsiteY0" fmla="*/ 12438 h 18408"/>
                    <a:gd name="connsiteX1" fmla="*/ 5919 w 18357"/>
                    <a:gd name="connsiteY1" fmla="*/ 596 h 18408"/>
                    <a:gd name="connsiteX2" fmla="*/ 17761 w 18357"/>
                    <a:gd name="connsiteY2" fmla="*/ 5978 h 18408"/>
                    <a:gd name="connsiteX3" fmla="*/ 12438 w 18357"/>
                    <a:gd name="connsiteY3" fmla="*/ 17820 h 18408"/>
                    <a:gd name="connsiteX4" fmla="*/ 597 w 18357"/>
                    <a:gd name="connsiteY4" fmla="*/ 12438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08">
                      <a:moveTo>
                        <a:pt x="597" y="12438"/>
                      </a:moveTo>
                      <a:cubicBezTo>
                        <a:pt x="-1198" y="7653"/>
                        <a:pt x="1194" y="2390"/>
                        <a:pt x="5919" y="596"/>
                      </a:cubicBezTo>
                      <a:cubicBezTo>
                        <a:pt x="10644" y="-1199"/>
                        <a:pt x="15967" y="1194"/>
                        <a:pt x="17761" y="5978"/>
                      </a:cubicBezTo>
                      <a:cubicBezTo>
                        <a:pt x="19555" y="10763"/>
                        <a:pt x="17163" y="16026"/>
                        <a:pt x="12438" y="17820"/>
                      </a:cubicBezTo>
                      <a:cubicBezTo>
                        <a:pt x="7654" y="19614"/>
                        <a:pt x="2391" y="17162"/>
                        <a:pt x="597" y="12438"/>
                      </a:cubicBezTo>
                      <a:close/>
                    </a:path>
                  </a:pathLst>
                </a:custGeom>
                <a:grpFill/>
                <a:ln w="5978" cap="flat">
                  <a:noFill/>
                  <a:prstDash val="solid"/>
                  <a:miter/>
                </a:ln>
              </p:spPr>
              <p:txBody>
                <a:bodyPr rtlCol="0" anchor="ctr"/>
                <a:lstStyle/>
                <a:p>
                  <a:endParaRPr lang="en-GB"/>
                </a:p>
              </p:txBody>
            </p:sp>
            <p:sp>
              <p:nvSpPr>
                <p:cNvPr id="3313" name="Vrije vorm: vorm 3312">
                  <a:extLst>
                    <a:ext uri="{FF2B5EF4-FFF2-40B4-BE49-F238E27FC236}">
                      <a16:creationId xmlns:a16="http://schemas.microsoft.com/office/drawing/2014/main" id="{EF86CD90-D378-43C5-89D1-5AFEA037AB93}"/>
                    </a:ext>
                  </a:extLst>
                </p:cNvPr>
                <p:cNvSpPr/>
                <p:nvPr/>
              </p:nvSpPr>
              <p:spPr>
                <a:xfrm>
                  <a:off x="5443674" y="1817464"/>
                  <a:ext cx="18357" cy="18415"/>
                </a:xfrm>
                <a:custGeom>
                  <a:avLst/>
                  <a:gdLst>
                    <a:gd name="connsiteX0" fmla="*/ 596 w 18357"/>
                    <a:gd name="connsiteY0" fmla="*/ 12438 h 18415"/>
                    <a:gd name="connsiteX1" fmla="*/ 12438 w 18357"/>
                    <a:gd name="connsiteY1" fmla="*/ 17820 h 18415"/>
                    <a:gd name="connsiteX2" fmla="*/ 17761 w 18357"/>
                    <a:gd name="connsiteY2" fmla="*/ 5978 h 18415"/>
                    <a:gd name="connsiteX3" fmla="*/ 5919 w 18357"/>
                    <a:gd name="connsiteY3" fmla="*/ 596 h 18415"/>
                    <a:gd name="connsiteX4" fmla="*/ 596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6" y="12438"/>
                      </a:moveTo>
                      <a:cubicBezTo>
                        <a:pt x="2391" y="17222"/>
                        <a:pt x="7713" y="19614"/>
                        <a:pt x="12438" y="17820"/>
                      </a:cubicBezTo>
                      <a:cubicBezTo>
                        <a:pt x="17163" y="16026"/>
                        <a:pt x="19555" y="10703"/>
                        <a:pt x="17761" y="5978"/>
                      </a:cubicBezTo>
                      <a:cubicBezTo>
                        <a:pt x="15967" y="1194"/>
                        <a:pt x="10644" y="-1199"/>
                        <a:pt x="5919" y="596"/>
                      </a:cubicBezTo>
                      <a:cubicBezTo>
                        <a:pt x="1195" y="2330"/>
                        <a:pt x="-1198" y="7653"/>
                        <a:pt x="596" y="12438"/>
                      </a:cubicBezTo>
                      <a:close/>
                    </a:path>
                  </a:pathLst>
                </a:custGeom>
                <a:grpFill/>
                <a:ln w="5978" cap="flat">
                  <a:noFill/>
                  <a:prstDash val="solid"/>
                  <a:miter/>
                </a:ln>
              </p:spPr>
              <p:txBody>
                <a:bodyPr rtlCol="0" anchor="ctr"/>
                <a:lstStyle/>
                <a:p>
                  <a:endParaRPr lang="en-GB"/>
                </a:p>
              </p:txBody>
            </p:sp>
          </p:grpSp>
          <p:grpSp>
            <p:nvGrpSpPr>
              <p:cNvPr id="694" name="Graphic 3">
                <a:extLst>
                  <a:ext uri="{FF2B5EF4-FFF2-40B4-BE49-F238E27FC236}">
                    <a16:creationId xmlns:a16="http://schemas.microsoft.com/office/drawing/2014/main" id="{054C5D6E-ACFD-4F08-B7E8-EE98F970A800}"/>
                  </a:ext>
                </a:extLst>
              </p:cNvPr>
              <p:cNvGrpSpPr/>
              <p:nvPr/>
            </p:nvGrpSpPr>
            <p:grpSpPr>
              <a:xfrm>
                <a:off x="5349657" y="1569085"/>
                <a:ext cx="82171" cy="187012"/>
                <a:chOff x="5349657" y="1569085"/>
                <a:chExt cx="82171" cy="187012"/>
              </a:xfrm>
              <a:grpFill/>
            </p:grpSpPr>
            <p:sp>
              <p:nvSpPr>
                <p:cNvPr id="3308" name="Vrije vorm: vorm 3307">
                  <a:extLst>
                    <a:ext uri="{FF2B5EF4-FFF2-40B4-BE49-F238E27FC236}">
                      <a16:creationId xmlns:a16="http://schemas.microsoft.com/office/drawing/2014/main" id="{CE2130D8-48F7-4F79-870A-57A84EA387EF}"/>
                    </a:ext>
                  </a:extLst>
                </p:cNvPr>
                <p:cNvSpPr/>
                <p:nvPr/>
              </p:nvSpPr>
              <p:spPr>
                <a:xfrm>
                  <a:off x="5357191" y="1577276"/>
                  <a:ext cx="67044" cy="170570"/>
                </a:xfrm>
                <a:custGeom>
                  <a:avLst/>
                  <a:gdLst>
                    <a:gd name="connsiteX0" fmla="*/ 67044 w 67044"/>
                    <a:gd name="connsiteY0" fmla="*/ 169494 h 170570"/>
                    <a:gd name="connsiteX1" fmla="*/ 64173 w 67044"/>
                    <a:gd name="connsiteY1" fmla="*/ 170570 h 170570"/>
                    <a:gd name="connsiteX2" fmla="*/ 0 w 67044"/>
                    <a:gd name="connsiteY2" fmla="*/ 1076 h 170570"/>
                    <a:gd name="connsiteX3" fmla="*/ 2871 w 67044"/>
                    <a:gd name="connsiteY3" fmla="*/ 0 h 170570"/>
                  </a:gdLst>
                  <a:ahLst/>
                  <a:cxnLst>
                    <a:cxn ang="0">
                      <a:pos x="connsiteX0" y="connsiteY0"/>
                    </a:cxn>
                    <a:cxn ang="0">
                      <a:pos x="connsiteX1" y="connsiteY1"/>
                    </a:cxn>
                    <a:cxn ang="0">
                      <a:pos x="connsiteX2" y="connsiteY2"/>
                    </a:cxn>
                    <a:cxn ang="0">
                      <a:pos x="connsiteX3" y="connsiteY3"/>
                    </a:cxn>
                  </a:cxnLst>
                  <a:rect l="l" t="t" r="r" b="b"/>
                  <a:pathLst>
                    <a:path w="67044" h="170570">
                      <a:moveTo>
                        <a:pt x="67044" y="169494"/>
                      </a:moveTo>
                      <a:lnTo>
                        <a:pt x="64173" y="170570"/>
                      </a:lnTo>
                      <a:lnTo>
                        <a:pt x="0" y="1076"/>
                      </a:lnTo>
                      <a:lnTo>
                        <a:pt x="2871" y="0"/>
                      </a:lnTo>
                      <a:close/>
                    </a:path>
                  </a:pathLst>
                </a:custGeom>
                <a:grpFill/>
                <a:ln w="5978" cap="flat">
                  <a:noFill/>
                  <a:prstDash val="solid"/>
                  <a:miter/>
                </a:ln>
              </p:spPr>
              <p:txBody>
                <a:bodyPr rtlCol="0" anchor="ctr"/>
                <a:lstStyle/>
                <a:p>
                  <a:endParaRPr lang="en-GB"/>
                </a:p>
              </p:txBody>
            </p:sp>
            <p:sp>
              <p:nvSpPr>
                <p:cNvPr id="3309" name="Vrije vorm: vorm 3308">
                  <a:extLst>
                    <a:ext uri="{FF2B5EF4-FFF2-40B4-BE49-F238E27FC236}">
                      <a16:creationId xmlns:a16="http://schemas.microsoft.com/office/drawing/2014/main" id="{3CF23C2E-ADBB-4393-A1FB-C34A15A319A9}"/>
                    </a:ext>
                  </a:extLst>
                </p:cNvPr>
                <p:cNvSpPr/>
                <p:nvPr/>
              </p:nvSpPr>
              <p:spPr>
                <a:xfrm>
                  <a:off x="5349657" y="1569085"/>
                  <a:ext cx="18357" cy="18408"/>
                </a:xfrm>
                <a:custGeom>
                  <a:avLst/>
                  <a:gdLst>
                    <a:gd name="connsiteX0" fmla="*/ 596 w 18357"/>
                    <a:gd name="connsiteY0" fmla="*/ 12438 h 18408"/>
                    <a:gd name="connsiteX1" fmla="*/ 5919 w 18357"/>
                    <a:gd name="connsiteY1" fmla="*/ 596 h 18408"/>
                    <a:gd name="connsiteX2" fmla="*/ 17761 w 18357"/>
                    <a:gd name="connsiteY2" fmla="*/ 5978 h 18408"/>
                    <a:gd name="connsiteX3" fmla="*/ 12438 w 18357"/>
                    <a:gd name="connsiteY3" fmla="*/ 17820 h 18408"/>
                    <a:gd name="connsiteX4" fmla="*/ 596 w 18357"/>
                    <a:gd name="connsiteY4" fmla="*/ 12438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08">
                      <a:moveTo>
                        <a:pt x="596" y="12438"/>
                      </a:moveTo>
                      <a:cubicBezTo>
                        <a:pt x="-1198" y="7653"/>
                        <a:pt x="1194" y="2390"/>
                        <a:pt x="5919" y="596"/>
                      </a:cubicBezTo>
                      <a:cubicBezTo>
                        <a:pt x="10644" y="-1199"/>
                        <a:pt x="15967" y="1194"/>
                        <a:pt x="17761" y="5978"/>
                      </a:cubicBezTo>
                      <a:cubicBezTo>
                        <a:pt x="19555" y="10763"/>
                        <a:pt x="17163" y="16026"/>
                        <a:pt x="12438" y="17820"/>
                      </a:cubicBezTo>
                      <a:cubicBezTo>
                        <a:pt x="7654" y="19614"/>
                        <a:pt x="2391" y="17162"/>
                        <a:pt x="596" y="12438"/>
                      </a:cubicBezTo>
                      <a:close/>
                    </a:path>
                  </a:pathLst>
                </a:custGeom>
                <a:grpFill/>
                <a:ln w="5978" cap="flat">
                  <a:noFill/>
                  <a:prstDash val="solid"/>
                  <a:miter/>
                </a:ln>
              </p:spPr>
              <p:txBody>
                <a:bodyPr rtlCol="0" anchor="ctr"/>
                <a:lstStyle/>
                <a:p>
                  <a:endParaRPr lang="en-GB"/>
                </a:p>
              </p:txBody>
            </p:sp>
            <p:sp>
              <p:nvSpPr>
                <p:cNvPr id="3310" name="Vrije vorm: vorm 3309">
                  <a:extLst>
                    <a:ext uri="{FF2B5EF4-FFF2-40B4-BE49-F238E27FC236}">
                      <a16:creationId xmlns:a16="http://schemas.microsoft.com/office/drawing/2014/main" id="{26E2CC82-8745-438D-AF00-8E75FDB36F03}"/>
                    </a:ext>
                  </a:extLst>
                </p:cNvPr>
                <p:cNvSpPr/>
                <p:nvPr/>
              </p:nvSpPr>
              <p:spPr>
                <a:xfrm>
                  <a:off x="5413472" y="1737681"/>
                  <a:ext cx="18357" cy="18415"/>
                </a:xfrm>
                <a:custGeom>
                  <a:avLst/>
                  <a:gdLst>
                    <a:gd name="connsiteX0" fmla="*/ 596 w 18357"/>
                    <a:gd name="connsiteY0" fmla="*/ 12438 h 18415"/>
                    <a:gd name="connsiteX1" fmla="*/ 12438 w 18357"/>
                    <a:gd name="connsiteY1" fmla="*/ 17820 h 18415"/>
                    <a:gd name="connsiteX2" fmla="*/ 17761 w 18357"/>
                    <a:gd name="connsiteY2" fmla="*/ 5978 h 18415"/>
                    <a:gd name="connsiteX3" fmla="*/ 5919 w 18357"/>
                    <a:gd name="connsiteY3" fmla="*/ 596 h 18415"/>
                    <a:gd name="connsiteX4" fmla="*/ 596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6" y="12438"/>
                      </a:moveTo>
                      <a:cubicBezTo>
                        <a:pt x="2390" y="17222"/>
                        <a:pt x="7713" y="19614"/>
                        <a:pt x="12438" y="17820"/>
                      </a:cubicBezTo>
                      <a:cubicBezTo>
                        <a:pt x="17163" y="16026"/>
                        <a:pt x="19555" y="10703"/>
                        <a:pt x="17761" y="5978"/>
                      </a:cubicBezTo>
                      <a:cubicBezTo>
                        <a:pt x="15967" y="1194"/>
                        <a:pt x="10644" y="-1199"/>
                        <a:pt x="5919" y="596"/>
                      </a:cubicBezTo>
                      <a:cubicBezTo>
                        <a:pt x="1195" y="2390"/>
                        <a:pt x="-1198" y="7713"/>
                        <a:pt x="596" y="12438"/>
                      </a:cubicBezTo>
                      <a:close/>
                    </a:path>
                  </a:pathLst>
                </a:custGeom>
                <a:grpFill/>
                <a:ln w="5978" cap="flat">
                  <a:noFill/>
                  <a:prstDash val="solid"/>
                  <a:miter/>
                </a:ln>
              </p:spPr>
              <p:txBody>
                <a:bodyPr rtlCol="0" anchor="ctr"/>
                <a:lstStyle/>
                <a:p>
                  <a:endParaRPr lang="en-GB"/>
                </a:p>
              </p:txBody>
            </p:sp>
          </p:grpSp>
          <p:grpSp>
            <p:nvGrpSpPr>
              <p:cNvPr id="695" name="Graphic 3">
                <a:extLst>
                  <a:ext uri="{FF2B5EF4-FFF2-40B4-BE49-F238E27FC236}">
                    <a16:creationId xmlns:a16="http://schemas.microsoft.com/office/drawing/2014/main" id="{2F0D2811-59AB-4633-9061-AE692CECD7FE}"/>
                  </a:ext>
                </a:extLst>
              </p:cNvPr>
              <p:cNvGrpSpPr/>
              <p:nvPr/>
            </p:nvGrpSpPr>
            <p:grpSpPr>
              <a:xfrm>
                <a:off x="6539307" y="5021363"/>
                <a:ext cx="122394" cy="490898"/>
                <a:chOff x="6539307" y="5021363"/>
                <a:chExt cx="122394" cy="490898"/>
              </a:xfrm>
              <a:grpFill/>
            </p:grpSpPr>
            <p:sp>
              <p:nvSpPr>
                <p:cNvPr id="3305" name="Vrije vorm: vorm 3304">
                  <a:extLst>
                    <a:ext uri="{FF2B5EF4-FFF2-40B4-BE49-F238E27FC236}">
                      <a16:creationId xmlns:a16="http://schemas.microsoft.com/office/drawing/2014/main" id="{693963B7-9FEF-4A2D-8E8E-025BD02BC4B1}"/>
                    </a:ext>
                  </a:extLst>
                </p:cNvPr>
                <p:cNvSpPr/>
                <p:nvPr/>
              </p:nvSpPr>
              <p:spPr>
                <a:xfrm>
                  <a:off x="6546877" y="5029767"/>
                  <a:ext cx="107234" cy="474032"/>
                </a:xfrm>
                <a:custGeom>
                  <a:avLst/>
                  <a:gdLst>
                    <a:gd name="connsiteX0" fmla="*/ 2990 w 107234"/>
                    <a:gd name="connsiteY0" fmla="*/ 0 h 474032"/>
                    <a:gd name="connsiteX1" fmla="*/ 107234 w 107234"/>
                    <a:gd name="connsiteY1" fmla="*/ 473374 h 474032"/>
                    <a:gd name="connsiteX2" fmla="*/ 104244 w 107234"/>
                    <a:gd name="connsiteY2" fmla="*/ 474032 h 474032"/>
                    <a:gd name="connsiteX3" fmla="*/ 0 w 107234"/>
                    <a:gd name="connsiteY3" fmla="*/ 658 h 474032"/>
                  </a:gdLst>
                  <a:ahLst/>
                  <a:cxnLst>
                    <a:cxn ang="0">
                      <a:pos x="connsiteX0" y="connsiteY0"/>
                    </a:cxn>
                    <a:cxn ang="0">
                      <a:pos x="connsiteX1" y="connsiteY1"/>
                    </a:cxn>
                    <a:cxn ang="0">
                      <a:pos x="connsiteX2" y="connsiteY2"/>
                    </a:cxn>
                    <a:cxn ang="0">
                      <a:pos x="connsiteX3" y="connsiteY3"/>
                    </a:cxn>
                  </a:cxnLst>
                  <a:rect l="l" t="t" r="r" b="b"/>
                  <a:pathLst>
                    <a:path w="107234" h="474032">
                      <a:moveTo>
                        <a:pt x="2990" y="0"/>
                      </a:moveTo>
                      <a:lnTo>
                        <a:pt x="107234" y="473374"/>
                      </a:lnTo>
                      <a:lnTo>
                        <a:pt x="104244" y="474032"/>
                      </a:lnTo>
                      <a:lnTo>
                        <a:pt x="0" y="658"/>
                      </a:lnTo>
                      <a:close/>
                    </a:path>
                  </a:pathLst>
                </a:custGeom>
                <a:grpFill/>
                <a:ln w="5978" cap="flat">
                  <a:noFill/>
                  <a:prstDash val="solid"/>
                  <a:miter/>
                </a:ln>
              </p:spPr>
              <p:txBody>
                <a:bodyPr rtlCol="0" anchor="ctr"/>
                <a:lstStyle/>
                <a:p>
                  <a:endParaRPr lang="en-GB"/>
                </a:p>
              </p:txBody>
            </p:sp>
            <p:sp>
              <p:nvSpPr>
                <p:cNvPr id="3306" name="Vrije vorm: vorm 3305">
                  <a:extLst>
                    <a:ext uri="{FF2B5EF4-FFF2-40B4-BE49-F238E27FC236}">
                      <a16:creationId xmlns:a16="http://schemas.microsoft.com/office/drawing/2014/main" id="{DC0B3F45-FB0F-4758-8D88-A26DC270F4F8}"/>
                    </a:ext>
                  </a:extLst>
                </p:cNvPr>
                <p:cNvSpPr/>
                <p:nvPr/>
              </p:nvSpPr>
              <p:spPr>
                <a:xfrm>
                  <a:off x="6539307" y="5021363"/>
                  <a:ext cx="18308" cy="18421"/>
                </a:xfrm>
                <a:custGeom>
                  <a:avLst/>
                  <a:gdLst>
                    <a:gd name="connsiteX0" fmla="*/ 213 w 18308"/>
                    <a:gd name="connsiteY0" fmla="*/ 11155 h 18421"/>
                    <a:gd name="connsiteX1" fmla="*/ 7151 w 18308"/>
                    <a:gd name="connsiteY1" fmla="*/ 210 h 18421"/>
                    <a:gd name="connsiteX2" fmla="*/ 18095 w 18308"/>
                    <a:gd name="connsiteY2" fmla="*/ 7267 h 18421"/>
                    <a:gd name="connsiteX3" fmla="*/ 11158 w 18308"/>
                    <a:gd name="connsiteY3" fmla="*/ 18212 h 18421"/>
                    <a:gd name="connsiteX4" fmla="*/ 213 w 18308"/>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213" y="11155"/>
                      </a:moveTo>
                      <a:cubicBezTo>
                        <a:pt x="-864" y="6191"/>
                        <a:pt x="2247" y="1286"/>
                        <a:pt x="7151" y="210"/>
                      </a:cubicBezTo>
                      <a:cubicBezTo>
                        <a:pt x="12115" y="-867"/>
                        <a:pt x="16959" y="2303"/>
                        <a:pt x="18095" y="7267"/>
                      </a:cubicBezTo>
                      <a:cubicBezTo>
                        <a:pt x="19172" y="12231"/>
                        <a:pt x="16062" y="17136"/>
                        <a:pt x="11158" y="18212"/>
                      </a:cubicBezTo>
                      <a:cubicBezTo>
                        <a:pt x="6194" y="19288"/>
                        <a:pt x="1349" y="16119"/>
                        <a:pt x="213" y="11155"/>
                      </a:cubicBezTo>
                      <a:close/>
                    </a:path>
                  </a:pathLst>
                </a:custGeom>
                <a:grpFill/>
                <a:ln w="5978" cap="flat">
                  <a:noFill/>
                  <a:prstDash val="solid"/>
                  <a:miter/>
                </a:ln>
              </p:spPr>
              <p:txBody>
                <a:bodyPr rtlCol="0" anchor="ctr"/>
                <a:lstStyle/>
                <a:p>
                  <a:endParaRPr lang="en-GB"/>
                </a:p>
              </p:txBody>
            </p:sp>
            <p:sp>
              <p:nvSpPr>
                <p:cNvPr id="3307" name="Vrije vorm: vorm 3306">
                  <a:extLst>
                    <a:ext uri="{FF2B5EF4-FFF2-40B4-BE49-F238E27FC236}">
                      <a16:creationId xmlns:a16="http://schemas.microsoft.com/office/drawing/2014/main" id="{912EDE4E-2DFB-4845-946D-EB3F2354D2A3}"/>
                    </a:ext>
                  </a:extLst>
                </p:cNvPr>
                <p:cNvSpPr/>
                <p:nvPr/>
              </p:nvSpPr>
              <p:spPr>
                <a:xfrm>
                  <a:off x="6643354" y="5493840"/>
                  <a:ext cx="18347" cy="18421"/>
                </a:xfrm>
                <a:custGeom>
                  <a:avLst/>
                  <a:gdLst>
                    <a:gd name="connsiteX0" fmla="*/ 231 w 18347"/>
                    <a:gd name="connsiteY0" fmla="*/ 11155 h 18421"/>
                    <a:gd name="connsiteX1" fmla="*/ 11176 w 18347"/>
                    <a:gd name="connsiteY1" fmla="*/ 18212 h 18421"/>
                    <a:gd name="connsiteX2" fmla="*/ 18114 w 18347"/>
                    <a:gd name="connsiteY2" fmla="*/ 7267 h 18421"/>
                    <a:gd name="connsiteX3" fmla="*/ 7169 w 18347"/>
                    <a:gd name="connsiteY3" fmla="*/ 210 h 18421"/>
                    <a:gd name="connsiteX4" fmla="*/ 231 w 1834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21">
                      <a:moveTo>
                        <a:pt x="231" y="11155"/>
                      </a:moveTo>
                      <a:cubicBezTo>
                        <a:pt x="1308" y="16119"/>
                        <a:pt x="6212" y="19288"/>
                        <a:pt x="11176" y="18212"/>
                      </a:cubicBezTo>
                      <a:cubicBezTo>
                        <a:pt x="16140" y="17136"/>
                        <a:pt x="19250" y="12231"/>
                        <a:pt x="18114" y="7267"/>
                      </a:cubicBezTo>
                      <a:cubicBezTo>
                        <a:pt x="17037" y="2303"/>
                        <a:pt x="12133" y="-867"/>
                        <a:pt x="7169" y="210"/>
                      </a:cubicBezTo>
                      <a:cubicBezTo>
                        <a:pt x="2264" y="1286"/>
                        <a:pt x="-905" y="6191"/>
                        <a:pt x="231" y="11155"/>
                      </a:cubicBezTo>
                      <a:close/>
                    </a:path>
                  </a:pathLst>
                </a:custGeom>
                <a:grpFill/>
                <a:ln w="5978" cap="flat">
                  <a:noFill/>
                  <a:prstDash val="solid"/>
                  <a:miter/>
                </a:ln>
              </p:spPr>
              <p:txBody>
                <a:bodyPr rtlCol="0" anchor="ctr"/>
                <a:lstStyle/>
                <a:p>
                  <a:endParaRPr lang="en-GB"/>
                </a:p>
              </p:txBody>
            </p:sp>
          </p:grpSp>
          <p:grpSp>
            <p:nvGrpSpPr>
              <p:cNvPr id="696" name="Graphic 3">
                <a:extLst>
                  <a:ext uri="{FF2B5EF4-FFF2-40B4-BE49-F238E27FC236}">
                    <a16:creationId xmlns:a16="http://schemas.microsoft.com/office/drawing/2014/main" id="{EDB415FF-F6CB-4327-89E6-BD579886FE6C}"/>
                  </a:ext>
                </a:extLst>
              </p:cNvPr>
              <p:cNvGrpSpPr/>
              <p:nvPr/>
            </p:nvGrpSpPr>
            <p:grpSpPr>
              <a:xfrm>
                <a:off x="6510643" y="5032050"/>
                <a:ext cx="36223" cy="80899"/>
                <a:chOff x="6510643" y="5032050"/>
                <a:chExt cx="36223" cy="80899"/>
              </a:xfrm>
              <a:grpFill/>
            </p:grpSpPr>
            <p:sp>
              <p:nvSpPr>
                <p:cNvPr id="3302" name="Vrije vorm: vorm 3301">
                  <a:extLst>
                    <a:ext uri="{FF2B5EF4-FFF2-40B4-BE49-F238E27FC236}">
                      <a16:creationId xmlns:a16="http://schemas.microsoft.com/office/drawing/2014/main" id="{03302C35-2DA9-4284-B290-4F46B9A9EF86}"/>
                    </a:ext>
                  </a:extLst>
                </p:cNvPr>
                <p:cNvSpPr/>
                <p:nvPr/>
              </p:nvSpPr>
              <p:spPr>
                <a:xfrm>
                  <a:off x="6518591" y="5040410"/>
                  <a:ext cx="21073" cy="64266"/>
                </a:xfrm>
                <a:custGeom>
                  <a:avLst/>
                  <a:gdLst>
                    <a:gd name="connsiteX0" fmla="*/ 0 w 21073"/>
                    <a:gd name="connsiteY0" fmla="*/ 839 h 64266"/>
                    <a:gd name="connsiteX1" fmla="*/ 2933 w 21073"/>
                    <a:gd name="connsiteY1" fmla="*/ 0 h 64266"/>
                    <a:gd name="connsiteX2" fmla="*/ 21074 w 21073"/>
                    <a:gd name="connsiteY2" fmla="*/ 63428 h 64266"/>
                    <a:gd name="connsiteX3" fmla="*/ 18141 w 21073"/>
                    <a:gd name="connsiteY3" fmla="*/ 64266 h 64266"/>
                  </a:gdLst>
                  <a:ahLst/>
                  <a:cxnLst>
                    <a:cxn ang="0">
                      <a:pos x="connsiteX0" y="connsiteY0"/>
                    </a:cxn>
                    <a:cxn ang="0">
                      <a:pos x="connsiteX1" y="connsiteY1"/>
                    </a:cxn>
                    <a:cxn ang="0">
                      <a:pos x="connsiteX2" y="connsiteY2"/>
                    </a:cxn>
                    <a:cxn ang="0">
                      <a:pos x="connsiteX3" y="connsiteY3"/>
                    </a:cxn>
                  </a:cxnLst>
                  <a:rect l="l" t="t" r="r" b="b"/>
                  <a:pathLst>
                    <a:path w="21073" h="64266">
                      <a:moveTo>
                        <a:pt x="0" y="839"/>
                      </a:moveTo>
                      <a:lnTo>
                        <a:pt x="2933" y="0"/>
                      </a:lnTo>
                      <a:lnTo>
                        <a:pt x="21074" y="63428"/>
                      </a:lnTo>
                      <a:lnTo>
                        <a:pt x="18141" y="64266"/>
                      </a:lnTo>
                      <a:close/>
                    </a:path>
                  </a:pathLst>
                </a:custGeom>
                <a:grpFill/>
                <a:ln w="5978" cap="flat">
                  <a:noFill/>
                  <a:prstDash val="solid"/>
                  <a:miter/>
                </a:ln>
              </p:spPr>
              <p:txBody>
                <a:bodyPr rtlCol="0" anchor="ctr"/>
                <a:lstStyle/>
                <a:p>
                  <a:endParaRPr lang="en-GB"/>
                </a:p>
              </p:txBody>
            </p:sp>
            <p:sp>
              <p:nvSpPr>
                <p:cNvPr id="3303" name="Vrije vorm: vorm 3302">
                  <a:extLst>
                    <a:ext uri="{FF2B5EF4-FFF2-40B4-BE49-F238E27FC236}">
                      <a16:creationId xmlns:a16="http://schemas.microsoft.com/office/drawing/2014/main" id="{EBE0E1C2-1AB7-4CEA-9061-8ED6F31F57EF}"/>
                    </a:ext>
                  </a:extLst>
                </p:cNvPr>
                <p:cNvSpPr/>
                <p:nvPr/>
              </p:nvSpPr>
              <p:spPr>
                <a:xfrm>
                  <a:off x="6528525" y="5094548"/>
                  <a:ext cx="18341" cy="18400"/>
                </a:xfrm>
                <a:custGeom>
                  <a:avLst/>
                  <a:gdLst>
                    <a:gd name="connsiteX0" fmla="*/ 17992 w 18341"/>
                    <a:gd name="connsiteY0" fmla="*/ 6688 h 18400"/>
                    <a:gd name="connsiteX1" fmla="*/ 11712 w 18341"/>
                    <a:gd name="connsiteY1" fmla="*/ 18052 h 18400"/>
                    <a:gd name="connsiteX2" fmla="*/ 349 w 18341"/>
                    <a:gd name="connsiteY2" fmla="*/ 11712 h 18400"/>
                    <a:gd name="connsiteX3" fmla="*/ 6629 w 18341"/>
                    <a:gd name="connsiteY3" fmla="*/ 349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9368" y="11593"/>
                        <a:pt x="16557" y="16676"/>
                        <a:pt x="11712" y="18052"/>
                      </a:cubicBezTo>
                      <a:cubicBezTo>
                        <a:pt x="6868" y="19427"/>
                        <a:pt x="1785" y="16617"/>
                        <a:pt x="349" y="11712"/>
                      </a:cubicBezTo>
                      <a:cubicBezTo>
                        <a:pt x="-1027" y="6808"/>
                        <a:pt x="1785" y="1724"/>
                        <a:pt x="6629" y="349"/>
                      </a:cubicBezTo>
                      <a:cubicBezTo>
                        <a:pt x="11473" y="-1027"/>
                        <a:pt x="16557" y="1784"/>
                        <a:pt x="17992" y="6688"/>
                      </a:cubicBezTo>
                      <a:close/>
                    </a:path>
                  </a:pathLst>
                </a:custGeom>
                <a:grpFill/>
                <a:ln w="5978" cap="flat">
                  <a:noFill/>
                  <a:prstDash val="solid"/>
                  <a:miter/>
                </a:ln>
              </p:spPr>
              <p:txBody>
                <a:bodyPr rtlCol="0" anchor="ctr"/>
                <a:lstStyle/>
                <a:p>
                  <a:endParaRPr lang="en-GB"/>
                </a:p>
              </p:txBody>
            </p:sp>
            <p:sp>
              <p:nvSpPr>
                <p:cNvPr id="3304" name="Vrije vorm: vorm 3303">
                  <a:extLst>
                    <a:ext uri="{FF2B5EF4-FFF2-40B4-BE49-F238E27FC236}">
                      <a16:creationId xmlns:a16="http://schemas.microsoft.com/office/drawing/2014/main" id="{31E17BB2-3E1D-4317-899A-27C089EBE802}"/>
                    </a:ext>
                  </a:extLst>
                </p:cNvPr>
                <p:cNvSpPr/>
                <p:nvPr/>
              </p:nvSpPr>
              <p:spPr>
                <a:xfrm>
                  <a:off x="6510643" y="5032050"/>
                  <a:ext cx="18345" cy="18400"/>
                </a:xfrm>
                <a:custGeom>
                  <a:avLst/>
                  <a:gdLst>
                    <a:gd name="connsiteX0" fmla="*/ 17992 w 18345"/>
                    <a:gd name="connsiteY0" fmla="*/ 6688 h 18400"/>
                    <a:gd name="connsiteX1" fmla="*/ 6629 w 18345"/>
                    <a:gd name="connsiteY1" fmla="*/ 349 h 18400"/>
                    <a:gd name="connsiteX2" fmla="*/ 349 w 18345"/>
                    <a:gd name="connsiteY2" fmla="*/ 11712 h 18400"/>
                    <a:gd name="connsiteX3" fmla="*/ 11712 w 18345"/>
                    <a:gd name="connsiteY3" fmla="*/ 18052 h 18400"/>
                    <a:gd name="connsiteX4" fmla="*/ 17992 w 18345"/>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0">
                      <a:moveTo>
                        <a:pt x="17992" y="6688"/>
                      </a:moveTo>
                      <a:cubicBezTo>
                        <a:pt x="16617" y="1785"/>
                        <a:pt x="11533" y="-1027"/>
                        <a:pt x="6629" y="349"/>
                      </a:cubicBezTo>
                      <a:cubicBezTo>
                        <a:pt x="1785" y="1725"/>
                        <a:pt x="-1027" y="6808"/>
                        <a:pt x="349" y="11712"/>
                      </a:cubicBezTo>
                      <a:cubicBezTo>
                        <a:pt x="1725" y="16617"/>
                        <a:pt x="6808" y="19427"/>
                        <a:pt x="11712" y="18052"/>
                      </a:cubicBezTo>
                      <a:cubicBezTo>
                        <a:pt x="16617" y="16676"/>
                        <a:pt x="19368" y="11593"/>
                        <a:pt x="17992" y="6688"/>
                      </a:cubicBezTo>
                      <a:close/>
                    </a:path>
                  </a:pathLst>
                </a:custGeom>
                <a:grpFill/>
                <a:ln w="5978" cap="flat">
                  <a:noFill/>
                  <a:prstDash val="solid"/>
                  <a:miter/>
                </a:ln>
              </p:spPr>
              <p:txBody>
                <a:bodyPr rtlCol="0" anchor="ctr"/>
                <a:lstStyle/>
                <a:p>
                  <a:endParaRPr lang="en-GB"/>
                </a:p>
              </p:txBody>
            </p:sp>
          </p:grpSp>
          <p:grpSp>
            <p:nvGrpSpPr>
              <p:cNvPr id="697" name="Graphic 3">
                <a:extLst>
                  <a:ext uri="{FF2B5EF4-FFF2-40B4-BE49-F238E27FC236}">
                    <a16:creationId xmlns:a16="http://schemas.microsoft.com/office/drawing/2014/main" id="{7C083E94-2180-4113-A2E2-ADB619719191}"/>
                  </a:ext>
                </a:extLst>
              </p:cNvPr>
              <p:cNvGrpSpPr/>
              <p:nvPr/>
            </p:nvGrpSpPr>
            <p:grpSpPr>
              <a:xfrm>
                <a:off x="6533549" y="5112251"/>
                <a:ext cx="100277" cy="304697"/>
                <a:chOff x="6533549" y="5112251"/>
                <a:chExt cx="100277" cy="304697"/>
              </a:xfrm>
              <a:grpFill/>
            </p:grpSpPr>
            <p:sp>
              <p:nvSpPr>
                <p:cNvPr id="3299" name="Vrije vorm: vorm 3298">
                  <a:extLst>
                    <a:ext uri="{FF2B5EF4-FFF2-40B4-BE49-F238E27FC236}">
                      <a16:creationId xmlns:a16="http://schemas.microsoft.com/office/drawing/2014/main" id="{F0C0A6E2-EC43-4295-B6B1-F9AE0908BB60}"/>
                    </a:ext>
                  </a:extLst>
                </p:cNvPr>
                <p:cNvSpPr/>
                <p:nvPr/>
              </p:nvSpPr>
              <p:spPr>
                <a:xfrm>
                  <a:off x="6541107" y="5120429"/>
                  <a:ext cx="85098" cy="287987"/>
                </a:xfrm>
                <a:custGeom>
                  <a:avLst/>
                  <a:gdLst>
                    <a:gd name="connsiteX0" fmla="*/ 0 w 85098"/>
                    <a:gd name="connsiteY0" fmla="*/ 839 h 287987"/>
                    <a:gd name="connsiteX1" fmla="*/ 2932 w 85098"/>
                    <a:gd name="connsiteY1" fmla="*/ 0 h 287987"/>
                    <a:gd name="connsiteX2" fmla="*/ 85099 w 85098"/>
                    <a:gd name="connsiteY2" fmla="*/ 287148 h 287987"/>
                    <a:gd name="connsiteX3" fmla="*/ 82166 w 85098"/>
                    <a:gd name="connsiteY3" fmla="*/ 287988 h 287987"/>
                  </a:gdLst>
                  <a:ahLst/>
                  <a:cxnLst>
                    <a:cxn ang="0">
                      <a:pos x="connsiteX0" y="connsiteY0"/>
                    </a:cxn>
                    <a:cxn ang="0">
                      <a:pos x="connsiteX1" y="connsiteY1"/>
                    </a:cxn>
                    <a:cxn ang="0">
                      <a:pos x="connsiteX2" y="connsiteY2"/>
                    </a:cxn>
                    <a:cxn ang="0">
                      <a:pos x="connsiteX3" y="connsiteY3"/>
                    </a:cxn>
                  </a:cxnLst>
                  <a:rect l="l" t="t" r="r" b="b"/>
                  <a:pathLst>
                    <a:path w="85098" h="287987">
                      <a:moveTo>
                        <a:pt x="0" y="839"/>
                      </a:moveTo>
                      <a:lnTo>
                        <a:pt x="2932" y="0"/>
                      </a:lnTo>
                      <a:lnTo>
                        <a:pt x="85099" y="287148"/>
                      </a:lnTo>
                      <a:lnTo>
                        <a:pt x="82166" y="287988"/>
                      </a:lnTo>
                      <a:close/>
                    </a:path>
                  </a:pathLst>
                </a:custGeom>
                <a:grpFill/>
                <a:ln w="5978" cap="flat">
                  <a:noFill/>
                  <a:prstDash val="solid"/>
                  <a:miter/>
                </a:ln>
              </p:spPr>
              <p:txBody>
                <a:bodyPr rtlCol="0" anchor="ctr"/>
                <a:lstStyle/>
                <a:p>
                  <a:endParaRPr lang="en-GB"/>
                </a:p>
              </p:txBody>
            </p:sp>
            <p:sp>
              <p:nvSpPr>
                <p:cNvPr id="3300" name="Vrije vorm: vorm 3299">
                  <a:extLst>
                    <a:ext uri="{FF2B5EF4-FFF2-40B4-BE49-F238E27FC236}">
                      <a16:creationId xmlns:a16="http://schemas.microsoft.com/office/drawing/2014/main" id="{6379D723-9272-4418-B076-94F8D2026222}"/>
                    </a:ext>
                  </a:extLst>
                </p:cNvPr>
                <p:cNvSpPr/>
                <p:nvPr/>
              </p:nvSpPr>
              <p:spPr>
                <a:xfrm>
                  <a:off x="6615485" y="5398548"/>
                  <a:ext cx="18341" cy="18400"/>
                </a:xfrm>
                <a:custGeom>
                  <a:avLst/>
                  <a:gdLst>
                    <a:gd name="connsiteX0" fmla="*/ 17992 w 18341"/>
                    <a:gd name="connsiteY0" fmla="*/ 6688 h 18400"/>
                    <a:gd name="connsiteX1" fmla="*/ 11713 w 18341"/>
                    <a:gd name="connsiteY1" fmla="*/ 18052 h 18400"/>
                    <a:gd name="connsiteX2" fmla="*/ 349 w 18341"/>
                    <a:gd name="connsiteY2" fmla="*/ 11712 h 18400"/>
                    <a:gd name="connsiteX3" fmla="*/ 6629 w 18341"/>
                    <a:gd name="connsiteY3" fmla="*/ 349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9368" y="11593"/>
                        <a:pt x="16557" y="16676"/>
                        <a:pt x="11713" y="18052"/>
                      </a:cubicBezTo>
                      <a:cubicBezTo>
                        <a:pt x="6868" y="19427"/>
                        <a:pt x="1784" y="16616"/>
                        <a:pt x="349" y="11712"/>
                      </a:cubicBezTo>
                      <a:cubicBezTo>
                        <a:pt x="-1026" y="6808"/>
                        <a:pt x="1784" y="1724"/>
                        <a:pt x="6629" y="349"/>
                      </a:cubicBezTo>
                      <a:cubicBezTo>
                        <a:pt x="11533" y="-1027"/>
                        <a:pt x="16557" y="1784"/>
                        <a:pt x="17992" y="6688"/>
                      </a:cubicBezTo>
                      <a:close/>
                    </a:path>
                  </a:pathLst>
                </a:custGeom>
                <a:grpFill/>
                <a:ln w="5978" cap="flat">
                  <a:noFill/>
                  <a:prstDash val="solid"/>
                  <a:miter/>
                </a:ln>
              </p:spPr>
              <p:txBody>
                <a:bodyPr rtlCol="0" anchor="ctr"/>
                <a:lstStyle/>
                <a:p>
                  <a:endParaRPr lang="en-GB"/>
                </a:p>
              </p:txBody>
            </p:sp>
            <p:sp>
              <p:nvSpPr>
                <p:cNvPr id="3301" name="Vrije vorm: vorm 3300">
                  <a:extLst>
                    <a:ext uri="{FF2B5EF4-FFF2-40B4-BE49-F238E27FC236}">
                      <a16:creationId xmlns:a16="http://schemas.microsoft.com/office/drawing/2014/main" id="{C81F4330-63EE-49AE-86BE-9CB5318CF61A}"/>
                    </a:ext>
                  </a:extLst>
                </p:cNvPr>
                <p:cNvSpPr/>
                <p:nvPr/>
              </p:nvSpPr>
              <p:spPr>
                <a:xfrm>
                  <a:off x="6533549" y="5112251"/>
                  <a:ext cx="18367" cy="18400"/>
                </a:xfrm>
                <a:custGeom>
                  <a:avLst/>
                  <a:gdLst>
                    <a:gd name="connsiteX0" fmla="*/ 17992 w 18367"/>
                    <a:gd name="connsiteY0" fmla="*/ 6689 h 18400"/>
                    <a:gd name="connsiteX1" fmla="*/ 6629 w 18367"/>
                    <a:gd name="connsiteY1" fmla="*/ 349 h 18400"/>
                    <a:gd name="connsiteX2" fmla="*/ 349 w 18367"/>
                    <a:gd name="connsiteY2" fmla="*/ 11712 h 18400"/>
                    <a:gd name="connsiteX3" fmla="*/ 11713 w 18367"/>
                    <a:gd name="connsiteY3" fmla="*/ 18052 h 18400"/>
                    <a:gd name="connsiteX4" fmla="*/ 17992 w 18367"/>
                    <a:gd name="connsiteY4" fmla="*/ 668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00">
                      <a:moveTo>
                        <a:pt x="17992" y="6689"/>
                      </a:moveTo>
                      <a:cubicBezTo>
                        <a:pt x="16617" y="1784"/>
                        <a:pt x="11533" y="-1027"/>
                        <a:pt x="6629" y="349"/>
                      </a:cubicBezTo>
                      <a:cubicBezTo>
                        <a:pt x="1785" y="1724"/>
                        <a:pt x="-1026" y="6808"/>
                        <a:pt x="349" y="11712"/>
                      </a:cubicBezTo>
                      <a:cubicBezTo>
                        <a:pt x="1725" y="16616"/>
                        <a:pt x="6808" y="19427"/>
                        <a:pt x="11713" y="18052"/>
                      </a:cubicBezTo>
                      <a:cubicBezTo>
                        <a:pt x="16617" y="16676"/>
                        <a:pt x="19428" y="11593"/>
                        <a:pt x="17992" y="6689"/>
                      </a:cubicBezTo>
                      <a:close/>
                    </a:path>
                  </a:pathLst>
                </a:custGeom>
                <a:grpFill/>
                <a:ln w="5978" cap="flat">
                  <a:noFill/>
                  <a:prstDash val="solid"/>
                  <a:miter/>
                </a:ln>
              </p:spPr>
              <p:txBody>
                <a:bodyPr rtlCol="0" anchor="ctr"/>
                <a:lstStyle/>
                <a:p>
                  <a:endParaRPr lang="en-GB"/>
                </a:p>
              </p:txBody>
            </p:sp>
          </p:grpSp>
          <p:grpSp>
            <p:nvGrpSpPr>
              <p:cNvPr id="698" name="Graphic 3">
                <a:extLst>
                  <a:ext uri="{FF2B5EF4-FFF2-40B4-BE49-F238E27FC236}">
                    <a16:creationId xmlns:a16="http://schemas.microsoft.com/office/drawing/2014/main" id="{E4C4EB1A-1AFE-4F55-8E86-B9233255E030}"/>
                  </a:ext>
                </a:extLst>
              </p:cNvPr>
              <p:cNvGrpSpPr/>
              <p:nvPr/>
            </p:nvGrpSpPr>
            <p:grpSpPr>
              <a:xfrm>
                <a:off x="5251035" y="1308744"/>
                <a:ext cx="110400" cy="261472"/>
                <a:chOff x="5251035" y="1308744"/>
                <a:chExt cx="110400" cy="261472"/>
              </a:xfrm>
              <a:grpFill/>
            </p:grpSpPr>
            <p:sp>
              <p:nvSpPr>
                <p:cNvPr id="3296" name="Vrije vorm: vorm 3295">
                  <a:extLst>
                    <a:ext uri="{FF2B5EF4-FFF2-40B4-BE49-F238E27FC236}">
                      <a16:creationId xmlns:a16="http://schemas.microsoft.com/office/drawing/2014/main" id="{9032B292-1C75-421F-A8CC-F168220A5B79}"/>
                    </a:ext>
                  </a:extLst>
                </p:cNvPr>
                <p:cNvSpPr/>
                <p:nvPr/>
              </p:nvSpPr>
              <p:spPr>
                <a:xfrm>
                  <a:off x="5258629" y="1316995"/>
                  <a:ext cx="95212" cy="244970"/>
                </a:xfrm>
                <a:custGeom>
                  <a:avLst/>
                  <a:gdLst>
                    <a:gd name="connsiteX0" fmla="*/ 95213 w 95212"/>
                    <a:gd name="connsiteY0" fmla="*/ 243894 h 244970"/>
                    <a:gd name="connsiteX1" fmla="*/ 92402 w 95212"/>
                    <a:gd name="connsiteY1" fmla="*/ 244970 h 244970"/>
                    <a:gd name="connsiteX2" fmla="*/ 0 w 95212"/>
                    <a:gd name="connsiteY2" fmla="*/ 1077 h 244970"/>
                    <a:gd name="connsiteX3" fmla="*/ 2871 w 95212"/>
                    <a:gd name="connsiteY3" fmla="*/ 0 h 244970"/>
                  </a:gdLst>
                  <a:ahLst/>
                  <a:cxnLst>
                    <a:cxn ang="0">
                      <a:pos x="connsiteX0" y="connsiteY0"/>
                    </a:cxn>
                    <a:cxn ang="0">
                      <a:pos x="connsiteX1" y="connsiteY1"/>
                    </a:cxn>
                    <a:cxn ang="0">
                      <a:pos x="connsiteX2" y="connsiteY2"/>
                    </a:cxn>
                    <a:cxn ang="0">
                      <a:pos x="connsiteX3" y="connsiteY3"/>
                    </a:cxn>
                  </a:cxnLst>
                  <a:rect l="l" t="t" r="r" b="b"/>
                  <a:pathLst>
                    <a:path w="95212" h="244970">
                      <a:moveTo>
                        <a:pt x="95213" y="243894"/>
                      </a:moveTo>
                      <a:lnTo>
                        <a:pt x="92402" y="244970"/>
                      </a:lnTo>
                      <a:lnTo>
                        <a:pt x="0" y="1077"/>
                      </a:lnTo>
                      <a:lnTo>
                        <a:pt x="2871" y="0"/>
                      </a:lnTo>
                      <a:close/>
                    </a:path>
                  </a:pathLst>
                </a:custGeom>
                <a:grpFill/>
                <a:ln w="5978" cap="flat">
                  <a:noFill/>
                  <a:prstDash val="solid"/>
                  <a:miter/>
                </a:ln>
              </p:spPr>
              <p:txBody>
                <a:bodyPr rtlCol="0" anchor="ctr"/>
                <a:lstStyle/>
                <a:p>
                  <a:endParaRPr lang="en-GB"/>
                </a:p>
              </p:txBody>
            </p:sp>
            <p:sp>
              <p:nvSpPr>
                <p:cNvPr id="3297" name="Vrije vorm: vorm 3296">
                  <a:extLst>
                    <a:ext uri="{FF2B5EF4-FFF2-40B4-BE49-F238E27FC236}">
                      <a16:creationId xmlns:a16="http://schemas.microsoft.com/office/drawing/2014/main" id="{2284D652-711D-4251-B4A6-E4F5892A8CFF}"/>
                    </a:ext>
                  </a:extLst>
                </p:cNvPr>
                <p:cNvSpPr/>
                <p:nvPr/>
              </p:nvSpPr>
              <p:spPr>
                <a:xfrm>
                  <a:off x="5251035" y="1308744"/>
                  <a:ext cx="18357" cy="18415"/>
                </a:xfrm>
                <a:custGeom>
                  <a:avLst/>
                  <a:gdLst>
                    <a:gd name="connsiteX0" fmla="*/ 596 w 18357"/>
                    <a:gd name="connsiteY0" fmla="*/ 12438 h 18415"/>
                    <a:gd name="connsiteX1" fmla="*/ 5919 w 18357"/>
                    <a:gd name="connsiteY1" fmla="*/ 596 h 18415"/>
                    <a:gd name="connsiteX2" fmla="*/ 17761 w 18357"/>
                    <a:gd name="connsiteY2" fmla="*/ 5978 h 18415"/>
                    <a:gd name="connsiteX3" fmla="*/ 12438 w 18357"/>
                    <a:gd name="connsiteY3" fmla="*/ 17820 h 18415"/>
                    <a:gd name="connsiteX4" fmla="*/ 596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6" y="12438"/>
                      </a:moveTo>
                      <a:cubicBezTo>
                        <a:pt x="-1198" y="7653"/>
                        <a:pt x="1194" y="2390"/>
                        <a:pt x="5919" y="596"/>
                      </a:cubicBezTo>
                      <a:cubicBezTo>
                        <a:pt x="10644" y="-1198"/>
                        <a:pt x="15967" y="1194"/>
                        <a:pt x="17761" y="5978"/>
                      </a:cubicBezTo>
                      <a:cubicBezTo>
                        <a:pt x="19555" y="10763"/>
                        <a:pt x="17163" y="16026"/>
                        <a:pt x="12438" y="17820"/>
                      </a:cubicBezTo>
                      <a:cubicBezTo>
                        <a:pt x="7713" y="19614"/>
                        <a:pt x="2391" y="17222"/>
                        <a:pt x="596" y="12438"/>
                      </a:cubicBezTo>
                      <a:close/>
                    </a:path>
                  </a:pathLst>
                </a:custGeom>
                <a:grpFill/>
                <a:ln w="5978" cap="flat">
                  <a:noFill/>
                  <a:prstDash val="solid"/>
                  <a:miter/>
                </a:ln>
              </p:spPr>
              <p:txBody>
                <a:bodyPr rtlCol="0" anchor="ctr"/>
                <a:lstStyle/>
                <a:p>
                  <a:endParaRPr lang="en-GB"/>
                </a:p>
              </p:txBody>
            </p:sp>
            <p:sp>
              <p:nvSpPr>
                <p:cNvPr id="3298" name="Vrije vorm: vorm 3297">
                  <a:extLst>
                    <a:ext uri="{FF2B5EF4-FFF2-40B4-BE49-F238E27FC236}">
                      <a16:creationId xmlns:a16="http://schemas.microsoft.com/office/drawing/2014/main" id="{80CABBB4-7ABC-4FF8-922A-B67BD860E777}"/>
                    </a:ext>
                  </a:extLst>
                </p:cNvPr>
                <p:cNvSpPr/>
                <p:nvPr/>
              </p:nvSpPr>
              <p:spPr>
                <a:xfrm>
                  <a:off x="5343079" y="1551800"/>
                  <a:ext cx="18357" cy="18415"/>
                </a:xfrm>
                <a:custGeom>
                  <a:avLst/>
                  <a:gdLst>
                    <a:gd name="connsiteX0" fmla="*/ 597 w 18357"/>
                    <a:gd name="connsiteY0" fmla="*/ 12438 h 18415"/>
                    <a:gd name="connsiteX1" fmla="*/ 12438 w 18357"/>
                    <a:gd name="connsiteY1" fmla="*/ 17820 h 18415"/>
                    <a:gd name="connsiteX2" fmla="*/ 17761 w 18357"/>
                    <a:gd name="connsiteY2" fmla="*/ 5978 h 18415"/>
                    <a:gd name="connsiteX3" fmla="*/ 5919 w 18357"/>
                    <a:gd name="connsiteY3" fmla="*/ 596 h 18415"/>
                    <a:gd name="connsiteX4" fmla="*/ 597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7" y="12438"/>
                      </a:moveTo>
                      <a:cubicBezTo>
                        <a:pt x="2391" y="17222"/>
                        <a:pt x="7713" y="19614"/>
                        <a:pt x="12438" y="17820"/>
                      </a:cubicBezTo>
                      <a:cubicBezTo>
                        <a:pt x="17163" y="16026"/>
                        <a:pt x="19555" y="10703"/>
                        <a:pt x="17761" y="5978"/>
                      </a:cubicBezTo>
                      <a:cubicBezTo>
                        <a:pt x="15967" y="1194"/>
                        <a:pt x="10644" y="-1199"/>
                        <a:pt x="5919" y="596"/>
                      </a:cubicBezTo>
                      <a:cubicBezTo>
                        <a:pt x="1194" y="2390"/>
                        <a:pt x="-1198" y="7713"/>
                        <a:pt x="597" y="12438"/>
                      </a:cubicBezTo>
                      <a:close/>
                    </a:path>
                  </a:pathLst>
                </a:custGeom>
                <a:grpFill/>
                <a:ln w="5978" cap="flat">
                  <a:noFill/>
                  <a:prstDash val="solid"/>
                  <a:miter/>
                </a:ln>
              </p:spPr>
              <p:txBody>
                <a:bodyPr rtlCol="0" anchor="ctr"/>
                <a:lstStyle/>
                <a:p>
                  <a:endParaRPr lang="en-GB"/>
                </a:p>
              </p:txBody>
            </p:sp>
          </p:grpSp>
          <p:grpSp>
            <p:nvGrpSpPr>
              <p:cNvPr id="699" name="Graphic 3">
                <a:extLst>
                  <a:ext uri="{FF2B5EF4-FFF2-40B4-BE49-F238E27FC236}">
                    <a16:creationId xmlns:a16="http://schemas.microsoft.com/office/drawing/2014/main" id="{5BD5DE6D-B6AC-4CD6-84FF-497D4E856875}"/>
                  </a:ext>
                </a:extLst>
              </p:cNvPr>
              <p:cNvGrpSpPr/>
              <p:nvPr/>
            </p:nvGrpSpPr>
            <p:grpSpPr>
              <a:xfrm>
                <a:off x="5250555" y="1308927"/>
                <a:ext cx="182075" cy="536399"/>
                <a:chOff x="5250555" y="1308927"/>
                <a:chExt cx="182075" cy="536399"/>
              </a:xfrm>
              <a:grpFill/>
            </p:grpSpPr>
            <p:sp>
              <p:nvSpPr>
                <p:cNvPr id="3293" name="Vrije vorm: vorm 3292">
                  <a:extLst>
                    <a:ext uri="{FF2B5EF4-FFF2-40B4-BE49-F238E27FC236}">
                      <a16:creationId xmlns:a16="http://schemas.microsoft.com/office/drawing/2014/main" id="{ED7D4422-1086-4D36-BD0B-8DDC7812A27E}"/>
                    </a:ext>
                  </a:extLst>
                </p:cNvPr>
                <p:cNvSpPr/>
                <p:nvPr/>
              </p:nvSpPr>
              <p:spPr>
                <a:xfrm>
                  <a:off x="5258143" y="1317118"/>
                  <a:ext cx="166925" cy="519800"/>
                </a:xfrm>
                <a:custGeom>
                  <a:avLst/>
                  <a:gdLst>
                    <a:gd name="connsiteX0" fmla="*/ 0 w 166925"/>
                    <a:gd name="connsiteY0" fmla="*/ 919 h 519800"/>
                    <a:gd name="connsiteX1" fmla="*/ 2908 w 166925"/>
                    <a:gd name="connsiteY1" fmla="*/ 0 h 519800"/>
                    <a:gd name="connsiteX2" fmla="*/ 166926 w 166925"/>
                    <a:gd name="connsiteY2" fmla="*/ 518881 h 519800"/>
                    <a:gd name="connsiteX3" fmla="*/ 164018 w 166925"/>
                    <a:gd name="connsiteY3" fmla="*/ 519801 h 519800"/>
                  </a:gdLst>
                  <a:ahLst/>
                  <a:cxnLst>
                    <a:cxn ang="0">
                      <a:pos x="connsiteX0" y="connsiteY0"/>
                    </a:cxn>
                    <a:cxn ang="0">
                      <a:pos x="connsiteX1" y="connsiteY1"/>
                    </a:cxn>
                    <a:cxn ang="0">
                      <a:pos x="connsiteX2" y="connsiteY2"/>
                    </a:cxn>
                    <a:cxn ang="0">
                      <a:pos x="connsiteX3" y="connsiteY3"/>
                    </a:cxn>
                  </a:cxnLst>
                  <a:rect l="l" t="t" r="r" b="b"/>
                  <a:pathLst>
                    <a:path w="166925" h="519800">
                      <a:moveTo>
                        <a:pt x="0" y="919"/>
                      </a:moveTo>
                      <a:lnTo>
                        <a:pt x="2908" y="0"/>
                      </a:lnTo>
                      <a:lnTo>
                        <a:pt x="166926" y="518881"/>
                      </a:lnTo>
                      <a:lnTo>
                        <a:pt x="164018" y="519801"/>
                      </a:lnTo>
                      <a:close/>
                    </a:path>
                  </a:pathLst>
                </a:custGeom>
                <a:grpFill/>
                <a:ln w="5978" cap="flat">
                  <a:noFill/>
                  <a:prstDash val="solid"/>
                  <a:miter/>
                </a:ln>
              </p:spPr>
              <p:txBody>
                <a:bodyPr rtlCol="0" anchor="ctr"/>
                <a:lstStyle/>
                <a:p>
                  <a:endParaRPr lang="en-GB"/>
                </a:p>
              </p:txBody>
            </p:sp>
            <p:sp>
              <p:nvSpPr>
                <p:cNvPr id="3294" name="Vrije vorm: vorm 3293">
                  <a:extLst>
                    <a:ext uri="{FF2B5EF4-FFF2-40B4-BE49-F238E27FC236}">
                      <a16:creationId xmlns:a16="http://schemas.microsoft.com/office/drawing/2014/main" id="{E3A2A6AE-4B8D-481B-8FB4-2E4B3D965D0A}"/>
                    </a:ext>
                  </a:extLst>
                </p:cNvPr>
                <p:cNvSpPr/>
                <p:nvPr/>
              </p:nvSpPr>
              <p:spPr>
                <a:xfrm>
                  <a:off x="5414285" y="1826917"/>
                  <a:ext cx="18345" cy="18409"/>
                </a:xfrm>
                <a:custGeom>
                  <a:avLst/>
                  <a:gdLst>
                    <a:gd name="connsiteX0" fmla="*/ 17905 w 18345"/>
                    <a:gd name="connsiteY0" fmla="*/ 6453 h 18409"/>
                    <a:gd name="connsiteX1" fmla="*/ 11924 w 18345"/>
                    <a:gd name="connsiteY1" fmla="*/ 17996 h 18409"/>
                    <a:gd name="connsiteX2" fmla="*/ 441 w 18345"/>
                    <a:gd name="connsiteY2" fmla="*/ 11956 h 18409"/>
                    <a:gd name="connsiteX3" fmla="*/ 6421 w 18345"/>
                    <a:gd name="connsiteY3" fmla="*/ 413 h 18409"/>
                    <a:gd name="connsiteX4" fmla="*/ 17905 w 18345"/>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9">
                      <a:moveTo>
                        <a:pt x="17905" y="6453"/>
                      </a:moveTo>
                      <a:cubicBezTo>
                        <a:pt x="19460" y="11298"/>
                        <a:pt x="16768" y="16501"/>
                        <a:pt x="11924" y="17996"/>
                      </a:cubicBezTo>
                      <a:cubicBezTo>
                        <a:pt x="7080" y="19491"/>
                        <a:pt x="1936" y="16800"/>
                        <a:pt x="441" y="11956"/>
                      </a:cubicBezTo>
                      <a:cubicBezTo>
                        <a:pt x="-1114" y="7111"/>
                        <a:pt x="1577" y="1908"/>
                        <a:pt x="6421" y="413"/>
                      </a:cubicBezTo>
                      <a:cubicBezTo>
                        <a:pt x="11206" y="-1082"/>
                        <a:pt x="16350" y="1609"/>
                        <a:pt x="17905" y="6453"/>
                      </a:cubicBezTo>
                      <a:close/>
                    </a:path>
                  </a:pathLst>
                </a:custGeom>
                <a:grpFill/>
                <a:ln w="5978" cap="flat">
                  <a:noFill/>
                  <a:prstDash val="solid"/>
                  <a:miter/>
                </a:ln>
              </p:spPr>
              <p:txBody>
                <a:bodyPr rtlCol="0" anchor="ctr"/>
                <a:lstStyle/>
                <a:p>
                  <a:endParaRPr lang="en-GB"/>
                </a:p>
              </p:txBody>
            </p:sp>
            <p:sp>
              <p:nvSpPr>
                <p:cNvPr id="3295" name="Vrije vorm: vorm 3294">
                  <a:extLst>
                    <a:ext uri="{FF2B5EF4-FFF2-40B4-BE49-F238E27FC236}">
                      <a16:creationId xmlns:a16="http://schemas.microsoft.com/office/drawing/2014/main" id="{8225D344-B668-4705-B22B-A942107E8D2F}"/>
                    </a:ext>
                  </a:extLst>
                </p:cNvPr>
                <p:cNvSpPr/>
                <p:nvPr/>
              </p:nvSpPr>
              <p:spPr>
                <a:xfrm>
                  <a:off x="5250555" y="1308927"/>
                  <a:ext cx="18323" cy="18409"/>
                </a:xfrm>
                <a:custGeom>
                  <a:avLst/>
                  <a:gdLst>
                    <a:gd name="connsiteX0" fmla="*/ 17882 w 18323"/>
                    <a:gd name="connsiteY0" fmla="*/ 6453 h 18409"/>
                    <a:gd name="connsiteX1" fmla="*/ 6399 w 18323"/>
                    <a:gd name="connsiteY1" fmla="*/ 413 h 18409"/>
                    <a:gd name="connsiteX2" fmla="*/ 418 w 18323"/>
                    <a:gd name="connsiteY2" fmla="*/ 11956 h 18409"/>
                    <a:gd name="connsiteX3" fmla="*/ 11901 w 18323"/>
                    <a:gd name="connsiteY3" fmla="*/ 17996 h 18409"/>
                    <a:gd name="connsiteX4" fmla="*/ 17882 w 18323"/>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09">
                      <a:moveTo>
                        <a:pt x="17882" y="6453"/>
                      </a:moveTo>
                      <a:cubicBezTo>
                        <a:pt x="16327" y="1609"/>
                        <a:pt x="11184" y="-1082"/>
                        <a:pt x="6399" y="413"/>
                      </a:cubicBezTo>
                      <a:cubicBezTo>
                        <a:pt x="1554" y="1908"/>
                        <a:pt x="-1077" y="7111"/>
                        <a:pt x="418" y="11956"/>
                      </a:cubicBezTo>
                      <a:cubicBezTo>
                        <a:pt x="1973" y="16800"/>
                        <a:pt x="7117" y="19491"/>
                        <a:pt x="11901" y="17996"/>
                      </a:cubicBezTo>
                      <a:cubicBezTo>
                        <a:pt x="16746" y="16441"/>
                        <a:pt x="19437" y="11298"/>
                        <a:pt x="17882" y="6453"/>
                      </a:cubicBezTo>
                      <a:close/>
                    </a:path>
                  </a:pathLst>
                </a:custGeom>
                <a:grpFill/>
                <a:ln w="5978" cap="flat">
                  <a:noFill/>
                  <a:prstDash val="solid"/>
                  <a:miter/>
                </a:ln>
              </p:spPr>
              <p:txBody>
                <a:bodyPr rtlCol="0" anchor="ctr"/>
                <a:lstStyle/>
                <a:p>
                  <a:endParaRPr lang="en-GB"/>
                </a:p>
              </p:txBody>
            </p:sp>
          </p:grpSp>
          <p:grpSp>
            <p:nvGrpSpPr>
              <p:cNvPr id="700" name="Graphic 3">
                <a:extLst>
                  <a:ext uri="{FF2B5EF4-FFF2-40B4-BE49-F238E27FC236}">
                    <a16:creationId xmlns:a16="http://schemas.microsoft.com/office/drawing/2014/main" id="{157510CE-B4C4-48DA-89E6-15AFDDF384FF}"/>
                  </a:ext>
                </a:extLst>
              </p:cNvPr>
              <p:cNvGrpSpPr/>
              <p:nvPr/>
            </p:nvGrpSpPr>
            <p:grpSpPr>
              <a:xfrm>
                <a:off x="6620569" y="5416311"/>
                <a:ext cx="40529" cy="96090"/>
                <a:chOff x="6620569" y="5416311"/>
                <a:chExt cx="40529" cy="96090"/>
              </a:xfrm>
              <a:grpFill/>
            </p:grpSpPr>
            <p:sp>
              <p:nvSpPr>
                <p:cNvPr id="3290" name="Vrije vorm: vorm 3289">
                  <a:extLst>
                    <a:ext uri="{FF2B5EF4-FFF2-40B4-BE49-F238E27FC236}">
                      <a16:creationId xmlns:a16="http://schemas.microsoft.com/office/drawing/2014/main" id="{F54BE4B2-A9CA-4827-902A-BAF2C45CFA6E}"/>
                    </a:ext>
                  </a:extLst>
                </p:cNvPr>
                <p:cNvSpPr/>
                <p:nvPr/>
              </p:nvSpPr>
              <p:spPr>
                <a:xfrm>
                  <a:off x="6627810" y="5424636"/>
                  <a:ext cx="25415" cy="79439"/>
                </a:xfrm>
                <a:custGeom>
                  <a:avLst/>
                  <a:gdLst>
                    <a:gd name="connsiteX0" fmla="*/ 0 w 25415"/>
                    <a:gd name="connsiteY0" fmla="*/ 839 h 79439"/>
                    <a:gd name="connsiteX1" fmla="*/ 2932 w 25415"/>
                    <a:gd name="connsiteY1" fmla="*/ 0 h 79439"/>
                    <a:gd name="connsiteX2" fmla="*/ 25415 w 25415"/>
                    <a:gd name="connsiteY2" fmla="*/ 78601 h 79439"/>
                    <a:gd name="connsiteX3" fmla="*/ 22483 w 25415"/>
                    <a:gd name="connsiteY3" fmla="*/ 79439 h 79439"/>
                  </a:gdLst>
                  <a:ahLst/>
                  <a:cxnLst>
                    <a:cxn ang="0">
                      <a:pos x="connsiteX0" y="connsiteY0"/>
                    </a:cxn>
                    <a:cxn ang="0">
                      <a:pos x="connsiteX1" y="connsiteY1"/>
                    </a:cxn>
                    <a:cxn ang="0">
                      <a:pos x="connsiteX2" y="connsiteY2"/>
                    </a:cxn>
                    <a:cxn ang="0">
                      <a:pos x="connsiteX3" y="connsiteY3"/>
                    </a:cxn>
                  </a:cxnLst>
                  <a:rect l="l" t="t" r="r" b="b"/>
                  <a:pathLst>
                    <a:path w="25415" h="79439">
                      <a:moveTo>
                        <a:pt x="0" y="839"/>
                      </a:moveTo>
                      <a:lnTo>
                        <a:pt x="2932" y="0"/>
                      </a:lnTo>
                      <a:lnTo>
                        <a:pt x="25415" y="78601"/>
                      </a:lnTo>
                      <a:lnTo>
                        <a:pt x="22483" y="79439"/>
                      </a:lnTo>
                      <a:close/>
                    </a:path>
                  </a:pathLst>
                </a:custGeom>
                <a:grpFill/>
                <a:ln w="5978" cap="flat">
                  <a:noFill/>
                  <a:prstDash val="solid"/>
                  <a:miter/>
                </a:ln>
              </p:spPr>
              <p:txBody>
                <a:bodyPr rtlCol="0" anchor="ctr"/>
                <a:lstStyle/>
                <a:p>
                  <a:endParaRPr lang="en-GB"/>
                </a:p>
              </p:txBody>
            </p:sp>
            <p:sp>
              <p:nvSpPr>
                <p:cNvPr id="3291" name="Vrije vorm: vorm 3290">
                  <a:extLst>
                    <a:ext uri="{FF2B5EF4-FFF2-40B4-BE49-F238E27FC236}">
                      <a16:creationId xmlns:a16="http://schemas.microsoft.com/office/drawing/2014/main" id="{559E4103-8F21-4BB5-9D36-A22246A4E5B5}"/>
                    </a:ext>
                  </a:extLst>
                </p:cNvPr>
                <p:cNvSpPr/>
                <p:nvPr/>
              </p:nvSpPr>
              <p:spPr>
                <a:xfrm>
                  <a:off x="6642757" y="5493979"/>
                  <a:ext cx="18341" cy="18421"/>
                </a:xfrm>
                <a:custGeom>
                  <a:avLst/>
                  <a:gdLst>
                    <a:gd name="connsiteX0" fmla="*/ 17992 w 18341"/>
                    <a:gd name="connsiteY0" fmla="*/ 6710 h 18421"/>
                    <a:gd name="connsiteX1" fmla="*/ 11713 w 18341"/>
                    <a:gd name="connsiteY1" fmla="*/ 18073 h 18421"/>
                    <a:gd name="connsiteX2" fmla="*/ 349 w 18341"/>
                    <a:gd name="connsiteY2" fmla="*/ 11733 h 18421"/>
                    <a:gd name="connsiteX3" fmla="*/ 6629 w 18341"/>
                    <a:gd name="connsiteY3" fmla="*/ 370 h 18421"/>
                    <a:gd name="connsiteX4" fmla="*/ 17992 w 18341"/>
                    <a:gd name="connsiteY4" fmla="*/ 67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1">
                      <a:moveTo>
                        <a:pt x="17992" y="6710"/>
                      </a:moveTo>
                      <a:cubicBezTo>
                        <a:pt x="19368" y="11614"/>
                        <a:pt x="16557" y="16697"/>
                        <a:pt x="11713" y="18073"/>
                      </a:cubicBezTo>
                      <a:cubicBezTo>
                        <a:pt x="6868" y="19448"/>
                        <a:pt x="1784" y="16638"/>
                        <a:pt x="349" y="11733"/>
                      </a:cubicBezTo>
                      <a:cubicBezTo>
                        <a:pt x="-1026" y="6829"/>
                        <a:pt x="1784" y="1746"/>
                        <a:pt x="6629" y="370"/>
                      </a:cubicBezTo>
                      <a:cubicBezTo>
                        <a:pt x="11533" y="-1065"/>
                        <a:pt x="16617" y="1806"/>
                        <a:pt x="17992" y="6710"/>
                      </a:cubicBezTo>
                      <a:close/>
                    </a:path>
                  </a:pathLst>
                </a:custGeom>
                <a:grpFill/>
                <a:ln w="5978" cap="flat">
                  <a:noFill/>
                  <a:prstDash val="solid"/>
                  <a:miter/>
                </a:ln>
              </p:spPr>
              <p:txBody>
                <a:bodyPr rtlCol="0" anchor="ctr"/>
                <a:lstStyle/>
                <a:p>
                  <a:endParaRPr lang="en-GB"/>
                </a:p>
              </p:txBody>
            </p:sp>
            <p:sp>
              <p:nvSpPr>
                <p:cNvPr id="3292" name="Vrije vorm: vorm 3291">
                  <a:extLst>
                    <a:ext uri="{FF2B5EF4-FFF2-40B4-BE49-F238E27FC236}">
                      <a16:creationId xmlns:a16="http://schemas.microsoft.com/office/drawing/2014/main" id="{904A5DC5-67F2-4AA5-A41C-1FB7B1AA1D5D}"/>
                    </a:ext>
                  </a:extLst>
                </p:cNvPr>
                <p:cNvSpPr/>
                <p:nvPr/>
              </p:nvSpPr>
              <p:spPr>
                <a:xfrm>
                  <a:off x="6620569" y="5416311"/>
                  <a:ext cx="18341" cy="18400"/>
                </a:xfrm>
                <a:custGeom>
                  <a:avLst/>
                  <a:gdLst>
                    <a:gd name="connsiteX0" fmla="*/ 17992 w 18341"/>
                    <a:gd name="connsiteY0" fmla="*/ 6688 h 18400"/>
                    <a:gd name="connsiteX1" fmla="*/ 6629 w 18341"/>
                    <a:gd name="connsiteY1" fmla="*/ 349 h 18400"/>
                    <a:gd name="connsiteX2" fmla="*/ 349 w 18341"/>
                    <a:gd name="connsiteY2" fmla="*/ 11712 h 18400"/>
                    <a:gd name="connsiteX3" fmla="*/ 11712 w 18341"/>
                    <a:gd name="connsiteY3" fmla="*/ 18052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6617" y="1785"/>
                        <a:pt x="11533" y="-1027"/>
                        <a:pt x="6629" y="349"/>
                      </a:cubicBezTo>
                      <a:cubicBezTo>
                        <a:pt x="1785" y="1725"/>
                        <a:pt x="-1027" y="6808"/>
                        <a:pt x="349" y="11712"/>
                      </a:cubicBezTo>
                      <a:cubicBezTo>
                        <a:pt x="1725" y="16617"/>
                        <a:pt x="6808" y="19427"/>
                        <a:pt x="11712" y="18052"/>
                      </a:cubicBezTo>
                      <a:cubicBezTo>
                        <a:pt x="16557" y="16676"/>
                        <a:pt x="19368" y="11533"/>
                        <a:pt x="17992" y="6688"/>
                      </a:cubicBezTo>
                      <a:close/>
                    </a:path>
                  </a:pathLst>
                </a:custGeom>
                <a:grpFill/>
                <a:ln w="5978" cap="flat">
                  <a:noFill/>
                  <a:prstDash val="solid"/>
                  <a:miter/>
                </a:ln>
              </p:spPr>
              <p:txBody>
                <a:bodyPr rtlCol="0" anchor="ctr"/>
                <a:lstStyle/>
                <a:p>
                  <a:endParaRPr lang="en-GB"/>
                </a:p>
              </p:txBody>
            </p:sp>
          </p:grpSp>
          <p:grpSp>
            <p:nvGrpSpPr>
              <p:cNvPr id="701" name="Graphic 3">
                <a:extLst>
                  <a:ext uri="{FF2B5EF4-FFF2-40B4-BE49-F238E27FC236}">
                    <a16:creationId xmlns:a16="http://schemas.microsoft.com/office/drawing/2014/main" id="{A6F4493A-CD62-4EA3-BA08-EAAAE27FE3E1}"/>
                  </a:ext>
                </a:extLst>
              </p:cNvPr>
              <p:cNvGrpSpPr/>
              <p:nvPr/>
            </p:nvGrpSpPr>
            <p:grpSpPr>
              <a:xfrm>
                <a:off x="5397541" y="1786913"/>
                <a:ext cx="34397" cy="58670"/>
                <a:chOff x="5397541" y="1786913"/>
                <a:chExt cx="34397" cy="58670"/>
              </a:xfrm>
              <a:grpFill/>
            </p:grpSpPr>
            <p:sp>
              <p:nvSpPr>
                <p:cNvPr id="3287" name="Vrije vorm: vorm 3286">
                  <a:extLst>
                    <a:ext uri="{FF2B5EF4-FFF2-40B4-BE49-F238E27FC236}">
                      <a16:creationId xmlns:a16="http://schemas.microsoft.com/office/drawing/2014/main" id="{8009B80B-D3A7-445A-A3B1-589FCFAD54BB}"/>
                    </a:ext>
                  </a:extLst>
                </p:cNvPr>
                <p:cNvSpPr/>
                <p:nvPr/>
              </p:nvSpPr>
              <p:spPr>
                <a:xfrm>
                  <a:off x="5405212" y="1794881"/>
                  <a:ext cx="19269" cy="42288"/>
                </a:xfrm>
                <a:custGeom>
                  <a:avLst/>
                  <a:gdLst>
                    <a:gd name="connsiteX0" fmla="*/ 0 w 19269"/>
                    <a:gd name="connsiteY0" fmla="*/ 1131 h 42288"/>
                    <a:gd name="connsiteX1" fmla="*/ 2833 w 19269"/>
                    <a:gd name="connsiteY1" fmla="*/ 0 h 42288"/>
                    <a:gd name="connsiteX2" fmla="*/ 19270 w 19269"/>
                    <a:gd name="connsiteY2" fmla="*/ 41157 h 42288"/>
                    <a:gd name="connsiteX3" fmla="*/ 16437 w 19269"/>
                    <a:gd name="connsiteY3" fmla="*/ 42289 h 42288"/>
                  </a:gdLst>
                  <a:ahLst/>
                  <a:cxnLst>
                    <a:cxn ang="0">
                      <a:pos x="connsiteX0" y="connsiteY0"/>
                    </a:cxn>
                    <a:cxn ang="0">
                      <a:pos x="connsiteX1" y="connsiteY1"/>
                    </a:cxn>
                    <a:cxn ang="0">
                      <a:pos x="connsiteX2" y="connsiteY2"/>
                    </a:cxn>
                    <a:cxn ang="0">
                      <a:pos x="connsiteX3" y="connsiteY3"/>
                    </a:cxn>
                  </a:cxnLst>
                  <a:rect l="l" t="t" r="r" b="b"/>
                  <a:pathLst>
                    <a:path w="19269" h="42288">
                      <a:moveTo>
                        <a:pt x="0" y="1131"/>
                      </a:moveTo>
                      <a:lnTo>
                        <a:pt x="2833" y="0"/>
                      </a:lnTo>
                      <a:lnTo>
                        <a:pt x="19270" y="41157"/>
                      </a:lnTo>
                      <a:lnTo>
                        <a:pt x="16437" y="42289"/>
                      </a:lnTo>
                      <a:close/>
                    </a:path>
                  </a:pathLst>
                </a:custGeom>
                <a:grpFill/>
                <a:ln w="5978" cap="flat">
                  <a:noFill/>
                  <a:prstDash val="solid"/>
                  <a:miter/>
                </a:ln>
              </p:spPr>
              <p:txBody>
                <a:bodyPr rtlCol="0" anchor="ctr"/>
                <a:lstStyle/>
                <a:p>
                  <a:endParaRPr lang="en-GB"/>
                </a:p>
              </p:txBody>
            </p:sp>
            <p:sp>
              <p:nvSpPr>
                <p:cNvPr id="3288" name="Vrije vorm: vorm 3287">
                  <a:extLst>
                    <a:ext uri="{FF2B5EF4-FFF2-40B4-BE49-F238E27FC236}">
                      <a16:creationId xmlns:a16="http://schemas.microsoft.com/office/drawing/2014/main" id="{A991BF94-0CD2-4C18-BFA5-B47CE848D55E}"/>
                    </a:ext>
                  </a:extLst>
                </p:cNvPr>
                <p:cNvSpPr/>
                <p:nvPr/>
              </p:nvSpPr>
              <p:spPr>
                <a:xfrm>
                  <a:off x="5397541" y="1786913"/>
                  <a:ext cx="18342" cy="18395"/>
                </a:xfrm>
                <a:custGeom>
                  <a:avLst/>
                  <a:gdLst>
                    <a:gd name="connsiteX0" fmla="*/ 679 w 18342"/>
                    <a:gd name="connsiteY0" fmla="*/ 12607 h 18395"/>
                    <a:gd name="connsiteX1" fmla="*/ 5762 w 18342"/>
                    <a:gd name="connsiteY1" fmla="*/ 645 h 18395"/>
                    <a:gd name="connsiteX2" fmla="*/ 17664 w 18342"/>
                    <a:gd name="connsiteY2" fmla="*/ 5789 h 18395"/>
                    <a:gd name="connsiteX3" fmla="*/ 12580 w 18342"/>
                    <a:gd name="connsiteY3" fmla="*/ 17750 h 18395"/>
                    <a:gd name="connsiteX4" fmla="*/ 679 w 18342"/>
                    <a:gd name="connsiteY4" fmla="*/ 1260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5">
                      <a:moveTo>
                        <a:pt x="679" y="12607"/>
                      </a:moveTo>
                      <a:cubicBezTo>
                        <a:pt x="-1235" y="7882"/>
                        <a:pt x="1037" y="2499"/>
                        <a:pt x="5762" y="645"/>
                      </a:cubicBezTo>
                      <a:cubicBezTo>
                        <a:pt x="10487" y="-1209"/>
                        <a:pt x="15810" y="1064"/>
                        <a:pt x="17664" y="5789"/>
                      </a:cubicBezTo>
                      <a:cubicBezTo>
                        <a:pt x="19577" y="10513"/>
                        <a:pt x="17305" y="15896"/>
                        <a:pt x="12580" y="17750"/>
                      </a:cubicBezTo>
                      <a:cubicBezTo>
                        <a:pt x="7915" y="19604"/>
                        <a:pt x="2533" y="17331"/>
                        <a:pt x="679" y="12607"/>
                      </a:cubicBezTo>
                      <a:close/>
                    </a:path>
                  </a:pathLst>
                </a:custGeom>
                <a:grpFill/>
                <a:ln w="5978" cap="flat">
                  <a:noFill/>
                  <a:prstDash val="solid"/>
                  <a:miter/>
                </a:ln>
              </p:spPr>
              <p:txBody>
                <a:bodyPr rtlCol="0" anchor="ctr"/>
                <a:lstStyle/>
                <a:p>
                  <a:endParaRPr lang="en-GB"/>
                </a:p>
              </p:txBody>
            </p:sp>
            <p:sp>
              <p:nvSpPr>
                <p:cNvPr id="3289" name="Vrije vorm: vorm 3288">
                  <a:extLst>
                    <a:ext uri="{FF2B5EF4-FFF2-40B4-BE49-F238E27FC236}">
                      <a16:creationId xmlns:a16="http://schemas.microsoft.com/office/drawing/2014/main" id="{63ABBC93-1E45-4A4A-982E-F196852B07E1}"/>
                    </a:ext>
                  </a:extLst>
                </p:cNvPr>
                <p:cNvSpPr/>
                <p:nvPr/>
              </p:nvSpPr>
              <p:spPr>
                <a:xfrm>
                  <a:off x="5413661" y="1827139"/>
                  <a:ext cx="18276" cy="18444"/>
                </a:xfrm>
                <a:custGeom>
                  <a:avLst/>
                  <a:gdLst>
                    <a:gd name="connsiteX0" fmla="*/ 646 w 18276"/>
                    <a:gd name="connsiteY0" fmla="*/ 12631 h 18444"/>
                    <a:gd name="connsiteX1" fmla="*/ 12548 w 18276"/>
                    <a:gd name="connsiteY1" fmla="*/ 17775 h 18444"/>
                    <a:gd name="connsiteX2" fmla="*/ 17631 w 18276"/>
                    <a:gd name="connsiteY2" fmla="*/ 5813 h 18444"/>
                    <a:gd name="connsiteX3" fmla="*/ 5729 w 18276"/>
                    <a:gd name="connsiteY3" fmla="*/ 670 h 18444"/>
                    <a:gd name="connsiteX4" fmla="*/ 646 w 18276"/>
                    <a:gd name="connsiteY4" fmla="*/ 12631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 h="18444">
                      <a:moveTo>
                        <a:pt x="646" y="12631"/>
                      </a:moveTo>
                      <a:cubicBezTo>
                        <a:pt x="2559" y="17356"/>
                        <a:pt x="7882" y="19689"/>
                        <a:pt x="12548" y="17775"/>
                      </a:cubicBezTo>
                      <a:cubicBezTo>
                        <a:pt x="17212" y="15921"/>
                        <a:pt x="19485" y="10538"/>
                        <a:pt x="17631" y="5813"/>
                      </a:cubicBezTo>
                      <a:cubicBezTo>
                        <a:pt x="15717" y="1089"/>
                        <a:pt x="10394" y="-1244"/>
                        <a:pt x="5729" y="670"/>
                      </a:cubicBezTo>
                      <a:cubicBezTo>
                        <a:pt x="1064" y="2584"/>
                        <a:pt x="-1208" y="7907"/>
                        <a:pt x="646" y="12631"/>
                      </a:cubicBezTo>
                      <a:close/>
                    </a:path>
                  </a:pathLst>
                </a:custGeom>
                <a:grpFill/>
                <a:ln w="5978" cap="flat">
                  <a:noFill/>
                  <a:prstDash val="solid"/>
                  <a:miter/>
                </a:ln>
              </p:spPr>
              <p:txBody>
                <a:bodyPr rtlCol="0" anchor="ctr"/>
                <a:lstStyle/>
                <a:p>
                  <a:endParaRPr lang="en-GB"/>
                </a:p>
              </p:txBody>
            </p:sp>
          </p:grpSp>
          <p:grpSp>
            <p:nvGrpSpPr>
              <p:cNvPr id="702" name="Graphic 3">
                <a:extLst>
                  <a:ext uri="{FF2B5EF4-FFF2-40B4-BE49-F238E27FC236}">
                    <a16:creationId xmlns:a16="http://schemas.microsoft.com/office/drawing/2014/main" id="{5FF1ED28-7845-44D0-96DF-9256ED8CED97}"/>
                  </a:ext>
                </a:extLst>
              </p:cNvPr>
              <p:cNvGrpSpPr/>
              <p:nvPr/>
            </p:nvGrpSpPr>
            <p:grpSpPr>
              <a:xfrm>
                <a:off x="5299457" y="1541763"/>
                <a:ext cx="109523" cy="246464"/>
                <a:chOff x="5299457" y="1541763"/>
                <a:chExt cx="109523" cy="246464"/>
              </a:xfrm>
              <a:grpFill/>
            </p:grpSpPr>
            <p:sp>
              <p:nvSpPr>
                <p:cNvPr id="3284" name="Vrije vorm: vorm 3283">
                  <a:extLst>
                    <a:ext uri="{FF2B5EF4-FFF2-40B4-BE49-F238E27FC236}">
                      <a16:creationId xmlns:a16="http://schemas.microsoft.com/office/drawing/2014/main" id="{9DF7E152-847C-4B41-A078-5D492FC2AEAC}"/>
                    </a:ext>
                  </a:extLst>
                </p:cNvPr>
                <p:cNvSpPr/>
                <p:nvPr/>
              </p:nvSpPr>
              <p:spPr>
                <a:xfrm>
                  <a:off x="5307176" y="1549711"/>
                  <a:ext cx="94268" cy="230079"/>
                </a:xfrm>
                <a:custGeom>
                  <a:avLst/>
                  <a:gdLst>
                    <a:gd name="connsiteX0" fmla="*/ 0 w 94268"/>
                    <a:gd name="connsiteY0" fmla="*/ 1131 h 230079"/>
                    <a:gd name="connsiteX1" fmla="*/ 2833 w 94268"/>
                    <a:gd name="connsiteY1" fmla="*/ 0 h 230079"/>
                    <a:gd name="connsiteX2" fmla="*/ 94269 w 94268"/>
                    <a:gd name="connsiteY2" fmla="*/ 228948 h 230079"/>
                    <a:gd name="connsiteX3" fmla="*/ 91436 w 94268"/>
                    <a:gd name="connsiteY3" fmla="*/ 230079 h 230079"/>
                  </a:gdLst>
                  <a:ahLst/>
                  <a:cxnLst>
                    <a:cxn ang="0">
                      <a:pos x="connsiteX0" y="connsiteY0"/>
                    </a:cxn>
                    <a:cxn ang="0">
                      <a:pos x="connsiteX1" y="connsiteY1"/>
                    </a:cxn>
                    <a:cxn ang="0">
                      <a:pos x="connsiteX2" y="connsiteY2"/>
                    </a:cxn>
                    <a:cxn ang="0">
                      <a:pos x="connsiteX3" y="connsiteY3"/>
                    </a:cxn>
                  </a:cxnLst>
                  <a:rect l="l" t="t" r="r" b="b"/>
                  <a:pathLst>
                    <a:path w="94268" h="230079">
                      <a:moveTo>
                        <a:pt x="0" y="1131"/>
                      </a:moveTo>
                      <a:lnTo>
                        <a:pt x="2833" y="0"/>
                      </a:lnTo>
                      <a:lnTo>
                        <a:pt x="94269" y="228948"/>
                      </a:lnTo>
                      <a:lnTo>
                        <a:pt x="91436" y="230079"/>
                      </a:lnTo>
                      <a:close/>
                    </a:path>
                  </a:pathLst>
                </a:custGeom>
                <a:grpFill/>
                <a:ln w="5978" cap="flat">
                  <a:noFill/>
                  <a:prstDash val="solid"/>
                  <a:miter/>
                </a:ln>
              </p:spPr>
              <p:txBody>
                <a:bodyPr rtlCol="0" anchor="ctr"/>
                <a:lstStyle/>
                <a:p>
                  <a:endParaRPr lang="en-GB"/>
                </a:p>
              </p:txBody>
            </p:sp>
            <p:sp>
              <p:nvSpPr>
                <p:cNvPr id="3285" name="Vrije vorm: vorm 3284">
                  <a:extLst>
                    <a:ext uri="{FF2B5EF4-FFF2-40B4-BE49-F238E27FC236}">
                      <a16:creationId xmlns:a16="http://schemas.microsoft.com/office/drawing/2014/main" id="{676EE2F1-7D6F-4E9C-952A-08F52D785BBA}"/>
                    </a:ext>
                  </a:extLst>
                </p:cNvPr>
                <p:cNvSpPr/>
                <p:nvPr/>
              </p:nvSpPr>
              <p:spPr>
                <a:xfrm>
                  <a:off x="5299457" y="1541763"/>
                  <a:ext cx="18342" cy="18395"/>
                </a:xfrm>
                <a:custGeom>
                  <a:avLst/>
                  <a:gdLst>
                    <a:gd name="connsiteX0" fmla="*/ 679 w 18342"/>
                    <a:gd name="connsiteY0" fmla="*/ 12607 h 18395"/>
                    <a:gd name="connsiteX1" fmla="*/ 5762 w 18342"/>
                    <a:gd name="connsiteY1" fmla="*/ 645 h 18395"/>
                    <a:gd name="connsiteX2" fmla="*/ 17664 w 18342"/>
                    <a:gd name="connsiteY2" fmla="*/ 5789 h 18395"/>
                    <a:gd name="connsiteX3" fmla="*/ 12580 w 18342"/>
                    <a:gd name="connsiteY3" fmla="*/ 17750 h 18395"/>
                    <a:gd name="connsiteX4" fmla="*/ 679 w 18342"/>
                    <a:gd name="connsiteY4" fmla="*/ 1260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5">
                      <a:moveTo>
                        <a:pt x="679" y="12607"/>
                      </a:moveTo>
                      <a:cubicBezTo>
                        <a:pt x="-1235" y="7882"/>
                        <a:pt x="1037" y="2499"/>
                        <a:pt x="5762" y="645"/>
                      </a:cubicBezTo>
                      <a:cubicBezTo>
                        <a:pt x="10427" y="-1209"/>
                        <a:pt x="15810" y="1064"/>
                        <a:pt x="17664" y="5789"/>
                      </a:cubicBezTo>
                      <a:cubicBezTo>
                        <a:pt x="19577" y="10513"/>
                        <a:pt x="17305" y="15896"/>
                        <a:pt x="12580" y="17750"/>
                      </a:cubicBezTo>
                      <a:cubicBezTo>
                        <a:pt x="7915" y="19604"/>
                        <a:pt x="2592" y="17331"/>
                        <a:pt x="679" y="12607"/>
                      </a:cubicBezTo>
                      <a:close/>
                    </a:path>
                  </a:pathLst>
                </a:custGeom>
                <a:grpFill/>
                <a:ln w="5978" cap="flat">
                  <a:noFill/>
                  <a:prstDash val="solid"/>
                  <a:miter/>
                </a:ln>
              </p:spPr>
              <p:txBody>
                <a:bodyPr rtlCol="0" anchor="ctr"/>
                <a:lstStyle/>
                <a:p>
                  <a:endParaRPr lang="en-GB"/>
                </a:p>
              </p:txBody>
            </p:sp>
            <p:sp>
              <p:nvSpPr>
                <p:cNvPr id="3286" name="Vrije vorm: vorm 3285">
                  <a:extLst>
                    <a:ext uri="{FF2B5EF4-FFF2-40B4-BE49-F238E27FC236}">
                      <a16:creationId xmlns:a16="http://schemas.microsoft.com/office/drawing/2014/main" id="{E8B39777-9AB5-435D-A8B7-4006939BE4F4}"/>
                    </a:ext>
                  </a:extLst>
                </p:cNvPr>
                <p:cNvSpPr/>
                <p:nvPr/>
              </p:nvSpPr>
              <p:spPr>
                <a:xfrm>
                  <a:off x="5390695" y="1769783"/>
                  <a:ext cx="18284" cy="18444"/>
                </a:xfrm>
                <a:custGeom>
                  <a:avLst/>
                  <a:gdLst>
                    <a:gd name="connsiteX0" fmla="*/ 646 w 18284"/>
                    <a:gd name="connsiteY0" fmla="*/ 12631 h 18444"/>
                    <a:gd name="connsiteX1" fmla="*/ 12547 w 18284"/>
                    <a:gd name="connsiteY1" fmla="*/ 17775 h 18444"/>
                    <a:gd name="connsiteX2" fmla="*/ 17631 w 18284"/>
                    <a:gd name="connsiteY2" fmla="*/ 5813 h 18444"/>
                    <a:gd name="connsiteX3" fmla="*/ 5729 w 18284"/>
                    <a:gd name="connsiteY3" fmla="*/ 670 h 18444"/>
                    <a:gd name="connsiteX4" fmla="*/ 646 w 18284"/>
                    <a:gd name="connsiteY4" fmla="*/ 12631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4">
                      <a:moveTo>
                        <a:pt x="646" y="12631"/>
                      </a:moveTo>
                      <a:cubicBezTo>
                        <a:pt x="2560" y="17356"/>
                        <a:pt x="7883" y="19689"/>
                        <a:pt x="12547" y="17775"/>
                      </a:cubicBezTo>
                      <a:cubicBezTo>
                        <a:pt x="17273" y="15921"/>
                        <a:pt x="19485" y="10538"/>
                        <a:pt x="17631" y="5813"/>
                      </a:cubicBezTo>
                      <a:cubicBezTo>
                        <a:pt x="15717" y="1089"/>
                        <a:pt x="10395" y="-1244"/>
                        <a:pt x="5729" y="670"/>
                      </a:cubicBezTo>
                      <a:cubicBezTo>
                        <a:pt x="1065" y="2524"/>
                        <a:pt x="-1208" y="7907"/>
                        <a:pt x="646" y="12631"/>
                      </a:cubicBezTo>
                      <a:close/>
                    </a:path>
                  </a:pathLst>
                </a:custGeom>
                <a:grpFill/>
                <a:ln w="5978" cap="flat">
                  <a:noFill/>
                  <a:prstDash val="solid"/>
                  <a:miter/>
                </a:ln>
              </p:spPr>
              <p:txBody>
                <a:bodyPr rtlCol="0" anchor="ctr"/>
                <a:lstStyle/>
                <a:p>
                  <a:endParaRPr lang="en-GB"/>
                </a:p>
              </p:txBody>
            </p:sp>
          </p:grpSp>
          <p:grpSp>
            <p:nvGrpSpPr>
              <p:cNvPr id="703" name="Graphic 3">
                <a:extLst>
                  <a:ext uri="{FF2B5EF4-FFF2-40B4-BE49-F238E27FC236}">
                    <a16:creationId xmlns:a16="http://schemas.microsoft.com/office/drawing/2014/main" id="{48223E20-030E-4F37-AFF2-FED22F1954AD}"/>
                  </a:ext>
                </a:extLst>
              </p:cNvPr>
              <p:cNvGrpSpPr/>
              <p:nvPr/>
            </p:nvGrpSpPr>
            <p:grpSpPr>
              <a:xfrm>
                <a:off x="6480231" y="5039345"/>
                <a:ext cx="67079" cy="201617"/>
                <a:chOff x="6480231" y="5039345"/>
                <a:chExt cx="67079" cy="201617"/>
              </a:xfrm>
              <a:grpFill/>
            </p:grpSpPr>
            <p:sp>
              <p:nvSpPr>
                <p:cNvPr id="3281" name="Vrije vorm: vorm 3280">
                  <a:extLst>
                    <a:ext uri="{FF2B5EF4-FFF2-40B4-BE49-F238E27FC236}">
                      <a16:creationId xmlns:a16="http://schemas.microsoft.com/office/drawing/2014/main" id="{7A6C7457-0D81-44BD-87E9-7CB77BF7EA87}"/>
                    </a:ext>
                  </a:extLst>
                </p:cNvPr>
                <p:cNvSpPr/>
                <p:nvPr/>
              </p:nvSpPr>
              <p:spPr>
                <a:xfrm>
                  <a:off x="6488016" y="5047938"/>
                  <a:ext cx="51940" cy="184870"/>
                </a:xfrm>
                <a:custGeom>
                  <a:avLst/>
                  <a:gdLst>
                    <a:gd name="connsiteX0" fmla="*/ 0 w 51940"/>
                    <a:gd name="connsiteY0" fmla="*/ 785 h 184870"/>
                    <a:gd name="connsiteX1" fmla="*/ 2948 w 51940"/>
                    <a:gd name="connsiteY1" fmla="*/ 0 h 184870"/>
                    <a:gd name="connsiteX2" fmla="*/ 51941 w 51940"/>
                    <a:gd name="connsiteY2" fmla="*/ 184086 h 184870"/>
                    <a:gd name="connsiteX3" fmla="*/ 48993 w 51940"/>
                    <a:gd name="connsiteY3" fmla="*/ 184870 h 184870"/>
                  </a:gdLst>
                  <a:ahLst/>
                  <a:cxnLst>
                    <a:cxn ang="0">
                      <a:pos x="connsiteX0" y="connsiteY0"/>
                    </a:cxn>
                    <a:cxn ang="0">
                      <a:pos x="connsiteX1" y="connsiteY1"/>
                    </a:cxn>
                    <a:cxn ang="0">
                      <a:pos x="connsiteX2" y="connsiteY2"/>
                    </a:cxn>
                    <a:cxn ang="0">
                      <a:pos x="connsiteX3" y="connsiteY3"/>
                    </a:cxn>
                  </a:cxnLst>
                  <a:rect l="l" t="t" r="r" b="b"/>
                  <a:pathLst>
                    <a:path w="51940" h="184870">
                      <a:moveTo>
                        <a:pt x="0" y="785"/>
                      </a:moveTo>
                      <a:lnTo>
                        <a:pt x="2948" y="0"/>
                      </a:lnTo>
                      <a:lnTo>
                        <a:pt x="51941" y="184086"/>
                      </a:lnTo>
                      <a:lnTo>
                        <a:pt x="48993" y="184870"/>
                      </a:lnTo>
                      <a:close/>
                    </a:path>
                  </a:pathLst>
                </a:custGeom>
                <a:grpFill/>
                <a:ln w="5978" cap="flat">
                  <a:noFill/>
                  <a:prstDash val="solid"/>
                  <a:miter/>
                </a:ln>
              </p:spPr>
              <p:txBody>
                <a:bodyPr rtlCol="0" anchor="ctr"/>
                <a:lstStyle/>
                <a:p>
                  <a:endParaRPr lang="en-GB"/>
                </a:p>
              </p:txBody>
            </p:sp>
            <p:sp>
              <p:nvSpPr>
                <p:cNvPr id="3282" name="Vrije vorm: vorm 3281">
                  <a:extLst>
                    <a:ext uri="{FF2B5EF4-FFF2-40B4-BE49-F238E27FC236}">
                      <a16:creationId xmlns:a16="http://schemas.microsoft.com/office/drawing/2014/main" id="{FD90F5F0-0AFC-454E-935E-81996FD8DE09}"/>
                    </a:ext>
                  </a:extLst>
                </p:cNvPr>
                <p:cNvSpPr/>
                <p:nvPr/>
              </p:nvSpPr>
              <p:spPr>
                <a:xfrm>
                  <a:off x="6528978" y="5222534"/>
                  <a:ext cx="18332" cy="18427"/>
                </a:xfrm>
                <a:custGeom>
                  <a:avLst/>
                  <a:gdLst>
                    <a:gd name="connsiteX0" fmla="*/ 18018 w 18332"/>
                    <a:gd name="connsiteY0" fmla="*/ 6869 h 18427"/>
                    <a:gd name="connsiteX1" fmla="*/ 11559 w 18332"/>
                    <a:gd name="connsiteY1" fmla="*/ 18113 h 18427"/>
                    <a:gd name="connsiteX2" fmla="*/ 315 w 18332"/>
                    <a:gd name="connsiteY2" fmla="*/ 11534 h 18427"/>
                    <a:gd name="connsiteX3" fmla="*/ 6774 w 18332"/>
                    <a:gd name="connsiteY3" fmla="*/ 291 h 18427"/>
                    <a:gd name="connsiteX4" fmla="*/ 18018 w 18332"/>
                    <a:gd name="connsiteY4" fmla="*/ 6869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7">
                      <a:moveTo>
                        <a:pt x="18018" y="6869"/>
                      </a:moveTo>
                      <a:cubicBezTo>
                        <a:pt x="19334" y="11773"/>
                        <a:pt x="16403" y="16857"/>
                        <a:pt x="11559" y="18113"/>
                      </a:cubicBezTo>
                      <a:cubicBezTo>
                        <a:pt x="6655" y="19429"/>
                        <a:pt x="1631" y="16498"/>
                        <a:pt x="315" y="11534"/>
                      </a:cubicBezTo>
                      <a:cubicBezTo>
                        <a:pt x="-1001" y="6630"/>
                        <a:pt x="1930" y="1547"/>
                        <a:pt x="6774" y="291"/>
                      </a:cubicBezTo>
                      <a:cubicBezTo>
                        <a:pt x="11678" y="-965"/>
                        <a:pt x="16702" y="1965"/>
                        <a:pt x="18018" y="6869"/>
                      </a:cubicBezTo>
                      <a:close/>
                    </a:path>
                  </a:pathLst>
                </a:custGeom>
                <a:grpFill/>
                <a:ln w="5978" cap="flat">
                  <a:noFill/>
                  <a:prstDash val="solid"/>
                  <a:miter/>
                </a:ln>
              </p:spPr>
              <p:txBody>
                <a:bodyPr rtlCol="0" anchor="ctr"/>
                <a:lstStyle/>
                <a:p>
                  <a:endParaRPr lang="en-GB"/>
                </a:p>
              </p:txBody>
            </p:sp>
            <p:sp>
              <p:nvSpPr>
                <p:cNvPr id="3283" name="Vrije vorm: vorm 3282">
                  <a:extLst>
                    <a:ext uri="{FF2B5EF4-FFF2-40B4-BE49-F238E27FC236}">
                      <a16:creationId xmlns:a16="http://schemas.microsoft.com/office/drawing/2014/main" id="{B51C60D6-0107-4239-B9D9-BADF21A1802E}"/>
                    </a:ext>
                  </a:extLst>
                </p:cNvPr>
                <p:cNvSpPr/>
                <p:nvPr/>
              </p:nvSpPr>
              <p:spPr>
                <a:xfrm>
                  <a:off x="6480231" y="5039345"/>
                  <a:ext cx="18316" cy="18403"/>
                </a:xfrm>
                <a:custGeom>
                  <a:avLst/>
                  <a:gdLst>
                    <a:gd name="connsiteX0" fmla="*/ 18022 w 18316"/>
                    <a:gd name="connsiteY0" fmla="*/ 6869 h 18403"/>
                    <a:gd name="connsiteX1" fmla="*/ 6778 w 18316"/>
                    <a:gd name="connsiteY1" fmla="*/ 291 h 18403"/>
                    <a:gd name="connsiteX2" fmla="*/ 319 w 18316"/>
                    <a:gd name="connsiteY2" fmla="*/ 11534 h 18403"/>
                    <a:gd name="connsiteX3" fmla="*/ 11563 w 18316"/>
                    <a:gd name="connsiteY3" fmla="*/ 18113 h 18403"/>
                    <a:gd name="connsiteX4" fmla="*/ 18022 w 18316"/>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18022" y="6869"/>
                      </a:moveTo>
                      <a:cubicBezTo>
                        <a:pt x="16706" y="1965"/>
                        <a:pt x="11683" y="-966"/>
                        <a:pt x="6778" y="291"/>
                      </a:cubicBezTo>
                      <a:cubicBezTo>
                        <a:pt x="1874" y="1606"/>
                        <a:pt x="-997" y="6630"/>
                        <a:pt x="319" y="11534"/>
                      </a:cubicBezTo>
                      <a:cubicBezTo>
                        <a:pt x="1635" y="16439"/>
                        <a:pt x="6659" y="19369"/>
                        <a:pt x="11563" y="18113"/>
                      </a:cubicBezTo>
                      <a:cubicBezTo>
                        <a:pt x="16407" y="16857"/>
                        <a:pt x="19278" y="11773"/>
                        <a:pt x="18022" y="6869"/>
                      </a:cubicBezTo>
                      <a:close/>
                    </a:path>
                  </a:pathLst>
                </a:custGeom>
                <a:grpFill/>
                <a:ln w="5978" cap="flat">
                  <a:noFill/>
                  <a:prstDash val="solid"/>
                  <a:miter/>
                </a:ln>
              </p:spPr>
              <p:txBody>
                <a:bodyPr rtlCol="0" anchor="ctr"/>
                <a:lstStyle/>
                <a:p>
                  <a:endParaRPr lang="en-GB"/>
                </a:p>
              </p:txBody>
            </p:sp>
          </p:grpSp>
          <p:grpSp>
            <p:nvGrpSpPr>
              <p:cNvPr id="704" name="Graphic 3">
                <a:extLst>
                  <a:ext uri="{FF2B5EF4-FFF2-40B4-BE49-F238E27FC236}">
                    <a16:creationId xmlns:a16="http://schemas.microsoft.com/office/drawing/2014/main" id="{D3F99C1B-6564-43D2-96A6-8CEF568EBB2D}"/>
                  </a:ext>
                </a:extLst>
              </p:cNvPr>
              <p:cNvGrpSpPr/>
              <p:nvPr/>
            </p:nvGrpSpPr>
            <p:grpSpPr>
              <a:xfrm>
                <a:off x="6509968" y="5032211"/>
                <a:ext cx="118914" cy="513278"/>
                <a:chOff x="6509968" y="5032211"/>
                <a:chExt cx="118914" cy="513278"/>
              </a:xfrm>
              <a:grpFill/>
            </p:grpSpPr>
            <p:sp>
              <p:nvSpPr>
                <p:cNvPr id="3278" name="Vrije vorm: vorm 3277">
                  <a:extLst>
                    <a:ext uri="{FF2B5EF4-FFF2-40B4-BE49-F238E27FC236}">
                      <a16:creationId xmlns:a16="http://schemas.microsoft.com/office/drawing/2014/main" id="{82B5359A-BC09-4DBF-9758-A7C466D60EE4}"/>
                    </a:ext>
                  </a:extLst>
                </p:cNvPr>
                <p:cNvSpPr/>
                <p:nvPr/>
              </p:nvSpPr>
              <p:spPr>
                <a:xfrm>
                  <a:off x="6517511" y="5040652"/>
                  <a:ext cx="103825" cy="496339"/>
                </a:xfrm>
                <a:custGeom>
                  <a:avLst/>
                  <a:gdLst>
                    <a:gd name="connsiteX0" fmla="*/ 2990 w 103825"/>
                    <a:gd name="connsiteY0" fmla="*/ 0 h 496339"/>
                    <a:gd name="connsiteX1" fmla="*/ 103825 w 103825"/>
                    <a:gd name="connsiteY1" fmla="*/ 495742 h 496339"/>
                    <a:gd name="connsiteX2" fmla="*/ 100835 w 103825"/>
                    <a:gd name="connsiteY2" fmla="*/ 496340 h 496339"/>
                    <a:gd name="connsiteX3" fmla="*/ 0 w 103825"/>
                    <a:gd name="connsiteY3" fmla="*/ 598 h 496339"/>
                  </a:gdLst>
                  <a:ahLst/>
                  <a:cxnLst>
                    <a:cxn ang="0">
                      <a:pos x="connsiteX0" y="connsiteY0"/>
                    </a:cxn>
                    <a:cxn ang="0">
                      <a:pos x="connsiteX1" y="connsiteY1"/>
                    </a:cxn>
                    <a:cxn ang="0">
                      <a:pos x="connsiteX2" y="connsiteY2"/>
                    </a:cxn>
                    <a:cxn ang="0">
                      <a:pos x="connsiteX3" y="connsiteY3"/>
                    </a:cxn>
                  </a:cxnLst>
                  <a:rect l="l" t="t" r="r" b="b"/>
                  <a:pathLst>
                    <a:path w="103825" h="496339">
                      <a:moveTo>
                        <a:pt x="2990" y="0"/>
                      </a:moveTo>
                      <a:lnTo>
                        <a:pt x="103825" y="495742"/>
                      </a:lnTo>
                      <a:lnTo>
                        <a:pt x="100835" y="496340"/>
                      </a:lnTo>
                      <a:lnTo>
                        <a:pt x="0" y="598"/>
                      </a:lnTo>
                      <a:close/>
                    </a:path>
                  </a:pathLst>
                </a:custGeom>
                <a:grpFill/>
                <a:ln w="5978" cap="flat">
                  <a:noFill/>
                  <a:prstDash val="solid"/>
                  <a:miter/>
                </a:ln>
              </p:spPr>
              <p:txBody>
                <a:bodyPr rtlCol="0" anchor="ctr"/>
                <a:lstStyle/>
                <a:p>
                  <a:endParaRPr lang="en-GB"/>
                </a:p>
              </p:txBody>
            </p:sp>
            <p:sp>
              <p:nvSpPr>
                <p:cNvPr id="3279" name="Vrije vorm: vorm 3278">
                  <a:extLst>
                    <a:ext uri="{FF2B5EF4-FFF2-40B4-BE49-F238E27FC236}">
                      <a16:creationId xmlns:a16="http://schemas.microsoft.com/office/drawing/2014/main" id="{B9E43071-8E40-4305-BBCC-8CCC165F9062}"/>
                    </a:ext>
                  </a:extLst>
                </p:cNvPr>
                <p:cNvSpPr/>
                <p:nvPr/>
              </p:nvSpPr>
              <p:spPr>
                <a:xfrm>
                  <a:off x="6509968" y="5032211"/>
                  <a:ext cx="18319" cy="18416"/>
                </a:xfrm>
                <a:custGeom>
                  <a:avLst/>
                  <a:gdLst>
                    <a:gd name="connsiteX0" fmla="*/ 187 w 18319"/>
                    <a:gd name="connsiteY0" fmla="*/ 11012 h 18416"/>
                    <a:gd name="connsiteX1" fmla="*/ 7304 w 18319"/>
                    <a:gd name="connsiteY1" fmla="*/ 187 h 18416"/>
                    <a:gd name="connsiteX2" fmla="*/ 18129 w 18319"/>
                    <a:gd name="connsiteY2" fmla="*/ 7424 h 18416"/>
                    <a:gd name="connsiteX3" fmla="*/ 11012 w 18319"/>
                    <a:gd name="connsiteY3" fmla="*/ 18249 h 18416"/>
                    <a:gd name="connsiteX4" fmla="*/ 187 w 18319"/>
                    <a:gd name="connsiteY4" fmla="*/ 1101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6">
                      <a:moveTo>
                        <a:pt x="187" y="11012"/>
                      </a:moveTo>
                      <a:cubicBezTo>
                        <a:pt x="-829" y="6048"/>
                        <a:pt x="2400" y="1144"/>
                        <a:pt x="7304" y="187"/>
                      </a:cubicBezTo>
                      <a:cubicBezTo>
                        <a:pt x="12268" y="-830"/>
                        <a:pt x="17113" y="2400"/>
                        <a:pt x="18129" y="7424"/>
                      </a:cubicBezTo>
                      <a:cubicBezTo>
                        <a:pt x="19146" y="12388"/>
                        <a:pt x="15976" y="17292"/>
                        <a:pt x="11012" y="18249"/>
                      </a:cubicBezTo>
                      <a:cubicBezTo>
                        <a:pt x="6048" y="19206"/>
                        <a:pt x="1204" y="15976"/>
                        <a:pt x="187" y="11012"/>
                      </a:cubicBezTo>
                      <a:close/>
                    </a:path>
                  </a:pathLst>
                </a:custGeom>
                <a:grpFill/>
                <a:ln w="5978" cap="flat">
                  <a:noFill/>
                  <a:prstDash val="solid"/>
                  <a:miter/>
                </a:ln>
              </p:spPr>
              <p:txBody>
                <a:bodyPr rtlCol="0" anchor="ctr"/>
                <a:lstStyle/>
                <a:p>
                  <a:endParaRPr lang="en-GB"/>
                </a:p>
              </p:txBody>
            </p:sp>
            <p:sp>
              <p:nvSpPr>
                <p:cNvPr id="3280" name="Vrije vorm: vorm 3279">
                  <a:extLst>
                    <a:ext uri="{FF2B5EF4-FFF2-40B4-BE49-F238E27FC236}">
                      <a16:creationId xmlns:a16="http://schemas.microsoft.com/office/drawing/2014/main" id="{54C9149D-7158-428F-9AF2-44917C3BF8AF}"/>
                    </a:ext>
                  </a:extLst>
                </p:cNvPr>
                <p:cNvSpPr/>
                <p:nvPr/>
              </p:nvSpPr>
              <p:spPr>
                <a:xfrm>
                  <a:off x="6610563" y="5527076"/>
                  <a:ext cx="18319" cy="18414"/>
                </a:xfrm>
                <a:custGeom>
                  <a:avLst/>
                  <a:gdLst>
                    <a:gd name="connsiteX0" fmla="*/ 187 w 18319"/>
                    <a:gd name="connsiteY0" fmla="*/ 10993 h 18414"/>
                    <a:gd name="connsiteX1" fmla="*/ 11012 w 18319"/>
                    <a:gd name="connsiteY1" fmla="*/ 18230 h 18414"/>
                    <a:gd name="connsiteX2" fmla="*/ 18129 w 18319"/>
                    <a:gd name="connsiteY2" fmla="*/ 7404 h 18414"/>
                    <a:gd name="connsiteX3" fmla="*/ 7304 w 18319"/>
                    <a:gd name="connsiteY3" fmla="*/ 168 h 18414"/>
                    <a:gd name="connsiteX4" fmla="*/ 187 w 18319"/>
                    <a:gd name="connsiteY4" fmla="*/ 1099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4">
                      <a:moveTo>
                        <a:pt x="187" y="10993"/>
                      </a:moveTo>
                      <a:cubicBezTo>
                        <a:pt x="1204" y="15957"/>
                        <a:pt x="6048" y="19246"/>
                        <a:pt x="11012" y="18230"/>
                      </a:cubicBezTo>
                      <a:cubicBezTo>
                        <a:pt x="15977" y="17213"/>
                        <a:pt x="19146" y="12369"/>
                        <a:pt x="18129" y="7404"/>
                      </a:cubicBezTo>
                      <a:cubicBezTo>
                        <a:pt x="17113" y="2440"/>
                        <a:pt x="12268" y="-789"/>
                        <a:pt x="7304" y="168"/>
                      </a:cubicBezTo>
                      <a:cubicBezTo>
                        <a:pt x="2400" y="1185"/>
                        <a:pt x="-830" y="6029"/>
                        <a:pt x="187" y="10993"/>
                      </a:cubicBezTo>
                      <a:close/>
                    </a:path>
                  </a:pathLst>
                </a:custGeom>
                <a:grpFill/>
                <a:ln w="5978" cap="flat">
                  <a:noFill/>
                  <a:prstDash val="solid"/>
                  <a:miter/>
                </a:ln>
              </p:spPr>
              <p:txBody>
                <a:bodyPr rtlCol="0" anchor="ctr"/>
                <a:lstStyle/>
                <a:p>
                  <a:endParaRPr lang="en-GB"/>
                </a:p>
              </p:txBody>
            </p:sp>
          </p:grpSp>
          <p:grpSp>
            <p:nvGrpSpPr>
              <p:cNvPr id="705" name="Graphic 3">
                <a:extLst>
                  <a:ext uri="{FF2B5EF4-FFF2-40B4-BE49-F238E27FC236}">
                    <a16:creationId xmlns:a16="http://schemas.microsoft.com/office/drawing/2014/main" id="{3ACC298D-F1E8-44E6-96C2-FF04A4FC710D}"/>
                  </a:ext>
                </a:extLst>
              </p:cNvPr>
              <p:cNvGrpSpPr/>
              <p:nvPr/>
            </p:nvGrpSpPr>
            <p:grpSpPr>
              <a:xfrm>
                <a:off x="5246767" y="1410068"/>
                <a:ext cx="64206" cy="133010"/>
                <a:chOff x="5246767" y="1410068"/>
                <a:chExt cx="64206" cy="133010"/>
              </a:xfrm>
              <a:grpFill/>
            </p:grpSpPr>
            <p:sp>
              <p:nvSpPr>
                <p:cNvPr id="3275" name="Vrije vorm: vorm 3274">
                  <a:extLst>
                    <a:ext uri="{FF2B5EF4-FFF2-40B4-BE49-F238E27FC236}">
                      <a16:creationId xmlns:a16="http://schemas.microsoft.com/office/drawing/2014/main" id="{9076761B-1C28-4ED1-8CE7-F69EFAE7ADD0}"/>
                    </a:ext>
                  </a:extLst>
                </p:cNvPr>
                <p:cNvSpPr/>
                <p:nvPr/>
              </p:nvSpPr>
              <p:spPr>
                <a:xfrm>
                  <a:off x="5254487" y="1418078"/>
                  <a:ext cx="48927" cy="116549"/>
                </a:xfrm>
                <a:custGeom>
                  <a:avLst/>
                  <a:gdLst>
                    <a:gd name="connsiteX0" fmla="*/ 0 w 48927"/>
                    <a:gd name="connsiteY0" fmla="*/ 1131 h 116549"/>
                    <a:gd name="connsiteX1" fmla="*/ 2833 w 48927"/>
                    <a:gd name="connsiteY1" fmla="*/ 0 h 116549"/>
                    <a:gd name="connsiteX2" fmla="*/ 48928 w 48927"/>
                    <a:gd name="connsiteY2" fmla="*/ 115418 h 116549"/>
                    <a:gd name="connsiteX3" fmla="*/ 46095 w 48927"/>
                    <a:gd name="connsiteY3" fmla="*/ 116550 h 116549"/>
                  </a:gdLst>
                  <a:ahLst/>
                  <a:cxnLst>
                    <a:cxn ang="0">
                      <a:pos x="connsiteX0" y="connsiteY0"/>
                    </a:cxn>
                    <a:cxn ang="0">
                      <a:pos x="connsiteX1" y="connsiteY1"/>
                    </a:cxn>
                    <a:cxn ang="0">
                      <a:pos x="connsiteX2" y="connsiteY2"/>
                    </a:cxn>
                    <a:cxn ang="0">
                      <a:pos x="connsiteX3" y="connsiteY3"/>
                    </a:cxn>
                  </a:cxnLst>
                  <a:rect l="l" t="t" r="r" b="b"/>
                  <a:pathLst>
                    <a:path w="48927" h="116549">
                      <a:moveTo>
                        <a:pt x="0" y="1131"/>
                      </a:moveTo>
                      <a:lnTo>
                        <a:pt x="2833" y="0"/>
                      </a:lnTo>
                      <a:lnTo>
                        <a:pt x="48928" y="115418"/>
                      </a:lnTo>
                      <a:lnTo>
                        <a:pt x="46095" y="116550"/>
                      </a:lnTo>
                      <a:close/>
                    </a:path>
                  </a:pathLst>
                </a:custGeom>
                <a:grpFill/>
                <a:ln w="5978" cap="flat">
                  <a:noFill/>
                  <a:prstDash val="solid"/>
                  <a:miter/>
                </a:ln>
              </p:spPr>
              <p:txBody>
                <a:bodyPr rtlCol="0" anchor="ctr"/>
                <a:lstStyle/>
                <a:p>
                  <a:endParaRPr lang="en-GB"/>
                </a:p>
              </p:txBody>
            </p:sp>
            <p:sp>
              <p:nvSpPr>
                <p:cNvPr id="3276" name="Vrije vorm: vorm 3275">
                  <a:extLst>
                    <a:ext uri="{FF2B5EF4-FFF2-40B4-BE49-F238E27FC236}">
                      <a16:creationId xmlns:a16="http://schemas.microsoft.com/office/drawing/2014/main" id="{184268EC-A56F-475F-AA3E-82E4B5118F11}"/>
                    </a:ext>
                  </a:extLst>
                </p:cNvPr>
                <p:cNvSpPr/>
                <p:nvPr/>
              </p:nvSpPr>
              <p:spPr>
                <a:xfrm>
                  <a:off x="5246767" y="1410068"/>
                  <a:ext cx="18342" cy="18419"/>
                </a:xfrm>
                <a:custGeom>
                  <a:avLst/>
                  <a:gdLst>
                    <a:gd name="connsiteX0" fmla="*/ 679 w 18342"/>
                    <a:gd name="connsiteY0" fmla="*/ 12607 h 18419"/>
                    <a:gd name="connsiteX1" fmla="*/ 5762 w 18342"/>
                    <a:gd name="connsiteY1" fmla="*/ 645 h 18419"/>
                    <a:gd name="connsiteX2" fmla="*/ 17664 w 18342"/>
                    <a:gd name="connsiteY2" fmla="*/ 5789 h 18419"/>
                    <a:gd name="connsiteX3" fmla="*/ 12580 w 18342"/>
                    <a:gd name="connsiteY3" fmla="*/ 17750 h 18419"/>
                    <a:gd name="connsiteX4" fmla="*/ 679 w 18342"/>
                    <a:gd name="connsiteY4" fmla="*/ 1260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9">
                      <a:moveTo>
                        <a:pt x="679" y="12607"/>
                      </a:moveTo>
                      <a:cubicBezTo>
                        <a:pt x="-1235" y="7882"/>
                        <a:pt x="1037" y="2499"/>
                        <a:pt x="5762" y="645"/>
                      </a:cubicBezTo>
                      <a:cubicBezTo>
                        <a:pt x="10427" y="-1209"/>
                        <a:pt x="15810" y="1064"/>
                        <a:pt x="17664" y="5789"/>
                      </a:cubicBezTo>
                      <a:cubicBezTo>
                        <a:pt x="19577" y="10513"/>
                        <a:pt x="17305" y="15896"/>
                        <a:pt x="12580" y="17750"/>
                      </a:cubicBezTo>
                      <a:cubicBezTo>
                        <a:pt x="7915" y="19664"/>
                        <a:pt x="2592" y="17331"/>
                        <a:pt x="679" y="12607"/>
                      </a:cubicBezTo>
                      <a:close/>
                    </a:path>
                  </a:pathLst>
                </a:custGeom>
                <a:grpFill/>
                <a:ln w="5978" cap="flat">
                  <a:noFill/>
                  <a:prstDash val="solid"/>
                  <a:miter/>
                </a:ln>
              </p:spPr>
              <p:txBody>
                <a:bodyPr rtlCol="0" anchor="ctr"/>
                <a:lstStyle/>
                <a:p>
                  <a:endParaRPr lang="en-GB"/>
                </a:p>
              </p:txBody>
            </p:sp>
            <p:sp>
              <p:nvSpPr>
                <p:cNvPr id="3277" name="Vrije vorm: vorm 3276">
                  <a:extLst>
                    <a:ext uri="{FF2B5EF4-FFF2-40B4-BE49-F238E27FC236}">
                      <a16:creationId xmlns:a16="http://schemas.microsoft.com/office/drawing/2014/main" id="{B106429D-E134-40C8-BD6E-7891C4B5139C}"/>
                    </a:ext>
                  </a:extLst>
                </p:cNvPr>
                <p:cNvSpPr/>
                <p:nvPr/>
              </p:nvSpPr>
              <p:spPr>
                <a:xfrm>
                  <a:off x="5292639" y="1524634"/>
                  <a:ext cx="18334" cy="18444"/>
                </a:xfrm>
                <a:custGeom>
                  <a:avLst/>
                  <a:gdLst>
                    <a:gd name="connsiteX0" fmla="*/ 679 w 18334"/>
                    <a:gd name="connsiteY0" fmla="*/ 12631 h 18444"/>
                    <a:gd name="connsiteX1" fmla="*/ 12580 w 18334"/>
                    <a:gd name="connsiteY1" fmla="*/ 17775 h 18444"/>
                    <a:gd name="connsiteX2" fmla="*/ 17664 w 18334"/>
                    <a:gd name="connsiteY2" fmla="*/ 5813 h 18444"/>
                    <a:gd name="connsiteX3" fmla="*/ 5762 w 18334"/>
                    <a:gd name="connsiteY3" fmla="*/ 670 h 18444"/>
                    <a:gd name="connsiteX4" fmla="*/ 679 w 18334"/>
                    <a:gd name="connsiteY4" fmla="*/ 12631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4">
                      <a:moveTo>
                        <a:pt x="679" y="12631"/>
                      </a:moveTo>
                      <a:cubicBezTo>
                        <a:pt x="2592" y="17356"/>
                        <a:pt x="7915" y="19689"/>
                        <a:pt x="12580" y="17775"/>
                      </a:cubicBezTo>
                      <a:cubicBezTo>
                        <a:pt x="17245" y="15921"/>
                        <a:pt x="19578" y="10538"/>
                        <a:pt x="17664" y="5813"/>
                      </a:cubicBezTo>
                      <a:cubicBezTo>
                        <a:pt x="15750" y="1089"/>
                        <a:pt x="10427" y="-1244"/>
                        <a:pt x="5762" y="670"/>
                      </a:cubicBezTo>
                      <a:cubicBezTo>
                        <a:pt x="1037" y="2524"/>
                        <a:pt x="-1235" y="7847"/>
                        <a:pt x="679" y="12631"/>
                      </a:cubicBezTo>
                      <a:close/>
                    </a:path>
                  </a:pathLst>
                </a:custGeom>
                <a:grpFill/>
                <a:ln w="5978" cap="flat">
                  <a:noFill/>
                  <a:prstDash val="solid"/>
                  <a:miter/>
                </a:ln>
              </p:spPr>
              <p:txBody>
                <a:bodyPr rtlCol="0" anchor="ctr"/>
                <a:lstStyle/>
                <a:p>
                  <a:endParaRPr lang="en-GB"/>
                </a:p>
              </p:txBody>
            </p:sp>
          </p:grpSp>
          <p:grpSp>
            <p:nvGrpSpPr>
              <p:cNvPr id="706" name="Graphic 3">
                <a:extLst>
                  <a:ext uri="{FF2B5EF4-FFF2-40B4-BE49-F238E27FC236}">
                    <a16:creationId xmlns:a16="http://schemas.microsoft.com/office/drawing/2014/main" id="{3D2DCCFD-9835-44B3-8F2A-EFBBDFE91DC5}"/>
                  </a:ext>
                </a:extLst>
              </p:cNvPr>
              <p:cNvGrpSpPr/>
              <p:nvPr/>
            </p:nvGrpSpPr>
            <p:grpSpPr>
              <a:xfrm>
                <a:off x="5246220" y="1410266"/>
                <a:ext cx="158247" cy="449208"/>
                <a:chOff x="5246220" y="1410266"/>
                <a:chExt cx="158247" cy="449208"/>
              </a:xfrm>
              <a:grpFill/>
            </p:grpSpPr>
            <p:sp>
              <p:nvSpPr>
                <p:cNvPr id="3272" name="Vrije vorm: vorm 3271">
                  <a:extLst>
                    <a:ext uri="{FF2B5EF4-FFF2-40B4-BE49-F238E27FC236}">
                      <a16:creationId xmlns:a16="http://schemas.microsoft.com/office/drawing/2014/main" id="{05ED98E9-DED8-4514-92A6-8D44E2923A0E}"/>
                    </a:ext>
                  </a:extLst>
                </p:cNvPr>
                <p:cNvSpPr/>
                <p:nvPr/>
              </p:nvSpPr>
              <p:spPr>
                <a:xfrm>
                  <a:off x="5253826" y="1418615"/>
                  <a:ext cx="143103" cy="432624"/>
                </a:xfrm>
                <a:custGeom>
                  <a:avLst/>
                  <a:gdLst>
                    <a:gd name="connsiteX0" fmla="*/ 0 w 143103"/>
                    <a:gd name="connsiteY0" fmla="*/ 942 h 432624"/>
                    <a:gd name="connsiteX1" fmla="*/ 2901 w 143103"/>
                    <a:gd name="connsiteY1" fmla="*/ 0 h 432624"/>
                    <a:gd name="connsiteX2" fmla="*/ 143104 w 143103"/>
                    <a:gd name="connsiteY2" fmla="*/ 431682 h 432624"/>
                    <a:gd name="connsiteX3" fmla="*/ 140203 w 143103"/>
                    <a:gd name="connsiteY3" fmla="*/ 432625 h 432624"/>
                  </a:gdLst>
                  <a:ahLst/>
                  <a:cxnLst>
                    <a:cxn ang="0">
                      <a:pos x="connsiteX0" y="connsiteY0"/>
                    </a:cxn>
                    <a:cxn ang="0">
                      <a:pos x="connsiteX1" y="connsiteY1"/>
                    </a:cxn>
                    <a:cxn ang="0">
                      <a:pos x="connsiteX2" y="connsiteY2"/>
                    </a:cxn>
                    <a:cxn ang="0">
                      <a:pos x="connsiteX3" y="connsiteY3"/>
                    </a:cxn>
                  </a:cxnLst>
                  <a:rect l="l" t="t" r="r" b="b"/>
                  <a:pathLst>
                    <a:path w="143103" h="432624">
                      <a:moveTo>
                        <a:pt x="0" y="942"/>
                      </a:moveTo>
                      <a:lnTo>
                        <a:pt x="2901" y="0"/>
                      </a:lnTo>
                      <a:lnTo>
                        <a:pt x="143104" y="431682"/>
                      </a:lnTo>
                      <a:lnTo>
                        <a:pt x="140203" y="432625"/>
                      </a:lnTo>
                      <a:close/>
                    </a:path>
                  </a:pathLst>
                </a:custGeom>
                <a:grpFill/>
                <a:ln w="5978" cap="flat">
                  <a:noFill/>
                  <a:prstDash val="solid"/>
                  <a:miter/>
                </a:ln>
              </p:spPr>
              <p:txBody>
                <a:bodyPr rtlCol="0" anchor="ctr"/>
                <a:lstStyle/>
                <a:p>
                  <a:endParaRPr lang="en-GB"/>
                </a:p>
              </p:txBody>
            </p:sp>
            <p:sp>
              <p:nvSpPr>
                <p:cNvPr id="3273" name="Vrije vorm: vorm 3272">
                  <a:extLst>
                    <a:ext uri="{FF2B5EF4-FFF2-40B4-BE49-F238E27FC236}">
                      <a16:creationId xmlns:a16="http://schemas.microsoft.com/office/drawing/2014/main" id="{2BA38BDD-9828-489A-BDEB-9B696296B403}"/>
                    </a:ext>
                  </a:extLst>
                </p:cNvPr>
                <p:cNvSpPr/>
                <p:nvPr/>
              </p:nvSpPr>
              <p:spPr>
                <a:xfrm>
                  <a:off x="5386169" y="1841058"/>
                  <a:ext cx="18298" cy="18416"/>
                </a:xfrm>
                <a:custGeom>
                  <a:avLst/>
                  <a:gdLst>
                    <a:gd name="connsiteX0" fmla="*/ 17851 w 18298"/>
                    <a:gd name="connsiteY0" fmla="*/ 6368 h 18416"/>
                    <a:gd name="connsiteX1" fmla="*/ 11990 w 18298"/>
                    <a:gd name="connsiteY1" fmla="*/ 17970 h 18416"/>
                    <a:gd name="connsiteX2" fmla="*/ 447 w 18298"/>
                    <a:gd name="connsiteY2" fmla="*/ 12049 h 18416"/>
                    <a:gd name="connsiteX3" fmla="*/ 6308 w 18298"/>
                    <a:gd name="connsiteY3" fmla="*/ 447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9406" y="11212"/>
                        <a:pt x="16774" y="16415"/>
                        <a:pt x="11990" y="17970"/>
                      </a:cubicBezTo>
                      <a:cubicBezTo>
                        <a:pt x="7205" y="19525"/>
                        <a:pt x="2002" y="16894"/>
                        <a:pt x="447" y="12049"/>
                      </a:cubicBezTo>
                      <a:cubicBezTo>
                        <a:pt x="-1108" y="7205"/>
                        <a:pt x="1524" y="2002"/>
                        <a:pt x="6308" y="447"/>
                      </a:cubicBezTo>
                      <a:cubicBezTo>
                        <a:pt x="11093" y="-1108"/>
                        <a:pt x="16296" y="1523"/>
                        <a:pt x="17851" y="6368"/>
                      </a:cubicBezTo>
                      <a:close/>
                    </a:path>
                  </a:pathLst>
                </a:custGeom>
                <a:grpFill/>
                <a:ln w="5978" cap="flat">
                  <a:noFill/>
                  <a:prstDash val="solid"/>
                  <a:miter/>
                </a:ln>
              </p:spPr>
              <p:txBody>
                <a:bodyPr rtlCol="0" anchor="ctr"/>
                <a:lstStyle/>
                <a:p>
                  <a:endParaRPr lang="en-GB"/>
                </a:p>
              </p:txBody>
            </p:sp>
            <p:sp>
              <p:nvSpPr>
                <p:cNvPr id="3274" name="Vrije vorm: vorm 3273">
                  <a:extLst>
                    <a:ext uri="{FF2B5EF4-FFF2-40B4-BE49-F238E27FC236}">
                      <a16:creationId xmlns:a16="http://schemas.microsoft.com/office/drawing/2014/main" id="{C9489C5E-E527-45CF-B603-8EF764AC3D62}"/>
                    </a:ext>
                  </a:extLst>
                </p:cNvPr>
                <p:cNvSpPr/>
                <p:nvPr/>
              </p:nvSpPr>
              <p:spPr>
                <a:xfrm>
                  <a:off x="5246220" y="1410266"/>
                  <a:ext cx="18326" cy="18416"/>
                </a:xfrm>
                <a:custGeom>
                  <a:avLst/>
                  <a:gdLst>
                    <a:gd name="connsiteX0" fmla="*/ 17851 w 18326"/>
                    <a:gd name="connsiteY0" fmla="*/ 6368 h 18416"/>
                    <a:gd name="connsiteX1" fmla="*/ 6308 w 18326"/>
                    <a:gd name="connsiteY1" fmla="*/ 447 h 18416"/>
                    <a:gd name="connsiteX2" fmla="*/ 447 w 18326"/>
                    <a:gd name="connsiteY2" fmla="*/ 12049 h 18416"/>
                    <a:gd name="connsiteX3" fmla="*/ 11990 w 18326"/>
                    <a:gd name="connsiteY3" fmla="*/ 17970 h 18416"/>
                    <a:gd name="connsiteX4" fmla="*/ 17851 w 18326"/>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6">
                      <a:moveTo>
                        <a:pt x="17851" y="6368"/>
                      </a:moveTo>
                      <a:cubicBezTo>
                        <a:pt x="16296" y="1523"/>
                        <a:pt x="11093" y="-1108"/>
                        <a:pt x="6308" y="447"/>
                      </a:cubicBezTo>
                      <a:cubicBezTo>
                        <a:pt x="1524" y="2002"/>
                        <a:pt x="-1108" y="7205"/>
                        <a:pt x="447" y="12049"/>
                      </a:cubicBezTo>
                      <a:cubicBezTo>
                        <a:pt x="2002" y="16894"/>
                        <a:pt x="7205" y="19525"/>
                        <a:pt x="11990" y="17970"/>
                      </a:cubicBezTo>
                      <a:cubicBezTo>
                        <a:pt x="16834" y="16415"/>
                        <a:pt x="19466" y="11212"/>
                        <a:pt x="17851" y="6368"/>
                      </a:cubicBezTo>
                      <a:close/>
                    </a:path>
                  </a:pathLst>
                </a:custGeom>
                <a:grpFill/>
                <a:ln w="5978" cap="flat">
                  <a:noFill/>
                  <a:prstDash val="solid"/>
                  <a:miter/>
                </a:ln>
              </p:spPr>
              <p:txBody>
                <a:bodyPr rtlCol="0" anchor="ctr"/>
                <a:lstStyle/>
                <a:p>
                  <a:endParaRPr lang="en-GB"/>
                </a:p>
              </p:txBody>
            </p:sp>
          </p:grpSp>
          <p:grpSp>
            <p:nvGrpSpPr>
              <p:cNvPr id="707" name="Graphic 3">
                <a:extLst>
                  <a:ext uri="{FF2B5EF4-FFF2-40B4-BE49-F238E27FC236}">
                    <a16:creationId xmlns:a16="http://schemas.microsoft.com/office/drawing/2014/main" id="{D7207A59-26B4-4B54-A754-2DE3D5EA0DBC}"/>
                  </a:ext>
                </a:extLst>
              </p:cNvPr>
              <p:cNvGrpSpPr/>
              <p:nvPr/>
            </p:nvGrpSpPr>
            <p:grpSpPr>
              <a:xfrm>
                <a:off x="5352034" y="1762195"/>
                <a:ext cx="51701" cy="97554"/>
                <a:chOff x="5352034" y="1762195"/>
                <a:chExt cx="51701" cy="97554"/>
              </a:xfrm>
              <a:grpFill/>
            </p:grpSpPr>
            <p:sp>
              <p:nvSpPr>
                <p:cNvPr id="3269" name="Vrije vorm: vorm 3268">
                  <a:extLst>
                    <a:ext uri="{FF2B5EF4-FFF2-40B4-BE49-F238E27FC236}">
                      <a16:creationId xmlns:a16="http://schemas.microsoft.com/office/drawing/2014/main" id="{BB05A071-A3E3-4093-97D4-E3F5F780CBCF}"/>
                    </a:ext>
                  </a:extLst>
                </p:cNvPr>
                <p:cNvSpPr/>
                <p:nvPr/>
              </p:nvSpPr>
              <p:spPr>
                <a:xfrm>
                  <a:off x="5359539" y="1770290"/>
                  <a:ext cx="36593" cy="81120"/>
                </a:xfrm>
                <a:custGeom>
                  <a:avLst/>
                  <a:gdLst>
                    <a:gd name="connsiteX0" fmla="*/ 0 w 36593"/>
                    <a:gd name="connsiteY0" fmla="*/ 1187 h 81120"/>
                    <a:gd name="connsiteX1" fmla="*/ 2810 w 36593"/>
                    <a:gd name="connsiteY1" fmla="*/ 0 h 81120"/>
                    <a:gd name="connsiteX2" fmla="*/ 36593 w 36593"/>
                    <a:gd name="connsiteY2" fmla="*/ 79933 h 81120"/>
                    <a:gd name="connsiteX3" fmla="*/ 33784 w 36593"/>
                    <a:gd name="connsiteY3" fmla="*/ 81121 h 81120"/>
                  </a:gdLst>
                  <a:ahLst/>
                  <a:cxnLst>
                    <a:cxn ang="0">
                      <a:pos x="connsiteX0" y="connsiteY0"/>
                    </a:cxn>
                    <a:cxn ang="0">
                      <a:pos x="connsiteX1" y="connsiteY1"/>
                    </a:cxn>
                    <a:cxn ang="0">
                      <a:pos x="connsiteX2" y="connsiteY2"/>
                    </a:cxn>
                    <a:cxn ang="0">
                      <a:pos x="connsiteX3" y="connsiteY3"/>
                    </a:cxn>
                  </a:cxnLst>
                  <a:rect l="l" t="t" r="r" b="b"/>
                  <a:pathLst>
                    <a:path w="36593" h="81120">
                      <a:moveTo>
                        <a:pt x="0" y="1187"/>
                      </a:moveTo>
                      <a:lnTo>
                        <a:pt x="2810" y="0"/>
                      </a:lnTo>
                      <a:lnTo>
                        <a:pt x="36593" y="79933"/>
                      </a:lnTo>
                      <a:lnTo>
                        <a:pt x="33784" y="81121"/>
                      </a:lnTo>
                      <a:close/>
                    </a:path>
                  </a:pathLst>
                </a:custGeom>
                <a:grpFill/>
                <a:ln w="5978" cap="flat">
                  <a:noFill/>
                  <a:prstDash val="solid"/>
                  <a:miter/>
                </a:ln>
              </p:spPr>
              <p:txBody>
                <a:bodyPr rtlCol="0" anchor="ctr"/>
                <a:lstStyle/>
                <a:p>
                  <a:endParaRPr lang="en-GB"/>
                </a:p>
              </p:txBody>
            </p:sp>
            <p:sp>
              <p:nvSpPr>
                <p:cNvPr id="3270" name="Vrije vorm: vorm 3269">
                  <a:extLst>
                    <a:ext uri="{FF2B5EF4-FFF2-40B4-BE49-F238E27FC236}">
                      <a16:creationId xmlns:a16="http://schemas.microsoft.com/office/drawing/2014/main" id="{80AF3423-0A87-4CAC-ABE4-DC901F3E01C0}"/>
                    </a:ext>
                  </a:extLst>
                </p:cNvPr>
                <p:cNvSpPr/>
                <p:nvPr/>
              </p:nvSpPr>
              <p:spPr>
                <a:xfrm>
                  <a:off x="5352034" y="1762195"/>
                  <a:ext cx="18329" cy="18430"/>
                </a:xfrm>
                <a:custGeom>
                  <a:avLst/>
                  <a:gdLst>
                    <a:gd name="connsiteX0" fmla="*/ 732 w 18329"/>
                    <a:gd name="connsiteY0" fmla="*/ 12803 h 18430"/>
                    <a:gd name="connsiteX1" fmla="*/ 5576 w 18329"/>
                    <a:gd name="connsiteY1" fmla="*/ 722 h 18430"/>
                    <a:gd name="connsiteX2" fmla="*/ 17597 w 18329"/>
                    <a:gd name="connsiteY2" fmla="*/ 5627 h 18430"/>
                    <a:gd name="connsiteX3" fmla="*/ 12753 w 18329"/>
                    <a:gd name="connsiteY3" fmla="*/ 17708 h 18430"/>
                    <a:gd name="connsiteX4" fmla="*/ 732 w 18329"/>
                    <a:gd name="connsiteY4" fmla="*/ 1280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0">
                      <a:moveTo>
                        <a:pt x="732" y="12803"/>
                      </a:moveTo>
                      <a:cubicBezTo>
                        <a:pt x="-1242" y="8139"/>
                        <a:pt x="911" y="2696"/>
                        <a:pt x="5576" y="722"/>
                      </a:cubicBezTo>
                      <a:cubicBezTo>
                        <a:pt x="10241" y="-1251"/>
                        <a:pt x="15624" y="962"/>
                        <a:pt x="17597" y="5627"/>
                      </a:cubicBezTo>
                      <a:cubicBezTo>
                        <a:pt x="19571" y="10292"/>
                        <a:pt x="17418" y="15734"/>
                        <a:pt x="12753" y="17708"/>
                      </a:cubicBezTo>
                      <a:cubicBezTo>
                        <a:pt x="8088" y="19681"/>
                        <a:pt x="2705" y="17468"/>
                        <a:pt x="732" y="12803"/>
                      </a:cubicBezTo>
                      <a:close/>
                    </a:path>
                  </a:pathLst>
                </a:custGeom>
                <a:grpFill/>
                <a:ln w="5978" cap="flat">
                  <a:noFill/>
                  <a:prstDash val="solid"/>
                  <a:miter/>
                </a:ln>
              </p:spPr>
              <p:txBody>
                <a:bodyPr rtlCol="0" anchor="ctr"/>
                <a:lstStyle/>
                <a:p>
                  <a:endParaRPr lang="en-GB"/>
                </a:p>
              </p:txBody>
            </p:sp>
            <p:sp>
              <p:nvSpPr>
                <p:cNvPr id="3271" name="Vrije vorm: vorm 3270">
                  <a:extLst>
                    <a:ext uri="{FF2B5EF4-FFF2-40B4-BE49-F238E27FC236}">
                      <a16:creationId xmlns:a16="http://schemas.microsoft.com/office/drawing/2014/main" id="{1D4B5B50-BD74-4488-96C8-F0FCF0439A09}"/>
                    </a:ext>
                  </a:extLst>
                </p:cNvPr>
                <p:cNvSpPr/>
                <p:nvPr/>
              </p:nvSpPr>
              <p:spPr>
                <a:xfrm>
                  <a:off x="5385406" y="1841320"/>
                  <a:ext cx="18329" cy="18430"/>
                </a:xfrm>
                <a:custGeom>
                  <a:avLst/>
                  <a:gdLst>
                    <a:gd name="connsiteX0" fmla="*/ 732 w 18329"/>
                    <a:gd name="connsiteY0" fmla="*/ 12803 h 18430"/>
                    <a:gd name="connsiteX1" fmla="*/ 12753 w 18329"/>
                    <a:gd name="connsiteY1" fmla="*/ 17708 h 18430"/>
                    <a:gd name="connsiteX2" fmla="*/ 17597 w 18329"/>
                    <a:gd name="connsiteY2" fmla="*/ 5627 h 18430"/>
                    <a:gd name="connsiteX3" fmla="*/ 5576 w 18329"/>
                    <a:gd name="connsiteY3" fmla="*/ 722 h 18430"/>
                    <a:gd name="connsiteX4" fmla="*/ 732 w 18329"/>
                    <a:gd name="connsiteY4" fmla="*/ 1280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0">
                      <a:moveTo>
                        <a:pt x="732" y="12803"/>
                      </a:moveTo>
                      <a:cubicBezTo>
                        <a:pt x="2706" y="17468"/>
                        <a:pt x="8088" y="19681"/>
                        <a:pt x="12753" y="17708"/>
                      </a:cubicBezTo>
                      <a:cubicBezTo>
                        <a:pt x="17418" y="15734"/>
                        <a:pt x="19571" y="10351"/>
                        <a:pt x="17597" y="5627"/>
                      </a:cubicBezTo>
                      <a:cubicBezTo>
                        <a:pt x="15624" y="962"/>
                        <a:pt x="10241" y="-1251"/>
                        <a:pt x="5576" y="722"/>
                      </a:cubicBezTo>
                      <a:cubicBezTo>
                        <a:pt x="911" y="2696"/>
                        <a:pt x="-1242" y="8138"/>
                        <a:pt x="732" y="12803"/>
                      </a:cubicBezTo>
                      <a:close/>
                    </a:path>
                  </a:pathLst>
                </a:custGeom>
                <a:grpFill/>
                <a:ln w="5978" cap="flat">
                  <a:noFill/>
                  <a:prstDash val="solid"/>
                  <a:miter/>
                </a:ln>
              </p:spPr>
              <p:txBody>
                <a:bodyPr rtlCol="0" anchor="ctr"/>
                <a:lstStyle/>
                <a:p>
                  <a:endParaRPr lang="en-GB"/>
                </a:p>
              </p:txBody>
            </p:sp>
          </p:grpSp>
          <p:grpSp>
            <p:nvGrpSpPr>
              <p:cNvPr id="708" name="Graphic 3">
                <a:extLst>
                  <a:ext uri="{FF2B5EF4-FFF2-40B4-BE49-F238E27FC236}">
                    <a16:creationId xmlns:a16="http://schemas.microsoft.com/office/drawing/2014/main" id="{C90FD71B-8EC9-45E5-A244-57685D92D892}"/>
                  </a:ext>
                </a:extLst>
              </p:cNvPr>
              <p:cNvGrpSpPr/>
              <p:nvPr/>
            </p:nvGrpSpPr>
            <p:grpSpPr>
              <a:xfrm>
                <a:off x="6533699" y="5240357"/>
                <a:ext cx="60560" cy="177096"/>
                <a:chOff x="6533699" y="5240357"/>
                <a:chExt cx="60560" cy="177096"/>
              </a:xfrm>
              <a:grpFill/>
            </p:grpSpPr>
            <p:sp>
              <p:nvSpPr>
                <p:cNvPr id="3266" name="Vrije vorm: vorm 3265">
                  <a:extLst>
                    <a:ext uri="{FF2B5EF4-FFF2-40B4-BE49-F238E27FC236}">
                      <a16:creationId xmlns:a16="http://schemas.microsoft.com/office/drawing/2014/main" id="{6096EA6B-F3EA-4DED-B367-BB9E24EA08DB}"/>
                    </a:ext>
                  </a:extLst>
                </p:cNvPr>
                <p:cNvSpPr/>
                <p:nvPr/>
              </p:nvSpPr>
              <p:spPr>
                <a:xfrm>
                  <a:off x="6541251" y="5248309"/>
                  <a:ext cx="45434" cy="160347"/>
                </a:xfrm>
                <a:custGeom>
                  <a:avLst/>
                  <a:gdLst>
                    <a:gd name="connsiteX0" fmla="*/ 0 w 45434"/>
                    <a:gd name="connsiteY0" fmla="*/ 785 h 160347"/>
                    <a:gd name="connsiteX1" fmla="*/ 2947 w 45434"/>
                    <a:gd name="connsiteY1" fmla="*/ 0 h 160347"/>
                    <a:gd name="connsiteX2" fmla="*/ 45435 w 45434"/>
                    <a:gd name="connsiteY2" fmla="*/ 159563 h 160347"/>
                    <a:gd name="connsiteX3" fmla="*/ 42487 w 45434"/>
                    <a:gd name="connsiteY3" fmla="*/ 160348 h 160347"/>
                  </a:gdLst>
                  <a:ahLst/>
                  <a:cxnLst>
                    <a:cxn ang="0">
                      <a:pos x="connsiteX0" y="connsiteY0"/>
                    </a:cxn>
                    <a:cxn ang="0">
                      <a:pos x="connsiteX1" y="connsiteY1"/>
                    </a:cxn>
                    <a:cxn ang="0">
                      <a:pos x="connsiteX2" y="connsiteY2"/>
                    </a:cxn>
                    <a:cxn ang="0">
                      <a:pos x="connsiteX3" y="connsiteY3"/>
                    </a:cxn>
                  </a:cxnLst>
                  <a:rect l="l" t="t" r="r" b="b"/>
                  <a:pathLst>
                    <a:path w="45434" h="160347">
                      <a:moveTo>
                        <a:pt x="0" y="785"/>
                      </a:moveTo>
                      <a:lnTo>
                        <a:pt x="2947" y="0"/>
                      </a:lnTo>
                      <a:lnTo>
                        <a:pt x="45435" y="159563"/>
                      </a:lnTo>
                      <a:lnTo>
                        <a:pt x="42487" y="160348"/>
                      </a:lnTo>
                      <a:close/>
                    </a:path>
                  </a:pathLst>
                </a:custGeom>
                <a:grpFill/>
                <a:ln w="5978" cap="flat">
                  <a:noFill/>
                  <a:prstDash val="solid"/>
                  <a:miter/>
                </a:ln>
              </p:spPr>
              <p:txBody>
                <a:bodyPr rtlCol="0" anchor="ctr"/>
                <a:lstStyle/>
                <a:p>
                  <a:endParaRPr lang="en-GB"/>
                </a:p>
              </p:txBody>
            </p:sp>
            <p:sp>
              <p:nvSpPr>
                <p:cNvPr id="3267" name="Vrije vorm: vorm 3266">
                  <a:extLst>
                    <a:ext uri="{FF2B5EF4-FFF2-40B4-BE49-F238E27FC236}">
                      <a16:creationId xmlns:a16="http://schemas.microsoft.com/office/drawing/2014/main" id="{42FDFDEB-B78A-400B-AA9B-B9B27BB8143C}"/>
                    </a:ext>
                  </a:extLst>
                </p:cNvPr>
                <p:cNvSpPr/>
                <p:nvPr/>
              </p:nvSpPr>
              <p:spPr>
                <a:xfrm>
                  <a:off x="6575927" y="5399025"/>
                  <a:ext cx="18333" cy="18427"/>
                </a:xfrm>
                <a:custGeom>
                  <a:avLst/>
                  <a:gdLst>
                    <a:gd name="connsiteX0" fmla="*/ 18018 w 18333"/>
                    <a:gd name="connsiteY0" fmla="*/ 6869 h 18427"/>
                    <a:gd name="connsiteX1" fmla="*/ 11559 w 18333"/>
                    <a:gd name="connsiteY1" fmla="*/ 18113 h 18427"/>
                    <a:gd name="connsiteX2" fmla="*/ 315 w 18333"/>
                    <a:gd name="connsiteY2" fmla="*/ 11534 h 18427"/>
                    <a:gd name="connsiteX3" fmla="*/ 6774 w 18333"/>
                    <a:gd name="connsiteY3" fmla="*/ 291 h 18427"/>
                    <a:gd name="connsiteX4" fmla="*/ 18018 w 18333"/>
                    <a:gd name="connsiteY4" fmla="*/ 6869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27">
                      <a:moveTo>
                        <a:pt x="18018" y="6869"/>
                      </a:moveTo>
                      <a:cubicBezTo>
                        <a:pt x="19334" y="11773"/>
                        <a:pt x="16403" y="16857"/>
                        <a:pt x="11559" y="18113"/>
                      </a:cubicBezTo>
                      <a:cubicBezTo>
                        <a:pt x="6655" y="19429"/>
                        <a:pt x="1631" y="16498"/>
                        <a:pt x="315" y="11534"/>
                      </a:cubicBezTo>
                      <a:cubicBezTo>
                        <a:pt x="-1001" y="6630"/>
                        <a:pt x="1930" y="1546"/>
                        <a:pt x="6774" y="291"/>
                      </a:cubicBezTo>
                      <a:cubicBezTo>
                        <a:pt x="11679" y="-965"/>
                        <a:pt x="16702" y="1965"/>
                        <a:pt x="18018" y="6869"/>
                      </a:cubicBezTo>
                      <a:close/>
                    </a:path>
                  </a:pathLst>
                </a:custGeom>
                <a:grpFill/>
                <a:ln w="5978" cap="flat">
                  <a:noFill/>
                  <a:prstDash val="solid"/>
                  <a:miter/>
                </a:ln>
              </p:spPr>
              <p:txBody>
                <a:bodyPr rtlCol="0" anchor="ctr"/>
                <a:lstStyle/>
                <a:p>
                  <a:endParaRPr lang="en-GB"/>
                </a:p>
              </p:txBody>
            </p:sp>
            <p:sp>
              <p:nvSpPr>
                <p:cNvPr id="3268" name="Vrije vorm: vorm 3267">
                  <a:extLst>
                    <a:ext uri="{FF2B5EF4-FFF2-40B4-BE49-F238E27FC236}">
                      <a16:creationId xmlns:a16="http://schemas.microsoft.com/office/drawing/2014/main" id="{E54C68C7-639C-40B1-AE2B-7394890B2839}"/>
                    </a:ext>
                  </a:extLst>
                </p:cNvPr>
                <p:cNvSpPr/>
                <p:nvPr/>
              </p:nvSpPr>
              <p:spPr>
                <a:xfrm>
                  <a:off x="6533699" y="5240357"/>
                  <a:ext cx="18341" cy="18403"/>
                </a:xfrm>
                <a:custGeom>
                  <a:avLst/>
                  <a:gdLst>
                    <a:gd name="connsiteX0" fmla="*/ 18022 w 18341"/>
                    <a:gd name="connsiteY0" fmla="*/ 6869 h 18403"/>
                    <a:gd name="connsiteX1" fmla="*/ 6778 w 18341"/>
                    <a:gd name="connsiteY1" fmla="*/ 290 h 18403"/>
                    <a:gd name="connsiteX2" fmla="*/ 319 w 18341"/>
                    <a:gd name="connsiteY2" fmla="*/ 11534 h 18403"/>
                    <a:gd name="connsiteX3" fmla="*/ 11563 w 18341"/>
                    <a:gd name="connsiteY3" fmla="*/ 18113 h 18403"/>
                    <a:gd name="connsiteX4" fmla="*/ 18022 w 18341"/>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3">
                      <a:moveTo>
                        <a:pt x="18022" y="6869"/>
                      </a:moveTo>
                      <a:cubicBezTo>
                        <a:pt x="16706" y="1965"/>
                        <a:pt x="11683" y="-965"/>
                        <a:pt x="6778" y="290"/>
                      </a:cubicBezTo>
                      <a:cubicBezTo>
                        <a:pt x="1874" y="1606"/>
                        <a:pt x="-997" y="6630"/>
                        <a:pt x="319" y="11534"/>
                      </a:cubicBezTo>
                      <a:cubicBezTo>
                        <a:pt x="1635" y="16438"/>
                        <a:pt x="6659" y="19369"/>
                        <a:pt x="11563" y="18113"/>
                      </a:cubicBezTo>
                      <a:cubicBezTo>
                        <a:pt x="16467" y="16857"/>
                        <a:pt x="19338" y="11833"/>
                        <a:pt x="18022" y="6869"/>
                      </a:cubicBezTo>
                      <a:close/>
                    </a:path>
                  </a:pathLst>
                </a:custGeom>
                <a:grpFill/>
                <a:ln w="5978" cap="flat">
                  <a:noFill/>
                  <a:prstDash val="solid"/>
                  <a:miter/>
                </a:ln>
              </p:spPr>
              <p:txBody>
                <a:bodyPr rtlCol="0" anchor="ctr"/>
                <a:lstStyle/>
                <a:p>
                  <a:endParaRPr lang="en-GB"/>
                </a:p>
              </p:txBody>
            </p:sp>
          </p:grpSp>
          <p:grpSp>
            <p:nvGrpSpPr>
              <p:cNvPr id="709" name="Graphic 3">
                <a:extLst>
                  <a:ext uri="{FF2B5EF4-FFF2-40B4-BE49-F238E27FC236}">
                    <a16:creationId xmlns:a16="http://schemas.microsoft.com/office/drawing/2014/main" id="{B7147423-F20B-4EA8-A739-10C9AC9E086D}"/>
                  </a:ext>
                </a:extLst>
              </p:cNvPr>
              <p:cNvGrpSpPr/>
              <p:nvPr/>
            </p:nvGrpSpPr>
            <p:grpSpPr>
              <a:xfrm>
                <a:off x="6580707" y="5416848"/>
                <a:ext cx="47702" cy="128772"/>
                <a:chOff x="6580707" y="5416848"/>
                <a:chExt cx="47702" cy="128772"/>
              </a:xfrm>
              <a:grpFill/>
            </p:grpSpPr>
            <p:sp>
              <p:nvSpPr>
                <p:cNvPr id="3263" name="Vrije vorm: vorm 3262">
                  <a:extLst>
                    <a:ext uri="{FF2B5EF4-FFF2-40B4-BE49-F238E27FC236}">
                      <a16:creationId xmlns:a16="http://schemas.microsoft.com/office/drawing/2014/main" id="{63BCA2CE-4AAD-406A-937A-2E502A39DB49}"/>
                    </a:ext>
                  </a:extLst>
                </p:cNvPr>
                <p:cNvSpPr/>
                <p:nvPr/>
              </p:nvSpPr>
              <p:spPr>
                <a:xfrm>
                  <a:off x="6588585" y="5425346"/>
                  <a:ext cx="32543" cy="111987"/>
                </a:xfrm>
                <a:custGeom>
                  <a:avLst/>
                  <a:gdLst>
                    <a:gd name="connsiteX0" fmla="*/ 0 w 32543"/>
                    <a:gd name="connsiteY0" fmla="*/ 784 h 111987"/>
                    <a:gd name="connsiteX1" fmla="*/ 2948 w 32543"/>
                    <a:gd name="connsiteY1" fmla="*/ 0 h 111987"/>
                    <a:gd name="connsiteX2" fmla="*/ 32543 w 32543"/>
                    <a:gd name="connsiteY2" fmla="*/ 111203 h 111987"/>
                    <a:gd name="connsiteX3" fmla="*/ 29596 w 32543"/>
                    <a:gd name="connsiteY3" fmla="*/ 111987 h 111987"/>
                  </a:gdLst>
                  <a:ahLst/>
                  <a:cxnLst>
                    <a:cxn ang="0">
                      <a:pos x="connsiteX0" y="connsiteY0"/>
                    </a:cxn>
                    <a:cxn ang="0">
                      <a:pos x="connsiteX1" y="connsiteY1"/>
                    </a:cxn>
                    <a:cxn ang="0">
                      <a:pos x="connsiteX2" y="connsiteY2"/>
                    </a:cxn>
                    <a:cxn ang="0">
                      <a:pos x="connsiteX3" y="connsiteY3"/>
                    </a:cxn>
                  </a:cxnLst>
                  <a:rect l="l" t="t" r="r" b="b"/>
                  <a:pathLst>
                    <a:path w="32543" h="111987">
                      <a:moveTo>
                        <a:pt x="0" y="784"/>
                      </a:moveTo>
                      <a:lnTo>
                        <a:pt x="2948" y="0"/>
                      </a:lnTo>
                      <a:lnTo>
                        <a:pt x="32543" y="111203"/>
                      </a:lnTo>
                      <a:lnTo>
                        <a:pt x="29596" y="111987"/>
                      </a:lnTo>
                      <a:close/>
                    </a:path>
                  </a:pathLst>
                </a:custGeom>
                <a:grpFill/>
                <a:ln w="5978" cap="flat">
                  <a:noFill/>
                  <a:prstDash val="solid"/>
                  <a:miter/>
                </a:ln>
              </p:spPr>
              <p:txBody>
                <a:bodyPr rtlCol="0" anchor="ctr"/>
                <a:lstStyle/>
                <a:p>
                  <a:endParaRPr lang="en-GB"/>
                </a:p>
              </p:txBody>
            </p:sp>
            <p:sp>
              <p:nvSpPr>
                <p:cNvPr id="3264" name="Vrije vorm: vorm 3263">
                  <a:extLst>
                    <a:ext uri="{FF2B5EF4-FFF2-40B4-BE49-F238E27FC236}">
                      <a16:creationId xmlns:a16="http://schemas.microsoft.com/office/drawing/2014/main" id="{4C58A91A-1241-407A-A83B-4DD38F9EEB66}"/>
                    </a:ext>
                  </a:extLst>
                </p:cNvPr>
                <p:cNvSpPr/>
                <p:nvPr/>
              </p:nvSpPr>
              <p:spPr>
                <a:xfrm>
                  <a:off x="6610077" y="5527168"/>
                  <a:ext cx="18332" cy="18451"/>
                </a:xfrm>
                <a:custGeom>
                  <a:avLst/>
                  <a:gdLst>
                    <a:gd name="connsiteX0" fmla="*/ 18018 w 18332"/>
                    <a:gd name="connsiteY0" fmla="*/ 6893 h 18451"/>
                    <a:gd name="connsiteX1" fmla="*/ 11559 w 18332"/>
                    <a:gd name="connsiteY1" fmla="*/ 18137 h 18451"/>
                    <a:gd name="connsiteX2" fmla="*/ 315 w 18332"/>
                    <a:gd name="connsiteY2" fmla="*/ 11558 h 18451"/>
                    <a:gd name="connsiteX3" fmla="*/ 6774 w 18332"/>
                    <a:gd name="connsiteY3" fmla="*/ 315 h 18451"/>
                    <a:gd name="connsiteX4" fmla="*/ 18018 w 18332"/>
                    <a:gd name="connsiteY4" fmla="*/ 6893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1">
                      <a:moveTo>
                        <a:pt x="18018" y="6893"/>
                      </a:moveTo>
                      <a:cubicBezTo>
                        <a:pt x="19334" y="11797"/>
                        <a:pt x="16403" y="16881"/>
                        <a:pt x="11559" y="18137"/>
                      </a:cubicBezTo>
                      <a:cubicBezTo>
                        <a:pt x="6655" y="19453"/>
                        <a:pt x="1631" y="16522"/>
                        <a:pt x="315" y="11558"/>
                      </a:cubicBezTo>
                      <a:cubicBezTo>
                        <a:pt x="-1001" y="6654"/>
                        <a:pt x="1930" y="1571"/>
                        <a:pt x="6774" y="315"/>
                      </a:cubicBezTo>
                      <a:cubicBezTo>
                        <a:pt x="11678" y="-1001"/>
                        <a:pt x="16702" y="1930"/>
                        <a:pt x="18018" y="6893"/>
                      </a:cubicBezTo>
                      <a:close/>
                    </a:path>
                  </a:pathLst>
                </a:custGeom>
                <a:grpFill/>
                <a:ln w="5978" cap="flat">
                  <a:noFill/>
                  <a:prstDash val="solid"/>
                  <a:miter/>
                </a:ln>
              </p:spPr>
              <p:txBody>
                <a:bodyPr rtlCol="0" anchor="ctr"/>
                <a:lstStyle/>
                <a:p>
                  <a:endParaRPr lang="en-GB"/>
                </a:p>
              </p:txBody>
            </p:sp>
            <p:sp>
              <p:nvSpPr>
                <p:cNvPr id="3265" name="Vrije vorm: vorm 3264">
                  <a:extLst>
                    <a:ext uri="{FF2B5EF4-FFF2-40B4-BE49-F238E27FC236}">
                      <a16:creationId xmlns:a16="http://schemas.microsoft.com/office/drawing/2014/main" id="{48596808-45D3-4247-B12C-1CE811D755AA}"/>
                    </a:ext>
                  </a:extLst>
                </p:cNvPr>
                <p:cNvSpPr/>
                <p:nvPr/>
              </p:nvSpPr>
              <p:spPr>
                <a:xfrm>
                  <a:off x="6580707" y="5416848"/>
                  <a:ext cx="18337" cy="18403"/>
                </a:xfrm>
                <a:custGeom>
                  <a:avLst/>
                  <a:gdLst>
                    <a:gd name="connsiteX0" fmla="*/ 18022 w 18337"/>
                    <a:gd name="connsiteY0" fmla="*/ 6869 h 18403"/>
                    <a:gd name="connsiteX1" fmla="*/ 6778 w 18337"/>
                    <a:gd name="connsiteY1" fmla="*/ 291 h 18403"/>
                    <a:gd name="connsiteX2" fmla="*/ 319 w 18337"/>
                    <a:gd name="connsiteY2" fmla="*/ 11534 h 18403"/>
                    <a:gd name="connsiteX3" fmla="*/ 11563 w 18337"/>
                    <a:gd name="connsiteY3" fmla="*/ 18113 h 18403"/>
                    <a:gd name="connsiteX4" fmla="*/ 18022 w 18337"/>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03">
                      <a:moveTo>
                        <a:pt x="18022" y="6869"/>
                      </a:moveTo>
                      <a:cubicBezTo>
                        <a:pt x="16706" y="1965"/>
                        <a:pt x="11683" y="-966"/>
                        <a:pt x="6778" y="291"/>
                      </a:cubicBezTo>
                      <a:cubicBezTo>
                        <a:pt x="1874" y="1607"/>
                        <a:pt x="-997" y="6630"/>
                        <a:pt x="319" y="11534"/>
                      </a:cubicBezTo>
                      <a:cubicBezTo>
                        <a:pt x="1635" y="16439"/>
                        <a:pt x="6659" y="19369"/>
                        <a:pt x="11563" y="18113"/>
                      </a:cubicBezTo>
                      <a:cubicBezTo>
                        <a:pt x="16407" y="16857"/>
                        <a:pt x="19338" y="11773"/>
                        <a:pt x="18022" y="6869"/>
                      </a:cubicBezTo>
                      <a:close/>
                    </a:path>
                  </a:pathLst>
                </a:custGeom>
                <a:grpFill/>
                <a:ln w="5978" cap="flat">
                  <a:noFill/>
                  <a:prstDash val="solid"/>
                  <a:miter/>
                </a:ln>
              </p:spPr>
              <p:txBody>
                <a:bodyPr rtlCol="0" anchor="ctr"/>
                <a:lstStyle/>
                <a:p>
                  <a:endParaRPr lang="en-GB"/>
                </a:p>
              </p:txBody>
            </p:sp>
          </p:grpSp>
          <p:grpSp>
            <p:nvGrpSpPr>
              <p:cNvPr id="710" name="Graphic 3">
                <a:extLst>
                  <a:ext uri="{FF2B5EF4-FFF2-40B4-BE49-F238E27FC236}">
                    <a16:creationId xmlns:a16="http://schemas.microsoft.com/office/drawing/2014/main" id="{82103347-CF0D-4DF9-80FD-DA83B56B55F5}"/>
                  </a:ext>
                </a:extLst>
              </p:cNvPr>
              <p:cNvGrpSpPr/>
              <p:nvPr/>
            </p:nvGrpSpPr>
            <p:grpSpPr>
              <a:xfrm>
                <a:off x="5224345" y="1459331"/>
                <a:ext cx="138840" cy="304308"/>
                <a:chOff x="5224345" y="1459331"/>
                <a:chExt cx="138840" cy="304308"/>
              </a:xfrm>
              <a:grpFill/>
            </p:grpSpPr>
            <p:sp>
              <p:nvSpPr>
                <p:cNvPr id="3260" name="Vrije vorm: vorm 3259">
                  <a:extLst>
                    <a:ext uri="{FF2B5EF4-FFF2-40B4-BE49-F238E27FC236}">
                      <a16:creationId xmlns:a16="http://schemas.microsoft.com/office/drawing/2014/main" id="{EFDB5A63-C1D5-4808-9FB3-38CB14895DA4}"/>
                    </a:ext>
                  </a:extLst>
                </p:cNvPr>
                <p:cNvSpPr/>
                <p:nvPr/>
              </p:nvSpPr>
              <p:spPr>
                <a:xfrm>
                  <a:off x="5231997" y="1467527"/>
                  <a:ext cx="123919" cy="287843"/>
                </a:xfrm>
                <a:custGeom>
                  <a:avLst/>
                  <a:gdLst>
                    <a:gd name="connsiteX0" fmla="*/ 0 w 123919"/>
                    <a:gd name="connsiteY0" fmla="*/ 1187 h 287843"/>
                    <a:gd name="connsiteX1" fmla="*/ 2810 w 123919"/>
                    <a:gd name="connsiteY1" fmla="*/ 0 h 287843"/>
                    <a:gd name="connsiteX2" fmla="*/ 123920 w 123919"/>
                    <a:gd name="connsiteY2" fmla="*/ 286656 h 287843"/>
                    <a:gd name="connsiteX3" fmla="*/ 121110 w 123919"/>
                    <a:gd name="connsiteY3" fmla="*/ 287843 h 287843"/>
                  </a:gdLst>
                  <a:ahLst/>
                  <a:cxnLst>
                    <a:cxn ang="0">
                      <a:pos x="connsiteX0" y="connsiteY0"/>
                    </a:cxn>
                    <a:cxn ang="0">
                      <a:pos x="connsiteX1" y="connsiteY1"/>
                    </a:cxn>
                    <a:cxn ang="0">
                      <a:pos x="connsiteX2" y="connsiteY2"/>
                    </a:cxn>
                    <a:cxn ang="0">
                      <a:pos x="connsiteX3" y="connsiteY3"/>
                    </a:cxn>
                  </a:cxnLst>
                  <a:rect l="l" t="t" r="r" b="b"/>
                  <a:pathLst>
                    <a:path w="123919" h="287843">
                      <a:moveTo>
                        <a:pt x="0" y="1187"/>
                      </a:moveTo>
                      <a:lnTo>
                        <a:pt x="2810" y="0"/>
                      </a:lnTo>
                      <a:lnTo>
                        <a:pt x="123920" y="286656"/>
                      </a:lnTo>
                      <a:lnTo>
                        <a:pt x="121110" y="287843"/>
                      </a:lnTo>
                      <a:close/>
                    </a:path>
                  </a:pathLst>
                </a:custGeom>
                <a:grpFill/>
                <a:ln w="5978" cap="flat">
                  <a:noFill/>
                  <a:prstDash val="solid"/>
                  <a:miter/>
                </a:ln>
              </p:spPr>
              <p:txBody>
                <a:bodyPr rtlCol="0" anchor="ctr"/>
                <a:lstStyle/>
                <a:p>
                  <a:endParaRPr lang="en-GB"/>
                </a:p>
              </p:txBody>
            </p:sp>
            <p:sp>
              <p:nvSpPr>
                <p:cNvPr id="3261" name="Vrije vorm: vorm 3260">
                  <a:extLst>
                    <a:ext uri="{FF2B5EF4-FFF2-40B4-BE49-F238E27FC236}">
                      <a16:creationId xmlns:a16="http://schemas.microsoft.com/office/drawing/2014/main" id="{AE743881-AB4F-4747-8A37-BE470D5180B6}"/>
                    </a:ext>
                  </a:extLst>
                </p:cNvPr>
                <p:cNvSpPr/>
                <p:nvPr/>
              </p:nvSpPr>
              <p:spPr>
                <a:xfrm>
                  <a:off x="5224345" y="1459331"/>
                  <a:ext cx="18329" cy="18463"/>
                </a:xfrm>
                <a:custGeom>
                  <a:avLst/>
                  <a:gdLst>
                    <a:gd name="connsiteX0" fmla="*/ 732 w 18329"/>
                    <a:gd name="connsiteY0" fmla="*/ 12803 h 18463"/>
                    <a:gd name="connsiteX1" fmla="*/ 5576 w 18329"/>
                    <a:gd name="connsiteY1" fmla="*/ 722 h 18463"/>
                    <a:gd name="connsiteX2" fmla="*/ 17597 w 18329"/>
                    <a:gd name="connsiteY2" fmla="*/ 5627 h 18463"/>
                    <a:gd name="connsiteX3" fmla="*/ 12753 w 18329"/>
                    <a:gd name="connsiteY3" fmla="*/ 17708 h 18463"/>
                    <a:gd name="connsiteX4" fmla="*/ 732 w 18329"/>
                    <a:gd name="connsiteY4" fmla="*/ 12803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63">
                      <a:moveTo>
                        <a:pt x="732" y="12803"/>
                      </a:moveTo>
                      <a:cubicBezTo>
                        <a:pt x="-1242" y="8138"/>
                        <a:pt x="911" y="2696"/>
                        <a:pt x="5576" y="722"/>
                      </a:cubicBezTo>
                      <a:cubicBezTo>
                        <a:pt x="10241" y="-1251"/>
                        <a:pt x="15624" y="962"/>
                        <a:pt x="17597" y="5627"/>
                      </a:cubicBezTo>
                      <a:cubicBezTo>
                        <a:pt x="19571" y="10292"/>
                        <a:pt x="17418" y="15734"/>
                        <a:pt x="12753" y="17708"/>
                      </a:cubicBezTo>
                      <a:cubicBezTo>
                        <a:pt x="8088" y="19741"/>
                        <a:pt x="2706" y="17528"/>
                        <a:pt x="732" y="12803"/>
                      </a:cubicBezTo>
                      <a:close/>
                    </a:path>
                  </a:pathLst>
                </a:custGeom>
                <a:grpFill/>
                <a:ln w="5978" cap="flat">
                  <a:noFill/>
                  <a:prstDash val="solid"/>
                  <a:miter/>
                </a:ln>
              </p:spPr>
              <p:txBody>
                <a:bodyPr rtlCol="0" anchor="ctr"/>
                <a:lstStyle/>
                <a:p>
                  <a:endParaRPr lang="en-GB"/>
                </a:p>
              </p:txBody>
            </p:sp>
            <p:sp>
              <p:nvSpPr>
                <p:cNvPr id="3262" name="Vrije vorm: vorm 3261">
                  <a:extLst>
                    <a:ext uri="{FF2B5EF4-FFF2-40B4-BE49-F238E27FC236}">
                      <a16:creationId xmlns:a16="http://schemas.microsoft.com/office/drawing/2014/main" id="{7777BE7C-BCFC-4357-BA28-F439CA45917A}"/>
                    </a:ext>
                  </a:extLst>
                </p:cNvPr>
                <p:cNvSpPr/>
                <p:nvPr/>
              </p:nvSpPr>
              <p:spPr>
                <a:xfrm>
                  <a:off x="5344865" y="1745202"/>
                  <a:ext cx="18320" cy="18438"/>
                </a:xfrm>
                <a:custGeom>
                  <a:avLst/>
                  <a:gdLst>
                    <a:gd name="connsiteX0" fmla="*/ 723 w 18320"/>
                    <a:gd name="connsiteY0" fmla="*/ 12812 h 18438"/>
                    <a:gd name="connsiteX1" fmla="*/ 12744 w 18320"/>
                    <a:gd name="connsiteY1" fmla="*/ 17716 h 18438"/>
                    <a:gd name="connsiteX2" fmla="*/ 17589 w 18320"/>
                    <a:gd name="connsiteY2" fmla="*/ 5635 h 18438"/>
                    <a:gd name="connsiteX3" fmla="*/ 5568 w 18320"/>
                    <a:gd name="connsiteY3" fmla="*/ 731 h 18438"/>
                    <a:gd name="connsiteX4" fmla="*/ 723 w 18320"/>
                    <a:gd name="connsiteY4" fmla="*/ 1281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8">
                      <a:moveTo>
                        <a:pt x="723" y="12812"/>
                      </a:moveTo>
                      <a:cubicBezTo>
                        <a:pt x="2697" y="17477"/>
                        <a:pt x="8080" y="19690"/>
                        <a:pt x="12744" y="17716"/>
                      </a:cubicBezTo>
                      <a:cubicBezTo>
                        <a:pt x="17410" y="15742"/>
                        <a:pt x="19563" y="10360"/>
                        <a:pt x="17589" y="5635"/>
                      </a:cubicBezTo>
                      <a:cubicBezTo>
                        <a:pt x="15615" y="910"/>
                        <a:pt x="10233" y="-1243"/>
                        <a:pt x="5568" y="731"/>
                      </a:cubicBezTo>
                      <a:cubicBezTo>
                        <a:pt x="963" y="2704"/>
                        <a:pt x="-1250" y="8147"/>
                        <a:pt x="723" y="12812"/>
                      </a:cubicBezTo>
                      <a:close/>
                    </a:path>
                  </a:pathLst>
                </a:custGeom>
                <a:grpFill/>
                <a:ln w="5978" cap="flat">
                  <a:noFill/>
                  <a:prstDash val="solid"/>
                  <a:miter/>
                </a:ln>
              </p:spPr>
              <p:txBody>
                <a:bodyPr rtlCol="0" anchor="ctr"/>
                <a:lstStyle/>
                <a:p>
                  <a:endParaRPr lang="en-GB"/>
                </a:p>
              </p:txBody>
            </p:sp>
          </p:grpSp>
          <p:grpSp>
            <p:nvGrpSpPr>
              <p:cNvPr id="711" name="Graphic 3">
                <a:extLst>
                  <a:ext uri="{FF2B5EF4-FFF2-40B4-BE49-F238E27FC236}">
                    <a16:creationId xmlns:a16="http://schemas.microsoft.com/office/drawing/2014/main" id="{6E284A41-8A38-4B45-A55C-9BEF4EDCC983}"/>
                  </a:ext>
                </a:extLst>
              </p:cNvPr>
              <p:cNvGrpSpPr/>
              <p:nvPr/>
            </p:nvGrpSpPr>
            <p:grpSpPr>
              <a:xfrm>
                <a:off x="6448410" y="5041106"/>
                <a:ext cx="68168" cy="220553"/>
                <a:chOff x="6448410" y="5041106"/>
                <a:chExt cx="68168" cy="220553"/>
              </a:xfrm>
              <a:grpFill/>
            </p:grpSpPr>
            <p:sp>
              <p:nvSpPr>
                <p:cNvPr id="3257" name="Vrije vorm: vorm 3256">
                  <a:extLst>
                    <a:ext uri="{FF2B5EF4-FFF2-40B4-BE49-F238E27FC236}">
                      <a16:creationId xmlns:a16="http://schemas.microsoft.com/office/drawing/2014/main" id="{CC251C2A-44AE-4D4A-B29A-B5ADB6135E86}"/>
                    </a:ext>
                  </a:extLst>
                </p:cNvPr>
                <p:cNvSpPr/>
                <p:nvPr/>
              </p:nvSpPr>
              <p:spPr>
                <a:xfrm>
                  <a:off x="6456360" y="5049601"/>
                  <a:ext cx="52996" cy="203752"/>
                </a:xfrm>
                <a:custGeom>
                  <a:avLst/>
                  <a:gdLst>
                    <a:gd name="connsiteX0" fmla="*/ 0 w 52996"/>
                    <a:gd name="connsiteY0" fmla="*/ 730 h 203752"/>
                    <a:gd name="connsiteX1" fmla="*/ 2962 w 52996"/>
                    <a:gd name="connsiteY1" fmla="*/ 0 h 203752"/>
                    <a:gd name="connsiteX2" fmla="*/ 52996 w 52996"/>
                    <a:gd name="connsiteY2" fmla="*/ 203023 h 203752"/>
                    <a:gd name="connsiteX3" fmla="*/ 50034 w 52996"/>
                    <a:gd name="connsiteY3" fmla="*/ 203753 h 203752"/>
                  </a:gdLst>
                  <a:ahLst/>
                  <a:cxnLst>
                    <a:cxn ang="0">
                      <a:pos x="connsiteX0" y="connsiteY0"/>
                    </a:cxn>
                    <a:cxn ang="0">
                      <a:pos x="connsiteX1" y="connsiteY1"/>
                    </a:cxn>
                    <a:cxn ang="0">
                      <a:pos x="connsiteX2" y="connsiteY2"/>
                    </a:cxn>
                    <a:cxn ang="0">
                      <a:pos x="connsiteX3" y="connsiteY3"/>
                    </a:cxn>
                  </a:cxnLst>
                  <a:rect l="l" t="t" r="r" b="b"/>
                  <a:pathLst>
                    <a:path w="52996" h="203752">
                      <a:moveTo>
                        <a:pt x="0" y="730"/>
                      </a:moveTo>
                      <a:lnTo>
                        <a:pt x="2962" y="0"/>
                      </a:lnTo>
                      <a:lnTo>
                        <a:pt x="52996" y="203023"/>
                      </a:lnTo>
                      <a:lnTo>
                        <a:pt x="50034" y="203753"/>
                      </a:lnTo>
                      <a:close/>
                    </a:path>
                  </a:pathLst>
                </a:custGeom>
                <a:grpFill/>
                <a:ln w="5978" cap="flat">
                  <a:noFill/>
                  <a:prstDash val="solid"/>
                  <a:miter/>
                </a:ln>
              </p:spPr>
              <p:txBody>
                <a:bodyPr rtlCol="0" anchor="ctr"/>
                <a:lstStyle/>
                <a:p>
                  <a:endParaRPr lang="en-GB"/>
                </a:p>
              </p:txBody>
            </p:sp>
            <p:sp>
              <p:nvSpPr>
                <p:cNvPr id="3258" name="Vrije vorm: vorm 3257">
                  <a:extLst>
                    <a:ext uri="{FF2B5EF4-FFF2-40B4-BE49-F238E27FC236}">
                      <a16:creationId xmlns:a16="http://schemas.microsoft.com/office/drawing/2014/main" id="{2733A707-3F3D-4D59-9C38-CB77617464D3}"/>
                    </a:ext>
                  </a:extLst>
                </p:cNvPr>
                <p:cNvSpPr/>
                <p:nvPr/>
              </p:nvSpPr>
              <p:spPr>
                <a:xfrm>
                  <a:off x="6498229" y="5243235"/>
                  <a:ext cx="18349" cy="18424"/>
                </a:xfrm>
                <a:custGeom>
                  <a:avLst/>
                  <a:gdLst>
                    <a:gd name="connsiteX0" fmla="*/ 18086 w 18349"/>
                    <a:gd name="connsiteY0" fmla="*/ 7041 h 18424"/>
                    <a:gd name="connsiteX1" fmla="*/ 11387 w 18349"/>
                    <a:gd name="connsiteY1" fmla="*/ 18165 h 18424"/>
                    <a:gd name="connsiteX2" fmla="*/ 263 w 18349"/>
                    <a:gd name="connsiteY2" fmla="*/ 11407 h 18424"/>
                    <a:gd name="connsiteX3" fmla="*/ 6962 w 18349"/>
                    <a:gd name="connsiteY3" fmla="*/ 283 h 18424"/>
                    <a:gd name="connsiteX4" fmla="*/ 18086 w 18349"/>
                    <a:gd name="connsiteY4" fmla="*/ 7041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4">
                      <a:moveTo>
                        <a:pt x="18086" y="7041"/>
                      </a:moveTo>
                      <a:cubicBezTo>
                        <a:pt x="19282" y="12005"/>
                        <a:pt x="16292" y="16969"/>
                        <a:pt x="11387" y="18165"/>
                      </a:cubicBezTo>
                      <a:cubicBezTo>
                        <a:pt x="6483" y="19361"/>
                        <a:pt x="1519" y="16311"/>
                        <a:pt x="263" y="11407"/>
                      </a:cubicBezTo>
                      <a:cubicBezTo>
                        <a:pt x="-933" y="6443"/>
                        <a:pt x="2058" y="1479"/>
                        <a:pt x="6962" y="283"/>
                      </a:cubicBezTo>
                      <a:cubicBezTo>
                        <a:pt x="11866" y="-973"/>
                        <a:pt x="16830" y="2077"/>
                        <a:pt x="18086" y="7041"/>
                      </a:cubicBezTo>
                      <a:close/>
                    </a:path>
                  </a:pathLst>
                </a:custGeom>
                <a:grpFill/>
                <a:ln w="5978" cap="flat">
                  <a:noFill/>
                  <a:prstDash val="solid"/>
                  <a:miter/>
                </a:ln>
              </p:spPr>
              <p:txBody>
                <a:bodyPr rtlCol="0" anchor="ctr"/>
                <a:lstStyle/>
                <a:p>
                  <a:endParaRPr lang="en-GB"/>
                </a:p>
              </p:txBody>
            </p:sp>
            <p:sp>
              <p:nvSpPr>
                <p:cNvPr id="3259" name="Vrije vorm: vorm 3258">
                  <a:extLst>
                    <a:ext uri="{FF2B5EF4-FFF2-40B4-BE49-F238E27FC236}">
                      <a16:creationId xmlns:a16="http://schemas.microsoft.com/office/drawing/2014/main" id="{F7A269FF-990D-4E66-B2E6-0CAB28AE2585}"/>
                    </a:ext>
                  </a:extLst>
                </p:cNvPr>
                <p:cNvSpPr/>
                <p:nvPr/>
              </p:nvSpPr>
              <p:spPr>
                <a:xfrm>
                  <a:off x="6448410" y="5041106"/>
                  <a:ext cx="18349" cy="18408"/>
                </a:xfrm>
                <a:custGeom>
                  <a:avLst/>
                  <a:gdLst>
                    <a:gd name="connsiteX0" fmla="*/ 18086 w 18349"/>
                    <a:gd name="connsiteY0" fmla="*/ 7021 h 18408"/>
                    <a:gd name="connsiteX1" fmla="*/ 6962 w 18349"/>
                    <a:gd name="connsiteY1" fmla="*/ 263 h 18408"/>
                    <a:gd name="connsiteX2" fmla="*/ 263 w 18349"/>
                    <a:gd name="connsiteY2" fmla="*/ 11387 h 18408"/>
                    <a:gd name="connsiteX3" fmla="*/ 11388 w 18349"/>
                    <a:gd name="connsiteY3" fmla="*/ 18146 h 18408"/>
                    <a:gd name="connsiteX4" fmla="*/ 18086 w 1834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8086" y="7021"/>
                      </a:moveTo>
                      <a:cubicBezTo>
                        <a:pt x="16890" y="2058"/>
                        <a:pt x="11926" y="-933"/>
                        <a:pt x="6962" y="263"/>
                      </a:cubicBezTo>
                      <a:cubicBezTo>
                        <a:pt x="2058" y="1459"/>
                        <a:pt x="-933" y="6423"/>
                        <a:pt x="263" y="11387"/>
                      </a:cubicBezTo>
                      <a:cubicBezTo>
                        <a:pt x="1459" y="16351"/>
                        <a:pt x="6424" y="19342"/>
                        <a:pt x="11388" y="18146"/>
                      </a:cubicBezTo>
                      <a:cubicBezTo>
                        <a:pt x="16292" y="16949"/>
                        <a:pt x="19282" y="11926"/>
                        <a:pt x="18086" y="7021"/>
                      </a:cubicBezTo>
                      <a:close/>
                    </a:path>
                  </a:pathLst>
                </a:custGeom>
                <a:grpFill/>
                <a:ln w="5978" cap="flat">
                  <a:noFill/>
                  <a:prstDash val="solid"/>
                  <a:miter/>
                </a:ln>
              </p:spPr>
              <p:txBody>
                <a:bodyPr rtlCol="0" anchor="ctr"/>
                <a:lstStyle/>
                <a:p>
                  <a:endParaRPr lang="en-GB"/>
                </a:p>
              </p:txBody>
            </p:sp>
          </p:grpSp>
          <p:grpSp>
            <p:nvGrpSpPr>
              <p:cNvPr id="712" name="Graphic 3">
                <a:extLst>
                  <a:ext uri="{FF2B5EF4-FFF2-40B4-BE49-F238E27FC236}">
                    <a16:creationId xmlns:a16="http://schemas.microsoft.com/office/drawing/2014/main" id="{8CDF863C-65B7-4785-84B6-ABE01326B0C8}"/>
                  </a:ext>
                </a:extLst>
              </p:cNvPr>
              <p:cNvGrpSpPr/>
              <p:nvPr/>
            </p:nvGrpSpPr>
            <p:grpSpPr>
              <a:xfrm>
                <a:off x="5236736" y="1490492"/>
                <a:ext cx="147193" cy="400176"/>
                <a:chOff x="5236736" y="1490492"/>
                <a:chExt cx="147193" cy="400176"/>
              </a:xfrm>
              <a:grpFill/>
            </p:grpSpPr>
            <p:sp>
              <p:nvSpPr>
                <p:cNvPr id="3254" name="Vrije vorm: vorm 3253">
                  <a:extLst>
                    <a:ext uri="{FF2B5EF4-FFF2-40B4-BE49-F238E27FC236}">
                      <a16:creationId xmlns:a16="http://schemas.microsoft.com/office/drawing/2014/main" id="{83DBC35E-BBA3-4B56-9E9A-E68B872000B0}"/>
                    </a:ext>
                  </a:extLst>
                </p:cNvPr>
                <p:cNvSpPr/>
                <p:nvPr/>
              </p:nvSpPr>
              <p:spPr>
                <a:xfrm>
                  <a:off x="5244340" y="1498536"/>
                  <a:ext cx="131749" cy="383671"/>
                </a:xfrm>
                <a:custGeom>
                  <a:avLst/>
                  <a:gdLst>
                    <a:gd name="connsiteX0" fmla="*/ 0 w 131749"/>
                    <a:gd name="connsiteY0" fmla="*/ 973 h 383671"/>
                    <a:gd name="connsiteX1" fmla="*/ 2891 w 131749"/>
                    <a:gd name="connsiteY1" fmla="*/ 0 h 383671"/>
                    <a:gd name="connsiteX2" fmla="*/ 131749 w 131749"/>
                    <a:gd name="connsiteY2" fmla="*/ 382699 h 383671"/>
                    <a:gd name="connsiteX3" fmla="*/ 128859 w 131749"/>
                    <a:gd name="connsiteY3" fmla="*/ 383672 h 383671"/>
                  </a:gdLst>
                  <a:ahLst/>
                  <a:cxnLst>
                    <a:cxn ang="0">
                      <a:pos x="connsiteX0" y="connsiteY0"/>
                    </a:cxn>
                    <a:cxn ang="0">
                      <a:pos x="connsiteX1" y="connsiteY1"/>
                    </a:cxn>
                    <a:cxn ang="0">
                      <a:pos x="connsiteX2" y="connsiteY2"/>
                    </a:cxn>
                    <a:cxn ang="0">
                      <a:pos x="connsiteX3" y="connsiteY3"/>
                    </a:cxn>
                  </a:cxnLst>
                  <a:rect l="l" t="t" r="r" b="b"/>
                  <a:pathLst>
                    <a:path w="131749" h="383671">
                      <a:moveTo>
                        <a:pt x="0" y="973"/>
                      </a:moveTo>
                      <a:lnTo>
                        <a:pt x="2891" y="0"/>
                      </a:lnTo>
                      <a:lnTo>
                        <a:pt x="131749" y="382699"/>
                      </a:lnTo>
                      <a:lnTo>
                        <a:pt x="128859" y="383672"/>
                      </a:lnTo>
                      <a:close/>
                    </a:path>
                  </a:pathLst>
                </a:custGeom>
                <a:grpFill/>
                <a:ln w="5978" cap="flat">
                  <a:noFill/>
                  <a:prstDash val="solid"/>
                  <a:miter/>
                </a:ln>
              </p:spPr>
              <p:txBody>
                <a:bodyPr rtlCol="0" anchor="ctr"/>
                <a:lstStyle/>
                <a:p>
                  <a:endParaRPr lang="en-GB"/>
                </a:p>
              </p:txBody>
            </p:sp>
            <p:sp>
              <p:nvSpPr>
                <p:cNvPr id="3255" name="Vrije vorm: vorm 3254">
                  <a:extLst>
                    <a:ext uri="{FF2B5EF4-FFF2-40B4-BE49-F238E27FC236}">
                      <a16:creationId xmlns:a16="http://schemas.microsoft.com/office/drawing/2014/main" id="{E5A47F5A-FBD0-4655-BE55-1CFD99FEEFCF}"/>
                    </a:ext>
                  </a:extLst>
                </p:cNvPr>
                <p:cNvSpPr/>
                <p:nvPr/>
              </p:nvSpPr>
              <p:spPr>
                <a:xfrm>
                  <a:off x="5365620" y="1872219"/>
                  <a:ext cx="18308" cy="18450"/>
                </a:xfrm>
                <a:custGeom>
                  <a:avLst/>
                  <a:gdLst>
                    <a:gd name="connsiteX0" fmla="*/ 17826 w 18308"/>
                    <a:gd name="connsiteY0" fmla="*/ 6306 h 18450"/>
                    <a:gd name="connsiteX1" fmla="*/ 12085 w 18308"/>
                    <a:gd name="connsiteY1" fmla="*/ 17969 h 18450"/>
                    <a:gd name="connsiteX2" fmla="*/ 482 w 18308"/>
                    <a:gd name="connsiteY2" fmla="*/ 12167 h 18450"/>
                    <a:gd name="connsiteX3" fmla="*/ 6224 w 18308"/>
                    <a:gd name="connsiteY3" fmla="*/ 505 h 18450"/>
                    <a:gd name="connsiteX4" fmla="*/ 17826 w 18308"/>
                    <a:gd name="connsiteY4" fmla="*/ 630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0">
                      <a:moveTo>
                        <a:pt x="17826" y="6306"/>
                      </a:moveTo>
                      <a:cubicBezTo>
                        <a:pt x="19441" y="11151"/>
                        <a:pt x="16870" y="16354"/>
                        <a:pt x="12085" y="17969"/>
                      </a:cubicBezTo>
                      <a:cubicBezTo>
                        <a:pt x="7300" y="19584"/>
                        <a:pt x="2097" y="17012"/>
                        <a:pt x="482" y="12167"/>
                      </a:cubicBezTo>
                      <a:cubicBezTo>
                        <a:pt x="-1132" y="7323"/>
                        <a:pt x="1439" y="2120"/>
                        <a:pt x="6224" y="505"/>
                      </a:cubicBezTo>
                      <a:cubicBezTo>
                        <a:pt x="10949" y="-1170"/>
                        <a:pt x="16152" y="1462"/>
                        <a:pt x="17826" y="6306"/>
                      </a:cubicBezTo>
                      <a:close/>
                    </a:path>
                  </a:pathLst>
                </a:custGeom>
                <a:grpFill/>
                <a:ln w="5978" cap="flat">
                  <a:noFill/>
                  <a:prstDash val="solid"/>
                  <a:miter/>
                </a:ln>
              </p:spPr>
              <p:txBody>
                <a:bodyPr rtlCol="0" anchor="ctr"/>
                <a:lstStyle/>
                <a:p>
                  <a:endParaRPr lang="en-GB"/>
                </a:p>
              </p:txBody>
            </p:sp>
            <p:sp>
              <p:nvSpPr>
                <p:cNvPr id="3256" name="Vrije vorm: vorm 3255">
                  <a:extLst>
                    <a:ext uri="{FF2B5EF4-FFF2-40B4-BE49-F238E27FC236}">
                      <a16:creationId xmlns:a16="http://schemas.microsoft.com/office/drawing/2014/main" id="{793ACBD6-BBCD-4F45-A9D3-EB1B65B0131F}"/>
                    </a:ext>
                  </a:extLst>
                </p:cNvPr>
                <p:cNvSpPr/>
                <p:nvPr/>
              </p:nvSpPr>
              <p:spPr>
                <a:xfrm>
                  <a:off x="5236736" y="1490492"/>
                  <a:ext cx="18308" cy="18427"/>
                </a:xfrm>
                <a:custGeom>
                  <a:avLst/>
                  <a:gdLst>
                    <a:gd name="connsiteX0" fmla="*/ 17826 w 18308"/>
                    <a:gd name="connsiteY0" fmla="*/ 6283 h 18427"/>
                    <a:gd name="connsiteX1" fmla="*/ 6224 w 18308"/>
                    <a:gd name="connsiteY1" fmla="*/ 482 h 18427"/>
                    <a:gd name="connsiteX2" fmla="*/ 482 w 18308"/>
                    <a:gd name="connsiteY2" fmla="*/ 12144 h 18427"/>
                    <a:gd name="connsiteX3" fmla="*/ 12085 w 18308"/>
                    <a:gd name="connsiteY3" fmla="*/ 17946 h 18427"/>
                    <a:gd name="connsiteX4" fmla="*/ 17826 w 18308"/>
                    <a:gd name="connsiteY4" fmla="*/ 6283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17826" y="6283"/>
                      </a:moveTo>
                      <a:cubicBezTo>
                        <a:pt x="16212" y="1439"/>
                        <a:pt x="11008" y="-1133"/>
                        <a:pt x="6224" y="482"/>
                      </a:cubicBezTo>
                      <a:cubicBezTo>
                        <a:pt x="1439" y="2097"/>
                        <a:pt x="-1132" y="7300"/>
                        <a:pt x="482" y="12144"/>
                      </a:cubicBezTo>
                      <a:cubicBezTo>
                        <a:pt x="2097" y="16989"/>
                        <a:pt x="7300" y="19560"/>
                        <a:pt x="12085" y="17946"/>
                      </a:cubicBezTo>
                      <a:cubicBezTo>
                        <a:pt x="16869" y="16331"/>
                        <a:pt x="19441" y="11068"/>
                        <a:pt x="17826" y="6283"/>
                      </a:cubicBezTo>
                      <a:close/>
                    </a:path>
                  </a:pathLst>
                </a:custGeom>
                <a:grpFill/>
                <a:ln w="5978" cap="flat">
                  <a:noFill/>
                  <a:prstDash val="solid"/>
                  <a:miter/>
                </a:ln>
              </p:spPr>
              <p:txBody>
                <a:bodyPr rtlCol="0" anchor="ctr"/>
                <a:lstStyle/>
                <a:p>
                  <a:endParaRPr lang="en-GB"/>
                </a:p>
              </p:txBody>
            </p:sp>
          </p:grpSp>
          <p:grpSp>
            <p:nvGrpSpPr>
              <p:cNvPr id="713" name="Graphic 3">
                <a:extLst>
                  <a:ext uri="{FF2B5EF4-FFF2-40B4-BE49-F238E27FC236}">
                    <a16:creationId xmlns:a16="http://schemas.microsoft.com/office/drawing/2014/main" id="{EDEB708E-375E-4CB4-83E1-BCF2654E3C36}"/>
                  </a:ext>
                </a:extLst>
              </p:cNvPr>
              <p:cNvGrpSpPr/>
              <p:nvPr/>
            </p:nvGrpSpPr>
            <p:grpSpPr>
              <a:xfrm>
                <a:off x="5224345" y="1459391"/>
                <a:ext cx="24190" cy="32305"/>
                <a:chOff x="5224345" y="1459391"/>
                <a:chExt cx="24190" cy="32305"/>
              </a:xfrm>
              <a:grpFill/>
            </p:grpSpPr>
            <p:sp>
              <p:nvSpPr>
                <p:cNvPr id="3251" name="Vrije vorm: vorm 3250">
                  <a:extLst>
                    <a:ext uri="{FF2B5EF4-FFF2-40B4-BE49-F238E27FC236}">
                      <a16:creationId xmlns:a16="http://schemas.microsoft.com/office/drawing/2014/main" id="{7C0E6280-F503-4384-BE3C-44BB2C1370AD}"/>
                    </a:ext>
                  </a:extLst>
                </p:cNvPr>
                <p:cNvSpPr/>
                <p:nvPr/>
              </p:nvSpPr>
              <p:spPr>
                <a:xfrm>
                  <a:off x="5231863" y="1467636"/>
                  <a:ext cx="9026" cy="15896"/>
                </a:xfrm>
                <a:custGeom>
                  <a:avLst/>
                  <a:gdLst>
                    <a:gd name="connsiteX0" fmla="*/ 0 w 9026"/>
                    <a:gd name="connsiteY0" fmla="*/ 1187 h 15896"/>
                    <a:gd name="connsiteX1" fmla="*/ 2810 w 9026"/>
                    <a:gd name="connsiteY1" fmla="*/ 0 h 15896"/>
                    <a:gd name="connsiteX2" fmla="*/ 9026 w 9026"/>
                    <a:gd name="connsiteY2" fmla="*/ 14709 h 15896"/>
                    <a:gd name="connsiteX3" fmla="*/ 6217 w 9026"/>
                    <a:gd name="connsiteY3" fmla="*/ 15896 h 15896"/>
                  </a:gdLst>
                  <a:ahLst/>
                  <a:cxnLst>
                    <a:cxn ang="0">
                      <a:pos x="connsiteX0" y="connsiteY0"/>
                    </a:cxn>
                    <a:cxn ang="0">
                      <a:pos x="connsiteX1" y="connsiteY1"/>
                    </a:cxn>
                    <a:cxn ang="0">
                      <a:pos x="connsiteX2" y="connsiteY2"/>
                    </a:cxn>
                    <a:cxn ang="0">
                      <a:pos x="connsiteX3" y="connsiteY3"/>
                    </a:cxn>
                  </a:cxnLst>
                  <a:rect l="l" t="t" r="r" b="b"/>
                  <a:pathLst>
                    <a:path w="9026" h="15896">
                      <a:moveTo>
                        <a:pt x="0" y="1187"/>
                      </a:moveTo>
                      <a:lnTo>
                        <a:pt x="2810" y="0"/>
                      </a:lnTo>
                      <a:lnTo>
                        <a:pt x="9026" y="14709"/>
                      </a:lnTo>
                      <a:lnTo>
                        <a:pt x="6217" y="15896"/>
                      </a:lnTo>
                      <a:close/>
                    </a:path>
                  </a:pathLst>
                </a:custGeom>
                <a:grpFill/>
                <a:ln w="5978" cap="flat">
                  <a:noFill/>
                  <a:prstDash val="solid"/>
                  <a:miter/>
                </a:ln>
              </p:spPr>
              <p:txBody>
                <a:bodyPr rtlCol="0" anchor="ctr"/>
                <a:lstStyle/>
                <a:p>
                  <a:endParaRPr lang="en-GB"/>
                </a:p>
              </p:txBody>
            </p:sp>
            <p:sp>
              <p:nvSpPr>
                <p:cNvPr id="3252" name="Vrije vorm: vorm 3251">
                  <a:extLst>
                    <a:ext uri="{FF2B5EF4-FFF2-40B4-BE49-F238E27FC236}">
                      <a16:creationId xmlns:a16="http://schemas.microsoft.com/office/drawing/2014/main" id="{EE20D876-25D0-47B9-B037-1FE39C88A42B}"/>
                    </a:ext>
                  </a:extLst>
                </p:cNvPr>
                <p:cNvSpPr/>
                <p:nvPr/>
              </p:nvSpPr>
              <p:spPr>
                <a:xfrm>
                  <a:off x="5230206" y="1473267"/>
                  <a:ext cx="18329" cy="18430"/>
                </a:xfrm>
                <a:custGeom>
                  <a:avLst/>
                  <a:gdLst>
                    <a:gd name="connsiteX0" fmla="*/ 17597 w 18329"/>
                    <a:gd name="connsiteY0" fmla="*/ 5627 h 18430"/>
                    <a:gd name="connsiteX1" fmla="*/ 12753 w 18329"/>
                    <a:gd name="connsiteY1" fmla="*/ 17708 h 18430"/>
                    <a:gd name="connsiteX2" fmla="*/ 732 w 18329"/>
                    <a:gd name="connsiteY2" fmla="*/ 12803 h 18430"/>
                    <a:gd name="connsiteX3" fmla="*/ 5576 w 18329"/>
                    <a:gd name="connsiteY3" fmla="*/ 722 h 18430"/>
                    <a:gd name="connsiteX4" fmla="*/ 17597 w 18329"/>
                    <a:gd name="connsiteY4" fmla="*/ 562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0">
                      <a:moveTo>
                        <a:pt x="17597" y="5627"/>
                      </a:moveTo>
                      <a:cubicBezTo>
                        <a:pt x="19571" y="10292"/>
                        <a:pt x="17418" y="15734"/>
                        <a:pt x="12753" y="17708"/>
                      </a:cubicBezTo>
                      <a:cubicBezTo>
                        <a:pt x="8088" y="19681"/>
                        <a:pt x="2705" y="17468"/>
                        <a:pt x="732" y="12803"/>
                      </a:cubicBezTo>
                      <a:cubicBezTo>
                        <a:pt x="-1242" y="8138"/>
                        <a:pt x="911" y="2696"/>
                        <a:pt x="5576" y="722"/>
                      </a:cubicBezTo>
                      <a:cubicBezTo>
                        <a:pt x="10241" y="-1251"/>
                        <a:pt x="15624" y="962"/>
                        <a:pt x="17597" y="5627"/>
                      </a:cubicBezTo>
                      <a:close/>
                    </a:path>
                  </a:pathLst>
                </a:custGeom>
                <a:grpFill/>
                <a:ln w="5978" cap="flat">
                  <a:noFill/>
                  <a:prstDash val="solid"/>
                  <a:miter/>
                </a:ln>
              </p:spPr>
              <p:txBody>
                <a:bodyPr rtlCol="0" anchor="ctr"/>
                <a:lstStyle/>
                <a:p>
                  <a:endParaRPr lang="en-GB"/>
                </a:p>
              </p:txBody>
            </p:sp>
            <p:sp>
              <p:nvSpPr>
                <p:cNvPr id="3253" name="Vrije vorm: vorm 3252">
                  <a:extLst>
                    <a:ext uri="{FF2B5EF4-FFF2-40B4-BE49-F238E27FC236}">
                      <a16:creationId xmlns:a16="http://schemas.microsoft.com/office/drawing/2014/main" id="{B938E22F-4C1C-48D4-9429-D484765FE7F9}"/>
                    </a:ext>
                  </a:extLst>
                </p:cNvPr>
                <p:cNvSpPr/>
                <p:nvPr/>
              </p:nvSpPr>
              <p:spPr>
                <a:xfrm>
                  <a:off x="5224345" y="1459391"/>
                  <a:ext cx="18329" cy="18438"/>
                </a:xfrm>
                <a:custGeom>
                  <a:avLst/>
                  <a:gdLst>
                    <a:gd name="connsiteX0" fmla="*/ 17597 w 18329"/>
                    <a:gd name="connsiteY0" fmla="*/ 5627 h 18438"/>
                    <a:gd name="connsiteX1" fmla="*/ 5576 w 18329"/>
                    <a:gd name="connsiteY1" fmla="*/ 722 h 18438"/>
                    <a:gd name="connsiteX2" fmla="*/ 732 w 18329"/>
                    <a:gd name="connsiteY2" fmla="*/ 12803 h 18438"/>
                    <a:gd name="connsiteX3" fmla="*/ 12753 w 18329"/>
                    <a:gd name="connsiteY3" fmla="*/ 17708 h 18438"/>
                    <a:gd name="connsiteX4" fmla="*/ 17597 w 18329"/>
                    <a:gd name="connsiteY4" fmla="*/ 5627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8">
                      <a:moveTo>
                        <a:pt x="17597" y="5627"/>
                      </a:moveTo>
                      <a:cubicBezTo>
                        <a:pt x="15624" y="962"/>
                        <a:pt x="10241" y="-1251"/>
                        <a:pt x="5576" y="722"/>
                      </a:cubicBezTo>
                      <a:cubicBezTo>
                        <a:pt x="911" y="2696"/>
                        <a:pt x="-1242" y="8079"/>
                        <a:pt x="732" y="12803"/>
                      </a:cubicBezTo>
                      <a:cubicBezTo>
                        <a:pt x="2706" y="17528"/>
                        <a:pt x="8088" y="19681"/>
                        <a:pt x="12753" y="17708"/>
                      </a:cubicBezTo>
                      <a:cubicBezTo>
                        <a:pt x="17418" y="15734"/>
                        <a:pt x="19571" y="10292"/>
                        <a:pt x="17597" y="5627"/>
                      </a:cubicBezTo>
                      <a:close/>
                    </a:path>
                  </a:pathLst>
                </a:custGeom>
                <a:grpFill/>
                <a:ln w="5978" cap="flat">
                  <a:noFill/>
                  <a:prstDash val="solid"/>
                  <a:miter/>
                </a:ln>
              </p:spPr>
              <p:txBody>
                <a:bodyPr rtlCol="0" anchor="ctr"/>
                <a:lstStyle/>
                <a:p>
                  <a:endParaRPr lang="en-GB"/>
                </a:p>
              </p:txBody>
            </p:sp>
          </p:grpSp>
          <p:grpSp>
            <p:nvGrpSpPr>
              <p:cNvPr id="714" name="Graphic 3">
                <a:extLst>
                  <a:ext uri="{FF2B5EF4-FFF2-40B4-BE49-F238E27FC236}">
                    <a16:creationId xmlns:a16="http://schemas.microsoft.com/office/drawing/2014/main" id="{5A306FC1-97B1-4357-A579-8E366A1E1387}"/>
                  </a:ext>
                </a:extLst>
              </p:cNvPr>
              <p:cNvGrpSpPr/>
              <p:nvPr/>
            </p:nvGrpSpPr>
            <p:grpSpPr>
              <a:xfrm>
                <a:off x="6479645" y="5039508"/>
                <a:ext cx="164846" cy="739648"/>
                <a:chOff x="6479645" y="5039508"/>
                <a:chExt cx="164846" cy="739648"/>
              </a:xfrm>
              <a:grpFill/>
            </p:grpSpPr>
            <p:sp>
              <p:nvSpPr>
                <p:cNvPr id="3248" name="Vrije vorm: vorm 3247">
                  <a:extLst>
                    <a:ext uri="{FF2B5EF4-FFF2-40B4-BE49-F238E27FC236}">
                      <a16:creationId xmlns:a16="http://schemas.microsoft.com/office/drawing/2014/main" id="{ACC74E89-AB57-44A3-9563-F2300E0430A5}"/>
                    </a:ext>
                  </a:extLst>
                </p:cNvPr>
                <p:cNvSpPr/>
                <p:nvPr/>
              </p:nvSpPr>
              <p:spPr>
                <a:xfrm>
                  <a:off x="6487249" y="5047948"/>
                  <a:ext cx="149637" cy="722710"/>
                </a:xfrm>
                <a:custGeom>
                  <a:avLst/>
                  <a:gdLst>
                    <a:gd name="connsiteX0" fmla="*/ 2990 w 149637"/>
                    <a:gd name="connsiteY0" fmla="*/ 0 h 722710"/>
                    <a:gd name="connsiteX1" fmla="*/ 149638 w 149637"/>
                    <a:gd name="connsiteY1" fmla="*/ 722112 h 722710"/>
                    <a:gd name="connsiteX2" fmla="*/ 146647 w 149637"/>
                    <a:gd name="connsiteY2" fmla="*/ 722710 h 722710"/>
                    <a:gd name="connsiteX3" fmla="*/ 0 w 149637"/>
                    <a:gd name="connsiteY3" fmla="*/ 598 h 722710"/>
                  </a:gdLst>
                  <a:ahLst/>
                  <a:cxnLst>
                    <a:cxn ang="0">
                      <a:pos x="connsiteX0" y="connsiteY0"/>
                    </a:cxn>
                    <a:cxn ang="0">
                      <a:pos x="connsiteX1" y="connsiteY1"/>
                    </a:cxn>
                    <a:cxn ang="0">
                      <a:pos x="connsiteX2" y="connsiteY2"/>
                    </a:cxn>
                    <a:cxn ang="0">
                      <a:pos x="connsiteX3" y="connsiteY3"/>
                    </a:cxn>
                  </a:cxnLst>
                  <a:rect l="l" t="t" r="r" b="b"/>
                  <a:pathLst>
                    <a:path w="149637" h="722710">
                      <a:moveTo>
                        <a:pt x="2990" y="0"/>
                      </a:moveTo>
                      <a:lnTo>
                        <a:pt x="149638" y="722112"/>
                      </a:lnTo>
                      <a:lnTo>
                        <a:pt x="146647" y="722710"/>
                      </a:lnTo>
                      <a:lnTo>
                        <a:pt x="0" y="598"/>
                      </a:lnTo>
                      <a:close/>
                    </a:path>
                  </a:pathLst>
                </a:custGeom>
                <a:grpFill/>
                <a:ln w="5978" cap="flat">
                  <a:noFill/>
                  <a:prstDash val="solid"/>
                  <a:miter/>
                </a:ln>
              </p:spPr>
              <p:txBody>
                <a:bodyPr rtlCol="0" anchor="ctr"/>
                <a:lstStyle/>
                <a:p>
                  <a:endParaRPr lang="en-GB"/>
                </a:p>
              </p:txBody>
            </p:sp>
            <p:sp>
              <p:nvSpPr>
                <p:cNvPr id="3249" name="Vrije vorm: vorm 3248">
                  <a:extLst>
                    <a:ext uri="{FF2B5EF4-FFF2-40B4-BE49-F238E27FC236}">
                      <a16:creationId xmlns:a16="http://schemas.microsoft.com/office/drawing/2014/main" id="{4A9DF3A2-E89F-485B-9F9F-AD70B598D53E}"/>
                    </a:ext>
                  </a:extLst>
                </p:cNvPr>
                <p:cNvSpPr/>
                <p:nvPr/>
              </p:nvSpPr>
              <p:spPr>
                <a:xfrm>
                  <a:off x="6479645" y="5039508"/>
                  <a:ext cx="18316" cy="18416"/>
                </a:xfrm>
                <a:custGeom>
                  <a:avLst/>
                  <a:gdLst>
                    <a:gd name="connsiteX0" fmla="*/ 187 w 18316"/>
                    <a:gd name="connsiteY0" fmla="*/ 11012 h 18416"/>
                    <a:gd name="connsiteX1" fmla="*/ 7304 w 18316"/>
                    <a:gd name="connsiteY1" fmla="*/ 187 h 18416"/>
                    <a:gd name="connsiteX2" fmla="*/ 18129 w 18316"/>
                    <a:gd name="connsiteY2" fmla="*/ 7423 h 18416"/>
                    <a:gd name="connsiteX3" fmla="*/ 11012 w 18316"/>
                    <a:gd name="connsiteY3" fmla="*/ 18249 h 18416"/>
                    <a:gd name="connsiteX4" fmla="*/ 187 w 18316"/>
                    <a:gd name="connsiteY4" fmla="*/ 1101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16">
                      <a:moveTo>
                        <a:pt x="187" y="11012"/>
                      </a:moveTo>
                      <a:cubicBezTo>
                        <a:pt x="-829" y="6048"/>
                        <a:pt x="2400" y="1144"/>
                        <a:pt x="7304" y="187"/>
                      </a:cubicBezTo>
                      <a:cubicBezTo>
                        <a:pt x="12268" y="-830"/>
                        <a:pt x="17113" y="2400"/>
                        <a:pt x="18129" y="7423"/>
                      </a:cubicBezTo>
                      <a:cubicBezTo>
                        <a:pt x="19146" y="12388"/>
                        <a:pt x="15917" y="17292"/>
                        <a:pt x="11012" y="18249"/>
                      </a:cubicBezTo>
                      <a:cubicBezTo>
                        <a:pt x="6048" y="19206"/>
                        <a:pt x="1204" y="15976"/>
                        <a:pt x="187" y="11012"/>
                      </a:cubicBezTo>
                      <a:close/>
                    </a:path>
                  </a:pathLst>
                </a:custGeom>
                <a:grpFill/>
                <a:ln w="5978" cap="flat">
                  <a:noFill/>
                  <a:prstDash val="solid"/>
                  <a:miter/>
                </a:ln>
              </p:spPr>
              <p:txBody>
                <a:bodyPr rtlCol="0" anchor="ctr"/>
                <a:lstStyle/>
                <a:p>
                  <a:endParaRPr lang="en-GB"/>
                </a:p>
              </p:txBody>
            </p:sp>
            <p:sp>
              <p:nvSpPr>
                <p:cNvPr id="3250" name="Vrije vorm: vorm 3249">
                  <a:extLst>
                    <a:ext uri="{FF2B5EF4-FFF2-40B4-BE49-F238E27FC236}">
                      <a16:creationId xmlns:a16="http://schemas.microsoft.com/office/drawing/2014/main" id="{5CC92718-AAA3-413D-8838-5AA89861093C}"/>
                    </a:ext>
                  </a:extLst>
                </p:cNvPr>
                <p:cNvSpPr/>
                <p:nvPr/>
              </p:nvSpPr>
              <p:spPr>
                <a:xfrm>
                  <a:off x="6626171" y="5760725"/>
                  <a:ext cx="18321" cy="18431"/>
                </a:xfrm>
                <a:custGeom>
                  <a:avLst/>
                  <a:gdLst>
                    <a:gd name="connsiteX0" fmla="*/ 190 w 18321"/>
                    <a:gd name="connsiteY0" fmla="*/ 11010 h 18431"/>
                    <a:gd name="connsiteX1" fmla="*/ 11015 w 18321"/>
                    <a:gd name="connsiteY1" fmla="*/ 18246 h 18431"/>
                    <a:gd name="connsiteX2" fmla="*/ 18132 w 18321"/>
                    <a:gd name="connsiteY2" fmla="*/ 7421 h 18431"/>
                    <a:gd name="connsiteX3" fmla="*/ 7307 w 18321"/>
                    <a:gd name="connsiteY3" fmla="*/ 185 h 18431"/>
                    <a:gd name="connsiteX4" fmla="*/ 190 w 18321"/>
                    <a:gd name="connsiteY4" fmla="*/ 1101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1">
                      <a:moveTo>
                        <a:pt x="190" y="11010"/>
                      </a:moveTo>
                      <a:cubicBezTo>
                        <a:pt x="1206" y="15974"/>
                        <a:pt x="6051" y="19263"/>
                        <a:pt x="11015" y="18246"/>
                      </a:cubicBezTo>
                      <a:cubicBezTo>
                        <a:pt x="15979" y="17230"/>
                        <a:pt x="19148" y="12386"/>
                        <a:pt x="18132" y="7421"/>
                      </a:cubicBezTo>
                      <a:cubicBezTo>
                        <a:pt x="17115" y="2457"/>
                        <a:pt x="12271" y="-832"/>
                        <a:pt x="7307" y="185"/>
                      </a:cubicBezTo>
                      <a:cubicBezTo>
                        <a:pt x="2343" y="1142"/>
                        <a:pt x="-827" y="5986"/>
                        <a:pt x="190" y="11010"/>
                      </a:cubicBezTo>
                      <a:close/>
                    </a:path>
                  </a:pathLst>
                </a:custGeom>
                <a:grpFill/>
                <a:ln w="5978" cap="flat">
                  <a:noFill/>
                  <a:prstDash val="solid"/>
                  <a:miter/>
                </a:ln>
              </p:spPr>
              <p:txBody>
                <a:bodyPr rtlCol="0" anchor="ctr"/>
                <a:lstStyle/>
                <a:p>
                  <a:endParaRPr lang="en-GB"/>
                </a:p>
              </p:txBody>
            </p:sp>
          </p:grpSp>
          <p:grpSp>
            <p:nvGrpSpPr>
              <p:cNvPr id="715" name="Graphic 3">
                <a:extLst>
                  <a:ext uri="{FF2B5EF4-FFF2-40B4-BE49-F238E27FC236}">
                    <a16:creationId xmlns:a16="http://schemas.microsoft.com/office/drawing/2014/main" id="{647589B2-0336-433A-B921-B50774F34631}"/>
                  </a:ext>
                </a:extLst>
              </p:cNvPr>
              <p:cNvGrpSpPr/>
              <p:nvPr/>
            </p:nvGrpSpPr>
            <p:grpSpPr>
              <a:xfrm>
                <a:off x="5271691" y="1662801"/>
                <a:ext cx="111372" cy="228162"/>
                <a:chOff x="5271691" y="1662801"/>
                <a:chExt cx="111372" cy="228162"/>
              </a:xfrm>
              <a:grpFill/>
            </p:grpSpPr>
            <p:sp>
              <p:nvSpPr>
                <p:cNvPr id="3245" name="Vrije vorm: vorm 3244">
                  <a:extLst>
                    <a:ext uri="{FF2B5EF4-FFF2-40B4-BE49-F238E27FC236}">
                      <a16:creationId xmlns:a16="http://schemas.microsoft.com/office/drawing/2014/main" id="{C149C2C3-3610-4E26-8E42-B8AEE84984C3}"/>
                    </a:ext>
                  </a:extLst>
                </p:cNvPr>
                <p:cNvSpPr/>
                <p:nvPr/>
              </p:nvSpPr>
              <p:spPr>
                <a:xfrm>
                  <a:off x="5279322" y="1670934"/>
                  <a:ext cx="96229" cy="211837"/>
                </a:xfrm>
                <a:custGeom>
                  <a:avLst/>
                  <a:gdLst>
                    <a:gd name="connsiteX0" fmla="*/ 96230 w 96229"/>
                    <a:gd name="connsiteY0" fmla="*/ 210581 h 211837"/>
                    <a:gd name="connsiteX1" fmla="*/ 93419 w 96229"/>
                    <a:gd name="connsiteY1" fmla="*/ 211837 h 211837"/>
                    <a:gd name="connsiteX2" fmla="*/ 0 w 96229"/>
                    <a:gd name="connsiteY2" fmla="*/ 1256 h 211837"/>
                    <a:gd name="connsiteX3" fmla="*/ 2811 w 96229"/>
                    <a:gd name="connsiteY3" fmla="*/ 0 h 211837"/>
                  </a:gdLst>
                  <a:ahLst/>
                  <a:cxnLst>
                    <a:cxn ang="0">
                      <a:pos x="connsiteX0" y="connsiteY0"/>
                    </a:cxn>
                    <a:cxn ang="0">
                      <a:pos x="connsiteX1" y="connsiteY1"/>
                    </a:cxn>
                    <a:cxn ang="0">
                      <a:pos x="connsiteX2" y="connsiteY2"/>
                    </a:cxn>
                    <a:cxn ang="0">
                      <a:pos x="connsiteX3" y="connsiteY3"/>
                    </a:cxn>
                  </a:cxnLst>
                  <a:rect l="l" t="t" r="r" b="b"/>
                  <a:pathLst>
                    <a:path w="96229" h="211837">
                      <a:moveTo>
                        <a:pt x="96230" y="210581"/>
                      </a:moveTo>
                      <a:lnTo>
                        <a:pt x="93419" y="211837"/>
                      </a:lnTo>
                      <a:lnTo>
                        <a:pt x="0" y="1256"/>
                      </a:lnTo>
                      <a:lnTo>
                        <a:pt x="2811" y="0"/>
                      </a:lnTo>
                      <a:close/>
                    </a:path>
                  </a:pathLst>
                </a:custGeom>
                <a:grpFill/>
                <a:ln w="5978" cap="flat">
                  <a:noFill/>
                  <a:prstDash val="solid"/>
                  <a:miter/>
                </a:ln>
              </p:spPr>
              <p:txBody>
                <a:bodyPr rtlCol="0" anchor="ctr"/>
                <a:lstStyle/>
                <a:p>
                  <a:endParaRPr lang="en-GB"/>
                </a:p>
              </p:txBody>
            </p:sp>
            <p:sp>
              <p:nvSpPr>
                <p:cNvPr id="3246" name="Vrije vorm: vorm 3245">
                  <a:extLst>
                    <a:ext uri="{FF2B5EF4-FFF2-40B4-BE49-F238E27FC236}">
                      <a16:creationId xmlns:a16="http://schemas.microsoft.com/office/drawing/2014/main" id="{C620B848-5028-4B17-9BF7-CAB37787C885}"/>
                    </a:ext>
                  </a:extLst>
                </p:cNvPr>
                <p:cNvSpPr/>
                <p:nvPr/>
              </p:nvSpPr>
              <p:spPr>
                <a:xfrm>
                  <a:off x="5271691" y="1662801"/>
                  <a:ext cx="18312" cy="18418"/>
                </a:xfrm>
                <a:custGeom>
                  <a:avLst/>
                  <a:gdLst>
                    <a:gd name="connsiteX0" fmla="*/ 813 w 18312"/>
                    <a:gd name="connsiteY0" fmla="*/ 12917 h 18418"/>
                    <a:gd name="connsiteX1" fmla="*/ 5419 w 18312"/>
                    <a:gd name="connsiteY1" fmla="*/ 777 h 18418"/>
                    <a:gd name="connsiteX2" fmla="*/ 17499 w 18312"/>
                    <a:gd name="connsiteY2" fmla="*/ 5501 h 18418"/>
                    <a:gd name="connsiteX3" fmla="*/ 12894 w 18312"/>
                    <a:gd name="connsiteY3" fmla="*/ 17642 h 18418"/>
                    <a:gd name="connsiteX4" fmla="*/ 813 w 18312"/>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18">
                      <a:moveTo>
                        <a:pt x="813" y="12917"/>
                      </a:moveTo>
                      <a:cubicBezTo>
                        <a:pt x="-1280" y="8252"/>
                        <a:pt x="813" y="2810"/>
                        <a:pt x="5419" y="777"/>
                      </a:cubicBezTo>
                      <a:cubicBezTo>
                        <a:pt x="10023" y="-1257"/>
                        <a:pt x="15466" y="836"/>
                        <a:pt x="17499" y="5501"/>
                      </a:cubicBezTo>
                      <a:cubicBezTo>
                        <a:pt x="19593" y="10166"/>
                        <a:pt x="17499" y="15609"/>
                        <a:pt x="12894" y="17642"/>
                      </a:cubicBezTo>
                      <a:cubicBezTo>
                        <a:pt x="8349" y="19676"/>
                        <a:pt x="2906" y="17582"/>
                        <a:pt x="813" y="12917"/>
                      </a:cubicBezTo>
                      <a:close/>
                    </a:path>
                  </a:pathLst>
                </a:custGeom>
                <a:grpFill/>
                <a:ln w="5978" cap="flat">
                  <a:noFill/>
                  <a:prstDash val="solid"/>
                  <a:miter/>
                </a:ln>
              </p:spPr>
              <p:txBody>
                <a:bodyPr rtlCol="0" anchor="ctr"/>
                <a:lstStyle/>
                <a:p>
                  <a:endParaRPr lang="en-GB"/>
                </a:p>
              </p:txBody>
            </p:sp>
            <p:sp>
              <p:nvSpPr>
                <p:cNvPr id="3247" name="Vrije vorm: vorm 3246">
                  <a:extLst>
                    <a:ext uri="{FF2B5EF4-FFF2-40B4-BE49-F238E27FC236}">
                      <a16:creationId xmlns:a16="http://schemas.microsoft.com/office/drawing/2014/main" id="{37BF78CB-D8A9-4BF9-92B0-A1A982CF0EDC}"/>
                    </a:ext>
                  </a:extLst>
                </p:cNvPr>
                <p:cNvSpPr/>
                <p:nvPr/>
              </p:nvSpPr>
              <p:spPr>
                <a:xfrm>
                  <a:off x="5364786" y="1872545"/>
                  <a:ext cx="18278" cy="18418"/>
                </a:xfrm>
                <a:custGeom>
                  <a:avLst/>
                  <a:gdLst>
                    <a:gd name="connsiteX0" fmla="*/ 779 w 18278"/>
                    <a:gd name="connsiteY0" fmla="*/ 12917 h 18418"/>
                    <a:gd name="connsiteX1" fmla="*/ 12860 w 18278"/>
                    <a:gd name="connsiteY1" fmla="*/ 17642 h 18418"/>
                    <a:gd name="connsiteX2" fmla="*/ 17465 w 18278"/>
                    <a:gd name="connsiteY2" fmla="*/ 5501 h 18418"/>
                    <a:gd name="connsiteX3" fmla="*/ 5384 w 18278"/>
                    <a:gd name="connsiteY3" fmla="*/ 777 h 18418"/>
                    <a:gd name="connsiteX4" fmla="*/ 779 w 1827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8" h="18418">
                      <a:moveTo>
                        <a:pt x="779" y="12917"/>
                      </a:moveTo>
                      <a:cubicBezTo>
                        <a:pt x="2812" y="17582"/>
                        <a:pt x="8255" y="19676"/>
                        <a:pt x="12860" y="17642"/>
                      </a:cubicBezTo>
                      <a:cubicBezTo>
                        <a:pt x="17465" y="15609"/>
                        <a:pt x="19558" y="10166"/>
                        <a:pt x="17465" y="5501"/>
                      </a:cubicBezTo>
                      <a:cubicBezTo>
                        <a:pt x="15372" y="836"/>
                        <a:pt x="9989" y="-1257"/>
                        <a:pt x="5384" y="777"/>
                      </a:cubicBezTo>
                      <a:cubicBezTo>
                        <a:pt x="839" y="2810"/>
                        <a:pt x="-1255" y="8252"/>
                        <a:pt x="779" y="12917"/>
                      </a:cubicBezTo>
                      <a:close/>
                    </a:path>
                  </a:pathLst>
                </a:custGeom>
                <a:grpFill/>
                <a:ln w="5978" cap="flat">
                  <a:noFill/>
                  <a:prstDash val="solid"/>
                  <a:miter/>
                </a:ln>
              </p:spPr>
              <p:txBody>
                <a:bodyPr rtlCol="0" anchor="ctr"/>
                <a:lstStyle/>
                <a:p>
                  <a:endParaRPr lang="en-GB"/>
                </a:p>
              </p:txBody>
            </p:sp>
          </p:grpSp>
          <p:grpSp>
            <p:nvGrpSpPr>
              <p:cNvPr id="716" name="Graphic 3">
                <a:extLst>
                  <a:ext uri="{FF2B5EF4-FFF2-40B4-BE49-F238E27FC236}">
                    <a16:creationId xmlns:a16="http://schemas.microsoft.com/office/drawing/2014/main" id="{487F07ED-DAD8-498E-9AEB-F08C97B887B8}"/>
                  </a:ext>
                </a:extLst>
              </p:cNvPr>
              <p:cNvGrpSpPr/>
              <p:nvPr/>
            </p:nvGrpSpPr>
            <p:grpSpPr>
              <a:xfrm>
                <a:off x="5258455" y="1635539"/>
                <a:ext cx="90118" cy="251885"/>
                <a:chOff x="5258455" y="1635539"/>
                <a:chExt cx="90118" cy="251885"/>
              </a:xfrm>
              <a:grpFill/>
            </p:grpSpPr>
            <p:sp>
              <p:nvSpPr>
                <p:cNvPr id="3242" name="Vrije vorm: vorm 3241">
                  <a:extLst>
                    <a:ext uri="{FF2B5EF4-FFF2-40B4-BE49-F238E27FC236}">
                      <a16:creationId xmlns:a16="http://schemas.microsoft.com/office/drawing/2014/main" id="{4E335375-DE6B-4DF6-B814-4FAD69EA2C81}"/>
                    </a:ext>
                  </a:extLst>
                </p:cNvPr>
                <p:cNvSpPr/>
                <p:nvPr/>
              </p:nvSpPr>
              <p:spPr>
                <a:xfrm>
                  <a:off x="5266045" y="1643841"/>
                  <a:ext cx="74938" cy="235221"/>
                </a:xfrm>
                <a:custGeom>
                  <a:avLst/>
                  <a:gdLst>
                    <a:gd name="connsiteX0" fmla="*/ 2871 w 74938"/>
                    <a:gd name="connsiteY0" fmla="*/ 0 h 235221"/>
                    <a:gd name="connsiteX1" fmla="*/ 74939 w 74938"/>
                    <a:gd name="connsiteY1" fmla="*/ 234384 h 235221"/>
                    <a:gd name="connsiteX2" fmla="*/ 72008 w 74938"/>
                    <a:gd name="connsiteY2" fmla="*/ 235222 h 235221"/>
                    <a:gd name="connsiteX3" fmla="*/ 0 w 74938"/>
                    <a:gd name="connsiteY3" fmla="*/ 897 h 235221"/>
                  </a:gdLst>
                  <a:ahLst/>
                  <a:cxnLst>
                    <a:cxn ang="0">
                      <a:pos x="connsiteX0" y="connsiteY0"/>
                    </a:cxn>
                    <a:cxn ang="0">
                      <a:pos x="connsiteX1" y="connsiteY1"/>
                    </a:cxn>
                    <a:cxn ang="0">
                      <a:pos x="connsiteX2" y="connsiteY2"/>
                    </a:cxn>
                    <a:cxn ang="0">
                      <a:pos x="connsiteX3" y="connsiteY3"/>
                    </a:cxn>
                  </a:cxnLst>
                  <a:rect l="l" t="t" r="r" b="b"/>
                  <a:pathLst>
                    <a:path w="74938" h="235221">
                      <a:moveTo>
                        <a:pt x="2871" y="0"/>
                      </a:moveTo>
                      <a:lnTo>
                        <a:pt x="74939" y="234384"/>
                      </a:lnTo>
                      <a:lnTo>
                        <a:pt x="72008" y="235222"/>
                      </a:lnTo>
                      <a:lnTo>
                        <a:pt x="0" y="897"/>
                      </a:lnTo>
                      <a:close/>
                    </a:path>
                  </a:pathLst>
                </a:custGeom>
                <a:grpFill/>
                <a:ln w="5978" cap="flat">
                  <a:noFill/>
                  <a:prstDash val="solid"/>
                  <a:miter/>
                </a:ln>
              </p:spPr>
              <p:txBody>
                <a:bodyPr rtlCol="0" anchor="ctr"/>
                <a:lstStyle/>
                <a:p>
                  <a:endParaRPr lang="en-GB"/>
                </a:p>
              </p:txBody>
            </p:sp>
            <p:sp>
              <p:nvSpPr>
                <p:cNvPr id="3243" name="Vrije vorm: vorm 3242">
                  <a:extLst>
                    <a:ext uri="{FF2B5EF4-FFF2-40B4-BE49-F238E27FC236}">
                      <a16:creationId xmlns:a16="http://schemas.microsoft.com/office/drawing/2014/main" id="{44EA8CA5-9956-4F8B-B3DE-505F012D718E}"/>
                    </a:ext>
                  </a:extLst>
                </p:cNvPr>
                <p:cNvSpPr/>
                <p:nvPr/>
              </p:nvSpPr>
              <p:spPr>
                <a:xfrm>
                  <a:off x="5330224" y="1868999"/>
                  <a:ext cx="18349" cy="18425"/>
                </a:xfrm>
                <a:custGeom>
                  <a:avLst/>
                  <a:gdLst>
                    <a:gd name="connsiteX0" fmla="*/ 17937 w 18349"/>
                    <a:gd name="connsiteY0" fmla="*/ 6535 h 18425"/>
                    <a:gd name="connsiteX1" fmla="*/ 11896 w 18349"/>
                    <a:gd name="connsiteY1" fmla="*/ 18018 h 18425"/>
                    <a:gd name="connsiteX2" fmla="*/ 413 w 18349"/>
                    <a:gd name="connsiteY2" fmla="*/ 11918 h 18425"/>
                    <a:gd name="connsiteX3" fmla="*/ 6453 w 18349"/>
                    <a:gd name="connsiteY3" fmla="*/ 435 h 18425"/>
                    <a:gd name="connsiteX4" fmla="*/ 17937 w 18349"/>
                    <a:gd name="connsiteY4" fmla="*/ 653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5">
                      <a:moveTo>
                        <a:pt x="17937" y="6535"/>
                      </a:moveTo>
                      <a:cubicBezTo>
                        <a:pt x="19432" y="11379"/>
                        <a:pt x="16741" y="16523"/>
                        <a:pt x="11896" y="18018"/>
                      </a:cubicBezTo>
                      <a:cubicBezTo>
                        <a:pt x="7052" y="19513"/>
                        <a:pt x="1908" y="16762"/>
                        <a:pt x="413" y="11918"/>
                      </a:cubicBezTo>
                      <a:cubicBezTo>
                        <a:pt x="-1082" y="7073"/>
                        <a:pt x="1609" y="1930"/>
                        <a:pt x="6453" y="435"/>
                      </a:cubicBezTo>
                      <a:cubicBezTo>
                        <a:pt x="11298" y="-1120"/>
                        <a:pt x="16442" y="1631"/>
                        <a:pt x="17937" y="6535"/>
                      </a:cubicBezTo>
                      <a:close/>
                    </a:path>
                  </a:pathLst>
                </a:custGeom>
                <a:grpFill/>
                <a:ln w="5978" cap="flat">
                  <a:noFill/>
                  <a:prstDash val="solid"/>
                  <a:miter/>
                </a:ln>
              </p:spPr>
              <p:txBody>
                <a:bodyPr rtlCol="0" anchor="ctr"/>
                <a:lstStyle/>
                <a:p>
                  <a:endParaRPr lang="en-GB"/>
                </a:p>
              </p:txBody>
            </p:sp>
            <p:sp>
              <p:nvSpPr>
                <p:cNvPr id="3244" name="Vrije vorm: vorm 3243">
                  <a:extLst>
                    <a:ext uri="{FF2B5EF4-FFF2-40B4-BE49-F238E27FC236}">
                      <a16:creationId xmlns:a16="http://schemas.microsoft.com/office/drawing/2014/main" id="{F31D8F93-A415-44A3-B61A-9EC08FA87557}"/>
                    </a:ext>
                  </a:extLst>
                </p:cNvPr>
                <p:cNvSpPr/>
                <p:nvPr/>
              </p:nvSpPr>
              <p:spPr>
                <a:xfrm>
                  <a:off x="5258455" y="1635539"/>
                  <a:ext cx="18349" cy="18398"/>
                </a:xfrm>
                <a:custGeom>
                  <a:avLst/>
                  <a:gdLst>
                    <a:gd name="connsiteX0" fmla="*/ 17937 w 18349"/>
                    <a:gd name="connsiteY0" fmla="*/ 6508 h 18398"/>
                    <a:gd name="connsiteX1" fmla="*/ 6453 w 18349"/>
                    <a:gd name="connsiteY1" fmla="*/ 407 h 18398"/>
                    <a:gd name="connsiteX2" fmla="*/ 413 w 18349"/>
                    <a:gd name="connsiteY2" fmla="*/ 11890 h 18398"/>
                    <a:gd name="connsiteX3" fmla="*/ 11896 w 18349"/>
                    <a:gd name="connsiteY3" fmla="*/ 17991 h 18398"/>
                    <a:gd name="connsiteX4" fmla="*/ 17937 w 18349"/>
                    <a:gd name="connsiteY4" fmla="*/ 6508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98">
                      <a:moveTo>
                        <a:pt x="17937" y="6508"/>
                      </a:moveTo>
                      <a:cubicBezTo>
                        <a:pt x="16442" y="1663"/>
                        <a:pt x="11298" y="-1088"/>
                        <a:pt x="6453" y="407"/>
                      </a:cubicBezTo>
                      <a:cubicBezTo>
                        <a:pt x="1609" y="1903"/>
                        <a:pt x="-1082" y="7046"/>
                        <a:pt x="413" y="11890"/>
                      </a:cubicBezTo>
                      <a:cubicBezTo>
                        <a:pt x="1908" y="16735"/>
                        <a:pt x="7052" y="19486"/>
                        <a:pt x="11896" y="17991"/>
                      </a:cubicBezTo>
                      <a:cubicBezTo>
                        <a:pt x="16741" y="16496"/>
                        <a:pt x="19432" y="11412"/>
                        <a:pt x="17937" y="6508"/>
                      </a:cubicBezTo>
                      <a:close/>
                    </a:path>
                  </a:pathLst>
                </a:custGeom>
                <a:grpFill/>
                <a:ln w="5978" cap="flat">
                  <a:noFill/>
                  <a:prstDash val="solid"/>
                  <a:miter/>
                </a:ln>
              </p:spPr>
              <p:txBody>
                <a:bodyPr rtlCol="0" anchor="ctr"/>
                <a:lstStyle/>
                <a:p>
                  <a:endParaRPr lang="en-GB"/>
                </a:p>
              </p:txBody>
            </p:sp>
          </p:grpSp>
          <p:grpSp>
            <p:nvGrpSpPr>
              <p:cNvPr id="717" name="Graphic 3">
                <a:extLst>
                  <a:ext uri="{FF2B5EF4-FFF2-40B4-BE49-F238E27FC236}">
                    <a16:creationId xmlns:a16="http://schemas.microsoft.com/office/drawing/2014/main" id="{029C1EDD-105C-4C53-AE62-323F72C3DD51}"/>
                  </a:ext>
                </a:extLst>
              </p:cNvPr>
              <p:cNvGrpSpPr/>
              <p:nvPr/>
            </p:nvGrpSpPr>
            <p:grpSpPr>
              <a:xfrm>
                <a:off x="6419968" y="5056348"/>
                <a:ext cx="76366" cy="274480"/>
                <a:chOff x="6419968" y="5056348"/>
                <a:chExt cx="76366" cy="274480"/>
              </a:xfrm>
              <a:grpFill/>
            </p:grpSpPr>
            <p:sp>
              <p:nvSpPr>
                <p:cNvPr id="3239" name="Vrije vorm: vorm 3238">
                  <a:extLst>
                    <a:ext uri="{FF2B5EF4-FFF2-40B4-BE49-F238E27FC236}">
                      <a16:creationId xmlns:a16="http://schemas.microsoft.com/office/drawing/2014/main" id="{DCBD029D-8432-4E14-AAFB-B8A40BC92BE9}"/>
                    </a:ext>
                  </a:extLst>
                </p:cNvPr>
                <p:cNvSpPr/>
                <p:nvPr/>
              </p:nvSpPr>
              <p:spPr>
                <a:xfrm>
                  <a:off x="6427218" y="5065005"/>
                  <a:ext cx="61249" cy="257591"/>
                </a:xfrm>
                <a:custGeom>
                  <a:avLst/>
                  <a:gdLst>
                    <a:gd name="connsiteX0" fmla="*/ 0 w 61249"/>
                    <a:gd name="connsiteY0" fmla="*/ 675 h 257591"/>
                    <a:gd name="connsiteX1" fmla="*/ 2975 w 61249"/>
                    <a:gd name="connsiteY1" fmla="*/ 0 h 257591"/>
                    <a:gd name="connsiteX2" fmla="*/ 61250 w 61249"/>
                    <a:gd name="connsiteY2" fmla="*/ 256917 h 257591"/>
                    <a:gd name="connsiteX3" fmla="*/ 58275 w 61249"/>
                    <a:gd name="connsiteY3" fmla="*/ 257592 h 257591"/>
                  </a:gdLst>
                  <a:ahLst/>
                  <a:cxnLst>
                    <a:cxn ang="0">
                      <a:pos x="connsiteX0" y="connsiteY0"/>
                    </a:cxn>
                    <a:cxn ang="0">
                      <a:pos x="connsiteX1" y="connsiteY1"/>
                    </a:cxn>
                    <a:cxn ang="0">
                      <a:pos x="connsiteX2" y="connsiteY2"/>
                    </a:cxn>
                    <a:cxn ang="0">
                      <a:pos x="connsiteX3" y="connsiteY3"/>
                    </a:cxn>
                  </a:cxnLst>
                  <a:rect l="l" t="t" r="r" b="b"/>
                  <a:pathLst>
                    <a:path w="61249" h="257591">
                      <a:moveTo>
                        <a:pt x="0" y="675"/>
                      </a:moveTo>
                      <a:lnTo>
                        <a:pt x="2975" y="0"/>
                      </a:lnTo>
                      <a:lnTo>
                        <a:pt x="61250" y="256917"/>
                      </a:lnTo>
                      <a:lnTo>
                        <a:pt x="58275" y="257592"/>
                      </a:lnTo>
                      <a:close/>
                    </a:path>
                  </a:pathLst>
                </a:custGeom>
                <a:grpFill/>
                <a:ln w="5978" cap="flat">
                  <a:noFill/>
                  <a:prstDash val="solid"/>
                  <a:miter/>
                </a:ln>
              </p:spPr>
              <p:txBody>
                <a:bodyPr rtlCol="0" anchor="ctr"/>
                <a:lstStyle/>
                <a:p>
                  <a:endParaRPr lang="en-GB"/>
                </a:p>
              </p:txBody>
            </p:sp>
            <p:sp>
              <p:nvSpPr>
                <p:cNvPr id="3240" name="Vrije vorm: vorm 3239">
                  <a:extLst>
                    <a:ext uri="{FF2B5EF4-FFF2-40B4-BE49-F238E27FC236}">
                      <a16:creationId xmlns:a16="http://schemas.microsoft.com/office/drawing/2014/main" id="{ACFC6F49-6F91-41CB-A62F-C970F6A5972C}"/>
                    </a:ext>
                  </a:extLst>
                </p:cNvPr>
                <p:cNvSpPr/>
                <p:nvPr/>
              </p:nvSpPr>
              <p:spPr>
                <a:xfrm>
                  <a:off x="6477983" y="5312382"/>
                  <a:ext cx="18350" cy="18445"/>
                </a:xfrm>
                <a:custGeom>
                  <a:avLst/>
                  <a:gdLst>
                    <a:gd name="connsiteX0" fmla="*/ 18117 w 18350"/>
                    <a:gd name="connsiteY0" fmla="*/ 7210 h 18445"/>
                    <a:gd name="connsiteX1" fmla="*/ 11239 w 18350"/>
                    <a:gd name="connsiteY1" fmla="*/ 18215 h 18445"/>
                    <a:gd name="connsiteX2" fmla="*/ 234 w 18350"/>
                    <a:gd name="connsiteY2" fmla="*/ 11217 h 18445"/>
                    <a:gd name="connsiteX3" fmla="*/ 7112 w 18350"/>
                    <a:gd name="connsiteY3" fmla="*/ 213 h 18445"/>
                    <a:gd name="connsiteX4" fmla="*/ 18117 w 18350"/>
                    <a:gd name="connsiteY4" fmla="*/ 721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45">
                      <a:moveTo>
                        <a:pt x="18117" y="7210"/>
                      </a:moveTo>
                      <a:cubicBezTo>
                        <a:pt x="19253" y="12174"/>
                        <a:pt x="16143" y="17079"/>
                        <a:pt x="11239" y="18215"/>
                      </a:cubicBezTo>
                      <a:cubicBezTo>
                        <a:pt x="6275" y="19351"/>
                        <a:pt x="1371" y="16181"/>
                        <a:pt x="234" y="11217"/>
                      </a:cubicBezTo>
                      <a:cubicBezTo>
                        <a:pt x="-902" y="6253"/>
                        <a:pt x="2208" y="1349"/>
                        <a:pt x="7112" y="213"/>
                      </a:cubicBezTo>
                      <a:cubicBezTo>
                        <a:pt x="12076" y="-864"/>
                        <a:pt x="17040" y="2246"/>
                        <a:pt x="18117" y="7210"/>
                      </a:cubicBezTo>
                      <a:close/>
                    </a:path>
                  </a:pathLst>
                </a:custGeom>
                <a:grpFill/>
                <a:ln w="5978" cap="flat">
                  <a:noFill/>
                  <a:prstDash val="solid"/>
                  <a:miter/>
                </a:ln>
              </p:spPr>
              <p:txBody>
                <a:bodyPr rtlCol="0" anchor="ctr"/>
                <a:lstStyle/>
                <a:p>
                  <a:endParaRPr lang="en-GB"/>
                </a:p>
              </p:txBody>
            </p:sp>
            <p:sp>
              <p:nvSpPr>
                <p:cNvPr id="3241" name="Vrije vorm: vorm 3240">
                  <a:extLst>
                    <a:ext uri="{FF2B5EF4-FFF2-40B4-BE49-F238E27FC236}">
                      <a16:creationId xmlns:a16="http://schemas.microsoft.com/office/drawing/2014/main" id="{3E1683AB-3799-4BF3-A625-D2B6D6954A1D}"/>
                    </a:ext>
                  </a:extLst>
                </p:cNvPr>
                <p:cNvSpPr/>
                <p:nvPr/>
              </p:nvSpPr>
              <p:spPr>
                <a:xfrm>
                  <a:off x="6419968" y="5056348"/>
                  <a:ext cx="18294" cy="18427"/>
                </a:xfrm>
                <a:custGeom>
                  <a:avLst/>
                  <a:gdLst>
                    <a:gd name="connsiteX0" fmla="*/ 18060 w 18294"/>
                    <a:gd name="connsiteY0" fmla="*/ 7210 h 18427"/>
                    <a:gd name="connsiteX1" fmla="*/ 7115 w 18294"/>
                    <a:gd name="connsiteY1" fmla="*/ 213 h 18427"/>
                    <a:gd name="connsiteX2" fmla="*/ 237 w 18294"/>
                    <a:gd name="connsiteY2" fmla="*/ 11217 h 18427"/>
                    <a:gd name="connsiteX3" fmla="*/ 11182 w 18294"/>
                    <a:gd name="connsiteY3" fmla="*/ 18215 h 18427"/>
                    <a:gd name="connsiteX4" fmla="*/ 18060 w 18294"/>
                    <a:gd name="connsiteY4" fmla="*/ 7210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7">
                      <a:moveTo>
                        <a:pt x="18060" y="7210"/>
                      </a:moveTo>
                      <a:cubicBezTo>
                        <a:pt x="16923" y="2246"/>
                        <a:pt x="12019" y="-864"/>
                        <a:pt x="7115" y="213"/>
                      </a:cubicBezTo>
                      <a:cubicBezTo>
                        <a:pt x="2151" y="1349"/>
                        <a:pt x="-899" y="6253"/>
                        <a:pt x="237" y="11217"/>
                      </a:cubicBezTo>
                      <a:cubicBezTo>
                        <a:pt x="1373" y="16181"/>
                        <a:pt x="6278" y="19291"/>
                        <a:pt x="11182" y="18215"/>
                      </a:cubicBezTo>
                      <a:cubicBezTo>
                        <a:pt x="16086" y="17079"/>
                        <a:pt x="19196" y="12174"/>
                        <a:pt x="18060" y="7210"/>
                      </a:cubicBezTo>
                      <a:close/>
                    </a:path>
                  </a:pathLst>
                </a:custGeom>
                <a:grpFill/>
                <a:ln w="5978" cap="flat">
                  <a:noFill/>
                  <a:prstDash val="solid"/>
                  <a:miter/>
                </a:ln>
              </p:spPr>
              <p:txBody>
                <a:bodyPr rtlCol="0" anchor="ctr"/>
                <a:lstStyle/>
                <a:p>
                  <a:endParaRPr lang="en-GB"/>
                </a:p>
              </p:txBody>
            </p:sp>
          </p:grpSp>
          <p:grpSp>
            <p:nvGrpSpPr>
              <p:cNvPr id="718" name="Graphic 3">
                <a:extLst>
                  <a:ext uri="{FF2B5EF4-FFF2-40B4-BE49-F238E27FC236}">
                    <a16:creationId xmlns:a16="http://schemas.microsoft.com/office/drawing/2014/main" id="{9F05B92A-C132-4224-AB8A-7A16F13A9F06}"/>
                  </a:ext>
                </a:extLst>
              </p:cNvPr>
              <p:cNvGrpSpPr/>
              <p:nvPr/>
            </p:nvGrpSpPr>
            <p:grpSpPr>
              <a:xfrm>
                <a:off x="6502655" y="5261137"/>
                <a:ext cx="104711" cy="368995"/>
                <a:chOff x="6502655" y="5261137"/>
                <a:chExt cx="104711" cy="368995"/>
              </a:xfrm>
              <a:grpFill/>
            </p:grpSpPr>
            <p:sp>
              <p:nvSpPr>
                <p:cNvPr id="3236" name="Vrije vorm: vorm 3235">
                  <a:extLst>
                    <a:ext uri="{FF2B5EF4-FFF2-40B4-BE49-F238E27FC236}">
                      <a16:creationId xmlns:a16="http://schemas.microsoft.com/office/drawing/2014/main" id="{D5F6C728-1DB0-4CC1-B24E-007682D12AC1}"/>
                    </a:ext>
                  </a:extLst>
                </p:cNvPr>
                <p:cNvSpPr/>
                <p:nvPr/>
              </p:nvSpPr>
              <p:spPr>
                <a:xfrm>
                  <a:off x="6510648" y="5269581"/>
                  <a:ext cx="89591" cy="352244"/>
                </a:xfrm>
                <a:custGeom>
                  <a:avLst/>
                  <a:gdLst>
                    <a:gd name="connsiteX0" fmla="*/ 0 w 89591"/>
                    <a:gd name="connsiteY0" fmla="*/ 730 h 352244"/>
                    <a:gd name="connsiteX1" fmla="*/ 2962 w 89591"/>
                    <a:gd name="connsiteY1" fmla="*/ 0 h 352244"/>
                    <a:gd name="connsiteX2" fmla="*/ 89592 w 89591"/>
                    <a:gd name="connsiteY2" fmla="*/ 351515 h 352244"/>
                    <a:gd name="connsiteX3" fmla="*/ 86630 w 89591"/>
                    <a:gd name="connsiteY3" fmla="*/ 352245 h 352244"/>
                  </a:gdLst>
                  <a:ahLst/>
                  <a:cxnLst>
                    <a:cxn ang="0">
                      <a:pos x="connsiteX0" y="connsiteY0"/>
                    </a:cxn>
                    <a:cxn ang="0">
                      <a:pos x="connsiteX1" y="connsiteY1"/>
                    </a:cxn>
                    <a:cxn ang="0">
                      <a:pos x="connsiteX2" y="connsiteY2"/>
                    </a:cxn>
                    <a:cxn ang="0">
                      <a:pos x="connsiteX3" y="connsiteY3"/>
                    </a:cxn>
                  </a:cxnLst>
                  <a:rect l="l" t="t" r="r" b="b"/>
                  <a:pathLst>
                    <a:path w="89591" h="352244">
                      <a:moveTo>
                        <a:pt x="0" y="730"/>
                      </a:moveTo>
                      <a:lnTo>
                        <a:pt x="2962" y="0"/>
                      </a:lnTo>
                      <a:lnTo>
                        <a:pt x="89592" y="351515"/>
                      </a:lnTo>
                      <a:lnTo>
                        <a:pt x="86630" y="352245"/>
                      </a:lnTo>
                      <a:close/>
                    </a:path>
                  </a:pathLst>
                </a:custGeom>
                <a:grpFill/>
                <a:ln w="5978" cap="flat">
                  <a:noFill/>
                  <a:prstDash val="solid"/>
                  <a:miter/>
                </a:ln>
              </p:spPr>
              <p:txBody>
                <a:bodyPr rtlCol="0" anchor="ctr"/>
                <a:lstStyle/>
                <a:p>
                  <a:endParaRPr lang="en-GB"/>
                </a:p>
              </p:txBody>
            </p:sp>
            <p:sp>
              <p:nvSpPr>
                <p:cNvPr id="3237" name="Vrije vorm: vorm 3236">
                  <a:extLst>
                    <a:ext uri="{FF2B5EF4-FFF2-40B4-BE49-F238E27FC236}">
                      <a16:creationId xmlns:a16="http://schemas.microsoft.com/office/drawing/2014/main" id="{F76EEA0C-7CE8-4C37-AC6F-B5EB1E53BA0B}"/>
                    </a:ext>
                  </a:extLst>
                </p:cNvPr>
                <p:cNvSpPr/>
                <p:nvPr/>
              </p:nvSpPr>
              <p:spPr>
                <a:xfrm>
                  <a:off x="6589016" y="5611727"/>
                  <a:ext cx="18349" cy="18405"/>
                </a:xfrm>
                <a:custGeom>
                  <a:avLst/>
                  <a:gdLst>
                    <a:gd name="connsiteX0" fmla="*/ 18086 w 18349"/>
                    <a:gd name="connsiteY0" fmla="*/ 7021 h 18405"/>
                    <a:gd name="connsiteX1" fmla="*/ 11387 w 18349"/>
                    <a:gd name="connsiteY1" fmla="*/ 18145 h 18405"/>
                    <a:gd name="connsiteX2" fmla="*/ 263 w 18349"/>
                    <a:gd name="connsiteY2" fmla="*/ 11387 h 18405"/>
                    <a:gd name="connsiteX3" fmla="*/ 6962 w 18349"/>
                    <a:gd name="connsiteY3" fmla="*/ 263 h 18405"/>
                    <a:gd name="connsiteX4" fmla="*/ 18086 w 18349"/>
                    <a:gd name="connsiteY4" fmla="*/ 702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18086" y="7021"/>
                      </a:moveTo>
                      <a:cubicBezTo>
                        <a:pt x="19282" y="11985"/>
                        <a:pt x="16292" y="16949"/>
                        <a:pt x="11387" y="18145"/>
                      </a:cubicBezTo>
                      <a:cubicBezTo>
                        <a:pt x="6484" y="19342"/>
                        <a:pt x="1519" y="16291"/>
                        <a:pt x="263" y="11387"/>
                      </a:cubicBezTo>
                      <a:cubicBezTo>
                        <a:pt x="-933" y="6423"/>
                        <a:pt x="2058" y="1459"/>
                        <a:pt x="6962" y="263"/>
                      </a:cubicBezTo>
                      <a:cubicBezTo>
                        <a:pt x="11926" y="-933"/>
                        <a:pt x="16890" y="2057"/>
                        <a:pt x="18086" y="7021"/>
                      </a:cubicBezTo>
                      <a:close/>
                    </a:path>
                  </a:pathLst>
                </a:custGeom>
                <a:grpFill/>
                <a:ln w="5978" cap="flat">
                  <a:noFill/>
                  <a:prstDash val="solid"/>
                  <a:miter/>
                </a:ln>
              </p:spPr>
              <p:txBody>
                <a:bodyPr rtlCol="0" anchor="ctr"/>
                <a:lstStyle/>
                <a:p>
                  <a:endParaRPr lang="en-GB"/>
                </a:p>
              </p:txBody>
            </p:sp>
            <p:sp>
              <p:nvSpPr>
                <p:cNvPr id="3238" name="Vrije vorm: vorm 3237">
                  <a:extLst>
                    <a:ext uri="{FF2B5EF4-FFF2-40B4-BE49-F238E27FC236}">
                      <a16:creationId xmlns:a16="http://schemas.microsoft.com/office/drawing/2014/main" id="{ABE959AF-DF1E-4402-A318-A3CCDFAC8908}"/>
                    </a:ext>
                  </a:extLst>
                </p:cNvPr>
                <p:cNvSpPr/>
                <p:nvPr/>
              </p:nvSpPr>
              <p:spPr>
                <a:xfrm>
                  <a:off x="6502655" y="5261137"/>
                  <a:ext cx="18349" cy="18408"/>
                </a:xfrm>
                <a:custGeom>
                  <a:avLst/>
                  <a:gdLst>
                    <a:gd name="connsiteX0" fmla="*/ 18086 w 18349"/>
                    <a:gd name="connsiteY0" fmla="*/ 7021 h 18408"/>
                    <a:gd name="connsiteX1" fmla="*/ 6962 w 18349"/>
                    <a:gd name="connsiteY1" fmla="*/ 263 h 18408"/>
                    <a:gd name="connsiteX2" fmla="*/ 263 w 18349"/>
                    <a:gd name="connsiteY2" fmla="*/ 11387 h 18408"/>
                    <a:gd name="connsiteX3" fmla="*/ 11387 w 18349"/>
                    <a:gd name="connsiteY3" fmla="*/ 18145 h 18408"/>
                    <a:gd name="connsiteX4" fmla="*/ 18086 w 1834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8086" y="7021"/>
                      </a:moveTo>
                      <a:cubicBezTo>
                        <a:pt x="16890" y="2057"/>
                        <a:pt x="11926" y="-933"/>
                        <a:pt x="6962" y="263"/>
                      </a:cubicBezTo>
                      <a:cubicBezTo>
                        <a:pt x="2058" y="1459"/>
                        <a:pt x="-933" y="6423"/>
                        <a:pt x="263" y="11387"/>
                      </a:cubicBezTo>
                      <a:cubicBezTo>
                        <a:pt x="1460" y="16351"/>
                        <a:pt x="6424" y="19342"/>
                        <a:pt x="11387" y="18145"/>
                      </a:cubicBezTo>
                      <a:cubicBezTo>
                        <a:pt x="16292" y="16949"/>
                        <a:pt x="19282" y="11985"/>
                        <a:pt x="18086" y="7021"/>
                      </a:cubicBezTo>
                      <a:close/>
                    </a:path>
                  </a:pathLst>
                </a:custGeom>
                <a:grpFill/>
                <a:ln w="5978" cap="flat">
                  <a:noFill/>
                  <a:prstDash val="solid"/>
                  <a:miter/>
                </a:ln>
              </p:spPr>
              <p:txBody>
                <a:bodyPr rtlCol="0" anchor="ctr"/>
                <a:lstStyle/>
                <a:p>
                  <a:endParaRPr lang="en-GB"/>
                </a:p>
              </p:txBody>
            </p:sp>
          </p:grpSp>
          <p:grpSp>
            <p:nvGrpSpPr>
              <p:cNvPr id="719" name="Graphic 3">
                <a:extLst>
                  <a:ext uri="{FF2B5EF4-FFF2-40B4-BE49-F238E27FC236}">
                    <a16:creationId xmlns:a16="http://schemas.microsoft.com/office/drawing/2014/main" id="{130572DA-F163-4C9C-B343-FD4FAB95CC8C}"/>
                  </a:ext>
                </a:extLst>
              </p:cNvPr>
              <p:cNvGrpSpPr/>
              <p:nvPr/>
            </p:nvGrpSpPr>
            <p:grpSpPr>
              <a:xfrm>
                <a:off x="5188499" y="1475186"/>
                <a:ext cx="94028" cy="189168"/>
                <a:chOff x="5188499" y="1475186"/>
                <a:chExt cx="94028" cy="189168"/>
              </a:xfrm>
              <a:grpFill/>
            </p:grpSpPr>
            <p:sp>
              <p:nvSpPr>
                <p:cNvPr id="3233" name="Vrije vorm: vorm 3232">
                  <a:extLst>
                    <a:ext uri="{FF2B5EF4-FFF2-40B4-BE49-F238E27FC236}">
                      <a16:creationId xmlns:a16="http://schemas.microsoft.com/office/drawing/2014/main" id="{BCE125B2-8317-4EF2-A8CE-9494971B7024}"/>
                    </a:ext>
                  </a:extLst>
                </p:cNvPr>
                <p:cNvSpPr/>
                <p:nvPr/>
              </p:nvSpPr>
              <p:spPr>
                <a:xfrm>
                  <a:off x="5196130" y="1483379"/>
                  <a:ext cx="78885" cy="172783"/>
                </a:xfrm>
                <a:custGeom>
                  <a:avLst/>
                  <a:gdLst>
                    <a:gd name="connsiteX0" fmla="*/ 78886 w 78885"/>
                    <a:gd name="connsiteY0" fmla="*/ 171587 h 172783"/>
                    <a:gd name="connsiteX1" fmla="*/ 76075 w 78885"/>
                    <a:gd name="connsiteY1" fmla="*/ 172783 h 172783"/>
                    <a:gd name="connsiteX2" fmla="*/ 0 w 78885"/>
                    <a:gd name="connsiteY2" fmla="*/ 1196 h 172783"/>
                    <a:gd name="connsiteX3" fmla="*/ 2751 w 78885"/>
                    <a:gd name="connsiteY3" fmla="*/ 0 h 172783"/>
                  </a:gdLst>
                  <a:ahLst/>
                  <a:cxnLst>
                    <a:cxn ang="0">
                      <a:pos x="connsiteX0" y="connsiteY0"/>
                    </a:cxn>
                    <a:cxn ang="0">
                      <a:pos x="connsiteX1" y="connsiteY1"/>
                    </a:cxn>
                    <a:cxn ang="0">
                      <a:pos x="connsiteX2" y="connsiteY2"/>
                    </a:cxn>
                    <a:cxn ang="0">
                      <a:pos x="connsiteX3" y="connsiteY3"/>
                    </a:cxn>
                  </a:cxnLst>
                  <a:rect l="l" t="t" r="r" b="b"/>
                  <a:pathLst>
                    <a:path w="78885" h="172783">
                      <a:moveTo>
                        <a:pt x="78886" y="171587"/>
                      </a:moveTo>
                      <a:lnTo>
                        <a:pt x="76075" y="172783"/>
                      </a:lnTo>
                      <a:lnTo>
                        <a:pt x="0" y="1196"/>
                      </a:lnTo>
                      <a:lnTo>
                        <a:pt x="2751" y="0"/>
                      </a:lnTo>
                      <a:close/>
                    </a:path>
                  </a:pathLst>
                </a:custGeom>
                <a:grpFill/>
                <a:ln w="5978" cap="flat">
                  <a:noFill/>
                  <a:prstDash val="solid"/>
                  <a:miter/>
                </a:ln>
              </p:spPr>
              <p:txBody>
                <a:bodyPr rtlCol="0" anchor="ctr"/>
                <a:lstStyle/>
                <a:p>
                  <a:endParaRPr lang="en-GB"/>
                </a:p>
              </p:txBody>
            </p:sp>
            <p:sp>
              <p:nvSpPr>
                <p:cNvPr id="3234" name="Vrije vorm: vorm 3233">
                  <a:extLst>
                    <a:ext uri="{FF2B5EF4-FFF2-40B4-BE49-F238E27FC236}">
                      <a16:creationId xmlns:a16="http://schemas.microsoft.com/office/drawing/2014/main" id="{20A3E01C-87B5-4FCA-BF7A-B51241556CB2}"/>
                    </a:ext>
                  </a:extLst>
                </p:cNvPr>
                <p:cNvSpPr/>
                <p:nvPr/>
              </p:nvSpPr>
              <p:spPr>
                <a:xfrm>
                  <a:off x="5188499" y="1475186"/>
                  <a:ext cx="18287" cy="18418"/>
                </a:xfrm>
                <a:custGeom>
                  <a:avLst/>
                  <a:gdLst>
                    <a:gd name="connsiteX0" fmla="*/ 813 w 18287"/>
                    <a:gd name="connsiteY0" fmla="*/ 12917 h 18418"/>
                    <a:gd name="connsiteX1" fmla="*/ 5419 w 18287"/>
                    <a:gd name="connsiteY1" fmla="*/ 777 h 18418"/>
                    <a:gd name="connsiteX2" fmla="*/ 17500 w 18287"/>
                    <a:gd name="connsiteY2" fmla="*/ 5501 h 18418"/>
                    <a:gd name="connsiteX3" fmla="*/ 12894 w 18287"/>
                    <a:gd name="connsiteY3" fmla="*/ 17642 h 18418"/>
                    <a:gd name="connsiteX4" fmla="*/ 813 w 18287"/>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8">
                      <a:moveTo>
                        <a:pt x="813" y="12917"/>
                      </a:moveTo>
                      <a:cubicBezTo>
                        <a:pt x="-1280" y="8252"/>
                        <a:pt x="813" y="2810"/>
                        <a:pt x="5419" y="777"/>
                      </a:cubicBezTo>
                      <a:cubicBezTo>
                        <a:pt x="10024" y="-1257"/>
                        <a:pt x="15466" y="836"/>
                        <a:pt x="17500" y="5501"/>
                      </a:cubicBezTo>
                      <a:cubicBezTo>
                        <a:pt x="19533" y="10166"/>
                        <a:pt x="17500" y="15609"/>
                        <a:pt x="12894" y="17642"/>
                      </a:cubicBezTo>
                      <a:cubicBezTo>
                        <a:pt x="8289" y="19676"/>
                        <a:pt x="2847" y="17582"/>
                        <a:pt x="813" y="12917"/>
                      </a:cubicBezTo>
                      <a:close/>
                    </a:path>
                  </a:pathLst>
                </a:custGeom>
                <a:grpFill/>
                <a:ln w="5978" cap="flat">
                  <a:noFill/>
                  <a:prstDash val="solid"/>
                  <a:miter/>
                </a:ln>
              </p:spPr>
              <p:txBody>
                <a:bodyPr rtlCol="0" anchor="ctr"/>
                <a:lstStyle/>
                <a:p>
                  <a:endParaRPr lang="en-GB"/>
                </a:p>
              </p:txBody>
            </p:sp>
            <p:sp>
              <p:nvSpPr>
                <p:cNvPr id="3235" name="Vrije vorm: vorm 3234">
                  <a:extLst>
                    <a:ext uri="{FF2B5EF4-FFF2-40B4-BE49-F238E27FC236}">
                      <a16:creationId xmlns:a16="http://schemas.microsoft.com/office/drawing/2014/main" id="{84BF90D0-B2ED-4C9A-A3DC-EDD02E7B648F}"/>
                    </a:ext>
                  </a:extLst>
                </p:cNvPr>
                <p:cNvSpPr/>
                <p:nvPr/>
              </p:nvSpPr>
              <p:spPr>
                <a:xfrm>
                  <a:off x="5264250" y="1645936"/>
                  <a:ext cx="18278" cy="18418"/>
                </a:xfrm>
                <a:custGeom>
                  <a:avLst/>
                  <a:gdLst>
                    <a:gd name="connsiteX0" fmla="*/ 779 w 18278"/>
                    <a:gd name="connsiteY0" fmla="*/ 12917 h 18418"/>
                    <a:gd name="connsiteX1" fmla="*/ 12860 w 18278"/>
                    <a:gd name="connsiteY1" fmla="*/ 17642 h 18418"/>
                    <a:gd name="connsiteX2" fmla="*/ 17465 w 18278"/>
                    <a:gd name="connsiteY2" fmla="*/ 5501 h 18418"/>
                    <a:gd name="connsiteX3" fmla="*/ 5384 w 18278"/>
                    <a:gd name="connsiteY3" fmla="*/ 777 h 18418"/>
                    <a:gd name="connsiteX4" fmla="*/ 779 w 1827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8" h="18418">
                      <a:moveTo>
                        <a:pt x="779" y="12917"/>
                      </a:moveTo>
                      <a:cubicBezTo>
                        <a:pt x="2872" y="17582"/>
                        <a:pt x="8255" y="19676"/>
                        <a:pt x="12860" y="17642"/>
                      </a:cubicBezTo>
                      <a:cubicBezTo>
                        <a:pt x="17465" y="15609"/>
                        <a:pt x="19558" y="10166"/>
                        <a:pt x="17465" y="5501"/>
                      </a:cubicBezTo>
                      <a:cubicBezTo>
                        <a:pt x="15432" y="836"/>
                        <a:pt x="9989" y="-1257"/>
                        <a:pt x="5384" y="777"/>
                      </a:cubicBezTo>
                      <a:cubicBezTo>
                        <a:pt x="839" y="2810"/>
                        <a:pt x="-1255" y="8252"/>
                        <a:pt x="779" y="12917"/>
                      </a:cubicBezTo>
                      <a:close/>
                    </a:path>
                  </a:pathLst>
                </a:custGeom>
                <a:grpFill/>
                <a:ln w="5978" cap="flat">
                  <a:noFill/>
                  <a:prstDash val="solid"/>
                  <a:miter/>
                </a:ln>
              </p:spPr>
              <p:txBody>
                <a:bodyPr rtlCol="0" anchor="ctr"/>
                <a:lstStyle/>
                <a:p>
                  <a:endParaRPr lang="en-GB"/>
                </a:p>
              </p:txBody>
            </p:sp>
          </p:grpSp>
          <p:grpSp>
            <p:nvGrpSpPr>
              <p:cNvPr id="720" name="Graphic 3">
                <a:extLst>
                  <a:ext uri="{FF2B5EF4-FFF2-40B4-BE49-F238E27FC236}">
                    <a16:creationId xmlns:a16="http://schemas.microsoft.com/office/drawing/2014/main" id="{B5783E61-11BE-46CA-9B8F-8CEC4E037744}"/>
                  </a:ext>
                </a:extLst>
              </p:cNvPr>
              <p:cNvGrpSpPr/>
              <p:nvPr/>
            </p:nvGrpSpPr>
            <p:grpSpPr>
              <a:xfrm>
                <a:off x="5188559" y="1475186"/>
                <a:ext cx="81768" cy="161537"/>
                <a:chOff x="5188559" y="1475186"/>
                <a:chExt cx="81768" cy="161537"/>
              </a:xfrm>
              <a:grpFill/>
            </p:grpSpPr>
            <p:sp>
              <p:nvSpPr>
                <p:cNvPr id="3230" name="Vrije vorm: vorm 3229">
                  <a:extLst>
                    <a:ext uri="{FF2B5EF4-FFF2-40B4-BE49-F238E27FC236}">
                      <a16:creationId xmlns:a16="http://schemas.microsoft.com/office/drawing/2014/main" id="{AAF8231E-08A4-4268-AFF9-A2DFB7778938}"/>
                    </a:ext>
                  </a:extLst>
                </p:cNvPr>
                <p:cNvSpPr/>
                <p:nvPr/>
              </p:nvSpPr>
              <p:spPr>
                <a:xfrm>
                  <a:off x="5196130" y="1483379"/>
                  <a:ext cx="66625" cy="145152"/>
                </a:xfrm>
                <a:custGeom>
                  <a:avLst/>
                  <a:gdLst>
                    <a:gd name="connsiteX0" fmla="*/ 66625 w 66625"/>
                    <a:gd name="connsiteY0" fmla="*/ 143956 h 145152"/>
                    <a:gd name="connsiteX1" fmla="*/ 63815 w 66625"/>
                    <a:gd name="connsiteY1" fmla="*/ 145152 h 145152"/>
                    <a:gd name="connsiteX2" fmla="*/ 0 w 66625"/>
                    <a:gd name="connsiteY2" fmla="*/ 1196 h 145152"/>
                    <a:gd name="connsiteX3" fmla="*/ 2751 w 66625"/>
                    <a:gd name="connsiteY3" fmla="*/ 0 h 145152"/>
                  </a:gdLst>
                  <a:ahLst/>
                  <a:cxnLst>
                    <a:cxn ang="0">
                      <a:pos x="connsiteX0" y="connsiteY0"/>
                    </a:cxn>
                    <a:cxn ang="0">
                      <a:pos x="connsiteX1" y="connsiteY1"/>
                    </a:cxn>
                    <a:cxn ang="0">
                      <a:pos x="connsiteX2" y="connsiteY2"/>
                    </a:cxn>
                    <a:cxn ang="0">
                      <a:pos x="connsiteX3" y="connsiteY3"/>
                    </a:cxn>
                  </a:cxnLst>
                  <a:rect l="l" t="t" r="r" b="b"/>
                  <a:pathLst>
                    <a:path w="66625" h="145152">
                      <a:moveTo>
                        <a:pt x="66625" y="143956"/>
                      </a:moveTo>
                      <a:lnTo>
                        <a:pt x="63815" y="145152"/>
                      </a:lnTo>
                      <a:lnTo>
                        <a:pt x="0" y="1196"/>
                      </a:lnTo>
                      <a:lnTo>
                        <a:pt x="2751" y="0"/>
                      </a:lnTo>
                      <a:close/>
                    </a:path>
                  </a:pathLst>
                </a:custGeom>
                <a:grpFill/>
                <a:ln w="5978" cap="flat">
                  <a:noFill/>
                  <a:prstDash val="solid"/>
                  <a:miter/>
                </a:ln>
              </p:spPr>
              <p:txBody>
                <a:bodyPr rtlCol="0" anchor="ctr"/>
                <a:lstStyle/>
                <a:p>
                  <a:endParaRPr lang="en-GB"/>
                </a:p>
              </p:txBody>
            </p:sp>
            <p:sp>
              <p:nvSpPr>
                <p:cNvPr id="3231" name="Vrije vorm: vorm 3230">
                  <a:extLst>
                    <a:ext uri="{FF2B5EF4-FFF2-40B4-BE49-F238E27FC236}">
                      <a16:creationId xmlns:a16="http://schemas.microsoft.com/office/drawing/2014/main" id="{B9590058-0C4F-48DF-A4F3-17D550AFBFE2}"/>
                    </a:ext>
                  </a:extLst>
                </p:cNvPr>
                <p:cNvSpPr/>
                <p:nvPr/>
              </p:nvSpPr>
              <p:spPr>
                <a:xfrm>
                  <a:off x="5252014" y="1618305"/>
                  <a:ext cx="18312" cy="18418"/>
                </a:xfrm>
                <a:custGeom>
                  <a:avLst/>
                  <a:gdLst>
                    <a:gd name="connsiteX0" fmla="*/ 17500 w 18312"/>
                    <a:gd name="connsiteY0" fmla="*/ 5501 h 18418"/>
                    <a:gd name="connsiteX1" fmla="*/ 12894 w 18312"/>
                    <a:gd name="connsiteY1" fmla="*/ 17642 h 18418"/>
                    <a:gd name="connsiteX2" fmla="*/ 813 w 18312"/>
                    <a:gd name="connsiteY2" fmla="*/ 12917 h 18418"/>
                    <a:gd name="connsiteX3" fmla="*/ 5418 w 18312"/>
                    <a:gd name="connsiteY3" fmla="*/ 777 h 18418"/>
                    <a:gd name="connsiteX4" fmla="*/ 17500 w 18312"/>
                    <a:gd name="connsiteY4" fmla="*/ 550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18">
                      <a:moveTo>
                        <a:pt x="17500" y="5501"/>
                      </a:moveTo>
                      <a:cubicBezTo>
                        <a:pt x="19593" y="10166"/>
                        <a:pt x="17500" y="15609"/>
                        <a:pt x="12894" y="17642"/>
                      </a:cubicBezTo>
                      <a:cubicBezTo>
                        <a:pt x="8289" y="19676"/>
                        <a:pt x="2847" y="17582"/>
                        <a:pt x="813" y="12917"/>
                      </a:cubicBezTo>
                      <a:cubicBezTo>
                        <a:pt x="-1280" y="8252"/>
                        <a:pt x="813" y="2810"/>
                        <a:pt x="5418" y="777"/>
                      </a:cubicBezTo>
                      <a:cubicBezTo>
                        <a:pt x="10024" y="-1257"/>
                        <a:pt x="15466" y="836"/>
                        <a:pt x="17500" y="5501"/>
                      </a:cubicBezTo>
                      <a:close/>
                    </a:path>
                  </a:pathLst>
                </a:custGeom>
                <a:grpFill/>
                <a:ln w="5978" cap="flat">
                  <a:noFill/>
                  <a:prstDash val="solid"/>
                  <a:miter/>
                </a:ln>
              </p:spPr>
              <p:txBody>
                <a:bodyPr rtlCol="0" anchor="ctr"/>
                <a:lstStyle/>
                <a:p>
                  <a:endParaRPr lang="en-GB"/>
                </a:p>
              </p:txBody>
            </p:sp>
            <p:sp>
              <p:nvSpPr>
                <p:cNvPr id="3232" name="Vrije vorm: vorm 3231">
                  <a:extLst>
                    <a:ext uri="{FF2B5EF4-FFF2-40B4-BE49-F238E27FC236}">
                      <a16:creationId xmlns:a16="http://schemas.microsoft.com/office/drawing/2014/main" id="{BAD7CB92-E8D0-4EC8-9DD0-8049A131C360}"/>
                    </a:ext>
                  </a:extLst>
                </p:cNvPr>
                <p:cNvSpPr/>
                <p:nvPr/>
              </p:nvSpPr>
              <p:spPr>
                <a:xfrm>
                  <a:off x="5188559" y="1475186"/>
                  <a:ext cx="18287" cy="18418"/>
                </a:xfrm>
                <a:custGeom>
                  <a:avLst/>
                  <a:gdLst>
                    <a:gd name="connsiteX0" fmla="*/ 17500 w 18287"/>
                    <a:gd name="connsiteY0" fmla="*/ 5501 h 18418"/>
                    <a:gd name="connsiteX1" fmla="*/ 5419 w 18287"/>
                    <a:gd name="connsiteY1" fmla="*/ 777 h 18418"/>
                    <a:gd name="connsiteX2" fmla="*/ 813 w 18287"/>
                    <a:gd name="connsiteY2" fmla="*/ 12917 h 18418"/>
                    <a:gd name="connsiteX3" fmla="*/ 12894 w 18287"/>
                    <a:gd name="connsiteY3" fmla="*/ 17642 h 18418"/>
                    <a:gd name="connsiteX4" fmla="*/ 17500 w 18287"/>
                    <a:gd name="connsiteY4" fmla="*/ 550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8">
                      <a:moveTo>
                        <a:pt x="17500" y="5501"/>
                      </a:moveTo>
                      <a:cubicBezTo>
                        <a:pt x="15406" y="836"/>
                        <a:pt x="10024" y="-1257"/>
                        <a:pt x="5419" y="777"/>
                      </a:cubicBezTo>
                      <a:cubicBezTo>
                        <a:pt x="813" y="2810"/>
                        <a:pt x="-1280" y="8252"/>
                        <a:pt x="813" y="12917"/>
                      </a:cubicBezTo>
                      <a:cubicBezTo>
                        <a:pt x="2847" y="17582"/>
                        <a:pt x="8289" y="19676"/>
                        <a:pt x="12894" y="17642"/>
                      </a:cubicBezTo>
                      <a:cubicBezTo>
                        <a:pt x="17500" y="15609"/>
                        <a:pt x="19533" y="10166"/>
                        <a:pt x="17500" y="5501"/>
                      </a:cubicBezTo>
                      <a:close/>
                    </a:path>
                  </a:pathLst>
                </a:custGeom>
                <a:grpFill/>
                <a:ln w="5978" cap="flat">
                  <a:noFill/>
                  <a:prstDash val="solid"/>
                  <a:miter/>
                </a:ln>
              </p:spPr>
              <p:txBody>
                <a:bodyPr rtlCol="0" anchor="ctr"/>
                <a:lstStyle/>
                <a:p>
                  <a:endParaRPr lang="en-GB"/>
                </a:p>
              </p:txBody>
            </p:sp>
          </p:grpSp>
          <p:grpSp>
            <p:nvGrpSpPr>
              <p:cNvPr id="721" name="Graphic 3">
                <a:extLst>
                  <a:ext uri="{FF2B5EF4-FFF2-40B4-BE49-F238E27FC236}">
                    <a16:creationId xmlns:a16="http://schemas.microsoft.com/office/drawing/2014/main" id="{9794B428-7863-4166-BF68-24080AC3B6DA}"/>
                  </a:ext>
                </a:extLst>
              </p:cNvPr>
              <p:cNvGrpSpPr/>
              <p:nvPr/>
            </p:nvGrpSpPr>
            <p:grpSpPr>
              <a:xfrm>
                <a:off x="5205546" y="1604406"/>
                <a:ext cx="141870" cy="283472"/>
                <a:chOff x="5205546" y="1604406"/>
                <a:chExt cx="141870" cy="283472"/>
              </a:xfrm>
              <a:grpFill/>
            </p:grpSpPr>
            <p:sp>
              <p:nvSpPr>
                <p:cNvPr id="3227" name="Vrije vorm: vorm 3226">
                  <a:extLst>
                    <a:ext uri="{FF2B5EF4-FFF2-40B4-BE49-F238E27FC236}">
                      <a16:creationId xmlns:a16="http://schemas.microsoft.com/office/drawing/2014/main" id="{313024F2-48DE-42B5-AE8D-7ACF5DE37E0D}"/>
                    </a:ext>
                  </a:extLst>
                </p:cNvPr>
                <p:cNvSpPr/>
                <p:nvPr/>
              </p:nvSpPr>
              <p:spPr>
                <a:xfrm>
                  <a:off x="5213116" y="1612562"/>
                  <a:ext cx="126671" cy="267158"/>
                </a:xfrm>
                <a:custGeom>
                  <a:avLst/>
                  <a:gdLst>
                    <a:gd name="connsiteX0" fmla="*/ 126672 w 126671"/>
                    <a:gd name="connsiteY0" fmla="*/ 265843 h 267158"/>
                    <a:gd name="connsiteX1" fmla="*/ 123920 w 126671"/>
                    <a:gd name="connsiteY1" fmla="*/ 267159 h 267158"/>
                    <a:gd name="connsiteX2" fmla="*/ 0 w 126671"/>
                    <a:gd name="connsiteY2" fmla="*/ 1316 h 267158"/>
                    <a:gd name="connsiteX3" fmla="*/ 2751 w 126671"/>
                    <a:gd name="connsiteY3" fmla="*/ 0 h 267158"/>
                  </a:gdLst>
                  <a:ahLst/>
                  <a:cxnLst>
                    <a:cxn ang="0">
                      <a:pos x="connsiteX0" y="connsiteY0"/>
                    </a:cxn>
                    <a:cxn ang="0">
                      <a:pos x="connsiteX1" y="connsiteY1"/>
                    </a:cxn>
                    <a:cxn ang="0">
                      <a:pos x="connsiteX2" y="connsiteY2"/>
                    </a:cxn>
                    <a:cxn ang="0">
                      <a:pos x="connsiteX3" y="connsiteY3"/>
                    </a:cxn>
                  </a:cxnLst>
                  <a:rect l="l" t="t" r="r" b="b"/>
                  <a:pathLst>
                    <a:path w="126671" h="267158">
                      <a:moveTo>
                        <a:pt x="126672" y="265843"/>
                      </a:moveTo>
                      <a:lnTo>
                        <a:pt x="123920" y="267159"/>
                      </a:lnTo>
                      <a:lnTo>
                        <a:pt x="0" y="1316"/>
                      </a:lnTo>
                      <a:lnTo>
                        <a:pt x="2751" y="0"/>
                      </a:lnTo>
                      <a:close/>
                    </a:path>
                  </a:pathLst>
                </a:custGeom>
                <a:grpFill/>
                <a:ln w="5978" cap="flat">
                  <a:noFill/>
                  <a:prstDash val="solid"/>
                  <a:miter/>
                </a:ln>
              </p:spPr>
              <p:txBody>
                <a:bodyPr rtlCol="0" anchor="ctr"/>
                <a:lstStyle/>
                <a:p>
                  <a:endParaRPr lang="en-GB"/>
                </a:p>
              </p:txBody>
            </p:sp>
            <p:sp>
              <p:nvSpPr>
                <p:cNvPr id="3228" name="Vrije vorm: vorm 3227">
                  <a:extLst>
                    <a:ext uri="{FF2B5EF4-FFF2-40B4-BE49-F238E27FC236}">
                      <a16:creationId xmlns:a16="http://schemas.microsoft.com/office/drawing/2014/main" id="{43D089FD-EA21-4E48-8BEB-FC86076963AA}"/>
                    </a:ext>
                  </a:extLst>
                </p:cNvPr>
                <p:cNvSpPr/>
                <p:nvPr/>
              </p:nvSpPr>
              <p:spPr>
                <a:xfrm>
                  <a:off x="5205546" y="1604406"/>
                  <a:ext cx="18368" cy="18466"/>
                </a:xfrm>
                <a:custGeom>
                  <a:avLst/>
                  <a:gdLst>
                    <a:gd name="connsiteX0" fmla="*/ 871 w 18368"/>
                    <a:gd name="connsiteY0" fmla="*/ 13121 h 18466"/>
                    <a:gd name="connsiteX1" fmla="*/ 5297 w 18368"/>
                    <a:gd name="connsiteY1" fmla="*/ 860 h 18466"/>
                    <a:gd name="connsiteX2" fmla="*/ 17497 w 18368"/>
                    <a:gd name="connsiteY2" fmla="*/ 5346 h 18466"/>
                    <a:gd name="connsiteX3" fmla="*/ 13072 w 18368"/>
                    <a:gd name="connsiteY3" fmla="*/ 17606 h 18466"/>
                    <a:gd name="connsiteX4" fmla="*/ 871 w 18368"/>
                    <a:gd name="connsiteY4" fmla="*/ 13121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871" y="13121"/>
                      </a:moveTo>
                      <a:cubicBezTo>
                        <a:pt x="-1282" y="8516"/>
                        <a:pt x="692" y="3013"/>
                        <a:pt x="5297" y="860"/>
                      </a:cubicBezTo>
                      <a:cubicBezTo>
                        <a:pt x="9902" y="-1293"/>
                        <a:pt x="15345" y="741"/>
                        <a:pt x="17497" y="5346"/>
                      </a:cubicBezTo>
                      <a:cubicBezTo>
                        <a:pt x="19650" y="9951"/>
                        <a:pt x="17677" y="15453"/>
                        <a:pt x="13072" y="17606"/>
                      </a:cubicBezTo>
                      <a:cubicBezTo>
                        <a:pt x="8467" y="19759"/>
                        <a:pt x="2964" y="17726"/>
                        <a:pt x="871" y="13121"/>
                      </a:cubicBezTo>
                      <a:close/>
                    </a:path>
                  </a:pathLst>
                </a:custGeom>
                <a:grpFill/>
                <a:ln w="5978" cap="flat">
                  <a:noFill/>
                  <a:prstDash val="solid"/>
                  <a:miter/>
                </a:ln>
              </p:spPr>
              <p:txBody>
                <a:bodyPr rtlCol="0" anchor="ctr"/>
                <a:lstStyle/>
                <a:p>
                  <a:endParaRPr lang="en-GB"/>
                </a:p>
              </p:txBody>
            </p:sp>
            <p:sp>
              <p:nvSpPr>
                <p:cNvPr id="3229" name="Vrije vorm: vorm 3228">
                  <a:extLst>
                    <a:ext uri="{FF2B5EF4-FFF2-40B4-BE49-F238E27FC236}">
                      <a16:creationId xmlns:a16="http://schemas.microsoft.com/office/drawing/2014/main" id="{7C387711-5BE0-4726-99FC-DD736BA29ECA}"/>
                    </a:ext>
                  </a:extLst>
                </p:cNvPr>
                <p:cNvSpPr/>
                <p:nvPr/>
              </p:nvSpPr>
              <p:spPr>
                <a:xfrm>
                  <a:off x="5329048" y="1869411"/>
                  <a:ext cx="18368" cy="18466"/>
                </a:xfrm>
                <a:custGeom>
                  <a:avLst/>
                  <a:gdLst>
                    <a:gd name="connsiteX0" fmla="*/ 871 w 18368"/>
                    <a:gd name="connsiteY0" fmla="*/ 13121 h 18466"/>
                    <a:gd name="connsiteX1" fmla="*/ 13072 w 18368"/>
                    <a:gd name="connsiteY1" fmla="*/ 17606 h 18466"/>
                    <a:gd name="connsiteX2" fmla="*/ 17498 w 18368"/>
                    <a:gd name="connsiteY2" fmla="*/ 5346 h 18466"/>
                    <a:gd name="connsiteX3" fmla="*/ 5297 w 18368"/>
                    <a:gd name="connsiteY3" fmla="*/ 860 h 18466"/>
                    <a:gd name="connsiteX4" fmla="*/ 871 w 18368"/>
                    <a:gd name="connsiteY4" fmla="*/ 13121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871" y="13121"/>
                      </a:moveTo>
                      <a:cubicBezTo>
                        <a:pt x="3024" y="17726"/>
                        <a:pt x="8467" y="19759"/>
                        <a:pt x="13072" y="17606"/>
                      </a:cubicBezTo>
                      <a:cubicBezTo>
                        <a:pt x="17677" y="15453"/>
                        <a:pt x="19651" y="10011"/>
                        <a:pt x="17498" y="5346"/>
                      </a:cubicBezTo>
                      <a:cubicBezTo>
                        <a:pt x="15345" y="741"/>
                        <a:pt x="9902" y="-1293"/>
                        <a:pt x="5297" y="860"/>
                      </a:cubicBezTo>
                      <a:cubicBezTo>
                        <a:pt x="692" y="3013"/>
                        <a:pt x="-1282" y="8516"/>
                        <a:pt x="871" y="13121"/>
                      </a:cubicBezTo>
                      <a:close/>
                    </a:path>
                  </a:pathLst>
                </a:custGeom>
                <a:grpFill/>
                <a:ln w="5978" cap="flat">
                  <a:noFill/>
                  <a:prstDash val="solid"/>
                  <a:miter/>
                </a:ln>
              </p:spPr>
              <p:txBody>
                <a:bodyPr rtlCol="0" anchor="ctr"/>
                <a:lstStyle/>
                <a:p>
                  <a:endParaRPr lang="en-GB"/>
                </a:p>
              </p:txBody>
            </p:sp>
          </p:grpSp>
          <p:grpSp>
            <p:nvGrpSpPr>
              <p:cNvPr id="722" name="Graphic 3">
                <a:extLst>
                  <a:ext uri="{FF2B5EF4-FFF2-40B4-BE49-F238E27FC236}">
                    <a16:creationId xmlns:a16="http://schemas.microsoft.com/office/drawing/2014/main" id="{3B2D0D91-0645-43A0-B71F-879BC34B04AB}"/>
                  </a:ext>
                </a:extLst>
              </p:cNvPr>
              <p:cNvGrpSpPr/>
              <p:nvPr/>
            </p:nvGrpSpPr>
            <p:grpSpPr>
              <a:xfrm>
                <a:off x="6447967" y="5041204"/>
                <a:ext cx="188309" cy="905333"/>
                <a:chOff x="6447967" y="5041204"/>
                <a:chExt cx="188309" cy="905333"/>
              </a:xfrm>
              <a:grpFill/>
            </p:grpSpPr>
            <p:sp>
              <p:nvSpPr>
                <p:cNvPr id="3224" name="Vrije vorm: vorm 3223">
                  <a:extLst>
                    <a:ext uri="{FF2B5EF4-FFF2-40B4-BE49-F238E27FC236}">
                      <a16:creationId xmlns:a16="http://schemas.microsoft.com/office/drawing/2014/main" id="{4776FE2C-D764-43A3-8315-F38BF69EA3A1}"/>
                    </a:ext>
                  </a:extLst>
                </p:cNvPr>
                <p:cNvSpPr/>
                <p:nvPr/>
              </p:nvSpPr>
              <p:spPr>
                <a:xfrm>
                  <a:off x="6455551" y="5049683"/>
                  <a:ext cx="173201" cy="888376"/>
                </a:xfrm>
                <a:custGeom>
                  <a:avLst/>
                  <a:gdLst>
                    <a:gd name="connsiteX0" fmla="*/ 2990 w 173201"/>
                    <a:gd name="connsiteY0" fmla="*/ 0 h 888376"/>
                    <a:gd name="connsiteX1" fmla="*/ 173202 w 173201"/>
                    <a:gd name="connsiteY1" fmla="*/ 887778 h 888376"/>
                    <a:gd name="connsiteX2" fmla="*/ 170211 w 173201"/>
                    <a:gd name="connsiteY2" fmla="*/ 888376 h 888376"/>
                    <a:gd name="connsiteX3" fmla="*/ 0 w 173201"/>
                    <a:gd name="connsiteY3" fmla="*/ 538 h 888376"/>
                  </a:gdLst>
                  <a:ahLst/>
                  <a:cxnLst>
                    <a:cxn ang="0">
                      <a:pos x="connsiteX0" y="connsiteY0"/>
                    </a:cxn>
                    <a:cxn ang="0">
                      <a:pos x="connsiteX1" y="connsiteY1"/>
                    </a:cxn>
                    <a:cxn ang="0">
                      <a:pos x="connsiteX2" y="connsiteY2"/>
                    </a:cxn>
                    <a:cxn ang="0">
                      <a:pos x="connsiteX3" y="connsiteY3"/>
                    </a:cxn>
                  </a:cxnLst>
                  <a:rect l="l" t="t" r="r" b="b"/>
                  <a:pathLst>
                    <a:path w="173201" h="888376">
                      <a:moveTo>
                        <a:pt x="2990" y="0"/>
                      </a:moveTo>
                      <a:lnTo>
                        <a:pt x="173202" y="887778"/>
                      </a:lnTo>
                      <a:lnTo>
                        <a:pt x="170211" y="888376"/>
                      </a:lnTo>
                      <a:lnTo>
                        <a:pt x="0" y="538"/>
                      </a:lnTo>
                      <a:close/>
                    </a:path>
                  </a:pathLst>
                </a:custGeom>
                <a:grpFill/>
                <a:ln w="5978" cap="flat">
                  <a:noFill/>
                  <a:prstDash val="solid"/>
                  <a:miter/>
                </a:ln>
              </p:spPr>
              <p:txBody>
                <a:bodyPr rtlCol="0" anchor="ctr"/>
                <a:lstStyle/>
                <a:p>
                  <a:endParaRPr lang="en-GB"/>
                </a:p>
              </p:txBody>
            </p:sp>
            <p:sp>
              <p:nvSpPr>
                <p:cNvPr id="3225" name="Vrije vorm: vorm 3224">
                  <a:extLst>
                    <a:ext uri="{FF2B5EF4-FFF2-40B4-BE49-F238E27FC236}">
                      <a16:creationId xmlns:a16="http://schemas.microsoft.com/office/drawing/2014/main" id="{1202D0D0-EF49-42A1-9A6F-3E7FE997131F}"/>
                    </a:ext>
                  </a:extLst>
                </p:cNvPr>
                <p:cNvSpPr/>
                <p:nvPr/>
              </p:nvSpPr>
              <p:spPr>
                <a:xfrm>
                  <a:off x="6447967" y="5041204"/>
                  <a:ext cx="18277" cy="18434"/>
                </a:xfrm>
                <a:custGeom>
                  <a:avLst/>
                  <a:gdLst>
                    <a:gd name="connsiteX0" fmla="*/ 168 w 18277"/>
                    <a:gd name="connsiteY0" fmla="*/ 10931 h 18434"/>
                    <a:gd name="connsiteX1" fmla="*/ 7404 w 18277"/>
                    <a:gd name="connsiteY1" fmla="*/ 165 h 18434"/>
                    <a:gd name="connsiteX2" fmla="*/ 18110 w 18277"/>
                    <a:gd name="connsiteY2" fmla="*/ 7522 h 18434"/>
                    <a:gd name="connsiteX3" fmla="*/ 10873 w 18277"/>
                    <a:gd name="connsiteY3" fmla="*/ 18287 h 18434"/>
                    <a:gd name="connsiteX4" fmla="*/ 168 w 18277"/>
                    <a:gd name="connsiteY4" fmla="*/ 10931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34">
                      <a:moveTo>
                        <a:pt x="168" y="10931"/>
                      </a:moveTo>
                      <a:cubicBezTo>
                        <a:pt x="-789" y="5907"/>
                        <a:pt x="2441" y="1123"/>
                        <a:pt x="7404" y="165"/>
                      </a:cubicBezTo>
                      <a:cubicBezTo>
                        <a:pt x="12368" y="-791"/>
                        <a:pt x="17153" y="2498"/>
                        <a:pt x="18110" y="7522"/>
                      </a:cubicBezTo>
                      <a:cubicBezTo>
                        <a:pt x="19067" y="12546"/>
                        <a:pt x="15837" y="17330"/>
                        <a:pt x="10873" y="18287"/>
                      </a:cubicBezTo>
                      <a:cubicBezTo>
                        <a:pt x="5909" y="19184"/>
                        <a:pt x="1125" y="15895"/>
                        <a:pt x="168" y="10931"/>
                      </a:cubicBezTo>
                      <a:close/>
                    </a:path>
                  </a:pathLst>
                </a:custGeom>
                <a:grpFill/>
                <a:ln w="5978" cap="flat">
                  <a:noFill/>
                  <a:prstDash val="solid"/>
                  <a:miter/>
                </a:ln>
              </p:spPr>
              <p:txBody>
                <a:bodyPr rtlCol="0" anchor="ctr"/>
                <a:lstStyle/>
                <a:p>
                  <a:endParaRPr lang="en-GB"/>
                </a:p>
              </p:txBody>
            </p:sp>
            <p:sp>
              <p:nvSpPr>
                <p:cNvPr id="3226" name="Vrije vorm: vorm 3225">
                  <a:extLst>
                    <a:ext uri="{FF2B5EF4-FFF2-40B4-BE49-F238E27FC236}">
                      <a16:creationId xmlns:a16="http://schemas.microsoft.com/office/drawing/2014/main" id="{748AECAA-B6F8-46DA-8859-F5E1E5050879}"/>
                    </a:ext>
                  </a:extLst>
                </p:cNvPr>
                <p:cNvSpPr/>
                <p:nvPr/>
              </p:nvSpPr>
              <p:spPr>
                <a:xfrm>
                  <a:off x="6618001" y="5928085"/>
                  <a:ext cx="18275" cy="18452"/>
                </a:xfrm>
                <a:custGeom>
                  <a:avLst/>
                  <a:gdLst>
                    <a:gd name="connsiteX0" fmla="*/ 166 w 18275"/>
                    <a:gd name="connsiteY0" fmla="*/ 10931 h 18452"/>
                    <a:gd name="connsiteX1" fmla="*/ 10871 w 18275"/>
                    <a:gd name="connsiteY1" fmla="*/ 18287 h 18452"/>
                    <a:gd name="connsiteX2" fmla="*/ 18108 w 18275"/>
                    <a:gd name="connsiteY2" fmla="*/ 7522 h 18452"/>
                    <a:gd name="connsiteX3" fmla="*/ 7403 w 18275"/>
                    <a:gd name="connsiteY3" fmla="*/ 166 h 18452"/>
                    <a:gd name="connsiteX4" fmla="*/ 166 w 18275"/>
                    <a:gd name="connsiteY4" fmla="*/ 1093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52">
                      <a:moveTo>
                        <a:pt x="166" y="10931"/>
                      </a:moveTo>
                      <a:cubicBezTo>
                        <a:pt x="1123" y="15954"/>
                        <a:pt x="5907" y="19244"/>
                        <a:pt x="10871" y="18287"/>
                      </a:cubicBezTo>
                      <a:cubicBezTo>
                        <a:pt x="15835" y="17330"/>
                        <a:pt x="19065" y="12546"/>
                        <a:pt x="18108" y="7522"/>
                      </a:cubicBezTo>
                      <a:cubicBezTo>
                        <a:pt x="17151" y="2498"/>
                        <a:pt x="12366" y="-792"/>
                        <a:pt x="7403" y="166"/>
                      </a:cubicBezTo>
                      <a:cubicBezTo>
                        <a:pt x="2498" y="1122"/>
                        <a:pt x="-791" y="5907"/>
                        <a:pt x="166" y="10931"/>
                      </a:cubicBezTo>
                      <a:close/>
                    </a:path>
                  </a:pathLst>
                </a:custGeom>
                <a:grpFill/>
                <a:ln w="5978" cap="flat">
                  <a:noFill/>
                  <a:prstDash val="solid"/>
                  <a:miter/>
                </a:ln>
              </p:spPr>
              <p:txBody>
                <a:bodyPr rtlCol="0" anchor="ctr"/>
                <a:lstStyle/>
                <a:p>
                  <a:endParaRPr lang="en-GB"/>
                </a:p>
              </p:txBody>
            </p:sp>
          </p:grpSp>
          <p:grpSp>
            <p:nvGrpSpPr>
              <p:cNvPr id="723" name="Graphic 3">
                <a:extLst>
                  <a:ext uri="{FF2B5EF4-FFF2-40B4-BE49-F238E27FC236}">
                    <a16:creationId xmlns:a16="http://schemas.microsoft.com/office/drawing/2014/main" id="{BC85C506-DB51-455D-9F18-24AF4F7BDA45}"/>
                  </a:ext>
                </a:extLst>
              </p:cNvPr>
              <p:cNvGrpSpPr/>
              <p:nvPr/>
            </p:nvGrpSpPr>
            <p:grpSpPr>
              <a:xfrm>
                <a:off x="6593442" y="5629609"/>
                <a:ext cx="50645" cy="149562"/>
                <a:chOff x="6593442" y="5629609"/>
                <a:chExt cx="50645" cy="149562"/>
              </a:xfrm>
              <a:grpFill/>
            </p:grpSpPr>
            <p:sp>
              <p:nvSpPr>
                <p:cNvPr id="3221" name="Vrije vorm: vorm 3220">
                  <a:extLst>
                    <a:ext uri="{FF2B5EF4-FFF2-40B4-BE49-F238E27FC236}">
                      <a16:creationId xmlns:a16="http://schemas.microsoft.com/office/drawing/2014/main" id="{72E0A3FE-A594-4A24-9F9F-28FB8D8D95FF}"/>
                    </a:ext>
                  </a:extLst>
                </p:cNvPr>
                <p:cNvSpPr/>
                <p:nvPr/>
              </p:nvSpPr>
              <p:spPr>
                <a:xfrm>
                  <a:off x="6601062" y="5638006"/>
                  <a:ext cx="35465" cy="132772"/>
                </a:xfrm>
                <a:custGeom>
                  <a:avLst/>
                  <a:gdLst>
                    <a:gd name="connsiteX0" fmla="*/ 2930 w 35465"/>
                    <a:gd name="connsiteY0" fmla="*/ 0 h 132772"/>
                    <a:gd name="connsiteX1" fmla="*/ 35466 w 35465"/>
                    <a:gd name="connsiteY1" fmla="*/ 132054 h 132772"/>
                    <a:gd name="connsiteX2" fmla="*/ 32535 w 35465"/>
                    <a:gd name="connsiteY2" fmla="*/ 132772 h 132772"/>
                    <a:gd name="connsiteX3" fmla="*/ 0 w 35465"/>
                    <a:gd name="connsiteY3" fmla="*/ 718 h 132772"/>
                  </a:gdLst>
                  <a:ahLst/>
                  <a:cxnLst>
                    <a:cxn ang="0">
                      <a:pos x="connsiteX0" y="connsiteY0"/>
                    </a:cxn>
                    <a:cxn ang="0">
                      <a:pos x="connsiteX1" y="connsiteY1"/>
                    </a:cxn>
                    <a:cxn ang="0">
                      <a:pos x="connsiteX2" y="connsiteY2"/>
                    </a:cxn>
                    <a:cxn ang="0">
                      <a:pos x="connsiteX3" y="connsiteY3"/>
                    </a:cxn>
                  </a:cxnLst>
                  <a:rect l="l" t="t" r="r" b="b"/>
                  <a:pathLst>
                    <a:path w="35465" h="132772">
                      <a:moveTo>
                        <a:pt x="2930" y="0"/>
                      </a:moveTo>
                      <a:lnTo>
                        <a:pt x="35466" y="132054"/>
                      </a:lnTo>
                      <a:lnTo>
                        <a:pt x="32535" y="132772"/>
                      </a:lnTo>
                      <a:lnTo>
                        <a:pt x="0" y="718"/>
                      </a:lnTo>
                      <a:close/>
                    </a:path>
                  </a:pathLst>
                </a:custGeom>
                <a:grpFill/>
                <a:ln w="5978" cap="flat">
                  <a:noFill/>
                  <a:prstDash val="solid"/>
                  <a:miter/>
                </a:ln>
              </p:spPr>
              <p:txBody>
                <a:bodyPr rtlCol="0" anchor="ctr"/>
                <a:lstStyle/>
                <a:p>
                  <a:endParaRPr lang="en-GB"/>
                </a:p>
              </p:txBody>
            </p:sp>
            <p:sp>
              <p:nvSpPr>
                <p:cNvPr id="3222" name="Vrije vorm: vorm 3221">
                  <a:extLst>
                    <a:ext uri="{FF2B5EF4-FFF2-40B4-BE49-F238E27FC236}">
                      <a16:creationId xmlns:a16="http://schemas.microsoft.com/office/drawing/2014/main" id="{D7935B5F-0D95-44B6-9F60-F6386B3582E6}"/>
                    </a:ext>
                  </a:extLst>
                </p:cNvPr>
                <p:cNvSpPr/>
                <p:nvPr/>
              </p:nvSpPr>
              <p:spPr>
                <a:xfrm>
                  <a:off x="6625738" y="5760770"/>
                  <a:ext cx="18349" cy="18401"/>
                </a:xfrm>
                <a:custGeom>
                  <a:avLst/>
                  <a:gdLst>
                    <a:gd name="connsiteX0" fmla="*/ 18086 w 18349"/>
                    <a:gd name="connsiteY0" fmla="*/ 7018 h 18401"/>
                    <a:gd name="connsiteX1" fmla="*/ 11387 w 18349"/>
                    <a:gd name="connsiteY1" fmla="*/ 18142 h 18401"/>
                    <a:gd name="connsiteX2" fmla="*/ 263 w 18349"/>
                    <a:gd name="connsiteY2" fmla="*/ 11384 h 18401"/>
                    <a:gd name="connsiteX3" fmla="*/ 6962 w 18349"/>
                    <a:gd name="connsiteY3" fmla="*/ 260 h 18401"/>
                    <a:gd name="connsiteX4" fmla="*/ 18086 w 18349"/>
                    <a:gd name="connsiteY4" fmla="*/ 7018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1">
                      <a:moveTo>
                        <a:pt x="18086" y="7018"/>
                      </a:moveTo>
                      <a:cubicBezTo>
                        <a:pt x="19282" y="11982"/>
                        <a:pt x="16292" y="16946"/>
                        <a:pt x="11387" y="18142"/>
                      </a:cubicBezTo>
                      <a:cubicBezTo>
                        <a:pt x="6483" y="19338"/>
                        <a:pt x="1519" y="16288"/>
                        <a:pt x="263" y="11384"/>
                      </a:cubicBezTo>
                      <a:cubicBezTo>
                        <a:pt x="-933" y="6420"/>
                        <a:pt x="2058" y="1456"/>
                        <a:pt x="6962" y="260"/>
                      </a:cubicBezTo>
                      <a:cubicBezTo>
                        <a:pt x="11926" y="-936"/>
                        <a:pt x="16890" y="2114"/>
                        <a:pt x="18086" y="7018"/>
                      </a:cubicBezTo>
                      <a:close/>
                    </a:path>
                  </a:pathLst>
                </a:custGeom>
                <a:grpFill/>
                <a:ln w="5978" cap="flat">
                  <a:noFill/>
                  <a:prstDash val="solid"/>
                  <a:miter/>
                </a:ln>
              </p:spPr>
              <p:txBody>
                <a:bodyPr rtlCol="0" anchor="ctr"/>
                <a:lstStyle/>
                <a:p>
                  <a:endParaRPr lang="en-GB"/>
                </a:p>
              </p:txBody>
            </p:sp>
            <p:sp>
              <p:nvSpPr>
                <p:cNvPr id="3223" name="Vrije vorm: vorm 3222">
                  <a:extLst>
                    <a:ext uri="{FF2B5EF4-FFF2-40B4-BE49-F238E27FC236}">
                      <a16:creationId xmlns:a16="http://schemas.microsoft.com/office/drawing/2014/main" id="{3025D4E1-F284-4062-BA80-BED569C1CE78}"/>
                    </a:ext>
                  </a:extLst>
                </p:cNvPr>
                <p:cNvSpPr/>
                <p:nvPr/>
              </p:nvSpPr>
              <p:spPr>
                <a:xfrm>
                  <a:off x="6593442" y="5629609"/>
                  <a:ext cx="18349" cy="18408"/>
                </a:xfrm>
                <a:custGeom>
                  <a:avLst/>
                  <a:gdLst>
                    <a:gd name="connsiteX0" fmla="*/ 18086 w 18349"/>
                    <a:gd name="connsiteY0" fmla="*/ 7021 h 18408"/>
                    <a:gd name="connsiteX1" fmla="*/ 6962 w 18349"/>
                    <a:gd name="connsiteY1" fmla="*/ 263 h 18408"/>
                    <a:gd name="connsiteX2" fmla="*/ 263 w 18349"/>
                    <a:gd name="connsiteY2" fmla="*/ 11387 h 18408"/>
                    <a:gd name="connsiteX3" fmla="*/ 11388 w 18349"/>
                    <a:gd name="connsiteY3" fmla="*/ 18145 h 18408"/>
                    <a:gd name="connsiteX4" fmla="*/ 18086 w 1834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8086" y="7021"/>
                      </a:moveTo>
                      <a:cubicBezTo>
                        <a:pt x="16890" y="2057"/>
                        <a:pt x="11926" y="-933"/>
                        <a:pt x="6962" y="263"/>
                      </a:cubicBezTo>
                      <a:cubicBezTo>
                        <a:pt x="2058" y="1459"/>
                        <a:pt x="-933" y="6423"/>
                        <a:pt x="263" y="11387"/>
                      </a:cubicBezTo>
                      <a:cubicBezTo>
                        <a:pt x="1459" y="16351"/>
                        <a:pt x="6424" y="19342"/>
                        <a:pt x="11388" y="18145"/>
                      </a:cubicBezTo>
                      <a:cubicBezTo>
                        <a:pt x="16292" y="16949"/>
                        <a:pt x="19282" y="11986"/>
                        <a:pt x="18086" y="7021"/>
                      </a:cubicBezTo>
                      <a:close/>
                    </a:path>
                  </a:pathLst>
                </a:custGeom>
                <a:grpFill/>
                <a:ln w="5978" cap="flat">
                  <a:noFill/>
                  <a:prstDash val="solid"/>
                  <a:miter/>
                </a:ln>
              </p:spPr>
              <p:txBody>
                <a:bodyPr rtlCol="0" anchor="ctr"/>
                <a:lstStyle/>
                <a:p>
                  <a:endParaRPr lang="en-GB"/>
                </a:p>
              </p:txBody>
            </p:sp>
          </p:grpSp>
          <p:grpSp>
            <p:nvGrpSpPr>
              <p:cNvPr id="724" name="Graphic 3">
                <a:extLst>
                  <a:ext uri="{FF2B5EF4-FFF2-40B4-BE49-F238E27FC236}">
                    <a16:creationId xmlns:a16="http://schemas.microsoft.com/office/drawing/2014/main" id="{2517D5CF-9E9B-469B-90DC-4AB7E7F044BF}"/>
                  </a:ext>
                </a:extLst>
              </p:cNvPr>
              <p:cNvGrpSpPr/>
              <p:nvPr/>
            </p:nvGrpSpPr>
            <p:grpSpPr>
              <a:xfrm>
                <a:off x="5195581" y="1585197"/>
                <a:ext cx="119553" cy="305867"/>
                <a:chOff x="5195581" y="1585197"/>
                <a:chExt cx="119553" cy="305867"/>
              </a:xfrm>
              <a:grpFill/>
            </p:grpSpPr>
            <p:sp>
              <p:nvSpPr>
                <p:cNvPr id="3218" name="Vrije vorm: vorm 3217">
                  <a:extLst>
                    <a:ext uri="{FF2B5EF4-FFF2-40B4-BE49-F238E27FC236}">
                      <a16:creationId xmlns:a16="http://schemas.microsoft.com/office/drawing/2014/main" id="{F20EEAC2-07E4-4B3A-86F4-B9625D9D3121}"/>
                    </a:ext>
                  </a:extLst>
                </p:cNvPr>
                <p:cNvSpPr/>
                <p:nvPr/>
              </p:nvSpPr>
              <p:spPr>
                <a:xfrm>
                  <a:off x="5203188" y="1593544"/>
                  <a:ext cx="104363" cy="289227"/>
                </a:xfrm>
                <a:custGeom>
                  <a:avLst/>
                  <a:gdLst>
                    <a:gd name="connsiteX0" fmla="*/ 104364 w 104363"/>
                    <a:gd name="connsiteY0" fmla="*/ 288271 h 289227"/>
                    <a:gd name="connsiteX1" fmla="*/ 101493 w 104363"/>
                    <a:gd name="connsiteY1" fmla="*/ 289228 h 289227"/>
                    <a:gd name="connsiteX2" fmla="*/ 0 w 104363"/>
                    <a:gd name="connsiteY2" fmla="*/ 1017 h 289227"/>
                    <a:gd name="connsiteX3" fmla="*/ 2871 w 104363"/>
                    <a:gd name="connsiteY3" fmla="*/ 0 h 289227"/>
                  </a:gdLst>
                  <a:ahLst/>
                  <a:cxnLst>
                    <a:cxn ang="0">
                      <a:pos x="connsiteX0" y="connsiteY0"/>
                    </a:cxn>
                    <a:cxn ang="0">
                      <a:pos x="connsiteX1" y="connsiteY1"/>
                    </a:cxn>
                    <a:cxn ang="0">
                      <a:pos x="connsiteX2" y="connsiteY2"/>
                    </a:cxn>
                    <a:cxn ang="0">
                      <a:pos x="connsiteX3" y="connsiteY3"/>
                    </a:cxn>
                  </a:cxnLst>
                  <a:rect l="l" t="t" r="r" b="b"/>
                  <a:pathLst>
                    <a:path w="104363" h="289227">
                      <a:moveTo>
                        <a:pt x="104364" y="288271"/>
                      </a:moveTo>
                      <a:lnTo>
                        <a:pt x="101493" y="289228"/>
                      </a:lnTo>
                      <a:lnTo>
                        <a:pt x="0" y="1017"/>
                      </a:lnTo>
                      <a:lnTo>
                        <a:pt x="2871" y="0"/>
                      </a:lnTo>
                      <a:close/>
                    </a:path>
                  </a:pathLst>
                </a:custGeom>
                <a:grpFill/>
                <a:ln w="5978" cap="flat">
                  <a:noFill/>
                  <a:prstDash val="solid"/>
                  <a:miter/>
                </a:ln>
              </p:spPr>
              <p:txBody>
                <a:bodyPr rtlCol="0" anchor="ctr"/>
                <a:lstStyle/>
                <a:p>
                  <a:endParaRPr lang="en-GB"/>
                </a:p>
              </p:txBody>
            </p:sp>
            <p:sp>
              <p:nvSpPr>
                <p:cNvPr id="3219" name="Vrije vorm: vorm 3218">
                  <a:extLst>
                    <a:ext uri="{FF2B5EF4-FFF2-40B4-BE49-F238E27FC236}">
                      <a16:creationId xmlns:a16="http://schemas.microsoft.com/office/drawing/2014/main" id="{E6DAC88C-56AC-4CAC-A549-623B80ABC3EB}"/>
                    </a:ext>
                  </a:extLst>
                </p:cNvPr>
                <p:cNvSpPr/>
                <p:nvPr/>
              </p:nvSpPr>
              <p:spPr>
                <a:xfrm>
                  <a:off x="5296799" y="1872630"/>
                  <a:ext cx="18335" cy="18434"/>
                </a:xfrm>
                <a:custGeom>
                  <a:avLst/>
                  <a:gdLst>
                    <a:gd name="connsiteX0" fmla="*/ 17810 w 18335"/>
                    <a:gd name="connsiteY0" fmla="*/ 6194 h 18434"/>
                    <a:gd name="connsiteX1" fmla="*/ 12248 w 18335"/>
                    <a:gd name="connsiteY1" fmla="*/ 17916 h 18434"/>
                    <a:gd name="connsiteX2" fmla="*/ 526 w 18335"/>
                    <a:gd name="connsiteY2" fmla="*/ 12234 h 18434"/>
                    <a:gd name="connsiteX3" fmla="*/ 6088 w 18335"/>
                    <a:gd name="connsiteY3" fmla="*/ 512 h 18434"/>
                    <a:gd name="connsiteX4" fmla="*/ 17810 w 18335"/>
                    <a:gd name="connsiteY4" fmla="*/ 619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4">
                      <a:moveTo>
                        <a:pt x="17810" y="6194"/>
                      </a:moveTo>
                      <a:cubicBezTo>
                        <a:pt x="19485" y="10978"/>
                        <a:pt x="17032" y="16241"/>
                        <a:pt x="12248" y="17916"/>
                      </a:cubicBezTo>
                      <a:cubicBezTo>
                        <a:pt x="7463" y="19591"/>
                        <a:pt x="2260" y="17079"/>
                        <a:pt x="526" y="12234"/>
                      </a:cubicBezTo>
                      <a:cubicBezTo>
                        <a:pt x="-1149" y="7450"/>
                        <a:pt x="1303" y="2187"/>
                        <a:pt x="6088" y="512"/>
                      </a:cubicBezTo>
                      <a:cubicBezTo>
                        <a:pt x="10872" y="-1162"/>
                        <a:pt x="16076" y="1409"/>
                        <a:pt x="17810" y="6194"/>
                      </a:cubicBezTo>
                      <a:close/>
                    </a:path>
                  </a:pathLst>
                </a:custGeom>
                <a:grpFill/>
                <a:ln w="5978" cap="flat">
                  <a:noFill/>
                  <a:prstDash val="solid"/>
                  <a:miter/>
                </a:ln>
              </p:spPr>
              <p:txBody>
                <a:bodyPr rtlCol="0" anchor="ctr"/>
                <a:lstStyle/>
                <a:p>
                  <a:endParaRPr lang="en-GB"/>
                </a:p>
              </p:txBody>
            </p:sp>
            <p:sp>
              <p:nvSpPr>
                <p:cNvPr id="3220" name="Vrije vorm: vorm 3219">
                  <a:extLst>
                    <a:ext uri="{FF2B5EF4-FFF2-40B4-BE49-F238E27FC236}">
                      <a16:creationId xmlns:a16="http://schemas.microsoft.com/office/drawing/2014/main" id="{676E5205-0F20-4937-AEC4-3827C0638ACE}"/>
                    </a:ext>
                  </a:extLst>
                </p:cNvPr>
                <p:cNvSpPr/>
                <p:nvPr/>
              </p:nvSpPr>
              <p:spPr>
                <a:xfrm>
                  <a:off x="5195581" y="1585197"/>
                  <a:ext cx="18353" cy="18428"/>
                </a:xfrm>
                <a:custGeom>
                  <a:avLst/>
                  <a:gdLst>
                    <a:gd name="connsiteX0" fmla="*/ 17834 w 18353"/>
                    <a:gd name="connsiteY0" fmla="*/ 6194 h 18428"/>
                    <a:gd name="connsiteX1" fmla="*/ 6111 w 18353"/>
                    <a:gd name="connsiteY1" fmla="*/ 512 h 18428"/>
                    <a:gd name="connsiteX2" fmla="*/ 549 w 18353"/>
                    <a:gd name="connsiteY2" fmla="*/ 12234 h 18428"/>
                    <a:gd name="connsiteX3" fmla="*/ 12272 w 18353"/>
                    <a:gd name="connsiteY3" fmla="*/ 17916 h 18428"/>
                    <a:gd name="connsiteX4" fmla="*/ 17834 w 18353"/>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8">
                      <a:moveTo>
                        <a:pt x="17834" y="6194"/>
                      </a:moveTo>
                      <a:cubicBezTo>
                        <a:pt x="16159" y="1409"/>
                        <a:pt x="10896" y="-1162"/>
                        <a:pt x="6111" y="512"/>
                      </a:cubicBezTo>
                      <a:cubicBezTo>
                        <a:pt x="1327" y="2187"/>
                        <a:pt x="-1185" y="7450"/>
                        <a:pt x="549" y="12234"/>
                      </a:cubicBezTo>
                      <a:cubicBezTo>
                        <a:pt x="2224" y="17019"/>
                        <a:pt x="7487" y="19591"/>
                        <a:pt x="12272" y="17916"/>
                      </a:cubicBezTo>
                      <a:cubicBezTo>
                        <a:pt x="16996" y="16301"/>
                        <a:pt x="19509" y="11038"/>
                        <a:pt x="17834" y="6194"/>
                      </a:cubicBezTo>
                      <a:close/>
                    </a:path>
                  </a:pathLst>
                </a:custGeom>
                <a:grpFill/>
                <a:ln w="5978" cap="flat">
                  <a:noFill/>
                  <a:prstDash val="solid"/>
                  <a:miter/>
                </a:ln>
              </p:spPr>
              <p:txBody>
                <a:bodyPr rtlCol="0" anchor="ctr"/>
                <a:lstStyle/>
                <a:p>
                  <a:endParaRPr lang="en-GB"/>
                </a:p>
              </p:txBody>
            </p:sp>
          </p:grpSp>
          <p:grpSp>
            <p:nvGrpSpPr>
              <p:cNvPr id="725" name="Graphic 3">
                <a:extLst>
                  <a:ext uri="{FF2B5EF4-FFF2-40B4-BE49-F238E27FC236}">
                    <a16:creationId xmlns:a16="http://schemas.microsoft.com/office/drawing/2014/main" id="{848728BE-FE80-476C-AC76-E23F258B4557}"/>
                  </a:ext>
                </a:extLst>
              </p:cNvPr>
              <p:cNvGrpSpPr/>
              <p:nvPr/>
            </p:nvGrpSpPr>
            <p:grpSpPr>
              <a:xfrm>
                <a:off x="6419377" y="5056450"/>
                <a:ext cx="119238" cy="654211"/>
                <a:chOff x="6419377" y="5056450"/>
                <a:chExt cx="119238" cy="654211"/>
              </a:xfrm>
              <a:grpFill/>
            </p:grpSpPr>
            <p:sp>
              <p:nvSpPr>
                <p:cNvPr id="3215" name="Vrije vorm: vorm 3214">
                  <a:extLst>
                    <a:ext uri="{FF2B5EF4-FFF2-40B4-BE49-F238E27FC236}">
                      <a16:creationId xmlns:a16="http://schemas.microsoft.com/office/drawing/2014/main" id="{6F58F4E5-7013-475A-A6FA-86E653D3EA84}"/>
                    </a:ext>
                  </a:extLst>
                </p:cNvPr>
                <p:cNvSpPr/>
                <p:nvPr/>
              </p:nvSpPr>
              <p:spPr>
                <a:xfrm>
                  <a:off x="6426963" y="5064993"/>
                  <a:ext cx="104124" cy="637126"/>
                </a:xfrm>
                <a:custGeom>
                  <a:avLst/>
                  <a:gdLst>
                    <a:gd name="connsiteX0" fmla="*/ 2990 w 104124"/>
                    <a:gd name="connsiteY0" fmla="*/ 0 h 637126"/>
                    <a:gd name="connsiteX1" fmla="*/ 104125 w 104124"/>
                    <a:gd name="connsiteY1" fmla="*/ 636648 h 637126"/>
                    <a:gd name="connsiteX2" fmla="*/ 101074 w 104124"/>
                    <a:gd name="connsiteY2" fmla="*/ 637126 h 637126"/>
                    <a:gd name="connsiteX3" fmla="*/ 0 w 104124"/>
                    <a:gd name="connsiteY3" fmla="*/ 479 h 637126"/>
                  </a:gdLst>
                  <a:ahLst/>
                  <a:cxnLst>
                    <a:cxn ang="0">
                      <a:pos x="connsiteX0" y="connsiteY0"/>
                    </a:cxn>
                    <a:cxn ang="0">
                      <a:pos x="connsiteX1" y="connsiteY1"/>
                    </a:cxn>
                    <a:cxn ang="0">
                      <a:pos x="connsiteX2" y="connsiteY2"/>
                    </a:cxn>
                    <a:cxn ang="0">
                      <a:pos x="connsiteX3" y="connsiteY3"/>
                    </a:cxn>
                  </a:cxnLst>
                  <a:rect l="l" t="t" r="r" b="b"/>
                  <a:pathLst>
                    <a:path w="104124" h="637126">
                      <a:moveTo>
                        <a:pt x="2990" y="0"/>
                      </a:moveTo>
                      <a:lnTo>
                        <a:pt x="104125" y="636648"/>
                      </a:lnTo>
                      <a:lnTo>
                        <a:pt x="101074" y="637126"/>
                      </a:lnTo>
                      <a:lnTo>
                        <a:pt x="0" y="479"/>
                      </a:lnTo>
                      <a:close/>
                    </a:path>
                  </a:pathLst>
                </a:custGeom>
                <a:grpFill/>
                <a:ln w="5978" cap="flat">
                  <a:noFill/>
                  <a:prstDash val="solid"/>
                  <a:miter/>
                </a:ln>
              </p:spPr>
              <p:txBody>
                <a:bodyPr rtlCol="0" anchor="ctr"/>
                <a:lstStyle/>
                <a:p>
                  <a:endParaRPr lang="en-GB"/>
                </a:p>
              </p:txBody>
            </p:sp>
            <p:sp>
              <p:nvSpPr>
                <p:cNvPr id="3216" name="Vrije vorm: vorm 3215">
                  <a:extLst>
                    <a:ext uri="{FF2B5EF4-FFF2-40B4-BE49-F238E27FC236}">
                      <a16:creationId xmlns:a16="http://schemas.microsoft.com/office/drawing/2014/main" id="{B517E550-C797-477B-9083-65C8367BB34E}"/>
                    </a:ext>
                  </a:extLst>
                </p:cNvPr>
                <p:cNvSpPr/>
                <p:nvPr/>
              </p:nvSpPr>
              <p:spPr>
                <a:xfrm>
                  <a:off x="6419377" y="5056450"/>
                  <a:ext cx="18282" cy="18460"/>
                </a:xfrm>
                <a:custGeom>
                  <a:avLst/>
                  <a:gdLst>
                    <a:gd name="connsiteX0" fmla="*/ 110 w 18282"/>
                    <a:gd name="connsiteY0" fmla="*/ 10637 h 18460"/>
                    <a:gd name="connsiteX1" fmla="*/ 7706 w 18282"/>
                    <a:gd name="connsiteY1" fmla="*/ 110 h 18460"/>
                    <a:gd name="connsiteX2" fmla="*/ 18172 w 18282"/>
                    <a:gd name="connsiteY2" fmla="*/ 7825 h 18460"/>
                    <a:gd name="connsiteX3" fmla="*/ 10577 w 18282"/>
                    <a:gd name="connsiteY3" fmla="*/ 18352 h 18460"/>
                    <a:gd name="connsiteX4" fmla="*/ 110 w 18282"/>
                    <a:gd name="connsiteY4" fmla="*/ 10637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60">
                      <a:moveTo>
                        <a:pt x="110" y="10637"/>
                      </a:moveTo>
                      <a:cubicBezTo>
                        <a:pt x="-667" y="5613"/>
                        <a:pt x="2742" y="888"/>
                        <a:pt x="7706" y="110"/>
                      </a:cubicBezTo>
                      <a:cubicBezTo>
                        <a:pt x="12730" y="-667"/>
                        <a:pt x="17395" y="2742"/>
                        <a:pt x="18172" y="7825"/>
                      </a:cubicBezTo>
                      <a:cubicBezTo>
                        <a:pt x="18950" y="12849"/>
                        <a:pt x="15541" y="17574"/>
                        <a:pt x="10577" y="18352"/>
                      </a:cubicBezTo>
                      <a:cubicBezTo>
                        <a:pt x="5613" y="19129"/>
                        <a:pt x="888" y="15660"/>
                        <a:pt x="110" y="10637"/>
                      </a:cubicBezTo>
                      <a:close/>
                    </a:path>
                  </a:pathLst>
                </a:custGeom>
                <a:grpFill/>
                <a:ln w="5978" cap="flat">
                  <a:noFill/>
                  <a:prstDash val="solid"/>
                  <a:miter/>
                </a:ln>
              </p:spPr>
              <p:txBody>
                <a:bodyPr rtlCol="0" anchor="ctr"/>
                <a:lstStyle/>
                <a:p>
                  <a:endParaRPr lang="en-GB"/>
                </a:p>
              </p:txBody>
            </p:sp>
            <p:sp>
              <p:nvSpPr>
                <p:cNvPr id="3217" name="Vrije vorm: vorm 3216">
                  <a:extLst>
                    <a:ext uri="{FF2B5EF4-FFF2-40B4-BE49-F238E27FC236}">
                      <a16:creationId xmlns:a16="http://schemas.microsoft.com/office/drawing/2014/main" id="{344DB176-5612-4BE2-B608-71A10932C6DA}"/>
                    </a:ext>
                  </a:extLst>
                </p:cNvPr>
                <p:cNvSpPr/>
                <p:nvPr/>
              </p:nvSpPr>
              <p:spPr>
                <a:xfrm>
                  <a:off x="6520331" y="5692246"/>
                  <a:ext cx="18284" cy="18414"/>
                </a:xfrm>
                <a:custGeom>
                  <a:avLst/>
                  <a:gdLst>
                    <a:gd name="connsiteX0" fmla="*/ 111 w 18284"/>
                    <a:gd name="connsiteY0" fmla="*/ 10591 h 18414"/>
                    <a:gd name="connsiteX1" fmla="*/ 10577 w 18284"/>
                    <a:gd name="connsiteY1" fmla="*/ 18306 h 18414"/>
                    <a:gd name="connsiteX2" fmla="*/ 18172 w 18284"/>
                    <a:gd name="connsiteY2" fmla="*/ 7780 h 18414"/>
                    <a:gd name="connsiteX3" fmla="*/ 7706 w 18284"/>
                    <a:gd name="connsiteY3" fmla="*/ 125 h 18414"/>
                    <a:gd name="connsiteX4" fmla="*/ 111 w 18284"/>
                    <a:gd name="connsiteY4" fmla="*/ 10591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14">
                      <a:moveTo>
                        <a:pt x="111" y="10591"/>
                      </a:moveTo>
                      <a:cubicBezTo>
                        <a:pt x="888" y="15615"/>
                        <a:pt x="5613" y="19084"/>
                        <a:pt x="10577" y="18306"/>
                      </a:cubicBezTo>
                      <a:cubicBezTo>
                        <a:pt x="15601" y="17529"/>
                        <a:pt x="18950" y="12804"/>
                        <a:pt x="18172" y="7780"/>
                      </a:cubicBezTo>
                      <a:cubicBezTo>
                        <a:pt x="17395" y="2756"/>
                        <a:pt x="12670" y="-713"/>
                        <a:pt x="7706" y="125"/>
                      </a:cubicBezTo>
                      <a:cubicBezTo>
                        <a:pt x="2742" y="842"/>
                        <a:pt x="-667" y="5567"/>
                        <a:pt x="111" y="10591"/>
                      </a:cubicBezTo>
                      <a:close/>
                    </a:path>
                  </a:pathLst>
                </a:custGeom>
                <a:grpFill/>
                <a:ln w="5978" cap="flat">
                  <a:noFill/>
                  <a:prstDash val="solid"/>
                  <a:miter/>
                </a:ln>
              </p:spPr>
              <p:txBody>
                <a:bodyPr rtlCol="0" anchor="ctr"/>
                <a:lstStyle/>
                <a:p>
                  <a:endParaRPr lang="en-GB"/>
                </a:p>
              </p:txBody>
            </p:sp>
          </p:grpSp>
          <p:grpSp>
            <p:nvGrpSpPr>
              <p:cNvPr id="726" name="Graphic 3">
                <a:extLst>
                  <a:ext uri="{FF2B5EF4-FFF2-40B4-BE49-F238E27FC236}">
                    <a16:creationId xmlns:a16="http://schemas.microsoft.com/office/drawing/2014/main" id="{997CCB59-22E2-4B1E-B6E6-DADEEC2FBFEA}"/>
                  </a:ext>
                </a:extLst>
              </p:cNvPr>
              <p:cNvGrpSpPr/>
              <p:nvPr/>
            </p:nvGrpSpPr>
            <p:grpSpPr>
              <a:xfrm>
                <a:off x="6482167" y="5330384"/>
                <a:ext cx="131449" cy="517178"/>
                <a:chOff x="6482167" y="5330384"/>
                <a:chExt cx="131449" cy="517178"/>
              </a:xfrm>
              <a:grpFill/>
            </p:grpSpPr>
            <p:sp>
              <p:nvSpPr>
                <p:cNvPr id="3212" name="Vrije vorm: vorm 3211">
                  <a:extLst>
                    <a:ext uri="{FF2B5EF4-FFF2-40B4-BE49-F238E27FC236}">
                      <a16:creationId xmlns:a16="http://schemas.microsoft.com/office/drawing/2014/main" id="{D91FC61D-816A-47D8-96D2-76B00468D252}"/>
                    </a:ext>
                  </a:extLst>
                </p:cNvPr>
                <p:cNvSpPr/>
                <p:nvPr/>
              </p:nvSpPr>
              <p:spPr>
                <a:xfrm>
                  <a:off x="6489392" y="5338994"/>
                  <a:ext cx="116310" cy="500336"/>
                </a:xfrm>
                <a:custGeom>
                  <a:avLst/>
                  <a:gdLst>
                    <a:gd name="connsiteX0" fmla="*/ 0 w 116310"/>
                    <a:gd name="connsiteY0" fmla="*/ 675 h 500336"/>
                    <a:gd name="connsiteX1" fmla="*/ 2975 w 116310"/>
                    <a:gd name="connsiteY1" fmla="*/ 0 h 500336"/>
                    <a:gd name="connsiteX2" fmla="*/ 116310 w 116310"/>
                    <a:gd name="connsiteY2" fmla="*/ 499662 h 500336"/>
                    <a:gd name="connsiteX3" fmla="*/ 113336 w 116310"/>
                    <a:gd name="connsiteY3" fmla="*/ 500336 h 500336"/>
                  </a:gdLst>
                  <a:ahLst/>
                  <a:cxnLst>
                    <a:cxn ang="0">
                      <a:pos x="connsiteX0" y="connsiteY0"/>
                    </a:cxn>
                    <a:cxn ang="0">
                      <a:pos x="connsiteX1" y="connsiteY1"/>
                    </a:cxn>
                    <a:cxn ang="0">
                      <a:pos x="connsiteX2" y="connsiteY2"/>
                    </a:cxn>
                    <a:cxn ang="0">
                      <a:pos x="connsiteX3" y="connsiteY3"/>
                    </a:cxn>
                  </a:cxnLst>
                  <a:rect l="l" t="t" r="r" b="b"/>
                  <a:pathLst>
                    <a:path w="116310" h="500336">
                      <a:moveTo>
                        <a:pt x="0" y="675"/>
                      </a:moveTo>
                      <a:lnTo>
                        <a:pt x="2975" y="0"/>
                      </a:lnTo>
                      <a:lnTo>
                        <a:pt x="116310" y="499662"/>
                      </a:lnTo>
                      <a:lnTo>
                        <a:pt x="113336" y="500336"/>
                      </a:lnTo>
                      <a:close/>
                    </a:path>
                  </a:pathLst>
                </a:custGeom>
                <a:grpFill/>
                <a:ln w="5978" cap="flat">
                  <a:noFill/>
                  <a:prstDash val="solid"/>
                  <a:miter/>
                </a:ln>
              </p:spPr>
              <p:txBody>
                <a:bodyPr rtlCol="0" anchor="ctr"/>
                <a:lstStyle/>
                <a:p>
                  <a:endParaRPr lang="en-GB"/>
                </a:p>
              </p:txBody>
            </p:sp>
            <p:sp>
              <p:nvSpPr>
                <p:cNvPr id="3213" name="Vrije vorm: vorm 3212">
                  <a:extLst>
                    <a:ext uri="{FF2B5EF4-FFF2-40B4-BE49-F238E27FC236}">
                      <a16:creationId xmlns:a16="http://schemas.microsoft.com/office/drawing/2014/main" id="{D43B6453-55E1-4A94-B9CD-269651FF0501}"/>
                    </a:ext>
                  </a:extLst>
                </p:cNvPr>
                <p:cNvSpPr/>
                <p:nvPr/>
              </p:nvSpPr>
              <p:spPr>
                <a:xfrm>
                  <a:off x="6595325" y="5829117"/>
                  <a:ext cx="18291" cy="18445"/>
                </a:xfrm>
                <a:custGeom>
                  <a:avLst/>
                  <a:gdLst>
                    <a:gd name="connsiteX0" fmla="*/ 18057 w 18291"/>
                    <a:gd name="connsiteY0" fmla="*/ 7211 h 18445"/>
                    <a:gd name="connsiteX1" fmla="*/ 11179 w 18291"/>
                    <a:gd name="connsiteY1" fmla="*/ 18215 h 18445"/>
                    <a:gd name="connsiteX2" fmla="*/ 234 w 18291"/>
                    <a:gd name="connsiteY2" fmla="*/ 11218 h 18445"/>
                    <a:gd name="connsiteX3" fmla="*/ 7112 w 18291"/>
                    <a:gd name="connsiteY3" fmla="*/ 213 h 18445"/>
                    <a:gd name="connsiteX4" fmla="*/ 18057 w 18291"/>
                    <a:gd name="connsiteY4" fmla="*/ 721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8057" y="7211"/>
                      </a:moveTo>
                      <a:cubicBezTo>
                        <a:pt x="19193" y="12174"/>
                        <a:pt x="16083" y="17079"/>
                        <a:pt x="11179" y="18215"/>
                      </a:cubicBezTo>
                      <a:cubicBezTo>
                        <a:pt x="6215" y="19351"/>
                        <a:pt x="1311" y="16182"/>
                        <a:pt x="234" y="11218"/>
                      </a:cubicBezTo>
                      <a:cubicBezTo>
                        <a:pt x="-902" y="6253"/>
                        <a:pt x="2208" y="1349"/>
                        <a:pt x="7112" y="213"/>
                      </a:cubicBezTo>
                      <a:cubicBezTo>
                        <a:pt x="12017" y="-864"/>
                        <a:pt x="16921" y="2246"/>
                        <a:pt x="18057" y="7211"/>
                      </a:cubicBezTo>
                      <a:close/>
                    </a:path>
                  </a:pathLst>
                </a:custGeom>
                <a:grpFill/>
                <a:ln w="5978" cap="flat">
                  <a:noFill/>
                  <a:prstDash val="solid"/>
                  <a:miter/>
                </a:ln>
              </p:spPr>
              <p:txBody>
                <a:bodyPr rtlCol="0" anchor="ctr"/>
                <a:lstStyle/>
                <a:p>
                  <a:endParaRPr lang="en-GB"/>
                </a:p>
              </p:txBody>
            </p:sp>
            <p:sp>
              <p:nvSpPr>
                <p:cNvPr id="3214" name="Vrije vorm: vorm 3213">
                  <a:extLst>
                    <a:ext uri="{FF2B5EF4-FFF2-40B4-BE49-F238E27FC236}">
                      <a16:creationId xmlns:a16="http://schemas.microsoft.com/office/drawing/2014/main" id="{CEA75AB1-9A6B-45C1-9914-FD106B457897}"/>
                    </a:ext>
                  </a:extLst>
                </p:cNvPr>
                <p:cNvSpPr/>
                <p:nvPr/>
              </p:nvSpPr>
              <p:spPr>
                <a:xfrm>
                  <a:off x="6482167" y="5330384"/>
                  <a:ext cx="18276" cy="18427"/>
                </a:xfrm>
                <a:custGeom>
                  <a:avLst/>
                  <a:gdLst>
                    <a:gd name="connsiteX0" fmla="*/ 18060 w 18276"/>
                    <a:gd name="connsiteY0" fmla="*/ 7210 h 18427"/>
                    <a:gd name="connsiteX1" fmla="*/ 7115 w 18276"/>
                    <a:gd name="connsiteY1" fmla="*/ 213 h 18427"/>
                    <a:gd name="connsiteX2" fmla="*/ 237 w 18276"/>
                    <a:gd name="connsiteY2" fmla="*/ 11217 h 18427"/>
                    <a:gd name="connsiteX3" fmla="*/ 11242 w 18276"/>
                    <a:gd name="connsiteY3" fmla="*/ 18215 h 18427"/>
                    <a:gd name="connsiteX4" fmla="*/ 18060 w 18276"/>
                    <a:gd name="connsiteY4" fmla="*/ 7210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 h="18427">
                      <a:moveTo>
                        <a:pt x="18060" y="7210"/>
                      </a:moveTo>
                      <a:cubicBezTo>
                        <a:pt x="16923" y="2246"/>
                        <a:pt x="12020" y="-864"/>
                        <a:pt x="7115" y="213"/>
                      </a:cubicBezTo>
                      <a:cubicBezTo>
                        <a:pt x="2151" y="1349"/>
                        <a:pt x="-899" y="6253"/>
                        <a:pt x="237" y="11217"/>
                      </a:cubicBezTo>
                      <a:cubicBezTo>
                        <a:pt x="1374" y="16181"/>
                        <a:pt x="6278" y="19291"/>
                        <a:pt x="11242" y="18215"/>
                      </a:cubicBezTo>
                      <a:cubicBezTo>
                        <a:pt x="16086" y="17078"/>
                        <a:pt x="19137" y="12115"/>
                        <a:pt x="18060" y="7210"/>
                      </a:cubicBezTo>
                      <a:close/>
                    </a:path>
                  </a:pathLst>
                </a:custGeom>
                <a:grpFill/>
                <a:ln w="5978" cap="flat">
                  <a:noFill/>
                  <a:prstDash val="solid"/>
                  <a:miter/>
                </a:ln>
              </p:spPr>
              <p:txBody>
                <a:bodyPr rtlCol="0" anchor="ctr"/>
                <a:lstStyle/>
                <a:p>
                  <a:endParaRPr lang="en-GB"/>
                </a:p>
              </p:txBody>
            </p:sp>
          </p:grpSp>
          <p:grpSp>
            <p:nvGrpSpPr>
              <p:cNvPr id="727" name="Graphic 3">
                <a:extLst>
                  <a:ext uri="{FF2B5EF4-FFF2-40B4-BE49-F238E27FC236}">
                    <a16:creationId xmlns:a16="http://schemas.microsoft.com/office/drawing/2014/main" id="{F3B3E750-0DFC-425E-BD26-1D0982D7E9FE}"/>
                  </a:ext>
                </a:extLst>
              </p:cNvPr>
              <p:cNvGrpSpPr/>
              <p:nvPr/>
            </p:nvGrpSpPr>
            <p:grpSpPr>
              <a:xfrm>
                <a:off x="6390889" y="5070308"/>
                <a:ext cx="71251" cy="273633"/>
                <a:chOff x="6390889" y="5070308"/>
                <a:chExt cx="71251" cy="273633"/>
              </a:xfrm>
              <a:grpFill/>
            </p:grpSpPr>
            <p:sp>
              <p:nvSpPr>
                <p:cNvPr id="3209" name="Vrije vorm: vorm 3208">
                  <a:extLst>
                    <a:ext uri="{FF2B5EF4-FFF2-40B4-BE49-F238E27FC236}">
                      <a16:creationId xmlns:a16="http://schemas.microsoft.com/office/drawing/2014/main" id="{0B669D4F-6C6F-4E6D-8DC5-74E5A8867A9B}"/>
                    </a:ext>
                  </a:extLst>
                </p:cNvPr>
                <p:cNvSpPr/>
                <p:nvPr/>
              </p:nvSpPr>
              <p:spPr>
                <a:xfrm>
                  <a:off x="6398435" y="5078749"/>
                  <a:ext cx="56099" cy="256752"/>
                </a:xfrm>
                <a:custGeom>
                  <a:avLst/>
                  <a:gdLst>
                    <a:gd name="connsiteX0" fmla="*/ 2990 w 56099"/>
                    <a:gd name="connsiteY0" fmla="*/ 0 h 256752"/>
                    <a:gd name="connsiteX1" fmla="*/ 56099 w 56099"/>
                    <a:gd name="connsiteY1" fmla="*/ 256154 h 256752"/>
                    <a:gd name="connsiteX2" fmla="*/ 53169 w 56099"/>
                    <a:gd name="connsiteY2" fmla="*/ 256752 h 256752"/>
                    <a:gd name="connsiteX3" fmla="*/ 0 w 56099"/>
                    <a:gd name="connsiteY3" fmla="*/ 658 h 256752"/>
                  </a:gdLst>
                  <a:ahLst/>
                  <a:cxnLst>
                    <a:cxn ang="0">
                      <a:pos x="connsiteX0" y="connsiteY0"/>
                    </a:cxn>
                    <a:cxn ang="0">
                      <a:pos x="connsiteX1" y="connsiteY1"/>
                    </a:cxn>
                    <a:cxn ang="0">
                      <a:pos x="connsiteX2" y="connsiteY2"/>
                    </a:cxn>
                    <a:cxn ang="0">
                      <a:pos x="connsiteX3" y="connsiteY3"/>
                    </a:cxn>
                  </a:cxnLst>
                  <a:rect l="l" t="t" r="r" b="b"/>
                  <a:pathLst>
                    <a:path w="56099" h="256752">
                      <a:moveTo>
                        <a:pt x="2990" y="0"/>
                      </a:moveTo>
                      <a:lnTo>
                        <a:pt x="56099" y="256154"/>
                      </a:lnTo>
                      <a:lnTo>
                        <a:pt x="53169" y="256752"/>
                      </a:lnTo>
                      <a:lnTo>
                        <a:pt x="0" y="658"/>
                      </a:lnTo>
                      <a:close/>
                    </a:path>
                  </a:pathLst>
                </a:custGeom>
                <a:grpFill/>
                <a:ln w="5978" cap="flat">
                  <a:noFill/>
                  <a:prstDash val="solid"/>
                  <a:miter/>
                </a:ln>
              </p:spPr>
              <p:txBody>
                <a:bodyPr rtlCol="0" anchor="ctr"/>
                <a:lstStyle/>
                <a:p>
                  <a:endParaRPr lang="en-GB"/>
                </a:p>
              </p:txBody>
            </p:sp>
            <p:sp>
              <p:nvSpPr>
                <p:cNvPr id="3210" name="Vrije vorm: vorm 3209">
                  <a:extLst>
                    <a:ext uri="{FF2B5EF4-FFF2-40B4-BE49-F238E27FC236}">
                      <a16:creationId xmlns:a16="http://schemas.microsoft.com/office/drawing/2014/main" id="{34D68909-F703-4996-8DDF-3D4452F21178}"/>
                    </a:ext>
                  </a:extLst>
                </p:cNvPr>
                <p:cNvSpPr/>
                <p:nvPr/>
              </p:nvSpPr>
              <p:spPr>
                <a:xfrm>
                  <a:off x="6443819" y="5325506"/>
                  <a:ext cx="18321" cy="18435"/>
                </a:xfrm>
                <a:custGeom>
                  <a:avLst/>
                  <a:gdLst>
                    <a:gd name="connsiteX0" fmla="*/ 18132 w 18321"/>
                    <a:gd name="connsiteY0" fmla="*/ 7364 h 18435"/>
                    <a:gd name="connsiteX1" fmla="*/ 11015 w 18321"/>
                    <a:gd name="connsiteY1" fmla="*/ 18249 h 18435"/>
                    <a:gd name="connsiteX2" fmla="*/ 190 w 18321"/>
                    <a:gd name="connsiteY2" fmla="*/ 11072 h 18435"/>
                    <a:gd name="connsiteX3" fmla="*/ 7307 w 18321"/>
                    <a:gd name="connsiteY3" fmla="*/ 187 h 18435"/>
                    <a:gd name="connsiteX4" fmla="*/ 18132 w 18321"/>
                    <a:gd name="connsiteY4" fmla="*/ 736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5">
                      <a:moveTo>
                        <a:pt x="18132" y="7364"/>
                      </a:moveTo>
                      <a:cubicBezTo>
                        <a:pt x="19148" y="12328"/>
                        <a:pt x="15979" y="17232"/>
                        <a:pt x="11015" y="18249"/>
                      </a:cubicBezTo>
                      <a:cubicBezTo>
                        <a:pt x="6051" y="19266"/>
                        <a:pt x="1206" y="16036"/>
                        <a:pt x="190" y="11072"/>
                      </a:cubicBezTo>
                      <a:cubicBezTo>
                        <a:pt x="-827" y="6108"/>
                        <a:pt x="2343" y="1204"/>
                        <a:pt x="7307" y="187"/>
                      </a:cubicBezTo>
                      <a:cubicBezTo>
                        <a:pt x="12211" y="-830"/>
                        <a:pt x="17115" y="2400"/>
                        <a:pt x="18132" y="7364"/>
                      </a:cubicBezTo>
                      <a:close/>
                    </a:path>
                  </a:pathLst>
                </a:custGeom>
                <a:grpFill/>
                <a:ln w="5978" cap="flat">
                  <a:noFill/>
                  <a:prstDash val="solid"/>
                  <a:miter/>
                </a:ln>
              </p:spPr>
              <p:txBody>
                <a:bodyPr rtlCol="0" anchor="ctr"/>
                <a:lstStyle/>
                <a:p>
                  <a:endParaRPr lang="en-GB"/>
                </a:p>
              </p:txBody>
            </p:sp>
            <p:sp>
              <p:nvSpPr>
                <p:cNvPr id="3211" name="Vrije vorm: vorm 3210">
                  <a:extLst>
                    <a:ext uri="{FF2B5EF4-FFF2-40B4-BE49-F238E27FC236}">
                      <a16:creationId xmlns:a16="http://schemas.microsoft.com/office/drawing/2014/main" id="{7537AC28-32BB-498E-9F23-69AD8F69B402}"/>
                    </a:ext>
                  </a:extLst>
                </p:cNvPr>
                <p:cNvSpPr/>
                <p:nvPr/>
              </p:nvSpPr>
              <p:spPr>
                <a:xfrm>
                  <a:off x="6390889" y="5070308"/>
                  <a:ext cx="18321" cy="18436"/>
                </a:xfrm>
                <a:custGeom>
                  <a:avLst/>
                  <a:gdLst>
                    <a:gd name="connsiteX0" fmla="*/ 18132 w 18321"/>
                    <a:gd name="connsiteY0" fmla="*/ 7364 h 18436"/>
                    <a:gd name="connsiteX1" fmla="*/ 7307 w 18321"/>
                    <a:gd name="connsiteY1" fmla="*/ 187 h 18436"/>
                    <a:gd name="connsiteX2" fmla="*/ 190 w 18321"/>
                    <a:gd name="connsiteY2" fmla="*/ 11072 h 18436"/>
                    <a:gd name="connsiteX3" fmla="*/ 11015 w 18321"/>
                    <a:gd name="connsiteY3" fmla="*/ 18249 h 18436"/>
                    <a:gd name="connsiteX4" fmla="*/ 18132 w 18321"/>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8132" y="7364"/>
                      </a:moveTo>
                      <a:cubicBezTo>
                        <a:pt x="17115" y="2400"/>
                        <a:pt x="12211" y="-830"/>
                        <a:pt x="7307" y="187"/>
                      </a:cubicBezTo>
                      <a:cubicBezTo>
                        <a:pt x="2343" y="1204"/>
                        <a:pt x="-827" y="6048"/>
                        <a:pt x="190" y="11072"/>
                      </a:cubicBezTo>
                      <a:cubicBezTo>
                        <a:pt x="1207" y="16036"/>
                        <a:pt x="6051" y="19266"/>
                        <a:pt x="11015" y="18249"/>
                      </a:cubicBezTo>
                      <a:cubicBezTo>
                        <a:pt x="15979" y="17232"/>
                        <a:pt x="19149" y="12388"/>
                        <a:pt x="18132" y="7364"/>
                      </a:cubicBezTo>
                      <a:close/>
                    </a:path>
                  </a:pathLst>
                </a:custGeom>
                <a:grpFill/>
                <a:ln w="5978" cap="flat">
                  <a:noFill/>
                  <a:prstDash val="solid"/>
                  <a:miter/>
                </a:ln>
              </p:spPr>
              <p:txBody>
                <a:bodyPr rtlCol="0" anchor="ctr"/>
                <a:lstStyle/>
                <a:p>
                  <a:endParaRPr lang="en-GB"/>
                </a:p>
              </p:txBody>
            </p:sp>
          </p:grpSp>
          <p:grpSp>
            <p:nvGrpSpPr>
              <p:cNvPr id="728" name="Graphic 3">
                <a:extLst>
                  <a:ext uri="{FF2B5EF4-FFF2-40B4-BE49-F238E27FC236}">
                    <a16:creationId xmlns:a16="http://schemas.microsoft.com/office/drawing/2014/main" id="{E10F2DEC-824A-462C-832E-6E2F0D1C72B4}"/>
                  </a:ext>
                </a:extLst>
              </p:cNvPr>
              <p:cNvGrpSpPr/>
              <p:nvPr/>
            </p:nvGrpSpPr>
            <p:grpSpPr>
              <a:xfrm>
                <a:off x="5147294" y="1479528"/>
                <a:ext cx="59695" cy="107100"/>
                <a:chOff x="5147294" y="1479528"/>
                <a:chExt cx="59695" cy="107100"/>
              </a:xfrm>
              <a:grpFill/>
            </p:grpSpPr>
            <p:sp>
              <p:nvSpPr>
                <p:cNvPr id="3206" name="Vrije vorm: vorm 3205">
                  <a:extLst>
                    <a:ext uri="{FF2B5EF4-FFF2-40B4-BE49-F238E27FC236}">
                      <a16:creationId xmlns:a16="http://schemas.microsoft.com/office/drawing/2014/main" id="{E00F430E-45C5-49E5-8CB6-DC2C84F5E402}"/>
                    </a:ext>
                  </a:extLst>
                </p:cNvPr>
                <p:cNvSpPr/>
                <p:nvPr/>
              </p:nvSpPr>
              <p:spPr>
                <a:xfrm>
                  <a:off x="5154923" y="1487685"/>
                  <a:ext cx="44437" cy="90787"/>
                </a:xfrm>
                <a:custGeom>
                  <a:avLst/>
                  <a:gdLst>
                    <a:gd name="connsiteX0" fmla="*/ 44437 w 44437"/>
                    <a:gd name="connsiteY0" fmla="*/ 89472 h 90787"/>
                    <a:gd name="connsiteX1" fmla="*/ 41686 w 44437"/>
                    <a:gd name="connsiteY1" fmla="*/ 90787 h 90787"/>
                    <a:gd name="connsiteX2" fmla="*/ 0 w 44437"/>
                    <a:gd name="connsiteY2" fmla="*/ 1316 h 90787"/>
                    <a:gd name="connsiteX3" fmla="*/ 2751 w 44437"/>
                    <a:gd name="connsiteY3" fmla="*/ 0 h 90787"/>
                  </a:gdLst>
                  <a:ahLst/>
                  <a:cxnLst>
                    <a:cxn ang="0">
                      <a:pos x="connsiteX0" y="connsiteY0"/>
                    </a:cxn>
                    <a:cxn ang="0">
                      <a:pos x="connsiteX1" y="connsiteY1"/>
                    </a:cxn>
                    <a:cxn ang="0">
                      <a:pos x="connsiteX2" y="connsiteY2"/>
                    </a:cxn>
                    <a:cxn ang="0">
                      <a:pos x="connsiteX3" y="connsiteY3"/>
                    </a:cxn>
                  </a:cxnLst>
                  <a:rect l="l" t="t" r="r" b="b"/>
                  <a:pathLst>
                    <a:path w="44437" h="90787">
                      <a:moveTo>
                        <a:pt x="44437" y="89472"/>
                      </a:moveTo>
                      <a:lnTo>
                        <a:pt x="41686" y="90787"/>
                      </a:lnTo>
                      <a:lnTo>
                        <a:pt x="0" y="1316"/>
                      </a:lnTo>
                      <a:lnTo>
                        <a:pt x="2751" y="0"/>
                      </a:lnTo>
                      <a:close/>
                    </a:path>
                  </a:pathLst>
                </a:custGeom>
                <a:grpFill/>
                <a:ln w="5978" cap="flat">
                  <a:noFill/>
                  <a:prstDash val="solid"/>
                  <a:miter/>
                </a:ln>
              </p:spPr>
              <p:txBody>
                <a:bodyPr rtlCol="0" anchor="ctr"/>
                <a:lstStyle/>
                <a:p>
                  <a:endParaRPr lang="en-GB"/>
                </a:p>
              </p:txBody>
            </p:sp>
            <p:sp>
              <p:nvSpPr>
                <p:cNvPr id="3207" name="Vrije vorm: vorm 3206">
                  <a:extLst>
                    <a:ext uri="{FF2B5EF4-FFF2-40B4-BE49-F238E27FC236}">
                      <a16:creationId xmlns:a16="http://schemas.microsoft.com/office/drawing/2014/main" id="{4CB4ED55-C27A-4D55-B74D-AB8498191199}"/>
                    </a:ext>
                  </a:extLst>
                </p:cNvPr>
                <p:cNvSpPr/>
                <p:nvPr/>
              </p:nvSpPr>
              <p:spPr>
                <a:xfrm>
                  <a:off x="5188621" y="1568188"/>
                  <a:ext cx="18368" cy="18440"/>
                </a:xfrm>
                <a:custGeom>
                  <a:avLst/>
                  <a:gdLst>
                    <a:gd name="connsiteX0" fmla="*/ 17498 w 18368"/>
                    <a:gd name="connsiteY0" fmla="*/ 5320 h 18440"/>
                    <a:gd name="connsiteX1" fmla="*/ 13072 w 18368"/>
                    <a:gd name="connsiteY1" fmla="*/ 17580 h 18440"/>
                    <a:gd name="connsiteX2" fmla="*/ 871 w 18368"/>
                    <a:gd name="connsiteY2" fmla="*/ 13095 h 18440"/>
                    <a:gd name="connsiteX3" fmla="*/ 5297 w 18368"/>
                    <a:gd name="connsiteY3" fmla="*/ 834 h 18440"/>
                    <a:gd name="connsiteX4" fmla="*/ 17498 w 18368"/>
                    <a:gd name="connsiteY4" fmla="*/ 5320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0">
                      <a:moveTo>
                        <a:pt x="17498" y="5320"/>
                      </a:moveTo>
                      <a:cubicBezTo>
                        <a:pt x="19651" y="9925"/>
                        <a:pt x="17677" y="15427"/>
                        <a:pt x="13072" y="17580"/>
                      </a:cubicBezTo>
                      <a:cubicBezTo>
                        <a:pt x="8467" y="19733"/>
                        <a:pt x="3024" y="17700"/>
                        <a:pt x="871" y="13095"/>
                      </a:cubicBezTo>
                      <a:cubicBezTo>
                        <a:pt x="-1282" y="8490"/>
                        <a:pt x="692" y="2987"/>
                        <a:pt x="5297" y="834"/>
                      </a:cubicBezTo>
                      <a:cubicBezTo>
                        <a:pt x="9842" y="-1259"/>
                        <a:pt x="15344" y="715"/>
                        <a:pt x="17498" y="5320"/>
                      </a:cubicBezTo>
                      <a:close/>
                    </a:path>
                  </a:pathLst>
                </a:custGeom>
                <a:grpFill/>
                <a:ln w="5978" cap="flat">
                  <a:noFill/>
                  <a:prstDash val="solid"/>
                  <a:miter/>
                </a:ln>
              </p:spPr>
              <p:txBody>
                <a:bodyPr rtlCol="0" anchor="ctr"/>
                <a:lstStyle/>
                <a:p>
                  <a:endParaRPr lang="en-GB"/>
                </a:p>
              </p:txBody>
            </p:sp>
            <p:sp>
              <p:nvSpPr>
                <p:cNvPr id="3208" name="Vrije vorm: vorm 3207">
                  <a:extLst>
                    <a:ext uri="{FF2B5EF4-FFF2-40B4-BE49-F238E27FC236}">
                      <a16:creationId xmlns:a16="http://schemas.microsoft.com/office/drawing/2014/main" id="{814910C1-E7FD-4C8F-8829-170F32C0F075}"/>
                    </a:ext>
                  </a:extLst>
                </p:cNvPr>
                <p:cNvSpPr/>
                <p:nvPr/>
              </p:nvSpPr>
              <p:spPr>
                <a:xfrm>
                  <a:off x="5147294" y="1479528"/>
                  <a:ext cx="18368" cy="18466"/>
                </a:xfrm>
                <a:custGeom>
                  <a:avLst/>
                  <a:gdLst>
                    <a:gd name="connsiteX0" fmla="*/ 17497 w 18368"/>
                    <a:gd name="connsiteY0" fmla="*/ 5346 h 18466"/>
                    <a:gd name="connsiteX1" fmla="*/ 5297 w 18368"/>
                    <a:gd name="connsiteY1" fmla="*/ 860 h 18466"/>
                    <a:gd name="connsiteX2" fmla="*/ 871 w 18368"/>
                    <a:gd name="connsiteY2" fmla="*/ 13121 h 18466"/>
                    <a:gd name="connsiteX3" fmla="*/ 13072 w 18368"/>
                    <a:gd name="connsiteY3" fmla="*/ 17606 h 18466"/>
                    <a:gd name="connsiteX4" fmla="*/ 17497 w 18368"/>
                    <a:gd name="connsiteY4" fmla="*/ 53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17497" y="5346"/>
                      </a:moveTo>
                      <a:cubicBezTo>
                        <a:pt x="15345" y="741"/>
                        <a:pt x="9902" y="-1293"/>
                        <a:pt x="5297" y="860"/>
                      </a:cubicBezTo>
                      <a:cubicBezTo>
                        <a:pt x="692" y="3013"/>
                        <a:pt x="-1282" y="8456"/>
                        <a:pt x="871" y="13121"/>
                      </a:cubicBezTo>
                      <a:cubicBezTo>
                        <a:pt x="3024" y="17726"/>
                        <a:pt x="8467" y="19759"/>
                        <a:pt x="13072" y="17606"/>
                      </a:cubicBezTo>
                      <a:cubicBezTo>
                        <a:pt x="17677" y="15453"/>
                        <a:pt x="19650" y="9951"/>
                        <a:pt x="17497" y="5346"/>
                      </a:cubicBezTo>
                      <a:close/>
                    </a:path>
                  </a:pathLst>
                </a:custGeom>
                <a:grpFill/>
                <a:ln w="5978" cap="flat">
                  <a:noFill/>
                  <a:prstDash val="solid"/>
                  <a:miter/>
                </a:ln>
              </p:spPr>
              <p:txBody>
                <a:bodyPr rtlCol="0" anchor="ctr"/>
                <a:lstStyle/>
                <a:p>
                  <a:endParaRPr lang="en-GB"/>
                </a:p>
              </p:txBody>
            </p:sp>
          </p:grpSp>
          <p:grpSp>
            <p:nvGrpSpPr>
              <p:cNvPr id="729" name="Graphic 3">
                <a:extLst>
                  <a:ext uri="{FF2B5EF4-FFF2-40B4-BE49-F238E27FC236}">
                    <a16:creationId xmlns:a16="http://schemas.microsoft.com/office/drawing/2014/main" id="{E828AF94-7184-47A9-AFCA-DEDB465AB6A9}"/>
                  </a:ext>
                </a:extLst>
              </p:cNvPr>
              <p:cNvGrpSpPr/>
              <p:nvPr/>
            </p:nvGrpSpPr>
            <p:grpSpPr>
              <a:xfrm>
                <a:off x="5147354" y="1479528"/>
                <a:ext cx="68726" cy="126597"/>
                <a:chOff x="5147354" y="1479528"/>
                <a:chExt cx="68726" cy="126597"/>
              </a:xfrm>
              <a:grpFill/>
            </p:grpSpPr>
            <p:sp>
              <p:nvSpPr>
                <p:cNvPr id="3203" name="Vrije vorm: vorm 3202">
                  <a:extLst>
                    <a:ext uri="{FF2B5EF4-FFF2-40B4-BE49-F238E27FC236}">
                      <a16:creationId xmlns:a16="http://schemas.microsoft.com/office/drawing/2014/main" id="{A97936BC-D0DD-4C81-A43B-33BED74A72BC}"/>
                    </a:ext>
                  </a:extLst>
                </p:cNvPr>
                <p:cNvSpPr/>
                <p:nvPr/>
              </p:nvSpPr>
              <p:spPr>
                <a:xfrm>
                  <a:off x="5154923" y="1487685"/>
                  <a:ext cx="53527" cy="110284"/>
                </a:xfrm>
                <a:custGeom>
                  <a:avLst/>
                  <a:gdLst>
                    <a:gd name="connsiteX0" fmla="*/ 53528 w 53527"/>
                    <a:gd name="connsiteY0" fmla="*/ 109029 h 110284"/>
                    <a:gd name="connsiteX1" fmla="*/ 50777 w 53527"/>
                    <a:gd name="connsiteY1" fmla="*/ 110284 h 110284"/>
                    <a:gd name="connsiteX2" fmla="*/ 0 w 53527"/>
                    <a:gd name="connsiteY2" fmla="*/ 1316 h 110284"/>
                    <a:gd name="connsiteX3" fmla="*/ 2751 w 53527"/>
                    <a:gd name="connsiteY3" fmla="*/ 0 h 110284"/>
                  </a:gdLst>
                  <a:ahLst/>
                  <a:cxnLst>
                    <a:cxn ang="0">
                      <a:pos x="connsiteX0" y="connsiteY0"/>
                    </a:cxn>
                    <a:cxn ang="0">
                      <a:pos x="connsiteX1" y="connsiteY1"/>
                    </a:cxn>
                    <a:cxn ang="0">
                      <a:pos x="connsiteX2" y="connsiteY2"/>
                    </a:cxn>
                    <a:cxn ang="0">
                      <a:pos x="connsiteX3" y="connsiteY3"/>
                    </a:cxn>
                  </a:cxnLst>
                  <a:rect l="l" t="t" r="r" b="b"/>
                  <a:pathLst>
                    <a:path w="53527" h="110284">
                      <a:moveTo>
                        <a:pt x="53528" y="109029"/>
                      </a:moveTo>
                      <a:lnTo>
                        <a:pt x="50777" y="110284"/>
                      </a:lnTo>
                      <a:lnTo>
                        <a:pt x="0" y="1316"/>
                      </a:lnTo>
                      <a:lnTo>
                        <a:pt x="2751" y="0"/>
                      </a:lnTo>
                      <a:close/>
                    </a:path>
                  </a:pathLst>
                </a:custGeom>
                <a:grpFill/>
                <a:ln w="5978" cap="flat">
                  <a:noFill/>
                  <a:prstDash val="solid"/>
                  <a:miter/>
                </a:ln>
              </p:spPr>
              <p:txBody>
                <a:bodyPr rtlCol="0" anchor="ctr"/>
                <a:lstStyle/>
                <a:p>
                  <a:endParaRPr lang="en-GB"/>
                </a:p>
              </p:txBody>
            </p:sp>
            <p:sp>
              <p:nvSpPr>
                <p:cNvPr id="3204" name="Vrije vorm: vorm 3203">
                  <a:extLst>
                    <a:ext uri="{FF2B5EF4-FFF2-40B4-BE49-F238E27FC236}">
                      <a16:creationId xmlns:a16="http://schemas.microsoft.com/office/drawing/2014/main" id="{A950937E-A8BD-46FB-B017-F5DFB69243CD}"/>
                    </a:ext>
                  </a:extLst>
                </p:cNvPr>
                <p:cNvSpPr/>
                <p:nvPr/>
              </p:nvSpPr>
              <p:spPr>
                <a:xfrm>
                  <a:off x="5147354" y="1479528"/>
                  <a:ext cx="18368" cy="18440"/>
                </a:xfrm>
                <a:custGeom>
                  <a:avLst/>
                  <a:gdLst>
                    <a:gd name="connsiteX0" fmla="*/ 871 w 18368"/>
                    <a:gd name="connsiteY0" fmla="*/ 13121 h 18440"/>
                    <a:gd name="connsiteX1" fmla="*/ 5297 w 18368"/>
                    <a:gd name="connsiteY1" fmla="*/ 860 h 18440"/>
                    <a:gd name="connsiteX2" fmla="*/ 17498 w 18368"/>
                    <a:gd name="connsiteY2" fmla="*/ 5346 h 18440"/>
                    <a:gd name="connsiteX3" fmla="*/ 13072 w 18368"/>
                    <a:gd name="connsiteY3" fmla="*/ 17606 h 18440"/>
                    <a:gd name="connsiteX4" fmla="*/ 871 w 18368"/>
                    <a:gd name="connsiteY4" fmla="*/ 13121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0">
                      <a:moveTo>
                        <a:pt x="871" y="13121"/>
                      </a:moveTo>
                      <a:cubicBezTo>
                        <a:pt x="-1282" y="8516"/>
                        <a:pt x="692" y="3013"/>
                        <a:pt x="5297" y="860"/>
                      </a:cubicBezTo>
                      <a:cubicBezTo>
                        <a:pt x="9902" y="-1293"/>
                        <a:pt x="15345" y="741"/>
                        <a:pt x="17498" y="5346"/>
                      </a:cubicBezTo>
                      <a:cubicBezTo>
                        <a:pt x="19651" y="9951"/>
                        <a:pt x="17677" y="15453"/>
                        <a:pt x="13072" y="17606"/>
                      </a:cubicBezTo>
                      <a:cubicBezTo>
                        <a:pt x="8467" y="19699"/>
                        <a:pt x="3024" y="17726"/>
                        <a:pt x="871" y="13121"/>
                      </a:cubicBezTo>
                      <a:close/>
                    </a:path>
                  </a:pathLst>
                </a:custGeom>
                <a:grpFill/>
                <a:ln w="5978" cap="flat">
                  <a:noFill/>
                  <a:prstDash val="solid"/>
                  <a:miter/>
                </a:ln>
              </p:spPr>
              <p:txBody>
                <a:bodyPr rtlCol="0" anchor="ctr"/>
                <a:lstStyle/>
                <a:p>
                  <a:endParaRPr lang="en-GB"/>
                </a:p>
              </p:txBody>
            </p:sp>
            <p:sp>
              <p:nvSpPr>
                <p:cNvPr id="3205" name="Vrije vorm: vorm 3204">
                  <a:extLst>
                    <a:ext uri="{FF2B5EF4-FFF2-40B4-BE49-F238E27FC236}">
                      <a16:creationId xmlns:a16="http://schemas.microsoft.com/office/drawing/2014/main" id="{EB9AD3A7-44CD-44FC-8192-7635BE7E7312}"/>
                    </a:ext>
                  </a:extLst>
                </p:cNvPr>
                <p:cNvSpPr/>
                <p:nvPr/>
              </p:nvSpPr>
              <p:spPr>
                <a:xfrm>
                  <a:off x="5197711" y="1587660"/>
                  <a:ext cx="18368" cy="18466"/>
                </a:xfrm>
                <a:custGeom>
                  <a:avLst/>
                  <a:gdLst>
                    <a:gd name="connsiteX0" fmla="*/ 871 w 18368"/>
                    <a:gd name="connsiteY0" fmla="*/ 13121 h 18466"/>
                    <a:gd name="connsiteX1" fmla="*/ 13072 w 18368"/>
                    <a:gd name="connsiteY1" fmla="*/ 17606 h 18466"/>
                    <a:gd name="connsiteX2" fmla="*/ 17497 w 18368"/>
                    <a:gd name="connsiteY2" fmla="*/ 5346 h 18466"/>
                    <a:gd name="connsiteX3" fmla="*/ 5297 w 18368"/>
                    <a:gd name="connsiteY3" fmla="*/ 860 h 18466"/>
                    <a:gd name="connsiteX4" fmla="*/ 871 w 18368"/>
                    <a:gd name="connsiteY4" fmla="*/ 13121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871" y="13121"/>
                      </a:moveTo>
                      <a:cubicBezTo>
                        <a:pt x="3024" y="17726"/>
                        <a:pt x="8467" y="19759"/>
                        <a:pt x="13072" y="17606"/>
                      </a:cubicBezTo>
                      <a:cubicBezTo>
                        <a:pt x="17677" y="15453"/>
                        <a:pt x="19650" y="10011"/>
                        <a:pt x="17497" y="5346"/>
                      </a:cubicBezTo>
                      <a:cubicBezTo>
                        <a:pt x="15345" y="741"/>
                        <a:pt x="9902" y="-1293"/>
                        <a:pt x="5297" y="860"/>
                      </a:cubicBezTo>
                      <a:cubicBezTo>
                        <a:pt x="692" y="3013"/>
                        <a:pt x="-1282" y="8516"/>
                        <a:pt x="871" y="13121"/>
                      </a:cubicBezTo>
                      <a:close/>
                    </a:path>
                  </a:pathLst>
                </a:custGeom>
                <a:grpFill/>
                <a:ln w="5978" cap="flat">
                  <a:noFill/>
                  <a:prstDash val="solid"/>
                  <a:miter/>
                </a:ln>
              </p:spPr>
              <p:txBody>
                <a:bodyPr rtlCol="0" anchor="ctr"/>
                <a:lstStyle/>
                <a:p>
                  <a:endParaRPr lang="en-GB"/>
                </a:p>
              </p:txBody>
            </p:sp>
          </p:grpSp>
          <p:grpSp>
            <p:nvGrpSpPr>
              <p:cNvPr id="730" name="Graphic 3">
                <a:extLst>
                  <a:ext uri="{FF2B5EF4-FFF2-40B4-BE49-F238E27FC236}">
                    <a16:creationId xmlns:a16="http://schemas.microsoft.com/office/drawing/2014/main" id="{BDEEF018-8DFA-4D2B-B031-2EDB3FFE0F58}"/>
                  </a:ext>
                </a:extLst>
              </p:cNvPr>
              <p:cNvGrpSpPr/>
              <p:nvPr/>
            </p:nvGrpSpPr>
            <p:grpSpPr>
              <a:xfrm>
                <a:off x="5146574" y="1567802"/>
                <a:ext cx="167531" cy="323664"/>
                <a:chOff x="5146574" y="1567802"/>
                <a:chExt cx="167531" cy="323664"/>
              </a:xfrm>
              <a:grpFill/>
            </p:grpSpPr>
            <p:sp>
              <p:nvSpPr>
                <p:cNvPr id="3200" name="Vrije vorm: vorm 3199">
                  <a:extLst>
                    <a:ext uri="{FF2B5EF4-FFF2-40B4-BE49-F238E27FC236}">
                      <a16:creationId xmlns:a16="http://schemas.microsoft.com/office/drawing/2014/main" id="{A629E3A0-50D2-4698-ABE8-6FB4067B69AB}"/>
                    </a:ext>
                  </a:extLst>
                </p:cNvPr>
                <p:cNvSpPr/>
                <p:nvPr/>
              </p:nvSpPr>
              <p:spPr>
                <a:xfrm>
                  <a:off x="5154276" y="1575912"/>
                  <a:ext cx="152622" cy="307343"/>
                </a:xfrm>
                <a:custGeom>
                  <a:avLst/>
                  <a:gdLst>
                    <a:gd name="connsiteX0" fmla="*/ 0 w 152622"/>
                    <a:gd name="connsiteY0" fmla="*/ 1342 h 307343"/>
                    <a:gd name="connsiteX1" fmla="*/ 2740 w 152622"/>
                    <a:gd name="connsiteY1" fmla="*/ 0 h 307343"/>
                    <a:gd name="connsiteX2" fmla="*/ 152623 w 152622"/>
                    <a:gd name="connsiteY2" fmla="*/ 306002 h 307343"/>
                    <a:gd name="connsiteX3" fmla="*/ 149884 w 152622"/>
                    <a:gd name="connsiteY3" fmla="*/ 307344 h 307343"/>
                  </a:gdLst>
                  <a:ahLst/>
                  <a:cxnLst>
                    <a:cxn ang="0">
                      <a:pos x="connsiteX0" y="connsiteY0"/>
                    </a:cxn>
                    <a:cxn ang="0">
                      <a:pos x="connsiteX1" y="connsiteY1"/>
                    </a:cxn>
                    <a:cxn ang="0">
                      <a:pos x="connsiteX2" y="connsiteY2"/>
                    </a:cxn>
                    <a:cxn ang="0">
                      <a:pos x="connsiteX3" y="connsiteY3"/>
                    </a:cxn>
                  </a:cxnLst>
                  <a:rect l="l" t="t" r="r" b="b"/>
                  <a:pathLst>
                    <a:path w="152622" h="307343">
                      <a:moveTo>
                        <a:pt x="0" y="1342"/>
                      </a:moveTo>
                      <a:lnTo>
                        <a:pt x="2740" y="0"/>
                      </a:lnTo>
                      <a:lnTo>
                        <a:pt x="152623" y="306002"/>
                      </a:lnTo>
                      <a:lnTo>
                        <a:pt x="149884" y="307344"/>
                      </a:lnTo>
                      <a:close/>
                    </a:path>
                  </a:pathLst>
                </a:custGeom>
                <a:grpFill/>
                <a:ln w="5978" cap="flat">
                  <a:noFill/>
                  <a:prstDash val="solid"/>
                  <a:miter/>
                </a:ln>
              </p:spPr>
              <p:txBody>
                <a:bodyPr rtlCol="0" anchor="ctr"/>
                <a:lstStyle/>
                <a:p>
                  <a:endParaRPr lang="en-GB"/>
                </a:p>
              </p:txBody>
            </p:sp>
            <p:sp>
              <p:nvSpPr>
                <p:cNvPr id="3201" name="Vrije vorm: vorm 3200">
                  <a:extLst>
                    <a:ext uri="{FF2B5EF4-FFF2-40B4-BE49-F238E27FC236}">
                      <a16:creationId xmlns:a16="http://schemas.microsoft.com/office/drawing/2014/main" id="{321C7AB4-1EAE-408A-B46E-0459498C7403}"/>
                    </a:ext>
                  </a:extLst>
                </p:cNvPr>
                <p:cNvSpPr/>
                <p:nvPr/>
              </p:nvSpPr>
              <p:spPr>
                <a:xfrm>
                  <a:off x="5146574" y="1567802"/>
                  <a:ext cx="18312" cy="18408"/>
                </a:xfrm>
                <a:custGeom>
                  <a:avLst/>
                  <a:gdLst>
                    <a:gd name="connsiteX0" fmla="*/ 933 w 18312"/>
                    <a:gd name="connsiteY0" fmla="*/ 13241 h 18408"/>
                    <a:gd name="connsiteX1" fmla="*/ 5119 w 18312"/>
                    <a:gd name="connsiteY1" fmla="*/ 921 h 18408"/>
                    <a:gd name="connsiteX2" fmla="*/ 17380 w 18312"/>
                    <a:gd name="connsiteY2" fmla="*/ 5167 h 18408"/>
                    <a:gd name="connsiteX3" fmla="*/ 13194 w 18312"/>
                    <a:gd name="connsiteY3" fmla="*/ 17488 h 18408"/>
                    <a:gd name="connsiteX4" fmla="*/ 933 w 18312"/>
                    <a:gd name="connsiteY4" fmla="*/ 1324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8">
                      <a:moveTo>
                        <a:pt x="933" y="13241"/>
                      </a:moveTo>
                      <a:cubicBezTo>
                        <a:pt x="-1280" y="8696"/>
                        <a:pt x="574" y="3134"/>
                        <a:pt x="5119" y="921"/>
                      </a:cubicBezTo>
                      <a:cubicBezTo>
                        <a:pt x="9665" y="-1292"/>
                        <a:pt x="15167" y="622"/>
                        <a:pt x="17380" y="5167"/>
                      </a:cubicBezTo>
                      <a:cubicBezTo>
                        <a:pt x="19593" y="9713"/>
                        <a:pt x="17739" y="15275"/>
                        <a:pt x="13194" y="17488"/>
                      </a:cubicBezTo>
                      <a:cubicBezTo>
                        <a:pt x="8708" y="19701"/>
                        <a:pt x="3206" y="17787"/>
                        <a:pt x="933" y="13241"/>
                      </a:cubicBezTo>
                      <a:close/>
                    </a:path>
                  </a:pathLst>
                </a:custGeom>
                <a:grpFill/>
                <a:ln w="5978" cap="flat">
                  <a:noFill/>
                  <a:prstDash val="solid"/>
                  <a:miter/>
                </a:ln>
              </p:spPr>
              <p:txBody>
                <a:bodyPr rtlCol="0" anchor="ctr"/>
                <a:lstStyle/>
                <a:p>
                  <a:endParaRPr lang="en-GB"/>
                </a:p>
              </p:txBody>
            </p:sp>
            <p:sp>
              <p:nvSpPr>
                <p:cNvPr id="3202" name="Vrije vorm: vorm 3201">
                  <a:extLst>
                    <a:ext uri="{FF2B5EF4-FFF2-40B4-BE49-F238E27FC236}">
                      <a16:creationId xmlns:a16="http://schemas.microsoft.com/office/drawing/2014/main" id="{35492D8A-3194-40AF-982D-4E4BE020E7F3}"/>
                    </a:ext>
                  </a:extLst>
                </p:cNvPr>
                <p:cNvSpPr/>
                <p:nvPr/>
              </p:nvSpPr>
              <p:spPr>
                <a:xfrm>
                  <a:off x="5295793" y="1873059"/>
                  <a:ext cx="18312" cy="18408"/>
                </a:xfrm>
                <a:custGeom>
                  <a:avLst/>
                  <a:gdLst>
                    <a:gd name="connsiteX0" fmla="*/ 933 w 18312"/>
                    <a:gd name="connsiteY0" fmla="*/ 13241 h 18408"/>
                    <a:gd name="connsiteX1" fmla="*/ 13193 w 18312"/>
                    <a:gd name="connsiteY1" fmla="*/ 17488 h 18408"/>
                    <a:gd name="connsiteX2" fmla="*/ 17380 w 18312"/>
                    <a:gd name="connsiteY2" fmla="*/ 5167 h 18408"/>
                    <a:gd name="connsiteX3" fmla="*/ 5119 w 18312"/>
                    <a:gd name="connsiteY3" fmla="*/ 921 h 18408"/>
                    <a:gd name="connsiteX4" fmla="*/ 933 w 18312"/>
                    <a:gd name="connsiteY4" fmla="*/ 1324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8">
                      <a:moveTo>
                        <a:pt x="933" y="13241"/>
                      </a:moveTo>
                      <a:cubicBezTo>
                        <a:pt x="3146" y="17787"/>
                        <a:pt x="8648" y="19701"/>
                        <a:pt x="13193" y="17488"/>
                      </a:cubicBezTo>
                      <a:cubicBezTo>
                        <a:pt x="17739" y="15275"/>
                        <a:pt x="19593" y="9773"/>
                        <a:pt x="17380" y="5167"/>
                      </a:cubicBezTo>
                      <a:cubicBezTo>
                        <a:pt x="15167" y="622"/>
                        <a:pt x="9665" y="-1292"/>
                        <a:pt x="5119" y="921"/>
                      </a:cubicBezTo>
                      <a:cubicBezTo>
                        <a:pt x="574" y="3134"/>
                        <a:pt x="-1280" y="8696"/>
                        <a:pt x="933" y="13241"/>
                      </a:cubicBezTo>
                      <a:close/>
                    </a:path>
                  </a:pathLst>
                </a:custGeom>
                <a:grpFill/>
                <a:ln w="5978" cap="flat">
                  <a:noFill/>
                  <a:prstDash val="solid"/>
                  <a:miter/>
                </a:ln>
              </p:spPr>
              <p:txBody>
                <a:bodyPr rtlCol="0" anchor="ctr"/>
                <a:lstStyle/>
                <a:p>
                  <a:endParaRPr lang="en-GB"/>
                </a:p>
              </p:txBody>
            </p:sp>
          </p:grpSp>
          <p:grpSp>
            <p:nvGrpSpPr>
              <p:cNvPr id="731" name="Graphic 3">
                <a:extLst>
                  <a:ext uri="{FF2B5EF4-FFF2-40B4-BE49-F238E27FC236}">
                    <a16:creationId xmlns:a16="http://schemas.microsoft.com/office/drawing/2014/main" id="{D19EA1B0-EFDD-43DF-A8CE-C7BCD63D94B3}"/>
                  </a:ext>
                </a:extLst>
              </p:cNvPr>
              <p:cNvGrpSpPr/>
              <p:nvPr/>
            </p:nvGrpSpPr>
            <p:grpSpPr>
              <a:xfrm>
                <a:off x="6360112" y="5077029"/>
                <a:ext cx="60975" cy="244924"/>
                <a:chOff x="6360112" y="5077029"/>
                <a:chExt cx="60975" cy="244924"/>
              </a:xfrm>
              <a:grpFill/>
            </p:grpSpPr>
            <p:sp>
              <p:nvSpPr>
                <p:cNvPr id="3197" name="Vrije vorm: vorm 3196">
                  <a:extLst>
                    <a:ext uri="{FF2B5EF4-FFF2-40B4-BE49-F238E27FC236}">
                      <a16:creationId xmlns:a16="http://schemas.microsoft.com/office/drawing/2014/main" id="{8C479F32-FD76-40B2-A795-C59678C5A4D3}"/>
                    </a:ext>
                  </a:extLst>
                </p:cNvPr>
                <p:cNvSpPr/>
                <p:nvPr/>
              </p:nvSpPr>
              <p:spPr>
                <a:xfrm>
                  <a:off x="6367567" y="5085195"/>
                  <a:ext cx="45805" cy="227955"/>
                </a:xfrm>
                <a:custGeom>
                  <a:avLst/>
                  <a:gdLst>
                    <a:gd name="connsiteX0" fmla="*/ 0 w 45805"/>
                    <a:gd name="connsiteY0" fmla="*/ 564 h 227955"/>
                    <a:gd name="connsiteX1" fmla="*/ 2998 w 45805"/>
                    <a:gd name="connsiteY1" fmla="*/ 0 h 227955"/>
                    <a:gd name="connsiteX2" fmla="*/ 45805 w 45805"/>
                    <a:gd name="connsiteY2" fmla="*/ 227391 h 227955"/>
                    <a:gd name="connsiteX3" fmla="*/ 42808 w 45805"/>
                    <a:gd name="connsiteY3" fmla="*/ 227955 h 227955"/>
                  </a:gdLst>
                  <a:ahLst/>
                  <a:cxnLst>
                    <a:cxn ang="0">
                      <a:pos x="connsiteX0" y="connsiteY0"/>
                    </a:cxn>
                    <a:cxn ang="0">
                      <a:pos x="connsiteX1" y="connsiteY1"/>
                    </a:cxn>
                    <a:cxn ang="0">
                      <a:pos x="connsiteX2" y="connsiteY2"/>
                    </a:cxn>
                    <a:cxn ang="0">
                      <a:pos x="connsiteX3" y="connsiteY3"/>
                    </a:cxn>
                  </a:cxnLst>
                  <a:rect l="l" t="t" r="r" b="b"/>
                  <a:pathLst>
                    <a:path w="45805" h="227955">
                      <a:moveTo>
                        <a:pt x="0" y="564"/>
                      </a:moveTo>
                      <a:lnTo>
                        <a:pt x="2998" y="0"/>
                      </a:lnTo>
                      <a:lnTo>
                        <a:pt x="45805" y="227391"/>
                      </a:lnTo>
                      <a:lnTo>
                        <a:pt x="42808" y="227955"/>
                      </a:lnTo>
                      <a:close/>
                    </a:path>
                  </a:pathLst>
                </a:custGeom>
                <a:grpFill/>
                <a:ln w="5978" cap="flat">
                  <a:noFill/>
                  <a:prstDash val="solid"/>
                  <a:miter/>
                </a:ln>
              </p:spPr>
              <p:txBody>
                <a:bodyPr rtlCol="0" anchor="ctr"/>
                <a:lstStyle/>
                <a:p>
                  <a:endParaRPr lang="en-GB"/>
                </a:p>
              </p:txBody>
            </p:sp>
            <p:sp>
              <p:nvSpPr>
                <p:cNvPr id="3198" name="Vrije vorm: vorm 3197">
                  <a:extLst>
                    <a:ext uri="{FF2B5EF4-FFF2-40B4-BE49-F238E27FC236}">
                      <a16:creationId xmlns:a16="http://schemas.microsoft.com/office/drawing/2014/main" id="{0B027D82-385E-49D0-BFE3-107D4F2CDB05}"/>
                    </a:ext>
                  </a:extLst>
                </p:cNvPr>
                <p:cNvSpPr/>
                <p:nvPr/>
              </p:nvSpPr>
              <p:spPr>
                <a:xfrm>
                  <a:off x="6402755" y="5303561"/>
                  <a:ext cx="18333" cy="18391"/>
                </a:xfrm>
                <a:custGeom>
                  <a:avLst/>
                  <a:gdLst>
                    <a:gd name="connsiteX0" fmla="*/ 18168 w 18333"/>
                    <a:gd name="connsiteY0" fmla="*/ 7479 h 18391"/>
                    <a:gd name="connsiteX1" fmla="*/ 10871 w 18333"/>
                    <a:gd name="connsiteY1" fmla="*/ 18244 h 18391"/>
                    <a:gd name="connsiteX2" fmla="*/ 166 w 18333"/>
                    <a:gd name="connsiteY2" fmla="*/ 10888 h 18391"/>
                    <a:gd name="connsiteX3" fmla="*/ 7462 w 18333"/>
                    <a:gd name="connsiteY3" fmla="*/ 182 h 18391"/>
                    <a:gd name="connsiteX4" fmla="*/ 18168 w 18333"/>
                    <a:gd name="connsiteY4" fmla="*/ 7479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1">
                      <a:moveTo>
                        <a:pt x="18168" y="7479"/>
                      </a:moveTo>
                      <a:cubicBezTo>
                        <a:pt x="19124" y="12502"/>
                        <a:pt x="15835" y="17287"/>
                        <a:pt x="10871" y="18244"/>
                      </a:cubicBezTo>
                      <a:cubicBezTo>
                        <a:pt x="5907" y="19141"/>
                        <a:pt x="1122" y="15852"/>
                        <a:pt x="166" y="10888"/>
                      </a:cubicBezTo>
                      <a:cubicBezTo>
                        <a:pt x="-791" y="5864"/>
                        <a:pt x="2498" y="1079"/>
                        <a:pt x="7462" y="182"/>
                      </a:cubicBezTo>
                      <a:cubicBezTo>
                        <a:pt x="12426" y="-834"/>
                        <a:pt x="17211" y="2515"/>
                        <a:pt x="18168" y="7479"/>
                      </a:cubicBezTo>
                      <a:close/>
                    </a:path>
                  </a:pathLst>
                </a:custGeom>
                <a:grpFill/>
                <a:ln w="5978" cap="flat">
                  <a:noFill/>
                  <a:prstDash val="solid"/>
                  <a:miter/>
                </a:ln>
              </p:spPr>
              <p:txBody>
                <a:bodyPr rtlCol="0" anchor="ctr"/>
                <a:lstStyle/>
                <a:p>
                  <a:endParaRPr lang="en-GB"/>
                </a:p>
              </p:txBody>
            </p:sp>
            <p:sp>
              <p:nvSpPr>
                <p:cNvPr id="3199" name="Vrije vorm: vorm 3198">
                  <a:extLst>
                    <a:ext uri="{FF2B5EF4-FFF2-40B4-BE49-F238E27FC236}">
                      <a16:creationId xmlns:a16="http://schemas.microsoft.com/office/drawing/2014/main" id="{941B7B28-207A-4EE4-BC37-12A4D606C641}"/>
                    </a:ext>
                  </a:extLst>
                </p:cNvPr>
                <p:cNvSpPr/>
                <p:nvPr/>
              </p:nvSpPr>
              <p:spPr>
                <a:xfrm>
                  <a:off x="6360112" y="5077029"/>
                  <a:ext cx="18333" cy="18452"/>
                </a:xfrm>
                <a:custGeom>
                  <a:avLst/>
                  <a:gdLst>
                    <a:gd name="connsiteX0" fmla="*/ 18168 w 18333"/>
                    <a:gd name="connsiteY0" fmla="*/ 7522 h 18452"/>
                    <a:gd name="connsiteX1" fmla="*/ 7462 w 18333"/>
                    <a:gd name="connsiteY1" fmla="*/ 166 h 18452"/>
                    <a:gd name="connsiteX2" fmla="*/ 166 w 18333"/>
                    <a:gd name="connsiteY2" fmla="*/ 10931 h 18452"/>
                    <a:gd name="connsiteX3" fmla="*/ 10871 w 18333"/>
                    <a:gd name="connsiteY3" fmla="*/ 18287 h 18452"/>
                    <a:gd name="connsiteX4" fmla="*/ 18168 w 18333"/>
                    <a:gd name="connsiteY4" fmla="*/ 7522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168" y="7522"/>
                      </a:moveTo>
                      <a:cubicBezTo>
                        <a:pt x="17211" y="2498"/>
                        <a:pt x="12426" y="-792"/>
                        <a:pt x="7462" y="166"/>
                      </a:cubicBezTo>
                      <a:cubicBezTo>
                        <a:pt x="2498" y="1122"/>
                        <a:pt x="-791" y="5907"/>
                        <a:pt x="166" y="10931"/>
                      </a:cubicBezTo>
                      <a:cubicBezTo>
                        <a:pt x="1122" y="15954"/>
                        <a:pt x="5907" y="19244"/>
                        <a:pt x="10871" y="18287"/>
                      </a:cubicBezTo>
                      <a:cubicBezTo>
                        <a:pt x="15835" y="17330"/>
                        <a:pt x="19124" y="12545"/>
                        <a:pt x="18168" y="7522"/>
                      </a:cubicBezTo>
                      <a:close/>
                    </a:path>
                  </a:pathLst>
                </a:custGeom>
                <a:grpFill/>
                <a:ln w="5978" cap="flat">
                  <a:noFill/>
                  <a:prstDash val="solid"/>
                  <a:miter/>
                </a:ln>
              </p:spPr>
              <p:txBody>
                <a:bodyPr rtlCol="0" anchor="ctr"/>
                <a:lstStyle/>
                <a:p>
                  <a:endParaRPr lang="en-GB"/>
                </a:p>
              </p:txBody>
            </p:sp>
          </p:grpSp>
          <p:grpSp>
            <p:nvGrpSpPr>
              <p:cNvPr id="732" name="Graphic 3">
                <a:extLst>
                  <a:ext uri="{FF2B5EF4-FFF2-40B4-BE49-F238E27FC236}">
                    <a16:creationId xmlns:a16="http://schemas.microsoft.com/office/drawing/2014/main" id="{535CFEF5-F802-43C4-8CAA-2B5601FC3160}"/>
                  </a:ext>
                </a:extLst>
              </p:cNvPr>
              <p:cNvGrpSpPr/>
              <p:nvPr/>
            </p:nvGrpSpPr>
            <p:grpSpPr>
              <a:xfrm>
                <a:off x="6447586" y="5343568"/>
                <a:ext cx="73045" cy="282245"/>
                <a:chOff x="6447586" y="5343568"/>
                <a:chExt cx="73045" cy="282245"/>
              </a:xfrm>
              <a:grpFill/>
            </p:grpSpPr>
            <p:sp>
              <p:nvSpPr>
                <p:cNvPr id="3194" name="Vrije vorm: vorm 3193">
                  <a:extLst>
                    <a:ext uri="{FF2B5EF4-FFF2-40B4-BE49-F238E27FC236}">
                      <a16:creationId xmlns:a16="http://schemas.microsoft.com/office/drawing/2014/main" id="{6D47E876-845D-4A57-96D1-B1F5BA8FB374}"/>
                    </a:ext>
                  </a:extLst>
                </p:cNvPr>
                <p:cNvSpPr/>
                <p:nvPr/>
              </p:nvSpPr>
              <p:spPr>
                <a:xfrm>
                  <a:off x="6455132" y="5352008"/>
                  <a:ext cx="57893" cy="265364"/>
                </a:xfrm>
                <a:custGeom>
                  <a:avLst/>
                  <a:gdLst>
                    <a:gd name="connsiteX0" fmla="*/ 2990 w 57893"/>
                    <a:gd name="connsiteY0" fmla="*/ 0 h 265364"/>
                    <a:gd name="connsiteX1" fmla="*/ 57893 w 57893"/>
                    <a:gd name="connsiteY1" fmla="*/ 264767 h 265364"/>
                    <a:gd name="connsiteX2" fmla="*/ 54903 w 57893"/>
                    <a:gd name="connsiteY2" fmla="*/ 265365 h 265364"/>
                    <a:gd name="connsiteX3" fmla="*/ 0 w 57893"/>
                    <a:gd name="connsiteY3" fmla="*/ 658 h 265364"/>
                  </a:gdLst>
                  <a:ahLst/>
                  <a:cxnLst>
                    <a:cxn ang="0">
                      <a:pos x="connsiteX0" y="connsiteY0"/>
                    </a:cxn>
                    <a:cxn ang="0">
                      <a:pos x="connsiteX1" y="connsiteY1"/>
                    </a:cxn>
                    <a:cxn ang="0">
                      <a:pos x="connsiteX2" y="connsiteY2"/>
                    </a:cxn>
                    <a:cxn ang="0">
                      <a:pos x="connsiteX3" y="connsiteY3"/>
                    </a:cxn>
                  </a:cxnLst>
                  <a:rect l="l" t="t" r="r" b="b"/>
                  <a:pathLst>
                    <a:path w="57893" h="265364">
                      <a:moveTo>
                        <a:pt x="2990" y="0"/>
                      </a:moveTo>
                      <a:lnTo>
                        <a:pt x="57893" y="264767"/>
                      </a:lnTo>
                      <a:lnTo>
                        <a:pt x="54903" y="265365"/>
                      </a:lnTo>
                      <a:lnTo>
                        <a:pt x="0" y="658"/>
                      </a:lnTo>
                      <a:close/>
                    </a:path>
                  </a:pathLst>
                </a:custGeom>
                <a:grpFill/>
                <a:ln w="5978" cap="flat">
                  <a:noFill/>
                  <a:prstDash val="solid"/>
                  <a:miter/>
                </a:ln>
              </p:spPr>
              <p:txBody>
                <a:bodyPr rtlCol="0" anchor="ctr"/>
                <a:lstStyle/>
                <a:p>
                  <a:endParaRPr lang="en-GB"/>
                </a:p>
              </p:txBody>
            </p:sp>
            <p:sp>
              <p:nvSpPr>
                <p:cNvPr id="3195" name="Vrije vorm: vorm 3194">
                  <a:extLst>
                    <a:ext uri="{FF2B5EF4-FFF2-40B4-BE49-F238E27FC236}">
                      <a16:creationId xmlns:a16="http://schemas.microsoft.com/office/drawing/2014/main" id="{B9BD7768-0C17-461F-A0BD-1E998E838D20}"/>
                    </a:ext>
                  </a:extLst>
                </p:cNvPr>
                <p:cNvSpPr/>
                <p:nvPr/>
              </p:nvSpPr>
              <p:spPr>
                <a:xfrm>
                  <a:off x="6502310" y="5607377"/>
                  <a:ext cx="18321" cy="18435"/>
                </a:xfrm>
                <a:custGeom>
                  <a:avLst/>
                  <a:gdLst>
                    <a:gd name="connsiteX0" fmla="*/ 18132 w 18321"/>
                    <a:gd name="connsiteY0" fmla="*/ 7364 h 18435"/>
                    <a:gd name="connsiteX1" fmla="*/ 11015 w 18321"/>
                    <a:gd name="connsiteY1" fmla="*/ 18249 h 18435"/>
                    <a:gd name="connsiteX2" fmla="*/ 190 w 18321"/>
                    <a:gd name="connsiteY2" fmla="*/ 11072 h 18435"/>
                    <a:gd name="connsiteX3" fmla="*/ 7307 w 18321"/>
                    <a:gd name="connsiteY3" fmla="*/ 187 h 18435"/>
                    <a:gd name="connsiteX4" fmla="*/ 18132 w 18321"/>
                    <a:gd name="connsiteY4" fmla="*/ 736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5">
                      <a:moveTo>
                        <a:pt x="18132" y="7364"/>
                      </a:moveTo>
                      <a:cubicBezTo>
                        <a:pt x="19149" y="12328"/>
                        <a:pt x="15979" y="17232"/>
                        <a:pt x="11015" y="18249"/>
                      </a:cubicBezTo>
                      <a:cubicBezTo>
                        <a:pt x="6051" y="19266"/>
                        <a:pt x="1207" y="16036"/>
                        <a:pt x="190" y="11072"/>
                      </a:cubicBezTo>
                      <a:cubicBezTo>
                        <a:pt x="-827" y="6108"/>
                        <a:pt x="2343" y="1204"/>
                        <a:pt x="7307" y="187"/>
                      </a:cubicBezTo>
                      <a:cubicBezTo>
                        <a:pt x="12211" y="-830"/>
                        <a:pt x="17055" y="2400"/>
                        <a:pt x="18132" y="7364"/>
                      </a:cubicBezTo>
                      <a:close/>
                    </a:path>
                  </a:pathLst>
                </a:custGeom>
                <a:grpFill/>
                <a:ln w="5978" cap="flat">
                  <a:noFill/>
                  <a:prstDash val="solid"/>
                  <a:miter/>
                </a:ln>
              </p:spPr>
              <p:txBody>
                <a:bodyPr rtlCol="0" anchor="ctr"/>
                <a:lstStyle/>
                <a:p>
                  <a:endParaRPr lang="en-GB"/>
                </a:p>
              </p:txBody>
            </p:sp>
            <p:sp>
              <p:nvSpPr>
                <p:cNvPr id="3196" name="Vrije vorm: vorm 3195">
                  <a:extLst>
                    <a:ext uri="{FF2B5EF4-FFF2-40B4-BE49-F238E27FC236}">
                      <a16:creationId xmlns:a16="http://schemas.microsoft.com/office/drawing/2014/main" id="{0202CEAE-2479-4EC6-B6C5-2BB432DA936E}"/>
                    </a:ext>
                  </a:extLst>
                </p:cNvPr>
                <p:cNvSpPr/>
                <p:nvPr/>
              </p:nvSpPr>
              <p:spPr>
                <a:xfrm>
                  <a:off x="6447586" y="5343568"/>
                  <a:ext cx="18321" cy="18436"/>
                </a:xfrm>
                <a:custGeom>
                  <a:avLst/>
                  <a:gdLst>
                    <a:gd name="connsiteX0" fmla="*/ 18132 w 18321"/>
                    <a:gd name="connsiteY0" fmla="*/ 7364 h 18436"/>
                    <a:gd name="connsiteX1" fmla="*/ 7307 w 18321"/>
                    <a:gd name="connsiteY1" fmla="*/ 187 h 18436"/>
                    <a:gd name="connsiteX2" fmla="*/ 190 w 18321"/>
                    <a:gd name="connsiteY2" fmla="*/ 11072 h 18436"/>
                    <a:gd name="connsiteX3" fmla="*/ 11015 w 18321"/>
                    <a:gd name="connsiteY3" fmla="*/ 18249 h 18436"/>
                    <a:gd name="connsiteX4" fmla="*/ 18132 w 18321"/>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8132" y="7364"/>
                      </a:moveTo>
                      <a:cubicBezTo>
                        <a:pt x="17115" y="2400"/>
                        <a:pt x="12271" y="-830"/>
                        <a:pt x="7307" y="187"/>
                      </a:cubicBezTo>
                      <a:cubicBezTo>
                        <a:pt x="2343" y="1204"/>
                        <a:pt x="-827" y="6048"/>
                        <a:pt x="190" y="11072"/>
                      </a:cubicBezTo>
                      <a:cubicBezTo>
                        <a:pt x="1206" y="16036"/>
                        <a:pt x="6051" y="19266"/>
                        <a:pt x="11015" y="18249"/>
                      </a:cubicBezTo>
                      <a:cubicBezTo>
                        <a:pt x="15979" y="17232"/>
                        <a:pt x="19149" y="12388"/>
                        <a:pt x="18132" y="7364"/>
                      </a:cubicBezTo>
                      <a:close/>
                    </a:path>
                  </a:pathLst>
                </a:custGeom>
                <a:grpFill/>
                <a:ln w="5978" cap="flat">
                  <a:noFill/>
                  <a:prstDash val="solid"/>
                  <a:miter/>
                </a:ln>
              </p:spPr>
              <p:txBody>
                <a:bodyPr rtlCol="0" anchor="ctr"/>
                <a:lstStyle/>
                <a:p>
                  <a:endParaRPr lang="en-GB"/>
                </a:p>
              </p:txBody>
            </p:sp>
          </p:grpSp>
          <p:grpSp>
            <p:nvGrpSpPr>
              <p:cNvPr id="733" name="Graphic 3">
                <a:extLst>
                  <a:ext uri="{FF2B5EF4-FFF2-40B4-BE49-F238E27FC236}">
                    <a16:creationId xmlns:a16="http://schemas.microsoft.com/office/drawing/2014/main" id="{DEAA552E-E2F6-4AF2-882E-B6BAF8E54888}"/>
                  </a:ext>
                </a:extLst>
              </p:cNvPr>
              <p:cNvGrpSpPr/>
              <p:nvPr/>
            </p:nvGrpSpPr>
            <p:grpSpPr>
              <a:xfrm>
                <a:off x="5128741" y="1532920"/>
                <a:ext cx="155532" cy="367712"/>
                <a:chOff x="5128741" y="1532920"/>
                <a:chExt cx="155532" cy="367712"/>
              </a:xfrm>
              <a:grpFill/>
            </p:grpSpPr>
            <p:sp>
              <p:nvSpPr>
                <p:cNvPr id="3191" name="Vrije vorm: vorm 3190">
                  <a:extLst>
                    <a:ext uri="{FF2B5EF4-FFF2-40B4-BE49-F238E27FC236}">
                      <a16:creationId xmlns:a16="http://schemas.microsoft.com/office/drawing/2014/main" id="{ED977C75-8AEA-4984-B52D-B53141FB8C9F}"/>
                    </a:ext>
                  </a:extLst>
                </p:cNvPr>
                <p:cNvSpPr/>
                <p:nvPr/>
              </p:nvSpPr>
              <p:spPr>
                <a:xfrm>
                  <a:off x="5136323" y="1541152"/>
                  <a:ext cx="140367" cy="351247"/>
                </a:xfrm>
                <a:custGeom>
                  <a:avLst/>
                  <a:gdLst>
                    <a:gd name="connsiteX0" fmla="*/ 140368 w 140367"/>
                    <a:gd name="connsiteY0" fmla="*/ 350111 h 351247"/>
                    <a:gd name="connsiteX1" fmla="*/ 137557 w 140367"/>
                    <a:gd name="connsiteY1" fmla="*/ 351248 h 351247"/>
                    <a:gd name="connsiteX2" fmla="*/ 0 w 140367"/>
                    <a:gd name="connsiteY2" fmla="*/ 1077 h 351247"/>
                    <a:gd name="connsiteX3" fmla="*/ 2811 w 140367"/>
                    <a:gd name="connsiteY3" fmla="*/ 0 h 351247"/>
                  </a:gdLst>
                  <a:ahLst/>
                  <a:cxnLst>
                    <a:cxn ang="0">
                      <a:pos x="connsiteX0" y="connsiteY0"/>
                    </a:cxn>
                    <a:cxn ang="0">
                      <a:pos x="connsiteX1" y="connsiteY1"/>
                    </a:cxn>
                    <a:cxn ang="0">
                      <a:pos x="connsiteX2" y="connsiteY2"/>
                    </a:cxn>
                    <a:cxn ang="0">
                      <a:pos x="connsiteX3" y="connsiteY3"/>
                    </a:cxn>
                  </a:cxnLst>
                  <a:rect l="l" t="t" r="r" b="b"/>
                  <a:pathLst>
                    <a:path w="140367" h="351247">
                      <a:moveTo>
                        <a:pt x="140368" y="350111"/>
                      </a:moveTo>
                      <a:lnTo>
                        <a:pt x="137557" y="351248"/>
                      </a:lnTo>
                      <a:lnTo>
                        <a:pt x="0" y="1077"/>
                      </a:lnTo>
                      <a:lnTo>
                        <a:pt x="2811" y="0"/>
                      </a:lnTo>
                      <a:close/>
                    </a:path>
                  </a:pathLst>
                </a:custGeom>
                <a:grpFill/>
                <a:ln w="5978" cap="flat">
                  <a:noFill/>
                  <a:prstDash val="solid"/>
                  <a:miter/>
                </a:ln>
              </p:spPr>
              <p:txBody>
                <a:bodyPr rtlCol="0" anchor="ctr"/>
                <a:lstStyle/>
                <a:p>
                  <a:endParaRPr lang="en-GB"/>
                </a:p>
              </p:txBody>
            </p:sp>
            <p:sp>
              <p:nvSpPr>
                <p:cNvPr id="3192" name="Vrije vorm: vorm 3191">
                  <a:extLst>
                    <a:ext uri="{FF2B5EF4-FFF2-40B4-BE49-F238E27FC236}">
                      <a16:creationId xmlns:a16="http://schemas.microsoft.com/office/drawing/2014/main" id="{AA9F312D-0DDE-4487-84CC-2AD513D19C13}"/>
                    </a:ext>
                  </a:extLst>
                </p:cNvPr>
                <p:cNvSpPr/>
                <p:nvPr/>
              </p:nvSpPr>
              <p:spPr>
                <a:xfrm>
                  <a:off x="5265938" y="1882194"/>
                  <a:ext cx="18335" cy="18438"/>
                </a:xfrm>
                <a:custGeom>
                  <a:avLst/>
                  <a:gdLst>
                    <a:gd name="connsiteX0" fmla="*/ 17690 w 18335"/>
                    <a:gd name="connsiteY0" fmla="*/ 5840 h 18438"/>
                    <a:gd name="connsiteX1" fmla="*/ 12547 w 18335"/>
                    <a:gd name="connsiteY1" fmla="*/ 17801 h 18438"/>
                    <a:gd name="connsiteX2" fmla="*/ 645 w 18335"/>
                    <a:gd name="connsiteY2" fmla="*/ 12598 h 18438"/>
                    <a:gd name="connsiteX3" fmla="*/ 5788 w 18335"/>
                    <a:gd name="connsiteY3" fmla="*/ 637 h 18438"/>
                    <a:gd name="connsiteX4" fmla="*/ 17690 w 18335"/>
                    <a:gd name="connsiteY4" fmla="*/ 5840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7690" y="5840"/>
                      </a:moveTo>
                      <a:cubicBezTo>
                        <a:pt x="19544" y="10565"/>
                        <a:pt x="17271" y="15947"/>
                        <a:pt x="12547" y="17801"/>
                      </a:cubicBezTo>
                      <a:cubicBezTo>
                        <a:pt x="7822" y="19656"/>
                        <a:pt x="2499" y="17323"/>
                        <a:pt x="645" y="12598"/>
                      </a:cubicBezTo>
                      <a:cubicBezTo>
                        <a:pt x="-1209" y="7874"/>
                        <a:pt x="1064" y="2491"/>
                        <a:pt x="5788" y="637"/>
                      </a:cubicBezTo>
                      <a:cubicBezTo>
                        <a:pt x="10513" y="-1217"/>
                        <a:pt x="15836" y="1115"/>
                        <a:pt x="17690" y="5840"/>
                      </a:cubicBezTo>
                      <a:close/>
                    </a:path>
                  </a:pathLst>
                </a:custGeom>
                <a:grpFill/>
                <a:ln w="5978" cap="flat">
                  <a:noFill/>
                  <a:prstDash val="solid"/>
                  <a:miter/>
                </a:ln>
              </p:spPr>
              <p:txBody>
                <a:bodyPr rtlCol="0" anchor="ctr"/>
                <a:lstStyle/>
                <a:p>
                  <a:endParaRPr lang="en-GB"/>
                </a:p>
              </p:txBody>
            </p:sp>
            <p:sp>
              <p:nvSpPr>
                <p:cNvPr id="3193" name="Vrije vorm: vorm 3192">
                  <a:extLst>
                    <a:ext uri="{FF2B5EF4-FFF2-40B4-BE49-F238E27FC236}">
                      <a16:creationId xmlns:a16="http://schemas.microsoft.com/office/drawing/2014/main" id="{CF37753D-F38F-4F34-8263-72509FE23A9C}"/>
                    </a:ext>
                  </a:extLst>
                </p:cNvPr>
                <p:cNvSpPr/>
                <p:nvPr/>
              </p:nvSpPr>
              <p:spPr>
                <a:xfrm>
                  <a:off x="5128741" y="1532920"/>
                  <a:ext cx="18327" cy="18445"/>
                </a:xfrm>
                <a:custGeom>
                  <a:avLst/>
                  <a:gdLst>
                    <a:gd name="connsiteX0" fmla="*/ 17690 w 18327"/>
                    <a:gd name="connsiteY0" fmla="*/ 5840 h 18445"/>
                    <a:gd name="connsiteX1" fmla="*/ 5788 w 18327"/>
                    <a:gd name="connsiteY1" fmla="*/ 637 h 18445"/>
                    <a:gd name="connsiteX2" fmla="*/ 645 w 18327"/>
                    <a:gd name="connsiteY2" fmla="*/ 12598 h 18445"/>
                    <a:gd name="connsiteX3" fmla="*/ 12547 w 18327"/>
                    <a:gd name="connsiteY3" fmla="*/ 17801 h 18445"/>
                    <a:gd name="connsiteX4" fmla="*/ 17690 w 18327"/>
                    <a:gd name="connsiteY4" fmla="*/ 584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5">
                      <a:moveTo>
                        <a:pt x="17690" y="5840"/>
                      </a:moveTo>
                      <a:cubicBezTo>
                        <a:pt x="15836" y="1115"/>
                        <a:pt x="10513" y="-1217"/>
                        <a:pt x="5788" y="637"/>
                      </a:cubicBezTo>
                      <a:cubicBezTo>
                        <a:pt x="1064" y="2491"/>
                        <a:pt x="-1209" y="7814"/>
                        <a:pt x="645" y="12598"/>
                      </a:cubicBezTo>
                      <a:cubicBezTo>
                        <a:pt x="2499" y="17383"/>
                        <a:pt x="7822" y="19655"/>
                        <a:pt x="12547" y="17801"/>
                      </a:cubicBezTo>
                      <a:cubicBezTo>
                        <a:pt x="17211" y="15947"/>
                        <a:pt x="19544" y="10565"/>
                        <a:pt x="17690" y="5840"/>
                      </a:cubicBezTo>
                      <a:close/>
                    </a:path>
                  </a:pathLst>
                </a:custGeom>
                <a:grpFill/>
                <a:ln w="5978" cap="flat">
                  <a:noFill/>
                  <a:prstDash val="solid"/>
                  <a:miter/>
                </a:ln>
              </p:spPr>
              <p:txBody>
                <a:bodyPr rtlCol="0" anchor="ctr"/>
                <a:lstStyle/>
                <a:p>
                  <a:endParaRPr lang="en-GB"/>
                </a:p>
              </p:txBody>
            </p:sp>
          </p:grpSp>
          <p:grpSp>
            <p:nvGrpSpPr>
              <p:cNvPr id="734" name="Graphic 3">
                <a:extLst>
                  <a:ext uri="{FF2B5EF4-FFF2-40B4-BE49-F238E27FC236}">
                    <a16:creationId xmlns:a16="http://schemas.microsoft.com/office/drawing/2014/main" id="{57269C1D-90A1-4440-A1F0-72D68130A714}"/>
                  </a:ext>
                </a:extLst>
              </p:cNvPr>
              <p:cNvGrpSpPr/>
              <p:nvPr/>
            </p:nvGrpSpPr>
            <p:grpSpPr>
              <a:xfrm>
                <a:off x="6599389" y="5847059"/>
                <a:ext cx="36654" cy="99544"/>
                <a:chOff x="6599389" y="5847059"/>
                <a:chExt cx="36654" cy="99544"/>
              </a:xfrm>
              <a:grpFill/>
            </p:grpSpPr>
            <p:sp>
              <p:nvSpPr>
                <p:cNvPr id="3188" name="Vrije vorm: vorm 3187">
                  <a:extLst>
                    <a:ext uri="{FF2B5EF4-FFF2-40B4-BE49-F238E27FC236}">
                      <a16:creationId xmlns:a16="http://schemas.microsoft.com/office/drawing/2014/main" id="{42630B1A-C95E-4E21-8DED-5E89427A40AA}"/>
                    </a:ext>
                  </a:extLst>
                </p:cNvPr>
                <p:cNvSpPr/>
                <p:nvPr/>
              </p:nvSpPr>
              <p:spPr>
                <a:xfrm>
                  <a:off x="6606923" y="5855525"/>
                  <a:ext cx="21530" cy="82653"/>
                </a:xfrm>
                <a:custGeom>
                  <a:avLst/>
                  <a:gdLst>
                    <a:gd name="connsiteX0" fmla="*/ 2930 w 21530"/>
                    <a:gd name="connsiteY0" fmla="*/ 0 h 82653"/>
                    <a:gd name="connsiteX1" fmla="*/ 21530 w 21530"/>
                    <a:gd name="connsiteY1" fmla="*/ 81936 h 82653"/>
                    <a:gd name="connsiteX2" fmla="*/ 18600 w 21530"/>
                    <a:gd name="connsiteY2" fmla="*/ 82654 h 82653"/>
                    <a:gd name="connsiteX3" fmla="*/ 0 w 21530"/>
                    <a:gd name="connsiteY3" fmla="*/ 658 h 82653"/>
                  </a:gdLst>
                  <a:ahLst/>
                  <a:cxnLst>
                    <a:cxn ang="0">
                      <a:pos x="connsiteX0" y="connsiteY0"/>
                    </a:cxn>
                    <a:cxn ang="0">
                      <a:pos x="connsiteX1" y="connsiteY1"/>
                    </a:cxn>
                    <a:cxn ang="0">
                      <a:pos x="connsiteX2" y="connsiteY2"/>
                    </a:cxn>
                    <a:cxn ang="0">
                      <a:pos x="connsiteX3" y="connsiteY3"/>
                    </a:cxn>
                  </a:cxnLst>
                  <a:rect l="l" t="t" r="r" b="b"/>
                  <a:pathLst>
                    <a:path w="21530" h="82653">
                      <a:moveTo>
                        <a:pt x="2930" y="0"/>
                      </a:moveTo>
                      <a:lnTo>
                        <a:pt x="21530" y="81936"/>
                      </a:lnTo>
                      <a:lnTo>
                        <a:pt x="18600" y="82654"/>
                      </a:lnTo>
                      <a:lnTo>
                        <a:pt x="0" y="658"/>
                      </a:lnTo>
                      <a:close/>
                    </a:path>
                  </a:pathLst>
                </a:custGeom>
                <a:grpFill/>
                <a:ln w="5978" cap="flat">
                  <a:noFill/>
                  <a:prstDash val="solid"/>
                  <a:miter/>
                </a:ln>
              </p:spPr>
              <p:txBody>
                <a:bodyPr rtlCol="0" anchor="ctr"/>
                <a:lstStyle/>
                <a:p>
                  <a:endParaRPr lang="en-GB"/>
                </a:p>
              </p:txBody>
            </p:sp>
            <p:sp>
              <p:nvSpPr>
                <p:cNvPr id="3189" name="Vrije vorm: vorm 3188">
                  <a:extLst>
                    <a:ext uri="{FF2B5EF4-FFF2-40B4-BE49-F238E27FC236}">
                      <a16:creationId xmlns:a16="http://schemas.microsoft.com/office/drawing/2014/main" id="{F726D31B-405A-4265-B736-D3EB13C1B6A8}"/>
                    </a:ext>
                  </a:extLst>
                </p:cNvPr>
                <p:cNvSpPr/>
                <p:nvPr/>
              </p:nvSpPr>
              <p:spPr>
                <a:xfrm>
                  <a:off x="6617753" y="5928157"/>
                  <a:ext cx="18291" cy="18445"/>
                </a:xfrm>
                <a:custGeom>
                  <a:avLst/>
                  <a:gdLst>
                    <a:gd name="connsiteX0" fmla="*/ 18057 w 18291"/>
                    <a:gd name="connsiteY0" fmla="*/ 7211 h 18445"/>
                    <a:gd name="connsiteX1" fmla="*/ 11179 w 18291"/>
                    <a:gd name="connsiteY1" fmla="*/ 18215 h 18445"/>
                    <a:gd name="connsiteX2" fmla="*/ 234 w 18291"/>
                    <a:gd name="connsiteY2" fmla="*/ 11218 h 18445"/>
                    <a:gd name="connsiteX3" fmla="*/ 7112 w 18291"/>
                    <a:gd name="connsiteY3" fmla="*/ 213 h 18445"/>
                    <a:gd name="connsiteX4" fmla="*/ 18057 w 18291"/>
                    <a:gd name="connsiteY4" fmla="*/ 721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8057" y="7211"/>
                      </a:moveTo>
                      <a:cubicBezTo>
                        <a:pt x="19193" y="12174"/>
                        <a:pt x="16083" y="17079"/>
                        <a:pt x="11179" y="18215"/>
                      </a:cubicBezTo>
                      <a:cubicBezTo>
                        <a:pt x="6275" y="19351"/>
                        <a:pt x="1311" y="16182"/>
                        <a:pt x="234" y="11218"/>
                      </a:cubicBezTo>
                      <a:cubicBezTo>
                        <a:pt x="-902" y="6253"/>
                        <a:pt x="2208" y="1349"/>
                        <a:pt x="7112" y="213"/>
                      </a:cubicBezTo>
                      <a:cubicBezTo>
                        <a:pt x="12017" y="-864"/>
                        <a:pt x="16921" y="2246"/>
                        <a:pt x="18057" y="7211"/>
                      </a:cubicBezTo>
                      <a:close/>
                    </a:path>
                  </a:pathLst>
                </a:custGeom>
                <a:grpFill/>
                <a:ln w="5978" cap="flat">
                  <a:noFill/>
                  <a:prstDash val="solid"/>
                  <a:miter/>
                </a:ln>
              </p:spPr>
              <p:txBody>
                <a:bodyPr rtlCol="0" anchor="ctr"/>
                <a:lstStyle/>
                <a:p>
                  <a:endParaRPr lang="en-GB"/>
                </a:p>
              </p:txBody>
            </p:sp>
            <p:sp>
              <p:nvSpPr>
                <p:cNvPr id="3190" name="Vrije vorm: vorm 3189">
                  <a:extLst>
                    <a:ext uri="{FF2B5EF4-FFF2-40B4-BE49-F238E27FC236}">
                      <a16:creationId xmlns:a16="http://schemas.microsoft.com/office/drawing/2014/main" id="{918BC363-2FFD-401B-ADFB-CC1178FFB2FA}"/>
                    </a:ext>
                  </a:extLst>
                </p:cNvPr>
                <p:cNvSpPr/>
                <p:nvPr/>
              </p:nvSpPr>
              <p:spPr>
                <a:xfrm>
                  <a:off x="6599389" y="5847059"/>
                  <a:ext cx="18294" cy="18427"/>
                </a:xfrm>
                <a:custGeom>
                  <a:avLst/>
                  <a:gdLst>
                    <a:gd name="connsiteX0" fmla="*/ 18060 w 18294"/>
                    <a:gd name="connsiteY0" fmla="*/ 7211 h 18427"/>
                    <a:gd name="connsiteX1" fmla="*/ 7115 w 18294"/>
                    <a:gd name="connsiteY1" fmla="*/ 213 h 18427"/>
                    <a:gd name="connsiteX2" fmla="*/ 237 w 18294"/>
                    <a:gd name="connsiteY2" fmla="*/ 11218 h 18427"/>
                    <a:gd name="connsiteX3" fmla="*/ 11242 w 18294"/>
                    <a:gd name="connsiteY3" fmla="*/ 18215 h 18427"/>
                    <a:gd name="connsiteX4" fmla="*/ 18060 w 18294"/>
                    <a:gd name="connsiteY4" fmla="*/ 7211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7">
                      <a:moveTo>
                        <a:pt x="18060" y="7211"/>
                      </a:moveTo>
                      <a:cubicBezTo>
                        <a:pt x="16923" y="2246"/>
                        <a:pt x="12019" y="-864"/>
                        <a:pt x="7115" y="213"/>
                      </a:cubicBezTo>
                      <a:cubicBezTo>
                        <a:pt x="2151" y="1349"/>
                        <a:pt x="-899" y="6253"/>
                        <a:pt x="237" y="11218"/>
                      </a:cubicBezTo>
                      <a:cubicBezTo>
                        <a:pt x="1373" y="16182"/>
                        <a:pt x="6278" y="19291"/>
                        <a:pt x="11242" y="18215"/>
                      </a:cubicBezTo>
                      <a:cubicBezTo>
                        <a:pt x="16086" y="17138"/>
                        <a:pt x="19196" y="12174"/>
                        <a:pt x="18060" y="7211"/>
                      </a:cubicBezTo>
                      <a:close/>
                    </a:path>
                  </a:pathLst>
                </a:custGeom>
                <a:grpFill/>
                <a:ln w="5978" cap="flat">
                  <a:noFill/>
                  <a:prstDash val="solid"/>
                  <a:miter/>
                </a:ln>
              </p:spPr>
              <p:txBody>
                <a:bodyPr rtlCol="0" anchor="ctr"/>
                <a:lstStyle/>
                <a:p>
                  <a:endParaRPr lang="en-GB"/>
                </a:p>
              </p:txBody>
            </p:sp>
          </p:grpSp>
          <p:grpSp>
            <p:nvGrpSpPr>
              <p:cNvPr id="735" name="Graphic 3">
                <a:extLst>
                  <a:ext uri="{FF2B5EF4-FFF2-40B4-BE49-F238E27FC236}">
                    <a16:creationId xmlns:a16="http://schemas.microsoft.com/office/drawing/2014/main" id="{6E4B5E28-683E-4472-BE1F-3BFF721E56BC}"/>
                  </a:ext>
                </a:extLst>
              </p:cNvPr>
              <p:cNvGrpSpPr/>
              <p:nvPr/>
            </p:nvGrpSpPr>
            <p:grpSpPr>
              <a:xfrm>
                <a:off x="6390268" y="5070463"/>
                <a:ext cx="108079" cy="659785"/>
                <a:chOff x="6390268" y="5070463"/>
                <a:chExt cx="108079" cy="659785"/>
              </a:xfrm>
              <a:grpFill/>
            </p:grpSpPr>
            <p:sp>
              <p:nvSpPr>
                <p:cNvPr id="3185" name="Vrije vorm: vorm 3184">
                  <a:extLst>
                    <a:ext uri="{FF2B5EF4-FFF2-40B4-BE49-F238E27FC236}">
                      <a16:creationId xmlns:a16="http://schemas.microsoft.com/office/drawing/2014/main" id="{8468A783-53BA-43A1-B215-E0B159657B4B}"/>
                    </a:ext>
                  </a:extLst>
                </p:cNvPr>
                <p:cNvSpPr/>
                <p:nvPr/>
              </p:nvSpPr>
              <p:spPr>
                <a:xfrm>
                  <a:off x="6397837" y="5078988"/>
                  <a:ext cx="92940" cy="642688"/>
                </a:xfrm>
                <a:custGeom>
                  <a:avLst/>
                  <a:gdLst>
                    <a:gd name="connsiteX0" fmla="*/ 3050 w 92940"/>
                    <a:gd name="connsiteY0" fmla="*/ 0 h 642688"/>
                    <a:gd name="connsiteX1" fmla="*/ 92941 w 92940"/>
                    <a:gd name="connsiteY1" fmla="*/ 642269 h 642688"/>
                    <a:gd name="connsiteX2" fmla="*/ 89890 w 92940"/>
                    <a:gd name="connsiteY2" fmla="*/ 642688 h 642688"/>
                    <a:gd name="connsiteX3" fmla="*/ 0 w 92940"/>
                    <a:gd name="connsiteY3" fmla="*/ 419 h 642688"/>
                  </a:gdLst>
                  <a:ahLst/>
                  <a:cxnLst>
                    <a:cxn ang="0">
                      <a:pos x="connsiteX0" y="connsiteY0"/>
                    </a:cxn>
                    <a:cxn ang="0">
                      <a:pos x="connsiteX1" y="connsiteY1"/>
                    </a:cxn>
                    <a:cxn ang="0">
                      <a:pos x="connsiteX2" y="connsiteY2"/>
                    </a:cxn>
                    <a:cxn ang="0">
                      <a:pos x="connsiteX3" y="connsiteY3"/>
                    </a:cxn>
                  </a:cxnLst>
                  <a:rect l="l" t="t" r="r" b="b"/>
                  <a:pathLst>
                    <a:path w="92940" h="642688">
                      <a:moveTo>
                        <a:pt x="3050" y="0"/>
                      </a:moveTo>
                      <a:lnTo>
                        <a:pt x="92941" y="642269"/>
                      </a:lnTo>
                      <a:lnTo>
                        <a:pt x="89890" y="642688"/>
                      </a:lnTo>
                      <a:lnTo>
                        <a:pt x="0" y="419"/>
                      </a:lnTo>
                      <a:close/>
                    </a:path>
                  </a:pathLst>
                </a:custGeom>
                <a:grpFill/>
                <a:ln w="5978" cap="flat">
                  <a:noFill/>
                  <a:prstDash val="solid"/>
                  <a:miter/>
                </a:ln>
              </p:spPr>
              <p:txBody>
                <a:bodyPr rtlCol="0" anchor="ctr"/>
                <a:lstStyle/>
                <a:p>
                  <a:endParaRPr lang="en-GB"/>
                </a:p>
              </p:txBody>
            </p:sp>
            <p:sp>
              <p:nvSpPr>
                <p:cNvPr id="3186" name="Vrije vorm: vorm 3185">
                  <a:extLst>
                    <a:ext uri="{FF2B5EF4-FFF2-40B4-BE49-F238E27FC236}">
                      <a16:creationId xmlns:a16="http://schemas.microsoft.com/office/drawing/2014/main" id="{2639B442-4D8F-4976-AF74-984D73F1030F}"/>
                    </a:ext>
                  </a:extLst>
                </p:cNvPr>
                <p:cNvSpPr/>
                <p:nvPr/>
              </p:nvSpPr>
              <p:spPr>
                <a:xfrm>
                  <a:off x="6390268" y="5070463"/>
                  <a:ext cx="18307" cy="18412"/>
                </a:xfrm>
                <a:custGeom>
                  <a:avLst/>
                  <a:gdLst>
                    <a:gd name="connsiteX0" fmla="*/ 93 w 18307"/>
                    <a:gd name="connsiteY0" fmla="*/ 10440 h 18412"/>
                    <a:gd name="connsiteX1" fmla="*/ 7868 w 18307"/>
                    <a:gd name="connsiteY1" fmla="*/ 93 h 18412"/>
                    <a:gd name="connsiteX2" fmla="*/ 18215 w 18307"/>
                    <a:gd name="connsiteY2" fmla="*/ 7987 h 18412"/>
                    <a:gd name="connsiteX3" fmla="*/ 10440 w 18307"/>
                    <a:gd name="connsiteY3" fmla="*/ 18334 h 18412"/>
                    <a:gd name="connsiteX4" fmla="*/ 93 w 18307"/>
                    <a:gd name="connsiteY4" fmla="*/ 10440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12">
                      <a:moveTo>
                        <a:pt x="93" y="10440"/>
                      </a:moveTo>
                      <a:cubicBezTo>
                        <a:pt x="-625" y="5416"/>
                        <a:pt x="2904" y="751"/>
                        <a:pt x="7868" y="93"/>
                      </a:cubicBezTo>
                      <a:cubicBezTo>
                        <a:pt x="12892" y="-625"/>
                        <a:pt x="17497" y="2904"/>
                        <a:pt x="18215" y="7987"/>
                      </a:cubicBezTo>
                      <a:cubicBezTo>
                        <a:pt x="18932" y="13011"/>
                        <a:pt x="15403" y="17676"/>
                        <a:pt x="10440" y="18334"/>
                      </a:cubicBezTo>
                      <a:cubicBezTo>
                        <a:pt x="5416" y="18992"/>
                        <a:pt x="810" y="15463"/>
                        <a:pt x="93" y="10440"/>
                      </a:cubicBezTo>
                      <a:close/>
                    </a:path>
                  </a:pathLst>
                </a:custGeom>
                <a:grpFill/>
                <a:ln w="5978" cap="flat">
                  <a:noFill/>
                  <a:prstDash val="solid"/>
                  <a:miter/>
                </a:ln>
              </p:spPr>
              <p:txBody>
                <a:bodyPr rtlCol="0" anchor="ctr"/>
                <a:lstStyle/>
                <a:p>
                  <a:endParaRPr lang="en-GB"/>
                </a:p>
              </p:txBody>
            </p:sp>
            <p:sp>
              <p:nvSpPr>
                <p:cNvPr id="3187" name="Vrije vorm: vorm 3186">
                  <a:extLst>
                    <a:ext uri="{FF2B5EF4-FFF2-40B4-BE49-F238E27FC236}">
                      <a16:creationId xmlns:a16="http://schemas.microsoft.com/office/drawing/2014/main" id="{B1B6A92A-EDC5-4732-A878-06BCB6904B02}"/>
                    </a:ext>
                  </a:extLst>
                </p:cNvPr>
                <p:cNvSpPr/>
                <p:nvPr/>
              </p:nvSpPr>
              <p:spPr>
                <a:xfrm>
                  <a:off x="6480038" y="5711849"/>
                  <a:ext cx="18309" cy="18399"/>
                </a:xfrm>
                <a:custGeom>
                  <a:avLst/>
                  <a:gdLst>
                    <a:gd name="connsiteX0" fmla="*/ 94 w 18309"/>
                    <a:gd name="connsiteY0" fmla="*/ 10426 h 18399"/>
                    <a:gd name="connsiteX1" fmla="*/ 10441 w 18309"/>
                    <a:gd name="connsiteY1" fmla="*/ 18320 h 18399"/>
                    <a:gd name="connsiteX2" fmla="*/ 18216 w 18309"/>
                    <a:gd name="connsiteY2" fmla="*/ 7973 h 18399"/>
                    <a:gd name="connsiteX3" fmla="*/ 7869 w 18309"/>
                    <a:gd name="connsiteY3" fmla="*/ 79 h 18399"/>
                    <a:gd name="connsiteX4" fmla="*/ 94 w 18309"/>
                    <a:gd name="connsiteY4" fmla="*/ 10426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399">
                      <a:moveTo>
                        <a:pt x="94" y="10426"/>
                      </a:moveTo>
                      <a:cubicBezTo>
                        <a:pt x="812" y="15449"/>
                        <a:pt x="5417" y="18978"/>
                        <a:pt x="10441" y="18320"/>
                      </a:cubicBezTo>
                      <a:cubicBezTo>
                        <a:pt x="15464" y="17603"/>
                        <a:pt x="18933" y="12997"/>
                        <a:pt x="18216" y="7973"/>
                      </a:cubicBezTo>
                      <a:cubicBezTo>
                        <a:pt x="17498" y="2950"/>
                        <a:pt x="12893" y="-579"/>
                        <a:pt x="7869" y="79"/>
                      </a:cubicBezTo>
                      <a:cubicBezTo>
                        <a:pt x="2845" y="737"/>
                        <a:pt x="-624" y="5402"/>
                        <a:pt x="94" y="10426"/>
                      </a:cubicBezTo>
                      <a:close/>
                    </a:path>
                  </a:pathLst>
                </a:custGeom>
                <a:grpFill/>
                <a:ln w="5978" cap="flat">
                  <a:noFill/>
                  <a:prstDash val="solid"/>
                  <a:miter/>
                </a:ln>
              </p:spPr>
              <p:txBody>
                <a:bodyPr rtlCol="0" anchor="ctr"/>
                <a:lstStyle/>
                <a:p>
                  <a:endParaRPr lang="en-GB"/>
                </a:p>
              </p:txBody>
            </p:sp>
          </p:grpSp>
          <p:grpSp>
            <p:nvGrpSpPr>
              <p:cNvPr id="736" name="Graphic 3">
                <a:extLst>
                  <a:ext uri="{FF2B5EF4-FFF2-40B4-BE49-F238E27FC236}">
                    <a16:creationId xmlns:a16="http://schemas.microsoft.com/office/drawing/2014/main" id="{5F6CB240-6747-4DEF-9BF8-417B7E4088F4}"/>
                  </a:ext>
                </a:extLst>
              </p:cNvPr>
              <p:cNvGrpSpPr/>
              <p:nvPr/>
            </p:nvGrpSpPr>
            <p:grpSpPr>
              <a:xfrm>
                <a:off x="5118852" y="1596827"/>
                <a:ext cx="164543" cy="304130"/>
                <a:chOff x="5118852" y="1596827"/>
                <a:chExt cx="164543" cy="304130"/>
              </a:xfrm>
              <a:grpFill/>
            </p:grpSpPr>
            <p:sp>
              <p:nvSpPr>
                <p:cNvPr id="3182" name="Vrije vorm: vorm 3181">
                  <a:extLst>
                    <a:ext uri="{FF2B5EF4-FFF2-40B4-BE49-F238E27FC236}">
                      <a16:creationId xmlns:a16="http://schemas.microsoft.com/office/drawing/2014/main" id="{FA5840AC-A1F7-4F1F-B8F8-2C910766C06A}"/>
                    </a:ext>
                  </a:extLst>
                </p:cNvPr>
                <p:cNvSpPr/>
                <p:nvPr/>
              </p:nvSpPr>
              <p:spPr>
                <a:xfrm>
                  <a:off x="5126455" y="1604907"/>
                  <a:ext cx="149398" cy="287971"/>
                </a:xfrm>
                <a:custGeom>
                  <a:avLst/>
                  <a:gdLst>
                    <a:gd name="connsiteX0" fmla="*/ 149398 w 149398"/>
                    <a:gd name="connsiteY0" fmla="*/ 286596 h 287971"/>
                    <a:gd name="connsiteX1" fmla="*/ 146647 w 149398"/>
                    <a:gd name="connsiteY1" fmla="*/ 287972 h 287971"/>
                    <a:gd name="connsiteX2" fmla="*/ 0 w 149398"/>
                    <a:gd name="connsiteY2" fmla="*/ 1435 h 287971"/>
                    <a:gd name="connsiteX3" fmla="*/ 2691 w 149398"/>
                    <a:gd name="connsiteY3" fmla="*/ 0 h 287971"/>
                  </a:gdLst>
                  <a:ahLst/>
                  <a:cxnLst>
                    <a:cxn ang="0">
                      <a:pos x="connsiteX0" y="connsiteY0"/>
                    </a:cxn>
                    <a:cxn ang="0">
                      <a:pos x="connsiteX1" y="connsiteY1"/>
                    </a:cxn>
                    <a:cxn ang="0">
                      <a:pos x="connsiteX2" y="connsiteY2"/>
                    </a:cxn>
                    <a:cxn ang="0">
                      <a:pos x="connsiteX3" y="connsiteY3"/>
                    </a:cxn>
                  </a:cxnLst>
                  <a:rect l="l" t="t" r="r" b="b"/>
                  <a:pathLst>
                    <a:path w="149398" h="287971">
                      <a:moveTo>
                        <a:pt x="149398" y="286596"/>
                      </a:moveTo>
                      <a:lnTo>
                        <a:pt x="146647" y="287972"/>
                      </a:lnTo>
                      <a:lnTo>
                        <a:pt x="0" y="1435"/>
                      </a:lnTo>
                      <a:lnTo>
                        <a:pt x="2691" y="0"/>
                      </a:lnTo>
                      <a:close/>
                    </a:path>
                  </a:pathLst>
                </a:custGeom>
                <a:grpFill/>
                <a:ln w="5978" cap="flat">
                  <a:noFill/>
                  <a:prstDash val="solid"/>
                  <a:miter/>
                </a:ln>
              </p:spPr>
              <p:txBody>
                <a:bodyPr rtlCol="0" anchor="ctr"/>
                <a:lstStyle/>
                <a:p>
                  <a:endParaRPr lang="en-GB"/>
                </a:p>
              </p:txBody>
            </p:sp>
            <p:sp>
              <p:nvSpPr>
                <p:cNvPr id="3183" name="Vrije vorm: vorm 3182">
                  <a:extLst>
                    <a:ext uri="{FF2B5EF4-FFF2-40B4-BE49-F238E27FC236}">
                      <a16:creationId xmlns:a16="http://schemas.microsoft.com/office/drawing/2014/main" id="{06F75916-55EF-43F6-A388-817319D11D02}"/>
                    </a:ext>
                  </a:extLst>
                </p:cNvPr>
                <p:cNvSpPr/>
                <p:nvPr/>
              </p:nvSpPr>
              <p:spPr>
                <a:xfrm>
                  <a:off x="5118852" y="1596827"/>
                  <a:ext cx="18315" cy="18431"/>
                </a:xfrm>
                <a:custGeom>
                  <a:avLst/>
                  <a:gdLst>
                    <a:gd name="connsiteX0" fmla="*/ 1024 w 18315"/>
                    <a:gd name="connsiteY0" fmla="*/ 13402 h 18431"/>
                    <a:gd name="connsiteX1" fmla="*/ 4971 w 18315"/>
                    <a:gd name="connsiteY1" fmla="*/ 1022 h 18431"/>
                    <a:gd name="connsiteX2" fmla="*/ 17292 w 18315"/>
                    <a:gd name="connsiteY2" fmla="*/ 5029 h 18431"/>
                    <a:gd name="connsiteX3" fmla="*/ 13344 w 18315"/>
                    <a:gd name="connsiteY3" fmla="*/ 17409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1309" y="8857"/>
                        <a:pt x="486" y="3295"/>
                        <a:pt x="4971" y="1022"/>
                      </a:cubicBezTo>
                      <a:cubicBezTo>
                        <a:pt x="9457" y="-1310"/>
                        <a:pt x="15019" y="484"/>
                        <a:pt x="17292" y="5029"/>
                      </a:cubicBezTo>
                      <a:cubicBezTo>
                        <a:pt x="19624" y="9575"/>
                        <a:pt x="17830" y="15137"/>
                        <a:pt x="13344" y="17409"/>
                      </a:cubicBezTo>
                      <a:cubicBezTo>
                        <a:pt x="8859" y="19742"/>
                        <a:pt x="3297" y="17948"/>
                        <a:pt x="1024" y="13402"/>
                      </a:cubicBezTo>
                      <a:close/>
                    </a:path>
                  </a:pathLst>
                </a:custGeom>
                <a:grpFill/>
                <a:ln w="5978" cap="flat">
                  <a:noFill/>
                  <a:prstDash val="solid"/>
                  <a:miter/>
                </a:ln>
              </p:spPr>
              <p:txBody>
                <a:bodyPr rtlCol="0" anchor="ctr"/>
                <a:lstStyle/>
                <a:p>
                  <a:endParaRPr lang="en-GB"/>
                </a:p>
              </p:txBody>
            </p:sp>
            <p:sp>
              <p:nvSpPr>
                <p:cNvPr id="3184" name="Vrije vorm: vorm 3183">
                  <a:extLst>
                    <a:ext uri="{FF2B5EF4-FFF2-40B4-BE49-F238E27FC236}">
                      <a16:creationId xmlns:a16="http://schemas.microsoft.com/office/drawing/2014/main" id="{E3394C9E-C266-406A-BB93-FE2C4269CFD5}"/>
                    </a:ext>
                  </a:extLst>
                </p:cNvPr>
                <p:cNvSpPr/>
                <p:nvPr/>
              </p:nvSpPr>
              <p:spPr>
                <a:xfrm>
                  <a:off x="5265107" y="1882526"/>
                  <a:ext cx="18288" cy="18431"/>
                </a:xfrm>
                <a:custGeom>
                  <a:avLst/>
                  <a:gdLst>
                    <a:gd name="connsiteX0" fmla="*/ 998 w 18288"/>
                    <a:gd name="connsiteY0" fmla="*/ 13402 h 18431"/>
                    <a:gd name="connsiteX1" fmla="*/ 13318 w 18288"/>
                    <a:gd name="connsiteY1" fmla="*/ 17409 h 18431"/>
                    <a:gd name="connsiteX2" fmla="*/ 17265 w 18288"/>
                    <a:gd name="connsiteY2" fmla="*/ 5029 h 18431"/>
                    <a:gd name="connsiteX3" fmla="*/ 4945 w 18288"/>
                    <a:gd name="connsiteY3" fmla="*/ 1022 h 18431"/>
                    <a:gd name="connsiteX4" fmla="*/ 998 w 18288"/>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31">
                      <a:moveTo>
                        <a:pt x="998" y="13402"/>
                      </a:moveTo>
                      <a:cubicBezTo>
                        <a:pt x="3330" y="17948"/>
                        <a:pt x="8832" y="19742"/>
                        <a:pt x="13318" y="17409"/>
                      </a:cubicBezTo>
                      <a:cubicBezTo>
                        <a:pt x="17803" y="15077"/>
                        <a:pt x="19597" y="9575"/>
                        <a:pt x="17265" y="5029"/>
                      </a:cubicBezTo>
                      <a:cubicBezTo>
                        <a:pt x="14933" y="484"/>
                        <a:pt x="9430" y="-1310"/>
                        <a:pt x="4945" y="1022"/>
                      </a:cubicBezTo>
                      <a:cubicBezTo>
                        <a:pt x="459" y="3355"/>
                        <a:pt x="-1275" y="8917"/>
                        <a:pt x="998" y="13402"/>
                      </a:cubicBezTo>
                      <a:close/>
                    </a:path>
                  </a:pathLst>
                </a:custGeom>
                <a:grpFill/>
                <a:ln w="5978" cap="flat">
                  <a:noFill/>
                  <a:prstDash val="solid"/>
                  <a:miter/>
                </a:ln>
              </p:spPr>
              <p:txBody>
                <a:bodyPr rtlCol="0" anchor="ctr"/>
                <a:lstStyle/>
                <a:p>
                  <a:endParaRPr lang="en-GB"/>
                </a:p>
              </p:txBody>
            </p:sp>
          </p:grpSp>
          <p:grpSp>
            <p:nvGrpSpPr>
              <p:cNvPr id="737" name="Graphic 3">
                <a:extLst>
                  <a:ext uri="{FF2B5EF4-FFF2-40B4-BE49-F238E27FC236}">
                    <a16:creationId xmlns:a16="http://schemas.microsoft.com/office/drawing/2014/main" id="{41A6044E-2863-49F7-A42F-BB6EF796866A}"/>
                  </a:ext>
                </a:extLst>
              </p:cNvPr>
              <p:cNvGrpSpPr/>
              <p:nvPr/>
            </p:nvGrpSpPr>
            <p:grpSpPr>
              <a:xfrm>
                <a:off x="5103872" y="1480424"/>
                <a:ext cx="35776" cy="54064"/>
                <a:chOff x="5103872" y="1480424"/>
                <a:chExt cx="35776" cy="54064"/>
              </a:xfrm>
              <a:grpFill/>
            </p:grpSpPr>
            <p:sp>
              <p:nvSpPr>
                <p:cNvPr id="3179" name="Vrije vorm: vorm 3178">
                  <a:extLst>
                    <a:ext uri="{FF2B5EF4-FFF2-40B4-BE49-F238E27FC236}">
                      <a16:creationId xmlns:a16="http://schemas.microsoft.com/office/drawing/2014/main" id="{5CD21B70-DAA1-439A-9CDC-9BEE2F169694}"/>
                    </a:ext>
                  </a:extLst>
                </p:cNvPr>
                <p:cNvSpPr/>
                <p:nvPr/>
              </p:nvSpPr>
              <p:spPr>
                <a:xfrm>
                  <a:off x="5111686" y="1488378"/>
                  <a:ext cx="20579" cy="37823"/>
                </a:xfrm>
                <a:custGeom>
                  <a:avLst/>
                  <a:gdLst>
                    <a:gd name="connsiteX0" fmla="*/ 0 w 20579"/>
                    <a:gd name="connsiteY0" fmla="*/ 1340 h 37823"/>
                    <a:gd name="connsiteX1" fmla="*/ 2740 w 20579"/>
                    <a:gd name="connsiteY1" fmla="*/ 0 h 37823"/>
                    <a:gd name="connsiteX2" fmla="*/ 20580 w 20579"/>
                    <a:gd name="connsiteY2" fmla="*/ 36483 h 37823"/>
                    <a:gd name="connsiteX3" fmla="*/ 17839 w 20579"/>
                    <a:gd name="connsiteY3" fmla="*/ 37823 h 37823"/>
                  </a:gdLst>
                  <a:ahLst/>
                  <a:cxnLst>
                    <a:cxn ang="0">
                      <a:pos x="connsiteX0" y="connsiteY0"/>
                    </a:cxn>
                    <a:cxn ang="0">
                      <a:pos x="connsiteX1" y="connsiteY1"/>
                    </a:cxn>
                    <a:cxn ang="0">
                      <a:pos x="connsiteX2" y="connsiteY2"/>
                    </a:cxn>
                    <a:cxn ang="0">
                      <a:pos x="connsiteX3" y="connsiteY3"/>
                    </a:cxn>
                  </a:cxnLst>
                  <a:rect l="l" t="t" r="r" b="b"/>
                  <a:pathLst>
                    <a:path w="20579" h="37823">
                      <a:moveTo>
                        <a:pt x="0" y="1340"/>
                      </a:moveTo>
                      <a:lnTo>
                        <a:pt x="2740" y="0"/>
                      </a:lnTo>
                      <a:lnTo>
                        <a:pt x="20580" y="36483"/>
                      </a:lnTo>
                      <a:lnTo>
                        <a:pt x="17839" y="37823"/>
                      </a:lnTo>
                      <a:close/>
                    </a:path>
                  </a:pathLst>
                </a:custGeom>
                <a:grpFill/>
                <a:ln w="5978" cap="flat">
                  <a:noFill/>
                  <a:prstDash val="solid"/>
                  <a:miter/>
                </a:ln>
              </p:spPr>
              <p:txBody>
                <a:bodyPr rtlCol="0" anchor="ctr"/>
                <a:lstStyle/>
                <a:p>
                  <a:endParaRPr lang="en-GB"/>
                </a:p>
              </p:txBody>
            </p:sp>
            <p:sp>
              <p:nvSpPr>
                <p:cNvPr id="3180" name="Vrije vorm: vorm 3179">
                  <a:extLst>
                    <a:ext uri="{FF2B5EF4-FFF2-40B4-BE49-F238E27FC236}">
                      <a16:creationId xmlns:a16="http://schemas.microsoft.com/office/drawing/2014/main" id="{56EC275A-EE6C-4FE4-BAC0-B9A327325E8F}"/>
                    </a:ext>
                  </a:extLst>
                </p:cNvPr>
                <p:cNvSpPr/>
                <p:nvPr/>
              </p:nvSpPr>
              <p:spPr>
                <a:xfrm>
                  <a:off x="5121336" y="1516033"/>
                  <a:ext cx="18312" cy="18455"/>
                </a:xfrm>
                <a:custGeom>
                  <a:avLst/>
                  <a:gdLst>
                    <a:gd name="connsiteX0" fmla="*/ 17380 w 18312"/>
                    <a:gd name="connsiteY0" fmla="*/ 5204 h 18455"/>
                    <a:gd name="connsiteX1" fmla="*/ 13193 w 18312"/>
                    <a:gd name="connsiteY1" fmla="*/ 17524 h 18455"/>
                    <a:gd name="connsiteX2" fmla="*/ 933 w 18312"/>
                    <a:gd name="connsiteY2" fmla="*/ 13278 h 18455"/>
                    <a:gd name="connsiteX3" fmla="*/ 5119 w 18312"/>
                    <a:gd name="connsiteY3" fmla="*/ 958 h 18455"/>
                    <a:gd name="connsiteX4" fmla="*/ 17380 w 18312"/>
                    <a:gd name="connsiteY4" fmla="*/ 5204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5">
                      <a:moveTo>
                        <a:pt x="17380" y="5204"/>
                      </a:moveTo>
                      <a:cubicBezTo>
                        <a:pt x="19593" y="9749"/>
                        <a:pt x="17739" y="15311"/>
                        <a:pt x="13193" y="17524"/>
                      </a:cubicBezTo>
                      <a:cubicBezTo>
                        <a:pt x="8648" y="19737"/>
                        <a:pt x="3146" y="17883"/>
                        <a:pt x="933" y="13278"/>
                      </a:cubicBezTo>
                      <a:cubicBezTo>
                        <a:pt x="-1280" y="8733"/>
                        <a:pt x="574" y="3170"/>
                        <a:pt x="5119" y="958"/>
                      </a:cubicBezTo>
                      <a:cubicBezTo>
                        <a:pt x="9605" y="-1315"/>
                        <a:pt x="15107" y="599"/>
                        <a:pt x="17380" y="5204"/>
                      </a:cubicBezTo>
                      <a:close/>
                    </a:path>
                  </a:pathLst>
                </a:custGeom>
                <a:grpFill/>
                <a:ln w="5978" cap="flat">
                  <a:noFill/>
                  <a:prstDash val="solid"/>
                  <a:miter/>
                </a:ln>
              </p:spPr>
              <p:txBody>
                <a:bodyPr rtlCol="0" anchor="ctr"/>
                <a:lstStyle/>
                <a:p>
                  <a:endParaRPr lang="en-GB"/>
                </a:p>
              </p:txBody>
            </p:sp>
            <p:sp>
              <p:nvSpPr>
                <p:cNvPr id="3181" name="Vrije vorm: vorm 3180">
                  <a:extLst>
                    <a:ext uri="{FF2B5EF4-FFF2-40B4-BE49-F238E27FC236}">
                      <a16:creationId xmlns:a16="http://schemas.microsoft.com/office/drawing/2014/main" id="{8D4E0297-0E45-41DA-A039-CFADC21C710B}"/>
                    </a:ext>
                  </a:extLst>
                </p:cNvPr>
                <p:cNvSpPr/>
                <p:nvPr/>
              </p:nvSpPr>
              <p:spPr>
                <a:xfrm>
                  <a:off x="5103872" y="1480424"/>
                  <a:ext cx="18338" cy="18408"/>
                </a:xfrm>
                <a:custGeom>
                  <a:avLst/>
                  <a:gdLst>
                    <a:gd name="connsiteX0" fmla="*/ 17380 w 18338"/>
                    <a:gd name="connsiteY0" fmla="*/ 5167 h 18408"/>
                    <a:gd name="connsiteX1" fmla="*/ 5119 w 18338"/>
                    <a:gd name="connsiteY1" fmla="*/ 921 h 18408"/>
                    <a:gd name="connsiteX2" fmla="*/ 933 w 18338"/>
                    <a:gd name="connsiteY2" fmla="*/ 13241 h 18408"/>
                    <a:gd name="connsiteX3" fmla="*/ 13193 w 18338"/>
                    <a:gd name="connsiteY3" fmla="*/ 17488 h 18408"/>
                    <a:gd name="connsiteX4" fmla="*/ 17380 w 18338"/>
                    <a:gd name="connsiteY4" fmla="*/ 516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8">
                      <a:moveTo>
                        <a:pt x="17380" y="5167"/>
                      </a:moveTo>
                      <a:cubicBezTo>
                        <a:pt x="15167" y="622"/>
                        <a:pt x="9665" y="-1292"/>
                        <a:pt x="5119" y="921"/>
                      </a:cubicBezTo>
                      <a:cubicBezTo>
                        <a:pt x="574" y="3134"/>
                        <a:pt x="-1280" y="8636"/>
                        <a:pt x="933" y="13241"/>
                      </a:cubicBezTo>
                      <a:cubicBezTo>
                        <a:pt x="3146" y="17787"/>
                        <a:pt x="8648" y="19701"/>
                        <a:pt x="13193" y="17488"/>
                      </a:cubicBezTo>
                      <a:cubicBezTo>
                        <a:pt x="17739" y="15215"/>
                        <a:pt x="19652" y="9713"/>
                        <a:pt x="17380" y="5167"/>
                      </a:cubicBezTo>
                      <a:close/>
                    </a:path>
                  </a:pathLst>
                </a:custGeom>
                <a:grpFill/>
                <a:ln w="5978" cap="flat">
                  <a:noFill/>
                  <a:prstDash val="solid"/>
                  <a:miter/>
                </a:ln>
              </p:spPr>
              <p:txBody>
                <a:bodyPr rtlCol="0" anchor="ctr"/>
                <a:lstStyle/>
                <a:p>
                  <a:endParaRPr lang="en-GB"/>
                </a:p>
              </p:txBody>
            </p:sp>
          </p:grpSp>
          <p:grpSp>
            <p:nvGrpSpPr>
              <p:cNvPr id="738" name="Graphic 3">
                <a:extLst>
                  <a:ext uri="{FF2B5EF4-FFF2-40B4-BE49-F238E27FC236}">
                    <a16:creationId xmlns:a16="http://schemas.microsoft.com/office/drawing/2014/main" id="{ECE9E9E2-3F41-49E6-85A6-F41D605DF1D8}"/>
                  </a:ext>
                </a:extLst>
              </p:cNvPr>
              <p:cNvGrpSpPr/>
              <p:nvPr/>
            </p:nvGrpSpPr>
            <p:grpSpPr>
              <a:xfrm>
                <a:off x="5103872" y="1480364"/>
                <a:ext cx="52941" cy="89280"/>
                <a:chOff x="5103872" y="1480364"/>
                <a:chExt cx="52941" cy="89280"/>
              </a:xfrm>
              <a:grpFill/>
            </p:grpSpPr>
            <p:sp>
              <p:nvSpPr>
                <p:cNvPr id="3176" name="Vrije vorm: vorm 3175">
                  <a:extLst>
                    <a:ext uri="{FF2B5EF4-FFF2-40B4-BE49-F238E27FC236}">
                      <a16:creationId xmlns:a16="http://schemas.microsoft.com/office/drawing/2014/main" id="{9F5A0FDE-92B4-4E4D-A6D1-AC111EC46F09}"/>
                    </a:ext>
                  </a:extLst>
                </p:cNvPr>
                <p:cNvSpPr/>
                <p:nvPr/>
              </p:nvSpPr>
              <p:spPr>
                <a:xfrm>
                  <a:off x="5111656" y="1488447"/>
                  <a:ext cx="37835" cy="72994"/>
                </a:xfrm>
                <a:custGeom>
                  <a:avLst/>
                  <a:gdLst>
                    <a:gd name="connsiteX0" fmla="*/ 0 w 37835"/>
                    <a:gd name="connsiteY0" fmla="*/ 1342 h 72994"/>
                    <a:gd name="connsiteX1" fmla="*/ 2739 w 37835"/>
                    <a:gd name="connsiteY1" fmla="*/ 0 h 72994"/>
                    <a:gd name="connsiteX2" fmla="*/ 37836 w 37835"/>
                    <a:gd name="connsiteY2" fmla="*/ 71653 h 72994"/>
                    <a:gd name="connsiteX3" fmla="*/ 35096 w 37835"/>
                    <a:gd name="connsiteY3" fmla="*/ 72995 h 72994"/>
                  </a:gdLst>
                  <a:ahLst/>
                  <a:cxnLst>
                    <a:cxn ang="0">
                      <a:pos x="connsiteX0" y="connsiteY0"/>
                    </a:cxn>
                    <a:cxn ang="0">
                      <a:pos x="connsiteX1" y="connsiteY1"/>
                    </a:cxn>
                    <a:cxn ang="0">
                      <a:pos x="connsiteX2" y="connsiteY2"/>
                    </a:cxn>
                    <a:cxn ang="0">
                      <a:pos x="connsiteX3" y="connsiteY3"/>
                    </a:cxn>
                  </a:cxnLst>
                  <a:rect l="l" t="t" r="r" b="b"/>
                  <a:pathLst>
                    <a:path w="37835" h="72994">
                      <a:moveTo>
                        <a:pt x="0" y="1342"/>
                      </a:moveTo>
                      <a:lnTo>
                        <a:pt x="2739" y="0"/>
                      </a:lnTo>
                      <a:lnTo>
                        <a:pt x="37836" y="71653"/>
                      </a:lnTo>
                      <a:lnTo>
                        <a:pt x="35096" y="72995"/>
                      </a:lnTo>
                      <a:close/>
                    </a:path>
                  </a:pathLst>
                </a:custGeom>
                <a:grpFill/>
                <a:ln w="5978" cap="flat">
                  <a:noFill/>
                  <a:prstDash val="solid"/>
                  <a:miter/>
                </a:ln>
              </p:spPr>
              <p:txBody>
                <a:bodyPr rtlCol="0" anchor="ctr"/>
                <a:lstStyle/>
                <a:p>
                  <a:endParaRPr lang="en-GB"/>
                </a:p>
              </p:txBody>
            </p:sp>
            <p:sp>
              <p:nvSpPr>
                <p:cNvPr id="3177" name="Vrije vorm: vorm 3176">
                  <a:extLst>
                    <a:ext uri="{FF2B5EF4-FFF2-40B4-BE49-F238E27FC236}">
                      <a16:creationId xmlns:a16="http://schemas.microsoft.com/office/drawing/2014/main" id="{BB87D5C8-1449-4517-B98E-B35CE9D97C96}"/>
                    </a:ext>
                  </a:extLst>
                </p:cNvPr>
                <p:cNvSpPr/>
                <p:nvPr/>
              </p:nvSpPr>
              <p:spPr>
                <a:xfrm>
                  <a:off x="5103872" y="1480364"/>
                  <a:ext cx="18312" cy="18445"/>
                </a:xfrm>
                <a:custGeom>
                  <a:avLst/>
                  <a:gdLst>
                    <a:gd name="connsiteX0" fmla="*/ 933 w 18312"/>
                    <a:gd name="connsiteY0" fmla="*/ 13241 h 18445"/>
                    <a:gd name="connsiteX1" fmla="*/ 5119 w 18312"/>
                    <a:gd name="connsiteY1" fmla="*/ 921 h 18445"/>
                    <a:gd name="connsiteX2" fmla="*/ 17380 w 18312"/>
                    <a:gd name="connsiteY2" fmla="*/ 5167 h 18445"/>
                    <a:gd name="connsiteX3" fmla="*/ 13193 w 18312"/>
                    <a:gd name="connsiteY3" fmla="*/ 17488 h 18445"/>
                    <a:gd name="connsiteX4" fmla="*/ 933 w 18312"/>
                    <a:gd name="connsiteY4" fmla="*/ 1324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5">
                      <a:moveTo>
                        <a:pt x="933" y="13241"/>
                      </a:moveTo>
                      <a:cubicBezTo>
                        <a:pt x="-1280" y="8696"/>
                        <a:pt x="574" y="3134"/>
                        <a:pt x="5119" y="921"/>
                      </a:cubicBezTo>
                      <a:cubicBezTo>
                        <a:pt x="9665" y="-1292"/>
                        <a:pt x="15167" y="622"/>
                        <a:pt x="17380" y="5167"/>
                      </a:cubicBezTo>
                      <a:cubicBezTo>
                        <a:pt x="19593" y="9713"/>
                        <a:pt x="17739" y="15275"/>
                        <a:pt x="13193" y="17488"/>
                      </a:cubicBezTo>
                      <a:cubicBezTo>
                        <a:pt x="8708" y="19760"/>
                        <a:pt x="3205" y="17847"/>
                        <a:pt x="933" y="13241"/>
                      </a:cubicBezTo>
                      <a:close/>
                    </a:path>
                  </a:pathLst>
                </a:custGeom>
                <a:grpFill/>
                <a:ln w="5978" cap="flat">
                  <a:noFill/>
                  <a:prstDash val="solid"/>
                  <a:miter/>
                </a:ln>
              </p:spPr>
              <p:txBody>
                <a:bodyPr rtlCol="0" anchor="ctr"/>
                <a:lstStyle/>
                <a:p>
                  <a:endParaRPr lang="en-GB"/>
                </a:p>
              </p:txBody>
            </p:sp>
            <p:sp>
              <p:nvSpPr>
                <p:cNvPr id="3178" name="Vrije vorm: vorm 3177">
                  <a:extLst>
                    <a:ext uri="{FF2B5EF4-FFF2-40B4-BE49-F238E27FC236}">
                      <a16:creationId xmlns:a16="http://schemas.microsoft.com/office/drawing/2014/main" id="{6DCD3BD4-DC4C-4B38-85B2-FAD952CB956B}"/>
                    </a:ext>
                  </a:extLst>
                </p:cNvPr>
                <p:cNvSpPr/>
                <p:nvPr/>
              </p:nvSpPr>
              <p:spPr>
                <a:xfrm>
                  <a:off x="5138500" y="1551236"/>
                  <a:ext cx="18312" cy="18408"/>
                </a:xfrm>
                <a:custGeom>
                  <a:avLst/>
                  <a:gdLst>
                    <a:gd name="connsiteX0" fmla="*/ 933 w 18312"/>
                    <a:gd name="connsiteY0" fmla="*/ 13241 h 18408"/>
                    <a:gd name="connsiteX1" fmla="*/ 13193 w 18312"/>
                    <a:gd name="connsiteY1" fmla="*/ 17488 h 18408"/>
                    <a:gd name="connsiteX2" fmla="*/ 17380 w 18312"/>
                    <a:gd name="connsiteY2" fmla="*/ 5167 h 18408"/>
                    <a:gd name="connsiteX3" fmla="*/ 5119 w 18312"/>
                    <a:gd name="connsiteY3" fmla="*/ 921 h 18408"/>
                    <a:gd name="connsiteX4" fmla="*/ 933 w 18312"/>
                    <a:gd name="connsiteY4" fmla="*/ 1324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8">
                      <a:moveTo>
                        <a:pt x="933" y="13241"/>
                      </a:moveTo>
                      <a:cubicBezTo>
                        <a:pt x="3146" y="17787"/>
                        <a:pt x="8648" y="19701"/>
                        <a:pt x="13193" y="17488"/>
                      </a:cubicBezTo>
                      <a:cubicBezTo>
                        <a:pt x="17739" y="15275"/>
                        <a:pt x="19593" y="9773"/>
                        <a:pt x="17380" y="5167"/>
                      </a:cubicBezTo>
                      <a:cubicBezTo>
                        <a:pt x="15167" y="622"/>
                        <a:pt x="9665" y="-1292"/>
                        <a:pt x="5119" y="921"/>
                      </a:cubicBezTo>
                      <a:cubicBezTo>
                        <a:pt x="574" y="3134"/>
                        <a:pt x="-1280" y="8636"/>
                        <a:pt x="933" y="13241"/>
                      </a:cubicBezTo>
                      <a:close/>
                    </a:path>
                  </a:pathLst>
                </a:custGeom>
                <a:grpFill/>
                <a:ln w="5978" cap="flat">
                  <a:noFill/>
                  <a:prstDash val="solid"/>
                  <a:miter/>
                </a:ln>
              </p:spPr>
              <p:txBody>
                <a:bodyPr rtlCol="0" anchor="ctr"/>
                <a:lstStyle/>
                <a:p>
                  <a:endParaRPr lang="en-GB"/>
                </a:p>
              </p:txBody>
            </p:sp>
          </p:grpSp>
          <p:grpSp>
            <p:nvGrpSpPr>
              <p:cNvPr id="739" name="Graphic 3">
                <a:extLst>
                  <a:ext uri="{FF2B5EF4-FFF2-40B4-BE49-F238E27FC236}">
                    <a16:creationId xmlns:a16="http://schemas.microsoft.com/office/drawing/2014/main" id="{4EA34175-FA2B-4282-9946-30A77B6D19C5}"/>
                  </a:ext>
                </a:extLst>
              </p:cNvPr>
              <p:cNvGrpSpPr/>
              <p:nvPr/>
            </p:nvGrpSpPr>
            <p:grpSpPr>
              <a:xfrm>
                <a:off x="6506018" y="5625439"/>
                <a:ext cx="32196" cy="85300"/>
                <a:chOff x="6506018" y="5625439"/>
                <a:chExt cx="32196" cy="85300"/>
              </a:xfrm>
              <a:grpFill/>
            </p:grpSpPr>
            <p:sp>
              <p:nvSpPr>
                <p:cNvPr id="3173" name="Vrije vorm: vorm 3172">
                  <a:extLst>
                    <a:ext uri="{FF2B5EF4-FFF2-40B4-BE49-F238E27FC236}">
                      <a16:creationId xmlns:a16="http://schemas.microsoft.com/office/drawing/2014/main" id="{BFF89BF0-C720-47FC-ACBB-71E74110A929}"/>
                    </a:ext>
                  </a:extLst>
                </p:cNvPr>
                <p:cNvSpPr/>
                <p:nvPr/>
              </p:nvSpPr>
              <p:spPr>
                <a:xfrm>
                  <a:off x="6513624" y="5633880"/>
                  <a:ext cx="17044" cy="68419"/>
                </a:xfrm>
                <a:custGeom>
                  <a:avLst/>
                  <a:gdLst>
                    <a:gd name="connsiteX0" fmla="*/ 2990 w 17044"/>
                    <a:gd name="connsiteY0" fmla="*/ 0 h 68419"/>
                    <a:gd name="connsiteX1" fmla="*/ 17045 w 17044"/>
                    <a:gd name="connsiteY1" fmla="*/ 67762 h 68419"/>
                    <a:gd name="connsiteX2" fmla="*/ 14055 w 17044"/>
                    <a:gd name="connsiteY2" fmla="*/ 68419 h 68419"/>
                    <a:gd name="connsiteX3" fmla="*/ 0 w 17044"/>
                    <a:gd name="connsiteY3" fmla="*/ 658 h 68419"/>
                  </a:gdLst>
                  <a:ahLst/>
                  <a:cxnLst>
                    <a:cxn ang="0">
                      <a:pos x="connsiteX0" y="connsiteY0"/>
                    </a:cxn>
                    <a:cxn ang="0">
                      <a:pos x="connsiteX1" y="connsiteY1"/>
                    </a:cxn>
                    <a:cxn ang="0">
                      <a:pos x="connsiteX2" y="connsiteY2"/>
                    </a:cxn>
                    <a:cxn ang="0">
                      <a:pos x="connsiteX3" y="connsiteY3"/>
                    </a:cxn>
                  </a:cxnLst>
                  <a:rect l="l" t="t" r="r" b="b"/>
                  <a:pathLst>
                    <a:path w="17044" h="68419">
                      <a:moveTo>
                        <a:pt x="2990" y="0"/>
                      </a:moveTo>
                      <a:lnTo>
                        <a:pt x="17045" y="67762"/>
                      </a:lnTo>
                      <a:lnTo>
                        <a:pt x="14055" y="68419"/>
                      </a:lnTo>
                      <a:lnTo>
                        <a:pt x="0" y="658"/>
                      </a:lnTo>
                      <a:close/>
                    </a:path>
                  </a:pathLst>
                </a:custGeom>
                <a:grpFill/>
                <a:ln w="5978" cap="flat">
                  <a:noFill/>
                  <a:prstDash val="solid"/>
                  <a:miter/>
                </a:ln>
              </p:spPr>
              <p:txBody>
                <a:bodyPr rtlCol="0" anchor="ctr"/>
                <a:lstStyle/>
                <a:p>
                  <a:endParaRPr lang="en-GB"/>
                </a:p>
              </p:txBody>
            </p:sp>
            <p:sp>
              <p:nvSpPr>
                <p:cNvPr id="3174" name="Vrije vorm: vorm 3173">
                  <a:extLst>
                    <a:ext uri="{FF2B5EF4-FFF2-40B4-BE49-F238E27FC236}">
                      <a16:creationId xmlns:a16="http://schemas.microsoft.com/office/drawing/2014/main" id="{A86CDC55-AC97-48A5-A70F-2D605DB37866}"/>
                    </a:ext>
                  </a:extLst>
                </p:cNvPr>
                <p:cNvSpPr/>
                <p:nvPr/>
              </p:nvSpPr>
              <p:spPr>
                <a:xfrm>
                  <a:off x="6519893" y="5692303"/>
                  <a:ext cx="18321" cy="18436"/>
                </a:xfrm>
                <a:custGeom>
                  <a:avLst/>
                  <a:gdLst>
                    <a:gd name="connsiteX0" fmla="*/ 18132 w 18321"/>
                    <a:gd name="connsiteY0" fmla="*/ 7364 h 18436"/>
                    <a:gd name="connsiteX1" fmla="*/ 11015 w 18321"/>
                    <a:gd name="connsiteY1" fmla="*/ 18249 h 18436"/>
                    <a:gd name="connsiteX2" fmla="*/ 190 w 18321"/>
                    <a:gd name="connsiteY2" fmla="*/ 11072 h 18436"/>
                    <a:gd name="connsiteX3" fmla="*/ 7307 w 18321"/>
                    <a:gd name="connsiteY3" fmla="*/ 187 h 18436"/>
                    <a:gd name="connsiteX4" fmla="*/ 18132 w 18321"/>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8132" y="7364"/>
                      </a:moveTo>
                      <a:cubicBezTo>
                        <a:pt x="19149" y="12328"/>
                        <a:pt x="15979" y="17232"/>
                        <a:pt x="11015" y="18249"/>
                      </a:cubicBezTo>
                      <a:cubicBezTo>
                        <a:pt x="6051" y="19266"/>
                        <a:pt x="1207" y="16036"/>
                        <a:pt x="190" y="11072"/>
                      </a:cubicBezTo>
                      <a:cubicBezTo>
                        <a:pt x="-827" y="6108"/>
                        <a:pt x="2343" y="1204"/>
                        <a:pt x="7307" y="187"/>
                      </a:cubicBezTo>
                      <a:cubicBezTo>
                        <a:pt x="12271" y="-830"/>
                        <a:pt x="17115" y="2400"/>
                        <a:pt x="18132" y="7364"/>
                      </a:cubicBezTo>
                      <a:close/>
                    </a:path>
                  </a:pathLst>
                </a:custGeom>
                <a:grpFill/>
                <a:ln w="5978" cap="flat">
                  <a:noFill/>
                  <a:prstDash val="solid"/>
                  <a:miter/>
                </a:ln>
              </p:spPr>
              <p:txBody>
                <a:bodyPr rtlCol="0" anchor="ctr"/>
                <a:lstStyle/>
                <a:p>
                  <a:endParaRPr lang="en-GB"/>
                </a:p>
              </p:txBody>
            </p:sp>
            <p:sp>
              <p:nvSpPr>
                <p:cNvPr id="3175" name="Vrije vorm: vorm 3174">
                  <a:extLst>
                    <a:ext uri="{FF2B5EF4-FFF2-40B4-BE49-F238E27FC236}">
                      <a16:creationId xmlns:a16="http://schemas.microsoft.com/office/drawing/2014/main" id="{3A7694E9-5785-4628-A746-6B3EBD087FE4}"/>
                    </a:ext>
                  </a:extLst>
                </p:cNvPr>
                <p:cNvSpPr/>
                <p:nvPr/>
              </p:nvSpPr>
              <p:spPr>
                <a:xfrm>
                  <a:off x="6506018" y="5625439"/>
                  <a:ext cx="18339" cy="18436"/>
                </a:xfrm>
                <a:custGeom>
                  <a:avLst/>
                  <a:gdLst>
                    <a:gd name="connsiteX0" fmla="*/ 18132 w 18339"/>
                    <a:gd name="connsiteY0" fmla="*/ 7364 h 18436"/>
                    <a:gd name="connsiteX1" fmla="*/ 7307 w 18339"/>
                    <a:gd name="connsiteY1" fmla="*/ 187 h 18436"/>
                    <a:gd name="connsiteX2" fmla="*/ 190 w 18339"/>
                    <a:gd name="connsiteY2" fmla="*/ 11072 h 18436"/>
                    <a:gd name="connsiteX3" fmla="*/ 11015 w 18339"/>
                    <a:gd name="connsiteY3" fmla="*/ 18249 h 18436"/>
                    <a:gd name="connsiteX4" fmla="*/ 18132 w 18339"/>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36">
                      <a:moveTo>
                        <a:pt x="18132" y="7364"/>
                      </a:moveTo>
                      <a:cubicBezTo>
                        <a:pt x="17115" y="2400"/>
                        <a:pt x="12271" y="-830"/>
                        <a:pt x="7307" y="187"/>
                      </a:cubicBezTo>
                      <a:cubicBezTo>
                        <a:pt x="2343" y="1204"/>
                        <a:pt x="-827" y="6048"/>
                        <a:pt x="190" y="11072"/>
                      </a:cubicBezTo>
                      <a:cubicBezTo>
                        <a:pt x="1207" y="16036"/>
                        <a:pt x="6051" y="19266"/>
                        <a:pt x="11015" y="18249"/>
                      </a:cubicBezTo>
                      <a:cubicBezTo>
                        <a:pt x="15979" y="17232"/>
                        <a:pt x="19209" y="12328"/>
                        <a:pt x="18132" y="7364"/>
                      </a:cubicBezTo>
                      <a:close/>
                    </a:path>
                  </a:pathLst>
                </a:custGeom>
                <a:grpFill/>
                <a:ln w="5978" cap="flat">
                  <a:noFill/>
                  <a:prstDash val="solid"/>
                  <a:miter/>
                </a:ln>
              </p:spPr>
              <p:txBody>
                <a:bodyPr rtlCol="0" anchor="ctr"/>
                <a:lstStyle/>
                <a:p>
                  <a:endParaRPr lang="en-GB"/>
                </a:p>
              </p:txBody>
            </p:sp>
          </p:grpSp>
          <p:grpSp>
            <p:nvGrpSpPr>
              <p:cNvPr id="740" name="Graphic 3">
                <a:extLst>
                  <a:ext uri="{FF2B5EF4-FFF2-40B4-BE49-F238E27FC236}">
                    <a16:creationId xmlns:a16="http://schemas.microsoft.com/office/drawing/2014/main" id="{ED58C4E8-438D-40DC-B8D9-8B146B18430F}"/>
                  </a:ext>
                </a:extLst>
              </p:cNvPr>
              <p:cNvGrpSpPr/>
              <p:nvPr/>
            </p:nvGrpSpPr>
            <p:grpSpPr>
              <a:xfrm>
                <a:off x="6328377" y="5078084"/>
                <a:ext cx="50749" cy="210176"/>
                <a:chOff x="6328377" y="5078084"/>
                <a:chExt cx="50749" cy="210176"/>
              </a:xfrm>
              <a:grpFill/>
            </p:grpSpPr>
            <p:sp>
              <p:nvSpPr>
                <p:cNvPr id="3170" name="Vrije vorm: vorm 3169">
                  <a:extLst>
                    <a:ext uri="{FF2B5EF4-FFF2-40B4-BE49-F238E27FC236}">
                      <a16:creationId xmlns:a16="http://schemas.microsoft.com/office/drawing/2014/main" id="{B3CA5304-1DA6-4BA5-88BD-71E41BFE3307}"/>
                    </a:ext>
                  </a:extLst>
                </p:cNvPr>
                <p:cNvSpPr/>
                <p:nvPr/>
              </p:nvSpPr>
              <p:spPr>
                <a:xfrm>
                  <a:off x="6335996" y="5086644"/>
                  <a:ext cx="35525" cy="193117"/>
                </a:xfrm>
                <a:custGeom>
                  <a:avLst/>
                  <a:gdLst>
                    <a:gd name="connsiteX0" fmla="*/ 2990 w 35525"/>
                    <a:gd name="connsiteY0" fmla="*/ 0 h 193117"/>
                    <a:gd name="connsiteX1" fmla="*/ 35526 w 35525"/>
                    <a:gd name="connsiteY1" fmla="*/ 192579 h 193117"/>
                    <a:gd name="connsiteX2" fmla="*/ 32535 w 35525"/>
                    <a:gd name="connsiteY2" fmla="*/ 193118 h 193117"/>
                    <a:gd name="connsiteX3" fmla="*/ 0 w 35525"/>
                    <a:gd name="connsiteY3" fmla="*/ 479 h 193117"/>
                  </a:gdLst>
                  <a:ahLst/>
                  <a:cxnLst>
                    <a:cxn ang="0">
                      <a:pos x="connsiteX0" y="connsiteY0"/>
                    </a:cxn>
                    <a:cxn ang="0">
                      <a:pos x="connsiteX1" y="connsiteY1"/>
                    </a:cxn>
                    <a:cxn ang="0">
                      <a:pos x="connsiteX2" y="connsiteY2"/>
                    </a:cxn>
                    <a:cxn ang="0">
                      <a:pos x="connsiteX3" y="connsiteY3"/>
                    </a:cxn>
                  </a:cxnLst>
                  <a:rect l="l" t="t" r="r" b="b"/>
                  <a:pathLst>
                    <a:path w="35525" h="193117">
                      <a:moveTo>
                        <a:pt x="2990" y="0"/>
                      </a:moveTo>
                      <a:lnTo>
                        <a:pt x="35526" y="192579"/>
                      </a:lnTo>
                      <a:lnTo>
                        <a:pt x="32535" y="193118"/>
                      </a:lnTo>
                      <a:lnTo>
                        <a:pt x="0" y="479"/>
                      </a:lnTo>
                      <a:close/>
                    </a:path>
                  </a:pathLst>
                </a:custGeom>
                <a:grpFill/>
                <a:ln w="5978" cap="flat">
                  <a:noFill/>
                  <a:prstDash val="solid"/>
                  <a:miter/>
                </a:ln>
              </p:spPr>
              <p:txBody>
                <a:bodyPr rtlCol="0" anchor="ctr"/>
                <a:lstStyle/>
                <a:p>
                  <a:endParaRPr lang="en-GB"/>
                </a:p>
              </p:txBody>
            </p:sp>
            <p:sp>
              <p:nvSpPr>
                <p:cNvPr id="3171" name="Vrije vorm: vorm 3170">
                  <a:extLst>
                    <a:ext uri="{FF2B5EF4-FFF2-40B4-BE49-F238E27FC236}">
                      <a16:creationId xmlns:a16="http://schemas.microsoft.com/office/drawing/2014/main" id="{7809CD37-0476-44B4-AD9F-5D6C11508298}"/>
                    </a:ext>
                  </a:extLst>
                </p:cNvPr>
                <p:cNvSpPr/>
                <p:nvPr/>
              </p:nvSpPr>
              <p:spPr>
                <a:xfrm>
                  <a:off x="6360808" y="5269826"/>
                  <a:ext cx="18318" cy="18434"/>
                </a:xfrm>
                <a:custGeom>
                  <a:avLst/>
                  <a:gdLst>
                    <a:gd name="connsiteX0" fmla="*/ 18190 w 18318"/>
                    <a:gd name="connsiteY0" fmla="*/ 7722 h 18434"/>
                    <a:gd name="connsiteX1" fmla="*/ 10714 w 18318"/>
                    <a:gd name="connsiteY1" fmla="*/ 18308 h 18434"/>
                    <a:gd name="connsiteX2" fmla="*/ 128 w 18318"/>
                    <a:gd name="connsiteY2" fmla="*/ 10712 h 18434"/>
                    <a:gd name="connsiteX3" fmla="*/ 760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8" y="12746"/>
                        <a:pt x="15678" y="17470"/>
                        <a:pt x="10714" y="18308"/>
                      </a:cubicBezTo>
                      <a:cubicBezTo>
                        <a:pt x="5750" y="19145"/>
                        <a:pt x="966" y="15736"/>
                        <a:pt x="128" y="10712"/>
                      </a:cubicBezTo>
                      <a:cubicBezTo>
                        <a:pt x="-709" y="5689"/>
                        <a:pt x="2640" y="964"/>
                        <a:pt x="7604" y="126"/>
                      </a:cubicBezTo>
                      <a:cubicBezTo>
                        <a:pt x="12628" y="-711"/>
                        <a:pt x="17353" y="2698"/>
                        <a:pt x="18190" y="7722"/>
                      </a:cubicBezTo>
                      <a:close/>
                    </a:path>
                  </a:pathLst>
                </a:custGeom>
                <a:grpFill/>
                <a:ln w="5978" cap="flat">
                  <a:noFill/>
                  <a:prstDash val="solid"/>
                  <a:miter/>
                </a:ln>
              </p:spPr>
              <p:txBody>
                <a:bodyPr rtlCol="0" anchor="ctr"/>
                <a:lstStyle/>
                <a:p>
                  <a:endParaRPr lang="en-GB"/>
                </a:p>
              </p:txBody>
            </p:sp>
            <p:sp>
              <p:nvSpPr>
                <p:cNvPr id="3172" name="Vrije vorm: vorm 3171">
                  <a:extLst>
                    <a:ext uri="{FF2B5EF4-FFF2-40B4-BE49-F238E27FC236}">
                      <a16:creationId xmlns:a16="http://schemas.microsoft.com/office/drawing/2014/main" id="{CE4BE2F6-C2D6-4C31-AC20-CCDAC6EC86D9}"/>
                    </a:ext>
                  </a:extLst>
                </p:cNvPr>
                <p:cNvSpPr/>
                <p:nvPr/>
              </p:nvSpPr>
              <p:spPr>
                <a:xfrm>
                  <a:off x="6328377" y="5078084"/>
                  <a:ext cx="18333" cy="18434"/>
                </a:xfrm>
                <a:custGeom>
                  <a:avLst/>
                  <a:gdLst>
                    <a:gd name="connsiteX0" fmla="*/ 18205 w 18333"/>
                    <a:gd name="connsiteY0" fmla="*/ 7722 h 18434"/>
                    <a:gd name="connsiteX1" fmla="*/ 7619 w 18333"/>
                    <a:gd name="connsiteY1" fmla="*/ 126 h 18434"/>
                    <a:gd name="connsiteX2" fmla="*/ 143 w 18333"/>
                    <a:gd name="connsiteY2" fmla="*/ 10712 h 18434"/>
                    <a:gd name="connsiteX3" fmla="*/ 10729 w 18333"/>
                    <a:gd name="connsiteY3" fmla="*/ 18308 h 18434"/>
                    <a:gd name="connsiteX4" fmla="*/ 18205 w 18333"/>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4">
                      <a:moveTo>
                        <a:pt x="18205" y="7722"/>
                      </a:moveTo>
                      <a:cubicBezTo>
                        <a:pt x="17368" y="2698"/>
                        <a:pt x="12643" y="-711"/>
                        <a:pt x="7619" y="126"/>
                      </a:cubicBezTo>
                      <a:cubicBezTo>
                        <a:pt x="2655" y="964"/>
                        <a:pt x="-754" y="5689"/>
                        <a:pt x="143" y="10712"/>
                      </a:cubicBezTo>
                      <a:cubicBezTo>
                        <a:pt x="981" y="15736"/>
                        <a:pt x="5706" y="19145"/>
                        <a:pt x="10729" y="18308"/>
                      </a:cubicBezTo>
                      <a:cubicBezTo>
                        <a:pt x="15693" y="17530"/>
                        <a:pt x="19042" y="12746"/>
                        <a:pt x="18205" y="7722"/>
                      </a:cubicBezTo>
                      <a:close/>
                    </a:path>
                  </a:pathLst>
                </a:custGeom>
                <a:grpFill/>
                <a:ln w="5978" cap="flat">
                  <a:noFill/>
                  <a:prstDash val="solid"/>
                  <a:miter/>
                </a:ln>
              </p:spPr>
              <p:txBody>
                <a:bodyPr rtlCol="0" anchor="ctr"/>
                <a:lstStyle/>
                <a:p>
                  <a:endParaRPr lang="en-GB"/>
                </a:p>
              </p:txBody>
            </p:sp>
          </p:grpSp>
          <p:grpSp>
            <p:nvGrpSpPr>
              <p:cNvPr id="741" name="Graphic 3">
                <a:extLst>
                  <a:ext uri="{FF2B5EF4-FFF2-40B4-BE49-F238E27FC236}">
                    <a16:creationId xmlns:a16="http://schemas.microsoft.com/office/drawing/2014/main" id="{B19BEA77-8FDA-4DF8-AE4F-E57AD78B7E6E}"/>
                  </a:ext>
                </a:extLst>
              </p:cNvPr>
              <p:cNvGrpSpPr/>
              <p:nvPr/>
            </p:nvGrpSpPr>
            <p:grpSpPr>
              <a:xfrm>
                <a:off x="6406164" y="5321640"/>
                <a:ext cx="49014" cy="181588"/>
                <a:chOff x="6406164" y="5321640"/>
                <a:chExt cx="49014" cy="181588"/>
              </a:xfrm>
              <a:grpFill/>
            </p:grpSpPr>
            <p:sp>
              <p:nvSpPr>
                <p:cNvPr id="3167" name="Vrije vorm: vorm 3166">
                  <a:extLst>
                    <a:ext uri="{FF2B5EF4-FFF2-40B4-BE49-F238E27FC236}">
                      <a16:creationId xmlns:a16="http://schemas.microsoft.com/office/drawing/2014/main" id="{E89AF57B-0929-475E-9D03-6BBA02D8F3AE}"/>
                    </a:ext>
                  </a:extLst>
                </p:cNvPr>
                <p:cNvSpPr/>
                <p:nvPr/>
              </p:nvSpPr>
              <p:spPr>
                <a:xfrm>
                  <a:off x="6413746" y="5330119"/>
                  <a:ext cx="33850" cy="164589"/>
                </a:xfrm>
                <a:custGeom>
                  <a:avLst/>
                  <a:gdLst>
                    <a:gd name="connsiteX0" fmla="*/ 2990 w 33850"/>
                    <a:gd name="connsiteY0" fmla="*/ 0 h 164589"/>
                    <a:gd name="connsiteX1" fmla="*/ 33851 w 33850"/>
                    <a:gd name="connsiteY1" fmla="*/ 164051 h 164589"/>
                    <a:gd name="connsiteX2" fmla="*/ 30860 w 33850"/>
                    <a:gd name="connsiteY2" fmla="*/ 164590 h 164589"/>
                    <a:gd name="connsiteX3" fmla="*/ 0 w 33850"/>
                    <a:gd name="connsiteY3" fmla="*/ 538 h 164589"/>
                  </a:gdLst>
                  <a:ahLst/>
                  <a:cxnLst>
                    <a:cxn ang="0">
                      <a:pos x="connsiteX0" y="connsiteY0"/>
                    </a:cxn>
                    <a:cxn ang="0">
                      <a:pos x="connsiteX1" y="connsiteY1"/>
                    </a:cxn>
                    <a:cxn ang="0">
                      <a:pos x="connsiteX2" y="connsiteY2"/>
                    </a:cxn>
                    <a:cxn ang="0">
                      <a:pos x="connsiteX3" y="connsiteY3"/>
                    </a:cxn>
                  </a:cxnLst>
                  <a:rect l="l" t="t" r="r" b="b"/>
                  <a:pathLst>
                    <a:path w="33850" h="164589">
                      <a:moveTo>
                        <a:pt x="2990" y="0"/>
                      </a:moveTo>
                      <a:lnTo>
                        <a:pt x="33851" y="164051"/>
                      </a:lnTo>
                      <a:lnTo>
                        <a:pt x="30860" y="164590"/>
                      </a:lnTo>
                      <a:lnTo>
                        <a:pt x="0" y="538"/>
                      </a:lnTo>
                      <a:close/>
                    </a:path>
                  </a:pathLst>
                </a:custGeom>
                <a:grpFill/>
                <a:ln w="5978" cap="flat">
                  <a:noFill/>
                  <a:prstDash val="solid"/>
                  <a:miter/>
                </a:ln>
              </p:spPr>
              <p:txBody>
                <a:bodyPr rtlCol="0" anchor="ctr"/>
                <a:lstStyle/>
                <a:p>
                  <a:endParaRPr lang="en-GB"/>
                </a:p>
              </p:txBody>
            </p:sp>
            <p:sp>
              <p:nvSpPr>
                <p:cNvPr id="3168" name="Vrije vorm: vorm 3167">
                  <a:extLst>
                    <a:ext uri="{FF2B5EF4-FFF2-40B4-BE49-F238E27FC236}">
                      <a16:creationId xmlns:a16="http://schemas.microsoft.com/office/drawing/2014/main" id="{EEE8DF84-73AF-473E-BFA6-60C5F9841494}"/>
                    </a:ext>
                  </a:extLst>
                </p:cNvPr>
                <p:cNvSpPr/>
                <p:nvPr/>
              </p:nvSpPr>
              <p:spPr>
                <a:xfrm>
                  <a:off x="6436845" y="5484794"/>
                  <a:ext cx="18333" cy="18434"/>
                </a:xfrm>
                <a:custGeom>
                  <a:avLst/>
                  <a:gdLst>
                    <a:gd name="connsiteX0" fmla="*/ 18167 w 18333"/>
                    <a:gd name="connsiteY0" fmla="*/ 7522 h 18434"/>
                    <a:gd name="connsiteX1" fmla="*/ 10871 w 18333"/>
                    <a:gd name="connsiteY1" fmla="*/ 18287 h 18434"/>
                    <a:gd name="connsiteX2" fmla="*/ 166 w 18333"/>
                    <a:gd name="connsiteY2" fmla="*/ 10931 h 18434"/>
                    <a:gd name="connsiteX3" fmla="*/ 7462 w 18333"/>
                    <a:gd name="connsiteY3" fmla="*/ 166 h 18434"/>
                    <a:gd name="connsiteX4" fmla="*/ 18167 w 18333"/>
                    <a:gd name="connsiteY4" fmla="*/ 75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4">
                      <a:moveTo>
                        <a:pt x="18167" y="7522"/>
                      </a:moveTo>
                      <a:cubicBezTo>
                        <a:pt x="19124" y="12546"/>
                        <a:pt x="15835" y="17330"/>
                        <a:pt x="10871" y="18287"/>
                      </a:cubicBezTo>
                      <a:cubicBezTo>
                        <a:pt x="5907" y="19184"/>
                        <a:pt x="1122" y="15895"/>
                        <a:pt x="166" y="10931"/>
                      </a:cubicBezTo>
                      <a:cubicBezTo>
                        <a:pt x="-791" y="5907"/>
                        <a:pt x="2498" y="1122"/>
                        <a:pt x="7462" y="166"/>
                      </a:cubicBezTo>
                      <a:cubicBezTo>
                        <a:pt x="12426" y="-792"/>
                        <a:pt x="17270" y="2498"/>
                        <a:pt x="18167" y="7522"/>
                      </a:cubicBezTo>
                      <a:close/>
                    </a:path>
                  </a:pathLst>
                </a:custGeom>
                <a:grpFill/>
                <a:ln w="5978" cap="flat">
                  <a:noFill/>
                  <a:prstDash val="solid"/>
                  <a:miter/>
                </a:ln>
              </p:spPr>
              <p:txBody>
                <a:bodyPr rtlCol="0" anchor="ctr"/>
                <a:lstStyle/>
                <a:p>
                  <a:endParaRPr lang="en-GB"/>
                </a:p>
              </p:txBody>
            </p:sp>
            <p:sp>
              <p:nvSpPr>
                <p:cNvPr id="3169" name="Vrije vorm: vorm 3168">
                  <a:extLst>
                    <a:ext uri="{FF2B5EF4-FFF2-40B4-BE49-F238E27FC236}">
                      <a16:creationId xmlns:a16="http://schemas.microsoft.com/office/drawing/2014/main" id="{BF7BA1BD-2AAC-43D5-85EF-2A421313C552}"/>
                    </a:ext>
                  </a:extLst>
                </p:cNvPr>
                <p:cNvSpPr/>
                <p:nvPr/>
              </p:nvSpPr>
              <p:spPr>
                <a:xfrm>
                  <a:off x="6406164" y="5321640"/>
                  <a:ext cx="18333" cy="18392"/>
                </a:xfrm>
                <a:custGeom>
                  <a:avLst/>
                  <a:gdLst>
                    <a:gd name="connsiteX0" fmla="*/ 18167 w 18333"/>
                    <a:gd name="connsiteY0" fmla="*/ 7522 h 18392"/>
                    <a:gd name="connsiteX1" fmla="*/ 7462 w 18333"/>
                    <a:gd name="connsiteY1" fmla="*/ 165 h 18392"/>
                    <a:gd name="connsiteX2" fmla="*/ 166 w 18333"/>
                    <a:gd name="connsiteY2" fmla="*/ 10871 h 18392"/>
                    <a:gd name="connsiteX3" fmla="*/ 10871 w 18333"/>
                    <a:gd name="connsiteY3" fmla="*/ 18227 h 18392"/>
                    <a:gd name="connsiteX4" fmla="*/ 18167 w 18333"/>
                    <a:gd name="connsiteY4" fmla="*/ 7522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2">
                      <a:moveTo>
                        <a:pt x="18167" y="7522"/>
                      </a:moveTo>
                      <a:cubicBezTo>
                        <a:pt x="17211" y="2498"/>
                        <a:pt x="12426" y="-791"/>
                        <a:pt x="7462" y="165"/>
                      </a:cubicBezTo>
                      <a:cubicBezTo>
                        <a:pt x="2498" y="1063"/>
                        <a:pt x="-791" y="5907"/>
                        <a:pt x="166" y="10871"/>
                      </a:cubicBezTo>
                      <a:cubicBezTo>
                        <a:pt x="1122" y="15895"/>
                        <a:pt x="5907" y="19184"/>
                        <a:pt x="10871" y="18227"/>
                      </a:cubicBezTo>
                      <a:cubicBezTo>
                        <a:pt x="15835" y="17330"/>
                        <a:pt x="19124" y="12546"/>
                        <a:pt x="18167" y="7522"/>
                      </a:cubicBezTo>
                      <a:close/>
                    </a:path>
                  </a:pathLst>
                </a:custGeom>
                <a:grpFill/>
                <a:ln w="5978" cap="flat">
                  <a:noFill/>
                  <a:prstDash val="solid"/>
                  <a:miter/>
                </a:ln>
              </p:spPr>
              <p:txBody>
                <a:bodyPr rtlCol="0" anchor="ctr"/>
                <a:lstStyle/>
                <a:p>
                  <a:endParaRPr lang="en-GB"/>
                </a:p>
              </p:txBody>
            </p:sp>
          </p:grpSp>
          <p:grpSp>
            <p:nvGrpSpPr>
              <p:cNvPr id="742" name="Graphic 3">
                <a:extLst>
                  <a:ext uri="{FF2B5EF4-FFF2-40B4-BE49-F238E27FC236}">
                    <a16:creationId xmlns:a16="http://schemas.microsoft.com/office/drawing/2014/main" id="{353156CD-5A1A-4683-BACA-F6AE7385FAFB}"/>
                  </a:ext>
                </a:extLst>
              </p:cNvPr>
              <p:cNvGrpSpPr/>
              <p:nvPr/>
            </p:nvGrpSpPr>
            <p:grpSpPr>
              <a:xfrm>
                <a:off x="6359542" y="5077058"/>
                <a:ext cx="107737" cy="730160"/>
                <a:chOff x="6359542" y="5077058"/>
                <a:chExt cx="107737" cy="730160"/>
              </a:xfrm>
              <a:grpFill/>
            </p:grpSpPr>
            <p:sp>
              <p:nvSpPr>
                <p:cNvPr id="3164" name="Vrije vorm: vorm 3163">
                  <a:extLst>
                    <a:ext uri="{FF2B5EF4-FFF2-40B4-BE49-F238E27FC236}">
                      <a16:creationId xmlns:a16="http://schemas.microsoft.com/office/drawing/2014/main" id="{3DC5875A-FCD1-450B-96A6-482132DF37B1}"/>
                    </a:ext>
                  </a:extLst>
                </p:cNvPr>
                <p:cNvSpPr/>
                <p:nvPr/>
              </p:nvSpPr>
              <p:spPr>
                <a:xfrm>
                  <a:off x="6367156" y="5085687"/>
                  <a:ext cx="92521" cy="712961"/>
                </a:xfrm>
                <a:custGeom>
                  <a:avLst/>
                  <a:gdLst>
                    <a:gd name="connsiteX0" fmla="*/ 3050 w 92521"/>
                    <a:gd name="connsiteY0" fmla="*/ 0 h 712961"/>
                    <a:gd name="connsiteX1" fmla="*/ 92522 w 92521"/>
                    <a:gd name="connsiteY1" fmla="*/ 712543 h 712961"/>
                    <a:gd name="connsiteX2" fmla="*/ 89532 w 92521"/>
                    <a:gd name="connsiteY2" fmla="*/ 712962 h 712961"/>
                    <a:gd name="connsiteX3" fmla="*/ 0 w 92521"/>
                    <a:gd name="connsiteY3" fmla="*/ 359 h 712961"/>
                  </a:gdLst>
                  <a:ahLst/>
                  <a:cxnLst>
                    <a:cxn ang="0">
                      <a:pos x="connsiteX0" y="connsiteY0"/>
                    </a:cxn>
                    <a:cxn ang="0">
                      <a:pos x="connsiteX1" y="connsiteY1"/>
                    </a:cxn>
                    <a:cxn ang="0">
                      <a:pos x="connsiteX2" y="connsiteY2"/>
                    </a:cxn>
                    <a:cxn ang="0">
                      <a:pos x="connsiteX3" y="connsiteY3"/>
                    </a:cxn>
                  </a:cxnLst>
                  <a:rect l="l" t="t" r="r" b="b"/>
                  <a:pathLst>
                    <a:path w="92521" h="712961">
                      <a:moveTo>
                        <a:pt x="3050" y="0"/>
                      </a:moveTo>
                      <a:lnTo>
                        <a:pt x="92522" y="712543"/>
                      </a:lnTo>
                      <a:lnTo>
                        <a:pt x="89532" y="712962"/>
                      </a:lnTo>
                      <a:lnTo>
                        <a:pt x="0" y="359"/>
                      </a:lnTo>
                      <a:close/>
                    </a:path>
                  </a:pathLst>
                </a:custGeom>
                <a:grpFill/>
                <a:ln w="5978" cap="flat">
                  <a:noFill/>
                  <a:prstDash val="solid"/>
                  <a:miter/>
                </a:ln>
              </p:spPr>
              <p:txBody>
                <a:bodyPr rtlCol="0" anchor="ctr"/>
                <a:lstStyle/>
                <a:p>
                  <a:endParaRPr lang="en-GB"/>
                </a:p>
              </p:txBody>
            </p:sp>
            <p:sp>
              <p:nvSpPr>
                <p:cNvPr id="3165" name="Vrije vorm: vorm 3164">
                  <a:extLst>
                    <a:ext uri="{FF2B5EF4-FFF2-40B4-BE49-F238E27FC236}">
                      <a16:creationId xmlns:a16="http://schemas.microsoft.com/office/drawing/2014/main" id="{21786C0C-999F-4D97-A754-208DB478B941}"/>
                    </a:ext>
                  </a:extLst>
                </p:cNvPr>
                <p:cNvSpPr/>
                <p:nvPr/>
              </p:nvSpPr>
              <p:spPr>
                <a:xfrm>
                  <a:off x="6359542" y="5077058"/>
                  <a:ext cx="18336" cy="18455"/>
                </a:xfrm>
                <a:custGeom>
                  <a:avLst/>
                  <a:gdLst>
                    <a:gd name="connsiteX0" fmla="*/ 78 w 18336"/>
                    <a:gd name="connsiteY0" fmla="*/ 10363 h 18455"/>
                    <a:gd name="connsiteX1" fmla="*/ 8032 w 18336"/>
                    <a:gd name="connsiteY1" fmla="*/ 77 h 18455"/>
                    <a:gd name="connsiteX2" fmla="*/ 18259 w 18336"/>
                    <a:gd name="connsiteY2" fmla="*/ 8091 h 18455"/>
                    <a:gd name="connsiteX3" fmla="*/ 10305 w 18336"/>
                    <a:gd name="connsiteY3" fmla="*/ 18378 h 18455"/>
                    <a:gd name="connsiteX4" fmla="*/ 78 w 18336"/>
                    <a:gd name="connsiteY4" fmla="*/ 10363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5">
                      <a:moveTo>
                        <a:pt x="78" y="10363"/>
                      </a:moveTo>
                      <a:cubicBezTo>
                        <a:pt x="-580" y="5340"/>
                        <a:pt x="3008" y="735"/>
                        <a:pt x="8032" y="77"/>
                      </a:cubicBezTo>
                      <a:cubicBezTo>
                        <a:pt x="13056" y="-581"/>
                        <a:pt x="17661" y="3067"/>
                        <a:pt x="18259" y="8091"/>
                      </a:cubicBezTo>
                      <a:cubicBezTo>
                        <a:pt x="18917" y="13115"/>
                        <a:pt x="15329" y="17720"/>
                        <a:pt x="10305" y="18378"/>
                      </a:cubicBezTo>
                      <a:cubicBezTo>
                        <a:pt x="5281" y="19036"/>
                        <a:pt x="736" y="15447"/>
                        <a:pt x="78" y="10363"/>
                      </a:cubicBezTo>
                      <a:close/>
                    </a:path>
                  </a:pathLst>
                </a:custGeom>
                <a:grpFill/>
                <a:ln w="5978" cap="flat">
                  <a:noFill/>
                  <a:prstDash val="solid"/>
                  <a:miter/>
                </a:ln>
              </p:spPr>
              <p:txBody>
                <a:bodyPr rtlCol="0" anchor="ctr"/>
                <a:lstStyle/>
                <a:p>
                  <a:endParaRPr lang="en-GB"/>
                </a:p>
              </p:txBody>
            </p:sp>
            <p:sp>
              <p:nvSpPr>
                <p:cNvPr id="3166" name="Vrije vorm: vorm 3165">
                  <a:extLst>
                    <a:ext uri="{FF2B5EF4-FFF2-40B4-BE49-F238E27FC236}">
                      <a16:creationId xmlns:a16="http://schemas.microsoft.com/office/drawing/2014/main" id="{2265F691-884C-4797-A76D-4374A104C01D}"/>
                    </a:ext>
                  </a:extLst>
                </p:cNvPr>
                <p:cNvSpPr/>
                <p:nvPr/>
              </p:nvSpPr>
              <p:spPr>
                <a:xfrm>
                  <a:off x="6448954" y="5788762"/>
                  <a:ext cx="18325" cy="18455"/>
                </a:xfrm>
                <a:custGeom>
                  <a:avLst/>
                  <a:gdLst>
                    <a:gd name="connsiteX0" fmla="*/ 78 w 18325"/>
                    <a:gd name="connsiteY0" fmla="*/ 10364 h 18455"/>
                    <a:gd name="connsiteX1" fmla="*/ 10305 w 18325"/>
                    <a:gd name="connsiteY1" fmla="*/ 18379 h 18455"/>
                    <a:gd name="connsiteX2" fmla="*/ 18259 w 18325"/>
                    <a:gd name="connsiteY2" fmla="*/ 8092 h 18455"/>
                    <a:gd name="connsiteX3" fmla="*/ 8032 w 18325"/>
                    <a:gd name="connsiteY3" fmla="*/ 78 h 18455"/>
                    <a:gd name="connsiteX4" fmla="*/ 78 w 18325"/>
                    <a:gd name="connsiteY4" fmla="*/ 10364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5">
                      <a:moveTo>
                        <a:pt x="78" y="10364"/>
                      </a:moveTo>
                      <a:cubicBezTo>
                        <a:pt x="736" y="15388"/>
                        <a:pt x="5281" y="19037"/>
                        <a:pt x="10305" y="18379"/>
                      </a:cubicBezTo>
                      <a:cubicBezTo>
                        <a:pt x="15329" y="17781"/>
                        <a:pt x="18857" y="13176"/>
                        <a:pt x="18259" y="8092"/>
                      </a:cubicBezTo>
                      <a:cubicBezTo>
                        <a:pt x="17661" y="3008"/>
                        <a:pt x="13056" y="-580"/>
                        <a:pt x="8032" y="78"/>
                      </a:cubicBezTo>
                      <a:cubicBezTo>
                        <a:pt x="3009" y="736"/>
                        <a:pt x="-580" y="5281"/>
                        <a:pt x="78" y="10364"/>
                      </a:cubicBezTo>
                      <a:close/>
                    </a:path>
                  </a:pathLst>
                </a:custGeom>
                <a:grpFill/>
                <a:ln w="5978" cap="flat">
                  <a:noFill/>
                  <a:prstDash val="solid"/>
                  <a:miter/>
                </a:ln>
              </p:spPr>
              <p:txBody>
                <a:bodyPr rtlCol="0" anchor="ctr"/>
                <a:lstStyle/>
                <a:p>
                  <a:endParaRPr lang="en-GB"/>
                </a:p>
              </p:txBody>
            </p:sp>
          </p:grpSp>
          <p:grpSp>
            <p:nvGrpSpPr>
              <p:cNvPr id="743" name="Graphic 3">
                <a:extLst>
                  <a:ext uri="{FF2B5EF4-FFF2-40B4-BE49-F238E27FC236}">
                    <a16:creationId xmlns:a16="http://schemas.microsoft.com/office/drawing/2014/main" id="{F47869BA-8EC9-4A98-AB83-85F6693A3E91}"/>
                  </a:ext>
                </a:extLst>
              </p:cNvPr>
              <p:cNvGrpSpPr/>
              <p:nvPr/>
            </p:nvGrpSpPr>
            <p:grpSpPr>
              <a:xfrm>
                <a:off x="6363843" y="5288008"/>
                <a:ext cx="32687" cy="103001"/>
                <a:chOff x="6363843" y="5288008"/>
                <a:chExt cx="32687" cy="103001"/>
              </a:xfrm>
              <a:grpFill/>
            </p:grpSpPr>
            <p:sp>
              <p:nvSpPr>
                <p:cNvPr id="3161" name="Vrije vorm: vorm 3160">
                  <a:extLst>
                    <a:ext uri="{FF2B5EF4-FFF2-40B4-BE49-F238E27FC236}">
                      <a16:creationId xmlns:a16="http://schemas.microsoft.com/office/drawing/2014/main" id="{3FDCD608-C02C-422D-84B1-ADFE5CE76098}"/>
                    </a:ext>
                  </a:extLst>
                </p:cNvPr>
                <p:cNvSpPr/>
                <p:nvPr/>
              </p:nvSpPr>
              <p:spPr>
                <a:xfrm>
                  <a:off x="6371462" y="5296507"/>
                  <a:ext cx="17463" cy="86002"/>
                </a:xfrm>
                <a:custGeom>
                  <a:avLst/>
                  <a:gdLst>
                    <a:gd name="connsiteX0" fmla="*/ 2990 w 17463"/>
                    <a:gd name="connsiteY0" fmla="*/ 0 h 86002"/>
                    <a:gd name="connsiteX1" fmla="*/ 17464 w 17463"/>
                    <a:gd name="connsiteY1" fmla="*/ 85464 h 86002"/>
                    <a:gd name="connsiteX2" fmla="*/ 14473 w 17463"/>
                    <a:gd name="connsiteY2" fmla="*/ 86003 h 86002"/>
                    <a:gd name="connsiteX3" fmla="*/ 0 w 17463"/>
                    <a:gd name="connsiteY3" fmla="*/ 538 h 86002"/>
                  </a:gdLst>
                  <a:ahLst/>
                  <a:cxnLst>
                    <a:cxn ang="0">
                      <a:pos x="connsiteX0" y="connsiteY0"/>
                    </a:cxn>
                    <a:cxn ang="0">
                      <a:pos x="connsiteX1" y="connsiteY1"/>
                    </a:cxn>
                    <a:cxn ang="0">
                      <a:pos x="connsiteX2" y="connsiteY2"/>
                    </a:cxn>
                    <a:cxn ang="0">
                      <a:pos x="connsiteX3" y="connsiteY3"/>
                    </a:cxn>
                  </a:cxnLst>
                  <a:rect l="l" t="t" r="r" b="b"/>
                  <a:pathLst>
                    <a:path w="17463" h="86002">
                      <a:moveTo>
                        <a:pt x="2990" y="0"/>
                      </a:moveTo>
                      <a:lnTo>
                        <a:pt x="17464" y="85464"/>
                      </a:lnTo>
                      <a:lnTo>
                        <a:pt x="14473" y="86003"/>
                      </a:lnTo>
                      <a:lnTo>
                        <a:pt x="0" y="538"/>
                      </a:lnTo>
                      <a:close/>
                    </a:path>
                  </a:pathLst>
                </a:custGeom>
                <a:grpFill/>
                <a:ln w="5978" cap="flat">
                  <a:noFill/>
                  <a:prstDash val="solid"/>
                  <a:miter/>
                </a:ln>
              </p:spPr>
              <p:txBody>
                <a:bodyPr rtlCol="0" anchor="ctr"/>
                <a:lstStyle/>
                <a:p>
                  <a:endParaRPr lang="en-GB"/>
                </a:p>
              </p:txBody>
            </p:sp>
            <p:sp>
              <p:nvSpPr>
                <p:cNvPr id="3162" name="Vrije vorm: vorm 3161">
                  <a:extLst>
                    <a:ext uri="{FF2B5EF4-FFF2-40B4-BE49-F238E27FC236}">
                      <a16:creationId xmlns:a16="http://schemas.microsoft.com/office/drawing/2014/main" id="{0538D52A-D51E-493E-AA1D-C8E5E89AA765}"/>
                    </a:ext>
                  </a:extLst>
                </p:cNvPr>
                <p:cNvSpPr/>
                <p:nvPr/>
              </p:nvSpPr>
              <p:spPr>
                <a:xfrm>
                  <a:off x="6378212" y="5372575"/>
                  <a:ext cx="18318" cy="18434"/>
                </a:xfrm>
                <a:custGeom>
                  <a:avLst/>
                  <a:gdLst>
                    <a:gd name="connsiteX0" fmla="*/ 18190 w 18318"/>
                    <a:gd name="connsiteY0" fmla="*/ 7722 h 18434"/>
                    <a:gd name="connsiteX1" fmla="*/ 10714 w 18318"/>
                    <a:gd name="connsiteY1" fmla="*/ 18308 h 18434"/>
                    <a:gd name="connsiteX2" fmla="*/ 128 w 18318"/>
                    <a:gd name="connsiteY2" fmla="*/ 10712 h 18434"/>
                    <a:gd name="connsiteX3" fmla="*/ 760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7" y="12746"/>
                        <a:pt x="15678" y="17471"/>
                        <a:pt x="10714" y="18308"/>
                      </a:cubicBezTo>
                      <a:cubicBezTo>
                        <a:pt x="5750" y="19145"/>
                        <a:pt x="965" y="15736"/>
                        <a:pt x="128" y="10712"/>
                      </a:cubicBezTo>
                      <a:cubicBezTo>
                        <a:pt x="-709" y="5689"/>
                        <a:pt x="2640" y="964"/>
                        <a:pt x="7604" y="126"/>
                      </a:cubicBezTo>
                      <a:cubicBezTo>
                        <a:pt x="12568" y="-711"/>
                        <a:pt x="17293" y="2698"/>
                        <a:pt x="18190" y="7722"/>
                      </a:cubicBezTo>
                      <a:close/>
                    </a:path>
                  </a:pathLst>
                </a:custGeom>
                <a:grpFill/>
                <a:ln w="5978" cap="flat">
                  <a:noFill/>
                  <a:prstDash val="solid"/>
                  <a:miter/>
                </a:ln>
              </p:spPr>
              <p:txBody>
                <a:bodyPr rtlCol="0" anchor="ctr"/>
                <a:lstStyle/>
                <a:p>
                  <a:endParaRPr lang="en-GB"/>
                </a:p>
              </p:txBody>
            </p:sp>
            <p:sp>
              <p:nvSpPr>
                <p:cNvPr id="3163" name="Vrije vorm: vorm 3162">
                  <a:extLst>
                    <a:ext uri="{FF2B5EF4-FFF2-40B4-BE49-F238E27FC236}">
                      <a16:creationId xmlns:a16="http://schemas.microsoft.com/office/drawing/2014/main" id="{AB464643-62A7-4CCE-AB8F-EA0E68B287D1}"/>
                    </a:ext>
                  </a:extLst>
                </p:cNvPr>
                <p:cNvSpPr/>
                <p:nvPr/>
              </p:nvSpPr>
              <p:spPr>
                <a:xfrm>
                  <a:off x="6363843" y="5288008"/>
                  <a:ext cx="18350" cy="18434"/>
                </a:xfrm>
                <a:custGeom>
                  <a:avLst/>
                  <a:gdLst>
                    <a:gd name="connsiteX0" fmla="*/ 18205 w 18350"/>
                    <a:gd name="connsiteY0" fmla="*/ 7722 h 18434"/>
                    <a:gd name="connsiteX1" fmla="*/ 7619 w 18350"/>
                    <a:gd name="connsiteY1" fmla="*/ 126 h 18434"/>
                    <a:gd name="connsiteX2" fmla="*/ 143 w 18350"/>
                    <a:gd name="connsiteY2" fmla="*/ 10712 h 18434"/>
                    <a:gd name="connsiteX3" fmla="*/ 10729 w 18350"/>
                    <a:gd name="connsiteY3" fmla="*/ 18308 h 18434"/>
                    <a:gd name="connsiteX4" fmla="*/ 18205 w 18350"/>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4">
                      <a:moveTo>
                        <a:pt x="18205" y="7722"/>
                      </a:moveTo>
                      <a:cubicBezTo>
                        <a:pt x="17368" y="2698"/>
                        <a:pt x="12643" y="-711"/>
                        <a:pt x="7619" y="126"/>
                      </a:cubicBezTo>
                      <a:cubicBezTo>
                        <a:pt x="2655" y="964"/>
                        <a:pt x="-754" y="5689"/>
                        <a:pt x="143" y="10712"/>
                      </a:cubicBezTo>
                      <a:cubicBezTo>
                        <a:pt x="981" y="15736"/>
                        <a:pt x="5706" y="19145"/>
                        <a:pt x="10729" y="18308"/>
                      </a:cubicBezTo>
                      <a:cubicBezTo>
                        <a:pt x="15753" y="17471"/>
                        <a:pt x="19102" y="12746"/>
                        <a:pt x="18205" y="7722"/>
                      </a:cubicBezTo>
                      <a:close/>
                    </a:path>
                  </a:pathLst>
                </a:custGeom>
                <a:grpFill/>
                <a:ln w="5978" cap="flat">
                  <a:noFill/>
                  <a:prstDash val="solid"/>
                  <a:miter/>
                </a:ln>
              </p:spPr>
              <p:txBody>
                <a:bodyPr rtlCol="0" anchor="ctr"/>
                <a:lstStyle/>
                <a:p>
                  <a:endParaRPr lang="en-GB"/>
                </a:p>
              </p:txBody>
            </p:sp>
          </p:grpSp>
          <p:grpSp>
            <p:nvGrpSpPr>
              <p:cNvPr id="744" name="Graphic 3">
                <a:extLst>
                  <a:ext uri="{FF2B5EF4-FFF2-40B4-BE49-F238E27FC236}">
                    <a16:creationId xmlns:a16="http://schemas.microsoft.com/office/drawing/2014/main" id="{8E479509-06D8-442B-ADB6-5C66B2C6531B}"/>
                  </a:ext>
                </a:extLst>
              </p:cNvPr>
              <p:cNvGrpSpPr/>
              <p:nvPr/>
            </p:nvGrpSpPr>
            <p:grpSpPr>
              <a:xfrm>
                <a:off x="5053945" y="1471463"/>
                <a:ext cx="197974" cy="436142"/>
                <a:chOff x="5053945" y="1471463"/>
                <a:chExt cx="197974" cy="436142"/>
              </a:xfrm>
              <a:grpFill/>
            </p:grpSpPr>
            <p:sp>
              <p:nvSpPr>
                <p:cNvPr id="3158" name="Vrije vorm: vorm 3157">
                  <a:extLst>
                    <a:ext uri="{FF2B5EF4-FFF2-40B4-BE49-F238E27FC236}">
                      <a16:creationId xmlns:a16="http://schemas.microsoft.com/office/drawing/2014/main" id="{DF8C121E-DF8D-4336-9822-DF355641D5D1}"/>
                    </a:ext>
                  </a:extLst>
                </p:cNvPr>
                <p:cNvSpPr/>
                <p:nvPr/>
              </p:nvSpPr>
              <p:spPr>
                <a:xfrm>
                  <a:off x="5061564" y="1479671"/>
                  <a:ext cx="182710" cy="419786"/>
                </a:xfrm>
                <a:custGeom>
                  <a:avLst/>
                  <a:gdLst>
                    <a:gd name="connsiteX0" fmla="*/ 182711 w 182710"/>
                    <a:gd name="connsiteY0" fmla="*/ 418591 h 419786"/>
                    <a:gd name="connsiteX1" fmla="*/ 179960 w 182710"/>
                    <a:gd name="connsiteY1" fmla="*/ 419787 h 419786"/>
                    <a:gd name="connsiteX2" fmla="*/ 0 w 182710"/>
                    <a:gd name="connsiteY2" fmla="*/ 1196 h 419786"/>
                    <a:gd name="connsiteX3" fmla="*/ 2811 w 182710"/>
                    <a:gd name="connsiteY3" fmla="*/ 0 h 419786"/>
                  </a:gdLst>
                  <a:ahLst/>
                  <a:cxnLst>
                    <a:cxn ang="0">
                      <a:pos x="connsiteX0" y="connsiteY0"/>
                    </a:cxn>
                    <a:cxn ang="0">
                      <a:pos x="connsiteX1" y="connsiteY1"/>
                    </a:cxn>
                    <a:cxn ang="0">
                      <a:pos x="connsiteX2" y="connsiteY2"/>
                    </a:cxn>
                    <a:cxn ang="0">
                      <a:pos x="connsiteX3" y="connsiteY3"/>
                    </a:cxn>
                  </a:cxnLst>
                  <a:rect l="l" t="t" r="r" b="b"/>
                  <a:pathLst>
                    <a:path w="182710" h="419786">
                      <a:moveTo>
                        <a:pt x="182711" y="418591"/>
                      </a:moveTo>
                      <a:lnTo>
                        <a:pt x="179960" y="419787"/>
                      </a:lnTo>
                      <a:lnTo>
                        <a:pt x="0" y="1196"/>
                      </a:lnTo>
                      <a:lnTo>
                        <a:pt x="2811" y="0"/>
                      </a:lnTo>
                      <a:close/>
                    </a:path>
                  </a:pathLst>
                </a:custGeom>
                <a:grpFill/>
                <a:ln w="5978" cap="flat">
                  <a:noFill/>
                  <a:prstDash val="solid"/>
                  <a:miter/>
                </a:ln>
              </p:spPr>
              <p:txBody>
                <a:bodyPr rtlCol="0" anchor="ctr"/>
                <a:lstStyle/>
                <a:p>
                  <a:endParaRPr lang="en-GB"/>
                </a:p>
              </p:txBody>
            </p:sp>
            <p:sp>
              <p:nvSpPr>
                <p:cNvPr id="3159" name="Vrije vorm: vorm 3158">
                  <a:extLst>
                    <a:ext uri="{FF2B5EF4-FFF2-40B4-BE49-F238E27FC236}">
                      <a16:creationId xmlns:a16="http://schemas.microsoft.com/office/drawing/2014/main" id="{C76689EC-D37A-4639-94F4-EFD0AF28F7E1}"/>
                    </a:ext>
                  </a:extLst>
                </p:cNvPr>
                <p:cNvSpPr/>
                <p:nvPr/>
              </p:nvSpPr>
              <p:spPr>
                <a:xfrm>
                  <a:off x="5233521" y="1889216"/>
                  <a:ext cx="18398" cy="18388"/>
                </a:xfrm>
                <a:custGeom>
                  <a:avLst/>
                  <a:gdLst>
                    <a:gd name="connsiteX0" fmla="*/ 17632 w 18398"/>
                    <a:gd name="connsiteY0" fmla="*/ 5576 h 18388"/>
                    <a:gd name="connsiteX1" fmla="*/ 12848 w 18398"/>
                    <a:gd name="connsiteY1" fmla="*/ 17657 h 18388"/>
                    <a:gd name="connsiteX2" fmla="*/ 767 w 18398"/>
                    <a:gd name="connsiteY2" fmla="*/ 12813 h 18388"/>
                    <a:gd name="connsiteX3" fmla="*/ 5551 w 18398"/>
                    <a:gd name="connsiteY3" fmla="*/ 732 h 18388"/>
                    <a:gd name="connsiteX4" fmla="*/ 17632 w 18398"/>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388">
                      <a:moveTo>
                        <a:pt x="17632" y="5576"/>
                      </a:moveTo>
                      <a:cubicBezTo>
                        <a:pt x="19666" y="10241"/>
                        <a:pt x="17513" y="15684"/>
                        <a:pt x="12848" y="17657"/>
                      </a:cubicBezTo>
                      <a:cubicBezTo>
                        <a:pt x="8183" y="19631"/>
                        <a:pt x="2800" y="17478"/>
                        <a:pt x="767" y="12813"/>
                      </a:cubicBezTo>
                      <a:cubicBezTo>
                        <a:pt x="-1267" y="8148"/>
                        <a:pt x="886" y="2705"/>
                        <a:pt x="5551" y="732"/>
                      </a:cubicBezTo>
                      <a:cubicBezTo>
                        <a:pt x="10216" y="-1242"/>
                        <a:pt x="15599" y="911"/>
                        <a:pt x="17632" y="5576"/>
                      </a:cubicBezTo>
                      <a:close/>
                    </a:path>
                  </a:pathLst>
                </a:custGeom>
                <a:grpFill/>
                <a:ln w="5978" cap="flat">
                  <a:noFill/>
                  <a:prstDash val="solid"/>
                  <a:miter/>
                </a:ln>
              </p:spPr>
              <p:txBody>
                <a:bodyPr rtlCol="0" anchor="ctr"/>
                <a:lstStyle/>
                <a:p>
                  <a:endParaRPr lang="en-GB"/>
                </a:p>
              </p:txBody>
            </p:sp>
            <p:sp>
              <p:nvSpPr>
                <p:cNvPr id="3160" name="Vrije vorm: vorm 3159">
                  <a:extLst>
                    <a:ext uri="{FF2B5EF4-FFF2-40B4-BE49-F238E27FC236}">
                      <a16:creationId xmlns:a16="http://schemas.microsoft.com/office/drawing/2014/main" id="{C44A6446-F29B-41B4-8A26-63C6B3448C42}"/>
                    </a:ext>
                  </a:extLst>
                </p:cNvPr>
                <p:cNvSpPr/>
                <p:nvPr/>
              </p:nvSpPr>
              <p:spPr>
                <a:xfrm>
                  <a:off x="5053945" y="1471463"/>
                  <a:ext cx="18348" cy="18388"/>
                </a:xfrm>
                <a:custGeom>
                  <a:avLst/>
                  <a:gdLst>
                    <a:gd name="connsiteX0" fmla="*/ 17607 w 18348"/>
                    <a:gd name="connsiteY0" fmla="*/ 5576 h 18388"/>
                    <a:gd name="connsiteX1" fmla="*/ 5526 w 18348"/>
                    <a:gd name="connsiteY1" fmla="*/ 732 h 18388"/>
                    <a:gd name="connsiteX2" fmla="*/ 741 w 18348"/>
                    <a:gd name="connsiteY2" fmla="*/ 12813 h 18388"/>
                    <a:gd name="connsiteX3" fmla="*/ 12822 w 18348"/>
                    <a:gd name="connsiteY3" fmla="*/ 17657 h 18388"/>
                    <a:gd name="connsiteX4" fmla="*/ 17607 w 18348"/>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88">
                      <a:moveTo>
                        <a:pt x="17607" y="5576"/>
                      </a:moveTo>
                      <a:cubicBezTo>
                        <a:pt x="15573" y="911"/>
                        <a:pt x="10191" y="-1242"/>
                        <a:pt x="5526" y="732"/>
                      </a:cubicBezTo>
                      <a:cubicBezTo>
                        <a:pt x="861" y="2705"/>
                        <a:pt x="-1232" y="8148"/>
                        <a:pt x="741" y="12813"/>
                      </a:cubicBezTo>
                      <a:cubicBezTo>
                        <a:pt x="2775" y="17478"/>
                        <a:pt x="8157" y="19631"/>
                        <a:pt x="12822" y="17657"/>
                      </a:cubicBezTo>
                      <a:cubicBezTo>
                        <a:pt x="17487" y="15684"/>
                        <a:pt x="19580" y="10241"/>
                        <a:pt x="17607" y="5576"/>
                      </a:cubicBezTo>
                      <a:close/>
                    </a:path>
                  </a:pathLst>
                </a:custGeom>
                <a:grpFill/>
                <a:ln w="5978" cap="flat">
                  <a:noFill/>
                  <a:prstDash val="solid"/>
                  <a:miter/>
                </a:ln>
              </p:spPr>
              <p:txBody>
                <a:bodyPr rtlCol="0" anchor="ctr"/>
                <a:lstStyle/>
                <a:p>
                  <a:endParaRPr lang="en-GB"/>
                </a:p>
              </p:txBody>
            </p:sp>
          </p:grpSp>
          <p:grpSp>
            <p:nvGrpSpPr>
              <p:cNvPr id="745" name="Graphic 3">
                <a:extLst>
                  <a:ext uri="{FF2B5EF4-FFF2-40B4-BE49-F238E27FC236}">
                    <a16:creationId xmlns:a16="http://schemas.microsoft.com/office/drawing/2014/main" id="{FA68F8A9-1C1C-439B-A2D5-39B6CC151C32}"/>
                  </a:ext>
                </a:extLst>
              </p:cNvPr>
              <p:cNvGrpSpPr/>
              <p:nvPr/>
            </p:nvGrpSpPr>
            <p:grpSpPr>
              <a:xfrm>
                <a:off x="5067657" y="1496830"/>
                <a:ext cx="61077" cy="102042"/>
                <a:chOff x="5067657" y="1496830"/>
                <a:chExt cx="61077" cy="102042"/>
              </a:xfrm>
              <a:grpFill/>
            </p:grpSpPr>
            <p:sp>
              <p:nvSpPr>
                <p:cNvPr id="3155" name="Vrije vorm: vorm 3154">
                  <a:extLst>
                    <a:ext uri="{FF2B5EF4-FFF2-40B4-BE49-F238E27FC236}">
                      <a16:creationId xmlns:a16="http://schemas.microsoft.com/office/drawing/2014/main" id="{102B1C8F-D3F7-486A-9DB6-AE5B4EB8387C}"/>
                    </a:ext>
                  </a:extLst>
                </p:cNvPr>
                <p:cNvSpPr/>
                <p:nvPr/>
              </p:nvSpPr>
              <p:spPr>
                <a:xfrm>
                  <a:off x="5075260" y="1504969"/>
                  <a:ext cx="45931" cy="85763"/>
                </a:xfrm>
                <a:custGeom>
                  <a:avLst/>
                  <a:gdLst>
                    <a:gd name="connsiteX0" fmla="*/ 45932 w 45931"/>
                    <a:gd name="connsiteY0" fmla="*/ 84388 h 85763"/>
                    <a:gd name="connsiteX1" fmla="*/ 43181 w 45931"/>
                    <a:gd name="connsiteY1" fmla="*/ 85764 h 85763"/>
                    <a:gd name="connsiteX2" fmla="*/ 0 w 45931"/>
                    <a:gd name="connsiteY2" fmla="*/ 1376 h 85763"/>
                    <a:gd name="connsiteX3" fmla="*/ 2691 w 45931"/>
                    <a:gd name="connsiteY3" fmla="*/ 0 h 85763"/>
                  </a:gdLst>
                  <a:ahLst/>
                  <a:cxnLst>
                    <a:cxn ang="0">
                      <a:pos x="connsiteX0" y="connsiteY0"/>
                    </a:cxn>
                    <a:cxn ang="0">
                      <a:pos x="connsiteX1" y="connsiteY1"/>
                    </a:cxn>
                    <a:cxn ang="0">
                      <a:pos x="connsiteX2" y="connsiteY2"/>
                    </a:cxn>
                    <a:cxn ang="0">
                      <a:pos x="connsiteX3" y="connsiteY3"/>
                    </a:cxn>
                  </a:cxnLst>
                  <a:rect l="l" t="t" r="r" b="b"/>
                  <a:pathLst>
                    <a:path w="45931" h="85763">
                      <a:moveTo>
                        <a:pt x="45932" y="84388"/>
                      </a:moveTo>
                      <a:lnTo>
                        <a:pt x="43181" y="85764"/>
                      </a:lnTo>
                      <a:lnTo>
                        <a:pt x="0" y="1376"/>
                      </a:lnTo>
                      <a:lnTo>
                        <a:pt x="2691" y="0"/>
                      </a:lnTo>
                      <a:close/>
                    </a:path>
                  </a:pathLst>
                </a:custGeom>
                <a:grpFill/>
                <a:ln w="5978" cap="flat">
                  <a:noFill/>
                  <a:prstDash val="solid"/>
                  <a:miter/>
                </a:ln>
              </p:spPr>
              <p:txBody>
                <a:bodyPr rtlCol="0" anchor="ctr"/>
                <a:lstStyle/>
                <a:p>
                  <a:endParaRPr lang="en-GB"/>
                </a:p>
              </p:txBody>
            </p:sp>
            <p:sp>
              <p:nvSpPr>
                <p:cNvPr id="3156" name="Vrije vorm: vorm 3155">
                  <a:extLst>
                    <a:ext uri="{FF2B5EF4-FFF2-40B4-BE49-F238E27FC236}">
                      <a16:creationId xmlns:a16="http://schemas.microsoft.com/office/drawing/2014/main" id="{93981187-9DEF-4D28-8460-CBC998B40C7E}"/>
                    </a:ext>
                  </a:extLst>
                </p:cNvPr>
                <p:cNvSpPr/>
                <p:nvPr/>
              </p:nvSpPr>
              <p:spPr>
                <a:xfrm>
                  <a:off x="5067657" y="1496830"/>
                  <a:ext cx="18315" cy="18431"/>
                </a:xfrm>
                <a:custGeom>
                  <a:avLst/>
                  <a:gdLst>
                    <a:gd name="connsiteX0" fmla="*/ 1024 w 18315"/>
                    <a:gd name="connsiteY0" fmla="*/ 13402 h 18431"/>
                    <a:gd name="connsiteX1" fmla="*/ 4971 w 18315"/>
                    <a:gd name="connsiteY1" fmla="*/ 1022 h 18431"/>
                    <a:gd name="connsiteX2" fmla="*/ 17292 w 18315"/>
                    <a:gd name="connsiteY2" fmla="*/ 5029 h 18431"/>
                    <a:gd name="connsiteX3" fmla="*/ 13344 w 18315"/>
                    <a:gd name="connsiteY3" fmla="*/ 17409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1309" y="8857"/>
                        <a:pt x="486" y="3295"/>
                        <a:pt x="4971" y="1022"/>
                      </a:cubicBezTo>
                      <a:cubicBezTo>
                        <a:pt x="9457" y="-1310"/>
                        <a:pt x="15019" y="484"/>
                        <a:pt x="17292" y="5029"/>
                      </a:cubicBezTo>
                      <a:cubicBezTo>
                        <a:pt x="19624" y="9575"/>
                        <a:pt x="17830" y="15137"/>
                        <a:pt x="13344" y="17409"/>
                      </a:cubicBezTo>
                      <a:cubicBezTo>
                        <a:pt x="8859" y="19742"/>
                        <a:pt x="3356" y="17948"/>
                        <a:pt x="1024" y="13402"/>
                      </a:cubicBezTo>
                      <a:close/>
                    </a:path>
                  </a:pathLst>
                </a:custGeom>
                <a:grpFill/>
                <a:ln w="5978" cap="flat">
                  <a:noFill/>
                  <a:prstDash val="solid"/>
                  <a:miter/>
                </a:ln>
              </p:spPr>
              <p:txBody>
                <a:bodyPr rtlCol="0" anchor="ctr"/>
                <a:lstStyle/>
                <a:p>
                  <a:endParaRPr lang="en-GB"/>
                </a:p>
              </p:txBody>
            </p:sp>
            <p:sp>
              <p:nvSpPr>
                <p:cNvPr id="3157" name="Vrije vorm: vorm 3156">
                  <a:extLst>
                    <a:ext uri="{FF2B5EF4-FFF2-40B4-BE49-F238E27FC236}">
                      <a16:creationId xmlns:a16="http://schemas.microsoft.com/office/drawing/2014/main" id="{5B16FF79-C17D-446C-8B64-9DD624EEF716}"/>
                    </a:ext>
                  </a:extLst>
                </p:cNvPr>
                <p:cNvSpPr/>
                <p:nvPr/>
              </p:nvSpPr>
              <p:spPr>
                <a:xfrm>
                  <a:off x="5110420" y="1580440"/>
                  <a:ext cx="18315" cy="18431"/>
                </a:xfrm>
                <a:custGeom>
                  <a:avLst/>
                  <a:gdLst>
                    <a:gd name="connsiteX0" fmla="*/ 1024 w 18315"/>
                    <a:gd name="connsiteY0" fmla="*/ 13402 h 18431"/>
                    <a:gd name="connsiteX1" fmla="*/ 13344 w 18315"/>
                    <a:gd name="connsiteY1" fmla="*/ 17409 h 18431"/>
                    <a:gd name="connsiteX2" fmla="*/ 17291 w 18315"/>
                    <a:gd name="connsiteY2" fmla="*/ 5029 h 18431"/>
                    <a:gd name="connsiteX3" fmla="*/ 4971 w 18315"/>
                    <a:gd name="connsiteY3" fmla="*/ 1022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3356" y="17948"/>
                        <a:pt x="8859" y="19742"/>
                        <a:pt x="13344" y="17409"/>
                      </a:cubicBezTo>
                      <a:cubicBezTo>
                        <a:pt x="17830" y="15077"/>
                        <a:pt x="19624" y="9575"/>
                        <a:pt x="17291" y="5029"/>
                      </a:cubicBezTo>
                      <a:cubicBezTo>
                        <a:pt x="14959" y="484"/>
                        <a:pt x="9457" y="-1310"/>
                        <a:pt x="4971" y="1022"/>
                      </a:cubicBezTo>
                      <a:cubicBezTo>
                        <a:pt x="485" y="3295"/>
                        <a:pt x="-1309" y="8857"/>
                        <a:pt x="1024" y="13402"/>
                      </a:cubicBezTo>
                      <a:close/>
                    </a:path>
                  </a:pathLst>
                </a:custGeom>
                <a:grpFill/>
                <a:ln w="5978" cap="flat">
                  <a:noFill/>
                  <a:prstDash val="solid"/>
                  <a:miter/>
                </a:ln>
              </p:spPr>
              <p:txBody>
                <a:bodyPr rtlCol="0" anchor="ctr"/>
                <a:lstStyle/>
                <a:p>
                  <a:endParaRPr lang="en-GB"/>
                </a:p>
              </p:txBody>
            </p:sp>
          </p:grpSp>
          <p:grpSp>
            <p:nvGrpSpPr>
              <p:cNvPr id="746" name="Graphic 3">
                <a:extLst>
                  <a:ext uri="{FF2B5EF4-FFF2-40B4-BE49-F238E27FC236}">
                    <a16:creationId xmlns:a16="http://schemas.microsoft.com/office/drawing/2014/main" id="{19C90386-94E0-40AE-900A-651439F12EE6}"/>
                  </a:ext>
                </a:extLst>
              </p:cNvPr>
              <p:cNvGrpSpPr/>
              <p:nvPr/>
            </p:nvGrpSpPr>
            <p:grpSpPr>
              <a:xfrm>
                <a:off x="6440254" y="5502916"/>
                <a:ext cx="57686" cy="227416"/>
                <a:chOff x="6440254" y="5502916"/>
                <a:chExt cx="57686" cy="227416"/>
              </a:xfrm>
              <a:grpFill/>
            </p:grpSpPr>
            <p:sp>
              <p:nvSpPr>
                <p:cNvPr id="3152" name="Vrije vorm: vorm 3151">
                  <a:extLst>
                    <a:ext uri="{FF2B5EF4-FFF2-40B4-BE49-F238E27FC236}">
                      <a16:creationId xmlns:a16="http://schemas.microsoft.com/office/drawing/2014/main" id="{433D5784-5C7A-474A-AC40-5FF2B7BC9AB9}"/>
                    </a:ext>
                  </a:extLst>
                </p:cNvPr>
                <p:cNvSpPr/>
                <p:nvPr/>
              </p:nvSpPr>
              <p:spPr>
                <a:xfrm>
                  <a:off x="6447836" y="5511394"/>
                  <a:ext cx="42522" cy="210401"/>
                </a:xfrm>
                <a:custGeom>
                  <a:avLst/>
                  <a:gdLst>
                    <a:gd name="connsiteX0" fmla="*/ 2990 w 42522"/>
                    <a:gd name="connsiteY0" fmla="*/ 0 h 210401"/>
                    <a:gd name="connsiteX1" fmla="*/ 42523 w 42522"/>
                    <a:gd name="connsiteY1" fmla="*/ 209863 h 210401"/>
                    <a:gd name="connsiteX2" fmla="*/ 39532 w 42522"/>
                    <a:gd name="connsiteY2" fmla="*/ 210402 h 210401"/>
                    <a:gd name="connsiteX3" fmla="*/ 0 w 42522"/>
                    <a:gd name="connsiteY3" fmla="*/ 538 h 210401"/>
                  </a:gdLst>
                  <a:ahLst/>
                  <a:cxnLst>
                    <a:cxn ang="0">
                      <a:pos x="connsiteX0" y="connsiteY0"/>
                    </a:cxn>
                    <a:cxn ang="0">
                      <a:pos x="connsiteX1" y="connsiteY1"/>
                    </a:cxn>
                    <a:cxn ang="0">
                      <a:pos x="connsiteX2" y="connsiteY2"/>
                    </a:cxn>
                    <a:cxn ang="0">
                      <a:pos x="connsiteX3" y="connsiteY3"/>
                    </a:cxn>
                  </a:cxnLst>
                  <a:rect l="l" t="t" r="r" b="b"/>
                  <a:pathLst>
                    <a:path w="42522" h="210401">
                      <a:moveTo>
                        <a:pt x="2990" y="0"/>
                      </a:moveTo>
                      <a:lnTo>
                        <a:pt x="42523" y="209863"/>
                      </a:lnTo>
                      <a:lnTo>
                        <a:pt x="39532" y="210402"/>
                      </a:lnTo>
                      <a:lnTo>
                        <a:pt x="0" y="538"/>
                      </a:lnTo>
                      <a:close/>
                    </a:path>
                  </a:pathLst>
                </a:custGeom>
                <a:grpFill/>
                <a:ln w="5978" cap="flat">
                  <a:noFill/>
                  <a:prstDash val="solid"/>
                  <a:miter/>
                </a:ln>
              </p:spPr>
              <p:txBody>
                <a:bodyPr rtlCol="0" anchor="ctr"/>
                <a:lstStyle/>
                <a:p>
                  <a:endParaRPr lang="en-GB"/>
                </a:p>
              </p:txBody>
            </p:sp>
            <p:sp>
              <p:nvSpPr>
                <p:cNvPr id="3153" name="Vrije vorm: vorm 3152">
                  <a:extLst>
                    <a:ext uri="{FF2B5EF4-FFF2-40B4-BE49-F238E27FC236}">
                      <a16:creationId xmlns:a16="http://schemas.microsoft.com/office/drawing/2014/main" id="{1DCAE312-42C8-41B8-AE52-9694DE10249A}"/>
                    </a:ext>
                  </a:extLst>
                </p:cNvPr>
                <p:cNvSpPr/>
                <p:nvPr/>
              </p:nvSpPr>
              <p:spPr>
                <a:xfrm>
                  <a:off x="6479607" y="5711882"/>
                  <a:ext cx="18333" cy="18450"/>
                </a:xfrm>
                <a:custGeom>
                  <a:avLst/>
                  <a:gdLst>
                    <a:gd name="connsiteX0" fmla="*/ 18168 w 18333"/>
                    <a:gd name="connsiteY0" fmla="*/ 7522 h 18450"/>
                    <a:gd name="connsiteX1" fmla="*/ 10871 w 18333"/>
                    <a:gd name="connsiteY1" fmla="*/ 18287 h 18450"/>
                    <a:gd name="connsiteX2" fmla="*/ 166 w 18333"/>
                    <a:gd name="connsiteY2" fmla="*/ 10931 h 18450"/>
                    <a:gd name="connsiteX3" fmla="*/ 7462 w 18333"/>
                    <a:gd name="connsiteY3" fmla="*/ 165 h 18450"/>
                    <a:gd name="connsiteX4" fmla="*/ 18168 w 18333"/>
                    <a:gd name="connsiteY4" fmla="*/ 7522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0">
                      <a:moveTo>
                        <a:pt x="18168" y="7522"/>
                      </a:moveTo>
                      <a:cubicBezTo>
                        <a:pt x="19124" y="12546"/>
                        <a:pt x="15835" y="17330"/>
                        <a:pt x="10871" y="18287"/>
                      </a:cubicBezTo>
                      <a:cubicBezTo>
                        <a:pt x="5907" y="19244"/>
                        <a:pt x="1123" y="15895"/>
                        <a:pt x="166" y="10931"/>
                      </a:cubicBezTo>
                      <a:cubicBezTo>
                        <a:pt x="-791" y="5907"/>
                        <a:pt x="2498" y="1123"/>
                        <a:pt x="7462" y="165"/>
                      </a:cubicBezTo>
                      <a:cubicBezTo>
                        <a:pt x="12426" y="-791"/>
                        <a:pt x="17211" y="2498"/>
                        <a:pt x="18168" y="7522"/>
                      </a:cubicBezTo>
                      <a:close/>
                    </a:path>
                  </a:pathLst>
                </a:custGeom>
                <a:grpFill/>
                <a:ln w="5978" cap="flat">
                  <a:noFill/>
                  <a:prstDash val="solid"/>
                  <a:miter/>
                </a:ln>
              </p:spPr>
              <p:txBody>
                <a:bodyPr rtlCol="0" anchor="ctr"/>
                <a:lstStyle/>
                <a:p>
                  <a:endParaRPr lang="en-GB"/>
                </a:p>
              </p:txBody>
            </p:sp>
            <p:sp>
              <p:nvSpPr>
                <p:cNvPr id="3154" name="Vrije vorm: vorm 3153">
                  <a:extLst>
                    <a:ext uri="{FF2B5EF4-FFF2-40B4-BE49-F238E27FC236}">
                      <a16:creationId xmlns:a16="http://schemas.microsoft.com/office/drawing/2014/main" id="{47B48C77-B112-49EE-AD11-3B5F451CF533}"/>
                    </a:ext>
                  </a:extLst>
                </p:cNvPr>
                <p:cNvSpPr/>
                <p:nvPr/>
              </p:nvSpPr>
              <p:spPr>
                <a:xfrm>
                  <a:off x="6440254" y="5502916"/>
                  <a:ext cx="18333" cy="18452"/>
                </a:xfrm>
                <a:custGeom>
                  <a:avLst/>
                  <a:gdLst>
                    <a:gd name="connsiteX0" fmla="*/ 18168 w 18333"/>
                    <a:gd name="connsiteY0" fmla="*/ 7522 h 18452"/>
                    <a:gd name="connsiteX1" fmla="*/ 7462 w 18333"/>
                    <a:gd name="connsiteY1" fmla="*/ 165 h 18452"/>
                    <a:gd name="connsiteX2" fmla="*/ 166 w 18333"/>
                    <a:gd name="connsiteY2" fmla="*/ 10931 h 18452"/>
                    <a:gd name="connsiteX3" fmla="*/ 10871 w 18333"/>
                    <a:gd name="connsiteY3" fmla="*/ 18287 h 18452"/>
                    <a:gd name="connsiteX4" fmla="*/ 18168 w 18333"/>
                    <a:gd name="connsiteY4" fmla="*/ 7522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168" y="7522"/>
                      </a:moveTo>
                      <a:cubicBezTo>
                        <a:pt x="17211" y="2498"/>
                        <a:pt x="12426" y="-791"/>
                        <a:pt x="7462" y="165"/>
                      </a:cubicBezTo>
                      <a:cubicBezTo>
                        <a:pt x="2498" y="1063"/>
                        <a:pt x="-791" y="5907"/>
                        <a:pt x="166" y="10931"/>
                      </a:cubicBezTo>
                      <a:cubicBezTo>
                        <a:pt x="1123" y="15955"/>
                        <a:pt x="5907" y="19244"/>
                        <a:pt x="10871" y="18287"/>
                      </a:cubicBezTo>
                      <a:cubicBezTo>
                        <a:pt x="15835" y="17330"/>
                        <a:pt x="19125" y="12486"/>
                        <a:pt x="18168" y="7522"/>
                      </a:cubicBezTo>
                      <a:close/>
                    </a:path>
                  </a:pathLst>
                </a:custGeom>
                <a:grpFill/>
                <a:ln w="5978" cap="flat">
                  <a:noFill/>
                  <a:prstDash val="solid"/>
                  <a:miter/>
                </a:ln>
              </p:spPr>
              <p:txBody>
                <a:bodyPr rtlCol="0" anchor="ctr"/>
                <a:lstStyle/>
                <a:p>
                  <a:endParaRPr lang="en-GB"/>
                </a:p>
              </p:txBody>
            </p:sp>
          </p:grpSp>
          <p:grpSp>
            <p:nvGrpSpPr>
              <p:cNvPr id="747" name="Graphic 3">
                <a:extLst>
                  <a:ext uri="{FF2B5EF4-FFF2-40B4-BE49-F238E27FC236}">
                    <a16:creationId xmlns:a16="http://schemas.microsoft.com/office/drawing/2014/main" id="{3EEAE8C9-E000-4600-9C1F-7C02814585DC}"/>
                  </a:ext>
                </a:extLst>
              </p:cNvPr>
              <p:cNvGrpSpPr/>
              <p:nvPr/>
            </p:nvGrpSpPr>
            <p:grpSpPr>
              <a:xfrm>
                <a:off x="6296189" y="5074828"/>
                <a:ext cx="48647" cy="220577"/>
                <a:chOff x="6296189" y="5074828"/>
                <a:chExt cx="48647" cy="220577"/>
              </a:xfrm>
              <a:grpFill/>
            </p:grpSpPr>
            <p:sp>
              <p:nvSpPr>
                <p:cNvPr id="3149" name="Vrije vorm: vorm 3148">
                  <a:extLst>
                    <a:ext uri="{FF2B5EF4-FFF2-40B4-BE49-F238E27FC236}">
                      <a16:creationId xmlns:a16="http://schemas.microsoft.com/office/drawing/2014/main" id="{3265BBEF-2C45-4F7A-A6BA-9680104F2B42}"/>
                    </a:ext>
                  </a:extLst>
                </p:cNvPr>
                <p:cNvSpPr/>
                <p:nvPr/>
              </p:nvSpPr>
              <p:spPr>
                <a:xfrm>
                  <a:off x="6303760" y="5083354"/>
                  <a:ext cx="33491" cy="203464"/>
                </a:xfrm>
                <a:custGeom>
                  <a:avLst/>
                  <a:gdLst>
                    <a:gd name="connsiteX0" fmla="*/ 2990 w 33491"/>
                    <a:gd name="connsiteY0" fmla="*/ 0 h 203464"/>
                    <a:gd name="connsiteX1" fmla="*/ 33492 w 33491"/>
                    <a:gd name="connsiteY1" fmla="*/ 203046 h 203464"/>
                    <a:gd name="connsiteX2" fmla="*/ 30442 w 33491"/>
                    <a:gd name="connsiteY2" fmla="*/ 203464 h 203464"/>
                    <a:gd name="connsiteX3" fmla="*/ 0 w 33491"/>
                    <a:gd name="connsiteY3" fmla="*/ 419 h 203464"/>
                  </a:gdLst>
                  <a:ahLst/>
                  <a:cxnLst>
                    <a:cxn ang="0">
                      <a:pos x="connsiteX0" y="connsiteY0"/>
                    </a:cxn>
                    <a:cxn ang="0">
                      <a:pos x="connsiteX1" y="connsiteY1"/>
                    </a:cxn>
                    <a:cxn ang="0">
                      <a:pos x="connsiteX2" y="connsiteY2"/>
                    </a:cxn>
                    <a:cxn ang="0">
                      <a:pos x="connsiteX3" y="connsiteY3"/>
                    </a:cxn>
                  </a:cxnLst>
                  <a:rect l="l" t="t" r="r" b="b"/>
                  <a:pathLst>
                    <a:path w="33491" h="203464">
                      <a:moveTo>
                        <a:pt x="2990" y="0"/>
                      </a:moveTo>
                      <a:lnTo>
                        <a:pt x="33492" y="203046"/>
                      </a:lnTo>
                      <a:lnTo>
                        <a:pt x="30442" y="203464"/>
                      </a:lnTo>
                      <a:lnTo>
                        <a:pt x="0" y="419"/>
                      </a:lnTo>
                      <a:close/>
                    </a:path>
                  </a:pathLst>
                </a:custGeom>
                <a:grpFill/>
                <a:ln w="5978" cap="flat">
                  <a:noFill/>
                  <a:prstDash val="solid"/>
                  <a:miter/>
                </a:ln>
              </p:spPr>
              <p:txBody>
                <a:bodyPr rtlCol="0" anchor="ctr"/>
                <a:lstStyle/>
                <a:p>
                  <a:endParaRPr lang="en-GB"/>
                </a:p>
              </p:txBody>
            </p:sp>
            <p:sp>
              <p:nvSpPr>
                <p:cNvPr id="3150" name="Vrije vorm: vorm 3149">
                  <a:extLst>
                    <a:ext uri="{FF2B5EF4-FFF2-40B4-BE49-F238E27FC236}">
                      <a16:creationId xmlns:a16="http://schemas.microsoft.com/office/drawing/2014/main" id="{797B8AC6-901F-42CE-B0CC-92630FEEA750}"/>
                    </a:ext>
                  </a:extLst>
                </p:cNvPr>
                <p:cNvSpPr/>
                <p:nvPr/>
              </p:nvSpPr>
              <p:spPr>
                <a:xfrm>
                  <a:off x="6326498" y="5276961"/>
                  <a:ext cx="18339" cy="18444"/>
                </a:xfrm>
                <a:custGeom>
                  <a:avLst/>
                  <a:gdLst>
                    <a:gd name="connsiteX0" fmla="*/ 18230 w 18339"/>
                    <a:gd name="connsiteY0" fmla="*/ 7884 h 18444"/>
                    <a:gd name="connsiteX1" fmla="*/ 10515 w 18339"/>
                    <a:gd name="connsiteY1" fmla="*/ 18350 h 18444"/>
                    <a:gd name="connsiteX2" fmla="*/ 109 w 18339"/>
                    <a:gd name="connsiteY2" fmla="*/ 10575 h 18444"/>
                    <a:gd name="connsiteX3" fmla="*/ 7824 w 18339"/>
                    <a:gd name="connsiteY3" fmla="*/ 109 h 18444"/>
                    <a:gd name="connsiteX4" fmla="*/ 18230 w 18339"/>
                    <a:gd name="connsiteY4" fmla="*/ 788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18230" y="7884"/>
                      </a:moveTo>
                      <a:cubicBezTo>
                        <a:pt x="19008" y="12908"/>
                        <a:pt x="15539" y="17572"/>
                        <a:pt x="10515" y="18350"/>
                      </a:cubicBezTo>
                      <a:cubicBezTo>
                        <a:pt x="5492" y="19068"/>
                        <a:pt x="827" y="15599"/>
                        <a:pt x="109" y="10575"/>
                      </a:cubicBezTo>
                      <a:cubicBezTo>
                        <a:pt x="-669" y="5551"/>
                        <a:pt x="2800" y="886"/>
                        <a:pt x="7824" y="109"/>
                      </a:cubicBezTo>
                      <a:cubicBezTo>
                        <a:pt x="12788" y="-669"/>
                        <a:pt x="17453" y="2800"/>
                        <a:pt x="18230" y="7884"/>
                      </a:cubicBezTo>
                      <a:close/>
                    </a:path>
                  </a:pathLst>
                </a:custGeom>
                <a:grpFill/>
                <a:ln w="5978" cap="flat">
                  <a:noFill/>
                  <a:prstDash val="solid"/>
                  <a:miter/>
                </a:ln>
              </p:spPr>
              <p:txBody>
                <a:bodyPr rtlCol="0" anchor="ctr"/>
                <a:lstStyle/>
                <a:p>
                  <a:endParaRPr lang="en-GB"/>
                </a:p>
              </p:txBody>
            </p:sp>
            <p:sp>
              <p:nvSpPr>
                <p:cNvPr id="3151" name="Vrije vorm: vorm 3150">
                  <a:extLst>
                    <a:ext uri="{FF2B5EF4-FFF2-40B4-BE49-F238E27FC236}">
                      <a16:creationId xmlns:a16="http://schemas.microsoft.com/office/drawing/2014/main" id="{48BE67A6-B385-4163-A083-6D202F6D8D85}"/>
                    </a:ext>
                  </a:extLst>
                </p:cNvPr>
                <p:cNvSpPr/>
                <p:nvPr/>
              </p:nvSpPr>
              <p:spPr>
                <a:xfrm>
                  <a:off x="6296189" y="5074828"/>
                  <a:ext cx="18312" cy="18429"/>
                </a:xfrm>
                <a:custGeom>
                  <a:avLst/>
                  <a:gdLst>
                    <a:gd name="connsiteX0" fmla="*/ 18217 w 18312"/>
                    <a:gd name="connsiteY0" fmla="*/ 7869 h 18429"/>
                    <a:gd name="connsiteX1" fmla="*/ 7810 w 18312"/>
                    <a:gd name="connsiteY1" fmla="*/ 94 h 18429"/>
                    <a:gd name="connsiteX2" fmla="*/ 95 w 18312"/>
                    <a:gd name="connsiteY2" fmla="*/ 10560 h 18429"/>
                    <a:gd name="connsiteX3" fmla="*/ 10502 w 18312"/>
                    <a:gd name="connsiteY3" fmla="*/ 18335 h 18429"/>
                    <a:gd name="connsiteX4" fmla="*/ 18217 w 18312"/>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29">
                      <a:moveTo>
                        <a:pt x="18217" y="7869"/>
                      </a:moveTo>
                      <a:cubicBezTo>
                        <a:pt x="17440" y="2845"/>
                        <a:pt x="12774" y="-624"/>
                        <a:pt x="7810" y="94"/>
                      </a:cubicBezTo>
                      <a:cubicBezTo>
                        <a:pt x="2787" y="812"/>
                        <a:pt x="-622" y="5536"/>
                        <a:pt x="95" y="10560"/>
                      </a:cubicBezTo>
                      <a:cubicBezTo>
                        <a:pt x="873" y="15584"/>
                        <a:pt x="5538" y="19053"/>
                        <a:pt x="10502" y="18335"/>
                      </a:cubicBezTo>
                      <a:cubicBezTo>
                        <a:pt x="15526" y="17558"/>
                        <a:pt x="18935" y="12892"/>
                        <a:pt x="18217" y="7869"/>
                      </a:cubicBezTo>
                      <a:close/>
                    </a:path>
                  </a:pathLst>
                </a:custGeom>
                <a:grpFill/>
                <a:ln w="5978" cap="flat">
                  <a:noFill/>
                  <a:prstDash val="solid"/>
                  <a:miter/>
                </a:ln>
              </p:spPr>
              <p:txBody>
                <a:bodyPr rtlCol="0" anchor="ctr"/>
                <a:lstStyle/>
                <a:p>
                  <a:endParaRPr lang="en-GB"/>
                </a:p>
              </p:txBody>
            </p:sp>
          </p:grpSp>
          <p:grpSp>
            <p:nvGrpSpPr>
              <p:cNvPr id="748" name="Graphic 3">
                <a:extLst>
                  <a:ext uri="{FF2B5EF4-FFF2-40B4-BE49-F238E27FC236}">
                    <a16:creationId xmlns:a16="http://schemas.microsoft.com/office/drawing/2014/main" id="{DB6A7FBF-F887-46EF-A383-D644FCD1B382}"/>
                  </a:ext>
                </a:extLst>
              </p:cNvPr>
              <p:cNvGrpSpPr/>
              <p:nvPr/>
            </p:nvGrpSpPr>
            <p:grpSpPr>
              <a:xfrm>
                <a:off x="5076023" y="1596700"/>
                <a:ext cx="175145" cy="311263"/>
                <a:chOff x="5076023" y="1596700"/>
                <a:chExt cx="175145" cy="311263"/>
              </a:xfrm>
              <a:grpFill/>
            </p:grpSpPr>
            <p:sp>
              <p:nvSpPr>
                <p:cNvPr id="3146" name="Vrije vorm: vorm 3145">
                  <a:extLst>
                    <a:ext uri="{FF2B5EF4-FFF2-40B4-BE49-F238E27FC236}">
                      <a16:creationId xmlns:a16="http://schemas.microsoft.com/office/drawing/2014/main" id="{938D0F39-DA86-4262-BE36-7D1472D68E28}"/>
                    </a:ext>
                  </a:extLst>
                </p:cNvPr>
                <p:cNvSpPr/>
                <p:nvPr/>
              </p:nvSpPr>
              <p:spPr>
                <a:xfrm>
                  <a:off x="5083573" y="1604728"/>
                  <a:ext cx="159984" cy="295148"/>
                </a:xfrm>
                <a:custGeom>
                  <a:avLst/>
                  <a:gdLst>
                    <a:gd name="connsiteX0" fmla="*/ 159984 w 159984"/>
                    <a:gd name="connsiteY0" fmla="*/ 293713 h 295148"/>
                    <a:gd name="connsiteX1" fmla="*/ 157293 w 159984"/>
                    <a:gd name="connsiteY1" fmla="*/ 295149 h 295148"/>
                    <a:gd name="connsiteX2" fmla="*/ 0 w 159984"/>
                    <a:gd name="connsiteY2" fmla="*/ 1495 h 295148"/>
                    <a:gd name="connsiteX3" fmla="*/ 2691 w 159984"/>
                    <a:gd name="connsiteY3" fmla="*/ 0 h 295148"/>
                  </a:gdLst>
                  <a:ahLst/>
                  <a:cxnLst>
                    <a:cxn ang="0">
                      <a:pos x="connsiteX0" y="connsiteY0"/>
                    </a:cxn>
                    <a:cxn ang="0">
                      <a:pos x="connsiteX1" y="connsiteY1"/>
                    </a:cxn>
                    <a:cxn ang="0">
                      <a:pos x="connsiteX2" y="connsiteY2"/>
                    </a:cxn>
                    <a:cxn ang="0">
                      <a:pos x="connsiteX3" y="connsiteY3"/>
                    </a:cxn>
                  </a:cxnLst>
                  <a:rect l="l" t="t" r="r" b="b"/>
                  <a:pathLst>
                    <a:path w="159984" h="295148">
                      <a:moveTo>
                        <a:pt x="159984" y="293713"/>
                      </a:moveTo>
                      <a:lnTo>
                        <a:pt x="157293" y="295149"/>
                      </a:lnTo>
                      <a:lnTo>
                        <a:pt x="0" y="1495"/>
                      </a:lnTo>
                      <a:lnTo>
                        <a:pt x="2691" y="0"/>
                      </a:lnTo>
                      <a:close/>
                    </a:path>
                  </a:pathLst>
                </a:custGeom>
                <a:grpFill/>
                <a:ln w="5978" cap="flat">
                  <a:noFill/>
                  <a:prstDash val="solid"/>
                  <a:miter/>
                </a:ln>
              </p:spPr>
              <p:txBody>
                <a:bodyPr rtlCol="0" anchor="ctr"/>
                <a:lstStyle/>
                <a:p>
                  <a:endParaRPr lang="en-GB"/>
                </a:p>
              </p:txBody>
            </p:sp>
            <p:sp>
              <p:nvSpPr>
                <p:cNvPr id="3147" name="Vrije vorm: vorm 3146">
                  <a:extLst>
                    <a:ext uri="{FF2B5EF4-FFF2-40B4-BE49-F238E27FC236}">
                      <a16:creationId xmlns:a16="http://schemas.microsoft.com/office/drawing/2014/main" id="{AF6FEF3D-7A75-4BF7-8DFB-D9CE2DA4198F}"/>
                    </a:ext>
                  </a:extLst>
                </p:cNvPr>
                <p:cNvSpPr/>
                <p:nvPr/>
              </p:nvSpPr>
              <p:spPr>
                <a:xfrm>
                  <a:off x="5076023" y="1596700"/>
                  <a:ext cx="18330" cy="18387"/>
                </a:xfrm>
                <a:custGeom>
                  <a:avLst/>
                  <a:gdLst>
                    <a:gd name="connsiteX0" fmla="*/ 1092 w 18330"/>
                    <a:gd name="connsiteY0" fmla="*/ 13530 h 18387"/>
                    <a:gd name="connsiteX1" fmla="*/ 4800 w 18330"/>
                    <a:gd name="connsiteY1" fmla="*/ 1090 h 18387"/>
                    <a:gd name="connsiteX2" fmla="*/ 17239 w 18330"/>
                    <a:gd name="connsiteY2" fmla="*/ 4858 h 18387"/>
                    <a:gd name="connsiteX3" fmla="*/ 13531 w 18330"/>
                    <a:gd name="connsiteY3" fmla="*/ 17298 h 18387"/>
                    <a:gd name="connsiteX4" fmla="*/ 1092 w 18330"/>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387">
                      <a:moveTo>
                        <a:pt x="1092" y="13530"/>
                      </a:moveTo>
                      <a:cubicBezTo>
                        <a:pt x="-1301" y="9044"/>
                        <a:pt x="374" y="3482"/>
                        <a:pt x="4800" y="1090"/>
                      </a:cubicBezTo>
                      <a:cubicBezTo>
                        <a:pt x="9225" y="-1303"/>
                        <a:pt x="14787" y="372"/>
                        <a:pt x="17239" y="4858"/>
                      </a:cubicBezTo>
                      <a:cubicBezTo>
                        <a:pt x="19632" y="9343"/>
                        <a:pt x="17957" y="14905"/>
                        <a:pt x="13531" y="17298"/>
                      </a:cubicBezTo>
                      <a:cubicBezTo>
                        <a:pt x="9046" y="19690"/>
                        <a:pt x="3484" y="18015"/>
                        <a:pt x="1092" y="13530"/>
                      </a:cubicBezTo>
                      <a:close/>
                    </a:path>
                  </a:pathLst>
                </a:custGeom>
                <a:grpFill/>
                <a:ln w="5978" cap="flat">
                  <a:noFill/>
                  <a:prstDash val="solid"/>
                  <a:miter/>
                </a:ln>
              </p:spPr>
              <p:txBody>
                <a:bodyPr rtlCol="0" anchor="ctr"/>
                <a:lstStyle/>
                <a:p>
                  <a:endParaRPr lang="en-GB"/>
                </a:p>
              </p:txBody>
            </p:sp>
            <p:sp>
              <p:nvSpPr>
                <p:cNvPr id="3148" name="Vrije vorm: vorm 3147">
                  <a:extLst>
                    <a:ext uri="{FF2B5EF4-FFF2-40B4-BE49-F238E27FC236}">
                      <a16:creationId xmlns:a16="http://schemas.microsoft.com/office/drawing/2014/main" id="{ACB129F9-C021-48FA-B123-D3B6761061F6}"/>
                    </a:ext>
                  </a:extLst>
                </p:cNvPr>
                <p:cNvSpPr/>
                <p:nvPr/>
              </p:nvSpPr>
              <p:spPr>
                <a:xfrm>
                  <a:off x="5232837" y="1889576"/>
                  <a:ext cx="18331" cy="18387"/>
                </a:xfrm>
                <a:custGeom>
                  <a:avLst/>
                  <a:gdLst>
                    <a:gd name="connsiteX0" fmla="*/ 1091 w 18331"/>
                    <a:gd name="connsiteY0" fmla="*/ 13530 h 18387"/>
                    <a:gd name="connsiteX1" fmla="*/ 13531 w 18331"/>
                    <a:gd name="connsiteY1" fmla="*/ 17298 h 18387"/>
                    <a:gd name="connsiteX2" fmla="*/ 17239 w 18331"/>
                    <a:gd name="connsiteY2" fmla="*/ 4858 h 18387"/>
                    <a:gd name="connsiteX3" fmla="*/ 4799 w 18331"/>
                    <a:gd name="connsiteY3" fmla="*/ 1090 h 18387"/>
                    <a:gd name="connsiteX4" fmla="*/ 1091 w 18331"/>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091" y="13530"/>
                      </a:moveTo>
                      <a:cubicBezTo>
                        <a:pt x="3484" y="18015"/>
                        <a:pt x="9046" y="19690"/>
                        <a:pt x="13531" y="17298"/>
                      </a:cubicBezTo>
                      <a:cubicBezTo>
                        <a:pt x="17957" y="14905"/>
                        <a:pt x="19632" y="9343"/>
                        <a:pt x="17239" y="4858"/>
                      </a:cubicBezTo>
                      <a:cubicBezTo>
                        <a:pt x="14847" y="372"/>
                        <a:pt x="9285" y="-1303"/>
                        <a:pt x="4799" y="1090"/>
                      </a:cubicBezTo>
                      <a:cubicBezTo>
                        <a:pt x="374" y="3482"/>
                        <a:pt x="-1301" y="9044"/>
                        <a:pt x="1091" y="13530"/>
                      </a:cubicBezTo>
                      <a:close/>
                    </a:path>
                  </a:pathLst>
                </a:custGeom>
                <a:grpFill/>
                <a:ln w="5978" cap="flat">
                  <a:noFill/>
                  <a:prstDash val="solid"/>
                  <a:miter/>
                </a:ln>
              </p:spPr>
              <p:txBody>
                <a:bodyPr rtlCol="0" anchor="ctr"/>
                <a:lstStyle/>
                <a:p>
                  <a:endParaRPr lang="en-GB"/>
                </a:p>
              </p:txBody>
            </p:sp>
          </p:grpSp>
          <p:grpSp>
            <p:nvGrpSpPr>
              <p:cNvPr id="749" name="Graphic 3">
                <a:extLst>
                  <a:ext uri="{FF2B5EF4-FFF2-40B4-BE49-F238E27FC236}">
                    <a16:creationId xmlns:a16="http://schemas.microsoft.com/office/drawing/2014/main" id="{07FC5E95-3EDA-4988-89D8-7A93B6C3A75C}"/>
                  </a:ext>
                </a:extLst>
              </p:cNvPr>
              <p:cNvGrpSpPr/>
              <p:nvPr/>
            </p:nvGrpSpPr>
            <p:grpSpPr>
              <a:xfrm>
                <a:off x="5054500" y="1471173"/>
                <a:ext cx="23039" cy="27701"/>
                <a:chOff x="5054500" y="1471173"/>
                <a:chExt cx="23039" cy="27701"/>
              </a:xfrm>
              <a:grpFill/>
            </p:grpSpPr>
            <p:sp>
              <p:nvSpPr>
                <p:cNvPr id="3143" name="Vrije vorm: vorm 3142">
                  <a:extLst>
                    <a:ext uri="{FF2B5EF4-FFF2-40B4-BE49-F238E27FC236}">
                      <a16:creationId xmlns:a16="http://schemas.microsoft.com/office/drawing/2014/main" id="{98DF5613-7CBA-433D-8F7B-7F5DC3AD885F}"/>
                    </a:ext>
                  </a:extLst>
                </p:cNvPr>
                <p:cNvSpPr/>
                <p:nvPr/>
              </p:nvSpPr>
              <p:spPr>
                <a:xfrm>
                  <a:off x="5062103" y="1479312"/>
                  <a:ext cx="7894" cy="11423"/>
                </a:xfrm>
                <a:custGeom>
                  <a:avLst/>
                  <a:gdLst>
                    <a:gd name="connsiteX0" fmla="*/ 7895 w 7894"/>
                    <a:gd name="connsiteY0" fmla="*/ 10048 h 11423"/>
                    <a:gd name="connsiteX1" fmla="*/ 5143 w 7894"/>
                    <a:gd name="connsiteY1" fmla="*/ 11423 h 11423"/>
                    <a:gd name="connsiteX2" fmla="*/ 0 w 7894"/>
                    <a:gd name="connsiteY2" fmla="*/ 1376 h 11423"/>
                    <a:gd name="connsiteX3" fmla="*/ 2751 w 7894"/>
                    <a:gd name="connsiteY3" fmla="*/ 0 h 11423"/>
                  </a:gdLst>
                  <a:ahLst/>
                  <a:cxnLst>
                    <a:cxn ang="0">
                      <a:pos x="connsiteX0" y="connsiteY0"/>
                    </a:cxn>
                    <a:cxn ang="0">
                      <a:pos x="connsiteX1" y="connsiteY1"/>
                    </a:cxn>
                    <a:cxn ang="0">
                      <a:pos x="connsiteX2" y="connsiteY2"/>
                    </a:cxn>
                    <a:cxn ang="0">
                      <a:pos x="connsiteX3" y="connsiteY3"/>
                    </a:cxn>
                  </a:cxnLst>
                  <a:rect l="l" t="t" r="r" b="b"/>
                  <a:pathLst>
                    <a:path w="7894" h="11423">
                      <a:moveTo>
                        <a:pt x="7895" y="10048"/>
                      </a:moveTo>
                      <a:lnTo>
                        <a:pt x="5143" y="11423"/>
                      </a:lnTo>
                      <a:lnTo>
                        <a:pt x="0" y="1376"/>
                      </a:lnTo>
                      <a:lnTo>
                        <a:pt x="2751" y="0"/>
                      </a:lnTo>
                      <a:close/>
                    </a:path>
                  </a:pathLst>
                </a:custGeom>
                <a:grpFill/>
                <a:ln w="5978" cap="flat">
                  <a:noFill/>
                  <a:prstDash val="solid"/>
                  <a:miter/>
                </a:ln>
              </p:spPr>
              <p:txBody>
                <a:bodyPr rtlCol="0" anchor="ctr"/>
                <a:lstStyle/>
                <a:p>
                  <a:endParaRPr lang="en-GB"/>
                </a:p>
              </p:txBody>
            </p:sp>
            <p:sp>
              <p:nvSpPr>
                <p:cNvPr id="3144" name="Vrije vorm: vorm 3143">
                  <a:extLst>
                    <a:ext uri="{FF2B5EF4-FFF2-40B4-BE49-F238E27FC236}">
                      <a16:creationId xmlns:a16="http://schemas.microsoft.com/office/drawing/2014/main" id="{5E93A585-B3D7-48E8-91AF-36E2F39718E8}"/>
                    </a:ext>
                  </a:extLst>
                </p:cNvPr>
                <p:cNvSpPr/>
                <p:nvPr/>
              </p:nvSpPr>
              <p:spPr>
                <a:xfrm>
                  <a:off x="5054500" y="1471173"/>
                  <a:ext cx="18315" cy="18431"/>
                </a:xfrm>
                <a:custGeom>
                  <a:avLst/>
                  <a:gdLst>
                    <a:gd name="connsiteX0" fmla="*/ 1024 w 18315"/>
                    <a:gd name="connsiteY0" fmla="*/ 13402 h 18431"/>
                    <a:gd name="connsiteX1" fmla="*/ 4971 w 18315"/>
                    <a:gd name="connsiteY1" fmla="*/ 1022 h 18431"/>
                    <a:gd name="connsiteX2" fmla="*/ 17291 w 18315"/>
                    <a:gd name="connsiteY2" fmla="*/ 5029 h 18431"/>
                    <a:gd name="connsiteX3" fmla="*/ 13344 w 18315"/>
                    <a:gd name="connsiteY3" fmla="*/ 17409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1309" y="8857"/>
                        <a:pt x="486" y="3295"/>
                        <a:pt x="4971" y="1022"/>
                      </a:cubicBezTo>
                      <a:cubicBezTo>
                        <a:pt x="9457" y="-1310"/>
                        <a:pt x="15019" y="484"/>
                        <a:pt x="17291" y="5029"/>
                      </a:cubicBezTo>
                      <a:cubicBezTo>
                        <a:pt x="19624" y="9575"/>
                        <a:pt x="17829" y="15137"/>
                        <a:pt x="13344" y="17409"/>
                      </a:cubicBezTo>
                      <a:cubicBezTo>
                        <a:pt x="8918" y="19742"/>
                        <a:pt x="3356" y="17948"/>
                        <a:pt x="1024" y="13402"/>
                      </a:cubicBezTo>
                      <a:close/>
                    </a:path>
                  </a:pathLst>
                </a:custGeom>
                <a:grpFill/>
                <a:ln w="5978" cap="flat">
                  <a:noFill/>
                  <a:prstDash val="solid"/>
                  <a:miter/>
                </a:ln>
              </p:spPr>
              <p:txBody>
                <a:bodyPr rtlCol="0" anchor="ctr"/>
                <a:lstStyle/>
                <a:p>
                  <a:endParaRPr lang="en-GB"/>
                </a:p>
              </p:txBody>
            </p:sp>
            <p:sp>
              <p:nvSpPr>
                <p:cNvPr id="3145" name="Vrije vorm: vorm 3144">
                  <a:extLst>
                    <a:ext uri="{FF2B5EF4-FFF2-40B4-BE49-F238E27FC236}">
                      <a16:creationId xmlns:a16="http://schemas.microsoft.com/office/drawing/2014/main" id="{971A1256-A0FE-45E7-A508-3570E3625ECA}"/>
                    </a:ext>
                  </a:extLst>
                </p:cNvPr>
                <p:cNvSpPr/>
                <p:nvPr/>
              </p:nvSpPr>
              <p:spPr>
                <a:xfrm>
                  <a:off x="5059251" y="1480443"/>
                  <a:ext cx="18288" cy="18431"/>
                </a:xfrm>
                <a:custGeom>
                  <a:avLst/>
                  <a:gdLst>
                    <a:gd name="connsiteX0" fmla="*/ 998 w 18288"/>
                    <a:gd name="connsiteY0" fmla="*/ 13402 h 18431"/>
                    <a:gd name="connsiteX1" fmla="*/ 13318 w 18288"/>
                    <a:gd name="connsiteY1" fmla="*/ 17409 h 18431"/>
                    <a:gd name="connsiteX2" fmla="*/ 17265 w 18288"/>
                    <a:gd name="connsiteY2" fmla="*/ 5029 h 18431"/>
                    <a:gd name="connsiteX3" fmla="*/ 4945 w 18288"/>
                    <a:gd name="connsiteY3" fmla="*/ 1022 h 18431"/>
                    <a:gd name="connsiteX4" fmla="*/ 998 w 18288"/>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31">
                      <a:moveTo>
                        <a:pt x="998" y="13402"/>
                      </a:moveTo>
                      <a:cubicBezTo>
                        <a:pt x="3330" y="17948"/>
                        <a:pt x="8832" y="19742"/>
                        <a:pt x="13318" y="17409"/>
                      </a:cubicBezTo>
                      <a:cubicBezTo>
                        <a:pt x="17803" y="15077"/>
                        <a:pt x="19597" y="9575"/>
                        <a:pt x="17265" y="5029"/>
                      </a:cubicBezTo>
                      <a:cubicBezTo>
                        <a:pt x="14932" y="484"/>
                        <a:pt x="9430" y="-1310"/>
                        <a:pt x="4945" y="1022"/>
                      </a:cubicBezTo>
                      <a:cubicBezTo>
                        <a:pt x="459" y="3295"/>
                        <a:pt x="-1275" y="8857"/>
                        <a:pt x="998" y="13402"/>
                      </a:cubicBezTo>
                      <a:close/>
                    </a:path>
                  </a:pathLst>
                </a:custGeom>
                <a:grpFill/>
                <a:ln w="5978" cap="flat">
                  <a:noFill/>
                  <a:prstDash val="solid"/>
                  <a:miter/>
                </a:ln>
              </p:spPr>
              <p:txBody>
                <a:bodyPr rtlCol="0" anchor="ctr"/>
                <a:lstStyle/>
                <a:p>
                  <a:endParaRPr lang="en-GB"/>
                </a:p>
              </p:txBody>
            </p:sp>
          </p:grpSp>
          <p:grpSp>
            <p:nvGrpSpPr>
              <p:cNvPr id="750" name="Graphic 3">
                <a:extLst>
                  <a:ext uri="{FF2B5EF4-FFF2-40B4-BE49-F238E27FC236}">
                    <a16:creationId xmlns:a16="http://schemas.microsoft.com/office/drawing/2014/main" id="{5F23EF63-F573-4528-9606-4CC2D9DBE10E}"/>
                  </a:ext>
                </a:extLst>
              </p:cNvPr>
              <p:cNvGrpSpPr/>
              <p:nvPr/>
            </p:nvGrpSpPr>
            <p:grpSpPr>
              <a:xfrm>
                <a:off x="6329262" y="5295157"/>
                <a:ext cx="23469" cy="52997"/>
                <a:chOff x="6329262" y="5295157"/>
                <a:chExt cx="23469" cy="52997"/>
              </a:xfrm>
              <a:grpFill/>
            </p:grpSpPr>
            <p:sp>
              <p:nvSpPr>
                <p:cNvPr id="3140" name="Vrije vorm: vorm 3139">
                  <a:extLst>
                    <a:ext uri="{FF2B5EF4-FFF2-40B4-BE49-F238E27FC236}">
                      <a16:creationId xmlns:a16="http://schemas.microsoft.com/office/drawing/2014/main" id="{614664DB-C76D-4A1A-84F0-A1ABED38C0B9}"/>
                    </a:ext>
                  </a:extLst>
                </p:cNvPr>
                <p:cNvSpPr/>
                <p:nvPr/>
              </p:nvSpPr>
              <p:spPr>
                <a:xfrm>
                  <a:off x="6336834" y="5303684"/>
                  <a:ext cx="8312" cy="35884"/>
                </a:xfrm>
                <a:custGeom>
                  <a:avLst/>
                  <a:gdLst>
                    <a:gd name="connsiteX0" fmla="*/ 2990 w 8312"/>
                    <a:gd name="connsiteY0" fmla="*/ 0 h 35884"/>
                    <a:gd name="connsiteX1" fmla="*/ 8313 w 8312"/>
                    <a:gd name="connsiteY1" fmla="*/ 35466 h 35884"/>
                    <a:gd name="connsiteX2" fmla="*/ 5323 w 8312"/>
                    <a:gd name="connsiteY2" fmla="*/ 35884 h 35884"/>
                    <a:gd name="connsiteX3" fmla="*/ 0 w 8312"/>
                    <a:gd name="connsiteY3" fmla="*/ 478 h 35884"/>
                  </a:gdLst>
                  <a:ahLst/>
                  <a:cxnLst>
                    <a:cxn ang="0">
                      <a:pos x="connsiteX0" y="connsiteY0"/>
                    </a:cxn>
                    <a:cxn ang="0">
                      <a:pos x="connsiteX1" y="connsiteY1"/>
                    </a:cxn>
                    <a:cxn ang="0">
                      <a:pos x="connsiteX2" y="connsiteY2"/>
                    </a:cxn>
                    <a:cxn ang="0">
                      <a:pos x="connsiteX3" y="connsiteY3"/>
                    </a:cxn>
                  </a:cxnLst>
                  <a:rect l="l" t="t" r="r" b="b"/>
                  <a:pathLst>
                    <a:path w="8312" h="35884">
                      <a:moveTo>
                        <a:pt x="2990" y="0"/>
                      </a:moveTo>
                      <a:lnTo>
                        <a:pt x="8313" y="35466"/>
                      </a:lnTo>
                      <a:lnTo>
                        <a:pt x="5323" y="35884"/>
                      </a:lnTo>
                      <a:lnTo>
                        <a:pt x="0" y="478"/>
                      </a:lnTo>
                      <a:close/>
                    </a:path>
                  </a:pathLst>
                </a:custGeom>
                <a:grpFill/>
                <a:ln w="5978" cap="flat">
                  <a:noFill/>
                  <a:prstDash val="solid"/>
                  <a:miter/>
                </a:ln>
              </p:spPr>
              <p:txBody>
                <a:bodyPr rtlCol="0" anchor="ctr"/>
                <a:lstStyle/>
                <a:p>
                  <a:endParaRPr lang="en-GB"/>
                </a:p>
              </p:txBody>
            </p:sp>
            <p:sp>
              <p:nvSpPr>
                <p:cNvPr id="3141" name="Vrije vorm: vorm 3140">
                  <a:extLst>
                    <a:ext uri="{FF2B5EF4-FFF2-40B4-BE49-F238E27FC236}">
                      <a16:creationId xmlns:a16="http://schemas.microsoft.com/office/drawing/2014/main" id="{8DF29618-EC59-4A2B-9DD4-36BCB67B2F91}"/>
                    </a:ext>
                  </a:extLst>
                </p:cNvPr>
                <p:cNvSpPr/>
                <p:nvPr/>
              </p:nvSpPr>
              <p:spPr>
                <a:xfrm>
                  <a:off x="6334392" y="5329711"/>
                  <a:ext cx="18339" cy="18444"/>
                </a:xfrm>
                <a:custGeom>
                  <a:avLst/>
                  <a:gdLst>
                    <a:gd name="connsiteX0" fmla="*/ 18230 w 18339"/>
                    <a:gd name="connsiteY0" fmla="*/ 7884 h 18444"/>
                    <a:gd name="connsiteX1" fmla="*/ 10515 w 18339"/>
                    <a:gd name="connsiteY1" fmla="*/ 18350 h 18444"/>
                    <a:gd name="connsiteX2" fmla="*/ 109 w 18339"/>
                    <a:gd name="connsiteY2" fmla="*/ 10575 h 18444"/>
                    <a:gd name="connsiteX3" fmla="*/ 7824 w 18339"/>
                    <a:gd name="connsiteY3" fmla="*/ 109 h 18444"/>
                    <a:gd name="connsiteX4" fmla="*/ 18230 w 18339"/>
                    <a:gd name="connsiteY4" fmla="*/ 788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18230" y="7884"/>
                      </a:moveTo>
                      <a:cubicBezTo>
                        <a:pt x="19008" y="12907"/>
                        <a:pt x="15539" y="17572"/>
                        <a:pt x="10515" y="18350"/>
                      </a:cubicBezTo>
                      <a:cubicBezTo>
                        <a:pt x="5491" y="19068"/>
                        <a:pt x="827" y="15599"/>
                        <a:pt x="109" y="10575"/>
                      </a:cubicBezTo>
                      <a:cubicBezTo>
                        <a:pt x="-669" y="5551"/>
                        <a:pt x="2800" y="886"/>
                        <a:pt x="7824" y="109"/>
                      </a:cubicBezTo>
                      <a:cubicBezTo>
                        <a:pt x="12848" y="-669"/>
                        <a:pt x="17513" y="2800"/>
                        <a:pt x="18230" y="7884"/>
                      </a:cubicBezTo>
                      <a:close/>
                    </a:path>
                  </a:pathLst>
                </a:custGeom>
                <a:grpFill/>
                <a:ln w="5978" cap="flat">
                  <a:noFill/>
                  <a:prstDash val="solid"/>
                  <a:miter/>
                </a:ln>
              </p:spPr>
              <p:txBody>
                <a:bodyPr rtlCol="0" anchor="ctr"/>
                <a:lstStyle/>
                <a:p>
                  <a:endParaRPr lang="en-GB"/>
                </a:p>
              </p:txBody>
            </p:sp>
            <p:sp>
              <p:nvSpPr>
                <p:cNvPr id="3142" name="Vrije vorm: vorm 3141">
                  <a:extLst>
                    <a:ext uri="{FF2B5EF4-FFF2-40B4-BE49-F238E27FC236}">
                      <a16:creationId xmlns:a16="http://schemas.microsoft.com/office/drawing/2014/main" id="{23B73BE8-28DB-4092-93EB-A8ACC470A56C}"/>
                    </a:ext>
                  </a:extLst>
                </p:cNvPr>
                <p:cNvSpPr/>
                <p:nvPr/>
              </p:nvSpPr>
              <p:spPr>
                <a:xfrm>
                  <a:off x="6329262" y="5295157"/>
                  <a:ext cx="18312" cy="18429"/>
                </a:xfrm>
                <a:custGeom>
                  <a:avLst/>
                  <a:gdLst>
                    <a:gd name="connsiteX0" fmla="*/ 18217 w 18312"/>
                    <a:gd name="connsiteY0" fmla="*/ 7869 h 18429"/>
                    <a:gd name="connsiteX1" fmla="*/ 7810 w 18312"/>
                    <a:gd name="connsiteY1" fmla="*/ 94 h 18429"/>
                    <a:gd name="connsiteX2" fmla="*/ 95 w 18312"/>
                    <a:gd name="connsiteY2" fmla="*/ 10560 h 18429"/>
                    <a:gd name="connsiteX3" fmla="*/ 10502 w 18312"/>
                    <a:gd name="connsiteY3" fmla="*/ 18335 h 18429"/>
                    <a:gd name="connsiteX4" fmla="*/ 18217 w 18312"/>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29">
                      <a:moveTo>
                        <a:pt x="18217" y="7869"/>
                      </a:moveTo>
                      <a:cubicBezTo>
                        <a:pt x="17439" y="2845"/>
                        <a:pt x="12775" y="-624"/>
                        <a:pt x="7810" y="94"/>
                      </a:cubicBezTo>
                      <a:cubicBezTo>
                        <a:pt x="2786" y="812"/>
                        <a:pt x="-623" y="5537"/>
                        <a:pt x="95" y="10560"/>
                      </a:cubicBezTo>
                      <a:cubicBezTo>
                        <a:pt x="873" y="15584"/>
                        <a:pt x="5538" y="19053"/>
                        <a:pt x="10502" y="18335"/>
                      </a:cubicBezTo>
                      <a:cubicBezTo>
                        <a:pt x="15525" y="17617"/>
                        <a:pt x="18934" y="12953"/>
                        <a:pt x="18217" y="7869"/>
                      </a:cubicBezTo>
                      <a:close/>
                    </a:path>
                  </a:pathLst>
                </a:custGeom>
                <a:grpFill/>
                <a:ln w="5978" cap="flat">
                  <a:noFill/>
                  <a:prstDash val="solid"/>
                  <a:miter/>
                </a:ln>
              </p:spPr>
              <p:txBody>
                <a:bodyPr rtlCol="0" anchor="ctr"/>
                <a:lstStyle/>
                <a:p>
                  <a:endParaRPr lang="en-GB"/>
                </a:p>
              </p:txBody>
            </p:sp>
          </p:grpSp>
          <p:grpSp>
            <p:nvGrpSpPr>
              <p:cNvPr id="751" name="Graphic 3">
                <a:extLst>
                  <a:ext uri="{FF2B5EF4-FFF2-40B4-BE49-F238E27FC236}">
                    <a16:creationId xmlns:a16="http://schemas.microsoft.com/office/drawing/2014/main" id="{4D749D85-54C7-4C0B-AD1A-A21ECE56DB75}"/>
                  </a:ext>
                </a:extLst>
              </p:cNvPr>
              <p:cNvGrpSpPr/>
              <p:nvPr/>
            </p:nvGrpSpPr>
            <p:grpSpPr>
              <a:xfrm>
                <a:off x="6327761" y="5078169"/>
                <a:ext cx="74424" cy="596121"/>
                <a:chOff x="6327761" y="5078169"/>
                <a:chExt cx="74424" cy="596121"/>
              </a:xfrm>
              <a:grpFill/>
            </p:grpSpPr>
            <p:sp>
              <p:nvSpPr>
                <p:cNvPr id="3137" name="Vrije vorm: vorm 3136">
                  <a:extLst>
                    <a:ext uri="{FF2B5EF4-FFF2-40B4-BE49-F238E27FC236}">
                      <a16:creationId xmlns:a16="http://schemas.microsoft.com/office/drawing/2014/main" id="{0B7D5658-85B9-4D84-8A35-B6B0B28C9C3F}"/>
                    </a:ext>
                  </a:extLst>
                </p:cNvPr>
                <p:cNvSpPr/>
                <p:nvPr/>
              </p:nvSpPr>
              <p:spPr>
                <a:xfrm>
                  <a:off x="6335339" y="5086823"/>
                  <a:ext cx="59208" cy="578814"/>
                </a:xfrm>
                <a:custGeom>
                  <a:avLst/>
                  <a:gdLst>
                    <a:gd name="connsiteX0" fmla="*/ 3050 w 59208"/>
                    <a:gd name="connsiteY0" fmla="*/ 0 h 578814"/>
                    <a:gd name="connsiteX1" fmla="*/ 59209 w 59208"/>
                    <a:gd name="connsiteY1" fmla="*/ 578575 h 578814"/>
                    <a:gd name="connsiteX2" fmla="*/ 56219 w 59208"/>
                    <a:gd name="connsiteY2" fmla="*/ 578814 h 578814"/>
                    <a:gd name="connsiteX3" fmla="*/ 0 w 59208"/>
                    <a:gd name="connsiteY3" fmla="*/ 299 h 578814"/>
                  </a:gdLst>
                  <a:ahLst/>
                  <a:cxnLst>
                    <a:cxn ang="0">
                      <a:pos x="connsiteX0" y="connsiteY0"/>
                    </a:cxn>
                    <a:cxn ang="0">
                      <a:pos x="connsiteX1" y="connsiteY1"/>
                    </a:cxn>
                    <a:cxn ang="0">
                      <a:pos x="connsiteX2" y="connsiteY2"/>
                    </a:cxn>
                    <a:cxn ang="0">
                      <a:pos x="connsiteX3" y="connsiteY3"/>
                    </a:cxn>
                  </a:cxnLst>
                  <a:rect l="l" t="t" r="r" b="b"/>
                  <a:pathLst>
                    <a:path w="59208" h="578814">
                      <a:moveTo>
                        <a:pt x="3050" y="0"/>
                      </a:moveTo>
                      <a:lnTo>
                        <a:pt x="59209" y="578575"/>
                      </a:lnTo>
                      <a:lnTo>
                        <a:pt x="56219" y="578814"/>
                      </a:lnTo>
                      <a:lnTo>
                        <a:pt x="0" y="299"/>
                      </a:lnTo>
                      <a:close/>
                    </a:path>
                  </a:pathLst>
                </a:custGeom>
                <a:grpFill/>
                <a:ln w="5978" cap="flat">
                  <a:noFill/>
                  <a:prstDash val="solid"/>
                  <a:miter/>
                </a:ln>
              </p:spPr>
              <p:txBody>
                <a:bodyPr rtlCol="0" anchor="ctr"/>
                <a:lstStyle/>
                <a:p>
                  <a:endParaRPr lang="en-GB"/>
                </a:p>
              </p:txBody>
            </p:sp>
            <p:sp>
              <p:nvSpPr>
                <p:cNvPr id="3138" name="Vrije vorm: vorm 3137">
                  <a:extLst>
                    <a:ext uri="{FF2B5EF4-FFF2-40B4-BE49-F238E27FC236}">
                      <a16:creationId xmlns:a16="http://schemas.microsoft.com/office/drawing/2014/main" id="{C87788EE-1FDA-45F3-AB7E-013CB31E6F2A}"/>
                    </a:ext>
                  </a:extLst>
                </p:cNvPr>
                <p:cNvSpPr/>
                <p:nvPr/>
              </p:nvSpPr>
              <p:spPr>
                <a:xfrm>
                  <a:off x="6327761" y="5078169"/>
                  <a:ext cx="18325" cy="18443"/>
                </a:xfrm>
                <a:custGeom>
                  <a:avLst/>
                  <a:gdLst>
                    <a:gd name="connsiteX0" fmla="*/ 42 w 18325"/>
                    <a:gd name="connsiteY0" fmla="*/ 10089 h 18443"/>
                    <a:gd name="connsiteX1" fmla="*/ 8296 w 18325"/>
                    <a:gd name="connsiteY1" fmla="*/ 42 h 18443"/>
                    <a:gd name="connsiteX2" fmla="*/ 18283 w 18325"/>
                    <a:gd name="connsiteY2" fmla="*/ 8355 h 18443"/>
                    <a:gd name="connsiteX3" fmla="*/ 10030 w 18325"/>
                    <a:gd name="connsiteY3" fmla="*/ 18402 h 18443"/>
                    <a:gd name="connsiteX4" fmla="*/ 42 w 18325"/>
                    <a:gd name="connsiteY4" fmla="*/ 100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43">
                      <a:moveTo>
                        <a:pt x="42" y="10089"/>
                      </a:moveTo>
                      <a:cubicBezTo>
                        <a:pt x="-436" y="5006"/>
                        <a:pt x="3212" y="520"/>
                        <a:pt x="8296" y="42"/>
                      </a:cubicBezTo>
                      <a:cubicBezTo>
                        <a:pt x="13319" y="-437"/>
                        <a:pt x="17805" y="3271"/>
                        <a:pt x="18283" y="8355"/>
                      </a:cubicBezTo>
                      <a:cubicBezTo>
                        <a:pt x="18762" y="13438"/>
                        <a:pt x="15113" y="17924"/>
                        <a:pt x="10030" y="18402"/>
                      </a:cubicBezTo>
                      <a:cubicBezTo>
                        <a:pt x="5006" y="18881"/>
                        <a:pt x="520" y="15173"/>
                        <a:pt x="42" y="10089"/>
                      </a:cubicBezTo>
                      <a:close/>
                    </a:path>
                  </a:pathLst>
                </a:custGeom>
                <a:grpFill/>
                <a:ln w="5978" cap="flat">
                  <a:noFill/>
                  <a:prstDash val="solid"/>
                  <a:miter/>
                </a:ln>
              </p:spPr>
              <p:txBody>
                <a:bodyPr rtlCol="0" anchor="ctr"/>
                <a:lstStyle/>
                <a:p>
                  <a:endParaRPr lang="en-GB"/>
                </a:p>
              </p:txBody>
            </p:sp>
            <p:sp>
              <p:nvSpPr>
                <p:cNvPr id="3139" name="Vrije vorm: vorm 3138">
                  <a:extLst>
                    <a:ext uri="{FF2B5EF4-FFF2-40B4-BE49-F238E27FC236}">
                      <a16:creationId xmlns:a16="http://schemas.microsoft.com/office/drawing/2014/main" id="{BE466E86-0327-4065-8AD5-DA3089C38227}"/>
                    </a:ext>
                  </a:extLst>
                </p:cNvPr>
                <p:cNvSpPr/>
                <p:nvPr/>
              </p:nvSpPr>
              <p:spPr>
                <a:xfrm>
                  <a:off x="6383860" y="5655847"/>
                  <a:ext cx="18324" cy="18443"/>
                </a:xfrm>
                <a:custGeom>
                  <a:avLst/>
                  <a:gdLst>
                    <a:gd name="connsiteX0" fmla="*/ 42 w 18324"/>
                    <a:gd name="connsiteY0" fmla="*/ 10089 h 18443"/>
                    <a:gd name="connsiteX1" fmla="*/ 10030 w 18324"/>
                    <a:gd name="connsiteY1" fmla="*/ 18402 h 18443"/>
                    <a:gd name="connsiteX2" fmla="*/ 18283 w 18324"/>
                    <a:gd name="connsiteY2" fmla="*/ 8355 h 18443"/>
                    <a:gd name="connsiteX3" fmla="*/ 8296 w 18324"/>
                    <a:gd name="connsiteY3" fmla="*/ 42 h 18443"/>
                    <a:gd name="connsiteX4" fmla="*/ 42 w 18324"/>
                    <a:gd name="connsiteY4" fmla="*/ 100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3">
                      <a:moveTo>
                        <a:pt x="42" y="10089"/>
                      </a:moveTo>
                      <a:cubicBezTo>
                        <a:pt x="520" y="15173"/>
                        <a:pt x="5006" y="18881"/>
                        <a:pt x="10030" y="18402"/>
                      </a:cubicBezTo>
                      <a:cubicBezTo>
                        <a:pt x="15053" y="17924"/>
                        <a:pt x="18762" y="13439"/>
                        <a:pt x="18283" y="8355"/>
                      </a:cubicBezTo>
                      <a:cubicBezTo>
                        <a:pt x="17805" y="3271"/>
                        <a:pt x="13319" y="-437"/>
                        <a:pt x="8296" y="42"/>
                      </a:cubicBezTo>
                      <a:cubicBezTo>
                        <a:pt x="3212" y="520"/>
                        <a:pt x="-436" y="5006"/>
                        <a:pt x="42" y="10089"/>
                      </a:cubicBezTo>
                      <a:close/>
                    </a:path>
                  </a:pathLst>
                </a:custGeom>
                <a:grpFill/>
                <a:ln w="5978" cap="flat">
                  <a:noFill/>
                  <a:prstDash val="solid"/>
                  <a:miter/>
                </a:ln>
              </p:spPr>
              <p:txBody>
                <a:bodyPr rtlCol="0" anchor="ctr"/>
                <a:lstStyle/>
                <a:p>
                  <a:endParaRPr lang="en-GB"/>
                </a:p>
              </p:txBody>
            </p:sp>
          </p:grpSp>
          <p:grpSp>
            <p:nvGrpSpPr>
              <p:cNvPr id="752" name="Graphic 3">
                <a:extLst>
                  <a:ext uri="{FF2B5EF4-FFF2-40B4-BE49-F238E27FC236}">
                    <a16:creationId xmlns:a16="http://schemas.microsoft.com/office/drawing/2014/main" id="{AEEB9D09-F3AA-4D03-BE64-5FF9CD7D854F}"/>
                  </a:ext>
                </a:extLst>
              </p:cNvPr>
              <p:cNvGrpSpPr/>
              <p:nvPr/>
            </p:nvGrpSpPr>
            <p:grpSpPr>
              <a:xfrm>
                <a:off x="5068487" y="1582645"/>
                <a:ext cx="25845" cy="32441"/>
                <a:chOff x="5068487" y="1582645"/>
                <a:chExt cx="25845" cy="32441"/>
              </a:xfrm>
              <a:grpFill/>
            </p:grpSpPr>
            <p:sp>
              <p:nvSpPr>
                <p:cNvPr id="3135" name="Vrije vorm: vorm 3134">
                  <a:extLst>
                    <a:ext uri="{FF2B5EF4-FFF2-40B4-BE49-F238E27FC236}">
                      <a16:creationId xmlns:a16="http://schemas.microsoft.com/office/drawing/2014/main" id="{91264CC7-E80A-495B-8224-3BC8F9879BCC}"/>
                    </a:ext>
                  </a:extLst>
                </p:cNvPr>
                <p:cNvSpPr/>
                <p:nvPr/>
              </p:nvSpPr>
              <p:spPr>
                <a:xfrm>
                  <a:off x="5068487" y="1582645"/>
                  <a:ext cx="18331" cy="18387"/>
                </a:xfrm>
                <a:custGeom>
                  <a:avLst/>
                  <a:gdLst>
                    <a:gd name="connsiteX0" fmla="*/ 17240 w 18331"/>
                    <a:gd name="connsiteY0" fmla="*/ 4858 h 18387"/>
                    <a:gd name="connsiteX1" fmla="*/ 13532 w 18331"/>
                    <a:gd name="connsiteY1" fmla="*/ 17298 h 18387"/>
                    <a:gd name="connsiteX2" fmla="*/ 1092 w 18331"/>
                    <a:gd name="connsiteY2" fmla="*/ 13530 h 18387"/>
                    <a:gd name="connsiteX3" fmla="*/ 4800 w 18331"/>
                    <a:gd name="connsiteY3" fmla="*/ 1090 h 18387"/>
                    <a:gd name="connsiteX4" fmla="*/ 17240 w 18331"/>
                    <a:gd name="connsiteY4" fmla="*/ 485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7240" y="4858"/>
                      </a:moveTo>
                      <a:cubicBezTo>
                        <a:pt x="19632" y="9343"/>
                        <a:pt x="17957" y="14905"/>
                        <a:pt x="13532" y="17298"/>
                      </a:cubicBezTo>
                      <a:cubicBezTo>
                        <a:pt x="9106" y="19690"/>
                        <a:pt x="3544" y="18015"/>
                        <a:pt x="1092" y="13530"/>
                      </a:cubicBezTo>
                      <a:cubicBezTo>
                        <a:pt x="-1301" y="9044"/>
                        <a:pt x="374" y="3482"/>
                        <a:pt x="4800" y="1090"/>
                      </a:cubicBezTo>
                      <a:cubicBezTo>
                        <a:pt x="9225" y="-1303"/>
                        <a:pt x="14787" y="372"/>
                        <a:pt x="17240" y="4858"/>
                      </a:cubicBezTo>
                      <a:close/>
                    </a:path>
                  </a:pathLst>
                </a:custGeom>
                <a:grpFill/>
                <a:ln w="5978" cap="flat">
                  <a:noFill/>
                  <a:prstDash val="solid"/>
                  <a:miter/>
                </a:ln>
              </p:spPr>
              <p:txBody>
                <a:bodyPr rtlCol="0" anchor="ctr"/>
                <a:lstStyle/>
                <a:p>
                  <a:endParaRPr lang="en-GB"/>
                </a:p>
              </p:txBody>
            </p:sp>
            <p:sp>
              <p:nvSpPr>
                <p:cNvPr id="3136" name="Vrije vorm: vorm 3135">
                  <a:extLst>
                    <a:ext uri="{FF2B5EF4-FFF2-40B4-BE49-F238E27FC236}">
                      <a16:creationId xmlns:a16="http://schemas.microsoft.com/office/drawing/2014/main" id="{2BA77545-A1D6-4341-96BD-D460D2256EC7}"/>
                    </a:ext>
                  </a:extLst>
                </p:cNvPr>
                <p:cNvSpPr/>
                <p:nvPr/>
              </p:nvSpPr>
              <p:spPr>
                <a:xfrm>
                  <a:off x="5075963" y="1596700"/>
                  <a:ext cx="18369" cy="18387"/>
                </a:xfrm>
                <a:custGeom>
                  <a:avLst/>
                  <a:gdLst>
                    <a:gd name="connsiteX0" fmla="*/ 17240 w 18369"/>
                    <a:gd name="connsiteY0" fmla="*/ 4858 h 18387"/>
                    <a:gd name="connsiteX1" fmla="*/ 4800 w 18369"/>
                    <a:gd name="connsiteY1" fmla="*/ 1090 h 18387"/>
                    <a:gd name="connsiteX2" fmla="*/ 1092 w 18369"/>
                    <a:gd name="connsiteY2" fmla="*/ 13530 h 18387"/>
                    <a:gd name="connsiteX3" fmla="*/ 13532 w 18369"/>
                    <a:gd name="connsiteY3" fmla="*/ 17298 h 18387"/>
                    <a:gd name="connsiteX4" fmla="*/ 17240 w 18369"/>
                    <a:gd name="connsiteY4" fmla="*/ 485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87">
                      <a:moveTo>
                        <a:pt x="17240" y="4858"/>
                      </a:moveTo>
                      <a:cubicBezTo>
                        <a:pt x="14847" y="372"/>
                        <a:pt x="9285" y="-1303"/>
                        <a:pt x="4800" y="1090"/>
                      </a:cubicBezTo>
                      <a:cubicBezTo>
                        <a:pt x="374" y="3482"/>
                        <a:pt x="-1301" y="9044"/>
                        <a:pt x="1092" y="13530"/>
                      </a:cubicBezTo>
                      <a:cubicBezTo>
                        <a:pt x="3484" y="18015"/>
                        <a:pt x="9046" y="19690"/>
                        <a:pt x="13532" y="17298"/>
                      </a:cubicBezTo>
                      <a:cubicBezTo>
                        <a:pt x="18017" y="14905"/>
                        <a:pt x="19692" y="9343"/>
                        <a:pt x="17240" y="4858"/>
                      </a:cubicBezTo>
                      <a:close/>
                    </a:path>
                  </a:pathLst>
                </a:custGeom>
                <a:grpFill/>
                <a:ln w="5978" cap="flat">
                  <a:noFill/>
                  <a:prstDash val="solid"/>
                  <a:miter/>
                </a:ln>
              </p:spPr>
              <p:txBody>
                <a:bodyPr rtlCol="0" anchor="ctr"/>
                <a:lstStyle/>
                <a:p>
                  <a:endParaRPr lang="en-GB"/>
                </a:p>
              </p:txBody>
            </p:sp>
          </p:grpSp>
          <p:grpSp>
            <p:nvGrpSpPr>
              <p:cNvPr id="753" name="Graphic 3">
                <a:extLst>
                  <a:ext uri="{FF2B5EF4-FFF2-40B4-BE49-F238E27FC236}">
                    <a16:creationId xmlns:a16="http://schemas.microsoft.com/office/drawing/2014/main" id="{D061C37E-A011-4DD4-9200-D62B1D846EE7}"/>
                  </a:ext>
                </a:extLst>
              </p:cNvPr>
              <p:cNvGrpSpPr/>
              <p:nvPr/>
            </p:nvGrpSpPr>
            <p:grpSpPr>
              <a:xfrm>
                <a:off x="6381246" y="5390697"/>
                <a:ext cx="85676" cy="416571"/>
                <a:chOff x="6381246" y="5390697"/>
                <a:chExt cx="85676" cy="416571"/>
              </a:xfrm>
              <a:grpFill/>
            </p:grpSpPr>
            <p:sp>
              <p:nvSpPr>
                <p:cNvPr id="3132" name="Vrije vorm: vorm 3131">
                  <a:extLst>
                    <a:ext uri="{FF2B5EF4-FFF2-40B4-BE49-F238E27FC236}">
                      <a16:creationId xmlns:a16="http://schemas.microsoft.com/office/drawing/2014/main" id="{BB14CCDD-B3BB-4F54-9219-E0AD559FAFF4}"/>
                    </a:ext>
                  </a:extLst>
                </p:cNvPr>
                <p:cNvSpPr/>
                <p:nvPr/>
              </p:nvSpPr>
              <p:spPr>
                <a:xfrm>
                  <a:off x="6388806" y="5399256"/>
                  <a:ext cx="70512" cy="399512"/>
                </a:xfrm>
                <a:custGeom>
                  <a:avLst/>
                  <a:gdLst>
                    <a:gd name="connsiteX0" fmla="*/ 3050 w 70512"/>
                    <a:gd name="connsiteY0" fmla="*/ 0 h 399512"/>
                    <a:gd name="connsiteX1" fmla="*/ 70513 w 70512"/>
                    <a:gd name="connsiteY1" fmla="*/ 398974 h 399512"/>
                    <a:gd name="connsiteX2" fmla="*/ 67522 w 70512"/>
                    <a:gd name="connsiteY2" fmla="*/ 399512 h 399512"/>
                    <a:gd name="connsiteX3" fmla="*/ 0 w 70512"/>
                    <a:gd name="connsiteY3" fmla="*/ 479 h 399512"/>
                  </a:gdLst>
                  <a:ahLst/>
                  <a:cxnLst>
                    <a:cxn ang="0">
                      <a:pos x="connsiteX0" y="connsiteY0"/>
                    </a:cxn>
                    <a:cxn ang="0">
                      <a:pos x="connsiteX1" y="connsiteY1"/>
                    </a:cxn>
                    <a:cxn ang="0">
                      <a:pos x="connsiteX2" y="connsiteY2"/>
                    </a:cxn>
                    <a:cxn ang="0">
                      <a:pos x="connsiteX3" y="connsiteY3"/>
                    </a:cxn>
                  </a:cxnLst>
                  <a:rect l="l" t="t" r="r" b="b"/>
                  <a:pathLst>
                    <a:path w="70512" h="399512">
                      <a:moveTo>
                        <a:pt x="3050" y="0"/>
                      </a:moveTo>
                      <a:lnTo>
                        <a:pt x="70513" y="398974"/>
                      </a:lnTo>
                      <a:lnTo>
                        <a:pt x="67522" y="399512"/>
                      </a:lnTo>
                      <a:lnTo>
                        <a:pt x="0" y="479"/>
                      </a:lnTo>
                      <a:close/>
                    </a:path>
                  </a:pathLst>
                </a:custGeom>
                <a:grpFill/>
                <a:ln w="5978" cap="flat">
                  <a:noFill/>
                  <a:prstDash val="solid"/>
                  <a:miter/>
                </a:ln>
              </p:spPr>
              <p:txBody>
                <a:bodyPr rtlCol="0" anchor="ctr"/>
                <a:lstStyle/>
                <a:p>
                  <a:endParaRPr lang="en-GB"/>
                </a:p>
              </p:txBody>
            </p:sp>
            <p:sp>
              <p:nvSpPr>
                <p:cNvPr id="3133" name="Vrije vorm: vorm 3132">
                  <a:extLst>
                    <a:ext uri="{FF2B5EF4-FFF2-40B4-BE49-F238E27FC236}">
                      <a16:creationId xmlns:a16="http://schemas.microsoft.com/office/drawing/2014/main" id="{B221D0AF-A2F4-42BF-897C-0028321C782A}"/>
                    </a:ext>
                  </a:extLst>
                </p:cNvPr>
                <p:cNvSpPr/>
                <p:nvPr/>
              </p:nvSpPr>
              <p:spPr>
                <a:xfrm>
                  <a:off x="6448605" y="5788833"/>
                  <a:ext cx="18318" cy="18434"/>
                </a:xfrm>
                <a:custGeom>
                  <a:avLst/>
                  <a:gdLst>
                    <a:gd name="connsiteX0" fmla="*/ 18190 w 18318"/>
                    <a:gd name="connsiteY0" fmla="*/ 7722 h 18434"/>
                    <a:gd name="connsiteX1" fmla="*/ 10714 w 18318"/>
                    <a:gd name="connsiteY1" fmla="*/ 18308 h 18434"/>
                    <a:gd name="connsiteX2" fmla="*/ 128 w 18318"/>
                    <a:gd name="connsiteY2" fmla="*/ 10712 h 18434"/>
                    <a:gd name="connsiteX3" fmla="*/ 760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8" y="12746"/>
                        <a:pt x="15678" y="17471"/>
                        <a:pt x="10714" y="18308"/>
                      </a:cubicBezTo>
                      <a:cubicBezTo>
                        <a:pt x="5750" y="19145"/>
                        <a:pt x="966" y="15736"/>
                        <a:pt x="128" y="10712"/>
                      </a:cubicBezTo>
                      <a:cubicBezTo>
                        <a:pt x="-709" y="5688"/>
                        <a:pt x="2640" y="964"/>
                        <a:pt x="7604" y="126"/>
                      </a:cubicBezTo>
                      <a:cubicBezTo>
                        <a:pt x="12568" y="-711"/>
                        <a:pt x="17293" y="2698"/>
                        <a:pt x="18190" y="7722"/>
                      </a:cubicBezTo>
                      <a:close/>
                    </a:path>
                  </a:pathLst>
                </a:custGeom>
                <a:grpFill/>
                <a:ln w="5978" cap="flat">
                  <a:noFill/>
                  <a:prstDash val="solid"/>
                  <a:miter/>
                </a:ln>
              </p:spPr>
              <p:txBody>
                <a:bodyPr rtlCol="0" anchor="ctr"/>
                <a:lstStyle/>
                <a:p>
                  <a:endParaRPr lang="en-GB"/>
                </a:p>
              </p:txBody>
            </p:sp>
            <p:sp>
              <p:nvSpPr>
                <p:cNvPr id="3134" name="Vrije vorm: vorm 3133">
                  <a:extLst>
                    <a:ext uri="{FF2B5EF4-FFF2-40B4-BE49-F238E27FC236}">
                      <a16:creationId xmlns:a16="http://schemas.microsoft.com/office/drawing/2014/main" id="{3B5E396D-F9D2-4663-8DA0-E6CD89FE8C82}"/>
                    </a:ext>
                  </a:extLst>
                </p:cNvPr>
                <p:cNvSpPr/>
                <p:nvPr/>
              </p:nvSpPr>
              <p:spPr>
                <a:xfrm>
                  <a:off x="6381246" y="5390697"/>
                  <a:ext cx="18333" cy="18434"/>
                </a:xfrm>
                <a:custGeom>
                  <a:avLst/>
                  <a:gdLst>
                    <a:gd name="connsiteX0" fmla="*/ 18205 w 18333"/>
                    <a:gd name="connsiteY0" fmla="*/ 7722 h 18434"/>
                    <a:gd name="connsiteX1" fmla="*/ 7619 w 18333"/>
                    <a:gd name="connsiteY1" fmla="*/ 126 h 18434"/>
                    <a:gd name="connsiteX2" fmla="*/ 143 w 18333"/>
                    <a:gd name="connsiteY2" fmla="*/ 10712 h 18434"/>
                    <a:gd name="connsiteX3" fmla="*/ 10729 w 18333"/>
                    <a:gd name="connsiteY3" fmla="*/ 18308 h 18434"/>
                    <a:gd name="connsiteX4" fmla="*/ 18205 w 18333"/>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4">
                      <a:moveTo>
                        <a:pt x="18205" y="7722"/>
                      </a:moveTo>
                      <a:cubicBezTo>
                        <a:pt x="17368" y="2698"/>
                        <a:pt x="12643" y="-711"/>
                        <a:pt x="7619" y="126"/>
                      </a:cubicBezTo>
                      <a:cubicBezTo>
                        <a:pt x="2656" y="964"/>
                        <a:pt x="-754" y="5689"/>
                        <a:pt x="143" y="10712"/>
                      </a:cubicBezTo>
                      <a:cubicBezTo>
                        <a:pt x="981" y="15736"/>
                        <a:pt x="5705" y="19145"/>
                        <a:pt x="10729" y="18308"/>
                      </a:cubicBezTo>
                      <a:cubicBezTo>
                        <a:pt x="15693" y="17530"/>
                        <a:pt x="19043" y="12746"/>
                        <a:pt x="18205" y="7722"/>
                      </a:cubicBezTo>
                      <a:close/>
                    </a:path>
                  </a:pathLst>
                </a:custGeom>
                <a:grpFill/>
                <a:ln w="5978" cap="flat">
                  <a:noFill/>
                  <a:prstDash val="solid"/>
                  <a:miter/>
                </a:ln>
              </p:spPr>
              <p:txBody>
                <a:bodyPr rtlCol="0" anchor="ctr"/>
                <a:lstStyle/>
                <a:p>
                  <a:endParaRPr lang="en-GB"/>
                </a:p>
              </p:txBody>
            </p:sp>
          </p:grpSp>
          <p:grpSp>
            <p:nvGrpSpPr>
              <p:cNvPr id="754" name="Graphic 3">
                <a:extLst>
                  <a:ext uri="{FF2B5EF4-FFF2-40B4-BE49-F238E27FC236}">
                    <a16:creationId xmlns:a16="http://schemas.microsoft.com/office/drawing/2014/main" id="{4E5B80C9-1B78-45F2-BCFE-4AF6989898C4}"/>
                  </a:ext>
                </a:extLst>
              </p:cNvPr>
              <p:cNvGrpSpPr/>
              <p:nvPr/>
            </p:nvGrpSpPr>
            <p:grpSpPr>
              <a:xfrm>
                <a:off x="5021381" y="1577013"/>
                <a:ext cx="197242" cy="338104"/>
                <a:chOff x="5021381" y="1577013"/>
                <a:chExt cx="197242" cy="338104"/>
              </a:xfrm>
              <a:grpFill/>
            </p:grpSpPr>
            <p:sp>
              <p:nvSpPr>
                <p:cNvPr id="3129" name="Vrije vorm: vorm 3128">
                  <a:extLst>
                    <a:ext uri="{FF2B5EF4-FFF2-40B4-BE49-F238E27FC236}">
                      <a16:creationId xmlns:a16="http://schemas.microsoft.com/office/drawing/2014/main" id="{0E029A1F-FC44-46CF-8E35-45D238EA3AD8}"/>
                    </a:ext>
                  </a:extLst>
                </p:cNvPr>
                <p:cNvSpPr/>
                <p:nvPr/>
              </p:nvSpPr>
              <p:spPr>
                <a:xfrm>
                  <a:off x="5028967" y="1585129"/>
                  <a:ext cx="182405" cy="321794"/>
                </a:xfrm>
                <a:custGeom>
                  <a:avLst/>
                  <a:gdLst>
                    <a:gd name="connsiteX0" fmla="*/ 0 w 182405"/>
                    <a:gd name="connsiteY0" fmla="*/ 1493 h 321794"/>
                    <a:gd name="connsiteX1" fmla="*/ 2660 w 182405"/>
                    <a:gd name="connsiteY1" fmla="*/ 0 h 321794"/>
                    <a:gd name="connsiteX2" fmla="*/ 182405 w 182405"/>
                    <a:gd name="connsiteY2" fmla="*/ 320302 h 321794"/>
                    <a:gd name="connsiteX3" fmla="*/ 179745 w 182405"/>
                    <a:gd name="connsiteY3" fmla="*/ 321794 h 321794"/>
                  </a:gdLst>
                  <a:ahLst/>
                  <a:cxnLst>
                    <a:cxn ang="0">
                      <a:pos x="connsiteX0" y="connsiteY0"/>
                    </a:cxn>
                    <a:cxn ang="0">
                      <a:pos x="connsiteX1" y="connsiteY1"/>
                    </a:cxn>
                    <a:cxn ang="0">
                      <a:pos x="connsiteX2" y="connsiteY2"/>
                    </a:cxn>
                    <a:cxn ang="0">
                      <a:pos x="connsiteX3" y="connsiteY3"/>
                    </a:cxn>
                  </a:cxnLst>
                  <a:rect l="l" t="t" r="r" b="b"/>
                  <a:pathLst>
                    <a:path w="182405" h="321794">
                      <a:moveTo>
                        <a:pt x="0" y="1493"/>
                      </a:moveTo>
                      <a:lnTo>
                        <a:pt x="2660" y="0"/>
                      </a:lnTo>
                      <a:lnTo>
                        <a:pt x="182405" y="320302"/>
                      </a:lnTo>
                      <a:lnTo>
                        <a:pt x="179745" y="321794"/>
                      </a:lnTo>
                      <a:close/>
                    </a:path>
                  </a:pathLst>
                </a:custGeom>
                <a:grpFill/>
                <a:ln w="5978" cap="flat">
                  <a:noFill/>
                  <a:prstDash val="solid"/>
                  <a:miter/>
                </a:ln>
              </p:spPr>
              <p:txBody>
                <a:bodyPr rtlCol="0" anchor="ctr"/>
                <a:lstStyle/>
                <a:p>
                  <a:endParaRPr lang="en-GB"/>
                </a:p>
              </p:txBody>
            </p:sp>
            <p:sp>
              <p:nvSpPr>
                <p:cNvPr id="3130" name="Vrije vorm: vorm 3129">
                  <a:extLst>
                    <a:ext uri="{FF2B5EF4-FFF2-40B4-BE49-F238E27FC236}">
                      <a16:creationId xmlns:a16="http://schemas.microsoft.com/office/drawing/2014/main" id="{7474D6EB-30CB-47FC-8E6D-FCF5353202A0}"/>
                    </a:ext>
                  </a:extLst>
                </p:cNvPr>
                <p:cNvSpPr/>
                <p:nvPr/>
              </p:nvSpPr>
              <p:spPr>
                <a:xfrm>
                  <a:off x="5021381" y="1577013"/>
                  <a:ext cx="18346" cy="18447"/>
                </a:xfrm>
                <a:custGeom>
                  <a:avLst/>
                  <a:gdLst>
                    <a:gd name="connsiteX0" fmla="*/ 1189 w 18346"/>
                    <a:gd name="connsiteY0" fmla="*/ 13720 h 18447"/>
                    <a:gd name="connsiteX1" fmla="*/ 4658 w 18346"/>
                    <a:gd name="connsiteY1" fmla="*/ 1160 h 18447"/>
                    <a:gd name="connsiteX2" fmla="*/ 17157 w 18346"/>
                    <a:gd name="connsiteY2" fmla="*/ 4689 h 18447"/>
                    <a:gd name="connsiteX3" fmla="*/ 13688 w 18346"/>
                    <a:gd name="connsiteY3" fmla="*/ 17248 h 18447"/>
                    <a:gd name="connsiteX4" fmla="*/ 1189 w 18346"/>
                    <a:gd name="connsiteY4" fmla="*/ 1372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7">
                      <a:moveTo>
                        <a:pt x="1189" y="13720"/>
                      </a:moveTo>
                      <a:cubicBezTo>
                        <a:pt x="-1323" y="9294"/>
                        <a:pt x="292" y="3672"/>
                        <a:pt x="4658" y="1160"/>
                      </a:cubicBezTo>
                      <a:cubicBezTo>
                        <a:pt x="9083" y="-1292"/>
                        <a:pt x="14646" y="263"/>
                        <a:pt x="17157" y="4689"/>
                      </a:cubicBezTo>
                      <a:cubicBezTo>
                        <a:pt x="19669" y="9115"/>
                        <a:pt x="18054" y="14736"/>
                        <a:pt x="13688" y="17248"/>
                      </a:cubicBezTo>
                      <a:cubicBezTo>
                        <a:pt x="9263" y="19760"/>
                        <a:pt x="3701" y="18205"/>
                        <a:pt x="1189" y="13720"/>
                      </a:cubicBezTo>
                      <a:close/>
                    </a:path>
                  </a:pathLst>
                </a:custGeom>
                <a:grpFill/>
                <a:ln w="5978" cap="flat">
                  <a:noFill/>
                  <a:prstDash val="solid"/>
                  <a:miter/>
                </a:ln>
              </p:spPr>
              <p:txBody>
                <a:bodyPr rtlCol="0" anchor="ctr"/>
                <a:lstStyle/>
                <a:p>
                  <a:endParaRPr lang="en-GB"/>
                </a:p>
              </p:txBody>
            </p:sp>
            <p:sp>
              <p:nvSpPr>
                <p:cNvPr id="3131" name="Vrije vorm: vorm 3130">
                  <a:extLst>
                    <a:ext uri="{FF2B5EF4-FFF2-40B4-BE49-F238E27FC236}">
                      <a16:creationId xmlns:a16="http://schemas.microsoft.com/office/drawing/2014/main" id="{6A0BC81F-9424-486B-AA7D-1BD1DEC27186}"/>
                    </a:ext>
                  </a:extLst>
                </p:cNvPr>
                <p:cNvSpPr/>
                <p:nvPr/>
              </p:nvSpPr>
              <p:spPr>
                <a:xfrm>
                  <a:off x="5200291" y="1896656"/>
                  <a:ext cx="18332" cy="18461"/>
                </a:xfrm>
                <a:custGeom>
                  <a:avLst/>
                  <a:gdLst>
                    <a:gd name="connsiteX0" fmla="*/ 1162 w 18332"/>
                    <a:gd name="connsiteY0" fmla="*/ 13746 h 18461"/>
                    <a:gd name="connsiteX1" fmla="*/ 13662 w 18332"/>
                    <a:gd name="connsiteY1" fmla="*/ 17275 h 18461"/>
                    <a:gd name="connsiteX2" fmla="*/ 17131 w 18332"/>
                    <a:gd name="connsiteY2" fmla="*/ 4716 h 18461"/>
                    <a:gd name="connsiteX3" fmla="*/ 4631 w 18332"/>
                    <a:gd name="connsiteY3" fmla="*/ 1187 h 18461"/>
                    <a:gd name="connsiteX4" fmla="*/ 1162 w 18332"/>
                    <a:gd name="connsiteY4" fmla="*/ 1374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61">
                      <a:moveTo>
                        <a:pt x="1162" y="13746"/>
                      </a:moveTo>
                      <a:cubicBezTo>
                        <a:pt x="3674" y="18172"/>
                        <a:pt x="9236" y="19787"/>
                        <a:pt x="13662" y="17275"/>
                      </a:cubicBezTo>
                      <a:cubicBezTo>
                        <a:pt x="18088" y="14823"/>
                        <a:pt x="19643" y="9201"/>
                        <a:pt x="17131" y="4716"/>
                      </a:cubicBezTo>
                      <a:cubicBezTo>
                        <a:pt x="14619" y="290"/>
                        <a:pt x="9057" y="-1325"/>
                        <a:pt x="4631" y="1187"/>
                      </a:cubicBezTo>
                      <a:cubicBezTo>
                        <a:pt x="265" y="3699"/>
                        <a:pt x="-1290" y="9321"/>
                        <a:pt x="1162" y="13746"/>
                      </a:cubicBezTo>
                      <a:close/>
                    </a:path>
                  </a:pathLst>
                </a:custGeom>
                <a:grpFill/>
                <a:ln w="5978" cap="flat">
                  <a:noFill/>
                  <a:prstDash val="solid"/>
                  <a:miter/>
                </a:ln>
              </p:spPr>
              <p:txBody>
                <a:bodyPr rtlCol="0" anchor="ctr"/>
                <a:lstStyle/>
                <a:p>
                  <a:endParaRPr lang="en-GB"/>
                </a:p>
              </p:txBody>
            </p:sp>
          </p:grpSp>
          <p:grpSp>
            <p:nvGrpSpPr>
              <p:cNvPr id="755" name="Graphic 3">
                <a:extLst>
                  <a:ext uri="{FF2B5EF4-FFF2-40B4-BE49-F238E27FC236}">
                    <a16:creationId xmlns:a16="http://schemas.microsoft.com/office/drawing/2014/main" id="{1C348D47-A3D9-4A70-80E3-6C3265B8C04F}"/>
                  </a:ext>
                </a:extLst>
              </p:cNvPr>
              <p:cNvGrpSpPr/>
              <p:nvPr/>
            </p:nvGrpSpPr>
            <p:grpSpPr>
              <a:xfrm>
                <a:off x="4917263" y="1301195"/>
                <a:ext cx="301905" cy="613704"/>
                <a:chOff x="4917263" y="1301195"/>
                <a:chExt cx="301905" cy="613704"/>
              </a:xfrm>
              <a:grpFill/>
            </p:grpSpPr>
            <p:sp>
              <p:nvSpPr>
                <p:cNvPr id="3126" name="Vrije vorm: vorm 3125">
                  <a:extLst>
                    <a:ext uri="{FF2B5EF4-FFF2-40B4-BE49-F238E27FC236}">
                      <a16:creationId xmlns:a16="http://schemas.microsoft.com/office/drawing/2014/main" id="{3034A30B-F95B-414F-B949-D9889EBC63AA}"/>
                    </a:ext>
                  </a:extLst>
                </p:cNvPr>
                <p:cNvSpPr/>
                <p:nvPr/>
              </p:nvSpPr>
              <p:spPr>
                <a:xfrm>
                  <a:off x="4924845" y="1309340"/>
                  <a:ext cx="286715" cy="597414"/>
                </a:xfrm>
                <a:custGeom>
                  <a:avLst/>
                  <a:gdLst>
                    <a:gd name="connsiteX0" fmla="*/ 286716 w 286715"/>
                    <a:gd name="connsiteY0" fmla="*/ 596099 h 597414"/>
                    <a:gd name="connsiteX1" fmla="*/ 283965 w 286715"/>
                    <a:gd name="connsiteY1" fmla="*/ 597414 h 597414"/>
                    <a:gd name="connsiteX2" fmla="*/ 0 w 286715"/>
                    <a:gd name="connsiteY2" fmla="*/ 1316 h 597414"/>
                    <a:gd name="connsiteX3" fmla="*/ 2751 w 286715"/>
                    <a:gd name="connsiteY3" fmla="*/ 0 h 597414"/>
                  </a:gdLst>
                  <a:ahLst/>
                  <a:cxnLst>
                    <a:cxn ang="0">
                      <a:pos x="connsiteX0" y="connsiteY0"/>
                    </a:cxn>
                    <a:cxn ang="0">
                      <a:pos x="connsiteX1" y="connsiteY1"/>
                    </a:cxn>
                    <a:cxn ang="0">
                      <a:pos x="connsiteX2" y="connsiteY2"/>
                    </a:cxn>
                    <a:cxn ang="0">
                      <a:pos x="connsiteX3" y="connsiteY3"/>
                    </a:cxn>
                  </a:cxnLst>
                  <a:rect l="l" t="t" r="r" b="b"/>
                  <a:pathLst>
                    <a:path w="286715" h="597414">
                      <a:moveTo>
                        <a:pt x="286716" y="596099"/>
                      </a:moveTo>
                      <a:lnTo>
                        <a:pt x="283965" y="597414"/>
                      </a:lnTo>
                      <a:lnTo>
                        <a:pt x="0" y="1316"/>
                      </a:lnTo>
                      <a:lnTo>
                        <a:pt x="2751" y="0"/>
                      </a:lnTo>
                      <a:close/>
                    </a:path>
                  </a:pathLst>
                </a:custGeom>
                <a:grpFill/>
                <a:ln w="5978" cap="flat">
                  <a:noFill/>
                  <a:prstDash val="solid"/>
                  <a:miter/>
                </a:ln>
              </p:spPr>
              <p:txBody>
                <a:bodyPr rtlCol="0" anchor="ctr"/>
                <a:lstStyle/>
                <a:p>
                  <a:endParaRPr lang="en-GB"/>
                </a:p>
              </p:txBody>
            </p:sp>
            <p:sp>
              <p:nvSpPr>
                <p:cNvPr id="3127" name="Vrije vorm: vorm 3126">
                  <a:extLst>
                    <a:ext uri="{FF2B5EF4-FFF2-40B4-BE49-F238E27FC236}">
                      <a16:creationId xmlns:a16="http://schemas.microsoft.com/office/drawing/2014/main" id="{A91529AD-4EDF-4260-8E6E-3E7312EDFF9A}"/>
                    </a:ext>
                  </a:extLst>
                </p:cNvPr>
                <p:cNvSpPr/>
                <p:nvPr/>
              </p:nvSpPr>
              <p:spPr>
                <a:xfrm>
                  <a:off x="5200843" y="1896456"/>
                  <a:ext cx="18325" cy="18443"/>
                </a:xfrm>
                <a:custGeom>
                  <a:avLst/>
                  <a:gdLst>
                    <a:gd name="connsiteX0" fmla="*/ 17416 w 18325"/>
                    <a:gd name="connsiteY0" fmla="*/ 5274 h 18443"/>
                    <a:gd name="connsiteX1" fmla="*/ 13110 w 18325"/>
                    <a:gd name="connsiteY1" fmla="*/ 17535 h 18443"/>
                    <a:gd name="connsiteX2" fmla="*/ 910 w 18325"/>
                    <a:gd name="connsiteY2" fmla="*/ 13169 h 18443"/>
                    <a:gd name="connsiteX3" fmla="*/ 5216 w 18325"/>
                    <a:gd name="connsiteY3" fmla="*/ 908 h 18443"/>
                    <a:gd name="connsiteX4" fmla="*/ 17416 w 18325"/>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43">
                      <a:moveTo>
                        <a:pt x="17416" y="5274"/>
                      </a:moveTo>
                      <a:cubicBezTo>
                        <a:pt x="19629" y="9879"/>
                        <a:pt x="17656" y="15382"/>
                        <a:pt x="13110" y="17535"/>
                      </a:cubicBezTo>
                      <a:cubicBezTo>
                        <a:pt x="8565" y="19748"/>
                        <a:pt x="3063" y="17774"/>
                        <a:pt x="910" y="13169"/>
                      </a:cubicBezTo>
                      <a:cubicBezTo>
                        <a:pt x="-1303" y="8564"/>
                        <a:pt x="670" y="3061"/>
                        <a:pt x="5216" y="908"/>
                      </a:cubicBezTo>
                      <a:cubicBezTo>
                        <a:pt x="9761" y="-1305"/>
                        <a:pt x="15204" y="669"/>
                        <a:pt x="17416" y="5274"/>
                      </a:cubicBezTo>
                      <a:close/>
                    </a:path>
                  </a:pathLst>
                </a:custGeom>
                <a:grpFill/>
                <a:ln w="5978" cap="flat">
                  <a:noFill/>
                  <a:prstDash val="solid"/>
                  <a:miter/>
                </a:ln>
              </p:spPr>
              <p:txBody>
                <a:bodyPr rtlCol="0" anchor="ctr"/>
                <a:lstStyle/>
                <a:p>
                  <a:endParaRPr lang="en-GB"/>
                </a:p>
              </p:txBody>
            </p:sp>
            <p:sp>
              <p:nvSpPr>
                <p:cNvPr id="3128" name="Vrije vorm: vorm 3127">
                  <a:extLst>
                    <a:ext uri="{FF2B5EF4-FFF2-40B4-BE49-F238E27FC236}">
                      <a16:creationId xmlns:a16="http://schemas.microsoft.com/office/drawing/2014/main" id="{3AC3DCA1-57B9-41F8-B57A-CCC2DBFC7638}"/>
                    </a:ext>
                  </a:extLst>
                </p:cNvPr>
                <p:cNvSpPr/>
                <p:nvPr/>
              </p:nvSpPr>
              <p:spPr>
                <a:xfrm>
                  <a:off x="4917263" y="1301195"/>
                  <a:ext cx="18310" cy="18443"/>
                </a:xfrm>
                <a:custGeom>
                  <a:avLst/>
                  <a:gdLst>
                    <a:gd name="connsiteX0" fmla="*/ 17390 w 18310"/>
                    <a:gd name="connsiteY0" fmla="*/ 5274 h 18443"/>
                    <a:gd name="connsiteX1" fmla="*/ 5189 w 18310"/>
                    <a:gd name="connsiteY1" fmla="*/ 908 h 18443"/>
                    <a:gd name="connsiteX2" fmla="*/ 884 w 18310"/>
                    <a:gd name="connsiteY2" fmla="*/ 13169 h 18443"/>
                    <a:gd name="connsiteX3" fmla="*/ 13084 w 18310"/>
                    <a:gd name="connsiteY3" fmla="*/ 17535 h 18443"/>
                    <a:gd name="connsiteX4" fmla="*/ 17390 w 18310"/>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43">
                      <a:moveTo>
                        <a:pt x="17390" y="5274"/>
                      </a:moveTo>
                      <a:cubicBezTo>
                        <a:pt x="15178" y="669"/>
                        <a:pt x="9735" y="-1305"/>
                        <a:pt x="5189" y="908"/>
                      </a:cubicBezTo>
                      <a:cubicBezTo>
                        <a:pt x="644" y="3121"/>
                        <a:pt x="-1269" y="8564"/>
                        <a:pt x="884" y="13169"/>
                      </a:cubicBezTo>
                      <a:cubicBezTo>
                        <a:pt x="3036" y="17774"/>
                        <a:pt x="8539" y="19748"/>
                        <a:pt x="13084" y="17535"/>
                      </a:cubicBezTo>
                      <a:cubicBezTo>
                        <a:pt x="17689" y="15322"/>
                        <a:pt x="19603" y="9820"/>
                        <a:pt x="17390" y="5274"/>
                      </a:cubicBezTo>
                      <a:close/>
                    </a:path>
                  </a:pathLst>
                </a:custGeom>
                <a:grpFill/>
                <a:ln w="5978" cap="flat">
                  <a:noFill/>
                  <a:prstDash val="solid"/>
                  <a:miter/>
                </a:ln>
              </p:spPr>
              <p:txBody>
                <a:bodyPr rtlCol="0" anchor="ctr"/>
                <a:lstStyle/>
                <a:p>
                  <a:endParaRPr lang="en-GB"/>
                </a:p>
              </p:txBody>
            </p:sp>
          </p:grpSp>
          <p:grpSp>
            <p:nvGrpSpPr>
              <p:cNvPr id="756" name="Graphic 3">
                <a:extLst>
                  <a:ext uri="{FF2B5EF4-FFF2-40B4-BE49-F238E27FC236}">
                    <a16:creationId xmlns:a16="http://schemas.microsoft.com/office/drawing/2014/main" id="{5B427334-DC18-4E9B-9021-1926219ADAAC}"/>
                  </a:ext>
                </a:extLst>
              </p:cNvPr>
              <p:cNvGrpSpPr/>
              <p:nvPr/>
            </p:nvGrpSpPr>
            <p:grpSpPr>
              <a:xfrm>
                <a:off x="5115311" y="1814826"/>
                <a:ext cx="78387" cy="121297"/>
                <a:chOff x="5115311" y="1814826"/>
                <a:chExt cx="78387" cy="121297"/>
              </a:xfrm>
              <a:grpFill/>
            </p:grpSpPr>
            <p:sp>
              <p:nvSpPr>
                <p:cNvPr id="3123" name="Vrije vorm: vorm 3122">
                  <a:extLst>
                    <a:ext uri="{FF2B5EF4-FFF2-40B4-BE49-F238E27FC236}">
                      <a16:creationId xmlns:a16="http://schemas.microsoft.com/office/drawing/2014/main" id="{51BCF32F-9847-4149-BBAE-A27B668B11A0}"/>
                    </a:ext>
                  </a:extLst>
                </p:cNvPr>
                <p:cNvSpPr/>
                <p:nvPr/>
              </p:nvSpPr>
              <p:spPr>
                <a:xfrm>
                  <a:off x="5122926" y="1822904"/>
                  <a:ext cx="63156" cy="105200"/>
                </a:xfrm>
                <a:custGeom>
                  <a:avLst/>
                  <a:gdLst>
                    <a:gd name="connsiteX0" fmla="*/ 63156 w 63156"/>
                    <a:gd name="connsiteY0" fmla="*/ 103646 h 105200"/>
                    <a:gd name="connsiteX1" fmla="*/ 60525 w 63156"/>
                    <a:gd name="connsiteY1" fmla="*/ 105201 h 105200"/>
                    <a:gd name="connsiteX2" fmla="*/ 0 w 63156"/>
                    <a:gd name="connsiteY2" fmla="*/ 1555 h 105200"/>
                    <a:gd name="connsiteX3" fmla="*/ 2632 w 63156"/>
                    <a:gd name="connsiteY3" fmla="*/ 0 h 105200"/>
                  </a:gdLst>
                  <a:ahLst/>
                  <a:cxnLst>
                    <a:cxn ang="0">
                      <a:pos x="connsiteX0" y="connsiteY0"/>
                    </a:cxn>
                    <a:cxn ang="0">
                      <a:pos x="connsiteX1" y="connsiteY1"/>
                    </a:cxn>
                    <a:cxn ang="0">
                      <a:pos x="connsiteX2" y="connsiteY2"/>
                    </a:cxn>
                    <a:cxn ang="0">
                      <a:pos x="connsiteX3" y="connsiteY3"/>
                    </a:cxn>
                  </a:cxnLst>
                  <a:rect l="l" t="t" r="r" b="b"/>
                  <a:pathLst>
                    <a:path w="63156" h="105200">
                      <a:moveTo>
                        <a:pt x="63156" y="103646"/>
                      </a:moveTo>
                      <a:lnTo>
                        <a:pt x="60525" y="105201"/>
                      </a:lnTo>
                      <a:lnTo>
                        <a:pt x="0" y="1555"/>
                      </a:lnTo>
                      <a:lnTo>
                        <a:pt x="2632" y="0"/>
                      </a:lnTo>
                      <a:close/>
                    </a:path>
                  </a:pathLst>
                </a:custGeom>
                <a:grpFill/>
                <a:ln w="5978" cap="flat">
                  <a:noFill/>
                  <a:prstDash val="solid"/>
                  <a:miter/>
                </a:ln>
              </p:spPr>
              <p:txBody>
                <a:bodyPr rtlCol="0" anchor="ctr"/>
                <a:lstStyle/>
                <a:p>
                  <a:endParaRPr lang="en-GB"/>
                </a:p>
              </p:txBody>
            </p:sp>
            <p:sp>
              <p:nvSpPr>
                <p:cNvPr id="3124" name="Vrije vorm: vorm 3123">
                  <a:extLst>
                    <a:ext uri="{FF2B5EF4-FFF2-40B4-BE49-F238E27FC236}">
                      <a16:creationId xmlns:a16="http://schemas.microsoft.com/office/drawing/2014/main" id="{A9862B41-3557-4C1A-B9AF-6C9E707156F4}"/>
                    </a:ext>
                  </a:extLst>
                </p:cNvPr>
                <p:cNvSpPr/>
                <p:nvPr/>
              </p:nvSpPr>
              <p:spPr>
                <a:xfrm>
                  <a:off x="5115311" y="1814826"/>
                  <a:ext cx="18341" cy="18469"/>
                </a:xfrm>
                <a:custGeom>
                  <a:avLst/>
                  <a:gdLst>
                    <a:gd name="connsiteX0" fmla="*/ 1276 w 18341"/>
                    <a:gd name="connsiteY0" fmla="*/ 13880 h 18469"/>
                    <a:gd name="connsiteX1" fmla="*/ 4505 w 18341"/>
                    <a:gd name="connsiteY1" fmla="*/ 1260 h 18469"/>
                    <a:gd name="connsiteX2" fmla="*/ 17065 w 18341"/>
                    <a:gd name="connsiteY2" fmla="*/ 4550 h 18469"/>
                    <a:gd name="connsiteX3" fmla="*/ 13835 w 18341"/>
                    <a:gd name="connsiteY3" fmla="*/ 17169 h 18469"/>
                    <a:gd name="connsiteX4" fmla="*/ 1276 w 18341"/>
                    <a:gd name="connsiteY4" fmla="*/ 13880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69">
                      <a:moveTo>
                        <a:pt x="1276" y="13880"/>
                      </a:moveTo>
                      <a:cubicBezTo>
                        <a:pt x="-1296" y="9514"/>
                        <a:pt x="140" y="3832"/>
                        <a:pt x="4505" y="1260"/>
                      </a:cubicBezTo>
                      <a:cubicBezTo>
                        <a:pt x="8872" y="-1311"/>
                        <a:pt x="14493" y="184"/>
                        <a:pt x="17065" y="4550"/>
                      </a:cubicBezTo>
                      <a:cubicBezTo>
                        <a:pt x="19637" y="8916"/>
                        <a:pt x="18202" y="14597"/>
                        <a:pt x="13835" y="17169"/>
                      </a:cubicBezTo>
                      <a:cubicBezTo>
                        <a:pt x="9470" y="19801"/>
                        <a:pt x="3848" y="18305"/>
                        <a:pt x="1276" y="13880"/>
                      </a:cubicBezTo>
                      <a:close/>
                    </a:path>
                  </a:pathLst>
                </a:custGeom>
                <a:grpFill/>
                <a:ln w="5978" cap="flat">
                  <a:noFill/>
                  <a:prstDash val="solid"/>
                  <a:miter/>
                </a:ln>
              </p:spPr>
              <p:txBody>
                <a:bodyPr rtlCol="0" anchor="ctr"/>
                <a:lstStyle/>
                <a:p>
                  <a:endParaRPr lang="en-GB"/>
                </a:p>
              </p:txBody>
            </p:sp>
            <p:sp>
              <p:nvSpPr>
                <p:cNvPr id="3125" name="Vrije vorm: vorm 3124">
                  <a:extLst>
                    <a:ext uri="{FF2B5EF4-FFF2-40B4-BE49-F238E27FC236}">
                      <a16:creationId xmlns:a16="http://schemas.microsoft.com/office/drawing/2014/main" id="{42C646BF-9B61-4B29-B41F-9A18AAA97C87}"/>
                    </a:ext>
                  </a:extLst>
                </p:cNvPr>
                <p:cNvSpPr/>
                <p:nvPr/>
              </p:nvSpPr>
              <p:spPr>
                <a:xfrm>
                  <a:off x="5175371" y="1917694"/>
                  <a:ext cx="18327" cy="18429"/>
                </a:xfrm>
                <a:custGeom>
                  <a:avLst/>
                  <a:gdLst>
                    <a:gd name="connsiteX0" fmla="*/ 1263 w 18327"/>
                    <a:gd name="connsiteY0" fmla="*/ 13880 h 18429"/>
                    <a:gd name="connsiteX1" fmla="*/ 13822 w 18327"/>
                    <a:gd name="connsiteY1" fmla="*/ 17169 h 18429"/>
                    <a:gd name="connsiteX2" fmla="*/ 17052 w 18327"/>
                    <a:gd name="connsiteY2" fmla="*/ 4550 h 18429"/>
                    <a:gd name="connsiteX3" fmla="*/ 4492 w 18327"/>
                    <a:gd name="connsiteY3" fmla="*/ 1260 h 18429"/>
                    <a:gd name="connsiteX4" fmla="*/ 1263 w 18327"/>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263" y="13880"/>
                      </a:moveTo>
                      <a:cubicBezTo>
                        <a:pt x="3835" y="18246"/>
                        <a:pt x="9456" y="19741"/>
                        <a:pt x="13822" y="17169"/>
                      </a:cubicBezTo>
                      <a:cubicBezTo>
                        <a:pt x="18188" y="14597"/>
                        <a:pt x="19623" y="8976"/>
                        <a:pt x="17052" y="4550"/>
                      </a:cubicBezTo>
                      <a:cubicBezTo>
                        <a:pt x="14480" y="184"/>
                        <a:pt x="8858" y="-1311"/>
                        <a:pt x="4492" y="1260"/>
                      </a:cubicBezTo>
                      <a:cubicBezTo>
                        <a:pt x="186" y="3832"/>
                        <a:pt x="-1309" y="9514"/>
                        <a:pt x="1263" y="13880"/>
                      </a:cubicBezTo>
                      <a:close/>
                    </a:path>
                  </a:pathLst>
                </a:custGeom>
                <a:grpFill/>
                <a:ln w="5978" cap="flat">
                  <a:noFill/>
                  <a:prstDash val="solid"/>
                  <a:miter/>
                </a:ln>
              </p:spPr>
              <p:txBody>
                <a:bodyPr rtlCol="0" anchor="ctr"/>
                <a:lstStyle/>
                <a:p>
                  <a:endParaRPr lang="en-GB"/>
                </a:p>
              </p:txBody>
            </p:sp>
          </p:grpSp>
          <p:grpSp>
            <p:nvGrpSpPr>
              <p:cNvPr id="757" name="Graphic 3">
                <a:extLst>
                  <a:ext uri="{FF2B5EF4-FFF2-40B4-BE49-F238E27FC236}">
                    <a16:creationId xmlns:a16="http://schemas.microsoft.com/office/drawing/2014/main" id="{23BCF4F2-2248-4CA9-A4D9-5BC97DA0DAF0}"/>
                  </a:ext>
                </a:extLst>
              </p:cNvPr>
              <p:cNvGrpSpPr/>
              <p:nvPr/>
            </p:nvGrpSpPr>
            <p:grpSpPr>
              <a:xfrm>
                <a:off x="6264567" y="5074186"/>
                <a:ext cx="60144" cy="336930"/>
                <a:chOff x="6264567" y="5074186"/>
                <a:chExt cx="60144" cy="336930"/>
              </a:xfrm>
              <a:grpFill/>
            </p:grpSpPr>
            <p:sp>
              <p:nvSpPr>
                <p:cNvPr id="3120" name="Vrije vorm: vorm 3119">
                  <a:extLst>
                    <a:ext uri="{FF2B5EF4-FFF2-40B4-BE49-F238E27FC236}">
                      <a16:creationId xmlns:a16="http://schemas.microsoft.com/office/drawing/2014/main" id="{206BCCF1-6865-458D-BB1F-2FF64F5A19C1}"/>
                    </a:ext>
                  </a:extLst>
                </p:cNvPr>
                <p:cNvSpPr/>
                <p:nvPr/>
              </p:nvSpPr>
              <p:spPr>
                <a:xfrm>
                  <a:off x="6272182" y="5082756"/>
                  <a:ext cx="44914" cy="319788"/>
                </a:xfrm>
                <a:custGeom>
                  <a:avLst/>
                  <a:gdLst>
                    <a:gd name="connsiteX0" fmla="*/ 2990 w 44914"/>
                    <a:gd name="connsiteY0" fmla="*/ 0 h 319788"/>
                    <a:gd name="connsiteX1" fmla="*/ 44915 w 44914"/>
                    <a:gd name="connsiteY1" fmla="*/ 319430 h 319788"/>
                    <a:gd name="connsiteX2" fmla="*/ 41865 w 44914"/>
                    <a:gd name="connsiteY2" fmla="*/ 319789 h 319788"/>
                    <a:gd name="connsiteX3" fmla="*/ 0 w 44914"/>
                    <a:gd name="connsiteY3" fmla="*/ 359 h 319788"/>
                  </a:gdLst>
                  <a:ahLst/>
                  <a:cxnLst>
                    <a:cxn ang="0">
                      <a:pos x="connsiteX0" y="connsiteY0"/>
                    </a:cxn>
                    <a:cxn ang="0">
                      <a:pos x="connsiteX1" y="connsiteY1"/>
                    </a:cxn>
                    <a:cxn ang="0">
                      <a:pos x="connsiteX2" y="connsiteY2"/>
                    </a:cxn>
                    <a:cxn ang="0">
                      <a:pos x="connsiteX3" y="connsiteY3"/>
                    </a:cxn>
                  </a:cxnLst>
                  <a:rect l="l" t="t" r="r" b="b"/>
                  <a:pathLst>
                    <a:path w="44914" h="319788">
                      <a:moveTo>
                        <a:pt x="2990" y="0"/>
                      </a:moveTo>
                      <a:lnTo>
                        <a:pt x="44915" y="319430"/>
                      </a:lnTo>
                      <a:lnTo>
                        <a:pt x="41865" y="319789"/>
                      </a:lnTo>
                      <a:lnTo>
                        <a:pt x="0" y="359"/>
                      </a:lnTo>
                      <a:close/>
                    </a:path>
                  </a:pathLst>
                </a:custGeom>
                <a:grpFill/>
                <a:ln w="5978" cap="flat">
                  <a:noFill/>
                  <a:prstDash val="solid"/>
                  <a:miter/>
                </a:ln>
              </p:spPr>
              <p:txBody>
                <a:bodyPr rtlCol="0" anchor="ctr"/>
                <a:lstStyle/>
                <a:p>
                  <a:endParaRPr lang="en-GB"/>
                </a:p>
              </p:txBody>
            </p:sp>
            <p:sp>
              <p:nvSpPr>
                <p:cNvPr id="3121" name="Vrije vorm: vorm 3120">
                  <a:extLst>
                    <a:ext uri="{FF2B5EF4-FFF2-40B4-BE49-F238E27FC236}">
                      <a16:creationId xmlns:a16="http://schemas.microsoft.com/office/drawing/2014/main" id="{510A3A66-1599-4746-95D2-13D9F9DD4FBA}"/>
                    </a:ext>
                  </a:extLst>
                </p:cNvPr>
                <p:cNvSpPr/>
                <p:nvPr/>
              </p:nvSpPr>
              <p:spPr>
                <a:xfrm>
                  <a:off x="6306373" y="5392718"/>
                  <a:ext cx="18339" cy="18397"/>
                </a:xfrm>
                <a:custGeom>
                  <a:avLst/>
                  <a:gdLst>
                    <a:gd name="connsiteX0" fmla="*/ 18260 w 18339"/>
                    <a:gd name="connsiteY0" fmla="*/ 8033 h 18397"/>
                    <a:gd name="connsiteX1" fmla="*/ 10366 w 18339"/>
                    <a:gd name="connsiteY1" fmla="*/ 18320 h 18397"/>
                    <a:gd name="connsiteX2" fmla="*/ 79 w 18339"/>
                    <a:gd name="connsiteY2" fmla="*/ 10366 h 18397"/>
                    <a:gd name="connsiteX3" fmla="*/ 7973 w 18339"/>
                    <a:gd name="connsiteY3" fmla="*/ 79 h 18397"/>
                    <a:gd name="connsiteX4" fmla="*/ 18260 w 18339"/>
                    <a:gd name="connsiteY4" fmla="*/ 80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7">
                      <a:moveTo>
                        <a:pt x="18260" y="8033"/>
                      </a:moveTo>
                      <a:cubicBezTo>
                        <a:pt x="18918" y="13057"/>
                        <a:pt x="15390" y="17722"/>
                        <a:pt x="10366" y="18320"/>
                      </a:cubicBezTo>
                      <a:cubicBezTo>
                        <a:pt x="5342" y="18978"/>
                        <a:pt x="737" y="15389"/>
                        <a:pt x="79" y="10366"/>
                      </a:cubicBezTo>
                      <a:cubicBezTo>
                        <a:pt x="-579" y="5342"/>
                        <a:pt x="2950" y="677"/>
                        <a:pt x="7973" y="79"/>
                      </a:cubicBezTo>
                      <a:cubicBezTo>
                        <a:pt x="12937" y="-579"/>
                        <a:pt x="17602" y="2950"/>
                        <a:pt x="18260" y="8033"/>
                      </a:cubicBezTo>
                      <a:close/>
                    </a:path>
                  </a:pathLst>
                </a:custGeom>
                <a:grpFill/>
                <a:ln w="5978" cap="flat">
                  <a:noFill/>
                  <a:prstDash val="solid"/>
                  <a:miter/>
                </a:ln>
              </p:spPr>
              <p:txBody>
                <a:bodyPr rtlCol="0" anchor="ctr"/>
                <a:lstStyle/>
                <a:p>
                  <a:endParaRPr lang="en-GB"/>
                </a:p>
              </p:txBody>
            </p:sp>
            <p:sp>
              <p:nvSpPr>
                <p:cNvPr id="3122" name="Vrije vorm: vorm 3121">
                  <a:extLst>
                    <a:ext uri="{FF2B5EF4-FFF2-40B4-BE49-F238E27FC236}">
                      <a16:creationId xmlns:a16="http://schemas.microsoft.com/office/drawing/2014/main" id="{06479AB9-DD33-4272-9A04-8C70ED06AC1B}"/>
                    </a:ext>
                  </a:extLst>
                </p:cNvPr>
                <p:cNvSpPr/>
                <p:nvPr/>
              </p:nvSpPr>
              <p:spPr>
                <a:xfrm>
                  <a:off x="6264567" y="5074186"/>
                  <a:ext cx="18339" cy="18397"/>
                </a:xfrm>
                <a:custGeom>
                  <a:avLst/>
                  <a:gdLst>
                    <a:gd name="connsiteX0" fmla="*/ 18260 w 18339"/>
                    <a:gd name="connsiteY0" fmla="*/ 8032 h 18397"/>
                    <a:gd name="connsiteX1" fmla="*/ 7974 w 18339"/>
                    <a:gd name="connsiteY1" fmla="*/ 78 h 18397"/>
                    <a:gd name="connsiteX2" fmla="*/ 79 w 18339"/>
                    <a:gd name="connsiteY2" fmla="*/ 10365 h 18397"/>
                    <a:gd name="connsiteX3" fmla="*/ 10366 w 18339"/>
                    <a:gd name="connsiteY3" fmla="*/ 18319 h 18397"/>
                    <a:gd name="connsiteX4" fmla="*/ 18260 w 18339"/>
                    <a:gd name="connsiteY4" fmla="*/ 803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7">
                      <a:moveTo>
                        <a:pt x="18260" y="8032"/>
                      </a:moveTo>
                      <a:cubicBezTo>
                        <a:pt x="17602" y="3009"/>
                        <a:pt x="12997" y="-580"/>
                        <a:pt x="7974" y="78"/>
                      </a:cubicBezTo>
                      <a:cubicBezTo>
                        <a:pt x="2950" y="736"/>
                        <a:pt x="-579" y="5341"/>
                        <a:pt x="79" y="10365"/>
                      </a:cubicBezTo>
                      <a:cubicBezTo>
                        <a:pt x="737" y="15388"/>
                        <a:pt x="5342" y="18977"/>
                        <a:pt x="10366" y="18319"/>
                      </a:cubicBezTo>
                      <a:cubicBezTo>
                        <a:pt x="15390" y="17721"/>
                        <a:pt x="18918" y="13056"/>
                        <a:pt x="18260" y="8032"/>
                      </a:cubicBezTo>
                      <a:close/>
                    </a:path>
                  </a:pathLst>
                </a:custGeom>
                <a:grpFill/>
                <a:ln w="5978" cap="flat">
                  <a:noFill/>
                  <a:prstDash val="solid"/>
                  <a:miter/>
                </a:ln>
              </p:spPr>
              <p:txBody>
                <a:bodyPr rtlCol="0" anchor="ctr"/>
                <a:lstStyle/>
                <a:p>
                  <a:endParaRPr lang="en-GB"/>
                </a:p>
              </p:txBody>
            </p:sp>
          </p:grpSp>
          <p:grpSp>
            <p:nvGrpSpPr>
              <p:cNvPr id="758" name="Graphic 3">
                <a:extLst>
                  <a:ext uri="{FF2B5EF4-FFF2-40B4-BE49-F238E27FC236}">
                    <a16:creationId xmlns:a16="http://schemas.microsoft.com/office/drawing/2014/main" id="{AC14B174-EF36-4614-87E7-001594535A5F}"/>
                  </a:ext>
                </a:extLst>
              </p:cNvPr>
              <p:cNvGrpSpPr/>
              <p:nvPr/>
            </p:nvGrpSpPr>
            <p:grpSpPr>
              <a:xfrm>
                <a:off x="6295364" y="5074905"/>
                <a:ext cx="48364" cy="476456"/>
                <a:chOff x="6295364" y="5074905"/>
                <a:chExt cx="48364" cy="476456"/>
              </a:xfrm>
              <a:grpFill/>
            </p:grpSpPr>
            <p:sp>
              <p:nvSpPr>
                <p:cNvPr id="3117" name="Vrije vorm: vorm 3116">
                  <a:extLst>
                    <a:ext uri="{FF2B5EF4-FFF2-40B4-BE49-F238E27FC236}">
                      <a16:creationId xmlns:a16="http://schemas.microsoft.com/office/drawing/2014/main" id="{546F6577-B6A6-47A2-B100-27A7F496ED53}"/>
                    </a:ext>
                  </a:extLst>
                </p:cNvPr>
                <p:cNvSpPr/>
                <p:nvPr/>
              </p:nvSpPr>
              <p:spPr>
                <a:xfrm>
                  <a:off x="6302983" y="5083534"/>
                  <a:ext cx="33073" cy="459199"/>
                </a:xfrm>
                <a:custGeom>
                  <a:avLst/>
                  <a:gdLst>
                    <a:gd name="connsiteX0" fmla="*/ 3050 w 33073"/>
                    <a:gd name="connsiteY0" fmla="*/ 0 h 459199"/>
                    <a:gd name="connsiteX1" fmla="*/ 33074 w 33073"/>
                    <a:gd name="connsiteY1" fmla="*/ 459020 h 459199"/>
                    <a:gd name="connsiteX2" fmla="*/ 30083 w 33073"/>
                    <a:gd name="connsiteY2" fmla="*/ 459200 h 459199"/>
                    <a:gd name="connsiteX3" fmla="*/ 0 w 33073"/>
                    <a:gd name="connsiteY3" fmla="*/ 179 h 459199"/>
                  </a:gdLst>
                  <a:ahLst/>
                  <a:cxnLst>
                    <a:cxn ang="0">
                      <a:pos x="connsiteX0" y="connsiteY0"/>
                    </a:cxn>
                    <a:cxn ang="0">
                      <a:pos x="connsiteX1" y="connsiteY1"/>
                    </a:cxn>
                    <a:cxn ang="0">
                      <a:pos x="connsiteX2" y="connsiteY2"/>
                    </a:cxn>
                    <a:cxn ang="0">
                      <a:pos x="connsiteX3" y="connsiteY3"/>
                    </a:cxn>
                  </a:cxnLst>
                  <a:rect l="l" t="t" r="r" b="b"/>
                  <a:pathLst>
                    <a:path w="33073" h="459199">
                      <a:moveTo>
                        <a:pt x="3050" y="0"/>
                      </a:moveTo>
                      <a:lnTo>
                        <a:pt x="33074" y="459020"/>
                      </a:lnTo>
                      <a:lnTo>
                        <a:pt x="30083" y="459200"/>
                      </a:lnTo>
                      <a:lnTo>
                        <a:pt x="0" y="179"/>
                      </a:lnTo>
                      <a:close/>
                    </a:path>
                  </a:pathLst>
                </a:custGeom>
                <a:grpFill/>
                <a:ln w="5978" cap="flat">
                  <a:noFill/>
                  <a:prstDash val="solid"/>
                  <a:miter/>
                </a:ln>
              </p:spPr>
              <p:txBody>
                <a:bodyPr rtlCol="0" anchor="ctr"/>
                <a:lstStyle/>
                <a:p>
                  <a:endParaRPr lang="en-GB"/>
                </a:p>
              </p:txBody>
            </p:sp>
            <p:sp>
              <p:nvSpPr>
                <p:cNvPr id="3118" name="Vrije vorm: vorm 3117">
                  <a:extLst>
                    <a:ext uri="{FF2B5EF4-FFF2-40B4-BE49-F238E27FC236}">
                      <a16:creationId xmlns:a16="http://schemas.microsoft.com/office/drawing/2014/main" id="{C86E9774-35CA-4A42-A955-D955E45F6F0D}"/>
                    </a:ext>
                  </a:extLst>
                </p:cNvPr>
                <p:cNvSpPr/>
                <p:nvPr/>
              </p:nvSpPr>
              <p:spPr>
                <a:xfrm>
                  <a:off x="6295364" y="5074905"/>
                  <a:ext cx="18347" cy="18399"/>
                </a:xfrm>
                <a:custGeom>
                  <a:avLst/>
                  <a:gdLst>
                    <a:gd name="connsiteX0" fmla="*/ 23 w 18347"/>
                    <a:gd name="connsiteY0" fmla="*/ 9765 h 18399"/>
                    <a:gd name="connsiteX1" fmla="*/ 8576 w 18347"/>
                    <a:gd name="connsiteY1" fmla="*/ 16 h 18399"/>
                    <a:gd name="connsiteX2" fmla="*/ 18324 w 18347"/>
                    <a:gd name="connsiteY2" fmla="*/ 8629 h 18399"/>
                    <a:gd name="connsiteX3" fmla="*/ 9772 w 18347"/>
                    <a:gd name="connsiteY3" fmla="*/ 18377 h 18399"/>
                    <a:gd name="connsiteX4" fmla="*/ 23 w 18347"/>
                    <a:gd name="connsiteY4" fmla="*/ 9765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399">
                      <a:moveTo>
                        <a:pt x="23" y="9765"/>
                      </a:moveTo>
                      <a:cubicBezTo>
                        <a:pt x="-336" y="4681"/>
                        <a:pt x="3492" y="315"/>
                        <a:pt x="8576" y="16"/>
                      </a:cubicBezTo>
                      <a:cubicBezTo>
                        <a:pt x="13600" y="-283"/>
                        <a:pt x="17965" y="3545"/>
                        <a:pt x="18324" y="8629"/>
                      </a:cubicBezTo>
                      <a:cubicBezTo>
                        <a:pt x="18683" y="13712"/>
                        <a:pt x="14856" y="18078"/>
                        <a:pt x="9772" y="18377"/>
                      </a:cubicBezTo>
                      <a:cubicBezTo>
                        <a:pt x="4748" y="18736"/>
                        <a:pt x="382" y="14848"/>
                        <a:pt x="23" y="9765"/>
                      </a:cubicBezTo>
                      <a:close/>
                    </a:path>
                  </a:pathLst>
                </a:custGeom>
                <a:grpFill/>
                <a:ln w="5978" cap="flat">
                  <a:noFill/>
                  <a:prstDash val="solid"/>
                  <a:miter/>
                </a:ln>
              </p:spPr>
              <p:txBody>
                <a:bodyPr rtlCol="0" anchor="ctr"/>
                <a:lstStyle/>
                <a:p>
                  <a:endParaRPr lang="en-GB"/>
                </a:p>
              </p:txBody>
            </p:sp>
            <p:sp>
              <p:nvSpPr>
                <p:cNvPr id="3119" name="Vrije vorm: vorm 3118">
                  <a:extLst>
                    <a:ext uri="{FF2B5EF4-FFF2-40B4-BE49-F238E27FC236}">
                      <a16:creationId xmlns:a16="http://schemas.microsoft.com/office/drawing/2014/main" id="{ACD99628-ADB3-4320-9790-60D7A64A3114}"/>
                    </a:ext>
                  </a:extLst>
                </p:cNvPr>
                <p:cNvSpPr/>
                <p:nvPr/>
              </p:nvSpPr>
              <p:spPr>
                <a:xfrm>
                  <a:off x="6325387" y="5532968"/>
                  <a:ext cx="18340" cy="18393"/>
                </a:xfrm>
                <a:custGeom>
                  <a:avLst/>
                  <a:gdLst>
                    <a:gd name="connsiteX0" fmla="*/ 23 w 18340"/>
                    <a:gd name="connsiteY0" fmla="*/ 9765 h 18393"/>
                    <a:gd name="connsiteX1" fmla="*/ 9772 w 18340"/>
                    <a:gd name="connsiteY1" fmla="*/ 18377 h 18393"/>
                    <a:gd name="connsiteX2" fmla="*/ 18324 w 18340"/>
                    <a:gd name="connsiteY2" fmla="*/ 8629 h 18393"/>
                    <a:gd name="connsiteX3" fmla="*/ 8576 w 18340"/>
                    <a:gd name="connsiteY3" fmla="*/ 16 h 18393"/>
                    <a:gd name="connsiteX4" fmla="*/ 23 w 18340"/>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23" y="9765"/>
                      </a:moveTo>
                      <a:cubicBezTo>
                        <a:pt x="382" y="14848"/>
                        <a:pt x="4748" y="18676"/>
                        <a:pt x="9772" y="18377"/>
                      </a:cubicBezTo>
                      <a:cubicBezTo>
                        <a:pt x="14796" y="18078"/>
                        <a:pt x="18623" y="13712"/>
                        <a:pt x="18324" y="8629"/>
                      </a:cubicBezTo>
                      <a:cubicBezTo>
                        <a:pt x="17965" y="3545"/>
                        <a:pt x="13600" y="-283"/>
                        <a:pt x="8576" y="16"/>
                      </a:cubicBezTo>
                      <a:cubicBezTo>
                        <a:pt x="3492" y="315"/>
                        <a:pt x="-336" y="4682"/>
                        <a:pt x="23" y="9765"/>
                      </a:cubicBezTo>
                      <a:close/>
                    </a:path>
                  </a:pathLst>
                </a:custGeom>
                <a:grpFill/>
                <a:ln w="5978" cap="flat">
                  <a:noFill/>
                  <a:prstDash val="solid"/>
                  <a:miter/>
                </a:ln>
              </p:spPr>
              <p:txBody>
                <a:bodyPr rtlCol="0" anchor="ctr"/>
                <a:lstStyle/>
                <a:p>
                  <a:endParaRPr lang="en-GB"/>
                </a:p>
              </p:txBody>
            </p:sp>
          </p:grpSp>
          <p:grpSp>
            <p:nvGrpSpPr>
              <p:cNvPr id="759" name="Graphic 3">
                <a:extLst>
                  <a:ext uri="{FF2B5EF4-FFF2-40B4-BE49-F238E27FC236}">
                    <a16:creationId xmlns:a16="http://schemas.microsoft.com/office/drawing/2014/main" id="{2D801539-E9DB-427C-8D79-47148C83D8D5}"/>
                  </a:ext>
                </a:extLst>
              </p:cNvPr>
              <p:cNvGrpSpPr/>
              <p:nvPr/>
            </p:nvGrpSpPr>
            <p:grpSpPr>
              <a:xfrm>
                <a:off x="4917653" y="1301013"/>
                <a:ext cx="169164" cy="300019"/>
                <a:chOff x="4917653" y="1301013"/>
                <a:chExt cx="169164" cy="300019"/>
              </a:xfrm>
              <a:grpFill/>
            </p:grpSpPr>
            <p:sp>
              <p:nvSpPr>
                <p:cNvPr id="3114" name="Vrije vorm: vorm 3113">
                  <a:extLst>
                    <a:ext uri="{FF2B5EF4-FFF2-40B4-BE49-F238E27FC236}">
                      <a16:creationId xmlns:a16="http://schemas.microsoft.com/office/drawing/2014/main" id="{9497F05F-785E-46E0-85FC-505727531D4C}"/>
                    </a:ext>
                  </a:extLst>
                </p:cNvPr>
                <p:cNvSpPr/>
                <p:nvPr/>
              </p:nvSpPr>
              <p:spPr>
                <a:xfrm>
                  <a:off x="4925264" y="1309041"/>
                  <a:ext cx="153943" cy="283964"/>
                </a:xfrm>
                <a:custGeom>
                  <a:avLst/>
                  <a:gdLst>
                    <a:gd name="connsiteX0" fmla="*/ 153944 w 153943"/>
                    <a:gd name="connsiteY0" fmla="*/ 282469 h 283964"/>
                    <a:gd name="connsiteX1" fmla="*/ 151252 w 153943"/>
                    <a:gd name="connsiteY1" fmla="*/ 283965 h 283964"/>
                    <a:gd name="connsiteX2" fmla="*/ 0 w 153943"/>
                    <a:gd name="connsiteY2" fmla="*/ 1495 h 283964"/>
                    <a:gd name="connsiteX3" fmla="*/ 2691 w 153943"/>
                    <a:gd name="connsiteY3" fmla="*/ 0 h 283964"/>
                  </a:gdLst>
                  <a:ahLst/>
                  <a:cxnLst>
                    <a:cxn ang="0">
                      <a:pos x="connsiteX0" y="connsiteY0"/>
                    </a:cxn>
                    <a:cxn ang="0">
                      <a:pos x="connsiteX1" y="connsiteY1"/>
                    </a:cxn>
                    <a:cxn ang="0">
                      <a:pos x="connsiteX2" y="connsiteY2"/>
                    </a:cxn>
                    <a:cxn ang="0">
                      <a:pos x="connsiteX3" y="connsiteY3"/>
                    </a:cxn>
                  </a:cxnLst>
                  <a:rect l="l" t="t" r="r" b="b"/>
                  <a:pathLst>
                    <a:path w="153943" h="283964">
                      <a:moveTo>
                        <a:pt x="153944" y="282469"/>
                      </a:moveTo>
                      <a:lnTo>
                        <a:pt x="151252" y="283965"/>
                      </a:lnTo>
                      <a:lnTo>
                        <a:pt x="0" y="1495"/>
                      </a:lnTo>
                      <a:lnTo>
                        <a:pt x="2691" y="0"/>
                      </a:lnTo>
                      <a:close/>
                    </a:path>
                  </a:pathLst>
                </a:custGeom>
                <a:grpFill/>
                <a:ln w="5978" cap="flat">
                  <a:noFill/>
                  <a:prstDash val="solid"/>
                  <a:miter/>
                </a:ln>
              </p:spPr>
              <p:txBody>
                <a:bodyPr rtlCol="0" anchor="ctr"/>
                <a:lstStyle/>
                <a:p>
                  <a:endParaRPr lang="en-GB"/>
                </a:p>
              </p:txBody>
            </p:sp>
            <p:sp>
              <p:nvSpPr>
                <p:cNvPr id="3115" name="Vrije vorm: vorm 3114">
                  <a:extLst>
                    <a:ext uri="{FF2B5EF4-FFF2-40B4-BE49-F238E27FC236}">
                      <a16:creationId xmlns:a16="http://schemas.microsoft.com/office/drawing/2014/main" id="{3EA81211-0136-4C1B-9836-1BCE8E5A5170}"/>
                    </a:ext>
                  </a:extLst>
                </p:cNvPr>
                <p:cNvSpPr/>
                <p:nvPr/>
              </p:nvSpPr>
              <p:spPr>
                <a:xfrm>
                  <a:off x="4917653" y="1301013"/>
                  <a:ext cx="18331" cy="18387"/>
                </a:xfrm>
                <a:custGeom>
                  <a:avLst/>
                  <a:gdLst>
                    <a:gd name="connsiteX0" fmla="*/ 1091 w 18331"/>
                    <a:gd name="connsiteY0" fmla="*/ 13530 h 18387"/>
                    <a:gd name="connsiteX1" fmla="*/ 4799 w 18331"/>
                    <a:gd name="connsiteY1" fmla="*/ 1090 h 18387"/>
                    <a:gd name="connsiteX2" fmla="*/ 17239 w 18331"/>
                    <a:gd name="connsiteY2" fmla="*/ 4858 h 18387"/>
                    <a:gd name="connsiteX3" fmla="*/ 13531 w 18331"/>
                    <a:gd name="connsiteY3" fmla="*/ 17298 h 18387"/>
                    <a:gd name="connsiteX4" fmla="*/ 1091 w 18331"/>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091" y="13530"/>
                      </a:moveTo>
                      <a:cubicBezTo>
                        <a:pt x="-1301" y="9044"/>
                        <a:pt x="374" y="3482"/>
                        <a:pt x="4799" y="1090"/>
                      </a:cubicBezTo>
                      <a:cubicBezTo>
                        <a:pt x="9226" y="-1303"/>
                        <a:pt x="14788" y="372"/>
                        <a:pt x="17239" y="4858"/>
                      </a:cubicBezTo>
                      <a:cubicBezTo>
                        <a:pt x="19632" y="9343"/>
                        <a:pt x="17957" y="14905"/>
                        <a:pt x="13531" y="17298"/>
                      </a:cubicBezTo>
                      <a:cubicBezTo>
                        <a:pt x="9046" y="19690"/>
                        <a:pt x="3484" y="18015"/>
                        <a:pt x="1091" y="13530"/>
                      </a:cubicBezTo>
                      <a:close/>
                    </a:path>
                  </a:pathLst>
                </a:custGeom>
                <a:grpFill/>
                <a:ln w="5978" cap="flat">
                  <a:noFill/>
                  <a:prstDash val="solid"/>
                  <a:miter/>
                </a:ln>
              </p:spPr>
              <p:txBody>
                <a:bodyPr rtlCol="0" anchor="ctr"/>
                <a:lstStyle/>
                <a:p>
                  <a:endParaRPr lang="en-GB"/>
                </a:p>
              </p:txBody>
            </p:sp>
            <p:sp>
              <p:nvSpPr>
                <p:cNvPr id="3116" name="Vrije vorm: vorm 3115">
                  <a:extLst>
                    <a:ext uri="{FF2B5EF4-FFF2-40B4-BE49-F238E27FC236}">
                      <a16:creationId xmlns:a16="http://schemas.microsoft.com/office/drawing/2014/main" id="{56C014B3-FDED-48EB-B863-07F1B6231627}"/>
                    </a:ext>
                  </a:extLst>
                </p:cNvPr>
                <p:cNvSpPr/>
                <p:nvPr/>
              </p:nvSpPr>
              <p:spPr>
                <a:xfrm>
                  <a:off x="5068487" y="1582645"/>
                  <a:ext cx="18331" cy="18387"/>
                </a:xfrm>
                <a:custGeom>
                  <a:avLst/>
                  <a:gdLst>
                    <a:gd name="connsiteX0" fmla="*/ 1092 w 18331"/>
                    <a:gd name="connsiteY0" fmla="*/ 13530 h 18387"/>
                    <a:gd name="connsiteX1" fmla="*/ 13532 w 18331"/>
                    <a:gd name="connsiteY1" fmla="*/ 17298 h 18387"/>
                    <a:gd name="connsiteX2" fmla="*/ 17240 w 18331"/>
                    <a:gd name="connsiteY2" fmla="*/ 4858 h 18387"/>
                    <a:gd name="connsiteX3" fmla="*/ 4800 w 18331"/>
                    <a:gd name="connsiteY3" fmla="*/ 1090 h 18387"/>
                    <a:gd name="connsiteX4" fmla="*/ 1092 w 18331"/>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092" y="13530"/>
                      </a:moveTo>
                      <a:cubicBezTo>
                        <a:pt x="3484" y="18015"/>
                        <a:pt x="9046" y="19690"/>
                        <a:pt x="13532" y="17298"/>
                      </a:cubicBezTo>
                      <a:cubicBezTo>
                        <a:pt x="17957" y="14905"/>
                        <a:pt x="19632" y="9343"/>
                        <a:pt x="17240" y="4858"/>
                      </a:cubicBezTo>
                      <a:cubicBezTo>
                        <a:pt x="14847" y="372"/>
                        <a:pt x="9285" y="-1303"/>
                        <a:pt x="4800" y="1090"/>
                      </a:cubicBezTo>
                      <a:cubicBezTo>
                        <a:pt x="374" y="3482"/>
                        <a:pt x="-1301" y="9044"/>
                        <a:pt x="1092" y="13530"/>
                      </a:cubicBezTo>
                      <a:close/>
                    </a:path>
                  </a:pathLst>
                </a:custGeom>
                <a:grpFill/>
                <a:ln w="5978" cap="flat">
                  <a:noFill/>
                  <a:prstDash val="solid"/>
                  <a:miter/>
                </a:ln>
              </p:spPr>
              <p:txBody>
                <a:bodyPr rtlCol="0" anchor="ctr"/>
                <a:lstStyle/>
                <a:p>
                  <a:endParaRPr lang="en-GB"/>
                </a:p>
              </p:txBody>
            </p:sp>
          </p:grpSp>
          <p:grpSp>
            <p:nvGrpSpPr>
              <p:cNvPr id="760" name="Graphic 3">
                <a:extLst>
                  <a:ext uri="{FF2B5EF4-FFF2-40B4-BE49-F238E27FC236}">
                    <a16:creationId xmlns:a16="http://schemas.microsoft.com/office/drawing/2014/main" id="{DB427291-1425-46B2-9F8D-79F5A63458B9}"/>
                  </a:ext>
                </a:extLst>
              </p:cNvPr>
              <p:cNvGrpSpPr/>
              <p:nvPr/>
            </p:nvGrpSpPr>
            <p:grpSpPr>
              <a:xfrm>
                <a:off x="6337157" y="5347907"/>
                <a:ext cx="64556" cy="326436"/>
                <a:chOff x="6337157" y="5347907"/>
                <a:chExt cx="64556" cy="326436"/>
              </a:xfrm>
              <a:grpFill/>
            </p:grpSpPr>
            <p:sp>
              <p:nvSpPr>
                <p:cNvPr id="3111" name="Vrije vorm: vorm 3110">
                  <a:extLst>
                    <a:ext uri="{FF2B5EF4-FFF2-40B4-BE49-F238E27FC236}">
                      <a16:creationId xmlns:a16="http://schemas.microsoft.com/office/drawing/2014/main" id="{75FD46D7-5967-4BD5-BD64-5422749AFF82}"/>
                    </a:ext>
                  </a:extLst>
                </p:cNvPr>
                <p:cNvSpPr/>
                <p:nvPr/>
              </p:nvSpPr>
              <p:spPr>
                <a:xfrm>
                  <a:off x="6344728" y="5356434"/>
                  <a:ext cx="49400" cy="309382"/>
                </a:xfrm>
                <a:custGeom>
                  <a:avLst/>
                  <a:gdLst>
                    <a:gd name="connsiteX0" fmla="*/ 3050 w 49400"/>
                    <a:gd name="connsiteY0" fmla="*/ 0 h 309382"/>
                    <a:gd name="connsiteX1" fmla="*/ 49401 w 49400"/>
                    <a:gd name="connsiteY1" fmla="*/ 308904 h 309382"/>
                    <a:gd name="connsiteX2" fmla="*/ 46351 w 49400"/>
                    <a:gd name="connsiteY2" fmla="*/ 309383 h 309382"/>
                    <a:gd name="connsiteX3" fmla="*/ 0 w 49400"/>
                    <a:gd name="connsiteY3" fmla="*/ 479 h 309382"/>
                  </a:gdLst>
                  <a:ahLst/>
                  <a:cxnLst>
                    <a:cxn ang="0">
                      <a:pos x="connsiteX0" y="connsiteY0"/>
                    </a:cxn>
                    <a:cxn ang="0">
                      <a:pos x="connsiteX1" y="connsiteY1"/>
                    </a:cxn>
                    <a:cxn ang="0">
                      <a:pos x="connsiteX2" y="connsiteY2"/>
                    </a:cxn>
                    <a:cxn ang="0">
                      <a:pos x="connsiteX3" y="connsiteY3"/>
                    </a:cxn>
                  </a:cxnLst>
                  <a:rect l="l" t="t" r="r" b="b"/>
                  <a:pathLst>
                    <a:path w="49400" h="309382">
                      <a:moveTo>
                        <a:pt x="3050" y="0"/>
                      </a:moveTo>
                      <a:lnTo>
                        <a:pt x="49401" y="308904"/>
                      </a:lnTo>
                      <a:lnTo>
                        <a:pt x="46351" y="309383"/>
                      </a:lnTo>
                      <a:lnTo>
                        <a:pt x="0" y="479"/>
                      </a:lnTo>
                      <a:close/>
                    </a:path>
                  </a:pathLst>
                </a:custGeom>
                <a:grpFill/>
                <a:ln w="5978" cap="flat">
                  <a:noFill/>
                  <a:prstDash val="solid"/>
                  <a:miter/>
                </a:ln>
              </p:spPr>
              <p:txBody>
                <a:bodyPr rtlCol="0" anchor="ctr"/>
                <a:lstStyle/>
                <a:p>
                  <a:endParaRPr lang="en-GB"/>
                </a:p>
              </p:txBody>
            </p:sp>
            <p:sp>
              <p:nvSpPr>
                <p:cNvPr id="3112" name="Vrije vorm: vorm 3111">
                  <a:extLst>
                    <a:ext uri="{FF2B5EF4-FFF2-40B4-BE49-F238E27FC236}">
                      <a16:creationId xmlns:a16="http://schemas.microsoft.com/office/drawing/2014/main" id="{A0C0090D-376E-4B4A-9B3B-47512580275D}"/>
                    </a:ext>
                  </a:extLst>
                </p:cNvPr>
                <p:cNvSpPr/>
                <p:nvPr/>
              </p:nvSpPr>
              <p:spPr>
                <a:xfrm>
                  <a:off x="6383374" y="5655914"/>
                  <a:ext cx="18339" cy="18429"/>
                </a:xfrm>
                <a:custGeom>
                  <a:avLst/>
                  <a:gdLst>
                    <a:gd name="connsiteX0" fmla="*/ 18230 w 18339"/>
                    <a:gd name="connsiteY0" fmla="*/ 7869 h 18429"/>
                    <a:gd name="connsiteX1" fmla="*/ 10515 w 18339"/>
                    <a:gd name="connsiteY1" fmla="*/ 18335 h 18429"/>
                    <a:gd name="connsiteX2" fmla="*/ 109 w 18339"/>
                    <a:gd name="connsiteY2" fmla="*/ 10560 h 18429"/>
                    <a:gd name="connsiteX3" fmla="*/ 7824 w 18339"/>
                    <a:gd name="connsiteY3" fmla="*/ 94 h 18429"/>
                    <a:gd name="connsiteX4" fmla="*/ 18230 w 18339"/>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18230" y="7869"/>
                      </a:moveTo>
                      <a:cubicBezTo>
                        <a:pt x="19008" y="12893"/>
                        <a:pt x="15539" y="17558"/>
                        <a:pt x="10515" y="18335"/>
                      </a:cubicBezTo>
                      <a:cubicBezTo>
                        <a:pt x="5491" y="19053"/>
                        <a:pt x="827" y="15584"/>
                        <a:pt x="109" y="10560"/>
                      </a:cubicBezTo>
                      <a:cubicBezTo>
                        <a:pt x="-669" y="5536"/>
                        <a:pt x="2800" y="872"/>
                        <a:pt x="7824" y="94"/>
                      </a:cubicBezTo>
                      <a:cubicBezTo>
                        <a:pt x="12788" y="-624"/>
                        <a:pt x="17453" y="2845"/>
                        <a:pt x="18230" y="7869"/>
                      </a:cubicBezTo>
                      <a:close/>
                    </a:path>
                  </a:pathLst>
                </a:custGeom>
                <a:grpFill/>
                <a:ln w="5978" cap="flat">
                  <a:noFill/>
                  <a:prstDash val="solid"/>
                  <a:miter/>
                </a:ln>
              </p:spPr>
              <p:txBody>
                <a:bodyPr rtlCol="0" anchor="ctr"/>
                <a:lstStyle/>
                <a:p>
                  <a:endParaRPr lang="en-GB"/>
                </a:p>
              </p:txBody>
            </p:sp>
            <p:sp>
              <p:nvSpPr>
                <p:cNvPr id="3113" name="Vrije vorm: vorm 3112">
                  <a:extLst>
                    <a:ext uri="{FF2B5EF4-FFF2-40B4-BE49-F238E27FC236}">
                      <a16:creationId xmlns:a16="http://schemas.microsoft.com/office/drawing/2014/main" id="{545BB9F4-3836-4D71-A111-3671FE7BD233}"/>
                    </a:ext>
                  </a:extLst>
                </p:cNvPr>
                <p:cNvSpPr/>
                <p:nvPr/>
              </p:nvSpPr>
              <p:spPr>
                <a:xfrm>
                  <a:off x="6337157" y="5347907"/>
                  <a:ext cx="18326" cy="18429"/>
                </a:xfrm>
                <a:custGeom>
                  <a:avLst/>
                  <a:gdLst>
                    <a:gd name="connsiteX0" fmla="*/ 18217 w 18326"/>
                    <a:gd name="connsiteY0" fmla="*/ 7869 h 18429"/>
                    <a:gd name="connsiteX1" fmla="*/ 7811 w 18326"/>
                    <a:gd name="connsiteY1" fmla="*/ 94 h 18429"/>
                    <a:gd name="connsiteX2" fmla="*/ 95 w 18326"/>
                    <a:gd name="connsiteY2" fmla="*/ 10560 h 18429"/>
                    <a:gd name="connsiteX3" fmla="*/ 10502 w 18326"/>
                    <a:gd name="connsiteY3" fmla="*/ 18335 h 18429"/>
                    <a:gd name="connsiteX4" fmla="*/ 18217 w 18326"/>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8217" y="7869"/>
                      </a:moveTo>
                      <a:cubicBezTo>
                        <a:pt x="17440" y="2845"/>
                        <a:pt x="12775" y="-624"/>
                        <a:pt x="7811" y="94"/>
                      </a:cubicBezTo>
                      <a:cubicBezTo>
                        <a:pt x="2787" y="812"/>
                        <a:pt x="-622" y="5536"/>
                        <a:pt x="95" y="10560"/>
                      </a:cubicBezTo>
                      <a:cubicBezTo>
                        <a:pt x="873" y="15584"/>
                        <a:pt x="5538" y="19053"/>
                        <a:pt x="10502" y="18335"/>
                      </a:cubicBezTo>
                      <a:cubicBezTo>
                        <a:pt x="15526" y="17617"/>
                        <a:pt x="18995" y="12953"/>
                        <a:pt x="18217" y="7869"/>
                      </a:cubicBezTo>
                      <a:close/>
                    </a:path>
                  </a:pathLst>
                </a:custGeom>
                <a:grpFill/>
                <a:ln w="5978" cap="flat">
                  <a:noFill/>
                  <a:prstDash val="solid"/>
                  <a:miter/>
                </a:ln>
              </p:spPr>
              <p:txBody>
                <a:bodyPr rtlCol="0" anchor="ctr"/>
                <a:lstStyle/>
                <a:p>
                  <a:endParaRPr lang="en-GB"/>
                </a:p>
              </p:txBody>
            </p:sp>
          </p:grpSp>
          <p:grpSp>
            <p:nvGrpSpPr>
              <p:cNvPr id="761" name="Graphic 3">
                <a:extLst>
                  <a:ext uri="{FF2B5EF4-FFF2-40B4-BE49-F238E27FC236}">
                    <a16:creationId xmlns:a16="http://schemas.microsoft.com/office/drawing/2014/main" id="{6DA72DFD-E827-421A-841A-BAC7544FD0B5}"/>
                  </a:ext>
                </a:extLst>
              </p:cNvPr>
              <p:cNvGrpSpPr/>
              <p:nvPr/>
            </p:nvGrpSpPr>
            <p:grpSpPr>
              <a:xfrm>
                <a:off x="5021368" y="1577046"/>
                <a:ext cx="74517" cy="118818"/>
                <a:chOff x="5021368" y="1577046"/>
                <a:chExt cx="74517" cy="118818"/>
              </a:xfrm>
              <a:grpFill/>
            </p:grpSpPr>
            <p:sp>
              <p:nvSpPr>
                <p:cNvPr id="3108" name="Vrije vorm: vorm 3107">
                  <a:extLst>
                    <a:ext uri="{FF2B5EF4-FFF2-40B4-BE49-F238E27FC236}">
                      <a16:creationId xmlns:a16="http://schemas.microsoft.com/office/drawing/2014/main" id="{51AB5165-24F4-4476-912F-DA7FEAAE442E}"/>
                    </a:ext>
                  </a:extLst>
                </p:cNvPr>
                <p:cNvSpPr/>
                <p:nvPr/>
              </p:nvSpPr>
              <p:spPr>
                <a:xfrm>
                  <a:off x="5028812" y="1584966"/>
                  <a:ext cx="59379" cy="102637"/>
                </a:xfrm>
                <a:custGeom>
                  <a:avLst/>
                  <a:gdLst>
                    <a:gd name="connsiteX0" fmla="*/ 0 w 59379"/>
                    <a:gd name="connsiteY0" fmla="*/ 1492 h 102637"/>
                    <a:gd name="connsiteX1" fmla="*/ 2660 w 59379"/>
                    <a:gd name="connsiteY1" fmla="*/ 0 h 102637"/>
                    <a:gd name="connsiteX2" fmla="*/ 59379 w 59379"/>
                    <a:gd name="connsiteY2" fmla="*/ 101146 h 102637"/>
                    <a:gd name="connsiteX3" fmla="*/ 56719 w 59379"/>
                    <a:gd name="connsiteY3" fmla="*/ 102638 h 102637"/>
                  </a:gdLst>
                  <a:ahLst/>
                  <a:cxnLst>
                    <a:cxn ang="0">
                      <a:pos x="connsiteX0" y="connsiteY0"/>
                    </a:cxn>
                    <a:cxn ang="0">
                      <a:pos x="connsiteX1" y="connsiteY1"/>
                    </a:cxn>
                    <a:cxn ang="0">
                      <a:pos x="connsiteX2" y="connsiteY2"/>
                    </a:cxn>
                    <a:cxn ang="0">
                      <a:pos x="connsiteX3" y="connsiteY3"/>
                    </a:cxn>
                  </a:cxnLst>
                  <a:rect l="l" t="t" r="r" b="b"/>
                  <a:pathLst>
                    <a:path w="59379" h="102637">
                      <a:moveTo>
                        <a:pt x="0" y="1492"/>
                      </a:moveTo>
                      <a:lnTo>
                        <a:pt x="2660" y="0"/>
                      </a:lnTo>
                      <a:lnTo>
                        <a:pt x="59379" y="101146"/>
                      </a:lnTo>
                      <a:lnTo>
                        <a:pt x="56719" y="102638"/>
                      </a:lnTo>
                      <a:close/>
                    </a:path>
                  </a:pathLst>
                </a:custGeom>
                <a:grpFill/>
                <a:ln w="5978" cap="flat">
                  <a:noFill/>
                  <a:prstDash val="solid"/>
                  <a:miter/>
                </a:ln>
              </p:spPr>
              <p:txBody>
                <a:bodyPr rtlCol="0" anchor="ctr"/>
                <a:lstStyle/>
                <a:p>
                  <a:endParaRPr lang="en-GB"/>
                </a:p>
              </p:txBody>
            </p:sp>
            <p:sp>
              <p:nvSpPr>
                <p:cNvPr id="3109" name="Vrije vorm: vorm 3108">
                  <a:extLst>
                    <a:ext uri="{FF2B5EF4-FFF2-40B4-BE49-F238E27FC236}">
                      <a16:creationId xmlns:a16="http://schemas.microsoft.com/office/drawing/2014/main" id="{E9ECE4CE-5751-418B-B821-BBBE5557D1D5}"/>
                    </a:ext>
                  </a:extLst>
                </p:cNvPr>
                <p:cNvSpPr/>
                <p:nvPr/>
              </p:nvSpPr>
              <p:spPr>
                <a:xfrm>
                  <a:off x="5077540" y="1677429"/>
                  <a:ext cx="18346" cy="18435"/>
                </a:xfrm>
                <a:custGeom>
                  <a:avLst/>
                  <a:gdLst>
                    <a:gd name="connsiteX0" fmla="*/ 17158 w 18346"/>
                    <a:gd name="connsiteY0" fmla="*/ 4689 h 18435"/>
                    <a:gd name="connsiteX1" fmla="*/ 13689 w 18346"/>
                    <a:gd name="connsiteY1" fmla="*/ 17248 h 18435"/>
                    <a:gd name="connsiteX2" fmla="*/ 1189 w 18346"/>
                    <a:gd name="connsiteY2" fmla="*/ 13720 h 18435"/>
                    <a:gd name="connsiteX3" fmla="*/ 4658 w 18346"/>
                    <a:gd name="connsiteY3" fmla="*/ 1160 h 18435"/>
                    <a:gd name="connsiteX4" fmla="*/ 17158 w 18346"/>
                    <a:gd name="connsiteY4" fmla="*/ 4689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5">
                      <a:moveTo>
                        <a:pt x="17158" y="4689"/>
                      </a:moveTo>
                      <a:cubicBezTo>
                        <a:pt x="19669" y="9115"/>
                        <a:pt x="18054" y="14736"/>
                        <a:pt x="13689" y="17248"/>
                      </a:cubicBezTo>
                      <a:cubicBezTo>
                        <a:pt x="9263" y="19760"/>
                        <a:pt x="3701" y="18146"/>
                        <a:pt x="1189" y="13720"/>
                      </a:cubicBezTo>
                      <a:cubicBezTo>
                        <a:pt x="-1323" y="9294"/>
                        <a:pt x="292" y="3672"/>
                        <a:pt x="4658" y="1160"/>
                      </a:cubicBezTo>
                      <a:cubicBezTo>
                        <a:pt x="9083" y="-1292"/>
                        <a:pt x="14705" y="263"/>
                        <a:pt x="17158" y="4689"/>
                      </a:cubicBezTo>
                      <a:close/>
                    </a:path>
                  </a:pathLst>
                </a:custGeom>
                <a:grpFill/>
                <a:ln w="5978" cap="flat">
                  <a:noFill/>
                  <a:prstDash val="solid"/>
                  <a:miter/>
                </a:ln>
              </p:spPr>
              <p:txBody>
                <a:bodyPr rtlCol="0" anchor="ctr"/>
                <a:lstStyle/>
                <a:p>
                  <a:endParaRPr lang="en-GB"/>
                </a:p>
              </p:txBody>
            </p:sp>
            <p:sp>
              <p:nvSpPr>
                <p:cNvPr id="3110" name="Vrije vorm: vorm 3109">
                  <a:extLst>
                    <a:ext uri="{FF2B5EF4-FFF2-40B4-BE49-F238E27FC236}">
                      <a16:creationId xmlns:a16="http://schemas.microsoft.com/office/drawing/2014/main" id="{C9AA6AFE-5F4B-40A8-978D-CAAE22415B8D}"/>
                    </a:ext>
                  </a:extLst>
                </p:cNvPr>
                <p:cNvSpPr/>
                <p:nvPr/>
              </p:nvSpPr>
              <p:spPr>
                <a:xfrm>
                  <a:off x="5021368" y="1577046"/>
                  <a:ext cx="18358" cy="18461"/>
                </a:xfrm>
                <a:custGeom>
                  <a:avLst/>
                  <a:gdLst>
                    <a:gd name="connsiteX0" fmla="*/ 17170 w 18358"/>
                    <a:gd name="connsiteY0" fmla="*/ 4715 h 18461"/>
                    <a:gd name="connsiteX1" fmla="*/ 4670 w 18358"/>
                    <a:gd name="connsiteY1" fmla="*/ 1187 h 18461"/>
                    <a:gd name="connsiteX2" fmla="*/ 1202 w 18358"/>
                    <a:gd name="connsiteY2" fmla="*/ 13746 h 18461"/>
                    <a:gd name="connsiteX3" fmla="*/ 13701 w 18358"/>
                    <a:gd name="connsiteY3" fmla="*/ 17275 h 18461"/>
                    <a:gd name="connsiteX4" fmla="*/ 17170 w 18358"/>
                    <a:gd name="connsiteY4" fmla="*/ 4715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61">
                      <a:moveTo>
                        <a:pt x="17170" y="4715"/>
                      </a:moveTo>
                      <a:cubicBezTo>
                        <a:pt x="14658" y="290"/>
                        <a:pt x="9096" y="-1325"/>
                        <a:pt x="4670" y="1187"/>
                      </a:cubicBezTo>
                      <a:cubicBezTo>
                        <a:pt x="245" y="3639"/>
                        <a:pt x="-1311" y="9261"/>
                        <a:pt x="1202" y="13746"/>
                      </a:cubicBezTo>
                      <a:cubicBezTo>
                        <a:pt x="3713" y="18172"/>
                        <a:pt x="9275" y="19787"/>
                        <a:pt x="13701" y="17275"/>
                      </a:cubicBezTo>
                      <a:cubicBezTo>
                        <a:pt x="18067" y="14763"/>
                        <a:pt x="19682" y="9141"/>
                        <a:pt x="17170" y="4715"/>
                      </a:cubicBezTo>
                      <a:close/>
                    </a:path>
                  </a:pathLst>
                </a:custGeom>
                <a:grpFill/>
                <a:ln w="5978" cap="flat">
                  <a:noFill/>
                  <a:prstDash val="solid"/>
                  <a:miter/>
                </a:ln>
              </p:spPr>
              <p:txBody>
                <a:bodyPr rtlCol="0" anchor="ctr"/>
                <a:lstStyle/>
                <a:p>
                  <a:endParaRPr lang="en-GB"/>
                </a:p>
              </p:txBody>
            </p:sp>
          </p:grpSp>
          <p:grpSp>
            <p:nvGrpSpPr>
              <p:cNvPr id="762" name="Graphic 3">
                <a:extLst>
                  <a:ext uri="{FF2B5EF4-FFF2-40B4-BE49-F238E27FC236}">
                    <a16:creationId xmlns:a16="http://schemas.microsoft.com/office/drawing/2014/main" id="{1D461CA8-E7D6-442D-8303-2263AE18735B}"/>
                  </a:ext>
                </a:extLst>
              </p:cNvPr>
              <p:cNvGrpSpPr/>
              <p:nvPr/>
            </p:nvGrpSpPr>
            <p:grpSpPr>
              <a:xfrm>
                <a:off x="6234679" y="5086699"/>
                <a:ext cx="34039" cy="158665"/>
                <a:chOff x="6234679" y="5086699"/>
                <a:chExt cx="34039" cy="158665"/>
              </a:xfrm>
              <a:grpFill/>
            </p:grpSpPr>
            <p:sp>
              <p:nvSpPr>
                <p:cNvPr id="3105" name="Vrije vorm: vorm 3104">
                  <a:extLst>
                    <a:ext uri="{FF2B5EF4-FFF2-40B4-BE49-F238E27FC236}">
                      <a16:creationId xmlns:a16="http://schemas.microsoft.com/office/drawing/2014/main" id="{FF3BA3FF-A003-48DE-9929-42E859B1FC35}"/>
                    </a:ext>
                  </a:extLst>
                </p:cNvPr>
                <p:cNvSpPr/>
                <p:nvPr/>
              </p:nvSpPr>
              <p:spPr>
                <a:xfrm>
                  <a:off x="6242219" y="5095256"/>
                  <a:ext cx="18898" cy="141504"/>
                </a:xfrm>
                <a:custGeom>
                  <a:avLst/>
                  <a:gdLst>
                    <a:gd name="connsiteX0" fmla="*/ 3050 w 18898"/>
                    <a:gd name="connsiteY0" fmla="*/ 0 h 141504"/>
                    <a:gd name="connsiteX1" fmla="*/ 18899 w 18898"/>
                    <a:gd name="connsiteY1" fmla="*/ 141145 h 141504"/>
                    <a:gd name="connsiteX2" fmla="*/ 15849 w 18898"/>
                    <a:gd name="connsiteY2" fmla="*/ 141504 h 141504"/>
                    <a:gd name="connsiteX3" fmla="*/ 0 w 18898"/>
                    <a:gd name="connsiteY3" fmla="*/ 359 h 141504"/>
                  </a:gdLst>
                  <a:ahLst/>
                  <a:cxnLst>
                    <a:cxn ang="0">
                      <a:pos x="connsiteX0" y="connsiteY0"/>
                    </a:cxn>
                    <a:cxn ang="0">
                      <a:pos x="connsiteX1" y="connsiteY1"/>
                    </a:cxn>
                    <a:cxn ang="0">
                      <a:pos x="connsiteX2" y="connsiteY2"/>
                    </a:cxn>
                    <a:cxn ang="0">
                      <a:pos x="connsiteX3" y="connsiteY3"/>
                    </a:cxn>
                  </a:cxnLst>
                  <a:rect l="l" t="t" r="r" b="b"/>
                  <a:pathLst>
                    <a:path w="18898" h="141504">
                      <a:moveTo>
                        <a:pt x="3050" y="0"/>
                      </a:moveTo>
                      <a:lnTo>
                        <a:pt x="18899" y="141145"/>
                      </a:lnTo>
                      <a:lnTo>
                        <a:pt x="15849" y="141504"/>
                      </a:lnTo>
                      <a:lnTo>
                        <a:pt x="0" y="359"/>
                      </a:lnTo>
                      <a:close/>
                    </a:path>
                  </a:pathLst>
                </a:custGeom>
                <a:grpFill/>
                <a:ln w="5978" cap="flat">
                  <a:noFill/>
                  <a:prstDash val="solid"/>
                  <a:miter/>
                </a:ln>
              </p:spPr>
              <p:txBody>
                <a:bodyPr rtlCol="0" anchor="ctr"/>
                <a:lstStyle/>
                <a:p>
                  <a:endParaRPr lang="en-GB"/>
                </a:p>
              </p:txBody>
            </p:sp>
            <p:sp>
              <p:nvSpPr>
                <p:cNvPr id="3106" name="Vrije vorm: vorm 3105">
                  <a:extLst>
                    <a:ext uri="{FF2B5EF4-FFF2-40B4-BE49-F238E27FC236}">
                      <a16:creationId xmlns:a16="http://schemas.microsoft.com/office/drawing/2014/main" id="{DE8B7F7B-7A7A-4F83-9B93-E8C8C1345239}"/>
                    </a:ext>
                  </a:extLst>
                </p:cNvPr>
                <p:cNvSpPr/>
                <p:nvPr/>
              </p:nvSpPr>
              <p:spPr>
                <a:xfrm>
                  <a:off x="6250408" y="5226947"/>
                  <a:ext cx="18309" cy="18417"/>
                </a:xfrm>
                <a:custGeom>
                  <a:avLst/>
                  <a:gdLst>
                    <a:gd name="connsiteX0" fmla="*/ 18246 w 18309"/>
                    <a:gd name="connsiteY0" fmla="*/ 8198 h 18417"/>
                    <a:gd name="connsiteX1" fmla="*/ 10172 w 18309"/>
                    <a:gd name="connsiteY1" fmla="*/ 18365 h 18417"/>
                    <a:gd name="connsiteX2" fmla="*/ 64 w 18309"/>
                    <a:gd name="connsiteY2" fmla="*/ 10232 h 18417"/>
                    <a:gd name="connsiteX3" fmla="*/ 8138 w 18309"/>
                    <a:gd name="connsiteY3" fmla="*/ 64 h 18417"/>
                    <a:gd name="connsiteX4" fmla="*/ 18246 w 18309"/>
                    <a:gd name="connsiteY4" fmla="*/ 8198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17">
                      <a:moveTo>
                        <a:pt x="18246" y="8198"/>
                      </a:moveTo>
                      <a:cubicBezTo>
                        <a:pt x="18843" y="13281"/>
                        <a:pt x="15195" y="17827"/>
                        <a:pt x="10172" y="18365"/>
                      </a:cubicBezTo>
                      <a:cubicBezTo>
                        <a:pt x="5148" y="18903"/>
                        <a:pt x="602" y="15255"/>
                        <a:pt x="64" y="10232"/>
                      </a:cubicBezTo>
                      <a:cubicBezTo>
                        <a:pt x="-534" y="5148"/>
                        <a:pt x="3114" y="602"/>
                        <a:pt x="8138" y="64"/>
                      </a:cubicBezTo>
                      <a:cubicBezTo>
                        <a:pt x="13162" y="-534"/>
                        <a:pt x="17707" y="3114"/>
                        <a:pt x="18246" y="8198"/>
                      </a:cubicBezTo>
                      <a:close/>
                    </a:path>
                  </a:pathLst>
                </a:custGeom>
                <a:grpFill/>
                <a:ln w="5978" cap="flat">
                  <a:noFill/>
                  <a:prstDash val="solid"/>
                  <a:miter/>
                </a:ln>
              </p:spPr>
              <p:txBody>
                <a:bodyPr rtlCol="0" anchor="ctr"/>
                <a:lstStyle/>
                <a:p>
                  <a:endParaRPr lang="en-GB"/>
                </a:p>
              </p:txBody>
            </p:sp>
            <p:sp>
              <p:nvSpPr>
                <p:cNvPr id="3107" name="Vrije vorm: vorm 3106">
                  <a:extLst>
                    <a:ext uri="{FF2B5EF4-FFF2-40B4-BE49-F238E27FC236}">
                      <a16:creationId xmlns:a16="http://schemas.microsoft.com/office/drawing/2014/main" id="{F2F30DF2-59AB-4B8F-AF3D-F412732D30A0}"/>
                    </a:ext>
                  </a:extLst>
                </p:cNvPr>
                <p:cNvSpPr/>
                <p:nvPr/>
              </p:nvSpPr>
              <p:spPr>
                <a:xfrm>
                  <a:off x="6234679" y="5086699"/>
                  <a:ext cx="18298" cy="18429"/>
                </a:xfrm>
                <a:custGeom>
                  <a:avLst/>
                  <a:gdLst>
                    <a:gd name="connsiteX0" fmla="*/ 18246 w 18298"/>
                    <a:gd name="connsiteY0" fmla="*/ 8198 h 18429"/>
                    <a:gd name="connsiteX1" fmla="*/ 8138 w 18298"/>
                    <a:gd name="connsiteY1" fmla="*/ 64 h 18429"/>
                    <a:gd name="connsiteX2" fmla="*/ 64 w 18298"/>
                    <a:gd name="connsiteY2" fmla="*/ 10231 h 18429"/>
                    <a:gd name="connsiteX3" fmla="*/ 10172 w 18298"/>
                    <a:gd name="connsiteY3" fmla="*/ 18365 h 18429"/>
                    <a:gd name="connsiteX4" fmla="*/ 18246 w 18298"/>
                    <a:gd name="connsiteY4" fmla="*/ 819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9">
                      <a:moveTo>
                        <a:pt x="18246" y="8198"/>
                      </a:moveTo>
                      <a:cubicBezTo>
                        <a:pt x="17648" y="3114"/>
                        <a:pt x="13162" y="-534"/>
                        <a:pt x="8138" y="64"/>
                      </a:cubicBezTo>
                      <a:cubicBezTo>
                        <a:pt x="3114" y="602"/>
                        <a:pt x="-534" y="5148"/>
                        <a:pt x="64" y="10231"/>
                      </a:cubicBezTo>
                      <a:cubicBezTo>
                        <a:pt x="662" y="15315"/>
                        <a:pt x="5148" y="18963"/>
                        <a:pt x="10172" y="18365"/>
                      </a:cubicBezTo>
                      <a:cubicBezTo>
                        <a:pt x="15195" y="17827"/>
                        <a:pt x="18784" y="13282"/>
                        <a:pt x="18246" y="8198"/>
                      </a:cubicBezTo>
                      <a:close/>
                    </a:path>
                  </a:pathLst>
                </a:custGeom>
                <a:grpFill/>
                <a:ln w="5978" cap="flat">
                  <a:noFill/>
                  <a:prstDash val="solid"/>
                  <a:miter/>
                </a:ln>
              </p:spPr>
              <p:txBody>
                <a:bodyPr rtlCol="0" anchor="ctr"/>
                <a:lstStyle/>
                <a:p>
                  <a:endParaRPr lang="en-GB"/>
                </a:p>
              </p:txBody>
            </p:sp>
          </p:grpSp>
          <p:grpSp>
            <p:nvGrpSpPr>
              <p:cNvPr id="763" name="Graphic 3">
                <a:extLst>
                  <a:ext uri="{FF2B5EF4-FFF2-40B4-BE49-F238E27FC236}">
                    <a16:creationId xmlns:a16="http://schemas.microsoft.com/office/drawing/2014/main" id="{DA5F253B-0740-4190-95DD-85E7631096E9}"/>
                  </a:ext>
                </a:extLst>
              </p:cNvPr>
              <p:cNvGrpSpPr/>
              <p:nvPr/>
            </p:nvGrpSpPr>
            <p:grpSpPr>
              <a:xfrm>
                <a:off x="5106938" y="1800592"/>
                <a:ext cx="26714" cy="32723"/>
                <a:chOff x="5106938" y="1800592"/>
                <a:chExt cx="26714" cy="32723"/>
              </a:xfrm>
              <a:grpFill/>
            </p:grpSpPr>
            <p:sp>
              <p:nvSpPr>
                <p:cNvPr id="3103" name="Vrije vorm: vorm 3102">
                  <a:extLst>
                    <a:ext uri="{FF2B5EF4-FFF2-40B4-BE49-F238E27FC236}">
                      <a16:creationId xmlns:a16="http://schemas.microsoft.com/office/drawing/2014/main" id="{24B7E3D1-30A1-46C1-A343-88679DDBEE34}"/>
                    </a:ext>
                  </a:extLst>
                </p:cNvPr>
                <p:cNvSpPr/>
                <p:nvPr/>
              </p:nvSpPr>
              <p:spPr>
                <a:xfrm>
                  <a:off x="5106938" y="1800592"/>
                  <a:ext cx="18341" cy="18429"/>
                </a:xfrm>
                <a:custGeom>
                  <a:avLst/>
                  <a:gdLst>
                    <a:gd name="connsiteX0" fmla="*/ 17065 w 18341"/>
                    <a:gd name="connsiteY0" fmla="*/ 4550 h 18429"/>
                    <a:gd name="connsiteX1" fmla="*/ 13836 w 18341"/>
                    <a:gd name="connsiteY1" fmla="*/ 17169 h 18429"/>
                    <a:gd name="connsiteX2" fmla="*/ 1276 w 18341"/>
                    <a:gd name="connsiteY2" fmla="*/ 13880 h 18429"/>
                    <a:gd name="connsiteX3" fmla="*/ 4506 w 18341"/>
                    <a:gd name="connsiteY3" fmla="*/ 1260 h 18429"/>
                    <a:gd name="connsiteX4" fmla="*/ 17065 w 18341"/>
                    <a:gd name="connsiteY4" fmla="*/ 455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7065" y="4550"/>
                      </a:moveTo>
                      <a:cubicBezTo>
                        <a:pt x="19637" y="8916"/>
                        <a:pt x="18201" y="14597"/>
                        <a:pt x="13836" y="17169"/>
                      </a:cubicBezTo>
                      <a:cubicBezTo>
                        <a:pt x="9470" y="19741"/>
                        <a:pt x="3848" y="18246"/>
                        <a:pt x="1276" y="13880"/>
                      </a:cubicBezTo>
                      <a:cubicBezTo>
                        <a:pt x="-1296" y="9514"/>
                        <a:pt x="140" y="3832"/>
                        <a:pt x="4506" y="1260"/>
                      </a:cubicBezTo>
                      <a:cubicBezTo>
                        <a:pt x="8872" y="-1311"/>
                        <a:pt x="14493" y="184"/>
                        <a:pt x="17065" y="4550"/>
                      </a:cubicBezTo>
                      <a:close/>
                    </a:path>
                  </a:pathLst>
                </a:custGeom>
                <a:grpFill/>
                <a:ln w="5978" cap="flat">
                  <a:noFill/>
                  <a:prstDash val="solid"/>
                  <a:miter/>
                </a:ln>
              </p:spPr>
              <p:txBody>
                <a:bodyPr rtlCol="0" anchor="ctr"/>
                <a:lstStyle/>
                <a:p>
                  <a:endParaRPr lang="en-GB"/>
                </a:p>
              </p:txBody>
            </p:sp>
            <p:sp>
              <p:nvSpPr>
                <p:cNvPr id="3104" name="Vrije vorm: vorm 3103">
                  <a:extLst>
                    <a:ext uri="{FF2B5EF4-FFF2-40B4-BE49-F238E27FC236}">
                      <a16:creationId xmlns:a16="http://schemas.microsoft.com/office/drawing/2014/main" id="{3E13BEEB-F7AC-4629-B9C8-D72EBD95346A}"/>
                    </a:ext>
                  </a:extLst>
                </p:cNvPr>
                <p:cNvSpPr/>
                <p:nvPr/>
              </p:nvSpPr>
              <p:spPr>
                <a:xfrm>
                  <a:off x="5115311" y="1814886"/>
                  <a:ext cx="18341" cy="18429"/>
                </a:xfrm>
                <a:custGeom>
                  <a:avLst/>
                  <a:gdLst>
                    <a:gd name="connsiteX0" fmla="*/ 17065 w 18341"/>
                    <a:gd name="connsiteY0" fmla="*/ 4550 h 18429"/>
                    <a:gd name="connsiteX1" fmla="*/ 4505 w 18341"/>
                    <a:gd name="connsiteY1" fmla="*/ 1260 h 18429"/>
                    <a:gd name="connsiteX2" fmla="*/ 1276 w 18341"/>
                    <a:gd name="connsiteY2" fmla="*/ 13880 h 18429"/>
                    <a:gd name="connsiteX3" fmla="*/ 13835 w 18341"/>
                    <a:gd name="connsiteY3" fmla="*/ 17169 h 18429"/>
                    <a:gd name="connsiteX4" fmla="*/ 17065 w 18341"/>
                    <a:gd name="connsiteY4" fmla="*/ 455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7065" y="4550"/>
                      </a:moveTo>
                      <a:cubicBezTo>
                        <a:pt x="14493" y="184"/>
                        <a:pt x="8872" y="-1311"/>
                        <a:pt x="4505" y="1260"/>
                      </a:cubicBezTo>
                      <a:cubicBezTo>
                        <a:pt x="140" y="3832"/>
                        <a:pt x="-1296" y="9454"/>
                        <a:pt x="1276" y="13880"/>
                      </a:cubicBezTo>
                      <a:cubicBezTo>
                        <a:pt x="3848" y="18246"/>
                        <a:pt x="9470" y="19741"/>
                        <a:pt x="13835" y="17169"/>
                      </a:cubicBezTo>
                      <a:cubicBezTo>
                        <a:pt x="18202" y="14538"/>
                        <a:pt x="19637" y="8916"/>
                        <a:pt x="17065" y="4550"/>
                      </a:cubicBezTo>
                      <a:close/>
                    </a:path>
                  </a:pathLst>
                </a:custGeom>
                <a:grpFill/>
                <a:ln w="5978" cap="flat">
                  <a:noFill/>
                  <a:prstDash val="solid"/>
                  <a:miter/>
                </a:ln>
              </p:spPr>
              <p:txBody>
                <a:bodyPr rtlCol="0" anchor="ctr"/>
                <a:lstStyle/>
                <a:p>
                  <a:endParaRPr lang="en-GB"/>
                </a:p>
              </p:txBody>
            </p:sp>
          </p:grpSp>
          <p:grpSp>
            <p:nvGrpSpPr>
              <p:cNvPr id="764" name="Graphic 3">
                <a:extLst>
                  <a:ext uri="{FF2B5EF4-FFF2-40B4-BE49-F238E27FC236}">
                    <a16:creationId xmlns:a16="http://schemas.microsoft.com/office/drawing/2014/main" id="{FFFD4F4B-9868-4A37-A34B-D08B8EA3146C}"/>
                  </a:ext>
                </a:extLst>
              </p:cNvPr>
              <p:cNvGrpSpPr/>
              <p:nvPr/>
            </p:nvGrpSpPr>
            <p:grpSpPr>
              <a:xfrm>
                <a:off x="6304279" y="5376810"/>
                <a:ext cx="20432" cy="34305"/>
                <a:chOff x="6304279" y="5376810"/>
                <a:chExt cx="20432" cy="34305"/>
              </a:xfrm>
              <a:grpFill/>
            </p:grpSpPr>
            <p:sp>
              <p:nvSpPr>
                <p:cNvPr id="3100" name="Vrije vorm: vorm 3099">
                  <a:extLst>
                    <a:ext uri="{FF2B5EF4-FFF2-40B4-BE49-F238E27FC236}">
                      <a16:creationId xmlns:a16="http://schemas.microsoft.com/office/drawing/2014/main" id="{18AACF78-7FEB-475D-86E8-EC0CED278535}"/>
                    </a:ext>
                  </a:extLst>
                </p:cNvPr>
                <p:cNvSpPr/>
                <p:nvPr/>
              </p:nvSpPr>
              <p:spPr>
                <a:xfrm>
                  <a:off x="6311894" y="5385381"/>
                  <a:ext cx="5203" cy="17164"/>
                </a:xfrm>
                <a:custGeom>
                  <a:avLst/>
                  <a:gdLst>
                    <a:gd name="connsiteX0" fmla="*/ 2990 w 5203"/>
                    <a:gd name="connsiteY0" fmla="*/ 0 h 17164"/>
                    <a:gd name="connsiteX1" fmla="*/ 5203 w 5203"/>
                    <a:gd name="connsiteY1" fmla="*/ 16806 h 17164"/>
                    <a:gd name="connsiteX2" fmla="*/ 2153 w 5203"/>
                    <a:gd name="connsiteY2" fmla="*/ 17165 h 17164"/>
                    <a:gd name="connsiteX3" fmla="*/ 0 w 5203"/>
                    <a:gd name="connsiteY3" fmla="*/ 359 h 17164"/>
                  </a:gdLst>
                  <a:ahLst/>
                  <a:cxnLst>
                    <a:cxn ang="0">
                      <a:pos x="connsiteX0" y="connsiteY0"/>
                    </a:cxn>
                    <a:cxn ang="0">
                      <a:pos x="connsiteX1" y="connsiteY1"/>
                    </a:cxn>
                    <a:cxn ang="0">
                      <a:pos x="connsiteX2" y="connsiteY2"/>
                    </a:cxn>
                    <a:cxn ang="0">
                      <a:pos x="connsiteX3" y="connsiteY3"/>
                    </a:cxn>
                  </a:cxnLst>
                  <a:rect l="l" t="t" r="r" b="b"/>
                  <a:pathLst>
                    <a:path w="5203" h="17164">
                      <a:moveTo>
                        <a:pt x="2990" y="0"/>
                      </a:moveTo>
                      <a:lnTo>
                        <a:pt x="5203" y="16806"/>
                      </a:lnTo>
                      <a:lnTo>
                        <a:pt x="2153" y="17165"/>
                      </a:lnTo>
                      <a:lnTo>
                        <a:pt x="0" y="359"/>
                      </a:lnTo>
                      <a:close/>
                    </a:path>
                  </a:pathLst>
                </a:custGeom>
                <a:grpFill/>
                <a:ln w="5978" cap="flat">
                  <a:noFill/>
                  <a:prstDash val="solid"/>
                  <a:miter/>
                </a:ln>
              </p:spPr>
              <p:txBody>
                <a:bodyPr rtlCol="0" anchor="ctr"/>
                <a:lstStyle/>
                <a:p>
                  <a:endParaRPr lang="en-GB"/>
                </a:p>
              </p:txBody>
            </p:sp>
            <p:sp>
              <p:nvSpPr>
                <p:cNvPr id="3101" name="Vrije vorm: vorm 3100">
                  <a:extLst>
                    <a:ext uri="{FF2B5EF4-FFF2-40B4-BE49-F238E27FC236}">
                      <a16:creationId xmlns:a16="http://schemas.microsoft.com/office/drawing/2014/main" id="{BB7CFABE-EE63-4CCE-801E-56B5E00FE316}"/>
                    </a:ext>
                  </a:extLst>
                </p:cNvPr>
                <p:cNvSpPr/>
                <p:nvPr/>
              </p:nvSpPr>
              <p:spPr>
                <a:xfrm>
                  <a:off x="6304279" y="5376810"/>
                  <a:ext cx="18339" cy="18397"/>
                </a:xfrm>
                <a:custGeom>
                  <a:avLst/>
                  <a:gdLst>
                    <a:gd name="connsiteX0" fmla="*/ 79 w 18339"/>
                    <a:gd name="connsiteY0" fmla="*/ 10364 h 18397"/>
                    <a:gd name="connsiteX1" fmla="*/ 7973 w 18339"/>
                    <a:gd name="connsiteY1" fmla="*/ 78 h 18397"/>
                    <a:gd name="connsiteX2" fmla="*/ 18261 w 18339"/>
                    <a:gd name="connsiteY2" fmla="*/ 8032 h 18397"/>
                    <a:gd name="connsiteX3" fmla="*/ 10366 w 18339"/>
                    <a:gd name="connsiteY3" fmla="*/ 18319 h 18397"/>
                    <a:gd name="connsiteX4" fmla="*/ 79 w 18339"/>
                    <a:gd name="connsiteY4" fmla="*/ 10364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7">
                      <a:moveTo>
                        <a:pt x="79" y="10364"/>
                      </a:moveTo>
                      <a:cubicBezTo>
                        <a:pt x="-579" y="5341"/>
                        <a:pt x="2950" y="676"/>
                        <a:pt x="7973" y="78"/>
                      </a:cubicBezTo>
                      <a:cubicBezTo>
                        <a:pt x="12997" y="-580"/>
                        <a:pt x="17603" y="3008"/>
                        <a:pt x="18261" y="8032"/>
                      </a:cubicBezTo>
                      <a:cubicBezTo>
                        <a:pt x="18918" y="13056"/>
                        <a:pt x="15390" y="17721"/>
                        <a:pt x="10366" y="18319"/>
                      </a:cubicBezTo>
                      <a:cubicBezTo>
                        <a:pt x="5342" y="18977"/>
                        <a:pt x="737" y="15448"/>
                        <a:pt x="79" y="10364"/>
                      </a:cubicBezTo>
                      <a:close/>
                    </a:path>
                  </a:pathLst>
                </a:custGeom>
                <a:grpFill/>
                <a:ln w="5978" cap="flat">
                  <a:noFill/>
                  <a:prstDash val="solid"/>
                  <a:miter/>
                </a:ln>
              </p:spPr>
              <p:txBody>
                <a:bodyPr rtlCol="0" anchor="ctr"/>
                <a:lstStyle/>
                <a:p>
                  <a:endParaRPr lang="en-GB"/>
                </a:p>
              </p:txBody>
            </p:sp>
            <p:sp>
              <p:nvSpPr>
                <p:cNvPr id="3102" name="Vrije vorm: vorm 3101">
                  <a:extLst>
                    <a:ext uri="{FF2B5EF4-FFF2-40B4-BE49-F238E27FC236}">
                      <a16:creationId xmlns:a16="http://schemas.microsoft.com/office/drawing/2014/main" id="{06F5CBE9-5BDF-4E8A-8FE9-78C43E8EA6B5}"/>
                    </a:ext>
                  </a:extLst>
                </p:cNvPr>
                <p:cNvSpPr/>
                <p:nvPr/>
              </p:nvSpPr>
              <p:spPr>
                <a:xfrm>
                  <a:off x="6306373" y="5392719"/>
                  <a:ext cx="18339" cy="18396"/>
                </a:xfrm>
                <a:custGeom>
                  <a:avLst/>
                  <a:gdLst>
                    <a:gd name="connsiteX0" fmla="*/ 79 w 18339"/>
                    <a:gd name="connsiteY0" fmla="*/ 10365 h 18396"/>
                    <a:gd name="connsiteX1" fmla="*/ 10366 w 18339"/>
                    <a:gd name="connsiteY1" fmla="*/ 18319 h 18396"/>
                    <a:gd name="connsiteX2" fmla="*/ 18260 w 18339"/>
                    <a:gd name="connsiteY2" fmla="*/ 8032 h 18396"/>
                    <a:gd name="connsiteX3" fmla="*/ 7973 w 18339"/>
                    <a:gd name="connsiteY3" fmla="*/ 78 h 18396"/>
                    <a:gd name="connsiteX4" fmla="*/ 79 w 18339"/>
                    <a:gd name="connsiteY4" fmla="*/ 10365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6">
                      <a:moveTo>
                        <a:pt x="79" y="10365"/>
                      </a:moveTo>
                      <a:cubicBezTo>
                        <a:pt x="737" y="15388"/>
                        <a:pt x="5342" y="18977"/>
                        <a:pt x="10366" y="18319"/>
                      </a:cubicBezTo>
                      <a:cubicBezTo>
                        <a:pt x="15390" y="17661"/>
                        <a:pt x="18918" y="13056"/>
                        <a:pt x="18260" y="8032"/>
                      </a:cubicBezTo>
                      <a:cubicBezTo>
                        <a:pt x="17602" y="3008"/>
                        <a:pt x="12997" y="-580"/>
                        <a:pt x="7973" y="78"/>
                      </a:cubicBezTo>
                      <a:cubicBezTo>
                        <a:pt x="2950" y="676"/>
                        <a:pt x="-579" y="5281"/>
                        <a:pt x="79" y="10365"/>
                      </a:cubicBezTo>
                      <a:close/>
                    </a:path>
                  </a:pathLst>
                </a:custGeom>
                <a:grpFill/>
                <a:ln w="5978" cap="flat">
                  <a:noFill/>
                  <a:prstDash val="solid"/>
                  <a:miter/>
                </a:ln>
              </p:spPr>
              <p:txBody>
                <a:bodyPr rtlCol="0" anchor="ctr"/>
                <a:lstStyle/>
                <a:p>
                  <a:endParaRPr lang="en-GB"/>
                </a:p>
              </p:txBody>
            </p:sp>
          </p:grpSp>
          <p:grpSp>
            <p:nvGrpSpPr>
              <p:cNvPr id="765" name="Graphic 3">
                <a:extLst>
                  <a:ext uri="{FF2B5EF4-FFF2-40B4-BE49-F238E27FC236}">
                    <a16:creationId xmlns:a16="http://schemas.microsoft.com/office/drawing/2014/main" id="{1994EEAD-4410-40CC-83DB-BAC4A1A05733}"/>
                  </a:ext>
                </a:extLst>
              </p:cNvPr>
              <p:cNvGrpSpPr/>
              <p:nvPr/>
            </p:nvGrpSpPr>
            <p:grpSpPr>
              <a:xfrm>
                <a:off x="5127195" y="1900097"/>
                <a:ext cx="44837" cy="61938"/>
                <a:chOff x="5127195" y="1900097"/>
                <a:chExt cx="44837" cy="61938"/>
              </a:xfrm>
              <a:grpFill/>
            </p:grpSpPr>
            <p:sp>
              <p:nvSpPr>
                <p:cNvPr id="3097" name="Vrije vorm: vorm 3096">
                  <a:extLst>
                    <a:ext uri="{FF2B5EF4-FFF2-40B4-BE49-F238E27FC236}">
                      <a16:creationId xmlns:a16="http://schemas.microsoft.com/office/drawing/2014/main" id="{06B5E72D-6B4D-40C1-9422-6A6E4CF64648}"/>
                    </a:ext>
                  </a:extLst>
                </p:cNvPr>
                <p:cNvSpPr/>
                <p:nvPr/>
              </p:nvSpPr>
              <p:spPr>
                <a:xfrm>
                  <a:off x="5134828" y="1908129"/>
                  <a:ext cx="29544" cy="45812"/>
                </a:xfrm>
                <a:custGeom>
                  <a:avLst/>
                  <a:gdLst>
                    <a:gd name="connsiteX0" fmla="*/ 29545 w 29544"/>
                    <a:gd name="connsiteY0" fmla="*/ 44257 h 45812"/>
                    <a:gd name="connsiteX1" fmla="*/ 26973 w 29544"/>
                    <a:gd name="connsiteY1" fmla="*/ 45812 h 45812"/>
                    <a:gd name="connsiteX2" fmla="*/ 0 w 29544"/>
                    <a:gd name="connsiteY2" fmla="*/ 1615 h 45812"/>
                    <a:gd name="connsiteX3" fmla="*/ 2632 w 29544"/>
                    <a:gd name="connsiteY3" fmla="*/ 0 h 45812"/>
                  </a:gdLst>
                  <a:ahLst/>
                  <a:cxnLst>
                    <a:cxn ang="0">
                      <a:pos x="connsiteX0" y="connsiteY0"/>
                    </a:cxn>
                    <a:cxn ang="0">
                      <a:pos x="connsiteX1" y="connsiteY1"/>
                    </a:cxn>
                    <a:cxn ang="0">
                      <a:pos x="connsiteX2" y="connsiteY2"/>
                    </a:cxn>
                    <a:cxn ang="0">
                      <a:pos x="connsiteX3" y="connsiteY3"/>
                    </a:cxn>
                  </a:cxnLst>
                  <a:rect l="l" t="t" r="r" b="b"/>
                  <a:pathLst>
                    <a:path w="29544" h="45812">
                      <a:moveTo>
                        <a:pt x="29545" y="44257"/>
                      </a:moveTo>
                      <a:lnTo>
                        <a:pt x="26973" y="45812"/>
                      </a:lnTo>
                      <a:lnTo>
                        <a:pt x="0" y="1615"/>
                      </a:lnTo>
                      <a:lnTo>
                        <a:pt x="2632" y="0"/>
                      </a:lnTo>
                      <a:close/>
                    </a:path>
                  </a:pathLst>
                </a:custGeom>
                <a:grpFill/>
                <a:ln w="5978" cap="flat">
                  <a:noFill/>
                  <a:prstDash val="solid"/>
                  <a:miter/>
                </a:ln>
              </p:spPr>
              <p:txBody>
                <a:bodyPr rtlCol="0" anchor="ctr"/>
                <a:lstStyle/>
                <a:p>
                  <a:endParaRPr lang="en-GB"/>
                </a:p>
              </p:txBody>
            </p:sp>
            <p:sp>
              <p:nvSpPr>
                <p:cNvPr id="3098" name="Vrije vorm: vorm 3097">
                  <a:extLst>
                    <a:ext uri="{FF2B5EF4-FFF2-40B4-BE49-F238E27FC236}">
                      <a16:creationId xmlns:a16="http://schemas.microsoft.com/office/drawing/2014/main" id="{FC630B3C-0E6A-410C-ABFE-F424477868E5}"/>
                    </a:ext>
                  </a:extLst>
                </p:cNvPr>
                <p:cNvSpPr/>
                <p:nvPr/>
              </p:nvSpPr>
              <p:spPr>
                <a:xfrm>
                  <a:off x="5127195" y="1900097"/>
                  <a:ext cx="18316" cy="18458"/>
                </a:xfrm>
                <a:custGeom>
                  <a:avLst/>
                  <a:gdLst>
                    <a:gd name="connsiteX0" fmla="*/ 1354 w 18316"/>
                    <a:gd name="connsiteY0" fmla="*/ 14014 h 18458"/>
                    <a:gd name="connsiteX1" fmla="*/ 4344 w 18316"/>
                    <a:gd name="connsiteY1" fmla="*/ 1335 h 18458"/>
                    <a:gd name="connsiteX2" fmla="*/ 16963 w 18316"/>
                    <a:gd name="connsiteY2" fmla="*/ 4445 h 18458"/>
                    <a:gd name="connsiteX3" fmla="*/ 13973 w 18316"/>
                    <a:gd name="connsiteY3" fmla="*/ 17124 h 18458"/>
                    <a:gd name="connsiteX4" fmla="*/ 1354 w 18316"/>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8">
                      <a:moveTo>
                        <a:pt x="1354" y="14014"/>
                      </a:moveTo>
                      <a:cubicBezTo>
                        <a:pt x="-1278" y="9648"/>
                        <a:pt x="38" y="4026"/>
                        <a:pt x="4344" y="1335"/>
                      </a:cubicBezTo>
                      <a:cubicBezTo>
                        <a:pt x="8650" y="-1297"/>
                        <a:pt x="14272" y="79"/>
                        <a:pt x="16963" y="4445"/>
                      </a:cubicBezTo>
                      <a:cubicBezTo>
                        <a:pt x="19595" y="8810"/>
                        <a:pt x="18279" y="14432"/>
                        <a:pt x="13973" y="17124"/>
                      </a:cubicBezTo>
                      <a:cubicBezTo>
                        <a:pt x="9667" y="19755"/>
                        <a:pt x="4045" y="18380"/>
                        <a:pt x="1354" y="14014"/>
                      </a:cubicBezTo>
                      <a:close/>
                    </a:path>
                  </a:pathLst>
                </a:custGeom>
                <a:grpFill/>
                <a:ln w="5978" cap="flat">
                  <a:noFill/>
                  <a:prstDash val="solid"/>
                  <a:miter/>
                </a:ln>
              </p:spPr>
              <p:txBody>
                <a:bodyPr rtlCol="0" anchor="ctr"/>
                <a:lstStyle/>
                <a:p>
                  <a:endParaRPr lang="en-GB"/>
                </a:p>
              </p:txBody>
            </p:sp>
            <p:sp>
              <p:nvSpPr>
                <p:cNvPr id="3099" name="Vrije vorm: vorm 3098">
                  <a:extLst>
                    <a:ext uri="{FF2B5EF4-FFF2-40B4-BE49-F238E27FC236}">
                      <a16:creationId xmlns:a16="http://schemas.microsoft.com/office/drawing/2014/main" id="{26463C17-275F-4A1F-90BF-29CAF87A7714}"/>
                    </a:ext>
                  </a:extLst>
                </p:cNvPr>
                <p:cNvSpPr/>
                <p:nvPr/>
              </p:nvSpPr>
              <p:spPr>
                <a:xfrm>
                  <a:off x="5153689" y="1943576"/>
                  <a:ext cx="18343" cy="18458"/>
                </a:xfrm>
                <a:custGeom>
                  <a:avLst/>
                  <a:gdLst>
                    <a:gd name="connsiteX0" fmla="*/ 1354 w 18343"/>
                    <a:gd name="connsiteY0" fmla="*/ 14014 h 18458"/>
                    <a:gd name="connsiteX1" fmla="*/ 13973 w 18343"/>
                    <a:gd name="connsiteY1" fmla="*/ 17124 h 18458"/>
                    <a:gd name="connsiteX2" fmla="*/ 16963 w 18343"/>
                    <a:gd name="connsiteY2" fmla="*/ 4445 h 18458"/>
                    <a:gd name="connsiteX3" fmla="*/ 4344 w 18343"/>
                    <a:gd name="connsiteY3" fmla="*/ 1335 h 18458"/>
                    <a:gd name="connsiteX4" fmla="*/ 1354 w 18343"/>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354" y="14014"/>
                      </a:moveTo>
                      <a:cubicBezTo>
                        <a:pt x="3985" y="18380"/>
                        <a:pt x="9667" y="19755"/>
                        <a:pt x="13973" y="17124"/>
                      </a:cubicBezTo>
                      <a:cubicBezTo>
                        <a:pt x="18279" y="14492"/>
                        <a:pt x="19655" y="8810"/>
                        <a:pt x="16963" y="4445"/>
                      </a:cubicBezTo>
                      <a:cubicBezTo>
                        <a:pt x="14332" y="79"/>
                        <a:pt x="8650" y="-1297"/>
                        <a:pt x="4344" y="1335"/>
                      </a:cubicBezTo>
                      <a:cubicBezTo>
                        <a:pt x="38" y="3966"/>
                        <a:pt x="-1278" y="9648"/>
                        <a:pt x="1354" y="14014"/>
                      </a:cubicBezTo>
                      <a:close/>
                    </a:path>
                  </a:pathLst>
                </a:custGeom>
                <a:grpFill/>
                <a:ln w="5978" cap="flat">
                  <a:noFill/>
                  <a:prstDash val="solid"/>
                  <a:miter/>
                </a:ln>
              </p:spPr>
              <p:txBody>
                <a:bodyPr rtlCol="0" anchor="ctr"/>
                <a:lstStyle/>
                <a:p>
                  <a:endParaRPr lang="en-GB"/>
                </a:p>
              </p:txBody>
            </p:sp>
          </p:grpSp>
          <p:grpSp>
            <p:nvGrpSpPr>
              <p:cNvPr id="766" name="Graphic 3">
                <a:extLst>
                  <a:ext uri="{FF2B5EF4-FFF2-40B4-BE49-F238E27FC236}">
                    <a16:creationId xmlns:a16="http://schemas.microsoft.com/office/drawing/2014/main" id="{173A8BCD-6CAA-4F4A-A4B7-66E2D0F4F90C}"/>
                  </a:ext>
                </a:extLst>
              </p:cNvPr>
              <p:cNvGrpSpPr/>
              <p:nvPr/>
            </p:nvGrpSpPr>
            <p:grpSpPr>
              <a:xfrm>
                <a:off x="6263743" y="5074198"/>
                <a:ext cx="35477" cy="436544"/>
                <a:chOff x="6263743" y="5074198"/>
                <a:chExt cx="35477" cy="436544"/>
              </a:xfrm>
              <a:grpFill/>
            </p:grpSpPr>
            <p:sp>
              <p:nvSpPr>
                <p:cNvPr id="3094" name="Vrije vorm: vorm 3093">
                  <a:extLst>
                    <a:ext uri="{FF2B5EF4-FFF2-40B4-BE49-F238E27FC236}">
                      <a16:creationId xmlns:a16="http://schemas.microsoft.com/office/drawing/2014/main" id="{9166FA2A-53B4-4D14-B006-0965B03B2676}"/>
                    </a:ext>
                  </a:extLst>
                </p:cNvPr>
                <p:cNvSpPr/>
                <p:nvPr/>
              </p:nvSpPr>
              <p:spPr>
                <a:xfrm>
                  <a:off x="6271345" y="5082935"/>
                  <a:ext cx="20214" cy="419129"/>
                </a:xfrm>
                <a:custGeom>
                  <a:avLst/>
                  <a:gdLst>
                    <a:gd name="connsiteX0" fmla="*/ 3050 w 20214"/>
                    <a:gd name="connsiteY0" fmla="*/ 0 h 419129"/>
                    <a:gd name="connsiteX1" fmla="*/ 20215 w 20214"/>
                    <a:gd name="connsiteY1" fmla="*/ 419009 h 419129"/>
                    <a:gd name="connsiteX2" fmla="*/ 17225 w 20214"/>
                    <a:gd name="connsiteY2" fmla="*/ 419129 h 419129"/>
                    <a:gd name="connsiteX3" fmla="*/ 0 w 20214"/>
                    <a:gd name="connsiteY3" fmla="*/ 120 h 419129"/>
                  </a:gdLst>
                  <a:ahLst/>
                  <a:cxnLst>
                    <a:cxn ang="0">
                      <a:pos x="connsiteX0" y="connsiteY0"/>
                    </a:cxn>
                    <a:cxn ang="0">
                      <a:pos x="connsiteX1" y="connsiteY1"/>
                    </a:cxn>
                    <a:cxn ang="0">
                      <a:pos x="connsiteX2" y="connsiteY2"/>
                    </a:cxn>
                    <a:cxn ang="0">
                      <a:pos x="connsiteX3" y="connsiteY3"/>
                    </a:cxn>
                  </a:cxnLst>
                  <a:rect l="l" t="t" r="r" b="b"/>
                  <a:pathLst>
                    <a:path w="20214" h="419129">
                      <a:moveTo>
                        <a:pt x="3050" y="0"/>
                      </a:moveTo>
                      <a:lnTo>
                        <a:pt x="20215" y="419009"/>
                      </a:lnTo>
                      <a:lnTo>
                        <a:pt x="17225" y="419129"/>
                      </a:lnTo>
                      <a:lnTo>
                        <a:pt x="0" y="120"/>
                      </a:lnTo>
                      <a:close/>
                    </a:path>
                  </a:pathLst>
                </a:custGeom>
                <a:grpFill/>
                <a:ln w="5978" cap="flat">
                  <a:noFill/>
                  <a:prstDash val="solid"/>
                  <a:miter/>
                </a:ln>
              </p:spPr>
              <p:txBody>
                <a:bodyPr rtlCol="0" anchor="ctr"/>
                <a:lstStyle/>
                <a:p>
                  <a:endParaRPr lang="en-GB"/>
                </a:p>
              </p:txBody>
            </p:sp>
            <p:sp>
              <p:nvSpPr>
                <p:cNvPr id="3095" name="Vrije vorm: vorm 3094">
                  <a:extLst>
                    <a:ext uri="{FF2B5EF4-FFF2-40B4-BE49-F238E27FC236}">
                      <a16:creationId xmlns:a16="http://schemas.microsoft.com/office/drawing/2014/main" id="{75FECFA1-E806-4F50-855A-C2A1405878B4}"/>
                    </a:ext>
                  </a:extLst>
                </p:cNvPr>
                <p:cNvSpPr/>
                <p:nvPr/>
              </p:nvSpPr>
              <p:spPr>
                <a:xfrm>
                  <a:off x="6263743" y="5074198"/>
                  <a:ext cx="18312" cy="18436"/>
                </a:xfrm>
                <a:custGeom>
                  <a:avLst/>
                  <a:gdLst>
                    <a:gd name="connsiteX0" fmla="*/ 6 w 18312"/>
                    <a:gd name="connsiteY0" fmla="*/ 9575 h 18436"/>
                    <a:gd name="connsiteX1" fmla="*/ 8798 w 18312"/>
                    <a:gd name="connsiteY1" fmla="*/ 6 h 18436"/>
                    <a:gd name="connsiteX2" fmla="*/ 18307 w 18312"/>
                    <a:gd name="connsiteY2" fmla="*/ 8857 h 18436"/>
                    <a:gd name="connsiteX3" fmla="*/ 9515 w 18312"/>
                    <a:gd name="connsiteY3" fmla="*/ 18426 h 18436"/>
                    <a:gd name="connsiteX4" fmla="*/ 6 w 18312"/>
                    <a:gd name="connsiteY4" fmla="*/ 9575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6">
                      <a:moveTo>
                        <a:pt x="6" y="9575"/>
                      </a:moveTo>
                      <a:cubicBezTo>
                        <a:pt x="-173" y="4491"/>
                        <a:pt x="3714" y="185"/>
                        <a:pt x="8798" y="6"/>
                      </a:cubicBezTo>
                      <a:cubicBezTo>
                        <a:pt x="13881" y="-174"/>
                        <a:pt x="18128" y="3773"/>
                        <a:pt x="18307" y="8857"/>
                      </a:cubicBezTo>
                      <a:cubicBezTo>
                        <a:pt x="18487" y="13941"/>
                        <a:pt x="14599" y="18187"/>
                        <a:pt x="9515" y="18426"/>
                      </a:cubicBezTo>
                      <a:cubicBezTo>
                        <a:pt x="4491" y="18666"/>
                        <a:pt x="245" y="14658"/>
                        <a:pt x="6" y="9575"/>
                      </a:cubicBezTo>
                      <a:close/>
                    </a:path>
                  </a:pathLst>
                </a:custGeom>
                <a:grpFill/>
                <a:ln w="5978" cap="flat">
                  <a:noFill/>
                  <a:prstDash val="solid"/>
                  <a:miter/>
                </a:ln>
              </p:spPr>
              <p:txBody>
                <a:bodyPr rtlCol="0" anchor="ctr"/>
                <a:lstStyle/>
                <a:p>
                  <a:endParaRPr lang="en-GB"/>
                </a:p>
              </p:txBody>
            </p:sp>
            <p:sp>
              <p:nvSpPr>
                <p:cNvPr id="3096" name="Vrije vorm: vorm 3095">
                  <a:extLst>
                    <a:ext uri="{FF2B5EF4-FFF2-40B4-BE49-F238E27FC236}">
                      <a16:creationId xmlns:a16="http://schemas.microsoft.com/office/drawing/2014/main" id="{D86B71B0-9507-477A-BB6F-EA43FE7D5D9B}"/>
                    </a:ext>
                  </a:extLst>
                </p:cNvPr>
                <p:cNvSpPr/>
                <p:nvPr/>
              </p:nvSpPr>
              <p:spPr>
                <a:xfrm>
                  <a:off x="6280904" y="5492310"/>
                  <a:ext cx="18317" cy="18432"/>
                </a:xfrm>
                <a:custGeom>
                  <a:avLst/>
                  <a:gdLst>
                    <a:gd name="connsiteX0" fmla="*/ 10 w 18317"/>
                    <a:gd name="connsiteY0" fmla="*/ 9575 h 18432"/>
                    <a:gd name="connsiteX1" fmla="*/ 9520 w 18317"/>
                    <a:gd name="connsiteY1" fmla="*/ 18427 h 18432"/>
                    <a:gd name="connsiteX2" fmla="*/ 18311 w 18317"/>
                    <a:gd name="connsiteY2" fmla="*/ 8857 h 18432"/>
                    <a:gd name="connsiteX3" fmla="*/ 8802 w 18317"/>
                    <a:gd name="connsiteY3" fmla="*/ 6 h 18432"/>
                    <a:gd name="connsiteX4" fmla="*/ 10 w 18317"/>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32">
                      <a:moveTo>
                        <a:pt x="10" y="9575"/>
                      </a:moveTo>
                      <a:cubicBezTo>
                        <a:pt x="250" y="14659"/>
                        <a:pt x="4496" y="18606"/>
                        <a:pt x="9520" y="18427"/>
                      </a:cubicBezTo>
                      <a:cubicBezTo>
                        <a:pt x="14603" y="18247"/>
                        <a:pt x="18491" y="13941"/>
                        <a:pt x="18311" y="8857"/>
                      </a:cubicBezTo>
                      <a:cubicBezTo>
                        <a:pt x="18132" y="3774"/>
                        <a:pt x="13826" y="-174"/>
                        <a:pt x="8802" y="6"/>
                      </a:cubicBezTo>
                      <a:cubicBezTo>
                        <a:pt x="3718" y="245"/>
                        <a:pt x="-229" y="4491"/>
                        <a:pt x="10" y="9575"/>
                      </a:cubicBezTo>
                      <a:close/>
                    </a:path>
                  </a:pathLst>
                </a:custGeom>
                <a:grpFill/>
                <a:ln w="5978" cap="flat">
                  <a:noFill/>
                  <a:prstDash val="solid"/>
                  <a:miter/>
                </a:ln>
              </p:spPr>
              <p:txBody>
                <a:bodyPr rtlCol="0" anchor="ctr"/>
                <a:lstStyle/>
                <a:p>
                  <a:endParaRPr lang="en-GB"/>
                </a:p>
              </p:txBody>
            </p:sp>
          </p:grpSp>
          <p:grpSp>
            <p:nvGrpSpPr>
              <p:cNvPr id="767" name="Graphic 3">
                <a:extLst>
                  <a:ext uri="{FF2B5EF4-FFF2-40B4-BE49-F238E27FC236}">
                    <a16:creationId xmlns:a16="http://schemas.microsoft.com/office/drawing/2014/main" id="{8674F6C8-8BCC-41BE-A3F4-B7CF1502161A}"/>
                  </a:ext>
                </a:extLst>
              </p:cNvPr>
              <p:cNvGrpSpPr/>
              <p:nvPr/>
            </p:nvGrpSpPr>
            <p:grpSpPr>
              <a:xfrm>
                <a:off x="6304279" y="5376810"/>
                <a:ext cx="38793" cy="174613"/>
                <a:chOff x="6304279" y="5376810"/>
                <a:chExt cx="38793" cy="174613"/>
              </a:xfrm>
              <a:grpFill/>
            </p:grpSpPr>
            <p:sp>
              <p:nvSpPr>
                <p:cNvPr id="3091" name="Vrije vorm: vorm 3090">
                  <a:extLst>
                    <a:ext uri="{FF2B5EF4-FFF2-40B4-BE49-F238E27FC236}">
                      <a16:creationId xmlns:a16="http://schemas.microsoft.com/office/drawing/2014/main" id="{5679CDB2-5ABC-496E-A1CD-9C24246C4EBF}"/>
                    </a:ext>
                  </a:extLst>
                </p:cNvPr>
                <p:cNvSpPr/>
                <p:nvPr/>
              </p:nvSpPr>
              <p:spPr>
                <a:xfrm>
                  <a:off x="6311894" y="5385381"/>
                  <a:ext cx="23623" cy="157532"/>
                </a:xfrm>
                <a:custGeom>
                  <a:avLst/>
                  <a:gdLst>
                    <a:gd name="connsiteX0" fmla="*/ 2990 w 23623"/>
                    <a:gd name="connsiteY0" fmla="*/ 0 h 157532"/>
                    <a:gd name="connsiteX1" fmla="*/ 23624 w 23623"/>
                    <a:gd name="connsiteY1" fmla="*/ 157114 h 157532"/>
                    <a:gd name="connsiteX2" fmla="*/ 20574 w 23623"/>
                    <a:gd name="connsiteY2" fmla="*/ 157532 h 157532"/>
                    <a:gd name="connsiteX3" fmla="*/ 0 w 23623"/>
                    <a:gd name="connsiteY3" fmla="*/ 359 h 157532"/>
                  </a:gdLst>
                  <a:ahLst/>
                  <a:cxnLst>
                    <a:cxn ang="0">
                      <a:pos x="connsiteX0" y="connsiteY0"/>
                    </a:cxn>
                    <a:cxn ang="0">
                      <a:pos x="connsiteX1" y="connsiteY1"/>
                    </a:cxn>
                    <a:cxn ang="0">
                      <a:pos x="connsiteX2" y="connsiteY2"/>
                    </a:cxn>
                    <a:cxn ang="0">
                      <a:pos x="connsiteX3" y="connsiteY3"/>
                    </a:cxn>
                  </a:cxnLst>
                  <a:rect l="l" t="t" r="r" b="b"/>
                  <a:pathLst>
                    <a:path w="23623" h="157532">
                      <a:moveTo>
                        <a:pt x="2990" y="0"/>
                      </a:moveTo>
                      <a:lnTo>
                        <a:pt x="23624" y="157114"/>
                      </a:lnTo>
                      <a:lnTo>
                        <a:pt x="20574" y="157532"/>
                      </a:lnTo>
                      <a:lnTo>
                        <a:pt x="0" y="359"/>
                      </a:lnTo>
                      <a:close/>
                    </a:path>
                  </a:pathLst>
                </a:custGeom>
                <a:grpFill/>
                <a:ln w="5978" cap="flat">
                  <a:noFill/>
                  <a:prstDash val="solid"/>
                  <a:miter/>
                </a:ln>
              </p:spPr>
              <p:txBody>
                <a:bodyPr rtlCol="0" anchor="ctr"/>
                <a:lstStyle/>
                <a:p>
                  <a:endParaRPr lang="en-GB"/>
                </a:p>
              </p:txBody>
            </p:sp>
            <p:sp>
              <p:nvSpPr>
                <p:cNvPr id="3092" name="Vrije vorm: vorm 3091">
                  <a:extLst>
                    <a:ext uri="{FF2B5EF4-FFF2-40B4-BE49-F238E27FC236}">
                      <a16:creationId xmlns:a16="http://schemas.microsoft.com/office/drawing/2014/main" id="{CE631851-DBDF-47B0-B70D-1EF509811406}"/>
                    </a:ext>
                  </a:extLst>
                </p:cNvPr>
                <p:cNvSpPr/>
                <p:nvPr/>
              </p:nvSpPr>
              <p:spPr>
                <a:xfrm>
                  <a:off x="6324734" y="5533027"/>
                  <a:ext cx="18339" cy="18396"/>
                </a:xfrm>
                <a:custGeom>
                  <a:avLst/>
                  <a:gdLst>
                    <a:gd name="connsiteX0" fmla="*/ 18260 w 18339"/>
                    <a:gd name="connsiteY0" fmla="*/ 8032 h 18396"/>
                    <a:gd name="connsiteX1" fmla="*/ 10366 w 18339"/>
                    <a:gd name="connsiteY1" fmla="*/ 18319 h 18396"/>
                    <a:gd name="connsiteX2" fmla="*/ 79 w 18339"/>
                    <a:gd name="connsiteY2" fmla="*/ 10364 h 18396"/>
                    <a:gd name="connsiteX3" fmla="*/ 7974 w 18339"/>
                    <a:gd name="connsiteY3" fmla="*/ 78 h 18396"/>
                    <a:gd name="connsiteX4" fmla="*/ 18260 w 18339"/>
                    <a:gd name="connsiteY4" fmla="*/ 803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6">
                      <a:moveTo>
                        <a:pt x="18260" y="8032"/>
                      </a:moveTo>
                      <a:cubicBezTo>
                        <a:pt x="18918" y="13056"/>
                        <a:pt x="15390" y="17721"/>
                        <a:pt x="10366" y="18319"/>
                      </a:cubicBezTo>
                      <a:cubicBezTo>
                        <a:pt x="5342" y="18977"/>
                        <a:pt x="737" y="15388"/>
                        <a:pt x="79" y="10364"/>
                      </a:cubicBezTo>
                      <a:cubicBezTo>
                        <a:pt x="-579" y="5341"/>
                        <a:pt x="2950" y="676"/>
                        <a:pt x="7974" y="78"/>
                      </a:cubicBezTo>
                      <a:cubicBezTo>
                        <a:pt x="12997" y="-580"/>
                        <a:pt x="17602" y="3008"/>
                        <a:pt x="18260" y="8032"/>
                      </a:cubicBezTo>
                      <a:close/>
                    </a:path>
                  </a:pathLst>
                </a:custGeom>
                <a:grpFill/>
                <a:ln w="5978" cap="flat">
                  <a:noFill/>
                  <a:prstDash val="solid"/>
                  <a:miter/>
                </a:ln>
              </p:spPr>
              <p:txBody>
                <a:bodyPr rtlCol="0" anchor="ctr"/>
                <a:lstStyle/>
                <a:p>
                  <a:endParaRPr lang="en-GB"/>
                </a:p>
              </p:txBody>
            </p:sp>
            <p:sp>
              <p:nvSpPr>
                <p:cNvPr id="3093" name="Vrije vorm: vorm 3092">
                  <a:extLst>
                    <a:ext uri="{FF2B5EF4-FFF2-40B4-BE49-F238E27FC236}">
                      <a16:creationId xmlns:a16="http://schemas.microsoft.com/office/drawing/2014/main" id="{B2450D74-B8A4-4562-A1DE-1A8C3713D89A}"/>
                    </a:ext>
                  </a:extLst>
                </p:cNvPr>
                <p:cNvSpPr/>
                <p:nvPr/>
              </p:nvSpPr>
              <p:spPr>
                <a:xfrm>
                  <a:off x="6304279" y="5376810"/>
                  <a:ext cx="18339" cy="18396"/>
                </a:xfrm>
                <a:custGeom>
                  <a:avLst/>
                  <a:gdLst>
                    <a:gd name="connsiteX0" fmla="*/ 18261 w 18339"/>
                    <a:gd name="connsiteY0" fmla="*/ 8032 h 18396"/>
                    <a:gd name="connsiteX1" fmla="*/ 7973 w 18339"/>
                    <a:gd name="connsiteY1" fmla="*/ 78 h 18396"/>
                    <a:gd name="connsiteX2" fmla="*/ 79 w 18339"/>
                    <a:gd name="connsiteY2" fmla="*/ 10364 h 18396"/>
                    <a:gd name="connsiteX3" fmla="*/ 10366 w 18339"/>
                    <a:gd name="connsiteY3" fmla="*/ 18319 h 18396"/>
                    <a:gd name="connsiteX4" fmla="*/ 18261 w 18339"/>
                    <a:gd name="connsiteY4" fmla="*/ 803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6">
                      <a:moveTo>
                        <a:pt x="18261" y="8032"/>
                      </a:moveTo>
                      <a:cubicBezTo>
                        <a:pt x="17603" y="3008"/>
                        <a:pt x="12997" y="-580"/>
                        <a:pt x="7973" y="78"/>
                      </a:cubicBezTo>
                      <a:cubicBezTo>
                        <a:pt x="2950" y="736"/>
                        <a:pt x="-579" y="5341"/>
                        <a:pt x="79" y="10364"/>
                      </a:cubicBezTo>
                      <a:cubicBezTo>
                        <a:pt x="737" y="15388"/>
                        <a:pt x="5342" y="18977"/>
                        <a:pt x="10366" y="18319"/>
                      </a:cubicBezTo>
                      <a:cubicBezTo>
                        <a:pt x="15390" y="17721"/>
                        <a:pt x="18918" y="13116"/>
                        <a:pt x="18261" y="8032"/>
                      </a:cubicBezTo>
                      <a:close/>
                    </a:path>
                  </a:pathLst>
                </a:custGeom>
                <a:grpFill/>
                <a:ln w="5978" cap="flat">
                  <a:noFill/>
                  <a:prstDash val="solid"/>
                  <a:miter/>
                </a:ln>
              </p:spPr>
              <p:txBody>
                <a:bodyPr rtlCol="0" anchor="ctr"/>
                <a:lstStyle/>
                <a:p>
                  <a:endParaRPr lang="en-GB"/>
                </a:p>
              </p:txBody>
            </p:sp>
          </p:grpSp>
          <p:grpSp>
            <p:nvGrpSpPr>
              <p:cNvPr id="768" name="Graphic 3">
                <a:extLst>
                  <a:ext uri="{FF2B5EF4-FFF2-40B4-BE49-F238E27FC236}">
                    <a16:creationId xmlns:a16="http://schemas.microsoft.com/office/drawing/2014/main" id="{B04223E6-1269-4DEA-8376-A9FB64631BF5}"/>
                  </a:ext>
                </a:extLst>
              </p:cNvPr>
              <p:cNvGrpSpPr/>
              <p:nvPr/>
            </p:nvGrpSpPr>
            <p:grpSpPr>
              <a:xfrm>
                <a:off x="6203841" y="5093190"/>
                <a:ext cx="28192" cy="124232"/>
                <a:chOff x="6203841" y="5093190"/>
                <a:chExt cx="28192" cy="124232"/>
              </a:xfrm>
              <a:grpFill/>
            </p:grpSpPr>
            <p:sp>
              <p:nvSpPr>
                <p:cNvPr id="3088" name="Vrije vorm: vorm 3087">
                  <a:extLst>
                    <a:ext uri="{FF2B5EF4-FFF2-40B4-BE49-F238E27FC236}">
                      <a16:creationId xmlns:a16="http://schemas.microsoft.com/office/drawing/2014/main" id="{7E2D5695-6E21-4AAC-9C88-3D396FF29657}"/>
                    </a:ext>
                  </a:extLst>
                </p:cNvPr>
                <p:cNvSpPr/>
                <p:nvPr/>
              </p:nvSpPr>
              <p:spPr>
                <a:xfrm>
                  <a:off x="6211418" y="5101835"/>
                  <a:ext cx="13037" cy="106994"/>
                </a:xfrm>
                <a:custGeom>
                  <a:avLst/>
                  <a:gdLst>
                    <a:gd name="connsiteX0" fmla="*/ 3050 w 13037"/>
                    <a:gd name="connsiteY0" fmla="*/ 0 h 106994"/>
                    <a:gd name="connsiteX1" fmla="*/ 13038 w 13037"/>
                    <a:gd name="connsiteY1" fmla="*/ 106696 h 106994"/>
                    <a:gd name="connsiteX2" fmla="*/ 9988 w 13037"/>
                    <a:gd name="connsiteY2" fmla="*/ 106995 h 106994"/>
                    <a:gd name="connsiteX3" fmla="*/ 0 w 13037"/>
                    <a:gd name="connsiteY3" fmla="*/ 239 h 106994"/>
                  </a:gdLst>
                  <a:ahLst/>
                  <a:cxnLst>
                    <a:cxn ang="0">
                      <a:pos x="connsiteX0" y="connsiteY0"/>
                    </a:cxn>
                    <a:cxn ang="0">
                      <a:pos x="connsiteX1" y="connsiteY1"/>
                    </a:cxn>
                    <a:cxn ang="0">
                      <a:pos x="connsiteX2" y="connsiteY2"/>
                    </a:cxn>
                    <a:cxn ang="0">
                      <a:pos x="connsiteX3" y="connsiteY3"/>
                    </a:cxn>
                  </a:cxnLst>
                  <a:rect l="l" t="t" r="r" b="b"/>
                  <a:pathLst>
                    <a:path w="13037" h="106994">
                      <a:moveTo>
                        <a:pt x="3050" y="0"/>
                      </a:moveTo>
                      <a:lnTo>
                        <a:pt x="13038" y="106696"/>
                      </a:lnTo>
                      <a:lnTo>
                        <a:pt x="9988" y="106995"/>
                      </a:lnTo>
                      <a:lnTo>
                        <a:pt x="0" y="239"/>
                      </a:lnTo>
                      <a:close/>
                    </a:path>
                  </a:pathLst>
                </a:custGeom>
                <a:grpFill/>
                <a:ln w="5978" cap="flat">
                  <a:noFill/>
                  <a:prstDash val="solid"/>
                  <a:miter/>
                </a:ln>
              </p:spPr>
              <p:txBody>
                <a:bodyPr rtlCol="0" anchor="ctr"/>
                <a:lstStyle/>
                <a:p>
                  <a:endParaRPr lang="en-GB"/>
                </a:p>
              </p:txBody>
            </p:sp>
            <p:sp>
              <p:nvSpPr>
                <p:cNvPr id="3089" name="Vrije vorm: vorm 3088">
                  <a:extLst>
                    <a:ext uri="{FF2B5EF4-FFF2-40B4-BE49-F238E27FC236}">
                      <a16:creationId xmlns:a16="http://schemas.microsoft.com/office/drawing/2014/main" id="{A8C00A9F-1047-412F-A1E4-2F691B807AE2}"/>
                    </a:ext>
                  </a:extLst>
                </p:cNvPr>
                <p:cNvSpPr/>
                <p:nvPr/>
              </p:nvSpPr>
              <p:spPr>
                <a:xfrm>
                  <a:off x="6213709" y="5198989"/>
                  <a:ext cx="18324" cy="18433"/>
                </a:xfrm>
                <a:custGeom>
                  <a:avLst/>
                  <a:gdLst>
                    <a:gd name="connsiteX0" fmla="*/ 18283 w 18324"/>
                    <a:gd name="connsiteY0" fmla="*/ 8405 h 18433"/>
                    <a:gd name="connsiteX1" fmla="*/ 10029 w 18324"/>
                    <a:gd name="connsiteY1" fmla="*/ 18393 h 18433"/>
                    <a:gd name="connsiteX2" fmla="*/ 42 w 18324"/>
                    <a:gd name="connsiteY2" fmla="*/ 10020 h 18433"/>
                    <a:gd name="connsiteX3" fmla="*/ 8295 w 18324"/>
                    <a:gd name="connsiteY3" fmla="*/ 32 h 18433"/>
                    <a:gd name="connsiteX4" fmla="*/ 18283 w 18324"/>
                    <a:gd name="connsiteY4" fmla="*/ 8405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3">
                      <a:moveTo>
                        <a:pt x="18283" y="8405"/>
                      </a:moveTo>
                      <a:cubicBezTo>
                        <a:pt x="18761" y="13489"/>
                        <a:pt x="15053" y="17974"/>
                        <a:pt x="10029" y="18393"/>
                      </a:cubicBezTo>
                      <a:cubicBezTo>
                        <a:pt x="5006" y="18871"/>
                        <a:pt x="520" y="15103"/>
                        <a:pt x="42" y="10020"/>
                      </a:cubicBezTo>
                      <a:cubicBezTo>
                        <a:pt x="-437" y="4936"/>
                        <a:pt x="3271" y="451"/>
                        <a:pt x="8295" y="32"/>
                      </a:cubicBezTo>
                      <a:cubicBezTo>
                        <a:pt x="13319" y="-386"/>
                        <a:pt x="17804" y="3322"/>
                        <a:pt x="18283" y="8405"/>
                      </a:cubicBezTo>
                      <a:close/>
                    </a:path>
                  </a:pathLst>
                </a:custGeom>
                <a:grpFill/>
                <a:ln w="5978" cap="flat">
                  <a:noFill/>
                  <a:prstDash val="solid"/>
                  <a:miter/>
                </a:ln>
              </p:spPr>
              <p:txBody>
                <a:bodyPr rtlCol="0" anchor="ctr"/>
                <a:lstStyle/>
                <a:p>
                  <a:endParaRPr lang="en-GB"/>
                </a:p>
              </p:txBody>
            </p:sp>
            <p:sp>
              <p:nvSpPr>
                <p:cNvPr id="3090" name="Vrije vorm: vorm 3089">
                  <a:extLst>
                    <a:ext uri="{FF2B5EF4-FFF2-40B4-BE49-F238E27FC236}">
                      <a16:creationId xmlns:a16="http://schemas.microsoft.com/office/drawing/2014/main" id="{7B993678-CAC5-4667-860F-CE5FA4564118}"/>
                    </a:ext>
                  </a:extLst>
                </p:cNvPr>
                <p:cNvSpPr/>
                <p:nvPr/>
              </p:nvSpPr>
              <p:spPr>
                <a:xfrm>
                  <a:off x="6203841" y="5093190"/>
                  <a:ext cx="18315" cy="18425"/>
                </a:xfrm>
                <a:custGeom>
                  <a:avLst/>
                  <a:gdLst>
                    <a:gd name="connsiteX0" fmla="*/ 18283 w 18315"/>
                    <a:gd name="connsiteY0" fmla="*/ 8405 h 18425"/>
                    <a:gd name="connsiteX1" fmla="*/ 8295 w 18315"/>
                    <a:gd name="connsiteY1" fmla="*/ 32 h 18425"/>
                    <a:gd name="connsiteX2" fmla="*/ 42 w 18315"/>
                    <a:gd name="connsiteY2" fmla="*/ 10020 h 18425"/>
                    <a:gd name="connsiteX3" fmla="*/ 10030 w 18315"/>
                    <a:gd name="connsiteY3" fmla="*/ 18393 h 18425"/>
                    <a:gd name="connsiteX4" fmla="*/ 18283 w 18315"/>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5">
                      <a:moveTo>
                        <a:pt x="18283" y="8405"/>
                      </a:moveTo>
                      <a:cubicBezTo>
                        <a:pt x="17804" y="3322"/>
                        <a:pt x="13319" y="-386"/>
                        <a:pt x="8295" y="32"/>
                      </a:cubicBezTo>
                      <a:cubicBezTo>
                        <a:pt x="3271" y="510"/>
                        <a:pt x="-437" y="4996"/>
                        <a:pt x="42" y="10020"/>
                      </a:cubicBezTo>
                      <a:cubicBezTo>
                        <a:pt x="520" y="15103"/>
                        <a:pt x="5006" y="18811"/>
                        <a:pt x="10030" y="18393"/>
                      </a:cubicBezTo>
                      <a:cubicBezTo>
                        <a:pt x="15053" y="17915"/>
                        <a:pt x="18701" y="13429"/>
                        <a:pt x="18283" y="8405"/>
                      </a:cubicBezTo>
                      <a:close/>
                    </a:path>
                  </a:pathLst>
                </a:custGeom>
                <a:grpFill/>
                <a:ln w="5978" cap="flat">
                  <a:noFill/>
                  <a:prstDash val="solid"/>
                  <a:miter/>
                </a:ln>
              </p:spPr>
              <p:txBody>
                <a:bodyPr rtlCol="0" anchor="ctr"/>
                <a:lstStyle/>
                <a:p>
                  <a:endParaRPr lang="en-GB"/>
                </a:p>
              </p:txBody>
            </p:sp>
          </p:grpSp>
          <p:grpSp>
            <p:nvGrpSpPr>
              <p:cNvPr id="769" name="Graphic 3">
                <a:extLst>
                  <a:ext uri="{FF2B5EF4-FFF2-40B4-BE49-F238E27FC236}">
                    <a16:creationId xmlns:a16="http://schemas.microsoft.com/office/drawing/2014/main" id="{C5C79847-5B0C-4ADE-B679-02ED1ACE2808}"/>
                  </a:ext>
                </a:extLst>
              </p:cNvPr>
              <p:cNvGrpSpPr/>
              <p:nvPr/>
            </p:nvGrpSpPr>
            <p:grpSpPr>
              <a:xfrm>
                <a:off x="5050701" y="1774561"/>
                <a:ext cx="85267" cy="128264"/>
                <a:chOff x="5050701" y="1774561"/>
                <a:chExt cx="85267" cy="128264"/>
              </a:xfrm>
              <a:grpFill/>
            </p:grpSpPr>
            <p:sp>
              <p:nvSpPr>
                <p:cNvPr id="3085" name="Vrije vorm: vorm 3084">
                  <a:extLst>
                    <a:ext uri="{FF2B5EF4-FFF2-40B4-BE49-F238E27FC236}">
                      <a16:creationId xmlns:a16="http://schemas.microsoft.com/office/drawing/2014/main" id="{89F7A8D6-D2F7-49D1-BAF3-3AD100718A9E}"/>
                    </a:ext>
                  </a:extLst>
                </p:cNvPr>
                <p:cNvSpPr/>
                <p:nvPr/>
              </p:nvSpPr>
              <p:spPr>
                <a:xfrm>
                  <a:off x="5058335" y="1782594"/>
                  <a:ext cx="69974" cy="112198"/>
                </a:xfrm>
                <a:custGeom>
                  <a:avLst/>
                  <a:gdLst>
                    <a:gd name="connsiteX0" fmla="*/ 69975 w 69974"/>
                    <a:gd name="connsiteY0" fmla="*/ 110583 h 112198"/>
                    <a:gd name="connsiteX1" fmla="*/ 67403 w 69974"/>
                    <a:gd name="connsiteY1" fmla="*/ 112198 h 112198"/>
                    <a:gd name="connsiteX2" fmla="*/ 0 w 69974"/>
                    <a:gd name="connsiteY2" fmla="*/ 1555 h 112198"/>
                    <a:gd name="connsiteX3" fmla="*/ 2572 w 69974"/>
                    <a:gd name="connsiteY3" fmla="*/ 0 h 112198"/>
                  </a:gdLst>
                  <a:ahLst/>
                  <a:cxnLst>
                    <a:cxn ang="0">
                      <a:pos x="connsiteX0" y="connsiteY0"/>
                    </a:cxn>
                    <a:cxn ang="0">
                      <a:pos x="connsiteX1" y="connsiteY1"/>
                    </a:cxn>
                    <a:cxn ang="0">
                      <a:pos x="connsiteX2" y="connsiteY2"/>
                    </a:cxn>
                    <a:cxn ang="0">
                      <a:pos x="connsiteX3" y="connsiteY3"/>
                    </a:cxn>
                  </a:cxnLst>
                  <a:rect l="l" t="t" r="r" b="b"/>
                  <a:pathLst>
                    <a:path w="69974" h="112198">
                      <a:moveTo>
                        <a:pt x="69975" y="110583"/>
                      </a:moveTo>
                      <a:lnTo>
                        <a:pt x="67403" y="112198"/>
                      </a:lnTo>
                      <a:lnTo>
                        <a:pt x="0" y="1555"/>
                      </a:lnTo>
                      <a:lnTo>
                        <a:pt x="2572" y="0"/>
                      </a:lnTo>
                      <a:close/>
                    </a:path>
                  </a:pathLst>
                </a:custGeom>
                <a:grpFill/>
                <a:ln w="5978" cap="flat">
                  <a:noFill/>
                  <a:prstDash val="solid"/>
                  <a:miter/>
                </a:ln>
              </p:spPr>
              <p:txBody>
                <a:bodyPr rtlCol="0" anchor="ctr"/>
                <a:lstStyle/>
                <a:p>
                  <a:endParaRPr lang="en-GB"/>
                </a:p>
              </p:txBody>
            </p:sp>
            <p:sp>
              <p:nvSpPr>
                <p:cNvPr id="3086" name="Vrije vorm: vorm 3085">
                  <a:extLst>
                    <a:ext uri="{FF2B5EF4-FFF2-40B4-BE49-F238E27FC236}">
                      <a16:creationId xmlns:a16="http://schemas.microsoft.com/office/drawing/2014/main" id="{5E2476A4-766C-46C7-BF71-2799E1C38B7F}"/>
                    </a:ext>
                  </a:extLst>
                </p:cNvPr>
                <p:cNvSpPr/>
                <p:nvPr/>
              </p:nvSpPr>
              <p:spPr>
                <a:xfrm>
                  <a:off x="5050701" y="1774561"/>
                  <a:ext cx="18316" cy="18417"/>
                </a:xfrm>
                <a:custGeom>
                  <a:avLst/>
                  <a:gdLst>
                    <a:gd name="connsiteX0" fmla="*/ 1354 w 18316"/>
                    <a:gd name="connsiteY0" fmla="*/ 14014 h 18417"/>
                    <a:gd name="connsiteX1" fmla="*/ 4344 w 18316"/>
                    <a:gd name="connsiteY1" fmla="*/ 1335 h 18417"/>
                    <a:gd name="connsiteX2" fmla="*/ 16963 w 18316"/>
                    <a:gd name="connsiteY2" fmla="*/ 4445 h 18417"/>
                    <a:gd name="connsiteX3" fmla="*/ 13973 w 18316"/>
                    <a:gd name="connsiteY3" fmla="*/ 17124 h 18417"/>
                    <a:gd name="connsiteX4" fmla="*/ 1354 w 18316"/>
                    <a:gd name="connsiteY4" fmla="*/ 14014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17">
                      <a:moveTo>
                        <a:pt x="1354" y="14014"/>
                      </a:moveTo>
                      <a:cubicBezTo>
                        <a:pt x="-1278" y="9648"/>
                        <a:pt x="38" y="4026"/>
                        <a:pt x="4344" y="1335"/>
                      </a:cubicBezTo>
                      <a:cubicBezTo>
                        <a:pt x="8650" y="-1297"/>
                        <a:pt x="14272" y="79"/>
                        <a:pt x="16963" y="4445"/>
                      </a:cubicBezTo>
                      <a:cubicBezTo>
                        <a:pt x="19595" y="8810"/>
                        <a:pt x="18279" y="14432"/>
                        <a:pt x="13973" y="17124"/>
                      </a:cubicBezTo>
                      <a:cubicBezTo>
                        <a:pt x="9667" y="19695"/>
                        <a:pt x="3985" y="18320"/>
                        <a:pt x="1354" y="14014"/>
                      </a:cubicBezTo>
                      <a:close/>
                    </a:path>
                  </a:pathLst>
                </a:custGeom>
                <a:grpFill/>
                <a:ln w="5978" cap="flat">
                  <a:noFill/>
                  <a:prstDash val="solid"/>
                  <a:miter/>
                </a:ln>
              </p:spPr>
              <p:txBody>
                <a:bodyPr rtlCol="0" anchor="ctr"/>
                <a:lstStyle/>
                <a:p>
                  <a:endParaRPr lang="en-GB"/>
                </a:p>
              </p:txBody>
            </p:sp>
            <p:sp>
              <p:nvSpPr>
                <p:cNvPr id="3087" name="Vrije vorm: vorm 3086">
                  <a:extLst>
                    <a:ext uri="{FF2B5EF4-FFF2-40B4-BE49-F238E27FC236}">
                      <a16:creationId xmlns:a16="http://schemas.microsoft.com/office/drawing/2014/main" id="{107DBFE0-AA37-4055-AD91-77D6D71080E3}"/>
                    </a:ext>
                  </a:extLst>
                </p:cNvPr>
                <p:cNvSpPr/>
                <p:nvPr/>
              </p:nvSpPr>
              <p:spPr>
                <a:xfrm>
                  <a:off x="5117626" y="1884367"/>
                  <a:ext cx="18343" cy="18458"/>
                </a:xfrm>
                <a:custGeom>
                  <a:avLst/>
                  <a:gdLst>
                    <a:gd name="connsiteX0" fmla="*/ 1354 w 18343"/>
                    <a:gd name="connsiteY0" fmla="*/ 14014 h 18458"/>
                    <a:gd name="connsiteX1" fmla="*/ 13973 w 18343"/>
                    <a:gd name="connsiteY1" fmla="*/ 17124 h 18458"/>
                    <a:gd name="connsiteX2" fmla="*/ 16963 w 18343"/>
                    <a:gd name="connsiteY2" fmla="*/ 4445 h 18458"/>
                    <a:gd name="connsiteX3" fmla="*/ 4344 w 18343"/>
                    <a:gd name="connsiteY3" fmla="*/ 1335 h 18458"/>
                    <a:gd name="connsiteX4" fmla="*/ 1354 w 18343"/>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354" y="14014"/>
                      </a:moveTo>
                      <a:cubicBezTo>
                        <a:pt x="3985" y="18380"/>
                        <a:pt x="9667" y="19755"/>
                        <a:pt x="13973" y="17124"/>
                      </a:cubicBezTo>
                      <a:cubicBezTo>
                        <a:pt x="18279" y="14492"/>
                        <a:pt x="19655" y="8810"/>
                        <a:pt x="16963" y="4445"/>
                      </a:cubicBezTo>
                      <a:cubicBezTo>
                        <a:pt x="14332" y="79"/>
                        <a:pt x="8650" y="-1297"/>
                        <a:pt x="4344" y="1335"/>
                      </a:cubicBezTo>
                      <a:cubicBezTo>
                        <a:pt x="38" y="4026"/>
                        <a:pt x="-1278" y="9648"/>
                        <a:pt x="1354" y="14014"/>
                      </a:cubicBezTo>
                      <a:close/>
                    </a:path>
                  </a:pathLst>
                </a:custGeom>
                <a:grpFill/>
                <a:ln w="5978" cap="flat">
                  <a:noFill/>
                  <a:prstDash val="solid"/>
                  <a:miter/>
                </a:ln>
              </p:spPr>
              <p:txBody>
                <a:bodyPr rtlCol="0" anchor="ctr"/>
                <a:lstStyle/>
                <a:p>
                  <a:endParaRPr lang="en-GB"/>
                </a:p>
              </p:txBody>
            </p:sp>
          </p:grpSp>
          <p:grpSp>
            <p:nvGrpSpPr>
              <p:cNvPr id="770" name="Graphic 3">
                <a:extLst>
                  <a:ext uri="{FF2B5EF4-FFF2-40B4-BE49-F238E27FC236}">
                    <a16:creationId xmlns:a16="http://schemas.microsoft.com/office/drawing/2014/main" id="{8BEBE874-771B-4B2D-B584-798E37FA4301}"/>
                  </a:ext>
                </a:extLst>
              </p:cNvPr>
              <p:cNvGrpSpPr/>
              <p:nvPr/>
            </p:nvGrpSpPr>
            <p:grpSpPr>
              <a:xfrm>
                <a:off x="6252501" y="5245248"/>
                <a:ext cx="44385" cy="250529"/>
                <a:chOff x="6252501" y="5245248"/>
                <a:chExt cx="44385" cy="250529"/>
              </a:xfrm>
              <a:grpFill/>
            </p:grpSpPr>
            <p:sp>
              <p:nvSpPr>
                <p:cNvPr id="3082" name="Vrije vorm: vorm 3081">
                  <a:extLst>
                    <a:ext uri="{FF2B5EF4-FFF2-40B4-BE49-F238E27FC236}">
                      <a16:creationId xmlns:a16="http://schemas.microsoft.com/office/drawing/2014/main" id="{31CA092C-34A4-488B-AEBD-51033F7D1C39}"/>
                    </a:ext>
                  </a:extLst>
                </p:cNvPr>
                <p:cNvSpPr/>
                <p:nvPr/>
              </p:nvSpPr>
              <p:spPr>
                <a:xfrm>
                  <a:off x="6260041" y="5253805"/>
                  <a:ext cx="29245" cy="233367"/>
                </a:xfrm>
                <a:custGeom>
                  <a:avLst/>
                  <a:gdLst>
                    <a:gd name="connsiteX0" fmla="*/ 3050 w 29245"/>
                    <a:gd name="connsiteY0" fmla="*/ 0 h 233367"/>
                    <a:gd name="connsiteX1" fmla="*/ 29246 w 29245"/>
                    <a:gd name="connsiteY1" fmla="*/ 233009 h 233367"/>
                    <a:gd name="connsiteX2" fmla="*/ 26196 w 29245"/>
                    <a:gd name="connsiteY2" fmla="*/ 233368 h 233367"/>
                    <a:gd name="connsiteX3" fmla="*/ 0 w 29245"/>
                    <a:gd name="connsiteY3" fmla="*/ 359 h 233367"/>
                  </a:gdLst>
                  <a:ahLst/>
                  <a:cxnLst>
                    <a:cxn ang="0">
                      <a:pos x="connsiteX0" y="connsiteY0"/>
                    </a:cxn>
                    <a:cxn ang="0">
                      <a:pos x="connsiteX1" y="connsiteY1"/>
                    </a:cxn>
                    <a:cxn ang="0">
                      <a:pos x="connsiteX2" y="connsiteY2"/>
                    </a:cxn>
                    <a:cxn ang="0">
                      <a:pos x="connsiteX3" y="connsiteY3"/>
                    </a:cxn>
                  </a:cxnLst>
                  <a:rect l="l" t="t" r="r" b="b"/>
                  <a:pathLst>
                    <a:path w="29245" h="233367">
                      <a:moveTo>
                        <a:pt x="3050" y="0"/>
                      </a:moveTo>
                      <a:lnTo>
                        <a:pt x="29246" y="233009"/>
                      </a:lnTo>
                      <a:lnTo>
                        <a:pt x="26196" y="233368"/>
                      </a:lnTo>
                      <a:lnTo>
                        <a:pt x="0" y="359"/>
                      </a:lnTo>
                      <a:close/>
                    </a:path>
                  </a:pathLst>
                </a:custGeom>
                <a:grpFill/>
                <a:ln w="5978" cap="flat">
                  <a:noFill/>
                  <a:prstDash val="solid"/>
                  <a:miter/>
                </a:ln>
              </p:spPr>
              <p:txBody>
                <a:bodyPr rtlCol="0" anchor="ctr"/>
                <a:lstStyle/>
                <a:p>
                  <a:endParaRPr lang="en-GB"/>
                </a:p>
              </p:txBody>
            </p:sp>
            <p:sp>
              <p:nvSpPr>
                <p:cNvPr id="3083" name="Vrije vorm: vorm 3082">
                  <a:extLst>
                    <a:ext uri="{FF2B5EF4-FFF2-40B4-BE49-F238E27FC236}">
                      <a16:creationId xmlns:a16="http://schemas.microsoft.com/office/drawing/2014/main" id="{E77F957F-BD5F-4EA9-A751-45F554738FEB}"/>
                    </a:ext>
                  </a:extLst>
                </p:cNvPr>
                <p:cNvSpPr/>
                <p:nvPr/>
              </p:nvSpPr>
              <p:spPr>
                <a:xfrm>
                  <a:off x="6278577" y="5477360"/>
                  <a:ext cx="18310" cy="18417"/>
                </a:xfrm>
                <a:custGeom>
                  <a:avLst/>
                  <a:gdLst>
                    <a:gd name="connsiteX0" fmla="*/ 18246 w 18310"/>
                    <a:gd name="connsiteY0" fmla="*/ 8198 h 18417"/>
                    <a:gd name="connsiteX1" fmla="*/ 10172 w 18310"/>
                    <a:gd name="connsiteY1" fmla="*/ 18365 h 18417"/>
                    <a:gd name="connsiteX2" fmla="*/ 64 w 18310"/>
                    <a:gd name="connsiteY2" fmla="*/ 10232 h 18417"/>
                    <a:gd name="connsiteX3" fmla="*/ 8138 w 18310"/>
                    <a:gd name="connsiteY3" fmla="*/ 64 h 18417"/>
                    <a:gd name="connsiteX4" fmla="*/ 18246 w 18310"/>
                    <a:gd name="connsiteY4" fmla="*/ 8198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7">
                      <a:moveTo>
                        <a:pt x="18246" y="8198"/>
                      </a:moveTo>
                      <a:cubicBezTo>
                        <a:pt x="18844" y="13281"/>
                        <a:pt x="15196" y="17827"/>
                        <a:pt x="10172" y="18365"/>
                      </a:cubicBezTo>
                      <a:cubicBezTo>
                        <a:pt x="5148" y="18903"/>
                        <a:pt x="603" y="15255"/>
                        <a:pt x="64" y="10232"/>
                      </a:cubicBezTo>
                      <a:cubicBezTo>
                        <a:pt x="-534" y="5148"/>
                        <a:pt x="3114" y="602"/>
                        <a:pt x="8138" y="64"/>
                      </a:cubicBezTo>
                      <a:cubicBezTo>
                        <a:pt x="13102" y="-534"/>
                        <a:pt x="17648" y="3114"/>
                        <a:pt x="18246" y="8198"/>
                      </a:cubicBezTo>
                      <a:close/>
                    </a:path>
                  </a:pathLst>
                </a:custGeom>
                <a:grpFill/>
                <a:ln w="5978" cap="flat">
                  <a:noFill/>
                  <a:prstDash val="solid"/>
                  <a:miter/>
                </a:ln>
              </p:spPr>
              <p:txBody>
                <a:bodyPr rtlCol="0" anchor="ctr"/>
                <a:lstStyle/>
                <a:p>
                  <a:endParaRPr lang="en-GB"/>
                </a:p>
              </p:txBody>
            </p:sp>
            <p:sp>
              <p:nvSpPr>
                <p:cNvPr id="3084" name="Vrije vorm: vorm 3083">
                  <a:extLst>
                    <a:ext uri="{FF2B5EF4-FFF2-40B4-BE49-F238E27FC236}">
                      <a16:creationId xmlns:a16="http://schemas.microsoft.com/office/drawing/2014/main" id="{48BAA321-A027-454B-8526-5C8D6E29639F}"/>
                    </a:ext>
                  </a:extLst>
                </p:cNvPr>
                <p:cNvSpPr/>
                <p:nvPr/>
              </p:nvSpPr>
              <p:spPr>
                <a:xfrm>
                  <a:off x="6252501" y="5245248"/>
                  <a:ext cx="18298" cy="18429"/>
                </a:xfrm>
                <a:custGeom>
                  <a:avLst/>
                  <a:gdLst>
                    <a:gd name="connsiteX0" fmla="*/ 18245 w 18298"/>
                    <a:gd name="connsiteY0" fmla="*/ 8198 h 18429"/>
                    <a:gd name="connsiteX1" fmla="*/ 8138 w 18298"/>
                    <a:gd name="connsiteY1" fmla="*/ 64 h 18429"/>
                    <a:gd name="connsiteX2" fmla="*/ 64 w 18298"/>
                    <a:gd name="connsiteY2" fmla="*/ 10232 h 18429"/>
                    <a:gd name="connsiteX3" fmla="*/ 10172 w 18298"/>
                    <a:gd name="connsiteY3" fmla="*/ 18365 h 18429"/>
                    <a:gd name="connsiteX4" fmla="*/ 18245 w 18298"/>
                    <a:gd name="connsiteY4" fmla="*/ 819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9">
                      <a:moveTo>
                        <a:pt x="18245" y="8198"/>
                      </a:moveTo>
                      <a:cubicBezTo>
                        <a:pt x="17648" y="3114"/>
                        <a:pt x="13162" y="-534"/>
                        <a:pt x="8138" y="64"/>
                      </a:cubicBezTo>
                      <a:cubicBezTo>
                        <a:pt x="3114" y="602"/>
                        <a:pt x="-534" y="5148"/>
                        <a:pt x="64" y="10232"/>
                      </a:cubicBezTo>
                      <a:cubicBezTo>
                        <a:pt x="662" y="15315"/>
                        <a:pt x="5148" y="18963"/>
                        <a:pt x="10172" y="18365"/>
                      </a:cubicBezTo>
                      <a:cubicBezTo>
                        <a:pt x="15196" y="17767"/>
                        <a:pt x="18784" y="13222"/>
                        <a:pt x="18245" y="8198"/>
                      </a:cubicBezTo>
                      <a:close/>
                    </a:path>
                  </a:pathLst>
                </a:custGeom>
                <a:grpFill/>
                <a:ln w="5978" cap="flat">
                  <a:noFill/>
                  <a:prstDash val="solid"/>
                  <a:miter/>
                </a:ln>
              </p:spPr>
              <p:txBody>
                <a:bodyPr rtlCol="0" anchor="ctr"/>
                <a:lstStyle/>
                <a:p>
                  <a:endParaRPr lang="en-GB"/>
                </a:p>
              </p:txBody>
            </p:sp>
          </p:grpSp>
          <p:grpSp>
            <p:nvGrpSpPr>
              <p:cNvPr id="771" name="Graphic 3">
                <a:extLst>
                  <a:ext uri="{FF2B5EF4-FFF2-40B4-BE49-F238E27FC236}">
                    <a16:creationId xmlns:a16="http://schemas.microsoft.com/office/drawing/2014/main" id="{426FBAF9-0826-43BF-8D25-1C71D51D3DC0}"/>
                  </a:ext>
                </a:extLst>
              </p:cNvPr>
              <p:cNvGrpSpPr/>
              <p:nvPr/>
            </p:nvGrpSpPr>
            <p:grpSpPr>
              <a:xfrm>
                <a:off x="5003645" y="1766561"/>
                <a:ext cx="154114" cy="232215"/>
                <a:chOff x="5003645" y="1766561"/>
                <a:chExt cx="154114" cy="232215"/>
              </a:xfrm>
              <a:grpFill/>
            </p:grpSpPr>
            <p:sp>
              <p:nvSpPr>
                <p:cNvPr id="3079" name="Vrije vorm: vorm 3078">
                  <a:extLst>
                    <a:ext uri="{FF2B5EF4-FFF2-40B4-BE49-F238E27FC236}">
                      <a16:creationId xmlns:a16="http://schemas.microsoft.com/office/drawing/2014/main" id="{7D16CBD8-8819-46A1-8DC9-AD0CAA7300F2}"/>
                    </a:ext>
                  </a:extLst>
                </p:cNvPr>
                <p:cNvSpPr/>
                <p:nvPr/>
              </p:nvSpPr>
              <p:spPr>
                <a:xfrm>
                  <a:off x="5011266" y="1774580"/>
                  <a:ext cx="138812" cy="216203"/>
                </a:xfrm>
                <a:custGeom>
                  <a:avLst/>
                  <a:gdLst>
                    <a:gd name="connsiteX0" fmla="*/ 138812 w 138812"/>
                    <a:gd name="connsiteY0" fmla="*/ 214528 h 216203"/>
                    <a:gd name="connsiteX1" fmla="*/ 136241 w 138812"/>
                    <a:gd name="connsiteY1" fmla="*/ 216203 h 216203"/>
                    <a:gd name="connsiteX2" fmla="*/ 0 w 138812"/>
                    <a:gd name="connsiteY2" fmla="*/ 1615 h 216203"/>
                    <a:gd name="connsiteX3" fmla="*/ 2572 w 138812"/>
                    <a:gd name="connsiteY3" fmla="*/ 0 h 216203"/>
                  </a:gdLst>
                  <a:ahLst/>
                  <a:cxnLst>
                    <a:cxn ang="0">
                      <a:pos x="connsiteX0" y="connsiteY0"/>
                    </a:cxn>
                    <a:cxn ang="0">
                      <a:pos x="connsiteX1" y="connsiteY1"/>
                    </a:cxn>
                    <a:cxn ang="0">
                      <a:pos x="connsiteX2" y="connsiteY2"/>
                    </a:cxn>
                    <a:cxn ang="0">
                      <a:pos x="connsiteX3" y="connsiteY3"/>
                    </a:cxn>
                  </a:cxnLst>
                  <a:rect l="l" t="t" r="r" b="b"/>
                  <a:pathLst>
                    <a:path w="138812" h="216203">
                      <a:moveTo>
                        <a:pt x="138812" y="214528"/>
                      </a:moveTo>
                      <a:lnTo>
                        <a:pt x="136241" y="216203"/>
                      </a:lnTo>
                      <a:lnTo>
                        <a:pt x="0" y="1615"/>
                      </a:lnTo>
                      <a:lnTo>
                        <a:pt x="2572" y="0"/>
                      </a:lnTo>
                      <a:close/>
                    </a:path>
                  </a:pathLst>
                </a:custGeom>
                <a:grpFill/>
                <a:ln w="5978" cap="flat">
                  <a:noFill/>
                  <a:prstDash val="solid"/>
                  <a:miter/>
                </a:ln>
              </p:spPr>
              <p:txBody>
                <a:bodyPr rtlCol="0" anchor="ctr"/>
                <a:lstStyle/>
                <a:p>
                  <a:endParaRPr lang="en-GB"/>
                </a:p>
              </p:txBody>
            </p:sp>
            <p:sp>
              <p:nvSpPr>
                <p:cNvPr id="3080" name="Vrije vorm: vorm 3079">
                  <a:extLst>
                    <a:ext uri="{FF2B5EF4-FFF2-40B4-BE49-F238E27FC236}">
                      <a16:creationId xmlns:a16="http://schemas.microsoft.com/office/drawing/2014/main" id="{1AEA7D23-8726-484E-8C20-290B64A030FA}"/>
                    </a:ext>
                  </a:extLst>
                </p:cNvPr>
                <p:cNvSpPr/>
                <p:nvPr/>
              </p:nvSpPr>
              <p:spPr>
                <a:xfrm>
                  <a:off x="5003645" y="1766561"/>
                  <a:ext cx="18351" cy="18464"/>
                </a:xfrm>
                <a:custGeom>
                  <a:avLst/>
                  <a:gdLst>
                    <a:gd name="connsiteX0" fmla="*/ 1461 w 18351"/>
                    <a:gd name="connsiteY0" fmla="*/ 14180 h 18464"/>
                    <a:gd name="connsiteX1" fmla="*/ 4212 w 18351"/>
                    <a:gd name="connsiteY1" fmla="*/ 1441 h 18464"/>
                    <a:gd name="connsiteX2" fmla="*/ 16891 w 18351"/>
                    <a:gd name="connsiteY2" fmla="*/ 4311 h 18464"/>
                    <a:gd name="connsiteX3" fmla="*/ 14140 w 18351"/>
                    <a:gd name="connsiteY3" fmla="*/ 17050 h 18464"/>
                    <a:gd name="connsiteX4" fmla="*/ 1461 w 18351"/>
                    <a:gd name="connsiteY4" fmla="*/ 14180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4">
                      <a:moveTo>
                        <a:pt x="1461" y="14180"/>
                      </a:moveTo>
                      <a:cubicBezTo>
                        <a:pt x="-1290" y="9873"/>
                        <a:pt x="-35" y="4192"/>
                        <a:pt x="4212" y="1441"/>
                      </a:cubicBezTo>
                      <a:cubicBezTo>
                        <a:pt x="8458" y="-1311"/>
                        <a:pt x="14140" y="5"/>
                        <a:pt x="16891" y="4311"/>
                      </a:cubicBezTo>
                      <a:cubicBezTo>
                        <a:pt x="19642" y="8617"/>
                        <a:pt x="18386" y="14299"/>
                        <a:pt x="14140" y="17050"/>
                      </a:cubicBezTo>
                      <a:cubicBezTo>
                        <a:pt x="9834" y="19742"/>
                        <a:pt x="4152" y="18486"/>
                        <a:pt x="1461" y="14180"/>
                      </a:cubicBezTo>
                      <a:close/>
                    </a:path>
                  </a:pathLst>
                </a:custGeom>
                <a:grpFill/>
                <a:ln w="5978" cap="flat">
                  <a:noFill/>
                  <a:prstDash val="solid"/>
                  <a:miter/>
                </a:ln>
              </p:spPr>
              <p:txBody>
                <a:bodyPr rtlCol="0" anchor="ctr"/>
                <a:lstStyle/>
                <a:p>
                  <a:endParaRPr lang="en-GB"/>
                </a:p>
              </p:txBody>
            </p:sp>
            <p:sp>
              <p:nvSpPr>
                <p:cNvPr id="3081" name="Vrije vorm: vorm 3080">
                  <a:extLst>
                    <a:ext uri="{FF2B5EF4-FFF2-40B4-BE49-F238E27FC236}">
                      <a16:creationId xmlns:a16="http://schemas.microsoft.com/office/drawing/2014/main" id="{0028D680-BBBC-41AE-8B89-8852EE245D68}"/>
                    </a:ext>
                  </a:extLst>
                </p:cNvPr>
                <p:cNvSpPr/>
                <p:nvPr/>
              </p:nvSpPr>
              <p:spPr>
                <a:xfrm>
                  <a:off x="5139408" y="1980338"/>
                  <a:ext cx="18351" cy="18437"/>
                </a:xfrm>
                <a:custGeom>
                  <a:avLst/>
                  <a:gdLst>
                    <a:gd name="connsiteX0" fmla="*/ 1461 w 18351"/>
                    <a:gd name="connsiteY0" fmla="*/ 14153 h 18437"/>
                    <a:gd name="connsiteX1" fmla="*/ 14140 w 18351"/>
                    <a:gd name="connsiteY1" fmla="*/ 17024 h 18437"/>
                    <a:gd name="connsiteX2" fmla="*/ 16891 w 18351"/>
                    <a:gd name="connsiteY2" fmla="*/ 4285 h 18437"/>
                    <a:gd name="connsiteX3" fmla="*/ 4212 w 18351"/>
                    <a:gd name="connsiteY3" fmla="*/ 1414 h 18437"/>
                    <a:gd name="connsiteX4" fmla="*/ 1461 w 18351"/>
                    <a:gd name="connsiteY4" fmla="*/ 14153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37">
                      <a:moveTo>
                        <a:pt x="1461" y="14153"/>
                      </a:moveTo>
                      <a:cubicBezTo>
                        <a:pt x="4212" y="18459"/>
                        <a:pt x="9834" y="19715"/>
                        <a:pt x="14140" y="17024"/>
                      </a:cubicBezTo>
                      <a:cubicBezTo>
                        <a:pt x="18386" y="14273"/>
                        <a:pt x="19642" y="8591"/>
                        <a:pt x="16891" y="4285"/>
                      </a:cubicBezTo>
                      <a:cubicBezTo>
                        <a:pt x="14140" y="-21"/>
                        <a:pt x="8518" y="-1277"/>
                        <a:pt x="4212" y="1414"/>
                      </a:cubicBezTo>
                      <a:cubicBezTo>
                        <a:pt x="-34" y="4165"/>
                        <a:pt x="-1291" y="9847"/>
                        <a:pt x="1461" y="14153"/>
                      </a:cubicBezTo>
                      <a:close/>
                    </a:path>
                  </a:pathLst>
                </a:custGeom>
                <a:grpFill/>
                <a:ln w="5978" cap="flat">
                  <a:noFill/>
                  <a:prstDash val="solid"/>
                  <a:miter/>
                </a:ln>
              </p:spPr>
              <p:txBody>
                <a:bodyPr rtlCol="0" anchor="ctr"/>
                <a:lstStyle/>
                <a:p>
                  <a:endParaRPr lang="en-GB"/>
                </a:p>
              </p:txBody>
            </p:sp>
          </p:grpSp>
          <p:grpSp>
            <p:nvGrpSpPr>
              <p:cNvPr id="772" name="Graphic 3">
                <a:extLst>
                  <a:ext uri="{FF2B5EF4-FFF2-40B4-BE49-F238E27FC236}">
                    <a16:creationId xmlns:a16="http://schemas.microsoft.com/office/drawing/2014/main" id="{60DF2776-86E8-4F46-BAD6-B4BCDC531E30}"/>
                  </a:ext>
                </a:extLst>
              </p:cNvPr>
              <p:cNvGrpSpPr/>
              <p:nvPr/>
            </p:nvGrpSpPr>
            <p:grpSpPr>
              <a:xfrm>
                <a:off x="4823757" y="1316616"/>
                <a:ext cx="348750" cy="645098"/>
                <a:chOff x="4823757" y="1316616"/>
                <a:chExt cx="348750" cy="645098"/>
              </a:xfrm>
              <a:grpFill/>
            </p:grpSpPr>
            <p:sp>
              <p:nvSpPr>
                <p:cNvPr id="3076" name="Vrije vorm: vorm 3075">
                  <a:extLst>
                    <a:ext uri="{FF2B5EF4-FFF2-40B4-BE49-F238E27FC236}">
                      <a16:creationId xmlns:a16="http://schemas.microsoft.com/office/drawing/2014/main" id="{752B2F55-B01C-495C-96E2-EE8A37D9E111}"/>
                    </a:ext>
                  </a:extLst>
                </p:cNvPr>
                <p:cNvSpPr/>
                <p:nvPr/>
              </p:nvSpPr>
              <p:spPr>
                <a:xfrm>
                  <a:off x="4831366" y="1324710"/>
                  <a:ext cx="333544" cy="628932"/>
                </a:xfrm>
                <a:custGeom>
                  <a:avLst/>
                  <a:gdLst>
                    <a:gd name="connsiteX0" fmla="*/ 333545 w 333544"/>
                    <a:gd name="connsiteY0" fmla="*/ 627497 h 628932"/>
                    <a:gd name="connsiteX1" fmla="*/ 330854 w 333544"/>
                    <a:gd name="connsiteY1" fmla="*/ 628933 h 628932"/>
                    <a:gd name="connsiteX2" fmla="*/ 0 w 333544"/>
                    <a:gd name="connsiteY2" fmla="*/ 1435 h 628932"/>
                    <a:gd name="connsiteX3" fmla="*/ 2691 w 333544"/>
                    <a:gd name="connsiteY3" fmla="*/ 0 h 628932"/>
                  </a:gdLst>
                  <a:ahLst/>
                  <a:cxnLst>
                    <a:cxn ang="0">
                      <a:pos x="connsiteX0" y="connsiteY0"/>
                    </a:cxn>
                    <a:cxn ang="0">
                      <a:pos x="connsiteX1" y="connsiteY1"/>
                    </a:cxn>
                    <a:cxn ang="0">
                      <a:pos x="connsiteX2" y="connsiteY2"/>
                    </a:cxn>
                    <a:cxn ang="0">
                      <a:pos x="connsiteX3" y="connsiteY3"/>
                    </a:cxn>
                  </a:cxnLst>
                  <a:rect l="l" t="t" r="r" b="b"/>
                  <a:pathLst>
                    <a:path w="333544" h="628932">
                      <a:moveTo>
                        <a:pt x="333545" y="627497"/>
                      </a:moveTo>
                      <a:lnTo>
                        <a:pt x="330854" y="628933"/>
                      </a:lnTo>
                      <a:lnTo>
                        <a:pt x="0" y="1435"/>
                      </a:lnTo>
                      <a:lnTo>
                        <a:pt x="2691" y="0"/>
                      </a:lnTo>
                      <a:close/>
                    </a:path>
                  </a:pathLst>
                </a:custGeom>
                <a:grpFill/>
                <a:ln w="5978" cap="flat">
                  <a:noFill/>
                  <a:prstDash val="solid"/>
                  <a:miter/>
                </a:ln>
              </p:spPr>
              <p:txBody>
                <a:bodyPr rtlCol="0" anchor="ctr"/>
                <a:lstStyle/>
                <a:p>
                  <a:endParaRPr lang="en-GB"/>
                </a:p>
              </p:txBody>
            </p:sp>
            <p:sp>
              <p:nvSpPr>
                <p:cNvPr id="3077" name="Vrije vorm: vorm 3076">
                  <a:extLst>
                    <a:ext uri="{FF2B5EF4-FFF2-40B4-BE49-F238E27FC236}">
                      <a16:creationId xmlns:a16="http://schemas.microsoft.com/office/drawing/2014/main" id="{A77062CA-981E-4372-93C2-477027A4AA5F}"/>
                    </a:ext>
                  </a:extLst>
                </p:cNvPr>
                <p:cNvSpPr/>
                <p:nvPr/>
              </p:nvSpPr>
              <p:spPr>
                <a:xfrm>
                  <a:off x="5154204" y="1943276"/>
                  <a:ext cx="18303" cy="18438"/>
                </a:xfrm>
                <a:custGeom>
                  <a:avLst/>
                  <a:gdLst>
                    <a:gd name="connsiteX0" fmla="*/ 17226 w 18303"/>
                    <a:gd name="connsiteY0" fmla="*/ 4924 h 18438"/>
                    <a:gd name="connsiteX1" fmla="*/ 13458 w 18303"/>
                    <a:gd name="connsiteY1" fmla="*/ 17364 h 18438"/>
                    <a:gd name="connsiteX2" fmla="*/ 1078 w 18303"/>
                    <a:gd name="connsiteY2" fmla="*/ 13477 h 18438"/>
                    <a:gd name="connsiteX3" fmla="*/ 4846 w 18303"/>
                    <a:gd name="connsiteY3" fmla="*/ 1037 h 18438"/>
                    <a:gd name="connsiteX4" fmla="*/ 17226 w 18303"/>
                    <a:gd name="connsiteY4" fmla="*/ 4924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38">
                      <a:moveTo>
                        <a:pt x="17226" y="4924"/>
                      </a:moveTo>
                      <a:cubicBezTo>
                        <a:pt x="19618" y="9410"/>
                        <a:pt x="17884" y="14972"/>
                        <a:pt x="13458" y="17364"/>
                      </a:cubicBezTo>
                      <a:cubicBezTo>
                        <a:pt x="8972" y="19756"/>
                        <a:pt x="3410" y="18022"/>
                        <a:pt x="1078" y="13477"/>
                      </a:cubicBezTo>
                      <a:cubicBezTo>
                        <a:pt x="-1314" y="8991"/>
                        <a:pt x="420" y="3429"/>
                        <a:pt x="4846" y="1037"/>
                      </a:cubicBezTo>
                      <a:cubicBezTo>
                        <a:pt x="9331" y="-1296"/>
                        <a:pt x="14894" y="439"/>
                        <a:pt x="17226" y="4924"/>
                      </a:cubicBezTo>
                      <a:close/>
                    </a:path>
                  </a:pathLst>
                </a:custGeom>
                <a:grpFill/>
                <a:ln w="5978" cap="flat">
                  <a:noFill/>
                  <a:prstDash val="solid"/>
                  <a:miter/>
                </a:ln>
              </p:spPr>
              <p:txBody>
                <a:bodyPr rtlCol="0" anchor="ctr"/>
                <a:lstStyle/>
                <a:p>
                  <a:endParaRPr lang="en-GB"/>
                </a:p>
              </p:txBody>
            </p:sp>
            <p:sp>
              <p:nvSpPr>
                <p:cNvPr id="3078" name="Vrije vorm: vorm 3077">
                  <a:extLst>
                    <a:ext uri="{FF2B5EF4-FFF2-40B4-BE49-F238E27FC236}">
                      <a16:creationId xmlns:a16="http://schemas.microsoft.com/office/drawing/2014/main" id="{06BC9E90-F334-4629-8D86-6A97214DBDA7}"/>
                    </a:ext>
                  </a:extLst>
                </p:cNvPr>
                <p:cNvSpPr/>
                <p:nvPr/>
              </p:nvSpPr>
              <p:spPr>
                <a:xfrm>
                  <a:off x="4823757" y="1316616"/>
                  <a:ext cx="18315" cy="18400"/>
                </a:xfrm>
                <a:custGeom>
                  <a:avLst/>
                  <a:gdLst>
                    <a:gd name="connsiteX0" fmla="*/ 17238 w 18315"/>
                    <a:gd name="connsiteY0" fmla="*/ 4924 h 18400"/>
                    <a:gd name="connsiteX1" fmla="*/ 4857 w 18315"/>
                    <a:gd name="connsiteY1" fmla="*/ 1037 h 18400"/>
                    <a:gd name="connsiteX2" fmla="*/ 1090 w 18315"/>
                    <a:gd name="connsiteY2" fmla="*/ 13477 h 18400"/>
                    <a:gd name="connsiteX3" fmla="*/ 13470 w 18315"/>
                    <a:gd name="connsiteY3" fmla="*/ 17364 h 18400"/>
                    <a:gd name="connsiteX4" fmla="*/ 17238 w 18315"/>
                    <a:gd name="connsiteY4" fmla="*/ 492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00">
                      <a:moveTo>
                        <a:pt x="17238" y="4924"/>
                      </a:moveTo>
                      <a:cubicBezTo>
                        <a:pt x="14846" y="439"/>
                        <a:pt x="9283" y="-1296"/>
                        <a:pt x="4857" y="1037"/>
                      </a:cubicBezTo>
                      <a:cubicBezTo>
                        <a:pt x="372" y="3429"/>
                        <a:pt x="-1303" y="8991"/>
                        <a:pt x="1090" y="13477"/>
                      </a:cubicBezTo>
                      <a:cubicBezTo>
                        <a:pt x="3482" y="17962"/>
                        <a:pt x="8984" y="19697"/>
                        <a:pt x="13470" y="17364"/>
                      </a:cubicBezTo>
                      <a:cubicBezTo>
                        <a:pt x="17896" y="14972"/>
                        <a:pt x="19630" y="9410"/>
                        <a:pt x="17238" y="4924"/>
                      </a:cubicBezTo>
                      <a:close/>
                    </a:path>
                  </a:pathLst>
                </a:custGeom>
                <a:grpFill/>
                <a:ln w="5978" cap="flat">
                  <a:noFill/>
                  <a:prstDash val="solid"/>
                  <a:miter/>
                </a:ln>
              </p:spPr>
              <p:txBody>
                <a:bodyPr rtlCol="0" anchor="ctr"/>
                <a:lstStyle/>
                <a:p>
                  <a:endParaRPr lang="en-GB"/>
                </a:p>
              </p:txBody>
            </p:sp>
          </p:grpSp>
          <p:grpSp>
            <p:nvGrpSpPr>
              <p:cNvPr id="773" name="Graphic 3">
                <a:extLst>
                  <a:ext uri="{FF2B5EF4-FFF2-40B4-BE49-F238E27FC236}">
                    <a16:creationId xmlns:a16="http://schemas.microsoft.com/office/drawing/2014/main" id="{4D2822B0-735A-4B1D-BB60-2D27C4904918}"/>
                  </a:ext>
                </a:extLst>
              </p:cNvPr>
              <p:cNvGrpSpPr/>
              <p:nvPr/>
            </p:nvGrpSpPr>
            <p:grpSpPr>
              <a:xfrm>
                <a:off x="4824110" y="1316392"/>
                <a:ext cx="301169" cy="502568"/>
                <a:chOff x="4824110" y="1316392"/>
                <a:chExt cx="301169" cy="502568"/>
              </a:xfrm>
              <a:grpFill/>
            </p:grpSpPr>
            <p:sp>
              <p:nvSpPr>
                <p:cNvPr id="3073" name="Vrije vorm: vorm 3072">
                  <a:extLst>
                    <a:ext uri="{FF2B5EF4-FFF2-40B4-BE49-F238E27FC236}">
                      <a16:creationId xmlns:a16="http://schemas.microsoft.com/office/drawing/2014/main" id="{6798117E-FF3F-49EB-9C54-061C9A66156B}"/>
                    </a:ext>
                  </a:extLst>
                </p:cNvPr>
                <p:cNvSpPr/>
                <p:nvPr/>
              </p:nvSpPr>
              <p:spPr>
                <a:xfrm>
                  <a:off x="4831725" y="1324471"/>
                  <a:ext cx="285938" cy="486471"/>
                </a:xfrm>
                <a:custGeom>
                  <a:avLst/>
                  <a:gdLst>
                    <a:gd name="connsiteX0" fmla="*/ 285938 w 285938"/>
                    <a:gd name="connsiteY0" fmla="*/ 484977 h 486471"/>
                    <a:gd name="connsiteX1" fmla="*/ 283307 w 285938"/>
                    <a:gd name="connsiteY1" fmla="*/ 486472 h 486471"/>
                    <a:gd name="connsiteX2" fmla="*/ 0 w 285938"/>
                    <a:gd name="connsiteY2" fmla="*/ 1555 h 486471"/>
                    <a:gd name="connsiteX3" fmla="*/ 2632 w 285938"/>
                    <a:gd name="connsiteY3" fmla="*/ 0 h 486471"/>
                  </a:gdLst>
                  <a:ahLst/>
                  <a:cxnLst>
                    <a:cxn ang="0">
                      <a:pos x="connsiteX0" y="connsiteY0"/>
                    </a:cxn>
                    <a:cxn ang="0">
                      <a:pos x="connsiteX1" y="connsiteY1"/>
                    </a:cxn>
                    <a:cxn ang="0">
                      <a:pos x="connsiteX2" y="connsiteY2"/>
                    </a:cxn>
                    <a:cxn ang="0">
                      <a:pos x="connsiteX3" y="connsiteY3"/>
                    </a:cxn>
                  </a:cxnLst>
                  <a:rect l="l" t="t" r="r" b="b"/>
                  <a:pathLst>
                    <a:path w="285938" h="486471">
                      <a:moveTo>
                        <a:pt x="285938" y="484977"/>
                      </a:moveTo>
                      <a:lnTo>
                        <a:pt x="283307" y="486472"/>
                      </a:lnTo>
                      <a:lnTo>
                        <a:pt x="0" y="1555"/>
                      </a:lnTo>
                      <a:lnTo>
                        <a:pt x="2632" y="0"/>
                      </a:lnTo>
                      <a:close/>
                    </a:path>
                  </a:pathLst>
                </a:custGeom>
                <a:grpFill/>
                <a:ln w="5978" cap="flat">
                  <a:noFill/>
                  <a:prstDash val="solid"/>
                  <a:miter/>
                </a:ln>
              </p:spPr>
              <p:txBody>
                <a:bodyPr rtlCol="0" anchor="ctr"/>
                <a:lstStyle/>
                <a:p>
                  <a:endParaRPr lang="en-GB"/>
                </a:p>
              </p:txBody>
            </p:sp>
            <p:sp>
              <p:nvSpPr>
                <p:cNvPr id="3074" name="Vrije vorm: vorm 3073">
                  <a:extLst>
                    <a:ext uri="{FF2B5EF4-FFF2-40B4-BE49-F238E27FC236}">
                      <a16:creationId xmlns:a16="http://schemas.microsoft.com/office/drawing/2014/main" id="{0CFBF915-E582-4B82-A048-B24C61E9E19E}"/>
                    </a:ext>
                  </a:extLst>
                </p:cNvPr>
                <p:cNvSpPr/>
                <p:nvPr/>
              </p:nvSpPr>
              <p:spPr>
                <a:xfrm>
                  <a:off x="4824110" y="1316392"/>
                  <a:ext cx="18341" cy="18429"/>
                </a:xfrm>
                <a:custGeom>
                  <a:avLst/>
                  <a:gdLst>
                    <a:gd name="connsiteX0" fmla="*/ 1276 w 18341"/>
                    <a:gd name="connsiteY0" fmla="*/ 13880 h 18429"/>
                    <a:gd name="connsiteX1" fmla="*/ 4505 w 18341"/>
                    <a:gd name="connsiteY1" fmla="*/ 1260 h 18429"/>
                    <a:gd name="connsiteX2" fmla="*/ 17065 w 18341"/>
                    <a:gd name="connsiteY2" fmla="*/ 4550 h 18429"/>
                    <a:gd name="connsiteX3" fmla="*/ 13835 w 18341"/>
                    <a:gd name="connsiteY3" fmla="*/ 17169 h 18429"/>
                    <a:gd name="connsiteX4" fmla="*/ 1276 w 18341"/>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276" y="13880"/>
                      </a:moveTo>
                      <a:cubicBezTo>
                        <a:pt x="-1296" y="9514"/>
                        <a:pt x="140" y="3832"/>
                        <a:pt x="4505" y="1260"/>
                      </a:cubicBezTo>
                      <a:cubicBezTo>
                        <a:pt x="8872" y="-1311"/>
                        <a:pt x="14493" y="184"/>
                        <a:pt x="17065" y="4550"/>
                      </a:cubicBezTo>
                      <a:cubicBezTo>
                        <a:pt x="19637" y="8916"/>
                        <a:pt x="18202" y="14597"/>
                        <a:pt x="13835" y="17169"/>
                      </a:cubicBezTo>
                      <a:cubicBezTo>
                        <a:pt x="9410" y="19741"/>
                        <a:pt x="3788" y="18246"/>
                        <a:pt x="1276" y="13880"/>
                      </a:cubicBezTo>
                      <a:close/>
                    </a:path>
                  </a:pathLst>
                </a:custGeom>
                <a:grpFill/>
                <a:ln w="5978" cap="flat">
                  <a:noFill/>
                  <a:prstDash val="solid"/>
                  <a:miter/>
                </a:ln>
              </p:spPr>
              <p:txBody>
                <a:bodyPr rtlCol="0" anchor="ctr"/>
                <a:lstStyle/>
                <a:p>
                  <a:endParaRPr lang="en-GB"/>
                </a:p>
              </p:txBody>
            </p:sp>
            <p:sp>
              <p:nvSpPr>
                <p:cNvPr id="3075" name="Vrije vorm: vorm 3074">
                  <a:extLst>
                    <a:ext uri="{FF2B5EF4-FFF2-40B4-BE49-F238E27FC236}">
                      <a16:creationId xmlns:a16="http://schemas.microsoft.com/office/drawing/2014/main" id="{76F6EC23-B67C-4527-A389-CC29962A108A}"/>
                    </a:ext>
                  </a:extLst>
                </p:cNvPr>
                <p:cNvSpPr/>
                <p:nvPr/>
              </p:nvSpPr>
              <p:spPr>
                <a:xfrm>
                  <a:off x="5106951" y="1800532"/>
                  <a:ext cx="18327" cy="18429"/>
                </a:xfrm>
                <a:custGeom>
                  <a:avLst/>
                  <a:gdLst>
                    <a:gd name="connsiteX0" fmla="*/ 1263 w 18327"/>
                    <a:gd name="connsiteY0" fmla="*/ 13880 h 18429"/>
                    <a:gd name="connsiteX1" fmla="*/ 13822 w 18327"/>
                    <a:gd name="connsiteY1" fmla="*/ 17169 h 18429"/>
                    <a:gd name="connsiteX2" fmla="*/ 17052 w 18327"/>
                    <a:gd name="connsiteY2" fmla="*/ 4550 h 18429"/>
                    <a:gd name="connsiteX3" fmla="*/ 4492 w 18327"/>
                    <a:gd name="connsiteY3" fmla="*/ 1260 h 18429"/>
                    <a:gd name="connsiteX4" fmla="*/ 1263 w 18327"/>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263" y="13880"/>
                      </a:moveTo>
                      <a:cubicBezTo>
                        <a:pt x="3835" y="18246"/>
                        <a:pt x="9456" y="19741"/>
                        <a:pt x="13822" y="17169"/>
                      </a:cubicBezTo>
                      <a:cubicBezTo>
                        <a:pt x="18188" y="14597"/>
                        <a:pt x="19623" y="8976"/>
                        <a:pt x="17052" y="4550"/>
                      </a:cubicBezTo>
                      <a:cubicBezTo>
                        <a:pt x="14480" y="184"/>
                        <a:pt x="8858" y="-1311"/>
                        <a:pt x="4492" y="1260"/>
                      </a:cubicBezTo>
                      <a:cubicBezTo>
                        <a:pt x="186" y="3892"/>
                        <a:pt x="-1309" y="9514"/>
                        <a:pt x="1263" y="13880"/>
                      </a:cubicBezTo>
                      <a:close/>
                    </a:path>
                  </a:pathLst>
                </a:custGeom>
                <a:grpFill/>
                <a:ln w="5978" cap="flat">
                  <a:noFill/>
                  <a:prstDash val="solid"/>
                  <a:miter/>
                </a:ln>
              </p:spPr>
              <p:txBody>
                <a:bodyPr rtlCol="0" anchor="ctr"/>
                <a:lstStyle/>
                <a:p>
                  <a:endParaRPr lang="en-GB"/>
                </a:p>
              </p:txBody>
            </p:sp>
          </p:grpSp>
          <p:grpSp>
            <p:nvGrpSpPr>
              <p:cNvPr id="774" name="Graphic 3">
                <a:extLst>
                  <a:ext uri="{FF2B5EF4-FFF2-40B4-BE49-F238E27FC236}">
                    <a16:creationId xmlns:a16="http://schemas.microsoft.com/office/drawing/2014/main" id="{E50A1676-922B-4829-BA20-7D9A278F3EC0}"/>
                  </a:ext>
                </a:extLst>
              </p:cNvPr>
              <p:cNvGrpSpPr/>
              <p:nvPr/>
            </p:nvGrpSpPr>
            <p:grpSpPr>
              <a:xfrm>
                <a:off x="4678260" y="964445"/>
                <a:ext cx="515810" cy="971514"/>
                <a:chOff x="4678260" y="964445"/>
                <a:chExt cx="515810" cy="971514"/>
              </a:xfrm>
              <a:grpFill/>
            </p:grpSpPr>
            <p:sp>
              <p:nvSpPr>
                <p:cNvPr id="3070" name="Vrije vorm: vorm 3069">
                  <a:extLst>
                    <a:ext uri="{FF2B5EF4-FFF2-40B4-BE49-F238E27FC236}">
                      <a16:creationId xmlns:a16="http://schemas.microsoft.com/office/drawing/2014/main" id="{0F09DA21-EA11-432D-8C4C-E63CB393153E}"/>
                    </a:ext>
                  </a:extLst>
                </p:cNvPr>
                <p:cNvSpPr/>
                <p:nvPr/>
              </p:nvSpPr>
              <p:spPr>
                <a:xfrm>
                  <a:off x="4685855" y="972565"/>
                  <a:ext cx="500646" cy="955240"/>
                </a:xfrm>
                <a:custGeom>
                  <a:avLst/>
                  <a:gdLst>
                    <a:gd name="connsiteX0" fmla="*/ 500646 w 500646"/>
                    <a:gd name="connsiteY0" fmla="*/ 953865 h 955240"/>
                    <a:gd name="connsiteX1" fmla="*/ 497955 w 500646"/>
                    <a:gd name="connsiteY1" fmla="*/ 955241 h 955240"/>
                    <a:gd name="connsiteX2" fmla="*/ 0 w 500646"/>
                    <a:gd name="connsiteY2" fmla="*/ 1376 h 955240"/>
                    <a:gd name="connsiteX3" fmla="*/ 2691 w 500646"/>
                    <a:gd name="connsiteY3" fmla="*/ 0 h 955240"/>
                  </a:gdLst>
                  <a:ahLst/>
                  <a:cxnLst>
                    <a:cxn ang="0">
                      <a:pos x="connsiteX0" y="connsiteY0"/>
                    </a:cxn>
                    <a:cxn ang="0">
                      <a:pos x="connsiteX1" y="connsiteY1"/>
                    </a:cxn>
                    <a:cxn ang="0">
                      <a:pos x="connsiteX2" y="connsiteY2"/>
                    </a:cxn>
                    <a:cxn ang="0">
                      <a:pos x="connsiteX3" y="connsiteY3"/>
                    </a:cxn>
                  </a:cxnLst>
                  <a:rect l="l" t="t" r="r" b="b"/>
                  <a:pathLst>
                    <a:path w="500646" h="955240">
                      <a:moveTo>
                        <a:pt x="500646" y="953865"/>
                      </a:moveTo>
                      <a:lnTo>
                        <a:pt x="497955" y="955241"/>
                      </a:lnTo>
                      <a:lnTo>
                        <a:pt x="0" y="1376"/>
                      </a:lnTo>
                      <a:lnTo>
                        <a:pt x="2691" y="0"/>
                      </a:lnTo>
                      <a:close/>
                    </a:path>
                  </a:pathLst>
                </a:custGeom>
                <a:grpFill/>
                <a:ln w="5978" cap="flat">
                  <a:noFill/>
                  <a:prstDash val="solid"/>
                  <a:miter/>
                </a:ln>
              </p:spPr>
              <p:txBody>
                <a:bodyPr rtlCol="0" anchor="ctr"/>
                <a:lstStyle/>
                <a:p>
                  <a:endParaRPr lang="en-GB"/>
                </a:p>
              </p:txBody>
            </p:sp>
            <p:sp>
              <p:nvSpPr>
                <p:cNvPr id="3071" name="Vrije vorm: vorm 3070">
                  <a:extLst>
                    <a:ext uri="{FF2B5EF4-FFF2-40B4-BE49-F238E27FC236}">
                      <a16:creationId xmlns:a16="http://schemas.microsoft.com/office/drawing/2014/main" id="{48905EDE-8C1D-42EC-8E47-AC4714DF87DA}"/>
                    </a:ext>
                  </a:extLst>
                </p:cNvPr>
                <p:cNvSpPr/>
                <p:nvPr/>
              </p:nvSpPr>
              <p:spPr>
                <a:xfrm>
                  <a:off x="5175763" y="1917521"/>
                  <a:ext cx="18307" cy="18438"/>
                </a:xfrm>
                <a:custGeom>
                  <a:avLst/>
                  <a:gdLst>
                    <a:gd name="connsiteX0" fmla="*/ 17258 w 18307"/>
                    <a:gd name="connsiteY0" fmla="*/ 4962 h 18438"/>
                    <a:gd name="connsiteX1" fmla="*/ 13430 w 18307"/>
                    <a:gd name="connsiteY1" fmla="*/ 17402 h 18438"/>
                    <a:gd name="connsiteX2" fmla="*/ 1050 w 18307"/>
                    <a:gd name="connsiteY2" fmla="*/ 13515 h 18438"/>
                    <a:gd name="connsiteX3" fmla="*/ 4878 w 18307"/>
                    <a:gd name="connsiteY3" fmla="*/ 1075 h 18438"/>
                    <a:gd name="connsiteX4" fmla="*/ 17258 w 18307"/>
                    <a:gd name="connsiteY4" fmla="*/ 496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17258" y="4962"/>
                      </a:moveTo>
                      <a:cubicBezTo>
                        <a:pt x="19590" y="9448"/>
                        <a:pt x="17916" y="15010"/>
                        <a:pt x="13430" y="17402"/>
                      </a:cubicBezTo>
                      <a:cubicBezTo>
                        <a:pt x="8944" y="19735"/>
                        <a:pt x="3382" y="18000"/>
                        <a:pt x="1050" y="13515"/>
                      </a:cubicBezTo>
                      <a:cubicBezTo>
                        <a:pt x="-1283" y="9029"/>
                        <a:pt x="392" y="3467"/>
                        <a:pt x="4878" y="1075"/>
                      </a:cubicBezTo>
                      <a:cubicBezTo>
                        <a:pt x="9363" y="-1318"/>
                        <a:pt x="14925" y="417"/>
                        <a:pt x="17258" y="4962"/>
                      </a:cubicBezTo>
                      <a:close/>
                    </a:path>
                  </a:pathLst>
                </a:custGeom>
                <a:grpFill/>
                <a:ln w="5978" cap="flat">
                  <a:noFill/>
                  <a:prstDash val="solid"/>
                  <a:miter/>
                </a:ln>
              </p:spPr>
              <p:txBody>
                <a:bodyPr rtlCol="0" anchor="ctr"/>
                <a:lstStyle/>
                <a:p>
                  <a:endParaRPr lang="en-GB"/>
                </a:p>
              </p:txBody>
            </p:sp>
            <p:sp>
              <p:nvSpPr>
                <p:cNvPr id="3072" name="Vrije vorm: vorm 3071">
                  <a:extLst>
                    <a:ext uri="{FF2B5EF4-FFF2-40B4-BE49-F238E27FC236}">
                      <a16:creationId xmlns:a16="http://schemas.microsoft.com/office/drawing/2014/main" id="{31796557-D9BD-4B0C-9AE6-1D64FC0F7D6C}"/>
                    </a:ext>
                  </a:extLst>
                </p:cNvPr>
                <p:cNvSpPr/>
                <p:nvPr/>
              </p:nvSpPr>
              <p:spPr>
                <a:xfrm>
                  <a:off x="4678260" y="964445"/>
                  <a:ext cx="18322" cy="18453"/>
                </a:xfrm>
                <a:custGeom>
                  <a:avLst/>
                  <a:gdLst>
                    <a:gd name="connsiteX0" fmla="*/ 17284 w 18322"/>
                    <a:gd name="connsiteY0" fmla="*/ 4951 h 18453"/>
                    <a:gd name="connsiteX1" fmla="*/ 4904 w 18322"/>
                    <a:gd name="connsiteY1" fmla="*/ 1063 h 18453"/>
                    <a:gd name="connsiteX2" fmla="*/ 1076 w 18322"/>
                    <a:gd name="connsiteY2" fmla="*/ 13503 h 18453"/>
                    <a:gd name="connsiteX3" fmla="*/ 13457 w 18322"/>
                    <a:gd name="connsiteY3" fmla="*/ 17390 h 18453"/>
                    <a:gd name="connsiteX4" fmla="*/ 17284 w 18322"/>
                    <a:gd name="connsiteY4" fmla="*/ 495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7284" y="4951"/>
                      </a:moveTo>
                      <a:cubicBezTo>
                        <a:pt x="14952" y="465"/>
                        <a:pt x="9390" y="-1329"/>
                        <a:pt x="4904" y="1063"/>
                      </a:cubicBezTo>
                      <a:cubicBezTo>
                        <a:pt x="419" y="3396"/>
                        <a:pt x="-1316" y="8958"/>
                        <a:pt x="1076" y="13503"/>
                      </a:cubicBezTo>
                      <a:cubicBezTo>
                        <a:pt x="3409" y="17989"/>
                        <a:pt x="8971" y="19783"/>
                        <a:pt x="13457" y="17390"/>
                      </a:cubicBezTo>
                      <a:cubicBezTo>
                        <a:pt x="17882" y="15058"/>
                        <a:pt x="19616" y="9496"/>
                        <a:pt x="17284" y="4951"/>
                      </a:cubicBezTo>
                      <a:close/>
                    </a:path>
                  </a:pathLst>
                </a:custGeom>
                <a:grpFill/>
                <a:ln w="5978" cap="flat">
                  <a:noFill/>
                  <a:prstDash val="solid"/>
                  <a:miter/>
                </a:ln>
              </p:spPr>
              <p:txBody>
                <a:bodyPr rtlCol="0" anchor="ctr"/>
                <a:lstStyle/>
                <a:p>
                  <a:endParaRPr lang="en-GB"/>
                </a:p>
              </p:txBody>
            </p:sp>
          </p:grpSp>
          <p:grpSp>
            <p:nvGrpSpPr>
              <p:cNvPr id="775" name="Graphic 3">
                <a:extLst>
                  <a:ext uri="{FF2B5EF4-FFF2-40B4-BE49-F238E27FC236}">
                    <a16:creationId xmlns:a16="http://schemas.microsoft.com/office/drawing/2014/main" id="{33C20397-7699-4AA0-B6B8-B2274B3FD4F5}"/>
                  </a:ext>
                </a:extLst>
              </p:cNvPr>
              <p:cNvGrpSpPr/>
              <p:nvPr/>
            </p:nvGrpSpPr>
            <p:grpSpPr>
              <a:xfrm>
                <a:off x="4678506" y="964288"/>
                <a:ext cx="417392" cy="731576"/>
                <a:chOff x="4678506" y="964288"/>
                <a:chExt cx="417392" cy="731576"/>
              </a:xfrm>
              <a:grpFill/>
            </p:grpSpPr>
            <p:sp>
              <p:nvSpPr>
                <p:cNvPr id="3067" name="Vrije vorm: vorm 3066">
                  <a:extLst>
                    <a:ext uri="{FF2B5EF4-FFF2-40B4-BE49-F238E27FC236}">
                      <a16:creationId xmlns:a16="http://schemas.microsoft.com/office/drawing/2014/main" id="{0C3E1066-0BE9-4E9A-A2EA-7B0BEEA1629F}"/>
                    </a:ext>
                  </a:extLst>
                </p:cNvPr>
                <p:cNvSpPr/>
                <p:nvPr/>
              </p:nvSpPr>
              <p:spPr>
                <a:xfrm>
                  <a:off x="4685652" y="972453"/>
                  <a:ext cx="402794" cy="715041"/>
                </a:xfrm>
                <a:custGeom>
                  <a:avLst/>
                  <a:gdLst>
                    <a:gd name="connsiteX0" fmla="*/ 0 w 402794"/>
                    <a:gd name="connsiteY0" fmla="*/ 1492 h 715041"/>
                    <a:gd name="connsiteX1" fmla="*/ 2660 w 402794"/>
                    <a:gd name="connsiteY1" fmla="*/ 0 h 715041"/>
                    <a:gd name="connsiteX2" fmla="*/ 402795 w 402794"/>
                    <a:gd name="connsiteY2" fmla="*/ 713549 h 715041"/>
                    <a:gd name="connsiteX3" fmla="*/ 400134 w 402794"/>
                    <a:gd name="connsiteY3" fmla="*/ 715041 h 715041"/>
                  </a:gdLst>
                  <a:ahLst/>
                  <a:cxnLst>
                    <a:cxn ang="0">
                      <a:pos x="connsiteX0" y="connsiteY0"/>
                    </a:cxn>
                    <a:cxn ang="0">
                      <a:pos x="connsiteX1" y="connsiteY1"/>
                    </a:cxn>
                    <a:cxn ang="0">
                      <a:pos x="connsiteX2" y="connsiteY2"/>
                    </a:cxn>
                    <a:cxn ang="0">
                      <a:pos x="connsiteX3" y="connsiteY3"/>
                    </a:cxn>
                  </a:cxnLst>
                  <a:rect l="l" t="t" r="r" b="b"/>
                  <a:pathLst>
                    <a:path w="402794" h="715041">
                      <a:moveTo>
                        <a:pt x="0" y="1492"/>
                      </a:moveTo>
                      <a:lnTo>
                        <a:pt x="2660" y="0"/>
                      </a:lnTo>
                      <a:lnTo>
                        <a:pt x="402795" y="713549"/>
                      </a:lnTo>
                      <a:lnTo>
                        <a:pt x="400134" y="715041"/>
                      </a:lnTo>
                      <a:close/>
                    </a:path>
                  </a:pathLst>
                </a:custGeom>
                <a:grpFill/>
                <a:ln w="5978" cap="flat">
                  <a:noFill/>
                  <a:prstDash val="solid"/>
                  <a:miter/>
                </a:ln>
              </p:spPr>
              <p:txBody>
                <a:bodyPr rtlCol="0" anchor="ctr"/>
                <a:lstStyle/>
                <a:p>
                  <a:endParaRPr lang="en-GB"/>
                </a:p>
              </p:txBody>
            </p:sp>
            <p:sp>
              <p:nvSpPr>
                <p:cNvPr id="3068" name="Vrije vorm: vorm 3067">
                  <a:extLst>
                    <a:ext uri="{FF2B5EF4-FFF2-40B4-BE49-F238E27FC236}">
                      <a16:creationId xmlns:a16="http://schemas.microsoft.com/office/drawing/2014/main" id="{B21EBCF5-1137-4A9D-ABB7-18FB0D09529F}"/>
                    </a:ext>
                  </a:extLst>
                </p:cNvPr>
                <p:cNvSpPr/>
                <p:nvPr/>
              </p:nvSpPr>
              <p:spPr>
                <a:xfrm>
                  <a:off x="4678506" y="964288"/>
                  <a:ext cx="18346" cy="18447"/>
                </a:xfrm>
                <a:custGeom>
                  <a:avLst/>
                  <a:gdLst>
                    <a:gd name="connsiteX0" fmla="*/ 1189 w 18346"/>
                    <a:gd name="connsiteY0" fmla="*/ 13720 h 18447"/>
                    <a:gd name="connsiteX1" fmla="*/ 4658 w 18346"/>
                    <a:gd name="connsiteY1" fmla="*/ 1160 h 18447"/>
                    <a:gd name="connsiteX2" fmla="*/ 17157 w 18346"/>
                    <a:gd name="connsiteY2" fmla="*/ 4689 h 18447"/>
                    <a:gd name="connsiteX3" fmla="*/ 13688 w 18346"/>
                    <a:gd name="connsiteY3" fmla="*/ 17248 h 18447"/>
                    <a:gd name="connsiteX4" fmla="*/ 1189 w 18346"/>
                    <a:gd name="connsiteY4" fmla="*/ 1372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7">
                      <a:moveTo>
                        <a:pt x="1189" y="13720"/>
                      </a:moveTo>
                      <a:cubicBezTo>
                        <a:pt x="-1323" y="9294"/>
                        <a:pt x="292" y="3672"/>
                        <a:pt x="4658" y="1160"/>
                      </a:cubicBezTo>
                      <a:cubicBezTo>
                        <a:pt x="9083" y="-1292"/>
                        <a:pt x="14645" y="263"/>
                        <a:pt x="17157" y="4689"/>
                      </a:cubicBezTo>
                      <a:cubicBezTo>
                        <a:pt x="19669" y="9115"/>
                        <a:pt x="18054" y="14737"/>
                        <a:pt x="13688" y="17248"/>
                      </a:cubicBezTo>
                      <a:cubicBezTo>
                        <a:pt x="9263" y="19760"/>
                        <a:pt x="3641" y="18205"/>
                        <a:pt x="1189" y="13720"/>
                      </a:cubicBezTo>
                      <a:close/>
                    </a:path>
                  </a:pathLst>
                </a:custGeom>
                <a:grpFill/>
                <a:ln w="5978" cap="flat">
                  <a:noFill/>
                  <a:prstDash val="solid"/>
                  <a:miter/>
                </a:ln>
              </p:spPr>
              <p:txBody>
                <a:bodyPr rtlCol="0" anchor="ctr"/>
                <a:lstStyle/>
                <a:p>
                  <a:endParaRPr lang="en-GB"/>
                </a:p>
              </p:txBody>
            </p:sp>
            <p:sp>
              <p:nvSpPr>
                <p:cNvPr id="3069" name="Vrije vorm: vorm 3068">
                  <a:extLst>
                    <a:ext uri="{FF2B5EF4-FFF2-40B4-BE49-F238E27FC236}">
                      <a16:creationId xmlns:a16="http://schemas.microsoft.com/office/drawing/2014/main" id="{B961EFF1-49C5-4F6E-A5D1-F8E005BC0E27}"/>
                    </a:ext>
                  </a:extLst>
                </p:cNvPr>
                <p:cNvSpPr/>
                <p:nvPr/>
              </p:nvSpPr>
              <p:spPr>
                <a:xfrm>
                  <a:off x="5077567" y="1677403"/>
                  <a:ext cx="18332" cy="18461"/>
                </a:xfrm>
                <a:custGeom>
                  <a:avLst/>
                  <a:gdLst>
                    <a:gd name="connsiteX0" fmla="*/ 1162 w 18332"/>
                    <a:gd name="connsiteY0" fmla="*/ 13746 h 18461"/>
                    <a:gd name="connsiteX1" fmla="*/ 13662 w 18332"/>
                    <a:gd name="connsiteY1" fmla="*/ 17275 h 18461"/>
                    <a:gd name="connsiteX2" fmla="*/ 17131 w 18332"/>
                    <a:gd name="connsiteY2" fmla="*/ 4715 h 18461"/>
                    <a:gd name="connsiteX3" fmla="*/ 4631 w 18332"/>
                    <a:gd name="connsiteY3" fmla="*/ 1187 h 18461"/>
                    <a:gd name="connsiteX4" fmla="*/ 1162 w 18332"/>
                    <a:gd name="connsiteY4" fmla="*/ 1374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61">
                      <a:moveTo>
                        <a:pt x="1162" y="13746"/>
                      </a:moveTo>
                      <a:cubicBezTo>
                        <a:pt x="3674" y="18172"/>
                        <a:pt x="9236" y="19787"/>
                        <a:pt x="13662" y="17275"/>
                      </a:cubicBezTo>
                      <a:cubicBezTo>
                        <a:pt x="18088" y="14823"/>
                        <a:pt x="19643" y="9201"/>
                        <a:pt x="17131" y="4715"/>
                      </a:cubicBezTo>
                      <a:cubicBezTo>
                        <a:pt x="14619" y="290"/>
                        <a:pt x="9057" y="-1325"/>
                        <a:pt x="4631" y="1187"/>
                      </a:cubicBezTo>
                      <a:cubicBezTo>
                        <a:pt x="265" y="3699"/>
                        <a:pt x="-1290" y="9261"/>
                        <a:pt x="1162" y="13746"/>
                      </a:cubicBezTo>
                      <a:close/>
                    </a:path>
                  </a:pathLst>
                </a:custGeom>
                <a:grpFill/>
                <a:ln w="5978" cap="flat">
                  <a:noFill/>
                  <a:prstDash val="solid"/>
                  <a:miter/>
                </a:ln>
              </p:spPr>
              <p:txBody>
                <a:bodyPr rtlCol="0" anchor="ctr"/>
                <a:lstStyle/>
                <a:p>
                  <a:endParaRPr lang="en-GB"/>
                </a:p>
              </p:txBody>
            </p:sp>
          </p:grpSp>
          <p:grpSp>
            <p:nvGrpSpPr>
              <p:cNvPr id="776" name="Graphic 3">
                <a:extLst>
                  <a:ext uri="{FF2B5EF4-FFF2-40B4-BE49-F238E27FC236}">
                    <a16:creationId xmlns:a16="http://schemas.microsoft.com/office/drawing/2014/main" id="{2EF093E7-2B97-4CF6-A336-FE1816F49A24}"/>
                  </a:ext>
                </a:extLst>
              </p:cNvPr>
              <p:cNvGrpSpPr/>
              <p:nvPr/>
            </p:nvGrpSpPr>
            <p:grpSpPr>
              <a:xfrm>
                <a:off x="6234015" y="5086698"/>
                <a:ext cx="43077" cy="606217"/>
                <a:chOff x="6234015" y="5086698"/>
                <a:chExt cx="43077" cy="606217"/>
              </a:xfrm>
              <a:grpFill/>
            </p:grpSpPr>
            <p:sp>
              <p:nvSpPr>
                <p:cNvPr id="3064" name="Vrije vorm: vorm 3063">
                  <a:extLst>
                    <a:ext uri="{FF2B5EF4-FFF2-40B4-BE49-F238E27FC236}">
                      <a16:creationId xmlns:a16="http://schemas.microsoft.com/office/drawing/2014/main" id="{6BD8BCA6-D110-43D6-8551-C0D1B7BF4D74}"/>
                    </a:ext>
                  </a:extLst>
                </p:cNvPr>
                <p:cNvSpPr/>
                <p:nvPr/>
              </p:nvSpPr>
              <p:spPr>
                <a:xfrm>
                  <a:off x="6241620" y="5095435"/>
                  <a:ext cx="27810" cy="588802"/>
                </a:xfrm>
                <a:custGeom>
                  <a:avLst/>
                  <a:gdLst>
                    <a:gd name="connsiteX0" fmla="*/ 3050 w 27810"/>
                    <a:gd name="connsiteY0" fmla="*/ 0 h 588802"/>
                    <a:gd name="connsiteX1" fmla="*/ 27811 w 27810"/>
                    <a:gd name="connsiteY1" fmla="*/ 588682 h 588802"/>
                    <a:gd name="connsiteX2" fmla="*/ 24760 w 27810"/>
                    <a:gd name="connsiteY2" fmla="*/ 588802 h 588802"/>
                    <a:gd name="connsiteX3" fmla="*/ 0 w 27810"/>
                    <a:gd name="connsiteY3" fmla="*/ 119 h 588802"/>
                  </a:gdLst>
                  <a:ahLst/>
                  <a:cxnLst>
                    <a:cxn ang="0">
                      <a:pos x="connsiteX0" y="connsiteY0"/>
                    </a:cxn>
                    <a:cxn ang="0">
                      <a:pos x="connsiteX1" y="connsiteY1"/>
                    </a:cxn>
                    <a:cxn ang="0">
                      <a:pos x="connsiteX2" y="connsiteY2"/>
                    </a:cxn>
                    <a:cxn ang="0">
                      <a:pos x="connsiteX3" y="connsiteY3"/>
                    </a:cxn>
                  </a:cxnLst>
                  <a:rect l="l" t="t" r="r" b="b"/>
                  <a:pathLst>
                    <a:path w="27810" h="588802">
                      <a:moveTo>
                        <a:pt x="3050" y="0"/>
                      </a:moveTo>
                      <a:lnTo>
                        <a:pt x="27811" y="588682"/>
                      </a:lnTo>
                      <a:lnTo>
                        <a:pt x="24760" y="588802"/>
                      </a:lnTo>
                      <a:lnTo>
                        <a:pt x="0" y="119"/>
                      </a:lnTo>
                      <a:close/>
                    </a:path>
                  </a:pathLst>
                </a:custGeom>
                <a:grpFill/>
                <a:ln w="5978" cap="flat">
                  <a:noFill/>
                  <a:prstDash val="solid"/>
                  <a:miter/>
                </a:ln>
              </p:spPr>
              <p:txBody>
                <a:bodyPr rtlCol="0" anchor="ctr"/>
                <a:lstStyle/>
                <a:p>
                  <a:endParaRPr lang="en-GB"/>
                </a:p>
              </p:txBody>
            </p:sp>
            <p:sp>
              <p:nvSpPr>
                <p:cNvPr id="3065" name="Vrije vorm: vorm 3064">
                  <a:extLst>
                    <a:ext uri="{FF2B5EF4-FFF2-40B4-BE49-F238E27FC236}">
                      <a16:creationId xmlns:a16="http://schemas.microsoft.com/office/drawing/2014/main" id="{4FA23C65-6D2D-418C-9777-959E8F155B5C}"/>
                    </a:ext>
                  </a:extLst>
                </p:cNvPr>
                <p:cNvSpPr/>
                <p:nvPr/>
              </p:nvSpPr>
              <p:spPr>
                <a:xfrm>
                  <a:off x="6234015" y="5086698"/>
                  <a:ext cx="18381" cy="18436"/>
                </a:xfrm>
                <a:custGeom>
                  <a:avLst/>
                  <a:gdLst>
                    <a:gd name="connsiteX0" fmla="*/ 10 w 18381"/>
                    <a:gd name="connsiteY0" fmla="*/ 9575 h 18436"/>
                    <a:gd name="connsiteX1" fmla="*/ 8802 w 18381"/>
                    <a:gd name="connsiteY1" fmla="*/ 6 h 18436"/>
                    <a:gd name="connsiteX2" fmla="*/ 18371 w 18381"/>
                    <a:gd name="connsiteY2" fmla="*/ 8857 h 18436"/>
                    <a:gd name="connsiteX3" fmla="*/ 9579 w 18381"/>
                    <a:gd name="connsiteY3" fmla="*/ 18427 h 18436"/>
                    <a:gd name="connsiteX4" fmla="*/ 10 w 18381"/>
                    <a:gd name="connsiteY4" fmla="*/ 9575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36">
                      <a:moveTo>
                        <a:pt x="10" y="9575"/>
                      </a:moveTo>
                      <a:cubicBezTo>
                        <a:pt x="-229" y="4491"/>
                        <a:pt x="3718" y="185"/>
                        <a:pt x="8802" y="6"/>
                      </a:cubicBezTo>
                      <a:cubicBezTo>
                        <a:pt x="13885" y="-173"/>
                        <a:pt x="18132" y="3774"/>
                        <a:pt x="18371" y="8857"/>
                      </a:cubicBezTo>
                      <a:cubicBezTo>
                        <a:pt x="18610" y="13941"/>
                        <a:pt x="14663" y="18247"/>
                        <a:pt x="9579" y="18427"/>
                      </a:cubicBezTo>
                      <a:cubicBezTo>
                        <a:pt x="4496" y="18666"/>
                        <a:pt x="190" y="14659"/>
                        <a:pt x="10" y="9575"/>
                      </a:cubicBezTo>
                      <a:close/>
                    </a:path>
                  </a:pathLst>
                </a:custGeom>
                <a:grpFill/>
                <a:ln w="5978" cap="flat">
                  <a:noFill/>
                  <a:prstDash val="solid"/>
                  <a:miter/>
                </a:ln>
              </p:spPr>
              <p:txBody>
                <a:bodyPr rtlCol="0" anchor="ctr"/>
                <a:lstStyle/>
                <a:p>
                  <a:endParaRPr lang="en-GB"/>
                </a:p>
              </p:txBody>
            </p:sp>
            <p:sp>
              <p:nvSpPr>
                <p:cNvPr id="3066" name="Vrije vorm: vorm 3065">
                  <a:extLst>
                    <a:ext uri="{FF2B5EF4-FFF2-40B4-BE49-F238E27FC236}">
                      <a16:creationId xmlns:a16="http://schemas.microsoft.com/office/drawing/2014/main" id="{2C962F7A-FF33-4152-B3C0-34FD30625B27}"/>
                    </a:ext>
                  </a:extLst>
                </p:cNvPr>
                <p:cNvSpPr/>
                <p:nvPr/>
              </p:nvSpPr>
              <p:spPr>
                <a:xfrm>
                  <a:off x="6258715" y="5674483"/>
                  <a:ext cx="18376" cy="18432"/>
                </a:xfrm>
                <a:custGeom>
                  <a:avLst/>
                  <a:gdLst>
                    <a:gd name="connsiteX0" fmla="*/ 10 w 18376"/>
                    <a:gd name="connsiteY0" fmla="*/ 9575 h 18432"/>
                    <a:gd name="connsiteX1" fmla="*/ 9579 w 18376"/>
                    <a:gd name="connsiteY1" fmla="*/ 18426 h 18432"/>
                    <a:gd name="connsiteX2" fmla="*/ 18371 w 18376"/>
                    <a:gd name="connsiteY2" fmla="*/ 8857 h 18432"/>
                    <a:gd name="connsiteX3" fmla="*/ 8802 w 18376"/>
                    <a:gd name="connsiteY3" fmla="*/ 6 h 18432"/>
                    <a:gd name="connsiteX4" fmla="*/ 10 w 18376"/>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2">
                      <a:moveTo>
                        <a:pt x="10" y="9575"/>
                      </a:moveTo>
                      <a:cubicBezTo>
                        <a:pt x="249" y="14658"/>
                        <a:pt x="4496" y="18606"/>
                        <a:pt x="9579" y="18426"/>
                      </a:cubicBezTo>
                      <a:cubicBezTo>
                        <a:pt x="14663" y="18247"/>
                        <a:pt x="18550" y="13941"/>
                        <a:pt x="18371" y="8857"/>
                      </a:cubicBezTo>
                      <a:cubicBezTo>
                        <a:pt x="18132" y="3774"/>
                        <a:pt x="13885" y="-174"/>
                        <a:pt x="8802" y="6"/>
                      </a:cubicBezTo>
                      <a:cubicBezTo>
                        <a:pt x="3718" y="245"/>
                        <a:pt x="-229" y="4491"/>
                        <a:pt x="10" y="9575"/>
                      </a:cubicBezTo>
                      <a:close/>
                    </a:path>
                  </a:pathLst>
                </a:custGeom>
                <a:grpFill/>
                <a:ln w="5978" cap="flat">
                  <a:noFill/>
                  <a:prstDash val="solid"/>
                  <a:miter/>
                </a:ln>
              </p:spPr>
              <p:txBody>
                <a:bodyPr rtlCol="0" anchor="ctr"/>
                <a:lstStyle/>
                <a:p>
                  <a:endParaRPr lang="en-GB"/>
                </a:p>
              </p:txBody>
            </p:sp>
          </p:grpSp>
          <p:grpSp>
            <p:nvGrpSpPr>
              <p:cNvPr id="777" name="Graphic 3">
                <a:extLst>
                  <a:ext uri="{FF2B5EF4-FFF2-40B4-BE49-F238E27FC236}">
                    <a16:creationId xmlns:a16="http://schemas.microsoft.com/office/drawing/2014/main" id="{245C387E-7307-42C4-BD6B-6E98E3DCCD17}"/>
                  </a:ext>
                </a:extLst>
              </p:cNvPr>
              <p:cNvGrpSpPr/>
              <p:nvPr/>
            </p:nvGrpSpPr>
            <p:grpSpPr>
              <a:xfrm>
                <a:off x="6172691" y="5097326"/>
                <a:ext cx="30376" cy="179468"/>
                <a:chOff x="6172691" y="5097326"/>
                <a:chExt cx="30376" cy="179468"/>
              </a:xfrm>
              <a:grpFill/>
            </p:grpSpPr>
            <p:sp>
              <p:nvSpPr>
                <p:cNvPr id="3061" name="Vrije vorm: vorm 3060">
                  <a:extLst>
                    <a:ext uri="{FF2B5EF4-FFF2-40B4-BE49-F238E27FC236}">
                      <a16:creationId xmlns:a16="http://schemas.microsoft.com/office/drawing/2014/main" id="{BDAB4BA2-C0E3-42F7-A821-951F188ADF0B}"/>
                    </a:ext>
                  </a:extLst>
                </p:cNvPr>
                <p:cNvSpPr/>
                <p:nvPr/>
              </p:nvSpPr>
              <p:spPr>
                <a:xfrm>
                  <a:off x="6180258" y="5106021"/>
                  <a:ext cx="15191" cy="162077"/>
                </a:xfrm>
                <a:custGeom>
                  <a:avLst/>
                  <a:gdLst>
                    <a:gd name="connsiteX0" fmla="*/ 3050 w 15191"/>
                    <a:gd name="connsiteY0" fmla="*/ 0 h 162077"/>
                    <a:gd name="connsiteX1" fmla="*/ 15191 w 15191"/>
                    <a:gd name="connsiteY1" fmla="*/ 161838 h 162077"/>
                    <a:gd name="connsiteX2" fmla="*/ 12141 w 15191"/>
                    <a:gd name="connsiteY2" fmla="*/ 162078 h 162077"/>
                    <a:gd name="connsiteX3" fmla="*/ 0 w 15191"/>
                    <a:gd name="connsiteY3" fmla="*/ 180 h 162077"/>
                  </a:gdLst>
                  <a:ahLst/>
                  <a:cxnLst>
                    <a:cxn ang="0">
                      <a:pos x="connsiteX0" y="connsiteY0"/>
                    </a:cxn>
                    <a:cxn ang="0">
                      <a:pos x="connsiteX1" y="connsiteY1"/>
                    </a:cxn>
                    <a:cxn ang="0">
                      <a:pos x="connsiteX2" y="connsiteY2"/>
                    </a:cxn>
                    <a:cxn ang="0">
                      <a:pos x="connsiteX3" y="connsiteY3"/>
                    </a:cxn>
                  </a:cxnLst>
                  <a:rect l="l" t="t" r="r" b="b"/>
                  <a:pathLst>
                    <a:path w="15191" h="162077">
                      <a:moveTo>
                        <a:pt x="3050" y="0"/>
                      </a:moveTo>
                      <a:lnTo>
                        <a:pt x="15191" y="161838"/>
                      </a:lnTo>
                      <a:lnTo>
                        <a:pt x="12141" y="162078"/>
                      </a:lnTo>
                      <a:lnTo>
                        <a:pt x="0" y="180"/>
                      </a:lnTo>
                      <a:close/>
                    </a:path>
                  </a:pathLst>
                </a:custGeom>
                <a:grpFill/>
                <a:ln w="5978" cap="flat">
                  <a:noFill/>
                  <a:prstDash val="solid"/>
                  <a:miter/>
                </a:ln>
              </p:spPr>
              <p:txBody>
                <a:bodyPr rtlCol="0" anchor="ctr"/>
                <a:lstStyle/>
                <a:p>
                  <a:endParaRPr lang="en-GB"/>
                </a:p>
              </p:txBody>
            </p:sp>
            <p:sp>
              <p:nvSpPr>
                <p:cNvPr id="3062" name="Vrije vorm: vorm 3061">
                  <a:extLst>
                    <a:ext uri="{FF2B5EF4-FFF2-40B4-BE49-F238E27FC236}">
                      <a16:creationId xmlns:a16="http://schemas.microsoft.com/office/drawing/2014/main" id="{448BC00F-469B-481E-87EB-BF9799F9FA86}"/>
                    </a:ext>
                  </a:extLst>
                </p:cNvPr>
                <p:cNvSpPr/>
                <p:nvPr/>
              </p:nvSpPr>
              <p:spPr>
                <a:xfrm>
                  <a:off x="6184780" y="5258327"/>
                  <a:ext cx="18288" cy="18467"/>
                </a:xfrm>
                <a:custGeom>
                  <a:avLst/>
                  <a:gdLst>
                    <a:gd name="connsiteX0" fmla="*/ 18265 w 18288"/>
                    <a:gd name="connsiteY0" fmla="*/ 8576 h 18467"/>
                    <a:gd name="connsiteX1" fmla="*/ 9832 w 18288"/>
                    <a:gd name="connsiteY1" fmla="*/ 18444 h 18467"/>
                    <a:gd name="connsiteX2" fmla="*/ 24 w 18288"/>
                    <a:gd name="connsiteY2" fmla="*/ 9891 h 18467"/>
                    <a:gd name="connsiteX3" fmla="*/ 8457 w 18288"/>
                    <a:gd name="connsiteY3" fmla="*/ 23 h 18467"/>
                    <a:gd name="connsiteX4" fmla="*/ 18265 w 18288"/>
                    <a:gd name="connsiteY4" fmla="*/ 8576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7">
                      <a:moveTo>
                        <a:pt x="18265" y="8576"/>
                      </a:moveTo>
                      <a:cubicBezTo>
                        <a:pt x="18624" y="13659"/>
                        <a:pt x="14856" y="18085"/>
                        <a:pt x="9832" y="18444"/>
                      </a:cubicBezTo>
                      <a:cubicBezTo>
                        <a:pt x="4808" y="18803"/>
                        <a:pt x="382" y="14975"/>
                        <a:pt x="24" y="9891"/>
                      </a:cubicBezTo>
                      <a:cubicBezTo>
                        <a:pt x="-335" y="4808"/>
                        <a:pt x="3433" y="382"/>
                        <a:pt x="8457" y="23"/>
                      </a:cubicBezTo>
                      <a:cubicBezTo>
                        <a:pt x="13480" y="-336"/>
                        <a:pt x="17846" y="3492"/>
                        <a:pt x="18265" y="8576"/>
                      </a:cubicBezTo>
                      <a:close/>
                    </a:path>
                  </a:pathLst>
                </a:custGeom>
                <a:grpFill/>
                <a:ln w="5978" cap="flat">
                  <a:noFill/>
                  <a:prstDash val="solid"/>
                  <a:miter/>
                </a:ln>
              </p:spPr>
              <p:txBody>
                <a:bodyPr rtlCol="0" anchor="ctr"/>
                <a:lstStyle/>
                <a:p>
                  <a:endParaRPr lang="en-GB"/>
                </a:p>
              </p:txBody>
            </p:sp>
            <p:sp>
              <p:nvSpPr>
                <p:cNvPr id="3063" name="Vrije vorm: vorm 3062">
                  <a:extLst>
                    <a:ext uri="{FF2B5EF4-FFF2-40B4-BE49-F238E27FC236}">
                      <a16:creationId xmlns:a16="http://schemas.microsoft.com/office/drawing/2014/main" id="{C8E8A646-2384-4D89-B68C-E2B9804A81E1}"/>
                    </a:ext>
                  </a:extLst>
                </p:cNvPr>
                <p:cNvSpPr/>
                <p:nvPr/>
              </p:nvSpPr>
              <p:spPr>
                <a:xfrm>
                  <a:off x="6172691" y="5097326"/>
                  <a:ext cx="18296" cy="18466"/>
                </a:xfrm>
                <a:custGeom>
                  <a:avLst/>
                  <a:gdLst>
                    <a:gd name="connsiteX0" fmla="*/ 18272 w 18296"/>
                    <a:gd name="connsiteY0" fmla="*/ 8576 h 18466"/>
                    <a:gd name="connsiteX1" fmla="*/ 8464 w 18296"/>
                    <a:gd name="connsiteY1" fmla="*/ 23 h 18466"/>
                    <a:gd name="connsiteX2" fmla="*/ 31 w 18296"/>
                    <a:gd name="connsiteY2" fmla="*/ 9891 h 18466"/>
                    <a:gd name="connsiteX3" fmla="*/ 9839 w 18296"/>
                    <a:gd name="connsiteY3" fmla="*/ 18444 h 18466"/>
                    <a:gd name="connsiteX4" fmla="*/ 18272 w 18296"/>
                    <a:gd name="connsiteY4" fmla="*/ 857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6">
                      <a:moveTo>
                        <a:pt x="18272" y="8576"/>
                      </a:moveTo>
                      <a:cubicBezTo>
                        <a:pt x="17914" y="3492"/>
                        <a:pt x="13488" y="-336"/>
                        <a:pt x="8464" y="23"/>
                      </a:cubicBezTo>
                      <a:cubicBezTo>
                        <a:pt x="3440" y="382"/>
                        <a:pt x="-387" y="4808"/>
                        <a:pt x="31" y="9891"/>
                      </a:cubicBezTo>
                      <a:cubicBezTo>
                        <a:pt x="390" y="14975"/>
                        <a:pt x="4816" y="18802"/>
                        <a:pt x="9839" y="18444"/>
                      </a:cubicBezTo>
                      <a:cubicBezTo>
                        <a:pt x="14863" y="18085"/>
                        <a:pt x="18631" y="13659"/>
                        <a:pt x="18272" y="8576"/>
                      </a:cubicBezTo>
                      <a:close/>
                    </a:path>
                  </a:pathLst>
                </a:custGeom>
                <a:grpFill/>
                <a:ln w="5978" cap="flat">
                  <a:noFill/>
                  <a:prstDash val="solid"/>
                  <a:miter/>
                </a:ln>
              </p:spPr>
              <p:txBody>
                <a:bodyPr rtlCol="0" anchor="ctr"/>
                <a:lstStyle/>
                <a:p>
                  <a:endParaRPr lang="en-GB"/>
                </a:p>
              </p:txBody>
            </p:sp>
          </p:grpSp>
          <p:grpSp>
            <p:nvGrpSpPr>
              <p:cNvPr id="778" name="Graphic 3">
                <a:extLst>
                  <a:ext uri="{FF2B5EF4-FFF2-40B4-BE49-F238E27FC236}">
                    <a16:creationId xmlns:a16="http://schemas.microsoft.com/office/drawing/2014/main" id="{C344EBC8-42B2-403B-A3CC-5BAA79515C27}"/>
                  </a:ext>
                </a:extLst>
              </p:cNvPr>
              <p:cNvGrpSpPr/>
              <p:nvPr/>
            </p:nvGrpSpPr>
            <p:grpSpPr>
              <a:xfrm>
                <a:off x="6280192" y="5492383"/>
                <a:ext cx="18728" cy="21707"/>
                <a:chOff x="6280192" y="5492383"/>
                <a:chExt cx="18728" cy="21707"/>
              </a:xfrm>
              <a:grpFill/>
            </p:grpSpPr>
            <p:sp>
              <p:nvSpPr>
                <p:cNvPr id="3059" name="Vrije vorm: vorm 3058">
                  <a:extLst>
                    <a:ext uri="{FF2B5EF4-FFF2-40B4-BE49-F238E27FC236}">
                      <a16:creationId xmlns:a16="http://schemas.microsoft.com/office/drawing/2014/main" id="{CD298977-35FB-4F53-AD38-B0AF4F3F8FB0}"/>
                    </a:ext>
                  </a:extLst>
                </p:cNvPr>
                <p:cNvSpPr/>
                <p:nvPr/>
              </p:nvSpPr>
              <p:spPr>
                <a:xfrm>
                  <a:off x="6280192" y="5492383"/>
                  <a:ext cx="18369" cy="18406"/>
                </a:xfrm>
                <a:custGeom>
                  <a:avLst/>
                  <a:gdLst>
                    <a:gd name="connsiteX0" fmla="*/ 18305 w 18369"/>
                    <a:gd name="connsiteY0" fmla="*/ 8186 h 18406"/>
                    <a:gd name="connsiteX1" fmla="*/ 10231 w 18369"/>
                    <a:gd name="connsiteY1" fmla="*/ 18354 h 18406"/>
                    <a:gd name="connsiteX2" fmla="*/ 64 w 18369"/>
                    <a:gd name="connsiteY2" fmla="*/ 10220 h 18406"/>
                    <a:gd name="connsiteX3" fmla="*/ 8138 w 18369"/>
                    <a:gd name="connsiteY3" fmla="*/ 53 h 18406"/>
                    <a:gd name="connsiteX4" fmla="*/ 18305 w 18369"/>
                    <a:gd name="connsiteY4" fmla="*/ 81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6">
                      <a:moveTo>
                        <a:pt x="18305" y="8186"/>
                      </a:moveTo>
                      <a:cubicBezTo>
                        <a:pt x="18904" y="13270"/>
                        <a:pt x="15255" y="17815"/>
                        <a:pt x="10231" y="18354"/>
                      </a:cubicBezTo>
                      <a:cubicBezTo>
                        <a:pt x="5208" y="18892"/>
                        <a:pt x="662" y="15244"/>
                        <a:pt x="64" y="10220"/>
                      </a:cubicBezTo>
                      <a:cubicBezTo>
                        <a:pt x="-534" y="5136"/>
                        <a:pt x="3114" y="591"/>
                        <a:pt x="8138" y="53"/>
                      </a:cubicBezTo>
                      <a:cubicBezTo>
                        <a:pt x="13222" y="-486"/>
                        <a:pt x="17767" y="3162"/>
                        <a:pt x="18305" y="8186"/>
                      </a:cubicBezTo>
                      <a:close/>
                    </a:path>
                  </a:pathLst>
                </a:custGeom>
                <a:grpFill/>
                <a:ln w="5978" cap="flat">
                  <a:noFill/>
                  <a:prstDash val="solid"/>
                  <a:miter/>
                </a:ln>
              </p:spPr>
              <p:txBody>
                <a:bodyPr rtlCol="0" anchor="ctr"/>
                <a:lstStyle/>
                <a:p>
                  <a:endParaRPr lang="en-GB"/>
                </a:p>
              </p:txBody>
            </p:sp>
            <p:sp>
              <p:nvSpPr>
                <p:cNvPr id="3060" name="Vrije vorm: vorm 3059">
                  <a:extLst>
                    <a:ext uri="{FF2B5EF4-FFF2-40B4-BE49-F238E27FC236}">
                      <a16:creationId xmlns:a16="http://schemas.microsoft.com/office/drawing/2014/main" id="{400788CD-FAED-41EC-AA3E-E1262335C990}"/>
                    </a:ext>
                  </a:extLst>
                </p:cNvPr>
                <p:cNvSpPr/>
                <p:nvPr/>
              </p:nvSpPr>
              <p:spPr>
                <a:xfrm>
                  <a:off x="6280551" y="5495661"/>
                  <a:ext cx="18369" cy="18429"/>
                </a:xfrm>
                <a:custGeom>
                  <a:avLst/>
                  <a:gdLst>
                    <a:gd name="connsiteX0" fmla="*/ 18305 w 18369"/>
                    <a:gd name="connsiteY0" fmla="*/ 8198 h 18429"/>
                    <a:gd name="connsiteX1" fmla="*/ 8138 w 18369"/>
                    <a:gd name="connsiteY1" fmla="*/ 64 h 18429"/>
                    <a:gd name="connsiteX2" fmla="*/ 64 w 18369"/>
                    <a:gd name="connsiteY2" fmla="*/ 10232 h 18429"/>
                    <a:gd name="connsiteX3" fmla="*/ 10231 w 18369"/>
                    <a:gd name="connsiteY3" fmla="*/ 18365 h 18429"/>
                    <a:gd name="connsiteX4" fmla="*/ 18305 w 18369"/>
                    <a:gd name="connsiteY4" fmla="*/ 819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29">
                      <a:moveTo>
                        <a:pt x="18305" y="8198"/>
                      </a:moveTo>
                      <a:cubicBezTo>
                        <a:pt x="17707" y="3114"/>
                        <a:pt x="13222" y="-534"/>
                        <a:pt x="8138" y="64"/>
                      </a:cubicBezTo>
                      <a:cubicBezTo>
                        <a:pt x="3114" y="602"/>
                        <a:pt x="-534" y="5148"/>
                        <a:pt x="64" y="10232"/>
                      </a:cubicBezTo>
                      <a:cubicBezTo>
                        <a:pt x="662" y="15315"/>
                        <a:pt x="5148" y="18963"/>
                        <a:pt x="10231" y="18365"/>
                      </a:cubicBezTo>
                      <a:cubicBezTo>
                        <a:pt x="15255" y="17767"/>
                        <a:pt x="18904" y="13222"/>
                        <a:pt x="18305" y="8198"/>
                      </a:cubicBezTo>
                      <a:close/>
                    </a:path>
                  </a:pathLst>
                </a:custGeom>
                <a:grpFill/>
                <a:ln w="5978" cap="flat">
                  <a:noFill/>
                  <a:prstDash val="solid"/>
                  <a:miter/>
                </a:ln>
              </p:spPr>
              <p:txBody>
                <a:bodyPr rtlCol="0" anchor="ctr"/>
                <a:lstStyle/>
                <a:p>
                  <a:endParaRPr lang="en-GB"/>
                </a:p>
              </p:txBody>
            </p:sp>
          </p:grpSp>
          <p:grpSp>
            <p:nvGrpSpPr>
              <p:cNvPr id="779" name="Graphic 3">
                <a:extLst>
                  <a:ext uri="{FF2B5EF4-FFF2-40B4-BE49-F238E27FC236}">
                    <a16:creationId xmlns:a16="http://schemas.microsoft.com/office/drawing/2014/main" id="{C69FAE8D-37E9-4613-AB6B-B1D59FAEDECF}"/>
                  </a:ext>
                </a:extLst>
              </p:cNvPr>
              <p:cNvGrpSpPr/>
              <p:nvPr/>
            </p:nvGrpSpPr>
            <p:grpSpPr>
              <a:xfrm>
                <a:off x="4862052" y="1465921"/>
                <a:ext cx="296249" cy="532532"/>
                <a:chOff x="4862052" y="1465921"/>
                <a:chExt cx="296249" cy="532532"/>
              </a:xfrm>
              <a:grpFill/>
            </p:grpSpPr>
            <p:sp>
              <p:nvSpPr>
                <p:cNvPr id="3056" name="Vrije vorm: vorm 3055">
                  <a:extLst>
                    <a:ext uri="{FF2B5EF4-FFF2-40B4-BE49-F238E27FC236}">
                      <a16:creationId xmlns:a16="http://schemas.microsoft.com/office/drawing/2014/main" id="{9FBEC59F-7DAB-4B31-9904-B3E713DB3265}"/>
                    </a:ext>
                  </a:extLst>
                </p:cNvPr>
                <p:cNvSpPr/>
                <p:nvPr/>
              </p:nvSpPr>
              <p:spPr>
                <a:xfrm>
                  <a:off x="4869643" y="1473989"/>
                  <a:ext cx="281034" cy="516375"/>
                </a:xfrm>
                <a:custGeom>
                  <a:avLst/>
                  <a:gdLst>
                    <a:gd name="connsiteX0" fmla="*/ 281034 w 281034"/>
                    <a:gd name="connsiteY0" fmla="*/ 514940 h 516375"/>
                    <a:gd name="connsiteX1" fmla="*/ 278343 w 281034"/>
                    <a:gd name="connsiteY1" fmla="*/ 516375 h 516375"/>
                    <a:gd name="connsiteX2" fmla="*/ 0 w 281034"/>
                    <a:gd name="connsiteY2" fmla="*/ 1435 h 516375"/>
                    <a:gd name="connsiteX3" fmla="*/ 2691 w 281034"/>
                    <a:gd name="connsiteY3" fmla="*/ 0 h 516375"/>
                  </a:gdLst>
                  <a:ahLst/>
                  <a:cxnLst>
                    <a:cxn ang="0">
                      <a:pos x="connsiteX0" y="connsiteY0"/>
                    </a:cxn>
                    <a:cxn ang="0">
                      <a:pos x="connsiteX1" y="connsiteY1"/>
                    </a:cxn>
                    <a:cxn ang="0">
                      <a:pos x="connsiteX2" y="connsiteY2"/>
                    </a:cxn>
                    <a:cxn ang="0">
                      <a:pos x="connsiteX3" y="connsiteY3"/>
                    </a:cxn>
                  </a:cxnLst>
                  <a:rect l="l" t="t" r="r" b="b"/>
                  <a:pathLst>
                    <a:path w="281034" h="516375">
                      <a:moveTo>
                        <a:pt x="281034" y="514940"/>
                      </a:moveTo>
                      <a:lnTo>
                        <a:pt x="278343" y="516375"/>
                      </a:lnTo>
                      <a:lnTo>
                        <a:pt x="0" y="1435"/>
                      </a:lnTo>
                      <a:lnTo>
                        <a:pt x="2691" y="0"/>
                      </a:lnTo>
                      <a:close/>
                    </a:path>
                  </a:pathLst>
                </a:custGeom>
                <a:grpFill/>
                <a:ln w="5978" cap="flat">
                  <a:noFill/>
                  <a:prstDash val="solid"/>
                  <a:miter/>
                </a:ln>
              </p:spPr>
              <p:txBody>
                <a:bodyPr rtlCol="0" anchor="ctr"/>
                <a:lstStyle/>
                <a:p>
                  <a:endParaRPr lang="en-GB"/>
                </a:p>
              </p:txBody>
            </p:sp>
            <p:sp>
              <p:nvSpPr>
                <p:cNvPr id="3057" name="Vrije vorm: vorm 3056">
                  <a:extLst>
                    <a:ext uri="{FF2B5EF4-FFF2-40B4-BE49-F238E27FC236}">
                      <a16:creationId xmlns:a16="http://schemas.microsoft.com/office/drawing/2014/main" id="{60E60014-860B-4609-AD36-738ADD0C48F7}"/>
                    </a:ext>
                  </a:extLst>
                </p:cNvPr>
                <p:cNvSpPr/>
                <p:nvPr/>
              </p:nvSpPr>
              <p:spPr>
                <a:xfrm>
                  <a:off x="5140003" y="1980024"/>
                  <a:ext cx="18298" cy="18429"/>
                </a:xfrm>
                <a:custGeom>
                  <a:avLst/>
                  <a:gdLst>
                    <a:gd name="connsiteX0" fmla="*/ 17193 w 18298"/>
                    <a:gd name="connsiteY0" fmla="*/ 4838 h 18429"/>
                    <a:gd name="connsiteX1" fmla="*/ 13545 w 18298"/>
                    <a:gd name="connsiteY1" fmla="*/ 17338 h 18429"/>
                    <a:gd name="connsiteX2" fmla="*/ 1105 w 18298"/>
                    <a:gd name="connsiteY2" fmla="*/ 13630 h 18429"/>
                    <a:gd name="connsiteX3" fmla="*/ 4754 w 18298"/>
                    <a:gd name="connsiteY3" fmla="*/ 1130 h 18429"/>
                    <a:gd name="connsiteX4" fmla="*/ 17193 w 18298"/>
                    <a:gd name="connsiteY4" fmla="*/ 483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9">
                      <a:moveTo>
                        <a:pt x="17193" y="4838"/>
                      </a:moveTo>
                      <a:cubicBezTo>
                        <a:pt x="19586" y="9324"/>
                        <a:pt x="17971" y="14886"/>
                        <a:pt x="13545" y="17338"/>
                      </a:cubicBezTo>
                      <a:cubicBezTo>
                        <a:pt x="9119" y="19730"/>
                        <a:pt x="3557" y="18055"/>
                        <a:pt x="1105" y="13630"/>
                      </a:cubicBezTo>
                      <a:cubicBezTo>
                        <a:pt x="-1287" y="9144"/>
                        <a:pt x="328" y="3582"/>
                        <a:pt x="4754" y="1130"/>
                      </a:cubicBezTo>
                      <a:cubicBezTo>
                        <a:pt x="9179" y="-1322"/>
                        <a:pt x="14741" y="352"/>
                        <a:pt x="17193" y="4838"/>
                      </a:cubicBezTo>
                      <a:close/>
                    </a:path>
                  </a:pathLst>
                </a:custGeom>
                <a:grpFill/>
                <a:ln w="5978" cap="flat">
                  <a:noFill/>
                  <a:prstDash val="solid"/>
                  <a:miter/>
                </a:ln>
              </p:spPr>
              <p:txBody>
                <a:bodyPr rtlCol="0" anchor="ctr"/>
                <a:lstStyle/>
                <a:p>
                  <a:endParaRPr lang="en-GB"/>
                </a:p>
              </p:txBody>
            </p:sp>
            <p:sp>
              <p:nvSpPr>
                <p:cNvPr id="3058" name="Vrije vorm: vorm 3057">
                  <a:extLst>
                    <a:ext uri="{FF2B5EF4-FFF2-40B4-BE49-F238E27FC236}">
                      <a16:creationId xmlns:a16="http://schemas.microsoft.com/office/drawing/2014/main" id="{12F21EB9-CA1F-4761-9076-2DD639BC76A3}"/>
                    </a:ext>
                  </a:extLst>
                </p:cNvPr>
                <p:cNvSpPr/>
                <p:nvPr/>
              </p:nvSpPr>
              <p:spPr>
                <a:xfrm>
                  <a:off x="4862052" y="1465921"/>
                  <a:ext cx="18351" cy="18467"/>
                </a:xfrm>
                <a:custGeom>
                  <a:avLst/>
                  <a:gdLst>
                    <a:gd name="connsiteX0" fmla="*/ 17220 w 18351"/>
                    <a:gd name="connsiteY0" fmla="*/ 4838 h 18467"/>
                    <a:gd name="connsiteX1" fmla="*/ 4780 w 18351"/>
                    <a:gd name="connsiteY1" fmla="*/ 1130 h 18467"/>
                    <a:gd name="connsiteX2" fmla="*/ 1132 w 18351"/>
                    <a:gd name="connsiteY2" fmla="*/ 13630 h 18467"/>
                    <a:gd name="connsiteX3" fmla="*/ 13572 w 18351"/>
                    <a:gd name="connsiteY3" fmla="*/ 17338 h 18467"/>
                    <a:gd name="connsiteX4" fmla="*/ 17220 w 18351"/>
                    <a:gd name="connsiteY4" fmla="*/ 4838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7">
                      <a:moveTo>
                        <a:pt x="17220" y="4838"/>
                      </a:moveTo>
                      <a:cubicBezTo>
                        <a:pt x="14827" y="352"/>
                        <a:pt x="9206" y="-1322"/>
                        <a:pt x="4780" y="1130"/>
                      </a:cubicBezTo>
                      <a:cubicBezTo>
                        <a:pt x="354" y="3522"/>
                        <a:pt x="-1320" y="9144"/>
                        <a:pt x="1132" y="13630"/>
                      </a:cubicBezTo>
                      <a:cubicBezTo>
                        <a:pt x="3524" y="18115"/>
                        <a:pt x="9146" y="19790"/>
                        <a:pt x="13572" y="17338"/>
                      </a:cubicBezTo>
                      <a:cubicBezTo>
                        <a:pt x="17997" y="14886"/>
                        <a:pt x="19672" y="9324"/>
                        <a:pt x="17220" y="4838"/>
                      </a:cubicBezTo>
                      <a:close/>
                    </a:path>
                  </a:pathLst>
                </a:custGeom>
                <a:grpFill/>
                <a:ln w="5978" cap="flat">
                  <a:noFill/>
                  <a:prstDash val="solid"/>
                  <a:miter/>
                </a:ln>
              </p:spPr>
              <p:txBody>
                <a:bodyPr rtlCol="0" anchor="ctr"/>
                <a:lstStyle/>
                <a:p>
                  <a:endParaRPr lang="en-GB"/>
                </a:p>
              </p:txBody>
            </p:sp>
          </p:grpSp>
          <p:grpSp>
            <p:nvGrpSpPr>
              <p:cNvPr id="780" name="Graphic 3">
                <a:extLst>
                  <a:ext uri="{FF2B5EF4-FFF2-40B4-BE49-F238E27FC236}">
                    <a16:creationId xmlns:a16="http://schemas.microsoft.com/office/drawing/2014/main" id="{8954D688-B779-4464-AF1C-93DA2F7A2929}"/>
                  </a:ext>
                </a:extLst>
              </p:cNvPr>
              <p:cNvGrpSpPr/>
              <p:nvPr/>
            </p:nvGrpSpPr>
            <p:grpSpPr>
              <a:xfrm>
                <a:off x="6215443" y="5217350"/>
                <a:ext cx="50620" cy="363043"/>
                <a:chOff x="6215443" y="5217350"/>
                <a:chExt cx="50620" cy="363043"/>
              </a:xfrm>
              <a:grpFill/>
            </p:grpSpPr>
            <p:sp>
              <p:nvSpPr>
                <p:cNvPr id="3053" name="Vrije vorm: vorm 3052">
                  <a:extLst>
                    <a:ext uri="{FF2B5EF4-FFF2-40B4-BE49-F238E27FC236}">
                      <a16:creationId xmlns:a16="http://schemas.microsoft.com/office/drawing/2014/main" id="{1156A413-9F6F-4C8E-BC94-F6D92B44AB76}"/>
                    </a:ext>
                  </a:extLst>
                </p:cNvPr>
                <p:cNvSpPr/>
                <p:nvPr/>
              </p:nvSpPr>
              <p:spPr>
                <a:xfrm>
                  <a:off x="6223020" y="5225935"/>
                  <a:ext cx="35405" cy="345864"/>
                </a:xfrm>
                <a:custGeom>
                  <a:avLst/>
                  <a:gdLst>
                    <a:gd name="connsiteX0" fmla="*/ 3050 w 35405"/>
                    <a:gd name="connsiteY0" fmla="*/ 0 h 345864"/>
                    <a:gd name="connsiteX1" fmla="*/ 35406 w 35405"/>
                    <a:gd name="connsiteY1" fmla="*/ 345566 h 345864"/>
                    <a:gd name="connsiteX2" fmla="*/ 32356 w 35405"/>
                    <a:gd name="connsiteY2" fmla="*/ 345865 h 345864"/>
                    <a:gd name="connsiteX3" fmla="*/ 0 w 35405"/>
                    <a:gd name="connsiteY3" fmla="*/ 299 h 345864"/>
                  </a:gdLst>
                  <a:ahLst/>
                  <a:cxnLst>
                    <a:cxn ang="0">
                      <a:pos x="connsiteX0" y="connsiteY0"/>
                    </a:cxn>
                    <a:cxn ang="0">
                      <a:pos x="connsiteX1" y="connsiteY1"/>
                    </a:cxn>
                    <a:cxn ang="0">
                      <a:pos x="connsiteX2" y="connsiteY2"/>
                    </a:cxn>
                    <a:cxn ang="0">
                      <a:pos x="connsiteX3" y="connsiteY3"/>
                    </a:cxn>
                  </a:cxnLst>
                  <a:rect l="l" t="t" r="r" b="b"/>
                  <a:pathLst>
                    <a:path w="35405" h="345864">
                      <a:moveTo>
                        <a:pt x="3050" y="0"/>
                      </a:moveTo>
                      <a:lnTo>
                        <a:pt x="35406" y="345566"/>
                      </a:lnTo>
                      <a:lnTo>
                        <a:pt x="32356" y="345865"/>
                      </a:lnTo>
                      <a:lnTo>
                        <a:pt x="0" y="299"/>
                      </a:lnTo>
                      <a:close/>
                    </a:path>
                  </a:pathLst>
                </a:custGeom>
                <a:grpFill/>
                <a:ln w="5978" cap="flat">
                  <a:noFill/>
                  <a:prstDash val="solid"/>
                  <a:miter/>
                </a:ln>
              </p:spPr>
              <p:txBody>
                <a:bodyPr rtlCol="0" anchor="ctr"/>
                <a:lstStyle/>
                <a:p>
                  <a:endParaRPr lang="en-GB"/>
                </a:p>
              </p:txBody>
            </p:sp>
            <p:sp>
              <p:nvSpPr>
                <p:cNvPr id="3054" name="Vrije vorm: vorm 3053">
                  <a:extLst>
                    <a:ext uri="{FF2B5EF4-FFF2-40B4-BE49-F238E27FC236}">
                      <a16:creationId xmlns:a16="http://schemas.microsoft.com/office/drawing/2014/main" id="{ACEE409D-AF77-4FAB-9CEC-3F05663CACC4}"/>
                    </a:ext>
                  </a:extLst>
                </p:cNvPr>
                <p:cNvSpPr/>
                <p:nvPr/>
              </p:nvSpPr>
              <p:spPr>
                <a:xfrm>
                  <a:off x="6247739" y="5561959"/>
                  <a:ext cx="18324" cy="18433"/>
                </a:xfrm>
                <a:custGeom>
                  <a:avLst/>
                  <a:gdLst>
                    <a:gd name="connsiteX0" fmla="*/ 18283 w 18324"/>
                    <a:gd name="connsiteY0" fmla="*/ 8405 h 18433"/>
                    <a:gd name="connsiteX1" fmla="*/ 10029 w 18324"/>
                    <a:gd name="connsiteY1" fmla="*/ 18393 h 18433"/>
                    <a:gd name="connsiteX2" fmla="*/ 42 w 18324"/>
                    <a:gd name="connsiteY2" fmla="*/ 10020 h 18433"/>
                    <a:gd name="connsiteX3" fmla="*/ 8295 w 18324"/>
                    <a:gd name="connsiteY3" fmla="*/ 32 h 18433"/>
                    <a:gd name="connsiteX4" fmla="*/ 18283 w 18324"/>
                    <a:gd name="connsiteY4" fmla="*/ 8405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3">
                      <a:moveTo>
                        <a:pt x="18283" y="8405"/>
                      </a:moveTo>
                      <a:cubicBezTo>
                        <a:pt x="18761" y="13489"/>
                        <a:pt x="15053" y="17974"/>
                        <a:pt x="10029" y="18393"/>
                      </a:cubicBezTo>
                      <a:cubicBezTo>
                        <a:pt x="5006" y="18871"/>
                        <a:pt x="520" y="15103"/>
                        <a:pt x="42" y="10020"/>
                      </a:cubicBezTo>
                      <a:cubicBezTo>
                        <a:pt x="-437" y="4936"/>
                        <a:pt x="3271" y="451"/>
                        <a:pt x="8295" y="32"/>
                      </a:cubicBezTo>
                      <a:cubicBezTo>
                        <a:pt x="13319" y="-386"/>
                        <a:pt x="17804" y="3322"/>
                        <a:pt x="18283" y="8405"/>
                      </a:cubicBezTo>
                      <a:close/>
                    </a:path>
                  </a:pathLst>
                </a:custGeom>
                <a:grpFill/>
                <a:ln w="5978" cap="flat">
                  <a:noFill/>
                  <a:prstDash val="solid"/>
                  <a:miter/>
                </a:ln>
              </p:spPr>
              <p:txBody>
                <a:bodyPr rtlCol="0" anchor="ctr"/>
                <a:lstStyle/>
                <a:p>
                  <a:endParaRPr lang="en-GB"/>
                </a:p>
              </p:txBody>
            </p:sp>
            <p:sp>
              <p:nvSpPr>
                <p:cNvPr id="3055" name="Vrije vorm: vorm 3054">
                  <a:extLst>
                    <a:ext uri="{FF2B5EF4-FFF2-40B4-BE49-F238E27FC236}">
                      <a16:creationId xmlns:a16="http://schemas.microsoft.com/office/drawing/2014/main" id="{187BB163-C462-4313-97C8-E1D0AC91E52A}"/>
                    </a:ext>
                  </a:extLst>
                </p:cNvPr>
                <p:cNvSpPr/>
                <p:nvPr/>
              </p:nvSpPr>
              <p:spPr>
                <a:xfrm>
                  <a:off x="6215443" y="5217350"/>
                  <a:ext cx="18324" cy="18425"/>
                </a:xfrm>
                <a:custGeom>
                  <a:avLst/>
                  <a:gdLst>
                    <a:gd name="connsiteX0" fmla="*/ 18283 w 18324"/>
                    <a:gd name="connsiteY0" fmla="*/ 8405 h 18425"/>
                    <a:gd name="connsiteX1" fmla="*/ 8295 w 18324"/>
                    <a:gd name="connsiteY1" fmla="*/ 32 h 18425"/>
                    <a:gd name="connsiteX2" fmla="*/ 42 w 18324"/>
                    <a:gd name="connsiteY2" fmla="*/ 10020 h 18425"/>
                    <a:gd name="connsiteX3" fmla="*/ 10029 w 18324"/>
                    <a:gd name="connsiteY3" fmla="*/ 18393 h 18425"/>
                    <a:gd name="connsiteX4" fmla="*/ 18283 w 1832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8283" y="8405"/>
                      </a:moveTo>
                      <a:cubicBezTo>
                        <a:pt x="17805" y="3322"/>
                        <a:pt x="13319" y="-386"/>
                        <a:pt x="8295" y="32"/>
                      </a:cubicBezTo>
                      <a:cubicBezTo>
                        <a:pt x="3271" y="511"/>
                        <a:pt x="-437" y="4996"/>
                        <a:pt x="42" y="10020"/>
                      </a:cubicBezTo>
                      <a:cubicBezTo>
                        <a:pt x="520" y="15104"/>
                        <a:pt x="5006" y="18812"/>
                        <a:pt x="10029" y="18393"/>
                      </a:cubicBezTo>
                      <a:cubicBezTo>
                        <a:pt x="15053" y="17915"/>
                        <a:pt x="18761" y="13429"/>
                        <a:pt x="18283" y="8405"/>
                      </a:cubicBezTo>
                      <a:close/>
                    </a:path>
                  </a:pathLst>
                </a:custGeom>
                <a:grpFill/>
                <a:ln w="5978" cap="flat">
                  <a:noFill/>
                  <a:prstDash val="solid"/>
                  <a:miter/>
                </a:ln>
              </p:spPr>
              <p:txBody>
                <a:bodyPr rtlCol="0" anchor="ctr"/>
                <a:lstStyle/>
                <a:p>
                  <a:endParaRPr lang="en-GB"/>
                </a:p>
              </p:txBody>
            </p:sp>
          </p:grpSp>
          <p:grpSp>
            <p:nvGrpSpPr>
              <p:cNvPr id="781" name="Graphic 3">
                <a:extLst>
                  <a:ext uri="{FF2B5EF4-FFF2-40B4-BE49-F238E27FC236}">
                    <a16:creationId xmlns:a16="http://schemas.microsoft.com/office/drawing/2014/main" id="{4E2F3206-399C-4C69-924D-6D864C61ADFC}"/>
                  </a:ext>
                </a:extLst>
              </p:cNvPr>
              <p:cNvGrpSpPr/>
              <p:nvPr/>
            </p:nvGrpSpPr>
            <p:grpSpPr>
              <a:xfrm>
                <a:off x="4862488" y="1465657"/>
                <a:ext cx="196987" cy="311556"/>
                <a:chOff x="4862488" y="1465657"/>
                <a:chExt cx="196987" cy="311556"/>
              </a:xfrm>
              <a:grpFill/>
            </p:grpSpPr>
            <p:sp>
              <p:nvSpPr>
                <p:cNvPr id="3050" name="Vrije vorm: vorm 3049">
                  <a:extLst>
                    <a:ext uri="{FF2B5EF4-FFF2-40B4-BE49-F238E27FC236}">
                      <a16:creationId xmlns:a16="http://schemas.microsoft.com/office/drawing/2014/main" id="{1D7966B7-7ED7-4DF2-88CF-08389554E546}"/>
                    </a:ext>
                  </a:extLst>
                </p:cNvPr>
                <p:cNvSpPr/>
                <p:nvPr/>
              </p:nvSpPr>
              <p:spPr>
                <a:xfrm>
                  <a:off x="4870121" y="1473690"/>
                  <a:ext cx="181694" cy="295507"/>
                </a:xfrm>
                <a:custGeom>
                  <a:avLst/>
                  <a:gdLst>
                    <a:gd name="connsiteX0" fmla="*/ 181694 w 181694"/>
                    <a:gd name="connsiteY0" fmla="*/ 293952 h 295507"/>
                    <a:gd name="connsiteX1" fmla="*/ 179123 w 181694"/>
                    <a:gd name="connsiteY1" fmla="*/ 295507 h 295507"/>
                    <a:gd name="connsiteX2" fmla="*/ 0 w 181694"/>
                    <a:gd name="connsiteY2" fmla="*/ 1615 h 295507"/>
                    <a:gd name="connsiteX3" fmla="*/ 2572 w 181694"/>
                    <a:gd name="connsiteY3" fmla="*/ 0 h 295507"/>
                  </a:gdLst>
                  <a:ahLst/>
                  <a:cxnLst>
                    <a:cxn ang="0">
                      <a:pos x="connsiteX0" y="connsiteY0"/>
                    </a:cxn>
                    <a:cxn ang="0">
                      <a:pos x="connsiteX1" y="connsiteY1"/>
                    </a:cxn>
                    <a:cxn ang="0">
                      <a:pos x="connsiteX2" y="connsiteY2"/>
                    </a:cxn>
                    <a:cxn ang="0">
                      <a:pos x="connsiteX3" y="connsiteY3"/>
                    </a:cxn>
                  </a:cxnLst>
                  <a:rect l="l" t="t" r="r" b="b"/>
                  <a:pathLst>
                    <a:path w="181694" h="295507">
                      <a:moveTo>
                        <a:pt x="181694" y="293952"/>
                      </a:moveTo>
                      <a:lnTo>
                        <a:pt x="179123" y="295507"/>
                      </a:lnTo>
                      <a:lnTo>
                        <a:pt x="0" y="1615"/>
                      </a:lnTo>
                      <a:lnTo>
                        <a:pt x="2572" y="0"/>
                      </a:lnTo>
                      <a:close/>
                    </a:path>
                  </a:pathLst>
                </a:custGeom>
                <a:grpFill/>
                <a:ln w="5978" cap="flat">
                  <a:noFill/>
                  <a:prstDash val="solid"/>
                  <a:miter/>
                </a:ln>
              </p:spPr>
              <p:txBody>
                <a:bodyPr rtlCol="0" anchor="ctr"/>
                <a:lstStyle/>
                <a:p>
                  <a:endParaRPr lang="en-GB"/>
                </a:p>
              </p:txBody>
            </p:sp>
            <p:sp>
              <p:nvSpPr>
                <p:cNvPr id="3051" name="Vrije vorm: vorm 3050">
                  <a:extLst>
                    <a:ext uri="{FF2B5EF4-FFF2-40B4-BE49-F238E27FC236}">
                      <a16:creationId xmlns:a16="http://schemas.microsoft.com/office/drawing/2014/main" id="{9E6FADFC-B843-4F23-A9FC-9B74B0B21056}"/>
                    </a:ext>
                  </a:extLst>
                </p:cNvPr>
                <p:cNvSpPr/>
                <p:nvPr/>
              </p:nvSpPr>
              <p:spPr>
                <a:xfrm>
                  <a:off x="4862488" y="1465657"/>
                  <a:ext cx="18316" cy="18458"/>
                </a:xfrm>
                <a:custGeom>
                  <a:avLst/>
                  <a:gdLst>
                    <a:gd name="connsiteX0" fmla="*/ 1354 w 18316"/>
                    <a:gd name="connsiteY0" fmla="*/ 14014 h 18458"/>
                    <a:gd name="connsiteX1" fmla="*/ 4344 w 18316"/>
                    <a:gd name="connsiteY1" fmla="*/ 1335 h 18458"/>
                    <a:gd name="connsiteX2" fmla="*/ 16963 w 18316"/>
                    <a:gd name="connsiteY2" fmla="*/ 4445 h 18458"/>
                    <a:gd name="connsiteX3" fmla="*/ 13973 w 18316"/>
                    <a:gd name="connsiteY3" fmla="*/ 17124 h 18458"/>
                    <a:gd name="connsiteX4" fmla="*/ 1354 w 18316"/>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8">
                      <a:moveTo>
                        <a:pt x="1354" y="14014"/>
                      </a:moveTo>
                      <a:cubicBezTo>
                        <a:pt x="-1278" y="9648"/>
                        <a:pt x="38" y="4026"/>
                        <a:pt x="4344" y="1335"/>
                      </a:cubicBezTo>
                      <a:cubicBezTo>
                        <a:pt x="8650" y="-1297"/>
                        <a:pt x="14272" y="79"/>
                        <a:pt x="16963" y="4445"/>
                      </a:cubicBezTo>
                      <a:cubicBezTo>
                        <a:pt x="19595" y="8810"/>
                        <a:pt x="18279" y="14432"/>
                        <a:pt x="13973" y="17124"/>
                      </a:cubicBezTo>
                      <a:cubicBezTo>
                        <a:pt x="9607" y="19755"/>
                        <a:pt x="3985" y="18380"/>
                        <a:pt x="1354" y="14014"/>
                      </a:cubicBezTo>
                      <a:close/>
                    </a:path>
                  </a:pathLst>
                </a:custGeom>
                <a:grpFill/>
                <a:ln w="5978" cap="flat">
                  <a:noFill/>
                  <a:prstDash val="solid"/>
                  <a:miter/>
                </a:ln>
              </p:spPr>
              <p:txBody>
                <a:bodyPr rtlCol="0" anchor="ctr"/>
                <a:lstStyle/>
                <a:p>
                  <a:endParaRPr lang="en-GB"/>
                </a:p>
              </p:txBody>
            </p:sp>
            <p:sp>
              <p:nvSpPr>
                <p:cNvPr id="3052" name="Vrije vorm: vorm 3051">
                  <a:extLst>
                    <a:ext uri="{FF2B5EF4-FFF2-40B4-BE49-F238E27FC236}">
                      <a16:creationId xmlns:a16="http://schemas.microsoft.com/office/drawing/2014/main" id="{8CCDC2FE-F559-4B1F-8B68-59E638231DAE}"/>
                    </a:ext>
                  </a:extLst>
                </p:cNvPr>
                <p:cNvSpPr/>
                <p:nvPr/>
              </p:nvSpPr>
              <p:spPr>
                <a:xfrm>
                  <a:off x="5041106" y="1758712"/>
                  <a:ext cx="18369" cy="18501"/>
                </a:xfrm>
                <a:custGeom>
                  <a:avLst/>
                  <a:gdLst>
                    <a:gd name="connsiteX0" fmla="*/ 1380 w 18369"/>
                    <a:gd name="connsiteY0" fmla="*/ 14074 h 18501"/>
                    <a:gd name="connsiteX1" fmla="*/ 14000 w 18369"/>
                    <a:gd name="connsiteY1" fmla="*/ 17124 h 18501"/>
                    <a:gd name="connsiteX2" fmla="*/ 16990 w 18369"/>
                    <a:gd name="connsiteY2" fmla="*/ 4445 h 18501"/>
                    <a:gd name="connsiteX3" fmla="*/ 4370 w 18369"/>
                    <a:gd name="connsiteY3" fmla="*/ 1335 h 18501"/>
                    <a:gd name="connsiteX4" fmla="*/ 1380 w 18369"/>
                    <a:gd name="connsiteY4" fmla="*/ 14074 h 18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501">
                      <a:moveTo>
                        <a:pt x="1380" y="14074"/>
                      </a:moveTo>
                      <a:cubicBezTo>
                        <a:pt x="4012" y="18439"/>
                        <a:pt x="9693" y="19815"/>
                        <a:pt x="14000" y="17124"/>
                      </a:cubicBezTo>
                      <a:cubicBezTo>
                        <a:pt x="18306" y="14492"/>
                        <a:pt x="19681" y="8810"/>
                        <a:pt x="16990" y="4445"/>
                      </a:cubicBezTo>
                      <a:cubicBezTo>
                        <a:pt x="14359" y="79"/>
                        <a:pt x="8677" y="-1297"/>
                        <a:pt x="4370" y="1335"/>
                      </a:cubicBezTo>
                      <a:cubicBezTo>
                        <a:pt x="64" y="4086"/>
                        <a:pt x="-1311" y="9767"/>
                        <a:pt x="1380" y="14074"/>
                      </a:cubicBezTo>
                      <a:close/>
                    </a:path>
                  </a:pathLst>
                </a:custGeom>
                <a:grpFill/>
                <a:ln w="5978" cap="flat">
                  <a:noFill/>
                  <a:prstDash val="solid"/>
                  <a:miter/>
                </a:ln>
              </p:spPr>
              <p:txBody>
                <a:bodyPr rtlCol="0" anchor="ctr"/>
                <a:lstStyle/>
                <a:p>
                  <a:endParaRPr lang="en-GB"/>
                </a:p>
              </p:txBody>
            </p:sp>
          </p:grpSp>
          <p:grpSp>
            <p:nvGrpSpPr>
              <p:cNvPr id="782" name="Graphic 3">
                <a:extLst>
                  <a:ext uri="{FF2B5EF4-FFF2-40B4-BE49-F238E27FC236}">
                    <a16:creationId xmlns:a16="http://schemas.microsoft.com/office/drawing/2014/main" id="{A46E740B-4F69-44E3-A4F2-4A59F2F3CD51}"/>
                  </a:ext>
                </a:extLst>
              </p:cNvPr>
              <p:cNvGrpSpPr/>
              <p:nvPr/>
            </p:nvGrpSpPr>
            <p:grpSpPr>
              <a:xfrm>
                <a:off x="6185019" y="5262101"/>
                <a:ext cx="19424" cy="33053"/>
                <a:chOff x="6185019" y="5262101"/>
                <a:chExt cx="19424" cy="33053"/>
              </a:xfrm>
              <a:grpFill/>
            </p:grpSpPr>
            <p:sp>
              <p:nvSpPr>
                <p:cNvPr id="3048" name="Vrije vorm: vorm 3047">
                  <a:extLst>
                    <a:ext uri="{FF2B5EF4-FFF2-40B4-BE49-F238E27FC236}">
                      <a16:creationId xmlns:a16="http://schemas.microsoft.com/office/drawing/2014/main" id="{055502E6-589A-4F8C-AAA0-31590621F637}"/>
                    </a:ext>
                  </a:extLst>
                </p:cNvPr>
                <p:cNvSpPr/>
                <p:nvPr/>
              </p:nvSpPr>
              <p:spPr>
                <a:xfrm>
                  <a:off x="6185019" y="5262101"/>
                  <a:ext cx="18288" cy="18460"/>
                </a:xfrm>
                <a:custGeom>
                  <a:avLst/>
                  <a:gdLst>
                    <a:gd name="connsiteX0" fmla="*/ 18265 w 18288"/>
                    <a:gd name="connsiteY0" fmla="*/ 8569 h 18460"/>
                    <a:gd name="connsiteX1" fmla="*/ 9832 w 18288"/>
                    <a:gd name="connsiteY1" fmla="*/ 18437 h 18460"/>
                    <a:gd name="connsiteX2" fmla="*/ 24 w 18288"/>
                    <a:gd name="connsiteY2" fmla="*/ 9885 h 18460"/>
                    <a:gd name="connsiteX3" fmla="*/ 8456 w 18288"/>
                    <a:gd name="connsiteY3" fmla="*/ 17 h 18460"/>
                    <a:gd name="connsiteX4" fmla="*/ 18265 w 18288"/>
                    <a:gd name="connsiteY4" fmla="*/ 8569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0">
                      <a:moveTo>
                        <a:pt x="18265" y="8569"/>
                      </a:moveTo>
                      <a:cubicBezTo>
                        <a:pt x="18624" y="13652"/>
                        <a:pt x="14856" y="18078"/>
                        <a:pt x="9832" y="18437"/>
                      </a:cubicBezTo>
                      <a:cubicBezTo>
                        <a:pt x="4808" y="18796"/>
                        <a:pt x="382" y="14968"/>
                        <a:pt x="24" y="9885"/>
                      </a:cubicBezTo>
                      <a:cubicBezTo>
                        <a:pt x="-335" y="4801"/>
                        <a:pt x="3433" y="375"/>
                        <a:pt x="8456" y="17"/>
                      </a:cubicBezTo>
                      <a:cubicBezTo>
                        <a:pt x="13480" y="-282"/>
                        <a:pt x="17906" y="3486"/>
                        <a:pt x="18265" y="8569"/>
                      </a:cubicBezTo>
                      <a:close/>
                    </a:path>
                  </a:pathLst>
                </a:custGeom>
                <a:grpFill/>
                <a:ln w="5978" cap="flat">
                  <a:noFill/>
                  <a:prstDash val="solid"/>
                  <a:miter/>
                </a:ln>
              </p:spPr>
              <p:txBody>
                <a:bodyPr rtlCol="0" anchor="ctr"/>
                <a:lstStyle/>
                <a:p>
                  <a:endParaRPr lang="en-GB"/>
                </a:p>
              </p:txBody>
            </p:sp>
            <p:sp>
              <p:nvSpPr>
                <p:cNvPr id="3049" name="Vrije vorm: vorm 3048">
                  <a:extLst>
                    <a:ext uri="{FF2B5EF4-FFF2-40B4-BE49-F238E27FC236}">
                      <a16:creationId xmlns:a16="http://schemas.microsoft.com/office/drawing/2014/main" id="{05997F10-B885-47F3-B2D2-EFAB32E6F27A}"/>
                    </a:ext>
                  </a:extLst>
                </p:cNvPr>
                <p:cNvSpPr/>
                <p:nvPr/>
              </p:nvSpPr>
              <p:spPr>
                <a:xfrm>
                  <a:off x="6186148" y="5276688"/>
                  <a:ext cx="18296" cy="18467"/>
                </a:xfrm>
                <a:custGeom>
                  <a:avLst/>
                  <a:gdLst>
                    <a:gd name="connsiteX0" fmla="*/ 18272 w 18296"/>
                    <a:gd name="connsiteY0" fmla="*/ 8576 h 18467"/>
                    <a:gd name="connsiteX1" fmla="*/ 8464 w 18296"/>
                    <a:gd name="connsiteY1" fmla="*/ 23 h 18467"/>
                    <a:gd name="connsiteX2" fmla="*/ 31 w 18296"/>
                    <a:gd name="connsiteY2" fmla="*/ 9891 h 18467"/>
                    <a:gd name="connsiteX3" fmla="*/ 9839 w 18296"/>
                    <a:gd name="connsiteY3" fmla="*/ 18444 h 18467"/>
                    <a:gd name="connsiteX4" fmla="*/ 18272 w 18296"/>
                    <a:gd name="connsiteY4" fmla="*/ 8576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7">
                      <a:moveTo>
                        <a:pt x="18272" y="8576"/>
                      </a:moveTo>
                      <a:cubicBezTo>
                        <a:pt x="17914" y="3492"/>
                        <a:pt x="13488" y="-336"/>
                        <a:pt x="8464" y="23"/>
                      </a:cubicBezTo>
                      <a:cubicBezTo>
                        <a:pt x="3440" y="382"/>
                        <a:pt x="-387" y="4808"/>
                        <a:pt x="31" y="9891"/>
                      </a:cubicBezTo>
                      <a:cubicBezTo>
                        <a:pt x="390" y="14975"/>
                        <a:pt x="4816" y="18803"/>
                        <a:pt x="9839" y="18444"/>
                      </a:cubicBezTo>
                      <a:cubicBezTo>
                        <a:pt x="14863" y="18025"/>
                        <a:pt x="18631" y="13659"/>
                        <a:pt x="18272" y="8576"/>
                      </a:cubicBezTo>
                      <a:close/>
                    </a:path>
                  </a:pathLst>
                </a:custGeom>
                <a:grpFill/>
                <a:ln w="5978" cap="flat">
                  <a:noFill/>
                  <a:prstDash val="solid"/>
                  <a:miter/>
                </a:ln>
              </p:spPr>
              <p:txBody>
                <a:bodyPr rtlCol="0" anchor="ctr"/>
                <a:lstStyle/>
                <a:p>
                  <a:endParaRPr lang="en-GB"/>
                </a:p>
              </p:txBody>
            </p:sp>
          </p:grpSp>
          <p:grpSp>
            <p:nvGrpSpPr>
              <p:cNvPr id="783" name="Graphic 3">
                <a:extLst>
                  <a:ext uri="{FF2B5EF4-FFF2-40B4-BE49-F238E27FC236}">
                    <a16:creationId xmlns:a16="http://schemas.microsoft.com/office/drawing/2014/main" id="{B8268366-ED2E-4AB0-86C4-8CF217DF491F}"/>
                  </a:ext>
                </a:extLst>
              </p:cNvPr>
              <p:cNvGrpSpPr/>
              <p:nvPr/>
            </p:nvGrpSpPr>
            <p:grpSpPr>
              <a:xfrm>
                <a:off x="4946389" y="1745426"/>
                <a:ext cx="189624" cy="277415"/>
                <a:chOff x="4946389" y="1745426"/>
                <a:chExt cx="189624" cy="277415"/>
              </a:xfrm>
              <a:grpFill/>
            </p:grpSpPr>
            <p:sp>
              <p:nvSpPr>
                <p:cNvPr id="3045" name="Vrije vorm: vorm 3044">
                  <a:extLst>
                    <a:ext uri="{FF2B5EF4-FFF2-40B4-BE49-F238E27FC236}">
                      <a16:creationId xmlns:a16="http://schemas.microsoft.com/office/drawing/2014/main" id="{5A969D4A-22F3-4E5B-BF02-4CD7F3FF7C4B}"/>
                    </a:ext>
                  </a:extLst>
                </p:cNvPr>
                <p:cNvSpPr/>
                <p:nvPr/>
              </p:nvSpPr>
              <p:spPr>
                <a:xfrm>
                  <a:off x="4954031" y="1753348"/>
                  <a:ext cx="174397" cy="261477"/>
                </a:xfrm>
                <a:custGeom>
                  <a:avLst/>
                  <a:gdLst>
                    <a:gd name="connsiteX0" fmla="*/ 174398 w 174397"/>
                    <a:gd name="connsiteY0" fmla="*/ 259803 h 261477"/>
                    <a:gd name="connsiteX1" fmla="*/ 171826 w 174397"/>
                    <a:gd name="connsiteY1" fmla="*/ 261477 h 261477"/>
                    <a:gd name="connsiteX2" fmla="*/ 0 w 174397"/>
                    <a:gd name="connsiteY2" fmla="*/ 1675 h 261477"/>
                    <a:gd name="connsiteX3" fmla="*/ 2572 w 174397"/>
                    <a:gd name="connsiteY3" fmla="*/ 0 h 261477"/>
                  </a:gdLst>
                  <a:ahLst/>
                  <a:cxnLst>
                    <a:cxn ang="0">
                      <a:pos x="connsiteX0" y="connsiteY0"/>
                    </a:cxn>
                    <a:cxn ang="0">
                      <a:pos x="connsiteX1" y="connsiteY1"/>
                    </a:cxn>
                    <a:cxn ang="0">
                      <a:pos x="connsiteX2" y="connsiteY2"/>
                    </a:cxn>
                    <a:cxn ang="0">
                      <a:pos x="connsiteX3" y="connsiteY3"/>
                    </a:cxn>
                  </a:cxnLst>
                  <a:rect l="l" t="t" r="r" b="b"/>
                  <a:pathLst>
                    <a:path w="174397" h="261477">
                      <a:moveTo>
                        <a:pt x="174398" y="259803"/>
                      </a:moveTo>
                      <a:lnTo>
                        <a:pt x="171826" y="261477"/>
                      </a:lnTo>
                      <a:lnTo>
                        <a:pt x="0" y="1675"/>
                      </a:lnTo>
                      <a:lnTo>
                        <a:pt x="2572" y="0"/>
                      </a:lnTo>
                      <a:close/>
                    </a:path>
                  </a:pathLst>
                </a:custGeom>
                <a:grpFill/>
                <a:ln w="5978" cap="flat">
                  <a:noFill/>
                  <a:prstDash val="solid"/>
                  <a:miter/>
                </a:ln>
              </p:spPr>
              <p:txBody>
                <a:bodyPr rtlCol="0" anchor="ctr"/>
                <a:lstStyle/>
                <a:p>
                  <a:endParaRPr lang="en-GB"/>
                </a:p>
              </p:txBody>
            </p:sp>
            <p:sp>
              <p:nvSpPr>
                <p:cNvPr id="3046" name="Vrije vorm: vorm 3045">
                  <a:extLst>
                    <a:ext uri="{FF2B5EF4-FFF2-40B4-BE49-F238E27FC236}">
                      <a16:creationId xmlns:a16="http://schemas.microsoft.com/office/drawing/2014/main" id="{C3822F07-038A-4FDF-A482-5B64610E9089}"/>
                    </a:ext>
                  </a:extLst>
                </p:cNvPr>
                <p:cNvSpPr/>
                <p:nvPr/>
              </p:nvSpPr>
              <p:spPr>
                <a:xfrm>
                  <a:off x="4946389" y="1745426"/>
                  <a:ext cx="18393" cy="18390"/>
                </a:xfrm>
                <a:custGeom>
                  <a:avLst/>
                  <a:gdLst>
                    <a:gd name="connsiteX0" fmla="*/ 1541 w 18393"/>
                    <a:gd name="connsiteY0" fmla="*/ 14262 h 18390"/>
                    <a:gd name="connsiteX1" fmla="*/ 4113 w 18393"/>
                    <a:gd name="connsiteY1" fmla="*/ 1523 h 18390"/>
                    <a:gd name="connsiteX2" fmla="*/ 16852 w 18393"/>
                    <a:gd name="connsiteY2" fmla="*/ 4155 h 18390"/>
                    <a:gd name="connsiteX3" fmla="*/ 14280 w 18393"/>
                    <a:gd name="connsiteY3" fmla="*/ 16894 h 18390"/>
                    <a:gd name="connsiteX4" fmla="*/ 1541 w 1839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3" h="18390">
                      <a:moveTo>
                        <a:pt x="1541" y="14262"/>
                      </a:moveTo>
                      <a:cubicBezTo>
                        <a:pt x="-1269" y="10016"/>
                        <a:pt x="-133" y="4274"/>
                        <a:pt x="4113" y="1523"/>
                      </a:cubicBezTo>
                      <a:cubicBezTo>
                        <a:pt x="8300" y="-1288"/>
                        <a:pt x="14041" y="-92"/>
                        <a:pt x="16852" y="4155"/>
                      </a:cubicBezTo>
                      <a:cubicBezTo>
                        <a:pt x="19663" y="8401"/>
                        <a:pt x="18527" y="14142"/>
                        <a:pt x="14280" y="16894"/>
                      </a:cubicBezTo>
                      <a:cubicBezTo>
                        <a:pt x="10034" y="19645"/>
                        <a:pt x="4352" y="18508"/>
                        <a:pt x="1541" y="14262"/>
                      </a:cubicBezTo>
                      <a:close/>
                    </a:path>
                  </a:pathLst>
                </a:custGeom>
                <a:grpFill/>
                <a:ln w="5978" cap="flat">
                  <a:noFill/>
                  <a:prstDash val="solid"/>
                  <a:miter/>
                </a:ln>
              </p:spPr>
              <p:txBody>
                <a:bodyPr rtlCol="0" anchor="ctr"/>
                <a:lstStyle/>
                <a:p>
                  <a:endParaRPr lang="en-GB"/>
                </a:p>
              </p:txBody>
            </p:sp>
            <p:sp>
              <p:nvSpPr>
                <p:cNvPr id="3047" name="Vrije vorm: vorm 3046">
                  <a:extLst>
                    <a:ext uri="{FF2B5EF4-FFF2-40B4-BE49-F238E27FC236}">
                      <a16:creationId xmlns:a16="http://schemas.microsoft.com/office/drawing/2014/main" id="{6EA816E0-4189-410C-9457-ECDD228563E2}"/>
                    </a:ext>
                  </a:extLst>
                </p:cNvPr>
                <p:cNvSpPr/>
                <p:nvPr/>
              </p:nvSpPr>
              <p:spPr>
                <a:xfrm>
                  <a:off x="5117731" y="2004451"/>
                  <a:ext cx="18283" cy="18390"/>
                </a:xfrm>
                <a:custGeom>
                  <a:avLst/>
                  <a:gdLst>
                    <a:gd name="connsiteX0" fmla="*/ 1548 w 18283"/>
                    <a:gd name="connsiteY0" fmla="*/ 14262 h 18390"/>
                    <a:gd name="connsiteX1" fmla="*/ 14227 w 18283"/>
                    <a:gd name="connsiteY1" fmla="*/ 16893 h 18390"/>
                    <a:gd name="connsiteX2" fmla="*/ 16739 w 18283"/>
                    <a:gd name="connsiteY2" fmla="*/ 4155 h 18390"/>
                    <a:gd name="connsiteX3" fmla="*/ 4000 w 18283"/>
                    <a:gd name="connsiteY3" fmla="*/ 1523 h 18390"/>
                    <a:gd name="connsiteX4" fmla="*/ 1548 w 1828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390">
                      <a:moveTo>
                        <a:pt x="1548" y="14262"/>
                      </a:moveTo>
                      <a:cubicBezTo>
                        <a:pt x="4358" y="18508"/>
                        <a:pt x="10040" y="19645"/>
                        <a:pt x="14227" y="16893"/>
                      </a:cubicBezTo>
                      <a:cubicBezTo>
                        <a:pt x="18413" y="14083"/>
                        <a:pt x="19550" y="8401"/>
                        <a:pt x="16739" y="4155"/>
                      </a:cubicBezTo>
                      <a:cubicBezTo>
                        <a:pt x="13928" y="-92"/>
                        <a:pt x="8246" y="-1288"/>
                        <a:pt x="4000" y="1523"/>
                      </a:cubicBezTo>
                      <a:cubicBezTo>
                        <a:pt x="-127" y="4274"/>
                        <a:pt x="-1263" y="10016"/>
                        <a:pt x="1548" y="14262"/>
                      </a:cubicBezTo>
                      <a:close/>
                    </a:path>
                  </a:pathLst>
                </a:custGeom>
                <a:grpFill/>
                <a:ln w="5978" cap="flat">
                  <a:noFill/>
                  <a:prstDash val="solid"/>
                  <a:miter/>
                </a:ln>
              </p:spPr>
              <p:txBody>
                <a:bodyPr rtlCol="0" anchor="ctr"/>
                <a:lstStyle/>
                <a:p>
                  <a:endParaRPr lang="en-GB"/>
                </a:p>
              </p:txBody>
            </p:sp>
          </p:grpSp>
          <p:grpSp>
            <p:nvGrpSpPr>
              <p:cNvPr id="784" name="Graphic 3">
                <a:extLst>
                  <a:ext uri="{FF2B5EF4-FFF2-40B4-BE49-F238E27FC236}">
                    <a16:creationId xmlns:a16="http://schemas.microsoft.com/office/drawing/2014/main" id="{031C8761-9986-4DC4-8460-0FF25BB29925}"/>
                  </a:ext>
                </a:extLst>
              </p:cNvPr>
              <p:cNvGrpSpPr/>
              <p:nvPr/>
            </p:nvGrpSpPr>
            <p:grpSpPr>
              <a:xfrm>
                <a:off x="6141128" y="5096681"/>
                <a:ext cx="26108" cy="156177"/>
                <a:chOff x="6141128" y="5096681"/>
                <a:chExt cx="26108" cy="156177"/>
              </a:xfrm>
              <a:grpFill/>
            </p:grpSpPr>
            <p:sp>
              <p:nvSpPr>
                <p:cNvPr id="3042" name="Vrije vorm: vorm 3041">
                  <a:extLst>
                    <a:ext uri="{FF2B5EF4-FFF2-40B4-BE49-F238E27FC236}">
                      <a16:creationId xmlns:a16="http://schemas.microsoft.com/office/drawing/2014/main" id="{A549D874-5F44-4698-AD2E-CEFB54F72034}"/>
                    </a:ext>
                  </a:extLst>
                </p:cNvPr>
                <p:cNvSpPr/>
                <p:nvPr/>
              </p:nvSpPr>
              <p:spPr>
                <a:xfrm>
                  <a:off x="6148740" y="5105363"/>
                  <a:ext cx="10884" cy="138812"/>
                </a:xfrm>
                <a:custGeom>
                  <a:avLst/>
                  <a:gdLst>
                    <a:gd name="connsiteX0" fmla="*/ 3050 w 10884"/>
                    <a:gd name="connsiteY0" fmla="*/ 0 h 138812"/>
                    <a:gd name="connsiteX1" fmla="*/ 10885 w 10884"/>
                    <a:gd name="connsiteY1" fmla="*/ 138633 h 138812"/>
                    <a:gd name="connsiteX2" fmla="*/ 7835 w 10884"/>
                    <a:gd name="connsiteY2" fmla="*/ 138813 h 138812"/>
                    <a:gd name="connsiteX3" fmla="*/ 0 w 10884"/>
                    <a:gd name="connsiteY3" fmla="*/ 120 h 138812"/>
                  </a:gdLst>
                  <a:ahLst/>
                  <a:cxnLst>
                    <a:cxn ang="0">
                      <a:pos x="connsiteX0" y="connsiteY0"/>
                    </a:cxn>
                    <a:cxn ang="0">
                      <a:pos x="connsiteX1" y="connsiteY1"/>
                    </a:cxn>
                    <a:cxn ang="0">
                      <a:pos x="connsiteX2" y="connsiteY2"/>
                    </a:cxn>
                    <a:cxn ang="0">
                      <a:pos x="connsiteX3" y="connsiteY3"/>
                    </a:cxn>
                  </a:cxnLst>
                  <a:rect l="l" t="t" r="r" b="b"/>
                  <a:pathLst>
                    <a:path w="10884" h="138812">
                      <a:moveTo>
                        <a:pt x="3050" y="0"/>
                      </a:moveTo>
                      <a:lnTo>
                        <a:pt x="10885" y="138633"/>
                      </a:lnTo>
                      <a:lnTo>
                        <a:pt x="7835" y="138813"/>
                      </a:lnTo>
                      <a:lnTo>
                        <a:pt x="0" y="120"/>
                      </a:lnTo>
                      <a:close/>
                    </a:path>
                  </a:pathLst>
                </a:custGeom>
                <a:grpFill/>
                <a:ln w="5978" cap="flat">
                  <a:noFill/>
                  <a:prstDash val="solid"/>
                  <a:miter/>
                </a:ln>
              </p:spPr>
              <p:txBody>
                <a:bodyPr rtlCol="0" anchor="ctr"/>
                <a:lstStyle/>
                <a:p>
                  <a:endParaRPr lang="en-GB"/>
                </a:p>
              </p:txBody>
            </p:sp>
            <p:sp>
              <p:nvSpPr>
                <p:cNvPr id="3043" name="Vrije vorm: vorm 3042">
                  <a:extLst>
                    <a:ext uri="{FF2B5EF4-FFF2-40B4-BE49-F238E27FC236}">
                      <a16:creationId xmlns:a16="http://schemas.microsoft.com/office/drawing/2014/main" id="{BC841D6C-0F62-432A-B404-6D88A23FB62E}"/>
                    </a:ext>
                  </a:extLst>
                </p:cNvPr>
                <p:cNvSpPr/>
                <p:nvPr/>
              </p:nvSpPr>
              <p:spPr>
                <a:xfrm>
                  <a:off x="6148903" y="5234411"/>
                  <a:ext cx="18333" cy="18447"/>
                </a:xfrm>
                <a:custGeom>
                  <a:avLst/>
                  <a:gdLst>
                    <a:gd name="connsiteX0" fmla="*/ 18317 w 18333"/>
                    <a:gd name="connsiteY0" fmla="*/ 8748 h 18447"/>
                    <a:gd name="connsiteX1" fmla="*/ 9705 w 18333"/>
                    <a:gd name="connsiteY1" fmla="*/ 18437 h 18447"/>
                    <a:gd name="connsiteX2" fmla="*/ 16 w 18333"/>
                    <a:gd name="connsiteY2" fmla="*/ 9705 h 18447"/>
                    <a:gd name="connsiteX3" fmla="*/ 8628 w 18333"/>
                    <a:gd name="connsiteY3" fmla="*/ 16 h 18447"/>
                    <a:gd name="connsiteX4" fmla="*/ 18317 w 18333"/>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8748"/>
                      </a:moveTo>
                      <a:cubicBezTo>
                        <a:pt x="18616" y="13831"/>
                        <a:pt x="14729" y="18137"/>
                        <a:pt x="9705" y="18437"/>
                      </a:cubicBezTo>
                      <a:cubicBezTo>
                        <a:pt x="4681" y="18676"/>
                        <a:pt x="315" y="14788"/>
                        <a:pt x="16" y="9705"/>
                      </a:cubicBezTo>
                      <a:cubicBezTo>
                        <a:pt x="-283" y="4621"/>
                        <a:pt x="3605" y="315"/>
                        <a:pt x="8628" y="16"/>
                      </a:cubicBezTo>
                      <a:cubicBezTo>
                        <a:pt x="13652" y="-283"/>
                        <a:pt x="18018" y="3664"/>
                        <a:pt x="18317" y="8748"/>
                      </a:cubicBezTo>
                      <a:close/>
                    </a:path>
                  </a:pathLst>
                </a:custGeom>
                <a:grpFill/>
                <a:ln w="5978" cap="flat">
                  <a:noFill/>
                  <a:prstDash val="solid"/>
                  <a:miter/>
                </a:ln>
              </p:spPr>
              <p:txBody>
                <a:bodyPr rtlCol="0" anchor="ctr"/>
                <a:lstStyle/>
                <a:p>
                  <a:endParaRPr lang="en-GB"/>
                </a:p>
              </p:txBody>
            </p:sp>
            <p:sp>
              <p:nvSpPr>
                <p:cNvPr id="3044" name="Vrije vorm: vorm 3043">
                  <a:extLst>
                    <a:ext uri="{FF2B5EF4-FFF2-40B4-BE49-F238E27FC236}">
                      <a16:creationId xmlns:a16="http://schemas.microsoft.com/office/drawing/2014/main" id="{1618C909-4930-46B2-8834-7538AD6B16CD}"/>
                    </a:ext>
                  </a:extLst>
                </p:cNvPr>
                <p:cNvSpPr/>
                <p:nvPr/>
              </p:nvSpPr>
              <p:spPr>
                <a:xfrm>
                  <a:off x="6141128" y="5096681"/>
                  <a:ext cx="18333" cy="18441"/>
                </a:xfrm>
                <a:custGeom>
                  <a:avLst/>
                  <a:gdLst>
                    <a:gd name="connsiteX0" fmla="*/ 18317 w 18333"/>
                    <a:gd name="connsiteY0" fmla="*/ 8742 h 18441"/>
                    <a:gd name="connsiteX1" fmla="*/ 8628 w 18333"/>
                    <a:gd name="connsiteY1" fmla="*/ 10 h 18441"/>
                    <a:gd name="connsiteX2" fmla="*/ 16 w 18333"/>
                    <a:gd name="connsiteY2" fmla="*/ 9699 h 18441"/>
                    <a:gd name="connsiteX3" fmla="*/ 9705 w 18333"/>
                    <a:gd name="connsiteY3" fmla="*/ 18431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018" y="3659"/>
                        <a:pt x="13712" y="-229"/>
                        <a:pt x="8628" y="10"/>
                      </a:cubicBezTo>
                      <a:cubicBezTo>
                        <a:pt x="3604" y="250"/>
                        <a:pt x="-283" y="4616"/>
                        <a:pt x="16" y="9699"/>
                      </a:cubicBezTo>
                      <a:cubicBezTo>
                        <a:pt x="315" y="14783"/>
                        <a:pt x="4621" y="18670"/>
                        <a:pt x="9705" y="18431"/>
                      </a:cubicBezTo>
                      <a:cubicBezTo>
                        <a:pt x="14729" y="18132"/>
                        <a:pt x="18616" y="13766"/>
                        <a:pt x="18317" y="8742"/>
                      </a:cubicBezTo>
                      <a:close/>
                    </a:path>
                  </a:pathLst>
                </a:custGeom>
                <a:grpFill/>
                <a:ln w="5978" cap="flat">
                  <a:noFill/>
                  <a:prstDash val="solid"/>
                  <a:miter/>
                </a:ln>
              </p:spPr>
              <p:txBody>
                <a:bodyPr rtlCol="0" anchor="ctr"/>
                <a:lstStyle/>
                <a:p>
                  <a:endParaRPr lang="en-GB"/>
                </a:p>
              </p:txBody>
            </p:sp>
          </p:grpSp>
          <p:grpSp>
            <p:nvGrpSpPr>
              <p:cNvPr id="785" name="Graphic 3">
                <a:extLst>
                  <a:ext uri="{FF2B5EF4-FFF2-40B4-BE49-F238E27FC236}">
                    <a16:creationId xmlns:a16="http://schemas.microsoft.com/office/drawing/2014/main" id="{58E40066-FAED-4A2C-8E72-AA5C245C2560}"/>
                  </a:ext>
                </a:extLst>
              </p:cNvPr>
              <p:cNvGrpSpPr/>
              <p:nvPr/>
            </p:nvGrpSpPr>
            <p:grpSpPr>
              <a:xfrm>
                <a:off x="4847868" y="1522263"/>
                <a:ext cx="288760" cy="500268"/>
                <a:chOff x="4847868" y="1522263"/>
                <a:chExt cx="288760" cy="500268"/>
              </a:xfrm>
              <a:grpFill/>
            </p:grpSpPr>
            <p:sp>
              <p:nvSpPr>
                <p:cNvPr id="3039" name="Vrije vorm: vorm 3038">
                  <a:extLst>
                    <a:ext uri="{FF2B5EF4-FFF2-40B4-BE49-F238E27FC236}">
                      <a16:creationId xmlns:a16="http://schemas.microsoft.com/office/drawing/2014/main" id="{DD751ED8-2911-4F06-A5EC-5B7C78B4B8E4}"/>
                    </a:ext>
                  </a:extLst>
                </p:cNvPr>
                <p:cNvSpPr/>
                <p:nvPr/>
              </p:nvSpPr>
              <p:spPr>
                <a:xfrm>
                  <a:off x="4855469" y="1530327"/>
                  <a:ext cx="273558" cy="484079"/>
                </a:xfrm>
                <a:custGeom>
                  <a:avLst/>
                  <a:gdLst>
                    <a:gd name="connsiteX0" fmla="*/ 273558 w 273558"/>
                    <a:gd name="connsiteY0" fmla="*/ 482584 h 484079"/>
                    <a:gd name="connsiteX1" fmla="*/ 270927 w 273558"/>
                    <a:gd name="connsiteY1" fmla="*/ 484080 h 484079"/>
                    <a:gd name="connsiteX2" fmla="*/ 0 w 273558"/>
                    <a:gd name="connsiteY2" fmla="*/ 1495 h 484079"/>
                    <a:gd name="connsiteX3" fmla="*/ 2691 w 273558"/>
                    <a:gd name="connsiteY3" fmla="*/ 0 h 484079"/>
                  </a:gdLst>
                  <a:ahLst/>
                  <a:cxnLst>
                    <a:cxn ang="0">
                      <a:pos x="connsiteX0" y="connsiteY0"/>
                    </a:cxn>
                    <a:cxn ang="0">
                      <a:pos x="connsiteX1" y="connsiteY1"/>
                    </a:cxn>
                    <a:cxn ang="0">
                      <a:pos x="connsiteX2" y="connsiteY2"/>
                    </a:cxn>
                    <a:cxn ang="0">
                      <a:pos x="connsiteX3" y="connsiteY3"/>
                    </a:cxn>
                  </a:cxnLst>
                  <a:rect l="l" t="t" r="r" b="b"/>
                  <a:pathLst>
                    <a:path w="273558" h="484079">
                      <a:moveTo>
                        <a:pt x="273558" y="482584"/>
                      </a:moveTo>
                      <a:lnTo>
                        <a:pt x="270927" y="484080"/>
                      </a:lnTo>
                      <a:lnTo>
                        <a:pt x="0" y="1495"/>
                      </a:lnTo>
                      <a:lnTo>
                        <a:pt x="2691" y="0"/>
                      </a:lnTo>
                      <a:close/>
                    </a:path>
                  </a:pathLst>
                </a:custGeom>
                <a:grpFill/>
                <a:ln w="5978" cap="flat">
                  <a:noFill/>
                  <a:prstDash val="solid"/>
                  <a:miter/>
                </a:ln>
              </p:spPr>
              <p:txBody>
                <a:bodyPr rtlCol="0" anchor="ctr"/>
                <a:lstStyle/>
                <a:p>
                  <a:endParaRPr lang="en-GB"/>
                </a:p>
              </p:txBody>
            </p:sp>
            <p:sp>
              <p:nvSpPr>
                <p:cNvPr id="3040" name="Vrije vorm: vorm 3039">
                  <a:extLst>
                    <a:ext uri="{FF2B5EF4-FFF2-40B4-BE49-F238E27FC236}">
                      <a16:creationId xmlns:a16="http://schemas.microsoft.com/office/drawing/2014/main" id="{04C292D8-798F-4596-9890-BD0599AB3B70}"/>
                    </a:ext>
                  </a:extLst>
                </p:cNvPr>
                <p:cNvSpPr/>
                <p:nvPr/>
              </p:nvSpPr>
              <p:spPr>
                <a:xfrm>
                  <a:off x="5118256" y="2004070"/>
                  <a:ext cx="18371" cy="18461"/>
                </a:xfrm>
                <a:custGeom>
                  <a:avLst/>
                  <a:gdLst>
                    <a:gd name="connsiteX0" fmla="*/ 17170 w 18371"/>
                    <a:gd name="connsiteY0" fmla="*/ 4715 h 18461"/>
                    <a:gd name="connsiteX1" fmla="*/ 13701 w 18371"/>
                    <a:gd name="connsiteY1" fmla="*/ 17275 h 18461"/>
                    <a:gd name="connsiteX2" fmla="*/ 1201 w 18371"/>
                    <a:gd name="connsiteY2" fmla="*/ 13746 h 18461"/>
                    <a:gd name="connsiteX3" fmla="*/ 4670 w 18371"/>
                    <a:gd name="connsiteY3" fmla="*/ 1187 h 18461"/>
                    <a:gd name="connsiteX4" fmla="*/ 17170 w 18371"/>
                    <a:gd name="connsiteY4" fmla="*/ 4715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61">
                      <a:moveTo>
                        <a:pt x="17170" y="4715"/>
                      </a:moveTo>
                      <a:cubicBezTo>
                        <a:pt x="19682" y="9141"/>
                        <a:pt x="18127" y="14763"/>
                        <a:pt x="13701" y="17275"/>
                      </a:cubicBezTo>
                      <a:cubicBezTo>
                        <a:pt x="9276" y="19787"/>
                        <a:pt x="3714" y="18172"/>
                        <a:pt x="1201" y="13746"/>
                      </a:cubicBezTo>
                      <a:cubicBezTo>
                        <a:pt x="-1310" y="9321"/>
                        <a:pt x="245" y="3699"/>
                        <a:pt x="4670" y="1187"/>
                      </a:cubicBezTo>
                      <a:cubicBezTo>
                        <a:pt x="9096" y="-1325"/>
                        <a:pt x="14718" y="290"/>
                        <a:pt x="17170" y="4715"/>
                      </a:cubicBezTo>
                      <a:close/>
                    </a:path>
                  </a:pathLst>
                </a:custGeom>
                <a:grpFill/>
                <a:ln w="5978" cap="flat">
                  <a:noFill/>
                  <a:prstDash val="solid"/>
                  <a:miter/>
                </a:ln>
              </p:spPr>
              <p:txBody>
                <a:bodyPr rtlCol="0" anchor="ctr"/>
                <a:lstStyle/>
                <a:p>
                  <a:endParaRPr lang="en-GB"/>
                </a:p>
              </p:txBody>
            </p:sp>
            <p:sp>
              <p:nvSpPr>
                <p:cNvPr id="3041" name="Vrije vorm: vorm 3040">
                  <a:extLst>
                    <a:ext uri="{FF2B5EF4-FFF2-40B4-BE49-F238E27FC236}">
                      <a16:creationId xmlns:a16="http://schemas.microsoft.com/office/drawing/2014/main" id="{92321B83-2901-46B5-BFF2-4F239D3A3CA1}"/>
                    </a:ext>
                  </a:extLst>
                </p:cNvPr>
                <p:cNvSpPr/>
                <p:nvPr/>
              </p:nvSpPr>
              <p:spPr>
                <a:xfrm>
                  <a:off x="4847868" y="1522263"/>
                  <a:ext cx="18332" cy="18461"/>
                </a:xfrm>
                <a:custGeom>
                  <a:avLst/>
                  <a:gdLst>
                    <a:gd name="connsiteX0" fmla="*/ 17170 w 18332"/>
                    <a:gd name="connsiteY0" fmla="*/ 4715 h 18461"/>
                    <a:gd name="connsiteX1" fmla="*/ 4670 w 18332"/>
                    <a:gd name="connsiteY1" fmla="*/ 1187 h 18461"/>
                    <a:gd name="connsiteX2" fmla="*/ 1202 w 18332"/>
                    <a:gd name="connsiteY2" fmla="*/ 13746 h 18461"/>
                    <a:gd name="connsiteX3" fmla="*/ 13701 w 18332"/>
                    <a:gd name="connsiteY3" fmla="*/ 17275 h 18461"/>
                    <a:gd name="connsiteX4" fmla="*/ 17170 w 18332"/>
                    <a:gd name="connsiteY4" fmla="*/ 4715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61">
                      <a:moveTo>
                        <a:pt x="17170" y="4715"/>
                      </a:moveTo>
                      <a:cubicBezTo>
                        <a:pt x="14658" y="290"/>
                        <a:pt x="9096" y="-1325"/>
                        <a:pt x="4670" y="1187"/>
                      </a:cubicBezTo>
                      <a:cubicBezTo>
                        <a:pt x="245" y="3699"/>
                        <a:pt x="-1311" y="9261"/>
                        <a:pt x="1202" y="13746"/>
                      </a:cubicBezTo>
                      <a:cubicBezTo>
                        <a:pt x="3713" y="18172"/>
                        <a:pt x="9275" y="19787"/>
                        <a:pt x="13701" y="17275"/>
                      </a:cubicBezTo>
                      <a:cubicBezTo>
                        <a:pt x="18067" y="14763"/>
                        <a:pt x="19622" y="9141"/>
                        <a:pt x="17170" y="4715"/>
                      </a:cubicBezTo>
                      <a:close/>
                    </a:path>
                  </a:pathLst>
                </a:custGeom>
                <a:grpFill/>
                <a:ln w="5978" cap="flat">
                  <a:noFill/>
                  <a:prstDash val="solid"/>
                  <a:miter/>
                </a:ln>
              </p:spPr>
              <p:txBody>
                <a:bodyPr rtlCol="0" anchor="ctr"/>
                <a:lstStyle/>
                <a:p>
                  <a:endParaRPr lang="en-GB"/>
                </a:p>
              </p:txBody>
            </p:sp>
          </p:grpSp>
          <p:grpSp>
            <p:nvGrpSpPr>
              <p:cNvPr id="786" name="Graphic 3">
                <a:extLst>
                  <a:ext uri="{FF2B5EF4-FFF2-40B4-BE49-F238E27FC236}">
                    <a16:creationId xmlns:a16="http://schemas.microsoft.com/office/drawing/2014/main" id="{874343C2-C893-45AD-9A68-8D2F460CB909}"/>
                  </a:ext>
                </a:extLst>
              </p:cNvPr>
              <p:cNvGrpSpPr/>
              <p:nvPr/>
            </p:nvGrpSpPr>
            <p:grpSpPr>
              <a:xfrm>
                <a:off x="4855264" y="1532894"/>
                <a:ext cx="156805" cy="236581"/>
                <a:chOff x="4855264" y="1532894"/>
                <a:chExt cx="156805" cy="236581"/>
              </a:xfrm>
              <a:grpFill/>
            </p:grpSpPr>
            <p:sp>
              <p:nvSpPr>
                <p:cNvPr id="3036" name="Vrije vorm: vorm 3035">
                  <a:extLst>
                    <a:ext uri="{FF2B5EF4-FFF2-40B4-BE49-F238E27FC236}">
                      <a16:creationId xmlns:a16="http://schemas.microsoft.com/office/drawing/2014/main" id="{5F565235-D607-400D-B217-41F0EFD101D0}"/>
                    </a:ext>
                  </a:extLst>
                </p:cNvPr>
                <p:cNvSpPr/>
                <p:nvPr/>
              </p:nvSpPr>
              <p:spPr>
                <a:xfrm>
                  <a:off x="4862885" y="1540913"/>
                  <a:ext cx="141563" cy="220509"/>
                </a:xfrm>
                <a:custGeom>
                  <a:avLst/>
                  <a:gdLst>
                    <a:gd name="connsiteX0" fmla="*/ 141564 w 141563"/>
                    <a:gd name="connsiteY0" fmla="*/ 218894 h 220509"/>
                    <a:gd name="connsiteX1" fmla="*/ 138992 w 141563"/>
                    <a:gd name="connsiteY1" fmla="*/ 220509 h 220509"/>
                    <a:gd name="connsiteX2" fmla="*/ 0 w 141563"/>
                    <a:gd name="connsiteY2" fmla="*/ 1675 h 220509"/>
                    <a:gd name="connsiteX3" fmla="*/ 2572 w 141563"/>
                    <a:gd name="connsiteY3" fmla="*/ 0 h 220509"/>
                  </a:gdLst>
                  <a:ahLst/>
                  <a:cxnLst>
                    <a:cxn ang="0">
                      <a:pos x="connsiteX0" y="connsiteY0"/>
                    </a:cxn>
                    <a:cxn ang="0">
                      <a:pos x="connsiteX1" y="connsiteY1"/>
                    </a:cxn>
                    <a:cxn ang="0">
                      <a:pos x="connsiteX2" y="connsiteY2"/>
                    </a:cxn>
                    <a:cxn ang="0">
                      <a:pos x="connsiteX3" y="connsiteY3"/>
                    </a:cxn>
                  </a:cxnLst>
                  <a:rect l="l" t="t" r="r" b="b"/>
                  <a:pathLst>
                    <a:path w="141563" h="220509">
                      <a:moveTo>
                        <a:pt x="141564" y="218894"/>
                      </a:moveTo>
                      <a:lnTo>
                        <a:pt x="138992" y="220509"/>
                      </a:lnTo>
                      <a:lnTo>
                        <a:pt x="0" y="1675"/>
                      </a:lnTo>
                      <a:lnTo>
                        <a:pt x="2572" y="0"/>
                      </a:lnTo>
                      <a:close/>
                    </a:path>
                  </a:pathLst>
                </a:custGeom>
                <a:grpFill/>
                <a:ln w="5978" cap="flat">
                  <a:noFill/>
                  <a:prstDash val="solid"/>
                  <a:miter/>
                </a:ln>
              </p:spPr>
              <p:txBody>
                <a:bodyPr rtlCol="0" anchor="ctr"/>
                <a:lstStyle/>
                <a:p>
                  <a:endParaRPr lang="en-GB"/>
                </a:p>
              </p:txBody>
            </p:sp>
            <p:sp>
              <p:nvSpPr>
                <p:cNvPr id="3037" name="Vrije vorm: vorm 3036">
                  <a:extLst>
                    <a:ext uri="{FF2B5EF4-FFF2-40B4-BE49-F238E27FC236}">
                      <a16:creationId xmlns:a16="http://schemas.microsoft.com/office/drawing/2014/main" id="{CE477DA5-3C90-4648-927F-7CF79E008194}"/>
                    </a:ext>
                  </a:extLst>
                </p:cNvPr>
                <p:cNvSpPr/>
                <p:nvPr/>
              </p:nvSpPr>
              <p:spPr>
                <a:xfrm>
                  <a:off x="4855264" y="1532894"/>
                  <a:ext cx="18351" cy="18464"/>
                </a:xfrm>
                <a:custGeom>
                  <a:avLst/>
                  <a:gdLst>
                    <a:gd name="connsiteX0" fmla="*/ 1461 w 18351"/>
                    <a:gd name="connsiteY0" fmla="*/ 14179 h 18464"/>
                    <a:gd name="connsiteX1" fmla="*/ 4212 w 18351"/>
                    <a:gd name="connsiteY1" fmla="*/ 1440 h 18464"/>
                    <a:gd name="connsiteX2" fmla="*/ 16891 w 18351"/>
                    <a:gd name="connsiteY2" fmla="*/ 4311 h 18464"/>
                    <a:gd name="connsiteX3" fmla="*/ 14140 w 18351"/>
                    <a:gd name="connsiteY3" fmla="*/ 17050 h 18464"/>
                    <a:gd name="connsiteX4" fmla="*/ 1461 w 18351"/>
                    <a:gd name="connsiteY4" fmla="*/ 1417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4">
                      <a:moveTo>
                        <a:pt x="1461" y="14179"/>
                      </a:moveTo>
                      <a:cubicBezTo>
                        <a:pt x="-1290" y="9873"/>
                        <a:pt x="-35" y="4192"/>
                        <a:pt x="4212" y="1440"/>
                      </a:cubicBezTo>
                      <a:cubicBezTo>
                        <a:pt x="8458" y="-1311"/>
                        <a:pt x="14140" y="5"/>
                        <a:pt x="16891" y="4311"/>
                      </a:cubicBezTo>
                      <a:cubicBezTo>
                        <a:pt x="19642" y="8617"/>
                        <a:pt x="18386" y="14299"/>
                        <a:pt x="14140" y="17050"/>
                      </a:cubicBezTo>
                      <a:cubicBezTo>
                        <a:pt x="9834" y="19742"/>
                        <a:pt x="4152" y="18486"/>
                        <a:pt x="1461" y="14179"/>
                      </a:cubicBezTo>
                      <a:close/>
                    </a:path>
                  </a:pathLst>
                </a:custGeom>
                <a:grpFill/>
                <a:ln w="5978" cap="flat">
                  <a:noFill/>
                  <a:prstDash val="solid"/>
                  <a:miter/>
                </a:ln>
              </p:spPr>
              <p:txBody>
                <a:bodyPr rtlCol="0" anchor="ctr"/>
                <a:lstStyle/>
                <a:p>
                  <a:endParaRPr lang="en-GB"/>
                </a:p>
              </p:txBody>
            </p:sp>
            <p:sp>
              <p:nvSpPr>
                <p:cNvPr id="3038" name="Vrije vorm: vorm 3037">
                  <a:extLst>
                    <a:ext uri="{FF2B5EF4-FFF2-40B4-BE49-F238E27FC236}">
                      <a16:creationId xmlns:a16="http://schemas.microsoft.com/office/drawing/2014/main" id="{564F3E5F-041E-4FC6-9FF3-98FFCEB0DBB3}"/>
                    </a:ext>
                  </a:extLst>
                </p:cNvPr>
                <p:cNvSpPr/>
                <p:nvPr/>
              </p:nvSpPr>
              <p:spPr>
                <a:xfrm>
                  <a:off x="4993759" y="1751037"/>
                  <a:ext cx="18310" cy="18437"/>
                </a:xfrm>
                <a:custGeom>
                  <a:avLst/>
                  <a:gdLst>
                    <a:gd name="connsiteX0" fmla="*/ 1419 w 18310"/>
                    <a:gd name="connsiteY0" fmla="*/ 14153 h 18437"/>
                    <a:gd name="connsiteX1" fmla="*/ 14099 w 18310"/>
                    <a:gd name="connsiteY1" fmla="*/ 17024 h 18437"/>
                    <a:gd name="connsiteX2" fmla="*/ 16850 w 18310"/>
                    <a:gd name="connsiteY2" fmla="*/ 4285 h 18437"/>
                    <a:gd name="connsiteX3" fmla="*/ 4170 w 18310"/>
                    <a:gd name="connsiteY3" fmla="*/ 1414 h 18437"/>
                    <a:gd name="connsiteX4" fmla="*/ 1419 w 18310"/>
                    <a:gd name="connsiteY4" fmla="*/ 14153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7">
                      <a:moveTo>
                        <a:pt x="1419" y="14153"/>
                      </a:moveTo>
                      <a:cubicBezTo>
                        <a:pt x="4170" y="18459"/>
                        <a:pt x="9792" y="19715"/>
                        <a:pt x="14099" y="17024"/>
                      </a:cubicBezTo>
                      <a:cubicBezTo>
                        <a:pt x="18345" y="14273"/>
                        <a:pt x="19601" y="8591"/>
                        <a:pt x="16850" y="4285"/>
                      </a:cubicBezTo>
                      <a:cubicBezTo>
                        <a:pt x="14099" y="-21"/>
                        <a:pt x="8477" y="-1277"/>
                        <a:pt x="4170" y="1414"/>
                      </a:cubicBezTo>
                      <a:cubicBezTo>
                        <a:pt x="-16" y="4165"/>
                        <a:pt x="-1272" y="9847"/>
                        <a:pt x="1419" y="14153"/>
                      </a:cubicBezTo>
                      <a:close/>
                    </a:path>
                  </a:pathLst>
                </a:custGeom>
                <a:grpFill/>
                <a:ln w="5978" cap="flat">
                  <a:noFill/>
                  <a:prstDash val="solid"/>
                  <a:miter/>
                </a:ln>
              </p:spPr>
              <p:txBody>
                <a:bodyPr rtlCol="0" anchor="ctr"/>
                <a:lstStyle/>
                <a:p>
                  <a:endParaRPr lang="en-GB"/>
                </a:p>
              </p:txBody>
            </p:sp>
          </p:grpSp>
          <p:grpSp>
            <p:nvGrpSpPr>
              <p:cNvPr id="787" name="Graphic 3">
                <a:extLst>
                  <a:ext uri="{FF2B5EF4-FFF2-40B4-BE49-F238E27FC236}">
                    <a16:creationId xmlns:a16="http://schemas.microsoft.com/office/drawing/2014/main" id="{F63C296B-CB8D-4B7A-8B5D-CF49E375E5A2}"/>
                  </a:ext>
                </a:extLst>
              </p:cNvPr>
              <p:cNvGrpSpPr/>
              <p:nvPr/>
            </p:nvGrpSpPr>
            <p:grpSpPr>
              <a:xfrm>
                <a:off x="6119513" y="5096650"/>
                <a:ext cx="38589" cy="245053"/>
                <a:chOff x="6119513" y="5096650"/>
                <a:chExt cx="38589" cy="245053"/>
              </a:xfrm>
              <a:grpFill/>
            </p:grpSpPr>
            <p:sp>
              <p:nvSpPr>
                <p:cNvPr id="3033" name="Vrije vorm: vorm 3032">
                  <a:extLst>
                    <a:ext uri="{FF2B5EF4-FFF2-40B4-BE49-F238E27FC236}">
                      <a16:creationId xmlns:a16="http://schemas.microsoft.com/office/drawing/2014/main" id="{13BB6B67-6A84-4E75-A3F4-1582C24F04FA}"/>
                    </a:ext>
                  </a:extLst>
                </p:cNvPr>
                <p:cNvSpPr/>
                <p:nvPr/>
              </p:nvSpPr>
              <p:spPr>
                <a:xfrm>
                  <a:off x="6127090" y="5105243"/>
                  <a:ext cx="23444" cy="227805"/>
                </a:xfrm>
                <a:custGeom>
                  <a:avLst/>
                  <a:gdLst>
                    <a:gd name="connsiteX0" fmla="*/ 23444 w 23444"/>
                    <a:gd name="connsiteY0" fmla="*/ 299 h 227805"/>
                    <a:gd name="connsiteX1" fmla="*/ 3050 w 23444"/>
                    <a:gd name="connsiteY1" fmla="*/ 227806 h 227805"/>
                    <a:gd name="connsiteX2" fmla="*/ 0 w 23444"/>
                    <a:gd name="connsiteY2" fmla="*/ 227567 h 227805"/>
                    <a:gd name="connsiteX3" fmla="*/ 20394 w 23444"/>
                    <a:gd name="connsiteY3" fmla="*/ 0 h 227805"/>
                  </a:gdLst>
                  <a:ahLst/>
                  <a:cxnLst>
                    <a:cxn ang="0">
                      <a:pos x="connsiteX0" y="connsiteY0"/>
                    </a:cxn>
                    <a:cxn ang="0">
                      <a:pos x="connsiteX1" y="connsiteY1"/>
                    </a:cxn>
                    <a:cxn ang="0">
                      <a:pos x="connsiteX2" y="connsiteY2"/>
                    </a:cxn>
                    <a:cxn ang="0">
                      <a:pos x="connsiteX3" y="connsiteY3"/>
                    </a:cxn>
                  </a:cxnLst>
                  <a:rect l="l" t="t" r="r" b="b"/>
                  <a:pathLst>
                    <a:path w="23444" h="227805">
                      <a:moveTo>
                        <a:pt x="23444" y="299"/>
                      </a:moveTo>
                      <a:lnTo>
                        <a:pt x="3050" y="227806"/>
                      </a:lnTo>
                      <a:lnTo>
                        <a:pt x="0" y="227567"/>
                      </a:lnTo>
                      <a:lnTo>
                        <a:pt x="20394" y="0"/>
                      </a:lnTo>
                      <a:close/>
                    </a:path>
                  </a:pathLst>
                </a:custGeom>
                <a:grpFill/>
                <a:ln w="5978" cap="flat">
                  <a:noFill/>
                  <a:prstDash val="solid"/>
                  <a:miter/>
                </a:ln>
              </p:spPr>
              <p:txBody>
                <a:bodyPr rtlCol="0" anchor="ctr"/>
                <a:lstStyle/>
                <a:p>
                  <a:endParaRPr lang="en-GB"/>
                </a:p>
              </p:txBody>
            </p:sp>
            <p:sp>
              <p:nvSpPr>
                <p:cNvPr id="3034" name="Vrije vorm: vorm 3033">
                  <a:extLst>
                    <a:ext uri="{FF2B5EF4-FFF2-40B4-BE49-F238E27FC236}">
                      <a16:creationId xmlns:a16="http://schemas.microsoft.com/office/drawing/2014/main" id="{41956C63-CBE0-4692-8AF0-4F6E115231B8}"/>
                    </a:ext>
                  </a:extLst>
                </p:cNvPr>
                <p:cNvSpPr/>
                <p:nvPr/>
              </p:nvSpPr>
              <p:spPr>
                <a:xfrm>
                  <a:off x="6139797" y="5096650"/>
                  <a:ext cx="18305" cy="18443"/>
                </a:xfrm>
                <a:custGeom>
                  <a:avLst/>
                  <a:gdLst>
                    <a:gd name="connsiteX0" fmla="*/ 32 w 18305"/>
                    <a:gd name="connsiteY0" fmla="*/ 8355 h 18443"/>
                    <a:gd name="connsiteX1" fmla="*/ 9960 w 18305"/>
                    <a:gd name="connsiteY1" fmla="*/ 42 h 18443"/>
                    <a:gd name="connsiteX2" fmla="*/ 18273 w 18305"/>
                    <a:gd name="connsiteY2" fmla="*/ 10089 h 18443"/>
                    <a:gd name="connsiteX3" fmla="*/ 8345 w 18305"/>
                    <a:gd name="connsiteY3" fmla="*/ 18402 h 18443"/>
                    <a:gd name="connsiteX4" fmla="*/ 32 w 18305"/>
                    <a:gd name="connsiteY4" fmla="*/ 835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43">
                      <a:moveTo>
                        <a:pt x="32" y="8355"/>
                      </a:moveTo>
                      <a:cubicBezTo>
                        <a:pt x="510" y="3271"/>
                        <a:pt x="4936" y="-437"/>
                        <a:pt x="9960" y="42"/>
                      </a:cubicBezTo>
                      <a:cubicBezTo>
                        <a:pt x="14984" y="520"/>
                        <a:pt x="18692" y="5006"/>
                        <a:pt x="18273" y="10089"/>
                      </a:cubicBezTo>
                      <a:cubicBezTo>
                        <a:pt x="17795" y="15173"/>
                        <a:pt x="13369" y="18881"/>
                        <a:pt x="8345" y="18402"/>
                      </a:cubicBezTo>
                      <a:cubicBezTo>
                        <a:pt x="3322" y="17924"/>
                        <a:pt x="-386" y="13379"/>
                        <a:pt x="32" y="8355"/>
                      </a:cubicBezTo>
                      <a:close/>
                    </a:path>
                  </a:pathLst>
                </a:custGeom>
                <a:grpFill/>
                <a:ln w="5978" cap="flat">
                  <a:noFill/>
                  <a:prstDash val="solid"/>
                  <a:miter/>
                </a:ln>
              </p:spPr>
              <p:txBody>
                <a:bodyPr rtlCol="0" anchor="ctr"/>
                <a:lstStyle/>
                <a:p>
                  <a:endParaRPr lang="en-GB"/>
                </a:p>
              </p:txBody>
            </p:sp>
            <p:sp>
              <p:nvSpPr>
                <p:cNvPr id="3035" name="Vrije vorm: vorm 3034">
                  <a:extLst>
                    <a:ext uri="{FF2B5EF4-FFF2-40B4-BE49-F238E27FC236}">
                      <a16:creationId xmlns:a16="http://schemas.microsoft.com/office/drawing/2014/main" id="{FAFFA6D3-73D9-4BAB-9D1C-CF313C30DD99}"/>
                    </a:ext>
                  </a:extLst>
                </p:cNvPr>
                <p:cNvSpPr/>
                <p:nvPr/>
              </p:nvSpPr>
              <p:spPr>
                <a:xfrm>
                  <a:off x="6119513" y="5323259"/>
                  <a:ext cx="18323" cy="18443"/>
                </a:xfrm>
                <a:custGeom>
                  <a:avLst/>
                  <a:gdLst>
                    <a:gd name="connsiteX0" fmla="*/ 41 w 18323"/>
                    <a:gd name="connsiteY0" fmla="*/ 8355 h 18443"/>
                    <a:gd name="connsiteX1" fmla="*/ 8354 w 18323"/>
                    <a:gd name="connsiteY1" fmla="*/ 18402 h 18443"/>
                    <a:gd name="connsiteX2" fmla="*/ 18282 w 18323"/>
                    <a:gd name="connsiteY2" fmla="*/ 10089 h 18443"/>
                    <a:gd name="connsiteX3" fmla="*/ 9969 w 18323"/>
                    <a:gd name="connsiteY3" fmla="*/ 42 h 18443"/>
                    <a:gd name="connsiteX4" fmla="*/ 41 w 18323"/>
                    <a:gd name="connsiteY4" fmla="*/ 835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3">
                      <a:moveTo>
                        <a:pt x="41" y="8355"/>
                      </a:moveTo>
                      <a:cubicBezTo>
                        <a:pt x="-438" y="13438"/>
                        <a:pt x="3330" y="17924"/>
                        <a:pt x="8354" y="18402"/>
                      </a:cubicBezTo>
                      <a:cubicBezTo>
                        <a:pt x="13378" y="18881"/>
                        <a:pt x="17863" y="15173"/>
                        <a:pt x="18282" y="10089"/>
                      </a:cubicBezTo>
                      <a:cubicBezTo>
                        <a:pt x="18761" y="5006"/>
                        <a:pt x="14993" y="520"/>
                        <a:pt x="9969" y="42"/>
                      </a:cubicBezTo>
                      <a:cubicBezTo>
                        <a:pt x="4945" y="-437"/>
                        <a:pt x="460" y="3271"/>
                        <a:pt x="41" y="8355"/>
                      </a:cubicBezTo>
                      <a:close/>
                    </a:path>
                  </a:pathLst>
                </a:custGeom>
                <a:grpFill/>
                <a:ln w="5978" cap="flat">
                  <a:noFill/>
                  <a:prstDash val="solid"/>
                  <a:miter/>
                </a:ln>
              </p:spPr>
              <p:txBody>
                <a:bodyPr rtlCol="0" anchor="ctr"/>
                <a:lstStyle/>
                <a:p>
                  <a:endParaRPr lang="en-GB"/>
                </a:p>
              </p:txBody>
            </p:sp>
          </p:grpSp>
          <p:grpSp>
            <p:nvGrpSpPr>
              <p:cNvPr id="788" name="Graphic 3">
                <a:extLst>
                  <a:ext uri="{FF2B5EF4-FFF2-40B4-BE49-F238E27FC236}">
                    <a16:creationId xmlns:a16="http://schemas.microsoft.com/office/drawing/2014/main" id="{7CE5ABAD-6E6D-474F-A6F5-0C2AEB205726}"/>
                  </a:ext>
                </a:extLst>
              </p:cNvPr>
              <p:cNvGrpSpPr/>
              <p:nvPr/>
            </p:nvGrpSpPr>
            <p:grpSpPr>
              <a:xfrm>
                <a:off x="6109735" y="5096087"/>
                <a:ext cx="23101" cy="144326"/>
                <a:chOff x="6109735" y="5096087"/>
                <a:chExt cx="23101" cy="144326"/>
              </a:xfrm>
              <a:grpFill/>
            </p:grpSpPr>
            <p:sp>
              <p:nvSpPr>
                <p:cNvPr id="3030" name="Vrije vorm: vorm 3029">
                  <a:extLst>
                    <a:ext uri="{FF2B5EF4-FFF2-40B4-BE49-F238E27FC236}">
                      <a16:creationId xmlns:a16="http://schemas.microsoft.com/office/drawing/2014/main" id="{E6C725D8-B2AC-46BC-9E43-439CD79A4D79}"/>
                    </a:ext>
                  </a:extLst>
                </p:cNvPr>
                <p:cNvSpPr/>
                <p:nvPr/>
              </p:nvSpPr>
              <p:spPr>
                <a:xfrm>
                  <a:off x="6117401" y="5104825"/>
                  <a:ext cx="7834" cy="126910"/>
                </a:xfrm>
                <a:custGeom>
                  <a:avLst/>
                  <a:gdLst>
                    <a:gd name="connsiteX0" fmla="*/ 2990 w 7834"/>
                    <a:gd name="connsiteY0" fmla="*/ 0 h 126910"/>
                    <a:gd name="connsiteX1" fmla="*/ 7835 w 7834"/>
                    <a:gd name="connsiteY1" fmla="*/ 126791 h 126910"/>
                    <a:gd name="connsiteX2" fmla="*/ 4785 w 7834"/>
                    <a:gd name="connsiteY2" fmla="*/ 126911 h 126910"/>
                    <a:gd name="connsiteX3" fmla="*/ 0 w 7834"/>
                    <a:gd name="connsiteY3" fmla="*/ 119 h 126910"/>
                  </a:gdLst>
                  <a:ahLst/>
                  <a:cxnLst>
                    <a:cxn ang="0">
                      <a:pos x="connsiteX0" y="connsiteY0"/>
                    </a:cxn>
                    <a:cxn ang="0">
                      <a:pos x="connsiteX1" y="connsiteY1"/>
                    </a:cxn>
                    <a:cxn ang="0">
                      <a:pos x="connsiteX2" y="connsiteY2"/>
                    </a:cxn>
                    <a:cxn ang="0">
                      <a:pos x="connsiteX3" y="connsiteY3"/>
                    </a:cxn>
                  </a:cxnLst>
                  <a:rect l="l" t="t" r="r" b="b"/>
                  <a:pathLst>
                    <a:path w="7834" h="126910">
                      <a:moveTo>
                        <a:pt x="2990" y="0"/>
                      </a:moveTo>
                      <a:lnTo>
                        <a:pt x="7835" y="126791"/>
                      </a:lnTo>
                      <a:lnTo>
                        <a:pt x="4785" y="126911"/>
                      </a:lnTo>
                      <a:lnTo>
                        <a:pt x="0" y="119"/>
                      </a:lnTo>
                      <a:close/>
                    </a:path>
                  </a:pathLst>
                </a:custGeom>
                <a:grpFill/>
                <a:ln w="5978" cap="flat">
                  <a:noFill/>
                  <a:prstDash val="solid"/>
                  <a:miter/>
                </a:ln>
              </p:spPr>
              <p:txBody>
                <a:bodyPr rtlCol="0" anchor="ctr"/>
                <a:lstStyle/>
                <a:p>
                  <a:endParaRPr lang="en-GB"/>
                </a:p>
              </p:txBody>
            </p:sp>
            <p:sp>
              <p:nvSpPr>
                <p:cNvPr id="3031" name="Vrije vorm: vorm 3030">
                  <a:extLst>
                    <a:ext uri="{FF2B5EF4-FFF2-40B4-BE49-F238E27FC236}">
                      <a16:creationId xmlns:a16="http://schemas.microsoft.com/office/drawing/2014/main" id="{B9575701-8A40-4CEF-821A-DAAB242BAD63}"/>
                    </a:ext>
                  </a:extLst>
                </p:cNvPr>
                <p:cNvSpPr/>
                <p:nvPr/>
              </p:nvSpPr>
              <p:spPr>
                <a:xfrm>
                  <a:off x="6114524" y="5221981"/>
                  <a:ext cx="18312" cy="18432"/>
                </a:xfrm>
                <a:custGeom>
                  <a:avLst/>
                  <a:gdLst>
                    <a:gd name="connsiteX0" fmla="*/ 18307 w 18312"/>
                    <a:gd name="connsiteY0" fmla="*/ 8917 h 18432"/>
                    <a:gd name="connsiteX1" fmla="*/ 9515 w 18312"/>
                    <a:gd name="connsiteY1" fmla="*/ 18427 h 18432"/>
                    <a:gd name="connsiteX2" fmla="*/ 6 w 18312"/>
                    <a:gd name="connsiteY2" fmla="*/ 9515 h 18432"/>
                    <a:gd name="connsiteX3" fmla="*/ 8798 w 18312"/>
                    <a:gd name="connsiteY3" fmla="*/ 6 h 18432"/>
                    <a:gd name="connsiteX4" fmla="*/ 18307 w 18312"/>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18307" y="8917"/>
                      </a:moveTo>
                      <a:cubicBezTo>
                        <a:pt x="18486" y="14001"/>
                        <a:pt x="14539" y="18247"/>
                        <a:pt x="9515" y="18427"/>
                      </a:cubicBezTo>
                      <a:cubicBezTo>
                        <a:pt x="4432" y="18606"/>
                        <a:pt x="185" y="14599"/>
                        <a:pt x="6" y="9515"/>
                      </a:cubicBezTo>
                      <a:cubicBezTo>
                        <a:pt x="-173" y="4431"/>
                        <a:pt x="3774" y="185"/>
                        <a:pt x="8798" y="6"/>
                      </a:cubicBezTo>
                      <a:cubicBezTo>
                        <a:pt x="13881" y="-173"/>
                        <a:pt x="18128" y="3834"/>
                        <a:pt x="18307" y="8917"/>
                      </a:cubicBezTo>
                      <a:close/>
                    </a:path>
                  </a:pathLst>
                </a:custGeom>
                <a:grpFill/>
                <a:ln w="5978" cap="flat">
                  <a:noFill/>
                  <a:prstDash val="solid"/>
                  <a:miter/>
                </a:ln>
              </p:spPr>
              <p:txBody>
                <a:bodyPr rtlCol="0" anchor="ctr"/>
                <a:lstStyle/>
                <a:p>
                  <a:endParaRPr lang="en-GB"/>
                </a:p>
              </p:txBody>
            </p:sp>
            <p:sp>
              <p:nvSpPr>
                <p:cNvPr id="3032" name="Vrije vorm: vorm 3031">
                  <a:extLst>
                    <a:ext uri="{FF2B5EF4-FFF2-40B4-BE49-F238E27FC236}">
                      <a16:creationId xmlns:a16="http://schemas.microsoft.com/office/drawing/2014/main" id="{C92D4D3B-736F-4D3A-B830-94E7FB91D988}"/>
                    </a:ext>
                  </a:extLst>
                </p:cNvPr>
                <p:cNvSpPr/>
                <p:nvPr/>
              </p:nvSpPr>
              <p:spPr>
                <a:xfrm>
                  <a:off x="6109735" y="5096087"/>
                  <a:ext cx="18321" cy="18432"/>
                </a:xfrm>
                <a:custGeom>
                  <a:avLst/>
                  <a:gdLst>
                    <a:gd name="connsiteX0" fmla="*/ 18311 w 18321"/>
                    <a:gd name="connsiteY0" fmla="*/ 8917 h 18432"/>
                    <a:gd name="connsiteX1" fmla="*/ 8802 w 18321"/>
                    <a:gd name="connsiteY1" fmla="*/ 6 h 18432"/>
                    <a:gd name="connsiteX2" fmla="*/ 10 w 18321"/>
                    <a:gd name="connsiteY2" fmla="*/ 9515 h 18432"/>
                    <a:gd name="connsiteX3" fmla="*/ 9520 w 18321"/>
                    <a:gd name="connsiteY3" fmla="*/ 18427 h 18432"/>
                    <a:gd name="connsiteX4" fmla="*/ 18311 w 18321"/>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2">
                      <a:moveTo>
                        <a:pt x="18311" y="8917"/>
                      </a:moveTo>
                      <a:cubicBezTo>
                        <a:pt x="18132" y="3834"/>
                        <a:pt x="13886" y="-174"/>
                        <a:pt x="8802" y="6"/>
                      </a:cubicBezTo>
                      <a:cubicBezTo>
                        <a:pt x="3718" y="185"/>
                        <a:pt x="-229" y="4431"/>
                        <a:pt x="10" y="9515"/>
                      </a:cubicBezTo>
                      <a:cubicBezTo>
                        <a:pt x="190" y="14599"/>
                        <a:pt x="4436" y="18606"/>
                        <a:pt x="9520" y="18427"/>
                      </a:cubicBezTo>
                      <a:cubicBezTo>
                        <a:pt x="14603" y="18307"/>
                        <a:pt x="18550" y="14001"/>
                        <a:pt x="18311" y="8917"/>
                      </a:cubicBezTo>
                      <a:close/>
                    </a:path>
                  </a:pathLst>
                </a:custGeom>
                <a:grpFill/>
                <a:ln w="5978" cap="flat">
                  <a:noFill/>
                  <a:prstDash val="solid"/>
                  <a:miter/>
                </a:ln>
              </p:spPr>
              <p:txBody>
                <a:bodyPr rtlCol="0" anchor="ctr"/>
                <a:lstStyle/>
                <a:p>
                  <a:endParaRPr lang="en-GB"/>
                </a:p>
              </p:txBody>
            </p:sp>
          </p:grpSp>
          <p:grpSp>
            <p:nvGrpSpPr>
              <p:cNvPr id="789" name="Graphic 3">
                <a:extLst>
                  <a:ext uri="{FF2B5EF4-FFF2-40B4-BE49-F238E27FC236}">
                    <a16:creationId xmlns:a16="http://schemas.microsoft.com/office/drawing/2014/main" id="{55A5D4B2-EA6D-4B0E-AA0A-1DE3040E2A73}"/>
                  </a:ext>
                </a:extLst>
              </p:cNvPr>
              <p:cNvGrpSpPr/>
              <p:nvPr/>
            </p:nvGrpSpPr>
            <p:grpSpPr>
              <a:xfrm>
                <a:off x="4900430" y="1743785"/>
                <a:ext cx="209471" cy="296093"/>
                <a:chOff x="4900430" y="1743785"/>
                <a:chExt cx="209471" cy="296093"/>
              </a:xfrm>
              <a:grpFill/>
            </p:grpSpPr>
            <p:sp>
              <p:nvSpPr>
                <p:cNvPr id="3027" name="Vrije vorm: vorm 3026">
                  <a:extLst>
                    <a:ext uri="{FF2B5EF4-FFF2-40B4-BE49-F238E27FC236}">
                      <a16:creationId xmlns:a16="http://schemas.microsoft.com/office/drawing/2014/main" id="{8FE412DE-ACAF-4C7A-9140-DE5C0356A5A7}"/>
                    </a:ext>
                  </a:extLst>
                </p:cNvPr>
                <p:cNvSpPr/>
                <p:nvPr/>
              </p:nvSpPr>
              <p:spPr>
                <a:xfrm>
                  <a:off x="4908099" y="1751734"/>
                  <a:ext cx="194134" cy="280136"/>
                </a:xfrm>
                <a:custGeom>
                  <a:avLst/>
                  <a:gdLst>
                    <a:gd name="connsiteX0" fmla="*/ 194134 w 194134"/>
                    <a:gd name="connsiteY0" fmla="*/ 278403 h 280136"/>
                    <a:gd name="connsiteX1" fmla="*/ 191682 w 194134"/>
                    <a:gd name="connsiteY1" fmla="*/ 280137 h 280136"/>
                    <a:gd name="connsiteX2" fmla="*/ 0 w 194134"/>
                    <a:gd name="connsiteY2" fmla="*/ 1734 h 280136"/>
                    <a:gd name="connsiteX3" fmla="*/ 2512 w 194134"/>
                    <a:gd name="connsiteY3" fmla="*/ 0 h 280136"/>
                  </a:gdLst>
                  <a:ahLst/>
                  <a:cxnLst>
                    <a:cxn ang="0">
                      <a:pos x="connsiteX0" y="connsiteY0"/>
                    </a:cxn>
                    <a:cxn ang="0">
                      <a:pos x="connsiteX1" y="connsiteY1"/>
                    </a:cxn>
                    <a:cxn ang="0">
                      <a:pos x="connsiteX2" y="connsiteY2"/>
                    </a:cxn>
                    <a:cxn ang="0">
                      <a:pos x="connsiteX3" y="connsiteY3"/>
                    </a:cxn>
                  </a:cxnLst>
                  <a:rect l="l" t="t" r="r" b="b"/>
                  <a:pathLst>
                    <a:path w="194134" h="280136">
                      <a:moveTo>
                        <a:pt x="194134" y="278403"/>
                      </a:moveTo>
                      <a:lnTo>
                        <a:pt x="191682" y="280137"/>
                      </a:lnTo>
                      <a:lnTo>
                        <a:pt x="0" y="1734"/>
                      </a:lnTo>
                      <a:lnTo>
                        <a:pt x="2512" y="0"/>
                      </a:lnTo>
                      <a:close/>
                    </a:path>
                  </a:pathLst>
                </a:custGeom>
                <a:grpFill/>
                <a:ln w="5978" cap="flat">
                  <a:noFill/>
                  <a:prstDash val="solid"/>
                  <a:miter/>
                </a:ln>
              </p:spPr>
              <p:txBody>
                <a:bodyPr rtlCol="0" anchor="ctr"/>
                <a:lstStyle/>
                <a:p>
                  <a:endParaRPr lang="en-GB"/>
                </a:p>
              </p:txBody>
            </p:sp>
            <p:sp>
              <p:nvSpPr>
                <p:cNvPr id="3028" name="Vrije vorm: vorm 3027">
                  <a:extLst>
                    <a:ext uri="{FF2B5EF4-FFF2-40B4-BE49-F238E27FC236}">
                      <a16:creationId xmlns:a16="http://schemas.microsoft.com/office/drawing/2014/main" id="{B3903684-4696-46EA-AF31-D3BB0BC95DA2}"/>
                    </a:ext>
                  </a:extLst>
                </p:cNvPr>
                <p:cNvSpPr/>
                <p:nvPr/>
              </p:nvSpPr>
              <p:spPr>
                <a:xfrm>
                  <a:off x="4900430" y="1743785"/>
                  <a:ext cx="18327" cy="18408"/>
                </a:xfrm>
                <a:custGeom>
                  <a:avLst/>
                  <a:gdLst>
                    <a:gd name="connsiteX0" fmla="*/ 1628 w 18327"/>
                    <a:gd name="connsiteY0" fmla="*/ 14407 h 18408"/>
                    <a:gd name="connsiteX1" fmla="*/ 3961 w 18327"/>
                    <a:gd name="connsiteY1" fmla="*/ 1609 h 18408"/>
                    <a:gd name="connsiteX2" fmla="*/ 16700 w 18327"/>
                    <a:gd name="connsiteY2" fmla="*/ 4001 h 18408"/>
                    <a:gd name="connsiteX3" fmla="*/ 14367 w 18327"/>
                    <a:gd name="connsiteY3" fmla="*/ 16800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1243" y="10221"/>
                        <a:pt x="-226" y="4479"/>
                        <a:pt x="3961" y="1609"/>
                      </a:cubicBezTo>
                      <a:cubicBezTo>
                        <a:pt x="8147" y="-1262"/>
                        <a:pt x="13829" y="-186"/>
                        <a:pt x="16700" y="4001"/>
                      </a:cubicBezTo>
                      <a:cubicBezTo>
                        <a:pt x="19570" y="8187"/>
                        <a:pt x="18554" y="13929"/>
                        <a:pt x="14367" y="16800"/>
                      </a:cubicBezTo>
                      <a:cubicBezTo>
                        <a:pt x="10180" y="19670"/>
                        <a:pt x="4499" y="18594"/>
                        <a:pt x="1628" y="14407"/>
                      </a:cubicBezTo>
                      <a:close/>
                    </a:path>
                  </a:pathLst>
                </a:custGeom>
                <a:grpFill/>
                <a:ln w="5978" cap="flat">
                  <a:noFill/>
                  <a:prstDash val="solid"/>
                  <a:miter/>
                </a:ln>
              </p:spPr>
              <p:txBody>
                <a:bodyPr rtlCol="0" anchor="ctr"/>
                <a:lstStyle/>
                <a:p>
                  <a:endParaRPr lang="en-GB"/>
                </a:p>
              </p:txBody>
            </p:sp>
            <p:sp>
              <p:nvSpPr>
                <p:cNvPr id="3029" name="Vrije vorm: vorm 3028">
                  <a:extLst>
                    <a:ext uri="{FF2B5EF4-FFF2-40B4-BE49-F238E27FC236}">
                      <a16:creationId xmlns:a16="http://schemas.microsoft.com/office/drawing/2014/main" id="{D2A97510-6A5E-400F-A8C6-E8F82E175B7A}"/>
                    </a:ext>
                  </a:extLst>
                </p:cNvPr>
                <p:cNvSpPr/>
                <p:nvPr/>
              </p:nvSpPr>
              <p:spPr>
                <a:xfrm>
                  <a:off x="5091574" y="2021470"/>
                  <a:ext cx="18327" cy="18408"/>
                </a:xfrm>
                <a:custGeom>
                  <a:avLst/>
                  <a:gdLst>
                    <a:gd name="connsiteX0" fmla="*/ 1628 w 18327"/>
                    <a:gd name="connsiteY0" fmla="*/ 14407 h 18408"/>
                    <a:gd name="connsiteX1" fmla="*/ 14367 w 18327"/>
                    <a:gd name="connsiteY1" fmla="*/ 16800 h 18408"/>
                    <a:gd name="connsiteX2" fmla="*/ 16699 w 18327"/>
                    <a:gd name="connsiteY2" fmla="*/ 4001 h 18408"/>
                    <a:gd name="connsiteX3" fmla="*/ 3960 w 18327"/>
                    <a:gd name="connsiteY3" fmla="*/ 1609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4499" y="18594"/>
                        <a:pt x="10240" y="19670"/>
                        <a:pt x="14367" y="16800"/>
                      </a:cubicBezTo>
                      <a:cubicBezTo>
                        <a:pt x="18553" y="13929"/>
                        <a:pt x="19570" y="8187"/>
                        <a:pt x="16699" y="4001"/>
                      </a:cubicBezTo>
                      <a:cubicBezTo>
                        <a:pt x="13829" y="-186"/>
                        <a:pt x="8087" y="-1262"/>
                        <a:pt x="3960" y="1609"/>
                      </a:cubicBezTo>
                      <a:cubicBezTo>
                        <a:pt x="-226" y="4479"/>
                        <a:pt x="-1243" y="10221"/>
                        <a:pt x="1628" y="14407"/>
                      </a:cubicBezTo>
                      <a:close/>
                    </a:path>
                  </a:pathLst>
                </a:custGeom>
                <a:grpFill/>
                <a:ln w="5978" cap="flat">
                  <a:noFill/>
                  <a:prstDash val="solid"/>
                  <a:miter/>
                </a:ln>
              </p:spPr>
              <p:txBody>
                <a:bodyPr rtlCol="0" anchor="ctr"/>
                <a:lstStyle/>
                <a:p>
                  <a:endParaRPr lang="en-GB"/>
                </a:p>
              </p:txBody>
            </p:sp>
          </p:grpSp>
          <p:grpSp>
            <p:nvGrpSpPr>
              <p:cNvPr id="790" name="Graphic 3">
                <a:extLst>
                  <a:ext uri="{FF2B5EF4-FFF2-40B4-BE49-F238E27FC236}">
                    <a16:creationId xmlns:a16="http://schemas.microsoft.com/office/drawing/2014/main" id="{77B0E03F-B788-43BC-8A46-2FC30B2B5765}"/>
                  </a:ext>
                </a:extLst>
              </p:cNvPr>
              <p:cNvGrpSpPr/>
              <p:nvPr/>
            </p:nvGrpSpPr>
            <p:grpSpPr>
              <a:xfrm>
                <a:off x="6171945" y="5097408"/>
                <a:ext cx="18300" cy="554951"/>
                <a:chOff x="6171945" y="5097408"/>
                <a:chExt cx="18300" cy="554951"/>
              </a:xfrm>
              <a:grpFill/>
            </p:grpSpPr>
            <p:sp>
              <p:nvSpPr>
                <p:cNvPr id="3024" name="Vrije vorm: vorm 3023">
                  <a:extLst>
                    <a:ext uri="{FF2B5EF4-FFF2-40B4-BE49-F238E27FC236}">
                      <a16:creationId xmlns:a16="http://schemas.microsoft.com/office/drawing/2014/main" id="{74B3DC64-E9A0-42F5-8DD2-427F9EB149D1}"/>
                    </a:ext>
                  </a:extLst>
                </p:cNvPr>
                <p:cNvSpPr/>
                <p:nvPr/>
              </p:nvSpPr>
              <p:spPr>
                <a:xfrm>
                  <a:off x="6179600" y="5106141"/>
                  <a:ext cx="3050" cy="537427"/>
                </a:xfrm>
                <a:custGeom>
                  <a:avLst/>
                  <a:gdLst>
                    <a:gd name="connsiteX0" fmla="*/ 3050 w 3050"/>
                    <a:gd name="connsiteY0" fmla="*/ 0 h 537427"/>
                    <a:gd name="connsiteX1" fmla="*/ 3050 w 3050"/>
                    <a:gd name="connsiteY1" fmla="*/ 537428 h 537427"/>
                    <a:gd name="connsiteX2" fmla="*/ 0 w 3050"/>
                    <a:gd name="connsiteY2" fmla="*/ 537428 h 537427"/>
                    <a:gd name="connsiteX3" fmla="*/ 0 w 3050"/>
                    <a:gd name="connsiteY3" fmla="*/ 0 h 537427"/>
                  </a:gdLst>
                  <a:ahLst/>
                  <a:cxnLst>
                    <a:cxn ang="0">
                      <a:pos x="connsiteX0" y="connsiteY0"/>
                    </a:cxn>
                    <a:cxn ang="0">
                      <a:pos x="connsiteX1" y="connsiteY1"/>
                    </a:cxn>
                    <a:cxn ang="0">
                      <a:pos x="connsiteX2" y="connsiteY2"/>
                    </a:cxn>
                    <a:cxn ang="0">
                      <a:pos x="connsiteX3" y="connsiteY3"/>
                    </a:cxn>
                  </a:cxnLst>
                  <a:rect l="l" t="t" r="r" b="b"/>
                  <a:pathLst>
                    <a:path w="3050" h="537427">
                      <a:moveTo>
                        <a:pt x="3050" y="0"/>
                      </a:moveTo>
                      <a:lnTo>
                        <a:pt x="3050" y="537428"/>
                      </a:lnTo>
                      <a:lnTo>
                        <a:pt x="0" y="537428"/>
                      </a:lnTo>
                      <a:lnTo>
                        <a:pt x="0" y="0"/>
                      </a:lnTo>
                      <a:close/>
                    </a:path>
                  </a:pathLst>
                </a:custGeom>
                <a:grpFill/>
                <a:ln w="5978" cap="flat">
                  <a:noFill/>
                  <a:prstDash val="solid"/>
                  <a:miter/>
                </a:ln>
              </p:spPr>
              <p:txBody>
                <a:bodyPr rtlCol="0" anchor="ctr"/>
                <a:lstStyle/>
                <a:p>
                  <a:endParaRPr lang="en-GB"/>
                </a:p>
              </p:txBody>
            </p:sp>
            <p:sp>
              <p:nvSpPr>
                <p:cNvPr id="3025" name="Vrije vorm: vorm 3024">
                  <a:extLst>
                    <a:ext uri="{FF2B5EF4-FFF2-40B4-BE49-F238E27FC236}">
                      <a16:creationId xmlns:a16="http://schemas.microsoft.com/office/drawing/2014/main" id="{FFC2B00A-C9B6-4FE8-A74B-800F800387D1}"/>
                    </a:ext>
                  </a:extLst>
                </p:cNvPr>
                <p:cNvSpPr/>
                <p:nvPr/>
              </p:nvSpPr>
              <p:spPr>
                <a:xfrm>
                  <a:off x="6171945" y="5097408"/>
                  <a:ext cx="18300" cy="18422"/>
                </a:xfrm>
                <a:custGeom>
                  <a:avLst/>
                  <a:gdLst>
                    <a:gd name="connsiteX0" fmla="*/ 0 w 18300"/>
                    <a:gd name="connsiteY0" fmla="*/ 9151 h 18422"/>
                    <a:gd name="connsiteX1" fmla="*/ 9150 w 18300"/>
                    <a:gd name="connsiteY1" fmla="*/ 1 h 18422"/>
                    <a:gd name="connsiteX2" fmla="*/ 18301 w 18300"/>
                    <a:gd name="connsiteY2" fmla="*/ 9271 h 18422"/>
                    <a:gd name="connsiteX3" fmla="*/ 9150 w 18300"/>
                    <a:gd name="connsiteY3" fmla="*/ 18421 h 18422"/>
                    <a:gd name="connsiteX4" fmla="*/ 0 w 18300"/>
                    <a:gd name="connsiteY4" fmla="*/ 915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22">
                      <a:moveTo>
                        <a:pt x="0" y="9151"/>
                      </a:moveTo>
                      <a:cubicBezTo>
                        <a:pt x="0" y="4068"/>
                        <a:pt x="4127" y="-59"/>
                        <a:pt x="9150" y="1"/>
                      </a:cubicBezTo>
                      <a:cubicBezTo>
                        <a:pt x="14234" y="1"/>
                        <a:pt x="18301" y="4187"/>
                        <a:pt x="18301" y="9271"/>
                      </a:cubicBezTo>
                      <a:cubicBezTo>
                        <a:pt x="18301" y="14355"/>
                        <a:pt x="14174" y="18481"/>
                        <a:pt x="9150" y="18421"/>
                      </a:cubicBezTo>
                      <a:cubicBezTo>
                        <a:pt x="4127" y="18361"/>
                        <a:pt x="0" y="14235"/>
                        <a:pt x="0" y="9151"/>
                      </a:cubicBezTo>
                      <a:close/>
                    </a:path>
                  </a:pathLst>
                </a:custGeom>
                <a:grpFill/>
                <a:ln w="5978" cap="flat">
                  <a:noFill/>
                  <a:prstDash val="solid"/>
                  <a:miter/>
                </a:ln>
              </p:spPr>
              <p:txBody>
                <a:bodyPr rtlCol="0" anchor="ctr"/>
                <a:lstStyle/>
                <a:p>
                  <a:endParaRPr lang="en-GB"/>
                </a:p>
              </p:txBody>
            </p:sp>
            <p:sp>
              <p:nvSpPr>
                <p:cNvPr id="3026" name="Vrije vorm: vorm 3025">
                  <a:extLst>
                    <a:ext uri="{FF2B5EF4-FFF2-40B4-BE49-F238E27FC236}">
                      <a16:creationId xmlns:a16="http://schemas.microsoft.com/office/drawing/2014/main" id="{969DD441-56CA-4B8D-919F-F3285DC8C422}"/>
                    </a:ext>
                  </a:extLst>
                </p:cNvPr>
                <p:cNvSpPr/>
                <p:nvPr/>
              </p:nvSpPr>
              <p:spPr>
                <a:xfrm>
                  <a:off x="6171945" y="5633939"/>
                  <a:ext cx="18300" cy="18421"/>
                </a:xfrm>
                <a:custGeom>
                  <a:avLst/>
                  <a:gdLst>
                    <a:gd name="connsiteX0" fmla="*/ 0 w 18300"/>
                    <a:gd name="connsiteY0" fmla="*/ 9151 h 18421"/>
                    <a:gd name="connsiteX1" fmla="*/ 9150 w 18300"/>
                    <a:gd name="connsiteY1" fmla="*/ 18421 h 18421"/>
                    <a:gd name="connsiteX2" fmla="*/ 18301 w 18300"/>
                    <a:gd name="connsiteY2" fmla="*/ 9271 h 18421"/>
                    <a:gd name="connsiteX3" fmla="*/ 9150 w 18300"/>
                    <a:gd name="connsiteY3" fmla="*/ 1 h 18421"/>
                    <a:gd name="connsiteX4" fmla="*/ 0 w 18300"/>
                    <a:gd name="connsiteY4" fmla="*/ 91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21">
                      <a:moveTo>
                        <a:pt x="0" y="9151"/>
                      </a:moveTo>
                      <a:cubicBezTo>
                        <a:pt x="0" y="14235"/>
                        <a:pt x="4127" y="18362"/>
                        <a:pt x="9150" y="18421"/>
                      </a:cubicBezTo>
                      <a:cubicBezTo>
                        <a:pt x="14234" y="18421"/>
                        <a:pt x="18301" y="14355"/>
                        <a:pt x="18301" y="9271"/>
                      </a:cubicBezTo>
                      <a:cubicBezTo>
                        <a:pt x="18301" y="4187"/>
                        <a:pt x="14174" y="61"/>
                        <a:pt x="9150" y="1"/>
                      </a:cubicBezTo>
                      <a:cubicBezTo>
                        <a:pt x="4127" y="-59"/>
                        <a:pt x="0" y="4067"/>
                        <a:pt x="0" y="9151"/>
                      </a:cubicBezTo>
                      <a:close/>
                    </a:path>
                  </a:pathLst>
                </a:custGeom>
                <a:grpFill/>
                <a:ln w="5978" cap="flat">
                  <a:noFill/>
                  <a:prstDash val="solid"/>
                  <a:miter/>
                </a:ln>
              </p:spPr>
              <p:txBody>
                <a:bodyPr rtlCol="0" anchor="ctr"/>
                <a:lstStyle/>
                <a:p>
                  <a:endParaRPr lang="en-GB"/>
                </a:p>
              </p:txBody>
            </p:sp>
          </p:grpSp>
          <p:grpSp>
            <p:nvGrpSpPr>
              <p:cNvPr id="791" name="Graphic 3">
                <a:extLst>
                  <a:ext uri="{FF2B5EF4-FFF2-40B4-BE49-F238E27FC236}">
                    <a16:creationId xmlns:a16="http://schemas.microsoft.com/office/drawing/2014/main" id="{7BF22015-D6A0-4ED7-9883-6F5A8CD0C4F6}"/>
                  </a:ext>
                </a:extLst>
              </p:cNvPr>
              <p:cNvGrpSpPr/>
              <p:nvPr/>
            </p:nvGrpSpPr>
            <p:grpSpPr>
              <a:xfrm>
                <a:off x="6149980" y="5252778"/>
                <a:ext cx="24194" cy="122984"/>
                <a:chOff x="6149980" y="5252778"/>
                <a:chExt cx="24194" cy="122984"/>
              </a:xfrm>
              <a:grpFill/>
            </p:grpSpPr>
            <p:sp>
              <p:nvSpPr>
                <p:cNvPr id="3021" name="Vrije vorm: vorm 3020">
                  <a:extLst>
                    <a:ext uri="{FF2B5EF4-FFF2-40B4-BE49-F238E27FC236}">
                      <a16:creationId xmlns:a16="http://schemas.microsoft.com/office/drawing/2014/main" id="{62B0B70F-770F-430E-9E7A-842D1E357D79}"/>
                    </a:ext>
                  </a:extLst>
                </p:cNvPr>
                <p:cNvSpPr/>
                <p:nvPr/>
              </p:nvSpPr>
              <p:spPr>
                <a:xfrm>
                  <a:off x="6157591" y="5261460"/>
                  <a:ext cx="8971" cy="105619"/>
                </a:xfrm>
                <a:custGeom>
                  <a:avLst/>
                  <a:gdLst>
                    <a:gd name="connsiteX0" fmla="*/ 3050 w 8971"/>
                    <a:gd name="connsiteY0" fmla="*/ 0 h 105619"/>
                    <a:gd name="connsiteX1" fmla="*/ 8971 w 8971"/>
                    <a:gd name="connsiteY1" fmla="*/ 105500 h 105619"/>
                    <a:gd name="connsiteX2" fmla="*/ 5921 w 8971"/>
                    <a:gd name="connsiteY2" fmla="*/ 105619 h 105619"/>
                    <a:gd name="connsiteX3" fmla="*/ 0 w 8971"/>
                    <a:gd name="connsiteY3" fmla="*/ 179 h 105619"/>
                  </a:gdLst>
                  <a:ahLst/>
                  <a:cxnLst>
                    <a:cxn ang="0">
                      <a:pos x="connsiteX0" y="connsiteY0"/>
                    </a:cxn>
                    <a:cxn ang="0">
                      <a:pos x="connsiteX1" y="connsiteY1"/>
                    </a:cxn>
                    <a:cxn ang="0">
                      <a:pos x="connsiteX2" y="connsiteY2"/>
                    </a:cxn>
                    <a:cxn ang="0">
                      <a:pos x="connsiteX3" y="connsiteY3"/>
                    </a:cxn>
                  </a:cxnLst>
                  <a:rect l="l" t="t" r="r" b="b"/>
                  <a:pathLst>
                    <a:path w="8971" h="105619">
                      <a:moveTo>
                        <a:pt x="3050" y="0"/>
                      </a:moveTo>
                      <a:lnTo>
                        <a:pt x="8971" y="105500"/>
                      </a:lnTo>
                      <a:lnTo>
                        <a:pt x="5921" y="105619"/>
                      </a:lnTo>
                      <a:lnTo>
                        <a:pt x="0" y="179"/>
                      </a:lnTo>
                      <a:close/>
                    </a:path>
                  </a:pathLst>
                </a:custGeom>
                <a:grpFill/>
                <a:ln w="5978" cap="flat">
                  <a:noFill/>
                  <a:prstDash val="solid"/>
                  <a:miter/>
                </a:ln>
              </p:spPr>
              <p:txBody>
                <a:bodyPr rtlCol="0" anchor="ctr"/>
                <a:lstStyle/>
                <a:p>
                  <a:endParaRPr lang="en-GB"/>
                </a:p>
              </p:txBody>
            </p:sp>
            <p:sp>
              <p:nvSpPr>
                <p:cNvPr id="3022" name="Vrije vorm: vorm 3021">
                  <a:extLst>
                    <a:ext uri="{FF2B5EF4-FFF2-40B4-BE49-F238E27FC236}">
                      <a16:creationId xmlns:a16="http://schemas.microsoft.com/office/drawing/2014/main" id="{FAA00641-2AC3-4866-85CF-47D49DFB7FD7}"/>
                    </a:ext>
                  </a:extLst>
                </p:cNvPr>
                <p:cNvSpPr/>
                <p:nvPr/>
              </p:nvSpPr>
              <p:spPr>
                <a:xfrm>
                  <a:off x="6155841" y="5357321"/>
                  <a:ext cx="18333" cy="18441"/>
                </a:xfrm>
                <a:custGeom>
                  <a:avLst/>
                  <a:gdLst>
                    <a:gd name="connsiteX0" fmla="*/ 18317 w 18333"/>
                    <a:gd name="connsiteY0" fmla="*/ 8742 h 18441"/>
                    <a:gd name="connsiteX1" fmla="*/ 9705 w 18333"/>
                    <a:gd name="connsiteY1" fmla="*/ 18431 h 18441"/>
                    <a:gd name="connsiteX2" fmla="*/ 16 w 18333"/>
                    <a:gd name="connsiteY2" fmla="*/ 9699 h 18441"/>
                    <a:gd name="connsiteX3" fmla="*/ 8628 w 18333"/>
                    <a:gd name="connsiteY3" fmla="*/ 10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616" y="13826"/>
                        <a:pt x="14728" y="18132"/>
                        <a:pt x="9705" y="18431"/>
                      </a:cubicBezTo>
                      <a:cubicBezTo>
                        <a:pt x="4681" y="18670"/>
                        <a:pt x="315" y="14783"/>
                        <a:pt x="16" y="9699"/>
                      </a:cubicBezTo>
                      <a:cubicBezTo>
                        <a:pt x="-283" y="4616"/>
                        <a:pt x="3604" y="309"/>
                        <a:pt x="8628" y="10"/>
                      </a:cubicBezTo>
                      <a:cubicBezTo>
                        <a:pt x="13712" y="-229"/>
                        <a:pt x="18018" y="3659"/>
                        <a:pt x="18317" y="8742"/>
                      </a:cubicBezTo>
                      <a:close/>
                    </a:path>
                  </a:pathLst>
                </a:custGeom>
                <a:grpFill/>
                <a:ln w="5978" cap="flat">
                  <a:noFill/>
                  <a:prstDash val="solid"/>
                  <a:miter/>
                </a:ln>
              </p:spPr>
              <p:txBody>
                <a:bodyPr rtlCol="0" anchor="ctr"/>
                <a:lstStyle/>
                <a:p>
                  <a:endParaRPr lang="en-GB"/>
                </a:p>
              </p:txBody>
            </p:sp>
            <p:sp>
              <p:nvSpPr>
                <p:cNvPr id="3023" name="Vrije vorm: vorm 3022">
                  <a:extLst>
                    <a:ext uri="{FF2B5EF4-FFF2-40B4-BE49-F238E27FC236}">
                      <a16:creationId xmlns:a16="http://schemas.microsoft.com/office/drawing/2014/main" id="{EA5DB737-1C62-4982-A33C-1FD929EFB768}"/>
                    </a:ext>
                  </a:extLst>
                </p:cNvPr>
                <p:cNvSpPr/>
                <p:nvPr/>
              </p:nvSpPr>
              <p:spPr>
                <a:xfrm>
                  <a:off x="6149980" y="5252778"/>
                  <a:ext cx="18327" cy="18441"/>
                </a:xfrm>
                <a:custGeom>
                  <a:avLst/>
                  <a:gdLst>
                    <a:gd name="connsiteX0" fmla="*/ 18317 w 18327"/>
                    <a:gd name="connsiteY0" fmla="*/ 8742 h 18441"/>
                    <a:gd name="connsiteX1" fmla="*/ 8628 w 18327"/>
                    <a:gd name="connsiteY1" fmla="*/ 10 h 18441"/>
                    <a:gd name="connsiteX2" fmla="*/ 16 w 18327"/>
                    <a:gd name="connsiteY2" fmla="*/ 9699 h 18441"/>
                    <a:gd name="connsiteX3" fmla="*/ 9705 w 18327"/>
                    <a:gd name="connsiteY3" fmla="*/ 18431 h 18441"/>
                    <a:gd name="connsiteX4" fmla="*/ 18317 w 18327"/>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18317" y="8742"/>
                      </a:moveTo>
                      <a:cubicBezTo>
                        <a:pt x="18018" y="3659"/>
                        <a:pt x="13712" y="-229"/>
                        <a:pt x="8628" y="10"/>
                      </a:cubicBezTo>
                      <a:cubicBezTo>
                        <a:pt x="3605" y="250"/>
                        <a:pt x="-283" y="4615"/>
                        <a:pt x="16" y="9699"/>
                      </a:cubicBezTo>
                      <a:cubicBezTo>
                        <a:pt x="315" y="14783"/>
                        <a:pt x="4621" y="18670"/>
                        <a:pt x="9705" y="18431"/>
                      </a:cubicBezTo>
                      <a:cubicBezTo>
                        <a:pt x="14729" y="18192"/>
                        <a:pt x="18557" y="13826"/>
                        <a:pt x="18317" y="8742"/>
                      </a:cubicBezTo>
                      <a:close/>
                    </a:path>
                  </a:pathLst>
                </a:custGeom>
                <a:grpFill/>
                <a:ln w="5978" cap="flat">
                  <a:noFill/>
                  <a:prstDash val="solid"/>
                  <a:miter/>
                </a:ln>
              </p:spPr>
              <p:txBody>
                <a:bodyPr rtlCol="0" anchor="ctr"/>
                <a:lstStyle/>
                <a:p>
                  <a:endParaRPr lang="en-GB"/>
                </a:p>
              </p:txBody>
            </p:sp>
          </p:grpSp>
          <p:grpSp>
            <p:nvGrpSpPr>
              <p:cNvPr id="792" name="Graphic 3">
                <a:extLst>
                  <a:ext uri="{FF2B5EF4-FFF2-40B4-BE49-F238E27FC236}">
                    <a16:creationId xmlns:a16="http://schemas.microsoft.com/office/drawing/2014/main" id="{6455DED7-0830-4BA8-B4B3-72751049FD5A}"/>
                  </a:ext>
                </a:extLst>
              </p:cNvPr>
              <p:cNvGrpSpPr/>
              <p:nvPr/>
            </p:nvGrpSpPr>
            <p:grpSpPr>
              <a:xfrm>
                <a:off x="6249414" y="5580320"/>
                <a:ext cx="27175" cy="112630"/>
                <a:chOff x="6249414" y="5580320"/>
                <a:chExt cx="27175" cy="112630"/>
              </a:xfrm>
              <a:grpFill/>
            </p:grpSpPr>
            <p:sp>
              <p:nvSpPr>
                <p:cNvPr id="3018" name="Vrije vorm: vorm 3017">
                  <a:extLst>
                    <a:ext uri="{FF2B5EF4-FFF2-40B4-BE49-F238E27FC236}">
                      <a16:creationId xmlns:a16="http://schemas.microsoft.com/office/drawing/2014/main" id="{1C6EEFBE-55BC-4E93-9C5D-80B5F98E2E81}"/>
                    </a:ext>
                  </a:extLst>
                </p:cNvPr>
                <p:cNvSpPr/>
                <p:nvPr/>
              </p:nvSpPr>
              <p:spPr>
                <a:xfrm>
                  <a:off x="6257051" y="5588964"/>
                  <a:ext cx="11901" cy="95392"/>
                </a:xfrm>
                <a:custGeom>
                  <a:avLst/>
                  <a:gdLst>
                    <a:gd name="connsiteX0" fmla="*/ 2990 w 11901"/>
                    <a:gd name="connsiteY0" fmla="*/ 0 h 95392"/>
                    <a:gd name="connsiteX1" fmla="*/ 11902 w 11901"/>
                    <a:gd name="connsiteY1" fmla="*/ 95094 h 95392"/>
                    <a:gd name="connsiteX2" fmla="*/ 8911 w 11901"/>
                    <a:gd name="connsiteY2" fmla="*/ 95393 h 95392"/>
                    <a:gd name="connsiteX3" fmla="*/ 0 w 11901"/>
                    <a:gd name="connsiteY3" fmla="*/ 239 h 95392"/>
                  </a:gdLst>
                  <a:ahLst/>
                  <a:cxnLst>
                    <a:cxn ang="0">
                      <a:pos x="connsiteX0" y="connsiteY0"/>
                    </a:cxn>
                    <a:cxn ang="0">
                      <a:pos x="connsiteX1" y="connsiteY1"/>
                    </a:cxn>
                    <a:cxn ang="0">
                      <a:pos x="connsiteX2" y="connsiteY2"/>
                    </a:cxn>
                    <a:cxn ang="0">
                      <a:pos x="connsiteX3" y="connsiteY3"/>
                    </a:cxn>
                  </a:cxnLst>
                  <a:rect l="l" t="t" r="r" b="b"/>
                  <a:pathLst>
                    <a:path w="11901" h="95392">
                      <a:moveTo>
                        <a:pt x="2990" y="0"/>
                      </a:moveTo>
                      <a:lnTo>
                        <a:pt x="11902" y="95094"/>
                      </a:lnTo>
                      <a:lnTo>
                        <a:pt x="8911" y="95393"/>
                      </a:lnTo>
                      <a:lnTo>
                        <a:pt x="0" y="239"/>
                      </a:lnTo>
                      <a:close/>
                    </a:path>
                  </a:pathLst>
                </a:custGeom>
                <a:grpFill/>
                <a:ln w="5978" cap="flat">
                  <a:noFill/>
                  <a:prstDash val="solid"/>
                  <a:miter/>
                </a:ln>
              </p:spPr>
              <p:txBody>
                <a:bodyPr rtlCol="0" anchor="ctr"/>
                <a:lstStyle/>
                <a:p>
                  <a:endParaRPr lang="en-GB"/>
                </a:p>
              </p:txBody>
            </p:sp>
            <p:sp>
              <p:nvSpPr>
                <p:cNvPr id="3019" name="Vrije vorm: vorm 3018">
                  <a:extLst>
                    <a:ext uri="{FF2B5EF4-FFF2-40B4-BE49-F238E27FC236}">
                      <a16:creationId xmlns:a16="http://schemas.microsoft.com/office/drawing/2014/main" id="{462CC578-209C-4C2C-AC36-DBDC6617BEA8}"/>
                    </a:ext>
                  </a:extLst>
                </p:cNvPr>
                <p:cNvSpPr/>
                <p:nvPr/>
              </p:nvSpPr>
              <p:spPr>
                <a:xfrm>
                  <a:off x="6258265" y="5674516"/>
                  <a:ext cx="18324" cy="18434"/>
                </a:xfrm>
                <a:custGeom>
                  <a:avLst/>
                  <a:gdLst>
                    <a:gd name="connsiteX0" fmla="*/ 18283 w 18324"/>
                    <a:gd name="connsiteY0" fmla="*/ 8405 h 18434"/>
                    <a:gd name="connsiteX1" fmla="*/ 10029 w 18324"/>
                    <a:gd name="connsiteY1" fmla="*/ 18393 h 18434"/>
                    <a:gd name="connsiteX2" fmla="*/ 42 w 18324"/>
                    <a:gd name="connsiteY2" fmla="*/ 10020 h 18434"/>
                    <a:gd name="connsiteX3" fmla="*/ 8295 w 18324"/>
                    <a:gd name="connsiteY3" fmla="*/ 32 h 18434"/>
                    <a:gd name="connsiteX4" fmla="*/ 18283 w 18324"/>
                    <a:gd name="connsiteY4" fmla="*/ 840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4">
                      <a:moveTo>
                        <a:pt x="18283" y="8405"/>
                      </a:moveTo>
                      <a:cubicBezTo>
                        <a:pt x="18761" y="13489"/>
                        <a:pt x="15053" y="17974"/>
                        <a:pt x="10029" y="18393"/>
                      </a:cubicBezTo>
                      <a:cubicBezTo>
                        <a:pt x="5005" y="18872"/>
                        <a:pt x="520" y="15104"/>
                        <a:pt x="42" y="10020"/>
                      </a:cubicBezTo>
                      <a:cubicBezTo>
                        <a:pt x="-437" y="4936"/>
                        <a:pt x="3271" y="451"/>
                        <a:pt x="8295" y="32"/>
                      </a:cubicBezTo>
                      <a:cubicBezTo>
                        <a:pt x="13319" y="-386"/>
                        <a:pt x="17804" y="3322"/>
                        <a:pt x="18283" y="8405"/>
                      </a:cubicBezTo>
                      <a:close/>
                    </a:path>
                  </a:pathLst>
                </a:custGeom>
                <a:grpFill/>
                <a:ln w="5978" cap="flat">
                  <a:noFill/>
                  <a:prstDash val="solid"/>
                  <a:miter/>
                </a:ln>
              </p:spPr>
              <p:txBody>
                <a:bodyPr rtlCol="0" anchor="ctr"/>
                <a:lstStyle/>
                <a:p>
                  <a:endParaRPr lang="en-GB"/>
                </a:p>
              </p:txBody>
            </p:sp>
            <p:sp>
              <p:nvSpPr>
                <p:cNvPr id="3020" name="Vrije vorm: vorm 3019">
                  <a:extLst>
                    <a:ext uri="{FF2B5EF4-FFF2-40B4-BE49-F238E27FC236}">
                      <a16:creationId xmlns:a16="http://schemas.microsoft.com/office/drawing/2014/main" id="{F05B3B17-B4CF-4BF6-B449-429D4F4DE98B}"/>
                    </a:ext>
                  </a:extLst>
                </p:cNvPr>
                <p:cNvSpPr/>
                <p:nvPr/>
              </p:nvSpPr>
              <p:spPr>
                <a:xfrm>
                  <a:off x="6249414" y="5580320"/>
                  <a:ext cx="18324" cy="18425"/>
                </a:xfrm>
                <a:custGeom>
                  <a:avLst/>
                  <a:gdLst>
                    <a:gd name="connsiteX0" fmla="*/ 18283 w 18324"/>
                    <a:gd name="connsiteY0" fmla="*/ 8405 h 18425"/>
                    <a:gd name="connsiteX1" fmla="*/ 8295 w 18324"/>
                    <a:gd name="connsiteY1" fmla="*/ 32 h 18425"/>
                    <a:gd name="connsiteX2" fmla="*/ 42 w 18324"/>
                    <a:gd name="connsiteY2" fmla="*/ 10020 h 18425"/>
                    <a:gd name="connsiteX3" fmla="*/ 10030 w 18324"/>
                    <a:gd name="connsiteY3" fmla="*/ 18393 h 18425"/>
                    <a:gd name="connsiteX4" fmla="*/ 18283 w 1832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8283" y="8405"/>
                      </a:moveTo>
                      <a:cubicBezTo>
                        <a:pt x="17804" y="3322"/>
                        <a:pt x="13319" y="-386"/>
                        <a:pt x="8295" y="32"/>
                      </a:cubicBezTo>
                      <a:cubicBezTo>
                        <a:pt x="3271" y="511"/>
                        <a:pt x="-437" y="4996"/>
                        <a:pt x="42" y="10020"/>
                      </a:cubicBezTo>
                      <a:cubicBezTo>
                        <a:pt x="520" y="15104"/>
                        <a:pt x="5006" y="18812"/>
                        <a:pt x="10030" y="18393"/>
                      </a:cubicBezTo>
                      <a:cubicBezTo>
                        <a:pt x="15053" y="17974"/>
                        <a:pt x="18761" y="13489"/>
                        <a:pt x="18283" y="8405"/>
                      </a:cubicBezTo>
                      <a:close/>
                    </a:path>
                  </a:pathLst>
                </a:custGeom>
                <a:grpFill/>
                <a:ln w="5978" cap="flat">
                  <a:noFill/>
                  <a:prstDash val="solid"/>
                  <a:miter/>
                </a:ln>
              </p:spPr>
              <p:txBody>
                <a:bodyPr rtlCol="0" anchor="ctr"/>
                <a:lstStyle/>
                <a:p>
                  <a:endParaRPr lang="en-GB"/>
                </a:p>
              </p:txBody>
            </p:sp>
          </p:grpSp>
          <p:grpSp>
            <p:nvGrpSpPr>
              <p:cNvPr id="793" name="Graphic 3">
                <a:extLst>
                  <a:ext uri="{FF2B5EF4-FFF2-40B4-BE49-F238E27FC236}">
                    <a16:creationId xmlns:a16="http://schemas.microsoft.com/office/drawing/2014/main" id="{F714C10B-4621-46AD-BA42-A4568CD03404}"/>
                  </a:ext>
                </a:extLst>
              </p:cNvPr>
              <p:cNvGrpSpPr/>
              <p:nvPr/>
            </p:nvGrpSpPr>
            <p:grpSpPr>
              <a:xfrm>
                <a:off x="4789499" y="1509049"/>
                <a:ext cx="320950" cy="530436"/>
                <a:chOff x="4789499" y="1509049"/>
                <a:chExt cx="320950" cy="530436"/>
              </a:xfrm>
              <a:grpFill/>
            </p:grpSpPr>
            <p:sp>
              <p:nvSpPr>
                <p:cNvPr id="3015" name="Vrije vorm: vorm 3014">
                  <a:extLst>
                    <a:ext uri="{FF2B5EF4-FFF2-40B4-BE49-F238E27FC236}">
                      <a16:creationId xmlns:a16="http://schemas.microsoft.com/office/drawing/2014/main" id="{6EE1D211-76D4-4496-830F-28CE56E97C0F}"/>
                    </a:ext>
                  </a:extLst>
                </p:cNvPr>
                <p:cNvSpPr/>
                <p:nvPr/>
              </p:nvSpPr>
              <p:spPr>
                <a:xfrm>
                  <a:off x="4796707" y="1517395"/>
                  <a:ext cx="306123" cy="514076"/>
                </a:xfrm>
                <a:custGeom>
                  <a:avLst/>
                  <a:gdLst>
                    <a:gd name="connsiteX0" fmla="*/ 0 w 306123"/>
                    <a:gd name="connsiteY0" fmla="*/ 1554 h 514076"/>
                    <a:gd name="connsiteX1" fmla="*/ 2624 w 306123"/>
                    <a:gd name="connsiteY1" fmla="*/ 0 h 514076"/>
                    <a:gd name="connsiteX2" fmla="*/ 306123 w 306123"/>
                    <a:gd name="connsiteY2" fmla="*/ 512523 h 514076"/>
                    <a:gd name="connsiteX3" fmla="*/ 303499 w 306123"/>
                    <a:gd name="connsiteY3" fmla="*/ 514077 h 514076"/>
                  </a:gdLst>
                  <a:ahLst/>
                  <a:cxnLst>
                    <a:cxn ang="0">
                      <a:pos x="connsiteX0" y="connsiteY0"/>
                    </a:cxn>
                    <a:cxn ang="0">
                      <a:pos x="connsiteX1" y="connsiteY1"/>
                    </a:cxn>
                    <a:cxn ang="0">
                      <a:pos x="connsiteX2" y="connsiteY2"/>
                    </a:cxn>
                    <a:cxn ang="0">
                      <a:pos x="connsiteX3" y="connsiteY3"/>
                    </a:cxn>
                  </a:cxnLst>
                  <a:rect l="l" t="t" r="r" b="b"/>
                  <a:pathLst>
                    <a:path w="306123" h="514076">
                      <a:moveTo>
                        <a:pt x="0" y="1554"/>
                      </a:moveTo>
                      <a:lnTo>
                        <a:pt x="2624" y="0"/>
                      </a:lnTo>
                      <a:lnTo>
                        <a:pt x="306123" y="512523"/>
                      </a:lnTo>
                      <a:lnTo>
                        <a:pt x="303499" y="514077"/>
                      </a:lnTo>
                      <a:close/>
                    </a:path>
                  </a:pathLst>
                </a:custGeom>
                <a:grpFill/>
                <a:ln w="5978" cap="flat">
                  <a:noFill/>
                  <a:prstDash val="solid"/>
                  <a:miter/>
                </a:ln>
              </p:spPr>
              <p:txBody>
                <a:bodyPr rtlCol="0" anchor="ctr"/>
                <a:lstStyle/>
                <a:p>
                  <a:endParaRPr lang="en-GB"/>
                </a:p>
              </p:txBody>
            </p:sp>
            <p:sp>
              <p:nvSpPr>
                <p:cNvPr id="3016" name="Vrije vorm: vorm 3015">
                  <a:extLst>
                    <a:ext uri="{FF2B5EF4-FFF2-40B4-BE49-F238E27FC236}">
                      <a16:creationId xmlns:a16="http://schemas.microsoft.com/office/drawing/2014/main" id="{3D616171-866B-4B34-B3EE-1E3DF955CEEF}"/>
                    </a:ext>
                  </a:extLst>
                </p:cNvPr>
                <p:cNvSpPr/>
                <p:nvPr/>
              </p:nvSpPr>
              <p:spPr>
                <a:xfrm>
                  <a:off x="5092163" y="2021085"/>
                  <a:ext cx="18285" cy="18400"/>
                </a:xfrm>
                <a:custGeom>
                  <a:avLst/>
                  <a:gdLst>
                    <a:gd name="connsiteX0" fmla="*/ 17008 w 18285"/>
                    <a:gd name="connsiteY0" fmla="*/ 4506 h 18400"/>
                    <a:gd name="connsiteX1" fmla="*/ 13838 w 18285"/>
                    <a:gd name="connsiteY1" fmla="*/ 17125 h 18400"/>
                    <a:gd name="connsiteX2" fmla="*/ 1278 w 18285"/>
                    <a:gd name="connsiteY2" fmla="*/ 13895 h 18400"/>
                    <a:gd name="connsiteX3" fmla="*/ 4448 w 18285"/>
                    <a:gd name="connsiteY3" fmla="*/ 1276 h 18400"/>
                    <a:gd name="connsiteX4" fmla="*/ 17008 w 18285"/>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00">
                      <a:moveTo>
                        <a:pt x="17008" y="4506"/>
                      </a:moveTo>
                      <a:cubicBezTo>
                        <a:pt x="19579" y="8871"/>
                        <a:pt x="18144" y="14553"/>
                        <a:pt x="13838" y="17125"/>
                      </a:cubicBezTo>
                      <a:cubicBezTo>
                        <a:pt x="9472" y="19697"/>
                        <a:pt x="3850" y="18261"/>
                        <a:pt x="1278" y="13895"/>
                      </a:cubicBezTo>
                      <a:cubicBezTo>
                        <a:pt x="-1293" y="9529"/>
                        <a:pt x="142" y="3848"/>
                        <a:pt x="4448" y="1276"/>
                      </a:cubicBezTo>
                      <a:cubicBezTo>
                        <a:pt x="8754" y="-1296"/>
                        <a:pt x="14376" y="140"/>
                        <a:pt x="17008" y="4506"/>
                      </a:cubicBezTo>
                      <a:close/>
                    </a:path>
                  </a:pathLst>
                </a:custGeom>
                <a:grpFill/>
                <a:ln w="5978" cap="flat">
                  <a:noFill/>
                  <a:prstDash val="solid"/>
                  <a:miter/>
                </a:ln>
              </p:spPr>
              <p:txBody>
                <a:bodyPr rtlCol="0" anchor="ctr"/>
                <a:lstStyle/>
                <a:p>
                  <a:endParaRPr lang="en-GB"/>
                </a:p>
              </p:txBody>
            </p:sp>
            <p:sp>
              <p:nvSpPr>
                <p:cNvPr id="3017" name="Vrije vorm: vorm 3016">
                  <a:extLst>
                    <a:ext uri="{FF2B5EF4-FFF2-40B4-BE49-F238E27FC236}">
                      <a16:creationId xmlns:a16="http://schemas.microsoft.com/office/drawing/2014/main" id="{A84CF781-6EB6-421A-B44C-EF8B6922612B}"/>
                    </a:ext>
                  </a:extLst>
                </p:cNvPr>
                <p:cNvSpPr/>
                <p:nvPr/>
              </p:nvSpPr>
              <p:spPr>
                <a:xfrm>
                  <a:off x="4789499" y="1509049"/>
                  <a:ext cx="18365" cy="18453"/>
                </a:xfrm>
                <a:custGeom>
                  <a:avLst/>
                  <a:gdLst>
                    <a:gd name="connsiteX0" fmla="*/ 17047 w 18365"/>
                    <a:gd name="connsiteY0" fmla="*/ 4532 h 18453"/>
                    <a:gd name="connsiteX1" fmla="*/ 4488 w 18365"/>
                    <a:gd name="connsiteY1" fmla="*/ 1303 h 18453"/>
                    <a:gd name="connsiteX2" fmla="*/ 1318 w 18365"/>
                    <a:gd name="connsiteY2" fmla="*/ 13922 h 18453"/>
                    <a:gd name="connsiteX3" fmla="*/ 13878 w 18365"/>
                    <a:gd name="connsiteY3" fmla="*/ 17151 h 18453"/>
                    <a:gd name="connsiteX4" fmla="*/ 17047 w 18365"/>
                    <a:gd name="connsiteY4" fmla="*/ 453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53">
                      <a:moveTo>
                        <a:pt x="17047" y="4532"/>
                      </a:moveTo>
                      <a:cubicBezTo>
                        <a:pt x="14476" y="166"/>
                        <a:pt x="8854" y="-1329"/>
                        <a:pt x="4488" y="1303"/>
                      </a:cubicBezTo>
                      <a:cubicBezTo>
                        <a:pt x="122" y="3874"/>
                        <a:pt x="-1313" y="9556"/>
                        <a:pt x="1318" y="13922"/>
                      </a:cubicBezTo>
                      <a:cubicBezTo>
                        <a:pt x="3890" y="18288"/>
                        <a:pt x="9512" y="19783"/>
                        <a:pt x="13878" y="17151"/>
                      </a:cubicBezTo>
                      <a:cubicBezTo>
                        <a:pt x="18244" y="14520"/>
                        <a:pt x="19679" y="8898"/>
                        <a:pt x="17047" y="4532"/>
                      </a:cubicBezTo>
                      <a:close/>
                    </a:path>
                  </a:pathLst>
                </a:custGeom>
                <a:grpFill/>
                <a:ln w="5978" cap="flat">
                  <a:noFill/>
                  <a:prstDash val="solid"/>
                  <a:miter/>
                </a:ln>
              </p:spPr>
              <p:txBody>
                <a:bodyPr rtlCol="0" anchor="ctr"/>
                <a:lstStyle/>
                <a:p>
                  <a:endParaRPr lang="en-GB"/>
                </a:p>
              </p:txBody>
            </p:sp>
          </p:grpSp>
          <p:grpSp>
            <p:nvGrpSpPr>
              <p:cNvPr id="794" name="Graphic 3">
                <a:extLst>
                  <a:ext uri="{FF2B5EF4-FFF2-40B4-BE49-F238E27FC236}">
                    <a16:creationId xmlns:a16="http://schemas.microsoft.com/office/drawing/2014/main" id="{A005058F-A435-41EA-B26D-27978E2326BF}"/>
                  </a:ext>
                </a:extLst>
              </p:cNvPr>
              <p:cNvGrpSpPr/>
              <p:nvPr/>
            </p:nvGrpSpPr>
            <p:grpSpPr>
              <a:xfrm>
                <a:off x="6078404" y="5095554"/>
                <a:ext cx="20578" cy="133550"/>
                <a:chOff x="6078404" y="5095554"/>
                <a:chExt cx="20578" cy="133550"/>
              </a:xfrm>
              <a:grpFill/>
            </p:grpSpPr>
            <p:sp>
              <p:nvSpPr>
                <p:cNvPr id="3012" name="Vrije vorm: vorm 3011">
                  <a:extLst>
                    <a:ext uri="{FF2B5EF4-FFF2-40B4-BE49-F238E27FC236}">
                      <a16:creationId xmlns:a16="http://schemas.microsoft.com/office/drawing/2014/main" id="{98743EEB-F77B-49F7-871E-66E5D988B81C}"/>
                    </a:ext>
                  </a:extLst>
                </p:cNvPr>
                <p:cNvSpPr/>
                <p:nvPr/>
              </p:nvSpPr>
              <p:spPr>
                <a:xfrm>
                  <a:off x="6086062" y="5104287"/>
                  <a:ext cx="5263" cy="116145"/>
                </a:xfrm>
                <a:custGeom>
                  <a:avLst/>
                  <a:gdLst>
                    <a:gd name="connsiteX0" fmla="*/ 2990 w 5263"/>
                    <a:gd name="connsiteY0" fmla="*/ 0 h 116145"/>
                    <a:gd name="connsiteX1" fmla="*/ 5263 w 5263"/>
                    <a:gd name="connsiteY1" fmla="*/ 116086 h 116145"/>
                    <a:gd name="connsiteX2" fmla="*/ 2213 w 5263"/>
                    <a:gd name="connsiteY2" fmla="*/ 116146 h 116145"/>
                    <a:gd name="connsiteX3" fmla="*/ 0 w 5263"/>
                    <a:gd name="connsiteY3" fmla="*/ 60 h 116145"/>
                  </a:gdLst>
                  <a:ahLst/>
                  <a:cxnLst>
                    <a:cxn ang="0">
                      <a:pos x="connsiteX0" y="connsiteY0"/>
                    </a:cxn>
                    <a:cxn ang="0">
                      <a:pos x="connsiteX1" y="connsiteY1"/>
                    </a:cxn>
                    <a:cxn ang="0">
                      <a:pos x="connsiteX2" y="connsiteY2"/>
                    </a:cxn>
                    <a:cxn ang="0">
                      <a:pos x="connsiteX3" y="connsiteY3"/>
                    </a:cxn>
                  </a:cxnLst>
                  <a:rect l="l" t="t" r="r" b="b"/>
                  <a:pathLst>
                    <a:path w="5263" h="116145">
                      <a:moveTo>
                        <a:pt x="2990" y="0"/>
                      </a:moveTo>
                      <a:lnTo>
                        <a:pt x="5263" y="116086"/>
                      </a:lnTo>
                      <a:lnTo>
                        <a:pt x="2213" y="116146"/>
                      </a:lnTo>
                      <a:lnTo>
                        <a:pt x="0" y="60"/>
                      </a:lnTo>
                      <a:close/>
                    </a:path>
                  </a:pathLst>
                </a:custGeom>
                <a:grpFill/>
                <a:ln w="5978" cap="flat">
                  <a:noFill/>
                  <a:prstDash val="solid"/>
                  <a:miter/>
                </a:ln>
              </p:spPr>
              <p:txBody>
                <a:bodyPr rtlCol="0" anchor="ctr"/>
                <a:lstStyle/>
                <a:p>
                  <a:endParaRPr lang="en-GB"/>
                </a:p>
              </p:txBody>
            </p:sp>
            <p:sp>
              <p:nvSpPr>
                <p:cNvPr id="3013" name="Vrije vorm: vorm 3012">
                  <a:extLst>
                    <a:ext uri="{FF2B5EF4-FFF2-40B4-BE49-F238E27FC236}">
                      <a16:creationId xmlns:a16="http://schemas.microsoft.com/office/drawing/2014/main" id="{1D083BAB-90FA-4A1C-AC60-19C7C559728F}"/>
                    </a:ext>
                  </a:extLst>
                </p:cNvPr>
                <p:cNvSpPr/>
                <p:nvPr/>
              </p:nvSpPr>
              <p:spPr>
                <a:xfrm>
                  <a:off x="6080677" y="5210683"/>
                  <a:ext cx="18306" cy="18422"/>
                </a:xfrm>
                <a:custGeom>
                  <a:avLst/>
                  <a:gdLst>
                    <a:gd name="connsiteX0" fmla="*/ 18304 w 18306"/>
                    <a:gd name="connsiteY0" fmla="*/ 9091 h 18422"/>
                    <a:gd name="connsiteX1" fmla="*/ 9332 w 18306"/>
                    <a:gd name="connsiteY1" fmla="*/ 18421 h 18422"/>
                    <a:gd name="connsiteX2" fmla="*/ 3 w 18306"/>
                    <a:gd name="connsiteY2" fmla="*/ 9331 h 18422"/>
                    <a:gd name="connsiteX3" fmla="*/ 8974 w 18306"/>
                    <a:gd name="connsiteY3" fmla="*/ 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423" y="14175"/>
                        <a:pt x="14356" y="18362"/>
                        <a:pt x="9332" y="18421"/>
                      </a:cubicBezTo>
                      <a:cubicBezTo>
                        <a:pt x="4249" y="18481"/>
                        <a:pt x="62" y="14414"/>
                        <a:pt x="3" y="9331"/>
                      </a:cubicBezTo>
                      <a:cubicBezTo>
                        <a:pt x="-117" y="4247"/>
                        <a:pt x="3950" y="61"/>
                        <a:pt x="8974" y="1"/>
                      </a:cubicBezTo>
                      <a:cubicBezTo>
                        <a:pt x="13997" y="-59"/>
                        <a:pt x="18184" y="4008"/>
                        <a:pt x="18304" y="9091"/>
                      </a:cubicBezTo>
                      <a:close/>
                    </a:path>
                  </a:pathLst>
                </a:custGeom>
                <a:grpFill/>
                <a:ln w="5978" cap="flat">
                  <a:noFill/>
                  <a:prstDash val="solid"/>
                  <a:miter/>
                </a:ln>
              </p:spPr>
              <p:txBody>
                <a:bodyPr rtlCol="0" anchor="ctr"/>
                <a:lstStyle/>
                <a:p>
                  <a:endParaRPr lang="en-GB"/>
                </a:p>
              </p:txBody>
            </p:sp>
            <p:sp>
              <p:nvSpPr>
                <p:cNvPr id="3014" name="Vrije vorm: vorm 3013">
                  <a:extLst>
                    <a:ext uri="{FF2B5EF4-FFF2-40B4-BE49-F238E27FC236}">
                      <a16:creationId xmlns:a16="http://schemas.microsoft.com/office/drawing/2014/main" id="{B6B00822-E72F-4213-A9B7-598935C3C032}"/>
                    </a:ext>
                  </a:extLst>
                </p:cNvPr>
                <p:cNvSpPr/>
                <p:nvPr/>
              </p:nvSpPr>
              <p:spPr>
                <a:xfrm>
                  <a:off x="6078404" y="5095554"/>
                  <a:ext cx="18306" cy="18422"/>
                </a:xfrm>
                <a:custGeom>
                  <a:avLst/>
                  <a:gdLst>
                    <a:gd name="connsiteX0" fmla="*/ 18304 w 18306"/>
                    <a:gd name="connsiteY0" fmla="*/ 9091 h 18422"/>
                    <a:gd name="connsiteX1" fmla="*/ 8974 w 18306"/>
                    <a:gd name="connsiteY1" fmla="*/ 1 h 18422"/>
                    <a:gd name="connsiteX2" fmla="*/ 3 w 18306"/>
                    <a:gd name="connsiteY2" fmla="*/ 9331 h 18422"/>
                    <a:gd name="connsiteX3" fmla="*/ 9333 w 18306"/>
                    <a:gd name="connsiteY3" fmla="*/ 1842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184" y="4008"/>
                        <a:pt x="13997" y="-59"/>
                        <a:pt x="8974" y="1"/>
                      </a:cubicBezTo>
                      <a:cubicBezTo>
                        <a:pt x="3890" y="61"/>
                        <a:pt x="-117" y="4247"/>
                        <a:pt x="3" y="9331"/>
                      </a:cubicBezTo>
                      <a:cubicBezTo>
                        <a:pt x="122" y="14414"/>
                        <a:pt x="4309" y="18481"/>
                        <a:pt x="9333" y="18421"/>
                      </a:cubicBezTo>
                      <a:cubicBezTo>
                        <a:pt x="14416" y="18362"/>
                        <a:pt x="18423" y="14175"/>
                        <a:pt x="18304" y="9091"/>
                      </a:cubicBezTo>
                      <a:close/>
                    </a:path>
                  </a:pathLst>
                </a:custGeom>
                <a:grpFill/>
                <a:ln w="5978" cap="flat">
                  <a:noFill/>
                  <a:prstDash val="solid"/>
                  <a:miter/>
                </a:ln>
              </p:spPr>
              <p:txBody>
                <a:bodyPr rtlCol="0" anchor="ctr"/>
                <a:lstStyle/>
                <a:p>
                  <a:endParaRPr lang="en-GB"/>
                </a:p>
              </p:txBody>
            </p:sp>
          </p:grpSp>
          <p:grpSp>
            <p:nvGrpSpPr>
              <p:cNvPr id="795" name="Graphic 3">
                <a:extLst>
                  <a:ext uri="{FF2B5EF4-FFF2-40B4-BE49-F238E27FC236}">
                    <a16:creationId xmlns:a16="http://schemas.microsoft.com/office/drawing/2014/main" id="{E873F634-D6A3-42FC-A44A-C0445EC06CE1}"/>
                  </a:ext>
                </a:extLst>
              </p:cNvPr>
              <p:cNvGrpSpPr/>
              <p:nvPr/>
            </p:nvGrpSpPr>
            <p:grpSpPr>
              <a:xfrm>
                <a:off x="4947502" y="1873794"/>
                <a:ext cx="134678" cy="180945"/>
                <a:chOff x="4947502" y="1873794"/>
                <a:chExt cx="134678" cy="180945"/>
              </a:xfrm>
              <a:grpFill/>
            </p:grpSpPr>
            <p:sp>
              <p:nvSpPr>
                <p:cNvPr id="3009" name="Vrije vorm: vorm 3008">
                  <a:extLst>
                    <a:ext uri="{FF2B5EF4-FFF2-40B4-BE49-F238E27FC236}">
                      <a16:creationId xmlns:a16="http://schemas.microsoft.com/office/drawing/2014/main" id="{6CE84FCE-D934-4CFD-9F1D-F712E0C1E0D5}"/>
                    </a:ext>
                  </a:extLst>
                </p:cNvPr>
                <p:cNvSpPr/>
                <p:nvPr/>
              </p:nvSpPr>
              <p:spPr>
                <a:xfrm>
                  <a:off x="4955167" y="1881755"/>
                  <a:ext cx="119315" cy="165008"/>
                </a:xfrm>
                <a:custGeom>
                  <a:avLst/>
                  <a:gdLst>
                    <a:gd name="connsiteX0" fmla="*/ 119315 w 119315"/>
                    <a:gd name="connsiteY0" fmla="*/ 163214 h 165008"/>
                    <a:gd name="connsiteX1" fmla="*/ 116863 w 119315"/>
                    <a:gd name="connsiteY1" fmla="*/ 165008 h 165008"/>
                    <a:gd name="connsiteX2" fmla="*/ 0 w 119315"/>
                    <a:gd name="connsiteY2" fmla="*/ 1794 h 165008"/>
                    <a:gd name="connsiteX3" fmla="*/ 2452 w 119315"/>
                    <a:gd name="connsiteY3" fmla="*/ 0 h 165008"/>
                  </a:gdLst>
                  <a:ahLst/>
                  <a:cxnLst>
                    <a:cxn ang="0">
                      <a:pos x="connsiteX0" y="connsiteY0"/>
                    </a:cxn>
                    <a:cxn ang="0">
                      <a:pos x="connsiteX1" y="connsiteY1"/>
                    </a:cxn>
                    <a:cxn ang="0">
                      <a:pos x="connsiteX2" y="connsiteY2"/>
                    </a:cxn>
                    <a:cxn ang="0">
                      <a:pos x="connsiteX3" y="connsiteY3"/>
                    </a:cxn>
                  </a:cxnLst>
                  <a:rect l="l" t="t" r="r" b="b"/>
                  <a:pathLst>
                    <a:path w="119315" h="165008">
                      <a:moveTo>
                        <a:pt x="119315" y="163214"/>
                      </a:moveTo>
                      <a:lnTo>
                        <a:pt x="116863" y="165008"/>
                      </a:lnTo>
                      <a:lnTo>
                        <a:pt x="0" y="1794"/>
                      </a:lnTo>
                      <a:lnTo>
                        <a:pt x="2452" y="0"/>
                      </a:lnTo>
                      <a:close/>
                    </a:path>
                  </a:pathLst>
                </a:custGeom>
                <a:grpFill/>
                <a:ln w="5978" cap="flat">
                  <a:noFill/>
                  <a:prstDash val="solid"/>
                  <a:miter/>
                </a:ln>
              </p:spPr>
              <p:txBody>
                <a:bodyPr rtlCol="0" anchor="ctr"/>
                <a:lstStyle/>
                <a:p>
                  <a:endParaRPr lang="en-GB"/>
                </a:p>
              </p:txBody>
            </p:sp>
            <p:sp>
              <p:nvSpPr>
                <p:cNvPr id="3010" name="Vrije vorm: vorm 3009">
                  <a:extLst>
                    <a:ext uri="{FF2B5EF4-FFF2-40B4-BE49-F238E27FC236}">
                      <a16:creationId xmlns:a16="http://schemas.microsoft.com/office/drawing/2014/main" id="{62B209DA-895B-4B2B-B834-39024CCEB02A}"/>
                    </a:ext>
                  </a:extLst>
                </p:cNvPr>
                <p:cNvSpPr/>
                <p:nvPr/>
              </p:nvSpPr>
              <p:spPr>
                <a:xfrm>
                  <a:off x="4947502" y="1873794"/>
                  <a:ext cx="18379" cy="18449"/>
                </a:xfrm>
                <a:custGeom>
                  <a:avLst/>
                  <a:gdLst>
                    <a:gd name="connsiteX0" fmla="*/ 1744 w 18379"/>
                    <a:gd name="connsiteY0" fmla="*/ 14599 h 18449"/>
                    <a:gd name="connsiteX1" fmla="*/ 3837 w 18379"/>
                    <a:gd name="connsiteY1" fmla="*/ 1740 h 18449"/>
                    <a:gd name="connsiteX2" fmla="*/ 16636 w 18379"/>
                    <a:gd name="connsiteY2" fmla="*/ 3893 h 18449"/>
                    <a:gd name="connsiteX3" fmla="*/ 14542 w 18379"/>
                    <a:gd name="connsiteY3" fmla="*/ 16752 h 18449"/>
                    <a:gd name="connsiteX4" fmla="*/ 1744 w 18379"/>
                    <a:gd name="connsiteY4" fmla="*/ 14599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49">
                      <a:moveTo>
                        <a:pt x="1744" y="14599"/>
                      </a:moveTo>
                      <a:cubicBezTo>
                        <a:pt x="-1246" y="10472"/>
                        <a:pt x="-290" y="4731"/>
                        <a:pt x="3837" y="1740"/>
                      </a:cubicBezTo>
                      <a:cubicBezTo>
                        <a:pt x="7964" y="-1250"/>
                        <a:pt x="13646" y="-293"/>
                        <a:pt x="16636" y="3893"/>
                      </a:cubicBezTo>
                      <a:cubicBezTo>
                        <a:pt x="19626" y="8020"/>
                        <a:pt x="18669" y="13762"/>
                        <a:pt x="14542" y="16752"/>
                      </a:cubicBezTo>
                      <a:cubicBezTo>
                        <a:pt x="10416" y="19682"/>
                        <a:pt x="4734" y="18725"/>
                        <a:pt x="1744" y="14599"/>
                      </a:cubicBezTo>
                      <a:close/>
                    </a:path>
                  </a:pathLst>
                </a:custGeom>
                <a:grpFill/>
                <a:ln w="5978" cap="flat">
                  <a:noFill/>
                  <a:prstDash val="solid"/>
                  <a:miter/>
                </a:ln>
              </p:spPr>
              <p:txBody>
                <a:bodyPr rtlCol="0" anchor="ctr"/>
                <a:lstStyle/>
                <a:p>
                  <a:endParaRPr lang="en-GB"/>
                </a:p>
              </p:txBody>
            </p:sp>
            <p:sp>
              <p:nvSpPr>
                <p:cNvPr id="3011" name="Vrije vorm: vorm 3010">
                  <a:extLst>
                    <a:ext uri="{FF2B5EF4-FFF2-40B4-BE49-F238E27FC236}">
                      <a16:creationId xmlns:a16="http://schemas.microsoft.com/office/drawing/2014/main" id="{66B24A5A-549B-42F9-863F-FF1F08205456}"/>
                    </a:ext>
                  </a:extLst>
                </p:cNvPr>
                <p:cNvSpPr/>
                <p:nvPr/>
              </p:nvSpPr>
              <p:spPr>
                <a:xfrm>
                  <a:off x="5063853" y="2036333"/>
                  <a:ext cx="18327" cy="18406"/>
                </a:xfrm>
                <a:custGeom>
                  <a:avLst/>
                  <a:gdLst>
                    <a:gd name="connsiteX0" fmla="*/ 1718 w 18327"/>
                    <a:gd name="connsiteY0" fmla="*/ 14556 h 18406"/>
                    <a:gd name="connsiteX1" fmla="*/ 14517 w 18327"/>
                    <a:gd name="connsiteY1" fmla="*/ 16709 h 18406"/>
                    <a:gd name="connsiteX2" fmla="*/ 16610 w 18327"/>
                    <a:gd name="connsiteY2" fmla="*/ 3851 h 18406"/>
                    <a:gd name="connsiteX3" fmla="*/ 3811 w 18327"/>
                    <a:gd name="connsiteY3" fmla="*/ 1697 h 18406"/>
                    <a:gd name="connsiteX4" fmla="*/ 1718 w 18327"/>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6">
                      <a:moveTo>
                        <a:pt x="1718" y="14556"/>
                      </a:moveTo>
                      <a:cubicBezTo>
                        <a:pt x="4708" y="18683"/>
                        <a:pt x="10390" y="19640"/>
                        <a:pt x="14517" y="16709"/>
                      </a:cubicBezTo>
                      <a:cubicBezTo>
                        <a:pt x="18643" y="13719"/>
                        <a:pt x="19541" y="7977"/>
                        <a:pt x="16610" y="3851"/>
                      </a:cubicBezTo>
                      <a:cubicBezTo>
                        <a:pt x="13620" y="-276"/>
                        <a:pt x="7938" y="-1233"/>
                        <a:pt x="3811" y="1697"/>
                      </a:cubicBezTo>
                      <a:cubicBezTo>
                        <a:pt x="-315" y="4628"/>
                        <a:pt x="-1213" y="10429"/>
                        <a:pt x="1718" y="14556"/>
                      </a:cubicBezTo>
                      <a:close/>
                    </a:path>
                  </a:pathLst>
                </a:custGeom>
                <a:grpFill/>
                <a:ln w="5978" cap="flat">
                  <a:noFill/>
                  <a:prstDash val="solid"/>
                  <a:miter/>
                </a:ln>
              </p:spPr>
              <p:txBody>
                <a:bodyPr rtlCol="0" anchor="ctr"/>
                <a:lstStyle/>
                <a:p>
                  <a:endParaRPr lang="en-GB"/>
                </a:p>
              </p:txBody>
            </p:sp>
          </p:grpSp>
          <p:grpSp>
            <p:nvGrpSpPr>
              <p:cNvPr id="796" name="Graphic 3">
                <a:extLst>
                  <a:ext uri="{FF2B5EF4-FFF2-40B4-BE49-F238E27FC236}">
                    <a16:creationId xmlns:a16="http://schemas.microsoft.com/office/drawing/2014/main" id="{94DBE790-3C39-42F5-A85D-49D2B4DCE81F}"/>
                  </a:ext>
                </a:extLst>
              </p:cNvPr>
              <p:cNvGrpSpPr/>
              <p:nvPr/>
            </p:nvGrpSpPr>
            <p:grpSpPr>
              <a:xfrm>
                <a:off x="4845377" y="1517371"/>
                <a:ext cx="21240" cy="23042"/>
                <a:chOff x="4845377" y="1517371"/>
                <a:chExt cx="21240" cy="23042"/>
              </a:xfrm>
              <a:grpFill/>
            </p:grpSpPr>
            <p:sp>
              <p:nvSpPr>
                <p:cNvPr id="3007" name="Vrije vorm: vorm 3006">
                  <a:extLst>
                    <a:ext uri="{FF2B5EF4-FFF2-40B4-BE49-F238E27FC236}">
                      <a16:creationId xmlns:a16="http://schemas.microsoft.com/office/drawing/2014/main" id="{99970487-C277-40E3-B51D-AA96BE5A2C8E}"/>
                    </a:ext>
                  </a:extLst>
                </p:cNvPr>
                <p:cNvSpPr/>
                <p:nvPr/>
              </p:nvSpPr>
              <p:spPr>
                <a:xfrm>
                  <a:off x="4848266" y="1521949"/>
                  <a:ext cx="18351" cy="18464"/>
                </a:xfrm>
                <a:custGeom>
                  <a:avLst/>
                  <a:gdLst>
                    <a:gd name="connsiteX0" fmla="*/ 1461 w 18351"/>
                    <a:gd name="connsiteY0" fmla="*/ 14179 h 18464"/>
                    <a:gd name="connsiteX1" fmla="*/ 4212 w 18351"/>
                    <a:gd name="connsiteY1" fmla="*/ 1441 h 18464"/>
                    <a:gd name="connsiteX2" fmla="*/ 16891 w 18351"/>
                    <a:gd name="connsiteY2" fmla="*/ 4311 h 18464"/>
                    <a:gd name="connsiteX3" fmla="*/ 14140 w 18351"/>
                    <a:gd name="connsiteY3" fmla="*/ 17050 h 18464"/>
                    <a:gd name="connsiteX4" fmla="*/ 1461 w 18351"/>
                    <a:gd name="connsiteY4" fmla="*/ 1417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4">
                      <a:moveTo>
                        <a:pt x="1461" y="14179"/>
                      </a:moveTo>
                      <a:cubicBezTo>
                        <a:pt x="-1291" y="9873"/>
                        <a:pt x="-34" y="4192"/>
                        <a:pt x="4212" y="1441"/>
                      </a:cubicBezTo>
                      <a:cubicBezTo>
                        <a:pt x="8458" y="-1311"/>
                        <a:pt x="14140" y="5"/>
                        <a:pt x="16891" y="4311"/>
                      </a:cubicBezTo>
                      <a:cubicBezTo>
                        <a:pt x="19642" y="8617"/>
                        <a:pt x="18386" y="14299"/>
                        <a:pt x="14140" y="17050"/>
                      </a:cubicBezTo>
                      <a:cubicBezTo>
                        <a:pt x="9893" y="19742"/>
                        <a:pt x="4212" y="18486"/>
                        <a:pt x="1461" y="14179"/>
                      </a:cubicBezTo>
                      <a:close/>
                    </a:path>
                  </a:pathLst>
                </a:custGeom>
                <a:grpFill/>
                <a:ln w="5978" cap="flat">
                  <a:noFill/>
                  <a:prstDash val="solid"/>
                  <a:miter/>
                </a:ln>
              </p:spPr>
              <p:txBody>
                <a:bodyPr rtlCol="0" anchor="ctr"/>
                <a:lstStyle/>
                <a:p>
                  <a:endParaRPr lang="en-GB"/>
                </a:p>
              </p:txBody>
            </p:sp>
            <p:sp>
              <p:nvSpPr>
                <p:cNvPr id="3008" name="Vrije vorm: vorm 3007">
                  <a:extLst>
                    <a:ext uri="{FF2B5EF4-FFF2-40B4-BE49-F238E27FC236}">
                      <a16:creationId xmlns:a16="http://schemas.microsoft.com/office/drawing/2014/main" id="{4F6C47F6-94EF-4FED-A93E-C8BD9A01E509}"/>
                    </a:ext>
                  </a:extLst>
                </p:cNvPr>
                <p:cNvSpPr/>
                <p:nvPr/>
              </p:nvSpPr>
              <p:spPr>
                <a:xfrm>
                  <a:off x="4845377" y="1517371"/>
                  <a:ext cx="18310" cy="18437"/>
                </a:xfrm>
                <a:custGeom>
                  <a:avLst/>
                  <a:gdLst>
                    <a:gd name="connsiteX0" fmla="*/ 1419 w 18310"/>
                    <a:gd name="connsiteY0" fmla="*/ 14153 h 18437"/>
                    <a:gd name="connsiteX1" fmla="*/ 14099 w 18310"/>
                    <a:gd name="connsiteY1" fmla="*/ 17024 h 18437"/>
                    <a:gd name="connsiteX2" fmla="*/ 16850 w 18310"/>
                    <a:gd name="connsiteY2" fmla="*/ 4285 h 18437"/>
                    <a:gd name="connsiteX3" fmla="*/ 4170 w 18310"/>
                    <a:gd name="connsiteY3" fmla="*/ 1414 h 18437"/>
                    <a:gd name="connsiteX4" fmla="*/ 1419 w 18310"/>
                    <a:gd name="connsiteY4" fmla="*/ 14153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7">
                      <a:moveTo>
                        <a:pt x="1419" y="14153"/>
                      </a:moveTo>
                      <a:cubicBezTo>
                        <a:pt x="4170" y="18459"/>
                        <a:pt x="9792" y="19715"/>
                        <a:pt x="14099" y="17024"/>
                      </a:cubicBezTo>
                      <a:cubicBezTo>
                        <a:pt x="18345" y="14273"/>
                        <a:pt x="19601" y="8591"/>
                        <a:pt x="16850" y="4285"/>
                      </a:cubicBezTo>
                      <a:cubicBezTo>
                        <a:pt x="14099" y="-21"/>
                        <a:pt x="8477" y="-1277"/>
                        <a:pt x="4170" y="1414"/>
                      </a:cubicBezTo>
                      <a:cubicBezTo>
                        <a:pt x="-16" y="4165"/>
                        <a:pt x="-1272" y="9847"/>
                        <a:pt x="1419" y="14153"/>
                      </a:cubicBezTo>
                      <a:close/>
                    </a:path>
                  </a:pathLst>
                </a:custGeom>
                <a:grpFill/>
                <a:ln w="5978" cap="flat">
                  <a:noFill/>
                  <a:prstDash val="solid"/>
                  <a:miter/>
                </a:ln>
              </p:spPr>
              <p:txBody>
                <a:bodyPr rtlCol="0" anchor="ctr"/>
                <a:lstStyle/>
                <a:p>
                  <a:endParaRPr lang="en-GB"/>
                </a:p>
              </p:txBody>
            </p:sp>
          </p:grpSp>
          <p:grpSp>
            <p:nvGrpSpPr>
              <p:cNvPr id="797" name="Graphic 3">
                <a:extLst>
                  <a:ext uri="{FF2B5EF4-FFF2-40B4-BE49-F238E27FC236}">
                    <a16:creationId xmlns:a16="http://schemas.microsoft.com/office/drawing/2014/main" id="{521954C8-80E9-4F11-8FB8-C7B5CD981D63}"/>
                  </a:ext>
                </a:extLst>
              </p:cNvPr>
              <p:cNvGrpSpPr/>
              <p:nvPr/>
            </p:nvGrpSpPr>
            <p:grpSpPr>
              <a:xfrm>
                <a:off x="4846571" y="1594473"/>
                <a:ext cx="107987" cy="153999"/>
                <a:chOff x="4846571" y="1594473"/>
                <a:chExt cx="107987" cy="153999"/>
              </a:xfrm>
              <a:grpFill/>
            </p:grpSpPr>
            <p:sp>
              <p:nvSpPr>
                <p:cNvPr id="3004" name="Vrije vorm: vorm 3003">
                  <a:extLst>
                    <a:ext uri="{FF2B5EF4-FFF2-40B4-BE49-F238E27FC236}">
                      <a16:creationId xmlns:a16="http://schemas.microsoft.com/office/drawing/2014/main" id="{661C967B-8EC6-481D-824C-72EE2ADDB19E}"/>
                    </a:ext>
                  </a:extLst>
                </p:cNvPr>
                <p:cNvSpPr/>
                <p:nvPr/>
              </p:nvSpPr>
              <p:spPr>
                <a:xfrm>
                  <a:off x="4854213" y="1602395"/>
                  <a:ext cx="92701" cy="138035"/>
                </a:xfrm>
                <a:custGeom>
                  <a:avLst/>
                  <a:gdLst>
                    <a:gd name="connsiteX0" fmla="*/ 92701 w 92701"/>
                    <a:gd name="connsiteY0" fmla="*/ 136360 h 138035"/>
                    <a:gd name="connsiteX1" fmla="*/ 90189 w 92701"/>
                    <a:gd name="connsiteY1" fmla="*/ 138035 h 138035"/>
                    <a:gd name="connsiteX2" fmla="*/ 0 w 92701"/>
                    <a:gd name="connsiteY2" fmla="*/ 1675 h 138035"/>
                    <a:gd name="connsiteX3" fmla="*/ 2512 w 92701"/>
                    <a:gd name="connsiteY3" fmla="*/ 0 h 138035"/>
                  </a:gdLst>
                  <a:ahLst/>
                  <a:cxnLst>
                    <a:cxn ang="0">
                      <a:pos x="connsiteX0" y="connsiteY0"/>
                    </a:cxn>
                    <a:cxn ang="0">
                      <a:pos x="connsiteX1" y="connsiteY1"/>
                    </a:cxn>
                    <a:cxn ang="0">
                      <a:pos x="connsiteX2" y="connsiteY2"/>
                    </a:cxn>
                    <a:cxn ang="0">
                      <a:pos x="connsiteX3" y="connsiteY3"/>
                    </a:cxn>
                  </a:cxnLst>
                  <a:rect l="l" t="t" r="r" b="b"/>
                  <a:pathLst>
                    <a:path w="92701" h="138035">
                      <a:moveTo>
                        <a:pt x="92701" y="136360"/>
                      </a:moveTo>
                      <a:lnTo>
                        <a:pt x="90189" y="138035"/>
                      </a:lnTo>
                      <a:lnTo>
                        <a:pt x="0" y="1675"/>
                      </a:lnTo>
                      <a:lnTo>
                        <a:pt x="2512" y="0"/>
                      </a:lnTo>
                      <a:close/>
                    </a:path>
                  </a:pathLst>
                </a:custGeom>
                <a:grpFill/>
                <a:ln w="5978" cap="flat">
                  <a:noFill/>
                  <a:prstDash val="solid"/>
                  <a:miter/>
                </a:ln>
              </p:spPr>
              <p:txBody>
                <a:bodyPr rtlCol="0" anchor="ctr"/>
                <a:lstStyle/>
                <a:p>
                  <a:endParaRPr lang="en-GB"/>
                </a:p>
              </p:txBody>
            </p:sp>
            <p:sp>
              <p:nvSpPr>
                <p:cNvPr id="3005" name="Vrije vorm: vorm 3004">
                  <a:extLst>
                    <a:ext uri="{FF2B5EF4-FFF2-40B4-BE49-F238E27FC236}">
                      <a16:creationId xmlns:a16="http://schemas.microsoft.com/office/drawing/2014/main" id="{F3A31A81-25CD-4D63-82D5-82CBE84B2E81}"/>
                    </a:ext>
                  </a:extLst>
                </p:cNvPr>
                <p:cNvSpPr/>
                <p:nvPr/>
              </p:nvSpPr>
              <p:spPr>
                <a:xfrm>
                  <a:off x="4846571" y="1594473"/>
                  <a:ext cx="18393" cy="18390"/>
                </a:xfrm>
                <a:custGeom>
                  <a:avLst/>
                  <a:gdLst>
                    <a:gd name="connsiteX0" fmla="*/ 1541 w 18393"/>
                    <a:gd name="connsiteY0" fmla="*/ 14262 h 18390"/>
                    <a:gd name="connsiteX1" fmla="*/ 4113 w 18393"/>
                    <a:gd name="connsiteY1" fmla="*/ 1523 h 18390"/>
                    <a:gd name="connsiteX2" fmla="*/ 16852 w 18393"/>
                    <a:gd name="connsiteY2" fmla="*/ 4154 h 18390"/>
                    <a:gd name="connsiteX3" fmla="*/ 14280 w 18393"/>
                    <a:gd name="connsiteY3" fmla="*/ 16893 h 18390"/>
                    <a:gd name="connsiteX4" fmla="*/ 1541 w 1839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3" h="18390">
                      <a:moveTo>
                        <a:pt x="1541" y="14262"/>
                      </a:moveTo>
                      <a:cubicBezTo>
                        <a:pt x="-1269" y="10016"/>
                        <a:pt x="-133" y="4274"/>
                        <a:pt x="4113" y="1523"/>
                      </a:cubicBezTo>
                      <a:cubicBezTo>
                        <a:pt x="8300" y="-1288"/>
                        <a:pt x="14041" y="-92"/>
                        <a:pt x="16852" y="4154"/>
                      </a:cubicBezTo>
                      <a:cubicBezTo>
                        <a:pt x="19663" y="8401"/>
                        <a:pt x="18527" y="14142"/>
                        <a:pt x="14280" y="16893"/>
                      </a:cubicBezTo>
                      <a:cubicBezTo>
                        <a:pt x="10034" y="19645"/>
                        <a:pt x="4352" y="18508"/>
                        <a:pt x="1541" y="14262"/>
                      </a:cubicBezTo>
                      <a:close/>
                    </a:path>
                  </a:pathLst>
                </a:custGeom>
                <a:grpFill/>
                <a:ln w="5978" cap="flat">
                  <a:noFill/>
                  <a:prstDash val="solid"/>
                  <a:miter/>
                </a:ln>
              </p:spPr>
              <p:txBody>
                <a:bodyPr rtlCol="0" anchor="ctr"/>
                <a:lstStyle/>
                <a:p>
                  <a:endParaRPr lang="en-GB"/>
                </a:p>
              </p:txBody>
            </p:sp>
            <p:sp>
              <p:nvSpPr>
                <p:cNvPr id="3006" name="Vrije vorm: vorm 3005">
                  <a:extLst>
                    <a:ext uri="{FF2B5EF4-FFF2-40B4-BE49-F238E27FC236}">
                      <a16:creationId xmlns:a16="http://schemas.microsoft.com/office/drawing/2014/main" id="{73DC0C55-3C6A-48E5-B021-15FD73CD86E6}"/>
                    </a:ext>
                  </a:extLst>
                </p:cNvPr>
                <p:cNvSpPr/>
                <p:nvPr/>
              </p:nvSpPr>
              <p:spPr>
                <a:xfrm>
                  <a:off x="4936219" y="1730082"/>
                  <a:ext cx="18339" cy="18390"/>
                </a:xfrm>
                <a:custGeom>
                  <a:avLst/>
                  <a:gdLst>
                    <a:gd name="connsiteX0" fmla="*/ 1544 w 18339"/>
                    <a:gd name="connsiteY0" fmla="*/ 14236 h 18390"/>
                    <a:gd name="connsiteX1" fmla="*/ 14283 w 18339"/>
                    <a:gd name="connsiteY1" fmla="*/ 16867 h 18390"/>
                    <a:gd name="connsiteX2" fmla="*/ 16795 w 18339"/>
                    <a:gd name="connsiteY2" fmla="*/ 4128 h 18390"/>
                    <a:gd name="connsiteX3" fmla="*/ 4056 w 18339"/>
                    <a:gd name="connsiteY3" fmla="*/ 1497 h 18390"/>
                    <a:gd name="connsiteX4" fmla="*/ 1544 w 18339"/>
                    <a:gd name="connsiteY4" fmla="*/ 14236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0">
                      <a:moveTo>
                        <a:pt x="1544" y="14236"/>
                      </a:moveTo>
                      <a:cubicBezTo>
                        <a:pt x="4355" y="18482"/>
                        <a:pt x="10037" y="19678"/>
                        <a:pt x="14283" y="16867"/>
                      </a:cubicBezTo>
                      <a:cubicBezTo>
                        <a:pt x="18470" y="14056"/>
                        <a:pt x="19606" y="8374"/>
                        <a:pt x="16795" y="4128"/>
                      </a:cubicBezTo>
                      <a:cubicBezTo>
                        <a:pt x="13984" y="-118"/>
                        <a:pt x="8303" y="-1255"/>
                        <a:pt x="4056" y="1497"/>
                      </a:cubicBezTo>
                      <a:cubicBezTo>
                        <a:pt x="-130" y="4248"/>
                        <a:pt x="-1266" y="9989"/>
                        <a:pt x="1544" y="14236"/>
                      </a:cubicBezTo>
                      <a:close/>
                    </a:path>
                  </a:pathLst>
                </a:custGeom>
                <a:grpFill/>
                <a:ln w="5978" cap="flat">
                  <a:noFill/>
                  <a:prstDash val="solid"/>
                  <a:miter/>
                </a:ln>
              </p:spPr>
              <p:txBody>
                <a:bodyPr rtlCol="0" anchor="ctr"/>
                <a:lstStyle/>
                <a:p>
                  <a:endParaRPr lang="en-GB"/>
                </a:p>
              </p:txBody>
            </p:sp>
          </p:grpSp>
          <p:grpSp>
            <p:nvGrpSpPr>
              <p:cNvPr id="798" name="Graphic 3">
                <a:extLst>
                  <a:ext uri="{FF2B5EF4-FFF2-40B4-BE49-F238E27FC236}">
                    <a16:creationId xmlns:a16="http://schemas.microsoft.com/office/drawing/2014/main" id="{CD5F068B-2964-43BC-885C-06C3FADE5B9E}"/>
                  </a:ext>
                </a:extLst>
              </p:cNvPr>
              <p:cNvGrpSpPr/>
              <p:nvPr/>
            </p:nvGrpSpPr>
            <p:grpSpPr>
              <a:xfrm>
                <a:off x="6115242" y="5240402"/>
                <a:ext cx="23217" cy="148453"/>
                <a:chOff x="6115242" y="5240402"/>
                <a:chExt cx="23217" cy="148453"/>
              </a:xfrm>
              <a:grpFill/>
            </p:grpSpPr>
            <p:sp>
              <p:nvSpPr>
                <p:cNvPr id="3001" name="Vrije vorm: vorm 3000">
                  <a:extLst>
                    <a:ext uri="{FF2B5EF4-FFF2-40B4-BE49-F238E27FC236}">
                      <a16:creationId xmlns:a16="http://schemas.microsoft.com/office/drawing/2014/main" id="{FE3CF103-8F22-4C18-8B79-44A4A3066298}"/>
                    </a:ext>
                  </a:extLst>
                </p:cNvPr>
                <p:cNvSpPr/>
                <p:nvPr/>
              </p:nvSpPr>
              <p:spPr>
                <a:xfrm>
                  <a:off x="6122843" y="5249140"/>
                  <a:ext cx="7954" cy="131037"/>
                </a:xfrm>
                <a:custGeom>
                  <a:avLst/>
                  <a:gdLst>
                    <a:gd name="connsiteX0" fmla="*/ 3050 w 7954"/>
                    <a:gd name="connsiteY0" fmla="*/ 0 h 131037"/>
                    <a:gd name="connsiteX1" fmla="*/ 7954 w 7954"/>
                    <a:gd name="connsiteY1" fmla="*/ 130918 h 131037"/>
                    <a:gd name="connsiteX2" fmla="*/ 4904 w 7954"/>
                    <a:gd name="connsiteY2" fmla="*/ 131037 h 131037"/>
                    <a:gd name="connsiteX3" fmla="*/ 0 w 7954"/>
                    <a:gd name="connsiteY3" fmla="*/ 60 h 131037"/>
                  </a:gdLst>
                  <a:ahLst/>
                  <a:cxnLst>
                    <a:cxn ang="0">
                      <a:pos x="connsiteX0" y="connsiteY0"/>
                    </a:cxn>
                    <a:cxn ang="0">
                      <a:pos x="connsiteX1" y="connsiteY1"/>
                    </a:cxn>
                    <a:cxn ang="0">
                      <a:pos x="connsiteX2" y="connsiteY2"/>
                    </a:cxn>
                    <a:cxn ang="0">
                      <a:pos x="connsiteX3" y="connsiteY3"/>
                    </a:cxn>
                  </a:cxnLst>
                  <a:rect l="l" t="t" r="r" b="b"/>
                  <a:pathLst>
                    <a:path w="7954" h="131037">
                      <a:moveTo>
                        <a:pt x="3050" y="0"/>
                      </a:moveTo>
                      <a:lnTo>
                        <a:pt x="7954" y="130918"/>
                      </a:lnTo>
                      <a:lnTo>
                        <a:pt x="4904" y="131037"/>
                      </a:lnTo>
                      <a:lnTo>
                        <a:pt x="0" y="60"/>
                      </a:lnTo>
                      <a:close/>
                    </a:path>
                  </a:pathLst>
                </a:custGeom>
                <a:grpFill/>
                <a:ln w="5978" cap="flat">
                  <a:noFill/>
                  <a:prstDash val="solid"/>
                  <a:miter/>
                </a:ln>
              </p:spPr>
              <p:txBody>
                <a:bodyPr rtlCol="0" anchor="ctr"/>
                <a:lstStyle/>
                <a:p>
                  <a:endParaRPr lang="en-GB"/>
                </a:p>
              </p:txBody>
            </p:sp>
            <p:sp>
              <p:nvSpPr>
                <p:cNvPr id="3002" name="Vrije vorm: vorm 3001">
                  <a:extLst>
                    <a:ext uri="{FF2B5EF4-FFF2-40B4-BE49-F238E27FC236}">
                      <a16:creationId xmlns:a16="http://schemas.microsoft.com/office/drawing/2014/main" id="{BB82F53E-C872-44A7-BCF1-E077D76391AD}"/>
                    </a:ext>
                  </a:extLst>
                </p:cNvPr>
                <p:cNvSpPr/>
                <p:nvPr/>
              </p:nvSpPr>
              <p:spPr>
                <a:xfrm>
                  <a:off x="6120146" y="5370426"/>
                  <a:ext cx="18312" cy="18429"/>
                </a:xfrm>
                <a:custGeom>
                  <a:avLst/>
                  <a:gdLst>
                    <a:gd name="connsiteX0" fmla="*/ 18307 w 18312"/>
                    <a:gd name="connsiteY0" fmla="*/ 8914 h 18429"/>
                    <a:gd name="connsiteX1" fmla="*/ 9515 w 18312"/>
                    <a:gd name="connsiteY1" fmla="*/ 18423 h 18429"/>
                    <a:gd name="connsiteX2" fmla="*/ 6 w 18312"/>
                    <a:gd name="connsiteY2" fmla="*/ 9512 h 18429"/>
                    <a:gd name="connsiteX3" fmla="*/ 8798 w 18312"/>
                    <a:gd name="connsiteY3" fmla="*/ 3 h 18429"/>
                    <a:gd name="connsiteX4" fmla="*/ 18307 w 18312"/>
                    <a:gd name="connsiteY4" fmla="*/ 891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29">
                      <a:moveTo>
                        <a:pt x="18307" y="8914"/>
                      </a:moveTo>
                      <a:cubicBezTo>
                        <a:pt x="18486" y="13998"/>
                        <a:pt x="14539" y="18244"/>
                        <a:pt x="9515" y="18423"/>
                      </a:cubicBezTo>
                      <a:cubicBezTo>
                        <a:pt x="4432" y="18603"/>
                        <a:pt x="185" y="14596"/>
                        <a:pt x="6" y="9512"/>
                      </a:cubicBezTo>
                      <a:cubicBezTo>
                        <a:pt x="-173" y="4428"/>
                        <a:pt x="3774" y="182"/>
                        <a:pt x="8798" y="3"/>
                      </a:cubicBezTo>
                      <a:cubicBezTo>
                        <a:pt x="13821" y="-117"/>
                        <a:pt x="18128" y="3830"/>
                        <a:pt x="18307" y="8914"/>
                      </a:cubicBezTo>
                      <a:close/>
                    </a:path>
                  </a:pathLst>
                </a:custGeom>
                <a:grpFill/>
                <a:ln w="5978" cap="flat">
                  <a:noFill/>
                  <a:prstDash val="solid"/>
                  <a:miter/>
                </a:ln>
              </p:spPr>
              <p:txBody>
                <a:bodyPr rtlCol="0" anchor="ctr"/>
                <a:lstStyle/>
                <a:p>
                  <a:endParaRPr lang="en-GB"/>
                </a:p>
              </p:txBody>
            </p:sp>
            <p:sp>
              <p:nvSpPr>
                <p:cNvPr id="3003" name="Vrije vorm: vorm 3002">
                  <a:extLst>
                    <a:ext uri="{FF2B5EF4-FFF2-40B4-BE49-F238E27FC236}">
                      <a16:creationId xmlns:a16="http://schemas.microsoft.com/office/drawing/2014/main" id="{9E90C207-AEC6-4CE4-B42B-5CEFD148CBCD}"/>
                    </a:ext>
                  </a:extLst>
                </p:cNvPr>
                <p:cNvSpPr/>
                <p:nvPr/>
              </p:nvSpPr>
              <p:spPr>
                <a:xfrm>
                  <a:off x="6115242" y="5240402"/>
                  <a:ext cx="18312" cy="18432"/>
                </a:xfrm>
                <a:custGeom>
                  <a:avLst/>
                  <a:gdLst>
                    <a:gd name="connsiteX0" fmla="*/ 18307 w 18312"/>
                    <a:gd name="connsiteY0" fmla="*/ 8917 h 18432"/>
                    <a:gd name="connsiteX1" fmla="*/ 8798 w 18312"/>
                    <a:gd name="connsiteY1" fmla="*/ 6 h 18432"/>
                    <a:gd name="connsiteX2" fmla="*/ 6 w 18312"/>
                    <a:gd name="connsiteY2" fmla="*/ 9515 h 18432"/>
                    <a:gd name="connsiteX3" fmla="*/ 9515 w 18312"/>
                    <a:gd name="connsiteY3" fmla="*/ 18427 h 18432"/>
                    <a:gd name="connsiteX4" fmla="*/ 18307 w 18312"/>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18307" y="8917"/>
                      </a:moveTo>
                      <a:cubicBezTo>
                        <a:pt x="18128" y="3834"/>
                        <a:pt x="13881" y="-174"/>
                        <a:pt x="8798" y="6"/>
                      </a:cubicBezTo>
                      <a:cubicBezTo>
                        <a:pt x="3714" y="185"/>
                        <a:pt x="-173" y="4431"/>
                        <a:pt x="6" y="9515"/>
                      </a:cubicBezTo>
                      <a:cubicBezTo>
                        <a:pt x="186" y="14599"/>
                        <a:pt x="4432" y="18606"/>
                        <a:pt x="9515" y="18427"/>
                      </a:cubicBezTo>
                      <a:cubicBezTo>
                        <a:pt x="14539" y="18247"/>
                        <a:pt x="18487" y="14000"/>
                        <a:pt x="18307" y="8917"/>
                      </a:cubicBezTo>
                      <a:close/>
                    </a:path>
                  </a:pathLst>
                </a:custGeom>
                <a:grpFill/>
                <a:ln w="5978" cap="flat">
                  <a:noFill/>
                  <a:prstDash val="solid"/>
                  <a:miter/>
                </a:ln>
              </p:spPr>
              <p:txBody>
                <a:bodyPr rtlCol="0" anchor="ctr"/>
                <a:lstStyle/>
                <a:p>
                  <a:endParaRPr lang="en-GB"/>
                </a:p>
              </p:txBody>
            </p:sp>
          </p:grpSp>
          <p:grpSp>
            <p:nvGrpSpPr>
              <p:cNvPr id="799" name="Graphic 3">
                <a:extLst>
                  <a:ext uri="{FF2B5EF4-FFF2-40B4-BE49-F238E27FC236}">
                    <a16:creationId xmlns:a16="http://schemas.microsoft.com/office/drawing/2014/main" id="{41D4B7F7-E01D-4DDA-922B-2F5C80043469}"/>
                  </a:ext>
                </a:extLst>
              </p:cNvPr>
              <p:cNvGrpSpPr/>
              <p:nvPr/>
            </p:nvGrpSpPr>
            <p:grpSpPr>
              <a:xfrm>
                <a:off x="4900430" y="1743726"/>
                <a:ext cx="81902" cy="110750"/>
                <a:chOff x="4900430" y="1743726"/>
                <a:chExt cx="81902" cy="110750"/>
              </a:xfrm>
              <a:grpFill/>
            </p:grpSpPr>
            <p:sp>
              <p:nvSpPr>
                <p:cNvPr id="2998" name="Vrije vorm: vorm 2997">
                  <a:extLst>
                    <a:ext uri="{FF2B5EF4-FFF2-40B4-BE49-F238E27FC236}">
                      <a16:creationId xmlns:a16="http://schemas.microsoft.com/office/drawing/2014/main" id="{A4AFF2C7-E3F4-4129-A63F-C768EA8275C3}"/>
                    </a:ext>
                  </a:extLst>
                </p:cNvPr>
                <p:cNvSpPr/>
                <p:nvPr/>
              </p:nvSpPr>
              <p:spPr>
                <a:xfrm>
                  <a:off x="4908099" y="1751734"/>
                  <a:ext cx="66565" cy="94794"/>
                </a:xfrm>
                <a:custGeom>
                  <a:avLst/>
                  <a:gdLst>
                    <a:gd name="connsiteX0" fmla="*/ 66565 w 66565"/>
                    <a:gd name="connsiteY0" fmla="*/ 93060 h 94794"/>
                    <a:gd name="connsiteX1" fmla="*/ 64053 w 66565"/>
                    <a:gd name="connsiteY1" fmla="*/ 94794 h 94794"/>
                    <a:gd name="connsiteX2" fmla="*/ 0 w 66565"/>
                    <a:gd name="connsiteY2" fmla="*/ 1734 h 94794"/>
                    <a:gd name="connsiteX3" fmla="*/ 2512 w 66565"/>
                    <a:gd name="connsiteY3" fmla="*/ 0 h 94794"/>
                  </a:gdLst>
                  <a:ahLst/>
                  <a:cxnLst>
                    <a:cxn ang="0">
                      <a:pos x="connsiteX0" y="connsiteY0"/>
                    </a:cxn>
                    <a:cxn ang="0">
                      <a:pos x="connsiteX1" y="connsiteY1"/>
                    </a:cxn>
                    <a:cxn ang="0">
                      <a:pos x="connsiteX2" y="connsiteY2"/>
                    </a:cxn>
                    <a:cxn ang="0">
                      <a:pos x="connsiteX3" y="connsiteY3"/>
                    </a:cxn>
                  </a:cxnLst>
                  <a:rect l="l" t="t" r="r" b="b"/>
                  <a:pathLst>
                    <a:path w="66565" h="94794">
                      <a:moveTo>
                        <a:pt x="66565" y="93060"/>
                      </a:moveTo>
                      <a:lnTo>
                        <a:pt x="64053" y="94794"/>
                      </a:lnTo>
                      <a:lnTo>
                        <a:pt x="0" y="1734"/>
                      </a:lnTo>
                      <a:lnTo>
                        <a:pt x="2512" y="0"/>
                      </a:lnTo>
                      <a:close/>
                    </a:path>
                  </a:pathLst>
                </a:custGeom>
                <a:grpFill/>
                <a:ln w="5978" cap="flat">
                  <a:noFill/>
                  <a:prstDash val="solid"/>
                  <a:miter/>
                </a:ln>
              </p:spPr>
              <p:txBody>
                <a:bodyPr rtlCol="0" anchor="ctr"/>
                <a:lstStyle/>
                <a:p>
                  <a:endParaRPr lang="en-GB"/>
                </a:p>
              </p:txBody>
            </p:sp>
            <p:sp>
              <p:nvSpPr>
                <p:cNvPr id="2999" name="Vrije vorm: vorm 2998">
                  <a:extLst>
                    <a:ext uri="{FF2B5EF4-FFF2-40B4-BE49-F238E27FC236}">
                      <a16:creationId xmlns:a16="http://schemas.microsoft.com/office/drawing/2014/main" id="{3DC11B84-4472-4514-A00D-409B911ACE7A}"/>
                    </a:ext>
                  </a:extLst>
                </p:cNvPr>
                <p:cNvSpPr/>
                <p:nvPr/>
              </p:nvSpPr>
              <p:spPr>
                <a:xfrm>
                  <a:off x="4964005" y="1836068"/>
                  <a:ext cx="18327" cy="18408"/>
                </a:xfrm>
                <a:custGeom>
                  <a:avLst/>
                  <a:gdLst>
                    <a:gd name="connsiteX0" fmla="*/ 16700 w 18327"/>
                    <a:gd name="connsiteY0" fmla="*/ 4001 h 18408"/>
                    <a:gd name="connsiteX1" fmla="*/ 14367 w 18327"/>
                    <a:gd name="connsiteY1" fmla="*/ 16800 h 18408"/>
                    <a:gd name="connsiteX2" fmla="*/ 1628 w 18327"/>
                    <a:gd name="connsiteY2" fmla="*/ 14407 h 18408"/>
                    <a:gd name="connsiteX3" fmla="*/ 3961 w 18327"/>
                    <a:gd name="connsiteY3" fmla="*/ 1609 h 18408"/>
                    <a:gd name="connsiteX4" fmla="*/ 16700 w 18327"/>
                    <a:gd name="connsiteY4" fmla="*/ 400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700" y="4001"/>
                      </a:moveTo>
                      <a:cubicBezTo>
                        <a:pt x="19570" y="8187"/>
                        <a:pt x="18554" y="13929"/>
                        <a:pt x="14367" y="16800"/>
                      </a:cubicBezTo>
                      <a:cubicBezTo>
                        <a:pt x="10180" y="19670"/>
                        <a:pt x="4499" y="18594"/>
                        <a:pt x="1628" y="14407"/>
                      </a:cubicBezTo>
                      <a:cubicBezTo>
                        <a:pt x="-1243" y="10221"/>
                        <a:pt x="-226" y="4479"/>
                        <a:pt x="3961" y="1609"/>
                      </a:cubicBezTo>
                      <a:cubicBezTo>
                        <a:pt x="8087" y="-1262"/>
                        <a:pt x="13769" y="-186"/>
                        <a:pt x="16700" y="4001"/>
                      </a:cubicBezTo>
                      <a:close/>
                    </a:path>
                  </a:pathLst>
                </a:custGeom>
                <a:grpFill/>
                <a:ln w="5978" cap="flat">
                  <a:noFill/>
                  <a:prstDash val="solid"/>
                  <a:miter/>
                </a:ln>
              </p:spPr>
              <p:txBody>
                <a:bodyPr rtlCol="0" anchor="ctr"/>
                <a:lstStyle/>
                <a:p>
                  <a:endParaRPr lang="en-GB"/>
                </a:p>
              </p:txBody>
            </p:sp>
            <p:sp>
              <p:nvSpPr>
                <p:cNvPr id="3000" name="Vrije vorm: vorm 2999">
                  <a:extLst>
                    <a:ext uri="{FF2B5EF4-FFF2-40B4-BE49-F238E27FC236}">
                      <a16:creationId xmlns:a16="http://schemas.microsoft.com/office/drawing/2014/main" id="{9BC5B1FE-0456-48B2-B1EA-64C0219E6A00}"/>
                    </a:ext>
                  </a:extLst>
                </p:cNvPr>
                <p:cNvSpPr/>
                <p:nvPr/>
              </p:nvSpPr>
              <p:spPr>
                <a:xfrm>
                  <a:off x="4900430" y="1743726"/>
                  <a:ext cx="18311" cy="18408"/>
                </a:xfrm>
                <a:custGeom>
                  <a:avLst/>
                  <a:gdLst>
                    <a:gd name="connsiteX0" fmla="*/ 16700 w 18311"/>
                    <a:gd name="connsiteY0" fmla="*/ 4001 h 18408"/>
                    <a:gd name="connsiteX1" fmla="*/ 3961 w 18311"/>
                    <a:gd name="connsiteY1" fmla="*/ 1609 h 18408"/>
                    <a:gd name="connsiteX2" fmla="*/ 1628 w 18311"/>
                    <a:gd name="connsiteY2" fmla="*/ 14407 h 18408"/>
                    <a:gd name="connsiteX3" fmla="*/ 14367 w 18311"/>
                    <a:gd name="connsiteY3" fmla="*/ 16800 h 18408"/>
                    <a:gd name="connsiteX4" fmla="*/ 16700 w 18311"/>
                    <a:gd name="connsiteY4" fmla="*/ 400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8">
                      <a:moveTo>
                        <a:pt x="16700" y="4001"/>
                      </a:moveTo>
                      <a:cubicBezTo>
                        <a:pt x="13829" y="-186"/>
                        <a:pt x="8087" y="-1262"/>
                        <a:pt x="3961" y="1609"/>
                      </a:cubicBezTo>
                      <a:cubicBezTo>
                        <a:pt x="-226" y="4479"/>
                        <a:pt x="-1243" y="10221"/>
                        <a:pt x="1628" y="14407"/>
                      </a:cubicBezTo>
                      <a:cubicBezTo>
                        <a:pt x="4499" y="18594"/>
                        <a:pt x="10240" y="19670"/>
                        <a:pt x="14367" y="16800"/>
                      </a:cubicBezTo>
                      <a:cubicBezTo>
                        <a:pt x="18494" y="13929"/>
                        <a:pt x="19570" y="8187"/>
                        <a:pt x="16700" y="4001"/>
                      </a:cubicBezTo>
                      <a:close/>
                    </a:path>
                  </a:pathLst>
                </a:custGeom>
                <a:grpFill/>
                <a:ln w="5978" cap="flat">
                  <a:noFill/>
                  <a:prstDash val="solid"/>
                  <a:miter/>
                </a:ln>
              </p:spPr>
              <p:txBody>
                <a:bodyPr rtlCol="0" anchor="ctr"/>
                <a:lstStyle/>
                <a:p>
                  <a:endParaRPr lang="en-GB"/>
                </a:p>
              </p:txBody>
            </p:sp>
          </p:grpSp>
          <p:grpSp>
            <p:nvGrpSpPr>
              <p:cNvPr id="800" name="Graphic 3">
                <a:extLst>
                  <a:ext uri="{FF2B5EF4-FFF2-40B4-BE49-F238E27FC236}">
                    <a16:creationId xmlns:a16="http://schemas.microsoft.com/office/drawing/2014/main" id="{277CB447-10AB-49D8-BA53-B91A46ED1F53}"/>
                  </a:ext>
                </a:extLst>
              </p:cNvPr>
              <p:cNvGrpSpPr/>
              <p:nvPr/>
            </p:nvGrpSpPr>
            <p:grpSpPr>
              <a:xfrm>
                <a:off x="4995255" y="1996486"/>
                <a:ext cx="60165" cy="74613"/>
                <a:chOff x="4995255" y="1996486"/>
                <a:chExt cx="60165" cy="74613"/>
              </a:xfrm>
              <a:grpFill/>
            </p:grpSpPr>
            <p:sp>
              <p:nvSpPr>
                <p:cNvPr id="2995" name="Vrije vorm: vorm 2994">
                  <a:extLst>
                    <a:ext uri="{FF2B5EF4-FFF2-40B4-BE49-F238E27FC236}">
                      <a16:creationId xmlns:a16="http://schemas.microsoft.com/office/drawing/2014/main" id="{AA3E58F4-91D4-407D-935F-F9B0A7861D2E}"/>
                    </a:ext>
                  </a:extLst>
                </p:cNvPr>
                <p:cNvSpPr/>
                <p:nvPr/>
              </p:nvSpPr>
              <p:spPr>
                <a:xfrm>
                  <a:off x="5002893" y="2004419"/>
                  <a:ext cx="44795" cy="58730"/>
                </a:xfrm>
                <a:custGeom>
                  <a:avLst/>
                  <a:gdLst>
                    <a:gd name="connsiteX0" fmla="*/ 44796 w 44795"/>
                    <a:gd name="connsiteY0" fmla="*/ 56936 h 58730"/>
                    <a:gd name="connsiteX1" fmla="*/ 42403 w 44795"/>
                    <a:gd name="connsiteY1" fmla="*/ 58731 h 58730"/>
                    <a:gd name="connsiteX2" fmla="*/ 0 w 44795"/>
                    <a:gd name="connsiteY2" fmla="*/ 1854 h 58730"/>
                    <a:gd name="connsiteX3" fmla="*/ 2452 w 44795"/>
                    <a:gd name="connsiteY3" fmla="*/ 0 h 58730"/>
                  </a:gdLst>
                  <a:ahLst/>
                  <a:cxnLst>
                    <a:cxn ang="0">
                      <a:pos x="connsiteX0" y="connsiteY0"/>
                    </a:cxn>
                    <a:cxn ang="0">
                      <a:pos x="connsiteX1" y="connsiteY1"/>
                    </a:cxn>
                    <a:cxn ang="0">
                      <a:pos x="connsiteX2" y="connsiteY2"/>
                    </a:cxn>
                    <a:cxn ang="0">
                      <a:pos x="connsiteX3" y="connsiteY3"/>
                    </a:cxn>
                  </a:cxnLst>
                  <a:rect l="l" t="t" r="r" b="b"/>
                  <a:pathLst>
                    <a:path w="44795" h="58730">
                      <a:moveTo>
                        <a:pt x="44796" y="56936"/>
                      </a:moveTo>
                      <a:lnTo>
                        <a:pt x="42403" y="58731"/>
                      </a:lnTo>
                      <a:lnTo>
                        <a:pt x="0" y="1854"/>
                      </a:lnTo>
                      <a:lnTo>
                        <a:pt x="2452" y="0"/>
                      </a:lnTo>
                      <a:close/>
                    </a:path>
                  </a:pathLst>
                </a:custGeom>
                <a:grpFill/>
                <a:ln w="5978" cap="flat">
                  <a:noFill/>
                  <a:prstDash val="solid"/>
                  <a:miter/>
                </a:ln>
              </p:spPr>
              <p:txBody>
                <a:bodyPr rtlCol="0" anchor="ctr"/>
                <a:lstStyle/>
                <a:p>
                  <a:endParaRPr lang="en-GB"/>
                </a:p>
              </p:txBody>
            </p:sp>
            <p:sp>
              <p:nvSpPr>
                <p:cNvPr id="2996" name="Vrije vorm: vorm 2995">
                  <a:extLst>
                    <a:ext uri="{FF2B5EF4-FFF2-40B4-BE49-F238E27FC236}">
                      <a16:creationId xmlns:a16="http://schemas.microsoft.com/office/drawing/2014/main" id="{E08F766B-0B41-48E7-9396-F481D872D9B1}"/>
                    </a:ext>
                  </a:extLst>
                </p:cNvPr>
                <p:cNvSpPr/>
                <p:nvPr/>
              </p:nvSpPr>
              <p:spPr>
                <a:xfrm>
                  <a:off x="4995255" y="1996486"/>
                  <a:ext cx="18385" cy="18454"/>
                </a:xfrm>
                <a:custGeom>
                  <a:avLst/>
                  <a:gdLst>
                    <a:gd name="connsiteX0" fmla="*/ 1837 w 18385"/>
                    <a:gd name="connsiteY0" fmla="*/ 14751 h 18454"/>
                    <a:gd name="connsiteX1" fmla="*/ 3691 w 18385"/>
                    <a:gd name="connsiteY1" fmla="*/ 1833 h 18454"/>
                    <a:gd name="connsiteX2" fmla="*/ 16549 w 18385"/>
                    <a:gd name="connsiteY2" fmla="*/ 3747 h 18454"/>
                    <a:gd name="connsiteX3" fmla="*/ 14695 w 18385"/>
                    <a:gd name="connsiteY3" fmla="*/ 16665 h 18454"/>
                    <a:gd name="connsiteX4" fmla="*/ 1837 w 18385"/>
                    <a:gd name="connsiteY4" fmla="*/ 1475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5" h="18454">
                      <a:moveTo>
                        <a:pt x="1837" y="14751"/>
                      </a:moveTo>
                      <a:cubicBezTo>
                        <a:pt x="-1213" y="10684"/>
                        <a:pt x="-376" y="4883"/>
                        <a:pt x="3691" y="1833"/>
                      </a:cubicBezTo>
                      <a:cubicBezTo>
                        <a:pt x="7758" y="-1217"/>
                        <a:pt x="13499" y="-380"/>
                        <a:pt x="16549" y="3747"/>
                      </a:cubicBezTo>
                      <a:cubicBezTo>
                        <a:pt x="19599" y="7813"/>
                        <a:pt x="18762" y="13615"/>
                        <a:pt x="14695" y="16665"/>
                      </a:cubicBezTo>
                      <a:cubicBezTo>
                        <a:pt x="10568" y="19655"/>
                        <a:pt x="4827" y="18818"/>
                        <a:pt x="1837" y="14751"/>
                      </a:cubicBezTo>
                      <a:close/>
                    </a:path>
                  </a:pathLst>
                </a:custGeom>
                <a:grpFill/>
                <a:ln w="5978" cap="flat">
                  <a:noFill/>
                  <a:prstDash val="solid"/>
                  <a:miter/>
                </a:ln>
              </p:spPr>
              <p:txBody>
                <a:bodyPr rtlCol="0" anchor="ctr"/>
                <a:lstStyle/>
                <a:p>
                  <a:endParaRPr lang="en-GB"/>
                </a:p>
              </p:txBody>
            </p:sp>
            <p:sp>
              <p:nvSpPr>
                <p:cNvPr id="2997" name="Vrije vorm: vorm 2996">
                  <a:extLst>
                    <a:ext uri="{FF2B5EF4-FFF2-40B4-BE49-F238E27FC236}">
                      <a16:creationId xmlns:a16="http://schemas.microsoft.com/office/drawing/2014/main" id="{AC418553-2C15-438B-93C3-EC4C67F5D090}"/>
                    </a:ext>
                  </a:extLst>
                </p:cNvPr>
                <p:cNvSpPr/>
                <p:nvPr/>
              </p:nvSpPr>
              <p:spPr>
                <a:xfrm>
                  <a:off x="5037061" y="2052688"/>
                  <a:ext cx="18360" cy="18411"/>
                </a:xfrm>
                <a:custGeom>
                  <a:avLst/>
                  <a:gdLst>
                    <a:gd name="connsiteX0" fmla="*/ 1837 w 18360"/>
                    <a:gd name="connsiteY0" fmla="*/ 14708 h 18411"/>
                    <a:gd name="connsiteX1" fmla="*/ 14695 w 18360"/>
                    <a:gd name="connsiteY1" fmla="*/ 16622 h 18411"/>
                    <a:gd name="connsiteX2" fmla="*/ 16549 w 18360"/>
                    <a:gd name="connsiteY2" fmla="*/ 3703 h 18411"/>
                    <a:gd name="connsiteX3" fmla="*/ 3691 w 18360"/>
                    <a:gd name="connsiteY3" fmla="*/ 1790 h 18411"/>
                    <a:gd name="connsiteX4" fmla="*/ 1837 w 18360"/>
                    <a:gd name="connsiteY4" fmla="*/ 1470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1">
                      <a:moveTo>
                        <a:pt x="1837" y="14708"/>
                      </a:moveTo>
                      <a:cubicBezTo>
                        <a:pt x="4887" y="18775"/>
                        <a:pt x="10628" y="19612"/>
                        <a:pt x="14695" y="16622"/>
                      </a:cubicBezTo>
                      <a:cubicBezTo>
                        <a:pt x="18762" y="13631"/>
                        <a:pt x="19540" y="7830"/>
                        <a:pt x="16549" y="3703"/>
                      </a:cubicBezTo>
                      <a:cubicBezTo>
                        <a:pt x="13499" y="-364"/>
                        <a:pt x="7758" y="-1201"/>
                        <a:pt x="3691" y="1790"/>
                      </a:cubicBezTo>
                      <a:cubicBezTo>
                        <a:pt x="-376" y="4840"/>
                        <a:pt x="-1213" y="10641"/>
                        <a:pt x="1837" y="14708"/>
                      </a:cubicBezTo>
                      <a:close/>
                    </a:path>
                  </a:pathLst>
                </a:custGeom>
                <a:grpFill/>
                <a:ln w="5978" cap="flat">
                  <a:noFill/>
                  <a:prstDash val="solid"/>
                  <a:miter/>
                </a:ln>
              </p:spPr>
              <p:txBody>
                <a:bodyPr rtlCol="0" anchor="ctr"/>
                <a:lstStyle/>
                <a:p>
                  <a:endParaRPr lang="en-GB"/>
                </a:p>
              </p:txBody>
            </p:sp>
          </p:grpSp>
          <p:grpSp>
            <p:nvGrpSpPr>
              <p:cNvPr id="801" name="Graphic 3">
                <a:extLst>
                  <a:ext uri="{FF2B5EF4-FFF2-40B4-BE49-F238E27FC236}">
                    <a16:creationId xmlns:a16="http://schemas.microsoft.com/office/drawing/2014/main" id="{03D9421C-8EB4-4E8C-9592-D853C01D8B45}"/>
                  </a:ext>
                </a:extLst>
              </p:cNvPr>
              <p:cNvGrpSpPr/>
              <p:nvPr/>
            </p:nvGrpSpPr>
            <p:grpSpPr>
              <a:xfrm>
                <a:off x="6119010" y="5341656"/>
                <a:ext cx="19449" cy="47259"/>
                <a:chOff x="6119010" y="5341656"/>
                <a:chExt cx="19449" cy="47259"/>
              </a:xfrm>
              <a:grpFill/>
            </p:grpSpPr>
            <p:sp>
              <p:nvSpPr>
                <p:cNvPr id="2992" name="Vrije vorm: vorm 2991">
                  <a:extLst>
                    <a:ext uri="{FF2B5EF4-FFF2-40B4-BE49-F238E27FC236}">
                      <a16:creationId xmlns:a16="http://schemas.microsoft.com/office/drawing/2014/main" id="{6151FD1B-2F76-403F-95E4-B64B62CB9212}"/>
                    </a:ext>
                  </a:extLst>
                </p:cNvPr>
                <p:cNvSpPr/>
                <p:nvPr/>
              </p:nvSpPr>
              <p:spPr>
                <a:xfrm>
                  <a:off x="6126671" y="5350334"/>
                  <a:ext cx="4126" cy="29843"/>
                </a:xfrm>
                <a:custGeom>
                  <a:avLst/>
                  <a:gdLst>
                    <a:gd name="connsiteX0" fmla="*/ 3050 w 4126"/>
                    <a:gd name="connsiteY0" fmla="*/ 0 h 29843"/>
                    <a:gd name="connsiteX1" fmla="*/ 4127 w 4126"/>
                    <a:gd name="connsiteY1" fmla="*/ 29724 h 29843"/>
                    <a:gd name="connsiteX2" fmla="*/ 1076 w 4126"/>
                    <a:gd name="connsiteY2" fmla="*/ 29844 h 29843"/>
                    <a:gd name="connsiteX3" fmla="*/ 0 w 4126"/>
                    <a:gd name="connsiteY3" fmla="*/ 119 h 29843"/>
                  </a:gdLst>
                  <a:ahLst/>
                  <a:cxnLst>
                    <a:cxn ang="0">
                      <a:pos x="connsiteX0" y="connsiteY0"/>
                    </a:cxn>
                    <a:cxn ang="0">
                      <a:pos x="connsiteX1" y="connsiteY1"/>
                    </a:cxn>
                    <a:cxn ang="0">
                      <a:pos x="connsiteX2" y="connsiteY2"/>
                    </a:cxn>
                    <a:cxn ang="0">
                      <a:pos x="connsiteX3" y="connsiteY3"/>
                    </a:cxn>
                  </a:cxnLst>
                  <a:rect l="l" t="t" r="r" b="b"/>
                  <a:pathLst>
                    <a:path w="4126" h="29843">
                      <a:moveTo>
                        <a:pt x="3050" y="0"/>
                      </a:moveTo>
                      <a:lnTo>
                        <a:pt x="4127" y="29724"/>
                      </a:lnTo>
                      <a:lnTo>
                        <a:pt x="1076" y="29844"/>
                      </a:lnTo>
                      <a:lnTo>
                        <a:pt x="0" y="119"/>
                      </a:lnTo>
                      <a:close/>
                    </a:path>
                  </a:pathLst>
                </a:custGeom>
                <a:grpFill/>
                <a:ln w="5978" cap="flat">
                  <a:noFill/>
                  <a:prstDash val="solid"/>
                  <a:miter/>
                </a:ln>
              </p:spPr>
              <p:txBody>
                <a:bodyPr rtlCol="0" anchor="ctr"/>
                <a:lstStyle/>
                <a:p>
                  <a:endParaRPr lang="en-GB"/>
                </a:p>
              </p:txBody>
            </p:sp>
            <p:sp>
              <p:nvSpPr>
                <p:cNvPr id="2993" name="Vrije vorm: vorm 2992">
                  <a:extLst>
                    <a:ext uri="{FF2B5EF4-FFF2-40B4-BE49-F238E27FC236}">
                      <a16:creationId xmlns:a16="http://schemas.microsoft.com/office/drawing/2014/main" id="{B6A28F77-C6F0-42A9-A75A-0D2650271ED0}"/>
                    </a:ext>
                  </a:extLst>
                </p:cNvPr>
                <p:cNvSpPr/>
                <p:nvPr/>
              </p:nvSpPr>
              <p:spPr>
                <a:xfrm>
                  <a:off x="6119010" y="5341656"/>
                  <a:ext cx="18312" cy="18432"/>
                </a:xfrm>
                <a:custGeom>
                  <a:avLst/>
                  <a:gdLst>
                    <a:gd name="connsiteX0" fmla="*/ 6 w 18312"/>
                    <a:gd name="connsiteY0" fmla="*/ 9515 h 18432"/>
                    <a:gd name="connsiteX1" fmla="*/ 8798 w 18312"/>
                    <a:gd name="connsiteY1" fmla="*/ 6 h 18432"/>
                    <a:gd name="connsiteX2" fmla="*/ 18307 w 18312"/>
                    <a:gd name="connsiteY2" fmla="*/ 8917 h 18432"/>
                    <a:gd name="connsiteX3" fmla="*/ 9515 w 18312"/>
                    <a:gd name="connsiteY3" fmla="*/ 18427 h 18432"/>
                    <a:gd name="connsiteX4" fmla="*/ 6 w 18312"/>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6" y="9515"/>
                      </a:moveTo>
                      <a:cubicBezTo>
                        <a:pt x="-173" y="4431"/>
                        <a:pt x="3774" y="185"/>
                        <a:pt x="8798" y="6"/>
                      </a:cubicBezTo>
                      <a:cubicBezTo>
                        <a:pt x="13881" y="-174"/>
                        <a:pt x="18128" y="3834"/>
                        <a:pt x="18307" y="8917"/>
                      </a:cubicBezTo>
                      <a:cubicBezTo>
                        <a:pt x="18486" y="14001"/>
                        <a:pt x="14539" y="18247"/>
                        <a:pt x="9515" y="18427"/>
                      </a:cubicBezTo>
                      <a:cubicBezTo>
                        <a:pt x="4491" y="18606"/>
                        <a:pt x="245" y="14599"/>
                        <a:pt x="6" y="9515"/>
                      </a:cubicBezTo>
                      <a:close/>
                    </a:path>
                  </a:pathLst>
                </a:custGeom>
                <a:grpFill/>
                <a:ln w="5978" cap="flat">
                  <a:noFill/>
                  <a:prstDash val="solid"/>
                  <a:miter/>
                </a:ln>
              </p:spPr>
              <p:txBody>
                <a:bodyPr rtlCol="0" anchor="ctr"/>
                <a:lstStyle/>
                <a:p>
                  <a:endParaRPr lang="en-GB"/>
                </a:p>
              </p:txBody>
            </p:sp>
            <p:sp>
              <p:nvSpPr>
                <p:cNvPr id="2994" name="Vrije vorm: vorm 2993">
                  <a:extLst>
                    <a:ext uri="{FF2B5EF4-FFF2-40B4-BE49-F238E27FC236}">
                      <a16:creationId xmlns:a16="http://schemas.microsoft.com/office/drawing/2014/main" id="{DCB96F78-30DC-46A4-8EBF-A5624EB4B54E}"/>
                    </a:ext>
                  </a:extLst>
                </p:cNvPr>
                <p:cNvSpPr/>
                <p:nvPr/>
              </p:nvSpPr>
              <p:spPr>
                <a:xfrm>
                  <a:off x="6120142" y="5370483"/>
                  <a:ext cx="18317" cy="18432"/>
                </a:xfrm>
                <a:custGeom>
                  <a:avLst/>
                  <a:gdLst>
                    <a:gd name="connsiteX0" fmla="*/ 10 w 18317"/>
                    <a:gd name="connsiteY0" fmla="*/ 9515 h 18432"/>
                    <a:gd name="connsiteX1" fmla="*/ 9520 w 18317"/>
                    <a:gd name="connsiteY1" fmla="*/ 18427 h 18432"/>
                    <a:gd name="connsiteX2" fmla="*/ 18311 w 18317"/>
                    <a:gd name="connsiteY2" fmla="*/ 8917 h 18432"/>
                    <a:gd name="connsiteX3" fmla="*/ 8802 w 18317"/>
                    <a:gd name="connsiteY3" fmla="*/ 6 h 18432"/>
                    <a:gd name="connsiteX4" fmla="*/ 10 w 18317"/>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32">
                      <a:moveTo>
                        <a:pt x="10" y="9515"/>
                      </a:moveTo>
                      <a:cubicBezTo>
                        <a:pt x="190" y="14599"/>
                        <a:pt x="4436" y="18606"/>
                        <a:pt x="9520" y="18427"/>
                      </a:cubicBezTo>
                      <a:cubicBezTo>
                        <a:pt x="14603" y="18247"/>
                        <a:pt x="18491" y="14000"/>
                        <a:pt x="18311" y="8917"/>
                      </a:cubicBezTo>
                      <a:cubicBezTo>
                        <a:pt x="18132" y="3834"/>
                        <a:pt x="13886" y="-174"/>
                        <a:pt x="8802" y="6"/>
                      </a:cubicBezTo>
                      <a:cubicBezTo>
                        <a:pt x="3718" y="185"/>
                        <a:pt x="-229" y="4431"/>
                        <a:pt x="10" y="9515"/>
                      </a:cubicBezTo>
                      <a:close/>
                    </a:path>
                  </a:pathLst>
                </a:custGeom>
                <a:grpFill/>
                <a:ln w="5978" cap="flat">
                  <a:noFill/>
                  <a:prstDash val="solid"/>
                  <a:miter/>
                </a:ln>
              </p:spPr>
              <p:txBody>
                <a:bodyPr rtlCol="0" anchor="ctr"/>
                <a:lstStyle/>
                <a:p>
                  <a:endParaRPr lang="en-GB"/>
                </a:p>
              </p:txBody>
            </p:sp>
          </p:grpSp>
          <p:grpSp>
            <p:nvGrpSpPr>
              <p:cNvPr id="802" name="Graphic 3">
                <a:extLst>
                  <a:ext uri="{FF2B5EF4-FFF2-40B4-BE49-F238E27FC236}">
                    <a16:creationId xmlns:a16="http://schemas.microsoft.com/office/drawing/2014/main" id="{21FD6A91-D270-40A7-A259-CACF83BEF225}"/>
                  </a:ext>
                </a:extLst>
              </p:cNvPr>
              <p:cNvGrpSpPr/>
              <p:nvPr/>
            </p:nvGrpSpPr>
            <p:grpSpPr>
              <a:xfrm>
                <a:off x="6086165" y="5096077"/>
                <a:ext cx="40947" cy="384240"/>
                <a:chOff x="6086165" y="5096077"/>
                <a:chExt cx="40947" cy="384240"/>
              </a:xfrm>
              <a:grpFill/>
            </p:grpSpPr>
            <p:sp>
              <p:nvSpPr>
                <p:cNvPr id="2989" name="Vrije vorm: vorm 2988">
                  <a:extLst>
                    <a:ext uri="{FF2B5EF4-FFF2-40B4-BE49-F238E27FC236}">
                      <a16:creationId xmlns:a16="http://schemas.microsoft.com/office/drawing/2014/main" id="{3325451A-CDD0-4704-BC83-F184B6167B47}"/>
                    </a:ext>
                  </a:extLst>
                </p:cNvPr>
                <p:cNvSpPr/>
                <p:nvPr/>
              </p:nvSpPr>
              <p:spPr>
                <a:xfrm>
                  <a:off x="6093837" y="5104765"/>
                  <a:ext cx="25717" cy="366917"/>
                </a:xfrm>
                <a:custGeom>
                  <a:avLst/>
                  <a:gdLst>
                    <a:gd name="connsiteX0" fmla="*/ 25717 w 25717"/>
                    <a:gd name="connsiteY0" fmla="*/ 179 h 366917"/>
                    <a:gd name="connsiteX1" fmla="*/ 2990 w 25717"/>
                    <a:gd name="connsiteY1" fmla="*/ 366917 h 366917"/>
                    <a:gd name="connsiteX2" fmla="*/ 0 w 25717"/>
                    <a:gd name="connsiteY2" fmla="*/ 366738 h 366917"/>
                    <a:gd name="connsiteX3" fmla="*/ 22667 w 25717"/>
                    <a:gd name="connsiteY3" fmla="*/ 0 h 366917"/>
                  </a:gdLst>
                  <a:ahLst/>
                  <a:cxnLst>
                    <a:cxn ang="0">
                      <a:pos x="connsiteX0" y="connsiteY0"/>
                    </a:cxn>
                    <a:cxn ang="0">
                      <a:pos x="connsiteX1" y="connsiteY1"/>
                    </a:cxn>
                    <a:cxn ang="0">
                      <a:pos x="connsiteX2" y="connsiteY2"/>
                    </a:cxn>
                    <a:cxn ang="0">
                      <a:pos x="connsiteX3" y="connsiteY3"/>
                    </a:cxn>
                  </a:cxnLst>
                  <a:rect l="l" t="t" r="r" b="b"/>
                  <a:pathLst>
                    <a:path w="25717" h="366917">
                      <a:moveTo>
                        <a:pt x="25717" y="179"/>
                      </a:moveTo>
                      <a:lnTo>
                        <a:pt x="2990" y="366917"/>
                      </a:lnTo>
                      <a:lnTo>
                        <a:pt x="0" y="366738"/>
                      </a:lnTo>
                      <a:lnTo>
                        <a:pt x="22667" y="0"/>
                      </a:lnTo>
                      <a:close/>
                    </a:path>
                  </a:pathLst>
                </a:custGeom>
                <a:grpFill/>
                <a:ln w="5978" cap="flat">
                  <a:noFill/>
                  <a:prstDash val="solid"/>
                  <a:miter/>
                </a:ln>
              </p:spPr>
              <p:txBody>
                <a:bodyPr rtlCol="0" anchor="ctr"/>
                <a:lstStyle/>
                <a:p>
                  <a:endParaRPr lang="en-GB"/>
                </a:p>
              </p:txBody>
            </p:sp>
            <p:sp>
              <p:nvSpPr>
                <p:cNvPr id="2990" name="Vrije vorm: vorm 2989">
                  <a:extLst>
                    <a:ext uri="{FF2B5EF4-FFF2-40B4-BE49-F238E27FC236}">
                      <a16:creationId xmlns:a16="http://schemas.microsoft.com/office/drawing/2014/main" id="{7315552E-36C5-4C9C-A6B5-F6D2C2940A0D}"/>
                    </a:ext>
                  </a:extLst>
                </p:cNvPr>
                <p:cNvSpPr/>
                <p:nvPr/>
              </p:nvSpPr>
              <p:spPr>
                <a:xfrm>
                  <a:off x="6108832" y="5096077"/>
                  <a:ext cx="18280" cy="18453"/>
                </a:xfrm>
                <a:custGeom>
                  <a:avLst/>
                  <a:gdLst>
                    <a:gd name="connsiteX0" fmla="*/ 16 w 18280"/>
                    <a:gd name="connsiteY0" fmla="*/ 8629 h 18453"/>
                    <a:gd name="connsiteX1" fmla="*/ 9705 w 18280"/>
                    <a:gd name="connsiteY1" fmla="*/ 16 h 18453"/>
                    <a:gd name="connsiteX2" fmla="*/ 18258 w 18280"/>
                    <a:gd name="connsiteY2" fmla="*/ 9825 h 18453"/>
                    <a:gd name="connsiteX3" fmla="*/ 8569 w 18280"/>
                    <a:gd name="connsiteY3" fmla="*/ 18437 h 18453"/>
                    <a:gd name="connsiteX4" fmla="*/ 16 w 18280"/>
                    <a:gd name="connsiteY4" fmla="*/ 8629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53">
                      <a:moveTo>
                        <a:pt x="16" y="8629"/>
                      </a:moveTo>
                      <a:cubicBezTo>
                        <a:pt x="316" y="3545"/>
                        <a:pt x="4682" y="-283"/>
                        <a:pt x="9705" y="16"/>
                      </a:cubicBezTo>
                      <a:cubicBezTo>
                        <a:pt x="14729" y="375"/>
                        <a:pt x="18617" y="4741"/>
                        <a:pt x="18258" y="9825"/>
                      </a:cubicBezTo>
                      <a:cubicBezTo>
                        <a:pt x="17959" y="14908"/>
                        <a:pt x="13593" y="18736"/>
                        <a:pt x="8569" y="18437"/>
                      </a:cubicBezTo>
                      <a:cubicBezTo>
                        <a:pt x="3545" y="18078"/>
                        <a:pt x="-283" y="13712"/>
                        <a:pt x="16" y="8629"/>
                      </a:cubicBezTo>
                      <a:close/>
                    </a:path>
                  </a:pathLst>
                </a:custGeom>
                <a:grpFill/>
                <a:ln w="5978" cap="flat">
                  <a:noFill/>
                  <a:prstDash val="solid"/>
                  <a:miter/>
                </a:ln>
              </p:spPr>
              <p:txBody>
                <a:bodyPr rtlCol="0" anchor="ctr"/>
                <a:lstStyle/>
                <a:p>
                  <a:endParaRPr lang="en-GB"/>
                </a:p>
              </p:txBody>
            </p:sp>
            <p:sp>
              <p:nvSpPr>
                <p:cNvPr id="2991" name="Vrije vorm: vorm 2990">
                  <a:extLst>
                    <a:ext uri="{FF2B5EF4-FFF2-40B4-BE49-F238E27FC236}">
                      <a16:creationId xmlns:a16="http://schemas.microsoft.com/office/drawing/2014/main" id="{912A550C-CE88-4361-AD56-CD2AE41995F3}"/>
                    </a:ext>
                  </a:extLst>
                </p:cNvPr>
                <p:cNvSpPr/>
                <p:nvPr/>
              </p:nvSpPr>
              <p:spPr>
                <a:xfrm>
                  <a:off x="6086165" y="5461858"/>
                  <a:ext cx="18273" cy="18459"/>
                </a:xfrm>
                <a:custGeom>
                  <a:avLst/>
                  <a:gdLst>
                    <a:gd name="connsiteX0" fmla="*/ 16 w 18273"/>
                    <a:gd name="connsiteY0" fmla="*/ 8628 h 18459"/>
                    <a:gd name="connsiteX1" fmla="*/ 8569 w 18273"/>
                    <a:gd name="connsiteY1" fmla="*/ 18437 h 18459"/>
                    <a:gd name="connsiteX2" fmla="*/ 18258 w 18273"/>
                    <a:gd name="connsiteY2" fmla="*/ 9825 h 18459"/>
                    <a:gd name="connsiteX3" fmla="*/ 9705 w 18273"/>
                    <a:gd name="connsiteY3" fmla="*/ 16 h 18459"/>
                    <a:gd name="connsiteX4" fmla="*/ 16 w 18273"/>
                    <a:gd name="connsiteY4" fmla="*/ 8628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59">
                      <a:moveTo>
                        <a:pt x="16" y="8628"/>
                      </a:moveTo>
                      <a:cubicBezTo>
                        <a:pt x="-283" y="13712"/>
                        <a:pt x="3545" y="18078"/>
                        <a:pt x="8569" y="18437"/>
                      </a:cubicBezTo>
                      <a:cubicBezTo>
                        <a:pt x="13593" y="18796"/>
                        <a:pt x="17959" y="14908"/>
                        <a:pt x="18258" y="9825"/>
                      </a:cubicBezTo>
                      <a:cubicBezTo>
                        <a:pt x="18557" y="4741"/>
                        <a:pt x="14729" y="375"/>
                        <a:pt x="9705" y="16"/>
                      </a:cubicBezTo>
                      <a:cubicBezTo>
                        <a:pt x="4682" y="-283"/>
                        <a:pt x="375" y="3605"/>
                        <a:pt x="16" y="8628"/>
                      </a:cubicBezTo>
                      <a:close/>
                    </a:path>
                  </a:pathLst>
                </a:custGeom>
                <a:grpFill/>
                <a:ln w="5978" cap="flat">
                  <a:noFill/>
                  <a:prstDash val="solid"/>
                  <a:miter/>
                </a:ln>
              </p:spPr>
              <p:txBody>
                <a:bodyPr rtlCol="0" anchor="ctr"/>
                <a:lstStyle/>
                <a:p>
                  <a:endParaRPr lang="en-GB"/>
                </a:p>
              </p:txBody>
            </p:sp>
          </p:grpSp>
          <p:grpSp>
            <p:nvGrpSpPr>
              <p:cNvPr id="803" name="Graphic 3">
                <a:extLst>
                  <a:ext uri="{FF2B5EF4-FFF2-40B4-BE49-F238E27FC236}">
                    <a16:creationId xmlns:a16="http://schemas.microsoft.com/office/drawing/2014/main" id="{7ED1836C-D7E3-4C25-A6C4-49D6AA1BFAE9}"/>
                  </a:ext>
                </a:extLst>
              </p:cNvPr>
              <p:cNvGrpSpPr/>
              <p:nvPr/>
            </p:nvGrpSpPr>
            <p:grpSpPr>
              <a:xfrm>
                <a:off x="6203393" y="5093212"/>
                <a:ext cx="75497" cy="1191320"/>
                <a:chOff x="6203393" y="5093212"/>
                <a:chExt cx="75497" cy="1191320"/>
              </a:xfrm>
              <a:grpFill/>
            </p:grpSpPr>
            <p:sp>
              <p:nvSpPr>
                <p:cNvPr id="2986" name="Vrije vorm: vorm 2985">
                  <a:extLst>
                    <a:ext uri="{FF2B5EF4-FFF2-40B4-BE49-F238E27FC236}">
                      <a16:creationId xmlns:a16="http://schemas.microsoft.com/office/drawing/2014/main" id="{1DB73ED8-1D60-4775-98EF-F817CB013B56}"/>
                    </a:ext>
                  </a:extLst>
                </p:cNvPr>
                <p:cNvSpPr/>
                <p:nvPr/>
              </p:nvSpPr>
              <p:spPr>
                <a:xfrm>
                  <a:off x="6210999" y="5101894"/>
                  <a:ext cx="60225" cy="1173955"/>
                </a:xfrm>
                <a:custGeom>
                  <a:avLst/>
                  <a:gdLst>
                    <a:gd name="connsiteX0" fmla="*/ 3050 w 60225"/>
                    <a:gd name="connsiteY0" fmla="*/ 0 h 1173955"/>
                    <a:gd name="connsiteX1" fmla="*/ 60226 w 60225"/>
                    <a:gd name="connsiteY1" fmla="*/ 1173836 h 1173955"/>
                    <a:gd name="connsiteX2" fmla="*/ 57176 w 60225"/>
                    <a:gd name="connsiteY2" fmla="*/ 1173956 h 1173955"/>
                    <a:gd name="connsiteX3" fmla="*/ 0 w 60225"/>
                    <a:gd name="connsiteY3" fmla="*/ 120 h 1173955"/>
                  </a:gdLst>
                  <a:ahLst/>
                  <a:cxnLst>
                    <a:cxn ang="0">
                      <a:pos x="connsiteX0" y="connsiteY0"/>
                    </a:cxn>
                    <a:cxn ang="0">
                      <a:pos x="connsiteX1" y="connsiteY1"/>
                    </a:cxn>
                    <a:cxn ang="0">
                      <a:pos x="connsiteX2" y="connsiteY2"/>
                    </a:cxn>
                    <a:cxn ang="0">
                      <a:pos x="connsiteX3" y="connsiteY3"/>
                    </a:cxn>
                  </a:cxnLst>
                  <a:rect l="l" t="t" r="r" b="b"/>
                  <a:pathLst>
                    <a:path w="60225" h="1173955">
                      <a:moveTo>
                        <a:pt x="3050" y="0"/>
                      </a:moveTo>
                      <a:lnTo>
                        <a:pt x="60226" y="1173836"/>
                      </a:lnTo>
                      <a:lnTo>
                        <a:pt x="57176" y="1173956"/>
                      </a:lnTo>
                      <a:lnTo>
                        <a:pt x="0" y="120"/>
                      </a:lnTo>
                      <a:close/>
                    </a:path>
                  </a:pathLst>
                </a:custGeom>
                <a:grpFill/>
                <a:ln w="5978" cap="flat">
                  <a:noFill/>
                  <a:prstDash val="solid"/>
                  <a:miter/>
                </a:ln>
              </p:spPr>
              <p:txBody>
                <a:bodyPr rtlCol="0" anchor="ctr"/>
                <a:lstStyle/>
                <a:p>
                  <a:endParaRPr lang="en-GB"/>
                </a:p>
              </p:txBody>
            </p:sp>
            <p:sp>
              <p:nvSpPr>
                <p:cNvPr id="2987" name="Vrije vorm: vorm 2986">
                  <a:extLst>
                    <a:ext uri="{FF2B5EF4-FFF2-40B4-BE49-F238E27FC236}">
                      <a16:creationId xmlns:a16="http://schemas.microsoft.com/office/drawing/2014/main" id="{E29F2538-81DA-4504-8D86-18B1C140362D}"/>
                    </a:ext>
                  </a:extLst>
                </p:cNvPr>
                <p:cNvSpPr/>
                <p:nvPr/>
              </p:nvSpPr>
              <p:spPr>
                <a:xfrm>
                  <a:off x="6203393" y="5093212"/>
                  <a:ext cx="18381" cy="18441"/>
                </a:xfrm>
                <a:custGeom>
                  <a:avLst/>
                  <a:gdLst>
                    <a:gd name="connsiteX0" fmla="*/ 10 w 18381"/>
                    <a:gd name="connsiteY0" fmla="*/ 9639 h 18441"/>
                    <a:gd name="connsiteX1" fmla="*/ 8742 w 18381"/>
                    <a:gd name="connsiteY1" fmla="*/ 10 h 18441"/>
                    <a:gd name="connsiteX2" fmla="*/ 18371 w 18381"/>
                    <a:gd name="connsiteY2" fmla="*/ 8802 h 18441"/>
                    <a:gd name="connsiteX3" fmla="*/ 9639 w 18381"/>
                    <a:gd name="connsiteY3" fmla="*/ 18431 h 18441"/>
                    <a:gd name="connsiteX4" fmla="*/ 10 w 1838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1">
                      <a:moveTo>
                        <a:pt x="10" y="9639"/>
                      </a:moveTo>
                      <a:cubicBezTo>
                        <a:pt x="-229" y="4555"/>
                        <a:pt x="3659" y="249"/>
                        <a:pt x="8742" y="10"/>
                      </a:cubicBezTo>
                      <a:cubicBezTo>
                        <a:pt x="13826" y="-229"/>
                        <a:pt x="18072" y="3718"/>
                        <a:pt x="18371" y="8802"/>
                      </a:cubicBezTo>
                      <a:cubicBezTo>
                        <a:pt x="18610" y="13886"/>
                        <a:pt x="14723" y="18192"/>
                        <a:pt x="9639" y="18431"/>
                      </a:cubicBezTo>
                      <a:cubicBezTo>
                        <a:pt x="4556" y="18670"/>
                        <a:pt x="250" y="14723"/>
                        <a:pt x="10" y="9639"/>
                      </a:cubicBezTo>
                      <a:close/>
                    </a:path>
                  </a:pathLst>
                </a:custGeom>
                <a:grpFill/>
                <a:ln w="5978" cap="flat">
                  <a:noFill/>
                  <a:prstDash val="solid"/>
                  <a:miter/>
                </a:ln>
              </p:spPr>
              <p:txBody>
                <a:bodyPr rtlCol="0" anchor="ctr"/>
                <a:lstStyle/>
                <a:p>
                  <a:endParaRPr lang="en-GB"/>
                </a:p>
              </p:txBody>
            </p:sp>
            <p:sp>
              <p:nvSpPr>
                <p:cNvPr id="2988" name="Vrije vorm: vorm 2987">
                  <a:extLst>
                    <a:ext uri="{FF2B5EF4-FFF2-40B4-BE49-F238E27FC236}">
                      <a16:creationId xmlns:a16="http://schemas.microsoft.com/office/drawing/2014/main" id="{DA9976C3-46F8-41E2-9CA8-FFD8863538E3}"/>
                    </a:ext>
                  </a:extLst>
                </p:cNvPr>
                <p:cNvSpPr/>
                <p:nvPr/>
              </p:nvSpPr>
              <p:spPr>
                <a:xfrm>
                  <a:off x="6260509" y="6266091"/>
                  <a:ext cx="18381" cy="18441"/>
                </a:xfrm>
                <a:custGeom>
                  <a:avLst/>
                  <a:gdLst>
                    <a:gd name="connsiteX0" fmla="*/ 10 w 18381"/>
                    <a:gd name="connsiteY0" fmla="*/ 9639 h 18441"/>
                    <a:gd name="connsiteX1" fmla="*/ 9639 w 18381"/>
                    <a:gd name="connsiteY1" fmla="*/ 18431 h 18441"/>
                    <a:gd name="connsiteX2" fmla="*/ 18371 w 18381"/>
                    <a:gd name="connsiteY2" fmla="*/ 8802 h 18441"/>
                    <a:gd name="connsiteX3" fmla="*/ 8742 w 18381"/>
                    <a:gd name="connsiteY3" fmla="*/ 10 h 18441"/>
                    <a:gd name="connsiteX4" fmla="*/ 10 w 1838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1">
                      <a:moveTo>
                        <a:pt x="10" y="9639"/>
                      </a:moveTo>
                      <a:cubicBezTo>
                        <a:pt x="250" y="14723"/>
                        <a:pt x="4556" y="18670"/>
                        <a:pt x="9639" y="18431"/>
                      </a:cubicBezTo>
                      <a:cubicBezTo>
                        <a:pt x="14723" y="18192"/>
                        <a:pt x="18610" y="13886"/>
                        <a:pt x="18371" y="8802"/>
                      </a:cubicBezTo>
                      <a:cubicBezTo>
                        <a:pt x="18132" y="3718"/>
                        <a:pt x="13826" y="-229"/>
                        <a:pt x="8742" y="10"/>
                      </a:cubicBezTo>
                      <a:cubicBezTo>
                        <a:pt x="3659" y="249"/>
                        <a:pt x="-229" y="4556"/>
                        <a:pt x="10" y="9639"/>
                      </a:cubicBezTo>
                      <a:close/>
                    </a:path>
                  </a:pathLst>
                </a:custGeom>
                <a:grpFill/>
                <a:ln w="5978" cap="flat">
                  <a:noFill/>
                  <a:prstDash val="solid"/>
                  <a:miter/>
                </a:ln>
              </p:spPr>
              <p:txBody>
                <a:bodyPr rtlCol="0" anchor="ctr"/>
                <a:lstStyle/>
                <a:p>
                  <a:endParaRPr lang="en-GB"/>
                </a:p>
              </p:txBody>
            </p:sp>
          </p:grpSp>
          <p:grpSp>
            <p:nvGrpSpPr>
              <p:cNvPr id="804" name="Graphic 3">
                <a:extLst>
                  <a:ext uri="{FF2B5EF4-FFF2-40B4-BE49-F238E27FC236}">
                    <a16:creationId xmlns:a16="http://schemas.microsoft.com/office/drawing/2014/main" id="{15A95B14-6433-4DEE-9682-BC44F3E3CC4E}"/>
                  </a:ext>
                </a:extLst>
              </p:cNvPr>
              <p:cNvGrpSpPr/>
              <p:nvPr/>
            </p:nvGrpSpPr>
            <p:grpSpPr>
              <a:xfrm>
                <a:off x="4797301" y="1594960"/>
                <a:ext cx="285456" cy="459416"/>
                <a:chOff x="4797301" y="1594960"/>
                <a:chExt cx="285456" cy="459416"/>
              </a:xfrm>
              <a:grpFill/>
            </p:grpSpPr>
            <p:sp>
              <p:nvSpPr>
                <p:cNvPr id="2983" name="Vrije vorm: vorm 2982">
                  <a:extLst>
                    <a:ext uri="{FF2B5EF4-FFF2-40B4-BE49-F238E27FC236}">
                      <a16:creationId xmlns:a16="http://schemas.microsoft.com/office/drawing/2014/main" id="{A680F495-A72B-49E6-9047-AA48500D15B6}"/>
                    </a:ext>
                  </a:extLst>
                </p:cNvPr>
                <p:cNvSpPr/>
                <p:nvPr/>
              </p:nvSpPr>
              <p:spPr>
                <a:xfrm>
                  <a:off x="4804991" y="1602993"/>
                  <a:ext cx="270149" cy="443291"/>
                </a:xfrm>
                <a:custGeom>
                  <a:avLst/>
                  <a:gdLst>
                    <a:gd name="connsiteX0" fmla="*/ 270149 w 270149"/>
                    <a:gd name="connsiteY0" fmla="*/ 441736 h 443291"/>
                    <a:gd name="connsiteX1" fmla="*/ 267518 w 270149"/>
                    <a:gd name="connsiteY1" fmla="*/ 443291 h 443291"/>
                    <a:gd name="connsiteX2" fmla="*/ 0 w 270149"/>
                    <a:gd name="connsiteY2" fmla="*/ 1555 h 443291"/>
                    <a:gd name="connsiteX3" fmla="*/ 2572 w 270149"/>
                    <a:gd name="connsiteY3" fmla="*/ 0 h 443291"/>
                  </a:gdLst>
                  <a:ahLst/>
                  <a:cxnLst>
                    <a:cxn ang="0">
                      <a:pos x="connsiteX0" y="connsiteY0"/>
                    </a:cxn>
                    <a:cxn ang="0">
                      <a:pos x="connsiteX1" y="connsiteY1"/>
                    </a:cxn>
                    <a:cxn ang="0">
                      <a:pos x="connsiteX2" y="connsiteY2"/>
                    </a:cxn>
                    <a:cxn ang="0">
                      <a:pos x="connsiteX3" y="connsiteY3"/>
                    </a:cxn>
                  </a:cxnLst>
                  <a:rect l="l" t="t" r="r" b="b"/>
                  <a:pathLst>
                    <a:path w="270149" h="443291">
                      <a:moveTo>
                        <a:pt x="270149" y="441736"/>
                      </a:moveTo>
                      <a:lnTo>
                        <a:pt x="267518" y="443291"/>
                      </a:lnTo>
                      <a:lnTo>
                        <a:pt x="0" y="1555"/>
                      </a:lnTo>
                      <a:lnTo>
                        <a:pt x="2572" y="0"/>
                      </a:lnTo>
                      <a:close/>
                    </a:path>
                  </a:pathLst>
                </a:custGeom>
                <a:grpFill/>
                <a:ln w="5978" cap="flat">
                  <a:noFill/>
                  <a:prstDash val="solid"/>
                  <a:miter/>
                </a:ln>
              </p:spPr>
              <p:txBody>
                <a:bodyPr rtlCol="0" anchor="ctr"/>
                <a:lstStyle/>
                <a:p>
                  <a:endParaRPr lang="en-GB"/>
                </a:p>
              </p:txBody>
            </p:sp>
            <p:sp>
              <p:nvSpPr>
                <p:cNvPr id="2984" name="Vrije vorm: vorm 2983">
                  <a:extLst>
                    <a:ext uri="{FF2B5EF4-FFF2-40B4-BE49-F238E27FC236}">
                      <a16:creationId xmlns:a16="http://schemas.microsoft.com/office/drawing/2014/main" id="{7D91A230-CC45-4660-8A22-B655F0B6A1B6}"/>
                    </a:ext>
                  </a:extLst>
                </p:cNvPr>
                <p:cNvSpPr/>
                <p:nvPr/>
              </p:nvSpPr>
              <p:spPr>
                <a:xfrm>
                  <a:off x="5064414" y="2035919"/>
                  <a:ext cx="18343" cy="18458"/>
                </a:xfrm>
                <a:custGeom>
                  <a:avLst/>
                  <a:gdLst>
                    <a:gd name="connsiteX0" fmla="*/ 17007 w 18343"/>
                    <a:gd name="connsiteY0" fmla="*/ 4445 h 18458"/>
                    <a:gd name="connsiteX1" fmla="*/ 13956 w 18343"/>
                    <a:gd name="connsiteY1" fmla="*/ 17124 h 18458"/>
                    <a:gd name="connsiteX2" fmla="*/ 1337 w 18343"/>
                    <a:gd name="connsiteY2" fmla="*/ 14014 h 18458"/>
                    <a:gd name="connsiteX3" fmla="*/ 4387 w 18343"/>
                    <a:gd name="connsiteY3" fmla="*/ 1335 h 18458"/>
                    <a:gd name="connsiteX4" fmla="*/ 17007 w 18343"/>
                    <a:gd name="connsiteY4" fmla="*/ 444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7007" y="4445"/>
                      </a:moveTo>
                      <a:cubicBezTo>
                        <a:pt x="19638" y="8810"/>
                        <a:pt x="18263" y="14492"/>
                        <a:pt x="13956" y="17124"/>
                      </a:cubicBezTo>
                      <a:cubicBezTo>
                        <a:pt x="9650" y="19755"/>
                        <a:pt x="3969" y="18380"/>
                        <a:pt x="1337" y="14014"/>
                      </a:cubicBezTo>
                      <a:cubicBezTo>
                        <a:pt x="-1294" y="9648"/>
                        <a:pt x="81" y="4026"/>
                        <a:pt x="4387" y="1335"/>
                      </a:cubicBezTo>
                      <a:cubicBezTo>
                        <a:pt x="8753" y="-1297"/>
                        <a:pt x="14375" y="79"/>
                        <a:pt x="17007" y="4445"/>
                      </a:cubicBezTo>
                      <a:close/>
                    </a:path>
                  </a:pathLst>
                </a:custGeom>
                <a:grpFill/>
                <a:ln w="5978" cap="flat">
                  <a:noFill/>
                  <a:prstDash val="solid"/>
                  <a:miter/>
                </a:ln>
              </p:spPr>
              <p:txBody>
                <a:bodyPr rtlCol="0" anchor="ctr"/>
                <a:lstStyle/>
                <a:p>
                  <a:endParaRPr lang="en-GB"/>
                </a:p>
              </p:txBody>
            </p:sp>
            <p:sp>
              <p:nvSpPr>
                <p:cNvPr id="2985" name="Vrije vorm: vorm 2984">
                  <a:extLst>
                    <a:ext uri="{FF2B5EF4-FFF2-40B4-BE49-F238E27FC236}">
                      <a16:creationId xmlns:a16="http://schemas.microsoft.com/office/drawing/2014/main" id="{9A07C3A7-B96E-46DF-B1AA-B629D3277962}"/>
                    </a:ext>
                  </a:extLst>
                </p:cNvPr>
                <p:cNvSpPr/>
                <p:nvPr/>
              </p:nvSpPr>
              <p:spPr>
                <a:xfrm>
                  <a:off x="4797301" y="1594960"/>
                  <a:ext cx="18397" cy="18458"/>
                </a:xfrm>
                <a:custGeom>
                  <a:avLst/>
                  <a:gdLst>
                    <a:gd name="connsiteX0" fmla="*/ 17021 w 18397"/>
                    <a:gd name="connsiteY0" fmla="*/ 4445 h 18458"/>
                    <a:gd name="connsiteX1" fmla="*/ 4401 w 18397"/>
                    <a:gd name="connsiteY1" fmla="*/ 1335 h 18458"/>
                    <a:gd name="connsiteX2" fmla="*/ 1351 w 18397"/>
                    <a:gd name="connsiteY2" fmla="*/ 14014 h 18458"/>
                    <a:gd name="connsiteX3" fmla="*/ 13970 w 18397"/>
                    <a:gd name="connsiteY3" fmla="*/ 17124 h 18458"/>
                    <a:gd name="connsiteX4" fmla="*/ 17021 w 18397"/>
                    <a:gd name="connsiteY4" fmla="*/ 444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7" h="18458">
                      <a:moveTo>
                        <a:pt x="17021" y="4445"/>
                      </a:moveTo>
                      <a:cubicBezTo>
                        <a:pt x="14389" y="79"/>
                        <a:pt x="8767" y="-1297"/>
                        <a:pt x="4401" y="1335"/>
                      </a:cubicBezTo>
                      <a:cubicBezTo>
                        <a:pt x="35" y="3966"/>
                        <a:pt x="-1280" y="9648"/>
                        <a:pt x="1351" y="14014"/>
                      </a:cubicBezTo>
                      <a:cubicBezTo>
                        <a:pt x="3983" y="18380"/>
                        <a:pt x="9605" y="19755"/>
                        <a:pt x="13970" y="17124"/>
                      </a:cubicBezTo>
                      <a:cubicBezTo>
                        <a:pt x="18336" y="14432"/>
                        <a:pt x="19712" y="8810"/>
                        <a:pt x="17021" y="4445"/>
                      </a:cubicBezTo>
                      <a:close/>
                    </a:path>
                  </a:pathLst>
                </a:custGeom>
                <a:grpFill/>
                <a:ln w="5978" cap="flat">
                  <a:noFill/>
                  <a:prstDash val="solid"/>
                  <a:miter/>
                </a:ln>
              </p:spPr>
              <p:txBody>
                <a:bodyPr rtlCol="0" anchor="ctr"/>
                <a:lstStyle/>
                <a:p>
                  <a:endParaRPr lang="en-GB"/>
                </a:p>
              </p:txBody>
            </p:sp>
          </p:grpSp>
          <p:grpSp>
            <p:nvGrpSpPr>
              <p:cNvPr id="805" name="Graphic 3">
                <a:extLst>
                  <a:ext uri="{FF2B5EF4-FFF2-40B4-BE49-F238E27FC236}">
                    <a16:creationId xmlns:a16="http://schemas.microsoft.com/office/drawing/2014/main" id="{EDEF2530-AA25-457C-A7F3-674E38A69FA3}"/>
                  </a:ext>
                </a:extLst>
              </p:cNvPr>
              <p:cNvGrpSpPr/>
              <p:nvPr/>
            </p:nvGrpSpPr>
            <p:grpSpPr>
              <a:xfrm>
                <a:off x="4905070" y="1816242"/>
                <a:ext cx="151296" cy="254255"/>
                <a:chOff x="4905070" y="1816242"/>
                <a:chExt cx="151296" cy="254255"/>
              </a:xfrm>
              <a:grpFill/>
            </p:grpSpPr>
            <p:sp>
              <p:nvSpPr>
                <p:cNvPr id="2980" name="Vrije vorm: vorm 2979">
                  <a:extLst>
                    <a:ext uri="{FF2B5EF4-FFF2-40B4-BE49-F238E27FC236}">
                      <a16:creationId xmlns:a16="http://schemas.microsoft.com/office/drawing/2014/main" id="{4AA58E14-0B20-42AC-8235-FAA9E7C35D24}"/>
                    </a:ext>
                  </a:extLst>
                </p:cNvPr>
                <p:cNvSpPr/>
                <p:nvPr/>
              </p:nvSpPr>
              <p:spPr>
                <a:xfrm>
                  <a:off x="4912748" y="1824417"/>
                  <a:ext cx="136248" cy="237969"/>
                </a:xfrm>
                <a:custGeom>
                  <a:avLst/>
                  <a:gdLst>
                    <a:gd name="connsiteX0" fmla="*/ 0 w 136248"/>
                    <a:gd name="connsiteY0" fmla="*/ 1500 h 237969"/>
                    <a:gd name="connsiteX1" fmla="*/ 2656 w 136248"/>
                    <a:gd name="connsiteY1" fmla="*/ 0 h 237969"/>
                    <a:gd name="connsiteX2" fmla="*/ 136248 w 136248"/>
                    <a:gd name="connsiteY2" fmla="*/ 236469 h 237969"/>
                    <a:gd name="connsiteX3" fmla="*/ 133593 w 136248"/>
                    <a:gd name="connsiteY3" fmla="*/ 237969 h 237969"/>
                  </a:gdLst>
                  <a:ahLst/>
                  <a:cxnLst>
                    <a:cxn ang="0">
                      <a:pos x="connsiteX0" y="connsiteY0"/>
                    </a:cxn>
                    <a:cxn ang="0">
                      <a:pos x="connsiteX1" y="connsiteY1"/>
                    </a:cxn>
                    <a:cxn ang="0">
                      <a:pos x="connsiteX2" y="connsiteY2"/>
                    </a:cxn>
                    <a:cxn ang="0">
                      <a:pos x="connsiteX3" y="connsiteY3"/>
                    </a:cxn>
                  </a:cxnLst>
                  <a:rect l="l" t="t" r="r" b="b"/>
                  <a:pathLst>
                    <a:path w="136248" h="237969">
                      <a:moveTo>
                        <a:pt x="0" y="1500"/>
                      </a:moveTo>
                      <a:lnTo>
                        <a:pt x="2656" y="0"/>
                      </a:lnTo>
                      <a:lnTo>
                        <a:pt x="136248" y="236469"/>
                      </a:lnTo>
                      <a:lnTo>
                        <a:pt x="133593" y="237969"/>
                      </a:lnTo>
                      <a:close/>
                    </a:path>
                  </a:pathLst>
                </a:custGeom>
                <a:grpFill/>
                <a:ln w="5978" cap="flat">
                  <a:noFill/>
                  <a:prstDash val="solid"/>
                  <a:miter/>
                </a:ln>
              </p:spPr>
              <p:txBody>
                <a:bodyPr rtlCol="0" anchor="ctr"/>
                <a:lstStyle/>
                <a:p>
                  <a:endParaRPr lang="en-GB"/>
                </a:p>
              </p:txBody>
            </p:sp>
            <p:sp>
              <p:nvSpPr>
                <p:cNvPr id="2981" name="Vrije vorm: vorm 2980">
                  <a:extLst>
                    <a:ext uri="{FF2B5EF4-FFF2-40B4-BE49-F238E27FC236}">
                      <a16:creationId xmlns:a16="http://schemas.microsoft.com/office/drawing/2014/main" id="{8E5F77C8-7F37-4A81-A46D-3028BB6341F8}"/>
                    </a:ext>
                  </a:extLst>
                </p:cNvPr>
                <p:cNvSpPr/>
                <p:nvPr/>
              </p:nvSpPr>
              <p:spPr>
                <a:xfrm>
                  <a:off x="5037995" y="2052022"/>
                  <a:ext cx="18371" cy="18474"/>
                </a:xfrm>
                <a:custGeom>
                  <a:avLst/>
                  <a:gdLst>
                    <a:gd name="connsiteX0" fmla="*/ 17170 w 18371"/>
                    <a:gd name="connsiteY0" fmla="*/ 4728 h 18474"/>
                    <a:gd name="connsiteX1" fmla="*/ 13701 w 18371"/>
                    <a:gd name="connsiteY1" fmla="*/ 17288 h 18474"/>
                    <a:gd name="connsiteX2" fmla="*/ 1201 w 18371"/>
                    <a:gd name="connsiteY2" fmla="*/ 13759 h 18474"/>
                    <a:gd name="connsiteX3" fmla="*/ 4670 w 18371"/>
                    <a:gd name="connsiteY3" fmla="*/ 1199 h 18474"/>
                    <a:gd name="connsiteX4" fmla="*/ 17170 w 18371"/>
                    <a:gd name="connsiteY4" fmla="*/ 472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74">
                      <a:moveTo>
                        <a:pt x="17170" y="4728"/>
                      </a:moveTo>
                      <a:cubicBezTo>
                        <a:pt x="19682" y="9154"/>
                        <a:pt x="18127" y="14776"/>
                        <a:pt x="13701" y="17288"/>
                      </a:cubicBezTo>
                      <a:cubicBezTo>
                        <a:pt x="9275" y="19799"/>
                        <a:pt x="3713" y="18185"/>
                        <a:pt x="1201" y="13759"/>
                      </a:cubicBezTo>
                      <a:cubicBezTo>
                        <a:pt x="-1310" y="9333"/>
                        <a:pt x="245" y="3711"/>
                        <a:pt x="4670" y="1199"/>
                      </a:cubicBezTo>
                      <a:cubicBezTo>
                        <a:pt x="9036" y="-1312"/>
                        <a:pt x="14658" y="243"/>
                        <a:pt x="17170" y="4728"/>
                      </a:cubicBezTo>
                      <a:close/>
                    </a:path>
                  </a:pathLst>
                </a:custGeom>
                <a:grpFill/>
                <a:ln w="5978" cap="flat">
                  <a:noFill/>
                  <a:prstDash val="solid"/>
                  <a:miter/>
                </a:ln>
              </p:spPr>
              <p:txBody>
                <a:bodyPr rtlCol="0" anchor="ctr"/>
                <a:lstStyle/>
                <a:p>
                  <a:endParaRPr lang="en-GB"/>
                </a:p>
              </p:txBody>
            </p:sp>
            <p:sp>
              <p:nvSpPr>
                <p:cNvPr id="2982" name="Vrije vorm: vorm 2981">
                  <a:extLst>
                    <a:ext uri="{FF2B5EF4-FFF2-40B4-BE49-F238E27FC236}">
                      <a16:creationId xmlns:a16="http://schemas.microsoft.com/office/drawing/2014/main" id="{76EB632B-C884-4449-A0A2-EF44DF6134B0}"/>
                    </a:ext>
                  </a:extLst>
                </p:cNvPr>
                <p:cNvSpPr/>
                <p:nvPr/>
              </p:nvSpPr>
              <p:spPr>
                <a:xfrm>
                  <a:off x="4905070" y="1816242"/>
                  <a:ext cx="18318" cy="18408"/>
                </a:xfrm>
                <a:custGeom>
                  <a:avLst/>
                  <a:gdLst>
                    <a:gd name="connsiteX0" fmla="*/ 17143 w 18318"/>
                    <a:gd name="connsiteY0" fmla="*/ 4689 h 18408"/>
                    <a:gd name="connsiteX1" fmla="*/ 4644 w 18318"/>
                    <a:gd name="connsiteY1" fmla="*/ 1160 h 18408"/>
                    <a:gd name="connsiteX2" fmla="*/ 1175 w 18318"/>
                    <a:gd name="connsiteY2" fmla="*/ 13720 h 18408"/>
                    <a:gd name="connsiteX3" fmla="*/ 13675 w 18318"/>
                    <a:gd name="connsiteY3" fmla="*/ 17248 h 18408"/>
                    <a:gd name="connsiteX4" fmla="*/ 17143 w 18318"/>
                    <a:gd name="connsiteY4" fmla="*/ 4689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08">
                      <a:moveTo>
                        <a:pt x="17143" y="4689"/>
                      </a:moveTo>
                      <a:cubicBezTo>
                        <a:pt x="14632" y="263"/>
                        <a:pt x="9070" y="-1292"/>
                        <a:pt x="4644" y="1160"/>
                      </a:cubicBezTo>
                      <a:cubicBezTo>
                        <a:pt x="218" y="3672"/>
                        <a:pt x="-1277" y="9294"/>
                        <a:pt x="1175" y="13720"/>
                      </a:cubicBezTo>
                      <a:cubicBezTo>
                        <a:pt x="3687" y="18146"/>
                        <a:pt x="9249" y="19701"/>
                        <a:pt x="13675" y="17248"/>
                      </a:cubicBezTo>
                      <a:cubicBezTo>
                        <a:pt x="18100" y="14736"/>
                        <a:pt x="19595" y="9115"/>
                        <a:pt x="17143" y="4689"/>
                      </a:cubicBezTo>
                      <a:close/>
                    </a:path>
                  </a:pathLst>
                </a:custGeom>
                <a:grpFill/>
                <a:ln w="5978" cap="flat">
                  <a:noFill/>
                  <a:prstDash val="solid"/>
                  <a:miter/>
                </a:ln>
              </p:spPr>
              <p:txBody>
                <a:bodyPr rtlCol="0" anchor="ctr"/>
                <a:lstStyle/>
                <a:p>
                  <a:endParaRPr lang="en-GB"/>
                </a:p>
              </p:txBody>
            </p:sp>
          </p:grpSp>
          <p:grpSp>
            <p:nvGrpSpPr>
              <p:cNvPr id="806" name="Graphic 3">
                <a:extLst>
                  <a:ext uri="{FF2B5EF4-FFF2-40B4-BE49-F238E27FC236}">
                    <a16:creationId xmlns:a16="http://schemas.microsoft.com/office/drawing/2014/main" id="{08DD2B7C-EECC-4196-90EC-95EF203494CD}"/>
                  </a:ext>
                </a:extLst>
              </p:cNvPr>
              <p:cNvGrpSpPr/>
              <p:nvPr/>
            </p:nvGrpSpPr>
            <p:grpSpPr>
              <a:xfrm>
                <a:off x="6156858" y="5375741"/>
                <a:ext cx="32926" cy="276629"/>
                <a:chOff x="6156858" y="5375741"/>
                <a:chExt cx="32926" cy="276629"/>
              </a:xfrm>
              <a:grpFill/>
            </p:grpSpPr>
            <p:sp>
              <p:nvSpPr>
                <p:cNvPr id="2977" name="Vrije vorm: vorm 2976">
                  <a:extLst>
                    <a:ext uri="{FF2B5EF4-FFF2-40B4-BE49-F238E27FC236}">
                      <a16:creationId xmlns:a16="http://schemas.microsoft.com/office/drawing/2014/main" id="{F5E776CD-42DC-4CE6-92FC-6AE28D12D028}"/>
                    </a:ext>
                  </a:extLst>
                </p:cNvPr>
                <p:cNvSpPr/>
                <p:nvPr/>
              </p:nvSpPr>
              <p:spPr>
                <a:xfrm>
                  <a:off x="6164529" y="5384424"/>
                  <a:ext cx="17642" cy="259264"/>
                </a:xfrm>
                <a:custGeom>
                  <a:avLst/>
                  <a:gdLst>
                    <a:gd name="connsiteX0" fmla="*/ 2990 w 17642"/>
                    <a:gd name="connsiteY0" fmla="*/ 0 h 259264"/>
                    <a:gd name="connsiteX1" fmla="*/ 17643 w 17642"/>
                    <a:gd name="connsiteY1" fmla="*/ 259085 h 259264"/>
                    <a:gd name="connsiteX2" fmla="*/ 14593 w 17642"/>
                    <a:gd name="connsiteY2" fmla="*/ 259264 h 259264"/>
                    <a:gd name="connsiteX3" fmla="*/ 0 w 17642"/>
                    <a:gd name="connsiteY3" fmla="*/ 179 h 259264"/>
                  </a:gdLst>
                  <a:ahLst/>
                  <a:cxnLst>
                    <a:cxn ang="0">
                      <a:pos x="connsiteX0" y="connsiteY0"/>
                    </a:cxn>
                    <a:cxn ang="0">
                      <a:pos x="connsiteX1" y="connsiteY1"/>
                    </a:cxn>
                    <a:cxn ang="0">
                      <a:pos x="connsiteX2" y="connsiteY2"/>
                    </a:cxn>
                    <a:cxn ang="0">
                      <a:pos x="connsiteX3" y="connsiteY3"/>
                    </a:cxn>
                  </a:cxnLst>
                  <a:rect l="l" t="t" r="r" b="b"/>
                  <a:pathLst>
                    <a:path w="17642" h="259264">
                      <a:moveTo>
                        <a:pt x="2990" y="0"/>
                      </a:moveTo>
                      <a:lnTo>
                        <a:pt x="17643" y="259085"/>
                      </a:lnTo>
                      <a:lnTo>
                        <a:pt x="14593" y="259264"/>
                      </a:lnTo>
                      <a:lnTo>
                        <a:pt x="0" y="179"/>
                      </a:lnTo>
                      <a:close/>
                    </a:path>
                  </a:pathLst>
                </a:custGeom>
                <a:grpFill/>
                <a:ln w="5978" cap="flat">
                  <a:noFill/>
                  <a:prstDash val="solid"/>
                  <a:miter/>
                </a:ln>
              </p:spPr>
              <p:txBody>
                <a:bodyPr rtlCol="0" anchor="ctr"/>
                <a:lstStyle/>
                <a:p>
                  <a:endParaRPr lang="en-GB"/>
                </a:p>
              </p:txBody>
            </p:sp>
            <p:sp>
              <p:nvSpPr>
                <p:cNvPr id="2978" name="Vrije vorm: vorm 2977">
                  <a:extLst>
                    <a:ext uri="{FF2B5EF4-FFF2-40B4-BE49-F238E27FC236}">
                      <a16:creationId xmlns:a16="http://schemas.microsoft.com/office/drawing/2014/main" id="{DE4E21F7-A804-4D5D-AD35-012139A06DC6}"/>
                    </a:ext>
                  </a:extLst>
                </p:cNvPr>
                <p:cNvSpPr/>
                <p:nvPr/>
              </p:nvSpPr>
              <p:spPr>
                <a:xfrm>
                  <a:off x="6171451" y="5633923"/>
                  <a:ext cx="18333" cy="18447"/>
                </a:xfrm>
                <a:custGeom>
                  <a:avLst/>
                  <a:gdLst>
                    <a:gd name="connsiteX0" fmla="*/ 18317 w 18333"/>
                    <a:gd name="connsiteY0" fmla="*/ 8748 h 18447"/>
                    <a:gd name="connsiteX1" fmla="*/ 9705 w 18333"/>
                    <a:gd name="connsiteY1" fmla="*/ 18437 h 18447"/>
                    <a:gd name="connsiteX2" fmla="*/ 16 w 18333"/>
                    <a:gd name="connsiteY2" fmla="*/ 9705 h 18447"/>
                    <a:gd name="connsiteX3" fmla="*/ 8628 w 18333"/>
                    <a:gd name="connsiteY3" fmla="*/ 16 h 18447"/>
                    <a:gd name="connsiteX4" fmla="*/ 18317 w 18333"/>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8748"/>
                      </a:moveTo>
                      <a:cubicBezTo>
                        <a:pt x="18616" y="13831"/>
                        <a:pt x="14729" y="18138"/>
                        <a:pt x="9705" y="18437"/>
                      </a:cubicBezTo>
                      <a:cubicBezTo>
                        <a:pt x="4681" y="18676"/>
                        <a:pt x="315" y="14788"/>
                        <a:pt x="16" y="9705"/>
                      </a:cubicBezTo>
                      <a:cubicBezTo>
                        <a:pt x="-283" y="4621"/>
                        <a:pt x="3604" y="315"/>
                        <a:pt x="8628" y="16"/>
                      </a:cubicBezTo>
                      <a:cubicBezTo>
                        <a:pt x="13712" y="-283"/>
                        <a:pt x="18018" y="3664"/>
                        <a:pt x="18317" y="8748"/>
                      </a:cubicBezTo>
                      <a:close/>
                    </a:path>
                  </a:pathLst>
                </a:custGeom>
                <a:grpFill/>
                <a:ln w="5978" cap="flat">
                  <a:noFill/>
                  <a:prstDash val="solid"/>
                  <a:miter/>
                </a:ln>
              </p:spPr>
              <p:txBody>
                <a:bodyPr rtlCol="0" anchor="ctr"/>
                <a:lstStyle/>
                <a:p>
                  <a:endParaRPr lang="en-GB"/>
                </a:p>
              </p:txBody>
            </p:sp>
            <p:sp>
              <p:nvSpPr>
                <p:cNvPr id="2979" name="Vrije vorm: vorm 2978">
                  <a:extLst>
                    <a:ext uri="{FF2B5EF4-FFF2-40B4-BE49-F238E27FC236}">
                      <a16:creationId xmlns:a16="http://schemas.microsoft.com/office/drawing/2014/main" id="{BB053CF5-CA37-4F4B-9E65-AA3F365F0052}"/>
                    </a:ext>
                  </a:extLst>
                </p:cNvPr>
                <p:cNvSpPr/>
                <p:nvPr/>
              </p:nvSpPr>
              <p:spPr>
                <a:xfrm>
                  <a:off x="6156858" y="5375741"/>
                  <a:ext cx="18333" cy="18441"/>
                </a:xfrm>
                <a:custGeom>
                  <a:avLst/>
                  <a:gdLst>
                    <a:gd name="connsiteX0" fmla="*/ 18317 w 18333"/>
                    <a:gd name="connsiteY0" fmla="*/ 8742 h 18441"/>
                    <a:gd name="connsiteX1" fmla="*/ 8628 w 18333"/>
                    <a:gd name="connsiteY1" fmla="*/ 10 h 18441"/>
                    <a:gd name="connsiteX2" fmla="*/ 16 w 18333"/>
                    <a:gd name="connsiteY2" fmla="*/ 9699 h 18441"/>
                    <a:gd name="connsiteX3" fmla="*/ 9705 w 18333"/>
                    <a:gd name="connsiteY3" fmla="*/ 18431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018" y="3659"/>
                        <a:pt x="13712" y="-229"/>
                        <a:pt x="8628" y="10"/>
                      </a:cubicBezTo>
                      <a:cubicBezTo>
                        <a:pt x="3604" y="250"/>
                        <a:pt x="-283" y="4615"/>
                        <a:pt x="16" y="9699"/>
                      </a:cubicBezTo>
                      <a:cubicBezTo>
                        <a:pt x="315" y="14783"/>
                        <a:pt x="4621" y="18670"/>
                        <a:pt x="9705" y="18431"/>
                      </a:cubicBezTo>
                      <a:cubicBezTo>
                        <a:pt x="14788" y="18132"/>
                        <a:pt x="18616" y="13826"/>
                        <a:pt x="18317" y="8742"/>
                      </a:cubicBezTo>
                      <a:close/>
                    </a:path>
                  </a:pathLst>
                </a:custGeom>
                <a:grpFill/>
                <a:ln w="5978" cap="flat">
                  <a:noFill/>
                  <a:prstDash val="solid"/>
                  <a:miter/>
                </a:ln>
              </p:spPr>
              <p:txBody>
                <a:bodyPr rtlCol="0" anchor="ctr"/>
                <a:lstStyle/>
                <a:p>
                  <a:endParaRPr lang="en-GB"/>
                </a:p>
              </p:txBody>
            </p:sp>
          </p:grpSp>
          <p:grpSp>
            <p:nvGrpSpPr>
              <p:cNvPr id="807" name="Graphic 3">
                <a:extLst>
                  <a:ext uri="{FF2B5EF4-FFF2-40B4-BE49-F238E27FC236}">
                    <a16:creationId xmlns:a16="http://schemas.microsoft.com/office/drawing/2014/main" id="{E2A4E2C0-2450-477C-97D6-89FFCDD6A1A7}"/>
                  </a:ext>
                </a:extLst>
              </p:cNvPr>
              <p:cNvGrpSpPr/>
              <p:nvPr/>
            </p:nvGrpSpPr>
            <p:grpSpPr>
              <a:xfrm>
                <a:off x="6080976" y="5229104"/>
                <a:ext cx="20877" cy="150835"/>
                <a:chOff x="6080976" y="5229104"/>
                <a:chExt cx="20877" cy="150835"/>
              </a:xfrm>
              <a:grpFill/>
            </p:grpSpPr>
            <p:sp>
              <p:nvSpPr>
                <p:cNvPr id="2974" name="Vrije vorm: vorm 2973">
                  <a:extLst>
                    <a:ext uri="{FF2B5EF4-FFF2-40B4-BE49-F238E27FC236}">
                      <a16:creationId xmlns:a16="http://schemas.microsoft.com/office/drawing/2014/main" id="{95DD84A1-2C58-4302-A254-DD5CE4F0AFF5}"/>
                    </a:ext>
                  </a:extLst>
                </p:cNvPr>
                <p:cNvSpPr/>
                <p:nvPr/>
              </p:nvSpPr>
              <p:spPr>
                <a:xfrm>
                  <a:off x="6088634" y="5237836"/>
                  <a:ext cx="5562" cy="133429"/>
                </a:xfrm>
                <a:custGeom>
                  <a:avLst/>
                  <a:gdLst>
                    <a:gd name="connsiteX0" fmla="*/ 3050 w 5562"/>
                    <a:gd name="connsiteY0" fmla="*/ 0 h 133429"/>
                    <a:gd name="connsiteX1" fmla="*/ 5562 w 5562"/>
                    <a:gd name="connsiteY1" fmla="*/ 133370 h 133429"/>
                    <a:gd name="connsiteX2" fmla="*/ 2512 w 5562"/>
                    <a:gd name="connsiteY2" fmla="*/ 133430 h 133429"/>
                    <a:gd name="connsiteX3" fmla="*/ 0 w 5562"/>
                    <a:gd name="connsiteY3" fmla="*/ 60 h 133429"/>
                  </a:gdLst>
                  <a:ahLst/>
                  <a:cxnLst>
                    <a:cxn ang="0">
                      <a:pos x="connsiteX0" y="connsiteY0"/>
                    </a:cxn>
                    <a:cxn ang="0">
                      <a:pos x="connsiteX1" y="connsiteY1"/>
                    </a:cxn>
                    <a:cxn ang="0">
                      <a:pos x="connsiteX2" y="connsiteY2"/>
                    </a:cxn>
                    <a:cxn ang="0">
                      <a:pos x="connsiteX3" y="connsiteY3"/>
                    </a:cxn>
                  </a:cxnLst>
                  <a:rect l="l" t="t" r="r" b="b"/>
                  <a:pathLst>
                    <a:path w="5562" h="133429">
                      <a:moveTo>
                        <a:pt x="3050" y="0"/>
                      </a:moveTo>
                      <a:lnTo>
                        <a:pt x="5562" y="133370"/>
                      </a:lnTo>
                      <a:lnTo>
                        <a:pt x="2512" y="133430"/>
                      </a:lnTo>
                      <a:lnTo>
                        <a:pt x="0" y="60"/>
                      </a:lnTo>
                      <a:close/>
                    </a:path>
                  </a:pathLst>
                </a:custGeom>
                <a:grpFill/>
                <a:ln w="5978" cap="flat">
                  <a:noFill/>
                  <a:prstDash val="solid"/>
                  <a:miter/>
                </a:ln>
              </p:spPr>
              <p:txBody>
                <a:bodyPr rtlCol="0" anchor="ctr"/>
                <a:lstStyle/>
                <a:p>
                  <a:endParaRPr lang="en-GB"/>
                </a:p>
              </p:txBody>
            </p:sp>
            <p:sp>
              <p:nvSpPr>
                <p:cNvPr id="2975" name="Vrije vorm: vorm 2974">
                  <a:extLst>
                    <a:ext uri="{FF2B5EF4-FFF2-40B4-BE49-F238E27FC236}">
                      <a16:creationId xmlns:a16="http://schemas.microsoft.com/office/drawing/2014/main" id="{7102DB34-FEC1-4DC9-9504-5A043E853819}"/>
                    </a:ext>
                  </a:extLst>
                </p:cNvPr>
                <p:cNvSpPr/>
                <p:nvPr/>
              </p:nvSpPr>
              <p:spPr>
                <a:xfrm>
                  <a:off x="6083547" y="5361518"/>
                  <a:ext cx="18306" cy="18421"/>
                </a:xfrm>
                <a:custGeom>
                  <a:avLst/>
                  <a:gdLst>
                    <a:gd name="connsiteX0" fmla="*/ 18304 w 18306"/>
                    <a:gd name="connsiteY0" fmla="*/ 9091 h 18421"/>
                    <a:gd name="connsiteX1" fmla="*/ 9332 w 18306"/>
                    <a:gd name="connsiteY1" fmla="*/ 18421 h 18421"/>
                    <a:gd name="connsiteX2" fmla="*/ 3 w 18306"/>
                    <a:gd name="connsiteY2" fmla="*/ 9330 h 18421"/>
                    <a:gd name="connsiteX3" fmla="*/ 8974 w 18306"/>
                    <a:gd name="connsiteY3" fmla="*/ 0 h 18421"/>
                    <a:gd name="connsiteX4" fmla="*/ 18304 w 18306"/>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1">
                      <a:moveTo>
                        <a:pt x="18304" y="9091"/>
                      </a:moveTo>
                      <a:cubicBezTo>
                        <a:pt x="18423" y="14174"/>
                        <a:pt x="14356" y="18361"/>
                        <a:pt x="9332" y="18421"/>
                      </a:cubicBezTo>
                      <a:cubicBezTo>
                        <a:pt x="4249" y="18480"/>
                        <a:pt x="62" y="14413"/>
                        <a:pt x="3" y="9330"/>
                      </a:cubicBezTo>
                      <a:cubicBezTo>
                        <a:pt x="-117" y="4246"/>
                        <a:pt x="3950" y="60"/>
                        <a:pt x="8974" y="0"/>
                      </a:cubicBezTo>
                      <a:cubicBezTo>
                        <a:pt x="13998" y="0"/>
                        <a:pt x="18184" y="4007"/>
                        <a:pt x="18304" y="9091"/>
                      </a:cubicBezTo>
                      <a:close/>
                    </a:path>
                  </a:pathLst>
                </a:custGeom>
                <a:grpFill/>
                <a:ln w="5978" cap="flat">
                  <a:noFill/>
                  <a:prstDash val="solid"/>
                  <a:miter/>
                </a:ln>
              </p:spPr>
              <p:txBody>
                <a:bodyPr rtlCol="0" anchor="ctr"/>
                <a:lstStyle/>
                <a:p>
                  <a:endParaRPr lang="en-GB"/>
                </a:p>
              </p:txBody>
            </p:sp>
            <p:sp>
              <p:nvSpPr>
                <p:cNvPr id="2976" name="Vrije vorm: vorm 2975">
                  <a:extLst>
                    <a:ext uri="{FF2B5EF4-FFF2-40B4-BE49-F238E27FC236}">
                      <a16:creationId xmlns:a16="http://schemas.microsoft.com/office/drawing/2014/main" id="{E2921BF9-45BF-4322-91BE-8D7C8255B651}"/>
                    </a:ext>
                  </a:extLst>
                </p:cNvPr>
                <p:cNvSpPr/>
                <p:nvPr/>
              </p:nvSpPr>
              <p:spPr>
                <a:xfrm>
                  <a:off x="6080976" y="5229104"/>
                  <a:ext cx="18306" cy="18422"/>
                </a:xfrm>
                <a:custGeom>
                  <a:avLst/>
                  <a:gdLst>
                    <a:gd name="connsiteX0" fmla="*/ 18304 w 18306"/>
                    <a:gd name="connsiteY0" fmla="*/ 9091 h 18422"/>
                    <a:gd name="connsiteX1" fmla="*/ 8974 w 18306"/>
                    <a:gd name="connsiteY1" fmla="*/ 1 h 18422"/>
                    <a:gd name="connsiteX2" fmla="*/ 3 w 18306"/>
                    <a:gd name="connsiteY2" fmla="*/ 9331 h 18422"/>
                    <a:gd name="connsiteX3" fmla="*/ 9333 w 18306"/>
                    <a:gd name="connsiteY3" fmla="*/ 1842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184" y="4008"/>
                        <a:pt x="13998" y="-59"/>
                        <a:pt x="8974" y="1"/>
                      </a:cubicBezTo>
                      <a:cubicBezTo>
                        <a:pt x="3890" y="61"/>
                        <a:pt x="-117" y="4247"/>
                        <a:pt x="3" y="9331"/>
                      </a:cubicBezTo>
                      <a:cubicBezTo>
                        <a:pt x="122" y="14414"/>
                        <a:pt x="4309" y="18481"/>
                        <a:pt x="9333" y="18421"/>
                      </a:cubicBezTo>
                      <a:cubicBezTo>
                        <a:pt x="14356" y="18362"/>
                        <a:pt x="18423" y="14175"/>
                        <a:pt x="18304" y="9091"/>
                      </a:cubicBezTo>
                      <a:close/>
                    </a:path>
                  </a:pathLst>
                </a:custGeom>
                <a:grpFill/>
                <a:ln w="5978" cap="flat">
                  <a:noFill/>
                  <a:prstDash val="solid"/>
                  <a:miter/>
                </a:ln>
              </p:spPr>
              <p:txBody>
                <a:bodyPr rtlCol="0" anchor="ctr"/>
                <a:lstStyle/>
                <a:p>
                  <a:endParaRPr lang="en-GB"/>
                </a:p>
              </p:txBody>
            </p:sp>
          </p:grpSp>
          <p:grpSp>
            <p:nvGrpSpPr>
              <p:cNvPr id="808" name="Graphic 3">
                <a:extLst>
                  <a:ext uri="{FF2B5EF4-FFF2-40B4-BE49-F238E27FC236}">
                    <a16:creationId xmlns:a16="http://schemas.microsoft.com/office/drawing/2014/main" id="{ECE6A731-1C63-40AA-BAD8-E882874DE536}"/>
                  </a:ext>
                </a:extLst>
              </p:cNvPr>
              <p:cNvGrpSpPr/>
              <p:nvPr/>
            </p:nvGrpSpPr>
            <p:grpSpPr>
              <a:xfrm>
                <a:off x="4912515" y="1824932"/>
                <a:ext cx="42635" cy="52360"/>
                <a:chOff x="4912515" y="1824932"/>
                <a:chExt cx="42635" cy="52360"/>
              </a:xfrm>
              <a:grpFill/>
            </p:grpSpPr>
            <p:sp>
              <p:nvSpPr>
                <p:cNvPr id="2971" name="Vrije vorm: vorm 2970">
                  <a:extLst>
                    <a:ext uri="{FF2B5EF4-FFF2-40B4-BE49-F238E27FC236}">
                      <a16:creationId xmlns:a16="http://schemas.microsoft.com/office/drawing/2014/main" id="{60AD450E-5A1A-4981-B366-1F1DEB26C8D0}"/>
                    </a:ext>
                  </a:extLst>
                </p:cNvPr>
                <p:cNvSpPr/>
                <p:nvPr/>
              </p:nvSpPr>
              <p:spPr>
                <a:xfrm>
                  <a:off x="4920180" y="1832952"/>
                  <a:ext cx="27272" cy="36362"/>
                </a:xfrm>
                <a:custGeom>
                  <a:avLst/>
                  <a:gdLst>
                    <a:gd name="connsiteX0" fmla="*/ 27272 w 27272"/>
                    <a:gd name="connsiteY0" fmla="*/ 34569 h 36362"/>
                    <a:gd name="connsiteX1" fmla="*/ 24820 w 27272"/>
                    <a:gd name="connsiteY1" fmla="*/ 36363 h 36362"/>
                    <a:gd name="connsiteX2" fmla="*/ 0 w 27272"/>
                    <a:gd name="connsiteY2" fmla="*/ 1734 h 36362"/>
                    <a:gd name="connsiteX3" fmla="*/ 2512 w 27272"/>
                    <a:gd name="connsiteY3" fmla="*/ 0 h 36362"/>
                  </a:gdLst>
                  <a:ahLst/>
                  <a:cxnLst>
                    <a:cxn ang="0">
                      <a:pos x="connsiteX0" y="connsiteY0"/>
                    </a:cxn>
                    <a:cxn ang="0">
                      <a:pos x="connsiteX1" y="connsiteY1"/>
                    </a:cxn>
                    <a:cxn ang="0">
                      <a:pos x="connsiteX2" y="connsiteY2"/>
                    </a:cxn>
                    <a:cxn ang="0">
                      <a:pos x="connsiteX3" y="connsiteY3"/>
                    </a:cxn>
                  </a:cxnLst>
                  <a:rect l="l" t="t" r="r" b="b"/>
                  <a:pathLst>
                    <a:path w="27272" h="36362">
                      <a:moveTo>
                        <a:pt x="27272" y="34569"/>
                      </a:moveTo>
                      <a:lnTo>
                        <a:pt x="24820" y="36363"/>
                      </a:lnTo>
                      <a:lnTo>
                        <a:pt x="0" y="1734"/>
                      </a:lnTo>
                      <a:lnTo>
                        <a:pt x="2512" y="0"/>
                      </a:lnTo>
                      <a:close/>
                    </a:path>
                  </a:pathLst>
                </a:custGeom>
                <a:grpFill/>
                <a:ln w="5978" cap="flat">
                  <a:noFill/>
                  <a:prstDash val="solid"/>
                  <a:miter/>
                </a:ln>
              </p:spPr>
              <p:txBody>
                <a:bodyPr rtlCol="0" anchor="ctr"/>
                <a:lstStyle/>
                <a:p>
                  <a:endParaRPr lang="en-GB"/>
                </a:p>
              </p:txBody>
            </p:sp>
            <p:sp>
              <p:nvSpPr>
                <p:cNvPr id="2972" name="Vrije vorm: vorm 2971">
                  <a:extLst>
                    <a:ext uri="{FF2B5EF4-FFF2-40B4-BE49-F238E27FC236}">
                      <a16:creationId xmlns:a16="http://schemas.microsoft.com/office/drawing/2014/main" id="{7F405CA1-3E28-4AF2-ACE5-2E1574F2F2B0}"/>
                    </a:ext>
                  </a:extLst>
                </p:cNvPr>
                <p:cNvSpPr/>
                <p:nvPr/>
              </p:nvSpPr>
              <p:spPr>
                <a:xfrm>
                  <a:off x="4912515" y="1824932"/>
                  <a:ext cx="18379" cy="18492"/>
                </a:xfrm>
                <a:custGeom>
                  <a:avLst/>
                  <a:gdLst>
                    <a:gd name="connsiteX0" fmla="*/ 1744 w 18379"/>
                    <a:gd name="connsiteY0" fmla="*/ 14599 h 18492"/>
                    <a:gd name="connsiteX1" fmla="*/ 3837 w 18379"/>
                    <a:gd name="connsiteY1" fmla="*/ 1740 h 18492"/>
                    <a:gd name="connsiteX2" fmla="*/ 16636 w 18379"/>
                    <a:gd name="connsiteY2" fmla="*/ 3893 h 18492"/>
                    <a:gd name="connsiteX3" fmla="*/ 14543 w 18379"/>
                    <a:gd name="connsiteY3" fmla="*/ 16752 h 18492"/>
                    <a:gd name="connsiteX4" fmla="*/ 1744 w 18379"/>
                    <a:gd name="connsiteY4" fmla="*/ 14599 h 18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92">
                      <a:moveTo>
                        <a:pt x="1744" y="14599"/>
                      </a:moveTo>
                      <a:cubicBezTo>
                        <a:pt x="-1247" y="10472"/>
                        <a:pt x="-289" y="4731"/>
                        <a:pt x="3837" y="1740"/>
                      </a:cubicBezTo>
                      <a:cubicBezTo>
                        <a:pt x="7964" y="-1250"/>
                        <a:pt x="13645" y="-293"/>
                        <a:pt x="16636" y="3893"/>
                      </a:cubicBezTo>
                      <a:cubicBezTo>
                        <a:pt x="19626" y="8020"/>
                        <a:pt x="18669" y="13761"/>
                        <a:pt x="14543" y="16752"/>
                      </a:cubicBezTo>
                      <a:cubicBezTo>
                        <a:pt x="10416" y="19742"/>
                        <a:pt x="4734" y="18785"/>
                        <a:pt x="1744" y="14599"/>
                      </a:cubicBezTo>
                      <a:close/>
                    </a:path>
                  </a:pathLst>
                </a:custGeom>
                <a:grpFill/>
                <a:ln w="5978" cap="flat">
                  <a:noFill/>
                  <a:prstDash val="solid"/>
                  <a:miter/>
                </a:ln>
              </p:spPr>
              <p:txBody>
                <a:bodyPr rtlCol="0" anchor="ctr"/>
                <a:lstStyle/>
                <a:p>
                  <a:endParaRPr lang="en-GB"/>
                </a:p>
              </p:txBody>
            </p:sp>
            <p:sp>
              <p:nvSpPr>
                <p:cNvPr id="2973" name="Vrije vorm: vorm 2972">
                  <a:extLst>
                    <a:ext uri="{FF2B5EF4-FFF2-40B4-BE49-F238E27FC236}">
                      <a16:creationId xmlns:a16="http://schemas.microsoft.com/office/drawing/2014/main" id="{3C2B40BE-CC75-4131-B0B5-7487F3A4C562}"/>
                    </a:ext>
                  </a:extLst>
                </p:cNvPr>
                <p:cNvSpPr/>
                <p:nvPr/>
              </p:nvSpPr>
              <p:spPr>
                <a:xfrm>
                  <a:off x="4936797" y="1858885"/>
                  <a:ext cx="18353" cy="18406"/>
                </a:xfrm>
                <a:custGeom>
                  <a:avLst/>
                  <a:gdLst>
                    <a:gd name="connsiteX0" fmla="*/ 1744 w 18353"/>
                    <a:gd name="connsiteY0" fmla="*/ 14556 h 18406"/>
                    <a:gd name="connsiteX1" fmla="*/ 14543 w 18353"/>
                    <a:gd name="connsiteY1" fmla="*/ 16709 h 18406"/>
                    <a:gd name="connsiteX2" fmla="*/ 16636 w 18353"/>
                    <a:gd name="connsiteY2" fmla="*/ 3851 h 18406"/>
                    <a:gd name="connsiteX3" fmla="*/ 3837 w 18353"/>
                    <a:gd name="connsiteY3" fmla="*/ 1697 h 18406"/>
                    <a:gd name="connsiteX4" fmla="*/ 1744 w 18353"/>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6">
                      <a:moveTo>
                        <a:pt x="1744" y="14556"/>
                      </a:moveTo>
                      <a:cubicBezTo>
                        <a:pt x="4734" y="18683"/>
                        <a:pt x="10416" y="19640"/>
                        <a:pt x="14543" y="16709"/>
                      </a:cubicBezTo>
                      <a:cubicBezTo>
                        <a:pt x="18669" y="13719"/>
                        <a:pt x="19567" y="7977"/>
                        <a:pt x="16636" y="3851"/>
                      </a:cubicBezTo>
                      <a:cubicBezTo>
                        <a:pt x="13646" y="-276"/>
                        <a:pt x="7964" y="-1233"/>
                        <a:pt x="3837" y="1697"/>
                      </a:cubicBezTo>
                      <a:cubicBezTo>
                        <a:pt x="-289" y="4628"/>
                        <a:pt x="-1247" y="10429"/>
                        <a:pt x="1744" y="14556"/>
                      </a:cubicBezTo>
                      <a:close/>
                    </a:path>
                  </a:pathLst>
                </a:custGeom>
                <a:grpFill/>
                <a:ln w="5978" cap="flat">
                  <a:noFill/>
                  <a:prstDash val="solid"/>
                  <a:miter/>
                </a:ln>
              </p:spPr>
              <p:txBody>
                <a:bodyPr rtlCol="0" anchor="ctr"/>
                <a:lstStyle/>
                <a:p>
                  <a:endParaRPr lang="en-GB"/>
                </a:p>
              </p:txBody>
            </p:sp>
          </p:grpSp>
          <p:grpSp>
            <p:nvGrpSpPr>
              <p:cNvPr id="809" name="Graphic 3">
                <a:extLst>
                  <a:ext uri="{FF2B5EF4-FFF2-40B4-BE49-F238E27FC236}">
                    <a16:creationId xmlns:a16="http://schemas.microsoft.com/office/drawing/2014/main" id="{30A20CF7-E1AC-4B7A-85EC-246F33C50175}"/>
                  </a:ext>
                </a:extLst>
              </p:cNvPr>
              <p:cNvGrpSpPr/>
              <p:nvPr/>
            </p:nvGrpSpPr>
            <p:grpSpPr>
              <a:xfrm>
                <a:off x="6047128" y="5095973"/>
                <a:ext cx="18360" cy="144494"/>
                <a:chOff x="6047128" y="5095973"/>
                <a:chExt cx="18360" cy="144494"/>
              </a:xfrm>
              <a:grpFill/>
            </p:grpSpPr>
            <p:sp>
              <p:nvSpPr>
                <p:cNvPr id="2968" name="Vrije vorm: vorm 2967">
                  <a:extLst>
                    <a:ext uri="{FF2B5EF4-FFF2-40B4-BE49-F238E27FC236}">
                      <a16:creationId xmlns:a16="http://schemas.microsoft.com/office/drawing/2014/main" id="{185BACC2-FAC1-4E0E-8CD6-1CEFEC6B20FF}"/>
                    </a:ext>
                  </a:extLst>
                </p:cNvPr>
                <p:cNvSpPr/>
                <p:nvPr/>
              </p:nvSpPr>
              <p:spPr>
                <a:xfrm>
                  <a:off x="6054723" y="5104765"/>
                  <a:ext cx="3169" cy="126910"/>
                </a:xfrm>
                <a:custGeom>
                  <a:avLst/>
                  <a:gdLst>
                    <a:gd name="connsiteX0" fmla="*/ 3050 w 3169"/>
                    <a:gd name="connsiteY0" fmla="*/ 0 h 126910"/>
                    <a:gd name="connsiteX1" fmla="*/ 3170 w 3169"/>
                    <a:gd name="connsiteY1" fmla="*/ 126911 h 126910"/>
                    <a:gd name="connsiteX2" fmla="*/ 120 w 3169"/>
                    <a:gd name="connsiteY2" fmla="*/ 126911 h 126910"/>
                    <a:gd name="connsiteX3" fmla="*/ 0 w 3169"/>
                    <a:gd name="connsiteY3" fmla="*/ 0 h 126910"/>
                  </a:gdLst>
                  <a:ahLst/>
                  <a:cxnLst>
                    <a:cxn ang="0">
                      <a:pos x="connsiteX0" y="connsiteY0"/>
                    </a:cxn>
                    <a:cxn ang="0">
                      <a:pos x="connsiteX1" y="connsiteY1"/>
                    </a:cxn>
                    <a:cxn ang="0">
                      <a:pos x="connsiteX2" y="connsiteY2"/>
                    </a:cxn>
                    <a:cxn ang="0">
                      <a:pos x="connsiteX3" y="connsiteY3"/>
                    </a:cxn>
                  </a:cxnLst>
                  <a:rect l="l" t="t" r="r" b="b"/>
                  <a:pathLst>
                    <a:path w="3169" h="126910">
                      <a:moveTo>
                        <a:pt x="3050" y="0"/>
                      </a:moveTo>
                      <a:lnTo>
                        <a:pt x="3170" y="126911"/>
                      </a:lnTo>
                      <a:lnTo>
                        <a:pt x="120" y="126911"/>
                      </a:lnTo>
                      <a:lnTo>
                        <a:pt x="0" y="0"/>
                      </a:lnTo>
                      <a:close/>
                    </a:path>
                  </a:pathLst>
                </a:custGeom>
                <a:grpFill/>
                <a:ln w="5978" cap="flat">
                  <a:noFill/>
                  <a:prstDash val="solid"/>
                  <a:miter/>
                </a:ln>
              </p:spPr>
              <p:txBody>
                <a:bodyPr rtlCol="0" anchor="ctr"/>
                <a:lstStyle/>
                <a:p>
                  <a:endParaRPr lang="en-GB"/>
                </a:p>
              </p:txBody>
            </p:sp>
            <p:sp>
              <p:nvSpPr>
                <p:cNvPr id="2969" name="Vrije vorm: vorm 2968">
                  <a:extLst>
                    <a:ext uri="{FF2B5EF4-FFF2-40B4-BE49-F238E27FC236}">
                      <a16:creationId xmlns:a16="http://schemas.microsoft.com/office/drawing/2014/main" id="{0FF1D7CA-5D13-4C4E-A65F-D6B970F4FD3F}"/>
                    </a:ext>
                  </a:extLst>
                </p:cNvPr>
                <p:cNvSpPr/>
                <p:nvPr/>
              </p:nvSpPr>
              <p:spPr>
                <a:xfrm>
                  <a:off x="6047187" y="5221987"/>
                  <a:ext cx="18300" cy="18480"/>
                </a:xfrm>
                <a:custGeom>
                  <a:avLst/>
                  <a:gdLst>
                    <a:gd name="connsiteX0" fmla="*/ 18301 w 18300"/>
                    <a:gd name="connsiteY0" fmla="*/ 9270 h 18480"/>
                    <a:gd name="connsiteX1" fmla="*/ 9151 w 18300"/>
                    <a:gd name="connsiteY1" fmla="*/ 18481 h 18480"/>
                    <a:gd name="connsiteX2" fmla="*/ 0 w 18300"/>
                    <a:gd name="connsiteY2" fmla="*/ 9211 h 18480"/>
                    <a:gd name="connsiteX3" fmla="*/ 9151 w 18300"/>
                    <a:gd name="connsiteY3" fmla="*/ 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14354"/>
                        <a:pt x="14175" y="18481"/>
                        <a:pt x="9151" y="18481"/>
                      </a:cubicBezTo>
                      <a:cubicBezTo>
                        <a:pt x="4067" y="18481"/>
                        <a:pt x="0" y="14354"/>
                        <a:pt x="0" y="9211"/>
                      </a:cubicBezTo>
                      <a:cubicBezTo>
                        <a:pt x="0" y="4127"/>
                        <a:pt x="4127" y="0"/>
                        <a:pt x="9151" y="0"/>
                      </a:cubicBezTo>
                      <a:cubicBezTo>
                        <a:pt x="14234" y="60"/>
                        <a:pt x="18301" y="4187"/>
                        <a:pt x="18301" y="9270"/>
                      </a:cubicBezTo>
                      <a:close/>
                    </a:path>
                  </a:pathLst>
                </a:custGeom>
                <a:grpFill/>
                <a:ln w="5978" cap="flat">
                  <a:noFill/>
                  <a:prstDash val="solid"/>
                  <a:miter/>
                </a:ln>
              </p:spPr>
              <p:txBody>
                <a:bodyPr rtlCol="0" anchor="ctr"/>
                <a:lstStyle/>
                <a:p>
                  <a:endParaRPr lang="en-GB"/>
                </a:p>
              </p:txBody>
            </p:sp>
            <p:sp>
              <p:nvSpPr>
                <p:cNvPr id="2970" name="Vrije vorm: vorm 2969">
                  <a:extLst>
                    <a:ext uri="{FF2B5EF4-FFF2-40B4-BE49-F238E27FC236}">
                      <a16:creationId xmlns:a16="http://schemas.microsoft.com/office/drawing/2014/main" id="{1B90ECC7-34A0-4B6E-99FF-AC9922D83304}"/>
                    </a:ext>
                  </a:extLst>
                </p:cNvPr>
                <p:cNvSpPr/>
                <p:nvPr/>
              </p:nvSpPr>
              <p:spPr>
                <a:xfrm>
                  <a:off x="6047128" y="5095973"/>
                  <a:ext cx="18300" cy="18480"/>
                </a:xfrm>
                <a:custGeom>
                  <a:avLst/>
                  <a:gdLst>
                    <a:gd name="connsiteX0" fmla="*/ 18301 w 18300"/>
                    <a:gd name="connsiteY0" fmla="*/ 9270 h 18480"/>
                    <a:gd name="connsiteX1" fmla="*/ 9150 w 18300"/>
                    <a:gd name="connsiteY1" fmla="*/ 0 h 18480"/>
                    <a:gd name="connsiteX2" fmla="*/ 0 w 18300"/>
                    <a:gd name="connsiteY2" fmla="*/ 9211 h 18480"/>
                    <a:gd name="connsiteX3" fmla="*/ 9150 w 18300"/>
                    <a:gd name="connsiteY3" fmla="*/ 18481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4187"/>
                        <a:pt x="14174" y="60"/>
                        <a:pt x="9150" y="0"/>
                      </a:cubicBezTo>
                      <a:cubicBezTo>
                        <a:pt x="4067" y="0"/>
                        <a:pt x="0" y="4067"/>
                        <a:pt x="0" y="9211"/>
                      </a:cubicBezTo>
                      <a:cubicBezTo>
                        <a:pt x="0" y="14294"/>
                        <a:pt x="4127" y="18421"/>
                        <a:pt x="9150" y="18481"/>
                      </a:cubicBezTo>
                      <a:cubicBezTo>
                        <a:pt x="14234" y="18481"/>
                        <a:pt x="18301" y="14354"/>
                        <a:pt x="18301" y="9270"/>
                      </a:cubicBezTo>
                      <a:close/>
                    </a:path>
                  </a:pathLst>
                </a:custGeom>
                <a:grpFill/>
                <a:ln w="5978" cap="flat">
                  <a:noFill/>
                  <a:prstDash val="solid"/>
                  <a:miter/>
                </a:ln>
              </p:spPr>
              <p:txBody>
                <a:bodyPr rtlCol="0" anchor="ctr"/>
                <a:lstStyle/>
                <a:p>
                  <a:endParaRPr lang="en-GB"/>
                </a:p>
              </p:txBody>
            </p:sp>
          </p:grpSp>
          <p:grpSp>
            <p:nvGrpSpPr>
              <p:cNvPr id="810" name="Graphic 3">
                <a:extLst>
                  <a:ext uri="{FF2B5EF4-FFF2-40B4-BE49-F238E27FC236}">
                    <a16:creationId xmlns:a16="http://schemas.microsoft.com/office/drawing/2014/main" id="{26B55340-18F2-48A2-9781-0F7F8F664ED1}"/>
                  </a:ext>
                </a:extLst>
              </p:cNvPr>
              <p:cNvGrpSpPr/>
              <p:nvPr/>
            </p:nvGrpSpPr>
            <p:grpSpPr>
              <a:xfrm>
                <a:off x="4797801" y="1594686"/>
                <a:ext cx="184531" cy="259790"/>
                <a:chOff x="4797801" y="1594686"/>
                <a:chExt cx="184531" cy="259790"/>
              </a:xfrm>
              <a:grpFill/>
            </p:grpSpPr>
            <p:sp>
              <p:nvSpPr>
                <p:cNvPr id="2965" name="Vrije vorm: vorm 2964">
                  <a:extLst>
                    <a:ext uri="{FF2B5EF4-FFF2-40B4-BE49-F238E27FC236}">
                      <a16:creationId xmlns:a16="http://schemas.microsoft.com/office/drawing/2014/main" id="{6A07E8A5-6206-46BB-BFA5-E01F1FB687DD}"/>
                    </a:ext>
                  </a:extLst>
                </p:cNvPr>
                <p:cNvSpPr/>
                <p:nvPr/>
              </p:nvSpPr>
              <p:spPr>
                <a:xfrm>
                  <a:off x="4805470" y="1602634"/>
                  <a:ext cx="169194" cy="243893"/>
                </a:xfrm>
                <a:custGeom>
                  <a:avLst/>
                  <a:gdLst>
                    <a:gd name="connsiteX0" fmla="*/ 169195 w 169194"/>
                    <a:gd name="connsiteY0" fmla="*/ 242159 h 243893"/>
                    <a:gd name="connsiteX1" fmla="*/ 166683 w 169194"/>
                    <a:gd name="connsiteY1" fmla="*/ 243894 h 243893"/>
                    <a:gd name="connsiteX2" fmla="*/ 0 w 169194"/>
                    <a:gd name="connsiteY2" fmla="*/ 1734 h 243893"/>
                    <a:gd name="connsiteX3" fmla="*/ 2512 w 169194"/>
                    <a:gd name="connsiteY3" fmla="*/ 0 h 243893"/>
                  </a:gdLst>
                  <a:ahLst/>
                  <a:cxnLst>
                    <a:cxn ang="0">
                      <a:pos x="connsiteX0" y="connsiteY0"/>
                    </a:cxn>
                    <a:cxn ang="0">
                      <a:pos x="connsiteX1" y="connsiteY1"/>
                    </a:cxn>
                    <a:cxn ang="0">
                      <a:pos x="connsiteX2" y="connsiteY2"/>
                    </a:cxn>
                    <a:cxn ang="0">
                      <a:pos x="connsiteX3" y="connsiteY3"/>
                    </a:cxn>
                  </a:cxnLst>
                  <a:rect l="l" t="t" r="r" b="b"/>
                  <a:pathLst>
                    <a:path w="169194" h="243893">
                      <a:moveTo>
                        <a:pt x="169195" y="242159"/>
                      </a:moveTo>
                      <a:lnTo>
                        <a:pt x="166683" y="243894"/>
                      </a:lnTo>
                      <a:lnTo>
                        <a:pt x="0" y="1734"/>
                      </a:lnTo>
                      <a:lnTo>
                        <a:pt x="2512" y="0"/>
                      </a:lnTo>
                      <a:close/>
                    </a:path>
                  </a:pathLst>
                </a:custGeom>
                <a:grpFill/>
                <a:ln w="5978" cap="flat">
                  <a:noFill/>
                  <a:prstDash val="solid"/>
                  <a:miter/>
                </a:ln>
              </p:spPr>
              <p:txBody>
                <a:bodyPr rtlCol="0" anchor="ctr"/>
                <a:lstStyle/>
                <a:p>
                  <a:endParaRPr lang="en-GB"/>
                </a:p>
              </p:txBody>
            </p:sp>
            <p:sp>
              <p:nvSpPr>
                <p:cNvPr id="2966" name="Vrije vorm: vorm 2965">
                  <a:extLst>
                    <a:ext uri="{FF2B5EF4-FFF2-40B4-BE49-F238E27FC236}">
                      <a16:creationId xmlns:a16="http://schemas.microsoft.com/office/drawing/2014/main" id="{22929D40-3CA0-457A-96A2-3F5D2672086E}"/>
                    </a:ext>
                  </a:extLst>
                </p:cNvPr>
                <p:cNvSpPr/>
                <p:nvPr/>
              </p:nvSpPr>
              <p:spPr>
                <a:xfrm>
                  <a:off x="4797801" y="1594686"/>
                  <a:ext cx="18327" cy="18408"/>
                </a:xfrm>
                <a:custGeom>
                  <a:avLst/>
                  <a:gdLst>
                    <a:gd name="connsiteX0" fmla="*/ 1628 w 18327"/>
                    <a:gd name="connsiteY0" fmla="*/ 14407 h 18408"/>
                    <a:gd name="connsiteX1" fmla="*/ 3960 w 18327"/>
                    <a:gd name="connsiteY1" fmla="*/ 1609 h 18408"/>
                    <a:gd name="connsiteX2" fmla="*/ 16699 w 18327"/>
                    <a:gd name="connsiteY2" fmla="*/ 4001 h 18408"/>
                    <a:gd name="connsiteX3" fmla="*/ 14367 w 18327"/>
                    <a:gd name="connsiteY3" fmla="*/ 16800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1243" y="10221"/>
                        <a:pt x="-226" y="4479"/>
                        <a:pt x="3960" y="1609"/>
                      </a:cubicBezTo>
                      <a:cubicBezTo>
                        <a:pt x="8147" y="-1262"/>
                        <a:pt x="13829" y="-186"/>
                        <a:pt x="16699" y="4001"/>
                      </a:cubicBezTo>
                      <a:cubicBezTo>
                        <a:pt x="19570" y="8187"/>
                        <a:pt x="18553" y="13929"/>
                        <a:pt x="14367" y="16800"/>
                      </a:cubicBezTo>
                      <a:cubicBezTo>
                        <a:pt x="10240" y="19670"/>
                        <a:pt x="4559" y="18594"/>
                        <a:pt x="1628" y="14407"/>
                      </a:cubicBezTo>
                      <a:close/>
                    </a:path>
                  </a:pathLst>
                </a:custGeom>
                <a:grpFill/>
                <a:ln w="5978" cap="flat">
                  <a:noFill/>
                  <a:prstDash val="solid"/>
                  <a:miter/>
                </a:ln>
              </p:spPr>
              <p:txBody>
                <a:bodyPr rtlCol="0" anchor="ctr"/>
                <a:lstStyle/>
                <a:p>
                  <a:endParaRPr lang="en-GB"/>
                </a:p>
              </p:txBody>
            </p:sp>
            <p:sp>
              <p:nvSpPr>
                <p:cNvPr id="2967" name="Vrije vorm: vorm 2966">
                  <a:extLst>
                    <a:ext uri="{FF2B5EF4-FFF2-40B4-BE49-F238E27FC236}">
                      <a16:creationId xmlns:a16="http://schemas.microsoft.com/office/drawing/2014/main" id="{27288BD4-1D95-4B4C-AF16-F7D0664F652B}"/>
                    </a:ext>
                  </a:extLst>
                </p:cNvPr>
                <p:cNvSpPr/>
                <p:nvPr/>
              </p:nvSpPr>
              <p:spPr>
                <a:xfrm>
                  <a:off x="4964005" y="1836068"/>
                  <a:ext cx="18327" cy="18408"/>
                </a:xfrm>
                <a:custGeom>
                  <a:avLst/>
                  <a:gdLst>
                    <a:gd name="connsiteX0" fmla="*/ 1628 w 18327"/>
                    <a:gd name="connsiteY0" fmla="*/ 14407 h 18408"/>
                    <a:gd name="connsiteX1" fmla="*/ 14367 w 18327"/>
                    <a:gd name="connsiteY1" fmla="*/ 16800 h 18408"/>
                    <a:gd name="connsiteX2" fmla="*/ 16700 w 18327"/>
                    <a:gd name="connsiteY2" fmla="*/ 4001 h 18408"/>
                    <a:gd name="connsiteX3" fmla="*/ 3961 w 18327"/>
                    <a:gd name="connsiteY3" fmla="*/ 1609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4499" y="18594"/>
                        <a:pt x="10240" y="19670"/>
                        <a:pt x="14367" y="16800"/>
                      </a:cubicBezTo>
                      <a:cubicBezTo>
                        <a:pt x="18554" y="13929"/>
                        <a:pt x="19570" y="8187"/>
                        <a:pt x="16700" y="4001"/>
                      </a:cubicBezTo>
                      <a:cubicBezTo>
                        <a:pt x="13829" y="-186"/>
                        <a:pt x="8087" y="-1262"/>
                        <a:pt x="3961" y="1609"/>
                      </a:cubicBezTo>
                      <a:cubicBezTo>
                        <a:pt x="-226" y="4539"/>
                        <a:pt x="-1243" y="10221"/>
                        <a:pt x="1628" y="14407"/>
                      </a:cubicBezTo>
                      <a:close/>
                    </a:path>
                  </a:pathLst>
                </a:custGeom>
                <a:grpFill/>
                <a:ln w="5978" cap="flat">
                  <a:noFill/>
                  <a:prstDash val="solid"/>
                  <a:miter/>
                </a:ln>
              </p:spPr>
              <p:txBody>
                <a:bodyPr rtlCol="0" anchor="ctr"/>
                <a:lstStyle/>
                <a:p>
                  <a:endParaRPr lang="en-GB"/>
                </a:p>
              </p:txBody>
            </p:sp>
          </p:grpSp>
          <p:grpSp>
            <p:nvGrpSpPr>
              <p:cNvPr id="811" name="Graphic 3">
                <a:extLst>
                  <a:ext uri="{FF2B5EF4-FFF2-40B4-BE49-F238E27FC236}">
                    <a16:creationId xmlns:a16="http://schemas.microsoft.com/office/drawing/2014/main" id="{689DCDD8-CC1E-4320-86BC-A301775B2EB6}"/>
                  </a:ext>
                </a:extLst>
              </p:cNvPr>
              <p:cNvGrpSpPr/>
              <p:nvPr/>
            </p:nvGrpSpPr>
            <p:grpSpPr>
              <a:xfrm>
                <a:off x="4789933" y="1508829"/>
                <a:ext cx="64806" cy="88663"/>
                <a:chOff x="4789933" y="1508829"/>
                <a:chExt cx="64806" cy="88663"/>
              </a:xfrm>
              <a:grpFill/>
            </p:grpSpPr>
            <p:sp>
              <p:nvSpPr>
                <p:cNvPr id="2962" name="Vrije vorm: vorm 2961">
                  <a:extLst>
                    <a:ext uri="{FF2B5EF4-FFF2-40B4-BE49-F238E27FC236}">
                      <a16:creationId xmlns:a16="http://schemas.microsoft.com/office/drawing/2014/main" id="{CDE00C4D-FB2A-4096-9AA0-27D3B4602CD3}"/>
                    </a:ext>
                  </a:extLst>
                </p:cNvPr>
                <p:cNvSpPr/>
                <p:nvPr/>
              </p:nvSpPr>
              <p:spPr>
                <a:xfrm>
                  <a:off x="4797575" y="1516751"/>
                  <a:ext cx="49520" cy="72725"/>
                </a:xfrm>
                <a:custGeom>
                  <a:avLst/>
                  <a:gdLst>
                    <a:gd name="connsiteX0" fmla="*/ 49521 w 49520"/>
                    <a:gd name="connsiteY0" fmla="*/ 71051 h 72725"/>
                    <a:gd name="connsiteX1" fmla="*/ 46949 w 49520"/>
                    <a:gd name="connsiteY1" fmla="*/ 72726 h 72725"/>
                    <a:gd name="connsiteX2" fmla="*/ 0 w 49520"/>
                    <a:gd name="connsiteY2" fmla="*/ 1675 h 72725"/>
                    <a:gd name="connsiteX3" fmla="*/ 2512 w 49520"/>
                    <a:gd name="connsiteY3" fmla="*/ 0 h 72725"/>
                  </a:gdLst>
                  <a:ahLst/>
                  <a:cxnLst>
                    <a:cxn ang="0">
                      <a:pos x="connsiteX0" y="connsiteY0"/>
                    </a:cxn>
                    <a:cxn ang="0">
                      <a:pos x="connsiteX1" y="connsiteY1"/>
                    </a:cxn>
                    <a:cxn ang="0">
                      <a:pos x="connsiteX2" y="connsiteY2"/>
                    </a:cxn>
                    <a:cxn ang="0">
                      <a:pos x="connsiteX3" y="connsiteY3"/>
                    </a:cxn>
                  </a:cxnLst>
                  <a:rect l="l" t="t" r="r" b="b"/>
                  <a:pathLst>
                    <a:path w="49520" h="72725">
                      <a:moveTo>
                        <a:pt x="49521" y="71051"/>
                      </a:moveTo>
                      <a:lnTo>
                        <a:pt x="46949" y="72726"/>
                      </a:lnTo>
                      <a:lnTo>
                        <a:pt x="0" y="1675"/>
                      </a:lnTo>
                      <a:lnTo>
                        <a:pt x="2512" y="0"/>
                      </a:lnTo>
                      <a:close/>
                    </a:path>
                  </a:pathLst>
                </a:custGeom>
                <a:grpFill/>
                <a:ln w="5978" cap="flat">
                  <a:noFill/>
                  <a:prstDash val="solid"/>
                  <a:miter/>
                </a:ln>
              </p:spPr>
              <p:txBody>
                <a:bodyPr rtlCol="0" anchor="ctr"/>
                <a:lstStyle/>
                <a:p>
                  <a:endParaRPr lang="en-GB"/>
                </a:p>
              </p:txBody>
            </p:sp>
            <p:sp>
              <p:nvSpPr>
                <p:cNvPr id="2963" name="Vrije vorm: vorm 2962">
                  <a:extLst>
                    <a:ext uri="{FF2B5EF4-FFF2-40B4-BE49-F238E27FC236}">
                      <a16:creationId xmlns:a16="http://schemas.microsoft.com/office/drawing/2014/main" id="{A4919C05-9D0C-4EEB-8DBC-E42A2AA1A990}"/>
                    </a:ext>
                  </a:extLst>
                </p:cNvPr>
                <p:cNvSpPr/>
                <p:nvPr/>
              </p:nvSpPr>
              <p:spPr>
                <a:xfrm>
                  <a:off x="4789933" y="1508829"/>
                  <a:ext cx="18393" cy="18390"/>
                </a:xfrm>
                <a:custGeom>
                  <a:avLst/>
                  <a:gdLst>
                    <a:gd name="connsiteX0" fmla="*/ 1542 w 18393"/>
                    <a:gd name="connsiteY0" fmla="*/ 14262 h 18390"/>
                    <a:gd name="connsiteX1" fmla="*/ 4113 w 18393"/>
                    <a:gd name="connsiteY1" fmla="*/ 1523 h 18390"/>
                    <a:gd name="connsiteX2" fmla="*/ 16852 w 18393"/>
                    <a:gd name="connsiteY2" fmla="*/ 4155 h 18390"/>
                    <a:gd name="connsiteX3" fmla="*/ 14281 w 18393"/>
                    <a:gd name="connsiteY3" fmla="*/ 16894 h 18390"/>
                    <a:gd name="connsiteX4" fmla="*/ 1542 w 1839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3" h="18390">
                      <a:moveTo>
                        <a:pt x="1542" y="14262"/>
                      </a:moveTo>
                      <a:cubicBezTo>
                        <a:pt x="-1270" y="10016"/>
                        <a:pt x="-133" y="4274"/>
                        <a:pt x="4113" y="1523"/>
                      </a:cubicBezTo>
                      <a:cubicBezTo>
                        <a:pt x="8300" y="-1288"/>
                        <a:pt x="14041" y="-92"/>
                        <a:pt x="16852" y="4155"/>
                      </a:cubicBezTo>
                      <a:cubicBezTo>
                        <a:pt x="19663" y="8401"/>
                        <a:pt x="18527" y="14142"/>
                        <a:pt x="14281" y="16894"/>
                      </a:cubicBezTo>
                      <a:cubicBezTo>
                        <a:pt x="10034" y="19645"/>
                        <a:pt x="4352" y="18508"/>
                        <a:pt x="1542" y="14262"/>
                      </a:cubicBezTo>
                      <a:close/>
                    </a:path>
                  </a:pathLst>
                </a:custGeom>
                <a:grpFill/>
                <a:ln w="5978" cap="flat">
                  <a:noFill/>
                  <a:prstDash val="solid"/>
                  <a:miter/>
                </a:ln>
              </p:spPr>
              <p:txBody>
                <a:bodyPr rtlCol="0" anchor="ctr"/>
                <a:lstStyle/>
                <a:p>
                  <a:endParaRPr lang="en-GB"/>
                </a:p>
              </p:txBody>
            </p:sp>
            <p:sp>
              <p:nvSpPr>
                <p:cNvPr id="2964" name="Vrije vorm: vorm 2963">
                  <a:extLst>
                    <a:ext uri="{FF2B5EF4-FFF2-40B4-BE49-F238E27FC236}">
                      <a16:creationId xmlns:a16="http://schemas.microsoft.com/office/drawing/2014/main" id="{BAF23B03-FFBA-4453-9141-0F69F7976F93}"/>
                    </a:ext>
                  </a:extLst>
                </p:cNvPr>
                <p:cNvSpPr/>
                <p:nvPr/>
              </p:nvSpPr>
              <p:spPr>
                <a:xfrm>
                  <a:off x="4836401" y="1579129"/>
                  <a:ext cx="18339" cy="18363"/>
                </a:xfrm>
                <a:custGeom>
                  <a:avLst/>
                  <a:gdLst>
                    <a:gd name="connsiteX0" fmla="*/ 1544 w 18339"/>
                    <a:gd name="connsiteY0" fmla="*/ 14236 h 18363"/>
                    <a:gd name="connsiteX1" fmla="*/ 14283 w 18339"/>
                    <a:gd name="connsiteY1" fmla="*/ 16867 h 18363"/>
                    <a:gd name="connsiteX2" fmla="*/ 16795 w 18339"/>
                    <a:gd name="connsiteY2" fmla="*/ 4128 h 18363"/>
                    <a:gd name="connsiteX3" fmla="*/ 4056 w 18339"/>
                    <a:gd name="connsiteY3" fmla="*/ 1497 h 18363"/>
                    <a:gd name="connsiteX4" fmla="*/ 1544 w 18339"/>
                    <a:gd name="connsiteY4" fmla="*/ 14236 h 1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63">
                      <a:moveTo>
                        <a:pt x="1544" y="14236"/>
                      </a:moveTo>
                      <a:cubicBezTo>
                        <a:pt x="4355" y="18482"/>
                        <a:pt x="10037" y="19618"/>
                        <a:pt x="14283" y="16867"/>
                      </a:cubicBezTo>
                      <a:cubicBezTo>
                        <a:pt x="18470" y="14056"/>
                        <a:pt x="19606" y="8374"/>
                        <a:pt x="16795" y="4128"/>
                      </a:cubicBezTo>
                      <a:cubicBezTo>
                        <a:pt x="13984" y="-118"/>
                        <a:pt x="8303" y="-1255"/>
                        <a:pt x="4056" y="1497"/>
                      </a:cubicBezTo>
                      <a:cubicBezTo>
                        <a:pt x="-130" y="4248"/>
                        <a:pt x="-1266" y="9989"/>
                        <a:pt x="1544" y="14236"/>
                      </a:cubicBezTo>
                      <a:close/>
                    </a:path>
                  </a:pathLst>
                </a:custGeom>
                <a:grpFill/>
                <a:ln w="5978" cap="flat">
                  <a:noFill/>
                  <a:prstDash val="solid"/>
                  <a:miter/>
                </a:ln>
              </p:spPr>
              <p:txBody>
                <a:bodyPr rtlCol="0" anchor="ctr"/>
                <a:lstStyle/>
                <a:p>
                  <a:endParaRPr lang="en-GB"/>
                </a:p>
              </p:txBody>
            </p:sp>
          </p:grpSp>
          <p:grpSp>
            <p:nvGrpSpPr>
              <p:cNvPr id="812" name="Graphic 3">
                <a:extLst>
                  <a:ext uri="{FF2B5EF4-FFF2-40B4-BE49-F238E27FC236}">
                    <a16:creationId xmlns:a16="http://schemas.microsoft.com/office/drawing/2014/main" id="{03CA409E-EE02-4F72-AE2B-29D4E05B2312}"/>
                  </a:ext>
                </a:extLst>
              </p:cNvPr>
              <p:cNvGrpSpPr/>
              <p:nvPr/>
            </p:nvGrpSpPr>
            <p:grpSpPr>
              <a:xfrm>
                <a:off x="4945280" y="1985326"/>
                <a:ext cx="84784" cy="104315"/>
                <a:chOff x="4945280" y="1985326"/>
                <a:chExt cx="84784" cy="104315"/>
              </a:xfrm>
              <a:grpFill/>
            </p:grpSpPr>
            <p:sp>
              <p:nvSpPr>
                <p:cNvPr id="2959" name="Vrije vorm: vorm 2958">
                  <a:extLst>
                    <a:ext uri="{FF2B5EF4-FFF2-40B4-BE49-F238E27FC236}">
                      <a16:creationId xmlns:a16="http://schemas.microsoft.com/office/drawing/2014/main" id="{78DC38E5-9B76-481E-B0E4-13D2FBC4B24A}"/>
                    </a:ext>
                  </a:extLst>
                </p:cNvPr>
                <p:cNvSpPr/>
                <p:nvPr/>
              </p:nvSpPr>
              <p:spPr>
                <a:xfrm>
                  <a:off x="4952954" y="1993235"/>
                  <a:ext cx="69436" cy="88454"/>
                </a:xfrm>
                <a:custGeom>
                  <a:avLst/>
                  <a:gdLst>
                    <a:gd name="connsiteX0" fmla="*/ 69436 w 69436"/>
                    <a:gd name="connsiteY0" fmla="*/ 86601 h 88454"/>
                    <a:gd name="connsiteX1" fmla="*/ 67044 w 69436"/>
                    <a:gd name="connsiteY1" fmla="*/ 88455 h 88454"/>
                    <a:gd name="connsiteX2" fmla="*/ 0 w 69436"/>
                    <a:gd name="connsiteY2" fmla="*/ 1854 h 88454"/>
                    <a:gd name="connsiteX3" fmla="*/ 2452 w 69436"/>
                    <a:gd name="connsiteY3" fmla="*/ 0 h 88454"/>
                  </a:gdLst>
                  <a:ahLst/>
                  <a:cxnLst>
                    <a:cxn ang="0">
                      <a:pos x="connsiteX0" y="connsiteY0"/>
                    </a:cxn>
                    <a:cxn ang="0">
                      <a:pos x="connsiteX1" y="connsiteY1"/>
                    </a:cxn>
                    <a:cxn ang="0">
                      <a:pos x="connsiteX2" y="connsiteY2"/>
                    </a:cxn>
                    <a:cxn ang="0">
                      <a:pos x="connsiteX3" y="connsiteY3"/>
                    </a:cxn>
                  </a:cxnLst>
                  <a:rect l="l" t="t" r="r" b="b"/>
                  <a:pathLst>
                    <a:path w="69436" h="88454">
                      <a:moveTo>
                        <a:pt x="69436" y="86601"/>
                      </a:moveTo>
                      <a:lnTo>
                        <a:pt x="67044" y="88455"/>
                      </a:lnTo>
                      <a:lnTo>
                        <a:pt x="0" y="1854"/>
                      </a:lnTo>
                      <a:lnTo>
                        <a:pt x="2452" y="0"/>
                      </a:lnTo>
                      <a:close/>
                    </a:path>
                  </a:pathLst>
                </a:custGeom>
                <a:grpFill/>
                <a:ln w="5978" cap="flat">
                  <a:noFill/>
                  <a:prstDash val="solid"/>
                  <a:miter/>
                </a:ln>
              </p:spPr>
              <p:txBody>
                <a:bodyPr rtlCol="0" anchor="ctr"/>
                <a:lstStyle/>
                <a:p>
                  <a:endParaRPr lang="en-GB"/>
                </a:p>
              </p:txBody>
            </p:sp>
            <p:sp>
              <p:nvSpPr>
                <p:cNvPr id="2960" name="Vrije vorm: vorm 2959">
                  <a:extLst>
                    <a:ext uri="{FF2B5EF4-FFF2-40B4-BE49-F238E27FC236}">
                      <a16:creationId xmlns:a16="http://schemas.microsoft.com/office/drawing/2014/main" id="{62980D9D-73BA-4AE7-974D-6EC8DA9FB365}"/>
                    </a:ext>
                  </a:extLst>
                </p:cNvPr>
                <p:cNvSpPr/>
                <p:nvPr/>
              </p:nvSpPr>
              <p:spPr>
                <a:xfrm>
                  <a:off x="4945280" y="1985326"/>
                  <a:ext cx="18339" cy="18406"/>
                </a:xfrm>
                <a:custGeom>
                  <a:avLst/>
                  <a:gdLst>
                    <a:gd name="connsiteX0" fmla="*/ 1933 w 18339"/>
                    <a:gd name="connsiteY0" fmla="*/ 14847 h 18406"/>
                    <a:gd name="connsiteX1" fmla="*/ 3548 w 18339"/>
                    <a:gd name="connsiteY1" fmla="*/ 1929 h 18406"/>
                    <a:gd name="connsiteX2" fmla="*/ 16406 w 18339"/>
                    <a:gd name="connsiteY2" fmla="*/ 3603 h 18406"/>
                    <a:gd name="connsiteX3" fmla="*/ 14792 w 18339"/>
                    <a:gd name="connsiteY3" fmla="*/ 16522 h 18406"/>
                    <a:gd name="connsiteX4" fmla="*/ 1933 w 18339"/>
                    <a:gd name="connsiteY4" fmla="*/ 1484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6">
                      <a:moveTo>
                        <a:pt x="1933" y="14847"/>
                      </a:moveTo>
                      <a:cubicBezTo>
                        <a:pt x="-1177" y="10840"/>
                        <a:pt x="-459" y="5038"/>
                        <a:pt x="3548" y="1929"/>
                      </a:cubicBezTo>
                      <a:cubicBezTo>
                        <a:pt x="7555" y="-1181"/>
                        <a:pt x="13296" y="-464"/>
                        <a:pt x="16406" y="3603"/>
                      </a:cubicBezTo>
                      <a:cubicBezTo>
                        <a:pt x="19516" y="7610"/>
                        <a:pt x="18799" y="13412"/>
                        <a:pt x="14792" y="16522"/>
                      </a:cubicBezTo>
                      <a:cubicBezTo>
                        <a:pt x="10844" y="19572"/>
                        <a:pt x="5043" y="18854"/>
                        <a:pt x="1933" y="14847"/>
                      </a:cubicBezTo>
                      <a:close/>
                    </a:path>
                  </a:pathLst>
                </a:custGeom>
                <a:grpFill/>
                <a:ln w="5978" cap="flat">
                  <a:noFill/>
                  <a:prstDash val="solid"/>
                  <a:miter/>
                </a:ln>
              </p:spPr>
              <p:txBody>
                <a:bodyPr rtlCol="0" anchor="ctr"/>
                <a:lstStyle/>
                <a:p>
                  <a:endParaRPr lang="en-GB"/>
                </a:p>
              </p:txBody>
            </p:sp>
            <p:sp>
              <p:nvSpPr>
                <p:cNvPr id="2961" name="Vrije vorm: vorm 2960">
                  <a:extLst>
                    <a:ext uri="{FF2B5EF4-FFF2-40B4-BE49-F238E27FC236}">
                      <a16:creationId xmlns:a16="http://schemas.microsoft.com/office/drawing/2014/main" id="{AA3C8C03-92D6-4558-9779-14E15C32B969}"/>
                    </a:ext>
                  </a:extLst>
                </p:cNvPr>
                <p:cNvSpPr/>
                <p:nvPr/>
              </p:nvSpPr>
              <p:spPr>
                <a:xfrm>
                  <a:off x="5011726" y="2071227"/>
                  <a:ext cx="18338" cy="18413"/>
                </a:xfrm>
                <a:custGeom>
                  <a:avLst/>
                  <a:gdLst>
                    <a:gd name="connsiteX0" fmla="*/ 1933 w 18338"/>
                    <a:gd name="connsiteY0" fmla="*/ 14829 h 18413"/>
                    <a:gd name="connsiteX1" fmla="*/ 14791 w 18338"/>
                    <a:gd name="connsiteY1" fmla="*/ 16503 h 18413"/>
                    <a:gd name="connsiteX2" fmla="*/ 16406 w 18338"/>
                    <a:gd name="connsiteY2" fmla="*/ 3585 h 18413"/>
                    <a:gd name="connsiteX3" fmla="*/ 3548 w 18338"/>
                    <a:gd name="connsiteY3" fmla="*/ 1910 h 18413"/>
                    <a:gd name="connsiteX4" fmla="*/ 1933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3" y="14829"/>
                      </a:moveTo>
                      <a:cubicBezTo>
                        <a:pt x="5043" y="18836"/>
                        <a:pt x="10784" y="19613"/>
                        <a:pt x="14791" y="16503"/>
                      </a:cubicBezTo>
                      <a:cubicBezTo>
                        <a:pt x="18798" y="13393"/>
                        <a:pt x="19516" y="7592"/>
                        <a:pt x="16406" y="3585"/>
                      </a:cubicBezTo>
                      <a:cubicBezTo>
                        <a:pt x="13296" y="-422"/>
                        <a:pt x="7555" y="-1200"/>
                        <a:pt x="3548" y="1910"/>
                      </a:cubicBezTo>
                      <a:cubicBezTo>
                        <a:pt x="-459" y="5020"/>
                        <a:pt x="-1177" y="10822"/>
                        <a:pt x="1933" y="14829"/>
                      </a:cubicBezTo>
                      <a:close/>
                    </a:path>
                  </a:pathLst>
                </a:custGeom>
                <a:grpFill/>
                <a:ln w="5978" cap="flat">
                  <a:noFill/>
                  <a:prstDash val="solid"/>
                  <a:miter/>
                </a:ln>
              </p:spPr>
              <p:txBody>
                <a:bodyPr rtlCol="0" anchor="ctr"/>
                <a:lstStyle/>
                <a:p>
                  <a:endParaRPr lang="en-GB"/>
                </a:p>
              </p:txBody>
            </p:sp>
          </p:grpSp>
          <p:grpSp>
            <p:nvGrpSpPr>
              <p:cNvPr id="813" name="Graphic 3">
                <a:extLst>
                  <a:ext uri="{FF2B5EF4-FFF2-40B4-BE49-F238E27FC236}">
                    <a16:creationId xmlns:a16="http://schemas.microsoft.com/office/drawing/2014/main" id="{A9F38850-C556-4EA0-BE97-8F147F3ECCF4}"/>
                  </a:ext>
                </a:extLst>
              </p:cNvPr>
              <p:cNvGrpSpPr/>
              <p:nvPr/>
            </p:nvGrpSpPr>
            <p:grpSpPr>
              <a:xfrm>
                <a:off x="4901810" y="1810023"/>
                <a:ext cx="22446" cy="24131"/>
                <a:chOff x="4901810" y="1810023"/>
                <a:chExt cx="22446" cy="24131"/>
              </a:xfrm>
              <a:grpFill/>
            </p:grpSpPr>
            <p:sp>
              <p:nvSpPr>
                <p:cNvPr id="2957" name="Vrije vorm: vorm 2956">
                  <a:extLst>
                    <a:ext uri="{FF2B5EF4-FFF2-40B4-BE49-F238E27FC236}">
                      <a16:creationId xmlns:a16="http://schemas.microsoft.com/office/drawing/2014/main" id="{F79952FC-A684-4CB2-93FC-7AD9A208F19B}"/>
                    </a:ext>
                  </a:extLst>
                </p:cNvPr>
                <p:cNvSpPr/>
                <p:nvPr/>
              </p:nvSpPr>
              <p:spPr>
                <a:xfrm>
                  <a:off x="4905877" y="1815662"/>
                  <a:ext cx="18379" cy="18492"/>
                </a:xfrm>
                <a:custGeom>
                  <a:avLst/>
                  <a:gdLst>
                    <a:gd name="connsiteX0" fmla="*/ 1744 w 18379"/>
                    <a:gd name="connsiteY0" fmla="*/ 14599 h 18492"/>
                    <a:gd name="connsiteX1" fmla="*/ 3837 w 18379"/>
                    <a:gd name="connsiteY1" fmla="*/ 1740 h 18492"/>
                    <a:gd name="connsiteX2" fmla="*/ 16636 w 18379"/>
                    <a:gd name="connsiteY2" fmla="*/ 3893 h 18492"/>
                    <a:gd name="connsiteX3" fmla="*/ 14543 w 18379"/>
                    <a:gd name="connsiteY3" fmla="*/ 16752 h 18492"/>
                    <a:gd name="connsiteX4" fmla="*/ 1744 w 18379"/>
                    <a:gd name="connsiteY4" fmla="*/ 14599 h 18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92">
                      <a:moveTo>
                        <a:pt x="1744" y="14599"/>
                      </a:moveTo>
                      <a:cubicBezTo>
                        <a:pt x="-1247" y="10472"/>
                        <a:pt x="-289" y="4731"/>
                        <a:pt x="3837" y="1740"/>
                      </a:cubicBezTo>
                      <a:cubicBezTo>
                        <a:pt x="7964" y="-1250"/>
                        <a:pt x="13645" y="-293"/>
                        <a:pt x="16636" y="3893"/>
                      </a:cubicBezTo>
                      <a:cubicBezTo>
                        <a:pt x="19626" y="8020"/>
                        <a:pt x="18669" y="13762"/>
                        <a:pt x="14543" y="16752"/>
                      </a:cubicBezTo>
                      <a:cubicBezTo>
                        <a:pt x="10416" y="19742"/>
                        <a:pt x="4734" y="18785"/>
                        <a:pt x="1744" y="14599"/>
                      </a:cubicBezTo>
                      <a:close/>
                    </a:path>
                  </a:pathLst>
                </a:custGeom>
                <a:grpFill/>
                <a:ln w="5978" cap="flat">
                  <a:noFill/>
                  <a:prstDash val="solid"/>
                  <a:miter/>
                </a:ln>
              </p:spPr>
              <p:txBody>
                <a:bodyPr rtlCol="0" anchor="ctr"/>
                <a:lstStyle/>
                <a:p>
                  <a:endParaRPr lang="en-GB"/>
                </a:p>
              </p:txBody>
            </p:sp>
            <p:sp>
              <p:nvSpPr>
                <p:cNvPr id="2958" name="Vrije vorm: vorm 2957">
                  <a:extLst>
                    <a:ext uri="{FF2B5EF4-FFF2-40B4-BE49-F238E27FC236}">
                      <a16:creationId xmlns:a16="http://schemas.microsoft.com/office/drawing/2014/main" id="{16193A34-ADCC-4ABF-9F44-A066D7844773}"/>
                    </a:ext>
                  </a:extLst>
                </p:cNvPr>
                <p:cNvSpPr/>
                <p:nvPr/>
              </p:nvSpPr>
              <p:spPr>
                <a:xfrm>
                  <a:off x="4901810" y="1810023"/>
                  <a:ext cx="18353" cy="18406"/>
                </a:xfrm>
                <a:custGeom>
                  <a:avLst/>
                  <a:gdLst>
                    <a:gd name="connsiteX0" fmla="*/ 1744 w 18353"/>
                    <a:gd name="connsiteY0" fmla="*/ 14556 h 18406"/>
                    <a:gd name="connsiteX1" fmla="*/ 14543 w 18353"/>
                    <a:gd name="connsiteY1" fmla="*/ 16709 h 18406"/>
                    <a:gd name="connsiteX2" fmla="*/ 16636 w 18353"/>
                    <a:gd name="connsiteY2" fmla="*/ 3851 h 18406"/>
                    <a:gd name="connsiteX3" fmla="*/ 3837 w 18353"/>
                    <a:gd name="connsiteY3" fmla="*/ 1697 h 18406"/>
                    <a:gd name="connsiteX4" fmla="*/ 1744 w 18353"/>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6">
                      <a:moveTo>
                        <a:pt x="1744" y="14556"/>
                      </a:moveTo>
                      <a:cubicBezTo>
                        <a:pt x="4734" y="18683"/>
                        <a:pt x="10416" y="19640"/>
                        <a:pt x="14543" y="16709"/>
                      </a:cubicBezTo>
                      <a:cubicBezTo>
                        <a:pt x="18669" y="13719"/>
                        <a:pt x="19566" y="7977"/>
                        <a:pt x="16636" y="3851"/>
                      </a:cubicBezTo>
                      <a:cubicBezTo>
                        <a:pt x="13646" y="-276"/>
                        <a:pt x="7964" y="-1233"/>
                        <a:pt x="3837" y="1697"/>
                      </a:cubicBezTo>
                      <a:cubicBezTo>
                        <a:pt x="-290" y="4688"/>
                        <a:pt x="-1246" y="10429"/>
                        <a:pt x="1744" y="14556"/>
                      </a:cubicBezTo>
                      <a:close/>
                    </a:path>
                  </a:pathLst>
                </a:custGeom>
                <a:grpFill/>
                <a:ln w="5978" cap="flat">
                  <a:noFill/>
                  <a:prstDash val="solid"/>
                  <a:miter/>
                </a:ln>
              </p:spPr>
              <p:txBody>
                <a:bodyPr rtlCol="0" anchor="ctr"/>
                <a:lstStyle/>
                <a:p>
                  <a:endParaRPr lang="en-GB"/>
                </a:p>
              </p:txBody>
            </p:sp>
          </p:grpSp>
          <p:grpSp>
            <p:nvGrpSpPr>
              <p:cNvPr id="814" name="Graphic 3">
                <a:extLst>
                  <a:ext uri="{FF2B5EF4-FFF2-40B4-BE49-F238E27FC236}">
                    <a16:creationId xmlns:a16="http://schemas.microsoft.com/office/drawing/2014/main" id="{1F236115-9D58-4C61-97CF-9C665D0EB646}"/>
                  </a:ext>
                </a:extLst>
              </p:cNvPr>
              <p:cNvGrpSpPr/>
              <p:nvPr/>
            </p:nvGrpSpPr>
            <p:grpSpPr>
              <a:xfrm>
                <a:off x="6186387" y="5280515"/>
                <a:ext cx="92217" cy="1004089"/>
                <a:chOff x="6186387" y="5280515"/>
                <a:chExt cx="92217" cy="1004089"/>
              </a:xfrm>
              <a:grpFill/>
            </p:grpSpPr>
            <p:sp>
              <p:nvSpPr>
                <p:cNvPr id="2954" name="Vrije vorm: vorm 2953">
                  <a:extLst>
                    <a:ext uri="{FF2B5EF4-FFF2-40B4-BE49-F238E27FC236}">
                      <a16:creationId xmlns:a16="http://schemas.microsoft.com/office/drawing/2014/main" id="{05AE3E09-0B95-4470-A7DF-3F175C9DEF2B}"/>
                    </a:ext>
                  </a:extLst>
                </p:cNvPr>
                <p:cNvSpPr/>
                <p:nvPr/>
              </p:nvSpPr>
              <p:spPr>
                <a:xfrm>
                  <a:off x="6194014" y="5289151"/>
                  <a:ext cx="76971" cy="986759"/>
                </a:xfrm>
                <a:custGeom>
                  <a:avLst/>
                  <a:gdLst>
                    <a:gd name="connsiteX0" fmla="*/ 3050 w 76971"/>
                    <a:gd name="connsiteY0" fmla="*/ 0 h 986759"/>
                    <a:gd name="connsiteX1" fmla="*/ 76972 w 76971"/>
                    <a:gd name="connsiteY1" fmla="*/ 986520 h 986759"/>
                    <a:gd name="connsiteX2" fmla="*/ 73982 w 76971"/>
                    <a:gd name="connsiteY2" fmla="*/ 986760 h 986759"/>
                    <a:gd name="connsiteX3" fmla="*/ 0 w 76971"/>
                    <a:gd name="connsiteY3" fmla="*/ 239 h 986759"/>
                  </a:gdLst>
                  <a:ahLst/>
                  <a:cxnLst>
                    <a:cxn ang="0">
                      <a:pos x="connsiteX0" y="connsiteY0"/>
                    </a:cxn>
                    <a:cxn ang="0">
                      <a:pos x="connsiteX1" y="connsiteY1"/>
                    </a:cxn>
                    <a:cxn ang="0">
                      <a:pos x="connsiteX2" y="connsiteY2"/>
                    </a:cxn>
                    <a:cxn ang="0">
                      <a:pos x="connsiteX3" y="connsiteY3"/>
                    </a:cxn>
                  </a:cxnLst>
                  <a:rect l="l" t="t" r="r" b="b"/>
                  <a:pathLst>
                    <a:path w="76971" h="986759">
                      <a:moveTo>
                        <a:pt x="3050" y="0"/>
                      </a:moveTo>
                      <a:lnTo>
                        <a:pt x="76972" y="986520"/>
                      </a:lnTo>
                      <a:lnTo>
                        <a:pt x="73982" y="986760"/>
                      </a:lnTo>
                      <a:lnTo>
                        <a:pt x="0" y="239"/>
                      </a:lnTo>
                      <a:close/>
                    </a:path>
                  </a:pathLst>
                </a:custGeom>
                <a:grpFill/>
                <a:ln w="5978" cap="flat">
                  <a:noFill/>
                  <a:prstDash val="solid"/>
                  <a:miter/>
                </a:ln>
              </p:spPr>
              <p:txBody>
                <a:bodyPr rtlCol="0" anchor="ctr"/>
                <a:lstStyle/>
                <a:p>
                  <a:endParaRPr lang="en-GB"/>
                </a:p>
              </p:txBody>
            </p:sp>
            <p:sp>
              <p:nvSpPr>
                <p:cNvPr id="2955" name="Vrije vorm: vorm 2954">
                  <a:extLst>
                    <a:ext uri="{FF2B5EF4-FFF2-40B4-BE49-F238E27FC236}">
                      <a16:creationId xmlns:a16="http://schemas.microsoft.com/office/drawing/2014/main" id="{441F958D-9E5A-4400-9192-31223A7CF569}"/>
                    </a:ext>
                  </a:extLst>
                </p:cNvPr>
                <p:cNvSpPr/>
                <p:nvPr/>
              </p:nvSpPr>
              <p:spPr>
                <a:xfrm>
                  <a:off x="6260316" y="6266138"/>
                  <a:ext cx="18288" cy="18466"/>
                </a:xfrm>
                <a:custGeom>
                  <a:avLst/>
                  <a:gdLst>
                    <a:gd name="connsiteX0" fmla="*/ 18265 w 18288"/>
                    <a:gd name="connsiteY0" fmla="*/ 8576 h 18466"/>
                    <a:gd name="connsiteX1" fmla="*/ 9832 w 18288"/>
                    <a:gd name="connsiteY1" fmla="*/ 18444 h 18466"/>
                    <a:gd name="connsiteX2" fmla="*/ 24 w 18288"/>
                    <a:gd name="connsiteY2" fmla="*/ 9891 h 18466"/>
                    <a:gd name="connsiteX3" fmla="*/ 8457 w 18288"/>
                    <a:gd name="connsiteY3" fmla="*/ 23 h 18466"/>
                    <a:gd name="connsiteX4" fmla="*/ 18265 w 18288"/>
                    <a:gd name="connsiteY4" fmla="*/ 857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6">
                      <a:moveTo>
                        <a:pt x="18265" y="8576"/>
                      </a:moveTo>
                      <a:cubicBezTo>
                        <a:pt x="18624" y="13659"/>
                        <a:pt x="14856" y="18085"/>
                        <a:pt x="9832" y="18444"/>
                      </a:cubicBezTo>
                      <a:cubicBezTo>
                        <a:pt x="4808" y="18802"/>
                        <a:pt x="382" y="14975"/>
                        <a:pt x="24" y="9891"/>
                      </a:cubicBezTo>
                      <a:cubicBezTo>
                        <a:pt x="-335" y="4808"/>
                        <a:pt x="3433" y="382"/>
                        <a:pt x="8457" y="23"/>
                      </a:cubicBezTo>
                      <a:cubicBezTo>
                        <a:pt x="13480" y="-336"/>
                        <a:pt x="17906" y="3492"/>
                        <a:pt x="18265" y="8576"/>
                      </a:cubicBezTo>
                      <a:close/>
                    </a:path>
                  </a:pathLst>
                </a:custGeom>
                <a:grpFill/>
                <a:ln w="5978" cap="flat">
                  <a:noFill/>
                  <a:prstDash val="solid"/>
                  <a:miter/>
                </a:ln>
              </p:spPr>
              <p:txBody>
                <a:bodyPr rtlCol="0" anchor="ctr"/>
                <a:lstStyle/>
                <a:p>
                  <a:endParaRPr lang="en-GB"/>
                </a:p>
              </p:txBody>
            </p:sp>
            <p:sp>
              <p:nvSpPr>
                <p:cNvPr id="2956" name="Vrije vorm: vorm 2955">
                  <a:extLst>
                    <a:ext uri="{FF2B5EF4-FFF2-40B4-BE49-F238E27FC236}">
                      <a16:creationId xmlns:a16="http://schemas.microsoft.com/office/drawing/2014/main" id="{0D3917E8-276D-4FFE-8AA5-1949DD6C939F}"/>
                    </a:ext>
                  </a:extLst>
                </p:cNvPr>
                <p:cNvSpPr/>
                <p:nvPr/>
              </p:nvSpPr>
              <p:spPr>
                <a:xfrm>
                  <a:off x="6186387" y="5280515"/>
                  <a:ext cx="18304" cy="18467"/>
                </a:xfrm>
                <a:custGeom>
                  <a:avLst/>
                  <a:gdLst>
                    <a:gd name="connsiteX0" fmla="*/ 18272 w 18304"/>
                    <a:gd name="connsiteY0" fmla="*/ 8576 h 18467"/>
                    <a:gd name="connsiteX1" fmla="*/ 8464 w 18304"/>
                    <a:gd name="connsiteY1" fmla="*/ 23 h 18467"/>
                    <a:gd name="connsiteX2" fmla="*/ 31 w 18304"/>
                    <a:gd name="connsiteY2" fmla="*/ 9891 h 18467"/>
                    <a:gd name="connsiteX3" fmla="*/ 9840 w 18304"/>
                    <a:gd name="connsiteY3" fmla="*/ 18444 h 18467"/>
                    <a:gd name="connsiteX4" fmla="*/ 18272 w 18304"/>
                    <a:gd name="connsiteY4" fmla="*/ 8576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67">
                      <a:moveTo>
                        <a:pt x="18272" y="8576"/>
                      </a:moveTo>
                      <a:cubicBezTo>
                        <a:pt x="17914" y="3492"/>
                        <a:pt x="13488" y="-336"/>
                        <a:pt x="8464" y="23"/>
                      </a:cubicBezTo>
                      <a:cubicBezTo>
                        <a:pt x="3440" y="382"/>
                        <a:pt x="-387" y="4808"/>
                        <a:pt x="31" y="9891"/>
                      </a:cubicBezTo>
                      <a:cubicBezTo>
                        <a:pt x="390" y="14975"/>
                        <a:pt x="4816" y="18803"/>
                        <a:pt x="9840" y="18444"/>
                      </a:cubicBezTo>
                      <a:cubicBezTo>
                        <a:pt x="14923" y="18025"/>
                        <a:pt x="18691" y="13659"/>
                        <a:pt x="18272" y="8576"/>
                      </a:cubicBezTo>
                      <a:close/>
                    </a:path>
                  </a:pathLst>
                </a:custGeom>
                <a:grpFill/>
                <a:ln w="5978" cap="flat">
                  <a:noFill/>
                  <a:prstDash val="solid"/>
                  <a:miter/>
                </a:ln>
              </p:spPr>
              <p:txBody>
                <a:bodyPr rtlCol="0" anchor="ctr"/>
                <a:lstStyle/>
                <a:p>
                  <a:endParaRPr lang="en-GB"/>
                </a:p>
              </p:txBody>
            </p:sp>
          </p:grpSp>
          <p:grpSp>
            <p:nvGrpSpPr>
              <p:cNvPr id="815" name="Graphic 3">
                <a:extLst>
                  <a:ext uri="{FF2B5EF4-FFF2-40B4-BE49-F238E27FC236}">
                    <a16:creationId xmlns:a16="http://schemas.microsoft.com/office/drawing/2014/main" id="{C490C4DD-7CB9-4BBC-8B14-A184A38E7F64}"/>
                  </a:ext>
                </a:extLst>
              </p:cNvPr>
              <p:cNvGrpSpPr/>
              <p:nvPr/>
            </p:nvGrpSpPr>
            <p:grpSpPr>
              <a:xfrm>
                <a:off x="6013334" y="5098483"/>
                <a:ext cx="20758" cy="156400"/>
                <a:chOff x="6013334" y="5098483"/>
                <a:chExt cx="20758" cy="156400"/>
              </a:xfrm>
              <a:grpFill/>
            </p:grpSpPr>
            <p:sp>
              <p:nvSpPr>
                <p:cNvPr id="2951" name="Vrije vorm: vorm 2950">
                  <a:extLst>
                    <a:ext uri="{FF2B5EF4-FFF2-40B4-BE49-F238E27FC236}">
                      <a16:creationId xmlns:a16="http://schemas.microsoft.com/office/drawing/2014/main" id="{A2F682E6-5381-4FC8-A124-FE425E17C375}"/>
                    </a:ext>
                  </a:extLst>
                </p:cNvPr>
                <p:cNvSpPr/>
                <p:nvPr/>
              </p:nvSpPr>
              <p:spPr>
                <a:xfrm>
                  <a:off x="6020932" y="5107217"/>
                  <a:ext cx="5502" cy="138932"/>
                </a:xfrm>
                <a:custGeom>
                  <a:avLst/>
                  <a:gdLst>
                    <a:gd name="connsiteX0" fmla="*/ 5502 w 5502"/>
                    <a:gd name="connsiteY0" fmla="*/ 60 h 138932"/>
                    <a:gd name="connsiteX1" fmla="*/ 3050 w 5502"/>
                    <a:gd name="connsiteY1" fmla="*/ 138932 h 138932"/>
                    <a:gd name="connsiteX2" fmla="*/ 0 w 5502"/>
                    <a:gd name="connsiteY2" fmla="*/ 138813 h 138932"/>
                    <a:gd name="connsiteX3" fmla="*/ 2452 w 5502"/>
                    <a:gd name="connsiteY3" fmla="*/ 0 h 138932"/>
                  </a:gdLst>
                  <a:ahLst/>
                  <a:cxnLst>
                    <a:cxn ang="0">
                      <a:pos x="connsiteX0" y="connsiteY0"/>
                    </a:cxn>
                    <a:cxn ang="0">
                      <a:pos x="connsiteX1" y="connsiteY1"/>
                    </a:cxn>
                    <a:cxn ang="0">
                      <a:pos x="connsiteX2" y="connsiteY2"/>
                    </a:cxn>
                    <a:cxn ang="0">
                      <a:pos x="connsiteX3" y="connsiteY3"/>
                    </a:cxn>
                  </a:cxnLst>
                  <a:rect l="l" t="t" r="r" b="b"/>
                  <a:pathLst>
                    <a:path w="5502" h="138932">
                      <a:moveTo>
                        <a:pt x="5502" y="60"/>
                      </a:moveTo>
                      <a:lnTo>
                        <a:pt x="3050" y="138932"/>
                      </a:lnTo>
                      <a:lnTo>
                        <a:pt x="0" y="138813"/>
                      </a:lnTo>
                      <a:lnTo>
                        <a:pt x="2452" y="0"/>
                      </a:lnTo>
                      <a:close/>
                    </a:path>
                  </a:pathLst>
                </a:custGeom>
                <a:grpFill/>
                <a:ln w="5978" cap="flat">
                  <a:noFill/>
                  <a:prstDash val="solid"/>
                  <a:miter/>
                </a:ln>
              </p:spPr>
              <p:txBody>
                <a:bodyPr rtlCol="0" anchor="ctr"/>
                <a:lstStyle/>
                <a:p>
                  <a:endParaRPr lang="en-GB"/>
                </a:p>
              </p:txBody>
            </p:sp>
            <p:sp>
              <p:nvSpPr>
                <p:cNvPr id="2952" name="Vrije vorm: vorm 2951">
                  <a:extLst>
                    <a:ext uri="{FF2B5EF4-FFF2-40B4-BE49-F238E27FC236}">
                      <a16:creationId xmlns:a16="http://schemas.microsoft.com/office/drawing/2014/main" id="{5026594F-424E-4D4A-BE78-58D0CE900B7C}"/>
                    </a:ext>
                  </a:extLst>
                </p:cNvPr>
                <p:cNvSpPr/>
                <p:nvPr/>
              </p:nvSpPr>
              <p:spPr>
                <a:xfrm>
                  <a:off x="6013334" y="5236460"/>
                  <a:ext cx="18304" cy="18423"/>
                </a:xfrm>
                <a:custGeom>
                  <a:avLst/>
                  <a:gdLst>
                    <a:gd name="connsiteX0" fmla="*/ 18304 w 18304"/>
                    <a:gd name="connsiteY0" fmla="*/ 9390 h 18423"/>
                    <a:gd name="connsiteX1" fmla="*/ 8974 w 18304"/>
                    <a:gd name="connsiteY1" fmla="*/ 18421 h 18423"/>
                    <a:gd name="connsiteX2" fmla="*/ 3 w 18304"/>
                    <a:gd name="connsiteY2" fmla="*/ 9032 h 18423"/>
                    <a:gd name="connsiteX3" fmla="*/ 9333 w 18304"/>
                    <a:gd name="connsiteY3" fmla="*/ 1 h 18423"/>
                    <a:gd name="connsiteX4" fmla="*/ 18304 w 18304"/>
                    <a:gd name="connsiteY4" fmla="*/ 9390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3">
                      <a:moveTo>
                        <a:pt x="18304" y="9390"/>
                      </a:moveTo>
                      <a:cubicBezTo>
                        <a:pt x="18184" y="14474"/>
                        <a:pt x="14057" y="18541"/>
                        <a:pt x="8974" y="18421"/>
                      </a:cubicBezTo>
                      <a:cubicBezTo>
                        <a:pt x="3890" y="18302"/>
                        <a:pt x="-117" y="14115"/>
                        <a:pt x="3" y="9032"/>
                      </a:cubicBezTo>
                      <a:cubicBezTo>
                        <a:pt x="122" y="3948"/>
                        <a:pt x="4249" y="-59"/>
                        <a:pt x="9333" y="1"/>
                      </a:cubicBezTo>
                      <a:cubicBezTo>
                        <a:pt x="14356" y="61"/>
                        <a:pt x="18363" y="4307"/>
                        <a:pt x="18304" y="9390"/>
                      </a:cubicBezTo>
                      <a:close/>
                    </a:path>
                  </a:pathLst>
                </a:custGeom>
                <a:grpFill/>
                <a:ln w="5978" cap="flat">
                  <a:noFill/>
                  <a:prstDash val="solid"/>
                  <a:miter/>
                </a:ln>
              </p:spPr>
              <p:txBody>
                <a:bodyPr rtlCol="0" anchor="ctr"/>
                <a:lstStyle/>
                <a:p>
                  <a:endParaRPr lang="en-GB"/>
                </a:p>
              </p:txBody>
            </p:sp>
            <p:sp>
              <p:nvSpPr>
                <p:cNvPr id="2953" name="Vrije vorm: vorm 2952">
                  <a:extLst>
                    <a:ext uri="{FF2B5EF4-FFF2-40B4-BE49-F238E27FC236}">
                      <a16:creationId xmlns:a16="http://schemas.microsoft.com/office/drawing/2014/main" id="{465330BF-D3C7-494A-B89D-F90BBECAD754}"/>
                    </a:ext>
                  </a:extLst>
                </p:cNvPr>
                <p:cNvSpPr/>
                <p:nvPr/>
              </p:nvSpPr>
              <p:spPr>
                <a:xfrm>
                  <a:off x="6015786" y="5098483"/>
                  <a:ext cx="18306" cy="18425"/>
                </a:xfrm>
                <a:custGeom>
                  <a:avLst/>
                  <a:gdLst>
                    <a:gd name="connsiteX0" fmla="*/ 18304 w 18306"/>
                    <a:gd name="connsiteY0" fmla="*/ 9392 h 18425"/>
                    <a:gd name="connsiteX1" fmla="*/ 9332 w 18306"/>
                    <a:gd name="connsiteY1" fmla="*/ 3 h 18425"/>
                    <a:gd name="connsiteX2" fmla="*/ 3 w 18306"/>
                    <a:gd name="connsiteY2" fmla="*/ 9033 h 18425"/>
                    <a:gd name="connsiteX3" fmla="*/ 8974 w 18306"/>
                    <a:gd name="connsiteY3" fmla="*/ 18423 h 18425"/>
                    <a:gd name="connsiteX4" fmla="*/ 18304 w 18306"/>
                    <a:gd name="connsiteY4" fmla="*/ 939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5">
                      <a:moveTo>
                        <a:pt x="18304" y="9392"/>
                      </a:moveTo>
                      <a:cubicBezTo>
                        <a:pt x="18423" y="4309"/>
                        <a:pt x="14356" y="62"/>
                        <a:pt x="9332" y="3"/>
                      </a:cubicBezTo>
                      <a:cubicBezTo>
                        <a:pt x="4249" y="-117"/>
                        <a:pt x="122" y="3950"/>
                        <a:pt x="3" y="9033"/>
                      </a:cubicBezTo>
                      <a:cubicBezTo>
                        <a:pt x="-117" y="14117"/>
                        <a:pt x="3950" y="18363"/>
                        <a:pt x="8974" y="18423"/>
                      </a:cubicBezTo>
                      <a:cubicBezTo>
                        <a:pt x="13998" y="18543"/>
                        <a:pt x="18184" y="14476"/>
                        <a:pt x="18304" y="9392"/>
                      </a:cubicBezTo>
                      <a:close/>
                    </a:path>
                  </a:pathLst>
                </a:custGeom>
                <a:grpFill/>
                <a:ln w="5978" cap="flat">
                  <a:noFill/>
                  <a:prstDash val="solid"/>
                  <a:miter/>
                </a:ln>
              </p:spPr>
              <p:txBody>
                <a:bodyPr rtlCol="0" anchor="ctr"/>
                <a:lstStyle/>
                <a:p>
                  <a:endParaRPr lang="en-GB"/>
                </a:p>
              </p:txBody>
            </p:sp>
          </p:grpSp>
          <p:grpSp>
            <p:nvGrpSpPr>
              <p:cNvPr id="816" name="Graphic 3">
                <a:extLst>
                  <a:ext uri="{FF2B5EF4-FFF2-40B4-BE49-F238E27FC236}">
                    <a16:creationId xmlns:a16="http://schemas.microsoft.com/office/drawing/2014/main" id="{5B2A1058-5882-44E7-B83F-E7DAE2B2D965}"/>
                  </a:ext>
                </a:extLst>
              </p:cNvPr>
              <p:cNvGrpSpPr/>
              <p:nvPr/>
            </p:nvGrpSpPr>
            <p:grpSpPr>
              <a:xfrm>
                <a:off x="4916393" y="1947946"/>
                <a:ext cx="35982" cy="41218"/>
                <a:chOff x="4916393" y="1947946"/>
                <a:chExt cx="35982" cy="41218"/>
              </a:xfrm>
              <a:grpFill/>
            </p:grpSpPr>
            <p:sp>
              <p:nvSpPr>
                <p:cNvPr id="2948" name="Vrije vorm: vorm 2947">
                  <a:extLst>
                    <a:ext uri="{FF2B5EF4-FFF2-40B4-BE49-F238E27FC236}">
                      <a16:creationId xmlns:a16="http://schemas.microsoft.com/office/drawing/2014/main" id="{F3DC8FD7-A1EA-4696-ACA6-1F6361E9C191}"/>
                    </a:ext>
                  </a:extLst>
                </p:cNvPr>
                <p:cNvSpPr/>
                <p:nvPr/>
              </p:nvSpPr>
              <p:spPr>
                <a:xfrm>
                  <a:off x="4924067" y="1955856"/>
                  <a:ext cx="20573" cy="25418"/>
                </a:xfrm>
                <a:custGeom>
                  <a:avLst/>
                  <a:gdLst>
                    <a:gd name="connsiteX0" fmla="*/ 20574 w 20573"/>
                    <a:gd name="connsiteY0" fmla="*/ 23504 h 25418"/>
                    <a:gd name="connsiteX1" fmla="*/ 18181 w 20573"/>
                    <a:gd name="connsiteY1" fmla="*/ 25418 h 25418"/>
                    <a:gd name="connsiteX2" fmla="*/ 0 w 20573"/>
                    <a:gd name="connsiteY2" fmla="*/ 1854 h 25418"/>
                    <a:gd name="connsiteX3" fmla="*/ 2392 w 20573"/>
                    <a:gd name="connsiteY3" fmla="*/ 0 h 25418"/>
                  </a:gdLst>
                  <a:ahLst/>
                  <a:cxnLst>
                    <a:cxn ang="0">
                      <a:pos x="connsiteX0" y="connsiteY0"/>
                    </a:cxn>
                    <a:cxn ang="0">
                      <a:pos x="connsiteX1" y="connsiteY1"/>
                    </a:cxn>
                    <a:cxn ang="0">
                      <a:pos x="connsiteX2" y="connsiteY2"/>
                    </a:cxn>
                    <a:cxn ang="0">
                      <a:pos x="connsiteX3" y="connsiteY3"/>
                    </a:cxn>
                  </a:cxnLst>
                  <a:rect l="l" t="t" r="r" b="b"/>
                  <a:pathLst>
                    <a:path w="20573" h="25418">
                      <a:moveTo>
                        <a:pt x="20574" y="23504"/>
                      </a:moveTo>
                      <a:lnTo>
                        <a:pt x="18181" y="25418"/>
                      </a:lnTo>
                      <a:lnTo>
                        <a:pt x="0" y="1854"/>
                      </a:lnTo>
                      <a:lnTo>
                        <a:pt x="2392" y="0"/>
                      </a:lnTo>
                      <a:close/>
                    </a:path>
                  </a:pathLst>
                </a:custGeom>
                <a:grpFill/>
                <a:ln w="5978" cap="flat">
                  <a:noFill/>
                  <a:prstDash val="solid"/>
                  <a:miter/>
                </a:ln>
              </p:spPr>
              <p:txBody>
                <a:bodyPr rtlCol="0" anchor="ctr"/>
                <a:lstStyle/>
                <a:p>
                  <a:endParaRPr lang="en-GB"/>
                </a:p>
              </p:txBody>
            </p:sp>
            <p:sp>
              <p:nvSpPr>
                <p:cNvPr id="2949" name="Vrije vorm: vorm 2948">
                  <a:extLst>
                    <a:ext uri="{FF2B5EF4-FFF2-40B4-BE49-F238E27FC236}">
                      <a16:creationId xmlns:a16="http://schemas.microsoft.com/office/drawing/2014/main" id="{63D4BBF9-D30C-4A07-BF95-9E9B0AB996D0}"/>
                    </a:ext>
                  </a:extLst>
                </p:cNvPr>
                <p:cNvSpPr/>
                <p:nvPr/>
              </p:nvSpPr>
              <p:spPr>
                <a:xfrm>
                  <a:off x="4916393" y="1947946"/>
                  <a:ext cx="18338" cy="18406"/>
                </a:xfrm>
                <a:custGeom>
                  <a:avLst/>
                  <a:gdLst>
                    <a:gd name="connsiteX0" fmla="*/ 1933 w 18338"/>
                    <a:gd name="connsiteY0" fmla="*/ 14847 h 18406"/>
                    <a:gd name="connsiteX1" fmla="*/ 3548 w 18338"/>
                    <a:gd name="connsiteY1" fmla="*/ 1929 h 18406"/>
                    <a:gd name="connsiteX2" fmla="*/ 16406 w 18338"/>
                    <a:gd name="connsiteY2" fmla="*/ 3603 h 18406"/>
                    <a:gd name="connsiteX3" fmla="*/ 14791 w 18338"/>
                    <a:gd name="connsiteY3" fmla="*/ 16522 h 18406"/>
                    <a:gd name="connsiteX4" fmla="*/ 1933 w 18338"/>
                    <a:gd name="connsiteY4" fmla="*/ 1484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6">
                      <a:moveTo>
                        <a:pt x="1933" y="14847"/>
                      </a:moveTo>
                      <a:cubicBezTo>
                        <a:pt x="-1177" y="10840"/>
                        <a:pt x="-459" y="5038"/>
                        <a:pt x="3548" y="1929"/>
                      </a:cubicBezTo>
                      <a:cubicBezTo>
                        <a:pt x="7555" y="-1181"/>
                        <a:pt x="13296" y="-464"/>
                        <a:pt x="16406" y="3603"/>
                      </a:cubicBezTo>
                      <a:cubicBezTo>
                        <a:pt x="19516" y="7610"/>
                        <a:pt x="18798" y="13412"/>
                        <a:pt x="14791" y="16522"/>
                      </a:cubicBezTo>
                      <a:cubicBezTo>
                        <a:pt x="10784" y="19572"/>
                        <a:pt x="5043" y="18854"/>
                        <a:pt x="1933" y="14847"/>
                      </a:cubicBezTo>
                      <a:close/>
                    </a:path>
                  </a:pathLst>
                </a:custGeom>
                <a:grpFill/>
                <a:ln w="5978" cap="flat">
                  <a:noFill/>
                  <a:prstDash val="solid"/>
                  <a:miter/>
                </a:ln>
              </p:spPr>
              <p:txBody>
                <a:bodyPr rtlCol="0" anchor="ctr"/>
                <a:lstStyle/>
                <a:p>
                  <a:endParaRPr lang="en-GB"/>
                </a:p>
              </p:txBody>
            </p:sp>
            <p:sp>
              <p:nvSpPr>
                <p:cNvPr id="2950" name="Vrije vorm: vorm 2949">
                  <a:extLst>
                    <a:ext uri="{FF2B5EF4-FFF2-40B4-BE49-F238E27FC236}">
                      <a16:creationId xmlns:a16="http://schemas.microsoft.com/office/drawing/2014/main" id="{7903454A-F20C-4D60-87FF-77296BD02B8B}"/>
                    </a:ext>
                  </a:extLst>
                </p:cNvPr>
                <p:cNvSpPr/>
                <p:nvPr/>
              </p:nvSpPr>
              <p:spPr>
                <a:xfrm>
                  <a:off x="4934036" y="1970751"/>
                  <a:ext cx="18338" cy="18413"/>
                </a:xfrm>
                <a:custGeom>
                  <a:avLst/>
                  <a:gdLst>
                    <a:gd name="connsiteX0" fmla="*/ 1933 w 18338"/>
                    <a:gd name="connsiteY0" fmla="*/ 14829 h 18413"/>
                    <a:gd name="connsiteX1" fmla="*/ 14791 w 18338"/>
                    <a:gd name="connsiteY1" fmla="*/ 16503 h 18413"/>
                    <a:gd name="connsiteX2" fmla="*/ 16406 w 18338"/>
                    <a:gd name="connsiteY2" fmla="*/ 3585 h 18413"/>
                    <a:gd name="connsiteX3" fmla="*/ 3548 w 18338"/>
                    <a:gd name="connsiteY3" fmla="*/ 1910 h 18413"/>
                    <a:gd name="connsiteX4" fmla="*/ 1933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3" y="14829"/>
                      </a:moveTo>
                      <a:cubicBezTo>
                        <a:pt x="5043" y="18836"/>
                        <a:pt x="10784" y="19613"/>
                        <a:pt x="14791" y="16503"/>
                      </a:cubicBezTo>
                      <a:cubicBezTo>
                        <a:pt x="18798" y="13393"/>
                        <a:pt x="19516" y="7592"/>
                        <a:pt x="16406" y="3585"/>
                      </a:cubicBezTo>
                      <a:cubicBezTo>
                        <a:pt x="13296" y="-422"/>
                        <a:pt x="7555" y="-1200"/>
                        <a:pt x="3548" y="1910"/>
                      </a:cubicBezTo>
                      <a:cubicBezTo>
                        <a:pt x="-459" y="5020"/>
                        <a:pt x="-1177" y="10822"/>
                        <a:pt x="1933" y="14829"/>
                      </a:cubicBezTo>
                      <a:close/>
                    </a:path>
                  </a:pathLst>
                </a:custGeom>
                <a:grpFill/>
                <a:ln w="5978" cap="flat">
                  <a:noFill/>
                  <a:prstDash val="solid"/>
                  <a:miter/>
                </a:ln>
              </p:spPr>
              <p:txBody>
                <a:bodyPr rtlCol="0" anchor="ctr"/>
                <a:lstStyle/>
                <a:p>
                  <a:endParaRPr lang="en-GB"/>
                </a:p>
              </p:txBody>
            </p:sp>
          </p:grpSp>
          <p:grpSp>
            <p:nvGrpSpPr>
              <p:cNvPr id="817" name="Graphic 3">
                <a:extLst>
                  <a:ext uri="{FF2B5EF4-FFF2-40B4-BE49-F238E27FC236}">
                    <a16:creationId xmlns:a16="http://schemas.microsoft.com/office/drawing/2014/main" id="{B6AB7F95-DAC0-4814-8909-17125ABEE29C}"/>
                  </a:ext>
                </a:extLst>
              </p:cNvPr>
              <p:cNvGrpSpPr/>
              <p:nvPr/>
            </p:nvGrpSpPr>
            <p:grpSpPr>
              <a:xfrm>
                <a:off x="6048008" y="5095531"/>
                <a:ext cx="47938" cy="476471"/>
                <a:chOff x="6048008" y="5095531"/>
                <a:chExt cx="47938" cy="476471"/>
              </a:xfrm>
              <a:grpFill/>
            </p:grpSpPr>
            <p:sp>
              <p:nvSpPr>
                <p:cNvPr id="2945" name="Vrije vorm: vorm 2944">
                  <a:extLst>
                    <a:ext uri="{FF2B5EF4-FFF2-40B4-BE49-F238E27FC236}">
                      <a16:creationId xmlns:a16="http://schemas.microsoft.com/office/drawing/2014/main" id="{50490E16-6A63-4583-BC2A-CAAE6BFCE6DA}"/>
                    </a:ext>
                  </a:extLst>
                </p:cNvPr>
                <p:cNvSpPr/>
                <p:nvPr/>
              </p:nvSpPr>
              <p:spPr>
                <a:xfrm>
                  <a:off x="6055620" y="5104167"/>
                  <a:ext cx="32714" cy="459199"/>
                </a:xfrm>
                <a:custGeom>
                  <a:avLst/>
                  <a:gdLst>
                    <a:gd name="connsiteX0" fmla="*/ 32714 w 32714"/>
                    <a:gd name="connsiteY0" fmla="*/ 239 h 459199"/>
                    <a:gd name="connsiteX1" fmla="*/ 3050 w 32714"/>
                    <a:gd name="connsiteY1" fmla="*/ 459200 h 459199"/>
                    <a:gd name="connsiteX2" fmla="*/ 0 w 32714"/>
                    <a:gd name="connsiteY2" fmla="*/ 458961 h 459199"/>
                    <a:gd name="connsiteX3" fmla="*/ 29665 w 32714"/>
                    <a:gd name="connsiteY3" fmla="*/ 0 h 459199"/>
                  </a:gdLst>
                  <a:ahLst/>
                  <a:cxnLst>
                    <a:cxn ang="0">
                      <a:pos x="connsiteX0" y="connsiteY0"/>
                    </a:cxn>
                    <a:cxn ang="0">
                      <a:pos x="connsiteX1" y="connsiteY1"/>
                    </a:cxn>
                    <a:cxn ang="0">
                      <a:pos x="connsiteX2" y="connsiteY2"/>
                    </a:cxn>
                    <a:cxn ang="0">
                      <a:pos x="connsiteX3" y="connsiteY3"/>
                    </a:cxn>
                  </a:cxnLst>
                  <a:rect l="l" t="t" r="r" b="b"/>
                  <a:pathLst>
                    <a:path w="32714" h="459199">
                      <a:moveTo>
                        <a:pt x="32714" y="239"/>
                      </a:moveTo>
                      <a:lnTo>
                        <a:pt x="3050" y="459200"/>
                      </a:lnTo>
                      <a:lnTo>
                        <a:pt x="0" y="458961"/>
                      </a:lnTo>
                      <a:lnTo>
                        <a:pt x="29665" y="0"/>
                      </a:lnTo>
                      <a:close/>
                    </a:path>
                  </a:pathLst>
                </a:custGeom>
                <a:grpFill/>
                <a:ln w="5978" cap="flat">
                  <a:noFill/>
                  <a:prstDash val="solid"/>
                  <a:miter/>
                </a:ln>
              </p:spPr>
              <p:txBody>
                <a:bodyPr rtlCol="0" anchor="ctr"/>
                <a:lstStyle/>
                <a:p>
                  <a:endParaRPr lang="en-GB"/>
                </a:p>
              </p:txBody>
            </p:sp>
            <p:sp>
              <p:nvSpPr>
                <p:cNvPr id="2946" name="Vrije vorm: vorm 2945">
                  <a:extLst>
                    <a:ext uri="{FF2B5EF4-FFF2-40B4-BE49-F238E27FC236}">
                      <a16:creationId xmlns:a16="http://schemas.microsoft.com/office/drawing/2014/main" id="{F2CC0192-CC8B-4D6C-A42D-B049FCA3C57A}"/>
                    </a:ext>
                  </a:extLst>
                </p:cNvPr>
                <p:cNvSpPr/>
                <p:nvPr/>
              </p:nvSpPr>
              <p:spPr>
                <a:xfrm>
                  <a:off x="6077613" y="5095531"/>
                  <a:ext cx="18333" cy="18407"/>
                </a:xfrm>
                <a:custGeom>
                  <a:avLst/>
                  <a:gdLst>
                    <a:gd name="connsiteX0" fmla="*/ 16 w 18333"/>
                    <a:gd name="connsiteY0" fmla="*/ 8576 h 18407"/>
                    <a:gd name="connsiteX1" fmla="*/ 9765 w 18333"/>
                    <a:gd name="connsiteY1" fmla="*/ 23 h 18407"/>
                    <a:gd name="connsiteX2" fmla="*/ 18317 w 18333"/>
                    <a:gd name="connsiteY2" fmla="*/ 9832 h 18407"/>
                    <a:gd name="connsiteX3" fmla="*/ 8569 w 18333"/>
                    <a:gd name="connsiteY3" fmla="*/ 18384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315" y="3492"/>
                        <a:pt x="4682" y="-336"/>
                        <a:pt x="9765" y="23"/>
                      </a:cubicBezTo>
                      <a:cubicBezTo>
                        <a:pt x="14789" y="382"/>
                        <a:pt x="18616" y="4748"/>
                        <a:pt x="18317" y="9832"/>
                      </a:cubicBezTo>
                      <a:cubicBezTo>
                        <a:pt x="18018" y="14916"/>
                        <a:pt x="13653" y="18743"/>
                        <a:pt x="8569" y="18384"/>
                      </a:cubicBezTo>
                      <a:cubicBezTo>
                        <a:pt x="3545" y="18025"/>
                        <a:pt x="-283" y="13660"/>
                        <a:pt x="16" y="8576"/>
                      </a:cubicBezTo>
                      <a:close/>
                    </a:path>
                  </a:pathLst>
                </a:custGeom>
                <a:grpFill/>
                <a:ln w="5978" cap="flat">
                  <a:noFill/>
                  <a:prstDash val="solid"/>
                  <a:miter/>
                </a:ln>
              </p:spPr>
              <p:txBody>
                <a:bodyPr rtlCol="0" anchor="ctr"/>
                <a:lstStyle/>
                <a:p>
                  <a:endParaRPr lang="en-GB"/>
                </a:p>
              </p:txBody>
            </p:sp>
            <p:sp>
              <p:nvSpPr>
                <p:cNvPr id="2947" name="Vrije vorm: vorm 2946">
                  <a:extLst>
                    <a:ext uri="{FF2B5EF4-FFF2-40B4-BE49-F238E27FC236}">
                      <a16:creationId xmlns:a16="http://schemas.microsoft.com/office/drawing/2014/main" id="{48920033-9821-4E68-AF55-14080F2AC41F}"/>
                    </a:ext>
                  </a:extLst>
                </p:cNvPr>
                <p:cNvSpPr/>
                <p:nvPr/>
              </p:nvSpPr>
              <p:spPr>
                <a:xfrm>
                  <a:off x="6048008" y="5553595"/>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3" y="18743"/>
                        <a:pt x="17959" y="14915"/>
                        <a:pt x="18317" y="9832"/>
                      </a:cubicBezTo>
                      <a:cubicBezTo>
                        <a:pt x="18616" y="4748"/>
                        <a:pt x="14789" y="382"/>
                        <a:pt x="9765" y="23"/>
                      </a:cubicBezTo>
                      <a:cubicBezTo>
                        <a:pt x="4741" y="-336"/>
                        <a:pt x="375" y="3492"/>
                        <a:pt x="16" y="8576"/>
                      </a:cubicBezTo>
                      <a:close/>
                    </a:path>
                  </a:pathLst>
                </a:custGeom>
                <a:grpFill/>
                <a:ln w="5978" cap="flat">
                  <a:noFill/>
                  <a:prstDash val="solid"/>
                  <a:miter/>
                </a:ln>
              </p:spPr>
              <p:txBody>
                <a:bodyPr rtlCol="0" anchor="ctr"/>
                <a:lstStyle/>
                <a:p>
                  <a:endParaRPr lang="en-GB"/>
                </a:p>
              </p:txBody>
            </p:sp>
          </p:grpSp>
          <p:grpSp>
            <p:nvGrpSpPr>
              <p:cNvPr id="818" name="Graphic 3">
                <a:extLst>
                  <a:ext uri="{FF2B5EF4-FFF2-40B4-BE49-F238E27FC236}">
                    <a16:creationId xmlns:a16="http://schemas.microsoft.com/office/drawing/2014/main" id="{4818259A-0693-4A0F-97B5-3FF351C8E611}"/>
                  </a:ext>
                </a:extLst>
              </p:cNvPr>
              <p:cNvGrpSpPr/>
              <p:nvPr/>
            </p:nvGrpSpPr>
            <p:grpSpPr>
              <a:xfrm>
                <a:off x="6083906" y="5379997"/>
                <a:ext cx="19861" cy="100298"/>
                <a:chOff x="6083906" y="5379997"/>
                <a:chExt cx="19861" cy="100298"/>
              </a:xfrm>
              <a:grpFill/>
            </p:grpSpPr>
            <p:sp>
              <p:nvSpPr>
                <p:cNvPr id="2942" name="Vrije vorm: vorm 2941">
                  <a:extLst>
                    <a:ext uri="{FF2B5EF4-FFF2-40B4-BE49-F238E27FC236}">
                      <a16:creationId xmlns:a16="http://schemas.microsoft.com/office/drawing/2014/main" id="{8D4194D0-1552-4294-9619-8FA030576F9B}"/>
                    </a:ext>
                  </a:extLst>
                </p:cNvPr>
                <p:cNvSpPr/>
                <p:nvPr/>
              </p:nvSpPr>
              <p:spPr>
                <a:xfrm>
                  <a:off x="6091504" y="5388730"/>
                  <a:ext cx="4664" cy="82832"/>
                </a:xfrm>
                <a:custGeom>
                  <a:avLst/>
                  <a:gdLst>
                    <a:gd name="connsiteX0" fmla="*/ 3050 w 4664"/>
                    <a:gd name="connsiteY0" fmla="*/ 0 h 82832"/>
                    <a:gd name="connsiteX1" fmla="*/ 4665 w 4664"/>
                    <a:gd name="connsiteY1" fmla="*/ 82833 h 82832"/>
                    <a:gd name="connsiteX2" fmla="*/ 1615 w 4664"/>
                    <a:gd name="connsiteY2" fmla="*/ 82833 h 82832"/>
                    <a:gd name="connsiteX3" fmla="*/ 0 w 4664"/>
                    <a:gd name="connsiteY3" fmla="*/ 60 h 82832"/>
                  </a:gdLst>
                  <a:ahLst/>
                  <a:cxnLst>
                    <a:cxn ang="0">
                      <a:pos x="connsiteX0" y="connsiteY0"/>
                    </a:cxn>
                    <a:cxn ang="0">
                      <a:pos x="connsiteX1" y="connsiteY1"/>
                    </a:cxn>
                    <a:cxn ang="0">
                      <a:pos x="connsiteX2" y="connsiteY2"/>
                    </a:cxn>
                    <a:cxn ang="0">
                      <a:pos x="connsiteX3" y="connsiteY3"/>
                    </a:cxn>
                  </a:cxnLst>
                  <a:rect l="l" t="t" r="r" b="b"/>
                  <a:pathLst>
                    <a:path w="4664" h="82832">
                      <a:moveTo>
                        <a:pt x="3050" y="0"/>
                      </a:moveTo>
                      <a:lnTo>
                        <a:pt x="4665" y="82833"/>
                      </a:lnTo>
                      <a:lnTo>
                        <a:pt x="1615" y="82833"/>
                      </a:lnTo>
                      <a:lnTo>
                        <a:pt x="0" y="60"/>
                      </a:lnTo>
                      <a:close/>
                    </a:path>
                  </a:pathLst>
                </a:custGeom>
                <a:grpFill/>
                <a:ln w="5978" cap="flat">
                  <a:noFill/>
                  <a:prstDash val="solid"/>
                  <a:miter/>
                </a:ln>
              </p:spPr>
              <p:txBody>
                <a:bodyPr rtlCol="0" anchor="ctr"/>
                <a:lstStyle/>
                <a:p>
                  <a:endParaRPr lang="en-GB"/>
                </a:p>
              </p:txBody>
            </p:sp>
            <p:sp>
              <p:nvSpPr>
                <p:cNvPr id="2943" name="Vrije vorm: vorm 2942">
                  <a:extLst>
                    <a:ext uri="{FF2B5EF4-FFF2-40B4-BE49-F238E27FC236}">
                      <a16:creationId xmlns:a16="http://schemas.microsoft.com/office/drawing/2014/main" id="{2CD069CE-DF20-48D7-9424-E3ED41D99505}"/>
                    </a:ext>
                  </a:extLst>
                </p:cNvPr>
                <p:cNvSpPr/>
                <p:nvPr/>
              </p:nvSpPr>
              <p:spPr>
                <a:xfrm>
                  <a:off x="6085461" y="5461873"/>
                  <a:ext cx="18306" cy="18422"/>
                </a:xfrm>
                <a:custGeom>
                  <a:avLst/>
                  <a:gdLst>
                    <a:gd name="connsiteX0" fmla="*/ 18304 w 18306"/>
                    <a:gd name="connsiteY0" fmla="*/ 9091 h 18422"/>
                    <a:gd name="connsiteX1" fmla="*/ 9332 w 18306"/>
                    <a:gd name="connsiteY1" fmla="*/ 18421 h 18422"/>
                    <a:gd name="connsiteX2" fmla="*/ 3 w 18306"/>
                    <a:gd name="connsiteY2" fmla="*/ 9331 h 18422"/>
                    <a:gd name="connsiteX3" fmla="*/ 8974 w 18306"/>
                    <a:gd name="connsiteY3" fmla="*/ 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423" y="14175"/>
                        <a:pt x="14356" y="18362"/>
                        <a:pt x="9332" y="18421"/>
                      </a:cubicBezTo>
                      <a:cubicBezTo>
                        <a:pt x="4249" y="18481"/>
                        <a:pt x="62" y="14414"/>
                        <a:pt x="3" y="9331"/>
                      </a:cubicBezTo>
                      <a:cubicBezTo>
                        <a:pt x="-117" y="4247"/>
                        <a:pt x="3950" y="61"/>
                        <a:pt x="8974" y="1"/>
                      </a:cubicBezTo>
                      <a:cubicBezTo>
                        <a:pt x="14057" y="-59"/>
                        <a:pt x="18244" y="4008"/>
                        <a:pt x="18304" y="9091"/>
                      </a:cubicBezTo>
                      <a:close/>
                    </a:path>
                  </a:pathLst>
                </a:custGeom>
                <a:grpFill/>
                <a:ln w="5978" cap="flat">
                  <a:noFill/>
                  <a:prstDash val="solid"/>
                  <a:miter/>
                </a:ln>
              </p:spPr>
              <p:txBody>
                <a:bodyPr rtlCol="0" anchor="ctr"/>
                <a:lstStyle/>
                <a:p>
                  <a:endParaRPr lang="en-GB"/>
                </a:p>
              </p:txBody>
            </p:sp>
            <p:sp>
              <p:nvSpPr>
                <p:cNvPr id="2944" name="Vrije vorm: vorm 2943">
                  <a:extLst>
                    <a:ext uri="{FF2B5EF4-FFF2-40B4-BE49-F238E27FC236}">
                      <a16:creationId xmlns:a16="http://schemas.microsoft.com/office/drawing/2014/main" id="{E899780C-1734-438A-BAF4-863D3A96BCE6}"/>
                    </a:ext>
                  </a:extLst>
                </p:cNvPr>
                <p:cNvSpPr/>
                <p:nvPr/>
              </p:nvSpPr>
              <p:spPr>
                <a:xfrm>
                  <a:off x="6083906" y="5379997"/>
                  <a:ext cx="18306" cy="18422"/>
                </a:xfrm>
                <a:custGeom>
                  <a:avLst/>
                  <a:gdLst>
                    <a:gd name="connsiteX0" fmla="*/ 18304 w 18306"/>
                    <a:gd name="connsiteY0" fmla="*/ 9091 h 18422"/>
                    <a:gd name="connsiteX1" fmla="*/ 8974 w 18306"/>
                    <a:gd name="connsiteY1" fmla="*/ 1 h 18422"/>
                    <a:gd name="connsiteX2" fmla="*/ 3 w 18306"/>
                    <a:gd name="connsiteY2" fmla="*/ 9331 h 18422"/>
                    <a:gd name="connsiteX3" fmla="*/ 9333 w 18306"/>
                    <a:gd name="connsiteY3" fmla="*/ 1842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184" y="4008"/>
                        <a:pt x="13998" y="-59"/>
                        <a:pt x="8974" y="1"/>
                      </a:cubicBezTo>
                      <a:cubicBezTo>
                        <a:pt x="3890" y="61"/>
                        <a:pt x="-117" y="4247"/>
                        <a:pt x="3" y="9331"/>
                      </a:cubicBezTo>
                      <a:cubicBezTo>
                        <a:pt x="122" y="14414"/>
                        <a:pt x="4309" y="18481"/>
                        <a:pt x="9333" y="18421"/>
                      </a:cubicBezTo>
                      <a:cubicBezTo>
                        <a:pt x="14356" y="18362"/>
                        <a:pt x="18423" y="14175"/>
                        <a:pt x="18304" y="9091"/>
                      </a:cubicBezTo>
                      <a:close/>
                    </a:path>
                  </a:pathLst>
                </a:custGeom>
                <a:grpFill/>
                <a:ln w="5978" cap="flat">
                  <a:noFill/>
                  <a:prstDash val="solid"/>
                  <a:miter/>
                </a:ln>
              </p:spPr>
              <p:txBody>
                <a:bodyPr rtlCol="0" anchor="ctr"/>
                <a:lstStyle/>
                <a:p>
                  <a:endParaRPr lang="en-GB"/>
                </a:p>
              </p:txBody>
            </p:sp>
          </p:grpSp>
          <p:grpSp>
            <p:nvGrpSpPr>
              <p:cNvPr id="819" name="Graphic 3">
                <a:extLst>
                  <a:ext uri="{FF2B5EF4-FFF2-40B4-BE49-F238E27FC236}">
                    <a16:creationId xmlns:a16="http://schemas.microsoft.com/office/drawing/2014/main" id="{72AB6DA1-E1A8-444F-BC0B-DC83851BE934}"/>
                  </a:ext>
                </a:extLst>
              </p:cNvPr>
              <p:cNvGrpSpPr/>
              <p:nvPr/>
            </p:nvGrpSpPr>
            <p:grpSpPr>
              <a:xfrm>
                <a:off x="6047247" y="5240408"/>
                <a:ext cx="18360" cy="155080"/>
                <a:chOff x="6047247" y="5240408"/>
                <a:chExt cx="18360" cy="155080"/>
              </a:xfrm>
              <a:grpFill/>
            </p:grpSpPr>
            <p:sp>
              <p:nvSpPr>
                <p:cNvPr id="2939" name="Vrije vorm: vorm 2938">
                  <a:extLst>
                    <a:ext uri="{FF2B5EF4-FFF2-40B4-BE49-F238E27FC236}">
                      <a16:creationId xmlns:a16="http://schemas.microsoft.com/office/drawing/2014/main" id="{D7C2F870-5AED-46CA-9571-9AAC362805A3}"/>
                    </a:ext>
                  </a:extLst>
                </p:cNvPr>
                <p:cNvSpPr/>
                <p:nvPr/>
              </p:nvSpPr>
              <p:spPr>
                <a:xfrm>
                  <a:off x="6054843" y="5249199"/>
                  <a:ext cx="3169" cy="137497"/>
                </a:xfrm>
                <a:custGeom>
                  <a:avLst/>
                  <a:gdLst>
                    <a:gd name="connsiteX0" fmla="*/ 3050 w 3169"/>
                    <a:gd name="connsiteY0" fmla="*/ 0 h 137497"/>
                    <a:gd name="connsiteX1" fmla="*/ 3170 w 3169"/>
                    <a:gd name="connsiteY1" fmla="*/ 137497 h 137497"/>
                    <a:gd name="connsiteX2" fmla="*/ 120 w 3169"/>
                    <a:gd name="connsiteY2" fmla="*/ 137497 h 137497"/>
                    <a:gd name="connsiteX3" fmla="*/ 0 w 3169"/>
                    <a:gd name="connsiteY3" fmla="*/ 0 h 137497"/>
                  </a:gdLst>
                  <a:ahLst/>
                  <a:cxnLst>
                    <a:cxn ang="0">
                      <a:pos x="connsiteX0" y="connsiteY0"/>
                    </a:cxn>
                    <a:cxn ang="0">
                      <a:pos x="connsiteX1" y="connsiteY1"/>
                    </a:cxn>
                    <a:cxn ang="0">
                      <a:pos x="connsiteX2" y="connsiteY2"/>
                    </a:cxn>
                    <a:cxn ang="0">
                      <a:pos x="connsiteX3" y="connsiteY3"/>
                    </a:cxn>
                  </a:cxnLst>
                  <a:rect l="l" t="t" r="r" b="b"/>
                  <a:pathLst>
                    <a:path w="3169" h="137497">
                      <a:moveTo>
                        <a:pt x="3050" y="0"/>
                      </a:moveTo>
                      <a:lnTo>
                        <a:pt x="3170" y="137497"/>
                      </a:lnTo>
                      <a:lnTo>
                        <a:pt x="120" y="137497"/>
                      </a:lnTo>
                      <a:lnTo>
                        <a:pt x="0" y="0"/>
                      </a:lnTo>
                      <a:close/>
                    </a:path>
                  </a:pathLst>
                </a:custGeom>
                <a:grpFill/>
                <a:ln w="5978" cap="flat">
                  <a:noFill/>
                  <a:prstDash val="solid"/>
                  <a:miter/>
                </a:ln>
              </p:spPr>
              <p:txBody>
                <a:bodyPr rtlCol="0" anchor="ctr"/>
                <a:lstStyle/>
                <a:p>
                  <a:endParaRPr lang="en-GB"/>
                </a:p>
              </p:txBody>
            </p:sp>
            <p:sp>
              <p:nvSpPr>
                <p:cNvPr id="2940" name="Vrije vorm: vorm 2939">
                  <a:extLst>
                    <a:ext uri="{FF2B5EF4-FFF2-40B4-BE49-F238E27FC236}">
                      <a16:creationId xmlns:a16="http://schemas.microsoft.com/office/drawing/2014/main" id="{5A0A16F5-ACC7-4C1E-AD83-E3ABA54D8D76}"/>
                    </a:ext>
                  </a:extLst>
                </p:cNvPr>
                <p:cNvSpPr/>
                <p:nvPr/>
              </p:nvSpPr>
              <p:spPr>
                <a:xfrm>
                  <a:off x="6047307" y="5377007"/>
                  <a:ext cx="18300" cy="18480"/>
                </a:xfrm>
                <a:custGeom>
                  <a:avLst/>
                  <a:gdLst>
                    <a:gd name="connsiteX0" fmla="*/ 18301 w 18300"/>
                    <a:gd name="connsiteY0" fmla="*/ 9270 h 18480"/>
                    <a:gd name="connsiteX1" fmla="*/ 9151 w 18300"/>
                    <a:gd name="connsiteY1" fmla="*/ 18481 h 18480"/>
                    <a:gd name="connsiteX2" fmla="*/ 0 w 18300"/>
                    <a:gd name="connsiteY2" fmla="*/ 9211 h 18480"/>
                    <a:gd name="connsiteX3" fmla="*/ 9151 w 18300"/>
                    <a:gd name="connsiteY3" fmla="*/ 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14354"/>
                        <a:pt x="14174" y="18481"/>
                        <a:pt x="9151" y="18481"/>
                      </a:cubicBezTo>
                      <a:cubicBezTo>
                        <a:pt x="4067" y="18481"/>
                        <a:pt x="0" y="14354"/>
                        <a:pt x="0" y="9211"/>
                      </a:cubicBezTo>
                      <a:cubicBezTo>
                        <a:pt x="0" y="4127"/>
                        <a:pt x="4127" y="0"/>
                        <a:pt x="9151" y="0"/>
                      </a:cubicBezTo>
                      <a:cubicBezTo>
                        <a:pt x="14234" y="0"/>
                        <a:pt x="18301" y="4187"/>
                        <a:pt x="18301" y="9270"/>
                      </a:cubicBezTo>
                      <a:close/>
                    </a:path>
                  </a:pathLst>
                </a:custGeom>
                <a:grpFill/>
                <a:ln w="5978" cap="flat">
                  <a:noFill/>
                  <a:prstDash val="solid"/>
                  <a:miter/>
                </a:ln>
              </p:spPr>
              <p:txBody>
                <a:bodyPr rtlCol="0" anchor="ctr"/>
                <a:lstStyle/>
                <a:p>
                  <a:endParaRPr lang="en-GB"/>
                </a:p>
              </p:txBody>
            </p:sp>
            <p:sp>
              <p:nvSpPr>
                <p:cNvPr id="2941" name="Vrije vorm: vorm 2940">
                  <a:extLst>
                    <a:ext uri="{FF2B5EF4-FFF2-40B4-BE49-F238E27FC236}">
                      <a16:creationId xmlns:a16="http://schemas.microsoft.com/office/drawing/2014/main" id="{78B9747B-8A3F-402F-8E76-31189C13FCF8}"/>
                    </a:ext>
                  </a:extLst>
                </p:cNvPr>
                <p:cNvSpPr/>
                <p:nvPr/>
              </p:nvSpPr>
              <p:spPr>
                <a:xfrm>
                  <a:off x="6047247" y="5240408"/>
                  <a:ext cx="18300" cy="18480"/>
                </a:xfrm>
                <a:custGeom>
                  <a:avLst/>
                  <a:gdLst>
                    <a:gd name="connsiteX0" fmla="*/ 18301 w 18300"/>
                    <a:gd name="connsiteY0" fmla="*/ 9270 h 18480"/>
                    <a:gd name="connsiteX1" fmla="*/ 9151 w 18300"/>
                    <a:gd name="connsiteY1" fmla="*/ 0 h 18480"/>
                    <a:gd name="connsiteX2" fmla="*/ 0 w 18300"/>
                    <a:gd name="connsiteY2" fmla="*/ 9210 h 18480"/>
                    <a:gd name="connsiteX3" fmla="*/ 9151 w 18300"/>
                    <a:gd name="connsiteY3" fmla="*/ 1848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4187"/>
                        <a:pt x="14174" y="60"/>
                        <a:pt x="9151" y="0"/>
                      </a:cubicBezTo>
                      <a:cubicBezTo>
                        <a:pt x="4067" y="0"/>
                        <a:pt x="0" y="4067"/>
                        <a:pt x="0" y="9210"/>
                      </a:cubicBezTo>
                      <a:cubicBezTo>
                        <a:pt x="0" y="14294"/>
                        <a:pt x="4127" y="18421"/>
                        <a:pt x="9151" y="18480"/>
                      </a:cubicBezTo>
                      <a:cubicBezTo>
                        <a:pt x="14174" y="18480"/>
                        <a:pt x="18301" y="14354"/>
                        <a:pt x="18301" y="9270"/>
                      </a:cubicBezTo>
                      <a:close/>
                    </a:path>
                  </a:pathLst>
                </a:custGeom>
                <a:grpFill/>
                <a:ln w="5978" cap="flat">
                  <a:noFill/>
                  <a:prstDash val="solid"/>
                  <a:miter/>
                </a:ln>
              </p:spPr>
              <p:txBody>
                <a:bodyPr rtlCol="0" anchor="ctr"/>
                <a:lstStyle/>
                <a:p>
                  <a:endParaRPr lang="en-GB"/>
                </a:p>
              </p:txBody>
            </p:sp>
          </p:grpSp>
          <p:grpSp>
            <p:nvGrpSpPr>
              <p:cNvPr id="820" name="Graphic 3">
                <a:extLst>
                  <a:ext uri="{FF2B5EF4-FFF2-40B4-BE49-F238E27FC236}">
                    <a16:creationId xmlns:a16="http://schemas.microsoft.com/office/drawing/2014/main" id="{AD284F96-B549-4FBB-849E-3398D0F737BE}"/>
                  </a:ext>
                </a:extLst>
              </p:cNvPr>
              <p:cNvGrpSpPr/>
              <p:nvPr/>
            </p:nvGrpSpPr>
            <p:grpSpPr>
              <a:xfrm>
                <a:off x="4793705" y="1725799"/>
                <a:ext cx="208906" cy="274369"/>
                <a:chOff x="4793705" y="1725799"/>
                <a:chExt cx="208906" cy="274369"/>
              </a:xfrm>
              <a:grpFill/>
            </p:grpSpPr>
            <p:sp>
              <p:nvSpPr>
                <p:cNvPr id="2936" name="Vrije vorm: vorm 2935">
                  <a:extLst>
                    <a:ext uri="{FF2B5EF4-FFF2-40B4-BE49-F238E27FC236}">
                      <a16:creationId xmlns:a16="http://schemas.microsoft.com/office/drawing/2014/main" id="{A6FAEA5F-AA47-4D86-AEB2-BB297427B140}"/>
                    </a:ext>
                  </a:extLst>
                </p:cNvPr>
                <p:cNvSpPr/>
                <p:nvPr/>
              </p:nvSpPr>
              <p:spPr>
                <a:xfrm>
                  <a:off x="4801403" y="1733732"/>
                  <a:ext cx="193476" cy="258486"/>
                </a:xfrm>
                <a:custGeom>
                  <a:avLst/>
                  <a:gdLst>
                    <a:gd name="connsiteX0" fmla="*/ 193477 w 193476"/>
                    <a:gd name="connsiteY0" fmla="*/ 256693 h 258486"/>
                    <a:gd name="connsiteX1" fmla="*/ 191024 w 193476"/>
                    <a:gd name="connsiteY1" fmla="*/ 258487 h 258486"/>
                    <a:gd name="connsiteX2" fmla="*/ 0 w 193476"/>
                    <a:gd name="connsiteY2" fmla="*/ 1854 h 258486"/>
                    <a:gd name="connsiteX3" fmla="*/ 2392 w 193476"/>
                    <a:gd name="connsiteY3" fmla="*/ 0 h 258486"/>
                  </a:gdLst>
                  <a:ahLst/>
                  <a:cxnLst>
                    <a:cxn ang="0">
                      <a:pos x="connsiteX0" y="connsiteY0"/>
                    </a:cxn>
                    <a:cxn ang="0">
                      <a:pos x="connsiteX1" y="connsiteY1"/>
                    </a:cxn>
                    <a:cxn ang="0">
                      <a:pos x="connsiteX2" y="connsiteY2"/>
                    </a:cxn>
                    <a:cxn ang="0">
                      <a:pos x="connsiteX3" y="connsiteY3"/>
                    </a:cxn>
                  </a:cxnLst>
                  <a:rect l="l" t="t" r="r" b="b"/>
                  <a:pathLst>
                    <a:path w="193476" h="258486">
                      <a:moveTo>
                        <a:pt x="193477" y="256693"/>
                      </a:moveTo>
                      <a:lnTo>
                        <a:pt x="191024" y="258487"/>
                      </a:lnTo>
                      <a:lnTo>
                        <a:pt x="0" y="1854"/>
                      </a:lnTo>
                      <a:lnTo>
                        <a:pt x="2392" y="0"/>
                      </a:lnTo>
                      <a:close/>
                    </a:path>
                  </a:pathLst>
                </a:custGeom>
                <a:grpFill/>
                <a:ln w="5978" cap="flat">
                  <a:noFill/>
                  <a:prstDash val="solid"/>
                  <a:miter/>
                </a:ln>
              </p:spPr>
              <p:txBody>
                <a:bodyPr rtlCol="0" anchor="ctr"/>
                <a:lstStyle/>
                <a:p>
                  <a:endParaRPr lang="en-GB"/>
                </a:p>
              </p:txBody>
            </p:sp>
            <p:sp>
              <p:nvSpPr>
                <p:cNvPr id="2937" name="Vrije vorm: vorm 2936">
                  <a:extLst>
                    <a:ext uri="{FF2B5EF4-FFF2-40B4-BE49-F238E27FC236}">
                      <a16:creationId xmlns:a16="http://schemas.microsoft.com/office/drawing/2014/main" id="{465DF0A2-1132-43E1-A432-A04AEC8F3B73}"/>
                    </a:ext>
                  </a:extLst>
                </p:cNvPr>
                <p:cNvSpPr/>
                <p:nvPr/>
              </p:nvSpPr>
              <p:spPr>
                <a:xfrm>
                  <a:off x="4793705" y="1725799"/>
                  <a:ext cx="18386" cy="18454"/>
                </a:xfrm>
                <a:custGeom>
                  <a:avLst/>
                  <a:gdLst>
                    <a:gd name="connsiteX0" fmla="*/ 1837 w 18386"/>
                    <a:gd name="connsiteY0" fmla="*/ 14751 h 18454"/>
                    <a:gd name="connsiteX1" fmla="*/ 3691 w 18386"/>
                    <a:gd name="connsiteY1" fmla="*/ 1833 h 18454"/>
                    <a:gd name="connsiteX2" fmla="*/ 16549 w 18386"/>
                    <a:gd name="connsiteY2" fmla="*/ 3747 h 18454"/>
                    <a:gd name="connsiteX3" fmla="*/ 14695 w 18386"/>
                    <a:gd name="connsiteY3" fmla="*/ 16665 h 18454"/>
                    <a:gd name="connsiteX4" fmla="*/ 1837 w 18386"/>
                    <a:gd name="connsiteY4" fmla="*/ 1475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6" h="18454">
                      <a:moveTo>
                        <a:pt x="1837" y="14751"/>
                      </a:moveTo>
                      <a:cubicBezTo>
                        <a:pt x="-1213" y="10684"/>
                        <a:pt x="-376" y="4883"/>
                        <a:pt x="3691" y="1833"/>
                      </a:cubicBezTo>
                      <a:cubicBezTo>
                        <a:pt x="7758" y="-1217"/>
                        <a:pt x="13499" y="-380"/>
                        <a:pt x="16549" y="3747"/>
                      </a:cubicBezTo>
                      <a:cubicBezTo>
                        <a:pt x="19599" y="7813"/>
                        <a:pt x="18762" y="13615"/>
                        <a:pt x="14695" y="16665"/>
                      </a:cubicBezTo>
                      <a:cubicBezTo>
                        <a:pt x="10628" y="19655"/>
                        <a:pt x="4887" y="18818"/>
                        <a:pt x="1837" y="14751"/>
                      </a:cubicBezTo>
                      <a:close/>
                    </a:path>
                  </a:pathLst>
                </a:custGeom>
                <a:grpFill/>
                <a:ln w="5978" cap="flat">
                  <a:noFill/>
                  <a:prstDash val="solid"/>
                  <a:miter/>
                </a:ln>
              </p:spPr>
              <p:txBody>
                <a:bodyPr rtlCol="0" anchor="ctr"/>
                <a:lstStyle/>
                <a:p>
                  <a:endParaRPr lang="en-GB"/>
                </a:p>
              </p:txBody>
            </p:sp>
            <p:sp>
              <p:nvSpPr>
                <p:cNvPr id="2938" name="Vrije vorm: vorm 2937">
                  <a:extLst>
                    <a:ext uri="{FF2B5EF4-FFF2-40B4-BE49-F238E27FC236}">
                      <a16:creationId xmlns:a16="http://schemas.microsoft.com/office/drawing/2014/main" id="{B45AB3C2-90CA-4A62-8D13-2A6834D45D39}"/>
                    </a:ext>
                  </a:extLst>
                </p:cNvPr>
                <p:cNvSpPr/>
                <p:nvPr/>
              </p:nvSpPr>
              <p:spPr>
                <a:xfrm>
                  <a:off x="4984233" y="1981757"/>
                  <a:ext cx="18378" cy="18411"/>
                </a:xfrm>
                <a:custGeom>
                  <a:avLst/>
                  <a:gdLst>
                    <a:gd name="connsiteX0" fmla="*/ 1854 w 18378"/>
                    <a:gd name="connsiteY0" fmla="*/ 14708 h 18411"/>
                    <a:gd name="connsiteX1" fmla="*/ 14713 w 18378"/>
                    <a:gd name="connsiteY1" fmla="*/ 16622 h 18411"/>
                    <a:gd name="connsiteX2" fmla="*/ 16567 w 18378"/>
                    <a:gd name="connsiteY2" fmla="*/ 3703 h 18411"/>
                    <a:gd name="connsiteX3" fmla="*/ 3708 w 18378"/>
                    <a:gd name="connsiteY3" fmla="*/ 1790 h 18411"/>
                    <a:gd name="connsiteX4" fmla="*/ 1854 w 18378"/>
                    <a:gd name="connsiteY4" fmla="*/ 1470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11">
                      <a:moveTo>
                        <a:pt x="1854" y="14708"/>
                      </a:moveTo>
                      <a:cubicBezTo>
                        <a:pt x="4905" y="18775"/>
                        <a:pt x="10646" y="19612"/>
                        <a:pt x="14713" y="16622"/>
                      </a:cubicBezTo>
                      <a:cubicBezTo>
                        <a:pt x="18780" y="13572"/>
                        <a:pt x="19558" y="7830"/>
                        <a:pt x="16567" y="3703"/>
                      </a:cubicBezTo>
                      <a:cubicBezTo>
                        <a:pt x="13517" y="-364"/>
                        <a:pt x="7775" y="-1201"/>
                        <a:pt x="3708" y="1790"/>
                      </a:cubicBezTo>
                      <a:cubicBezTo>
                        <a:pt x="-418" y="4840"/>
                        <a:pt x="-1196" y="10641"/>
                        <a:pt x="1854" y="14708"/>
                      </a:cubicBezTo>
                      <a:close/>
                    </a:path>
                  </a:pathLst>
                </a:custGeom>
                <a:grpFill/>
                <a:ln w="5978" cap="flat">
                  <a:noFill/>
                  <a:prstDash val="solid"/>
                  <a:miter/>
                </a:ln>
              </p:spPr>
              <p:txBody>
                <a:bodyPr rtlCol="0" anchor="ctr"/>
                <a:lstStyle/>
                <a:p>
                  <a:endParaRPr lang="en-GB"/>
                </a:p>
              </p:txBody>
            </p:sp>
          </p:grpSp>
          <p:grpSp>
            <p:nvGrpSpPr>
              <p:cNvPr id="821" name="Graphic 3">
                <a:extLst>
                  <a:ext uri="{FF2B5EF4-FFF2-40B4-BE49-F238E27FC236}">
                    <a16:creationId xmlns:a16="http://schemas.microsoft.com/office/drawing/2014/main" id="{D44FDF04-C7B0-454F-AADC-6CE0B52C2609}"/>
                  </a:ext>
                </a:extLst>
              </p:cNvPr>
              <p:cNvGrpSpPr/>
              <p:nvPr/>
            </p:nvGrpSpPr>
            <p:grpSpPr>
              <a:xfrm>
                <a:off x="4876043" y="1952393"/>
                <a:ext cx="128583" cy="155527"/>
                <a:chOff x="4876043" y="1952393"/>
                <a:chExt cx="128583" cy="155527"/>
              </a:xfrm>
              <a:grpFill/>
            </p:grpSpPr>
            <p:sp>
              <p:nvSpPr>
                <p:cNvPr id="2933" name="Vrije vorm: vorm 2932">
                  <a:extLst>
                    <a:ext uri="{FF2B5EF4-FFF2-40B4-BE49-F238E27FC236}">
                      <a16:creationId xmlns:a16="http://schemas.microsoft.com/office/drawing/2014/main" id="{642BB815-D32D-4746-9F34-A4D30308B465}"/>
                    </a:ext>
                  </a:extLst>
                </p:cNvPr>
                <p:cNvSpPr/>
                <p:nvPr/>
              </p:nvSpPr>
              <p:spPr>
                <a:xfrm>
                  <a:off x="4883757" y="1960341"/>
                  <a:ext cx="113095" cy="139649"/>
                </a:xfrm>
                <a:custGeom>
                  <a:avLst/>
                  <a:gdLst>
                    <a:gd name="connsiteX0" fmla="*/ 113095 w 113095"/>
                    <a:gd name="connsiteY0" fmla="*/ 137736 h 139649"/>
                    <a:gd name="connsiteX1" fmla="*/ 110763 w 113095"/>
                    <a:gd name="connsiteY1" fmla="*/ 139650 h 139649"/>
                    <a:gd name="connsiteX2" fmla="*/ 0 w 113095"/>
                    <a:gd name="connsiteY2" fmla="*/ 1914 h 139649"/>
                    <a:gd name="connsiteX3" fmla="*/ 2333 w 113095"/>
                    <a:gd name="connsiteY3" fmla="*/ 0 h 139649"/>
                  </a:gdLst>
                  <a:ahLst/>
                  <a:cxnLst>
                    <a:cxn ang="0">
                      <a:pos x="connsiteX0" y="connsiteY0"/>
                    </a:cxn>
                    <a:cxn ang="0">
                      <a:pos x="connsiteX1" y="connsiteY1"/>
                    </a:cxn>
                    <a:cxn ang="0">
                      <a:pos x="connsiteX2" y="connsiteY2"/>
                    </a:cxn>
                    <a:cxn ang="0">
                      <a:pos x="connsiteX3" y="connsiteY3"/>
                    </a:cxn>
                  </a:cxnLst>
                  <a:rect l="l" t="t" r="r" b="b"/>
                  <a:pathLst>
                    <a:path w="113095" h="139649">
                      <a:moveTo>
                        <a:pt x="113095" y="137736"/>
                      </a:moveTo>
                      <a:lnTo>
                        <a:pt x="110763" y="139650"/>
                      </a:lnTo>
                      <a:lnTo>
                        <a:pt x="0" y="1914"/>
                      </a:lnTo>
                      <a:lnTo>
                        <a:pt x="2333" y="0"/>
                      </a:lnTo>
                      <a:close/>
                    </a:path>
                  </a:pathLst>
                </a:custGeom>
                <a:grpFill/>
                <a:ln w="5978" cap="flat">
                  <a:noFill/>
                  <a:prstDash val="solid"/>
                  <a:miter/>
                </a:ln>
              </p:spPr>
              <p:txBody>
                <a:bodyPr rtlCol="0" anchor="ctr"/>
                <a:lstStyle/>
                <a:p>
                  <a:endParaRPr lang="en-GB"/>
                </a:p>
              </p:txBody>
            </p:sp>
            <p:sp>
              <p:nvSpPr>
                <p:cNvPr id="2934" name="Vrije vorm: vorm 2933">
                  <a:extLst>
                    <a:ext uri="{FF2B5EF4-FFF2-40B4-BE49-F238E27FC236}">
                      <a16:creationId xmlns:a16="http://schemas.microsoft.com/office/drawing/2014/main" id="{ADFA3144-AE95-4458-B349-A91625E3A95F}"/>
                    </a:ext>
                  </a:extLst>
                </p:cNvPr>
                <p:cNvSpPr/>
                <p:nvPr/>
              </p:nvSpPr>
              <p:spPr>
                <a:xfrm>
                  <a:off x="4876043" y="1952393"/>
                  <a:ext cx="18358" cy="18449"/>
                </a:xfrm>
                <a:custGeom>
                  <a:avLst/>
                  <a:gdLst>
                    <a:gd name="connsiteX0" fmla="*/ 2032 w 18358"/>
                    <a:gd name="connsiteY0" fmla="*/ 15006 h 18449"/>
                    <a:gd name="connsiteX1" fmla="*/ 3408 w 18358"/>
                    <a:gd name="connsiteY1" fmla="*/ 2028 h 18449"/>
                    <a:gd name="connsiteX2" fmla="*/ 16326 w 18358"/>
                    <a:gd name="connsiteY2" fmla="*/ 3463 h 18449"/>
                    <a:gd name="connsiteX3" fmla="*/ 14951 w 18358"/>
                    <a:gd name="connsiteY3" fmla="*/ 16441 h 18449"/>
                    <a:gd name="connsiteX4" fmla="*/ 2032 w 18358"/>
                    <a:gd name="connsiteY4" fmla="*/ 15006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9">
                      <a:moveTo>
                        <a:pt x="2032" y="15006"/>
                      </a:moveTo>
                      <a:cubicBezTo>
                        <a:pt x="-1137" y="11058"/>
                        <a:pt x="-539" y="5257"/>
                        <a:pt x="3408" y="2028"/>
                      </a:cubicBezTo>
                      <a:cubicBezTo>
                        <a:pt x="7355" y="-1142"/>
                        <a:pt x="13097" y="-544"/>
                        <a:pt x="16326" y="3463"/>
                      </a:cubicBezTo>
                      <a:cubicBezTo>
                        <a:pt x="19496" y="7410"/>
                        <a:pt x="18898" y="13211"/>
                        <a:pt x="14951" y="16441"/>
                      </a:cubicBezTo>
                      <a:cubicBezTo>
                        <a:pt x="11003" y="19611"/>
                        <a:pt x="5262" y="18953"/>
                        <a:pt x="2032" y="15006"/>
                      </a:cubicBezTo>
                      <a:close/>
                    </a:path>
                  </a:pathLst>
                </a:custGeom>
                <a:grpFill/>
                <a:ln w="5978" cap="flat">
                  <a:noFill/>
                  <a:prstDash val="solid"/>
                  <a:miter/>
                </a:ln>
              </p:spPr>
              <p:txBody>
                <a:bodyPr rtlCol="0" anchor="ctr"/>
                <a:lstStyle/>
                <a:p>
                  <a:endParaRPr lang="en-GB"/>
                </a:p>
              </p:txBody>
            </p:sp>
            <p:sp>
              <p:nvSpPr>
                <p:cNvPr id="2935" name="Vrije vorm: vorm 2934">
                  <a:extLst>
                    <a:ext uri="{FF2B5EF4-FFF2-40B4-BE49-F238E27FC236}">
                      <a16:creationId xmlns:a16="http://schemas.microsoft.com/office/drawing/2014/main" id="{860C9081-BF54-4120-9CC8-FE81EA60C6F2}"/>
                    </a:ext>
                  </a:extLst>
                </p:cNvPr>
                <p:cNvSpPr/>
                <p:nvPr/>
              </p:nvSpPr>
              <p:spPr>
                <a:xfrm>
                  <a:off x="4986224" y="2089490"/>
                  <a:ext cx="18402" cy="18430"/>
                </a:xfrm>
                <a:custGeom>
                  <a:avLst/>
                  <a:gdLst>
                    <a:gd name="connsiteX0" fmla="*/ 2076 w 18402"/>
                    <a:gd name="connsiteY0" fmla="*/ 14987 h 18430"/>
                    <a:gd name="connsiteX1" fmla="*/ 14995 w 18402"/>
                    <a:gd name="connsiteY1" fmla="*/ 16422 h 18430"/>
                    <a:gd name="connsiteX2" fmla="*/ 16370 w 18402"/>
                    <a:gd name="connsiteY2" fmla="*/ 3444 h 18430"/>
                    <a:gd name="connsiteX3" fmla="*/ 3452 w 18402"/>
                    <a:gd name="connsiteY3" fmla="*/ 2009 h 18430"/>
                    <a:gd name="connsiteX4" fmla="*/ 2076 w 18402"/>
                    <a:gd name="connsiteY4" fmla="*/ 149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2" h="18430">
                      <a:moveTo>
                        <a:pt x="2076" y="14987"/>
                      </a:moveTo>
                      <a:cubicBezTo>
                        <a:pt x="5246" y="18934"/>
                        <a:pt x="11047" y="19592"/>
                        <a:pt x="14995" y="16422"/>
                      </a:cubicBezTo>
                      <a:cubicBezTo>
                        <a:pt x="18942" y="13252"/>
                        <a:pt x="19540" y="7451"/>
                        <a:pt x="16370" y="3444"/>
                      </a:cubicBezTo>
                      <a:cubicBezTo>
                        <a:pt x="13200" y="-503"/>
                        <a:pt x="7399" y="-1161"/>
                        <a:pt x="3452" y="2009"/>
                      </a:cubicBezTo>
                      <a:cubicBezTo>
                        <a:pt x="-555" y="5178"/>
                        <a:pt x="-1153" y="10980"/>
                        <a:pt x="2076" y="14987"/>
                      </a:cubicBezTo>
                      <a:close/>
                    </a:path>
                  </a:pathLst>
                </a:custGeom>
                <a:grpFill/>
                <a:ln w="5978" cap="flat">
                  <a:noFill/>
                  <a:prstDash val="solid"/>
                  <a:miter/>
                </a:ln>
              </p:spPr>
              <p:txBody>
                <a:bodyPr rtlCol="0" anchor="ctr"/>
                <a:lstStyle/>
                <a:p>
                  <a:endParaRPr lang="en-GB"/>
                </a:p>
              </p:txBody>
            </p:sp>
          </p:grpSp>
          <p:grpSp>
            <p:nvGrpSpPr>
              <p:cNvPr id="822" name="Graphic 3">
                <a:extLst>
                  <a:ext uri="{FF2B5EF4-FFF2-40B4-BE49-F238E27FC236}">
                    <a16:creationId xmlns:a16="http://schemas.microsoft.com/office/drawing/2014/main" id="{6696F0B2-E724-44A9-8356-BAE70E535180}"/>
                  </a:ext>
                </a:extLst>
              </p:cNvPr>
              <p:cNvGrpSpPr/>
              <p:nvPr/>
            </p:nvGrpSpPr>
            <p:grpSpPr>
              <a:xfrm>
                <a:off x="5979180" y="5104161"/>
                <a:ext cx="23276" cy="153417"/>
                <a:chOff x="5979180" y="5104161"/>
                <a:chExt cx="23276" cy="153417"/>
              </a:xfrm>
              <a:grpFill/>
            </p:grpSpPr>
            <p:sp>
              <p:nvSpPr>
                <p:cNvPr id="2930" name="Vrije vorm: vorm 2929">
                  <a:extLst>
                    <a:ext uri="{FF2B5EF4-FFF2-40B4-BE49-F238E27FC236}">
                      <a16:creationId xmlns:a16="http://schemas.microsoft.com/office/drawing/2014/main" id="{956DB881-5BE1-4B18-8961-717EE403AC03}"/>
                    </a:ext>
                  </a:extLst>
                </p:cNvPr>
                <p:cNvSpPr/>
                <p:nvPr/>
              </p:nvSpPr>
              <p:spPr>
                <a:xfrm>
                  <a:off x="5986842" y="5112839"/>
                  <a:ext cx="8013" cy="136001"/>
                </a:xfrm>
                <a:custGeom>
                  <a:avLst/>
                  <a:gdLst>
                    <a:gd name="connsiteX0" fmla="*/ 8014 w 8013"/>
                    <a:gd name="connsiteY0" fmla="*/ 120 h 136001"/>
                    <a:gd name="connsiteX1" fmla="*/ 3050 w 8013"/>
                    <a:gd name="connsiteY1" fmla="*/ 136002 h 136001"/>
                    <a:gd name="connsiteX2" fmla="*/ 0 w 8013"/>
                    <a:gd name="connsiteY2" fmla="*/ 135882 h 136001"/>
                    <a:gd name="connsiteX3" fmla="*/ 4964 w 8013"/>
                    <a:gd name="connsiteY3" fmla="*/ 0 h 136001"/>
                  </a:gdLst>
                  <a:ahLst/>
                  <a:cxnLst>
                    <a:cxn ang="0">
                      <a:pos x="connsiteX0" y="connsiteY0"/>
                    </a:cxn>
                    <a:cxn ang="0">
                      <a:pos x="connsiteX1" y="connsiteY1"/>
                    </a:cxn>
                    <a:cxn ang="0">
                      <a:pos x="connsiteX2" y="connsiteY2"/>
                    </a:cxn>
                    <a:cxn ang="0">
                      <a:pos x="connsiteX3" y="connsiteY3"/>
                    </a:cxn>
                  </a:cxnLst>
                  <a:rect l="l" t="t" r="r" b="b"/>
                  <a:pathLst>
                    <a:path w="8013" h="136001">
                      <a:moveTo>
                        <a:pt x="8014" y="120"/>
                      </a:moveTo>
                      <a:lnTo>
                        <a:pt x="3050" y="136002"/>
                      </a:lnTo>
                      <a:lnTo>
                        <a:pt x="0" y="135882"/>
                      </a:lnTo>
                      <a:lnTo>
                        <a:pt x="4964" y="0"/>
                      </a:lnTo>
                      <a:close/>
                    </a:path>
                  </a:pathLst>
                </a:custGeom>
                <a:grpFill/>
                <a:ln w="5978" cap="flat">
                  <a:noFill/>
                  <a:prstDash val="solid"/>
                  <a:miter/>
                </a:ln>
              </p:spPr>
              <p:txBody>
                <a:bodyPr rtlCol="0" anchor="ctr"/>
                <a:lstStyle/>
                <a:p>
                  <a:endParaRPr lang="en-GB"/>
                </a:p>
              </p:txBody>
            </p:sp>
            <p:sp>
              <p:nvSpPr>
                <p:cNvPr id="2931" name="Vrije vorm: vorm 2930">
                  <a:extLst>
                    <a:ext uri="{FF2B5EF4-FFF2-40B4-BE49-F238E27FC236}">
                      <a16:creationId xmlns:a16="http://schemas.microsoft.com/office/drawing/2014/main" id="{6631583D-D37A-4721-97FC-E33D60D949FD}"/>
                    </a:ext>
                  </a:extLst>
                </p:cNvPr>
                <p:cNvSpPr/>
                <p:nvPr/>
              </p:nvSpPr>
              <p:spPr>
                <a:xfrm>
                  <a:off x="5979180" y="5239146"/>
                  <a:ext cx="18372" cy="18432"/>
                </a:xfrm>
                <a:custGeom>
                  <a:avLst/>
                  <a:gdLst>
                    <a:gd name="connsiteX0" fmla="*/ 18367 w 18372"/>
                    <a:gd name="connsiteY0" fmla="*/ 9575 h 18432"/>
                    <a:gd name="connsiteX1" fmla="*/ 8858 w 18372"/>
                    <a:gd name="connsiteY1" fmla="*/ 18427 h 18432"/>
                    <a:gd name="connsiteX2" fmla="*/ 6 w 18372"/>
                    <a:gd name="connsiteY2" fmla="*/ 8858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8" y="14659"/>
                        <a:pt x="13941" y="18606"/>
                        <a:pt x="8858" y="18427"/>
                      </a:cubicBezTo>
                      <a:cubicBezTo>
                        <a:pt x="3774" y="18247"/>
                        <a:pt x="-173" y="13941"/>
                        <a:pt x="6" y="8858"/>
                      </a:cubicBezTo>
                      <a:cubicBezTo>
                        <a:pt x="185" y="3774"/>
                        <a:pt x="4432" y="-173"/>
                        <a:pt x="9515" y="6"/>
                      </a:cubicBezTo>
                      <a:cubicBezTo>
                        <a:pt x="14599" y="185"/>
                        <a:pt x="18546" y="4432"/>
                        <a:pt x="18367" y="9575"/>
                      </a:cubicBezTo>
                      <a:close/>
                    </a:path>
                  </a:pathLst>
                </a:custGeom>
                <a:grpFill/>
                <a:ln w="5978" cap="flat">
                  <a:noFill/>
                  <a:prstDash val="solid"/>
                  <a:miter/>
                </a:ln>
              </p:spPr>
              <p:txBody>
                <a:bodyPr rtlCol="0" anchor="ctr"/>
                <a:lstStyle/>
                <a:p>
                  <a:endParaRPr lang="en-GB"/>
                </a:p>
              </p:txBody>
            </p:sp>
            <p:sp>
              <p:nvSpPr>
                <p:cNvPr id="2932" name="Vrije vorm: vorm 2931">
                  <a:extLst>
                    <a:ext uri="{FF2B5EF4-FFF2-40B4-BE49-F238E27FC236}">
                      <a16:creationId xmlns:a16="http://schemas.microsoft.com/office/drawing/2014/main" id="{304A52F4-CC62-46A6-9B7D-4F86DF651F4B}"/>
                    </a:ext>
                  </a:extLst>
                </p:cNvPr>
                <p:cNvSpPr/>
                <p:nvPr/>
              </p:nvSpPr>
              <p:spPr>
                <a:xfrm>
                  <a:off x="5984085" y="5104161"/>
                  <a:ext cx="18372" cy="18432"/>
                </a:xfrm>
                <a:custGeom>
                  <a:avLst/>
                  <a:gdLst>
                    <a:gd name="connsiteX0" fmla="*/ 18367 w 18372"/>
                    <a:gd name="connsiteY0" fmla="*/ 9575 h 18432"/>
                    <a:gd name="connsiteX1" fmla="*/ 9515 w 18372"/>
                    <a:gd name="connsiteY1" fmla="*/ 6 h 18432"/>
                    <a:gd name="connsiteX2" fmla="*/ 6 w 18372"/>
                    <a:gd name="connsiteY2" fmla="*/ 8858 h 18432"/>
                    <a:gd name="connsiteX3" fmla="*/ 8858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3"/>
                        <a:pt x="185" y="3774"/>
                        <a:pt x="6" y="8858"/>
                      </a:cubicBezTo>
                      <a:cubicBezTo>
                        <a:pt x="-173" y="13941"/>
                        <a:pt x="3774" y="18247"/>
                        <a:pt x="8858" y="18427"/>
                      </a:cubicBezTo>
                      <a:cubicBezTo>
                        <a:pt x="13941" y="18606"/>
                        <a:pt x="18188" y="14659"/>
                        <a:pt x="18367" y="9575"/>
                      </a:cubicBezTo>
                      <a:close/>
                    </a:path>
                  </a:pathLst>
                </a:custGeom>
                <a:grpFill/>
                <a:ln w="5978" cap="flat">
                  <a:noFill/>
                  <a:prstDash val="solid"/>
                  <a:miter/>
                </a:ln>
              </p:spPr>
              <p:txBody>
                <a:bodyPr rtlCol="0" anchor="ctr"/>
                <a:lstStyle/>
                <a:p>
                  <a:endParaRPr lang="en-GB"/>
                </a:p>
              </p:txBody>
            </p:sp>
          </p:grpSp>
          <p:grpSp>
            <p:nvGrpSpPr>
              <p:cNvPr id="823" name="Graphic 3">
                <a:extLst>
                  <a:ext uri="{FF2B5EF4-FFF2-40B4-BE49-F238E27FC236}">
                    <a16:creationId xmlns:a16="http://schemas.microsoft.com/office/drawing/2014/main" id="{510C2655-DD60-41B2-B9A7-D707899AA0CB}"/>
                  </a:ext>
                </a:extLst>
              </p:cNvPr>
              <p:cNvGrpSpPr/>
              <p:nvPr/>
            </p:nvGrpSpPr>
            <p:grpSpPr>
              <a:xfrm>
                <a:off x="4678225" y="1571563"/>
                <a:ext cx="352367" cy="517712"/>
                <a:chOff x="4678225" y="1571563"/>
                <a:chExt cx="352367" cy="517712"/>
              </a:xfrm>
              <a:grpFill/>
            </p:grpSpPr>
            <p:sp>
              <p:nvSpPr>
                <p:cNvPr id="2927" name="Vrije vorm: vorm 2926">
                  <a:extLst>
                    <a:ext uri="{FF2B5EF4-FFF2-40B4-BE49-F238E27FC236}">
                      <a16:creationId xmlns:a16="http://schemas.microsoft.com/office/drawing/2014/main" id="{312BA2A5-9E14-4488-AC8C-7AE6EDB1F353}"/>
                    </a:ext>
                  </a:extLst>
                </p:cNvPr>
                <p:cNvSpPr/>
                <p:nvPr/>
              </p:nvSpPr>
              <p:spPr>
                <a:xfrm>
                  <a:off x="4685915" y="1579549"/>
                  <a:ext cx="337013" cy="501722"/>
                </a:xfrm>
                <a:custGeom>
                  <a:avLst/>
                  <a:gdLst>
                    <a:gd name="connsiteX0" fmla="*/ 337014 w 337013"/>
                    <a:gd name="connsiteY0" fmla="*/ 500048 h 501722"/>
                    <a:gd name="connsiteX1" fmla="*/ 334502 w 337013"/>
                    <a:gd name="connsiteY1" fmla="*/ 501723 h 501722"/>
                    <a:gd name="connsiteX2" fmla="*/ 0 w 337013"/>
                    <a:gd name="connsiteY2" fmla="*/ 1675 h 501722"/>
                    <a:gd name="connsiteX3" fmla="*/ 2512 w 337013"/>
                    <a:gd name="connsiteY3" fmla="*/ 0 h 501722"/>
                  </a:gdLst>
                  <a:ahLst/>
                  <a:cxnLst>
                    <a:cxn ang="0">
                      <a:pos x="connsiteX0" y="connsiteY0"/>
                    </a:cxn>
                    <a:cxn ang="0">
                      <a:pos x="connsiteX1" y="connsiteY1"/>
                    </a:cxn>
                    <a:cxn ang="0">
                      <a:pos x="connsiteX2" y="connsiteY2"/>
                    </a:cxn>
                    <a:cxn ang="0">
                      <a:pos x="connsiteX3" y="connsiteY3"/>
                    </a:cxn>
                  </a:cxnLst>
                  <a:rect l="l" t="t" r="r" b="b"/>
                  <a:pathLst>
                    <a:path w="337013" h="501722">
                      <a:moveTo>
                        <a:pt x="337014" y="500048"/>
                      </a:moveTo>
                      <a:lnTo>
                        <a:pt x="334502" y="501723"/>
                      </a:lnTo>
                      <a:lnTo>
                        <a:pt x="0" y="1675"/>
                      </a:lnTo>
                      <a:lnTo>
                        <a:pt x="2512" y="0"/>
                      </a:lnTo>
                      <a:close/>
                    </a:path>
                  </a:pathLst>
                </a:custGeom>
                <a:grpFill/>
                <a:ln w="5978" cap="flat">
                  <a:noFill/>
                  <a:prstDash val="solid"/>
                  <a:miter/>
                </a:ln>
              </p:spPr>
              <p:txBody>
                <a:bodyPr rtlCol="0" anchor="ctr"/>
                <a:lstStyle/>
                <a:p>
                  <a:endParaRPr lang="en-GB"/>
                </a:p>
              </p:txBody>
            </p:sp>
            <p:sp>
              <p:nvSpPr>
                <p:cNvPr id="2928" name="Vrije vorm: vorm 2927">
                  <a:extLst>
                    <a:ext uri="{FF2B5EF4-FFF2-40B4-BE49-F238E27FC236}">
                      <a16:creationId xmlns:a16="http://schemas.microsoft.com/office/drawing/2014/main" id="{707B7048-569D-47F9-A524-99A988AECA3E}"/>
                    </a:ext>
                  </a:extLst>
                </p:cNvPr>
                <p:cNvSpPr/>
                <p:nvPr/>
              </p:nvSpPr>
              <p:spPr>
                <a:xfrm>
                  <a:off x="5012275" y="2070833"/>
                  <a:ext cx="18317" cy="18441"/>
                </a:xfrm>
                <a:custGeom>
                  <a:avLst/>
                  <a:gdLst>
                    <a:gd name="connsiteX0" fmla="*/ 16754 w 18317"/>
                    <a:gd name="connsiteY0" fmla="*/ 4098 h 18441"/>
                    <a:gd name="connsiteX1" fmla="*/ 14302 w 18317"/>
                    <a:gd name="connsiteY1" fmla="*/ 16897 h 18441"/>
                    <a:gd name="connsiteX2" fmla="*/ 1563 w 18317"/>
                    <a:gd name="connsiteY2" fmla="*/ 14385 h 18441"/>
                    <a:gd name="connsiteX3" fmla="*/ 4015 w 18317"/>
                    <a:gd name="connsiteY3" fmla="*/ 1586 h 18441"/>
                    <a:gd name="connsiteX4" fmla="*/ 16754 w 18317"/>
                    <a:gd name="connsiteY4" fmla="*/ 409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1">
                      <a:moveTo>
                        <a:pt x="16754" y="4098"/>
                      </a:moveTo>
                      <a:cubicBezTo>
                        <a:pt x="19565" y="8345"/>
                        <a:pt x="18489" y="14026"/>
                        <a:pt x="14302" y="16897"/>
                      </a:cubicBezTo>
                      <a:cubicBezTo>
                        <a:pt x="10116" y="19708"/>
                        <a:pt x="4434" y="18572"/>
                        <a:pt x="1563" y="14385"/>
                      </a:cubicBezTo>
                      <a:cubicBezTo>
                        <a:pt x="-1248" y="10139"/>
                        <a:pt x="-171" y="4457"/>
                        <a:pt x="4015" y="1586"/>
                      </a:cubicBezTo>
                      <a:cubicBezTo>
                        <a:pt x="8202" y="-1284"/>
                        <a:pt x="13943" y="-148"/>
                        <a:pt x="16754" y="4098"/>
                      </a:cubicBezTo>
                      <a:close/>
                    </a:path>
                  </a:pathLst>
                </a:custGeom>
                <a:grpFill/>
                <a:ln w="5978" cap="flat">
                  <a:noFill/>
                  <a:prstDash val="solid"/>
                  <a:miter/>
                </a:ln>
              </p:spPr>
              <p:txBody>
                <a:bodyPr rtlCol="0" anchor="ctr"/>
                <a:lstStyle/>
                <a:p>
                  <a:endParaRPr lang="en-GB"/>
                </a:p>
              </p:txBody>
            </p:sp>
            <p:sp>
              <p:nvSpPr>
                <p:cNvPr id="2929" name="Vrije vorm: vorm 2928">
                  <a:extLst>
                    <a:ext uri="{FF2B5EF4-FFF2-40B4-BE49-F238E27FC236}">
                      <a16:creationId xmlns:a16="http://schemas.microsoft.com/office/drawing/2014/main" id="{3D91B28C-BF05-45CD-8556-32D6837EA404}"/>
                    </a:ext>
                  </a:extLst>
                </p:cNvPr>
                <p:cNvSpPr/>
                <p:nvPr/>
              </p:nvSpPr>
              <p:spPr>
                <a:xfrm>
                  <a:off x="4678225" y="1571563"/>
                  <a:ext cx="18370" cy="18483"/>
                </a:xfrm>
                <a:custGeom>
                  <a:avLst/>
                  <a:gdLst>
                    <a:gd name="connsiteX0" fmla="*/ 16781 w 18370"/>
                    <a:gd name="connsiteY0" fmla="*/ 4098 h 18483"/>
                    <a:gd name="connsiteX1" fmla="*/ 4042 w 18370"/>
                    <a:gd name="connsiteY1" fmla="*/ 1586 h 18483"/>
                    <a:gd name="connsiteX2" fmla="*/ 1590 w 18370"/>
                    <a:gd name="connsiteY2" fmla="*/ 14385 h 18483"/>
                    <a:gd name="connsiteX3" fmla="*/ 14328 w 18370"/>
                    <a:gd name="connsiteY3" fmla="*/ 16897 h 18483"/>
                    <a:gd name="connsiteX4" fmla="*/ 16781 w 18370"/>
                    <a:gd name="connsiteY4" fmla="*/ 4098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83">
                      <a:moveTo>
                        <a:pt x="16781" y="4098"/>
                      </a:moveTo>
                      <a:cubicBezTo>
                        <a:pt x="13970" y="-148"/>
                        <a:pt x="8228" y="-1284"/>
                        <a:pt x="4042" y="1586"/>
                      </a:cubicBezTo>
                      <a:cubicBezTo>
                        <a:pt x="-145" y="4397"/>
                        <a:pt x="-1281" y="10139"/>
                        <a:pt x="1590" y="14385"/>
                      </a:cubicBezTo>
                      <a:cubicBezTo>
                        <a:pt x="4401" y="18631"/>
                        <a:pt x="10142" y="19768"/>
                        <a:pt x="14328" y="16897"/>
                      </a:cubicBezTo>
                      <a:cubicBezTo>
                        <a:pt x="18515" y="14026"/>
                        <a:pt x="19651" y="8285"/>
                        <a:pt x="16781" y="4098"/>
                      </a:cubicBezTo>
                      <a:close/>
                    </a:path>
                  </a:pathLst>
                </a:custGeom>
                <a:grpFill/>
                <a:ln w="5978" cap="flat">
                  <a:noFill/>
                  <a:prstDash val="solid"/>
                  <a:miter/>
                </a:ln>
              </p:spPr>
              <p:txBody>
                <a:bodyPr rtlCol="0" anchor="ctr"/>
                <a:lstStyle/>
                <a:p>
                  <a:endParaRPr lang="en-GB"/>
                </a:p>
              </p:txBody>
            </p:sp>
          </p:grpSp>
          <p:grpSp>
            <p:nvGrpSpPr>
              <p:cNvPr id="824" name="Graphic 3">
                <a:extLst>
                  <a:ext uri="{FF2B5EF4-FFF2-40B4-BE49-F238E27FC236}">
                    <a16:creationId xmlns:a16="http://schemas.microsoft.com/office/drawing/2014/main" id="{7610FDBC-2412-43F5-B9FA-D099F64C1ED3}"/>
                  </a:ext>
                </a:extLst>
              </p:cNvPr>
              <p:cNvGrpSpPr/>
              <p:nvPr/>
            </p:nvGrpSpPr>
            <p:grpSpPr>
              <a:xfrm>
                <a:off x="4857914" y="1984676"/>
                <a:ext cx="122892" cy="143670"/>
                <a:chOff x="4857914" y="1984676"/>
                <a:chExt cx="122892" cy="143670"/>
              </a:xfrm>
              <a:grpFill/>
            </p:grpSpPr>
            <p:sp>
              <p:nvSpPr>
                <p:cNvPr id="2924" name="Vrije vorm: vorm 2923">
                  <a:extLst>
                    <a:ext uri="{FF2B5EF4-FFF2-40B4-BE49-F238E27FC236}">
                      <a16:creationId xmlns:a16="http://schemas.microsoft.com/office/drawing/2014/main" id="{3CA5C5A2-198F-4C49-BE94-C6D3EE2AF16B}"/>
                    </a:ext>
                  </a:extLst>
                </p:cNvPr>
                <p:cNvSpPr/>
                <p:nvPr/>
              </p:nvSpPr>
              <p:spPr>
                <a:xfrm>
                  <a:off x="4865576" y="1992577"/>
                  <a:ext cx="107473" cy="127927"/>
                </a:xfrm>
                <a:custGeom>
                  <a:avLst/>
                  <a:gdLst>
                    <a:gd name="connsiteX0" fmla="*/ 107473 w 107473"/>
                    <a:gd name="connsiteY0" fmla="*/ 125954 h 127927"/>
                    <a:gd name="connsiteX1" fmla="*/ 105141 w 107473"/>
                    <a:gd name="connsiteY1" fmla="*/ 127928 h 127927"/>
                    <a:gd name="connsiteX2" fmla="*/ 0 w 107473"/>
                    <a:gd name="connsiteY2" fmla="*/ 1974 h 127927"/>
                    <a:gd name="connsiteX3" fmla="*/ 2392 w 107473"/>
                    <a:gd name="connsiteY3" fmla="*/ 0 h 127927"/>
                  </a:gdLst>
                  <a:ahLst/>
                  <a:cxnLst>
                    <a:cxn ang="0">
                      <a:pos x="connsiteX0" y="connsiteY0"/>
                    </a:cxn>
                    <a:cxn ang="0">
                      <a:pos x="connsiteX1" y="connsiteY1"/>
                    </a:cxn>
                    <a:cxn ang="0">
                      <a:pos x="connsiteX2" y="connsiteY2"/>
                    </a:cxn>
                    <a:cxn ang="0">
                      <a:pos x="connsiteX3" y="connsiteY3"/>
                    </a:cxn>
                  </a:cxnLst>
                  <a:rect l="l" t="t" r="r" b="b"/>
                  <a:pathLst>
                    <a:path w="107473" h="127927">
                      <a:moveTo>
                        <a:pt x="107473" y="125954"/>
                      </a:moveTo>
                      <a:lnTo>
                        <a:pt x="105141" y="127928"/>
                      </a:lnTo>
                      <a:lnTo>
                        <a:pt x="0" y="1974"/>
                      </a:lnTo>
                      <a:lnTo>
                        <a:pt x="2392" y="0"/>
                      </a:lnTo>
                      <a:close/>
                    </a:path>
                  </a:pathLst>
                </a:custGeom>
                <a:grpFill/>
                <a:ln w="5978" cap="flat">
                  <a:noFill/>
                  <a:prstDash val="solid"/>
                  <a:miter/>
                </a:ln>
              </p:spPr>
              <p:txBody>
                <a:bodyPr rtlCol="0" anchor="ctr"/>
                <a:lstStyle/>
                <a:p>
                  <a:endParaRPr lang="en-GB"/>
                </a:p>
              </p:txBody>
            </p:sp>
            <p:sp>
              <p:nvSpPr>
                <p:cNvPr id="2925" name="Vrije vorm: vorm 2924">
                  <a:extLst>
                    <a:ext uri="{FF2B5EF4-FFF2-40B4-BE49-F238E27FC236}">
                      <a16:creationId xmlns:a16="http://schemas.microsoft.com/office/drawing/2014/main" id="{0ED4A6A1-E623-4CDE-ADE6-D4E539A26299}"/>
                    </a:ext>
                  </a:extLst>
                </p:cNvPr>
                <p:cNvSpPr/>
                <p:nvPr/>
              </p:nvSpPr>
              <p:spPr>
                <a:xfrm>
                  <a:off x="4857914" y="1984676"/>
                  <a:ext cx="18349" cy="18453"/>
                </a:xfrm>
                <a:custGeom>
                  <a:avLst/>
                  <a:gdLst>
                    <a:gd name="connsiteX0" fmla="*/ 2160 w 18349"/>
                    <a:gd name="connsiteY0" fmla="*/ 15138 h 18453"/>
                    <a:gd name="connsiteX1" fmla="*/ 3296 w 18349"/>
                    <a:gd name="connsiteY1" fmla="*/ 2160 h 18453"/>
                    <a:gd name="connsiteX2" fmla="*/ 16215 w 18349"/>
                    <a:gd name="connsiteY2" fmla="*/ 3296 h 18453"/>
                    <a:gd name="connsiteX3" fmla="*/ 15078 w 18349"/>
                    <a:gd name="connsiteY3" fmla="*/ 16274 h 18453"/>
                    <a:gd name="connsiteX4" fmla="*/ 2160 w 18349"/>
                    <a:gd name="connsiteY4" fmla="*/ 1513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3">
                      <a:moveTo>
                        <a:pt x="2160" y="15138"/>
                      </a:moveTo>
                      <a:cubicBezTo>
                        <a:pt x="-1130" y="11250"/>
                        <a:pt x="-591" y="5449"/>
                        <a:pt x="3296" y="2160"/>
                      </a:cubicBezTo>
                      <a:cubicBezTo>
                        <a:pt x="7184" y="-1130"/>
                        <a:pt x="12925" y="-591"/>
                        <a:pt x="16215" y="3296"/>
                      </a:cubicBezTo>
                      <a:cubicBezTo>
                        <a:pt x="19444" y="7183"/>
                        <a:pt x="18965" y="12985"/>
                        <a:pt x="15078" y="16274"/>
                      </a:cubicBezTo>
                      <a:cubicBezTo>
                        <a:pt x="11191" y="19564"/>
                        <a:pt x="5389" y="19085"/>
                        <a:pt x="2160" y="15138"/>
                      </a:cubicBezTo>
                      <a:close/>
                    </a:path>
                  </a:pathLst>
                </a:custGeom>
                <a:grpFill/>
                <a:ln w="5978" cap="flat">
                  <a:noFill/>
                  <a:prstDash val="solid"/>
                  <a:miter/>
                </a:ln>
              </p:spPr>
              <p:txBody>
                <a:bodyPr rtlCol="0" anchor="ctr"/>
                <a:lstStyle/>
                <a:p>
                  <a:endParaRPr lang="en-GB"/>
                </a:p>
              </p:txBody>
            </p:sp>
            <p:sp>
              <p:nvSpPr>
                <p:cNvPr id="2926" name="Vrije vorm: vorm 2925">
                  <a:extLst>
                    <a:ext uri="{FF2B5EF4-FFF2-40B4-BE49-F238E27FC236}">
                      <a16:creationId xmlns:a16="http://schemas.microsoft.com/office/drawing/2014/main" id="{DF48BDD9-942B-40EE-9997-98BE1D27080F}"/>
                    </a:ext>
                  </a:extLst>
                </p:cNvPr>
                <p:cNvSpPr/>
                <p:nvPr/>
              </p:nvSpPr>
              <p:spPr>
                <a:xfrm>
                  <a:off x="4962437" y="2109902"/>
                  <a:ext cx="18369" cy="18444"/>
                </a:xfrm>
                <a:custGeom>
                  <a:avLst/>
                  <a:gdLst>
                    <a:gd name="connsiteX0" fmla="*/ 2179 w 18369"/>
                    <a:gd name="connsiteY0" fmla="*/ 15148 h 18444"/>
                    <a:gd name="connsiteX1" fmla="*/ 15098 w 18369"/>
                    <a:gd name="connsiteY1" fmla="*/ 16285 h 18444"/>
                    <a:gd name="connsiteX2" fmla="*/ 16234 w 18369"/>
                    <a:gd name="connsiteY2" fmla="*/ 3307 h 18444"/>
                    <a:gd name="connsiteX3" fmla="*/ 3316 w 18369"/>
                    <a:gd name="connsiteY3" fmla="*/ 2110 h 18444"/>
                    <a:gd name="connsiteX4" fmla="*/ 2179 w 18369"/>
                    <a:gd name="connsiteY4" fmla="*/ 1514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4">
                      <a:moveTo>
                        <a:pt x="2179" y="15148"/>
                      </a:moveTo>
                      <a:cubicBezTo>
                        <a:pt x="5469" y="19036"/>
                        <a:pt x="11210" y="19574"/>
                        <a:pt x="15098" y="16285"/>
                      </a:cubicBezTo>
                      <a:cubicBezTo>
                        <a:pt x="18985" y="12995"/>
                        <a:pt x="19464" y="7194"/>
                        <a:pt x="16234" y="3307"/>
                      </a:cubicBezTo>
                      <a:cubicBezTo>
                        <a:pt x="12945" y="-581"/>
                        <a:pt x="7203" y="-1119"/>
                        <a:pt x="3316" y="2110"/>
                      </a:cubicBezTo>
                      <a:cubicBezTo>
                        <a:pt x="-632" y="5460"/>
                        <a:pt x="-1110" y="11261"/>
                        <a:pt x="2179" y="15148"/>
                      </a:cubicBezTo>
                      <a:close/>
                    </a:path>
                  </a:pathLst>
                </a:custGeom>
                <a:grpFill/>
                <a:ln w="5978" cap="flat">
                  <a:noFill/>
                  <a:prstDash val="solid"/>
                  <a:miter/>
                </a:ln>
              </p:spPr>
              <p:txBody>
                <a:bodyPr rtlCol="0" anchor="ctr"/>
                <a:lstStyle/>
                <a:p>
                  <a:endParaRPr lang="en-GB"/>
                </a:p>
              </p:txBody>
            </p:sp>
          </p:grpSp>
          <p:grpSp>
            <p:nvGrpSpPr>
              <p:cNvPr id="825" name="Graphic 3">
                <a:extLst>
                  <a:ext uri="{FF2B5EF4-FFF2-40B4-BE49-F238E27FC236}">
                    <a16:creationId xmlns:a16="http://schemas.microsoft.com/office/drawing/2014/main" id="{3E45B93A-E054-4328-835C-57C373ECB239}"/>
                  </a:ext>
                </a:extLst>
              </p:cNvPr>
              <p:cNvGrpSpPr/>
              <p:nvPr/>
            </p:nvGrpSpPr>
            <p:grpSpPr>
              <a:xfrm>
                <a:off x="4802059" y="1861855"/>
                <a:ext cx="179544" cy="265869"/>
                <a:chOff x="4802059" y="1861855"/>
                <a:chExt cx="179544" cy="265869"/>
              </a:xfrm>
              <a:grpFill/>
            </p:grpSpPr>
            <p:sp>
              <p:nvSpPr>
                <p:cNvPr id="2921" name="Vrije vorm: vorm 2920">
                  <a:extLst>
                    <a:ext uri="{FF2B5EF4-FFF2-40B4-BE49-F238E27FC236}">
                      <a16:creationId xmlns:a16="http://schemas.microsoft.com/office/drawing/2014/main" id="{62177B4A-0453-4DF0-AF69-8FA92BEF3F54}"/>
                    </a:ext>
                  </a:extLst>
                </p:cNvPr>
                <p:cNvSpPr/>
                <p:nvPr/>
              </p:nvSpPr>
              <p:spPr>
                <a:xfrm>
                  <a:off x="4809654" y="1869881"/>
                  <a:ext cx="164650" cy="249688"/>
                </a:xfrm>
                <a:custGeom>
                  <a:avLst/>
                  <a:gdLst>
                    <a:gd name="connsiteX0" fmla="*/ 0 w 164650"/>
                    <a:gd name="connsiteY0" fmla="*/ 1669 h 249688"/>
                    <a:gd name="connsiteX1" fmla="*/ 2553 w 164650"/>
                    <a:gd name="connsiteY1" fmla="*/ 0 h 249688"/>
                    <a:gd name="connsiteX2" fmla="*/ 164651 w 164650"/>
                    <a:gd name="connsiteY2" fmla="*/ 248020 h 249688"/>
                    <a:gd name="connsiteX3" fmla="*/ 162097 w 164650"/>
                    <a:gd name="connsiteY3" fmla="*/ 249689 h 249688"/>
                  </a:gdLst>
                  <a:ahLst/>
                  <a:cxnLst>
                    <a:cxn ang="0">
                      <a:pos x="connsiteX0" y="connsiteY0"/>
                    </a:cxn>
                    <a:cxn ang="0">
                      <a:pos x="connsiteX1" y="connsiteY1"/>
                    </a:cxn>
                    <a:cxn ang="0">
                      <a:pos x="connsiteX2" y="connsiteY2"/>
                    </a:cxn>
                    <a:cxn ang="0">
                      <a:pos x="connsiteX3" y="connsiteY3"/>
                    </a:cxn>
                  </a:cxnLst>
                  <a:rect l="l" t="t" r="r" b="b"/>
                  <a:pathLst>
                    <a:path w="164650" h="249688">
                      <a:moveTo>
                        <a:pt x="0" y="1669"/>
                      </a:moveTo>
                      <a:lnTo>
                        <a:pt x="2553" y="0"/>
                      </a:lnTo>
                      <a:lnTo>
                        <a:pt x="164651" y="248020"/>
                      </a:lnTo>
                      <a:lnTo>
                        <a:pt x="162097" y="249689"/>
                      </a:lnTo>
                      <a:close/>
                    </a:path>
                  </a:pathLst>
                </a:custGeom>
                <a:grpFill/>
                <a:ln w="5978" cap="flat">
                  <a:noFill/>
                  <a:prstDash val="solid"/>
                  <a:miter/>
                </a:ln>
              </p:spPr>
              <p:txBody>
                <a:bodyPr rtlCol="0" anchor="ctr"/>
                <a:lstStyle/>
                <a:p>
                  <a:endParaRPr lang="en-GB"/>
                </a:p>
              </p:txBody>
            </p:sp>
            <p:sp>
              <p:nvSpPr>
                <p:cNvPr id="2922" name="Vrije vorm: vorm 2921">
                  <a:extLst>
                    <a:ext uri="{FF2B5EF4-FFF2-40B4-BE49-F238E27FC236}">
                      <a16:creationId xmlns:a16="http://schemas.microsoft.com/office/drawing/2014/main" id="{49F67C03-29CF-47AC-A7E8-C09EBE4430B0}"/>
                    </a:ext>
                  </a:extLst>
                </p:cNvPr>
                <p:cNvSpPr/>
                <p:nvPr/>
              </p:nvSpPr>
              <p:spPr>
                <a:xfrm>
                  <a:off x="4963299" y="2109296"/>
                  <a:ext cx="18304" cy="18428"/>
                </a:xfrm>
                <a:custGeom>
                  <a:avLst/>
                  <a:gdLst>
                    <a:gd name="connsiteX0" fmla="*/ 16807 w 18304"/>
                    <a:gd name="connsiteY0" fmla="*/ 4211 h 18428"/>
                    <a:gd name="connsiteX1" fmla="*/ 14176 w 18304"/>
                    <a:gd name="connsiteY1" fmla="*/ 16950 h 18428"/>
                    <a:gd name="connsiteX2" fmla="*/ 1497 w 18304"/>
                    <a:gd name="connsiteY2" fmla="*/ 14259 h 18428"/>
                    <a:gd name="connsiteX3" fmla="*/ 4128 w 18304"/>
                    <a:gd name="connsiteY3" fmla="*/ 1520 h 18428"/>
                    <a:gd name="connsiteX4" fmla="*/ 16807 w 18304"/>
                    <a:gd name="connsiteY4" fmla="*/ 421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8">
                      <a:moveTo>
                        <a:pt x="16807" y="4211"/>
                      </a:moveTo>
                      <a:cubicBezTo>
                        <a:pt x="19559" y="8458"/>
                        <a:pt x="18422" y="14199"/>
                        <a:pt x="14176" y="16950"/>
                      </a:cubicBezTo>
                      <a:cubicBezTo>
                        <a:pt x="9930" y="19701"/>
                        <a:pt x="4248" y="18505"/>
                        <a:pt x="1497" y="14259"/>
                      </a:cubicBezTo>
                      <a:cubicBezTo>
                        <a:pt x="-1255" y="10013"/>
                        <a:pt x="-118" y="4271"/>
                        <a:pt x="4128" y="1520"/>
                      </a:cubicBezTo>
                      <a:cubicBezTo>
                        <a:pt x="8375" y="-1291"/>
                        <a:pt x="14056" y="-95"/>
                        <a:pt x="16807" y="4211"/>
                      </a:cubicBezTo>
                      <a:close/>
                    </a:path>
                  </a:pathLst>
                </a:custGeom>
                <a:grpFill/>
                <a:ln w="5978" cap="flat">
                  <a:noFill/>
                  <a:prstDash val="solid"/>
                  <a:miter/>
                </a:ln>
              </p:spPr>
              <p:txBody>
                <a:bodyPr rtlCol="0" anchor="ctr"/>
                <a:lstStyle/>
                <a:p>
                  <a:endParaRPr lang="en-GB"/>
                </a:p>
              </p:txBody>
            </p:sp>
            <p:sp>
              <p:nvSpPr>
                <p:cNvPr id="2923" name="Vrije vorm: vorm 2922">
                  <a:extLst>
                    <a:ext uri="{FF2B5EF4-FFF2-40B4-BE49-F238E27FC236}">
                      <a16:creationId xmlns:a16="http://schemas.microsoft.com/office/drawing/2014/main" id="{EFBF1633-FC13-4805-94D5-FF9236182566}"/>
                    </a:ext>
                  </a:extLst>
                </p:cNvPr>
                <p:cNvSpPr/>
                <p:nvPr/>
              </p:nvSpPr>
              <p:spPr>
                <a:xfrm>
                  <a:off x="4802059" y="1861855"/>
                  <a:ext cx="18330" cy="18387"/>
                </a:xfrm>
                <a:custGeom>
                  <a:avLst/>
                  <a:gdLst>
                    <a:gd name="connsiteX0" fmla="*/ 16807 w 18330"/>
                    <a:gd name="connsiteY0" fmla="*/ 4170 h 18387"/>
                    <a:gd name="connsiteX1" fmla="*/ 4128 w 18330"/>
                    <a:gd name="connsiteY1" fmla="*/ 1479 h 18387"/>
                    <a:gd name="connsiteX2" fmla="*/ 1496 w 18330"/>
                    <a:gd name="connsiteY2" fmla="*/ 14217 h 18387"/>
                    <a:gd name="connsiteX3" fmla="*/ 14176 w 18330"/>
                    <a:gd name="connsiteY3" fmla="*/ 16909 h 18387"/>
                    <a:gd name="connsiteX4" fmla="*/ 16807 w 18330"/>
                    <a:gd name="connsiteY4" fmla="*/ 417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387">
                      <a:moveTo>
                        <a:pt x="16807" y="4170"/>
                      </a:moveTo>
                      <a:cubicBezTo>
                        <a:pt x="14056" y="-77"/>
                        <a:pt x="8374" y="-1273"/>
                        <a:pt x="4128" y="1479"/>
                      </a:cubicBezTo>
                      <a:cubicBezTo>
                        <a:pt x="-118" y="4230"/>
                        <a:pt x="-1254" y="9971"/>
                        <a:pt x="1496" y="14217"/>
                      </a:cubicBezTo>
                      <a:cubicBezTo>
                        <a:pt x="4248" y="18464"/>
                        <a:pt x="9929" y="19660"/>
                        <a:pt x="14176" y="16909"/>
                      </a:cubicBezTo>
                      <a:cubicBezTo>
                        <a:pt x="18422" y="14098"/>
                        <a:pt x="19618" y="8416"/>
                        <a:pt x="16807" y="4170"/>
                      </a:cubicBezTo>
                      <a:close/>
                    </a:path>
                  </a:pathLst>
                </a:custGeom>
                <a:grpFill/>
                <a:ln w="5978" cap="flat">
                  <a:noFill/>
                  <a:prstDash val="solid"/>
                  <a:miter/>
                </a:ln>
              </p:spPr>
              <p:txBody>
                <a:bodyPr rtlCol="0" anchor="ctr"/>
                <a:lstStyle/>
                <a:p>
                  <a:endParaRPr lang="en-GB"/>
                </a:p>
              </p:txBody>
            </p:sp>
          </p:grpSp>
          <p:grpSp>
            <p:nvGrpSpPr>
              <p:cNvPr id="826" name="Graphic 3">
                <a:extLst>
                  <a:ext uri="{FF2B5EF4-FFF2-40B4-BE49-F238E27FC236}">
                    <a16:creationId xmlns:a16="http://schemas.microsoft.com/office/drawing/2014/main" id="{FE9C9615-900B-4DA8-830F-E26B30B5547D}"/>
                  </a:ext>
                </a:extLst>
              </p:cNvPr>
              <p:cNvGrpSpPr/>
              <p:nvPr/>
            </p:nvGrpSpPr>
            <p:grpSpPr>
              <a:xfrm>
                <a:off x="6009686" y="5254879"/>
                <a:ext cx="21595" cy="200837"/>
                <a:chOff x="6009686" y="5254879"/>
                <a:chExt cx="21595" cy="200837"/>
              </a:xfrm>
              <a:grpFill/>
            </p:grpSpPr>
            <p:sp>
              <p:nvSpPr>
                <p:cNvPr id="2918" name="Vrije vorm: vorm 2917">
                  <a:extLst>
                    <a:ext uri="{FF2B5EF4-FFF2-40B4-BE49-F238E27FC236}">
                      <a16:creationId xmlns:a16="http://schemas.microsoft.com/office/drawing/2014/main" id="{DD96B05D-0271-4365-B746-815CD7EE9C7B}"/>
                    </a:ext>
                  </a:extLst>
                </p:cNvPr>
                <p:cNvSpPr/>
                <p:nvPr/>
              </p:nvSpPr>
              <p:spPr>
                <a:xfrm>
                  <a:off x="6017343" y="5263553"/>
                  <a:ext cx="6279" cy="183428"/>
                </a:xfrm>
                <a:custGeom>
                  <a:avLst/>
                  <a:gdLst>
                    <a:gd name="connsiteX0" fmla="*/ 6280 w 6279"/>
                    <a:gd name="connsiteY0" fmla="*/ 60 h 183428"/>
                    <a:gd name="connsiteX1" fmla="*/ 3050 w 6279"/>
                    <a:gd name="connsiteY1" fmla="*/ 183429 h 183428"/>
                    <a:gd name="connsiteX2" fmla="*/ 0 w 6279"/>
                    <a:gd name="connsiteY2" fmla="*/ 183369 h 183428"/>
                    <a:gd name="connsiteX3" fmla="*/ 3230 w 6279"/>
                    <a:gd name="connsiteY3" fmla="*/ 0 h 183428"/>
                  </a:gdLst>
                  <a:ahLst/>
                  <a:cxnLst>
                    <a:cxn ang="0">
                      <a:pos x="connsiteX0" y="connsiteY0"/>
                    </a:cxn>
                    <a:cxn ang="0">
                      <a:pos x="connsiteX1" y="connsiteY1"/>
                    </a:cxn>
                    <a:cxn ang="0">
                      <a:pos x="connsiteX2" y="connsiteY2"/>
                    </a:cxn>
                    <a:cxn ang="0">
                      <a:pos x="connsiteX3" y="connsiteY3"/>
                    </a:cxn>
                  </a:cxnLst>
                  <a:rect l="l" t="t" r="r" b="b"/>
                  <a:pathLst>
                    <a:path w="6279" h="183428">
                      <a:moveTo>
                        <a:pt x="6280" y="60"/>
                      </a:moveTo>
                      <a:lnTo>
                        <a:pt x="3050" y="183429"/>
                      </a:lnTo>
                      <a:lnTo>
                        <a:pt x="0" y="183369"/>
                      </a:lnTo>
                      <a:lnTo>
                        <a:pt x="3230" y="0"/>
                      </a:lnTo>
                      <a:close/>
                    </a:path>
                  </a:pathLst>
                </a:custGeom>
                <a:grpFill/>
                <a:ln w="5978" cap="flat">
                  <a:noFill/>
                  <a:prstDash val="solid"/>
                  <a:miter/>
                </a:ln>
              </p:spPr>
              <p:txBody>
                <a:bodyPr rtlCol="0" anchor="ctr"/>
                <a:lstStyle/>
                <a:p>
                  <a:endParaRPr lang="en-GB"/>
                </a:p>
              </p:txBody>
            </p:sp>
            <p:sp>
              <p:nvSpPr>
                <p:cNvPr id="2919" name="Vrije vorm: vorm 2918">
                  <a:extLst>
                    <a:ext uri="{FF2B5EF4-FFF2-40B4-BE49-F238E27FC236}">
                      <a16:creationId xmlns:a16="http://schemas.microsoft.com/office/drawing/2014/main" id="{BC6ACD9D-2AD3-4409-A72E-9BB89BC17B35}"/>
                    </a:ext>
                  </a:extLst>
                </p:cNvPr>
                <p:cNvSpPr/>
                <p:nvPr/>
              </p:nvSpPr>
              <p:spPr>
                <a:xfrm>
                  <a:off x="6009686" y="5437293"/>
                  <a:ext cx="18306" cy="18423"/>
                </a:xfrm>
                <a:custGeom>
                  <a:avLst/>
                  <a:gdLst>
                    <a:gd name="connsiteX0" fmla="*/ 18304 w 18306"/>
                    <a:gd name="connsiteY0" fmla="*/ 9390 h 18423"/>
                    <a:gd name="connsiteX1" fmla="*/ 8974 w 18306"/>
                    <a:gd name="connsiteY1" fmla="*/ 18421 h 18423"/>
                    <a:gd name="connsiteX2" fmla="*/ 3 w 18306"/>
                    <a:gd name="connsiteY2" fmla="*/ 9032 h 18423"/>
                    <a:gd name="connsiteX3" fmla="*/ 9333 w 18306"/>
                    <a:gd name="connsiteY3" fmla="*/ 1 h 18423"/>
                    <a:gd name="connsiteX4" fmla="*/ 18304 w 18306"/>
                    <a:gd name="connsiteY4" fmla="*/ 9390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3">
                      <a:moveTo>
                        <a:pt x="18304" y="9390"/>
                      </a:moveTo>
                      <a:cubicBezTo>
                        <a:pt x="18184" y="14474"/>
                        <a:pt x="14057" y="18541"/>
                        <a:pt x="8974" y="18421"/>
                      </a:cubicBezTo>
                      <a:cubicBezTo>
                        <a:pt x="3890" y="18302"/>
                        <a:pt x="-117" y="14115"/>
                        <a:pt x="3" y="9032"/>
                      </a:cubicBezTo>
                      <a:cubicBezTo>
                        <a:pt x="122" y="3948"/>
                        <a:pt x="4249" y="-59"/>
                        <a:pt x="9333" y="1"/>
                      </a:cubicBezTo>
                      <a:cubicBezTo>
                        <a:pt x="14416" y="120"/>
                        <a:pt x="18423" y="4307"/>
                        <a:pt x="18304" y="9390"/>
                      </a:cubicBezTo>
                      <a:close/>
                    </a:path>
                  </a:pathLst>
                </a:custGeom>
                <a:grpFill/>
                <a:ln w="5978" cap="flat">
                  <a:noFill/>
                  <a:prstDash val="solid"/>
                  <a:miter/>
                </a:ln>
              </p:spPr>
              <p:txBody>
                <a:bodyPr rtlCol="0" anchor="ctr"/>
                <a:lstStyle/>
                <a:p>
                  <a:endParaRPr lang="en-GB"/>
                </a:p>
              </p:txBody>
            </p:sp>
            <p:sp>
              <p:nvSpPr>
                <p:cNvPr id="2920" name="Vrije vorm: vorm 2919">
                  <a:extLst>
                    <a:ext uri="{FF2B5EF4-FFF2-40B4-BE49-F238E27FC236}">
                      <a16:creationId xmlns:a16="http://schemas.microsoft.com/office/drawing/2014/main" id="{DF72CBF9-A5CD-4A85-9B96-99D400BBE490}"/>
                    </a:ext>
                  </a:extLst>
                </p:cNvPr>
                <p:cNvSpPr/>
                <p:nvPr/>
              </p:nvSpPr>
              <p:spPr>
                <a:xfrm>
                  <a:off x="6012975" y="5254879"/>
                  <a:ext cx="18306" cy="18423"/>
                </a:xfrm>
                <a:custGeom>
                  <a:avLst/>
                  <a:gdLst>
                    <a:gd name="connsiteX0" fmla="*/ 18304 w 18306"/>
                    <a:gd name="connsiteY0" fmla="*/ 9392 h 18423"/>
                    <a:gd name="connsiteX1" fmla="*/ 9332 w 18306"/>
                    <a:gd name="connsiteY1" fmla="*/ 3 h 18423"/>
                    <a:gd name="connsiteX2" fmla="*/ 3 w 18306"/>
                    <a:gd name="connsiteY2" fmla="*/ 9034 h 18423"/>
                    <a:gd name="connsiteX3" fmla="*/ 8974 w 18306"/>
                    <a:gd name="connsiteY3" fmla="*/ 18423 h 18423"/>
                    <a:gd name="connsiteX4" fmla="*/ 18304 w 18306"/>
                    <a:gd name="connsiteY4" fmla="*/ 93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3">
                      <a:moveTo>
                        <a:pt x="18304" y="9392"/>
                      </a:moveTo>
                      <a:cubicBezTo>
                        <a:pt x="18423" y="4309"/>
                        <a:pt x="14356" y="62"/>
                        <a:pt x="9332" y="3"/>
                      </a:cubicBezTo>
                      <a:cubicBezTo>
                        <a:pt x="4249" y="-117"/>
                        <a:pt x="122" y="3950"/>
                        <a:pt x="3" y="9034"/>
                      </a:cubicBezTo>
                      <a:cubicBezTo>
                        <a:pt x="-117" y="14117"/>
                        <a:pt x="3950" y="18363"/>
                        <a:pt x="8974" y="18423"/>
                      </a:cubicBezTo>
                      <a:cubicBezTo>
                        <a:pt x="14057" y="18483"/>
                        <a:pt x="18244" y="14476"/>
                        <a:pt x="18304" y="9392"/>
                      </a:cubicBezTo>
                      <a:close/>
                    </a:path>
                  </a:pathLst>
                </a:custGeom>
                <a:grpFill/>
                <a:ln w="5978" cap="flat">
                  <a:noFill/>
                  <a:prstDash val="solid"/>
                  <a:miter/>
                </a:ln>
              </p:spPr>
              <p:txBody>
                <a:bodyPr rtlCol="0" anchor="ctr"/>
                <a:lstStyle/>
                <a:p>
                  <a:endParaRPr lang="en-GB"/>
                </a:p>
              </p:txBody>
            </p:sp>
          </p:grpSp>
          <p:grpSp>
            <p:nvGrpSpPr>
              <p:cNvPr id="827" name="Graphic 3">
                <a:extLst>
                  <a:ext uri="{FF2B5EF4-FFF2-40B4-BE49-F238E27FC236}">
                    <a16:creationId xmlns:a16="http://schemas.microsoft.com/office/drawing/2014/main" id="{E2925205-3330-4704-B248-ADC57CC7E21E}"/>
                  </a:ext>
                </a:extLst>
              </p:cNvPr>
              <p:cNvGrpSpPr/>
              <p:nvPr/>
            </p:nvGrpSpPr>
            <p:grpSpPr>
              <a:xfrm>
                <a:off x="6005658" y="5096002"/>
                <a:ext cx="59076" cy="610148"/>
                <a:chOff x="6005658" y="5096002"/>
                <a:chExt cx="59076" cy="610148"/>
              </a:xfrm>
              <a:grpFill/>
            </p:grpSpPr>
            <p:sp>
              <p:nvSpPr>
                <p:cNvPr id="2915" name="Vrije vorm: vorm 2914">
                  <a:extLst>
                    <a:ext uri="{FF2B5EF4-FFF2-40B4-BE49-F238E27FC236}">
                      <a16:creationId xmlns:a16="http://schemas.microsoft.com/office/drawing/2014/main" id="{693A9C36-78F3-4AF9-A17A-68B68638B399}"/>
                    </a:ext>
                  </a:extLst>
                </p:cNvPr>
                <p:cNvSpPr/>
                <p:nvPr/>
              </p:nvSpPr>
              <p:spPr>
                <a:xfrm>
                  <a:off x="6013276" y="5104586"/>
                  <a:ext cx="43898" cy="592928"/>
                </a:xfrm>
                <a:custGeom>
                  <a:avLst/>
                  <a:gdLst>
                    <a:gd name="connsiteX0" fmla="*/ 43899 w 43898"/>
                    <a:gd name="connsiteY0" fmla="*/ 239 h 592928"/>
                    <a:gd name="connsiteX1" fmla="*/ 3050 w 43898"/>
                    <a:gd name="connsiteY1" fmla="*/ 592929 h 592928"/>
                    <a:gd name="connsiteX2" fmla="*/ 0 w 43898"/>
                    <a:gd name="connsiteY2" fmla="*/ 592690 h 592928"/>
                    <a:gd name="connsiteX3" fmla="*/ 40848 w 43898"/>
                    <a:gd name="connsiteY3" fmla="*/ 0 h 592928"/>
                  </a:gdLst>
                  <a:ahLst/>
                  <a:cxnLst>
                    <a:cxn ang="0">
                      <a:pos x="connsiteX0" y="connsiteY0"/>
                    </a:cxn>
                    <a:cxn ang="0">
                      <a:pos x="connsiteX1" y="connsiteY1"/>
                    </a:cxn>
                    <a:cxn ang="0">
                      <a:pos x="connsiteX2" y="connsiteY2"/>
                    </a:cxn>
                    <a:cxn ang="0">
                      <a:pos x="connsiteX3" y="connsiteY3"/>
                    </a:cxn>
                  </a:cxnLst>
                  <a:rect l="l" t="t" r="r" b="b"/>
                  <a:pathLst>
                    <a:path w="43898" h="592928">
                      <a:moveTo>
                        <a:pt x="43899" y="239"/>
                      </a:moveTo>
                      <a:lnTo>
                        <a:pt x="3050" y="592929"/>
                      </a:lnTo>
                      <a:lnTo>
                        <a:pt x="0" y="592690"/>
                      </a:lnTo>
                      <a:lnTo>
                        <a:pt x="40848" y="0"/>
                      </a:lnTo>
                      <a:close/>
                    </a:path>
                  </a:pathLst>
                </a:custGeom>
                <a:grpFill/>
                <a:ln w="5978" cap="flat">
                  <a:noFill/>
                  <a:prstDash val="solid"/>
                  <a:miter/>
                </a:ln>
              </p:spPr>
              <p:txBody>
                <a:bodyPr rtlCol="0" anchor="ctr"/>
                <a:lstStyle/>
                <a:p>
                  <a:endParaRPr lang="en-GB"/>
                </a:p>
              </p:txBody>
            </p:sp>
            <p:sp>
              <p:nvSpPr>
                <p:cNvPr id="2916" name="Vrije vorm: vorm 2915">
                  <a:extLst>
                    <a:ext uri="{FF2B5EF4-FFF2-40B4-BE49-F238E27FC236}">
                      <a16:creationId xmlns:a16="http://schemas.microsoft.com/office/drawing/2014/main" id="{C9A7B159-7989-45F5-A84E-7269EE80BC9A}"/>
                    </a:ext>
                  </a:extLst>
                </p:cNvPr>
                <p:cNvSpPr/>
                <p:nvPr/>
              </p:nvSpPr>
              <p:spPr>
                <a:xfrm>
                  <a:off x="6046446" y="5096002"/>
                  <a:ext cx="18288" cy="18423"/>
                </a:xfrm>
                <a:custGeom>
                  <a:avLst/>
                  <a:gdLst>
                    <a:gd name="connsiteX0" fmla="*/ 23 w 18288"/>
                    <a:gd name="connsiteY0" fmla="*/ 8524 h 18423"/>
                    <a:gd name="connsiteX1" fmla="*/ 9772 w 18288"/>
                    <a:gd name="connsiteY1" fmla="*/ 31 h 18423"/>
                    <a:gd name="connsiteX2" fmla="*/ 18265 w 18288"/>
                    <a:gd name="connsiteY2" fmla="*/ 9900 h 18423"/>
                    <a:gd name="connsiteX3" fmla="*/ 8516 w 18288"/>
                    <a:gd name="connsiteY3" fmla="*/ 18392 h 18423"/>
                    <a:gd name="connsiteX4" fmla="*/ 23 w 18288"/>
                    <a:gd name="connsiteY4" fmla="*/ 8524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3">
                      <a:moveTo>
                        <a:pt x="23" y="8524"/>
                      </a:moveTo>
                      <a:cubicBezTo>
                        <a:pt x="382" y="3440"/>
                        <a:pt x="4748" y="-387"/>
                        <a:pt x="9772" y="31"/>
                      </a:cubicBezTo>
                      <a:cubicBezTo>
                        <a:pt x="14796" y="390"/>
                        <a:pt x="18624" y="4816"/>
                        <a:pt x="18265" y="9900"/>
                      </a:cubicBezTo>
                      <a:cubicBezTo>
                        <a:pt x="17906" y="14983"/>
                        <a:pt x="13540" y="18811"/>
                        <a:pt x="8516" y="18392"/>
                      </a:cubicBezTo>
                      <a:cubicBezTo>
                        <a:pt x="3492" y="17973"/>
                        <a:pt x="-336" y="13548"/>
                        <a:pt x="23" y="8524"/>
                      </a:cubicBezTo>
                      <a:close/>
                    </a:path>
                  </a:pathLst>
                </a:custGeom>
                <a:grpFill/>
                <a:ln w="5978" cap="flat">
                  <a:noFill/>
                  <a:prstDash val="solid"/>
                  <a:miter/>
                </a:ln>
              </p:spPr>
              <p:txBody>
                <a:bodyPr rtlCol="0" anchor="ctr"/>
                <a:lstStyle/>
                <a:p>
                  <a:endParaRPr lang="en-GB"/>
                </a:p>
              </p:txBody>
            </p:sp>
            <p:sp>
              <p:nvSpPr>
                <p:cNvPr id="2917" name="Vrije vorm: vorm 2916">
                  <a:extLst>
                    <a:ext uri="{FF2B5EF4-FFF2-40B4-BE49-F238E27FC236}">
                      <a16:creationId xmlns:a16="http://schemas.microsoft.com/office/drawing/2014/main" id="{E796DD41-246A-43D6-B915-C9D4FEC14E40}"/>
                    </a:ext>
                  </a:extLst>
                </p:cNvPr>
                <p:cNvSpPr/>
                <p:nvPr/>
              </p:nvSpPr>
              <p:spPr>
                <a:xfrm>
                  <a:off x="6005658" y="5687735"/>
                  <a:ext cx="18288" cy="18415"/>
                </a:xfrm>
                <a:custGeom>
                  <a:avLst/>
                  <a:gdLst>
                    <a:gd name="connsiteX0" fmla="*/ 23 w 18288"/>
                    <a:gd name="connsiteY0" fmla="*/ 8524 h 18415"/>
                    <a:gd name="connsiteX1" fmla="*/ 8516 w 18288"/>
                    <a:gd name="connsiteY1" fmla="*/ 18392 h 18415"/>
                    <a:gd name="connsiteX2" fmla="*/ 18265 w 18288"/>
                    <a:gd name="connsiteY2" fmla="*/ 9900 h 18415"/>
                    <a:gd name="connsiteX3" fmla="*/ 9772 w 18288"/>
                    <a:gd name="connsiteY3" fmla="*/ 31 h 18415"/>
                    <a:gd name="connsiteX4" fmla="*/ 23 w 18288"/>
                    <a:gd name="connsiteY4" fmla="*/ 8524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15">
                      <a:moveTo>
                        <a:pt x="23" y="8524"/>
                      </a:moveTo>
                      <a:cubicBezTo>
                        <a:pt x="-336" y="13608"/>
                        <a:pt x="3492" y="18033"/>
                        <a:pt x="8516" y="18392"/>
                      </a:cubicBezTo>
                      <a:cubicBezTo>
                        <a:pt x="13540" y="18751"/>
                        <a:pt x="17965" y="14923"/>
                        <a:pt x="18265" y="9900"/>
                      </a:cubicBezTo>
                      <a:cubicBezTo>
                        <a:pt x="18624" y="4816"/>
                        <a:pt x="14796" y="390"/>
                        <a:pt x="9772" y="31"/>
                      </a:cubicBezTo>
                      <a:cubicBezTo>
                        <a:pt x="4748" y="-387"/>
                        <a:pt x="383" y="3440"/>
                        <a:pt x="23" y="8524"/>
                      </a:cubicBezTo>
                      <a:close/>
                    </a:path>
                  </a:pathLst>
                </a:custGeom>
                <a:grpFill/>
                <a:ln w="5978" cap="flat">
                  <a:noFill/>
                  <a:prstDash val="solid"/>
                  <a:miter/>
                </a:ln>
              </p:spPr>
              <p:txBody>
                <a:bodyPr rtlCol="0" anchor="ctr"/>
                <a:lstStyle/>
                <a:p>
                  <a:endParaRPr lang="en-GB"/>
                </a:p>
              </p:txBody>
            </p:sp>
          </p:grpSp>
          <p:grpSp>
            <p:nvGrpSpPr>
              <p:cNvPr id="828" name="Graphic 3">
                <a:extLst>
                  <a:ext uri="{FF2B5EF4-FFF2-40B4-BE49-F238E27FC236}">
                    <a16:creationId xmlns:a16="http://schemas.microsoft.com/office/drawing/2014/main" id="{C2AF5715-7C33-47EB-843D-52EB1976FD2D}"/>
                  </a:ext>
                </a:extLst>
              </p:cNvPr>
              <p:cNvGrpSpPr/>
              <p:nvPr/>
            </p:nvGrpSpPr>
            <p:grpSpPr>
              <a:xfrm>
                <a:off x="5944189" y="5109294"/>
                <a:ext cx="26461" cy="166715"/>
                <a:chOff x="5944189" y="5109294"/>
                <a:chExt cx="26461" cy="166715"/>
              </a:xfrm>
              <a:grpFill/>
            </p:grpSpPr>
            <p:sp>
              <p:nvSpPr>
                <p:cNvPr id="2912" name="Vrije vorm: vorm 2911">
                  <a:extLst>
                    <a:ext uri="{FF2B5EF4-FFF2-40B4-BE49-F238E27FC236}">
                      <a16:creationId xmlns:a16="http://schemas.microsoft.com/office/drawing/2014/main" id="{540D78F4-52EC-4D94-8C80-663AED748273}"/>
                    </a:ext>
                  </a:extLst>
                </p:cNvPr>
                <p:cNvSpPr/>
                <p:nvPr/>
              </p:nvSpPr>
              <p:spPr>
                <a:xfrm>
                  <a:off x="5951795" y="5117982"/>
                  <a:ext cx="11243" cy="149338"/>
                </a:xfrm>
                <a:custGeom>
                  <a:avLst/>
                  <a:gdLst>
                    <a:gd name="connsiteX0" fmla="*/ 11244 w 11243"/>
                    <a:gd name="connsiteY0" fmla="*/ 180 h 149338"/>
                    <a:gd name="connsiteX1" fmla="*/ 3050 w 11243"/>
                    <a:gd name="connsiteY1" fmla="*/ 149339 h 149338"/>
                    <a:gd name="connsiteX2" fmla="*/ 0 w 11243"/>
                    <a:gd name="connsiteY2" fmla="*/ 149159 h 149338"/>
                    <a:gd name="connsiteX3" fmla="*/ 8194 w 11243"/>
                    <a:gd name="connsiteY3" fmla="*/ 0 h 149338"/>
                  </a:gdLst>
                  <a:ahLst/>
                  <a:cxnLst>
                    <a:cxn ang="0">
                      <a:pos x="connsiteX0" y="connsiteY0"/>
                    </a:cxn>
                    <a:cxn ang="0">
                      <a:pos x="connsiteX1" y="connsiteY1"/>
                    </a:cxn>
                    <a:cxn ang="0">
                      <a:pos x="connsiteX2" y="connsiteY2"/>
                    </a:cxn>
                    <a:cxn ang="0">
                      <a:pos x="connsiteX3" y="connsiteY3"/>
                    </a:cxn>
                  </a:cxnLst>
                  <a:rect l="l" t="t" r="r" b="b"/>
                  <a:pathLst>
                    <a:path w="11243" h="149338">
                      <a:moveTo>
                        <a:pt x="11244" y="180"/>
                      </a:moveTo>
                      <a:lnTo>
                        <a:pt x="3050" y="149339"/>
                      </a:lnTo>
                      <a:lnTo>
                        <a:pt x="0" y="149159"/>
                      </a:lnTo>
                      <a:lnTo>
                        <a:pt x="8194" y="0"/>
                      </a:lnTo>
                      <a:close/>
                    </a:path>
                  </a:pathLst>
                </a:custGeom>
                <a:grpFill/>
                <a:ln w="5978" cap="flat">
                  <a:noFill/>
                  <a:prstDash val="solid"/>
                  <a:miter/>
                </a:ln>
              </p:spPr>
              <p:txBody>
                <a:bodyPr rtlCol="0" anchor="ctr"/>
                <a:lstStyle/>
                <a:p>
                  <a:endParaRPr lang="en-GB"/>
                </a:p>
              </p:txBody>
            </p:sp>
            <p:sp>
              <p:nvSpPr>
                <p:cNvPr id="2913" name="Vrije vorm: vorm 2912">
                  <a:extLst>
                    <a:ext uri="{FF2B5EF4-FFF2-40B4-BE49-F238E27FC236}">
                      <a16:creationId xmlns:a16="http://schemas.microsoft.com/office/drawing/2014/main" id="{A27745BA-3B34-4D6C-9B0F-B85E1C239BFA}"/>
                    </a:ext>
                  </a:extLst>
                </p:cNvPr>
                <p:cNvSpPr/>
                <p:nvPr/>
              </p:nvSpPr>
              <p:spPr>
                <a:xfrm>
                  <a:off x="5944189" y="5257556"/>
                  <a:ext cx="18322" cy="18453"/>
                </a:xfrm>
                <a:custGeom>
                  <a:avLst/>
                  <a:gdLst>
                    <a:gd name="connsiteX0" fmla="*/ 18311 w 18322"/>
                    <a:gd name="connsiteY0" fmla="*/ 9765 h 18453"/>
                    <a:gd name="connsiteX1" fmla="*/ 8683 w 18322"/>
                    <a:gd name="connsiteY1" fmla="*/ 18437 h 18453"/>
                    <a:gd name="connsiteX2" fmla="*/ 10 w 18322"/>
                    <a:gd name="connsiteY2" fmla="*/ 8688 h 18453"/>
                    <a:gd name="connsiteX3" fmla="*/ 9639 w 18322"/>
                    <a:gd name="connsiteY3" fmla="*/ 16 h 18453"/>
                    <a:gd name="connsiteX4" fmla="*/ 18311 w 18322"/>
                    <a:gd name="connsiteY4" fmla="*/ 976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8311" y="9765"/>
                      </a:moveTo>
                      <a:cubicBezTo>
                        <a:pt x="18012" y="14848"/>
                        <a:pt x="13706" y="18736"/>
                        <a:pt x="8683" y="18437"/>
                      </a:cubicBezTo>
                      <a:cubicBezTo>
                        <a:pt x="3659" y="18138"/>
                        <a:pt x="-229" y="13772"/>
                        <a:pt x="10" y="8688"/>
                      </a:cubicBezTo>
                      <a:cubicBezTo>
                        <a:pt x="309" y="3604"/>
                        <a:pt x="4616" y="-283"/>
                        <a:pt x="9639" y="16"/>
                      </a:cubicBezTo>
                      <a:cubicBezTo>
                        <a:pt x="14723" y="315"/>
                        <a:pt x="18551" y="4681"/>
                        <a:pt x="18311" y="9765"/>
                      </a:cubicBezTo>
                      <a:close/>
                    </a:path>
                  </a:pathLst>
                </a:custGeom>
                <a:grpFill/>
                <a:ln w="5978" cap="flat">
                  <a:noFill/>
                  <a:prstDash val="solid"/>
                  <a:miter/>
                </a:ln>
              </p:spPr>
              <p:txBody>
                <a:bodyPr rtlCol="0" anchor="ctr"/>
                <a:lstStyle/>
                <a:p>
                  <a:endParaRPr lang="en-GB"/>
                </a:p>
              </p:txBody>
            </p:sp>
            <p:sp>
              <p:nvSpPr>
                <p:cNvPr id="2914" name="Vrije vorm: vorm 2913">
                  <a:extLst>
                    <a:ext uri="{FF2B5EF4-FFF2-40B4-BE49-F238E27FC236}">
                      <a16:creationId xmlns:a16="http://schemas.microsoft.com/office/drawing/2014/main" id="{528B82B8-77B5-48A2-9E47-16EB28C884D1}"/>
                    </a:ext>
                  </a:extLst>
                </p:cNvPr>
                <p:cNvSpPr/>
                <p:nvPr/>
              </p:nvSpPr>
              <p:spPr>
                <a:xfrm>
                  <a:off x="5952317" y="5109294"/>
                  <a:ext cx="18333" cy="18452"/>
                </a:xfrm>
                <a:custGeom>
                  <a:avLst/>
                  <a:gdLst>
                    <a:gd name="connsiteX0" fmla="*/ 18317 w 18333"/>
                    <a:gd name="connsiteY0" fmla="*/ 9765 h 18452"/>
                    <a:gd name="connsiteX1" fmla="*/ 9645 w 18333"/>
                    <a:gd name="connsiteY1" fmla="*/ 16 h 18452"/>
                    <a:gd name="connsiteX2" fmla="*/ 16 w 18333"/>
                    <a:gd name="connsiteY2" fmla="*/ 8688 h 18452"/>
                    <a:gd name="connsiteX3" fmla="*/ 8688 w 18333"/>
                    <a:gd name="connsiteY3" fmla="*/ 18437 h 18452"/>
                    <a:gd name="connsiteX4" fmla="*/ 18317 w 18333"/>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317" y="9765"/>
                      </a:moveTo>
                      <a:cubicBezTo>
                        <a:pt x="18616" y="4681"/>
                        <a:pt x="14729" y="315"/>
                        <a:pt x="9645" y="16"/>
                      </a:cubicBezTo>
                      <a:cubicBezTo>
                        <a:pt x="4621" y="-283"/>
                        <a:pt x="256" y="3604"/>
                        <a:pt x="16" y="8688"/>
                      </a:cubicBezTo>
                      <a:cubicBezTo>
                        <a:pt x="-283" y="13772"/>
                        <a:pt x="3605" y="18138"/>
                        <a:pt x="8688" y="18437"/>
                      </a:cubicBezTo>
                      <a:cubicBezTo>
                        <a:pt x="13712" y="18736"/>
                        <a:pt x="18018" y="14848"/>
                        <a:pt x="18317" y="9765"/>
                      </a:cubicBezTo>
                      <a:close/>
                    </a:path>
                  </a:pathLst>
                </a:custGeom>
                <a:grpFill/>
                <a:ln w="5978" cap="flat">
                  <a:noFill/>
                  <a:prstDash val="solid"/>
                  <a:miter/>
                </a:ln>
              </p:spPr>
              <p:txBody>
                <a:bodyPr rtlCol="0" anchor="ctr"/>
                <a:lstStyle/>
                <a:p>
                  <a:endParaRPr lang="en-GB"/>
                </a:p>
              </p:txBody>
            </p:sp>
          </p:grpSp>
          <p:grpSp>
            <p:nvGrpSpPr>
              <p:cNvPr id="829" name="Graphic 3">
                <a:extLst>
                  <a:ext uri="{FF2B5EF4-FFF2-40B4-BE49-F238E27FC236}">
                    <a16:creationId xmlns:a16="http://schemas.microsoft.com/office/drawing/2014/main" id="{BBABA835-3172-439A-9A3C-A8CED562CC5C}"/>
                  </a:ext>
                </a:extLst>
              </p:cNvPr>
              <p:cNvGrpSpPr/>
              <p:nvPr/>
            </p:nvGrpSpPr>
            <p:grpSpPr>
              <a:xfrm>
                <a:off x="6047307" y="5395428"/>
                <a:ext cx="18420" cy="176551"/>
                <a:chOff x="6047307" y="5395428"/>
                <a:chExt cx="18420" cy="176551"/>
              </a:xfrm>
              <a:grpFill/>
            </p:grpSpPr>
            <p:sp>
              <p:nvSpPr>
                <p:cNvPr id="2909" name="Vrije vorm: vorm 2908">
                  <a:extLst>
                    <a:ext uri="{FF2B5EF4-FFF2-40B4-BE49-F238E27FC236}">
                      <a16:creationId xmlns:a16="http://schemas.microsoft.com/office/drawing/2014/main" id="{5EED1CC1-B2CB-4052-94BA-6A0E020C2ED2}"/>
                    </a:ext>
                  </a:extLst>
                </p:cNvPr>
                <p:cNvSpPr/>
                <p:nvPr/>
              </p:nvSpPr>
              <p:spPr>
                <a:xfrm>
                  <a:off x="6054962" y="5404220"/>
                  <a:ext cx="3109" cy="159027"/>
                </a:xfrm>
                <a:custGeom>
                  <a:avLst/>
                  <a:gdLst>
                    <a:gd name="connsiteX0" fmla="*/ 3050 w 3109"/>
                    <a:gd name="connsiteY0" fmla="*/ 0 h 159027"/>
                    <a:gd name="connsiteX1" fmla="*/ 3110 w 3109"/>
                    <a:gd name="connsiteY1" fmla="*/ 159027 h 159027"/>
                    <a:gd name="connsiteX2" fmla="*/ 119 w 3109"/>
                    <a:gd name="connsiteY2" fmla="*/ 158967 h 159027"/>
                    <a:gd name="connsiteX3" fmla="*/ 0 w 3109"/>
                    <a:gd name="connsiteY3" fmla="*/ 0 h 159027"/>
                  </a:gdLst>
                  <a:ahLst/>
                  <a:cxnLst>
                    <a:cxn ang="0">
                      <a:pos x="connsiteX0" y="connsiteY0"/>
                    </a:cxn>
                    <a:cxn ang="0">
                      <a:pos x="connsiteX1" y="connsiteY1"/>
                    </a:cxn>
                    <a:cxn ang="0">
                      <a:pos x="connsiteX2" y="connsiteY2"/>
                    </a:cxn>
                    <a:cxn ang="0">
                      <a:pos x="connsiteX3" y="connsiteY3"/>
                    </a:cxn>
                  </a:cxnLst>
                  <a:rect l="l" t="t" r="r" b="b"/>
                  <a:pathLst>
                    <a:path w="3109" h="159027">
                      <a:moveTo>
                        <a:pt x="3050" y="0"/>
                      </a:moveTo>
                      <a:lnTo>
                        <a:pt x="3110" y="159027"/>
                      </a:lnTo>
                      <a:lnTo>
                        <a:pt x="119" y="158967"/>
                      </a:lnTo>
                      <a:lnTo>
                        <a:pt x="0" y="0"/>
                      </a:lnTo>
                      <a:close/>
                    </a:path>
                  </a:pathLst>
                </a:custGeom>
                <a:grpFill/>
                <a:ln w="5978" cap="flat">
                  <a:noFill/>
                  <a:prstDash val="solid"/>
                  <a:miter/>
                </a:ln>
              </p:spPr>
              <p:txBody>
                <a:bodyPr rtlCol="0" anchor="ctr"/>
                <a:lstStyle/>
                <a:p>
                  <a:endParaRPr lang="en-GB"/>
                </a:p>
              </p:txBody>
            </p:sp>
            <p:sp>
              <p:nvSpPr>
                <p:cNvPr id="2910" name="Vrije vorm: vorm 2909">
                  <a:extLst>
                    <a:ext uri="{FF2B5EF4-FFF2-40B4-BE49-F238E27FC236}">
                      <a16:creationId xmlns:a16="http://schemas.microsoft.com/office/drawing/2014/main" id="{74EA4A72-85A4-4AA9-8A61-8AE12E10BD45}"/>
                    </a:ext>
                  </a:extLst>
                </p:cNvPr>
                <p:cNvSpPr/>
                <p:nvPr/>
              </p:nvSpPr>
              <p:spPr>
                <a:xfrm>
                  <a:off x="6047427" y="5553499"/>
                  <a:ext cx="18300" cy="18480"/>
                </a:xfrm>
                <a:custGeom>
                  <a:avLst/>
                  <a:gdLst>
                    <a:gd name="connsiteX0" fmla="*/ 18301 w 18300"/>
                    <a:gd name="connsiteY0" fmla="*/ 9270 h 18480"/>
                    <a:gd name="connsiteX1" fmla="*/ 9150 w 18300"/>
                    <a:gd name="connsiteY1" fmla="*/ 18481 h 18480"/>
                    <a:gd name="connsiteX2" fmla="*/ 0 w 18300"/>
                    <a:gd name="connsiteY2" fmla="*/ 9211 h 18480"/>
                    <a:gd name="connsiteX3" fmla="*/ 9150 w 18300"/>
                    <a:gd name="connsiteY3" fmla="*/ 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14354"/>
                        <a:pt x="14174" y="18481"/>
                        <a:pt x="9150" y="18481"/>
                      </a:cubicBezTo>
                      <a:cubicBezTo>
                        <a:pt x="4067" y="18481"/>
                        <a:pt x="0" y="14294"/>
                        <a:pt x="0" y="9211"/>
                      </a:cubicBezTo>
                      <a:cubicBezTo>
                        <a:pt x="0" y="4127"/>
                        <a:pt x="4127" y="0"/>
                        <a:pt x="9150" y="0"/>
                      </a:cubicBezTo>
                      <a:cubicBezTo>
                        <a:pt x="14234" y="60"/>
                        <a:pt x="18301" y="4187"/>
                        <a:pt x="18301" y="9270"/>
                      </a:cubicBezTo>
                      <a:close/>
                    </a:path>
                  </a:pathLst>
                </a:custGeom>
                <a:grpFill/>
                <a:ln w="5978" cap="flat">
                  <a:noFill/>
                  <a:prstDash val="solid"/>
                  <a:miter/>
                </a:ln>
              </p:spPr>
              <p:txBody>
                <a:bodyPr rtlCol="0" anchor="ctr"/>
                <a:lstStyle/>
                <a:p>
                  <a:endParaRPr lang="en-GB"/>
                </a:p>
              </p:txBody>
            </p:sp>
            <p:sp>
              <p:nvSpPr>
                <p:cNvPr id="2911" name="Vrije vorm: vorm 2910">
                  <a:extLst>
                    <a:ext uri="{FF2B5EF4-FFF2-40B4-BE49-F238E27FC236}">
                      <a16:creationId xmlns:a16="http://schemas.microsoft.com/office/drawing/2014/main" id="{98CA45B3-8C97-4A51-854C-FEF7E94D660D}"/>
                    </a:ext>
                  </a:extLst>
                </p:cNvPr>
                <p:cNvSpPr/>
                <p:nvPr/>
              </p:nvSpPr>
              <p:spPr>
                <a:xfrm>
                  <a:off x="6047307" y="5395428"/>
                  <a:ext cx="18301" cy="18480"/>
                </a:xfrm>
                <a:custGeom>
                  <a:avLst/>
                  <a:gdLst>
                    <a:gd name="connsiteX0" fmla="*/ 18301 w 18301"/>
                    <a:gd name="connsiteY0" fmla="*/ 9270 h 18480"/>
                    <a:gd name="connsiteX1" fmla="*/ 9151 w 18301"/>
                    <a:gd name="connsiteY1" fmla="*/ 0 h 18480"/>
                    <a:gd name="connsiteX2" fmla="*/ 0 w 18301"/>
                    <a:gd name="connsiteY2" fmla="*/ 9211 h 18480"/>
                    <a:gd name="connsiteX3" fmla="*/ 9151 w 18301"/>
                    <a:gd name="connsiteY3" fmla="*/ 18481 h 18480"/>
                    <a:gd name="connsiteX4" fmla="*/ 18301 w 18301"/>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80">
                      <a:moveTo>
                        <a:pt x="18301" y="9270"/>
                      </a:moveTo>
                      <a:cubicBezTo>
                        <a:pt x="18301" y="4187"/>
                        <a:pt x="14174" y="60"/>
                        <a:pt x="9151" y="0"/>
                      </a:cubicBezTo>
                      <a:cubicBezTo>
                        <a:pt x="4067" y="0"/>
                        <a:pt x="0" y="4067"/>
                        <a:pt x="0" y="9211"/>
                      </a:cubicBezTo>
                      <a:cubicBezTo>
                        <a:pt x="0" y="14294"/>
                        <a:pt x="4127" y="18421"/>
                        <a:pt x="9151" y="18481"/>
                      </a:cubicBezTo>
                      <a:cubicBezTo>
                        <a:pt x="14234" y="18481"/>
                        <a:pt x="18361" y="14354"/>
                        <a:pt x="18301" y="9270"/>
                      </a:cubicBezTo>
                      <a:close/>
                    </a:path>
                  </a:pathLst>
                </a:custGeom>
                <a:grpFill/>
                <a:ln w="5978" cap="flat">
                  <a:noFill/>
                  <a:prstDash val="solid"/>
                  <a:miter/>
                </a:ln>
              </p:spPr>
              <p:txBody>
                <a:bodyPr rtlCol="0" anchor="ctr"/>
                <a:lstStyle/>
                <a:p>
                  <a:endParaRPr lang="en-GB"/>
                </a:p>
              </p:txBody>
            </p:sp>
          </p:grpSp>
          <p:grpSp>
            <p:nvGrpSpPr>
              <p:cNvPr id="830" name="Graphic 3">
                <a:extLst>
                  <a:ext uri="{FF2B5EF4-FFF2-40B4-BE49-F238E27FC236}">
                    <a16:creationId xmlns:a16="http://schemas.microsoft.com/office/drawing/2014/main" id="{1E6770F0-BCD2-40A5-9F3D-41B65FE06715}"/>
                  </a:ext>
                </a:extLst>
              </p:cNvPr>
              <p:cNvGrpSpPr/>
              <p:nvPr/>
            </p:nvGrpSpPr>
            <p:grpSpPr>
              <a:xfrm>
                <a:off x="4869585" y="2050717"/>
                <a:ext cx="90565" cy="101777"/>
                <a:chOff x="4869585" y="2050717"/>
                <a:chExt cx="90565" cy="101777"/>
              </a:xfrm>
              <a:grpFill/>
            </p:grpSpPr>
            <p:sp>
              <p:nvSpPr>
                <p:cNvPr id="2906" name="Vrije vorm: vorm 2905">
                  <a:extLst>
                    <a:ext uri="{FF2B5EF4-FFF2-40B4-BE49-F238E27FC236}">
                      <a16:creationId xmlns:a16="http://schemas.microsoft.com/office/drawing/2014/main" id="{90FA22A6-EBC4-496C-BCE0-F2E62E503186}"/>
                    </a:ext>
                  </a:extLst>
                </p:cNvPr>
                <p:cNvSpPr/>
                <p:nvPr/>
              </p:nvSpPr>
              <p:spPr>
                <a:xfrm>
                  <a:off x="4877298" y="2058604"/>
                  <a:ext cx="75177" cy="86062"/>
                </a:xfrm>
                <a:custGeom>
                  <a:avLst/>
                  <a:gdLst>
                    <a:gd name="connsiteX0" fmla="*/ 75178 w 75177"/>
                    <a:gd name="connsiteY0" fmla="*/ 84029 h 86062"/>
                    <a:gd name="connsiteX1" fmla="*/ 72905 w 75177"/>
                    <a:gd name="connsiteY1" fmla="*/ 86063 h 86062"/>
                    <a:gd name="connsiteX2" fmla="*/ 0 w 75177"/>
                    <a:gd name="connsiteY2" fmla="*/ 2033 h 86062"/>
                    <a:gd name="connsiteX3" fmla="*/ 2333 w 75177"/>
                    <a:gd name="connsiteY3" fmla="*/ 0 h 86062"/>
                  </a:gdLst>
                  <a:ahLst/>
                  <a:cxnLst>
                    <a:cxn ang="0">
                      <a:pos x="connsiteX0" y="connsiteY0"/>
                    </a:cxn>
                    <a:cxn ang="0">
                      <a:pos x="connsiteX1" y="connsiteY1"/>
                    </a:cxn>
                    <a:cxn ang="0">
                      <a:pos x="connsiteX2" y="connsiteY2"/>
                    </a:cxn>
                    <a:cxn ang="0">
                      <a:pos x="connsiteX3" y="connsiteY3"/>
                    </a:cxn>
                  </a:cxnLst>
                  <a:rect l="l" t="t" r="r" b="b"/>
                  <a:pathLst>
                    <a:path w="75177" h="86062">
                      <a:moveTo>
                        <a:pt x="75178" y="84029"/>
                      </a:moveTo>
                      <a:lnTo>
                        <a:pt x="72905" y="86063"/>
                      </a:lnTo>
                      <a:lnTo>
                        <a:pt x="0" y="2033"/>
                      </a:lnTo>
                      <a:lnTo>
                        <a:pt x="2333" y="0"/>
                      </a:lnTo>
                      <a:close/>
                    </a:path>
                  </a:pathLst>
                </a:custGeom>
                <a:grpFill/>
                <a:ln w="5978" cap="flat">
                  <a:noFill/>
                  <a:prstDash val="solid"/>
                  <a:miter/>
                </a:ln>
              </p:spPr>
              <p:txBody>
                <a:bodyPr rtlCol="0" anchor="ctr"/>
                <a:lstStyle/>
                <a:p>
                  <a:endParaRPr lang="en-GB"/>
                </a:p>
              </p:txBody>
            </p:sp>
            <p:sp>
              <p:nvSpPr>
                <p:cNvPr id="2907" name="Vrije vorm: vorm 2906">
                  <a:extLst>
                    <a:ext uri="{FF2B5EF4-FFF2-40B4-BE49-F238E27FC236}">
                      <a16:creationId xmlns:a16="http://schemas.microsoft.com/office/drawing/2014/main" id="{BA63A877-3975-4274-B56F-57BFAE9263A5}"/>
                    </a:ext>
                  </a:extLst>
                </p:cNvPr>
                <p:cNvSpPr/>
                <p:nvPr/>
              </p:nvSpPr>
              <p:spPr>
                <a:xfrm>
                  <a:off x="4869585" y="2050717"/>
                  <a:ext cx="18297" cy="18450"/>
                </a:xfrm>
                <a:custGeom>
                  <a:avLst/>
                  <a:gdLst>
                    <a:gd name="connsiteX0" fmla="*/ 2271 w 18297"/>
                    <a:gd name="connsiteY0" fmla="*/ 15243 h 18450"/>
                    <a:gd name="connsiteX1" fmla="*/ 3108 w 18297"/>
                    <a:gd name="connsiteY1" fmla="*/ 2265 h 18450"/>
                    <a:gd name="connsiteX2" fmla="*/ 16027 w 18297"/>
                    <a:gd name="connsiteY2" fmla="*/ 3162 h 18450"/>
                    <a:gd name="connsiteX3" fmla="*/ 15189 w 18297"/>
                    <a:gd name="connsiteY3" fmla="*/ 16141 h 18450"/>
                    <a:gd name="connsiteX4" fmla="*/ 2271 w 18297"/>
                    <a:gd name="connsiteY4" fmla="*/ 15243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50">
                      <a:moveTo>
                        <a:pt x="2271" y="15243"/>
                      </a:moveTo>
                      <a:cubicBezTo>
                        <a:pt x="-1078" y="11416"/>
                        <a:pt x="-660" y="5555"/>
                        <a:pt x="3108" y="2265"/>
                      </a:cubicBezTo>
                      <a:cubicBezTo>
                        <a:pt x="6936" y="-1084"/>
                        <a:pt x="12737" y="-665"/>
                        <a:pt x="16027" y="3162"/>
                      </a:cubicBezTo>
                      <a:cubicBezTo>
                        <a:pt x="19376" y="6990"/>
                        <a:pt x="18957" y="12851"/>
                        <a:pt x="15189" y="16141"/>
                      </a:cubicBezTo>
                      <a:cubicBezTo>
                        <a:pt x="11421" y="19550"/>
                        <a:pt x="5620" y="19131"/>
                        <a:pt x="2271" y="15243"/>
                      </a:cubicBezTo>
                      <a:close/>
                    </a:path>
                  </a:pathLst>
                </a:custGeom>
                <a:grpFill/>
                <a:ln w="5978" cap="flat">
                  <a:noFill/>
                  <a:prstDash val="solid"/>
                  <a:miter/>
                </a:ln>
              </p:spPr>
              <p:txBody>
                <a:bodyPr rtlCol="0" anchor="ctr"/>
                <a:lstStyle/>
                <a:p>
                  <a:endParaRPr lang="en-GB"/>
                </a:p>
              </p:txBody>
            </p:sp>
            <p:sp>
              <p:nvSpPr>
                <p:cNvPr id="2908" name="Vrije vorm: vorm 2907">
                  <a:extLst>
                    <a:ext uri="{FF2B5EF4-FFF2-40B4-BE49-F238E27FC236}">
                      <a16:creationId xmlns:a16="http://schemas.microsoft.com/office/drawing/2014/main" id="{BDE3151F-F30A-435C-BB8F-4C7014978EC1}"/>
                    </a:ext>
                  </a:extLst>
                </p:cNvPr>
                <p:cNvSpPr/>
                <p:nvPr/>
              </p:nvSpPr>
              <p:spPr>
                <a:xfrm>
                  <a:off x="4941856" y="2134088"/>
                  <a:ext cx="18294" cy="18405"/>
                </a:xfrm>
                <a:custGeom>
                  <a:avLst/>
                  <a:gdLst>
                    <a:gd name="connsiteX0" fmla="*/ 2247 w 18294"/>
                    <a:gd name="connsiteY0" fmla="*/ 15243 h 18405"/>
                    <a:gd name="connsiteX1" fmla="*/ 15165 w 18294"/>
                    <a:gd name="connsiteY1" fmla="*/ 16141 h 18405"/>
                    <a:gd name="connsiteX2" fmla="*/ 16003 w 18294"/>
                    <a:gd name="connsiteY2" fmla="*/ 3162 h 18405"/>
                    <a:gd name="connsiteX3" fmla="*/ 3084 w 18294"/>
                    <a:gd name="connsiteY3" fmla="*/ 2265 h 18405"/>
                    <a:gd name="connsiteX4" fmla="*/ 2247 w 18294"/>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05">
                      <a:moveTo>
                        <a:pt x="2247" y="15243"/>
                      </a:moveTo>
                      <a:cubicBezTo>
                        <a:pt x="5596" y="19071"/>
                        <a:pt x="11397" y="19490"/>
                        <a:pt x="15165" y="16141"/>
                      </a:cubicBezTo>
                      <a:cubicBezTo>
                        <a:pt x="18993" y="12791"/>
                        <a:pt x="19352" y="6990"/>
                        <a:pt x="16003" y="3162"/>
                      </a:cubicBezTo>
                      <a:cubicBezTo>
                        <a:pt x="12654" y="-665"/>
                        <a:pt x="6852" y="-1084"/>
                        <a:pt x="3084" y="2265"/>
                      </a:cubicBezTo>
                      <a:cubicBezTo>
                        <a:pt x="-684" y="5615"/>
                        <a:pt x="-1043" y="11416"/>
                        <a:pt x="2247" y="15243"/>
                      </a:cubicBezTo>
                      <a:close/>
                    </a:path>
                  </a:pathLst>
                </a:custGeom>
                <a:grpFill/>
                <a:ln w="5978" cap="flat">
                  <a:noFill/>
                  <a:prstDash val="solid"/>
                  <a:miter/>
                </a:ln>
              </p:spPr>
              <p:txBody>
                <a:bodyPr rtlCol="0" anchor="ctr"/>
                <a:lstStyle/>
                <a:p>
                  <a:endParaRPr lang="en-GB"/>
                </a:p>
              </p:txBody>
            </p:sp>
          </p:grpSp>
          <p:grpSp>
            <p:nvGrpSpPr>
              <p:cNvPr id="831" name="Graphic 3">
                <a:extLst>
                  <a:ext uri="{FF2B5EF4-FFF2-40B4-BE49-F238E27FC236}">
                    <a16:creationId xmlns:a16="http://schemas.microsoft.com/office/drawing/2014/main" id="{DB69B1B9-1923-4A23-A084-82232DEED2F0}"/>
                  </a:ext>
                </a:extLst>
              </p:cNvPr>
              <p:cNvGrpSpPr/>
              <p:nvPr/>
            </p:nvGrpSpPr>
            <p:grpSpPr>
              <a:xfrm>
                <a:off x="4805112" y="1864113"/>
                <a:ext cx="77806" cy="92376"/>
                <a:chOff x="4805112" y="1864113"/>
                <a:chExt cx="77806" cy="92376"/>
              </a:xfrm>
              <a:grpFill/>
            </p:grpSpPr>
            <p:sp>
              <p:nvSpPr>
                <p:cNvPr id="2903" name="Vrije vorm: vorm 2902">
                  <a:extLst>
                    <a:ext uri="{FF2B5EF4-FFF2-40B4-BE49-F238E27FC236}">
                      <a16:creationId xmlns:a16="http://schemas.microsoft.com/office/drawing/2014/main" id="{5995A1FD-2E5A-4655-A932-98A2F5C48E8E}"/>
                    </a:ext>
                  </a:extLst>
                </p:cNvPr>
                <p:cNvSpPr/>
                <p:nvPr/>
              </p:nvSpPr>
              <p:spPr>
                <a:xfrm>
                  <a:off x="4812766" y="1872006"/>
                  <a:ext cx="62378" cy="76613"/>
                </a:xfrm>
                <a:custGeom>
                  <a:avLst/>
                  <a:gdLst>
                    <a:gd name="connsiteX0" fmla="*/ 62379 w 62378"/>
                    <a:gd name="connsiteY0" fmla="*/ 74699 h 76613"/>
                    <a:gd name="connsiteX1" fmla="*/ 60046 w 62378"/>
                    <a:gd name="connsiteY1" fmla="*/ 76613 h 76613"/>
                    <a:gd name="connsiteX2" fmla="*/ 0 w 62378"/>
                    <a:gd name="connsiteY2" fmla="*/ 1914 h 76613"/>
                    <a:gd name="connsiteX3" fmla="*/ 2392 w 62378"/>
                    <a:gd name="connsiteY3" fmla="*/ 0 h 76613"/>
                  </a:gdLst>
                  <a:ahLst/>
                  <a:cxnLst>
                    <a:cxn ang="0">
                      <a:pos x="connsiteX0" y="connsiteY0"/>
                    </a:cxn>
                    <a:cxn ang="0">
                      <a:pos x="connsiteX1" y="connsiteY1"/>
                    </a:cxn>
                    <a:cxn ang="0">
                      <a:pos x="connsiteX2" y="connsiteY2"/>
                    </a:cxn>
                    <a:cxn ang="0">
                      <a:pos x="connsiteX3" y="connsiteY3"/>
                    </a:cxn>
                  </a:cxnLst>
                  <a:rect l="l" t="t" r="r" b="b"/>
                  <a:pathLst>
                    <a:path w="62378" h="76613">
                      <a:moveTo>
                        <a:pt x="62379" y="74699"/>
                      </a:moveTo>
                      <a:lnTo>
                        <a:pt x="60046" y="76613"/>
                      </a:lnTo>
                      <a:lnTo>
                        <a:pt x="0" y="1914"/>
                      </a:lnTo>
                      <a:lnTo>
                        <a:pt x="2392" y="0"/>
                      </a:lnTo>
                      <a:close/>
                    </a:path>
                  </a:pathLst>
                </a:custGeom>
                <a:grpFill/>
                <a:ln w="5978" cap="flat">
                  <a:noFill/>
                  <a:prstDash val="solid"/>
                  <a:miter/>
                </a:ln>
              </p:spPr>
              <p:txBody>
                <a:bodyPr rtlCol="0" anchor="ctr"/>
                <a:lstStyle/>
                <a:p>
                  <a:endParaRPr lang="en-GB"/>
                </a:p>
              </p:txBody>
            </p:sp>
            <p:sp>
              <p:nvSpPr>
                <p:cNvPr id="2904" name="Vrije vorm: vorm 2903">
                  <a:extLst>
                    <a:ext uri="{FF2B5EF4-FFF2-40B4-BE49-F238E27FC236}">
                      <a16:creationId xmlns:a16="http://schemas.microsoft.com/office/drawing/2014/main" id="{3AB4D0AC-754D-41F7-939C-1AE1E20C4B3C}"/>
                    </a:ext>
                  </a:extLst>
                </p:cNvPr>
                <p:cNvSpPr/>
                <p:nvPr/>
              </p:nvSpPr>
              <p:spPr>
                <a:xfrm>
                  <a:off x="4805112" y="1864113"/>
                  <a:ext cx="18358" cy="18443"/>
                </a:xfrm>
                <a:custGeom>
                  <a:avLst/>
                  <a:gdLst>
                    <a:gd name="connsiteX0" fmla="*/ 2032 w 18358"/>
                    <a:gd name="connsiteY0" fmla="*/ 15010 h 18443"/>
                    <a:gd name="connsiteX1" fmla="*/ 3408 w 18358"/>
                    <a:gd name="connsiteY1" fmla="*/ 2032 h 18443"/>
                    <a:gd name="connsiteX2" fmla="*/ 16326 w 18358"/>
                    <a:gd name="connsiteY2" fmla="*/ 3408 h 18443"/>
                    <a:gd name="connsiteX3" fmla="*/ 14951 w 18358"/>
                    <a:gd name="connsiteY3" fmla="*/ 16386 h 18443"/>
                    <a:gd name="connsiteX4" fmla="*/ 2032 w 18358"/>
                    <a:gd name="connsiteY4" fmla="*/ 15010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3">
                      <a:moveTo>
                        <a:pt x="2032" y="15010"/>
                      </a:moveTo>
                      <a:cubicBezTo>
                        <a:pt x="-1138" y="11063"/>
                        <a:pt x="-539" y="5262"/>
                        <a:pt x="3408" y="2032"/>
                      </a:cubicBezTo>
                      <a:cubicBezTo>
                        <a:pt x="7355" y="-1137"/>
                        <a:pt x="13097" y="-539"/>
                        <a:pt x="16326" y="3408"/>
                      </a:cubicBezTo>
                      <a:cubicBezTo>
                        <a:pt x="19496" y="7355"/>
                        <a:pt x="18898" y="13156"/>
                        <a:pt x="14951" y="16386"/>
                      </a:cubicBezTo>
                      <a:cubicBezTo>
                        <a:pt x="10944" y="19616"/>
                        <a:pt x="5202" y="18958"/>
                        <a:pt x="2032" y="15010"/>
                      </a:cubicBezTo>
                      <a:close/>
                    </a:path>
                  </a:pathLst>
                </a:custGeom>
                <a:grpFill/>
                <a:ln w="5978" cap="flat">
                  <a:noFill/>
                  <a:prstDash val="solid"/>
                  <a:miter/>
                </a:ln>
              </p:spPr>
              <p:txBody>
                <a:bodyPr rtlCol="0" anchor="ctr"/>
                <a:lstStyle/>
                <a:p>
                  <a:endParaRPr lang="en-GB"/>
                </a:p>
              </p:txBody>
            </p:sp>
            <p:sp>
              <p:nvSpPr>
                <p:cNvPr id="2905" name="Vrije vorm: vorm 2904">
                  <a:extLst>
                    <a:ext uri="{FF2B5EF4-FFF2-40B4-BE49-F238E27FC236}">
                      <a16:creationId xmlns:a16="http://schemas.microsoft.com/office/drawing/2014/main" id="{1C3E75BD-4F41-41FE-96EA-4B99C953ED95}"/>
                    </a:ext>
                  </a:extLst>
                </p:cNvPr>
                <p:cNvSpPr/>
                <p:nvPr/>
              </p:nvSpPr>
              <p:spPr>
                <a:xfrm>
                  <a:off x="4864516" y="1938069"/>
                  <a:ext cx="18402" cy="18419"/>
                </a:xfrm>
                <a:custGeom>
                  <a:avLst/>
                  <a:gdLst>
                    <a:gd name="connsiteX0" fmla="*/ 2076 w 18402"/>
                    <a:gd name="connsiteY0" fmla="*/ 14976 h 18419"/>
                    <a:gd name="connsiteX1" fmla="*/ 14995 w 18402"/>
                    <a:gd name="connsiteY1" fmla="*/ 16411 h 18419"/>
                    <a:gd name="connsiteX2" fmla="*/ 16370 w 18402"/>
                    <a:gd name="connsiteY2" fmla="*/ 3433 h 18419"/>
                    <a:gd name="connsiteX3" fmla="*/ 3452 w 18402"/>
                    <a:gd name="connsiteY3" fmla="*/ 2057 h 18419"/>
                    <a:gd name="connsiteX4" fmla="*/ 2076 w 18402"/>
                    <a:gd name="connsiteY4" fmla="*/ 1497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2" h="18419">
                      <a:moveTo>
                        <a:pt x="2076" y="14976"/>
                      </a:moveTo>
                      <a:cubicBezTo>
                        <a:pt x="5246" y="18923"/>
                        <a:pt x="11047" y="19581"/>
                        <a:pt x="14995" y="16411"/>
                      </a:cubicBezTo>
                      <a:cubicBezTo>
                        <a:pt x="18942" y="13241"/>
                        <a:pt x="19540" y="7440"/>
                        <a:pt x="16370" y="3433"/>
                      </a:cubicBezTo>
                      <a:cubicBezTo>
                        <a:pt x="13200" y="-514"/>
                        <a:pt x="7399" y="-1172"/>
                        <a:pt x="3452" y="2057"/>
                      </a:cubicBezTo>
                      <a:cubicBezTo>
                        <a:pt x="-555" y="5227"/>
                        <a:pt x="-1153" y="11028"/>
                        <a:pt x="2076" y="14976"/>
                      </a:cubicBezTo>
                      <a:close/>
                    </a:path>
                  </a:pathLst>
                </a:custGeom>
                <a:grpFill/>
                <a:ln w="5978" cap="flat">
                  <a:noFill/>
                  <a:prstDash val="solid"/>
                  <a:miter/>
                </a:ln>
              </p:spPr>
              <p:txBody>
                <a:bodyPr rtlCol="0" anchor="ctr"/>
                <a:lstStyle/>
                <a:p>
                  <a:endParaRPr lang="en-GB"/>
                </a:p>
              </p:txBody>
            </p:sp>
          </p:grpSp>
          <p:grpSp>
            <p:nvGrpSpPr>
              <p:cNvPr id="832" name="Graphic 3">
                <a:extLst>
                  <a:ext uri="{FF2B5EF4-FFF2-40B4-BE49-F238E27FC236}">
                    <a16:creationId xmlns:a16="http://schemas.microsoft.com/office/drawing/2014/main" id="{2830642F-FC11-4919-8D72-02A6F5EA58A0}"/>
                  </a:ext>
                </a:extLst>
              </p:cNvPr>
              <p:cNvGrpSpPr/>
              <p:nvPr/>
            </p:nvGrpSpPr>
            <p:grpSpPr>
              <a:xfrm>
                <a:off x="4751866" y="1858895"/>
                <a:ext cx="209102" cy="292988"/>
                <a:chOff x="4751866" y="1858895"/>
                <a:chExt cx="209102" cy="292988"/>
              </a:xfrm>
              <a:grpFill/>
            </p:grpSpPr>
            <p:sp>
              <p:nvSpPr>
                <p:cNvPr id="2900" name="Vrije vorm: vorm 2899">
                  <a:extLst>
                    <a:ext uri="{FF2B5EF4-FFF2-40B4-BE49-F238E27FC236}">
                      <a16:creationId xmlns:a16="http://schemas.microsoft.com/office/drawing/2014/main" id="{ADF4778D-919F-4661-8C71-A072B57C5502}"/>
                    </a:ext>
                  </a:extLst>
                </p:cNvPr>
                <p:cNvSpPr/>
                <p:nvPr/>
              </p:nvSpPr>
              <p:spPr>
                <a:xfrm>
                  <a:off x="4759478" y="1866863"/>
                  <a:ext cx="193835" cy="277086"/>
                </a:xfrm>
                <a:custGeom>
                  <a:avLst/>
                  <a:gdLst>
                    <a:gd name="connsiteX0" fmla="*/ 193835 w 193835"/>
                    <a:gd name="connsiteY0" fmla="*/ 275352 h 277086"/>
                    <a:gd name="connsiteX1" fmla="*/ 191324 w 193835"/>
                    <a:gd name="connsiteY1" fmla="*/ 277087 h 277086"/>
                    <a:gd name="connsiteX2" fmla="*/ 0 w 193835"/>
                    <a:gd name="connsiteY2" fmla="*/ 1734 h 277086"/>
                    <a:gd name="connsiteX3" fmla="*/ 2452 w 193835"/>
                    <a:gd name="connsiteY3" fmla="*/ 0 h 277086"/>
                  </a:gdLst>
                  <a:ahLst/>
                  <a:cxnLst>
                    <a:cxn ang="0">
                      <a:pos x="connsiteX0" y="connsiteY0"/>
                    </a:cxn>
                    <a:cxn ang="0">
                      <a:pos x="connsiteX1" y="connsiteY1"/>
                    </a:cxn>
                    <a:cxn ang="0">
                      <a:pos x="connsiteX2" y="connsiteY2"/>
                    </a:cxn>
                    <a:cxn ang="0">
                      <a:pos x="connsiteX3" y="connsiteY3"/>
                    </a:cxn>
                  </a:cxnLst>
                  <a:rect l="l" t="t" r="r" b="b"/>
                  <a:pathLst>
                    <a:path w="193835" h="277086">
                      <a:moveTo>
                        <a:pt x="193835" y="275352"/>
                      </a:moveTo>
                      <a:lnTo>
                        <a:pt x="191324" y="277087"/>
                      </a:lnTo>
                      <a:lnTo>
                        <a:pt x="0" y="1734"/>
                      </a:lnTo>
                      <a:lnTo>
                        <a:pt x="2452" y="0"/>
                      </a:lnTo>
                      <a:close/>
                    </a:path>
                  </a:pathLst>
                </a:custGeom>
                <a:grpFill/>
                <a:ln w="5978" cap="flat">
                  <a:noFill/>
                  <a:prstDash val="solid"/>
                  <a:miter/>
                </a:ln>
              </p:spPr>
              <p:txBody>
                <a:bodyPr rtlCol="0" anchor="ctr"/>
                <a:lstStyle/>
                <a:p>
                  <a:endParaRPr lang="en-GB"/>
                </a:p>
              </p:txBody>
            </p:sp>
            <p:sp>
              <p:nvSpPr>
                <p:cNvPr id="2901" name="Vrije vorm: vorm 2900">
                  <a:extLst>
                    <a:ext uri="{FF2B5EF4-FFF2-40B4-BE49-F238E27FC236}">
                      <a16:creationId xmlns:a16="http://schemas.microsoft.com/office/drawing/2014/main" id="{32C8B435-10CA-4AA0-9656-1301B7EF3BDB}"/>
                    </a:ext>
                  </a:extLst>
                </p:cNvPr>
                <p:cNvSpPr/>
                <p:nvPr/>
              </p:nvSpPr>
              <p:spPr>
                <a:xfrm>
                  <a:off x="4942608" y="2133486"/>
                  <a:ext cx="18359" cy="18397"/>
                </a:xfrm>
                <a:custGeom>
                  <a:avLst/>
                  <a:gdLst>
                    <a:gd name="connsiteX0" fmla="*/ 16686 w 18359"/>
                    <a:gd name="connsiteY0" fmla="*/ 3944 h 18397"/>
                    <a:gd name="connsiteX1" fmla="*/ 14413 w 18359"/>
                    <a:gd name="connsiteY1" fmla="*/ 16743 h 18397"/>
                    <a:gd name="connsiteX2" fmla="*/ 1674 w 18359"/>
                    <a:gd name="connsiteY2" fmla="*/ 14411 h 18397"/>
                    <a:gd name="connsiteX3" fmla="*/ 3947 w 18359"/>
                    <a:gd name="connsiteY3" fmla="*/ 1612 h 18397"/>
                    <a:gd name="connsiteX4" fmla="*/ 16686 w 18359"/>
                    <a:gd name="connsiteY4" fmla="*/ 3944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97">
                      <a:moveTo>
                        <a:pt x="16686" y="3944"/>
                      </a:moveTo>
                      <a:cubicBezTo>
                        <a:pt x="19616" y="8131"/>
                        <a:pt x="18599" y="13872"/>
                        <a:pt x="14413" y="16743"/>
                      </a:cubicBezTo>
                      <a:cubicBezTo>
                        <a:pt x="10286" y="19674"/>
                        <a:pt x="4545" y="18597"/>
                        <a:pt x="1674" y="14411"/>
                      </a:cubicBezTo>
                      <a:cubicBezTo>
                        <a:pt x="-1257" y="10224"/>
                        <a:pt x="-240" y="4483"/>
                        <a:pt x="3947" y="1612"/>
                      </a:cubicBezTo>
                      <a:cubicBezTo>
                        <a:pt x="8073" y="-1259"/>
                        <a:pt x="13815" y="-182"/>
                        <a:pt x="16686" y="3944"/>
                      </a:cubicBezTo>
                      <a:close/>
                    </a:path>
                  </a:pathLst>
                </a:custGeom>
                <a:grpFill/>
                <a:ln w="5978" cap="flat">
                  <a:noFill/>
                  <a:prstDash val="solid"/>
                  <a:miter/>
                </a:ln>
              </p:spPr>
              <p:txBody>
                <a:bodyPr rtlCol="0" anchor="ctr"/>
                <a:lstStyle/>
                <a:p>
                  <a:endParaRPr lang="en-GB"/>
                </a:p>
              </p:txBody>
            </p:sp>
            <p:sp>
              <p:nvSpPr>
                <p:cNvPr id="2902" name="Vrije vorm: vorm 2901">
                  <a:extLst>
                    <a:ext uri="{FF2B5EF4-FFF2-40B4-BE49-F238E27FC236}">
                      <a16:creationId xmlns:a16="http://schemas.microsoft.com/office/drawing/2014/main" id="{C3EA8DFA-0A9F-477A-B1EE-4FBFE752DA32}"/>
                    </a:ext>
                  </a:extLst>
                </p:cNvPr>
                <p:cNvSpPr/>
                <p:nvPr/>
              </p:nvSpPr>
              <p:spPr>
                <a:xfrm>
                  <a:off x="4751866" y="1858895"/>
                  <a:ext cx="18274" cy="18387"/>
                </a:xfrm>
                <a:custGeom>
                  <a:avLst/>
                  <a:gdLst>
                    <a:gd name="connsiteX0" fmla="*/ 16643 w 18274"/>
                    <a:gd name="connsiteY0" fmla="*/ 3961 h 18387"/>
                    <a:gd name="connsiteX1" fmla="*/ 3904 w 18274"/>
                    <a:gd name="connsiteY1" fmla="*/ 1628 h 18387"/>
                    <a:gd name="connsiteX2" fmla="*/ 1631 w 18274"/>
                    <a:gd name="connsiteY2" fmla="*/ 14427 h 18387"/>
                    <a:gd name="connsiteX3" fmla="*/ 14370 w 18274"/>
                    <a:gd name="connsiteY3" fmla="*/ 16759 h 18387"/>
                    <a:gd name="connsiteX4" fmla="*/ 16643 w 18274"/>
                    <a:gd name="connsiteY4" fmla="*/ 3961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16643" y="3961"/>
                      </a:moveTo>
                      <a:cubicBezTo>
                        <a:pt x="13713" y="-226"/>
                        <a:pt x="8031" y="-1243"/>
                        <a:pt x="3904" y="1628"/>
                      </a:cubicBezTo>
                      <a:cubicBezTo>
                        <a:pt x="-223" y="4559"/>
                        <a:pt x="-1239" y="10300"/>
                        <a:pt x="1631" y="14427"/>
                      </a:cubicBezTo>
                      <a:cubicBezTo>
                        <a:pt x="4562" y="18613"/>
                        <a:pt x="10244" y="19630"/>
                        <a:pt x="14370" y="16759"/>
                      </a:cubicBezTo>
                      <a:cubicBezTo>
                        <a:pt x="18497" y="13889"/>
                        <a:pt x="19514" y="8147"/>
                        <a:pt x="16643" y="3961"/>
                      </a:cubicBezTo>
                      <a:close/>
                    </a:path>
                  </a:pathLst>
                </a:custGeom>
                <a:grpFill/>
                <a:ln w="5978" cap="flat">
                  <a:noFill/>
                  <a:prstDash val="solid"/>
                  <a:miter/>
                </a:ln>
              </p:spPr>
              <p:txBody>
                <a:bodyPr rtlCol="0" anchor="ctr"/>
                <a:lstStyle/>
                <a:p>
                  <a:endParaRPr lang="en-GB"/>
                </a:p>
              </p:txBody>
            </p:sp>
          </p:grpSp>
          <p:grpSp>
            <p:nvGrpSpPr>
              <p:cNvPr id="833" name="Graphic 3">
                <a:extLst>
                  <a:ext uri="{FF2B5EF4-FFF2-40B4-BE49-F238E27FC236}">
                    <a16:creationId xmlns:a16="http://schemas.microsoft.com/office/drawing/2014/main" id="{45A50622-EBCE-4105-B319-EF13D44D4784}"/>
                  </a:ext>
                </a:extLst>
              </p:cNvPr>
              <p:cNvGrpSpPr/>
              <p:nvPr/>
            </p:nvGrpSpPr>
            <p:grpSpPr>
              <a:xfrm>
                <a:off x="5964253" y="5098444"/>
                <a:ext cx="69150" cy="583502"/>
                <a:chOff x="5964253" y="5098444"/>
                <a:chExt cx="69150" cy="583502"/>
              </a:xfrm>
              <a:grpFill/>
            </p:grpSpPr>
            <p:sp>
              <p:nvSpPr>
                <p:cNvPr id="2897" name="Vrije vorm: vorm 2896">
                  <a:extLst>
                    <a:ext uri="{FF2B5EF4-FFF2-40B4-BE49-F238E27FC236}">
                      <a16:creationId xmlns:a16="http://schemas.microsoft.com/office/drawing/2014/main" id="{0AB2C160-4948-4078-88AE-B032961E83FB}"/>
                    </a:ext>
                  </a:extLst>
                </p:cNvPr>
                <p:cNvSpPr/>
                <p:nvPr/>
              </p:nvSpPr>
              <p:spPr>
                <a:xfrm>
                  <a:off x="5971890" y="5107038"/>
                  <a:ext cx="53946" cy="566314"/>
                </a:xfrm>
                <a:custGeom>
                  <a:avLst/>
                  <a:gdLst>
                    <a:gd name="connsiteX0" fmla="*/ 53946 w 53946"/>
                    <a:gd name="connsiteY0" fmla="*/ 299 h 566314"/>
                    <a:gd name="connsiteX1" fmla="*/ 2990 w 53946"/>
                    <a:gd name="connsiteY1" fmla="*/ 566315 h 566314"/>
                    <a:gd name="connsiteX2" fmla="*/ 0 w 53946"/>
                    <a:gd name="connsiteY2" fmla="*/ 566015 h 566314"/>
                    <a:gd name="connsiteX3" fmla="*/ 50896 w 53946"/>
                    <a:gd name="connsiteY3" fmla="*/ 0 h 566314"/>
                  </a:gdLst>
                  <a:ahLst/>
                  <a:cxnLst>
                    <a:cxn ang="0">
                      <a:pos x="connsiteX0" y="connsiteY0"/>
                    </a:cxn>
                    <a:cxn ang="0">
                      <a:pos x="connsiteX1" y="connsiteY1"/>
                    </a:cxn>
                    <a:cxn ang="0">
                      <a:pos x="connsiteX2" y="connsiteY2"/>
                    </a:cxn>
                    <a:cxn ang="0">
                      <a:pos x="connsiteX3" y="connsiteY3"/>
                    </a:cxn>
                  </a:cxnLst>
                  <a:rect l="l" t="t" r="r" b="b"/>
                  <a:pathLst>
                    <a:path w="53946" h="566314">
                      <a:moveTo>
                        <a:pt x="53946" y="299"/>
                      </a:moveTo>
                      <a:lnTo>
                        <a:pt x="2990" y="566315"/>
                      </a:lnTo>
                      <a:lnTo>
                        <a:pt x="0" y="566015"/>
                      </a:lnTo>
                      <a:lnTo>
                        <a:pt x="50896" y="0"/>
                      </a:lnTo>
                      <a:close/>
                    </a:path>
                  </a:pathLst>
                </a:custGeom>
                <a:grpFill/>
                <a:ln w="5978" cap="flat">
                  <a:noFill/>
                  <a:prstDash val="solid"/>
                  <a:miter/>
                </a:ln>
              </p:spPr>
              <p:txBody>
                <a:bodyPr rtlCol="0" anchor="ctr"/>
                <a:lstStyle/>
                <a:p>
                  <a:endParaRPr lang="en-GB"/>
                </a:p>
              </p:txBody>
            </p:sp>
            <p:sp>
              <p:nvSpPr>
                <p:cNvPr id="2898" name="Vrije vorm: vorm 2897">
                  <a:extLst>
                    <a:ext uri="{FF2B5EF4-FFF2-40B4-BE49-F238E27FC236}">
                      <a16:creationId xmlns:a16="http://schemas.microsoft.com/office/drawing/2014/main" id="{39AEBFCA-A1E1-4972-B27F-58E195D89AAE}"/>
                    </a:ext>
                  </a:extLst>
                </p:cNvPr>
                <p:cNvSpPr/>
                <p:nvPr/>
              </p:nvSpPr>
              <p:spPr>
                <a:xfrm>
                  <a:off x="6015089" y="5098444"/>
                  <a:ext cx="18314" cy="18443"/>
                </a:xfrm>
                <a:custGeom>
                  <a:avLst/>
                  <a:gdLst>
                    <a:gd name="connsiteX0" fmla="*/ 42 w 18314"/>
                    <a:gd name="connsiteY0" fmla="*/ 8354 h 18443"/>
                    <a:gd name="connsiteX1" fmla="*/ 9970 w 18314"/>
                    <a:gd name="connsiteY1" fmla="*/ 42 h 18443"/>
                    <a:gd name="connsiteX2" fmla="*/ 18283 w 18314"/>
                    <a:gd name="connsiteY2" fmla="*/ 10089 h 18443"/>
                    <a:gd name="connsiteX3" fmla="*/ 8355 w 18314"/>
                    <a:gd name="connsiteY3" fmla="*/ 18402 h 18443"/>
                    <a:gd name="connsiteX4" fmla="*/ 42 w 18314"/>
                    <a:gd name="connsiteY4" fmla="*/ 835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43">
                      <a:moveTo>
                        <a:pt x="42" y="8354"/>
                      </a:moveTo>
                      <a:cubicBezTo>
                        <a:pt x="520" y="3271"/>
                        <a:pt x="4946" y="-437"/>
                        <a:pt x="9970" y="42"/>
                      </a:cubicBezTo>
                      <a:cubicBezTo>
                        <a:pt x="14993" y="520"/>
                        <a:pt x="18701" y="5005"/>
                        <a:pt x="18283" y="10089"/>
                      </a:cubicBezTo>
                      <a:cubicBezTo>
                        <a:pt x="17805" y="15173"/>
                        <a:pt x="13379" y="18881"/>
                        <a:pt x="8355" y="18402"/>
                      </a:cubicBezTo>
                      <a:cubicBezTo>
                        <a:pt x="3271" y="17924"/>
                        <a:pt x="-437" y="13438"/>
                        <a:pt x="42" y="8354"/>
                      </a:cubicBezTo>
                      <a:close/>
                    </a:path>
                  </a:pathLst>
                </a:custGeom>
                <a:grpFill/>
                <a:ln w="5978" cap="flat">
                  <a:noFill/>
                  <a:prstDash val="solid"/>
                  <a:miter/>
                </a:ln>
              </p:spPr>
              <p:txBody>
                <a:bodyPr rtlCol="0" anchor="ctr"/>
                <a:lstStyle/>
                <a:p>
                  <a:endParaRPr lang="en-GB"/>
                </a:p>
              </p:txBody>
            </p:sp>
            <p:sp>
              <p:nvSpPr>
                <p:cNvPr id="2899" name="Vrije vorm: vorm 2898">
                  <a:extLst>
                    <a:ext uri="{FF2B5EF4-FFF2-40B4-BE49-F238E27FC236}">
                      <a16:creationId xmlns:a16="http://schemas.microsoft.com/office/drawing/2014/main" id="{4D943991-FABE-471B-B146-EC18CB673756}"/>
                    </a:ext>
                  </a:extLst>
                </p:cNvPr>
                <p:cNvSpPr/>
                <p:nvPr/>
              </p:nvSpPr>
              <p:spPr>
                <a:xfrm>
                  <a:off x="5964253" y="5663502"/>
                  <a:ext cx="18323" cy="18443"/>
                </a:xfrm>
                <a:custGeom>
                  <a:avLst/>
                  <a:gdLst>
                    <a:gd name="connsiteX0" fmla="*/ 41 w 18323"/>
                    <a:gd name="connsiteY0" fmla="*/ 8355 h 18443"/>
                    <a:gd name="connsiteX1" fmla="*/ 8354 w 18323"/>
                    <a:gd name="connsiteY1" fmla="*/ 18402 h 18443"/>
                    <a:gd name="connsiteX2" fmla="*/ 18282 w 18323"/>
                    <a:gd name="connsiteY2" fmla="*/ 10089 h 18443"/>
                    <a:gd name="connsiteX3" fmla="*/ 9969 w 18323"/>
                    <a:gd name="connsiteY3" fmla="*/ 42 h 18443"/>
                    <a:gd name="connsiteX4" fmla="*/ 41 w 18323"/>
                    <a:gd name="connsiteY4" fmla="*/ 835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3">
                      <a:moveTo>
                        <a:pt x="41" y="8355"/>
                      </a:moveTo>
                      <a:cubicBezTo>
                        <a:pt x="-438" y="13438"/>
                        <a:pt x="3330" y="17924"/>
                        <a:pt x="8354" y="18402"/>
                      </a:cubicBezTo>
                      <a:cubicBezTo>
                        <a:pt x="13378" y="18881"/>
                        <a:pt x="17864" y="15173"/>
                        <a:pt x="18282" y="10089"/>
                      </a:cubicBezTo>
                      <a:cubicBezTo>
                        <a:pt x="18761" y="5006"/>
                        <a:pt x="14993" y="520"/>
                        <a:pt x="9969" y="42"/>
                      </a:cubicBezTo>
                      <a:cubicBezTo>
                        <a:pt x="4945" y="-437"/>
                        <a:pt x="520" y="3271"/>
                        <a:pt x="41" y="8355"/>
                      </a:cubicBezTo>
                      <a:close/>
                    </a:path>
                  </a:pathLst>
                </a:custGeom>
                <a:grpFill/>
                <a:ln w="5978" cap="flat">
                  <a:noFill/>
                  <a:prstDash val="solid"/>
                  <a:miter/>
                </a:ln>
              </p:spPr>
              <p:txBody>
                <a:bodyPr rtlCol="0" anchor="ctr"/>
                <a:lstStyle/>
                <a:p>
                  <a:endParaRPr lang="en-GB"/>
                </a:p>
              </p:txBody>
            </p:sp>
          </p:grpSp>
          <p:grpSp>
            <p:nvGrpSpPr>
              <p:cNvPr id="834" name="Graphic 3">
                <a:extLst>
                  <a:ext uri="{FF2B5EF4-FFF2-40B4-BE49-F238E27FC236}">
                    <a16:creationId xmlns:a16="http://schemas.microsoft.com/office/drawing/2014/main" id="{3E761BE2-EEC1-40A4-8143-88DDD7588740}"/>
                  </a:ext>
                </a:extLst>
              </p:cNvPr>
              <p:cNvGrpSpPr/>
              <p:nvPr/>
            </p:nvGrpSpPr>
            <p:grpSpPr>
              <a:xfrm>
                <a:off x="5972123" y="5257507"/>
                <a:ext cx="24772" cy="193607"/>
                <a:chOff x="5972123" y="5257507"/>
                <a:chExt cx="24772" cy="193607"/>
              </a:xfrm>
              <a:grpFill/>
            </p:grpSpPr>
            <p:sp>
              <p:nvSpPr>
                <p:cNvPr id="2894" name="Vrije vorm: vorm 2893">
                  <a:extLst>
                    <a:ext uri="{FF2B5EF4-FFF2-40B4-BE49-F238E27FC236}">
                      <a16:creationId xmlns:a16="http://schemas.microsoft.com/office/drawing/2014/main" id="{0B43C615-23BD-4619-BBD0-71E64DB880EB}"/>
                    </a:ext>
                  </a:extLst>
                </p:cNvPr>
                <p:cNvSpPr/>
                <p:nvPr/>
              </p:nvSpPr>
              <p:spPr>
                <a:xfrm>
                  <a:off x="5979785" y="5266185"/>
                  <a:ext cx="9449" cy="176251"/>
                </a:xfrm>
                <a:custGeom>
                  <a:avLst/>
                  <a:gdLst>
                    <a:gd name="connsiteX0" fmla="*/ 9449 w 9449"/>
                    <a:gd name="connsiteY0" fmla="*/ 120 h 176251"/>
                    <a:gd name="connsiteX1" fmla="*/ 3050 w 9449"/>
                    <a:gd name="connsiteY1" fmla="*/ 176252 h 176251"/>
                    <a:gd name="connsiteX2" fmla="*/ 0 w 9449"/>
                    <a:gd name="connsiteY2" fmla="*/ 176132 h 176251"/>
                    <a:gd name="connsiteX3" fmla="*/ 6459 w 9449"/>
                    <a:gd name="connsiteY3" fmla="*/ 0 h 176251"/>
                  </a:gdLst>
                  <a:ahLst/>
                  <a:cxnLst>
                    <a:cxn ang="0">
                      <a:pos x="connsiteX0" y="connsiteY0"/>
                    </a:cxn>
                    <a:cxn ang="0">
                      <a:pos x="connsiteX1" y="connsiteY1"/>
                    </a:cxn>
                    <a:cxn ang="0">
                      <a:pos x="connsiteX2" y="connsiteY2"/>
                    </a:cxn>
                    <a:cxn ang="0">
                      <a:pos x="connsiteX3" y="connsiteY3"/>
                    </a:cxn>
                  </a:cxnLst>
                  <a:rect l="l" t="t" r="r" b="b"/>
                  <a:pathLst>
                    <a:path w="9449" h="176251">
                      <a:moveTo>
                        <a:pt x="9449" y="120"/>
                      </a:moveTo>
                      <a:lnTo>
                        <a:pt x="3050" y="176252"/>
                      </a:lnTo>
                      <a:lnTo>
                        <a:pt x="0" y="176132"/>
                      </a:lnTo>
                      <a:lnTo>
                        <a:pt x="6459" y="0"/>
                      </a:lnTo>
                      <a:close/>
                    </a:path>
                  </a:pathLst>
                </a:custGeom>
                <a:grpFill/>
                <a:ln w="5978" cap="flat">
                  <a:noFill/>
                  <a:prstDash val="solid"/>
                  <a:miter/>
                </a:ln>
              </p:spPr>
              <p:txBody>
                <a:bodyPr rtlCol="0" anchor="ctr"/>
                <a:lstStyle/>
                <a:p>
                  <a:endParaRPr lang="en-GB"/>
                </a:p>
              </p:txBody>
            </p:sp>
            <p:sp>
              <p:nvSpPr>
                <p:cNvPr id="2895" name="Vrije vorm: vorm 2894">
                  <a:extLst>
                    <a:ext uri="{FF2B5EF4-FFF2-40B4-BE49-F238E27FC236}">
                      <a16:creationId xmlns:a16="http://schemas.microsoft.com/office/drawing/2014/main" id="{74A058DC-0B33-43B9-B56E-1787D00C2540}"/>
                    </a:ext>
                  </a:extLst>
                </p:cNvPr>
                <p:cNvSpPr/>
                <p:nvPr/>
              </p:nvSpPr>
              <p:spPr>
                <a:xfrm>
                  <a:off x="5972123" y="5432682"/>
                  <a:ext cx="18372" cy="18432"/>
                </a:xfrm>
                <a:custGeom>
                  <a:avLst/>
                  <a:gdLst>
                    <a:gd name="connsiteX0" fmla="*/ 18367 w 18372"/>
                    <a:gd name="connsiteY0" fmla="*/ 9575 h 18432"/>
                    <a:gd name="connsiteX1" fmla="*/ 8858 w 18372"/>
                    <a:gd name="connsiteY1" fmla="*/ 18427 h 18432"/>
                    <a:gd name="connsiteX2" fmla="*/ 6 w 18372"/>
                    <a:gd name="connsiteY2" fmla="*/ 8858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8" y="14659"/>
                        <a:pt x="13941" y="18606"/>
                        <a:pt x="8858" y="18427"/>
                      </a:cubicBezTo>
                      <a:cubicBezTo>
                        <a:pt x="3774" y="18247"/>
                        <a:pt x="-173" y="13941"/>
                        <a:pt x="6" y="8858"/>
                      </a:cubicBezTo>
                      <a:cubicBezTo>
                        <a:pt x="185" y="3774"/>
                        <a:pt x="4432" y="-173"/>
                        <a:pt x="9515" y="6"/>
                      </a:cubicBezTo>
                      <a:cubicBezTo>
                        <a:pt x="14599" y="185"/>
                        <a:pt x="18546" y="4491"/>
                        <a:pt x="18367" y="9575"/>
                      </a:cubicBezTo>
                      <a:close/>
                    </a:path>
                  </a:pathLst>
                </a:custGeom>
                <a:grpFill/>
                <a:ln w="5978" cap="flat">
                  <a:noFill/>
                  <a:prstDash val="solid"/>
                  <a:miter/>
                </a:ln>
              </p:spPr>
              <p:txBody>
                <a:bodyPr rtlCol="0" anchor="ctr"/>
                <a:lstStyle/>
                <a:p>
                  <a:endParaRPr lang="en-GB"/>
                </a:p>
              </p:txBody>
            </p:sp>
            <p:sp>
              <p:nvSpPr>
                <p:cNvPr id="2896" name="Vrije vorm: vorm 2895">
                  <a:extLst>
                    <a:ext uri="{FF2B5EF4-FFF2-40B4-BE49-F238E27FC236}">
                      <a16:creationId xmlns:a16="http://schemas.microsoft.com/office/drawing/2014/main" id="{7D4D5CDF-CC83-43E6-9B3E-4D03B1AD6D63}"/>
                    </a:ext>
                  </a:extLst>
                </p:cNvPr>
                <p:cNvSpPr/>
                <p:nvPr/>
              </p:nvSpPr>
              <p:spPr>
                <a:xfrm>
                  <a:off x="5978523" y="5257507"/>
                  <a:ext cx="18372" cy="18432"/>
                </a:xfrm>
                <a:custGeom>
                  <a:avLst/>
                  <a:gdLst>
                    <a:gd name="connsiteX0" fmla="*/ 18367 w 18372"/>
                    <a:gd name="connsiteY0" fmla="*/ 9575 h 18432"/>
                    <a:gd name="connsiteX1" fmla="*/ 9515 w 18372"/>
                    <a:gd name="connsiteY1" fmla="*/ 6 h 18432"/>
                    <a:gd name="connsiteX2" fmla="*/ 6 w 18372"/>
                    <a:gd name="connsiteY2" fmla="*/ 8857 h 18432"/>
                    <a:gd name="connsiteX3" fmla="*/ 8857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3"/>
                        <a:pt x="185" y="3774"/>
                        <a:pt x="6" y="8857"/>
                      </a:cubicBezTo>
                      <a:cubicBezTo>
                        <a:pt x="-173" y="13941"/>
                        <a:pt x="3774" y="18247"/>
                        <a:pt x="8857" y="18427"/>
                      </a:cubicBezTo>
                      <a:cubicBezTo>
                        <a:pt x="13941" y="18606"/>
                        <a:pt x="18187" y="14659"/>
                        <a:pt x="18367" y="9575"/>
                      </a:cubicBezTo>
                      <a:close/>
                    </a:path>
                  </a:pathLst>
                </a:custGeom>
                <a:grpFill/>
                <a:ln w="5978" cap="flat">
                  <a:noFill/>
                  <a:prstDash val="solid"/>
                  <a:miter/>
                </a:ln>
              </p:spPr>
              <p:txBody>
                <a:bodyPr rtlCol="0" anchor="ctr"/>
                <a:lstStyle/>
                <a:p>
                  <a:endParaRPr lang="en-GB"/>
                </a:p>
              </p:txBody>
            </p:sp>
          </p:grpSp>
          <p:grpSp>
            <p:nvGrpSpPr>
              <p:cNvPr id="835" name="Graphic 3">
                <a:extLst>
                  <a:ext uri="{FF2B5EF4-FFF2-40B4-BE49-F238E27FC236}">
                    <a16:creationId xmlns:a16="http://schemas.microsoft.com/office/drawing/2014/main" id="{009B12FD-7111-4965-B2B8-1591F821C31A}"/>
                  </a:ext>
                </a:extLst>
              </p:cNvPr>
              <p:cNvGrpSpPr/>
              <p:nvPr/>
            </p:nvGrpSpPr>
            <p:grpSpPr>
              <a:xfrm>
                <a:off x="5910018" y="5105631"/>
                <a:ext cx="29181" cy="166378"/>
                <a:chOff x="5910018" y="5105631"/>
                <a:chExt cx="29181" cy="166378"/>
              </a:xfrm>
              <a:grpFill/>
            </p:grpSpPr>
            <p:sp>
              <p:nvSpPr>
                <p:cNvPr id="2891" name="Vrije vorm: vorm 2890">
                  <a:extLst>
                    <a:ext uri="{FF2B5EF4-FFF2-40B4-BE49-F238E27FC236}">
                      <a16:creationId xmlns:a16="http://schemas.microsoft.com/office/drawing/2014/main" id="{70DB654B-2F27-4066-83AF-B83FF0587EA7}"/>
                    </a:ext>
                  </a:extLst>
                </p:cNvPr>
                <p:cNvSpPr/>
                <p:nvPr/>
              </p:nvSpPr>
              <p:spPr>
                <a:xfrm>
                  <a:off x="5917585" y="5114274"/>
                  <a:ext cx="14054" cy="149039"/>
                </a:xfrm>
                <a:custGeom>
                  <a:avLst/>
                  <a:gdLst>
                    <a:gd name="connsiteX0" fmla="*/ 14055 w 14054"/>
                    <a:gd name="connsiteY0" fmla="*/ 239 h 149039"/>
                    <a:gd name="connsiteX1" fmla="*/ 3050 w 14054"/>
                    <a:gd name="connsiteY1" fmla="*/ 149040 h 149039"/>
                    <a:gd name="connsiteX2" fmla="*/ 0 w 14054"/>
                    <a:gd name="connsiteY2" fmla="*/ 148800 h 149039"/>
                    <a:gd name="connsiteX3" fmla="*/ 11005 w 14054"/>
                    <a:gd name="connsiteY3" fmla="*/ 0 h 149039"/>
                  </a:gdLst>
                  <a:ahLst/>
                  <a:cxnLst>
                    <a:cxn ang="0">
                      <a:pos x="connsiteX0" y="connsiteY0"/>
                    </a:cxn>
                    <a:cxn ang="0">
                      <a:pos x="connsiteX1" y="connsiteY1"/>
                    </a:cxn>
                    <a:cxn ang="0">
                      <a:pos x="connsiteX2" y="connsiteY2"/>
                    </a:cxn>
                    <a:cxn ang="0">
                      <a:pos x="connsiteX3" y="connsiteY3"/>
                    </a:cxn>
                  </a:cxnLst>
                  <a:rect l="l" t="t" r="r" b="b"/>
                  <a:pathLst>
                    <a:path w="14054" h="149039">
                      <a:moveTo>
                        <a:pt x="14055" y="239"/>
                      </a:moveTo>
                      <a:lnTo>
                        <a:pt x="3050" y="149040"/>
                      </a:lnTo>
                      <a:lnTo>
                        <a:pt x="0" y="148800"/>
                      </a:lnTo>
                      <a:lnTo>
                        <a:pt x="11005" y="0"/>
                      </a:lnTo>
                      <a:close/>
                    </a:path>
                  </a:pathLst>
                </a:custGeom>
                <a:grpFill/>
                <a:ln w="5978" cap="flat">
                  <a:noFill/>
                  <a:prstDash val="solid"/>
                  <a:miter/>
                </a:ln>
              </p:spPr>
              <p:txBody>
                <a:bodyPr rtlCol="0" anchor="ctr"/>
                <a:lstStyle/>
                <a:p>
                  <a:endParaRPr lang="en-GB"/>
                </a:p>
              </p:txBody>
            </p:sp>
            <p:sp>
              <p:nvSpPr>
                <p:cNvPr id="2892" name="Vrije vorm: vorm 2891">
                  <a:extLst>
                    <a:ext uri="{FF2B5EF4-FFF2-40B4-BE49-F238E27FC236}">
                      <a16:creationId xmlns:a16="http://schemas.microsoft.com/office/drawing/2014/main" id="{7459F202-D786-46E9-A4BC-EF58F41E57F2}"/>
                    </a:ext>
                  </a:extLst>
                </p:cNvPr>
                <p:cNvSpPr/>
                <p:nvPr/>
              </p:nvSpPr>
              <p:spPr>
                <a:xfrm>
                  <a:off x="5910018" y="5253542"/>
                  <a:ext cx="18296" cy="18467"/>
                </a:xfrm>
                <a:custGeom>
                  <a:avLst/>
                  <a:gdLst>
                    <a:gd name="connsiteX0" fmla="*/ 18273 w 18296"/>
                    <a:gd name="connsiteY0" fmla="*/ 9951 h 18467"/>
                    <a:gd name="connsiteX1" fmla="*/ 8464 w 18296"/>
                    <a:gd name="connsiteY1" fmla="*/ 18444 h 18467"/>
                    <a:gd name="connsiteX2" fmla="*/ 31 w 18296"/>
                    <a:gd name="connsiteY2" fmla="*/ 8516 h 18467"/>
                    <a:gd name="connsiteX3" fmla="*/ 9840 w 18296"/>
                    <a:gd name="connsiteY3" fmla="*/ 24 h 18467"/>
                    <a:gd name="connsiteX4" fmla="*/ 18273 w 18296"/>
                    <a:gd name="connsiteY4" fmla="*/ 9951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7">
                      <a:moveTo>
                        <a:pt x="18273" y="9951"/>
                      </a:moveTo>
                      <a:cubicBezTo>
                        <a:pt x="17914" y="15035"/>
                        <a:pt x="13488" y="18803"/>
                        <a:pt x="8464" y="18444"/>
                      </a:cubicBezTo>
                      <a:cubicBezTo>
                        <a:pt x="3440" y="18026"/>
                        <a:pt x="-387" y="13600"/>
                        <a:pt x="31" y="8516"/>
                      </a:cubicBezTo>
                      <a:cubicBezTo>
                        <a:pt x="390" y="3433"/>
                        <a:pt x="4816" y="-335"/>
                        <a:pt x="9840" y="24"/>
                      </a:cubicBezTo>
                      <a:cubicBezTo>
                        <a:pt x="14864" y="442"/>
                        <a:pt x="18632" y="4868"/>
                        <a:pt x="18273" y="9951"/>
                      </a:cubicBezTo>
                      <a:close/>
                    </a:path>
                  </a:pathLst>
                </a:custGeom>
                <a:grpFill/>
                <a:ln w="5978" cap="flat">
                  <a:noFill/>
                  <a:prstDash val="solid"/>
                  <a:miter/>
                </a:ln>
              </p:spPr>
              <p:txBody>
                <a:bodyPr rtlCol="0" anchor="ctr"/>
                <a:lstStyle/>
                <a:p>
                  <a:endParaRPr lang="en-GB"/>
                </a:p>
              </p:txBody>
            </p:sp>
            <p:sp>
              <p:nvSpPr>
                <p:cNvPr id="2893" name="Vrije vorm: vorm 2892">
                  <a:extLst>
                    <a:ext uri="{FF2B5EF4-FFF2-40B4-BE49-F238E27FC236}">
                      <a16:creationId xmlns:a16="http://schemas.microsoft.com/office/drawing/2014/main" id="{F4E2F760-5CA9-43C7-93EF-33BE3DC084F5}"/>
                    </a:ext>
                  </a:extLst>
                </p:cNvPr>
                <p:cNvSpPr/>
                <p:nvPr/>
              </p:nvSpPr>
              <p:spPr>
                <a:xfrm>
                  <a:off x="5920851" y="5105631"/>
                  <a:ext cx="18348" cy="18475"/>
                </a:xfrm>
                <a:custGeom>
                  <a:avLst/>
                  <a:gdLst>
                    <a:gd name="connsiteX0" fmla="*/ 18325 w 18348"/>
                    <a:gd name="connsiteY0" fmla="*/ 9960 h 18475"/>
                    <a:gd name="connsiteX1" fmla="*/ 9832 w 18348"/>
                    <a:gd name="connsiteY1" fmla="*/ 31 h 18475"/>
                    <a:gd name="connsiteX2" fmla="*/ 24 w 18348"/>
                    <a:gd name="connsiteY2" fmla="*/ 8524 h 18475"/>
                    <a:gd name="connsiteX3" fmla="*/ 8457 w 18348"/>
                    <a:gd name="connsiteY3" fmla="*/ 18452 h 18475"/>
                    <a:gd name="connsiteX4" fmla="*/ 18325 w 18348"/>
                    <a:gd name="connsiteY4" fmla="*/ 9960 h 18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75">
                      <a:moveTo>
                        <a:pt x="18325" y="9960"/>
                      </a:moveTo>
                      <a:cubicBezTo>
                        <a:pt x="18683" y="4876"/>
                        <a:pt x="14916" y="450"/>
                        <a:pt x="9832" y="31"/>
                      </a:cubicBezTo>
                      <a:cubicBezTo>
                        <a:pt x="4809" y="-387"/>
                        <a:pt x="382" y="3440"/>
                        <a:pt x="24" y="8524"/>
                      </a:cubicBezTo>
                      <a:cubicBezTo>
                        <a:pt x="-335" y="13608"/>
                        <a:pt x="3433" y="18033"/>
                        <a:pt x="8457" y="18452"/>
                      </a:cubicBezTo>
                      <a:cubicBezTo>
                        <a:pt x="13600" y="18811"/>
                        <a:pt x="17966" y="14983"/>
                        <a:pt x="18325" y="9960"/>
                      </a:cubicBezTo>
                      <a:close/>
                    </a:path>
                  </a:pathLst>
                </a:custGeom>
                <a:grpFill/>
                <a:ln w="5978" cap="flat">
                  <a:noFill/>
                  <a:prstDash val="solid"/>
                  <a:miter/>
                </a:ln>
              </p:spPr>
              <p:txBody>
                <a:bodyPr rtlCol="0" anchor="ctr"/>
                <a:lstStyle/>
                <a:p>
                  <a:endParaRPr lang="en-GB"/>
                </a:p>
              </p:txBody>
            </p:sp>
          </p:grpSp>
          <p:grpSp>
            <p:nvGrpSpPr>
              <p:cNvPr id="836" name="Graphic 3">
                <a:extLst>
                  <a:ext uri="{FF2B5EF4-FFF2-40B4-BE49-F238E27FC236}">
                    <a16:creationId xmlns:a16="http://schemas.microsoft.com/office/drawing/2014/main" id="{C822F0E2-B32F-43F0-951E-1E9872D574EB}"/>
                  </a:ext>
                </a:extLst>
              </p:cNvPr>
              <p:cNvGrpSpPr/>
              <p:nvPr/>
            </p:nvGrpSpPr>
            <p:grpSpPr>
              <a:xfrm>
                <a:off x="4793544" y="1849723"/>
                <a:ext cx="27593" cy="29973"/>
                <a:chOff x="4793544" y="1849723"/>
                <a:chExt cx="27593" cy="29973"/>
              </a:xfrm>
              <a:grpFill/>
            </p:grpSpPr>
            <p:sp>
              <p:nvSpPr>
                <p:cNvPr id="2889" name="Vrije vorm: vorm 2888">
                  <a:extLst>
                    <a:ext uri="{FF2B5EF4-FFF2-40B4-BE49-F238E27FC236}">
                      <a16:creationId xmlns:a16="http://schemas.microsoft.com/office/drawing/2014/main" id="{E48EBC3E-8286-4EE1-A28C-CC7E13FE8BC5}"/>
                    </a:ext>
                  </a:extLst>
                </p:cNvPr>
                <p:cNvSpPr/>
                <p:nvPr/>
              </p:nvSpPr>
              <p:spPr>
                <a:xfrm>
                  <a:off x="4802780" y="1861247"/>
                  <a:ext cx="18358" cy="18449"/>
                </a:xfrm>
                <a:custGeom>
                  <a:avLst/>
                  <a:gdLst>
                    <a:gd name="connsiteX0" fmla="*/ 2032 w 18358"/>
                    <a:gd name="connsiteY0" fmla="*/ 15006 h 18449"/>
                    <a:gd name="connsiteX1" fmla="*/ 3408 w 18358"/>
                    <a:gd name="connsiteY1" fmla="*/ 2028 h 18449"/>
                    <a:gd name="connsiteX2" fmla="*/ 16326 w 18358"/>
                    <a:gd name="connsiteY2" fmla="*/ 3463 h 18449"/>
                    <a:gd name="connsiteX3" fmla="*/ 14951 w 18358"/>
                    <a:gd name="connsiteY3" fmla="*/ 16441 h 18449"/>
                    <a:gd name="connsiteX4" fmla="*/ 2032 w 18358"/>
                    <a:gd name="connsiteY4" fmla="*/ 15006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9">
                      <a:moveTo>
                        <a:pt x="2032" y="15006"/>
                      </a:moveTo>
                      <a:cubicBezTo>
                        <a:pt x="-1137" y="11058"/>
                        <a:pt x="-539" y="5257"/>
                        <a:pt x="3408" y="2028"/>
                      </a:cubicBezTo>
                      <a:cubicBezTo>
                        <a:pt x="7355" y="-1142"/>
                        <a:pt x="13097" y="-544"/>
                        <a:pt x="16326" y="3463"/>
                      </a:cubicBezTo>
                      <a:cubicBezTo>
                        <a:pt x="19496" y="7410"/>
                        <a:pt x="18898" y="13212"/>
                        <a:pt x="14951" y="16441"/>
                      </a:cubicBezTo>
                      <a:cubicBezTo>
                        <a:pt x="11003" y="19611"/>
                        <a:pt x="5262" y="18953"/>
                        <a:pt x="2032" y="15006"/>
                      </a:cubicBezTo>
                      <a:close/>
                    </a:path>
                  </a:pathLst>
                </a:custGeom>
                <a:grpFill/>
                <a:ln w="5978" cap="flat">
                  <a:noFill/>
                  <a:prstDash val="solid"/>
                  <a:miter/>
                </a:ln>
              </p:spPr>
              <p:txBody>
                <a:bodyPr rtlCol="0" anchor="ctr"/>
                <a:lstStyle/>
                <a:p>
                  <a:endParaRPr lang="en-GB"/>
                </a:p>
              </p:txBody>
            </p:sp>
            <p:sp>
              <p:nvSpPr>
                <p:cNvPr id="2890" name="Vrije vorm: vorm 2889">
                  <a:extLst>
                    <a:ext uri="{FF2B5EF4-FFF2-40B4-BE49-F238E27FC236}">
                      <a16:creationId xmlns:a16="http://schemas.microsoft.com/office/drawing/2014/main" id="{0DE9C5A6-6088-43D3-B7B8-4DE01FF74ED7}"/>
                    </a:ext>
                  </a:extLst>
                </p:cNvPr>
                <p:cNvSpPr/>
                <p:nvPr/>
              </p:nvSpPr>
              <p:spPr>
                <a:xfrm>
                  <a:off x="4793544" y="1849723"/>
                  <a:ext cx="18383" cy="18430"/>
                </a:xfrm>
                <a:custGeom>
                  <a:avLst/>
                  <a:gdLst>
                    <a:gd name="connsiteX0" fmla="*/ 2057 w 18383"/>
                    <a:gd name="connsiteY0" fmla="*/ 14987 h 18430"/>
                    <a:gd name="connsiteX1" fmla="*/ 14976 w 18383"/>
                    <a:gd name="connsiteY1" fmla="*/ 16422 h 18430"/>
                    <a:gd name="connsiteX2" fmla="*/ 16351 w 18383"/>
                    <a:gd name="connsiteY2" fmla="*/ 3444 h 18430"/>
                    <a:gd name="connsiteX3" fmla="*/ 3433 w 18383"/>
                    <a:gd name="connsiteY3" fmla="*/ 2009 h 18430"/>
                    <a:gd name="connsiteX4" fmla="*/ 2057 w 18383"/>
                    <a:gd name="connsiteY4" fmla="*/ 149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30">
                      <a:moveTo>
                        <a:pt x="2057" y="14987"/>
                      </a:moveTo>
                      <a:cubicBezTo>
                        <a:pt x="5227" y="18934"/>
                        <a:pt x="11029" y="19592"/>
                        <a:pt x="14976" y="16422"/>
                      </a:cubicBezTo>
                      <a:cubicBezTo>
                        <a:pt x="18923" y="13252"/>
                        <a:pt x="19521" y="7451"/>
                        <a:pt x="16351" y="3444"/>
                      </a:cubicBezTo>
                      <a:cubicBezTo>
                        <a:pt x="13181" y="-503"/>
                        <a:pt x="7380" y="-1161"/>
                        <a:pt x="3433" y="2009"/>
                      </a:cubicBezTo>
                      <a:cubicBezTo>
                        <a:pt x="-514" y="5238"/>
                        <a:pt x="-1172" y="11040"/>
                        <a:pt x="2057" y="14987"/>
                      </a:cubicBezTo>
                      <a:close/>
                    </a:path>
                  </a:pathLst>
                </a:custGeom>
                <a:grpFill/>
                <a:ln w="5978" cap="flat">
                  <a:noFill/>
                  <a:prstDash val="solid"/>
                  <a:miter/>
                </a:ln>
              </p:spPr>
              <p:txBody>
                <a:bodyPr rtlCol="0" anchor="ctr"/>
                <a:lstStyle/>
                <a:p>
                  <a:endParaRPr lang="en-GB"/>
                </a:p>
              </p:txBody>
            </p:sp>
          </p:grpSp>
          <p:grpSp>
            <p:nvGrpSpPr>
              <p:cNvPr id="837" name="Graphic 3">
                <a:extLst>
                  <a:ext uri="{FF2B5EF4-FFF2-40B4-BE49-F238E27FC236}">
                    <a16:creationId xmlns:a16="http://schemas.microsoft.com/office/drawing/2014/main" id="{E32B1A95-367C-4131-B84D-9C890E72AEE7}"/>
                  </a:ext>
                </a:extLst>
              </p:cNvPr>
              <p:cNvGrpSpPr/>
              <p:nvPr/>
            </p:nvGrpSpPr>
            <p:grpSpPr>
              <a:xfrm>
                <a:off x="4678636" y="1571257"/>
                <a:ext cx="122424" cy="158223"/>
                <a:chOff x="4678636" y="1571257"/>
                <a:chExt cx="122424" cy="158223"/>
              </a:xfrm>
              <a:grpFill/>
            </p:grpSpPr>
            <p:sp>
              <p:nvSpPr>
                <p:cNvPr id="2886" name="Vrije vorm: vorm 2885">
                  <a:extLst>
                    <a:ext uri="{FF2B5EF4-FFF2-40B4-BE49-F238E27FC236}">
                      <a16:creationId xmlns:a16="http://schemas.microsoft.com/office/drawing/2014/main" id="{9F947FFF-28E7-47C3-8F03-A43EFD5DCA4F}"/>
                    </a:ext>
                  </a:extLst>
                </p:cNvPr>
                <p:cNvSpPr/>
                <p:nvPr/>
              </p:nvSpPr>
              <p:spPr>
                <a:xfrm>
                  <a:off x="4686334" y="1579190"/>
                  <a:ext cx="106995" cy="142341"/>
                </a:xfrm>
                <a:custGeom>
                  <a:avLst/>
                  <a:gdLst>
                    <a:gd name="connsiteX0" fmla="*/ 106995 w 106995"/>
                    <a:gd name="connsiteY0" fmla="*/ 140547 h 142341"/>
                    <a:gd name="connsiteX1" fmla="*/ 104603 w 106995"/>
                    <a:gd name="connsiteY1" fmla="*/ 142341 h 142341"/>
                    <a:gd name="connsiteX2" fmla="*/ 0 w 106995"/>
                    <a:gd name="connsiteY2" fmla="*/ 1854 h 142341"/>
                    <a:gd name="connsiteX3" fmla="*/ 2392 w 106995"/>
                    <a:gd name="connsiteY3" fmla="*/ 0 h 142341"/>
                  </a:gdLst>
                  <a:ahLst/>
                  <a:cxnLst>
                    <a:cxn ang="0">
                      <a:pos x="connsiteX0" y="connsiteY0"/>
                    </a:cxn>
                    <a:cxn ang="0">
                      <a:pos x="connsiteX1" y="connsiteY1"/>
                    </a:cxn>
                    <a:cxn ang="0">
                      <a:pos x="connsiteX2" y="connsiteY2"/>
                    </a:cxn>
                    <a:cxn ang="0">
                      <a:pos x="connsiteX3" y="connsiteY3"/>
                    </a:cxn>
                  </a:cxnLst>
                  <a:rect l="l" t="t" r="r" b="b"/>
                  <a:pathLst>
                    <a:path w="106995" h="142341">
                      <a:moveTo>
                        <a:pt x="106995" y="140547"/>
                      </a:moveTo>
                      <a:lnTo>
                        <a:pt x="104603" y="142341"/>
                      </a:lnTo>
                      <a:lnTo>
                        <a:pt x="0" y="1854"/>
                      </a:lnTo>
                      <a:lnTo>
                        <a:pt x="2392" y="0"/>
                      </a:lnTo>
                      <a:close/>
                    </a:path>
                  </a:pathLst>
                </a:custGeom>
                <a:grpFill/>
                <a:ln w="5978" cap="flat">
                  <a:noFill/>
                  <a:prstDash val="solid"/>
                  <a:miter/>
                </a:ln>
              </p:spPr>
              <p:txBody>
                <a:bodyPr rtlCol="0" anchor="ctr"/>
                <a:lstStyle/>
                <a:p>
                  <a:endParaRPr lang="en-GB"/>
                </a:p>
              </p:txBody>
            </p:sp>
            <p:sp>
              <p:nvSpPr>
                <p:cNvPr id="2887" name="Vrije vorm: vorm 2886">
                  <a:extLst>
                    <a:ext uri="{FF2B5EF4-FFF2-40B4-BE49-F238E27FC236}">
                      <a16:creationId xmlns:a16="http://schemas.microsoft.com/office/drawing/2014/main" id="{FE7F71BB-33D1-4D68-81C2-FC7DE6FEBF8F}"/>
                    </a:ext>
                  </a:extLst>
                </p:cNvPr>
                <p:cNvSpPr/>
                <p:nvPr/>
              </p:nvSpPr>
              <p:spPr>
                <a:xfrm>
                  <a:off x="4678636" y="1571257"/>
                  <a:ext cx="18385" cy="18454"/>
                </a:xfrm>
                <a:custGeom>
                  <a:avLst/>
                  <a:gdLst>
                    <a:gd name="connsiteX0" fmla="*/ 1837 w 18385"/>
                    <a:gd name="connsiteY0" fmla="*/ 14751 h 18454"/>
                    <a:gd name="connsiteX1" fmla="*/ 3691 w 18385"/>
                    <a:gd name="connsiteY1" fmla="*/ 1833 h 18454"/>
                    <a:gd name="connsiteX2" fmla="*/ 16549 w 18385"/>
                    <a:gd name="connsiteY2" fmla="*/ 3747 h 18454"/>
                    <a:gd name="connsiteX3" fmla="*/ 14695 w 18385"/>
                    <a:gd name="connsiteY3" fmla="*/ 16665 h 18454"/>
                    <a:gd name="connsiteX4" fmla="*/ 1837 w 18385"/>
                    <a:gd name="connsiteY4" fmla="*/ 1475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5" h="18454">
                      <a:moveTo>
                        <a:pt x="1837" y="14751"/>
                      </a:moveTo>
                      <a:cubicBezTo>
                        <a:pt x="-1213" y="10684"/>
                        <a:pt x="-376" y="4883"/>
                        <a:pt x="3691" y="1833"/>
                      </a:cubicBezTo>
                      <a:cubicBezTo>
                        <a:pt x="7758" y="-1217"/>
                        <a:pt x="13499" y="-380"/>
                        <a:pt x="16549" y="3747"/>
                      </a:cubicBezTo>
                      <a:cubicBezTo>
                        <a:pt x="19599" y="7814"/>
                        <a:pt x="18762" y="13615"/>
                        <a:pt x="14695" y="16665"/>
                      </a:cubicBezTo>
                      <a:cubicBezTo>
                        <a:pt x="10628" y="19655"/>
                        <a:pt x="4887" y="18818"/>
                        <a:pt x="1837" y="14751"/>
                      </a:cubicBezTo>
                      <a:close/>
                    </a:path>
                  </a:pathLst>
                </a:custGeom>
                <a:grpFill/>
                <a:ln w="5978" cap="flat">
                  <a:noFill/>
                  <a:prstDash val="solid"/>
                  <a:miter/>
                </a:ln>
              </p:spPr>
              <p:txBody>
                <a:bodyPr rtlCol="0" anchor="ctr"/>
                <a:lstStyle/>
                <a:p>
                  <a:endParaRPr lang="en-GB"/>
                </a:p>
              </p:txBody>
            </p:sp>
            <p:sp>
              <p:nvSpPr>
                <p:cNvPr id="2888" name="Vrije vorm: vorm 2887">
                  <a:extLst>
                    <a:ext uri="{FF2B5EF4-FFF2-40B4-BE49-F238E27FC236}">
                      <a16:creationId xmlns:a16="http://schemas.microsoft.com/office/drawing/2014/main" id="{CCCE80CC-BCA8-4228-A8D5-D81610316EC7}"/>
                    </a:ext>
                  </a:extLst>
                </p:cNvPr>
                <p:cNvSpPr/>
                <p:nvPr/>
              </p:nvSpPr>
              <p:spPr>
                <a:xfrm>
                  <a:off x="4782700" y="1711069"/>
                  <a:ext cx="18360" cy="18411"/>
                </a:xfrm>
                <a:custGeom>
                  <a:avLst/>
                  <a:gdLst>
                    <a:gd name="connsiteX0" fmla="*/ 1837 w 18360"/>
                    <a:gd name="connsiteY0" fmla="*/ 14708 h 18411"/>
                    <a:gd name="connsiteX1" fmla="*/ 14695 w 18360"/>
                    <a:gd name="connsiteY1" fmla="*/ 16622 h 18411"/>
                    <a:gd name="connsiteX2" fmla="*/ 16549 w 18360"/>
                    <a:gd name="connsiteY2" fmla="*/ 3703 h 18411"/>
                    <a:gd name="connsiteX3" fmla="*/ 3691 w 18360"/>
                    <a:gd name="connsiteY3" fmla="*/ 1790 h 18411"/>
                    <a:gd name="connsiteX4" fmla="*/ 1837 w 18360"/>
                    <a:gd name="connsiteY4" fmla="*/ 1470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1">
                      <a:moveTo>
                        <a:pt x="1837" y="14708"/>
                      </a:moveTo>
                      <a:cubicBezTo>
                        <a:pt x="4887" y="18775"/>
                        <a:pt x="10628" y="19612"/>
                        <a:pt x="14695" y="16622"/>
                      </a:cubicBezTo>
                      <a:cubicBezTo>
                        <a:pt x="18762" y="13631"/>
                        <a:pt x="19540" y="7830"/>
                        <a:pt x="16549" y="3703"/>
                      </a:cubicBezTo>
                      <a:cubicBezTo>
                        <a:pt x="13499" y="-364"/>
                        <a:pt x="7758" y="-1201"/>
                        <a:pt x="3691" y="1790"/>
                      </a:cubicBezTo>
                      <a:cubicBezTo>
                        <a:pt x="-376" y="4840"/>
                        <a:pt x="-1213" y="10641"/>
                        <a:pt x="1837" y="14708"/>
                      </a:cubicBezTo>
                      <a:close/>
                    </a:path>
                  </a:pathLst>
                </a:custGeom>
                <a:grpFill/>
                <a:ln w="5978" cap="flat">
                  <a:noFill/>
                  <a:prstDash val="solid"/>
                  <a:miter/>
                </a:ln>
              </p:spPr>
              <p:txBody>
                <a:bodyPr rtlCol="0" anchor="ctr"/>
                <a:lstStyle/>
                <a:p>
                  <a:endParaRPr lang="en-GB"/>
                </a:p>
              </p:txBody>
            </p:sp>
          </p:grpSp>
          <p:grpSp>
            <p:nvGrpSpPr>
              <p:cNvPr id="838" name="Graphic 3">
                <a:extLst>
                  <a:ext uri="{FF2B5EF4-FFF2-40B4-BE49-F238E27FC236}">
                    <a16:creationId xmlns:a16="http://schemas.microsoft.com/office/drawing/2014/main" id="{A84919EC-255E-4B05-8CD1-5E8C689349D5}"/>
                  </a:ext>
                </a:extLst>
              </p:cNvPr>
              <p:cNvGrpSpPr/>
              <p:nvPr/>
            </p:nvGrpSpPr>
            <p:grpSpPr>
              <a:xfrm>
                <a:off x="4817981" y="2043192"/>
                <a:ext cx="118654" cy="129925"/>
                <a:chOff x="4817981" y="2043192"/>
                <a:chExt cx="118654" cy="129925"/>
              </a:xfrm>
              <a:grpFill/>
            </p:grpSpPr>
            <p:sp>
              <p:nvSpPr>
                <p:cNvPr id="2883" name="Vrije vorm: vorm 2882">
                  <a:extLst>
                    <a:ext uri="{FF2B5EF4-FFF2-40B4-BE49-F238E27FC236}">
                      <a16:creationId xmlns:a16="http://schemas.microsoft.com/office/drawing/2014/main" id="{D0D88AE4-F415-4593-91EF-13C05BE3DD92}"/>
                    </a:ext>
                  </a:extLst>
                </p:cNvPr>
                <p:cNvSpPr/>
                <p:nvPr/>
              </p:nvSpPr>
              <p:spPr>
                <a:xfrm>
                  <a:off x="4825684" y="2051069"/>
                  <a:ext cx="103227" cy="114231"/>
                </a:xfrm>
                <a:custGeom>
                  <a:avLst/>
                  <a:gdLst>
                    <a:gd name="connsiteX0" fmla="*/ 103227 w 103227"/>
                    <a:gd name="connsiteY0" fmla="*/ 112198 h 114231"/>
                    <a:gd name="connsiteX1" fmla="*/ 101014 w 103227"/>
                    <a:gd name="connsiteY1" fmla="*/ 114232 h 114231"/>
                    <a:gd name="connsiteX2" fmla="*/ 0 w 103227"/>
                    <a:gd name="connsiteY2" fmla="*/ 2033 h 114231"/>
                    <a:gd name="connsiteX3" fmla="*/ 2273 w 103227"/>
                    <a:gd name="connsiteY3" fmla="*/ 0 h 114231"/>
                  </a:gdLst>
                  <a:ahLst/>
                  <a:cxnLst>
                    <a:cxn ang="0">
                      <a:pos x="connsiteX0" y="connsiteY0"/>
                    </a:cxn>
                    <a:cxn ang="0">
                      <a:pos x="connsiteX1" y="connsiteY1"/>
                    </a:cxn>
                    <a:cxn ang="0">
                      <a:pos x="connsiteX2" y="connsiteY2"/>
                    </a:cxn>
                    <a:cxn ang="0">
                      <a:pos x="connsiteX3" y="connsiteY3"/>
                    </a:cxn>
                  </a:cxnLst>
                  <a:rect l="l" t="t" r="r" b="b"/>
                  <a:pathLst>
                    <a:path w="103227" h="114231">
                      <a:moveTo>
                        <a:pt x="103227" y="112198"/>
                      </a:moveTo>
                      <a:lnTo>
                        <a:pt x="101014" y="114232"/>
                      </a:lnTo>
                      <a:lnTo>
                        <a:pt x="0" y="2033"/>
                      </a:lnTo>
                      <a:lnTo>
                        <a:pt x="2273" y="0"/>
                      </a:lnTo>
                      <a:close/>
                    </a:path>
                  </a:pathLst>
                </a:custGeom>
                <a:grpFill/>
                <a:ln w="5978" cap="flat">
                  <a:noFill/>
                  <a:prstDash val="solid"/>
                  <a:miter/>
                </a:ln>
              </p:spPr>
              <p:txBody>
                <a:bodyPr rtlCol="0" anchor="ctr"/>
                <a:lstStyle/>
                <a:p>
                  <a:endParaRPr lang="en-GB"/>
                </a:p>
              </p:txBody>
            </p:sp>
            <p:sp>
              <p:nvSpPr>
                <p:cNvPr id="2884" name="Vrije vorm: vorm 2883">
                  <a:extLst>
                    <a:ext uri="{FF2B5EF4-FFF2-40B4-BE49-F238E27FC236}">
                      <a16:creationId xmlns:a16="http://schemas.microsoft.com/office/drawing/2014/main" id="{C91EAA8B-08F9-4237-8A91-5264839A92DF}"/>
                    </a:ext>
                  </a:extLst>
                </p:cNvPr>
                <p:cNvSpPr/>
                <p:nvPr/>
              </p:nvSpPr>
              <p:spPr>
                <a:xfrm>
                  <a:off x="4817981" y="2043192"/>
                  <a:ext cx="18277" cy="18444"/>
                </a:xfrm>
                <a:custGeom>
                  <a:avLst/>
                  <a:gdLst>
                    <a:gd name="connsiteX0" fmla="*/ 2381 w 18277"/>
                    <a:gd name="connsiteY0" fmla="*/ 15412 h 18444"/>
                    <a:gd name="connsiteX1" fmla="*/ 2978 w 18277"/>
                    <a:gd name="connsiteY1" fmla="*/ 2374 h 18444"/>
                    <a:gd name="connsiteX2" fmla="*/ 15897 w 18277"/>
                    <a:gd name="connsiteY2" fmla="*/ 3032 h 18444"/>
                    <a:gd name="connsiteX3" fmla="*/ 15299 w 18277"/>
                    <a:gd name="connsiteY3" fmla="*/ 16070 h 18444"/>
                    <a:gd name="connsiteX4" fmla="*/ 2381 w 18277"/>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44">
                      <a:moveTo>
                        <a:pt x="2381" y="15412"/>
                      </a:moveTo>
                      <a:cubicBezTo>
                        <a:pt x="-1029" y="11644"/>
                        <a:pt x="-730" y="5783"/>
                        <a:pt x="2978" y="2374"/>
                      </a:cubicBezTo>
                      <a:cubicBezTo>
                        <a:pt x="6746" y="-1035"/>
                        <a:pt x="12547" y="-736"/>
                        <a:pt x="15897" y="3032"/>
                      </a:cubicBezTo>
                      <a:cubicBezTo>
                        <a:pt x="19306" y="6800"/>
                        <a:pt x="19007" y="12661"/>
                        <a:pt x="15299" y="16070"/>
                      </a:cubicBezTo>
                      <a:cubicBezTo>
                        <a:pt x="11591" y="19479"/>
                        <a:pt x="5789" y="19180"/>
                        <a:pt x="2381" y="15412"/>
                      </a:cubicBezTo>
                      <a:close/>
                    </a:path>
                  </a:pathLst>
                </a:custGeom>
                <a:grpFill/>
                <a:ln w="5978" cap="flat">
                  <a:noFill/>
                  <a:prstDash val="solid"/>
                  <a:miter/>
                </a:ln>
              </p:spPr>
              <p:txBody>
                <a:bodyPr rtlCol="0" anchor="ctr"/>
                <a:lstStyle/>
                <a:p>
                  <a:endParaRPr lang="en-GB"/>
                </a:p>
              </p:txBody>
            </p:sp>
            <p:sp>
              <p:nvSpPr>
                <p:cNvPr id="2885" name="Vrije vorm: vorm 2884">
                  <a:extLst>
                    <a:ext uri="{FF2B5EF4-FFF2-40B4-BE49-F238E27FC236}">
                      <a16:creationId xmlns:a16="http://schemas.microsoft.com/office/drawing/2014/main" id="{49658F88-69D2-4AEB-8244-FA4C854A67AA}"/>
                    </a:ext>
                  </a:extLst>
                </p:cNvPr>
                <p:cNvSpPr/>
                <p:nvPr/>
              </p:nvSpPr>
              <p:spPr>
                <a:xfrm>
                  <a:off x="4918338" y="2154673"/>
                  <a:ext cx="18298" cy="18444"/>
                </a:xfrm>
                <a:custGeom>
                  <a:avLst/>
                  <a:gdLst>
                    <a:gd name="connsiteX0" fmla="*/ 2381 w 18298"/>
                    <a:gd name="connsiteY0" fmla="*/ 15412 h 18444"/>
                    <a:gd name="connsiteX1" fmla="*/ 15299 w 18298"/>
                    <a:gd name="connsiteY1" fmla="*/ 16070 h 18444"/>
                    <a:gd name="connsiteX2" fmla="*/ 15897 w 18298"/>
                    <a:gd name="connsiteY2" fmla="*/ 3032 h 18444"/>
                    <a:gd name="connsiteX3" fmla="*/ 2978 w 18298"/>
                    <a:gd name="connsiteY3" fmla="*/ 2374 h 18444"/>
                    <a:gd name="connsiteX4" fmla="*/ 2381 w 18298"/>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44">
                      <a:moveTo>
                        <a:pt x="2381" y="15412"/>
                      </a:moveTo>
                      <a:cubicBezTo>
                        <a:pt x="5790" y="19180"/>
                        <a:pt x="11591" y="19479"/>
                        <a:pt x="15299" y="16070"/>
                      </a:cubicBezTo>
                      <a:cubicBezTo>
                        <a:pt x="19067" y="12661"/>
                        <a:pt x="19306" y="6860"/>
                        <a:pt x="15897" y="3032"/>
                      </a:cubicBezTo>
                      <a:cubicBezTo>
                        <a:pt x="12488" y="-736"/>
                        <a:pt x="6687" y="-1035"/>
                        <a:pt x="2978" y="2374"/>
                      </a:cubicBezTo>
                      <a:cubicBezTo>
                        <a:pt x="-730" y="5843"/>
                        <a:pt x="-1029" y="11645"/>
                        <a:pt x="2381" y="15412"/>
                      </a:cubicBezTo>
                      <a:close/>
                    </a:path>
                  </a:pathLst>
                </a:custGeom>
                <a:grpFill/>
                <a:ln w="5978" cap="flat">
                  <a:noFill/>
                  <a:prstDash val="solid"/>
                  <a:miter/>
                </a:ln>
              </p:spPr>
              <p:txBody>
                <a:bodyPr rtlCol="0" anchor="ctr"/>
                <a:lstStyle/>
                <a:p>
                  <a:endParaRPr lang="en-GB"/>
                </a:p>
              </p:txBody>
            </p:sp>
          </p:grpSp>
          <p:grpSp>
            <p:nvGrpSpPr>
              <p:cNvPr id="839" name="Graphic 3">
                <a:extLst>
                  <a:ext uri="{FF2B5EF4-FFF2-40B4-BE49-F238E27FC236}">
                    <a16:creationId xmlns:a16="http://schemas.microsoft.com/office/drawing/2014/main" id="{5932B163-B725-4D57-B2E5-75E7FEB3A11D}"/>
                  </a:ext>
                </a:extLst>
              </p:cNvPr>
              <p:cNvGrpSpPr/>
              <p:nvPr/>
            </p:nvGrpSpPr>
            <p:grpSpPr>
              <a:xfrm>
                <a:off x="4749783" y="1855218"/>
                <a:ext cx="114639" cy="133787"/>
                <a:chOff x="4749783" y="1855218"/>
                <a:chExt cx="114639" cy="133787"/>
              </a:xfrm>
              <a:grpFill/>
            </p:grpSpPr>
            <p:sp>
              <p:nvSpPr>
                <p:cNvPr id="2880" name="Vrije vorm: vorm 2879">
                  <a:extLst>
                    <a:ext uri="{FF2B5EF4-FFF2-40B4-BE49-F238E27FC236}">
                      <a16:creationId xmlns:a16="http://schemas.microsoft.com/office/drawing/2014/main" id="{6CAC82A4-52F7-4120-A794-FF14FE23DA47}"/>
                    </a:ext>
                  </a:extLst>
                </p:cNvPr>
                <p:cNvSpPr/>
                <p:nvPr/>
              </p:nvSpPr>
              <p:spPr>
                <a:xfrm>
                  <a:off x="4757445" y="1863095"/>
                  <a:ext cx="99279" cy="117999"/>
                </a:xfrm>
                <a:custGeom>
                  <a:avLst/>
                  <a:gdLst>
                    <a:gd name="connsiteX0" fmla="*/ 99280 w 99279"/>
                    <a:gd name="connsiteY0" fmla="*/ 116086 h 117999"/>
                    <a:gd name="connsiteX1" fmla="*/ 96947 w 99279"/>
                    <a:gd name="connsiteY1" fmla="*/ 118000 h 117999"/>
                    <a:gd name="connsiteX2" fmla="*/ 0 w 99279"/>
                    <a:gd name="connsiteY2" fmla="*/ 1914 h 117999"/>
                    <a:gd name="connsiteX3" fmla="*/ 2333 w 99279"/>
                    <a:gd name="connsiteY3" fmla="*/ 0 h 117999"/>
                  </a:gdLst>
                  <a:ahLst/>
                  <a:cxnLst>
                    <a:cxn ang="0">
                      <a:pos x="connsiteX0" y="connsiteY0"/>
                    </a:cxn>
                    <a:cxn ang="0">
                      <a:pos x="connsiteX1" y="connsiteY1"/>
                    </a:cxn>
                    <a:cxn ang="0">
                      <a:pos x="connsiteX2" y="connsiteY2"/>
                    </a:cxn>
                    <a:cxn ang="0">
                      <a:pos x="connsiteX3" y="connsiteY3"/>
                    </a:cxn>
                  </a:cxnLst>
                  <a:rect l="l" t="t" r="r" b="b"/>
                  <a:pathLst>
                    <a:path w="99279" h="117999">
                      <a:moveTo>
                        <a:pt x="99280" y="116086"/>
                      </a:moveTo>
                      <a:lnTo>
                        <a:pt x="96947" y="118000"/>
                      </a:lnTo>
                      <a:lnTo>
                        <a:pt x="0" y="1914"/>
                      </a:lnTo>
                      <a:lnTo>
                        <a:pt x="2333" y="0"/>
                      </a:lnTo>
                      <a:close/>
                    </a:path>
                  </a:pathLst>
                </a:custGeom>
                <a:grpFill/>
                <a:ln w="5978" cap="flat">
                  <a:noFill/>
                  <a:prstDash val="solid"/>
                  <a:miter/>
                </a:ln>
              </p:spPr>
              <p:txBody>
                <a:bodyPr rtlCol="0" anchor="ctr"/>
                <a:lstStyle/>
                <a:p>
                  <a:endParaRPr lang="en-GB"/>
                </a:p>
              </p:txBody>
            </p:sp>
            <p:sp>
              <p:nvSpPr>
                <p:cNvPr id="2881" name="Vrije vorm: vorm 2880">
                  <a:extLst>
                    <a:ext uri="{FF2B5EF4-FFF2-40B4-BE49-F238E27FC236}">
                      <a16:creationId xmlns:a16="http://schemas.microsoft.com/office/drawing/2014/main" id="{D047CA0E-9DEA-42FF-8C76-2FBC6E4B1814}"/>
                    </a:ext>
                  </a:extLst>
                </p:cNvPr>
                <p:cNvSpPr/>
                <p:nvPr/>
              </p:nvSpPr>
              <p:spPr>
                <a:xfrm>
                  <a:off x="4749783" y="1855218"/>
                  <a:ext cx="18349" cy="18409"/>
                </a:xfrm>
                <a:custGeom>
                  <a:avLst/>
                  <a:gdLst>
                    <a:gd name="connsiteX0" fmla="*/ 2160 w 18349"/>
                    <a:gd name="connsiteY0" fmla="*/ 15113 h 18409"/>
                    <a:gd name="connsiteX1" fmla="*/ 3296 w 18349"/>
                    <a:gd name="connsiteY1" fmla="*/ 2135 h 18409"/>
                    <a:gd name="connsiteX2" fmla="*/ 16214 w 18349"/>
                    <a:gd name="connsiteY2" fmla="*/ 3271 h 18409"/>
                    <a:gd name="connsiteX3" fmla="*/ 15078 w 18349"/>
                    <a:gd name="connsiteY3" fmla="*/ 16250 h 18409"/>
                    <a:gd name="connsiteX4" fmla="*/ 2160 w 18349"/>
                    <a:gd name="connsiteY4" fmla="*/ 1511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9">
                      <a:moveTo>
                        <a:pt x="2160" y="15113"/>
                      </a:moveTo>
                      <a:cubicBezTo>
                        <a:pt x="-1130" y="11226"/>
                        <a:pt x="-591" y="5424"/>
                        <a:pt x="3296" y="2135"/>
                      </a:cubicBezTo>
                      <a:cubicBezTo>
                        <a:pt x="7183" y="-1095"/>
                        <a:pt x="12925" y="-616"/>
                        <a:pt x="16214" y="3271"/>
                      </a:cubicBezTo>
                      <a:cubicBezTo>
                        <a:pt x="19444" y="7159"/>
                        <a:pt x="18966" y="12960"/>
                        <a:pt x="15078" y="16250"/>
                      </a:cubicBezTo>
                      <a:cubicBezTo>
                        <a:pt x="11190" y="19539"/>
                        <a:pt x="5389" y="19001"/>
                        <a:pt x="2160" y="15113"/>
                      </a:cubicBezTo>
                      <a:close/>
                    </a:path>
                  </a:pathLst>
                </a:custGeom>
                <a:grpFill/>
                <a:ln w="5978" cap="flat">
                  <a:noFill/>
                  <a:prstDash val="solid"/>
                  <a:miter/>
                </a:ln>
              </p:spPr>
              <p:txBody>
                <a:bodyPr rtlCol="0" anchor="ctr"/>
                <a:lstStyle/>
                <a:p>
                  <a:endParaRPr lang="en-GB"/>
                </a:p>
              </p:txBody>
            </p:sp>
            <p:sp>
              <p:nvSpPr>
                <p:cNvPr id="2882" name="Vrije vorm: vorm 2881">
                  <a:extLst>
                    <a:ext uri="{FF2B5EF4-FFF2-40B4-BE49-F238E27FC236}">
                      <a16:creationId xmlns:a16="http://schemas.microsoft.com/office/drawing/2014/main" id="{EECE94AB-DAD5-43A6-9AD5-647D3D68FCB5}"/>
                    </a:ext>
                  </a:extLst>
                </p:cNvPr>
                <p:cNvSpPr/>
                <p:nvPr/>
              </p:nvSpPr>
              <p:spPr>
                <a:xfrm>
                  <a:off x="4846097" y="1970621"/>
                  <a:ext cx="18324" cy="18384"/>
                </a:xfrm>
                <a:custGeom>
                  <a:avLst/>
                  <a:gdLst>
                    <a:gd name="connsiteX0" fmla="*/ 2135 w 18324"/>
                    <a:gd name="connsiteY0" fmla="*/ 15078 h 18384"/>
                    <a:gd name="connsiteX1" fmla="*/ 15053 w 18324"/>
                    <a:gd name="connsiteY1" fmla="*/ 16274 h 18384"/>
                    <a:gd name="connsiteX2" fmla="*/ 16190 w 18324"/>
                    <a:gd name="connsiteY2" fmla="*/ 3296 h 18384"/>
                    <a:gd name="connsiteX3" fmla="*/ 3271 w 18324"/>
                    <a:gd name="connsiteY3" fmla="*/ 2160 h 18384"/>
                    <a:gd name="connsiteX4" fmla="*/ 2135 w 18324"/>
                    <a:gd name="connsiteY4" fmla="*/ 15078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2135" y="15078"/>
                      </a:moveTo>
                      <a:cubicBezTo>
                        <a:pt x="5424" y="18966"/>
                        <a:pt x="11166" y="19504"/>
                        <a:pt x="15053" y="16274"/>
                      </a:cubicBezTo>
                      <a:cubicBezTo>
                        <a:pt x="18941" y="12985"/>
                        <a:pt x="19419" y="7184"/>
                        <a:pt x="16190" y="3296"/>
                      </a:cubicBezTo>
                      <a:cubicBezTo>
                        <a:pt x="12900" y="-591"/>
                        <a:pt x="7159" y="-1130"/>
                        <a:pt x="3271" y="2160"/>
                      </a:cubicBezTo>
                      <a:cubicBezTo>
                        <a:pt x="-616" y="5389"/>
                        <a:pt x="-1094" y="11191"/>
                        <a:pt x="2135" y="15078"/>
                      </a:cubicBezTo>
                      <a:close/>
                    </a:path>
                  </a:pathLst>
                </a:custGeom>
                <a:grpFill/>
                <a:ln w="5978" cap="flat">
                  <a:noFill/>
                  <a:prstDash val="solid"/>
                  <a:miter/>
                </a:ln>
              </p:spPr>
              <p:txBody>
                <a:bodyPr rtlCol="0" anchor="ctr"/>
                <a:lstStyle/>
                <a:p>
                  <a:endParaRPr lang="en-GB"/>
                </a:p>
              </p:txBody>
            </p:sp>
          </p:grpSp>
          <p:grpSp>
            <p:nvGrpSpPr>
              <p:cNvPr id="840" name="Graphic 3">
                <a:extLst>
                  <a:ext uri="{FF2B5EF4-FFF2-40B4-BE49-F238E27FC236}">
                    <a16:creationId xmlns:a16="http://schemas.microsoft.com/office/drawing/2014/main" id="{577B8EDA-76D3-4419-8A2D-065483A197B4}"/>
                  </a:ext>
                </a:extLst>
              </p:cNvPr>
              <p:cNvGrpSpPr/>
              <p:nvPr/>
            </p:nvGrpSpPr>
            <p:grpSpPr>
              <a:xfrm>
                <a:off x="4753714" y="1918443"/>
                <a:ext cx="183833" cy="254033"/>
                <a:chOff x="4753714" y="1918443"/>
                <a:chExt cx="183833" cy="254033"/>
              </a:xfrm>
              <a:grpFill/>
            </p:grpSpPr>
            <p:sp>
              <p:nvSpPr>
                <p:cNvPr id="2877" name="Vrije vorm: vorm 2876">
                  <a:extLst>
                    <a:ext uri="{FF2B5EF4-FFF2-40B4-BE49-F238E27FC236}">
                      <a16:creationId xmlns:a16="http://schemas.microsoft.com/office/drawing/2014/main" id="{9AC974CC-656F-4D0D-B206-9CC4AF4614C3}"/>
                    </a:ext>
                  </a:extLst>
                </p:cNvPr>
                <p:cNvSpPr/>
                <p:nvPr/>
              </p:nvSpPr>
              <p:spPr>
                <a:xfrm>
                  <a:off x="4761332" y="1926431"/>
                  <a:ext cx="168537" cy="238092"/>
                </a:xfrm>
                <a:custGeom>
                  <a:avLst/>
                  <a:gdLst>
                    <a:gd name="connsiteX0" fmla="*/ 168537 w 168537"/>
                    <a:gd name="connsiteY0" fmla="*/ 236298 h 238092"/>
                    <a:gd name="connsiteX1" fmla="*/ 166025 w 168537"/>
                    <a:gd name="connsiteY1" fmla="*/ 238093 h 238092"/>
                    <a:gd name="connsiteX2" fmla="*/ 0 w 168537"/>
                    <a:gd name="connsiteY2" fmla="*/ 1734 h 238092"/>
                    <a:gd name="connsiteX3" fmla="*/ 2512 w 168537"/>
                    <a:gd name="connsiteY3" fmla="*/ 0 h 238092"/>
                  </a:gdLst>
                  <a:ahLst/>
                  <a:cxnLst>
                    <a:cxn ang="0">
                      <a:pos x="connsiteX0" y="connsiteY0"/>
                    </a:cxn>
                    <a:cxn ang="0">
                      <a:pos x="connsiteX1" y="connsiteY1"/>
                    </a:cxn>
                    <a:cxn ang="0">
                      <a:pos x="connsiteX2" y="connsiteY2"/>
                    </a:cxn>
                    <a:cxn ang="0">
                      <a:pos x="connsiteX3" y="connsiteY3"/>
                    </a:cxn>
                  </a:cxnLst>
                  <a:rect l="l" t="t" r="r" b="b"/>
                  <a:pathLst>
                    <a:path w="168537" h="238092">
                      <a:moveTo>
                        <a:pt x="168537" y="236298"/>
                      </a:moveTo>
                      <a:lnTo>
                        <a:pt x="166025" y="238093"/>
                      </a:lnTo>
                      <a:lnTo>
                        <a:pt x="0" y="1734"/>
                      </a:lnTo>
                      <a:lnTo>
                        <a:pt x="2512" y="0"/>
                      </a:lnTo>
                      <a:close/>
                    </a:path>
                  </a:pathLst>
                </a:custGeom>
                <a:grpFill/>
                <a:ln w="5978" cap="flat">
                  <a:noFill/>
                  <a:prstDash val="solid"/>
                  <a:miter/>
                </a:ln>
              </p:spPr>
              <p:txBody>
                <a:bodyPr rtlCol="0" anchor="ctr"/>
                <a:lstStyle/>
                <a:p>
                  <a:endParaRPr lang="en-GB"/>
                </a:p>
              </p:txBody>
            </p:sp>
            <p:sp>
              <p:nvSpPr>
                <p:cNvPr id="2878" name="Vrije vorm: vorm 2877">
                  <a:extLst>
                    <a:ext uri="{FF2B5EF4-FFF2-40B4-BE49-F238E27FC236}">
                      <a16:creationId xmlns:a16="http://schemas.microsoft.com/office/drawing/2014/main" id="{A700E1EB-2718-4034-9F86-8B1906E1FF30}"/>
                    </a:ext>
                  </a:extLst>
                </p:cNvPr>
                <p:cNvSpPr/>
                <p:nvPr/>
              </p:nvSpPr>
              <p:spPr>
                <a:xfrm>
                  <a:off x="4919200" y="2154024"/>
                  <a:ext cx="18346" cy="18452"/>
                </a:xfrm>
                <a:custGeom>
                  <a:avLst/>
                  <a:gdLst>
                    <a:gd name="connsiteX0" fmla="*/ 16649 w 18346"/>
                    <a:gd name="connsiteY0" fmla="*/ 3920 h 18452"/>
                    <a:gd name="connsiteX1" fmla="*/ 14496 w 18346"/>
                    <a:gd name="connsiteY1" fmla="*/ 16779 h 18452"/>
                    <a:gd name="connsiteX2" fmla="*/ 1698 w 18346"/>
                    <a:gd name="connsiteY2" fmla="*/ 14506 h 18452"/>
                    <a:gd name="connsiteX3" fmla="*/ 3851 w 18346"/>
                    <a:gd name="connsiteY3" fmla="*/ 1648 h 18452"/>
                    <a:gd name="connsiteX4" fmla="*/ 16649 w 18346"/>
                    <a:gd name="connsiteY4" fmla="*/ 3920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2">
                      <a:moveTo>
                        <a:pt x="16649" y="3920"/>
                      </a:moveTo>
                      <a:cubicBezTo>
                        <a:pt x="19580" y="8107"/>
                        <a:pt x="18623" y="13849"/>
                        <a:pt x="14496" y="16779"/>
                      </a:cubicBezTo>
                      <a:cubicBezTo>
                        <a:pt x="10369" y="19710"/>
                        <a:pt x="4628" y="18693"/>
                        <a:pt x="1698" y="14506"/>
                      </a:cubicBezTo>
                      <a:cubicBezTo>
                        <a:pt x="-1233" y="10320"/>
                        <a:pt x="-276" y="4578"/>
                        <a:pt x="3851" y="1648"/>
                      </a:cubicBezTo>
                      <a:cubicBezTo>
                        <a:pt x="7977" y="-1223"/>
                        <a:pt x="13719" y="-266"/>
                        <a:pt x="16649" y="3920"/>
                      </a:cubicBezTo>
                      <a:close/>
                    </a:path>
                  </a:pathLst>
                </a:custGeom>
                <a:grpFill/>
                <a:ln w="5978" cap="flat">
                  <a:noFill/>
                  <a:prstDash val="solid"/>
                  <a:miter/>
                </a:ln>
              </p:spPr>
              <p:txBody>
                <a:bodyPr rtlCol="0" anchor="ctr"/>
                <a:lstStyle/>
                <a:p>
                  <a:endParaRPr lang="en-GB"/>
                </a:p>
              </p:txBody>
            </p:sp>
            <p:sp>
              <p:nvSpPr>
                <p:cNvPr id="2879" name="Vrije vorm: vorm 2878">
                  <a:extLst>
                    <a:ext uri="{FF2B5EF4-FFF2-40B4-BE49-F238E27FC236}">
                      <a16:creationId xmlns:a16="http://schemas.microsoft.com/office/drawing/2014/main" id="{1D92C824-C17F-44A9-A8CB-6B4A211855BC}"/>
                    </a:ext>
                  </a:extLst>
                </p:cNvPr>
                <p:cNvSpPr/>
                <p:nvPr/>
              </p:nvSpPr>
              <p:spPr>
                <a:xfrm>
                  <a:off x="4753714" y="1918443"/>
                  <a:ext cx="18304" cy="18426"/>
                </a:xfrm>
                <a:custGeom>
                  <a:avLst/>
                  <a:gdLst>
                    <a:gd name="connsiteX0" fmla="*/ 16649 w 18304"/>
                    <a:gd name="connsiteY0" fmla="*/ 3920 h 18426"/>
                    <a:gd name="connsiteX1" fmla="*/ 3851 w 18304"/>
                    <a:gd name="connsiteY1" fmla="*/ 1648 h 18426"/>
                    <a:gd name="connsiteX2" fmla="*/ 1697 w 18304"/>
                    <a:gd name="connsiteY2" fmla="*/ 14506 h 18426"/>
                    <a:gd name="connsiteX3" fmla="*/ 14496 w 18304"/>
                    <a:gd name="connsiteY3" fmla="*/ 16779 h 18426"/>
                    <a:gd name="connsiteX4" fmla="*/ 16649 w 18304"/>
                    <a:gd name="connsiteY4" fmla="*/ 392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6">
                      <a:moveTo>
                        <a:pt x="16649" y="3920"/>
                      </a:moveTo>
                      <a:cubicBezTo>
                        <a:pt x="13719" y="-266"/>
                        <a:pt x="7977" y="-1223"/>
                        <a:pt x="3851" y="1648"/>
                      </a:cubicBezTo>
                      <a:cubicBezTo>
                        <a:pt x="-276" y="4578"/>
                        <a:pt x="-1233" y="10320"/>
                        <a:pt x="1697" y="14506"/>
                      </a:cubicBezTo>
                      <a:cubicBezTo>
                        <a:pt x="4628" y="18693"/>
                        <a:pt x="10369" y="19650"/>
                        <a:pt x="14496" y="16779"/>
                      </a:cubicBezTo>
                      <a:cubicBezTo>
                        <a:pt x="18563" y="13849"/>
                        <a:pt x="19520" y="8107"/>
                        <a:pt x="16649" y="3920"/>
                      </a:cubicBezTo>
                      <a:close/>
                    </a:path>
                  </a:pathLst>
                </a:custGeom>
                <a:grpFill/>
                <a:ln w="5978" cap="flat">
                  <a:noFill/>
                  <a:prstDash val="solid"/>
                  <a:miter/>
                </a:ln>
              </p:spPr>
              <p:txBody>
                <a:bodyPr rtlCol="0" anchor="ctr"/>
                <a:lstStyle/>
                <a:p>
                  <a:endParaRPr lang="en-GB"/>
                </a:p>
              </p:txBody>
            </p:sp>
          </p:grpSp>
          <p:grpSp>
            <p:nvGrpSpPr>
              <p:cNvPr id="841" name="Graphic 3">
                <a:extLst>
                  <a:ext uri="{FF2B5EF4-FFF2-40B4-BE49-F238E27FC236}">
                    <a16:creationId xmlns:a16="http://schemas.microsoft.com/office/drawing/2014/main" id="{C74D6D12-3792-4EFB-855B-62E7780F82C6}"/>
                  </a:ext>
                </a:extLst>
              </p:cNvPr>
              <p:cNvGrpSpPr/>
              <p:nvPr/>
            </p:nvGrpSpPr>
            <p:grpSpPr>
              <a:xfrm>
                <a:off x="4464496" y="1364472"/>
                <a:ext cx="540461" cy="743123"/>
                <a:chOff x="4464496" y="1364472"/>
                <a:chExt cx="540461" cy="743123"/>
              </a:xfrm>
              <a:grpFill/>
            </p:grpSpPr>
            <p:sp>
              <p:nvSpPr>
                <p:cNvPr id="2874" name="Vrije vorm: vorm 2873">
                  <a:extLst>
                    <a:ext uri="{FF2B5EF4-FFF2-40B4-BE49-F238E27FC236}">
                      <a16:creationId xmlns:a16="http://schemas.microsoft.com/office/drawing/2014/main" id="{65FE3DA5-6CDC-4B8E-8607-A9D5CB69D747}"/>
                    </a:ext>
                  </a:extLst>
                </p:cNvPr>
                <p:cNvSpPr/>
                <p:nvPr/>
              </p:nvSpPr>
              <p:spPr>
                <a:xfrm>
                  <a:off x="4472164" y="1372376"/>
                  <a:ext cx="525107" cy="727255"/>
                </a:xfrm>
                <a:custGeom>
                  <a:avLst/>
                  <a:gdLst>
                    <a:gd name="connsiteX0" fmla="*/ 525107 w 525107"/>
                    <a:gd name="connsiteY0" fmla="*/ 725521 h 727255"/>
                    <a:gd name="connsiteX1" fmla="*/ 522655 w 525107"/>
                    <a:gd name="connsiteY1" fmla="*/ 727256 h 727255"/>
                    <a:gd name="connsiteX2" fmla="*/ 0 w 525107"/>
                    <a:gd name="connsiteY2" fmla="*/ 1794 h 727255"/>
                    <a:gd name="connsiteX3" fmla="*/ 2512 w 525107"/>
                    <a:gd name="connsiteY3" fmla="*/ 0 h 727255"/>
                  </a:gdLst>
                  <a:ahLst/>
                  <a:cxnLst>
                    <a:cxn ang="0">
                      <a:pos x="connsiteX0" y="connsiteY0"/>
                    </a:cxn>
                    <a:cxn ang="0">
                      <a:pos x="connsiteX1" y="connsiteY1"/>
                    </a:cxn>
                    <a:cxn ang="0">
                      <a:pos x="connsiteX2" y="connsiteY2"/>
                    </a:cxn>
                    <a:cxn ang="0">
                      <a:pos x="connsiteX3" y="connsiteY3"/>
                    </a:cxn>
                  </a:cxnLst>
                  <a:rect l="l" t="t" r="r" b="b"/>
                  <a:pathLst>
                    <a:path w="525107" h="727255">
                      <a:moveTo>
                        <a:pt x="525107" y="725521"/>
                      </a:moveTo>
                      <a:lnTo>
                        <a:pt x="522655" y="727256"/>
                      </a:lnTo>
                      <a:lnTo>
                        <a:pt x="0" y="1794"/>
                      </a:lnTo>
                      <a:lnTo>
                        <a:pt x="2512" y="0"/>
                      </a:lnTo>
                      <a:close/>
                    </a:path>
                  </a:pathLst>
                </a:custGeom>
                <a:grpFill/>
                <a:ln w="5978" cap="flat">
                  <a:noFill/>
                  <a:prstDash val="solid"/>
                  <a:miter/>
                </a:ln>
              </p:spPr>
              <p:txBody>
                <a:bodyPr rtlCol="0" anchor="ctr"/>
                <a:lstStyle/>
                <a:p>
                  <a:endParaRPr lang="en-GB"/>
                </a:p>
              </p:txBody>
            </p:sp>
            <p:sp>
              <p:nvSpPr>
                <p:cNvPr id="2875" name="Vrije vorm: vorm 2874">
                  <a:extLst>
                    <a:ext uri="{FF2B5EF4-FFF2-40B4-BE49-F238E27FC236}">
                      <a16:creationId xmlns:a16="http://schemas.microsoft.com/office/drawing/2014/main" id="{086E8997-31E6-41A3-813B-BC47F1AD116E}"/>
                    </a:ext>
                  </a:extLst>
                </p:cNvPr>
                <p:cNvSpPr/>
                <p:nvPr/>
              </p:nvSpPr>
              <p:spPr>
                <a:xfrm>
                  <a:off x="4986596" y="2089182"/>
                  <a:ext cx="18361" cy="18413"/>
                </a:xfrm>
                <a:custGeom>
                  <a:avLst/>
                  <a:gdLst>
                    <a:gd name="connsiteX0" fmla="*/ 16597 w 18361"/>
                    <a:gd name="connsiteY0" fmla="*/ 3811 h 18413"/>
                    <a:gd name="connsiteX1" fmla="*/ 14563 w 18361"/>
                    <a:gd name="connsiteY1" fmla="*/ 16670 h 18413"/>
                    <a:gd name="connsiteX2" fmla="*/ 1765 w 18361"/>
                    <a:gd name="connsiteY2" fmla="*/ 14576 h 18413"/>
                    <a:gd name="connsiteX3" fmla="*/ 3798 w 18361"/>
                    <a:gd name="connsiteY3" fmla="*/ 1718 h 18413"/>
                    <a:gd name="connsiteX4" fmla="*/ 16597 w 18361"/>
                    <a:gd name="connsiteY4" fmla="*/ 3811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3">
                      <a:moveTo>
                        <a:pt x="16597" y="3811"/>
                      </a:moveTo>
                      <a:cubicBezTo>
                        <a:pt x="19587" y="7938"/>
                        <a:pt x="18690" y="13679"/>
                        <a:pt x="14563" y="16670"/>
                      </a:cubicBezTo>
                      <a:cubicBezTo>
                        <a:pt x="10497" y="19660"/>
                        <a:pt x="4755" y="18703"/>
                        <a:pt x="1765" y="14576"/>
                      </a:cubicBezTo>
                      <a:cubicBezTo>
                        <a:pt x="-1226" y="10450"/>
                        <a:pt x="-329" y="4708"/>
                        <a:pt x="3798" y="1718"/>
                      </a:cubicBezTo>
                      <a:cubicBezTo>
                        <a:pt x="7865" y="-1213"/>
                        <a:pt x="13606" y="-316"/>
                        <a:pt x="16597" y="3811"/>
                      </a:cubicBezTo>
                      <a:close/>
                    </a:path>
                  </a:pathLst>
                </a:custGeom>
                <a:grpFill/>
                <a:ln w="5978" cap="flat">
                  <a:noFill/>
                  <a:prstDash val="solid"/>
                  <a:miter/>
                </a:ln>
              </p:spPr>
              <p:txBody>
                <a:bodyPr rtlCol="0" anchor="ctr"/>
                <a:lstStyle/>
                <a:p>
                  <a:endParaRPr lang="en-GB"/>
                </a:p>
              </p:txBody>
            </p:sp>
            <p:sp>
              <p:nvSpPr>
                <p:cNvPr id="2876" name="Vrije vorm: vorm 2875">
                  <a:extLst>
                    <a:ext uri="{FF2B5EF4-FFF2-40B4-BE49-F238E27FC236}">
                      <a16:creationId xmlns:a16="http://schemas.microsoft.com/office/drawing/2014/main" id="{2DBAFE86-262F-48FD-8E14-02F0A2CFEB58}"/>
                    </a:ext>
                  </a:extLst>
                </p:cNvPr>
                <p:cNvSpPr/>
                <p:nvPr/>
              </p:nvSpPr>
              <p:spPr>
                <a:xfrm>
                  <a:off x="4464496" y="1364472"/>
                  <a:ext cx="18344" cy="18439"/>
                </a:xfrm>
                <a:custGeom>
                  <a:avLst/>
                  <a:gdLst>
                    <a:gd name="connsiteX0" fmla="*/ 16580 w 18344"/>
                    <a:gd name="connsiteY0" fmla="*/ 3837 h 18439"/>
                    <a:gd name="connsiteX1" fmla="*/ 3781 w 18344"/>
                    <a:gd name="connsiteY1" fmla="*/ 1744 h 18439"/>
                    <a:gd name="connsiteX2" fmla="*/ 1748 w 18344"/>
                    <a:gd name="connsiteY2" fmla="*/ 14602 h 18439"/>
                    <a:gd name="connsiteX3" fmla="*/ 14546 w 18344"/>
                    <a:gd name="connsiteY3" fmla="*/ 16696 h 18439"/>
                    <a:gd name="connsiteX4" fmla="*/ 16580 w 18344"/>
                    <a:gd name="connsiteY4" fmla="*/ 3837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39">
                      <a:moveTo>
                        <a:pt x="16580" y="3837"/>
                      </a:moveTo>
                      <a:cubicBezTo>
                        <a:pt x="13589" y="-290"/>
                        <a:pt x="7848" y="-1246"/>
                        <a:pt x="3781" y="1744"/>
                      </a:cubicBezTo>
                      <a:cubicBezTo>
                        <a:pt x="-286" y="4734"/>
                        <a:pt x="-1243" y="10476"/>
                        <a:pt x="1748" y="14602"/>
                      </a:cubicBezTo>
                      <a:cubicBezTo>
                        <a:pt x="4738" y="18729"/>
                        <a:pt x="10480" y="19686"/>
                        <a:pt x="14546" y="16696"/>
                      </a:cubicBezTo>
                      <a:cubicBezTo>
                        <a:pt x="18673" y="13705"/>
                        <a:pt x="19570" y="7964"/>
                        <a:pt x="16580" y="3837"/>
                      </a:cubicBezTo>
                      <a:close/>
                    </a:path>
                  </a:pathLst>
                </a:custGeom>
                <a:grpFill/>
                <a:ln w="5978" cap="flat">
                  <a:noFill/>
                  <a:prstDash val="solid"/>
                  <a:miter/>
                </a:ln>
              </p:spPr>
              <p:txBody>
                <a:bodyPr rtlCol="0" anchor="ctr"/>
                <a:lstStyle/>
                <a:p>
                  <a:endParaRPr lang="en-GB"/>
                </a:p>
              </p:txBody>
            </p:sp>
          </p:grpSp>
          <p:grpSp>
            <p:nvGrpSpPr>
              <p:cNvPr id="842" name="Graphic 3">
                <a:extLst>
                  <a:ext uri="{FF2B5EF4-FFF2-40B4-BE49-F238E27FC236}">
                    <a16:creationId xmlns:a16="http://schemas.microsoft.com/office/drawing/2014/main" id="{7819927A-0740-470A-AFB0-1D1C838A69E4}"/>
                  </a:ext>
                </a:extLst>
              </p:cNvPr>
              <p:cNvGrpSpPr/>
              <p:nvPr/>
            </p:nvGrpSpPr>
            <p:grpSpPr>
              <a:xfrm>
                <a:off x="4770484" y="1936366"/>
                <a:ext cx="105397" cy="118882"/>
                <a:chOff x="4770484" y="1936366"/>
                <a:chExt cx="105397" cy="118882"/>
              </a:xfrm>
              <a:grpFill/>
            </p:grpSpPr>
            <p:sp>
              <p:nvSpPr>
                <p:cNvPr id="2871" name="Vrije vorm: vorm 2870">
                  <a:extLst>
                    <a:ext uri="{FF2B5EF4-FFF2-40B4-BE49-F238E27FC236}">
                      <a16:creationId xmlns:a16="http://schemas.microsoft.com/office/drawing/2014/main" id="{94BCEC73-C4A3-4B4A-B2A9-54730B53C30B}"/>
                    </a:ext>
                  </a:extLst>
                </p:cNvPr>
                <p:cNvSpPr/>
                <p:nvPr/>
              </p:nvSpPr>
              <p:spPr>
                <a:xfrm>
                  <a:off x="4778197" y="1944253"/>
                  <a:ext cx="89950" cy="103107"/>
                </a:xfrm>
                <a:custGeom>
                  <a:avLst/>
                  <a:gdLst>
                    <a:gd name="connsiteX0" fmla="*/ 89950 w 89950"/>
                    <a:gd name="connsiteY0" fmla="*/ 101134 h 103107"/>
                    <a:gd name="connsiteX1" fmla="*/ 87678 w 89950"/>
                    <a:gd name="connsiteY1" fmla="*/ 103108 h 103107"/>
                    <a:gd name="connsiteX2" fmla="*/ 0 w 89950"/>
                    <a:gd name="connsiteY2" fmla="*/ 1974 h 103107"/>
                    <a:gd name="connsiteX3" fmla="*/ 2273 w 89950"/>
                    <a:gd name="connsiteY3" fmla="*/ 0 h 103107"/>
                  </a:gdLst>
                  <a:ahLst/>
                  <a:cxnLst>
                    <a:cxn ang="0">
                      <a:pos x="connsiteX0" y="connsiteY0"/>
                    </a:cxn>
                    <a:cxn ang="0">
                      <a:pos x="connsiteX1" y="connsiteY1"/>
                    </a:cxn>
                    <a:cxn ang="0">
                      <a:pos x="connsiteX2" y="connsiteY2"/>
                    </a:cxn>
                    <a:cxn ang="0">
                      <a:pos x="connsiteX3" y="connsiteY3"/>
                    </a:cxn>
                  </a:cxnLst>
                  <a:rect l="l" t="t" r="r" b="b"/>
                  <a:pathLst>
                    <a:path w="89950" h="103107">
                      <a:moveTo>
                        <a:pt x="89950" y="101134"/>
                      </a:moveTo>
                      <a:lnTo>
                        <a:pt x="87678" y="103108"/>
                      </a:lnTo>
                      <a:lnTo>
                        <a:pt x="0" y="1974"/>
                      </a:lnTo>
                      <a:lnTo>
                        <a:pt x="2273" y="0"/>
                      </a:lnTo>
                      <a:close/>
                    </a:path>
                  </a:pathLst>
                </a:custGeom>
                <a:grpFill/>
                <a:ln w="5978" cap="flat">
                  <a:noFill/>
                  <a:prstDash val="solid"/>
                  <a:miter/>
                </a:ln>
              </p:spPr>
              <p:txBody>
                <a:bodyPr rtlCol="0" anchor="ctr"/>
                <a:lstStyle/>
                <a:p>
                  <a:endParaRPr lang="en-GB"/>
                </a:p>
              </p:txBody>
            </p:sp>
            <p:sp>
              <p:nvSpPr>
                <p:cNvPr id="2872" name="Vrije vorm: vorm 2871">
                  <a:extLst>
                    <a:ext uri="{FF2B5EF4-FFF2-40B4-BE49-F238E27FC236}">
                      <a16:creationId xmlns:a16="http://schemas.microsoft.com/office/drawing/2014/main" id="{453BA271-5B84-46A9-8827-E930CFE65858}"/>
                    </a:ext>
                  </a:extLst>
                </p:cNvPr>
                <p:cNvSpPr/>
                <p:nvPr/>
              </p:nvSpPr>
              <p:spPr>
                <a:xfrm>
                  <a:off x="4770484" y="1936366"/>
                  <a:ext cx="18297" cy="18405"/>
                </a:xfrm>
                <a:custGeom>
                  <a:avLst/>
                  <a:gdLst>
                    <a:gd name="connsiteX0" fmla="*/ 2271 w 18297"/>
                    <a:gd name="connsiteY0" fmla="*/ 15244 h 18405"/>
                    <a:gd name="connsiteX1" fmla="*/ 3108 w 18297"/>
                    <a:gd name="connsiteY1" fmla="*/ 2265 h 18405"/>
                    <a:gd name="connsiteX2" fmla="*/ 16027 w 18297"/>
                    <a:gd name="connsiteY2" fmla="*/ 3162 h 18405"/>
                    <a:gd name="connsiteX3" fmla="*/ 15189 w 18297"/>
                    <a:gd name="connsiteY3" fmla="*/ 16141 h 18405"/>
                    <a:gd name="connsiteX4" fmla="*/ 2271 w 18297"/>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2271" y="15244"/>
                      </a:moveTo>
                      <a:cubicBezTo>
                        <a:pt x="-1078" y="11416"/>
                        <a:pt x="-660" y="5555"/>
                        <a:pt x="3108" y="2265"/>
                      </a:cubicBezTo>
                      <a:cubicBezTo>
                        <a:pt x="6936" y="-1084"/>
                        <a:pt x="12737" y="-665"/>
                        <a:pt x="16027" y="3162"/>
                      </a:cubicBezTo>
                      <a:cubicBezTo>
                        <a:pt x="19376" y="6990"/>
                        <a:pt x="18957" y="12851"/>
                        <a:pt x="15189" y="16141"/>
                      </a:cubicBezTo>
                      <a:cubicBezTo>
                        <a:pt x="11362" y="19490"/>
                        <a:pt x="5560" y="19071"/>
                        <a:pt x="2271" y="15244"/>
                      </a:cubicBezTo>
                      <a:close/>
                    </a:path>
                  </a:pathLst>
                </a:custGeom>
                <a:grpFill/>
                <a:ln w="5978" cap="flat">
                  <a:noFill/>
                  <a:prstDash val="solid"/>
                  <a:miter/>
                </a:ln>
              </p:spPr>
              <p:txBody>
                <a:bodyPr rtlCol="0" anchor="ctr"/>
                <a:lstStyle/>
                <a:p>
                  <a:endParaRPr lang="en-GB"/>
                </a:p>
              </p:txBody>
            </p:sp>
            <p:sp>
              <p:nvSpPr>
                <p:cNvPr id="2873" name="Vrije vorm: vorm 2872">
                  <a:extLst>
                    <a:ext uri="{FF2B5EF4-FFF2-40B4-BE49-F238E27FC236}">
                      <a16:creationId xmlns:a16="http://schemas.microsoft.com/office/drawing/2014/main" id="{AEDC13A8-7CBC-4F42-9725-3C8234B0379B}"/>
                    </a:ext>
                  </a:extLst>
                </p:cNvPr>
                <p:cNvSpPr/>
                <p:nvPr/>
              </p:nvSpPr>
              <p:spPr>
                <a:xfrm>
                  <a:off x="4857543" y="2036842"/>
                  <a:ext cx="18338" cy="18405"/>
                </a:xfrm>
                <a:custGeom>
                  <a:avLst/>
                  <a:gdLst>
                    <a:gd name="connsiteX0" fmla="*/ 2291 w 18338"/>
                    <a:gd name="connsiteY0" fmla="*/ 15244 h 18405"/>
                    <a:gd name="connsiteX1" fmla="*/ 15210 w 18338"/>
                    <a:gd name="connsiteY1" fmla="*/ 16141 h 18405"/>
                    <a:gd name="connsiteX2" fmla="*/ 16047 w 18338"/>
                    <a:gd name="connsiteY2" fmla="*/ 3162 h 18405"/>
                    <a:gd name="connsiteX3" fmla="*/ 3129 w 18338"/>
                    <a:gd name="connsiteY3" fmla="*/ 2265 h 18405"/>
                    <a:gd name="connsiteX4" fmla="*/ 2291 w 18338"/>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5">
                      <a:moveTo>
                        <a:pt x="2291" y="15244"/>
                      </a:moveTo>
                      <a:cubicBezTo>
                        <a:pt x="5641" y="19071"/>
                        <a:pt x="11442" y="19490"/>
                        <a:pt x="15210" y="16141"/>
                      </a:cubicBezTo>
                      <a:cubicBezTo>
                        <a:pt x="19037" y="12791"/>
                        <a:pt x="19396" y="6990"/>
                        <a:pt x="16047" y="3162"/>
                      </a:cubicBezTo>
                      <a:cubicBezTo>
                        <a:pt x="12698" y="-665"/>
                        <a:pt x="6897" y="-1084"/>
                        <a:pt x="3129" y="2265"/>
                      </a:cubicBezTo>
                      <a:cubicBezTo>
                        <a:pt x="-699" y="5555"/>
                        <a:pt x="-1058" y="11356"/>
                        <a:pt x="2291" y="15244"/>
                      </a:cubicBezTo>
                      <a:close/>
                    </a:path>
                  </a:pathLst>
                </a:custGeom>
                <a:grpFill/>
                <a:ln w="5978" cap="flat">
                  <a:noFill/>
                  <a:prstDash val="solid"/>
                  <a:miter/>
                </a:ln>
              </p:spPr>
              <p:txBody>
                <a:bodyPr rtlCol="0" anchor="ctr"/>
                <a:lstStyle/>
                <a:p>
                  <a:endParaRPr lang="en-GB"/>
                </a:p>
              </p:txBody>
            </p:sp>
          </p:grpSp>
          <p:grpSp>
            <p:nvGrpSpPr>
              <p:cNvPr id="843" name="Graphic 3">
                <a:extLst>
                  <a:ext uri="{FF2B5EF4-FFF2-40B4-BE49-F238E27FC236}">
                    <a16:creationId xmlns:a16="http://schemas.microsoft.com/office/drawing/2014/main" id="{F19791AE-9F79-435F-863C-67750E557CD1}"/>
                  </a:ext>
                </a:extLst>
              </p:cNvPr>
              <p:cNvGrpSpPr/>
              <p:nvPr/>
            </p:nvGrpSpPr>
            <p:grpSpPr>
              <a:xfrm>
                <a:off x="5923094" y="5104102"/>
                <a:ext cx="78704" cy="564529"/>
                <a:chOff x="5923094" y="5104102"/>
                <a:chExt cx="78704" cy="564529"/>
              </a:xfrm>
              <a:grpFill/>
            </p:grpSpPr>
            <p:sp>
              <p:nvSpPr>
                <p:cNvPr id="2868" name="Vrije vorm: vorm 2867">
                  <a:extLst>
                    <a:ext uri="{FF2B5EF4-FFF2-40B4-BE49-F238E27FC236}">
                      <a16:creationId xmlns:a16="http://schemas.microsoft.com/office/drawing/2014/main" id="{CBD94947-6597-422F-924D-ACAFB65FE095}"/>
                    </a:ext>
                  </a:extLst>
                </p:cNvPr>
                <p:cNvSpPr/>
                <p:nvPr/>
              </p:nvSpPr>
              <p:spPr>
                <a:xfrm>
                  <a:off x="5930683" y="5112719"/>
                  <a:ext cx="63515" cy="547355"/>
                </a:xfrm>
                <a:custGeom>
                  <a:avLst/>
                  <a:gdLst>
                    <a:gd name="connsiteX0" fmla="*/ 63515 w 63515"/>
                    <a:gd name="connsiteY0" fmla="*/ 299 h 547355"/>
                    <a:gd name="connsiteX1" fmla="*/ 2990 w 63515"/>
                    <a:gd name="connsiteY1" fmla="*/ 547356 h 547355"/>
                    <a:gd name="connsiteX2" fmla="*/ 0 w 63515"/>
                    <a:gd name="connsiteY2" fmla="*/ 546997 h 547355"/>
                    <a:gd name="connsiteX3" fmla="*/ 60465 w 63515"/>
                    <a:gd name="connsiteY3" fmla="*/ 0 h 547355"/>
                  </a:gdLst>
                  <a:ahLst/>
                  <a:cxnLst>
                    <a:cxn ang="0">
                      <a:pos x="connsiteX0" y="connsiteY0"/>
                    </a:cxn>
                    <a:cxn ang="0">
                      <a:pos x="connsiteX1" y="connsiteY1"/>
                    </a:cxn>
                    <a:cxn ang="0">
                      <a:pos x="connsiteX2" y="connsiteY2"/>
                    </a:cxn>
                    <a:cxn ang="0">
                      <a:pos x="connsiteX3" y="connsiteY3"/>
                    </a:cxn>
                  </a:cxnLst>
                  <a:rect l="l" t="t" r="r" b="b"/>
                  <a:pathLst>
                    <a:path w="63515" h="547355">
                      <a:moveTo>
                        <a:pt x="63515" y="299"/>
                      </a:moveTo>
                      <a:lnTo>
                        <a:pt x="2990" y="547356"/>
                      </a:lnTo>
                      <a:lnTo>
                        <a:pt x="0" y="546997"/>
                      </a:lnTo>
                      <a:lnTo>
                        <a:pt x="60465" y="0"/>
                      </a:lnTo>
                      <a:close/>
                    </a:path>
                  </a:pathLst>
                </a:custGeom>
                <a:grpFill/>
                <a:ln w="5978" cap="flat">
                  <a:noFill/>
                  <a:prstDash val="solid"/>
                  <a:miter/>
                </a:ln>
              </p:spPr>
              <p:txBody>
                <a:bodyPr rtlCol="0" anchor="ctr"/>
                <a:lstStyle/>
                <a:p>
                  <a:endParaRPr lang="en-GB"/>
                </a:p>
              </p:txBody>
            </p:sp>
            <p:sp>
              <p:nvSpPr>
                <p:cNvPr id="2869" name="Vrije vorm: vorm 2868">
                  <a:extLst>
                    <a:ext uri="{FF2B5EF4-FFF2-40B4-BE49-F238E27FC236}">
                      <a16:creationId xmlns:a16="http://schemas.microsoft.com/office/drawing/2014/main" id="{D41D59CE-71B9-43D4-ABA9-0E854CEC2665}"/>
                    </a:ext>
                  </a:extLst>
                </p:cNvPr>
                <p:cNvSpPr/>
                <p:nvPr/>
              </p:nvSpPr>
              <p:spPr>
                <a:xfrm>
                  <a:off x="5983488" y="5104102"/>
                  <a:ext cx="18309" cy="18431"/>
                </a:xfrm>
                <a:custGeom>
                  <a:avLst/>
                  <a:gdLst>
                    <a:gd name="connsiteX0" fmla="*/ 64 w 18309"/>
                    <a:gd name="connsiteY0" fmla="*/ 8139 h 18431"/>
                    <a:gd name="connsiteX1" fmla="*/ 10172 w 18309"/>
                    <a:gd name="connsiteY1" fmla="*/ 65 h 18431"/>
                    <a:gd name="connsiteX2" fmla="*/ 18246 w 18309"/>
                    <a:gd name="connsiteY2" fmla="*/ 10292 h 18431"/>
                    <a:gd name="connsiteX3" fmla="*/ 8138 w 18309"/>
                    <a:gd name="connsiteY3" fmla="*/ 18366 h 18431"/>
                    <a:gd name="connsiteX4" fmla="*/ 64 w 18309"/>
                    <a:gd name="connsiteY4" fmla="*/ 813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1">
                      <a:moveTo>
                        <a:pt x="64" y="8139"/>
                      </a:moveTo>
                      <a:cubicBezTo>
                        <a:pt x="602" y="3055"/>
                        <a:pt x="5148" y="-533"/>
                        <a:pt x="10172" y="65"/>
                      </a:cubicBezTo>
                      <a:cubicBezTo>
                        <a:pt x="15195" y="663"/>
                        <a:pt x="18843" y="5209"/>
                        <a:pt x="18246" y="10292"/>
                      </a:cubicBezTo>
                      <a:cubicBezTo>
                        <a:pt x="17707" y="15376"/>
                        <a:pt x="13162" y="18964"/>
                        <a:pt x="8138" y="18366"/>
                      </a:cubicBezTo>
                      <a:cubicBezTo>
                        <a:pt x="3114" y="17768"/>
                        <a:pt x="-534" y="13223"/>
                        <a:pt x="64" y="8139"/>
                      </a:cubicBezTo>
                      <a:close/>
                    </a:path>
                  </a:pathLst>
                </a:custGeom>
                <a:grpFill/>
                <a:ln w="5978" cap="flat">
                  <a:noFill/>
                  <a:prstDash val="solid"/>
                  <a:miter/>
                </a:ln>
              </p:spPr>
              <p:txBody>
                <a:bodyPr rtlCol="0" anchor="ctr"/>
                <a:lstStyle/>
                <a:p>
                  <a:endParaRPr lang="en-GB"/>
                </a:p>
              </p:txBody>
            </p:sp>
            <p:sp>
              <p:nvSpPr>
                <p:cNvPr id="2870" name="Vrije vorm: vorm 2869">
                  <a:extLst>
                    <a:ext uri="{FF2B5EF4-FFF2-40B4-BE49-F238E27FC236}">
                      <a16:creationId xmlns:a16="http://schemas.microsoft.com/office/drawing/2014/main" id="{10DCC119-69BB-4D2D-A4F8-415EB443017F}"/>
                    </a:ext>
                  </a:extLst>
                </p:cNvPr>
                <p:cNvSpPr/>
                <p:nvPr/>
              </p:nvSpPr>
              <p:spPr>
                <a:xfrm>
                  <a:off x="5923094" y="5650202"/>
                  <a:ext cx="18288" cy="18429"/>
                </a:xfrm>
                <a:custGeom>
                  <a:avLst/>
                  <a:gdLst>
                    <a:gd name="connsiteX0" fmla="*/ 53 w 18288"/>
                    <a:gd name="connsiteY0" fmla="*/ 8138 h 18429"/>
                    <a:gd name="connsiteX1" fmla="*/ 8128 w 18288"/>
                    <a:gd name="connsiteY1" fmla="*/ 18365 h 18429"/>
                    <a:gd name="connsiteX2" fmla="*/ 18235 w 18288"/>
                    <a:gd name="connsiteY2" fmla="*/ 10291 h 18429"/>
                    <a:gd name="connsiteX3" fmla="*/ 10161 w 18288"/>
                    <a:gd name="connsiteY3" fmla="*/ 64 h 18429"/>
                    <a:gd name="connsiteX4" fmla="*/ 53 w 18288"/>
                    <a:gd name="connsiteY4" fmla="*/ 813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9">
                      <a:moveTo>
                        <a:pt x="53" y="8138"/>
                      </a:moveTo>
                      <a:cubicBezTo>
                        <a:pt x="-485" y="13222"/>
                        <a:pt x="3104" y="17767"/>
                        <a:pt x="8128" y="18365"/>
                      </a:cubicBezTo>
                      <a:cubicBezTo>
                        <a:pt x="13151" y="18963"/>
                        <a:pt x="17697" y="15315"/>
                        <a:pt x="18235" y="10291"/>
                      </a:cubicBezTo>
                      <a:cubicBezTo>
                        <a:pt x="18773" y="5208"/>
                        <a:pt x="15185" y="662"/>
                        <a:pt x="10161" y="64"/>
                      </a:cubicBezTo>
                      <a:cubicBezTo>
                        <a:pt x="5137" y="-534"/>
                        <a:pt x="592" y="3114"/>
                        <a:pt x="53" y="8138"/>
                      </a:cubicBezTo>
                      <a:close/>
                    </a:path>
                  </a:pathLst>
                </a:custGeom>
                <a:grpFill/>
                <a:ln w="5978" cap="flat">
                  <a:noFill/>
                  <a:prstDash val="solid"/>
                  <a:miter/>
                </a:ln>
              </p:spPr>
              <p:txBody>
                <a:bodyPr rtlCol="0" anchor="ctr"/>
                <a:lstStyle/>
                <a:p>
                  <a:endParaRPr lang="en-GB"/>
                </a:p>
              </p:txBody>
            </p:sp>
          </p:grpSp>
          <p:grpSp>
            <p:nvGrpSpPr>
              <p:cNvPr id="844" name="Graphic 3">
                <a:extLst>
                  <a:ext uri="{FF2B5EF4-FFF2-40B4-BE49-F238E27FC236}">
                    <a16:creationId xmlns:a16="http://schemas.microsoft.com/office/drawing/2014/main" id="{1E896F5D-0311-4CDF-B2EA-EA37E381858B}"/>
                  </a:ext>
                </a:extLst>
              </p:cNvPr>
              <p:cNvGrpSpPr/>
              <p:nvPr/>
            </p:nvGrpSpPr>
            <p:grpSpPr>
              <a:xfrm>
                <a:off x="5935696" y="5275977"/>
                <a:ext cx="25803" cy="154454"/>
                <a:chOff x="5935696" y="5275977"/>
                <a:chExt cx="25803" cy="154454"/>
              </a:xfrm>
              <a:grpFill/>
            </p:grpSpPr>
            <p:sp>
              <p:nvSpPr>
                <p:cNvPr id="2865" name="Vrije vorm: vorm 2864">
                  <a:extLst>
                    <a:ext uri="{FF2B5EF4-FFF2-40B4-BE49-F238E27FC236}">
                      <a16:creationId xmlns:a16="http://schemas.microsoft.com/office/drawing/2014/main" id="{71F9D3A3-18D7-472E-8F99-EDBD7231C619}"/>
                    </a:ext>
                  </a:extLst>
                </p:cNvPr>
                <p:cNvSpPr/>
                <p:nvPr/>
              </p:nvSpPr>
              <p:spPr>
                <a:xfrm>
                  <a:off x="5943302" y="5284606"/>
                  <a:ext cx="10585" cy="137137"/>
                </a:xfrm>
                <a:custGeom>
                  <a:avLst/>
                  <a:gdLst>
                    <a:gd name="connsiteX0" fmla="*/ 10586 w 10585"/>
                    <a:gd name="connsiteY0" fmla="*/ 179 h 137137"/>
                    <a:gd name="connsiteX1" fmla="*/ 3050 w 10585"/>
                    <a:gd name="connsiteY1" fmla="*/ 137138 h 137137"/>
                    <a:gd name="connsiteX2" fmla="*/ 0 w 10585"/>
                    <a:gd name="connsiteY2" fmla="*/ 136958 h 137137"/>
                    <a:gd name="connsiteX3" fmla="*/ 7536 w 10585"/>
                    <a:gd name="connsiteY3" fmla="*/ 0 h 137137"/>
                  </a:gdLst>
                  <a:ahLst/>
                  <a:cxnLst>
                    <a:cxn ang="0">
                      <a:pos x="connsiteX0" y="connsiteY0"/>
                    </a:cxn>
                    <a:cxn ang="0">
                      <a:pos x="connsiteX1" y="connsiteY1"/>
                    </a:cxn>
                    <a:cxn ang="0">
                      <a:pos x="connsiteX2" y="connsiteY2"/>
                    </a:cxn>
                    <a:cxn ang="0">
                      <a:pos x="connsiteX3" y="connsiteY3"/>
                    </a:cxn>
                  </a:cxnLst>
                  <a:rect l="l" t="t" r="r" b="b"/>
                  <a:pathLst>
                    <a:path w="10585" h="137137">
                      <a:moveTo>
                        <a:pt x="10586" y="179"/>
                      </a:moveTo>
                      <a:lnTo>
                        <a:pt x="3050" y="137138"/>
                      </a:lnTo>
                      <a:lnTo>
                        <a:pt x="0" y="136958"/>
                      </a:lnTo>
                      <a:lnTo>
                        <a:pt x="7536" y="0"/>
                      </a:lnTo>
                      <a:close/>
                    </a:path>
                  </a:pathLst>
                </a:custGeom>
                <a:grpFill/>
                <a:ln w="5978" cap="flat">
                  <a:noFill/>
                  <a:prstDash val="solid"/>
                  <a:miter/>
                </a:ln>
              </p:spPr>
              <p:txBody>
                <a:bodyPr rtlCol="0" anchor="ctr"/>
                <a:lstStyle/>
                <a:p>
                  <a:endParaRPr lang="en-GB"/>
                </a:p>
              </p:txBody>
            </p:sp>
            <p:sp>
              <p:nvSpPr>
                <p:cNvPr id="2866" name="Vrije vorm: vorm 2865">
                  <a:extLst>
                    <a:ext uri="{FF2B5EF4-FFF2-40B4-BE49-F238E27FC236}">
                      <a16:creationId xmlns:a16="http://schemas.microsoft.com/office/drawing/2014/main" id="{7DDE3B8B-3B42-4D90-BD16-F98B54D7C328}"/>
                    </a:ext>
                  </a:extLst>
                </p:cNvPr>
                <p:cNvSpPr/>
                <p:nvPr/>
              </p:nvSpPr>
              <p:spPr>
                <a:xfrm>
                  <a:off x="5935696" y="5411979"/>
                  <a:ext cx="18322" cy="18453"/>
                </a:xfrm>
                <a:custGeom>
                  <a:avLst/>
                  <a:gdLst>
                    <a:gd name="connsiteX0" fmla="*/ 18312 w 18322"/>
                    <a:gd name="connsiteY0" fmla="*/ 9765 h 18453"/>
                    <a:gd name="connsiteX1" fmla="*/ 8682 w 18322"/>
                    <a:gd name="connsiteY1" fmla="*/ 18437 h 18453"/>
                    <a:gd name="connsiteX2" fmla="*/ 11 w 18322"/>
                    <a:gd name="connsiteY2" fmla="*/ 8688 h 18453"/>
                    <a:gd name="connsiteX3" fmla="*/ 9640 w 18322"/>
                    <a:gd name="connsiteY3" fmla="*/ 16 h 18453"/>
                    <a:gd name="connsiteX4" fmla="*/ 18312 w 18322"/>
                    <a:gd name="connsiteY4" fmla="*/ 976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8312" y="9765"/>
                      </a:moveTo>
                      <a:cubicBezTo>
                        <a:pt x="18013" y="14848"/>
                        <a:pt x="13706" y="18736"/>
                        <a:pt x="8682" y="18437"/>
                      </a:cubicBezTo>
                      <a:cubicBezTo>
                        <a:pt x="3599" y="18138"/>
                        <a:pt x="-229" y="13772"/>
                        <a:pt x="11" y="8688"/>
                      </a:cubicBezTo>
                      <a:cubicBezTo>
                        <a:pt x="310" y="3604"/>
                        <a:pt x="4616" y="-283"/>
                        <a:pt x="9640" y="16"/>
                      </a:cubicBezTo>
                      <a:cubicBezTo>
                        <a:pt x="14663" y="315"/>
                        <a:pt x="18551" y="4681"/>
                        <a:pt x="18312" y="9765"/>
                      </a:cubicBezTo>
                      <a:close/>
                    </a:path>
                  </a:pathLst>
                </a:custGeom>
                <a:grpFill/>
                <a:ln w="5978" cap="flat">
                  <a:noFill/>
                  <a:prstDash val="solid"/>
                  <a:miter/>
                </a:ln>
              </p:spPr>
              <p:txBody>
                <a:bodyPr rtlCol="0" anchor="ctr"/>
                <a:lstStyle/>
                <a:p>
                  <a:endParaRPr lang="en-GB"/>
                </a:p>
              </p:txBody>
            </p:sp>
            <p:sp>
              <p:nvSpPr>
                <p:cNvPr id="2867" name="Vrije vorm: vorm 2866">
                  <a:extLst>
                    <a:ext uri="{FF2B5EF4-FFF2-40B4-BE49-F238E27FC236}">
                      <a16:creationId xmlns:a16="http://schemas.microsoft.com/office/drawing/2014/main" id="{323E767E-1CDB-410F-823A-E5D2199B074F}"/>
                    </a:ext>
                  </a:extLst>
                </p:cNvPr>
                <p:cNvSpPr/>
                <p:nvPr/>
              </p:nvSpPr>
              <p:spPr>
                <a:xfrm>
                  <a:off x="5943166" y="5275977"/>
                  <a:ext cx="18333" cy="18447"/>
                </a:xfrm>
                <a:custGeom>
                  <a:avLst/>
                  <a:gdLst>
                    <a:gd name="connsiteX0" fmla="*/ 18317 w 18333"/>
                    <a:gd name="connsiteY0" fmla="*/ 9765 h 18447"/>
                    <a:gd name="connsiteX1" fmla="*/ 9645 w 18333"/>
                    <a:gd name="connsiteY1" fmla="*/ 16 h 18447"/>
                    <a:gd name="connsiteX2" fmla="*/ 16 w 18333"/>
                    <a:gd name="connsiteY2" fmla="*/ 8688 h 18447"/>
                    <a:gd name="connsiteX3" fmla="*/ 8688 w 18333"/>
                    <a:gd name="connsiteY3" fmla="*/ 18437 h 18447"/>
                    <a:gd name="connsiteX4" fmla="*/ 18317 w 18333"/>
                    <a:gd name="connsiteY4" fmla="*/ 9765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9765"/>
                      </a:moveTo>
                      <a:cubicBezTo>
                        <a:pt x="18616" y="4681"/>
                        <a:pt x="14729" y="315"/>
                        <a:pt x="9645" y="16"/>
                      </a:cubicBezTo>
                      <a:cubicBezTo>
                        <a:pt x="4621" y="-283"/>
                        <a:pt x="255" y="3604"/>
                        <a:pt x="16" y="8688"/>
                      </a:cubicBezTo>
                      <a:cubicBezTo>
                        <a:pt x="-283" y="13772"/>
                        <a:pt x="3604" y="18138"/>
                        <a:pt x="8688" y="18437"/>
                      </a:cubicBezTo>
                      <a:cubicBezTo>
                        <a:pt x="13712" y="18676"/>
                        <a:pt x="18018" y="14788"/>
                        <a:pt x="18317" y="9765"/>
                      </a:cubicBezTo>
                      <a:close/>
                    </a:path>
                  </a:pathLst>
                </a:custGeom>
                <a:grpFill/>
                <a:ln w="5978" cap="flat">
                  <a:noFill/>
                  <a:prstDash val="solid"/>
                  <a:miter/>
                </a:ln>
              </p:spPr>
              <p:txBody>
                <a:bodyPr rtlCol="0" anchor="ctr"/>
                <a:lstStyle/>
                <a:p>
                  <a:endParaRPr lang="en-GB"/>
                </a:p>
              </p:txBody>
            </p:sp>
          </p:grpSp>
          <p:grpSp>
            <p:nvGrpSpPr>
              <p:cNvPr id="845" name="Graphic 3">
                <a:extLst>
                  <a:ext uri="{FF2B5EF4-FFF2-40B4-BE49-F238E27FC236}">
                    <a16:creationId xmlns:a16="http://schemas.microsoft.com/office/drawing/2014/main" id="{3B2AE282-FE96-4D53-BD8C-CBC4918D7751}"/>
                  </a:ext>
                </a:extLst>
              </p:cNvPr>
              <p:cNvGrpSpPr/>
              <p:nvPr/>
            </p:nvGrpSpPr>
            <p:grpSpPr>
              <a:xfrm>
                <a:off x="5876516" y="5093899"/>
                <a:ext cx="32079" cy="167254"/>
                <a:chOff x="5876516" y="5093899"/>
                <a:chExt cx="32079" cy="167254"/>
              </a:xfrm>
              <a:grpFill/>
            </p:grpSpPr>
            <p:sp>
              <p:nvSpPr>
                <p:cNvPr id="2862" name="Vrije vorm: vorm 2861">
                  <a:extLst>
                    <a:ext uri="{FF2B5EF4-FFF2-40B4-BE49-F238E27FC236}">
                      <a16:creationId xmlns:a16="http://schemas.microsoft.com/office/drawing/2014/main" id="{76984F69-CF66-4FCC-841C-726D9535DB5A}"/>
                    </a:ext>
                  </a:extLst>
                </p:cNvPr>
                <p:cNvSpPr/>
                <p:nvPr/>
              </p:nvSpPr>
              <p:spPr>
                <a:xfrm>
                  <a:off x="5884093" y="5102493"/>
                  <a:ext cx="16865" cy="150056"/>
                </a:xfrm>
                <a:custGeom>
                  <a:avLst/>
                  <a:gdLst>
                    <a:gd name="connsiteX0" fmla="*/ 16866 w 16865"/>
                    <a:gd name="connsiteY0" fmla="*/ 299 h 150056"/>
                    <a:gd name="connsiteX1" fmla="*/ 3050 w 16865"/>
                    <a:gd name="connsiteY1" fmla="*/ 150056 h 150056"/>
                    <a:gd name="connsiteX2" fmla="*/ 0 w 16865"/>
                    <a:gd name="connsiteY2" fmla="*/ 149757 h 150056"/>
                    <a:gd name="connsiteX3" fmla="*/ 13815 w 16865"/>
                    <a:gd name="connsiteY3" fmla="*/ 0 h 150056"/>
                  </a:gdLst>
                  <a:ahLst/>
                  <a:cxnLst>
                    <a:cxn ang="0">
                      <a:pos x="connsiteX0" y="connsiteY0"/>
                    </a:cxn>
                    <a:cxn ang="0">
                      <a:pos x="connsiteX1" y="connsiteY1"/>
                    </a:cxn>
                    <a:cxn ang="0">
                      <a:pos x="connsiteX2" y="connsiteY2"/>
                    </a:cxn>
                    <a:cxn ang="0">
                      <a:pos x="connsiteX3" y="connsiteY3"/>
                    </a:cxn>
                  </a:cxnLst>
                  <a:rect l="l" t="t" r="r" b="b"/>
                  <a:pathLst>
                    <a:path w="16865" h="150056">
                      <a:moveTo>
                        <a:pt x="16866" y="299"/>
                      </a:moveTo>
                      <a:lnTo>
                        <a:pt x="3050" y="150056"/>
                      </a:lnTo>
                      <a:lnTo>
                        <a:pt x="0" y="149757"/>
                      </a:lnTo>
                      <a:lnTo>
                        <a:pt x="13815" y="0"/>
                      </a:lnTo>
                      <a:close/>
                    </a:path>
                  </a:pathLst>
                </a:custGeom>
                <a:grpFill/>
                <a:ln w="5978" cap="flat">
                  <a:noFill/>
                  <a:prstDash val="solid"/>
                  <a:miter/>
                </a:ln>
              </p:spPr>
              <p:txBody>
                <a:bodyPr rtlCol="0" anchor="ctr"/>
                <a:lstStyle/>
                <a:p>
                  <a:endParaRPr lang="en-GB"/>
                </a:p>
              </p:txBody>
            </p:sp>
            <p:sp>
              <p:nvSpPr>
                <p:cNvPr id="2863" name="Vrije vorm: vorm 2862">
                  <a:extLst>
                    <a:ext uri="{FF2B5EF4-FFF2-40B4-BE49-F238E27FC236}">
                      <a16:creationId xmlns:a16="http://schemas.microsoft.com/office/drawing/2014/main" id="{2954E2D6-C334-4335-81CD-6FE931339FBD}"/>
                    </a:ext>
                  </a:extLst>
                </p:cNvPr>
                <p:cNvSpPr/>
                <p:nvPr/>
              </p:nvSpPr>
              <p:spPr>
                <a:xfrm>
                  <a:off x="5876516" y="5242748"/>
                  <a:ext cx="18324" cy="18405"/>
                </a:xfrm>
                <a:custGeom>
                  <a:avLst/>
                  <a:gdLst>
                    <a:gd name="connsiteX0" fmla="*/ 18283 w 18324"/>
                    <a:gd name="connsiteY0" fmla="*/ 10100 h 18405"/>
                    <a:gd name="connsiteX1" fmla="*/ 8295 w 18324"/>
                    <a:gd name="connsiteY1" fmla="*/ 18353 h 18405"/>
                    <a:gd name="connsiteX2" fmla="*/ 42 w 18324"/>
                    <a:gd name="connsiteY2" fmla="*/ 8305 h 18405"/>
                    <a:gd name="connsiteX3" fmla="*/ 10029 w 18324"/>
                    <a:gd name="connsiteY3" fmla="*/ 52 h 18405"/>
                    <a:gd name="connsiteX4" fmla="*/ 18283 w 18324"/>
                    <a:gd name="connsiteY4" fmla="*/ 10100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05">
                      <a:moveTo>
                        <a:pt x="18283" y="10100"/>
                      </a:moveTo>
                      <a:cubicBezTo>
                        <a:pt x="17804" y="15183"/>
                        <a:pt x="13378" y="18891"/>
                        <a:pt x="8295" y="18353"/>
                      </a:cubicBezTo>
                      <a:cubicBezTo>
                        <a:pt x="3271" y="17875"/>
                        <a:pt x="-437" y="13389"/>
                        <a:pt x="42" y="8305"/>
                      </a:cubicBezTo>
                      <a:cubicBezTo>
                        <a:pt x="520" y="3222"/>
                        <a:pt x="4946" y="-486"/>
                        <a:pt x="10029" y="52"/>
                      </a:cubicBezTo>
                      <a:cubicBezTo>
                        <a:pt x="15053" y="530"/>
                        <a:pt x="18761" y="5016"/>
                        <a:pt x="18283" y="10100"/>
                      </a:cubicBezTo>
                      <a:close/>
                    </a:path>
                  </a:pathLst>
                </a:custGeom>
                <a:grpFill/>
                <a:ln w="5978" cap="flat">
                  <a:noFill/>
                  <a:prstDash val="solid"/>
                  <a:miter/>
                </a:ln>
              </p:spPr>
              <p:txBody>
                <a:bodyPr rtlCol="0" anchor="ctr"/>
                <a:lstStyle/>
                <a:p>
                  <a:endParaRPr lang="en-GB"/>
                </a:p>
              </p:txBody>
            </p:sp>
            <p:sp>
              <p:nvSpPr>
                <p:cNvPr id="2864" name="Vrije vorm: vorm 2863">
                  <a:extLst>
                    <a:ext uri="{FF2B5EF4-FFF2-40B4-BE49-F238E27FC236}">
                      <a16:creationId xmlns:a16="http://schemas.microsoft.com/office/drawing/2014/main" id="{CE1045ED-5297-4CF4-87CF-FFC074D0C64D}"/>
                    </a:ext>
                  </a:extLst>
                </p:cNvPr>
                <p:cNvSpPr/>
                <p:nvPr/>
              </p:nvSpPr>
              <p:spPr>
                <a:xfrm>
                  <a:off x="5890271" y="5093899"/>
                  <a:ext cx="18324" cy="18394"/>
                </a:xfrm>
                <a:custGeom>
                  <a:avLst/>
                  <a:gdLst>
                    <a:gd name="connsiteX0" fmla="*/ 18283 w 18324"/>
                    <a:gd name="connsiteY0" fmla="*/ 10089 h 18394"/>
                    <a:gd name="connsiteX1" fmla="*/ 10029 w 18324"/>
                    <a:gd name="connsiteY1" fmla="*/ 42 h 18394"/>
                    <a:gd name="connsiteX2" fmla="*/ 42 w 18324"/>
                    <a:gd name="connsiteY2" fmla="*/ 8295 h 18394"/>
                    <a:gd name="connsiteX3" fmla="*/ 8295 w 18324"/>
                    <a:gd name="connsiteY3" fmla="*/ 18343 h 18394"/>
                    <a:gd name="connsiteX4" fmla="*/ 18283 w 18324"/>
                    <a:gd name="connsiteY4" fmla="*/ 1008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4">
                      <a:moveTo>
                        <a:pt x="18283" y="10089"/>
                      </a:moveTo>
                      <a:cubicBezTo>
                        <a:pt x="18761" y="5005"/>
                        <a:pt x="15053" y="520"/>
                        <a:pt x="10029" y="42"/>
                      </a:cubicBezTo>
                      <a:cubicBezTo>
                        <a:pt x="5006" y="-437"/>
                        <a:pt x="520" y="3271"/>
                        <a:pt x="42" y="8295"/>
                      </a:cubicBezTo>
                      <a:cubicBezTo>
                        <a:pt x="-437" y="13378"/>
                        <a:pt x="3271" y="17864"/>
                        <a:pt x="8295" y="18343"/>
                      </a:cubicBezTo>
                      <a:cubicBezTo>
                        <a:pt x="13319" y="18881"/>
                        <a:pt x="17805" y="15173"/>
                        <a:pt x="18283" y="10089"/>
                      </a:cubicBezTo>
                      <a:close/>
                    </a:path>
                  </a:pathLst>
                </a:custGeom>
                <a:grpFill/>
                <a:ln w="5978" cap="flat">
                  <a:noFill/>
                  <a:prstDash val="solid"/>
                  <a:miter/>
                </a:ln>
              </p:spPr>
              <p:txBody>
                <a:bodyPr rtlCol="0" anchor="ctr"/>
                <a:lstStyle/>
                <a:p>
                  <a:endParaRPr lang="en-GB"/>
                </a:p>
              </p:txBody>
            </p:sp>
          </p:grpSp>
          <p:grpSp>
            <p:nvGrpSpPr>
              <p:cNvPr id="846" name="Graphic 3">
                <a:extLst>
                  <a:ext uri="{FF2B5EF4-FFF2-40B4-BE49-F238E27FC236}">
                    <a16:creationId xmlns:a16="http://schemas.microsoft.com/office/drawing/2014/main" id="{554BA71A-593A-46BF-969E-8776699E7A0D}"/>
                  </a:ext>
                </a:extLst>
              </p:cNvPr>
              <p:cNvGrpSpPr/>
              <p:nvPr/>
            </p:nvGrpSpPr>
            <p:grpSpPr>
              <a:xfrm>
                <a:off x="5852630" y="5082931"/>
                <a:ext cx="25535" cy="83320"/>
                <a:chOff x="5852630" y="5082931"/>
                <a:chExt cx="25535" cy="83320"/>
              </a:xfrm>
              <a:grpFill/>
            </p:grpSpPr>
            <p:sp>
              <p:nvSpPr>
                <p:cNvPr id="2859" name="Vrije vorm: vorm 2858">
                  <a:extLst>
                    <a:ext uri="{FF2B5EF4-FFF2-40B4-BE49-F238E27FC236}">
                      <a16:creationId xmlns:a16="http://schemas.microsoft.com/office/drawing/2014/main" id="{32F9A27A-8ED9-4EF3-8F7E-22BC4B02B1D9}"/>
                    </a:ext>
                  </a:extLst>
                </p:cNvPr>
                <p:cNvSpPr/>
                <p:nvPr/>
              </p:nvSpPr>
              <p:spPr>
                <a:xfrm>
                  <a:off x="5860230" y="5091548"/>
                  <a:ext cx="10346" cy="66146"/>
                </a:xfrm>
                <a:custGeom>
                  <a:avLst/>
                  <a:gdLst>
                    <a:gd name="connsiteX0" fmla="*/ 10347 w 10346"/>
                    <a:gd name="connsiteY0" fmla="*/ 359 h 66146"/>
                    <a:gd name="connsiteX1" fmla="*/ 3050 w 10346"/>
                    <a:gd name="connsiteY1" fmla="*/ 66147 h 66146"/>
                    <a:gd name="connsiteX2" fmla="*/ 0 w 10346"/>
                    <a:gd name="connsiteY2" fmla="*/ 65788 h 66146"/>
                    <a:gd name="connsiteX3" fmla="*/ 7296 w 10346"/>
                    <a:gd name="connsiteY3" fmla="*/ 0 h 66146"/>
                  </a:gdLst>
                  <a:ahLst/>
                  <a:cxnLst>
                    <a:cxn ang="0">
                      <a:pos x="connsiteX0" y="connsiteY0"/>
                    </a:cxn>
                    <a:cxn ang="0">
                      <a:pos x="connsiteX1" y="connsiteY1"/>
                    </a:cxn>
                    <a:cxn ang="0">
                      <a:pos x="connsiteX2" y="connsiteY2"/>
                    </a:cxn>
                    <a:cxn ang="0">
                      <a:pos x="connsiteX3" y="connsiteY3"/>
                    </a:cxn>
                  </a:cxnLst>
                  <a:rect l="l" t="t" r="r" b="b"/>
                  <a:pathLst>
                    <a:path w="10346" h="66146">
                      <a:moveTo>
                        <a:pt x="10347" y="359"/>
                      </a:moveTo>
                      <a:lnTo>
                        <a:pt x="3050" y="66147"/>
                      </a:lnTo>
                      <a:lnTo>
                        <a:pt x="0" y="65788"/>
                      </a:lnTo>
                      <a:lnTo>
                        <a:pt x="7296" y="0"/>
                      </a:lnTo>
                      <a:close/>
                    </a:path>
                  </a:pathLst>
                </a:custGeom>
                <a:grpFill/>
                <a:ln w="5978" cap="flat">
                  <a:noFill/>
                  <a:prstDash val="solid"/>
                  <a:miter/>
                </a:ln>
              </p:spPr>
              <p:txBody>
                <a:bodyPr rtlCol="0" anchor="ctr"/>
                <a:lstStyle/>
                <a:p>
                  <a:endParaRPr lang="en-GB"/>
                </a:p>
              </p:txBody>
            </p:sp>
            <p:sp>
              <p:nvSpPr>
                <p:cNvPr id="2860" name="Vrije vorm: vorm 2859">
                  <a:extLst>
                    <a:ext uri="{FF2B5EF4-FFF2-40B4-BE49-F238E27FC236}">
                      <a16:creationId xmlns:a16="http://schemas.microsoft.com/office/drawing/2014/main" id="{49731F6C-885C-49A5-BB01-0AFA7869CB43}"/>
                    </a:ext>
                  </a:extLst>
                </p:cNvPr>
                <p:cNvSpPr/>
                <p:nvPr/>
              </p:nvSpPr>
              <p:spPr>
                <a:xfrm>
                  <a:off x="5852630" y="5147822"/>
                  <a:ext cx="18309" cy="18430"/>
                </a:xfrm>
                <a:custGeom>
                  <a:avLst/>
                  <a:gdLst>
                    <a:gd name="connsiteX0" fmla="*/ 18246 w 18309"/>
                    <a:gd name="connsiteY0" fmla="*/ 10291 h 18430"/>
                    <a:gd name="connsiteX1" fmla="*/ 8138 w 18309"/>
                    <a:gd name="connsiteY1" fmla="*/ 18365 h 18430"/>
                    <a:gd name="connsiteX2" fmla="*/ 64 w 18309"/>
                    <a:gd name="connsiteY2" fmla="*/ 8138 h 18430"/>
                    <a:gd name="connsiteX3" fmla="*/ 10172 w 18309"/>
                    <a:gd name="connsiteY3" fmla="*/ 64 h 18430"/>
                    <a:gd name="connsiteX4" fmla="*/ 18246 w 18309"/>
                    <a:gd name="connsiteY4" fmla="*/ 1029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0">
                      <a:moveTo>
                        <a:pt x="18246" y="10291"/>
                      </a:moveTo>
                      <a:cubicBezTo>
                        <a:pt x="17707" y="15375"/>
                        <a:pt x="13162" y="18963"/>
                        <a:pt x="8138" y="18365"/>
                      </a:cubicBezTo>
                      <a:cubicBezTo>
                        <a:pt x="3114" y="17767"/>
                        <a:pt x="-534" y="13222"/>
                        <a:pt x="64" y="8138"/>
                      </a:cubicBezTo>
                      <a:cubicBezTo>
                        <a:pt x="602" y="3114"/>
                        <a:pt x="5148" y="-534"/>
                        <a:pt x="10172" y="64"/>
                      </a:cubicBezTo>
                      <a:cubicBezTo>
                        <a:pt x="15195" y="662"/>
                        <a:pt x="18844" y="5208"/>
                        <a:pt x="18246" y="10291"/>
                      </a:cubicBezTo>
                      <a:close/>
                    </a:path>
                  </a:pathLst>
                </a:custGeom>
                <a:grpFill/>
                <a:ln w="5978" cap="flat">
                  <a:noFill/>
                  <a:prstDash val="solid"/>
                  <a:miter/>
                </a:ln>
              </p:spPr>
              <p:txBody>
                <a:bodyPr rtlCol="0" anchor="ctr"/>
                <a:lstStyle/>
                <a:p>
                  <a:endParaRPr lang="en-GB"/>
                </a:p>
              </p:txBody>
            </p:sp>
            <p:sp>
              <p:nvSpPr>
                <p:cNvPr id="2861" name="Vrije vorm: vorm 2860">
                  <a:extLst>
                    <a:ext uri="{FF2B5EF4-FFF2-40B4-BE49-F238E27FC236}">
                      <a16:creationId xmlns:a16="http://schemas.microsoft.com/office/drawing/2014/main" id="{19525122-6EF9-4DCF-A16B-E21893E96951}"/>
                    </a:ext>
                  </a:extLst>
                </p:cNvPr>
                <p:cNvSpPr/>
                <p:nvPr/>
              </p:nvSpPr>
              <p:spPr>
                <a:xfrm>
                  <a:off x="5859877" y="5082931"/>
                  <a:ext cx="18288" cy="18430"/>
                </a:xfrm>
                <a:custGeom>
                  <a:avLst/>
                  <a:gdLst>
                    <a:gd name="connsiteX0" fmla="*/ 18235 w 18288"/>
                    <a:gd name="connsiteY0" fmla="*/ 10291 h 18430"/>
                    <a:gd name="connsiteX1" fmla="*/ 10161 w 18288"/>
                    <a:gd name="connsiteY1" fmla="*/ 64 h 18430"/>
                    <a:gd name="connsiteX2" fmla="*/ 53 w 18288"/>
                    <a:gd name="connsiteY2" fmla="*/ 8138 h 18430"/>
                    <a:gd name="connsiteX3" fmla="*/ 8128 w 18288"/>
                    <a:gd name="connsiteY3" fmla="*/ 18365 h 18430"/>
                    <a:gd name="connsiteX4" fmla="*/ 18235 w 18288"/>
                    <a:gd name="connsiteY4" fmla="*/ 1029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30">
                      <a:moveTo>
                        <a:pt x="18235" y="10291"/>
                      </a:moveTo>
                      <a:cubicBezTo>
                        <a:pt x="18773" y="5208"/>
                        <a:pt x="15185" y="662"/>
                        <a:pt x="10161" y="64"/>
                      </a:cubicBezTo>
                      <a:cubicBezTo>
                        <a:pt x="5137" y="-534"/>
                        <a:pt x="592" y="3114"/>
                        <a:pt x="53" y="8138"/>
                      </a:cubicBezTo>
                      <a:cubicBezTo>
                        <a:pt x="-485" y="13162"/>
                        <a:pt x="3104" y="17767"/>
                        <a:pt x="8128" y="18365"/>
                      </a:cubicBezTo>
                      <a:cubicBezTo>
                        <a:pt x="13151" y="18963"/>
                        <a:pt x="17637" y="15375"/>
                        <a:pt x="18235" y="10291"/>
                      </a:cubicBezTo>
                      <a:close/>
                    </a:path>
                  </a:pathLst>
                </a:custGeom>
                <a:grpFill/>
                <a:ln w="5978" cap="flat">
                  <a:noFill/>
                  <a:prstDash val="solid"/>
                  <a:miter/>
                </a:ln>
              </p:spPr>
              <p:txBody>
                <a:bodyPr rtlCol="0" anchor="ctr"/>
                <a:lstStyle/>
                <a:p>
                  <a:endParaRPr lang="en-GB"/>
                </a:p>
              </p:txBody>
            </p:sp>
          </p:grpSp>
          <p:grpSp>
            <p:nvGrpSpPr>
              <p:cNvPr id="847" name="Graphic 3">
                <a:extLst>
                  <a:ext uri="{FF2B5EF4-FFF2-40B4-BE49-F238E27FC236}">
                    <a16:creationId xmlns:a16="http://schemas.microsoft.com/office/drawing/2014/main" id="{09BB2B7D-F92B-42F2-B61E-9174007F2813}"/>
                  </a:ext>
                </a:extLst>
              </p:cNvPr>
              <p:cNvGrpSpPr/>
              <p:nvPr/>
            </p:nvGrpSpPr>
            <p:grpSpPr>
              <a:xfrm>
                <a:off x="6005260" y="5455711"/>
                <a:ext cx="22432" cy="250417"/>
                <a:chOff x="6005260" y="5455711"/>
                <a:chExt cx="22432" cy="250417"/>
              </a:xfrm>
              <a:grpFill/>
            </p:grpSpPr>
            <p:sp>
              <p:nvSpPr>
                <p:cNvPr id="2856" name="Vrije vorm: vorm 2855">
                  <a:extLst>
                    <a:ext uri="{FF2B5EF4-FFF2-40B4-BE49-F238E27FC236}">
                      <a16:creationId xmlns:a16="http://schemas.microsoft.com/office/drawing/2014/main" id="{7E60FE5B-CFB6-4C87-A043-C8A0207A03D7}"/>
                    </a:ext>
                  </a:extLst>
                </p:cNvPr>
                <p:cNvSpPr/>
                <p:nvPr/>
              </p:nvSpPr>
              <p:spPr>
                <a:xfrm>
                  <a:off x="6012858" y="5464386"/>
                  <a:ext cx="7176" cy="233008"/>
                </a:xfrm>
                <a:custGeom>
                  <a:avLst/>
                  <a:gdLst>
                    <a:gd name="connsiteX0" fmla="*/ 7177 w 7176"/>
                    <a:gd name="connsiteY0" fmla="*/ 119 h 233008"/>
                    <a:gd name="connsiteX1" fmla="*/ 3050 w 7176"/>
                    <a:gd name="connsiteY1" fmla="*/ 233009 h 233008"/>
                    <a:gd name="connsiteX2" fmla="*/ 0 w 7176"/>
                    <a:gd name="connsiteY2" fmla="*/ 232949 h 233008"/>
                    <a:gd name="connsiteX3" fmla="*/ 4127 w 7176"/>
                    <a:gd name="connsiteY3" fmla="*/ 0 h 233008"/>
                  </a:gdLst>
                  <a:ahLst/>
                  <a:cxnLst>
                    <a:cxn ang="0">
                      <a:pos x="connsiteX0" y="connsiteY0"/>
                    </a:cxn>
                    <a:cxn ang="0">
                      <a:pos x="connsiteX1" y="connsiteY1"/>
                    </a:cxn>
                    <a:cxn ang="0">
                      <a:pos x="connsiteX2" y="connsiteY2"/>
                    </a:cxn>
                    <a:cxn ang="0">
                      <a:pos x="connsiteX3" y="connsiteY3"/>
                    </a:cxn>
                  </a:cxnLst>
                  <a:rect l="l" t="t" r="r" b="b"/>
                  <a:pathLst>
                    <a:path w="7176" h="233008">
                      <a:moveTo>
                        <a:pt x="7177" y="119"/>
                      </a:moveTo>
                      <a:lnTo>
                        <a:pt x="3050" y="233009"/>
                      </a:lnTo>
                      <a:lnTo>
                        <a:pt x="0" y="232949"/>
                      </a:lnTo>
                      <a:lnTo>
                        <a:pt x="4127" y="0"/>
                      </a:lnTo>
                      <a:close/>
                    </a:path>
                  </a:pathLst>
                </a:custGeom>
                <a:grpFill/>
                <a:ln w="5978" cap="flat">
                  <a:noFill/>
                  <a:prstDash val="solid"/>
                  <a:miter/>
                </a:ln>
              </p:spPr>
              <p:txBody>
                <a:bodyPr rtlCol="0" anchor="ctr"/>
                <a:lstStyle/>
                <a:p>
                  <a:endParaRPr lang="en-GB"/>
                </a:p>
              </p:txBody>
            </p:sp>
            <p:sp>
              <p:nvSpPr>
                <p:cNvPr id="2857" name="Vrije vorm: vorm 2856">
                  <a:extLst>
                    <a:ext uri="{FF2B5EF4-FFF2-40B4-BE49-F238E27FC236}">
                      <a16:creationId xmlns:a16="http://schemas.microsoft.com/office/drawing/2014/main" id="{B4844384-6F6E-464E-BC27-3A4DAB188695}"/>
                    </a:ext>
                  </a:extLst>
                </p:cNvPr>
                <p:cNvSpPr/>
                <p:nvPr/>
              </p:nvSpPr>
              <p:spPr>
                <a:xfrm>
                  <a:off x="6005260" y="5687703"/>
                  <a:ext cx="18304" cy="18425"/>
                </a:xfrm>
                <a:custGeom>
                  <a:avLst/>
                  <a:gdLst>
                    <a:gd name="connsiteX0" fmla="*/ 18304 w 18304"/>
                    <a:gd name="connsiteY0" fmla="*/ 9392 h 18425"/>
                    <a:gd name="connsiteX1" fmla="*/ 8974 w 18304"/>
                    <a:gd name="connsiteY1" fmla="*/ 18423 h 18425"/>
                    <a:gd name="connsiteX2" fmla="*/ 3 w 18304"/>
                    <a:gd name="connsiteY2" fmla="*/ 9034 h 18425"/>
                    <a:gd name="connsiteX3" fmla="*/ 9333 w 18304"/>
                    <a:gd name="connsiteY3" fmla="*/ 3 h 18425"/>
                    <a:gd name="connsiteX4" fmla="*/ 18304 w 18304"/>
                    <a:gd name="connsiteY4" fmla="*/ 939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18304" y="9392"/>
                      </a:moveTo>
                      <a:cubicBezTo>
                        <a:pt x="18184" y="14476"/>
                        <a:pt x="14057" y="18543"/>
                        <a:pt x="8974" y="18423"/>
                      </a:cubicBezTo>
                      <a:cubicBezTo>
                        <a:pt x="3890" y="18304"/>
                        <a:pt x="-117" y="14117"/>
                        <a:pt x="3" y="9034"/>
                      </a:cubicBezTo>
                      <a:cubicBezTo>
                        <a:pt x="122" y="3950"/>
                        <a:pt x="4249" y="-117"/>
                        <a:pt x="9333" y="3"/>
                      </a:cubicBezTo>
                      <a:cubicBezTo>
                        <a:pt x="14356" y="122"/>
                        <a:pt x="18363" y="4309"/>
                        <a:pt x="18304" y="9392"/>
                      </a:cubicBezTo>
                      <a:close/>
                    </a:path>
                  </a:pathLst>
                </a:custGeom>
                <a:grpFill/>
                <a:ln w="5978" cap="flat">
                  <a:noFill/>
                  <a:prstDash val="solid"/>
                  <a:miter/>
                </a:ln>
              </p:spPr>
              <p:txBody>
                <a:bodyPr rtlCol="0" anchor="ctr"/>
                <a:lstStyle/>
                <a:p>
                  <a:endParaRPr lang="en-GB"/>
                </a:p>
              </p:txBody>
            </p:sp>
            <p:sp>
              <p:nvSpPr>
                <p:cNvPr id="2858" name="Vrije vorm: vorm 2857">
                  <a:extLst>
                    <a:ext uri="{FF2B5EF4-FFF2-40B4-BE49-F238E27FC236}">
                      <a16:creationId xmlns:a16="http://schemas.microsoft.com/office/drawing/2014/main" id="{81873B80-2237-474E-A8EE-F194FC38467C}"/>
                    </a:ext>
                  </a:extLst>
                </p:cNvPr>
                <p:cNvSpPr/>
                <p:nvPr/>
              </p:nvSpPr>
              <p:spPr>
                <a:xfrm>
                  <a:off x="6009387" y="5455711"/>
                  <a:ext cx="18306" cy="18425"/>
                </a:xfrm>
                <a:custGeom>
                  <a:avLst/>
                  <a:gdLst>
                    <a:gd name="connsiteX0" fmla="*/ 18304 w 18306"/>
                    <a:gd name="connsiteY0" fmla="*/ 9392 h 18425"/>
                    <a:gd name="connsiteX1" fmla="*/ 9332 w 18306"/>
                    <a:gd name="connsiteY1" fmla="*/ 3 h 18425"/>
                    <a:gd name="connsiteX2" fmla="*/ 3 w 18306"/>
                    <a:gd name="connsiteY2" fmla="*/ 9034 h 18425"/>
                    <a:gd name="connsiteX3" fmla="*/ 8974 w 18306"/>
                    <a:gd name="connsiteY3" fmla="*/ 18423 h 18425"/>
                    <a:gd name="connsiteX4" fmla="*/ 18304 w 18306"/>
                    <a:gd name="connsiteY4" fmla="*/ 939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5">
                      <a:moveTo>
                        <a:pt x="18304" y="9392"/>
                      </a:moveTo>
                      <a:cubicBezTo>
                        <a:pt x="18423" y="4309"/>
                        <a:pt x="14356" y="62"/>
                        <a:pt x="9332" y="3"/>
                      </a:cubicBezTo>
                      <a:cubicBezTo>
                        <a:pt x="4249" y="-117"/>
                        <a:pt x="122" y="3950"/>
                        <a:pt x="3" y="9034"/>
                      </a:cubicBezTo>
                      <a:cubicBezTo>
                        <a:pt x="-117" y="14117"/>
                        <a:pt x="3950" y="18363"/>
                        <a:pt x="8974" y="18423"/>
                      </a:cubicBezTo>
                      <a:cubicBezTo>
                        <a:pt x="14057" y="18543"/>
                        <a:pt x="18184" y="14476"/>
                        <a:pt x="18304" y="9392"/>
                      </a:cubicBezTo>
                      <a:close/>
                    </a:path>
                  </a:pathLst>
                </a:custGeom>
                <a:grpFill/>
                <a:ln w="5978" cap="flat">
                  <a:noFill/>
                  <a:prstDash val="solid"/>
                  <a:miter/>
                </a:ln>
              </p:spPr>
              <p:txBody>
                <a:bodyPr rtlCol="0" anchor="ctr"/>
                <a:lstStyle/>
                <a:p>
                  <a:endParaRPr lang="en-GB"/>
                </a:p>
              </p:txBody>
            </p:sp>
          </p:grpSp>
          <p:grpSp>
            <p:nvGrpSpPr>
              <p:cNvPr id="848" name="Graphic 3">
                <a:extLst>
                  <a:ext uri="{FF2B5EF4-FFF2-40B4-BE49-F238E27FC236}">
                    <a16:creationId xmlns:a16="http://schemas.microsoft.com/office/drawing/2014/main" id="{E015924C-AB02-4581-9296-2355266C7DF7}"/>
                  </a:ext>
                </a:extLst>
              </p:cNvPr>
              <p:cNvGrpSpPr/>
              <p:nvPr/>
            </p:nvGrpSpPr>
            <p:grpSpPr>
              <a:xfrm>
                <a:off x="4756963" y="1977028"/>
                <a:ext cx="152035" cy="210384"/>
                <a:chOff x="4756963" y="1977028"/>
                <a:chExt cx="152035" cy="210384"/>
              </a:xfrm>
              <a:grpFill/>
            </p:grpSpPr>
            <p:sp>
              <p:nvSpPr>
                <p:cNvPr id="2853" name="Vrije vorm: vorm 2852">
                  <a:extLst>
                    <a:ext uri="{FF2B5EF4-FFF2-40B4-BE49-F238E27FC236}">
                      <a16:creationId xmlns:a16="http://schemas.microsoft.com/office/drawing/2014/main" id="{5AF06637-DECF-4B81-A3BE-ED41F9ED0AC0}"/>
                    </a:ext>
                  </a:extLst>
                </p:cNvPr>
                <p:cNvSpPr/>
                <p:nvPr/>
              </p:nvSpPr>
              <p:spPr>
                <a:xfrm>
                  <a:off x="4764562" y="1984982"/>
                  <a:ext cx="136779" cy="194493"/>
                </a:xfrm>
                <a:custGeom>
                  <a:avLst/>
                  <a:gdLst>
                    <a:gd name="connsiteX0" fmla="*/ 136779 w 136779"/>
                    <a:gd name="connsiteY0" fmla="*/ 192759 h 194493"/>
                    <a:gd name="connsiteX1" fmla="*/ 134267 w 136779"/>
                    <a:gd name="connsiteY1" fmla="*/ 194493 h 194493"/>
                    <a:gd name="connsiteX2" fmla="*/ 0 w 136779"/>
                    <a:gd name="connsiteY2" fmla="*/ 1794 h 194493"/>
                    <a:gd name="connsiteX3" fmla="*/ 2512 w 136779"/>
                    <a:gd name="connsiteY3" fmla="*/ 0 h 194493"/>
                  </a:gdLst>
                  <a:ahLst/>
                  <a:cxnLst>
                    <a:cxn ang="0">
                      <a:pos x="connsiteX0" y="connsiteY0"/>
                    </a:cxn>
                    <a:cxn ang="0">
                      <a:pos x="connsiteX1" y="connsiteY1"/>
                    </a:cxn>
                    <a:cxn ang="0">
                      <a:pos x="connsiteX2" y="connsiteY2"/>
                    </a:cxn>
                    <a:cxn ang="0">
                      <a:pos x="connsiteX3" y="connsiteY3"/>
                    </a:cxn>
                  </a:cxnLst>
                  <a:rect l="l" t="t" r="r" b="b"/>
                  <a:pathLst>
                    <a:path w="136779" h="194493">
                      <a:moveTo>
                        <a:pt x="136779" y="192759"/>
                      </a:moveTo>
                      <a:lnTo>
                        <a:pt x="134267" y="194493"/>
                      </a:lnTo>
                      <a:lnTo>
                        <a:pt x="0" y="1794"/>
                      </a:lnTo>
                      <a:lnTo>
                        <a:pt x="2512" y="0"/>
                      </a:lnTo>
                      <a:close/>
                    </a:path>
                  </a:pathLst>
                </a:custGeom>
                <a:grpFill/>
                <a:ln w="5978" cap="flat">
                  <a:noFill/>
                  <a:prstDash val="solid"/>
                  <a:miter/>
                </a:ln>
              </p:spPr>
              <p:txBody>
                <a:bodyPr rtlCol="0" anchor="ctr"/>
                <a:lstStyle/>
                <a:p>
                  <a:endParaRPr lang="en-GB"/>
                </a:p>
              </p:txBody>
            </p:sp>
            <p:sp>
              <p:nvSpPr>
                <p:cNvPr id="2854" name="Vrije vorm: vorm 2853">
                  <a:extLst>
                    <a:ext uri="{FF2B5EF4-FFF2-40B4-BE49-F238E27FC236}">
                      <a16:creationId xmlns:a16="http://schemas.microsoft.com/office/drawing/2014/main" id="{45FD6BE0-C346-44C9-87BF-11380F6B45FD}"/>
                    </a:ext>
                  </a:extLst>
                </p:cNvPr>
                <p:cNvSpPr/>
                <p:nvPr/>
              </p:nvSpPr>
              <p:spPr>
                <a:xfrm>
                  <a:off x="4890692" y="2169009"/>
                  <a:ext cx="18306" cy="18402"/>
                </a:xfrm>
                <a:custGeom>
                  <a:avLst/>
                  <a:gdLst>
                    <a:gd name="connsiteX0" fmla="*/ 16629 w 18306"/>
                    <a:gd name="connsiteY0" fmla="*/ 3947 h 18402"/>
                    <a:gd name="connsiteX1" fmla="*/ 14416 w 18306"/>
                    <a:gd name="connsiteY1" fmla="*/ 16745 h 18402"/>
                    <a:gd name="connsiteX2" fmla="*/ 1677 w 18306"/>
                    <a:gd name="connsiteY2" fmla="*/ 14473 h 18402"/>
                    <a:gd name="connsiteX3" fmla="*/ 3890 w 18306"/>
                    <a:gd name="connsiteY3" fmla="*/ 1674 h 18402"/>
                    <a:gd name="connsiteX4" fmla="*/ 16629 w 18306"/>
                    <a:gd name="connsiteY4" fmla="*/ 3947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2">
                      <a:moveTo>
                        <a:pt x="16629" y="3947"/>
                      </a:moveTo>
                      <a:cubicBezTo>
                        <a:pt x="19560" y="8133"/>
                        <a:pt x="18543" y="13875"/>
                        <a:pt x="14416" y="16745"/>
                      </a:cubicBezTo>
                      <a:cubicBezTo>
                        <a:pt x="10290" y="19676"/>
                        <a:pt x="4548" y="18599"/>
                        <a:pt x="1677" y="14473"/>
                      </a:cubicBezTo>
                      <a:cubicBezTo>
                        <a:pt x="-1253" y="10286"/>
                        <a:pt x="-237" y="4545"/>
                        <a:pt x="3890" y="1674"/>
                      </a:cubicBezTo>
                      <a:cubicBezTo>
                        <a:pt x="8017" y="-1257"/>
                        <a:pt x="13699" y="-240"/>
                        <a:pt x="16629" y="3947"/>
                      </a:cubicBezTo>
                      <a:close/>
                    </a:path>
                  </a:pathLst>
                </a:custGeom>
                <a:grpFill/>
                <a:ln w="5978" cap="flat">
                  <a:noFill/>
                  <a:prstDash val="solid"/>
                  <a:miter/>
                </a:ln>
              </p:spPr>
              <p:txBody>
                <a:bodyPr rtlCol="0" anchor="ctr"/>
                <a:lstStyle/>
                <a:p>
                  <a:endParaRPr lang="en-GB"/>
                </a:p>
              </p:txBody>
            </p:sp>
            <p:sp>
              <p:nvSpPr>
                <p:cNvPr id="2855" name="Vrije vorm: vorm 2854">
                  <a:extLst>
                    <a:ext uri="{FF2B5EF4-FFF2-40B4-BE49-F238E27FC236}">
                      <a16:creationId xmlns:a16="http://schemas.microsoft.com/office/drawing/2014/main" id="{8CB761D7-66C7-4B36-905D-97C90DCAA2D7}"/>
                    </a:ext>
                  </a:extLst>
                </p:cNvPr>
                <p:cNvSpPr/>
                <p:nvPr/>
              </p:nvSpPr>
              <p:spPr>
                <a:xfrm>
                  <a:off x="4756963" y="1977028"/>
                  <a:ext cx="18280" cy="18419"/>
                </a:xfrm>
                <a:custGeom>
                  <a:avLst/>
                  <a:gdLst>
                    <a:gd name="connsiteX0" fmla="*/ 16629 w 18280"/>
                    <a:gd name="connsiteY0" fmla="*/ 3947 h 18419"/>
                    <a:gd name="connsiteX1" fmla="*/ 3890 w 18280"/>
                    <a:gd name="connsiteY1" fmla="*/ 1674 h 18419"/>
                    <a:gd name="connsiteX2" fmla="*/ 1678 w 18280"/>
                    <a:gd name="connsiteY2" fmla="*/ 14473 h 18419"/>
                    <a:gd name="connsiteX3" fmla="*/ 14416 w 18280"/>
                    <a:gd name="connsiteY3" fmla="*/ 16745 h 18419"/>
                    <a:gd name="connsiteX4" fmla="*/ 16629 w 18280"/>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19">
                      <a:moveTo>
                        <a:pt x="16629" y="3947"/>
                      </a:moveTo>
                      <a:cubicBezTo>
                        <a:pt x="13698" y="-240"/>
                        <a:pt x="8017" y="-1257"/>
                        <a:pt x="3890" y="1674"/>
                      </a:cubicBezTo>
                      <a:cubicBezTo>
                        <a:pt x="-236" y="4604"/>
                        <a:pt x="-1253" y="10346"/>
                        <a:pt x="1678" y="14473"/>
                      </a:cubicBezTo>
                      <a:cubicBezTo>
                        <a:pt x="4608" y="18659"/>
                        <a:pt x="10290" y="19676"/>
                        <a:pt x="14416" y="16745"/>
                      </a:cubicBezTo>
                      <a:cubicBezTo>
                        <a:pt x="18543" y="13875"/>
                        <a:pt x="19500" y="8133"/>
                        <a:pt x="16629" y="3947"/>
                      </a:cubicBezTo>
                      <a:close/>
                    </a:path>
                  </a:pathLst>
                </a:custGeom>
                <a:grpFill/>
                <a:ln w="5978" cap="flat">
                  <a:noFill/>
                  <a:prstDash val="solid"/>
                  <a:miter/>
                </a:ln>
              </p:spPr>
              <p:txBody>
                <a:bodyPr rtlCol="0" anchor="ctr"/>
                <a:lstStyle/>
                <a:p>
                  <a:endParaRPr lang="en-GB"/>
                </a:p>
              </p:txBody>
            </p:sp>
          </p:grpSp>
          <p:grpSp>
            <p:nvGrpSpPr>
              <p:cNvPr id="849" name="Graphic 3">
                <a:extLst>
                  <a:ext uri="{FF2B5EF4-FFF2-40B4-BE49-F238E27FC236}">
                    <a16:creationId xmlns:a16="http://schemas.microsoft.com/office/drawing/2014/main" id="{B4B0A898-6B44-4B8C-88F4-011452581263}"/>
                  </a:ext>
                </a:extLst>
              </p:cNvPr>
              <p:cNvGrpSpPr/>
              <p:nvPr/>
            </p:nvGrpSpPr>
            <p:grpSpPr>
              <a:xfrm>
                <a:off x="4740632" y="1844279"/>
                <a:ext cx="27464" cy="29299"/>
                <a:chOff x="4740632" y="1844279"/>
                <a:chExt cx="27464" cy="29299"/>
              </a:xfrm>
              <a:grpFill/>
            </p:grpSpPr>
            <p:sp>
              <p:nvSpPr>
                <p:cNvPr id="2851" name="Vrije vorm: vorm 2850">
                  <a:extLst>
                    <a:ext uri="{FF2B5EF4-FFF2-40B4-BE49-F238E27FC236}">
                      <a16:creationId xmlns:a16="http://schemas.microsoft.com/office/drawing/2014/main" id="{C9662571-8410-4847-8927-0F4AEADA30B7}"/>
                    </a:ext>
                  </a:extLst>
                </p:cNvPr>
                <p:cNvSpPr/>
                <p:nvPr/>
              </p:nvSpPr>
              <p:spPr>
                <a:xfrm>
                  <a:off x="4740632" y="1844279"/>
                  <a:ext cx="18349" cy="18458"/>
                </a:xfrm>
                <a:custGeom>
                  <a:avLst/>
                  <a:gdLst>
                    <a:gd name="connsiteX0" fmla="*/ 16214 w 18349"/>
                    <a:gd name="connsiteY0" fmla="*/ 3326 h 18458"/>
                    <a:gd name="connsiteX1" fmla="*/ 15078 w 18349"/>
                    <a:gd name="connsiteY1" fmla="*/ 16304 h 18458"/>
                    <a:gd name="connsiteX2" fmla="*/ 2160 w 18349"/>
                    <a:gd name="connsiteY2" fmla="*/ 15108 h 18458"/>
                    <a:gd name="connsiteX3" fmla="*/ 3296 w 18349"/>
                    <a:gd name="connsiteY3" fmla="*/ 2130 h 18458"/>
                    <a:gd name="connsiteX4" fmla="*/ 16214 w 18349"/>
                    <a:gd name="connsiteY4" fmla="*/ 3326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8">
                      <a:moveTo>
                        <a:pt x="16214" y="3326"/>
                      </a:moveTo>
                      <a:cubicBezTo>
                        <a:pt x="19444" y="7213"/>
                        <a:pt x="18966" y="13015"/>
                        <a:pt x="15078" y="16304"/>
                      </a:cubicBezTo>
                      <a:cubicBezTo>
                        <a:pt x="11191" y="19594"/>
                        <a:pt x="5449" y="19055"/>
                        <a:pt x="2160" y="15108"/>
                      </a:cubicBezTo>
                      <a:cubicBezTo>
                        <a:pt x="-1130" y="11221"/>
                        <a:pt x="-592" y="5419"/>
                        <a:pt x="3296" y="2130"/>
                      </a:cubicBezTo>
                      <a:cubicBezTo>
                        <a:pt x="7124" y="-1100"/>
                        <a:pt x="12925" y="-621"/>
                        <a:pt x="16214" y="3326"/>
                      </a:cubicBezTo>
                      <a:close/>
                    </a:path>
                  </a:pathLst>
                </a:custGeom>
                <a:grpFill/>
                <a:ln w="5978" cap="flat">
                  <a:noFill/>
                  <a:prstDash val="solid"/>
                  <a:miter/>
                </a:ln>
              </p:spPr>
              <p:txBody>
                <a:bodyPr rtlCol="0" anchor="ctr"/>
                <a:lstStyle/>
                <a:p>
                  <a:endParaRPr lang="en-GB"/>
                </a:p>
              </p:txBody>
            </p:sp>
            <p:sp>
              <p:nvSpPr>
                <p:cNvPr id="2852" name="Vrije vorm: vorm 2851">
                  <a:extLst>
                    <a:ext uri="{FF2B5EF4-FFF2-40B4-BE49-F238E27FC236}">
                      <a16:creationId xmlns:a16="http://schemas.microsoft.com/office/drawing/2014/main" id="{9E57896B-F308-496C-8BDE-77741D566765}"/>
                    </a:ext>
                  </a:extLst>
                </p:cNvPr>
                <p:cNvSpPr/>
                <p:nvPr/>
              </p:nvSpPr>
              <p:spPr>
                <a:xfrm>
                  <a:off x="4749747" y="1855183"/>
                  <a:ext cx="18349" cy="18395"/>
                </a:xfrm>
                <a:custGeom>
                  <a:avLst/>
                  <a:gdLst>
                    <a:gd name="connsiteX0" fmla="*/ 16190 w 18349"/>
                    <a:gd name="connsiteY0" fmla="*/ 3307 h 18395"/>
                    <a:gd name="connsiteX1" fmla="*/ 3272 w 18349"/>
                    <a:gd name="connsiteY1" fmla="*/ 2110 h 18395"/>
                    <a:gd name="connsiteX2" fmla="*/ 2135 w 18349"/>
                    <a:gd name="connsiteY2" fmla="*/ 15089 h 18395"/>
                    <a:gd name="connsiteX3" fmla="*/ 15053 w 18349"/>
                    <a:gd name="connsiteY3" fmla="*/ 16285 h 18395"/>
                    <a:gd name="connsiteX4" fmla="*/ 16190 w 18349"/>
                    <a:gd name="connsiteY4" fmla="*/ 330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95">
                      <a:moveTo>
                        <a:pt x="16190" y="3307"/>
                      </a:moveTo>
                      <a:cubicBezTo>
                        <a:pt x="12960" y="-581"/>
                        <a:pt x="7159" y="-1119"/>
                        <a:pt x="3272" y="2110"/>
                      </a:cubicBezTo>
                      <a:cubicBezTo>
                        <a:pt x="-616" y="5400"/>
                        <a:pt x="-1095" y="11201"/>
                        <a:pt x="2135" y="15089"/>
                      </a:cubicBezTo>
                      <a:cubicBezTo>
                        <a:pt x="5365" y="18976"/>
                        <a:pt x="11166" y="19514"/>
                        <a:pt x="15053" y="16285"/>
                      </a:cubicBezTo>
                      <a:cubicBezTo>
                        <a:pt x="18941" y="13055"/>
                        <a:pt x="19479" y="7254"/>
                        <a:pt x="16190" y="3307"/>
                      </a:cubicBezTo>
                      <a:close/>
                    </a:path>
                  </a:pathLst>
                </a:custGeom>
                <a:grpFill/>
                <a:ln w="5978" cap="flat">
                  <a:noFill/>
                  <a:prstDash val="solid"/>
                  <a:miter/>
                </a:ln>
              </p:spPr>
              <p:txBody>
                <a:bodyPr rtlCol="0" anchor="ctr"/>
                <a:lstStyle/>
                <a:p>
                  <a:endParaRPr lang="en-GB"/>
                </a:p>
              </p:txBody>
            </p:sp>
          </p:grpSp>
          <p:grpSp>
            <p:nvGrpSpPr>
              <p:cNvPr id="850" name="Graphic 3">
                <a:extLst>
                  <a:ext uri="{FF2B5EF4-FFF2-40B4-BE49-F238E27FC236}">
                    <a16:creationId xmlns:a16="http://schemas.microsoft.com/office/drawing/2014/main" id="{0592F456-55A7-46A5-8914-318E4CC799E1}"/>
                  </a:ext>
                </a:extLst>
              </p:cNvPr>
              <p:cNvGrpSpPr/>
              <p:nvPr/>
            </p:nvGrpSpPr>
            <p:grpSpPr>
              <a:xfrm>
                <a:off x="4801421" y="2024772"/>
                <a:ext cx="22547" cy="23169"/>
                <a:chOff x="4801421" y="2024772"/>
                <a:chExt cx="22547" cy="23169"/>
              </a:xfrm>
              <a:grpFill/>
            </p:grpSpPr>
            <p:sp>
              <p:nvSpPr>
                <p:cNvPr id="2848" name="Vrije vorm: vorm 2847">
                  <a:extLst>
                    <a:ext uri="{FF2B5EF4-FFF2-40B4-BE49-F238E27FC236}">
                      <a16:creationId xmlns:a16="http://schemas.microsoft.com/office/drawing/2014/main" id="{6295B4C3-A9AF-4350-9DC2-7EA46E8E4E27}"/>
                    </a:ext>
                  </a:extLst>
                </p:cNvPr>
                <p:cNvSpPr/>
                <p:nvPr/>
              </p:nvSpPr>
              <p:spPr>
                <a:xfrm>
                  <a:off x="4809178" y="2032648"/>
                  <a:ext cx="7057" cy="7416"/>
                </a:xfrm>
                <a:custGeom>
                  <a:avLst/>
                  <a:gdLst>
                    <a:gd name="connsiteX0" fmla="*/ 7058 w 7057"/>
                    <a:gd name="connsiteY0" fmla="*/ 5383 h 7416"/>
                    <a:gd name="connsiteX1" fmla="*/ 4844 w 7057"/>
                    <a:gd name="connsiteY1" fmla="*/ 7416 h 7416"/>
                    <a:gd name="connsiteX2" fmla="*/ 0 w 7057"/>
                    <a:gd name="connsiteY2" fmla="*/ 2033 h 7416"/>
                    <a:gd name="connsiteX3" fmla="*/ 2273 w 7057"/>
                    <a:gd name="connsiteY3" fmla="*/ 0 h 7416"/>
                  </a:gdLst>
                  <a:ahLst/>
                  <a:cxnLst>
                    <a:cxn ang="0">
                      <a:pos x="connsiteX0" y="connsiteY0"/>
                    </a:cxn>
                    <a:cxn ang="0">
                      <a:pos x="connsiteX1" y="connsiteY1"/>
                    </a:cxn>
                    <a:cxn ang="0">
                      <a:pos x="connsiteX2" y="connsiteY2"/>
                    </a:cxn>
                    <a:cxn ang="0">
                      <a:pos x="connsiteX3" y="connsiteY3"/>
                    </a:cxn>
                  </a:cxnLst>
                  <a:rect l="l" t="t" r="r" b="b"/>
                  <a:pathLst>
                    <a:path w="7057" h="7416">
                      <a:moveTo>
                        <a:pt x="7058" y="5383"/>
                      </a:moveTo>
                      <a:lnTo>
                        <a:pt x="4844" y="7416"/>
                      </a:lnTo>
                      <a:lnTo>
                        <a:pt x="0" y="2033"/>
                      </a:lnTo>
                      <a:lnTo>
                        <a:pt x="2273" y="0"/>
                      </a:lnTo>
                      <a:close/>
                    </a:path>
                  </a:pathLst>
                </a:custGeom>
                <a:grpFill/>
                <a:ln w="5978" cap="flat">
                  <a:noFill/>
                  <a:prstDash val="solid"/>
                  <a:miter/>
                </a:ln>
              </p:spPr>
              <p:txBody>
                <a:bodyPr rtlCol="0" anchor="ctr"/>
                <a:lstStyle/>
                <a:p>
                  <a:endParaRPr lang="en-GB"/>
                </a:p>
              </p:txBody>
            </p:sp>
            <p:sp>
              <p:nvSpPr>
                <p:cNvPr id="2849" name="Vrije vorm: vorm 2848">
                  <a:extLst>
                    <a:ext uri="{FF2B5EF4-FFF2-40B4-BE49-F238E27FC236}">
                      <a16:creationId xmlns:a16="http://schemas.microsoft.com/office/drawing/2014/main" id="{C17D3D6E-F547-447E-B0D7-AD90180C34B0}"/>
                    </a:ext>
                  </a:extLst>
                </p:cNvPr>
                <p:cNvSpPr/>
                <p:nvPr/>
              </p:nvSpPr>
              <p:spPr>
                <a:xfrm>
                  <a:off x="4801421" y="2024772"/>
                  <a:ext cx="18324" cy="18444"/>
                </a:xfrm>
                <a:custGeom>
                  <a:avLst/>
                  <a:gdLst>
                    <a:gd name="connsiteX0" fmla="*/ 2374 w 18324"/>
                    <a:gd name="connsiteY0" fmla="*/ 15412 h 18444"/>
                    <a:gd name="connsiteX1" fmla="*/ 3032 w 18324"/>
                    <a:gd name="connsiteY1" fmla="*/ 2374 h 18444"/>
                    <a:gd name="connsiteX2" fmla="*/ 15951 w 18324"/>
                    <a:gd name="connsiteY2" fmla="*/ 3032 h 18444"/>
                    <a:gd name="connsiteX3" fmla="*/ 15293 w 18324"/>
                    <a:gd name="connsiteY3" fmla="*/ 16070 h 18444"/>
                    <a:gd name="connsiteX4" fmla="*/ 2374 w 18324"/>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4">
                      <a:moveTo>
                        <a:pt x="2374" y="15412"/>
                      </a:moveTo>
                      <a:cubicBezTo>
                        <a:pt x="-1035" y="11645"/>
                        <a:pt x="-736" y="5783"/>
                        <a:pt x="3032" y="2374"/>
                      </a:cubicBezTo>
                      <a:cubicBezTo>
                        <a:pt x="6800" y="-1035"/>
                        <a:pt x="12601" y="-736"/>
                        <a:pt x="15951" y="3032"/>
                      </a:cubicBezTo>
                      <a:cubicBezTo>
                        <a:pt x="19359" y="6800"/>
                        <a:pt x="19060" y="12661"/>
                        <a:pt x="15293" y="16070"/>
                      </a:cubicBezTo>
                      <a:cubicBezTo>
                        <a:pt x="11585" y="19479"/>
                        <a:pt x="5783" y="19180"/>
                        <a:pt x="2374" y="15412"/>
                      </a:cubicBezTo>
                      <a:close/>
                    </a:path>
                  </a:pathLst>
                </a:custGeom>
                <a:grpFill/>
                <a:ln w="5978" cap="flat">
                  <a:noFill/>
                  <a:prstDash val="solid"/>
                  <a:miter/>
                </a:ln>
              </p:spPr>
              <p:txBody>
                <a:bodyPr rtlCol="0" anchor="ctr"/>
                <a:lstStyle/>
                <a:p>
                  <a:endParaRPr lang="en-GB"/>
                </a:p>
              </p:txBody>
            </p:sp>
            <p:sp>
              <p:nvSpPr>
                <p:cNvPr id="2850" name="Vrije vorm: vorm 2849">
                  <a:extLst>
                    <a:ext uri="{FF2B5EF4-FFF2-40B4-BE49-F238E27FC236}">
                      <a16:creationId xmlns:a16="http://schemas.microsoft.com/office/drawing/2014/main" id="{FCD7B802-65E5-43BF-8C4D-DA2209355136}"/>
                    </a:ext>
                  </a:extLst>
                </p:cNvPr>
                <p:cNvSpPr/>
                <p:nvPr/>
              </p:nvSpPr>
              <p:spPr>
                <a:xfrm>
                  <a:off x="4805667" y="2029496"/>
                  <a:ext cx="18301" cy="18444"/>
                </a:xfrm>
                <a:custGeom>
                  <a:avLst/>
                  <a:gdLst>
                    <a:gd name="connsiteX0" fmla="*/ 2374 w 18301"/>
                    <a:gd name="connsiteY0" fmla="*/ 15412 h 18444"/>
                    <a:gd name="connsiteX1" fmla="*/ 15293 w 18301"/>
                    <a:gd name="connsiteY1" fmla="*/ 16070 h 18444"/>
                    <a:gd name="connsiteX2" fmla="*/ 15950 w 18301"/>
                    <a:gd name="connsiteY2" fmla="*/ 3032 h 18444"/>
                    <a:gd name="connsiteX3" fmla="*/ 3032 w 18301"/>
                    <a:gd name="connsiteY3" fmla="*/ 2374 h 18444"/>
                    <a:gd name="connsiteX4" fmla="*/ 2374 w 18301"/>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44">
                      <a:moveTo>
                        <a:pt x="2374" y="15412"/>
                      </a:moveTo>
                      <a:cubicBezTo>
                        <a:pt x="5783" y="19180"/>
                        <a:pt x="11585" y="19479"/>
                        <a:pt x="15293" y="16070"/>
                      </a:cubicBezTo>
                      <a:cubicBezTo>
                        <a:pt x="19061" y="12661"/>
                        <a:pt x="19300" y="6860"/>
                        <a:pt x="15950" y="3032"/>
                      </a:cubicBezTo>
                      <a:cubicBezTo>
                        <a:pt x="12541" y="-736"/>
                        <a:pt x="6740" y="-1035"/>
                        <a:pt x="3032" y="2374"/>
                      </a:cubicBezTo>
                      <a:cubicBezTo>
                        <a:pt x="-736" y="5783"/>
                        <a:pt x="-1035" y="11585"/>
                        <a:pt x="2374" y="15412"/>
                      </a:cubicBezTo>
                      <a:close/>
                    </a:path>
                  </a:pathLst>
                </a:custGeom>
                <a:grpFill/>
                <a:ln w="5978" cap="flat">
                  <a:noFill/>
                  <a:prstDash val="solid"/>
                  <a:miter/>
                </a:ln>
              </p:spPr>
              <p:txBody>
                <a:bodyPr rtlCol="0" anchor="ctr"/>
                <a:lstStyle/>
                <a:p>
                  <a:endParaRPr lang="en-GB"/>
                </a:p>
              </p:txBody>
            </p:sp>
          </p:grpSp>
          <p:grpSp>
            <p:nvGrpSpPr>
              <p:cNvPr id="851" name="Graphic 3">
                <a:extLst>
                  <a:ext uri="{FF2B5EF4-FFF2-40B4-BE49-F238E27FC236}">
                    <a16:creationId xmlns:a16="http://schemas.microsoft.com/office/drawing/2014/main" id="{2C51A8B8-7A94-4825-8C26-D65A083DDD77}"/>
                  </a:ext>
                </a:extLst>
              </p:cNvPr>
              <p:cNvGrpSpPr/>
              <p:nvPr/>
            </p:nvGrpSpPr>
            <p:grpSpPr>
              <a:xfrm>
                <a:off x="4464789" y="1364288"/>
                <a:ext cx="458639" cy="587497"/>
                <a:chOff x="4464789" y="1364288"/>
                <a:chExt cx="458639" cy="587497"/>
              </a:xfrm>
              <a:grpFill/>
            </p:grpSpPr>
            <p:sp>
              <p:nvSpPr>
                <p:cNvPr id="2845" name="Vrije vorm: vorm 2844">
                  <a:extLst>
                    <a:ext uri="{FF2B5EF4-FFF2-40B4-BE49-F238E27FC236}">
                      <a16:creationId xmlns:a16="http://schemas.microsoft.com/office/drawing/2014/main" id="{AE19833D-32C2-4275-8699-9F36F0B4BF39}"/>
                    </a:ext>
                  </a:extLst>
                </p:cNvPr>
                <p:cNvSpPr/>
                <p:nvPr/>
              </p:nvSpPr>
              <p:spPr>
                <a:xfrm>
                  <a:off x="4472463" y="1372197"/>
                  <a:ext cx="443291" cy="571637"/>
                </a:xfrm>
                <a:custGeom>
                  <a:avLst/>
                  <a:gdLst>
                    <a:gd name="connsiteX0" fmla="*/ 443291 w 443291"/>
                    <a:gd name="connsiteY0" fmla="*/ 569783 h 571637"/>
                    <a:gd name="connsiteX1" fmla="*/ 440899 w 443291"/>
                    <a:gd name="connsiteY1" fmla="*/ 571637 h 571637"/>
                    <a:gd name="connsiteX2" fmla="*/ 0 w 443291"/>
                    <a:gd name="connsiteY2" fmla="*/ 1854 h 571637"/>
                    <a:gd name="connsiteX3" fmla="*/ 2392 w 443291"/>
                    <a:gd name="connsiteY3" fmla="*/ 0 h 571637"/>
                  </a:gdLst>
                  <a:ahLst/>
                  <a:cxnLst>
                    <a:cxn ang="0">
                      <a:pos x="connsiteX0" y="connsiteY0"/>
                    </a:cxn>
                    <a:cxn ang="0">
                      <a:pos x="connsiteX1" y="connsiteY1"/>
                    </a:cxn>
                    <a:cxn ang="0">
                      <a:pos x="connsiteX2" y="connsiteY2"/>
                    </a:cxn>
                    <a:cxn ang="0">
                      <a:pos x="connsiteX3" y="connsiteY3"/>
                    </a:cxn>
                  </a:cxnLst>
                  <a:rect l="l" t="t" r="r" b="b"/>
                  <a:pathLst>
                    <a:path w="443291" h="571637">
                      <a:moveTo>
                        <a:pt x="443291" y="569783"/>
                      </a:moveTo>
                      <a:lnTo>
                        <a:pt x="440899" y="571637"/>
                      </a:lnTo>
                      <a:lnTo>
                        <a:pt x="0" y="1854"/>
                      </a:lnTo>
                      <a:lnTo>
                        <a:pt x="2392" y="0"/>
                      </a:lnTo>
                      <a:close/>
                    </a:path>
                  </a:pathLst>
                </a:custGeom>
                <a:grpFill/>
                <a:ln w="5978" cap="flat">
                  <a:noFill/>
                  <a:prstDash val="solid"/>
                  <a:miter/>
                </a:ln>
              </p:spPr>
              <p:txBody>
                <a:bodyPr rtlCol="0" anchor="ctr"/>
                <a:lstStyle/>
                <a:p>
                  <a:endParaRPr lang="en-GB"/>
                </a:p>
              </p:txBody>
            </p:sp>
            <p:sp>
              <p:nvSpPr>
                <p:cNvPr id="2846" name="Vrije vorm: vorm 2845">
                  <a:extLst>
                    <a:ext uri="{FF2B5EF4-FFF2-40B4-BE49-F238E27FC236}">
                      <a16:creationId xmlns:a16="http://schemas.microsoft.com/office/drawing/2014/main" id="{270DFE33-7FDC-497C-8007-23C0A12D09E4}"/>
                    </a:ext>
                  </a:extLst>
                </p:cNvPr>
                <p:cNvSpPr/>
                <p:nvPr/>
              </p:nvSpPr>
              <p:spPr>
                <a:xfrm>
                  <a:off x="4464789" y="1364288"/>
                  <a:ext cx="18339" cy="18406"/>
                </a:xfrm>
                <a:custGeom>
                  <a:avLst/>
                  <a:gdLst>
                    <a:gd name="connsiteX0" fmla="*/ 1933 w 18339"/>
                    <a:gd name="connsiteY0" fmla="*/ 14847 h 18406"/>
                    <a:gd name="connsiteX1" fmla="*/ 3548 w 18339"/>
                    <a:gd name="connsiteY1" fmla="*/ 1929 h 18406"/>
                    <a:gd name="connsiteX2" fmla="*/ 16406 w 18339"/>
                    <a:gd name="connsiteY2" fmla="*/ 3603 h 18406"/>
                    <a:gd name="connsiteX3" fmla="*/ 14791 w 18339"/>
                    <a:gd name="connsiteY3" fmla="*/ 16521 h 18406"/>
                    <a:gd name="connsiteX4" fmla="*/ 1933 w 18339"/>
                    <a:gd name="connsiteY4" fmla="*/ 1484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6">
                      <a:moveTo>
                        <a:pt x="1933" y="14847"/>
                      </a:moveTo>
                      <a:cubicBezTo>
                        <a:pt x="-1177" y="10840"/>
                        <a:pt x="-459" y="5038"/>
                        <a:pt x="3548" y="1929"/>
                      </a:cubicBezTo>
                      <a:cubicBezTo>
                        <a:pt x="7555" y="-1181"/>
                        <a:pt x="13296" y="-464"/>
                        <a:pt x="16406" y="3603"/>
                      </a:cubicBezTo>
                      <a:cubicBezTo>
                        <a:pt x="19516" y="7610"/>
                        <a:pt x="18798" y="13411"/>
                        <a:pt x="14791" y="16521"/>
                      </a:cubicBezTo>
                      <a:cubicBezTo>
                        <a:pt x="10784" y="19572"/>
                        <a:pt x="5043" y="18854"/>
                        <a:pt x="1933" y="14847"/>
                      </a:cubicBezTo>
                      <a:close/>
                    </a:path>
                  </a:pathLst>
                </a:custGeom>
                <a:grpFill/>
                <a:ln w="5978" cap="flat">
                  <a:noFill/>
                  <a:prstDash val="solid"/>
                  <a:miter/>
                </a:ln>
              </p:spPr>
              <p:txBody>
                <a:bodyPr rtlCol="0" anchor="ctr"/>
                <a:lstStyle/>
                <a:p>
                  <a:endParaRPr lang="en-GB"/>
                </a:p>
              </p:txBody>
            </p:sp>
            <p:sp>
              <p:nvSpPr>
                <p:cNvPr id="2847" name="Vrije vorm: vorm 2846">
                  <a:extLst>
                    <a:ext uri="{FF2B5EF4-FFF2-40B4-BE49-F238E27FC236}">
                      <a16:creationId xmlns:a16="http://schemas.microsoft.com/office/drawing/2014/main" id="{9AD2E4BD-7564-4F14-B707-1673D1DD0893}"/>
                    </a:ext>
                  </a:extLst>
                </p:cNvPr>
                <p:cNvSpPr/>
                <p:nvPr/>
              </p:nvSpPr>
              <p:spPr>
                <a:xfrm>
                  <a:off x="4905089" y="1933372"/>
                  <a:ext cx="18339" cy="18413"/>
                </a:xfrm>
                <a:custGeom>
                  <a:avLst/>
                  <a:gdLst>
                    <a:gd name="connsiteX0" fmla="*/ 1933 w 18339"/>
                    <a:gd name="connsiteY0" fmla="*/ 14829 h 18413"/>
                    <a:gd name="connsiteX1" fmla="*/ 14791 w 18339"/>
                    <a:gd name="connsiteY1" fmla="*/ 16503 h 18413"/>
                    <a:gd name="connsiteX2" fmla="*/ 16406 w 18339"/>
                    <a:gd name="connsiteY2" fmla="*/ 3585 h 18413"/>
                    <a:gd name="connsiteX3" fmla="*/ 3548 w 18339"/>
                    <a:gd name="connsiteY3" fmla="*/ 1910 h 18413"/>
                    <a:gd name="connsiteX4" fmla="*/ 1933 w 18339"/>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3">
                      <a:moveTo>
                        <a:pt x="1933" y="14829"/>
                      </a:moveTo>
                      <a:cubicBezTo>
                        <a:pt x="5043" y="18836"/>
                        <a:pt x="10784" y="19613"/>
                        <a:pt x="14791" y="16503"/>
                      </a:cubicBezTo>
                      <a:cubicBezTo>
                        <a:pt x="18799" y="13393"/>
                        <a:pt x="19516" y="7592"/>
                        <a:pt x="16406" y="3585"/>
                      </a:cubicBezTo>
                      <a:cubicBezTo>
                        <a:pt x="13296" y="-422"/>
                        <a:pt x="7555" y="-1200"/>
                        <a:pt x="3548" y="1910"/>
                      </a:cubicBezTo>
                      <a:cubicBezTo>
                        <a:pt x="-459" y="5020"/>
                        <a:pt x="-1177" y="10822"/>
                        <a:pt x="1933" y="14829"/>
                      </a:cubicBezTo>
                      <a:close/>
                    </a:path>
                  </a:pathLst>
                </a:custGeom>
                <a:grpFill/>
                <a:ln w="5978" cap="flat">
                  <a:noFill/>
                  <a:prstDash val="solid"/>
                  <a:miter/>
                </a:ln>
              </p:spPr>
              <p:txBody>
                <a:bodyPr rtlCol="0" anchor="ctr"/>
                <a:lstStyle/>
                <a:p>
                  <a:endParaRPr lang="en-GB"/>
                </a:p>
              </p:txBody>
            </p:sp>
          </p:grpSp>
          <p:grpSp>
            <p:nvGrpSpPr>
              <p:cNvPr id="852" name="Graphic 3">
                <a:extLst>
                  <a:ext uri="{FF2B5EF4-FFF2-40B4-BE49-F238E27FC236}">
                    <a16:creationId xmlns:a16="http://schemas.microsoft.com/office/drawing/2014/main" id="{B1EF13B7-FE1C-4E31-B571-91B2E2845B03}"/>
                  </a:ext>
                </a:extLst>
              </p:cNvPr>
              <p:cNvGrpSpPr/>
              <p:nvPr/>
            </p:nvGrpSpPr>
            <p:grpSpPr>
              <a:xfrm>
                <a:off x="4736112" y="2005401"/>
                <a:ext cx="171870" cy="182839"/>
                <a:chOff x="4736112" y="2005401"/>
                <a:chExt cx="171870" cy="182839"/>
              </a:xfrm>
              <a:grpFill/>
            </p:grpSpPr>
            <p:sp>
              <p:nvSpPr>
                <p:cNvPr id="2842" name="Vrije vorm: vorm 2841">
                  <a:extLst>
                    <a:ext uri="{FF2B5EF4-FFF2-40B4-BE49-F238E27FC236}">
                      <a16:creationId xmlns:a16="http://schemas.microsoft.com/office/drawing/2014/main" id="{8616CB92-37BA-4599-96C6-46825A82442C}"/>
                    </a:ext>
                  </a:extLst>
                </p:cNvPr>
                <p:cNvSpPr/>
                <p:nvPr/>
              </p:nvSpPr>
              <p:spPr>
                <a:xfrm>
                  <a:off x="4743808" y="2013271"/>
                  <a:ext cx="156396" cy="167161"/>
                </a:xfrm>
                <a:custGeom>
                  <a:avLst/>
                  <a:gdLst>
                    <a:gd name="connsiteX0" fmla="*/ 156396 w 156396"/>
                    <a:gd name="connsiteY0" fmla="*/ 165068 h 167161"/>
                    <a:gd name="connsiteX1" fmla="*/ 154183 w 156396"/>
                    <a:gd name="connsiteY1" fmla="*/ 167161 h 167161"/>
                    <a:gd name="connsiteX2" fmla="*/ 0 w 156396"/>
                    <a:gd name="connsiteY2" fmla="*/ 2093 h 167161"/>
                    <a:gd name="connsiteX3" fmla="*/ 2213 w 156396"/>
                    <a:gd name="connsiteY3" fmla="*/ 0 h 167161"/>
                  </a:gdLst>
                  <a:ahLst/>
                  <a:cxnLst>
                    <a:cxn ang="0">
                      <a:pos x="connsiteX0" y="connsiteY0"/>
                    </a:cxn>
                    <a:cxn ang="0">
                      <a:pos x="connsiteX1" y="connsiteY1"/>
                    </a:cxn>
                    <a:cxn ang="0">
                      <a:pos x="connsiteX2" y="connsiteY2"/>
                    </a:cxn>
                    <a:cxn ang="0">
                      <a:pos x="connsiteX3" y="connsiteY3"/>
                    </a:cxn>
                  </a:cxnLst>
                  <a:rect l="l" t="t" r="r" b="b"/>
                  <a:pathLst>
                    <a:path w="156396" h="167161">
                      <a:moveTo>
                        <a:pt x="156396" y="165068"/>
                      </a:moveTo>
                      <a:lnTo>
                        <a:pt x="154183" y="167161"/>
                      </a:lnTo>
                      <a:lnTo>
                        <a:pt x="0" y="2093"/>
                      </a:lnTo>
                      <a:lnTo>
                        <a:pt x="2213" y="0"/>
                      </a:lnTo>
                      <a:close/>
                    </a:path>
                  </a:pathLst>
                </a:custGeom>
                <a:grpFill/>
                <a:ln w="5978" cap="flat">
                  <a:noFill/>
                  <a:prstDash val="solid"/>
                  <a:miter/>
                </a:ln>
              </p:spPr>
              <p:txBody>
                <a:bodyPr rtlCol="0" anchor="ctr"/>
                <a:lstStyle/>
                <a:p>
                  <a:endParaRPr lang="en-GB"/>
                </a:p>
              </p:txBody>
            </p:sp>
            <p:sp>
              <p:nvSpPr>
                <p:cNvPr id="2843" name="Vrije vorm: vorm 2842">
                  <a:extLst>
                    <a:ext uri="{FF2B5EF4-FFF2-40B4-BE49-F238E27FC236}">
                      <a16:creationId xmlns:a16="http://schemas.microsoft.com/office/drawing/2014/main" id="{BE5368EF-89FB-437D-9B1C-4625DC558E22}"/>
                    </a:ext>
                  </a:extLst>
                </p:cNvPr>
                <p:cNvSpPr/>
                <p:nvPr/>
              </p:nvSpPr>
              <p:spPr>
                <a:xfrm>
                  <a:off x="4736112" y="2005401"/>
                  <a:ext cx="18323" cy="18453"/>
                </a:xfrm>
                <a:custGeom>
                  <a:avLst/>
                  <a:gdLst>
                    <a:gd name="connsiteX0" fmla="*/ 2493 w 18323"/>
                    <a:gd name="connsiteY0" fmla="*/ 15525 h 18453"/>
                    <a:gd name="connsiteX1" fmla="*/ 2852 w 18323"/>
                    <a:gd name="connsiteY1" fmla="*/ 2487 h 18453"/>
                    <a:gd name="connsiteX2" fmla="*/ 15830 w 18323"/>
                    <a:gd name="connsiteY2" fmla="*/ 2905 h 18453"/>
                    <a:gd name="connsiteX3" fmla="*/ 15472 w 18323"/>
                    <a:gd name="connsiteY3" fmla="*/ 15943 h 18453"/>
                    <a:gd name="connsiteX4" fmla="*/ 2493 w 18323"/>
                    <a:gd name="connsiteY4" fmla="*/ 1552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53">
                      <a:moveTo>
                        <a:pt x="2493" y="15525"/>
                      </a:moveTo>
                      <a:cubicBezTo>
                        <a:pt x="-975" y="11817"/>
                        <a:pt x="-796" y="5956"/>
                        <a:pt x="2852" y="2487"/>
                      </a:cubicBezTo>
                      <a:cubicBezTo>
                        <a:pt x="6560" y="-982"/>
                        <a:pt x="12362" y="-803"/>
                        <a:pt x="15830" y="2905"/>
                      </a:cubicBezTo>
                      <a:cubicBezTo>
                        <a:pt x="19299" y="6613"/>
                        <a:pt x="19120" y="12474"/>
                        <a:pt x="15472" y="15943"/>
                      </a:cubicBezTo>
                      <a:cubicBezTo>
                        <a:pt x="11763" y="19472"/>
                        <a:pt x="5962" y="19233"/>
                        <a:pt x="2493" y="15525"/>
                      </a:cubicBezTo>
                      <a:close/>
                    </a:path>
                  </a:pathLst>
                </a:custGeom>
                <a:grpFill/>
                <a:ln w="5978" cap="flat">
                  <a:noFill/>
                  <a:prstDash val="solid"/>
                  <a:miter/>
                </a:ln>
              </p:spPr>
              <p:txBody>
                <a:bodyPr rtlCol="0" anchor="ctr"/>
                <a:lstStyle/>
                <a:p>
                  <a:endParaRPr lang="en-GB"/>
                </a:p>
              </p:txBody>
            </p:sp>
            <p:sp>
              <p:nvSpPr>
                <p:cNvPr id="2844" name="Vrije vorm: vorm 2843">
                  <a:extLst>
                    <a:ext uri="{FF2B5EF4-FFF2-40B4-BE49-F238E27FC236}">
                      <a16:creationId xmlns:a16="http://schemas.microsoft.com/office/drawing/2014/main" id="{8A6EC699-2EDB-4227-9075-7ECC8179CF87}"/>
                    </a:ext>
                  </a:extLst>
                </p:cNvPr>
                <p:cNvSpPr/>
                <p:nvPr/>
              </p:nvSpPr>
              <p:spPr>
                <a:xfrm>
                  <a:off x="4889637" y="2169811"/>
                  <a:ext cx="18345" cy="18429"/>
                </a:xfrm>
                <a:custGeom>
                  <a:avLst/>
                  <a:gdLst>
                    <a:gd name="connsiteX0" fmla="*/ 2493 w 18345"/>
                    <a:gd name="connsiteY0" fmla="*/ 15525 h 18429"/>
                    <a:gd name="connsiteX1" fmla="*/ 15472 w 18345"/>
                    <a:gd name="connsiteY1" fmla="*/ 15943 h 18429"/>
                    <a:gd name="connsiteX2" fmla="*/ 15830 w 18345"/>
                    <a:gd name="connsiteY2" fmla="*/ 2905 h 18429"/>
                    <a:gd name="connsiteX3" fmla="*/ 2852 w 18345"/>
                    <a:gd name="connsiteY3" fmla="*/ 2487 h 18429"/>
                    <a:gd name="connsiteX4" fmla="*/ 2493 w 18345"/>
                    <a:gd name="connsiteY4" fmla="*/ 1552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9">
                      <a:moveTo>
                        <a:pt x="2493" y="15525"/>
                      </a:moveTo>
                      <a:cubicBezTo>
                        <a:pt x="5962" y="19233"/>
                        <a:pt x="11763" y="19412"/>
                        <a:pt x="15472" y="15943"/>
                      </a:cubicBezTo>
                      <a:cubicBezTo>
                        <a:pt x="19180" y="12474"/>
                        <a:pt x="19299" y="6613"/>
                        <a:pt x="15830" y="2905"/>
                      </a:cubicBezTo>
                      <a:cubicBezTo>
                        <a:pt x="12361" y="-803"/>
                        <a:pt x="6560" y="-982"/>
                        <a:pt x="2852" y="2487"/>
                      </a:cubicBezTo>
                      <a:cubicBezTo>
                        <a:pt x="-796" y="5955"/>
                        <a:pt x="-975" y="11817"/>
                        <a:pt x="2493" y="15525"/>
                      </a:cubicBezTo>
                      <a:close/>
                    </a:path>
                  </a:pathLst>
                </a:custGeom>
                <a:grpFill/>
                <a:ln w="5978" cap="flat">
                  <a:noFill/>
                  <a:prstDash val="solid"/>
                  <a:miter/>
                </a:ln>
              </p:spPr>
              <p:txBody>
                <a:bodyPr rtlCol="0" anchor="ctr"/>
                <a:lstStyle/>
                <a:p>
                  <a:endParaRPr lang="en-GB"/>
                </a:p>
              </p:txBody>
            </p:sp>
          </p:grpSp>
          <p:grpSp>
            <p:nvGrpSpPr>
              <p:cNvPr id="853" name="Graphic 3">
                <a:extLst>
                  <a:ext uri="{FF2B5EF4-FFF2-40B4-BE49-F238E27FC236}">
                    <a16:creationId xmlns:a16="http://schemas.microsoft.com/office/drawing/2014/main" id="{BB70564A-4611-4AF8-92B9-5E95CFF36A85}"/>
                  </a:ext>
                </a:extLst>
              </p:cNvPr>
              <p:cNvGrpSpPr/>
              <p:nvPr/>
            </p:nvGrpSpPr>
            <p:grpSpPr>
              <a:xfrm>
                <a:off x="4754396" y="1917910"/>
                <a:ext cx="22324" cy="22927"/>
                <a:chOff x="4754396" y="1917910"/>
                <a:chExt cx="22324" cy="22927"/>
              </a:xfrm>
              <a:grpFill/>
            </p:grpSpPr>
            <p:sp>
              <p:nvSpPr>
                <p:cNvPr id="2839" name="Vrije vorm: vorm 2838">
                  <a:extLst>
                    <a:ext uri="{FF2B5EF4-FFF2-40B4-BE49-F238E27FC236}">
                      <a16:creationId xmlns:a16="http://schemas.microsoft.com/office/drawing/2014/main" id="{10880957-C7A5-4AF6-A91E-1DACB6273AC9}"/>
                    </a:ext>
                  </a:extLst>
                </p:cNvPr>
                <p:cNvSpPr/>
                <p:nvPr/>
              </p:nvSpPr>
              <p:spPr>
                <a:xfrm>
                  <a:off x="4762169" y="1925713"/>
                  <a:ext cx="6818" cy="7296"/>
                </a:xfrm>
                <a:custGeom>
                  <a:avLst/>
                  <a:gdLst>
                    <a:gd name="connsiteX0" fmla="*/ 6818 w 6818"/>
                    <a:gd name="connsiteY0" fmla="*/ 5263 h 7296"/>
                    <a:gd name="connsiteX1" fmla="*/ 4545 w 6818"/>
                    <a:gd name="connsiteY1" fmla="*/ 7296 h 7296"/>
                    <a:gd name="connsiteX2" fmla="*/ 0 w 6818"/>
                    <a:gd name="connsiteY2" fmla="*/ 2033 h 7296"/>
                    <a:gd name="connsiteX3" fmla="*/ 2273 w 6818"/>
                    <a:gd name="connsiteY3" fmla="*/ 0 h 7296"/>
                  </a:gdLst>
                  <a:ahLst/>
                  <a:cxnLst>
                    <a:cxn ang="0">
                      <a:pos x="connsiteX0" y="connsiteY0"/>
                    </a:cxn>
                    <a:cxn ang="0">
                      <a:pos x="connsiteX1" y="connsiteY1"/>
                    </a:cxn>
                    <a:cxn ang="0">
                      <a:pos x="connsiteX2" y="connsiteY2"/>
                    </a:cxn>
                    <a:cxn ang="0">
                      <a:pos x="connsiteX3" y="connsiteY3"/>
                    </a:cxn>
                  </a:cxnLst>
                  <a:rect l="l" t="t" r="r" b="b"/>
                  <a:pathLst>
                    <a:path w="6818" h="7296">
                      <a:moveTo>
                        <a:pt x="6818" y="5263"/>
                      </a:moveTo>
                      <a:lnTo>
                        <a:pt x="4545" y="7296"/>
                      </a:lnTo>
                      <a:lnTo>
                        <a:pt x="0" y="2033"/>
                      </a:lnTo>
                      <a:lnTo>
                        <a:pt x="2273" y="0"/>
                      </a:lnTo>
                      <a:close/>
                    </a:path>
                  </a:pathLst>
                </a:custGeom>
                <a:grpFill/>
                <a:ln w="5978" cap="flat">
                  <a:noFill/>
                  <a:prstDash val="solid"/>
                  <a:miter/>
                </a:ln>
              </p:spPr>
              <p:txBody>
                <a:bodyPr rtlCol="0" anchor="ctr"/>
                <a:lstStyle/>
                <a:p>
                  <a:endParaRPr lang="en-GB"/>
                </a:p>
              </p:txBody>
            </p:sp>
            <p:sp>
              <p:nvSpPr>
                <p:cNvPr id="2840" name="Vrije vorm: vorm 2839">
                  <a:extLst>
                    <a:ext uri="{FF2B5EF4-FFF2-40B4-BE49-F238E27FC236}">
                      <a16:creationId xmlns:a16="http://schemas.microsoft.com/office/drawing/2014/main" id="{DAFBF138-2FC6-4F79-824E-71E482625F6C}"/>
                    </a:ext>
                  </a:extLst>
                </p:cNvPr>
                <p:cNvSpPr/>
                <p:nvPr/>
              </p:nvSpPr>
              <p:spPr>
                <a:xfrm>
                  <a:off x="4754396" y="1917910"/>
                  <a:ext cx="18273" cy="18381"/>
                </a:xfrm>
                <a:custGeom>
                  <a:avLst/>
                  <a:gdLst>
                    <a:gd name="connsiteX0" fmla="*/ 2271 w 18273"/>
                    <a:gd name="connsiteY0" fmla="*/ 15219 h 18381"/>
                    <a:gd name="connsiteX1" fmla="*/ 3108 w 18273"/>
                    <a:gd name="connsiteY1" fmla="*/ 2241 h 18381"/>
                    <a:gd name="connsiteX2" fmla="*/ 16027 w 18273"/>
                    <a:gd name="connsiteY2" fmla="*/ 3138 h 18381"/>
                    <a:gd name="connsiteX3" fmla="*/ 15189 w 18273"/>
                    <a:gd name="connsiteY3" fmla="*/ 16116 h 18381"/>
                    <a:gd name="connsiteX4" fmla="*/ 2271 w 18273"/>
                    <a:gd name="connsiteY4" fmla="*/ 15219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381">
                      <a:moveTo>
                        <a:pt x="2271" y="15219"/>
                      </a:moveTo>
                      <a:cubicBezTo>
                        <a:pt x="-1078" y="11392"/>
                        <a:pt x="-660" y="5531"/>
                        <a:pt x="3108" y="2241"/>
                      </a:cubicBezTo>
                      <a:cubicBezTo>
                        <a:pt x="6876" y="-1048"/>
                        <a:pt x="12737" y="-689"/>
                        <a:pt x="16027" y="3138"/>
                      </a:cubicBezTo>
                      <a:cubicBezTo>
                        <a:pt x="19316" y="6966"/>
                        <a:pt x="18957" y="12827"/>
                        <a:pt x="15189" y="16116"/>
                      </a:cubicBezTo>
                      <a:cubicBezTo>
                        <a:pt x="11421" y="19466"/>
                        <a:pt x="5620" y="19047"/>
                        <a:pt x="2271" y="15219"/>
                      </a:cubicBezTo>
                      <a:close/>
                    </a:path>
                  </a:pathLst>
                </a:custGeom>
                <a:grpFill/>
                <a:ln w="5978" cap="flat">
                  <a:noFill/>
                  <a:prstDash val="solid"/>
                  <a:miter/>
                </a:ln>
              </p:spPr>
              <p:txBody>
                <a:bodyPr rtlCol="0" anchor="ctr"/>
                <a:lstStyle/>
                <a:p>
                  <a:endParaRPr lang="en-GB"/>
                </a:p>
              </p:txBody>
            </p:sp>
            <p:sp>
              <p:nvSpPr>
                <p:cNvPr id="2841" name="Vrije vorm: vorm 2840">
                  <a:extLst>
                    <a:ext uri="{FF2B5EF4-FFF2-40B4-BE49-F238E27FC236}">
                      <a16:creationId xmlns:a16="http://schemas.microsoft.com/office/drawing/2014/main" id="{BB0F1AAD-7CCD-438D-A4B1-E15966F4E99C}"/>
                    </a:ext>
                  </a:extLst>
                </p:cNvPr>
                <p:cNvSpPr/>
                <p:nvPr/>
              </p:nvSpPr>
              <p:spPr>
                <a:xfrm>
                  <a:off x="4758403" y="1922431"/>
                  <a:ext cx="18317" cy="18405"/>
                </a:xfrm>
                <a:custGeom>
                  <a:avLst/>
                  <a:gdLst>
                    <a:gd name="connsiteX0" fmla="*/ 2271 w 18317"/>
                    <a:gd name="connsiteY0" fmla="*/ 15244 h 18405"/>
                    <a:gd name="connsiteX1" fmla="*/ 15190 w 18317"/>
                    <a:gd name="connsiteY1" fmla="*/ 16141 h 18405"/>
                    <a:gd name="connsiteX2" fmla="*/ 16027 w 18317"/>
                    <a:gd name="connsiteY2" fmla="*/ 3163 h 18405"/>
                    <a:gd name="connsiteX3" fmla="*/ 3108 w 18317"/>
                    <a:gd name="connsiteY3" fmla="*/ 2265 h 18405"/>
                    <a:gd name="connsiteX4" fmla="*/ 2271 w 18317"/>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05">
                      <a:moveTo>
                        <a:pt x="2271" y="15244"/>
                      </a:moveTo>
                      <a:cubicBezTo>
                        <a:pt x="5620" y="19071"/>
                        <a:pt x="11422" y="19490"/>
                        <a:pt x="15190" y="16141"/>
                      </a:cubicBezTo>
                      <a:cubicBezTo>
                        <a:pt x="19017" y="12791"/>
                        <a:pt x="19376" y="6990"/>
                        <a:pt x="16027" y="3163"/>
                      </a:cubicBezTo>
                      <a:cubicBezTo>
                        <a:pt x="12677" y="-665"/>
                        <a:pt x="6876" y="-1084"/>
                        <a:pt x="3108" y="2265"/>
                      </a:cubicBezTo>
                      <a:cubicBezTo>
                        <a:pt x="-660" y="5615"/>
                        <a:pt x="-1078" y="11416"/>
                        <a:pt x="2271" y="15244"/>
                      </a:cubicBezTo>
                      <a:close/>
                    </a:path>
                  </a:pathLst>
                </a:custGeom>
                <a:grpFill/>
                <a:ln w="5978" cap="flat">
                  <a:noFill/>
                  <a:prstDash val="solid"/>
                  <a:miter/>
                </a:ln>
              </p:spPr>
              <p:txBody>
                <a:bodyPr rtlCol="0" anchor="ctr"/>
                <a:lstStyle/>
                <a:p>
                  <a:endParaRPr lang="en-GB"/>
                </a:p>
              </p:txBody>
            </p:sp>
          </p:grpSp>
          <p:grpSp>
            <p:nvGrpSpPr>
              <p:cNvPr id="854" name="Graphic 3">
                <a:extLst>
                  <a:ext uri="{FF2B5EF4-FFF2-40B4-BE49-F238E27FC236}">
                    <a16:creationId xmlns:a16="http://schemas.microsoft.com/office/drawing/2014/main" id="{0E10EB28-6C6C-471D-96E1-E8689AB649DC}"/>
                  </a:ext>
                </a:extLst>
              </p:cNvPr>
              <p:cNvGrpSpPr/>
              <p:nvPr/>
            </p:nvGrpSpPr>
            <p:grpSpPr>
              <a:xfrm>
                <a:off x="4757815" y="1976268"/>
                <a:ext cx="49577" cy="53252"/>
                <a:chOff x="4757815" y="1976268"/>
                <a:chExt cx="49577" cy="53252"/>
              </a:xfrm>
              <a:grpFill/>
            </p:grpSpPr>
            <p:sp>
              <p:nvSpPr>
                <p:cNvPr id="2836" name="Vrije vorm: vorm 2835">
                  <a:extLst>
                    <a:ext uri="{FF2B5EF4-FFF2-40B4-BE49-F238E27FC236}">
                      <a16:creationId xmlns:a16="http://schemas.microsoft.com/office/drawing/2014/main" id="{F955E326-5B11-427F-922E-13C271AE1D35}"/>
                    </a:ext>
                  </a:extLst>
                </p:cNvPr>
                <p:cNvSpPr/>
                <p:nvPr/>
              </p:nvSpPr>
              <p:spPr>
                <a:xfrm>
                  <a:off x="4765518" y="1984144"/>
                  <a:ext cx="34209" cy="37558"/>
                </a:xfrm>
                <a:custGeom>
                  <a:avLst/>
                  <a:gdLst>
                    <a:gd name="connsiteX0" fmla="*/ 34210 w 34209"/>
                    <a:gd name="connsiteY0" fmla="*/ 35526 h 37558"/>
                    <a:gd name="connsiteX1" fmla="*/ 31937 w 34209"/>
                    <a:gd name="connsiteY1" fmla="*/ 37559 h 37558"/>
                    <a:gd name="connsiteX2" fmla="*/ 0 w 34209"/>
                    <a:gd name="connsiteY2" fmla="*/ 2093 h 37558"/>
                    <a:gd name="connsiteX3" fmla="*/ 2273 w 34209"/>
                    <a:gd name="connsiteY3" fmla="*/ 0 h 37558"/>
                  </a:gdLst>
                  <a:ahLst/>
                  <a:cxnLst>
                    <a:cxn ang="0">
                      <a:pos x="connsiteX0" y="connsiteY0"/>
                    </a:cxn>
                    <a:cxn ang="0">
                      <a:pos x="connsiteX1" y="connsiteY1"/>
                    </a:cxn>
                    <a:cxn ang="0">
                      <a:pos x="connsiteX2" y="connsiteY2"/>
                    </a:cxn>
                    <a:cxn ang="0">
                      <a:pos x="connsiteX3" y="connsiteY3"/>
                    </a:cxn>
                  </a:cxnLst>
                  <a:rect l="l" t="t" r="r" b="b"/>
                  <a:pathLst>
                    <a:path w="34209" h="37558">
                      <a:moveTo>
                        <a:pt x="34210" y="35526"/>
                      </a:moveTo>
                      <a:lnTo>
                        <a:pt x="31937" y="37559"/>
                      </a:lnTo>
                      <a:lnTo>
                        <a:pt x="0" y="2093"/>
                      </a:lnTo>
                      <a:lnTo>
                        <a:pt x="2273" y="0"/>
                      </a:lnTo>
                      <a:close/>
                    </a:path>
                  </a:pathLst>
                </a:custGeom>
                <a:grpFill/>
                <a:ln w="5978" cap="flat">
                  <a:noFill/>
                  <a:prstDash val="solid"/>
                  <a:miter/>
                </a:ln>
              </p:spPr>
              <p:txBody>
                <a:bodyPr rtlCol="0" anchor="ctr"/>
                <a:lstStyle/>
                <a:p>
                  <a:endParaRPr lang="en-GB"/>
                </a:p>
              </p:txBody>
            </p:sp>
            <p:sp>
              <p:nvSpPr>
                <p:cNvPr id="2837" name="Vrije vorm: vorm 2836">
                  <a:extLst>
                    <a:ext uri="{FF2B5EF4-FFF2-40B4-BE49-F238E27FC236}">
                      <a16:creationId xmlns:a16="http://schemas.microsoft.com/office/drawing/2014/main" id="{ABAA320B-478E-4E6D-B34B-924CD105C3A7}"/>
                    </a:ext>
                  </a:extLst>
                </p:cNvPr>
                <p:cNvSpPr/>
                <p:nvPr/>
              </p:nvSpPr>
              <p:spPr>
                <a:xfrm>
                  <a:off x="4757815" y="1976268"/>
                  <a:ext cx="18277" cy="18489"/>
                </a:xfrm>
                <a:custGeom>
                  <a:avLst/>
                  <a:gdLst>
                    <a:gd name="connsiteX0" fmla="*/ 2380 w 18277"/>
                    <a:gd name="connsiteY0" fmla="*/ 15412 h 18489"/>
                    <a:gd name="connsiteX1" fmla="*/ 2979 w 18277"/>
                    <a:gd name="connsiteY1" fmla="*/ 2374 h 18489"/>
                    <a:gd name="connsiteX2" fmla="*/ 15897 w 18277"/>
                    <a:gd name="connsiteY2" fmla="*/ 3032 h 18489"/>
                    <a:gd name="connsiteX3" fmla="*/ 15299 w 18277"/>
                    <a:gd name="connsiteY3" fmla="*/ 16070 h 18489"/>
                    <a:gd name="connsiteX4" fmla="*/ 2380 w 18277"/>
                    <a:gd name="connsiteY4" fmla="*/ 15412 h 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89">
                      <a:moveTo>
                        <a:pt x="2380" y="15412"/>
                      </a:moveTo>
                      <a:cubicBezTo>
                        <a:pt x="-1028" y="11645"/>
                        <a:pt x="-730" y="5783"/>
                        <a:pt x="2979" y="2374"/>
                      </a:cubicBezTo>
                      <a:cubicBezTo>
                        <a:pt x="6746" y="-1035"/>
                        <a:pt x="12548" y="-736"/>
                        <a:pt x="15897" y="3032"/>
                      </a:cubicBezTo>
                      <a:cubicBezTo>
                        <a:pt x="19306" y="6800"/>
                        <a:pt x="19007" y="12661"/>
                        <a:pt x="15299" y="16070"/>
                      </a:cubicBezTo>
                      <a:cubicBezTo>
                        <a:pt x="11591" y="19539"/>
                        <a:pt x="5789" y="19240"/>
                        <a:pt x="2380" y="15412"/>
                      </a:cubicBezTo>
                      <a:close/>
                    </a:path>
                  </a:pathLst>
                </a:custGeom>
                <a:grpFill/>
                <a:ln w="5978" cap="flat">
                  <a:noFill/>
                  <a:prstDash val="solid"/>
                  <a:miter/>
                </a:ln>
              </p:spPr>
              <p:txBody>
                <a:bodyPr rtlCol="0" anchor="ctr"/>
                <a:lstStyle/>
                <a:p>
                  <a:endParaRPr lang="en-GB"/>
                </a:p>
              </p:txBody>
            </p:sp>
            <p:sp>
              <p:nvSpPr>
                <p:cNvPr id="2838" name="Vrije vorm: vorm 2837">
                  <a:extLst>
                    <a:ext uri="{FF2B5EF4-FFF2-40B4-BE49-F238E27FC236}">
                      <a16:creationId xmlns:a16="http://schemas.microsoft.com/office/drawing/2014/main" id="{A696C61A-4270-44BC-AD08-6F0C160A63D4}"/>
                    </a:ext>
                  </a:extLst>
                </p:cNvPr>
                <p:cNvSpPr/>
                <p:nvPr/>
              </p:nvSpPr>
              <p:spPr>
                <a:xfrm>
                  <a:off x="4789094" y="2011076"/>
                  <a:ext cx="18298" cy="18444"/>
                </a:xfrm>
                <a:custGeom>
                  <a:avLst/>
                  <a:gdLst>
                    <a:gd name="connsiteX0" fmla="*/ 2381 w 18298"/>
                    <a:gd name="connsiteY0" fmla="*/ 15412 h 18444"/>
                    <a:gd name="connsiteX1" fmla="*/ 15299 w 18298"/>
                    <a:gd name="connsiteY1" fmla="*/ 16070 h 18444"/>
                    <a:gd name="connsiteX2" fmla="*/ 15897 w 18298"/>
                    <a:gd name="connsiteY2" fmla="*/ 3032 h 18444"/>
                    <a:gd name="connsiteX3" fmla="*/ 2978 w 18298"/>
                    <a:gd name="connsiteY3" fmla="*/ 2374 h 18444"/>
                    <a:gd name="connsiteX4" fmla="*/ 2381 w 18298"/>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44">
                      <a:moveTo>
                        <a:pt x="2381" y="15412"/>
                      </a:moveTo>
                      <a:cubicBezTo>
                        <a:pt x="5790" y="19180"/>
                        <a:pt x="11591" y="19479"/>
                        <a:pt x="15299" y="16070"/>
                      </a:cubicBezTo>
                      <a:cubicBezTo>
                        <a:pt x="19067" y="12661"/>
                        <a:pt x="19306" y="6860"/>
                        <a:pt x="15897" y="3032"/>
                      </a:cubicBezTo>
                      <a:cubicBezTo>
                        <a:pt x="12488" y="-736"/>
                        <a:pt x="6686" y="-1035"/>
                        <a:pt x="2978" y="2374"/>
                      </a:cubicBezTo>
                      <a:cubicBezTo>
                        <a:pt x="-730" y="5843"/>
                        <a:pt x="-1029" y="11644"/>
                        <a:pt x="2381" y="15412"/>
                      </a:cubicBezTo>
                      <a:close/>
                    </a:path>
                  </a:pathLst>
                </a:custGeom>
                <a:grpFill/>
                <a:ln w="5978" cap="flat">
                  <a:noFill/>
                  <a:prstDash val="solid"/>
                  <a:miter/>
                </a:ln>
              </p:spPr>
              <p:txBody>
                <a:bodyPr rtlCol="0" anchor="ctr"/>
                <a:lstStyle/>
                <a:p>
                  <a:endParaRPr lang="en-GB"/>
                </a:p>
              </p:txBody>
            </p:sp>
          </p:grpSp>
          <p:grpSp>
            <p:nvGrpSpPr>
              <p:cNvPr id="855" name="Graphic 3">
                <a:extLst>
                  <a:ext uri="{FF2B5EF4-FFF2-40B4-BE49-F238E27FC236}">
                    <a16:creationId xmlns:a16="http://schemas.microsoft.com/office/drawing/2014/main" id="{23BA124F-6322-4FFA-BF33-4EED6647421F}"/>
                  </a:ext>
                </a:extLst>
              </p:cNvPr>
              <p:cNvGrpSpPr/>
              <p:nvPr/>
            </p:nvGrpSpPr>
            <p:grpSpPr>
              <a:xfrm>
                <a:off x="5834014" y="5093677"/>
                <a:ext cx="73342" cy="250158"/>
                <a:chOff x="5834014" y="5093677"/>
                <a:chExt cx="73342" cy="250158"/>
              </a:xfrm>
              <a:grpFill/>
            </p:grpSpPr>
            <p:sp>
              <p:nvSpPr>
                <p:cNvPr id="2833" name="Vrije vorm: vorm 2832">
                  <a:extLst>
                    <a:ext uri="{FF2B5EF4-FFF2-40B4-BE49-F238E27FC236}">
                      <a16:creationId xmlns:a16="http://schemas.microsoft.com/office/drawing/2014/main" id="{35B6A90F-96AB-410E-BBC4-48D49F8FC3BD}"/>
                    </a:ext>
                  </a:extLst>
                </p:cNvPr>
                <p:cNvSpPr/>
                <p:nvPr/>
              </p:nvSpPr>
              <p:spPr>
                <a:xfrm>
                  <a:off x="5841570" y="5102074"/>
                  <a:ext cx="58132" cy="233367"/>
                </a:xfrm>
                <a:custGeom>
                  <a:avLst/>
                  <a:gdLst>
                    <a:gd name="connsiteX0" fmla="*/ 58132 w 58132"/>
                    <a:gd name="connsiteY0" fmla="*/ 718 h 233367"/>
                    <a:gd name="connsiteX1" fmla="*/ 2990 w 58132"/>
                    <a:gd name="connsiteY1" fmla="*/ 233368 h 233367"/>
                    <a:gd name="connsiteX2" fmla="*/ 0 w 58132"/>
                    <a:gd name="connsiteY2" fmla="*/ 232650 h 233367"/>
                    <a:gd name="connsiteX3" fmla="*/ 55202 w 58132"/>
                    <a:gd name="connsiteY3" fmla="*/ 0 h 233367"/>
                  </a:gdLst>
                  <a:ahLst/>
                  <a:cxnLst>
                    <a:cxn ang="0">
                      <a:pos x="connsiteX0" y="connsiteY0"/>
                    </a:cxn>
                    <a:cxn ang="0">
                      <a:pos x="connsiteX1" y="connsiteY1"/>
                    </a:cxn>
                    <a:cxn ang="0">
                      <a:pos x="connsiteX2" y="connsiteY2"/>
                    </a:cxn>
                    <a:cxn ang="0">
                      <a:pos x="connsiteX3" y="connsiteY3"/>
                    </a:cxn>
                  </a:cxnLst>
                  <a:rect l="l" t="t" r="r" b="b"/>
                  <a:pathLst>
                    <a:path w="58132" h="233367">
                      <a:moveTo>
                        <a:pt x="58132" y="718"/>
                      </a:moveTo>
                      <a:lnTo>
                        <a:pt x="2990" y="233368"/>
                      </a:lnTo>
                      <a:lnTo>
                        <a:pt x="0" y="232650"/>
                      </a:lnTo>
                      <a:lnTo>
                        <a:pt x="55202" y="0"/>
                      </a:lnTo>
                      <a:close/>
                    </a:path>
                  </a:pathLst>
                </a:custGeom>
                <a:grpFill/>
                <a:ln w="5978" cap="flat">
                  <a:noFill/>
                  <a:prstDash val="solid"/>
                  <a:miter/>
                </a:ln>
              </p:spPr>
              <p:txBody>
                <a:bodyPr rtlCol="0" anchor="ctr"/>
                <a:lstStyle/>
                <a:p>
                  <a:endParaRPr lang="en-GB"/>
                </a:p>
              </p:txBody>
            </p:sp>
            <p:sp>
              <p:nvSpPr>
                <p:cNvPr id="2834" name="Vrije vorm: vorm 2833">
                  <a:extLst>
                    <a:ext uri="{FF2B5EF4-FFF2-40B4-BE49-F238E27FC236}">
                      <a16:creationId xmlns:a16="http://schemas.microsoft.com/office/drawing/2014/main" id="{DEDADF2F-F71B-4919-B0BE-A8CC5FF55E87}"/>
                    </a:ext>
                  </a:extLst>
                </p:cNvPr>
                <p:cNvSpPr/>
                <p:nvPr/>
              </p:nvSpPr>
              <p:spPr>
                <a:xfrm>
                  <a:off x="5888977" y="5093677"/>
                  <a:ext cx="18379" cy="18408"/>
                </a:xfrm>
                <a:custGeom>
                  <a:avLst/>
                  <a:gdLst>
                    <a:gd name="connsiteX0" fmla="*/ 260 w 18379"/>
                    <a:gd name="connsiteY0" fmla="*/ 7021 h 18408"/>
                    <a:gd name="connsiteX1" fmla="*/ 11324 w 18379"/>
                    <a:gd name="connsiteY1" fmla="*/ 263 h 18408"/>
                    <a:gd name="connsiteX2" fmla="*/ 18142 w 18379"/>
                    <a:gd name="connsiteY2" fmla="*/ 11387 h 18408"/>
                    <a:gd name="connsiteX3" fmla="*/ 7078 w 18379"/>
                    <a:gd name="connsiteY3" fmla="*/ 18145 h 18408"/>
                    <a:gd name="connsiteX4" fmla="*/ 260 w 1837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08">
                      <a:moveTo>
                        <a:pt x="260" y="7021"/>
                      </a:moveTo>
                      <a:cubicBezTo>
                        <a:pt x="1456" y="2057"/>
                        <a:pt x="6360" y="-933"/>
                        <a:pt x="11324" y="263"/>
                      </a:cubicBezTo>
                      <a:cubicBezTo>
                        <a:pt x="16228" y="1459"/>
                        <a:pt x="19278" y="6423"/>
                        <a:pt x="18142" y="11387"/>
                      </a:cubicBezTo>
                      <a:cubicBezTo>
                        <a:pt x="16946" y="16351"/>
                        <a:pt x="12042" y="19342"/>
                        <a:pt x="7078" y="18145"/>
                      </a:cubicBezTo>
                      <a:cubicBezTo>
                        <a:pt x="2114" y="16949"/>
                        <a:pt x="-937" y="11985"/>
                        <a:pt x="260" y="7021"/>
                      </a:cubicBezTo>
                      <a:close/>
                    </a:path>
                  </a:pathLst>
                </a:custGeom>
                <a:grpFill/>
                <a:ln w="5978" cap="flat">
                  <a:noFill/>
                  <a:prstDash val="solid"/>
                  <a:miter/>
                </a:ln>
              </p:spPr>
              <p:txBody>
                <a:bodyPr rtlCol="0" anchor="ctr"/>
                <a:lstStyle/>
                <a:p>
                  <a:endParaRPr lang="en-GB"/>
                </a:p>
              </p:txBody>
            </p:sp>
            <p:sp>
              <p:nvSpPr>
                <p:cNvPr id="2835" name="Vrije vorm: vorm 2834">
                  <a:extLst>
                    <a:ext uri="{FF2B5EF4-FFF2-40B4-BE49-F238E27FC236}">
                      <a16:creationId xmlns:a16="http://schemas.microsoft.com/office/drawing/2014/main" id="{4A6DB8EB-7D78-45FE-9D84-4762BC23EAB7}"/>
                    </a:ext>
                  </a:extLst>
                </p:cNvPr>
                <p:cNvSpPr/>
                <p:nvPr/>
              </p:nvSpPr>
              <p:spPr>
                <a:xfrm>
                  <a:off x="5834014" y="5325430"/>
                  <a:ext cx="18401" cy="18405"/>
                </a:xfrm>
                <a:custGeom>
                  <a:avLst/>
                  <a:gdLst>
                    <a:gd name="connsiteX0" fmla="*/ 260 w 18401"/>
                    <a:gd name="connsiteY0" fmla="*/ 7021 h 18405"/>
                    <a:gd name="connsiteX1" fmla="*/ 7078 w 18401"/>
                    <a:gd name="connsiteY1" fmla="*/ 18145 h 18405"/>
                    <a:gd name="connsiteX2" fmla="*/ 18142 w 18401"/>
                    <a:gd name="connsiteY2" fmla="*/ 11387 h 18405"/>
                    <a:gd name="connsiteX3" fmla="*/ 11324 w 18401"/>
                    <a:gd name="connsiteY3" fmla="*/ 263 h 18405"/>
                    <a:gd name="connsiteX4" fmla="*/ 260 w 18401"/>
                    <a:gd name="connsiteY4" fmla="*/ 702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05">
                      <a:moveTo>
                        <a:pt x="260" y="7021"/>
                      </a:moveTo>
                      <a:cubicBezTo>
                        <a:pt x="-937" y="11985"/>
                        <a:pt x="2114" y="16949"/>
                        <a:pt x="7078" y="18145"/>
                      </a:cubicBezTo>
                      <a:cubicBezTo>
                        <a:pt x="11982" y="19342"/>
                        <a:pt x="16946" y="16291"/>
                        <a:pt x="18142" y="11387"/>
                      </a:cubicBezTo>
                      <a:cubicBezTo>
                        <a:pt x="19338" y="6423"/>
                        <a:pt x="16288" y="1459"/>
                        <a:pt x="11324" y="263"/>
                      </a:cubicBezTo>
                      <a:cubicBezTo>
                        <a:pt x="6360" y="-933"/>
                        <a:pt x="1456" y="2057"/>
                        <a:pt x="260" y="7021"/>
                      </a:cubicBezTo>
                      <a:close/>
                    </a:path>
                  </a:pathLst>
                </a:custGeom>
                <a:grpFill/>
                <a:ln w="5978" cap="flat">
                  <a:noFill/>
                  <a:prstDash val="solid"/>
                  <a:miter/>
                </a:ln>
              </p:spPr>
              <p:txBody>
                <a:bodyPr rtlCol="0" anchor="ctr"/>
                <a:lstStyle/>
                <a:p>
                  <a:endParaRPr lang="en-GB"/>
                </a:p>
              </p:txBody>
            </p:sp>
          </p:grpSp>
          <p:grpSp>
            <p:nvGrpSpPr>
              <p:cNvPr id="856" name="Graphic 3">
                <a:extLst>
                  <a:ext uri="{FF2B5EF4-FFF2-40B4-BE49-F238E27FC236}">
                    <a16:creationId xmlns:a16="http://schemas.microsoft.com/office/drawing/2014/main" id="{A69DC08E-BA06-4FB8-9D12-E434A3FA7D39}"/>
                  </a:ext>
                </a:extLst>
              </p:cNvPr>
              <p:cNvGrpSpPr/>
              <p:nvPr/>
            </p:nvGrpSpPr>
            <p:grpSpPr>
              <a:xfrm>
                <a:off x="5896262" y="5271895"/>
                <a:ext cx="30676" cy="187131"/>
                <a:chOff x="5896262" y="5271895"/>
                <a:chExt cx="30676" cy="187131"/>
              </a:xfrm>
              <a:grpFill/>
            </p:grpSpPr>
            <p:sp>
              <p:nvSpPr>
                <p:cNvPr id="2830" name="Vrije vorm: vorm 2829">
                  <a:extLst>
                    <a:ext uri="{FF2B5EF4-FFF2-40B4-BE49-F238E27FC236}">
                      <a16:creationId xmlns:a16="http://schemas.microsoft.com/office/drawing/2014/main" id="{6AC2C554-D737-4041-96E5-A97258F35744}"/>
                    </a:ext>
                  </a:extLst>
                </p:cNvPr>
                <p:cNvSpPr/>
                <p:nvPr/>
              </p:nvSpPr>
              <p:spPr>
                <a:xfrm>
                  <a:off x="5903829" y="5280539"/>
                  <a:ext cx="15549" cy="169852"/>
                </a:xfrm>
                <a:custGeom>
                  <a:avLst/>
                  <a:gdLst>
                    <a:gd name="connsiteX0" fmla="*/ 15550 w 15549"/>
                    <a:gd name="connsiteY0" fmla="*/ 239 h 169852"/>
                    <a:gd name="connsiteX1" fmla="*/ 3050 w 15549"/>
                    <a:gd name="connsiteY1" fmla="*/ 169852 h 169852"/>
                    <a:gd name="connsiteX2" fmla="*/ 0 w 15549"/>
                    <a:gd name="connsiteY2" fmla="*/ 169613 h 169852"/>
                    <a:gd name="connsiteX3" fmla="*/ 12500 w 15549"/>
                    <a:gd name="connsiteY3" fmla="*/ 0 h 169852"/>
                  </a:gdLst>
                  <a:ahLst/>
                  <a:cxnLst>
                    <a:cxn ang="0">
                      <a:pos x="connsiteX0" y="connsiteY0"/>
                    </a:cxn>
                    <a:cxn ang="0">
                      <a:pos x="connsiteX1" y="connsiteY1"/>
                    </a:cxn>
                    <a:cxn ang="0">
                      <a:pos x="connsiteX2" y="connsiteY2"/>
                    </a:cxn>
                    <a:cxn ang="0">
                      <a:pos x="connsiteX3" y="connsiteY3"/>
                    </a:cxn>
                  </a:cxnLst>
                  <a:rect l="l" t="t" r="r" b="b"/>
                  <a:pathLst>
                    <a:path w="15549" h="169852">
                      <a:moveTo>
                        <a:pt x="15550" y="239"/>
                      </a:moveTo>
                      <a:lnTo>
                        <a:pt x="3050" y="169852"/>
                      </a:lnTo>
                      <a:lnTo>
                        <a:pt x="0" y="169613"/>
                      </a:lnTo>
                      <a:lnTo>
                        <a:pt x="12500" y="0"/>
                      </a:lnTo>
                      <a:close/>
                    </a:path>
                  </a:pathLst>
                </a:custGeom>
                <a:grpFill/>
                <a:ln w="5978" cap="flat">
                  <a:noFill/>
                  <a:prstDash val="solid"/>
                  <a:miter/>
                </a:ln>
              </p:spPr>
              <p:txBody>
                <a:bodyPr rtlCol="0" anchor="ctr"/>
                <a:lstStyle/>
                <a:p>
                  <a:endParaRPr lang="en-GB"/>
                </a:p>
              </p:txBody>
            </p:sp>
            <p:sp>
              <p:nvSpPr>
                <p:cNvPr id="2831" name="Vrije vorm: vorm 2830">
                  <a:extLst>
                    <a:ext uri="{FF2B5EF4-FFF2-40B4-BE49-F238E27FC236}">
                      <a16:creationId xmlns:a16="http://schemas.microsoft.com/office/drawing/2014/main" id="{A97FD211-93CA-4B7F-ABEB-3ED36C2AD58F}"/>
                    </a:ext>
                  </a:extLst>
                </p:cNvPr>
                <p:cNvSpPr/>
                <p:nvPr/>
              </p:nvSpPr>
              <p:spPr>
                <a:xfrm>
                  <a:off x="5896262" y="5440559"/>
                  <a:ext cx="18296" cy="18467"/>
                </a:xfrm>
                <a:custGeom>
                  <a:avLst/>
                  <a:gdLst>
                    <a:gd name="connsiteX0" fmla="*/ 18272 w 18296"/>
                    <a:gd name="connsiteY0" fmla="*/ 9952 h 18467"/>
                    <a:gd name="connsiteX1" fmla="*/ 8464 w 18296"/>
                    <a:gd name="connsiteY1" fmla="*/ 18444 h 18467"/>
                    <a:gd name="connsiteX2" fmla="*/ 31 w 18296"/>
                    <a:gd name="connsiteY2" fmla="*/ 8517 h 18467"/>
                    <a:gd name="connsiteX3" fmla="*/ 9840 w 18296"/>
                    <a:gd name="connsiteY3" fmla="*/ 24 h 18467"/>
                    <a:gd name="connsiteX4" fmla="*/ 18272 w 18296"/>
                    <a:gd name="connsiteY4" fmla="*/ 995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7">
                      <a:moveTo>
                        <a:pt x="18272" y="9952"/>
                      </a:moveTo>
                      <a:cubicBezTo>
                        <a:pt x="17914" y="15035"/>
                        <a:pt x="13488" y="18803"/>
                        <a:pt x="8464" y="18444"/>
                      </a:cubicBezTo>
                      <a:cubicBezTo>
                        <a:pt x="3440" y="18026"/>
                        <a:pt x="-387" y="13600"/>
                        <a:pt x="31" y="8517"/>
                      </a:cubicBezTo>
                      <a:cubicBezTo>
                        <a:pt x="390" y="3433"/>
                        <a:pt x="4816" y="-335"/>
                        <a:pt x="9840" y="24"/>
                      </a:cubicBezTo>
                      <a:cubicBezTo>
                        <a:pt x="14863" y="442"/>
                        <a:pt x="18631" y="4928"/>
                        <a:pt x="18272" y="9952"/>
                      </a:cubicBezTo>
                      <a:close/>
                    </a:path>
                  </a:pathLst>
                </a:custGeom>
                <a:grpFill/>
                <a:ln w="5978" cap="flat">
                  <a:noFill/>
                  <a:prstDash val="solid"/>
                  <a:miter/>
                </a:ln>
              </p:spPr>
              <p:txBody>
                <a:bodyPr rtlCol="0" anchor="ctr"/>
                <a:lstStyle/>
                <a:p>
                  <a:endParaRPr lang="en-GB"/>
                </a:p>
              </p:txBody>
            </p:sp>
            <p:sp>
              <p:nvSpPr>
                <p:cNvPr id="2832" name="Vrije vorm: vorm 2831">
                  <a:extLst>
                    <a:ext uri="{FF2B5EF4-FFF2-40B4-BE49-F238E27FC236}">
                      <a16:creationId xmlns:a16="http://schemas.microsoft.com/office/drawing/2014/main" id="{021A81BA-E708-414F-B5EB-23CAA301C639}"/>
                    </a:ext>
                  </a:extLst>
                </p:cNvPr>
                <p:cNvSpPr/>
                <p:nvPr/>
              </p:nvSpPr>
              <p:spPr>
                <a:xfrm>
                  <a:off x="5908590" y="5271895"/>
                  <a:ext cx="18348" cy="18475"/>
                </a:xfrm>
                <a:custGeom>
                  <a:avLst/>
                  <a:gdLst>
                    <a:gd name="connsiteX0" fmla="*/ 18325 w 18348"/>
                    <a:gd name="connsiteY0" fmla="*/ 9959 h 18475"/>
                    <a:gd name="connsiteX1" fmla="*/ 9832 w 18348"/>
                    <a:gd name="connsiteY1" fmla="*/ 31 h 18475"/>
                    <a:gd name="connsiteX2" fmla="*/ 24 w 18348"/>
                    <a:gd name="connsiteY2" fmla="*/ 8524 h 18475"/>
                    <a:gd name="connsiteX3" fmla="*/ 8457 w 18348"/>
                    <a:gd name="connsiteY3" fmla="*/ 18452 h 18475"/>
                    <a:gd name="connsiteX4" fmla="*/ 18325 w 18348"/>
                    <a:gd name="connsiteY4" fmla="*/ 9959 h 18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75">
                      <a:moveTo>
                        <a:pt x="18325" y="9959"/>
                      </a:moveTo>
                      <a:cubicBezTo>
                        <a:pt x="18683" y="4876"/>
                        <a:pt x="14916" y="450"/>
                        <a:pt x="9832" y="31"/>
                      </a:cubicBezTo>
                      <a:cubicBezTo>
                        <a:pt x="4808" y="-387"/>
                        <a:pt x="382" y="3440"/>
                        <a:pt x="24" y="8524"/>
                      </a:cubicBezTo>
                      <a:cubicBezTo>
                        <a:pt x="-335" y="13607"/>
                        <a:pt x="3433" y="18033"/>
                        <a:pt x="8457" y="18452"/>
                      </a:cubicBezTo>
                      <a:cubicBezTo>
                        <a:pt x="13600" y="18811"/>
                        <a:pt x="17966" y="15043"/>
                        <a:pt x="18325" y="9959"/>
                      </a:cubicBezTo>
                      <a:close/>
                    </a:path>
                  </a:pathLst>
                </a:custGeom>
                <a:grpFill/>
                <a:ln w="5978" cap="flat">
                  <a:noFill/>
                  <a:prstDash val="solid"/>
                  <a:miter/>
                </a:ln>
              </p:spPr>
              <p:txBody>
                <a:bodyPr rtlCol="0" anchor="ctr"/>
                <a:lstStyle/>
                <a:p>
                  <a:endParaRPr lang="en-GB"/>
                </a:p>
              </p:txBody>
            </p:sp>
          </p:grpSp>
          <p:grpSp>
            <p:nvGrpSpPr>
              <p:cNvPr id="857" name="Graphic 3">
                <a:extLst>
                  <a:ext uri="{FF2B5EF4-FFF2-40B4-BE49-F238E27FC236}">
                    <a16:creationId xmlns:a16="http://schemas.microsoft.com/office/drawing/2014/main" id="{E0FD5C01-92A1-4EE7-B650-5F76F68AE199}"/>
                  </a:ext>
                </a:extLst>
              </p:cNvPr>
              <p:cNvGrpSpPr/>
              <p:nvPr/>
            </p:nvGrpSpPr>
            <p:grpSpPr>
              <a:xfrm>
                <a:off x="5963750" y="5451103"/>
                <a:ext cx="26087" cy="230807"/>
                <a:chOff x="5963750" y="5451103"/>
                <a:chExt cx="26087" cy="230807"/>
              </a:xfrm>
              <a:grpFill/>
            </p:grpSpPr>
            <p:sp>
              <p:nvSpPr>
                <p:cNvPr id="2827" name="Vrije vorm: vorm 2826">
                  <a:extLst>
                    <a:ext uri="{FF2B5EF4-FFF2-40B4-BE49-F238E27FC236}">
                      <a16:creationId xmlns:a16="http://schemas.microsoft.com/office/drawing/2014/main" id="{CB24A5CD-2514-4BB1-9633-3BE963BAC3AA}"/>
                    </a:ext>
                  </a:extLst>
                </p:cNvPr>
                <p:cNvSpPr/>
                <p:nvPr/>
              </p:nvSpPr>
              <p:spPr>
                <a:xfrm>
                  <a:off x="5971411" y="5459781"/>
                  <a:ext cx="10825" cy="213451"/>
                </a:xfrm>
                <a:custGeom>
                  <a:avLst/>
                  <a:gdLst>
                    <a:gd name="connsiteX0" fmla="*/ 10825 w 10825"/>
                    <a:gd name="connsiteY0" fmla="*/ 120 h 213451"/>
                    <a:gd name="connsiteX1" fmla="*/ 3050 w 10825"/>
                    <a:gd name="connsiteY1" fmla="*/ 213452 h 213451"/>
                    <a:gd name="connsiteX2" fmla="*/ 0 w 10825"/>
                    <a:gd name="connsiteY2" fmla="*/ 213332 h 213451"/>
                    <a:gd name="connsiteX3" fmla="*/ 7775 w 10825"/>
                    <a:gd name="connsiteY3" fmla="*/ 0 h 213451"/>
                  </a:gdLst>
                  <a:ahLst/>
                  <a:cxnLst>
                    <a:cxn ang="0">
                      <a:pos x="connsiteX0" y="connsiteY0"/>
                    </a:cxn>
                    <a:cxn ang="0">
                      <a:pos x="connsiteX1" y="connsiteY1"/>
                    </a:cxn>
                    <a:cxn ang="0">
                      <a:pos x="connsiteX2" y="connsiteY2"/>
                    </a:cxn>
                    <a:cxn ang="0">
                      <a:pos x="connsiteX3" y="connsiteY3"/>
                    </a:cxn>
                  </a:cxnLst>
                  <a:rect l="l" t="t" r="r" b="b"/>
                  <a:pathLst>
                    <a:path w="10825" h="213451">
                      <a:moveTo>
                        <a:pt x="10825" y="120"/>
                      </a:moveTo>
                      <a:lnTo>
                        <a:pt x="3050" y="213452"/>
                      </a:lnTo>
                      <a:lnTo>
                        <a:pt x="0" y="213332"/>
                      </a:lnTo>
                      <a:lnTo>
                        <a:pt x="7775" y="0"/>
                      </a:lnTo>
                      <a:close/>
                    </a:path>
                  </a:pathLst>
                </a:custGeom>
                <a:grpFill/>
                <a:ln w="5978" cap="flat">
                  <a:noFill/>
                  <a:prstDash val="solid"/>
                  <a:miter/>
                </a:ln>
              </p:spPr>
              <p:txBody>
                <a:bodyPr rtlCol="0" anchor="ctr"/>
                <a:lstStyle/>
                <a:p>
                  <a:endParaRPr lang="en-GB"/>
                </a:p>
              </p:txBody>
            </p:sp>
            <p:sp>
              <p:nvSpPr>
                <p:cNvPr id="2828" name="Vrije vorm: vorm 2827">
                  <a:extLst>
                    <a:ext uri="{FF2B5EF4-FFF2-40B4-BE49-F238E27FC236}">
                      <a16:creationId xmlns:a16="http://schemas.microsoft.com/office/drawing/2014/main" id="{5451845A-B796-434D-ABCF-701791F930F5}"/>
                    </a:ext>
                  </a:extLst>
                </p:cNvPr>
                <p:cNvSpPr/>
                <p:nvPr/>
              </p:nvSpPr>
              <p:spPr>
                <a:xfrm>
                  <a:off x="5963750" y="5663478"/>
                  <a:ext cx="18372" cy="18432"/>
                </a:xfrm>
                <a:custGeom>
                  <a:avLst/>
                  <a:gdLst>
                    <a:gd name="connsiteX0" fmla="*/ 18367 w 18372"/>
                    <a:gd name="connsiteY0" fmla="*/ 9575 h 18432"/>
                    <a:gd name="connsiteX1" fmla="*/ 8857 w 18372"/>
                    <a:gd name="connsiteY1" fmla="*/ 18427 h 18432"/>
                    <a:gd name="connsiteX2" fmla="*/ 6 w 18372"/>
                    <a:gd name="connsiteY2" fmla="*/ 8857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7" y="14659"/>
                        <a:pt x="13941" y="18606"/>
                        <a:pt x="8857" y="18427"/>
                      </a:cubicBezTo>
                      <a:cubicBezTo>
                        <a:pt x="3774" y="18247"/>
                        <a:pt x="-174" y="13941"/>
                        <a:pt x="6" y="8857"/>
                      </a:cubicBezTo>
                      <a:cubicBezTo>
                        <a:pt x="185" y="3774"/>
                        <a:pt x="4432" y="-173"/>
                        <a:pt x="9515" y="6"/>
                      </a:cubicBezTo>
                      <a:cubicBezTo>
                        <a:pt x="14599" y="245"/>
                        <a:pt x="18546" y="4491"/>
                        <a:pt x="18367" y="9575"/>
                      </a:cubicBezTo>
                      <a:close/>
                    </a:path>
                  </a:pathLst>
                </a:custGeom>
                <a:grpFill/>
                <a:ln w="5978" cap="flat">
                  <a:noFill/>
                  <a:prstDash val="solid"/>
                  <a:miter/>
                </a:ln>
              </p:spPr>
              <p:txBody>
                <a:bodyPr rtlCol="0" anchor="ctr"/>
                <a:lstStyle/>
                <a:p>
                  <a:endParaRPr lang="en-GB"/>
                </a:p>
              </p:txBody>
            </p:sp>
            <p:sp>
              <p:nvSpPr>
                <p:cNvPr id="2829" name="Vrije vorm: vorm 2828">
                  <a:extLst>
                    <a:ext uri="{FF2B5EF4-FFF2-40B4-BE49-F238E27FC236}">
                      <a16:creationId xmlns:a16="http://schemas.microsoft.com/office/drawing/2014/main" id="{AED9D7A5-1EC8-4620-8B2A-1B43442BD685}"/>
                    </a:ext>
                  </a:extLst>
                </p:cNvPr>
                <p:cNvSpPr/>
                <p:nvPr/>
              </p:nvSpPr>
              <p:spPr>
                <a:xfrm>
                  <a:off x="5971465" y="5451103"/>
                  <a:ext cx="18372" cy="18432"/>
                </a:xfrm>
                <a:custGeom>
                  <a:avLst/>
                  <a:gdLst>
                    <a:gd name="connsiteX0" fmla="*/ 18367 w 18372"/>
                    <a:gd name="connsiteY0" fmla="*/ 9575 h 18432"/>
                    <a:gd name="connsiteX1" fmla="*/ 9515 w 18372"/>
                    <a:gd name="connsiteY1" fmla="*/ 6 h 18432"/>
                    <a:gd name="connsiteX2" fmla="*/ 6 w 18372"/>
                    <a:gd name="connsiteY2" fmla="*/ 8858 h 18432"/>
                    <a:gd name="connsiteX3" fmla="*/ 8857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3"/>
                        <a:pt x="185" y="3774"/>
                        <a:pt x="6" y="8858"/>
                      </a:cubicBezTo>
                      <a:cubicBezTo>
                        <a:pt x="-174" y="13941"/>
                        <a:pt x="3774" y="18247"/>
                        <a:pt x="8857" y="18427"/>
                      </a:cubicBezTo>
                      <a:cubicBezTo>
                        <a:pt x="13941" y="18606"/>
                        <a:pt x="18187" y="14659"/>
                        <a:pt x="18367" y="9575"/>
                      </a:cubicBezTo>
                      <a:close/>
                    </a:path>
                  </a:pathLst>
                </a:custGeom>
                <a:grpFill/>
                <a:ln w="5978" cap="flat">
                  <a:noFill/>
                  <a:prstDash val="solid"/>
                  <a:miter/>
                </a:ln>
              </p:spPr>
              <p:txBody>
                <a:bodyPr rtlCol="0" anchor="ctr"/>
                <a:lstStyle/>
                <a:p>
                  <a:endParaRPr lang="en-GB"/>
                </a:p>
              </p:txBody>
            </p:sp>
          </p:grpSp>
          <p:grpSp>
            <p:nvGrpSpPr>
              <p:cNvPr id="858" name="Graphic 3">
                <a:extLst>
                  <a:ext uri="{FF2B5EF4-FFF2-40B4-BE49-F238E27FC236}">
                    <a16:creationId xmlns:a16="http://schemas.microsoft.com/office/drawing/2014/main" id="{DABF9379-6238-44E3-8140-F65ABE8349F4}"/>
                  </a:ext>
                </a:extLst>
              </p:cNvPr>
              <p:cNvGrpSpPr/>
              <p:nvPr/>
            </p:nvGrpSpPr>
            <p:grpSpPr>
              <a:xfrm>
                <a:off x="4703793" y="1972380"/>
                <a:ext cx="180626" cy="235127"/>
                <a:chOff x="4703793" y="1972380"/>
                <a:chExt cx="180626" cy="235127"/>
              </a:xfrm>
              <a:grpFill/>
            </p:grpSpPr>
            <p:sp>
              <p:nvSpPr>
                <p:cNvPr id="2824" name="Vrije vorm: vorm 2823">
                  <a:extLst>
                    <a:ext uri="{FF2B5EF4-FFF2-40B4-BE49-F238E27FC236}">
                      <a16:creationId xmlns:a16="http://schemas.microsoft.com/office/drawing/2014/main" id="{D8805D9D-B816-43A7-9D24-174A3CD5E58A}"/>
                    </a:ext>
                  </a:extLst>
                </p:cNvPr>
                <p:cNvSpPr/>
                <p:nvPr/>
              </p:nvSpPr>
              <p:spPr>
                <a:xfrm>
                  <a:off x="4711513" y="1980317"/>
                  <a:ext cx="165247" cy="219253"/>
                </a:xfrm>
                <a:custGeom>
                  <a:avLst/>
                  <a:gdLst>
                    <a:gd name="connsiteX0" fmla="*/ 165247 w 165247"/>
                    <a:gd name="connsiteY0" fmla="*/ 217399 h 219253"/>
                    <a:gd name="connsiteX1" fmla="*/ 162795 w 165247"/>
                    <a:gd name="connsiteY1" fmla="*/ 219253 h 219253"/>
                    <a:gd name="connsiteX2" fmla="*/ 0 w 165247"/>
                    <a:gd name="connsiteY2" fmla="*/ 1854 h 219253"/>
                    <a:gd name="connsiteX3" fmla="*/ 2452 w 165247"/>
                    <a:gd name="connsiteY3" fmla="*/ 0 h 219253"/>
                  </a:gdLst>
                  <a:ahLst/>
                  <a:cxnLst>
                    <a:cxn ang="0">
                      <a:pos x="connsiteX0" y="connsiteY0"/>
                    </a:cxn>
                    <a:cxn ang="0">
                      <a:pos x="connsiteX1" y="connsiteY1"/>
                    </a:cxn>
                    <a:cxn ang="0">
                      <a:pos x="connsiteX2" y="connsiteY2"/>
                    </a:cxn>
                    <a:cxn ang="0">
                      <a:pos x="connsiteX3" y="connsiteY3"/>
                    </a:cxn>
                  </a:cxnLst>
                  <a:rect l="l" t="t" r="r" b="b"/>
                  <a:pathLst>
                    <a:path w="165247" h="219253">
                      <a:moveTo>
                        <a:pt x="165247" y="217399"/>
                      </a:moveTo>
                      <a:lnTo>
                        <a:pt x="162795" y="219253"/>
                      </a:lnTo>
                      <a:lnTo>
                        <a:pt x="0" y="1854"/>
                      </a:lnTo>
                      <a:lnTo>
                        <a:pt x="2452" y="0"/>
                      </a:lnTo>
                      <a:close/>
                    </a:path>
                  </a:pathLst>
                </a:custGeom>
                <a:grpFill/>
                <a:ln w="5978" cap="flat">
                  <a:noFill/>
                  <a:prstDash val="solid"/>
                  <a:miter/>
                </a:ln>
              </p:spPr>
              <p:txBody>
                <a:bodyPr rtlCol="0" anchor="ctr"/>
                <a:lstStyle/>
                <a:p>
                  <a:endParaRPr lang="en-GB"/>
                </a:p>
              </p:txBody>
            </p:sp>
            <p:sp>
              <p:nvSpPr>
                <p:cNvPr id="2825" name="Vrije vorm: vorm 2824">
                  <a:extLst>
                    <a:ext uri="{FF2B5EF4-FFF2-40B4-BE49-F238E27FC236}">
                      <a16:creationId xmlns:a16="http://schemas.microsoft.com/office/drawing/2014/main" id="{1E73E13F-42CD-4FA6-839E-5A49D38D9F59}"/>
                    </a:ext>
                  </a:extLst>
                </p:cNvPr>
                <p:cNvSpPr/>
                <p:nvPr/>
              </p:nvSpPr>
              <p:spPr>
                <a:xfrm>
                  <a:off x="4866050" y="2189061"/>
                  <a:ext cx="18369" cy="18445"/>
                </a:xfrm>
                <a:custGeom>
                  <a:avLst/>
                  <a:gdLst>
                    <a:gd name="connsiteX0" fmla="*/ 16511 w 18369"/>
                    <a:gd name="connsiteY0" fmla="*/ 3691 h 18445"/>
                    <a:gd name="connsiteX1" fmla="*/ 14717 w 18369"/>
                    <a:gd name="connsiteY1" fmla="*/ 16609 h 18445"/>
                    <a:gd name="connsiteX2" fmla="*/ 1859 w 18369"/>
                    <a:gd name="connsiteY2" fmla="*/ 14755 h 18445"/>
                    <a:gd name="connsiteX3" fmla="*/ 3653 w 18369"/>
                    <a:gd name="connsiteY3" fmla="*/ 1837 h 18445"/>
                    <a:gd name="connsiteX4" fmla="*/ 16511 w 18369"/>
                    <a:gd name="connsiteY4" fmla="*/ 369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5">
                      <a:moveTo>
                        <a:pt x="16511" y="3691"/>
                      </a:moveTo>
                      <a:cubicBezTo>
                        <a:pt x="19562" y="7758"/>
                        <a:pt x="18784" y="13559"/>
                        <a:pt x="14717" y="16609"/>
                      </a:cubicBezTo>
                      <a:cubicBezTo>
                        <a:pt x="10650" y="19659"/>
                        <a:pt x="4909" y="18822"/>
                        <a:pt x="1859" y="14755"/>
                      </a:cubicBezTo>
                      <a:cubicBezTo>
                        <a:pt x="-1192" y="10688"/>
                        <a:pt x="-414" y="4887"/>
                        <a:pt x="3653" y="1837"/>
                      </a:cubicBezTo>
                      <a:cubicBezTo>
                        <a:pt x="7720" y="-1213"/>
                        <a:pt x="13461" y="-376"/>
                        <a:pt x="16511" y="3691"/>
                      </a:cubicBezTo>
                      <a:close/>
                    </a:path>
                  </a:pathLst>
                </a:custGeom>
                <a:grpFill/>
                <a:ln w="5978" cap="flat">
                  <a:noFill/>
                  <a:prstDash val="solid"/>
                  <a:miter/>
                </a:ln>
              </p:spPr>
              <p:txBody>
                <a:bodyPr rtlCol="0" anchor="ctr"/>
                <a:lstStyle/>
                <a:p>
                  <a:endParaRPr lang="en-GB"/>
                </a:p>
              </p:txBody>
            </p:sp>
            <p:sp>
              <p:nvSpPr>
                <p:cNvPr id="2826" name="Vrije vorm: vorm 2825">
                  <a:extLst>
                    <a:ext uri="{FF2B5EF4-FFF2-40B4-BE49-F238E27FC236}">
                      <a16:creationId xmlns:a16="http://schemas.microsoft.com/office/drawing/2014/main" id="{D689FAB5-36B5-404E-BA59-B1125DA3854B}"/>
                    </a:ext>
                  </a:extLst>
                </p:cNvPr>
                <p:cNvSpPr/>
                <p:nvPr/>
              </p:nvSpPr>
              <p:spPr>
                <a:xfrm>
                  <a:off x="4703793" y="1972380"/>
                  <a:ext cx="18369" cy="18445"/>
                </a:xfrm>
                <a:custGeom>
                  <a:avLst/>
                  <a:gdLst>
                    <a:gd name="connsiteX0" fmla="*/ 16511 w 18369"/>
                    <a:gd name="connsiteY0" fmla="*/ 3691 h 18445"/>
                    <a:gd name="connsiteX1" fmla="*/ 3653 w 18369"/>
                    <a:gd name="connsiteY1" fmla="*/ 1837 h 18445"/>
                    <a:gd name="connsiteX2" fmla="*/ 1858 w 18369"/>
                    <a:gd name="connsiteY2" fmla="*/ 14755 h 18445"/>
                    <a:gd name="connsiteX3" fmla="*/ 14717 w 18369"/>
                    <a:gd name="connsiteY3" fmla="*/ 16609 h 18445"/>
                    <a:gd name="connsiteX4" fmla="*/ 16511 w 18369"/>
                    <a:gd name="connsiteY4" fmla="*/ 369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5">
                      <a:moveTo>
                        <a:pt x="16511" y="3691"/>
                      </a:moveTo>
                      <a:cubicBezTo>
                        <a:pt x="13461" y="-376"/>
                        <a:pt x="7720" y="-1213"/>
                        <a:pt x="3653" y="1837"/>
                      </a:cubicBezTo>
                      <a:cubicBezTo>
                        <a:pt x="-414" y="4887"/>
                        <a:pt x="-1191" y="10688"/>
                        <a:pt x="1858" y="14755"/>
                      </a:cubicBezTo>
                      <a:cubicBezTo>
                        <a:pt x="4909" y="18822"/>
                        <a:pt x="10650" y="19659"/>
                        <a:pt x="14717" y="16609"/>
                      </a:cubicBezTo>
                      <a:cubicBezTo>
                        <a:pt x="18784" y="13559"/>
                        <a:pt x="19561" y="7758"/>
                        <a:pt x="16511" y="3691"/>
                      </a:cubicBezTo>
                      <a:close/>
                    </a:path>
                  </a:pathLst>
                </a:custGeom>
                <a:grpFill/>
                <a:ln w="5978" cap="flat">
                  <a:noFill/>
                  <a:prstDash val="solid"/>
                  <a:miter/>
                </a:ln>
              </p:spPr>
              <p:txBody>
                <a:bodyPr rtlCol="0" anchor="ctr"/>
                <a:lstStyle/>
                <a:p>
                  <a:endParaRPr lang="en-GB"/>
                </a:p>
              </p:txBody>
            </p:sp>
          </p:grpSp>
          <p:grpSp>
            <p:nvGrpSpPr>
              <p:cNvPr id="859" name="Graphic 3">
                <a:extLst>
                  <a:ext uri="{FF2B5EF4-FFF2-40B4-BE49-F238E27FC236}">
                    <a16:creationId xmlns:a16="http://schemas.microsoft.com/office/drawing/2014/main" id="{21CA9E90-3BD9-4303-8980-1B30BDC5D8BD}"/>
                  </a:ext>
                </a:extLst>
              </p:cNvPr>
              <p:cNvGrpSpPr/>
              <p:nvPr/>
            </p:nvGrpSpPr>
            <p:grpSpPr>
              <a:xfrm>
                <a:off x="4735936" y="2056481"/>
                <a:ext cx="147582" cy="151755"/>
                <a:chOff x="4735936" y="2056481"/>
                <a:chExt cx="147582" cy="151755"/>
              </a:xfrm>
              <a:grpFill/>
            </p:grpSpPr>
            <p:sp>
              <p:nvSpPr>
                <p:cNvPr id="2821" name="Vrije vorm: vorm 2820">
                  <a:extLst>
                    <a:ext uri="{FF2B5EF4-FFF2-40B4-BE49-F238E27FC236}">
                      <a16:creationId xmlns:a16="http://schemas.microsoft.com/office/drawing/2014/main" id="{F0798FF1-D041-4708-8B09-506777EE8FA9}"/>
                    </a:ext>
                  </a:extLst>
                </p:cNvPr>
                <p:cNvSpPr/>
                <p:nvPr/>
              </p:nvSpPr>
              <p:spPr>
                <a:xfrm>
                  <a:off x="4743689" y="2064286"/>
                  <a:ext cx="132113" cy="136121"/>
                </a:xfrm>
                <a:custGeom>
                  <a:avLst/>
                  <a:gdLst>
                    <a:gd name="connsiteX0" fmla="*/ 132114 w 132113"/>
                    <a:gd name="connsiteY0" fmla="*/ 134028 h 136121"/>
                    <a:gd name="connsiteX1" fmla="*/ 129901 w 132113"/>
                    <a:gd name="connsiteY1" fmla="*/ 136121 h 136121"/>
                    <a:gd name="connsiteX2" fmla="*/ 0 w 132113"/>
                    <a:gd name="connsiteY2" fmla="*/ 2153 h 136121"/>
                    <a:gd name="connsiteX3" fmla="*/ 2213 w 132113"/>
                    <a:gd name="connsiteY3" fmla="*/ 0 h 136121"/>
                  </a:gdLst>
                  <a:ahLst/>
                  <a:cxnLst>
                    <a:cxn ang="0">
                      <a:pos x="connsiteX0" y="connsiteY0"/>
                    </a:cxn>
                    <a:cxn ang="0">
                      <a:pos x="connsiteX1" y="connsiteY1"/>
                    </a:cxn>
                    <a:cxn ang="0">
                      <a:pos x="connsiteX2" y="connsiteY2"/>
                    </a:cxn>
                    <a:cxn ang="0">
                      <a:pos x="connsiteX3" y="connsiteY3"/>
                    </a:cxn>
                  </a:cxnLst>
                  <a:rect l="l" t="t" r="r" b="b"/>
                  <a:pathLst>
                    <a:path w="132113" h="136121">
                      <a:moveTo>
                        <a:pt x="132114" y="134028"/>
                      </a:moveTo>
                      <a:lnTo>
                        <a:pt x="129901" y="136121"/>
                      </a:lnTo>
                      <a:lnTo>
                        <a:pt x="0" y="2153"/>
                      </a:lnTo>
                      <a:lnTo>
                        <a:pt x="2213" y="0"/>
                      </a:lnTo>
                      <a:close/>
                    </a:path>
                  </a:pathLst>
                </a:custGeom>
                <a:grpFill/>
                <a:ln w="5978" cap="flat">
                  <a:noFill/>
                  <a:prstDash val="solid"/>
                  <a:miter/>
                </a:ln>
              </p:spPr>
              <p:txBody>
                <a:bodyPr rtlCol="0" anchor="ctr"/>
                <a:lstStyle/>
                <a:p>
                  <a:endParaRPr lang="en-GB"/>
                </a:p>
              </p:txBody>
            </p:sp>
            <p:sp>
              <p:nvSpPr>
                <p:cNvPr id="2822" name="Vrije vorm: vorm 2821">
                  <a:extLst>
                    <a:ext uri="{FF2B5EF4-FFF2-40B4-BE49-F238E27FC236}">
                      <a16:creationId xmlns:a16="http://schemas.microsoft.com/office/drawing/2014/main" id="{83E61743-6329-4D4D-9674-77DC9BE6DBE0}"/>
                    </a:ext>
                  </a:extLst>
                </p:cNvPr>
                <p:cNvSpPr/>
                <p:nvPr/>
              </p:nvSpPr>
              <p:spPr>
                <a:xfrm>
                  <a:off x="4735936" y="2056481"/>
                  <a:ext cx="18316" cy="18444"/>
                </a:xfrm>
                <a:custGeom>
                  <a:avLst/>
                  <a:gdLst>
                    <a:gd name="connsiteX0" fmla="*/ 2609 w 18316"/>
                    <a:gd name="connsiteY0" fmla="*/ 15640 h 18444"/>
                    <a:gd name="connsiteX1" fmla="*/ 2729 w 18316"/>
                    <a:gd name="connsiteY1" fmla="*/ 2602 h 18444"/>
                    <a:gd name="connsiteX2" fmla="*/ 15707 w 18316"/>
                    <a:gd name="connsiteY2" fmla="*/ 2782 h 18444"/>
                    <a:gd name="connsiteX3" fmla="*/ 15588 w 18316"/>
                    <a:gd name="connsiteY3" fmla="*/ 15820 h 18444"/>
                    <a:gd name="connsiteX4" fmla="*/ 2609 w 18316"/>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2609" y="15640"/>
                      </a:moveTo>
                      <a:cubicBezTo>
                        <a:pt x="-919" y="11992"/>
                        <a:pt x="-859" y="6131"/>
                        <a:pt x="2729" y="2602"/>
                      </a:cubicBezTo>
                      <a:cubicBezTo>
                        <a:pt x="6377" y="-926"/>
                        <a:pt x="12179" y="-866"/>
                        <a:pt x="15707" y="2782"/>
                      </a:cubicBezTo>
                      <a:cubicBezTo>
                        <a:pt x="19236" y="6430"/>
                        <a:pt x="19176" y="12291"/>
                        <a:pt x="15588" y="15820"/>
                      </a:cubicBezTo>
                      <a:cubicBezTo>
                        <a:pt x="11999" y="19408"/>
                        <a:pt x="6198" y="19289"/>
                        <a:pt x="2609" y="15640"/>
                      </a:cubicBezTo>
                      <a:close/>
                    </a:path>
                  </a:pathLst>
                </a:custGeom>
                <a:grpFill/>
                <a:ln w="5978" cap="flat">
                  <a:noFill/>
                  <a:prstDash val="solid"/>
                  <a:miter/>
                </a:ln>
              </p:spPr>
              <p:txBody>
                <a:bodyPr rtlCol="0" anchor="ctr"/>
                <a:lstStyle/>
                <a:p>
                  <a:endParaRPr lang="en-GB"/>
                </a:p>
              </p:txBody>
            </p:sp>
            <p:sp>
              <p:nvSpPr>
                <p:cNvPr id="2823" name="Vrije vorm: vorm 2822">
                  <a:extLst>
                    <a:ext uri="{FF2B5EF4-FFF2-40B4-BE49-F238E27FC236}">
                      <a16:creationId xmlns:a16="http://schemas.microsoft.com/office/drawing/2014/main" id="{26AF2B12-2D35-4B2F-815D-9AA853510EBB}"/>
                    </a:ext>
                  </a:extLst>
                </p:cNvPr>
                <p:cNvSpPr/>
                <p:nvPr/>
              </p:nvSpPr>
              <p:spPr>
                <a:xfrm>
                  <a:off x="4865179" y="2189791"/>
                  <a:ext cx="18339" cy="18444"/>
                </a:xfrm>
                <a:custGeom>
                  <a:avLst/>
                  <a:gdLst>
                    <a:gd name="connsiteX0" fmla="*/ 2610 w 18339"/>
                    <a:gd name="connsiteY0" fmla="*/ 15640 h 18444"/>
                    <a:gd name="connsiteX1" fmla="*/ 15588 w 18339"/>
                    <a:gd name="connsiteY1" fmla="*/ 15820 h 18444"/>
                    <a:gd name="connsiteX2" fmla="*/ 15707 w 18339"/>
                    <a:gd name="connsiteY2" fmla="*/ 2782 h 18444"/>
                    <a:gd name="connsiteX3" fmla="*/ 2729 w 18339"/>
                    <a:gd name="connsiteY3" fmla="*/ 2602 h 18444"/>
                    <a:gd name="connsiteX4" fmla="*/ 2610 w 18339"/>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2610" y="15640"/>
                      </a:moveTo>
                      <a:cubicBezTo>
                        <a:pt x="6138" y="19289"/>
                        <a:pt x="11940" y="19408"/>
                        <a:pt x="15588" y="15820"/>
                      </a:cubicBezTo>
                      <a:cubicBezTo>
                        <a:pt x="19176" y="12291"/>
                        <a:pt x="19296" y="6430"/>
                        <a:pt x="15707" y="2782"/>
                      </a:cubicBezTo>
                      <a:cubicBezTo>
                        <a:pt x="12179" y="-866"/>
                        <a:pt x="6378" y="-926"/>
                        <a:pt x="2729" y="2602"/>
                      </a:cubicBezTo>
                      <a:cubicBezTo>
                        <a:pt x="-859" y="6191"/>
                        <a:pt x="-919" y="11992"/>
                        <a:pt x="2610" y="15640"/>
                      </a:cubicBezTo>
                      <a:close/>
                    </a:path>
                  </a:pathLst>
                </a:custGeom>
                <a:grpFill/>
                <a:ln w="5978" cap="flat">
                  <a:noFill/>
                  <a:prstDash val="solid"/>
                  <a:miter/>
                </a:ln>
              </p:spPr>
              <p:txBody>
                <a:bodyPr rtlCol="0" anchor="ctr"/>
                <a:lstStyle/>
                <a:p>
                  <a:endParaRPr lang="en-GB"/>
                </a:p>
              </p:txBody>
            </p:sp>
          </p:grpSp>
          <p:grpSp>
            <p:nvGrpSpPr>
              <p:cNvPr id="860" name="Graphic 3">
                <a:extLst>
                  <a:ext uri="{FF2B5EF4-FFF2-40B4-BE49-F238E27FC236}">
                    <a16:creationId xmlns:a16="http://schemas.microsoft.com/office/drawing/2014/main" id="{18629757-B8B3-4DBF-A0C5-BBDEEE9D3DA3}"/>
                  </a:ext>
                </a:extLst>
              </p:cNvPr>
              <p:cNvGrpSpPr/>
              <p:nvPr/>
            </p:nvGrpSpPr>
            <p:grpSpPr>
              <a:xfrm>
                <a:off x="5840190" y="5166123"/>
                <a:ext cx="28705" cy="112387"/>
                <a:chOff x="5840190" y="5166123"/>
                <a:chExt cx="28705" cy="112387"/>
              </a:xfrm>
              <a:grpFill/>
            </p:grpSpPr>
            <p:sp>
              <p:nvSpPr>
                <p:cNvPr id="2818" name="Vrije vorm: vorm 2817">
                  <a:extLst>
                    <a:ext uri="{FF2B5EF4-FFF2-40B4-BE49-F238E27FC236}">
                      <a16:creationId xmlns:a16="http://schemas.microsoft.com/office/drawing/2014/main" id="{C033FA48-540F-4274-9CA8-0A1CD669AAD0}"/>
                    </a:ext>
                  </a:extLst>
                </p:cNvPr>
                <p:cNvSpPr/>
                <p:nvPr/>
              </p:nvSpPr>
              <p:spPr>
                <a:xfrm>
                  <a:off x="5847730" y="5174680"/>
                  <a:ext cx="13576" cy="95272"/>
                </a:xfrm>
                <a:custGeom>
                  <a:avLst/>
                  <a:gdLst>
                    <a:gd name="connsiteX0" fmla="*/ 13576 w 13576"/>
                    <a:gd name="connsiteY0" fmla="*/ 359 h 95272"/>
                    <a:gd name="connsiteX1" fmla="*/ 3050 w 13576"/>
                    <a:gd name="connsiteY1" fmla="*/ 95273 h 95272"/>
                    <a:gd name="connsiteX2" fmla="*/ 0 w 13576"/>
                    <a:gd name="connsiteY2" fmla="*/ 94914 h 95272"/>
                    <a:gd name="connsiteX3" fmla="*/ 10586 w 13576"/>
                    <a:gd name="connsiteY3" fmla="*/ 0 h 95272"/>
                  </a:gdLst>
                  <a:ahLst/>
                  <a:cxnLst>
                    <a:cxn ang="0">
                      <a:pos x="connsiteX0" y="connsiteY0"/>
                    </a:cxn>
                    <a:cxn ang="0">
                      <a:pos x="connsiteX1" y="connsiteY1"/>
                    </a:cxn>
                    <a:cxn ang="0">
                      <a:pos x="connsiteX2" y="connsiteY2"/>
                    </a:cxn>
                    <a:cxn ang="0">
                      <a:pos x="connsiteX3" y="connsiteY3"/>
                    </a:cxn>
                  </a:cxnLst>
                  <a:rect l="l" t="t" r="r" b="b"/>
                  <a:pathLst>
                    <a:path w="13576" h="95272">
                      <a:moveTo>
                        <a:pt x="13576" y="359"/>
                      </a:moveTo>
                      <a:lnTo>
                        <a:pt x="3050" y="95273"/>
                      </a:lnTo>
                      <a:lnTo>
                        <a:pt x="0" y="94914"/>
                      </a:lnTo>
                      <a:lnTo>
                        <a:pt x="10586" y="0"/>
                      </a:lnTo>
                      <a:close/>
                    </a:path>
                  </a:pathLst>
                </a:custGeom>
                <a:grpFill/>
                <a:ln w="5978" cap="flat">
                  <a:noFill/>
                  <a:prstDash val="solid"/>
                  <a:miter/>
                </a:ln>
              </p:spPr>
              <p:txBody>
                <a:bodyPr rtlCol="0" anchor="ctr"/>
                <a:lstStyle/>
                <a:p>
                  <a:endParaRPr lang="en-GB"/>
                </a:p>
              </p:txBody>
            </p:sp>
            <p:sp>
              <p:nvSpPr>
                <p:cNvPr id="2819" name="Vrije vorm: vorm 2818">
                  <a:extLst>
                    <a:ext uri="{FF2B5EF4-FFF2-40B4-BE49-F238E27FC236}">
                      <a16:creationId xmlns:a16="http://schemas.microsoft.com/office/drawing/2014/main" id="{6D221E8E-7A28-4269-8832-19725B00642C}"/>
                    </a:ext>
                  </a:extLst>
                </p:cNvPr>
                <p:cNvSpPr/>
                <p:nvPr/>
              </p:nvSpPr>
              <p:spPr>
                <a:xfrm>
                  <a:off x="5840190" y="5260079"/>
                  <a:ext cx="18298" cy="18431"/>
                </a:xfrm>
                <a:custGeom>
                  <a:avLst/>
                  <a:gdLst>
                    <a:gd name="connsiteX0" fmla="*/ 18245 w 18298"/>
                    <a:gd name="connsiteY0" fmla="*/ 10292 h 18431"/>
                    <a:gd name="connsiteX1" fmla="*/ 8138 w 18298"/>
                    <a:gd name="connsiteY1" fmla="*/ 18366 h 18431"/>
                    <a:gd name="connsiteX2" fmla="*/ 64 w 18298"/>
                    <a:gd name="connsiteY2" fmla="*/ 8139 h 18431"/>
                    <a:gd name="connsiteX3" fmla="*/ 10172 w 18298"/>
                    <a:gd name="connsiteY3" fmla="*/ 65 h 18431"/>
                    <a:gd name="connsiteX4" fmla="*/ 18245 w 18298"/>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1">
                      <a:moveTo>
                        <a:pt x="18245" y="10292"/>
                      </a:moveTo>
                      <a:cubicBezTo>
                        <a:pt x="17707" y="15376"/>
                        <a:pt x="13162" y="18964"/>
                        <a:pt x="8138" y="18366"/>
                      </a:cubicBezTo>
                      <a:cubicBezTo>
                        <a:pt x="3114" y="17768"/>
                        <a:pt x="-534" y="13223"/>
                        <a:pt x="64" y="8139"/>
                      </a:cubicBezTo>
                      <a:cubicBezTo>
                        <a:pt x="603" y="3055"/>
                        <a:pt x="5148" y="-533"/>
                        <a:pt x="10172" y="65"/>
                      </a:cubicBezTo>
                      <a:cubicBezTo>
                        <a:pt x="15196" y="663"/>
                        <a:pt x="18784" y="5208"/>
                        <a:pt x="18245" y="10292"/>
                      </a:cubicBezTo>
                      <a:close/>
                    </a:path>
                  </a:pathLst>
                </a:custGeom>
                <a:grpFill/>
                <a:ln w="5978" cap="flat">
                  <a:noFill/>
                  <a:prstDash val="solid"/>
                  <a:miter/>
                </a:ln>
              </p:spPr>
              <p:txBody>
                <a:bodyPr rtlCol="0" anchor="ctr"/>
                <a:lstStyle/>
                <a:p>
                  <a:endParaRPr lang="en-GB"/>
                </a:p>
              </p:txBody>
            </p:sp>
            <p:sp>
              <p:nvSpPr>
                <p:cNvPr id="2820" name="Vrije vorm: vorm 2819">
                  <a:extLst>
                    <a:ext uri="{FF2B5EF4-FFF2-40B4-BE49-F238E27FC236}">
                      <a16:creationId xmlns:a16="http://schemas.microsoft.com/office/drawing/2014/main" id="{93587FE6-266B-41FA-A6A3-2D43E320542B}"/>
                    </a:ext>
                  </a:extLst>
                </p:cNvPr>
                <p:cNvSpPr/>
                <p:nvPr/>
              </p:nvSpPr>
              <p:spPr>
                <a:xfrm>
                  <a:off x="5850607" y="5166123"/>
                  <a:ext cx="18288" cy="18429"/>
                </a:xfrm>
                <a:custGeom>
                  <a:avLst/>
                  <a:gdLst>
                    <a:gd name="connsiteX0" fmla="*/ 18235 w 18288"/>
                    <a:gd name="connsiteY0" fmla="*/ 10291 h 18429"/>
                    <a:gd name="connsiteX1" fmla="*/ 10161 w 18288"/>
                    <a:gd name="connsiteY1" fmla="*/ 64 h 18429"/>
                    <a:gd name="connsiteX2" fmla="*/ 53 w 18288"/>
                    <a:gd name="connsiteY2" fmla="*/ 8138 h 18429"/>
                    <a:gd name="connsiteX3" fmla="*/ 8128 w 18288"/>
                    <a:gd name="connsiteY3" fmla="*/ 18365 h 18429"/>
                    <a:gd name="connsiteX4" fmla="*/ 18235 w 18288"/>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9">
                      <a:moveTo>
                        <a:pt x="18235" y="10291"/>
                      </a:moveTo>
                      <a:cubicBezTo>
                        <a:pt x="18773" y="5208"/>
                        <a:pt x="15185" y="662"/>
                        <a:pt x="10161" y="64"/>
                      </a:cubicBezTo>
                      <a:cubicBezTo>
                        <a:pt x="5137" y="-534"/>
                        <a:pt x="592" y="3114"/>
                        <a:pt x="53" y="8138"/>
                      </a:cubicBezTo>
                      <a:cubicBezTo>
                        <a:pt x="-485" y="13162"/>
                        <a:pt x="3104" y="17767"/>
                        <a:pt x="8128" y="18365"/>
                      </a:cubicBezTo>
                      <a:cubicBezTo>
                        <a:pt x="13151" y="18963"/>
                        <a:pt x="17697" y="15315"/>
                        <a:pt x="18235" y="10291"/>
                      </a:cubicBezTo>
                      <a:close/>
                    </a:path>
                  </a:pathLst>
                </a:custGeom>
                <a:grpFill/>
                <a:ln w="5978" cap="flat">
                  <a:noFill/>
                  <a:prstDash val="solid"/>
                  <a:miter/>
                </a:ln>
              </p:spPr>
              <p:txBody>
                <a:bodyPr rtlCol="0" anchor="ctr"/>
                <a:lstStyle/>
                <a:p>
                  <a:endParaRPr lang="en-GB"/>
                </a:p>
              </p:txBody>
            </p:sp>
          </p:grpSp>
          <p:grpSp>
            <p:nvGrpSpPr>
              <p:cNvPr id="861" name="Graphic 3">
                <a:extLst>
                  <a:ext uri="{FF2B5EF4-FFF2-40B4-BE49-F238E27FC236}">
                    <a16:creationId xmlns:a16="http://schemas.microsoft.com/office/drawing/2014/main" id="{B20C2395-4E67-4E2E-887E-C4DC41ABB7DE}"/>
                  </a:ext>
                </a:extLst>
              </p:cNvPr>
              <p:cNvGrpSpPr/>
              <p:nvPr/>
            </p:nvGrpSpPr>
            <p:grpSpPr>
              <a:xfrm>
                <a:off x="5871887" y="5109246"/>
                <a:ext cx="98154" cy="685892"/>
                <a:chOff x="5871887" y="5109246"/>
                <a:chExt cx="98154" cy="685892"/>
              </a:xfrm>
              <a:grpFill/>
            </p:grpSpPr>
            <p:sp>
              <p:nvSpPr>
                <p:cNvPr id="2815" name="Vrije vorm: vorm 2814">
                  <a:extLst>
                    <a:ext uri="{FF2B5EF4-FFF2-40B4-BE49-F238E27FC236}">
                      <a16:creationId xmlns:a16="http://schemas.microsoft.com/office/drawing/2014/main" id="{81B35E78-88AA-4F28-8D15-E6C48E796841}"/>
                    </a:ext>
                  </a:extLst>
                </p:cNvPr>
                <p:cNvSpPr/>
                <p:nvPr/>
              </p:nvSpPr>
              <p:spPr>
                <a:xfrm>
                  <a:off x="5879488" y="5117803"/>
                  <a:ext cx="82952" cy="668704"/>
                </a:xfrm>
                <a:custGeom>
                  <a:avLst/>
                  <a:gdLst>
                    <a:gd name="connsiteX0" fmla="*/ 82953 w 82952"/>
                    <a:gd name="connsiteY0" fmla="*/ 359 h 668704"/>
                    <a:gd name="connsiteX1" fmla="*/ 2990 w 82952"/>
                    <a:gd name="connsiteY1" fmla="*/ 668704 h 668704"/>
                    <a:gd name="connsiteX2" fmla="*/ 0 w 82952"/>
                    <a:gd name="connsiteY2" fmla="*/ 668346 h 668704"/>
                    <a:gd name="connsiteX3" fmla="*/ 79962 w 82952"/>
                    <a:gd name="connsiteY3" fmla="*/ 0 h 668704"/>
                  </a:gdLst>
                  <a:ahLst/>
                  <a:cxnLst>
                    <a:cxn ang="0">
                      <a:pos x="connsiteX0" y="connsiteY0"/>
                    </a:cxn>
                    <a:cxn ang="0">
                      <a:pos x="connsiteX1" y="connsiteY1"/>
                    </a:cxn>
                    <a:cxn ang="0">
                      <a:pos x="connsiteX2" y="connsiteY2"/>
                    </a:cxn>
                    <a:cxn ang="0">
                      <a:pos x="connsiteX3" y="connsiteY3"/>
                    </a:cxn>
                  </a:cxnLst>
                  <a:rect l="l" t="t" r="r" b="b"/>
                  <a:pathLst>
                    <a:path w="82952" h="668704">
                      <a:moveTo>
                        <a:pt x="82953" y="359"/>
                      </a:moveTo>
                      <a:lnTo>
                        <a:pt x="2990" y="668704"/>
                      </a:lnTo>
                      <a:lnTo>
                        <a:pt x="0" y="668346"/>
                      </a:lnTo>
                      <a:lnTo>
                        <a:pt x="79962" y="0"/>
                      </a:lnTo>
                      <a:close/>
                    </a:path>
                  </a:pathLst>
                </a:custGeom>
                <a:grpFill/>
                <a:ln w="5978" cap="flat">
                  <a:noFill/>
                  <a:prstDash val="solid"/>
                  <a:miter/>
                </a:ln>
              </p:spPr>
              <p:txBody>
                <a:bodyPr rtlCol="0" anchor="ctr"/>
                <a:lstStyle/>
                <a:p>
                  <a:endParaRPr lang="en-GB"/>
                </a:p>
              </p:txBody>
            </p:sp>
            <p:sp>
              <p:nvSpPr>
                <p:cNvPr id="2816" name="Vrije vorm: vorm 2815">
                  <a:extLst>
                    <a:ext uri="{FF2B5EF4-FFF2-40B4-BE49-F238E27FC236}">
                      <a16:creationId xmlns:a16="http://schemas.microsoft.com/office/drawing/2014/main" id="{B13F15CD-5547-47A2-980A-79BC2E2BB011}"/>
                    </a:ext>
                  </a:extLst>
                </p:cNvPr>
                <p:cNvSpPr/>
                <p:nvPr/>
              </p:nvSpPr>
              <p:spPr>
                <a:xfrm>
                  <a:off x="5951730" y="5109246"/>
                  <a:ext cx="18311" cy="18431"/>
                </a:xfrm>
                <a:custGeom>
                  <a:avLst/>
                  <a:gdLst>
                    <a:gd name="connsiteX0" fmla="*/ 65 w 18311"/>
                    <a:gd name="connsiteY0" fmla="*/ 8079 h 18431"/>
                    <a:gd name="connsiteX1" fmla="*/ 10232 w 18311"/>
                    <a:gd name="connsiteY1" fmla="*/ 65 h 18431"/>
                    <a:gd name="connsiteX2" fmla="*/ 18246 w 18311"/>
                    <a:gd name="connsiteY2" fmla="*/ 10352 h 18431"/>
                    <a:gd name="connsiteX3" fmla="*/ 8079 w 18311"/>
                    <a:gd name="connsiteY3" fmla="*/ 18366 h 18431"/>
                    <a:gd name="connsiteX4" fmla="*/ 65 w 18311"/>
                    <a:gd name="connsiteY4" fmla="*/ 807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65" y="8079"/>
                      </a:moveTo>
                      <a:cubicBezTo>
                        <a:pt x="663" y="3056"/>
                        <a:pt x="5208" y="-533"/>
                        <a:pt x="10232" y="65"/>
                      </a:cubicBezTo>
                      <a:cubicBezTo>
                        <a:pt x="15256" y="723"/>
                        <a:pt x="18844" y="5268"/>
                        <a:pt x="18246" y="10352"/>
                      </a:cubicBezTo>
                      <a:cubicBezTo>
                        <a:pt x="17648" y="15376"/>
                        <a:pt x="13103" y="18964"/>
                        <a:pt x="8079" y="18366"/>
                      </a:cubicBezTo>
                      <a:cubicBezTo>
                        <a:pt x="3056" y="17708"/>
                        <a:pt x="-533" y="13103"/>
                        <a:pt x="65" y="8079"/>
                      </a:cubicBezTo>
                      <a:close/>
                    </a:path>
                  </a:pathLst>
                </a:custGeom>
                <a:grpFill/>
                <a:ln w="5978" cap="flat">
                  <a:noFill/>
                  <a:prstDash val="solid"/>
                  <a:miter/>
                </a:ln>
              </p:spPr>
              <p:txBody>
                <a:bodyPr rtlCol="0" anchor="ctr"/>
                <a:lstStyle/>
                <a:p>
                  <a:endParaRPr lang="en-GB"/>
                </a:p>
              </p:txBody>
            </p:sp>
            <p:sp>
              <p:nvSpPr>
                <p:cNvPr id="2817" name="Vrije vorm: vorm 2816">
                  <a:extLst>
                    <a:ext uri="{FF2B5EF4-FFF2-40B4-BE49-F238E27FC236}">
                      <a16:creationId xmlns:a16="http://schemas.microsoft.com/office/drawing/2014/main" id="{A16054DF-EC57-4817-85C5-DBD8ACF2D73D}"/>
                    </a:ext>
                  </a:extLst>
                </p:cNvPr>
                <p:cNvSpPr/>
                <p:nvPr/>
              </p:nvSpPr>
              <p:spPr>
                <a:xfrm>
                  <a:off x="5871887" y="5776681"/>
                  <a:ext cx="18311" cy="18456"/>
                </a:xfrm>
                <a:custGeom>
                  <a:avLst/>
                  <a:gdLst>
                    <a:gd name="connsiteX0" fmla="*/ 65 w 18311"/>
                    <a:gd name="connsiteY0" fmla="*/ 8092 h 18456"/>
                    <a:gd name="connsiteX1" fmla="*/ 8079 w 18311"/>
                    <a:gd name="connsiteY1" fmla="*/ 18379 h 18456"/>
                    <a:gd name="connsiteX2" fmla="*/ 18247 w 18311"/>
                    <a:gd name="connsiteY2" fmla="*/ 10364 h 18456"/>
                    <a:gd name="connsiteX3" fmla="*/ 10232 w 18311"/>
                    <a:gd name="connsiteY3" fmla="*/ 78 h 18456"/>
                    <a:gd name="connsiteX4" fmla="*/ 65 w 18311"/>
                    <a:gd name="connsiteY4" fmla="*/ 8092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6">
                      <a:moveTo>
                        <a:pt x="65" y="8092"/>
                      </a:moveTo>
                      <a:cubicBezTo>
                        <a:pt x="-533" y="13116"/>
                        <a:pt x="3055" y="17721"/>
                        <a:pt x="8079" y="18379"/>
                      </a:cubicBezTo>
                      <a:cubicBezTo>
                        <a:pt x="13103" y="19037"/>
                        <a:pt x="17648" y="15448"/>
                        <a:pt x="18247" y="10364"/>
                      </a:cubicBezTo>
                      <a:cubicBezTo>
                        <a:pt x="18845" y="5341"/>
                        <a:pt x="15256" y="736"/>
                        <a:pt x="10232" y="78"/>
                      </a:cubicBezTo>
                      <a:cubicBezTo>
                        <a:pt x="5208" y="-580"/>
                        <a:pt x="663" y="3008"/>
                        <a:pt x="65" y="8092"/>
                      </a:cubicBezTo>
                      <a:close/>
                    </a:path>
                  </a:pathLst>
                </a:custGeom>
                <a:grpFill/>
                <a:ln w="5978" cap="flat">
                  <a:noFill/>
                  <a:prstDash val="solid"/>
                  <a:miter/>
                </a:ln>
              </p:spPr>
              <p:txBody>
                <a:bodyPr rtlCol="0" anchor="ctr"/>
                <a:lstStyle/>
                <a:p>
                  <a:endParaRPr lang="en-GB"/>
                </a:p>
              </p:txBody>
            </p:sp>
          </p:grpSp>
          <p:grpSp>
            <p:nvGrpSpPr>
              <p:cNvPr id="862" name="Graphic 3">
                <a:extLst>
                  <a:ext uri="{FF2B5EF4-FFF2-40B4-BE49-F238E27FC236}">
                    <a16:creationId xmlns:a16="http://schemas.microsoft.com/office/drawing/2014/main" id="{AFAD692B-D39B-42FF-AFDB-EC8C68F03B13}"/>
                  </a:ext>
                </a:extLst>
              </p:cNvPr>
              <p:cNvGrpSpPr/>
              <p:nvPr/>
            </p:nvGrpSpPr>
            <p:grpSpPr>
              <a:xfrm>
                <a:off x="5856121" y="5261119"/>
                <a:ext cx="37044" cy="220602"/>
                <a:chOff x="5856121" y="5261119"/>
                <a:chExt cx="37044" cy="220602"/>
              </a:xfrm>
              <a:grpFill/>
            </p:grpSpPr>
            <p:sp>
              <p:nvSpPr>
                <p:cNvPr id="2812" name="Vrije vorm: vorm 2811">
                  <a:extLst>
                    <a:ext uri="{FF2B5EF4-FFF2-40B4-BE49-F238E27FC236}">
                      <a16:creationId xmlns:a16="http://schemas.microsoft.com/office/drawing/2014/main" id="{A74F9D1C-2D97-4D27-A4F7-F989E79B0615}"/>
                    </a:ext>
                  </a:extLst>
                </p:cNvPr>
                <p:cNvSpPr/>
                <p:nvPr/>
              </p:nvSpPr>
              <p:spPr>
                <a:xfrm>
                  <a:off x="5863758" y="5269713"/>
                  <a:ext cx="21769" cy="203404"/>
                </a:xfrm>
                <a:custGeom>
                  <a:avLst/>
                  <a:gdLst>
                    <a:gd name="connsiteX0" fmla="*/ 21770 w 21769"/>
                    <a:gd name="connsiteY0" fmla="*/ 299 h 203404"/>
                    <a:gd name="connsiteX1" fmla="*/ 2990 w 21769"/>
                    <a:gd name="connsiteY1" fmla="*/ 203404 h 203404"/>
                    <a:gd name="connsiteX2" fmla="*/ 0 w 21769"/>
                    <a:gd name="connsiteY2" fmla="*/ 203105 h 203404"/>
                    <a:gd name="connsiteX3" fmla="*/ 18720 w 21769"/>
                    <a:gd name="connsiteY3" fmla="*/ 0 h 203404"/>
                  </a:gdLst>
                  <a:ahLst/>
                  <a:cxnLst>
                    <a:cxn ang="0">
                      <a:pos x="connsiteX0" y="connsiteY0"/>
                    </a:cxn>
                    <a:cxn ang="0">
                      <a:pos x="connsiteX1" y="connsiteY1"/>
                    </a:cxn>
                    <a:cxn ang="0">
                      <a:pos x="connsiteX2" y="connsiteY2"/>
                    </a:cxn>
                    <a:cxn ang="0">
                      <a:pos x="connsiteX3" y="connsiteY3"/>
                    </a:cxn>
                  </a:cxnLst>
                  <a:rect l="l" t="t" r="r" b="b"/>
                  <a:pathLst>
                    <a:path w="21769" h="203404">
                      <a:moveTo>
                        <a:pt x="21770" y="299"/>
                      </a:moveTo>
                      <a:lnTo>
                        <a:pt x="2990" y="203404"/>
                      </a:lnTo>
                      <a:lnTo>
                        <a:pt x="0" y="203105"/>
                      </a:lnTo>
                      <a:lnTo>
                        <a:pt x="18720" y="0"/>
                      </a:lnTo>
                      <a:close/>
                    </a:path>
                  </a:pathLst>
                </a:custGeom>
                <a:grpFill/>
                <a:ln w="5978" cap="flat">
                  <a:noFill/>
                  <a:prstDash val="solid"/>
                  <a:miter/>
                </a:ln>
              </p:spPr>
              <p:txBody>
                <a:bodyPr rtlCol="0" anchor="ctr"/>
                <a:lstStyle/>
                <a:p>
                  <a:endParaRPr lang="en-GB"/>
                </a:p>
              </p:txBody>
            </p:sp>
            <p:sp>
              <p:nvSpPr>
                <p:cNvPr id="2813" name="Vrije vorm: vorm 2812">
                  <a:extLst>
                    <a:ext uri="{FF2B5EF4-FFF2-40B4-BE49-F238E27FC236}">
                      <a16:creationId xmlns:a16="http://schemas.microsoft.com/office/drawing/2014/main" id="{E2EC03AD-D305-4CF8-8131-60A5164A9713}"/>
                    </a:ext>
                  </a:extLst>
                </p:cNvPr>
                <p:cNvSpPr/>
                <p:nvPr/>
              </p:nvSpPr>
              <p:spPr>
                <a:xfrm>
                  <a:off x="5856121" y="5463317"/>
                  <a:ext cx="18324" cy="18404"/>
                </a:xfrm>
                <a:custGeom>
                  <a:avLst/>
                  <a:gdLst>
                    <a:gd name="connsiteX0" fmla="*/ 18283 w 18324"/>
                    <a:gd name="connsiteY0" fmla="*/ 10100 h 18404"/>
                    <a:gd name="connsiteX1" fmla="*/ 8295 w 18324"/>
                    <a:gd name="connsiteY1" fmla="*/ 18353 h 18404"/>
                    <a:gd name="connsiteX2" fmla="*/ 42 w 18324"/>
                    <a:gd name="connsiteY2" fmla="*/ 8305 h 18404"/>
                    <a:gd name="connsiteX3" fmla="*/ 10030 w 18324"/>
                    <a:gd name="connsiteY3" fmla="*/ 52 h 18404"/>
                    <a:gd name="connsiteX4" fmla="*/ 18283 w 18324"/>
                    <a:gd name="connsiteY4" fmla="*/ 10100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04">
                      <a:moveTo>
                        <a:pt x="18283" y="10100"/>
                      </a:moveTo>
                      <a:cubicBezTo>
                        <a:pt x="17804" y="15183"/>
                        <a:pt x="13319" y="18891"/>
                        <a:pt x="8295" y="18353"/>
                      </a:cubicBezTo>
                      <a:cubicBezTo>
                        <a:pt x="3271" y="17875"/>
                        <a:pt x="-437" y="13389"/>
                        <a:pt x="42" y="8305"/>
                      </a:cubicBezTo>
                      <a:cubicBezTo>
                        <a:pt x="520" y="3222"/>
                        <a:pt x="4946" y="-486"/>
                        <a:pt x="10030" y="52"/>
                      </a:cubicBezTo>
                      <a:cubicBezTo>
                        <a:pt x="15053" y="530"/>
                        <a:pt x="18761" y="5016"/>
                        <a:pt x="18283" y="10100"/>
                      </a:cubicBezTo>
                      <a:close/>
                    </a:path>
                  </a:pathLst>
                </a:custGeom>
                <a:grpFill/>
                <a:ln w="5978" cap="flat">
                  <a:noFill/>
                  <a:prstDash val="solid"/>
                  <a:miter/>
                </a:ln>
              </p:spPr>
              <p:txBody>
                <a:bodyPr rtlCol="0" anchor="ctr"/>
                <a:lstStyle/>
                <a:p>
                  <a:endParaRPr lang="en-GB"/>
                </a:p>
              </p:txBody>
            </p:sp>
            <p:sp>
              <p:nvSpPr>
                <p:cNvPr id="2814" name="Vrije vorm: vorm 2813">
                  <a:extLst>
                    <a:ext uri="{FF2B5EF4-FFF2-40B4-BE49-F238E27FC236}">
                      <a16:creationId xmlns:a16="http://schemas.microsoft.com/office/drawing/2014/main" id="{D561A9AB-5F71-439D-9DF8-F5F24AFE83D8}"/>
                    </a:ext>
                  </a:extLst>
                </p:cNvPr>
                <p:cNvSpPr/>
                <p:nvPr/>
              </p:nvSpPr>
              <p:spPr>
                <a:xfrm>
                  <a:off x="5874841" y="5261119"/>
                  <a:ext cx="18324" cy="18384"/>
                </a:xfrm>
                <a:custGeom>
                  <a:avLst/>
                  <a:gdLst>
                    <a:gd name="connsiteX0" fmla="*/ 18283 w 18324"/>
                    <a:gd name="connsiteY0" fmla="*/ 10089 h 18384"/>
                    <a:gd name="connsiteX1" fmla="*/ 10030 w 18324"/>
                    <a:gd name="connsiteY1" fmla="*/ 42 h 18384"/>
                    <a:gd name="connsiteX2" fmla="*/ 42 w 18324"/>
                    <a:gd name="connsiteY2" fmla="*/ 8295 h 18384"/>
                    <a:gd name="connsiteX3" fmla="*/ 8295 w 18324"/>
                    <a:gd name="connsiteY3" fmla="*/ 18343 h 18384"/>
                    <a:gd name="connsiteX4" fmla="*/ 18283 w 18324"/>
                    <a:gd name="connsiteY4" fmla="*/ 10089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18283" y="10089"/>
                      </a:moveTo>
                      <a:cubicBezTo>
                        <a:pt x="18761" y="5006"/>
                        <a:pt x="15053" y="520"/>
                        <a:pt x="10030" y="42"/>
                      </a:cubicBezTo>
                      <a:cubicBezTo>
                        <a:pt x="5006" y="-437"/>
                        <a:pt x="520" y="3271"/>
                        <a:pt x="42" y="8295"/>
                      </a:cubicBezTo>
                      <a:cubicBezTo>
                        <a:pt x="-437" y="13379"/>
                        <a:pt x="3271" y="17864"/>
                        <a:pt x="8295" y="18343"/>
                      </a:cubicBezTo>
                      <a:cubicBezTo>
                        <a:pt x="13319" y="18821"/>
                        <a:pt x="17804" y="15113"/>
                        <a:pt x="18283" y="10089"/>
                      </a:cubicBezTo>
                      <a:close/>
                    </a:path>
                  </a:pathLst>
                </a:custGeom>
                <a:grpFill/>
                <a:ln w="5978" cap="flat">
                  <a:noFill/>
                  <a:prstDash val="solid"/>
                  <a:miter/>
                </a:ln>
              </p:spPr>
              <p:txBody>
                <a:bodyPr rtlCol="0" anchor="ctr"/>
                <a:lstStyle/>
                <a:p>
                  <a:endParaRPr lang="en-GB"/>
                </a:p>
              </p:txBody>
            </p:sp>
          </p:grpSp>
          <p:grpSp>
            <p:nvGrpSpPr>
              <p:cNvPr id="863" name="Graphic 3">
                <a:extLst>
                  <a:ext uri="{FF2B5EF4-FFF2-40B4-BE49-F238E27FC236}">
                    <a16:creationId xmlns:a16="http://schemas.microsoft.com/office/drawing/2014/main" id="{2BD6C2C8-CD76-47EB-8B85-1C4AA1DD7799}"/>
                  </a:ext>
                </a:extLst>
              </p:cNvPr>
              <p:cNvGrpSpPr/>
              <p:nvPr/>
            </p:nvGrpSpPr>
            <p:grpSpPr>
              <a:xfrm>
                <a:off x="5922598" y="5430340"/>
                <a:ext cx="30408" cy="238244"/>
                <a:chOff x="5922598" y="5430340"/>
                <a:chExt cx="30408" cy="238244"/>
              </a:xfrm>
              <a:grpFill/>
            </p:grpSpPr>
            <p:sp>
              <p:nvSpPr>
                <p:cNvPr id="2809" name="Vrije vorm: vorm 2808">
                  <a:extLst>
                    <a:ext uri="{FF2B5EF4-FFF2-40B4-BE49-F238E27FC236}">
                      <a16:creationId xmlns:a16="http://schemas.microsoft.com/office/drawing/2014/main" id="{DE6E7A41-3DCC-4726-A0CB-284602DAD514}"/>
                    </a:ext>
                  </a:extLst>
                </p:cNvPr>
                <p:cNvSpPr/>
                <p:nvPr/>
              </p:nvSpPr>
              <p:spPr>
                <a:xfrm>
                  <a:off x="5930204" y="5439028"/>
                  <a:ext cx="15131" cy="220867"/>
                </a:xfrm>
                <a:custGeom>
                  <a:avLst/>
                  <a:gdLst>
                    <a:gd name="connsiteX0" fmla="*/ 15131 w 15131"/>
                    <a:gd name="connsiteY0" fmla="*/ 179 h 220867"/>
                    <a:gd name="connsiteX1" fmla="*/ 2990 w 15131"/>
                    <a:gd name="connsiteY1" fmla="*/ 220868 h 220867"/>
                    <a:gd name="connsiteX2" fmla="*/ 0 w 15131"/>
                    <a:gd name="connsiteY2" fmla="*/ 220688 h 220867"/>
                    <a:gd name="connsiteX3" fmla="*/ 12141 w 15131"/>
                    <a:gd name="connsiteY3" fmla="*/ 0 h 220867"/>
                  </a:gdLst>
                  <a:ahLst/>
                  <a:cxnLst>
                    <a:cxn ang="0">
                      <a:pos x="connsiteX0" y="connsiteY0"/>
                    </a:cxn>
                    <a:cxn ang="0">
                      <a:pos x="connsiteX1" y="connsiteY1"/>
                    </a:cxn>
                    <a:cxn ang="0">
                      <a:pos x="connsiteX2" y="connsiteY2"/>
                    </a:cxn>
                    <a:cxn ang="0">
                      <a:pos x="connsiteX3" y="connsiteY3"/>
                    </a:cxn>
                  </a:cxnLst>
                  <a:rect l="l" t="t" r="r" b="b"/>
                  <a:pathLst>
                    <a:path w="15131" h="220867">
                      <a:moveTo>
                        <a:pt x="15131" y="179"/>
                      </a:moveTo>
                      <a:lnTo>
                        <a:pt x="2990" y="220868"/>
                      </a:lnTo>
                      <a:lnTo>
                        <a:pt x="0" y="220688"/>
                      </a:lnTo>
                      <a:lnTo>
                        <a:pt x="12141" y="0"/>
                      </a:lnTo>
                      <a:close/>
                    </a:path>
                  </a:pathLst>
                </a:custGeom>
                <a:grpFill/>
                <a:ln w="5978" cap="flat">
                  <a:noFill/>
                  <a:prstDash val="solid"/>
                  <a:miter/>
                </a:ln>
              </p:spPr>
              <p:txBody>
                <a:bodyPr rtlCol="0" anchor="ctr"/>
                <a:lstStyle/>
                <a:p>
                  <a:endParaRPr lang="en-GB"/>
                </a:p>
              </p:txBody>
            </p:sp>
            <p:sp>
              <p:nvSpPr>
                <p:cNvPr id="2810" name="Vrije vorm: vorm 2809">
                  <a:extLst>
                    <a:ext uri="{FF2B5EF4-FFF2-40B4-BE49-F238E27FC236}">
                      <a16:creationId xmlns:a16="http://schemas.microsoft.com/office/drawing/2014/main" id="{FB90B191-CC51-4292-AAB4-E4A60189DFBF}"/>
                    </a:ext>
                  </a:extLst>
                </p:cNvPr>
                <p:cNvSpPr/>
                <p:nvPr/>
              </p:nvSpPr>
              <p:spPr>
                <a:xfrm>
                  <a:off x="5922598" y="5650131"/>
                  <a:ext cx="18322" cy="18452"/>
                </a:xfrm>
                <a:custGeom>
                  <a:avLst/>
                  <a:gdLst>
                    <a:gd name="connsiteX0" fmla="*/ 18312 w 18322"/>
                    <a:gd name="connsiteY0" fmla="*/ 9765 h 18452"/>
                    <a:gd name="connsiteX1" fmla="*/ 8683 w 18322"/>
                    <a:gd name="connsiteY1" fmla="*/ 18437 h 18452"/>
                    <a:gd name="connsiteX2" fmla="*/ 11 w 18322"/>
                    <a:gd name="connsiteY2" fmla="*/ 8688 h 18452"/>
                    <a:gd name="connsiteX3" fmla="*/ 9640 w 18322"/>
                    <a:gd name="connsiteY3" fmla="*/ 16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013" y="14848"/>
                        <a:pt x="13706" y="18736"/>
                        <a:pt x="8683" y="18437"/>
                      </a:cubicBezTo>
                      <a:cubicBezTo>
                        <a:pt x="3599" y="18138"/>
                        <a:pt x="-229" y="13772"/>
                        <a:pt x="11" y="8688"/>
                      </a:cubicBezTo>
                      <a:cubicBezTo>
                        <a:pt x="310" y="3604"/>
                        <a:pt x="4616" y="-283"/>
                        <a:pt x="9640" y="16"/>
                      </a:cubicBezTo>
                      <a:cubicBezTo>
                        <a:pt x="14663" y="375"/>
                        <a:pt x="18551" y="4681"/>
                        <a:pt x="18312" y="9765"/>
                      </a:cubicBezTo>
                      <a:close/>
                    </a:path>
                  </a:pathLst>
                </a:custGeom>
                <a:grpFill/>
                <a:ln w="5978" cap="flat">
                  <a:noFill/>
                  <a:prstDash val="solid"/>
                  <a:miter/>
                </a:ln>
              </p:spPr>
              <p:txBody>
                <a:bodyPr rtlCol="0" anchor="ctr"/>
                <a:lstStyle/>
                <a:p>
                  <a:endParaRPr lang="en-GB"/>
                </a:p>
              </p:txBody>
            </p:sp>
            <p:sp>
              <p:nvSpPr>
                <p:cNvPr id="2811" name="Vrije vorm: vorm 2810">
                  <a:extLst>
                    <a:ext uri="{FF2B5EF4-FFF2-40B4-BE49-F238E27FC236}">
                      <a16:creationId xmlns:a16="http://schemas.microsoft.com/office/drawing/2014/main" id="{B9B0B616-3838-47A4-95CF-A55CA5DD20F9}"/>
                    </a:ext>
                  </a:extLst>
                </p:cNvPr>
                <p:cNvSpPr/>
                <p:nvPr/>
              </p:nvSpPr>
              <p:spPr>
                <a:xfrm>
                  <a:off x="5934674" y="5430340"/>
                  <a:ext cx="18333" cy="18452"/>
                </a:xfrm>
                <a:custGeom>
                  <a:avLst/>
                  <a:gdLst>
                    <a:gd name="connsiteX0" fmla="*/ 18317 w 18333"/>
                    <a:gd name="connsiteY0" fmla="*/ 9765 h 18452"/>
                    <a:gd name="connsiteX1" fmla="*/ 9645 w 18333"/>
                    <a:gd name="connsiteY1" fmla="*/ 16 h 18452"/>
                    <a:gd name="connsiteX2" fmla="*/ 16 w 18333"/>
                    <a:gd name="connsiteY2" fmla="*/ 8688 h 18452"/>
                    <a:gd name="connsiteX3" fmla="*/ 8688 w 18333"/>
                    <a:gd name="connsiteY3" fmla="*/ 18437 h 18452"/>
                    <a:gd name="connsiteX4" fmla="*/ 18317 w 18333"/>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317" y="9765"/>
                      </a:moveTo>
                      <a:cubicBezTo>
                        <a:pt x="18616" y="4681"/>
                        <a:pt x="14729" y="315"/>
                        <a:pt x="9645" y="16"/>
                      </a:cubicBezTo>
                      <a:cubicBezTo>
                        <a:pt x="4562" y="-283"/>
                        <a:pt x="256" y="3604"/>
                        <a:pt x="16" y="8688"/>
                      </a:cubicBezTo>
                      <a:cubicBezTo>
                        <a:pt x="-283" y="13772"/>
                        <a:pt x="3605" y="18138"/>
                        <a:pt x="8688" y="18437"/>
                      </a:cubicBezTo>
                      <a:cubicBezTo>
                        <a:pt x="13712" y="18736"/>
                        <a:pt x="18018" y="14848"/>
                        <a:pt x="18317" y="9765"/>
                      </a:cubicBezTo>
                      <a:close/>
                    </a:path>
                  </a:pathLst>
                </a:custGeom>
                <a:grpFill/>
                <a:ln w="5978" cap="flat">
                  <a:noFill/>
                  <a:prstDash val="solid"/>
                  <a:miter/>
                </a:ln>
              </p:spPr>
              <p:txBody>
                <a:bodyPr rtlCol="0" anchor="ctr"/>
                <a:lstStyle/>
                <a:p>
                  <a:endParaRPr lang="en-GB"/>
                </a:p>
              </p:txBody>
            </p:sp>
          </p:grpSp>
          <p:grpSp>
            <p:nvGrpSpPr>
              <p:cNvPr id="864" name="Graphic 3">
                <a:extLst>
                  <a:ext uri="{FF2B5EF4-FFF2-40B4-BE49-F238E27FC236}">
                    <a16:creationId xmlns:a16="http://schemas.microsoft.com/office/drawing/2014/main" id="{196C9C57-BE23-43E9-BE61-167791D4A4BF}"/>
                  </a:ext>
                </a:extLst>
              </p:cNvPr>
              <p:cNvGrpSpPr/>
              <p:nvPr/>
            </p:nvGrpSpPr>
            <p:grpSpPr>
              <a:xfrm>
                <a:off x="4730673" y="2100499"/>
                <a:ext cx="129341" cy="128787"/>
                <a:chOff x="4730673" y="2100499"/>
                <a:chExt cx="129341" cy="128787"/>
              </a:xfrm>
              <a:grpFill/>
            </p:grpSpPr>
            <p:sp>
              <p:nvSpPr>
                <p:cNvPr id="2806" name="Vrije vorm: vorm 2805">
                  <a:extLst>
                    <a:ext uri="{FF2B5EF4-FFF2-40B4-BE49-F238E27FC236}">
                      <a16:creationId xmlns:a16="http://schemas.microsoft.com/office/drawing/2014/main" id="{223F24E3-B2A4-4407-89C1-8D599F3BA93E}"/>
                    </a:ext>
                  </a:extLst>
                </p:cNvPr>
                <p:cNvSpPr/>
                <p:nvPr/>
              </p:nvSpPr>
              <p:spPr>
                <a:xfrm>
                  <a:off x="4738426" y="2108304"/>
                  <a:ext cx="113812" cy="113155"/>
                </a:xfrm>
                <a:custGeom>
                  <a:avLst/>
                  <a:gdLst>
                    <a:gd name="connsiteX0" fmla="*/ 113813 w 113812"/>
                    <a:gd name="connsiteY0" fmla="*/ 111002 h 113155"/>
                    <a:gd name="connsiteX1" fmla="*/ 111660 w 113812"/>
                    <a:gd name="connsiteY1" fmla="*/ 113155 h 113155"/>
                    <a:gd name="connsiteX2" fmla="*/ 0 w 113812"/>
                    <a:gd name="connsiteY2" fmla="*/ 2153 h 113155"/>
                    <a:gd name="connsiteX3" fmla="*/ 2153 w 113812"/>
                    <a:gd name="connsiteY3" fmla="*/ 0 h 113155"/>
                  </a:gdLst>
                  <a:ahLst/>
                  <a:cxnLst>
                    <a:cxn ang="0">
                      <a:pos x="connsiteX0" y="connsiteY0"/>
                    </a:cxn>
                    <a:cxn ang="0">
                      <a:pos x="connsiteX1" y="connsiteY1"/>
                    </a:cxn>
                    <a:cxn ang="0">
                      <a:pos x="connsiteX2" y="connsiteY2"/>
                    </a:cxn>
                    <a:cxn ang="0">
                      <a:pos x="connsiteX3" y="connsiteY3"/>
                    </a:cxn>
                  </a:cxnLst>
                  <a:rect l="l" t="t" r="r" b="b"/>
                  <a:pathLst>
                    <a:path w="113812" h="113155">
                      <a:moveTo>
                        <a:pt x="113813" y="111002"/>
                      </a:moveTo>
                      <a:lnTo>
                        <a:pt x="111660" y="113155"/>
                      </a:lnTo>
                      <a:lnTo>
                        <a:pt x="0" y="2153"/>
                      </a:lnTo>
                      <a:lnTo>
                        <a:pt x="2153" y="0"/>
                      </a:lnTo>
                      <a:close/>
                    </a:path>
                  </a:pathLst>
                </a:custGeom>
                <a:grpFill/>
                <a:ln w="5978" cap="flat">
                  <a:noFill/>
                  <a:prstDash val="solid"/>
                  <a:miter/>
                </a:ln>
              </p:spPr>
              <p:txBody>
                <a:bodyPr rtlCol="0" anchor="ctr"/>
                <a:lstStyle/>
                <a:p>
                  <a:endParaRPr lang="en-GB"/>
                </a:p>
              </p:txBody>
            </p:sp>
            <p:sp>
              <p:nvSpPr>
                <p:cNvPr id="2807" name="Vrije vorm: vorm 2806">
                  <a:extLst>
                    <a:ext uri="{FF2B5EF4-FFF2-40B4-BE49-F238E27FC236}">
                      <a16:creationId xmlns:a16="http://schemas.microsoft.com/office/drawing/2014/main" id="{1580B5FD-29BC-4C8E-8D9B-5BC7C41A557A}"/>
                    </a:ext>
                  </a:extLst>
                </p:cNvPr>
                <p:cNvSpPr/>
                <p:nvPr/>
              </p:nvSpPr>
              <p:spPr>
                <a:xfrm>
                  <a:off x="4730673" y="2100499"/>
                  <a:ext cx="18316" cy="18420"/>
                </a:xfrm>
                <a:custGeom>
                  <a:avLst/>
                  <a:gdLst>
                    <a:gd name="connsiteX0" fmla="*/ 2729 w 18316"/>
                    <a:gd name="connsiteY0" fmla="*/ 15759 h 18420"/>
                    <a:gd name="connsiteX1" fmla="*/ 2609 w 18316"/>
                    <a:gd name="connsiteY1" fmla="*/ 2721 h 18420"/>
                    <a:gd name="connsiteX2" fmla="*/ 15588 w 18316"/>
                    <a:gd name="connsiteY2" fmla="*/ 2662 h 18420"/>
                    <a:gd name="connsiteX3" fmla="*/ 15707 w 18316"/>
                    <a:gd name="connsiteY3" fmla="*/ 15700 h 18420"/>
                    <a:gd name="connsiteX4" fmla="*/ 2729 w 18316"/>
                    <a:gd name="connsiteY4" fmla="*/ 1575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0">
                      <a:moveTo>
                        <a:pt x="2729" y="15759"/>
                      </a:moveTo>
                      <a:cubicBezTo>
                        <a:pt x="-859" y="12171"/>
                        <a:pt x="-919" y="6310"/>
                        <a:pt x="2609" y="2721"/>
                      </a:cubicBezTo>
                      <a:cubicBezTo>
                        <a:pt x="6138" y="-867"/>
                        <a:pt x="11940" y="-927"/>
                        <a:pt x="15588" y="2662"/>
                      </a:cubicBezTo>
                      <a:cubicBezTo>
                        <a:pt x="19176" y="6250"/>
                        <a:pt x="19236" y="12051"/>
                        <a:pt x="15707" y="15700"/>
                      </a:cubicBezTo>
                      <a:cubicBezTo>
                        <a:pt x="12119" y="19288"/>
                        <a:pt x="6318" y="19348"/>
                        <a:pt x="2729" y="15759"/>
                      </a:cubicBezTo>
                      <a:close/>
                    </a:path>
                  </a:pathLst>
                </a:custGeom>
                <a:grpFill/>
                <a:ln w="5978" cap="flat">
                  <a:noFill/>
                  <a:prstDash val="solid"/>
                  <a:miter/>
                </a:ln>
              </p:spPr>
              <p:txBody>
                <a:bodyPr rtlCol="0" anchor="ctr"/>
                <a:lstStyle/>
                <a:p>
                  <a:endParaRPr lang="en-GB"/>
                </a:p>
              </p:txBody>
            </p:sp>
            <p:sp>
              <p:nvSpPr>
                <p:cNvPr id="2808" name="Vrije vorm: vorm 2807">
                  <a:extLst>
                    <a:ext uri="{FF2B5EF4-FFF2-40B4-BE49-F238E27FC236}">
                      <a16:creationId xmlns:a16="http://schemas.microsoft.com/office/drawing/2014/main" id="{AD8018B5-0410-4E39-AB10-8880CC6ACDB3}"/>
                    </a:ext>
                  </a:extLst>
                </p:cNvPr>
                <p:cNvSpPr/>
                <p:nvPr/>
              </p:nvSpPr>
              <p:spPr>
                <a:xfrm>
                  <a:off x="4841675" y="2210821"/>
                  <a:ext cx="18338" cy="18465"/>
                </a:xfrm>
                <a:custGeom>
                  <a:avLst/>
                  <a:gdLst>
                    <a:gd name="connsiteX0" fmla="*/ 2729 w 18338"/>
                    <a:gd name="connsiteY0" fmla="*/ 15782 h 18465"/>
                    <a:gd name="connsiteX1" fmla="*/ 15707 w 18338"/>
                    <a:gd name="connsiteY1" fmla="*/ 15722 h 18465"/>
                    <a:gd name="connsiteX2" fmla="*/ 15588 w 18338"/>
                    <a:gd name="connsiteY2" fmla="*/ 2684 h 18465"/>
                    <a:gd name="connsiteX3" fmla="*/ 2610 w 18338"/>
                    <a:gd name="connsiteY3" fmla="*/ 2744 h 18465"/>
                    <a:gd name="connsiteX4" fmla="*/ 2729 w 18338"/>
                    <a:gd name="connsiteY4" fmla="*/ 1578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5">
                      <a:moveTo>
                        <a:pt x="2729" y="15782"/>
                      </a:moveTo>
                      <a:cubicBezTo>
                        <a:pt x="6318" y="19370"/>
                        <a:pt x="12119" y="19370"/>
                        <a:pt x="15707" y="15722"/>
                      </a:cubicBezTo>
                      <a:cubicBezTo>
                        <a:pt x="19236" y="12133"/>
                        <a:pt x="19236" y="6272"/>
                        <a:pt x="15588" y="2684"/>
                      </a:cubicBezTo>
                      <a:cubicBezTo>
                        <a:pt x="11999" y="-905"/>
                        <a:pt x="6198" y="-905"/>
                        <a:pt x="2610" y="2744"/>
                      </a:cubicBezTo>
                      <a:cubicBezTo>
                        <a:pt x="-919" y="6392"/>
                        <a:pt x="-859" y="12193"/>
                        <a:pt x="2729" y="15782"/>
                      </a:cubicBezTo>
                      <a:close/>
                    </a:path>
                  </a:pathLst>
                </a:custGeom>
                <a:grpFill/>
                <a:ln w="5978" cap="flat">
                  <a:noFill/>
                  <a:prstDash val="solid"/>
                  <a:miter/>
                </a:ln>
              </p:spPr>
              <p:txBody>
                <a:bodyPr rtlCol="0" anchor="ctr"/>
                <a:lstStyle/>
                <a:p>
                  <a:endParaRPr lang="en-GB"/>
                </a:p>
              </p:txBody>
            </p:sp>
          </p:grpSp>
          <p:grpSp>
            <p:nvGrpSpPr>
              <p:cNvPr id="865" name="Graphic 3">
                <a:extLst>
                  <a:ext uri="{FF2B5EF4-FFF2-40B4-BE49-F238E27FC236}">
                    <a16:creationId xmlns:a16="http://schemas.microsoft.com/office/drawing/2014/main" id="{8DE7FDCF-9068-426F-A3C1-D13CCEDF79D5}"/>
                  </a:ext>
                </a:extLst>
              </p:cNvPr>
              <p:cNvGrpSpPr/>
              <p:nvPr/>
            </p:nvGrpSpPr>
            <p:grpSpPr>
              <a:xfrm>
                <a:off x="4664099" y="1983684"/>
                <a:ext cx="196782" cy="244840"/>
                <a:chOff x="4664099" y="1983684"/>
                <a:chExt cx="196782" cy="244840"/>
              </a:xfrm>
              <a:grpFill/>
            </p:grpSpPr>
            <p:sp>
              <p:nvSpPr>
                <p:cNvPr id="2803" name="Vrije vorm: vorm 2802">
                  <a:extLst>
                    <a:ext uri="{FF2B5EF4-FFF2-40B4-BE49-F238E27FC236}">
                      <a16:creationId xmlns:a16="http://schemas.microsoft.com/office/drawing/2014/main" id="{BDF31F16-7988-43E8-B11C-55B178604548}"/>
                    </a:ext>
                  </a:extLst>
                </p:cNvPr>
                <p:cNvSpPr/>
                <p:nvPr/>
              </p:nvSpPr>
              <p:spPr>
                <a:xfrm>
                  <a:off x="4671741" y="1991620"/>
                  <a:ext cx="181395" cy="229001"/>
                </a:xfrm>
                <a:custGeom>
                  <a:avLst/>
                  <a:gdLst>
                    <a:gd name="connsiteX0" fmla="*/ 181395 w 181395"/>
                    <a:gd name="connsiteY0" fmla="*/ 227148 h 229001"/>
                    <a:gd name="connsiteX1" fmla="*/ 179003 w 181395"/>
                    <a:gd name="connsiteY1" fmla="*/ 229002 h 229001"/>
                    <a:gd name="connsiteX2" fmla="*/ 0 w 181395"/>
                    <a:gd name="connsiteY2" fmla="*/ 1854 h 229001"/>
                    <a:gd name="connsiteX3" fmla="*/ 2392 w 181395"/>
                    <a:gd name="connsiteY3" fmla="*/ 0 h 229001"/>
                  </a:gdLst>
                  <a:ahLst/>
                  <a:cxnLst>
                    <a:cxn ang="0">
                      <a:pos x="connsiteX0" y="connsiteY0"/>
                    </a:cxn>
                    <a:cxn ang="0">
                      <a:pos x="connsiteX1" y="connsiteY1"/>
                    </a:cxn>
                    <a:cxn ang="0">
                      <a:pos x="connsiteX2" y="connsiteY2"/>
                    </a:cxn>
                    <a:cxn ang="0">
                      <a:pos x="connsiteX3" y="connsiteY3"/>
                    </a:cxn>
                  </a:cxnLst>
                  <a:rect l="l" t="t" r="r" b="b"/>
                  <a:pathLst>
                    <a:path w="181395" h="229001">
                      <a:moveTo>
                        <a:pt x="181395" y="227148"/>
                      </a:moveTo>
                      <a:lnTo>
                        <a:pt x="179003" y="229002"/>
                      </a:lnTo>
                      <a:lnTo>
                        <a:pt x="0" y="1854"/>
                      </a:lnTo>
                      <a:lnTo>
                        <a:pt x="2392" y="0"/>
                      </a:lnTo>
                      <a:close/>
                    </a:path>
                  </a:pathLst>
                </a:custGeom>
                <a:grpFill/>
                <a:ln w="5978" cap="flat">
                  <a:noFill/>
                  <a:prstDash val="solid"/>
                  <a:miter/>
                </a:ln>
              </p:spPr>
              <p:txBody>
                <a:bodyPr rtlCol="0" anchor="ctr"/>
                <a:lstStyle/>
                <a:p>
                  <a:endParaRPr lang="en-GB"/>
                </a:p>
              </p:txBody>
            </p:sp>
            <p:sp>
              <p:nvSpPr>
                <p:cNvPr id="2804" name="Vrije vorm: vorm 2803">
                  <a:extLst>
                    <a:ext uri="{FF2B5EF4-FFF2-40B4-BE49-F238E27FC236}">
                      <a16:creationId xmlns:a16="http://schemas.microsoft.com/office/drawing/2014/main" id="{1DE472A4-04AF-42A8-802D-532F94EAC341}"/>
                    </a:ext>
                  </a:extLst>
                </p:cNvPr>
                <p:cNvSpPr/>
                <p:nvPr/>
              </p:nvSpPr>
              <p:spPr>
                <a:xfrm>
                  <a:off x="4842520" y="2210114"/>
                  <a:ext cx="18361" cy="18410"/>
                </a:xfrm>
                <a:custGeom>
                  <a:avLst/>
                  <a:gdLst>
                    <a:gd name="connsiteX0" fmla="*/ 16358 w 18361"/>
                    <a:gd name="connsiteY0" fmla="*/ 3511 h 18410"/>
                    <a:gd name="connsiteX1" fmla="*/ 14862 w 18361"/>
                    <a:gd name="connsiteY1" fmla="*/ 16429 h 18410"/>
                    <a:gd name="connsiteX2" fmla="*/ 2004 w 18361"/>
                    <a:gd name="connsiteY2" fmla="*/ 14874 h 18410"/>
                    <a:gd name="connsiteX3" fmla="*/ 3499 w 18361"/>
                    <a:gd name="connsiteY3" fmla="*/ 1956 h 18410"/>
                    <a:gd name="connsiteX4" fmla="*/ 16358 w 18361"/>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0">
                      <a:moveTo>
                        <a:pt x="16358" y="3511"/>
                      </a:moveTo>
                      <a:cubicBezTo>
                        <a:pt x="19528" y="7518"/>
                        <a:pt x="18870" y="13319"/>
                        <a:pt x="14862" y="16429"/>
                      </a:cubicBezTo>
                      <a:cubicBezTo>
                        <a:pt x="10915" y="19599"/>
                        <a:pt x="5114" y="18881"/>
                        <a:pt x="2004" y="14874"/>
                      </a:cubicBezTo>
                      <a:cubicBezTo>
                        <a:pt x="-1166" y="10867"/>
                        <a:pt x="-508" y="5066"/>
                        <a:pt x="3499" y="1956"/>
                      </a:cubicBezTo>
                      <a:cubicBezTo>
                        <a:pt x="7446" y="-1154"/>
                        <a:pt x="13188" y="-496"/>
                        <a:pt x="16358" y="3511"/>
                      </a:cubicBezTo>
                      <a:close/>
                    </a:path>
                  </a:pathLst>
                </a:custGeom>
                <a:grpFill/>
                <a:ln w="5978" cap="flat">
                  <a:noFill/>
                  <a:prstDash val="solid"/>
                  <a:miter/>
                </a:ln>
              </p:spPr>
              <p:txBody>
                <a:bodyPr rtlCol="0" anchor="ctr"/>
                <a:lstStyle/>
                <a:p>
                  <a:endParaRPr lang="en-GB"/>
                </a:p>
              </p:txBody>
            </p:sp>
            <p:sp>
              <p:nvSpPr>
                <p:cNvPr id="2805" name="Vrije vorm: vorm 2804">
                  <a:extLst>
                    <a:ext uri="{FF2B5EF4-FFF2-40B4-BE49-F238E27FC236}">
                      <a16:creationId xmlns:a16="http://schemas.microsoft.com/office/drawing/2014/main" id="{3B71E5EC-C27D-476D-8262-6F3A0A37B6B6}"/>
                    </a:ext>
                  </a:extLst>
                </p:cNvPr>
                <p:cNvSpPr/>
                <p:nvPr/>
              </p:nvSpPr>
              <p:spPr>
                <a:xfrm>
                  <a:off x="4664099" y="1983684"/>
                  <a:ext cx="18317" cy="18366"/>
                </a:xfrm>
                <a:custGeom>
                  <a:avLst/>
                  <a:gdLst>
                    <a:gd name="connsiteX0" fmla="*/ 16314 w 18317"/>
                    <a:gd name="connsiteY0" fmla="*/ 3511 h 18366"/>
                    <a:gd name="connsiteX1" fmla="*/ 3455 w 18317"/>
                    <a:gd name="connsiteY1" fmla="*/ 1956 h 18366"/>
                    <a:gd name="connsiteX2" fmla="*/ 1960 w 18317"/>
                    <a:gd name="connsiteY2" fmla="*/ 14874 h 18366"/>
                    <a:gd name="connsiteX3" fmla="*/ 14819 w 18317"/>
                    <a:gd name="connsiteY3" fmla="*/ 16429 h 18366"/>
                    <a:gd name="connsiteX4" fmla="*/ 16314 w 18317"/>
                    <a:gd name="connsiteY4" fmla="*/ 3511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66">
                      <a:moveTo>
                        <a:pt x="16314" y="3511"/>
                      </a:moveTo>
                      <a:cubicBezTo>
                        <a:pt x="13144" y="-496"/>
                        <a:pt x="7403" y="-1154"/>
                        <a:pt x="3455" y="1956"/>
                      </a:cubicBezTo>
                      <a:cubicBezTo>
                        <a:pt x="-492" y="5126"/>
                        <a:pt x="-1150" y="10927"/>
                        <a:pt x="1960" y="14874"/>
                      </a:cubicBezTo>
                      <a:cubicBezTo>
                        <a:pt x="5070" y="18821"/>
                        <a:pt x="10871" y="19539"/>
                        <a:pt x="14819" y="16429"/>
                      </a:cubicBezTo>
                      <a:cubicBezTo>
                        <a:pt x="18826" y="13319"/>
                        <a:pt x="19484" y="7518"/>
                        <a:pt x="16314" y="3511"/>
                      </a:cubicBezTo>
                      <a:close/>
                    </a:path>
                  </a:pathLst>
                </a:custGeom>
                <a:grpFill/>
                <a:ln w="5978" cap="flat">
                  <a:noFill/>
                  <a:prstDash val="solid"/>
                  <a:miter/>
                </a:ln>
              </p:spPr>
              <p:txBody>
                <a:bodyPr rtlCol="0" anchor="ctr"/>
                <a:lstStyle/>
                <a:p>
                  <a:endParaRPr lang="en-GB"/>
                </a:p>
              </p:txBody>
            </p:sp>
          </p:grpSp>
          <p:grpSp>
            <p:nvGrpSpPr>
              <p:cNvPr id="866" name="Graphic 3">
                <a:extLst>
                  <a:ext uri="{FF2B5EF4-FFF2-40B4-BE49-F238E27FC236}">
                    <a16:creationId xmlns:a16="http://schemas.microsoft.com/office/drawing/2014/main" id="{F7A82234-B924-4512-A2F5-F682755E7A4A}"/>
                  </a:ext>
                </a:extLst>
              </p:cNvPr>
              <p:cNvGrpSpPr/>
              <p:nvPr/>
            </p:nvGrpSpPr>
            <p:grpSpPr>
              <a:xfrm>
                <a:off x="5792270" y="5092725"/>
                <a:ext cx="53087" cy="285856"/>
                <a:chOff x="5792270" y="5092725"/>
                <a:chExt cx="53087" cy="285856"/>
              </a:xfrm>
              <a:grpFill/>
            </p:grpSpPr>
            <p:sp>
              <p:nvSpPr>
                <p:cNvPr id="2800" name="Vrije vorm: vorm 2799">
                  <a:extLst>
                    <a:ext uri="{FF2B5EF4-FFF2-40B4-BE49-F238E27FC236}">
                      <a16:creationId xmlns:a16="http://schemas.microsoft.com/office/drawing/2014/main" id="{9CF17CAA-0E50-427E-9757-921ABE46CA70}"/>
                    </a:ext>
                  </a:extLst>
                </p:cNvPr>
                <p:cNvSpPr/>
                <p:nvPr/>
              </p:nvSpPr>
              <p:spPr>
                <a:xfrm>
                  <a:off x="5799825" y="5101236"/>
                  <a:ext cx="37917" cy="268773"/>
                </a:xfrm>
                <a:custGeom>
                  <a:avLst/>
                  <a:gdLst>
                    <a:gd name="connsiteX0" fmla="*/ 37918 w 37917"/>
                    <a:gd name="connsiteY0" fmla="*/ 419 h 268773"/>
                    <a:gd name="connsiteX1" fmla="*/ 3050 w 37917"/>
                    <a:gd name="connsiteY1" fmla="*/ 268774 h 268773"/>
                    <a:gd name="connsiteX2" fmla="*/ 0 w 37917"/>
                    <a:gd name="connsiteY2" fmla="*/ 268355 h 268773"/>
                    <a:gd name="connsiteX3" fmla="*/ 34868 w 37917"/>
                    <a:gd name="connsiteY3" fmla="*/ 0 h 268773"/>
                  </a:gdLst>
                  <a:ahLst/>
                  <a:cxnLst>
                    <a:cxn ang="0">
                      <a:pos x="connsiteX0" y="connsiteY0"/>
                    </a:cxn>
                    <a:cxn ang="0">
                      <a:pos x="connsiteX1" y="connsiteY1"/>
                    </a:cxn>
                    <a:cxn ang="0">
                      <a:pos x="connsiteX2" y="connsiteY2"/>
                    </a:cxn>
                    <a:cxn ang="0">
                      <a:pos x="connsiteX3" y="connsiteY3"/>
                    </a:cxn>
                  </a:cxnLst>
                  <a:rect l="l" t="t" r="r" b="b"/>
                  <a:pathLst>
                    <a:path w="37917" h="268773">
                      <a:moveTo>
                        <a:pt x="37918" y="419"/>
                      </a:moveTo>
                      <a:lnTo>
                        <a:pt x="3050" y="268774"/>
                      </a:lnTo>
                      <a:lnTo>
                        <a:pt x="0" y="268355"/>
                      </a:lnTo>
                      <a:lnTo>
                        <a:pt x="34868" y="0"/>
                      </a:lnTo>
                      <a:close/>
                    </a:path>
                  </a:pathLst>
                </a:custGeom>
                <a:grpFill/>
                <a:ln w="5978" cap="flat">
                  <a:noFill/>
                  <a:prstDash val="solid"/>
                  <a:miter/>
                </a:ln>
              </p:spPr>
              <p:txBody>
                <a:bodyPr rtlCol="0" anchor="ctr"/>
                <a:lstStyle/>
                <a:p>
                  <a:endParaRPr lang="en-GB"/>
                </a:p>
              </p:txBody>
            </p:sp>
            <p:sp>
              <p:nvSpPr>
                <p:cNvPr id="2801" name="Vrije vorm: vorm 2800">
                  <a:extLst>
                    <a:ext uri="{FF2B5EF4-FFF2-40B4-BE49-F238E27FC236}">
                      <a16:creationId xmlns:a16="http://schemas.microsoft.com/office/drawing/2014/main" id="{06D67314-00EF-4369-AB0E-C52D576801FA}"/>
                    </a:ext>
                  </a:extLst>
                </p:cNvPr>
                <p:cNvSpPr/>
                <p:nvPr/>
              </p:nvSpPr>
              <p:spPr>
                <a:xfrm>
                  <a:off x="5792270" y="5360183"/>
                  <a:ext cx="18338" cy="18398"/>
                </a:xfrm>
                <a:custGeom>
                  <a:avLst/>
                  <a:gdLst>
                    <a:gd name="connsiteX0" fmla="*/ 18261 w 18338"/>
                    <a:gd name="connsiteY0" fmla="*/ 10426 h 18398"/>
                    <a:gd name="connsiteX1" fmla="*/ 7973 w 18338"/>
                    <a:gd name="connsiteY1" fmla="*/ 18320 h 18398"/>
                    <a:gd name="connsiteX2" fmla="*/ 79 w 18338"/>
                    <a:gd name="connsiteY2" fmla="*/ 7973 h 18398"/>
                    <a:gd name="connsiteX3" fmla="*/ 10366 w 18338"/>
                    <a:gd name="connsiteY3" fmla="*/ 79 h 18398"/>
                    <a:gd name="connsiteX4" fmla="*/ 18261 w 18338"/>
                    <a:gd name="connsiteY4" fmla="*/ 10426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18261" y="10426"/>
                      </a:moveTo>
                      <a:cubicBezTo>
                        <a:pt x="17602" y="15449"/>
                        <a:pt x="12997" y="18978"/>
                        <a:pt x="7973" y="18320"/>
                      </a:cubicBezTo>
                      <a:cubicBezTo>
                        <a:pt x="2950" y="17662"/>
                        <a:pt x="-579" y="12997"/>
                        <a:pt x="79" y="7973"/>
                      </a:cubicBezTo>
                      <a:cubicBezTo>
                        <a:pt x="737" y="2950"/>
                        <a:pt x="5342" y="-579"/>
                        <a:pt x="10366" y="79"/>
                      </a:cubicBezTo>
                      <a:cubicBezTo>
                        <a:pt x="15330" y="737"/>
                        <a:pt x="18918" y="5342"/>
                        <a:pt x="18261" y="10426"/>
                      </a:cubicBezTo>
                      <a:close/>
                    </a:path>
                  </a:pathLst>
                </a:custGeom>
                <a:grpFill/>
                <a:ln w="5978" cap="flat">
                  <a:noFill/>
                  <a:prstDash val="solid"/>
                  <a:miter/>
                </a:ln>
              </p:spPr>
              <p:txBody>
                <a:bodyPr rtlCol="0" anchor="ctr"/>
                <a:lstStyle/>
                <a:p>
                  <a:endParaRPr lang="en-GB"/>
                </a:p>
              </p:txBody>
            </p:sp>
            <p:sp>
              <p:nvSpPr>
                <p:cNvPr id="2802" name="Vrije vorm: vorm 2801">
                  <a:extLst>
                    <a:ext uri="{FF2B5EF4-FFF2-40B4-BE49-F238E27FC236}">
                      <a16:creationId xmlns:a16="http://schemas.microsoft.com/office/drawing/2014/main" id="{C91A9139-C658-4CF8-B96E-79CBA6CD2A41}"/>
                    </a:ext>
                  </a:extLst>
                </p:cNvPr>
                <p:cNvSpPr/>
                <p:nvPr/>
              </p:nvSpPr>
              <p:spPr>
                <a:xfrm>
                  <a:off x="5827018" y="5092725"/>
                  <a:ext cx="18339" cy="18398"/>
                </a:xfrm>
                <a:custGeom>
                  <a:avLst/>
                  <a:gdLst>
                    <a:gd name="connsiteX0" fmla="*/ 18261 w 18339"/>
                    <a:gd name="connsiteY0" fmla="*/ 10425 h 18398"/>
                    <a:gd name="connsiteX1" fmla="*/ 10366 w 18339"/>
                    <a:gd name="connsiteY1" fmla="*/ 79 h 18398"/>
                    <a:gd name="connsiteX2" fmla="*/ 79 w 18339"/>
                    <a:gd name="connsiteY2" fmla="*/ 7973 h 18398"/>
                    <a:gd name="connsiteX3" fmla="*/ 7973 w 18339"/>
                    <a:gd name="connsiteY3" fmla="*/ 18320 h 18398"/>
                    <a:gd name="connsiteX4" fmla="*/ 18261 w 18339"/>
                    <a:gd name="connsiteY4" fmla="*/ 1042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8261" y="10425"/>
                      </a:moveTo>
                      <a:cubicBezTo>
                        <a:pt x="18918" y="5402"/>
                        <a:pt x="15390" y="737"/>
                        <a:pt x="10366" y="79"/>
                      </a:cubicBezTo>
                      <a:cubicBezTo>
                        <a:pt x="5342" y="-579"/>
                        <a:pt x="737" y="2950"/>
                        <a:pt x="79" y="7973"/>
                      </a:cubicBezTo>
                      <a:cubicBezTo>
                        <a:pt x="-579" y="12997"/>
                        <a:pt x="2950" y="17662"/>
                        <a:pt x="7973" y="18320"/>
                      </a:cubicBezTo>
                      <a:cubicBezTo>
                        <a:pt x="12997" y="18978"/>
                        <a:pt x="17602" y="15449"/>
                        <a:pt x="18261" y="10425"/>
                      </a:cubicBezTo>
                      <a:close/>
                    </a:path>
                  </a:pathLst>
                </a:custGeom>
                <a:grpFill/>
                <a:ln w="5978" cap="flat">
                  <a:noFill/>
                  <a:prstDash val="solid"/>
                  <a:miter/>
                </a:ln>
              </p:spPr>
              <p:txBody>
                <a:bodyPr rtlCol="0" anchor="ctr"/>
                <a:lstStyle/>
                <a:p>
                  <a:endParaRPr lang="en-GB"/>
                </a:p>
              </p:txBody>
            </p:sp>
          </p:grpSp>
          <p:grpSp>
            <p:nvGrpSpPr>
              <p:cNvPr id="867" name="Graphic 3">
                <a:extLst>
                  <a:ext uri="{FF2B5EF4-FFF2-40B4-BE49-F238E27FC236}">
                    <a16:creationId xmlns:a16="http://schemas.microsoft.com/office/drawing/2014/main" id="{2BBA0A70-DB09-44DA-8436-40859C965C4E}"/>
                  </a:ext>
                </a:extLst>
              </p:cNvPr>
              <p:cNvGrpSpPr/>
              <p:nvPr/>
            </p:nvGrpSpPr>
            <p:grpSpPr>
              <a:xfrm>
                <a:off x="5832953" y="5278381"/>
                <a:ext cx="23502" cy="65259"/>
                <a:chOff x="5832953" y="5278381"/>
                <a:chExt cx="23502" cy="65259"/>
              </a:xfrm>
              <a:grpFill/>
            </p:grpSpPr>
            <p:sp>
              <p:nvSpPr>
                <p:cNvPr id="2797" name="Vrije vorm: vorm 2796">
                  <a:extLst>
                    <a:ext uri="{FF2B5EF4-FFF2-40B4-BE49-F238E27FC236}">
                      <a16:creationId xmlns:a16="http://schemas.microsoft.com/office/drawing/2014/main" id="{64D7787A-B001-4B31-B42B-93D7C35E98B7}"/>
                    </a:ext>
                  </a:extLst>
                </p:cNvPr>
                <p:cNvSpPr/>
                <p:nvPr/>
              </p:nvSpPr>
              <p:spPr>
                <a:xfrm>
                  <a:off x="5840493" y="5286938"/>
                  <a:ext cx="8373" cy="48145"/>
                </a:xfrm>
                <a:custGeom>
                  <a:avLst/>
                  <a:gdLst>
                    <a:gd name="connsiteX0" fmla="*/ 8373 w 8373"/>
                    <a:gd name="connsiteY0" fmla="*/ 359 h 48145"/>
                    <a:gd name="connsiteX1" fmla="*/ 3050 w 8373"/>
                    <a:gd name="connsiteY1" fmla="*/ 48145 h 48145"/>
                    <a:gd name="connsiteX2" fmla="*/ 0 w 8373"/>
                    <a:gd name="connsiteY2" fmla="*/ 47786 h 48145"/>
                    <a:gd name="connsiteX3" fmla="*/ 5323 w 8373"/>
                    <a:gd name="connsiteY3" fmla="*/ 0 h 48145"/>
                  </a:gdLst>
                  <a:ahLst/>
                  <a:cxnLst>
                    <a:cxn ang="0">
                      <a:pos x="connsiteX0" y="connsiteY0"/>
                    </a:cxn>
                    <a:cxn ang="0">
                      <a:pos x="connsiteX1" y="connsiteY1"/>
                    </a:cxn>
                    <a:cxn ang="0">
                      <a:pos x="connsiteX2" y="connsiteY2"/>
                    </a:cxn>
                    <a:cxn ang="0">
                      <a:pos x="connsiteX3" y="connsiteY3"/>
                    </a:cxn>
                  </a:cxnLst>
                  <a:rect l="l" t="t" r="r" b="b"/>
                  <a:pathLst>
                    <a:path w="8373" h="48145">
                      <a:moveTo>
                        <a:pt x="8373" y="359"/>
                      </a:moveTo>
                      <a:lnTo>
                        <a:pt x="3050" y="48145"/>
                      </a:lnTo>
                      <a:lnTo>
                        <a:pt x="0" y="47786"/>
                      </a:lnTo>
                      <a:lnTo>
                        <a:pt x="5323" y="0"/>
                      </a:lnTo>
                      <a:close/>
                    </a:path>
                  </a:pathLst>
                </a:custGeom>
                <a:grpFill/>
                <a:ln w="5978" cap="flat">
                  <a:noFill/>
                  <a:prstDash val="solid"/>
                  <a:miter/>
                </a:ln>
              </p:spPr>
              <p:txBody>
                <a:bodyPr rtlCol="0" anchor="ctr"/>
                <a:lstStyle/>
                <a:p>
                  <a:endParaRPr lang="en-GB"/>
                </a:p>
              </p:txBody>
            </p:sp>
            <p:sp>
              <p:nvSpPr>
                <p:cNvPr id="2798" name="Vrije vorm: vorm 2797">
                  <a:extLst>
                    <a:ext uri="{FF2B5EF4-FFF2-40B4-BE49-F238E27FC236}">
                      <a16:creationId xmlns:a16="http://schemas.microsoft.com/office/drawing/2014/main" id="{11BF3CB1-05EB-4A69-A384-9FAE87F2D073}"/>
                    </a:ext>
                  </a:extLst>
                </p:cNvPr>
                <p:cNvSpPr/>
                <p:nvPr/>
              </p:nvSpPr>
              <p:spPr>
                <a:xfrm>
                  <a:off x="5832953" y="5325210"/>
                  <a:ext cx="18299" cy="18430"/>
                </a:xfrm>
                <a:custGeom>
                  <a:avLst/>
                  <a:gdLst>
                    <a:gd name="connsiteX0" fmla="*/ 18246 w 18299"/>
                    <a:gd name="connsiteY0" fmla="*/ 10291 h 18430"/>
                    <a:gd name="connsiteX1" fmla="*/ 8138 w 18299"/>
                    <a:gd name="connsiteY1" fmla="*/ 18365 h 18430"/>
                    <a:gd name="connsiteX2" fmla="*/ 64 w 18299"/>
                    <a:gd name="connsiteY2" fmla="*/ 8138 h 18430"/>
                    <a:gd name="connsiteX3" fmla="*/ 10172 w 18299"/>
                    <a:gd name="connsiteY3" fmla="*/ 64 h 18430"/>
                    <a:gd name="connsiteX4" fmla="*/ 18246 w 18299"/>
                    <a:gd name="connsiteY4" fmla="*/ 1029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30">
                      <a:moveTo>
                        <a:pt x="18246" y="10291"/>
                      </a:moveTo>
                      <a:cubicBezTo>
                        <a:pt x="17707" y="15375"/>
                        <a:pt x="13162" y="18963"/>
                        <a:pt x="8138" y="18365"/>
                      </a:cubicBezTo>
                      <a:cubicBezTo>
                        <a:pt x="3114" y="17767"/>
                        <a:pt x="-534" y="13222"/>
                        <a:pt x="64" y="8138"/>
                      </a:cubicBezTo>
                      <a:cubicBezTo>
                        <a:pt x="603" y="3114"/>
                        <a:pt x="5148" y="-534"/>
                        <a:pt x="10172" y="64"/>
                      </a:cubicBezTo>
                      <a:cubicBezTo>
                        <a:pt x="15196" y="662"/>
                        <a:pt x="18784" y="5208"/>
                        <a:pt x="18246" y="10291"/>
                      </a:cubicBezTo>
                      <a:close/>
                    </a:path>
                  </a:pathLst>
                </a:custGeom>
                <a:grpFill/>
                <a:ln w="5978" cap="flat">
                  <a:noFill/>
                  <a:prstDash val="solid"/>
                  <a:miter/>
                </a:ln>
              </p:spPr>
              <p:txBody>
                <a:bodyPr rtlCol="0" anchor="ctr"/>
                <a:lstStyle/>
                <a:p>
                  <a:endParaRPr lang="en-GB"/>
                </a:p>
              </p:txBody>
            </p:sp>
            <p:sp>
              <p:nvSpPr>
                <p:cNvPr id="2799" name="Vrije vorm: vorm 2798">
                  <a:extLst>
                    <a:ext uri="{FF2B5EF4-FFF2-40B4-BE49-F238E27FC236}">
                      <a16:creationId xmlns:a16="http://schemas.microsoft.com/office/drawing/2014/main" id="{4ECAD2B7-BE1C-4055-81DD-69933A2D4C59}"/>
                    </a:ext>
                  </a:extLst>
                </p:cNvPr>
                <p:cNvSpPr/>
                <p:nvPr/>
              </p:nvSpPr>
              <p:spPr>
                <a:xfrm>
                  <a:off x="5838167" y="5278381"/>
                  <a:ext cx="18288" cy="18429"/>
                </a:xfrm>
                <a:custGeom>
                  <a:avLst/>
                  <a:gdLst>
                    <a:gd name="connsiteX0" fmla="*/ 18235 w 18288"/>
                    <a:gd name="connsiteY0" fmla="*/ 10291 h 18429"/>
                    <a:gd name="connsiteX1" fmla="*/ 10161 w 18288"/>
                    <a:gd name="connsiteY1" fmla="*/ 64 h 18429"/>
                    <a:gd name="connsiteX2" fmla="*/ 53 w 18288"/>
                    <a:gd name="connsiteY2" fmla="*/ 8138 h 18429"/>
                    <a:gd name="connsiteX3" fmla="*/ 8128 w 18288"/>
                    <a:gd name="connsiteY3" fmla="*/ 18365 h 18429"/>
                    <a:gd name="connsiteX4" fmla="*/ 18235 w 18288"/>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9">
                      <a:moveTo>
                        <a:pt x="18235" y="10291"/>
                      </a:moveTo>
                      <a:cubicBezTo>
                        <a:pt x="18773" y="5208"/>
                        <a:pt x="15185" y="662"/>
                        <a:pt x="10161" y="64"/>
                      </a:cubicBezTo>
                      <a:cubicBezTo>
                        <a:pt x="5137" y="-534"/>
                        <a:pt x="592" y="3114"/>
                        <a:pt x="53" y="8138"/>
                      </a:cubicBezTo>
                      <a:cubicBezTo>
                        <a:pt x="-485" y="13162"/>
                        <a:pt x="3104" y="17767"/>
                        <a:pt x="8128" y="18365"/>
                      </a:cubicBezTo>
                      <a:cubicBezTo>
                        <a:pt x="13151" y="18963"/>
                        <a:pt x="17637" y="15315"/>
                        <a:pt x="18235" y="10291"/>
                      </a:cubicBezTo>
                      <a:close/>
                    </a:path>
                  </a:pathLst>
                </a:custGeom>
                <a:grpFill/>
                <a:ln w="5978" cap="flat">
                  <a:noFill/>
                  <a:prstDash val="solid"/>
                  <a:miter/>
                </a:ln>
              </p:spPr>
              <p:txBody>
                <a:bodyPr rtlCol="0" anchor="ctr"/>
                <a:lstStyle/>
                <a:p>
                  <a:endParaRPr lang="en-GB"/>
                </a:p>
              </p:txBody>
            </p:sp>
          </p:grpSp>
          <p:grpSp>
            <p:nvGrpSpPr>
              <p:cNvPr id="868" name="Graphic 3">
                <a:extLst>
                  <a:ext uri="{FF2B5EF4-FFF2-40B4-BE49-F238E27FC236}">
                    <a16:creationId xmlns:a16="http://schemas.microsoft.com/office/drawing/2014/main" id="{B0B9562B-7C78-4F66-B5C4-14D4D9688DFB}"/>
                  </a:ext>
                </a:extLst>
              </p:cNvPr>
              <p:cNvGrpSpPr/>
              <p:nvPr/>
            </p:nvGrpSpPr>
            <p:grpSpPr>
              <a:xfrm>
                <a:off x="4717153" y="2135244"/>
                <a:ext cx="124921" cy="120479"/>
                <a:chOff x="4717153" y="2135244"/>
                <a:chExt cx="124921" cy="120479"/>
              </a:xfrm>
              <a:grpFill/>
            </p:grpSpPr>
            <p:sp>
              <p:nvSpPr>
                <p:cNvPr id="2794" name="Vrije vorm: vorm 2793">
                  <a:extLst>
                    <a:ext uri="{FF2B5EF4-FFF2-40B4-BE49-F238E27FC236}">
                      <a16:creationId xmlns:a16="http://schemas.microsoft.com/office/drawing/2014/main" id="{5133B5A5-BF73-4160-A124-62ED664CC448}"/>
                    </a:ext>
                  </a:extLst>
                </p:cNvPr>
                <p:cNvSpPr/>
                <p:nvPr/>
              </p:nvSpPr>
              <p:spPr>
                <a:xfrm>
                  <a:off x="4724909" y="2143052"/>
                  <a:ext cx="109327" cy="104901"/>
                </a:xfrm>
                <a:custGeom>
                  <a:avLst/>
                  <a:gdLst>
                    <a:gd name="connsiteX0" fmla="*/ 109327 w 109327"/>
                    <a:gd name="connsiteY0" fmla="*/ 102689 h 104901"/>
                    <a:gd name="connsiteX1" fmla="*/ 107234 w 109327"/>
                    <a:gd name="connsiteY1" fmla="*/ 104902 h 104901"/>
                    <a:gd name="connsiteX2" fmla="*/ 0 w 109327"/>
                    <a:gd name="connsiteY2" fmla="*/ 2213 h 104901"/>
                    <a:gd name="connsiteX3" fmla="*/ 2093 w 109327"/>
                    <a:gd name="connsiteY3" fmla="*/ 0 h 104901"/>
                  </a:gdLst>
                  <a:ahLst/>
                  <a:cxnLst>
                    <a:cxn ang="0">
                      <a:pos x="connsiteX0" y="connsiteY0"/>
                    </a:cxn>
                    <a:cxn ang="0">
                      <a:pos x="connsiteX1" y="connsiteY1"/>
                    </a:cxn>
                    <a:cxn ang="0">
                      <a:pos x="connsiteX2" y="connsiteY2"/>
                    </a:cxn>
                    <a:cxn ang="0">
                      <a:pos x="connsiteX3" y="connsiteY3"/>
                    </a:cxn>
                  </a:cxnLst>
                  <a:rect l="l" t="t" r="r" b="b"/>
                  <a:pathLst>
                    <a:path w="109327" h="104901">
                      <a:moveTo>
                        <a:pt x="109327" y="102689"/>
                      </a:moveTo>
                      <a:lnTo>
                        <a:pt x="107234" y="104902"/>
                      </a:lnTo>
                      <a:lnTo>
                        <a:pt x="0" y="2213"/>
                      </a:lnTo>
                      <a:lnTo>
                        <a:pt x="2093" y="0"/>
                      </a:lnTo>
                      <a:close/>
                    </a:path>
                  </a:pathLst>
                </a:custGeom>
                <a:grpFill/>
                <a:ln w="5978" cap="flat">
                  <a:noFill/>
                  <a:prstDash val="solid"/>
                  <a:miter/>
                </a:ln>
              </p:spPr>
              <p:txBody>
                <a:bodyPr rtlCol="0" anchor="ctr"/>
                <a:lstStyle/>
                <a:p>
                  <a:endParaRPr lang="en-GB"/>
                </a:p>
              </p:txBody>
            </p:sp>
            <p:sp>
              <p:nvSpPr>
                <p:cNvPr id="2795" name="Vrije vorm: vorm 2794">
                  <a:extLst>
                    <a:ext uri="{FF2B5EF4-FFF2-40B4-BE49-F238E27FC236}">
                      <a16:creationId xmlns:a16="http://schemas.microsoft.com/office/drawing/2014/main" id="{9356CCCB-619C-48AA-BF39-12AC38CB6A1C}"/>
                    </a:ext>
                  </a:extLst>
                </p:cNvPr>
                <p:cNvSpPr/>
                <p:nvPr/>
              </p:nvSpPr>
              <p:spPr>
                <a:xfrm>
                  <a:off x="4717153" y="2135244"/>
                  <a:ext cx="18323" cy="18426"/>
                </a:xfrm>
                <a:custGeom>
                  <a:avLst/>
                  <a:gdLst>
                    <a:gd name="connsiteX0" fmla="*/ 2852 w 18323"/>
                    <a:gd name="connsiteY0" fmla="*/ 15882 h 18426"/>
                    <a:gd name="connsiteX1" fmla="*/ 2493 w 18323"/>
                    <a:gd name="connsiteY1" fmla="*/ 2844 h 18426"/>
                    <a:gd name="connsiteX2" fmla="*/ 15471 w 18323"/>
                    <a:gd name="connsiteY2" fmla="*/ 2545 h 18426"/>
                    <a:gd name="connsiteX3" fmla="*/ 15830 w 18323"/>
                    <a:gd name="connsiteY3" fmla="*/ 15583 h 18426"/>
                    <a:gd name="connsiteX4" fmla="*/ 2852 w 18323"/>
                    <a:gd name="connsiteY4" fmla="*/ 1588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6">
                      <a:moveTo>
                        <a:pt x="2852" y="15882"/>
                      </a:moveTo>
                      <a:cubicBezTo>
                        <a:pt x="-796" y="12353"/>
                        <a:pt x="-976" y="6552"/>
                        <a:pt x="2493" y="2844"/>
                      </a:cubicBezTo>
                      <a:cubicBezTo>
                        <a:pt x="5962" y="-804"/>
                        <a:pt x="11763" y="-984"/>
                        <a:pt x="15471" y="2545"/>
                      </a:cubicBezTo>
                      <a:cubicBezTo>
                        <a:pt x="19120" y="6073"/>
                        <a:pt x="19299" y="11875"/>
                        <a:pt x="15830" y="15583"/>
                      </a:cubicBezTo>
                      <a:cubicBezTo>
                        <a:pt x="12302" y="19231"/>
                        <a:pt x="6500" y="19410"/>
                        <a:pt x="2852" y="15882"/>
                      </a:cubicBezTo>
                      <a:close/>
                    </a:path>
                  </a:pathLst>
                </a:custGeom>
                <a:grpFill/>
                <a:ln w="5978" cap="flat">
                  <a:noFill/>
                  <a:prstDash val="solid"/>
                  <a:miter/>
                </a:ln>
              </p:spPr>
              <p:txBody>
                <a:bodyPr rtlCol="0" anchor="ctr"/>
                <a:lstStyle/>
                <a:p>
                  <a:endParaRPr lang="en-GB"/>
                </a:p>
              </p:txBody>
            </p:sp>
            <p:sp>
              <p:nvSpPr>
                <p:cNvPr id="2796" name="Vrije vorm: vorm 2795">
                  <a:extLst>
                    <a:ext uri="{FF2B5EF4-FFF2-40B4-BE49-F238E27FC236}">
                      <a16:creationId xmlns:a16="http://schemas.microsoft.com/office/drawing/2014/main" id="{EFC5D056-28DC-4CAE-B9AC-A3CC5ABC7EBA}"/>
                    </a:ext>
                  </a:extLst>
                </p:cNvPr>
                <p:cNvSpPr/>
                <p:nvPr/>
              </p:nvSpPr>
              <p:spPr>
                <a:xfrm>
                  <a:off x="4823708" y="2237254"/>
                  <a:ext cx="18366" cy="18470"/>
                </a:xfrm>
                <a:custGeom>
                  <a:avLst/>
                  <a:gdLst>
                    <a:gd name="connsiteX0" fmla="*/ 2874 w 18366"/>
                    <a:gd name="connsiteY0" fmla="*/ 15903 h 18470"/>
                    <a:gd name="connsiteX1" fmla="*/ 15852 w 18366"/>
                    <a:gd name="connsiteY1" fmla="*/ 15604 h 18470"/>
                    <a:gd name="connsiteX2" fmla="*/ 15493 w 18366"/>
                    <a:gd name="connsiteY2" fmla="*/ 2567 h 18470"/>
                    <a:gd name="connsiteX3" fmla="*/ 2515 w 18366"/>
                    <a:gd name="connsiteY3" fmla="*/ 2866 h 18470"/>
                    <a:gd name="connsiteX4" fmla="*/ 2874 w 18366"/>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0">
                      <a:moveTo>
                        <a:pt x="2874" y="15903"/>
                      </a:moveTo>
                      <a:cubicBezTo>
                        <a:pt x="6522" y="19432"/>
                        <a:pt x="12323" y="19313"/>
                        <a:pt x="15852" y="15604"/>
                      </a:cubicBezTo>
                      <a:cubicBezTo>
                        <a:pt x="19321" y="11956"/>
                        <a:pt x="19201" y="6095"/>
                        <a:pt x="15493" y="2567"/>
                      </a:cubicBezTo>
                      <a:cubicBezTo>
                        <a:pt x="11845" y="-962"/>
                        <a:pt x="6043" y="-843"/>
                        <a:pt x="2515" y="2866"/>
                      </a:cubicBezTo>
                      <a:cubicBezTo>
                        <a:pt x="-954" y="6574"/>
                        <a:pt x="-834" y="12375"/>
                        <a:pt x="2874" y="15903"/>
                      </a:cubicBezTo>
                      <a:close/>
                    </a:path>
                  </a:pathLst>
                </a:custGeom>
                <a:grpFill/>
                <a:ln w="5978" cap="flat">
                  <a:noFill/>
                  <a:prstDash val="solid"/>
                  <a:miter/>
                </a:ln>
              </p:spPr>
              <p:txBody>
                <a:bodyPr rtlCol="0" anchor="ctr"/>
                <a:lstStyle/>
                <a:p>
                  <a:endParaRPr lang="en-GB"/>
                </a:p>
              </p:txBody>
            </p:sp>
          </p:grpSp>
          <p:grpSp>
            <p:nvGrpSpPr>
              <p:cNvPr id="869" name="Graphic 3">
                <a:extLst>
                  <a:ext uri="{FF2B5EF4-FFF2-40B4-BE49-F238E27FC236}">
                    <a16:creationId xmlns:a16="http://schemas.microsoft.com/office/drawing/2014/main" id="{9808C52E-1A15-49F6-B91E-0DB5996DF743}"/>
                  </a:ext>
                </a:extLst>
              </p:cNvPr>
              <p:cNvGrpSpPr/>
              <p:nvPr/>
            </p:nvGrpSpPr>
            <p:grpSpPr>
              <a:xfrm>
                <a:off x="5764443" y="5090243"/>
                <a:ext cx="49365" cy="226827"/>
                <a:chOff x="5764443" y="5090243"/>
                <a:chExt cx="49365" cy="226827"/>
              </a:xfrm>
              <a:grpFill/>
            </p:grpSpPr>
            <p:sp>
              <p:nvSpPr>
                <p:cNvPr id="2791" name="Vrije vorm: vorm 2790">
                  <a:extLst>
                    <a:ext uri="{FF2B5EF4-FFF2-40B4-BE49-F238E27FC236}">
                      <a16:creationId xmlns:a16="http://schemas.microsoft.com/office/drawing/2014/main" id="{CBE7CEB8-BCC5-416D-9899-F985435E13C2}"/>
                    </a:ext>
                  </a:extLst>
                </p:cNvPr>
                <p:cNvSpPr/>
                <p:nvPr/>
              </p:nvSpPr>
              <p:spPr>
                <a:xfrm>
                  <a:off x="5772074" y="5098785"/>
                  <a:ext cx="34150" cy="209743"/>
                </a:xfrm>
                <a:custGeom>
                  <a:avLst/>
                  <a:gdLst>
                    <a:gd name="connsiteX0" fmla="*/ 34150 w 34150"/>
                    <a:gd name="connsiteY0" fmla="*/ 419 h 209743"/>
                    <a:gd name="connsiteX1" fmla="*/ 2990 w 34150"/>
                    <a:gd name="connsiteY1" fmla="*/ 209744 h 209743"/>
                    <a:gd name="connsiteX2" fmla="*/ 0 w 34150"/>
                    <a:gd name="connsiteY2" fmla="*/ 209265 h 209743"/>
                    <a:gd name="connsiteX3" fmla="*/ 31160 w 34150"/>
                    <a:gd name="connsiteY3" fmla="*/ 0 h 209743"/>
                  </a:gdLst>
                  <a:ahLst/>
                  <a:cxnLst>
                    <a:cxn ang="0">
                      <a:pos x="connsiteX0" y="connsiteY0"/>
                    </a:cxn>
                    <a:cxn ang="0">
                      <a:pos x="connsiteX1" y="connsiteY1"/>
                    </a:cxn>
                    <a:cxn ang="0">
                      <a:pos x="connsiteX2" y="connsiteY2"/>
                    </a:cxn>
                    <a:cxn ang="0">
                      <a:pos x="connsiteX3" y="connsiteY3"/>
                    </a:cxn>
                  </a:cxnLst>
                  <a:rect l="l" t="t" r="r" b="b"/>
                  <a:pathLst>
                    <a:path w="34150" h="209743">
                      <a:moveTo>
                        <a:pt x="34150" y="419"/>
                      </a:moveTo>
                      <a:lnTo>
                        <a:pt x="2990" y="209744"/>
                      </a:lnTo>
                      <a:lnTo>
                        <a:pt x="0" y="209265"/>
                      </a:lnTo>
                      <a:lnTo>
                        <a:pt x="31160" y="0"/>
                      </a:lnTo>
                      <a:close/>
                    </a:path>
                  </a:pathLst>
                </a:custGeom>
                <a:grpFill/>
                <a:ln w="5978" cap="flat">
                  <a:noFill/>
                  <a:prstDash val="solid"/>
                  <a:miter/>
                </a:ln>
              </p:spPr>
              <p:txBody>
                <a:bodyPr rtlCol="0" anchor="ctr"/>
                <a:lstStyle/>
                <a:p>
                  <a:endParaRPr lang="en-GB"/>
                </a:p>
              </p:txBody>
            </p:sp>
            <p:sp>
              <p:nvSpPr>
                <p:cNvPr id="2792" name="Vrije vorm: vorm 2791">
                  <a:extLst>
                    <a:ext uri="{FF2B5EF4-FFF2-40B4-BE49-F238E27FC236}">
                      <a16:creationId xmlns:a16="http://schemas.microsoft.com/office/drawing/2014/main" id="{00CEB848-55B4-4162-8545-8ED167256EA1}"/>
                    </a:ext>
                  </a:extLst>
                </p:cNvPr>
                <p:cNvSpPr/>
                <p:nvPr/>
              </p:nvSpPr>
              <p:spPr>
                <a:xfrm>
                  <a:off x="5764443" y="5298611"/>
                  <a:ext cx="18325" cy="18458"/>
                </a:xfrm>
                <a:custGeom>
                  <a:avLst/>
                  <a:gdLst>
                    <a:gd name="connsiteX0" fmla="*/ 18217 w 18325"/>
                    <a:gd name="connsiteY0" fmla="*/ 10635 h 18458"/>
                    <a:gd name="connsiteX1" fmla="*/ 7810 w 18325"/>
                    <a:gd name="connsiteY1" fmla="*/ 18350 h 18458"/>
                    <a:gd name="connsiteX2" fmla="*/ 95 w 18325"/>
                    <a:gd name="connsiteY2" fmla="*/ 7824 h 18458"/>
                    <a:gd name="connsiteX3" fmla="*/ 10502 w 18325"/>
                    <a:gd name="connsiteY3" fmla="*/ 109 h 18458"/>
                    <a:gd name="connsiteX4" fmla="*/ 18217 w 18325"/>
                    <a:gd name="connsiteY4" fmla="*/ 1063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8">
                      <a:moveTo>
                        <a:pt x="18217" y="10635"/>
                      </a:moveTo>
                      <a:cubicBezTo>
                        <a:pt x="17439" y="15659"/>
                        <a:pt x="12774" y="19128"/>
                        <a:pt x="7810" y="18350"/>
                      </a:cubicBezTo>
                      <a:cubicBezTo>
                        <a:pt x="2786" y="17573"/>
                        <a:pt x="-622" y="12848"/>
                        <a:pt x="95" y="7824"/>
                      </a:cubicBezTo>
                      <a:cubicBezTo>
                        <a:pt x="813" y="2800"/>
                        <a:pt x="5478" y="-669"/>
                        <a:pt x="10502" y="109"/>
                      </a:cubicBezTo>
                      <a:cubicBezTo>
                        <a:pt x="15525" y="886"/>
                        <a:pt x="18994" y="5611"/>
                        <a:pt x="18217" y="10635"/>
                      </a:cubicBezTo>
                      <a:close/>
                    </a:path>
                  </a:pathLst>
                </a:custGeom>
                <a:grpFill/>
                <a:ln w="5978" cap="flat">
                  <a:noFill/>
                  <a:prstDash val="solid"/>
                  <a:miter/>
                </a:ln>
              </p:spPr>
              <p:txBody>
                <a:bodyPr rtlCol="0" anchor="ctr"/>
                <a:lstStyle/>
                <a:p>
                  <a:endParaRPr lang="en-GB"/>
                </a:p>
              </p:txBody>
            </p:sp>
            <p:sp>
              <p:nvSpPr>
                <p:cNvPr id="2793" name="Vrije vorm: vorm 2792">
                  <a:extLst>
                    <a:ext uri="{FF2B5EF4-FFF2-40B4-BE49-F238E27FC236}">
                      <a16:creationId xmlns:a16="http://schemas.microsoft.com/office/drawing/2014/main" id="{0E0BC57D-845D-458D-99AB-B485D0A7C4F6}"/>
                    </a:ext>
                  </a:extLst>
                </p:cNvPr>
                <p:cNvSpPr/>
                <p:nvPr/>
              </p:nvSpPr>
              <p:spPr>
                <a:xfrm>
                  <a:off x="5795469" y="5090243"/>
                  <a:ext cx="18339" cy="18445"/>
                </a:xfrm>
                <a:custGeom>
                  <a:avLst/>
                  <a:gdLst>
                    <a:gd name="connsiteX0" fmla="*/ 18230 w 18339"/>
                    <a:gd name="connsiteY0" fmla="*/ 10635 h 18445"/>
                    <a:gd name="connsiteX1" fmla="*/ 10515 w 18339"/>
                    <a:gd name="connsiteY1" fmla="*/ 109 h 18445"/>
                    <a:gd name="connsiteX2" fmla="*/ 109 w 18339"/>
                    <a:gd name="connsiteY2" fmla="*/ 7824 h 18445"/>
                    <a:gd name="connsiteX3" fmla="*/ 7824 w 18339"/>
                    <a:gd name="connsiteY3" fmla="*/ 18350 h 18445"/>
                    <a:gd name="connsiteX4" fmla="*/ 18230 w 18339"/>
                    <a:gd name="connsiteY4" fmla="*/ 10635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5">
                      <a:moveTo>
                        <a:pt x="18230" y="10635"/>
                      </a:moveTo>
                      <a:cubicBezTo>
                        <a:pt x="19008" y="5611"/>
                        <a:pt x="15539" y="886"/>
                        <a:pt x="10515" y="109"/>
                      </a:cubicBezTo>
                      <a:cubicBezTo>
                        <a:pt x="5491" y="-669"/>
                        <a:pt x="827" y="2800"/>
                        <a:pt x="109" y="7824"/>
                      </a:cubicBezTo>
                      <a:cubicBezTo>
                        <a:pt x="-669" y="12848"/>
                        <a:pt x="2800" y="17573"/>
                        <a:pt x="7824" y="18350"/>
                      </a:cubicBezTo>
                      <a:cubicBezTo>
                        <a:pt x="12848" y="19068"/>
                        <a:pt x="17513" y="15659"/>
                        <a:pt x="18230" y="10635"/>
                      </a:cubicBezTo>
                      <a:close/>
                    </a:path>
                  </a:pathLst>
                </a:custGeom>
                <a:grpFill/>
                <a:ln w="5978" cap="flat">
                  <a:noFill/>
                  <a:prstDash val="solid"/>
                  <a:miter/>
                </a:ln>
              </p:spPr>
              <p:txBody>
                <a:bodyPr rtlCol="0" anchor="ctr"/>
                <a:lstStyle/>
                <a:p>
                  <a:endParaRPr lang="en-GB"/>
                </a:p>
              </p:txBody>
            </p:sp>
          </p:grpSp>
          <p:grpSp>
            <p:nvGrpSpPr>
              <p:cNvPr id="870" name="Graphic 3">
                <a:extLst>
                  <a:ext uri="{FF2B5EF4-FFF2-40B4-BE49-F238E27FC236}">
                    <a16:creationId xmlns:a16="http://schemas.microsoft.com/office/drawing/2014/main" id="{BEA885EC-5807-4635-8C01-250B4E7FDF3F}"/>
                  </a:ext>
                </a:extLst>
              </p:cNvPr>
              <p:cNvGrpSpPr/>
              <p:nvPr/>
            </p:nvGrpSpPr>
            <p:grpSpPr>
              <a:xfrm>
                <a:off x="4669188" y="1933752"/>
                <a:ext cx="72650" cy="76622"/>
                <a:chOff x="4669188" y="1933752"/>
                <a:chExt cx="72650" cy="76622"/>
              </a:xfrm>
              <a:grpFill/>
            </p:grpSpPr>
            <p:sp>
              <p:nvSpPr>
                <p:cNvPr id="2788" name="Vrije vorm: vorm 2787">
                  <a:extLst>
                    <a:ext uri="{FF2B5EF4-FFF2-40B4-BE49-F238E27FC236}">
                      <a16:creationId xmlns:a16="http://schemas.microsoft.com/office/drawing/2014/main" id="{F774FD19-659E-486D-BBA7-66154A4877DC}"/>
                    </a:ext>
                  </a:extLst>
                </p:cNvPr>
                <p:cNvSpPr/>
                <p:nvPr/>
              </p:nvSpPr>
              <p:spPr>
                <a:xfrm>
                  <a:off x="4676884" y="1941622"/>
                  <a:ext cx="57235" cy="60943"/>
                </a:xfrm>
                <a:custGeom>
                  <a:avLst/>
                  <a:gdLst>
                    <a:gd name="connsiteX0" fmla="*/ 57236 w 57235"/>
                    <a:gd name="connsiteY0" fmla="*/ 58850 h 60943"/>
                    <a:gd name="connsiteX1" fmla="*/ 55023 w 57235"/>
                    <a:gd name="connsiteY1" fmla="*/ 60944 h 60943"/>
                    <a:gd name="connsiteX2" fmla="*/ 0 w 57235"/>
                    <a:gd name="connsiteY2" fmla="*/ 2093 h 60943"/>
                    <a:gd name="connsiteX3" fmla="*/ 2213 w 57235"/>
                    <a:gd name="connsiteY3" fmla="*/ 0 h 60943"/>
                  </a:gdLst>
                  <a:ahLst/>
                  <a:cxnLst>
                    <a:cxn ang="0">
                      <a:pos x="connsiteX0" y="connsiteY0"/>
                    </a:cxn>
                    <a:cxn ang="0">
                      <a:pos x="connsiteX1" y="connsiteY1"/>
                    </a:cxn>
                    <a:cxn ang="0">
                      <a:pos x="connsiteX2" y="connsiteY2"/>
                    </a:cxn>
                    <a:cxn ang="0">
                      <a:pos x="connsiteX3" y="connsiteY3"/>
                    </a:cxn>
                  </a:cxnLst>
                  <a:rect l="l" t="t" r="r" b="b"/>
                  <a:pathLst>
                    <a:path w="57235" h="60943">
                      <a:moveTo>
                        <a:pt x="57236" y="58850"/>
                      </a:moveTo>
                      <a:lnTo>
                        <a:pt x="55023" y="60944"/>
                      </a:lnTo>
                      <a:lnTo>
                        <a:pt x="0" y="2093"/>
                      </a:lnTo>
                      <a:lnTo>
                        <a:pt x="2213" y="0"/>
                      </a:lnTo>
                      <a:close/>
                    </a:path>
                  </a:pathLst>
                </a:custGeom>
                <a:grpFill/>
                <a:ln w="5978" cap="flat">
                  <a:noFill/>
                  <a:prstDash val="solid"/>
                  <a:miter/>
                </a:ln>
              </p:spPr>
              <p:txBody>
                <a:bodyPr rtlCol="0" anchor="ctr"/>
                <a:lstStyle/>
                <a:p>
                  <a:endParaRPr lang="en-GB"/>
                </a:p>
              </p:txBody>
            </p:sp>
            <p:sp>
              <p:nvSpPr>
                <p:cNvPr id="2789" name="Vrije vorm: vorm 2788">
                  <a:extLst>
                    <a:ext uri="{FF2B5EF4-FFF2-40B4-BE49-F238E27FC236}">
                      <a16:creationId xmlns:a16="http://schemas.microsoft.com/office/drawing/2014/main" id="{1BA7D831-1AE2-4BD0-B80E-AF2678B0319A}"/>
                    </a:ext>
                  </a:extLst>
                </p:cNvPr>
                <p:cNvSpPr/>
                <p:nvPr/>
              </p:nvSpPr>
              <p:spPr>
                <a:xfrm>
                  <a:off x="4669188" y="1933752"/>
                  <a:ext cx="18323" cy="18474"/>
                </a:xfrm>
                <a:custGeom>
                  <a:avLst/>
                  <a:gdLst>
                    <a:gd name="connsiteX0" fmla="*/ 2493 w 18323"/>
                    <a:gd name="connsiteY0" fmla="*/ 15525 h 18474"/>
                    <a:gd name="connsiteX1" fmla="*/ 2852 w 18323"/>
                    <a:gd name="connsiteY1" fmla="*/ 2487 h 18474"/>
                    <a:gd name="connsiteX2" fmla="*/ 15830 w 18323"/>
                    <a:gd name="connsiteY2" fmla="*/ 2905 h 18474"/>
                    <a:gd name="connsiteX3" fmla="*/ 15472 w 18323"/>
                    <a:gd name="connsiteY3" fmla="*/ 15943 h 18474"/>
                    <a:gd name="connsiteX4" fmla="*/ 2493 w 18323"/>
                    <a:gd name="connsiteY4" fmla="*/ 15525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74">
                      <a:moveTo>
                        <a:pt x="2493" y="15525"/>
                      </a:moveTo>
                      <a:cubicBezTo>
                        <a:pt x="-975" y="11817"/>
                        <a:pt x="-796" y="5955"/>
                        <a:pt x="2852" y="2487"/>
                      </a:cubicBezTo>
                      <a:cubicBezTo>
                        <a:pt x="6560" y="-982"/>
                        <a:pt x="12362" y="-803"/>
                        <a:pt x="15830" y="2905"/>
                      </a:cubicBezTo>
                      <a:cubicBezTo>
                        <a:pt x="19299" y="6613"/>
                        <a:pt x="19120" y="12474"/>
                        <a:pt x="15472" y="15943"/>
                      </a:cubicBezTo>
                      <a:cubicBezTo>
                        <a:pt x="11763" y="19472"/>
                        <a:pt x="5962" y="19292"/>
                        <a:pt x="2493" y="15525"/>
                      </a:cubicBezTo>
                      <a:close/>
                    </a:path>
                  </a:pathLst>
                </a:custGeom>
                <a:grpFill/>
                <a:ln w="5978" cap="flat">
                  <a:noFill/>
                  <a:prstDash val="solid"/>
                  <a:miter/>
                </a:ln>
              </p:spPr>
              <p:txBody>
                <a:bodyPr rtlCol="0" anchor="ctr"/>
                <a:lstStyle/>
                <a:p>
                  <a:endParaRPr lang="en-GB"/>
                </a:p>
              </p:txBody>
            </p:sp>
            <p:sp>
              <p:nvSpPr>
                <p:cNvPr id="2790" name="Vrije vorm: vorm 2789">
                  <a:extLst>
                    <a:ext uri="{FF2B5EF4-FFF2-40B4-BE49-F238E27FC236}">
                      <a16:creationId xmlns:a16="http://schemas.microsoft.com/office/drawing/2014/main" id="{853BC678-4D62-4F35-9BA3-F47A1753A80A}"/>
                    </a:ext>
                  </a:extLst>
                </p:cNvPr>
                <p:cNvSpPr/>
                <p:nvPr/>
              </p:nvSpPr>
              <p:spPr>
                <a:xfrm>
                  <a:off x="4723493" y="1991945"/>
                  <a:ext cx="18345" cy="18429"/>
                </a:xfrm>
                <a:custGeom>
                  <a:avLst/>
                  <a:gdLst>
                    <a:gd name="connsiteX0" fmla="*/ 2493 w 18345"/>
                    <a:gd name="connsiteY0" fmla="*/ 15525 h 18429"/>
                    <a:gd name="connsiteX1" fmla="*/ 15471 w 18345"/>
                    <a:gd name="connsiteY1" fmla="*/ 15943 h 18429"/>
                    <a:gd name="connsiteX2" fmla="*/ 15830 w 18345"/>
                    <a:gd name="connsiteY2" fmla="*/ 2905 h 18429"/>
                    <a:gd name="connsiteX3" fmla="*/ 2852 w 18345"/>
                    <a:gd name="connsiteY3" fmla="*/ 2487 h 18429"/>
                    <a:gd name="connsiteX4" fmla="*/ 2493 w 18345"/>
                    <a:gd name="connsiteY4" fmla="*/ 1552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9">
                      <a:moveTo>
                        <a:pt x="2493" y="15525"/>
                      </a:moveTo>
                      <a:cubicBezTo>
                        <a:pt x="5962" y="19233"/>
                        <a:pt x="11763" y="19412"/>
                        <a:pt x="15471" y="15943"/>
                      </a:cubicBezTo>
                      <a:cubicBezTo>
                        <a:pt x="19179" y="12474"/>
                        <a:pt x="19299" y="6613"/>
                        <a:pt x="15830" y="2905"/>
                      </a:cubicBezTo>
                      <a:cubicBezTo>
                        <a:pt x="12362" y="-803"/>
                        <a:pt x="6560" y="-982"/>
                        <a:pt x="2852" y="2487"/>
                      </a:cubicBezTo>
                      <a:cubicBezTo>
                        <a:pt x="-796" y="6015"/>
                        <a:pt x="-976" y="11817"/>
                        <a:pt x="2493" y="15525"/>
                      </a:cubicBezTo>
                      <a:close/>
                    </a:path>
                  </a:pathLst>
                </a:custGeom>
                <a:grpFill/>
                <a:ln w="5978" cap="flat">
                  <a:noFill/>
                  <a:prstDash val="solid"/>
                  <a:miter/>
                </a:ln>
              </p:spPr>
              <p:txBody>
                <a:bodyPr rtlCol="0" anchor="ctr"/>
                <a:lstStyle/>
                <a:p>
                  <a:endParaRPr lang="en-GB"/>
                </a:p>
              </p:txBody>
            </p:sp>
          </p:grpSp>
          <p:grpSp>
            <p:nvGrpSpPr>
              <p:cNvPr id="871" name="Graphic 3">
                <a:extLst>
                  <a:ext uri="{FF2B5EF4-FFF2-40B4-BE49-F238E27FC236}">
                    <a16:creationId xmlns:a16="http://schemas.microsoft.com/office/drawing/2014/main" id="{F8982557-EE0E-4236-B28C-415E6D6C7BCE}"/>
                  </a:ext>
                </a:extLst>
              </p:cNvPr>
              <p:cNvGrpSpPr/>
              <p:nvPr/>
            </p:nvGrpSpPr>
            <p:grpSpPr>
              <a:xfrm>
                <a:off x="4669166" y="1933812"/>
                <a:ext cx="41191" cy="42891"/>
                <a:chOff x="4669166" y="1933812"/>
                <a:chExt cx="41191" cy="42891"/>
              </a:xfrm>
              <a:grpFill/>
            </p:grpSpPr>
            <p:sp>
              <p:nvSpPr>
                <p:cNvPr id="2785" name="Vrije vorm: vorm 2784">
                  <a:extLst>
                    <a:ext uri="{FF2B5EF4-FFF2-40B4-BE49-F238E27FC236}">
                      <a16:creationId xmlns:a16="http://schemas.microsoft.com/office/drawing/2014/main" id="{70547A20-E791-41F1-8725-7D6A54256415}"/>
                    </a:ext>
                  </a:extLst>
                </p:cNvPr>
                <p:cNvSpPr/>
                <p:nvPr/>
              </p:nvSpPr>
              <p:spPr>
                <a:xfrm>
                  <a:off x="4676884" y="1941622"/>
                  <a:ext cx="25717" cy="27272"/>
                </a:xfrm>
                <a:custGeom>
                  <a:avLst/>
                  <a:gdLst>
                    <a:gd name="connsiteX0" fmla="*/ 25717 w 25717"/>
                    <a:gd name="connsiteY0" fmla="*/ 25179 h 27272"/>
                    <a:gd name="connsiteX1" fmla="*/ 23504 w 25717"/>
                    <a:gd name="connsiteY1" fmla="*/ 27272 h 27272"/>
                    <a:gd name="connsiteX2" fmla="*/ 0 w 25717"/>
                    <a:gd name="connsiteY2" fmla="*/ 2093 h 27272"/>
                    <a:gd name="connsiteX3" fmla="*/ 2213 w 25717"/>
                    <a:gd name="connsiteY3" fmla="*/ 0 h 27272"/>
                  </a:gdLst>
                  <a:ahLst/>
                  <a:cxnLst>
                    <a:cxn ang="0">
                      <a:pos x="connsiteX0" y="connsiteY0"/>
                    </a:cxn>
                    <a:cxn ang="0">
                      <a:pos x="connsiteX1" y="connsiteY1"/>
                    </a:cxn>
                    <a:cxn ang="0">
                      <a:pos x="connsiteX2" y="connsiteY2"/>
                    </a:cxn>
                    <a:cxn ang="0">
                      <a:pos x="connsiteX3" y="connsiteY3"/>
                    </a:cxn>
                  </a:cxnLst>
                  <a:rect l="l" t="t" r="r" b="b"/>
                  <a:pathLst>
                    <a:path w="25717" h="27272">
                      <a:moveTo>
                        <a:pt x="25717" y="25179"/>
                      </a:moveTo>
                      <a:lnTo>
                        <a:pt x="23504" y="27272"/>
                      </a:lnTo>
                      <a:lnTo>
                        <a:pt x="0" y="2093"/>
                      </a:lnTo>
                      <a:lnTo>
                        <a:pt x="2213" y="0"/>
                      </a:lnTo>
                      <a:close/>
                    </a:path>
                  </a:pathLst>
                </a:custGeom>
                <a:grpFill/>
                <a:ln w="5978" cap="flat">
                  <a:noFill/>
                  <a:prstDash val="solid"/>
                  <a:miter/>
                </a:ln>
              </p:spPr>
              <p:txBody>
                <a:bodyPr rtlCol="0" anchor="ctr"/>
                <a:lstStyle/>
                <a:p>
                  <a:endParaRPr lang="en-GB"/>
                </a:p>
              </p:txBody>
            </p:sp>
            <p:sp>
              <p:nvSpPr>
                <p:cNvPr id="2786" name="Vrije vorm: vorm 2785">
                  <a:extLst>
                    <a:ext uri="{FF2B5EF4-FFF2-40B4-BE49-F238E27FC236}">
                      <a16:creationId xmlns:a16="http://schemas.microsoft.com/office/drawing/2014/main" id="{674A7F09-81D7-4949-95C8-DB7E615237D3}"/>
                    </a:ext>
                  </a:extLst>
                </p:cNvPr>
                <p:cNvSpPr/>
                <p:nvPr/>
              </p:nvSpPr>
              <p:spPr>
                <a:xfrm>
                  <a:off x="4692034" y="1958273"/>
                  <a:ext cx="18323" cy="18429"/>
                </a:xfrm>
                <a:custGeom>
                  <a:avLst/>
                  <a:gdLst>
                    <a:gd name="connsiteX0" fmla="*/ 15830 w 18323"/>
                    <a:gd name="connsiteY0" fmla="*/ 2905 h 18429"/>
                    <a:gd name="connsiteX1" fmla="*/ 15471 w 18323"/>
                    <a:gd name="connsiteY1" fmla="*/ 15943 h 18429"/>
                    <a:gd name="connsiteX2" fmla="*/ 2493 w 18323"/>
                    <a:gd name="connsiteY2" fmla="*/ 15525 h 18429"/>
                    <a:gd name="connsiteX3" fmla="*/ 2852 w 18323"/>
                    <a:gd name="connsiteY3" fmla="*/ 2487 h 18429"/>
                    <a:gd name="connsiteX4" fmla="*/ 15830 w 18323"/>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9">
                      <a:moveTo>
                        <a:pt x="15830" y="2905"/>
                      </a:moveTo>
                      <a:cubicBezTo>
                        <a:pt x="19299" y="6613"/>
                        <a:pt x="19120" y="12474"/>
                        <a:pt x="15471" y="15943"/>
                      </a:cubicBezTo>
                      <a:cubicBezTo>
                        <a:pt x="11763" y="19412"/>
                        <a:pt x="5962" y="19233"/>
                        <a:pt x="2493" y="15525"/>
                      </a:cubicBezTo>
                      <a:cubicBezTo>
                        <a:pt x="-976" y="11817"/>
                        <a:pt x="-796" y="5956"/>
                        <a:pt x="2852" y="2487"/>
                      </a:cubicBezTo>
                      <a:cubicBezTo>
                        <a:pt x="6560" y="-982"/>
                        <a:pt x="12362" y="-803"/>
                        <a:pt x="15830" y="2905"/>
                      </a:cubicBezTo>
                      <a:close/>
                    </a:path>
                  </a:pathLst>
                </a:custGeom>
                <a:grpFill/>
                <a:ln w="5978" cap="flat">
                  <a:noFill/>
                  <a:prstDash val="solid"/>
                  <a:miter/>
                </a:ln>
              </p:spPr>
              <p:txBody>
                <a:bodyPr rtlCol="0" anchor="ctr"/>
                <a:lstStyle/>
                <a:p>
                  <a:endParaRPr lang="en-GB"/>
                </a:p>
              </p:txBody>
            </p:sp>
            <p:sp>
              <p:nvSpPr>
                <p:cNvPr id="2787" name="Vrije vorm: vorm 2786">
                  <a:extLst>
                    <a:ext uri="{FF2B5EF4-FFF2-40B4-BE49-F238E27FC236}">
                      <a16:creationId xmlns:a16="http://schemas.microsoft.com/office/drawing/2014/main" id="{16B5CF48-B1C0-49FF-8C40-F715095FA00A}"/>
                    </a:ext>
                  </a:extLst>
                </p:cNvPr>
                <p:cNvSpPr/>
                <p:nvPr/>
              </p:nvSpPr>
              <p:spPr>
                <a:xfrm>
                  <a:off x="4669166" y="1933812"/>
                  <a:ext cx="18345" cy="18429"/>
                </a:xfrm>
                <a:custGeom>
                  <a:avLst/>
                  <a:gdLst>
                    <a:gd name="connsiteX0" fmla="*/ 15852 w 18345"/>
                    <a:gd name="connsiteY0" fmla="*/ 2905 h 18429"/>
                    <a:gd name="connsiteX1" fmla="*/ 2874 w 18345"/>
                    <a:gd name="connsiteY1" fmla="*/ 2487 h 18429"/>
                    <a:gd name="connsiteX2" fmla="*/ 2515 w 18345"/>
                    <a:gd name="connsiteY2" fmla="*/ 15525 h 18429"/>
                    <a:gd name="connsiteX3" fmla="*/ 15493 w 18345"/>
                    <a:gd name="connsiteY3" fmla="*/ 15943 h 18429"/>
                    <a:gd name="connsiteX4" fmla="*/ 15852 w 18345"/>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9">
                      <a:moveTo>
                        <a:pt x="15852" y="2905"/>
                      </a:moveTo>
                      <a:cubicBezTo>
                        <a:pt x="12383" y="-803"/>
                        <a:pt x="6582" y="-982"/>
                        <a:pt x="2874" y="2487"/>
                      </a:cubicBezTo>
                      <a:cubicBezTo>
                        <a:pt x="-834" y="5956"/>
                        <a:pt x="-954" y="11817"/>
                        <a:pt x="2515" y="15525"/>
                      </a:cubicBezTo>
                      <a:cubicBezTo>
                        <a:pt x="5984" y="19233"/>
                        <a:pt x="11785" y="19412"/>
                        <a:pt x="15493" y="15943"/>
                      </a:cubicBezTo>
                      <a:cubicBezTo>
                        <a:pt x="19141" y="12474"/>
                        <a:pt x="19321" y="6613"/>
                        <a:pt x="15852" y="2905"/>
                      </a:cubicBezTo>
                      <a:close/>
                    </a:path>
                  </a:pathLst>
                </a:custGeom>
                <a:grpFill/>
                <a:ln w="5978" cap="flat">
                  <a:noFill/>
                  <a:prstDash val="solid"/>
                  <a:miter/>
                </a:ln>
              </p:spPr>
              <p:txBody>
                <a:bodyPr rtlCol="0" anchor="ctr"/>
                <a:lstStyle/>
                <a:p>
                  <a:endParaRPr lang="en-GB"/>
                </a:p>
              </p:txBody>
            </p:sp>
          </p:grpSp>
          <p:grpSp>
            <p:nvGrpSpPr>
              <p:cNvPr id="872" name="Graphic 3">
                <a:extLst>
                  <a:ext uri="{FF2B5EF4-FFF2-40B4-BE49-F238E27FC236}">
                    <a16:creationId xmlns:a16="http://schemas.microsoft.com/office/drawing/2014/main" id="{13103E91-A071-4BCB-807A-BE8D3684681F}"/>
                  </a:ext>
                </a:extLst>
              </p:cNvPr>
              <p:cNvGrpSpPr/>
              <p:nvPr/>
            </p:nvGrpSpPr>
            <p:grpSpPr>
              <a:xfrm>
                <a:off x="5736900" y="5079099"/>
                <a:ext cx="46725" cy="187213"/>
                <a:chOff x="5736900" y="5079099"/>
                <a:chExt cx="46725" cy="187213"/>
              </a:xfrm>
              <a:grpFill/>
            </p:grpSpPr>
            <p:sp>
              <p:nvSpPr>
                <p:cNvPr id="2782" name="Vrije vorm: vorm 2781">
                  <a:extLst>
                    <a:ext uri="{FF2B5EF4-FFF2-40B4-BE49-F238E27FC236}">
                      <a16:creationId xmlns:a16="http://schemas.microsoft.com/office/drawing/2014/main" id="{2A664B0D-0C93-4F56-8DF2-4C304E203F4E}"/>
                    </a:ext>
                  </a:extLst>
                </p:cNvPr>
                <p:cNvSpPr/>
                <p:nvPr/>
              </p:nvSpPr>
              <p:spPr>
                <a:xfrm>
                  <a:off x="5744563" y="5087601"/>
                  <a:ext cx="31518" cy="170211"/>
                </a:xfrm>
                <a:custGeom>
                  <a:avLst/>
                  <a:gdLst>
                    <a:gd name="connsiteX0" fmla="*/ 31519 w 31518"/>
                    <a:gd name="connsiteY0" fmla="*/ 538 h 170211"/>
                    <a:gd name="connsiteX1" fmla="*/ 2990 w 31518"/>
                    <a:gd name="connsiteY1" fmla="*/ 170211 h 170211"/>
                    <a:gd name="connsiteX2" fmla="*/ 0 w 31518"/>
                    <a:gd name="connsiteY2" fmla="*/ 169673 h 170211"/>
                    <a:gd name="connsiteX3" fmla="*/ 28468 w 31518"/>
                    <a:gd name="connsiteY3" fmla="*/ 0 h 170211"/>
                  </a:gdLst>
                  <a:ahLst/>
                  <a:cxnLst>
                    <a:cxn ang="0">
                      <a:pos x="connsiteX0" y="connsiteY0"/>
                    </a:cxn>
                    <a:cxn ang="0">
                      <a:pos x="connsiteX1" y="connsiteY1"/>
                    </a:cxn>
                    <a:cxn ang="0">
                      <a:pos x="connsiteX2" y="connsiteY2"/>
                    </a:cxn>
                    <a:cxn ang="0">
                      <a:pos x="connsiteX3" y="connsiteY3"/>
                    </a:cxn>
                  </a:cxnLst>
                  <a:rect l="l" t="t" r="r" b="b"/>
                  <a:pathLst>
                    <a:path w="31518" h="170211">
                      <a:moveTo>
                        <a:pt x="31519" y="538"/>
                      </a:moveTo>
                      <a:lnTo>
                        <a:pt x="2990" y="170211"/>
                      </a:lnTo>
                      <a:lnTo>
                        <a:pt x="0" y="169673"/>
                      </a:lnTo>
                      <a:lnTo>
                        <a:pt x="28468" y="0"/>
                      </a:lnTo>
                      <a:close/>
                    </a:path>
                  </a:pathLst>
                </a:custGeom>
                <a:grpFill/>
                <a:ln w="5978" cap="flat">
                  <a:noFill/>
                  <a:prstDash val="solid"/>
                  <a:miter/>
                </a:ln>
              </p:spPr>
              <p:txBody>
                <a:bodyPr rtlCol="0" anchor="ctr"/>
                <a:lstStyle/>
                <a:p>
                  <a:endParaRPr lang="en-GB"/>
                </a:p>
              </p:txBody>
            </p:sp>
            <p:sp>
              <p:nvSpPr>
                <p:cNvPr id="2783" name="Vrije vorm: vorm 2782">
                  <a:extLst>
                    <a:ext uri="{FF2B5EF4-FFF2-40B4-BE49-F238E27FC236}">
                      <a16:creationId xmlns:a16="http://schemas.microsoft.com/office/drawing/2014/main" id="{A8B6AE32-1363-405F-9867-6CD15966D343}"/>
                    </a:ext>
                  </a:extLst>
                </p:cNvPr>
                <p:cNvSpPr/>
                <p:nvPr/>
              </p:nvSpPr>
              <p:spPr>
                <a:xfrm>
                  <a:off x="5736900" y="5247875"/>
                  <a:ext cx="18376" cy="18437"/>
                </a:xfrm>
                <a:custGeom>
                  <a:avLst/>
                  <a:gdLst>
                    <a:gd name="connsiteX0" fmla="*/ 18248 w 18376"/>
                    <a:gd name="connsiteY0" fmla="*/ 10774 h 18437"/>
                    <a:gd name="connsiteX1" fmla="*/ 7662 w 18376"/>
                    <a:gd name="connsiteY1" fmla="*/ 18310 h 18437"/>
                    <a:gd name="connsiteX2" fmla="*/ 127 w 18376"/>
                    <a:gd name="connsiteY2" fmla="*/ 7664 h 18437"/>
                    <a:gd name="connsiteX3" fmla="*/ 10713 w 18376"/>
                    <a:gd name="connsiteY3" fmla="*/ 128 h 18437"/>
                    <a:gd name="connsiteX4" fmla="*/ 18248 w 18376"/>
                    <a:gd name="connsiteY4" fmla="*/ 1077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7">
                      <a:moveTo>
                        <a:pt x="18248" y="10774"/>
                      </a:moveTo>
                      <a:cubicBezTo>
                        <a:pt x="17411" y="15798"/>
                        <a:pt x="12686" y="19147"/>
                        <a:pt x="7662" y="18310"/>
                      </a:cubicBezTo>
                      <a:cubicBezTo>
                        <a:pt x="2698" y="17472"/>
                        <a:pt x="-711" y="12688"/>
                        <a:pt x="127" y="7664"/>
                      </a:cubicBezTo>
                      <a:cubicBezTo>
                        <a:pt x="964" y="2640"/>
                        <a:pt x="5689" y="-709"/>
                        <a:pt x="10713" y="128"/>
                      </a:cubicBezTo>
                      <a:cubicBezTo>
                        <a:pt x="15736" y="1025"/>
                        <a:pt x="19085" y="5810"/>
                        <a:pt x="18248" y="10774"/>
                      </a:cubicBezTo>
                      <a:close/>
                    </a:path>
                  </a:pathLst>
                </a:custGeom>
                <a:grpFill/>
                <a:ln w="5978" cap="flat">
                  <a:noFill/>
                  <a:prstDash val="solid"/>
                  <a:miter/>
                </a:ln>
              </p:spPr>
              <p:txBody>
                <a:bodyPr rtlCol="0" anchor="ctr"/>
                <a:lstStyle/>
                <a:p>
                  <a:endParaRPr lang="en-GB"/>
                </a:p>
              </p:txBody>
            </p:sp>
            <p:sp>
              <p:nvSpPr>
                <p:cNvPr id="2784" name="Vrije vorm: vorm 2783">
                  <a:extLst>
                    <a:ext uri="{FF2B5EF4-FFF2-40B4-BE49-F238E27FC236}">
                      <a16:creationId xmlns:a16="http://schemas.microsoft.com/office/drawing/2014/main" id="{3A51912A-0CC5-49A1-955A-3B435DD6AE7C}"/>
                    </a:ext>
                  </a:extLst>
                </p:cNvPr>
                <p:cNvSpPr/>
                <p:nvPr/>
              </p:nvSpPr>
              <p:spPr>
                <a:xfrm>
                  <a:off x="5765247" y="5079099"/>
                  <a:ext cx="18378" cy="18452"/>
                </a:xfrm>
                <a:custGeom>
                  <a:avLst/>
                  <a:gdLst>
                    <a:gd name="connsiteX0" fmla="*/ 18250 w 18378"/>
                    <a:gd name="connsiteY0" fmla="*/ 10774 h 18452"/>
                    <a:gd name="connsiteX1" fmla="*/ 10714 w 18378"/>
                    <a:gd name="connsiteY1" fmla="*/ 128 h 18452"/>
                    <a:gd name="connsiteX2" fmla="*/ 128 w 18378"/>
                    <a:gd name="connsiteY2" fmla="*/ 7664 h 18452"/>
                    <a:gd name="connsiteX3" fmla="*/ 7664 w 18378"/>
                    <a:gd name="connsiteY3" fmla="*/ 18310 h 18452"/>
                    <a:gd name="connsiteX4" fmla="*/ 18250 w 18378"/>
                    <a:gd name="connsiteY4" fmla="*/ 10774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52">
                      <a:moveTo>
                        <a:pt x="18250" y="10774"/>
                      </a:moveTo>
                      <a:cubicBezTo>
                        <a:pt x="19087" y="5750"/>
                        <a:pt x="15738" y="966"/>
                        <a:pt x="10714" y="128"/>
                      </a:cubicBezTo>
                      <a:cubicBezTo>
                        <a:pt x="5750" y="-709"/>
                        <a:pt x="966" y="2640"/>
                        <a:pt x="128" y="7664"/>
                      </a:cubicBezTo>
                      <a:cubicBezTo>
                        <a:pt x="-709" y="12688"/>
                        <a:pt x="2640" y="17472"/>
                        <a:pt x="7664" y="18310"/>
                      </a:cubicBezTo>
                      <a:cubicBezTo>
                        <a:pt x="12688" y="19207"/>
                        <a:pt x="17413" y="15798"/>
                        <a:pt x="18250" y="10774"/>
                      </a:cubicBezTo>
                      <a:close/>
                    </a:path>
                  </a:pathLst>
                </a:custGeom>
                <a:grpFill/>
                <a:ln w="5978" cap="flat">
                  <a:noFill/>
                  <a:prstDash val="solid"/>
                  <a:miter/>
                </a:ln>
              </p:spPr>
              <p:txBody>
                <a:bodyPr rtlCol="0" anchor="ctr"/>
                <a:lstStyle/>
                <a:p>
                  <a:endParaRPr lang="en-GB"/>
                </a:p>
              </p:txBody>
            </p:sp>
          </p:grpSp>
          <p:grpSp>
            <p:nvGrpSpPr>
              <p:cNvPr id="873" name="Graphic 3">
                <a:extLst>
                  <a:ext uri="{FF2B5EF4-FFF2-40B4-BE49-F238E27FC236}">
                    <a16:creationId xmlns:a16="http://schemas.microsoft.com/office/drawing/2014/main" id="{1288B1D5-2800-4DF4-B623-FF7333F07828}"/>
                  </a:ext>
                </a:extLst>
              </p:cNvPr>
              <p:cNvGrpSpPr/>
              <p:nvPr/>
            </p:nvGrpSpPr>
            <p:grpSpPr>
              <a:xfrm>
                <a:off x="4698367" y="2164403"/>
                <a:ext cx="123977" cy="115966"/>
                <a:chOff x="4698367" y="2164403"/>
                <a:chExt cx="123977" cy="115966"/>
              </a:xfrm>
              <a:grpFill/>
            </p:grpSpPr>
            <p:sp>
              <p:nvSpPr>
                <p:cNvPr id="2779" name="Vrije vorm: vorm 2778">
                  <a:extLst>
                    <a:ext uri="{FF2B5EF4-FFF2-40B4-BE49-F238E27FC236}">
                      <a16:creationId xmlns:a16="http://schemas.microsoft.com/office/drawing/2014/main" id="{2F787CD3-E764-4A22-ABEC-EBF7E813386A}"/>
                    </a:ext>
                  </a:extLst>
                </p:cNvPr>
                <p:cNvSpPr/>
                <p:nvPr/>
              </p:nvSpPr>
              <p:spPr>
                <a:xfrm>
                  <a:off x="4706190" y="2172238"/>
                  <a:ext cx="108370" cy="100296"/>
                </a:xfrm>
                <a:custGeom>
                  <a:avLst/>
                  <a:gdLst>
                    <a:gd name="connsiteX0" fmla="*/ 108371 w 108370"/>
                    <a:gd name="connsiteY0" fmla="*/ 98084 h 100296"/>
                    <a:gd name="connsiteX1" fmla="*/ 106337 w 108370"/>
                    <a:gd name="connsiteY1" fmla="*/ 100297 h 100296"/>
                    <a:gd name="connsiteX2" fmla="*/ 0 w 108370"/>
                    <a:gd name="connsiteY2" fmla="*/ 2213 h 100296"/>
                    <a:gd name="connsiteX3" fmla="*/ 2034 w 108370"/>
                    <a:gd name="connsiteY3" fmla="*/ 0 h 100296"/>
                  </a:gdLst>
                  <a:ahLst/>
                  <a:cxnLst>
                    <a:cxn ang="0">
                      <a:pos x="connsiteX0" y="connsiteY0"/>
                    </a:cxn>
                    <a:cxn ang="0">
                      <a:pos x="connsiteX1" y="connsiteY1"/>
                    </a:cxn>
                    <a:cxn ang="0">
                      <a:pos x="connsiteX2" y="connsiteY2"/>
                    </a:cxn>
                    <a:cxn ang="0">
                      <a:pos x="connsiteX3" y="connsiteY3"/>
                    </a:cxn>
                  </a:cxnLst>
                  <a:rect l="l" t="t" r="r" b="b"/>
                  <a:pathLst>
                    <a:path w="108370" h="100296">
                      <a:moveTo>
                        <a:pt x="108371" y="98084"/>
                      </a:moveTo>
                      <a:lnTo>
                        <a:pt x="106337" y="100297"/>
                      </a:lnTo>
                      <a:lnTo>
                        <a:pt x="0" y="2213"/>
                      </a:lnTo>
                      <a:lnTo>
                        <a:pt x="2034" y="0"/>
                      </a:lnTo>
                      <a:close/>
                    </a:path>
                  </a:pathLst>
                </a:custGeom>
                <a:grpFill/>
                <a:ln w="5978" cap="flat">
                  <a:noFill/>
                  <a:prstDash val="solid"/>
                  <a:miter/>
                </a:ln>
              </p:spPr>
              <p:txBody>
                <a:bodyPr rtlCol="0" anchor="ctr"/>
                <a:lstStyle/>
                <a:p>
                  <a:endParaRPr lang="en-GB"/>
                </a:p>
              </p:txBody>
            </p:sp>
            <p:sp>
              <p:nvSpPr>
                <p:cNvPr id="2780" name="Vrije vorm: vorm 2779">
                  <a:extLst>
                    <a:ext uri="{FF2B5EF4-FFF2-40B4-BE49-F238E27FC236}">
                      <a16:creationId xmlns:a16="http://schemas.microsoft.com/office/drawing/2014/main" id="{8B093CCC-9D29-4E0D-BFA1-545F28315F50}"/>
                    </a:ext>
                  </a:extLst>
                </p:cNvPr>
                <p:cNvSpPr/>
                <p:nvPr/>
              </p:nvSpPr>
              <p:spPr>
                <a:xfrm>
                  <a:off x="4698367" y="2164403"/>
                  <a:ext cx="18337" cy="18481"/>
                </a:xfrm>
                <a:custGeom>
                  <a:avLst/>
                  <a:gdLst>
                    <a:gd name="connsiteX0" fmla="*/ 2978 w 18337"/>
                    <a:gd name="connsiteY0" fmla="*/ 16029 h 18481"/>
                    <a:gd name="connsiteX1" fmla="*/ 2381 w 18337"/>
                    <a:gd name="connsiteY1" fmla="*/ 2991 h 18481"/>
                    <a:gd name="connsiteX2" fmla="*/ 15359 w 18337"/>
                    <a:gd name="connsiteY2" fmla="*/ 2452 h 18481"/>
                    <a:gd name="connsiteX3" fmla="*/ 15957 w 18337"/>
                    <a:gd name="connsiteY3" fmla="*/ 15490 h 18481"/>
                    <a:gd name="connsiteX4" fmla="*/ 2978 w 18337"/>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81">
                      <a:moveTo>
                        <a:pt x="2978" y="16029"/>
                      </a:moveTo>
                      <a:cubicBezTo>
                        <a:pt x="-730" y="12560"/>
                        <a:pt x="-1029" y="6759"/>
                        <a:pt x="2381" y="2991"/>
                      </a:cubicBezTo>
                      <a:cubicBezTo>
                        <a:pt x="5789" y="-777"/>
                        <a:pt x="11591" y="-1016"/>
                        <a:pt x="15359" y="2452"/>
                      </a:cubicBezTo>
                      <a:cubicBezTo>
                        <a:pt x="19067" y="5921"/>
                        <a:pt x="19366" y="11723"/>
                        <a:pt x="15957" y="15490"/>
                      </a:cubicBezTo>
                      <a:cubicBezTo>
                        <a:pt x="12547" y="19258"/>
                        <a:pt x="6746" y="19497"/>
                        <a:pt x="2978" y="16029"/>
                      </a:cubicBezTo>
                      <a:close/>
                    </a:path>
                  </a:pathLst>
                </a:custGeom>
                <a:grpFill/>
                <a:ln w="5978" cap="flat">
                  <a:noFill/>
                  <a:prstDash val="solid"/>
                  <a:miter/>
                </a:ln>
              </p:spPr>
              <p:txBody>
                <a:bodyPr rtlCol="0" anchor="ctr"/>
                <a:lstStyle/>
                <a:p>
                  <a:endParaRPr lang="en-GB"/>
                </a:p>
              </p:txBody>
            </p:sp>
            <p:sp>
              <p:nvSpPr>
                <p:cNvPr id="2781" name="Vrije vorm: vorm 2780">
                  <a:extLst>
                    <a:ext uri="{FF2B5EF4-FFF2-40B4-BE49-F238E27FC236}">
                      <a16:creationId xmlns:a16="http://schemas.microsoft.com/office/drawing/2014/main" id="{CD2A1507-833C-48B2-AB4C-5EB4B1392728}"/>
                    </a:ext>
                  </a:extLst>
                </p:cNvPr>
                <p:cNvSpPr/>
                <p:nvPr/>
              </p:nvSpPr>
              <p:spPr>
                <a:xfrm>
                  <a:off x="4804016" y="2261889"/>
                  <a:ext cx="18328" cy="18481"/>
                </a:xfrm>
                <a:custGeom>
                  <a:avLst/>
                  <a:gdLst>
                    <a:gd name="connsiteX0" fmla="*/ 3008 w 18328"/>
                    <a:gd name="connsiteY0" fmla="*/ 16029 h 18481"/>
                    <a:gd name="connsiteX1" fmla="*/ 15927 w 18328"/>
                    <a:gd name="connsiteY1" fmla="*/ 15491 h 18481"/>
                    <a:gd name="connsiteX2" fmla="*/ 15329 w 18328"/>
                    <a:gd name="connsiteY2" fmla="*/ 2452 h 18481"/>
                    <a:gd name="connsiteX3" fmla="*/ 2351 w 18328"/>
                    <a:gd name="connsiteY3" fmla="*/ 2991 h 18481"/>
                    <a:gd name="connsiteX4" fmla="*/ 3008 w 1832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81">
                      <a:moveTo>
                        <a:pt x="3008" y="16029"/>
                      </a:moveTo>
                      <a:cubicBezTo>
                        <a:pt x="6716" y="19497"/>
                        <a:pt x="12518" y="19258"/>
                        <a:pt x="15927" y="15491"/>
                      </a:cubicBezTo>
                      <a:cubicBezTo>
                        <a:pt x="19336" y="11723"/>
                        <a:pt x="19097" y="5921"/>
                        <a:pt x="15329" y="2452"/>
                      </a:cubicBezTo>
                      <a:cubicBezTo>
                        <a:pt x="11621" y="-1016"/>
                        <a:pt x="5820" y="-777"/>
                        <a:pt x="2351" y="2991"/>
                      </a:cubicBezTo>
                      <a:cubicBezTo>
                        <a:pt x="-999" y="6759"/>
                        <a:pt x="-759" y="12560"/>
                        <a:pt x="3008" y="16029"/>
                      </a:cubicBezTo>
                      <a:close/>
                    </a:path>
                  </a:pathLst>
                </a:custGeom>
                <a:grpFill/>
                <a:ln w="5978" cap="flat">
                  <a:noFill/>
                  <a:prstDash val="solid"/>
                  <a:miter/>
                </a:ln>
              </p:spPr>
              <p:txBody>
                <a:bodyPr rtlCol="0" anchor="ctr"/>
                <a:lstStyle/>
                <a:p>
                  <a:endParaRPr lang="en-GB"/>
                </a:p>
              </p:txBody>
            </p:sp>
          </p:grpSp>
          <p:grpSp>
            <p:nvGrpSpPr>
              <p:cNvPr id="874" name="Graphic 3">
                <a:extLst>
                  <a:ext uri="{FF2B5EF4-FFF2-40B4-BE49-F238E27FC236}">
                    <a16:creationId xmlns:a16="http://schemas.microsoft.com/office/drawing/2014/main" id="{21C364C5-2D59-40DF-BFDB-7D1450923A48}"/>
                  </a:ext>
                </a:extLst>
              </p:cNvPr>
              <p:cNvGrpSpPr/>
              <p:nvPr/>
            </p:nvGrpSpPr>
            <p:grpSpPr>
              <a:xfrm>
                <a:off x="4610910" y="1982608"/>
                <a:ext cx="231851" cy="272410"/>
                <a:chOff x="4610910" y="1982608"/>
                <a:chExt cx="231851" cy="272410"/>
              </a:xfrm>
              <a:grpFill/>
            </p:grpSpPr>
            <p:sp>
              <p:nvSpPr>
                <p:cNvPr id="2776" name="Vrije vorm: vorm 2775">
                  <a:extLst>
                    <a:ext uri="{FF2B5EF4-FFF2-40B4-BE49-F238E27FC236}">
                      <a16:creationId xmlns:a16="http://schemas.microsoft.com/office/drawing/2014/main" id="{08E2F3E3-E128-463E-9B36-4AB9F63246B8}"/>
                    </a:ext>
                  </a:extLst>
                </p:cNvPr>
                <p:cNvSpPr/>
                <p:nvPr/>
              </p:nvSpPr>
              <p:spPr>
                <a:xfrm>
                  <a:off x="4618572" y="1990484"/>
                  <a:ext cx="216502" cy="256692"/>
                </a:xfrm>
                <a:custGeom>
                  <a:avLst/>
                  <a:gdLst>
                    <a:gd name="connsiteX0" fmla="*/ 216502 w 216502"/>
                    <a:gd name="connsiteY0" fmla="*/ 254719 h 256692"/>
                    <a:gd name="connsiteX1" fmla="*/ 214170 w 216502"/>
                    <a:gd name="connsiteY1" fmla="*/ 256693 h 256692"/>
                    <a:gd name="connsiteX2" fmla="*/ 0 w 216502"/>
                    <a:gd name="connsiteY2" fmla="*/ 1974 h 256692"/>
                    <a:gd name="connsiteX3" fmla="*/ 2333 w 216502"/>
                    <a:gd name="connsiteY3" fmla="*/ 0 h 256692"/>
                  </a:gdLst>
                  <a:ahLst/>
                  <a:cxnLst>
                    <a:cxn ang="0">
                      <a:pos x="connsiteX0" y="connsiteY0"/>
                    </a:cxn>
                    <a:cxn ang="0">
                      <a:pos x="connsiteX1" y="connsiteY1"/>
                    </a:cxn>
                    <a:cxn ang="0">
                      <a:pos x="connsiteX2" y="connsiteY2"/>
                    </a:cxn>
                    <a:cxn ang="0">
                      <a:pos x="connsiteX3" y="connsiteY3"/>
                    </a:cxn>
                  </a:cxnLst>
                  <a:rect l="l" t="t" r="r" b="b"/>
                  <a:pathLst>
                    <a:path w="216502" h="256692">
                      <a:moveTo>
                        <a:pt x="216502" y="254719"/>
                      </a:moveTo>
                      <a:lnTo>
                        <a:pt x="214170" y="256693"/>
                      </a:lnTo>
                      <a:lnTo>
                        <a:pt x="0" y="1974"/>
                      </a:lnTo>
                      <a:lnTo>
                        <a:pt x="2333" y="0"/>
                      </a:lnTo>
                      <a:close/>
                    </a:path>
                  </a:pathLst>
                </a:custGeom>
                <a:grpFill/>
                <a:ln w="5978" cap="flat">
                  <a:noFill/>
                  <a:prstDash val="solid"/>
                  <a:miter/>
                </a:ln>
              </p:spPr>
              <p:txBody>
                <a:bodyPr rtlCol="0" anchor="ctr"/>
                <a:lstStyle/>
                <a:p>
                  <a:endParaRPr lang="en-GB"/>
                </a:p>
              </p:txBody>
            </p:sp>
            <p:sp>
              <p:nvSpPr>
                <p:cNvPr id="2777" name="Vrije vorm: vorm 2776">
                  <a:extLst>
                    <a:ext uri="{FF2B5EF4-FFF2-40B4-BE49-F238E27FC236}">
                      <a16:creationId xmlns:a16="http://schemas.microsoft.com/office/drawing/2014/main" id="{4C48F048-6FEC-490E-9DF5-E1CA812E609C}"/>
                    </a:ext>
                  </a:extLst>
                </p:cNvPr>
                <p:cNvSpPr/>
                <p:nvPr/>
              </p:nvSpPr>
              <p:spPr>
                <a:xfrm>
                  <a:off x="4824397" y="2236584"/>
                  <a:ext cx="18364" cy="18433"/>
                </a:xfrm>
                <a:custGeom>
                  <a:avLst/>
                  <a:gdLst>
                    <a:gd name="connsiteX0" fmla="*/ 16179 w 18364"/>
                    <a:gd name="connsiteY0" fmla="*/ 3296 h 18433"/>
                    <a:gd name="connsiteX1" fmla="*/ 15103 w 18364"/>
                    <a:gd name="connsiteY1" fmla="*/ 16274 h 18433"/>
                    <a:gd name="connsiteX2" fmla="*/ 2185 w 18364"/>
                    <a:gd name="connsiteY2" fmla="*/ 15138 h 18433"/>
                    <a:gd name="connsiteX3" fmla="*/ 3261 w 18364"/>
                    <a:gd name="connsiteY3" fmla="*/ 2160 h 18433"/>
                    <a:gd name="connsiteX4" fmla="*/ 16179 w 18364"/>
                    <a:gd name="connsiteY4" fmla="*/ 3296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33">
                      <a:moveTo>
                        <a:pt x="16179" y="3296"/>
                      </a:moveTo>
                      <a:cubicBezTo>
                        <a:pt x="19469" y="7184"/>
                        <a:pt x="18990" y="12985"/>
                        <a:pt x="15103" y="16274"/>
                      </a:cubicBezTo>
                      <a:cubicBezTo>
                        <a:pt x="11216" y="19564"/>
                        <a:pt x="5474" y="19025"/>
                        <a:pt x="2185" y="15138"/>
                      </a:cubicBezTo>
                      <a:cubicBezTo>
                        <a:pt x="-1105" y="11250"/>
                        <a:pt x="-627" y="5449"/>
                        <a:pt x="3261" y="2160"/>
                      </a:cubicBezTo>
                      <a:cubicBezTo>
                        <a:pt x="7149" y="-1130"/>
                        <a:pt x="12950" y="-591"/>
                        <a:pt x="16179" y="3296"/>
                      </a:cubicBezTo>
                      <a:close/>
                    </a:path>
                  </a:pathLst>
                </a:custGeom>
                <a:grpFill/>
                <a:ln w="5978" cap="flat">
                  <a:noFill/>
                  <a:prstDash val="solid"/>
                  <a:miter/>
                </a:ln>
              </p:spPr>
              <p:txBody>
                <a:bodyPr rtlCol="0" anchor="ctr"/>
                <a:lstStyle/>
                <a:p>
                  <a:endParaRPr lang="en-GB"/>
                </a:p>
              </p:txBody>
            </p:sp>
            <p:sp>
              <p:nvSpPr>
                <p:cNvPr id="2778" name="Vrije vorm: vorm 2777">
                  <a:extLst>
                    <a:ext uri="{FF2B5EF4-FFF2-40B4-BE49-F238E27FC236}">
                      <a16:creationId xmlns:a16="http://schemas.microsoft.com/office/drawing/2014/main" id="{91958CA4-A184-4523-941B-B4F20C6B3898}"/>
                    </a:ext>
                  </a:extLst>
                </p:cNvPr>
                <p:cNvSpPr/>
                <p:nvPr/>
              </p:nvSpPr>
              <p:spPr>
                <a:xfrm>
                  <a:off x="4610910" y="1982608"/>
                  <a:ext cx="18314" cy="18384"/>
                </a:xfrm>
                <a:custGeom>
                  <a:avLst/>
                  <a:gdLst>
                    <a:gd name="connsiteX0" fmla="*/ 16155 w 18314"/>
                    <a:gd name="connsiteY0" fmla="*/ 3271 h 18384"/>
                    <a:gd name="connsiteX1" fmla="*/ 3236 w 18314"/>
                    <a:gd name="connsiteY1" fmla="*/ 2135 h 18384"/>
                    <a:gd name="connsiteX2" fmla="*/ 2160 w 18314"/>
                    <a:gd name="connsiteY2" fmla="*/ 15113 h 18384"/>
                    <a:gd name="connsiteX3" fmla="*/ 15079 w 18314"/>
                    <a:gd name="connsiteY3" fmla="*/ 16250 h 18384"/>
                    <a:gd name="connsiteX4" fmla="*/ 16155 w 18314"/>
                    <a:gd name="connsiteY4" fmla="*/ 327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84">
                      <a:moveTo>
                        <a:pt x="16155" y="3271"/>
                      </a:moveTo>
                      <a:cubicBezTo>
                        <a:pt x="12865" y="-616"/>
                        <a:pt x="7124" y="-1095"/>
                        <a:pt x="3236" y="2135"/>
                      </a:cubicBezTo>
                      <a:cubicBezTo>
                        <a:pt x="-651" y="5424"/>
                        <a:pt x="-1070" y="11226"/>
                        <a:pt x="2160" y="15113"/>
                      </a:cubicBezTo>
                      <a:cubicBezTo>
                        <a:pt x="5449" y="19001"/>
                        <a:pt x="11191" y="19479"/>
                        <a:pt x="15079" y="16250"/>
                      </a:cubicBezTo>
                      <a:cubicBezTo>
                        <a:pt x="18966" y="13020"/>
                        <a:pt x="19384" y="7159"/>
                        <a:pt x="16155" y="3271"/>
                      </a:cubicBezTo>
                      <a:close/>
                    </a:path>
                  </a:pathLst>
                </a:custGeom>
                <a:grpFill/>
                <a:ln w="5978" cap="flat">
                  <a:noFill/>
                  <a:prstDash val="solid"/>
                  <a:miter/>
                </a:ln>
              </p:spPr>
              <p:txBody>
                <a:bodyPr rtlCol="0" anchor="ctr"/>
                <a:lstStyle/>
                <a:p>
                  <a:endParaRPr lang="en-GB"/>
                </a:p>
              </p:txBody>
            </p:sp>
          </p:grpSp>
          <p:grpSp>
            <p:nvGrpSpPr>
              <p:cNvPr id="875" name="Graphic 3">
                <a:extLst>
                  <a:ext uri="{FF2B5EF4-FFF2-40B4-BE49-F238E27FC236}">
                    <a16:creationId xmlns:a16="http://schemas.microsoft.com/office/drawing/2014/main" id="{B05AB0E5-9B6B-4234-8097-79C171D4D099}"/>
                  </a:ext>
                </a:extLst>
              </p:cNvPr>
              <p:cNvGrpSpPr/>
              <p:nvPr/>
            </p:nvGrpSpPr>
            <p:grpSpPr>
              <a:xfrm>
                <a:off x="4613750" y="1930407"/>
                <a:ext cx="127748" cy="131301"/>
                <a:chOff x="4613750" y="1930407"/>
                <a:chExt cx="127748" cy="131301"/>
              </a:xfrm>
              <a:grpFill/>
            </p:grpSpPr>
            <p:sp>
              <p:nvSpPr>
                <p:cNvPr id="2773" name="Vrije vorm: vorm 2772">
                  <a:extLst>
                    <a:ext uri="{FF2B5EF4-FFF2-40B4-BE49-F238E27FC236}">
                      <a16:creationId xmlns:a16="http://schemas.microsoft.com/office/drawing/2014/main" id="{474C8CD1-31A1-49E1-ADA0-CE2CC47C3AA9}"/>
                    </a:ext>
                  </a:extLst>
                </p:cNvPr>
                <p:cNvSpPr/>
                <p:nvPr/>
              </p:nvSpPr>
              <p:spPr>
                <a:xfrm>
                  <a:off x="4621503" y="1938272"/>
                  <a:ext cx="112198" cy="115607"/>
                </a:xfrm>
                <a:custGeom>
                  <a:avLst/>
                  <a:gdLst>
                    <a:gd name="connsiteX0" fmla="*/ 112198 w 112198"/>
                    <a:gd name="connsiteY0" fmla="*/ 113454 h 115607"/>
                    <a:gd name="connsiteX1" fmla="*/ 110045 w 112198"/>
                    <a:gd name="connsiteY1" fmla="*/ 115607 h 115607"/>
                    <a:gd name="connsiteX2" fmla="*/ 0 w 112198"/>
                    <a:gd name="connsiteY2" fmla="*/ 2093 h 115607"/>
                    <a:gd name="connsiteX3" fmla="*/ 2213 w 112198"/>
                    <a:gd name="connsiteY3" fmla="*/ 0 h 115607"/>
                  </a:gdLst>
                  <a:ahLst/>
                  <a:cxnLst>
                    <a:cxn ang="0">
                      <a:pos x="connsiteX0" y="connsiteY0"/>
                    </a:cxn>
                    <a:cxn ang="0">
                      <a:pos x="connsiteX1" y="connsiteY1"/>
                    </a:cxn>
                    <a:cxn ang="0">
                      <a:pos x="connsiteX2" y="connsiteY2"/>
                    </a:cxn>
                    <a:cxn ang="0">
                      <a:pos x="connsiteX3" y="connsiteY3"/>
                    </a:cxn>
                  </a:cxnLst>
                  <a:rect l="l" t="t" r="r" b="b"/>
                  <a:pathLst>
                    <a:path w="112198" h="115607">
                      <a:moveTo>
                        <a:pt x="112198" y="113454"/>
                      </a:moveTo>
                      <a:lnTo>
                        <a:pt x="110045" y="115607"/>
                      </a:lnTo>
                      <a:lnTo>
                        <a:pt x="0" y="2093"/>
                      </a:lnTo>
                      <a:lnTo>
                        <a:pt x="2213" y="0"/>
                      </a:lnTo>
                      <a:close/>
                    </a:path>
                  </a:pathLst>
                </a:custGeom>
                <a:grpFill/>
                <a:ln w="5978" cap="flat">
                  <a:noFill/>
                  <a:prstDash val="solid"/>
                  <a:miter/>
                </a:ln>
              </p:spPr>
              <p:txBody>
                <a:bodyPr rtlCol="0" anchor="ctr"/>
                <a:lstStyle/>
                <a:p>
                  <a:endParaRPr lang="en-GB"/>
                </a:p>
              </p:txBody>
            </p:sp>
            <p:sp>
              <p:nvSpPr>
                <p:cNvPr id="2774" name="Vrije vorm: vorm 2773">
                  <a:extLst>
                    <a:ext uri="{FF2B5EF4-FFF2-40B4-BE49-F238E27FC236}">
                      <a16:creationId xmlns:a16="http://schemas.microsoft.com/office/drawing/2014/main" id="{39693A34-F38B-4529-B050-776A3359DFD8}"/>
                    </a:ext>
                  </a:extLst>
                </p:cNvPr>
                <p:cNvSpPr/>
                <p:nvPr/>
              </p:nvSpPr>
              <p:spPr>
                <a:xfrm>
                  <a:off x="4613750" y="1930407"/>
                  <a:ext cx="18316" cy="18444"/>
                </a:xfrm>
                <a:custGeom>
                  <a:avLst/>
                  <a:gdLst>
                    <a:gd name="connsiteX0" fmla="*/ 2609 w 18316"/>
                    <a:gd name="connsiteY0" fmla="*/ 15640 h 18444"/>
                    <a:gd name="connsiteX1" fmla="*/ 2729 w 18316"/>
                    <a:gd name="connsiteY1" fmla="*/ 2602 h 18444"/>
                    <a:gd name="connsiteX2" fmla="*/ 15707 w 18316"/>
                    <a:gd name="connsiteY2" fmla="*/ 2782 h 18444"/>
                    <a:gd name="connsiteX3" fmla="*/ 15588 w 18316"/>
                    <a:gd name="connsiteY3" fmla="*/ 15820 h 18444"/>
                    <a:gd name="connsiteX4" fmla="*/ 2609 w 18316"/>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2609" y="15640"/>
                      </a:moveTo>
                      <a:cubicBezTo>
                        <a:pt x="-919" y="11992"/>
                        <a:pt x="-859" y="6131"/>
                        <a:pt x="2729" y="2602"/>
                      </a:cubicBezTo>
                      <a:cubicBezTo>
                        <a:pt x="6377" y="-926"/>
                        <a:pt x="12179" y="-866"/>
                        <a:pt x="15707" y="2782"/>
                      </a:cubicBezTo>
                      <a:cubicBezTo>
                        <a:pt x="19236" y="6430"/>
                        <a:pt x="19176" y="12291"/>
                        <a:pt x="15588" y="15820"/>
                      </a:cubicBezTo>
                      <a:cubicBezTo>
                        <a:pt x="11939" y="19408"/>
                        <a:pt x="6138" y="19289"/>
                        <a:pt x="2609" y="15640"/>
                      </a:cubicBezTo>
                      <a:close/>
                    </a:path>
                  </a:pathLst>
                </a:custGeom>
                <a:grpFill/>
                <a:ln w="5978" cap="flat">
                  <a:noFill/>
                  <a:prstDash val="solid"/>
                  <a:miter/>
                </a:ln>
              </p:spPr>
              <p:txBody>
                <a:bodyPr rtlCol="0" anchor="ctr"/>
                <a:lstStyle/>
                <a:p>
                  <a:endParaRPr lang="en-GB"/>
                </a:p>
              </p:txBody>
            </p:sp>
            <p:sp>
              <p:nvSpPr>
                <p:cNvPr id="2775" name="Vrije vorm: vorm 2774">
                  <a:extLst>
                    <a:ext uri="{FF2B5EF4-FFF2-40B4-BE49-F238E27FC236}">
                      <a16:creationId xmlns:a16="http://schemas.microsoft.com/office/drawing/2014/main" id="{AF224C47-95AF-433D-8251-A1CCB26E616A}"/>
                    </a:ext>
                  </a:extLst>
                </p:cNvPr>
                <p:cNvSpPr/>
                <p:nvPr/>
              </p:nvSpPr>
              <p:spPr>
                <a:xfrm>
                  <a:off x="4723137" y="2043263"/>
                  <a:ext cx="18361" cy="18444"/>
                </a:xfrm>
                <a:custGeom>
                  <a:avLst/>
                  <a:gdLst>
                    <a:gd name="connsiteX0" fmla="*/ 2610 w 18361"/>
                    <a:gd name="connsiteY0" fmla="*/ 15640 h 18444"/>
                    <a:gd name="connsiteX1" fmla="*/ 15588 w 18361"/>
                    <a:gd name="connsiteY1" fmla="*/ 15820 h 18444"/>
                    <a:gd name="connsiteX2" fmla="*/ 15707 w 18361"/>
                    <a:gd name="connsiteY2" fmla="*/ 2782 h 18444"/>
                    <a:gd name="connsiteX3" fmla="*/ 2729 w 18361"/>
                    <a:gd name="connsiteY3" fmla="*/ 2602 h 18444"/>
                    <a:gd name="connsiteX4" fmla="*/ 2610 w 18361"/>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44">
                      <a:moveTo>
                        <a:pt x="2610" y="15640"/>
                      </a:moveTo>
                      <a:cubicBezTo>
                        <a:pt x="6138" y="19289"/>
                        <a:pt x="11940" y="19408"/>
                        <a:pt x="15588" y="15820"/>
                      </a:cubicBezTo>
                      <a:cubicBezTo>
                        <a:pt x="19236" y="12291"/>
                        <a:pt x="19296" y="6430"/>
                        <a:pt x="15707" y="2782"/>
                      </a:cubicBezTo>
                      <a:cubicBezTo>
                        <a:pt x="12179" y="-866"/>
                        <a:pt x="6378" y="-926"/>
                        <a:pt x="2729" y="2602"/>
                      </a:cubicBezTo>
                      <a:cubicBezTo>
                        <a:pt x="-859" y="6131"/>
                        <a:pt x="-919" y="11992"/>
                        <a:pt x="2610" y="15640"/>
                      </a:cubicBezTo>
                      <a:close/>
                    </a:path>
                  </a:pathLst>
                </a:custGeom>
                <a:grpFill/>
                <a:ln w="5978" cap="flat">
                  <a:noFill/>
                  <a:prstDash val="solid"/>
                  <a:miter/>
                </a:ln>
              </p:spPr>
              <p:txBody>
                <a:bodyPr rtlCol="0" anchor="ctr"/>
                <a:lstStyle/>
                <a:p>
                  <a:endParaRPr lang="en-GB"/>
                </a:p>
              </p:txBody>
            </p:sp>
          </p:grpSp>
          <p:grpSp>
            <p:nvGrpSpPr>
              <p:cNvPr id="876" name="Graphic 3">
                <a:extLst>
                  <a:ext uri="{FF2B5EF4-FFF2-40B4-BE49-F238E27FC236}">
                    <a16:creationId xmlns:a16="http://schemas.microsoft.com/office/drawing/2014/main" id="{E76C03DD-5683-47D5-A39B-FF94C94919F3}"/>
                  </a:ext>
                </a:extLst>
              </p:cNvPr>
              <p:cNvGrpSpPr/>
              <p:nvPr/>
            </p:nvGrpSpPr>
            <p:grpSpPr>
              <a:xfrm>
                <a:off x="5813800" y="5105583"/>
                <a:ext cx="124915" cy="838236"/>
                <a:chOff x="5813800" y="5105583"/>
                <a:chExt cx="124915" cy="838236"/>
              </a:xfrm>
              <a:grpFill/>
            </p:grpSpPr>
            <p:sp>
              <p:nvSpPr>
                <p:cNvPr id="2770" name="Vrije vorm: vorm 2769">
                  <a:extLst>
                    <a:ext uri="{FF2B5EF4-FFF2-40B4-BE49-F238E27FC236}">
                      <a16:creationId xmlns:a16="http://schemas.microsoft.com/office/drawing/2014/main" id="{E5D90171-01C9-4404-BC13-6960CDD8AE04}"/>
                    </a:ext>
                  </a:extLst>
                </p:cNvPr>
                <p:cNvSpPr/>
                <p:nvPr/>
              </p:nvSpPr>
              <p:spPr>
                <a:xfrm>
                  <a:off x="5821415" y="5114155"/>
                  <a:ext cx="109686" cy="821093"/>
                </a:xfrm>
                <a:custGeom>
                  <a:avLst/>
                  <a:gdLst>
                    <a:gd name="connsiteX0" fmla="*/ 109687 w 109686"/>
                    <a:gd name="connsiteY0" fmla="*/ 359 h 821093"/>
                    <a:gd name="connsiteX1" fmla="*/ 2990 w 109686"/>
                    <a:gd name="connsiteY1" fmla="*/ 821093 h 821093"/>
                    <a:gd name="connsiteX2" fmla="*/ 0 w 109686"/>
                    <a:gd name="connsiteY2" fmla="*/ 820674 h 821093"/>
                    <a:gd name="connsiteX3" fmla="*/ 106696 w 109686"/>
                    <a:gd name="connsiteY3" fmla="*/ 0 h 821093"/>
                  </a:gdLst>
                  <a:ahLst/>
                  <a:cxnLst>
                    <a:cxn ang="0">
                      <a:pos x="connsiteX0" y="connsiteY0"/>
                    </a:cxn>
                    <a:cxn ang="0">
                      <a:pos x="connsiteX1" y="connsiteY1"/>
                    </a:cxn>
                    <a:cxn ang="0">
                      <a:pos x="connsiteX2" y="connsiteY2"/>
                    </a:cxn>
                    <a:cxn ang="0">
                      <a:pos x="connsiteX3" y="connsiteY3"/>
                    </a:cxn>
                  </a:cxnLst>
                  <a:rect l="l" t="t" r="r" b="b"/>
                  <a:pathLst>
                    <a:path w="109686" h="821093">
                      <a:moveTo>
                        <a:pt x="109687" y="359"/>
                      </a:moveTo>
                      <a:lnTo>
                        <a:pt x="2990" y="821093"/>
                      </a:lnTo>
                      <a:lnTo>
                        <a:pt x="0" y="820674"/>
                      </a:lnTo>
                      <a:lnTo>
                        <a:pt x="106696" y="0"/>
                      </a:lnTo>
                      <a:close/>
                    </a:path>
                  </a:pathLst>
                </a:custGeom>
                <a:grpFill/>
                <a:ln w="5978" cap="flat">
                  <a:noFill/>
                  <a:prstDash val="solid"/>
                  <a:miter/>
                </a:ln>
              </p:spPr>
              <p:txBody>
                <a:bodyPr rtlCol="0" anchor="ctr"/>
                <a:lstStyle/>
                <a:p>
                  <a:endParaRPr lang="en-GB"/>
                </a:p>
              </p:txBody>
            </p:sp>
            <p:sp>
              <p:nvSpPr>
                <p:cNvPr id="2771" name="Vrije vorm: vorm 2770">
                  <a:extLst>
                    <a:ext uri="{FF2B5EF4-FFF2-40B4-BE49-F238E27FC236}">
                      <a16:creationId xmlns:a16="http://schemas.microsoft.com/office/drawing/2014/main" id="{65D28E3C-A2A7-47DD-9284-6695A7DAA8B1}"/>
                    </a:ext>
                  </a:extLst>
                </p:cNvPr>
                <p:cNvSpPr/>
                <p:nvPr/>
              </p:nvSpPr>
              <p:spPr>
                <a:xfrm>
                  <a:off x="5920377" y="5105583"/>
                  <a:ext cx="18339" cy="18399"/>
                </a:xfrm>
                <a:custGeom>
                  <a:avLst/>
                  <a:gdLst>
                    <a:gd name="connsiteX0" fmla="*/ 79 w 18339"/>
                    <a:gd name="connsiteY0" fmla="*/ 7973 h 18399"/>
                    <a:gd name="connsiteX1" fmla="*/ 10366 w 18339"/>
                    <a:gd name="connsiteY1" fmla="*/ 79 h 18399"/>
                    <a:gd name="connsiteX2" fmla="*/ 18261 w 18339"/>
                    <a:gd name="connsiteY2" fmla="*/ 10426 h 18399"/>
                    <a:gd name="connsiteX3" fmla="*/ 7973 w 18339"/>
                    <a:gd name="connsiteY3" fmla="*/ 18320 h 18399"/>
                    <a:gd name="connsiteX4" fmla="*/ 79 w 18339"/>
                    <a:gd name="connsiteY4" fmla="*/ 797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9">
                      <a:moveTo>
                        <a:pt x="79" y="7973"/>
                      </a:moveTo>
                      <a:cubicBezTo>
                        <a:pt x="737" y="2950"/>
                        <a:pt x="5342" y="-579"/>
                        <a:pt x="10366" y="79"/>
                      </a:cubicBezTo>
                      <a:cubicBezTo>
                        <a:pt x="15390" y="737"/>
                        <a:pt x="18918" y="5402"/>
                        <a:pt x="18261" y="10426"/>
                      </a:cubicBezTo>
                      <a:cubicBezTo>
                        <a:pt x="17603" y="15449"/>
                        <a:pt x="12997" y="18978"/>
                        <a:pt x="7973" y="18320"/>
                      </a:cubicBezTo>
                      <a:cubicBezTo>
                        <a:pt x="2950" y="17662"/>
                        <a:pt x="-579" y="12997"/>
                        <a:pt x="79" y="7973"/>
                      </a:cubicBezTo>
                      <a:close/>
                    </a:path>
                  </a:pathLst>
                </a:custGeom>
                <a:grpFill/>
                <a:ln w="5978" cap="flat">
                  <a:noFill/>
                  <a:prstDash val="solid"/>
                  <a:miter/>
                </a:ln>
              </p:spPr>
              <p:txBody>
                <a:bodyPr rtlCol="0" anchor="ctr"/>
                <a:lstStyle/>
                <a:p>
                  <a:endParaRPr lang="en-GB"/>
                </a:p>
              </p:txBody>
            </p:sp>
            <p:sp>
              <p:nvSpPr>
                <p:cNvPr id="2772" name="Vrije vorm: vorm 2771">
                  <a:extLst>
                    <a:ext uri="{FF2B5EF4-FFF2-40B4-BE49-F238E27FC236}">
                      <a16:creationId xmlns:a16="http://schemas.microsoft.com/office/drawing/2014/main" id="{8A493855-6031-4E8F-B41E-0E9E7E2EED39}"/>
                    </a:ext>
                  </a:extLst>
                </p:cNvPr>
                <p:cNvSpPr/>
                <p:nvPr/>
              </p:nvSpPr>
              <p:spPr>
                <a:xfrm>
                  <a:off x="5813800" y="5925407"/>
                  <a:ext cx="18339" cy="18412"/>
                </a:xfrm>
                <a:custGeom>
                  <a:avLst/>
                  <a:gdLst>
                    <a:gd name="connsiteX0" fmla="*/ 79 w 18339"/>
                    <a:gd name="connsiteY0" fmla="*/ 7987 h 18412"/>
                    <a:gd name="connsiteX1" fmla="*/ 7973 w 18339"/>
                    <a:gd name="connsiteY1" fmla="*/ 18334 h 18412"/>
                    <a:gd name="connsiteX2" fmla="*/ 18260 w 18339"/>
                    <a:gd name="connsiteY2" fmla="*/ 10439 h 18412"/>
                    <a:gd name="connsiteX3" fmla="*/ 10366 w 18339"/>
                    <a:gd name="connsiteY3" fmla="*/ 93 h 18412"/>
                    <a:gd name="connsiteX4" fmla="*/ 79 w 18339"/>
                    <a:gd name="connsiteY4" fmla="*/ 798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2">
                      <a:moveTo>
                        <a:pt x="79" y="7987"/>
                      </a:moveTo>
                      <a:cubicBezTo>
                        <a:pt x="-579" y="13011"/>
                        <a:pt x="2950" y="17676"/>
                        <a:pt x="7973" y="18334"/>
                      </a:cubicBezTo>
                      <a:cubicBezTo>
                        <a:pt x="12997" y="18992"/>
                        <a:pt x="17602" y="15463"/>
                        <a:pt x="18260" y="10439"/>
                      </a:cubicBezTo>
                      <a:cubicBezTo>
                        <a:pt x="18918" y="5416"/>
                        <a:pt x="15390" y="750"/>
                        <a:pt x="10366" y="93"/>
                      </a:cubicBezTo>
                      <a:cubicBezTo>
                        <a:pt x="5342" y="-625"/>
                        <a:pt x="737" y="2904"/>
                        <a:pt x="79" y="7987"/>
                      </a:cubicBezTo>
                      <a:close/>
                    </a:path>
                  </a:pathLst>
                </a:custGeom>
                <a:grpFill/>
                <a:ln w="5978" cap="flat">
                  <a:noFill/>
                  <a:prstDash val="solid"/>
                  <a:miter/>
                </a:ln>
              </p:spPr>
              <p:txBody>
                <a:bodyPr rtlCol="0" anchor="ctr"/>
                <a:lstStyle/>
                <a:p>
                  <a:endParaRPr lang="en-GB"/>
                </a:p>
              </p:txBody>
            </p:sp>
          </p:grpSp>
          <p:grpSp>
            <p:nvGrpSpPr>
              <p:cNvPr id="877" name="Graphic 3">
                <a:extLst>
                  <a:ext uri="{FF2B5EF4-FFF2-40B4-BE49-F238E27FC236}">
                    <a16:creationId xmlns:a16="http://schemas.microsoft.com/office/drawing/2014/main" id="{25BDDFA4-CE07-4596-8925-8F12A75BE4E3}"/>
                  </a:ext>
                </a:extLst>
              </p:cNvPr>
              <p:cNvGrpSpPr/>
              <p:nvPr/>
            </p:nvGrpSpPr>
            <p:grpSpPr>
              <a:xfrm>
                <a:off x="5706898" y="5070091"/>
                <a:ext cx="46442" cy="168331"/>
                <a:chOff x="5706898" y="5070091"/>
                <a:chExt cx="46442" cy="168331"/>
              </a:xfrm>
              <a:grpFill/>
            </p:grpSpPr>
            <p:sp>
              <p:nvSpPr>
                <p:cNvPr id="2767" name="Vrije vorm: vorm 2766">
                  <a:extLst>
                    <a:ext uri="{FF2B5EF4-FFF2-40B4-BE49-F238E27FC236}">
                      <a16:creationId xmlns:a16="http://schemas.microsoft.com/office/drawing/2014/main" id="{E9A874AA-3FFD-45A1-A38D-495A3A7A60A9}"/>
                    </a:ext>
                  </a:extLst>
                </p:cNvPr>
                <p:cNvSpPr/>
                <p:nvPr/>
              </p:nvSpPr>
              <p:spPr>
                <a:xfrm>
                  <a:off x="5714480" y="5078510"/>
                  <a:ext cx="31219" cy="151491"/>
                </a:xfrm>
                <a:custGeom>
                  <a:avLst/>
                  <a:gdLst>
                    <a:gd name="connsiteX0" fmla="*/ 31219 w 31219"/>
                    <a:gd name="connsiteY0" fmla="*/ 598 h 151491"/>
                    <a:gd name="connsiteX1" fmla="*/ 2990 w 31219"/>
                    <a:gd name="connsiteY1" fmla="*/ 151492 h 151491"/>
                    <a:gd name="connsiteX2" fmla="*/ 0 w 31219"/>
                    <a:gd name="connsiteY2" fmla="*/ 150893 h 151491"/>
                    <a:gd name="connsiteX3" fmla="*/ 28229 w 31219"/>
                    <a:gd name="connsiteY3" fmla="*/ 0 h 151491"/>
                  </a:gdLst>
                  <a:ahLst/>
                  <a:cxnLst>
                    <a:cxn ang="0">
                      <a:pos x="connsiteX0" y="connsiteY0"/>
                    </a:cxn>
                    <a:cxn ang="0">
                      <a:pos x="connsiteX1" y="connsiteY1"/>
                    </a:cxn>
                    <a:cxn ang="0">
                      <a:pos x="connsiteX2" y="connsiteY2"/>
                    </a:cxn>
                    <a:cxn ang="0">
                      <a:pos x="connsiteX3" y="connsiteY3"/>
                    </a:cxn>
                  </a:cxnLst>
                  <a:rect l="l" t="t" r="r" b="b"/>
                  <a:pathLst>
                    <a:path w="31219" h="151491">
                      <a:moveTo>
                        <a:pt x="31219" y="598"/>
                      </a:moveTo>
                      <a:lnTo>
                        <a:pt x="2990" y="151492"/>
                      </a:lnTo>
                      <a:lnTo>
                        <a:pt x="0" y="150893"/>
                      </a:lnTo>
                      <a:lnTo>
                        <a:pt x="28229" y="0"/>
                      </a:lnTo>
                      <a:close/>
                    </a:path>
                  </a:pathLst>
                </a:custGeom>
                <a:grpFill/>
                <a:ln w="5978" cap="flat">
                  <a:noFill/>
                  <a:prstDash val="solid"/>
                  <a:miter/>
                </a:ln>
              </p:spPr>
              <p:txBody>
                <a:bodyPr rtlCol="0" anchor="ctr"/>
                <a:lstStyle/>
                <a:p>
                  <a:endParaRPr lang="en-GB"/>
                </a:p>
              </p:txBody>
            </p:sp>
            <p:sp>
              <p:nvSpPr>
                <p:cNvPr id="2768" name="Vrije vorm: vorm 2767">
                  <a:extLst>
                    <a:ext uri="{FF2B5EF4-FFF2-40B4-BE49-F238E27FC236}">
                      <a16:creationId xmlns:a16="http://schemas.microsoft.com/office/drawing/2014/main" id="{D5E3EFF1-0946-4F6F-B0A9-DBF0B811A45D}"/>
                    </a:ext>
                  </a:extLst>
                </p:cNvPr>
                <p:cNvSpPr/>
                <p:nvPr/>
              </p:nvSpPr>
              <p:spPr>
                <a:xfrm>
                  <a:off x="5706898" y="5220025"/>
                  <a:ext cx="18333" cy="18397"/>
                </a:xfrm>
                <a:custGeom>
                  <a:avLst/>
                  <a:gdLst>
                    <a:gd name="connsiteX0" fmla="*/ 18168 w 18333"/>
                    <a:gd name="connsiteY0" fmla="*/ 10933 h 18397"/>
                    <a:gd name="connsiteX1" fmla="*/ 7462 w 18333"/>
                    <a:gd name="connsiteY1" fmla="*/ 18230 h 18397"/>
                    <a:gd name="connsiteX2" fmla="*/ 166 w 18333"/>
                    <a:gd name="connsiteY2" fmla="*/ 7464 h 18397"/>
                    <a:gd name="connsiteX3" fmla="*/ 10871 w 18333"/>
                    <a:gd name="connsiteY3" fmla="*/ 168 h 18397"/>
                    <a:gd name="connsiteX4" fmla="*/ 18168 w 18333"/>
                    <a:gd name="connsiteY4" fmla="*/ 109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7">
                      <a:moveTo>
                        <a:pt x="18168" y="10933"/>
                      </a:moveTo>
                      <a:cubicBezTo>
                        <a:pt x="17211" y="15957"/>
                        <a:pt x="12426" y="19186"/>
                        <a:pt x="7462" y="18230"/>
                      </a:cubicBezTo>
                      <a:cubicBezTo>
                        <a:pt x="2498" y="17273"/>
                        <a:pt x="-791" y="12428"/>
                        <a:pt x="166" y="7464"/>
                      </a:cubicBezTo>
                      <a:cubicBezTo>
                        <a:pt x="1123" y="2440"/>
                        <a:pt x="5907" y="-789"/>
                        <a:pt x="10871" y="168"/>
                      </a:cubicBezTo>
                      <a:cubicBezTo>
                        <a:pt x="15835" y="1125"/>
                        <a:pt x="19125" y="5969"/>
                        <a:pt x="18168" y="10933"/>
                      </a:cubicBezTo>
                      <a:close/>
                    </a:path>
                  </a:pathLst>
                </a:custGeom>
                <a:grpFill/>
                <a:ln w="5978" cap="flat">
                  <a:noFill/>
                  <a:prstDash val="solid"/>
                  <a:miter/>
                </a:ln>
              </p:spPr>
              <p:txBody>
                <a:bodyPr rtlCol="0" anchor="ctr"/>
                <a:lstStyle/>
                <a:p>
                  <a:endParaRPr lang="en-GB"/>
                </a:p>
              </p:txBody>
            </p:sp>
            <p:sp>
              <p:nvSpPr>
                <p:cNvPr id="2769" name="Vrije vorm: vorm 2768">
                  <a:extLst>
                    <a:ext uri="{FF2B5EF4-FFF2-40B4-BE49-F238E27FC236}">
                      <a16:creationId xmlns:a16="http://schemas.microsoft.com/office/drawing/2014/main" id="{40B8AF0C-69B3-4076-B55D-CF11D7F5372B}"/>
                    </a:ext>
                  </a:extLst>
                </p:cNvPr>
                <p:cNvSpPr/>
                <p:nvPr/>
              </p:nvSpPr>
              <p:spPr>
                <a:xfrm>
                  <a:off x="5735007" y="5070091"/>
                  <a:ext cx="18333" cy="18393"/>
                </a:xfrm>
                <a:custGeom>
                  <a:avLst/>
                  <a:gdLst>
                    <a:gd name="connsiteX0" fmla="*/ 18168 w 18333"/>
                    <a:gd name="connsiteY0" fmla="*/ 10931 h 18393"/>
                    <a:gd name="connsiteX1" fmla="*/ 10871 w 18333"/>
                    <a:gd name="connsiteY1" fmla="*/ 166 h 18393"/>
                    <a:gd name="connsiteX2" fmla="*/ 166 w 18333"/>
                    <a:gd name="connsiteY2" fmla="*/ 7462 h 18393"/>
                    <a:gd name="connsiteX3" fmla="*/ 7462 w 18333"/>
                    <a:gd name="connsiteY3" fmla="*/ 18227 h 18393"/>
                    <a:gd name="connsiteX4" fmla="*/ 18168 w 18333"/>
                    <a:gd name="connsiteY4" fmla="*/ 10931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8168" y="10931"/>
                      </a:moveTo>
                      <a:cubicBezTo>
                        <a:pt x="19124" y="5907"/>
                        <a:pt x="15835" y="1123"/>
                        <a:pt x="10871" y="166"/>
                      </a:cubicBezTo>
                      <a:cubicBezTo>
                        <a:pt x="5907" y="-791"/>
                        <a:pt x="1123" y="2498"/>
                        <a:pt x="166" y="7462"/>
                      </a:cubicBezTo>
                      <a:cubicBezTo>
                        <a:pt x="-791" y="12486"/>
                        <a:pt x="2498" y="17270"/>
                        <a:pt x="7462" y="18227"/>
                      </a:cubicBezTo>
                      <a:cubicBezTo>
                        <a:pt x="12426" y="19184"/>
                        <a:pt x="17211" y="15895"/>
                        <a:pt x="18168" y="10931"/>
                      </a:cubicBezTo>
                      <a:close/>
                    </a:path>
                  </a:pathLst>
                </a:custGeom>
                <a:grpFill/>
                <a:ln w="5978" cap="flat">
                  <a:noFill/>
                  <a:prstDash val="solid"/>
                  <a:miter/>
                </a:ln>
              </p:spPr>
              <p:txBody>
                <a:bodyPr rtlCol="0" anchor="ctr"/>
                <a:lstStyle/>
                <a:p>
                  <a:endParaRPr lang="en-GB"/>
                </a:p>
              </p:txBody>
            </p:sp>
          </p:grpSp>
          <p:grpSp>
            <p:nvGrpSpPr>
              <p:cNvPr id="878" name="Graphic 3">
                <a:extLst>
                  <a:ext uri="{FF2B5EF4-FFF2-40B4-BE49-F238E27FC236}">
                    <a16:creationId xmlns:a16="http://schemas.microsoft.com/office/drawing/2014/main" id="{94E59EE1-AA8B-43C9-8E52-1C4B5DDD17A8}"/>
                  </a:ext>
                </a:extLst>
              </p:cNvPr>
              <p:cNvGrpSpPr/>
              <p:nvPr/>
            </p:nvGrpSpPr>
            <p:grpSpPr>
              <a:xfrm>
                <a:off x="5871450" y="5458912"/>
                <a:ext cx="41732" cy="336171"/>
                <a:chOff x="5871450" y="5458912"/>
                <a:chExt cx="41732" cy="336171"/>
              </a:xfrm>
              <a:grpFill/>
            </p:grpSpPr>
            <p:sp>
              <p:nvSpPr>
                <p:cNvPr id="2764" name="Vrije vorm: vorm 2763">
                  <a:extLst>
                    <a:ext uri="{FF2B5EF4-FFF2-40B4-BE49-F238E27FC236}">
                      <a16:creationId xmlns:a16="http://schemas.microsoft.com/office/drawing/2014/main" id="{5BFDCD19-825E-4C3E-ABDA-3C6A541C2735}"/>
                    </a:ext>
                  </a:extLst>
                </p:cNvPr>
                <p:cNvSpPr/>
                <p:nvPr/>
              </p:nvSpPr>
              <p:spPr>
                <a:xfrm>
                  <a:off x="5879069" y="5467616"/>
                  <a:ext cx="26494" cy="318772"/>
                </a:xfrm>
                <a:custGeom>
                  <a:avLst/>
                  <a:gdLst>
                    <a:gd name="connsiteX0" fmla="*/ 26495 w 26494"/>
                    <a:gd name="connsiteY0" fmla="*/ 239 h 318772"/>
                    <a:gd name="connsiteX1" fmla="*/ 3050 w 26494"/>
                    <a:gd name="connsiteY1" fmla="*/ 318772 h 318772"/>
                    <a:gd name="connsiteX2" fmla="*/ 0 w 26494"/>
                    <a:gd name="connsiteY2" fmla="*/ 318533 h 318772"/>
                    <a:gd name="connsiteX3" fmla="*/ 23444 w 26494"/>
                    <a:gd name="connsiteY3" fmla="*/ 0 h 318772"/>
                  </a:gdLst>
                  <a:ahLst/>
                  <a:cxnLst>
                    <a:cxn ang="0">
                      <a:pos x="connsiteX0" y="connsiteY0"/>
                    </a:cxn>
                    <a:cxn ang="0">
                      <a:pos x="connsiteX1" y="connsiteY1"/>
                    </a:cxn>
                    <a:cxn ang="0">
                      <a:pos x="connsiteX2" y="connsiteY2"/>
                    </a:cxn>
                    <a:cxn ang="0">
                      <a:pos x="connsiteX3" y="connsiteY3"/>
                    </a:cxn>
                  </a:cxnLst>
                  <a:rect l="l" t="t" r="r" b="b"/>
                  <a:pathLst>
                    <a:path w="26494" h="318772">
                      <a:moveTo>
                        <a:pt x="26495" y="239"/>
                      </a:moveTo>
                      <a:lnTo>
                        <a:pt x="3050" y="318772"/>
                      </a:lnTo>
                      <a:lnTo>
                        <a:pt x="0" y="318533"/>
                      </a:lnTo>
                      <a:lnTo>
                        <a:pt x="23444" y="0"/>
                      </a:lnTo>
                      <a:close/>
                    </a:path>
                  </a:pathLst>
                </a:custGeom>
                <a:grpFill/>
                <a:ln w="5978" cap="flat">
                  <a:noFill/>
                  <a:prstDash val="solid"/>
                  <a:miter/>
                </a:ln>
              </p:spPr>
              <p:txBody>
                <a:bodyPr rtlCol="0" anchor="ctr"/>
                <a:lstStyle/>
                <a:p>
                  <a:endParaRPr lang="en-GB"/>
                </a:p>
              </p:txBody>
            </p:sp>
            <p:sp>
              <p:nvSpPr>
                <p:cNvPr id="2765" name="Vrije vorm: vorm 2764">
                  <a:extLst>
                    <a:ext uri="{FF2B5EF4-FFF2-40B4-BE49-F238E27FC236}">
                      <a16:creationId xmlns:a16="http://schemas.microsoft.com/office/drawing/2014/main" id="{5814B962-4CF9-4828-AD87-9333B5BC4BD4}"/>
                    </a:ext>
                  </a:extLst>
                </p:cNvPr>
                <p:cNvSpPr/>
                <p:nvPr/>
              </p:nvSpPr>
              <p:spPr>
                <a:xfrm>
                  <a:off x="5871450" y="5776616"/>
                  <a:ext cx="18347" cy="18467"/>
                </a:xfrm>
                <a:custGeom>
                  <a:avLst/>
                  <a:gdLst>
                    <a:gd name="connsiteX0" fmla="*/ 18324 w 18347"/>
                    <a:gd name="connsiteY0" fmla="*/ 9952 h 18467"/>
                    <a:gd name="connsiteX1" fmla="*/ 8516 w 18347"/>
                    <a:gd name="connsiteY1" fmla="*/ 18444 h 18467"/>
                    <a:gd name="connsiteX2" fmla="*/ 23 w 18347"/>
                    <a:gd name="connsiteY2" fmla="*/ 8517 h 18467"/>
                    <a:gd name="connsiteX3" fmla="*/ 9831 w 18347"/>
                    <a:gd name="connsiteY3" fmla="*/ 24 h 18467"/>
                    <a:gd name="connsiteX4" fmla="*/ 18324 w 18347"/>
                    <a:gd name="connsiteY4" fmla="*/ 995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67">
                      <a:moveTo>
                        <a:pt x="18324" y="9952"/>
                      </a:moveTo>
                      <a:cubicBezTo>
                        <a:pt x="17966" y="15035"/>
                        <a:pt x="13539" y="18803"/>
                        <a:pt x="8516" y="18444"/>
                      </a:cubicBezTo>
                      <a:cubicBezTo>
                        <a:pt x="3492" y="18026"/>
                        <a:pt x="-336" y="13600"/>
                        <a:pt x="23" y="8517"/>
                      </a:cubicBezTo>
                      <a:cubicBezTo>
                        <a:pt x="382" y="3433"/>
                        <a:pt x="4808" y="-335"/>
                        <a:pt x="9831" y="24"/>
                      </a:cubicBezTo>
                      <a:cubicBezTo>
                        <a:pt x="14915" y="442"/>
                        <a:pt x="18683" y="4868"/>
                        <a:pt x="18324" y="9952"/>
                      </a:cubicBezTo>
                      <a:close/>
                    </a:path>
                  </a:pathLst>
                </a:custGeom>
                <a:grpFill/>
                <a:ln w="5978" cap="flat">
                  <a:noFill/>
                  <a:prstDash val="solid"/>
                  <a:miter/>
                </a:ln>
              </p:spPr>
              <p:txBody>
                <a:bodyPr rtlCol="0" anchor="ctr"/>
                <a:lstStyle/>
                <a:p>
                  <a:endParaRPr lang="en-GB"/>
                </a:p>
              </p:txBody>
            </p:sp>
            <p:sp>
              <p:nvSpPr>
                <p:cNvPr id="2766" name="Vrije vorm: vorm 2765">
                  <a:extLst>
                    <a:ext uri="{FF2B5EF4-FFF2-40B4-BE49-F238E27FC236}">
                      <a16:creationId xmlns:a16="http://schemas.microsoft.com/office/drawing/2014/main" id="{0D8EADB3-1FFE-4177-A056-FE27BCA41105}"/>
                    </a:ext>
                  </a:extLst>
                </p:cNvPr>
                <p:cNvSpPr/>
                <p:nvPr/>
              </p:nvSpPr>
              <p:spPr>
                <a:xfrm>
                  <a:off x="5894835" y="5458912"/>
                  <a:ext cx="18348" cy="18483"/>
                </a:xfrm>
                <a:custGeom>
                  <a:avLst/>
                  <a:gdLst>
                    <a:gd name="connsiteX0" fmla="*/ 18325 w 18348"/>
                    <a:gd name="connsiteY0" fmla="*/ 9960 h 18483"/>
                    <a:gd name="connsiteX1" fmla="*/ 9832 w 18348"/>
                    <a:gd name="connsiteY1" fmla="*/ 31 h 18483"/>
                    <a:gd name="connsiteX2" fmla="*/ 24 w 18348"/>
                    <a:gd name="connsiteY2" fmla="*/ 8524 h 18483"/>
                    <a:gd name="connsiteX3" fmla="*/ 8516 w 18348"/>
                    <a:gd name="connsiteY3" fmla="*/ 18452 h 18483"/>
                    <a:gd name="connsiteX4" fmla="*/ 18325 w 18348"/>
                    <a:gd name="connsiteY4" fmla="*/ 9960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83">
                      <a:moveTo>
                        <a:pt x="18325" y="9960"/>
                      </a:moveTo>
                      <a:cubicBezTo>
                        <a:pt x="18683" y="4876"/>
                        <a:pt x="14916" y="450"/>
                        <a:pt x="9832" y="31"/>
                      </a:cubicBezTo>
                      <a:cubicBezTo>
                        <a:pt x="4808" y="-387"/>
                        <a:pt x="382" y="3440"/>
                        <a:pt x="24" y="8524"/>
                      </a:cubicBezTo>
                      <a:cubicBezTo>
                        <a:pt x="-335" y="13608"/>
                        <a:pt x="3433" y="18033"/>
                        <a:pt x="8516" y="18452"/>
                      </a:cubicBezTo>
                      <a:cubicBezTo>
                        <a:pt x="13540" y="18871"/>
                        <a:pt x="17966" y="15043"/>
                        <a:pt x="18325" y="9960"/>
                      </a:cubicBezTo>
                      <a:close/>
                    </a:path>
                  </a:pathLst>
                </a:custGeom>
                <a:grpFill/>
                <a:ln w="5978" cap="flat">
                  <a:noFill/>
                  <a:prstDash val="solid"/>
                  <a:miter/>
                </a:ln>
              </p:spPr>
              <p:txBody>
                <a:bodyPr rtlCol="0" anchor="ctr"/>
                <a:lstStyle/>
                <a:p>
                  <a:endParaRPr lang="en-GB"/>
                </a:p>
              </p:txBody>
            </p:sp>
          </p:grpSp>
          <p:grpSp>
            <p:nvGrpSpPr>
              <p:cNvPr id="879" name="Graphic 3">
                <a:extLst>
                  <a:ext uri="{FF2B5EF4-FFF2-40B4-BE49-F238E27FC236}">
                    <a16:creationId xmlns:a16="http://schemas.microsoft.com/office/drawing/2014/main" id="{8B4DFB7B-8BC5-4619-9978-1FD581A599F5}"/>
                  </a:ext>
                </a:extLst>
              </p:cNvPr>
              <p:cNvGrpSpPr/>
              <p:nvPr/>
            </p:nvGrpSpPr>
            <p:grpSpPr>
              <a:xfrm>
                <a:off x="4613727" y="1930444"/>
                <a:ext cx="56556" cy="57857"/>
                <a:chOff x="4613727" y="1930444"/>
                <a:chExt cx="56556" cy="57857"/>
              </a:xfrm>
              <a:grpFill/>
            </p:grpSpPr>
            <p:sp>
              <p:nvSpPr>
                <p:cNvPr id="2761" name="Vrije vorm: vorm 2760">
                  <a:extLst>
                    <a:ext uri="{FF2B5EF4-FFF2-40B4-BE49-F238E27FC236}">
                      <a16:creationId xmlns:a16="http://schemas.microsoft.com/office/drawing/2014/main" id="{85252EED-16FD-41CD-B75F-027F02087F22}"/>
                    </a:ext>
                  </a:extLst>
                </p:cNvPr>
                <p:cNvSpPr/>
                <p:nvPr/>
              </p:nvSpPr>
              <p:spPr>
                <a:xfrm>
                  <a:off x="4621503" y="1938272"/>
                  <a:ext cx="41027" cy="42164"/>
                </a:xfrm>
                <a:custGeom>
                  <a:avLst/>
                  <a:gdLst>
                    <a:gd name="connsiteX0" fmla="*/ 41028 w 41027"/>
                    <a:gd name="connsiteY0" fmla="*/ 40071 h 42164"/>
                    <a:gd name="connsiteX1" fmla="*/ 38875 w 41027"/>
                    <a:gd name="connsiteY1" fmla="*/ 42164 h 42164"/>
                    <a:gd name="connsiteX2" fmla="*/ 0 w 41027"/>
                    <a:gd name="connsiteY2" fmla="*/ 2093 h 42164"/>
                    <a:gd name="connsiteX3" fmla="*/ 2213 w 41027"/>
                    <a:gd name="connsiteY3" fmla="*/ 0 h 42164"/>
                  </a:gdLst>
                  <a:ahLst/>
                  <a:cxnLst>
                    <a:cxn ang="0">
                      <a:pos x="connsiteX0" y="connsiteY0"/>
                    </a:cxn>
                    <a:cxn ang="0">
                      <a:pos x="connsiteX1" y="connsiteY1"/>
                    </a:cxn>
                    <a:cxn ang="0">
                      <a:pos x="connsiteX2" y="connsiteY2"/>
                    </a:cxn>
                    <a:cxn ang="0">
                      <a:pos x="connsiteX3" y="connsiteY3"/>
                    </a:cxn>
                  </a:cxnLst>
                  <a:rect l="l" t="t" r="r" b="b"/>
                  <a:pathLst>
                    <a:path w="41027" h="42164">
                      <a:moveTo>
                        <a:pt x="41028" y="40071"/>
                      </a:moveTo>
                      <a:lnTo>
                        <a:pt x="38875" y="42164"/>
                      </a:lnTo>
                      <a:lnTo>
                        <a:pt x="0" y="2093"/>
                      </a:lnTo>
                      <a:lnTo>
                        <a:pt x="2213" y="0"/>
                      </a:lnTo>
                      <a:close/>
                    </a:path>
                  </a:pathLst>
                </a:custGeom>
                <a:grpFill/>
                <a:ln w="5978" cap="flat">
                  <a:noFill/>
                  <a:prstDash val="solid"/>
                  <a:miter/>
                </a:ln>
              </p:spPr>
              <p:txBody>
                <a:bodyPr rtlCol="0" anchor="ctr"/>
                <a:lstStyle/>
                <a:p>
                  <a:endParaRPr lang="en-GB"/>
                </a:p>
              </p:txBody>
            </p:sp>
            <p:sp>
              <p:nvSpPr>
                <p:cNvPr id="2762" name="Vrije vorm: vorm 2761">
                  <a:extLst>
                    <a:ext uri="{FF2B5EF4-FFF2-40B4-BE49-F238E27FC236}">
                      <a16:creationId xmlns:a16="http://schemas.microsoft.com/office/drawing/2014/main" id="{29CEC16D-F32D-4D12-984F-774B391CA4B6}"/>
                    </a:ext>
                  </a:extLst>
                </p:cNvPr>
                <p:cNvSpPr/>
                <p:nvPr/>
              </p:nvSpPr>
              <p:spPr>
                <a:xfrm>
                  <a:off x="4651966" y="1969857"/>
                  <a:ext cx="18316" cy="18444"/>
                </a:xfrm>
                <a:custGeom>
                  <a:avLst/>
                  <a:gdLst>
                    <a:gd name="connsiteX0" fmla="*/ 15707 w 18316"/>
                    <a:gd name="connsiteY0" fmla="*/ 2805 h 18444"/>
                    <a:gd name="connsiteX1" fmla="*/ 15588 w 18316"/>
                    <a:gd name="connsiteY1" fmla="*/ 15843 h 18444"/>
                    <a:gd name="connsiteX2" fmla="*/ 2610 w 18316"/>
                    <a:gd name="connsiteY2" fmla="*/ 15663 h 18444"/>
                    <a:gd name="connsiteX3" fmla="*/ 2729 w 18316"/>
                    <a:gd name="connsiteY3" fmla="*/ 2625 h 18444"/>
                    <a:gd name="connsiteX4" fmla="*/ 15707 w 18316"/>
                    <a:gd name="connsiteY4" fmla="*/ 280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15707" y="2805"/>
                      </a:moveTo>
                      <a:cubicBezTo>
                        <a:pt x="19236" y="6453"/>
                        <a:pt x="19176" y="12314"/>
                        <a:pt x="15588" y="15843"/>
                      </a:cubicBezTo>
                      <a:cubicBezTo>
                        <a:pt x="11999" y="19371"/>
                        <a:pt x="6138" y="19311"/>
                        <a:pt x="2610" y="15663"/>
                      </a:cubicBezTo>
                      <a:cubicBezTo>
                        <a:pt x="-919" y="12015"/>
                        <a:pt x="-859" y="6154"/>
                        <a:pt x="2729" y="2625"/>
                      </a:cubicBezTo>
                      <a:cubicBezTo>
                        <a:pt x="6377" y="-963"/>
                        <a:pt x="12179" y="-844"/>
                        <a:pt x="15707" y="2805"/>
                      </a:cubicBezTo>
                      <a:close/>
                    </a:path>
                  </a:pathLst>
                </a:custGeom>
                <a:grpFill/>
                <a:ln w="5978" cap="flat">
                  <a:noFill/>
                  <a:prstDash val="solid"/>
                  <a:miter/>
                </a:ln>
              </p:spPr>
              <p:txBody>
                <a:bodyPr rtlCol="0" anchor="ctr"/>
                <a:lstStyle/>
                <a:p>
                  <a:endParaRPr lang="en-GB"/>
                </a:p>
              </p:txBody>
            </p:sp>
            <p:sp>
              <p:nvSpPr>
                <p:cNvPr id="2763" name="Vrije vorm: vorm 2762">
                  <a:extLst>
                    <a:ext uri="{FF2B5EF4-FFF2-40B4-BE49-F238E27FC236}">
                      <a16:creationId xmlns:a16="http://schemas.microsoft.com/office/drawing/2014/main" id="{3CE68874-E8B0-41EA-AA5D-9C6B0F6AA44C}"/>
                    </a:ext>
                  </a:extLst>
                </p:cNvPr>
                <p:cNvSpPr/>
                <p:nvPr/>
              </p:nvSpPr>
              <p:spPr>
                <a:xfrm>
                  <a:off x="4613727" y="1930444"/>
                  <a:ext cx="18339" cy="18444"/>
                </a:xfrm>
                <a:custGeom>
                  <a:avLst/>
                  <a:gdLst>
                    <a:gd name="connsiteX0" fmla="*/ 15730 w 18339"/>
                    <a:gd name="connsiteY0" fmla="*/ 2805 h 18444"/>
                    <a:gd name="connsiteX1" fmla="*/ 2752 w 18339"/>
                    <a:gd name="connsiteY1" fmla="*/ 2625 h 18444"/>
                    <a:gd name="connsiteX2" fmla="*/ 2632 w 18339"/>
                    <a:gd name="connsiteY2" fmla="*/ 15663 h 18444"/>
                    <a:gd name="connsiteX3" fmla="*/ 15611 w 18339"/>
                    <a:gd name="connsiteY3" fmla="*/ 15843 h 18444"/>
                    <a:gd name="connsiteX4" fmla="*/ 15730 w 18339"/>
                    <a:gd name="connsiteY4" fmla="*/ 280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15730" y="2805"/>
                      </a:moveTo>
                      <a:cubicBezTo>
                        <a:pt x="12201" y="-844"/>
                        <a:pt x="6400" y="-963"/>
                        <a:pt x="2752" y="2625"/>
                      </a:cubicBezTo>
                      <a:cubicBezTo>
                        <a:pt x="-836" y="6154"/>
                        <a:pt x="-956" y="12015"/>
                        <a:pt x="2632" y="15663"/>
                      </a:cubicBezTo>
                      <a:cubicBezTo>
                        <a:pt x="6161" y="19311"/>
                        <a:pt x="11962" y="19371"/>
                        <a:pt x="15611" y="15843"/>
                      </a:cubicBezTo>
                      <a:cubicBezTo>
                        <a:pt x="19199" y="12254"/>
                        <a:pt x="19259" y="6453"/>
                        <a:pt x="15730" y="2805"/>
                      </a:cubicBezTo>
                      <a:close/>
                    </a:path>
                  </a:pathLst>
                </a:custGeom>
                <a:grpFill/>
                <a:ln w="5978" cap="flat">
                  <a:noFill/>
                  <a:prstDash val="solid"/>
                  <a:miter/>
                </a:ln>
              </p:spPr>
              <p:txBody>
                <a:bodyPr rtlCol="0" anchor="ctr"/>
                <a:lstStyle/>
                <a:p>
                  <a:endParaRPr lang="en-GB"/>
                </a:p>
              </p:txBody>
            </p:sp>
          </p:grpSp>
          <p:grpSp>
            <p:nvGrpSpPr>
              <p:cNvPr id="880" name="Graphic 3">
                <a:extLst>
                  <a:ext uri="{FF2B5EF4-FFF2-40B4-BE49-F238E27FC236}">
                    <a16:creationId xmlns:a16="http://schemas.microsoft.com/office/drawing/2014/main" id="{CA2F146A-A38A-4348-9AD3-8BA2FD8BE483}"/>
                  </a:ext>
                </a:extLst>
              </p:cNvPr>
              <p:cNvGrpSpPr/>
              <p:nvPr/>
            </p:nvGrpSpPr>
            <p:grpSpPr>
              <a:xfrm>
                <a:off x="4632290" y="2002714"/>
                <a:ext cx="103624" cy="103249"/>
                <a:chOff x="4632290" y="2002714"/>
                <a:chExt cx="103624" cy="103249"/>
              </a:xfrm>
              <a:grpFill/>
            </p:grpSpPr>
            <p:sp>
              <p:nvSpPr>
                <p:cNvPr id="2758" name="Vrije vorm: vorm 2757">
                  <a:extLst>
                    <a:ext uri="{FF2B5EF4-FFF2-40B4-BE49-F238E27FC236}">
                      <a16:creationId xmlns:a16="http://schemas.microsoft.com/office/drawing/2014/main" id="{67B5B1C9-C32A-40EA-9932-1CE5C6380864}"/>
                    </a:ext>
                  </a:extLst>
                </p:cNvPr>
                <p:cNvSpPr/>
                <p:nvPr/>
              </p:nvSpPr>
              <p:spPr>
                <a:xfrm>
                  <a:off x="4640043" y="2010519"/>
                  <a:ext cx="88095" cy="87617"/>
                </a:xfrm>
                <a:custGeom>
                  <a:avLst/>
                  <a:gdLst>
                    <a:gd name="connsiteX0" fmla="*/ 88096 w 88095"/>
                    <a:gd name="connsiteY0" fmla="*/ 85464 h 87617"/>
                    <a:gd name="connsiteX1" fmla="*/ 85943 w 88095"/>
                    <a:gd name="connsiteY1" fmla="*/ 87618 h 87617"/>
                    <a:gd name="connsiteX2" fmla="*/ 0 w 88095"/>
                    <a:gd name="connsiteY2" fmla="*/ 2153 h 87617"/>
                    <a:gd name="connsiteX3" fmla="*/ 2153 w 88095"/>
                    <a:gd name="connsiteY3" fmla="*/ 0 h 87617"/>
                  </a:gdLst>
                  <a:ahLst/>
                  <a:cxnLst>
                    <a:cxn ang="0">
                      <a:pos x="connsiteX0" y="connsiteY0"/>
                    </a:cxn>
                    <a:cxn ang="0">
                      <a:pos x="connsiteX1" y="connsiteY1"/>
                    </a:cxn>
                    <a:cxn ang="0">
                      <a:pos x="connsiteX2" y="connsiteY2"/>
                    </a:cxn>
                    <a:cxn ang="0">
                      <a:pos x="connsiteX3" y="connsiteY3"/>
                    </a:cxn>
                  </a:cxnLst>
                  <a:rect l="l" t="t" r="r" b="b"/>
                  <a:pathLst>
                    <a:path w="88095" h="87617">
                      <a:moveTo>
                        <a:pt x="88096" y="85464"/>
                      </a:moveTo>
                      <a:lnTo>
                        <a:pt x="85943" y="87618"/>
                      </a:lnTo>
                      <a:lnTo>
                        <a:pt x="0" y="2153"/>
                      </a:lnTo>
                      <a:lnTo>
                        <a:pt x="2153" y="0"/>
                      </a:lnTo>
                      <a:close/>
                    </a:path>
                  </a:pathLst>
                </a:custGeom>
                <a:grpFill/>
                <a:ln w="5978" cap="flat">
                  <a:noFill/>
                  <a:prstDash val="solid"/>
                  <a:miter/>
                </a:ln>
              </p:spPr>
              <p:txBody>
                <a:bodyPr rtlCol="0" anchor="ctr"/>
                <a:lstStyle/>
                <a:p>
                  <a:endParaRPr lang="en-GB"/>
                </a:p>
              </p:txBody>
            </p:sp>
            <p:sp>
              <p:nvSpPr>
                <p:cNvPr id="2759" name="Vrije vorm: vorm 2758">
                  <a:extLst>
                    <a:ext uri="{FF2B5EF4-FFF2-40B4-BE49-F238E27FC236}">
                      <a16:creationId xmlns:a16="http://schemas.microsoft.com/office/drawing/2014/main" id="{4CF9E6FB-449F-48B6-BED4-2491B1E50972}"/>
                    </a:ext>
                  </a:extLst>
                </p:cNvPr>
                <p:cNvSpPr/>
                <p:nvPr/>
              </p:nvSpPr>
              <p:spPr>
                <a:xfrm>
                  <a:off x="4632290" y="2002714"/>
                  <a:ext cx="18316" cy="18420"/>
                </a:xfrm>
                <a:custGeom>
                  <a:avLst/>
                  <a:gdLst>
                    <a:gd name="connsiteX0" fmla="*/ 2729 w 18316"/>
                    <a:gd name="connsiteY0" fmla="*/ 15759 h 18420"/>
                    <a:gd name="connsiteX1" fmla="*/ 2610 w 18316"/>
                    <a:gd name="connsiteY1" fmla="*/ 2721 h 18420"/>
                    <a:gd name="connsiteX2" fmla="*/ 15588 w 18316"/>
                    <a:gd name="connsiteY2" fmla="*/ 2662 h 18420"/>
                    <a:gd name="connsiteX3" fmla="*/ 15707 w 18316"/>
                    <a:gd name="connsiteY3" fmla="*/ 15700 h 18420"/>
                    <a:gd name="connsiteX4" fmla="*/ 2729 w 18316"/>
                    <a:gd name="connsiteY4" fmla="*/ 1575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0">
                      <a:moveTo>
                        <a:pt x="2729" y="15759"/>
                      </a:moveTo>
                      <a:cubicBezTo>
                        <a:pt x="-859" y="12171"/>
                        <a:pt x="-919" y="6370"/>
                        <a:pt x="2610" y="2721"/>
                      </a:cubicBezTo>
                      <a:cubicBezTo>
                        <a:pt x="6138" y="-867"/>
                        <a:pt x="11940" y="-927"/>
                        <a:pt x="15588" y="2662"/>
                      </a:cubicBezTo>
                      <a:cubicBezTo>
                        <a:pt x="19176" y="6250"/>
                        <a:pt x="19236" y="12051"/>
                        <a:pt x="15707" y="15700"/>
                      </a:cubicBezTo>
                      <a:cubicBezTo>
                        <a:pt x="12119" y="19288"/>
                        <a:pt x="6318" y="19348"/>
                        <a:pt x="2729" y="15759"/>
                      </a:cubicBezTo>
                      <a:close/>
                    </a:path>
                  </a:pathLst>
                </a:custGeom>
                <a:grpFill/>
                <a:ln w="5978" cap="flat">
                  <a:noFill/>
                  <a:prstDash val="solid"/>
                  <a:miter/>
                </a:ln>
              </p:spPr>
              <p:txBody>
                <a:bodyPr rtlCol="0" anchor="ctr"/>
                <a:lstStyle/>
                <a:p>
                  <a:endParaRPr lang="en-GB"/>
                </a:p>
              </p:txBody>
            </p:sp>
            <p:sp>
              <p:nvSpPr>
                <p:cNvPr id="2760" name="Vrije vorm: vorm 2759">
                  <a:extLst>
                    <a:ext uri="{FF2B5EF4-FFF2-40B4-BE49-F238E27FC236}">
                      <a16:creationId xmlns:a16="http://schemas.microsoft.com/office/drawing/2014/main" id="{697D07BB-E1E6-423B-AA0A-E596BD85AD0F}"/>
                    </a:ext>
                  </a:extLst>
                </p:cNvPr>
                <p:cNvSpPr/>
                <p:nvPr/>
              </p:nvSpPr>
              <p:spPr>
                <a:xfrm>
                  <a:off x="4717575" y="2087499"/>
                  <a:ext cx="18338" cy="18465"/>
                </a:xfrm>
                <a:custGeom>
                  <a:avLst/>
                  <a:gdLst>
                    <a:gd name="connsiteX0" fmla="*/ 2729 w 18338"/>
                    <a:gd name="connsiteY0" fmla="*/ 15782 h 18465"/>
                    <a:gd name="connsiteX1" fmla="*/ 15707 w 18338"/>
                    <a:gd name="connsiteY1" fmla="*/ 15722 h 18465"/>
                    <a:gd name="connsiteX2" fmla="*/ 15588 w 18338"/>
                    <a:gd name="connsiteY2" fmla="*/ 2684 h 18465"/>
                    <a:gd name="connsiteX3" fmla="*/ 2610 w 18338"/>
                    <a:gd name="connsiteY3" fmla="*/ 2744 h 18465"/>
                    <a:gd name="connsiteX4" fmla="*/ 2729 w 18338"/>
                    <a:gd name="connsiteY4" fmla="*/ 1578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5">
                      <a:moveTo>
                        <a:pt x="2729" y="15782"/>
                      </a:moveTo>
                      <a:cubicBezTo>
                        <a:pt x="6318" y="19370"/>
                        <a:pt x="12119" y="19370"/>
                        <a:pt x="15707" y="15722"/>
                      </a:cubicBezTo>
                      <a:cubicBezTo>
                        <a:pt x="19236" y="12133"/>
                        <a:pt x="19236" y="6272"/>
                        <a:pt x="15588" y="2684"/>
                      </a:cubicBezTo>
                      <a:cubicBezTo>
                        <a:pt x="11999" y="-905"/>
                        <a:pt x="6198" y="-905"/>
                        <a:pt x="2610" y="2744"/>
                      </a:cubicBezTo>
                      <a:cubicBezTo>
                        <a:pt x="-919" y="6332"/>
                        <a:pt x="-859" y="12193"/>
                        <a:pt x="2729" y="15782"/>
                      </a:cubicBezTo>
                      <a:close/>
                    </a:path>
                  </a:pathLst>
                </a:custGeom>
                <a:grpFill/>
                <a:ln w="5978" cap="flat">
                  <a:noFill/>
                  <a:prstDash val="solid"/>
                  <a:miter/>
                </a:ln>
              </p:spPr>
              <p:txBody>
                <a:bodyPr rtlCol="0" anchor="ctr"/>
                <a:lstStyle/>
                <a:p>
                  <a:endParaRPr lang="en-GB"/>
                </a:p>
              </p:txBody>
            </p:sp>
          </p:grpSp>
          <p:grpSp>
            <p:nvGrpSpPr>
              <p:cNvPr id="881" name="Graphic 3">
                <a:extLst>
                  <a:ext uri="{FF2B5EF4-FFF2-40B4-BE49-F238E27FC236}">
                    <a16:creationId xmlns:a16="http://schemas.microsoft.com/office/drawing/2014/main" id="{E0E3DE5B-CEFC-46FF-9281-565050637E91}"/>
                  </a:ext>
                </a:extLst>
              </p:cNvPr>
              <p:cNvGrpSpPr/>
              <p:nvPr/>
            </p:nvGrpSpPr>
            <p:grpSpPr>
              <a:xfrm>
                <a:off x="5739094" y="5082908"/>
                <a:ext cx="138488" cy="707931"/>
                <a:chOff x="5739094" y="5082908"/>
                <a:chExt cx="138488" cy="707931"/>
              </a:xfrm>
              <a:grpFill/>
            </p:grpSpPr>
            <p:sp>
              <p:nvSpPr>
                <p:cNvPr id="2755" name="Vrije vorm: vorm 2754">
                  <a:extLst>
                    <a:ext uri="{FF2B5EF4-FFF2-40B4-BE49-F238E27FC236}">
                      <a16:creationId xmlns:a16="http://schemas.microsoft.com/office/drawing/2014/main" id="{3EC55F2C-17DB-4256-88C1-806F90D142CD}"/>
                    </a:ext>
                  </a:extLst>
                </p:cNvPr>
                <p:cNvSpPr/>
                <p:nvPr/>
              </p:nvSpPr>
              <p:spPr>
                <a:xfrm>
                  <a:off x="5746656" y="5091369"/>
                  <a:ext cx="123382" cy="690952"/>
                </a:xfrm>
                <a:custGeom>
                  <a:avLst/>
                  <a:gdLst>
                    <a:gd name="connsiteX0" fmla="*/ 123382 w 123382"/>
                    <a:gd name="connsiteY0" fmla="*/ 538 h 690952"/>
                    <a:gd name="connsiteX1" fmla="*/ 2990 w 123382"/>
                    <a:gd name="connsiteY1" fmla="*/ 690953 h 690952"/>
                    <a:gd name="connsiteX2" fmla="*/ 0 w 123382"/>
                    <a:gd name="connsiteY2" fmla="*/ 690415 h 690952"/>
                    <a:gd name="connsiteX3" fmla="*/ 120332 w 123382"/>
                    <a:gd name="connsiteY3" fmla="*/ 0 h 690952"/>
                  </a:gdLst>
                  <a:ahLst/>
                  <a:cxnLst>
                    <a:cxn ang="0">
                      <a:pos x="connsiteX0" y="connsiteY0"/>
                    </a:cxn>
                    <a:cxn ang="0">
                      <a:pos x="connsiteX1" y="connsiteY1"/>
                    </a:cxn>
                    <a:cxn ang="0">
                      <a:pos x="connsiteX2" y="connsiteY2"/>
                    </a:cxn>
                    <a:cxn ang="0">
                      <a:pos x="connsiteX3" y="connsiteY3"/>
                    </a:cxn>
                  </a:cxnLst>
                  <a:rect l="l" t="t" r="r" b="b"/>
                  <a:pathLst>
                    <a:path w="123382" h="690952">
                      <a:moveTo>
                        <a:pt x="123382" y="538"/>
                      </a:moveTo>
                      <a:lnTo>
                        <a:pt x="2990" y="690953"/>
                      </a:lnTo>
                      <a:lnTo>
                        <a:pt x="0" y="690415"/>
                      </a:lnTo>
                      <a:lnTo>
                        <a:pt x="120332" y="0"/>
                      </a:lnTo>
                      <a:close/>
                    </a:path>
                  </a:pathLst>
                </a:custGeom>
                <a:grpFill/>
                <a:ln w="5978" cap="flat">
                  <a:noFill/>
                  <a:prstDash val="solid"/>
                  <a:miter/>
                </a:ln>
              </p:spPr>
              <p:txBody>
                <a:bodyPr rtlCol="0" anchor="ctr"/>
                <a:lstStyle/>
                <a:p>
                  <a:endParaRPr lang="en-GB"/>
                </a:p>
              </p:txBody>
            </p:sp>
            <p:sp>
              <p:nvSpPr>
                <p:cNvPr id="2756" name="Vrije vorm: vorm 2755">
                  <a:extLst>
                    <a:ext uri="{FF2B5EF4-FFF2-40B4-BE49-F238E27FC236}">
                      <a16:creationId xmlns:a16="http://schemas.microsoft.com/office/drawing/2014/main" id="{4CD16B29-B79C-4C21-A771-CB822BB271B2}"/>
                    </a:ext>
                  </a:extLst>
                </p:cNvPr>
                <p:cNvSpPr/>
                <p:nvPr/>
              </p:nvSpPr>
              <p:spPr>
                <a:xfrm>
                  <a:off x="5859263" y="5082908"/>
                  <a:ext cx="18320" cy="18416"/>
                </a:xfrm>
                <a:custGeom>
                  <a:avLst/>
                  <a:gdLst>
                    <a:gd name="connsiteX0" fmla="*/ 130 w 18320"/>
                    <a:gd name="connsiteY0" fmla="*/ 7563 h 18416"/>
                    <a:gd name="connsiteX1" fmla="*/ 10716 w 18320"/>
                    <a:gd name="connsiteY1" fmla="*/ 147 h 18416"/>
                    <a:gd name="connsiteX2" fmla="*/ 18192 w 18320"/>
                    <a:gd name="connsiteY2" fmla="*/ 10853 h 18416"/>
                    <a:gd name="connsiteX3" fmla="*/ 7606 w 18320"/>
                    <a:gd name="connsiteY3" fmla="*/ 18269 h 18416"/>
                    <a:gd name="connsiteX4" fmla="*/ 130 w 18320"/>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6">
                      <a:moveTo>
                        <a:pt x="130" y="7563"/>
                      </a:moveTo>
                      <a:cubicBezTo>
                        <a:pt x="1027" y="2539"/>
                        <a:pt x="5752" y="-750"/>
                        <a:pt x="10716" y="147"/>
                      </a:cubicBezTo>
                      <a:cubicBezTo>
                        <a:pt x="15680" y="1044"/>
                        <a:pt x="19029" y="5829"/>
                        <a:pt x="18192" y="10853"/>
                      </a:cubicBezTo>
                      <a:cubicBezTo>
                        <a:pt x="17295" y="15877"/>
                        <a:pt x="12570" y="19166"/>
                        <a:pt x="7606" y="18269"/>
                      </a:cubicBezTo>
                      <a:cubicBezTo>
                        <a:pt x="2582" y="17372"/>
                        <a:pt x="-707" y="12528"/>
                        <a:pt x="130" y="7563"/>
                      </a:cubicBezTo>
                      <a:close/>
                    </a:path>
                  </a:pathLst>
                </a:custGeom>
                <a:grpFill/>
                <a:ln w="5978" cap="flat">
                  <a:noFill/>
                  <a:prstDash val="solid"/>
                  <a:miter/>
                </a:ln>
              </p:spPr>
              <p:txBody>
                <a:bodyPr rtlCol="0" anchor="ctr"/>
                <a:lstStyle/>
                <a:p>
                  <a:endParaRPr lang="en-GB"/>
                </a:p>
              </p:txBody>
            </p:sp>
            <p:sp>
              <p:nvSpPr>
                <p:cNvPr id="2757" name="Vrije vorm: vorm 2756">
                  <a:extLst>
                    <a:ext uri="{FF2B5EF4-FFF2-40B4-BE49-F238E27FC236}">
                      <a16:creationId xmlns:a16="http://schemas.microsoft.com/office/drawing/2014/main" id="{3704F5BA-E51D-4FDB-AAD8-2688D698B643}"/>
                    </a:ext>
                  </a:extLst>
                </p:cNvPr>
                <p:cNvSpPr/>
                <p:nvPr/>
              </p:nvSpPr>
              <p:spPr>
                <a:xfrm>
                  <a:off x="5739094" y="5772425"/>
                  <a:ext cx="18352" cy="18414"/>
                </a:xfrm>
                <a:custGeom>
                  <a:avLst/>
                  <a:gdLst>
                    <a:gd name="connsiteX0" fmla="*/ 145 w 18352"/>
                    <a:gd name="connsiteY0" fmla="*/ 7563 h 18414"/>
                    <a:gd name="connsiteX1" fmla="*/ 7621 w 18352"/>
                    <a:gd name="connsiteY1" fmla="*/ 18269 h 18414"/>
                    <a:gd name="connsiteX2" fmla="*/ 18207 w 18352"/>
                    <a:gd name="connsiteY2" fmla="*/ 10853 h 18414"/>
                    <a:gd name="connsiteX3" fmla="*/ 10731 w 18352"/>
                    <a:gd name="connsiteY3" fmla="*/ 147 h 18414"/>
                    <a:gd name="connsiteX4" fmla="*/ 145 w 18352"/>
                    <a:gd name="connsiteY4" fmla="*/ 756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145" y="7563"/>
                      </a:moveTo>
                      <a:cubicBezTo>
                        <a:pt x="-752" y="12587"/>
                        <a:pt x="2598" y="17372"/>
                        <a:pt x="7621" y="18269"/>
                      </a:cubicBezTo>
                      <a:cubicBezTo>
                        <a:pt x="12585" y="19166"/>
                        <a:pt x="17370" y="15817"/>
                        <a:pt x="18207" y="10853"/>
                      </a:cubicBezTo>
                      <a:cubicBezTo>
                        <a:pt x="19104" y="5829"/>
                        <a:pt x="15755" y="1045"/>
                        <a:pt x="10731" y="147"/>
                      </a:cubicBezTo>
                      <a:cubicBezTo>
                        <a:pt x="5767" y="-750"/>
                        <a:pt x="983" y="2540"/>
                        <a:pt x="145" y="7563"/>
                      </a:cubicBezTo>
                      <a:close/>
                    </a:path>
                  </a:pathLst>
                </a:custGeom>
                <a:grpFill/>
                <a:ln w="5978" cap="flat">
                  <a:noFill/>
                  <a:prstDash val="solid"/>
                  <a:miter/>
                </a:ln>
              </p:spPr>
              <p:txBody>
                <a:bodyPr rtlCol="0" anchor="ctr"/>
                <a:lstStyle/>
                <a:p>
                  <a:endParaRPr lang="en-GB"/>
                </a:p>
              </p:txBody>
            </p:sp>
          </p:grpSp>
          <p:grpSp>
            <p:nvGrpSpPr>
              <p:cNvPr id="882" name="Graphic 3">
                <a:extLst>
                  <a:ext uri="{FF2B5EF4-FFF2-40B4-BE49-F238E27FC236}">
                    <a16:creationId xmlns:a16="http://schemas.microsoft.com/office/drawing/2014/main" id="{E5551652-4BCE-4873-91F3-0D540DBDCDDE}"/>
                  </a:ext>
                </a:extLst>
              </p:cNvPr>
              <p:cNvGrpSpPr/>
              <p:nvPr/>
            </p:nvGrpSpPr>
            <p:grpSpPr>
              <a:xfrm>
                <a:off x="4686435" y="2199405"/>
                <a:ext cx="114986" cy="104334"/>
                <a:chOff x="4686435" y="2199405"/>
                <a:chExt cx="114986" cy="104334"/>
              </a:xfrm>
              <a:grpFill/>
            </p:grpSpPr>
            <p:sp>
              <p:nvSpPr>
                <p:cNvPr id="2752" name="Vrije vorm: vorm 2751">
                  <a:extLst>
                    <a:ext uri="{FF2B5EF4-FFF2-40B4-BE49-F238E27FC236}">
                      <a16:creationId xmlns:a16="http://schemas.microsoft.com/office/drawing/2014/main" id="{8D6D148D-BE68-481C-A089-148E8901DA01}"/>
                    </a:ext>
                  </a:extLst>
                </p:cNvPr>
                <p:cNvSpPr/>
                <p:nvPr/>
              </p:nvSpPr>
              <p:spPr>
                <a:xfrm>
                  <a:off x="4694228" y="2207166"/>
                  <a:ext cx="99399" cy="88813"/>
                </a:xfrm>
                <a:custGeom>
                  <a:avLst/>
                  <a:gdLst>
                    <a:gd name="connsiteX0" fmla="*/ 99400 w 99399"/>
                    <a:gd name="connsiteY0" fmla="*/ 86541 h 88813"/>
                    <a:gd name="connsiteX1" fmla="*/ 97366 w 99399"/>
                    <a:gd name="connsiteY1" fmla="*/ 88814 h 88813"/>
                    <a:gd name="connsiteX2" fmla="*/ 0 w 99399"/>
                    <a:gd name="connsiteY2" fmla="*/ 2273 h 88813"/>
                    <a:gd name="connsiteX3" fmla="*/ 2034 w 99399"/>
                    <a:gd name="connsiteY3" fmla="*/ 0 h 88813"/>
                  </a:gdLst>
                  <a:ahLst/>
                  <a:cxnLst>
                    <a:cxn ang="0">
                      <a:pos x="connsiteX0" y="connsiteY0"/>
                    </a:cxn>
                    <a:cxn ang="0">
                      <a:pos x="connsiteX1" y="connsiteY1"/>
                    </a:cxn>
                    <a:cxn ang="0">
                      <a:pos x="connsiteX2" y="connsiteY2"/>
                    </a:cxn>
                    <a:cxn ang="0">
                      <a:pos x="connsiteX3" y="connsiteY3"/>
                    </a:cxn>
                  </a:cxnLst>
                  <a:rect l="l" t="t" r="r" b="b"/>
                  <a:pathLst>
                    <a:path w="99399" h="88813">
                      <a:moveTo>
                        <a:pt x="99400" y="86541"/>
                      </a:moveTo>
                      <a:lnTo>
                        <a:pt x="97366" y="88814"/>
                      </a:lnTo>
                      <a:lnTo>
                        <a:pt x="0" y="2273"/>
                      </a:lnTo>
                      <a:lnTo>
                        <a:pt x="2034" y="0"/>
                      </a:lnTo>
                      <a:close/>
                    </a:path>
                  </a:pathLst>
                </a:custGeom>
                <a:grpFill/>
                <a:ln w="5978" cap="flat">
                  <a:noFill/>
                  <a:prstDash val="solid"/>
                  <a:miter/>
                </a:ln>
              </p:spPr>
              <p:txBody>
                <a:bodyPr rtlCol="0" anchor="ctr"/>
                <a:lstStyle/>
                <a:p>
                  <a:endParaRPr lang="en-GB"/>
                </a:p>
              </p:txBody>
            </p:sp>
            <p:sp>
              <p:nvSpPr>
                <p:cNvPr id="2753" name="Vrije vorm: vorm 2752">
                  <a:extLst>
                    <a:ext uri="{FF2B5EF4-FFF2-40B4-BE49-F238E27FC236}">
                      <a16:creationId xmlns:a16="http://schemas.microsoft.com/office/drawing/2014/main" id="{681D2EB5-A804-4722-B6EC-217204D963C9}"/>
                    </a:ext>
                  </a:extLst>
                </p:cNvPr>
                <p:cNvSpPr/>
                <p:nvPr/>
              </p:nvSpPr>
              <p:spPr>
                <a:xfrm>
                  <a:off x="4686435" y="2199405"/>
                  <a:ext cx="18338" cy="18415"/>
                </a:xfrm>
                <a:custGeom>
                  <a:avLst/>
                  <a:gdLst>
                    <a:gd name="connsiteX0" fmla="*/ 3128 w 18338"/>
                    <a:gd name="connsiteY0" fmla="*/ 16073 h 18415"/>
                    <a:gd name="connsiteX1" fmla="*/ 2291 w 18338"/>
                    <a:gd name="connsiteY1" fmla="*/ 3095 h 18415"/>
                    <a:gd name="connsiteX2" fmla="*/ 15210 w 18338"/>
                    <a:gd name="connsiteY2" fmla="*/ 2318 h 18415"/>
                    <a:gd name="connsiteX3" fmla="*/ 16047 w 18338"/>
                    <a:gd name="connsiteY3" fmla="*/ 15296 h 18415"/>
                    <a:gd name="connsiteX4" fmla="*/ 3128 w 18338"/>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5">
                      <a:moveTo>
                        <a:pt x="3128" y="16073"/>
                      </a:moveTo>
                      <a:cubicBezTo>
                        <a:pt x="-699" y="12724"/>
                        <a:pt x="-1058" y="6863"/>
                        <a:pt x="2291" y="3095"/>
                      </a:cubicBezTo>
                      <a:cubicBezTo>
                        <a:pt x="5641" y="-732"/>
                        <a:pt x="11442" y="-1032"/>
                        <a:pt x="15210" y="2318"/>
                      </a:cubicBezTo>
                      <a:cubicBezTo>
                        <a:pt x="19037" y="5667"/>
                        <a:pt x="19396" y="11528"/>
                        <a:pt x="16047" y="15296"/>
                      </a:cubicBezTo>
                      <a:cubicBezTo>
                        <a:pt x="12698" y="19124"/>
                        <a:pt x="6896" y="19482"/>
                        <a:pt x="3128" y="16073"/>
                      </a:cubicBezTo>
                      <a:close/>
                    </a:path>
                  </a:pathLst>
                </a:custGeom>
                <a:grpFill/>
                <a:ln w="5978" cap="flat">
                  <a:noFill/>
                  <a:prstDash val="solid"/>
                  <a:miter/>
                </a:ln>
              </p:spPr>
              <p:txBody>
                <a:bodyPr rtlCol="0" anchor="ctr"/>
                <a:lstStyle/>
                <a:p>
                  <a:endParaRPr lang="en-GB"/>
                </a:p>
              </p:txBody>
            </p:sp>
            <p:sp>
              <p:nvSpPr>
                <p:cNvPr id="2754" name="Vrije vorm: vorm 2753">
                  <a:extLst>
                    <a:ext uri="{FF2B5EF4-FFF2-40B4-BE49-F238E27FC236}">
                      <a16:creationId xmlns:a16="http://schemas.microsoft.com/office/drawing/2014/main" id="{B38853DC-1668-4497-9B7B-A9728959E000}"/>
                    </a:ext>
                  </a:extLst>
                </p:cNvPr>
                <p:cNvSpPr/>
                <p:nvPr/>
              </p:nvSpPr>
              <p:spPr>
                <a:xfrm>
                  <a:off x="4783083" y="2285348"/>
                  <a:ext cx="18338" cy="18391"/>
                </a:xfrm>
                <a:custGeom>
                  <a:avLst/>
                  <a:gdLst>
                    <a:gd name="connsiteX0" fmla="*/ 3129 w 18338"/>
                    <a:gd name="connsiteY0" fmla="*/ 16073 h 18391"/>
                    <a:gd name="connsiteX1" fmla="*/ 16047 w 18338"/>
                    <a:gd name="connsiteY1" fmla="*/ 15296 h 18391"/>
                    <a:gd name="connsiteX2" fmla="*/ 15210 w 18338"/>
                    <a:gd name="connsiteY2" fmla="*/ 2318 h 18391"/>
                    <a:gd name="connsiteX3" fmla="*/ 2291 w 18338"/>
                    <a:gd name="connsiteY3" fmla="*/ 3095 h 18391"/>
                    <a:gd name="connsiteX4" fmla="*/ 3129 w 18338"/>
                    <a:gd name="connsiteY4" fmla="*/ 1607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1">
                      <a:moveTo>
                        <a:pt x="3129" y="16073"/>
                      </a:moveTo>
                      <a:cubicBezTo>
                        <a:pt x="6956" y="19423"/>
                        <a:pt x="12698" y="19124"/>
                        <a:pt x="16047" y="15296"/>
                      </a:cubicBezTo>
                      <a:cubicBezTo>
                        <a:pt x="19396" y="11468"/>
                        <a:pt x="19037" y="5667"/>
                        <a:pt x="15210" y="2318"/>
                      </a:cubicBezTo>
                      <a:cubicBezTo>
                        <a:pt x="11382" y="-1032"/>
                        <a:pt x="5641" y="-732"/>
                        <a:pt x="2291" y="3095"/>
                      </a:cubicBezTo>
                      <a:cubicBezTo>
                        <a:pt x="-1058" y="6863"/>
                        <a:pt x="-699" y="12724"/>
                        <a:pt x="3129" y="16073"/>
                      </a:cubicBezTo>
                      <a:close/>
                    </a:path>
                  </a:pathLst>
                </a:custGeom>
                <a:grpFill/>
                <a:ln w="5978" cap="flat">
                  <a:noFill/>
                  <a:prstDash val="solid"/>
                  <a:miter/>
                </a:ln>
              </p:spPr>
              <p:txBody>
                <a:bodyPr rtlCol="0" anchor="ctr"/>
                <a:lstStyle/>
                <a:p>
                  <a:endParaRPr lang="en-GB"/>
                </a:p>
              </p:txBody>
            </p:sp>
          </p:grpSp>
          <p:grpSp>
            <p:nvGrpSpPr>
              <p:cNvPr id="883" name="Graphic 3">
                <a:extLst>
                  <a:ext uri="{FF2B5EF4-FFF2-40B4-BE49-F238E27FC236}">
                    <a16:creationId xmlns:a16="http://schemas.microsoft.com/office/drawing/2014/main" id="{BAAB78C1-9FFE-4CC4-A993-6324233893B8}"/>
                  </a:ext>
                </a:extLst>
              </p:cNvPr>
              <p:cNvGrpSpPr/>
              <p:nvPr/>
            </p:nvGrpSpPr>
            <p:grpSpPr>
              <a:xfrm>
                <a:off x="4573872" y="1999137"/>
                <a:ext cx="249146" cy="280473"/>
                <a:chOff x="4573872" y="1999137"/>
                <a:chExt cx="249146" cy="280473"/>
              </a:xfrm>
              <a:grpFill/>
            </p:grpSpPr>
            <p:sp>
              <p:nvSpPr>
                <p:cNvPr id="2749" name="Vrije vorm: vorm 2748">
                  <a:extLst>
                    <a:ext uri="{FF2B5EF4-FFF2-40B4-BE49-F238E27FC236}">
                      <a16:creationId xmlns:a16="http://schemas.microsoft.com/office/drawing/2014/main" id="{A6FEFF3A-75FF-443B-8DEF-335B8D14C210}"/>
                    </a:ext>
                  </a:extLst>
                </p:cNvPr>
                <p:cNvSpPr/>
                <p:nvPr/>
              </p:nvSpPr>
              <p:spPr>
                <a:xfrm>
                  <a:off x="4581611" y="2006991"/>
                  <a:ext cx="233666" cy="264826"/>
                </a:xfrm>
                <a:custGeom>
                  <a:avLst/>
                  <a:gdLst>
                    <a:gd name="connsiteX0" fmla="*/ 233667 w 233666"/>
                    <a:gd name="connsiteY0" fmla="*/ 262793 h 264826"/>
                    <a:gd name="connsiteX1" fmla="*/ 231394 w 233666"/>
                    <a:gd name="connsiteY1" fmla="*/ 264826 h 264826"/>
                    <a:gd name="connsiteX2" fmla="*/ 0 w 233666"/>
                    <a:gd name="connsiteY2" fmla="*/ 2034 h 264826"/>
                    <a:gd name="connsiteX3" fmla="*/ 2273 w 233666"/>
                    <a:gd name="connsiteY3" fmla="*/ 0 h 264826"/>
                  </a:gdLst>
                  <a:ahLst/>
                  <a:cxnLst>
                    <a:cxn ang="0">
                      <a:pos x="connsiteX0" y="connsiteY0"/>
                    </a:cxn>
                    <a:cxn ang="0">
                      <a:pos x="connsiteX1" y="connsiteY1"/>
                    </a:cxn>
                    <a:cxn ang="0">
                      <a:pos x="connsiteX2" y="connsiteY2"/>
                    </a:cxn>
                    <a:cxn ang="0">
                      <a:pos x="connsiteX3" y="connsiteY3"/>
                    </a:cxn>
                  </a:cxnLst>
                  <a:rect l="l" t="t" r="r" b="b"/>
                  <a:pathLst>
                    <a:path w="233666" h="264826">
                      <a:moveTo>
                        <a:pt x="233667" y="262793"/>
                      </a:moveTo>
                      <a:lnTo>
                        <a:pt x="231394" y="264826"/>
                      </a:lnTo>
                      <a:lnTo>
                        <a:pt x="0" y="2034"/>
                      </a:lnTo>
                      <a:lnTo>
                        <a:pt x="2273" y="0"/>
                      </a:lnTo>
                      <a:close/>
                    </a:path>
                  </a:pathLst>
                </a:custGeom>
                <a:grpFill/>
                <a:ln w="5978" cap="flat">
                  <a:noFill/>
                  <a:prstDash val="solid"/>
                  <a:miter/>
                </a:ln>
              </p:spPr>
              <p:txBody>
                <a:bodyPr rtlCol="0" anchor="ctr"/>
                <a:lstStyle/>
                <a:p>
                  <a:endParaRPr lang="en-GB"/>
                </a:p>
              </p:txBody>
            </p:sp>
            <p:sp>
              <p:nvSpPr>
                <p:cNvPr id="2750" name="Vrije vorm: vorm 2749">
                  <a:extLst>
                    <a:ext uri="{FF2B5EF4-FFF2-40B4-BE49-F238E27FC236}">
                      <a16:creationId xmlns:a16="http://schemas.microsoft.com/office/drawing/2014/main" id="{F1505A0A-6615-4322-BB6E-A3A1681BC48D}"/>
                    </a:ext>
                  </a:extLst>
                </p:cNvPr>
                <p:cNvSpPr/>
                <p:nvPr/>
              </p:nvSpPr>
              <p:spPr>
                <a:xfrm>
                  <a:off x="4804727" y="2261233"/>
                  <a:ext cx="18290" cy="18377"/>
                </a:xfrm>
                <a:custGeom>
                  <a:avLst/>
                  <a:gdLst>
                    <a:gd name="connsiteX0" fmla="*/ 15993 w 18290"/>
                    <a:gd name="connsiteY0" fmla="*/ 3108 h 18377"/>
                    <a:gd name="connsiteX1" fmla="*/ 15216 w 18290"/>
                    <a:gd name="connsiteY1" fmla="*/ 16086 h 18377"/>
                    <a:gd name="connsiteX2" fmla="*/ 2297 w 18290"/>
                    <a:gd name="connsiteY2" fmla="*/ 15249 h 18377"/>
                    <a:gd name="connsiteX3" fmla="*/ 3075 w 18290"/>
                    <a:gd name="connsiteY3" fmla="*/ 2271 h 18377"/>
                    <a:gd name="connsiteX4" fmla="*/ 15993 w 18290"/>
                    <a:gd name="connsiteY4" fmla="*/ 3108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77">
                      <a:moveTo>
                        <a:pt x="15993" y="3108"/>
                      </a:moveTo>
                      <a:cubicBezTo>
                        <a:pt x="19342" y="6936"/>
                        <a:pt x="18984" y="12737"/>
                        <a:pt x="15216" y="16086"/>
                      </a:cubicBezTo>
                      <a:cubicBezTo>
                        <a:pt x="11448" y="19436"/>
                        <a:pt x="5646" y="19077"/>
                        <a:pt x="2297" y="15249"/>
                      </a:cubicBezTo>
                      <a:cubicBezTo>
                        <a:pt x="-1052" y="11422"/>
                        <a:pt x="-693" y="5620"/>
                        <a:pt x="3075" y="2271"/>
                      </a:cubicBezTo>
                      <a:cubicBezTo>
                        <a:pt x="6843" y="-1078"/>
                        <a:pt x="12644" y="-660"/>
                        <a:pt x="15993" y="3108"/>
                      </a:cubicBezTo>
                      <a:close/>
                    </a:path>
                  </a:pathLst>
                </a:custGeom>
                <a:grpFill/>
                <a:ln w="5978" cap="flat">
                  <a:noFill/>
                  <a:prstDash val="solid"/>
                  <a:miter/>
                </a:ln>
              </p:spPr>
              <p:txBody>
                <a:bodyPr rtlCol="0" anchor="ctr"/>
                <a:lstStyle/>
                <a:p>
                  <a:endParaRPr lang="en-GB"/>
                </a:p>
              </p:txBody>
            </p:sp>
            <p:sp>
              <p:nvSpPr>
                <p:cNvPr id="2751" name="Vrije vorm: vorm 2750">
                  <a:extLst>
                    <a:ext uri="{FF2B5EF4-FFF2-40B4-BE49-F238E27FC236}">
                      <a16:creationId xmlns:a16="http://schemas.microsoft.com/office/drawing/2014/main" id="{302B3363-C7D9-471B-9AEB-9BC3484FF65F}"/>
                    </a:ext>
                  </a:extLst>
                </p:cNvPr>
                <p:cNvSpPr/>
                <p:nvPr/>
              </p:nvSpPr>
              <p:spPr>
                <a:xfrm>
                  <a:off x="4573872" y="1999137"/>
                  <a:ext cx="18334" cy="18398"/>
                </a:xfrm>
                <a:custGeom>
                  <a:avLst/>
                  <a:gdLst>
                    <a:gd name="connsiteX0" fmla="*/ 15993 w 18334"/>
                    <a:gd name="connsiteY0" fmla="*/ 3129 h 18398"/>
                    <a:gd name="connsiteX1" fmla="*/ 3075 w 18334"/>
                    <a:gd name="connsiteY1" fmla="*/ 2291 h 18398"/>
                    <a:gd name="connsiteX2" fmla="*/ 2297 w 18334"/>
                    <a:gd name="connsiteY2" fmla="*/ 15269 h 18398"/>
                    <a:gd name="connsiteX3" fmla="*/ 15215 w 18334"/>
                    <a:gd name="connsiteY3" fmla="*/ 16107 h 18398"/>
                    <a:gd name="connsiteX4" fmla="*/ 15993 w 18334"/>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98">
                      <a:moveTo>
                        <a:pt x="15993" y="3129"/>
                      </a:moveTo>
                      <a:cubicBezTo>
                        <a:pt x="12644" y="-699"/>
                        <a:pt x="6843" y="-1058"/>
                        <a:pt x="3075" y="2291"/>
                      </a:cubicBezTo>
                      <a:cubicBezTo>
                        <a:pt x="-693" y="5641"/>
                        <a:pt x="-1052" y="11502"/>
                        <a:pt x="2297" y="15269"/>
                      </a:cubicBezTo>
                      <a:cubicBezTo>
                        <a:pt x="5646" y="19097"/>
                        <a:pt x="11447" y="19456"/>
                        <a:pt x="15215" y="16107"/>
                      </a:cubicBezTo>
                      <a:cubicBezTo>
                        <a:pt x="19043" y="12758"/>
                        <a:pt x="19402" y="6897"/>
                        <a:pt x="15993" y="3129"/>
                      </a:cubicBezTo>
                      <a:close/>
                    </a:path>
                  </a:pathLst>
                </a:custGeom>
                <a:grpFill/>
                <a:ln w="5978" cap="flat">
                  <a:noFill/>
                  <a:prstDash val="solid"/>
                  <a:miter/>
                </a:ln>
              </p:spPr>
              <p:txBody>
                <a:bodyPr rtlCol="0" anchor="ctr"/>
                <a:lstStyle/>
                <a:p>
                  <a:endParaRPr lang="en-GB"/>
                </a:p>
              </p:txBody>
            </p:sp>
          </p:grpSp>
          <p:grpSp>
            <p:nvGrpSpPr>
              <p:cNvPr id="884" name="Graphic 3">
                <a:extLst>
                  <a:ext uri="{FF2B5EF4-FFF2-40B4-BE49-F238E27FC236}">
                    <a16:creationId xmlns:a16="http://schemas.microsoft.com/office/drawing/2014/main" id="{3D87330E-905F-462B-B418-933C13FE220D}"/>
                  </a:ext>
                </a:extLst>
              </p:cNvPr>
              <p:cNvGrpSpPr/>
              <p:nvPr/>
            </p:nvGrpSpPr>
            <p:grpSpPr>
              <a:xfrm>
                <a:off x="4630552" y="2052292"/>
                <a:ext cx="91668" cy="88662"/>
                <a:chOff x="4630552" y="2052292"/>
                <a:chExt cx="91668" cy="88662"/>
              </a:xfrm>
              <a:grpFill/>
            </p:grpSpPr>
            <p:sp>
              <p:nvSpPr>
                <p:cNvPr id="2746" name="Vrije vorm: vorm 2745">
                  <a:extLst>
                    <a:ext uri="{FF2B5EF4-FFF2-40B4-BE49-F238E27FC236}">
                      <a16:creationId xmlns:a16="http://schemas.microsoft.com/office/drawing/2014/main" id="{5C92D9F4-C6DE-4FA4-B690-ED48478AF004}"/>
                    </a:ext>
                  </a:extLst>
                </p:cNvPr>
                <p:cNvSpPr/>
                <p:nvPr/>
              </p:nvSpPr>
              <p:spPr>
                <a:xfrm>
                  <a:off x="4638309" y="2060100"/>
                  <a:ext cx="76074" cy="73024"/>
                </a:xfrm>
                <a:custGeom>
                  <a:avLst/>
                  <a:gdLst>
                    <a:gd name="connsiteX0" fmla="*/ 76075 w 76074"/>
                    <a:gd name="connsiteY0" fmla="*/ 70812 h 73024"/>
                    <a:gd name="connsiteX1" fmla="*/ 73982 w 76074"/>
                    <a:gd name="connsiteY1" fmla="*/ 73025 h 73024"/>
                    <a:gd name="connsiteX2" fmla="*/ 0 w 76074"/>
                    <a:gd name="connsiteY2" fmla="*/ 2213 h 73024"/>
                    <a:gd name="connsiteX3" fmla="*/ 2093 w 76074"/>
                    <a:gd name="connsiteY3" fmla="*/ 0 h 73024"/>
                  </a:gdLst>
                  <a:ahLst/>
                  <a:cxnLst>
                    <a:cxn ang="0">
                      <a:pos x="connsiteX0" y="connsiteY0"/>
                    </a:cxn>
                    <a:cxn ang="0">
                      <a:pos x="connsiteX1" y="connsiteY1"/>
                    </a:cxn>
                    <a:cxn ang="0">
                      <a:pos x="connsiteX2" y="connsiteY2"/>
                    </a:cxn>
                    <a:cxn ang="0">
                      <a:pos x="connsiteX3" y="connsiteY3"/>
                    </a:cxn>
                  </a:cxnLst>
                  <a:rect l="l" t="t" r="r" b="b"/>
                  <a:pathLst>
                    <a:path w="76074" h="73024">
                      <a:moveTo>
                        <a:pt x="76075" y="70812"/>
                      </a:moveTo>
                      <a:lnTo>
                        <a:pt x="73982" y="73025"/>
                      </a:lnTo>
                      <a:lnTo>
                        <a:pt x="0" y="2213"/>
                      </a:lnTo>
                      <a:lnTo>
                        <a:pt x="2093" y="0"/>
                      </a:lnTo>
                      <a:close/>
                    </a:path>
                  </a:pathLst>
                </a:custGeom>
                <a:grpFill/>
                <a:ln w="5978" cap="flat">
                  <a:noFill/>
                  <a:prstDash val="solid"/>
                  <a:miter/>
                </a:ln>
              </p:spPr>
              <p:txBody>
                <a:bodyPr rtlCol="0" anchor="ctr"/>
                <a:lstStyle/>
                <a:p>
                  <a:endParaRPr lang="en-GB"/>
                </a:p>
              </p:txBody>
            </p:sp>
            <p:sp>
              <p:nvSpPr>
                <p:cNvPr id="2747" name="Vrije vorm: vorm 2746">
                  <a:extLst>
                    <a:ext uri="{FF2B5EF4-FFF2-40B4-BE49-F238E27FC236}">
                      <a16:creationId xmlns:a16="http://schemas.microsoft.com/office/drawing/2014/main" id="{FFED8444-F8F5-4A2C-93A6-0AC8F75FA754}"/>
                    </a:ext>
                  </a:extLst>
                </p:cNvPr>
                <p:cNvSpPr/>
                <p:nvPr/>
              </p:nvSpPr>
              <p:spPr>
                <a:xfrm>
                  <a:off x="4630552" y="2052292"/>
                  <a:ext cx="18323" cy="18448"/>
                </a:xfrm>
                <a:custGeom>
                  <a:avLst/>
                  <a:gdLst>
                    <a:gd name="connsiteX0" fmla="*/ 2852 w 18323"/>
                    <a:gd name="connsiteY0" fmla="*/ 15882 h 18448"/>
                    <a:gd name="connsiteX1" fmla="*/ 2493 w 18323"/>
                    <a:gd name="connsiteY1" fmla="*/ 2844 h 18448"/>
                    <a:gd name="connsiteX2" fmla="*/ 15472 w 18323"/>
                    <a:gd name="connsiteY2" fmla="*/ 2545 h 18448"/>
                    <a:gd name="connsiteX3" fmla="*/ 15830 w 18323"/>
                    <a:gd name="connsiteY3" fmla="*/ 15583 h 18448"/>
                    <a:gd name="connsiteX4" fmla="*/ 2852 w 18323"/>
                    <a:gd name="connsiteY4" fmla="*/ 15882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8">
                      <a:moveTo>
                        <a:pt x="2852" y="15882"/>
                      </a:moveTo>
                      <a:cubicBezTo>
                        <a:pt x="-796" y="12353"/>
                        <a:pt x="-975" y="6552"/>
                        <a:pt x="2493" y="2844"/>
                      </a:cubicBezTo>
                      <a:cubicBezTo>
                        <a:pt x="5962" y="-804"/>
                        <a:pt x="11763" y="-984"/>
                        <a:pt x="15472" y="2545"/>
                      </a:cubicBezTo>
                      <a:cubicBezTo>
                        <a:pt x="19120" y="6073"/>
                        <a:pt x="19299" y="11875"/>
                        <a:pt x="15830" y="15583"/>
                      </a:cubicBezTo>
                      <a:cubicBezTo>
                        <a:pt x="12302" y="19291"/>
                        <a:pt x="6500" y="19410"/>
                        <a:pt x="2852" y="15882"/>
                      </a:cubicBezTo>
                      <a:close/>
                    </a:path>
                  </a:pathLst>
                </a:custGeom>
                <a:grpFill/>
                <a:ln w="5978" cap="flat">
                  <a:noFill/>
                  <a:prstDash val="solid"/>
                  <a:miter/>
                </a:ln>
              </p:spPr>
              <p:txBody>
                <a:bodyPr rtlCol="0" anchor="ctr"/>
                <a:lstStyle/>
                <a:p>
                  <a:endParaRPr lang="en-GB"/>
                </a:p>
              </p:txBody>
            </p:sp>
            <p:sp>
              <p:nvSpPr>
                <p:cNvPr id="2748" name="Vrije vorm: vorm 2747">
                  <a:extLst>
                    <a:ext uri="{FF2B5EF4-FFF2-40B4-BE49-F238E27FC236}">
                      <a16:creationId xmlns:a16="http://schemas.microsoft.com/office/drawing/2014/main" id="{028EC11E-44FB-4829-9FAA-075B98B3A477}"/>
                    </a:ext>
                  </a:extLst>
                </p:cNvPr>
                <p:cNvSpPr/>
                <p:nvPr/>
              </p:nvSpPr>
              <p:spPr>
                <a:xfrm>
                  <a:off x="4703854" y="2122484"/>
                  <a:ext cx="18366" cy="18470"/>
                </a:xfrm>
                <a:custGeom>
                  <a:avLst/>
                  <a:gdLst>
                    <a:gd name="connsiteX0" fmla="*/ 2874 w 18366"/>
                    <a:gd name="connsiteY0" fmla="*/ 15903 h 18470"/>
                    <a:gd name="connsiteX1" fmla="*/ 15852 w 18366"/>
                    <a:gd name="connsiteY1" fmla="*/ 15604 h 18470"/>
                    <a:gd name="connsiteX2" fmla="*/ 15493 w 18366"/>
                    <a:gd name="connsiteY2" fmla="*/ 2566 h 18470"/>
                    <a:gd name="connsiteX3" fmla="*/ 2515 w 18366"/>
                    <a:gd name="connsiteY3" fmla="*/ 2866 h 18470"/>
                    <a:gd name="connsiteX4" fmla="*/ 2874 w 18366"/>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0">
                      <a:moveTo>
                        <a:pt x="2874" y="15903"/>
                      </a:moveTo>
                      <a:cubicBezTo>
                        <a:pt x="6522" y="19432"/>
                        <a:pt x="12323" y="19313"/>
                        <a:pt x="15852" y="15604"/>
                      </a:cubicBezTo>
                      <a:cubicBezTo>
                        <a:pt x="19321" y="11956"/>
                        <a:pt x="19201" y="6095"/>
                        <a:pt x="15493" y="2566"/>
                      </a:cubicBezTo>
                      <a:cubicBezTo>
                        <a:pt x="11845" y="-962"/>
                        <a:pt x="6044" y="-842"/>
                        <a:pt x="2515" y="2866"/>
                      </a:cubicBezTo>
                      <a:cubicBezTo>
                        <a:pt x="-954" y="6574"/>
                        <a:pt x="-834" y="12375"/>
                        <a:pt x="2874" y="15903"/>
                      </a:cubicBezTo>
                      <a:close/>
                    </a:path>
                  </a:pathLst>
                </a:custGeom>
                <a:grpFill/>
                <a:ln w="5978" cap="flat">
                  <a:noFill/>
                  <a:prstDash val="solid"/>
                  <a:miter/>
                </a:ln>
              </p:spPr>
              <p:txBody>
                <a:bodyPr rtlCol="0" anchor="ctr"/>
                <a:lstStyle/>
                <a:p>
                  <a:endParaRPr lang="en-GB"/>
                </a:p>
              </p:txBody>
            </p:sp>
          </p:grpSp>
          <p:grpSp>
            <p:nvGrpSpPr>
              <p:cNvPr id="885" name="Graphic 3">
                <a:extLst>
                  <a:ext uri="{FF2B5EF4-FFF2-40B4-BE49-F238E27FC236}">
                    <a16:creationId xmlns:a16="http://schemas.microsoft.com/office/drawing/2014/main" id="{2B890516-A918-4EAD-9B61-48A3A7C4EFDC}"/>
                  </a:ext>
                </a:extLst>
              </p:cNvPr>
              <p:cNvGrpSpPr/>
              <p:nvPr/>
            </p:nvGrpSpPr>
            <p:grpSpPr>
              <a:xfrm>
                <a:off x="4685166" y="2242814"/>
                <a:ext cx="99223" cy="87671"/>
                <a:chOff x="4685166" y="2242814"/>
                <a:chExt cx="99223" cy="87671"/>
              </a:xfrm>
              <a:grpFill/>
            </p:grpSpPr>
            <p:sp>
              <p:nvSpPr>
                <p:cNvPr id="2743" name="Vrije vorm: vorm 2742">
                  <a:extLst>
                    <a:ext uri="{FF2B5EF4-FFF2-40B4-BE49-F238E27FC236}">
                      <a16:creationId xmlns:a16="http://schemas.microsoft.com/office/drawing/2014/main" id="{B92E108E-162B-4AEE-BDE6-B46864C80C8C}"/>
                    </a:ext>
                  </a:extLst>
                </p:cNvPr>
                <p:cNvSpPr/>
                <p:nvPr/>
              </p:nvSpPr>
              <p:spPr>
                <a:xfrm>
                  <a:off x="4693032" y="2250586"/>
                  <a:ext cx="83491" cy="72127"/>
                </a:xfrm>
                <a:custGeom>
                  <a:avLst/>
                  <a:gdLst>
                    <a:gd name="connsiteX0" fmla="*/ 83491 w 83491"/>
                    <a:gd name="connsiteY0" fmla="*/ 69795 h 72127"/>
                    <a:gd name="connsiteX1" fmla="*/ 81517 w 83491"/>
                    <a:gd name="connsiteY1" fmla="*/ 72127 h 72127"/>
                    <a:gd name="connsiteX2" fmla="*/ 0 w 83491"/>
                    <a:gd name="connsiteY2" fmla="*/ 2332 h 72127"/>
                    <a:gd name="connsiteX3" fmla="*/ 1974 w 83491"/>
                    <a:gd name="connsiteY3" fmla="*/ 0 h 72127"/>
                  </a:gdLst>
                  <a:ahLst/>
                  <a:cxnLst>
                    <a:cxn ang="0">
                      <a:pos x="connsiteX0" y="connsiteY0"/>
                    </a:cxn>
                    <a:cxn ang="0">
                      <a:pos x="connsiteX1" y="connsiteY1"/>
                    </a:cxn>
                    <a:cxn ang="0">
                      <a:pos x="connsiteX2" y="connsiteY2"/>
                    </a:cxn>
                    <a:cxn ang="0">
                      <a:pos x="connsiteX3" y="connsiteY3"/>
                    </a:cxn>
                  </a:cxnLst>
                  <a:rect l="l" t="t" r="r" b="b"/>
                  <a:pathLst>
                    <a:path w="83491" h="72127">
                      <a:moveTo>
                        <a:pt x="83491" y="69795"/>
                      </a:moveTo>
                      <a:lnTo>
                        <a:pt x="81517" y="72127"/>
                      </a:lnTo>
                      <a:lnTo>
                        <a:pt x="0" y="2332"/>
                      </a:lnTo>
                      <a:lnTo>
                        <a:pt x="1974" y="0"/>
                      </a:lnTo>
                      <a:close/>
                    </a:path>
                  </a:pathLst>
                </a:custGeom>
                <a:grpFill/>
                <a:ln w="5978" cap="flat">
                  <a:noFill/>
                  <a:prstDash val="solid"/>
                  <a:miter/>
                </a:ln>
              </p:spPr>
              <p:txBody>
                <a:bodyPr rtlCol="0" anchor="ctr"/>
                <a:lstStyle/>
                <a:p>
                  <a:endParaRPr lang="en-GB"/>
                </a:p>
              </p:txBody>
            </p:sp>
            <p:sp>
              <p:nvSpPr>
                <p:cNvPr id="2744" name="Vrije vorm: vorm 2743">
                  <a:extLst>
                    <a:ext uri="{FF2B5EF4-FFF2-40B4-BE49-F238E27FC236}">
                      <a16:creationId xmlns:a16="http://schemas.microsoft.com/office/drawing/2014/main" id="{259D65DD-AB40-42A6-A51B-3C65366C2148}"/>
                    </a:ext>
                  </a:extLst>
                </p:cNvPr>
                <p:cNvSpPr/>
                <p:nvPr/>
              </p:nvSpPr>
              <p:spPr>
                <a:xfrm>
                  <a:off x="4685166" y="2242814"/>
                  <a:ext cx="18364" cy="18439"/>
                </a:xfrm>
                <a:custGeom>
                  <a:avLst/>
                  <a:gdLst>
                    <a:gd name="connsiteX0" fmla="*/ 3261 w 18364"/>
                    <a:gd name="connsiteY0" fmla="*/ 16205 h 18439"/>
                    <a:gd name="connsiteX1" fmla="*/ 2185 w 18364"/>
                    <a:gd name="connsiteY1" fmla="*/ 3227 h 18439"/>
                    <a:gd name="connsiteX2" fmla="*/ 15103 w 18364"/>
                    <a:gd name="connsiteY2" fmla="*/ 2210 h 18439"/>
                    <a:gd name="connsiteX3" fmla="*/ 16180 w 18364"/>
                    <a:gd name="connsiteY3" fmla="*/ 15188 h 18439"/>
                    <a:gd name="connsiteX4" fmla="*/ 3261 w 18364"/>
                    <a:gd name="connsiteY4" fmla="*/ 16205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39">
                      <a:moveTo>
                        <a:pt x="3261" y="16205"/>
                      </a:moveTo>
                      <a:cubicBezTo>
                        <a:pt x="-626" y="12915"/>
                        <a:pt x="-1105" y="7054"/>
                        <a:pt x="2185" y="3227"/>
                      </a:cubicBezTo>
                      <a:cubicBezTo>
                        <a:pt x="5474" y="-661"/>
                        <a:pt x="11215" y="-1080"/>
                        <a:pt x="15103" y="2210"/>
                      </a:cubicBezTo>
                      <a:cubicBezTo>
                        <a:pt x="18990" y="5499"/>
                        <a:pt x="19469" y="11301"/>
                        <a:pt x="16180" y="15188"/>
                      </a:cubicBezTo>
                      <a:cubicBezTo>
                        <a:pt x="12890" y="19075"/>
                        <a:pt x="7149" y="19554"/>
                        <a:pt x="3261" y="16205"/>
                      </a:cubicBezTo>
                      <a:close/>
                    </a:path>
                  </a:pathLst>
                </a:custGeom>
                <a:grpFill/>
                <a:ln w="5978" cap="flat">
                  <a:noFill/>
                  <a:prstDash val="solid"/>
                  <a:miter/>
                </a:ln>
              </p:spPr>
              <p:txBody>
                <a:bodyPr rtlCol="0" anchor="ctr"/>
                <a:lstStyle/>
                <a:p>
                  <a:endParaRPr lang="en-GB"/>
                </a:p>
              </p:txBody>
            </p:sp>
            <p:sp>
              <p:nvSpPr>
                <p:cNvPr id="2745" name="Vrije vorm: vorm 2744">
                  <a:extLst>
                    <a:ext uri="{FF2B5EF4-FFF2-40B4-BE49-F238E27FC236}">
                      <a16:creationId xmlns:a16="http://schemas.microsoft.com/office/drawing/2014/main" id="{D4EEDC62-73B6-41BD-97CB-09FF145F8901}"/>
                    </a:ext>
                  </a:extLst>
                </p:cNvPr>
                <p:cNvSpPr/>
                <p:nvPr/>
              </p:nvSpPr>
              <p:spPr>
                <a:xfrm>
                  <a:off x="4766025" y="2312070"/>
                  <a:ext cx="18364" cy="18414"/>
                </a:xfrm>
                <a:custGeom>
                  <a:avLst/>
                  <a:gdLst>
                    <a:gd name="connsiteX0" fmla="*/ 3261 w 18364"/>
                    <a:gd name="connsiteY0" fmla="*/ 16205 h 18414"/>
                    <a:gd name="connsiteX1" fmla="*/ 16180 w 18364"/>
                    <a:gd name="connsiteY1" fmla="*/ 15188 h 18414"/>
                    <a:gd name="connsiteX2" fmla="*/ 15103 w 18364"/>
                    <a:gd name="connsiteY2" fmla="*/ 2210 h 18414"/>
                    <a:gd name="connsiteX3" fmla="*/ 2185 w 18364"/>
                    <a:gd name="connsiteY3" fmla="*/ 3227 h 18414"/>
                    <a:gd name="connsiteX4" fmla="*/ 3261 w 18364"/>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3261" y="16205"/>
                      </a:moveTo>
                      <a:cubicBezTo>
                        <a:pt x="7149" y="19494"/>
                        <a:pt x="12890" y="19076"/>
                        <a:pt x="16180" y="15188"/>
                      </a:cubicBezTo>
                      <a:cubicBezTo>
                        <a:pt x="19469" y="11300"/>
                        <a:pt x="18990" y="5499"/>
                        <a:pt x="15103" y="2210"/>
                      </a:cubicBezTo>
                      <a:cubicBezTo>
                        <a:pt x="11215" y="-1079"/>
                        <a:pt x="5474" y="-661"/>
                        <a:pt x="2185" y="3227"/>
                      </a:cubicBezTo>
                      <a:cubicBezTo>
                        <a:pt x="-1105" y="7054"/>
                        <a:pt x="-626" y="12856"/>
                        <a:pt x="3261" y="16205"/>
                      </a:cubicBezTo>
                      <a:close/>
                    </a:path>
                  </a:pathLst>
                </a:custGeom>
                <a:grpFill/>
                <a:ln w="5978" cap="flat">
                  <a:noFill/>
                  <a:prstDash val="solid"/>
                  <a:miter/>
                </a:ln>
              </p:spPr>
              <p:txBody>
                <a:bodyPr rtlCol="0" anchor="ctr"/>
                <a:lstStyle/>
                <a:p>
                  <a:endParaRPr lang="en-GB"/>
                </a:p>
              </p:txBody>
            </p:sp>
          </p:grpSp>
          <p:grpSp>
            <p:nvGrpSpPr>
              <p:cNvPr id="886" name="Graphic 3">
                <a:extLst>
                  <a:ext uri="{FF2B5EF4-FFF2-40B4-BE49-F238E27FC236}">
                    <a16:creationId xmlns:a16="http://schemas.microsoft.com/office/drawing/2014/main" id="{F745732E-B76A-4A53-994B-132EAD993F25}"/>
                  </a:ext>
                </a:extLst>
              </p:cNvPr>
              <p:cNvGrpSpPr/>
              <p:nvPr/>
            </p:nvGrpSpPr>
            <p:grpSpPr>
              <a:xfrm>
                <a:off x="5675116" y="5064009"/>
                <a:ext cx="47328" cy="159125"/>
                <a:chOff x="5675116" y="5064009"/>
                <a:chExt cx="47328" cy="159125"/>
              </a:xfrm>
              <a:grpFill/>
            </p:grpSpPr>
            <p:sp>
              <p:nvSpPr>
                <p:cNvPr id="2740" name="Vrije vorm: vorm 2739">
                  <a:extLst>
                    <a:ext uri="{FF2B5EF4-FFF2-40B4-BE49-F238E27FC236}">
                      <a16:creationId xmlns:a16="http://schemas.microsoft.com/office/drawing/2014/main" id="{51544F01-372F-4CB7-BA7A-1DD26DA37206}"/>
                    </a:ext>
                  </a:extLst>
                </p:cNvPr>
                <p:cNvSpPr/>
                <p:nvPr/>
              </p:nvSpPr>
              <p:spPr>
                <a:xfrm>
                  <a:off x="5682662" y="5072529"/>
                  <a:ext cx="32235" cy="142161"/>
                </a:xfrm>
                <a:custGeom>
                  <a:avLst/>
                  <a:gdLst>
                    <a:gd name="connsiteX0" fmla="*/ 32236 w 32235"/>
                    <a:gd name="connsiteY0" fmla="*/ 598 h 142161"/>
                    <a:gd name="connsiteX1" fmla="*/ 2990 w 32235"/>
                    <a:gd name="connsiteY1" fmla="*/ 142162 h 142161"/>
                    <a:gd name="connsiteX2" fmla="*/ 0 w 32235"/>
                    <a:gd name="connsiteY2" fmla="*/ 141564 h 142161"/>
                    <a:gd name="connsiteX3" fmla="*/ 29245 w 32235"/>
                    <a:gd name="connsiteY3" fmla="*/ 0 h 142161"/>
                  </a:gdLst>
                  <a:ahLst/>
                  <a:cxnLst>
                    <a:cxn ang="0">
                      <a:pos x="connsiteX0" y="connsiteY0"/>
                    </a:cxn>
                    <a:cxn ang="0">
                      <a:pos x="connsiteX1" y="connsiteY1"/>
                    </a:cxn>
                    <a:cxn ang="0">
                      <a:pos x="connsiteX2" y="connsiteY2"/>
                    </a:cxn>
                    <a:cxn ang="0">
                      <a:pos x="connsiteX3" y="connsiteY3"/>
                    </a:cxn>
                  </a:cxnLst>
                  <a:rect l="l" t="t" r="r" b="b"/>
                  <a:pathLst>
                    <a:path w="32235" h="142161">
                      <a:moveTo>
                        <a:pt x="32236" y="598"/>
                      </a:moveTo>
                      <a:lnTo>
                        <a:pt x="2990" y="142162"/>
                      </a:lnTo>
                      <a:lnTo>
                        <a:pt x="0" y="141564"/>
                      </a:lnTo>
                      <a:lnTo>
                        <a:pt x="29245" y="0"/>
                      </a:lnTo>
                      <a:close/>
                    </a:path>
                  </a:pathLst>
                </a:custGeom>
                <a:grpFill/>
                <a:ln w="5978" cap="flat">
                  <a:noFill/>
                  <a:prstDash val="solid"/>
                  <a:miter/>
                </a:ln>
              </p:spPr>
              <p:txBody>
                <a:bodyPr rtlCol="0" anchor="ctr"/>
                <a:lstStyle/>
                <a:p>
                  <a:endParaRPr lang="en-GB"/>
                </a:p>
              </p:txBody>
            </p:sp>
            <p:sp>
              <p:nvSpPr>
                <p:cNvPr id="2741" name="Vrije vorm: vorm 2740">
                  <a:extLst>
                    <a:ext uri="{FF2B5EF4-FFF2-40B4-BE49-F238E27FC236}">
                      <a16:creationId xmlns:a16="http://schemas.microsoft.com/office/drawing/2014/main" id="{8E4236BB-042B-42F3-97DE-64F4765C8874}"/>
                    </a:ext>
                  </a:extLst>
                </p:cNvPr>
                <p:cNvSpPr/>
                <p:nvPr/>
              </p:nvSpPr>
              <p:spPr>
                <a:xfrm>
                  <a:off x="5675116" y="5204693"/>
                  <a:ext cx="18321" cy="18441"/>
                </a:xfrm>
                <a:custGeom>
                  <a:avLst/>
                  <a:gdLst>
                    <a:gd name="connsiteX0" fmla="*/ 18132 w 18321"/>
                    <a:gd name="connsiteY0" fmla="*/ 11135 h 18441"/>
                    <a:gd name="connsiteX1" fmla="*/ 7307 w 18321"/>
                    <a:gd name="connsiteY1" fmla="*/ 18252 h 18441"/>
                    <a:gd name="connsiteX2" fmla="*/ 190 w 18321"/>
                    <a:gd name="connsiteY2" fmla="*/ 7307 h 18441"/>
                    <a:gd name="connsiteX3" fmla="*/ 11015 w 18321"/>
                    <a:gd name="connsiteY3" fmla="*/ 190 h 18441"/>
                    <a:gd name="connsiteX4" fmla="*/ 18132 w 18321"/>
                    <a:gd name="connsiteY4" fmla="*/ 1113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8132" y="11135"/>
                      </a:moveTo>
                      <a:cubicBezTo>
                        <a:pt x="17115" y="16098"/>
                        <a:pt x="12271" y="19268"/>
                        <a:pt x="7307" y="18252"/>
                      </a:cubicBezTo>
                      <a:cubicBezTo>
                        <a:pt x="2343" y="17175"/>
                        <a:pt x="-827" y="12330"/>
                        <a:pt x="190" y="7307"/>
                      </a:cubicBezTo>
                      <a:cubicBezTo>
                        <a:pt x="1207" y="2343"/>
                        <a:pt x="6051" y="-827"/>
                        <a:pt x="11015" y="190"/>
                      </a:cubicBezTo>
                      <a:cubicBezTo>
                        <a:pt x="15979" y="1266"/>
                        <a:pt x="19149" y="6170"/>
                        <a:pt x="18132" y="11135"/>
                      </a:cubicBezTo>
                      <a:close/>
                    </a:path>
                  </a:pathLst>
                </a:custGeom>
                <a:grpFill/>
                <a:ln w="5978" cap="flat">
                  <a:noFill/>
                  <a:prstDash val="solid"/>
                  <a:miter/>
                </a:ln>
              </p:spPr>
              <p:txBody>
                <a:bodyPr rtlCol="0" anchor="ctr"/>
                <a:lstStyle/>
                <a:p>
                  <a:endParaRPr lang="en-GB"/>
                </a:p>
              </p:txBody>
            </p:sp>
            <p:sp>
              <p:nvSpPr>
                <p:cNvPr id="2742" name="Vrije vorm: vorm 2741">
                  <a:extLst>
                    <a:ext uri="{FF2B5EF4-FFF2-40B4-BE49-F238E27FC236}">
                      <a16:creationId xmlns:a16="http://schemas.microsoft.com/office/drawing/2014/main" id="{FFA6E9DF-4702-4CED-839E-EFB9444C00DC}"/>
                    </a:ext>
                  </a:extLst>
                </p:cNvPr>
                <p:cNvSpPr/>
                <p:nvPr/>
              </p:nvSpPr>
              <p:spPr>
                <a:xfrm>
                  <a:off x="5704123" y="5064009"/>
                  <a:ext cx="18321" cy="18478"/>
                </a:xfrm>
                <a:custGeom>
                  <a:avLst/>
                  <a:gdLst>
                    <a:gd name="connsiteX0" fmla="*/ 18132 w 18321"/>
                    <a:gd name="connsiteY0" fmla="*/ 11152 h 18478"/>
                    <a:gd name="connsiteX1" fmla="*/ 11015 w 18321"/>
                    <a:gd name="connsiteY1" fmla="*/ 207 h 18478"/>
                    <a:gd name="connsiteX2" fmla="*/ 190 w 18321"/>
                    <a:gd name="connsiteY2" fmla="*/ 7324 h 18478"/>
                    <a:gd name="connsiteX3" fmla="*/ 7307 w 18321"/>
                    <a:gd name="connsiteY3" fmla="*/ 18269 h 18478"/>
                    <a:gd name="connsiteX4" fmla="*/ 18132 w 18321"/>
                    <a:gd name="connsiteY4" fmla="*/ 11152 h 1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78">
                      <a:moveTo>
                        <a:pt x="18132" y="11152"/>
                      </a:moveTo>
                      <a:cubicBezTo>
                        <a:pt x="19149" y="6188"/>
                        <a:pt x="15979" y="1284"/>
                        <a:pt x="11015" y="207"/>
                      </a:cubicBezTo>
                      <a:cubicBezTo>
                        <a:pt x="6051" y="-869"/>
                        <a:pt x="1206" y="2360"/>
                        <a:pt x="190" y="7324"/>
                      </a:cubicBezTo>
                      <a:cubicBezTo>
                        <a:pt x="-827" y="12288"/>
                        <a:pt x="2343" y="17193"/>
                        <a:pt x="7307" y="18269"/>
                      </a:cubicBezTo>
                      <a:cubicBezTo>
                        <a:pt x="12271" y="19346"/>
                        <a:pt x="17115" y="16176"/>
                        <a:pt x="18132" y="11152"/>
                      </a:cubicBezTo>
                      <a:close/>
                    </a:path>
                  </a:pathLst>
                </a:custGeom>
                <a:grpFill/>
                <a:ln w="5978" cap="flat">
                  <a:noFill/>
                  <a:prstDash val="solid"/>
                  <a:miter/>
                </a:ln>
              </p:spPr>
              <p:txBody>
                <a:bodyPr rtlCol="0" anchor="ctr"/>
                <a:lstStyle/>
                <a:p>
                  <a:endParaRPr lang="en-GB"/>
                </a:p>
              </p:txBody>
            </p:sp>
          </p:grpSp>
          <p:grpSp>
            <p:nvGrpSpPr>
              <p:cNvPr id="887" name="Graphic 3">
                <a:extLst>
                  <a:ext uri="{FF2B5EF4-FFF2-40B4-BE49-F238E27FC236}">
                    <a16:creationId xmlns:a16="http://schemas.microsoft.com/office/drawing/2014/main" id="{7D560CD0-5B82-423A-B1AD-A753AE7EA3F4}"/>
                  </a:ext>
                </a:extLst>
              </p:cNvPr>
              <p:cNvGrpSpPr/>
              <p:nvPr/>
            </p:nvGrpSpPr>
            <p:grpSpPr>
              <a:xfrm>
                <a:off x="4688165" y="2288431"/>
                <a:ext cx="78512" cy="68084"/>
                <a:chOff x="4688165" y="2288431"/>
                <a:chExt cx="78512" cy="68084"/>
              </a:xfrm>
              <a:grpFill/>
            </p:grpSpPr>
            <p:sp>
              <p:nvSpPr>
                <p:cNvPr id="2737" name="Vrije vorm: vorm 2736">
                  <a:extLst>
                    <a:ext uri="{FF2B5EF4-FFF2-40B4-BE49-F238E27FC236}">
                      <a16:creationId xmlns:a16="http://schemas.microsoft.com/office/drawing/2014/main" id="{A16D7B4E-C814-4492-B71B-A1C2C55A4AB0}"/>
                    </a:ext>
                  </a:extLst>
                </p:cNvPr>
                <p:cNvSpPr/>
                <p:nvPr/>
              </p:nvSpPr>
              <p:spPr>
                <a:xfrm>
                  <a:off x="4696022" y="2296219"/>
                  <a:ext cx="62797" cy="52510"/>
                </a:xfrm>
                <a:custGeom>
                  <a:avLst/>
                  <a:gdLst>
                    <a:gd name="connsiteX0" fmla="*/ 62798 w 62797"/>
                    <a:gd name="connsiteY0" fmla="*/ 50178 h 52510"/>
                    <a:gd name="connsiteX1" fmla="*/ 60884 w 62797"/>
                    <a:gd name="connsiteY1" fmla="*/ 52511 h 52510"/>
                    <a:gd name="connsiteX2" fmla="*/ 0 w 62797"/>
                    <a:gd name="connsiteY2" fmla="*/ 2332 h 52510"/>
                    <a:gd name="connsiteX3" fmla="*/ 1974 w 62797"/>
                    <a:gd name="connsiteY3" fmla="*/ 0 h 52510"/>
                  </a:gdLst>
                  <a:ahLst/>
                  <a:cxnLst>
                    <a:cxn ang="0">
                      <a:pos x="connsiteX0" y="connsiteY0"/>
                    </a:cxn>
                    <a:cxn ang="0">
                      <a:pos x="connsiteX1" y="connsiteY1"/>
                    </a:cxn>
                    <a:cxn ang="0">
                      <a:pos x="connsiteX2" y="connsiteY2"/>
                    </a:cxn>
                    <a:cxn ang="0">
                      <a:pos x="connsiteX3" y="connsiteY3"/>
                    </a:cxn>
                  </a:cxnLst>
                  <a:rect l="l" t="t" r="r" b="b"/>
                  <a:pathLst>
                    <a:path w="62797" h="52510">
                      <a:moveTo>
                        <a:pt x="62798" y="50178"/>
                      </a:moveTo>
                      <a:lnTo>
                        <a:pt x="60884" y="52511"/>
                      </a:lnTo>
                      <a:lnTo>
                        <a:pt x="0" y="2332"/>
                      </a:lnTo>
                      <a:lnTo>
                        <a:pt x="1974" y="0"/>
                      </a:lnTo>
                      <a:close/>
                    </a:path>
                  </a:pathLst>
                </a:custGeom>
                <a:grpFill/>
                <a:ln w="5978" cap="flat">
                  <a:noFill/>
                  <a:prstDash val="solid"/>
                  <a:miter/>
                </a:ln>
              </p:spPr>
              <p:txBody>
                <a:bodyPr rtlCol="0" anchor="ctr"/>
                <a:lstStyle/>
                <a:p>
                  <a:endParaRPr lang="en-GB"/>
                </a:p>
              </p:txBody>
            </p:sp>
            <p:sp>
              <p:nvSpPr>
                <p:cNvPr id="2738" name="Vrije vorm: vorm 2737">
                  <a:extLst>
                    <a:ext uri="{FF2B5EF4-FFF2-40B4-BE49-F238E27FC236}">
                      <a16:creationId xmlns:a16="http://schemas.microsoft.com/office/drawing/2014/main" id="{0600EEA2-2B29-424E-A143-A7AE7979E5C1}"/>
                    </a:ext>
                  </a:extLst>
                </p:cNvPr>
                <p:cNvSpPr/>
                <p:nvPr/>
              </p:nvSpPr>
              <p:spPr>
                <a:xfrm>
                  <a:off x="4688165" y="2288431"/>
                  <a:ext cx="18346" cy="18444"/>
                </a:xfrm>
                <a:custGeom>
                  <a:avLst/>
                  <a:gdLst>
                    <a:gd name="connsiteX0" fmla="*/ 3372 w 18346"/>
                    <a:gd name="connsiteY0" fmla="*/ 16339 h 18444"/>
                    <a:gd name="connsiteX1" fmla="*/ 2056 w 18346"/>
                    <a:gd name="connsiteY1" fmla="*/ 3361 h 18444"/>
                    <a:gd name="connsiteX2" fmla="*/ 14975 w 18346"/>
                    <a:gd name="connsiteY2" fmla="*/ 2105 h 18444"/>
                    <a:gd name="connsiteX3" fmla="*/ 16290 w 18346"/>
                    <a:gd name="connsiteY3" fmla="*/ 15084 h 18444"/>
                    <a:gd name="connsiteX4" fmla="*/ 3372 w 18346"/>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3372" y="16339"/>
                      </a:moveTo>
                      <a:cubicBezTo>
                        <a:pt x="-575" y="13110"/>
                        <a:pt x="-1114" y="7309"/>
                        <a:pt x="2056" y="3361"/>
                      </a:cubicBezTo>
                      <a:cubicBezTo>
                        <a:pt x="5286" y="-586"/>
                        <a:pt x="11027" y="-1124"/>
                        <a:pt x="14975" y="2105"/>
                      </a:cubicBezTo>
                      <a:cubicBezTo>
                        <a:pt x="18922" y="5335"/>
                        <a:pt x="19460" y="11136"/>
                        <a:pt x="16290" y="15084"/>
                      </a:cubicBezTo>
                      <a:cubicBezTo>
                        <a:pt x="13120" y="19031"/>
                        <a:pt x="7319" y="19569"/>
                        <a:pt x="3372" y="16339"/>
                      </a:cubicBezTo>
                      <a:close/>
                    </a:path>
                  </a:pathLst>
                </a:custGeom>
                <a:grpFill/>
                <a:ln w="5978" cap="flat">
                  <a:noFill/>
                  <a:prstDash val="solid"/>
                  <a:miter/>
                </a:ln>
              </p:spPr>
              <p:txBody>
                <a:bodyPr rtlCol="0" anchor="ctr"/>
                <a:lstStyle/>
                <a:p>
                  <a:endParaRPr lang="en-GB"/>
                </a:p>
              </p:txBody>
            </p:sp>
            <p:sp>
              <p:nvSpPr>
                <p:cNvPr id="2739" name="Vrije vorm: vorm 2738">
                  <a:extLst>
                    <a:ext uri="{FF2B5EF4-FFF2-40B4-BE49-F238E27FC236}">
                      <a16:creationId xmlns:a16="http://schemas.microsoft.com/office/drawing/2014/main" id="{CC0CD94D-D30C-4606-9C7E-F022E17A0663}"/>
                    </a:ext>
                  </a:extLst>
                </p:cNvPr>
                <p:cNvSpPr/>
                <p:nvPr/>
              </p:nvSpPr>
              <p:spPr>
                <a:xfrm>
                  <a:off x="4748350" y="2338072"/>
                  <a:ext cx="18327" cy="18444"/>
                </a:xfrm>
                <a:custGeom>
                  <a:avLst/>
                  <a:gdLst>
                    <a:gd name="connsiteX0" fmla="*/ 3353 w 18327"/>
                    <a:gd name="connsiteY0" fmla="*/ 16339 h 18444"/>
                    <a:gd name="connsiteX1" fmla="*/ 16271 w 18327"/>
                    <a:gd name="connsiteY1" fmla="*/ 15083 h 18444"/>
                    <a:gd name="connsiteX2" fmla="*/ 14955 w 18327"/>
                    <a:gd name="connsiteY2" fmla="*/ 2105 h 18444"/>
                    <a:gd name="connsiteX3" fmla="*/ 2037 w 18327"/>
                    <a:gd name="connsiteY3" fmla="*/ 3361 h 18444"/>
                    <a:gd name="connsiteX4" fmla="*/ 3353 w 18327"/>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4">
                      <a:moveTo>
                        <a:pt x="3353" y="16339"/>
                      </a:moveTo>
                      <a:cubicBezTo>
                        <a:pt x="7300" y="19569"/>
                        <a:pt x="13041" y="19031"/>
                        <a:pt x="16271" y="15083"/>
                      </a:cubicBezTo>
                      <a:cubicBezTo>
                        <a:pt x="19441" y="11136"/>
                        <a:pt x="18903" y="5335"/>
                        <a:pt x="14955" y="2105"/>
                      </a:cubicBezTo>
                      <a:cubicBezTo>
                        <a:pt x="11008" y="-1124"/>
                        <a:pt x="5267" y="-586"/>
                        <a:pt x="2037" y="3361"/>
                      </a:cubicBezTo>
                      <a:cubicBezTo>
                        <a:pt x="-1133" y="7249"/>
                        <a:pt x="-534" y="13110"/>
                        <a:pt x="3353" y="16339"/>
                      </a:cubicBezTo>
                      <a:close/>
                    </a:path>
                  </a:pathLst>
                </a:custGeom>
                <a:grpFill/>
                <a:ln w="5978" cap="flat">
                  <a:noFill/>
                  <a:prstDash val="solid"/>
                  <a:miter/>
                </a:ln>
              </p:spPr>
              <p:txBody>
                <a:bodyPr rtlCol="0" anchor="ctr"/>
                <a:lstStyle/>
                <a:p>
                  <a:endParaRPr lang="en-GB"/>
                </a:p>
              </p:txBody>
            </p:sp>
          </p:grpSp>
          <p:grpSp>
            <p:nvGrpSpPr>
              <p:cNvPr id="888" name="Graphic 3">
                <a:extLst>
                  <a:ext uri="{FF2B5EF4-FFF2-40B4-BE49-F238E27FC236}">
                    <a16:creationId xmlns:a16="http://schemas.microsoft.com/office/drawing/2014/main" id="{089CE665-F5DC-4D85-9E27-753EDBFC6D38}"/>
                  </a:ext>
                </a:extLst>
              </p:cNvPr>
              <p:cNvGrpSpPr/>
              <p:nvPr/>
            </p:nvGrpSpPr>
            <p:grpSpPr>
              <a:xfrm>
                <a:off x="4564437" y="2041996"/>
                <a:ext cx="237692" cy="261022"/>
                <a:chOff x="4564437" y="2041996"/>
                <a:chExt cx="237692" cy="261022"/>
              </a:xfrm>
              <a:grpFill/>
            </p:grpSpPr>
            <p:sp>
              <p:nvSpPr>
                <p:cNvPr id="2734" name="Vrije vorm: vorm 2733">
                  <a:extLst>
                    <a:ext uri="{FF2B5EF4-FFF2-40B4-BE49-F238E27FC236}">
                      <a16:creationId xmlns:a16="http://schemas.microsoft.com/office/drawing/2014/main" id="{208BD38C-D2A6-4865-AE54-016FA7DF79C4}"/>
                    </a:ext>
                  </a:extLst>
                </p:cNvPr>
                <p:cNvSpPr/>
                <p:nvPr/>
              </p:nvSpPr>
              <p:spPr>
                <a:xfrm>
                  <a:off x="4572162" y="2049813"/>
                  <a:ext cx="222243" cy="245388"/>
                </a:xfrm>
                <a:custGeom>
                  <a:avLst/>
                  <a:gdLst>
                    <a:gd name="connsiteX0" fmla="*/ 222243 w 222243"/>
                    <a:gd name="connsiteY0" fmla="*/ 243296 h 245388"/>
                    <a:gd name="connsiteX1" fmla="*/ 219971 w 222243"/>
                    <a:gd name="connsiteY1" fmla="*/ 245389 h 245388"/>
                    <a:gd name="connsiteX2" fmla="*/ 0 w 222243"/>
                    <a:gd name="connsiteY2" fmla="*/ 2033 h 245388"/>
                    <a:gd name="connsiteX3" fmla="*/ 2272 w 222243"/>
                    <a:gd name="connsiteY3" fmla="*/ 0 h 245388"/>
                  </a:gdLst>
                  <a:ahLst/>
                  <a:cxnLst>
                    <a:cxn ang="0">
                      <a:pos x="connsiteX0" y="connsiteY0"/>
                    </a:cxn>
                    <a:cxn ang="0">
                      <a:pos x="connsiteX1" y="connsiteY1"/>
                    </a:cxn>
                    <a:cxn ang="0">
                      <a:pos x="connsiteX2" y="connsiteY2"/>
                    </a:cxn>
                    <a:cxn ang="0">
                      <a:pos x="connsiteX3" y="connsiteY3"/>
                    </a:cxn>
                  </a:cxnLst>
                  <a:rect l="l" t="t" r="r" b="b"/>
                  <a:pathLst>
                    <a:path w="222243" h="245388">
                      <a:moveTo>
                        <a:pt x="222243" y="243296"/>
                      </a:moveTo>
                      <a:lnTo>
                        <a:pt x="219971" y="245389"/>
                      </a:lnTo>
                      <a:lnTo>
                        <a:pt x="0" y="2033"/>
                      </a:lnTo>
                      <a:lnTo>
                        <a:pt x="2272" y="0"/>
                      </a:lnTo>
                      <a:close/>
                    </a:path>
                  </a:pathLst>
                </a:custGeom>
                <a:grpFill/>
                <a:ln w="5978" cap="flat">
                  <a:noFill/>
                  <a:prstDash val="solid"/>
                  <a:miter/>
                </a:ln>
              </p:spPr>
              <p:txBody>
                <a:bodyPr rtlCol="0" anchor="ctr"/>
                <a:lstStyle/>
                <a:p>
                  <a:endParaRPr lang="en-GB"/>
                </a:p>
              </p:txBody>
            </p:sp>
            <p:sp>
              <p:nvSpPr>
                <p:cNvPr id="2735" name="Vrije vorm: vorm 2734">
                  <a:extLst>
                    <a:ext uri="{FF2B5EF4-FFF2-40B4-BE49-F238E27FC236}">
                      <a16:creationId xmlns:a16="http://schemas.microsoft.com/office/drawing/2014/main" id="{F8132C42-F70B-4BE6-8F76-EA9F9CCC1A2A}"/>
                    </a:ext>
                  </a:extLst>
                </p:cNvPr>
                <p:cNvSpPr/>
                <p:nvPr/>
              </p:nvSpPr>
              <p:spPr>
                <a:xfrm>
                  <a:off x="4783810" y="2284574"/>
                  <a:ext cx="18319" cy="18444"/>
                </a:xfrm>
                <a:custGeom>
                  <a:avLst/>
                  <a:gdLst>
                    <a:gd name="connsiteX0" fmla="*/ 15918 w 18319"/>
                    <a:gd name="connsiteY0" fmla="*/ 3032 h 18444"/>
                    <a:gd name="connsiteX1" fmla="*/ 15320 w 18319"/>
                    <a:gd name="connsiteY1" fmla="*/ 16070 h 18444"/>
                    <a:gd name="connsiteX2" fmla="*/ 2402 w 18319"/>
                    <a:gd name="connsiteY2" fmla="*/ 15412 h 18444"/>
                    <a:gd name="connsiteX3" fmla="*/ 2999 w 18319"/>
                    <a:gd name="connsiteY3" fmla="*/ 2374 h 18444"/>
                    <a:gd name="connsiteX4" fmla="*/ 15918 w 18319"/>
                    <a:gd name="connsiteY4" fmla="*/ 30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15918" y="3032"/>
                      </a:moveTo>
                      <a:cubicBezTo>
                        <a:pt x="19327" y="6800"/>
                        <a:pt x="19088" y="12661"/>
                        <a:pt x="15320" y="16070"/>
                      </a:cubicBezTo>
                      <a:cubicBezTo>
                        <a:pt x="11552" y="19479"/>
                        <a:pt x="5811" y="19180"/>
                        <a:pt x="2402" y="15412"/>
                      </a:cubicBezTo>
                      <a:cubicBezTo>
                        <a:pt x="-1008" y="11644"/>
                        <a:pt x="-768" y="5783"/>
                        <a:pt x="2999" y="2374"/>
                      </a:cubicBezTo>
                      <a:cubicBezTo>
                        <a:pt x="6707" y="-1035"/>
                        <a:pt x="12509" y="-736"/>
                        <a:pt x="15918" y="3032"/>
                      </a:cubicBezTo>
                      <a:close/>
                    </a:path>
                  </a:pathLst>
                </a:custGeom>
                <a:grpFill/>
                <a:ln w="5978" cap="flat">
                  <a:noFill/>
                  <a:prstDash val="solid"/>
                  <a:miter/>
                </a:ln>
              </p:spPr>
              <p:txBody>
                <a:bodyPr rtlCol="0" anchor="ctr"/>
                <a:lstStyle/>
                <a:p>
                  <a:endParaRPr lang="en-GB"/>
                </a:p>
              </p:txBody>
            </p:sp>
            <p:sp>
              <p:nvSpPr>
                <p:cNvPr id="2736" name="Vrije vorm: vorm 2735">
                  <a:extLst>
                    <a:ext uri="{FF2B5EF4-FFF2-40B4-BE49-F238E27FC236}">
                      <a16:creationId xmlns:a16="http://schemas.microsoft.com/office/drawing/2014/main" id="{D141EB49-7F3B-4C07-B748-5D5CEAE0CAEC}"/>
                    </a:ext>
                  </a:extLst>
                </p:cNvPr>
                <p:cNvSpPr/>
                <p:nvPr/>
              </p:nvSpPr>
              <p:spPr>
                <a:xfrm>
                  <a:off x="4564437" y="2041996"/>
                  <a:ext cx="18319" cy="18444"/>
                </a:xfrm>
                <a:custGeom>
                  <a:avLst/>
                  <a:gdLst>
                    <a:gd name="connsiteX0" fmla="*/ 15918 w 18319"/>
                    <a:gd name="connsiteY0" fmla="*/ 3032 h 18444"/>
                    <a:gd name="connsiteX1" fmla="*/ 2999 w 18319"/>
                    <a:gd name="connsiteY1" fmla="*/ 2374 h 18444"/>
                    <a:gd name="connsiteX2" fmla="*/ 2402 w 18319"/>
                    <a:gd name="connsiteY2" fmla="*/ 15412 h 18444"/>
                    <a:gd name="connsiteX3" fmla="*/ 15320 w 18319"/>
                    <a:gd name="connsiteY3" fmla="*/ 16070 h 18444"/>
                    <a:gd name="connsiteX4" fmla="*/ 15918 w 18319"/>
                    <a:gd name="connsiteY4" fmla="*/ 30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15918" y="3032"/>
                      </a:moveTo>
                      <a:cubicBezTo>
                        <a:pt x="12509" y="-736"/>
                        <a:pt x="6707" y="-1035"/>
                        <a:pt x="2999" y="2374"/>
                      </a:cubicBezTo>
                      <a:cubicBezTo>
                        <a:pt x="-768" y="5783"/>
                        <a:pt x="-1008" y="11644"/>
                        <a:pt x="2402" y="15412"/>
                      </a:cubicBezTo>
                      <a:cubicBezTo>
                        <a:pt x="5811" y="19180"/>
                        <a:pt x="11612" y="19479"/>
                        <a:pt x="15320" y="16070"/>
                      </a:cubicBezTo>
                      <a:cubicBezTo>
                        <a:pt x="19088" y="12601"/>
                        <a:pt x="19327" y="6800"/>
                        <a:pt x="15918" y="3032"/>
                      </a:cubicBezTo>
                      <a:close/>
                    </a:path>
                  </a:pathLst>
                </a:custGeom>
                <a:grpFill/>
                <a:ln w="5978" cap="flat">
                  <a:noFill/>
                  <a:prstDash val="solid"/>
                  <a:miter/>
                </a:ln>
              </p:spPr>
              <p:txBody>
                <a:bodyPr rtlCol="0" anchor="ctr"/>
                <a:lstStyle/>
                <a:p>
                  <a:endParaRPr lang="en-GB"/>
                </a:p>
              </p:txBody>
            </p:sp>
          </p:grpSp>
          <p:grpSp>
            <p:nvGrpSpPr>
              <p:cNvPr id="889" name="Graphic 3">
                <a:extLst>
                  <a:ext uri="{FF2B5EF4-FFF2-40B4-BE49-F238E27FC236}">
                    <a16:creationId xmlns:a16="http://schemas.microsoft.com/office/drawing/2014/main" id="{BB103002-165A-4B69-B19F-8AC801D86FBE}"/>
                  </a:ext>
                </a:extLst>
              </p:cNvPr>
              <p:cNvGrpSpPr/>
              <p:nvPr/>
            </p:nvGrpSpPr>
            <p:grpSpPr>
              <a:xfrm>
                <a:off x="4611477" y="1982021"/>
                <a:ext cx="26113" cy="26158"/>
                <a:chOff x="4611477" y="1982021"/>
                <a:chExt cx="26113" cy="26158"/>
              </a:xfrm>
              <a:grpFill/>
            </p:grpSpPr>
            <p:sp>
              <p:nvSpPr>
                <p:cNvPr id="2731" name="Vrije vorm: vorm 2730">
                  <a:extLst>
                    <a:ext uri="{FF2B5EF4-FFF2-40B4-BE49-F238E27FC236}">
                      <a16:creationId xmlns:a16="http://schemas.microsoft.com/office/drawing/2014/main" id="{8A8A267C-C9A6-4706-8A5C-8DEEACDA3763}"/>
                    </a:ext>
                  </a:extLst>
                </p:cNvPr>
                <p:cNvSpPr/>
                <p:nvPr/>
              </p:nvSpPr>
              <p:spPr>
                <a:xfrm>
                  <a:off x="4619290" y="1989826"/>
                  <a:ext cx="10466" cy="10526"/>
                </a:xfrm>
                <a:custGeom>
                  <a:avLst/>
                  <a:gdLst>
                    <a:gd name="connsiteX0" fmla="*/ 10466 w 10466"/>
                    <a:gd name="connsiteY0" fmla="*/ 8373 h 10526"/>
                    <a:gd name="connsiteX1" fmla="*/ 8373 w 10466"/>
                    <a:gd name="connsiteY1" fmla="*/ 10526 h 10526"/>
                    <a:gd name="connsiteX2" fmla="*/ 0 w 10466"/>
                    <a:gd name="connsiteY2" fmla="*/ 2213 h 10526"/>
                    <a:gd name="connsiteX3" fmla="*/ 2093 w 10466"/>
                    <a:gd name="connsiteY3" fmla="*/ 0 h 10526"/>
                  </a:gdLst>
                  <a:ahLst/>
                  <a:cxnLst>
                    <a:cxn ang="0">
                      <a:pos x="connsiteX0" y="connsiteY0"/>
                    </a:cxn>
                    <a:cxn ang="0">
                      <a:pos x="connsiteX1" y="connsiteY1"/>
                    </a:cxn>
                    <a:cxn ang="0">
                      <a:pos x="connsiteX2" y="connsiteY2"/>
                    </a:cxn>
                    <a:cxn ang="0">
                      <a:pos x="connsiteX3" y="connsiteY3"/>
                    </a:cxn>
                  </a:cxnLst>
                  <a:rect l="l" t="t" r="r" b="b"/>
                  <a:pathLst>
                    <a:path w="10466" h="10526">
                      <a:moveTo>
                        <a:pt x="10466" y="8373"/>
                      </a:moveTo>
                      <a:lnTo>
                        <a:pt x="8373" y="10526"/>
                      </a:lnTo>
                      <a:lnTo>
                        <a:pt x="0" y="2213"/>
                      </a:lnTo>
                      <a:lnTo>
                        <a:pt x="2093" y="0"/>
                      </a:lnTo>
                      <a:close/>
                    </a:path>
                  </a:pathLst>
                </a:custGeom>
                <a:grpFill/>
                <a:ln w="5978" cap="flat">
                  <a:noFill/>
                  <a:prstDash val="solid"/>
                  <a:miter/>
                </a:ln>
              </p:spPr>
              <p:txBody>
                <a:bodyPr rtlCol="0" anchor="ctr"/>
                <a:lstStyle/>
                <a:p>
                  <a:endParaRPr lang="en-GB"/>
                </a:p>
              </p:txBody>
            </p:sp>
            <p:sp>
              <p:nvSpPr>
                <p:cNvPr id="2732" name="Vrije vorm: vorm 2731">
                  <a:extLst>
                    <a:ext uri="{FF2B5EF4-FFF2-40B4-BE49-F238E27FC236}">
                      <a16:creationId xmlns:a16="http://schemas.microsoft.com/office/drawing/2014/main" id="{138C4EF9-4D90-4FF4-AE8F-7BB4EE377ECD}"/>
                    </a:ext>
                  </a:extLst>
                </p:cNvPr>
                <p:cNvSpPr/>
                <p:nvPr/>
              </p:nvSpPr>
              <p:spPr>
                <a:xfrm>
                  <a:off x="4611477" y="1982021"/>
                  <a:ext cx="18316" cy="18443"/>
                </a:xfrm>
                <a:custGeom>
                  <a:avLst/>
                  <a:gdLst>
                    <a:gd name="connsiteX0" fmla="*/ 2729 w 18316"/>
                    <a:gd name="connsiteY0" fmla="*/ 15759 h 18443"/>
                    <a:gd name="connsiteX1" fmla="*/ 2609 w 18316"/>
                    <a:gd name="connsiteY1" fmla="*/ 2721 h 18443"/>
                    <a:gd name="connsiteX2" fmla="*/ 15588 w 18316"/>
                    <a:gd name="connsiteY2" fmla="*/ 2662 h 18443"/>
                    <a:gd name="connsiteX3" fmla="*/ 15707 w 18316"/>
                    <a:gd name="connsiteY3" fmla="*/ 15700 h 18443"/>
                    <a:gd name="connsiteX4" fmla="*/ 2729 w 18316"/>
                    <a:gd name="connsiteY4" fmla="*/ 1575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3">
                      <a:moveTo>
                        <a:pt x="2729" y="15759"/>
                      </a:moveTo>
                      <a:cubicBezTo>
                        <a:pt x="-859" y="12171"/>
                        <a:pt x="-919" y="6370"/>
                        <a:pt x="2609" y="2721"/>
                      </a:cubicBezTo>
                      <a:cubicBezTo>
                        <a:pt x="6138" y="-867"/>
                        <a:pt x="11939" y="-927"/>
                        <a:pt x="15588" y="2662"/>
                      </a:cubicBezTo>
                      <a:cubicBezTo>
                        <a:pt x="19176" y="6250"/>
                        <a:pt x="19236" y="12051"/>
                        <a:pt x="15707" y="15700"/>
                      </a:cubicBezTo>
                      <a:cubicBezTo>
                        <a:pt x="12179" y="19348"/>
                        <a:pt x="6377" y="19348"/>
                        <a:pt x="2729" y="15759"/>
                      </a:cubicBezTo>
                      <a:close/>
                    </a:path>
                  </a:pathLst>
                </a:custGeom>
                <a:grpFill/>
                <a:ln w="5978" cap="flat">
                  <a:noFill/>
                  <a:prstDash val="solid"/>
                  <a:miter/>
                </a:ln>
              </p:spPr>
              <p:txBody>
                <a:bodyPr rtlCol="0" anchor="ctr"/>
                <a:lstStyle/>
                <a:p>
                  <a:endParaRPr lang="en-GB"/>
                </a:p>
              </p:txBody>
            </p:sp>
            <p:sp>
              <p:nvSpPr>
                <p:cNvPr id="2733" name="Vrije vorm: vorm 2732">
                  <a:extLst>
                    <a:ext uri="{FF2B5EF4-FFF2-40B4-BE49-F238E27FC236}">
                      <a16:creationId xmlns:a16="http://schemas.microsoft.com/office/drawing/2014/main" id="{056A5F7C-9659-4CBD-A10A-21514F101F04}"/>
                    </a:ext>
                  </a:extLst>
                </p:cNvPr>
                <p:cNvSpPr/>
                <p:nvPr/>
              </p:nvSpPr>
              <p:spPr>
                <a:xfrm>
                  <a:off x="4619230" y="1989714"/>
                  <a:ext cx="18361" cy="18465"/>
                </a:xfrm>
                <a:custGeom>
                  <a:avLst/>
                  <a:gdLst>
                    <a:gd name="connsiteX0" fmla="*/ 2751 w 18361"/>
                    <a:gd name="connsiteY0" fmla="*/ 15782 h 18465"/>
                    <a:gd name="connsiteX1" fmla="*/ 15730 w 18361"/>
                    <a:gd name="connsiteY1" fmla="*/ 15722 h 18465"/>
                    <a:gd name="connsiteX2" fmla="*/ 15610 w 18361"/>
                    <a:gd name="connsiteY2" fmla="*/ 2684 h 18465"/>
                    <a:gd name="connsiteX3" fmla="*/ 2632 w 18361"/>
                    <a:gd name="connsiteY3" fmla="*/ 2744 h 18465"/>
                    <a:gd name="connsiteX4" fmla="*/ 2751 w 18361"/>
                    <a:gd name="connsiteY4" fmla="*/ 1578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65">
                      <a:moveTo>
                        <a:pt x="2751" y="15782"/>
                      </a:moveTo>
                      <a:cubicBezTo>
                        <a:pt x="6340" y="19370"/>
                        <a:pt x="12141" y="19370"/>
                        <a:pt x="15730" y="15722"/>
                      </a:cubicBezTo>
                      <a:cubicBezTo>
                        <a:pt x="19258" y="12133"/>
                        <a:pt x="19258" y="6272"/>
                        <a:pt x="15610" y="2684"/>
                      </a:cubicBezTo>
                      <a:cubicBezTo>
                        <a:pt x="12021" y="-905"/>
                        <a:pt x="6220" y="-905"/>
                        <a:pt x="2632" y="2744"/>
                      </a:cubicBezTo>
                      <a:cubicBezTo>
                        <a:pt x="-897" y="6332"/>
                        <a:pt x="-897" y="12193"/>
                        <a:pt x="2751" y="15782"/>
                      </a:cubicBezTo>
                      <a:close/>
                    </a:path>
                  </a:pathLst>
                </a:custGeom>
                <a:grpFill/>
                <a:ln w="5978" cap="flat">
                  <a:noFill/>
                  <a:prstDash val="solid"/>
                  <a:miter/>
                </a:ln>
              </p:spPr>
              <p:txBody>
                <a:bodyPr rtlCol="0" anchor="ctr"/>
                <a:lstStyle/>
                <a:p>
                  <a:endParaRPr lang="en-GB"/>
                </a:p>
              </p:txBody>
            </p:sp>
          </p:grpSp>
          <p:grpSp>
            <p:nvGrpSpPr>
              <p:cNvPr id="890" name="Graphic 3">
                <a:extLst>
                  <a:ext uri="{FF2B5EF4-FFF2-40B4-BE49-F238E27FC236}">
                    <a16:creationId xmlns:a16="http://schemas.microsoft.com/office/drawing/2014/main" id="{705DEAF6-4273-486E-A644-3F5C88BF2B09}"/>
                  </a:ext>
                </a:extLst>
              </p:cNvPr>
              <p:cNvGrpSpPr/>
              <p:nvPr/>
            </p:nvGrpSpPr>
            <p:grpSpPr>
              <a:xfrm>
                <a:off x="5698104" y="5092576"/>
                <a:ext cx="146684" cy="672887"/>
                <a:chOff x="5698104" y="5092576"/>
                <a:chExt cx="146684" cy="672887"/>
              </a:xfrm>
              <a:grpFill/>
            </p:grpSpPr>
            <p:sp>
              <p:nvSpPr>
                <p:cNvPr id="2728" name="Vrije vorm: vorm 2727">
                  <a:extLst>
                    <a:ext uri="{FF2B5EF4-FFF2-40B4-BE49-F238E27FC236}">
                      <a16:creationId xmlns:a16="http://schemas.microsoft.com/office/drawing/2014/main" id="{CD9675A7-F1B6-4F13-905C-8A9C914C942C}"/>
                    </a:ext>
                  </a:extLst>
                </p:cNvPr>
                <p:cNvSpPr/>
                <p:nvPr/>
              </p:nvSpPr>
              <p:spPr>
                <a:xfrm>
                  <a:off x="5705688" y="5101057"/>
                  <a:ext cx="131456" cy="655965"/>
                </a:xfrm>
                <a:custGeom>
                  <a:avLst/>
                  <a:gdLst>
                    <a:gd name="connsiteX0" fmla="*/ 131456 w 131456"/>
                    <a:gd name="connsiteY0" fmla="*/ 598 h 655965"/>
                    <a:gd name="connsiteX1" fmla="*/ 2990 w 131456"/>
                    <a:gd name="connsiteY1" fmla="*/ 655965 h 655965"/>
                    <a:gd name="connsiteX2" fmla="*/ 0 w 131456"/>
                    <a:gd name="connsiteY2" fmla="*/ 655367 h 655965"/>
                    <a:gd name="connsiteX3" fmla="*/ 128466 w 131456"/>
                    <a:gd name="connsiteY3" fmla="*/ 0 h 655965"/>
                  </a:gdLst>
                  <a:ahLst/>
                  <a:cxnLst>
                    <a:cxn ang="0">
                      <a:pos x="connsiteX0" y="connsiteY0"/>
                    </a:cxn>
                    <a:cxn ang="0">
                      <a:pos x="connsiteX1" y="connsiteY1"/>
                    </a:cxn>
                    <a:cxn ang="0">
                      <a:pos x="connsiteX2" y="connsiteY2"/>
                    </a:cxn>
                    <a:cxn ang="0">
                      <a:pos x="connsiteX3" y="connsiteY3"/>
                    </a:cxn>
                  </a:cxnLst>
                  <a:rect l="l" t="t" r="r" b="b"/>
                  <a:pathLst>
                    <a:path w="131456" h="655965">
                      <a:moveTo>
                        <a:pt x="131456" y="598"/>
                      </a:moveTo>
                      <a:lnTo>
                        <a:pt x="2990" y="655965"/>
                      </a:lnTo>
                      <a:lnTo>
                        <a:pt x="0" y="655367"/>
                      </a:lnTo>
                      <a:lnTo>
                        <a:pt x="128466" y="0"/>
                      </a:lnTo>
                      <a:close/>
                    </a:path>
                  </a:pathLst>
                </a:custGeom>
                <a:grpFill/>
                <a:ln w="5978" cap="flat">
                  <a:noFill/>
                  <a:prstDash val="solid"/>
                  <a:miter/>
                </a:ln>
              </p:spPr>
              <p:txBody>
                <a:bodyPr rtlCol="0" anchor="ctr"/>
                <a:lstStyle/>
                <a:p>
                  <a:endParaRPr lang="en-GB"/>
                </a:p>
              </p:txBody>
            </p:sp>
            <p:sp>
              <p:nvSpPr>
                <p:cNvPr id="2729" name="Vrije vorm: vorm 2728">
                  <a:extLst>
                    <a:ext uri="{FF2B5EF4-FFF2-40B4-BE49-F238E27FC236}">
                      <a16:creationId xmlns:a16="http://schemas.microsoft.com/office/drawing/2014/main" id="{4ACDEA1F-6896-48FA-B4FC-B65D2FDAEF1C}"/>
                    </a:ext>
                  </a:extLst>
                </p:cNvPr>
                <p:cNvSpPr/>
                <p:nvPr/>
              </p:nvSpPr>
              <p:spPr>
                <a:xfrm>
                  <a:off x="5826431" y="5092576"/>
                  <a:ext cx="18356" cy="18397"/>
                </a:xfrm>
                <a:custGeom>
                  <a:avLst/>
                  <a:gdLst>
                    <a:gd name="connsiteX0" fmla="*/ 187 w 18356"/>
                    <a:gd name="connsiteY0" fmla="*/ 7405 h 18397"/>
                    <a:gd name="connsiteX1" fmla="*/ 10952 w 18356"/>
                    <a:gd name="connsiteY1" fmla="*/ 168 h 18397"/>
                    <a:gd name="connsiteX2" fmla="*/ 18189 w 18356"/>
                    <a:gd name="connsiteY2" fmla="*/ 10993 h 18397"/>
                    <a:gd name="connsiteX3" fmla="*/ 7424 w 18356"/>
                    <a:gd name="connsiteY3" fmla="*/ 18230 h 18397"/>
                    <a:gd name="connsiteX4" fmla="*/ 187 w 18356"/>
                    <a:gd name="connsiteY4" fmla="*/ 7405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87" y="7405"/>
                      </a:moveTo>
                      <a:cubicBezTo>
                        <a:pt x="1144" y="2441"/>
                        <a:pt x="5988" y="-789"/>
                        <a:pt x="10952" y="168"/>
                      </a:cubicBezTo>
                      <a:cubicBezTo>
                        <a:pt x="15916" y="1185"/>
                        <a:pt x="19146" y="6029"/>
                        <a:pt x="18189" y="10993"/>
                      </a:cubicBezTo>
                      <a:cubicBezTo>
                        <a:pt x="17232" y="15957"/>
                        <a:pt x="12388" y="19187"/>
                        <a:pt x="7424" y="18230"/>
                      </a:cubicBezTo>
                      <a:cubicBezTo>
                        <a:pt x="2400" y="17273"/>
                        <a:pt x="-830" y="12428"/>
                        <a:pt x="187" y="7405"/>
                      </a:cubicBezTo>
                      <a:close/>
                    </a:path>
                  </a:pathLst>
                </a:custGeom>
                <a:grpFill/>
                <a:ln w="5978" cap="flat">
                  <a:noFill/>
                  <a:prstDash val="solid"/>
                  <a:miter/>
                </a:ln>
              </p:spPr>
              <p:txBody>
                <a:bodyPr rtlCol="0" anchor="ctr"/>
                <a:lstStyle/>
                <a:p>
                  <a:endParaRPr lang="en-GB"/>
                </a:p>
              </p:txBody>
            </p:sp>
            <p:sp>
              <p:nvSpPr>
                <p:cNvPr id="2730" name="Vrije vorm: vorm 2729">
                  <a:extLst>
                    <a:ext uri="{FF2B5EF4-FFF2-40B4-BE49-F238E27FC236}">
                      <a16:creationId xmlns:a16="http://schemas.microsoft.com/office/drawing/2014/main" id="{0E4BEFF0-B9F3-4BC2-9062-DDD72D4D173B}"/>
                    </a:ext>
                  </a:extLst>
                </p:cNvPr>
                <p:cNvSpPr/>
                <p:nvPr/>
              </p:nvSpPr>
              <p:spPr>
                <a:xfrm>
                  <a:off x="5698104" y="5747027"/>
                  <a:ext cx="18337" cy="18435"/>
                </a:xfrm>
                <a:custGeom>
                  <a:avLst/>
                  <a:gdLst>
                    <a:gd name="connsiteX0" fmla="*/ 168 w 18337"/>
                    <a:gd name="connsiteY0" fmla="*/ 7424 h 18435"/>
                    <a:gd name="connsiteX1" fmla="*/ 7405 w 18337"/>
                    <a:gd name="connsiteY1" fmla="*/ 18249 h 18435"/>
                    <a:gd name="connsiteX2" fmla="*/ 18170 w 18337"/>
                    <a:gd name="connsiteY2" fmla="*/ 11012 h 18435"/>
                    <a:gd name="connsiteX3" fmla="*/ 10933 w 18337"/>
                    <a:gd name="connsiteY3" fmla="*/ 187 h 18435"/>
                    <a:gd name="connsiteX4" fmla="*/ 168 w 18337"/>
                    <a:gd name="connsiteY4" fmla="*/ 742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5">
                      <a:moveTo>
                        <a:pt x="168" y="7424"/>
                      </a:moveTo>
                      <a:cubicBezTo>
                        <a:pt x="-789" y="12388"/>
                        <a:pt x="2441" y="17292"/>
                        <a:pt x="7405" y="18249"/>
                      </a:cubicBezTo>
                      <a:cubicBezTo>
                        <a:pt x="12368" y="19266"/>
                        <a:pt x="17213" y="16036"/>
                        <a:pt x="18170" y="11012"/>
                      </a:cubicBezTo>
                      <a:cubicBezTo>
                        <a:pt x="19127" y="5988"/>
                        <a:pt x="15897" y="1144"/>
                        <a:pt x="10933" y="187"/>
                      </a:cubicBezTo>
                      <a:cubicBezTo>
                        <a:pt x="5969" y="-830"/>
                        <a:pt x="1185" y="2400"/>
                        <a:pt x="168" y="7424"/>
                      </a:cubicBezTo>
                      <a:close/>
                    </a:path>
                  </a:pathLst>
                </a:custGeom>
                <a:grpFill/>
                <a:ln w="5978" cap="flat">
                  <a:noFill/>
                  <a:prstDash val="solid"/>
                  <a:miter/>
                </a:ln>
              </p:spPr>
              <p:txBody>
                <a:bodyPr rtlCol="0" anchor="ctr"/>
                <a:lstStyle/>
                <a:p>
                  <a:endParaRPr lang="en-GB"/>
                </a:p>
              </p:txBody>
            </p:sp>
          </p:grpSp>
          <p:grpSp>
            <p:nvGrpSpPr>
              <p:cNvPr id="891" name="Graphic 3">
                <a:extLst>
                  <a:ext uri="{FF2B5EF4-FFF2-40B4-BE49-F238E27FC236}">
                    <a16:creationId xmlns:a16="http://schemas.microsoft.com/office/drawing/2014/main" id="{C033995D-1D09-4F75-939F-7DFEC74ABDC8}"/>
                  </a:ext>
                </a:extLst>
              </p:cNvPr>
              <p:cNvGrpSpPr/>
              <p:nvPr/>
            </p:nvGrpSpPr>
            <p:grpSpPr>
              <a:xfrm>
                <a:off x="5643213" y="5054831"/>
                <a:ext cx="49132" cy="154673"/>
                <a:chOff x="5643213" y="5054831"/>
                <a:chExt cx="49132" cy="154673"/>
              </a:xfrm>
              <a:grpFill/>
            </p:grpSpPr>
            <p:sp>
              <p:nvSpPr>
                <p:cNvPr id="2725" name="Vrije vorm: vorm 2724">
                  <a:extLst>
                    <a:ext uri="{FF2B5EF4-FFF2-40B4-BE49-F238E27FC236}">
                      <a16:creationId xmlns:a16="http://schemas.microsoft.com/office/drawing/2014/main" id="{D4AD57BE-6FC3-4C1A-A160-6854EF3D0852}"/>
                    </a:ext>
                  </a:extLst>
                </p:cNvPr>
                <p:cNvSpPr/>
                <p:nvPr/>
              </p:nvSpPr>
              <p:spPr>
                <a:xfrm>
                  <a:off x="5650785" y="5063259"/>
                  <a:ext cx="33970" cy="137855"/>
                </a:xfrm>
                <a:custGeom>
                  <a:avLst/>
                  <a:gdLst>
                    <a:gd name="connsiteX0" fmla="*/ 33970 w 33970"/>
                    <a:gd name="connsiteY0" fmla="*/ 718 h 137855"/>
                    <a:gd name="connsiteX1" fmla="*/ 2990 w 33970"/>
                    <a:gd name="connsiteY1" fmla="*/ 137856 h 137855"/>
                    <a:gd name="connsiteX2" fmla="*/ 0 w 33970"/>
                    <a:gd name="connsiteY2" fmla="*/ 137138 h 137855"/>
                    <a:gd name="connsiteX3" fmla="*/ 30980 w 33970"/>
                    <a:gd name="connsiteY3" fmla="*/ 0 h 137855"/>
                  </a:gdLst>
                  <a:ahLst/>
                  <a:cxnLst>
                    <a:cxn ang="0">
                      <a:pos x="connsiteX0" y="connsiteY0"/>
                    </a:cxn>
                    <a:cxn ang="0">
                      <a:pos x="connsiteX1" y="connsiteY1"/>
                    </a:cxn>
                    <a:cxn ang="0">
                      <a:pos x="connsiteX2" y="connsiteY2"/>
                    </a:cxn>
                    <a:cxn ang="0">
                      <a:pos x="connsiteX3" y="connsiteY3"/>
                    </a:cxn>
                  </a:cxnLst>
                  <a:rect l="l" t="t" r="r" b="b"/>
                  <a:pathLst>
                    <a:path w="33970" h="137855">
                      <a:moveTo>
                        <a:pt x="33970" y="718"/>
                      </a:moveTo>
                      <a:lnTo>
                        <a:pt x="2990" y="137856"/>
                      </a:lnTo>
                      <a:lnTo>
                        <a:pt x="0" y="137138"/>
                      </a:lnTo>
                      <a:lnTo>
                        <a:pt x="30980" y="0"/>
                      </a:lnTo>
                      <a:close/>
                    </a:path>
                  </a:pathLst>
                </a:custGeom>
                <a:grpFill/>
                <a:ln w="5978" cap="flat">
                  <a:noFill/>
                  <a:prstDash val="solid"/>
                  <a:miter/>
                </a:ln>
              </p:spPr>
              <p:txBody>
                <a:bodyPr rtlCol="0" anchor="ctr"/>
                <a:lstStyle/>
                <a:p>
                  <a:endParaRPr lang="en-GB"/>
                </a:p>
              </p:txBody>
            </p:sp>
            <p:sp>
              <p:nvSpPr>
                <p:cNvPr id="2726" name="Vrije vorm: vorm 2725">
                  <a:extLst>
                    <a:ext uri="{FF2B5EF4-FFF2-40B4-BE49-F238E27FC236}">
                      <a16:creationId xmlns:a16="http://schemas.microsoft.com/office/drawing/2014/main" id="{8ED66249-01D5-4C5A-906A-AF7FFBBC2370}"/>
                    </a:ext>
                  </a:extLst>
                </p:cNvPr>
                <p:cNvSpPr/>
                <p:nvPr/>
              </p:nvSpPr>
              <p:spPr>
                <a:xfrm>
                  <a:off x="5643213" y="5191050"/>
                  <a:ext cx="18332" cy="18454"/>
                </a:xfrm>
                <a:custGeom>
                  <a:avLst/>
                  <a:gdLst>
                    <a:gd name="connsiteX0" fmla="*/ 18098 w 18332"/>
                    <a:gd name="connsiteY0" fmla="*/ 11321 h 18454"/>
                    <a:gd name="connsiteX1" fmla="*/ 7153 w 18332"/>
                    <a:gd name="connsiteY1" fmla="*/ 18198 h 18454"/>
                    <a:gd name="connsiteX2" fmla="*/ 216 w 18332"/>
                    <a:gd name="connsiteY2" fmla="*/ 7134 h 18454"/>
                    <a:gd name="connsiteX3" fmla="*/ 11160 w 18332"/>
                    <a:gd name="connsiteY3" fmla="*/ 256 h 18454"/>
                    <a:gd name="connsiteX4" fmla="*/ 18098 w 18332"/>
                    <a:gd name="connsiteY4" fmla="*/ 1132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4">
                      <a:moveTo>
                        <a:pt x="18098" y="11321"/>
                      </a:moveTo>
                      <a:cubicBezTo>
                        <a:pt x="16962" y="16284"/>
                        <a:pt x="12058" y="19395"/>
                        <a:pt x="7153" y="18198"/>
                      </a:cubicBezTo>
                      <a:cubicBezTo>
                        <a:pt x="2189" y="17062"/>
                        <a:pt x="-861" y="12098"/>
                        <a:pt x="216" y="7134"/>
                      </a:cubicBezTo>
                      <a:cubicBezTo>
                        <a:pt x="1352" y="2170"/>
                        <a:pt x="6256" y="-940"/>
                        <a:pt x="11160" y="256"/>
                      </a:cubicBezTo>
                      <a:cubicBezTo>
                        <a:pt x="16124" y="1393"/>
                        <a:pt x="19235" y="6357"/>
                        <a:pt x="18098" y="11321"/>
                      </a:cubicBezTo>
                      <a:close/>
                    </a:path>
                  </a:pathLst>
                </a:custGeom>
                <a:grpFill/>
                <a:ln w="5978" cap="flat">
                  <a:noFill/>
                  <a:prstDash val="solid"/>
                  <a:miter/>
                </a:ln>
              </p:spPr>
              <p:txBody>
                <a:bodyPr rtlCol="0" anchor="ctr"/>
                <a:lstStyle/>
                <a:p>
                  <a:endParaRPr lang="en-GB"/>
                </a:p>
              </p:txBody>
            </p:sp>
            <p:sp>
              <p:nvSpPr>
                <p:cNvPr id="2727" name="Vrije vorm: vorm 2726">
                  <a:extLst>
                    <a:ext uri="{FF2B5EF4-FFF2-40B4-BE49-F238E27FC236}">
                      <a16:creationId xmlns:a16="http://schemas.microsoft.com/office/drawing/2014/main" id="{D58E5FA2-9972-4A03-8E4C-7EF23A5E6FD3}"/>
                    </a:ext>
                  </a:extLst>
                </p:cNvPr>
                <p:cNvSpPr/>
                <p:nvPr/>
              </p:nvSpPr>
              <p:spPr>
                <a:xfrm>
                  <a:off x="5673995" y="5054831"/>
                  <a:ext cx="18350" cy="18413"/>
                </a:xfrm>
                <a:custGeom>
                  <a:avLst/>
                  <a:gdLst>
                    <a:gd name="connsiteX0" fmla="*/ 18116 w 18350"/>
                    <a:gd name="connsiteY0" fmla="*/ 11299 h 18413"/>
                    <a:gd name="connsiteX1" fmla="*/ 11179 w 18350"/>
                    <a:gd name="connsiteY1" fmla="*/ 234 h 18413"/>
                    <a:gd name="connsiteX2" fmla="*/ 234 w 18350"/>
                    <a:gd name="connsiteY2" fmla="*/ 7112 h 18413"/>
                    <a:gd name="connsiteX3" fmla="*/ 7172 w 18350"/>
                    <a:gd name="connsiteY3" fmla="*/ 18176 h 18413"/>
                    <a:gd name="connsiteX4" fmla="*/ 18116 w 18350"/>
                    <a:gd name="connsiteY4" fmla="*/ 1129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3">
                      <a:moveTo>
                        <a:pt x="18116" y="11299"/>
                      </a:moveTo>
                      <a:cubicBezTo>
                        <a:pt x="19253" y="6334"/>
                        <a:pt x="16143" y="1371"/>
                        <a:pt x="11179" y="234"/>
                      </a:cubicBezTo>
                      <a:cubicBezTo>
                        <a:pt x="6215" y="-902"/>
                        <a:pt x="1311" y="2208"/>
                        <a:pt x="234" y="7112"/>
                      </a:cubicBezTo>
                      <a:cubicBezTo>
                        <a:pt x="-902" y="12076"/>
                        <a:pt x="2208" y="17040"/>
                        <a:pt x="7172" y="18176"/>
                      </a:cubicBezTo>
                      <a:cubicBezTo>
                        <a:pt x="12076" y="19313"/>
                        <a:pt x="16980" y="16263"/>
                        <a:pt x="18116" y="11299"/>
                      </a:cubicBezTo>
                      <a:close/>
                    </a:path>
                  </a:pathLst>
                </a:custGeom>
                <a:grpFill/>
                <a:ln w="5978" cap="flat">
                  <a:noFill/>
                  <a:prstDash val="solid"/>
                  <a:miter/>
                </a:ln>
              </p:spPr>
              <p:txBody>
                <a:bodyPr rtlCol="0" anchor="ctr"/>
                <a:lstStyle/>
                <a:p>
                  <a:endParaRPr lang="en-GB"/>
                </a:p>
              </p:txBody>
            </p:sp>
          </p:grpSp>
          <p:grpSp>
            <p:nvGrpSpPr>
              <p:cNvPr id="892" name="Graphic 3">
                <a:extLst>
                  <a:ext uri="{FF2B5EF4-FFF2-40B4-BE49-F238E27FC236}">
                    <a16:creationId xmlns:a16="http://schemas.microsoft.com/office/drawing/2014/main" id="{EEDCA36A-C2E2-4B7C-AE84-9E85EF4DDC28}"/>
                  </a:ext>
                </a:extLst>
              </p:cNvPr>
              <p:cNvGrpSpPr/>
              <p:nvPr/>
            </p:nvGrpSpPr>
            <p:grpSpPr>
              <a:xfrm>
                <a:off x="4616491" y="2088807"/>
                <a:ext cx="86657" cy="81577"/>
                <a:chOff x="4616491" y="2088807"/>
                <a:chExt cx="86657" cy="81577"/>
              </a:xfrm>
              <a:grpFill/>
            </p:grpSpPr>
            <p:sp>
              <p:nvSpPr>
                <p:cNvPr id="2722" name="Vrije vorm: vorm 2721">
                  <a:extLst>
                    <a:ext uri="{FF2B5EF4-FFF2-40B4-BE49-F238E27FC236}">
                      <a16:creationId xmlns:a16="http://schemas.microsoft.com/office/drawing/2014/main" id="{85A75179-22ED-4DA0-99B6-16D4D40162CB}"/>
                    </a:ext>
                  </a:extLst>
                </p:cNvPr>
                <p:cNvSpPr/>
                <p:nvPr/>
              </p:nvSpPr>
              <p:spPr>
                <a:xfrm>
                  <a:off x="4624254" y="2096642"/>
                  <a:ext cx="71110" cy="65967"/>
                </a:xfrm>
                <a:custGeom>
                  <a:avLst/>
                  <a:gdLst>
                    <a:gd name="connsiteX0" fmla="*/ 71111 w 71110"/>
                    <a:gd name="connsiteY0" fmla="*/ 63695 h 65967"/>
                    <a:gd name="connsiteX1" fmla="*/ 69077 w 71110"/>
                    <a:gd name="connsiteY1" fmla="*/ 65967 h 65967"/>
                    <a:gd name="connsiteX2" fmla="*/ 0 w 71110"/>
                    <a:gd name="connsiteY2" fmla="*/ 2213 h 65967"/>
                    <a:gd name="connsiteX3" fmla="*/ 2093 w 71110"/>
                    <a:gd name="connsiteY3" fmla="*/ 0 h 65967"/>
                  </a:gdLst>
                  <a:ahLst/>
                  <a:cxnLst>
                    <a:cxn ang="0">
                      <a:pos x="connsiteX0" y="connsiteY0"/>
                    </a:cxn>
                    <a:cxn ang="0">
                      <a:pos x="connsiteX1" y="connsiteY1"/>
                    </a:cxn>
                    <a:cxn ang="0">
                      <a:pos x="connsiteX2" y="connsiteY2"/>
                    </a:cxn>
                    <a:cxn ang="0">
                      <a:pos x="connsiteX3" y="connsiteY3"/>
                    </a:cxn>
                  </a:cxnLst>
                  <a:rect l="l" t="t" r="r" b="b"/>
                  <a:pathLst>
                    <a:path w="71110" h="65967">
                      <a:moveTo>
                        <a:pt x="71111" y="63695"/>
                      </a:moveTo>
                      <a:lnTo>
                        <a:pt x="69077" y="65967"/>
                      </a:lnTo>
                      <a:lnTo>
                        <a:pt x="0" y="2213"/>
                      </a:lnTo>
                      <a:lnTo>
                        <a:pt x="2093" y="0"/>
                      </a:lnTo>
                      <a:close/>
                    </a:path>
                  </a:pathLst>
                </a:custGeom>
                <a:grpFill/>
                <a:ln w="5978" cap="flat">
                  <a:noFill/>
                  <a:prstDash val="solid"/>
                  <a:miter/>
                </a:ln>
              </p:spPr>
              <p:txBody>
                <a:bodyPr rtlCol="0" anchor="ctr"/>
                <a:lstStyle/>
                <a:p>
                  <a:endParaRPr lang="en-GB"/>
                </a:p>
              </p:txBody>
            </p:sp>
            <p:sp>
              <p:nvSpPr>
                <p:cNvPr id="2723" name="Vrije vorm: vorm 2722">
                  <a:extLst>
                    <a:ext uri="{FF2B5EF4-FFF2-40B4-BE49-F238E27FC236}">
                      <a16:creationId xmlns:a16="http://schemas.microsoft.com/office/drawing/2014/main" id="{374F8B9A-4E3E-4F87-BA4C-08E3E2AFB790}"/>
                    </a:ext>
                  </a:extLst>
                </p:cNvPr>
                <p:cNvSpPr/>
                <p:nvPr/>
              </p:nvSpPr>
              <p:spPr>
                <a:xfrm>
                  <a:off x="4616491" y="2088807"/>
                  <a:ext cx="18337" cy="18481"/>
                </a:xfrm>
                <a:custGeom>
                  <a:avLst/>
                  <a:gdLst>
                    <a:gd name="connsiteX0" fmla="*/ 2978 w 18337"/>
                    <a:gd name="connsiteY0" fmla="*/ 16029 h 18481"/>
                    <a:gd name="connsiteX1" fmla="*/ 2381 w 18337"/>
                    <a:gd name="connsiteY1" fmla="*/ 2991 h 18481"/>
                    <a:gd name="connsiteX2" fmla="*/ 15359 w 18337"/>
                    <a:gd name="connsiteY2" fmla="*/ 2452 h 18481"/>
                    <a:gd name="connsiteX3" fmla="*/ 15957 w 18337"/>
                    <a:gd name="connsiteY3" fmla="*/ 15490 h 18481"/>
                    <a:gd name="connsiteX4" fmla="*/ 2978 w 18337"/>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81">
                      <a:moveTo>
                        <a:pt x="2978" y="16029"/>
                      </a:moveTo>
                      <a:cubicBezTo>
                        <a:pt x="-730" y="12560"/>
                        <a:pt x="-1029" y="6759"/>
                        <a:pt x="2381" y="2991"/>
                      </a:cubicBezTo>
                      <a:cubicBezTo>
                        <a:pt x="5789" y="-777"/>
                        <a:pt x="11591" y="-1016"/>
                        <a:pt x="15359" y="2452"/>
                      </a:cubicBezTo>
                      <a:cubicBezTo>
                        <a:pt x="19067" y="5921"/>
                        <a:pt x="19366" y="11723"/>
                        <a:pt x="15957" y="15490"/>
                      </a:cubicBezTo>
                      <a:cubicBezTo>
                        <a:pt x="12488" y="19258"/>
                        <a:pt x="6686" y="19497"/>
                        <a:pt x="2978" y="16029"/>
                      </a:cubicBezTo>
                      <a:close/>
                    </a:path>
                  </a:pathLst>
                </a:custGeom>
                <a:grpFill/>
                <a:ln w="5978" cap="flat">
                  <a:noFill/>
                  <a:prstDash val="solid"/>
                  <a:miter/>
                </a:ln>
              </p:spPr>
              <p:txBody>
                <a:bodyPr rtlCol="0" anchor="ctr"/>
                <a:lstStyle/>
                <a:p>
                  <a:endParaRPr lang="en-GB"/>
                </a:p>
              </p:txBody>
            </p:sp>
            <p:sp>
              <p:nvSpPr>
                <p:cNvPr id="2724" name="Vrije vorm: vorm 2723">
                  <a:extLst>
                    <a:ext uri="{FF2B5EF4-FFF2-40B4-BE49-F238E27FC236}">
                      <a16:creationId xmlns:a16="http://schemas.microsoft.com/office/drawing/2014/main" id="{1D04DAA3-0795-4A79-AE5C-ED294ACA57C2}"/>
                    </a:ext>
                  </a:extLst>
                </p:cNvPr>
                <p:cNvSpPr/>
                <p:nvPr/>
              </p:nvSpPr>
              <p:spPr>
                <a:xfrm>
                  <a:off x="4684850" y="2151903"/>
                  <a:ext cx="18298" cy="18481"/>
                </a:xfrm>
                <a:custGeom>
                  <a:avLst/>
                  <a:gdLst>
                    <a:gd name="connsiteX0" fmla="*/ 2978 w 18298"/>
                    <a:gd name="connsiteY0" fmla="*/ 16029 h 18481"/>
                    <a:gd name="connsiteX1" fmla="*/ 15897 w 18298"/>
                    <a:gd name="connsiteY1" fmla="*/ 15490 h 18481"/>
                    <a:gd name="connsiteX2" fmla="*/ 15299 w 18298"/>
                    <a:gd name="connsiteY2" fmla="*/ 2452 h 18481"/>
                    <a:gd name="connsiteX3" fmla="*/ 2381 w 18298"/>
                    <a:gd name="connsiteY3" fmla="*/ 2991 h 18481"/>
                    <a:gd name="connsiteX4" fmla="*/ 2978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2978" y="16029"/>
                      </a:moveTo>
                      <a:cubicBezTo>
                        <a:pt x="6686" y="19497"/>
                        <a:pt x="12488" y="19258"/>
                        <a:pt x="15897" y="15490"/>
                      </a:cubicBezTo>
                      <a:cubicBezTo>
                        <a:pt x="19306" y="11723"/>
                        <a:pt x="19067" y="5921"/>
                        <a:pt x="15299" y="2452"/>
                      </a:cubicBezTo>
                      <a:cubicBezTo>
                        <a:pt x="11591" y="-1016"/>
                        <a:pt x="5790" y="-777"/>
                        <a:pt x="2381" y="2991"/>
                      </a:cubicBezTo>
                      <a:cubicBezTo>
                        <a:pt x="-1029" y="6759"/>
                        <a:pt x="-730" y="12620"/>
                        <a:pt x="2978" y="16029"/>
                      </a:cubicBezTo>
                      <a:close/>
                    </a:path>
                  </a:pathLst>
                </a:custGeom>
                <a:grpFill/>
                <a:ln w="5978" cap="flat">
                  <a:noFill/>
                  <a:prstDash val="solid"/>
                  <a:miter/>
                </a:ln>
              </p:spPr>
              <p:txBody>
                <a:bodyPr rtlCol="0" anchor="ctr"/>
                <a:lstStyle/>
                <a:p>
                  <a:endParaRPr lang="en-GB"/>
                </a:p>
              </p:txBody>
            </p:sp>
          </p:grpSp>
          <p:grpSp>
            <p:nvGrpSpPr>
              <p:cNvPr id="893" name="Graphic 3">
                <a:extLst>
                  <a:ext uri="{FF2B5EF4-FFF2-40B4-BE49-F238E27FC236}">
                    <a16:creationId xmlns:a16="http://schemas.microsoft.com/office/drawing/2014/main" id="{8A153EE7-272F-40B9-82A8-596C8DCF4501}"/>
                  </a:ext>
                </a:extLst>
              </p:cNvPr>
              <p:cNvGrpSpPr/>
              <p:nvPr/>
            </p:nvGrpSpPr>
            <p:grpSpPr>
              <a:xfrm>
                <a:off x="4576991" y="2103391"/>
                <a:ext cx="208160" cy="226268"/>
                <a:chOff x="4576991" y="2103391"/>
                <a:chExt cx="208160" cy="226268"/>
              </a:xfrm>
              <a:grpFill/>
            </p:grpSpPr>
            <p:sp>
              <p:nvSpPr>
                <p:cNvPr id="2719" name="Vrije vorm: vorm 2718">
                  <a:extLst>
                    <a:ext uri="{FF2B5EF4-FFF2-40B4-BE49-F238E27FC236}">
                      <a16:creationId xmlns:a16="http://schemas.microsoft.com/office/drawing/2014/main" id="{B282AED8-E64D-4B12-B35E-C3B3E37A8126}"/>
                    </a:ext>
                  </a:extLst>
                </p:cNvPr>
                <p:cNvSpPr/>
                <p:nvPr/>
              </p:nvSpPr>
              <p:spPr>
                <a:xfrm>
                  <a:off x="4584721" y="2111235"/>
                  <a:ext cx="192698" cy="210581"/>
                </a:xfrm>
                <a:custGeom>
                  <a:avLst/>
                  <a:gdLst>
                    <a:gd name="connsiteX0" fmla="*/ 192699 w 192698"/>
                    <a:gd name="connsiteY0" fmla="*/ 208488 h 210581"/>
                    <a:gd name="connsiteX1" fmla="*/ 190426 w 192698"/>
                    <a:gd name="connsiteY1" fmla="*/ 210581 h 210581"/>
                    <a:gd name="connsiteX2" fmla="*/ 0 w 192698"/>
                    <a:gd name="connsiteY2" fmla="*/ 2093 h 210581"/>
                    <a:gd name="connsiteX3" fmla="*/ 2273 w 192698"/>
                    <a:gd name="connsiteY3" fmla="*/ 0 h 210581"/>
                  </a:gdLst>
                  <a:ahLst/>
                  <a:cxnLst>
                    <a:cxn ang="0">
                      <a:pos x="connsiteX0" y="connsiteY0"/>
                    </a:cxn>
                    <a:cxn ang="0">
                      <a:pos x="connsiteX1" y="connsiteY1"/>
                    </a:cxn>
                    <a:cxn ang="0">
                      <a:pos x="connsiteX2" y="connsiteY2"/>
                    </a:cxn>
                    <a:cxn ang="0">
                      <a:pos x="connsiteX3" y="connsiteY3"/>
                    </a:cxn>
                  </a:cxnLst>
                  <a:rect l="l" t="t" r="r" b="b"/>
                  <a:pathLst>
                    <a:path w="192698" h="210581">
                      <a:moveTo>
                        <a:pt x="192699" y="208488"/>
                      </a:moveTo>
                      <a:lnTo>
                        <a:pt x="190426" y="210581"/>
                      </a:lnTo>
                      <a:lnTo>
                        <a:pt x="0" y="2093"/>
                      </a:lnTo>
                      <a:lnTo>
                        <a:pt x="2273" y="0"/>
                      </a:lnTo>
                      <a:close/>
                    </a:path>
                  </a:pathLst>
                </a:custGeom>
                <a:grpFill/>
                <a:ln w="5978" cap="flat">
                  <a:noFill/>
                  <a:prstDash val="solid"/>
                  <a:miter/>
                </a:ln>
              </p:spPr>
              <p:txBody>
                <a:bodyPr rtlCol="0" anchor="ctr"/>
                <a:lstStyle/>
                <a:p>
                  <a:endParaRPr lang="en-GB"/>
                </a:p>
              </p:txBody>
            </p:sp>
            <p:sp>
              <p:nvSpPr>
                <p:cNvPr id="2720" name="Vrije vorm: vorm 2719">
                  <a:extLst>
                    <a:ext uri="{FF2B5EF4-FFF2-40B4-BE49-F238E27FC236}">
                      <a16:creationId xmlns:a16="http://schemas.microsoft.com/office/drawing/2014/main" id="{056EDF7D-96FF-4357-B433-70910594B300}"/>
                    </a:ext>
                  </a:extLst>
                </p:cNvPr>
                <p:cNvSpPr/>
                <p:nvPr/>
              </p:nvSpPr>
              <p:spPr>
                <a:xfrm>
                  <a:off x="4766819" y="2311221"/>
                  <a:ext cx="18331" cy="18438"/>
                </a:xfrm>
                <a:custGeom>
                  <a:avLst/>
                  <a:gdLst>
                    <a:gd name="connsiteX0" fmla="*/ 15924 w 18331"/>
                    <a:gd name="connsiteY0" fmla="*/ 2999 h 18438"/>
                    <a:gd name="connsiteX1" fmla="*/ 15386 w 18331"/>
                    <a:gd name="connsiteY1" fmla="*/ 16038 h 18438"/>
                    <a:gd name="connsiteX2" fmla="*/ 2408 w 18331"/>
                    <a:gd name="connsiteY2" fmla="*/ 15439 h 18438"/>
                    <a:gd name="connsiteX3" fmla="*/ 2946 w 18331"/>
                    <a:gd name="connsiteY3" fmla="*/ 2401 h 18438"/>
                    <a:gd name="connsiteX4" fmla="*/ 15924 w 18331"/>
                    <a:gd name="connsiteY4" fmla="*/ 299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8">
                      <a:moveTo>
                        <a:pt x="15924" y="2999"/>
                      </a:moveTo>
                      <a:cubicBezTo>
                        <a:pt x="19333" y="6767"/>
                        <a:pt x="19094" y="12569"/>
                        <a:pt x="15386" y="16038"/>
                      </a:cubicBezTo>
                      <a:cubicBezTo>
                        <a:pt x="11678" y="19446"/>
                        <a:pt x="5877" y="19207"/>
                        <a:pt x="2408" y="15439"/>
                      </a:cubicBezTo>
                      <a:cubicBezTo>
                        <a:pt x="-1001" y="11672"/>
                        <a:pt x="-762" y="5870"/>
                        <a:pt x="2946" y="2401"/>
                      </a:cubicBezTo>
                      <a:cubicBezTo>
                        <a:pt x="6654" y="-1008"/>
                        <a:pt x="12455" y="-768"/>
                        <a:pt x="15924" y="2999"/>
                      </a:cubicBezTo>
                      <a:close/>
                    </a:path>
                  </a:pathLst>
                </a:custGeom>
                <a:grpFill/>
                <a:ln w="5978" cap="flat">
                  <a:noFill/>
                  <a:prstDash val="solid"/>
                  <a:miter/>
                </a:ln>
              </p:spPr>
              <p:txBody>
                <a:bodyPr rtlCol="0" anchor="ctr"/>
                <a:lstStyle/>
                <a:p>
                  <a:endParaRPr lang="en-GB"/>
                </a:p>
              </p:txBody>
            </p:sp>
            <p:sp>
              <p:nvSpPr>
                <p:cNvPr id="2721" name="Vrije vorm: vorm 2720">
                  <a:extLst>
                    <a:ext uri="{FF2B5EF4-FFF2-40B4-BE49-F238E27FC236}">
                      <a16:creationId xmlns:a16="http://schemas.microsoft.com/office/drawing/2014/main" id="{A3E0D9E6-91F9-4B0C-BF5A-D099E0D09907}"/>
                    </a:ext>
                  </a:extLst>
                </p:cNvPr>
                <p:cNvSpPr/>
                <p:nvPr/>
              </p:nvSpPr>
              <p:spPr>
                <a:xfrm>
                  <a:off x="4576991" y="2103391"/>
                  <a:ext cx="18331" cy="18438"/>
                </a:xfrm>
                <a:custGeom>
                  <a:avLst/>
                  <a:gdLst>
                    <a:gd name="connsiteX0" fmla="*/ 15924 w 18331"/>
                    <a:gd name="connsiteY0" fmla="*/ 3000 h 18438"/>
                    <a:gd name="connsiteX1" fmla="*/ 2946 w 18331"/>
                    <a:gd name="connsiteY1" fmla="*/ 2401 h 18438"/>
                    <a:gd name="connsiteX2" fmla="*/ 2408 w 18331"/>
                    <a:gd name="connsiteY2" fmla="*/ 15439 h 18438"/>
                    <a:gd name="connsiteX3" fmla="*/ 15386 w 18331"/>
                    <a:gd name="connsiteY3" fmla="*/ 16037 h 18438"/>
                    <a:gd name="connsiteX4" fmla="*/ 15924 w 18331"/>
                    <a:gd name="connsiteY4" fmla="*/ 3000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8">
                      <a:moveTo>
                        <a:pt x="15924" y="3000"/>
                      </a:moveTo>
                      <a:cubicBezTo>
                        <a:pt x="12515" y="-768"/>
                        <a:pt x="6714" y="-1008"/>
                        <a:pt x="2946" y="2401"/>
                      </a:cubicBezTo>
                      <a:cubicBezTo>
                        <a:pt x="-762" y="5810"/>
                        <a:pt x="-1001" y="11672"/>
                        <a:pt x="2408" y="15439"/>
                      </a:cubicBezTo>
                      <a:cubicBezTo>
                        <a:pt x="5817" y="19207"/>
                        <a:pt x="11618" y="19447"/>
                        <a:pt x="15386" y="16037"/>
                      </a:cubicBezTo>
                      <a:cubicBezTo>
                        <a:pt x="19094" y="12569"/>
                        <a:pt x="19333" y="6767"/>
                        <a:pt x="15924" y="3000"/>
                      </a:cubicBezTo>
                      <a:close/>
                    </a:path>
                  </a:pathLst>
                </a:custGeom>
                <a:grpFill/>
                <a:ln w="5978" cap="flat">
                  <a:noFill/>
                  <a:prstDash val="solid"/>
                  <a:miter/>
                </a:ln>
              </p:spPr>
              <p:txBody>
                <a:bodyPr rtlCol="0" anchor="ctr"/>
                <a:lstStyle/>
                <a:p>
                  <a:endParaRPr lang="en-GB"/>
                </a:p>
              </p:txBody>
            </p:sp>
          </p:grpSp>
          <p:grpSp>
            <p:nvGrpSpPr>
              <p:cNvPr id="894" name="Graphic 3">
                <a:extLst>
                  <a:ext uri="{FF2B5EF4-FFF2-40B4-BE49-F238E27FC236}">
                    <a16:creationId xmlns:a16="http://schemas.microsoft.com/office/drawing/2014/main" id="{9B9930A8-E34B-4642-BFCE-3503AB2D3F7B}"/>
                  </a:ext>
                </a:extLst>
              </p:cNvPr>
              <p:cNvGrpSpPr/>
              <p:nvPr/>
            </p:nvGrpSpPr>
            <p:grpSpPr>
              <a:xfrm>
                <a:off x="5761050" y="5378424"/>
                <a:ext cx="47166" cy="240044"/>
                <a:chOff x="5761050" y="5378424"/>
                <a:chExt cx="47166" cy="240044"/>
              </a:xfrm>
              <a:grpFill/>
            </p:grpSpPr>
            <p:sp>
              <p:nvSpPr>
                <p:cNvPr id="2716" name="Vrije vorm: vorm 2715">
                  <a:extLst>
                    <a:ext uri="{FF2B5EF4-FFF2-40B4-BE49-F238E27FC236}">
                      <a16:creationId xmlns:a16="http://schemas.microsoft.com/office/drawing/2014/main" id="{51AE2110-B177-4CA0-9F31-39169BC7127A}"/>
                    </a:ext>
                  </a:extLst>
                </p:cNvPr>
                <p:cNvSpPr/>
                <p:nvPr/>
              </p:nvSpPr>
              <p:spPr>
                <a:xfrm>
                  <a:off x="5768665" y="5386936"/>
                  <a:ext cx="31936" cy="223020"/>
                </a:xfrm>
                <a:custGeom>
                  <a:avLst/>
                  <a:gdLst>
                    <a:gd name="connsiteX0" fmla="*/ 31937 w 31936"/>
                    <a:gd name="connsiteY0" fmla="*/ 419 h 223020"/>
                    <a:gd name="connsiteX1" fmla="*/ 3050 w 31936"/>
                    <a:gd name="connsiteY1" fmla="*/ 223021 h 223020"/>
                    <a:gd name="connsiteX2" fmla="*/ 0 w 31936"/>
                    <a:gd name="connsiteY2" fmla="*/ 222602 h 223020"/>
                    <a:gd name="connsiteX3" fmla="*/ 28946 w 31936"/>
                    <a:gd name="connsiteY3" fmla="*/ 0 h 223020"/>
                  </a:gdLst>
                  <a:ahLst/>
                  <a:cxnLst>
                    <a:cxn ang="0">
                      <a:pos x="connsiteX0" y="connsiteY0"/>
                    </a:cxn>
                    <a:cxn ang="0">
                      <a:pos x="connsiteX1" y="connsiteY1"/>
                    </a:cxn>
                    <a:cxn ang="0">
                      <a:pos x="connsiteX2" y="connsiteY2"/>
                    </a:cxn>
                    <a:cxn ang="0">
                      <a:pos x="connsiteX3" y="connsiteY3"/>
                    </a:cxn>
                  </a:cxnLst>
                  <a:rect l="l" t="t" r="r" b="b"/>
                  <a:pathLst>
                    <a:path w="31936" h="223020">
                      <a:moveTo>
                        <a:pt x="31937" y="419"/>
                      </a:moveTo>
                      <a:lnTo>
                        <a:pt x="3050" y="223021"/>
                      </a:lnTo>
                      <a:lnTo>
                        <a:pt x="0" y="222602"/>
                      </a:lnTo>
                      <a:lnTo>
                        <a:pt x="28946" y="0"/>
                      </a:lnTo>
                      <a:close/>
                    </a:path>
                  </a:pathLst>
                </a:custGeom>
                <a:grpFill/>
                <a:ln w="5978" cap="flat">
                  <a:noFill/>
                  <a:prstDash val="solid"/>
                  <a:miter/>
                </a:ln>
              </p:spPr>
              <p:txBody>
                <a:bodyPr rtlCol="0" anchor="ctr"/>
                <a:lstStyle/>
                <a:p>
                  <a:endParaRPr lang="en-GB"/>
                </a:p>
              </p:txBody>
            </p:sp>
            <p:sp>
              <p:nvSpPr>
                <p:cNvPr id="2717" name="Vrije vorm: vorm 2716">
                  <a:extLst>
                    <a:ext uri="{FF2B5EF4-FFF2-40B4-BE49-F238E27FC236}">
                      <a16:creationId xmlns:a16="http://schemas.microsoft.com/office/drawing/2014/main" id="{95490F04-CBF6-4A2C-882C-FAC8F86AE9C4}"/>
                    </a:ext>
                  </a:extLst>
                </p:cNvPr>
                <p:cNvSpPr/>
                <p:nvPr/>
              </p:nvSpPr>
              <p:spPr>
                <a:xfrm>
                  <a:off x="5761050" y="5600069"/>
                  <a:ext cx="18339" cy="18399"/>
                </a:xfrm>
                <a:custGeom>
                  <a:avLst/>
                  <a:gdLst>
                    <a:gd name="connsiteX0" fmla="*/ 18260 w 18339"/>
                    <a:gd name="connsiteY0" fmla="*/ 10426 h 18399"/>
                    <a:gd name="connsiteX1" fmla="*/ 7974 w 18339"/>
                    <a:gd name="connsiteY1" fmla="*/ 18320 h 18399"/>
                    <a:gd name="connsiteX2" fmla="*/ 79 w 18339"/>
                    <a:gd name="connsiteY2" fmla="*/ 7973 h 18399"/>
                    <a:gd name="connsiteX3" fmla="*/ 10366 w 18339"/>
                    <a:gd name="connsiteY3" fmla="*/ 79 h 18399"/>
                    <a:gd name="connsiteX4" fmla="*/ 18260 w 18339"/>
                    <a:gd name="connsiteY4" fmla="*/ 10426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9">
                      <a:moveTo>
                        <a:pt x="18260" y="10426"/>
                      </a:moveTo>
                      <a:cubicBezTo>
                        <a:pt x="17602" y="15449"/>
                        <a:pt x="12997" y="18978"/>
                        <a:pt x="7974" y="18320"/>
                      </a:cubicBezTo>
                      <a:cubicBezTo>
                        <a:pt x="2950" y="17662"/>
                        <a:pt x="-579" y="12997"/>
                        <a:pt x="79" y="7973"/>
                      </a:cubicBezTo>
                      <a:cubicBezTo>
                        <a:pt x="737" y="2950"/>
                        <a:pt x="5342" y="-579"/>
                        <a:pt x="10366" y="79"/>
                      </a:cubicBezTo>
                      <a:cubicBezTo>
                        <a:pt x="15390" y="797"/>
                        <a:pt x="18918" y="5402"/>
                        <a:pt x="18260" y="10426"/>
                      </a:cubicBezTo>
                      <a:close/>
                    </a:path>
                  </a:pathLst>
                </a:custGeom>
                <a:grpFill/>
                <a:ln w="5978" cap="flat">
                  <a:noFill/>
                  <a:prstDash val="solid"/>
                  <a:miter/>
                </a:ln>
              </p:spPr>
              <p:txBody>
                <a:bodyPr rtlCol="0" anchor="ctr"/>
                <a:lstStyle/>
                <a:p>
                  <a:endParaRPr lang="en-GB"/>
                </a:p>
              </p:txBody>
            </p:sp>
            <p:sp>
              <p:nvSpPr>
                <p:cNvPr id="2718" name="Vrije vorm: vorm 2717">
                  <a:extLst>
                    <a:ext uri="{FF2B5EF4-FFF2-40B4-BE49-F238E27FC236}">
                      <a16:creationId xmlns:a16="http://schemas.microsoft.com/office/drawing/2014/main" id="{FE8F36C9-6B00-448B-A577-1D891A66E1BF}"/>
                    </a:ext>
                  </a:extLst>
                </p:cNvPr>
                <p:cNvSpPr/>
                <p:nvPr/>
              </p:nvSpPr>
              <p:spPr>
                <a:xfrm>
                  <a:off x="5789878" y="5378424"/>
                  <a:ext cx="18339" cy="18411"/>
                </a:xfrm>
                <a:custGeom>
                  <a:avLst/>
                  <a:gdLst>
                    <a:gd name="connsiteX0" fmla="*/ 18260 w 18339"/>
                    <a:gd name="connsiteY0" fmla="*/ 10426 h 18411"/>
                    <a:gd name="connsiteX1" fmla="*/ 10366 w 18339"/>
                    <a:gd name="connsiteY1" fmla="*/ 79 h 18411"/>
                    <a:gd name="connsiteX2" fmla="*/ 79 w 18339"/>
                    <a:gd name="connsiteY2" fmla="*/ 7973 h 18411"/>
                    <a:gd name="connsiteX3" fmla="*/ 7973 w 18339"/>
                    <a:gd name="connsiteY3" fmla="*/ 18320 h 18411"/>
                    <a:gd name="connsiteX4" fmla="*/ 18260 w 18339"/>
                    <a:gd name="connsiteY4" fmla="*/ 10426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1">
                      <a:moveTo>
                        <a:pt x="18260" y="10426"/>
                      </a:moveTo>
                      <a:cubicBezTo>
                        <a:pt x="18918" y="5402"/>
                        <a:pt x="15390" y="737"/>
                        <a:pt x="10366" y="79"/>
                      </a:cubicBezTo>
                      <a:cubicBezTo>
                        <a:pt x="5342" y="-579"/>
                        <a:pt x="737" y="2950"/>
                        <a:pt x="79" y="7973"/>
                      </a:cubicBezTo>
                      <a:cubicBezTo>
                        <a:pt x="-579" y="12997"/>
                        <a:pt x="2950" y="17662"/>
                        <a:pt x="7973" y="18320"/>
                      </a:cubicBezTo>
                      <a:cubicBezTo>
                        <a:pt x="12997" y="19038"/>
                        <a:pt x="17602" y="15449"/>
                        <a:pt x="18260" y="10426"/>
                      </a:cubicBezTo>
                      <a:close/>
                    </a:path>
                  </a:pathLst>
                </a:custGeom>
                <a:grpFill/>
                <a:ln w="5978" cap="flat">
                  <a:noFill/>
                  <a:prstDash val="solid"/>
                  <a:miter/>
                </a:ln>
              </p:spPr>
              <p:txBody>
                <a:bodyPr rtlCol="0" anchor="ctr"/>
                <a:lstStyle/>
                <a:p>
                  <a:endParaRPr lang="en-GB"/>
                </a:p>
              </p:txBody>
            </p:sp>
          </p:grpSp>
          <p:grpSp>
            <p:nvGrpSpPr>
              <p:cNvPr id="895" name="Graphic 3">
                <a:extLst>
                  <a:ext uri="{FF2B5EF4-FFF2-40B4-BE49-F238E27FC236}">
                    <a16:creationId xmlns:a16="http://schemas.microsoft.com/office/drawing/2014/main" id="{CC50543E-0C4B-4812-8355-09DCC06DFAE6}"/>
                  </a:ext>
                </a:extLst>
              </p:cNvPr>
              <p:cNvGrpSpPr/>
              <p:nvPr/>
            </p:nvGrpSpPr>
            <p:grpSpPr>
              <a:xfrm>
                <a:off x="4574453" y="1998585"/>
                <a:ext cx="61167" cy="59416"/>
                <a:chOff x="4574453" y="1998585"/>
                <a:chExt cx="61167" cy="59416"/>
              </a:xfrm>
              <a:grpFill/>
            </p:grpSpPr>
            <p:sp>
              <p:nvSpPr>
                <p:cNvPr id="2713" name="Vrije vorm: vorm 2712">
                  <a:extLst>
                    <a:ext uri="{FF2B5EF4-FFF2-40B4-BE49-F238E27FC236}">
                      <a16:creationId xmlns:a16="http://schemas.microsoft.com/office/drawing/2014/main" id="{252C4CD6-E2FC-4520-B77A-FC56318F5C1D}"/>
                    </a:ext>
                  </a:extLst>
                </p:cNvPr>
                <p:cNvSpPr/>
                <p:nvPr/>
              </p:nvSpPr>
              <p:spPr>
                <a:xfrm>
                  <a:off x="4582209" y="2006393"/>
                  <a:ext cx="45573" cy="43838"/>
                </a:xfrm>
                <a:custGeom>
                  <a:avLst/>
                  <a:gdLst>
                    <a:gd name="connsiteX0" fmla="*/ 45573 w 45573"/>
                    <a:gd name="connsiteY0" fmla="*/ 41626 h 43838"/>
                    <a:gd name="connsiteX1" fmla="*/ 43480 w 45573"/>
                    <a:gd name="connsiteY1" fmla="*/ 43839 h 43838"/>
                    <a:gd name="connsiteX2" fmla="*/ 0 w 45573"/>
                    <a:gd name="connsiteY2" fmla="*/ 2213 h 43838"/>
                    <a:gd name="connsiteX3" fmla="*/ 2093 w 45573"/>
                    <a:gd name="connsiteY3" fmla="*/ 0 h 43838"/>
                  </a:gdLst>
                  <a:ahLst/>
                  <a:cxnLst>
                    <a:cxn ang="0">
                      <a:pos x="connsiteX0" y="connsiteY0"/>
                    </a:cxn>
                    <a:cxn ang="0">
                      <a:pos x="connsiteX1" y="connsiteY1"/>
                    </a:cxn>
                    <a:cxn ang="0">
                      <a:pos x="connsiteX2" y="connsiteY2"/>
                    </a:cxn>
                    <a:cxn ang="0">
                      <a:pos x="connsiteX3" y="connsiteY3"/>
                    </a:cxn>
                  </a:cxnLst>
                  <a:rect l="l" t="t" r="r" b="b"/>
                  <a:pathLst>
                    <a:path w="45573" h="43838">
                      <a:moveTo>
                        <a:pt x="45573" y="41626"/>
                      </a:moveTo>
                      <a:lnTo>
                        <a:pt x="43480" y="43839"/>
                      </a:lnTo>
                      <a:lnTo>
                        <a:pt x="0" y="2213"/>
                      </a:lnTo>
                      <a:lnTo>
                        <a:pt x="2093" y="0"/>
                      </a:lnTo>
                      <a:close/>
                    </a:path>
                  </a:pathLst>
                </a:custGeom>
                <a:grpFill/>
                <a:ln w="5978" cap="flat">
                  <a:noFill/>
                  <a:prstDash val="solid"/>
                  <a:miter/>
                </a:ln>
              </p:spPr>
              <p:txBody>
                <a:bodyPr rtlCol="0" anchor="ctr"/>
                <a:lstStyle/>
                <a:p>
                  <a:endParaRPr lang="en-GB"/>
                </a:p>
              </p:txBody>
            </p:sp>
            <p:sp>
              <p:nvSpPr>
                <p:cNvPr id="2714" name="Vrije vorm: vorm 2713">
                  <a:extLst>
                    <a:ext uri="{FF2B5EF4-FFF2-40B4-BE49-F238E27FC236}">
                      <a16:creationId xmlns:a16="http://schemas.microsoft.com/office/drawing/2014/main" id="{CD76DF6B-3A28-46F1-8121-122ED5AD8AD8}"/>
                    </a:ext>
                  </a:extLst>
                </p:cNvPr>
                <p:cNvSpPr/>
                <p:nvPr/>
              </p:nvSpPr>
              <p:spPr>
                <a:xfrm>
                  <a:off x="4574453" y="1998585"/>
                  <a:ext cx="18323" cy="18403"/>
                </a:xfrm>
                <a:custGeom>
                  <a:avLst/>
                  <a:gdLst>
                    <a:gd name="connsiteX0" fmla="*/ 2852 w 18323"/>
                    <a:gd name="connsiteY0" fmla="*/ 15882 h 18403"/>
                    <a:gd name="connsiteX1" fmla="*/ 2493 w 18323"/>
                    <a:gd name="connsiteY1" fmla="*/ 2844 h 18403"/>
                    <a:gd name="connsiteX2" fmla="*/ 15471 w 18323"/>
                    <a:gd name="connsiteY2" fmla="*/ 2545 h 18403"/>
                    <a:gd name="connsiteX3" fmla="*/ 15830 w 18323"/>
                    <a:gd name="connsiteY3" fmla="*/ 15583 h 18403"/>
                    <a:gd name="connsiteX4" fmla="*/ 2852 w 18323"/>
                    <a:gd name="connsiteY4" fmla="*/ 15882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03">
                      <a:moveTo>
                        <a:pt x="2852" y="15882"/>
                      </a:moveTo>
                      <a:cubicBezTo>
                        <a:pt x="-796" y="12353"/>
                        <a:pt x="-976" y="6552"/>
                        <a:pt x="2493" y="2844"/>
                      </a:cubicBezTo>
                      <a:cubicBezTo>
                        <a:pt x="5962" y="-804"/>
                        <a:pt x="11763" y="-984"/>
                        <a:pt x="15471" y="2545"/>
                      </a:cubicBezTo>
                      <a:cubicBezTo>
                        <a:pt x="19120" y="6073"/>
                        <a:pt x="19299" y="11875"/>
                        <a:pt x="15830" y="15583"/>
                      </a:cubicBezTo>
                      <a:cubicBezTo>
                        <a:pt x="12301" y="19231"/>
                        <a:pt x="6500" y="19351"/>
                        <a:pt x="2852" y="15882"/>
                      </a:cubicBezTo>
                      <a:close/>
                    </a:path>
                  </a:pathLst>
                </a:custGeom>
                <a:grpFill/>
                <a:ln w="5978" cap="flat">
                  <a:noFill/>
                  <a:prstDash val="solid"/>
                  <a:miter/>
                </a:ln>
              </p:spPr>
              <p:txBody>
                <a:bodyPr rtlCol="0" anchor="ctr"/>
                <a:lstStyle/>
                <a:p>
                  <a:endParaRPr lang="en-GB"/>
                </a:p>
              </p:txBody>
            </p:sp>
            <p:sp>
              <p:nvSpPr>
                <p:cNvPr id="2715" name="Vrije vorm: vorm 2714">
                  <a:extLst>
                    <a:ext uri="{FF2B5EF4-FFF2-40B4-BE49-F238E27FC236}">
                      <a16:creationId xmlns:a16="http://schemas.microsoft.com/office/drawing/2014/main" id="{BC1B6611-6637-459C-B75F-CA3602C39D69}"/>
                    </a:ext>
                  </a:extLst>
                </p:cNvPr>
                <p:cNvSpPr/>
                <p:nvPr/>
              </p:nvSpPr>
              <p:spPr>
                <a:xfrm>
                  <a:off x="4617253" y="2039531"/>
                  <a:ext cx="18366" cy="18470"/>
                </a:xfrm>
                <a:custGeom>
                  <a:avLst/>
                  <a:gdLst>
                    <a:gd name="connsiteX0" fmla="*/ 2874 w 18366"/>
                    <a:gd name="connsiteY0" fmla="*/ 15903 h 18470"/>
                    <a:gd name="connsiteX1" fmla="*/ 15852 w 18366"/>
                    <a:gd name="connsiteY1" fmla="*/ 15604 h 18470"/>
                    <a:gd name="connsiteX2" fmla="*/ 15493 w 18366"/>
                    <a:gd name="connsiteY2" fmla="*/ 2567 h 18470"/>
                    <a:gd name="connsiteX3" fmla="*/ 2515 w 18366"/>
                    <a:gd name="connsiteY3" fmla="*/ 2866 h 18470"/>
                    <a:gd name="connsiteX4" fmla="*/ 2874 w 18366"/>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0">
                      <a:moveTo>
                        <a:pt x="2874" y="15903"/>
                      </a:moveTo>
                      <a:cubicBezTo>
                        <a:pt x="6522" y="19432"/>
                        <a:pt x="12323" y="19313"/>
                        <a:pt x="15852" y="15604"/>
                      </a:cubicBezTo>
                      <a:cubicBezTo>
                        <a:pt x="19321" y="11956"/>
                        <a:pt x="19201" y="6095"/>
                        <a:pt x="15493" y="2567"/>
                      </a:cubicBezTo>
                      <a:cubicBezTo>
                        <a:pt x="11845" y="-962"/>
                        <a:pt x="6044" y="-843"/>
                        <a:pt x="2515" y="2866"/>
                      </a:cubicBezTo>
                      <a:cubicBezTo>
                        <a:pt x="-954" y="6574"/>
                        <a:pt x="-834" y="12435"/>
                        <a:pt x="2874" y="15903"/>
                      </a:cubicBezTo>
                      <a:close/>
                    </a:path>
                  </a:pathLst>
                </a:custGeom>
                <a:grpFill/>
                <a:ln w="5978" cap="flat">
                  <a:noFill/>
                  <a:prstDash val="solid"/>
                  <a:miter/>
                </a:ln>
              </p:spPr>
              <p:txBody>
                <a:bodyPr rtlCol="0" anchor="ctr"/>
                <a:lstStyle/>
                <a:p>
                  <a:endParaRPr lang="en-GB"/>
                </a:p>
              </p:txBody>
            </p:sp>
          </p:grpSp>
          <p:grpSp>
            <p:nvGrpSpPr>
              <p:cNvPr id="896" name="Graphic 3">
                <a:extLst>
                  <a:ext uri="{FF2B5EF4-FFF2-40B4-BE49-F238E27FC236}">
                    <a16:creationId xmlns:a16="http://schemas.microsoft.com/office/drawing/2014/main" id="{403F38D7-A2CA-4DDA-A555-A207069E8C49}"/>
                  </a:ext>
                </a:extLst>
              </p:cNvPr>
              <p:cNvGrpSpPr/>
              <p:nvPr/>
            </p:nvGrpSpPr>
            <p:grpSpPr>
              <a:xfrm>
                <a:off x="5705502" y="5266057"/>
                <a:ext cx="46725" cy="187273"/>
                <a:chOff x="5705502" y="5266057"/>
                <a:chExt cx="46725" cy="187273"/>
              </a:xfrm>
              <a:grpFill/>
            </p:grpSpPr>
            <p:sp>
              <p:nvSpPr>
                <p:cNvPr id="2710" name="Vrije vorm: vorm 2709">
                  <a:extLst>
                    <a:ext uri="{FF2B5EF4-FFF2-40B4-BE49-F238E27FC236}">
                      <a16:creationId xmlns:a16="http://schemas.microsoft.com/office/drawing/2014/main" id="{580455D3-BFCD-493C-8A73-B26F3229F749}"/>
                    </a:ext>
                  </a:extLst>
                </p:cNvPr>
                <p:cNvSpPr/>
                <p:nvPr/>
              </p:nvSpPr>
              <p:spPr>
                <a:xfrm>
                  <a:off x="5713164" y="5274558"/>
                  <a:ext cx="31518" cy="170270"/>
                </a:xfrm>
                <a:custGeom>
                  <a:avLst/>
                  <a:gdLst>
                    <a:gd name="connsiteX0" fmla="*/ 31519 w 31518"/>
                    <a:gd name="connsiteY0" fmla="*/ 478 h 170270"/>
                    <a:gd name="connsiteX1" fmla="*/ 2990 w 31518"/>
                    <a:gd name="connsiteY1" fmla="*/ 170271 h 170270"/>
                    <a:gd name="connsiteX2" fmla="*/ 0 w 31518"/>
                    <a:gd name="connsiteY2" fmla="*/ 169733 h 170270"/>
                    <a:gd name="connsiteX3" fmla="*/ 28468 w 31518"/>
                    <a:gd name="connsiteY3" fmla="*/ 0 h 170270"/>
                  </a:gdLst>
                  <a:ahLst/>
                  <a:cxnLst>
                    <a:cxn ang="0">
                      <a:pos x="connsiteX0" y="connsiteY0"/>
                    </a:cxn>
                    <a:cxn ang="0">
                      <a:pos x="connsiteX1" y="connsiteY1"/>
                    </a:cxn>
                    <a:cxn ang="0">
                      <a:pos x="connsiteX2" y="connsiteY2"/>
                    </a:cxn>
                    <a:cxn ang="0">
                      <a:pos x="connsiteX3" y="connsiteY3"/>
                    </a:cxn>
                  </a:cxnLst>
                  <a:rect l="l" t="t" r="r" b="b"/>
                  <a:pathLst>
                    <a:path w="31518" h="170270">
                      <a:moveTo>
                        <a:pt x="31519" y="478"/>
                      </a:moveTo>
                      <a:lnTo>
                        <a:pt x="2990" y="170271"/>
                      </a:lnTo>
                      <a:lnTo>
                        <a:pt x="0" y="169733"/>
                      </a:lnTo>
                      <a:lnTo>
                        <a:pt x="28468" y="0"/>
                      </a:lnTo>
                      <a:close/>
                    </a:path>
                  </a:pathLst>
                </a:custGeom>
                <a:grpFill/>
                <a:ln w="5978" cap="flat">
                  <a:noFill/>
                  <a:prstDash val="solid"/>
                  <a:miter/>
                </a:ln>
              </p:spPr>
              <p:txBody>
                <a:bodyPr rtlCol="0" anchor="ctr"/>
                <a:lstStyle/>
                <a:p>
                  <a:endParaRPr lang="en-GB"/>
                </a:p>
              </p:txBody>
            </p:sp>
            <p:sp>
              <p:nvSpPr>
                <p:cNvPr id="2711" name="Vrije vorm: vorm 2710">
                  <a:extLst>
                    <a:ext uri="{FF2B5EF4-FFF2-40B4-BE49-F238E27FC236}">
                      <a16:creationId xmlns:a16="http://schemas.microsoft.com/office/drawing/2014/main" id="{4E956101-0250-432B-9CBF-D429609A6A6D}"/>
                    </a:ext>
                  </a:extLst>
                </p:cNvPr>
                <p:cNvSpPr/>
                <p:nvPr/>
              </p:nvSpPr>
              <p:spPr>
                <a:xfrm>
                  <a:off x="5705502" y="5434892"/>
                  <a:ext cx="18376" cy="18438"/>
                </a:xfrm>
                <a:custGeom>
                  <a:avLst/>
                  <a:gdLst>
                    <a:gd name="connsiteX0" fmla="*/ 18248 w 18376"/>
                    <a:gd name="connsiteY0" fmla="*/ 10774 h 18438"/>
                    <a:gd name="connsiteX1" fmla="*/ 7662 w 18376"/>
                    <a:gd name="connsiteY1" fmla="*/ 18310 h 18438"/>
                    <a:gd name="connsiteX2" fmla="*/ 127 w 18376"/>
                    <a:gd name="connsiteY2" fmla="*/ 7664 h 18438"/>
                    <a:gd name="connsiteX3" fmla="*/ 10713 w 18376"/>
                    <a:gd name="connsiteY3" fmla="*/ 128 h 18438"/>
                    <a:gd name="connsiteX4" fmla="*/ 18248 w 18376"/>
                    <a:gd name="connsiteY4" fmla="*/ 10774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18248" y="10774"/>
                      </a:moveTo>
                      <a:cubicBezTo>
                        <a:pt x="17411" y="15798"/>
                        <a:pt x="12686" y="19147"/>
                        <a:pt x="7662" y="18310"/>
                      </a:cubicBezTo>
                      <a:cubicBezTo>
                        <a:pt x="2698" y="17413"/>
                        <a:pt x="-711" y="12688"/>
                        <a:pt x="127" y="7664"/>
                      </a:cubicBezTo>
                      <a:cubicBezTo>
                        <a:pt x="964" y="2640"/>
                        <a:pt x="5689" y="-709"/>
                        <a:pt x="10713" y="128"/>
                      </a:cubicBezTo>
                      <a:cubicBezTo>
                        <a:pt x="15736" y="966"/>
                        <a:pt x="19085" y="5750"/>
                        <a:pt x="18248" y="10774"/>
                      </a:cubicBezTo>
                      <a:close/>
                    </a:path>
                  </a:pathLst>
                </a:custGeom>
                <a:grpFill/>
                <a:ln w="5978" cap="flat">
                  <a:noFill/>
                  <a:prstDash val="solid"/>
                  <a:miter/>
                </a:ln>
              </p:spPr>
              <p:txBody>
                <a:bodyPr rtlCol="0" anchor="ctr"/>
                <a:lstStyle/>
                <a:p>
                  <a:endParaRPr lang="en-GB"/>
                </a:p>
              </p:txBody>
            </p:sp>
            <p:sp>
              <p:nvSpPr>
                <p:cNvPr id="2712" name="Vrije vorm: vorm 2711">
                  <a:extLst>
                    <a:ext uri="{FF2B5EF4-FFF2-40B4-BE49-F238E27FC236}">
                      <a16:creationId xmlns:a16="http://schemas.microsoft.com/office/drawing/2014/main" id="{1CDC51E0-ECA9-4A8B-A35E-10A78B2DBB65}"/>
                    </a:ext>
                  </a:extLst>
                </p:cNvPr>
                <p:cNvSpPr/>
                <p:nvPr/>
              </p:nvSpPr>
              <p:spPr>
                <a:xfrm>
                  <a:off x="5733849" y="5266057"/>
                  <a:ext cx="18378" cy="18437"/>
                </a:xfrm>
                <a:custGeom>
                  <a:avLst/>
                  <a:gdLst>
                    <a:gd name="connsiteX0" fmla="*/ 18250 w 18378"/>
                    <a:gd name="connsiteY0" fmla="*/ 10774 h 18437"/>
                    <a:gd name="connsiteX1" fmla="*/ 10714 w 18378"/>
                    <a:gd name="connsiteY1" fmla="*/ 128 h 18437"/>
                    <a:gd name="connsiteX2" fmla="*/ 128 w 18378"/>
                    <a:gd name="connsiteY2" fmla="*/ 7664 h 18437"/>
                    <a:gd name="connsiteX3" fmla="*/ 7664 w 18378"/>
                    <a:gd name="connsiteY3" fmla="*/ 18310 h 18437"/>
                    <a:gd name="connsiteX4" fmla="*/ 18250 w 18378"/>
                    <a:gd name="connsiteY4" fmla="*/ 1077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37">
                      <a:moveTo>
                        <a:pt x="18250" y="10774"/>
                      </a:moveTo>
                      <a:cubicBezTo>
                        <a:pt x="19087" y="5750"/>
                        <a:pt x="15738" y="966"/>
                        <a:pt x="10714" y="128"/>
                      </a:cubicBezTo>
                      <a:cubicBezTo>
                        <a:pt x="5750" y="-709"/>
                        <a:pt x="966" y="2640"/>
                        <a:pt x="128" y="7664"/>
                      </a:cubicBezTo>
                      <a:cubicBezTo>
                        <a:pt x="-709" y="12688"/>
                        <a:pt x="2640" y="17472"/>
                        <a:pt x="7664" y="18310"/>
                      </a:cubicBezTo>
                      <a:cubicBezTo>
                        <a:pt x="12688" y="19147"/>
                        <a:pt x="17413" y="15798"/>
                        <a:pt x="18250" y="10774"/>
                      </a:cubicBezTo>
                      <a:close/>
                    </a:path>
                  </a:pathLst>
                </a:custGeom>
                <a:grpFill/>
                <a:ln w="5978" cap="flat">
                  <a:noFill/>
                  <a:prstDash val="solid"/>
                  <a:miter/>
                </a:ln>
              </p:spPr>
              <p:txBody>
                <a:bodyPr rtlCol="0" anchor="ctr"/>
                <a:lstStyle/>
                <a:p>
                  <a:endParaRPr lang="en-GB"/>
                </a:p>
              </p:txBody>
            </p:sp>
          </p:grpSp>
          <p:grpSp>
            <p:nvGrpSpPr>
              <p:cNvPr id="897" name="Graphic 3">
                <a:extLst>
                  <a:ext uri="{FF2B5EF4-FFF2-40B4-BE49-F238E27FC236}">
                    <a16:creationId xmlns:a16="http://schemas.microsoft.com/office/drawing/2014/main" id="{89B2407D-EB97-4482-87E2-B564DA33053C}"/>
                  </a:ext>
                </a:extLst>
              </p:cNvPr>
              <p:cNvGrpSpPr/>
              <p:nvPr/>
            </p:nvGrpSpPr>
            <p:grpSpPr>
              <a:xfrm>
                <a:off x="4635539" y="2154191"/>
                <a:ext cx="55418" cy="51404"/>
                <a:chOff x="4635539" y="2154191"/>
                <a:chExt cx="55418" cy="51404"/>
              </a:xfrm>
              <a:grpFill/>
            </p:grpSpPr>
            <p:sp>
              <p:nvSpPr>
                <p:cNvPr id="2707" name="Vrije vorm: vorm 2706">
                  <a:extLst>
                    <a:ext uri="{FF2B5EF4-FFF2-40B4-BE49-F238E27FC236}">
                      <a16:creationId xmlns:a16="http://schemas.microsoft.com/office/drawing/2014/main" id="{5F02EF14-5017-4B57-8D29-76EDF9FBCB07}"/>
                    </a:ext>
                  </a:extLst>
                </p:cNvPr>
                <p:cNvSpPr/>
                <p:nvPr/>
              </p:nvSpPr>
              <p:spPr>
                <a:xfrm>
                  <a:off x="4643392" y="2161951"/>
                  <a:ext cx="39771" cy="35884"/>
                </a:xfrm>
                <a:custGeom>
                  <a:avLst/>
                  <a:gdLst>
                    <a:gd name="connsiteX0" fmla="*/ 39772 w 39771"/>
                    <a:gd name="connsiteY0" fmla="*/ 33552 h 35884"/>
                    <a:gd name="connsiteX1" fmla="*/ 37798 w 39771"/>
                    <a:gd name="connsiteY1" fmla="*/ 35884 h 35884"/>
                    <a:gd name="connsiteX2" fmla="*/ 0 w 39771"/>
                    <a:gd name="connsiteY2" fmla="*/ 2273 h 35884"/>
                    <a:gd name="connsiteX3" fmla="*/ 1974 w 39771"/>
                    <a:gd name="connsiteY3" fmla="*/ 0 h 35884"/>
                  </a:gdLst>
                  <a:ahLst/>
                  <a:cxnLst>
                    <a:cxn ang="0">
                      <a:pos x="connsiteX0" y="connsiteY0"/>
                    </a:cxn>
                    <a:cxn ang="0">
                      <a:pos x="connsiteX1" y="connsiteY1"/>
                    </a:cxn>
                    <a:cxn ang="0">
                      <a:pos x="connsiteX2" y="connsiteY2"/>
                    </a:cxn>
                    <a:cxn ang="0">
                      <a:pos x="connsiteX3" y="connsiteY3"/>
                    </a:cxn>
                  </a:cxnLst>
                  <a:rect l="l" t="t" r="r" b="b"/>
                  <a:pathLst>
                    <a:path w="39771" h="35884">
                      <a:moveTo>
                        <a:pt x="39772" y="33552"/>
                      </a:moveTo>
                      <a:lnTo>
                        <a:pt x="37798" y="35884"/>
                      </a:lnTo>
                      <a:lnTo>
                        <a:pt x="0" y="2273"/>
                      </a:lnTo>
                      <a:lnTo>
                        <a:pt x="1974" y="0"/>
                      </a:lnTo>
                      <a:close/>
                    </a:path>
                  </a:pathLst>
                </a:custGeom>
                <a:grpFill/>
                <a:ln w="5978" cap="flat">
                  <a:noFill/>
                  <a:prstDash val="solid"/>
                  <a:miter/>
                </a:ln>
              </p:spPr>
              <p:txBody>
                <a:bodyPr rtlCol="0" anchor="ctr"/>
                <a:lstStyle/>
                <a:p>
                  <a:endParaRPr lang="en-GB"/>
                </a:p>
              </p:txBody>
            </p:sp>
            <p:sp>
              <p:nvSpPr>
                <p:cNvPr id="2708" name="Vrije vorm: vorm 2707">
                  <a:extLst>
                    <a:ext uri="{FF2B5EF4-FFF2-40B4-BE49-F238E27FC236}">
                      <a16:creationId xmlns:a16="http://schemas.microsoft.com/office/drawing/2014/main" id="{2426E0FD-207E-4E17-8BA9-9CB25CECFCDD}"/>
                    </a:ext>
                  </a:extLst>
                </p:cNvPr>
                <p:cNvSpPr/>
                <p:nvPr/>
              </p:nvSpPr>
              <p:spPr>
                <a:xfrm>
                  <a:off x="4635539" y="2154191"/>
                  <a:ext cx="18317" cy="18415"/>
                </a:xfrm>
                <a:custGeom>
                  <a:avLst/>
                  <a:gdLst>
                    <a:gd name="connsiteX0" fmla="*/ 3129 w 18317"/>
                    <a:gd name="connsiteY0" fmla="*/ 16073 h 18415"/>
                    <a:gd name="connsiteX1" fmla="*/ 2291 w 18317"/>
                    <a:gd name="connsiteY1" fmla="*/ 3095 h 18415"/>
                    <a:gd name="connsiteX2" fmla="*/ 15210 w 18317"/>
                    <a:gd name="connsiteY2" fmla="*/ 2318 h 18415"/>
                    <a:gd name="connsiteX3" fmla="*/ 16047 w 18317"/>
                    <a:gd name="connsiteY3" fmla="*/ 15296 h 18415"/>
                    <a:gd name="connsiteX4" fmla="*/ 3129 w 18317"/>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15">
                      <a:moveTo>
                        <a:pt x="3129" y="16073"/>
                      </a:moveTo>
                      <a:cubicBezTo>
                        <a:pt x="-699" y="12724"/>
                        <a:pt x="-1058" y="6863"/>
                        <a:pt x="2291" y="3095"/>
                      </a:cubicBezTo>
                      <a:cubicBezTo>
                        <a:pt x="5641" y="-732"/>
                        <a:pt x="11442" y="-1031"/>
                        <a:pt x="15210" y="2318"/>
                      </a:cubicBezTo>
                      <a:cubicBezTo>
                        <a:pt x="18977" y="5667"/>
                        <a:pt x="19396" y="11528"/>
                        <a:pt x="16047" y="15296"/>
                      </a:cubicBezTo>
                      <a:cubicBezTo>
                        <a:pt x="12758" y="19124"/>
                        <a:pt x="6956" y="19482"/>
                        <a:pt x="3129" y="16073"/>
                      </a:cubicBezTo>
                      <a:close/>
                    </a:path>
                  </a:pathLst>
                </a:custGeom>
                <a:grpFill/>
                <a:ln w="5978" cap="flat">
                  <a:noFill/>
                  <a:prstDash val="solid"/>
                  <a:miter/>
                </a:ln>
              </p:spPr>
              <p:txBody>
                <a:bodyPr rtlCol="0" anchor="ctr"/>
                <a:lstStyle/>
                <a:p>
                  <a:endParaRPr lang="en-GB"/>
                </a:p>
              </p:txBody>
            </p:sp>
            <p:sp>
              <p:nvSpPr>
                <p:cNvPr id="2709" name="Vrije vorm: vorm 2708">
                  <a:extLst>
                    <a:ext uri="{FF2B5EF4-FFF2-40B4-BE49-F238E27FC236}">
                      <a16:creationId xmlns:a16="http://schemas.microsoft.com/office/drawing/2014/main" id="{9C3C2397-6725-475A-9486-5F3167010E95}"/>
                    </a:ext>
                  </a:extLst>
                </p:cNvPr>
                <p:cNvSpPr/>
                <p:nvPr/>
              </p:nvSpPr>
              <p:spPr>
                <a:xfrm>
                  <a:off x="4672664" y="2187205"/>
                  <a:ext cx="18293" cy="18391"/>
                </a:xfrm>
                <a:custGeom>
                  <a:avLst/>
                  <a:gdLst>
                    <a:gd name="connsiteX0" fmla="*/ 3084 w 18293"/>
                    <a:gd name="connsiteY0" fmla="*/ 16073 h 18391"/>
                    <a:gd name="connsiteX1" fmla="*/ 16003 w 18293"/>
                    <a:gd name="connsiteY1" fmla="*/ 15296 h 18391"/>
                    <a:gd name="connsiteX2" fmla="*/ 15165 w 18293"/>
                    <a:gd name="connsiteY2" fmla="*/ 2318 h 18391"/>
                    <a:gd name="connsiteX3" fmla="*/ 2247 w 18293"/>
                    <a:gd name="connsiteY3" fmla="*/ 3095 h 18391"/>
                    <a:gd name="connsiteX4" fmla="*/ 3084 w 18293"/>
                    <a:gd name="connsiteY4" fmla="*/ 1607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391">
                      <a:moveTo>
                        <a:pt x="3084" y="16073"/>
                      </a:moveTo>
                      <a:cubicBezTo>
                        <a:pt x="6912" y="19423"/>
                        <a:pt x="12653" y="19124"/>
                        <a:pt x="16003" y="15296"/>
                      </a:cubicBezTo>
                      <a:cubicBezTo>
                        <a:pt x="19352" y="11468"/>
                        <a:pt x="18993" y="5667"/>
                        <a:pt x="15165" y="2318"/>
                      </a:cubicBezTo>
                      <a:cubicBezTo>
                        <a:pt x="11338" y="-1031"/>
                        <a:pt x="5596" y="-732"/>
                        <a:pt x="2247" y="3095"/>
                      </a:cubicBezTo>
                      <a:cubicBezTo>
                        <a:pt x="-1043" y="6863"/>
                        <a:pt x="-684" y="12664"/>
                        <a:pt x="3084" y="16073"/>
                      </a:cubicBezTo>
                      <a:close/>
                    </a:path>
                  </a:pathLst>
                </a:custGeom>
                <a:grpFill/>
                <a:ln w="5978" cap="flat">
                  <a:noFill/>
                  <a:prstDash val="solid"/>
                  <a:miter/>
                </a:ln>
              </p:spPr>
              <p:txBody>
                <a:bodyPr rtlCol="0" anchor="ctr"/>
                <a:lstStyle/>
                <a:p>
                  <a:endParaRPr lang="en-GB"/>
                </a:p>
              </p:txBody>
            </p:sp>
          </p:grpSp>
          <p:grpSp>
            <p:nvGrpSpPr>
              <p:cNvPr id="898" name="Graphic 3">
                <a:extLst>
                  <a:ext uri="{FF2B5EF4-FFF2-40B4-BE49-F238E27FC236}">
                    <a16:creationId xmlns:a16="http://schemas.microsoft.com/office/drawing/2014/main" id="{12DE8583-1582-4F80-8E62-5B29F1AC2F9C}"/>
                  </a:ext>
                </a:extLst>
              </p:cNvPr>
              <p:cNvGrpSpPr/>
              <p:nvPr/>
            </p:nvGrpSpPr>
            <p:grpSpPr>
              <a:xfrm>
                <a:off x="5813479" y="5481688"/>
                <a:ext cx="59292" cy="462044"/>
                <a:chOff x="5813479" y="5481688"/>
                <a:chExt cx="59292" cy="462044"/>
              </a:xfrm>
              <a:grpFill/>
            </p:grpSpPr>
            <p:sp>
              <p:nvSpPr>
                <p:cNvPr id="2704" name="Vrije vorm: vorm 2703">
                  <a:extLst>
                    <a:ext uri="{FF2B5EF4-FFF2-40B4-BE49-F238E27FC236}">
                      <a16:creationId xmlns:a16="http://schemas.microsoft.com/office/drawing/2014/main" id="{99FEE9DC-A102-4737-957B-9B6B23440A33}"/>
                    </a:ext>
                  </a:extLst>
                </p:cNvPr>
                <p:cNvSpPr/>
                <p:nvPr/>
              </p:nvSpPr>
              <p:spPr>
                <a:xfrm>
                  <a:off x="5821056" y="5490282"/>
                  <a:ext cx="44077" cy="444905"/>
                </a:xfrm>
                <a:custGeom>
                  <a:avLst/>
                  <a:gdLst>
                    <a:gd name="connsiteX0" fmla="*/ 44078 w 44077"/>
                    <a:gd name="connsiteY0" fmla="*/ 299 h 444905"/>
                    <a:gd name="connsiteX1" fmla="*/ 3050 w 44077"/>
                    <a:gd name="connsiteY1" fmla="*/ 444906 h 444905"/>
                    <a:gd name="connsiteX2" fmla="*/ 0 w 44077"/>
                    <a:gd name="connsiteY2" fmla="*/ 444607 h 444905"/>
                    <a:gd name="connsiteX3" fmla="*/ 41088 w 44077"/>
                    <a:gd name="connsiteY3" fmla="*/ 0 h 444905"/>
                  </a:gdLst>
                  <a:ahLst/>
                  <a:cxnLst>
                    <a:cxn ang="0">
                      <a:pos x="connsiteX0" y="connsiteY0"/>
                    </a:cxn>
                    <a:cxn ang="0">
                      <a:pos x="connsiteX1" y="connsiteY1"/>
                    </a:cxn>
                    <a:cxn ang="0">
                      <a:pos x="connsiteX2" y="connsiteY2"/>
                    </a:cxn>
                    <a:cxn ang="0">
                      <a:pos x="connsiteX3" y="connsiteY3"/>
                    </a:cxn>
                  </a:cxnLst>
                  <a:rect l="l" t="t" r="r" b="b"/>
                  <a:pathLst>
                    <a:path w="44077" h="444905">
                      <a:moveTo>
                        <a:pt x="44078" y="299"/>
                      </a:moveTo>
                      <a:lnTo>
                        <a:pt x="3050" y="444906"/>
                      </a:lnTo>
                      <a:lnTo>
                        <a:pt x="0" y="444607"/>
                      </a:lnTo>
                      <a:lnTo>
                        <a:pt x="41088" y="0"/>
                      </a:lnTo>
                      <a:close/>
                    </a:path>
                  </a:pathLst>
                </a:custGeom>
                <a:grpFill/>
                <a:ln w="5978" cap="flat">
                  <a:noFill/>
                  <a:prstDash val="solid"/>
                  <a:miter/>
                </a:ln>
              </p:spPr>
              <p:txBody>
                <a:bodyPr rtlCol="0" anchor="ctr"/>
                <a:lstStyle/>
                <a:p>
                  <a:endParaRPr lang="en-GB"/>
                </a:p>
              </p:txBody>
            </p:sp>
            <p:sp>
              <p:nvSpPr>
                <p:cNvPr id="2705" name="Vrije vorm: vorm 2704">
                  <a:extLst>
                    <a:ext uri="{FF2B5EF4-FFF2-40B4-BE49-F238E27FC236}">
                      <a16:creationId xmlns:a16="http://schemas.microsoft.com/office/drawing/2014/main" id="{14CE5D30-F209-4DFC-AEC2-EB551C69C27F}"/>
                    </a:ext>
                  </a:extLst>
                </p:cNvPr>
                <p:cNvSpPr/>
                <p:nvPr/>
              </p:nvSpPr>
              <p:spPr>
                <a:xfrm>
                  <a:off x="5813479" y="5925328"/>
                  <a:ext cx="18314" cy="18404"/>
                </a:xfrm>
                <a:custGeom>
                  <a:avLst/>
                  <a:gdLst>
                    <a:gd name="connsiteX0" fmla="*/ 18283 w 18314"/>
                    <a:gd name="connsiteY0" fmla="*/ 10100 h 18404"/>
                    <a:gd name="connsiteX1" fmla="*/ 8295 w 18314"/>
                    <a:gd name="connsiteY1" fmla="*/ 18353 h 18404"/>
                    <a:gd name="connsiteX2" fmla="*/ 42 w 18314"/>
                    <a:gd name="connsiteY2" fmla="*/ 8305 h 18404"/>
                    <a:gd name="connsiteX3" fmla="*/ 10029 w 18314"/>
                    <a:gd name="connsiteY3" fmla="*/ 52 h 18404"/>
                    <a:gd name="connsiteX4" fmla="*/ 18283 w 18314"/>
                    <a:gd name="connsiteY4" fmla="*/ 10100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04">
                      <a:moveTo>
                        <a:pt x="18283" y="10100"/>
                      </a:moveTo>
                      <a:cubicBezTo>
                        <a:pt x="17804" y="15183"/>
                        <a:pt x="13319" y="18891"/>
                        <a:pt x="8295" y="18353"/>
                      </a:cubicBezTo>
                      <a:cubicBezTo>
                        <a:pt x="3271" y="17875"/>
                        <a:pt x="-437" y="13329"/>
                        <a:pt x="42" y="8305"/>
                      </a:cubicBezTo>
                      <a:cubicBezTo>
                        <a:pt x="520" y="3222"/>
                        <a:pt x="4945" y="-486"/>
                        <a:pt x="10029" y="52"/>
                      </a:cubicBezTo>
                      <a:cubicBezTo>
                        <a:pt x="14993" y="530"/>
                        <a:pt x="18701" y="5076"/>
                        <a:pt x="18283" y="10100"/>
                      </a:cubicBezTo>
                      <a:close/>
                    </a:path>
                  </a:pathLst>
                </a:custGeom>
                <a:grpFill/>
                <a:ln w="5978" cap="flat">
                  <a:noFill/>
                  <a:prstDash val="solid"/>
                  <a:miter/>
                </a:ln>
              </p:spPr>
              <p:txBody>
                <a:bodyPr rtlCol="0" anchor="ctr"/>
                <a:lstStyle/>
                <a:p>
                  <a:endParaRPr lang="en-GB"/>
                </a:p>
              </p:txBody>
            </p:sp>
            <p:sp>
              <p:nvSpPr>
                <p:cNvPr id="2706" name="Vrije vorm: vorm 2705">
                  <a:extLst>
                    <a:ext uri="{FF2B5EF4-FFF2-40B4-BE49-F238E27FC236}">
                      <a16:creationId xmlns:a16="http://schemas.microsoft.com/office/drawing/2014/main" id="{B2FA2C33-535F-4971-8348-4A9381D14EDD}"/>
                    </a:ext>
                  </a:extLst>
                </p:cNvPr>
                <p:cNvSpPr/>
                <p:nvPr/>
              </p:nvSpPr>
              <p:spPr>
                <a:xfrm>
                  <a:off x="5854447" y="5481688"/>
                  <a:ext cx="18324" cy="18384"/>
                </a:xfrm>
                <a:custGeom>
                  <a:avLst/>
                  <a:gdLst>
                    <a:gd name="connsiteX0" fmla="*/ 18283 w 18324"/>
                    <a:gd name="connsiteY0" fmla="*/ 10089 h 18384"/>
                    <a:gd name="connsiteX1" fmla="*/ 10029 w 18324"/>
                    <a:gd name="connsiteY1" fmla="*/ 42 h 18384"/>
                    <a:gd name="connsiteX2" fmla="*/ 42 w 18324"/>
                    <a:gd name="connsiteY2" fmla="*/ 8295 h 18384"/>
                    <a:gd name="connsiteX3" fmla="*/ 8295 w 18324"/>
                    <a:gd name="connsiteY3" fmla="*/ 18343 h 18384"/>
                    <a:gd name="connsiteX4" fmla="*/ 18283 w 18324"/>
                    <a:gd name="connsiteY4" fmla="*/ 10089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18283" y="10089"/>
                      </a:moveTo>
                      <a:cubicBezTo>
                        <a:pt x="18761" y="5006"/>
                        <a:pt x="15053" y="520"/>
                        <a:pt x="10029" y="42"/>
                      </a:cubicBezTo>
                      <a:cubicBezTo>
                        <a:pt x="5006" y="-437"/>
                        <a:pt x="520" y="3271"/>
                        <a:pt x="42" y="8295"/>
                      </a:cubicBezTo>
                      <a:cubicBezTo>
                        <a:pt x="-437" y="13379"/>
                        <a:pt x="3271" y="17864"/>
                        <a:pt x="8295" y="18343"/>
                      </a:cubicBezTo>
                      <a:cubicBezTo>
                        <a:pt x="13319" y="18821"/>
                        <a:pt x="17804" y="15113"/>
                        <a:pt x="18283" y="10089"/>
                      </a:cubicBezTo>
                      <a:close/>
                    </a:path>
                  </a:pathLst>
                </a:custGeom>
                <a:grpFill/>
                <a:ln w="5978" cap="flat">
                  <a:noFill/>
                  <a:prstDash val="solid"/>
                  <a:miter/>
                </a:ln>
              </p:spPr>
              <p:txBody>
                <a:bodyPr rtlCol="0" anchor="ctr"/>
                <a:lstStyle/>
                <a:p>
                  <a:endParaRPr lang="en-GB"/>
                </a:p>
              </p:txBody>
            </p:sp>
          </p:grpSp>
          <p:grpSp>
            <p:nvGrpSpPr>
              <p:cNvPr id="899" name="Graphic 3">
                <a:extLst>
                  <a:ext uri="{FF2B5EF4-FFF2-40B4-BE49-F238E27FC236}">
                    <a16:creationId xmlns:a16="http://schemas.microsoft.com/office/drawing/2014/main" id="{29D4BA6F-C592-4E79-8C64-BC5491447625}"/>
                  </a:ext>
                </a:extLst>
              </p:cNvPr>
              <p:cNvGrpSpPr/>
              <p:nvPr/>
            </p:nvGrpSpPr>
            <p:grpSpPr>
              <a:xfrm>
                <a:off x="5613262" y="5046884"/>
                <a:ext cx="48671" cy="142256"/>
                <a:chOff x="5613262" y="5046884"/>
                <a:chExt cx="48671" cy="142256"/>
              </a:xfrm>
              <a:grpFill/>
            </p:grpSpPr>
            <p:sp>
              <p:nvSpPr>
                <p:cNvPr id="2701" name="Vrije vorm: vorm 2700">
                  <a:extLst>
                    <a:ext uri="{FF2B5EF4-FFF2-40B4-BE49-F238E27FC236}">
                      <a16:creationId xmlns:a16="http://schemas.microsoft.com/office/drawing/2014/main" id="{4CE7653F-8977-486E-82BF-1ED948C9C5F1}"/>
                    </a:ext>
                  </a:extLst>
                </p:cNvPr>
                <p:cNvSpPr/>
                <p:nvPr/>
              </p:nvSpPr>
              <p:spPr>
                <a:xfrm>
                  <a:off x="5620822" y="5055305"/>
                  <a:ext cx="33551" cy="125415"/>
                </a:xfrm>
                <a:custGeom>
                  <a:avLst/>
                  <a:gdLst>
                    <a:gd name="connsiteX0" fmla="*/ 33552 w 33551"/>
                    <a:gd name="connsiteY0" fmla="*/ 718 h 125415"/>
                    <a:gd name="connsiteX1" fmla="*/ 2930 w 33551"/>
                    <a:gd name="connsiteY1" fmla="*/ 125416 h 125415"/>
                    <a:gd name="connsiteX2" fmla="*/ 0 w 33551"/>
                    <a:gd name="connsiteY2" fmla="*/ 124698 h 125415"/>
                    <a:gd name="connsiteX3" fmla="*/ 30621 w 33551"/>
                    <a:gd name="connsiteY3" fmla="*/ 0 h 125415"/>
                  </a:gdLst>
                  <a:ahLst/>
                  <a:cxnLst>
                    <a:cxn ang="0">
                      <a:pos x="connsiteX0" y="connsiteY0"/>
                    </a:cxn>
                    <a:cxn ang="0">
                      <a:pos x="connsiteX1" y="connsiteY1"/>
                    </a:cxn>
                    <a:cxn ang="0">
                      <a:pos x="connsiteX2" y="connsiteY2"/>
                    </a:cxn>
                    <a:cxn ang="0">
                      <a:pos x="connsiteX3" y="connsiteY3"/>
                    </a:cxn>
                  </a:cxnLst>
                  <a:rect l="l" t="t" r="r" b="b"/>
                  <a:pathLst>
                    <a:path w="33551" h="125415">
                      <a:moveTo>
                        <a:pt x="33552" y="718"/>
                      </a:moveTo>
                      <a:lnTo>
                        <a:pt x="2930" y="125416"/>
                      </a:lnTo>
                      <a:lnTo>
                        <a:pt x="0" y="124698"/>
                      </a:lnTo>
                      <a:lnTo>
                        <a:pt x="30621" y="0"/>
                      </a:lnTo>
                      <a:close/>
                    </a:path>
                  </a:pathLst>
                </a:custGeom>
                <a:grpFill/>
                <a:ln w="5978" cap="flat">
                  <a:noFill/>
                  <a:prstDash val="solid"/>
                  <a:miter/>
                </a:ln>
              </p:spPr>
              <p:txBody>
                <a:bodyPr rtlCol="0" anchor="ctr"/>
                <a:lstStyle/>
                <a:p>
                  <a:endParaRPr lang="en-GB"/>
                </a:p>
              </p:txBody>
            </p:sp>
            <p:sp>
              <p:nvSpPr>
                <p:cNvPr id="2702" name="Vrije vorm: vorm 2701">
                  <a:extLst>
                    <a:ext uri="{FF2B5EF4-FFF2-40B4-BE49-F238E27FC236}">
                      <a16:creationId xmlns:a16="http://schemas.microsoft.com/office/drawing/2014/main" id="{3C2C3454-591C-46BA-A9AC-46E0370E90DC}"/>
                    </a:ext>
                  </a:extLst>
                </p:cNvPr>
                <p:cNvSpPr/>
                <p:nvPr/>
              </p:nvSpPr>
              <p:spPr>
                <a:xfrm>
                  <a:off x="5613262" y="5170689"/>
                  <a:ext cx="18289" cy="18451"/>
                </a:xfrm>
                <a:custGeom>
                  <a:avLst/>
                  <a:gdLst>
                    <a:gd name="connsiteX0" fmla="*/ 18026 w 18289"/>
                    <a:gd name="connsiteY0" fmla="*/ 11467 h 18451"/>
                    <a:gd name="connsiteX1" fmla="*/ 6962 w 18289"/>
                    <a:gd name="connsiteY1" fmla="*/ 18165 h 18451"/>
                    <a:gd name="connsiteX2" fmla="*/ 263 w 18289"/>
                    <a:gd name="connsiteY2" fmla="*/ 6981 h 18451"/>
                    <a:gd name="connsiteX3" fmla="*/ 11328 w 18289"/>
                    <a:gd name="connsiteY3" fmla="*/ 283 h 18451"/>
                    <a:gd name="connsiteX4" fmla="*/ 18026 w 18289"/>
                    <a:gd name="connsiteY4" fmla="*/ 1146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1">
                      <a:moveTo>
                        <a:pt x="18026" y="11467"/>
                      </a:moveTo>
                      <a:cubicBezTo>
                        <a:pt x="16830" y="16431"/>
                        <a:pt x="11866" y="19421"/>
                        <a:pt x="6962" y="18165"/>
                      </a:cubicBezTo>
                      <a:cubicBezTo>
                        <a:pt x="2058" y="16909"/>
                        <a:pt x="-933" y="11945"/>
                        <a:pt x="263" y="6981"/>
                      </a:cubicBezTo>
                      <a:cubicBezTo>
                        <a:pt x="1459" y="2077"/>
                        <a:pt x="6423" y="-973"/>
                        <a:pt x="11328" y="283"/>
                      </a:cubicBezTo>
                      <a:cubicBezTo>
                        <a:pt x="16232" y="1539"/>
                        <a:pt x="19222" y="6563"/>
                        <a:pt x="18026" y="11467"/>
                      </a:cubicBezTo>
                      <a:close/>
                    </a:path>
                  </a:pathLst>
                </a:custGeom>
                <a:grpFill/>
                <a:ln w="5978" cap="flat">
                  <a:noFill/>
                  <a:prstDash val="solid"/>
                  <a:miter/>
                </a:ln>
              </p:spPr>
              <p:txBody>
                <a:bodyPr rtlCol="0" anchor="ctr"/>
                <a:lstStyle/>
                <a:p>
                  <a:endParaRPr lang="en-GB"/>
                </a:p>
              </p:txBody>
            </p:sp>
            <p:sp>
              <p:nvSpPr>
                <p:cNvPr id="2703" name="Vrije vorm: vorm 2702">
                  <a:extLst>
                    <a:ext uri="{FF2B5EF4-FFF2-40B4-BE49-F238E27FC236}">
                      <a16:creationId xmlns:a16="http://schemas.microsoft.com/office/drawing/2014/main" id="{33590563-2780-4CEE-B5FF-B0296EF2A39C}"/>
                    </a:ext>
                  </a:extLst>
                </p:cNvPr>
                <p:cNvSpPr/>
                <p:nvPr/>
              </p:nvSpPr>
              <p:spPr>
                <a:xfrm>
                  <a:off x="5643644" y="5046884"/>
                  <a:ext cx="18289" cy="18432"/>
                </a:xfrm>
                <a:custGeom>
                  <a:avLst/>
                  <a:gdLst>
                    <a:gd name="connsiteX0" fmla="*/ 18026 w 18289"/>
                    <a:gd name="connsiteY0" fmla="*/ 11470 h 18432"/>
                    <a:gd name="connsiteX1" fmla="*/ 11328 w 18289"/>
                    <a:gd name="connsiteY1" fmla="*/ 286 h 18432"/>
                    <a:gd name="connsiteX2" fmla="*/ 263 w 18289"/>
                    <a:gd name="connsiteY2" fmla="*/ 6985 h 18432"/>
                    <a:gd name="connsiteX3" fmla="*/ 6962 w 18289"/>
                    <a:gd name="connsiteY3" fmla="*/ 18169 h 18432"/>
                    <a:gd name="connsiteX4" fmla="*/ 18026 w 18289"/>
                    <a:gd name="connsiteY4" fmla="*/ 11470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32">
                      <a:moveTo>
                        <a:pt x="18026" y="11470"/>
                      </a:moveTo>
                      <a:cubicBezTo>
                        <a:pt x="19222" y="6506"/>
                        <a:pt x="16232" y="1542"/>
                        <a:pt x="11328" y="286"/>
                      </a:cubicBezTo>
                      <a:cubicBezTo>
                        <a:pt x="6424" y="-970"/>
                        <a:pt x="1459" y="2021"/>
                        <a:pt x="263" y="6985"/>
                      </a:cubicBezTo>
                      <a:cubicBezTo>
                        <a:pt x="-933" y="11889"/>
                        <a:pt x="2058" y="16913"/>
                        <a:pt x="6962" y="18169"/>
                      </a:cubicBezTo>
                      <a:cubicBezTo>
                        <a:pt x="11866" y="19365"/>
                        <a:pt x="16830" y="16375"/>
                        <a:pt x="18026" y="11470"/>
                      </a:cubicBezTo>
                      <a:close/>
                    </a:path>
                  </a:pathLst>
                </a:custGeom>
                <a:grpFill/>
                <a:ln w="5978" cap="flat">
                  <a:noFill/>
                  <a:prstDash val="solid"/>
                  <a:miter/>
                </a:ln>
              </p:spPr>
              <p:txBody>
                <a:bodyPr rtlCol="0" anchor="ctr"/>
                <a:lstStyle/>
                <a:p>
                  <a:endParaRPr lang="en-GB"/>
                </a:p>
              </p:txBody>
            </p:sp>
          </p:grpSp>
          <p:grpSp>
            <p:nvGrpSpPr>
              <p:cNvPr id="900" name="Graphic 3">
                <a:extLst>
                  <a:ext uri="{FF2B5EF4-FFF2-40B4-BE49-F238E27FC236}">
                    <a16:creationId xmlns:a16="http://schemas.microsoft.com/office/drawing/2014/main" id="{E8A93157-0741-4E58-8CAA-AF47C7FFEB1D}"/>
                  </a:ext>
                </a:extLst>
              </p:cNvPr>
              <p:cNvGrpSpPr/>
              <p:nvPr/>
            </p:nvGrpSpPr>
            <p:grpSpPr>
              <a:xfrm>
                <a:off x="5657151" y="5090139"/>
                <a:ext cx="156044" cy="653999"/>
                <a:chOff x="5657151" y="5090139"/>
                <a:chExt cx="156044" cy="653999"/>
              </a:xfrm>
              <a:grpFill/>
            </p:grpSpPr>
            <p:sp>
              <p:nvSpPr>
                <p:cNvPr id="2698" name="Vrije vorm: vorm 2697">
                  <a:extLst>
                    <a:ext uri="{FF2B5EF4-FFF2-40B4-BE49-F238E27FC236}">
                      <a16:creationId xmlns:a16="http://schemas.microsoft.com/office/drawing/2014/main" id="{47D81105-E013-4BF6-ACAD-ED6199626B6E}"/>
                    </a:ext>
                  </a:extLst>
                </p:cNvPr>
                <p:cNvSpPr/>
                <p:nvPr/>
              </p:nvSpPr>
              <p:spPr>
                <a:xfrm>
                  <a:off x="5664780" y="5098545"/>
                  <a:ext cx="140846" cy="637126"/>
                </a:xfrm>
                <a:custGeom>
                  <a:avLst/>
                  <a:gdLst>
                    <a:gd name="connsiteX0" fmla="*/ 140846 w 140846"/>
                    <a:gd name="connsiteY0" fmla="*/ 658 h 637126"/>
                    <a:gd name="connsiteX1" fmla="*/ 2931 w 140846"/>
                    <a:gd name="connsiteY1" fmla="*/ 637126 h 637126"/>
                    <a:gd name="connsiteX2" fmla="*/ 0 w 140846"/>
                    <a:gd name="connsiteY2" fmla="*/ 636469 h 637126"/>
                    <a:gd name="connsiteX3" fmla="*/ 137856 w 140846"/>
                    <a:gd name="connsiteY3" fmla="*/ 0 h 637126"/>
                  </a:gdLst>
                  <a:ahLst/>
                  <a:cxnLst>
                    <a:cxn ang="0">
                      <a:pos x="connsiteX0" y="connsiteY0"/>
                    </a:cxn>
                    <a:cxn ang="0">
                      <a:pos x="connsiteX1" y="connsiteY1"/>
                    </a:cxn>
                    <a:cxn ang="0">
                      <a:pos x="connsiteX2" y="connsiteY2"/>
                    </a:cxn>
                    <a:cxn ang="0">
                      <a:pos x="connsiteX3" y="connsiteY3"/>
                    </a:cxn>
                  </a:cxnLst>
                  <a:rect l="l" t="t" r="r" b="b"/>
                  <a:pathLst>
                    <a:path w="140846" h="637126">
                      <a:moveTo>
                        <a:pt x="140846" y="658"/>
                      </a:moveTo>
                      <a:lnTo>
                        <a:pt x="2931" y="637126"/>
                      </a:lnTo>
                      <a:lnTo>
                        <a:pt x="0" y="636469"/>
                      </a:lnTo>
                      <a:lnTo>
                        <a:pt x="137856" y="0"/>
                      </a:lnTo>
                      <a:close/>
                    </a:path>
                  </a:pathLst>
                </a:custGeom>
                <a:grpFill/>
                <a:ln w="5978" cap="flat">
                  <a:noFill/>
                  <a:prstDash val="solid"/>
                  <a:miter/>
                </a:ln>
              </p:spPr>
              <p:txBody>
                <a:bodyPr rtlCol="0" anchor="ctr"/>
                <a:lstStyle/>
                <a:p>
                  <a:endParaRPr lang="en-GB"/>
                </a:p>
              </p:txBody>
            </p:sp>
            <p:sp>
              <p:nvSpPr>
                <p:cNvPr id="2699" name="Vrije vorm: vorm 2698">
                  <a:extLst>
                    <a:ext uri="{FF2B5EF4-FFF2-40B4-BE49-F238E27FC236}">
                      <a16:creationId xmlns:a16="http://schemas.microsoft.com/office/drawing/2014/main" id="{35E74277-BC88-4DF4-B0C8-5D186E4E2EB7}"/>
                    </a:ext>
                  </a:extLst>
                </p:cNvPr>
                <p:cNvSpPr/>
                <p:nvPr/>
              </p:nvSpPr>
              <p:spPr>
                <a:xfrm>
                  <a:off x="5794887" y="5090139"/>
                  <a:ext cx="18307" cy="18427"/>
                </a:xfrm>
                <a:custGeom>
                  <a:avLst/>
                  <a:gdLst>
                    <a:gd name="connsiteX0" fmla="*/ 213 w 18307"/>
                    <a:gd name="connsiteY0" fmla="*/ 7211 h 18427"/>
                    <a:gd name="connsiteX1" fmla="*/ 11098 w 18307"/>
                    <a:gd name="connsiteY1" fmla="*/ 213 h 18427"/>
                    <a:gd name="connsiteX2" fmla="*/ 18095 w 18307"/>
                    <a:gd name="connsiteY2" fmla="*/ 11218 h 18427"/>
                    <a:gd name="connsiteX3" fmla="*/ 7210 w 18307"/>
                    <a:gd name="connsiteY3" fmla="*/ 18215 h 18427"/>
                    <a:gd name="connsiteX4" fmla="*/ 213 w 18307"/>
                    <a:gd name="connsiteY4" fmla="*/ 7211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7">
                      <a:moveTo>
                        <a:pt x="213" y="7211"/>
                      </a:moveTo>
                      <a:cubicBezTo>
                        <a:pt x="1289" y="2246"/>
                        <a:pt x="6194" y="-864"/>
                        <a:pt x="11098" y="213"/>
                      </a:cubicBezTo>
                      <a:cubicBezTo>
                        <a:pt x="16062" y="1289"/>
                        <a:pt x="19172" y="6253"/>
                        <a:pt x="18095" y="11218"/>
                      </a:cubicBezTo>
                      <a:cubicBezTo>
                        <a:pt x="17019" y="16182"/>
                        <a:pt x="12114" y="19291"/>
                        <a:pt x="7210" y="18215"/>
                      </a:cubicBezTo>
                      <a:cubicBezTo>
                        <a:pt x="2246" y="17079"/>
                        <a:pt x="-864" y="12174"/>
                        <a:pt x="213" y="7211"/>
                      </a:cubicBezTo>
                      <a:close/>
                    </a:path>
                  </a:pathLst>
                </a:custGeom>
                <a:grpFill/>
                <a:ln w="5978" cap="flat">
                  <a:noFill/>
                  <a:prstDash val="solid"/>
                  <a:miter/>
                </a:ln>
              </p:spPr>
              <p:txBody>
                <a:bodyPr rtlCol="0" anchor="ctr"/>
                <a:lstStyle/>
                <a:p>
                  <a:endParaRPr lang="en-GB"/>
                </a:p>
              </p:txBody>
            </p:sp>
            <p:sp>
              <p:nvSpPr>
                <p:cNvPr id="2700" name="Vrije vorm: vorm 2699">
                  <a:extLst>
                    <a:ext uri="{FF2B5EF4-FFF2-40B4-BE49-F238E27FC236}">
                      <a16:creationId xmlns:a16="http://schemas.microsoft.com/office/drawing/2014/main" id="{3A8193ED-2233-44B8-8F1D-94274F052ADB}"/>
                    </a:ext>
                  </a:extLst>
                </p:cNvPr>
                <p:cNvSpPr/>
                <p:nvPr/>
              </p:nvSpPr>
              <p:spPr>
                <a:xfrm>
                  <a:off x="5657151" y="5725692"/>
                  <a:ext cx="18308" cy="18445"/>
                </a:xfrm>
                <a:custGeom>
                  <a:avLst/>
                  <a:gdLst>
                    <a:gd name="connsiteX0" fmla="*/ 213 w 18308"/>
                    <a:gd name="connsiteY0" fmla="*/ 7228 h 18445"/>
                    <a:gd name="connsiteX1" fmla="*/ 7211 w 18308"/>
                    <a:gd name="connsiteY1" fmla="*/ 18233 h 18445"/>
                    <a:gd name="connsiteX2" fmla="*/ 18095 w 18308"/>
                    <a:gd name="connsiteY2" fmla="*/ 11236 h 18445"/>
                    <a:gd name="connsiteX3" fmla="*/ 11098 w 18308"/>
                    <a:gd name="connsiteY3" fmla="*/ 231 h 18445"/>
                    <a:gd name="connsiteX4" fmla="*/ 213 w 18308"/>
                    <a:gd name="connsiteY4" fmla="*/ 72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5">
                      <a:moveTo>
                        <a:pt x="213" y="7228"/>
                      </a:moveTo>
                      <a:cubicBezTo>
                        <a:pt x="-864" y="12192"/>
                        <a:pt x="2246" y="17097"/>
                        <a:pt x="7211" y="18233"/>
                      </a:cubicBezTo>
                      <a:cubicBezTo>
                        <a:pt x="12174" y="19310"/>
                        <a:pt x="17019" y="16199"/>
                        <a:pt x="18095" y="11236"/>
                      </a:cubicBezTo>
                      <a:cubicBezTo>
                        <a:pt x="19172" y="6272"/>
                        <a:pt x="16062" y="1367"/>
                        <a:pt x="11098" y="231"/>
                      </a:cubicBezTo>
                      <a:cubicBezTo>
                        <a:pt x="6194" y="-905"/>
                        <a:pt x="1289" y="2265"/>
                        <a:pt x="213" y="7228"/>
                      </a:cubicBezTo>
                      <a:close/>
                    </a:path>
                  </a:pathLst>
                </a:custGeom>
                <a:grpFill/>
                <a:ln w="5978" cap="flat">
                  <a:noFill/>
                  <a:prstDash val="solid"/>
                  <a:miter/>
                </a:ln>
              </p:spPr>
              <p:txBody>
                <a:bodyPr rtlCol="0" anchor="ctr"/>
                <a:lstStyle/>
                <a:p>
                  <a:endParaRPr lang="en-GB"/>
                </a:p>
              </p:txBody>
            </p:sp>
          </p:grpSp>
          <p:grpSp>
            <p:nvGrpSpPr>
              <p:cNvPr id="901" name="Graphic 3">
                <a:extLst>
                  <a:ext uri="{FF2B5EF4-FFF2-40B4-BE49-F238E27FC236}">
                    <a16:creationId xmlns:a16="http://schemas.microsoft.com/office/drawing/2014/main" id="{FEE293B8-2914-4641-9A91-98E472F49F5F}"/>
                  </a:ext>
                </a:extLst>
              </p:cNvPr>
              <p:cNvGrpSpPr/>
              <p:nvPr/>
            </p:nvGrpSpPr>
            <p:grpSpPr>
              <a:xfrm>
                <a:off x="5720186" y="5316792"/>
                <a:ext cx="59891" cy="297698"/>
                <a:chOff x="5720186" y="5316792"/>
                <a:chExt cx="59891" cy="297698"/>
              </a:xfrm>
              <a:grpFill/>
            </p:grpSpPr>
            <p:sp>
              <p:nvSpPr>
                <p:cNvPr id="2695" name="Vrije vorm: vorm 2694">
                  <a:extLst>
                    <a:ext uri="{FF2B5EF4-FFF2-40B4-BE49-F238E27FC236}">
                      <a16:creationId xmlns:a16="http://schemas.microsoft.com/office/drawing/2014/main" id="{FCC66446-925E-4B40-8429-097AAC57474E}"/>
                    </a:ext>
                  </a:extLst>
                </p:cNvPr>
                <p:cNvSpPr/>
                <p:nvPr/>
              </p:nvSpPr>
              <p:spPr>
                <a:xfrm>
                  <a:off x="5727757" y="5325334"/>
                  <a:ext cx="44735" cy="280615"/>
                </a:xfrm>
                <a:custGeom>
                  <a:avLst/>
                  <a:gdLst>
                    <a:gd name="connsiteX0" fmla="*/ 44736 w 44735"/>
                    <a:gd name="connsiteY0" fmla="*/ 478 h 280615"/>
                    <a:gd name="connsiteX1" fmla="*/ 2990 w 44735"/>
                    <a:gd name="connsiteY1" fmla="*/ 280615 h 280615"/>
                    <a:gd name="connsiteX2" fmla="*/ 0 w 44735"/>
                    <a:gd name="connsiteY2" fmla="*/ 280137 h 280615"/>
                    <a:gd name="connsiteX3" fmla="*/ 41685 w 44735"/>
                    <a:gd name="connsiteY3" fmla="*/ 0 h 280615"/>
                  </a:gdLst>
                  <a:ahLst/>
                  <a:cxnLst>
                    <a:cxn ang="0">
                      <a:pos x="connsiteX0" y="connsiteY0"/>
                    </a:cxn>
                    <a:cxn ang="0">
                      <a:pos x="connsiteX1" y="connsiteY1"/>
                    </a:cxn>
                    <a:cxn ang="0">
                      <a:pos x="connsiteX2" y="connsiteY2"/>
                    </a:cxn>
                    <a:cxn ang="0">
                      <a:pos x="connsiteX3" y="connsiteY3"/>
                    </a:cxn>
                  </a:cxnLst>
                  <a:rect l="l" t="t" r="r" b="b"/>
                  <a:pathLst>
                    <a:path w="44735" h="280615">
                      <a:moveTo>
                        <a:pt x="44736" y="478"/>
                      </a:moveTo>
                      <a:lnTo>
                        <a:pt x="2990" y="280615"/>
                      </a:lnTo>
                      <a:lnTo>
                        <a:pt x="0" y="280137"/>
                      </a:lnTo>
                      <a:lnTo>
                        <a:pt x="41685" y="0"/>
                      </a:lnTo>
                      <a:close/>
                    </a:path>
                  </a:pathLst>
                </a:custGeom>
                <a:grpFill/>
                <a:ln w="5978" cap="flat">
                  <a:noFill/>
                  <a:prstDash val="solid"/>
                  <a:miter/>
                </a:ln>
              </p:spPr>
              <p:txBody>
                <a:bodyPr rtlCol="0" anchor="ctr"/>
                <a:lstStyle/>
                <a:p>
                  <a:endParaRPr lang="en-GB"/>
                </a:p>
              </p:txBody>
            </p:sp>
            <p:sp>
              <p:nvSpPr>
                <p:cNvPr id="2696" name="Vrije vorm: vorm 2695">
                  <a:extLst>
                    <a:ext uri="{FF2B5EF4-FFF2-40B4-BE49-F238E27FC236}">
                      <a16:creationId xmlns:a16="http://schemas.microsoft.com/office/drawing/2014/main" id="{AB35A334-BCE8-4E14-A69C-24BF1077179F}"/>
                    </a:ext>
                  </a:extLst>
                </p:cNvPr>
                <p:cNvSpPr/>
                <p:nvPr/>
              </p:nvSpPr>
              <p:spPr>
                <a:xfrm>
                  <a:off x="5720186" y="5596032"/>
                  <a:ext cx="18312" cy="18459"/>
                </a:xfrm>
                <a:custGeom>
                  <a:avLst/>
                  <a:gdLst>
                    <a:gd name="connsiteX0" fmla="*/ 18217 w 18312"/>
                    <a:gd name="connsiteY0" fmla="*/ 10635 h 18459"/>
                    <a:gd name="connsiteX1" fmla="*/ 7810 w 18312"/>
                    <a:gd name="connsiteY1" fmla="*/ 18350 h 18459"/>
                    <a:gd name="connsiteX2" fmla="*/ 95 w 18312"/>
                    <a:gd name="connsiteY2" fmla="*/ 7824 h 18459"/>
                    <a:gd name="connsiteX3" fmla="*/ 10502 w 18312"/>
                    <a:gd name="connsiteY3" fmla="*/ 109 h 18459"/>
                    <a:gd name="connsiteX4" fmla="*/ 18217 w 18312"/>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9">
                      <a:moveTo>
                        <a:pt x="18217" y="10635"/>
                      </a:moveTo>
                      <a:cubicBezTo>
                        <a:pt x="17440" y="15659"/>
                        <a:pt x="12774" y="19128"/>
                        <a:pt x="7810" y="18350"/>
                      </a:cubicBezTo>
                      <a:cubicBezTo>
                        <a:pt x="2787" y="17573"/>
                        <a:pt x="-622" y="12848"/>
                        <a:pt x="95" y="7824"/>
                      </a:cubicBezTo>
                      <a:cubicBezTo>
                        <a:pt x="873" y="2800"/>
                        <a:pt x="5538" y="-669"/>
                        <a:pt x="10502" y="109"/>
                      </a:cubicBezTo>
                      <a:cubicBezTo>
                        <a:pt x="15526" y="886"/>
                        <a:pt x="18935" y="5552"/>
                        <a:pt x="18217" y="10635"/>
                      </a:cubicBezTo>
                      <a:close/>
                    </a:path>
                  </a:pathLst>
                </a:custGeom>
                <a:grpFill/>
                <a:ln w="5978" cap="flat">
                  <a:noFill/>
                  <a:prstDash val="solid"/>
                  <a:miter/>
                </a:ln>
              </p:spPr>
              <p:txBody>
                <a:bodyPr rtlCol="0" anchor="ctr"/>
                <a:lstStyle/>
                <a:p>
                  <a:endParaRPr lang="en-GB"/>
                </a:p>
              </p:txBody>
            </p:sp>
            <p:sp>
              <p:nvSpPr>
                <p:cNvPr id="2697" name="Vrije vorm: vorm 2696">
                  <a:extLst>
                    <a:ext uri="{FF2B5EF4-FFF2-40B4-BE49-F238E27FC236}">
                      <a16:creationId xmlns:a16="http://schemas.microsoft.com/office/drawing/2014/main" id="{09B7094A-717C-406C-911E-8EC86CBE4600}"/>
                    </a:ext>
                  </a:extLst>
                </p:cNvPr>
                <p:cNvSpPr/>
                <p:nvPr/>
              </p:nvSpPr>
              <p:spPr>
                <a:xfrm>
                  <a:off x="5761738" y="5316792"/>
                  <a:ext cx="18339" cy="18459"/>
                </a:xfrm>
                <a:custGeom>
                  <a:avLst/>
                  <a:gdLst>
                    <a:gd name="connsiteX0" fmla="*/ 18230 w 18339"/>
                    <a:gd name="connsiteY0" fmla="*/ 10635 h 18459"/>
                    <a:gd name="connsiteX1" fmla="*/ 10515 w 18339"/>
                    <a:gd name="connsiteY1" fmla="*/ 109 h 18459"/>
                    <a:gd name="connsiteX2" fmla="*/ 109 w 18339"/>
                    <a:gd name="connsiteY2" fmla="*/ 7824 h 18459"/>
                    <a:gd name="connsiteX3" fmla="*/ 7824 w 18339"/>
                    <a:gd name="connsiteY3" fmla="*/ 18350 h 18459"/>
                    <a:gd name="connsiteX4" fmla="*/ 18230 w 18339"/>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9">
                      <a:moveTo>
                        <a:pt x="18230" y="10635"/>
                      </a:moveTo>
                      <a:cubicBezTo>
                        <a:pt x="19008" y="5611"/>
                        <a:pt x="15539" y="886"/>
                        <a:pt x="10515" y="109"/>
                      </a:cubicBezTo>
                      <a:cubicBezTo>
                        <a:pt x="5491" y="-669"/>
                        <a:pt x="827" y="2800"/>
                        <a:pt x="109" y="7824"/>
                      </a:cubicBezTo>
                      <a:cubicBezTo>
                        <a:pt x="-669" y="12848"/>
                        <a:pt x="2800" y="17573"/>
                        <a:pt x="7824" y="18350"/>
                      </a:cubicBezTo>
                      <a:cubicBezTo>
                        <a:pt x="12848" y="19128"/>
                        <a:pt x="17513" y="15659"/>
                        <a:pt x="18230" y="10635"/>
                      </a:cubicBezTo>
                      <a:close/>
                    </a:path>
                  </a:pathLst>
                </a:custGeom>
                <a:grpFill/>
                <a:ln w="5978" cap="flat">
                  <a:noFill/>
                  <a:prstDash val="solid"/>
                  <a:miter/>
                </a:ln>
              </p:spPr>
              <p:txBody>
                <a:bodyPr rtlCol="0" anchor="ctr"/>
                <a:lstStyle/>
                <a:p>
                  <a:endParaRPr lang="en-GB"/>
                </a:p>
              </p:txBody>
            </p:sp>
          </p:grpSp>
          <p:grpSp>
            <p:nvGrpSpPr>
              <p:cNvPr id="902" name="Graphic 3">
                <a:extLst>
                  <a:ext uri="{FF2B5EF4-FFF2-40B4-BE49-F238E27FC236}">
                    <a16:creationId xmlns:a16="http://schemas.microsoft.com/office/drawing/2014/main" id="{C19942DB-49CA-48F6-8D09-5F8AE1BC03D7}"/>
                  </a:ext>
                </a:extLst>
              </p:cNvPr>
              <p:cNvGrpSpPr/>
              <p:nvPr/>
            </p:nvGrpSpPr>
            <p:grpSpPr>
              <a:xfrm>
                <a:off x="4632894" y="2198078"/>
                <a:ext cx="56640" cy="51188"/>
                <a:chOff x="4632894" y="2198078"/>
                <a:chExt cx="56640" cy="51188"/>
              </a:xfrm>
              <a:grpFill/>
            </p:grpSpPr>
            <p:sp>
              <p:nvSpPr>
                <p:cNvPr id="2692" name="Vrije vorm: vorm 2691">
                  <a:extLst>
                    <a:ext uri="{FF2B5EF4-FFF2-40B4-BE49-F238E27FC236}">
                      <a16:creationId xmlns:a16="http://schemas.microsoft.com/office/drawing/2014/main" id="{5919D7F1-352F-424D-8367-CC7B8AC725D5}"/>
                    </a:ext>
                  </a:extLst>
                </p:cNvPr>
                <p:cNvSpPr/>
                <p:nvPr/>
              </p:nvSpPr>
              <p:spPr>
                <a:xfrm>
                  <a:off x="4640761" y="2205790"/>
                  <a:ext cx="40967" cy="35764"/>
                </a:xfrm>
                <a:custGeom>
                  <a:avLst/>
                  <a:gdLst>
                    <a:gd name="connsiteX0" fmla="*/ 40968 w 40967"/>
                    <a:gd name="connsiteY0" fmla="*/ 33432 h 35764"/>
                    <a:gd name="connsiteX1" fmla="*/ 38994 w 40967"/>
                    <a:gd name="connsiteY1" fmla="*/ 35765 h 35764"/>
                    <a:gd name="connsiteX2" fmla="*/ 0 w 40967"/>
                    <a:gd name="connsiteY2" fmla="*/ 2332 h 35764"/>
                    <a:gd name="connsiteX3" fmla="*/ 1974 w 40967"/>
                    <a:gd name="connsiteY3" fmla="*/ 0 h 35764"/>
                  </a:gdLst>
                  <a:ahLst/>
                  <a:cxnLst>
                    <a:cxn ang="0">
                      <a:pos x="connsiteX0" y="connsiteY0"/>
                    </a:cxn>
                    <a:cxn ang="0">
                      <a:pos x="connsiteX1" y="connsiteY1"/>
                    </a:cxn>
                    <a:cxn ang="0">
                      <a:pos x="connsiteX2" y="connsiteY2"/>
                    </a:cxn>
                    <a:cxn ang="0">
                      <a:pos x="connsiteX3" y="connsiteY3"/>
                    </a:cxn>
                  </a:cxnLst>
                  <a:rect l="l" t="t" r="r" b="b"/>
                  <a:pathLst>
                    <a:path w="40967" h="35764">
                      <a:moveTo>
                        <a:pt x="40968" y="33432"/>
                      </a:moveTo>
                      <a:lnTo>
                        <a:pt x="38994" y="35765"/>
                      </a:lnTo>
                      <a:lnTo>
                        <a:pt x="0" y="2332"/>
                      </a:lnTo>
                      <a:lnTo>
                        <a:pt x="1974" y="0"/>
                      </a:lnTo>
                      <a:close/>
                    </a:path>
                  </a:pathLst>
                </a:custGeom>
                <a:grpFill/>
                <a:ln w="5978" cap="flat">
                  <a:noFill/>
                  <a:prstDash val="solid"/>
                  <a:miter/>
                </a:ln>
              </p:spPr>
              <p:txBody>
                <a:bodyPr rtlCol="0" anchor="ctr"/>
                <a:lstStyle/>
                <a:p>
                  <a:endParaRPr lang="en-GB"/>
                </a:p>
              </p:txBody>
            </p:sp>
            <p:sp>
              <p:nvSpPr>
                <p:cNvPr id="2693" name="Vrije vorm: vorm 2692">
                  <a:extLst>
                    <a:ext uri="{FF2B5EF4-FFF2-40B4-BE49-F238E27FC236}">
                      <a16:creationId xmlns:a16="http://schemas.microsoft.com/office/drawing/2014/main" id="{FD6A3969-70F0-47EB-AB3F-0685F05236C0}"/>
                    </a:ext>
                  </a:extLst>
                </p:cNvPr>
                <p:cNvSpPr/>
                <p:nvPr/>
              </p:nvSpPr>
              <p:spPr>
                <a:xfrm>
                  <a:off x="4632894" y="2198078"/>
                  <a:ext cx="18364" cy="18414"/>
                </a:xfrm>
                <a:custGeom>
                  <a:avLst/>
                  <a:gdLst>
                    <a:gd name="connsiteX0" fmla="*/ 3261 w 18364"/>
                    <a:gd name="connsiteY0" fmla="*/ 16205 h 18414"/>
                    <a:gd name="connsiteX1" fmla="*/ 2185 w 18364"/>
                    <a:gd name="connsiteY1" fmla="*/ 3227 h 18414"/>
                    <a:gd name="connsiteX2" fmla="*/ 15103 w 18364"/>
                    <a:gd name="connsiteY2" fmla="*/ 2210 h 18414"/>
                    <a:gd name="connsiteX3" fmla="*/ 16180 w 18364"/>
                    <a:gd name="connsiteY3" fmla="*/ 15188 h 18414"/>
                    <a:gd name="connsiteX4" fmla="*/ 3261 w 18364"/>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3261" y="16205"/>
                      </a:moveTo>
                      <a:cubicBezTo>
                        <a:pt x="-626" y="12915"/>
                        <a:pt x="-1105" y="7054"/>
                        <a:pt x="2185" y="3227"/>
                      </a:cubicBezTo>
                      <a:cubicBezTo>
                        <a:pt x="5474" y="-661"/>
                        <a:pt x="11215" y="-1080"/>
                        <a:pt x="15103" y="2210"/>
                      </a:cubicBezTo>
                      <a:cubicBezTo>
                        <a:pt x="18990" y="5499"/>
                        <a:pt x="19469" y="11360"/>
                        <a:pt x="16180" y="15188"/>
                      </a:cubicBezTo>
                      <a:cubicBezTo>
                        <a:pt x="12890" y="19076"/>
                        <a:pt x="7089" y="19494"/>
                        <a:pt x="3261" y="16205"/>
                      </a:cubicBezTo>
                      <a:close/>
                    </a:path>
                  </a:pathLst>
                </a:custGeom>
                <a:grpFill/>
                <a:ln w="5978" cap="flat">
                  <a:noFill/>
                  <a:prstDash val="solid"/>
                  <a:miter/>
                </a:ln>
              </p:spPr>
              <p:txBody>
                <a:bodyPr rtlCol="0" anchor="ctr"/>
                <a:lstStyle/>
                <a:p>
                  <a:endParaRPr lang="en-GB"/>
                </a:p>
              </p:txBody>
            </p:sp>
            <p:sp>
              <p:nvSpPr>
                <p:cNvPr id="2694" name="Vrije vorm: vorm 2693">
                  <a:extLst>
                    <a:ext uri="{FF2B5EF4-FFF2-40B4-BE49-F238E27FC236}">
                      <a16:creationId xmlns:a16="http://schemas.microsoft.com/office/drawing/2014/main" id="{E8F2E312-FDF2-48DC-A4B1-8026EE8B04A6}"/>
                    </a:ext>
                  </a:extLst>
                </p:cNvPr>
                <p:cNvSpPr/>
                <p:nvPr/>
              </p:nvSpPr>
              <p:spPr>
                <a:xfrm>
                  <a:off x="4671215" y="2230852"/>
                  <a:ext cx="18319" cy="18414"/>
                </a:xfrm>
                <a:custGeom>
                  <a:avLst/>
                  <a:gdLst>
                    <a:gd name="connsiteX0" fmla="*/ 3217 w 18319"/>
                    <a:gd name="connsiteY0" fmla="*/ 16205 h 18414"/>
                    <a:gd name="connsiteX1" fmla="*/ 16135 w 18319"/>
                    <a:gd name="connsiteY1" fmla="*/ 15188 h 18414"/>
                    <a:gd name="connsiteX2" fmla="*/ 15059 w 18319"/>
                    <a:gd name="connsiteY2" fmla="*/ 2210 h 18414"/>
                    <a:gd name="connsiteX3" fmla="*/ 2140 w 18319"/>
                    <a:gd name="connsiteY3" fmla="*/ 3227 h 18414"/>
                    <a:gd name="connsiteX4" fmla="*/ 3217 w 18319"/>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4">
                      <a:moveTo>
                        <a:pt x="3217" y="16205"/>
                      </a:moveTo>
                      <a:cubicBezTo>
                        <a:pt x="7105" y="19494"/>
                        <a:pt x="12846" y="19076"/>
                        <a:pt x="16135" y="15188"/>
                      </a:cubicBezTo>
                      <a:cubicBezTo>
                        <a:pt x="19425" y="11301"/>
                        <a:pt x="18946" y="5499"/>
                        <a:pt x="15059" y="2210"/>
                      </a:cubicBezTo>
                      <a:cubicBezTo>
                        <a:pt x="11171" y="-1080"/>
                        <a:pt x="5430" y="-661"/>
                        <a:pt x="2140" y="3227"/>
                      </a:cubicBezTo>
                      <a:cubicBezTo>
                        <a:pt x="-1089" y="7114"/>
                        <a:pt x="-611" y="12915"/>
                        <a:pt x="3217" y="16205"/>
                      </a:cubicBezTo>
                      <a:close/>
                    </a:path>
                  </a:pathLst>
                </a:custGeom>
                <a:grpFill/>
                <a:ln w="5978" cap="flat">
                  <a:noFill/>
                  <a:prstDash val="solid"/>
                  <a:miter/>
                </a:ln>
              </p:spPr>
              <p:txBody>
                <a:bodyPr rtlCol="0" anchor="ctr"/>
                <a:lstStyle/>
                <a:p>
                  <a:endParaRPr lang="en-GB"/>
                </a:p>
              </p:txBody>
            </p:sp>
          </p:grpSp>
          <p:grpSp>
            <p:nvGrpSpPr>
              <p:cNvPr id="903" name="Graphic 3">
                <a:extLst>
                  <a:ext uri="{FF2B5EF4-FFF2-40B4-BE49-F238E27FC236}">
                    <a16:creationId xmlns:a16="http://schemas.microsoft.com/office/drawing/2014/main" id="{5876998F-4900-42F4-9DA4-E181160BC0AC}"/>
                  </a:ext>
                </a:extLst>
              </p:cNvPr>
              <p:cNvGrpSpPr/>
              <p:nvPr/>
            </p:nvGrpSpPr>
            <p:grpSpPr>
              <a:xfrm>
                <a:off x="4653517" y="2302707"/>
                <a:ext cx="81301" cy="68420"/>
                <a:chOff x="4653517" y="2302707"/>
                <a:chExt cx="81301" cy="68420"/>
              </a:xfrm>
              <a:grpFill/>
            </p:grpSpPr>
            <p:sp>
              <p:nvSpPr>
                <p:cNvPr id="2689" name="Vrije vorm: vorm 2688">
                  <a:extLst>
                    <a:ext uri="{FF2B5EF4-FFF2-40B4-BE49-F238E27FC236}">
                      <a16:creationId xmlns:a16="http://schemas.microsoft.com/office/drawing/2014/main" id="{C98D050A-4DA5-4C6C-99B3-85FDF717DF2D}"/>
                    </a:ext>
                  </a:extLst>
                </p:cNvPr>
                <p:cNvSpPr/>
                <p:nvPr/>
              </p:nvSpPr>
              <p:spPr>
                <a:xfrm>
                  <a:off x="4661394" y="2310393"/>
                  <a:ext cx="65548" cy="52989"/>
                </a:xfrm>
                <a:custGeom>
                  <a:avLst/>
                  <a:gdLst>
                    <a:gd name="connsiteX0" fmla="*/ 65548 w 65548"/>
                    <a:gd name="connsiteY0" fmla="*/ 50597 h 52989"/>
                    <a:gd name="connsiteX1" fmla="*/ 63694 w 65548"/>
                    <a:gd name="connsiteY1" fmla="*/ 52989 h 52989"/>
                    <a:gd name="connsiteX2" fmla="*/ 0 w 65548"/>
                    <a:gd name="connsiteY2" fmla="*/ 2452 h 52989"/>
                    <a:gd name="connsiteX3" fmla="*/ 1854 w 65548"/>
                    <a:gd name="connsiteY3" fmla="*/ 0 h 52989"/>
                  </a:gdLst>
                  <a:ahLst/>
                  <a:cxnLst>
                    <a:cxn ang="0">
                      <a:pos x="connsiteX0" y="connsiteY0"/>
                    </a:cxn>
                    <a:cxn ang="0">
                      <a:pos x="connsiteX1" y="connsiteY1"/>
                    </a:cxn>
                    <a:cxn ang="0">
                      <a:pos x="connsiteX2" y="connsiteY2"/>
                    </a:cxn>
                    <a:cxn ang="0">
                      <a:pos x="connsiteX3" y="connsiteY3"/>
                    </a:cxn>
                  </a:cxnLst>
                  <a:rect l="l" t="t" r="r" b="b"/>
                  <a:pathLst>
                    <a:path w="65548" h="52989">
                      <a:moveTo>
                        <a:pt x="65548" y="50597"/>
                      </a:moveTo>
                      <a:lnTo>
                        <a:pt x="63694" y="52989"/>
                      </a:lnTo>
                      <a:lnTo>
                        <a:pt x="0" y="2452"/>
                      </a:lnTo>
                      <a:lnTo>
                        <a:pt x="1854" y="0"/>
                      </a:lnTo>
                      <a:close/>
                    </a:path>
                  </a:pathLst>
                </a:custGeom>
                <a:grpFill/>
                <a:ln w="5978" cap="flat">
                  <a:noFill/>
                  <a:prstDash val="solid"/>
                  <a:miter/>
                </a:ln>
              </p:spPr>
              <p:txBody>
                <a:bodyPr rtlCol="0" anchor="ctr"/>
                <a:lstStyle/>
                <a:p>
                  <a:endParaRPr lang="en-GB"/>
                </a:p>
              </p:txBody>
            </p:sp>
            <p:sp>
              <p:nvSpPr>
                <p:cNvPr id="2690" name="Vrije vorm: vorm 2689">
                  <a:extLst>
                    <a:ext uri="{FF2B5EF4-FFF2-40B4-BE49-F238E27FC236}">
                      <a16:creationId xmlns:a16="http://schemas.microsoft.com/office/drawing/2014/main" id="{BEDE8DCA-08AF-4144-951A-84B220DC462C}"/>
                    </a:ext>
                  </a:extLst>
                </p:cNvPr>
                <p:cNvSpPr/>
                <p:nvPr/>
              </p:nvSpPr>
              <p:spPr>
                <a:xfrm>
                  <a:off x="4653517" y="2302707"/>
                  <a:ext cx="18325" cy="18421"/>
                </a:xfrm>
                <a:custGeom>
                  <a:avLst/>
                  <a:gdLst>
                    <a:gd name="connsiteX0" fmla="*/ 3511 w 18325"/>
                    <a:gd name="connsiteY0" fmla="*/ 16418 h 18421"/>
                    <a:gd name="connsiteX1" fmla="*/ 1956 w 18325"/>
                    <a:gd name="connsiteY1" fmla="*/ 3499 h 18421"/>
                    <a:gd name="connsiteX2" fmla="*/ 14814 w 18325"/>
                    <a:gd name="connsiteY2" fmla="*/ 2004 h 18421"/>
                    <a:gd name="connsiteX3" fmla="*/ 16369 w 18325"/>
                    <a:gd name="connsiteY3" fmla="*/ 14922 h 18421"/>
                    <a:gd name="connsiteX4" fmla="*/ 3511 w 18325"/>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1">
                      <a:moveTo>
                        <a:pt x="3511" y="16418"/>
                      </a:moveTo>
                      <a:cubicBezTo>
                        <a:pt x="-496" y="13248"/>
                        <a:pt x="-1154" y="7447"/>
                        <a:pt x="1956" y="3499"/>
                      </a:cubicBezTo>
                      <a:cubicBezTo>
                        <a:pt x="5066" y="-508"/>
                        <a:pt x="10867" y="-1166"/>
                        <a:pt x="14814" y="2004"/>
                      </a:cubicBezTo>
                      <a:cubicBezTo>
                        <a:pt x="18822" y="5174"/>
                        <a:pt x="19479" y="10975"/>
                        <a:pt x="16369" y="14922"/>
                      </a:cubicBezTo>
                      <a:cubicBezTo>
                        <a:pt x="13259" y="18930"/>
                        <a:pt x="7458" y="19587"/>
                        <a:pt x="3511" y="16418"/>
                      </a:cubicBezTo>
                      <a:close/>
                    </a:path>
                  </a:pathLst>
                </a:custGeom>
                <a:grpFill/>
                <a:ln w="5978" cap="flat">
                  <a:noFill/>
                  <a:prstDash val="solid"/>
                  <a:miter/>
                </a:ln>
              </p:spPr>
              <p:txBody>
                <a:bodyPr rtlCol="0" anchor="ctr"/>
                <a:lstStyle/>
                <a:p>
                  <a:endParaRPr lang="en-GB"/>
                </a:p>
              </p:txBody>
            </p:sp>
            <p:sp>
              <p:nvSpPr>
                <p:cNvPr id="2691" name="Vrije vorm: vorm 2690">
                  <a:extLst>
                    <a:ext uri="{FF2B5EF4-FFF2-40B4-BE49-F238E27FC236}">
                      <a16:creationId xmlns:a16="http://schemas.microsoft.com/office/drawing/2014/main" id="{AFD10A80-4BFE-4E3A-8FD5-823DE3271128}"/>
                    </a:ext>
                  </a:extLst>
                </p:cNvPr>
                <p:cNvSpPr/>
                <p:nvPr/>
              </p:nvSpPr>
              <p:spPr>
                <a:xfrm>
                  <a:off x="4716494" y="2352706"/>
                  <a:ext cx="18325" cy="18421"/>
                </a:xfrm>
                <a:custGeom>
                  <a:avLst/>
                  <a:gdLst>
                    <a:gd name="connsiteX0" fmla="*/ 3511 w 18325"/>
                    <a:gd name="connsiteY0" fmla="*/ 16418 h 18421"/>
                    <a:gd name="connsiteX1" fmla="*/ 16369 w 18325"/>
                    <a:gd name="connsiteY1" fmla="*/ 14922 h 18421"/>
                    <a:gd name="connsiteX2" fmla="*/ 14814 w 18325"/>
                    <a:gd name="connsiteY2" fmla="*/ 2004 h 18421"/>
                    <a:gd name="connsiteX3" fmla="*/ 1956 w 18325"/>
                    <a:gd name="connsiteY3" fmla="*/ 3499 h 18421"/>
                    <a:gd name="connsiteX4" fmla="*/ 3511 w 18325"/>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1">
                      <a:moveTo>
                        <a:pt x="3511" y="16418"/>
                      </a:moveTo>
                      <a:cubicBezTo>
                        <a:pt x="7518" y="19587"/>
                        <a:pt x="13259" y="18929"/>
                        <a:pt x="16369" y="14922"/>
                      </a:cubicBezTo>
                      <a:cubicBezTo>
                        <a:pt x="19479" y="10915"/>
                        <a:pt x="18821" y="5114"/>
                        <a:pt x="14814" y="2004"/>
                      </a:cubicBezTo>
                      <a:cubicBezTo>
                        <a:pt x="10807" y="-1166"/>
                        <a:pt x="5066" y="-508"/>
                        <a:pt x="1956" y="3499"/>
                      </a:cubicBezTo>
                      <a:cubicBezTo>
                        <a:pt x="-1154" y="7447"/>
                        <a:pt x="-496" y="13248"/>
                        <a:pt x="3511" y="16418"/>
                      </a:cubicBezTo>
                      <a:close/>
                    </a:path>
                  </a:pathLst>
                </a:custGeom>
                <a:grpFill/>
                <a:ln w="5978" cap="flat">
                  <a:noFill/>
                  <a:prstDash val="solid"/>
                  <a:miter/>
                </a:ln>
              </p:spPr>
              <p:txBody>
                <a:bodyPr rtlCol="0" anchor="ctr"/>
                <a:lstStyle/>
                <a:p>
                  <a:endParaRPr lang="en-GB"/>
                </a:p>
              </p:txBody>
            </p:sp>
          </p:grpSp>
          <p:grpSp>
            <p:nvGrpSpPr>
              <p:cNvPr id="904" name="Graphic 3">
                <a:extLst>
                  <a:ext uri="{FF2B5EF4-FFF2-40B4-BE49-F238E27FC236}">
                    <a16:creationId xmlns:a16="http://schemas.microsoft.com/office/drawing/2014/main" id="{BD633F6B-46CD-4971-A926-F24B25794B06}"/>
                  </a:ext>
                </a:extLst>
              </p:cNvPr>
              <p:cNvGrpSpPr/>
              <p:nvPr/>
            </p:nvGrpSpPr>
            <p:grpSpPr>
              <a:xfrm>
                <a:off x="5675320" y="5238149"/>
                <a:ext cx="46562" cy="169288"/>
                <a:chOff x="5675320" y="5238149"/>
                <a:chExt cx="46562" cy="169288"/>
              </a:xfrm>
              <a:grpFill/>
            </p:grpSpPr>
            <p:sp>
              <p:nvSpPr>
                <p:cNvPr id="2686" name="Vrije vorm: vorm 2685">
                  <a:extLst>
                    <a:ext uri="{FF2B5EF4-FFF2-40B4-BE49-F238E27FC236}">
                      <a16:creationId xmlns:a16="http://schemas.microsoft.com/office/drawing/2014/main" id="{A7190290-49AB-42FB-A6B9-CB9542F5589D}"/>
                    </a:ext>
                  </a:extLst>
                </p:cNvPr>
                <p:cNvSpPr/>
                <p:nvPr/>
              </p:nvSpPr>
              <p:spPr>
                <a:xfrm>
                  <a:off x="5682901" y="5246568"/>
                  <a:ext cx="31398" cy="152389"/>
                </a:xfrm>
                <a:custGeom>
                  <a:avLst/>
                  <a:gdLst>
                    <a:gd name="connsiteX0" fmla="*/ 31399 w 31398"/>
                    <a:gd name="connsiteY0" fmla="*/ 598 h 152389"/>
                    <a:gd name="connsiteX1" fmla="*/ 2990 w 31398"/>
                    <a:gd name="connsiteY1" fmla="*/ 152389 h 152389"/>
                    <a:gd name="connsiteX2" fmla="*/ 0 w 31398"/>
                    <a:gd name="connsiteY2" fmla="*/ 151791 h 152389"/>
                    <a:gd name="connsiteX3" fmla="*/ 28408 w 31398"/>
                    <a:gd name="connsiteY3" fmla="*/ 0 h 152389"/>
                  </a:gdLst>
                  <a:ahLst/>
                  <a:cxnLst>
                    <a:cxn ang="0">
                      <a:pos x="connsiteX0" y="connsiteY0"/>
                    </a:cxn>
                    <a:cxn ang="0">
                      <a:pos x="connsiteX1" y="connsiteY1"/>
                    </a:cxn>
                    <a:cxn ang="0">
                      <a:pos x="connsiteX2" y="connsiteY2"/>
                    </a:cxn>
                    <a:cxn ang="0">
                      <a:pos x="connsiteX3" y="connsiteY3"/>
                    </a:cxn>
                  </a:cxnLst>
                  <a:rect l="l" t="t" r="r" b="b"/>
                  <a:pathLst>
                    <a:path w="31398" h="152389">
                      <a:moveTo>
                        <a:pt x="31399" y="598"/>
                      </a:moveTo>
                      <a:lnTo>
                        <a:pt x="2990" y="152389"/>
                      </a:lnTo>
                      <a:lnTo>
                        <a:pt x="0" y="151791"/>
                      </a:lnTo>
                      <a:lnTo>
                        <a:pt x="28408" y="0"/>
                      </a:lnTo>
                      <a:close/>
                    </a:path>
                  </a:pathLst>
                </a:custGeom>
                <a:grpFill/>
                <a:ln w="5978" cap="flat">
                  <a:noFill/>
                  <a:prstDash val="solid"/>
                  <a:miter/>
                </a:ln>
              </p:spPr>
              <p:txBody>
                <a:bodyPr rtlCol="0" anchor="ctr"/>
                <a:lstStyle/>
                <a:p>
                  <a:endParaRPr lang="en-GB"/>
                </a:p>
              </p:txBody>
            </p:sp>
            <p:sp>
              <p:nvSpPr>
                <p:cNvPr id="2687" name="Vrije vorm: vorm 2686">
                  <a:extLst>
                    <a:ext uri="{FF2B5EF4-FFF2-40B4-BE49-F238E27FC236}">
                      <a16:creationId xmlns:a16="http://schemas.microsoft.com/office/drawing/2014/main" id="{AAF656C2-C877-432F-84AC-1689FEB917F1}"/>
                    </a:ext>
                  </a:extLst>
                </p:cNvPr>
                <p:cNvSpPr/>
                <p:nvPr/>
              </p:nvSpPr>
              <p:spPr>
                <a:xfrm>
                  <a:off x="5675320" y="5389040"/>
                  <a:ext cx="18317" cy="18397"/>
                </a:xfrm>
                <a:custGeom>
                  <a:avLst/>
                  <a:gdLst>
                    <a:gd name="connsiteX0" fmla="*/ 18168 w 18317"/>
                    <a:gd name="connsiteY0" fmla="*/ 10933 h 18397"/>
                    <a:gd name="connsiteX1" fmla="*/ 7462 w 18317"/>
                    <a:gd name="connsiteY1" fmla="*/ 18229 h 18397"/>
                    <a:gd name="connsiteX2" fmla="*/ 166 w 18317"/>
                    <a:gd name="connsiteY2" fmla="*/ 7464 h 18397"/>
                    <a:gd name="connsiteX3" fmla="*/ 10871 w 18317"/>
                    <a:gd name="connsiteY3" fmla="*/ 168 h 18397"/>
                    <a:gd name="connsiteX4" fmla="*/ 18168 w 18317"/>
                    <a:gd name="connsiteY4" fmla="*/ 109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97">
                      <a:moveTo>
                        <a:pt x="18168" y="10933"/>
                      </a:moveTo>
                      <a:cubicBezTo>
                        <a:pt x="17211" y="15957"/>
                        <a:pt x="12426" y="19187"/>
                        <a:pt x="7462" y="18229"/>
                      </a:cubicBezTo>
                      <a:cubicBezTo>
                        <a:pt x="2498" y="17273"/>
                        <a:pt x="-791" y="12428"/>
                        <a:pt x="166" y="7464"/>
                      </a:cubicBezTo>
                      <a:cubicBezTo>
                        <a:pt x="1122" y="2441"/>
                        <a:pt x="5907" y="-789"/>
                        <a:pt x="10871" y="168"/>
                      </a:cubicBezTo>
                      <a:cubicBezTo>
                        <a:pt x="15835" y="1065"/>
                        <a:pt x="19065" y="5909"/>
                        <a:pt x="18168" y="10933"/>
                      </a:cubicBezTo>
                      <a:close/>
                    </a:path>
                  </a:pathLst>
                </a:custGeom>
                <a:grpFill/>
                <a:ln w="5978" cap="flat">
                  <a:noFill/>
                  <a:prstDash val="solid"/>
                  <a:miter/>
                </a:ln>
              </p:spPr>
              <p:txBody>
                <a:bodyPr rtlCol="0" anchor="ctr"/>
                <a:lstStyle/>
                <a:p>
                  <a:endParaRPr lang="en-GB"/>
                </a:p>
              </p:txBody>
            </p:sp>
            <p:sp>
              <p:nvSpPr>
                <p:cNvPr id="2688" name="Vrije vorm: vorm 2687">
                  <a:extLst>
                    <a:ext uri="{FF2B5EF4-FFF2-40B4-BE49-F238E27FC236}">
                      <a16:creationId xmlns:a16="http://schemas.microsoft.com/office/drawing/2014/main" id="{B1260714-66EC-4F82-B7E4-5B56511D985B}"/>
                    </a:ext>
                  </a:extLst>
                </p:cNvPr>
                <p:cNvSpPr/>
                <p:nvPr/>
              </p:nvSpPr>
              <p:spPr>
                <a:xfrm>
                  <a:off x="5703549" y="5238149"/>
                  <a:ext cx="18333" cy="18393"/>
                </a:xfrm>
                <a:custGeom>
                  <a:avLst/>
                  <a:gdLst>
                    <a:gd name="connsiteX0" fmla="*/ 18168 w 18333"/>
                    <a:gd name="connsiteY0" fmla="*/ 10931 h 18393"/>
                    <a:gd name="connsiteX1" fmla="*/ 10871 w 18333"/>
                    <a:gd name="connsiteY1" fmla="*/ 166 h 18393"/>
                    <a:gd name="connsiteX2" fmla="*/ 166 w 18333"/>
                    <a:gd name="connsiteY2" fmla="*/ 7462 h 18393"/>
                    <a:gd name="connsiteX3" fmla="*/ 7462 w 18333"/>
                    <a:gd name="connsiteY3" fmla="*/ 18227 h 18393"/>
                    <a:gd name="connsiteX4" fmla="*/ 18168 w 18333"/>
                    <a:gd name="connsiteY4" fmla="*/ 10931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8168" y="10931"/>
                      </a:moveTo>
                      <a:cubicBezTo>
                        <a:pt x="19125" y="5907"/>
                        <a:pt x="15835" y="1123"/>
                        <a:pt x="10871" y="166"/>
                      </a:cubicBezTo>
                      <a:cubicBezTo>
                        <a:pt x="5907" y="-791"/>
                        <a:pt x="1123" y="2498"/>
                        <a:pt x="166" y="7462"/>
                      </a:cubicBezTo>
                      <a:cubicBezTo>
                        <a:pt x="-791" y="12486"/>
                        <a:pt x="2498" y="17271"/>
                        <a:pt x="7462" y="18227"/>
                      </a:cubicBezTo>
                      <a:cubicBezTo>
                        <a:pt x="12426" y="19185"/>
                        <a:pt x="17211" y="15895"/>
                        <a:pt x="18168" y="10931"/>
                      </a:cubicBezTo>
                      <a:close/>
                    </a:path>
                  </a:pathLst>
                </a:custGeom>
                <a:grpFill/>
                <a:ln w="5978" cap="flat">
                  <a:noFill/>
                  <a:prstDash val="solid"/>
                  <a:miter/>
                </a:ln>
              </p:spPr>
              <p:txBody>
                <a:bodyPr rtlCol="0" anchor="ctr"/>
                <a:lstStyle/>
                <a:p>
                  <a:endParaRPr lang="en-GB"/>
                </a:p>
              </p:txBody>
            </p:sp>
          </p:grpSp>
          <p:grpSp>
            <p:nvGrpSpPr>
              <p:cNvPr id="905" name="Graphic 3">
                <a:extLst>
                  <a:ext uri="{FF2B5EF4-FFF2-40B4-BE49-F238E27FC236}">
                    <a16:creationId xmlns:a16="http://schemas.microsoft.com/office/drawing/2014/main" id="{2D1CFF14-2C99-4452-BE66-33FF00257EB6}"/>
                  </a:ext>
                </a:extLst>
              </p:cNvPr>
              <p:cNvGrpSpPr/>
              <p:nvPr/>
            </p:nvGrpSpPr>
            <p:grpSpPr>
              <a:xfrm>
                <a:off x="4540493" y="2120144"/>
                <a:ext cx="226888" cy="235583"/>
                <a:chOff x="4540493" y="2120144"/>
                <a:chExt cx="226888" cy="235583"/>
              </a:xfrm>
              <a:grpFill/>
            </p:grpSpPr>
            <p:sp>
              <p:nvSpPr>
                <p:cNvPr id="2683" name="Vrije vorm: vorm 2682">
                  <a:extLst>
                    <a:ext uri="{FF2B5EF4-FFF2-40B4-BE49-F238E27FC236}">
                      <a16:creationId xmlns:a16="http://schemas.microsoft.com/office/drawing/2014/main" id="{1606071D-747F-408C-AD57-C860231C746A}"/>
                    </a:ext>
                  </a:extLst>
                </p:cNvPr>
                <p:cNvSpPr/>
                <p:nvPr/>
              </p:nvSpPr>
              <p:spPr>
                <a:xfrm>
                  <a:off x="4548239" y="2127921"/>
                  <a:ext cx="211418" cy="219970"/>
                </a:xfrm>
                <a:custGeom>
                  <a:avLst/>
                  <a:gdLst>
                    <a:gd name="connsiteX0" fmla="*/ 211418 w 211418"/>
                    <a:gd name="connsiteY0" fmla="*/ 217818 h 219970"/>
                    <a:gd name="connsiteX1" fmla="*/ 209206 w 211418"/>
                    <a:gd name="connsiteY1" fmla="*/ 219971 h 219970"/>
                    <a:gd name="connsiteX2" fmla="*/ 0 w 211418"/>
                    <a:gd name="connsiteY2" fmla="*/ 2153 h 219970"/>
                    <a:gd name="connsiteX3" fmla="*/ 2213 w 211418"/>
                    <a:gd name="connsiteY3" fmla="*/ 0 h 219970"/>
                  </a:gdLst>
                  <a:ahLst/>
                  <a:cxnLst>
                    <a:cxn ang="0">
                      <a:pos x="connsiteX0" y="connsiteY0"/>
                    </a:cxn>
                    <a:cxn ang="0">
                      <a:pos x="connsiteX1" y="connsiteY1"/>
                    </a:cxn>
                    <a:cxn ang="0">
                      <a:pos x="connsiteX2" y="connsiteY2"/>
                    </a:cxn>
                    <a:cxn ang="0">
                      <a:pos x="connsiteX3" y="connsiteY3"/>
                    </a:cxn>
                  </a:cxnLst>
                  <a:rect l="l" t="t" r="r" b="b"/>
                  <a:pathLst>
                    <a:path w="211418" h="219970">
                      <a:moveTo>
                        <a:pt x="211418" y="217818"/>
                      </a:moveTo>
                      <a:lnTo>
                        <a:pt x="209206" y="219971"/>
                      </a:lnTo>
                      <a:lnTo>
                        <a:pt x="0" y="2153"/>
                      </a:lnTo>
                      <a:lnTo>
                        <a:pt x="2213" y="0"/>
                      </a:lnTo>
                      <a:close/>
                    </a:path>
                  </a:pathLst>
                </a:custGeom>
                <a:grpFill/>
                <a:ln w="5978" cap="flat">
                  <a:noFill/>
                  <a:prstDash val="solid"/>
                  <a:miter/>
                </a:ln>
              </p:spPr>
              <p:txBody>
                <a:bodyPr rtlCol="0" anchor="ctr"/>
                <a:lstStyle/>
                <a:p>
                  <a:endParaRPr lang="en-GB"/>
                </a:p>
              </p:txBody>
            </p:sp>
            <p:sp>
              <p:nvSpPr>
                <p:cNvPr id="2684" name="Vrije vorm: vorm 2683">
                  <a:extLst>
                    <a:ext uri="{FF2B5EF4-FFF2-40B4-BE49-F238E27FC236}">
                      <a16:creationId xmlns:a16="http://schemas.microsoft.com/office/drawing/2014/main" id="{2FC3972E-FB98-42C7-99FF-8A9CE3564271}"/>
                    </a:ext>
                  </a:extLst>
                </p:cNvPr>
                <p:cNvSpPr/>
                <p:nvPr/>
              </p:nvSpPr>
              <p:spPr>
                <a:xfrm>
                  <a:off x="4749063" y="2337282"/>
                  <a:ext cx="18318" cy="18445"/>
                </a:xfrm>
                <a:custGeom>
                  <a:avLst/>
                  <a:gdLst>
                    <a:gd name="connsiteX0" fmla="*/ 15738 w 18318"/>
                    <a:gd name="connsiteY0" fmla="*/ 2835 h 18445"/>
                    <a:gd name="connsiteX1" fmla="*/ 15559 w 18318"/>
                    <a:gd name="connsiteY1" fmla="*/ 15872 h 18445"/>
                    <a:gd name="connsiteX2" fmla="*/ 2580 w 18318"/>
                    <a:gd name="connsiteY2" fmla="*/ 15633 h 18445"/>
                    <a:gd name="connsiteX3" fmla="*/ 2760 w 18318"/>
                    <a:gd name="connsiteY3" fmla="*/ 2595 h 18445"/>
                    <a:gd name="connsiteX4" fmla="*/ 15738 w 18318"/>
                    <a:gd name="connsiteY4" fmla="*/ 2835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45">
                      <a:moveTo>
                        <a:pt x="15738" y="2835"/>
                      </a:moveTo>
                      <a:cubicBezTo>
                        <a:pt x="19267" y="6483"/>
                        <a:pt x="19147" y="12344"/>
                        <a:pt x="15559" y="15872"/>
                      </a:cubicBezTo>
                      <a:cubicBezTo>
                        <a:pt x="11910" y="19401"/>
                        <a:pt x="6109" y="19282"/>
                        <a:pt x="2580" y="15633"/>
                      </a:cubicBezTo>
                      <a:cubicBezTo>
                        <a:pt x="-948" y="11985"/>
                        <a:pt x="-829" y="6124"/>
                        <a:pt x="2760" y="2595"/>
                      </a:cubicBezTo>
                      <a:cubicBezTo>
                        <a:pt x="6408" y="-933"/>
                        <a:pt x="12210" y="-873"/>
                        <a:pt x="15738" y="2835"/>
                      </a:cubicBezTo>
                      <a:close/>
                    </a:path>
                  </a:pathLst>
                </a:custGeom>
                <a:grpFill/>
                <a:ln w="5978" cap="flat">
                  <a:noFill/>
                  <a:prstDash val="solid"/>
                  <a:miter/>
                </a:ln>
              </p:spPr>
              <p:txBody>
                <a:bodyPr rtlCol="0" anchor="ctr"/>
                <a:lstStyle/>
                <a:p>
                  <a:endParaRPr lang="en-GB"/>
                </a:p>
              </p:txBody>
            </p:sp>
            <p:sp>
              <p:nvSpPr>
                <p:cNvPr id="2685" name="Vrije vorm: vorm 2684">
                  <a:extLst>
                    <a:ext uri="{FF2B5EF4-FFF2-40B4-BE49-F238E27FC236}">
                      <a16:creationId xmlns:a16="http://schemas.microsoft.com/office/drawing/2014/main" id="{2807EB55-2DBA-429C-A6AB-60679B382756}"/>
                    </a:ext>
                  </a:extLst>
                </p:cNvPr>
                <p:cNvSpPr/>
                <p:nvPr/>
              </p:nvSpPr>
              <p:spPr>
                <a:xfrm>
                  <a:off x="4540493" y="2120144"/>
                  <a:ext cx="18340" cy="18423"/>
                </a:xfrm>
                <a:custGeom>
                  <a:avLst/>
                  <a:gdLst>
                    <a:gd name="connsiteX0" fmla="*/ 15760 w 18340"/>
                    <a:gd name="connsiteY0" fmla="*/ 2813 h 18423"/>
                    <a:gd name="connsiteX1" fmla="*/ 2782 w 18340"/>
                    <a:gd name="connsiteY1" fmla="*/ 2573 h 18423"/>
                    <a:gd name="connsiteX2" fmla="*/ 2602 w 18340"/>
                    <a:gd name="connsiteY2" fmla="*/ 15611 h 18423"/>
                    <a:gd name="connsiteX3" fmla="*/ 15581 w 18340"/>
                    <a:gd name="connsiteY3" fmla="*/ 15851 h 18423"/>
                    <a:gd name="connsiteX4" fmla="*/ 15760 w 18340"/>
                    <a:gd name="connsiteY4" fmla="*/ 2813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3">
                      <a:moveTo>
                        <a:pt x="15760" y="2813"/>
                      </a:moveTo>
                      <a:cubicBezTo>
                        <a:pt x="12231" y="-836"/>
                        <a:pt x="6430" y="-955"/>
                        <a:pt x="2782" y="2573"/>
                      </a:cubicBezTo>
                      <a:cubicBezTo>
                        <a:pt x="-866" y="6102"/>
                        <a:pt x="-926" y="11903"/>
                        <a:pt x="2602" y="15611"/>
                      </a:cubicBezTo>
                      <a:cubicBezTo>
                        <a:pt x="6131" y="19260"/>
                        <a:pt x="11932" y="19379"/>
                        <a:pt x="15581" y="15851"/>
                      </a:cubicBezTo>
                      <a:cubicBezTo>
                        <a:pt x="19169" y="12322"/>
                        <a:pt x="19289" y="6461"/>
                        <a:pt x="15760" y="2813"/>
                      </a:cubicBezTo>
                      <a:close/>
                    </a:path>
                  </a:pathLst>
                </a:custGeom>
                <a:grpFill/>
                <a:ln w="5978" cap="flat">
                  <a:noFill/>
                  <a:prstDash val="solid"/>
                  <a:miter/>
                </a:ln>
              </p:spPr>
              <p:txBody>
                <a:bodyPr rtlCol="0" anchor="ctr"/>
                <a:lstStyle/>
                <a:p>
                  <a:endParaRPr lang="en-GB"/>
                </a:p>
              </p:txBody>
            </p:sp>
          </p:grpSp>
          <p:grpSp>
            <p:nvGrpSpPr>
              <p:cNvPr id="906" name="Graphic 3">
                <a:extLst>
                  <a:ext uri="{FF2B5EF4-FFF2-40B4-BE49-F238E27FC236}">
                    <a16:creationId xmlns:a16="http://schemas.microsoft.com/office/drawing/2014/main" id="{D8008FCB-CF4A-4425-9C0A-6038B25B1814}"/>
                  </a:ext>
                </a:extLst>
              </p:cNvPr>
              <p:cNvGrpSpPr/>
              <p:nvPr/>
            </p:nvGrpSpPr>
            <p:grpSpPr>
              <a:xfrm>
                <a:off x="4564997" y="2041320"/>
                <a:ext cx="56216" cy="53468"/>
                <a:chOff x="4564997" y="2041320"/>
                <a:chExt cx="56216" cy="53468"/>
              </a:xfrm>
              <a:grpFill/>
            </p:grpSpPr>
            <p:sp>
              <p:nvSpPr>
                <p:cNvPr id="2680" name="Vrije vorm: vorm 2679">
                  <a:extLst>
                    <a:ext uri="{FF2B5EF4-FFF2-40B4-BE49-F238E27FC236}">
                      <a16:creationId xmlns:a16="http://schemas.microsoft.com/office/drawing/2014/main" id="{3D917F89-425B-4BEF-A27F-2154AEE9892D}"/>
                    </a:ext>
                  </a:extLst>
                </p:cNvPr>
                <p:cNvSpPr/>
                <p:nvPr/>
              </p:nvSpPr>
              <p:spPr>
                <a:xfrm>
                  <a:off x="4572820" y="2049155"/>
                  <a:ext cx="40668" cy="37857"/>
                </a:xfrm>
                <a:custGeom>
                  <a:avLst/>
                  <a:gdLst>
                    <a:gd name="connsiteX0" fmla="*/ 40669 w 40668"/>
                    <a:gd name="connsiteY0" fmla="*/ 35645 h 37857"/>
                    <a:gd name="connsiteX1" fmla="*/ 38576 w 40668"/>
                    <a:gd name="connsiteY1" fmla="*/ 37858 h 37857"/>
                    <a:gd name="connsiteX2" fmla="*/ 0 w 40668"/>
                    <a:gd name="connsiteY2" fmla="*/ 2273 h 37857"/>
                    <a:gd name="connsiteX3" fmla="*/ 2033 w 40668"/>
                    <a:gd name="connsiteY3" fmla="*/ 0 h 37857"/>
                  </a:gdLst>
                  <a:ahLst/>
                  <a:cxnLst>
                    <a:cxn ang="0">
                      <a:pos x="connsiteX0" y="connsiteY0"/>
                    </a:cxn>
                    <a:cxn ang="0">
                      <a:pos x="connsiteX1" y="connsiteY1"/>
                    </a:cxn>
                    <a:cxn ang="0">
                      <a:pos x="connsiteX2" y="connsiteY2"/>
                    </a:cxn>
                    <a:cxn ang="0">
                      <a:pos x="connsiteX3" y="connsiteY3"/>
                    </a:cxn>
                  </a:cxnLst>
                  <a:rect l="l" t="t" r="r" b="b"/>
                  <a:pathLst>
                    <a:path w="40668" h="37857">
                      <a:moveTo>
                        <a:pt x="40669" y="35645"/>
                      </a:moveTo>
                      <a:lnTo>
                        <a:pt x="38576" y="37858"/>
                      </a:lnTo>
                      <a:lnTo>
                        <a:pt x="0" y="2273"/>
                      </a:lnTo>
                      <a:lnTo>
                        <a:pt x="2033" y="0"/>
                      </a:lnTo>
                      <a:close/>
                    </a:path>
                  </a:pathLst>
                </a:custGeom>
                <a:grpFill/>
                <a:ln w="5978" cap="flat">
                  <a:noFill/>
                  <a:prstDash val="solid"/>
                  <a:miter/>
                </a:ln>
              </p:spPr>
              <p:txBody>
                <a:bodyPr rtlCol="0" anchor="ctr"/>
                <a:lstStyle/>
                <a:p>
                  <a:endParaRPr lang="en-GB"/>
                </a:p>
              </p:txBody>
            </p:sp>
            <p:sp>
              <p:nvSpPr>
                <p:cNvPr id="2681" name="Vrije vorm: vorm 2680">
                  <a:extLst>
                    <a:ext uri="{FF2B5EF4-FFF2-40B4-BE49-F238E27FC236}">
                      <a16:creationId xmlns:a16="http://schemas.microsoft.com/office/drawing/2014/main" id="{569E0606-96E1-4E6F-8520-CF08F2601A57}"/>
                    </a:ext>
                  </a:extLst>
                </p:cNvPr>
                <p:cNvSpPr/>
                <p:nvPr/>
              </p:nvSpPr>
              <p:spPr>
                <a:xfrm>
                  <a:off x="4564997" y="2041320"/>
                  <a:ext cx="18277" cy="18481"/>
                </a:xfrm>
                <a:custGeom>
                  <a:avLst/>
                  <a:gdLst>
                    <a:gd name="connsiteX0" fmla="*/ 2979 w 18277"/>
                    <a:gd name="connsiteY0" fmla="*/ 16029 h 18481"/>
                    <a:gd name="connsiteX1" fmla="*/ 2380 w 18277"/>
                    <a:gd name="connsiteY1" fmla="*/ 2991 h 18481"/>
                    <a:gd name="connsiteX2" fmla="*/ 15299 w 18277"/>
                    <a:gd name="connsiteY2" fmla="*/ 2452 h 18481"/>
                    <a:gd name="connsiteX3" fmla="*/ 15897 w 18277"/>
                    <a:gd name="connsiteY3" fmla="*/ 15490 h 18481"/>
                    <a:gd name="connsiteX4" fmla="*/ 2979 w 18277"/>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81">
                      <a:moveTo>
                        <a:pt x="2979" y="16029"/>
                      </a:moveTo>
                      <a:cubicBezTo>
                        <a:pt x="-729" y="12560"/>
                        <a:pt x="-1029" y="6759"/>
                        <a:pt x="2380" y="2991"/>
                      </a:cubicBezTo>
                      <a:cubicBezTo>
                        <a:pt x="5789" y="-777"/>
                        <a:pt x="11591" y="-1016"/>
                        <a:pt x="15299" y="2452"/>
                      </a:cubicBezTo>
                      <a:cubicBezTo>
                        <a:pt x="19007" y="5921"/>
                        <a:pt x="19306" y="11723"/>
                        <a:pt x="15897" y="15490"/>
                      </a:cubicBezTo>
                      <a:cubicBezTo>
                        <a:pt x="12548" y="19258"/>
                        <a:pt x="6747" y="19497"/>
                        <a:pt x="2979" y="16029"/>
                      </a:cubicBezTo>
                      <a:close/>
                    </a:path>
                  </a:pathLst>
                </a:custGeom>
                <a:grpFill/>
                <a:ln w="5978" cap="flat">
                  <a:noFill/>
                  <a:prstDash val="solid"/>
                  <a:miter/>
                </a:ln>
              </p:spPr>
              <p:txBody>
                <a:bodyPr rtlCol="0" anchor="ctr"/>
                <a:lstStyle/>
                <a:p>
                  <a:endParaRPr lang="en-GB"/>
                </a:p>
              </p:txBody>
            </p:sp>
            <p:sp>
              <p:nvSpPr>
                <p:cNvPr id="2682" name="Vrije vorm: vorm 2681">
                  <a:extLst>
                    <a:ext uri="{FF2B5EF4-FFF2-40B4-BE49-F238E27FC236}">
                      <a16:creationId xmlns:a16="http://schemas.microsoft.com/office/drawing/2014/main" id="{EE86EB0B-3973-480C-B5B0-34F00E79D876}"/>
                    </a:ext>
                  </a:extLst>
                </p:cNvPr>
                <p:cNvSpPr/>
                <p:nvPr/>
              </p:nvSpPr>
              <p:spPr>
                <a:xfrm>
                  <a:off x="4602914" y="2076307"/>
                  <a:ext cx="18298" cy="18481"/>
                </a:xfrm>
                <a:custGeom>
                  <a:avLst/>
                  <a:gdLst>
                    <a:gd name="connsiteX0" fmla="*/ 2978 w 18298"/>
                    <a:gd name="connsiteY0" fmla="*/ 16029 h 18481"/>
                    <a:gd name="connsiteX1" fmla="*/ 15897 w 18298"/>
                    <a:gd name="connsiteY1" fmla="*/ 15490 h 18481"/>
                    <a:gd name="connsiteX2" fmla="*/ 15299 w 18298"/>
                    <a:gd name="connsiteY2" fmla="*/ 2452 h 18481"/>
                    <a:gd name="connsiteX3" fmla="*/ 2381 w 18298"/>
                    <a:gd name="connsiteY3" fmla="*/ 2991 h 18481"/>
                    <a:gd name="connsiteX4" fmla="*/ 2978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2978" y="16029"/>
                      </a:moveTo>
                      <a:cubicBezTo>
                        <a:pt x="6686" y="19497"/>
                        <a:pt x="12488" y="19258"/>
                        <a:pt x="15897" y="15490"/>
                      </a:cubicBezTo>
                      <a:cubicBezTo>
                        <a:pt x="19306" y="11723"/>
                        <a:pt x="19067" y="5921"/>
                        <a:pt x="15299" y="2452"/>
                      </a:cubicBezTo>
                      <a:cubicBezTo>
                        <a:pt x="11591" y="-1016"/>
                        <a:pt x="5790" y="-777"/>
                        <a:pt x="2381" y="2991"/>
                      </a:cubicBezTo>
                      <a:cubicBezTo>
                        <a:pt x="-1029" y="6759"/>
                        <a:pt x="-730" y="12620"/>
                        <a:pt x="2978" y="16029"/>
                      </a:cubicBezTo>
                      <a:close/>
                    </a:path>
                  </a:pathLst>
                </a:custGeom>
                <a:grpFill/>
                <a:ln w="5978" cap="flat">
                  <a:noFill/>
                  <a:prstDash val="solid"/>
                  <a:miter/>
                </a:ln>
              </p:spPr>
              <p:txBody>
                <a:bodyPr rtlCol="0" anchor="ctr"/>
                <a:lstStyle/>
                <a:p>
                  <a:endParaRPr lang="en-GB"/>
                </a:p>
              </p:txBody>
            </p:sp>
          </p:grpSp>
          <p:grpSp>
            <p:nvGrpSpPr>
              <p:cNvPr id="907" name="Graphic 3">
                <a:extLst>
                  <a:ext uri="{FF2B5EF4-FFF2-40B4-BE49-F238E27FC236}">
                    <a16:creationId xmlns:a16="http://schemas.microsoft.com/office/drawing/2014/main" id="{F744B456-B964-422D-9514-F33D1B343D54}"/>
                  </a:ext>
                </a:extLst>
              </p:cNvPr>
              <p:cNvGrpSpPr/>
              <p:nvPr/>
            </p:nvGrpSpPr>
            <p:grpSpPr>
              <a:xfrm>
                <a:off x="4577645" y="2102757"/>
                <a:ext cx="62476" cy="57624"/>
                <a:chOff x="4577645" y="2102757"/>
                <a:chExt cx="62476" cy="57624"/>
              </a:xfrm>
              <a:grpFill/>
            </p:grpSpPr>
            <p:sp>
              <p:nvSpPr>
                <p:cNvPr id="2677" name="Vrije vorm: vorm 2676">
                  <a:extLst>
                    <a:ext uri="{FF2B5EF4-FFF2-40B4-BE49-F238E27FC236}">
                      <a16:creationId xmlns:a16="http://schemas.microsoft.com/office/drawing/2014/main" id="{32046D75-5791-4F35-8174-63C41D8FB005}"/>
                    </a:ext>
                  </a:extLst>
                </p:cNvPr>
                <p:cNvSpPr/>
                <p:nvPr/>
              </p:nvSpPr>
              <p:spPr>
                <a:xfrm>
                  <a:off x="4585499" y="2110457"/>
                  <a:ext cx="46829" cy="42164"/>
                </a:xfrm>
                <a:custGeom>
                  <a:avLst/>
                  <a:gdLst>
                    <a:gd name="connsiteX0" fmla="*/ 46829 w 46829"/>
                    <a:gd name="connsiteY0" fmla="*/ 39891 h 42164"/>
                    <a:gd name="connsiteX1" fmla="*/ 44796 w 46829"/>
                    <a:gd name="connsiteY1" fmla="*/ 42164 h 42164"/>
                    <a:gd name="connsiteX2" fmla="*/ 0 w 46829"/>
                    <a:gd name="connsiteY2" fmla="*/ 2332 h 42164"/>
                    <a:gd name="connsiteX3" fmla="*/ 1974 w 46829"/>
                    <a:gd name="connsiteY3" fmla="*/ 0 h 42164"/>
                  </a:gdLst>
                  <a:ahLst/>
                  <a:cxnLst>
                    <a:cxn ang="0">
                      <a:pos x="connsiteX0" y="connsiteY0"/>
                    </a:cxn>
                    <a:cxn ang="0">
                      <a:pos x="connsiteX1" y="connsiteY1"/>
                    </a:cxn>
                    <a:cxn ang="0">
                      <a:pos x="connsiteX2" y="connsiteY2"/>
                    </a:cxn>
                    <a:cxn ang="0">
                      <a:pos x="connsiteX3" y="connsiteY3"/>
                    </a:cxn>
                  </a:cxnLst>
                  <a:rect l="l" t="t" r="r" b="b"/>
                  <a:pathLst>
                    <a:path w="46829" h="42164">
                      <a:moveTo>
                        <a:pt x="46829" y="39891"/>
                      </a:moveTo>
                      <a:lnTo>
                        <a:pt x="44796" y="42164"/>
                      </a:lnTo>
                      <a:lnTo>
                        <a:pt x="0" y="2332"/>
                      </a:lnTo>
                      <a:lnTo>
                        <a:pt x="1974" y="0"/>
                      </a:lnTo>
                      <a:close/>
                    </a:path>
                  </a:pathLst>
                </a:custGeom>
                <a:grpFill/>
                <a:ln w="5978" cap="flat">
                  <a:noFill/>
                  <a:prstDash val="solid"/>
                  <a:miter/>
                </a:ln>
              </p:spPr>
              <p:txBody>
                <a:bodyPr rtlCol="0" anchor="ctr"/>
                <a:lstStyle/>
                <a:p>
                  <a:endParaRPr lang="en-GB"/>
                </a:p>
              </p:txBody>
            </p:sp>
            <p:sp>
              <p:nvSpPr>
                <p:cNvPr id="2678" name="Vrije vorm: vorm 2677">
                  <a:extLst>
                    <a:ext uri="{FF2B5EF4-FFF2-40B4-BE49-F238E27FC236}">
                      <a16:creationId xmlns:a16="http://schemas.microsoft.com/office/drawing/2014/main" id="{C40DC6A0-1C4B-4E0A-943F-B00362E72DE0}"/>
                    </a:ext>
                  </a:extLst>
                </p:cNvPr>
                <p:cNvSpPr/>
                <p:nvPr/>
              </p:nvSpPr>
              <p:spPr>
                <a:xfrm>
                  <a:off x="4577645" y="2102757"/>
                  <a:ext cx="18338" cy="18370"/>
                </a:xfrm>
                <a:custGeom>
                  <a:avLst/>
                  <a:gdLst>
                    <a:gd name="connsiteX0" fmla="*/ 3128 w 18338"/>
                    <a:gd name="connsiteY0" fmla="*/ 16073 h 18370"/>
                    <a:gd name="connsiteX1" fmla="*/ 2291 w 18338"/>
                    <a:gd name="connsiteY1" fmla="*/ 3095 h 18370"/>
                    <a:gd name="connsiteX2" fmla="*/ 15210 w 18338"/>
                    <a:gd name="connsiteY2" fmla="*/ 2318 h 18370"/>
                    <a:gd name="connsiteX3" fmla="*/ 16047 w 18338"/>
                    <a:gd name="connsiteY3" fmla="*/ 15296 h 18370"/>
                    <a:gd name="connsiteX4" fmla="*/ 3128 w 18338"/>
                    <a:gd name="connsiteY4" fmla="*/ 16073 h 18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0">
                      <a:moveTo>
                        <a:pt x="3128" y="16073"/>
                      </a:moveTo>
                      <a:cubicBezTo>
                        <a:pt x="-699" y="12724"/>
                        <a:pt x="-1058" y="6863"/>
                        <a:pt x="2291" y="3095"/>
                      </a:cubicBezTo>
                      <a:cubicBezTo>
                        <a:pt x="5641" y="-732"/>
                        <a:pt x="11442" y="-1031"/>
                        <a:pt x="15210" y="2318"/>
                      </a:cubicBezTo>
                      <a:cubicBezTo>
                        <a:pt x="19037" y="5667"/>
                        <a:pt x="19396" y="11528"/>
                        <a:pt x="16047" y="15296"/>
                      </a:cubicBezTo>
                      <a:cubicBezTo>
                        <a:pt x="12698" y="19064"/>
                        <a:pt x="6956" y="19423"/>
                        <a:pt x="3128" y="16073"/>
                      </a:cubicBezTo>
                      <a:close/>
                    </a:path>
                  </a:pathLst>
                </a:custGeom>
                <a:grpFill/>
                <a:ln w="5978" cap="flat">
                  <a:noFill/>
                  <a:prstDash val="solid"/>
                  <a:miter/>
                </a:ln>
              </p:spPr>
              <p:txBody>
                <a:bodyPr rtlCol="0" anchor="ctr"/>
                <a:lstStyle/>
                <a:p>
                  <a:endParaRPr lang="en-GB"/>
                </a:p>
              </p:txBody>
            </p:sp>
            <p:sp>
              <p:nvSpPr>
                <p:cNvPr id="2679" name="Vrije vorm: vorm 2678">
                  <a:extLst>
                    <a:ext uri="{FF2B5EF4-FFF2-40B4-BE49-F238E27FC236}">
                      <a16:creationId xmlns:a16="http://schemas.microsoft.com/office/drawing/2014/main" id="{C8DED45C-BE81-4E3F-8F38-F9886785016D}"/>
                    </a:ext>
                  </a:extLst>
                </p:cNvPr>
                <p:cNvSpPr/>
                <p:nvPr/>
              </p:nvSpPr>
              <p:spPr>
                <a:xfrm>
                  <a:off x="4621803" y="2141990"/>
                  <a:ext cx="18318" cy="18391"/>
                </a:xfrm>
                <a:custGeom>
                  <a:avLst/>
                  <a:gdLst>
                    <a:gd name="connsiteX0" fmla="*/ 3108 w 18318"/>
                    <a:gd name="connsiteY0" fmla="*/ 16073 h 18391"/>
                    <a:gd name="connsiteX1" fmla="*/ 16027 w 18318"/>
                    <a:gd name="connsiteY1" fmla="*/ 15296 h 18391"/>
                    <a:gd name="connsiteX2" fmla="*/ 15189 w 18318"/>
                    <a:gd name="connsiteY2" fmla="*/ 2318 h 18391"/>
                    <a:gd name="connsiteX3" fmla="*/ 2271 w 18318"/>
                    <a:gd name="connsiteY3" fmla="*/ 3095 h 18391"/>
                    <a:gd name="connsiteX4" fmla="*/ 3108 w 18318"/>
                    <a:gd name="connsiteY4" fmla="*/ 1607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91">
                      <a:moveTo>
                        <a:pt x="3108" y="16073"/>
                      </a:moveTo>
                      <a:cubicBezTo>
                        <a:pt x="6936" y="19423"/>
                        <a:pt x="12678" y="19124"/>
                        <a:pt x="16027" y="15296"/>
                      </a:cubicBezTo>
                      <a:cubicBezTo>
                        <a:pt x="19376" y="11468"/>
                        <a:pt x="19017" y="5667"/>
                        <a:pt x="15189" y="2318"/>
                      </a:cubicBezTo>
                      <a:cubicBezTo>
                        <a:pt x="11421" y="-1031"/>
                        <a:pt x="5620" y="-732"/>
                        <a:pt x="2271" y="3095"/>
                      </a:cubicBezTo>
                      <a:cubicBezTo>
                        <a:pt x="-1078" y="6863"/>
                        <a:pt x="-660" y="12664"/>
                        <a:pt x="3108" y="16073"/>
                      </a:cubicBezTo>
                      <a:close/>
                    </a:path>
                  </a:pathLst>
                </a:custGeom>
                <a:grpFill/>
                <a:ln w="5978" cap="flat">
                  <a:noFill/>
                  <a:prstDash val="solid"/>
                  <a:miter/>
                </a:ln>
              </p:spPr>
              <p:txBody>
                <a:bodyPr rtlCol="0" anchor="ctr"/>
                <a:lstStyle/>
                <a:p>
                  <a:endParaRPr lang="en-GB"/>
                </a:p>
              </p:txBody>
            </p:sp>
          </p:grpSp>
          <p:grpSp>
            <p:nvGrpSpPr>
              <p:cNvPr id="908" name="Graphic 3">
                <a:extLst>
                  <a:ext uri="{FF2B5EF4-FFF2-40B4-BE49-F238E27FC236}">
                    <a16:creationId xmlns:a16="http://schemas.microsoft.com/office/drawing/2014/main" id="{ADB678D6-8B42-4FF9-9034-7640ADF76C8C}"/>
                  </a:ext>
                </a:extLst>
              </p:cNvPr>
              <p:cNvGrpSpPr/>
              <p:nvPr/>
            </p:nvGrpSpPr>
            <p:grpSpPr>
              <a:xfrm>
                <a:off x="5584822" y="5037342"/>
                <a:ext cx="47199" cy="127091"/>
                <a:chOff x="5584822" y="5037342"/>
                <a:chExt cx="47199" cy="127091"/>
              </a:xfrm>
              <a:grpFill/>
            </p:grpSpPr>
            <p:sp>
              <p:nvSpPr>
                <p:cNvPr id="2674" name="Vrije vorm: vorm 2673">
                  <a:extLst>
                    <a:ext uri="{FF2B5EF4-FFF2-40B4-BE49-F238E27FC236}">
                      <a16:creationId xmlns:a16="http://schemas.microsoft.com/office/drawing/2014/main" id="{0393CB5B-E426-4D46-BD09-31D49C3B714A}"/>
                    </a:ext>
                  </a:extLst>
                </p:cNvPr>
                <p:cNvSpPr/>
                <p:nvPr/>
              </p:nvSpPr>
              <p:spPr>
                <a:xfrm>
                  <a:off x="5592413" y="5045736"/>
                  <a:ext cx="32056" cy="110344"/>
                </a:xfrm>
                <a:custGeom>
                  <a:avLst/>
                  <a:gdLst>
                    <a:gd name="connsiteX0" fmla="*/ 32057 w 32056"/>
                    <a:gd name="connsiteY0" fmla="*/ 778 h 110344"/>
                    <a:gd name="connsiteX1" fmla="*/ 2990 w 32056"/>
                    <a:gd name="connsiteY1" fmla="*/ 110344 h 110344"/>
                    <a:gd name="connsiteX2" fmla="*/ 0 w 32056"/>
                    <a:gd name="connsiteY2" fmla="*/ 109507 h 110344"/>
                    <a:gd name="connsiteX3" fmla="*/ 29066 w 32056"/>
                    <a:gd name="connsiteY3" fmla="*/ 0 h 110344"/>
                  </a:gdLst>
                  <a:ahLst/>
                  <a:cxnLst>
                    <a:cxn ang="0">
                      <a:pos x="connsiteX0" y="connsiteY0"/>
                    </a:cxn>
                    <a:cxn ang="0">
                      <a:pos x="connsiteX1" y="connsiteY1"/>
                    </a:cxn>
                    <a:cxn ang="0">
                      <a:pos x="connsiteX2" y="connsiteY2"/>
                    </a:cxn>
                    <a:cxn ang="0">
                      <a:pos x="connsiteX3" y="connsiteY3"/>
                    </a:cxn>
                  </a:cxnLst>
                  <a:rect l="l" t="t" r="r" b="b"/>
                  <a:pathLst>
                    <a:path w="32056" h="110344">
                      <a:moveTo>
                        <a:pt x="32057" y="778"/>
                      </a:moveTo>
                      <a:lnTo>
                        <a:pt x="2990" y="110344"/>
                      </a:lnTo>
                      <a:lnTo>
                        <a:pt x="0" y="109507"/>
                      </a:lnTo>
                      <a:lnTo>
                        <a:pt x="29066" y="0"/>
                      </a:lnTo>
                      <a:close/>
                    </a:path>
                  </a:pathLst>
                </a:custGeom>
                <a:grpFill/>
                <a:ln w="5978" cap="flat">
                  <a:noFill/>
                  <a:prstDash val="solid"/>
                  <a:miter/>
                </a:ln>
              </p:spPr>
              <p:txBody>
                <a:bodyPr rtlCol="0" anchor="ctr"/>
                <a:lstStyle/>
                <a:p>
                  <a:endParaRPr lang="en-GB"/>
                </a:p>
              </p:txBody>
            </p:sp>
            <p:sp>
              <p:nvSpPr>
                <p:cNvPr id="2675" name="Vrije vorm: vorm 2674">
                  <a:extLst>
                    <a:ext uri="{FF2B5EF4-FFF2-40B4-BE49-F238E27FC236}">
                      <a16:creationId xmlns:a16="http://schemas.microsoft.com/office/drawing/2014/main" id="{909230CB-D287-4634-BB77-95A264D36648}"/>
                    </a:ext>
                  </a:extLst>
                </p:cNvPr>
                <p:cNvSpPr/>
                <p:nvPr/>
              </p:nvSpPr>
              <p:spPr>
                <a:xfrm>
                  <a:off x="5584822" y="5145992"/>
                  <a:ext cx="18372" cy="18442"/>
                </a:xfrm>
                <a:custGeom>
                  <a:avLst/>
                  <a:gdLst>
                    <a:gd name="connsiteX0" fmla="*/ 18057 w 18372"/>
                    <a:gd name="connsiteY0" fmla="*/ 11643 h 18442"/>
                    <a:gd name="connsiteX1" fmla="*/ 6813 w 18372"/>
                    <a:gd name="connsiteY1" fmla="*/ 18102 h 18442"/>
                    <a:gd name="connsiteX2" fmla="*/ 295 w 18372"/>
                    <a:gd name="connsiteY2" fmla="*/ 6799 h 18442"/>
                    <a:gd name="connsiteX3" fmla="*/ 11538 w 18372"/>
                    <a:gd name="connsiteY3" fmla="*/ 340 h 18442"/>
                    <a:gd name="connsiteX4" fmla="*/ 18057 w 18372"/>
                    <a:gd name="connsiteY4" fmla="*/ 1164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42">
                      <a:moveTo>
                        <a:pt x="18057" y="11643"/>
                      </a:moveTo>
                      <a:cubicBezTo>
                        <a:pt x="16742" y="16547"/>
                        <a:pt x="11718" y="19478"/>
                        <a:pt x="6813" y="18102"/>
                      </a:cubicBezTo>
                      <a:cubicBezTo>
                        <a:pt x="1909" y="16787"/>
                        <a:pt x="-961" y="11703"/>
                        <a:pt x="295" y="6799"/>
                      </a:cubicBezTo>
                      <a:cubicBezTo>
                        <a:pt x="1610" y="1895"/>
                        <a:pt x="6634" y="-1036"/>
                        <a:pt x="11538" y="340"/>
                      </a:cubicBezTo>
                      <a:cubicBezTo>
                        <a:pt x="16442" y="1655"/>
                        <a:pt x="19373" y="6739"/>
                        <a:pt x="18057" y="11643"/>
                      </a:cubicBezTo>
                      <a:close/>
                    </a:path>
                  </a:pathLst>
                </a:custGeom>
                <a:grpFill/>
                <a:ln w="5978" cap="flat">
                  <a:noFill/>
                  <a:prstDash val="solid"/>
                  <a:miter/>
                </a:ln>
              </p:spPr>
              <p:txBody>
                <a:bodyPr rtlCol="0" anchor="ctr"/>
                <a:lstStyle/>
                <a:p>
                  <a:endParaRPr lang="en-GB"/>
                </a:p>
              </p:txBody>
            </p:sp>
            <p:sp>
              <p:nvSpPr>
                <p:cNvPr id="2676" name="Vrije vorm: vorm 2675">
                  <a:extLst>
                    <a:ext uri="{FF2B5EF4-FFF2-40B4-BE49-F238E27FC236}">
                      <a16:creationId xmlns:a16="http://schemas.microsoft.com/office/drawing/2014/main" id="{DE514FB7-5D1B-4885-BBAA-163C8EB8A4E2}"/>
                    </a:ext>
                  </a:extLst>
                </p:cNvPr>
                <p:cNvSpPr/>
                <p:nvPr/>
              </p:nvSpPr>
              <p:spPr>
                <a:xfrm>
                  <a:off x="5613629" y="5037342"/>
                  <a:ext cx="18392" cy="18421"/>
                </a:xfrm>
                <a:custGeom>
                  <a:avLst/>
                  <a:gdLst>
                    <a:gd name="connsiteX0" fmla="*/ 18078 w 18392"/>
                    <a:gd name="connsiteY0" fmla="*/ 11623 h 18421"/>
                    <a:gd name="connsiteX1" fmla="*/ 11559 w 18392"/>
                    <a:gd name="connsiteY1" fmla="*/ 319 h 18421"/>
                    <a:gd name="connsiteX2" fmla="*/ 315 w 18392"/>
                    <a:gd name="connsiteY2" fmla="*/ 6778 h 18421"/>
                    <a:gd name="connsiteX3" fmla="*/ 6834 w 18392"/>
                    <a:gd name="connsiteY3" fmla="*/ 18082 h 18421"/>
                    <a:gd name="connsiteX4" fmla="*/ 18078 w 18392"/>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21">
                      <a:moveTo>
                        <a:pt x="18078" y="11623"/>
                      </a:moveTo>
                      <a:cubicBezTo>
                        <a:pt x="19393" y="6718"/>
                        <a:pt x="16463" y="1635"/>
                        <a:pt x="11559" y="319"/>
                      </a:cubicBezTo>
                      <a:cubicBezTo>
                        <a:pt x="6655" y="-997"/>
                        <a:pt x="1631" y="1874"/>
                        <a:pt x="315" y="6778"/>
                      </a:cubicBezTo>
                      <a:cubicBezTo>
                        <a:pt x="-1001" y="11683"/>
                        <a:pt x="1930" y="16766"/>
                        <a:pt x="6834" y="18082"/>
                      </a:cubicBezTo>
                      <a:cubicBezTo>
                        <a:pt x="11738" y="19457"/>
                        <a:pt x="16762" y="16527"/>
                        <a:pt x="18078" y="11623"/>
                      </a:cubicBezTo>
                      <a:close/>
                    </a:path>
                  </a:pathLst>
                </a:custGeom>
                <a:grpFill/>
                <a:ln w="5978" cap="flat">
                  <a:noFill/>
                  <a:prstDash val="solid"/>
                  <a:miter/>
                </a:ln>
              </p:spPr>
              <p:txBody>
                <a:bodyPr rtlCol="0" anchor="ctr"/>
                <a:lstStyle/>
                <a:p>
                  <a:endParaRPr lang="en-GB"/>
                </a:p>
              </p:txBody>
            </p:sp>
          </p:grpSp>
          <p:grpSp>
            <p:nvGrpSpPr>
              <p:cNvPr id="909" name="Graphic 3">
                <a:extLst>
                  <a:ext uri="{FF2B5EF4-FFF2-40B4-BE49-F238E27FC236}">
                    <a16:creationId xmlns:a16="http://schemas.microsoft.com/office/drawing/2014/main" id="{488DB956-E28A-4568-B236-18F1D41D6556}"/>
                  </a:ext>
                </a:extLst>
              </p:cNvPr>
              <p:cNvGrpSpPr/>
              <p:nvPr/>
            </p:nvGrpSpPr>
            <p:grpSpPr>
              <a:xfrm>
                <a:off x="4563407" y="2185563"/>
                <a:ext cx="128930" cy="109590"/>
                <a:chOff x="4563407" y="2185563"/>
                <a:chExt cx="128930" cy="109590"/>
              </a:xfrm>
              <a:grpFill/>
            </p:grpSpPr>
            <p:sp>
              <p:nvSpPr>
                <p:cNvPr id="2671" name="Vrije vorm: vorm 2670">
                  <a:extLst>
                    <a:ext uri="{FF2B5EF4-FFF2-40B4-BE49-F238E27FC236}">
                      <a16:creationId xmlns:a16="http://schemas.microsoft.com/office/drawing/2014/main" id="{ADB77417-E283-403B-A55C-E23EE91C2CE5}"/>
                    </a:ext>
                  </a:extLst>
                </p:cNvPr>
                <p:cNvSpPr/>
                <p:nvPr/>
              </p:nvSpPr>
              <p:spPr>
                <a:xfrm>
                  <a:off x="4571265" y="2193290"/>
                  <a:ext cx="113215" cy="94136"/>
                </a:xfrm>
                <a:custGeom>
                  <a:avLst/>
                  <a:gdLst>
                    <a:gd name="connsiteX0" fmla="*/ 113215 w 113215"/>
                    <a:gd name="connsiteY0" fmla="*/ 91804 h 94136"/>
                    <a:gd name="connsiteX1" fmla="*/ 111301 w 113215"/>
                    <a:gd name="connsiteY1" fmla="*/ 94137 h 94136"/>
                    <a:gd name="connsiteX2" fmla="*/ 0 w 113215"/>
                    <a:gd name="connsiteY2" fmla="*/ 2392 h 94136"/>
                    <a:gd name="connsiteX3" fmla="*/ 1914 w 113215"/>
                    <a:gd name="connsiteY3" fmla="*/ 0 h 94136"/>
                  </a:gdLst>
                  <a:ahLst/>
                  <a:cxnLst>
                    <a:cxn ang="0">
                      <a:pos x="connsiteX0" y="connsiteY0"/>
                    </a:cxn>
                    <a:cxn ang="0">
                      <a:pos x="connsiteX1" y="connsiteY1"/>
                    </a:cxn>
                    <a:cxn ang="0">
                      <a:pos x="connsiteX2" y="connsiteY2"/>
                    </a:cxn>
                    <a:cxn ang="0">
                      <a:pos x="connsiteX3" y="connsiteY3"/>
                    </a:cxn>
                  </a:cxnLst>
                  <a:rect l="l" t="t" r="r" b="b"/>
                  <a:pathLst>
                    <a:path w="113215" h="94136">
                      <a:moveTo>
                        <a:pt x="113215" y="91804"/>
                      </a:moveTo>
                      <a:lnTo>
                        <a:pt x="111301" y="94137"/>
                      </a:lnTo>
                      <a:lnTo>
                        <a:pt x="0" y="2392"/>
                      </a:lnTo>
                      <a:lnTo>
                        <a:pt x="1914" y="0"/>
                      </a:lnTo>
                      <a:close/>
                    </a:path>
                  </a:pathLst>
                </a:custGeom>
                <a:grpFill/>
                <a:ln w="5978" cap="flat">
                  <a:noFill/>
                  <a:prstDash val="solid"/>
                  <a:miter/>
                </a:ln>
              </p:spPr>
              <p:txBody>
                <a:bodyPr rtlCol="0" anchor="ctr"/>
                <a:lstStyle/>
                <a:p>
                  <a:endParaRPr lang="en-GB"/>
                </a:p>
              </p:txBody>
            </p:sp>
            <p:sp>
              <p:nvSpPr>
                <p:cNvPr id="2672" name="Vrije vorm: vorm 2671">
                  <a:extLst>
                    <a:ext uri="{FF2B5EF4-FFF2-40B4-BE49-F238E27FC236}">
                      <a16:creationId xmlns:a16="http://schemas.microsoft.com/office/drawing/2014/main" id="{7F68DE4D-3542-43DF-A5BC-D525B4A0C3F5}"/>
                    </a:ext>
                  </a:extLst>
                </p:cNvPr>
                <p:cNvSpPr/>
                <p:nvPr/>
              </p:nvSpPr>
              <p:spPr>
                <a:xfrm>
                  <a:off x="4563407" y="2185563"/>
                  <a:ext cx="18346" cy="18444"/>
                </a:xfrm>
                <a:custGeom>
                  <a:avLst/>
                  <a:gdLst>
                    <a:gd name="connsiteX0" fmla="*/ 3372 w 18346"/>
                    <a:gd name="connsiteY0" fmla="*/ 16339 h 18444"/>
                    <a:gd name="connsiteX1" fmla="*/ 2056 w 18346"/>
                    <a:gd name="connsiteY1" fmla="*/ 3361 h 18444"/>
                    <a:gd name="connsiteX2" fmla="*/ 14975 w 18346"/>
                    <a:gd name="connsiteY2" fmla="*/ 2105 h 18444"/>
                    <a:gd name="connsiteX3" fmla="*/ 16290 w 18346"/>
                    <a:gd name="connsiteY3" fmla="*/ 15083 h 18444"/>
                    <a:gd name="connsiteX4" fmla="*/ 3372 w 18346"/>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3372" y="16339"/>
                      </a:moveTo>
                      <a:cubicBezTo>
                        <a:pt x="-575" y="13110"/>
                        <a:pt x="-1113" y="7308"/>
                        <a:pt x="2056" y="3361"/>
                      </a:cubicBezTo>
                      <a:cubicBezTo>
                        <a:pt x="5226" y="-586"/>
                        <a:pt x="11027" y="-1124"/>
                        <a:pt x="14975" y="2105"/>
                      </a:cubicBezTo>
                      <a:cubicBezTo>
                        <a:pt x="18922" y="5335"/>
                        <a:pt x="19460" y="11136"/>
                        <a:pt x="16290" y="15083"/>
                      </a:cubicBezTo>
                      <a:cubicBezTo>
                        <a:pt x="13061" y="19031"/>
                        <a:pt x="7260" y="19569"/>
                        <a:pt x="3372" y="16339"/>
                      </a:cubicBezTo>
                      <a:close/>
                    </a:path>
                  </a:pathLst>
                </a:custGeom>
                <a:grpFill/>
                <a:ln w="5978" cap="flat">
                  <a:noFill/>
                  <a:prstDash val="solid"/>
                  <a:miter/>
                </a:ln>
              </p:spPr>
              <p:txBody>
                <a:bodyPr rtlCol="0" anchor="ctr"/>
                <a:lstStyle/>
                <a:p>
                  <a:endParaRPr lang="en-GB"/>
                </a:p>
              </p:txBody>
            </p:sp>
            <p:sp>
              <p:nvSpPr>
                <p:cNvPr id="2673" name="Vrije vorm: vorm 2672">
                  <a:extLst>
                    <a:ext uri="{FF2B5EF4-FFF2-40B4-BE49-F238E27FC236}">
                      <a16:creationId xmlns:a16="http://schemas.microsoft.com/office/drawing/2014/main" id="{7E54F623-A1BF-427C-86E3-ECDDCA55F5CD}"/>
                    </a:ext>
                  </a:extLst>
                </p:cNvPr>
                <p:cNvSpPr/>
                <p:nvPr/>
              </p:nvSpPr>
              <p:spPr>
                <a:xfrm>
                  <a:off x="4673991" y="2276709"/>
                  <a:ext cx="18346" cy="18444"/>
                </a:xfrm>
                <a:custGeom>
                  <a:avLst/>
                  <a:gdLst>
                    <a:gd name="connsiteX0" fmla="*/ 3372 w 18346"/>
                    <a:gd name="connsiteY0" fmla="*/ 16340 h 18444"/>
                    <a:gd name="connsiteX1" fmla="*/ 16290 w 18346"/>
                    <a:gd name="connsiteY1" fmla="*/ 15083 h 18444"/>
                    <a:gd name="connsiteX2" fmla="*/ 14975 w 18346"/>
                    <a:gd name="connsiteY2" fmla="*/ 2105 h 18444"/>
                    <a:gd name="connsiteX3" fmla="*/ 2056 w 18346"/>
                    <a:gd name="connsiteY3" fmla="*/ 3361 h 18444"/>
                    <a:gd name="connsiteX4" fmla="*/ 3372 w 18346"/>
                    <a:gd name="connsiteY4" fmla="*/ 163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3372" y="16340"/>
                      </a:moveTo>
                      <a:cubicBezTo>
                        <a:pt x="7319" y="19569"/>
                        <a:pt x="13061" y="19031"/>
                        <a:pt x="16290" y="15083"/>
                      </a:cubicBezTo>
                      <a:cubicBezTo>
                        <a:pt x="19460" y="11136"/>
                        <a:pt x="18922" y="5335"/>
                        <a:pt x="14975" y="2105"/>
                      </a:cubicBezTo>
                      <a:cubicBezTo>
                        <a:pt x="11027" y="-1124"/>
                        <a:pt x="5286" y="-586"/>
                        <a:pt x="2056" y="3361"/>
                      </a:cubicBezTo>
                      <a:cubicBezTo>
                        <a:pt x="-1114" y="7309"/>
                        <a:pt x="-575" y="13110"/>
                        <a:pt x="3372" y="16340"/>
                      </a:cubicBezTo>
                      <a:close/>
                    </a:path>
                  </a:pathLst>
                </a:custGeom>
                <a:grpFill/>
                <a:ln w="5978" cap="flat">
                  <a:noFill/>
                  <a:prstDash val="solid"/>
                  <a:miter/>
                </a:ln>
              </p:spPr>
              <p:txBody>
                <a:bodyPr rtlCol="0" anchor="ctr"/>
                <a:lstStyle/>
                <a:p>
                  <a:endParaRPr lang="en-GB"/>
                </a:p>
              </p:txBody>
            </p:sp>
          </p:grpSp>
          <p:grpSp>
            <p:nvGrpSpPr>
              <p:cNvPr id="910" name="Graphic 3">
                <a:extLst>
                  <a:ext uri="{FF2B5EF4-FFF2-40B4-BE49-F238E27FC236}">
                    <a16:creationId xmlns:a16="http://schemas.microsoft.com/office/drawing/2014/main" id="{9B8383DE-E8FB-4BE9-A7C1-61882895AA2F}"/>
                  </a:ext>
                </a:extLst>
              </p:cNvPr>
              <p:cNvGrpSpPr/>
              <p:nvPr/>
            </p:nvGrpSpPr>
            <p:grpSpPr>
              <a:xfrm>
                <a:off x="5560481" y="5027956"/>
                <a:ext cx="41610" cy="100030"/>
                <a:chOff x="5560481" y="5027956"/>
                <a:chExt cx="41610" cy="100030"/>
              </a:xfrm>
              <a:grpFill/>
            </p:grpSpPr>
            <p:sp>
              <p:nvSpPr>
                <p:cNvPr id="2668" name="Vrije vorm: vorm 2667">
                  <a:extLst>
                    <a:ext uri="{FF2B5EF4-FFF2-40B4-BE49-F238E27FC236}">
                      <a16:creationId xmlns:a16="http://schemas.microsoft.com/office/drawing/2014/main" id="{E4F9022D-A881-471E-BB6B-1E9B6EFECE8E}"/>
                    </a:ext>
                  </a:extLst>
                </p:cNvPr>
                <p:cNvSpPr/>
                <p:nvPr/>
              </p:nvSpPr>
              <p:spPr>
                <a:xfrm>
                  <a:off x="5568072" y="5036346"/>
                  <a:ext cx="26434" cy="83311"/>
                </a:xfrm>
                <a:custGeom>
                  <a:avLst/>
                  <a:gdLst>
                    <a:gd name="connsiteX0" fmla="*/ 26435 w 26434"/>
                    <a:gd name="connsiteY0" fmla="*/ 837 h 83311"/>
                    <a:gd name="connsiteX1" fmla="*/ 2930 w 26434"/>
                    <a:gd name="connsiteY1" fmla="*/ 83311 h 83311"/>
                    <a:gd name="connsiteX2" fmla="*/ 0 w 26434"/>
                    <a:gd name="connsiteY2" fmla="*/ 82414 h 83311"/>
                    <a:gd name="connsiteX3" fmla="*/ 23504 w 26434"/>
                    <a:gd name="connsiteY3" fmla="*/ 0 h 83311"/>
                  </a:gdLst>
                  <a:ahLst/>
                  <a:cxnLst>
                    <a:cxn ang="0">
                      <a:pos x="connsiteX0" y="connsiteY0"/>
                    </a:cxn>
                    <a:cxn ang="0">
                      <a:pos x="connsiteX1" y="connsiteY1"/>
                    </a:cxn>
                    <a:cxn ang="0">
                      <a:pos x="connsiteX2" y="connsiteY2"/>
                    </a:cxn>
                    <a:cxn ang="0">
                      <a:pos x="connsiteX3" y="connsiteY3"/>
                    </a:cxn>
                  </a:cxnLst>
                  <a:rect l="l" t="t" r="r" b="b"/>
                  <a:pathLst>
                    <a:path w="26434" h="83311">
                      <a:moveTo>
                        <a:pt x="26435" y="837"/>
                      </a:moveTo>
                      <a:lnTo>
                        <a:pt x="2930" y="83311"/>
                      </a:lnTo>
                      <a:lnTo>
                        <a:pt x="0" y="82414"/>
                      </a:lnTo>
                      <a:lnTo>
                        <a:pt x="23504" y="0"/>
                      </a:lnTo>
                      <a:close/>
                    </a:path>
                  </a:pathLst>
                </a:custGeom>
                <a:grpFill/>
                <a:ln w="5978" cap="flat">
                  <a:noFill/>
                  <a:prstDash val="solid"/>
                  <a:miter/>
                </a:ln>
              </p:spPr>
              <p:txBody>
                <a:bodyPr rtlCol="0" anchor="ctr"/>
                <a:lstStyle/>
                <a:p>
                  <a:endParaRPr lang="en-GB"/>
                </a:p>
              </p:txBody>
            </p:sp>
            <p:sp>
              <p:nvSpPr>
                <p:cNvPr id="2669" name="Vrije vorm: vorm 2668">
                  <a:extLst>
                    <a:ext uri="{FF2B5EF4-FFF2-40B4-BE49-F238E27FC236}">
                      <a16:creationId xmlns:a16="http://schemas.microsoft.com/office/drawing/2014/main" id="{D93420CB-5028-4C3D-9674-769F2C5E1EFA}"/>
                    </a:ext>
                  </a:extLst>
                </p:cNvPr>
                <p:cNvSpPr/>
                <p:nvPr/>
              </p:nvSpPr>
              <p:spPr>
                <a:xfrm>
                  <a:off x="5560481" y="5109534"/>
                  <a:ext cx="18345" cy="18453"/>
                </a:xfrm>
                <a:custGeom>
                  <a:avLst/>
                  <a:gdLst>
                    <a:gd name="connsiteX0" fmla="*/ 17997 w 18345"/>
                    <a:gd name="connsiteY0" fmla="*/ 11798 h 18453"/>
                    <a:gd name="connsiteX1" fmla="*/ 6633 w 18345"/>
                    <a:gd name="connsiteY1" fmla="*/ 18078 h 18453"/>
                    <a:gd name="connsiteX2" fmla="*/ 354 w 18345"/>
                    <a:gd name="connsiteY2" fmla="*/ 6655 h 18453"/>
                    <a:gd name="connsiteX3" fmla="*/ 11717 w 18345"/>
                    <a:gd name="connsiteY3" fmla="*/ 375 h 18453"/>
                    <a:gd name="connsiteX4" fmla="*/ 17997 w 18345"/>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53">
                      <a:moveTo>
                        <a:pt x="17997" y="11798"/>
                      </a:moveTo>
                      <a:cubicBezTo>
                        <a:pt x="16621" y="16702"/>
                        <a:pt x="11538" y="19513"/>
                        <a:pt x="6633" y="18078"/>
                      </a:cubicBezTo>
                      <a:cubicBezTo>
                        <a:pt x="1729" y="16642"/>
                        <a:pt x="-1022" y="11559"/>
                        <a:pt x="354" y="6655"/>
                      </a:cubicBezTo>
                      <a:cubicBezTo>
                        <a:pt x="1729" y="1750"/>
                        <a:pt x="6813" y="-1060"/>
                        <a:pt x="11717" y="375"/>
                      </a:cubicBezTo>
                      <a:cubicBezTo>
                        <a:pt x="16561" y="1810"/>
                        <a:pt x="19372" y="6894"/>
                        <a:pt x="17997" y="11798"/>
                      </a:cubicBezTo>
                      <a:close/>
                    </a:path>
                  </a:pathLst>
                </a:custGeom>
                <a:grpFill/>
                <a:ln w="5978" cap="flat">
                  <a:noFill/>
                  <a:prstDash val="solid"/>
                  <a:miter/>
                </a:ln>
              </p:spPr>
              <p:txBody>
                <a:bodyPr rtlCol="0" anchor="ctr"/>
                <a:lstStyle/>
                <a:p>
                  <a:endParaRPr lang="en-GB"/>
                </a:p>
              </p:txBody>
            </p:sp>
            <p:sp>
              <p:nvSpPr>
                <p:cNvPr id="2670" name="Vrije vorm: vorm 2669">
                  <a:extLst>
                    <a:ext uri="{FF2B5EF4-FFF2-40B4-BE49-F238E27FC236}">
                      <a16:creationId xmlns:a16="http://schemas.microsoft.com/office/drawing/2014/main" id="{A8938D22-B992-49BF-AA30-B9718BB8B334}"/>
                    </a:ext>
                  </a:extLst>
                </p:cNvPr>
                <p:cNvSpPr/>
                <p:nvPr/>
              </p:nvSpPr>
              <p:spPr>
                <a:xfrm>
                  <a:off x="5583751" y="5027956"/>
                  <a:ext cx="18341" cy="18453"/>
                </a:xfrm>
                <a:custGeom>
                  <a:avLst/>
                  <a:gdLst>
                    <a:gd name="connsiteX0" fmla="*/ 17992 w 18341"/>
                    <a:gd name="connsiteY0" fmla="*/ 11798 h 18453"/>
                    <a:gd name="connsiteX1" fmla="*/ 11713 w 18341"/>
                    <a:gd name="connsiteY1" fmla="*/ 375 h 18453"/>
                    <a:gd name="connsiteX2" fmla="*/ 349 w 18341"/>
                    <a:gd name="connsiteY2" fmla="*/ 6655 h 18453"/>
                    <a:gd name="connsiteX3" fmla="*/ 6629 w 18341"/>
                    <a:gd name="connsiteY3" fmla="*/ 18078 h 18453"/>
                    <a:gd name="connsiteX4" fmla="*/ 17992 w 18341"/>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3">
                      <a:moveTo>
                        <a:pt x="17992" y="11798"/>
                      </a:moveTo>
                      <a:cubicBezTo>
                        <a:pt x="19368" y="6894"/>
                        <a:pt x="16557" y="1810"/>
                        <a:pt x="11713" y="375"/>
                      </a:cubicBezTo>
                      <a:cubicBezTo>
                        <a:pt x="6868" y="-1060"/>
                        <a:pt x="1784" y="1751"/>
                        <a:pt x="349" y="6655"/>
                      </a:cubicBezTo>
                      <a:cubicBezTo>
                        <a:pt x="-1026" y="11559"/>
                        <a:pt x="1784" y="16643"/>
                        <a:pt x="6629" y="18078"/>
                      </a:cubicBezTo>
                      <a:cubicBezTo>
                        <a:pt x="11533" y="19513"/>
                        <a:pt x="16617" y="16703"/>
                        <a:pt x="17992" y="11798"/>
                      </a:cubicBezTo>
                      <a:close/>
                    </a:path>
                  </a:pathLst>
                </a:custGeom>
                <a:grpFill/>
                <a:ln w="5978" cap="flat">
                  <a:noFill/>
                  <a:prstDash val="solid"/>
                  <a:miter/>
                </a:ln>
              </p:spPr>
              <p:txBody>
                <a:bodyPr rtlCol="0" anchor="ctr"/>
                <a:lstStyle/>
                <a:p>
                  <a:endParaRPr lang="en-GB"/>
                </a:p>
              </p:txBody>
            </p:sp>
          </p:grpSp>
          <p:grpSp>
            <p:nvGrpSpPr>
              <p:cNvPr id="911" name="Graphic 3">
                <a:extLst>
                  <a:ext uri="{FF2B5EF4-FFF2-40B4-BE49-F238E27FC236}">
                    <a16:creationId xmlns:a16="http://schemas.microsoft.com/office/drawing/2014/main" id="{CEB00218-4FE8-493F-9B8F-176909F64707}"/>
                  </a:ext>
                </a:extLst>
              </p:cNvPr>
              <p:cNvGrpSpPr/>
              <p:nvPr/>
            </p:nvGrpSpPr>
            <p:grpSpPr>
              <a:xfrm>
                <a:off x="5637079" y="5222737"/>
                <a:ext cx="52650" cy="184603"/>
                <a:chOff x="5637079" y="5222737"/>
                <a:chExt cx="52650" cy="184603"/>
              </a:xfrm>
              <a:grpFill/>
            </p:grpSpPr>
            <p:sp>
              <p:nvSpPr>
                <p:cNvPr id="2665" name="Vrije vorm: vorm 2664">
                  <a:extLst>
                    <a:ext uri="{FF2B5EF4-FFF2-40B4-BE49-F238E27FC236}">
                      <a16:creationId xmlns:a16="http://schemas.microsoft.com/office/drawing/2014/main" id="{B358C084-B5B3-4300-96C5-D4DA3BCFC0D8}"/>
                    </a:ext>
                  </a:extLst>
                </p:cNvPr>
                <p:cNvSpPr/>
                <p:nvPr/>
              </p:nvSpPr>
              <p:spPr>
                <a:xfrm>
                  <a:off x="5644625" y="5231198"/>
                  <a:ext cx="37499" cy="167699"/>
                </a:xfrm>
                <a:custGeom>
                  <a:avLst/>
                  <a:gdLst>
                    <a:gd name="connsiteX0" fmla="*/ 37499 w 37499"/>
                    <a:gd name="connsiteY0" fmla="*/ 658 h 167699"/>
                    <a:gd name="connsiteX1" fmla="*/ 2990 w 37499"/>
                    <a:gd name="connsiteY1" fmla="*/ 167699 h 167699"/>
                    <a:gd name="connsiteX2" fmla="*/ 0 w 37499"/>
                    <a:gd name="connsiteY2" fmla="*/ 167101 h 167699"/>
                    <a:gd name="connsiteX3" fmla="*/ 34509 w 37499"/>
                    <a:gd name="connsiteY3" fmla="*/ 0 h 167699"/>
                  </a:gdLst>
                  <a:ahLst/>
                  <a:cxnLst>
                    <a:cxn ang="0">
                      <a:pos x="connsiteX0" y="connsiteY0"/>
                    </a:cxn>
                    <a:cxn ang="0">
                      <a:pos x="connsiteX1" y="connsiteY1"/>
                    </a:cxn>
                    <a:cxn ang="0">
                      <a:pos x="connsiteX2" y="connsiteY2"/>
                    </a:cxn>
                    <a:cxn ang="0">
                      <a:pos x="connsiteX3" y="connsiteY3"/>
                    </a:cxn>
                  </a:cxnLst>
                  <a:rect l="l" t="t" r="r" b="b"/>
                  <a:pathLst>
                    <a:path w="37499" h="167699">
                      <a:moveTo>
                        <a:pt x="37499" y="658"/>
                      </a:moveTo>
                      <a:lnTo>
                        <a:pt x="2990" y="167699"/>
                      </a:lnTo>
                      <a:lnTo>
                        <a:pt x="0" y="167101"/>
                      </a:lnTo>
                      <a:lnTo>
                        <a:pt x="34509" y="0"/>
                      </a:lnTo>
                      <a:close/>
                    </a:path>
                  </a:pathLst>
                </a:custGeom>
                <a:grpFill/>
                <a:ln w="5978" cap="flat">
                  <a:noFill/>
                  <a:prstDash val="solid"/>
                  <a:miter/>
                </a:ln>
              </p:spPr>
              <p:txBody>
                <a:bodyPr rtlCol="0" anchor="ctr"/>
                <a:lstStyle/>
                <a:p>
                  <a:endParaRPr lang="en-GB"/>
                </a:p>
              </p:txBody>
            </p:sp>
            <p:sp>
              <p:nvSpPr>
                <p:cNvPr id="2666" name="Vrije vorm: vorm 2665">
                  <a:extLst>
                    <a:ext uri="{FF2B5EF4-FFF2-40B4-BE49-F238E27FC236}">
                      <a16:creationId xmlns:a16="http://schemas.microsoft.com/office/drawing/2014/main" id="{3783A472-A85E-4D88-B399-A29182B799F0}"/>
                    </a:ext>
                  </a:extLst>
                </p:cNvPr>
                <p:cNvSpPr/>
                <p:nvPr/>
              </p:nvSpPr>
              <p:spPr>
                <a:xfrm>
                  <a:off x="5637079" y="5388899"/>
                  <a:ext cx="18321" cy="18441"/>
                </a:xfrm>
                <a:custGeom>
                  <a:avLst/>
                  <a:gdLst>
                    <a:gd name="connsiteX0" fmla="*/ 18132 w 18321"/>
                    <a:gd name="connsiteY0" fmla="*/ 11135 h 18441"/>
                    <a:gd name="connsiteX1" fmla="*/ 7307 w 18321"/>
                    <a:gd name="connsiteY1" fmla="*/ 18252 h 18441"/>
                    <a:gd name="connsiteX2" fmla="*/ 190 w 18321"/>
                    <a:gd name="connsiteY2" fmla="*/ 7307 h 18441"/>
                    <a:gd name="connsiteX3" fmla="*/ 11015 w 18321"/>
                    <a:gd name="connsiteY3" fmla="*/ 190 h 18441"/>
                    <a:gd name="connsiteX4" fmla="*/ 18132 w 18321"/>
                    <a:gd name="connsiteY4" fmla="*/ 1113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8132" y="11135"/>
                      </a:moveTo>
                      <a:cubicBezTo>
                        <a:pt x="17115" y="16099"/>
                        <a:pt x="12271" y="19268"/>
                        <a:pt x="7307" y="18252"/>
                      </a:cubicBezTo>
                      <a:cubicBezTo>
                        <a:pt x="2343" y="17175"/>
                        <a:pt x="-827" y="12331"/>
                        <a:pt x="190" y="7307"/>
                      </a:cubicBezTo>
                      <a:cubicBezTo>
                        <a:pt x="1206" y="2343"/>
                        <a:pt x="6051" y="-827"/>
                        <a:pt x="11015" y="190"/>
                      </a:cubicBezTo>
                      <a:cubicBezTo>
                        <a:pt x="15979" y="1266"/>
                        <a:pt x="19148" y="6170"/>
                        <a:pt x="18132" y="11135"/>
                      </a:cubicBezTo>
                      <a:close/>
                    </a:path>
                  </a:pathLst>
                </a:custGeom>
                <a:grpFill/>
                <a:ln w="5978" cap="flat">
                  <a:noFill/>
                  <a:prstDash val="solid"/>
                  <a:miter/>
                </a:ln>
              </p:spPr>
              <p:txBody>
                <a:bodyPr rtlCol="0" anchor="ctr"/>
                <a:lstStyle/>
                <a:p>
                  <a:endParaRPr lang="en-GB"/>
                </a:p>
              </p:txBody>
            </p:sp>
            <p:sp>
              <p:nvSpPr>
                <p:cNvPr id="2667" name="Vrije vorm: vorm 2666">
                  <a:extLst>
                    <a:ext uri="{FF2B5EF4-FFF2-40B4-BE49-F238E27FC236}">
                      <a16:creationId xmlns:a16="http://schemas.microsoft.com/office/drawing/2014/main" id="{437C4D52-B5E2-4B35-B8D1-45CBFEC02FAF}"/>
                    </a:ext>
                  </a:extLst>
                </p:cNvPr>
                <p:cNvSpPr/>
                <p:nvPr/>
              </p:nvSpPr>
              <p:spPr>
                <a:xfrm>
                  <a:off x="5671408" y="5222737"/>
                  <a:ext cx="18321" cy="18458"/>
                </a:xfrm>
                <a:custGeom>
                  <a:avLst/>
                  <a:gdLst>
                    <a:gd name="connsiteX0" fmla="*/ 18132 w 18321"/>
                    <a:gd name="connsiteY0" fmla="*/ 11152 h 18458"/>
                    <a:gd name="connsiteX1" fmla="*/ 11015 w 18321"/>
                    <a:gd name="connsiteY1" fmla="*/ 207 h 18458"/>
                    <a:gd name="connsiteX2" fmla="*/ 190 w 18321"/>
                    <a:gd name="connsiteY2" fmla="*/ 7324 h 18458"/>
                    <a:gd name="connsiteX3" fmla="*/ 7307 w 18321"/>
                    <a:gd name="connsiteY3" fmla="*/ 18269 h 18458"/>
                    <a:gd name="connsiteX4" fmla="*/ 18132 w 18321"/>
                    <a:gd name="connsiteY4" fmla="*/ 1115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58">
                      <a:moveTo>
                        <a:pt x="18132" y="11152"/>
                      </a:moveTo>
                      <a:cubicBezTo>
                        <a:pt x="19149" y="6188"/>
                        <a:pt x="15979" y="1284"/>
                        <a:pt x="11015" y="207"/>
                      </a:cubicBezTo>
                      <a:cubicBezTo>
                        <a:pt x="6051" y="-870"/>
                        <a:pt x="1207" y="2360"/>
                        <a:pt x="190" y="7324"/>
                      </a:cubicBezTo>
                      <a:cubicBezTo>
                        <a:pt x="-827" y="12288"/>
                        <a:pt x="2343" y="17192"/>
                        <a:pt x="7307" y="18269"/>
                      </a:cubicBezTo>
                      <a:cubicBezTo>
                        <a:pt x="12211" y="19286"/>
                        <a:pt x="17055" y="16116"/>
                        <a:pt x="18132" y="11152"/>
                      </a:cubicBezTo>
                      <a:close/>
                    </a:path>
                  </a:pathLst>
                </a:custGeom>
                <a:grpFill/>
                <a:ln w="5978" cap="flat">
                  <a:noFill/>
                  <a:prstDash val="solid"/>
                  <a:miter/>
                </a:ln>
              </p:spPr>
              <p:txBody>
                <a:bodyPr rtlCol="0" anchor="ctr"/>
                <a:lstStyle/>
                <a:p>
                  <a:endParaRPr lang="en-GB"/>
                </a:p>
              </p:txBody>
            </p:sp>
          </p:grpSp>
          <p:grpSp>
            <p:nvGrpSpPr>
              <p:cNvPr id="912" name="Graphic 3">
                <a:extLst>
                  <a:ext uri="{FF2B5EF4-FFF2-40B4-BE49-F238E27FC236}">
                    <a16:creationId xmlns:a16="http://schemas.microsoft.com/office/drawing/2014/main" id="{B262B3D6-434F-480F-9DFA-50178BD0AC61}"/>
                  </a:ext>
                </a:extLst>
              </p:cNvPr>
              <p:cNvGrpSpPr/>
              <p:nvPr/>
            </p:nvGrpSpPr>
            <p:grpSpPr>
              <a:xfrm>
                <a:off x="4541090" y="2119491"/>
                <a:ext cx="96173" cy="85039"/>
                <a:chOff x="4541090" y="2119491"/>
                <a:chExt cx="96173" cy="85039"/>
              </a:xfrm>
              <a:grpFill/>
            </p:grpSpPr>
            <p:sp>
              <p:nvSpPr>
                <p:cNvPr id="2662" name="Vrije vorm: vorm 2661">
                  <a:extLst>
                    <a:ext uri="{FF2B5EF4-FFF2-40B4-BE49-F238E27FC236}">
                      <a16:creationId xmlns:a16="http://schemas.microsoft.com/office/drawing/2014/main" id="{B79BA4A2-C7E0-4A29-86A6-83E90B21AC01}"/>
                    </a:ext>
                  </a:extLst>
                </p:cNvPr>
                <p:cNvSpPr/>
                <p:nvPr/>
              </p:nvSpPr>
              <p:spPr>
                <a:xfrm>
                  <a:off x="4548957" y="2127203"/>
                  <a:ext cx="80440" cy="69555"/>
                </a:xfrm>
                <a:custGeom>
                  <a:avLst/>
                  <a:gdLst>
                    <a:gd name="connsiteX0" fmla="*/ 80440 w 80440"/>
                    <a:gd name="connsiteY0" fmla="*/ 67223 h 69555"/>
                    <a:gd name="connsiteX1" fmla="*/ 78527 w 80440"/>
                    <a:gd name="connsiteY1" fmla="*/ 69556 h 69555"/>
                    <a:gd name="connsiteX2" fmla="*/ 0 w 80440"/>
                    <a:gd name="connsiteY2" fmla="*/ 2332 h 69555"/>
                    <a:gd name="connsiteX3" fmla="*/ 1973 w 80440"/>
                    <a:gd name="connsiteY3" fmla="*/ 0 h 69555"/>
                  </a:gdLst>
                  <a:ahLst/>
                  <a:cxnLst>
                    <a:cxn ang="0">
                      <a:pos x="connsiteX0" y="connsiteY0"/>
                    </a:cxn>
                    <a:cxn ang="0">
                      <a:pos x="connsiteX1" y="connsiteY1"/>
                    </a:cxn>
                    <a:cxn ang="0">
                      <a:pos x="connsiteX2" y="connsiteY2"/>
                    </a:cxn>
                    <a:cxn ang="0">
                      <a:pos x="connsiteX3" y="connsiteY3"/>
                    </a:cxn>
                  </a:cxnLst>
                  <a:rect l="l" t="t" r="r" b="b"/>
                  <a:pathLst>
                    <a:path w="80440" h="69555">
                      <a:moveTo>
                        <a:pt x="80440" y="67223"/>
                      </a:moveTo>
                      <a:lnTo>
                        <a:pt x="78527" y="69556"/>
                      </a:lnTo>
                      <a:lnTo>
                        <a:pt x="0" y="2332"/>
                      </a:lnTo>
                      <a:lnTo>
                        <a:pt x="1973" y="0"/>
                      </a:lnTo>
                      <a:close/>
                    </a:path>
                  </a:pathLst>
                </a:custGeom>
                <a:grpFill/>
                <a:ln w="5978" cap="flat">
                  <a:noFill/>
                  <a:prstDash val="solid"/>
                  <a:miter/>
                </a:ln>
              </p:spPr>
              <p:txBody>
                <a:bodyPr rtlCol="0" anchor="ctr"/>
                <a:lstStyle/>
                <a:p>
                  <a:endParaRPr lang="en-GB"/>
                </a:p>
              </p:txBody>
            </p:sp>
            <p:sp>
              <p:nvSpPr>
                <p:cNvPr id="2663" name="Vrije vorm: vorm 2662">
                  <a:extLst>
                    <a:ext uri="{FF2B5EF4-FFF2-40B4-BE49-F238E27FC236}">
                      <a16:creationId xmlns:a16="http://schemas.microsoft.com/office/drawing/2014/main" id="{0F6BC553-361A-49AD-884B-91B0D48BA3E2}"/>
                    </a:ext>
                  </a:extLst>
                </p:cNvPr>
                <p:cNvSpPr/>
                <p:nvPr/>
              </p:nvSpPr>
              <p:spPr>
                <a:xfrm>
                  <a:off x="4541090" y="2119491"/>
                  <a:ext cx="18364" cy="18414"/>
                </a:xfrm>
                <a:custGeom>
                  <a:avLst/>
                  <a:gdLst>
                    <a:gd name="connsiteX0" fmla="*/ 3261 w 18364"/>
                    <a:gd name="connsiteY0" fmla="*/ 16205 h 18414"/>
                    <a:gd name="connsiteX1" fmla="*/ 2185 w 18364"/>
                    <a:gd name="connsiteY1" fmla="*/ 3227 h 18414"/>
                    <a:gd name="connsiteX2" fmla="*/ 15103 w 18364"/>
                    <a:gd name="connsiteY2" fmla="*/ 2210 h 18414"/>
                    <a:gd name="connsiteX3" fmla="*/ 16179 w 18364"/>
                    <a:gd name="connsiteY3" fmla="*/ 15188 h 18414"/>
                    <a:gd name="connsiteX4" fmla="*/ 3261 w 18364"/>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3261" y="16205"/>
                      </a:moveTo>
                      <a:cubicBezTo>
                        <a:pt x="-627" y="12915"/>
                        <a:pt x="-1105" y="7054"/>
                        <a:pt x="2185" y="3227"/>
                      </a:cubicBezTo>
                      <a:cubicBezTo>
                        <a:pt x="5474" y="-661"/>
                        <a:pt x="11216" y="-1080"/>
                        <a:pt x="15103" y="2210"/>
                      </a:cubicBezTo>
                      <a:cubicBezTo>
                        <a:pt x="18990" y="5499"/>
                        <a:pt x="19469" y="11360"/>
                        <a:pt x="16179" y="15188"/>
                      </a:cubicBezTo>
                      <a:cubicBezTo>
                        <a:pt x="12890" y="19075"/>
                        <a:pt x="7089" y="19494"/>
                        <a:pt x="3261" y="16205"/>
                      </a:cubicBezTo>
                      <a:close/>
                    </a:path>
                  </a:pathLst>
                </a:custGeom>
                <a:grpFill/>
                <a:ln w="5978" cap="flat">
                  <a:noFill/>
                  <a:prstDash val="solid"/>
                  <a:miter/>
                </a:ln>
              </p:spPr>
              <p:txBody>
                <a:bodyPr rtlCol="0" anchor="ctr"/>
                <a:lstStyle/>
                <a:p>
                  <a:endParaRPr lang="en-GB"/>
                </a:p>
              </p:txBody>
            </p:sp>
            <p:sp>
              <p:nvSpPr>
                <p:cNvPr id="2664" name="Vrije vorm: vorm 2663">
                  <a:extLst>
                    <a:ext uri="{FF2B5EF4-FFF2-40B4-BE49-F238E27FC236}">
                      <a16:creationId xmlns:a16="http://schemas.microsoft.com/office/drawing/2014/main" id="{A9482857-75AB-46A5-B203-722DCC1E4B7B}"/>
                    </a:ext>
                  </a:extLst>
                </p:cNvPr>
                <p:cNvSpPr/>
                <p:nvPr/>
              </p:nvSpPr>
              <p:spPr>
                <a:xfrm>
                  <a:off x="4618944" y="2186116"/>
                  <a:ext cx="18319" cy="18414"/>
                </a:xfrm>
                <a:custGeom>
                  <a:avLst/>
                  <a:gdLst>
                    <a:gd name="connsiteX0" fmla="*/ 3217 w 18319"/>
                    <a:gd name="connsiteY0" fmla="*/ 16205 h 18414"/>
                    <a:gd name="connsiteX1" fmla="*/ 16135 w 18319"/>
                    <a:gd name="connsiteY1" fmla="*/ 15188 h 18414"/>
                    <a:gd name="connsiteX2" fmla="*/ 15059 w 18319"/>
                    <a:gd name="connsiteY2" fmla="*/ 2210 h 18414"/>
                    <a:gd name="connsiteX3" fmla="*/ 2140 w 18319"/>
                    <a:gd name="connsiteY3" fmla="*/ 3227 h 18414"/>
                    <a:gd name="connsiteX4" fmla="*/ 3217 w 18319"/>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4">
                      <a:moveTo>
                        <a:pt x="3217" y="16205"/>
                      </a:moveTo>
                      <a:cubicBezTo>
                        <a:pt x="7104" y="19494"/>
                        <a:pt x="12846" y="19076"/>
                        <a:pt x="16135" y="15188"/>
                      </a:cubicBezTo>
                      <a:cubicBezTo>
                        <a:pt x="19424" y="11301"/>
                        <a:pt x="18946" y="5499"/>
                        <a:pt x="15059" y="2210"/>
                      </a:cubicBezTo>
                      <a:cubicBezTo>
                        <a:pt x="11171" y="-1080"/>
                        <a:pt x="5430" y="-661"/>
                        <a:pt x="2140" y="3227"/>
                      </a:cubicBezTo>
                      <a:cubicBezTo>
                        <a:pt x="-1089" y="7054"/>
                        <a:pt x="-611" y="12915"/>
                        <a:pt x="3217" y="16205"/>
                      </a:cubicBezTo>
                      <a:close/>
                    </a:path>
                  </a:pathLst>
                </a:custGeom>
                <a:grpFill/>
                <a:ln w="5978" cap="flat">
                  <a:noFill/>
                  <a:prstDash val="solid"/>
                  <a:miter/>
                </a:ln>
              </p:spPr>
              <p:txBody>
                <a:bodyPr rtlCol="0" anchor="ctr"/>
                <a:lstStyle/>
                <a:p>
                  <a:endParaRPr lang="en-GB"/>
                </a:p>
              </p:txBody>
            </p:sp>
          </p:grpSp>
          <p:grpSp>
            <p:nvGrpSpPr>
              <p:cNvPr id="913" name="Graphic 3">
                <a:extLst>
                  <a:ext uri="{FF2B5EF4-FFF2-40B4-BE49-F238E27FC236}">
                    <a16:creationId xmlns:a16="http://schemas.microsoft.com/office/drawing/2014/main" id="{C1A3FF3B-EEF4-49FA-8324-7794A9F98871}"/>
                  </a:ext>
                </a:extLst>
              </p:cNvPr>
              <p:cNvGrpSpPr/>
              <p:nvPr/>
            </p:nvGrpSpPr>
            <p:grpSpPr>
              <a:xfrm>
                <a:off x="5601805" y="5079028"/>
                <a:ext cx="181328" cy="723226"/>
                <a:chOff x="5601805" y="5079028"/>
                <a:chExt cx="181328" cy="723226"/>
              </a:xfrm>
              <a:grpFill/>
            </p:grpSpPr>
            <p:sp>
              <p:nvSpPr>
                <p:cNvPr id="2659" name="Vrije vorm: vorm 2658">
                  <a:extLst>
                    <a:ext uri="{FF2B5EF4-FFF2-40B4-BE49-F238E27FC236}">
                      <a16:creationId xmlns:a16="http://schemas.microsoft.com/office/drawing/2014/main" id="{F60D12C3-1AAC-46BF-8214-AA633FA4006D}"/>
                    </a:ext>
                  </a:extLst>
                </p:cNvPr>
                <p:cNvSpPr/>
                <p:nvPr/>
              </p:nvSpPr>
              <p:spPr>
                <a:xfrm>
                  <a:off x="5609399" y="5087421"/>
                  <a:ext cx="166144" cy="706442"/>
                </a:xfrm>
                <a:custGeom>
                  <a:avLst/>
                  <a:gdLst>
                    <a:gd name="connsiteX0" fmla="*/ 166144 w 166144"/>
                    <a:gd name="connsiteY0" fmla="*/ 718 h 706442"/>
                    <a:gd name="connsiteX1" fmla="*/ 2990 w 166144"/>
                    <a:gd name="connsiteY1" fmla="*/ 706443 h 706442"/>
                    <a:gd name="connsiteX2" fmla="*/ 0 w 166144"/>
                    <a:gd name="connsiteY2" fmla="*/ 705725 h 706442"/>
                    <a:gd name="connsiteX3" fmla="*/ 163154 w 166144"/>
                    <a:gd name="connsiteY3" fmla="*/ 0 h 706442"/>
                  </a:gdLst>
                  <a:ahLst/>
                  <a:cxnLst>
                    <a:cxn ang="0">
                      <a:pos x="connsiteX0" y="connsiteY0"/>
                    </a:cxn>
                    <a:cxn ang="0">
                      <a:pos x="connsiteX1" y="connsiteY1"/>
                    </a:cxn>
                    <a:cxn ang="0">
                      <a:pos x="connsiteX2" y="connsiteY2"/>
                    </a:cxn>
                    <a:cxn ang="0">
                      <a:pos x="connsiteX3" y="connsiteY3"/>
                    </a:cxn>
                  </a:cxnLst>
                  <a:rect l="l" t="t" r="r" b="b"/>
                  <a:pathLst>
                    <a:path w="166144" h="706442">
                      <a:moveTo>
                        <a:pt x="166144" y="718"/>
                      </a:moveTo>
                      <a:lnTo>
                        <a:pt x="2990" y="706443"/>
                      </a:lnTo>
                      <a:lnTo>
                        <a:pt x="0" y="705725"/>
                      </a:lnTo>
                      <a:lnTo>
                        <a:pt x="163154" y="0"/>
                      </a:lnTo>
                      <a:close/>
                    </a:path>
                  </a:pathLst>
                </a:custGeom>
                <a:grpFill/>
                <a:ln w="5978" cap="flat">
                  <a:noFill/>
                  <a:prstDash val="solid"/>
                  <a:miter/>
                </a:ln>
              </p:spPr>
              <p:txBody>
                <a:bodyPr rtlCol="0" anchor="ctr"/>
                <a:lstStyle/>
                <a:p>
                  <a:endParaRPr lang="en-GB"/>
                </a:p>
              </p:txBody>
            </p:sp>
            <p:sp>
              <p:nvSpPr>
                <p:cNvPr id="2660" name="Vrije vorm: vorm 2659">
                  <a:extLst>
                    <a:ext uri="{FF2B5EF4-FFF2-40B4-BE49-F238E27FC236}">
                      <a16:creationId xmlns:a16="http://schemas.microsoft.com/office/drawing/2014/main" id="{18A3FBA9-804E-47F1-87E4-CE54C14D69D6}"/>
                    </a:ext>
                  </a:extLst>
                </p:cNvPr>
                <p:cNvSpPr/>
                <p:nvPr/>
              </p:nvSpPr>
              <p:spPr>
                <a:xfrm>
                  <a:off x="5764779" y="5079028"/>
                  <a:ext cx="18353" cy="18401"/>
                </a:xfrm>
                <a:custGeom>
                  <a:avLst/>
                  <a:gdLst>
                    <a:gd name="connsiteX0" fmla="*/ 237 w 18353"/>
                    <a:gd name="connsiteY0" fmla="*/ 7078 h 18401"/>
                    <a:gd name="connsiteX1" fmla="*/ 11242 w 18353"/>
                    <a:gd name="connsiteY1" fmla="*/ 260 h 18401"/>
                    <a:gd name="connsiteX2" fmla="*/ 18120 w 18353"/>
                    <a:gd name="connsiteY2" fmla="*/ 11324 h 18401"/>
                    <a:gd name="connsiteX3" fmla="*/ 7115 w 18353"/>
                    <a:gd name="connsiteY3" fmla="*/ 18142 h 18401"/>
                    <a:gd name="connsiteX4" fmla="*/ 237 w 18353"/>
                    <a:gd name="connsiteY4" fmla="*/ 7078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1">
                      <a:moveTo>
                        <a:pt x="237" y="7078"/>
                      </a:moveTo>
                      <a:cubicBezTo>
                        <a:pt x="1374" y="2114"/>
                        <a:pt x="6338" y="-937"/>
                        <a:pt x="11242" y="260"/>
                      </a:cubicBezTo>
                      <a:cubicBezTo>
                        <a:pt x="16146" y="1456"/>
                        <a:pt x="19256" y="6420"/>
                        <a:pt x="18120" y="11324"/>
                      </a:cubicBezTo>
                      <a:cubicBezTo>
                        <a:pt x="16984" y="16288"/>
                        <a:pt x="12020" y="19338"/>
                        <a:pt x="7115" y="18142"/>
                      </a:cubicBezTo>
                      <a:cubicBezTo>
                        <a:pt x="2151" y="17006"/>
                        <a:pt x="-899" y="12042"/>
                        <a:pt x="237" y="7078"/>
                      </a:cubicBezTo>
                      <a:close/>
                    </a:path>
                  </a:pathLst>
                </a:custGeom>
                <a:grpFill/>
                <a:ln w="5978" cap="flat">
                  <a:noFill/>
                  <a:prstDash val="solid"/>
                  <a:miter/>
                </a:ln>
              </p:spPr>
              <p:txBody>
                <a:bodyPr rtlCol="0" anchor="ctr"/>
                <a:lstStyle/>
                <a:p>
                  <a:endParaRPr lang="en-GB"/>
                </a:p>
              </p:txBody>
            </p:sp>
            <p:sp>
              <p:nvSpPr>
                <p:cNvPr id="2661" name="Vrije vorm: vorm 2660">
                  <a:extLst>
                    <a:ext uri="{FF2B5EF4-FFF2-40B4-BE49-F238E27FC236}">
                      <a16:creationId xmlns:a16="http://schemas.microsoft.com/office/drawing/2014/main" id="{F00A093F-AD27-4435-BB61-E5C13632E881}"/>
                    </a:ext>
                  </a:extLst>
                </p:cNvPr>
                <p:cNvSpPr/>
                <p:nvPr/>
              </p:nvSpPr>
              <p:spPr>
                <a:xfrm>
                  <a:off x="5601805" y="5783856"/>
                  <a:ext cx="18357" cy="18398"/>
                </a:xfrm>
                <a:custGeom>
                  <a:avLst/>
                  <a:gdLst>
                    <a:gd name="connsiteX0" fmla="*/ 237 w 18357"/>
                    <a:gd name="connsiteY0" fmla="*/ 7078 h 18398"/>
                    <a:gd name="connsiteX1" fmla="*/ 7115 w 18357"/>
                    <a:gd name="connsiteY1" fmla="*/ 18142 h 18398"/>
                    <a:gd name="connsiteX2" fmla="*/ 18120 w 18357"/>
                    <a:gd name="connsiteY2" fmla="*/ 11324 h 18398"/>
                    <a:gd name="connsiteX3" fmla="*/ 11242 w 18357"/>
                    <a:gd name="connsiteY3" fmla="*/ 260 h 18398"/>
                    <a:gd name="connsiteX4" fmla="*/ 237 w 18357"/>
                    <a:gd name="connsiteY4" fmla="*/ 7078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398">
                      <a:moveTo>
                        <a:pt x="237" y="7078"/>
                      </a:moveTo>
                      <a:cubicBezTo>
                        <a:pt x="-899" y="12042"/>
                        <a:pt x="2151" y="17006"/>
                        <a:pt x="7115" y="18142"/>
                      </a:cubicBezTo>
                      <a:cubicBezTo>
                        <a:pt x="12020" y="19338"/>
                        <a:pt x="16984" y="16228"/>
                        <a:pt x="18120" y="11324"/>
                      </a:cubicBezTo>
                      <a:cubicBezTo>
                        <a:pt x="19256" y="6360"/>
                        <a:pt x="16206" y="1396"/>
                        <a:pt x="11242" y="260"/>
                      </a:cubicBezTo>
                      <a:cubicBezTo>
                        <a:pt x="6338" y="-936"/>
                        <a:pt x="1434" y="2114"/>
                        <a:pt x="237" y="7078"/>
                      </a:cubicBezTo>
                      <a:close/>
                    </a:path>
                  </a:pathLst>
                </a:custGeom>
                <a:grpFill/>
                <a:ln w="5978" cap="flat">
                  <a:noFill/>
                  <a:prstDash val="solid"/>
                  <a:miter/>
                </a:ln>
              </p:spPr>
              <p:txBody>
                <a:bodyPr rtlCol="0" anchor="ctr"/>
                <a:lstStyle/>
                <a:p>
                  <a:endParaRPr lang="en-GB"/>
                </a:p>
              </p:txBody>
            </p:sp>
          </p:grpSp>
          <p:grpSp>
            <p:nvGrpSpPr>
              <p:cNvPr id="914" name="Graphic 3">
                <a:extLst>
                  <a:ext uri="{FF2B5EF4-FFF2-40B4-BE49-F238E27FC236}">
                    <a16:creationId xmlns:a16="http://schemas.microsoft.com/office/drawing/2014/main" id="{1F7A99BF-73E4-4C4D-A8A0-AAB0BD956CB1}"/>
                  </a:ext>
                </a:extLst>
              </p:cNvPr>
              <p:cNvGrpSpPr/>
              <p:nvPr/>
            </p:nvGrpSpPr>
            <p:grpSpPr>
              <a:xfrm>
                <a:off x="4541254" y="2258548"/>
                <a:ext cx="168528" cy="133175"/>
                <a:chOff x="4541254" y="2258548"/>
                <a:chExt cx="168528" cy="133175"/>
              </a:xfrm>
              <a:grpFill/>
            </p:grpSpPr>
            <p:sp>
              <p:nvSpPr>
                <p:cNvPr id="2656" name="Vrije vorm: vorm 2655">
                  <a:extLst>
                    <a:ext uri="{FF2B5EF4-FFF2-40B4-BE49-F238E27FC236}">
                      <a16:creationId xmlns:a16="http://schemas.microsoft.com/office/drawing/2014/main" id="{92FC5A36-244F-48A2-88F3-21386A19A4D3}"/>
                    </a:ext>
                  </a:extLst>
                </p:cNvPr>
                <p:cNvSpPr/>
                <p:nvPr/>
              </p:nvSpPr>
              <p:spPr>
                <a:xfrm>
                  <a:off x="4549136" y="2266255"/>
                  <a:ext cx="152747" cy="117700"/>
                </a:xfrm>
                <a:custGeom>
                  <a:avLst/>
                  <a:gdLst>
                    <a:gd name="connsiteX0" fmla="*/ 152748 w 152747"/>
                    <a:gd name="connsiteY0" fmla="*/ 115248 h 117700"/>
                    <a:gd name="connsiteX1" fmla="*/ 150894 w 152747"/>
                    <a:gd name="connsiteY1" fmla="*/ 117701 h 117700"/>
                    <a:gd name="connsiteX2" fmla="*/ 0 w 152747"/>
                    <a:gd name="connsiteY2" fmla="*/ 2452 h 117700"/>
                    <a:gd name="connsiteX3" fmla="*/ 1854 w 152747"/>
                    <a:gd name="connsiteY3" fmla="*/ 0 h 117700"/>
                  </a:gdLst>
                  <a:ahLst/>
                  <a:cxnLst>
                    <a:cxn ang="0">
                      <a:pos x="connsiteX0" y="connsiteY0"/>
                    </a:cxn>
                    <a:cxn ang="0">
                      <a:pos x="connsiteX1" y="connsiteY1"/>
                    </a:cxn>
                    <a:cxn ang="0">
                      <a:pos x="connsiteX2" y="connsiteY2"/>
                    </a:cxn>
                    <a:cxn ang="0">
                      <a:pos x="connsiteX3" y="connsiteY3"/>
                    </a:cxn>
                  </a:cxnLst>
                  <a:rect l="l" t="t" r="r" b="b"/>
                  <a:pathLst>
                    <a:path w="152747" h="117700">
                      <a:moveTo>
                        <a:pt x="152748" y="115248"/>
                      </a:moveTo>
                      <a:lnTo>
                        <a:pt x="150894" y="117701"/>
                      </a:lnTo>
                      <a:lnTo>
                        <a:pt x="0" y="2452"/>
                      </a:lnTo>
                      <a:lnTo>
                        <a:pt x="1854" y="0"/>
                      </a:lnTo>
                      <a:close/>
                    </a:path>
                  </a:pathLst>
                </a:custGeom>
                <a:grpFill/>
                <a:ln w="5978" cap="flat">
                  <a:noFill/>
                  <a:prstDash val="solid"/>
                  <a:miter/>
                </a:ln>
              </p:spPr>
              <p:txBody>
                <a:bodyPr rtlCol="0" anchor="ctr"/>
                <a:lstStyle/>
                <a:p>
                  <a:endParaRPr lang="en-GB"/>
                </a:p>
              </p:txBody>
            </p:sp>
            <p:sp>
              <p:nvSpPr>
                <p:cNvPr id="2657" name="Vrije vorm: vorm 2656">
                  <a:extLst>
                    <a:ext uri="{FF2B5EF4-FFF2-40B4-BE49-F238E27FC236}">
                      <a16:creationId xmlns:a16="http://schemas.microsoft.com/office/drawing/2014/main" id="{9AB56F5F-5AF3-4818-904E-2F2868D2748E}"/>
                    </a:ext>
                  </a:extLst>
                </p:cNvPr>
                <p:cNvSpPr/>
                <p:nvPr/>
              </p:nvSpPr>
              <p:spPr>
                <a:xfrm>
                  <a:off x="4541254" y="2258548"/>
                  <a:ext cx="18334" cy="18421"/>
                </a:xfrm>
                <a:custGeom>
                  <a:avLst/>
                  <a:gdLst>
                    <a:gd name="connsiteX0" fmla="*/ 3635 w 18334"/>
                    <a:gd name="connsiteY0" fmla="*/ 16559 h 18421"/>
                    <a:gd name="connsiteX1" fmla="*/ 1841 w 18334"/>
                    <a:gd name="connsiteY1" fmla="*/ 3641 h 18421"/>
                    <a:gd name="connsiteX2" fmla="*/ 14700 w 18334"/>
                    <a:gd name="connsiteY2" fmla="*/ 1906 h 18421"/>
                    <a:gd name="connsiteX3" fmla="*/ 16494 w 18334"/>
                    <a:gd name="connsiteY3" fmla="*/ 14825 h 18421"/>
                    <a:gd name="connsiteX4" fmla="*/ 3635 w 18334"/>
                    <a:gd name="connsiteY4" fmla="*/ 1655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1">
                      <a:moveTo>
                        <a:pt x="3635" y="16559"/>
                      </a:moveTo>
                      <a:cubicBezTo>
                        <a:pt x="-372" y="13449"/>
                        <a:pt x="-1209" y="7707"/>
                        <a:pt x="1841" y="3641"/>
                      </a:cubicBezTo>
                      <a:cubicBezTo>
                        <a:pt x="4891" y="-426"/>
                        <a:pt x="10633" y="-1204"/>
                        <a:pt x="14700" y="1906"/>
                      </a:cubicBezTo>
                      <a:cubicBezTo>
                        <a:pt x="18706" y="5016"/>
                        <a:pt x="19544" y="10758"/>
                        <a:pt x="16494" y="14825"/>
                      </a:cubicBezTo>
                      <a:cubicBezTo>
                        <a:pt x="13443" y="18832"/>
                        <a:pt x="7642" y="19609"/>
                        <a:pt x="3635" y="16559"/>
                      </a:cubicBezTo>
                      <a:close/>
                    </a:path>
                  </a:pathLst>
                </a:custGeom>
                <a:grpFill/>
                <a:ln w="5978" cap="flat">
                  <a:noFill/>
                  <a:prstDash val="solid"/>
                  <a:miter/>
                </a:ln>
              </p:spPr>
              <p:txBody>
                <a:bodyPr rtlCol="0" anchor="ctr"/>
                <a:lstStyle/>
                <a:p>
                  <a:endParaRPr lang="en-GB"/>
                </a:p>
              </p:txBody>
            </p:sp>
            <p:sp>
              <p:nvSpPr>
                <p:cNvPr id="2658" name="Vrije vorm: vorm 2657">
                  <a:extLst>
                    <a:ext uri="{FF2B5EF4-FFF2-40B4-BE49-F238E27FC236}">
                      <a16:creationId xmlns:a16="http://schemas.microsoft.com/office/drawing/2014/main" id="{6CFCB1E8-A77A-4B0F-92CE-CEEBE05645D7}"/>
                    </a:ext>
                  </a:extLst>
                </p:cNvPr>
                <p:cNvSpPr/>
                <p:nvPr/>
              </p:nvSpPr>
              <p:spPr>
                <a:xfrm>
                  <a:off x="4691413" y="2373258"/>
                  <a:ext cx="18369" cy="18465"/>
                </a:xfrm>
                <a:custGeom>
                  <a:avLst/>
                  <a:gdLst>
                    <a:gd name="connsiteX0" fmla="*/ 3653 w 18369"/>
                    <a:gd name="connsiteY0" fmla="*/ 16559 h 18465"/>
                    <a:gd name="connsiteX1" fmla="*/ 16511 w 18369"/>
                    <a:gd name="connsiteY1" fmla="*/ 14824 h 18465"/>
                    <a:gd name="connsiteX2" fmla="*/ 14717 w 18369"/>
                    <a:gd name="connsiteY2" fmla="*/ 1906 h 18465"/>
                    <a:gd name="connsiteX3" fmla="*/ 1859 w 18369"/>
                    <a:gd name="connsiteY3" fmla="*/ 3641 h 18465"/>
                    <a:gd name="connsiteX4" fmla="*/ 3653 w 18369"/>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65">
                      <a:moveTo>
                        <a:pt x="3653" y="16559"/>
                      </a:moveTo>
                      <a:cubicBezTo>
                        <a:pt x="7660" y="19669"/>
                        <a:pt x="13461" y="18891"/>
                        <a:pt x="16511" y="14824"/>
                      </a:cubicBezTo>
                      <a:cubicBezTo>
                        <a:pt x="19561" y="10758"/>
                        <a:pt x="18784" y="5016"/>
                        <a:pt x="14717" y="1906"/>
                      </a:cubicBezTo>
                      <a:cubicBezTo>
                        <a:pt x="10650" y="-1204"/>
                        <a:pt x="4908" y="-426"/>
                        <a:pt x="1859" y="3641"/>
                      </a:cubicBezTo>
                      <a:cubicBezTo>
                        <a:pt x="-1192" y="7648"/>
                        <a:pt x="-414" y="13449"/>
                        <a:pt x="3653" y="16559"/>
                      </a:cubicBezTo>
                      <a:close/>
                    </a:path>
                  </a:pathLst>
                </a:custGeom>
                <a:grpFill/>
                <a:ln w="5978" cap="flat">
                  <a:noFill/>
                  <a:prstDash val="solid"/>
                  <a:miter/>
                </a:ln>
              </p:spPr>
              <p:txBody>
                <a:bodyPr rtlCol="0" anchor="ctr"/>
                <a:lstStyle/>
                <a:p>
                  <a:endParaRPr lang="en-GB"/>
                </a:p>
              </p:txBody>
            </p:sp>
          </p:grpSp>
          <p:grpSp>
            <p:nvGrpSpPr>
              <p:cNvPr id="915" name="Graphic 3">
                <a:extLst>
                  <a:ext uri="{FF2B5EF4-FFF2-40B4-BE49-F238E27FC236}">
                    <a16:creationId xmlns:a16="http://schemas.microsoft.com/office/drawing/2014/main" id="{8518EB33-B794-4478-9610-5CFB96621B66}"/>
                  </a:ext>
                </a:extLst>
              </p:cNvPr>
              <p:cNvGrpSpPr/>
              <p:nvPr/>
            </p:nvGrpSpPr>
            <p:grpSpPr>
              <a:xfrm>
                <a:off x="5532519" y="5017213"/>
                <a:ext cx="40086" cy="89781"/>
                <a:chOff x="5532519" y="5017213"/>
                <a:chExt cx="40086" cy="89781"/>
              </a:xfrm>
              <a:grpFill/>
            </p:grpSpPr>
            <p:sp>
              <p:nvSpPr>
                <p:cNvPr id="2653" name="Vrije vorm: vorm 2652">
                  <a:extLst>
                    <a:ext uri="{FF2B5EF4-FFF2-40B4-BE49-F238E27FC236}">
                      <a16:creationId xmlns:a16="http://schemas.microsoft.com/office/drawing/2014/main" id="{FB5FDA7B-3BFA-4BF9-8CF3-9411E8852CDE}"/>
                    </a:ext>
                  </a:extLst>
                </p:cNvPr>
                <p:cNvSpPr/>
                <p:nvPr/>
              </p:nvSpPr>
              <p:spPr>
                <a:xfrm>
                  <a:off x="5540022" y="5025521"/>
                  <a:ext cx="24999" cy="73144"/>
                </a:xfrm>
                <a:custGeom>
                  <a:avLst/>
                  <a:gdLst>
                    <a:gd name="connsiteX0" fmla="*/ 24999 w 24999"/>
                    <a:gd name="connsiteY0" fmla="*/ 897 h 73144"/>
                    <a:gd name="connsiteX1" fmla="*/ 2930 w 24999"/>
                    <a:gd name="connsiteY1" fmla="*/ 73144 h 73144"/>
                    <a:gd name="connsiteX2" fmla="*/ 0 w 24999"/>
                    <a:gd name="connsiteY2" fmla="*/ 72247 h 73144"/>
                    <a:gd name="connsiteX3" fmla="*/ 22129 w 24999"/>
                    <a:gd name="connsiteY3" fmla="*/ 0 h 73144"/>
                  </a:gdLst>
                  <a:ahLst/>
                  <a:cxnLst>
                    <a:cxn ang="0">
                      <a:pos x="connsiteX0" y="connsiteY0"/>
                    </a:cxn>
                    <a:cxn ang="0">
                      <a:pos x="connsiteX1" y="connsiteY1"/>
                    </a:cxn>
                    <a:cxn ang="0">
                      <a:pos x="connsiteX2" y="connsiteY2"/>
                    </a:cxn>
                    <a:cxn ang="0">
                      <a:pos x="connsiteX3" y="connsiteY3"/>
                    </a:cxn>
                  </a:cxnLst>
                  <a:rect l="l" t="t" r="r" b="b"/>
                  <a:pathLst>
                    <a:path w="24999" h="73144">
                      <a:moveTo>
                        <a:pt x="24999" y="897"/>
                      </a:moveTo>
                      <a:lnTo>
                        <a:pt x="2930" y="73144"/>
                      </a:lnTo>
                      <a:lnTo>
                        <a:pt x="0" y="72247"/>
                      </a:lnTo>
                      <a:lnTo>
                        <a:pt x="22129" y="0"/>
                      </a:lnTo>
                      <a:close/>
                    </a:path>
                  </a:pathLst>
                </a:custGeom>
                <a:grpFill/>
                <a:ln w="5978" cap="flat">
                  <a:noFill/>
                  <a:prstDash val="solid"/>
                  <a:miter/>
                </a:ln>
              </p:spPr>
              <p:txBody>
                <a:bodyPr rtlCol="0" anchor="ctr"/>
                <a:lstStyle/>
                <a:p>
                  <a:endParaRPr lang="en-GB"/>
                </a:p>
              </p:txBody>
            </p:sp>
            <p:sp>
              <p:nvSpPr>
                <p:cNvPr id="2654" name="Vrije vorm: vorm 2653">
                  <a:extLst>
                    <a:ext uri="{FF2B5EF4-FFF2-40B4-BE49-F238E27FC236}">
                      <a16:creationId xmlns:a16="http://schemas.microsoft.com/office/drawing/2014/main" id="{628E5708-FEB1-46A2-976D-1E9C787A75DE}"/>
                    </a:ext>
                  </a:extLst>
                </p:cNvPr>
                <p:cNvSpPr/>
                <p:nvPr/>
              </p:nvSpPr>
              <p:spPr>
                <a:xfrm>
                  <a:off x="5532519" y="5088541"/>
                  <a:ext cx="18294" cy="18453"/>
                </a:xfrm>
                <a:custGeom>
                  <a:avLst/>
                  <a:gdLst>
                    <a:gd name="connsiteX0" fmla="*/ 17909 w 18294"/>
                    <a:gd name="connsiteY0" fmla="*/ 11978 h 18453"/>
                    <a:gd name="connsiteX1" fmla="*/ 6486 w 18294"/>
                    <a:gd name="connsiteY1" fmla="*/ 18019 h 18453"/>
                    <a:gd name="connsiteX2" fmla="*/ 386 w 18294"/>
                    <a:gd name="connsiteY2" fmla="*/ 6476 h 18453"/>
                    <a:gd name="connsiteX3" fmla="*/ 11809 w 18294"/>
                    <a:gd name="connsiteY3" fmla="*/ 435 h 18453"/>
                    <a:gd name="connsiteX4" fmla="*/ 17909 w 18294"/>
                    <a:gd name="connsiteY4" fmla="*/ 1197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53">
                      <a:moveTo>
                        <a:pt x="17909" y="11978"/>
                      </a:moveTo>
                      <a:cubicBezTo>
                        <a:pt x="16414" y="16822"/>
                        <a:pt x="11270" y="19574"/>
                        <a:pt x="6486" y="18019"/>
                      </a:cubicBezTo>
                      <a:cubicBezTo>
                        <a:pt x="1642" y="16523"/>
                        <a:pt x="-1050" y="11320"/>
                        <a:pt x="386" y="6476"/>
                      </a:cubicBezTo>
                      <a:cubicBezTo>
                        <a:pt x="1881" y="1631"/>
                        <a:pt x="7024" y="-1120"/>
                        <a:pt x="11809" y="435"/>
                      </a:cubicBezTo>
                      <a:cubicBezTo>
                        <a:pt x="16653" y="1930"/>
                        <a:pt x="19345" y="7134"/>
                        <a:pt x="17909" y="11978"/>
                      </a:cubicBezTo>
                      <a:close/>
                    </a:path>
                  </a:pathLst>
                </a:custGeom>
                <a:grpFill/>
                <a:ln w="5978" cap="flat">
                  <a:noFill/>
                  <a:prstDash val="solid"/>
                  <a:miter/>
                </a:ln>
              </p:spPr>
              <p:txBody>
                <a:bodyPr rtlCol="0" anchor="ctr"/>
                <a:lstStyle/>
                <a:p>
                  <a:endParaRPr lang="en-GB"/>
                </a:p>
              </p:txBody>
            </p:sp>
            <p:sp>
              <p:nvSpPr>
                <p:cNvPr id="2655" name="Vrije vorm: vorm 2654">
                  <a:extLst>
                    <a:ext uri="{FF2B5EF4-FFF2-40B4-BE49-F238E27FC236}">
                      <a16:creationId xmlns:a16="http://schemas.microsoft.com/office/drawing/2014/main" id="{84B08213-DCAA-4F44-BDA8-EDB6F4AD45BC}"/>
                    </a:ext>
                  </a:extLst>
                </p:cNvPr>
                <p:cNvSpPr/>
                <p:nvPr/>
              </p:nvSpPr>
              <p:spPr>
                <a:xfrm>
                  <a:off x="5554267" y="5017213"/>
                  <a:ext cx="18338" cy="18409"/>
                </a:xfrm>
                <a:custGeom>
                  <a:avLst/>
                  <a:gdLst>
                    <a:gd name="connsiteX0" fmla="*/ 17931 w 18338"/>
                    <a:gd name="connsiteY0" fmla="*/ 11956 h 18409"/>
                    <a:gd name="connsiteX1" fmla="*/ 11830 w 18338"/>
                    <a:gd name="connsiteY1" fmla="*/ 413 h 18409"/>
                    <a:gd name="connsiteX2" fmla="*/ 407 w 18338"/>
                    <a:gd name="connsiteY2" fmla="*/ 6453 h 18409"/>
                    <a:gd name="connsiteX3" fmla="*/ 6508 w 18338"/>
                    <a:gd name="connsiteY3" fmla="*/ 17996 h 18409"/>
                    <a:gd name="connsiteX4" fmla="*/ 17931 w 18338"/>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9">
                      <a:moveTo>
                        <a:pt x="17931" y="11956"/>
                      </a:moveTo>
                      <a:cubicBezTo>
                        <a:pt x="19426" y="7111"/>
                        <a:pt x="16675" y="1908"/>
                        <a:pt x="11830" y="413"/>
                      </a:cubicBezTo>
                      <a:cubicBezTo>
                        <a:pt x="6986" y="-1082"/>
                        <a:pt x="1843" y="1609"/>
                        <a:pt x="407" y="6453"/>
                      </a:cubicBezTo>
                      <a:cubicBezTo>
                        <a:pt x="-1088" y="11298"/>
                        <a:pt x="1664" y="16501"/>
                        <a:pt x="6508" y="17996"/>
                      </a:cubicBezTo>
                      <a:cubicBezTo>
                        <a:pt x="11352" y="19491"/>
                        <a:pt x="16436" y="16800"/>
                        <a:pt x="17931" y="11956"/>
                      </a:cubicBezTo>
                      <a:close/>
                    </a:path>
                  </a:pathLst>
                </a:custGeom>
                <a:grpFill/>
                <a:ln w="5978" cap="flat">
                  <a:noFill/>
                  <a:prstDash val="solid"/>
                  <a:miter/>
                </a:ln>
              </p:spPr>
              <p:txBody>
                <a:bodyPr rtlCol="0" anchor="ctr"/>
                <a:lstStyle/>
                <a:p>
                  <a:endParaRPr lang="en-GB"/>
                </a:p>
              </p:txBody>
            </p:sp>
          </p:grpSp>
          <p:grpSp>
            <p:nvGrpSpPr>
              <p:cNvPr id="916" name="Graphic 3">
                <a:extLst>
                  <a:ext uri="{FF2B5EF4-FFF2-40B4-BE49-F238E27FC236}">
                    <a16:creationId xmlns:a16="http://schemas.microsoft.com/office/drawing/2014/main" id="{8822C2D7-0B95-46AF-952F-E0A7DA7C06CC}"/>
                  </a:ext>
                </a:extLst>
              </p:cNvPr>
              <p:cNvGrpSpPr/>
              <p:nvPr/>
            </p:nvGrpSpPr>
            <p:grpSpPr>
              <a:xfrm>
                <a:off x="5738683" y="5618371"/>
                <a:ext cx="38374" cy="172402"/>
                <a:chOff x="5738683" y="5618371"/>
                <a:chExt cx="38374" cy="172402"/>
              </a:xfrm>
              <a:grpFill/>
            </p:grpSpPr>
            <p:sp>
              <p:nvSpPr>
                <p:cNvPr id="2650" name="Vrije vorm: vorm 2649">
                  <a:extLst>
                    <a:ext uri="{FF2B5EF4-FFF2-40B4-BE49-F238E27FC236}">
                      <a16:creationId xmlns:a16="http://schemas.microsoft.com/office/drawing/2014/main" id="{A1DB2780-3539-4D0D-B1F2-2C6E4FC158B9}"/>
                    </a:ext>
                  </a:extLst>
                </p:cNvPr>
                <p:cNvSpPr/>
                <p:nvPr/>
              </p:nvSpPr>
              <p:spPr>
                <a:xfrm>
                  <a:off x="5746297" y="5626882"/>
                  <a:ext cx="23145" cy="155319"/>
                </a:xfrm>
                <a:custGeom>
                  <a:avLst/>
                  <a:gdLst>
                    <a:gd name="connsiteX0" fmla="*/ 23145 w 23145"/>
                    <a:gd name="connsiteY0" fmla="*/ 419 h 155319"/>
                    <a:gd name="connsiteX1" fmla="*/ 2990 w 23145"/>
                    <a:gd name="connsiteY1" fmla="*/ 155319 h 155319"/>
                    <a:gd name="connsiteX2" fmla="*/ 0 w 23145"/>
                    <a:gd name="connsiteY2" fmla="*/ 154901 h 155319"/>
                    <a:gd name="connsiteX3" fmla="*/ 20096 w 23145"/>
                    <a:gd name="connsiteY3" fmla="*/ 0 h 155319"/>
                  </a:gdLst>
                  <a:ahLst/>
                  <a:cxnLst>
                    <a:cxn ang="0">
                      <a:pos x="connsiteX0" y="connsiteY0"/>
                    </a:cxn>
                    <a:cxn ang="0">
                      <a:pos x="connsiteX1" y="connsiteY1"/>
                    </a:cxn>
                    <a:cxn ang="0">
                      <a:pos x="connsiteX2" y="connsiteY2"/>
                    </a:cxn>
                    <a:cxn ang="0">
                      <a:pos x="connsiteX3" y="connsiteY3"/>
                    </a:cxn>
                  </a:cxnLst>
                  <a:rect l="l" t="t" r="r" b="b"/>
                  <a:pathLst>
                    <a:path w="23145" h="155319">
                      <a:moveTo>
                        <a:pt x="23145" y="419"/>
                      </a:moveTo>
                      <a:lnTo>
                        <a:pt x="2990" y="155319"/>
                      </a:lnTo>
                      <a:lnTo>
                        <a:pt x="0" y="154901"/>
                      </a:lnTo>
                      <a:lnTo>
                        <a:pt x="20096" y="0"/>
                      </a:lnTo>
                      <a:close/>
                    </a:path>
                  </a:pathLst>
                </a:custGeom>
                <a:grpFill/>
                <a:ln w="5978" cap="flat">
                  <a:noFill/>
                  <a:prstDash val="solid"/>
                  <a:miter/>
                </a:ln>
              </p:spPr>
              <p:txBody>
                <a:bodyPr rtlCol="0" anchor="ctr"/>
                <a:lstStyle/>
                <a:p>
                  <a:endParaRPr lang="en-GB"/>
                </a:p>
              </p:txBody>
            </p:sp>
            <p:sp>
              <p:nvSpPr>
                <p:cNvPr id="2651" name="Vrije vorm: vorm 2650">
                  <a:extLst>
                    <a:ext uri="{FF2B5EF4-FFF2-40B4-BE49-F238E27FC236}">
                      <a16:creationId xmlns:a16="http://schemas.microsoft.com/office/drawing/2014/main" id="{DC45DEDC-200A-4A23-A0C8-0E9B03B078FB}"/>
                    </a:ext>
                  </a:extLst>
                </p:cNvPr>
                <p:cNvSpPr/>
                <p:nvPr/>
              </p:nvSpPr>
              <p:spPr>
                <a:xfrm>
                  <a:off x="5738683" y="5772374"/>
                  <a:ext cx="18339" cy="18398"/>
                </a:xfrm>
                <a:custGeom>
                  <a:avLst/>
                  <a:gdLst>
                    <a:gd name="connsiteX0" fmla="*/ 18260 w 18339"/>
                    <a:gd name="connsiteY0" fmla="*/ 10425 h 18398"/>
                    <a:gd name="connsiteX1" fmla="*/ 7973 w 18339"/>
                    <a:gd name="connsiteY1" fmla="*/ 18320 h 18398"/>
                    <a:gd name="connsiteX2" fmla="*/ 79 w 18339"/>
                    <a:gd name="connsiteY2" fmla="*/ 7973 h 18398"/>
                    <a:gd name="connsiteX3" fmla="*/ 10366 w 18339"/>
                    <a:gd name="connsiteY3" fmla="*/ 79 h 18398"/>
                    <a:gd name="connsiteX4" fmla="*/ 18260 w 18339"/>
                    <a:gd name="connsiteY4" fmla="*/ 1042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8260" y="10425"/>
                      </a:moveTo>
                      <a:cubicBezTo>
                        <a:pt x="17602" y="15449"/>
                        <a:pt x="12997" y="18978"/>
                        <a:pt x="7973" y="18320"/>
                      </a:cubicBezTo>
                      <a:cubicBezTo>
                        <a:pt x="2950" y="17662"/>
                        <a:pt x="-579" y="12997"/>
                        <a:pt x="79" y="7973"/>
                      </a:cubicBezTo>
                      <a:cubicBezTo>
                        <a:pt x="737" y="2950"/>
                        <a:pt x="5342" y="-579"/>
                        <a:pt x="10366" y="79"/>
                      </a:cubicBezTo>
                      <a:cubicBezTo>
                        <a:pt x="15390" y="737"/>
                        <a:pt x="18918" y="5342"/>
                        <a:pt x="18260" y="10425"/>
                      </a:cubicBezTo>
                      <a:close/>
                    </a:path>
                  </a:pathLst>
                </a:custGeom>
                <a:grpFill/>
                <a:ln w="5978" cap="flat">
                  <a:noFill/>
                  <a:prstDash val="solid"/>
                  <a:miter/>
                </a:ln>
              </p:spPr>
              <p:txBody>
                <a:bodyPr rtlCol="0" anchor="ctr"/>
                <a:lstStyle/>
                <a:p>
                  <a:endParaRPr lang="en-GB"/>
                </a:p>
              </p:txBody>
            </p:sp>
            <p:sp>
              <p:nvSpPr>
                <p:cNvPr id="2652" name="Vrije vorm: vorm 2651">
                  <a:extLst>
                    <a:ext uri="{FF2B5EF4-FFF2-40B4-BE49-F238E27FC236}">
                      <a16:creationId xmlns:a16="http://schemas.microsoft.com/office/drawing/2014/main" id="{3DCA433D-3433-4C09-AAAF-0599FA2B08DA}"/>
                    </a:ext>
                  </a:extLst>
                </p:cNvPr>
                <p:cNvSpPr/>
                <p:nvPr/>
              </p:nvSpPr>
              <p:spPr>
                <a:xfrm>
                  <a:off x="5758718" y="5618371"/>
                  <a:ext cx="18339" cy="18398"/>
                </a:xfrm>
                <a:custGeom>
                  <a:avLst/>
                  <a:gdLst>
                    <a:gd name="connsiteX0" fmla="*/ 18260 w 18339"/>
                    <a:gd name="connsiteY0" fmla="*/ 10425 h 18398"/>
                    <a:gd name="connsiteX1" fmla="*/ 10366 w 18339"/>
                    <a:gd name="connsiteY1" fmla="*/ 79 h 18398"/>
                    <a:gd name="connsiteX2" fmla="*/ 79 w 18339"/>
                    <a:gd name="connsiteY2" fmla="*/ 7973 h 18398"/>
                    <a:gd name="connsiteX3" fmla="*/ 7973 w 18339"/>
                    <a:gd name="connsiteY3" fmla="*/ 18320 h 18398"/>
                    <a:gd name="connsiteX4" fmla="*/ 18260 w 18339"/>
                    <a:gd name="connsiteY4" fmla="*/ 1042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8260" y="10425"/>
                      </a:moveTo>
                      <a:cubicBezTo>
                        <a:pt x="18918" y="5402"/>
                        <a:pt x="15390" y="737"/>
                        <a:pt x="10366" y="79"/>
                      </a:cubicBezTo>
                      <a:cubicBezTo>
                        <a:pt x="5342" y="-579"/>
                        <a:pt x="737" y="2950"/>
                        <a:pt x="79" y="7973"/>
                      </a:cubicBezTo>
                      <a:cubicBezTo>
                        <a:pt x="-579" y="12997"/>
                        <a:pt x="2950" y="17662"/>
                        <a:pt x="7973" y="18320"/>
                      </a:cubicBezTo>
                      <a:cubicBezTo>
                        <a:pt x="12997" y="18978"/>
                        <a:pt x="17602" y="15449"/>
                        <a:pt x="18260" y="10425"/>
                      </a:cubicBezTo>
                      <a:close/>
                    </a:path>
                  </a:pathLst>
                </a:custGeom>
                <a:grpFill/>
                <a:ln w="5978" cap="flat">
                  <a:noFill/>
                  <a:prstDash val="solid"/>
                  <a:miter/>
                </a:ln>
              </p:spPr>
              <p:txBody>
                <a:bodyPr rtlCol="0" anchor="ctr"/>
                <a:lstStyle/>
                <a:p>
                  <a:endParaRPr lang="en-GB"/>
                </a:p>
              </p:txBody>
            </p:sp>
          </p:grpSp>
          <p:grpSp>
            <p:nvGrpSpPr>
              <p:cNvPr id="917" name="Graphic 3">
                <a:extLst>
                  <a:ext uri="{FF2B5EF4-FFF2-40B4-BE49-F238E27FC236}">
                    <a16:creationId xmlns:a16="http://schemas.microsoft.com/office/drawing/2014/main" id="{6DE28DA6-F919-4ACA-BA90-AA809EF05691}"/>
                  </a:ext>
                </a:extLst>
              </p:cNvPr>
              <p:cNvGrpSpPr/>
              <p:nvPr/>
            </p:nvGrpSpPr>
            <p:grpSpPr>
              <a:xfrm>
                <a:off x="4416801" y="2065629"/>
                <a:ext cx="318577" cy="304865"/>
                <a:chOff x="4416801" y="2065629"/>
                <a:chExt cx="318577" cy="304865"/>
              </a:xfrm>
              <a:grpFill/>
            </p:grpSpPr>
            <p:sp>
              <p:nvSpPr>
                <p:cNvPr id="2647" name="Vrije vorm: vorm 2646">
                  <a:extLst>
                    <a:ext uri="{FF2B5EF4-FFF2-40B4-BE49-F238E27FC236}">
                      <a16:creationId xmlns:a16="http://schemas.microsoft.com/office/drawing/2014/main" id="{79F63A8C-4864-4EFA-80B5-844FA3C7B08D}"/>
                    </a:ext>
                  </a:extLst>
                </p:cNvPr>
                <p:cNvSpPr/>
                <p:nvPr/>
              </p:nvSpPr>
              <p:spPr>
                <a:xfrm>
                  <a:off x="4424617" y="2073377"/>
                  <a:ext cx="302983" cy="289347"/>
                </a:xfrm>
                <a:custGeom>
                  <a:avLst/>
                  <a:gdLst>
                    <a:gd name="connsiteX0" fmla="*/ 302984 w 302983"/>
                    <a:gd name="connsiteY0" fmla="*/ 287075 h 289347"/>
                    <a:gd name="connsiteX1" fmla="*/ 300890 w 302983"/>
                    <a:gd name="connsiteY1" fmla="*/ 289347 h 289347"/>
                    <a:gd name="connsiteX2" fmla="*/ 0 w 302983"/>
                    <a:gd name="connsiteY2" fmla="*/ 2213 h 289347"/>
                    <a:gd name="connsiteX3" fmla="*/ 2093 w 302983"/>
                    <a:gd name="connsiteY3" fmla="*/ 0 h 289347"/>
                  </a:gdLst>
                  <a:ahLst/>
                  <a:cxnLst>
                    <a:cxn ang="0">
                      <a:pos x="connsiteX0" y="connsiteY0"/>
                    </a:cxn>
                    <a:cxn ang="0">
                      <a:pos x="connsiteX1" y="connsiteY1"/>
                    </a:cxn>
                    <a:cxn ang="0">
                      <a:pos x="connsiteX2" y="connsiteY2"/>
                    </a:cxn>
                    <a:cxn ang="0">
                      <a:pos x="connsiteX3" y="connsiteY3"/>
                    </a:cxn>
                  </a:cxnLst>
                  <a:rect l="l" t="t" r="r" b="b"/>
                  <a:pathLst>
                    <a:path w="302983" h="289347">
                      <a:moveTo>
                        <a:pt x="302984" y="287075"/>
                      </a:moveTo>
                      <a:lnTo>
                        <a:pt x="300890" y="289347"/>
                      </a:lnTo>
                      <a:lnTo>
                        <a:pt x="0" y="2213"/>
                      </a:lnTo>
                      <a:lnTo>
                        <a:pt x="2093" y="0"/>
                      </a:lnTo>
                      <a:close/>
                    </a:path>
                  </a:pathLst>
                </a:custGeom>
                <a:grpFill/>
                <a:ln w="5978" cap="flat">
                  <a:noFill/>
                  <a:prstDash val="solid"/>
                  <a:miter/>
                </a:ln>
              </p:spPr>
              <p:txBody>
                <a:bodyPr rtlCol="0" anchor="ctr"/>
                <a:lstStyle/>
                <a:p>
                  <a:endParaRPr lang="en-GB"/>
                </a:p>
              </p:txBody>
            </p:sp>
            <p:sp>
              <p:nvSpPr>
                <p:cNvPr id="2648" name="Vrije vorm: vorm 2647">
                  <a:extLst>
                    <a:ext uri="{FF2B5EF4-FFF2-40B4-BE49-F238E27FC236}">
                      <a16:creationId xmlns:a16="http://schemas.microsoft.com/office/drawing/2014/main" id="{6DC6224B-FDF4-4662-8A30-B443A71A1ED2}"/>
                    </a:ext>
                  </a:extLst>
                </p:cNvPr>
                <p:cNvSpPr/>
                <p:nvPr/>
              </p:nvSpPr>
              <p:spPr>
                <a:xfrm>
                  <a:off x="4717012" y="2352046"/>
                  <a:ext cx="18366" cy="18448"/>
                </a:xfrm>
                <a:custGeom>
                  <a:avLst/>
                  <a:gdLst>
                    <a:gd name="connsiteX0" fmla="*/ 15493 w 18366"/>
                    <a:gd name="connsiteY0" fmla="*/ 2545 h 18448"/>
                    <a:gd name="connsiteX1" fmla="*/ 15852 w 18366"/>
                    <a:gd name="connsiteY1" fmla="*/ 15583 h 18448"/>
                    <a:gd name="connsiteX2" fmla="*/ 2874 w 18366"/>
                    <a:gd name="connsiteY2" fmla="*/ 15882 h 18448"/>
                    <a:gd name="connsiteX3" fmla="*/ 2515 w 18366"/>
                    <a:gd name="connsiteY3" fmla="*/ 2844 h 18448"/>
                    <a:gd name="connsiteX4" fmla="*/ 15493 w 18366"/>
                    <a:gd name="connsiteY4" fmla="*/ 2545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48">
                      <a:moveTo>
                        <a:pt x="15493" y="2545"/>
                      </a:moveTo>
                      <a:cubicBezTo>
                        <a:pt x="19201" y="6074"/>
                        <a:pt x="19321" y="11875"/>
                        <a:pt x="15852" y="15583"/>
                      </a:cubicBezTo>
                      <a:cubicBezTo>
                        <a:pt x="12383" y="19291"/>
                        <a:pt x="6582" y="19410"/>
                        <a:pt x="2874" y="15882"/>
                      </a:cubicBezTo>
                      <a:cubicBezTo>
                        <a:pt x="-834" y="12353"/>
                        <a:pt x="-954" y="6552"/>
                        <a:pt x="2515" y="2844"/>
                      </a:cubicBezTo>
                      <a:cubicBezTo>
                        <a:pt x="5984" y="-804"/>
                        <a:pt x="11785" y="-984"/>
                        <a:pt x="15493" y="2545"/>
                      </a:cubicBezTo>
                      <a:close/>
                    </a:path>
                  </a:pathLst>
                </a:custGeom>
                <a:grpFill/>
                <a:ln w="5978" cap="flat">
                  <a:noFill/>
                  <a:prstDash val="solid"/>
                  <a:miter/>
                </a:ln>
              </p:spPr>
              <p:txBody>
                <a:bodyPr rtlCol="0" anchor="ctr"/>
                <a:lstStyle/>
                <a:p>
                  <a:endParaRPr lang="en-GB"/>
                </a:p>
              </p:txBody>
            </p:sp>
            <p:sp>
              <p:nvSpPr>
                <p:cNvPr id="2649" name="Vrije vorm: vorm 2648">
                  <a:extLst>
                    <a:ext uri="{FF2B5EF4-FFF2-40B4-BE49-F238E27FC236}">
                      <a16:creationId xmlns:a16="http://schemas.microsoft.com/office/drawing/2014/main" id="{F0FBEDC1-25F1-4545-ABCB-867FF2AA734F}"/>
                    </a:ext>
                  </a:extLst>
                </p:cNvPr>
                <p:cNvSpPr/>
                <p:nvPr/>
              </p:nvSpPr>
              <p:spPr>
                <a:xfrm>
                  <a:off x="4416801" y="2065629"/>
                  <a:ext cx="18368" cy="18426"/>
                </a:xfrm>
                <a:custGeom>
                  <a:avLst/>
                  <a:gdLst>
                    <a:gd name="connsiteX0" fmla="*/ 15472 w 18368"/>
                    <a:gd name="connsiteY0" fmla="*/ 2545 h 18426"/>
                    <a:gd name="connsiteX1" fmla="*/ 2493 w 18368"/>
                    <a:gd name="connsiteY1" fmla="*/ 2844 h 18426"/>
                    <a:gd name="connsiteX2" fmla="*/ 2852 w 18368"/>
                    <a:gd name="connsiteY2" fmla="*/ 15882 h 18426"/>
                    <a:gd name="connsiteX3" fmla="*/ 15830 w 18368"/>
                    <a:gd name="connsiteY3" fmla="*/ 15583 h 18426"/>
                    <a:gd name="connsiteX4" fmla="*/ 15472 w 18368"/>
                    <a:gd name="connsiteY4" fmla="*/ 254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6">
                      <a:moveTo>
                        <a:pt x="15472" y="2545"/>
                      </a:moveTo>
                      <a:cubicBezTo>
                        <a:pt x="11823" y="-984"/>
                        <a:pt x="5962" y="-804"/>
                        <a:pt x="2493" y="2844"/>
                      </a:cubicBezTo>
                      <a:cubicBezTo>
                        <a:pt x="-975" y="6552"/>
                        <a:pt x="-796" y="12353"/>
                        <a:pt x="2852" y="15882"/>
                      </a:cubicBezTo>
                      <a:cubicBezTo>
                        <a:pt x="6560" y="19410"/>
                        <a:pt x="12361" y="19231"/>
                        <a:pt x="15830" y="15583"/>
                      </a:cubicBezTo>
                      <a:cubicBezTo>
                        <a:pt x="19359" y="11875"/>
                        <a:pt x="19180" y="6014"/>
                        <a:pt x="15472" y="2545"/>
                      </a:cubicBezTo>
                      <a:close/>
                    </a:path>
                  </a:pathLst>
                </a:custGeom>
                <a:grpFill/>
                <a:ln w="5978" cap="flat">
                  <a:noFill/>
                  <a:prstDash val="solid"/>
                  <a:miter/>
                </a:ln>
              </p:spPr>
              <p:txBody>
                <a:bodyPr rtlCol="0" anchor="ctr"/>
                <a:lstStyle/>
                <a:p>
                  <a:endParaRPr lang="en-GB"/>
                </a:p>
              </p:txBody>
            </p:sp>
          </p:grpSp>
          <p:grpSp>
            <p:nvGrpSpPr>
              <p:cNvPr id="918" name="Graphic 3">
                <a:extLst>
                  <a:ext uri="{FF2B5EF4-FFF2-40B4-BE49-F238E27FC236}">
                    <a16:creationId xmlns:a16="http://schemas.microsoft.com/office/drawing/2014/main" id="{E391D061-FD7E-43B5-9C82-57B0ABB3F3D7}"/>
                  </a:ext>
                </a:extLst>
              </p:cNvPr>
              <p:cNvGrpSpPr/>
              <p:nvPr/>
            </p:nvGrpSpPr>
            <p:grpSpPr>
              <a:xfrm>
                <a:off x="4521044" y="2197566"/>
                <a:ext cx="136384" cy="112139"/>
                <a:chOff x="4521044" y="2197566"/>
                <a:chExt cx="136384" cy="112139"/>
              </a:xfrm>
              <a:grpFill/>
            </p:grpSpPr>
            <p:sp>
              <p:nvSpPr>
                <p:cNvPr id="2644" name="Vrije vorm: vorm 2643">
                  <a:extLst>
                    <a:ext uri="{FF2B5EF4-FFF2-40B4-BE49-F238E27FC236}">
                      <a16:creationId xmlns:a16="http://schemas.microsoft.com/office/drawing/2014/main" id="{0CD1E776-5EC2-4171-8966-0B18D202A0E0}"/>
                    </a:ext>
                  </a:extLst>
                </p:cNvPr>
                <p:cNvSpPr/>
                <p:nvPr/>
              </p:nvSpPr>
              <p:spPr>
                <a:xfrm>
                  <a:off x="4528921" y="2205312"/>
                  <a:ext cx="120631" cy="96648"/>
                </a:xfrm>
                <a:custGeom>
                  <a:avLst/>
                  <a:gdLst>
                    <a:gd name="connsiteX0" fmla="*/ 120631 w 120631"/>
                    <a:gd name="connsiteY0" fmla="*/ 94256 h 96648"/>
                    <a:gd name="connsiteX1" fmla="*/ 118777 w 120631"/>
                    <a:gd name="connsiteY1" fmla="*/ 96648 h 96648"/>
                    <a:gd name="connsiteX2" fmla="*/ 0 w 120631"/>
                    <a:gd name="connsiteY2" fmla="*/ 2392 h 96648"/>
                    <a:gd name="connsiteX3" fmla="*/ 1854 w 120631"/>
                    <a:gd name="connsiteY3" fmla="*/ 0 h 96648"/>
                  </a:gdLst>
                  <a:ahLst/>
                  <a:cxnLst>
                    <a:cxn ang="0">
                      <a:pos x="connsiteX0" y="connsiteY0"/>
                    </a:cxn>
                    <a:cxn ang="0">
                      <a:pos x="connsiteX1" y="connsiteY1"/>
                    </a:cxn>
                    <a:cxn ang="0">
                      <a:pos x="connsiteX2" y="connsiteY2"/>
                    </a:cxn>
                    <a:cxn ang="0">
                      <a:pos x="connsiteX3" y="connsiteY3"/>
                    </a:cxn>
                  </a:cxnLst>
                  <a:rect l="l" t="t" r="r" b="b"/>
                  <a:pathLst>
                    <a:path w="120631" h="96648">
                      <a:moveTo>
                        <a:pt x="120631" y="94256"/>
                      </a:moveTo>
                      <a:lnTo>
                        <a:pt x="118777" y="96648"/>
                      </a:lnTo>
                      <a:lnTo>
                        <a:pt x="0" y="2392"/>
                      </a:lnTo>
                      <a:lnTo>
                        <a:pt x="1854" y="0"/>
                      </a:lnTo>
                      <a:close/>
                    </a:path>
                  </a:pathLst>
                </a:custGeom>
                <a:grpFill/>
                <a:ln w="5978" cap="flat">
                  <a:noFill/>
                  <a:prstDash val="solid"/>
                  <a:miter/>
                </a:ln>
              </p:spPr>
              <p:txBody>
                <a:bodyPr rtlCol="0" anchor="ctr"/>
                <a:lstStyle/>
                <a:p>
                  <a:endParaRPr lang="en-GB"/>
                </a:p>
              </p:txBody>
            </p:sp>
            <p:sp>
              <p:nvSpPr>
                <p:cNvPr id="2645" name="Vrije vorm: vorm 2644">
                  <a:extLst>
                    <a:ext uri="{FF2B5EF4-FFF2-40B4-BE49-F238E27FC236}">
                      <a16:creationId xmlns:a16="http://schemas.microsoft.com/office/drawing/2014/main" id="{B13ABD8D-76A5-45CD-BE50-D679D016A474}"/>
                    </a:ext>
                  </a:extLst>
                </p:cNvPr>
                <p:cNvSpPr/>
                <p:nvPr/>
              </p:nvSpPr>
              <p:spPr>
                <a:xfrm>
                  <a:off x="4521044" y="2197566"/>
                  <a:ext cx="18324" cy="18421"/>
                </a:xfrm>
                <a:custGeom>
                  <a:avLst/>
                  <a:gdLst>
                    <a:gd name="connsiteX0" fmla="*/ 3511 w 18324"/>
                    <a:gd name="connsiteY0" fmla="*/ 16418 h 18421"/>
                    <a:gd name="connsiteX1" fmla="*/ 1956 w 18324"/>
                    <a:gd name="connsiteY1" fmla="*/ 3499 h 18421"/>
                    <a:gd name="connsiteX2" fmla="*/ 14814 w 18324"/>
                    <a:gd name="connsiteY2" fmla="*/ 2004 h 18421"/>
                    <a:gd name="connsiteX3" fmla="*/ 16369 w 18324"/>
                    <a:gd name="connsiteY3" fmla="*/ 14922 h 18421"/>
                    <a:gd name="connsiteX4" fmla="*/ 3511 w 18324"/>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1">
                      <a:moveTo>
                        <a:pt x="3511" y="16418"/>
                      </a:moveTo>
                      <a:cubicBezTo>
                        <a:pt x="-496" y="13248"/>
                        <a:pt x="-1154" y="7446"/>
                        <a:pt x="1956" y="3499"/>
                      </a:cubicBezTo>
                      <a:cubicBezTo>
                        <a:pt x="5066" y="-508"/>
                        <a:pt x="10867" y="-1166"/>
                        <a:pt x="14814" y="2004"/>
                      </a:cubicBezTo>
                      <a:cubicBezTo>
                        <a:pt x="18821" y="5174"/>
                        <a:pt x="19479" y="10975"/>
                        <a:pt x="16369" y="14922"/>
                      </a:cubicBezTo>
                      <a:cubicBezTo>
                        <a:pt x="13259" y="18930"/>
                        <a:pt x="7518" y="19587"/>
                        <a:pt x="3511" y="16418"/>
                      </a:cubicBezTo>
                      <a:close/>
                    </a:path>
                  </a:pathLst>
                </a:custGeom>
                <a:grpFill/>
                <a:ln w="5978" cap="flat">
                  <a:noFill/>
                  <a:prstDash val="solid"/>
                  <a:miter/>
                </a:ln>
              </p:spPr>
              <p:txBody>
                <a:bodyPr rtlCol="0" anchor="ctr"/>
                <a:lstStyle/>
                <a:p>
                  <a:endParaRPr lang="en-GB"/>
                </a:p>
              </p:txBody>
            </p:sp>
            <p:sp>
              <p:nvSpPr>
                <p:cNvPr id="2646" name="Vrije vorm: vorm 2645">
                  <a:extLst>
                    <a:ext uri="{FF2B5EF4-FFF2-40B4-BE49-F238E27FC236}">
                      <a16:creationId xmlns:a16="http://schemas.microsoft.com/office/drawing/2014/main" id="{D665D555-9682-461B-8D58-274725E3BADB}"/>
                    </a:ext>
                  </a:extLst>
                </p:cNvPr>
                <p:cNvSpPr/>
                <p:nvPr/>
              </p:nvSpPr>
              <p:spPr>
                <a:xfrm>
                  <a:off x="4639104" y="2291284"/>
                  <a:ext cx="18324" cy="18421"/>
                </a:xfrm>
                <a:custGeom>
                  <a:avLst/>
                  <a:gdLst>
                    <a:gd name="connsiteX0" fmla="*/ 3511 w 18324"/>
                    <a:gd name="connsiteY0" fmla="*/ 16418 h 18421"/>
                    <a:gd name="connsiteX1" fmla="*/ 16369 w 18324"/>
                    <a:gd name="connsiteY1" fmla="*/ 14922 h 18421"/>
                    <a:gd name="connsiteX2" fmla="*/ 14814 w 18324"/>
                    <a:gd name="connsiteY2" fmla="*/ 2004 h 18421"/>
                    <a:gd name="connsiteX3" fmla="*/ 1956 w 18324"/>
                    <a:gd name="connsiteY3" fmla="*/ 3499 h 18421"/>
                    <a:gd name="connsiteX4" fmla="*/ 3511 w 18324"/>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1">
                      <a:moveTo>
                        <a:pt x="3511" y="16418"/>
                      </a:moveTo>
                      <a:cubicBezTo>
                        <a:pt x="7518" y="19587"/>
                        <a:pt x="13259" y="18930"/>
                        <a:pt x="16369" y="14922"/>
                      </a:cubicBezTo>
                      <a:cubicBezTo>
                        <a:pt x="19479" y="10915"/>
                        <a:pt x="18821" y="5114"/>
                        <a:pt x="14814" y="2004"/>
                      </a:cubicBezTo>
                      <a:cubicBezTo>
                        <a:pt x="10807" y="-1166"/>
                        <a:pt x="5066" y="-508"/>
                        <a:pt x="1956" y="3499"/>
                      </a:cubicBezTo>
                      <a:cubicBezTo>
                        <a:pt x="-1154" y="7447"/>
                        <a:pt x="-496" y="13248"/>
                        <a:pt x="3511" y="16418"/>
                      </a:cubicBezTo>
                      <a:close/>
                    </a:path>
                  </a:pathLst>
                </a:custGeom>
                <a:grpFill/>
                <a:ln w="5978" cap="flat">
                  <a:noFill/>
                  <a:prstDash val="solid"/>
                  <a:miter/>
                </a:ln>
              </p:spPr>
              <p:txBody>
                <a:bodyPr rtlCol="0" anchor="ctr"/>
                <a:lstStyle/>
                <a:p>
                  <a:endParaRPr lang="en-GB"/>
                </a:p>
              </p:txBody>
            </p:sp>
          </p:grpSp>
          <p:grpSp>
            <p:nvGrpSpPr>
              <p:cNvPr id="919" name="Graphic 3">
                <a:extLst>
                  <a:ext uri="{FF2B5EF4-FFF2-40B4-BE49-F238E27FC236}">
                    <a16:creationId xmlns:a16="http://schemas.microsoft.com/office/drawing/2014/main" id="{287699D2-860F-4806-856C-F920CC164BF6}"/>
                  </a:ext>
                </a:extLst>
              </p:cNvPr>
              <p:cNvGrpSpPr/>
              <p:nvPr/>
            </p:nvGrpSpPr>
            <p:grpSpPr>
              <a:xfrm>
                <a:off x="5559942" y="5163775"/>
                <a:ext cx="38527" cy="94615"/>
                <a:chOff x="5559942" y="5163775"/>
                <a:chExt cx="38527" cy="94615"/>
              </a:xfrm>
              <a:grpFill/>
            </p:grpSpPr>
            <p:sp>
              <p:nvSpPr>
                <p:cNvPr id="2641" name="Vrije vorm: vorm 2640">
                  <a:extLst>
                    <a:ext uri="{FF2B5EF4-FFF2-40B4-BE49-F238E27FC236}">
                      <a16:creationId xmlns:a16="http://schemas.microsoft.com/office/drawing/2014/main" id="{0451C153-2C58-4B63-8F5E-87254B6C6D48}"/>
                    </a:ext>
                  </a:extLst>
                </p:cNvPr>
                <p:cNvSpPr/>
                <p:nvPr/>
              </p:nvSpPr>
              <p:spPr>
                <a:xfrm>
                  <a:off x="5567533" y="5172168"/>
                  <a:ext cx="23384" cy="77869"/>
                </a:xfrm>
                <a:custGeom>
                  <a:avLst/>
                  <a:gdLst>
                    <a:gd name="connsiteX0" fmla="*/ 23384 w 23384"/>
                    <a:gd name="connsiteY0" fmla="*/ 778 h 77869"/>
                    <a:gd name="connsiteX1" fmla="*/ 2930 w 23384"/>
                    <a:gd name="connsiteY1" fmla="*/ 77869 h 77869"/>
                    <a:gd name="connsiteX2" fmla="*/ 0 w 23384"/>
                    <a:gd name="connsiteY2" fmla="*/ 77092 h 77869"/>
                    <a:gd name="connsiteX3" fmla="*/ 20394 w 23384"/>
                    <a:gd name="connsiteY3" fmla="*/ 0 h 77869"/>
                  </a:gdLst>
                  <a:ahLst/>
                  <a:cxnLst>
                    <a:cxn ang="0">
                      <a:pos x="connsiteX0" y="connsiteY0"/>
                    </a:cxn>
                    <a:cxn ang="0">
                      <a:pos x="connsiteX1" y="connsiteY1"/>
                    </a:cxn>
                    <a:cxn ang="0">
                      <a:pos x="connsiteX2" y="connsiteY2"/>
                    </a:cxn>
                    <a:cxn ang="0">
                      <a:pos x="connsiteX3" y="connsiteY3"/>
                    </a:cxn>
                  </a:cxnLst>
                  <a:rect l="l" t="t" r="r" b="b"/>
                  <a:pathLst>
                    <a:path w="23384" h="77869">
                      <a:moveTo>
                        <a:pt x="23384" y="778"/>
                      </a:moveTo>
                      <a:lnTo>
                        <a:pt x="2930" y="77869"/>
                      </a:lnTo>
                      <a:lnTo>
                        <a:pt x="0" y="77092"/>
                      </a:lnTo>
                      <a:lnTo>
                        <a:pt x="20394" y="0"/>
                      </a:lnTo>
                      <a:close/>
                    </a:path>
                  </a:pathLst>
                </a:custGeom>
                <a:grpFill/>
                <a:ln w="5978" cap="flat">
                  <a:noFill/>
                  <a:prstDash val="solid"/>
                  <a:miter/>
                </a:ln>
              </p:spPr>
              <p:txBody>
                <a:bodyPr rtlCol="0" anchor="ctr"/>
                <a:lstStyle/>
                <a:p>
                  <a:endParaRPr lang="en-GB"/>
                </a:p>
              </p:txBody>
            </p:sp>
            <p:sp>
              <p:nvSpPr>
                <p:cNvPr id="2642" name="Vrije vorm: vorm 2641">
                  <a:extLst>
                    <a:ext uri="{FF2B5EF4-FFF2-40B4-BE49-F238E27FC236}">
                      <a16:creationId xmlns:a16="http://schemas.microsoft.com/office/drawing/2014/main" id="{CA9F7936-F62C-47C9-B76F-58B9C73F8D04}"/>
                    </a:ext>
                  </a:extLst>
                </p:cNvPr>
                <p:cNvSpPr/>
                <p:nvPr/>
              </p:nvSpPr>
              <p:spPr>
                <a:xfrm>
                  <a:off x="5559942" y="5239949"/>
                  <a:ext cx="18312" cy="18442"/>
                </a:xfrm>
                <a:custGeom>
                  <a:avLst/>
                  <a:gdLst>
                    <a:gd name="connsiteX0" fmla="*/ 17998 w 18312"/>
                    <a:gd name="connsiteY0" fmla="*/ 11643 h 18442"/>
                    <a:gd name="connsiteX1" fmla="*/ 6814 w 18312"/>
                    <a:gd name="connsiteY1" fmla="*/ 18103 h 18442"/>
                    <a:gd name="connsiteX2" fmla="*/ 294 w 18312"/>
                    <a:gd name="connsiteY2" fmla="*/ 6799 h 18442"/>
                    <a:gd name="connsiteX3" fmla="*/ 11538 w 18312"/>
                    <a:gd name="connsiteY3" fmla="*/ 340 h 18442"/>
                    <a:gd name="connsiteX4" fmla="*/ 17998 w 18312"/>
                    <a:gd name="connsiteY4" fmla="*/ 1164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2">
                      <a:moveTo>
                        <a:pt x="17998" y="11643"/>
                      </a:moveTo>
                      <a:cubicBezTo>
                        <a:pt x="16682" y="16548"/>
                        <a:pt x="11658" y="19478"/>
                        <a:pt x="6814" y="18103"/>
                      </a:cubicBezTo>
                      <a:cubicBezTo>
                        <a:pt x="1909" y="16787"/>
                        <a:pt x="-961" y="11703"/>
                        <a:pt x="294" y="6799"/>
                      </a:cubicBezTo>
                      <a:cubicBezTo>
                        <a:pt x="1610" y="1895"/>
                        <a:pt x="6634" y="-1036"/>
                        <a:pt x="11538" y="340"/>
                      </a:cubicBezTo>
                      <a:cubicBezTo>
                        <a:pt x="16383" y="1656"/>
                        <a:pt x="19313" y="6739"/>
                        <a:pt x="17998" y="11643"/>
                      </a:cubicBezTo>
                      <a:close/>
                    </a:path>
                  </a:pathLst>
                </a:custGeom>
                <a:grpFill/>
                <a:ln w="5978" cap="flat">
                  <a:noFill/>
                  <a:prstDash val="solid"/>
                  <a:miter/>
                </a:ln>
              </p:spPr>
              <p:txBody>
                <a:bodyPr rtlCol="0" anchor="ctr"/>
                <a:lstStyle/>
                <a:p>
                  <a:endParaRPr lang="en-GB"/>
                </a:p>
              </p:txBody>
            </p:sp>
            <p:sp>
              <p:nvSpPr>
                <p:cNvPr id="2643" name="Vrije vorm: vorm 2642">
                  <a:extLst>
                    <a:ext uri="{FF2B5EF4-FFF2-40B4-BE49-F238E27FC236}">
                      <a16:creationId xmlns:a16="http://schemas.microsoft.com/office/drawing/2014/main" id="{4F8E7223-44DA-4849-A4B5-1135DB974286}"/>
                    </a:ext>
                  </a:extLst>
                </p:cNvPr>
                <p:cNvSpPr/>
                <p:nvPr/>
              </p:nvSpPr>
              <p:spPr>
                <a:xfrm>
                  <a:off x="5580077" y="5163775"/>
                  <a:ext cx="18392" cy="18421"/>
                </a:xfrm>
                <a:custGeom>
                  <a:avLst/>
                  <a:gdLst>
                    <a:gd name="connsiteX0" fmla="*/ 18078 w 18392"/>
                    <a:gd name="connsiteY0" fmla="*/ 11623 h 18421"/>
                    <a:gd name="connsiteX1" fmla="*/ 11559 w 18392"/>
                    <a:gd name="connsiteY1" fmla="*/ 319 h 18421"/>
                    <a:gd name="connsiteX2" fmla="*/ 315 w 18392"/>
                    <a:gd name="connsiteY2" fmla="*/ 6778 h 18421"/>
                    <a:gd name="connsiteX3" fmla="*/ 6834 w 18392"/>
                    <a:gd name="connsiteY3" fmla="*/ 18082 h 18421"/>
                    <a:gd name="connsiteX4" fmla="*/ 18078 w 18392"/>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21">
                      <a:moveTo>
                        <a:pt x="18078" y="11623"/>
                      </a:moveTo>
                      <a:cubicBezTo>
                        <a:pt x="19393" y="6718"/>
                        <a:pt x="16463" y="1635"/>
                        <a:pt x="11559" y="319"/>
                      </a:cubicBezTo>
                      <a:cubicBezTo>
                        <a:pt x="6654" y="-997"/>
                        <a:pt x="1631" y="1874"/>
                        <a:pt x="315" y="6778"/>
                      </a:cubicBezTo>
                      <a:cubicBezTo>
                        <a:pt x="-1001" y="11683"/>
                        <a:pt x="1930" y="16766"/>
                        <a:pt x="6834" y="18082"/>
                      </a:cubicBezTo>
                      <a:cubicBezTo>
                        <a:pt x="11738" y="19457"/>
                        <a:pt x="16762" y="16527"/>
                        <a:pt x="18078" y="11623"/>
                      </a:cubicBezTo>
                      <a:close/>
                    </a:path>
                  </a:pathLst>
                </a:custGeom>
                <a:grpFill/>
                <a:ln w="5978" cap="flat">
                  <a:noFill/>
                  <a:prstDash val="solid"/>
                  <a:miter/>
                </a:ln>
              </p:spPr>
              <p:txBody>
                <a:bodyPr rtlCol="0" anchor="ctr"/>
                <a:lstStyle/>
                <a:p>
                  <a:endParaRPr lang="en-GB"/>
                </a:p>
              </p:txBody>
            </p:sp>
          </p:grpSp>
          <p:grpSp>
            <p:nvGrpSpPr>
              <p:cNvPr id="920" name="Graphic 3">
                <a:extLst>
                  <a:ext uri="{FF2B5EF4-FFF2-40B4-BE49-F238E27FC236}">
                    <a16:creationId xmlns:a16="http://schemas.microsoft.com/office/drawing/2014/main" id="{F2461524-7185-4ECB-982E-2C1EFCBCF6B6}"/>
                  </a:ext>
                </a:extLst>
              </p:cNvPr>
              <p:cNvGrpSpPr/>
              <p:nvPr/>
            </p:nvGrpSpPr>
            <p:grpSpPr>
              <a:xfrm>
                <a:off x="5514683" y="5046652"/>
                <a:ext cx="146429" cy="385125"/>
                <a:chOff x="5514683" y="5046652"/>
                <a:chExt cx="146429" cy="385125"/>
              </a:xfrm>
              <a:grpFill/>
            </p:grpSpPr>
            <p:sp>
              <p:nvSpPr>
                <p:cNvPr id="2638" name="Vrije vorm: vorm 2637">
                  <a:extLst>
                    <a:ext uri="{FF2B5EF4-FFF2-40B4-BE49-F238E27FC236}">
                      <a16:creationId xmlns:a16="http://schemas.microsoft.com/office/drawing/2014/main" id="{445EF8A5-9B1E-4927-A545-FAE127625E6B}"/>
                    </a:ext>
                  </a:extLst>
                </p:cNvPr>
                <p:cNvSpPr/>
                <p:nvPr/>
              </p:nvSpPr>
              <p:spPr>
                <a:xfrm>
                  <a:off x="5522259" y="5054886"/>
                  <a:ext cx="131276" cy="368591"/>
                </a:xfrm>
                <a:custGeom>
                  <a:avLst/>
                  <a:gdLst>
                    <a:gd name="connsiteX0" fmla="*/ 131277 w 131276"/>
                    <a:gd name="connsiteY0" fmla="*/ 1017 h 368591"/>
                    <a:gd name="connsiteX1" fmla="*/ 2871 w 131276"/>
                    <a:gd name="connsiteY1" fmla="*/ 368592 h 368591"/>
                    <a:gd name="connsiteX2" fmla="*/ 0 w 131276"/>
                    <a:gd name="connsiteY2" fmla="*/ 367575 h 368591"/>
                    <a:gd name="connsiteX3" fmla="*/ 128406 w 131276"/>
                    <a:gd name="connsiteY3" fmla="*/ 0 h 368591"/>
                  </a:gdLst>
                  <a:ahLst/>
                  <a:cxnLst>
                    <a:cxn ang="0">
                      <a:pos x="connsiteX0" y="connsiteY0"/>
                    </a:cxn>
                    <a:cxn ang="0">
                      <a:pos x="connsiteX1" y="connsiteY1"/>
                    </a:cxn>
                    <a:cxn ang="0">
                      <a:pos x="connsiteX2" y="connsiteY2"/>
                    </a:cxn>
                    <a:cxn ang="0">
                      <a:pos x="connsiteX3" y="connsiteY3"/>
                    </a:cxn>
                  </a:cxnLst>
                  <a:rect l="l" t="t" r="r" b="b"/>
                  <a:pathLst>
                    <a:path w="131276" h="368591">
                      <a:moveTo>
                        <a:pt x="131277" y="1017"/>
                      </a:moveTo>
                      <a:lnTo>
                        <a:pt x="2871" y="368592"/>
                      </a:lnTo>
                      <a:lnTo>
                        <a:pt x="0" y="367575"/>
                      </a:lnTo>
                      <a:lnTo>
                        <a:pt x="128406" y="0"/>
                      </a:lnTo>
                      <a:close/>
                    </a:path>
                  </a:pathLst>
                </a:custGeom>
                <a:grpFill/>
                <a:ln w="5978" cap="flat">
                  <a:noFill/>
                  <a:prstDash val="solid"/>
                  <a:miter/>
                </a:ln>
              </p:spPr>
              <p:txBody>
                <a:bodyPr rtlCol="0" anchor="ctr"/>
                <a:lstStyle/>
                <a:p>
                  <a:endParaRPr lang="en-GB"/>
                </a:p>
              </p:txBody>
            </p:sp>
            <p:sp>
              <p:nvSpPr>
                <p:cNvPr id="2639" name="Vrije vorm: vorm 2638">
                  <a:extLst>
                    <a:ext uri="{FF2B5EF4-FFF2-40B4-BE49-F238E27FC236}">
                      <a16:creationId xmlns:a16="http://schemas.microsoft.com/office/drawing/2014/main" id="{2463AD01-F6A3-419A-AE08-BC1A5079E06B}"/>
                    </a:ext>
                  </a:extLst>
                </p:cNvPr>
                <p:cNvSpPr/>
                <p:nvPr/>
              </p:nvSpPr>
              <p:spPr>
                <a:xfrm>
                  <a:off x="5642790" y="5046652"/>
                  <a:ext cx="18322" cy="18441"/>
                </a:xfrm>
                <a:custGeom>
                  <a:avLst/>
                  <a:gdLst>
                    <a:gd name="connsiteX0" fmla="*/ 519 w 18322"/>
                    <a:gd name="connsiteY0" fmla="*/ 6141 h 18441"/>
                    <a:gd name="connsiteX1" fmla="*/ 12181 w 18322"/>
                    <a:gd name="connsiteY1" fmla="*/ 519 h 18441"/>
                    <a:gd name="connsiteX2" fmla="*/ 17803 w 18322"/>
                    <a:gd name="connsiteY2" fmla="*/ 12301 h 18441"/>
                    <a:gd name="connsiteX3" fmla="*/ 6141 w 18322"/>
                    <a:gd name="connsiteY3" fmla="*/ 17923 h 18441"/>
                    <a:gd name="connsiteX4" fmla="*/ 519 w 18322"/>
                    <a:gd name="connsiteY4" fmla="*/ 614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41">
                      <a:moveTo>
                        <a:pt x="519" y="6141"/>
                      </a:moveTo>
                      <a:cubicBezTo>
                        <a:pt x="2193" y="1356"/>
                        <a:pt x="7397" y="-1156"/>
                        <a:pt x="12181" y="519"/>
                      </a:cubicBezTo>
                      <a:cubicBezTo>
                        <a:pt x="16966" y="2193"/>
                        <a:pt x="19478" y="7516"/>
                        <a:pt x="17803" y="12301"/>
                      </a:cubicBezTo>
                      <a:cubicBezTo>
                        <a:pt x="16129" y="17086"/>
                        <a:pt x="10925" y="19597"/>
                        <a:pt x="6141" y="17923"/>
                      </a:cubicBezTo>
                      <a:cubicBezTo>
                        <a:pt x="1356" y="16188"/>
                        <a:pt x="-1156" y="10925"/>
                        <a:pt x="519" y="6141"/>
                      </a:cubicBezTo>
                      <a:close/>
                    </a:path>
                  </a:pathLst>
                </a:custGeom>
                <a:grpFill/>
                <a:ln w="5978" cap="flat">
                  <a:noFill/>
                  <a:prstDash val="solid"/>
                  <a:miter/>
                </a:ln>
              </p:spPr>
              <p:txBody>
                <a:bodyPr rtlCol="0" anchor="ctr"/>
                <a:lstStyle/>
                <a:p>
                  <a:endParaRPr lang="en-GB"/>
                </a:p>
              </p:txBody>
            </p:sp>
            <p:sp>
              <p:nvSpPr>
                <p:cNvPr id="2640" name="Vrije vorm: vorm 2639">
                  <a:extLst>
                    <a:ext uri="{FF2B5EF4-FFF2-40B4-BE49-F238E27FC236}">
                      <a16:creationId xmlns:a16="http://schemas.microsoft.com/office/drawing/2014/main" id="{AD46421A-275C-45DD-888D-94B536BB8106}"/>
                    </a:ext>
                  </a:extLst>
                </p:cNvPr>
                <p:cNvSpPr/>
                <p:nvPr/>
              </p:nvSpPr>
              <p:spPr>
                <a:xfrm>
                  <a:off x="5514683" y="5413307"/>
                  <a:ext cx="18321" cy="18471"/>
                </a:xfrm>
                <a:custGeom>
                  <a:avLst/>
                  <a:gdLst>
                    <a:gd name="connsiteX0" fmla="*/ 519 w 18321"/>
                    <a:gd name="connsiteY0" fmla="*/ 6164 h 18471"/>
                    <a:gd name="connsiteX1" fmla="*/ 6141 w 18321"/>
                    <a:gd name="connsiteY1" fmla="*/ 17946 h 18471"/>
                    <a:gd name="connsiteX2" fmla="*/ 17803 w 18321"/>
                    <a:gd name="connsiteY2" fmla="*/ 12324 h 18471"/>
                    <a:gd name="connsiteX3" fmla="*/ 12181 w 18321"/>
                    <a:gd name="connsiteY3" fmla="*/ 542 h 18471"/>
                    <a:gd name="connsiteX4" fmla="*/ 519 w 18321"/>
                    <a:gd name="connsiteY4" fmla="*/ 6164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71">
                      <a:moveTo>
                        <a:pt x="519" y="6164"/>
                      </a:moveTo>
                      <a:cubicBezTo>
                        <a:pt x="-1156" y="10949"/>
                        <a:pt x="1356" y="16212"/>
                        <a:pt x="6141" y="17946"/>
                      </a:cubicBezTo>
                      <a:cubicBezTo>
                        <a:pt x="10925" y="19621"/>
                        <a:pt x="16129" y="17169"/>
                        <a:pt x="17803" y="12324"/>
                      </a:cubicBezTo>
                      <a:cubicBezTo>
                        <a:pt x="19478" y="7540"/>
                        <a:pt x="16966" y="2277"/>
                        <a:pt x="12181" y="542"/>
                      </a:cubicBezTo>
                      <a:cubicBezTo>
                        <a:pt x="7397" y="-1192"/>
                        <a:pt x="2193" y="1380"/>
                        <a:pt x="519" y="6164"/>
                      </a:cubicBezTo>
                      <a:close/>
                    </a:path>
                  </a:pathLst>
                </a:custGeom>
                <a:grpFill/>
                <a:ln w="5978" cap="flat">
                  <a:noFill/>
                  <a:prstDash val="solid"/>
                  <a:miter/>
                </a:ln>
              </p:spPr>
              <p:txBody>
                <a:bodyPr rtlCol="0" anchor="ctr"/>
                <a:lstStyle/>
                <a:p>
                  <a:endParaRPr lang="en-GB"/>
                </a:p>
              </p:txBody>
            </p:sp>
          </p:grpSp>
          <p:grpSp>
            <p:nvGrpSpPr>
              <p:cNvPr id="921" name="Graphic 3">
                <a:extLst>
                  <a:ext uri="{FF2B5EF4-FFF2-40B4-BE49-F238E27FC236}">
                    <a16:creationId xmlns:a16="http://schemas.microsoft.com/office/drawing/2014/main" id="{A715A699-6114-4873-B751-840CCA2B57A8}"/>
                  </a:ext>
                </a:extLst>
              </p:cNvPr>
              <p:cNvGrpSpPr/>
              <p:nvPr/>
            </p:nvGrpSpPr>
            <p:grpSpPr>
              <a:xfrm>
                <a:off x="5587054" y="5209014"/>
                <a:ext cx="70424" cy="249109"/>
                <a:chOff x="5587054" y="5209014"/>
                <a:chExt cx="70424" cy="249109"/>
              </a:xfrm>
              <a:grpFill/>
            </p:grpSpPr>
            <p:sp>
              <p:nvSpPr>
                <p:cNvPr id="2635" name="Vrije vorm: vorm 2634">
                  <a:extLst>
                    <a:ext uri="{FF2B5EF4-FFF2-40B4-BE49-F238E27FC236}">
                      <a16:creationId xmlns:a16="http://schemas.microsoft.com/office/drawing/2014/main" id="{4FA37F94-5B29-4FBF-A47C-C93F15F21AC3}"/>
                    </a:ext>
                  </a:extLst>
                </p:cNvPr>
                <p:cNvSpPr/>
                <p:nvPr/>
              </p:nvSpPr>
              <p:spPr>
                <a:xfrm>
                  <a:off x="5594626" y="5217442"/>
                  <a:ext cx="55261" cy="232291"/>
                </a:xfrm>
                <a:custGeom>
                  <a:avLst/>
                  <a:gdLst>
                    <a:gd name="connsiteX0" fmla="*/ 55262 w 55261"/>
                    <a:gd name="connsiteY0" fmla="*/ 718 h 232291"/>
                    <a:gd name="connsiteX1" fmla="*/ 2990 w 55261"/>
                    <a:gd name="connsiteY1" fmla="*/ 232291 h 232291"/>
                    <a:gd name="connsiteX2" fmla="*/ 0 w 55261"/>
                    <a:gd name="connsiteY2" fmla="*/ 231634 h 232291"/>
                    <a:gd name="connsiteX3" fmla="*/ 52331 w 55261"/>
                    <a:gd name="connsiteY3" fmla="*/ 0 h 232291"/>
                  </a:gdLst>
                  <a:ahLst/>
                  <a:cxnLst>
                    <a:cxn ang="0">
                      <a:pos x="connsiteX0" y="connsiteY0"/>
                    </a:cxn>
                    <a:cxn ang="0">
                      <a:pos x="connsiteX1" y="connsiteY1"/>
                    </a:cxn>
                    <a:cxn ang="0">
                      <a:pos x="connsiteX2" y="connsiteY2"/>
                    </a:cxn>
                    <a:cxn ang="0">
                      <a:pos x="connsiteX3" y="connsiteY3"/>
                    </a:cxn>
                  </a:cxnLst>
                  <a:rect l="l" t="t" r="r" b="b"/>
                  <a:pathLst>
                    <a:path w="55261" h="232291">
                      <a:moveTo>
                        <a:pt x="55262" y="718"/>
                      </a:moveTo>
                      <a:lnTo>
                        <a:pt x="2990" y="232291"/>
                      </a:lnTo>
                      <a:lnTo>
                        <a:pt x="0" y="231634"/>
                      </a:lnTo>
                      <a:lnTo>
                        <a:pt x="52331" y="0"/>
                      </a:lnTo>
                      <a:close/>
                    </a:path>
                  </a:pathLst>
                </a:custGeom>
                <a:grpFill/>
                <a:ln w="5978" cap="flat">
                  <a:noFill/>
                  <a:prstDash val="solid"/>
                  <a:miter/>
                </a:ln>
              </p:spPr>
              <p:txBody>
                <a:bodyPr rtlCol="0" anchor="ctr"/>
                <a:lstStyle/>
                <a:p>
                  <a:endParaRPr lang="en-GB"/>
                </a:p>
              </p:txBody>
            </p:sp>
            <p:sp>
              <p:nvSpPr>
                <p:cNvPr id="2636" name="Vrije vorm: vorm 2635">
                  <a:extLst>
                    <a:ext uri="{FF2B5EF4-FFF2-40B4-BE49-F238E27FC236}">
                      <a16:creationId xmlns:a16="http://schemas.microsoft.com/office/drawing/2014/main" id="{C51753A2-A04A-47F0-9646-EBA6FF62219B}"/>
                    </a:ext>
                  </a:extLst>
                </p:cNvPr>
                <p:cNvSpPr/>
                <p:nvPr/>
              </p:nvSpPr>
              <p:spPr>
                <a:xfrm>
                  <a:off x="5587054" y="5439669"/>
                  <a:ext cx="18332" cy="18454"/>
                </a:xfrm>
                <a:custGeom>
                  <a:avLst/>
                  <a:gdLst>
                    <a:gd name="connsiteX0" fmla="*/ 18098 w 18332"/>
                    <a:gd name="connsiteY0" fmla="*/ 11321 h 18454"/>
                    <a:gd name="connsiteX1" fmla="*/ 7153 w 18332"/>
                    <a:gd name="connsiteY1" fmla="*/ 18198 h 18454"/>
                    <a:gd name="connsiteX2" fmla="*/ 216 w 18332"/>
                    <a:gd name="connsiteY2" fmla="*/ 7134 h 18454"/>
                    <a:gd name="connsiteX3" fmla="*/ 11161 w 18332"/>
                    <a:gd name="connsiteY3" fmla="*/ 256 h 18454"/>
                    <a:gd name="connsiteX4" fmla="*/ 18098 w 18332"/>
                    <a:gd name="connsiteY4" fmla="*/ 1132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4">
                      <a:moveTo>
                        <a:pt x="18098" y="11321"/>
                      </a:moveTo>
                      <a:cubicBezTo>
                        <a:pt x="16962" y="16284"/>
                        <a:pt x="12058" y="19395"/>
                        <a:pt x="7153" y="18198"/>
                      </a:cubicBezTo>
                      <a:cubicBezTo>
                        <a:pt x="2190" y="17062"/>
                        <a:pt x="-861" y="12098"/>
                        <a:pt x="216" y="7134"/>
                      </a:cubicBezTo>
                      <a:cubicBezTo>
                        <a:pt x="1352" y="2170"/>
                        <a:pt x="6256" y="-940"/>
                        <a:pt x="11161" y="256"/>
                      </a:cubicBezTo>
                      <a:cubicBezTo>
                        <a:pt x="16124" y="1452"/>
                        <a:pt x="19234" y="6417"/>
                        <a:pt x="18098" y="11321"/>
                      </a:cubicBezTo>
                      <a:close/>
                    </a:path>
                  </a:pathLst>
                </a:custGeom>
                <a:grpFill/>
                <a:ln w="5978" cap="flat">
                  <a:noFill/>
                  <a:prstDash val="solid"/>
                  <a:miter/>
                </a:ln>
              </p:spPr>
              <p:txBody>
                <a:bodyPr rtlCol="0" anchor="ctr"/>
                <a:lstStyle/>
                <a:p>
                  <a:endParaRPr lang="en-GB"/>
                </a:p>
              </p:txBody>
            </p:sp>
            <p:sp>
              <p:nvSpPr>
                <p:cNvPr id="2637" name="Vrije vorm: vorm 2636">
                  <a:extLst>
                    <a:ext uri="{FF2B5EF4-FFF2-40B4-BE49-F238E27FC236}">
                      <a16:creationId xmlns:a16="http://schemas.microsoft.com/office/drawing/2014/main" id="{29593EDE-5613-4AFF-8358-AA1DC33A7B21}"/>
                    </a:ext>
                  </a:extLst>
                </p:cNvPr>
                <p:cNvSpPr/>
                <p:nvPr/>
              </p:nvSpPr>
              <p:spPr>
                <a:xfrm>
                  <a:off x="5639128" y="5209014"/>
                  <a:ext cx="18350" cy="18432"/>
                </a:xfrm>
                <a:custGeom>
                  <a:avLst/>
                  <a:gdLst>
                    <a:gd name="connsiteX0" fmla="*/ 18117 w 18350"/>
                    <a:gd name="connsiteY0" fmla="*/ 11299 h 18432"/>
                    <a:gd name="connsiteX1" fmla="*/ 11179 w 18350"/>
                    <a:gd name="connsiteY1" fmla="*/ 234 h 18432"/>
                    <a:gd name="connsiteX2" fmla="*/ 234 w 18350"/>
                    <a:gd name="connsiteY2" fmla="*/ 7112 h 18432"/>
                    <a:gd name="connsiteX3" fmla="*/ 7172 w 18350"/>
                    <a:gd name="connsiteY3" fmla="*/ 18176 h 18432"/>
                    <a:gd name="connsiteX4" fmla="*/ 18117 w 18350"/>
                    <a:gd name="connsiteY4" fmla="*/ 11299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2">
                      <a:moveTo>
                        <a:pt x="18117" y="11299"/>
                      </a:moveTo>
                      <a:cubicBezTo>
                        <a:pt x="19253" y="6335"/>
                        <a:pt x="16143" y="1371"/>
                        <a:pt x="11179" y="234"/>
                      </a:cubicBezTo>
                      <a:cubicBezTo>
                        <a:pt x="6215" y="-902"/>
                        <a:pt x="1311" y="2208"/>
                        <a:pt x="234" y="7112"/>
                      </a:cubicBezTo>
                      <a:cubicBezTo>
                        <a:pt x="-902" y="12076"/>
                        <a:pt x="2208" y="17040"/>
                        <a:pt x="7172" y="18176"/>
                      </a:cubicBezTo>
                      <a:cubicBezTo>
                        <a:pt x="12136" y="19373"/>
                        <a:pt x="17040" y="16263"/>
                        <a:pt x="18117" y="11299"/>
                      </a:cubicBezTo>
                      <a:close/>
                    </a:path>
                  </a:pathLst>
                </a:custGeom>
                <a:grpFill/>
                <a:ln w="5978" cap="flat">
                  <a:noFill/>
                  <a:prstDash val="solid"/>
                  <a:miter/>
                </a:ln>
              </p:spPr>
              <p:txBody>
                <a:bodyPr rtlCol="0" anchor="ctr"/>
                <a:lstStyle/>
                <a:p>
                  <a:endParaRPr lang="en-GB"/>
                </a:p>
              </p:txBody>
            </p:sp>
          </p:grpSp>
          <p:grpSp>
            <p:nvGrpSpPr>
              <p:cNvPr id="922" name="Graphic 3">
                <a:extLst>
                  <a:ext uri="{FF2B5EF4-FFF2-40B4-BE49-F238E27FC236}">
                    <a16:creationId xmlns:a16="http://schemas.microsoft.com/office/drawing/2014/main" id="{06A7D7DB-822B-4FCC-BFBF-ADF7C7DA3E26}"/>
                  </a:ext>
                </a:extLst>
              </p:cNvPr>
              <p:cNvGrpSpPr/>
              <p:nvPr/>
            </p:nvGrpSpPr>
            <p:grpSpPr>
              <a:xfrm>
                <a:off x="5492626" y="5005069"/>
                <a:ext cx="50953" cy="118808"/>
                <a:chOff x="5492626" y="5005069"/>
                <a:chExt cx="50953" cy="118808"/>
              </a:xfrm>
              <a:grpFill/>
            </p:grpSpPr>
            <p:sp>
              <p:nvSpPr>
                <p:cNvPr id="2632" name="Vrije vorm: vorm 2631">
                  <a:extLst>
                    <a:ext uri="{FF2B5EF4-FFF2-40B4-BE49-F238E27FC236}">
                      <a16:creationId xmlns:a16="http://schemas.microsoft.com/office/drawing/2014/main" id="{8747BB4E-EE2D-4A55-9FC0-A5FB6E1550BF}"/>
                    </a:ext>
                  </a:extLst>
                </p:cNvPr>
                <p:cNvSpPr/>
                <p:nvPr/>
              </p:nvSpPr>
              <p:spPr>
                <a:xfrm>
                  <a:off x="5500131" y="5013440"/>
                  <a:ext cx="35884" cy="102150"/>
                </a:xfrm>
                <a:custGeom>
                  <a:avLst/>
                  <a:gdLst>
                    <a:gd name="connsiteX0" fmla="*/ 35884 w 35884"/>
                    <a:gd name="connsiteY0" fmla="*/ 957 h 102150"/>
                    <a:gd name="connsiteX1" fmla="*/ 2930 w 35884"/>
                    <a:gd name="connsiteY1" fmla="*/ 102151 h 102150"/>
                    <a:gd name="connsiteX2" fmla="*/ 0 w 35884"/>
                    <a:gd name="connsiteY2" fmla="*/ 101194 h 102150"/>
                    <a:gd name="connsiteX3" fmla="*/ 33014 w 35884"/>
                    <a:gd name="connsiteY3" fmla="*/ 0 h 102150"/>
                  </a:gdLst>
                  <a:ahLst/>
                  <a:cxnLst>
                    <a:cxn ang="0">
                      <a:pos x="connsiteX0" y="connsiteY0"/>
                    </a:cxn>
                    <a:cxn ang="0">
                      <a:pos x="connsiteX1" y="connsiteY1"/>
                    </a:cxn>
                    <a:cxn ang="0">
                      <a:pos x="connsiteX2" y="connsiteY2"/>
                    </a:cxn>
                    <a:cxn ang="0">
                      <a:pos x="connsiteX3" y="connsiteY3"/>
                    </a:cxn>
                  </a:cxnLst>
                  <a:rect l="l" t="t" r="r" b="b"/>
                  <a:pathLst>
                    <a:path w="35884" h="102150">
                      <a:moveTo>
                        <a:pt x="35884" y="957"/>
                      </a:moveTo>
                      <a:lnTo>
                        <a:pt x="2930" y="102151"/>
                      </a:lnTo>
                      <a:lnTo>
                        <a:pt x="0" y="101194"/>
                      </a:lnTo>
                      <a:lnTo>
                        <a:pt x="33014" y="0"/>
                      </a:lnTo>
                      <a:close/>
                    </a:path>
                  </a:pathLst>
                </a:custGeom>
                <a:grpFill/>
                <a:ln w="5978" cap="flat">
                  <a:noFill/>
                  <a:prstDash val="solid"/>
                  <a:miter/>
                </a:ln>
              </p:spPr>
              <p:txBody>
                <a:bodyPr rtlCol="0" anchor="ctr"/>
                <a:lstStyle/>
                <a:p>
                  <a:endParaRPr lang="en-GB"/>
                </a:p>
              </p:txBody>
            </p:sp>
            <p:sp>
              <p:nvSpPr>
                <p:cNvPr id="2633" name="Vrije vorm: vorm 2632">
                  <a:extLst>
                    <a:ext uri="{FF2B5EF4-FFF2-40B4-BE49-F238E27FC236}">
                      <a16:creationId xmlns:a16="http://schemas.microsoft.com/office/drawing/2014/main" id="{70BDF7B5-907E-4139-BB9A-737537F1B9F6}"/>
                    </a:ext>
                  </a:extLst>
                </p:cNvPr>
                <p:cNvSpPr/>
                <p:nvPr/>
              </p:nvSpPr>
              <p:spPr>
                <a:xfrm>
                  <a:off x="5492626" y="5105449"/>
                  <a:ext cx="18298" cy="18428"/>
                </a:xfrm>
                <a:custGeom>
                  <a:avLst/>
                  <a:gdLst>
                    <a:gd name="connsiteX0" fmla="*/ 17851 w 18298"/>
                    <a:gd name="connsiteY0" fmla="*/ 12115 h 18428"/>
                    <a:gd name="connsiteX1" fmla="*/ 6308 w 18298"/>
                    <a:gd name="connsiteY1" fmla="*/ 17976 h 18428"/>
                    <a:gd name="connsiteX2" fmla="*/ 447 w 18298"/>
                    <a:gd name="connsiteY2" fmla="*/ 6314 h 18428"/>
                    <a:gd name="connsiteX3" fmla="*/ 11990 w 18298"/>
                    <a:gd name="connsiteY3" fmla="*/ 453 h 18428"/>
                    <a:gd name="connsiteX4" fmla="*/ 17851 w 18298"/>
                    <a:gd name="connsiteY4" fmla="*/ 1211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8">
                      <a:moveTo>
                        <a:pt x="17851" y="12115"/>
                      </a:moveTo>
                      <a:cubicBezTo>
                        <a:pt x="16296" y="16960"/>
                        <a:pt x="11093" y="19531"/>
                        <a:pt x="6308" y="17976"/>
                      </a:cubicBezTo>
                      <a:cubicBezTo>
                        <a:pt x="1524" y="16361"/>
                        <a:pt x="-1108" y="11158"/>
                        <a:pt x="447" y="6314"/>
                      </a:cubicBezTo>
                      <a:cubicBezTo>
                        <a:pt x="2002" y="1469"/>
                        <a:pt x="7205" y="-1102"/>
                        <a:pt x="11990" y="453"/>
                      </a:cubicBezTo>
                      <a:cubicBezTo>
                        <a:pt x="16774" y="2067"/>
                        <a:pt x="19406" y="7270"/>
                        <a:pt x="17851" y="12115"/>
                      </a:cubicBezTo>
                      <a:close/>
                    </a:path>
                  </a:pathLst>
                </a:custGeom>
                <a:grpFill/>
                <a:ln w="5978" cap="flat">
                  <a:noFill/>
                  <a:prstDash val="solid"/>
                  <a:miter/>
                </a:ln>
              </p:spPr>
              <p:txBody>
                <a:bodyPr rtlCol="0" anchor="ctr"/>
                <a:lstStyle/>
                <a:p>
                  <a:endParaRPr lang="en-GB"/>
                </a:p>
              </p:txBody>
            </p:sp>
            <p:sp>
              <p:nvSpPr>
                <p:cNvPr id="2634" name="Vrije vorm: vorm 2633">
                  <a:extLst>
                    <a:ext uri="{FF2B5EF4-FFF2-40B4-BE49-F238E27FC236}">
                      <a16:creationId xmlns:a16="http://schemas.microsoft.com/office/drawing/2014/main" id="{F7DDF95B-DD26-493D-AC84-CA4D936D023C}"/>
                    </a:ext>
                  </a:extLst>
                </p:cNvPr>
                <p:cNvSpPr/>
                <p:nvPr/>
              </p:nvSpPr>
              <p:spPr>
                <a:xfrm>
                  <a:off x="5525281" y="5005069"/>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8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5" y="2090"/>
                        <a:pt x="11990" y="476"/>
                      </a:cubicBezTo>
                      <a:cubicBezTo>
                        <a:pt x="7205" y="-1139"/>
                        <a:pt x="2002" y="1492"/>
                        <a:pt x="447" y="6337"/>
                      </a:cubicBezTo>
                      <a:cubicBezTo>
                        <a:pt x="-1108" y="11181"/>
                        <a:pt x="1524" y="16384"/>
                        <a:pt x="6308" y="17999"/>
                      </a:cubicBezTo>
                      <a:cubicBezTo>
                        <a:pt x="11093" y="19614"/>
                        <a:pt x="16296" y="16982"/>
                        <a:pt x="17851" y="12138"/>
                      </a:cubicBezTo>
                      <a:close/>
                    </a:path>
                  </a:pathLst>
                </a:custGeom>
                <a:grpFill/>
                <a:ln w="5978" cap="flat">
                  <a:noFill/>
                  <a:prstDash val="solid"/>
                  <a:miter/>
                </a:ln>
              </p:spPr>
              <p:txBody>
                <a:bodyPr rtlCol="0" anchor="ctr"/>
                <a:lstStyle/>
                <a:p>
                  <a:endParaRPr lang="en-GB"/>
                </a:p>
              </p:txBody>
            </p:sp>
          </p:grpSp>
          <p:grpSp>
            <p:nvGrpSpPr>
              <p:cNvPr id="923" name="Graphic 3">
                <a:extLst>
                  <a:ext uri="{FF2B5EF4-FFF2-40B4-BE49-F238E27FC236}">
                    <a16:creationId xmlns:a16="http://schemas.microsoft.com/office/drawing/2014/main" id="{5ADF8263-2243-49B4-BBF8-041FAAC4C29D}"/>
                  </a:ext>
                </a:extLst>
              </p:cNvPr>
              <p:cNvGrpSpPr/>
              <p:nvPr/>
            </p:nvGrpSpPr>
            <p:grpSpPr>
              <a:xfrm>
                <a:off x="5490077" y="5037033"/>
                <a:ext cx="141062" cy="340543"/>
                <a:chOff x="5490077" y="5037033"/>
                <a:chExt cx="141062" cy="340543"/>
              </a:xfrm>
              <a:grpFill/>
            </p:grpSpPr>
            <p:sp>
              <p:nvSpPr>
                <p:cNvPr id="2629" name="Vrije vorm: vorm 2628">
                  <a:extLst>
                    <a:ext uri="{FF2B5EF4-FFF2-40B4-BE49-F238E27FC236}">
                      <a16:creationId xmlns:a16="http://schemas.microsoft.com/office/drawing/2014/main" id="{30D6BF9F-FE5A-4B4D-9E61-C434B6428F67}"/>
                    </a:ext>
                  </a:extLst>
                </p:cNvPr>
                <p:cNvSpPr/>
                <p:nvPr/>
              </p:nvSpPr>
              <p:spPr>
                <a:xfrm>
                  <a:off x="5497679" y="5045317"/>
                  <a:ext cx="125834" cy="324035"/>
                </a:xfrm>
                <a:custGeom>
                  <a:avLst/>
                  <a:gdLst>
                    <a:gd name="connsiteX0" fmla="*/ 125834 w 125834"/>
                    <a:gd name="connsiteY0" fmla="*/ 1076 h 324035"/>
                    <a:gd name="connsiteX1" fmla="*/ 2871 w 125834"/>
                    <a:gd name="connsiteY1" fmla="*/ 324035 h 324035"/>
                    <a:gd name="connsiteX2" fmla="*/ 0 w 125834"/>
                    <a:gd name="connsiteY2" fmla="*/ 322959 h 324035"/>
                    <a:gd name="connsiteX3" fmla="*/ 123023 w 125834"/>
                    <a:gd name="connsiteY3" fmla="*/ 0 h 324035"/>
                  </a:gdLst>
                  <a:ahLst/>
                  <a:cxnLst>
                    <a:cxn ang="0">
                      <a:pos x="connsiteX0" y="connsiteY0"/>
                    </a:cxn>
                    <a:cxn ang="0">
                      <a:pos x="connsiteX1" y="connsiteY1"/>
                    </a:cxn>
                    <a:cxn ang="0">
                      <a:pos x="connsiteX2" y="connsiteY2"/>
                    </a:cxn>
                    <a:cxn ang="0">
                      <a:pos x="connsiteX3" y="connsiteY3"/>
                    </a:cxn>
                  </a:cxnLst>
                  <a:rect l="l" t="t" r="r" b="b"/>
                  <a:pathLst>
                    <a:path w="125834" h="324035">
                      <a:moveTo>
                        <a:pt x="125834" y="1076"/>
                      </a:moveTo>
                      <a:lnTo>
                        <a:pt x="2871" y="324035"/>
                      </a:lnTo>
                      <a:lnTo>
                        <a:pt x="0" y="322959"/>
                      </a:lnTo>
                      <a:lnTo>
                        <a:pt x="123023" y="0"/>
                      </a:lnTo>
                      <a:close/>
                    </a:path>
                  </a:pathLst>
                </a:custGeom>
                <a:grpFill/>
                <a:ln w="5978" cap="flat">
                  <a:noFill/>
                  <a:prstDash val="solid"/>
                  <a:miter/>
                </a:ln>
              </p:spPr>
              <p:txBody>
                <a:bodyPr rtlCol="0" anchor="ctr"/>
                <a:lstStyle/>
                <a:p>
                  <a:endParaRPr lang="en-GB"/>
                </a:p>
              </p:txBody>
            </p:sp>
            <p:sp>
              <p:nvSpPr>
                <p:cNvPr id="2630" name="Vrije vorm: vorm 2629">
                  <a:extLst>
                    <a:ext uri="{FF2B5EF4-FFF2-40B4-BE49-F238E27FC236}">
                      <a16:creationId xmlns:a16="http://schemas.microsoft.com/office/drawing/2014/main" id="{5FF267A3-DAF4-43DF-A1FA-DABDB3DE20A7}"/>
                    </a:ext>
                  </a:extLst>
                </p:cNvPr>
                <p:cNvSpPr/>
                <p:nvPr/>
              </p:nvSpPr>
              <p:spPr>
                <a:xfrm>
                  <a:off x="5612777" y="5037033"/>
                  <a:ext cx="18362" cy="18421"/>
                </a:xfrm>
                <a:custGeom>
                  <a:avLst/>
                  <a:gdLst>
                    <a:gd name="connsiteX0" fmla="*/ 629 w 18362"/>
                    <a:gd name="connsiteY0" fmla="*/ 5892 h 18421"/>
                    <a:gd name="connsiteX1" fmla="*/ 12470 w 18362"/>
                    <a:gd name="connsiteY1" fmla="*/ 629 h 18421"/>
                    <a:gd name="connsiteX2" fmla="*/ 17733 w 18362"/>
                    <a:gd name="connsiteY2" fmla="*/ 12530 h 18421"/>
                    <a:gd name="connsiteX3" fmla="*/ 5892 w 18362"/>
                    <a:gd name="connsiteY3" fmla="*/ 17793 h 18421"/>
                    <a:gd name="connsiteX4" fmla="*/ 629 w 18362"/>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629" y="5892"/>
                      </a:moveTo>
                      <a:cubicBezTo>
                        <a:pt x="2423" y="1167"/>
                        <a:pt x="7746" y="-1225"/>
                        <a:pt x="12470" y="629"/>
                      </a:cubicBezTo>
                      <a:cubicBezTo>
                        <a:pt x="17195" y="2483"/>
                        <a:pt x="19587" y="7806"/>
                        <a:pt x="17733" y="12530"/>
                      </a:cubicBezTo>
                      <a:cubicBezTo>
                        <a:pt x="15939" y="17255"/>
                        <a:pt x="10616" y="19647"/>
                        <a:pt x="5892" y="17793"/>
                      </a:cubicBezTo>
                      <a:cubicBezTo>
                        <a:pt x="1167" y="15999"/>
                        <a:pt x="-1225" y="10676"/>
                        <a:pt x="629" y="5892"/>
                      </a:cubicBezTo>
                      <a:close/>
                    </a:path>
                  </a:pathLst>
                </a:custGeom>
                <a:grpFill/>
                <a:ln w="5978" cap="flat">
                  <a:noFill/>
                  <a:prstDash val="solid"/>
                  <a:miter/>
                </a:ln>
              </p:spPr>
              <p:txBody>
                <a:bodyPr rtlCol="0" anchor="ctr"/>
                <a:lstStyle/>
                <a:p>
                  <a:endParaRPr lang="en-GB"/>
                </a:p>
              </p:txBody>
            </p:sp>
            <p:sp>
              <p:nvSpPr>
                <p:cNvPr id="2631" name="Vrije vorm: vorm 2630">
                  <a:extLst>
                    <a:ext uri="{FF2B5EF4-FFF2-40B4-BE49-F238E27FC236}">
                      <a16:creationId xmlns:a16="http://schemas.microsoft.com/office/drawing/2014/main" id="{C01FFE88-0B6F-4847-9F2F-193C458B0D0B}"/>
                    </a:ext>
                  </a:extLst>
                </p:cNvPr>
                <p:cNvSpPr/>
                <p:nvPr/>
              </p:nvSpPr>
              <p:spPr>
                <a:xfrm>
                  <a:off x="5490077" y="5359179"/>
                  <a:ext cx="18313" cy="18397"/>
                </a:xfrm>
                <a:custGeom>
                  <a:avLst/>
                  <a:gdLst>
                    <a:gd name="connsiteX0" fmla="*/ 604 w 18313"/>
                    <a:gd name="connsiteY0" fmla="*/ 5867 h 18397"/>
                    <a:gd name="connsiteX1" fmla="*/ 5867 w 18313"/>
                    <a:gd name="connsiteY1" fmla="*/ 17769 h 18397"/>
                    <a:gd name="connsiteX2" fmla="*/ 17709 w 18313"/>
                    <a:gd name="connsiteY2" fmla="*/ 12506 h 18397"/>
                    <a:gd name="connsiteX3" fmla="*/ 12446 w 18313"/>
                    <a:gd name="connsiteY3" fmla="*/ 604 h 18397"/>
                    <a:gd name="connsiteX4" fmla="*/ 604 w 18313"/>
                    <a:gd name="connsiteY4" fmla="*/ 5867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97">
                      <a:moveTo>
                        <a:pt x="604" y="5867"/>
                      </a:moveTo>
                      <a:cubicBezTo>
                        <a:pt x="-1190" y="10592"/>
                        <a:pt x="1143" y="15975"/>
                        <a:pt x="5867" y="17769"/>
                      </a:cubicBezTo>
                      <a:cubicBezTo>
                        <a:pt x="10592" y="19623"/>
                        <a:pt x="15915" y="17231"/>
                        <a:pt x="17709" y="12506"/>
                      </a:cubicBezTo>
                      <a:cubicBezTo>
                        <a:pt x="19503" y="7781"/>
                        <a:pt x="17171" y="2399"/>
                        <a:pt x="12446" y="604"/>
                      </a:cubicBezTo>
                      <a:cubicBezTo>
                        <a:pt x="7721" y="-1190"/>
                        <a:pt x="2458" y="1142"/>
                        <a:pt x="604" y="5867"/>
                      </a:cubicBezTo>
                      <a:close/>
                    </a:path>
                  </a:pathLst>
                </a:custGeom>
                <a:grpFill/>
                <a:ln w="5978" cap="flat">
                  <a:noFill/>
                  <a:prstDash val="solid"/>
                  <a:miter/>
                </a:ln>
              </p:spPr>
              <p:txBody>
                <a:bodyPr rtlCol="0" anchor="ctr"/>
                <a:lstStyle/>
                <a:p>
                  <a:endParaRPr lang="en-GB"/>
                </a:p>
              </p:txBody>
            </p:sp>
          </p:grpSp>
          <p:grpSp>
            <p:nvGrpSpPr>
              <p:cNvPr id="924" name="Graphic 3">
                <a:extLst>
                  <a:ext uri="{FF2B5EF4-FFF2-40B4-BE49-F238E27FC236}">
                    <a16:creationId xmlns:a16="http://schemas.microsoft.com/office/drawing/2014/main" id="{1FE01E61-2103-4475-8B8D-D39B1B17EC98}"/>
                  </a:ext>
                </a:extLst>
              </p:cNvPr>
              <p:cNvGrpSpPr/>
              <p:nvPr/>
            </p:nvGrpSpPr>
            <p:grpSpPr>
              <a:xfrm>
                <a:off x="5697698" y="5614214"/>
                <a:ext cx="38122" cy="151171"/>
                <a:chOff x="5697698" y="5614214"/>
                <a:chExt cx="38122" cy="151171"/>
              </a:xfrm>
              <a:grpFill/>
            </p:grpSpPr>
            <p:sp>
              <p:nvSpPr>
                <p:cNvPr id="2626" name="Vrije vorm: vorm 2625">
                  <a:extLst>
                    <a:ext uri="{FF2B5EF4-FFF2-40B4-BE49-F238E27FC236}">
                      <a16:creationId xmlns:a16="http://schemas.microsoft.com/office/drawing/2014/main" id="{D30A8EF0-892F-46DD-B946-B3F79870AB7C}"/>
                    </a:ext>
                  </a:extLst>
                </p:cNvPr>
                <p:cNvSpPr/>
                <p:nvPr/>
              </p:nvSpPr>
              <p:spPr>
                <a:xfrm>
                  <a:off x="5705269" y="5622755"/>
                  <a:ext cx="22906" cy="134087"/>
                </a:xfrm>
                <a:custGeom>
                  <a:avLst/>
                  <a:gdLst>
                    <a:gd name="connsiteX0" fmla="*/ 22906 w 22906"/>
                    <a:gd name="connsiteY0" fmla="*/ 479 h 134087"/>
                    <a:gd name="connsiteX1" fmla="*/ 3050 w 22906"/>
                    <a:gd name="connsiteY1" fmla="*/ 134088 h 134087"/>
                    <a:gd name="connsiteX2" fmla="*/ 0 w 22906"/>
                    <a:gd name="connsiteY2" fmla="*/ 133669 h 134087"/>
                    <a:gd name="connsiteX3" fmla="*/ 19916 w 22906"/>
                    <a:gd name="connsiteY3" fmla="*/ 0 h 134087"/>
                  </a:gdLst>
                  <a:ahLst/>
                  <a:cxnLst>
                    <a:cxn ang="0">
                      <a:pos x="connsiteX0" y="connsiteY0"/>
                    </a:cxn>
                    <a:cxn ang="0">
                      <a:pos x="connsiteX1" y="connsiteY1"/>
                    </a:cxn>
                    <a:cxn ang="0">
                      <a:pos x="connsiteX2" y="connsiteY2"/>
                    </a:cxn>
                    <a:cxn ang="0">
                      <a:pos x="connsiteX3" y="connsiteY3"/>
                    </a:cxn>
                  </a:cxnLst>
                  <a:rect l="l" t="t" r="r" b="b"/>
                  <a:pathLst>
                    <a:path w="22906" h="134087">
                      <a:moveTo>
                        <a:pt x="22906" y="479"/>
                      </a:moveTo>
                      <a:lnTo>
                        <a:pt x="3050" y="134088"/>
                      </a:lnTo>
                      <a:lnTo>
                        <a:pt x="0" y="133669"/>
                      </a:lnTo>
                      <a:lnTo>
                        <a:pt x="19916" y="0"/>
                      </a:lnTo>
                      <a:close/>
                    </a:path>
                  </a:pathLst>
                </a:custGeom>
                <a:grpFill/>
                <a:ln w="5978" cap="flat">
                  <a:noFill/>
                  <a:prstDash val="solid"/>
                  <a:miter/>
                </a:ln>
              </p:spPr>
              <p:txBody>
                <a:bodyPr rtlCol="0" anchor="ctr"/>
                <a:lstStyle/>
                <a:p>
                  <a:endParaRPr lang="en-GB"/>
                </a:p>
              </p:txBody>
            </p:sp>
            <p:sp>
              <p:nvSpPr>
                <p:cNvPr id="2627" name="Vrije vorm: vorm 2626">
                  <a:extLst>
                    <a:ext uri="{FF2B5EF4-FFF2-40B4-BE49-F238E27FC236}">
                      <a16:creationId xmlns:a16="http://schemas.microsoft.com/office/drawing/2014/main" id="{E2D8A942-32BA-4B72-9F3A-998471866F4C}"/>
                    </a:ext>
                  </a:extLst>
                </p:cNvPr>
                <p:cNvSpPr/>
                <p:nvPr/>
              </p:nvSpPr>
              <p:spPr>
                <a:xfrm>
                  <a:off x="5697698" y="5746926"/>
                  <a:ext cx="18326" cy="18459"/>
                </a:xfrm>
                <a:custGeom>
                  <a:avLst/>
                  <a:gdLst>
                    <a:gd name="connsiteX0" fmla="*/ 18217 w 18326"/>
                    <a:gd name="connsiteY0" fmla="*/ 10635 h 18459"/>
                    <a:gd name="connsiteX1" fmla="*/ 7811 w 18326"/>
                    <a:gd name="connsiteY1" fmla="*/ 18350 h 18459"/>
                    <a:gd name="connsiteX2" fmla="*/ 95 w 18326"/>
                    <a:gd name="connsiteY2" fmla="*/ 7824 h 18459"/>
                    <a:gd name="connsiteX3" fmla="*/ 10502 w 18326"/>
                    <a:gd name="connsiteY3" fmla="*/ 109 h 18459"/>
                    <a:gd name="connsiteX4" fmla="*/ 18217 w 18326"/>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9">
                      <a:moveTo>
                        <a:pt x="18217" y="10635"/>
                      </a:moveTo>
                      <a:cubicBezTo>
                        <a:pt x="17440" y="15659"/>
                        <a:pt x="12834" y="19128"/>
                        <a:pt x="7811" y="18350"/>
                      </a:cubicBezTo>
                      <a:cubicBezTo>
                        <a:pt x="2787" y="17573"/>
                        <a:pt x="-622" y="12848"/>
                        <a:pt x="95" y="7824"/>
                      </a:cubicBezTo>
                      <a:cubicBezTo>
                        <a:pt x="813" y="2800"/>
                        <a:pt x="5538" y="-669"/>
                        <a:pt x="10502" y="109"/>
                      </a:cubicBezTo>
                      <a:cubicBezTo>
                        <a:pt x="15526" y="946"/>
                        <a:pt x="18995" y="5611"/>
                        <a:pt x="18217" y="10635"/>
                      </a:cubicBezTo>
                      <a:close/>
                    </a:path>
                  </a:pathLst>
                </a:custGeom>
                <a:grpFill/>
                <a:ln w="5978" cap="flat">
                  <a:noFill/>
                  <a:prstDash val="solid"/>
                  <a:miter/>
                </a:ln>
              </p:spPr>
              <p:txBody>
                <a:bodyPr rtlCol="0" anchor="ctr"/>
                <a:lstStyle/>
                <a:p>
                  <a:endParaRPr lang="en-GB"/>
                </a:p>
              </p:txBody>
            </p:sp>
            <p:sp>
              <p:nvSpPr>
                <p:cNvPr id="2628" name="Vrije vorm: vorm 2627">
                  <a:extLst>
                    <a:ext uri="{FF2B5EF4-FFF2-40B4-BE49-F238E27FC236}">
                      <a16:creationId xmlns:a16="http://schemas.microsoft.com/office/drawing/2014/main" id="{871E6A85-7665-4CC1-8FA9-87143A107320}"/>
                    </a:ext>
                  </a:extLst>
                </p:cNvPr>
                <p:cNvSpPr/>
                <p:nvPr/>
              </p:nvSpPr>
              <p:spPr>
                <a:xfrm>
                  <a:off x="5717481" y="5614214"/>
                  <a:ext cx="18339" cy="18459"/>
                </a:xfrm>
                <a:custGeom>
                  <a:avLst/>
                  <a:gdLst>
                    <a:gd name="connsiteX0" fmla="*/ 18231 w 18339"/>
                    <a:gd name="connsiteY0" fmla="*/ 10635 h 18459"/>
                    <a:gd name="connsiteX1" fmla="*/ 10515 w 18339"/>
                    <a:gd name="connsiteY1" fmla="*/ 109 h 18459"/>
                    <a:gd name="connsiteX2" fmla="*/ 109 w 18339"/>
                    <a:gd name="connsiteY2" fmla="*/ 7824 h 18459"/>
                    <a:gd name="connsiteX3" fmla="*/ 7824 w 18339"/>
                    <a:gd name="connsiteY3" fmla="*/ 18350 h 18459"/>
                    <a:gd name="connsiteX4" fmla="*/ 18231 w 18339"/>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9">
                      <a:moveTo>
                        <a:pt x="18231" y="10635"/>
                      </a:moveTo>
                      <a:cubicBezTo>
                        <a:pt x="19008" y="5611"/>
                        <a:pt x="15539" y="886"/>
                        <a:pt x="10515" y="109"/>
                      </a:cubicBezTo>
                      <a:cubicBezTo>
                        <a:pt x="5492" y="-669"/>
                        <a:pt x="827" y="2800"/>
                        <a:pt x="109" y="7824"/>
                      </a:cubicBezTo>
                      <a:cubicBezTo>
                        <a:pt x="-669" y="12848"/>
                        <a:pt x="2800" y="17573"/>
                        <a:pt x="7824" y="18350"/>
                      </a:cubicBezTo>
                      <a:cubicBezTo>
                        <a:pt x="12788" y="19128"/>
                        <a:pt x="17453" y="15659"/>
                        <a:pt x="18231" y="10635"/>
                      </a:cubicBezTo>
                      <a:close/>
                    </a:path>
                  </a:pathLst>
                </a:custGeom>
                <a:grpFill/>
                <a:ln w="5978" cap="flat">
                  <a:noFill/>
                  <a:prstDash val="solid"/>
                  <a:miter/>
                </a:ln>
              </p:spPr>
              <p:txBody>
                <a:bodyPr rtlCol="0" anchor="ctr"/>
                <a:lstStyle/>
                <a:p>
                  <a:endParaRPr lang="en-GB"/>
                </a:p>
              </p:txBody>
            </p:sp>
          </p:grpSp>
          <p:grpSp>
            <p:nvGrpSpPr>
              <p:cNvPr id="925" name="Graphic 3">
                <a:extLst>
                  <a:ext uri="{FF2B5EF4-FFF2-40B4-BE49-F238E27FC236}">
                    <a16:creationId xmlns:a16="http://schemas.microsoft.com/office/drawing/2014/main" id="{6F080388-34D3-4E69-B373-C8C5FA319D0C}"/>
                  </a:ext>
                </a:extLst>
              </p:cNvPr>
              <p:cNvGrpSpPr/>
              <p:nvPr/>
            </p:nvGrpSpPr>
            <p:grpSpPr>
              <a:xfrm>
                <a:off x="5656699" y="5453059"/>
                <a:ext cx="64128" cy="290994"/>
                <a:chOff x="5656699" y="5453059"/>
                <a:chExt cx="64128" cy="290994"/>
              </a:xfrm>
              <a:grpFill/>
            </p:grpSpPr>
            <p:sp>
              <p:nvSpPr>
                <p:cNvPr id="2623" name="Vrije vorm: vorm 2622">
                  <a:extLst>
                    <a:ext uri="{FF2B5EF4-FFF2-40B4-BE49-F238E27FC236}">
                      <a16:creationId xmlns:a16="http://schemas.microsoft.com/office/drawing/2014/main" id="{D013A007-120F-4E76-810E-BB74E07A2574}"/>
                    </a:ext>
                  </a:extLst>
                </p:cNvPr>
                <p:cNvSpPr/>
                <p:nvPr/>
              </p:nvSpPr>
              <p:spPr>
                <a:xfrm>
                  <a:off x="5664361" y="5461515"/>
                  <a:ext cx="48922" cy="273976"/>
                </a:xfrm>
                <a:custGeom>
                  <a:avLst/>
                  <a:gdLst>
                    <a:gd name="connsiteX0" fmla="*/ 48922 w 48922"/>
                    <a:gd name="connsiteY0" fmla="*/ 538 h 273976"/>
                    <a:gd name="connsiteX1" fmla="*/ 2990 w 48922"/>
                    <a:gd name="connsiteY1" fmla="*/ 273977 h 273976"/>
                    <a:gd name="connsiteX2" fmla="*/ 0 w 48922"/>
                    <a:gd name="connsiteY2" fmla="*/ 273499 h 273976"/>
                    <a:gd name="connsiteX3" fmla="*/ 45872 w 48922"/>
                    <a:gd name="connsiteY3" fmla="*/ 0 h 273976"/>
                  </a:gdLst>
                  <a:ahLst/>
                  <a:cxnLst>
                    <a:cxn ang="0">
                      <a:pos x="connsiteX0" y="connsiteY0"/>
                    </a:cxn>
                    <a:cxn ang="0">
                      <a:pos x="connsiteX1" y="connsiteY1"/>
                    </a:cxn>
                    <a:cxn ang="0">
                      <a:pos x="connsiteX2" y="connsiteY2"/>
                    </a:cxn>
                    <a:cxn ang="0">
                      <a:pos x="connsiteX3" y="connsiteY3"/>
                    </a:cxn>
                  </a:cxnLst>
                  <a:rect l="l" t="t" r="r" b="b"/>
                  <a:pathLst>
                    <a:path w="48922" h="273976">
                      <a:moveTo>
                        <a:pt x="48922" y="538"/>
                      </a:moveTo>
                      <a:lnTo>
                        <a:pt x="2990" y="273977"/>
                      </a:lnTo>
                      <a:lnTo>
                        <a:pt x="0" y="273499"/>
                      </a:lnTo>
                      <a:lnTo>
                        <a:pt x="45872" y="0"/>
                      </a:lnTo>
                      <a:close/>
                    </a:path>
                  </a:pathLst>
                </a:custGeom>
                <a:grpFill/>
                <a:ln w="5978" cap="flat">
                  <a:noFill/>
                  <a:prstDash val="solid"/>
                  <a:miter/>
                </a:ln>
              </p:spPr>
              <p:txBody>
                <a:bodyPr rtlCol="0" anchor="ctr"/>
                <a:lstStyle/>
                <a:p>
                  <a:endParaRPr lang="en-GB"/>
                </a:p>
              </p:txBody>
            </p:sp>
            <p:sp>
              <p:nvSpPr>
                <p:cNvPr id="2624" name="Vrije vorm: vorm 2623">
                  <a:extLst>
                    <a:ext uri="{FF2B5EF4-FFF2-40B4-BE49-F238E27FC236}">
                      <a16:creationId xmlns:a16="http://schemas.microsoft.com/office/drawing/2014/main" id="{9B8B0FFB-111D-4111-BCF7-BB9F72E7DB06}"/>
                    </a:ext>
                  </a:extLst>
                </p:cNvPr>
                <p:cNvSpPr/>
                <p:nvPr/>
              </p:nvSpPr>
              <p:spPr>
                <a:xfrm>
                  <a:off x="5656699" y="5725615"/>
                  <a:ext cx="18376" cy="18438"/>
                </a:xfrm>
                <a:custGeom>
                  <a:avLst/>
                  <a:gdLst>
                    <a:gd name="connsiteX0" fmla="*/ 18248 w 18376"/>
                    <a:gd name="connsiteY0" fmla="*/ 10774 h 18438"/>
                    <a:gd name="connsiteX1" fmla="*/ 7662 w 18376"/>
                    <a:gd name="connsiteY1" fmla="*/ 18310 h 18438"/>
                    <a:gd name="connsiteX2" fmla="*/ 127 w 18376"/>
                    <a:gd name="connsiteY2" fmla="*/ 7664 h 18438"/>
                    <a:gd name="connsiteX3" fmla="*/ 10712 w 18376"/>
                    <a:gd name="connsiteY3" fmla="*/ 128 h 18438"/>
                    <a:gd name="connsiteX4" fmla="*/ 18248 w 18376"/>
                    <a:gd name="connsiteY4" fmla="*/ 10774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18248" y="10774"/>
                      </a:moveTo>
                      <a:cubicBezTo>
                        <a:pt x="17411" y="15798"/>
                        <a:pt x="12686" y="19147"/>
                        <a:pt x="7662" y="18310"/>
                      </a:cubicBezTo>
                      <a:cubicBezTo>
                        <a:pt x="2698" y="17413"/>
                        <a:pt x="-711" y="12688"/>
                        <a:pt x="127" y="7664"/>
                      </a:cubicBezTo>
                      <a:cubicBezTo>
                        <a:pt x="964" y="2640"/>
                        <a:pt x="5689" y="-709"/>
                        <a:pt x="10712" y="128"/>
                      </a:cubicBezTo>
                      <a:cubicBezTo>
                        <a:pt x="15736" y="966"/>
                        <a:pt x="19085" y="5750"/>
                        <a:pt x="18248" y="10774"/>
                      </a:cubicBezTo>
                      <a:close/>
                    </a:path>
                  </a:pathLst>
                </a:custGeom>
                <a:grpFill/>
                <a:ln w="5978" cap="flat">
                  <a:noFill/>
                  <a:prstDash val="solid"/>
                  <a:miter/>
                </a:ln>
              </p:spPr>
              <p:txBody>
                <a:bodyPr rtlCol="0" anchor="ctr"/>
                <a:lstStyle/>
                <a:p>
                  <a:endParaRPr lang="en-GB"/>
                </a:p>
              </p:txBody>
            </p:sp>
            <p:sp>
              <p:nvSpPr>
                <p:cNvPr id="2625" name="Vrije vorm: vorm 2624">
                  <a:extLst>
                    <a:ext uri="{FF2B5EF4-FFF2-40B4-BE49-F238E27FC236}">
                      <a16:creationId xmlns:a16="http://schemas.microsoft.com/office/drawing/2014/main" id="{C988BD77-C840-4532-B448-A466F143BD60}"/>
                    </a:ext>
                  </a:extLst>
                </p:cNvPr>
                <p:cNvSpPr/>
                <p:nvPr/>
              </p:nvSpPr>
              <p:spPr>
                <a:xfrm>
                  <a:off x="5702450" y="5453059"/>
                  <a:ext cx="18378" cy="18451"/>
                </a:xfrm>
                <a:custGeom>
                  <a:avLst/>
                  <a:gdLst>
                    <a:gd name="connsiteX0" fmla="*/ 18250 w 18378"/>
                    <a:gd name="connsiteY0" fmla="*/ 10789 h 18451"/>
                    <a:gd name="connsiteX1" fmla="*/ 10714 w 18378"/>
                    <a:gd name="connsiteY1" fmla="*/ 143 h 18451"/>
                    <a:gd name="connsiteX2" fmla="*/ 128 w 18378"/>
                    <a:gd name="connsiteY2" fmla="*/ 7679 h 18451"/>
                    <a:gd name="connsiteX3" fmla="*/ 7664 w 18378"/>
                    <a:gd name="connsiteY3" fmla="*/ 18325 h 18451"/>
                    <a:gd name="connsiteX4" fmla="*/ 18250 w 18378"/>
                    <a:gd name="connsiteY4" fmla="*/ 10789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51">
                      <a:moveTo>
                        <a:pt x="18250" y="10789"/>
                      </a:moveTo>
                      <a:cubicBezTo>
                        <a:pt x="19087" y="5765"/>
                        <a:pt x="15738" y="980"/>
                        <a:pt x="10714" y="143"/>
                      </a:cubicBezTo>
                      <a:cubicBezTo>
                        <a:pt x="5750" y="-754"/>
                        <a:pt x="966" y="2655"/>
                        <a:pt x="128" y="7679"/>
                      </a:cubicBezTo>
                      <a:cubicBezTo>
                        <a:pt x="-709" y="12703"/>
                        <a:pt x="2640" y="17487"/>
                        <a:pt x="7664" y="18325"/>
                      </a:cubicBezTo>
                      <a:cubicBezTo>
                        <a:pt x="12688" y="19162"/>
                        <a:pt x="17413" y="15753"/>
                        <a:pt x="18250" y="10789"/>
                      </a:cubicBezTo>
                      <a:close/>
                    </a:path>
                  </a:pathLst>
                </a:custGeom>
                <a:grpFill/>
                <a:ln w="5978" cap="flat">
                  <a:noFill/>
                  <a:prstDash val="solid"/>
                  <a:miter/>
                </a:ln>
              </p:spPr>
              <p:txBody>
                <a:bodyPr rtlCol="0" anchor="ctr"/>
                <a:lstStyle/>
                <a:p>
                  <a:endParaRPr lang="en-GB"/>
                </a:p>
              </p:txBody>
            </p:sp>
          </p:grpSp>
          <p:grpSp>
            <p:nvGrpSpPr>
              <p:cNvPr id="926" name="Graphic 3">
                <a:extLst>
                  <a:ext uri="{FF2B5EF4-FFF2-40B4-BE49-F238E27FC236}">
                    <a16:creationId xmlns:a16="http://schemas.microsoft.com/office/drawing/2014/main" id="{C34C40B5-D2A3-42CC-8B6C-EE0C28479D05}"/>
                  </a:ext>
                </a:extLst>
              </p:cNvPr>
              <p:cNvGrpSpPr/>
              <p:nvPr/>
            </p:nvGrpSpPr>
            <p:grpSpPr>
              <a:xfrm>
                <a:off x="5552737" y="5188568"/>
                <a:ext cx="74448" cy="247034"/>
                <a:chOff x="5552737" y="5188568"/>
                <a:chExt cx="74448" cy="247034"/>
              </a:xfrm>
              <a:grpFill/>
            </p:grpSpPr>
            <p:sp>
              <p:nvSpPr>
                <p:cNvPr id="2620" name="Vrije vorm: vorm 2619">
                  <a:extLst>
                    <a:ext uri="{FF2B5EF4-FFF2-40B4-BE49-F238E27FC236}">
                      <a16:creationId xmlns:a16="http://schemas.microsoft.com/office/drawing/2014/main" id="{4064A114-1983-4210-A8B9-F493142273B9}"/>
                    </a:ext>
                  </a:extLst>
                </p:cNvPr>
                <p:cNvSpPr/>
                <p:nvPr/>
              </p:nvSpPr>
              <p:spPr>
                <a:xfrm>
                  <a:off x="5560297" y="5196988"/>
                  <a:ext cx="59328" cy="230197"/>
                </a:xfrm>
                <a:custGeom>
                  <a:avLst/>
                  <a:gdLst>
                    <a:gd name="connsiteX0" fmla="*/ 59329 w 59328"/>
                    <a:gd name="connsiteY0" fmla="*/ 718 h 230197"/>
                    <a:gd name="connsiteX1" fmla="*/ 2990 w 59328"/>
                    <a:gd name="connsiteY1" fmla="*/ 230198 h 230197"/>
                    <a:gd name="connsiteX2" fmla="*/ 0 w 59328"/>
                    <a:gd name="connsiteY2" fmla="*/ 229480 h 230197"/>
                    <a:gd name="connsiteX3" fmla="*/ 56338 w 59328"/>
                    <a:gd name="connsiteY3" fmla="*/ 0 h 230197"/>
                  </a:gdLst>
                  <a:ahLst/>
                  <a:cxnLst>
                    <a:cxn ang="0">
                      <a:pos x="connsiteX0" y="connsiteY0"/>
                    </a:cxn>
                    <a:cxn ang="0">
                      <a:pos x="connsiteX1" y="connsiteY1"/>
                    </a:cxn>
                    <a:cxn ang="0">
                      <a:pos x="connsiteX2" y="connsiteY2"/>
                    </a:cxn>
                    <a:cxn ang="0">
                      <a:pos x="connsiteX3" y="connsiteY3"/>
                    </a:cxn>
                  </a:cxnLst>
                  <a:rect l="l" t="t" r="r" b="b"/>
                  <a:pathLst>
                    <a:path w="59328" h="230197">
                      <a:moveTo>
                        <a:pt x="59329" y="718"/>
                      </a:moveTo>
                      <a:lnTo>
                        <a:pt x="2990" y="230198"/>
                      </a:lnTo>
                      <a:lnTo>
                        <a:pt x="0" y="229480"/>
                      </a:lnTo>
                      <a:lnTo>
                        <a:pt x="56338" y="0"/>
                      </a:lnTo>
                      <a:close/>
                    </a:path>
                  </a:pathLst>
                </a:custGeom>
                <a:grpFill/>
                <a:ln w="5978" cap="flat">
                  <a:noFill/>
                  <a:prstDash val="solid"/>
                  <a:miter/>
                </a:ln>
              </p:spPr>
              <p:txBody>
                <a:bodyPr rtlCol="0" anchor="ctr"/>
                <a:lstStyle/>
                <a:p>
                  <a:endParaRPr lang="en-GB"/>
                </a:p>
              </p:txBody>
            </p:sp>
            <p:sp>
              <p:nvSpPr>
                <p:cNvPr id="2621" name="Vrije vorm: vorm 2620">
                  <a:extLst>
                    <a:ext uri="{FF2B5EF4-FFF2-40B4-BE49-F238E27FC236}">
                      <a16:creationId xmlns:a16="http://schemas.microsoft.com/office/drawing/2014/main" id="{5E79E3E1-C841-4C29-AE04-7B9C94495565}"/>
                    </a:ext>
                  </a:extLst>
                </p:cNvPr>
                <p:cNvSpPr/>
                <p:nvPr/>
              </p:nvSpPr>
              <p:spPr>
                <a:xfrm>
                  <a:off x="5552737" y="5417151"/>
                  <a:ext cx="18312" cy="18451"/>
                </a:xfrm>
                <a:custGeom>
                  <a:avLst/>
                  <a:gdLst>
                    <a:gd name="connsiteX0" fmla="*/ 18026 w 18312"/>
                    <a:gd name="connsiteY0" fmla="*/ 11470 h 18451"/>
                    <a:gd name="connsiteX1" fmla="*/ 6962 w 18312"/>
                    <a:gd name="connsiteY1" fmla="*/ 18169 h 18451"/>
                    <a:gd name="connsiteX2" fmla="*/ 263 w 18312"/>
                    <a:gd name="connsiteY2" fmla="*/ 6985 h 18451"/>
                    <a:gd name="connsiteX3" fmla="*/ 11328 w 18312"/>
                    <a:gd name="connsiteY3" fmla="*/ 286 h 18451"/>
                    <a:gd name="connsiteX4" fmla="*/ 18026 w 18312"/>
                    <a:gd name="connsiteY4" fmla="*/ 11470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1">
                      <a:moveTo>
                        <a:pt x="18026" y="11470"/>
                      </a:moveTo>
                      <a:cubicBezTo>
                        <a:pt x="16830" y="16374"/>
                        <a:pt x="11866" y="19425"/>
                        <a:pt x="6962" y="18169"/>
                      </a:cubicBezTo>
                      <a:cubicBezTo>
                        <a:pt x="2058" y="16913"/>
                        <a:pt x="-933" y="11949"/>
                        <a:pt x="263" y="6985"/>
                      </a:cubicBezTo>
                      <a:cubicBezTo>
                        <a:pt x="1459" y="2021"/>
                        <a:pt x="6423" y="-969"/>
                        <a:pt x="11328" y="286"/>
                      </a:cubicBezTo>
                      <a:cubicBezTo>
                        <a:pt x="16292" y="1542"/>
                        <a:pt x="19282" y="6566"/>
                        <a:pt x="18026" y="11470"/>
                      </a:cubicBezTo>
                      <a:close/>
                    </a:path>
                  </a:pathLst>
                </a:custGeom>
                <a:grpFill/>
                <a:ln w="5978" cap="flat">
                  <a:noFill/>
                  <a:prstDash val="solid"/>
                  <a:miter/>
                </a:ln>
              </p:spPr>
              <p:txBody>
                <a:bodyPr rtlCol="0" anchor="ctr"/>
                <a:lstStyle/>
                <a:p>
                  <a:endParaRPr lang="en-GB"/>
                </a:p>
              </p:txBody>
            </p:sp>
            <p:sp>
              <p:nvSpPr>
                <p:cNvPr id="2622" name="Vrije vorm: vorm 2621">
                  <a:extLst>
                    <a:ext uri="{FF2B5EF4-FFF2-40B4-BE49-F238E27FC236}">
                      <a16:creationId xmlns:a16="http://schemas.microsoft.com/office/drawing/2014/main" id="{203A8AF5-9B6E-44E6-8328-45F96960436B}"/>
                    </a:ext>
                  </a:extLst>
                </p:cNvPr>
                <p:cNvSpPr/>
                <p:nvPr/>
              </p:nvSpPr>
              <p:spPr>
                <a:xfrm>
                  <a:off x="5608896" y="5188568"/>
                  <a:ext cx="18289" cy="18455"/>
                </a:xfrm>
                <a:custGeom>
                  <a:avLst/>
                  <a:gdLst>
                    <a:gd name="connsiteX0" fmla="*/ 18026 w 18289"/>
                    <a:gd name="connsiteY0" fmla="*/ 11470 h 18455"/>
                    <a:gd name="connsiteX1" fmla="*/ 11328 w 18289"/>
                    <a:gd name="connsiteY1" fmla="*/ 286 h 18455"/>
                    <a:gd name="connsiteX2" fmla="*/ 263 w 18289"/>
                    <a:gd name="connsiteY2" fmla="*/ 6985 h 18455"/>
                    <a:gd name="connsiteX3" fmla="*/ 6962 w 18289"/>
                    <a:gd name="connsiteY3" fmla="*/ 18169 h 18455"/>
                    <a:gd name="connsiteX4" fmla="*/ 18026 w 18289"/>
                    <a:gd name="connsiteY4" fmla="*/ 11470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5">
                      <a:moveTo>
                        <a:pt x="18026" y="11470"/>
                      </a:moveTo>
                      <a:cubicBezTo>
                        <a:pt x="19223" y="6566"/>
                        <a:pt x="16232" y="1542"/>
                        <a:pt x="11328" y="286"/>
                      </a:cubicBezTo>
                      <a:cubicBezTo>
                        <a:pt x="6424" y="-970"/>
                        <a:pt x="1460" y="2021"/>
                        <a:pt x="263" y="6985"/>
                      </a:cubicBezTo>
                      <a:cubicBezTo>
                        <a:pt x="-933" y="11889"/>
                        <a:pt x="2058" y="16913"/>
                        <a:pt x="6962" y="18169"/>
                      </a:cubicBezTo>
                      <a:cubicBezTo>
                        <a:pt x="11806" y="19425"/>
                        <a:pt x="16770" y="16435"/>
                        <a:pt x="18026" y="11470"/>
                      </a:cubicBezTo>
                      <a:close/>
                    </a:path>
                  </a:pathLst>
                </a:custGeom>
                <a:grpFill/>
                <a:ln w="5978" cap="flat">
                  <a:noFill/>
                  <a:prstDash val="solid"/>
                  <a:miter/>
                </a:ln>
              </p:spPr>
              <p:txBody>
                <a:bodyPr rtlCol="0" anchor="ctr"/>
                <a:lstStyle/>
                <a:p>
                  <a:endParaRPr lang="en-GB"/>
                </a:p>
              </p:txBody>
            </p:sp>
          </p:grpSp>
          <p:grpSp>
            <p:nvGrpSpPr>
              <p:cNvPr id="927" name="Graphic 3">
                <a:extLst>
                  <a:ext uri="{FF2B5EF4-FFF2-40B4-BE49-F238E27FC236}">
                    <a16:creationId xmlns:a16="http://schemas.microsoft.com/office/drawing/2014/main" id="{884A01E9-AF42-44D4-A545-19752F223365}"/>
                  </a:ext>
                </a:extLst>
              </p:cNvPr>
              <p:cNvGrpSpPr/>
              <p:nvPr/>
            </p:nvGrpSpPr>
            <p:grpSpPr>
              <a:xfrm>
                <a:off x="5519697" y="5127237"/>
                <a:ext cx="54046" cy="143629"/>
                <a:chOff x="5519697" y="5127237"/>
                <a:chExt cx="54046" cy="143629"/>
              </a:xfrm>
              <a:grpFill/>
            </p:grpSpPr>
            <p:sp>
              <p:nvSpPr>
                <p:cNvPr id="2617" name="Vrije vorm: vorm 2616">
                  <a:extLst>
                    <a:ext uri="{FF2B5EF4-FFF2-40B4-BE49-F238E27FC236}">
                      <a16:creationId xmlns:a16="http://schemas.microsoft.com/office/drawing/2014/main" id="{3510B4F4-3D54-4ED2-BC52-35BE1DA72BC2}"/>
                    </a:ext>
                  </a:extLst>
                </p:cNvPr>
                <p:cNvSpPr/>
                <p:nvPr/>
              </p:nvSpPr>
              <p:spPr>
                <a:xfrm>
                  <a:off x="5527283" y="5135566"/>
                  <a:ext cx="38874" cy="126970"/>
                </a:xfrm>
                <a:custGeom>
                  <a:avLst/>
                  <a:gdLst>
                    <a:gd name="connsiteX0" fmla="*/ 38875 w 38874"/>
                    <a:gd name="connsiteY0" fmla="*/ 897 h 126970"/>
                    <a:gd name="connsiteX1" fmla="*/ 2930 w 38874"/>
                    <a:gd name="connsiteY1" fmla="*/ 126971 h 126970"/>
                    <a:gd name="connsiteX2" fmla="*/ 0 w 38874"/>
                    <a:gd name="connsiteY2" fmla="*/ 126074 h 126970"/>
                    <a:gd name="connsiteX3" fmla="*/ 35944 w 38874"/>
                    <a:gd name="connsiteY3" fmla="*/ 0 h 126970"/>
                  </a:gdLst>
                  <a:ahLst/>
                  <a:cxnLst>
                    <a:cxn ang="0">
                      <a:pos x="connsiteX0" y="connsiteY0"/>
                    </a:cxn>
                    <a:cxn ang="0">
                      <a:pos x="connsiteX1" y="connsiteY1"/>
                    </a:cxn>
                    <a:cxn ang="0">
                      <a:pos x="connsiteX2" y="connsiteY2"/>
                    </a:cxn>
                    <a:cxn ang="0">
                      <a:pos x="connsiteX3" y="connsiteY3"/>
                    </a:cxn>
                  </a:cxnLst>
                  <a:rect l="l" t="t" r="r" b="b"/>
                  <a:pathLst>
                    <a:path w="38874" h="126970">
                      <a:moveTo>
                        <a:pt x="38875" y="897"/>
                      </a:moveTo>
                      <a:lnTo>
                        <a:pt x="2930" y="126971"/>
                      </a:lnTo>
                      <a:lnTo>
                        <a:pt x="0" y="126074"/>
                      </a:lnTo>
                      <a:lnTo>
                        <a:pt x="35944" y="0"/>
                      </a:lnTo>
                      <a:close/>
                    </a:path>
                  </a:pathLst>
                </a:custGeom>
                <a:grpFill/>
                <a:ln w="5978" cap="flat">
                  <a:noFill/>
                  <a:prstDash val="solid"/>
                  <a:miter/>
                </a:ln>
              </p:spPr>
              <p:txBody>
                <a:bodyPr rtlCol="0" anchor="ctr"/>
                <a:lstStyle/>
                <a:p>
                  <a:endParaRPr lang="en-GB"/>
                </a:p>
              </p:txBody>
            </p:sp>
            <p:sp>
              <p:nvSpPr>
                <p:cNvPr id="2618" name="Vrije vorm: vorm 2617">
                  <a:extLst>
                    <a:ext uri="{FF2B5EF4-FFF2-40B4-BE49-F238E27FC236}">
                      <a16:creationId xmlns:a16="http://schemas.microsoft.com/office/drawing/2014/main" id="{54D8023C-DC57-41DA-8B30-29C0C43A92DE}"/>
                    </a:ext>
                  </a:extLst>
                </p:cNvPr>
                <p:cNvSpPr/>
                <p:nvPr/>
              </p:nvSpPr>
              <p:spPr>
                <a:xfrm>
                  <a:off x="5519697" y="5252413"/>
                  <a:ext cx="18341" cy="18452"/>
                </a:xfrm>
                <a:custGeom>
                  <a:avLst/>
                  <a:gdLst>
                    <a:gd name="connsiteX0" fmla="*/ 17992 w 18341"/>
                    <a:gd name="connsiteY0" fmla="*/ 11798 h 18452"/>
                    <a:gd name="connsiteX1" fmla="*/ 6629 w 18341"/>
                    <a:gd name="connsiteY1" fmla="*/ 18078 h 18452"/>
                    <a:gd name="connsiteX2" fmla="*/ 349 w 18341"/>
                    <a:gd name="connsiteY2" fmla="*/ 6655 h 18452"/>
                    <a:gd name="connsiteX3" fmla="*/ 11712 w 18341"/>
                    <a:gd name="connsiteY3" fmla="*/ 375 h 18452"/>
                    <a:gd name="connsiteX4" fmla="*/ 17992 w 18341"/>
                    <a:gd name="connsiteY4" fmla="*/ 1179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2">
                      <a:moveTo>
                        <a:pt x="17992" y="11798"/>
                      </a:moveTo>
                      <a:cubicBezTo>
                        <a:pt x="16617" y="16702"/>
                        <a:pt x="11533" y="19513"/>
                        <a:pt x="6629" y="18078"/>
                      </a:cubicBezTo>
                      <a:cubicBezTo>
                        <a:pt x="1785" y="16642"/>
                        <a:pt x="-1027" y="11559"/>
                        <a:pt x="349" y="6655"/>
                      </a:cubicBezTo>
                      <a:cubicBezTo>
                        <a:pt x="1725" y="1750"/>
                        <a:pt x="6808" y="-1060"/>
                        <a:pt x="11712" y="375"/>
                      </a:cubicBezTo>
                      <a:cubicBezTo>
                        <a:pt x="16557" y="1810"/>
                        <a:pt x="19368" y="6894"/>
                        <a:pt x="17992" y="11798"/>
                      </a:cubicBezTo>
                      <a:close/>
                    </a:path>
                  </a:pathLst>
                </a:custGeom>
                <a:grpFill/>
                <a:ln w="5978" cap="flat">
                  <a:noFill/>
                  <a:prstDash val="solid"/>
                  <a:miter/>
                </a:ln>
              </p:spPr>
              <p:txBody>
                <a:bodyPr rtlCol="0" anchor="ctr"/>
                <a:lstStyle/>
                <a:p>
                  <a:endParaRPr lang="en-GB"/>
                </a:p>
              </p:txBody>
            </p:sp>
            <p:sp>
              <p:nvSpPr>
                <p:cNvPr id="2619" name="Vrije vorm: vorm 2618">
                  <a:extLst>
                    <a:ext uri="{FF2B5EF4-FFF2-40B4-BE49-F238E27FC236}">
                      <a16:creationId xmlns:a16="http://schemas.microsoft.com/office/drawing/2014/main" id="{7E61773E-FC2E-4172-85AF-134F5DD716E8}"/>
                    </a:ext>
                  </a:extLst>
                </p:cNvPr>
                <p:cNvSpPr/>
                <p:nvPr/>
              </p:nvSpPr>
              <p:spPr>
                <a:xfrm>
                  <a:off x="5555402" y="5127237"/>
                  <a:ext cx="18341" cy="18452"/>
                </a:xfrm>
                <a:custGeom>
                  <a:avLst/>
                  <a:gdLst>
                    <a:gd name="connsiteX0" fmla="*/ 17992 w 18341"/>
                    <a:gd name="connsiteY0" fmla="*/ 11798 h 18452"/>
                    <a:gd name="connsiteX1" fmla="*/ 11713 w 18341"/>
                    <a:gd name="connsiteY1" fmla="*/ 375 h 18452"/>
                    <a:gd name="connsiteX2" fmla="*/ 349 w 18341"/>
                    <a:gd name="connsiteY2" fmla="*/ 6655 h 18452"/>
                    <a:gd name="connsiteX3" fmla="*/ 6629 w 18341"/>
                    <a:gd name="connsiteY3" fmla="*/ 18078 h 18452"/>
                    <a:gd name="connsiteX4" fmla="*/ 17992 w 18341"/>
                    <a:gd name="connsiteY4" fmla="*/ 1179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2">
                      <a:moveTo>
                        <a:pt x="17992" y="11798"/>
                      </a:moveTo>
                      <a:cubicBezTo>
                        <a:pt x="19368" y="6894"/>
                        <a:pt x="16557" y="1810"/>
                        <a:pt x="11713" y="375"/>
                      </a:cubicBezTo>
                      <a:cubicBezTo>
                        <a:pt x="6868" y="-1061"/>
                        <a:pt x="1784" y="1751"/>
                        <a:pt x="349" y="6655"/>
                      </a:cubicBezTo>
                      <a:cubicBezTo>
                        <a:pt x="-1026" y="11559"/>
                        <a:pt x="1784" y="16643"/>
                        <a:pt x="6629" y="18078"/>
                      </a:cubicBezTo>
                      <a:cubicBezTo>
                        <a:pt x="11533" y="19513"/>
                        <a:pt x="16617" y="16702"/>
                        <a:pt x="17992" y="11798"/>
                      </a:cubicBezTo>
                      <a:close/>
                    </a:path>
                  </a:pathLst>
                </a:custGeom>
                <a:grpFill/>
                <a:ln w="5978" cap="flat">
                  <a:noFill/>
                  <a:prstDash val="solid"/>
                  <a:miter/>
                </a:ln>
              </p:spPr>
              <p:txBody>
                <a:bodyPr rtlCol="0" anchor="ctr"/>
                <a:lstStyle/>
                <a:p>
                  <a:endParaRPr lang="en-GB"/>
                </a:p>
              </p:txBody>
            </p:sp>
          </p:grpSp>
          <p:grpSp>
            <p:nvGrpSpPr>
              <p:cNvPr id="928" name="Graphic 3">
                <a:extLst>
                  <a:ext uri="{FF2B5EF4-FFF2-40B4-BE49-F238E27FC236}">
                    <a16:creationId xmlns:a16="http://schemas.microsoft.com/office/drawing/2014/main" id="{45DA92D3-42D8-464E-8C01-6D5F96AD04C9}"/>
                  </a:ext>
                </a:extLst>
              </p:cNvPr>
              <p:cNvGrpSpPr/>
              <p:nvPr/>
            </p:nvGrpSpPr>
            <p:grpSpPr>
              <a:xfrm>
                <a:off x="4472450" y="2251730"/>
                <a:ext cx="212299" cy="160906"/>
                <a:chOff x="4472450" y="2251730"/>
                <a:chExt cx="212299" cy="160906"/>
              </a:xfrm>
              <a:grpFill/>
            </p:grpSpPr>
            <p:sp>
              <p:nvSpPr>
                <p:cNvPr id="2614" name="Vrije vorm: vorm 2613">
                  <a:extLst>
                    <a:ext uri="{FF2B5EF4-FFF2-40B4-BE49-F238E27FC236}">
                      <a16:creationId xmlns:a16="http://schemas.microsoft.com/office/drawing/2014/main" id="{7A8C788D-5C56-4EC4-920B-C444991D7C96}"/>
                    </a:ext>
                  </a:extLst>
                </p:cNvPr>
                <p:cNvSpPr/>
                <p:nvPr/>
              </p:nvSpPr>
              <p:spPr>
                <a:xfrm>
                  <a:off x="4480298" y="2259377"/>
                  <a:ext cx="196526" cy="145570"/>
                </a:xfrm>
                <a:custGeom>
                  <a:avLst/>
                  <a:gdLst>
                    <a:gd name="connsiteX0" fmla="*/ 196527 w 196526"/>
                    <a:gd name="connsiteY0" fmla="*/ 143119 h 145570"/>
                    <a:gd name="connsiteX1" fmla="*/ 194792 w 196526"/>
                    <a:gd name="connsiteY1" fmla="*/ 145571 h 145570"/>
                    <a:gd name="connsiteX2" fmla="*/ 0 w 196526"/>
                    <a:gd name="connsiteY2" fmla="*/ 2512 h 145570"/>
                    <a:gd name="connsiteX3" fmla="*/ 1794 w 196526"/>
                    <a:gd name="connsiteY3" fmla="*/ 0 h 145570"/>
                  </a:gdLst>
                  <a:ahLst/>
                  <a:cxnLst>
                    <a:cxn ang="0">
                      <a:pos x="connsiteX0" y="connsiteY0"/>
                    </a:cxn>
                    <a:cxn ang="0">
                      <a:pos x="connsiteX1" y="connsiteY1"/>
                    </a:cxn>
                    <a:cxn ang="0">
                      <a:pos x="connsiteX2" y="connsiteY2"/>
                    </a:cxn>
                    <a:cxn ang="0">
                      <a:pos x="connsiteX3" y="connsiteY3"/>
                    </a:cxn>
                  </a:cxnLst>
                  <a:rect l="l" t="t" r="r" b="b"/>
                  <a:pathLst>
                    <a:path w="196526" h="145570">
                      <a:moveTo>
                        <a:pt x="196527" y="143119"/>
                      </a:moveTo>
                      <a:lnTo>
                        <a:pt x="194792" y="145571"/>
                      </a:lnTo>
                      <a:lnTo>
                        <a:pt x="0" y="2512"/>
                      </a:lnTo>
                      <a:lnTo>
                        <a:pt x="1794" y="0"/>
                      </a:lnTo>
                      <a:close/>
                    </a:path>
                  </a:pathLst>
                </a:custGeom>
                <a:grpFill/>
                <a:ln w="5978" cap="flat">
                  <a:noFill/>
                  <a:prstDash val="solid"/>
                  <a:miter/>
                </a:ln>
              </p:spPr>
              <p:txBody>
                <a:bodyPr rtlCol="0" anchor="ctr"/>
                <a:lstStyle/>
                <a:p>
                  <a:endParaRPr lang="en-GB"/>
                </a:p>
              </p:txBody>
            </p:sp>
            <p:sp>
              <p:nvSpPr>
                <p:cNvPr id="2615" name="Vrije vorm: vorm 2614">
                  <a:extLst>
                    <a:ext uri="{FF2B5EF4-FFF2-40B4-BE49-F238E27FC236}">
                      <a16:creationId xmlns:a16="http://schemas.microsoft.com/office/drawing/2014/main" id="{793AC4A7-8515-42EE-A04A-AFD4908237F5}"/>
                    </a:ext>
                  </a:extLst>
                </p:cNvPr>
                <p:cNvSpPr/>
                <p:nvPr/>
              </p:nvSpPr>
              <p:spPr>
                <a:xfrm>
                  <a:off x="4472450" y="2251730"/>
                  <a:ext cx="18327" cy="18386"/>
                </a:xfrm>
                <a:custGeom>
                  <a:avLst/>
                  <a:gdLst>
                    <a:gd name="connsiteX0" fmla="*/ 3781 w 18327"/>
                    <a:gd name="connsiteY0" fmla="*/ 16618 h 18386"/>
                    <a:gd name="connsiteX1" fmla="*/ 1748 w 18327"/>
                    <a:gd name="connsiteY1" fmla="*/ 3759 h 18386"/>
                    <a:gd name="connsiteX2" fmla="*/ 14546 w 18327"/>
                    <a:gd name="connsiteY2" fmla="*/ 1786 h 18386"/>
                    <a:gd name="connsiteX3" fmla="*/ 16580 w 18327"/>
                    <a:gd name="connsiteY3" fmla="*/ 14644 h 18386"/>
                    <a:gd name="connsiteX4" fmla="*/ 3781 w 18327"/>
                    <a:gd name="connsiteY4" fmla="*/ 16618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86">
                      <a:moveTo>
                        <a:pt x="3781" y="16618"/>
                      </a:moveTo>
                      <a:cubicBezTo>
                        <a:pt x="-286" y="13628"/>
                        <a:pt x="-1243" y="7826"/>
                        <a:pt x="1748" y="3759"/>
                      </a:cubicBezTo>
                      <a:cubicBezTo>
                        <a:pt x="4738" y="-367"/>
                        <a:pt x="10479" y="-1205"/>
                        <a:pt x="14546" y="1786"/>
                      </a:cubicBezTo>
                      <a:cubicBezTo>
                        <a:pt x="18613" y="4776"/>
                        <a:pt x="19570" y="10577"/>
                        <a:pt x="16580" y="14644"/>
                      </a:cubicBezTo>
                      <a:cubicBezTo>
                        <a:pt x="13589" y="18711"/>
                        <a:pt x="7848" y="19608"/>
                        <a:pt x="3781" y="16618"/>
                      </a:cubicBezTo>
                      <a:close/>
                    </a:path>
                  </a:pathLst>
                </a:custGeom>
                <a:grpFill/>
                <a:ln w="5978" cap="flat">
                  <a:noFill/>
                  <a:prstDash val="solid"/>
                  <a:miter/>
                </a:ln>
              </p:spPr>
              <p:txBody>
                <a:bodyPr rtlCol="0" anchor="ctr"/>
                <a:lstStyle/>
                <a:p>
                  <a:endParaRPr lang="en-GB"/>
                </a:p>
              </p:txBody>
            </p:sp>
            <p:sp>
              <p:nvSpPr>
                <p:cNvPr id="2616" name="Vrije vorm: vorm 2615">
                  <a:extLst>
                    <a:ext uri="{FF2B5EF4-FFF2-40B4-BE49-F238E27FC236}">
                      <a16:creationId xmlns:a16="http://schemas.microsoft.com/office/drawing/2014/main" id="{83FDB53A-BE41-4E35-9E4A-86C7FBBC39B6}"/>
                    </a:ext>
                  </a:extLst>
                </p:cNvPr>
                <p:cNvSpPr/>
                <p:nvPr/>
              </p:nvSpPr>
              <p:spPr>
                <a:xfrm>
                  <a:off x="4666431" y="2394268"/>
                  <a:ext cx="18318" cy="18368"/>
                </a:xfrm>
                <a:custGeom>
                  <a:avLst/>
                  <a:gdLst>
                    <a:gd name="connsiteX0" fmla="*/ 3755 w 18318"/>
                    <a:gd name="connsiteY0" fmla="*/ 16600 h 18368"/>
                    <a:gd name="connsiteX1" fmla="*/ 16554 w 18318"/>
                    <a:gd name="connsiteY1" fmla="*/ 14627 h 18368"/>
                    <a:gd name="connsiteX2" fmla="*/ 14520 w 18318"/>
                    <a:gd name="connsiteY2" fmla="*/ 1768 h 18368"/>
                    <a:gd name="connsiteX3" fmla="*/ 1722 w 18318"/>
                    <a:gd name="connsiteY3" fmla="*/ 3742 h 18368"/>
                    <a:gd name="connsiteX4" fmla="*/ 3755 w 18318"/>
                    <a:gd name="connsiteY4" fmla="*/ 16600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68">
                      <a:moveTo>
                        <a:pt x="3755" y="16600"/>
                      </a:moveTo>
                      <a:cubicBezTo>
                        <a:pt x="7822" y="19591"/>
                        <a:pt x="13563" y="18694"/>
                        <a:pt x="16554" y="14627"/>
                      </a:cubicBezTo>
                      <a:cubicBezTo>
                        <a:pt x="19544" y="10500"/>
                        <a:pt x="18647" y="4759"/>
                        <a:pt x="14520" y="1768"/>
                      </a:cubicBezTo>
                      <a:cubicBezTo>
                        <a:pt x="10453" y="-1222"/>
                        <a:pt x="4712" y="-325"/>
                        <a:pt x="1722" y="3742"/>
                      </a:cubicBezTo>
                      <a:cubicBezTo>
                        <a:pt x="-1209" y="7809"/>
                        <a:pt x="-312" y="13610"/>
                        <a:pt x="3755" y="16600"/>
                      </a:cubicBezTo>
                      <a:close/>
                    </a:path>
                  </a:pathLst>
                </a:custGeom>
                <a:grpFill/>
                <a:ln w="5978" cap="flat">
                  <a:noFill/>
                  <a:prstDash val="solid"/>
                  <a:miter/>
                </a:ln>
              </p:spPr>
              <p:txBody>
                <a:bodyPr rtlCol="0" anchor="ctr"/>
                <a:lstStyle/>
                <a:p>
                  <a:endParaRPr lang="en-GB"/>
                </a:p>
              </p:txBody>
            </p:sp>
          </p:grpSp>
          <p:grpSp>
            <p:nvGrpSpPr>
              <p:cNvPr id="929" name="Graphic 3">
                <a:extLst>
                  <a:ext uri="{FF2B5EF4-FFF2-40B4-BE49-F238E27FC236}">
                    <a16:creationId xmlns:a16="http://schemas.microsoft.com/office/drawing/2014/main" id="{E18D10A1-BA40-46FC-9319-0AFF8D651B60}"/>
                  </a:ext>
                </a:extLst>
              </p:cNvPr>
              <p:cNvGrpSpPr/>
              <p:nvPr/>
            </p:nvGrpSpPr>
            <p:grpSpPr>
              <a:xfrm>
                <a:off x="5540058" y="5069910"/>
                <a:ext cx="212782" cy="809166"/>
                <a:chOff x="5540058" y="5069910"/>
                <a:chExt cx="212782" cy="809166"/>
              </a:xfrm>
              <a:grpFill/>
            </p:grpSpPr>
            <p:sp>
              <p:nvSpPr>
                <p:cNvPr id="2611" name="Vrije vorm: vorm 2610">
                  <a:extLst>
                    <a:ext uri="{FF2B5EF4-FFF2-40B4-BE49-F238E27FC236}">
                      <a16:creationId xmlns:a16="http://schemas.microsoft.com/office/drawing/2014/main" id="{5593D71B-77DE-4E32-A567-C2332ADA638C}"/>
                    </a:ext>
                  </a:extLst>
                </p:cNvPr>
                <p:cNvSpPr/>
                <p:nvPr/>
              </p:nvSpPr>
              <p:spPr>
                <a:xfrm>
                  <a:off x="5547677" y="5078330"/>
                  <a:ext cx="197543" cy="792326"/>
                </a:xfrm>
                <a:custGeom>
                  <a:avLst/>
                  <a:gdLst>
                    <a:gd name="connsiteX0" fmla="*/ 197543 w 197543"/>
                    <a:gd name="connsiteY0" fmla="*/ 778 h 792326"/>
                    <a:gd name="connsiteX1" fmla="*/ 2930 w 197543"/>
                    <a:gd name="connsiteY1" fmla="*/ 792326 h 792326"/>
                    <a:gd name="connsiteX2" fmla="*/ 0 w 197543"/>
                    <a:gd name="connsiteY2" fmla="*/ 791549 h 792326"/>
                    <a:gd name="connsiteX3" fmla="*/ 194613 w 197543"/>
                    <a:gd name="connsiteY3" fmla="*/ 0 h 792326"/>
                  </a:gdLst>
                  <a:ahLst/>
                  <a:cxnLst>
                    <a:cxn ang="0">
                      <a:pos x="connsiteX0" y="connsiteY0"/>
                    </a:cxn>
                    <a:cxn ang="0">
                      <a:pos x="connsiteX1" y="connsiteY1"/>
                    </a:cxn>
                    <a:cxn ang="0">
                      <a:pos x="connsiteX2" y="connsiteY2"/>
                    </a:cxn>
                    <a:cxn ang="0">
                      <a:pos x="connsiteX3" y="connsiteY3"/>
                    </a:cxn>
                  </a:cxnLst>
                  <a:rect l="l" t="t" r="r" b="b"/>
                  <a:pathLst>
                    <a:path w="197543" h="792326">
                      <a:moveTo>
                        <a:pt x="197543" y="778"/>
                      </a:moveTo>
                      <a:lnTo>
                        <a:pt x="2930" y="792326"/>
                      </a:lnTo>
                      <a:lnTo>
                        <a:pt x="0" y="791549"/>
                      </a:lnTo>
                      <a:lnTo>
                        <a:pt x="194613" y="0"/>
                      </a:lnTo>
                      <a:close/>
                    </a:path>
                  </a:pathLst>
                </a:custGeom>
                <a:grpFill/>
                <a:ln w="5978" cap="flat">
                  <a:noFill/>
                  <a:prstDash val="solid"/>
                  <a:miter/>
                </a:ln>
              </p:spPr>
              <p:txBody>
                <a:bodyPr rtlCol="0" anchor="ctr"/>
                <a:lstStyle/>
                <a:p>
                  <a:endParaRPr lang="en-GB"/>
                </a:p>
              </p:txBody>
            </p:sp>
            <p:sp>
              <p:nvSpPr>
                <p:cNvPr id="2612" name="Vrije vorm: vorm 2611">
                  <a:extLst>
                    <a:ext uri="{FF2B5EF4-FFF2-40B4-BE49-F238E27FC236}">
                      <a16:creationId xmlns:a16="http://schemas.microsoft.com/office/drawing/2014/main" id="{2BC706E7-FFB1-4F0A-B74E-676491ACA36F}"/>
                    </a:ext>
                  </a:extLst>
                </p:cNvPr>
                <p:cNvSpPr/>
                <p:nvPr/>
              </p:nvSpPr>
              <p:spPr>
                <a:xfrm>
                  <a:off x="5734471" y="5069910"/>
                  <a:ext cx="18368" cy="18451"/>
                </a:xfrm>
                <a:custGeom>
                  <a:avLst/>
                  <a:gdLst>
                    <a:gd name="connsiteX0" fmla="*/ 283 w 18368"/>
                    <a:gd name="connsiteY0" fmla="*/ 6985 h 18451"/>
                    <a:gd name="connsiteX1" fmla="*/ 11407 w 18368"/>
                    <a:gd name="connsiteY1" fmla="*/ 286 h 18451"/>
                    <a:gd name="connsiteX2" fmla="*/ 18106 w 18368"/>
                    <a:gd name="connsiteY2" fmla="*/ 11470 h 18451"/>
                    <a:gd name="connsiteX3" fmla="*/ 6981 w 18368"/>
                    <a:gd name="connsiteY3" fmla="*/ 18169 h 18451"/>
                    <a:gd name="connsiteX4" fmla="*/ 283 w 18368"/>
                    <a:gd name="connsiteY4" fmla="*/ 6985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51">
                      <a:moveTo>
                        <a:pt x="283" y="6985"/>
                      </a:moveTo>
                      <a:cubicBezTo>
                        <a:pt x="1479" y="2021"/>
                        <a:pt x="6443" y="-969"/>
                        <a:pt x="11407" y="286"/>
                      </a:cubicBezTo>
                      <a:cubicBezTo>
                        <a:pt x="16311" y="1542"/>
                        <a:pt x="19301" y="6507"/>
                        <a:pt x="18106" y="11470"/>
                      </a:cubicBezTo>
                      <a:cubicBezTo>
                        <a:pt x="16909" y="16374"/>
                        <a:pt x="11945" y="19425"/>
                        <a:pt x="6981" y="18169"/>
                      </a:cubicBezTo>
                      <a:cubicBezTo>
                        <a:pt x="2077" y="16973"/>
                        <a:pt x="-973" y="11949"/>
                        <a:pt x="283" y="6985"/>
                      </a:cubicBezTo>
                      <a:close/>
                    </a:path>
                  </a:pathLst>
                </a:custGeom>
                <a:grpFill/>
                <a:ln w="5978" cap="flat">
                  <a:noFill/>
                  <a:prstDash val="solid"/>
                  <a:miter/>
                </a:ln>
              </p:spPr>
              <p:txBody>
                <a:bodyPr rtlCol="0" anchor="ctr"/>
                <a:lstStyle/>
                <a:p>
                  <a:endParaRPr lang="en-GB"/>
                </a:p>
              </p:txBody>
            </p:sp>
            <p:sp>
              <p:nvSpPr>
                <p:cNvPr id="2613" name="Vrije vorm: vorm 2612">
                  <a:extLst>
                    <a:ext uri="{FF2B5EF4-FFF2-40B4-BE49-F238E27FC236}">
                      <a16:creationId xmlns:a16="http://schemas.microsoft.com/office/drawing/2014/main" id="{66146490-7EA2-4F75-BFCD-F8905C4BE443}"/>
                    </a:ext>
                  </a:extLst>
                </p:cNvPr>
                <p:cNvSpPr/>
                <p:nvPr/>
              </p:nvSpPr>
              <p:spPr>
                <a:xfrm>
                  <a:off x="5540058" y="5860621"/>
                  <a:ext cx="18289" cy="18455"/>
                </a:xfrm>
                <a:custGeom>
                  <a:avLst/>
                  <a:gdLst>
                    <a:gd name="connsiteX0" fmla="*/ 263 w 18289"/>
                    <a:gd name="connsiteY0" fmla="*/ 6985 h 18455"/>
                    <a:gd name="connsiteX1" fmla="*/ 6962 w 18289"/>
                    <a:gd name="connsiteY1" fmla="*/ 18169 h 18455"/>
                    <a:gd name="connsiteX2" fmla="*/ 18026 w 18289"/>
                    <a:gd name="connsiteY2" fmla="*/ 11470 h 18455"/>
                    <a:gd name="connsiteX3" fmla="*/ 11328 w 18289"/>
                    <a:gd name="connsiteY3" fmla="*/ 286 h 18455"/>
                    <a:gd name="connsiteX4" fmla="*/ 263 w 18289"/>
                    <a:gd name="connsiteY4" fmla="*/ 6985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5">
                      <a:moveTo>
                        <a:pt x="263" y="6985"/>
                      </a:moveTo>
                      <a:cubicBezTo>
                        <a:pt x="-933" y="11949"/>
                        <a:pt x="2058" y="16913"/>
                        <a:pt x="6962" y="18169"/>
                      </a:cubicBezTo>
                      <a:cubicBezTo>
                        <a:pt x="11866" y="19425"/>
                        <a:pt x="16830" y="16435"/>
                        <a:pt x="18026" y="11470"/>
                      </a:cubicBezTo>
                      <a:cubicBezTo>
                        <a:pt x="19222" y="6566"/>
                        <a:pt x="16232" y="1543"/>
                        <a:pt x="11328" y="286"/>
                      </a:cubicBezTo>
                      <a:cubicBezTo>
                        <a:pt x="6483" y="-970"/>
                        <a:pt x="1519" y="2021"/>
                        <a:pt x="263" y="6985"/>
                      </a:cubicBezTo>
                      <a:close/>
                    </a:path>
                  </a:pathLst>
                </a:custGeom>
                <a:grpFill/>
                <a:ln w="5978" cap="flat">
                  <a:noFill/>
                  <a:prstDash val="solid"/>
                  <a:miter/>
                </a:ln>
              </p:spPr>
              <p:txBody>
                <a:bodyPr rtlCol="0" anchor="ctr"/>
                <a:lstStyle/>
                <a:p>
                  <a:endParaRPr lang="en-GB"/>
                </a:p>
              </p:txBody>
            </p:sp>
          </p:grpSp>
          <p:grpSp>
            <p:nvGrpSpPr>
              <p:cNvPr id="930" name="Graphic 3">
                <a:extLst>
                  <a:ext uri="{FF2B5EF4-FFF2-40B4-BE49-F238E27FC236}">
                    <a16:creationId xmlns:a16="http://schemas.microsoft.com/office/drawing/2014/main" id="{23A9C9B2-FCFD-4389-840B-B7A16360603F}"/>
                  </a:ext>
                </a:extLst>
              </p:cNvPr>
              <p:cNvGrpSpPr/>
              <p:nvPr/>
            </p:nvGrpSpPr>
            <p:grpSpPr>
              <a:xfrm>
                <a:off x="4358130" y="2069029"/>
                <a:ext cx="352108" cy="322085"/>
                <a:chOff x="4358130" y="2069029"/>
                <a:chExt cx="352108" cy="322085"/>
              </a:xfrm>
              <a:grpFill/>
            </p:grpSpPr>
            <p:sp>
              <p:nvSpPr>
                <p:cNvPr id="2608" name="Vrije vorm: vorm 2607">
                  <a:extLst>
                    <a:ext uri="{FF2B5EF4-FFF2-40B4-BE49-F238E27FC236}">
                      <a16:creationId xmlns:a16="http://schemas.microsoft.com/office/drawing/2014/main" id="{DAED3970-F9C8-441A-B712-30646822E82F}"/>
                    </a:ext>
                  </a:extLst>
                </p:cNvPr>
                <p:cNvSpPr/>
                <p:nvPr/>
              </p:nvSpPr>
              <p:spPr>
                <a:xfrm>
                  <a:off x="4365886" y="2076786"/>
                  <a:ext cx="336535" cy="306511"/>
                </a:xfrm>
                <a:custGeom>
                  <a:avLst/>
                  <a:gdLst>
                    <a:gd name="connsiteX0" fmla="*/ 336535 w 336535"/>
                    <a:gd name="connsiteY0" fmla="*/ 304239 h 306511"/>
                    <a:gd name="connsiteX1" fmla="*/ 334502 w 336535"/>
                    <a:gd name="connsiteY1" fmla="*/ 306512 h 306511"/>
                    <a:gd name="connsiteX2" fmla="*/ 0 w 336535"/>
                    <a:gd name="connsiteY2" fmla="*/ 2273 h 306511"/>
                    <a:gd name="connsiteX3" fmla="*/ 2093 w 336535"/>
                    <a:gd name="connsiteY3" fmla="*/ 0 h 306511"/>
                  </a:gdLst>
                  <a:ahLst/>
                  <a:cxnLst>
                    <a:cxn ang="0">
                      <a:pos x="connsiteX0" y="connsiteY0"/>
                    </a:cxn>
                    <a:cxn ang="0">
                      <a:pos x="connsiteX1" y="connsiteY1"/>
                    </a:cxn>
                    <a:cxn ang="0">
                      <a:pos x="connsiteX2" y="connsiteY2"/>
                    </a:cxn>
                    <a:cxn ang="0">
                      <a:pos x="connsiteX3" y="connsiteY3"/>
                    </a:cxn>
                  </a:cxnLst>
                  <a:rect l="l" t="t" r="r" b="b"/>
                  <a:pathLst>
                    <a:path w="336535" h="306511">
                      <a:moveTo>
                        <a:pt x="336535" y="304239"/>
                      </a:moveTo>
                      <a:lnTo>
                        <a:pt x="334502" y="306512"/>
                      </a:lnTo>
                      <a:lnTo>
                        <a:pt x="0" y="2273"/>
                      </a:lnTo>
                      <a:lnTo>
                        <a:pt x="2093" y="0"/>
                      </a:lnTo>
                      <a:close/>
                    </a:path>
                  </a:pathLst>
                </a:custGeom>
                <a:grpFill/>
                <a:ln w="5978" cap="flat">
                  <a:noFill/>
                  <a:prstDash val="solid"/>
                  <a:miter/>
                </a:ln>
              </p:spPr>
              <p:txBody>
                <a:bodyPr rtlCol="0" anchor="ctr"/>
                <a:lstStyle/>
                <a:p>
                  <a:endParaRPr lang="en-GB"/>
                </a:p>
              </p:txBody>
            </p:sp>
            <p:sp>
              <p:nvSpPr>
                <p:cNvPr id="2609" name="Vrije vorm: vorm 2608">
                  <a:extLst>
                    <a:ext uri="{FF2B5EF4-FFF2-40B4-BE49-F238E27FC236}">
                      <a16:creationId xmlns:a16="http://schemas.microsoft.com/office/drawing/2014/main" id="{504DE67D-E008-47A8-9148-9A0ED7DEF34C}"/>
                    </a:ext>
                  </a:extLst>
                </p:cNvPr>
                <p:cNvSpPr/>
                <p:nvPr/>
              </p:nvSpPr>
              <p:spPr>
                <a:xfrm>
                  <a:off x="4691914" y="2372649"/>
                  <a:ext cx="18324" cy="18465"/>
                </a:xfrm>
                <a:custGeom>
                  <a:avLst/>
                  <a:gdLst>
                    <a:gd name="connsiteX0" fmla="*/ 15293 w 18324"/>
                    <a:gd name="connsiteY0" fmla="*/ 2395 h 18465"/>
                    <a:gd name="connsiteX1" fmla="*/ 15950 w 18324"/>
                    <a:gd name="connsiteY1" fmla="*/ 15433 h 18465"/>
                    <a:gd name="connsiteX2" fmla="*/ 3032 w 18324"/>
                    <a:gd name="connsiteY2" fmla="*/ 16091 h 18465"/>
                    <a:gd name="connsiteX3" fmla="*/ 2374 w 18324"/>
                    <a:gd name="connsiteY3" fmla="*/ 3053 h 18465"/>
                    <a:gd name="connsiteX4" fmla="*/ 15293 w 18324"/>
                    <a:gd name="connsiteY4" fmla="*/ 2395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5">
                      <a:moveTo>
                        <a:pt x="15293" y="2395"/>
                      </a:moveTo>
                      <a:cubicBezTo>
                        <a:pt x="19060" y="5804"/>
                        <a:pt x="19359" y="11665"/>
                        <a:pt x="15950" y="15433"/>
                      </a:cubicBezTo>
                      <a:cubicBezTo>
                        <a:pt x="12542" y="19201"/>
                        <a:pt x="6740" y="19500"/>
                        <a:pt x="3032" y="16091"/>
                      </a:cubicBezTo>
                      <a:cubicBezTo>
                        <a:pt x="-736" y="12682"/>
                        <a:pt x="-1035" y="6821"/>
                        <a:pt x="2374" y="3053"/>
                      </a:cubicBezTo>
                      <a:cubicBezTo>
                        <a:pt x="5724" y="-775"/>
                        <a:pt x="11525" y="-1014"/>
                        <a:pt x="15293" y="2395"/>
                      </a:cubicBezTo>
                      <a:close/>
                    </a:path>
                  </a:pathLst>
                </a:custGeom>
                <a:grpFill/>
                <a:ln w="5978" cap="flat">
                  <a:noFill/>
                  <a:prstDash val="solid"/>
                  <a:miter/>
                </a:ln>
              </p:spPr>
              <p:txBody>
                <a:bodyPr rtlCol="0" anchor="ctr"/>
                <a:lstStyle/>
                <a:p>
                  <a:endParaRPr lang="en-GB"/>
                </a:p>
              </p:txBody>
            </p:sp>
            <p:sp>
              <p:nvSpPr>
                <p:cNvPr id="2610" name="Vrije vorm: vorm 2609">
                  <a:extLst>
                    <a:ext uri="{FF2B5EF4-FFF2-40B4-BE49-F238E27FC236}">
                      <a16:creationId xmlns:a16="http://schemas.microsoft.com/office/drawing/2014/main" id="{B22E6CEA-6415-4E3B-A1DA-C404DAF51AC5}"/>
                    </a:ext>
                  </a:extLst>
                </p:cNvPr>
                <p:cNvSpPr/>
                <p:nvPr/>
              </p:nvSpPr>
              <p:spPr>
                <a:xfrm>
                  <a:off x="4358130" y="2069029"/>
                  <a:ext cx="18324" cy="18474"/>
                </a:xfrm>
                <a:custGeom>
                  <a:avLst/>
                  <a:gdLst>
                    <a:gd name="connsiteX0" fmla="*/ 15293 w 18324"/>
                    <a:gd name="connsiteY0" fmla="*/ 2374 h 18474"/>
                    <a:gd name="connsiteX1" fmla="*/ 2374 w 18324"/>
                    <a:gd name="connsiteY1" fmla="*/ 3032 h 18474"/>
                    <a:gd name="connsiteX2" fmla="*/ 3032 w 18324"/>
                    <a:gd name="connsiteY2" fmla="*/ 16070 h 18474"/>
                    <a:gd name="connsiteX3" fmla="*/ 15950 w 18324"/>
                    <a:gd name="connsiteY3" fmla="*/ 15472 h 18474"/>
                    <a:gd name="connsiteX4" fmla="*/ 15293 w 18324"/>
                    <a:gd name="connsiteY4" fmla="*/ 2374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74">
                      <a:moveTo>
                        <a:pt x="15293" y="2374"/>
                      </a:moveTo>
                      <a:cubicBezTo>
                        <a:pt x="11525" y="-1035"/>
                        <a:pt x="5724" y="-736"/>
                        <a:pt x="2374" y="3032"/>
                      </a:cubicBezTo>
                      <a:cubicBezTo>
                        <a:pt x="-1035" y="6800"/>
                        <a:pt x="-736" y="12601"/>
                        <a:pt x="3032" y="16070"/>
                      </a:cubicBezTo>
                      <a:cubicBezTo>
                        <a:pt x="6800" y="19539"/>
                        <a:pt x="12601" y="19180"/>
                        <a:pt x="15950" y="15472"/>
                      </a:cubicBezTo>
                      <a:cubicBezTo>
                        <a:pt x="19359" y="11644"/>
                        <a:pt x="19060" y="5843"/>
                        <a:pt x="15293" y="2374"/>
                      </a:cubicBezTo>
                      <a:close/>
                    </a:path>
                  </a:pathLst>
                </a:custGeom>
                <a:grpFill/>
                <a:ln w="5978" cap="flat">
                  <a:noFill/>
                  <a:prstDash val="solid"/>
                  <a:miter/>
                </a:ln>
              </p:spPr>
              <p:txBody>
                <a:bodyPr rtlCol="0" anchor="ctr"/>
                <a:lstStyle/>
                <a:p>
                  <a:endParaRPr lang="en-GB"/>
                </a:p>
              </p:txBody>
            </p:sp>
          </p:grpSp>
          <p:grpSp>
            <p:nvGrpSpPr>
              <p:cNvPr id="931" name="Graphic 3">
                <a:extLst>
                  <a:ext uri="{FF2B5EF4-FFF2-40B4-BE49-F238E27FC236}">
                    <a16:creationId xmlns:a16="http://schemas.microsoft.com/office/drawing/2014/main" id="{4B205112-F50A-4CE3-9486-D63FE0FF32A6}"/>
                  </a:ext>
                </a:extLst>
              </p:cNvPr>
              <p:cNvGrpSpPr/>
              <p:nvPr/>
            </p:nvGrpSpPr>
            <p:grpSpPr>
              <a:xfrm>
                <a:off x="5489104" y="5054663"/>
                <a:ext cx="202669" cy="641997"/>
                <a:chOff x="5489104" y="5054663"/>
                <a:chExt cx="202669" cy="641997"/>
              </a:xfrm>
              <a:grpFill/>
            </p:grpSpPr>
            <p:sp>
              <p:nvSpPr>
                <p:cNvPr id="2605" name="Vrije vorm: vorm 2604">
                  <a:extLst>
                    <a:ext uri="{FF2B5EF4-FFF2-40B4-BE49-F238E27FC236}">
                      <a16:creationId xmlns:a16="http://schemas.microsoft.com/office/drawing/2014/main" id="{1848578C-0EC4-4685-A27C-6B5B8AFEB638}"/>
                    </a:ext>
                  </a:extLst>
                </p:cNvPr>
                <p:cNvSpPr/>
                <p:nvPr/>
              </p:nvSpPr>
              <p:spPr>
                <a:xfrm>
                  <a:off x="5496662" y="5063020"/>
                  <a:ext cx="187495" cy="625284"/>
                </a:xfrm>
                <a:custGeom>
                  <a:avLst/>
                  <a:gdLst>
                    <a:gd name="connsiteX0" fmla="*/ 187496 w 187495"/>
                    <a:gd name="connsiteY0" fmla="*/ 897 h 625284"/>
                    <a:gd name="connsiteX1" fmla="*/ 2930 w 187495"/>
                    <a:gd name="connsiteY1" fmla="*/ 625285 h 625284"/>
                    <a:gd name="connsiteX2" fmla="*/ 0 w 187495"/>
                    <a:gd name="connsiteY2" fmla="*/ 624447 h 625284"/>
                    <a:gd name="connsiteX3" fmla="*/ 184565 w 187495"/>
                    <a:gd name="connsiteY3" fmla="*/ 0 h 625284"/>
                  </a:gdLst>
                  <a:ahLst/>
                  <a:cxnLst>
                    <a:cxn ang="0">
                      <a:pos x="connsiteX0" y="connsiteY0"/>
                    </a:cxn>
                    <a:cxn ang="0">
                      <a:pos x="connsiteX1" y="connsiteY1"/>
                    </a:cxn>
                    <a:cxn ang="0">
                      <a:pos x="connsiteX2" y="connsiteY2"/>
                    </a:cxn>
                    <a:cxn ang="0">
                      <a:pos x="connsiteX3" y="connsiteY3"/>
                    </a:cxn>
                  </a:cxnLst>
                  <a:rect l="l" t="t" r="r" b="b"/>
                  <a:pathLst>
                    <a:path w="187495" h="625284">
                      <a:moveTo>
                        <a:pt x="187496" y="897"/>
                      </a:moveTo>
                      <a:lnTo>
                        <a:pt x="2930" y="625285"/>
                      </a:lnTo>
                      <a:lnTo>
                        <a:pt x="0" y="624447"/>
                      </a:lnTo>
                      <a:lnTo>
                        <a:pt x="184565" y="0"/>
                      </a:lnTo>
                      <a:close/>
                    </a:path>
                  </a:pathLst>
                </a:custGeom>
                <a:grpFill/>
                <a:ln w="5978" cap="flat">
                  <a:noFill/>
                  <a:prstDash val="solid"/>
                  <a:miter/>
                </a:ln>
              </p:spPr>
              <p:txBody>
                <a:bodyPr rtlCol="0" anchor="ctr"/>
                <a:lstStyle/>
                <a:p>
                  <a:endParaRPr lang="en-GB"/>
                </a:p>
              </p:txBody>
            </p:sp>
            <p:sp>
              <p:nvSpPr>
                <p:cNvPr id="2606" name="Vrije vorm: vorm 2605">
                  <a:extLst>
                    <a:ext uri="{FF2B5EF4-FFF2-40B4-BE49-F238E27FC236}">
                      <a16:creationId xmlns:a16="http://schemas.microsoft.com/office/drawing/2014/main" id="{48B77A8E-6C8C-4D93-87A5-2ED4067938A3}"/>
                    </a:ext>
                  </a:extLst>
                </p:cNvPr>
                <p:cNvSpPr/>
                <p:nvPr/>
              </p:nvSpPr>
              <p:spPr>
                <a:xfrm>
                  <a:off x="5673430" y="5054663"/>
                  <a:ext cx="18344" cy="18447"/>
                </a:xfrm>
                <a:custGeom>
                  <a:avLst/>
                  <a:gdLst>
                    <a:gd name="connsiteX0" fmla="*/ 380 w 18344"/>
                    <a:gd name="connsiteY0" fmla="*/ 6562 h 18447"/>
                    <a:gd name="connsiteX1" fmla="*/ 11804 w 18344"/>
                    <a:gd name="connsiteY1" fmla="*/ 402 h 18447"/>
                    <a:gd name="connsiteX2" fmla="*/ 17964 w 18344"/>
                    <a:gd name="connsiteY2" fmla="*/ 11885 h 18447"/>
                    <a:gd name="connsiteX3" fmla="*/ 6541 w 18344"/>
                    <a:gd name="connsiteY3" fmla="*/ 18045 h 18447"/>
                    <a:gd name="connsiteX4" fmla="*/ 380 w 1834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47">
                      <a:moveTo>
                        <a:pt x="380" y="6562"/>
                      </a:moveTo>
                      <a:cubicBezTo>
                        <a:pt x="1816" y="1718"/>
                        <a:pt x="6899" y="-1093"/>
                        <a:pt x="11804" y="402"/>
                      </a:cubicBezTo>
                      <a:cubicBezTo>
                        <a:pt x="16648" y="1897"/>
                        <a:pt x="19399" y="6981"/>
                        <a:pt x="17964" y="11885"/>
                      </a:cubicBezTo>
                      <a:cubicBezTo>
                        <a:pt x="16528" y="16729"/>
                        <a:pt x="11445" y="19541"/>
                        <a:pt x="6541" y="18045"/>
                      </a:cubicBezTo>
                      <a:cubicBezTo>
                        <a:pt x="1696" y="16610"/>
                        <a:pt x="-1055" y="11466"/>
                        <a:pt x="380" y="6562"/>
                      </a:cubicBezTo>
                      <a:close/>
                    </a:path>
                  </a:pathLst>
                </a:custGeom>
                <a:grpFill/>
                <a:ln w="5978" cap="flat">
                  <a:noFill/>
                  <a:prstDash val="solid"/>
                  <a:miter/>
                </a:ln>
              </p:spPr>
              <p:txBody>
                <a:bodyPr rtlCol="0" anchor="ctr"/>
                <a:lstStyle/>
                <a:p>
                  <a:endParaRPr lang="en-GB"/>
                </a:p>
              </p:txBody>
            </p:sp>
            <p:sp>
              <p:nvSpPr>
                <p:cNvPr id="2607" name="Vrije vorm: vorm 2606">
                  <a:extLst>
                    <a:ext uri="{FF2B5EF4-FFF2-40B4-BE49-F238E27FC236}">
                      <a16:creationId xmlns:a16="http://schemas.microsoft.com/office/drawing/2014/main" id="{91C68F54-C6F3-404F-89F3-0D3928B8CB22}"/>
                    </a:ext>
                  </a:extLst>
                </p:cNvPr>
                <p:cNvSpPr/>
                <p:nvPr/>
              </p:nvSpPr>
              <p:spPr>
                <a:xfrm>
                  <a:off x="5489104" y="5678235"/>
                  <a:ext cx="18344" cy="18425"/>
                </a:xfrm>
                <a:custGeom>
                  <a:avLst/>
                  <a:gdLst>
                    <a:gd name="connsiteX0" fmla="*/ 380 w 18344"/>
                    <a:gd name="connsiteY0" fmla="*/ 6540 h 18425"/>
                    <a:gd name="connsiteX1" fmla="*/ 6541 w 18344"/>
                    <a:gd name="connsiteY1" fmla="*/ 18023 h 18425"/>
                    <a:gd name="connsiteX2" fmla="*/ 17964 w 18344"/>
                    <a:gd name="connsiteY2" fmla="*/ 11863 h 18425"/>
                    <a:gd name="connsiteX3" fmla="*/ 11804 w 18344"/>
                    <a:gd name="connsiteY3" fmla="*/ 381 h 18425"/>
                    <a:gd name="connsiteX4" fmla="*/ 380 w 18344"/>
                    <a:gd name="connsiteY4" fmla="*/ 6540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5">
                      <a:moveTo>
                        <a:pt x="380" y="6540"/>
                      </a:moveTo>
                      <a:cubicBezTo>
                        <a:pt x="-1055" y="11385"/>
                        <a:pt x="1696" y="16528"/>
                        <a:pt x="6541" y="18023"/>
                      </a:cubicBezTo>
                      <a:cubicBezTo>
                        <a:pt x="11385" y="19519"/>
                        <a:pt x="16469" y="16708"/>
                        <a:pt x="17964" y="11863"/>
                      </a:cubicBezTo>
                      <a:cubicBezTo>
                        <a:pt x="19399" y="7019"/>
                        <a:pt x="16648" y="1876"/>
                        <a:pt x="11804" y="381"/>
                      </a:cubicBezTo>
                      <a:cubicBezTo>
                        <a:pt x="6899" y="-1055"/>
                        <a:pt x="1816" y="1696"/>
                        <a:pt x="380" y="6540"/>
                      </a:cubicBezTo>
                      <a:close/>
                    </a:path>
                  </a:pathLst>
                </a:custGeom>
                <a:grpFill/>
                <a:ln w="5978" cap="flat">
                  <a:noFill/>
                  <a:prstDash val="solid"/>
                  <a:miter/>
                </a:ln>
              </p:spPr>
              <p:txBody>
                <a:bodyPr rtlCol="0" anchor="ctr"/>
                <a:lstStyle/>
                <a:p>
                  <a:endParaRPr lang="en-GB"/>
                </a:p>
              </p:txBody>
            </p:sp>
          </p:grpSp>
          <p:grpSp>
            <p:nvGrpSpPr>
              <p:cNvPr id="932" name="Graphic 3">
                <a:extLst>
                  <a:ext uri="{FF2B5EF4-FFF2-40B4-BE49-F238E27FC236}">
                    <a16:creationId xmlns:a16="http://schemas.microsoft.com/office/drawing/2014/main" id="{18B400DB-C171-434D-9FEF-2F909BE037E5}"/>
                  </a:ext>
                </a:extLst>
              </p:cNvPr>
              <p:cNvGrpSpPr/>
              <p:nvPr/>
            </p:nvGrpSpPr>
            <p:grpSpPr>
              <a:xfrm>
                <a:off x="5455175" y="4992885"/>
                <a:ext cx="59588" cy="137517"/>
                <a:chOff x="5455175" y="4992885"/>
                <a:chExt cx="59588" cy="137517"/>
              </a:xfrm>
              <a:grpFill/>
            </p:grpSpPr>
            <p:sp>
              <p:nvSpPr>
                <p:cNvPr id="2602" name="Vrije vorm: vorm 2601">
                  <a:extLst>
                    <a:ext uri="{FF2B5EF4-FFF2-40B4-BE49-F238E27FC236}">
                      <a16:creationId xmlns:a16="http://schemas.microsoft.com/office/drawing/2014/main" id="{454726D1-4BCA-4DBD-B6B7-C8C203EF83AD}"/>
                    </a:ext>
                  </a:extLst>
                </p:cNvPr>
                <p:cNvSpPr/>
                <p:nvPr/>
              </p:nvSpPr>
              <p:spPr>
                <a:xfrm>
                  <a:off x="5462691" y="5001119"/>
                  <a:ext cx="44496" cy="120989"/>
                </a:xfrm>
                <a:custGeom>
                  <a:avLst/>
                  <a:gdLst>
                    <a:gd name="connsiteX0" fmla="*/ 44497 w 44496"/>
                    <a:gd name="connsiteY0" fmla="*/ 1017 h 120989"/>
                    <a:gd name="connsiteX1" fmla="*/ 2930 w 44496"/>
                    <a:gd name="connsiteY1" fmla="*/ 120990 h 120989"/>
                    <a:gd name="connsiteX2" fmla="*/ 0 w 44496"/>
                    <a:gd name="connsiteY2" fmla="*/ 119973 h 120989"/>
                    <a:gd name="connsiteX3" fmla="*/ 41626 w 44496"/>
                    <a:gd name="connsiteY3" fmla="*/ 0 h 120989"/>
                  </a:gdLst>
                  <a:ahLst/>
                  <a:cxnLst>
                    <a:cxn ang="0">
                      <a:pos x="connsiteX0" y="connsiteY0"/>
                    </a:cxn>
                    <a:cxn ang="0">
                      <a:pos x="connsiteX1" y="connsiteY1"/>
                    </a:cxn>
                    <a:cxn ang="0">
                      <a:pos x="connsiteX2" y="connsiteY2"/>
                    </a:cxn>
                    <a:cxn ang="0">
                      <a:pos x="connsiteX3" y="connsiteY3"/>
                    </a:cxn>
                  </a:cxnLst>
                  <a:rect l="l" t="t" r="r" b="b"/>
                  <a:pathLst>
                    <a:path w="44496" h="120989">
                      <a:moveTo>
                        <a:pt x="44497" y="1017"/>
                      </a:moveTo>
                      <a:lnTo>
                        <a:pt x="2930" y="120990"/>
                      </a:lnTo>
                      <a:lnTo>
                        <a:pt x="0" y="119973"/>
                      </a:lnTo>
                      <a:lnTo>
                        <a:pt x="41626" y="0"/>
                      </a:lnTo>
                      <a:close/>
                    </a:path>
                  </a:pathLst>
                </a:custGeom>
                <a:grpFill/>
                <a:ln w="5978" cap="flat">
                  <a:noFill/>
                  <a:prstDash val="solid"/>
                  <a:miter/>
                </a:ln>
              </p:spPr>
              <p:txBody>
                <a:bodyPr rtlCol="0" anchor="ctr"/>
                <a:lstStyle/>
                <a:p>
                  <a:endParaRPr lang="en-GB"/>
                </a:p>
              </p:txBody>
            </p:sp>
            <p:sp>
              <p:nvSpPr>
                <p:cNvPr id="2603" name="Vrije vorm: vorm 2602">
                  <a:extLst>
                    <a:ext uri="{FF2B5EF4-FFF2-40B4-BE49-F238E27FC236}">
                      <a16:creationId xmlns:a16="http://schemas.microsoft.com/office/drawing/2014/main" id="{00429A68-9708-4802-8301-B1D8AF78CE31}"/>
                    </a:ext>
                  </a:extLst>
                </p:cNvPr>
                <p:cNvSpPr/>
                <p:nvPr/>
              </p:nvSpPr>
              <p:spPr>
                <a:xfrm>
                  <a:off x="5455175" y="5112021"/>
                  <a:ext cx="18315" cy="18381"/>
                </a:xfrm>
                <a:custGeom>
                  <a:avLst/>
                  <a:gdLst>
                    <a:gd name="connsiteX0" fmla="*/ 17803 w 18315"/>
                    <a:gd name="connsiteY0" fmla="*/ 12241 h 18381"/>
                    <a:gd name="connsiteX1" fmla="*/ 6141 w 18315"/>
                    <a:gd name="connsiteY1" fmla="*/ 17863 h 18381"/>
                    <a:gd name="connsiteX2" fmla="*/ 519 w 18315"/>
                    <a:gd name="connsiteY2" fmla="*/ 6141 h 18381"/>
                    <a:gd name="connsiteX3" fmla="*/ 12181 w 18315"/>
                    <a:gd name="connsiteY3" fmla="*/ 519 h 18381"/>
                    <a:gd name="connsiteX4" fmla="*/ 17803 w 18315"/>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81">
                      <a:moveTo>
                        <a:pt x="17803" y="12241"/>
                      </a:moveTo>
                      <a:cubicBezTo>
                        <a:pt x="16129" y="17026"/>
                        <a:pt x="10925" y="19538"/>
                        <a:pt x="6141" y="17863"/>
                      </a:cubicBezTo>
                      <a:cubicBezTo>
                        <a:pt x="1356" y="16188"/>
                        <a:pt x="-1156" y="10925"/>
                        <a:pt x="519" y="6141"/>
                      </a:cubicBezTo>
                      <a:cubicBezTo>
                        <a:pt x="2193" y="1356"/>
                        <a:pt x="7397" y="-1156"/>
                        <a:pt x="12181" y="519"/>
                      </a:cubicBezTo>
                      <a:cubicBezTo>
                        <a:pt x="16906" y="2134"/>
                        <a:pt x="19478" y="7397"/>
                        <a:pt x="17803" y="12241"/>
                      </a:cubicBezTo>
                      <a:close/>
                    </a:path>
                  </a:pathLst>
                </a:custGeom>
                <a:grpFill/>
                <a:ln w="5978" cap="flat">
                  <a:noFill/>
                  <a:prstDash val="solid"/>
                  <a:miter/>
                </a:ln>
              </p:spPr>
              <p:txBody>
                <a:bodyPr rtlCol="0" anchor="ctr"/>
                <a:lstStyle/>
                <a:p>
                  <a:endParaRPr lang="en-GB"/>
                </a:p>
              </p:txBody>
            </p:sp>
            <p:sp>
              <p:nvSpPr>
                <p:cNvPr id="2604" name="Vrije vorm: vorm 2603">
                  <a:extLst>
                    <a:ext uri="{FF2B5EF4-FFF2-40B4-BE49-F238E27FC236}">
                      <a16:creationId xmlns:a16="http://schemas.microsoft.com/office/drawing/2014/main" id="{DB9F0CE6-9553-4763-9E99-295C50A90318}"/>
                    </a:ext>
                  </a:extLst>
                </p:cNvPr>
                <p:cNvSpPr/>
                <p:nvPr/>
              </p:nvSpPr>
              <p:spPr>
                <a:xfrm>
                  <a:off x="5496442" y="4992885"/>
                  <a:ext cx="18322" cy="18381"/>
                </a:xfrm>
                <a:custGeom>
                  <a:avLst/>
                  <a:gdLst>
                    <a:gd name="connsiteX0" fmla="*/ 17803 w 18322"/>
                    <a:gd name="connsiteY0" fmla="*/ 12241 h 18381"/>
                    <a:gd name="connsiteX1" fmla="*/ 12181 w 18322"/>
                    <a:gd name="connsiteY1" fmla="*/ 519 h 18381"/>
                    <a:gd name="connsiteX2" fmla="*/ 519 w 18322"/>
                    <a:gd name="connsiteY2" fmla="*/ 6141 h 18381"/>
                    <a:gd name="connsiteX3" fmla="*/ 6141 w 18322"/>
                    <a:gd name="connsiteY3" fmla="*/ 17863 h 18381"/>
                    <a:gd name="connsiteX4" fmla="*/ 17803 w 18322"/>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81">
                      <a:moveTo>
                        <a:pt x="17803" y="12241"/>
                      </a:moveTo>
                      <a:cubicBezTo>
                        <a:pt x="19478" y="7456"/>
                        <a:pt x="16966" y="2193"/>
                        <a:pt x="12181" y="519"/>
                      </a:cubicBezTo>
                      <a:cubicBezTo>
                        <a:pt x="7397" y="-1156"/>
                        <a:pt x="2194" y="1356"/>
                        <a:pt x="519" y="6141"/>
                      </a:cubicBezTo>
                      <a:cubicBezTo>
                        <a:pt x="-1156" y="10925"/>
                        <a:pt x="1356" y="16188"/>
                        <a:pt x="6141" y="17863"/>
                      </a:cubicBezTo>
                      <a:cubicBezTo>
                        <a:pt x="10926" y="19538"/>
                        <a:pt x="16129" y="17026"/>
                        <a:pt x="17803" y="12241"/>
                      </a:cubicBezTo>
                      <a:close/>
                    </a:path>
                  </a:pathLst>
                </a:custGeom>
                <a:grpFill/>
                <a:ln w="5978" cap="flat">
                  <a:noFill/>
                  <a:prstDash val="solid"/>
                  <a:miter/>
                </a:ln>
              </p:spPr>
              <p:txBody>
                <a:bodyPr rtlCol="0" anchor="ctr"/>
                <a:lstStyle/>
                <a:p>
                  <a:endParaRPr lang="en-GB"/>
                </a:p>
              </p:txBody>
            </p:sp>
          </p:grpSp>
          <p:grpSp>
            <p:nvGrpSpPr>
              <p:cNvPr id="933" name="Graphic 3">
                <a:extLst>
                  <a:ext uri="{FF2B5EF4-FFF2-40B4-BE49-F238E27FC236}">
                    <a16:creationId xmlns:a16="http://schemas.microsoft.com/office/drawing/2014/main" id="{7AD62F43-86BD-4C2E-939C-A2E57575A978}"/>
                  </a:ext>
                </a:extLst>
              </p:cNvPr>
              <p:cNvGrpSpPr/>
              <p:nvPr/>
            </p:nvGrpSpPr>
            <p:grpSpPr>
              <a:xfrm>
                <a:off x="4526627" y="2247382"/>
                <a:ext cx="24307" cy="22949"/>
                <a:chOff x="4526627" y="2247382"/>
                <a:chExt cx="24307" cy="22949"/>
              </a:xfrm>
              <a:grpFill/>
            </p:grpSpPr>
            <p:sp>
              <p:nvSpPr>
                <p:cNvPr id="2600" name="Vrije vorm: vorm 2599">
                  <a:extLst>
                    <a:ext uri="{FF2B5EF4-FFF2-40B4-BE49-F238E27FC236}">
                      <a16:creationId xmlns:a16="http://schemas.microsoft.com/office/drawing/2014/main" id="{477679F1-91EA-4BE3-8BFA-06275BA4E02B}"/>
                    </a:ext>
                  </a:extLst>
                </p:cNvPr>
                <p:cNvSpPr/>
                <p:nvPr/>
              </p:nvSpPr>
              <p:spPr>
                <a:xfrm>
                  <a:off x="4532565" y="2251909"/>
                  <a:ext cx="18369" cy="18421"/>
                </a:xfrm>
                <a:custGeom>
                  <a:avLst/>
                  <a:gdLst>
                    <a:gd name="connsiteX0" fmla="*/ 3653 w 18369"/>
                    <a:gd name="connsiteY0" fmla="*/ 16559 h 18421"/>
                    <a:gd name="connsiteX1" fmla="*/ 1858 w 18369"/>
                    <a:gd name="connsiteY1" fmla="*/ 3641 h 18421"/>
                    <a:gd name="connsiteX2" fmla="*/ 14717 w 18369"/>
                    <a:gd name="connsiteY2" fmla="*/ 1906 h 18421"/>
                    <a:gd name="connsiteX3" fmla="*/ 16511 w 18369"/>
                    <a:gd name="connsiteY3" fmla="*/ 14824 h 18421"/>
                    <a:gd name="connsiteX4" fmla="*/ 3653 w 18369"/>
                    <a:gd name="connsiteY4" fmla="*/ 1655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21">
                      <a:moveTo>
                        <a:pt x="3653" y="16559"/>
                      </a:moveTo>
                      <a:cubicBezTo>
                        <a:pt x="-414" y="13449"/>
                        <a:pt x="-1192" y="7707"/>
                        <a:pt x="1858" y="3641"/>
                      </a:cubicBezTo>
                      <a:cubicBezTo>
                        <a:pt x="4908" y="-426"/>
                        <a:pt x="10650" y="-1204"/>
                        <a:pt x="14717" y="1906"/>
                      </a:cubicBezTo>
                      <a:cubicBezTo>
                        <a:pt x="18784" y="5016"/>
                        <a:pt x="19561" y="10758"/>
                        <a:pt x="16511" y="14824"/>
                      </a:cubicBezTo>
                      <a:cubicBezTo>
                        <a:pt x="13401" y="18832"/>
                        <a:pt x="7660" y="19609"/>
                        <a:pt x="3653" y="16559"/>
                      </a:cubicBezTo>
                      <a:close/>
                    </a:path>
                  </a:pathLst>
                </a:custGeom>
                <a:grpFill/>
                <a:ln w="5978" cap="flat">
                  <a:noFill/>
                  <a:prstDash val="solid"/>
                  <a:miter/>
                </a:ln>
              </p:spPr>
              <p:txBody>
                <a:bodyPr rtlCol="0" anchor="ctr"/>
                <a:lstStyle/>
                <a:p>
                  <a:endParaRPr lang="en-GB"/>
                </a:p>
              </p:txBody>
            </p:sp>
            <p:sp>
              <p:nvSpPr>
                <p:cNvPr id="2601" name="Vrije vorm: vorm 2600">
                  <a:extLst>
                    <a:ext uri="{FF2B5EF4-FFF2-40B4-BE49-F238E27FC236}">
                      <a16:creationId xmlns:a16="http://schemas.microsoft.com/office/drawing/2014/main" id="{6AC3F6E4-AE44-491B-B3A1-F0339294DCC7}"/>
                    </a:ext>
                  </a:extLst>
                </p:cNvPr>
                <p:cNvSpPr/>
                <p:nvPr/>
              </p:nvSpPr>
              <p:spPr>
                <a:xfrm>
                  <a:off x="4526627" y="2247382"/>
                  <a:ext cx="18326" cy="18429"/>
                </a:xfrm>
                <a:custGeom>
                  <a:avLst/>
                  <a:gdLst>
                    <a:gd name="connsiteX0" fmla="*/ 3610 w 18326"/>
                    <a:gd name="connsiteY0" fmla="*/ 16541 h 18429"/>
                    <a:gd name="connsiteX1" fmla="*/ 16468 w 18326"/>
                    <a:gd name="connsiteY1" fmla="*/ 14807 h 18429"/>
                    <a:gd name="connsiteX2" fmla="*/ 14674 w 18326"/>
                    <a:gd name="connsiteY2" fmla="*/ 1888 h 18429"/>
                    <a:gd name="connsiteX3" fmla="*/ 1815 w 18326"/>
                    <a:gd name="connsiteY3" fmla="*/ 3623 h 18429"/>
                    <a:gd name="connsiteX4" fmla="*/ 3610 w 18326"/>
                    <a:gd name="connsiteY4" fmla="*/ 1654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3610" y="16541"/>
                      </a:moveTo>
                      <a:cubicBezTo>
                        <a:pt x="7676" y="19651"/>
                        <a:pt x="13418" y="18814"/>
                        <a:pt x="16468" y="14807"/>
                      </a:cubicBezTo>
                      <a:cubicBezTo>
                        <a:pt x="19518" y="10740"/>
                        <a:pt x="18741" y="4998"/>
                        <a:pt x="14674" y="1888"/>
                      </a:cubicBezTo>
                      <a:cubicBezTo>
                        <a:pt x="10667" y="-1222"/>
                        <a:pt x="4865" y="-384"/>
                        <a:pt x="1815" y="3623"/>
                      </a:cubicBezTo>
                      <a:cubicBezTo>
                        <a:pt x="-1175" y="7690"/>
                        <a:pt x="-398" y="13431"/>
                        <a:pt x="3610" y="16541"/>
                      </a:cubicBezTo>
                      <a:close/>
                    </a:path>
                  </a:pathLst>
                </a:custGeom>
                <a:grpFill/>
                <a:ln w="5978" cap="flat">
                  <a:noFill/>
                  <a:prstDash val="solid"/>
                  <a:miter/>
                </a:ln>
              </p:spPr>
              <p:txBody>
                <a:bodyPr rtlCol="0" anchor="ctr"/>
                <a:lstStyle/>
                <a:p>
                  <a:endParaRPr lang="en-GB"/>
                </a:p>
              </p:txBody>
            </p:sp>
          </p:grpSp>
          <p:grpSp>
            <p:nvGrpSpPr>
              <p:cNvPr id="934" name="Graphic 3">
                <a:extLst>
                  <a:ext uri="{FF2B5EF4-FFF2-40B4-BE49-F238E27FC236}">
                    <a16:creationId xmlns:a16="http://schemas.microsoft.com/office/drawing/2014/main" id="{2BF4BCB7-2C96-4EA1-B830-477249B9BD3B}"/>
                  </a:ext>
                </a:extLst>
              </p:cNvPr>
              <p:cNvGrpSpPr/>
              <p:nvPr/>
            </p:nvGrpSpPr>
            <p:grpSpPr>
              <a:xfrm>
                <a:off x="4417298" y="2065111"/>
                <a:ext cx="150246" cy="127174"/>
                <a:chOff x="4417298" y="2065111"/>
                <a:chExt cx="150246" cy="127174"/>
              </a:xfrm>
              <a:grpFill/>
            </p:grpSpPr>
            <p:sp>
              <p:nvSpPr>
                <p:cNvPr id="2597" name="Vrije vorm: vorm 2596">
                  <a:extLst>
                    <a:ext uri="{FF2B5EF4-FFF2-40B4-BE49-F238E27FC236}">
                      <a16:creationId xmlns:a16="http://schemas.microsoft.com/office/drawing/2014/main" id="{D68F3A4A-3371-4BD1-8ED6-3BBF486E76DF}"/>
                    </a:ext>
                  </a:extLst>
                </p:cNvPr>
                <p:cNvSpPr/>
                <p:nvPr/>
              </p:nvSpPr>
              <p:spPr>
                <a:xfrm>
                  <a:off x="4425156" y="2072839"/>
                  <a:ext cx="134506" cy="111719"/>
                </a:xfrm>
                <a:custGeom>
                  <a:avLst/>
                  <a:gdLst>
                    <a:gd name="connsiteX0" fmla="*/ 134506 w 134506"/>
                    <a:gd name="connsiteY0" fmla="*/ 109328 h 111719"/>
                    <a:gd name="connsiteX1" fmla="*/ 132593 w 134506"/>
                    <a:gd name="connsiteY1" fmla="*/ 111720 h 111719"/>
                    <a:gd name="connsiteX2" fmla="*/ 0 w 134506"/>
                    <a:gd name="connsiteY2" fmla="*/ 2392 h 111719"/>
                    <a:gd name="connsiteX3" fmla="*/ 1914 w 134506"/>
                    <a:gd name="connsiteY3" fmla="*/ 0 h 111719"/>
                  </a:gdLst>
                  <a:ahLst/>
                  <a:cxnLst>
                    <a:cxn ang="0">
                      <a:pos x="connsiteX0" y="connsiteY0"/>
                    </a:cxn>
                    <a:cxn ang="0">
                      <a:pos x="connsiteX1" y="connsiteY1"/>
                    </a:cxn>
                    <a:cxn ang="0">
                      <a:pos x="connsiteX2" y="connsiteY2"/>
                    </a:cxn>
                    <a:cxn ang="0">
                      <a:pos x="connsiteX3" y="connsiteY3"/>
                    </a:cxn>
                  </a:cxnLst>
                  <a:rect l="l" t="t" r="r" b="b"/>
                  <a:pathLst>
                    <a:path w="134506" h="111719">
                      <a:moveTo>
                        <a:pt x="134506" y="109328"/>
                      </a:moveTo>
                      <a:lnTo>
                        <a:pt x="132593" y="111720"/>
                      </a:lnTo>
                      <a:lnTo>
                        <a:pt x="0" y="2392"/>
                      </a:lnTo>
                      <a:lnTo>
                        <a:pt x="1914" y="0"/>
                      </a:lnTo>
                      <a:close/>
                    </a:path>
                  </a:pathLst>
                </a:custGeom>
                <a:grpFill/>
                <a:ln w="5978" cap="flat">
                  <a:noFill/>
                  <a:prstDash val="solid"/>
                  <a:miter/>
                </a:ln>
              </p:spPr>
              <p:txBody>
                <a:bodyPr rtlCol="0" anchor="ctr"/>
                <a:lstStyle/>
                <a:p>
                  <a:endParaRPr lang="en-GB"/>
                </a:p>
              </p:txBody>
            </p:sp>
            <p:sp>
              <p:nvSpPr>
                <p:cNvPr id="2598" name="Vrije vorm: vorm 2597">
                  <a:extLst>
                    <a:ext uri="{FF2B5EF4-FFF2-40B4-BE49-F238E27FC236}">
                      <a16:creationId xmlns:a16="http://schemas.microsoft.com/office/drawing/2014/main" id="{B580F778-B9C7-43A6-9081-CB9F431904BE}"/>
                    </a:ext>
                  </a:extLst>
                </p:cNvPr>
                <p:cNvSpPr/>
                <p:nvPr/>
              </p:nvSpPr>
              <p:spPr>
                <a:xfrm>
                  <a:off x="4417298" y="2065111"/>
                  <a:ext cx="18346" cy="18425"/>
                </a:xfrm>
                <a:custGeom>
                  <a:avLst/>
                  <a:gdLst>
                    <a:gd name="connsiteX0" fmla="*/ 3372 w 18346"/>
                    <a:gd name="connsiteY0" fmla="*/ 16339 h 18425"/>
                    <a:gd name="connsiteX1" fmla="*/ 2056 w 18346"/>
                    <a:gd name="connsiteY1" fmla="*/ 3361 h 18425"/>
                    <a:gd name="connsiteX2" fmla="*/ 14975 w 18346"/>
                    <a:gd name="connsiteY2" fmla="*/ 2105 h 18425"/>
                    <a:gd name="connsiteX3" fmla="*/ 16290 w 18346"/>
                    <a:gd name="connsiteY3" fmla="*/ 15083 h 18425"/>
                    <a:gd name="connsiteX4" fmla="*/ 3372 w 18346"/>
                    <a:gd name="connsiteY4" fmla="*/ 16339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5">
                      <a:moveTo>
                        <a:pt x="3372" y="16339"/>
                      </a:moveTo>
                      <a:cubicBezTo>
                        <a:pt x="-575" y="13110"/>
                        <a:pt x="-1113" y="7308"/>
                        <a:pt x="2056" y="3361"/>
                      </a:cubicBezTo>
                      <a:cubicBezTo>
                        <a:pt x="5286" y="-586"/>
                        <a:pt x="11027" y="-1124"/>
                        <a:pt x="14975" y="2105"/>
                      </a:cubicBezTo>
                      <a:cubicBezTo>
                        <a:pt x="18922" y="5335"/>
                        <a:pt x="19460" y="11136"/>
                        <a:pt x="16290" y="15083"/>
                      </a:cubicBezTo>
                      <a:cubicBezTo>
                        <a:pt x="13061" y="18971"/>
                        <a:pt x="7259" y="19569"/>
                        <a:pt x="3372" y="16339"/>
                      </a:cubicBezTo>
                      <a:close/>
                    </a:path>
                  </a:pathLst>
                </a:custGeom>
                <a:grpFill/>
                <a:ln w="5978" cap="flat">
                  <a:noFill/>
                  <a:prstDash val="solid"/>
                  <a:miter/>
                </a:ln>
              </p:spPr>
              <p:txBody>
                <a:bodyPr rtlCol="0" anchor="ctr"/>
                <a:lstStyle/>
                <a:p>
                  <a:endParaRPr lang="en-GB"/>
                </a:p>
              </p:txBody>
            </p:sp>
            <p:sp>
              <p:nvSpPr>
                <p:cNvPr id="2599" name="Vrije vorm: vorm 2598">
                  <a:extLst>
                    <a:ext uri="{FF2B5EF4-FFF2-40B4-BE49-F238E27FC236}">
                      <a16:creationId xmlns:a16="http://schemas.microsoft.com/office/drawing/2014/main" id="{7181A2F3-0C07-49FA-8631-C5F969767E26}"/>
                    </a:ext>
                  </a:extLst>
                </p:cNvPr>
                <p:cNvSpPr/>
                <p:nvPr/>
              </p:nvSpPr>
              <p:spPr>
                <a:xfrm>
                  <a:off x="4549192" y="2173841"/>
                  <a:ext cx="18352" cy="18444"/>
                </a:xfrm>
                <a:custGeom>
                  <a:avLst/>
                  <a:gdLst>
                    <a:gd name="connsiteX0" fmla="*/ 3353 w 18352"/>
                    <a:gd name="connsiteY0" fmla="*/ 16339 h 18444"/>
                    <a:gd name="connsiteX1" fmla="*/ 16271 w 18352"/>
                    <a:gd name="connsiteY1" fmla="*/ 15084 h 18444"/>
                    <a:gd name="connsiteX2" fmla="*/ 14955 w 18352"/>
                    <a:gd name="connsiteY2" fmla="*/ 2105 h 18444"/>
                    <a:gd name="connsiteX3" fmla="*/ 2037 w 18352"/>
                    <a:gd name="connsiteY3" fmla="*/ 3361 h 18444"/>
                    <a:gd name="connsiteX4" fmla="*/ 3353 w 18352"/>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44">
                      <a:moveTo>
                        <a:pt x="3353" y="16339"/>
                      </a:moveTo>
                      <a:cubicBezTo>
                        <a:pt x="7300" y="19569"/>
                        <a:pt x="13042" y="19031"/>
                        <a:pt x="16271" y="15084"/>
                      </a:cubicBezTo>
                      <a:cubicBezTo>
                        <a:pt x="19501" y="11136"/>
                        <a:pt x="18903" y="5335"/>
                        <a:pt x="14955" y="2105"/>
                      </a:cubicBezTo>
                      <a:cubicBezTo>
                        <a:pt x="11008" y="-1124"/>
                        <a:pt x="5267" y="-586"/>
                        <a:pt x="2037" y="3361"/>
                      </a:cubicBezTo>
                      <a:cubicBezTo>
                        <a:pt x="-1133" y="7309"/>
                        <a:pt x="-535" y="13110"/>
                        <a:pt x="3353" y="16339"/>
                      </a:cubicBezTo>
                      <a:close/>
                    </a:path>
                  </a:pathLst>
                </a:custGeom>
                <a:grpFill/>
                <a:ln w="5978" cap="flat">
                  <a:noFill/>
                  <a:prstDash val="solid"/>
                  <a:miter/>
                </a:ln>
              </p:spPr>
              <p:txBody>
                <a:bodyPr rtlCol="0" anchor="ctr"/>
                <a:lstStyle/>
                <a:p>
                  <a:endParaRPr lang="en-GB"/>
                </a:p>
              </p:txBody>
            </p:sp>
          </p:grpSp>
          <p:grpSp>
            <p:nvGrpSpPr>
              <p:cNvPr id="935" name="Graphic 3">
                <a:extLst>
                  <a:ext uri="{FF2B5EF4-FFF2-40B4-BE49-F238E27FC236}">
                    <a16:creationId xmlns:a16="http://schemas.microsoft.com/office/drawing/2014/main" id="{360AA1EF-4DAF-41D2-A6AF-043030B82B03}"/>
                  </a:ext>
                </a:extLst>
              </p:cNvPr>
              <p:cNvGrpSpPr/>
              <p:nvPr/>
            </p:nvGrpSpPr>
            <p:grpSpPr>
              <a:xfrm>
                <a:off x="4423908" y="2217171"/>
                <a:ext cx="240431" cy="218738"/>
                <a:chOff x="4423908" y="2217171"/>
                <a:chExt cx="240431" cy="218738"/>
              </a:xfrm>
              <a:grpFill/>
            </p:grpSpPr>
            <p:sp>
              <p:nvSpPr>
                <p:cNvPr id="2594" name="Vrije vorm: vorm 2593">
                  <a:extLst>
                    <a:ext uri="{FF2B5EF4-FFF2-40B4-BE49-F238E27FC236}">
                      <a16:creationId xmlns:a16="http://schemas.microsoft.com/office/drawing/2014/main" id="{4FD3DB94-9DBA-4CE0-91A6-720FCB1A195D}"/>
                    </a:ext>
                  </a:extLst>
                </p:cNvPr>
                <p:cNvSpPr/>
                <p:nvPr/>
              </p:nvSpPr>
              <p:spPr>
                <a:xfrm>
                  <a:off x="4431674" y="2224928"/>
                  <a:ext cx="224815" cy="203165"/>
                </a:xfrm>
                <a:custGeom>
                  <a:avLst/>
                  <a:gdLst>
                    <a:gd name="connsiteX0" fmla="*/ 224816 w 224815"/>
                    <a:gd name="connsiteY0" fmla="*/ 200892 h 203165"/>
                    <a:gd name="connsiteX1" fmla="*/ 222782 w 224815"/>
                    <a:gd name="connsiteY1" fmla="*/ 203165 h 203165"/>
                    <a:gd name="connsiteX2" fmla="*/ 0 w 224815"/>
                    <a:gd name="connsiteY2" fmla="*/ 2273 h 203165"/>
                    <a:gd name="connsiteX3" fmla="*/ 2034 w 224815"/>
                    <a:gd name="connsiteY3" fmla="*/ 0 h 203165"/>
                  </a:gdLst>
                  <a:ahLst/>
                  <a:cxnLst>
                    <a:cxn ang="0">
                      <a:pos x="connsiteX0" y="connsiteY0"/>
                    </a:cxn>
                    <a:cxn ang="0">
                      <a:pos x="connsiteX1" y="connsiteY1"/>
                    </a:cxn>
                    <a:cxn ang="0">
                      <a:pos x="connsiteX2" y="connsiteY2"/>
                    </a:cxn>
                    <a:cxn ang="0">
                      <a:pos x="connsiteX3" y="connsiteY3"/>
                    </a:cxn>
                  </a:cxnLst>
                  <a:rect l="l" t="t" r="r" b="b"/>
                  <a:pathLst>
                    <a:path w="224815" h="203165">
                      <a:moveTo>
                        <a:pt x="224816" y="200892"/>
                      </a:moveTo>
                      <a:lnTo>
                        <a:pt x="222782" y="203165"/>
                      </a:lnTo>
                      <a:lnTo>
                        <a:pt x="0" y="2273"/>
                      </a:lnTo>
                      <a:lnTo>
                        <a:pt x="2034" y="0"/>
                      </a:lnTo>
                      <a:close/>
                    </a:path>
                  </a:pathLst>
                </a:custGeom>
                <a:grpFill/>
                <a:ln w="5978" cap="flat">
                  <a:noFill/>
                  <a:prstDash val="solid"/>
                  <a:miter/>
                </a:ln>
              </p:spPr>
              <p:txBody>
                <a:bodyPr rtlCol="0" anchor="ctr"/>
                <a:lstStyle/>
                <a:p>
                  <a:endParaRPr lang="en-GB"/>
                </a:p>
              </p:txBody>
            </p:sp>
            <p:sp>
              <p:nvSpPr>
                <p:cNvPr id="2595" name="Vrije vorm: vorm 2594">
                  <a:extLst>
                    <a:ext uri="{FF2B5EF4-FFF2-40B4-BE49-F238E27FC236}">
                      <a16:creationId xmlns:a16="http://schemas.microsoft.com/office/drawing/2014/main" id="{617D0723-9A91-423C-B653-97E476BD52D0}"/>
                    </a:ext>
                  </a:extLst>
                </p:cNvPr>
                <p:cNvSpPr/>
                <p:nvPr/>
              </p:nvSpPr>
              <p:spPr>
                <a:xfrm>
                  <a:off x="4646009" y="2417466"/>
                  <a:ext cx="18331" cy="18444"/>
                </a:xfrm>
                <a:custGeom>
                  <a:avLst/>
                  <a:gdLst>
                    <a:gd name="connsiteX0" fmla="*/ 15266 w 18331"/>
                    <a:gd name="connsiteY0" fmla="*/ 2374 h 18444"/>
                    <a:gd name="connsiteX1" fmla="*/ 15983 w 18331"/>
                    <a:gd name="connsiteY1" fmla="*/ 15412 h 18444"/>
                    <a:gd name="connsiteX2" fmla="*/ 3065 w 18331"/>
                    <a:gd name="connsiteY2" fmla="*/ 16070 h 18444"/>
                    <a:gd name="connsiteX3" fmla="*/ 2348 w 18331"/>
                    <a:gd name="connsiteY3" fmla="*/ 3032 h 18444"/>
                    <a:gd name="connsiteX4" fmla="*/ 15266 w 18331"/>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44">
                      <a:moveTo>
                        <a:pt x="15266" y="2374"/>
                      </a:moveTo>
                      <a:cubicBezTo>
                        <a:pt x="19034" y="5783"/>
                        <a:pt x="19393" y="11585"/>
                        <a:pt x="15983" y="15412"/>
                      </a:cubicBezTo>
                      <a:cubicBezTo>
                        <a:pt x="12634" y="19180"/>
                        <a:pt x="6833" y="19479"/>
                        <a:pt x="3065" y="16070"/>
                      </a:cubicBezTo>
                      <a:cubicBezTo>
                        <a:pt x="-703" y="12661"/>
                        <a:pt x="-1061" y="6860"/>
                        <a:pt x="2348" y="3032"/>
                      </a:cubicBezTo>
                      <a:cubicBezTo>
                        <a:pt x="5697" y="-736"/>
                        <a:pt x="11498" y="-1035"/>
                        <a:pt x="15266" y="2374"/>
                      </a:cubicBezTo>
                      <a:close/>
                    </a:path>
                  </a:pathLst>
                </a:custGeom>
                <a:grpFill/>
                <a:ln w="5978" cap="flat">
                  <a:noFill/>
                  <a:prstDash val="solid"/>
                  <a:miter/>
                </a:ln>
              </p:spPr>
              <p:txBody>
                <a:bodyPr rtlCol="0" anchor="ctr"/>
                <a:lstStyle/>
                <a:p>
                  <a:endParaRPr lang="en-GB"/>
                </a:p>
              </p:txBody>
            </p:sp>
            <p:sp>
              <p:nvSpPr>
                <p:cNvPr id="2596" name="Vrije vorm: vorm 2595">
                  <a:extLst>
                    <a:ext uri="{FF2B5EF4-FFF2-40B4-BE49-F238E27FC236}">
                      <a16:creationId xmlns:a16="http://schemas.microsoft.com/office/drawing/2014/main" id="{51AED03B-9CC5-429D-8AAB-3A969448F3EC}"/>
                    </a:ext>
                  </a:extLst>
                </p:cNvPr>
                <p:cNvSpPr/>
                <p:nvPr/>
              </p:nvSpPr>
              <p:spPr>
                <a:xfrm>
                  <a:off x="4423908" y="2217171"/>
                  <a:ext cx="18283" cy="18444"/>
                </a:xfrm>
                <a:custGeom>
                  <a:avLst/>
                  <a:gdLst>
                    <a:gd name="connsiteX0" fmla="*/ 15242 w 18283"/>
                    <a:gd name="connsiteY0" fmla="*/ 2374 h 18444"/>
                    <a:gd name="connsiteX1" fmla="*/ 2324 w 18283"/>
                    <a:gd name="connsiteY1" fmla="*/ 3032 h 18444"/>
                    <a:gd name="connsiteX2" fmla="*/ 3041 w 18283"/>
                    <a:gd name="connsiteY2" fmla="*/ 16070 h 18444"/>
                    <a:gd name="connsiteX3" fmla="*/ 15960 w 18283"/>
                    <a:gd name="connsiteY3" fmla="*/ 1541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1474" y="-1035"/>
                        <a:pt x="5673" y="-736"/>
                        <a:pt x="2324" y="3032"/>
                      </a:cubicBezTo>
                      <a:cubicBezTo>
                        <a:pt x="-1026" y="6800"/>
                        <a:pt x="-727" y="12661"/>
                        <a:pt x="3041" y="16070"/>
                      </a:cubicBezTo>
                      <a:cubicBezTo>
                        <a:pt x="6809" y="19479"/>
                        <a:pt x="12610" y="19180"/>
                        <a:pt x="15960" y="15412"/>
                      </a:cubicBezTo>
                      <a:cubicBezTo>
                        <a:pt x="19309" y="11585"/>
                        <a:pt x="19010" y="5783"/>
                        <a:pt x="15242" y="2374"/>
                      </a:cubicBezTo>
                      <a:close/>
                    </a:path>
                  </a:pathLst>
                </a:custGeom>
                <a:grpFill/>
                <a:ln w="5978" cap="flat">
                  <a:noFill/>
                  <a:prstDash val="solid"/>
                  <a:miter/>
                </a:ln>
              </p:spPr>
              <p:txBody>
                <a:bodyPr rtlCol="0" anchor="ctr"/>
                <a:lstStyle/>
                <a:p>
                  <a:endParaRPr lang="en-GB"/>
                </a:p>
              </p:txBody>
            </p:sp>
          </p:grpSp>
          <p:grpSp>
            <p:nvGrpSpPr>
              <p:cNvPr id="936" name="Graphic 3">
                <a:extLst>
                  <a:ext uri="{FF2B5EF4-FFF2-40B4-BE49-F238E27FC236}">
                    <a16:creationId xmlns:a16="http://schemas.microsoft.com/office/drawing/2014/main" id="{8FA9E3E2-526D-4207-A81E-A40B3EEF04DB}"/>
                  </a:ext>
                </a:extLst>
              </p:cNvPr>
              <p:cNvGrpSpPr/>
              <p:nvPr/>
            </p:nvGrpSpPr>
            <p:grpSpPr>
              <a:xfrm>
                <a:off x="5498859" y="5063936"/>
                <a:ext cx="223116" cy="786465"/>
                <a:chOff x="5498859" y="5063936"/>
                <a:chExt cx="223116" cy="786465"/>
              </a:xfrm>
              <a:grpFill/>
            </p:grpSpPr>
            <p:sp>
              <p:nvSpPr>
                <p:cNvPr id="2591" name="Vrije vorm: vorm 2590">
                  <a:extLst>
                    <a:ext uri="{FF2B5EF4-FFF2-40B4-BE49-F238E27FC236}">
                      <a16:creationId xmlns:a16="http://schemas.microsoft.com/office/drawing/2014/main" id="{3BECDAB1-EE58-4969-BE62-A40C669B3242}"/>
                    </a:ext>
                  </a:extLst>
                </p:cNvPr>
                <p:cNvSpPr/>
                <p:nvPr/>
              </p:nvSpPr>
              <p:spPr>
                <a:xfrm>
                  <a:off x="5506410" y="5072290"/>
                  <a:ext cx="207949" cy="769718"/>
                </a:xfrm>
                <a:custGeom>
                  <a:avLst/>
                  <a:gdLst>
                    <a:gd name="connsiteX0" fmla="*/ 207950 w 207949"/>
                    <a:gd name="connsiteY0" fmla="*/ 837 h 769718"/>
                    <a:gd name="connsiteX1" fmla="*/ 2930 w 207949"/>
                    <a:gd name="connsiteY1" fmla="*/ 769719 h 769718"/>
                    <a:gd name="connsiteX2" fmla="*/ 0 w 207949"/>
                    <a:gd name="connsiteY2" fmla="*/ 768941 h 769718"/>
                    <a:gd name="connsiteX3" fmla="*/ 205019 w 207949"/>
                    <a:gd name="connsiteY3" fmla="*/ 0 h 769718"/>
                  </a:gdLst>
                  <a:ahLst/>
                  <a:cxnLst>
                    <a:cxn ang="0">
                      <a:pos x="connsiteX0" y="connsiteY0"/>
                    </a:cxn>
                    <a:cxn ang="0">
                      <a:pos x="connsiteX1" y="connsiteY1"/>
                    </a:cxn>
                    <a:cxn ang="0">
                      <a:pos x="connsiteX2" y="connsiteY2"/>
                    </a:cxn>
                    <a:cxn ang="0">
                      <a:pos x="connsiteX3" y="connsiteY3"/>
                    </a:cxn>
                  </a:cxnLst>
                  <a:rect l="l" t="t" r="r" b="b"/>
                  <a:pathLst>
                    <a:path w="207949" h="769718">
                      <a:moveTo>
                        <a:pt x="207950" y="837"/>
                      </a:moveTo>
                      <a:lnTo>
                        <a:pt x="2930" y="769719"/>
                      </a:lnTo>
                      <a:lnTo>
                        <a:pt x="0" y="768941"/>
                      </a:lnTo>
                      <a:lnTo>
                        <a:pt x="205019" y="0"/>
                      </a:lnTo>
                      <a:close/>
                    </a:path>
                  </a:pathLst>
                </a:custGeom>
                <a:grpFill/>
                <a:ln w="5978" cap="flat">
                  <a:noFill/>
                  <a:prstDash val="solid"/>
                  <a:miter/>
                </a:ln>
              </p:spPr>
              <p:txBody>
                <a:bodyPr rtlCol="0" anchor="ctr"/>
                <a:lstStyle/>
                <a:p>
                  <a:endParaRPr lang="en-GB"/>
                </a:p>
              </p:txBody>
            </p:sp>
            <p:sp>
              <p:nvSpPr>
                <p:cNvPr id="2592" name="Vrije vorm: vorm 2591">
                  <a:extLst>
                    <a:ext uri="{FF2B5EF4-FFF2-40B4-BE49-F238E27FC236}">
                      <a16:creationId xmlns:a16="http://schemas.microsoft.com/office/drawing/2014/main" id="{D0826266-120D-4E8E-BB63-01F0D721CC86}"/>
                    </a:ext>
                  </a:extLst>
                </p:cNvPr>
                <p:cNvSpPr/>
                <p:nvPr/>
              </p:nvSpPr>
              <p:spPr>
                <a:xfrm>
                  <a:off x="5703635" y="5063936"/>
                  <a:ext cx="18340" cy="18442"/>
                </a:xfrm>
                <a:custGeom>
                  <a:avLst/>
                  <a:gdLst>
                    <a:gd name="connsiteX0" fmla="*/ 319 w 18340"/>
                    <a:gd name="connsiteY0" fmla="*/ 6799 h 18442"/>
                    <a:gd name="connsiteX1" fmla="*/ 11563 w 18340"/>
                    <a:gd name="connsiteY1" fmla="*/ 340 h 18442"/>
                    <a:gd name="connsiteX2" fmla="*/ 18022 w 18340"/>
                    <a:gd name="connsiteY2" fmla="*/ 11643 h 18442"/>
                    <a:gd name="connsiteX3" fmla="*/ 6778 w 18340"/>
                    <a:gd name="connsiteY3" fmla="*/ 18103 h 18442"/>
                    <a:gd name="connsiteX4" fmla="*/ 319 w 18340"/>
                    <a:gd name="connsiteY4" fmla="*/ 679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2">
                      <a:moveTo>
                        <a:pt x="319" y="6799"/>
                      </a:moveTo>
                      <a:cubicBezTo>
                        <a:pt x="1635" y="1895"/>
                        <a:pt x="6659" y="-1036"/>
                        <a:pt x="11563" y="340"/>
                      </a:cubicBezTo>
                      <a:cubicBezTo>
                        <a:pt x="16467" y="1656"/>
                        <a:pt x="19338" y="6739"/>
                        <a:pt x="18022" y="11643"/>
                      </a:cubicBezTo>
                      <a:cubicBezTo>
                        <a:pt x="16706" y="16548"/>
                        <a:pt x="11682" y="19478"/>
                        <a:pt x="6778" y="18103"/>
                      </a:cubicBezTo>
                      <a:cubicBezTo>
                        <a:pt x="1874" y="16787"/>
                        <a:pt x="-997" y="11703"/>
                        <a:pt x="319" y="6799"/>
                      </a:cubicBezTo>
                      <a:close/>
                    </a:path>
                  </a:pathLst>
                </a:custGeom>
                <a:grpFill/>
                <a:ln w="5978" cap="flat">
                  <a:noFill/>
                  <a:prstDash val="solid"/>
                  <a:miter/>
                </a:ln>
              </p:spPr>
              <p:txBody>
                <a:bodyPr rtlCol="0" anchor="ctr"/>
                <a:lstStyle/>
                <a:p>
                  <a:endParaRPr lang="en-GB"/>
                </a:p>
              </p:txBody>
            </p:sp>
            <p:sp>
              <p:nvSpPr>
                <p:cNvPr id="2593" name="Vrije vorm: vorm 2592">
                  <a:extLst>
                    <a:ext uri="{FF2B5EF4-FFF2-40B4-BE49-F238E27FC236}">
                      <a16:creationId xmlns:a16="http://schemas.microsoft.com/office/drawing/2014/main" id="{7F7228F7-AB86-4D3E-AE4E-353B223DC435}"/>
                    </a:ext>
                  </a:extLst>
                </p:cNvPr>
                <p:cNvSpPr/>
                <p:nvPr/>
              </p:nvSpPr>
              <p:spPr>
                <a:xfrm>
                  <a:off x="5498859" y="5831980"/>
                  <a:ext cx="18332" cy="18421"/>
                </a:xfrm>
                <a:custGeom>
                  <a:avLst/>
                  <a:gdLst>
                    <a:gd name="connsiteX0" fmla="*/ 315 w 18332"/>
                    <a:gd name="connsiteY0" fmla="*/ 6799 h 18421"/>
                    <a:gd name="connsiteX1" fmla="*/ 6774 w 18332"/>
                    <a:gd name="connsiteY1" fmla="*/ 18103 h 18421"/>
                    <a:gd name="connsiteX2" fmla="*/ 18018 w 18332"/>
                    <a:gd name="connsiteY2" fmla="*/ 11643 h 18421"/>
                    <a:gd name="connsiteX3" fmla="*/ 11559 w 18332"/>
                    <a:gd name="connsiteY3" fmla="*/ 340 h 18421"/>
                    <a:gd name="connsiteX4" fmla="*/ 315 w 18332"/>
                    <a:gd name="connsiteY4" fmla="*/ 679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1">
                      <a:moveTo>
                        <a:pt x="315" y="6799"/>
                      </a:moveTo>
                      <a:cubicBezTo>
                        <a:pt x="-1001" y="11703"/>
                        <a:pt x="1930" y="16787"/>
                        <a:pt x="6774" y="18103"/>
                      </a:cubicBezTo>
                      <a:cubicBezTo>
                        <a:pt x="11678" y="19418"/>
                        <a:pt x="16702" y="16548"/>
                        <a:pt x="18018" y="11643"/>
                      </a:cubicBezTo>
                      <a:cubicBezTo>
                        <a:pt x="19334" y="6739"/>
                        <a:pt x="16403" y="1656"/>
                        <a:pt x="11559" y="340"/>
                      </a:cubicBezTo>
                      <a:cubicBezTo>
                        <a:pt x="6655" y="-1036"/>
                        <a:pt x="1571" y="1895"/>
                        <a:pt x="315" y="6799"/>
                      </a:cubicBezTo>
                      <a:close/>
                    </a:path>
                  </a:pathLst>
                </a:custGeom>
                <a:grpFill/>
                <a:ln w="5978" cap="flat">
                  <a:noFill/>
                  <a:prstDash val="solid"/>
                  <a:miter/>
                </a:ln>
              </p:spPr>
              <p:txBody>
                <a:bodyPr rtlCol="0" anchor="ctr"/>
                <a:lstStyle/>
                <a:p>
                  <a:endParaRPr lang="en-GB"/>
                </a:p>
              </p:txBody>
            </p:sp>
          </p:grpSp>
          <p:grpSp>
            <p:nvGrpSpPr>
              <p:cNvPr id="937" name="Graphic 3">
                <a:extLst>
                  <a:ext uri="{FF2B5EF4-FFF2-40B4-BE49-F238E27FC236}">
                    <a16:creationId xmlns:a16="http://schemas.microsoft.com/office/drawing/2014/main" id="{87EBC2DD-F457-4E23-BE09-E25F30082E1D}"/>
                  </a:ext>
                </a:extLst>
              </p:cNvPr>
              <p:cNvGrpSpPr/>
              <p:nvPr/>
            </p:nvGrpSpPr>
            <p:grpSpPr>
              <a:xfrm>
                <a:off x="4520343" y="2413012"/>
                <a:ext cx="127499" cy="89584"/>
                <a:chOff x="4520343" y="2413012"/>
                <a:chExt cx="127499" cy="89584"/>
              </a:xfrm>
              <a:grpFill/>
            </p:grpSpPr>
            <p:sp>
              <p:nvSpPr>
                <p:cNvPr id="2588" name="Vrije vorm: vorm 2587">
                  <a:extLst>
                    <a:ext uri="{FF2B5EF4-FFF2-40B4-BE49-F238E27FC236}">
                      <a16:creationId xmlns:a16="http://schemas.microsoft.com/office/drawing/2014/main" id="{A2D555A3-FACE-4D46-90B8-C23C967EA5B1}"/>
                    </a:ext>
                  </a:extLst>
                </p:cNvPr>
                <p:cNvSpPr/>
                <p:nvPr/>
              </p:nvSpPr>
              <p:spPr>
                <a:xfrm>
                  <a:off x="4528263" y="2420677"/>
                  <a:ext cx="111659" cy="74280"/>
                </a:xfrm>
                <a:custGeom>
                  <a:avLst/>
                  <a:gdLst>
                    <a:gd name="connsiteX0" fmla="*/ 111660 w 111659"/>
                    <a:gd name="connsiteY0" fmla="*/ 71709 h 74280"/>
                    <a:gd name="connsiteX1" fmla="*/ 109986 w 111659"/>
                    <a:gd name="connsiteY1" fmla="*/ 74280 h 74280"/>
                    <a:gd name="connsiteX2" fmla="*/ 0 w 111659"/>
                    <a:gd name="connsiteY2" fmla="*/ 2572 h 74280"/>
                    <a:gd name="connsiteX3" fmla="*/ 1674 w 111659"/>
                    <a:gd name="connsiteY3" fmla="*/ 0 h 74280"/>
                  </a:gdLst>
                  <a:ahLst/>
                  <a:cxnLst>
                    <a:cxn ang="0">
                      <a:pos x="connsiteX0" y="connsiteY0"/>
                    </a:cxn>
                    <a:cxn ang="0">
                      <a:pos x="connsiteX1" y="connsiteY1"/>
                    </a:cxn>
                    <a:cxn ang="0">
                      <a:pos x="connsiteX2" y="connsiteY2"/>
                    </a:cxn>
                    <a:cxn ang="0">
                      <a:pos x="connsiteX3" y="connsiteY3"/>
                    </a:cxn>
                  </a:cxnLst>
                  <a:rect l="l" t="t" r="r" b="b"/>
                  <a:pathLst>
                    <a:path w="111659" h="74280">
                      <a:moveTo>
                        <a:pt x="111660" y="71709"/>
                      </a:moveTo>
                      <a:lnTo>
                        <a:pt x="109986" y="74280"/>
                      </a:lnTo>
                      <a:lnTo>
                        <a:pt x="0" y="2572"/>
                      </a:lnTo>
                      <a:lnTo>
                        <a:pt x="1674" y="0"/>
                      </a:lnTo>
                      <a:close/>
                    </a:path>
                  </a:pathLst>
                </a:custGeom>
                <a:grpFill/>
                <a:ln w="5978" cap="flat">
                  <a:noFill/>
                  <a:prstDash val="solid"/>
                  <a:miter/>
                </a:ln>
              </p:spPr>
              <p:txBody>
                <a:bodyPr rtlCol="0" anchor="ctr"/>
                <a:lstStyle/>
                <a:p>
                  <a:endParaRPr lang="en-GB"/>
                </a:p>
              </p:txBody>
            </p:sp>
            <p:sp>
              <p:nvSpPr>
                <p:cNvPr id="2589" name="Vrije vorm: vorm 2588">
                  <a:extLst>
                    <a:ext uri="{FF2B5EF4-FFF2-40B4-BE49-F238E27FC236}">
                      <a16:creationId xmlns:a16="http://schemas.microsoft.com/office/drawing/2014/main" id="{4E6FB58E-76B3-44E0-B9F4-C661623C9332}"/>
                    </a:ext>
                  </a:extLst>
                </p:cNvPr>
                <p:cNvSpPr/>
                <p:nvPr/>
              </p:nvSpPr>
              <p:spPr>
                <a:xfrm>
                  <a:off x="4520343" y="2413012"/>
                  <a:ext cx="18351" cy="18413"/>
                </a:xfrm>
                <a:custGeom>
                  <a:avLst/>
                  <a:gdLst>
                    <a:gd name="connsiteX0" fmla="*/ 4212 w 18351"/>
                    <a:gd name="connsiteY0" fmla="*/ 16935 h 18413"/>
                    <a:gd name="connsiteX1" fmla="*/ 1461 w 18351"/>
                    <a:gd name="connsiteY1" fmla="*/ 4196 h 18413"/>
                    <a:gd name="connsiteX2" fmla="*/ 14140 w 18351"/>
                    <a:gd name="connsiteY2" fmla="*/ 1505 h 18413"/>
                    <a:gd name="connsiteX3" fmla="*/ 16891 w 18351"/>
                    <a:gd name="connsiteY3" fmla="*/ 14244 h 18413"/>
                    <a:gd name="connsiteX4" fmla="*/ 4212 w 18351"/>
                    <a:gd name="connsiteY4" fmla="*/ 1693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13">
                      <a:moveTo>
                        <a:pt x="4212" y="16935"/>
                      </a:moveTo>
                      <a:cubicBezTo>
                        <a:pt x="-35" y="14184"/>
                        <a:pt x="-1290" y="8443"/>
                        <a:pt x="1461" y="4196"/>
                      </a:cubicBezTo>
                      <a:cubicBezTo>
                        <a:pt x="4212" y="-50"/>
                        <a:pt x="9894" y="-1306"/>
                        <a:pt x="14140" y="1505"/>
                      </a:cubicBezTo>
                      <a:cubicBezTo>
                        <a:pt x="18386" y="4256"/>
                        <a:pt x="19642" y="9997"/>
                        <a:pt x="16891" y="14244"/>
                      </a:cubicBezTo>
                      <a:cubicBezTo>
                        <a:pt x="14140" y="18490"/>
                        <a:pt x="8458" y="19686"/>
                        <a:pt x="4212" y="16935"/>
                      </a:cubicBezTo>
                      <a:close/>
                    </a:path>
                  </a:pathLst>
                </a:custGeom>
                <a:grpFill/>
                <a:ln w="5978" cap="flat">
                  <a:noFill/>
                  <a:prstDash val="solid"/>
                  <a:miter/>
                </a:ln>
              </p:spPr>
              <p:txBody>
                <a:bodyPr rtlCol="0" anchor="ctr"/>
                <a:lstStyle/>
                <a:p>
                  <a:endParaRPr lang="en-GB"/>
                </a:p>
              </p:txBody>
            </p:sp>
            <p:sp>
              <p:nvSpPr>
                <p:cNvPr id="2590" name="Vrije vorm: vorm 2589">
                  <a:extLst>
                    <a:ext uri="{FF2B5EF4-FFF2-40B4-BE49-F238E27FC236}">
                      <a16:creationId xmlns:a16="http://schemas.microsoft.com/office/drawing/2014/main" id="{6F6660BD-D38B-4BC1-986D-E0AD22291DD6}"/>
                    </a:ext>
                  </a:extLst>
                </p:cNvPr>
                <p:cNvSpPr/>
                <p:nvPr/>
              </p:nvSpPr>
              <p:spPr>
                <a:xfrm>
                  <a:off x="4629518" y="2484209"/>
                  <a:ext cx="18325" cy="18387"/>
                </a:xfrm>
                <a:custGeom>
                  <a:avLst/>
                  <a:gdLst>
                    <a:gd name="connsiteX0" fmla="*/ 4186 w 18325"/>
                    <a:gd name="connsiteY0" fmla="*/ 16909 h 18387"/>
                    <a:gd name="connsiteX1" fmla="*/ 16865 w 18325"/>
                    <a:gd name="connsiteY1" fmla="*/ 14217 h 18387"/>
                    <a:gd name="connsiteX2" fmla="*/ 14113 w 18325"/>
                    <a:gd name="connsiteY2" fmla="*/ 1478 h 18387"/>
                    <a:gd name="connsiteX3" fmla="*/ 1434 w 18325"/>
                    <a:gd name="connsiteY3" fmla="*/ 4170 h 18387"/>
                    <a:gd name="connsiteX4" fmla="*/ 4186 w 18325"/>
                    <a:gd name="connsiteY4" fmla="*/ 1690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7">
                      <a:moveTo>
                        <a:pt x="4186" y="16909"/>
                      </a:moveTo>
                      <a:cubicBezTo>
                        <a:pt x="8432" y="19660"/>
                        <a:pt x="14113" y="18464"/>
                        <a:pt x="16865" y="14217"/>
                      </a:cubicBezTo>
                      <a:cubicBezTo>
                        <a:pt x="19616" y="9971"/>
                        <a:pt x="18360" y="4230"/>
                        <a:pt x="14113" y="1478"/>
                      </a:cubicBezTo>
                      <a:cubicBezTo>
                        <a:pt x="9867" y="-1273"/>
                        <a:pt x="4186" y="-77"/>
                        <a:pt x="1434" y="4170"/>
                      </a:cubicBezTo>
                      <a:cubicBezTo>
                        <a:pt x="-1257" y="8476"/>
                        <a:pt x="-61" y="14158"/>
                        <a:pt x="4186" y="16909"/>
                      </a:cubicBezTo>
                      <a:close/>
                    </a:path>
                  </a:pathLst>
                </a:custGeom>
                <a:grpFill/>
                <a:ln w="5978" cap="flat">
                  <a:noFill/>
                  <a:prstDash val="solid"/>
                  <a:miter/>
                </a:ln>
              </p:spPr>
              <p:txBody>
                <a:bodyPr rtlCol="0" anchor="ctr"/>
                <a:lstStyle/>
                <a:p>
                  <a:endParaRPr lang="en-GB"/>
                </a:p>
              </p:txBody>
            </p:sp>
          </p:grpSp>
          <p:grpSp>
            <p:nvGrpSpPr>
              <p:cNvPr id="938" name="Graphic 3">
                <a:extLst>
                  <a:ext uri="{FF2B5EF4-FFF2-40B4-BE49-F238E27FC236}">
                    <a16:creationId xmlns:a16="http://schemas.microsoft.com/office/drawing/2014/main" id="{B1A69C18-A899-4A7E-86A3-6D4079E68999}"/>
                  </a:ext>
                </a:extLst>
              </p:cNvPr>
              <p:cNvGrpSpPr/>
              <p:nvPr/>
            </p:nvGrpSpPr>
            <p:grpSpPr>
              <a:xfrm>
                <a:off x="5430376" y="4982230"/>
                <a:ext cx="55007" cy="118107"/>
                <a:chOff x="5430376" y="4982230"/>
                <a:chExt cx="55007" cy="118107"/>
              </a:xfrm>
              <a:grpFill/>
            </p:grpSpPr>
            <p:sp>
              <p:nvSpPr>
                <p:cNvPr id="2585" name="Vrije vorm: vorm 2584">
                  <a:extLst>
                    <a:ext uri="{FF2B5EF4-FFF2-40B4-BE49-F238E27FC236}">
                      <a16:creationId xmlns:a16="http://schemas.microsoft.com/office/drawing/2014/main" id="{B4856424-9BC0-4E60-A2D4-5E4F05C51FBC}"/>
                    </a:ext>
                  </a:extLst>
                </p:cNvPr>
                <p:cNvSpPr/>
                <p:nvPr/>
              </p:nvSpPr>
              <p:spPr>
                <a:xfrm>
                  <a:off x="5437991" y="4990474"/>
                  <a:ext cx="39831" cy="101612"/>
                </a:xfrm>
                <a:custGeom>
                  <a:avLst/>
                  <a:gdLst>
                    <a:gd name="connsiteX0" fmla="*/ 39832 w 39831"/>
                    <a:gd name="connsiteY0" fmla="*/ 1076 h 101612"/>
                    <a:gd name="connsiteX1" fmla="*/ 2871 w 39831"/>
                    <a:gd name="connsiteY1" fmla="*/ 101612 h 101612"/>
                    <a:gd name="connsiteX2" fmla="*/ 0 w 39831"/>
                    <a:gd name="connsiteY2" fmla="*/ 100536 h 101612"/>
                    <a:gd name="connsiteX3" fmla="*/ 36961 w 39831"/>
                    <a:gd name="connsiteY3" fmla="*/ 0 h 101612"/>
                  </a:gdLst>
                  <a:ahLst/>
                  <a:cxnLst>
                    <a:cxn ang="0">
                      <a:pos x="connsiteX0" y="connsiteY0"/>
                    </a:cxn>
                    <a:cxn ang="0">
                      <a:pos x="connsiteX1" y="connsiteY1"/>
                    </a:cxn>
                    <a:cxn ang="0">
                      <a:pos x="connsiteX2" y="connsiteY2"/>
                    </a:cxn>
                    <a:cxn ang="0">
                      <a:pos x="connsiteX3" y="connsiteY3"/>
                    </a:cxn>
                  </a:cxnLst>
                  <a:rect l="l" t="t" r="r" b="b"/>
                  <a:pathLst>
                    <a:path w="39831" h="101612">
                      <a:moveTo>
                        <a:pt x="39832" y="1076"/>
                      </a:moveTo>
                      <a:lnTo>
                        <a:pt x="2871" y="101612"/>
                      </a:lnTo>
                      <a:lnTo>
                        <a:pt x="0" y="100536"/>
                      </a:lnTo>
                      <a:lnTo>
                        <a:pt x="36961" y="0"/>
                      </a:lnTo>
                      <a:close/>
                    </a:path>
                  </a:pathLst>
                </a:custGeom>
                <a:grpFill/>
                <a:ln w="5978" cap="flat">
                  <a:noFill/>
                  <a:prstDash val="solid"/>
                  <a:miter/>
                </a:ln>
              </p:spPr>
              <p:txBody>
                <a:bodyPr rtlCol="0" anchor="ctr"/>
                <a:lstStyle/>
                <a:p>
                  <a:endParaRPr lang="en-GB"/>
                </a:p>
              </p:txBody>
            </p:sp>
            <p:sp>
              <p:nvSpPr>
                <p:cNvPr id="2586" name="Vrije vorm: vorm 2585">
                  <a:extLst>
                    <a:ext uri="{FF2B5EF4-FFF2-40B4-BE49-F238E27FC236}">
                      <a16:creationId xmlns:a16="http://schemas.microsoft.com/office/drawing/2014/main" id="{E1EB848B-6204-4020-8D16-4116C9BCC382}"/>
                    </a:ext>
                  </a:extLst>
                </p:cNvPr>
                <p:cNvSpPr/>
                <p:nvPr/>
              </p:nvSpPr>
              <p:spPr>
                <a:xfrm>
                  <a:off x="5430376" y="5081921"/>
                  <a:ext cx="18369" cy="18415"/>
                </a:xfrm>
                <a:custGeom>
                  <a:avLst/>
                  <a:gdLst>
                    <a:gd name="connsiteX0" fmla="*/ 17782 w 18369"/>
                    <a:gd name="connsiteY0" fmla="*/ 12438 h 18415"/>
                    <a:gd name="connsiteX1" fmla="*/ 6000 w 18369"/>
                    <a:gd name="connsiteY1" fmla="*/ 17820 h 18415"/>
                    <a:gd name="connsiteX2" fmla="*/ 557 w 18369"/>
                    <a:gd name="connsiteY2" fmla="*/ 5978 h 18415"/>
                    <a:gd name="connsiteX3" fmla="*/ 12339 w 18369"/>
                    <a:gd name="connsiteY3" fmla="*/ 596 h 18415"/>
                    <a:gd name="connsiteX4" fmla="*/ 17782 w 18369"/>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5">
                      <a:moveTo>
                        <a:pt x="17782" y="12438"/>
                      </a:moveTo>
                      <a:cubicBezTo>
                        <a:pt x="16047" y="17222"/>
                        <a:pt x="10784" y="19614"/>
                        <a:pt x="6000" y="17820"/>
                      </a:cubicBezTo>
                      <a:cubicBezTo>
                        <a:pt x="1275" y="16026"/>
                        <a:pt x="-1177" y="10703"/>
                        <a:pt x="557" y="5978"/>
                      </a:cubicBezTo>
                      <a:cubicBezTo>
                        <a:pt x="2291" y="1194"/>
                        <a:pt x="7555" y="-1198"/>
                        <a:pt x="12339" y="596"/>
                      </a:cubicBezTo>
                      <a:cubicBezTo>
                        <a:pt x="17124" y="2390"/>
                        <a:pt x="19576" y="7653"/>
                        <a:pt x="17782" y="12438"/>
                      </a:cubicBezTo>
                      <a:close/>
                    </a:path>
                  </a:pathLst>
                </a:custGeom>
                <a:grpFill/>
                <a:ln w="5978" cap="flat">
                  <a:noFill/>
                  <a:prstDash val="solid"/>
                  <a:miter/>
                </a:ln>
              </p:spPr>
              <p:txBody>
                <a:bodyPr rtlCol="0" anchor="ctr"/>
                <a:lstStyle/>
                <a:p>
                  <a:endParaRPr lang="en-GB"/>
                </a:p>
              </p:txBody>
            </p:sp>
            <p:sp>
              <p:nvSpPr>
                <p:cNvPr id="2587" name="Vrije vorm: vorm 2586">
                  <a:extLst>
                    <a:ext uri="{FF2B5EF4-FFF2-40B4-BE49-F238E27FC236}">
                      <a16:creationId xmlns:a16="http://schemas.microsoft.com/office/drawing/2014/main" id="{4C837694-14BC-42BB-8F5F-6447CE0FBC20}"/>
                    </a:ext>
                  </a:extLst>
                </p:cNvPr>
                <p:cNvSpPr/>
                <p:nvPr/>
              </p:nvSpPr>
              <p:spPr>
                <a:xfrm>
                  <a:off x="5467032" y="4982230"/>
                  <a:ext cx="18352" cy="18408"/>
                </a:xfrm>
                <a:custGeom>
                  <a:avLst/>
                  <a:gdLst>
                    <a:gd name="connsiteX0" fmla="*/ 17788 w 18352"/>
                    <a:gd name="connsiteY0" fmla="*/ 12430 h 18408"/>
                    <a:gd name="connsiteX1" fmla="*/ 12346 w 18352"/>
                    <a:gd name="connsiteY1" fmla="*/ 589 h 18408"/>
                    <a:gd name="connsiteX2" fmla="*/ 564 w 18352"/>
                    <a:gd name="connsiteY2" fmla="*/ 5971 h 18408"/>
                    <a:gd name="connsiteX3" fmla="*/ 6006 w 18352"/>
                    <a:gd name="connsiteY3" fmla="*/ 17813 h 18408"/>
                    <a:gd name="connsiteX4" fmla="*/ 17788 w 18352"/>
                    <a:gd name="connsiteY4" fmla="*/ 12430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8">
                      <a:moveTo>
                        <a:pt x="17788" y="12430"/>
                      </a:moveTo>
                      <a:cubicBezTo>
                        <a:pt x="19523" y="7646"/>
                        <a:pt x="17131" y="2383"/>
                        <a:pt x="12346" y="589"/>
                      </a:cubicBezTo>
                      <a:cubicBezTo>
                        <a:pt x="7621" y="-1205"/>
                        <a:pt x="2358" y="1246"/>
                        <a:pt x="564" y="5971"/>
                      </a:cubicBezTo>
                      <a:cubicBezTo>
                        <a:pt x="-1170" y="10756"/>
                        <a:pt x="1222" y="16019"/>
                        <a:pt x="6006" y="17813"/>
                      </a:cubicBezTo>
                      <a:cubicBezTo>
                        <a:pt x="10791" y="19607"/>
                        <a:pt x="16054" y="17215"/>
                        <a:pt x="17788" y="12430"/>
                      </a:cubicBezTo>
                      <a:close/>
                    </a:path>
                  </a:pathLst>
                </a:custGeom>
                <a:grpFill/>
                <a:ln w="5978" cap="flat">
                  <a:noFill/>
                  <a:prstDash val="solid"/>
                  <a:miter/>
                </a:ln>
              </p:spPr>
              <p:txBody>
                <a:bodyPr rtlCol="0" anchor="ctr"/>
                <a:lstStyle/>
                <a:p>
                  <a:endParaRPr lang="en-GB"/>
                </a:p>
              </p:txBody>
            </p:sp>
          </p:grpSp>
          <p:grpSp>
            <p:nvGrpSpPr>
              <p:cNvPr id="939" name="Graphic 3">
                <a:extLst>
                  <a:ext uri="{FF2B5EF4-FFF2-40B4-BE49-F238E27FC236}">
                    <a16:creationId xmlns:a16="http://schemas.microsoft.com/office/drawing/2014/main" id="{3E297873-998D-4B57-8E7D-9C6124B7C482}"/>
                  </a:ext>
                </a:extLst>
              </p:cNvPr>
              <p:cNvGrpSpPr/>
              <p:nvPr/>
            </p:nvGrpSpPr>
            <p:grpSpPr>
              <a:xfrm>
                <a:off x="5601458" y="5407104"/>
                <a:ext cx="88786" cy="395061"/>
                <a:chOff x="5601458" y="5407104"/>
                <a:chExt cx="88786" cy="395061"/>
              </a:xfrm>
              <a:grpFill/>
            </p:grpSpPr>
            <p:sp>
              <p:nvSpPr>
                <p:cNvPr id="2582" name="Vrije vorm: vorm 2581">
                  <a:extLst>
                    <a:ext uri="{FF2B5EF4-FFF2-40B4-BE49-F238E27FC236}">
                      <a16:creationId xmlns:a16="http://schemas.microsoft.com/office/drawing/2014/main" id="{482ED3D8-7DDC-4012-9B0E-CAD6F6E50233}"/>
                    </a:ext>
                  </a:extLst>
                </p:cNvPr>
                <p:cNvSpPr/>
                <p:nvPr/>
              </p:nvSpPr>
              <p:spPr>
                <a:xfrm>
                  <a:off x="5609040" y="5415583"/>
                  <a:ext cx="73622" cy="378101"/>
                </a:xfrm>
                <a:custGeom>
                  <a:avLst/>
                  <a:gdLst>
                    <a:gd name="connsiteX0" fmla="*/ 73623 w 73622"/>
                    <a:gd name="connsiteY0" fmla="*/ 538 h 378101"/>
                    <a:gd name="connsiteX1" fmla="*/ 2990 w 73622"/>
                    <a:gd name="connsiteY1" fmla="*/ 378101 h 378101"/>
                    <a:gd name="connsiteX2" fmla="*/ 0 w 73622"/>
                    <a:gd name="connsiteY2" fmla="*/ 377563 h 378101"/>
                    <a:gd name="connsiteX3" fmla="*/ 70632 w 73622"/>
                    <a:gd name="connsiteY3" fmla="*/ 0 h 378101"/>
                  </a:gdLst>
                  <a:ahLst/>
                  <a:cxnLst>
                    <a:cxn ang="0">
                      <a:pos x="connsiteX0" y="connsiteY0"/>
                    </a:cxn>
                    <a:cxn ang="0">
                      <a:pos x="connsiteX1" y="connsiteY1"/>
                    </a:cxn>
                    <a:cxn ang="0">
                      <a:pos x="connsiteX2" y="connsiteY2"/>
                    </a:cxn>
                    <a:cxn ang="0">
                      <a:pos x="connsiteX3" y="connsiteY3"/>
                    </a:cxn>
                  </a:cxnLst>
                  <a:rect l="l" t="t" r="r" b="b"/>
                  <a:pathLst>
                    <a:path w="73622" h="378101">
                      <a:moveTo>
                        <a:pt x="73623" y="538"/>
                      </a:moveTo>
                      <a:lnTo>
                        <a:pt x="2990" y="378101"/>
                      </a:lnTo>
                      <a:lnTo>
                        <a:pt x="0" y="377563"/>
                      </a:lnTo>
                      <a:lnTo>
                        <a:pt x="70632" y="0"/>
                      </a:lnTo>
                      <a:close/>
                    </a:path>
                  </a:pathLst>
                </a:custGeom>
                <a:grpFill/>
                <a:ln w="5978" cap="flat">
                  <a:noFill/>
                  <a:prstDash val="solid"/>
                  <a:miter/>
                </a:ln>
              </p:spPr>
              <p:txBody>
                <a:bodyPr rtlCol="0" anchor="ctr"/>
                <a:lstStyle/>
                <a:p>
                  <a:endParaRPr lang="en-GB"/>
                </a:p>
              </p:txBody>
            </p:sp>
            <p:sp>
              <p:nvSpPr>
                <p:cNvPr id="2583" name="Vrije vorm: vorm 2582">
                  <a:extLst>
                    <a:ext uri="{FF2B5EF4-FFF2-40B4-BE49-F238E27FC236}">
                      <a16:creationId xmlns:a16="http://schemas.microsoft.com/office/drawing/2014/main" id="{541DF2E2-930F-4B55-8230-52B70C44EF67}"/>
                    </a:ext>
                  </a:extLst>
                </p:cNvPr>
                <p:cNvSpPr/>
                <p:nvPr/>
              </p:nvSpPr>
              <p:spPr>
                <a:xfrm>
                  <a:off x="5601458" y="5783768"/>
                  <a:ext cx="18333" cy="18397"/>
                </a:xfrm>
                <a:custGeom>
                  <a:avLst/>
                  <a:gdLst>
                    <a:gd name="connsiteX0" fmla="*/ 18168 w 18333"/>
                    <a:gd name="connsiteY0" fmla="*/ 10933 h 18397"/>
                    <a:gd name="connsiteX1" fmla="*/ 7462 w 18333"/>
                    <a:gd name="connsiteY1" fmla="*/ 18229 h 18397"/>
                    <a:gd name="connsiteX2" fmla="*/ 166 w 18333"/>
                    <a:gd name="connsiteY2" fmla="*/ 7464 h 18397"/>
                    <a:gd name="connsiteX3" fmla="*/ 10871 w 18333"/>
                    <a:gd name="connsiteY3" fmla="*/ 168 h 18397"/>
                    <a:gd name="connsiteX4" fmla="*/ 18168 w 18333"/>
                    <a:gd name="connsiteY4" fmla="*/ 109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7">
                      <a:moveTo>
                        <a:pt x="18168" y="10933"/>
                      </a:moveTo>
                      <a:cubicBezTo>
                        <a:pt x="17211" y="15957"/>
                        <a:pt x="12426" y="19187"/>
                        <a:pt x="7462" y="18229"/>
                      </a:cubicBezTo>
                      <a:cubicBezTo>
                        <a:pt x="2498" y="17273"/>
                        <a:pt x="-791" y="12428"/>
                        <a:pt x="166" y="7464"/>
                      </a:cubicBezTo>
                      <a:cubicBezTo>
                        <a:pt x="1123" y="2441"/>
                        <a:pt x="5907" y="-789"/>
                        <a:pt x="10871" y="168"/>
                      </a:cubicBezTo>
                      <a:cubicBezTo>
                        <a:pt x="15835" y="1125"/>
                        <a:pt x="19125" y="5969"/>
                        <a:pt x="18168" y="10933"/>
                      </a:cubicBezTo>
                      <a:close/>
                    </a:path>
                  </a:pathLst>
                </a:custGeom>
                <a:grpFill/>
                <a:ln w="5978" cap="flat">
                  <a:noFill/>
                  <a:prstDash val="solid"/>
                  <a:miter/>
                </a:ln>
              </p:spPr>
              <p:txBody>
                <a:bodyPr rtlCol="0" anchor="ctr"/>
                <a:lstStyle/>
                <a:p>
                  <a:endParaRPr lang="en-GB"/>
                </a:p>
              </p:txBody>
            </p:sp>
            <p:sp>
              <p:nvSpPr>
                <p:cNvPr id="2584" name="Vrije vorm: vorm 2583">
                  <a:extLst>
                    <a:ext uri="{FF2B5EF4-FFF2-40B4-BE49-F238E27FC236}">
                      <a16:creationId xmlns:a16="http://schemas.microsoft.com/office/drawing/2014/main" id="{FB4D16A2-5075-473F-92FD-E875E11A91D0}"/>
                    </a:ext>
                  </a:extLst>
                </p:cNvPr>
                <p:cNvSpPr/>
                <p:nvPr/>
              </p:nvSpPr>
              <p:spPr>
                <a:xfrm>
                  <a:off x="5671911" y="5407104"/>
                  <a:ext cx="18333" cy="18411"/>
                </a:xfrm>
                <a:custGeom>
                  <a:avLst/>
                  <a:gdLst>
                    <a:gd name="connsiteX0" fmla="*/ 18168 w 18333"/>
                    <a:gd name="connsiteY0" fmla="*/ 10931 h 18411"/>
                    <a:gd name="connsiteX1" fmla="*/ 10871 w 18333"/>
                    <a:gd name="connsiteY1" fmla="*/ 166 h 18411"/>
                    <a:gd name="connsiteX2" fmla="*/ 166 w 18333"/>
                    <a:gd name="connsiteY2" fmla="*/ 7462 h 18411"/>
                    <a:gd name="connsiteX3" fmla="*/ 7462 w 18333"/>
                    <a:gd name="connsiteY3" fmla="*/ 18227 h 18411"/>
                    <a:gd name="connsiteX4" fmla="*/ 18168 w 18333"/>
                    <a:gd name="connsiteY4" fmla="*/ 10931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1">
                      <a:moveTo>
                        <a:pt x="18168" y="10931"/>
                      </a:moveTo>
                      <a:cubicBezTo>
                        <a:pt x="19124" y="5907"/>
                        <a:pt x="15835" y="1123"/>
                        <a:pt x="10871" y="166"/>
                      </a:cubicBezTo>
                      <a:cubicBezTo>
                        <a:pt x="5907" y="-791"/>
                        <a:pt x="1122" y="2498"/>
                        <a:pt x="166" y="7462"/>
                      </a:cubicBezTo>
                      <a:cubicBezTo>
                        <a:pt x="-791" y="12426"/>
                        <a:pt x="2498" y="17271"/>
                        <a:pt x="7462" y="18227"/>
                      </a:cubicBezTo>
                      <a:cubicBezTo>
                        <a:pt x="12426" y="19244"/>
                        <a:pt x="17270" y="15955"/>
                        <a:pt x="18168" y="10931"/>
                      </a:cubicBezTo>
                      <a:close/>
                    </a:path>
                  </a:pathLst>
                </a:custGeom>
                <a:grpFill/>
                <a:ln w="5978" cap="flat">
                  <a:noFill/>
                  <a:prstDash val="solid"/>
                  <a:miter/>
                </a:ln>
              </p:spPr>
              <p:txBody>
                <a:bodyPr rtlCol="0" anchor="ctr"/>
                <a:lstStyle/>
                <a:p>
                  <a:endParaRPr lang="en-GB"/>
                </a:p>
              </p:txBody>
            </p:sp>
          </p:grpSp>
          <p:grpSp>
            <p:nvGrpSpPr>
              <p:cNvPr id="940" name="Graphic 3">
                <a:extLst>
                  <a:ext uri="{FF2B5EF4-FFF2-40B4-BE49-F238E27FC236}">
                    <a16:creationId xmlns:a16="http://schemas.microsoft.com/office/drawing/2014/main" id="{2A35E2A0-D72F-4AEF-A8F9-9E1BA71425B1}"/>
                  </a:ext>
                </a:extLst>
              </p:cNvPr>
              <p:cNvGrpSpPr/>
              <p:nvPr/>
            </p:nvGrpSpPr>
            <p:grpSpPr>
              <a:xfrm>
                <a:off x="4344124" y="2108824"/>
                <a:ext cx="341161" cy="303140"/>
                <a:chOff x="4344124" y="2108824"/>
                <a:chExt cx="341161" cy="303140"/>
              </a:xfrm>
              <a:grpFill/>
            </p:grpSpPr>
            <p:sp>
              <p:nvSpPr>
                <p:cNvPr id="2579" name="Vrije vorm: vorm 2578">
                  <a:extLst>
                    <a:ext uri="{FF2B5EF4-FFF2-40B4-BE49-F238E27FC236}">
                      <a16:creationId xmlns:a16="http://schemas.microsoft.com/office/drawing/2014/main" id="{5147DA57-4327-4CE8-B358-04832B07C755}"/>
                    </a:ext>
                  </a:extLst>
                </p:cNvPr>
                <p:cNvSpPr/>
                <p:nvPr/>
              </p:nvSpPr>
              <p:spPr>
                <a:xfrm>
                  <a:off x="4351952" y="2116558"/>
                  <a:ext cx="325470" cy="287672"/>
                </a:xfrm>
                <a:custGeom>
                  <a:avLst/>
                  <a:gdLst>
                    <a:gd name="connsiteX0" fmla="*/ 325471 w 325470"/>
                    <a:gd name="connsiteY0" fmla="*/ 285400 h 287672"/>
                    <a:gd name="connsiteX1" fmla="*/ 323497 w 325470"/>
                    <a:gd name="connsiteY1" fmla="*/ 287673 h 287672"/>
                    <a:gd name="connsiteX2" fmla="*/ 0 w 325470"/>
                    <a:gd name="connsiteY2" fmla="*/ 2273 h 287672"/>
                    <a:gd name="connsiteX3" fmla="*/ 1973 w 325470"/>
                    <a:gd name="connsiteY3" fmla="*/ 0 h 287672"/>
                  </a:gdLst>
                  <a:ahLst/>
                  <a:cxnLst>
                    <a:cxn ang="0">
                      <a:pos x="connsiteX0" y="connsiteY0"/>
                    </a:cxn>
                    <a:cxn ang="0">
                      <a:pos x="connsiteX1" y="connsiteY1"/>
                    </a:cxn>
                    <a:cxn ang="0">
                      <a:pos x="connsiteX2" y="connsiteY2"/>
                    </a:cxn>
                    <a:cxn ang="0">
                      <a:pos x="connsiteX3" y="connsiteY3"/>
                    </a:cxn>
                  </a:cxnLst>
                  <a:rect l="l" t="t" r="r" b="b"/>
                  <a:pathLst>
                    <a:path w="325470" h="287672">
                      <a:moveTo>
                        <a:pt x="325471" y="285400"/>
                      </a:moveTo>
                      <a:lnTo>
                        <a:pt x="323497" y="287673"/>
                      </a:lnTo>
                      <a:lnTo>
                        <a:pt x="0" y="2273"/>
                      </a:lnTo>
                      <a:lnTo>
                        <a:pt x="1973" y="0"/>
                      </a:lnTo>
                      <a:close/>
                    </a:path>
                  </a:pathLst>
                </a:custGeom>
                <a:grpFill/>
                <a:ln w="5978" cap="flat">
                  <a:noFill/>
                  <a:prstDash val="solid"/>
                  <a:miter/>
                </a:ln>
              </p:spPr>
              <p:txBody>
                <a:bodyPr rtlCol="0" anchor="ctr"/>
                <a:lstStyle/>
                <a:p>
                  <a:endParaRPr lang="en-GB"/>
                </a:p>
              </p:txBody>
            </p:sp>
            <p:sp>
              <p:nvSpPr>
                <p:cNvPr id="2580" name="Vrije vorm: vorm 2579">
                  <a:extLst>
                    <a:ext uri="{FF2B5EF4-FFF2-40B4-BE49-F238E27FC236}">
                      <a16:creationId xmlns:a16="http://schemas.microsoft.com/office/drawing/2014/main" id="{483330BB-D657-4E65-B567-F5DA47B23C47}"/>
                    </a:ext>
                  </a:extLst>
                </p:cNvPr>
                <p:cNvSpPr/>
                <p:nvPr/>
              </p:nvSpPr>
              <p:spPr>
                <a:xfrm>
                  <a:off x="4666988" y="2393566"/>
                  <a:ext cx="18297" cy="18398"/>
                </a:xfrm>
                <a:custGeom>
                  <a:avLst/>
                  <a:gdLst>
                    <a:gd name="connsiteX0" fmla="*/ 15159 w 18297"/>
                    <a:gd name="connsiteY0" fmla="*/ 2291 h 18398"/>
                    <a:gd name="connsiteX1" fmla="*/ 16057 w 18297"/>
                    <a:gd name="connsiteY1" fmla="*/ 15269 h 18398"/>
                    <a:gd name="connsiteX2" fmla="*/ 3138 w 18297"/>
                    <a:gd name="connsiteY2" fmla="*/ 16107 h 18398"/>
                    <a:gd name="connsiteX3" fmla="*/ 2241 w 18297"/>
                    <a:gd name="connsiteY3" fmla="*/ 3129 h 18398"/>
                    <a:gd name="connsiteX4" fmla="*/ 15159 w 18297"/>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8">
                      <a:moveTo>
                        <a:pt x="15159" y="2291"/>
                      </a:moveTo>
                      <a:cubicBezTo>
                        <a:pt x="18987" y="5641"/>
                        <a:pt x="19346" y="11502"/>
                        <a:pt x="16057" y="15269"/>
                      </a:cubicBezTo>
                      <a:cubicBezTo>
                        <a:pt x="12707" y="19097"/>
                        <a:pt x="6966" y="19456"/>
                        <a:pt x="3138" y="16107"/>
                      </a:cubicBezTo>
                      <a:cubicBezTo>
                        <a:pt x="-689" y="12758"/>
                        <a:pt x="-1048" y="6896"/>
                        <a:pt x="2241" y="3129"/>
                      </a:cubicBezTo>
                      <a:cubicBezTo>
                        <a:pt x="5530" y="-699"/>
                        <a:pt x="11332" y="-1058"/>
                        <a:pt x="15159" y="2291"/>
                      </a:cubicBezTo>
                      <a:close/>
                    </a:path>
                  </a:pathLst>
                </a:custGeom>
                <a:grpFill/>
                <a:ln w="5978" cap="flat">
                  <a:noFill/>
                  <a:prstDash val="solid"/>
                  <a:miter/>
                </a:ln>
              </p:spPr>
              <p:txBody>
                <a:bodyPr rtlCol="0" anchor="ctr"/>
                <a:lstStyle/>
                <a:p>
                  <a:endParaRPr lang="en-GB"/>
                </a:p>
              </p:txBody>
            </p:sp>
            <p:sp>
              <p:nvSpPr>
                <p:cNvPr id="2581" name="Vrije vorm: vorm 2580">
                  <a:extLst>
                    <a:ext uri="{FF2B5EF4-FFF2-40B4-BE49-F238E27FC236}">
                      <a16:creationId xmlns:a16="http://schemas.microsoft.com/office/drawing/2014/main" id="{E020A9EE-6A0D-4BC9-A5EF-D637E4556152}"/>
                    </a:ext>
                  </a:extLst>
                </p:cNvPr>
                <p:cNvSpPr/>
                <p:nvPr/>
              </p:nvSpPr>
              <p:spPr>
                <a:xfrm>
                  <a:off x="4344124" y="2108824"/>
                  <a:ext cx="18322" cy="18398"/>
                </a:xfrm>
                <a:custGeom>
                  <a:avLst/>
                  <a:gdLst>
                    <a:gd name="connsiteX0" fmla="*/ 15184 w 18322"/>
                    <a:gd name="connsiteY0" fmla="*/ 2291 h 18398"/>
                    <a:gd name="connsiteX1" fmla="*/ 2266 w 18322"/>
                    <a:gd name="connsiteY1" fmla="*/ 3129 h 18398"/>
                    <a:gd name="connsiteX2" fmla="*/ 3163 w 18322"/>
                    <a:gd name="connsiteY2" fmla="*/ 16107 h 18398"/>
                    <a:gd name="connsiteX3" fmla="*/ 16081 w 18322"/>
                    <a:gd name="connsiteY3" fmla="*/ 15269 h 18398"/>
                    <a:gd name="connsiteX4" fmla="*/ 15184 w 18322"/>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98">
                      <a:moveTo>
                        <a:pt x="15184" y="2291"/>
                      </a:moveTo>
                      <a:cubicBezTo>
                        <a:pt x="11356" y="-1058"/>
                        <a:pt x="5555" y="-699"/>
                        <a:pt x="2266" y="3129"/>
                      </a:cubicBezTo>
                      <a:cubicBezTo>
                        <a:pt x="-1084" y="6956"/>
                        <a:pt x="-665" y="12758"/>
                        <a:pt x="3163" y="16107"/>
                      </a:cubicBezTo>
                      <a:cubicBezTo>
                        <a:pt x="6990" y="19456"/>
                        <a:pt x="12791" y="19097"/>
                        <a:pt x="16081" y="15269"/>
                      </a:cubicBezTo>
                      <a:cubicBezTo>
                        <a:pt x="19370" y="11442"/>
                        <a:pt x="19012" y="5641"/>
                        <a:pt x="15184" y="2291"/>
                      </a:cubicBezTo>
                      <a:close/>
                    </a:path>
                  </a:pathLst>
                </a:custGeom>
                <a:grpFill/>
                <a:ln w="5978" cap="flat">
                  <a:noFill/>
                  <a:prstDash val="solid"/>
                  <a:miter/>
                </a:ln>
              </p:spPr>
              <p:txBody>
                <a:bodyPr rtlCol="0" anchor="ctr"/>
                <a:lstStyle/>
                <a:p>
                  <a:endParaRPr lang="en-GB"/>
                </a:p>
              </p:txBody>
            </p:sp>
          </p:grpSp>
          <p:grpSp>
            <p:nvGrpSpPr>
              <p:cNvPr id="941" name="Graphic 3">
                <a:extLst>
                  <a:ext uri="{FF2B5EF4-FFF2-40B4-BE49-F238E27FC236}">
                    <a16:creationId xmlns:a16="http://schemas.microsoft.com/office/drawing/2014/main" id="{C79A5F17-8737-4052-A925-1079EFD234BF}"/>
                  </a:ext>
                </a:extLst>
              </p:cNvPr>
              <p:cNvGrpSpPr/>
              <p:nvPr/>
            </p:nvGrpSpPr>
            <p:grpSpPr>
              <a:xfrm>
                <a:off x="4578344" y="2489315"/>
                <a:ext cx="58474" cy="43522"/>
                <a:chOff x="4578344" y="2489315"/>
                <a:chExt cx="58474" cy="43522"/>
              </a:xfrm>
              <a:grpFill/>
            </p:grpSpPr>
            <p:sp>
              <p:nvSpPr>
                <p:cNvPr id="2576" name="Vrije vorm: vorm 2575">
                  <a:extLst>
                    <a:ext uri="{FF2B5EF4-FFF2-40B4-BE49-F238E27FC236}">
                      <a16:creationId xmlns:a16="http://schemas.microsoft.com/office/drawing/2014/main" id="{C7F33E8F-BA27-4830-8018-5825B3F24C2E}"/>
                    </a:ext>
                  </a:extLst>
                </p:cNvPr>
                <p:cNvSpPr/>
                <p:nvPr/>
              </p:nvSpPr>
              <p:spPr>
                <a:xfrm>
                  <a:off x="4586276" y="2496991"/>
                  <a:ext cx="42522" cy="28169"/>
                </a:xfrm>
                <a:custGeom>
                  <a:avLst/>
                  <a:gdLst>
                    <a:gd name="connsiteX0" fmla="*/ 42523 w 42522"/>
                    <a:gd name="connsiteY0" fmla="*/ 25598 h 28169"/>
                    <a:gd name="connsiteX1" fmla="*/ 40968 w 42522"/>
                    <a:gd name="connsiteY1" fmla="*/ 28169 h 28169"/>
                    <a:gd name="connsiteX2" fmla="*/ 0 w 42522"/>
                    <a:gd name="connsiteY2" fmla="*/ 2572 h 28169"/>
                    <a:gd name="connsiteX3" fmla="*/ 1615 w 42522"/>
                    <a:gd name="connsiteY3" fmla="*/ 0 h 28169"/>
                  </a:gdLst>
                  <a:ahLst/>
                  <a:cxnLst>
                    <a:cxn ang="0">
                      <a:pos x="connsiteX0" y="connsiteY0"/>
                    </a:cxn>
                    <a:cxn ang="0">
                      <a:pos x="connsiteX1" y="connsiteY1"/>
                    </a:cxn>
                    <a:cxn ang="0">
                      <a:pos x="connsiteX2" y="connsiteY2"/>
                    </a:cxn>
                    <a:cxn ang="0">
                      <a:pos x="connsiteX3" y="connsiteY3"/>
                    </a:cxn>
                  </a:cxnLst>
                  <a:rect l="l" t="t" r="r" b="b"/>
                  <a:pathLst>
                    <a:path w="42522" h="28169">
                      <a:moveTo>
                        <a:pt x="42523" y="25598"/>
                      </a:moveTo>
                      <a:lnTo>
                        <a:pt x="40968" y="28169"/>
                      </a:lnTo>
                      <a:lnTo>
                        <a:pt x="0" y="2572"/>
                      </a:lnTo>
                      <a:lnTo>
                        <a:pt x="1615" y="0"/>
                      </a:lnTo>
                      <a:close/>
                    </a:path>
                  </a:pathLst>
                </a:custGeom>
                <a:grpFill/>
                <a:ln w="5978" cap="flat">
                  <a:noFill/>
                  <a:prstDash val="solid"/>
                  <a:miter/>
                </a:ln>
              </p:spPr>
              <p:txBody>
                <a:bodyPr rtlCol="0" anchor="ctr"/>
                <a:lstStyle/>
                <a:p>
                  <a:endParaRPr lang="en-GB"/>
                </a:p>
              </p:txBody>
            </p:sp>
            <p:sp>
              <p:nvSpPr>
                <p:cNvPr id="2577" name="Vrije vorm: vorm 2576">
                  <a:extLst>
                    <a:ext uri="{FF2B5EF4-FFF2-40B4-BE49-F238E27FC236}">
                      <a16:creationId xmlns:a16="http://schemas.microsoft.com/office/drawing/2014/main" id="{9BBACCDD-5238-46DD-AC2E-8D87562F871C}"/>
                    </a:ext>
                  </a:extLst>
                </p:cNvPr>
                <p:cNvSpPr/>
                <p:nvPr/>
              </p:nvSpPr>
              <p:spPr>
                <a:xfrm>
                  <a:off x="4578344" y="2489315"/>
                  <a:ext cx="18316" cy="18403"/>
                </a:xfrm>
                <a:custGeom>
                  <a:avLst/>
                  <a:gdLst>
                    <a:gd name="connsiteX0" fmla="*/ 4344 w 18316"/>
                    <a:gd name="connsiteY0" fmla="*/ 17007 h 18403"/>
                    <a:gd name="connsiteX1" fmla="*/ 1354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4" y="4327"/>
                      </a:cubicBezTo>
                      <a:cubicBezTo>
                        <a:pt x="3985" y="21"/>
                        <a:pt x="9667" y="-1294"/>
                        <a:pt x="13973" y="1397"/>
                      </a:cubicBezTo>
                      <a:cubicBezTo>
                        <a:pt x="18279" y="4088"/>
                        <a:pt x="19595" y="9770"/>
                        <a:pt x="16963" y="14076"/>
                      </a:cubicBezTo>
                      <a:cubicBezTo>
                        <a:pt x="14272" y="18382"/>
                        <a:pt x="8650" y="19698"/>
                        <a:pt x="4344" y="17007"/>
                      </a:cubicBezTo>
                      <a:close/>
                    </a:path>
                  </a:pathLst>
                </a:custGeom>
                <a:grpFill/>
                <a:ln w="5978" cap="flat">
                  <a:noFill/>
                  <a:prstDash val="solid"/>
                  <a:miter/>
                </a:ln>
              </p:spPr>
              <p:txBody>
                <a:bodyPr rtlCol="0" anchor="ctr"/>
                <a:lstStyle/>
                <a:p>
                  <a:endParaRPr lang="en-GB"/>
                </a:p>
              </p:txBody>
            </p:sp>
            <p:sp>
              <p:nvSpPr>
                <p:cNvPr id="2578" name="Vrije vorm: vorm 2577">
                  <a:extLst>
                    <a:ext uri="{FF2B5EF4-FFF2-40B4-BE49-F238E27FC236}">
                      <a16:creationId xmlns:a16="http://schemas.microsoft.com/office/drawing/2014/main" id="{D4E2EE98-F235-4781-AC9A-B37B175BEE5A}"/>
                    </a:ext>
                  </a:extLst>
                </p:cNvPr>
                <p:cNvSpPr/>
                <p:nvPr/>
              </p:nvSpPr>
              <p:spPr>
                <a:xfrm>
                  <a:off x="4618475" y="2514434"/>
                  <a:ext cx="18343" cy="18403"/>
                </a:xfrm>
                <a:custGeom>
                  <a:avLst/>
                  <a:gdLst>
                    <a:gd name="connsiteX0" fmla="*/ 4344 w 18343"/>
                    <a:gd name="connsiteY0" fmla="*/ 17007 h 18403"/>
                    <a:gd name="connsiteX1" fmla="*/ 16963 w 18343"/>
                    <a:gd name="connsiteY1" fmla="*/ 14076 h 18403"/>
                    <a:gd name="connsiteX2" fmla="*/ 13973 w 18343"/>
                    <a:gd name="connsiteY2" fmla="*/ 1397 h 18403"/>
                    <a:gd name="connsiteX3" fmla="*/ 1354 w 18343"/>
                    <a:gd name="connsiteY3" fmla="*/ 4327 h 18403"/>
                    <a:gd name="connsiteX4" fmla="*/ 4344 w 18343"/>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4344" y="17007"/>
                      </a:moveTo>
                      <a:cubicBezTo>
                        <a:pt x="8650" y="19698"/>
                        <a:pt x="14272" y="18382"/>
                        <a:pt x="16963" y="14076"/>
                      </a:cubicBezTo>
                      <a:cubicBezTo>
                        <a:pt x="19655" y="9770"/>
                        <a:pt x="18279" y="4088"/>
                        <a:pt x="13973" y="1397"/>
                      </a:cubicBezTo>
                      <a:cubicBezTo>
                        <a:pt x="9667" y="-1294"/>
                        <a:pt x="4045" y="21"/>
                        <a:pt x="1354" y="4327"/>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942" name="Graphic 3">
                <a:extLst>
                  <a:ext uri="{FF2B5EF4-FFF2-40B4-BE49-F238E27FC236}">
                    <a16:creationId xmlns:a16="http://schemas.microsoft.com/office/drawing/2014/main" id="{E74007B4-7F43-4088-B9AE-14DC934FE73B}"/>
                  </a:ext>
                </a:extLst>
              </p:cNvPr>
              <p:cNvGrpSpPr/>
              <p:nvPr/>
            </p:nvGrpSpPr>
            <p:grpSpPr>
              <a:xfrm>
                <a:off x="4419517" y="2258760"/>
                <a:ext cx="244063" cy="177948"/>
                <a:chOff x="4419517" y="2258760"/>
                <a:chExt cx="244063" cy="177948"/>
              </a:xfrm>
              <a:grpFill/>
            </p:grpSpPr>
            <p:sp>
              <p:nvSpPr>
                <p:cNvPr id="2573" name="Vrije vorm: vorm 2572">
                  <a:extLst>
                    <a:ext uri="{FF2B5EF4-FFF2-40B4-BE49-F238E27FC236}">
                      <a16:creationId xmlns:a16="http://schemas.microsoft.com/office/drawing/2014/main" id="{85F480C3-AD00-49F7-B9B0-A4062D6BC00C}"/>
                    </a:ext>
                  </a:extLst>
                </p:cNvPr>
                <p:cNvSpPr/>
                <p:nvPr/>
              </p:nvSpPr>
              <p:spPr>
                <a:xfrm>
                  <a:off x="4427368" y="2266434"/>
                  <a:ext cx="228343" cy="162615"/>
                </a:xfrm>
                <a:custGeom>
                  <a:avLst/>
                  <a:gdLst>
                    <a:gd name="connsiteX0" fmla="*/ 228344 w 228343"/>
                    <a:gd name="connsiteY0" fmla="*/ 160104 h 162615"/>
                    <a:gd name="connsiteX1" fmla="*/ 226610 w 228343"/>
                    <a:gd name="connsiteY1" fmla="*/ 162616 h 162615"/>
                    <a:gd name="connsiteX2" fmla="*/ 0 w 228343"/>
                    <a:gd name="connsiteY2" fmla="*/ 2512 h 162615"/>
                    <a:gd name="connsiteX3" fmla="*/ 1794 w 228343"/>
                    <a:gd name="connsiteY3" fmla="*/ 0 h 162615"/>
                  </a:gdLst>
                  <a:ahLst/>
                  <a:cxnLst>
                    <a:cxn ang="0">
                      <a:pos x="connsiteX0" y="connsiteY0"/>
                    </a:cxn>
                    <a:cxn ang="0">
                      <a:pos x="connsiteX1" y="connsiteY1"/>
                    </a:cxn>
                    <a:cxn ang="0">
                      <a:pos x="connsiteX2" y="connsiteY2"/>
                    </a:cxn>
                    <a:cxn ang="0">
                      <a:pos x="connsiteX3" y="connsiteY3"/>
                    </a:cxn>
                  </a:cxnLst>
                  <a:rect l="l" t="t" r="r" b="b"/>
                  <a:pathLst>
                    <a:path w="228343" h="162615">
                      <a:moveTo>
                        <a:pt x="228344" y="160104"/>
                      </a:moveTo>
                      <a:lnTo>
                        <a:pt x="226610" y="162616"/>
                      </a:lnTo>
                      <a:lnTo>
                        <a:pt x="0" y="2512"/>
                      </a:lnTo>
                      <a:lnTo>
                        <a:pt x="1794" y="0"/>
                      </a:lnTo>
                      <a:close/>
                    </a:path>
                  </a:pathLst>
                </a:custGeom>
                <a:grpFill/>
                <a:ln w="5978" cap="flat">
                  <a:noFill/>
                  <a:prstDash val="solid"/>
                  <a:miter/>
                </a:ln>
              </p:spPr>
              <p:txBody>
                <a:bodyPr rtlCol="0" anchor="ctr"/>
                <a:lstStyle/>
                <a:p>
                  <a:endParaRPr lang="en-GB"/>
                </a:p>
              </p:txBody>
            </p:sp>
            <p:sp>
              <p:nvSpPr>
                <p:cNvPr id="2574" name="Vrije vorm: vorm 2573">
                  <a:extLst>
                    <a:ext uri="{FF2B5EF4-FFF2-40B4-BE49-F238E27FC236}">
                      <a16:creationId xmlns:a16="http://schemas.microsoft.com/office/drawing/2014/main" id="{9B52E763-EACA-47A5-BFD1-CBA983AB604E}"/>
                    </a:ext>
                  </a:extLst>
                </p:cNvPr>
                <p:cNvSpPr/>
                <p:nvPr/>
              </p:nvSpPr>
              <p:spPr>
                <a:xfrm>
                  <a:off x="4419517" y="2258760"/>
                  <a:ext cx="18274" cy="18442"/>
                </a:xfrm>
                <a:custGeom>
                  <a:avLst/>
                  <a:gdLst>
                    <a:gd name="connsiteX0" fmla="*/ 3904 w 18274"/>
                    <a:gd name="connsiteY0" fmla="*/ 16765 h 18442"/>
                    <a:gd name="connsiteX1" fmla="*/ 1632 w 18274"/>
                    <a:gd name="connsiteY1" fmla="*/ 3907 h 18442"/>
                    <a:gd name="connsiteX2" fmla="*/ 14370 w 18274"/>
                    <a:gd name="connsiteY2" fmla="*/ 1694 h 18442"/>
                    <a:gd name="connsiteX3" fmla="*/ 16643 w 18274"/>
                    <a:gd name="connsiteY3" fmla="*/ 14552 h 18442"/>
                    <a:gd name="connsiteX4" fmla="*/ 3904 w 18274"/>
                    <a:gd name="connsiteY4" fmla="*/ 16765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2">
                      <a:moveTo>
                        <a:pt x="3904" y="16765"/>
                      </a:moveTo>
                      <a:cubicBezTo>
                        <a:pt x="-223" y="13835"/>
                        <a:pt x="-1239" y="8093"/>
                        <a:pt x="1632" y="3907"/>
                      </a:cubicBezTo>
                      <a:cubicBezTo>
                        <a:pt x="4502" y="-280"/>
                        <a:pt x="10244" y="-1237"/>
                        <a:pt x="14370" y="1694"/>
                      </a:cubicBezTo>
                      <a:cubicBezTo>
                        <a:pt x="18497" y="4624"/>
                        <a:pt x="19514" y="10366"/>
                        <a:pt x="16643" y="14552"/>
                      </a:cubicBezTo>
                      <a:cubicBezTo>
                        <a:pt x="13712" y="18679"/>
                        <a:pt x="8031" y="19696"/>
                        <a:pt x="3904" y="16765"/>
                      </a:cubicBezTo>
                      <a:close/>
                    </a:path>
                  </a:pathLst>
                </a:custGeom>
                <a:grpFill/>
                <a:ln w="5978" cap="flat">
                  <a:noFill/>
                  <a:prstDash val="solid"/>
                  <a:miter/>
                </a:ln>
              </p:spPr>
              <p:txBody>
                <a:bodyPr rtlCol="0" anchor="ctr"/>
                <a:lstStyle/>
                <a:p>
                  <a:endParaRPr lang="en-GB"/>
                </a:p>
              </p:txBody>
            </p:sp>
            <p:sp>
              <p:nvSpPr>
                <p:cNvPr id="2575" name="Vrije vorm: vorm 2574">
                  <a:extLst>
                    <a:ext uri="{FF2B5EF4-FFF2-40B4-BE49-F238E27FC236}">
                      <a16:creationId xmlns:a16="http://schemas.microsoft.com/office/drawing/2014/main" id="{252593D5-5EEF-4A0B-A662-7F0A46F33BBF}"/>
                    </a:ext>
                  </a:extLst>
                </p:cNvPr>
                <p:cNvSpPr/>
                <p:nvPr/>
              </p:nvSpPr>
              <p:spPr>
                <a:xfrm>
                  <a:off x="4645289" y="2418282"/>
                  <a:ext cx="18290" cy="18426"/>
                </a:xfrm>
                <a:custGeom>
                  <a:avLst/>
                  <a:gdLst>
                    <a:gd name="connsiteX0" fmla="*/ 3904 w 18290"/>
                    <a:gd name="connsiteY0" fmla="*/ 16749 h 18426"/>
                    <a:gd name="connsiteX1" fmla="*/ 16643 w 18290"/>
                    <a:gd name="connsiteY1" fmla="*/ 14536 h 18426"/>
                    <a:gd name="connsiteX2" fmla="*/ 14370 w 18290"/>
                    <a:gd name="connsiteY2" fmla="*/ 1677 h 18426"/>
                    <a:gd name="connsiteX3" fmla="*/ 1632 w 18290"/>
                    <a:gd name="connsiteY3" fmla="*/ 3890 h 18426"/>
                    <a:gd name="connsiteX4" fmla="*/ 3904 w 18290"/>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26">
                      <a:moveTo>
                        <a:pt x="3904" y="16749"/>
                      </a:moveTo>
                      <a:cubicBezTo>
                        <a:pt x="8031" y="19679"/>
                        <a:pt x="13772" y="18663"/>
                        <a:pt x="16643" y="14536"/>
                      </a:cubicBezTo>
                      <a:cubicBezTo>
                        <a:pt x="19514" y="10349"/>
                        <a:pt x="18557" y="4608"/>
                        <a:pt x="14370" y="1677"/>
                      </a:cubicBezTo>
                      <a:cubicBezTo>
                        <a:pt x="10244" y="-1253"/>
                        <a:pt x="4502" y="-236"/>
                        <a:pt x="1632" y="3890"/>
                      </a:cubicBezTo>
                      <a:cubicBezTo>
                        <a:pt x="-1239" y="8077"/>
                        <a:pt x="-223" y="13818"/>
                        <a:pt x="3904" y="16749"/>
                      </a:cubicBezTo>
                      <a:close/>
                    </a:path>
                  </a:pathLst>
                </a:custGeom>
                <a:grpFill/>
                <a:ln w="5978" cap="flat">
                  <a:noFill/>
                  <a:prstDash val="solid"/>
                  <a:miter/>
                </a:ln>
              </p:spPr>
              <p:txBody>
                <a:bodyPr rtlCol="0" anchor="ctr"/>
                <a:lstStyle/>
                <a:p>
                  <a:endParaRPr lang="en-GB"/>
                </a:p>
              </p:txBody>
            </p:sp>
          </p:grpSp>
          <p:grpSp>
            <p:nvGrpSpPr>
              <p:cNvPr id="943" name="Graphic 3">
                <a:extLst>
                  <a:ext uri="{FF2B5EF4-FFF2-40B4-BE49-F238E27FC236}">
                    <a16:creationId xmlns:a16="http://schemas.microsoft.com/office/drawing/2014/main" id="{1BF564CA-691E-433C-9CD0-C435ECB62D58}"/>
                  </a:ext>
                </a:extLst>
              </p:cNvPr>
              <p:cNvGrpSpPr/>
              <p:nvPr/>
            </p:nvGrpSpPr>
            <p:grpSpPr>
              <a:xfrm>
                <a:off x="5413132" y="4972433"/>
                <a:ext cx="42600" cy="80817"/>
                <a:chOff x="5413132" y="4972433"/>
                <a:chExt cx="42600" cy="80817"/>
              </a:xfrm>
              <a:grpFill/>
            </p:grpSpPr>
            <p:sp>
              <p:nvSpPr>
                <p:cNvPr id="2570" name="Vrije vorm: vorm 2569">
                  <a:extLst>
                    <a:ext uri="{FF2B5EF4-FFF2-40B4-BE49-F238E27FC236}">
                      <a16:creationId xmlns:a16="http://schemas.microsoft.com/office/drawing/2014/main" id="{6A761E08-DEB6-4D75-B192-55A4D3819C8D}"/>
                    </a:ext>
                  </a:extLst>
                </p:cNvPr>
                <p:cNvSpPr/>
                <p:nvPr/>
              </p:nvSpPr>
              <p:spPr>
                <a:xfrm>
                  <a:off x="5420706" y="4980665"/>
                  <a:ext cx="27391" cy="64352"/>
                </a:xfrm>
                <a:custGeom>
                  <a:avLst/>
                  <a:gdLst>
                    <a:gd name="connsiteX0" fmla="*/ 27392 w 27391"/>
                    <a:gd name="connsiteY0" fmla="*/ 1136 h 64352"/>
                    <a:gd name="connsiteX1" fmla="*/ 2811 w 27391"/>
                    <a:gd name="connsiteY1" fmla="*/ 64353 h 64352"/>
                    <a:gd name="connsiteX2" fmla="*/ 0 w 27391"/>
                    <a:gd name="connsiteY2" fmla="*/ 63216 h 64352"/>
                    <a:gd name="connsiteX3" fmla="*/ 24581 w 27391"/>
                    <a:gd name="connsiteY3" fmla="*/ 0 h 64352"/>
                  </a:gdLst>
                  <a:ahLst/>
                  <a:cxnLst>
                    <a:cxn ang="0">
                      <a:pos x="connsiteX0" y="connsiteY0"/>
                    </a:cxn>
                    <a:cxn ang="0">
                      <a:pos x="connsiteX1" y="connsiteY1"/>
                    </a:cxn>
                    <a:cxn ang="0">
                      <a:pos x="connsiteX2" y="connsiteY2"/>
                    </a:cxn>
                    <a:cxn ang="0">
                      <a:pos x="connsiteX3" y="connsiteY3"/>
                    </a:cxn>
                  </a:cxnLst>
                  <a:rect l="l" t="t" r="r" b="b"/>
                  <a:pathLst>
                    <a:path w="27391" h="64352">
                      <a:moveTo>
                        <a:pt x="27392" y="1136"/>
                      </a:moveTo>
                      <a:lnTo>
                        <a:pt x="2811" y="64353"/>
                      </a:lnTo>
                      <a:lnTo>
                        <a:pt x="0" y="63216"/>
                      </a:lnTo>
                      <a:lnTo>
                        <a:pt x="24581" y="0"/>
                      </a:lnTo>
                      <a:close/>
                    </a:path>
                  </a:pathLst>
                </a:custGeom>
                <a:grpFill/>
                <a:ln w="5978" cap="flat">
                  <a:noFill/>
                  <a:prstDash val="solid"/>
                  <a:miter/>
                </a:ln>
              </p:spPr>
              <p:txBody>
                <a:bodyPr rtlCol="0" anchor="ctr"/>
                <a:lstStyle/>
                <a:p>
                  <a:endParaRPr lang="en-GB"/>
                </a:p>
              </p:txBody>
            </p:sp>
            <p:sp>
              <p:nvSpPr>
                <p:cNvPr id="2571" name="Vrije vorm: vorm 2570">
                  <a:extLst>
                    <a:ext uri="{FF2B5EF4-FFF2-40B4-BE49-F238E27FC236}">
                      <a16:creationId xmlns:a16="http://schemas.microsoft.com/office/drawing/2014/main" id="{2F6E47E3-4CD9-44A1-9588-FE9E7FB970A5}"/>
                    </a:ext>
                  </a:extLst>
                </p:cNvPr>
                <p:cNvSpPr/>
                <p:nvPr/>
              </p:nvSpPr>
              <p:spPr>
                <a:xfrm>
                  <a:off x="5413132" y="5034812"/>
                  <a:ext cx="18318" cy="18438"/>
                </a:xfrm>
                <a:custGeom>
                  <a:avLst/>
                  <a:gdLst>
                    <a:gd name="connsiteX0" fmla="*/ 17682 w 18318"/>
                    <a:gd name="connsiteY0" fmla="*/ 12598 h 18438"/>
                    <a:gd name="connsiteX1" fmla="*/ 5840 w 18318"/>
                    <a:gd name="connsiteY1" fmla="*/ 17801 h 18438"/>
                    <a:gd name="connsiteX2" fmla="*/ 637 w 18318"/>
                    <a:gd name="connsiteY2" fmla="*/ 5840 h 18438"/>
                    <a:gd name="connsiteX3" fmla="*/ 12479 w 18318"/>
                    <a:gd name="connsiteY3" fmla="*/ 637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5828" y="17323"/>
                        <a:pt x="10505" y="19655"/>
                        <a:pt x="5840" y="17801"/>
                      </a:cubicBezTo>
                      <a:cubicBezTo>
                        <a:pt x="1115" y="15947"/>
                        <a:pt x="-1217" y="10565"/>
                        <a:pt x="637" y="5840"/>
                      </a:cubicBezTo>
                      <a:cubicBezTo>
                        <a:pt x="2491" y="1115"/>
                        <a:pt x="7814" y="-1217"/>
                        <a:pt x="12479" y="637"/>
                      </a:cubicBezTo>
                      <a:cubicBezTo>
                        <a:pt x="17204" y="2491"/>
                        <a:pt x="19536" y="7814"/>
                        <a:pt x="17682" y="12598"/>
                      </a:cubicBezTo>
                      <a:close/>
                    </a:path>
                  </a:pathLst>
                </a:custGeom>
                <a:grpFill/>
                <a:ln w="5978" cap="flat">
                  <a:noFill/>
                  <a:prstDash val="solid"/>
                  <a:miter/>
                </a:ln>
              </p:spPr>
              <p:txBody>
                <a:bodyPr rtlCol="0" anchor="ctr"/>
                <a:lstStyle/>
                <a:p>
                  <a:endParaRPr lang="en-GB"/>
                </a:p>
              </p:txBody>
            </p:sp>
            <p:sp>
              <p:nvSpPr>
                <p:cNvPr id="2572" name="Vrije vorm: vorm 2571">
                  <a:extLst>
                    <a:ext uri="{FF2B5EF4-FFF2-40B4-BE49-F238E27FC236}">
                      <a16:creationId xmlns:a16="http://schemas.microsoft.com/office/drawing/2014/main" id="{2DEFCAE5-34E6-4ABA-A6B9-3D416C700275}"/>
                    </a:ext>
                  </a:extLst>
                </p:cNvPr>
                <p:cNvSpPr/>
                <p:nvPr/>
              </p:nvSpPr>
              <p:spPr>
                <a:xfrm>
                  <a:off x="5437414" y="4972433"/>
                  <a:ext cx="18318" cy="18438"/>
                </a:xfrm>
                <a:custGeom>
                  <a:avLst/>
                  <a:gdLst>
                    <a:gd name="connsiteX0" fmla="*/ 17682 w 18318"/>
                    <a:gd name="connsiteY0" fmla="*/ 12598 h 18438"/>
                    <a:gd name="connsiteX1" fmla="*/ 12479 w 18318"/>
                    <a:gd name="connsiteY1" fmla="*/ 637 h 18438"/>
                    <a:gd name="connsiteX2" fmla="*/ 637 w 18318"/>
                    <a:gd name="connsiteY2" fmla="*/ 5840 h 18438"/>
                    <a:gd name="connsiteX3" fmla="*/ 5840 w 18318"/>
                    <a:gd name="connsiteY3" fmla="*/ 17801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9536" y="7874"/>
                        <a:pt x="17204" y="2491"/>
                        <a:pt x="12479" y="637"/>
                      </a:cubicBezTo>
                      <a:cubicBezTo>
                        <a:pt x="7754" y="-1217"/>
                        <a:pt x="2431" y="1115"/>
                        <a:pt x="637" y="5840"/>
                      </a:cubicBezTo>
                      <a:cubicBezTo>
                        <a:pt x="-1217" y="10565"/>
                        <a:pt x="1115" y="15947"/>
                        <a:pt x="5840" y="17801"/>
                      </a:cubicBezTo>
                      <a:cubicBezTo>
                        <a:pt x="10505" y="19655"/>
                        <a:pt x="15828" y="17323"/>
                        <a:pt x="17682" y="12598"/>
                      </a:cubicBezTo>
                      <a:close/>
                    </a:path>
                  </a:pathLst>
                </a:custGeom>
                <a:grpFill/>
                <a:ln w="5978" cap="flat">
                  <a:noFill/>
                  <a:prstDash val="solid"/>
                  <a:miter/>
                </a:ln>
              </p:spPr>
              <p:txBody>
                <a:bodyPr rtlCol="0" anchor="ctr"/>
                <a:lstStyle/>
                <a:p>
                  <a:endParaRPr lang="en-GB"/>
                </a:p>
              </p:txBody>
            </p:sp>
          </p:grpSp>
          <p:grpSp>
            <p:nvGrpSpPr>
              <p:cNvPr id="944" name="Graphic 3">
                <a:extLst>
                  <a:ext uri="{FF2B5EF4-FFF2-40B4-BE49-F238E27FC236}">
                    <a16:creationId xmlns:a16="http://schemas.microsoft.com/office/drawing/2014/main" id="{28A813F1-0897-4328-92F5-FFB83599ECFC}"/>
                  </a:ext>
                </a:extLst>
              </p:cNvPr>
              <p:cNvGrpSpPr/>
              <p:nvPr/>
            </p:nvGrpSpPr>
            <p:grpSpPr>
              <a:xfrm>
                <a:off x="4434795" y="2313947"/>
                <a:ext cx="222402" cy="156943"/>
                <a:chOff x="4434795" y="2313947"/>
                <a:chExt cx="222402" cy="156943"/>
              </a:xfrm>
              <a:grpFill/>
            </p:grpSpPr>
            <p:sp>
              <p:nvSpPr>
                <p:cNvPr id="2567" name="Vrije vorm: vorm 2566">
                  <a:extLst>
                    <a:ext uri="{FF2B5EF4-FFF2-40B4-BE49-F238E27FC236}">
                      <a16:creationId xmlns:a16="http://schemas.microsoft.com/office/drawing/2014/main" id="{34DADD63-47BB-4896-8E17-C729D65CDEB6}"/>
                    </a:ext>
                  </a:extLst>
                </p:cNvPr>
                <p:cNvSpPr/>
                <p:nvPr/>
              </p:nvSpPr>
              <p:spPr>
                <a:xfrm>
                  <a:off x="4442739" y="2321637"/>
                  <a:ext cx="206514" cy="141563"/>
                </a:xfrm>
                <a:custGeom>
                  <a:avLst/>
                  <a:gdLst>
                    <a:gd name="connsiteX0" fmla="*/ 206514 w 206514"/>
                    <a:gd name="connsiteY0" fmla="*/ 139052 h 141563"/>
                    <a:gd name="connsiteX1" fmla="*/ 204780 w 206514"/>
                    <a:gd name="connsiteY1" fmla="*/ 141564 h 141563"/>
                    <a:gd name="connsiteX2" fmla="*/ 0 w 206514"/>
                    <a:gd name="connsiteY2" fmla="*/ 2512 h 141563"/>
                    <a:gd name="connsiteX3" fmla="*/ 1674 w 206514"/>
                    <a:gd name="connsiteY3" fmla="*/ 0 h 141563"/>
                  </a:gdLst>
                  <a:ahLst/>
                  <a:cxnLst>
                    <a:cxn ang="0">
                      <a:pos x="connsiteX0" y="connsiteY0"/>
                    </a:cxn>
                    <a:cxn ang="0">
                      <a:pos x="connsiteX1" y="connsiteY1"/>
                    </a:cxn>
                    <a:cxn ang="0">
                      <a:pos x="connsiteX2" y="connsiteY2"/>
                    </a:cxn>
                    <a:cxn ang="0">
                      <a:pos x="connsiteX3" y="connsiteY3"/>
                    </a:cxn>
                  </a:cxnLst>
                  <a:rect l="l" t="t" r="r" b="b"/>
                  <a:pathLst>
                    <a:path w="206514" h="141563">
                      <a:moveTo>
                        <a:pt x="206514" y="139052"/>
                      </a:moveTo>
                      <a:lnTo>
                        <a:pt x="204780" y="141564"/>
                      </a:lnTo>
                      <a:lnTo>
                        <a:pt x="0" y="2512"/>
                      </a:lnTo>
                      <a:lnTo>
                        <a:pt x="1674" y="0"/>
                      </a:lnTo>
                      <a:close/>
                    </a:path>
                  </a:pathLst>
                </a:custGeom>
                <a:grpFill/>
                <a:ln w="5978" cap="flat">
                  <a:noFill/>
                  <a:prstDash val="solid"/>
                  <a:miter/>
                </a:ln>
              </p:spPr>
              <p:txBody>
                <a:bodyPr rtlCol="0" anchor="ctr"/>
                <a:lstStyle/>
                <a:p>
                  <a:endParaRPr lang="en-GB"/>
                </a:p>
              </p:txBody>
            </p:sp>
            <p:sp>
              <p:nvSpPr>
                <p:cNvPr id="2568" name="Vrije vorm: vorm 2567">
                  <a:extLst>
                    <a:ext uri="{FF2B5EF4-FFF2-40B4-BE49-F238E27FC236}">
                      <a16:creationId xmlns:a16="http://schemas.microsoft.com/office/drawing/2014/main" id="{6DFD7217-44E0-442E-A950-278F1B5D240B}"/>
                    </a:ext>
                  </a:extLst>
                </p:cNvPr>
                <p:cNvSpPr/>
                <p:nvPr/>
              </p:nvSpPr>
              <p:spPr>
                <a:xfrm>
                  <a:off x="4434795" y="2313947"/>
                  <a:ext cx="18339" cy="18429"/>
                </a:xfrm>
                <a:custGeom>
                  <a:avLst/>
                  <a:gdLst>
                    <a:gd name="connsiteX0" fmla="*/ 4056 w 18339"/>
                    <a:gd name="connsiteY0" fmla="*/ 16840 h 18429"/>
                    <a:gd name="connsiteX1" fmla="*/ 1545 w 18339"/>
                    <a:gd name="connsiteY1" fmla="*/ 4042 h 18429"/>
                    <a:gd name="connsiteX2" fmla="*/ 14284 w 18339"/>
                    <a:gd name="connsiteY2" fmla="*/ 1589 h 18429"/>
                    <a:gd name="connsiteX3" fmla="*/ 16795 w 18339"/>
                    <a:gd name="connsiteY3" fmla="*/ 14388 h 18429"/>
                    <a:gd name="connsiteX4" fmla="*/ 4056 w 18339"/>
                    <a:gd name="connsiteY4" fmla="*/ 168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4056" y="16840"/>
                      </a:moveTo>
                      <a:cubicBezTo>
                        <a:pt x="-130" y="13970"/>
                        <a:pt x="-1267" y="8228"/>
                        <a:pt x="1545" y="4042"/>
                      </a:cubicBezTo>
                      <a:cubicBezTo>
                        <a:pt x="4355" y="-145"/>
                        <a:pt x="10037" y="-1281"/>
                        <a:pt x="14284" y="1589"/>
                      </a:cubicBezTo>
                      <a:cubicBezTo>
                        <a:pt x="18470" y="4460"/>
                        <a:pt x="19607" y="10142"/>
                        <a:pt x="16795" y="14388"/>
                      </a:cubicBezTo>
                      <a:cubicBezTo>
                        <a:pt x="13985" y="18575"/>
                        <a:pt x="8243" y="19711"/>
                        <a:pt x="4056" y="16840"/>
                      </a:cubicBezTo>
                      <a:close/>
                    </a:path>
                  </a:pathLst>
                </a:custGeom>
                <a:grpFill/>
                <a:ln w="5978" cap="flat">
                  <a:noFill/>
                  <a:prstDash val="solid"/>
                  <a:miter/>
                </a:ln>
              </p:spPr>
              <p:txBody>
                <a:bodyPr rtlCol="0" anchor="ctr"/>
                <a:lstStyle/>
                <a:p>
                  <a:endParaRPr lang="en-GB"/>
                </a:p>
              </p:txBody>
            </p:sp>
            <p:sp>
              <p:nvSpPr>
                <p:cNvPr id="2569" name="Vrije vorm: vorm 2568">
                  <a:extLst>
                    <a:ext uri="{FF2B5EF4-FFF2-40B4-BE49-F238E27FC236}">
                      <a16:creationId xmlns:a16="http://schemas.microsoft.com/office/drawing/2014/main" id="{BEAB40AD-E620-43D1-89A7-DBD03691A938}"/>
                    </a:ext>
                  </a:extLst>
                </p:cNvPr>
                <p:cNvSpPr/>
                <p:nvPr/>
              </p:nvSpPr>
              <p:spPr>
                <a:xfrm>
                  <a:off x="4638842" y="2452460"/>
                  <a:ext cx="18355" cy="18429"/>
                </a:xfrm>
                <a:custGeom>
                  <a:avLst/>
                  <a:gdLst>
                    <a:gd name="connsiteX0" fmla="*/ 4072 w 18355"/>
                    <a:gd name="connsiteY0" fmla="*/ 16840 h 18429"/>
                    <a:gd name="connsiteX1" fmla="*/ 16811 w 18355"/>
                    <a:gd name="connsiteY1" fmla="*/ 14388 h 18429"/>
                    <a:gd name="connsiteX2" fmla="*/ 14299 w 18355"/>
                    <a:gd name="connsiteY2" fmla="*/ 1589 h 18429"/>
                    <a:gd name="connsiteX3" fmla="*/ 1560 w 18355"/>
                    <a:gd name="connsiteY3" fmla="*/ 4042 h 18429"/>
                    <a:gd name="connsiteX4" fmla="*/ 4072 w 18355"/>
                    <a:gd name="connsiteY4" fmla="*/ 168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9">
                      <a:moveTo>
                        <a:pt x="4072" y="16840"/>
                      </a:moveTo>
                      <a:cubicBezTo>
                        <a:pt x="8259" y="19711"/>
                        <a:pt x="13940" y="18575"/>
                        <a:pt x="16811" y="14388"/>
                      </a:cubicBezTo>
                      <a:cubicBezTo>
                        <a:pt x="19622" y="10202"/>
                        <a:pt x="18486" y="4460"/>
                        <a:pt x="14299" y="1589"/>
                      </a:cubicBezTo>
                      <a:cubicBezTo>
                        <a:pt x="10113" y="-1281"/>
                        <a:pt x="4431" y="-145"/>
                        <a:pt x="1560" y="4042"/>
                      </a:cubicBezTo>
                      <a:cubicBezTo>
                        <a:pt x="-1251" y="8288"/>
                        <a:pt x="-174" y="14029"/>
                        <a:pt x="4072" y="16840"/>
                      </a:cubicBezTo>
                      <a:close/>
                    </a:path>
                  </a:pathLst>
                </a:custGeom>
                <a:grpFill/>
                <a:ln w="5978" cap="flat">
                  <a:noFill/>
                  <a:prstDash val="solid"/>
                  <a:miter/>
                </a:ln>
              </p:spPr>
              <p:txBody>
                <a:bodyPr rtlCol="0" anchor="ctr"/>
                <a:lstStyle/>
                <a:p>
                  <a:endParaRPr lang="en-GB"/>
                </a:p>
              </p:txBody>
            </p:sp>
          </p:grpSp>
          <p:grpSp>
            <p:nvGrpSpPr>
              <p:cNvPr id="945" name="Graphic 3">
                <a:extLst>
                  <a:ext uri="{FF2B5EF4-FFF2-40B4-BE49-F238E27FC236}">
                    <a16:creationId xmlns:a16="http://schemas.microsoft.com/office/drawing/2014/main" id="{ABC8C50F-517B-4AB1-9668-033DBE12150F}"/>
                  </a:ext>
                </a:extLst>
              </p:cNvPr>
              <p:cNvGrpSpPr/>
              <p:nvPr/>
            </p:nvGrpSpPr>
            <p:grpSpPr>
              <a:xfrm>
                <a:off x="5513951" y="5257732"/>
                <a:ext cx="59579" cy="173800"/>
                <a:chOff x="5513951" y="5257732"/>
                <a:chExt cx="59579" cy="173800"/>
              </a:xfrm>
              <a:grpFill/>
            </p:grpSpPr>
            <p:sp>
              <p:nvSpPr>
                <p:cNvPr id="2564" name="Vrije vorm: vorm 2563">
                  <a:extLst>
                    <a:ext uri="{FF2B5EF4-FFF2-40B4-BE49-F238E27FC236}">
                      <a16:creationId xmlns:a16="http://schemas.microsoft.com/office/drawing/2014/main" id="{DA80D4AC-7CB7-43F8-B529-03D9B287E1D4}"/>
                    </a:ext>
                  </a:extLst>
                </p:cNvPr>
                <p:cNvSpPr/>
                <p:nvPr/>
              </p:nvSpPr>
              <p:spPr>
                <a:xfrm>
                  <a:off x="5521602" y="5266125"/>
                  <a:ext cx="44376" cy="157053"/>
                </a:xfrm>
                <a:custGeom>
                  <a:avLst/>
                  <a:gdLst>
                    <a:gd name="connsiteX0" fmla="*/ 44377 w 44376"/>
                    <a:gd name="connsiteY0" fmla="*/ 837 h 157053"/>
                    <a:gd name="connsiteX1" fmla="*/ 2930 w 44376"/>
                    <a:gd name="connsiteY1" fmla="*/ 157054 h 157053"/>
                    <a:gd name="connsiteX2" fmla="*/ 0 w 44376"/>
                    <a:gd name="connsiteY2" fmla="*/ 156276 h 157053"/>
                    <a:gd name="connsiteX3" fmla="*/ 41446 w 44376"/>
                    <a:gd name="connsiteY3" fmla="*/ 0 h 157053"/>
                  </a:gdLst>
                  <a:ahLst/>
                  <a:cxnLst>
                    <a:cxn ang="0">
                      <a:pos x="connsiteX0" y="connsiteY0"/>
                    </a:cxn>
                    <a:cxn ang="0">
                      <a:pos x="connsiteX1" y="connsiteY1"/>
                    </a:cxn>
                    <a:cxn ang="0">
                      <a:pos x="connsiteX2" y="connsiteY2"/>
                    </a:cxn>
                    <a:cxn ang="0">
                      <a:pos x="connsiteX3" y="connsiteY3"/>
                    </a:cxn>
                  </a:cxnLst>
                  <a:rect l="l" t="t" r="r" b="b"/>
                  <a:pathLst>
                    <a:path w="44376" h="157053">
                      <a:moveTo>
                        <a:pt x="44377" y="837"/>
                      </a:moveTo>
                      <a:lnTo>
                        <a:pt x="2930" y="157054"/>
                      </a:lnTo>
                      <a:lnTo>
                        <a:pt x="0" y="156276"/>
                      </a:lnTo>
                      <a:lnTo>
                        <a:pt x="41446" y="0"/>
                      </a:lnTo>
                      <a:close/>
                    </a:path>
                  </a:pathLst>
                </a:custGeom>
                <a:grpFill/>
                <a:ln w="5978" cap="flat">
                  <a:noFill/>
                  <a:prstDash val="solid"/>
                  <a:miter/>
                </a:ln>
              </p:spPr>
              <p:txBody>
                <a:bodyPr rtlCol="0" anchor="ctr"/>
                <a:lstStyle/>
                <a:p>
                  <a:endParaRPr lang="en-GB"/>
                </a:p>
              </p:txBody>
            </p:sp>
            <p:sp>
              <p:nvSpPr>
                <p:cNvPr id="2565" name="Vrije vorm: vorm 2564">
                  <a:extLst>
                    <a:ext uri="{FF2B5EF4-FFF2-40B4-BE49-F238E27FC236}">
                      <a16:creationId xmlns:a16="http://schemas.microsoft.com/office/drawing/2014/main" id="{FEA1496D-BED7-4A49-A871-1BD1990D9A8B}"/>
                    </a:ext>
                  </a:extLst>
                </p:cNvPr>
                <p:cNvSpPr/>
                <p:nvPr/>
              </p:nvSpPr>
              <p:spPr>
                <a:xfrm>
                  <a:off x="5513951" y="5413091"/>
                  <a:ext cx="18371" cy="18442"/>
                </a:xfrm>
                <a:custGeom>
                  <a:avLst/>
                  <a:gdLst>
                    <a:gd name="connsiteX0" fmla="*/ 18057 w 18371"/>
                    <a:gd name="connsiteY0" fmla="*/ 11643 h 18442"/>
                    <a:gd name="connsiteX1" fmla="*/ 6814 w 18371"/>
                    <a:gd name="connsiteY1" fmla="*/ 18102 h 18442"/>
                    <a:gd name="connsiteX2" fmla="*/ 294 w 18371"/>
                    <a:gd name="connsiteY2" fmla="*/ 6799 h 18442"/>
                    <a:gd name="connsiteX3" fmla="*/ 11478 w 18371"/>
                    <a:gd name="connsiteY3" fmla="*/ 340 h 18442"/>
                    <a:gd name="connsiteX4" fmla="*/ 18057 w 18371"/>
                    <a:gd name="connsiteY4" fmla="*/ 1164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2">
                      <a:moveTo>
                        <a:pt x="18057" y="11643"/>
                      </a:moveTo>
                      <a:cubicBezTo>
                        <a:pt x="16741" y="16548"/>
                        <a:pt x="11718" y="19478"/>
                        <a:pt x="6814" y="18102"/>
                      </a:cubicBezTo>
                      <a:cubicBezTo>
                        <a:pt x="1909" y="16787"/>
                        <a:pt x="-961" y="11703"/>
                        <a:pt x="294" y="6799"/>
                      </a:cubicBezTo>
                      <a:cubicBezTo>
                        <a:pt x="1610" y="1895"/>
                        <a:pt x="6634" y="-1036"/>
                        <a:pt x="11478" y="340"/>
                      </a:cubicBezTo>
                      <a:cubicBezTo>
                        <a:pt x="16442" y="1655"/>
                        <a:pt x="19373" y="6739"/>
                        <a:pt x="18057" y="11643"/>
                      </a:cubicBezTo>
                      <a:close/>
                    </a:path>
                  </a:pathLst>
                </a:custGeom>
                <a:grpFill/>
                <a:ln w="5978" cap="flat">
                  <a:noFill/>
                  <a:prstDash val="solid"/>
                  <a:miter/>
                </a:ln>
              </p:spPr>
              <p:txBody>
                <a:bodyPr rtlCol="0" anchor="ctr"/>
                <a:lstStyle/>
                <a:p>
                  <a:endParaRPr lang="en-GB"/>
                </a:p>
              </p:txBody>
            </p:sp>
            <p:sp>
              <p:nvSpPr>
                <p:cNvPr id="2566" name="Vrije vorm: vorm 2565">
                  <a:extLst>
                    <a:ext uri="{FF2B5EF4-FFF2-40B4-BE49-F238E27FC236}">
                      <a16:creationId xmlns:a16="http://schemas.microsoft.com/office/drawing/2014/main" id="{0588CB86-C4A0-42F4-B531-5C59EC386C08}"/>
                    </a:ext>
                  </a:extLst>
                </p:cNvPr>
                <p:cNvSpPr/>
                <p:nvPr/>
              </p:nvSpPr>
              <p:spPr>
                <a:xfrm>
                  <a:off x="5555137" y="5257732"/>
                  <a:ext cx="18392" cy="18425"/>
                </a:xfrm>
                <a:custGeom>
                  <a:avLst/>
                  <a:gdLst>
                    <a:gd name="connsiteX0" fmla="*/ 18077 w 18392"/>
                    <a:gd name="connsiteY0" fmla="*/ 11622 h 18425"/>
                    <a:gd name="connsiteX1" fmla="*/ 11559 w 18392"/>
                    <a:gd name="connsiteY1" fmla="*/ 319 h 18425"/>
                    <a:gd name="connsiteX2" fmla="*/ 315 w 18392"/>
                    <a:gd name="connsiteY2" fmla="*/ 6778 h 18425"/>
                    <a:gd name="connsiteX3" fmla="*/ 6834 w 18392"/>
                    <a:gd name="connsiteY3" fmla="*/ 18082 h 18425"/>
                    <a:gd name="connsiteX4" fmla="*/ 18077 w 18392"/>
                    <a:gd name="connsiteY4" fmla="*/ 1162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25">
                      <a:moveTo>
                        <a:pt x="18077" y="11622"/>
                      </a:moveTo>
                      <a:cubicBezTo>
                        <a:pt x="19393" y="6719"/>
                        <a:pt x="16463" y="1635"/>
                        <a:pt x="11559" y="319"/>
                      </a:cubicBezTo>
                      <a:cubicBezTo>
                        <a:pt x="6654" y="-997"/>
                        <a:pt x="1630" y="1874"/>
                        <a:pt x="315" y="6778"/>
                      </a:cubicBezTo>
                      <a:cubicBezTo>
                        <a:pt x="-1001" y="11682"/>
                        <a:pt x="1930" y="16766"/>
                        <a:pt x="6834" y="18082"/>
                      </a:cubicBezTo>
                      <a:cubicBezTo>
                        <a:pt x="11798" y="19457"/>
                        <a:pt x="16822" y="16586"/>
                        <a:pt x="18077" y="11622"/>
                      </a:cubicBezTo>
                      <a:close/>
                    </a:path>
                  </a:pathLst>
                </a:custGeom>
                <a:grpFill/>
                <a:ln w="5978" cap="flat">
                  <a:noFill/>
                  <a:prstDash val="solid"/>
                  <a:miter/>
                </a:ln>
              </p:spPr>
              <p:txBody>
                <a:bodyPr rtlCol="0" anchor="ctr"/>
                <a:lstStyle/>
                <a:p>
                  <a:endParaRPr lang="en-GB"/>
                </a:p>
              </p:txBody>
            </p:sp>
          </p:grpSp>
          <p:grpSp>
            <p:nvGrpSpPr>
              <p:cNvPr id="946" name="Graphic 3">
                <a:extLst>
                  <a:ext uri="{FF2B5EF4-FFF2-40B4-BE49-F238E27FC236}">
                    <a16:creationId xmlns:a16="http://schemas.microsoft.com/office/drawing/2014/main" id="{7AAFBFC5-04BF-4A8E-9E9E-6FB49D353B46}"/>
                  </a:ext>
                </a:extLst>
              </p:cNvPr>
              <p:cNvGrpSpPr/>
              <p:nvPr/>
            </p:nvGrpSpPr>
            <p:grpSpPr>
              <a:xfrm>
                <a:off x="4472433" y="2251688"/>
                <a:ext cx="63498" cy="51579"/>
                <a:chOff x="4472433" y="2251688"/>
                <a:chExt cx="63498" cy="51579"/>
              </a:xfrm>
              <a:grpFill/>
            </p:grpSpPr>
            <p:sp>
              <p:nvSpPr>
                <p:cNvPr id="2561" name="Vrije vorm: vorm 2560">
                  <a:extLst>
                    <a:ext uri="{FF2B5EF4-FFF2-40B4-BE49-F238E27FC236}">
                      <a16:creationId xmlns:a16="http://schemas.microsoft.com/office/drawing/2014/main" id="{47732060-9F0B-45F0-AAB3-61553918206B}"/>
                    </a:ext>
                  </a:extLst>
                </p:cNvPr>
                <p:cNvSpPr/>
                <p:nvPr/>
              </p:nvSpPr>
              <p:spPr>
                <a:xfrm>
                  <a:off x="4480298" y="2259377"/>
                  <a:ext cx="47726" cy="36243"/>
                </a:xfrm>
                <a:custGeom>
                  <a:avLst/>
                  <a:gdLst>
                    <a:gd name="connsiteX0" fmla="*/ 47726 w 47726"/>
                    <a:gd name="connsiteY0" fmla="*/ 33731 h 36243"/>
                    <a:gd name="connsiteX1" fmla="*/ 45932 w 47726"/>
                    <a:gd name="connsiteY1" fmla="*/ 36243 h 36243"/>
                    <a:gd name="connsiteX2" fmla="*/ 0 w 47726"/>
                    <a:gd name="connsiteY2" fmla="*/ 2512 h 36243"/>
                    <a:gd name="connsiteX3" fmla="*/ 1794 w 47726"/>
                    <a:gd name="connsiteY3" fmla="*/ 0 h 36243"/>
                  </a:gdLst>
                  <a:ahLst/>
                  <a:cxnLst>
                    <a:cxn ang="0">
                      <a:pos x="connsiteX0" y="connsiteY0"/>
                    </a:cxn>
                    <a:cxn ang="0">
                      <a:pos x="connsiteX1" y="connsiteY1"/>
                    </a:cxn>
                    <a:cxn ang="0">
                      <a:pos x="connsiteX2" y="connsiteY2"/>
                    </a:cxn>
                    <a:cxn ang="0">
                      <a:pos x="connsiteX3" y="connsiteY3"/>
                    </a:cxn>
                  </a:cxnLst>
                  <a:rect l="l" t="t" r="r" b="b"/>
                  <a:pathLst>
                    <a:path w="47726" h="36243">
                      <a:moveTo>
                        <a:pt x="47726" y="33731"/>
                      </a:moveTo>
                      <a:lnTo>
                        <a:pt x="45932" y="36243"/>
                      </a:lnTo>
                      <a:lnTo>
                        <a:pt x="0" y="2512"/>
                      </a:lnTo>
                      <a:lnTo>
                        <a:pt x="1794" y="0"/>
                      </a:lnTo>
                      <a:close/>
                    </a:path>
                  </a:pathLst>
                </a:custGeom>
                <a:grpFill/>
                <a:ln w="5978" cap="flat">
                  <a:noFill/>
                  <a:prstDash val="solid"/>
                  <a:miter/>
                </a:ln>
              </p:spPr>
              <p:txBody>
                <a:bodyPr rtlCol="0" anchor="ctr"/>
                <a:lstStyle/>
                <a:p>
                  <a:endParaRPr lang="en-GB"/>
                </a:p>
              </p:txBody>
            </p:sp>
            <p:sp>
              <p:nvSpPr>
                <p:cNvPr id="2562" name="Vrije vorm: vorm 2561">
                  <a:extLst>
                    <a:ext uri="{FF2B5EF4-FFF2-40B4-BE49-F238E27FC236}">
                      <a16:creationId xmlns:a16="http://schemas.microsoft.com/office/drawing/2014/main" id="{52CE23E3-2818-4F5D-920C-D23B8C8BC06C}"/>
                    </a:ext>
                  </a:extLst>
                </p:cNvPr>
                <p:cNvSpPr/>
                <p:nvPr/>
              </p:nvSpPr>
              <p:spPr>
                <a:xfrm>
                  <a:off x="4517604" y="2284881"/>
                  <a:ext cx="18327" cy="18386"/>
                </a:xfrm>
                <a:custGeom>
                  <a:avLst/>
                  <a:gdLst>
                    <a:gd name="connsiteX0" fmla="*/ 14546 w 18327"/>
                    <a:gd name="connsiteY0" fmla="*/ 1768 h 18386"/>
                    <a:gd name="connsiteX1" fmla="*/ 16580 w 18327"/>
                    <a:gd name="connsiteY1" fmla="*/ 14627 h 18386"/>
                    <a:gd name="connsiteX2" fmla="*/ 3781 w 18327"/>
                    <a:gd name="connsiteY2" fmla="*/ 16601 h 18386"/>
                    <a:gd name="connsiteX3" fmla="*/ 1748 w 18327"/>
                    <a:gd name="connsiteY3" fmla="*/ 3742 h 18386"/>
                    <a:gd name="connsiteX4" fmla="*/ 14546 w 18327"/>
                    <a:gd name="connsiteY4" fmla="*/ 1768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86">
                      <a:moveTo>
                        <a:pt x="14546" y="1768"/>
                      </a:moveTo>
                      <a:cubicBezTo>
                        <a:pt x="18613" y="4759"/>
                        <a:pt x="19570" y="10560"/>
                        <a:pt x="16580" y="14627"/>
                      </a:cubicBezTo>
                      <a:cubicBezTo>
                        <a:pt x="13589" y="18754"/>
                        <a:pt x="7848" y="19591"/>
                        <a:pt x="3781" y="16601"/>
                      </a:cubicBezTo>
                      <a:cubicBezTo>
                        <a:pt x="-286" y="13610"/>
                        <a:pt x="-1243" y="7809"/>
                        <a:pt x="1748" y="3742"/>
                      </a:cubicBezTo>
                      <a:cubicBezTo>
                        <a:pt x="4738" y="-325"/>
                        <a:pt x="10479" y="-1222"/>
                        <a:pt x="14546" y="1768"/>
                      </a:cubicBezTo>
                      <a:close/>
                    </a:path>
                  </a:pathLst>
                </a:custGeom>
                <a:grpFill/>
                <a:ln w="5978" cap="flat">
                  <a:noFill/>
                  <a:prstDash val="solid"/>
                  <a:miter/>
                </a:ln>
              </p:spPr>
              <p:txBody>
                <a:bodyPr rtlCol="0" anchor="ctr"/>
                <a:lstStyle/>
                <a:p>
                  <a:endParaRPr lang="en-GB"/>
                </a:p>
              </p:txBody>
            </p:sp>
            <p:sp>
              <p:nvSpPr>
                <p:cNvPr id="2563" name="Vrije vorm: vorm 2562">
                  <a:extLst>
                    <a:ext uri="{FF2B5EF4-FFF2-40B4-BE49-F238E27FC236}">
                      <a16:creationId xmlns:a16="http://schemas.microsoft.com/office/drawing/2014/main" id="{CF39663A-F236-4701-A449-ADA92A34E9DC}"/>
                    </a:ext>
                  </a:extLst>
                </p:cNvPr>
                <p:cNvSpPr/>
                <p:nvPr/>
              </p:nvSpPr>
              <p:spPr>
                <a:xfrm>
                  <a:off x="4472433" y="2251688"/>
                  <a:ext cx="18318" cy="18368"/>
                </a:xfrm>
                <a:custGeom>
                  <a:avLst/>
                  <a:gdLst>
                    <a:gd name="connsiteX0" fmla="*/ 14563 w 18318"/>
                    <a:gd name="connsiteY0" fmla="*/ 1768 h 18368"/>
                    <a:gd name="connsiteX1" fmla="*/ 1765 w 18318"/>
                    <a:gd name="connsiteY1" fmla="*/ 3742 h 18368"/>
                    <a:gd name="connsiteX2" fmla="*/ 3798 w 18318"/>
                    <a:gd name="connsiteY2" fmla="*/ 16601 h 18368"/>
                    <a:gd name="connsiteX3" fmla="*/ 16597 w 18318"/>
                    <a:gd name="connsiteY3" fmla="*/ 14627 h 18368"/>
                    <a:gd name="connsiteX4" fmla="*/ 14563 w 18318"/>
                    <a:gd name="connsiteY4" fmla="*/ 1768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68">
                      <a:moveTo>
                        <a:pt x="14563" y="1768"/>
                      </a:moveTo>
                      <a:cubicBezTo>
                        <a:pt x="10496" y="-1222"/>
                        <a:pt x="4755" y="-325"/>
                        <a:pt x="1765" y="3742"/>
                      </a:cubicBezTo>
                      <a:cubicBezTo>
                        <a:pt x="-1226" y="7869"/>
                        <a:pt x="-329" y="13610"/>
                        <a:pt x="3798" y="16601"/>
                      </a:cubicBezTo>
                      <a:cubicBezTo>
                        <a:pt x="7865" y="19591"/>
                        <a:pt x="13606" y="18694"/>
                        <a:pt x="16597" y="14627"/>
                      </a:cubicBezTo>
                      <a:cubicBezTo>
                        <a:pt x="19527" y="10560"/>
                        <a:pt x="18630" y="4819"/>
                        <a:pt x="14563" y="1768"/>
                      </a:cubicBezTo>
                      <a:close/>
                    </a:path>
                  </a:pathLst>
                </a:custGeom>
                <a:grpFill/>
                <a:ln w="5978" cap="flat">
                  <a:noFill/>
                  <a:prstDash val="solid"/>
                  <a:miter/>
                </a:ln>
              </p:spPr>
              <p:txBody>
                <a:bodyPr rtlCol="0" anchor="ctr"/>
                <a:lstStyle/>
                <a:p>
                  <a:endParaRPr lang="en-GB"/>
                </a:p>
              </p:txBody>
            </p:sp>
          </p:grpSp>
          <p:grpSp>
            <p:nvGrpSpPr>
              <p:cNvPr id="947" name="Graphic 3">
                <a:extLst>
                  <a:ext uri="{FF2B5EF4-FFF2-40B4-BE49-F238E27FC236}">
                    <a16:creationId xmlns:a16="http://schemas.microsoft.com/office/drawing/2014/main" id="{A80A14B9-9CBF-4587-88DD-B262854C0FF2}"/>
                  </a:ext>
                </a:extLst>
              </p:cNvPr>
              <p:cNvGrpSpPr/>
              <p:nvPr/>
            </p:nvGrpSpPr>
            <p:grpSpPr>
              <a:xfrm>
                <a:off x="4365152" y="2221333"/>
                <a:ext cx="292551" cy="248811"/>
                <a:chOff x="4365152" y="2221333"/>
                <a:chExt cx="292551" cy="248811"/>
              </a:xfrm>
              <a:grpFill/>
            </p:grpSpPr>
            <p:sp>
              <p:nvSpPr>
                <p:cNvPr id="2558" name="Vrije vorm: vorm 2557">
                  <a:extLst>
                    <a:ext uri="{FF2B5EF4-FFF2-40B4-BE49-F238E27FC236}">
                      <a16:creationId xmlns:a16="http://schemas.microsoft.com/office/drawing/2014/main" id="{11275231-17B9-4B45-A717-E602957A9AB9}"/>
                    </a:ext>
                  </a:extLst>
                </p:cNvPr>
                <p:cNvSpPr/>
                <p:nvPr/>
              </p:nvSpPr>
              <p:spPr>
                <a:xfrm>
                  <a:off x="4373004" y="2229115"/>
                  <a:ext cx="276907" cy="233307"/>
                </a:xfrm>
                <a:custGeom>
                  <a:avLst/>
                  <a:gdLst>
                    <a:gd name="connsiteX0" fmla="*/ 276908 w 276907"/>
                    <a:gd name="connsiteY0" fmla="*/ 230916 h 233307"/>
                    <a:gd name="connsiteX1" fmla="*/ 274934 w 276907"/>
                    <a:gd name="connsiteY1" fmla="*/ 233308 h 233307"/>
                    <a:gd name="connsiteX2" fmla="*/ 0 w 276907"/>
                    <a:gd name="connsiteY2" fmla="*/ 2332 h 233307"/>
                    <a:gd name="connsiteX3" fmla="*/ 1974 w 276907"/>
                    <a:gd name="connsiteY3" fmla="*/ 0 h 233307"/>
                  </a:gdLst>
                  <a:ahLst/>
                  <a:cxnLst>
                    <a:cxn ang="0">
                      <a:pos x="connsiteX0" y="connsiteY0"/>
                    </a:cxn>
                    <a:cxn ang="0">
                      <a:pos x="connsiteX1" y="connsiteY1"/>
                    </a:cxn>
                    <a:cxn ang="0">
                      <a:pos x="connsiteX2" y="connsiteY2"/>
                    </a:cxn>
                    <a:cxn ang="0">
                      <a:pos x="connsiteX3" y="connsiteY3"/>
                    </a:cxn>
                  </a:cxnLst>
                  <a:rect l="l" t="t" r="r" b="b"/>
                  <a:pathLst>
                    <a:path w="276907" h="233307">
                      <a:moveTo>
                        <a:pt x="276908" y="230916"/>
                      </a:moveTo>
                      <a:lnTo>
                        <a:pt x="274934" y="233308"/>
                      </a:lnTo>
                      <a:lnTo>
                        <a:pt x="0" y="2332"/>
                      </a:lnTo>
                      <a:lnTo>
                        <a:pt x="1974" y="0"/>
                      </a:lnTo>
                      <a:close/>
                    </a:path>
                  </a:pathLst>
                </a:custGeom>
                <a:grpFill/>
                <a:ln w="5978" cap="flat">
                  <a:noFill/>
                  <a:prstDash val="solid"/>
                  <a:miter/>
                </a:ln>
              </p:spPr>
              <p:txBody>
                <a:bodyPr rtlCol="0" anchor="ctr"/>
                <a:lstStyle/>
                <a:p>
                  <a:endParaRPr lang="en-GB"/>
                </a:p>
              </p:txBody>
            </p:sp>
            <p:sp>
              <p:nvSpPr>
                <p:cNvPr id="2559" name="Vrije vorm: vorm 2558">
                  <a:extLst>
                    <a:ext uri="{FF2B5EF4-FFF2-40B4-BE49-F238E27FC236}">
                      <a16:creationId xmlns:a16="http://schemas.microsoft.com/office/drawing/2014/main" id="{56EE3B4A-DEF3-43A4-8E80-80DD1C2473DB}"/>
                    </a:ext>
                  </a:extLst>
                </p:cNvPr>
                <p:cNvSpPr/>
                <p:nvPr/>
              </p:nvSpPr>
              <p:spPr>
                <a:xfrm>
                  <a:off x="4639368" y="2451711"/>
                  <a:ext cx="18335" cy="18433"/>
                </a:xfrm>
                <a:custGeom>
                  <a:avLst/>
                  <a:gdLst>
                    <a:gd name="connsiteX0" fmla="*/ 15029 w 18335"/>
                    <a:gd name="connsiteY0" fmla="*/ 2160 h 18433"/>
                    <a:gd name="connsiteX1" fmla="*/ 16225 w 18335"/>
                    <a:gd name="connsiteY1" fmla="*/ 15138 h 18433"/>
                    <a:gd name="connsiteX2" fmla="*/ 3307 w 18335"/>
                    <a:gd name="connsiteY2" fmla="*/ 16274 h 18433"/>
                    <a:gd name="connsiteX3" fmla="*/ 2110 w 18335"/>
                    <a:gd name="connsiteY3" fmla="*/ 3296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8916" y="5449"/>
                        <a:pt x="19455" y="11250"/>
                        <a:pt x="16225" y="15138"/>
                      </a:cubicBezTo>
                      <a:cubicBezTo>
                        <a:pt x="12995" y="19025"/>
                        <a:pt x="7194" y="19564"/>
                        <a:pt x="3307" y="16274"/>
                      </a:cubicBezTo>
                      <a:cubicBezTo>
                        <a:pt x="-581" y="12985"/>
                        <a:pt x="-1119" y="7183"/>
                        <a:pt x="2110" y="3296"/>
                      </a:cubicBezTo>
                      <a:cubicBezTo>
                        <a:pt x="5400" y="-591"/>
                        <a:pt x="11141" y="-1130"/>
                        <a:pt x="15029" y="2160"/>
                      </a:cubicBezTo>
                      <a:close/>
                    </a:path>
                  </a:pathLst>
                </a:custGeom>
                <a:grpFill/>
                <a:ln w="5978" cap="flat">
                  <a:noFill/>
                  <a:prstDash val="solid"/>
                  <a:miter/>
                </a:ln>
              </p:spPr>
              <p:txBody>
                <a:bodyPr rtlCol="0" anchor="ctr"/>
                <a:lstStyle/>
                <a:p>
                  <a:endParaRPr lang="en-GB"/>
                </a:p>
              </p:txBody>
            </p:sp>
            <p:sp>
              <p:nvSpPr>
                <p:cNvPr id="2560" name="Vrije vorm: vorm 2559">
                  <a:extLst>
                    <a:ext uri="{FF2B5EF4-FFF2-40B4-BE49-F238E27FC236}">
                      <a16:creationId xmlns:a16="http://schemas.microsoft.com/office/drawing/2014/main" id="{EF8D86A2-90B2-4BB4-9E6F-65BD60FFDFF2}"/>
                    </a:ext>
                  </a:extLst>
                </p:cNvPr>
                <p:cNvSpPr/>
                <p:nvPr/>
              </p:nvSpPr>
              <p:spPr>
                <a:xfrm>
                  <a:off x="4365152" y="2221333"/>
                  <a:ext cx="18354" cy="18433"/>
                </a:xfrm>
                <a:custGeom>
                  <a:avLst/>
                  <a:gdLst>
                    <a:gd name="connsiteX0" fmla="*/ 15029 w 18354"/>
                    <a:gd name="connsiteY0" fmla="*/ 2160 h 18433"/>
                    <a:gd name="connsiteX1" fmla="*/ 2111 w 18354"/>
                    <a:gd name="connsiteY1" fmla="*/ 3296 h 18433"/>
                    <a:gd name="connsiteX2" fmla="*/ 3306 w 18354"/>
                    <a:gd name="connsiteY2" fmla="*/ 16274 h 18433"/>
                    <a:gd name="connsiteX3" fmla="*/ 16225 w 18354"/>
                    <a:gd name="connsiteY3" fmla="*/ 15138 h 18433"/>
                    <a:gd name="connsiteX4" fmla="*/ 15029 w 18354"/>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33">
                      <a:moveTo>
                        <a:pt x="15029" y="2160"/>
                      </a:moveTo>
                      <a:cubicBezTo>
                        <a:pt x="11141" y="-1130"/>
                        <a:pt x="5340" y="-591"/>
                        <a:pt x="2111" y="3296"/>
                      </a:cubicBezTo>
                      <a:cubicBezTo>
                        <a:pt x="-1119" y="7183"/>
                        <a:pt x="-581" y="12985"/>
                        <a:pt x="3306" y="16274"/>
                      </a:cubicBezTo>
                      <a:cubicBezTo>
                        <a:pt x="7194" y="19564"/>
                        <a:pt x="12995" y="19025"/>
                        <a:pt x="16225" y="15138"/>
                      </a:cubicBezTo>
                      <a:cubicBezTo>
                        <a:pt x="19454" y="11250"/>
                        <a:pt x="18976" y="5449"/>
                        <a:pt x="15029" y="2160"/>
                      </a:cubicBezTo>
                      <a:close/>
                    </a:path>
                  </a:pathLst>
                </a:custGeom>
                <a:grpFill/>
                <a:ln w="5978" cap="flat">
                  <a:noFill/>
                  <a:prstDash val="solid"/>
                  <a:miter/>
                </a:ln>
              </p:spPr>
              <p:txBody>
                <a:bodyPr rtlCol="0" anchor="ctr"/>
                <a:lstStyle/>
                <a:p>
                  <a:endParaRPr lang="en-GB"/>
                </a:p>
              </p:txBody>
            </p:sp>
          </p:grpSp>
          <p:grpSp>
            <p:nvGrpSpPr>
              <p:cNvPr id="948" name="Graphic 3">
                <a:extLst>
                  <a:ext uri="{FF2B5EF4-FFF2-40B4-BE49-F238E27FC236}">
                    <a16:creationId xmlns:a16="http://schemas.microsoft.com/office/drawing/2014/main" id="{7735A4AA-8D85-42DF-9EE3-AD174E719515}"/>
                  </a:ext>
                </a:extLst>
              </p:cNvPr>
              <p:cNvGrpSpPr/>
              <p:nvPr/>
            </p:nvGrpSpPr>
            <p:grpSpPr>
              <a:xfrm>
                <a:off x="4424425" y="2216444"/>
                <a:ext cx="111523" cy="86865"/>
                <a:chOff x="4424425" y="2216444"/>
                <a:chExt cx="111523" cy="86865"/>
              </a:xfrm>
              <a:grpFill/>
            </p:grpSpPr>
            <p:sp>
              <p:nvSpPr>
                <p:cNvPr id="2555" name="Vrije vorm: vorm 2554">
                  <a:extLst>
                    <a:ext uri="{FF2B5EF4-FFF2-40B4-BE49-F238E27FC236}">
                      <a16:creationId xmlns:a16="http://schemas.microsoft.com/office/drawing/2014/main" id="{39396192-23B3-4DFD-BA2F-68781250E0B7}"/>
                    </a:ext>
                  </a:extLst>
                </p:cNvPr>
                <p:cNvSpPr/>
                <p:nvPr/>
              </p:nvSpPr>
              <p:spPr>
                <a:xfrm>
                  <a:off x="4432333" y="2224151"/>
                  <a:ext cx="95691" cy="71469"/>
                </a:xfrm>
                <a:custGeom>
                  <a:avLst/>
                  <a:gdLst>
                    <a:gd name="connsiteX0" fmla="*/ 95692 w 95691"/>
                    <a:gd name="connsiteY0" fmla="*/ 68958 h 71469"/>
                    <a:gd name="connsiteX1" fmla="*/ 93897 w 95691"/>
                    <a:gd name="connsiteY1" fmla="*/ 71470 h 71469"/>
                    <a:gd name="connsiteX2" fmla="*/ 0 w 95691"/>
                    <a:gd name="connsiteY2" fmla="*/ 2452 h 71469"/>
                    <a:gd name="connsiteX3" fmla="*/ 1794 w 95691"/>
                    <a:gd name="connsiteY3" fmla="*/ 0 h 71469"/>
                  </a:gdLst>
                  <a:ahLst/>
                  <a:cxnLst>
                    <a:cxn ang="0">
                      <a:pos x="connsiteX0" y="connsiteY0"/>
                    </a:cxn>
                    <a:cxn ang="0">
                      <a:pos x="connsiteX1" y="connsiteY1"/>
                    </a:cxn>
                    <a:cxn ang="0">
                      <a:pos x="connsiteX2" y="connsiteY2"/>
                    </a:cxn>
                    <a:cxn ang="0">
                      <a:pos x="connsiteX3" y="connsiteY3"/>
                    </a:cxn>
                  </a:cxnLst>
                  <a:rect l="l" t="t" r="r" b="b"/>
                  <a:pathLst>
                    <a:path w="95691" h="71469">
                      <a:moveTo>
                        <a:pt x="95692" y="68958"/>
                      </a:moveTo>
                      <a:lnTo>
                        <a:pt x="93897" y="71470"/>
                      </a:lnTo>
                      <a:lnTo>
                        <a:pt x="0" y="2452"/>
                      </a:lnTo>
                      <a:lnTo>
                        <a:pt x="1794" y="0"/>
                      </a:lnTo>
                      <a:close/>
                    </a:path>
                  </a:pathLst>
                </a:custGeom>
                <a:grpFill/>
                <a:ln w="5978" cap="flat">
                  <a:noFill/>
                  <a:prstDash val="solid"/>
                  <a:miter/>
                </a:ln>
              </p:spPr>
              <p:txBody>
                <a:bodyPr rtlCol="0" anchor="ctr"/>
                <a:lstStyle/>
                <a:p>
                  <a:endParaRPr lang="en-GB"/>
                </a:p>
              </p:txBody>
            </p:sp>
            <p:sp>
              <p:nvSpPr>
                <p:cNvPr id="2556" name="Vrije vorm: vorm 2555">
                  <a:extLst>
                    <a:ext uri="{FF2B5EF4-FFF2-40B4-BE49-F238E27FC236}">
                      <a16:creationId xmlns:a16="http://schemas.microsoft.com/office/drawing/2014/main" id="{D6C60B4C-1DBF-4F5F-914F-99512F856F35}"/>
                    </a:ext>
                  </a:extLst>
                </p:cNvPr>
                <p:cNvSpPr/>
                <p:nvPr/>
              </p:nvSpPr>
              <p:spPr>
                <a:xfrm>
                  <a:off x="4424425" y="2216444"/>
                  <a:ext cx="18327" cy="18429"/>
                </a:xfrm>
                <a:custGeom>
                  <a:avLst/>
                  <a:gdLst>
                    <a:gd name="connsiteX0" fmla="*/ 3781 w 18327"/>
                    <a:gd name="connsiteY0" fmla="*/ 16618 h 18429"/>
                    <a:gd name="connsiteX1" fmla="*/ 1747 w 18327"/>
                    <a:gd name="connsiteY1" fmla="*/ 3759 h 18429"/>
                    <a:gd name="connsiteX2" fmla="*/ 14546 w 18327"/>
                    <a:gd name="connsiteY2" fmla="*/ 1786 h 18429"/>
                    <a:gd name="connsiteX3" fmla="*/ 16580 w 18327"/>
                    <a:gd name="connsiteY3" fmla="*/ 14644 h 18429"/>
                    <a:gd name="connsiteX4" fmla="*/ 3781 w 18327"/>
                    <a:gd name="connsiteY4" fmla="*/ 1661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3781" y="16618"/>
                      </a:moveTo>
                      <a:cubicBezTo>
                        <a:pt x="-286" y="13627"/>
                        <a:pt x="-1243" y="7826"/>
                        <a:pt x="1747" y="3759"/>
                      </a:cubicBezTo>
                      <a:cubicBezTo>
                        <a:pt x="4738" y="-367"/>
                        <a:pt x="10479" y="-1205"/>
                        <a:pt x="14546" y="1786"/>
                      </a:cubicBezTo>
                      <a:cubicBezTo>
                        <a:pt x="18613" y="4776"/>
                        <a:pt x="19570" y="10577"/>
                        <a:pt x="16580" y="14644"/>
                      </a:cubicBezTo>
                      <a:cubicBezTo>
                        <a:pt x="13649" y="18771"/>
                        <a:pt x="7908" y="19668"/>
                        <a:pt x="3781" y="16618"/>
                      </a:cubicBezTo>
                      <a:close/>
                    </a:path>
                  </a:pathLst>
                </a:custGeom>
                <a:grpFill/>
                <a:ln w="5978" cap="flat">
                  <a:noFill/>
                  <a:prstDash val="solid"/>
                  <a:miter/>
                </a:ln>
              </p:spPr>
              <p:txBody>
                <a:bodyPr rtlCol="0" anchor="ctr"/>
                <a:lstStyle/>
                <a:p>
                  <a:endParaRPr lang="en-GB"/>
                </a:p>
              </p:txBody>
            </p:sp>
            <p:sp>
              <p:nvSpPr>
                <p:cNvPr id="2557" name="Vrije vorm: vorm 2556">
                  <a:extLst>
                    <a:ext uri="{FF2B5EF4-FFF2-40B4-BE49-F238E27FC236}">
                      <a16:creationId xmlns:a16="http://schemas.microsoft.com/office/drawing/2014/main" id="{6DC6C6DA-A001-40D4-8AA0-C74073CA03F7}"/>
                    </a:ext>
                  </a:extLst>
                </p:cNvPr>
                <p:cNvSpPr/>
                <p:nvPr/>
              </p:nvSpPr>
              <p:spPr>
                <a:xfrm>
                  <a:off x="4517587" y="2284941"/>
                  <a:ext cx="18361" cy="18368"/>
                </a:xfrm>
                <a:custGeom>
                  <a:avLst/>
                  <a:gdLst>
                    <a:gd name="connsiteX0" fmla="*/ 3798 w 18361"/>
                    <a:gd name="connsiteY0" fmla="*/ 16600 h 18368"/>
                    <a:gd name="connsiteX1" fmla="*/ 16597 w 18361"/>
                    <a:gd name="connsiteY1" fmla="*/ 14627 h 18368"/>
                    <a:gd name="connsiteX2" fmla="*/ 14564 w 18361"/>
                    <a:gd name="connsiteY2" fmla="*/ 1768 h 18368"/>
                    <a:gd name="connsiteX3" fmla="*/ 1765 w 18361"/>
                    <a:gd name="connsiteY3" fmla="*/ 3742 h 18368"/>
                    <a:gd name="connsiteX4" fmla="*/ 3798 w 18361"/>
                    <a:gd name="connsiteY4" fmla="*/ 16600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368">
                      <a:moveTo>
                        <a:pt x="3798" y="16600"/>
                      </a:moveTo>
                      <a:cubicBezTo>
                        <a:pt x="7865" y="19591"/>
                        <a:pt x="13606" y="18694"/>
                        <a:pt x="16597" y="14627"/>
                      </a:cubicBezTo>
                      <a:cubicBezTo>
                        <a:pt x="19587" y="10500"/>
                        <a:pt x="18690" y="4759"/>
                        <a:pt x="14564" y="1768"/>
                      </a:cubicBezTo>
                      <a:cubicBezTo>
                        <a:pt x="10496" y="-1222"/>
                        <a:pt x="4755" y="-325"/>
                        <a:pt x="1765" y="3742"/>
                      </a:cubicBezTo>
                      <a:cubicBezTo>
                        <a:pt x="-1226" y="7809"/>
                        <a:pt x="-329" y="13550"/>
                        <a:pt x="3798" y="16600"/>
                      </a:cubicBezTo>
                      <a:close/>
                    </a:path>
                  </a:pathLst>
                </a:custGeom>
                <a:grpFill/>
                <a:ln w="5978" cap="flat">
                  <a:noFill/>
                  <a:prstDash val="solid"/>
                  <a:miter/>
                </a:ln>
              </p:spPr>
              <p:txBody>
                <a:bodyPr rtlCol="0" anchor="ctr"/>
                <a:lstStyle/>
                <a:p>
                  <a:endParaRPr lang="en-GB"/>
                </a:p>
              </p:txBody>
            </p:sp>
          </p:grpSp>
          <p:grpSp>
            <p:nvGrpSpPr>
              <p:cNvPr id="949" name="Graphic 3">
                <a:extLst>
                  <a:ext uri="{FF2B5EF4-FFF2-40B4-BE49-F238E27FC236}">
                    <a16:creationId xmlns:a16="http://schemas.microsoft.com/office/drawing/2014/main" id="{0F714CDC-8E64-49D4-B626-335E3F5A31EB}"/>
                  </a:ext>
                </a:extLst>
              </p:cNvPr>
              <p:cNvGrpSpPr/>
              <p:nvPr/>
            </p:nvGrpSpPr>
            <p:grpSpPr>
              <a:xfrm>
                <a:off x="4358488" y="2068562"/>
                <a:ext cx="166467" cy="136002"/>
                <a:chOff x="4358488" y="2068562"/>
                <a:chExt cx="166467" cy="136002"/>
              </a:xfrm>
              <a:grpFill/>
            </p:grpSpPr>
            <p:sp>
              <p:nvSpPr>
                <p:cNvPr id="2552" name="Vrije vorm: vorm 2551">
                  <a:extLst>
                    <a:ext uri="{FF2B5EF4-FFF2-40B4-BE49-F238E27FC236}">
                      <a16:creationId xmlns:a16="http://schemas.microsoft.com/office/drawing/2014/main" id="{2E4E9FAE-1FCA-4AAC-92E7-F77FD888B287}"/>
                    </a:ext>
                  </a:extLst>
                </p:cNvPr>
                <p:cNvSpPr/>
                <p:nvPr/>
              </p:nvSpPr>
              <p:spPr>
                <a:xfrm>
                  <a:off x="4366365" y="2076307"/>
                  <a:ext cx="150714" cy="120511"/>
                </a:xfrm>
                <a:custGeom>
                  <a:avLst/>
                  <a:gdLst>
                    <a:gd name="connsiteX0" fmla="*/ 150714 w 150714"/>
                    <a:gd name="connsiteY0" fmla="*/ 118119 h 120511"/>
                    <a:gd name="connsiteX1" fmla="*/ 148860 w 150714"/>
                    <a:gd name="connsiteY1" fmla="*/ 120511 h 120511"/>
                    <a:gd name="connsiteX2" fmla="*/ 0 w 150714"/>
                    <a:gd name="connsiteY2" fmla="*/ 2392 h 120511"/>
                    <a:gd name="connsiteX3" fmla="*/ 1914 w 150714"/>
                    <a:gd name="connsiteY3" fmla="*/ 0 h 120511"/>
                  </a:gdLst>
                  <a:ahLst/>
                  <a:cxnLst>
                    <a:cxn ang="0">
                      <a:pos x="connsiteX0" y="connsiteY0"/>
                    </a:cxn>
                    <a:cxn ang="0">
                      <a:pos x="connsiteX1" y="connsiteY1"/>
                    </a:cxn>
                    <a:cxn ang="0">
                      <a:pos x="connsiteX2" y="connsiteY2"/>
                    </a:cxn>
                    <a:cxn ang="0">
                      <a:pos x="connsiteX3" y="connsiteY3"/>
                    </a:cxn>
                  </a:cxnLst>
                  <a:rect l="l" t="t" r="r" b="b"/>
                  <a:pathLst>
                    <a:path w="150714" h="120511">
                      <a:moveTo>
                        <a:pt x="150714" y="118119"/>
                      </a:moveTo>
                      <a:lnTo>
                        <a:pt x="148860" y="120511"/>
                      </a:lnTo>
                      <a:lnTo>
                        <a:pt x="0" y="2392"/>
                      </a:lnTo>
                      <a:lnTo>
                        <a:pt x="1914" y="0"/>
                      </a:lnTo>
                      <a:close/>
                    </a:path>
                  </a:pathLst>
                </a:custGeom>
                <a:grpFill/>
                <a:ln w="5978" cap="flat">
                  <a:noFill/>
                  <a:prstDash val="solid"/>
                  <a:miter/>
                </a:ln>
              </p:spPr>
              <p:txBody>
                <a:bodyPr rtlCol="0" anchor="ctr"/>
                <a:lstStyle/>
                <a:p>
                  <a:endParaRPr lang="en-GB"/>
                </a:p>
              </p:txBody>
            </p:sp>
            <p:sp>
              <p:nvSpPr>
                <p:cNvPr id="2553" name="Vrije vorm: vorm 2552">
                  <a:extLst>
                    <a:ext uri="{FF2B5EF4-FFF2-40B4-BE49-F238E27FC236}">
                      <a16:creationId xmlns:a16="http://schemas.microsoft.com/office/drawing/2014/main" id="{504442E7-8CAF-4C47-AC48-D78F1CEF8774}"/>
                    </a:ext>
                  </a:extLst>
                </p:cNvPr>
                <p:cNvSpPr/>
                <p:nvPr/>
              </p:nvSpPr>
              <p:spPr>
                <a:xfrm>
                  <a:off x="4358488" y="2068562"/>
                  <a:ext cx="18325" cy="18421"/>
                </a:xfrm>
                <a:custGeom>
                  <a:avLst/>
                  <a:gdLst>
                    <a:gd name="connsiteX0" fmla="*/ 3511 w 18325"/>
                    <a:gd name="connsiteY0" fmla="*/ 16418 h 18421"/>
                    <a:gd name="connsiteX1" fmla="*/ 1956 w 18325"/>
                    <a:gd name="connsiteY1" fmla="*/ 3499 h 18421"/>
                    <a:gd name="connsiteX2" fmla="*/ 14815 w 18325"/>
                    <a:gd name="connsiteY2" fmla="*/ 2004 h 18421"/>
                    <a:gd name="connsiteX3" fmla="*/ 16369 w 18325"/>
                    <a:gd name="connsiteY3" fmla="*/ 14922 h 18421"/>
                    <a:gd name="connsiteX4" fmla="*/ 3511 w 18325"/>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1">
                      <a:moveTo>
                        <a:pt x="3511" y="16418"/>
                      </a:moveTo>
                      <a:cubicBezTo>
                        <a:pt x="-496" y="13248"/>
                        <a:pt x="-1154" y="7447"/>
                        <a:pt x="1956" y="3499"/>
                      </a:cubicBezTo>
                      <a:cubicBezTo>
                        <a:pt x="5066" y="-508"/>
                        <a:pt x="10867" y="-1166"/>
                        <a:pt x="14815" y="2004"/>
                      </a:cubicBezTo>
                      <a:cubicBezTo>
                        <a:pt x="18822" y="5174"/>
                        <a:pt x="19479" y="10975"/>
                        <a:pt x="16369" y="14922"/>
                      </a:cubicBezTo>
                      <a:cubicBezTo>
                        <a:pt x="13259" y="18930"/>
                        <a:pt x="7518" y="19587"/>
                        <a:pt x="3511" y="16418"/>
                      </a:cubicBezTo>
                      <a:close/>
                    </a:path>
                  </a:pathLst>
                </a:custGeom>
                <a:grpFill/>
                <a:ln w="5978" cap="flat">
                  <a:noFill/>
                  <a:prstDash val="solid"/>
                  <a:miter/>
                </a:ln>
              </p:spPr>
              <p:txBody>
                <a:bodyPr rtlCol="0" anchor="ctr"/>
                <a:lstStyle/>
                <a:p>
                  <a:endParaRPr lang="en-GB"/>
                </a:p>
              </p:txBody>
            </p:sp>
            <p:sp>
              <p:nvSpPr>
                <p:cNvPr id="2554" name="Vrije vorm: vorm 2553">
                  <a:extLst>
                    <a:ext uri="{FF2B5EF4-FFF2-40B4-BE49-F238E27FC236}">
                      <a16:creationId xmlns:a16="http://schemas.microsoft.com/office/drawing/2014/main" id="{057D76B6-5550-4157-8D13-E91435468F6D}"/>
                    </a:ext>
                  </a:extLst>
                </p:cNvPr>
                <p:cNvSpPr/>
                <p:nvPr/>
              </p:nvSpPr>
              <p:spPr>
                <a:xfrm>
                  <a:off x="4506649" y="2186143"/>
                  <a:ext cx="18306" cy="18421"/>
                </a:xfrm>
                <a:custGeom>
                  <a:avLst/>
                  <a:gdLst>
                    <a:gd name="connsiteX0" fmla="*/ 3492 w 18306"/>
                    <a:gd name="connsiteY0" fmla="*/ 16418 h 18421"/>
                    <a:gd name="connsiteX1" fmla="*/ 16351 w 18306"/>
                    <a:gd name="connsiteY1" fmla="*/ 14922 h 18421"/>
                    <a:gd name="connsiteX2" fmla="*/ 14796 w 18306"/>
                    <a:gd name="connsiteY2" fmla="*/ 2004 h 18421"/>
                    <a:gd name="connsiteX3" fmla="*/ 1937 w 18306"/>
                    <a:gd name="connsiteY3" fmla="*/ 3499 h 18421"/>
                    <a:gd name="connsiteX4" fmla="*/ 3492 w 18306"/>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1">
                      <a:moveTo>
                        <a:pt x="3492" y="16418"/>
                      </a:moveTo>
                      <a:cubicBezTo>
                        <a:pt x="7499" y="19587"/>
                        <a:pt x="13241" y="18930"/>
                        <a:pt x="16351" y="14922"/>
                      </a:cubicBezTo>
                      <a:cubicBezTo>
                        <a:pt x="19461" y="10915"/>
                        <a:pt x="18803" y="5114"/>
                        <a:pt x="14796" y="2004"/>
                      </a:cubicBezTo>
                      <a:cubicBezTo>
                        <a:pt x="10789" y="-1166"/>
                        <a:pt x="5047" y="-508"/>
                        <a:pt x="1937" y="3499"/>
                      </a:cubicBezTo>
                      <a:cubicBezTo>
                        <a:pt x="-1173" y="7447"/>
                        <a:pt x="-455" y="13248"/>
                        <a:pt x="3492" y="16418"/>
                      </a:cubicBezTo>
                      <a:close/>
                    </a:path>
                  </a:pathLst>
                </a:custGeom>
                <a:grpFill/>
                <a:ln w="5978" cap="flat">
                  <a:noFill/>
                  <a:prstDash val="solid"/>
                  <a:miter/>
                </a:ln>
              </p:spPr>
              <p:txBody>
                <a:bodyPr rtlCol="0" anchor="ctr"/>
                <a:lstStyle/>
                <a:p>
                  <a:endParaRPr lang="en-GB"/>
                </a:p>
              </p:txBody>
            </p:sp>
          </p:grpSp>
          <p:grpSp>
            <p:nvGrpSpPr>
              <p:cNvPr id="950" name="Graphic 3">
                <a:extLst>
                  <a:ext uri="{FF2B5EF4-FFF2-40B4-BE49-F238E27FC236}">
                    <a16:creationId xmlns:a16="http://schemas.microsoft.com/office/drawing/2014/main" id="{8F649D11-56A6-4931-B650-58792D98A860}"/>
                  </a:ext>
                </a:extLst>
              </p:cNvPr>
              <p:cNvGrpSpPr/>
              <p:nvPr/>
            </p:nvGrpSpPr>
            <p:grpSpPr>
              <a:xfrm>
                <a:off x="5489315" y="5270116"/>
                <a:ext cx="43699" cy="107207"/>
                <a:chOff x="5489315" y="5270116"/>
                <a:chExt cx="43699" cy="107207"/>
              </a:xfrm>
              <a:grpFill/>
            </p:grpSpPr>
            <p:sp>
              <p:nvSpPr>
                <p:cNvPr id="2549" name="Vrije vorm: vorm 2548">
                  <a:extLst>
                    <a:ext uri="{FF2B5EF4-FFF2-40B4-BE49-F238E27FC236}">
                      <a16:creationId xmlns:a16="http://schemas.microsoft.com/office/drawing/2014/main" id="{2ADD9921-D71F-4501-A33F-AE6CF7597A1E}"/>
                    </a:ext>
                  </a:extLst>
                </p:cNvPr>
                <p:cNvSpPr/>
                <p:nvPr/>
              </p:nvSpPr>
              <p:spPr>
                <a:xfrm>
                  <a:off x="5496901" y="5278445"/>
                  <a:ext cx="28527" cy="90548"/>
                </a:xfrm>
                <a:custGeom>
                  <a:avLst/>
                  <a:gdLst>
                    <a:gd name="connsiteX0" fmla="*/ 28528 w 28527"/>
                    <a:gd name="connsiteY0" fmla="*/ 897 h 90548"/>
                    <a:gd name="connsiteX1" fmla="*/ 2930 w 28527"/>
                    <a:gd name="connsiteY1" fmla="*/ 90548 h 90548"/>
                    <a:gd name="connsiteX2" fmla="*/ 0 w 28527"/>
                    <a:gd name="connsiteY2" fmla="*/ 89711 h 90548"/>
                    <a:gd name="connsiteX3" fmla="*/ 25597 w 28527"/>
                    <a:gd name="connsiteY3" fmla="*/ 0 h 90548"/>
                  </a:gdLst>
                  <a:ahLst/>
                  <a:cxnLst>
                    <a:cxn ang="0">
                      <a:pos x="connsiteX0" y="connsiteY0"/>
                    </a:cxn>
                    <a:cxn ang="0">
                      <a:pos x="connsiteX1" y="connsiteY1"/>
                    </a:cxn>
                    <a:cxn ang="0">
                      <a:pos x="connsiteX2" y="connsiteY2"/>
                    </a:cxn>
                    <a:cxn ang="0">
                      <a:pos x="connsiteX3" y="connsiteY3"/>
                    </a:cxn>
                  </a:cxnLst>
                  <a:rect l="l" t="t" r="r" b="b"/>
                  <a:pathLst>
                    <a:path w="28527" h="90548">
                      <a:moveTo>
                        <a:pt x="28528" y="897"/>
                      </a:moveTo>
                      <a:lnTo>
                        <a:pt x="2930" y="90548"/>
                      </a:lnTo>
                      <a:lnTo>
                        <a:pt x="0" y="89711"/>
                      </a:lnTo>
                      <a:lnTo>
                        <a:pt x="25597" y="0"/>
                      </a:lnTo>
                      <a:close/>
                    </a:path>
                  </a:pathLst>
                </a:custGeom>
                <a:grpFill/>
                <a:ln w="5978" cap="flat">
                  <a:noFill/>
                  <a:prstDash val="solid"/>
                  <a:miter/>
                </a:ln>
              </p:spPr>
              <p:txBody>
                <a:bodyPr rtlCol="0" anchor="ctr"/>
                <a:lstStyle/>
                <a:p>
                  <a:endParaRPr lang="en-GB"/>
                </a:p>
              </p:txBody>
            </p:sp>
            <p:sp>
              <p:nvSpPr>
                <p:cNvPr id="2550" name="Vrije vorm: vorm 2549">
                  <a:extLst>
                    <a:ext uri="{FF2B5EF4-FFF2-40B4-BE49-F238E27FC236}">
                      <a16:creationId xmlns:a16="http://schemas.microsoft.com/office/drawing/2014/main" id="{33D2C833-7AA9-47D6-B947-62ABBE0F9B0A}"/>
                    </a:ext>
                  </a:extLst>
                </p:cNvPr>
                <p:cNvSpPr/>
                <p:nvPr/>
              </p:nvSpPr>
              <p:spPr>
                <a:xfrm>
                  <a:off x="5489315" y="5358870"/>
                  <a:ext cx="18362" cy="18453"/>
                </a:xfrm>
                <a:custGeom>
                  <a:avLst/>
                  <a:gdLst>
                    <a:gd name="connsiteX0" fmla="*/ 17992 w 18362"/>
                    <a:gd name="connsiteY0" fmla="*/ 11798 h 18453"/>
                    <a:gd name="connsiteX1" fmla="*/ 6629 w 18362"/>
                    <a:gd name="connsiteY1" fmla="*/ 18078 h 18453"/>
                    <a:gd name="connsiteX2" fmla="*/ 349 w 18362"/>
                    <a:gd name="connsiteY2" fmla="*/ 6655 h 18453"/>
                    <a:gd name="connsiteX3" fmla="*/ 11713 w 18362"/>
                    <a:gd name="connsiteY3" fmla="*/ 375 h 18453"/>
                    <a:gd name="connsiteX4" fmla="*/ 17992 w 18362"/>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53">
                      <a:moveTo>
                        <a:pt x="17992" y="11798"/>
                      </a:moveTo>
                      <a:cubicBezTo>
                        <a:pt x="16617" y="16702"/>
                        <a:pt x="11533" y="19513"/>
                        <a:pt x="6629" y="18078"/>
                      </a:cubicBezTo>
                      <a:cubicBezTo>
                        <a:pt x="1784" y="16642"/>
                        <a:pt x="-1026" y="11559"/>
                        <a:pt x="349" y="6655"/>
                      </a:cubicBezTo>
                      <a:cubicBezTo>
                        <a:pt x="1725" y="1750"/>
                        <a:pt x="6808" y="-1060"/>
                        <a:pt x="11713" y="375"/>
                      </a:cubicBezTo>
                      <a:cubicBezTo>
                        <a:pt x="16557" y="1810"/>
                        <a:pt x="19428" y="6954"/>
                        <a:pt x="17992" y="11798"/>
                      </a:cubicBezTo>
                      <a:close/>
                    </a:path>
                  </a:pathLst>
                </a:custGeom>
                <a:grpFill/>
                <a:ln w="5978" cap="flat">
                  <a:noFill/>
                  <a:prstDash val="solid"/>
                  <a:miter/>
                </a:ln>
              </p:spPr>
              <p:txBody>
                <a:bodyPr rtlCol="0" anchor="ctr"/>
                <a:lstStyle/>
                <a:p>
                  <a:endParaRPr lang="en-GB"/>
                </a:p>
              </p:txBody>
            </p:sp>
            <p:sp>
              <p:nvSpPr>
                <p:cNvPr id="2551" name="Vrije vorm: vorm 2550">
                  <a:extLst>
                    <a:ext uri="{FF2B5EF4-FFF2-40B4-BE49-F238E27FC236}">
                      <a16:creationId xmlns:a16="http://schemas.microsoft.com/office/drawing/2014/main" id="{608AB31B-92E5-4A8E-A0CE-5BFBB39D14B5}"/>
                    </a:ext>
                  </a:extLst>
                </p:cNvPr>
                <p:cNvSpPr/>
                <p:nvPr/>
              </p:nvSpPr>
              <p:spPr>
                <a:xfrm>
                  <a:off x="5514733" y="5270116"/>
                  <a:ext cx="18281" cy="18453"/>
                </a:xfrm>
                <a:custGeom>
                  <a:avLst/>
                  <a:gdLst>
                    <a:gd name="connsiteX0" fmla="*/ 17932 w 18281"/>
                    <a:gd name="connsiteY0" fmla="*/ 11798 h 18453"/>
                    <a:gd name="connsiteX1" fmla="*/ 11653 w 18281"/>
                    <a:gd name="connsiteY1" fmla="*/ 375 h 18453"/>
                    <a:gd name="connsiteX2" fmla="*/ 349 w 18281"/>
                    <a:gd name="connsiteY2" fmla="*/ 6655 h 18453"/>
                    <a:gd name="connsiteX3" fmla="*/ 6629 w 18281"/>
                    <a:gd name="connsiteY3" fmla="*/ 18078 h 18453"/>
                    <a:gd name="connsiteX4" fmla="*/ 17932 w 18281"/>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3">
                      <a:moveTo>
                        <a:pt x="17932" y="11798"/>
                      </a:moveTo>
                      <a:cubicBezTo>
                        <a:pt x="19308" y="6894"/>
                        <a:pt x="16497" y="1811"/>
                        <a:pt x="11653" y="375"/>
                      </a:cubicBezTo>
                      <a:cubicBezTo>
                        <a:pt x="6808" y="-1060"/>
                        <a:pt x="1725" y="1751"/>
                        <a:pt x="349" y="6655"/>
                      </a:cubicBezTo>
                      <a:cubicBezTo>
                        <a:pt x="-1026" y="11559"/>
                        <a:pt x="1784" y="16643"/>
                        <a:pt x="6629" y="18078"/>
                      </a:cubicBezTo>
                      <a:cubicBezTo>
                        <a:pt x="11413" y="19513"/>
                        <a:pt x="16497" y="16703"/>
                        <a:pt x="17932" y="11798"/>
                      </a:cubicBezTo>
                      <a:close/>
                    </a:path>
                  </a:pathLst>
                </a:custGeom>
                <a:grpFill/>
                <a:ln w="5978" cap="flat">
                  <a:noFill/>
                  <a:prstDash val="solid"/>
                  <a:miter/>
                </a:ln>
              </p:spPr>
              <p:txBody>
                <a:bodyPr rtlCol="0" anchor="ctr"/>
                <a:lstStyle/>
                <a:p>
                  <a:endParaRPr lang="en-GB"/>
                </a:p>
              </p:txBody>
            </p:sp>
          </p:grpSp>
          <p:grpSp>
            <p:nvGrpSpPr>
              <p:cNvPr id="951" name="Graphic 3">
                <a:extLst>
                  <a:ext uri="{FF2B5EF4-FFF2-40B4-BE49-F238E27FC236}">
                    <a16:creationId xmlns:a16="http://schemas.microsoft.com/office/drawing/2014/main" id="{FB37969C-43CF-44A9-89DD-0D85A33F7AE8}"/>
                  </a:ext>
                </a:extLst>
              </p:cNvPr>
              <p:cNvGrpSpPr/>
              <p:nvPr/>
            </p:nvGrpSpPr>
            <p:grpSpPr>
              <a:xfrm>
                <a:off x="5433598" y="5106147"/>
                <a:ext cx="111855" cy="324464"/>
                <a:chOff x="5433598" y="5106147"/>
                <a:chExt cx="111855" cy="324464"/>
              </a:xfrm>
              <a:grpFill/>
            </p:grpSpPr>
            <p:sp>
              <p:nvSpPr>
                <p:cNvPr id="2546" name="Vrije vorm: vorm 2545">
                  <a:extLst>
                    <a:ext uri="{FF2B5EF4-FFF2-40B4-BE49-F238E27FC236}">
                      <a16:creationId xmlns:a16="http://schemas.microsoft.com/office/drawing/2014/main" id="{6A067813-A269-4354-B279-10FB65614E37}"/>
                    </a:ext>
                  </a:extLst>
                </p:cNvPr>
                <p:cNvSpPr/>
                <p:nvPr/>
              </p:nvSpPr>
              <p:spPr>
                <a:xfrm>
                  <a:off x="5441161" y="5114454"/>
                  <a:ext cx="96708" cy="307827"/>
                </a:xfrm>
                <a:custGeom>
                  <a:avLst/>
                  <a:gdLst>
                    <a:gd name="connsiteX0" fmla="*/ 96708 w 96708"/>
                    <a:gd name="connsiteY0" fmla="*/ 957 h 307827"/>
                    <a:gd name="connsiteX1" fmla="*/ 2930 w 96708"/>
                    <a:gd name="connsiteY1" fmla="*/ 307828 h 307827"/>
                    <a:gd name="connsiteX2" fmla="*/ 0 w 96708"/>
                    <a:gd name="connsiteY2" fmla="*/ 306931 h 307827"/>
                    <a:gd name="connsiteX3" fmla="*/ 93778 w 96708"/>
                    <a:gd name="connsiteY3" fmla="*/ 0 h 307827"/>
                  </a:gdLst>
                  <a:ahLst/>
                  <a:cxnLst>
                    <a:cxn ang="0">
                      <a:pos x="connsiteX0" y="connsiteY0"/>
                    </a:cxn>
                    <a:cxn ang="0">
                      <a:pos x="connsiteX1" y="connsiteY1"/>
                    </a:cxn>
                    <a:cxn ang="0">
                      <a:pos x="connsiteX2" y="connsiteY2"/>
                    </a:cxn>
                    <a:cxn ang="0">
                      <a:pos x="connsiteX3" y="connsiteY3"/>
                    </a:cxn>
                  </a:cxnLst>
                  <a:rect l="l" t="t" r="r" b="b"/>
                  <a:pathLst>
                    <a:path w="96708" h="307827">
                      <a:moveTo>
                        <a:pt x="96708" y="957"/>
                      </a:moveTo>
                      <a:lnTo>
                        <a:pt x="2930" y="307828"/>
                      </a:lnTo>
                      <a:lnTo>
                        <a:pt x="0" y="306931"/>
                      </a:lnTo>
                      <a:lnTo>
                        <a:pt x="93778" y="0"/>
                      </a:lnTo>
                      <a:close/>
                    </a:path>
                  </a:pathLst>
                </a:custGeom>
                <a:grpFill/>
                <a:ln w="5978" cap="flat">
                  <a:noFill/>
                  <a:prstDash val="solid"/>
                  <a:miter/>
                </a:ln>
              </p:spPr>
              <p:txBody>
                <a:bodyPr rtlCol="0" anchor="ctr"/>
                <a:lstStyle/>
                <a:p>
                  <a:endParaRPr lang="en-GB"/>
                </a:p>
              </p:txBody>
            </p:sp>
            <p:sp>
              <p:nvSpPr>
                <p:cNvPr id="2547" name="Vrije vorm: vorm 2546">
                  <a:extLst>
                    <a:ext uri="{FF2B5EF4-FFF2-40B4-BE49-F238E27FC236}">
                      <a16:creationId xmlns:a16="http://schemas.microsoft.com/office/drawing/2014/main" id="{F932B3A6-69D5-4E33-9061-BF07A662266F}"/>
                    </a:ext>
                  </a:extLst>
                </p:cNvPr>
                <p:cNvSpPr/>
                <p:nvPr/>
              </p:nvSpPr>
              <p:spPr>
                <a:xfrm>
                  <a:off x="5433598" y="5412158"/>
                  <a:ext cx="18321" cy="18453"/>
                </a:xfrm>
                <a:custGeom>
                  <a:avLst/>
                  <a:gdLst>
                    <a:gd name="connsiteX0" fmla="*/ 17909 w 18321"/>
                    <a:gd name="connsiteY0" fmla="*/ 11978 h 18453"/>
                    <a:gd name="connsiteX1" fmla="*/ 6486 w 18321"/>
                    <a:gd name="connsiteY1" fmla="*/ 18019 h 18453"/>
                    <a:gd name="connsiteX2" fmla="*/ 386 w 18321"/>
                    <a:gd name="connsiteY2" fmla="*/ 6476 h 18453"/>
                    <a:gd name="connsiteX3" fmla="*/ 11809 w 18321"/>
                    <a:gd name="connsiteY3" fmla="*/ 435 h 18453"/>
                    <a:gd name="connsiteX4" fmla="*/ 17909 w 18321"/>
                    <a:gd name="connsiteY4" fmla="*/ 1197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53">
                      <a:moveTo>
                        <a:pt x="17909" y="11978"/>
                      </a:moveTo>
                      <a:cubicBezTo>
                        <a:pt x="16414" y="16822"/>
                        <a:pt x="11270" y="19574"/>
                        <a:pt x="6486" y="18019"/>
                      </a:cubicBezTo>
                      <a:cubicBezTo>
                        <a:pt x="1642" y="16523"/>
                        <a:pt x="-1050" y="11320"/>
                        <a:pt x="386" y="6476"/>
                      </a:cubicBezTo>
                      <a:cubicBezTo>
                        <a:pt x="1881" y="1631"/>
                        <a:pt x="7024" y="-1120"/>
                        <a:pt x="11809" y="435"/>
                      </a:cubicBezTo>
                      <a:cubicBezTo>
                        <a:pt x="16713" y="1930"/>
                        <a:pt x="19404" y="7134"/>
                        <a:pt x="17909" y="11978"/>
                      </a:cubicBezTo>
                      <a:close/>
                    </a:path>
                  </a:pathLst>
                </a:custGeom>
                <a:grpFill/>
                <a:ln w="5978" cap="flat">
                  <a:noFill/>
                  <a:prstDash val="solid"/>
                  <a:miter/>
                </a:ln>
              </p:spPr>
              <p:txBody>
                <a:bodyPr rtlCol="0" anchor="ctr"/>
                <a:lstStyle/>
                <a:p>
                  <a:endParaRPr lang="en-GB"/>
                </a:p>
              </p:txBody>
            </p:sp>
            <p:sp>
              <p:nvSpPr>
                <p:cNvPr id="2548" name="Vrije vorm: vorm 2547">
                  <a:extLst>
                    <a:ext uri="{FF2B5EF4-FFF2-40B4-BE49-F238E27FC236}">
                      <a16:creationId xmlns:a16="http://schemas.microsoft.com/office/drawing/2014/main" id="{A276A4C2-8220-431E-BA06-68AA30BEEB4E}"/>
                    </a:ext>
                  </a:extLst>
                </p:cNvPr>
                <p:cNvSpPr/>
                <p:nvPr/>
              </p:nvSpPr>
              <p:spPr>
                <a:xfrm>
                  <a:off x="5527115" y="5106147"/>
                  <a:ext cx="18338" cy="18431"/>
                </a:xfrm>
                <a:custGeom>
                  <a:avLst/>
                  <a:gdLst>
                    <a:gd name="connsiteX0" fmla="*/ 17931 w 18338"/>
                    <a:gd name="connsiteY0" fmla="*/ 11956 h 18431"/>
                    <a:gd name="connsiteX1" fmla="*/ 11831 w 18338"/>
                    <a:gd name="connsiteY1" fmla="*/ 413 h 18431"/>
                    <a:gd name="connsiteX2" fmla="*/ 407 w 18338"/>
                    <a:gd name="connsiteY2" fmla="*/ 6453 h 18431"/>
                    <a:gd name="connsiteX3" fmla="*/ 6508 w 18338"/>
                    <a:gd name="connsiteY3" fmla="*/ 17996 h 18431"/>
                    <a:gd name="connsiteX4" fmla="*/ 17931 w 18338"/>
                    <a:gd name="connsiteY4" fmla="*/ 11956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1">
                      <a:moveTo>
                        <a:pt x="17931" y="11956"/>
                      </a:moveTo>
                      <a:cubicBezTo>
                        <a:pt x="19426" y="7111"/>
                        <a:pt x="16675" y="1908"/>
                        <a:pt x="11831" y="413"/>
                      </a:cubicBezTo>
                      <a:cubicBezTo>
                        <a:pt x="6986" y="-1082"/>
                        <a:pt x="1843" y="1609"/>
                        <a:pt x="407" y="6453"/>
                      </a:cubicBezTo>
                      <a:cubicBezTo>
                        <a:pt x="-1088" y="11298"/>
                        <a:pt x="1663" y="16501"/>
                        <a:pt x="6508" y="17996"/>
                      </a:cubicBezTo>
                      <a:cubicBezTo>
                        <a:pt x="11292" y="19551"/>
                        <a:pt x="16436" y="16800"/>
                        <a:pt x="17931" y="11956"/>
                      </a:cubicBezTo>
                      <a:close/>
                    </a:path>
                  </a:pathLst>
                </a:custGeom>
                <a:grpFill/>
                <a:ln w="5978" cap="flat">
                  <a:noFill/>
                  <a:prstDash val="solid"/>
                  <a:miter/>
                </a:ln>
              </p:spPr>
              <p:txBody>
                <a:bodyPr rtlCol="0" anchor="ctr"/>
                <a:lstStyle/>
                <a:p>
                  <a:endParaRPr lang="en-GB"/>
                </a:p>
              </p:txBody>
            </p:sp>
          </p:grpSp>
          <p:grpSp>
            <p:nvGrpSpPr>
              <p:cNvPr id="952" name="Graphic 3">
                <a:extLst>
                  <a:ext uri="{FF2B5EF4-FFF2-40B4-BE49-F238E27FC236}">
                    <a16:creationId xmlns:a16="http://schemas.microsoft.com/office/drawing/2014/main" id="{E43DC0F6-A633-45BF-B8E2-232669A2A09A}"/>
                  </a:ext>
                </a:extLst>
              </p:cNvPr>
              <p:cNvGrpSpPr/>
              <p:nvPr/>
            </p:nvGrpSpPr>
            <p:grpSpPr>
              <a:xfrm>
                <a:off x="4344531" y="2108312"/>
                <a:ext cx="191750" cy="150878"/>
                <a:chOff x="4344531" y="2108312"/>
                <a:chExt cx="191750" cy="150878"/>
              </a:xfrm>
              <a:grpFill/>
            </p:grpSpPr>
            <p:sp>
              <p:nvSpPr>
                <p:cNvPr id="2543" name="Vrije vorm: vorm 2542">
                  <a:extLst>
                    <a:ext uri="{FF2B5EF4-FFF2-40B4-BE49-F238E27FC236}">
                      <a16:creationId xmlns:a16="http://schemas.microsoft.com/office/drawing/2014/main" id="{B45F7362-8D20-4FE7-BC3F-AFF91010394B}"/>
                    </a:ext>
                  </a:extLst>
                </p:cNvPr>
                <p:cNvSpPr/>
                <p:nvPr/>
              </p:nvSpPr>
              <p:spPr>
                <a:xfrm>
                  <a:off x="4352430" y="2116019"/>
                  <a:ext cx="175953" cy="135463"/>
                </a:xfrm>
                <a:custGeom>
                  <a:avLst/>
                  <a:gdLst>
                    <a:gd name="connsiteX0" fmla="*/ 175953 w 175953"/>
                    <a:gd name="connsiteY0" fmla="*/ 133011 h 135463"/>
                    <a:gd name="connsiteX1" fmla="*/ 174099 w 175953"/>
                    <a:gd name="connsiteY1" fmla="*/ 135463 h 135463"/>
                    <a:gd name="connsiteX2" fmla="*/ 0 w 175953"/>
                    <a:gd name="connsiteY2" fmla="*/ 2452 h 135463"/>
                    <a:gd name="connsiteX3" fmla="*/ 1795 w 175953"/>
                    <a:gd name="connsiteY3" fmla="*/ 0 h 135463"/>
                  </a:gdLst>
                  <a:ahLst/>
                  <a:cxnLst>
                    <a:cxn ang="0">
                      <a:pos x="connsiteX0" y="connsiteY0"/>
                    </a:cxn>
                    <a:cxn ang="0">
                      <a:pos x="connsiteX1" y="connsiteY1"/>
                    </a:cxn>
                    <a:cxn ang="0">
                      <a:pos x="connsiteX2" y="connsiteY2"/>
                    </a:cxn>
                    <a:cxn ang="0">
                      <a:pos x="connsiteX3" y="connsiteY3"/>
                    </a:cxn>
                  </a:cxnLst>
                  <a:rect l="l" t="t" r="r" b="b"/>
                  <a:pathLst>
                    <a:path w="175953" h="135463">
                      <a:moveTo>
                        <a:pt x="175953" y="133011"/>
                      </a:moveTo>
                      <a:lnTo>
                        <a:pt x="174099" y="135463"/>
                      </a:lnTo>
                      <a:lnTo>
                        <a:pt x="0" y="2452"/>
                      </a:lnTo>
                      <a:lnTo>
                        <a:pt x="1795" y="0"/>
                      </a:lnTo>
                      <a:close/>
                    </a:path>
                  </a:pathLst>
                </a:custGeom>
                <a:grpFill/>
                <a:ln w="5978" cap="flat">
                  <a:noFill/>
                  <a:prstDash val="solid"/>
                  <a:miter/>
                </a:ln>
              </p:spPr>
              <p:txBody>
                <a:bodyPr rtlCol="0" anchor="ctr"/>
                <a:lstStyle/>
                <a:p>
                  <a:endParaRPr lang="en-GB"/>
                </a:p>
              </p:txBody>
            </p:sp>
            <p:sp>
              <p:nvSpPr>
                <p:cNvPr id="2544" name="Vrije vorm: vorm 2543">
                  <a:extLst>
                    <a:ext uri="{FF2B5EF4-FFF2-40B4-BE49-F238E27FC236}">
                      <a16:creationId xmlns:a16="http://schemas.microsoft.com/office/drawing/2014/main" id="{0A14C239-5FA2-43B8-A751-38ADCD2B5CF0}"/>
                    </a:ext>
                  </a:extLst>
                </p:cNvPr>
                <p:cNvSpPr/>
                <p:nvPr/>
              </p:nvSpPr>
              <p:spPr>
                <a:xfrm>
                  <a:off x="4344531" y="2108312"/>
                  <a:ext cx="18351" cy="18421"/>
                </a:xfrm>
                <a:custGeom>
                  <a:avLst/>
                  <a:gdLst>
                    <a:gd name="connsiteX0" fmla="*/ 3653 w 18351"/>
                    <a:gd name="connsiteY0" fmla="*/ 16559 h 18421"/>
                    <a:gd name="connsiteX1" fmla="*/ 1859 w 18351"/>
                    <a:gd name="connsiteY1" fmla="*/ 3641 h 18421"/>
                    <a:gd name="connsiteX2" fmla="*/ 14717 w 18351"/>
                    <a:gd name="connsiteY2" fmla="*/ 1906 h 18421"/>
                    <a:gd name="connsiteX3" fmla="*/ 16511 w 18351"/>
                    <a:gd name="connsiteY3" fmla="*/ 14825 h 18421"/>
                    <a:gd name="connsiteX4" fmla="*/ 3653 w 18351"/>
                    <a:gd name="connsiteY4" fmla="*/ 1655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1">
                      <a:moveTo>
                        <a:pt x="3653" y="16559"/>
                      </a:moveTo>
                      <a:cubicBezTo>
                        <a:pt x="-414" y="13449"/>
                        <a:pt x="-1192" y="7707"/>
                        <a:pt x="1859" y="3641"/>
                      </a:cubicBezTo>
                      <a:cubicBezTo>
                        <a:pt x="4908" y="-426"/>
                        <a:pt x="10650" y="-1204"/>
                        <a:pt x="14717" y="1906"/>
                      </a:cubicBezTo>
                      <a:cubicBezTo>
                        <a:pt x="18724" y="5016"/>
                        <a:pt x="19561" y="10758"/>
                        <a:pt x="16511" y="14825"/>
                      </a:cubicBezTo>
                      <a:cubicBezTo>
                        <a:pt x="13401" y="18832"/>
                        <a:pt x="7660" y="19609"/>
                        <a:pt x="3653" y="16559"/>
                      </a:cubicBezTo>
                      <a:close/>
                    </a:path>
                  </a:pathLst>
                </a:custGeom>
                <a:grpFill/>
                <a:ln w="5978" cap="flat">
                  <a:noFill/>
                  <a:prstDash val="solid"/>
                  <a:miter/>
                </a:ln>
              </p:spPr>
              <p:txBody>
                <a:bodyPr rtlCol="0" anchor="ctr"/>
                <a:lstStyle/>
                <a:p>
                  <a:endParaRPr lang="en-GB"/>
                </a:p>
              </p:txBody>
            </p:sp>
            <p:sp>
              <p:nvSpPr>
                <p:cNvPr id="2545" name="Vrije vorm: vorm 2544">
                  <a:extLst>
                    <a:ext uri="{FF2B5EF4-FFF2-40B4-BE49-F238E27FC236}">
                      <a16:creationId xmlns:a16="http://schemas.microsoft.com/office/drawing/2014/main" id="{7166424C-91FD-41F8-BC60-5F52C55BB68C}"/>
                    </a:ext>
                  </a:extLst>
                </p:cNvPr>
                <p:cNvSpPr/>
                <p:nvPr/>
              </p:nvSpPr>
              <p:spPr>
                <a:xfrm>
                  <a:off x="4517930" y="2240725"/>
                  <a:ext cx="18351" cy="18465"/>
                </a:xfrm>
                <a:custGeom>
                  <a:avLst/>
                  <a:gdLst>
                    <a:gd name="connsiteX0" fmla="*/ 3635 w 18351"/>
                    <a:gd name="connsiteY0" fmla="*/ 16559 h 18465"/>
                    <a:gd name="connsiteX1" fmla="*/ 16493 w 18351"/>
                    <a:gd name="connsiteY1" fmla="*/ 14825 h 18465"/>
                    <a:gd name="connsiteX2" fmla="*/ 14699 w 18351"/>
                    <a:gd name="connsiteY2" fmla="*/ 1906 h 18465"/>
                    <a:gd name="connsiteX3" fmla="*/ 1841 w 18351"/>
                    <a:gd name="connsiteY3" fmla="*/ 3641 h 18465"/>
                    <a:gd name="connsiteX4" fmla="*/ 3635 w 18351"/>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3635" y="16559"/>
                      </a:moveTo>
                      <a:cubicBezTo>
                        <a:pt x="7642" y="19669"/>
                        <a:pt x="13443" y="18891"/>
                        <a:pt x="16493" y="14825"/>
                      </a:cubicBezTo>
                      <a:cubicBezTo>
                        <a:pt x="19544" y="10758"/>
                        <a:pt x="18766" y="5016"/>
                        <a:pt x="14699" y="1906"/>
                      </a:cubicBezTo>
                      <a:cubicBezTo>
                        <a:pt x="10632" y="-1204"/>
                        <a:pt x="4891" y="-426"/>
                        <a:pt x="1841" y="3641"/>
                      </a:cubicBezTo>
                      <a:cubicBezTo>
                        <a:pt x="-1209" y="7707"/>
                        <a:pt x="-372" y="13449"/>
                        <a:pt x="3635" y="16559"/>
                      </a:cubicBezTo>
                      <a:close/>
                    </a:path>
                  </a:pathLst>
                </a:custGeom>
                <a:grpFill/>
                <a:ln w="5978" cap="flat">
                  <a:noFill/>
                  <a:prstDash val="solid"/>
                  <a:miter/>
                </a:ln>
              </p:spPr>
              <p:txBody>
                <a:bodyPr rtlCol="0" anchor="ctr"/>
                <a:lstStyle/>
                <a:p>
                  <a:endParaRPr lang="en-GB"/>
                </a:p>
              </p:txBody>
            </p:sp>
          </p:grpSp>
          <p:grpSp>
            <p:nvGrpSpPr>
              <p:cNvPr id="953" name="Graphic 3">
                <a:extLst>
                  <a:ext uri="{FF2B5EF4-FFF2-40B4-BE49-F238E27FC236}">
                    <a16:creationId xmlns:a16="http://schemas.microsoft.com/office/drawing/2014/main" id="{33C96234-DDA7-4B82-99AF-C00F79C96720}"/>
                  </a:ext>
                </a:extLst>
              </p:cNvPr>
              <p:cNvGrpSpPr/>
              <p:nvPr/>
            </p:nvGrpSpPr>
            <p:grpSpPr>
              <a:xfrm>
                <a:off x="4419501" y="2258776"/>
                <a:ext cx="114939" cy="86742"/>
                <a:chOff x="4419501" y="2258776"/>
                <a:chExt cx="114939" cy="86742"/>
              </a:xfrm>
              <a:grpFill/>
            </p:grpSpPr>
            <p:sp>
              <p:nvSpPr>
                <p:cNvPr id="2540" name="Vrije vorm: vorm 2539">
                  <a:extLst>
                    <a:ext uri="{FF2B5EF4-FFF2-40B4-BE49-F238E27FC236}">
                      <a16:creationId xmlns:a16="http://schemas.microsoft.com/office/drawing/2014/main" id="{D0415FEE-816C-4905-856F-2B90595DEBF4}"/>
                    </a:ext>
                  </a:extLst>
                </p:cNvPr>
                <p:cNvSpPr/>
                <p:nvPr/>
              </p:nvSpPr>
              <p:spPr>
                <a:xfrm>
                  <a:off x="4427368" y="2266434"/>
                  <a:ext cx="99160" cy="71349"/>
                </a:xfrm>
                <a:custGeom>
                  <a:avLst/>
                  <a:gdLst>
                    <a:gd name="connsiteX0" fmla="*/ 99160 w 99160"/>
                    <a:gd name="connsiteY0" fmla="*/ 68838 h 71349"/>
                    <a:gd name="connsiteX1" fmla="*/ 97426 w 99160"/>
                    <a:gd name="connsiteY1" fmla="*/ 71350 h 71349"/>
                    <a:gd name="connsiteX2" fmla="*/ 0 w 99160"/>
                    <a:gd name="connsiteY2" fmla="*/ 2512 h 71349"/>
                    <a:gd name="connsiteX3" fmla="*/ 1794 w 99160"/>
                    <a:gd name="connsiteY3" fmla="*/ 0 h 71349"/>
                  </a:gdLst>
                  <a:ahLst/>
                  <a:cxnLst>
                    <a:cxn ang="0">
                      <a:pos x="connsiteX0" y="connsiteY0"/>
                    </a:cxn>
                    <a:cxn ang="0">
                      <a:pos x="connsiteX1" y="connsiteY1"/>
                    </a:cxn>
                    <a:cxn ang="0">
                      <a:pos x="connsiteX2" y="connsiteY2"/>
                    </a:cxn>
                    <a:cxn ang="0">
                      <a:pos x="connsiteX3" y="connsiteY3"/>
                    </a:cxn>
                  </a:cxnLst>
                  <a:rect l="l" t="t" r="r" b="b"/>
                  <a:pathLst>
                    <a:path w="99160" h="71349">
                      <a:moveTo>
                        <a:pt x="99160" y="68838"/>
                      </a:moveTo>
                      <a:lnTo>
                        <a:pt x="97426" y="71350"/>
                      </a:lnTo>
                      <a:lnTo>
                        <a:pt x="0" y="2512"/>
                      </a:lnTo>
                      <a:lnTo>
                        <a:pt x="1794" y="0"/>
                      </a:lnTo>
                      <a:close/>
                    </a:path>
                  </a:pathLst>
                </a:custGeom>
                <a:grpFill/>
                <a:ln w="5978" cap="flat">
                  <a:noFill/>
                  <a:prstDash val="solid"/>
                  <a:miter/>
                </a:ln>
              </p:spPr>
              <p:txBody>
                <a:bodyPr rtlCol="0" anchor="ctr"/>
                <a:lstStyle/>
                <a:p>
                  <a:endParaRPr lang="en-GB"/>
                </a:p>
              </p:txBody>
            </p:sp>
            <p:sp>
              <p:nvSpPr>
                <p:cNvPr id="2541" name="Vrije vorm: vorm 2540">
                  <a:extLst>
                    <a:ext uri="{FF2B5EF4-FFF2-40B4-BE49-F238E27FC236}">
                      <a16:creationId xmlns:a16="http://schemas.microsoft.com/office/drawing/2014/main" id="{0BEA7FB7-4690-4789-8808-2C2DFCCCE4E5}"/>
                    </a:ext>
                  </a:extLst>
                </p:cNvPr>
                <p:cNvSpPr/>
                <p:nvPr/>
              </p:nvSpPr>
              <p:spPr>
                <a:xfrm>
                  <a:off x="4516166" y="2327060"/>
                  <a:ext cx="18274" cy="18459"/>
                </a:xfrm>
                <a:custGeom>
                  <a:avLst/>
                  <a:gdLst>
                    <a:gd name="connsiteX0" fmla="*/ 14370 w 18274"/>
                    <a:gd name="connsiteY0" fmla="*/ 1694 h 18459"/>
                    <a:gd name="connsiteX1" fmla="*/ 16643 w 18274"/>
                    <a:gd name="connsiteY1" fmla="*/ 14553 h 18459"/>
                    <a:gd name="connsiteX2" fmla="*/ 3904 w 18274"/>
                    <a:gd name="connsiteY2" fmla="*/ 16765 h 18459"/>
                    <a:gd name="connsiteX3" fmla="*/ 1631 w 18274"/>
                    <a:gd name="connsiteY3" fmla="*/ 3907 h 18459"/>
                    <a:gd name="connsiteX4" fmla="*/ 14370 w 18274"/>
                    <a:gd name="connsiteY4" fmla="*/ 1694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59">
                      <a:moveTo>
                        <a:pt x="14370" y="1694"/>
                      </a:moveTo>
                      <a:cubicBezTo>
                        <a:pt x="18497" y="4625"/>
                        <a:pt x="19514" y="10366"/>
                        <a:pt x="16643" y="14553"/>
                      </a:cubicBezTo>
                      <a:cubicBezTo>
                        <a:pt x="13713" y="18739"/>
                        <a:pt x="8031" y="19696"/>
                        <a:pt x="3904" y="16765"/>
                      </a:cubicBezTo>
                      <a:cubicBezTo>
                        <a:pt x="-223" y="13835"/>
                        <a:pt x="-1239" y="8093"/>
                        <a:pt x="1631" y="3907"/>
                      </a:cubicBezTo>
                      <a:cubicBezTo>
                        <a:pt x="4502" y="-280"/>
                        <a:pt x="10244" y="-1237"/>
                        <a:pt x="14370" y="1694"/>
                      </a:cubicBezTo>
                      <a:close/>
                    </a:path>
                  </a:pathLst>
                </a:custGeom>
                <a:grpFill/>
                <a:ln w="5978" cap="flat">
                  <a:noFill/>
                  <a:prstDash val="solid"/>
                  <a:miter/>
                </a:ln>
              </p:spPr>
              <p:txBody>
                <a:bodyPr rtlCol="0" anchor="ctr"/>
                <a:lstStyle/>
                <a:p>
                  <a:endParaRPr lang="en-GB"/>
                </a:p>
              </p:txBody>
            </p:sp>
            <p:sp>
              <p:nvSpPr>
                <p:cNvPr id="2542" name="Vrije vorm: vorm 2541">
                  <a:extLst>
                    <a:ext uri="{FF2B5EF4-FFF2-40B4-BE49-F238E27FC236}">
                      <a16:creationId xmlns:a16="http://schemas.microsoft.com/office/drawing/2014/main" id="{9FADD4D4-29DC-4540-AC4C-871FD251648A}"/>
                    </a:ext>
                  </a:extLst>
                </p:cNvPr>
                <p:cNvSpPr/>
                <p:nvPr/>
              </p:nvSpPr>
              <p:spPr>
                <a:xfrm>
                  <a:off x="4419501" y="2258776"/>
                  <a:ext cx="18290" cy="18426"/>
                </a:xfrm>
                <a:custGeom>
                  <a:avLst/>
                  <a:gdLst>
                    <a:gd name="connsiteX0" fmla="*/ 14387 w 18290"/>
                    <a:gd name="connsiteY0" fmla="*/ 1677 h 18426"/>
                    <a:gd name="connsiteX1" fmla="*/ 1648 w 18290"/>
                    <a:gd name="connsiteY1" fmla="*/ 3890 h 18426"/>
                    <a:gd name="connsiteX2" fmla="*/ 3920 w 18290"/>
                    <a:gd name="connsiteY2" fmla="*/ 16749 h 18426"/>
                    <a:gd name="connsiteX3" fmla="*/ 16659 w 18290"/>
                    <a:gd name="connsiteY3" fmla="*/ 14536 h 18426"/>
                    <a:gd name="connsiteX4" fmla="*/ 14387 w 18290"/>
                    <a:gd name="connsiteY4" fmla="*/ 1677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26">
                      <a:moveTo>
                        <a:pt x="14387" y="1677"/>
                      </a:moveTo>
                      <a:cubicBezTo>
                        <a:pt x="10260" y="-1253"/>
                        <a:pt x="4519" y="-236"/>
                        <a:pt x="1648" y="3890"/>
                      </a:cubicBezTo>
                      <a:cubicBezTo>
                        <a:pt x="-1223" y="8077"/>
                        <a:pt x="-266" y="13818"/>
                        <a:pt x="3920" y="16749"/>
                      </a:cubicBezTo>
                      <a:cubicBezTo>
                        <a:pt x="8047" y="19679"/>
                        <a:pt x="13789" y="18663"/>
                        <a:pt x="16659" y="14536"/>
                      </a:cubicBezTo>
                      <a:cubicBezTo>
                        <a:pt x="19530" y="10349"/>
                        <a:pt x="18513" y="4608"/>
                        <a:pt x="14387" y="1677"/>
                      </a:cubicBezTo>
                      <a:close/>
                    </a:path>
                  </a:pathLst>
                </a:custGeom>
                <a:grpFill/>
                <a:ln w="5978" cap="flat">
                  <a:noFill/>
                  <a:prstDash val="solid"/>
                  <a:miter/>
                </a:ln>
              </p:spPr>
              <p:txBody>
                <a:bodyPr rtlCol="0" anchor="ctr"/>
                <a:lstStyle/>
                <a:p>
                  <a:endParaRPr lang="en-GB"/>
                </a:p>
              </p:txBody>
            </p:sp>
          </p:grpSp>
          <p:grpSp>
            <p:nvGrpSpPr>
              <p:cNvPr id="954" name="Graphic 3">
                <a:extLst>
                  <a:ext uri="{FF2B5EF4-FFF2-40B4-BE49-F238E27FC236}">
                    <a16:creationId xmlns:a16="http://schemas.microsoft.com/office/drawing/2014/main" id="{17357A17-97D1-4F8E-A0AA-FE97F163FEF3}"/>
                  </a:ext>
                </a:extLst>
              </p:cNvPr>
              <p:cNvGrpSpPr/>
              <p:nvPr/>
            </p:nvGrpSpPr>
            <p:grpSpPr>
              <a:xfrm>
                <a:off x="5539772" y="5406943"/>
                <a:ext cx="111919" cy="472036"/>
                <a:chOff x="5539772" y="5406943"/>
                <a:chExt cx="111919" cy="472036"/>
              </a:xfrm>
              <a:grpFill/>
            </p:grpSpPr>
            <p:sp>
              <p:nvSpPr>
                <p:cNvPr id="2537" name="Vrije vorm: vorm 2536">
                  <a:extLst>
                    <a:ext uri="{FF2B5EF4-FFF2-40B4-BE49-F238E27FC236}">
                      <a16:creationId xmlns:a16="http://schemas.microsoft.com/office/drawing/2014/main" id="{2BD0A78E-DC41-40C6-A8A5-3C43F85D5ABB}"/>
                    </a:ext>
                  </a:extLst>
                </p:cNvPr>
                <p:cNvSpPr/>
                <p:nvPr/>
              </p:nvSpPr>
              <p:spPr>
                <a:xfrm>
                  <a:off x="5547319" y="5415404"/>
                  <a:ext cx="96768" cy="455132"/>
                </a:xfrm>
                <a:custGeom>
                  <a:avLst/>
                  <a:gdLst>
                    <a:gd name="connsiteX0" fmla="*/ 96768 w 96768"/>
                    <a:gd name="connsiteY0" fmla="*/ 658 h 455132"/>
                    <a:gd name="connsiteX1" fmla="*/ 2990 w 96768"/>
                    <a:gd name="connsiteY1" fmla="*/ 455133 h 455132"/>
                    <a:gd name="connsiteX2" fmla="*/ 0 w 96768"/>
                    <a:gd name="connsiteY2" fmla="*/ 454475 h 455132"/>
                    <a:gd name="connsiteX3" fmla="*/ 93778 w 96768"/>
                    <a:gd name="connsiteY3" fmla="*/ 0 h 455132"/>
                  </a:gdLst>
                  <a:ahLst/>
                  <a:cxnLst>
                    <a:cxn ang="0">
                      <a:pos x="connsiteX0" y="connsiteY0"/>
                    </a:cxn>
                    <a:cxn ang="0">
                      <a:pos x="connsiteX1" y="connsiteY1"/>
                    </a:cxn>
                    <a:cxn ang="0">
                      <a:pos x="connsiteX2" y="connsiteY2"/>
                    </a:cxn>
                    <a:cxn ang="0">
                      <a:pos x="connsiteX3" y="connsiteY3"/>
                    </a:cxn>
                  </a:cxnLst>
                  <a:rect l="l" t="t" r="r" b="b"/>
                  <a:pathLst>
                    <a:path w="96768" h="455132">
                      <a:moveTo>
                        <a:pt x="96768" y="658"/>
                      </a:moveTo>
                      <a:lnTo>
                        <a:pt x="2990" y="455133"/>
                      </a:lnTo>
                      <a:lnTo>
                        <a:pt x="0" y="454475"/>
                      </a:lnTo>
                      <a:lnTo>
                        <a:pt x="93778" y="0"/>
                      </a:lnTo>
                      <a:close/>
                    </a:path>
                  </a:pathLst>
                </a:custGeom>
                <a:grpFill/>
                <a:ln w="5978" cap="flat">
                  <a:noFill/>
                  <a:prstDash val="solid"/>
                  <a:miter/>
                </a:ln>
              </p:spPr>
              <p:txBody>
                <a:bodyPr rtlCol="0" anchor="ctr"/>
                <a:lstStyle/>
                <a:p>
                  <a:endParaRPr lang="en-GB"/>
                </a:p>
              </p:txBody>
            </p:sp>
            <p:sp>
              <p:nvSpPr>
                <p:cNvPr id="2538" name="Vrije vorm: vorm 2537">
                  <a:extLst>
                    <a:ext uri="{FF2B5EF4-FFF2-40B4-BE49-F238E27FC236}">
                      <a16:creationId xmlns:a16="http://schemas.microsoft.com/office/drawing/2014/main" id="{ED94AABF-8833-4202-A21F-5534A6DB7D90}"/>
                    </a:ext>
                  </a:extLst>
                </p:cNvPr>
                <p:cNvSpPr/>
                <p:nvPr/>
              </p:nvSpPr>
              <p:spPr>
                <a:xfrm>
                  <a:off x="5539772" y="5860539"/>
                  <a:ext cx="18319" cy="18441"/>
                </a:xfrm>
                <a:custGeom>
                  <a:avLst/>
                  <a:gdLst>
                    <a:gd name="connsiteX0" fmla="*/ 18132 w 18319"/>
                    <a:gd name="connsiteY0" fmla="*/ 11134 h 18441"/>
                    <a:gd name="connsiteX1" fmla="*/ 7307 w 18319"/>
                    <a:gd name="connsiteY1" fmla="*/ 18252 h 18441"/>
                    <a:gd name="connsiteX2" fmla="*/ 190 w 18319"/>
                    <a:gd name="connsiteY2" fmla="*/ 7307 h 18441"/>
                    <a:gd name="connsiteX3" fmla="*/ 11015 w 18319"/>
                    <a:gd name="connsiteY3" fmla="*/ 190 h 18441"/>
                    <a:gd name="connsiteX4" fmla="*/ 18132 w 18319"/>
                    <a:gd name="connsiteY4" fmla="*/ 11134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1">
                      <a:moveTo>
                        <a:pt x="18132" y="11134"/>
                      </a:moveTo>
                      <a:cubicBezTo>
                        <a:pt x="17115" y="16099"/>
                        <a:pt x="12271" y="19268"/>
                        <a:pt x="7307" y="18252"/>
                      </a:cubicBezTo>
                      <a:cubicBezTo>
                        <a:pt x="2343" y="17175"/>
                        <a:pt x="-827" y="12331"/>
                        <a:pt x="190" y="7307"/>
                      </a:cubicBezTo>
                      <a:cubicBezTo>
                        <a:pt x="1207" y="2343"/>
                        <a:pt x="6051" y="-827"/>
                        <a:pt x="11015" y="190"/>
                      </a:cubicBezTo>
                      <a:cubicBezTo>
                        <a:pt x="15919" y="1266"/>
                        <a:pt x="19149" y="6170"/>
                        <a:pt x="18132" y="11134"/>
                      </a:cubicBezTo>
                      <a:close/>
                    </a:path>
                  </a:pathLst>
                </a:custGeom>
                <a:grpFill/>
                <a:ln w="5978" cap="flat">
                  <a:noFill/>
                  <a:prstDash val="solid"/>
                  <a:miter/>
                </a:ln>
              </p:spPr>
              <p:txBody>
                <a:bodyPr rtlCol="0" anchor="ctr"/>
                <a:lstStyle/>
                <a:p>
                  <a:endParaRPr lang="en-GB"/>
                </a:p>
              </p:txBody>
            </p:sp>
            <p:sp>
              <p:nvSpPr>
                <p:cNvPr id="2539" name="Vrije vorm: vorm 2538">
                  <a:extLst>
                    <a:ext uri="{FF2B5EF4-FFF2-40B4-BE49-F238E27FC236}">
                      <a16:creationId xmlns:a16="http://schemas.microsoft.com/office/drawing/2014/main" id="{6DCC368E-60C8-4FE6-A613-29E78A38D404}"/>
                    </a:ext>
                  </a:extLst>
                </p:cNvPr>
                <p:cNvSpPr/>
                <p:nvPr/>
              </p:nvSpPr>
              <p:spPr>
                <a:xfrm>
                  <a:off x="5633371" y="5406943"/>
                  <a:ext cx="18321" cy="18458"/>
                </a:xfrm>
                <a:custGeom>
                  <a:avLst/>
                  <a:gdLst>
                    <a:gd name="connsiteX0" fmla="*/ 18132 w 18321"/>
                    <a:gd name="connsiteY0" fmla="*/ 11152 h 18458"/>
                    <a:gd name="connsiteX1" fmla="*/ 11015 w 18321"/>
                    <a:gd name="connsiteY1" fmla="*/ 207 h 18458"/>
                    <a:gd name="connsiteX2" fmla="*/ 190 w 18321"/>
                    <a:gd name="connsiteY2" fmla="*/ 7324 h 18458"/>
                    <a:gd name="connsiteX3" fmla="*/ 7307 w 18321"/>
                    <a:gd name="connsiteY3" fmla="*/ 18269 h 18458"/>
                    <a:gd name="connsiteX4" fmla="*/ 18132 w 18321"/>
                    <a:gd name="connsiteY4" fmla="*/ 1115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58">
                      <a:moveTo>
                        <a:pt x="18132" y="11152"/>
                      </a:moveTo>
                      <a:cubicBezTo>
                        <a:pt x="19148" y="6188"/>
                        <a:pt x="15979" y="1284"/>
                        <a:pt x="11015" y="207"/>
                      </a:cubicBezTo>
                      <a:cubicBezTo>
                        <a:pt x="6051" y="-869"/>
                        <a:pt x="1206" y="2360"/>
                        <a:pt x="190" y="7324"/>
                      </a:cubicBezTo>
                      <a:cubicBezTo>
                        <a:pt x="-827" y="12288"/>
                        <a:pt x="2343" y="17192"/>
                        <a:pt x="7307" y="18269"/>
                      </a:cubicBezTo>
                      <a:cubicBezTo>
                        <a:pt x="12211" y="19286"/>
                        <a:pt x="17115" y="16116"/>
                        <a:pt x="18132" y="11152"/>
                      </a:cubicBezTo>
                      <a:close/>
                    </a:path>
                  </a:pathLst>
                </a:custGeom>
                <a:grpFill/>
                <a:ln w="5978" cap="flat">
                  <a:noFill/>
                  <a:prstDash val="solid"/>
                  <a:miter/>
                </a:ln>
              </p:spPr>
              <p:txBody>
                <a:bodyPr rtlCol="0" anchor="ctr"/>
                <a:lstStyle/>
                <a:p>
                  <a:endParaRPr lang="en-GB"/>
                </a:p>
              </p:txBody>
            </p:sp>
          </p:grpSp>
          <p:grpSp>
            <p:nvGrpSpPr>
              <p:cNvPr id="955" name="Graphic 3">
                <a:extLst>
                  <a:ext uri="{FF2B5EF4-FFF2-40B4-BE49-F238E27FC236}">
                    <a16:creationId xmlns:a16="http://schemas.microsoft.com/office/drawing/2014/main" id="{18CD6A8F-A681-4ACD-9753-C0F3445CE210}"/>
                  </a:ext>
                </a:extLst>
              </p:cNvPr>
              <p:cNvGrpSpPr/>
              <p:nvPr/>
            </p:nvGrpSpPr>
            <p:grpSpPr>
              <a:xfrm>
                <a:off x="5351454" y="4966572"/>
                <a:ext cx="72871" cy="151234"/>
                <a:chOff x="5351454" y="4966572"/>
                <a:chExt cx="72871" cy="151234"/>
              </a:xfrm>
              <a:grpFill/>
            </p:grpSpPr>
            <p:sp>
              <p:nvSpPr>
                <p:cNvPr id="2534" name="Vrije vorm: vorm 2533">
                  <a:extLst>
                    <a:ext uri="{FF2B5EF4-FFF2-40B4-BE49-F238E27FC236}">
                      <a16:creationId xmlns:a16="http://schemas.microsoft.com/office/drawing/2014/main" id="{F7102BC2-2E2E-4E8D-A552-63016B9E15C0}"/>
                    </a:ext>
                  </a:extLst>
                </p:cNvPr>
                <p:cNvSpPr/>
                <p:nvPr/>
              </p:nvSpPr>
              <p:spPr>
                <a:xfrm>
                  <a:off x="5359045" y="4974685"/>
                  <a:ext cx="57714" cy="134865"/>
                </a:xfrm>
                <a:custGeom>
                  <a:avLst/>
                  <a:gdLst>
                    <a:gd name="connsiteX0" fmla="*/ 57714 w 57714"/>
                    <a:gd name="connsiteY0" fmla="*/ 1196 h 134865"/>
                    <a:gd name="connsiteX1" fmla="*/ 2811 w 57714"/>
                    <a:gd name="connsiteY1" fmla="*/ 134865 h 134865"/>
                    <a:gd name="connsiteX2" fmla="*/ 0 w 57714"/>
                    <a:gd name="connsiteY2" fmla="*/ 133729 h 134865"/>
                    <a:gd name="connsiteX3" fmla="*/ 54903 w 57714"/>
                    <a:gd name="connsiteY3" fmla="*/ 0 h 134865"/>
                  </a:gdLst>
                  <a:ahLst/>
                  <a:cxnLst>
                    <a:cxn ang="0">
                      <a:pos x="connsiteX0" y="connsiteY0"/>
                    </a:cxn>
                    <a:cxn ang="0">
                      <a:pos x="connsiteX1" y="connsiteY1"/>
                    </a:cxn>
                    <a:cxn ang="0">
                      <a:pos x="connsiteX2" y="connsiteY2"/>
                    </a:cxn>
                    <a:cxn ang="0">
                      <a:pos x="connsiteX3" y="connsiteY3"/>
                    </a:cxn>
                  </a:cxnLst>
                  <a:rect l="l" t="t" r="r" b="b"/>
                  <a:pathLst>
                    <a:path w="57714" h="134865">
                      <a:moveTo>
                        <a:pt x="57714" y="1196"/>
                      </a:moveTo>
                      <a:lnTo>
                        <a:pt x="2811" y="134865"/>
                      </a:lnTo>
                      <a:lnTo>
                        <a:pt x="0" y="133729"/>
                      </a:lnTo>
                      <a:lnTo>
                        <a:pt x="54903" y="0"/>
                      </a:lnTo>
                      <a:close/>
                    </a:path>
                  </a:pathLst>
                </a:custGeom>
                <a:grpFill/>
                <a:ln w="5978" cap="flat">
                  <a:noFill/>
                  <a:prstDash val="solid"/>
                  <a:miter/>
                </a:ln>
              </p:spPr>
              <p:txBody>
                <a:bodyPr rtlCol="0" anchor="ctr"/>
                <a:lstStyle/>
                <a:p>
                  <a:endParaRPr lang="en-GB"/>
                </a:p>
              </p:txBody>
            </p:sp>
            <p:sp>
              <p:nvSpPr>
                <p:cNvPr id="2535" name="Vrije vorm: vorm 2534">
                  <a:extLst>
                    <a:ext uri="{FF2B5EF4-FFF2-40B4-BE49-F238E27FC236}">
                      <a16:creationId xmlns:a16="http://schemas.microsoft.com/office/drawing/2014/main" id="{15031742-1C3A-4A5D-A5B1-DD4617B309B4}"/>
                    </a:ext>
                  </a:extLst>
                </p:cNvPr>
                <p:cNvSpPr/>
                <p:nvPr/>
              </p:nvSpPr>
              <p:spPr>
                <a:xfrm>
                  <a:off x="5351454" y="5099387"/>
                  <a:ext cx="18351" cy="18420"/>
                </a:xfrm>
                <a:custGeom>
                  <a:avLst/>
                  <a:gdLst>
                    <a:gd name="connsiteX0" fmla="*/ 17639 w 18351"/>
                    <a:gd name="connsiteY0" fmla="*/ 12734 h 18420"/>
                    <a:gd name="connsiteX1" fmla="*/ 5677 w 18351"/>
                    <a:gd name="connsiteY1" fmla="*/ 17699 h 18420"/>
                    <a:gd name="connsiteX2" fmla="*/ 713 w 18351"/>
                    <a:gd name="connsiteY2" fmla="*/ 5677 h 18420"/>
                    <a:gd name="connsiteX3" fmla="*/ 12675 w 18351"/>
                    <a:gd name="connsiteY3" fmla="*/ 713 h 18420"/>
                    <a:gd name="connsiteX4" fmla="*/ 17639 w 18351"/>
                    <a:gd name="connsiteY4" fmla="*/ 1273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0">
                      <a:moveTo>
                        <a:pt x="17639" y="12734"/>
                      </a:moveTo>
                      <a:cubicBezTo>
                        <a:pt x="15725" y="17459"/>
                        <a:pt x="10342" y="19672"/>
                        <a:pt x="5677" y="17699"/>
                      </a:cubicBezTo>
                      <a:cubicBezTo>
                        <a:pt x="1012" y="15725"/>
                        <a:pt x="-1260" y="10342"/>
                        <a:pt x="713" y="5677"/>
                      </a:cubicBezTo>
                      <a:cubicBezTo>
                        <a:pt x="2687" y="1012"/>
                        <a:pt x="8010" y="-1260"/>
                        <a:pt x="12675" y="713"/>
                      </a:cubicBezTo>
                      <a:cubicBezTo>
                        <a:pt x="17340" y="2687"/>
                        <a:pt x="19612" y="8010"/>
                        <a:pt x="17639" y="12734"/>
                      </a:cubicBezTo>
                      <a:close/>
                    </a:path>
                  </a:pathLst>
                </a:custGeom>
                <a:grpFill/>
                <a:ln w="5978" cap="flat">
                  <a:noFill/>
                  <a:prstDash val="solid"/>
                  <a:miter/>
                </a:ln>
              </p:spPr>
              <p:txBody>
                <a:bodyPr rtlCol="0" anchor="ctr"/>
                <a:lstStyle/>
                <a:p>
                  <a:endParaRPr lang="en-GB"/>
                </a:p>
              </p:txBody>
            </p:sp>
            <p:sp>
              <p:nvSpPr>
                <p:cNvPr id="2536" name="Vrije vorm: vorm 2535">
                  <a:extLst>
                    <a:ext uri="{FF2B5EF4-FFF2-40B4-BE49-F238E27FC236}">
                      <a16:creationId xmlns:a16="http://schemas.microsoft.com/office/drawing/2014/main" id="{2BD959EB-E773-41F9-AC87-65445169207B}"/>
                    </a:ext>
                  </a:extLst>
                </p:cNvPr>
                <p:cNvSpPr/>
                <p:nvPr/>
              </p:nvSpPr>
              <p:spPr>
                <a:xfrm>
                  <a:off x="5406024" y="4966572"/>
                  <a:ext cx="18301" cy="18369"/>
                </a:xfrm>
                <a:custGeom>
                  <a:avLst/>
                  <a:gdLst>
                    <a:gd name="connsiteX0" fmla="*/ 17614 w 18301"/>
                    <a:gd name="connsiteY0" fmla="*/ 12717 h 18369"/>
                    <a:gd name="connsiteX1" fmla="*/ 12650 w 18301"/>
                    <a:gd name="connsiteY1" fmla="*/ 696 h 18369"/>
                    <a:gd name="connsiteX2" fmla="*/ 688 w 18301"/>
                    <a:gd name="connsiteY2" fmla="*/ 5660 h 18369"/>
                    <a:gd name="connsiteX3" fmla="*/ 5652 w 18301"/>
                    <a:gd name="connsiteY3" fmla="*/ 17681 h 18369"/>
                    <a:gd name="connsiteX4" fmla="*/ 17614 w 18301"/>
                    <a:gd name="connsiteY4" fmla="*/ 12717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69">
                      <a:moveTo>
                        <a:pt x="17614" y="12717"/>
                      </a:moveTo>
                      <a:cubicBezTo>
                        <a:pt x="19527" y="7993"/>
                        <a:pt x="17314" y="2610"/>
                        <a:pt x="12650" y="696"/>
                      </a:cubicBezTo>
                      <a:cubicBezTo>
                        <a:pt x="7985" y="-1218"/>
                        <a:pt x="2602" y="935"/>
                        <a:pt x="688" y="5660"/>
                      </a:cubicBezTo>
                      <a:cubicBezTo>
                        <a:pt x="-1226" y="10385"/>
                        <a:pt x="987" y="15768"/>
                        <a:pt x="5652" y="17681"/>
                      </a:cubicBezTo>
                      <a:cubicBezTo>
                        <a:pt x="10317" y="19595"/>
                        <a:pt x="15700" y="17382"/>
                        <a:pt x="17614" y="12717"/>
                      </a:cubicBezTo>
                      <a:close/>
                    </a:path>
                  </a:pathLst>
                </a:custGeom>
                <a:grpFill/>
                <a:ln w="5978" cap="flat">
                  <a:noFill/>
                  <a:prstDash val="solid"/>
                  <a:miter/>
                </a:ln>
              </p:spPr>
              <p:txBody>
                <a:bodyPr rtlCol="0" anchor="ctr"/>
                <a:lstStyle/>
                <a:p>
                  <a:endParaRPr lang="en-GB"/>
                </a:p>
              </p:txBody>
            </p:sp>
          </p:grpSp>
          <p:grpSp>
            <p:nvGrpSpPr>
              <p:cNvPr id="956" name="Graphic 3">
                <a:extLst>
                  <a:ext uri="{FF2B5EF4-FFF2-40B4-BE49-F238E27FC236}">
                    <a16:creationId xmlns:a16="http://schemas.microsoft.com/office/drawing/2014/main" id="{48C65D65-D5C0-4041-9854-BDBE6F1AFD6D}"/>
                  </a:ext>
                </a:extLst>
              </p:cNvPr>
              <p:cNvGrpSpPr/>
              <p:nvPr/>
            </p:nvGrpSpPr>
            <p:grpSpPr>
              <a:xfrm>
                <a:off x="4434795" y="2313947"/>
                <a:ext cx="107093" cy="78715"/>
                <a:chOff x="4434795" y="2313947"/>
                <a:chExt cx="107093" cy="78715"/>
              </a:xfrm>
              <a:grpFill/>
            </p:grpSpPr>
            <p:sp>
              <p:nvSpPr>
                <p:cNvPr id="2531" name="Vrije vorm: vorm 2530">
                  <a:extLst>
                    <a:ext uri="{FF2B5EF4-FFF2-40B4-BE49-F238E27FC236}">
                      <a16:creationId xmlns:a16="http://schemas.microsoft.com/office/drawing/2014/main" id="{9177A74B-741A-4AEE-82E3-BF74F34B3555}"/>
                    </a:ext>
                  </a:extLst>
                </p:cNvPr>
                <p:cNvSpPr/>
                <p:nvPr/>
              </p:nvSpPr>
              <p:spPr>
                <a:xfrm>
                  <a:off x="4442739" y="2321637"/>
                  <a:ext cx="91206" cy="63335"/>
                </a:xfrm>
                <a:custGeom>
                  <a:avLst/>
                  <a:gdLst>
                    <a:gd name="connsiteX0" fmla="*/ 91206 w 91206"/>
                    <a:gd name="connsiteY0" fmla="*/ 60764 h 63335"/>
                    <a:gd name="connsiteX1" fmla="*/ 89531 w 91206"/>
                    <a:gd name="connsiteY1" fmla="*/ 63336 h 63335"/>
                    <a:gd name="connsiteX2" fmla="*/ 0 w 91206"/>
                    <a:gd name="connsiteY2" fmla="*/ 2512 h 63335"/>
                    <a:gd name="connsiteX3" fmla="*/ 1674 w 91206"/>
                    <a:gd name="connsiteY3" fmla="*/ 0 h 63335"/>
                  </a:gdLst>
                  <a:ahLst/>
                  <a:cxnLst>
                    <a:cxn ang="0">
                      <a:pos x="connsiteX0" y="connsiteY0"/>
                    </a:cxn>
                    <a:cxn ang="0">
                      <a:pos x="connsiteX1" y="connsiteY1"/>
                    </a:cxn>
                    <a:cxn ang="0">
                      <a:pos x="connsiteX2" y="connsiteY2"/>
                    </a:cxn>
                    <a:cxn ang="0">
                      <a:pos x="connsiteX3" y="connsiteY3"/>
                    </a:cxn>
                  </a:cxnLst>
                  <a:rect l="l" t="t" r="r" b="b"/>
                  <a:pathLst>
                    <a:path w="91206" h="63335">
                      <a:moveTo>
                        <a:pt x="91206" y="60764"/>
                      </a:moveTo>
                      <a:lnTo>
                        <a:pt x="89531" y="63336"/>
                      </a:lnTo>
                      <a:lnTo>
                        <a:pt x="0" y="2512"/>
                      </a:lnTo>
                      <a:lnTo>
                        <a:pt x="1674" y="0"/>
                      </a:lnTo>
                      <a:close/>
                    </a:path>
                  </a:pathLst>
                </a:custGeom>
                <a:grpFill/>
                <a:ln w="5978" cap="flat">
                  <a:noFill/>
                  <a:prstDash val="solid"/>
                  <a:miter/>
                </a:ln>
              </p:spPr>
              <p:txBody>
                <a:bodyPr rtlCol="0" anchor="ctr"/>
                <a:lstStyle/>
                <a:p>
                  <a:endParaRPr lang="en-GB"/>
                </a:p>
              </p:txBody>
            </p:sp>
            <p:sp>
              <p:nvSpPr>
                <p:cNvPr id="2532" name="Vrije vorm: vorm 2531">
                  <a:extLst>
                    <a:ext uri="{FF2B5EF4-FFF2-40B4-BE49-F238E27FC236}">
                      <a16:creationId xmlns:a16="http://schemas.microsoft.com/office/drawing/2014/main" id="{4B5BD220-C9F9-4BD7-8113-F6D6BB633B90}"/>
                    </a:ext>
                  </a:extLst>
                </p:cNvPr>
                <p:cNvSpPr/>
                <p:nvPr/>
              </p:nvSpPr>
              <p:spPr>
                <a:xfrm>
                  <a:off x="4523549" y="2374232"/>
                  <a:ext cx="18339" cy="18429"/>
                </a:xfrm>
                <a:custGeom>
                  <a:avLst/>
                  <a:gdLst>
                    <a:gd name="connsiteX0" fmla="*/ 14283 w 18339"/>
                    <a:gd name="connsiteY0" fmla="*/ 1590 h 18429"/>
                    <a:gd name="connsiteX1" fmla="*/ 16795 w 18339"/>
                    <a:gd name="connsiteY1" fmla="*/ 14388 h 18429"/>
                    <a:gd name="connsiteX2" fmla="*/ 4056 w 18339"/>
                    <a:gd name="connsiteY2" fmla="*/ 16840 h 18429"/>
                    <a:gd name="connsiteX3" fmla="*/ 1544 w 18339"/>
                    <a:gd name="connsiteY3" fmla="*/ 4042 h 18429"/>
                    <a:gd name="connsiteX4" fmla="*/ 14283 w 18339"/>
                    <a:gd name="connsiteY4" fmla="*/ 159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14283" y="1590"/>
                      </a:moveTo>
                      <a:cubicBezTo>
                        <a:pt x="18470" y="4460"/>
                        <a:pt x="19606" y="10202"/>
                        <a:pt x="16795" y="14388"/>
                      </a:cubicBezTo>
                      <a:cubicBezTo>
                        <a:pt x="13984" y="18575"/>
                        <a:pt x="8303" y="19711"/>
                        <a:pt x="4056" y="16840"/>
                      </a:cubicBezTo>
                      <a:cubicBezTo>
                        <a:pt x="-130" y="13970"/>
                        <a:pt x="-1266" y="8288"/>
                        <a:pt x="1544" y="4042"/>
                      </a:cubicBezTo>
                      <a:cubicBezTo>
                        <a:pt x="4415" y="-145"/>
                        <a:pt x="10097" y="-1281"/>
                        <a:pt x="14283" y="1590"/>
                      </a:cubicBezTo>
                      <a:close/>
                    </a:path>
                  </a:pathLst>
                </a:custGeom>
                <a:grpFill/>
                <a:ln w="5978" cap="flat">
                  <a:noFill/>
                  <a:prstDash val="solid"/>
                  <a:miter/>
                </a:ln>
              </p:spPr>
              <p:txBody>
                <a:bodyPr rtlCol="0" anchor="ctr"/>
                <a:lstStyle/>
                <a:p>
                  <a:endParaRPr lang="en-GB"/>
                </a:p>
              </p:txBody>
            </p:sp>
            <p:sp>
              <p:nvSpPr>
                <p:cNvPr id="2533" name="Vrije vorm: vorm 2532">
                  <a:extLst>
                    <a:ext uri="{FF2B5EF4-FFF2-40B4-BE49-F238E27FC236}">
                      <a16:creationId xmlns:a16="http://schemas.microsoft.com/office/drawing/2014/main" id="{D696E6CF-9AB7-4625-B4B5-97A470A4ED44}"/>
                    </a:ext>
                  </a:extLst>
                </p:cNvPr>
                <p:cNvSpPr/>
                <p:nvPr/>
              </p:nvSpPr>
              <p:spPr>
                <a:xfrm>
                  <a:off x="4434795" y="2313947"/>
                  <a:ext cx="18339" cy="18429"/>
                </a:xfrm>
                <a:custGeom>
                  <a:avLst/>
                  <a:gdLst>
                    <a:gd name="connsiteX0" fmla="*/ 14284 w 18339"/>
                    <a:gd name="connsiteY0" fmla="*/ 1589 h 18429"/>
                    <a:gd name="connsiteX1" fmla="*/ 1545 w 18339"/>
                    <a:gd name="connsiteY1" fmla="*/ 4042 h 18429"/>
                    <a:gd name="connsiteX2" fmla="*/ 4056 w 18339"/>
                    <a:gd name="connsiteY2" fmla="*/ 16840 h 18429"/>
                    <a:gd name="connsiteX3" fmla="*/ 16795 w 18339"/>
                    <a:gd name="connsiteY3" fmla="*/ 14388 h 18429"/>
                    <a:gd name="connsiteX4" fmla="*/ 14284 w 18339"/>
                    <a:gd name="connsiteY4" fmla="*/ 158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14284" y="1589"/>
                      </a:moveTo>
                      <a:cubicBezTo>
                        <a:pt x="10097" y="-1281"/>
                        <a:pt x="4415" y="-145"/>
                        <a:pt x="1545" y="4042"/>
                      </a:cubicBezTo>
                      <a:cubicBezTo>
                        <a:pt x="-1267" y="8228"/>
                        <a:pt x="-130" y="13970"/>
                        <a:pt x="4056" y="16840"/>
                      </a:cubicBezTo>
                      <a:cubicBezTo>
                        <a:pt x="8243" y="19711"/>
                        <a:pt x="13925" y="18575"/>
                        <a:pt x="16795" y="14388"/>
                      </a:cubicBezTo>
                      <a:cubicBezTo>
                        <a:pt x="19607" y="10202"/>
                        <a:pt x="18470" y="4460"/>
                        <a:pt x="14284" y="1589"/>
                      </a:cubicBezTo>
                      <a:close/>
                    </a:path>
                  </a:pathLst>
                </a:custGeom>
                <a:grpFill/>
                <a:ln w="5978" cap="flat">
                  <a:noFill/>
                  <a:prstDash val="solid"/>
                  <a:miter/>
                </a:ln>
              </p:spPr>
              <p:txBody>
                <a:bodyPr rtlCol="0" anchor="ctr"/>
                <a:lstStyle/>
                <a:p>
                  <a:endParaRPr lang="en-GB"/>
                </a:p>
              </p:txBody>
            </p:sp>
          </p:grpSp>
          <p:grpSp>
            <p:nvGrpSpPr>
              <p:cNvPr id="957" name="Graphic 3">
                <a:extLst>
                  <a:ext uri="{FF2B5EF4-FFF2-40B4-BE49-F238E27FC236}">
                    <a16:creationId xmlns:a16="http://schemas.microsoft.com/office/drawing/2014/main" id="{7A116B8B-2D3D-4696-A4A7-C25B8A2E73C7}"/>
                  </a:ext>
                </a:extLst>
              </p:cNvPr>
              <p:cNvGrpSpPr/>
              <p:nvPr/>
            </p:nvGrpSpPr>
            <p:grpSpPr>
              <a:xfrm>
                <a:off x="4365690" y="2220722"/>
                <a:ext cx="168765" cy="124720"/>
                <a:chOff x="4365690" y="2220722"/>
                <a:chExt cx="168765" cy="124720"/>
              </a:xfrm>
              <a:grpFill/>
            </p:grpSpPr>
            <p:sp>
              <p:nvSpPr>
                <p:cNvPr id="2528" name="Vrije vorm: vorm 2527">
                  <a:extLst>
                    <a:ext uri="{FF2B5EF4-FFF2-40B4-BE49-F238E27FC236}">
                      <a16:creationId xmlns:a16="http://schemas.microsoft.com/office/drawing/2014/main" id="{E8018FDC-ED5F-4496-AC17-D86D63CEAF11}"/>
                    </a:ext>
                  </a:extLst>
                </p:cNvPr>
                <p:cNvSpPr/>
                <p:nvPr/>
              </p:nvSpPr>
              <p:spPr>
                <a:xfrm>
                  <a:off x="4373542" y="2228397"/>
                  <a:ext cx="152986" cy="109387"/>
                </a:xfrm>
                <a:custGeom>
                  <a:avLst/>
                  <a:gdLst>
                    <a:gd name="connsiteX0" fmla="*/ 152987 w 152986"/>
                    <a:gd name="connsiteY0" fmla="*/ 106876 h 109387"/>
                    <a:gd name="connsiteX1" fmla="*/ 151252 w 152986"/>
                    <a:gd name="connsiteY1" fmla="*/ 109387 h 109387"/>
                    <a:gd name="connsiteX2" fmla="*/ 0 w 152986"/>
                    <a:gd name="connsiteY2" fmla="*/ 2512 h 109387"/>
                    <a:gd name="connsiteX3" fmla="*/ 1794 w 152986"/>
                    <a:gd name="connsiteY3" fmla="*/ 0 h 109387"/>
                  </a:gdLst>
                  <a:ahLst/>
                  <a:cxnLst>
                    <a:cxn ang="0">
                      <a:pos x="connsiteX0" y="connsiteY0"/>
                    </a:cxn>
                    <a:cxn ang="0">
                      <a:pos x="connsiteX1" y="connsiteY1"/>
                    </a:cxn>
                    <a:cxn ang="0">
                      <a:pos x="connsiteX2" y="connsiteY2"/>
                    </a:cxn>
                    <a:cxn ang="0">
                      <a:pos x="connsiteX3" y="connsiteY3"/>
                    </a:cxn>
                  </a:cxnLst>
                  <a:rect l="l" t="t" r="r" b="b"/>
                  <a:pathLst>
                    <a:path w="152986" h="109387">
                      <a:moveTo>
                        <a:pt x="152987" y="106876"/>
                      </a:moveTo>
                      <a:lnTo>
                        <a:pt x="151252" y="109387"/>
                      </a:lnTo>
                      <a:lnTo>
                        <a:pt x="0" y="2512"/>
                      </a:lnTo>
                      <a:lnTo>
                        <a:pt x="1794" y="0"/>
                      </a:lnTo>
                      <a:close/>
                    </a:path>
                  </a:pathLst>
                </a:custGeom>
                <a:grpFill/>
                <a:ln w="5978" cap="flat">
                  <a:noFill/>
                  <a:prstDash val="solid"/>
                  <a:miter/>
                </a:ln>
              </p:spPr>
              <p:txBody>
                <a:bodyPr rtlCol="0" anchor="ctr"/>
                <a:lstStyle/>
                <a:p>
                  <a:endParaRPr lang="en-GB"/>
                </a:p>
              </p:txBody>
            </p:sp>
            <p:sp>
              <p:nvSpPr>
                <p:cNvPr id="2529" name="Vrije vorm: vorm 2528">
                  <a:extLst>
                    <a:ext uri="{FF2B5EF4-FFF2-40B4-BE49-F238E27FC236}">
                      <a16:creationId xmlns:a16="http://schemas.microsoft.com/office/drawing/2014/main" id="{8BA8842A-049F-4C13-9491-1C63B5556155}"/>
                    </a:ext>
                  </a:extLst>
                </p:cNvPr>
                <p:cNvSpPr/>
                <p:nvPr/>
              </p:nvSpPr>
              <p:spPr>
                <a:xfrm>
                  <a:off x="4365690" y="2220722"/>
                  <a:ext cx="18274" cy="18442"/>
                </a:xfrm>
                <a:custGeom>
                  <a:avLst/>
                  <a:gdLst>
                    <a:gd name="connsiteX0" fmla="*/ 3904 w 18274"/>
                    <a:gd name="connsiteY0" fmla="*/ 16765 h 18442"/>
                    <a:gd name="connsiteX1" fmla="*/ 1632 w 18274"/>
                    <a:gd name="connsiteY1" fmla="*/ 3907 h 18442"/>
                    <a:gd name="connsiteX2" fmla="*/ 14370 w 18274"/>
                    <a:gd name="connsiteY2" fmla="*/ 1694 h 18442"/>
                    <a:gd name="connsiteX3" fmla="*/ 16643 w 18274"/>
                    <a:gd name="connsiteY3" fmla="*/ 14553 h 18442"/>
                    <a:gd name="connsiteX4" fmla="*/ 3904 w 18274"/>
                    <a:gd name="connsiteY4" fmla="*/ 16765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2">
                      <a:moveTo>
                        <a:pt x="3904" y="16765"/>
                      </a:moveTo>
                      <a:cubicBezTo>
                        <a:pt x="-223" y="13835"/>
                        <a:pt x="-1239" y="8093"/>
                        <a:pt x="1632" y="3907"/>
                      </a:cubicBezTo>
                      <a:cubicBezTo>
                        <a:pt x="4502" y="-280"/>
                        <a:pt x="10244" y="-1237"/>
                        <a:pt x="14370" y="1694"/>
                      </a:cubicBezTo>
                      <a:cubicBezTo>
                        <a:pt x="18497" y="4624"/>
                        <a:pt x="19514" y="10366"/>
                        <a:pt x="16643" y="14553"/>
                      </a:cubicBezTo>
                      <a:cubicBezTo>
                        <a:pt x="13712" y="18679"/>
                        <a:pt x="8031" y="19696"/>
                        <a:pt x="3904" y="16765"/>
                      </a:cubicBezTo>
                      <a:close/>
                    </a:path>
                  </a:pathLst>
                </a:custGeom>
                <a:grpFill/>
                <a:ln w="5978" cap="flat">
                  <a:noFill/>
                  <a:prstDash val="solid"/>
                  <a:miter/>
                </a:ln>
              </p:spPr>
              <p:txBody>
                <a:bodyPr rtlCol="0" anchor="ctr"/>
                <a:lstStyle/>
                <a:p>
                  <a:endParaRPr lang="en-GB"/>
                </a:p>
              </p:txBody>
            </p:sp>
            <p:sp>
              <p:nvSpPr>
                <p:cNvPr id="2530" name="Vrije vorm: vorm 2529">
                  <a:extLst>
                    <a:ext uri="{FF2B5EF4-FFF2-40B4-BE49-F238E27FC236}">
                      <a16:creationId xmlns:a16="http://schemas.microsoft.com/office/drawing/2014/main" id="{D66327E1-947F-4E86-852E-A96F1351189F}"/>
                    </a:ext>
                  </a:extLst>
                </p:cNvPr>
                <p:cNvSpPr/>
                <p:nvPr/>
              </p:nvSpPr>
              <p:spPr>
                <a:xfrm>
                  <a:off x="4516149" y="2327016"/>
                  <a:ext cx="18307" cy="18426"/>
                </a:xfrm>
                <a:custGeom>
                  <a:avLst/>
                  <a:gdLst>
                    <a:gd name="connsiteX0" fmla="*/ 3920 w 18307"/>
                    <a:gd name="connsiteY0" fmla="*/ 16749 h 18426"/>
                    <a:gd name="connsiteX1" fmla="*/ 16659 w 18307"/>
                    <a:gd name="connsiteY1" fmla="*/ 14536 h 18426"/>
                    <a:gd name="connsiteX2" fmla="*/ 14387 w 18307"/>
                    <a:gd name="connsiteY2" fmla="*/ 1677 h 18426"/>
                    <a:gd name="connsiteX3" fmla="*/ 1648 w 18307"/>
                    <a:gd name="connsiteY3" fmla="*/ 3890 h 18426"/>
                    <a:gd name="connsiteX4" fmla="*/ 3920 w 18307"/>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3920" y="16749"/>
                      </a:moveTo>
                      <a:cubicBezTo>
                        <a:pt x="8047" y="19679"/>
                        <a:pt x="13788" y="18663"/>
                        <a:pt x="16659" y="14536"/>
                      </a:cubicBezTo>
                      <a:cubicBezTo>
                        <a:pt x="19530" y="10349"/>
                        <a:pt x="18573" y="4608"/>
                        <a:pt x="14387" y="1677"/>
                      </a:cubicBezTo>
                      <a:cubicBezTo>
                        <a:pt x="10260" y="-1253"/>
                        <a:pt x="4518" y="-237"/>
                        <a:pt x="1648" y="3890"/>
                      </a:cubicBezTo>
                      <a:cubicBezTo>
                        <a:pt x="-1223" y="8077"/>
                        <a:pt x="-266" y="13818"/>
                        <a:pt x="3920" y="16749"/>
                      </a:cubicBezTo>
                      <a:close/>
                    </a:path>
                  </a:pathLst>
                </a:custGeom>
                <a:grpFill/>
                <a:ln w="5978" cap="flat">
                  <a:noFill/>
                  <a:prstDash val="solid"/>
                  <a:miter/>
                </a:ln>
              </p:spPr>
              <p:txBody>
                <a:bodyPr rtlCol="0" anchor="ctr"/>
                <a:lstStyle/>
                <a:p>
                  <a:endParaRPr lang="en-GB"/>
                </a:p>
              </p:txBody>
            </p:sp>
          </p:grpSp>
          <p:grpSp>
            <p:nvGrpSpPr>
              <p:cNvPr id="958" name="Graphic 3">
                <a:extLst>
                  <a:ext uri="{FF2B5EF4-FFF2-40B4-BE49-F238E27FC236}">
                    <a16:creationId xmlns:a16="http://schemas.microsoft.com/office/drawing/2014/main" id="{D11CFD24-A60B-4C23-A9D8-026931A6D88D}"/>
                  </a:ext>
                </a:extLst>
              </p:cNvPr>
              <p:cNvGrpSpPr/>
              <p:nvPr/>
            </p:nvGrpSpPr>
            <p:grpSpPr>
              <a:xfrm>
                <a:off x="4428186" y="2436763"/>
                <a:ext cx="196147" cy="125181"/>
                <a:chOff x="4428186" y="2436763"/>
                <a:chExt cx="196147" cy="125181"/>
              </a:xfrm>
              <a:grpFill/>
            </p:grpSpPr>
            <p:sp>
              <p:nvSpPr>
                <p:cNvPr id="2525" name="Vrije vorm: vorm 2524">
                  <a:extLst>
                    <a:ext uri="{FF2B5EF4-FFF2-40B4-BE49-F238E27FC236}">
                      <a16:creationId xmlns:a16="http://schemas.microsoft.com/office/drawing/2014/main" id="{205ECC73-157E-4C61-BA37-221040F547B4}"/>
                    </a:ext>
                  </a:extLst>
                </p:cNvPr>
                <p:cNvSpPr/>
                <p:nvPr/>
              </p:nvSpPr>
              <p:spPr>
                <a:xfrm>
                  <a:off x="4436160" y="2444421"/>
                  <a:ext cx="180139" cy="109865"/>
                </a:xfrm>
                <a:custGeom>
                  <a:avLst/>
                  <a:gdLst>
                    <a:gd name="connsiteX0" fmla="*/ 180139 w 180139"/>
                    <a:gd name="connsiteY0" fmla="*/ 107234 h 109865"/>
                    <a:gd name="connsiteX1" fmla="*/ 178585 w 180139"/>
                    <a:gd name="connsiteY1" fmla="*/ 109866 h 109865"/>
                    <a:gd name="connsiteX2" fmla="*/ 0 w 180139"/>
                    <a:gd name="connsiteY2" fmla="*/ 2632 h 109865"/>
                    <a:gd name="connsiteX3" fmla="*/ 1555 w 180139"/>
                    <a:gd name="connsiteY3" fmla="*/ 0 h 109865"/>
                  </a:gdLst>
                  <a:ahLst/>
                  <a:cxnLst>
                    <a:cxn ang="0">
                      <a:pos x="connsiteX0" y="connsiteY0"/>
                    </a:cxn>
                    <a:cxn ang="0">
                      <a:pos x="connsiteX1" y="connsiteY1"/>
                    </a:cxn>
                    <a:cxn ang="0">
                      <a:pos x="connsiteX2" y="connsiteY2"/>
                    </a:cxn>
                    <a:cxn ang="0">
                      <a:pos x="connsiteX3" y="connsiteY3"/>
                    </a:cxn>
                  </a:cxnLst>
                  <a:rect l="l" t="t" r="r" b="b"/>
                  <a:pathLst>
                    <a:path w="180139" h="109865">
                      <a:moveTo>
                        <a:pt x="180139" y="107234"/>
                      </a:moveTo>
                      <a:lnTo>
                        <a:pt x="178585" y="109866"/>
                      </a:lnTo>
                      <a:lnTo>
                        <a:pt x="0" y="2632"/>
                      </a:lnTo>
                      <a:lnTo>
                        <a:pt x="1555" y="0"/>
                      </a:lnTo>
                      <a:close/>
                    </a:path>
                  </a:pathLst>
                </a:custGeom>
                <a:grpFill/>
                <a:ln w="5978" cap="flat">
                  <a:noFill/>
                  <a:prstDash val="solid"/>
                  <a:miter/>
                </a:ln>
              </p:spPr>
              <p:txBody>
                <a:bodyPr rtlCol="0" anchor="ctr"/>
                <a:lstStyle/>
                <a:p>
                  <a:endParaRPr lang="en-GB"/>
                </a:p>
              </p:txBody>
            </p:sp>
            <p:sp>
              <p:nvSpPr>
                <p:cNvPr id="2526" name="Vrije vorm: vorm 2525">
                  <a:extLst>
                    <a:ext uri="{FF2B5EF4-FFF2-40B4-BE49-F238E27FC236}">
                      <a16:creationId xmlns:a16="http://schemas.microsoft.com/office/drawing/2014/main" id="{4FCACA9D-7CB4-471D-AA47-3726D3EB5AD2}"/>
                    </a:ext>
                  </a:extLst>
                </p:cNvPr>
                <p:cNvSpPr/>
                <p:nvPr/>
              </p:nvSpPr>
              <p:spPr>
                <a:xfrm>
                  <a:off x="4428186" y="2436763"/>
                  <a:ext cx="18341" cy="18425"/>
                </a:xfrm>
                <a:custGeom>
                  <a:avLst/>
                  <a:gdLst>
                    <a:gd name="connsiteX0" fmla="*/ 4506 w 18341"/>
                    <a:gd name="connsiteY0" fmla="*/ 17107 h 18425"/>
                    <a:gd name="connsiteX1" fmla="*/ 1276 w 18341"/>
                    <a:gd name="connsiteY1" fmla="*/ 4488 h 18425"/>
                    <a:gd name="connsiteX2" fmla="*/ 13836 w 18341"/>
                    <a:gd name="connsiteY2" fmla="*/ 1318 h 18425"/>
                    <a:gd name="connsiteX3" fmla="*/ 17065 w 18341"/>
                    <a:gd name="connsiteY3" fmla="*/ 13938 h 18425"/>
                    <a:gd name="connsiteX4" fmla="*/ 4506 w 18341"/>
                    <a:gd name="connsiteY4" fmla="*/ 17107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4506" y="17107"/>
                      </a:moveTo>
                      <a:cubicBezTo>
                        <a:pt x="140" y="14476"/>
                        <a:pt x="-1296" y="8854"/>
                        <a:pt x="1276" y="4488"/>
                      </a:cubicBezTo>
                      <a:cubicBezTo>
                        <a:pt x="3848" y="122"/>
                        <a:pt x="9470" y="-1313"/>
                        <a:pt x="13836" y="1318"/>
                      </a:cubicBezTo>
                      <a:cubicBezTo>
                        <a:pt x="18201" y="3950"/>
                        <a:pt x="19637" y="9572"/>
                        <a:pt x="17065" y="13938"/>
                      </a:cubicBezTo>
                      <a:cubicBezTo>
                        <a:pt x="14493" y="18304"/>
                        <a:pt x="8812" y="19739"/>
                        <a:pt x="4506" y="17107"/>
                      </a:cubicBezTo>
                      <a:close/>
                    </a:path>
                  </a:pathLst>
                </a:custGeom>
                <a:grpFill/>
                <a:ln w="5978" cap="flat">
                  <a:noFill/>
                  <a:prstDash val="solid"/>
                  <a:miter/>
                </a:ln>
              </p:spPr>
              <p:txBody>
                <a:bodyPr rtlCol="0" anchor="ctr"/>
                <a:lstStyle/>
                <a:p>
                  <a:endParaRPr lang="en-GB"/>
                </a:p>
              </p:txBody>
            </p:sp>
            <p:sp>
              <p:nvSpPr>
                <p:cNvPr id="2527" name="Vrije vorm: vorm 2526">
                  <a:extLst>
                    <a:ext uri="{FF2B5EF4-FFF2-40B4-BE49-F238E27FC236}">
                      <a16:creationId xmlns:a16="http://schemas.microsoft.com/office/drawing/2014/main" id="{0B5F9118-91D3-4406-8BF6-D71F351DA04A}"/>
                    </a:ext>
                  </a:extLst>
                </p:cNvPr>
                <p:cNvSpPr/>
                <p:nvPr/>
              </p:nvSpPr>
              <p:spPr>
                <a:xfrm>
                  <a:off x="4605993" y="2543519"/>
                  <a:ext cx="18340" cy="18425"/>
                </a:xfrm>
                <a:custGeom>
                  <a:avLst/>
                  <a:gdLst>
                    <a:gd name="connsiteX0" fmla="*/ 4506 w 18340"/>
                    <a:gd name="connsiteY0" fmla="*/ 17108 h 18425"/>
                    <a:gd name="connsiteX1" fmla="*/ 17065 w 18340"/>
                    <a:gd name="connsiteY1" fmla="*/ 13938 h 18425"/>
                    <a:gd name="connsiteX2" fmla="*/ 13835 w 18340"/>
                    <a:gd name="connsiteY2" fmla="*/ 1318 h 18425"/>
                    <a:gd name="connsiteX3" fmla="*/ 1276 w 18340"/>
                    <a:gd name="connsiteY3" fmla="*/ 4488 h 18425"/>
                    <a:gd name="connsiteX4" fmla="*/ 4506 w 18340"/>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4506" y="17108"/>
                      </a:moveTo>
                      <a:cubicBezTo>
                        <a:pt x="8871" y="19739"/>
                        <a:pt x="14493" y="18304"/>
                        <a:pt x="17065" y="13938"/>
                      </a:cubicBezTo>
                      <a:cubicBezTo>
                        <a:pt x="19637" y="9572"/>
                        <a:pt x="18201" y="3890"/>
                        <a:pt x="13835" y="1318"/>
                      </a:cubicBezTo>
                      <a:cubicBezTo>
                        <a:pt x="9470" y="-1313"/>
                        <a:pt x="3848" y="122"/>
                        <a:pt x="1276" y="4488"/>
                      </a:cubicBezTo>
                      <a:cubicBezTo>
                        <a:pt x="-1296" y="8854"/>
                        <a:pt x="140" y="14476"/>
                        <a:pt x="4506" y="17108"/>
                      </a:cubicBezTo>
                      <a:close/>
                    </a:path>
                  </a:pathLst>
                </a:custGeom>
                <a:grpFill/>
                <a:ln w="5978" cap="flat">
                  <a:noFill/>
                  <a:prstDash val="solid"/>
                  <a:miter/>
                </a:ln>
              </p:spPr>
              <p:txBody>
                <a:bodyPr rtlCol="0" anchor="ctr"/>
                <a:lstStyle/>
                <a:p>
                  <a:endParaRPr lang="en-GB"/>
                </a:p>
              </p:txBody>
            </p:sp>
          </p:grpSp>
          <p:grpSp>
            <p:nvGrpSpPr>
              <p:cNvPr id="959" name="Graphic 3">
                <a:extLst>
                  <a:ext uri="{FF2B5EF4-FFF2-40B4-BE49-F238E27FC236}">
                    <a16:creationId xmlns:a16="http://schemas.microsoft.com/office/drawing/2014/main" id="{A6B25145-B0EA-4E7C-BBD7-CE6545DD1185}"/>
                  </a:ext>
                </a:extLst>
              </p:cNvPr>
              <p:cNvGrpSpPr/>
              <p:nvPr/>
            </p:nvGrpSpPr>
            <p:grpSpPr>
              <a:xfrm>
                <a:off x="5318173" y="4971868"/>
                <a:ext cx="136408" cy="229909"/>
                <a:chOff x="5318173" y="4971868"/>
                <a:chExt cx="136408" cy="229909"/>
              </a:xfrm>
              <a:grpFill/>
            </p:grpSpPr>
            <p:sp>
              <p:nvSpPr>
                <p:cNvPr id="2522" name="Vrije vorm: vorm 2521">
                  <a:extLst>
                    <a:ext uri="{FF2B5EF4-FFF2-40B4-BE49-F238E27FC236}">
                      <a16:creationId xmlns:a16="http://schemas.microsoft.com/office/drawing/2014/main" id="{66AF9061-E754-46AE-8841-64C7932C7F70}"/>
                    </a:ext>
                  </a:extLst>
                </p:cNvPr>
                <p:cNvSpPr/>
                <p:nvPr/>
              </p:nvSpPr>
              <p:spPr>
                <a:xfrm>
                  <a:off x="5325792" y="4979948"/>
                  <a:ext cx="121169" cy="213810"/>
                </a:xfrm>
                <a:custGeom>
                  <a:avLst/>
                  <a:gdLst>
                    <a:gd name="connsiteX0" fmla="*/ 121169 w 121169"/>
                    <a:gd name="connsiteY0" fmla="*/ 1495 h 213810"/>
                    <a:gd name="connsiteX1" fmla="*/ 2632 w 121169"/>
                    <a:gd name="connsiteY1" fmla="*/ 213811 h 213810"/>
                    <a:gd name="connsiteX2" fmla="*/ 0 w 121169"/>
                    <a:gd name="connsiteY2" fmla="*/ 212256 h 213810"/>
                    <a:gd name="connsiteX3" fmla="*/ 118478 w 121169"/>
                    <a:gd name="connsiteY3" fmla="*/ 0 h 213810"/>
                  </a:gdLst>
                  <a:ahLst/>
                  <a:cxnLst>
                    <a:cxn ang="0">
                      <a:pos x="connsiteX0" y="connsiteY0"/>
                    </a:cxn>
                    <a:cxn ang="0">
                      <a:pos x="connsiteX1" y="connsiteY1"/>
                    </a:cxn>
                    <a:cxn ang="0">
                      <a:pos x="connsiteX2" y="connsiteY2"/>
                    </a:cxn>
                    <a:cxn ang="0">
                      <a:pos x="connsiteX3" y="connsiteY3"/>
                    </a:cxn>
                  </a:cxnLst>
                  <a:rect l="l" t="t" r="r" b="b"/>
                  <a:pathLst>
                    <a:path w="121169" h="213810">
                      <a:moveTo>
                        <a:pt x="121169" y="1495"/>
                      </a:moveTo>
                      <a:lnTo>
                        <a:pt x="2632" y="213811"/>
                      </a:lnTo>
                      <a:lnTo>
                        <a:pt x="0" y="212256"/>
                      </a:lnTo>
                      <a:lnTo>
                        <a:pt x="118478" y="0"/>
                      </a:lnTo>
                      <a:close/>
                    </a:path>
                  </a:pathLst>
                </a:custGeom>
                <a:grpFill/>
                <a:ln w="5978" cap="flat">
                  <a:noFill/>
                  <a:prstDash val="solid"/>
                  <a:miter/>
                </a:ln>
              </p:spPr>
              <p:txBody>
                <a:bodyPr rtlCol="0" anchor="ctr"/>
                <a:lstStyle/>
                <a:p>
                  <a:endParaRPr lang="en-GB"/>
                </a:p>
              </p:txBody>
            </p:sp>
            <p:sp>
              <p:nvSpPr>
                <p:cNvPr id="2523" name="Vrije vorm: vorm 2522">
                  <a:extLst>
                    <a:ext uri="{FF2B5EF4-FFF2-40B4-BE49-F238E27FC236}">
                      <a16:creationId xmlns:a16="http://schemas.microsoft.com/office/drawing/2014/main" id="{C060E7C4-245A-4404-94C8-5047AE0A4843}"/>
                    </a:ext>
                  </a:extLst>
                </p:cNvPr>
                <p:cNvSpPr/>
                <p:nvPr/>
              </p:nvSpPr>
              <p:spPr>
                <a:xfrm>
                  <a:off x="5436232" y="4971868"/>
                  <a:ext cx="18348" cy="18431"/>
                </a:xfrm>
                <a:custGeom>
                  <a:avLst/>
                  <a:gdLst>
                    <a:gd name="connsiteX0" fmla="*/ 1160 w 18348"/>
                    <a:gd name="connsiteY0" fmla="*/ 4670 h 18431"/>
                    <a:gd name="connsiteX1" fmla="*/ 13660 w 18348"/>
                    <a:gd name="connsiteY1" fmla="*/ 1201 h 18431"/>
                    <a:gd name="connsiteX2" fmla="*/ 17189 w 18348"/>
                    <a:gd name="connsiteY2" fmla="*/ 13761 h 18431"/>
                    <a:gd name="connsiteX3" fmla="*/ 4689 w 18348"/>
                    <a:gd name="connsiteY3" fmla="*/ 17230 h 18431"/>
                    <a:gd name="connsiteX4" fmla="*/ 1160 w 18348"/>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1">
                      <a:moveTo>
                        <a:pt x="1160" y="4670"/>
                      </a:moveTo>
                      <a:cubicBezTo>
                        <a:pt x="3612" y="245"/>
                        <a:pt x="9234" y="-1310"/>
                        <a:pt x="13660" y="1201"/>
                      </a:cubicBezTo>
                      <a:cubicBezTo>
                        <a:pt x="18086" y="3713"/>
                        <a:pt x="19641" y="9335"/>
                        <a:pt x="17189" y="13761"/>
                      </a:cubicBezTo>
                      <a:cubicBezTo>
                        <a:pt x="14736" y="18187"/>
                        <a:pt x="9115" y="19741"/>
                        <a:pt x="4689" y="17230"/>
                      </a:cubicBezTo>
                      <a:cubicBezTo>
                        <a:pt x="263" y="14718"/>
                        <a:pt x="-1292" y="9096"/>
                        <a:pt x="1160" y="4670"/>
                      </a:cubicBezTo>
                      <a:close/>
                    </a:path>
                  </a:pathLst>
                </a:custGeom>
                <a:grpFill/>
                <a:ln w="5978" cap="flat">
                  <a:noFill/>
                  <a:prstDash val="solid"/>
                  <a:miter/>
                </a:ln>
              </p:spPr>
              <p:txBody>
                <a:bodyPr rtlCol="0" anchor="ctr"/>
                <a:lstStyle/>
                <a:p>
                  <a:endParaRPr lang="en-GB"/>
                </a:p>
              </p:txBody>
            </p:sp>
            <p:sp>
              <p:nvSpPr>
                <p:cNvPr id="2524" name="Vrije vorm: vorm 2523">
                  <a:extLst>
                    <a:ext uri="{FF2B5EF4-FFF2-40B4-BE49-F238E27FC236}">
                      <a16:creationId xmlns:a16="http://schemas.microsoft.com/office/drawing/2014/main" id="{E208E45B-F020-447F-A88C-6B1CBB9C3B40}"/>
                    </a:ext>
                  </a:extLst>
                </p:cNvPr>
                <p:cNvSpPr/>
                <p:nvPr/>
              </p:nvSpPr>
              <p:spPr>
                <a:xfrm>
                  <a:off x="5318173" y="5183346"/>
                  <a:ext cx="18348" cy="18431"/>
                </a:xfrm>
                <a:custGeom>
                  <a:avLst/>
                  <a:gdLst>
                    <a:gd name="connsiteX0" fmla="*/ 1160 w 18348"/>
                    <a:gd name="connsiteY0" fmla="*/ 4670 h 18431"/>
                    <a:gd name="connsiteX1" fmla="*/ 4689 w 18348"/>
                    <a:gd name="connsiteY1" fmla="*/ 17230 h 18431"/>
                    <a:gd name="connsiteX2" fmla="*/ 17189 w 18348"/>
                    <a:gd name="connsiteY2" fmla="*/ 13761 h 18431"/>
                    <a:gd name="connsiteX3" fmla="*/ 13660 w 18348"/>
                    <a:gd name="connsiteY3" fmla="*/ 1201 h 18431"/>
                    <a:gd name="connsiteX4" fmla="*/ 1160 w 18348"/>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1">
                      <a:moveTo>
                        <a:pt x="1160" y="4670"/>
                      </a:moveTo>
                      <a:cubicBezTo>
                        <a:pt x="-1292" y="9096"/>
                        <a:pt x="263" y="14718"/>
                        <a:pt x="4689" y="17230"/>
                      </a:cubicBezTo>
                      <a:cubicBezTo>
                        <a:pt x="9115" y="19742"/>
                        <a:pt x="14677" y="18187"/>
                        <a:pt x="17189" y="13761"/>
                      </a:cubicBezTo>
                      <a:cubicBezTo>
                        <a:pt x="19641" y="9335"/>
                        <a:pt x="18086" y="3714"/>
                        <a:pt x="13660" y="1201"/>
                      </a:cubicBezTo>
                      <a:cubicBezTo>
                        <a:pt x="9234" y="-1310"/>
                        <a:pt x="3612" y="245"/>
                        <a:pt x="1160" y="4670"/>
                      </a:cubicBezTo>
                      <a:close/>
                    </a:path>
                  </a:pathLst>
                </a:custGeom>
                <a:grpFill/>
                <a:ln w="5978" cap="flat">
                  <a:noFill/>
                  <a:prstDash val="solid"/>
                  <a:miter/>
                </a:ln>
              </p:spPr>
              <p:txBody>
                <a:bodyPr rtlCol="0" anchor="ctr"/>
                <a:lstStyle/>
                <a:p>
                  <a:endParaRPr lang="en-GB"/>
                </a:p>
              </p:txBody>
            </p:sp>
          </p:grpSp>
          <p:grpSp>
            <p:nvGrpSpPr>
              <p:cNvPr id="960" name="Graphic 3">
                <a:extLst>
                  <a:ext uri="{FF2B5EF4-FFF2-40B4-BE49-F238E27FC236}">
                    <a16:creationId xmlns:a16="http://schemas.microsoft.com/office/drawing/2014/main" id="{0AC526E6-8203-4E5D-A49B-98E3B824468D}"/>
                  </a:ext>
                </a:extLst>
              </p:cNvPr>
              <p:cNvGrpSpPr/>
              <p:nvPr/>
            </p:nvGrpSpPr>
            <p:grpSpPr>
              <a:xfrm>
                <a:off x="4461493" y="2374616"/>
                <a:ext cx="61771" cy="46762"/>
                <a:chOff x="4461493" y="2374616"/>
                <a:chExt cx="61771" cy="46762"/>
              </a:xfrm>
              <a:grpFill/>
            </p:grpSpPr>
            <p:sp>
              <p:nvSpPr>
                <p:cNvPr id="2519" name="Vrije vorm: vorm 2518">
                  <a:extLst>
                    <a:ext uri="{FF2B5EF4-FFF2-40B4-BE49-F238E27FC236}">
                      <a16:creationId xmlns:a16="http://schemas.microsoft.com/office/drawing/2014/main" id="{CA8C4A45-3756-4954-8700-CA198C762C74}"/>
                    </a:ext>
                  </a:extLst>
                </p:cNvPr>
                <p:cNvSpPr/>
                <p:nvPr/>
              </p:nvSpPr>
              <p:spPr>
                <a:xfrm>
                  <a:off x="4469473" y="2382341"/>
                  <a:ext cx="45812" cy="31338"/>
                </a:xfrm>
                <a:custGeom>
                  <a:avLst/>
                  <a:gdLst>
                    <a:gd name="connsiteX0" fmla="*/ 45813 w 45812"/>
                    <a:gd name="connsiteY0" fmla="*/ 28767 h 31338"/>
                    <a:gd name="connsiteX1" fmla="*/ 44198 w 45812"/>
                    <a:gd name="connsiteY1" fmla="*/ 31339 h 31338"/>
                    <a:gd name="connsiteX2" fmla="*/ 0 w 45812"/>
                    <a:gd name="connsiteY2" fmla="*/ 2512 h 31338"/>
                    <a:gd name="connsiteX3" fmla="*/ 1615 w 45812"/>
                    <a:gd name="connsiteY3" fmla="*/ 0 h 31338"/>
                  </a:gdLst>
                  <a:ahLst/>
                  <a:cxnLst>
                    <a:cxn ang="0">
                      <a:pos x="connsiteX0" y="connsiteY0"/>
                    </a:cxn>
                    <a:cxn ang="0">
                      <a:pos x="connsiteX1" y="connsiteY1"/>
                    </a:cxn>
                    <a:cxn ang="0">
                      <a:pos x="connsiteX2" y="connsiteY2"/>
                    </a:cxn>
                    <a:cxn ang="0">
                      <a:pos x="connsiteX3" y="connsiteY3"/>
                    </a:cxn>
                  </a:cxnLst>
                  <a:rect l="l" t="t" r="r" b="b"/>
                  <a:pathLst>
                    <a:path w="45812" h="31338">
                      <a:moveTo>
                        <a:pt x="45813" y="28767"/>
                      </a:moveTo>
                      <a:lnTo>
                        <a:pt x="44198" y="31339"/>
                      </a:lnTo>
                      <a:lnTo>
                        <a:pt x="0" y="2512"/>
                      </a:lnTo>
                      <a:lnTo>
                        <a:pt x="1615" y="0"/>
                      </a:lnTo>
                      <a:close/>
                    </a:path>
                  </a:pathLst>
                </a:custGeom>
                <a:grpFill/>
                <a:ln w="5978" cap="flat">
                  <a:noFill/>
                  <a:prstDash val="solid"/>
                  <a:miter/>
                </a:ln>
              </p:spPr>
              <p:txBody>
                <a:bodyPr rtlCol="0" anchor="ctr"/>
                <a:lstStyle/>
                <a:p>
                  <a:endParaRPr lang="en-GB"/>
                </a:p>
              </p:txBody>
            </p:sp>
            <p:sp>
              <p:nvSpPr>
                <p:cNvPr id="2520" name="Vrije vorm: vorm 2519">
                  <a:extLst>
                    <a:ext uri="{FF2B5EF4-FFF2-40B4-BE49-F238E27FC236}">
                      <a16:creationId xmlns:a16="http://schemas.microsoft.com/office/drawing/2014/main" id="{CD19DC77-095E-47C4-AC66-778CF435F1E9}"/>
                    </a:ext>
                  </a:extLst>
                </p:cNvPr>
                <p:cNvSpPr/>
                <p:nvPr/>
              </p:nvSpPr>
              <p:spPr>
                <a:xfrm>
                  <a:off x="4461493" y="2374616"/>
                  <a:ext cx="18351" cy="18440"/>
                </a:xfrm>
                <a:custGeom>
                  <a:avLst/>
                  <a:gdLst>
                    <a:gd name="connsiteX0" fmla="*/ 4212 w 18351"/>
                    <a:gd name="connsiteY0" fmla="*/ 16935 h 18440"/>
                    <a:gd name="connsiteX1" fmla="*/ 1461 w 18351"/>
                    <a:gd name="connsiteY1" fmla="*/ 4196 h 18440"/>
                    <a:gd name="connsiteX2" fmla="*/ 14140 w 18351"/>
                    <a:gd name="connsiteY2" fmla="*/ 1505 h 18440"/>
                    <a:gd name="connsiteX3" fmla="*/ 16891 w 18351"/>
                    <a:gd name="connsiteY3" fmla="*/ 14244 h 18440"/>
                    <a:gd name="connsiteX4" fmla="*/ 4212 w 18351"/>
                    <a:gd name="connsiteY4" fmla="*/ 16935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40">
                      <a:moveTo>
                        <a:pt x="4212" y="16935"/>
                      </a:moveTo>
                      <a:cubicBezTo>
                        <a:pt x="-34" y="14184"/>
                        <a:pt x="-1290" y="8443"/>
                        <a:pt x="1461" y="4196"/>
                      </a:cubicBezTo>
                      <a:cubicBezTo>
                        <a:pt x="4212" y="-50"/>
                        <a:pt x="9893" y="-1306"/>
                        <a:pt x="14140" y="1505"/>
                      </a:cubicBezTo>
                      <a:cubicBezTo>
                        <a:pt x="18386" y="4256"/>
                        <a:pt x="19642" y="9998"/>
                        <a:pt x="16891" y="14244"/>
                      </a:cubicBezTo>
                      <a:cubicBezTo>
                        <a:pt x="14140" y="18490"/>
                        <a:pt x="8458" y="19746"/>
                        <a:pt x="4212" y="16935"/>
                      </a:cubicBezTo>
                      <a:close/>
                    </a:path>
                  </a:pathLst>
                </a:custGeom>
                <a:grpFill/>
                <a:ln w="5978" cap="flat">
                  <a:noFill/>
                  <a:prstDash val="solid"/>
                  <a:miter/>
                </a:ln>
              </p:spPr>
              <p:txBody>
                <a:bodyPr rtlCol="0" anchor="ctr"/>
                <a:lstStyle/>
                <a:p>
                  <a:endParaRPr lang="en-GB"/>
                </a:p>
              </p:txBody>
            </p:sp>
            <p:sp>
              <p:nvSpPr>
                <p:cNvPr id="2521" name="Vrije vorm: vorm 2520">
                  <a:extLst>
                    <a:ext uri="{FF2B5EF4-FFF2-40B4-BE49-F238E27FC236}">
                      <a16:creationId xmlns:a16="http://schemas.microsoft.com/office/drawing/2014/main" id="{0DE6D63F-1A4E-48A3-94AA-B308E3A34860}"/>
                    </a:ext>
                  </a:extLst>
                </p:cNvPr>
                <p:cNvSpPr/>
                <p:nvPr/>
              </p:nvSpPr>
              <p:spPr>
                <a:xfrm>
                  <a:off x="4504913" y="2402991"/>
                  <a:ext cx="18351" cy="18387"/>
                </a:xfrm>
                <a:custGeom>
                  <a:avLst/>
                  <a:gdLst>
                    <a:gd name="connsiteX0" fmla="*/ 4212 w 18351"/>
                    <a:gd name="connsiteY0" fmla="*/ 16909 h 18387"/>
                    <a:gd name="connsiteX1" fmla="*/ 16891 w 18351"/>
                    <a:gd name="connsiteY1" fmla="*/ 14217 h 18387"/>
                    <a:gd name="connsiteX2" fmla="*/ 14140 w 18351"/>
                    <a:gd name="connsiteY2" fmla="*/ 1479 h 18387"/>
                    <a:gd name="connsiteX3" fmla="*/ 1461 w 18351"/>
                    <a:gd name="connsiteY3" fmla="*/ 4170 h 18387"/>
                    <a:gd name="connsiteX4" fmla="*/ 4212 w 18351"/>
                    <a:gd name="connsiteY4" fmla="*/ 1690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7">
                      <a:moveTo>
                        <a:pt x="4212" y="16909"/>
                      </a:moveTo>
                      <a:cubicBezTo>
                        <a:pt x="8458" y="19660"/>
                        <a:pt x="14140" y="18464"/>
                        <a:pt x="16891" y="14217"/>
                      </a:cubicBezTo>
                      <a:cubicBezTo>
                        <a:pt x="19642" y="9971"/>
                        <a:pt x="18386" y="4230"/>
                        <a:pt x="14140" y="1479"/>
                      </a:cubicBezTo>
                      <a:cubicBezTo>
                        <a:pt x="9893" y="-1273"/>
                        <a:pt x="4212" y="-76"/>
                        <a:pt x="1461" y="4170"/>
                      </a:cubicBezTo>
                      <a:cubicBezTo>
                        <a:pt x="-1290" y="8416"/>
                        <a:pt x="-34" y="14098"/>
                        <a:pt x="4212" y="16909"/>
                      </a:cubicBezTo>
                      <a:close/>
                    </a:path>
                  </a:pathLst>
                </a:custGeom>
                <a:grpFill/>
                <a:ln w="5978" cap="flat">
                  <a:noFill/>
                  <a:prstDash val="solid"/>
                  <a:miter/>
                </a:ln>
              </p:spPr>
              <p:txBody>
                <a:bodyPr rtlCol="0" anchor="ctr"/>
                <a:lstStyle/>
                <a:p>
                  <a:endParaRPr lang="en-GB"/>
                </a:p>
              </p:txBody>
            </p:sp>
          </p:grpSp>
          <p:grpSp>
            <p:nvGrpSpPr>
              <p:cNvPr id="961" name="Graphic 3">
                <a:extLst>
                  <a:ext uri="{FF2B5EF4-FFF2-40B4-BE49-F238E27FC236}">
                    <a16:creationId xmlns:a16="http://schemas.microsoft.com/office/drawing/2014/main" id="{CFCE2A39-9765-46B4-AC58-95E86DC828FE}"/>
                  </a:ext>
                </a:extLst>
              </p:cNvPr>
              <p:cNvGrpSpPr/>
              <p:nvPr/>
            </p:nvGrpSpPr>
            <p:grpSpPr>
              <a:xfrm>
                <a:off x="5369592" y="5051917"/>
                <a:ext cx="55219" cy="113232"/>
                <a:chOff x="5369592" y="5051917"/>
                <a:chExt cx="55219" cy="113232"/>
              </a:xfrm>
              <a:grpFill/>
            </p:grpSpPr>
            <p:sp>
              <p:nvSpPr>
                <p:cNvPr id="2516" name="Vrije vorm: vorm 2515">
                  <a:extLst>
                    <a:ext uri="{FF2B5EF4-FFF2-40B4-BE49-F238E27FC236}">
                      <a16:creationId xmlns:a16="http://schemas.microsoft.com/office/drawing/2014/main" id="{1DC38CC8-67AC-40B7-8A16-F213C33A240D}"/>
                    </a:ext>
                  </a:extLst>
                </p:cNvPr>
                <p:cNvSpPr/>
                <p:nvPr/>
              </p:nvSpPr>
              <p:spPr>
                <a:xfrm>
                  <a:off x="5377167" y="5060149"/>
                  <a:ext cx="40070" cy="96768"/>
                </a:xfrm>
                <a:custGeom>
                  <a:avLst/>
                  <a:gdLst>
                    <a:gd name="connsiteX0" fmla="*/ 40071 w 40070"/>
                    <a:gd name="connsiteY0" fmla="*/ 1136 h 96768"/>
                    <a:gd name="connsiteX1" fmla="*/ 2811 w 40070"/>
                    <a:gd name="connsiteY1" fmla="*/ 96768 h 96768"/>
                    <a:gd name="connsiteX2" fmla="*/ 0 w 40070"/>
                    <a:gd name="connsiteY2" fmla="*/ 95632 h 96768"/>
                    <a:gd name="connsiteX3" fmla="*/ 37200 w 40070"/>
                    <a:gd name="connsiteY3" fmla="*/ 0 h 96768"/>
                  </a:gdLst>
                  <a:ahLst/>
                  <a:cxnLst>
                    <a:cxn ang="0">
                      <a:pos x="connsiteX0" y="connsiteY0"/>
                    </a:cxn>
                    <a:cxn ang="0">
                      <a:pos x="connsiteX1" y="connsiteY1"/>
                    </a:cxn>
                    <a:cxn ang="0">
                      <a:pos x="connsiteX2" y="connsiteY2"/>
                    </a:cxn>
                    <a:cxn ang="0">
                      <a:pos x="connsiteX3" y="connsiteY3"/>
                    </a:cxn>
                  </a:cxnLst>
                  <a:rect l="l" t="t" r="r" b="b"/>
                  <a:pathLst>
                    <a:path w="40070" h="96768">
                      <a:moveTo>
                        <a:pt x="40071" y="1136"/>
                      </a:moveTo>
                      <a:lnTo>
                        <a:pt x="2811" y="96768"/>
                      </a:lnTo>
                      <a:lnTo>
                        <a:pt x="0" y="95632"/>
                      </a:lnTo>
                      <a:lnTo>
                        <a:pt x="37200" y="0"/>
                      </a:lnTo>
                      <a:close/>
                    </a:path>
                  </a:pathLst>
                </a:custGeom>
                <a:grpFill/>
                <a:ln w="5978" cap="flat">
                  <a:noFill/>
                  <a:prstDash val="solid"/>
                  <a:miter/>
                </a:ln>
              </p:spPr>
              <p:txBody>
                <a:bodyPr rtlCol="0" anchor="ctr"/>
                <a:lstStyle/>
                <a:p>
                  <a:endParaRPr lang="en-GB"/>
                </a:p>
              </p:txBody>
            </p:sp>
            <p:sp>
              <p:nvSpPr>
                <p:cNvPr id="2517" name="Vrije vorm: vorm 2516">
                  <a:extLst>
                    <a:ext uri="{FF2B5EF4-FFF2-40B4-BE49-F238E27FC236}">
                      <a16:creationId xmlns:a16="http://schemas.microsoft.com/office/drawing/2014/main" id="{B69A352F-8100-403E-B7CF-29AF75BEFA81}"/>
                    </a:ext>
                  </a:extLst>
                </p:cNvPr>
                <p:cNvSpPr/>
                <p:nvPr/>
              </p:nvSpPr>
              <p:spPr>
                <a:xfrm>
                  <a:off x="5369592" y="5146711"/>
                  <a:ext cx="18318" cy="18438"/>
                </a:xfrm>
                <a:custGeom>
                  <a:avLst/>
                  <a:gdLst>
                    <a:gd name="connsiteX0" fmla="*/ 17682 w 18318"/>
                    <a:gd name="connsiteY0" fmla="*/ 12598 h 18438"/>
                    <a:gd name="connsiteX1" fmla="*/ 5840 w 18318"/>
                    <a:gd name="connsiteY1" fmla="*/ 17801 h 18438"/>
                    <a:gd name="connsiteX2" fmla="*/ 637 w 18318"/>
                    <a:gd name="connsiteY2" fmla="*/ 5840 h 18438"/>
                    <a:gd name="connsiteX3" fmla="*/ 12479 w 18318"/>
                    <a:gd name="connsiteY3" fmla="*/ 637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5828" y="17323"/>
                        <a:pt x="10505" y="19655"/>
                        <a:pt x="5840" y="17801"/>
                      </a:cubicBezTo>
                      <a:cubicBezTo>
                        <a:pt x="1115" y="15947"/>
                        <a:pt x="-1217" y="10565"/>
                        <a:pt x="637" y="5840"/>
                      </a:cubicBezTo>
                      <a:cubicBezTo>
                        <a:pt x="2491" y="1115"/>
                        <a:pt x="7814" y="-1217"/>
                        <a:pt x="12479" y="637"/>
                      </a:cubicBezTo>
                      <a:cubicBezTo>
                        <a:pt x="17204" y="2491"/>
                        <a:pt x="19536" y="7873"/>
                        <a:pt x="17682" y="12598"/>
                      </a:cubicBezTo>
                      <a:close/>
                    </a:path>
                  </a:pathLst>
                </a:custGeom>
                <a:grpFill/>
                <a:ln w="5978" cap="flat">
                  <a:noFill/>
                  <a:prstDash val="solid"/>
                  <a:miter/>
                </a:ln>
              </p:spPr>
              <p:txBody>
                <a:bodyPr rtlCol="0" anchor="ctr"/>
                <a:lstStyle/>
                <a:p>
                  <a:endParaRPr lang="en-GB"/>
                </a:p>
              </p:txBody>
            </p:sp>
            <p:sp>
              <p:nvSpPr>
                <p:cNvPr id="2518" name="Vrije vorm: vorm 2517">
                  <a:extLst>
                    <a:ext uri="{FF2B5EF4-FFF2-40B4-BE49-F238E27FC236}">
                      <a16:creationId xmlns:a16="http://schemas.microsoft.com/office/drawing/2014/main" id="{29503882-6E7D-4AE3-B312-BB6F34A008C5}"/>
                    </a:ext>
                  </a:extLst>
                </p:cNvPr>
                <p:cNvSpPr/>
                <p:nvPr/>
              </p:nvSpPr>
              <p:spPr>
                <a:xfrm>
                  <a:off x="5406494" y="5051917"/>
                  <a:ext cx="18318" cy="18438"/>
                </a:xfrm>
                <a:custGeom>
                  <a:avLst/>
                  <a:gdLst>
                    <a:gd name="connsiteX0" fmla="*/ 17682 w 18318"/>
                    <a:gd name="connsiteY0" fmla="*/ 12598 h 18438"/>
                    <a:gd name="connsiteX1" fmla="*/ 12479 w 18318"/>
                    <a:gd name="connsiteY1" fmla="*/ 637 h 18438"/>
                    <a:gd name="connsiteX2" fmla="*/ 637 w 18318"/>
                    <a:gd name="connsiteY2" fmla="*/ 5840 h 18438"/>
                    <a:gd name="connsiteX3" fmla="*/ 5840 w 18318"/>
                    <a:gd name="connsiteY3" fmla="*/ 17802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9536" y="7874"/>
                        <a:pt x="17203" y="2491"/>
                        <a:pt x="12479" y="637"/>
                      </a:cubicBezTo>
                      <a:cubicBezTo>
                        <a:pt x="7754" y="-1217"/>
                        <a:pt x="2431" y="1115"/>
                        <a:pt x="637" y="5840"/>
                      </a:cubicBezTo>
                      <a:cubicBezTo>
                        <a:pt x="-1217" y="10565"/>
                        <a:pt x="1115" y="15947"/>
                        <a:pt x="5840" y="17802"/>
                      </a:cubicBezTo>
                      <a:cubicBezTo>
                        <a:pt x="10505" y="19656"/>
                        <a:pt x="15828" y="17323"/>
                        <a:pt x="17682" y="12598"/>
                      </a:cubicBezTo>
                      <a:close/>
                    </a:path>
                  </a:pathLst>
                </a:custGeom>
                <a:grpFill/>
                <a:ln w="5978" cap="flat">
                  <a:noFill/>
                  <a:prstDash val="solid"/>
                  <a:miter/>
                </a:ln>
              </p:spPr>
              <p:txBody>
                <a:bodyPr rtlCol="0" anchor="ctr"/>
                <a:lstStyle/>
                <a:p>
                  <a:endParaRPr lang="en-GB"/>
                </a:p>
              </p:txBody>
            </p:sp>
          </p:grpSp>
          <p:grpSp>
            <p:nvGrpSpPr>
              <p:cNvPr id="962" name="Graphic 3">
                <a:extLst>
                  <a:ext uri="{FF2B5EF4-FFF2-40B4-BE49-F238E27FC236}">
                    <a16:creationId xmlns:a16="http://schemas.microsoft.com/office/drawing/2014/main" id="{E55DCCC1-6634-4BC8-9985-150485B74D47}"/>
                  </a:ext>
                </a:extLst>
              </p:cNvPr>
              <p:cNvGrpSpPr/>
              <p:nvPr/>
            </p:nvGrpSpPr>
            <p:grpSpPr>
              <a:xfrm>
                <a:off x="5488683" y="5435033"/>
                <a:ext cx="77977" cy="261511"/>
                <a:chOff x="5488683" y="5435033"/>
                <a:chExt cx="77977" cy="261511"/>
              </a:xfrm>
              <a:grpFill/>
            </p:grpSpPr>
            <p:sp>
              <p:nvSpPr>
                <p:cNvPr id="2513" name="Vrije vorm: vorm 2512">
                  <a:extLst>
                    <a:ext uri="{FF2B5EF4-FFF2-40B4-BE49-F238E27FC236}">
                      <a16:creationId xmlns:a16="http://schemas.microsoft.com/office/drawing/2014/main" id="{741A2E1B-CCAA-428D-B93A-427332D68D50}"/>
                    </a:ext>
                  </a:extLst>
                </p:cNvPr>
                <p:cNvSpPr/>
                <p:nvPr/>
              </p:nvSpPr>
              <p:spPr>
                <a:xfrm>
                  <a:off x="5496243" y="5443454"/>
                  <a:ext cx="62857" cy="244671"/>
                </a:xfrm>
                <a:custGeom>
                  <a:avLst/>
                  <a:gdLst>
                    <a:gd name="connsiteX0" fmla="*/ 62857 w 62857"/>
                    <a:gd name="connsiteY0" fmla="*/ 718 h 244671"/>
                    <a:gd name="connsiteX1" fmla="*/ 2990 w 62857"/>
                    <a:gd name="connsiteY1" fmla="*/ 244671 h 244671"/>
                    <a:gd name="connsiteX2" fmla="*/ 0 w 62857"/>
                    <a:gd name="connsiteY2" fmla="*/ 243953 h 244671"/>
                    <a:gd name="connsiteX3" fmla="*/ 59867 w 62857"/>
                    <a:gd name="connsiteY3" fmla="*/ 0 h 244671"/>
                  </a:gdLst>
                  <a:ahLst/>
                  <a:cxnLst>
                    <a:cxn ang="0">
                      <a:pos x="connsiteX0" y="connsiteY0"/>
                    </a:cxn>
                    <a:cxn ang="0">
                      <a:pos x="connsiteX1" y="connsiteY1"/>
                    </a:cxn>
                    <a:cxn ang="0">
                      <a:pos x="connsiteX2" y="connsiteY2"/>
                    </a:cxn>
                    <a:cxn ang="0">
                      <a:pos x="connsiteX3" y="connsiteY3"/>
                    </a:cxn>
                  </a:cxnLst>
                  <a:rect l="l" t="t" r="r" b="b"/>
                  <a:pathLst>
                    <a:path w="62857" h="244671">
                      <a:moveTo>
                        <a:pt x="62857" y="718"/>
                      </a:moveTo>
                      <a:lnTo>
                        <a:pt x="2990" y="244671"/>
                      </a:lnTo>
                      <a:lnTo>
                        <a:pt x="0" y="243953"/>
                      </a:lnTo>
                      <a:lnTo>
                        <a:pt x="59867" y="0"/>
                      </a:lnTo>
                      <a:close/>
                    </a:path>
                  </a:pathLst>
                </a:custGeom>
                <a:grpFill/>
                <a:ln w="5978" cap="flat">
                  <a:noFill/>
                  <a:prstDash val="solid"/>
                  <a:miter/>
                </a:ln>
              </p:spPr>
              <p:txBody>
                <a:bodyPr rtlCol="0" anchor="ctr"/>
                <a:lstStyle/>
                <a:p>
                  <a:endParaRPr lang="en-GB"/>
                </a:p>
              </p:txBody>
            </p:sp>
            <p:sp>
              <p:nvSpPr>
                <p:cNvPr id="2514" name="Vrije vorm: vorm 2513">
                  <a:extLst>
                    <a:ext uri="{FF2B5EF4-FFF2-40B4-BE49-F238E27FC236}">
                      <a16:creationId xmlns:a16="http://schemas.microsoft.com/office/drawing/2014/main" id="{6367DF47-4F2B-473E-94E8-FC235D071037}"/>
                    </a:ext>
                  </a:extLst>
                </p:cNvPr>
                <p:cNvSpPr/>
                <p:nvPr/>
              </p:nvSpPr>
              <p:spPr>
                <a:xfrm>
                  <a:off x="5488683" y="5678093"/>
                  <a:ext cx="18308" cy="18451"/>
                </a:xfrm>
                <a:custGeom>
                  <a:avLst/>
                  <a:gdLst>
                    <a:gd name="connsiteX0" fmla="*/ 18026 w 18308"/>
                    <a:gd name="connsiteY0" fmla="*/ 11467 h 18451"/>
                    <a:gd name="connsiteX1" fmla="*/ 6962 w 18308"/>
                    <a:gd name="connsiteY1" fmla="*/ 18165 h 18451"/>
                    <a:gd name="connsiteX2" fmla="*/ 263 w 18308"/>
                    <a:gd name="connsiteY2" fmla="*/ 6981 h 18451"/>
                    <a:gd name="connsiteX3" fmla="*/ 11328 w 18308"/>
                    <a:gd name="connsiteY3" fmla="*/ 283 h 18451"/>
                    <a:gd name="connsiteX4" fmla="*/ 18026 w 18308"/>
                    <a:gd name="connsiteY4" fmla="*/ 1146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1">
                      <a:moveTo>
                        <a:pt x="18026" y="11467"/>
                      </a:moveTo>
                      <a:cubicBezTo>
                        <a:pt x="16830" y="16431"/>
                        <a:pt x="11866" y="19421"/>
                        <a:pt x="6962" y="18165"/>
                      </a:cubicBezTo>
                      <a:cubicBezTo>
                        <a:pt x="2058" y="16909"/>
                        <a:pt x="-933" y="11945"/>
                        <a:pt x="263" y="6981"/>
                      </a:cubicBezTo>
                      <a:cubicBezTo>
                        <a:pt x="1460" y="2077"/>
                        <a:pt x="6423" y="-973"/>
                        <a:pt x="11328" y="283"/>
                      </a:cubicBezTo>
                      <a:cubicBezTo>
                        <a:pt x="16232" y="1539"/>
                        <a:pt x="19282" y="6562"/>
                        <a:pt x="18026" y="11467"/>
                      </a:cubicBezTo>
                      <a:close/>
                    </a:path>
                  </a:pathLst>
                </a:custGeom>
                <a:grpFill/>
                <a:ln w="5978" cap="flat">
                  <a:noFill/>
                  <a:prstDash val="solid"/>
                  <a:miter/>
                </a:ln>
              </p:spPr>
              <p:txBody>
                <a:bodyPr rtlCol="0" anchor="ctr"/>
                <a:lstStyle/>
                <a:p>
                  <a:endParaRPr lang="en-GB"/>
                </a:p>
              </p:txBody>
            </p:sp>
            <p:sp>
              <p:nvSpPr>
                <p:cNvPr id="2515" name="Vrije vorm: vorm 2514">
                  <a:extLst>
                    <a:ext uri="{FF2B5EF4-FFF2-40B4-BE49-F238E27FC236}">
                      <a16:creationId xmlns:a16="http://schemas.microsoft.com/office/drawing/2014/main" id="{985DA72A-DC86-40E1-BC15-D6C461A8FF64}"/>
                    </a:ext>
                  </a:extLst>
                </p:cNvPr>
                <p:cNvSpPr/>
                <p:nvPr/>
              </p:nvSpPr>
              <p:spPr>
                <a:xfrm>
                  <a:off x="5548371" y="5435033"/>
                  <a:ext cx="18289" cy="18432"/>
                </a:xfrm>
                <a:custGeom>
                  <a:avLst/>
                  <a:gdLst>
                    <a:gd name="connsiteX0" fmla="*/ 18026 w 18289"/>
                    <a:gd name="connsiteY0" fmla="*/ 11471 h 18432"/>
                    <a:gd name="connsiteX1" fmla="*/ 11328 w 18289"/>
                    <a:gd name="connsiteY1" fmla="*/ 286 h 18432"/>
                    <a:gd name="connsiteX2" fmla="*/ 263 w 18289"/>
                    <a:gd name="connsiteY2" fmla="*/ 6985 h 18432"/>
                    <a:gd name="connsiteX3" fmla="*/ 6962 w 18289"/>
                    <a:gd name="connsiteY3" fmla="*/ 18169 h 18432"/>
                    <a:gd name="connsiteX4" fmla="*/ 18026 w 18289"/>
                    <a:gd name="connsiteY4" fmla="*/ 11471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32">
                      <a:moveTo>
                        <a:pt x="18026" y="11471"/>
                      </a:moveTo>
                      <a:cubicBezTo>
                        <a:pt x="19222" y="6507"/>
                        <a:pt x="16232" y="1542"/>
                        <a:pt x="11328" y="286"/>
                      </a:cubicBezTo>
                      <a:cubicBezTo>
                        <a:pt x="6424" y="-969"/>
                        <a:pt x="1460" y="2021"/>
                        <a:pt x="263" y="6985"/>
                      </a:cubicBezTo>
                      <a:cubicBezTo>
                        <a:pt x="-933" y="11889"/>
                        <a:pt x="2058" y="16913"/>
                        <a:pt x="6962" y="18169"/>
                      </a:cubicBezTo>
                      <a:cubicBezTo>
                        <a:pt x="11866" y="19365"/>
                        <a:pt x="16830" y="16374"/>
                        <a:pt x="18026" y="11471"/>
                      </a:cubicBezTo>
                      <a:close/>
                    </a:path>
                  </a:pathLst>
                </a:custGeom>
                <a:grpFill/>
                <a:ln w="5978" cap="flat">
                  <a:noFill/>
                  <a:prstDash val="solid"/>
                  <a:miter/>
                </a:ln>
              </p:spPr>
              <p:txBody>
                <a:bodyPr rtlCol="0" anchor="ctr"/>
                <a:lstStyle/>
                <a:p>
                  <a:endParaRPr lang="en-GB"/>
                </a:p>
              </p:txBody>
            </p:sp>
          </p:grpSp>
          <p:grpSp>
            <p:nvGrpSpPr>
              <p:cNvPr id="963" name="Graphic 3">
                <a:extLst>
                  <a:ext uri="{FF2B5EF4-FFF2-40B4-BE49-F238E27FC236}">
                    <a16:creationId xmlns:a16="http://schemas.microsoft.com/office/drawing/2014/main" id="{D92F7018-E7B1-4069-B185-328E963A04A3}"/>
                  </a:ext>
                </a:extLst>
              </p:cNvPr>
              <p:cNvGrpSpPr/>
              <p:nvPr/>
            </p:nvGrpSpPr>
            <p:grpSpPr>
              <a:xfrm>
                <a:off x="5498479" y="5457692"/>
                <a:ext cx="102839" cy="392586"/>
                <a:chOff x="5498479" y="5457692"/>
                <a:chExt cx="102839" cy="392586"/>
              </a:xfrm>
              <a:grpFill/>
            </p:grpSpPr>
            <p:sp>
              <p:nvSpPr>
                <p:cNvPr id="2510" name="Vrije vorm: vorm 2509">
                  <a:extLst>
                    <a:ext uri="{FF2B5EF4-FFF2-40B4-BE49-F238E27FC236}">
                      <a16:creationId xmlns:a16="http://schemas.microsoft.com/office/drawing/2014/main" id="{F7640267-A67C-4E68-A436-DF736CD517B3}"/>
                    </a:ext>
                  </a:extLst>
                </p:cNvPr>
                <p:cNvSpPr/>
                <p:nvPr/>
              </p:nvSpPr>
              <p:spPr>
                <a:xfrm>
                  <a:off x="5506051" y="5466120"/>
                  <a:ext cx="87737" cy="375768"/>
                </a:xfrm>
                <a:custGeom>
                  <a:avLst/>
                  <a:gdLst>
                    <a:gd name="connsiteX0" fmla="*/ 87737 w 87737"/>
                    <a:gd name="connsiteY0" fmla="*/ 658 h 375768"/>
                    <a:gd name="connsiteX1" fmla="*/ 2990 w 87737"/>
                    <a:gd name="connsiteY1" fmla="*/ 375769 h 375768"/>
                    <a:gd name="connsiteX2" fmla="*/ 0 w 87737"/>
                    <a:gd name="connsiteY2" fmla="*/ 375051 h 375768"/>
                    <a:gd name="connsiteX3" fmla="*/ 84747 w 87737"/>
                    <a:gd name="connsiteY3" fmla="*/ 0 h 375768"/>
                  </a:gdLst>
                  <a:ahLst/>
                  <a:cxnLst>
                    <a:cxn ang="0">
                      <a:pos x="connsiteX0" y="connsiteY0"/>
                    </a:cxn>
                    <a:cxn ang="0">
                      <a:pos x="connsiteX1" y="connsiteY1"/>
                    </a:cxn>
                    <a:cxn ang="0">
                      <a:pos x="connsiteX2" y="connsiteY2"/>
                    </a:cxn>
                    <a:cxn ang="0">
                      <a:pos x="connsiteX3" y="connsiteY3"/>
                    </a:cxn>
                  </a:cxnLst>
                  <a:rect l="l" t="t" r="r" b="b"/>
                  <a:pathLst>
                    <a:path w="87737" h="375768">
                      <a:moveTo>
                        <a:pt x="87737" y="658"/>
                      </a:moveTo>
                      <a:lnTo>
                        <a:pt x="2990" y="375769"/>
                      </a:lnTo>
                      <a:lnTo>
                        <a:pt x="0" y="375051"/>
                      </a:lnTo>
                      <a:lnTo>
                        <a:pt x="84747" y="0"/>
                      </a:lnTo>
                      <a:close/>
                    </a:path>
                  </a:pathLst>
                </a:custGeom>
                <a:grpFill/>
                <a:ln w="5978" cap="flat">
                  <a:noFill/>
                  <a:prstDash val="solid"/>
                  <a:miter/>
                </a:ln>
              </p:spPr>
              <p:txBody>
                <a:bodyPr rtlCol="0" anchor="ctr"/>
                <a:lstStyle/>
                <a:p>
                  <a:endParaRPr lang="en-GB"/>
                </a:p>
              </p:txBody>
            </p:sp>
            <p:sp>
              <p:nvSpPr>
                <p:cNvPr id="2511" name="Vrije vorm: vorm 2510">
                  <a:extLst>
                    <a:ext uri="{FF2B5EF4-FFF2-40B4-BE49-F238E27FC236}">
                      <a16:creationId xmlns:a16="http://schemas.microsoft.com/office/drawing/2014/main" id="{6D1FC5FE-6328-429F-A65B-B57E46286545}"/>
                    </a:ext>
                  </a:extLst>
                </p:cNvPr>
                <p:cNvSpPr/>
                <p:nvPr/>
              </p:nvSpPr>
              <p:spPr>
                <a:xfrm>
                  <a:off x="5498479" y="5831824"/>
                  <a:ext cx="18332" cy="18454"/>
                </a:xfrm>
                <a:custGeom>
                  <a:avLst/>
                  <a:gdLst>
                    <a:gd name="connsiteX0" fmla="*/ 18098 w 18332"/>
                    <a:gd name="connsiteY0" fmla="*/ 11320 h 18454"/>
                    <a:gd name="connsiteX1" fmla="*/ 7153 w 18332"/>
                    <a:gd name="connsiteY1" fmla="*/ 18198 h 18454"/>
                    <a:gd name="connsiteX2" fmla="*/ 216 w 18332"/>
                    <a:gd name="connsiteY2" fmla="*/ 7134 h 18454"/>
                    <a:gd name="connsiteX3" fmla="*/ 11161 w 18332"/>
                    <a:gd name="connsiteY3" fmla="*/ 256 h 18454"/>
                    <a:gd name="connsiteX4" fmla="*/ 18098 w 18332"/>
                    <a:gd name="connsiteY4" fmla="*/ 11320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4">
                      <a:moveTo>
                        <a:pt x="18098" y="11320"/>
                      </a:moveTo>
                      <a:cubicBezTo>
                        <a:pt x="16962" y="16284"/>
                        <a:pt x="12058" y="19395"/>
                        <a:pt x="7153" y="18198"/>
                      </a:cubicBezTo>
                      <a:cubicBezTo>
                        <a:pt x="2190" y="17062"/>
                        <a:pt x="-861" y="12098"/>
                        <a:pt x="216" y="7134"/>
                      </a:cubicBezTo>
                      <a:cubicBezTo>
                        <a:pt x="1352" y="2170"/>
                        <a:pt x="6256" y="-940"/>
                        <a:pt x="11161" y="256"/>
                      </a:cubicBezTo>
                      <a:cubicBezTo>
                        <a:pt x="16124" y="1452"/>
                        <a:pt x="19234" y="6357"/>
                        <a:pt x="18098" y="11320"/>
                      </a:cubicBezTo>
                      <a:close/>
                    </a:path>
                  </a:pathLst>
                </a:custGeom>
                <a:grpFill/>
                <a:ln w="5978" cap="flat">
                  <a:noFill/>
                  <a:prstDash val="solid"/>
                  <a:miter/>
                </a:ln>
              </p:spPr>
              <p:txBody>
                <a:bodyPr rtlCol="0" anchor="ctr"/>
                <a:lstStyle/>
                <a:p>
                  <a:endParaRPr lang="en-GB"/>
                </a:p>
              </p:txBody>
            </p:sp>
            <p:sp>
              <p:nvSpPr>
                <p:cNvPr id="2512" name="Vrije vorm: vorm 2511">
                  <a:extLst>
                    <a:ext uri="{FF2B5EF4-FFF2-40B4-BE49-F238E27FC236}">
                      <a16:creationId xmlns:a16="http://schemas.microsoft.com/office/drawing/2014/main" id="{7CD57B95-7182-47F4-B3ED-3394210CF335}"/>
                    </a:ext>
                  </a:extLst>
                </p:cNvPr>
                <p:cNvSpPr/>
                <p:nvPr/>
              </p:nvSpPr>
              <p:spPr>
                <a:xfrm>
                  <a:off x="5582969" y="5457692"/>
                  <a:ext cx="18350" cy="18413"/>
                </a:xfrm>
                <a:custGeom>
                  <a:avLst/>
                  <a:gdLst>
                    <a:gd name="connsiteX0" fmla="*/ 18116 w 18350"/>
                    <a:gd name="connsiteY0" fmla="*/ 11298 h 18413"/>
                    <a:gd name="connsiteX1" fmla="*/ 11179 w 18350"/>
                    <a:gd name="connsiteY1" fmla="*/ 234 h 18413"/>
                    <a:gd name="connsiteX2" fmla="*/ 234 w 18350"/>
                    <a:gd name="connsiteY2" fmla="*/ 7112 h 18413"/>
                    <a:gd name="connsiteX3" fmla="*/ 7172 w 18350"/>
                    <a:gd name="connsiteY3" fmla="*/ 18176 h 18413"/>
                    <a:gd name="connsiteX4" fmla="*/ 18116 w 18350"/>
                    <a:gd name="connsiteY4" fmla="*/ 1129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3">
                      <a:moveTo>
                        <a:pt x="18116" y="11298"/>
                      </a:moveTo>
                      <a:cubicBezTo>
                        <a:pt x="19253" y="6335"/>
                        <a:pt x="16143" y="1371"/>
                        <a:pt x="11179" y="234"/>
                      </a:cubicBezTo>
                      <a:cubicBezTo>
                        <a:pt x="6215" y="-902"/>
                        <a:pt x="1311" y="2208"/>
                        <a:pt x="234" y="7112"/>
                      </a:cubicBezTo>
                      <a:cubicBezTo>
                        <a:pt x="-902" y="12076"/>
                        <a:pt x="2208" y="17040"/>
                        <a:pt x="7172" y="18176"/>
                      </a:cubicBezTo>
                      <a:cubicBezTo>
                        <a:pt x="12136" y="19313"/>
                        <a:pt x="17040" y="16263"/>
                        <a:pt x="18116" y="11298"/>
                      </a:cubicBezTo>
                      <a:close/>
                    </a:path>
                  </a:pathLst>
                </a:custGeom>
                <a:grpFill/>
                <a:ln w="5978" cap="flat">
                  <a:noFill/>
                  <a:prstDash val="solid"/>
                  <a:miter/>
                </a:ln>
              </p:spPr>
              <p:txBody>
                <a:bodyPr rtlCol="0" anchor="ctr"/>
                <a:lstStyle/>
                <a:p>
                  <a:endParaRPr lang="en-GB"/>
                </a:p>
              </p:txBody>
            </p:sp>
          </p:grpSp>
          <p:grpSp>
            <p:nvGrpSpPr>
              <p:cNvPr id="964" name="Graphic 3">
                <a:extLst>
                  <a:ext uri="{FF2B5EF4-FFF2-40B4-BE49-F238E27FC236}">
                    <a16:creationId xmlns:a16="http://schemas.microsoft.com/office/drawing/2014/main" id="{D18F513A-C9A1-4771-BB44-809284BF3C84}"/>
                  </a:ext>
                </a:extLst>
              </p:cNvPr>
              <p:cNvGrpSpPr/>
              <p:nvPr/>
            </p:nvGrpSpPr>
            <p:grpSpPr>
              <a:xfrm>
                <a:off x="5282121" y="4933634"/>
                <a:ext cx="53552" cy="92327"/>
                <a:chOff x="5282121" y="4933634"/>
                <a:chExt cx="53552" cy="92327"/>
              </a:xfrm>
              <a:grpFill/>
            </p:grpSpPr>
            <p:sp>
              <p:nvSpPr>
                <p:cNvPr id="2507" name="Vrije vorm: vorm 2506">
                  <a:extLst>
                    <a:ext uri="{FF2B5EF4-FFF2-40B4-BE49-F238E27FC236}">
                      <a16:creationId xmlns:a16="http://schemas.microsoft.com/office/drawing/2014/main" id="{F5A36A72-3F44-4794-8355-61AFEC189C88}"/>
                    </a:ext>
                  </a:extLst>
                </p:cNvPr>
                <p:cNvSpPr/>
                <p:nvPr/>
              </p:nvSpPr>
              <p:spPr>
                <a:xfrm>
                  <a:off x="5289669" y="4941791"/>
                  <a:ext cx="38456" cy="76014"/>
                </a:xfrm>
                <a:custGeom>
                  <a:avLst/>
                  <a:gdLst>
                    <a:gd name="connsiteX0" fmla="*/ 38456 w 38456"/>
                    <a:gd name="connsiteY0" fmla="*/ 1375 h 76014"/>
                    <a:gd name="connsiteX1" fmla="*/ 2751 w 38456"/>
                    <a:gd name="connsiteY1" fmla="*/ 76015 h 76014"/>
                    <a:gd name="connsiteX2" fmla="*/ 0 w 38456"/>
                    <a:gd name="connsiteY2" fmla="*/ 74699 h 76014"/>
                    <a:gd name="connsiteX3" fmla="*/ 35705 w 38456"/>
                    <a:gd name="connsiteY3" fmla="*/ 0 h 76014"/>
                  </a:gdLst>
                  <a:ahLst/>
                  <a:cxnLst>
                    <a:cxn ang="0">
                      <a:pos x="connsiteX0" y="connsiteY0"/>
                    </a:cxn>
                    <a:cxn ang="0">
                      <a:pos x="connsiteX1" y="connsiteY1"/>
                    </a:cxn>
                    <a:cxn ang="0">
                      <a:pos x="connsiteX2" y="connsiteY2"/>
                    </a:cxn>
                    <a:cxn ang="0">
                      <a:pos x="connsiteX3" y="connsiteY3"/>
                    </a:cxn>
                  </a:cxnLst>
                  <a:rect l="l" t="t" r="r" b="b"/>
                  <a:pathLst>
                    <a:path w="38456" h="76014">
                      <a:moveTo>
                        <a:pt x="38456" y="1375"/>
                      </a:moveTo>
                      <a:lnTo>
                        <a:pt x="2751" y="76015"/>
                      </a:lnTo>
                      <a:lnTo>
                        <a:pt x="0" y="74699"/>
                      </a:lnTo>
                      <a:lnTo>
                        <a:pt x="35705" y="0"/>
                      </a:lnTo>
                      <a:close/>
                    </a:path>
                  </a:pathLst>
                </a:custGeom>
                <a:grpFill/>
                <a:ln w="5978" cap="flat">
                  <a:noFill/>
                  <a:prstDash val="solid"/>
                  <a:miter/>
                </a:ln>
              </p:spPr>
              <p:txBody>
                <a:bodyPr rtlCol="0" anchor="ctr"/>
                <a:lstStyle/>
                <a:p>
                  <a:endParaRPr lang="en-GB"/>
                </a:p>
              </p:txBody>
            </p:sp>
            <p:sp>
              <p:nvSpPr>
                <p:cNvPr id="2508" name="Vrije vorm: vorm 2507">
                  <a:extLst>
                    <a:ext uri="{FF2B5EF4-FFF2-40B4-BE49-F238E27FC236}">
                      <a16:creationId xmlns:a16="http://schemas.microsoft.com/office/drawing/2014/main" id="{C9AB5D41-A008-447B-B645-4A61652ED85B}"/>
                    </a:ext>
                  </a:extLst>
                </p:cNvPr>
                <p:cNvSpPr/>
                <p:nvPr/>
              </p:nvSpPr>
              <p:spPr>
                <a:xfrm>
                  <a:off x="5282121" y="5007496"/>
                  <a:ext cx="18299" cy="18465"/>
                </a:xfrm>
                <a:custGeom>
                  <a:avLst/>
                  <a:gdLst>
                    <a:gd name="connsiteX0" fmla="*/ 17416 w 18299"/>
                    <a:gd name="connsiteY0" fmla="*/ 13240 h 18465"/>
                    <a:gd name="connsiteX1" fmla="*/ 5216 w 18299"/>
                    <a:gd name="connsiteY1" fmla="*/ 17546 h 18465"/>
                    <a:gd name="connsiteX2" fmla="*/ 910 w 18299"/>
                    <a:gd name="connsiteY2" fmla="*/ 5226 h 18465"/>
                    <a:gd name="connsiteX3" fmla="*/ 13110 w 18299"/>
                    <a:gd name="connsiteY3" fmla="*/ 920 h 18465"/>
                    <a:gd name="connsiteX4" fmla="*/ 17416 w 18299"/>
                    <a:gd name="connsiteY4" fmla="*/ 1324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65">
                      <a:moveTo>
                        <a:pt x="17416" y="13240"/>
                      </a:moveTo>
                      <a:cubicBezTo>
                        <a:pt x="15204" y="17845"/>
                        <a:pt x="9761" y="19759"/>
                        <a:pt x="5216" y="17546"/>
                      </a:cubicBezTo>
                      <a:cubicBezTo>
                        <a:pt x="670" y="15333"/>
                        <a:pt x="-1303" y="9831"/>
                        <a:pt x="910" y="5226"/>
                      </a:cubicBezTo>
                      <a:cubicBezTo>
                        <a:pt x="3122" y="621"/>
                        <a:pt x="8565" y="-1293"/>
                        <a:pt x="13110" y="920"/>
                      </a:cubicBezTo>
                      <a:cubicBezTo>
                        <a:pt x="17656" y="3133"/>
                        <a:pt x="19569" y="8635"/>
                        <a:pt x="17416" y="13240"/>
                      </a:cubicBezTo>
                      <a:close/>
                    </a:path>
                  </a:pathLst>
                </a:custGeom>
                <a:grpFill/>
                <a:ln w="5978" cap="flat">
                  <a:noFill/>
                  <a:prstDash val="solid"/>
                  <a:miter/>
                </a:ln>
              </p:spPr>
              <p:txBody>
                <a:bodyPr rtlCol="0" anchor="ctr"/>
                <a:lstStyle/>
                <a:p>
                  <a:endParaRPr lang="en-GB"/>
                </a:p>
              </p:txBody>
            </p:sp>
            <p:sp>
              <p:nvSpPr>
                <p:cNvPr id="2509" name="Vrije vorm: vorm 2508">
                  <a:extLst>
                    <a:ext uri="{FF2B5EF4-FFF2-40B4-BE49-F238E27FC236}">
                      <a16:creationId xmlns:a16="http://schemas.microsoft.com/office/drawing/2014/main" id="{8C5ECB1F-C260-41D9-8A16-8C1B56D9D27B}"/>
                    </a:ext>
                  </a:extLst>
                </p:cNvPr>
                <p:cNvSpPr/>
                <p:nvPr/>
              </p:nvSpPr>
              <p:spPr>
                <a:xfrm>
                  <a:off x="5317347" y="4933634"/>
                  <a:ext cx="18325" cy="18466"/>
                </a:xfrm>
                <a:custGeom>
                  <a:avLst/>
                  <a:gdLst>
                    <a:gd name="connsiteX0" fmla="*/ 17416 w 18325"/>
                    <a:gd name="connsiteY0" fmla="*/ 13240 h 18466"/>
                    <a:gd name="connsiteX1" fmla="*/ 13110 w 18325"/>
                    <a:gd name="connsiteY1" fmla="*/ 920 h 18466"/>
                    <a:gd name="connsiteX2" fmla="*/ 910 w 18325"/>
                    <a:gd name="connsiteY2" fmla="*/ 5226 h 18466"/>
                    <a:gd name="connsiteX3" fmla="*/ 5216 w 18325"/>
                    <a:gd name="connsiteY3" fmla="*/ 17546 h 18466"/>
                    <a:gd name="connsiteX4" fmla="*/ 17416 w 18325"/>
                    <a:gd name="connsiteY4" fmla="*/ 13240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6">
                      <a:moveTo>
                        <a:pt x="17416" y="13240"/>
                      </a:moveTo>
                      <a:cubicBezTo>
                        <a:pt x="19629" y="8635"/>
                        <a:pt x="17656" y="3133"/>
                        <a:pt x="13110" y="920"/>
                      </a:cubicBezTo>
                      <a:cubicBezTo>
                        <a:pt x="8565" y="-1293"/>
                        <a:pt x="3063" y="621"/>
                        <a:pt x="910" y="5226"/>
                      </a:cubicBezTo>
                      <a:cubicBezTo>
                        <a:pt x="-1303" y="9831"/>
                        <a:pt x="670" y="15333"/>
                        <a:pt x="5216" y="17546"/>
                      </a:cubicBezTo>
                      <a:cubicBezTo>
                        <a:pt x="9761" y="19759"/>
                        <a:pt x="15263" y="17845"/>
                        <a:pt x="17416" y="13240"/>
                      </a:cubicBezTo>
                      <a:close/>
                    </a:path>
                  </a:pathLst>
                </a:custGeom>
                <a:grpFill/>
                <a:ln w="5978" cap="flat">
                  <a:noFill/>
                  <a:prstDash val="solid"/>
                  <a:miter/>
                </a:ln>
              </p:spPr>
              <p:txBody>
                <a:bodyPr rtlCol="0" anchor="ctr"/>
                <a:lstStyle/>
                <a:p>
                  <a:endParaRPr lang="en-GB"/>
                </a:p>
              </p:txBody>
            </p:sp>
          </p:grpSp>
          <p:grpSp>
            <p:nvGrpSpPr>
              <p:cNvPr id="965" name="Graphic 3">
                <a:extLst>
                  <a:ext uri="{FF2B5EF4-FFF2-40B4-BE49-F238E27FC236}">
                    <a16:creationId xmlns:a16="http://schemas.microsoft.com/office/drawing/2014/main" id="{03B6EFA5-25AA-4104-94A1-DFFE4707484D}"/>
                  </a:ext>
                </a:extLst>
              </p:cNvPr>
              <p:cNvGrpSpPr/>
              <p:nvPr/>
            </p:nvGrpSpPr>
            <p:grpSpPr>
              <a:xfrm>
                <a:off x="5283306" y="4961229"/>
                <a:ext cx="109101" cy="228282"/>
                <a:chOff x="5283306" y="4961229"/>
                <a:chExt cx="109101" cy="228282"/>
              </a:xfrm>
              <a:grpFill/>
            </p:grpSpPr>
            <p:sp>
              <p:nvSpPr>
                <p:cNvPr id="2504" name="Vrije vorm: vorm 2503">
                  <a:extLst>
                    <a:ext uri="{FF2B5EF4-FFF2-40B4-BE49-F238E27FC236}">
                      <a16:creationId xmlns:a16="http://schemas.microsoft.com/office/drawing/2014/main" id="{11C6E957-9F2A-47B7-ABB7-0219503D20D1}"/>
                    </a:ext>
                  </a:extLst>
                </p:cNvPr>
                <p:cNvSpPr/>
                <p:nvPr/>
              </p:nvSpPr>
              <p:spPr>
                <a:xfrm>
                  <a:off x="5290925" y="4969422"/>
                  <a:ext cx="93897" cy="211956"/>
                </a:xfrm>
                <a:custGeom>
                  <a:avLst/>
                  <a:gdLst>
                    <a:gd name="connsiteX0" fmla="*/ 93897 w 93897"/>
                    <a:gd name="connsiteY0" fmla="*/ 1196 h 211956"/>
                    <a:gd name="connsiteX1" fmla="*/ 2751 w 93897"/>
                    <a:gd name="connsiteY1" fmla="*/ 211957 h 211956"/>
                    <a:gd name="connsiteX2" fmla="*/ 0 w 93897"/>
                    <a:gd name="connsiteY2" fmla="*/ 210701 h 211956"/>
                    <a:gd name="connsiteX3" fmla="*/ 91146 w 93897"/>
                    <a:gd name="connsiteY3" fmla="*/ 0 h 211956"/>
                  </a:gdLst>
                  <a:ahLst/>
                  <a:cxnLst>
                    <a:cxn ang="0">
                      <a:pos x="connsiteX0" y="connsiteY0"/>
                    </a:cxn>
                    <a:cxn ang="0">
                      <a:pos x="connsiteX1" y="connsiteY1"/>
                    </a:cxn>
                    <a:cxn ang="0">
                      <a:pos x="connsiteX2" y="connsiteY2"/>
                    </a:cxn>
                    <a:cxn ang="0">
                      <a:pos x="connsiteX3" y="connsiteY3"/>
                    </a:cxn>
                  </a:cxnLst>
                  <a:rect l="l" t="t" r="r" b="b"/>
                  <a:pathLst>
                    <a:path w="93897" h="211956">
                      <a:moveTo>
                        <a:pt x="93897" y="1196"/>
                      </a:moveTo>
                      <a:lnTo>
                        <a:pt x="2751" y="211957"/>
                      </a:lnTo>
                      <a:lnTo>
                        <a:pt x="0" y="210701"/>
                      </a:lnTo>
                      <a:lnTo>
                        <a:pt x="91146" y="0"/>
                      </a:lnTo>
                      <a:close/>
                    </a:path>
                  </a:pathLst>
                </a:custGeom>
                <a:grpFill/>
                <a:ln w="5978" cap="flat">
                  <a:noFill/>
                  <a:prstDash val="solid"/>
                  <a:miter/>
                </a:ln>
              </p:spPr>
              <p:txBody>
                <a:bodyPr rtlCol="0" anchor="ctr"/>
                <a:lstStyle/>
                <a:p>
                  <a:endParaRPr lang="en-GB"/>
                </a:p>
              </p:txBody>
            </p:sp>
            <p:sp>
              <p:nvSpPr>
                <p:cNvPr id="2505" name="Vrije vorm: vorm 2504">
                  <a:extLst>
                    <a:ext uri="{FF2B5EF4-FFF2-40B4-BE49-F238E27FC236}">
                      <a16:creationId xmlns:a16="http://schemas.microsoft.com/office/drawing/2014/main" id="{62F21B3F-DEFF-4AEB-82C4-9C61CD53FBB2}"/>
                    </a:ext>
                  </a:extLst>
                </p:cNvPr>
                <p:cNvSpPr/>
                <p:nvPr/>
              </p:nvSpPr>
              <p:spPr>
                <a:xfrm>
                  <a:off x="5283306" y="5171092"/>
                  <a:ext cx="18348" cy="18418"/>
                </a:xfrm>
                <a:custGeom>
                  <a:avLst/>
                  <a:gdLst>
                    <a:gd name="connsiteX0" fmla="*/ 17607 w 18348"/>
                    <a:gd name="connsiteY0" fmla="*/ 12917 h 18418"/>
                    <a:gd name="connsiteX1" fmla="*/ 5526 w 18348"/>
                    <a:gd name="connsiteY1" fmla="*/ 17642 h 18418"/>
                    <a:gd name="connsiteX2" fmla="*/ 741 w 18348"/>
                    <a:gd name="connsiteY2" fmla="*/ 5501 h 18418"/>
                    <a:gd name="connsiteX3" fmla="*/ 12822 w 18348"/>
                    <a:gd name="connsiteY3" fmla="*/ 776 h 18418"/>
                    <a:gd name="connsiteX4" fmla="*/ 17607 w 1834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8">
                      <a:moveTo>
                        <a:pt x="17607" y="12917"/>
                      </a:moveTo>
                      <a:cubicBezTo>
                        <a:pt x="15573" y="17582"/>
                        <a:pt x="10191" y="19676"/>
                        <a:pt x="5526" y="17642"/>
                      </a:cubicBezTo>
                      <a:cubicBezTo>
                        <a:pt x="861" y="15609"/>
                        <a:pt x="-1232" y="10166"/>
                        <a:pt x="741" y="5501"/>
                      </a:cubicBezTo>
                      <a:cubicBezTo>
                        <a:pt x="2775" y="836"/>
                        <a:pt x="8157" y="-1257"/>
                        <a:pt x="12822" y="776"/>
                      </a:cubicBezTo>
                      <a:cubicBezTo>
                        <a:pt x="17487" y="2870"/>
                        <a:pt x="19581" y="8312"/>
                        <a:pt x="17607" y="12917"/>
                      </a:cubicBezTo>
                      <a:close/>
                    </a:path>
                  </a:pathLst>
                </a:custGeom>
                <a:grpFill/>
                <a:ln w="5978" cap="flat">
                  <a:noFill/>
                  <a:prstDash val="solid"/>
                  <a:miter/>
                </a:ln>
              </p:spPr>
              <p:txBody>
                <a:bodyPr rtlCol="0" anchor="ctr"/>
                <a:lstStyle/>
                <a:p>
                  <a:endParaRPr lang="en-GB"/>
                </a:p>
              </p:txBody>
            </p:sp>
            <p:sp>
              <p:nvSpPr>
                <p:cNvPr id="2506" name="Vrije vorm: vorm 2505">
                  <a:extLst>
                    <a:ext uri="{FF2B5EF4-FFF2-40B4-BE49-F238E27FC236}">
                      <a16:creationId xmlns:a16="http://schemas.microsoft.com/office/drawing/2014/main" id="{F66F8DDB-BE19-4EF5-A915-63301B8450C0}"/>
                    </a:ext>
                  </a:extLst>
                </p:cNvPr>
                <p:cNvSpPr/>
                <p:nvPr/>
              </p:nvSpPr>
              <p:spPr>
                <a:xfrm>
                  <a:off x="5374008" y="4961229"/>
                  <a:ext cx="18399" cy="18418"/>
                </a:xfrm>
                <a:custGeom>
                  <a:avLst/>
                  <a:gdLst>
                    <a:gd name="connsiteX0" fmla="*/ 17632 w 18399"/>
                    <a:gd name="connsiteY0" fmla="*/ 12917 h 18418"/>
                    <a:gd name="connsiteX1" fmla="*/ 12848 w 18399"/>
                    <a:gd name="connsiteY1" fmla="*/ 777 h 18418"/>
                    <a:gd name="connsiteX2" fmla="*/ 767 w 18399"/>
                    <a:gd name="connsiteY2" fmla="*/ 5501 h 18418"/>
                    <a:gd name="connsiteX3" fmla="*/ 5551 w 18399"/>
                    <a:gd name="connsiteY3" fmla="*/ 17642 h 18418"/>
                    <a:gd name="connsiteX4" fmla="*/ 17632 w 18399"/>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18">
                      <a:moveTo>
                        <a:pt x="17632" y="12917"/>
                      </a:moveTo>
                      <a:cubicBezTo>
                        <a:pt x="19666" y="8252"/>
                        <a:pt x="17513" y="2810"/>
                        <a:pt x="12848" y="777"/>
                      </a:cubicBezTo>
                      <a:cubicBezTo>
                        <a:pt x="8183" y="-1257"/>
                        <a:pt x="2800" y="836"/>
                        <a:pt x="767" y="5501"/>
                      </a:cubicBezTo>
                      <a:cubicBezTo>
                        <a:pt x="-1267" y="10166"/>
                        <a:pt x="886" y="15609"/>
                        <a:pt x="5551" y="17642"/>
                      </a:cubicBezTo>
                      <a:cubicBezTo>
                        <a:pt x="10276" y="19676"/>
                        <a:pt x="15659" y="17582"/>
                        <a:pt x="17632" y="12917"/>
                      </a:cubicBezTo>
                      <a:close/>
                    </a:path>
                  </a:pathLst>
                </a:custGeom>
                <a:grpFill/>
                <a:ln w="5978" cap="flat">
                  <a:noFill/>
                  <a:prstDash val="solid"/>
                  <a:miter/>
                </a:ln>
              </p:spPr>
              <p:txBody>
                <a:bodyPr rtlCol="0" anchor="ctr"/>
                <a:lstStyle/>
                <a:p>
                  <a:endParaRPr lang="en-GB"/>
                </a:p>
              </p:txBody>
            </p:sp>
          </p:grpSp>
          <p:grpSp>
            <p:nvGrpSpPr>
              <p:cNvPr id="966" name="Graphic 3">
                <a:extLst>
                  <a:ext uri="{FF2B5EF4-FFF2-40B4-BE49-F238E27FC236}">
                    <a16:creationId xmlns:a16="http://schemas.microsoft.com/office/drawing/2014/main" id="{83D91385-673E-49BE-800D-1AC07CE37F8B}"/>
                  </a:ext>
                </a:extLst>
              </p:cNvPr>
              <p:cNvGrpSpPr/>
              <p:nvPr/>
            </p:nvGrpSpPr>
            <p:grpSpPr>
              <a:xfrm>
                <a:off x="5272597" y="4904743"/>
                <a:ext cx="42325" cy="66259"/>
                <a:chOff x="5272597" y="4904743"/>
                <a:chExt cx="42325" cy="66259"/>
              </a:xfrm>
              <a:grpFill/>
            </p:grpSpPr>
            <p:sp>
              <p:nvSpPr>
                <p:cNvPr id="2501" name="Vrije vorm: vorm 2500">
                  <a:extLst>
                    <a:ext uri="{FF2B5EF4-FFF2-40B4-BE49-F238E27FC236}">
                      <a16:creationId xmlns:a16="http://schemas.microsoft.com/office/drawing/2014/main" id="{18CF4AB9-8BB1-46AA-84FF-0556368D05D0}"/>
                    </a:ext>
                  </a:extLst>
                </p:cNvPr>
                <p:cNvSpPr/>
                <p:nvPr/>
              </p:nvSpPr>
              <p:spPr>
                <a:xfrm>
                  <a:off x="5280219" y="4912844"/>
                  <a:ext cx="27092" cy="50058"/>
                </a:xfrm>
                <a:custGeom>
                  <a:avLst/>
                  <a:gdLst>
                    <a:gd name="connsiteX0" fmla="*/ 27093 w 27092"/>
                    <a:gd name="connsiteY0" fmla="*/ 1376 h 50058"/>
                    <a:gd name="connsiteX1" fmla="*/ 2751 w 27092"/>
                    <a:gd name="connsiteY1" fmla="*/ 50059 h 50058"/>
                    <a:gd name="connsiteX2" fmla="*/ 0 w 27092"/>
                    <a:gd name="connsiteY2" fmla="*/ 48683 h 50058"/>
                    <a:gd name="connsiteX3" fmla="*/ 24401 w 27092"/>
                    <a:gd name="connsiteY3" fmla="*/ 0 h 50058"/>
                  </a:gdLst>
                  <a:ahLst/>
                  <a:cxnLst>
                    <a:cxn ang="0">
                      <a:pos x="connsiteX0" y="connsiteY0"/>
                    </a:cxn>
                    <a:cxn ang="0">
                      <a:pos x="connsiteX1" y="connsiteY1"/>
                    </a:cxn>
                    <a:cxn ang="0">
                      <a:pos x="connsiteX2" y="connsiteY2"/>
                    </a:cxn>
                    <a:cxn ang="0">
                      <a:pos x="connsiteX3" y="connsiteY3"/>
                    </a:cxn>
                  </a:cxnLst>
                  <a:rect l="l" t="t" r="r" b="b"/>
                  <a:pathLst>
                    <a:path w="27092" h="50058">
                      <a:moveTo>
                        <a:pt x="27093" y="1376"/>
                      </a:moveTo>
                      <a:lnTo>
                        <a:pt x="2751" y="50059"/>
                      </a:lnTo>
                      <a:lnTo>
                        <a:pt x="0" y="48683"/>
                      </a:lnTo>
                      <a:lnTo>
                        <a:pt x="24401" y="0"/>
                      </a:lnTo>
                      <a:close/>
                    </a:path>
                  </a:pathLst>
                </a:custGeom>
                <a:grpFill/>
                <a:ln w="5978" cap="flat">
                  <a:noFill/>
                  <a:prstDash val="solid"/>
                  <a:miter/>
                </a:ln>
              </p:spPr>
              <p:txBody>
                <a:bodyPr rtlCol="0" anchor="ctr"/>
                <a:lstStyle/>
                <a:p>
                  <a:endParaRPr lang="en-GB"/>
                </a:p>
              </p:txBody>
            </p:sp>
            <p:sp>
              <p:nvSpPr>
                <p:cNvPr id="2502" name="Vrije vorm: vorm 2501">
                  <a:extLst>
                    <a:ext uri="{FF2B5EF4-FFF2-40B4-BE49-F238E27FC236}">
                      <a16:creationId xmlns:a16="http://schemas.microsoft.com/office/drawing/2014/main" id="{F8379163-AEDE-403E-B3E4-606C97B94E89}"/>
                    </a:ext>
                  </a:extLst>
                </p:cNvPr>
                <p:cNvSpPr/>
                <p:nvPr/>
              </p:nvSpPr>
              <p:spPr>
                <a:xfrm>
                  <a:off x="5272597" y="4952589"/>
                  <a:ext cx="18353" cy="18413"/>
                </a:xfrm>
                <a:custGeom>
                  <a:avLst/>
                  <a:gdLst>
                    <a:gd name="connsiteX0" fmla="*/ 17371 w 18353"/>
                    <a:gd name="connsiteY0" fmla="*/ 13363 h 18413"/>
                    <a:gd name="connsiteX1" fmla="*/ 5050 w 18353"/>
                    <a:gd name="connsiteY1" fmla="*/ 17430 h 18413"/>
                    <a:gd name="connsiteX2" fmla="*/ 983 w 18353"/>
                    <a:gd name="connsiteY2" fmla="*/ 5050 h 18413"/>
                    <a:gd name="connsiteX3" fmla="*/ 13304 w 18353"/>
                    <a:gd name="connsiteY3" fmla="*/ 983 h 18413"/>
                    <a:gd name="connsiteX4" fmla="*/ 17371 w 18353"/>
                    <a:gd name="connsiteY4" fmla="*/ 13363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3">
                      <a:moveTo>
                        <a:pt x="17371" y="13363"/>
                      </a:moveTo>
                      <a:cubicBezTo>
                        <a:pt x="15098" y="17909"/>
                        <a:pt x="9596" y="19703"/>
                        <a:pt x="5050" y="17430"/>
                      </a:cubicBezTo>
                      <a:cubicBezTo>
                        <a:pt x="505" y="15158"/>
                        <a:pt x="-1289" y="9596"/>
                        <a:pt x="983" y="5050"/>
                      </a:cubicBezTo>
                      <a:cubicBezTo>
                        <a:pt x="3256" y="505"/>
                        <a:pt x="8758" y="-1289"/>
                        <a:pt x="13304" y="983"/>
                      </a:cubicBezTo>
                      <a:cubicBezTo>
                        <a:pt x="17849" y="3316"/>
                        <a:pt x="19643" y="8878"/>
                        <a:pt x="17371" y="13363"/>
                      </a:cubicBezTo>
                      <a:close/>
                    </a:path>
                  </a:pathLst>
                </a:custGeom>
                <a:grpFill/>
                <a:ln w="5978" cap="flat">
                  <a:noFill/>
                  <a:prstDash val="solid"/>
                  <a:miter/>
                </a:ln>
              </p:spPr>
              <p:txBody>
                <a:bodyPr rtlCol="0" anchor="ctr"/>
                <a:lstStyle/>
                <a:p>
                  <a:endParaRPr lang="en-GB"/>
                </a:p>
              </p:txBody>
            </p:sp>
            <p:sp>
              <p:nvSpPr>
                <p:cNvPr id="2503" name="Vrije vorm: vorm 2502">
                  <a:extLst>
                    <a:ext uri="{FF2B5EF4-FFF2-40B4-BE49-F238E27FC236}">
                      <a16:creationId xmlns:a16="http://schemas.microsoft.com/office/drawing/2014/main" id="{6CE8CDE5-2B4D-426D-AEF3-4ABF3050042A}"/>
                    </a:ext>
                  </a:extLst>
                </p:cNvPr>
                <p:cNvSpPr/>
                <p:nvPr/>
              </p:nvSpPr>
              <p:spPr>
                <a:xfrm>
                  <a:off x="5296591" y="4904743"/>
                  <a:ext cx="18332" cy="18413"/>
                </a:xfrm>
                <a:custGeom>
                  <a:avLst/>
                  <a:gdLst>
                    <a:gd name="connsiteX0" fmla="*/ 17360 w 18332"/>
                    <a:gd name="connsiteY0" fmla="*/ 13363 h 18413"/>
                    <a:gd name="connsiteX1" fmla="*/ 13293 w 18332"/>
                    <a:gd name="connsiteY1" fmla="*/ 983 h 18413"/>
                    <a:gd name="connsiteX2" fmla="*/ 973 w 18332"/>
                    <a:gd name="connsiteY2" fmla="*/ 5050 h 18413"/>
                    <a:gd name="connsiteX3" fmla="*/ 5039 w 18332"/>
                    <a:gd name="connsiteY3" fmla="*/ 17430 h 18413"/>
                    <a:gd name="connsiteX4" fmla="*/ 17360 w 18332"/>
                    <a:gd name="connsiteY4" fmla="*/ 13363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13">
                      <a:moveTo>
                        <a:pt x="17360" y="13363"/>
                      </a:moveTo>
                      <a:cubicBezTo>
                        <a:pt x="19632" y="8818"/>
                        <a:pt x="17778" y="3256"/>
                        <a:pt x="13293" y="983"/>
                      </a:cubicBezTo>
                      <a:cubicBezTo>
                        <a:pt x="8747" y="-1289"/>
                        <a:pt x="3245" y="505"/>
                        <a:pt x="973" y="5050"/>
                      </a:cubicBezTo>
                      <a:cubicBezTo>
                        <a:pt x="-1300" y="9596"/>
                        <a:pt x="554" y="15158"/>
                        <a:pt x="5039" y="17430"/>
                      </a:cubicBezTo>
                      <a:cubicBezTo>
                        <a:pt x="9585" y="19703"/>
                        <a:pt x="15087" y="17909"/>
                        <a:pt x="17360" y="13363"/>
                      </a:cubicBezTo>
                      <a:close/>
                    </a:path>
                  </a:pathLst>
                </a:custGeom>
                <a:grpFill/>
                <a:ln w="5978" cap="flat">
                  <a:noFill/>
                  <a:prstDash val="solid"/>
                  <a:miter/>
                </a:ln>
              </p:spPr>
              <p:txBody>
                <a:bodyPr rtlCol="0" anchor="ctr"/>
                <a:lstStyle/>
                <a:p>
                  <a:endParaRPr lang="en-GB"/>
                </a:p>
              </p:txBody>
            </p:sp>
          </p:grpSp>
          <p:grpSp>
            <p:nvGrpSpPr>
              <p:cNvPr id="967" name="Graphic 3">
                <a:extLst>
                  <a:ext uri="{FF2B5EF4-FFF2-40B4-BE49-F238E27FC236}">
                    <a16:creationId xmlns:a16="http://schemas.microsoft.com/office/drawing/2014/main" id="{98DD54EE-4702-47FE-8674-AAD62173D692}"/>
                  </a:ext>
                </a:extLst>
              </p:cNvPr>
              <p:cNvGrpSpPr/>
              <p:nvPr/>
            </p:nvGrpSpPr>
            <p:grpSpPr>
              <a:xfrm>
                <a:off x="5310089" y="5027813"/>
                <a:ext cx="291544" cy="808255"/>
                <a:chOff x="5310089" y="5027813"/>
                <a:chExt cx="291544" cy="808255"/>
              </a:xfrm>
              <a:grpFill/>
            </p:grpSpPr>
            <p:sp>
              <p:nvSpPr>
                <p:cNvPr id="2498" name="Vrije vorm: vorm 2497">
                  <a:extLst>
                    <a:ext uri="{FF2B5EF4-FFF2-40B4-BE49-F238E27FC236}">
                      <a16:creationId xmlns:a16="http://schemas.microsoft.com/office/drawing/2014/main" id="{53E68CDB-0E56-4C15-8144-9B1147A50198}"/>
                    </a:ext>
                  </a:extLst>
                </p:cNvPr>
                <p:cNvSpPr/>
                <p:nvPr/>
              </p:nvSpPr>
              <p:spPr>
                <a:xfrm>
                  <a:off x="5317659" y="5036106"/>
                  <a:ext cx="276369" cy="791727"/>
                </a:xfrm>
                <a:custGeom>
                  <a:avLst/>
                  <a:gdLst>
                    <a:gd name="connsiteX0" fmla="*/ 276369 w 276369"/>
                    <a:gd name="connsiteY0" fmla="*/ 1017 h 791727"/>
                    <a:gd name="connsiteX1" fmla="*/ 2871 w 276369"/>
                    <a:gd name="connsiteY1" fmla="*/ 791728 h 791727"/>
                    <a:gd name="connsiteX2" fmla="*/ 0 w 276369"/>
                    <a:gd name="connsiteY2" fmla="*/ 790711 h 791727"/>
                    <a:gd name="connsiteX3" fmla="*/ 273498 w 276369"/>
                    <a:gd name="connsiteY3" fmla="*/ 0 h 791727"/>
                  </a:gdLst>
                  <a:ahLst/>
                  <a:cxnLst>
                    <a:cxn ang="0">
                      <a:pos x="connsiteX0" y="connsiteY0"/>
                    </a:cxn>
                    <a:cxn ang="0">
                      <a:pos x="connsiteX1" y="connsiteY1"/>
                    </a:cxn>
                    <a:cxn ang="0">
                      <a:pos x="connsiteX2" y="connsiteY2"/>
                    </a:cxn>
                    <a:cxn ang="0">
                      <a:pos x="connsiteX3" y="connsiteY3"/>
                    </a:cxn>
                  </a:cxnLst>
                  <a:rect l="l" t="t" r="r" b="b"/>
                  <a:pathLst>
                    <a:path w="276369" h="791727">
                      <a:moveTo>
                        <a:pt x="276369" y="1017"/>
                      </a:moveTo>
                      <a:lnTo>
                        <a:pt x="2871" y="791728"/>
                      </a:lnTo>
                      <a:lnTo>
                        <a:pt x="0" y="790711"/>
                      </a:lnTo>
                      <a:lnTo>
                        <a:pt x="273498" y="0"/>
                      </a:lnTo>
                      <a:close/>
                    </a:path>
                  </a:pathLst>
                </a:custGeom>
                <a:grpFill/>
                <a:ln w="5978" cap="flat">
                  <a:noFill/>
                  <a:prstDash val="solid"/>
                  <a:miter/>
                </a:ln>
              </p:spPr>
              <p:txBody>
                <a:bodyPr rtlCol="0" anchor="ctr"/>
                <a:lstStyle/>
                <a:p>
                  <a:endParaRPr lang="en-GB"/>
                </a:p>
              </p:txBody>
            </p:sp>
            <p:sp>
              <p:nvSpPr>
                <p:cNvPr id="2499" name="Vrije vorm: vorm 2498">
                  <a:extLst>
                    <a:ext uri="{FF2B5EF4-FFF2-40B4-BE49-F238E27FC236}">
                      <a16:creationId xmlns:a16="http://schemas.microsoft.com/office/drawing/2014/main" id="{572E5D67-4A7C-4555-AA92-09CE2A323218}"/>
                    </a:ext>
                  </a:extLst>
                </p:cNvPr>
                <p:cNvSpPr/>
                <p:nvPr/>
              </p:nvSpPr>
              <p:spPr>
                <a:xfrm>
                  <a:off x="5583283" y="5027813"/>
                  <a:ext cx="18351" cy="18381"/>
                </a:xfrm>
                <a:custGeom>
                  <a:avLst/>
                  <a:gdLst>
                    <a:gd name="connsiteX0" fmla="*/ 518 w 18351"/>
                    <a:gd name="connsiteY0" fmla="*/ 6141 h 18381"/>
                    <a:gd name="connsiteX1" fmla="*/ 12181 w 18351"/>
                    <a:gd name="connsiteY1" fmla="*/ 519 h 18381"/>
                    <a:gd name="connsiteX2" fmla="*/ 17862 w 18351"/>
                    <a:gd name="connsiteY2" fmla="*/ 12241 h 18381"/>
                    <a:gd name="connsiteX3" fmla="*/ 6200 w 18351"/>
                    <a:gd name="connsiteY3" fmla="*/ 17863 h 18381"/>
                    <a:gd name="connsiteX4" fmla="*/ 518 w 18351"/>
                    <a:gd name="connsiteY4" fmla="*/ 61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1">
                      <a:moveTo>
                        <a:pt x="518" y="6141"/>
                      </a:moveTo>
                      <a:cubicBezTo>
                        <a:pt x="2193" y="1356"/>
                        <a:pt x="7396" y="-1156"/>
                        <a:pt x="12181" y="519"/>
                      </a:cubicBezTo>
                      <a:cubicBezTo>
                        <a:pt x="16965" y="2194"/>
                        <a:pt x="19477" y="7457"/>
                        <a:pt x="17862" y="12241"/>
                      </a:cubicBezTo>
                      <a:cubicBezTo>
                        <a:pt x="16188" y="17026"/>
                        <a:pt x="10984" y="19537"/>
                        <a:pt x="6200" y="17863"/>
                      </a:cubicBezTo>
                      <a:cubicBezTo>
                        <a:pt x="1356" y="16248"/>
                        <a:pt x="-1156" y="10985"/>
                        <a:pt x="518" y="6141"/>
                      </a:cubicBezTo>
                      <a:close/>
                    </a:path>
                  </a:pathLst>
                </a:custGeom>
                <a:grpFill/>
                <a:ln w="5978" cap="flat">
                  <a:noFill/>
                  <a:prstDash val="solid"/>
                  <a:miter/>
                </a:ln>
              </p:spPr>
              <p:txBody>
                <a:bodyPr rtlCol="0" anchor="ctr"/>
                <a:lstStyle/>
                <a:p>
                  <a:endParaRPr lang="en-GB"/>
                </a:p>
              </p:txBody>
            </p:sp>
            <p:sp>
              <p:nvSpPr>
                <p:cNvPr id="2500" name="Vrije vorm: vorm 2499">
                  <a:extLst>
                    <a:ext uri="{FF2B5EF4-FFF2-40B4-BE49-F238E27FC236}">
                      <a16:creationId xmlns:a16="http://schemas.microsoft.com/office/drawing/2014/main" id="{05DAED89-3842-4CE6-B316-F143886192C7}"/>
                    </a:ext>
                  </a:extLst>
                </p:cNvPr>
                <p:cNvSpPr/>
                <p:nvPr/>
              </p:nvSpPr>
              <p:spPr>
                <a:xfrm>
                  <a:off x="5310089" y="5817663"/>
                  <a:ext cx="18368" cy="18405"/>
                </a:xfrm>
                <a:custGeom>
                  <a:avLst/>
                  <a:gdLst>
                    <a:gd name="connsiteX0" fmla="*/ 512 w 18368"/>
                    <a:gd name="connsiteY0" fmla="*/ 6164 h 18405"/>
                    <a:gd name="connsiteX1" fmla="*/ 6194 w 18368"/>
                    <a:gd name="connsiteY1" fmla="*/ 17887 h 18405"/>
                    <a:gd name="connsiteX2" fmla="*/ 17856 w 18368"/>
                    <a:gd name="connsiteY2" fmla="*/ 12265 h 18405"/>
                    <a:gd name="connsiteX3" fmla="*/ 12175 w 18368"/>
                    <a:gd name="connsiteY3" fmla="*/ 542 h 18405"/>
                    <a:gd name="connsiteX4" fmla="*/ 512 w 18368"/>
                    <a:gd name="connsiteY4" fmla="*/ 616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5">
                      <a:moveTo>
                        <a:pt x="512" y="6164"/>
                      </a:moveTo>
                      <a:cubicBezTo>
                        <a:pt x="-1163" y="10949"/>
                        <a:pt x="1409" y="16212"/>
                        <a:pt x="6194" y="17887"/>
                      </a:cubicBezTo>
                      <a:cubicBezTo>
                        <a:pt x="10978" y="19561"/>
                        <a:pt x="16182" y="17049"/>
                        <a:pt x="17856" y="12265"/>
                      </a:cubicBezTo>
                      <a:cubicBezTo>
                        <a:pt x="19531" y="7480"/>
                        <a:pt x="16959" y="2217"/>
                        <a:pt x="12175" y="542"/>
                      </a:cubicBezTo>
                      <a:cubicBezTo>
                        <a:pt x="7390" y="-1192"/>
                        <a:pt x="2127" y="1380"/>
                        <a:pt x="512" y="6164"/>
                      </a:cubicBezTo>
                      <a:close/>
                    </a:path>
                  </a:pathLst>
                </a:custGeom>
                <a:grpFill/>
                <a:ln w="5978" cap="flat">
                  <a:noFill/>
                  <a:prstDash val="solid"/>
                  <a:miter/>
                </a:ln>
              </p:spPr>
              <p:txBody>
                <a:bodyPr rtlCol="0" anchor="ctr"/>
                <a:lstStyle/>
                <a:p>
                  <a:endParaRPr lang="en-GB"/>
                </a:p>
              </p:txBody>
            </p:sp>
          </p:grpSp>
          <p:grpSp>
            <p:nvGrpSpPr>
              <p:cNvPr id="968" name="Graphic 3">
                <a:extLst>
                  <a:ext uri="{FF2B5EF4-FFF2-40B4-BE49-F238E27FC236}">
                    <a16:creationId xmlns:a16="http://schemas.microsoft.com/office/drawing/2014/main" id="{765FCBD5-8CFF-45B8-8592-31328063CB8F}"/>
                  </a:ext>
                </a:extLst>
              </p:cNvPr>
              <p:cNvGrpSpPr/>
              <p:nvPr/>
            </p:nvGrpSpPr>
            <p:grpSpPr>
              <a:xfrm>
                <a:off x="5267494" y="4956480"/>
                <a:ext cx="92434" cy="181381"/>
                <a:chOff x="5267494" y="4956480"/>
                <a:chExt cx="92434" cy="181381"/>
              </a:xfrm>
              <a:grpFill/>
            </p:grpSpPr>
            <p:sp>
              <p:nvSpPr>
                <p:cNvPr id="2495" name="Vrije vorm: vorm 2494">
                  <a:extLst>
                    <a:ext uri="{FF2B5EF4-FFF2-40B4-BE49-F238E27FC236}">
                      <a16:creationId xmlns:a16="http://schemas.microsoft.com/office/drawing/2014/main" id="{BAB01A1D-7EE0-43E9-9B20-64310D486202}"/>
                    </a:ext>
                  </a:extLst>
                </p:cNvPr>
                <p:cNvSpPr/>
                <p:nvPr/>
              </p:nvSpPr>
              <p:spPr>
                <a:xfrm>
                  <a:off x="5275076" y="4964577"/>
                  <a:ext cx="77270" cy="165127"/>
                </a:xfrm>
                <a:custGeom>
                  <a:avLst/>
                  <a:gdLst>
                    <a:gd name="connsiteX0" fmla="*/ 77271 w 77270"/>
                    <a:gd name="connsiteY0" fmla="*/ 1316 h 165127"/>
                    <a:gd name="connsiteX1" fmla="*/ 2751 w 77270"/>
                    <a:gd name="connsiteY1" fmla="*/ 165128 h 165127"/>
                    <a:gd name="connsiteX2" fmla="*/ 0 w 77270"/>
                    <a:gd name="connsiteY2" fmla="*/ 163812 h 165127"/>
                    <a:gd name="connsiteX3" fmla="*/ 74520 w 77270"/>
                    <a:gd name="connsiteY3" fmla="*/ 0 h 165127"/>
                  </a:gdLst>
                  <a:ahLst/>
                  <a:cxnLst>
                    <a:cxn ang="0">
                      <a:pos x="connsiteX0" y="connsiteY0"/>
                    </a:cxn>
                    <a:cxn ang="0">
                      <a:pos x="connsiteX1" y="connsiteY1"/>
                    </a:cxn>
                    <a:cxn ang="0">
                      <a:pos x="connsiteX2" y="connsiteY2"/>
                    </a:cxn>
                    <a:cxn ang="0">
                      <a:pos x="connsiteX3" y="connsiteY3"/>
                    </a:cxn>
                  </a:cxnLst>
                  <a:rect l="l" t="t" r="r" b="b"/>
                  <a:pathLst>
                    <a:path w="77270" h="165127">
                      <a:moveTo>
                        <a:pt x="77271" y="1316"/>
                      </a:moveTo>
                      <a:lnTo>
                        <a:pt x="2751" y="165128"/>
                      </a:lnTo>
                      <a:lnTo>
                        <a:pt x="0" y="163812"/>
                      </a:lnTo>
                      <a:lnTo>
                        <a:pt x="74520" y="0"/>
                      </a:lnTo>
                      <a:close/>
                    </a:path>
                  </a:pathLst>
                </a:custGeom>
                <a:grpFill/>
                <a:ln w="5978" cap="flat">
                  <a:noFill/>
                  <a:prstDash val="solid"/>
                  <a:miter/>
                </a:ln>
              </p:spPr>
              <p:txBody>
                <a:bodyPr rtlCol="0" anchor="ctr"/>
                <a:lstStyle/>
                <a:p>
                  <a:endParaRPr lang="en-GB"/>
                </a:p>
              </p:txBody>
            </p:sp>
            <p:sp>
              <p:nvSpPr>
                <p:cNvPr id="2496" name="Vrije vorm: vorm 2495">
                  <a:extLst>
                    <a:ext uri="{FF2B5EF4-FFF2-40B4-BE49-F238E27FC236}">
                      <a16:creationId xmlns:a16="http://schemas.microsoft.com/office/drawing/2014/main" id="{A547FB17-6F37-4970-92C5-CF50B737601A}"/>
                    </a:ext>
                  </a:extLst>
                </p:cNvPr>
                <p:cNvSpPr/>
                <p:nvPr/>
              </p:nvSpPr>
              <p:spPr>
                <a:xfrm>
                  <a:off x="5267494" y="5119455"/>
                  <a:ext cx="18333" cy="18406"/>
                </a:xfrm>
                <a:custGeom>
                  <a:avLst/>
                  <a:gdLst>
                    <a:gd name="connsiteX0" fmla="*/ 17510 w 18333"/>
                    <a:gd name="connsiteY0" fmla="*/ 13061 h 18406"/>
                    <a:gd name="connsiteX1" fmla="*/ 5369 w 18333"/>
                    <a:gd name="connsiteY1" fmla="*/ 17547 h 18406"/>
                    <a:gd name="connsiteX2" fmla="*/ 824 w 18333"/>
                    <a:gd name="connsiteY2" fmla="*/ 5346 h 18406"/>
                    <a:gd name="connsiteX3" fmla="*/ 12965 w 18333"/>
                    <a:gd name="connsiteY3" fmla="*/ 860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5417" y="17666"/>
                        <a:pt x="9974" y="19700"/>
                        <a:pt x="5369" y="17547"/>
                      </a:cubicBezTo>
                      <a:cubicBezTo>
                        <a:pt x="764" y="15393"/>
                        <a:pt x="-1269" y="9951"/>
                        <a:pt x="824" y="5346"/>
                      </a:cubicBezTo>
                      <a:cubicBezTo>
                        <a:pt x="2917" y="740"/>
                        <a:pt x="8359" y="-1293"/>
                        <a:pt x="12965" y="860"/>
                      </a:cubicBezTo>
                      <a:cubicBezTo>
                        <a:pt x="17570" y="2954"/>
                        <a:pt x="19603" y="8456"/>
                        <a:pt x="17510" y="13061"/>
                      </a:cubicBezTo>
                      <a:close/>
                    </a:path>
                  </a:pathLst>
                </a:custGeom>
                <a:grpFill/>
                <a:ln w="5978" cap="flat">
                  <a:noFill/>
                  <a:prstDash val="solid"/>
                  <a:miter/>
                </a:ln>
              </p:spPr>
              <p:txBody>
                <a:bodyPr rtlCol="0" anchor="ctr"/>
                <a:lstStyle/>
                <a:p>
                  <a:endParaRPr lang="en-GB"/>
                </a:p>
              </p:txBody>
            </p:sp>
            <p:sp>
              <p:nvSpPr>
                <p:cNvPr id="2497" name="Vrije vorm: vorm 2496">
                  <a:extLst>
                    <a:ext uri="{FF2B5EF4-FFF2-40B4-BE49-F238E27FC236}">
                      <a16:creationId xmlns:a16="http://schemas.microsoft.com/office/drawing/2014/main" id="{8C61EAC2-8F0B-49A5-B28A-B2EADF2C75F1}"/>
                    </a:ext>
                  </a:extLst>
                </p:cNvPr>
                <p:cNvSpPr/>
                <p:nvPr/>
              </p:nvSpPr>
              <p:spPr>
                <a:xfrm>
                  <a:off x="5341595" y="4956480"/>
                  <a:ext cx="18333" cy="18406"/>
                </a:xfrm>
                <a:custGeom>
                  <a:avLst/>
                  <a:gdLst>
                    <a:gd name="connsiteX0" fmla="*/ 17510 w 18333"/>
                    <a:gd name="connsiteY0" fmla="*/ 13061 h 18406"/>
                    <a:gd name="connsiteX1" fmla="*/ 12965 w 18333"/>
                    <a:gd name="connsiteY1" fmla="*/ 860 h 18406"/>
                    <a:gd name="connsiteX2" fmla="*/ 824 w 18333"/>
                    <a:gd name="connsiteY2" fmla="*/ 5346 h 18406"/>
                    <a:gd name="connsiteX3" fmla="*/ 5369 w 18333"/>
                    <a:gd name="connsiteY3" fmla="*/ 17547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9603" y="8456"/>
                        <a:pt x="17570" y="2954"/>
                        <a:pt x="12965" y="860"/>
                      </a:cubicBezTo>
                      <a:cubicBezTo>
                        <a:pt x="8360" y="-1293"/>
                        <a:pt x="2917" y="740"/>
                        <a:pt x="824" y="5346"/>
                      </a:cubicBezTo>
                      <a:cubicBezTo>
                        <a:pt x="-1270" y="9951"/>
                        <a:pt x="764" y="15453"/>
                        <a:pt x="5369" y="17547"/>
                      </a:cubicBezTo>
                      <a:cubicBezTo>
                        <a:pt x="9974" y="19700"/>
                        <a:pt x="15417" y="17666"/>
                        <a:pt x="17510" y="13061"/>
                      </a:cubicBezTo>
                      <a:close/>
                    </a:path>
                  </a:pathLst>
                </a:custGeom>
                <a:grpFill/>
                <a:ln w="5978" cap="flat">
                  <a:noFill/>
                  <a:prstDash val="solid"/>
                  <a:miter/>
                </a:ln>
              </p:spPr>
              <p:txBody>
                <a:bodyPr rtlCol="0" anchor="ctr"/>
                <a:lstStyle/>
                <a:p>
                  <a:endParaRPr lang="en-GB"/>
                </a:p>
              </p:txBody>
            </p:sp>
          </p:grpSp>
          <p:grpSp>
            <p:nvGrpSpPr>
              <p:cNvPr id="969" name="Graphic 3">
                <a:extLst>
                  <a:ext uri="{FF2B5EF4-FFF2-40B4-BE49-F238E27FC236}">
                    <a16:creationId xmlns:a16="http://schemas.microsoft.com/office/drawing/2014/main" id="{28C8EE16-B466-4AF6-9646-B71A447A1375}"/>
                  </a:ext>
                </a:extLst>
              </p:cNvPr>
              <p:cNvGrpSpPr/>
              <p:nvPr/>
            </p:nvGrpSpPr>
            <p:grpSpPr>
              <a:xfrm>
                <a:off x="5288721" y="5017030"/>
                <a:ext cx="283347" cy="733231"/>
                <a:chOff x="5288721" y="5017030"/>
                <a:chExt cx="283347" cy="733231"/>
              </a:xfrm>
              <a:grpFill/>
            </p:grpSpPr>
            <p:sp>
              <p:nvSpPr>
                <p:cNvPr id="2492" name="Vrije vorm: vorm 2491">
                  <a:extLst>
                    <a:ext uri="{FF2B5EF4-FFF2-40B4-BE49-F238E27FC236}">
                      <a16:creationId xmlns:a16="http://schemas.microsoft.com/office/drawing/2014/main" id="{203A6D80-0E9B-45F2-A3B8-F0DC6797667A}"/>
                    </a:ext>
                  </a:extLst>
                </p:cNvPr>
                <p:cNvSpPr/>
                <p:nvPr/>
              </p:nvSpPr>
              <p:spPr>
                <a:xfrm>
                  <a:off x="5296367" y="5025281"/>
                  <a:ext cx="268175" cy="716729"/>
                </a:xfrm>
                <a:custGeom>
                  <a:avLst/>
                  <a:gdLst>
                    <a:gd name="connsiteX0" fmla="*/ 268176 w 268175"/>
                    <a:gd name="connsiteY0" fmla="*/ 1077 h 716729"/>
                    <a:gd name="connsiteX1" fmla="*/ 2811 w 268175"/>
                    <a:gd name="connsiteY1" fmla="*/ 716730 h 716729"/>
                    <a:gd name="connsiteX2" fmla="*/ 0 w 268175"/>
                    <a:gd name="connsiteY2" fmla="*/ 715653 h 716729"/>
                    <a:gd name="connsiteX3" fmla="*/ 265305 w 268175"/>
                    <a:gd name="connsiteY3" fmla="*/ 0 h 716729"/>
                  </a:gdLst>
                  <a:ahLst/>
                  <a:cxnLst>
                    <a:cxn ang="0">
                      <a:pos x="connsiteX0" y="connsiteY0"/>
                    </a:cxn>
                    <a:cxn ang="0">
                      <a:pos x="connsiteX1" y="connsiteY1"/>
                    </a:cxn>
                    <a:cxn ang="0">
                      <a:pos x="connsiteX2" y="connsiteY2"/>
                    </a:cxn>
                    <a:cxn ang="0">
                      <a:pos x="connsiteX3" y="connsiteY3"/>
                    </a:cxn>
                  </a:cxnLst>
                  <a:rect l="l" t="t" r="r" b="b"/>
                  <a:pathLst>
                    <a:path w="268175" h="716729">
                      <a:moveTo>
                        <a:pt x="268176" y="1077"/>
                      </a:moveTo>
                      <a:lnTo>
                        <a:pt x="2811" y="716730"/>
                      </a:lnTo>
                      <a:lnTo>
                        <a:pt x="0" y="715653"/>
                      </a:lnTo>
                      <a:lnTo>
                        <a:pt x="265305" y="0"/>
                      </a:lnTo>
                      <a:close/>
                    </a:path>
                  </a:pathLst>
                </a:custGeom>
                <a:grpFill/>
                <a:ln w="5978" cap="flat">
                  <a:noFill/>
                  <a:prstDash val="solid"/>
                  <a:miter/>
                </a:ln>
              </p:spPr>
              <p:txBody>
                <a:bodyPr rtlCol="0" anchor="ctr"/>
                <a:lstStyle/>
                <a:p>
                  <a:endParaRPr lang="en-GB"/>
                </a:p>
              </p:txBody>
            </p:sp>
            <p:sp>
              <p:nvSpPr>
                <p:cNvPr id="2493" name="Vrije vorm: vorm 2492">
                  <a:extLst>
                    <a:ext uri="{FF2B5EF4-FFF2-40B4-BE49-F238E27FC236}">
                      <a16:creationId xmlns:a16="http://schemas.microsoft.com/office/drawing/2014/main" id="{02B5B802-AE28-4B98-A0E1-E4763CAE4386}"/>
                    </a:ext>
                  </a:extLst>
                </p:cNvPr>
                <p:cNvSpPr/>
                <p:nvPr/>
              </p:nvSpPr>
              <p:spPr>
                <a:xfrm>
                  <a:off x="5553751" y="5017030"/>
                  <a:ext cx="18317" cy="18415"/>
                </a:xfrm>
                <a:custGeom>
                  <a:avLst/>
                  <a:gdLst>
                    <a:gd name="connsiteX0" fmla="*/ 565 w 18317"/>
                    <a:gd name="connsiteY0" fmla="*/ 5978 h 18415"/>
                    <a:gd name="connsiteX1" fmla="*/ 12346 w 18317"/>
                    <a:gd name="connsiteY1" fmla="*/ 596 h 18415"/>
                    <a:gd name="connsiteX2" fmla="*/ 17729 w 18317"/>
                    <a:gd name="connsiteY2" fmla="*/ 12437 h 18415"/>
                    <a:gd name="connsiteX3" fmla="*/ 5947 w 18317"/>
                    <a:gd name="connsiteY3" fmla="*/ 17820 h 18415"/>
                    <a:gd name="connsiteX4" fmla="*/ 565 w 18317"/>
                    <a:gd name="connsiteY4" fmla="*/ 597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15">
                      <a:moveTo>
                        <a:pt x="565" y="5978"/>
                      </a:moveTo>
                      <a:cubicBezTo>
                        <a:pt x="2359" y="1194"/>
                        <a:pt x="7622" y="-1198"/>
                        <a:pt x="12346" y="596"/>
                      </a:cubicBezTo>
                      <a:cubicBezTo>
                        <a:pt x="17071" y="2390"/>
                        <a:pt x="19523" y="7713"/>
                        <a:pt x="17729" y="12437"/>
                      </a:cubicBezTo>
                      <a:cubicBezTo>
                        <a:pt x="15935" y="17222"/>
                        <a:pt x="10672" y="19614"/>
                        <a:pt x="5947" y="17820"/>
                      </a:cubicBezTo>
                      <a:cubicBezTo>
                        <a:pt x="1222" y="16026"/>
                        <a:pt x="-1170" y="10703"/>
                        <a:pt x="565" y="5978"/>
                      </a:cubicBezTo>
                      <a:close/>
                    </a:path>
                  </a:pathLst>
                </a:custGeom>
                <a:grpFill/>
                <a:ln w="5978" cap="flat">
                  <a:noFill/>
                  <a:prstDash val="solid"/>
                  <a:miter/>
                </a:ln>
              </p:spPr>
              <p:txBody>
                <a:bodyPr rtlCol="0" anchor="ctr"/>
                <a:lstStyle/>
                <a:p>
                  <a:endParaRPr lang="en-GB"/>
                </a:p>
              </p:txBody>
            </p:sp>
            <p:sp>
              <p:nvSpPr>
                <p:cNvPr id="2494" name="Vrije vorm: vorm 2493">
                  <a:extLst>
                    <a:ext uri="{FF2B5EF4-FFF2-40B4-BE49-F238E27FC236}">
                      <a16:creationId xmlns:a16="http://schemas.microsoft.com/office/drawing/2014/main" id="{6851F410-FB0F-4DB4-BA08-8A033916BF91}"/>
                    </a:ext>
                  </a:extLst>
                </p:cNvPr>
                <p:cNvSpPr/>
                <p:nvPr/>
              </p:nvSpPr>
              <p:spPr>
                <a:xfrm>
                  <a:off x="5288721" y="5731846"/>
                  <a:ext cx="18342" cy="18415"/>
                </a:xfrm>
                <a:custGeom>
                  <a:avLst/>
                  <a:gdLst>
                    <a:gd name="connsiteX0" fmla="*/ 589 w 18342"/>
                    <a:gd name="connsiteY0" fmla="*/ 5978 h 18415"/>
                    <a:gd name="connsiteX1" fmla="*/ 5971 w 18342"/>
                    <a:gd name="connsiteY1" fmla="*/ 17820 h 18415"/>
                    <a:gd name="connsiteX2" fmla="*/ 17753 w 18342"/>
                    <a:gd name="connsiteY2" fmla="*/ 12438 h 18415"/>
                    <a:gd name="connsiteX3" fmla="*/ 12371 w 18342"/>
                    <a:gd name="connsiteY3" fmla="*/ 596 h 18415"/>
                    <a:gd name="connsiteX4" fmla="*/ 589 w 18342"/>
                    <a:gd name="connsiteY4" fmla="*/ 597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5">
                      <a:moveTo>
                        <a:pt x="589" y="5978"/>
                      </a:moveTo>
                      <a:cubicBezTo>
                        <a:pt x="-1205" y="10763"/>
                        <a:pt x="1246" y="16026"/>
                        <a:pt x="5971" y="17820"/>
                      </a:cubicBezTo>
                      <a:cubicBezTo>
                        <a:pt x="10696" y="19614"/>
                        <a:pt x="16019" y="17222"/>
                        <a:pt x="17753" y="12438"/>
                      </a:cubicBezTo>
                      <a:cubicBezTo>
                        <a:pt x="19547" y="7653"/>
                        <a:pt x="17096" y="2390"/>
                        <a:pt x="12371" y="596"/>
                      </a:cubicBezTo>
                      <a:cubicBezTo>
                        <a:pt x="7646" y="-1199"/>
                        <a:pt x="2383" y="1194"/>
                        <a:pt x="589" y="5978"/>
                      </a:cubicBezTo>
                      <a:close/>
                    </a:path>
                  </a:pathLst>
                </a:custGeom>
                <a:grpFill/>
                <a:ln w="5978" cap="flat">
                  <a:noFill/>
                  <a:prstDash val="solid"/>
                  <a:miter/>
                </a:ln>
              </p:spPr>
              <p:txBody>
                <a:bodyPr rtlCol="0" anchor="ctr"/>
                <a:lstStyle/>
                <a:p>
                  <a:endParaRPr lang="en-GB"/>
                </a:p>
              </p:txBody>
            </p:sp>
          </p:grpSp>
          <p:grpSp>
            <p:nvGrpSpPr>
              <p:cNvPr id="970" name="Graphic 3">
                <a:extLst>
                  <a:ext uri="{FF2B5EF4-FFF2-40B4-BE49-F238E27FC236}">
                    <a16:creationId xmlns:a16="http://schemas.microsoft.com/office/drawing/2014/main" id="{21433A97-7263-420B-AAD8-2A40F5A7A9D6}"/>
                  </a:ext>
                </a:extLst>
              </p:cNvPr>
              <p:cNvGrpSpPr/>
              <p:nvPr/>
            </p:nvGrpSpPr>
            <p:grpSpPr>
              <a:xfrm>
                <a:off x="5279215" y="5004926"/>
                <a:ext cx="263818" cy="634296"/>
                <a:chOff x="5279215" y="5004926"/>
                <a:chExt cx="263818" cy="634296"/>
              </a:xfrm>
              <a:grpFill/>
            </p:grpSpPr>
            <p:sp>
              <p:nvSpPr>
                <p:cNvPr id="2489" name="Vrije vorm: vorm 2488">
                  <a:extLst>
                    <a:ext uri="{FF2B5EF4-FFF2-40B4-BE49-F238E27FC236}">
                      <a16:creationId xmlns:a16="http://schemas.microsoft.com/office/drawing/2014/main" id="{DB0D3B84-125B-4F88-8E26-34DF752273E8}"/>
                    </a:ext>
                  </a:extLst>
                </p:cNvPr>
                <p:cNvSpPr/>
                <p:nvPr/>
              </p:nvSpPr>
              <p:spPr>
                <a:xfrm>
                  <a:off x="5286738" y="5013141"/>
                  <a:ext cx="248738" cy="617868"/>
                </a:xfrm>
                <a:custGeom>
                  <a:avLst/>
                  <a:gdLst>
                    <a:gd name="connsiteX0" fmla="*/ 248738 w 248738"/>
                    <a:gd name="connsiteY0" fmla="*/ 1136 h 617868"/>
                    <a:gd name="connsiteX1" fmla="*/ 2871 w 248738"/>
                    <a:gd name="connsiteY1" fmla="*/ 617868 h 617868"/>
                    <a:gd name="connsiteX2" fmla="*/ 0 w 248738"/>
                    <a:gd name="connsiteY2" fmla="*/ 616732 h 617868"/>
                    <a:gd name="connsiteX3" fmla="*/ 245927 w 248738"/>
                    <a:gd name="connsiteY3" fmla="*/ 0 h 617868"/>
                  </a:gdLst>
                  <a:ahLst/>
                  <a:cxnLst>
                    <a:cxn ang="0">
                      <a:pos x="connsiteX0" y="connsiteY0"/>
                    </a:cxn>
                    <a:cxn ang="0">
                      <a:pos x="connsiteX1" y="connsiteY1"/>
                    </a:cxn>
                    <a:cxn ang="0">
                      <a:pos x="connsiteX2" y="connsiteY2"/>
                    </a:cxn>
                    <a:cxn ang="0">
                      <a:pos x="connsiteX3" y="connsiteY3"/>
                    </a:cxn>
                  </a:cxnLst>
                  <a:rect l="l" t="t" r="r" b="b"/>
                  <a:pathLst>
                    <a:path w="248738" h="617868">
                      <a:moveTo>
                        <a:pt x="248738" y="1136"/>
                      </a:moveTo>
                      <a:lnTo>
                        <a:pt x="2871" y="617868"/>
                      </a:lnTo>
                      <a:lnTo>
                        <a:pt x="0" y="616732"/>
                      </a:lnTo>
                      <a:lnTo>
                        <a:pt x="245927" y="0"/>
                      </a:lnTo>
                      <a:close/>
                    </a:path>
                  </a:pathLst>
                </a:custGeom>
                <a:grpFill/>
                <a:ln w="5978" cap="flat">
                  <a:noFill/>
                  <a:prstDash val="solid"/>
                  <a:miter/>
                </a:ln>
              </p:spPr>
              <p:txBody>
                <a:bodyPr rtlCol="0" anchor="ctr"/>
                <a:lstStyle/>
                <a:p>
                  <a:endParaRPr lang="en-GB"/>
                </a:p>
              </p:txBody>
            </p:sp>
            <p:sp>
              <p:nvSpPr>
                <p:cNvPr id="2490" name="Vrije vorm: vorm 2489">
                  <a:extLst>
                    <a:ext uri="{FF2B5EF4-FFF2-40B4-BE49-F238E27FC236}">
                      <a16:creationId xmlns:a16="http://schemas.microsoft.com/office/drawing/2014/main" id="{2C7E6249-B897-4DED-842C-F2CF6B155542}"/>
                    </a:ext>
                  </a:extLst>
                </p:cNvPr>
                <p:cNvSpPr/>
                <p:nvPr/>
              </p:nvSpPr>
              <p:spPr>
                <a:xfrm>
                  <a:off x="5524723" y="5004926"/>
                  <a:ext cx="18309" cy="18461"/>
                </a:xfrm>
                <a:custGeom>
                  <a:avLst/>
                  <a:gdLst>
                    <a:gd name="connsiteX0" fmla="*/ 646 w 18309"/>
                    <a:gd name="connsiteY0" fmla="*/ 5762 h 18461"/>
                    <a:gd name="connsiteX1" fmla="*/ 12548 w 18309"/>
                    <a:gd name="connsiteY1" fmla="*/ 679 h 18461"/>
                    <a:gd name="connsiteX2" fmla="*/ 17631 w 18309"/>
                    <a:gd name="connsiteY2" fmla="*/ 12700 h 18461"/>
                    <a:gd name="connsiteX3" fmla="*/ 5730 w 18309"/>
                    <a:gd name="connsiteY3" fmla="*/ 17783 h 18461"/>
                    <a:gd name="connsiteX4" fmla="*/ 646 w 18309"/>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646" y="5762"/>
                      </a:moveTo>
                      <a:cubicBezTo>
                        <a:pt x="2500" y="1037"/>
                        <a:pt x="7883" y="-1235"/>
                        <a:pt x="12548" y="679"/>
                      </a:cubicBezTo>
                      <a:cubicBezTo>
                        <a:pt x="17272" y="2592"/>
                        <a:pt x="19545" y="7975"/>
                        <a:pt x="17631" y="12700"/>
                      </a:cubicBezTo>
                      <a:cubicBezTo>
                        <a:pt x="15717" y="17424"/>
                        <a:pt x="10395" y="19697"/>
                        <a:pt x="5730" y="17783"/>
                      </a:cubicBezTo>
                      <a:cubicBezTo>
                        <a:pt x="1065" y="15810"/>
                        <a:pt x="-1208" y="10487"/>
                        <a:pt x="646" y="5762"/>
                      </a:cubicBezTo>
                      <a:close/>
                    </a:path>
                  </a:pathLst>
                </a:custGeom>
                <a:grpFill/>
                <a:ln w="5978" cap="flat">
                  <a:noFill/>
                  <a:prstDash val="solid"/>
                  <a:miter/>
                </a:ln>
              </p:spPr>
              <p:txBody>
                <a:bodyPr rtlCol="0" anchor="ctr"/>
                <a:lstStyle/>
                <a:p>
                  <a:endParaRPr lang="en-GB"/>
                </a:p>
              </p:txBody>
            </p:sp>
            <p:sp>
              <p:nvSpPr>
                <p:cNvPr id="2491" name="Vrije vorm: vorm 2490">
                  <a:extLst>
                    <a:ext uri="{FF2B5EF4-FFF2-40B4-BE49-F238E27FC236}">
                      <a16:creationId xmlns:a16="http://schemas.microsoft.com/office/drawing/2014/main" id="{7CB25310-EEB2-4122-924C-C1017D25026E}"/>
                    </a:ext>
                  </a:extLst>
                </p:cNvPr>
                <p:cNvSpPr/>
                <p:nvPr/>
              </p:nvSpPr>
              <p:spPr>
                <a:xfrm>
                  <a:off x="5279215" y="5620794"/>
                  <a:ext cx="18277" cy="18429"/>
                </a:xfrm>
                <a:custGeom>
                  <a:avLst/>
                  <a:gdLst>
                    <a:gd name="connsiteX0" fmla="*/ 646 w 18277"/>
                    <a:gd name="connsiteY0" fmla="*/ 5730 h 18429"/>
                    <a:gd name="connsiteX1" fmla="*/ 5730 w 18277"/>
                    <a:gd name="connsiteY1" fmla="*/ 17751 h 18429"/>
                    <a:gd name="connsiteX2" fmla="*/ 17631 w 18277"/>
                    <a:gd name="connsiteY2" fmla="*/ 12667 h 18429"/>
                    <a:gd name="connsiteX3" fmla="*/ 12547 w 18277"/>
                    <a:gd name="connsiteY3" fmla="*/ 646 h 18429"/>
                    <a:gd name="connsiteX4" fmla="*/ 646 w 18277"/>
                    <a:gd name="connsiteY4" fmla="*/ 573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29">
                      <a:moveTo>
                        <a:pt x="646" y="5730"/>
                      </a:moveTo>
                      <a:cubicBezTo>
                        <a:pt x="-1208" y="10454"/>
                        <a:pt x="1065" y="15837"/>
                        <a:pt x="5730" y="17751"/>
                      </a:cubicBezTo>
                      <a:cubicBezTo>
                        <a:pt x="10454" y="19665"/>
                        <a:pt x="15777" y="17392"/>
                        <a:pt x="17631" y="12667"/>
                      </a:cubicBezTo>
                      <a:cubicBezTo>
                        <a:pt x="19485" y="7942"/>
                        <a:pt x="17213" y="2560"/>
                        <a:pt x="12547" y="646"/>
                      </a:cubicBezTo>
                      <a:cubicBezTo>
                        <a:pt x="7823" y="-1208"/>
                        <a:pt x="2500" y="1064"/>
                        <a:pt x="646" y="5730"/>
                      </a:cubicBezTo>
                      <a:close/>
                    </a:path>
                  </a:pathLst>
                </a:custGeom>
                <a:grpFill/>
                <a:ln w="5978" cap="flat">
                  <a:noFill/>
                  <a:prstDash val="solid"/>
                  <a:miter/>
                </a:ln>
              </p:spPr>
              <p:txBody>
                <a:bodyPr rtlCol="0" anchor="ctr"/>
                <a:lstStyle/>
                <a:p>
                  <a:endParaRPr lang="en-GB"/>
                </a:p>
              </p:txBody>
            </p:sp>
          </p:grpSp>
          <p:grpSp>
            <p:nvGrpSpPr>
              <p:cNvPr id="971" name="Graphic 3">
                <a:extLst>
                  <a:ext uri="{FF2B5EF4-FFF2-40B4-BE49-F238E27FC236}">
                    <a16:creationId xmlns:a16="http://schemas.microsoft.com/office/drawing/2014/main" id="{E18E6852-761C-479C-9A0A-D32E32B84538}"/>
                  </a:ext>
                </a:extLst>
              </p:cNvPr>
              <p:cNvGrpSpPr/>
              <p:nvPr/>
            </p:nvGrpSpPr>
            <p:grpSpPr>
              <a:xfrm>
                <a:off x="5265004" y="4981947"/>
                <a:ext cx="219729" cy="453645"/>
                <a:chOff x="5265004" y="4981947"/>
                <a:chExt cx="219729" cy="453645"/>
              </a:xfrm>
              <a:grpFill/>
            </p:grpSpPr>
            <p:sp>
              <p:nvSpPr>
                <p:cNvPr id="2486" name="Vrije vorm: vorm 2485">
                  <a:extLst>
                    <a:ext uri="{FF2B5EF4-FFF2-40B4-BE49-F238E27FC236}">
                      <a16:creationId xmlns:a16="http://schemas.microsoft.com/office/drawing/2014/main" id="{6354D86C-B445-4E74-AEE8-CDB66AD7E899}"/>
                    </a:ext>
                  </a:extLst>
                </p:cNvPr>
                <p:cNvSpPr/>
                <p:nvPr/>
              </p:nvSpPr>
              <p:spPr>
                <a:xfrm>
                  <a:off x="5272564" y="4990115"/>
                  <a:ext cx="204540" cy="437370"/>
                </a:xfrm>
                <a:custGeom>
                  <a:avLst/>
                  <a:gdLst>
                    <a:gd name="connsiteX0" fmla="*/ 204541 w 204540"/>
                    <a:gd name="connsiteY0" fmla="*/ 1256 h 437370"/>
                    <a:gd name="connsiteX1" fmla="*/ 2751 w 204540"/>
                    <a:gd name="connsiteY1" fmla="*/ 437370 h 437370"/>
                    <a:gd name="connsiteX2" fmla="*/ 0 w 204540"/>
                    <a:gd name="connsiteY2" fmla="*/ 436055 h 437370"/>
                    <a:gd name="connsiteX3" fmla="*/ 201790 w 204540"/>
                    <a:gd name="connsiteY3" fmla="*/ 0 h 437370"/>
                  </a:gdLst>
                  <a:ahLst/>
                  <a:cxnLst>
                    <a:cxn ang="0">
                      <a:pos x="connsiteX0" y="connsiteY0"/>
                    </a:cxn>
                    <a:cxn ang="0">
                      <a:pos x="connsiteX1" y="connsiteY1"/>
                    </a:cxn>
                    <a:cxn ang="0">
                      <a:pos x="connsiteX2" y="connsiteY2"/>
                    </a:cxn>
                    <a:cxn ang="0">
                      <a:pos x="connsiteX3" y="connsiteY3"/>
                    </a:cxn>
                  </a:cxnLst>
                  <a:rect l="l" t="t" r="r" b="b"/>
                  <a:pathLst>
                    <a:path w="204540" h="437370">
                      <a:moveTo>
                        <a:pt x="204541" y="1256"/>
                      </a:moveTo>
                      <a:lnTo>
                        <a:pt x="2751" y="437370"/>
                      </a:lnTo>
                      <a:lnTo>
                        <a:pt x="0" y="436055"/>
                      </a:lnTo>
                      <a:lnTo>
                        <a:pt x="201790" y="0"/>
                      </a:lnTo>
                      <a:close/>
                    </a:path>
                  </a:pathLst>
                </a:custGeom>
                <a:grpFill/>
                <a:ln w="5978" cap="flat">
                  <a:noFill/>
                  <a:prstDash val="solid"/>
                  <a:miter/>
                </a:ln>
              </p:spPr>
              <p:txBody>
                <a:bodyPr rtlCol="0" anchor="ctr"/>
                <a:lstStyle/>
                <a:p>
                  <a:endParaRPr lang="en-GB"/>
                </a:p>
              </p:txBody>
            </p:sp>
            <p:sp>
              <p:nvSpPr>
                <p:cNvPr id="2487" name="Vrije vorm: vorm 2486">
                  <a:extLst>
                    <a:ext uri="{FF2B5EF4-FFF2-40B4-BE49-F238E27FC236}">
                      <a16:creationId xmlns:a16="http://schemas.microsoft.com/office/drawing/2014/main" id="{CD510A63-58DE-468D-99C3-8613003C7FD9}"/>
                    </a:ext>
                  </a:extLst>
                </p:cNvPr>
                <p:cNvSpPr/>
                <p:nvPr/>
              </p:nvSpPr>
              <p:spPr>
                <a:xfrm>
                  <a:off x="5466375" y="4981947"/>
                  <a:ext cx="18358" cy="18428"/>
                </a:xfrm>
                <a:custGeom>
                  <a:avLst/>
                  <a:gdLst>
                    <a:gd name="connsiteX0" fmla="*/ 861 w 18358"/>
                    <a:gd name="connsiteY0" fmla="*/ 5297 h 18428"/>
                    <a:gd name="connsiteX1" fmla="*/ 13062 w 18358"/>
                    <a:gd name="connsiteY1" fmla="*/ 871 h 18428"/>
                    <a:gd name="connsiteX2" fmla="*/ 17488 w 18358"/>
                    <a:gd name="connsiteY2" fmla="*/ 13132 h 18428"/>
                    <a:gd name="connsiteX3" fmla="*/ 5287 w 18358"/>
                    <a:gd name="connsiteY3" fmla="*/ 17557 h 18428"/>
                    <a:gd name="connsiteX4" fmla="*/ 861 w 18358"/>
                    <a:gd name="connsiteY4" fmla="*/ 529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28">
                      <a:moveTo>
                        <a:pt x="861" y="5297"/>
                      </a:moveTo>
                      <a:cubicBezTo>
                        <a:pt x="3014" y="692"/>
                        <a:pt x="8457" y="-1282"/>
                        <a:pt x="13062" y="871"/>
                      </a:cubicBezTo>
                      <a:cubicBezTo>
                        <a:pt x="17667" y="3024"/>
                        <a:pt x="19641" y="8527"/>
                        <a:pt x="17488" y="13132"/>
                      </a:cubicBezTo>
                      <a:cubicBezTo>
                        <a:pt x="15335" y="17737"/>
                        <a:pt x="9892" y="19711"/>
                        <a:pt x="5287" y="17557"/>
                      </a:cubicBezTo>
                      <a:cubicBezTo>
                        <a:pt x="742" y="15404"/>
                        <a:pt x="-1292" y="9902"/>
                        <a:pt x="861" y="5297"/>
                      </a:cubicBezTo>
                      <a:close/>
                    </a:path>
                  </a:pathLst>
                </a:custGeom>
                <a:grpFill/>
                <a:ln w="5978" cap="flat">
                  <a:noFill/>
                  <a:prstDash val="solid"/>
                  <a:miter/>
                </a:ln>
              </p:spPr>
              <p:txBody>
                <a:bodyPr rtlCol="0" anchor="ctr"/>
                <a:lstStyle/>
                <a:p>
                  <a:endParaRPr lang="en-GB"/>
                </a:p>
              </p:txBody>
            </p:sp>
            <p:sp>
              <p:nvSpPr>
                <p:cNvPr id="2488" name="Vrije vorm: vorm 2487">
                  <a:extLst>
                    <a:ext uri="{FF2B5EF4-FFF2-40B4-BE49-F238E27FC236}">
                      <a16:creationId xmlns:a16="http://schemas.microsoft.com/office/drawing/2014/main" id="{7D266F19-25B5-445E-BC16-E377FC74F220}"/>
                    </a:ext>
                  </a:extLst>
                </p:cNvPr>
                <p:cNvSpPr/>
                <p:nvPr/>
              </p:nvSpPr>
              <p:spPr>
                <a:xfrm>
                  <a:off x="5265004" y="5417164"/>
                  <a:ext cx="18349" cy="18428"/>
                </a:xfrm>
                <a:custGeom>
                  <a:avLst/>
                  <a:gdLst>
                    <a:gd name="connsiteX0" fmla="*/ 862 w 18349"/>
                    <a:gd name="connsiteY0" fmla="*/ 5297 h 18428"/>
                    <a:gd name="connsiteX1" fmla="*/ 5287 w 18349"/>
                    <a:gd name="connsiteY1" fmla="*/ 17557 h 18428"/>
                    <a:gd name="connsiteX2" fmla="*/ 17488 w 18349"/>
                    <a:gd name="connsiteY2" fmla="*/ 13132 h 18428"/>
                    <a:gd name="connsiteX3" fmla="*/ 13062 w 18349"/>
                    <a:gd name="connsiteY3" fmla="*/ 871 h 18428"/>
                    <a:gd name="connsiteX4" fmla="*/ 862 w 18349"/>
                    <a:gd name="connsiteY4" fmla="*/ 529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8">
                      <a:moveTo>
                        <a:pt x="862" y="5297"/>
                      </a:moveTo>
                      <a:cubicBezTo>
                        <a:pt x="-1292" y="9902"/>
                        <a:pt x="742" y="15404"/>
                        <a:pt x="5287" y="17557"/>
                      </a:cubicBezTo>
                      <a:cubicBezTo>
                        <a:pt x="9892" y="19710"/>
                        <a:pt x="15335" y="17737"/>
                        <a:pt x="17488" y="13132"/>
                      </a:cubicBezTo>
                      <a:cubicBezTo>
                        <a:pt x="19641" y="8526"/>
                        <a:pt x="17607" y="3024"/>
                        <a:pt x="13062" y="871"/>
                      </a:cubicBezTo>
                      <a:cubicBezTo>
                        <a:pt x="8397" y="-1282"/>
                        <a:pt x="2955" y="692"/>
                        <a:pt x="862" y="5297"/>
                      </a:cubicBezTo>
                      <a:close/>
                    </a:path>
                  </a:pathLst>
                </a:custGeom>
                <a:grpFill/>
                <a:ln w="5978" cap="flat">
                  <a:noFill/>
                  <a:prstDash val="solid"/>
                  <a:miter/>
                </a:ln>
              </p:spPr>
              <p:txBody>
                <a:bodyPr rtlCol="0" anchor="ctr"/>
                <a:lstStyle/>
                <a:p>
                  <a:endParaRPr lang="en-GB"/>
                </a:p>
              </p:txBody>
            </p:sp>
          </p:grpSp>
          <p:grpSp>
            <p:nvGrpSpPr>
              <p:cNvPr id="972" name="Graphic 3">
                <a:extLst>
                  <a:ext uri="{FF2B5EF4-FFF2-40B4-BE49-F238E27FC236}">
                    <a16:creationId xmlns:a16="http://schemas.microsoft.com/office/drawing/2014/main" id="{E019DEBE-6F73-479E-B856-769A4243F7C1}"/>
                  </a:ext>
                </a:extLst>
              </p:cNvPr>
              <p:cNvGrpSpPr/>
              <p:nvPr/>
            </p:nvGrpSpPr>
            <p:grpSpPr>
              <a:xfrm>
                <a:off x="4112966" y="2095941"/>
                <a:ext cx="535265" cy="406235"/>
                <a:chOff x="4112966" y="2095941"/>
                <a:chExt cx="535265" cy="406235"/>
              </a:xfrm>
              <a:grpFill/>
            </p:grpSpPr>
            <p:sp>
              <p:nvSpPr>
                <p:cNvPr id="2483" name="Vrije vorm: vorm 2482">
                  <a:extLst>
                    <a:ext uri="{FF2B5EF4-FFF2-40B4-BE49-F238E27FC236}">
                      <a16:creationId xmlns:a16="http://schemas.microsoft.com/office/drawing/2014/main" id="{2526B598-5430-4644-8B5D-532F5BB3406E}"/>
                    </a:ext>
                  </a:extLst>
                </p:cNvPr>
                <p:cNvSpPr/>
                <p:nvPr/>
              </p:nvSpPr>
              <p:spPr>
                <a:xfrm>
                  <a:off x="4120797" y="2103639"/>
                  <a:ext cx="519545" cy="390780"/>
                </a:xfrm>
                <a:custGeom>
                  <a:avLst/>
                  <a:gdLst>
                    <a:gd name="connsiteX0" fmla="*/ 519545 w 519545"/>
                    <a:gd name="connsiteY0" fmla="*/ 388328 h 390780"/>
                    <a:gd name="connsiteX1" fmla="*/ 517691 w 519545"/>
                    <a:gd name="connsiteY1" fmla="*/ 390780 h 390780"/>
                    <a:gd name="connsiteX2" fmla="*/ 0 w 519545"/>
                    <a:gd name="connsiteY2" fmla="*/ 2452 h 390780"/>
                    <a:gd name="connsiteX3" fmla="*/ 1794 w 519545"/>
                    <a:gd name="connsiteY3" fmla="*/ 0 h 390780"/>
                  </a:gdLst>
                  <a:ahLst/>
                  <a:cxnLst>
                    <a:cxn ang="0">
                      <a:pos x="connsiteX0" y="connsiteY0"/>
                    </a:cxn>
                    <a:cxn ang="0">
                      <a:pos x="connsiteX1" y="connsiteY1"/>
                    </a:cxn>
                    <a:cxn ang="0">
                      <a:pos x="connsiteX2" y="connsiteY2"/>
                    </a:cxn>
                    <a:cxn ang="0">
                      <a:pos x="connsiteX3" y="connsiteY3"/>
                    </a:cxn>
                  </a:cxnLst>
                  <a:rect l="l" t="t" r="r" b="b"/>
                  <a:pathLst>
                    <a:path w="519545" h="390780">
                      <a:moveTo>
                        <a:pt x="519545" y="388328"/>
                      </a:moveTo>
                      <a:lnTo>
                        <a:pt x="517691" y="390780"/>
                      </a:lnTo>
                      <a:lnTo>
                        <a:pt x="0" y="2452"/>
                      </a:lnTo>
                      <a:lnTo>
                        <a:pt x="1794" y="0"/>
                      </a:lnTo>
                      <a:close/>
                    </a:path>
                  </a:pathLst>
                </a:custGeom>
                <a:grpFill/>
                <a:ln w="5978" cap="flat">
                  <a:noFill/>
                  <a:prstDash val="solid"/>
                  <a:miter/>
                </a:ln>
              </p:spPr>
              <p:txBody>
                <a:bodyPr rtlCol="0" anchor="ctr"/>
                <a:lstStyle/>
                <a:p>
                  <a:endParaRPr lang="en-GB"/>
                </a:p>
              </p:txBody>
            </p:sp>
            <p:sp>
              <p:nvSpPr>
                <p:cNvPr id="2484" name="Vrije vorm: vorm 2483">
                  <a:extLst>
                    <a:ext uri="{FF2B5EF4-FFF2-40B4-BE49-F238E27FC236}">
                      <a16:creationId xmlns:a16="http://schemas.microsoft.com/office/drawing/2014/main" id="{DB6E0B71-5501-47AA-8595-D8999A892AD3}"/>
                    </a:ext>
                  </a:extLst>
                </p:cNvPr>
                <p:cNvSpPr/>
                <p:nvPr/>
              </p:nvSpPr>
              <p:spPr>
                <a:xfrm>
                  <a:off x="4629940" y="2483731"/>
                  <a:ext cx="18291" cy="18445"/>
                </a:xfrm>
                <a:custGeom>
                  <a:avLst/>
                  <a:gdLst>
                    <a:gd name="connsiteX0" fmla="*/ 14588 w 18291"/>
                    <a:gd name="connsiteY0" fmla="*/ 1837 h 18445"/>
                    <a:gd name="connsiteX1" fmla="*/ 16502 w 18291"/>
                    <a:gd name="connsiteY1" fmla="*/ 14755 h 18445"/>
                    <a:gd name="connsiteX2" fmla="*/ 3703 w 18291"/>
                    <a:gd name="connsiteY2" fmla="*/ 16609 h 18445"/>
                    <a:gd name="connsiteX3" fmla="*/ 1790 w 18291"/>
                    <a:gd name="connsiteY3" fmla="*/ 3691 h 18445"/>
                    <a:gd name="connsiteX4" fmla="*/ 14588 w 18291"/>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4588" y="1837"/>
                      </a:moveTo>
                      <a:cubicBezTo>
                        <a:pt x="18655" y="4887"/>
                        <a:pt x="19493" y="10628"/>
                        <a:pt x="16502" y="14755"/>
                      </a:cubicBezTo>
                      <a:cubicBezTo>
                        <a:pt x="13512" y="18822"/>
                        <a:pt x="7770" y="19659"/>
                        <a:pt x="3703" y="16609"/>
                      </a:cubicBezTo>
                      <a:cubicBezTo>
                        <a:pt x="-363" y="13559"/>
                        <a:pt x="-1201" y="7758"/>
                        <a:pt x="1790" y="3691"/>
                      </a:cubicBezTo>
                      <a:cubicBezTo>
                        <a:pt x="4780" y="-376"/>
                        <a:pt x="10522" y="-1213"/>
                        <a:pt x="14588" y="1837"/>
                      </a:cubicBezTo>
                      <a:close/>
                    </a:path>
                  </a:pathLst>
                </a:custGeom>
                <a:grpFill/>
                <a:ln w="5978" cap="flat">
                  <a:noFill/>
                  <a:prstDash val="solid"/>
                  <a:miter/>
                </a:ln>
              </p:spPr>
              <p:txBody>
                <a:bodyPr rtlCol="0" anchor="ctr"/>
                <a:lstStyle/>
                <a:p>
                  <a:endParaRPr lang="en-GB"/>
                </a:p>
              </p:txBody>
            </p:sp>
            <p:sp>
              <p:nvSpPr>
                <p:cNvPr id="2485" name="Vrije vorm: vorm 2484">
                  <a:extLst>
                    <a:ext uri="{FF2B5EF4-FFF2-40B4-BE49-F238E27FC236}">
                      <a16:creationId xmlns:a16="http://schemas.microsoft.com/office/drawing/2014/main" id="{27FD43A5-7543-47C4-B887-66E43800F0A6}"/>
                    </a:ext>
                  </a:extLst>
                </p:cNvPr>
                <p:cNvSpPr/>
                <p:nvPr/>
              </p:nvSpPr>
              <p:spPr>
                <a:xfrm>
                  <a:off x="4112966" y="2095941"/>
                  <a:ext cx="18274" cy="18445"/>
                </a:xfrm>
                <a:custGeom>
                  <a:avLst/>
                  <a:gdLst>
                    <a:gd name="connsiteX0" fmla="*/ 14588 w 18274"/>
                    <a:gd name="connsiteY0" fmla="*/ 1837 h 18445"/>
                    <a:gd name="connsiteX1" fmla="*/ 1790 w 18274"/>
                    <a:gd name="connsiteY1" fmla="*/ 3691 h 18445"/>
                    <a:gd name="connsiteX2" fmla="*/ 3703 w 18274"/>
                    <a:gd name="connsiteY2" fmla="*/ 16609 h 18445"/>
                    <a:gd name="connsiteX3" fmla="*/ 16502 w 18274"/>
                    <a:gd name="connsiteY3" fmla="*/ 14755 h 18445"/>
                    <a:gd name="connsiteX4" fmla="*/ 14588 w 18274"/>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5">
                      <a:moveTo>
                        <a:pt x="14588" y="1837"/>
                      </a:moveTo>
                      <a:cubicBezTo>
                        <a:pt x="10522" y="-1213"/>
                        <a:pt x="4780" y="-376"/>
                        <a:pt x="1790" y="3691"/>
                      </a:cubicBezTo>
                      <a:cubicBezTo>
                        <a:pt x="-1201" y="7758"/>
                        <a:pt x="-363" y="13559"/>
                        <a:pt x="3703" y="16609"/>
                      </a:cubicBezTo>
                      <a:cubicBezTo>
                        <a:pt x="7770" y="19659"/>
                        <a:pt x="13512" y="18822"/>
                        <a:pt x="16502" y="14755"/>
                      </a:cubicBezTo>
                      <a:cubicBezTo>
                        <a:pt x="19493" y="10688"/>
                        <a:pt x="18595" y="4887"/>
                        <a:pt x="14588" y="1837"/>
                      </a:cubicBezTo>
                      <a:close/>
                    </a:path>
                  </a:pathLst>
                </a:custGeom>
                <a:grpFill/>
                <a:ln w="5978" cap="flat">
                  <a:noFill/>
                  <a:prstDash val="solid"/>
                  <a:miter/>
                </a:ln>
              </p:spPr>
              <p:txBody>
                <a:bodyPr rtlCol="0" anchor="ctr"/>
                <a:lstStyle/>
                <a:p>
                  <a:endParaRPr lang="en-GB"/>
                </a:p>
              </p:txBody>
            </p:sp>
          </p:grpSp>
          <p:grpSp>
            <p:nvGrpSpPr>
              <p:cNvPr id="973" name="Graphic 3">
                <a:extLst>
                  <a:ext uri="{FF2B5EF4-FFF2-40B4-BE49-F238E27FC236}">
                    <a16:creationId xmlns:a16="http://schemas.microsoft.com/office/drawing/2014/main" id="{A49F036F-03BE-4551-952C-5573479623A1}"/>
                  </a:ext>
                </a:extLst>
              </p:cNvPr>
              <p:cNvGrpSpPr/>
              <p:nvPr/>
            </p:nvGrpSpPr>
            <p:grpSpPr>
              <a:xfrm>
                <a:off x="5245651" y="4888921"/>
                <a:ext cx="42316" cy="64172"/>
                <a:chOff x="5245651" y="4888921"/>
                <a:chExt cx="42316" cy="64172"/>
              </a:xfrm>
              <a:grpFill/>
            </p:grpSpPr>
            <p:sp>
              <p:nvSpPr>
                <p:cNvPr id="2480" name="Vrije vorm: vorm 2479">
                  <a:extLst>
                    <a:ext uri="{FF2B5EF4-FFF2-40B4-BE49-F238E27FC236}">
                      <a16:creationId xmlns:a16="http://schemas.microsoft.com/office/drawing/2014/main" id="{F8F1A047-6947-4195-8FED-2CFD4E2C2712}"/>
                    </a:ext>
                  </a:extLst>
                </p:cNvPr>
                <p:cNvSpPr/>
                <p:nvPr/>
              </p:nvSpPr>
              <p:spPr>
                <a:xfrm>
                  <a:off x="5253306" y="4896995"/>
                  <a:ext cx="27092" cy="47965"/>
                </a:xfrm>
                <a:custGeom>
                  <a:avLst/>
                  <a:gdLst>
                    <a:gd name="connsiteX0" fmla="*/ 27093 w 27092"/>
                    <a:gd name="connsiteY0" fmla="*/ 1435 h 47965"/>
                    <a:gd name="connsiteX1" fmla="*/ 2691 w 27092"/>
                    <a:gd name="connsiteY1" fmla="*/ 47965 h 47965"/>
                    <a:gd name="connsiteX2" fmla="*/ 0 w 27092"/>
                    <a:gd name="connsiteY2" fmla="*/ 46530 h 47965"/>
                    <a:gd name="connsiteX3" fmla="*/ 24401 w 27092"/>
                    <a:gd name="connsiteY3" fmla="*/ 0 h 47965"/>
                  </a:gdLst>
                  <a:ahLst/>
                  <a:cxnLst>
                    <a:cxn ang="0">
                      <a:pos x="connsiteX0" y="connsiteY0"/>
                    </a:cxn>
                    <a:cxn ang="0">
                      <a:pos x="connsiteX1" y="connsiteY1"/>
                    </a:cxn>
                    <a:cxn ang="0">
                      <a:pos x="connsiteX2" y="connsiteY2"/>
                    </a:cxn>
                    <a:cxn ang="0">
                      <a:pos x="connsiteX3" y="connsiteY3"/>
                    </a:cxn>
                  </a:cxnLst>
                  <a:rect l="l" t="t" r="r" b="b"/>
                  <a:pathLst>
                    <a:path w="27092" h="47965">
                      <a:moveTo>
                        <a:pt x="27093" y="1435"/>
                      </a:moveTo>
                      <a:lnTo>
                        <a:pt x="2691" y="47965"/>
                      </a:lnTo>
                      <a:lnTo>
                        <a:pt x="0" y="46530"/>
                      </a:lnTo>
                      <a:lnTo>
                        <a:pt x="24401" y="0"/>
                      </a:lnTo>
                      <a:close/>
                    </a:path>
                  </a:pathLst>
                </a:custGeom>
                <a:grpFill/>
                <a:ln w="5978" cap="flat">
                  <a:noFill/>
                  <a:prstDash val="solid"/>
                  <a:miter/>
                </a:ln>
              </p:spPr>
              <p:txBody>
                <a:bodyPr rtlCol="0" anchor="ctr"/>
                <a:lstStyle/>
                <a:p>
                  <a:endParaRPr lang="en-GB"/>
                </a:p>
              </p:txBody>
            </p:sp>
            <p:sp>
              <p:nvSpPr>
                <p:cNvPr id="2481" name="Vrije vorm: vorm 2480">
                  <a:extLst>
                    <a:ext uri="{FF2B5EF4-FFF2-40B4-BE49-F238E27FC236}">
                      <a16:creationId xmlns:a16="http://schemas.microsoft.com/office/drawing/2014/main" id="{7C3AD9CC-2117-4BE1-8FAA-51B6B8E04E8A}"/>
                    </a:ext>
                  </a:extLst>
                </p:cNvPr>
                <p:cNvSpPr/>
                <p:nvPr/>
              </p:nvSpPr>
              <p:spPr>
                <a:xfrm>
                  <a:off x="5245651" y="4934674"/>
                  <a:ext cx="18360" cy="18420"/>
                </a:xfrm>
                <a:custGeom>
                  <a:avLst/>
                  <a:gdLst>
                    <a:gd name="connsiteX0" fmla="*/ 17284 w 18360"/>
                    <a:gd name="connsiteY0" fmla="*/ 13516 h 18420"/>
                    <a:gd name="connsiteX1" fmla="*/ 4904 w 18360"/>
                    <a:gd name="connsiteY1" fmla="*/ 17344 h 18420"/>
                    <a:gd name="connsiteX2" fmla="*/ 1076 w 18360"/>
                    <a:gd name="connsiteY2" fmla="*/ 4904 h 18420"/>
                    <a:gd name="connsiteX3" fmla="*/ 13457 w 18360"/>
                    <a:gd name="connsiteY3" fmla="*/ 1076 h 18420"/>
                    <a:gd name="connsiteX4" fmla="*/ 17284 w 18360"/>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17284" y="13516"/>
                      </a:moveTo>
                      <a:cubicBezTo>
                        <a:pt x="14952" y="18002"/>
                        <a:pt x="9390" y="19736"/>
                        <a:pt x="4904" y="17344"/>
                      </a:cubicBezTo>
                      <a:cubicBezTo>
                        <a:pt x="419" y="14952"/>
                        <a:pt x="-1316" y="9390"/>
                        <a:pt x="1076" y="4904"/>
                      </a:cubicBezTo>
                      <a:cubicBezTo>
                        <a:pt x="3409" y="419"/>
                        <a:pt x="8971" y="-1316"/>
                        <a:pt x="13457" y="1076"/>
                      </a:cubicBezTo>
                      <a:cubicBezTo>
                        <a:pt x="17942" y="3409"/>
                        <a:pt x="19676" y="9031"/>
                        <a:pt x="17284" y="13516"/>
                      </a:cubicBezTo>
                      <a:close/>
                    </a:path>
                  </a:pathLst>
                </a:custGeom>
                <a:grpFill/>
                <a:ln w="5978" cap="flat">
                  <a:noFill/>
                  <a:prstDash val="solid"/>
                  <a:miter/>
                </a:ln>
              </p:spPr>
              <p:txBody>
                <a:bodyPr rtlCol="0" anchor="ctr"/>
                <a:lstStyle/>
                <a:p>
                  <a:endParaRPr lang="en-GB"/>
                </a:p>
              </p:txBody>
            </p:sp>
            <p:sp>
              <p:nvSpPr>
                <p:cNvPr id="2482" name="Vrije vorm: vorm 2481">
                  <a:extLst>
                    <a:ext uri="{FF2B5EF4-FFF2-40B4-BE49-F238E27FC236}">
                      <a16:creationId xmlns:a16="http://schemas.microsoft.com/office/drawing/2014/main" id="{DD6D2440-BC82-4685-8C4F-0FC83CE4F0D9}"/>
                    </a:ext>
                  </a:extLst>
                </p:cNvPr>
                <p:cNvSpPr/>
                <p:nvPr/>
              </p:nvSpPr>
              <p:spPr>
                <a:xfrm>
                  <a:off x="5269660" y="4888921"/>
                  <a:ext cx="18307" cy="18420"/>
                </a:xfrm>
                <a:custGeom>
                  <a:avLst/>
                  <a:gdLst>
                    <a:gd name="connsiteX0" fmla="*/ 17258 w 18307"/>
                    <a:gd name="connsiteY0" fmla="*/ 13516 h 18420"/>
                    <a:gd name="connsiteX1" fmla="*/ 13430 w 18307"/>
                    <a:gd name="connsiteY1" fmla="*/ 1076 h 18420"/>
                    <a:gd name="connsiteX2" fmla="*/ 1050 w 18307"/>
                    <a:gd name="connsiteY2" fmla="*/ 4904 h 18420"/>
                    <a:gd name="connsiteX3" fmla="*/ 4877 w 18307"/>
                    <a:gd name="connsiteY3" fmla="*/ 17344 h 18420"/>
                    <a:gd name="connsiteX4" fmla="*/ 17258 w 18307"/>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0">
                      <a:moveTo>
                        <a:pt x="17258" y="13516"/>
                      </a:moveTo>
                      <a:cubicBezTo>
                        <a:pt x="19590" y="9031"/>
                        <a:pt x="17916" y="3469"/>
                        <a:pt x="13430" y="1076"/>
                      </a:cubicBezTo>
                      <a:cubicBezTo>
                        <a:pt x="8945" y="-1316"/>
                        <a:pt x="3382" y="418"/>
                        <a:pt x="1050" y="4904"/>
                      </a:cubicBezTo>
                      <a:cubicBezTo>
                        <a:pt x="-1283" y="9389"/>
                        <a:pt x="392" y="14952"/>
                        <a:pt x="4877" y="17344"/>
                      </a:cubicBezTo>
                      <a:cubicBezTo>
                        <a:pt x="9363" y="19736"/>
                        <a:pt x="14925" y="18002"/>
                        <a:pt x="17258" y="13516"/>
                      </a:cubicBezTo>
                      <a:close/>
                    </a:path>
                  </a:pathLst>
                </a:custGeom>
                <a:grpFill/>
                <a:ln w="5978" cap="flat">
                  <a:noFill/>
                  <a:prstDash val="solid"/>
                  <a:miter/>
                </a:ln>
              </p:spPr>
              <p:txBody>
                <a:bodyPr rtlCol="0" anchor="ctr"/>
                <a:lstStyle/>
                <a:p>
                  <a:endParaRPr lang="en-GB"/>
                </a:p>
              </p:txBody>
            </p:sp>
          </p:grpSp>
          <p:grpSp>
            <p:nvGrpSpPr>
              <p:cNvPr id="974" name="Graphic 3">
                <a:extLst>
                  <a:ext uri="{FF2B5EF4-FFF2-40B4-BE49-F238E27FC236}">
                    <a16:creationId xmlns:a16="http://schemas.microsoft.com/office/drawing/2014/main" id="{51D05303-F978-4F23-9544-1E4E18AE6966}"/>
                  </a:ext>
                </a:extLst>
              </p:cNvPr>
              <p:cNvGrpSpPr/>
              <p:nvPr/>
            </p:nvGrpSpPr>
            <p:grpSpPr>
              <a:xfrm>
                <a:off x="5334197" y="5122890"/>
                <a:ext cx="170986" cy="486861"/>
                <a:chOff x="5334197" y="5122890"/>
                <a:chExt cx="170986" cy="486861"/>
              </a:xfrm>
              <a:grpFill/>
            </p:grpSpPr>
            <p:sp>
              <p:nvSpPr>
                <p:cNvPr id="2477" name="Vrije vorm: vorm 2476">
                  <a:extLst>
                    <a:ext uri="{FF2B5EF4-FFF2-40B4-BE49-F238E27FC236}">
                      <a16:creationId xmlns:a16="http://schemas.microsoft.com/office/drawing/2014/main" id="{B03F01FF-AB7F-4518-9497-4335738A1237}"/>
                    </a:ext>
                  </a:extLst>
                </p:cNvPr>
                <p:cNvSpPr/>
                <p:nvPr/>
              </p:nvSpPr>
              <p:spPr>
                <a:xfrm>
                  <a:off x="5341761" y="5131200"/>
                  <a:ext cx="155857" cy="470264"/>
                </a:xfrm>
                <a:custGeom>
                  <a:avLst/>
                  <a:gdLst>
                    <a:gd name="connsiteX0" fmla="*/ 155858 w 155857"/>
                    <a:gd name="connsiteY0" fmla="*/ 957 h 470264"/>
                    <a:gd name="connsiteX1" fmla="*/ 2930 w 155857"/>
                    <a:gd name="connsiteY1" fmla="*/ 470264 h 470264"/>
                    <a:gd name="connsiteX2" fmla="*/ 0 w 155857"/>
                    <a:gd name="connsiteY2" fmla="*/ 469248 h 470264"/>
                    <a:gd name="connsiteX3" fmla="*/ 152987 w 155857"/>
                    <a:gd name="connsiteY3" fmla="*/ 0 h 470264"/>
                  </a:gdLst>
                  <a:ahLst/>
                  <a:cxnLst>
                    <a:cxn ang="0">
                      <a:pos x="connsiteX0" y="connsiteY0"/>
                    </a:cxn>
                    <a:cxn ang="0">
                      <a:pos x="connsiteX1" y="connsiteY1"/>
                    </a:cxn>
                    <a:cxn ang="0">
                      <a:pos x="connsiteX2" y="connsiteY2"/>
                    </a:cxn>
                    <a:cxn ang="0">
                      <a:pos x="connsiteX3" y="connsiteY3"/>
                    </a:cxn>
                  </a:cxnLst>
                  <a:rect l="l" t="t" r="r" b="b"/>
                  <a:pathLst>
                    <a:path w="155857" h="470264">
                      <a:moveTo>
                        <a:pt x="155858" y="957"/>
                      </a:moveTo>
                      <a:lnTo>
                        <a:pt x="2930" y="470264"/>
                      </a:lnTo>
                      <a:lnTo>
                        <a:pt x="0" y="469248"/>
                      </a:lnTo>
                      <a:lnTo>
                        <a:pt x="152987" y="0"/>
                      </a:lnTo>
                      <a:close/>
                    </a:path>
                  </a:pathLst>
                </a:custGeom>
                <a:grpFill/>
                <a:ln w="5978" cap="flat">
                  <a:noFill/>
                  <a:prstDash val="solid"/>
                  <a:miter/>
                </a:ln>
              </p:spPr>
              <p:txBody>
                <a:bodyPr rtlCol="0" anchor="ctr"/>
                <a:lstStyle/>
                <a:p>
                  <a:endParaRPr lang="en-GB"/>
                </a:p>
              </p:txBody>
            </p:sp>
            <p:sp>
              <p:nvSpPr>
                <p:cNvPr id="2478" name="Vrije vorm: vorm 2477">
                  <a:extLst>
                    <a:ext uri="{FF2B5EF4-FFF2-40B4-BE49-F238E27FC236}">
                      <a16:creationId xmlns:a16="http://schemas.microsoft.com/office/drawing/2014/main" id="{788A804F-1A64-4970-B0D2-BBA1AE616517}"/>
                    </a:ext>
                  </a:extLst>
                </p:cNvPr>
                <p:cNvSpPr/>
                <p:nvPr/>
              </p:nvSpPr>
              <p:spPr>
                <a:xfrm>
                  <a:off x="5334197" y="5591300"/>
                  <a:ext cx="18326" cy="18451"/>
                </a:xfrm>
                <a:custGeom>
                  <a:avLst/>
                  <a:gdLst>
                    <a:gd name="connsiteX0" fmla="*/ 17851 w 18326"/>
                    <a:gd name="connsiteY0" fmla="*/ 12138 h 18451"/>
                    <a:gd name="connsiteX1" fmla="*/ 6308 w 18326"/>
                    <a:gd name="connsiteY1" fmla="*/ 17999 h 18451"/>
                    <a:gd name="connsiteX2" fmla="*/ 447 w 18326"/>
                    <a:gd name="connsiteY2" fmla="*/ 6337 h 18451"/>
                    <a:gd name="connsiteX3" fmla="*/ 11990 w 18326"/>
                    <a:gd name="connsiteY3" fmla="*/ 476 h 18451"/>
                    <a:gd name="connsiteX4" fmla="*/ 17851 w 18326"/>
                    <a:gd name="connsiteY4" fmla="*/ 1213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1">
                      <a:moveTo>
                        <a:pt x="17851" y="12138"/>
                      </a:moveTo>
                      <a:cubicBezTo>
                        <a:pt x="16296" y="16982"/>
                        <a:pt x="11093" y="19554"/>
                        <a:pt x="6308" y="17999"/>
                      </a:cubicBezTo>
                      <a:cubicBezTo>
                        <a:pt x="1524" y="16384"/>
                        <a:pt x="-1108" y="11181"/>
                        <a:pt x="447" y="6337"/>
                      </a:cubicBezTo>
                      <a:cubicBezTo>
                        <a:pt x="2002" y="1492"/>
                        <a:pt x="7205" y="-1139"/>
                        <a:pt x="11990" y="476"/>
                      </a:cubicBezTo>
                      <a:cubicBezTo>
                        <a:pt x="16834" y="2091"/>
                        <a:pt x="19466" y="7294"/>
                        <a:pt x="17851" y="12138"/>
                      </a:cubicBezTo>
                      <a:close/>
                    </a:path>
                  </a:pathLst>
                </a:custGeom>
                <a:grpFill/>
                <a:ln w="5978" cap="flat">
                  <a:noFill/>
                  <a:prstDash val="solid"/>
                  <a:miter/>
                </a:ln>
              </p:spPr>
              <p:txBody>
                <a:bodyPr rtlCol="0" anchor="ctr"/>
                <a:lstStyle/>
                <a:p>
                  <a:endParaRPr lang="en-GB"/>
                </a:p>
              </p:txBody>
            </p:sp>
            <p:sp>
              <p:nvSpPr>
                <p:cNvPr id="2479" name="Vrije vorm: vorm 2478">
                  <a:extLst>
                    <a:ext uri="{FF2B5EF4-FFF2-40B4-BE49-F238E27FC236}">
                      <a16:creationId xmlns:a16="http://schemas.microsoft.com/office/drawing/2014/main" id="{4E89C945-8394-48A3-8A24-89B8AFFD7B09}"/>
                    </a:ext>
                  </a:extLst>
                </p:cNvPr>
                <p:cNvSpPr/>
                <p:nvPr/>
              </p:nvSpPr>
              <p:spPr>
                <a:xfrm>
                  <a:off x="5486885" y="5122890"/>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9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5" y="2091"/>
                        <a:pt x="11990" y="476"/>
                      </a:cubicBezTo>
                      <a:cubicBezTo>
                        <a:pt x="7205" y="-1139"/>
                        <a:pt x="2002" y="1492"/>
                        <a:pt x="447" y="6337"/>
                      </a:cubicBezTo>
                      <a:cubicBezTo>
                        <a:pt x="-1108" y="11181"/>
                        <a:pt x="1524" y="16384"/>
                        <a:pt x="6309" y="17999"/>
                      </a:cubicBezTo>
                      <a:cubicBezTo>
                        <a:pt x="11093" y="19614"/>
                        <a:pt x="16296" y="16982"/>
                        <a:pt x="17851" y="12138"/>
                      </a:cubicBezTo>
                      <a:close/>
                    </a:path>
                  </a:pathLst>
                </a:custGeom>
                <a:grpFill/>
                <a:ln w="5978" cap="flat">
                  <a:noFill/>
                  <a:prstDash val="solid"/>
                  <a:miter/>
                </a:ln>
              </p:spPr>
              <p:txBody>
                <a:bodyPr rtlCol="0" anchor="ctr"/>
                <a:lstStyle/>
                <a:p>
                  <a:endParaRPr lang="en-GB"/>
                </a:p>
              </p:txBody>
            </p:sp>
          </p:grpSp>
          <p:grpSp>
            <p:nvGrpSpPr>
              <p:cNvPr id="975" name="Graphic 3">
                <a:extLst>
                  <a:ext uri="{FF2B5EF4-FFF2-40B4-BE49-F238E27FC236}">
                    <a16:creationId xmlns:a16="http://schemas.microsoft.com/office/drawing/2014/main" id="{C6B1AF02-01A5-4BF1-957E-00D7BAF0426F}"/>
                  </a:ext>
                </a:extLst>
              </p:cNvPr>
              <p:cNvGrpSpPr/>
              <p:nvPr/>
            </p:nvGrpSpPr>
            <p:grpSpPr>
              <a:xfrm>
                <a:off x="5315128" y="5099212"/>
                <a:ext cx="127254" cy="314574"/>
                <a:chOff x="5315128" y="5099212"/>
                <a:chExt cx="127254" cy="314574"/>
              </a:xfrm>
              <a:grpFill/>
            </p:grpSpPr>
            <p:sp>
              <p:nvSpPr>
                <p:cNvPr id="2474" name="Vrije vorm: vorm 2473">
                  <a:extLst>
                    <a:ext uri="{FF2B5EF4-FFF2-40B4-BE49-F238E27FC236}">
                      <a16:creationId xmlns:a16="http://schemas.microsoft.com/office/drawing/2014/main" id="{C8C00802-05A8-4813-8880-8FB25A564A1E}"/>
                    </a:ext>
                  </a:extLst>
                </p:cNvPr>
                <p:cNvSpPr/>
                <p:nvPr/>
              </p:nvSpPr>
              <p:spPr>
                <a:xfrm>
                  <a:off x="5322743" y="5107457"/>
                  <a:ext cx="112078" cy="298138"/>
                </a:xfrm>
                <a:custGeom>
                  <a:avLst/>
                  <a:gdLst>
                    <a:gd name="connsiteX0" fmla="*/ 112079 w 112078"/>
                    <a:gd name="connsiteY0" fmla="*/ 1076 h 298138"/>
                    <a:gd name="connsiteX1" fmla="*/ 2871 w 112078"/>
                    <a:gd name="connsiteY1" fmla="*/ 298139 h 298138"/>
                    <a:gd name="connsiteX2" fmla="*/ 0 w 112078"/>
                    <a:gd name="connsiteY2" fmla="*/ 297062 h 298138"/>
                    <a:gd name="connsiteX3" fmla="*/ 109208 w 112078"/>
                    <a:gd name="connsiteY3" fmla="*/ 0 h 298138"/>
                  </a:gdLst>
                  <a:ahLst/>
                  <a:cxnLst>
                    <a:cxn ang="0">
                      <a:pos x="connsiteX0" y="connsiteY0"/>
                    </a:cxn>
                    <a:cxn ang="0">
                      <a:pos x="connsiteX1" y="connsiteY1"/>
                    </a:cxn>
                    <a:cxn ang="0">
                      <a:pos x="connsiteX2" y="connsiteY2"/>
                    </a:cxn>
                    <a:cxn ang="0">
                      <a:pos x="connsiteX3" y="connsiteY3"/>
                    </a:cxn>
                  </a:cxnLst>
                  <a:rect l="l" t="t" r="r" b="b"/>
                  <a:pathLst>
                    <a:path w="112078" h="298138">
                      <a:moveTo>
                        <a:pt x="112079" y="1076"/>
                      </a:moveTo>
                      <a:lnTo>
                        <a:pt x="2871" y="298139"/>
                      </a:lnTo>
                      <a:lnTo>
                        <a:pt x="0" y="297062"/>
                      </a:lnTo>
                      <a:lnTo>
                        <a:pt x="109208" y="0"/>
                      </a:lnTo>
                      <a:close/>
                    </a:path>
                  </a:pathLst>
                </a:custGeom>
                <a:grpFill/>
                <a:ln w="5978" cap="flat">
                  <a:noFill/>
                  <a:prstDash val="solid"/>
                  <a:miter/>
                </a:ln>
              </p:spPr>
              <p:txBody>
                <a:bodyPr rtlCol="0" anchor="ctr"/>
                <a:lstStyle/>
                <a:p>
                  <a:endParaRPr lang="en-GB"/>
                </a:p>
              </p:txBody>
            </p:sp>
            <p:sp>
              <p:nvSpPr>
                <p:cNvPr id="2475" name="Vrije vorm: vorm 2474">
                  <a:extLst>
                    <a:ext uri="{FF2B5EF4-FFF2-40B4-BE49-F238E27FC236}">
                      <a16:creationId xmlns:a16="http://schemas.microsoft.com/office/drawing/2014/main" id="{DBB961C9-CD8F-4331-BC62-E9CC44BF1F46}"/>
                    </a:ext>
                  </a:extLst>
                </p:cNvPr>
                <p:cNvSpPr/>
                <p:nvPr/>
              </p:nvSpPr>
              <p:spPr>
                <a:xfrm>
                  <a:off x="5315128" y="5395371"/>
                  <a:ext cx="18369" cy="18415"/>
                </a:xfrm>
                <a:custGeom>
                  <a:avLst/>
                  <a:gdLst>
                    <a:gd name="connsiteX0" fmla="*/ 17782 w 18369"/>
                    <a:gd name="connsiteY0" fmla="*/ 12437 h 18415"/>
                    <a:gd name="connsiteX1" fmla="*/ 6000 w 18369"/>
                    <a:gd name="connsiteY1" fmla="*/ 17820 h 18415"/>
                    <a:gd name="connsiteX2" fmla="*/ 557 w 18369"/>
                    <a:gd name="connsiteY2" fmla="*/ 5978 h 18415"/>
                    <a:gd name="connsiteX3" fmla="*/ 12339 w 18369"/>
                    <a:gd name="connsiteY3" fmla="*/ 596 h 18415"/>
                    <a:gd name="connsiteX4" fmla="*/ 17782 w 18369"/>
                    <a:gd name="connsiteY4" fmla="*/ 12437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5">
                      <a:moveTo>
                        <a:pt x="17782" y="12437"/>
                      </a:moveTo>
                      <a:cubicBezTo>
                        <a:pt x="16047" y="17222"/>
                        <a:pt x="10784" y="19614"/>
                        <a:pt x="6000" y="17820"/>
                      </a:cubicBezTo>
                      <a:cubicBezTo>
                        <a:pt x="1275" y="16026"/>
                        <a:pt x="-1177" y="10703"/>
                        <a:pt x="557" y="5978"/>
                      </a:cubicBezTo>
                      <a:cubicBezTo>
                        <a:pt x="2292" y="1194"/>
                        <a:pt x="7555" y="-1198"/>
                        <a:pt x="12339" y="596"/>
                      </a:cubicBezTo>
                      <a:cubicBezTo>
                        <a:pt x="17124" y="2390"/>
                        <a:pt x="19576" y="7713"/>
                        <a:pt x="17782" y="12437"/>
                      </a:cubicBezTo>
                      <a:close/>
                    </a:path>
                  </a:pathLst>
                </a:custGeom>
                <a:grpFill/>
                <a:ln w="5978" cap="flat">
                  <a:noFill/>
                  <a:prstDash val="solid"/>
                  <a:miter/>
                </a:ln>
              </p:spPr>
              <p:txBody>
                <a:bodyPr rtlCol="0" anchor="ctr"/>
                <a:lstStyle/>
                <a:p>
                  <a:endParaRPr lang="en-GB"/>
                </a:p>
              </p:txBody>
            </p:sp>
            <p:sp>
              <p:nvSpPr>
                <p:cNvPr id="2476" name="Vrije vorm: vorm 2475">
                  <a:extLst>
                    <a:ext uri="{FF2B5EF4-FFF2-40B4-BE49-F238E27FC236}">
                      <a16:creationId xmlns:a16="http://schemas.microsoft.com/office/drawing/2014/main" id="{F67614B7-B278-4DC8-9290-64685E2DFB7A}"/>
                    </a:ext>
                  </a:extLst>
                </p:cNvPr>
                <p:cNvSpPr/>
                <p:nvPr/>
              </p:nvSpPr>
              <p:spPr>
                <a:xfrm>
                  <a:off x="5424030" y="5099212"/>
                  <a:ext cx="18352" cy="18401"/>
                </a:xfrm>
                <a:custGeom>
                  <a:avLst/>
                  <a:gdLst>
                    <a:gd name="connsiteX0" fmla="*/ 17788 w 18352"/>
                    <a:gd name="connsiteY0" fmla="*/ 12430 h 18401"/>
                    <a:gd name="connsiteX1" fmla="*/ 12346 w 18352"/>
                    <a:gd name="connsiteY1" fmla="*/ 589 h 18401"/>
                    <a:gd name="connsiteX2" fmla="*/ 564 w 18352"/>
                    <a:gd name="connsiteY2" fmla="*/ 5971 h 18401"/>
                    <a:gd name="connsiteX3" fmla="*/ 6006 w 18352"/>
                    <a:gd name="connsiteY3" fmla="*/ 17813 h 18401"/>
                    <a:gd name="connsiteX4" fmla="*/ 17788 w 18352"/>
                    <a:gd name="connsiteY4" fmla="*/ 12430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1">
                      <a:moveTo>
                        <a:pt x="17788" y="12430"/>
                      </a:moveTo>
                      <a:cubicBezTo>
                        <a:pt x="19523" y="7646"/>
                        <a:pt x="17131" y="2383"/>
                        <a:pt x="12346" y="589"/>
                      </a:cubicBezTo>
                      <a:cubicBezTo>
                        <a:pt x="7621" y="-1205"/>
                        <a:pt x="2298" y="1246"/>
                        <a:pt x="564" y="5971"/>
                      </a:cubicBezTo>
                      <a:cubicBezTo>
                        <a:pt x="-1170" y="10756"/>
                        <a:pt x="1222" y="16019"/>
                        <a:pt x="6006" y="17813"/>
                      </a:cubicBezTo>
                      <a:cubicBezTo>
                        <a:pt x="10791" y="19607"/>
                        <a:pt x="16054" y="17155"/>
                        <a:pt x="17788" y="12430"/>
                      </a:cubicBezTo>
                      <a:close/>
                    </a:path>
                  </a:pathLst>
                </a:custGeom>
                <a:grpFill/>
                <a:ln w="5978" cap="flat">
                  <a:noFill/>
                  <a:prstDash val="solid"/>
                  <a:miter/>
                </a:ln>
              </p:spPr>
              <p:txBody>
                <a:bodyPr rtlCol="0" anchor="ctr"/>
                <a:lstStyle/>
                <a:p>
                  <a:endParaRPr lang="en-GB"/>
                </a:p>
              </p:txBody>
            </p:sp>
          </p:grpSp>
          <p:grpSp>
            <p:nvGrpSpPr>
              <p:cNvPr id="976" name="Graphic 3">
                <a:extLst>
                  <a:ext uri="{FF2B5EF4-FFF2-40B4-BE49-F238E27FC236}">
                    <a16:creationId xmlns:a16="http://schemas.microsoft.com/office/drawing/2014/main" id="{5CBFFC2C-654C-45D2-8E21-DC34163CF134}"/>
                  </a:ext>
                </a:extLst>
              </p:cNvPr>
              <p:cNvGrpSpPr/>
              <p:nvPr/>
            </p:nvGrpSpPr>
            <p:grpSpPr>
              <a:xfrm>
                <a:off x="5227589" y="4966119"/>
                <a:ext cx="195961" cy="354085"/>
                <a:chOff x="5227589" y="4966119"/>
                <a:chExt cx="195961" cy="354085"/>
              </a:xfrm>
              <a:grpFill/>
            </p:grpSpPr>
            <p:sp>
              <p:nvSpPr>
                <p:cNvPr id="2471" name="Vrije vorm: vorm 2470">
                  <a:extLst>
                    <a:ext uri="{FF2B5EF4-FFF2-40B4-BE49-F238E27FC236}">
                      <a16:creationId xmlns:a16="http://schemas.microsoft.com/office/drawing/2014/main" id="{0FFDD755-570B-4336-AF64-6D8D2352FCFB}"/>
                    </a:ext>
                  </a:extLst>
                </p:cNvPr>
                <p:cNvSpPr/>
                <p:nvPr/>
              </p:nvSpPr>
              <p:spPr>
                <a:xfrm>
                  <a:off x="5235185" y="4974206"/>
                  <a:ext cx="180737" cy="337850"/>
                </a:xfrm>
                <a:custGeom>
                  <a:avLst/>
                  <a:gdLst>
                    <a:gd name="connsiteX0" fmla="*/ 180737 w 180737"/>
                    <a:gd name="connsiteY0" fmla="*/ 1435 h 337850"/>
                    <a:gd name="connsiteX1" fmla="*/ 2691 w 180737"/>
                    <a:gd name="connsiteY1" fmla="*/ 337851 h 337850"/>
                    <a:gd name="connsiteX2" fmla="*/ 0 w 180737"/>
                    <a:gd name="connsiteY2" fmla="*/ 336416 h 337850"/>
                    <a:gd name="connsiteX3" fmla="*/ 178046 w 180737"/>
                    <a:gd name="connsiteY3" fmla="*/ 0 h 337850"/>
                  </a:gdLst>
                  <a:ahLst/>
                  <a:cxnLst>
                    <a:cxn ang="0">
                      <a:pos x="connsiteX0" y="connsiteY0"/>
                    </a:cxn>
                    <a:cxn ang="0">
                      <a:pos x="connsiteX1" y="connsiteY1"/>
                    </a:cxn>
                    <a:cxn ang="0">
                      <a:pos x="connsiteX2" y="connsiteY2"/>
                    </a:cxn>
                    <a:cxn ang="0">
                      <a:pos x="connsiteX3" y="connsiteY3"/>
                    </a:cxn>
                  </a:cxnLst>
                  <a:rect l="l" t="t" r="r" b="b"/>
                  <a:pathLst>
                    <a:path w="180737" h="337850">
                      <a:moveTo>
                        <a:pt x="180737" y="1435"/>
                      </a:moveTo>
                      <a:lnTo>
                        <a:pt x="2691" y="337851"/>
                      </a:lnTo>
                      <a:lnTo>
                        <a:pt x="0" y="336416"/>
                      </a:lnTo>
                      <a:lnTo>
                        <a:pt x="178046" y="0"/>
                      </a:lnTo>
                      <a:close/>
                    </a:path>
                  </a:pathLst>
                </a:custGeom>
                <a:grpFill/>
                <a:ln w="5978" cap="flat">
                  <a:noFill/>
                  <a:prstDash val="solid"/>
                  <a:miter/>
                </a:ln>
              </p:spPr>
              <p:txBody>
                <a:bodyPr rtlCol="0" anchor="ctr"/>
                <a:lstStyle/>
                <a:p>
                  <a:endParaRPr lang="en-GB"/>
                </a:p>
              </p:txBody>
            </p:sp>
            <p:sp>
              <p:nvSpPr>
                <p:cNvPr id="2472" name="Vrije vorm: vorm 2471">
                  <a:extLst>
                    <a:ext uri="{FF2B5EF4-FFF2-40B4-BE49-F238E27FC236}">
                      <a16:creationId xmlns:a16="http://schemas.microsoft.com/office/drawing/2014/main" id="{889F454B-8347-4F2E-8AF8-91560C37759F}"/>
                    </a:ext>
                  </a:extLst>
                </p:cNvPr>
                <p:cNvSpPr/>
                <p:nvPr/>
              </p:nvSpPr>
              <p:spPr>
                <a:xfrm>
                  <a:off x="5405205" y="4966119"/>
                  <a:ext cx="18345" cy="18447"/>
                </a:xfrm>
                <a:custGeom>
                  <a:avLst/>
                  <a:gdLst>
                    <a:gd name="connsiteX0" fmla="*/ 1088 w 18345"/>
                    <a:gd name="connsiteY0" fmla="*/ 4858 h 18447"/>
                    <a:gd name="connsiteX1" fmla="*/ 13468 w 18345"/>
                    <a:gd name="connsiteY1" fmla="*/ 1090 h 18447"/>
                    <a:gd name="connsiteX2" fmla="*/ 17296 w 18345"/>
                    <a:gd name="connsiteY2" fmla="*/ 13589 h 18447"/>
                    <a:gd name="connsiteX3" fmla="*/ 4916 w 18345"/>
                    <a:gd name="connsiteY3" fmla="*/ 17357 h 18447"/>
                    <a:gd name="connsiteX4" fmla="*/ 1088 w 18345"/>
                    <a:gd name="connsiteY4" fmla="*/ 485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7">
                      <a:moveTo>
                        <a:pt x="1088" y="4858"/>
                      </a:moveTo>
                      <a:cubicBezTo>
                        <a:pt x="3481" y="372"/>
                        <a:pt x="8983" y="-1303"/>
                        <a:pt x="13468" y="1090"/>
                      </a:cubicBezTo>
                      <a:cubicBezTo>
                        <a:pt x="17954" y="3482"/>
                        <a:pt x="19628" y="9104"/>
                        <a:pt x="17296" y="13589"/>
                      </a:cubicBezTo>
                      <a:cubicBezTo>
                        <a:pt x="14904" y="18075"/>
                        <a:pt x="9401" y="19750"/>
                        <a:pt x="4916" y="17357"/>
                      </a:cubicBezTo>
                      <a:cubicBezTo>
                        <a:pt x="370" y="14965"/>
                        <a:pt x="-1304" y="9343"/>
                        <a:pt x="1088" y="4858"/>
                      </a:cubicBezTo>
                      <a:close/>
                    </a:path>
                  </a:pathLst>
                </a:custGeom>
                <a:grpFill/>
                <a:ln w="5978" cap="flat">
                  <a:noFill/>
                  <a:prstDash val="solid"/>
                  <a:miter/>
                </a:ln>
              </p:spPr>
              <p:txBody>
                <a:bodyPr rtlCol="0" anchor="ctr"/>
                <a:lstStyle/>
                <a:p>
                  <a:endParaRPr lang="en-GB"/>
                </a:p>
              </p:txBody>
            </p:sp>
            <p:sp>
              <p:nvSpPr>
                <p:cNvPr id="2473" name="Vrije vorm: vorm 2472">
                  <a:extLst>
                    <a:ext uri="{FF2B5EF4-FFF2-40B4-BE49-F238E27FC236}">
                      <a16:creationId xmlns:a16="http://schemas.microsoft.com/office/drawing/2014/main" id="{89F8812B-6EDB-4A39-855D-2365D6935C48}"/>
                    </a:ext>
                  </a:extLst>
                </p:cNvPr>
                <p:cNvSpPr/>
                <p:nvPr/>
              </p:nvSpPr>
              <p:spPr>
                <a:xfrm>
                  <a:off x="5227589" y="5301757"/>
                  <a:ext cx="18360" cy="18447"/>
                </a:xfrm>
                <a:custGeom>
                  <a:avLst/>
                  <a:gdLst>
                    <a:gd name="connsiteX0" fmla="*/ 1076 w 18360"/>
                    <a:gd name="connsiteY0" fmla="*/ 4858 h 18447"/>
                    <a:gd name="connsiteX1" fmla="*/ 4904 w 18360"/>
                    <a:gd name="connsiteY1" fmla="*/ 17357 h 18447"/>
                    <a:gd name="connsiteX2" fmla="*/ 17284 w 18360"/>
                    <a:gd name="connsiteY2" fmla="*/ 13589 h 18447"/>
                    <a:gd name="connsiteX3" fmla="*/ 13456 w 18360"/>
                    <a:gd name="connsiteY3" fmla="*/ 1090 h 18447"/>
                    <a:gd name="connsiteX4" fmla="*/ 1076 w 18360"/>
                    <a:gd name="connsiteY4" fmla="*/ 485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47">
                      <a:moveTo>
                        <a:pt x="1076" y="4858"/>
                      </a:moveTo>
                      <a:cubicBezTo>
                        <a:pt x="-1316" y="9343"/>
                        <a:pt x="418" y="14905"/>
                        <a:pt x="4904" y="17357"/>
                      </a:cubicBezTo>
                      <a:cubicBezTo>
                        <a:pt x="9389" y="19750"/>
                        <a:pt x="14952" y="18075"/>
                        <a:pt x="17284" y="13589"/>
                      </a:cubicBezTo>
                      <a:cubicBezTo>
                        <a:pt x="19676" y="9104"/>
                        <a:pt x="17942" y="3542"/>
                        <a:pt x="13456" y="1090"/>
                      </a:cubicBezTo>
                      <a:cubicBezTo>
                        <a:pt x="9031" y="-1303"/>
                        <a:pt x="3469" y="372"/>
                        <a:pt x="1076" y="4858"/>
                      </a:cubicBezTo>
                      <a:close/>
                    </a:path>
                  </a:pathLst>
                </a:custGeom>
                <a:grpFill/>
                <a:ln w="5978" cap="flat">
                  <a:noFill/>
                  <a:prstDash val="solid"/>
                  <a:miter/>
                </a:ln>
              </p:spPr>
              <p:txBody>
                <a:bodyPr rtlCol="0" anchor="ctr"/>
                <a:lstStyle/>
                <a:p>
                  <a:endParaRPr lang="en-GB"/>
                </a:p>
              </p:txBody>
            </p:sp>
          </p:grpSp>
          <p:grpSp>
            <p:nvGrpSpPr>
              <p:cNvPr id="977" name="Graphic 3">
                <a:extLst>
                  <a:ext uri="{FF2B5EF4-FFF2-40B4-BE49-F238E27FC236}">
                    <a16:creationId xmlns:a16="http://schemas.microsoft.com/office/drawing/2014/main" id="{38114E92-B9A6-4EE5-867F-F19C971AC64F}"/>
                  </a:ext>
                </a:extLst>
              </p:cNvPr>
              <p:cNvGrpSpPr/>
              <p:nvPr/>
            </p:nvGrpSpPr>
            <p:grpSpPr>
              <a:xfrm>
                <a:off x="4242167" y="2370359"/>
                <a:ext cx="368695" cy="219891"/>
                <a:chOff x="4242167" y="2370359"/>
                <a:chExt cx="368695" cy="219891"/>
              </a:xfrm>
              <a:grpFill/>
            </p:grpSpPr>
            <p:sp>
              <p:nvSpPr>
                <p:cNvPr id="2468" name="Vrije vorm: vorm 2467">
                  <a:extLst>
                    <a:ext uri="{FF2B5EF4-FFF2-40B4-BE49-F238E27FC236}">
                      <a16:creationId xmlns:a16="http://schemas.microsoft.com/office/drawing/2014/main" id="{0EE2C103-EADF-4AF7-8869-06F9748E8D26}"/>
                    </a:ext>
                  </a:extLst>
                </p:cNvPr>
                <p:cNvSpPr/>
                <p:nvPr/>
              </p:nvSpPr>
              <p:spPr>
                <a:xfrm>
                  <a:off x="4250219" y="2378035"/>
                  <a:ext cx="352623" cy="204600"/>
                </a:xfrm>
                <a:custGeom>
                  <a:avLst/>
                  <a:gdLst>
                    <a:gd name="connsiteX0" fmla="*/ 352623 w 352623"/>
                    <a:gd name="connsiteY0" fmla="*/ 201909 h 204600"/>
                    <a:gd name="connsiteX1" fmla="*/ 351128 w 352623"/>
                    <a:gd name="connsiteY1" fmla="*/ 204600 h 204600"/>
                    <a:gd name="connsiteX2" fmla="*/ 0 w 352623"/>
                    <a:gd name="connsiteY2" fmla="*/ 2632 h 204600"/>
                    <a:gd name="connsiteX3" fmla="*/ 1495 w 352623"/>
                    <a:gd name="connsiteY3" fmla="*/ 0 h 204600"/>
                  </a:gdLst>
                  <a:ahLst/>
                  <a:cxnLst>
                    <a:cxn ang="0">
                      <a:pos x="connsiteX0" y="connsiteY0"/>
                    </a:cxn>
                    <a:cxn ang="0">
                      <a:pos x="connsiteX1" y="connsiteY1"/>
                    </a:cxn>
                    <a:cxn ang="0">
                      <a:pos x="connsiteX2" y="connsiteY2"/>
                    </a:cxn>
                    <a:cxn ang="0">
                      <a:pos x="connsiteX3" y="connsiteY3"/>
                    </a:cxn>
                  </a:cxnLst>
                  <a:rect l="l" t="t" r="r" b="b"/>
                  <a:pathLst>
                    <a:path w="352623" h="204600">
                      <a:moveTo>
                        <a:pt x="352623" y="201909"/>
                      </a:moveTo>
                      <a:lnTo>
                        <a:pt x="351128" y="204600"/>
                      </a:lnTo>
                      <a:lnTo>
                        <a:pt x="0" y="2632"/>
                      </a:lnTo>
                      <a:lnTo>
                        <a:pt x="1495" y="0"/>
                      </a:lnTo>
                      <a:close/>
                    </a:path>
                  </a:pathLst>
                </a:custGeom>
                <a:grpFill/>
                <a:ln w="5978" cap="flat">
                  <a:noFill/>
                  <a:prstDash val="solid"/>
                  <a:miter/>
                </a:ln>
              </p:spPr>
              <p:txBody>
                <a:bodyPr rtlCol="0" anchor="ctr"/>
                <a:lstStyle/>
                <a:p>
                  <a:endParaRPr lang="en-GB"/>
                </a:p>
              </p:txBody>
            </p:sp>
            <p:sp>
              <p:nvSpPr>
                <p:cNvPr id="2469" name="Vrije vorm: vorm 2468">
                  <a:extLst>
                    <a:ext uri="{FF2B5EF4-FFF2-40B4-BE49-F238E27FC236}">
                      <a16:creationId xmlns:a16="http://schemas.microsoft.com/office/drawing/2014/main" id="{E4CF8EC2-E44B-4D47-8E32-1E84B91D7987}"/>
                    </a:ext>
                  </a:extLst>
                </p:cNvPr>
                <p:cNvSpPr/>
                <p:nvPr/>
              </p:nvSpPr>
              <p:spPr>
                <a:xfrm>
                  <a:off x="4242167" y="2370359"/>
                  <a:ext cx="18318" cy="18427"/>
                </a:xfrm>
                <a:custGeom>
                  <a:avLst/>
                  <a:gdLst>
                    <a:gd name="connsiteX0" fmla="*/ 4644 w 18318"/>
                    <a:gd name="connsiteY0" fmla="*/ 17185 h 18427"/>
                    <a:gd name="connsiteX1" fmla="*/ 1175 w 18318"/>
                    <a:gd name="connsiteY1" fmla="*/ 4625 h 18427"/>
                    <a:gd name="connsiteX2" fmla="*/ 13675 w 18318"/>
                    <a:gd name="connsiteY2" fmla="*/ 1216 h 18427"/>
                    <a:gd name="connsiteX3" fmla="*/ 17143 w 18318"/>
                    <a:gd name="connsiteY3" fmla="*/ 13776 h 18427"/>
                    <a:gd name="connsiteX4" fmla="*/ 4644 w 18318"/>
                    <a:gd name="connsiteY4" fmla="*/ 17185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7">
                      <a:moveTo>
                        <a:pt x="4644" y="17185"/>
                      </a:moveTo>
                      <a:cubicBezTo>
                        <a:pt x="218" y="14673"/>
                        <a:pt x="-1277" y="9051"/>
                        <a:pt x="1175" y="4625"/>
                      </a:cubicBezTo>
                      <a:cubicBezTo>
                        <a:pt x="3687" y="200"/>
                        <a:pt x="9249" y="-1296"/>
                        <a:pt x="13675" y="1216"/>
                      </a:cubicBezTo>
                      <a:cubicBezTo>
                        <a:pt x="18100" y="3728"/>
                        <a:pt x="19596" y="9350"/>
                        <a:pt x="17143" y="13776"/>
                      </a:cubicBezTo>
                      <a:cubicBezTo>
                        <a:pt x="14691" y="18202"/>
                        <a:pt x="9069" y="19757"/>
                        <a:pt x="4644" y="17185"/>
                      </a:cubicBezTo>
                      <a:close/>
                    </a:path>
                  </a:pathLst>
                </a:custGeom>
                <a:grpFill/>
                <a:ln w="5978" cap="flat">
                  <a:noFill/>
                  <a:prstDash val="solid"/>
                  <a:miter/>
                </a:ln>
              </p:spPr>
              <p:txBody>
                <a:bodyPr rtlCol="0" anchor="ctr"/>
                <a:lstStyle/>
                <a:p>
                  <a:endParaRPr lang="en-GB"/>
                </a:p>
              </p:txBody>
            </p:sp>
            <p:sp>
              <p:nvSpPr>
                <p:cNvPr id="2470" name="Vrije vorm: vorm 2469">
                  <a:extLst>
                    <a:ext uri="{FF2B5EF4-FFF2-40B4-BE49-F238E27FC236}">
                      <a16:creationId xmlns:a16="http://schemas.microsoft.com/office/drawing/2014/main" id="{32258BBD-F738-421C-A18B-492D83EFCE27}"/>
                    </a:ext>
                  </a:extLst>
                </p:cNvPr>
                <p:cNvSpPr/>
                <p:nvPr/>
              </p:nvSpPr>
              <p:spPr>
                <a:xfrm>
                  <a:off x="4592530" y="2571850"/>
                  <a:ext cx="18332" cy="18401"/>
                </a:xfrm>
                <a:custGeom>
                  <a:avLst/>
                  <a:gdLst>
                    <a:gd name="connsiteX0" fmla="*/ 4631 w 18332"/>
                    <a:gd name="connsiteY0" fmla="*/ 17185 h 18401"/>
                    <a:gd name="connsiteX1" fmla="*/ 17131 w 18332"/>
                    <a:gd name="connsiteY1" fmla="*/ 13776 h 18401"/>
                    <a:gd name="connsiteX2" fmla="*/ 13662 w 18332"/>
                    <a:gd name="connsiteY2" fmla="*/ 1216 h 18401"/>
                    <a:gd name="connsiteX3" fmla="*/ 1162 w 18332"/>
                    <a:gd name="connsiteY3" fmla="*/ 4625 h 18401"/>
                    <a:gd name="connsiteX4" fmla="*/ 4631 w 18332"/>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01">
                      <a:moveTo>
                        <a:pt x="4631" y="17185"/>
                      </a:moveTo>
                      <a:cubicBezTo>
                        <a:pt x="9057" y="19697"/>
                        <a:pt x="14619" y="18202"/>
                        <a:pt x="17131" y="13776"/>
                      </a:cubicBezTo>
                      <a:cubicBezTo>
                        <a:pt x="19643" y="9350"/>
                        <a:pt x="18088" y="3728"/>
                        <a:pt x="13662" y="1216"/>
                      </a:cubicBezTo>
                      <a:cubicBezTo>
                        <a:pt x="9236" y="-1295"/>
                        <a:pt x="3674" y="200"/>
                        <a:pt x="1162" y="4625"/>
                      </a:cubicBezTo>
                      <a:cubicBezTo>
                        <a:pt x="-1290" y="9051"/>
                        <a:pt x="265" y="14673"/>
                        <a:pt x="4631" y="17185"/>
                      </a:cubicBezTo>
                      <a:close/>
                    </a:path>
                  </a:pathLst>
                </a:custGeom>
                <a:grpFill/>
                <a:ln w="5978" cap="flat">
                  <a:noFill/>
                  <a:prstDash val="solid"/>
                  <a:miter/>
                </a:ln>
              </p:spPr>
              <p:txBody>
                <a:bodyPr rtlCol="0" anchor="ctr"/>
                <a:lstStyle/>
                <a:p>
                  <a:endParaRPr lang="en-GB"/>
                </a:p>
              </p:txBody>
            </p:sp>
          </p:grpSp>
          <p:grpSp>
            <p:nvGrpSpPr>
              <p:cNvPr id="978" name="Graphic 3">
                <a:extLst>
                  <a:ext uri="{FF2B5EF4-FFF2-40B4-BE49-F238E27FC236}">
                    <a16:creationId xmlns:a16="http://schemas.microsoft.com/office/drawing/2014/main" id="{05DD02AC-8AA0-442F-BB43-51D8390B884E}"/>
                  </a:ext>
                </a:extLst>
              </p:cNvPr>
              <p:cNvGrpSpPr/>
              <p:nvPr/>
            </p:nvGrpSpPr>
            <p:grpSpPr>
              <a:xfrm>
                <a:off x="4188640" y="2245421"/>
                <a:ext cx="392410" cy="252548"/>
                <a:chOff x="4188640" y="2245421"/>
                <a:chExt cx="392410" cy="252548"/>
              </a:xfrm>
              <a:grpFill/>
            </p:grpSpPr>
            <p:sp>
              <p:nvSpPr>
                <p:cNvPr id="2465" name="Vrije vorm: vorm 2464">
                  <a:extLst>
                    <a:ext uri="{FF2B5EF4-FFF2-40B4-BE49-F238E27FC236}">
                      <a16:creationId xmlns:a16="http://schemas.microsoft.com/office/drawing/2014/main" id="{FDC0EF8E-303C-4345-AFB5-4F95EDE43B2A}"/>
                    </a:ext>
                  </a:extLst>
                </p:cNvPr>
                <p:cNvSpPr/>
                <p:nvPr/>
              </p:nvSpPr>
              <p:spPr>
                <a:xfrm>
                  <a:off x="4196632" y="2253098"/>
                  <a:ext cx="376486" cy="237195"/>
                </a:xfrm>
                <a:custGeom>
                  <a:avLst/>
                  <a:gdLst>
                    <a:gd name="connsiteX0" fmla="*/ 376487 w 376486"/>
                    <a:gd name="connsiteY0" fmla="*/ 234624 h 237195"/>
                    <a:gd name="connsiteX1" fmla="*/ 374872 w 376486"/>
                    <a:gd name="connsiteY1" fmla="*/ 237195 h 237195"/>
                    <a:gd name="connsiteX2" fmla="*/ 0 w 376486"/>
                    <a:gd name="connsiteY2" fmla="*/ 2572 h 237195"/>
                    <a:gd name="connsiteX3" fmla="*/ 1555 w 376486"/>
                    <a:gd name="connsiteY3" fmla="*/ 0 h 237195"/>
                  </a:gdLst>
                  <a:ahLst/>
                  <a:cxnLst>
                    <a:cxn ang="0">
                      <a:pos x="connsiteX0" y="connsiteY0"/>
                    </a:cxn>
                    <a:cxn ang="0">
                      <a:pos x="connsiteX1" y="connsiteY1"/>
                    </a:cxn>
                    <a:cxn ang="0">
                      <a:pos x="connsiteX2" y="connsiteY2"/>
                    </a:cxn>
                    <a:cxn ang="0">
                      <a:pos x="connsiteX3" y="connsiteY3"/>
                    </a:cxn>
                  </a:cxnLst>
                  <a:rect l="l" t="t" r="r" b="b"/>
                  <a:pathLst>
                    <a:path w="376486" h="237195">
                      <a:moveTo>
                        <a:pt x="376487" y="234624"/>
                      </a:moveTo>
                      <a:lnTo>
                        <a:pt x="374872" y="237195"/>
                      </a:lnTo>
                      <a:lnTo>
                        <a:pt x="0" y="2572"/>
                      </a:lnTo>
                      <a:lnTo>
                        <a:pt x="1555" y="0"/>
                      </a:lnTo>
                      <a:close/>
                    </a:path>
                  </a:pathLst>
                </a:custGeom>
                <a:grpFill/>
                <a:ln w="5978" cap="flat">
                  <a:noFill/>
                  <a:prstDash val="solid"/>
                  <a:miter/>
                </a:ln>
              </p:spPr>
              <p:txBody>
                <a:bodyPr rtlCol="0" anchor="ctr"/>
                <a:lstStyle/>
                <a:p>
                  <a:endParaRPr lang="en-GB"/>
                </a:p>
              </p:txBody>
            </p:sp>
            <p:sp>
              <p:nvSpPr>
                <p:cNvPr id="2466" name="Vrije vorm: vorm 2465">
                  <a:extLst>
                    <a:ext uri="{FF2B5EF4-FFF2-40B4-BE49-F238E27FC236}">
                      <a16:creationId xmlns:a16="http://schemas.microsoft.com/office/drawing/2014/main" id="{C1A23962-6A4A-43A0-8EF9-04D9A85B87EC}"/>
                    </a:ext>
                  </a:extLst>
                </p:cNvPr>
                <p:cNvSpPr/>
                <p:nvPr/>
              </p:nvSpPr>
              <p:spPr>
                <a:xfrm>
                  <a:off x="4188640" y="2245421"/>
                  <a:ext cx="18316" cy="18403"/>
                </a:xfrm>
                <a:custGeom>
                  <a:avLst/>
                  <a:gdLst>
                    <a:gd name="connsiteX0" fmla="*/ 4344 w 18316"/>
                    <a:gd name="connsiteY0" fmla="*/ 17007 h 18403"/>
                    <a:gd name="connsiteX1" fmla="*/ 1354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4" y="4327"/>
                      </a:cubicBezTo>
                      <a:cubicBezTo>
                        <a:pt x="3985" y="21"/>
                        <a:pt x="9667" y="-1294"/>
                        <a:pt x="13973" y="1397"/>
                      </a:cubicBezTo>
                      <a:cubicBezTo>
                        <a:pt x="18279" y="4088"/>
                        <a:pt x="19595" y="9770"/>
                        <a:pt x="16963" y="14076"/>
                      </a:cubicBezTo>
                      <a:cubicBezTo>
                        <a:pt x="14272" y="18382"/>
                        <a:pt x="8650" y="19698"/>
                        <a:pt x="4344" y="17007"/>
                      </a:cubicBezTo>
                      <a:close/>
                    </a:path>
                  </a:pathLst>
                </a:custGeom>
                <a:grpFill/>
                <a:ln w="5978" cap="flat">
                  <a:noFill/>
                  <a:prstDash val="solid"/>
                  <a:miter/>
                </a:ln>
              </p:spPr>
              <p:txBody>
                <a:bodyPr rtlCol="0" anchor="ctr"/>
                <a:lstStyle/>
                <a:p>
                  <a:endParaRPr lang="en-GB"/>
                </a:p>
              </p:txBody>
            </p:sp>
            <p:sp>
              <p:nvSpPr>
                <p:cNvPr id="2467" name="Vrije vorm: vorm 2466">
                  <a:extLst>
                    <a:ext uri="{FF2B5EF4-FFF2-40B4-BE49-F238E27FC236}">
                      <a16:creationId xmlns:a16="http://schemas.microsoft.com/office/drawing/2014/main" id="{B517268A-540B-430C-8358-392CDB732B86}"/>
                    </a:ext>
                  </a:extLst>
                </p:cNvPr>
                <p:cNvSpPr/>
                <p:nvPr/>
              </p:nvSpPr>
              <p:spPr>
                <a:xfrm>
                  <a:off x="4562734" y="2479566"/>
                  <a:ext cx="18316" cy="18403"/>
                </a:xfrm>
                <a:custGeom>
                  <a:avLst/>
                  <a:gdLst>
                    <a:gd name="connsiteX0" fmla="*/ 4344 w 18316"/>
                    <a:gd name="connsiteY0" fmla="*/ 17007 h 18403"/>
                    <a:gd name="connsiteX1" fmla="*/ 16963 w 18316"/>
                    <a:gd name="connsiteY1" fmla="*/ 14076 h 18403"/>
                    <a:gd name="connsiteX2" fmla="*/ 13973 w 18316"/>
                    <a:gd name="connsiteY2" fmla="*/ 1397 h 18403"/>
                    <a:gd name="connsiteX3" fmla="*/ 1354 w 18316"/>
                    <a:gd name="connsiteY3" fmla="*/ 4327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8650" y="19698"/>
                        <a:pt x="14272" y="18382"/>
                        <a:pt x="16963" y="14076"/>
                      </a:cubicBezTo>
                      <a:cubicBezTo>
                        <a:pt x="19595" y="9770"/>
                        <a:pt x="18279" y="4088"/>
                        <a:pt x="13973" y="1397"/>
                      </a:cubicBezTo>
                      <a:cubicBezTo>
                        <a:pt x="9667" y="-1294"/>
                        <a:pt x="4045" y="21"/>
                        <a:pt x="1354" y="4327"/>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979" name="Graphic 3">
                <a:extLst>
                  <a:ext uri="{FF2B5EF4-FFF2-40B4-BE49-F238E27FC236}">
                    <a16:creationId xmlns:a16="http://schemas.microsoft.com/office/drawing/2014/main" id="{C81241B6-C3FB-4A0D-BE63-1BAAED62284A}"/>
                  </a:ext>
                </a:extLst>
              </p:cNvPr>
              <p:cNvGrpSpPr/>
              <p:nvPr/>
            </p:nvGrpSpPr>
            <p:grpSpPr>
              <a:xfrm>
                <a:off x="5296073" y="5116364"/>
                <a:ext cx="66770" cy="136368"/>
                <a:chOff x="5296073" y="5116364"/>
                <a:chExt cx="66770" cy="136368"/>
              </a:xfrm>
              <a:grpFill/>
            </p:grpSpPr>
            <p:sp>
              <p:nvSpPr>
                <p:cNvPr id="2462" name="Vrije vorm: vorm 2461">
                  <a:extLst>
                    <a:ext uri="{FF2B5EF4-FFF2-40B4-BE49-F238E27FC236}">
                      <a16:creationId xmlns:a16="http://schemas.microsoft.com/office/drawing/2014/main" id="{0F2F93C2-8DD4-4150-B95B-B330A480CEC5}"/>
                    </a:ext>
                  </a:extLst>
                </p:cNvPr>
                <p:cNvSpPr/>
                <p:nvPr/>
              </p:nvSpPr>
              <p:spPr>
                <a:xfrm>
                  <a:off x="5303664" y="5124561"/>
                  <a:ext cx="51553" cy="119973"/>
                </a:xfrm>
                <a:custGeom>
                  <a:avLst/>
                  <a:gdLst>
                    <a:gd name="connsiteX0" fmla="*/ 51554 w 51553"/>
                    <a:gd name="connsiteY0" fmla="*/ 1136 h 119973"/>
                    <a:gd name="connsiteX1" fmla="*/ 2811 w 51553"/>
                    <a:gd name="connsiteY1" fmla="*/ 119973 h 119973"/>
                    <a:gd name="connsiteX2" fmla="*/ 0 w 51553"/>
                    <a:gd name="connsiteY2" fmla="*/ 118777 h 119973"/>
                    <a:gd name="connsiteX3" fmla="*/ 48743 w 51553"/>
                    <a:gd name="connsiteY3" fmla="*/ 0 h 119973"/>
                  </a:gdLst>
                  <a:ahLst/>
                  <a:cxnLst>
                    <a:cxn ang="0">
                      <a:pos x="connsiteX0" y="connsiteY0"/>
                    </a:cxn>
                    <a:cxn ang="0">
                      <a:pos x="connsiteX1" y="connsiteY1"/>
                    </a:cxn>
                    <a:cxn ang="0">
                      <a:pos x="connsiteX2" y="connsiteY2"/>
                    </a:cxn>
                    <a:cxn ang="0">
                      <a:pos x="connsiteX3" y="connsiteY3"/>
                    </a:cxn>
                  </a:cxnLst>
                  <a:rect l="l" t="t" r="r" b="b"/>
                  <a:pathLst>
                    <a:path w="51553" h="119973">
                      <a:moveTo>
                        <a:pt x="51554" y="1136"/>
                      </a:moveTo>
                      <a:lnTo>
                        <a:pt x="2811" y="119973"/>
                      </a:lnTo>
                      <a:lnTo>
                        <a:pt x="0" y="118777"/>
                      </a:lnTo>
                      <a:lnTo>
                        <a:pt x="48743" y="0"/>
                      </a:lnTo>
                      <a:close/>
                    </a:path>
                  </a:pathLst>
                </a:custGeom>
                <a:grpFill/>
                <a:ln w="5978" cap="flat">
                  <a:noFill/>
                  <a:prstDash val="solid"/>
                  <a:miter/>
                </a:ln>
              </p:spPr>
              <p:txBody>
                <a:bodyPr rtlCol="0" anchor="ctr"/>
                <a:lstStyle/>
                <a:p>
                  <a:endParaRPr lang="en-GB"/>
                </a:p>
              </p:txBody>
            </p:sp>
            <p:sp>
              <p:nvSpPr>
                <p:cNvPr id="2463" name="Vrije vorm: vorm 2462">
                  <a:extLst>
                    <a:ext uri="{FF2B5EF4-FFF2-40B4-BE49-F238E27FC236}">
                      <a16:creationId xmlns:a16="http://schemas.microsoft.com/office/drawing/2014/main" id="{991DD23B-E283-4435-AE86-2DEA4CFEC7F9}"/>
                    </a:ext>
                  </a:extLst>
                </p:cNvPr>
                <p:cNvSpPr/>
                <p:nvPr/>
              </p:nvSpPr>
              <p:spPr>
                <a:xfrm>
                  <a:off x="5296073" y="5234304"/>
                  <a:ext cx="18327" cy="18428"/>
                </a:xfrm>
                <a:custGeom>
                  <a:avLst/>
                  <a:gdLst>
                    <a:gd name="connsiteX0" fmla="*/ 17639 w 18327"/>
                    <a:gd name="connsiteY0" fmla="*/ 12743 h 18428"/>
                    <a:gd name="connsiteX1" fmla="*/ 5677 w 18327"/>
                    <a:gd name="connsiteY1" fmla="*/ 17707 h 18428"/>
                    <a:gd name="connsiteX2" fmla="*/ 713 w 18327"/>
                    <a:gd name="connsiteY2" fmla="*/ 5685 h 18428"/>
                    <a:gd name="connsiteX3" fmla="*/ 12675 w 18327"/>
                    <a:gd name="connsiteY3" fmla="*/ 721 h 18428"/>
                    <a:gd name="connsiteX4" fmla="*/ 17639 w 18327"/>
                    <a:gd name="connsiteY4" fmla="*/ 12743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8">
                      <a:moveTo>
                        <a:pt x="17639" y="12743"/>
                      </a:moveTo>
                      <a:cubicBezTo>
                        <a:pt x="15725" y="17467"/>
                        <a:pt x="10342" y="19680"/>
                        <a:pt x="5677" y="17707"/>
                      </a:cubicBezTo>
                      <a:cubicBezTo>
                        <a:pt x="1012" y="15733"/>
                        <a:pt x="-1260" y="10351"/>
                        <a:pt x="713" y="5685"/>
                      </a:cubicBezTo>
                      <a:cubicBezTo>
                        <a:pt x="2627" y="961"/>
                        <a:pt x="8010" y="-1252"/>
                        <a:pt x="12675" y="721"/>
                      </a:cubicBezTo>
                      <a:cubicBezTo>
                        <a:pt x="17340" y="2635"/>
                        <a:pt x="19553" y="8078"/>
                        <a:pt x="17639" y="12743"/>
                      </a:cubicBezTo>
                      <a:close/>
                    </a:path>
                  </a:pathLst>
                </a:custGeom>
                <a:grpFill/>
                <a:ln w="5978" cap="flat">
                  <a:noFill/>
                  <a:prstDash val="solid"/>
                  <a:miter/>
                </a:ln>
              </p:spPr>
              <p:txBody>
                <a:bodyPr rtlCol="0" anchor="ctr"/>
                <a:lstStyle/>
                <a:p>
                  <a:endParaRPr lang="en-GB"/>
                </a:p>
              </p:txBody>
            </p:sp>
            <p:sp>
              <p:nvSpPr>
                <p:cNvPr id="2464" name="Vrije vorm: vorm 2463">
                  <a:extLst>
                    <a:ext uri="{FF2B5EF4-FFF2-40B4-BE49-F238E27FC236}">
                      <a16:creationId xmlns:a16="http://schemas.microsoft.com/office/drawing/2014/main" id="{5E6120DE-F6FD-4A7F-B139-FC07B684B277}"/>
                    </a:ext>
                  </a:extLst>
                </p:cNvPr>
                <p:cNvSpPr/>
                <p:nvPr/>
              </p:nvSpPr>
              <p:spPr>
                <a:xfrm>
                  <a:off x="5344542" y="5116364"/>
                  <a:ext cx="18301" cy="18394"/>
                </a:xfrm>
                <a:custGeom>
                  <a:avLst/>
                  <a:gdLst>
                    <a:gd name="connsiteX0" fmla="*/ 17614 w 18301"/>
                    <a:gd name="connsiteY0" fmla="*/ 12743 h 18394"/>
                    <a:gd name="connsiteX1" fmla="*/ 12650 w 18301"/>
                    <a:gd name="connsiteY1" fmla="*/ 722 h 18394"/>
                    <a:gd name="connsiteX2" fmla="*/ 688 w 18301"/>
                    <a:gd name="connsiteY2" fmla="*/ 5686 h 18394"/>
                    <a:gd name="connsiteX3" fmla="*/ 5652 w 18301"/>
                    <a:gd name="connsiteY3" fmla="*/ 17707 h 18394"/>
                    <a:gd name="connsiteX4" fmla="*/ 17614 w 18301"/>
                    <a:gd name="connsiteY4" fmla="*/ 12743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94">
                      <a:moveTo>
                        <a:pt x="17614" y="12743"/>
                      </a:moveTo>
                      <a:cubicBezTo>
                        <a:pt x="19528" y="8018"/>
                        <a:pt x="17315" y="2635"/>
                        <a:pt x="12650" y="722"/>
                      </a:cubicBezTo>
                      <a:cubicBezTo>
                        <a:pt x="7985" y="-1252"/>
                        <a:pt x="2602" y="961"/>
                        <a:pt x="688" y="5686"/>
                      </a:cubicBezTo>
                      <a:cubicBezTo>
                        <a:pt x="-1226" y="10410"/>
                        <a:pt x="987" y="15793"/>
                        <a:pt x="5652" y="17707"/>
                      </a:cubicBezTo>
                      <a:cubicBezTo>
                        <a:pt x="10317" y="19620"/>
                        <a:pt x="15640" y="17408"/>
                        <a:pt x="17614" y="12743"/>
                      </a:cubicBezTo>
                      <a:close/>
                    </a:path>
                  </a:pathLst>
                </a:custGeom>
                <a:grpFill/>
                <a:ln w="5978" cap="flat">
                  <a:noFill/>
                  <a:prstDash val="solid"/>
                  <a:miter/>
                </a:ln>
              </p:spPr>
              <p:txBody>
                <a:bodyPr rtlCol="0" anchor="ctr"/>
                <a:lstStyle/>
                <a:p>
                  <a:endParaRPr lang="en-GB"/>
                </a:p>
              </p:txBody>
            </p:sp>
          </p:grpSp>
          <p:grpSp>
            <p:nvGrpSpPr>
              <p:cNvPr id="980" name="Graphic 3">
                <a:extLst>
                  <a:ext uri="{FF2B5EF4-FFF2-40B4-BE49-F238E27FC236}">
                    <a16:creationId xmlns:a16="http://schemas.microsoft.com/office/drawing/2014/main" id="{99E0BBF7-2A67-41FA-8426-3E40B693DFB2}"/>
                  </a:ext>
                </a:extLst>
              </p:cNvPr>
              <p:cNvGrpSpPr/>
              <p:nvPr/>
            </p:nvGrpSpPr>
            <p:grpSpPr>
              <a:xfrm>
                <a:off x="5303205" y="5129365"/>
                <a:ext cx="164251" cy="439424"/>
                <a:chOff x="5303205" y="5129365"/>
                <a:chExt cx="164251" cy="439424"/>
              </a:xfrm>
              <a:grpFill/>
            </p:grpSpPr>
            <p:sp>
              <p:nvSpPr>
                <p:cNvPr id="2459" name="Vrije vorm: vorm 2458">
                  <a:extLst>
                    <a:ext uri="{FF2B5EF4-FFF2-40B4-BE49-F238E27FC236}">
                      <a16:creationId xmlns:a16="http://schemas.microsoft.com/office/drawing/2014/main" id="{8A302E71-BA46-478F-BBAF-D1689A1662D8}"/>
                    </a:ext>
                  </a:extLst>
                </p:cNvPr>
                <p:cNvSpPr/>
                <p:nvPr/>
              </p:nvSpPr>
              <p:spPr>
                <a:xfrm>
                  <a:off x="5310721" y="5137599"/>
                  <a:ext cx="149159" cy="422896"/>
                </a:xfrm>
                <a:custGeom>
                  <a:avLst/>
                  <a:gdLst>
                    <a:gd name="connsiteX0" fmla="*/ 149159 w 149159"/>
                    <a:gd name="connsiteY0" fmla="*/ 1017 h 422896"/>
                    <a:gd name="connsiteX1" fmla="*/ 2871 w 149159"/>
                    <a:gd name="connsiteY1" fmla="*/ 422897 h 422896"/>
                    <a:gd name="connsiteX2" fmla="*/ 0 w 149159"/>
                    <a:gd name="connsiteY2" fmla="*/ 421880 h 422896"/>
                    <a:gd name="connsiteX3" fmla="*/ 146288 w 149159"/>
                    <a:gd name="connsiteY3" fmla="*/ 0 h 422896"/>
                  </a:gdLst>
                  <a:ahLst/>
                  <a:cxnLst>
                    <a:cxn ang="0">
                      <a:pos x="connsiteX0" y="connsiteY0"/>
                    </a:cxn>
                    <a:cxn ang="0">
                      <a:pos x="connsiteX1" y="connsiteY1"/>
                    </a:cxn>
                    <a:cxn ang="0">
                      <a:pos x="connsiteX2" y="connsiteY2"/>
                    </a:cxn>
                    <a:cxn ang="0">
                      <a:pos x="connsiteX3" y="connsiteY3"/>
                    </a:cxn>
                  </a:cxnLst>
                  <a:rect l="l" t="t" r="r" b="b"/>
                  <a:pathLst>
                    <a:path w="149159" h="422896">
                      <a:moveTo>
                        <a:pt x="149159" y="1017"/>
                      </a:moveTo>
                      <a:lnTo>
                        <a:pt x="2871" y="422897"/>
                      </a:lnTo>
                      <a:lnTo>
                        <a:pt x="0" y="421880"/>
                      </a:lnTo>
                      <a:lnTo>
                        <a:pt x="146288" y="0"/>
                      </a:lnTo>
                      <a:close/>
                    </a:path>
                  </a:pathLst>
                </a:custGeom>
                <a:grpFill/>
                <a:ln w="5978" cap="flat">
                  <a:noFill/>
                  <a:prstDash val="solid"/>
                  <a:miter/>
                </a:ln>
              </p:spPr>
              <p:txBody>
                <a:bodyPr rtlCol="0" anchor="ctr"/>
                <a:lstStyle/>
                <a:p>
                  <a:endParaRPr lang="en-GB"/>
                </a:p>
              </p:txBody>
            </p:sp>
            <p:sp>
              <p:nvSpPr>
                <p:cNvPr id="2460" name="Vrije vorm: vorm 2459">
                  <a:extLst>
                    <a:ext uri="{FF2B5EF4-FFF2-40B4-BE49-F238E27FC236}">
                      <a16:creationId xmlns:a16="http://schemas.microsoft.com/office/drawing/2014/main" id="{B2B4424A-F41C-429D-A6BB-5D9D74B5D1F8}"/>
                    </a:ext>
                  </a:extLst>
                </p:cNvPr>
                <p:cNvSpPr/>
                <p:nvPr/>
              </p:nvSpPr>
              <p:spPr>
                <a:xfrm>
                  <a:off x="5303205" y="5550408"/>
                  <a:ext cx="18292" cy="18381"/>
                </a:xfrm>
                <a:custGeom>
                  <a:avLst/>
                  <a:gdLst>
                    <a:gd name="connsiteX0" fmla="*/ 17803 w 18292"/>
                    <a:gd name="connsiteY0" fmla="*/ 12241 h 18381"/>
                    <a:gd name="connsiteX1" fmla="*/ 6141 w 18292"/>
                    <a:gd name="connsiteY1" fmla="*/ 17863 h 18381"/>
                    <a:gd name="connsiteX2" fmla="*/ 519 w 18292"/>
                    <a:gd name="connsiteY2" fmla="*/ 6141 h 18381"/>
                    <a:gd name="connsiteX3" fmla="*/ 12181 w 18292"/>
                    <a:gd name="connsiteY3" fmla="*/ 519 h 18381"/>
                    <a:gd name="connsiteX4" fmla="*/ 17803 w 18292"/>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381">
                      <a:moveTo>
                        <a:pt x="17803" y="12241"/>
                      </a:moveTo>
                      <a:cubicBezTo>
                        <a:pt x="16129" y="17026"/>
                        <a:pt x="10926" y="19537"/>
                        <a:pt x="6141" y="17863"/>
                      </a:cubicBezTo>
                      <a:cubicBezTo>
                        <a:pt x="1356" y="16188"/>
                        <a:pt x="-1156" y="10925"/>
                        <a:pt x="519" y="6141"/>
                      </a:cubicBezTo>
                      <a:cubicBezTo>
                        <a:pt x="2194" y="1356"/>
                        <a:pt x="7397" y="-1156"/>
                        <a:pt x="12181" y="519"/>
                      </a:cubicBezTo>
                      <a:cubicBezTo>
                        <a:pt x="16906" y="2134"/>
                        <a:pt x="19418" y="7397"/>
                        <a:pt x="17803" y="12241"/>
                      </a:cubicBezTo>
                      <a:close/>
                    </a:path>
                  </a:pathLst>
                </a:custGeom>
                <a:grpFill/>
                <a:ln w="5978" cap="flat">
                  <a:noFill/>
                  <a:prstDash val="solid"/>
                  <a:miter/>
                </a:ln>
              </p:spPr>
              <p:txBody>
                <a:bodyPr rtlCol="0" anchor="ctr"/>
                <a:lstStyle/>
                <a:p>
                  <a:endParaRPr lang="en-GB"/>
                </a:p>
              </p:txBody>
            </p:sp>
            <p:sp>
              <p:nvSpPr>
                <p:cNvPr id="2461" name="Vrije vorm: vorm 2460">
                  <a:extLst>
                    <a:ext uri="{FF2B5EF4-FFF2-40B4-BE49-F238E27FC236}">
                      <a16:creationId xmlns:a16="http://schemas.microsoft.com/office/drawing/2014/main" id="{6029179D-7D18-44C6-853C-BCD7744E7904}"/>
                    </a:ext>
                  </a:extLst>
                </p:cNvPr>
                <p:cNvSpPr/>
                <p:nvPr/>
              </p:nvSpPr>
              <p:spPr>
                <a:xfrm>
                  <a:off x="5449134" y="5129365"/>
                  <a:ext cx="18322" cy="18405"/>
                </a:xfrm>
                <a:custGeom>
                  <a:avLst/>
                  <a:gdLst>
                    <a:gd name="connsiteX0" fmla="*/ 17803 w 18322"/>
                    <a:gd name="connsiteY0" fmla="*/ 12241 h 18405"/>
                    <a:gd name="connsiteX1" fmla="*/ 12181 w 18322"/>
                    <a:gd name="connsiteY1" fmla="*/ 519 h 18405"/>
                    <a:gd name="connsiteX2" fmla="*/ 519 w 18322"/>
                    <a:gd name="connsiteY2" fmla="*/ 6141 h 18405"/>
                    <a:gd name="connsiteX3" fmla="*/ 6141 w 18322"/>
                    <a:gd name="connsiteY3" fmla="*/ 17863 h 18405"/>
                    <a:gd name="connsiteX4" fmla="*/ 17803 w 18322"/>
                    <a:gd name="connsiteY4" fmla="*/ 122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05">
                      <a:moveTo>
                        <a:pt x="17803" y="12241"/>
                      </a:moveTo>
                      <a:cubicBezTo>
                        <a:pt x="19478" y="7456"/>
                        <a:pt x="16966" y="2193"/>
                        <a:pt x="12181" y="519"/>
                      </a:cubicBezTo>
                      <a:cubicBezTo>
                        <a:pt x="7397" y="-1156"/>
                        <a:pt x="2194" y="1356"/>
                        <a:pt x="519" y="6141"/>
                      </a:cubicBezTo>
                      <a:cubicBezTo>
                        <a:pt x="-1156" y="10925"/>
                        <a:pt x="1356" y="16188"/>
                        <a:pt x="6141" y="17863"/>
                      </a:cubicBezTo>
                      <a:cubicBezTo>
                        <a:pt x="10925" y="19597"/>
                        <a:pt x="16129" y="17025"/>
                        <a:pt x="17803" y="12241"/>
                      </a:cubicBezTo>
                      <a:close/>
                    </a:path>
                  </a:pathLst>
                </a:custGeom>
                <a:grpFill/>
                <a:ln w="5978" cap="flat">
                  <a:noFill/>
                  <a:prstDash val="solid"/>
                  <a:miter/>
                </a:ln>
              </p:spPr>
              <p:txBody>
                <a:bodyPr rtlCol="0" anchor="ctr"/>
                <a:lstStyle/>
                <a:p>
                  <a:endParaRPr lang="en-GB"/>
                </a:p>
              </p:txBody>
            </p:sp>
          </p:grpSp>
          <p:grpSp>
            <p:nvGrpSpPr>
              <p:cNvPr id="981" name="Graphic 3">
                <a:extLst>
                  <a:ext uri="{FF2B5EF4-FFF2-40B4-BE49-F238E27FC236}">
                    <a16:creationId xmlns:a16="http://schemas.microsoft.com/office/drawing/2014/main" id="{01F7FDE7-0D6E-49C6-B970-6FD378A1ABDD}"/>
                  </a:ext>
                </a:extLst>
              </p:cNvPr>
              <p:cNvGrpSpPr/>
              <p:nvPr/>
            </p:nvGrpSpPr>
            <p:grpSpPr>
              <a:xfrm>
                <a:off x="5212269" y="4874019"/>
                <a:ext cx="48343" cy="73103"/>
                <a:chOff x="5212269" y="4874019"/>
                <a:chExt cx="48343" cy="73103"/>
              </a:xfrm>
              <a:grpFill/>
            </p:grpSpPr>
            <p:sp>
              <p:nvSpPr>
                <p:cNvPr id="2456" name="Vrije vorm: vorm 2455">
                  <a:extLst>
                    <a:ext uri="{FF2B5EF4-FFF2-40B4-BE49-F238E27FC236}">
                      <a16:creationId xmlns:a16="http://schemas.microsoft.com/office/drawing/2014/main" id="{5F004D79-9E8B-4DE3-BCEE-52ADB4BE2563}"/>
                    </a:ext>
                  </a:extLst>
                </p:cNvPr>
                <p:cNvSpPr/>
                <p:nvPr/>
              </p:nvSpPr>
              <p:spPr>
                <a:xfrm>
                  <a:off x="5219874" y="4882043"/>
                  <a:ext cx="33133" cy="57055"/>
                </a:xfrm>
                <a:custGeom>
                  <a:avLst/>
                  <a:gdLst>
                    <a:gd name="connsiteX0" fmla="*/ 33133 w 33133"/>
                    <a:gd name="connsiteY0" fmla="*/ 1495 h 57055"/>
                    <a:gd name="connsiteX1" fmla="*/ 2691 w 33133"/>
                    <a:gd name="connsiteY1" fmla="*/ 57056 h 57055"/>
                    <a:gd name="connsiteX2" fmla="*/ 0 w 33133"/>
                    <a:gd name="connsiteY2" fmla="*/ 55561 h 57055"/>
                    <a:gd name="connsiteX3" fmla="*/ 30442 w 33133"/>
                    <a:gd name="connsiteY3" fmla="*/ 0 h 57055"/>
                  </a:gdLst>
                  <a:ahLst/>
                  <a:cxnLst>
                    <a:cxn ang="0">
                      <a:pos x="connsiteX0" y="connsiteY0"/>
                    </a:cxn>
                    <a:cxn ang="0">
                      <a:pos x="connsiteX1" y="connsiteY1"/>
                    </a:cxn>
                    <a:cxn ang="0">
                      <a:pos x="connsiteX2" y="connsiteY2"/>
                    </a:cxn>
                    <a:cxn ang="0">
                      <a:pos x="connsiteX3" y="connsiteY3"/>
                    </a:cxn>
                  </a:cxnLst>
                  <a:rect l="l" t="t" r="r" b="b"/>
                  <a:pathLst>
                    <a:path w="33133" h="57055">
                      <a:moveTo>
                        <a:pt x="33133" y="1495"/>
                      </a:moveTo>
                      <a:lnTo>
                        <a:pt x="2691" y="57056"/>
                      </a:lnTo>
                      <a:lnTo>
                        <a:pt x="0" y="55561"/>
                      </a:lnTo>
                      <a:lnTo>
                        <a:pt x="30442" y="0"/>
                      </a:lnTo>
                      <a:close/>
                    </a:path>
                  </a:pathLst>
                </a:custGeom>
                <a:grpFill/>
                <a:ln w="5978" cap="flat">
                  <a:noFill/>
                  <a:prstDash val="solid"/>
                  <a:miter/>
                </a:ln>
              </p:spPr>
              <p:txBody>
                <a:bodyPr rtlCol="0" anchor="ctr"/>
                <a:lstStyle/>
                <a:p>
                  <a:endParaRPr lang="en-GB"/>
                </a:p>
              </p:txBody>
            </p:sp>
            <p:sp>
              <p:nvSpPr>
                <p:cNvPr id="2457" name="Vrije vorm: vorm 2456">
                  <a:extLst>
                    <a:ext uri="{FF2B5EF4-FFF2-40B4-BE49-F238E27FC236}">
                      <a16:creationId xmlns:a16="http://schemas.microsoft.com/office/drawing/2014/main" id="{8AF7D236-349E-4D86-BBB6-8B1C3E9B6EF9}"/>
                    </a:ext>
                  </a:extLst>
                </p:cNvPr>
                <p:cNvSpPr/>
                <p:nvPr/>
              </p:nvSpPr>
              <p:spPr>
                <a:xfrm>
                  <a:off x="5212269" y="4928743"/>
                  <a:ext cx="18320" cy="18379"/>
                </a:xfrm>
                <a:custGeom>
                  <a:avLst/>
                  <a:gdLst>
                    <a:gd name="connsiteX0" fmla="*/ 17174 w 18320"/>
                    <a:gd name="connsiteY0" fmla="*/ 13646 h 18379"/>
                    <a:gd name="connsiteX1" fmla="*/ 4734 w 18320"/>
                    <a:gd name="connsiteY1" fmla="*/ 17234 h 18379"/>
                    <a:gd name="connsiteX2" fmla="*/ 1146 w 18320"/>
                    <a:gd name="connsiteY2" fmla="*/ 4734 h 18379"/>
                    <a:gd name="connsiteX3" fmla="*/ 13586 w 18320"/>
                    <a:gd name="connsiteY3" fmla="*/ 1146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4722" y="18071"/>
                        <a:pt x="9160" y="19686"/>
                        <a:pt x="4734" y="17234"/>
                      </a:cubicBezTo>
                      <a:cubicBezTo>
                        <a:pt x="308" y="14782"/>
                        <a:pt x="-1306" y="9160"/>
                        <a:pt x="1146" y="4734"/>
                      </a:cubicBezTo>
                      <a:cubicBezTo>
                        <a:pt x="3598" y="309"/>
                        <a:pt x="9160" y="-1306"/>
                        <a:pt x="13586" y="1146"/>
                      </a:cubicBezTo>
                      <a:cubicBezTo>
                        <a:pt x="18012" y="3598"/>
                        <a:pt x="19626" y="9220"/>
                        <a:pt x="17174" y="13646"/>
                      </a:cubicBezTo>
                      <a:close/>
                    </a:path>
                  </a:pathLst>
                </a:custGeom>
                <a:grpFill/>
                <a:ln w="5978" cap="flat">
                  <a:noFill/>
                  <a:prstDash val="solid"/>
                  <a:miter/>
                </a:ln>
              </p:spPr>
              <p:txBody>
                <a:bodyPr rtlCol="0" anchor="ctr"/>
                <a:lstStyle/>
                <a:p>
                  <a:endParaRPr lang="en-GB"/>
                </a:p>
              </p:txBody>
            </p:sp>
            <p:sp>
              <p:nvSpPr>
                <p:cNvPr id="2458" name="Vrije vorm: vorm 2457">
                  <a:extLst>
                    <a:ext uri="{FF2B5EF4-FFF2-40B4-BE49-F238E27FC236}">
                      <a16:creationId xmlns:a16="http://schemas.microsoft.com/office/drawing/2014/main" id="{C0644F58-1B52-4A31-98B3-6F9AC6B97EB5}"/>
                    </a:ext>
                  </a:extLst>
                </p:cNvPr>
                <p:cNvSpPr/>
                <p:nvPr/>
              </p:nvSpPr>
              <p:spPr>
                <a:xfrm>
                  <a:off x="5242292" y="4874019"/>
                  <a:ext cx="18320" cy="18392"/>
                </a:xfrm>
                <a:custGeom>
                  <a:avLst/>
                  <a:gdLst>
                    <a:gd name="connsiteX0" fmla="*/ 17174 w 18320"/>
                    <a:gd name="connsiteY0" fmla="*/ 13646 h 18392"/>
                    <a:gd name="connsiteX1" fmla="*/ 13586 w 18320"/>
                    <a:gd name="connsiteY1" fmla="*/ 1146 h 18392"/>
                    <a:gd name="connsiteX2" fmla="*/ 1146 w 18320"/>
                    <a:gd name="connsiteY2" fmla="*/ 4734 h 18392"/>
                    <a:gd name="connsiteX3" fmla="*/ 4734 w 18320"/>
                    <a:gd name="connsiteY3" fmla="*/ 17234 h 18392"/>
                    <a:gd name="connsiteX4" fmla="*/ 17174 w 18320"/>
                    <a:gd name="connsiteY4" fmla="*/ 13646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92">
                      <a:moveTo>
                        <a:pt x="17174" y="13646"/>
                      </a:moveTo>
                      <a:cubicBezTo>
                        <a:pt x="19626" y="9220"/>
                        <a:pt x="18012" y="3598"/>
                        <a:pt x="13586" y="1146"/>
                      </a:cubicBezTo>
                      <a:cubicBezTo>
                        <a:pt x="9160" y="-1306"/>
                        <a:pt x="3598" y="308"/>
                        <a:pt x="1146" y="4734"/>
                      </a:cubicBezTo>
                      <a:cubicBezTo>
                        <a:pt x="-1306" y="9160"/>
                        <a:pt x="309" y="14782"/>
                        <a:pt x="4734" y="17234"/>
                      </a:cubicBezTo>
                      <a:cubicBezTo>
                        <a:pt x="9160" y="19686"/>
                        <a:pt x="14722" y="18131"/>
                        <a:pt x="17174" y="13646"/>
                      </a:cubicBezTo>
                      <a:close/>
                    </a:path>
                  </a:pathLst>
                </a:custGeom>
                <a:grpFill/>
                <a:ln w="5978" cap="flat">
                  <a:noFill/>
                  <a:prstDash val="solid"/>
                  <a:miter/>
                </a:ln>
              </p:spPr>
              <p:txBody>
                <a:bodyPr rtlCol="0" anchor="ctr"/>
                <a:lstStyle/>
                <a:p>
                  <a:endParaRPr lang="en-GB"/>
                </a:p>
              </p:txBody>
            </p:sp>
          </p:grpSp>
          <p:grpSp>
            <p:nvGrpSpPr>
              <p:cNvPr id="982" name="Graphic 3">
                <a:extLst>
                  <a:ext uri="{FF2B5EF4-FFF2-40B4-BE49-F238E27FC236}">
                    <a16:creationId xmlns:a16="http://schemas.microsoft.com/office/drawing/2014/main" id="{55EEBDCF-4723-4F9E-87B6-0191211C0358}"/>
                  </a:ext>
                </a:extLst>
              </p:cNvPr>
              <p:cNvGrpSpPr/>
              <p:nvPr/>
            </p:nvGrpSpPr>
            <p:grpSpPr>
              <a:xfrm>
                <a:off x="4340286" y="2511083"/>
                <a:ext cx="194797" cy="144360"/>
                <a:chOff x="4340286" y="2511083"/>
                <a:chExt cx="194797" cy="144360"/>
              </a:xfrm>
              <a:grpFill/>
            </p:grpSpPr>
            <p:sp>
              <p:nvSpPr>
                <p:cNvPr id="2453" name="Vrije vorm: vorm 2452">
                  <a:extLst>
                    <a:ext uri="{FF2B5EF4-FFF2-40B4-BE49-F238E27FC236}">
                      <a16:creationId xmlns:a16="http://schemas.microsoft.com/office/drawing/2014/main" id="{A62BD39F-4F58-45C7-A968-981855A32FF5}"/>
                    </a:ext>
                  </a:extLst>
                </p:cNvPr>
                <p:cNvSpPr/>
                <p:nvPr/>
              </p:nvSpPr>
              <p:spPr>
                <a:xfrm>
                  <a:off x="4348244" y="2518761"/>
                  <a:ext cx="178883" cy="129004"/>
                </a:xfrm>
                <a:custGeom>
                  <a:avLst/>
                  <a:gdLst>
                    <a:gd name="connsiteX0" fmla="*/ 178883 w 178883"/>
                    <a:gd name="connsiteY0" fmla="*/ 126492 h 129004"/>
                    <a:gd name="connsiteX1" fmla="*/ 177149 w 178883"/>
                    <a:gd name="connsiteY1" fmla="*/ 129004 h 129004"/>
                    <a:gd name="connsiteX2" fmla="*/ 0 w 178883"/>
                    <a:gd name="connsiteY2" fmla="*/ 2512 h 129004"/>
                    <a:gd name="connsiteX3" fmla="*/ 1734 w 178883"/>
                    <a:gd name="connsiteY3" fmla="*/ 0 h 129004"/>
                  </a:gdLst>
                  <a:ahLst/>
                  <a:cxnLst>
                    <a:cxn ang="0">
                      <a:pos x="connsiteX0" y="connsiteY0"/>
                    </a:cxn>
                    <a:cxn ang="0">
                      <a:pos x="connsiteX1" y="connsiteY1"/>
                    </a:cxn>
                    <a:cxn ang="0">
                      <a:pos x="connsiteX2" y="connsiteY2"/>
                    </a:cxn>
                    <a:cxn ang="0">
                      <a:pos x="connsiteX3" y="connsiteY3"/>
                    </a:cxn>
                  </a:cxnLst>
                  <a:rect l="l" t="t" r="r" b="b"/>
                  <a:pathLst>
                    <a:path w="178883" h="129004">
                      <a:moveTo>
                        <a:pt x="178883" y="126492"/>
                      </a:moveTo>
                      <a:lnTo>
                        <a:pt x="177149" y="129004"/>
                      </a:lnTo>
                      <a:lnTo>
                        <a:pt x="0" y="2512"/>
                      </a:lnTo>
                      <a:lnTo>
                        <a:pt x="1734" y="0"/>
                      </a:lnTo>
                      <a:close/>
                    </a:path>
                  </a:pathLst>
                </a:custGeom>
                <a:grpFill/>
                <a:ln w="5978" cap="flat">
                  <a:noFill/>
                  <a:prstDash val="solid"/>
                  <a:miter/>
                </a:ln>
              </p:spPr>
              <p:txBody>
                <a:bodyPr rtlCol="0" anchor="ctr"/>
                <a:lstStyle/>
                <a:p>
                  <a:endParaRPr lang="en-GB"/>
                </a:p>
              </p:txBody>
            </p:sp>
            <p:sp>
              <p:nvSpPr>
                <p:cNvPr id="2454" name="Vrije vorm: vorm 2453">
                  <a:extLst>
                    <a:ext uri="{FF2B5EF4-FFF2-40B4-BE49-F238E27FC236}">
                      <a16:creationId xmlns:a16="http://schemas.microsoft.com/office/drawing/2014/main" id="{EB302F9A-7C52-49BA-B4A6-B92FA08D8904}"/>
                    </a:ext>
                  </a:extLst>
                </p:cNvPr>
                <p:cNvSpPr/>
                <p:nvPr/>
              </p:nvSpPr>
              <p:spPr>
                <a:xfrm>
                  <a:off x="4516718" y="2637037"/>
                  <a:ext cx="18366" cy="18406"/>
                </a:xfrm>
                <a:custGeom>
                  <a:avLst/>
                  <a:gdLst>
                    <a:gd name="connsiteX0" fmla="*/ 14476 w 18366"/>
                    <a:gd name="connsiteY0" fmla="*/ 1697 h 18406"/>
                    <a:gd name="connsiteX1" fmla="*/ 16689 w 18366"/>
                    <a:gd name="connsiteY1" fmla="*/ 14556 h 18406"/>
                    <a:gd name="connsiteX2" fmla="*/ 3890 w 18366"/>
                    <a:gd name="connsiteY2" fmla="*/ 16709 h 18406"/>
                    <a:gd name="connsiteX3" fmla="*/ 1677 w 18366"/>
                    <a:gd name="connsiteY3" fmla="*/ 3851 h 18406"/>
                    <a:gd name="connsiteX4" fmla="*/ 14476 w 18366"/>
                    <a:gd name="connsiteY4" fmla="*/ 169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4476" y="1697"/>
                      </a:moveTo>
                      <a:cubicBezTo>
                        <a:pt x="18603" y="4628"/>
                        <a:pt x="19620" y="10429"/>
                        <a:pt x="16689" y="14556"/>
                      </a:cubicBezTo>
                      <a:cubicBezTo>
                        <a:pt x="13759" y="18683"/>
                        <a:pt x="8077" y="19640"/>
                        <a:pt x="3890" y="16709"/>
                      </a:cubicBezTo>
                      <a:cubicBezTo>
                        <a:pt x="-237" y="13778"/>
                        <a:pt x="-1253" y="7977"/>
                        <a:pt x="1677" y="3851"/>
                      </a:cubicBezTo>
                      <a:cubicBezTo>
                        <a:pt x="4608" y="-276"/>
                        <a:pt x="10290" y="-1233"/>
                        <a:pt x="14476" y="1697"/>
                      </a:cubicBezTo>
                      <a:close/>
                    </a:path>
                  </a:pathLst>
                </a:custGeom>
                <a:grpFill/>
                <a:ln w="5978" cap="flat">
                  <a:noFill/>
                  <a:prstDash val="solid"/>
                  <a:miter/>
                </a:ln>
              </p:spPr>
              <p:txBody>
                <a:bodyPr rtlCol="0" anchor="ctr"/>
                <a:lstStyle/>
                <a:p>
                  <a:endParaRPr lang="en-GB"/>
                </a:p>
              </p:txBody>
            </p:sp>
            <p:sp>
              <p:nvSpPr>
                <p:cNvPr id="2455" name="Vrije vorm: vorm 2454">
                  <a:extLst>
                    <a:ext uri="{FF2B5EF4-FFF2-40B4-BE49-F238E27FC236}">
                      <a16:creationId xmlns:a16="http://schemas.microsoft.com/office/drawing/2014/main" id="{45EB5CC5-E130-452D-9777-FAF8F6621404}"/>
                    </a:ext>
                  </a:extLst>
                </p:cNvPr>
                <p:cNvSpPr/>
                <p:nvPr/>
              </p:nvSpPr>
              <p:spPr>
                <a:xfrm>
                  <a:off x="4340286" y="2511083"/>
                  <a:ext cx="18366" cy="18406"/>
                </a:xfrm>
                <a:custGeom>
                  <a:avLst/>
                  <a:gdLst>
                    <a:gd name="connsiteX0" fmla="*/ 14476 w 18366"/>
                    <a:gd name="connsiteY0" fmla="*/ 1697 h 18406"/>
                    <a:gd name="connsiteX1" fmla="*/ 1677 w 18366"/>
                    <a:gd name="connsiteY1" fmla="*/ 3850 h 18406"/>
                    <a:gd name="connsiteX2" fmla="*/ 3890 w 18366"/>
                    <a:gd name="connsiteY2" fmla="*/ 16709 h 18406"/>
                    <a:gd name="connsiteX3" fmla="*/ 16689 w 18366"/>
                    <a:gd name="connsiteY3" fmla="*/ 14556 h 18406"/>
                    <a:gd name="connsiteX4" fmla="*/ 14476 w 18366"/>
                    <a:gd name="connsiteY4" fmla="*/ 169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4476" y="1697"/>
                      </a:moveTo>
                      <a:cubicBezTo>
                        <a:pt x="10349" y="-1233"/>
                        <a:pt x="4608" y="-276"/>
                        <a:pt x="1677" y="3850"/>
                      </a:cubicBezTo>
                      <a:cubicBezTo>
                        <a:pt x="-1253" y="7977"/>
                        <a:pt x="-237" y="13719"/>
                        <a:pt x="3890" y="16709"/>
                      </a:cubicBezTo>
                      <a:cubicBezTo>
                        <a:pt x="8017" y="19640"/>
                        <a:pt x="13759" y="18683"/>
                        <a:pt x="16689" y="14556"/>
                      </a:cubicBezTo>
                      <a:cubicBezTo>
                        <a:pt x="19620" y="10370"/>
                        <a:pt x="18603" y="4628"/>
                        <a:pt x="14476" y="1697"/>
                      </a:cubicBezTo>
                      <a:close/>
                    </a:path>
                  </a:pathLst>
                </a:custGeom>
                <a:grpFill/>
                <a:ln w="5978" cap="flat">
                  <a:noFill/>
                  <a:prstDash val="solid"/>
                  <a:miter/>
                </a:ln>
              </p:spPr>
              <p:txBody>
                <a:bodyPr rtlCol="0" anchor="ctr"/>
                <a:lstStyle/>
                <a:p>
                  <a:endParaRPr lang="en-GB"/>
                </a:p>
              </p:txBody>
            </p:sp>
          </p:grpSp>
          <p:grpSp>
            <p:nvGrpSpPr>
              <p:cNvPr id="983" name="Graphic 3">
                <a:extLst>
                  <a:ext uri="{FF2B5EF4-FFF2-40B4-BE49-F238E27FC236}">
                    <a16:creationId xmlns:a16="http://schemas.microsoft.com/office/drawing/2014/main" id="{A336C8A4-EC20-4D44-BDC1-AD1EF74A66A8}"/>
                  </a:ext>
                </a:extLst>
              </p:cNvPr>
              <p:cNvGrpSpPr/>
              <p:nvPr/>
            </p:nvGrpSpPr>
            <p:grpSpPr>
              <a:xfrm>
                <a:off x="4113152" y="2095591"/>
                <a:ext cx="428763" cy="297071"/>
                <a:chOff x="4113152" y="2095591"/>
                <a:chExt cx="428763" cy="297071"/>
              </a:xfrm>
              <a:grpFill/>
            </p:grpSpPr>
            <p:sp>
              <p:nvSpPr>
                <p:cNvPr id="2450" name="Vrije vorm: vorm 2449">
                  <a:extLst>
                    <a:ext uri="{FF2B5EF4-FFF2-40B4-BE49-F238E27FC236}">
                      <a16:creationId xmlns:a16="http://schemas.microsoft.com/office/drawing/2014/main" id="{60A8A942-E88F-499F-8EC6-B8C7D3571313}"/>
                    </a:ext>
                  </a:extLst>
                </p:cNvPr>
                <p:cNvSpPr/>
                <p:nvPr/>
              </p:nvSpPr>
              <p:spPr>
                <a:xfrm>
                  <a:off x="4121096" y="2103280"/>
                  <a:ext cx="412849" cy="281692"/>
                </a:xfrm>
                <a:custGeom>
                  <a:avLst/>
                  <a:gdLst>
                    <a:gd name="connsiteX0" fmla="*/ 412849 w 412849"/>
                    <a:gd name="connsiteY0" fmla="*/ 279120 h 281692"/>
                    <a:gd name="connsiteX1" fmla="*/ 411175 w 412849"/>
                    <a:gd name="connsiteY1" fmla="*/ 281692 h 281692"/>
                    <a:gd name="connsiteX2" fmla="*/ 0 w 412849"/>
                    <a:gd name="connsiteY2" fmla="*/ 2512 h 281692"/>
                    <a:gd name="connsiteX3" fmla="*/ 1675 w 412849"/>
                    <a:gd name="connsiteY3" fmla="*/ 0 h 281692"/>
                  </a:gdLst>
                  <a:ahLst/>
                  <a:cxnLst>
                    <a:cxn ang="0">
                      <a:pos x="connsiteX0" y="connsiteY0"/>
                    </a:cxn>
                    <a:cxn ang="0">
                      <a:pos x="connsiteX1" y="connsiteY1"/>
                    </a:cxn>
                    <a:cxn ang="0">
                      <a:pos x="connsiteX2" y="connsiteY2"/>
                    </a:cxn>
                    <a:cxn ang="0">
                      <a:pos x="connsiteX3" y="connsiteY3"/>
                    </a:cxn>
                  </a:cxnLst>
                  <a:rect l="l" t="t" r="r" b="b"/>
                  <a:pathLst>
                    <a:path w="412849" h="281692">
                      <a:moveTo>
                        <a:pt x="412849" y="279120"/>
                      </a:moveTo>
                      <a:lnTo>
                        <a:pt x="411175" y="281692"/>
                      </a:lnTo>
                      <a:lnTo>
                        <a:pt x="0" y="2512"/>
                      </a:lnTo>
                      <a:lnTo>
                        <a:pt x="1675" y="0"/>
                      </a:lnTo>
                      <a:close/>
                    </a:path>
                  </a:pathLst>
                </a:custGeom>
                <a:grpFill/>
                <a:ln w="5978" cap="flat">
                  <a:noFill/>
                  <a:prstDash val="solid"/>
                  <a:miter/>
                </a:ln>
              </p:spPr>
              <p:txBody>
                <a:bodyPr rtlCol="0" anchor="ctr"/>
                <a:lstStyle/>
                <a:p>
                  <a:endParaRPr lang="en-GB"/>
                </a:p>
              </p:txBody>
            </p:sp>
            <p:sp>
              <p:nvSpPr>
                <p:cNvPr id="2451" name="Vrije vorm: vorm 2450">
                  <a:extLst>
                    <a:ext uri="{FF2B5EF4-FFF2-40B4-BE49-F238E27FC236}">
                      <a16:creationId xmlns:a16="http://schemas.microsoft.com/office/drawing/2014/main" id="{C1F07393-8470-4D1A-948C-6EBF184088E4}"/>
                    </a:ext>
                  </a:extLst>
                </p:cNvPr>
                <p:cNvSpPr/>
                <p:nvPr/>
              </p:nvSpPr>
              <p:spPr>
                <a:xfrm>
                  <a:off x="4113152" y="2095591"/>
                  <a:ext cx="18339" cy="18403"/>
                </a:xfrm>
                <a:custGeom>
                  <a:avLst/>
                  <a:gdLst>
                    <a:gd name="connsiteX0" fmla="*/ 4056 w 18339"/>
                    <a:gd name="connsiteY0" fmla="*/ 16840 h 18403"/>
                    <a:gd name="connsiteX1" fmla="*/ 1544 w 18339"/>
                    <a:gd name="connsiteY1" fmla="*/ 4042 h 18403"/>
                    <a:gd name="connsiteX2" fmla="*/ 14283 w 18339"/>
                    <a:gd name="connsiteY2" fmla="*/ 1590 h 18403"/>
                    <a:gd name="connsiteX3" fmla="*/ 16795 w 18339"/>
                    <a:gd name="connsiteY3" fmla="*/ 14388 h 18403"/>
                    <a:gd name="connsiteX4" fmla="*/ 4056 w 18339"/>
                    <a:gd name="connsiteY4" fmla="*/ 1684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3">
                      <a:moveTo>
                        <a:pt x="4056" y="16840"/>
                      </a:moveTo>
                      <a:cubicBezTo>
                        <a:pt x="-130" y="13970"/>
                        <a:pt x="-1266" y="8288"/>
                        <a:pt x="1544" y="4042"/>
                      </a:cubicBezTo>
                      <a:cubicBezTo>
                        <a:pt x="4355" y="-145"/>
                        <a:pt x="10037" y="-1281"/>
                        <a:pt x="14283" y="1590"/>
                      </a:cubicBezTo>
                      <a:cubicBezTo>
                        <a:pt x="18470" y="4460"/>
                        <a:pt x="19606" y="10142"/>
                        <a:pt x="16795" y="14388"/>
                      </a:cubicBezTo>
                      <a:cubicBezTo>
                        <a:pt x="13924" y="18575"/>
                        <a:pt x="8243" y="19651"/>
                        <a:pt x="4056" y="16840"/>
                      </a:cubicBezTo>
                      <a:close/>
                    </a:path>
                  </a:pathLst>
                </a:custGeom>
                <a:grpFill/>
                <a:ln w="5978" cap="flat">
                  <a:noFill/>
                  <a:prstDash val="solid"/>
                  <a:miter/>
                </a:ln>
              </p:spPr>
              <p:txBody>
                <a:bodyPr rtlCol="0" anchor="ctr"/>
                <a:lstStyle/>
                <a:p>
                  <a:endParaRPr lang="en-GB"/>
                </a:p>
              </p:txBody>
            </p:sp>
            <p:sp>
              <p:nvSpPr>
                <p:cNvPr id="2452" name="Vrije vorm: vorm 2451">
                  <a:extLst>
                    <a:ext uri="{FF2B5EF4-FFF2-40B4-BE49-F238E27FC236}">
                      <a16:creationId xmlns:a16="http://schemas.microsoft.com/office/drawing/2014/main" id="{0CF67B1F-2837-49DD-8C06-00310C5B985C}"/>
                    </a:ext>
                  </a:extLst>
                </p:cNvPr>
                <p:cNvSpPr/>
                <p:nvPr/>
              </p:nvSpPr>
              <p:spPr>
                <a:xfrm>
                  <a:off x="4523575" y="2374232"/>
                  <a:ext cx="18339" cy="18429"/>
                </a:xfrm>
                <a:custGeom>
                  <a:avLst/>
                  <a:gdLst>
                    <a:gd name="connsiteX0" fmla="*/ 4030 w 18339"/>
                    <a:gd name="connsiteY0" fmla="*/ 16840 h 18429"/>
                    <a:gd name="connsiteX1" fmla="*/ 16769 w 18339"/>
                    <a:gd name="connsiteY1" fmla="*/ 14388 h 18429"/>
                    <a:gd name="connsiteX2" fmla="*/ 14257 w 18339"/>
                    <a:gd name="connsiteY2" fmla="*/ 1590 h 18429"/>
                    <a:gd name="connsiteX3" fmla="*/ 1518 w 18339"/>
                    <a:gd name="connsiteY3" fmla="*/ 4042 h 18429"/>
                    <a:gd name="connsiteX4" fmla="*/ 4030 w 18339"/>
                    <a:gd name="connsiteY4" fmla="*/ 168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4030" y="16840"/>
                      </a:moveTo>
                      <a:cubicBezTo>
                        <a:pt x="8217" y="19711"/>
                        <a:pt x="13898" y="18575"/>
                        <a:pt x="16769" y="14388"/>
                      </a:cubicBezTo>
                      <a:cubicBezTo>
                        <a:pt x="19640" y="10202"/>
                        <a:pt x="18444" y="4460"/>
                        <a:pt x="14257" y="1590"/>
                      </a:cubicBezTo>
                      <a:cubicBezTo>
                        <a:pt x="10071" y="-1281"/>
                        <a:pt x="4389" y="-145"/>
                        <a:pt x="1518" y="4042"/>
                      </a:cubicBezTo>
                      <a:cubicBezTo>
                        <a:pt x="-1233" y="8228"/>
                        <a:pt x="-156" y="13970"/>
                        <a:pt x="4030" y="16840"/>
                      </a:cubicBezTo>
                      <a:close/>
                    </a:path>
                  </a:pathLst>
                </a:custGeom>
                <a:grpFill/>
                <a:ln w="5978" cap="flat">
                  <a:noFill/>
                  <a:prstDash val="solid"/>
                  <a:miter/>
                </a:ln>
              </p:spPr>
              <p:txBody>
                <a:bodyPr rtlCol="0" anchor="ctr"/>
                <a:lstStyle/>
                <a:p>
                  <a:endParaRPr lang="en-GB"/>
                </a:p>
              </p:txBody>
            </p:sp>
          </p:grpSp>
          <p:grpSp>
            <p:nvGrpSpPr>
              <p:cNvPr id="984" name="Graphic 3">
                <a:extLst>
                  <a:ext uri="{FF2B5EF4-FFF2-40B4-BE49-F238E27FC236}">
                    <a16:creationId xmlns:a16="http://schemas.microsoft.com/office/drawing/2014/main" id="{49DBAF4F-6A94-4F8C-AA7D-25B301FF58EF}"/>
                  </a:ext>
                </a:extLst>
              </p:cNvPr>
              <p:cNvGrpSpPr/>
              <p:nvPr/>
            </p:nvGrpSpPr>
            <p:grpSpPr>
              <a:xfrm>
                <a:off x="5206208" y="4992682"/>
                <a:ext cx="308067" cy="718652"/>
                <a:chOff x="5206208" y="4992682"/>
                <a:chExt cx="308067" cy="718652"/>
              </a:xfrm>
              <a:grpFill/>
            </p:grpSpPr>
            <p:sp>
              <p:nvSpPr>
                <p:cNvPr id="2447" name="Vrije vorm: vorm 2446">
                  <a:extLst>
                    <a:ext uri="{FF2B5EF4-FFF2-40B4-BE49-F238E27FC236}">
                      <a16:creationId xmlns:a16="http://schemas.microsoft.com/office/drawing/2014/main" id="{D3E6F1C6-C0E6-4849-98C0-4571555FFCFB}"/>
                    </a:ext>
                  </a:extLst>
                </p:cNvPr>
                <p:cNvSpPr/>
                <p:nvPr/>
              </p:nvSpPr>
              <p:spPr>
                <a:xfrm>
                  <a:off x="5213774" y="5000880"/>
                  <a:ext cx="292935" cy="702196"/>
                </a:xfrm>
                <a:custGeom>
                  <a:avLst/>
                  <a:gdLst>
                    <a:gd name="connsiteX0" fmla="*/ 292936 w 292935"/>
                    <a:gd name="connsiteY0" fmla="*/ 1136 h 702196"/>
                    <a:gd name="connsiteX1" fmla="*/ 2811 w 292935"/>
                    <a:gd name="connsiteY1" fmla="*/ 702196 h 702196"/>
                    <a:gd name="connsiteX2" fmla="*/ 0 w 292935"/>
                    <a:gd name="connsiteY2" fmla="*/ 701060 h 702196"/>
                    <a:gd name="connsiteX3" fmla="*/ 290065 w 292935"/>
                    <a:gd name="connsiteY3" fmla="*/ 0 h 702196"/>
                  </a:gdLst>
                  <a:ahLst/>
                  <a:cxnLst>
                    <a:cxn ang="0">
                      <a:pos x="connsiteX0" y="connsiteY0"/>
                    </a:cxn>
                    <a:cxn ang="0">
                      <a:pos x="connsiteX1" y="connsiteY1"/>
                    </a:cxn>
                    <a:cxn ang="0">
                      <a:pos x="connsiteX2" y="connsiteY2"/>
                    </a:cxn>
                    <a:cxn ang="0">
                      <a:pos x="connsiteX3" y="connsiteY3"/>
                    </a:cxn>
                  </a:cxnLst>
                  <a:rect l="l" t="t" r="r" b="b"/>
                  <a:pathLst>
                    <a:path w="292935" h="702196">
                      <a:moveTo>
                        <a:pt x="292936" y="1136"/>
                      </a:moveTo>
                      <a:lnTo>
                        <a:pt x="2811" y="702196"/>
                      </a:lnTo>
                      <a:lnTo>
                        <a:pt x="0" y="701060"/>
                      </a:lnTo>
                      <a:lnTo>
                        <a:pt x="290065" y="0"/>
                      </a:lnTo>
                      <a:close/>
                    </a:path>
                  </a:pathLst>
                </a:custGeom>
                <a:grpFill/>
                <a:ln w="5978" cap="flat">
                  <a:noFill/>
                  <a:prstDash val="solid"/>
                  <a:miter/>
                </a:ln>
              </p:spPr>
              <p:txBody>
                <a:bodyPr rtlCol="0" anchor="ctr"/>
                <a:lstStyle/>
                <a:p>
                  <a:endParaRPr lang="en-GB"/>
                </a:p>
              </p:txBody>
            </p:sp>
            <p:sp>
              <p:nvSpPr>
                <p:cNvPr id="2448" name="Vrije vorm: vorm 2447">
                  <a:extLst>
                    <a:ext uri="{FF2B5EF4-FFF2-40B4-BE49-F238E27FC236}">
                      <a16:creationId xmlns:a16="http://schemas.microsoft.com/office/drawing/2014/main" id="{71213E3F-BC2B-4C75-B324-DFD6C0D59047}"/>
                    </a:ext>
                  </a:extLst>
                </p:cNvPr>
                <p:cNvSpPr/>
                <p:nvPr/>
              </p:nvSpPr>
              <p:spPr>
                <a:xfrm>
                  <a:off x="5495940" y="4992682"/>
                  <a:ext cx="18335" cy="18429"/>
                </a:xfrm>
                <a:custGeom>
                  <a:avLst/>
                  <a:gdLst>
                    <a:gd name="connsiteX0" fmla="*/ 721 w 18335"/>
                    <a:gd name="connsiteY0" fmla="*/ 5627 h 18429"/>
                    <a:gd name="connsiteX1" fmla="*/ 12683 w 18335"/>
                    <a:gd name="connsiteY1" fmla="*/ 722 h 18429"/>
                    <a:gd name="connsiteX2" fmla="*/ 17647 w 18335"/>
                    <a:gd name="connsiteY2" fmla="*/ 12803 h 18429"/>
                    <a:gd name="connsiteX3" fmla="*/ 5685 w 18335"/>
                    <a:gd name="connsiteY3" fmla="*/ 17707 h 18429"/>
                    <a:gd name="connsiteX4" fmla="*/ 721 w 18335"/>
                    <a:gd name="connsiteY4" fmla="*/ 562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9">
                      <a:moveTo>
                        <a:pt x="721" y="5627"/>
                      </a:moveTo>
                      <a:cubicBezTo>
                        <a:pt x="2635" y="962"/>
                        <a:pt x="8018" y="-1251"/>
                        <a:pt x="12683" y="722"/>
                      </a:cubicBezTo>
                      <a:cubicBezTo>
                        <a:pt x="17348" y="2696"/>
                        <a:pt x="19561" y="8079"/>
                        <a:pt x="17647" y="12803"/>
                      </a:cubicBezTo>
                      <a:cubicBezTo>
                        <a:pt x="15733" y="17468"/>
                        <a:pt x="10350" y="19681"/>
                        <a:pt x="5685" y="17707"/>
                      </a:cubicBezTo>
                      <a:cubicBezTo>
                        <a:pt x="961" y="15734"/>
                        <a:pt x="-1252" y="10291"/>
                        <a:pt x="721" y="5627"/>
                      </a:cubicBezTo>
                      <a:close/>
                    </a:path>
                  </a:pathLst>
                </a:custGeom>
                <a:grpFill/>
                <a:ln w="5978" cap="flat">
                  <a:noFill/>
                  <a:prstDash val="solid"/>
                  <a:miter/>
                </a:ln>
              </p:spPr>
              <p:txBody>
                <a:bodyPr rtlCol="0" anchor="ctr"/>
                <a:lstStyle/>
                <a:p>
                  <a:endParaRPr lang="en-GB"/>
                </a:p>
              </p:txBody>
            </p:sp>
            <p:sp>
              <p:nvSpPr>
                <p:cNvPr id="2449" name="Vrije vorm: vorm 2448">
                  <a:extLst>
                    <a:ext uri="{FF2B5EF4-FFF2-40B4-BE49-F238E27FC236}">
                      <a16:creationId xmlns:a16="http://schemas.microsoft.com/office/drawing/2014/main" id="{E1FF8079-1071-4A4E-A5B9-ED35951EF77A}"/>
                    </a:ext>
                  </a:extLst>
                </p:cNvPr>
                <p:cNvSpPr/>
                <p:nvPr/>
              </p:nvSpPr>
              <p:spPr>
                <a:xfrm>
                  <a:off x="5206208" y="5692896"/>
                  <a:ext cx="18301" cy="18438"/>
                </a:xfrm>
                <a:custGeom>
                  <a:avLst/>
                  <a:gdLst>
                    <a:gd name="connsiteX0" fmla="*/ 688 w 18301"/>
                    <a:gd name="connsiteY0" fmla="*/ 5635 h 18438"/>
                    <a:gd name="connsiteX1" fmla="*/ 5652 w 18301"/>
                    <a:gd name="connsiteY1" fmla="*/ 17716 h 18438"/>
                    <a:gd name="connsiteX2" fmla="*/ 17614 w 18301"/>
                    <a:gd name="connsiteY2" fmla="*/ 12812 h 18438"/>
                    <a:gd name="connsiteX3" fmla="*/ 12649 w 18301"/>
                    <a:gd name="connsiteY3" fmla="*/ 731 h 18438"/>
                    <a:gd name="connsiteX4" fmla="*/ 688 w 18301"/>
                    <a:gd name="connsiteY4" fmla="*/ 5635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8">
                      <a:moveTo>
                        <a:pt x="688" y="5635"/>
                      </a:moveTo>
                      <a:cubicBezTo>
                        <a:pt x="-1225" y="10300"/>
                        <a:pt x="987" y="15742"/>
                        <a:pt x="5652" y="17716"/>
                      </a:cubicBezTo>
                      <a:cubicBezTo>
                        <a:pt x="10317" y="19690"/>
                        <a:pt x="15700" y="17477"/>
                        <a:pt x="17614" y="12812"/>
                      </a:cubicBezTo>
                      <a:cubicBezTo>
                        <a:pt x="19527" y="8147"/>
                        <a:pt x="17315" y="2704"/>
                        <a:pt x="12649" y="731"/>
                      </a:cubicBezTo>
                      <a:cubicBezTo>
                        <a:pt x="7985" y="-1243"/>
                        <a:pt x="2602" y="910"/>
                        <a:pt x="688" y="5635"/>
                      </a:cubicBezTo>
                      <a:close/>
                    </a:path>
                  </a:pathLst>
                </a:custGeom>
                <a:grpFill/>
                <a:ln w="5978" cap="flat">
                  <a:noFill/>
                  <a:prstDash val="solid"/>
                  <a:miter/>
                </a:ln>
              </p:spPr>
              <p:txBody>
                <a:bodyPr rtlCol="0" anchor="ctr"/>
                <a:lstStyle/>
                <a:p>
                  <a:endParaRPr lang="en-GB"/>
                </a:p>
              </p:txBody>
            </p:sp>
          </p:grpSp>
          <p:grpSp>
            <p:nvGrpSpPr>
              <p:cNvPr id="985" name="Graphic 3">
                <a:extLst>
                  <a:ext uri="{FF2B5EF4-FFF2-40B4-BE49-F238E27FC236}">
                    <a16:creationId xmlns:a16="http://schemas.microsoft.com/office/drawing/2014/main" id="{3D02D0C0-0953-4EC4-B639-635AED4AA283}"/>
                  </a:ext>
                </a:extLst>
              </p:cNvPr>
              <p:cNvGrpSpPr/>
              <p:nvPr/>
            </p:nvGrpSpPr>
            <p:grpSpPr>
              <a:xfrm>
                <a:off x="4213323" y="2398720"/>
                <a:ext cx="373939" cy="214244"/>
                <a:chOff x="4213323" y="2398720"/>
                <a:chExt cx="373939" cy="214244"/>
              </a:xfrm>
              <a:grpFill/>
            </p:grpSpPr>
            <p:sp>
              <p:nvSpPr>
                <p:cNvPr id="2444" name="Vrije vorm: vorm 2443">
                  <a:extLst>
                    <a:ext uri="{FF2B5EF4-FFF2-40B4-BE49-F238E27FC236}">
                      <a16:creationId xmlns:a16="http://schemas.microsoft.com/office/drawing/2014/main" id="{214D33CC-D600-4883-885A-94C2BF392AA1}"/>
                    </a:ext>
                  </a:extLst>
                </p:cNvPr>
                <p:cNvSpPr/>
                <p:nvPr/>
              </p:nvSpPr>
              <p:spPr>
                <a:xfrm>
                  <a:off x="4221333" y="2406324"/>
                  <a:ext cx="357886" cy="198978"/>
                </a:xfrm>
                <a:custGeom>
                  <a:avLst/>
                  <a:gdLst>
                    <a:gd name="connsiteX0" fmla="*/ 357887 w 357886"/>
                    <a:gd name="connsiteY0" fmla="*/ 196287 h 198978"/>
                    <a:gd name="connsiteX1" fmla="*/ 356451 w 357886"/>
                    <a:gd name="connsiteY1" fmla="*/ 198979 h 198978"/>
                    <a:gd name="connsiteX2" fmla="*/ 0 w 357886"/>
                    <a:gd name="connsiteY2" fmla="*/ 2691 h 198978"/>
                    <a:gd name="connsiteX3" fmla="*/ 1435 w 357886"/>
                    <a:gd name="connsiteY3" fmla="*/ 0 h 198978"/>
                  </a:gdLst>
                  <a:ahLst/>
                  <a:cxnLst>
                    <a:cxn ang="0">
                      <a:pos x="connsiteX0" y="connsiteY0"/>
                    </a:cxn>
                    <a:cxn ang="0">
                      <a:pos x="connsiteX1" y="connsiteY1"/>
                    </a:cxn>
                    <a:cxn ang="0">
                      <a:pos x="connsiteX2" y="connsiteY2"/>
                    </a:cxn>
                    <a:cxn ang="0">
                      <a:pos x="connsiteX3" y="connsiteY3"/>
                    </a:cxn>
                  </a:cxnLst>
                  <a:rect l="l" t="t" r="r" b="b"/>
                  <a:pathLst>
                    <a:path w="357886" h="198978">
                      <a:moveTo>
                        <a:pt x="357887" y="196287"/>
                      </a:moveTo>
                      <a:lnTo>
                        <a:pt x="356451" y="198979"/>
                      </a:lnTo>
                      <a:lnTo>
                        <a:pt x="0" y="2691"/>
                      </a:lnTo>
                      <a:lnTo>
                        <a:pt x="1435" y="0"/>
                      </a:lnTo>
                      <a:close/>
                    </a:path>
                  </a:pathLst>
                </a:custGeom>
                <a:grpFill/>
                <a:ln w="5978" cap="flat">
                  <a:noFill/>
                  <a:prstDash val="solid"/>
                  <a:miter/>
                </a:ln>
              </p:spPr>
              <p:txBody>
                <a:bodyPr rtlCol="0" anchor="ctr"/>
                <a:lstStyle/>
                <a:p>
                  <a:endParaRPr lang="en-GB"/>
                </a:p>
              </p:txBody>
            </p:sp>
            <p:sp>
              <p:nvSpPr>
                <p:cNvPr id="2445" name="Vrije vorm: vorm 2444">
                  <a:extLst>
                    <a:ext uri="{FF2B5EF4-FFF2-40B4-BE49-F238E27FC236}">
                      <a16:creationId xmlns:a16="http://schemas.microsoft.com/office/drawing/2014/main" id="{E67201E5-157C-4B70-B7AC-3D710B041337}"/>
                    </a:ext>
                  </a:extLst>
                </p:cNvPr>
                <p:cNvSpPr/>
                <p:nvPr/>
              </p:nvSpPr>
              <p:spPr>
                <a:xfrm>
                  <a:off x="4213323" y="2398720"/>
                  <a:ext cx="18351" cy="18423"/>
                </a:xfrm>
                <a:custGeom>
                  <a:avLst/>
                  <a:gdLst>
                    <a:gd name="connsiteX0" fmla="*/ 4780 w 18351"/>
                    <a:gd name="connsiteY0" fmla="*/ 17292 h 18423"/>
                    <a:gd name="connsiteX1" fmla="*/ 1132 w 18351"/>
                    <a:gd name="connsiteY1" fmla="*/ 4792 h 18423"/>
                    <a:gd name="connsiteX2" fmla="*/ 13572 w 18351"/>
                    <a:gd name="connsiteY2" fmla="*/ 1144 h 18423"/>
                    <a:gd name="connsiteX3" fmla="*/ 17220 w 18351"/>
                    <a:gd name="connsiteY3" fmla="*/ 13644 h 18423"/>
                    <a:gd name="connsiteX4" fmla="*/ 4780 w 18351"/>
                    <a:gd name="connsiteY4" fmla="*/ 172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3">
                      <a:moveTo>
                        <a:pt x="4780" y="17292"/>
                      </a:moveTo>
                      <a:cubicBezTo>
                        <a:pt x="355" y="14840"/>
                        <a:pt x="-1320" y="9218"/>
                        <a:pt x="1132" y="4792"/>
                      </a:cubicBezTo>
                      <a:cubicBezTo>
                        <a:pt x="3524" y="307"/>
                        <a:pt x="9086" y="-1308"/>
                        <a:pt x="13572" y="1144"/>
                      </a:cubicBezTo>
                      <a:cubicBezTo>
                        <a:pt x="17997" y="3596"/>
                        <a:pt x="19672" y="9218"/>
                        <a:pt x="17220" y="13644"/>
                      </a:cubicBezTo>
                      <a:cubicBezTo>
                        <a:pt x="14768" y="18070"/>
                        <a:pt x="9206" y="19744"/>
                        <a:pt x="4780" y="17292"/>
                      </a:cubicBezTo>
                      <a:close/>
                    </a:path>
                  </a:pathLst>
                </a:custGeom>
                <a:grpFill/>
                <a:ln w="5978" cap="flat">
                  <a:noFill/>
                  <a:prstDash val="solid"/>
                  <a:miter/>
                </a:ln>
              </p:spPr>
              <p:txBody>
                <a:bodyPr rtlCol="0" anchor="ctr"/>
                <a:lstStyle/>
                <a:p>
                  <a:endParaRPr lang="en-GB"/>
                </a:p>
              </p:txBody>
            </p:sp>
            <p:sp>
              <p:nvSpPr>
                <p:cNvPr id="2446" name="Vrije vorm: vorm 2445">
                  <a:extLst>
                    <a:ext uri="{FF2B5EF4-FFF2-40B4-BE49-F238E27FC236}">
                      <a16:creationId xmlns:a16="http://schemas.microsoft.com/office/drawing/2014/main" id="{4343E128-407C-4A73-BBEE-FB135451077A}"/>
                    </a:ext>
                  </a:extLst>
                </p:cNvPr>
                <p:cNvSpPr/>
                <p:nvPr/>
              </p:nvSpPr>
              <p:spPr>
                <a:xfrm>
                  <a:off x="4568937" y="2594529"/>
                  <a:ext cx="18325" cy="18435"/>
                </a:xfrm>
                <a:custGeom>
                  <a:avLst/>
                  <a:gdLst>
                    <a:gd name="connsiteX0" fmla="*/ 4780 w 18325"/>
                    <a:gd name="connsiteY0" fmla="*/ 17292 h 18435"/>
                    <a:gd name="connsiteX1" fmla="*/ 17220 w 18325"/>
                    <a:gd name="connsiteY1" fmla="*/ 13644 h 18435"/>
                    <a:gd name="connsiteX2" fmla="*/ 13572 w 18325"/>
                    <a:gd name="connsiteY2" fmla="*/ 1144 h 18435"/>
                    <a:gd name="connsiteX3" fmla="*/ 1132 w 18325"/>
                    <a:gd name="connsiteY3" fmla="*/ 4792 h 18435"/>
                    <a:gd name="connsiteX4" fmla="*/ 4780 w 18325"/>
                    <a:gd name="connsiteY4" fmla="*/ 1729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5">
                      <a:moveTo>
                        <a:pt x="4780" y="17292"/>
                      </a:moveTo>
                      <a:cubicBezTo>
                        <a:pt x="9206" y="19744"/>
                        <a:pt x="14768" y="18129"/>
                        <a:pt x="17220" y="13644"/>
                      </a:cubicBezTo>
                      <a:cubicBezTo>
                        <a:pt x="19612" y="9158"/>
                        <a:pt x="17997" y="3596"/>
                        <a:pt x="13572" y="1144"/>
                      </a:cubicBezTo>
                      <a:cubicBezTo>
                        <a:pt x="9146" y="-1308"/>
                        <a:pt x="3584" y="307"/>
                        <a:pt x="1132" y="4792"/>
                      </a:cubicBezTo>
                      <a:cubicBezTo>
                        <a:pt x="-1320" y="9218"/>
                        <a:pt x="354" y="14840"/>
                        <a:pt x="4780" y="17292"/>
                      </a:cubicBezTo>
                      <a:close/>
                    </a:path>
                  </a:pathLst>
                </a:custGeom>
                <a:grpFill/>
                <a:ln w="5978" cap="flat">
                  <a:noFill/>
                  <a:prstDash val="solid"/>
                  <a:miter/>
                </a:ln>
              </p:spPr>
              <p:txBody>
                <a:bodyPr rtlCol="0" anchor="ctr"/>
                <a:lstStyle/>
                <a:p>
                  <a:endParaRPr lang="en-GB"/>
                </a:p>
              </p:txBody>
            </p:sp>
          </p:grpSp>
          <p:grpSp>
            <p:nvGrpSpPr>
              <p:cNvPr id="986" name="Graphic 3">
                <a:extLst>
                  <a:ext uri="{FF2B5EF4-FFF2-40B4-BE49-F238E27FC236}">
                    <a16:creationId xmlns:a16="http://schemas.microsoft.com/office/drawing/2014/main" id="{3DAA7C9F-6458-43F4-8CF9-5905FEAB8D08}"/>
                  </a:ext>
                </a:extLst>
              </p:cNvPr>
              <p:cNvGrpSpPr/>
              <p:nvPr/>
            </p:nvGrpSpPr>
            <p:grpSpPr>
              <a:xfrm>
                <a:off x="4346387" y="2554503"/>
                <a:ext cx="172668" cy="128477"/>
                <a:chOff x="4346387" y="2554503"/>
                <a:chExt cx="172668" cy="128477"/>
              </a:xfrm>
              <a:grpFill/>
            </p:grpSpPr>
            <p:sp>
              <p:nvSpPr>
                <p:cNvPr id="2441" name="Vrije vorm: vorm 2440">
                  <a:extLst>
                    <a:ext uri="{FF2B5EF4-FFF2-40B4-BE49-F238E27FC236}">
                      <a16:creationId xmlns:a16="http://schemas.microsoft.com/office/drawing/2014/main" id="{4A0A9438-74DF-44B8-AFC3-89A598C781EB}"/>
                    </a:ext>
                  </a:extLst>
                </p:cNvPr>
                <p:cNvSpPr/>
                <p:nvPr/>
              </p:nvSpPr>
              <p:spPr>
                <a:xfrm>
                  <a:off x="4354344" y="2562181"/>
                  <a:ext cx="156754" cy="113095"/>
                </a:xfrm>
                <a:custGeom>
                  <a:avLst/>
                  <a:gdLst>
                    <a:gd name="connsiteX0" fmla="*/ 156755 w 156754"/>
                    <a:gd name="connsiteY0" fmla="*/ 110583 h 113095"/>
                    <a:gd name="connsiteX1" fmla="*/ 155021 w 156754"/>
                    <a:gd name="connsiteY1" fmla="*/ 113095 h 113095"/>
                    <a:gd name="connsiteX2" fmla="*/ 0 w 156754"/>
                    <a:gd name="connsiteY2" fmla="*/ 2512 h 113095"/>
                    <a:gd name="connsiteX3" fmla="*/ 1735 w 156754"/>
                    <a:gd name="connsiteY3" fmla="*/ 0 h 113095"/>
                  </a:gdLst>
                  <a:ahLst/>
                  <a:cxnLst>
                    <a:cxn ang="0">
                      <a:pos x="connsiteX0" y="connsiteY0"/>
                    </a:cxn>
                    <a:cxn ang="0">
                      <a:pos x="connsiteX1" y="connsiteY1"/>
                    </a:cxn>
                    <a:cxn ang="0">
                      <a:pos x="connsiteX2" y="connsiteY2"/>
                    </a:cxn>
                    <a:cxn ang="0">
                      <a:pos x="connsiteX3" y="connsiteY3"/>
                    </a:cxn>
                  </a:cxnLst>
                  <a:rect l="l" t="t" r="r" b="b"/>
                  <a:pathLst>
                    <a:path w="156754" h="113095">
                      <a:moveTo>
                        <a:pt x="156755" y="110583"/>
                      </a:moveTo>
                      <a:lnTo>
                        <a:pt x="155021" y="113095"/>
                      </a:lnTo>
                      <a:lnTo>
                        <a:pt x="0" y="2512"/>
                      </a:lnTo>
                      <a:lnTo>
                        <a:pt x="1735" y="0"/>
                      </a:lnTo>
                      <a:close/>
                    </a:path>
                  </a:pathLst>
                </a:custGeom>
                <a:grpFill/>
                <a:ln w="5978" cap="flat">
                  <a:noFill/>
                  <a:prstDash val="solid"/>
                  <a:miter/>
                </a:ln>
              </p:spPr>
              <p:txBody>
                <a:bodyPr rtlCol="0" anchor="ctr"/>
                <a:lstStyle/>
                <a:p>
                  <a:endParaRPr lang="en-GB"/>
                </a:p>
              </p:txBody>
            </p:sp>
            <p:sp>
              <p:nvSpPr>
                <p:cNvPr id="2442" name="Vrije vorm: vorm 2441">
                  <a:extLst>
                    <a:ext uri="{FF2B5EF4-FFF2-40B4-BE49-F238E27FC236}">
                      <a16:creationId xmlns:a16="http://schemas.microsoft.com/office/drawing/2014/main" id="{FB325765-BDFC-4848-87BE-35CE9279B405}"/>
                    </a:ext>
                  </a:extLst>
                </p:cNvPr>
                <p:cNvSpPr/>
                <p:nvPr/>
              </p:nvSpPr>
              <p:spPr>
                <a:xfrm>
                  <a:off x="4500689" y="2664548"/>
                  <a:ext cx="18366" cy="18432"/>
                </a:xfrm>
                <a:custGeom>
                  <a:avLst/>
                  <a:gdLst>
                    <a:gd name="connsiteX0" fmla="*/ 14476 w 18366"/>
                    <a:gd name="connsiteY0" fmla="*/ 1697 h 18432"/>
                    <a:gd name="connsiteX1" fmla="*/ 16689 w 18366"/>
                    <a:gd name="connsiteY1" fmla="*/ 14556 h 18432"/>
                    <a:gd name="connsiteX2" fmla="*/ 3890 w 18366"/>
                    <a:gd name="connsiteY2" fmla="*/ 16709 h 18432"/>
                    <a:gd name="connsiteX3" fmla="*/ 1677 w 18366"/>
                    <a:gd name="connsiteY3" fmla="*/ 3850 h 18432"/>
                    <a:gd name="connsiteX4" fmla="*/ 14476 w 18366"/>
                    <a:gd name="connsiteY4" fmla="*/ 169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32">
                      <a:moveTo>
                        <a:pt x="14476" y="1697"/>
                      </a:moveTo>
                      <a:cubicBezTo>
                        <a:pt x="18603" y="4628"/>
                        <a:pt x="19620" y="10429"/>
                        <a:pt x="16689" y="14556"/>
                      </a:cubicBezTo>
                      <a:cubicBezTo>
                        <a:pt x="13759" y="18683"/>
                        <a:pt x="8077" y="19700"/>
                        <a:pt x="3890" y="16709"/>
                      </a:cubicBezTo>
                      <a:cubicBezTo>
                        <a:pt x="-237" y="13778"/>
                        <a:pt x="-1253" y="7977"/>
                        <a:pt x="1677" y="3850"/>
                      </a:cubicBezTo>
                      <a:cubicBezTo>
                        <a:pt x="4608" y="-276"/>
                        <a:pt x="10290" y="-1233"/>
                        <a:pt x="14476" y="1697"/>
                      </a:cubicBezTo>
                      <a:close/>
                    </a:path>
                  </a:pathLst>
                </a:custGeom>
                <a:grpFill/>
                <a:ln w="5978" cap="flat">
                  <a:noFill/>
                  <a:prstDash val="solid"/>
                  <a:miter/>
                </a:ln>
              </p:spPr>
              <p:txBody>
                <a:bodyPr rtlCol="0" anchor="ctr"/>
                <a:lstStyle/>
                <a:p>
                  <a:endParaRPr lang="en-GB"/>
                </a:p>
              </p:txBody>
            </p:sp>
            <p:sp>
              <p:nvSpPr>
                <p:cNvPr id="2443" name="Vrije vorm: vorm 2442">
                  <a:extLst>
                    <a:ext uri="{FF2B5EF4-FFF2-40B4-BE49-F238E27FC236}">
                      <a16:creationId xmlns:a16="http://schemas.microsoft.com/office/drawing/2014/main" id="{FBCAB2CB-DC11-4C0B-B0C0-84D7F201FAEA}"/>
                    </a:ext>
                  </a:extLst>
                </p:cNvPr>
                <p:cNvSpPr/>
                <p:nvPr/>
              </p:nvSpPr>
              <p:spPr>
                <a:xfrm>
                  <a:off x="4346387" y="2554503"/>
                  <a:ext cx="18366" cy="18406"/>
                </a:xfrm>
                <a:custGeom>
                  <a:avLst/>
                  <a:gdLst>
                    <a:gd name="connsiteX0" fmla="*/ 14476 w 18366"/>
                    <a:gd name="connsiteY0" fmla="*/ 1698 h 18406"/>
                    <a:gd name="connsiteX1" fmla="*/ 1677 w 18366"/>
                    <a:gd name="connsiteY1" fmla="*/ 3851 h 18406"/>
                    <a:gd name="connsiteX2" fmla="*/ 3890 w 18366"/>
                    <a:gd name="connsiteY2" fmla="*/ 16709 h 18406"/>
                    <a:gd name="connsiteX3" fmla="*/ 16689 w 18366"/>
                    <a:gd name="connsiteY3" fmla="*/ 14556 h 18406"/>
                    <a:gd name="connsiteX4" fmla="*/ 14476 w 18366"/>
                    <a:gd name="connsiteY4" fmla="*/ 1698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4476" y="1698"/>
                      </a:moveTo>
                      <a:cubicBezTo>
                        <a:pt x="10349" y="-1233"/>
                        <a:pt x="4608" y="-276"/>
                        <a:pt x="1677" y="3851"/>
                      </a:cubicBezTo>
                      <a:cubicBezTo>
                        <a:pt x="-1253" y="7977"/>
                        <a:pt x="-237" y="13719"/>
                        <a:pt x="3890" y="16709"/>
                      </a:cubicBezTo>
                      <a:cubicBezTo>
                        <a:pt x="8017" y="19640"/>
                        <a:pt x="13759" y="18683"/>
                        <a:pt x="16689" y="14556"/>
                      </a:cubicBezTo>
                      <a:cubicBezTo>
                        <a:pt x="19620" y="10429"/>
                        <a:pt x="18603" y="4688"/>
                        <a:pt x="14476" y="1698"/>
                      </a:cubicBezTo>
                      <a:close/>
                    </a:path>
                  </a:pathLst>
                </a:custGeom>
                <a:grpFill/>
                <a:ln w="5978" cap="flat">
                  <a:noFill/>
                  <a:prstDash val="solid"/>
                  <a:miter/>
                </a:ln>
              </p:spPr>
              <p:txBody>
                <a:bodyPr rtlCol="0" anchor="ctr"/>
                <a:lstStyle/>
                <a:p>
                  <a:endParaRPr lang="en-GB"/>
                </a:p>
              </p:txBody>
            </p:sp>
          </p:grpSp>
          <p:grpSp>
            <p:nvGrpSpPr>
              <p:cNvPr id="987" name="Graphic 3">
                <a:extLst>
                  <a:ext uri="{FF2B5EF4-FFF2-40B4-BE49-F238E27FC236}">
                    <a16:creationId xmlns:a16="http://schemas.microsoft.com/office/drawing/2014/main" id="{2EFDF936-2C5A-4601-8379-13162F08753D}"/>
                  </a:ext>
                </a:extLst>
              </p:cNvPr>
              <p:cNvGrpSpPr/>
              <p:nvPr/>
            </p:nvGrpSpPr>
            <p:grpSpPr>
              <a:xfrm>
                <a:off x="5169868" y="4858537"/>
                <a:ext cx="63602" cy="97550"/>
                <a:chOff x="5169868" y="4858537"/>
                <a:chExt cx="63602" cy="97550"/>
              </a:xfrm>
              <a:grpFill/>
            </p:grpSpPr>
            <p:sp>
              <p:nvSpPr>
                <p:cNvPr id="2438" name="Vrije vorm: vorm 2437">
                  <a:extLst>
                    <a:ext uri="{FF2B5EF4-FFF2-40B4-BE49-F238E27FC236}">
                      <a16:creationId xmlns:a16="http://schemas.microsoft.com/office/drawing/2014/main" id="{BE4B298D-B29E-46C3-9F4D-A913D13CDAB5}"/>
                    </a:ext>
                  </a:extLst>
                </p:cNvPr>
                <p:cNvSpPr/>
                <p:nvPr/>
              </p:nvSpPr>
              <p:spPr>
                <a:xfrm>
                  <a:off x="5177471" y="4866613"/>
                  <a:ext cx="48384" cy="81457"/>
                </a:xfrm>
                <a:custGeom>
                  <a:avLst/>
                  <a:gdLst>
                    <a:gd name="connsiteX0" fmla="*/ 48384 w 48384"/>
                    <a:gd name="connsiteY0" fmla="*/ 1555 h 81457"/>
                    <a:gd name="connsiteX1" fmla="*/ 2632 w 48384"/>
                    <a:gd name="connsiteY1" fmla="*/ 81457 h 81457"/>
                    <a:gd name="connsiteX2" fmla="*/ 0 w 48384"/>
                    <a:gd name="connsiteY2" fmla="*/ 79902 h 81457"/>
                    <a:gd name="connsiteX3" fmla="*/ 45753 w 48384"/>
                    <a:gd name="connsiteY3" fmla="*/ 0 h 81457"/>
                  </a:gdLst>
                  <a:ahLst/>
                  <a:cxnLst>
                    <a:cxn ang="0">
                      <a:pos x="connsiteX0" y="connsiteY0"/>
                    </a:cxn>
                    <a:cxn ang="0">
                      <a:pos x="connsiteX1" y="connsiteY1"/>
                    </a:cxn>
                    <a:cxn ang="0">
                      <a:pos x="connsiteX2" y="connsiteY2"/>
                    </a:cxn>
                    <a:cxn ang="0">
                      <a:pos x="connsiteX3" y="connsiteY3"/>
                    </a:cxn>
                  </a:cxnLst>
                  <a:rect l="l" t="t" r="r" b="b"/>
                  <a:pathLst>
                    <a:path w="48384" h="81457">
                      <a:moveTo>
                        <a:pt x="48384" y="1555"/>
                      </a:moveTo>
                      <a:lnTo>
                        <a:pt x="2632" y="81457"/>
                      </a:lnTo>
                      <a:lnTo>
                        <a:pt x="0" y="79902"/>
                      </a:lnTo>
                      <a:lnTo>
                        <a:pt x="45753" y="0"/>
                      </a:lnTo>
                      <a:close/>
                    </a:path>
                  </a:pathLst>
                </a:custGeom>
                <a:grpFill/>
                <a:ln w="5978" cap="flat">
                  <a:noFill/>
                  <a:prstDash val="solid"/>
                  <a:miter/>
                </a:ln>
              </p:spPr>
              <p:txBody>
                <a:bodyPr rtlCol="0" anchor="ctr"/>
                <a:lstStyle/>
                <a:p>
                  <a:endParaRPr lang="en-GB"/>
                </a:p>
              </p:txBody>
            </p:sp>
            <p:sp>
              <p:nvSpPr>
                <p:cNvPr id="2439" name="Vrije vorm: vorm 2438">
                  <a:extLst>
                    <a:ext uri="{FF2B5EF4-FFF2-40B4-BE49-F238E27FC236}">
                      <a16:creationId xmlns:a16="http://schemas.microsoft.com/office/drawing/2014/main" id="{11BA522F-02CC-4628-AA18-E7383A503C1C}"/>
                    </a:ext>
                  </a:extLst>
                </p:cNvPr>
                <p:cNvSpPr/>
                <p:nvPr/>
              </p:nvSpPr>
              <p:spPr>
                <a:xfrm>
                  <a:off x="5169868" y="4937602"/>
                  <a:ext cx="18315" cy="18485"/>
                </a:xfrm>
                <a:custGeom>
                  <a:avLst/>
                  <a:gdLst>
                    <a:gd name="connsiteX0" fmla="*/ 17112 w 18315"/>
                    <a:gd name="connsiteY0" fmla="*/ 13878 h 18485"/>
                    <a:gd name="connsiteX1" fmla="*/ 4612 w 18315"/>
                    <a:gd name="connsiteY1" fmla="*/ 17227 h 18485"/>
                    <a:gd name="connsiteX2" fmla="*/ 1203 w 18315"/>
                    <a:gd name="connsiteY2" fmla="*/ 4608 h 18485"/>
                    <a:gd name="connsiteX3" fmla="*/ 13703 w 18315"/>
                    <a:gd name="connsiteY3" fmla="*/ 1258 h 18485"/>
                    <a:gd name="connsiteX4" fmla="*/ 17112 w 18315"/>
                    <a:gd name="connsiteY4" fmla="*/ 13878 h 18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85">
                      <a:moveTo>
                        <a:pt x="17112" y="13878"/>
                      </a:moveTo>
                      <a:cubicBezTo>
                        <a:pt x="14600" y="18303"/>
                        <a:pt x="8978" y="19799"/>
                        <a:pt x="4612" y="17227"/>
                      </a:cubicBezTo>
                      <a:cubicBezTo>
                        <a:pt x="247" y="14655"/>
                        <a:pt x="-1308" y="9033"/>
                        <a:pt x="1203" y="4608"/>
                      </a:cubicBezTo>
                      <a:cubicBezTo>
                        <a:pt x="3716" y="182"/>
                        <a:pt x="9338" y="-1314"/>
                        <a:pt x="13703" y="1258"/>
                      </a:cubicBezTo>
                      <a:cubicBezTo>
                        <a:pt x="18069" y="3830"/>
                        <a:pt x="19624" y="9512"/>
                        <a:pt x="17112" y="13878"/>
                      </a:cubicBezTo>
                      <a:close/>
                    </a:path>
                  </a:pathLst>
                </a:custGeom>
                <a:grpFill/>
                <a:ln w="5978" cap="flat">
                  <a:noFill/>
                  <a:prstDash val="solid"/>
                  <a:miter/>
                </a:ln>
              </p:spPr>
              <p:txBody>
                <a:bodyPr rtlCol="0" anchor="ctr"/>
                <a:lstStyle/>
                <a:p>
                  <a:endParaRPr lang="en-GB"/>
                </a:p>
              </p:txBody>
            </p:sp>
            <p:sp>
              <p:nvSpPr>
                <p:cNvPr id="2440" name="Vrije vorm: vorm 2439">
                  <a:extLst>
                    <a:ext uri="{FF2B5EF4-FFF2-40B4-BE49-F238E27FC236}">
                      <a16:creationId xmlns:a16="http://schemas.microsoft.com/office/drawing/2014/main" id="{3F7C1778-0E29-4FF8-800B-D2D382864AE6}"/>
                    </a:ext>
                  </a:extLst>
                </p:cNvPr>
                <p:cNvSpPr/>
                <p:nvPr/>
              </p:nvSpPr>
              <p:spPr>
                <a:xfrm>
                  <a:off x="5215129" y="4858537"/>
                  <a:ext cx="18341" cy="18454"/>
                </a:xfrm>
                <a:custGeom>
                  <a:avLst/>
                  <a:gdLst>
                    <a:gd name="connsiteX0" fmla="*/ 17125 w 18341"/>
                    <a:gd name="connsiteY0" fmla="*/ 13877 h 18454"/>
                    <a:gd name="connsiteX1" fmla="*/ 13716 w 18341"/>
                    <a:gd name="connsiteY1" fmla="*/ 1258 h 18454"/>
                    <a:gd name="connsiteX2" fmla="*/ 1216 w 18341"/>
                    <a:gd name="connsiteY2" fmla="*/ 4607 h 18454"/>
                    <a:gd name="connsiteX3" fmla="*/ 4625 w 18341"/>
                    <a:gd name="connsiteY3" fmla="*/ 17167 h 18454"/>
                    <a:gd name="connsiteX4" fmla="*/ 17125 w 18341"/>
                    <a:gd name="connsiteY4" fmla="*/ 1387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4">
                      <a:moveTo>
                        <a:pt x="17125" y="13877"/>
                      </a:moveTo>
                      <a:cubicBezTo>
                        <a:pt x="19637" y="9452"/>
                        <a:pt x="18142" y="3830"/>
                        <a:pt x="13716" y="1258"/>
                      </a:cubicBezTo>
                      <a:cubicBezTo>
                        <a:pt x="9350" y="-1313"/>
                        <a:pt x="3728" y="182"/>
                        <a:pt x="1216" y="4607"/>
                      </a:cubicBezTo>
                      <a:cubicBezTo>
                        <a:pt x="-1295" y="9033"/>
                        <a:pt x="200" y="14655"/>
                        <a:pt x="4625" y="17167"/>
                      </a:cubicBezTo>
                      <a:cubicBezTo>
                        <a:pt x="8991" y="19799"/>
                        <a:pt x="14613" y="18244"/>
                        <a:pt x="17125" y="13877"/>
                      </a:cubicBezTo>
                      <a:close/>
                    </a:path>
                  </a:pathLst>
                </a:custGeom>
                <a:grpFill/>
                <a:ln w="5978" cap="flat">
                  <a:noFill/>
                  <a:prstDash val="solid"/>
                  <a:miter/>
                </a:ln>
              </p:spPr>
              <p:txBody>
                <a:bodyPr rtlCol="0" anchor="ctr"/>
                <a:lstStyle/>
                <a:p>
                  <a:endParaRPr lang="en-GB"/>
                </a:p>
              </p:txBody>
            </p:sp>
          </p:grpSp>
          <p:grpSp>
            <p:nvGrpSpPr>
              <p:cNvPr id="988" name="Graphic 3">
                <a:extLst>
                  <a:ext uri="{FF2B5EF4-FFF2-40B4-BE49-F238E27FC236}">
                    <a16:creationId xmlns:a16="http://schemas.microsoft.com/office/drawing/2014/main" id="{969B2324-B3E8-4FDC-9F21-BED7DBEE8E97}"/>
                  </a:ext>
                </a:extLst>
              </p:cNvPr>
              <p:cNvGrpSpPr/>
              <p:nvPr/>
            </p:nvGrpSpPr>
            <p:grpSpPr>
              <a:xfrm>
                <a:off x="5296038" y="5199855"/>
                <a:ext cx="32501" cy="52877"/>
                <a:chOff x="5296038" y="5199855"/>
                <a:chExt cx="32501" cy="52877"/>
              </a:xfrm>
              <a:grpFill/>
            </p:grpSpPr>
            <p:sp>
              <p:nvSpPr>
                <p:cNvPr id="2435" name="Vrije vorm: vorm 2434">
                  <a:extLst>
                    <a:ext uri="{FF2B5EF4-FFF2-40B4-BE49-F238E27FC236}">
                      <a16:creationId xmlns:a16="http://schemas.microsoft.com/office/drawing/2014/main" id="{1B860BED-9355-4472-BAA2-2E7B4295844B}"/>
                    </a:ext>
                  </a:extLst>
                </p:cNvPr>
                <p:cNvSpPr/>
                <p:nvPr/>
              </p:nvSpPr>
              <p:spPr>
                <a:xfrm>
                  <a:off x="5303664" y="5208112"/>
                  <a:ext cx="17284" cy="36422"/>
                </a:xfrm>
                <a:custGeom>
                  <a:avLst/>
                  <a:gdLst>
                    <a:gd name="connsiteX0" fmla="*/ 17284 w 17284"/>
                    <a:gd name="connsiteY0" fmla="*/ 1136 h 36422"/>
                    <a:gd name="connsiteX1" fmla="*/ 2811 w 17284"/>
                    <a:gd name="connsiteY1" fmla="*/ 36423 h 36422"/>
                    <a:gd name="connsiteX2" fmla="*/ 0 w 17284"/>
                    <a:gd name="connsiteY2" fmla="*/ 35227 h 36422"/>
                    <a:gd name="connsiteX3" fmla="*/ 14473 w 17284"/>
                    <a:gd name="connsiteY3" fmla="*/ 0 h 36422"/>
                  </a:gdLst>
                  <a:ahLst/>
                  <a:cxnLst>
                    <a:cxn ang="0">
                      <a:pos x="connsiteX0" y="connsiteY0"/>
                    </a:cxn>
                    <a:cxn ang="0">
                      <a:pos x="connsiteX1" y="connsiteY1"/>
                    </a:cxn>
                    <a:cxn ang="0">
                      <a:pos x="connsiteX2" y="connsiteY2"/>
                    </a:cxn>
                    <a:cxn ang="0">
                      <a:pos x="connsiteX3" y="connsiteY3"/>
                    </a:cxn>
                  </a:cxnLst>
                  <a:rect l="l" t="t" r="r" b="b"/>
                  <a:pathLst>
                    <a:path w="17284" h="36422">
                      <a:moveTo>
                        <a:pt x="17284" y="1136"/>
                      </a:moveTo>
                      <a:lnTo>
                        <a:pt x="2811" y="36423"/>
                      </a:lnTo>
                      <a:lnTo>
                        <a:pt x="0" y="35227"/>
                      </a:lnTo>
                      <a:lnTo>
                        <a:pt x="14473" y="0"/>
                      </a:lnTo>
                      <a:close/>
                    </a:path>
                  </a:pathLst>
                </a:custGeom>
                <a:grpFill/>
                <a:ln w="5978" cap="flat">
                  <a:noFill/>
                  <a:prstDash val="solid"/>
                  <a:miter/>
                </a:ln>
              </p:spPr>
              <p:txBody>
                <a:bodyPr rtlCol="0" anchor="ctr"/>
                <a:lstStyle/>
                <a:p>
                  <a:endParaRPr lang="en-GB"/>
                </a:p>
              </p:txBody>
            </p:sp>
            <p:sp>
              <p:nvSpPr>
                <p:cNvPr id="2436" name="Vrije vorm: vorm 2435">
                  <a:extLst>
                    <a:ext uri="{FF2B5EF4-FFF2-40B4-BE49-F238E27FC236}">
                      <a16:creationId xmlns:a16="http://schemas.microsoft.com/office/drawing/2014/main" id="{21425E3B-2906-4791-B523-410682DEBB47}"/>
                    </a:ext>
                  </a:extLst>
                </p:cNvPr>
                <p:cNvSpPr/>
                <p:nvPr/>
              </p:nvSpPr>
              <p:spPr>
                <a:xfrm>
                  <a:off x="5310187" y="5199855"/>
                  <a:ext cx="18352" cy="18428"/>
                </a:xfrm>
                <a:custGeom>
                  <a:avLst/>
                  <a:gdLst>
                    <a:gd name="connsiteX0" fmla="*/ 713 w 18352"/>
                    <a:gd name="connsiteY0" fmla="*/ 5685 h 18428"/>
                    <a:gd name="connsiteX1" fmla="*/ 12675 w 18352"/>
                    <a:gd name="connsiteY1" fmla="*/ 721 h 18428"/>
                    <a:gd name="connsiteX2" fmla="*/ 17639 w 18352"/>
                    <a:gd name="connsiteY2" fmla="*/ 12743 h 18428"/>
                    <a:gd name="connsiteX3" fmla="*/ 5677 w 18352"/>
                    <a:gd name="connsiteY3" fmla="*/ 17707 h 18428"/>
                    <a:gd name="connsiteX4" fmla="*/ 713 w 18352"/>
                    <a:gd name="connsiteY4" fmla="*/ 568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28">
                      <a:moveTo>
                        <a:pt x="713" y="5685"/>
                      </a:moveTo>
                      <a:cubicBezTo>
                        <a:pt x="2627" y="961"/>
                        <a:pt x="8010" y="-1252"/>
                        <a:pt x="12675" y="721"/>
                      </a:cubicBezTo>
                      <a:cubicBezTo>
                        <a:pt x="17340" y="2695"/>
                        <a:pt x="19613" y="8078"/>
                        <a:pt x="17639" y="12743"/>
                      </a:cubicBezTo>
                      <a:cubicBezTo>
                        <a:pt x="15725" y="17468"/>
                        <a:pt x="10342" y="19680"/>
                        <a:pt x="5677" y="17707"/>
                      </a:cubicBezTo>
                      <a:cubicBezTo>
                        <a:pt x="1012" y="15793"/>
                        <a:pt x="-1260" y="10410"/>
                        <a:pt x="713" y="5685"/>
                      </a:cubicBezTo>
                      <a:close/>
                    </a:path>
                  </a:pathLst>
                </a:custGeom>
                <a:grpFill/>
                <a:ln w="5978" cap="flat">
                  <a:noFill/>
                  <a:prstDash val="solid"/>
                  <a:miter/>
                </a:ln>
              </p:spPr>
              <p:txBody>
                <a:bodyPr rtlCol="0" anchor="ctr"/>
                <a:lstStyle/>
                <a:p>
                  <a:endParaRPr lang="en-GB"/>
                </a:p>
              </p:txBody>
            </p:sp>
            <p:sp>
              <p:nvSpPr>
                <p:cNvPr id="2437" name="Vrije vorm: vorm 2436">
                  <a:extLst>
                    <a:ext uri="{FF2B5EF4-FFF2-40B4-BE49-F238E27FC236}">
                      <a16:creationId xmlns:a16="http://schemas.microsoft.com/office/drawing/2014/main" id="{DB945862-AE05-40D7-A6DC-84B8A969B549}"/>
                    </a:ext>
                  </a:extLst>
                </p:cNvPr>
                <p:cNvSpPr/>
                <p:nvPr/>
              </p:nvSpPr>
              <p:spPr>
                <a:xfrm>
                  <a:off x="5296038" y="5234304"/>
                  <a:ext cx="18301" cy="18428"/>
                </a:xfrm>
                <a:custGeom>
                  <a:avLst/>
                  <a:gdLst>
                    <a:gd name="connsiteX0" fmla="*/ 688 w 18301"/>
                    <a:gd name="connsiteY0" fmla="*/ 5685 h 18428"/>
                    <a:gd name="connsiteX1" fmla="*/ 5652 w 18301"/>
                    <a:gd name="connsiteY1" fmla="*/ 17707 h 18428"/>
                    <a:gd name="connsiteX2" fmla="*/ 17614 w 18301"/>
                    <a:gd name="connsiteY2" fmla="*/ 12743 h 18428"/>
                    <a:gd name="connsiteX3" fmla="*/ 12650 w 18301"/>
                    <a:gd name="connsiteY3" fmla="*/ 721 h 18428"/>
                    <a:gd name="connsiteX4" fmla="*/ 688 w 18301"/>
                    <a:gd name="connsiteY4" fmla="*/ 568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8">
                      <a:moveTo>
                        <a:pt x="688" y="5685"/>
                      </a:moveTo>
                      <a:cubicBezTo>
                        <a:pt x="-1226" y="10410"/>
                        <a:pt x="987" y="15793"/>
                        <a:pt x="5652" y="17707"/>
                      </a:cubicBezTo>
                      <a:cubicBezTo>
                        <a:pt x="10317" y="19680"/>
                        <a:pt x="15700" y="17467"/>
                        <a:pt x="17614" y="12743"/>
                      </a:cubicBezTo>
                      <a:cubicBezTo>
                        <a:pt x="19528" y="8018"/>
                        <a:pt x="17315" y="2635"/>
                        <a:pt x="12650" y="721"/>
                      </a:cubicBezTo>
                      <a:cubicBezTo>
                        <a:pt x="7985" y="-1252"/>
                        <a:pt x="2662" y="961"/>
                        <a:pt x="688" y="5685"/>
                      </a:cubicBezTo>
                      <a:close/>
                    </a:path>
                  </a:pathLst>
                </a:custGeom>
                <a:grpFill/>
                <a:ln w="5978" cap="flat">
                  <a:noFill/>
                  <a:prstDash val="solid"/>
                  <a:miter/>
                </a:ln>
              </p:spPr>
              <p:txBody>
                <a:bodyPr rtlCol="0" anchor="ctr"/>
                <a:lstStyle/>
                <a:p>
                  <a:endParaRPr lang="en-GB"/>
                </a:p>
              </p:txBody>
            </p:sp>
          </p:grpSp>
          <p:grpSp>
            <p:nvGrpSpPr>
              <p:cNvPr id="989" name="Graphic 3">
                <a:extLst>
                  <a:ext uri="{FF2B5EF4-FFF2-40B4-BE49-F238E27FC236}">
                    <a16:creationId xmlns:a16="http://schemas.microsoft.com/office/drawing/2014/main" id="{4473A484-5B9E-48E4-9194-5F1725A75264}"/>
                  </a:ext>
                </a:extLst>
              </p:cNvPr>
              <p:cNvGrpSpPr/>
              <p:nvPr/>
            </p:nvGrpSpPr>
            <p:grpSpPr>
              <a:xfrm>
                <a:off x="5157958" y="4960902"/>
                <a:ext cx="233756" cy="419269"/>
                <a:chOff x="5157958" y="4960902"/>
                <a:chExt cx="233756" cy="419269"/>
              </a:xfrm>
              <a:grpFill/>
            </p:grpSpPr>
            <p:sp>
              <p:nvSpPr>
                <p:cNvPr id="2432" name="Vrije vorm: vorm 2431">
                  <a:extLst>
                    <a:ext uri="{FF2B5EF4-FFF2-40B4-BE49-F238E27FC236}">
                      <a16:creationId xmlns:a16="http://schemas.microsoft.com/office/drawing/2014/main" id="{8EA9ABE5-9F12-4885-90BD-84215C534E8B}"/>
                    </a:ext>
                  </a:extLst>
                </p:cNvPr>
                <p:cNvSpPr/>
                <p:nvPr/>
              </p:nvSpPr>
              <p:spPr>
                <a:xfrm>
                  <a:off x="5165569" y="4968943"/>
                  <a:ext cx="218535" cy="403160"/>
                </a:xfrm>
                <a:custGeom>
                  <a:avLst/>
                  <a:gdLst>
                    <a:gd name="connsiteX0" fmla="*/ 218535 w 218535"/>
                    <a:gd name="connsiteY0" fmla="*/ 1495 h 403160"/>
                    <a:gd name="connsiteX1" fmla="*/ 2691 w 218535"/>
                    <a:gd name="connsiteY1" fmla="*/ 403161 h 403160"/>
                    <a:gd name="connsiteX2" fmla="*/ 0 w 218535"/>
                    <a:gd name="connsiteY2" fmla="*/ 401725 h 403160"/>
                    <a:gd name="connsiteX3" fmla="*/ 215844 w 218535"/>
                    <a:gd name="connsiteY3" fmla="*/ 0 h 403160"/>
                  </a:gdLst>
                  <a:ahLst/>
                  <a:cxnLst>
                    <a:cxn ang="0">
                      <a:pos x="connsiteX0" y="connsiteY0"/>
                    </a:cxn>
                    <a:cxn ang="0">
                      <a:pos x="connsiteX1" y="connsiteY1"/>
                    </a:cxn>
                    <a:cxn ang="0">
                      <a:pos x="connsiteX2" y="connsiteY2"/>
                    </a:cxn>
                    <a:cxn ang="0">
                      <a:pos x="connsiteX3" y="connsiteY3"/>
                    </a:cxn>
                  </a:cxnLst>
                  <a:rect l="l" t="t" r="r" b="b"/>
                  <a:pathLst>
                    <a:path w="218535" h="403160">
                      <a:moveTo>
                        <a:pt x="218535" y="1495"/>
                      </a:moveTo>
                      <a:lnTo>
                        <a:pt x="2691" y="403161"/>
                      </a:lnTo>
                      <a:lnTo>
                        <a:pt x="0" y="401725"/>
                      </a:lnTo>
                      <a:lnTo>
                        <a:pt x="215844" y="0"/>
                      </a:lnTo>
                      <a:close/>
                    </a:path>
                  </a:pathLst>
                </a:custGeom>
                <a:grpFill/>
                <a:ln w="5978" cap="flat">
                  <a:noFill/>
                  <a:prstDash val="solid"/>
                  <a:miter/>
                </a:ln>
              </p:spPr>
              <p:txBody>
                <a:bodyPr rtlCol="0" anchor="ctr"/>
                <a:lstStyle/>
                <a:p>
                  <a:endParaRPr lang="en-GB"/>
                </a:p>
              </p:txBody>
            </p:sp>
            <p:sp>
              <p:nvSpPr>
                <p:cNvPr id="2433" name="Vrije vorm: vorm 2432">
                  <a:extLst>
                    <a:ext uri="{FF2B5EF4-FFF2-40B4-BE49-F238E27FC236}">
                      <a16:creationId xmlns:a16="http://schemas.microsoft.com/office/drawing/2014/main" id="{DAD9A9CF-EF83-4E2E-B074-2F1477B047C9}"/>
                    </a:ext>
                  </a:extLst>
                </p:cNvPr>
                <p:cNvSpPr/>
                <p:nvPr/>
              </p:nvSpPr>
              <p:spPr>
                <a:xfrm>
                  <a:off x="5373384" y="4960902"/>
                  <a:ext cx="18331" cy="18414"/>
                </a:xfrm>
                <a:custGeom>
                  <a:avLst/>
                  <a:gdLst>
                    <a:gd name="connsiteX0" fmla="*/ 1091 w 18331"/>
                    <a:gd name="connsiteY0" fmla="*/ 4812 h 18414"/>
                    <a:gd name="connsiteX1" fmla="*/ 13531 w 18331"/>
                    <a:gd name="connsiteY1" fmla="*/ 1104 h 18414"/>
                    <a:gd name="connsiteX2" fmla="*/ 17239 w 18331"/>
                    <a:gd name="connsiteY2" fmla="*/ 13603 h 18414"/>
                    <a:gd name="connsiteX3" fmla="*/ 4799 w 18331"/>
                    <a:gd name="connsiteY3" fmla="*/ 17311 h 18414"/>
                    <a:gd name="connsiteX4" fmla="*/ 1091 w 18331"/>
                    <a:gd name="connsiteY4" fmla="*/ 481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14">
                      <a:moveTo>
                        <a:pt x="1091" y="4812"/>
                      </a:moveTo>
                      <a:cubicBezTo>
                        <a:pt x="3484" y="326"/>
                        <a:pt x="9046" y="-1289"/>
                        <a:pt x="13531" y="1104"/>
                      </a:cubicBezTo>
                      <a:cubicBezTo>
                        <a:pt x="17957" y="3556"/>
                        <a:pt x="19632" y="9118"/>
                        <a:pt x="17239" y="13603"/>
                      </a:cubicBezTo>
                      <a:cubicBezTo>
                        <a:pt x="14847" y="18089"/>
                        <a:pt x="9285" y="19704"/>
                        <a:pt x="4799" y="17311"/>
                      </a:cubicBezTo>
                      <a:cubicBezTo>
                        <a:pt x="374" y="14859"/>
                        <a:pt x="-1301" y="9237"/>
                        <a:pt x="1091" y="4812"/>
                      </a:cubicBezTo>
                      <a:close/>
                    </a:path>
                  </a:pathLst>
                </a:custGeom>
                <a:grpFill/>
                <a:ln w="5978" cap="flat">
                  <a:noFill/>
                  <a:prstDash val="solid"/>
                  <a:miter/>
                </a:ln>
              </p:spPr>
              <p:txBody>
                <a:bodyPr rtlCol="0" anchor="ctr"/>
                <a:lstStyle/>
                <a:p>
                  <a:endParaRPr lang="en-GB"/>
                </a:p>
              </p:txBody>
            </p:sp>
            <p:sp>
              <p:nvSpPr>
                <p:cNvPr id="2434" name="Vrije vorm: vorm 2433">
                  <a:extLst>
                    <a:ext uri="{FF2B5EF4-FFF2-40B4-BE49-F238E27FC236}">
                      <a16:creationId xmlns:a16="http://schemas.microsoft.com/office/drawing/2014/main" id="{37129067-81B7-4907-B506-781A2F62AF52}"/>
                    </a:ext>
                  </a:extLst>
                </p:cNvPr>
                <p:cNvSpPr/>
                <p:nvPr/>
              </p:nvSpPr>
              <p:spPr>
                <a:xfrm>
                  <a:off x="5157958" y="5361742"/>
                  <a:ext cx="18331" cy="18429"/>
                </a:xfrm>
                <a:custGeom>
                  <a:avLst/>
                  <a:gdLst>
                    <a:gd name="connsiteX0" fmla="*/ 1091 w 18331"/>
                    <a:gd name="connsiteY0" fmla="*/ 4799 h 18429"/>
                    <a:gd name="connsiteX1" fmla="*/ 4800 w 18331"/>
                    <a:gd name="connsiteY1" fmla="*/ 17299 h 18429"/>
                    <a:gd name="connsiteX2" fmla="*/ 17239 w 18331"/>
                    <a:gd name="connsiteY2" fmla="*/ 13591 h 18429"/>
                    <a:gd name="connsiteX3" fmla="*/ 13531 w 18331"/>
                    <a:gd name="connsiteY3" fmla="*/ 1091 h 18429"/>
                    <a:gd name="connsiteX4" fmla="*/ 1091 w 18331"/>
                    <a:gd name="connsiteY4" fmla="*/ 47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29">
                      <a:moveTo>
                        <a:pt x="1091" y="4799"/>
                      </a:moveTo>
                      <a:cubicBezTo>
                        <a:pt x="-1301" y="9285"/>
                        <a:pt x="374" y="14847"/>
                        <a:pt x="4800" y="17299"/>
                      </a:cubicBezTo>
                      <a:cubicBezTo>
                        <a:pt x="9225" y="19751"/>
                        <a:pt x="14788" y="18077"/>
                        <a:pt x="17239" y="13591"/>
                      </a:cubicBezTo>
                      <a:cubicBezTo>
                        <a:pt x="19632" y="9106"/>
                        <a:pt x="17957" y="3544"/>
                        <a:pt x="13531" y="1091"/>
                      </a:cubicBezTo>
                      <a:cubicBezTo>
                        <a:pt x="9046" y="-1301"/>
                        <a:pt x="3484" y="374"/>
                        <a:pt x="1091" y="4799"/>
                      </a:cubicBezTo>
                      <a:close/>
                    </a:path>
                  </a:pathLst>
                </a:custGeom>
                <a:grpFill/>
                <a:ln w="5978" cap="flat">
                  <a:noFill/>
                  <a:prstDash val="solid"/>
                  <a:miter/>
                </a:ln>
              </p:spPr>
              <p:txBody>
                <a:bodyPr rtlCol="0" anchor="ctr"/>
                <a:lstStyle/>
                <a:p>
                  <a:endParaRPr lang="en-GB"/>
                </a:p>
              </p:txBody>
            </p:sp>
          </p:grpSp>
          <p:grpSp>
            <p:nvGrpSpPr>
              <p:cNvPr id="990" name="Graphic 3">
                <a:extLst>
                  <a:ext uri="{FF2B5EF4-FFF2-40B4-BE49-F238E27FC236}">
                    <a16:creationId xmlns:a16="http://schemas.microsoft.com/office/drawing/2014/main" id="{DD791259-1D6B-4AEB-867D-3703273B310E}"/>
                  </a:ext>
                </a:extLst>
              </p:cNvPr>
              <p:cNvGrpSpPr/>
              <p:nvPr/>
            </p:nvGrpSpPr>
            <p:grpSpPr>
              <a:xfrm>
                <a:off x="5264511" y="5163876"/>
                <a:ext cx="116761" cy="271542"/>
                <a:chOff x="5264511" y="5163876"/>
                <a:chExt cx="116761" cy="271542"/>
              </a:xfrm>
              <a:grpFill/>
            </p:grpSpPr>
            <p:sp>
              <p:nvSpPr>
                <p:cNvPr id="2429" name="Vrije vorm: vorm 2428">
                  <a:extLst>
                    <a:ext uri="{FF2B5EF4-FFF2-40B4-BE49-F238E27FC236}">
                      <a16:creationId xmlns:a16="http://schemas.microsoft.com/office/drawing/2014/main" id="{D4817786-7D78-45A2-AF21-CC4012FE8CEB}"/>
                    </a:ext>
                  </a:extLst>
                </p:cNvPr>
                <p:cNvSpPr/>
                <p:nvPr/>
              </p:nvSpPr>
              <p:spPr>
                <a:xfrm>
                  <a:off x="5272026" y="5172048"/>
                  <a:ext cx="101612" cy="255137"/>
                </a:xfrm>
                <a:custGeom>
                  <a:avLst/>
                  <a:gdLst>
                    <a:gd name="connsiteX0" fmla="*/ 101612 w 101612"/>
                    <a:gd name="connsiteY0" fmla="*/ 1136 h 255137"/>
                    <a:gd name="connsiteX1" fmla="*/ 2871 w 101612"/>
                    <a:gd name="connsiteY1" fmla="*/ 255137 h 255137"/>
                    <a:gd name="connsiteX2" fmla="*/ 0 w 101612"/>
                    <a:gd name="connsiteY2" fmla="*/ 254001 h 255137"/>
                    <a:gd name="connsiteX3" fmla="*/ 98802 w 101612"/>
                    <a:gd name="connsiteY3" fmla="*/ 0 h 255137"/>
                  </a:gdLst>
                  <a:ahLst/>
                  <a:cxnLst>
                    <a:cxn ang="0">
                      <a:pos x="connsiteX0" y="connsiteY0"/>
                    </a:cxn>
                    <a:cxn ang="0">
                      <a:pos x="connsiteX1" y="connsiteY1"/>
                    </a:cxn>
                    <a:cxn ang="0">
                      <a:pos x="connsiteX2" y="connsiteY2"/>
                    </a:cxn>
                    <a:cxn ang="0">
                      <a:pos x="connsiteX3" y="connsiteY3"/>
                    </a:cxn>
                  </a:cxnLst>
                  <a:rect l="l" t="t" r="r" b="b"/>
                  <a:pathLst>
                    <a:path w="101612" h="255137">
                      <a:moveTo>
                        <a:pt x="101612" y="1136"/>
                      </a:moveTo>
                      <a:lnTo>
                        <a:pt x="2871" y="255137"/>
                      </a:lnTo>
                      <a:lnTo>
                        <a:pt x="0" y="254001"/>
                      </a:lnTo>
                      <a:lnTo>
                        <a:pt x="98802" y="0"/>
                      </a:lnTo>
                      <a:close/>
                    </a:path>
                  </a:pathLst>
                </a:custGeom>
                <a:grpFill/>
                <a:ln w="5978" cap="flat">
                  <a:noFill/>
                  <a:prstDash val="solid"/>
                  <a:miter/>
                </a:ln>
              </p:spPr>
              <p:txBody>
                <a:bodyPr rtlCol="0" anchor="ctr"/>
                <a:lstStyle/>
                <a:p>
                  <a:endParaRPr lang="en-GB"/>
                </a:p>
              </p:txBody>
            </p:sp>
            <p:sp>
              <p:nvSpPr>
                <p:cNvPr id="2430" name="Vrije vorm: vorm 2429">
                  <a:extLst>
                    <a:ext uri="{FF2B5EF4-FFF2-40B4-BE49-F238E27FC236}">
                      <a16:creationId xmlns:a16="http://schemas.microsoft.com/office/drawing/2014/main" id="{AE1C15CF-8383-457F-8B3F-20A26CE1A612}"/>
                    </a:ext>
                  </a:extLst>
                </p:cNvPr>
                <p:cNvSpPr/>
                <p:nvPr/>
              </p:nvSpPr>
              <p:spPr>
                <a:xfrm>
                  <a:off x="5264511" y="5416980"/>
                  <a:ext cx="18286" cy="18438"/>
                </a:xfrm>
                <a:custGeom>
                  <a:avLst/>
                  <a:gdLst>
                    <a:gd name="connsiteX0" fmla="*/ 17682 w 18286"/>
                    <a:gd name="connsiteY0" fmla="*/ 12598 h 18438"/>
                    <a:gd name="connsiteX1" fmla="*/ 5840 w 18286"/>
                    <a:gd name="connsiteY1" fmla="*/ 17801 h 18438"/>
                    <a:gd name="connsiteX2" fmla="*/ 637 w 18286"/>
                    <a:gd name="connsiteY2" fmla="*/ 5840 h 18438"/>
                    <a:gd name="connsiteX3" fmla="*/ 12479 w 18286"/>
                    <a:gd name="connsiteY3" fmla="*/ 637 h 18438"/>
                    <a:gd name="connsiteX4" fmla="*/ 17682 w 18286"/>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438">
                      <a:moveTo>
                        <a:pt x="17682" y="12598"/>
                      </a:moveTo>
                      <a:cubicBezTo>
                        <a:pt x="15828" y="17323"/>
                        <a:pt x="10505" y="19655"/>
                        <a:pt x="5840" y="17801"/>
                      </a:cubicBezTo>
                      <a:cubicBezTo>
                        <a:pt x="1115" y="15947"/>
                        <a:pt x="-1217" y="10565"/>
                        <a:pt x="637" y="5840"/>
                      </a:cubicBezTo>
                      <a:cubicBezTo>
                        <a:pt x="2491" y="1115"/>
                        <a:pt x="7813" y="-1217"/>
                        <a:pt x="12479" y="637"/>
                      </a:cubicBezTo>
                      <a:cubicBezTo>
                        <a:pt x="17143" y="2491"/>
                        <a:pt x="19476" y="7873"/>
                        <a:pt x="17682" y="12598"/>
                      </a:cubicBezTo>
                      <a:close/>
                    </a:path>
                  </a:pathLst>
                </a:custGeom>
                <a:grpFill/>
                <a:ln w="5978" cap="flat">
                  <a:noFill/>
                  <a:prstDash val="solid"/>
                  <a:miter/>
                </a:ln>
              </p:spPr>
              <p:txBody>
                <a:bodyPr rtlCol="0" anchor="ctr"/>
                <a:lstStyle/>
                <a:p>
                  <a:endParaRPr lang="en-GB"/>
                </a:p>
              </p:txBody>
            </p:sp>
            <p:sp>
              <p:nvSpPr>
                <p:cNvPr id="2431" name="Vrije vorm: vorm 2430">
                  <a:extLst>
                    <a:ext uri="{FF2B5EF4-FFF2-40B4-BE49-F238E27FC236}">
                      <a16:creationId xmlns:a16="http://schemas.microsoft.com/office/drawing/2014/main" id="{83E456D4-D94E-4559-82D7-5C8FD6B6F816}"/>
                    </a:ext>
                  </a:extLst>
                </p:cNvPr>
                <p:cNvSpPr/>
                <p:nvPr/>
              </p:nvSpPr>
              <p:spPr>
                <a:xfrm>
                  <a:off x="5362954" y="5163876"/>
                  <a:ext cx="18318" cy="18413"/>
                </a:xfrm>
                <a:custGeom>
                  <a:avLst/>
                  <a:gdLst>
                    <a:gd name="connsiteX0" fmla="*/ 17682 w 18318"/>
                    <a:gd name="connsiteY0" fmla="*/ 12598 h 18413"/>
                    <a:gd name="connsiteX1" fmla="*/ 12479 w 18318"/>
                    <a:gd name="connsiteY1" fmla="*/ 637 h 18413"/>
                    <a:gd name="connsiteX2" fmla="*/ 637 w 18318"/>
                    <a:gd name="connsiteY2" fmla="*/ 5840 h 18413"/>
                    <a:gd name="connsiteX3" fmla="*/ 5840 w 18318"/>
                    <a:gd name="connsiteY3" fmla="*/ 17801 h 18413"/>
                    <a:gd name="connsiteX4" fmla="*/ 17682 w 18318"/>
                    <a:gd name="connsiteY4" fmla="*/ 1259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7682" y="12598"/>
                      </a:moveTo>
                      <a:cubicBezTo>
                        <a:pt x="19536" y="7874"/>
                        <a:pt x="17204" y="2491"/>
                        <a:pt x="12479" y="637"/>
                      </a:cubicBezTo>
                      <a:cubicBezTo>
                        <a:pt x="7754" y="-1217"/>
                        <a:pt x="2431" y="1115"/>
                        <a:pt x="637" y="5840"/>
                      </a:cubicBezTo>
                      <a:cubicBezTo>
                        <a:pt x="-1217" y="10565"/>
                        <a:pt x="1115" y="15947"/>
                        <a:pt x="5840" y="17801"/>
                      </a:cubicBezTo>
                      <a:cubicBezTo>
                        <a:pt x="10505" y="19596"/>
                        <a:pt x="15828" y="17323"/>
                        <a:pt x="17682" y="12598"/>
                      </a:cubicBezTo>
                      <a:close/>
                    </a:path>
                  </a:pathLst>
                </a:custGeom>
                <a:grpFill/>
                <a:ln w="5978" cap="flat">
                  <a:noFill/>
                  <a:prstDash val="solid"/>
                  <a:miter/>
                </a:ln>
              </p:spPr>
              <p:txBody>
                <a:bodyPr rtlCol="0" anchor="ctr"/>
                <a:lstStyle/>
                <a:p>
                  <a:endParaRPr lang="en-GB"/>
                </a:p>
              </p:txBody>
            </p:sp>
          </p:grpSp>
          <p:grpSp>
            <p:nvGrpSpPr>
              <p:cNvPr id="991" name="Graphic 3">
                <a:extLst>
                  <a:ext uri="{FF2B5EF4-FFF2-40B4-BE49-F238E27FC236}">
                    <a16:creationId xmlns:a16="http://schemas.microsoft.com/office/drawing/2014/main" id="{203C0FD7-A78F-436C-8B4F-3D2085AC6499}"/>
                  </a:ext>
                </a:extLst>
              </p:cNvPr>
              <p:cNvGrpSpPr/>
              <p:nvPr/>
            </p:nvGrpSpPr>
            <p:grpSpPr>
              <a:xfrm>
                <a:off x="4021961" y="2141563"/>
                <a:ext cx="602660" cy="419894"/>
                <a:chOff x="4021961" y="2141563"/>
                <a:chExt cx="602660" cy="419894"/>
              </a:xfrm>
              <a:grpFill/>
            </p:grpSpPr>
            <p:sp>
              <p:nvSpPr>
                <p:cNvPr id="2426" name="Vrije vorm: vorm 2425">
                  <a:extLst>
                    <a:ext uri="{FF2B5EF4-FFF2-40B4-BE49-F238E27FC236}">
                      <a16:creationId xmlns:a16="http://schemas.microsoft.com/office/drawing/2014/main" id="{35DEE8F9-6FC9-41D0-96AD-074B3B675964}"/>
                    </a:ext>
                  </a:extLst>
                </p:cNvPr>
                <p:cNvSpPr/>
                <p:nvPr/>
              </p:nvSpPr>
              <p:spPr>
                <a:xfrm>
                  <a:off x="4029890" y="2149272"/>
                  <a:ext cx="586768" cy="404476"/>
                </a:xfrm>
                <a:custGeom>
                  <a:avLst/>
                  <a:gdLst>
                    <a:gd name="connsiteX0" fmla="*/ 586769 w 586768"/>
                    <a:gd name="connsiteY0" fmla="*/ 401964 h 404476"/>
                    <a:gd name="connsiteX1" fmla="*/ 585094 w 586768"/>
                    <a:gd name="connsiteY1" fmla="*/ 404476 h 404476"/>
                    <a:gd name="connsiteX2" fmla="*/ 0 w 586768"/>
                    <a:gd name="connsiteY2" fmla="*/ 2512 h 404476"/>
                    <a:gd name="connsiteX3" fmla="*/ 1735 w 586768"/>
                    <a:gd name="connsiteY3" fmla="*/ 0 h 404476"/>
                  </a:gdLst>
                  <a:ahLst/>
                  <a:cxnLst>
                    <a:cxn ang="0">
                      <a:pos x="connsiteX0" y="connsiteY0"/>
                    </a:cxn>
                    <a:cxn ang="0">
                      <a:pos x="connsiteX1" y="connsiteY1"/>
                    </a:cxn>
                    <a:cxn ang="0">
                      <a:pos x="connsiteX2" y="connsiteY2"/>
                    </a:cxn>
                    <a:cxn ang="0">
                      <a:pos x="connsiteX3" y="connsiteY3"/>
                    </a:cxn>
                  </a:cxnLst>
                  <a:rect l="l" t="t" r="r" b="b"/>
                  <a:pathLst>
                    <a:path w="586768" h="404476">
                      <a:moveTo>
                        <a:pt x="586769" y="401964"/>
                      </a:moveTo>
                      <a:lnTo>
                        <a:pt x="585094" y="404476"/>
                      </a:lnTo>
                      <a:lnTo>
                        <a:pt x="0" y="2512"/>
                      </a:lnTo>
                      <a:lnTo>
                        <a:pt x="1735" y="0"/>
                      </a:lnTo>
                      <a:close/>
                    </a:path>
                  </a:pathLst>
                </a:custGeom>
                <a:grpFill/>
                <a:ln w="5978" cap="flat">
                  <a:noFill/>
                  <a:prstDash val="solid"/>
                  <a:miter/>
                </a:ln>
              </p:spPr>
              <p:txBody>
                <a:bodyPr rtlCol="0" anchor="ctr"/>
                <a:lstStyle/>
                <a:p>
                  <a:endParaRPr lang="en-GB"/>
                </a:p>
              </p:txBody>
            </p:sp>
            <p:sp>
              <p:nvSpPr>
                <p:cNvPr id="2427" name="Vrije vorm: vorm 2426">
                  <a:extLst>
                    <a:ext uri="{FF2B5EF4-FFF2-40B4-BE49-F238E27FC236}">
                      <a16:creationId xmlns:a16="http://schemas.microsoft.com/office/drawing/2014/main" id="{7066B108-B2DA-4B24-9C4F-0FF9BDFFC3A2}"/>
                    </a:ext>
                  </a:extLst>
                </p:cNvPr>
                <p:cNvSpPr/>
                <p:nvPr/>
              </p:nvSpPr>
              <p:spPr>
                <a:xfrm>
                  <a:off x="4606303" y="2543007"/>
                  <a:ext cx="18317" cy="18450"/>
                </a:xfrm>
                <a:custGeom>
                  <a:avLst/>
                  <a:gdLst>
                    <a:gd name="connsiteX0" fmla="*/ 14302 w 18317"/>
                    <a:gd name="connsiteY0" fmla="*/ 1651 h 18450"/>
                    <a:gd name="connsiteX1" fmla="*/ 16754 w 18317"/>
                    <a:gd name="connsiteY1" fmla="*/ 14450 h 18450"/>
                    <a:gd name="connsiteX2" fmla="*/ 4015 w 18317"/>
                    <a:gd name="connsiteY2" fmla="*/ 16842 h 18450"/>
                    <a:gd name="connsiteX3" fmla="*/ 1563 w 18317"/>
                    <a:gd name="connsiteY3" fmla="*/ 4043 h 18450"/>
                    <a:gd name="connsiteX4" fmla="*/ 14302 w 18317"/>
                    <a:gd name="connsiteY4" fmla="*/ 1651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0">
                      <a:moveTo>
                        <a:pt x="14302" y="1651"/>
                      </a:moveTo>
                      <a:cubicBezTo>
                        <a:pt x="18489" y="4522"/>
                        <a:pt x="19565" y="10263"/>
                        <a:pt x="16754" y="14450"/>
                      </a:cubicBezTo>
                      <a:cubicBezTo>
                        <a:pt x="13883" y="18636"/>
                        <a:pt x="8202" y="19713"/>
                        <a:pt x="4015" y="16842"/>
                      </a:cubicBezTo>
                      <a:cubicBezTo>
                        <a:pt x="-171" y="13971"/>
                        <a:pt x="-1248" y="8230"/>
                        <a:pt x="1563" y="4043"/>
                      </a:cubicBezTo>
                      <a:cubicBezTo>
                        <a:pt x="4434" y="-203"/>
                        <a:pt x="10116" y="-1280"/>
                        <a:pt x="14302" y="1651"/>
                      </a:cubicBezTo>
                      <a:close/>
                    </a:path>
                  </a:pathLst>
                </a:custGeom>
                <a:grpFill/>
                <a:ln w="5978" cap="flat">
                  <a:noFill/>
                  <a:prstDash val="solid"/>
                  <a:miter/>
                </a:ln>
              </p:spPr>
              <p:txBody>
                <a:bodyPr rtlCol="0" anchor="ctr"/>
                <a:lstStyle/>
                <a:p>
                  <a:endParaRPr lang="en-GB"/>
                </a:p>
              </p:txBody>
            </p:sp>
            <p:sp>
              <p:nvSpPr>
                <p:cNvPr id="2428" name="Vrije vorm: vorm 2427">
                  <a:extLst>
                    <a:ext uri="{FF2B5EF4-FFF2-40B4-BE49-F238E27FC236}">
                      <a16:creationId xmlns:a16="http://schemas.microsoft.com/office/drawing/2014/main" id="{4D189B8D-93D7-464D-A48D-312FF978FE81}"/>
                    </a:ext>
                  </a:extLst>
                </p:cNvPr>
                <p:cNvSpPr/>
                <p:nvPr/>
              </p:nvSpPr>
              <p:spPr>
                <a:xfrm>
                  <a:off x="4021961" y="2141563"/>
                  <a:ext cx="18343" cy="18408"/>
                </a:xfrm>
                <a:custGeom>
                  <a:avLst/>
                  <a:gdLst>
                    <a:gd name="connsiteX0" fmla="*/ 14328 w 18343"/>
                    <a:gd name="connsiteY0" fmla="*/ 1609 h 18408"/>
                    <a:gd name="connsiteX1" fmla="*/ 1589 w 18343"/>
                    <a:gd name="connsiteY1" fmla="*/ 4001 h 18408"/>
                    <a:gd name="connsiteX2" fmla="*/ 4042 w 18343"/>
                    <a:gd name="connsiteY2" fmla="*/ 16800 h 18408"/>
                    <a:gd name="connsiteX3" fmla="*/ 16781 w 18343"/>
                    <a:gd name="connsiteY3" fmla="*/ 14407 h 18408"/>
                    <a:gd name="connsiteX4" fmla="*/ 14328 w 18343"/>
                    <a:gd name="connsiteY4" fmla="*/ 1609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4328" y="1609"/>
                      </a:moveTo>
                      <a:cubicBezTo>
                        <a:pt x="10142" y="-1262"/>
                        <a:pt x="4460" y="-186"/>
                        <a:pt x="1589" y="4001"/>
                      </a:cubicBezTo>
                      <a:cubicBezTo>
                        <a:pt x="-1281" y="8187"/>
                        <a:pt x="-145" y="13929"/>
                        <a:pt x="4042" y="16800"/>
                      </a:cubicBezTo>
                      <a:cubicBezTo>
                        <a:pt x="8228" y="19670"/>
                        <a:pt x="13910" y="18594"/>
                        <a:pt x="16781" y="14407"/>
                      </a:cubicBezTo>
                      <a:cubicBezTo>
                        <a:pt x="19592" y="10221"/>
                        <a:pt x="18515" y="4479"/>
                        <a:pt x="14328" y="1609"/>
                      </a:cubicBezTo>
                      <a:close/>
                    </a:path>
                  </a:pathLst>
                </a:custGeom>
                <a:grpFill/>
                <a:ln w="5978" cap="flat">
                  <a:noFill/>
                  <a:prstDash val="solid"/>
                  <a:miter/>
                </a:ln>
              </p:spPr>
              <p:txBody>
                <a:bodyPr rtlCol="0" anchor="ctr"/>
                <a:lstStyle/>
                <a:p>
                  <a:endParaRPr lang="en-GB"/>
                </a:p>
              </p:txBody>
            </p:sp>
          </p:grpSp>
          <p:grpSp>
            <p:nvGrpSpPr>
              <p:cNvPr id="992" name="Graphic 3">
                <a:extLst>
                  <a:ext uri="{FF2B5EF4-FFF2-40B4-BE49-F238E27FC236}">
                    <a16:creationId xmlns:a16="http://schemas.microsoft.com/office/drawing/2014/main" id="{1E57DC8D-0B17-44A3-A854-876DD1DF63DD}"/>
                  </a:ext>
                </a:extLst>
              </p:cNvPr>
              <p:cNvGrpSpPr/>
              <p:nvPr/>
            </p:nvGrpSpPr>
            <p:grpSpPr>
              <a:xfrm>
                <a:off x="4226576" y="2449783"/>
                <a:ext cx="335079" cy="185169"/>
                <a:chOff x="4226576" y="2449783"/>
                <a:chExt cx="335079" cy="185169"/>
              </a:xfrm>
              <a:grpFill/>
            </p:grpSpPr>
            <p:sp>
              <p:nvSpPr>
                <p:cNvPr id="2423" name="Vrije vorm: vorm 2422">
                  <a:extLst>
                    <a:ext uri="{FF2B5EF4-FFF2-40B4-BE49-F238E27FC236}">
                      <a16:creationId xmlns:a16="http://schemas.microsoft.com/office/drawing/2014/main" id="{5392CBD9-FAD2-4E86-8CAB-3EFA6B0E0F62}"/>
                    </a:ext>
                  </a:extLst>
                </p:cNvPr>
                <p:cNvSpPr/>
                <p:nvPr/>
              </p:nvSpPr>
              <p:spPr>
                <a:xfrm>
                  <a:off x="4234669" y="2457399"/>
                  <a:ext cx="318892" cy="169912"/>
                </a:xfrm>
                <a:custGeom>
                  <a:avLst/>
                  <a:gdLst>
                    <a:gd name="connsiteX0" fmla="*/ 318892 w 318892"/>
                    <a:gd name="connsiteY0" fmla="*/ 167221 h 169912"/>
                    <a:gd name="connsiteX1" fmla="*/ 317457 w 318892"/>
                    <a:gd name="connsiteY1" fmla="*/ 169912 h 169912"/>
                    <a:gd name="connsiteX2" fmla="*/ 0 w 318892"/>
                    <a:gd name="connsiteY2" fmla="*/ 2691 h 169912"/>
                    <a:gd name="connsiteX3" fmla="*/ 1376 w 318892"/>
                    <a:gd name="connsiteY3" fmla="*/ 0 h 169912"/>
                  </a:gdLst>
                  <a:ahLst/>
                  <a:cxnLst>
                    <a:cxn ang="0">
                      <a:pos x="connsiteX0" y="connsiteY0"/>
                    </a:cxn>
                    <a:cxn ang="0">
                      <a:pos x="connsiteX1" y="connsiteY1"/>
                    </a:cxn>
                    <a:cxn ang="0">
                      <a:pos x="connsiteX2" y="connsiteY2"/>
                    </a:cxn>
                    <a:cxn ang="0">
                      <a:pos x="connsiteX3" y="connsiteY3"/>
                    </a:cxn>
                  </a:cxnLst>
                  <a:rect l="l" t="t" r="r" b="b"/>
                  <a:pathLst>
                    <a:path w="318892" h="169912">
                      <a:moveTo>
                        <a:pt x="318892" y="167221"/>
                      </a:moveTo>
                      <a:lnTo>
                        <a:pt x="317457" y="169912"/>
                      </a:lnTo>
                      <a:lnTo>
                        <a:pt x="0" y="2691"/>
                      </a:lnTo>
                      <a:lnTo>
                        <a:pt x="1376" y="0"/>
                      </a:lnTo>
                      <a:close/>
                    </a:path>
                  </a:pathLst>
                </a:custGeom>
                <a:grpFill/>
                <a:ln w="5978" cap="flat">
                  <a:noFill/>
                  <a:prstDash val="solid"/>
                  <a:miter/>
                </a:ln>
              </p:spPr>
              <p:txBody>
                <a:bodyPr rtlCol="0" anchor="ctr"/>
                <a:lstStyle/>
                <a:p>
                  <a:endParaRPr lang="en-GB"/>
                </a:p>
              </p:txBody>
            </p:sp>
            <p:sp>
              <p:nvSpPr>
                <p:cNvPr id="2424" name="Vrije vorm: vorm 2423">
                  <a:extLst>
                    <a:ext uri="{FF2B5EF4-FFF2-40B4-BE49-F238E27FC236}">
                      <a16:creationId xmlns:a16="http://schemas.microsoft.com/office/drawing/2014/main" id="{9B83EA39-FEC7-4D4C-9238-1629A5EA9D31}"/>
                    </a:ext>
                  </a:extLst>
                </p:cNvPr>
                <p:cNvSpPr/>
                <p:nvPr/>
              </p:nvSpPr>
              <p:spPr>
                <a:xfrm>
                  <a:off x="4226576" y="2449783"/>
                  <a:ext cx="18341" cy="18400"/>
                </a:xfrm>
                <a:custGeom>
                  <a:avLst/>
                  <a:gdLst>
                    <a:gd name="connsiteX0" fmla="*/ 4924 w 18341"/>
                    <a:gd name="connsiteY0" fmla="*/ 17364 h 18400"/>
                    <a:gd name="connsiteX1" fmla="*/ 1037 w 18341"/>
                    <a:gd name="connsiteY1" fmla="*/ 4924 h 18400"/>
                    <a:gd name="connsiteX2" fmla="*/ 13417 w 18341"/>
                    <a:gd name="connsiteY2" fmla="*/ 1037 h 18400"/>
                    <a:gd name="connsiteX3" fmla="*/ 17304 w 18341"/>
                    <a:gd name="connsiteY3" fmla="*/ 13477 h 18400"/>
                    <a:gd name="connsiteX4" fmla="*/ 4924 w 18341"/>
                    <a:gd name="connsiteY4" fmla="*/ 1736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4924" y="17364"/>
                      </a:moveTo>
                      <a:cubicBezTo>
                        <a:pt x="439" y="14972"/>
                        <a:pt x="-1296" y="9410"/>
                        <a:pt x="1037" y="4924"/>
                      </a:cubicBezTo>
                      <a:cubicBezTo>
                        <a:pt x="3369" y="439"/>
                        <a:pt x="8931" y="-1296"/>
                        <a:pt x="13417" y="1037"/>
                      </a:cubicBezTo>
                      <a:cubicBezTo>
                        <a:pt x="17902" y="3429"/>
                        <a:pt x="19637" y="8991"/>
                        <a:pt x="17304" y="13477"/>
                      </a:cubicBezTo>
                      <a:cubicBezTo>
                        <a:pt x="14972" y="17962"/>
                        <a:pt x="9410" y="19697"/>
                        <a:pt x="4924" y="17364"/>
                      </a:cubicBezTo>
                      <a:close/>
                    </a:path>
                  </a:pathLst>
                </a:custGeom>
                <a:grpFill/>
                <a:ln w="5978" cap="flat">
                  <a:noFill/>
                  <a:prstDash val="solid"/>
                  <a:miter/>
                </a:ln>
              </p:spPr>
              <p:txBody>
                <a:bodyPr rtlCol="0" anchor="ctr"/>
                <a:lstStyle/>
                <a:p>
                  <a:endParaRPr lang="en-GB"/>
                </a:p>
              </p:txBody>
            </p:sp>
            <p:sp>
              <p:nvSpPr>
                <p:cNvPr id="2425" name="Vrije vorm: vorm 2424">
                  <a:extLst>
                    <a:ext uri="{FF2B5EF4-FFF2-40B4-BE49-F238E27FC236}">
                      <a16:creationId xmlns:a16="http://schemas.microsoft.com/office/drawing/2014/main" id="{4473D55D-0FDF-4B40-879C-55199B9A6CC3}"/>
                    </a:ext>
                  </a:extLst>
                </p:cNvPr>
                <p:cNvSpPr/>
                <p:nvPr/>
              </p:nvSpPr>
              <p:spPr>
                <a:xfrm>
                  <a:off x="4543288" y="2616488"/>
                  <a:ext cx="18367" cy="18465"/>
                </a:xfrm>
                <a:custGeom>
                  <a:avLst/>
                  <a:gdLst>
                    <a:gd name="connsiteX0" fmla="*/ 4951 w 18367"/>
                    <a:gd name="connsiteY0" fmla="*/ 17402 h 18465"/>
                    <a:gd name="connsiteX1" fmla="*/ 17331 w 18367"/>
                    <a:gd name="connsiteY1" fmla="*/ 13515 h 18465"/>
                    <a:gd name="connsiteX2" fmla="*/ 13443 w 18367"/>
                    <a:gd name="connsiteY2" fmla="*/ 1075 h 18465"/>
                    <a:gd name="connsiteX3" fmla="*/ 1063 w 18367"/>
                    <a:gd name="connsiteY3" fmla="*/ 4962 h 18465"/>
                    <a:gd name="connsiteX4" fmla="*/ 4951 w 18367"/>
                    <a:gd name="connsiteY4" fmla="*/ 1740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65">
                      <a:moveTo>
                        <a:pt x="4951" y="17402"/>
                      </a:moveTo>
                      <a:cubicBezTo>
                        <a:pt x="9436" y="19794"/>
                        <a:pt x="14998" y="18000"/>
                        <a:pt x="17331" y="13515"/>
                      </a:cubicBezTo>
                      <a:cubicBezTo>
                        <a:pt x="19663" y="9029"/>
                        <a:pt x="17929" y="3467"/>
                        <a:pt x="13443" y="1075"/>
                      </a:cubicBezTo>
                      <a:cubicBezTo>
                        <a:pt x="8958" y="-1318"/>
                        <a:pt x="3396" y="417"/>
                        <a:pt x="1063" y="4962"/>
                      </a:cubicBezTo>
                      <a:cubicBezTo>
                        <a:pt x="-1329" y="9448"/>
                        <a:pt x="465" y="15069"/>
                        <a:pt x="4951" y="17402"/>
                      </a:cubicBezTo>
                      <a:close/>
                    </a:path>
                  </a:pathLst>
                </a:custGeom>
                <a:grpFill/>
                <a:ln w="5978" cap="flat">
                  <a:noFill/>
                  <a:prstDash val="solid"/>
                  <a:miter/>
                </a:ln>
              </p:spPr>
              <p:txBody>
                <a:bodyPr rtlCol="0" anchor="ctr"/>
                <a:lstStyle/>
                <a:p>
                  <a:endParaRPr lang="en-GB"/>
                </a:p>
              </p:txBody>
            </p:sp>
          </p:grpSp>
          <p:grpSp>
            <p:nvGrpSpPr>
              <p:cNvPr id="993" name="Graphic 3">
                <a:extLst>
                  <a:ext uri="{FF2B5EF4-FFF2-40B4-BE49-F238E27FC236}">
                    <a16:creationId xmlns:a16="http://schemas.microsoft.com/office/drawing/2014/main" id="{453B4754-1A86-4898-999F-E458DDAA3355}"/>
                  </a:ext>
                </a:extLst>
              </p:cNvPr>
              <p:cNvGrpSpPr/>
              <p:nvPr/>
            </p:nvGrpSpPr>
            <p:grpSpPr>
              <a:xfrm>
                <a:off x="4305805" y="2572804"/>
                <a:ext cx="212395" cy="111574"/>
                <a:chOff x="4305805" y="2572804"/>
                <a:chExt cx="212395" cy="111574"/>
              </a:xfrm>
              <a:grpFill/>
            </p:grpSpPr>
            <p:sp>
              <p:nvSpPr>
                <p:cNvPr id="2420" name="Vrije vorm: vorm 2419">
                  <a:extLst>
                    <a:ext uri="{FF2B5EF4-FFF2-40B4-BE49-F238E27FC236}">
                      <a16:creationId xmlns:a16="http://schemas.microsoft.com/office/drawing/2014/main" id="{73667CA5-1EC5-4A85-A59D-071F00F1AA93}"/>
                    </a:ext>
                  </a:extLst>
                </p:cNvPr>
                <p:cNvSpPr/>
                <p:nvPr/>
              </p:nvSpPr>
              <p:spPr>
                <a:xfrm>
                  <a:off x="4313914" y="2580422"/>
                  <a:ext cx="196227" cy="96289"/>
                </a:xfrm>
                <a:custGeom>
                  <a:avLst/>
                  <a:gdLst>
                    <a:gd name="connsiteX0" fmla="*/ 196227 w 196227"/>
                    <a:gd name="connsiteY0" fmla="*/ 93539 h 96289"/>
                    <a:gd name="connsiteX1" fmla="*/ 194912 w 196227"/>
                    <a:gd name="connsiteY1" fmla="*/ 96290 h 96289"/>
                    <a:gd name="connsiteX2" fmla="*/ 0 w 196227"/>
                    <a:gd name="connsiteY2" fmla="*/ 2751 h 96289"/>
                    <a:gd name="connsiteX3" fmla="*/ 1316 w 196227"/>
                    <a:gd name="connsiteY3" fmla="*/ 0 h 96289"/>
                  </a:gdLst>
                  <a:ahLst/>
                  <a:cxnLst>
                    <a:cxn ang="0">
                      <a:pos x="connsiteX0" y="connsiteY0"/>
                    </a:cxn>
                    <a:cxn ang="0">
                      <a:pos x="connsiteX1" y="connsiteY1"/>
                    </a:cxn>
                    <a:cxn ang="0">
                      <a:pos x="connsiteX2" y="connsiteY2"/>
                    </a:cxn>
                    <a:cxn ang="0">
                      <a:pos x="connsiteX3" y="connsiteY3"/>
                    </a:cxn>
                  </a:cxnLst>
                  <a:rect l="l" t="t" r="r" b="b"/>
                  <a:pathLst>
                    <a:path w="196227" h="96289">
                      <a:moveTo>
                        <a:pt x="196227" y="93539"/>
                      </a:moveTo>
                      <a:lnTo>
                        <a:pt x="194912" y="96290"/>
                      </a:lnTo>
                      <a:lnTo>
                        <a:pt x="0" y="2751"/>
                      </a:lnTo>
                      <a:lnTo>
                        <a:pt x="1316" y="0"/>
                      </a:lnTo>
                      <a:close/>
                    </a:path>
                  </a:pathLst>
                </a:custGeom>
                <a:grpFill/>
                <a:ln w="5978" cap="flat">
                  <a:noFill/>
                  <a:prstDash val="solid"/>
                  <a:miter/>
                </a:ln>
              </p:spPr>
              <p:txBody>
                <a:bodyPr rtlCol="0" anchor="ctr"/>
                <a:lstStyle/>
                <a:p>
                  <a:endParaRPr lang="en-GB"/>
                </a:p>
              </p:txBody>
            </p:sp>
            <p:sp>
              <p:nvSpPr>
                <p:cNvPr id="2421" name="Vrije vorm: vorm 2420">
                  <a:extLst>
                    <a:ext uri="{FF2B5EF4-FFF2-40B4-BE49-F238E27FC236}">
                      <a16:creationId xmlns:a16="http://schemas.microsoft.com/office/drawing/2014/main" id="{82421584-5CAF-4361-8323-189008E8A95A}"/>
                    </a:ext>
                  </a:extLst>
                </p:cNvPr>
                <p:cNvSpPr/>
                <p:nvPr/>
              </p:nvSpPr>
              <p:spPr>
                <a:xfrm>
                  <a:off x="4305805" y="2572804"/>
                  <a:ext cx="18311" cy="18406"/>
                </a:xfrm>
                <a:custGeom>
                  <a:avLst/>
                  <a:gdLst>
                    <a:gd name="connsiteX0" fmla="*/ 5238 w 18311"/>
                    <a:gd name="connsiteY0" fmla="*/ 17486 h 18406"/>
                    <a:gd name="connsiteX1" fmla="*/ 872 w 18311"/>
                    <a:gd name="connsiteY1" fmla="*/ 5226 h 18406"/>
                    <a:gd name="connsiteX2" fmla="*/ 13073 w 18311"/>
                    <a:gd name="connsiteY2" fmla="*/ 920 h 18406"/>
                    <a:gd name="connsiteX3" fmla="*/ 17439 w 18311"/>
                    <a:gd name="connsiteY3" fmla="*/ 13180 h 18406"/>
                    <a:gd name="connsiteX4" fmla="*/ 5238 w 18311"/>
                    <a:gd name="connsiteY4" fmla="*/ 174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6">
                      <a:moveTo>
                        <a:pt x="5238" y="17486"/>
                      </a:moveTo>
                      <a:cubicBezTo>
                        <a:pt x="693" y="15273"/>
                        <a:pt x="-1281" y="9771"/>
                        <a:pt x="872" y="5226"/>
                      </a:cubicBezTo>
                      <a:cubicBezTo>
                        <a:pt x="3025" y="621"/>
                        <a:pt x="8527" y="-1293"/>
                        <a:pt x="13073" y="920"/>
                      </a:cubicBezTo>
                      <a:cubicBezTo>
                        <a:pt x="17618" y="3133"/>
                        <a:pt x="19592" y="8635"/>
                        <a:pt x="17439" y="13180"/>
                      </a:cubicBezTo>
                      <a:cubicBezTo>
                        <a:pt x="15286" y="17785"/>
                        <a:pt x="9843" y="19699"/>
                        <a:pt x="5238" y="17486"/>
                      </a:cubicBezTo>
                      <a:close/>
                    </a:path>
                  </a:pathLst>
                </a:custGeom>
                <a:grpFill/>
                <a:ln w="5978" cap="flat">
                  <a:noFill/>
                  <a:prstDash val="solid"/>
                  <a:miter/>
                </a:ln>
              </p:spPr>
              <p:txBody>
                <a:bodyPr rtlCol="0" anchor="ctr"/>
                <a:lstStyle/>
                <a:p>
                  <a:endParaRPr lang="en-GB"/>
                </a:p>
              </p:txBody>
            </p:sp>
            <p:sp>
              <p:nvSpPr>
                <p:cNvPr id="2422" name="Vrije vorm: vorm 2421">
                  <a:extLst>
                    <a:ext uri="{FF2B5EF4-FFF2-40B4-BE49-F238E27FC236}">
                      <a16:creationId xmlns:a16="http://schemas.microsoft.com/office/drawing/2014/main" id="{6CBAA38C-9AAD-4159-A70A-8E79491FB803}"/>
                    </a:ext>
                  </a:extLst>
                </p:cNvPr>
                <p:cNvSpPr/>
                <p:nvPr/>
              </p:nvSpPr>
              <p:spPr>
                <a:xfrm>
                  <a:off x="4499880" y="2665936"/>
                  <a:ext cx="18321" cy="18442"/>
                </a:xfrm>
                <a:custGeom>
                  <a:avLst/>
                  <a:gdLst>
                    <a:gd name="connsiteX0" fmla="*/ 5238 w 18321"/>
                    <a:gd name="connsiteY0" fmla="*/ 17535 h 18442"/>
                    <a:gd name="connsiteX1" fmla="*/ 17439 w 18321"/>
                    <a:gd name="connsiteY1" fmla="*/ 13169 h 18442"/>
                    <a:gd name="connsiteX2" fmla="*/ 13073 w 18321"/>
                    <a:gd name="connsiteY2" fmla="*/ 908 h 18442"/>
                    <a:gd name="connsiteX3" fmla="*/ 873 w 18321"/>
                    <a:gd name="connsiteY3" fmla="*/ 5274 h 18442"/>
                    <a:gd name="connsiteX4" fmla="*/ 5238 w 18321"/>
                    <a:gd name="connsiteY4" fmla="*/ 17535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2">
                      <a:moveTo>
                        <a:pt x="5238" y="17535"/>
                      </a:moveTo>
                      <a:cubicBezTo>
                        <a:pt x="9784" y="19748"/>
                        <a:pt x="15286" y="17774"/>
                        <a:pt x="17439" y="13169"/>
                      </a:cubicBezTo>
                      <a:cubicBezTo>
                        <a:pt x="19592" y="8564"/>
                        <a:pt x="17678" y="3061"/>
                        <a:pt x="13073" y="908"/>
                      </a:cubicBezTo>
                      <a:cubicBezTo>
                        <a:pt x="8528" y="-1305"/>
                        <a:pt x="3025" y="669"/>
                        <a:pt x="873" y="5274"/>
                      </a:cubicBezTo>
                      <a:cubicBezTo>
                        <a:pt x="-1281" y="9820"/>
                        <a:pt x="693" y="15322"/>
                        <a:pt x="5238" y="17535"/>
                      </a:cubicBezTo>
                      <a:close/>
                    </a:path>
                  </a:pathLst>
                </a:custGeom>
                <a:grpFill/>
                <a:ln w="5978" cap="flat">
                  <a:noFill/>
                  <a:prstDash val="solid"/>
                  <a:miter/>
                </a:ln>
              </p:spPr>
              <p:txBody>
                <a:bodyPr rtlCol="0" anchor="ctr"/>
                <a:lstStyle/>
                <a:p>
                  <a:endParaRPr lang="en-GB"/>
                </a:p>
              </p:txBody>
            </p:sp>
          </p:grpSp>
          <p:grpSp>
            <p:nvGrpSpPr>
              <p:cNvPr id="994" name="Graphic 3">
                <a:extLst>
                  <a:ext uri="{FF2B5EF4-FFF2-40B4-BE49-F238E27FC236}">
                    <a16:creationId xmlns:a16="http://schemas.microsoft.com/office/drawing/2014/main" id="{6F1273D7-C635-41D9-9123-33F52A27E2DE}"/>
                  </a:ext>
                </a:extLst>
              </p:cNvPr>
              <p:cNvGrpSpPr/>
              <p:nvPr/>
            </p:nvGrpSpPr>
            <p:grpSpPr>
              <a:xfrm>
                <a:off x="5126240" y="4842611"/>
                <a:ext cx="80392" cy="122343"/>
                <a:chOff x="5126240" y="4842611"/>
                <a:chExt cx="80392" cy="122343"/>
              </a:xfrm>
              <a:grpFill/>
            </p:grpSpPr>
            <p:sp>
              <p:nvSpPr>
                <p:cNvPr id="2417" name="Vrije vorm: vorm 2416">
                  <a:extLst>
                    <a:ext uri="{FF2B5EF4-FFF2-40B4-BE49-F238E27FC236}">
                      <a16:creationId xmlns:a16="http://schemas.microsoft.com/office/drawing/2014/main" id="{B308C8F6-0CB9-44A1-9002-F2BE106F42C9}"/>
                    </a:ext>
                  </a:extLst>
                </p:cNvPr>
                <p:cNvSpPr/>
                <p:nvPr/>
              </p:nvSpPr>
              <p:spPr>
                <a:xfrm>
                  <a:off x="5133811" y="4850704"/>
                  <a:ext cx="65190" cy="106217"/>
                </a:xfrm>
                <a:custGeom>
                  <a:avLst/>
                  <a:gdLst>
                    <a:gd name="connsiteX0" fmla="*/ 65190 w 65190"/>
                    <a:gd name="connsiteY0" fmla="*/ 1555 h 106217"/>
                    <a:gd name="connsiteX1" fmla="*/ 2632 w 65190"/>
                    <a:gd name="connsiteY1" fmla="*/ 106218 h 106217"/>
                    <a:gd name="connsiteX2" fmla="*/ 0 w 65190"/>
                    <a:gd name="connsiteY2" fmla="*/ 104663 h 106217"/>
                    <a:gd name="connsiteX3" fmla="*/ 62558 w 65190"/>
                    <a:gd name="connsiteY3" fmla="*/ 0 h 106217"/>
                  </a:gdLst>
                  <a:ahLst/>
                  <a:cxnLst>
                    <a:cxn ang="0">
                      <a:pos x="connsiteX0" y="connsiteY0"/>
                    </a:cxn>
                    <a:cxn ang="0">
                      <a:pos x="connsiteX1" y="connsiteY1"/>
                    </a:cxn>
                    <a:cxn ang="0">
                      <a:pos x="connsiteX2" y="connsiteY2"/>
                    </a:cxn>
                    <a:cxn ang="0">
                      <a:pos x="connsiteX3" y="connsiteY3"/>
                    </a:cxn>
                  </a:cxnLst>
                  <a:rect l="l" t="t" r="r" b="b"/>
                  <a:pathLst>
                    <a:path w="65190" h="106217">
                      <a:moveTo>
                        <a:pt x="65190" y="1555"/>
                      </a:moveTo>
                      <a:lnTo>
                        <a:pt x="2632" y="106218"/>
                      </a:lnTo>
                      <a:lnTo>
                        <a:pt x="0" y="104663"/>
                      </a:lnTo>
                      <a:lnTo>
                        <a:pt x="62558" y="0"/>
                      </a:lnTo>
                      <a:close/>
                    </a:path>
                  </a:pathLst>
                </a:custGeom>
                <a:grpFill/>
                <a:ln w="5978" cap="flat">
                  <a:noFill/>
                  <a:prstDash val="solid"/>
                  <a:miter/>
                </a:ln>
              </p:spPr>
              <p:txBody>
                <a:bodyPr rtlCol="0" anchor="ctr"/>
                <a:lstStyle/>
                <a:p>
                  <a:endParaRPr lang="en-GB"/>
                </a:p>
              </p:txBody>
            </p:sp>
            <p:sp>
              <p:nvSpPr>
                <p:cNvPr id="2418" name="Vrije vorm: vorm 2417">
                  <a:extLst>
                    <a:ext uri="{FF2B5EF4-FFF2-40B4-BE49-F238E27FC236}">
                      <a16:creationId xmlns:a16="http://schemas.microsoft.com/office/drawing/2014/main" id="{B86F60C7-5FCB-45B2-83A0-AC02A10E8EE6}"/>
                    </a:ext>
                  </a:extLst>
                </p:cNvPr>
                <p:cNvSpPr/>
                <p:nvPr/>
              </p:nvSpPr>
              <p:spPr>
                <a:xfrm>
                  <a:off x="5126240" y="4946497"/>
                  <a:ext cx="18312" cy="18458"/>
                </a:xfrm>
                <a:custGeom>
                  <a:avLst/>
                  <a:gdLst>
                    <a:gd name="connsiteX0" fmla="*/ 17021 w 18312"/>
                    <a:gd name="connsiteY0" fmla="*/ 14014 h 18458"/>
                    <a:gd name="connsiteX1" fmla="*/ 4461 w 18312"/>
                    <a:gd name="connsiteY1" fmla="*/ 17123 h 18458"/>
                    <a:gd name="connsiteX2" fmla="*/ 1292 w 18312"/>
                    <a:gd name="connsiteY2" fmla="*/ 4444 h 18458"/>
                    <a:gd name="connsiteX3" fmla="*/ 13851 w 18312"/>
                    <a:gd name="connsiteY3" fmla="*/ 1335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4450" y="18380"/>
                        <a:pt x="8768" y="19755"/>
                        <a:pt x="4461" y="17123"/>
                      </a:cubicBezTo>
                      <a:cubicBezTo>
                        <a:pt x="96" y="14492"/>
                        <a:pt x="-1280" y="8811"/>
                        <a:pt x="1292" y="4444"/>
                      </a:cubicBezTo>
                      <a:cubicBezTo>
                        <a:pt x="3864" y="79"/>
                        <a:pt x="9545" y="-1297"/>
                        <a:pt x="13851" y="1335"/>
                      </a:cubicBezTo>
                      <a:cubicBezTo>
                        <a:pt x="18217" y="4026"/>
                        <a:pt x="19593" y="9707"/>
                        <a:pt x="17021" y="14014"/>
                      </a:cubicBezTo>
                      <a:close/>
                    </a:path>
                  </a:pathLst>
                </a:custGeom>
                <a:grpFill/>
                <a:ln w="5978" cap="flat">
                  <a:noFill/>
                  <a:prstDash val="solid"/>
                  <a:miter/>
                </a:ln>
              </p:spPr>
              <p:txBody>
                <a:bodyPr rtlCol="0" anchor="ctr"/>
                <a:lstStyle/>
                <a:p>
                  <a:endParaRPr lang="en-GB"/>
                </a:p>
              </p:txBody>
            </p:sp>
            <p:sp>
              <p:nvSpPr>
                <p:cNvPr id="2419" name="Vrije vorm: vorm 2418">
                  <a:extLst>
                    <a:ext uri="{FF2B5EF4-FFF2-40B4-BE49-F238E27FC236}">
                      <a16:creationId xmlns:a16="http://schemas.microsoft.com/office/drawing/2014/main" id="{8FD7D5D5-2660-4A3D-A012-4CD76F855D33}"/>
                    </a:ext>
                  </a:extLst>
                </p:cNvPr>
                <p:cNvSpPr/>
                <p:nvPr/>
              </p:nvSpPr>
              <p:spPr>
                <a:xfrm>
                  <a:off x="5188320" y="4842611"/>
                  <a:ext cx="18312" cy="18458"/>
                </a:xfrm>
                <a:custGeom>
                  <a:avLst/>
                  <a:gdLst>
                    <a:gd name="connsiteX0" fmla="*/ 17021 w 18312"/>
                    <a:gd name="connsiteY0" fmla="*/ 14014 h 18458"/>
                    <a:gd name="connsiteX1" fmla="*/ 13851 w 18312"/>
                    <a:gd name="connsiteY1" fmla="*/ 1335 h 18458"/>
                    <a:gd name="connsiteX2" fmla="*/ 1292 w 18312"/>
                    <a:gd name="connsiteY2" fmla="*/ 4444 h 18458"/>
                    <a:gd name="connsiteX3" fmla="*/ 4461 w 18312"/>
                    <a:gd name="connsiteY3" fmla="*/ 17123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9593" y="9648"/>
                        <a:pt x="18217" y="3966"/>
                        <a:pt x="13851" y="1335"/>
                      </a:cubicBezTo>
                      <a:cubicBezTo>
                        <a:pt x="9485" y="-1297"/>
                        <a:pt x="3864" y="79"/>
                        <a:pt x="1292" y="4444"/>
                      </a:cubicBezTo>
                      <a:cubicBezTo>
                        <a:pt x="-1280" y="8811"/>
                        <a:pt x="96" y="14492"/>
                        <a:pt x="4461" y="17123"/>
                      </a:cubicBezTo>
                      <a:cubicBezTo>
                        <a:pt x="8768" y="19755"/>
                        <a:pt x="14390" y="18380"/>
                        <a:pt x="17021" y="14014"/>
                      </a:cubicBezTo>
                      <a:close/>
                    </a:path>
                  </a:pathLst>
                </a:custGeom>
                <a:grpFill/>
                <a:ln w="5978" cap="flat">
                  <a:noFill/>
                  <a:prstDash val="solid"/>
                  <a:miter/>
                </a:ln>
              </p:spPr>
              <p:txBody>
                <a:bodyPr rtlCol="0" anchor="ctr"/>
                <a:lstStyle/>
                <a:p>
                  <a:endParaRPr lang="en-GB"/>
                </a:p>
              </p:txBody>
            </p:sp>
          </p:grpSp>
          <p:grpSp>
            <p:nvGrpSpPr>
              <p:cNvPr id="995" name="Graphic 3">
                <a:extLst>
                  <a:ext uri="{FF2B5EF4-FFF2-40B4-BE49-F238E27FC236}">
                    <a16:creationId xmlns:a16="http://schemas.microsoft.com/office/drawing/2014/main" id="{06515C50-95F4-4C5C-9956-E2F80788A514}"/>
                  </a:ext>
                </a:extLst>
              </p:cNvPr>
              <p:cNvGrpSpPr/>
              <p:nvPr/>
            </p:nvGrpSpPr>
            <p:grpSpPr>
              <a:xfrm>
                <a:off x="3936155" y="2032466"/>
                <a:ext cx="700914" cy="499950"/>
                <a:chOff x="3936155" y="2032466"/>
                <a:chExt cx="700914" cy="499950"/>
              </a:xfrm>
              <a:grpFill/>
            </p:grpSpPr>
            <p:sp>
              <p:nvSpPr>
                <p:cNvPr id="2414" name="Vrije vorm: vorm 2413">
                  <a:extLst>
                    <a:ext uri="{FF2B5EF4-FFF2-40B4-BE49-F238E27FC236}">
                      <a16:creationId xmlns:a16="http://schemas.microsoft.com/office/drawing/2014/main" id="{18F7F489-8016-4D15-B4C7-732E8757B321}"/>
                    </a:ext>
                  </a:extLst>
                </p:cNvPr>
                <p:cNvSpPr/>
                <p:nvPr/>
              </p:nvSpPr>
              <p:spPr>
                <a:xfrm>
                  <a:off x="3944066" y="2040124"/>
                  <a:ext cx="685091" cy="484617"/>
                </a:xfrm>
                <a:custGeom>
                  <a:avLst/>
                  <a:gdLst>
                    <a:gd name="connsiteX0" fmla="*/ 685092 w 685091"/>
                    <a:gd name="connsiteY0" fmla="*/ 482106 h 484617"/>
                    <a:gd name="connsiteX1" fmla="*/ 683357 w 685091"/>
                    <a:gd name="connsiteY1" fmla="*/ 484618 h 484617"/>
                    <a:gd name="connsiteX2" fmla="*/ 0 w 685091"/>
                    <a:gd name="connsiteY2" fmla="*/ 2512 h 484617"/>
                    <a:gd name="connsiteX3" fmla="*/ 1734 w 685091"/>
                    <a:gd name="connsiteY3" fmla="*/ 0 h 484617"/>
                  </a:gdLst>
                  <a:ahLst/>
                  <a:cxnLst>
                    <a:cxn ang="0">
                      <a:pos x="connsiteX0" y="connsiteY0"/>
                    </a:cxn>
                    <a:cxn ang="0">
                      <a:pos x="connsiteX1" y="connsiteY1"/>
                    </a:cxn>
                    <a:cxn ang="0">
                      <a:pos x="connsiteX2" y="connsiteY2"/>
                    </a:cxn>
                    <a:cxn ang="0">
                      <a:pos x="connsiteX3" y="connsiteY3"/>
                    </a:cxn>
                  </a:cxnLst>
                  <a:rect l="l" t="t" r="r" b="b"/>
                  <a:pathLst>
                    <a:path w="685091" h="484617">
                      <a:moveTo>
                        <a:pt x="685092" y="482106"/>
                      </a:moveTo>
                      <a:lnTo>
                        <a:pt x="683357" y="484618"/>
                      </a:lnTo>
                      <a:lnTo>
                        <a:pt x="0" y="2512"/>
                      </a:lnTo>
                      <a:lnTo>
                        <a:pt x="1734" y="0"/>
                      </a:lnTo>
                      <a:close/>
                    </a:path>
                  </a:pathLst>
                </a:custGeom>
                <a:grpFill/>
                <a:ln w="5978" cap="flat">
                  <a:noFill/>
                  <a:prstDash val="solid"/>
                  <a:miter/>
                </a:ln>
              </p:spPr>
              <p:txBody>
                <a:bodyPr rtlCol="0" anchor="ctr"/>
                <a:lstStyle/>
                <a:p>
                  <a:endParaRPr lang="en-GB"/>
                </a:p>
              </p:txBody>
            </p:sp>
            <p:sp>
              <p:nvSpPr>
                <p:cNvPr id="2415" name="Vrije vorm: vorm 2414">
                  <a:extLst>
                    <a:ext uri="{FF2B5EF4-FFF2-40B4-BE49-F238E27FC236}">
                      <a16:creationId xmlns:a16="http://schemas.microsoft.com/office/drawing/2014/main" id="{E49962A2-AFEF-43EF-B281-557726849AC5}"/>
                    </a:ext>
                  </a:extLst>
                </p:cNvPr>
                <p:cNvSpPr/>
                <p:nvPr/>
              </p:nvSpPr>
              <p:spPr>
                <a:xfrm>
                  <a:off x="4618795" y="2513974"/>
                  <a:ext cx="18274" cy="18442"/>
                </a:xfrm>
                <a:custGeom>
                  <a:avLst/>
                  <a:gdLst>
                    <a:gd name="connsiteX0" fmla="*/ 14370 w 18274"/>
                    <a:gd name="connsiteY0" fmla="*/ 1677 h 18442"/>
                    <a:gd name="connsiteX1" fmla="*/ 16643 w 18274"/>
                    <a:gd name="connsiteY1" fmla="*/ 14536 h 18442"/>
                    <a:gd name="connsiteX2" fmla="*/ 3904 w 18274"/>
                    <a:gd name="connsiteY2" fmla="*/ 16749 h 18442"/>
                    <a:gd name="connsiteX3" fmla="*/ 1631 w 18274"/>
                    <a:gd name="connsiteY3" fmla="*/ 3890 h 18442"/>
                    <a:gd name="connsiteX4" fmla="*/ 14370 w 18274"/>
                    <a:gd name="connsiteY4" fmla="*/ 1677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2">
                      <a:moveTo>
                        <a:pt x="14370" y="1677"/>
                      </a:moveTo>
                      <a:cubicBezTo>
                        <a:pt x="18497" y="4608"/>
                        <a:pt x="19514" y="10349"/>
                        <a:pt x="16643" y="14536"/>
                      </a:cubicBezTo>
                      <a:cubicBezTo>
                        <a:pt x="13772" y="18722"/>
                        <a:pt x="8031" y="19679"/>
                        <a:pt x="3904" y="16749"/>
                      </a:cubicBezTo>
                      <a:cubicBezTo>
                        <a:pt x="-223" y="13818"/>
                        <a:pt x="-1239" y="8077"/>
                        <a:pt x="1631" y="3890"/>
                      </a:cubicBezTo>
                      <a:cubicBezTo>
                        <a:pt x="4502" y="-236"/>
                        <a:pt x="10184" y="-1253"/>
                        <a:pt x="14370" y="1677"/>
                      </a:cubicBezTo>
                      <a:close/>
                    </a:path>
                  </a:pathLst>
                </a:custGeom>
                <a:grpFill/>
                <a:ln w="5978" cap="flat">
                  <a:noFill/>
                  <a:prstDash val="solid"/>
                  <a:miter/>
                </a:ln>
              </p:spPr>
              <p:txBody>
                <a:bodyPr rtlCol="0" anchor="ctr"/>
                <a:lstStyle/>
                <a:p>
                  <a:endParaRPr lang="en-GB"/>
                </a:p>
              </p:txBody>
            </p:sp>
            <p:sp>
              <p:nvSpPr>
                <p:cNvPr id="2416" name="Vrije vorm: vorm 2415">
                  <a:extLst>
                    <a:ext uri="{FF2B5EF4-FFF2-40B4-BE49-F238E27FC236}">
                      <a16:creationId xmlns:a16="http://schemas.microsoft.com/office/drawing/2014/main" id="{F5C9E067-1194-480B-A7B2-CC9E2CB5C096}"/>
                    </a:ext>
                  </a:extLst>
                </p:cNvPr>
                <p:cNvSpPr/>
                <p:nvPr/>
              </p:nvSpPr>
              <p:spPr>
                <a:xfrm>
                  <a:off x="3936155" y="2032466"/>
                  <a:ext cx="18316" cy="18426"/>
                </a:xfrm>
                <a:custGeom>
                  <a:avLst/>
                  <a:gdLst>
                    <a:gd name="connsiteX0" fmla="*/ 14371 w 18316"/>
                    <a:gd name="connsiteY0" fmla="*/ 1677 h 18426"/>
                    <a:gd name="connsiteX1" fmla="*/ 1632 w 18316"/>
                    <a:gd name="connsiteY1" fmla="*/ 3890 h 18426"/>
                    <a:gd name="connsiteX2" fmla="*/ 3904 w 18316"/>
                    <a:gd name="connsiteY2" fmla="*/ 16749 h 18426"/>
                    <a:gd name="connsiteX3" fmla="*/ 16643 w 18316"/>
                    <a:gd name="connsiteY3" fmla="*/ 14536 h 18426"/>
                    <a:gd name="connsiteX4" fmla="*/ 14371 w 18316"/>
                    <a:gd name="connsiteY4" fmla="*/ 1677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6">
                      <a:moveTo>
                        <a:pt x="14371" y="1677"/>
                      </a:moveTo>
                      <a:cubicBezTo>
                        <a:pt x="10244" y="-1253"/>
                        <a:pt x="4502" y="-236"/>
                        <a:pt x="1632" y="3890"/>
                      </a:cubicBezTo>
                      <a:cubicBezTo>
                        <a:pt x="-1239" y="8077"/>
                        <a:pt x="-222" y="13818"/>
                        <a:pt x="3904" y="16749"/>
                      </a:cubicBezTo>
                      <a:cubicBezTo>
                        <a:pt x="8031" y="19679"/>
                        <a:pt x="13772" y="18663"/>
                        <a:pt x="16643" y="14536"/>
                      </a:cubicBezTo>
                      <a:cubicBezTo>
                        <a:pt x="19574" y="10349"/>
                        <a:pt x="18557" y="4608"/>
                        <a:pt x="14371" y="1677"/>
                      </a:cubicBezTo>
                      <a:close/>
                    </a:path>
                  </a:pathLst>
                </a:custGeom>
                <a:grpFill/>
                <a:ln w="5978" cap="flat">
                  <a:noFill/>
                  <a:prstDash val="solid"/>
                  <a:miter/>
                </a:ln>
              </p:spPr>
              <p:txBody>
                <a:bodyPr rtlCol="0" anchor="ctr"/>
                <a:lstStyle/>
                <a:p>
                  <a:endParaRPr lang="en-GB"/>
                </a:p>
              </p:txBody>
            </p:sp>
          </p:grpSp>
          <p:grpSp>
            <p:nvGrpSpPr>
              <p:cNvPr id="996" name="Graphic 3">
                <a:extLst>
                  <a:ext uri="{FF2B5EF4-FFF2-40B4-BE49-F238E27FC236}">
                    <a16:creationId xmlns:a16="http://schemas.microsoft.com/office/drawing/2014/main" id="{F9E1B955-AE4A-4E74-9F53-75181A6A2C04}"/>
                  </a:ext>
                </a:extLst>
              </p:cNvPr>
              <p:cNvGrpSpPr/>
              <p:nvPr/>
            </p:nvGrpSpPr>
            <p:grpSpPr>
              <a:xfrm>
                <a:off x="4304379" y="2573442"/>
                <a:ext cx="207701" cy="141736"/>
                <a:chOff x="4304379" y="2573442"/>
                <a:chExt cx="207701" cy="141736"/>
              </a:xfrm>
              <a:grpFill/>
            </p:grpSpPr>
            <p:sp>
              <p:nvSpPr>
                <p:cNvPr id="2411" name="Vrije vorm: vorm 2410">
                  <a:extLst>
                    <a:ext uri="{FF2B5EF4-FFF2-40B4-BE49-F238E27FC236}">
                      <a16:creationId xmlns:a16="http://schemas.microsoft.com/office/drawing/2014/main" id="{8BBB894D-49FC-45CE-B6A5-2FF9541E81FF}"/>
                    </a:ext>
                  </a:extLst>
                </p:cNvPr>
                <p:cNvSpPr/>
                <p:nvPr/>
              </p:nvSpPr>
              <p:spPr>
                <a:xfrm>
                  <a:off x="4312299" y="2581080"/>
                  <a:ext cx="191801" cy="126432"/>
                </a:xfrm>
                <a:custGeom>
                  <a:avLst/>
                  <a:gdLst>
                    <a:gd name="connsiteX0" fmla="*/ 191802 w 191801"/>
                    <a:gd name="connsiteY0" fmla="*/ 123861 h 126432"/>
                    <a:gd name="connsiteX1" fmla="*/ 190127 w 191801"/>
                    <a:gd name="connsiteY1" fmla="*/ 126432 h 126432"/>
                    <a:gd name="connsiteX2" fmla="*/ 0 w 191801"/>
                    <a:gd name="connsiteY2" fmla="*/ 2572 h 126432"/>
                    <a:gd name="connsiteX3" fmla="*/ 1674 w 191801"/>
                    <a:gd name="connsiteY3" fmla="*/ 0 h 126432"/>
                  </a:gdLst>
                  <a:ahLst/>
                  <a:cxnLst>
                    <a:cxn ang="0">
                      <a:pos x="connsiteX0" y="connsiteY0"/>
                    </a:cxn>
                    <a:cxn ang="0">
                      <a:pos x="connsiteX1" y="connsiteY1"/>
                    </a:cxn>
                    <a:cxn ang="0">
                      <a:pos x="connsiteX2" y="connsiteY2"/>
                    </a:cxn>
                    <a:cxn ang="0">
                      <a:pos x="connsiteX3" y="connsiteY3"/>
                    </a:cxn>
                  </a:cxnLst>
                  <a:rect l="l" t="t" r="r" b="b"/>
                  <a:pathLst>
                    <a:path w="191801" h="126432">
                      <a:moveTo>
                        <a:pt x="191802" y="123861"/>
                      </a:moveTo>
                      <a:lnTo>
                        <a:pt x="190127" y="126432"/>
                      </a:lnTo>
                      <a:lnTo>
                        <a:pt x="0" y="2572"/>
                      </a:lnTo>
                      <a:lnTo>
                        <a:pt x="1674" y="0"/>
                      </a:lnTo>
                      <a:close/>
                    </a:path>
                  </a:pathLst>
                </a:custGeom>
                <a:grpFill/>
                <a:ln w="5978" cap="flat">
                  <a:noFill/>
                  <a:prstDash val="solid"/>
                  <a:miter/>
                </a:ln>
              </p:spPr>
              <p:txBody>
                <a:bodyPr rtlCol="0" anchor="ctr"/>
                <a:lstStyle/>
                <a:p>
                  <a:endParaRPr lang="en-GB"/>
                </a:p>
              </p:txBody>
            </p:sp>
            <p:sp>
              <p:nvSpPr>
                <p:cNvPr id="2412" name="Vrije vorm: vorm 2411">
                  <a:extLst>
                    <a:ext uri="{FF2B5EF4-FFF2-40B4-BE49-F238E27FC236}">
                      <a16:creationId xmlns:a16="http://schemas.microsoft.com/office/drawing/2014/main" id="{B83EBDF6-DAF4-4650-8FDD-C39A1BF425BB}"/>
                    </a:ext>
                  </a:extLst>
                </p:cNvPr>
                <p:cNvSpPr/>
                <p:nvPr/>
              </p:nvSpPr>
              <p:spPr>
                <a:xfrm>
                  <a:off x="4493729" y="2696764"/>
                  <a:ext cx="18351" cy="18413"/>
                </a:xfrm>
                <a:custGeom>
                  <a:avLst/>
                  <a:gdLst>
                    <a:gd name="connsiteX0" fmla="*/ 14140 w 18351"/>
                    <a:gd name="connsiteY0" fmla="*/ 1479 h 18413"/>
                    <a:gd name="connsiteX1" fmla="*/ 16891 w 18351"/>
                    <a:gd name="connsiteY1" fmla="*/ 14218 h 18413"/>
                    <a:gd name="connsiteX2" fmla="*/ 4212 w 18351"/>
                    <a:gd name="connsiteY2" fmla="*/ 16909 h 18413"/>
                    <a:gd name="connsiteX3" fmla="*/ 1461 w 18351"/>
                    <a:gd name="connsiteY3" fmla="*/ 4170 h 18413"/>
                    <a:gd name="connsiteX4" fmla="*/ 14140 w 18351"/>
                    <a:gd name="connsiteY4" fmla="*/ 147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13">
                      <a:moveTo>
                        <a:pt x="14140" y="1479"/>
                      </a:moveTo>
                      <a:cubicBezTo>
                        <a:pt x="18386" y="4230"/>
                        <a:pt x="19642" y="9971"/>
                        <a:pt x="16891" y="14218"/>
                      </a:cubicBezTo>
                      <a:cubicBezTo>
                        <a:pt x="14140" y="18464"/>
                        <a:pt x="8458" y="19720"/>
                        <a:pt x="4212" y="16909"/>
                      </a:cubicBezTo>
                      <a:cubicBezTo>
                        <a:pt x="-35" y="14098"/>
                        <a:pt x="-1290" y="8416"/>
                        <a:pt x="1461" y="4170"/>
                      </a:cubicBezTo>
                      <a:cubicBezTo>
                        <a:pt x="4212" y="-76"/>
                        <a:pt x="9894" y="-1273"/>
                        <a:pt x="14140" y="1479"/>
                      </a:cubicBezTo>
                      <a:close/>
                    </a:path>
                  </a:pathLst>
                </a:custGeom>
                <a:grpFill/>
                <a:ln w="5978" cap="flat">
                  <a:noFill/>
                  <a:prstDash val="solid"/>
                  <a:miter/>
                </a:ln>
              </p:spPr>
              <p:txBody>
                <a:bodyPr rtlCol="0" anchor="ctr"/>
                <a:lstStyle/>
                <a:p>
                  <a:endParaRPr lang="en-GB"/>
                </a:p>
              </p:txBody>
            </p:sp>
            <p:sp>
              <p:nvSpPr>
                <p:cNvPr id="2413" name="Vrije vorm: vorm 2412">
                  <a:extLst>
                    <a:ext uri="{FF2B5EF4-FFF2-40B4-BE49-F238E27FC236}">
                      <a16:creationId xmlns:a16="http://schemas.microsoft.com/office/drawing/2014/main" id="{FCDF9BAA-EC9F-4AED-B7A2-A75EC7410146}"/>
                    </a:ext>
                  </a:extLst>
                </p:cNvPr>
                <p:cNvSpPr/>
                <p:nvPr/>
              </p:nvSpPr>
              <p:spPr>
                <a:xfrm>
                  <a:off x="4304379" y="2573442"/>
                  <a:ext cx="18325" cy="18387"/>
                </a:xfrm>
                <a:custGeom>
                  <a:avLst/>
                  <a:gdLst>
                    <a:gd name="connsiteX0" fmla="*/ 14140 w 18325"/>
                    <a:gd name="connsiteY0" fmla="*/ 1479 h 18387"/>
                    <a:gd name="connsiteX1" fmla="*/ 1461 w 18325"/>
                    <a:gd name="connsiteY1" fmla="*/ 4170 h 18387"/>
                    <a:gd name="connsiteX2" fmla="*/ 4212 w 18325"/>
                    <a:gd name="connsiteY2" fmla="*/ 16909 h 18387"/>
                    <a:gd name="connsiteX3" fmla="*/ 16891 w 18325"/>
                    <a:gd name="connsiteY3" fmla="*/ 14217 h 18387"/>
                    <a:gd name="connsiteX4" fmla="*/ 14140 w 18325"/>
                    <a:gd name="connsiteY4" fmla="*/ 147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7">
                      <a:moveTo>
                        <a:pt x="14140" y="1479"/>
                      </a:moveTo>
                      <a:cubicBezTo>
                        <a:pt x="9893" y="-1273"/>
                        <a:pt x="4212" y="-76"/>
                        <a:pt x="1461" y="4170"/>
                      </a:cubicBezTo>
                      <a:cubicBezTo>
                        <a:pt x="-1291" y="8416"/>
                        <a:pt x="-34" y="14158"/>
                        <a:pt x="4212" y="16909"/>
                      </a:cubicBezTo>
                      <a:cubicBezTo>
                        <a:pt x="8458" y="19660"/>
                        <a:pt x="14140" y="18464"/>
                        <a:pt x="16891" y="14217"/>
                      </a:cubicBezTo>
                      <a:cubicBezTo>
                        <a:pt x="19583" y="9911"/>
                        <a:pt x="18386" y="4230"/>
                        <a:pt x="14140" y="1479"/>
                      </a:cubicBezTo>
                      <a:close/>
                    </a:path>
                  </a:pathLst>
                </a:custGeom>
                <a:grpFill/>
                <a:ln w="5978" cap="flat">
                  <a:noFill/>
                  <a:prstDash val="solid"/>
                  <a:miter/>
                </a:ln>
              </p:spPr>
              <p:txBody>
                <a:bodyPr rtlCol="0" anchor="ctr"/>
                <a:lstStyle/>
                <a:p>
                  <a:endParaRPr lang="en-GB"/>
                </a:p>
              </p:txBody>
            </p:sp>
          </p:grpSp>
          <p:grpSp>
            <p:nvGrpSpPr>
              <p:cNvPr id="997" name="Graphic 3">
                <a:extLst>
                  <a:ext uri="{FF2B5EF4-FFF2-40B4-BE49-F238E27FC236}">
                    <a16:creationId xmlns:a16="http://schemas.microsoft.com/office/drawing/2014/main" id="{63B315DF-9F30-4CB8-9769-5ECC95F59B16}"/>
                  </a:ext>
                </a:extLst>
              </p:cNvPr>
              <p:cNvGrpSpPr/>
              <p:nvPr/>
            </p:nvGrpSpPr>
            <p:grpSpPr>
              <a:xfrm>
                <a:off x="5160280" y="4969036"/>
                <a:ext cx="122467" cy="226363"/>
                <a:chOff x="5160280" y="4969036"/>
                <a:chExt cx="122467" cy="226363"/>
              </a:xfrm>
              <a:grpFill/>
            </p:grpSpPr>
            <p:sp>
              <p:nvSpPr>
                <p:cNvPr id="2408" name="Vrije vorm: vorm 2407">
                  <a:extLst>
                    <a:ext uri="{FF2B5EF4-FFF2-40B4-BE49-F238E27FC236}">
                      <a16:creationId xmlns:a16="http://schemas.microsoft.com/office/drawing/2014/main" id="{E9FED83C-3D3F-4D71-A558-23BED22F0072}"/>
                    </a:ext>
                  </a:extLst>
                </p:cNvPr>
                <p:cNvSpPr/>
                <p:nvPr/>
              </p:nvSpPr>
              <p:spPr>
                <a:xfrm>
                  <a:off x="5167902" y="4977137"/>
                  <a:ext cx="107234" cy="210162"/>
                </a:xfrm>
                <a:custGeom>
                  <a:avLst/>
                  <a:gdLst>
                    <a:gd name="connsiteX0" fmla="*/ 107234 w 107234"/>
                    <a:gd name="connsiteY0" fmla="*/ 1376 h 210162"/>
                    <a:gd name="connsiteX1" fmla="*/ 2751 w 107234"/>
                    <a:gd name="connsiteY1" fmla="*/ 210163 h 210162"/>
                    <a:gd name="connsiteX2" fmla="*/ 0 w 107234"/>
                    <a:gd name="connsiteY2" fmla="*/ 208787 h 210162"/>
                    <a:gd name="connsiteX3" fmla="*/ 104483 w 107234"/>
                    <a:gd name="connsiteY3" fmla="*/ 0 h 210162"/>
                  </a:gdLst>
                  <a:ahLst/>
                  <a:cxnLst>
                    <a:cxn ang="0">
                      <a:pos x="connsiteX0" y="connsiteY0"/>
                    </a:cxn>
                    <a:cxn ang="0">
                      <a:pos x="connsiteX1" y="connsiteY1"/>
                    </a:cxn>
                    <a:cxn ang="0">
                      <a:pos x="connsiteX2" y="connsiteY2"/>
                    </a:cxn>
                    <a:cxn ang="0">
                      <a:pos x="connsiteX3" y="connsiteY3"/>
                    </a:cxn>
                  </a:cxnLst>
                  <a:rect l="l" t="t" r="r" b="b"/>
                  <a:pathLst>
                    <a:path w="107234" h="210162">
                      <a:moveTo>
                        <a:pt x="107234" y="1376"/>
                      </a:moveTo>
                      <a:lnTo>
                        <a:pt x="2751" y="210163"/>
                      </a:lnTo>
                      <a:lnTo>
                        <a:pt x="0" y="208787"/>
                      </a:lnTo>
                      <a:lnTo>
                        <a:pt x="104483" y="0"/>
                      </a:lnTo>
                      <a:close/>
                    </a:path>
                  </a:pathLst>
                </a:custGeom>
                <a:grpFill/>
                <a:ln w="5978" cap="flat">
                  <a:noFill/>
                  <a:prstDash val="solid"/>
                  <a:miter/>
                </a:ln>
              </p:spPr>
              <p:txBody>
                <a:bodyPr rtlCol="0" anchor="ctr"/>
                <a:lstStyle/>
                <a:p>
                  <a:endParaRPr lang="en-GB"/>
                </a:p>
              </p:txBody>
            </p:sp>
            <p:sp>
              <p:nvSpPr>
                <p:cNvPr id="2409" name="Vrije vorm: vorm 2408">
                  <a:extLst>
                    <a:ext uri="{FF2B5EF4-FFF2-40B4-BE49-F238E27FC236}">
                      <a16:creationId xmlns:a16="http://schemas.microsoft.com/office/drawing/2014/main" id="{B8844D34-512F-4B48-ADC1-3CC0FCDC60D3}"/>
                    </a:ext>
                  </a:extLst>
                </p:cNvPr>
                <p:cNvSpPr/>
                <p:nvPr/>
              </p:nvSpPr>
              <p:spPr>
                <a:xfrm>
                  <a:off x="5160280" y="5176986"/>
                  <a:ext cx="18353" cy="18413"/>
                </a:xfrm>
                <a:custGeom>
                  <a:avLst/>
                  <a:gdLst>
                    <a:gd name="connsiteX0" fmla="*/ 17371 w 18353"/>
                    <a:gd name="connsiteY0" fmla="*/ 13364 h 18413"/>
                    <a:gd name="connsiteX1" fmla="*/ 5050 w 18353"/>
                    <a:gd name="connsiteY1" fmla="*/ 17430 h 18413"/>
                    <a:gd name="connsiteX2" fmla="*/ 983 w 18353"/>
                    <a:gd name="connsiteY2" fmla="*/ 5050 h 18413"/>
                    <a:gd name="connsiteX3" fmla="*/ 13304 w 18353"/>
                    <a:gd name="connsiteY3" fmla="*/ 983 h 18413"/>
                    <a:gd name="connsiteX4" fmla="*/ 17371 w 18353"/>
                    <a:gd name="connsiteY4" fmla="*/ 1336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3">
                      <a:moveTo>
                        <a:pt x="17371" y="13364"/>
                      </a:moveTo>
                      <a:cubicBezTo>
                        <a:pt x="15098" y="17909"/>
                        <a:pt x="9595" y="19703"/>
                        <a:pt x="5050" y="17430"/>
                      </a:cubicBezTo>
                      <a:cubicBezTo>
                        <a:pt x="505" y="15158"/>
                        <a:pt x="-1289" y="9596"/>
                        <a:pt x="983" y="5050"/>
                      </a:cubicBezTo>
                      <a:cubicBezTo>
                        <a:pt x="3256" y="505"/>
                        <a:pt x="8758" y="-1289"/>
                        <a:pt x="13304" y="983"/>
                      </a:cubicBezTo>
                      <a:cubicBezTo>
                        <a:pt x="17849" y="3316"/>
                        <a:pt x="19643" y="8878"/>
                        <a:pt x="17371" y="13364"/>
                      </a:cubicBezTo>
                      <a:close/>
                    </a:path>
                  </a:pathLst>
                </a:custGeom>
                <a:grpFill/>
                <a:ln w="5978" cap="flat">
                  <a:noFill/>
                  <a:prstDash val="solid"/>
                  <a:miter/>
                </a:ln>
              </p:spPr>
              <p:txBody>
                <a:bodyPr rtlCol="0" anchor="ctr"/>
                <a:lstStyle/>
                <a:p>
                  <a:endParaRPr lang="en-GB"/>
                </a:p>
              </p:txBody>
            </p:sp>
            <p:sp>
              <p:nvSpPr>
                <p:cNvPr id="2410" name="Vrije vorm: vorm 2409">
                  <a:extLst>
                    <a:ext uri="{FF2B5EF4-FFF2-40B4-BE49-F238E27FC236}">
                      <a16:creationId xmlns:a16="http://schemas.microsoft.com/office/drawing/2014/main" id="{529F523F-499E-44AC-AB7D-4F33B59D2996}"/>
                    </a:ext>
                  </a:extLst>
                </p:cNvPr>
                <p:cNvSpPr/>
                <p:nvPr/>
              </p:nvSpPr>
              <p:spPr>
                <a:xfrm>
                  <a:off x="5264415" y="4969036"/>
                  <a:ext cx="18332" cy="18413"/>
                </a:xfrm>
                <a:custGeom>
                  <a:avLst/>
                  <a:gdLst>
                    <a:gd name="connsiteX0" fmla="*/ 17360 w 18332"/>
                    <a:gd name="connsiteY0" fmla="*/ 13363 h 18413"/>
                    <a:gd name="connsiteX1" fmla="*/ 13293 w 18332"/>
                    <a:gd name="connsiteY1" fmla="*/ 983 h 18413"/>
                    <a:gd name="connsiteX2" fmla="*/ 973 w 18332"/>
                    <a:gd name="connsiteY2" fmla="*/ 5050 h 18413"/>
                    <a:gd name="connsiteX3" fmla="*/ 5039 w 18332"/>
                    <a:gd name="connsiteY3" fmla="*/ 17430 h 18413"/>
                    <a:gd name="connsiteX4" fmla="*/ 17360 w 18332"/>
                    <a:gd name="connsiteY4" fmla="*/ 13363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13">
                      <a:moveTo>
                        <a:pt x="17360" y="13363"/>
                      </a:moveTo>
                      <a:cubicBezTo>
                        <a:pt x="19632" y="8818"/>
                        <a:pt x="17778" y="3256"/>
                        <a:pt x="13293" y="983"/>
                      </a:cubicBezTo>
                      <a:cubicBezTo>
                        <a:pt x="8747" y="-1289"/>
                        <a:pt x="3245" y="505"/>
                        <a:pt x="973" y="5050"/>
                      </a:cubicBezTo>
                      <a:cubicBezTo>
                        <a:pt x="-1300" y="9596"/>
                        <a:pt x="554" y="15158"/>
                        <a:pt x="5039" y="17430"/>
                      </a:cubicBezTo>
                      <a:cubicBezTo>
                        <a:pt x="9585" y="19703"/>
                        <a:pt x="15087" y="17909"/>
                        <a:pt x="17360" y="13363"/>
                      </a:cubicBezTo>
                      <a:close/>
                    </a:path>
                  </a:pathLst>
                </a:custGeom>
                <a:grpFill/>
                <a:ln w="5978" cap="flat">
                  <a:noFill/>
                  <a:prstDash val="solid"/>
                  <a:miter/>
                </a:ln>
              </p:spPr>
              <p:txBody>
                <a:bodyPr rtlCol="0" anchor="ctr"/>
                <a:lstStyle/>
                <a:p>
                  <a:endParaRPr lang="en-GB"/>
                </a:p>
              </p:txBody>
            </p:sp>
          </p:grpSp>
          <p:grpSp>
            <p:nvGrpSpPr>
              <p:cNvPr id="998" name="Graphic 3">
                <a:extLst>
                  <a:ext uri="{FF2B5EF4-FFF2-40B4-BE49-F238E27FC236}">
                    <a16:creationId xmlns:a16="http://schemas.microsoft.com/office/drawing/2014/main" id="{6E177A34-D858-4DFF-9623-D7FDA9192C6D}"/>
                  </a:ext>
                </a:extLst>
              </p:cNvPr>
              <p:cNvGrpSpPr/>
              <p:nvPr/>
            </p:nvGrpSpPr>
            <p:grpSpPr>
              <a:xfrm>
                <a:off x="4189142" y="2473772"/>
                <a:ext cx="345175" cy="182858"/>
                <a:chOff x="4189142" y="2473772"/>
                <a:chExt cx="345175" cy="182858"/>
              </a:xfrm>
              <a:grpFill/>
            </p:grpSpPr>
            <p:sp>
              <p:nvSpPr>
                <p:cNvPr id="2405" name="Vrije vorm: vorm 2404">
                  <a:extLst>
                    <a:ext uri="{FF2B5EF4-FFF2-40B4-BE49-F238E27FC236}">
                      <a16:creationId xmlns:a16="http://schemas.microsoft.com/office/drawing/2014/main" id="{174C4C9A-44C3-4BF9-B0E1-F1B033D0CDBF}"/>
                    </a:ext>
                  </a:extLst>
                </p:cNvPr>
                <p:cNvSpPr/>
                <p:nvPr/>
              </p:nvSpPr>
              <p:spPr>
                <a:xfrm>
                  <a:off x="4197230" y="2481441"/>
                  <a:ext cx="328999" cy="167579"/>
                </a:xfrm>
                <a:custGeom>
                  <a:avLst/>
                  <a:gdLst>
                    <a:gd name="connsiteX0" fmla="*/ 328999 w 328999"/>
                    <a:gd name="connsiteY0" fmla="*/ 164829 h 167579"/>
                    <a:gd name="connsiteX1" fmla="*/ 327684 w 328999"/>
                    <a:gd name="connsiteY1" fmla="*/ 167580 h 167579"/>
                    <a:gd name="connsiteX2" fmla="*/ 0 w 328999"/>
                    <a:gd name="connsiteY2" fmla="*/ 2751 h 167579"/>
                    <a:gd name="connsiteX3" fmla="*/ 1375 w 328999"/>
                    <a:gd name="connsiteY3" fmla="*/ 0 h 167579"/>
                  </a:gdLst>
                  <a:ahLst/>
                  <a:cxnLst>
                    <a:cxn ang="0">
                      <a:pos x="connsiteX0" y="connsiteY0"/>
                    </a:cxn>
                    <a:cxn ang="0">
                      <a:pos x="connsiteX1" y="connsiteY1"/>
                    </a:cxn>
                    <a:cxn ang="0">
                      <a:pos x="connsiteX2" y="connsiteY2"/>
                    </a:cxn>
                    <a:cxn ang="0">
                      <a:pos x="connsiteX3" y="connsiteY3"/>
                    </a:cxn>
                  </a:cxnLst>
                  <a:rect l="l" t="t" r="r" b="b"/>
                  <a:pathLst>
                    <a:path w="328999" h="167579">
                      <a:moveTo>
                        <a:pt x="328999" y="164829"/>
                      </a:moveTo>
                      <a:lnTo>
                        <a:pt x="327684" y="167580"/>
                      </a:lnTo>
                      <a:lnTo>
                        <a:pt x="0" y="2751"/>
                      </a:lnTo>
                      <a:lnTo>
                        <a:pt x="1375" y="0"/>
                      </a:lnTo>
                      <a:close/>
                    </a:path>
                  </a:pathLst>
                </a:custGeom>
                <a:grpFill/>
                <a:ln w="5978" cap="flat">
                  <a:noFill/>
                  <a:prstDash val="solid"/>
                  <a:miter/>
                </a:ln>
              </p:spPr>
              <p:txBody>
                <a:bodyPr rtlCol="0" anchor="ctr"/>
                <a:lstStyle/>
                <a:p>
                  <a:endParaRPr lang="en-GB"/>
                </a:p>
              </p:txBody>
            </p:sp>
            <p:sp>
              <p:nvSpPr>
                <p:cNvPr id="2406" name="Vrije vorm: vorm 2405">
                  <a:extLst>
                    <a:ext uri="{FF2B5EF4-FFF2-40B4-BE49-F238E27FC236}">
                      <a16:creationId xmlns:a16="http://schemas.microsoft.com/office/drawing/2014/main" id="{54E12945-6320-48F9-90DF-CB3F1C5AD0BA}"/>
                    </a:ext>
                  </a:extLst>
                </p:cNvPr>
                <p:cNvSpPr/>
                <p:nvPr/>
              </p:nvSpPr>
              <p:spPr>
                <a:xfrm>
                  <a:off x="4189142" y="2473772"/>
                  <a:ext cx="18329" cy="18459"/>
                </a:xfrm>
                <a:custGeom>
                  <a:avLst/>
                  <a:gdLst>
                    <a:gd name="connsiteX0" fmla="*/ 5098 w 18329"/>
                    <a:gd name="connsiteY0" fmla="*/ 17478 h 18459"/>
                    <a:gd name="connsiteX1" fmla="*/ 971 w 18329"/>
                    <a:gd name="connsiteY1" fmla="*/ 5098 h 18459"/>
                    <a:gd name="connsiteX2" fmla="*/ 13231 w 18329"/>
                    <a:gd name="connsiteY2" fmla="*/ 971 h 18459"/>
                    <a:gd name="connsiteX3" fmla="*/ 17358 w 18329"/>
                    <a:gd name="connsiteY3" fmla="*/ 13351 h 18459"/>
                    <a:gd name="connsiteX4" fmla="*/ 5098 w 18329"/>
                    <a:gd name="connsiteY4" fmla="*/ 17478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9">
                      <a:moveTo>
                        <a:pt x="5098" y="17478"/>
                      </a:moveTo>
                      <a:cubicBezTo>
                        <a:pt x="552" y="15205"/>
                        <a:pt x="-1302" y="9643"/>
                        <a:pt x="971" y="5098"/>
                      </a:cubicBezTo>
                      <a:cubicBezTo>
                        <a:pt x="3244" y="552"/>
                        <a:pt x="8746" y="-1302"/>
                        <a:pt x="13231" y="971"/>
                      </a:cubicBezTo>
                      <a:cubicBezTo>
                        <a:pt x="17777" y="3244"/>
                        <a:pt x="19631" y="8806"/>
                        <a:pt x="17358" y="13351"/>
                      </a:cubicBezTo>
                      <a:cubicBezTo>
                        <a:pt x="15145" y="17956"/>
                        <a:pt x="9643" y="19750"/>
                        <a:pt x="5098" y="17478"/>
                      </a:cubicBezTo>
                      <a:close/>
                    </a:path>
                  </a:pathLst>
                </a:custGeom>
                <a:grpFill/>
                <a:ln w="5978" cap="flat">
                  <a:noFill/>
                  <a:prstDash val="solid"/>
                  <a:miter/>
                </a:ln>
              </p:spPr>
              <p:txBody>
                <a:bodyPr rtlCol="0" anchor="ctr"/>
                <a:lstStyle/>
                <a:p>
                  <a:endParaRPr lang="en-GB"/>
                </a:p>
              </p:txBody>
            </p:sp>
            <p:sp>
              <p:nvSpPr>
                <p:cNvPr id="2407" name="Vrije vorm: vorm 2406">
                  <a:extLst>
                    <a:ext uri="{FF2B5EF4-FFF2-40B4-BE49-F238E27FC236}">
                      <a16:creationId xmlns:a16="http://schemas.microsoft.com/office/drawing/2014/main" id="{B5820DBD-4EF2-4BBF-9B29-B3E05929CE34}"/>
                    </a:ext>
                  </a:extLst>
                </p:cNvPr>
                <p:cNvSpPr/>
                <p:nvPr/>
              </p:nvSpPr>
              <p:spPr>
                <a:xfrm>
                  <a:off x="4515988" y="2638182"/>
                  <a:ext cx="18329" cy="18448"/>
                </a:xfrm>
                <a:custGeom>
                  <a:avLst/>
                  <a:gdLst>
                    <a:gd name="connsiteX0" fmla="*/ 5098 w 18329"/>
                    <a:gd name="connsiteY0" fmla="*/ 17478 h 18448"/>
                    <a:gd name="connsiteX1" fmla="*/ 17358 w 18329"/>
                    <a:gd name="connsiteY1" fmla="*/ 13351 h 18448"/>
                    <a:gd name="connsiteX2" fmla="*/ 13231 w 18329"/>
                    <a:gd name="connsiteY2" fmla="*/ 971 h 18448"/>
                    <a:gd name="connsiteX3" fmla="*/ 971 w 18329"/>
                    <a:gd name="connsiteY3" fmla="*/ 5098 h 18448"/>
                    <a:gd name="connsiteX4" fmla="*/ 5098 w 18329"/>
                    <a:gd name="connsiteY4" fmla="*/ 174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8">
                      <a:moveTo>
                        <a:pt x="5098" y="17478"/>
                      </a:moveTo>
                      <a:cubicBezTo>
                        <a:pt x="9643" y="19750"/>
                        <a:pt x="15145" y="17896"/>
                        <a:pt x="17358" y="13351"/>
                      </a:cubicBezTo>
                      <a:cubicBezTo>
                        <a:pt x="19631" y="8806"/>
                        <a:pt x="17777" y="3244"/>
                        <a:pt x="13231" y="971"/>
                      </a:cubicBezTo>
                      <a:cubicBezTo>
                        <a:pt x="8686" y="-1302"/>
                        <a:pt x="3184" y="552"/>
                        <a:pt x="971" y="5098"/>
                      </a:cubicBezTo>
                      <a:cubicBezTo>
                        <a:pt x="-1302" y="9703"/>
                        <a:pt x="552" y="15205"/>
                        <a:pt x="5098" y="17478"/>
                      </a:cubicBezTo>
                      <a:close/>
                    </a:path>
                  </a:pathLst>
                </a:custGeom>
                <a:grpFill/>
                <a:ln w="5978" cap="flat">
                  <a:noFill/>
                  <a:prstDash val="solid"/>
                  <a:miter/>
                </a:ln>
              </p:spPr>
              <p:txBody>
                <a:bodyPr rtlCol="0" anchor="ctr"/>
                <a:lstStyle/>
                <a:p>
                  <a:endParaRPr lang="en-GB"/>
                </a:p>
              </p:txBody>
            </p:sp>
          </p:grpSp>
          <p:grpSp>
            <p:nvGrpSpPr>
              <p:cNvPr id="999" name="Graphic 3">
                <a:extLst>
                  <a:ext uri="{FF2B5EF4-FFF2-40B4-BE49-F238E27FC236}">
                    <a16:creationId xmlns:a16="http://schemas.microsoft.com/office/drawing/2014/main" id="{9EDE509C-BD39-450B-BC96-BCABF38AB795}"/>
                  </a:ext>
                </a:extLst>
              </p:cNvPr>
              <p:cNvGrpSpPr/>
              <p:nvPr/>
            </p:nvGrpSpPr>
            <p:grpSpPr>
              <a:xfrm>
                <a:off x="5145594" y="4950941"/>
                <a:ext cx="109898" cy="193117"/>
                <a:chOff x="5145594" y="4950941"/>
                <a:chExt cx="109898" cy="193117"/>
              </a:xfrm>
              <a:grpFill/>
            </p:grpSpPr>
            <p:sp>
              <p:nvSpPr>
                <p:cNvPr id="2402" name="Vrije vorm: vorm 2401">
                  <a:extLst>
                    <a:ext uri="{FF2B5EF4-FFF2-40B4-BE49-F238E27FC236}">
                      <a16:creationId xmlns:a16="http://schemas.microsoft.com/office/drawing/2014/main" id="{F8FD298F-ADBC-4249-9FBE-2C8231F69BB8}"/>
                    </a:ext>
                  </a:extLst>
                </p:cNvPr>
                <p:cNvSpPr/>
                <p:nvPr/>
              </p:nvSpPr>
              <p:spPr>
                <a:xfrm>
                  <a:off x="5153189" y="4959015"/>
                  <a:ext cx="94674" cy="176909"/>
                </a:xfrm>
                <a:custGeom>
                  <a:avLst/>
                  <a:gdLst>
                    <a:gd name="connsiteX0" fmla="*/ 94675 w 94674"/>
                    <a:gd name="connsiteY0" fmla="*/ 1435 h 176909"/>
                    <a:gd name="connsiteX1" fmla="*/ 2691 w 94674"/>
                    <a:gd name="connsiteY1" fmla="*/ 176909 h 176909"/>
                    <a:gd name="connsiteX2" fmla="*/ 0 w 94674"/>
                    <a:gd name="connsiteY2" fmla="*/ 175474 h 176909"/>
                    <a:gd name="connsiteX3" fmla="*/ 91984 w 94674"/>
                    <a:gd name="connsiteY3" fmla="*/ 0 h 176909"/>
                  </a:gdLst>
                  <a:ahLst/>
                  <a:cxnLst>
                    <a:cxn ang="0">
                      <a:pos x="connsiteX0" y="connsiteY0"/>
                    </a:cxn>
                    <a:cxn ang="0">
                      <a:pos x="connsiteX1" y="connsiteY1"/>
                    </a:cxn>
                    <a:cxn ang="0">
                      <a:pos x="connsiteX2" y="connsiteY2"/>
                    </a:cxn>
                    <a:cxn ang="0">
                      <a:pos x="connsiteX3" y="connsiteY3"/>
                    </a:cxn>
                  </a:cxnLst>
                  <a:rect l="l" t="t" r="r" b="b"/>
                  <a:pathLst>
                    <a:path w="94674" h="176909">
                      <a:moveTo>
                        <a:pt x="94675" y="1435"/>
                      </a:moveTo>
                      <a:lnTo>
                        <a:pt x="2691" y="176909"/>
                      </a:lnTo>
                      <a:lnTo>
                        <a:pt x="0" y="175474"/>
                      </a:lnTo>
                      <a:lnTo>
                        <a:pt x="91984" y="0"/>
                      </a:lnTo>
                      <a:close/>
                    </a:path>
                  </a:pathLst>
                </a:custGeom>
                <a:grpFill/>
                <a:ln w="5978" cap="flat">
                  <a:noFill/>
                  <a:prstDash val="solid"/>
                  <a:miter/>
                </a:ln>
              </p:spPr>
              <p:txBody>
                <a:bodyPr rtlCol="0" anchor="ctr"/>
                <a:lstStyle/>
                <a:p>
                  <a:endParaRPr lang="en-GB"/>
                </a:p>
              </p:txBody>
            </p:sp>
            <p:sp>
              <p:nvSpPr>
                <p:cNvPr id="2403" name="Vrije vorm: vorm 2402">
                  <a:extLst>
                    <a:ext uri="{FF2B5EF4-FFF2-40B4-BE49-F238E27FC236}">
                      <a16:creationId xmlns:a16="http://schemas.microsoft.com/office/drawing/2014/main" id="{EAF9B2E6-1F0F-4230-82EE-8CEC2666E4FB}"/>
                    </a:ext>
                  </a:extLst>
                </p:cNvPr>
                <p:cNvSpPr/>
                <p:nvPr/>
              </p:nvSpPr>
              <p:spPr>
                <a:xfrm>
                  <a:off x="5145594" y="5125638"/>
                  <a:ext cx="18322" cy="18420"/>
                </a:xfrm>
                <a:custGeom>
                  <a:avLst/>
                  <a:gdLst>
                    <a:gd name="connsiteX0" fmla="*/ 17284 w 18322"/>
                    <a:gd name="connsiteY0" fmla="*/ 13516 h 18420"/>
                    <a:gd name="connsiteX1" fmla="*/ 4904 w 18322"/>
                    <a:gd name="connsiteY1" fmla="*/ 17344 h 18420"/>
                    <a:gd name="connsiteX2" fmla="*/ 1076 w 18322"/>
                    <a:gd name="connsiteY2" fmla="*/ 4904 h 18420"/>
                    <a:gd name="connsiteX3" fmla="*/ 13456 w 18322"/>
                    <a:gd name="connsiteY3" fmla="*/ 1076 h 18420"/>
                    <a:gd name="connsiteX4" fmla="*/ 17284 w 18322"/>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0">
                      <a:moveTo>
                        <a:pt x="17284" y="13516"/>
                      </a:moveTo>
                      <a:cubicBezTo>
                        <a:pt x="14951" y="18002"/>
                        <a:pt x="9389" y="19736"/>
                        <a:pt x="4904" y="17344"/>
                      </a:cubicBezTo>
                      <a:cubicBezTo>
                        <a:pt x="418" y="14952"/>
                        <a:pt x="-1316" y="9390"/>
                        <a:pt x="1076" y="4904"/>
                      </a:cubicBezTo>
                      <a:cubicBezTo>
                        <a:pt x="3409" y="419"/>
                        <a:pt x="8971" y="-1316"/>
                        <a:pt x="13456" y="1076"/>
                      </a:cubicBezTo>
                      <a:cubicBezTo>
                        <a:pt x="17882" y="3409"/>
                        <a:pt x="19617" y="8971"/>
                        <a:pt x="17284" y="13516"/>
                      </a:cubicBezTo>
                      <a:close/>
                    </a:path>
                  </a:pathLst>
                </a:custGeom>
                <a:grpFill/>
                <a:ln w="5978" cap="flat">
                  <a:noFill/>
                  <a:prstDash val="solid"/>
                  <a:miter/>
                </a:ln>
              </p:spPr>
              <p:txBody>
                <a:bodyPr rtlCol="0" anchor="ctr"/>
                <a:lstStyle/>
                <a:p>
                  <a:endParaRPr lang="en-GB"/>
                </a:p>
              </p:txBody>
            </p:sp>
            <p:sp>
              <p:nvSpPr>
                <p:cNvPr id="2404" name="Vrije vorm: vorm 2403">
                  <a:extLst>
                    <a:ext uri="{FF2B5EF4-FFF2-40B4-BE49-F238E27FC236}">
                      <a16:creationId xmlns:a16="http://schemas.microsoft.com/office/drawing/2014/main" id="{E9EF63AC-1D1D-4A54-B273-8DA1EAEB37DE}"/>
                    </a:ext>
                  </a:extLst>
                </p:cNvPr>
                <p:cNvSpPr/>
                <p:nvPr/>
              </p:nvSpPr>
              <p:spPr>
                <a:xfrm>
                  <a:off x="5237185" y="4950941"/>
                  <a:ext cx="18307" cy="18420"/>
                </a:xfrm>
                <a:custGeom>
                  <a:avLst/>
                  <a:gdLst>
                    <a:gd name="connsiteX0" fmla="*/ 17258 w 18307"/>
                    <a:gd name="connsiteY0" fmla="*/ 13516 h 18420"/>
                    <a:gd name="connsiteX1" fmla="*/ 13430 w 18307"/>
                    <a:gd name="connsiteY1" fmla="*/ 1076 h 18420"/>
                    <a:gd name="connsiteX2" fmla="*/ 1050 w 18307"/>
                    <a:gd name="connsiteY2" fmla="*/ 4904 h 18420"/>
                    <a:gd name="connsiteX3" fmla="*/ 4877 w 18307"/>
                    <a:gd name="connsiteY3" fmla="*/ 17344 h 18420"/>
                    <a:gd name="connsiteX4" fmla="*/ 17258 w 18307"/>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0">
                      <a:moveTo>
                        <a:pt x="17258" y="13516"/>
                      </a:moveTo>
                      <a:cubicBezTo>
                        <a:pt x="19590" y="9031"/>
                        <a:pt x="17915" y="3469"/>
                        <a:pt x="13430" y="1076"/>
                      </a:cubicBezTo>
                      <a:cubicBezTo>
                        <a:pt x="8944" y="-1316"/>
                        <a:pt x="3382" y="418"/>
                        <a:pt x="1050" y="4904"/>
                      </a:cubicBezTo>
                      <a:cubicBezTo>
                        <a:pt x="-1283" y="9389"/>
                        <a:pt x="392" y="14952"/>
                        <a:pt x="4877" y="17344"/>
                      </a:cubicBezTo>
                      <a:cubicBezTo>
                        <a:pt x="9363" y="19736"/>
                        <a:pt x="14865" y="18002"/>
                        <a:pt x="17258" y="13516"/>
                      </a:cubicBezTo>
                      <a:close/>
                    </a:path>
                  </a:pathLst>
                </a:custGeom>
                <a:grpFill/>
                <a:ln w="5978" cap="flat">
                  <a:noFill/>
                  <a:prstDash val="solid"/>
                  <a:miter/>
                </a:ln>
              </p:spPr>
              <p:txBody>
                <a:bodyPr rtlCol="0" anchor="ctr"/>
                <a:lstStyle/>
                <a:p>
                  <a:endParaRPr lang="en-GB"/>
                </a:p>
              </p:txBody>
            </p:sp>
          </p:grpSp>
          <p:grpSp>
            <p:nvGrpSpPr>
              <p:cNvPr id="1000" name="Graphic 3">
                <a:extLst>
                  <a:ext uri="{FF2B5EF4-FFF2-40B4-BE49-F238E27FC236}">
                    <a16:creationId xmlns:a16="http://schemas.microsoft.com/office/drawing/2014/main" id="{9DDF3DCB-823B-4F41-9C63-8EC3F8CA913B}"/>
                  </a:ext>
                </a:extLst>
              </p:cNvPr>
              <p:cNvGrpSpPr/>
              <p:nvPr/>
            </p:nvGrpSpPr>
            <p:grpSpPr>
              <a:xfrm>
                <a:off x="5170520" y="5024063"/>
                <a:ext cx="121971" cy="235566"/>
                <a:chOff x="5170520" y="5024063"/>
                <a:chExt cx="121971" cy="235566"/>
              </a:xfrm>
              <a:grpFill/>
            </p:grpSpPr>
            <p:sp>
              <p:nvSpPr>
                <p:cNvPr id="2399" name="Vrije vorm: vorm 2398">
                  <a:extLst>
                    <a:ext uri="{FF2B5EF4-FFF2-40B4-BE49-F238E27FC236}">
                      <a16:creationId xmlns:a16="http://schemas.microsoft.com/office/drawing/2014/main" id="{431DDF33-BE4E-42D4-95D5-FC5D3C5F84D7}"/>
                    </a:ext>
                  </a:extLst>
                </p:cNvPr>
                <p:cNvSpPr/>
                <p:nvPr/>
              </p:nvSpPr>
              <p:spPr>
                <a:xfrm>
                  <a:off x="5178069" y="5032219"/>
                  <a:ext cx="106875" cy="219253"/>
                </a:xfrm>
                <a:custGeom>
                  <a:avLst/>
                  <a:gdLst>
                    <a:gd name="connsiteX0" fmla="*/ 106875 w 106875"/>
                    <a:gd name="connsiteY0" fmla="*/ 1375 h 219253"/>
                    <a:gd name="connsiteX1" fmla="*/ 2751 w 106875"/>
                    <a:gd name="connsiteY1" fmla="*/ 219253 h 219253"/>
                    <a:gd name="connsiteX2" fmla="*/ 0 w 106875"/>
                    <a:gd name="connsiteY2" fmla="*/ 217938 h 219253"/>
                    <a:gd name="connsiteX3" fmla="*/ 104124 w 106875"/>
                    <a:gd name="connsiteY3" fmla="*/ 0 h 219253"/>
                  </a:gdLst>
                  <a:ahLst/>
                  <a:cxnLst>
                    <a:cxn ang="0">
                      <a:pos x="connsiteX0" y="connsiteY0"/>
                    </a:cxn>
                    <a:cxn ang="0">
                      <a:pos x="connsiteX1" y="connsiteY1"/>
                    </a:cxn>
                    <a:cxn ang="0">
                      <a:pos x="connsiteX2" y="connsiteY2"/>
                    </a:cxn>
                    <a:cxn ang="0">
                      <a:pos x="connsiteX3" y="connsiteY3"/>
                    </a:cxn>
                  </a:cxnLst>
                  <a:rect l="l" t="t" r="r" b="b"/>
                  <a:pathLst>
                    <a:path w="106875" h="219253">
                      <a:moveTo>
                        <a:pt x="106875" y="1375"/>
                      </a:moveTo>
                      <a:lnTo>
                        <a:pt x="2751" y="219253"/>
                      </a:lnTo>
                      <a:lnTo>
                        <a:pt x="0" y="217938"/>
                      </a:lnTo>
                      <a:lnTo>
                        <a:pt x="104124" y="0"/>
                      </a:lnTo>
                      <a:close/>
                    </a:path>
                  </a:pathLst>
                </a:custGeom>
                <a:grpFill/>
                <a:ln w="5978" cap="flat">
                  <a:noFill/>
                  <a:prstDash val="solid"/>
                  <a:miter/>
                </a:ln>
              </p:spPr>
              <p:txBody>
                <a:bodyPr rtlCol="0" anchor="ctr"/>
                <a:lstStyle/>
                <a:p>
                  <a:endParaRPr lang="en-GB"/>
                </a:p>
              </p:txBody>
            </p:sp>
            <p:sp>
              <p:nvSpPr>
                <p:cNvPr id="2400" name="Vrije vorm: vorm 2399">
                  <a:extLst>
                    <a:ext uri="{FF2B5EF4-FFF2-40B4-BE49-F238E27FC236}">
                      <a16:creationId xmlns:a16="http://schemas.microsoft.com/office/drawing/2014/main" id="{B6FE22A9-B9C7-4309-BDF0-D05F02540175}"/>
                    </a:ext>
                  </a:extLst>
                </p:cNvPr>
                <p:cNvSpPr/>
                <p:nvPr/>
              </p:nvSpPr>
              <p:spPr>
                <a:xfrm>
                  <a:off x="5170520" y="5241163"/>
                  <a:ext cx="18326" cy="18466"/>
                </a:xfrm>
                <a:custGeom>
                  <a:avLst/>
                  <a:gdLst>
                    <a:gd name="connsiteX0" fmla="*/ 17416 w 18326"/>
                    <a:gd name="connsiteY0" fmla="*/ 13240 h 18466"/>
                    <a:gd name="connsiteX1" fmla="*/ 5216 w 18326"/>
                    <a:gd name="connsiteY1" fmla="*/ 17546 h 18466"/>
                    <a:gd name="connsiteX2" fmla="*/ 910 w 18326"/>
                    <a:gd name="connsiteY2" fmla="*/ 5226 h 18466"/>
                    <a:gd name="connsiteX3" fmla="*/ 13110 w 18326"/>
                    <a:gd name="connsiteY3" fmla="*/ 920 h 18466"/>
                    <a:gd name="connsiteX4" fmla="*/ 17416 w 18326"/>
                    <a:gd name="connsiteY4" fmla="*/ 13240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6">
                      <a:moveTo>
                        <a:pt x="17416" y="13240"/>
                      </a:moveTo>
                      <a:cubicBezTo>
                        <a:pt x="15204" y="17845"/>
                        <a:pt x="9761" y="19759"/>
                        <a:pt x="5216" y="17546"/>
                      </a:cubicBezTo>
                      <a:cubicBezTo>
                        <a:pt x="670" y="15333"/>
                        <a:pt x="-1303" y="9831"/>
                        <a:pt x="910" y="5226"/>
                      </a:cubicBezTo>
                      <a:cubicBezTo>
                        <a:pt x="3122" y="621"/>
                        <a:pt x="8565" y="-1293"/>
                        <a:pt x="13110" y="920"/>
                      </a:cubicBezTo>
                      <a:cubicBezTo>
                        <a:pt x="17656" y="3192"/>
                        <a:pt x="19629" y="8695"/>
                        <a:pt x="17416" y="13240"/>
                      </a:cubicBezTo>
                      <a:close/>
                    </a:path>
                  </a:pathLst>
                </a:custGeom>
                <a:grpFill/>
                <a:ln w="5978" cap="flat">
                  <a:noFill/>
                  <a:prstDash val="solid"/>
                  <a:miter/>
                </a:ln>
              </p:spPr>
              <p:txBody>
                <a:bodyPr rtlCol="0" anchor="ctr"/>
                <a:lstStyle/>
                <a:p>
                  <a:endParaRPr lang="en-GB"/>
                </a:p>
              </p:txBody>
            </p:sp>
            <p:sp>
              <p:nvSpPr>
                <p:cNvPr id="2401" name="Vrije vorm: vorm 2400">
                  <a:extLst>
                    <a:ext uri="{FF2B5EF4-FFF2-40B4-BE49-F238E27FC236}">
                      <a16:creationId xmlns:a16="http://schemas.microsoft.com/office/drawing/2014/main" id="{A0EC90F7-404D-452E-A24A-25A12A20B852}"/>
                    </a:ext>
                  </a:extLst>
                </p:cNvPr>
                <p:cNvSpPr/>
                <p:nvPr/>
              </p:nvSpPr>
              <p:spPr>
                <a:xfrm>
                  <a:off x="5274166" y="5024063"/>
                  <a:ext cx="18325" cy="18466"/>
                </a:xfrm>
                <a:custGeom>
                  <a:avLst/>
                  <a:gdLst>
                    <a:gd name="connsiteX0" fmla="*/ 17416 w 18325"/>
                    <a:gd name="connsiteY0" fmla="*/ 13240 h 18466"/>
                    <a:gd name="connsiteX1" fmla="*/ 13110 w 18325"/>
                    <a:gd name="connsiteY1" fmla="*/ 920 h 18466"/>
                    <a:gd name="connsiteX2" fmla="*/ 910 w 18325"/>
                    <a:gd name="connsiteY2" fmla="*/ 5226 h 18466"/>
                    <a:gd name="connsiteX3" fmla="*/ 5216 w 18325"/>
                    <a:gd name="connsiteY3" fmla="*/ 17546 h 18466"/>
                    <a:gd name="connsiteX4" fmla="*/ 17416 w 18325"/>
                    <a:gd name="connsiteY4" fmla="*/ 13240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6">
                      <a:moveTo>
                        <a:pt x="17416" y="13240"/>
                      </a:moveTo>
                      <a:cubicBezTo>
                        <a:pt x="19629" y="8635"/>
                        <a:pt x="17656" y="3133"/>
                        <a:pt x="13110" y="920"/>
                      </a:cubicBezTo>
                      <a:cubicBezTo>
                        <a:pt x="8565" y="-1293"/>
                        <a:pt x="3063" y="621"/>
                        <a:pt x="910" y="5226"/>
                      </a:cubicBezTo>
                      <a:cubicBezTo>
                        <a:pt x="-1303" y="9831"/>
                        <a:pt x="670" y="15333"/>
                        <a:pt x="5216" y="17546"/>
                      </a:cubicBezTo>
                      <a:cubicBezTo>
                        <a:pt x="9761" y="19759"/>
                        <a:pt x="15263" y="17845"/>
                        <a:pt x="17416" y="13240"/>
                      </a:cubicBezTo>
                      <a:close/>
                    </a:path>
                  </a:pathLst>
                </a:custGeom>
                <a:grpFill/>
                <a:ln w="5978" cap="flat">
                  <a:noFill/>
                  <a:prstDash val="solid"/>
                  <a:miter/>
                </a:ln>
              </p:spPr>
              <p:txBody>
                <a:bodyPr rtlCol="0" anchor="ctr"/>
                <a:lstStyle/>
                <a:p>
                  <a:endParaRPr lang="en-GB"/>
                </a:p>
              </p:txBody>
            </p:sp>
          </p:grpSp>
          <p:grpSp>
            <p:nvGrpSpPr>
              <p:cNvPr id="1001" name="Graphic 3">
                <a:extLst>
                  <a:ext uri="{FF2B5EF4-FFF2-40B4-BE49-F238E27FC236}">
                    <a16:creationId xmlns:a16="http://schemas.microsoft.com/office/drawing/2014/main" id="{039060D9-2EC6-460A-A459-77F7E6F60EB8}"/>
                  </a:ext>
                </a:extLst>
              </p:cNvPr>
              <p:cNvGrpSpPr/>
              <p:nvPr/>
            </p:nvGrpSpPr>
            <p:grpSpPr>
              <a:xfrm>
                <a:off x="4268570" y="2595362"/>
                <a:ext cx="242863" cy="121048"/>
                <a:chOff x="4268570" y="2595362"/>
                <a:chExt cx="242863" cy="121048"/>
              </a:xfrm>
              <a:grpFill/>
            </p:grpSpPr>
            <p:sp>
              <p:nvSpPr>
                <p:cNvPr id="2396" name="Vrije vorm: vorm 2395">
                  <a:extLst>
                    <a:ext uri="{FF2B5EF4-FFF2-40B4-BE49-F238E27FC236}">
                      <a16:creationId xmlns:a16="http://schemas.microsoft.com/office/drawing/2014/main" id="{B68FD916-CC12-4088-87DC-BF7748BC4D05}"/>
                    </a:ext>
                  </a:extLst>
                </p:cNvPr>
                <p:cNvSpPr/>
                <p:nvPr/>
              </p:nvSpPr>
              <p:spPr>
                <a:xfrm>
                  <a:off x="4276714" y="2602970"/>
                  <a:ext cx="226549" cy="105798"/>
                </a:xfrm>
                <a:custGeom>
                  <a:avLst/>
                  <a:gdLst>
                    <a:gd name="connsiteX0" fmla="*/ 226550 w 226549"/>
                    <a:gd name="connsiteY0" fmla="*/ 103048 h 105798"/>
                    <a:gd name="connsiteX1" fmla="*/ 225294 w 226549"/>
                    <a:gd name="connsiteY1" fmla="*/ 105799 h 105798"/>
                    <a:gd name="connsiteX2" fmla="*/ 0 w 226549"/>
                    <a:gd name="connsiteY2" fmla="*/ 2811 h 105798"/>
                    <a:gd name="connsiteX3" fmla="*/ 1256 w 226549"/>
                    <a:gd name="connsiteY3" fmla="*/ 0 h 105798"/>
                  </a:gdLst>
                  <a:ahLst/>
                  <a:cxnLst>
                    <a:cxn ang="0">
                      <a:pos x="connsiteX0" y="connsiteY0"/>
                    </a:cxn>
                    <a:cxn ang="0">
                      <a:pos x="connsiteX1" y="connsiteY1"/>
                    </a:cxn>
                    <a:cxn ang="0">
                      <a:pos x="connsiteX2" y="connsiteY2"/>
                    </a:cxn>
                    <a:cxn ang="0">
                      <a:pos x="connsiteX3" y="connsiteY3"/>
                    </a:cxn>
                  </a:cxnLst>
                  <a:rect l="l" t="t" r="r" b="b"/>
                  <a:pathLst>
                    <a:path w="226549" h="105798">
                      <a:moveTo>
                        <a:pt x="226550" y="103048"/>
                      </a:moveTo>
                      <a:lnTo>
                        <a:pt x="225294" y="105799"/>
                      </a:lnTo>
                      <a:lnTo>
                        <a:pt x="0" y="2811"/>
                      </a:lnTo>
                      <a:lnTo>
                        <a:pt x="1256" y="0"/>
                      </a:lnTo>
                      <a:close/>
                    </a:path>
                  </a:pathLst>
                </a:custGeom>
                <a:grpFill/>
                <a:ln w="5978" cap="flat">
                  <a:noFill/>
                  <a:prstDash val="solid"/>
                  <a:miter/>
                </a:ln>
              </p:spPr>
              <p:txBody>
                <a:bodyPr rtlCol="0" anchor="ctr"/>
                <a:lstStyle/>
                <a:p>
                  <a:endParaRPr lang="en-GB"/>
                </a:p>
              </p:txBody>
            </p:sp>
            <p:sp>
              <p:nvSpPr>
                <p:cNvPr id="2397" name="Vrije vorm: vorm 2396">
                  <a:extLst>
                    <a:ext uri="{FF2B5EF4-FFF2-40B4-BE49-F238E27FC236}">
                      <a16:creationId xmlns:a16="http://schemas.microsoft.com/office/drawing/2014/main" id="{FA9F3FC6-D39E-4770-8085-ED99D2E3C393}"/>
                    </a:ext>
                  </a:extLst>
                </p:cNvPr>
                <p:cNvSpPr/>
                <p:nvPr/>
              </p:nvSpPr>
              <p:spPr>
                <a:xfrm>
                  <a:off x="4268570" y="2595362"/>
                  <a:ext cx="18346" cy="18419"/>
                </a:xfrm>
                <a:custGeom>
                  <a:avLst/>
                  <a:gdLst>
                    <a:gd name="connsiteX0" fmla="*/ 5393 w 18346"/>
                    <a:gd name="connsiteY0" fmla="*/ 17595 h 18419"/>
                    <a:gd name="connsiteX1" fmla="*/ 788 w 18346"/>
                    <a:gd name="connsiteY1" fmla="*/ 5395 h 18419"/>
                    <a:gd name="connsiteX2" fmla="*/ 12928 w 18346"/>
                    <a:gd name="connsiteY2" fmla="*/ 850 h 18419"/>
                    <a:gd name="connsiteX3" fmla="*/ 17534 w 18346"/>
                    <a:gd name="connsiteY3" fmla="*/ 13050 h 18419"/>
                    <a:gd name="connsiteX4" fmla="*/ 5393 w 18346"/>
                    <a:gd name="connsiteY4" fmla="*/ 17595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9">
                      <a:moveTo>
                        <a:pt x="5393" y="17595"/>
                      </a:moveTo>
                      <a:cubicBezTo>
                        <a:pt x="788" y="15502"/>
                        <a:pt x="-1246" y="10000"/>
                        <a:pt x="788" y="5395"/>
                      </a:cubicBezTo>
                      <a:cubicBezTo>
                        <a:pt x="2881" y="790"/>
                        <a:pt x="8264" y="-1304"/>
                        <a:pt x="12928" y="850"/>
                      </a:cubicBezTo>
                      <a:cubicBezTo>
                        <a:pt x="17534" y="2943"/>
                        <a:pt x="19627" y="8445"/>
                        <a:pt x="17534" y="13050"/>
                      </a:cubicBezTo>
                      <a:cubicBezTo>
                        <a:pt x="15440" y="17655"/>
                        <a:pt x="10058" y="19689"/>
                        <a:pt x="5393" y="17595"/>
                      </a:cubicBezTo>
                      <a:close/>
                    </a:path>
                  </a:pathLst>
                </a:custGeom>
                <a:grpFill/>
                <a:ln w="5978" cap="flat">
                  <a:noFill/>
                  <a:prstDash val="solid"/>
                  <a:miter/>
                </a:ln>
              </p:spPr>
              <p:txBody>
                <a:bodyPr rtlCol="0" anchor="ctr"/>
                <a:lstStyle/>
                <a:p>
                  <a:endParaRPr lang="en-GB"/>
                </a:p>
              </p:txBody>
            </p:sp>
            <p:sp>
              <p:nvSpPr>
                <p:cNvPr id="2398" name="Vrije vorm: vorm 2397">
                  <a:extLst>
                    <a:ext uri="{FF2B5EF4-FFF2-40B4-BE49-F238E27FC236}">
                      <a16:creationId xmlns:a16="http://schemas.microsoft.com/office/drawing/2014/main" id="{5AF1E797-4971-4A60-A732-63C8ED781FD4}"/>
                    </a:ext>
                  </a:extLst>
                </p:cNvPr>
                <p:cNvSpPr/>
                <p:nvPr/>
              </p:nvSpPr>
              <p:spPr>
                <a:xfrm>
                  <a:off x="4493061" y="2698017"/>
                  <a:ext cx="18372" cy="18393"/>
                </a:xfrm>
                <a:custGeom>
                  <a:avLst/>
                  <a:gdLst>
                    <a:gd name="connsiteX0" fmla="*/ 5419 w 18372"/>
                    <a:gd name="connsiteY0" fmla="*/ 17570 h 18393"/>
                    <a:gd name="connsiteX1" fmla="*/ 17559 w 18372"/>
                    <a:gd name="connsiteY1" fmla="*/ 13024 h 18393"/>
                    <a:gd name="connsiteX2" fmla="*/ 12954 w 18372"/>
                    <a:gd name="connsiteY2" fmla="*/ 824 h 18393"/>
                    <a:gd name="connsiteX3" fmla="*/ 813 w 18372"/>
                    <a:gd name="connsiteY3" fmla="*/ 5369 h 18393"/>
                    <a:gd name="connsiteX4" fmla="*/ 5419 w 18372"/>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393">
                      <a:moveTo>
                        <a:pt x="5419" y="17570"/>
                      </a:moveTo>
                      <a:cubicBezTo>
                        <a:pt x="10023" y="19663"/>
                        <a:pt x="15466" y="17630"/>
                        <a:pt x="17559" y="13024"/>
                      </a:cubicBezTo>
                      <a:cubicBezTo>
                        <a:pt x="19653" y="8419"/>
                        <a:pt x="17559" y="2917"/>
                        <a:pt x="12954" y="824"/>
                      </a:cubicBezTo>
                      <a:cubicBezTo>
                        <a:pt x="8349" y="-1269"/>
                        <a:pt x="2906" y="764"/>
                        <a:pt x="813" y="5369"/>
                      </a:cubicBezTo>
                      <a:cubicBezTo>
                        <a:pt x="-1280" y="9974"/>
                        <a:pt x="813" y="15417"/>
                        <a:pt x="5419" y="17570"/>
                      </a:cubicBezTo>
                      <a:close/>
                    </a:path>
                  </a:pathLst>
                </a:custGeom>
                <a:grpFill/>
                <a:ln w="5978" cap="flat">
                  <a:noFill/>
                  <a:prstDash val="solid"/>
                  <a:miter/>
                </a:ln>
              </p:spPr>
              <p:txBody>
                <a:bodyPr rtlCol="0" anchor="ctr"/>
                <a:lstStyle/>
                <a:p>
                  <a:endParaRPr lang="en-GB"/>
                </a:p>
              </p:txBody>
            </p:sp>
          </p:grpSp>
          <p:grpSp>
            <p:nvGrpSpPr>
              <p:cNvPr id="1002" name="Graphic 3">
                <a:extLst>
                  <a:ext uri="{FF2B5EF4-FFF2-40B4-BE49-F238E27FC236}">
                    <a16:creationId xmlns:a16="http://schemas.microsoft.com/office/drawing/2014/main" id="{ABBB5613-C51C-4B03-95FF-647995F7EA2A}"/>
                  </a:ext>
                </a:extLst>
              </p:cNvPr>
              <p:cNvGrpSpPr/>
              <p:nvPr/>
            </p:nvGrpSpPr>
            <p:grpSpPr>
              <a:xfrm>
                <a:off x="4330706" y="2545051"/>
                <a:ext cx="27659" cy="23124"/>
                <a:chOff x="4330706" y="2545051"/>
                <a:chExt cx="27659" cy="23124"/>
              </a:xfrm>
              <a:grpFill/>
            </p:grpSpPr>
            <p:sp>
              <p:nvSpPr>
                <p:cNvPr id="2394" name="Vrije vorm: vorm 2393">
                  <a:extLst>
                    <a:ext uri="{FF2B5EF4-FFF2-40B4-BE49-F238E27FC236}">
                      <a16:creationId xmlns:a16="http://schemas.microsoft.com/office/drawing/2014/main" id="{CFF1C715-6454-4F9E-A2BC-398B6A71F642}"/>
                    </a:ext>
                  </a:extLst>
                </p:cNvPr>
                <p:cNvSpPr/>
                <p:nvPr/>
              </p:nvSpPr>
              <p:spPr>
                <a:xfrm>
                  <a:off x="4330706" y="2545051"/>
                  <a:ext cx="18329" cy="18459"/>
                </a:xfrm>
                <a:custGeom>
                  <a:avLst/>
                  <a:gdLst>
                    <a:gd name="connsiteX0" fmla="*/ 13231 w 18329"/>
                    <a:gd name="connsiteY0" fmla="*/ 982 h 18459"/>
                    <a:gd name="connsiteX1" fmla="*/ 17358 w 18329"/>
                    <a:gd name="connsiteY1" fmla="*/ 13362 h 18459"/>
                    <a:gd name="connsiteX2" fmla="*/ 5098 w 18329"/>
                    <a:gd name="connsiteY2" fmla="*/ 17489 h 18459"/>
                    <a:gd name="connsiteX3" fmla="*/ 971 w 18329"/>
                    <a:gd name="connsiteY3" fmla="*/ 5109 h 18459"/>
                    <a:gd name="connsiteX4" fmla="*/ 13231 w 18329"/>
                    <a:gd name="connsiteY4" fmla="*/ 982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9">
                      <a:moveTo>
                        <a:pt x="13231" y="982"/>
                      </a:moveTo>
                      <a:cubicBezTo>
                        <a:pt x="17777" y="3255"/>
                        <a:pt x="19631" y="8817"/>
                        <a:pt x="17358" y="13362"/>
                      </a:cubicBezTo>
                      <a:cubicBezTo>
                        <a:pt x="15086" y="17907"/>
                        <a:pt x="9583" y="19761"/>
                        <a:pt x="5098" y="17489"/>
                      </a:cubicBezTo>
                      <a:cubicBezTo>
                        <a:pt x="552" y="15216"/>
                        <a:pt x="-1302" y="9654"/>
                        <a:pt x="971" y="5109"/>
                      </a:cubicBezTo>
                      <a:cubicBezTo>
                        <a:pt x="3244" y="503"/>
                        <a:pt x="8746" y="-1291"/>
                        <a:pt x="13231" y="982"/>
                      </a:cubicBezTo>
                      <a:close/>
                    </a:path>
                  </a:pathLst>
                </a:custGeom>
                <a:grpFill/>
                <a:ln w="5978" cap="flat">
                  <a:noFill/>
                  <a:prstDash val="solid"/>
                  <a:miter/>
                </a:ln>
              </p:spPr>
              <p:txBody>
                <a:bodyPr rtlCol="0" anchor="ctr"/>
                <a:lstStyle/>
                <a:p>
                  <a:endParaRPr lang="en-GB"/>
                </a:p>
              </p:txBody>
            </p:sp>
            <p:sp>
              <p:nvSpPr>
                <p:cNvPr id="2395" name="Vrije vorm: vorm 2394">
                  <a:extLst>
                    <a:ext uri="{FF2B5EF4-FFF2-40B4-BE49-F238E27FC236}">
                      <a16:creationId xmlns:a16="http://schemas.microsoft.com/office/drawing/2014/main" id="{B100C6FC-CBBC-4A07-8E1D-DD533A4F8FD1}"/>
                    </a:ext>
                  </a:extLst>
                </p:cNvPr>
                <p:cNvSpPr/>
                <p:nvPr/>
              </p:nvSpPr>
              <p:spPr>
                <a:xfrm>
                  <a:off x="4340036" y="2549727"/>
                  <a:ext cx="18329" cy="18449"/>
                </a:xfrm>
                <a:custGeom>
                  <a:avLst/>
                  <a:gdLst>
                    <a:gd name="connsiteX0" fmla="*/ 13231 w 18329"/>
                    <a:gd name="connsiteY0" fmla="*/ 971 h 18449"/>
                    <a:gd name="connsiteX1" fmla="*/ 971 w 18329"/>
                    <a:gd name="connsiteY1" fmla="*/ 5098 h 18449"/>
                    <a:gd name="connsiteX2" fmla="*/ 5098 w 18329"/>
                    <a:gd name="connsiteY2" fmla="*/ 17478 h 18449"/>
                    <a:gd name="connsiteX3" fmla="*/ 17358 w 18329"/>
                    <a:gd name="connsiteY3" fmla="*/ 13351 h 18449"/>
                    <a:gd name="connsiteX4" fmla="*/ 13231 w 18329"/>
                    <a:gd name="connsiteY4" fmla="*/ 971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13231" y="971"/>
                      </a:moveTo>
                      <a:cubicBezTo>
                        <a:pt x="8686" y="-1302"/>
                        <a:pt x="3184" y="552"/>
                        <a:pt x="971" y="5098"/>
                      </a:cubicBezTo>
                      <a:cubicBezTo>
                        <a:pt x="-1302" y="9643"/>
                        <a:pt x="552" y="15205"/>
                        <a:pt x="5098" y="17478"/>
                      </a:cubicBezTo>
                      <a:cubicBezTo>
                        <a:pt x="9643" y="19751"/>
                        <a:pt x="15145" y="17897"/>
                        <a:pt x="17358" y="13351"/>
                      </a:cubicBezTo>
                      <a:cubicBezTo>
                        <a:pt x="19631" y="8806"/>
                        <a:pt x="17777" y="3244"/>
                        <a:pt x="13231" y="971"/>
                      </a:cubicBezTo>
                      <a:close/>
                    </a:path>
                  </a:pathLst>
                </a:custGeom>
                <a:grpFill/>
                <a:ln w="5978" cap="flat">
                  <a:noFill/>
                  <a:prstDash val="solid"/>
                  <a:miter/>
                </a:ln>
              </p:spPr>
              <p:txBody>
                <a:bodyPr rtlCol="0" anchor="ctr"/>
                <a:lstStyle/>
                <a:p>
                  <a:endParaRPr lang="en-GB"/>
                </a:p>
              </p:txBody>
            </p:sp>
          </p:grpSp>
          <p:grpSp>
            <p:nvGrpSpPr>
              <p:cNvPr id="1003" name="Graphic 3">
                <a:extLst>
                  <a:ext uri="{FF2B5EF4-FFF2-40B4-BE49-F238E27FC236}">
                    <a16:creationId xmlns:a16="http://schemas.microsoft.com/office/drawing/2014/main" id="{799DCBC0-9889-495D-9D35-7C8692CE3B14}"/>
                  </a:ext>
                </a:extLst>
              </p:cNvPr>
              <p:cNvGrpSpPr/>
              <p:nvPr/>
            </p:nvGrpSpPr>
            <p:grpSpPr>
              <a:xfrm>
                <a:off x="5309797" y="5429763"/>
                <a:ext cx="136734" cy="406221"/>
                <a:chOff x="5309797" y="5429763"/>
                <a:chExt cx="136734" cy="406221"/>
              </a:xfrm>
              <a:grpFill/>
            </p:grpSpPr>
            <p:sp>
              <p:nvSpPr>
                <p:cNvPr id="2391" name="Vrije vorm: vorm 2390">
                  <a:extLst>
                    <a:ext uri="{FF2B5EF4-FFF2-40B4-BE49-F238E27FC236}">
                      <a16:creationId xmlns:a16="http://schemas.microsoft.com/office/drawing/2014/main" id="{31C16A99-A008-4FE5-92BA-29462E06808C}"/>
                    </a:ext>
                  </a:extLst>
                </p:cNvPr>
                <p:cNvSpPr/>
                <p:nvPr/>
              </p:nvSpPr>
              <p:spPr>
                <a:xfrm>
                  <a:off x="5317360" y="5438131"/>
                  <a:ext cx="121588" cy="389524"/>
                </a:xfrm>
                <a:custGeom>
                  <a:avLst/>
                  <a:gdLst>
                    <a:gd name="connsiteX0" fmla="*/ 121588 w 121588"/>
                    <a:gd name="connsiteY0" fmla="*/ 897 h 389524"/>
                    <a:gd name="connsiteX1" fmla="*/ 2871 w 121588"/>
                    <a:gd name="connsiteY1" fmla="*/ 389524 h 389524"/>
                    <a:gd name="connsiteX2" fmla="*/ 0 w 121588"/>
                    <a:gd name="connsiteY2" fmla="*/ 388627 h 389524"/>
                    <a:gd name="connsiteX3" fmla="*/ 118717 w 121588"/>
                    <a:gd name="connsiteY3" fmla="*/ 0 h 389524"/>
                  </a:gdLst>
                  <a:ahLst/>
                  <a:cxnLst>
                    <a:cxn ang="0">
                      <a:pos x="connsiteX0" y="connsiteY0"/>
                    </a:cxn>
                    <a:cxn ang="0">
                      <a:pos x="connsiteX1" y="connsiteY1"/>
                    </a:cxn>
                    <a:cxn ang="0">
                      <a:pos x="connsiteX2" y="connsiteY2"/>
                    </a:cxn>
                    <a:cxn ang="0">
                      <a:pos x="connsiteX3" y="connsiteY3"/>
                    </a:cxn>
                  </a:cxnLst>
                  <a:rect l="l" t="t" r="r" b="b"/>
                  <a:pathLst>
                    <a:path w="121588" h="389524">
                      <a:moveTo>
                        <a:pt x="121588" y="897"/>
                      </a:moveTo>
                      <a:lnTo>
                        <a:pt x="2871" y="389524"/>
                      </a:lnTo>
                      <a:lnTo>
                        <a:pt x="0" y="388627"/>
                      </a:lnTo>
                      <a:lnTo>
                        <a:pt x="118717" y="0"/>
                      </a:lnTo>
                      <a:close/>
                    </a:path>
                  </a:pathLst>
                </a:custGeom>
                <a:grpFill/>
                <a:ln w="5978" cap="flat">
                  <a:noFill/>
                  <a:prstDash val="solid"/>
                  <a:miter/>
                </a:ln>
              </p:spPr>
              <p:txBody>
                <a:bodyPr rtlCol="0" anchor="ctr"/>
                <a:lstStyle/>
                <a:p>
                  <a:endParaRPr lang="en-GB"/>
                </a:p>
              </p:txBody>
            </p:sp>
            <p:sp>
              <p:nvSpPr>
                <p:cNvPr id="2392" name="Vrije vorm: vorm 2391">
                  <a:extLst>
                    <a:ext uri="{FF2B5EF4-FFF2-40B4-BE49-F238E27FC236}">
                      <a16:creationId xmlns:a16="http://schemas.microsoft.com/office/drawing/2014/main" id="{D32A3A07-5820-4E3B-98D5-EAE5B7383018}"/>
                    </a:ext>
                  </a:extLst>
                </p:cNvPr>
                <p:cNvSpPr/>
                <p:nvPr/>
              </p:nvSpPr>
              <p:spPr>
                <a:xfrm>
                  <a:off x="5309797" y="5817531"/>
                  <a:ext cx="18294" cy="18453"/>
                </a:xfrm>
                <a:custGeom>
                  <a:avLst/>
                  <a:gdLst>
                    <a:gd name="connsiteX0" fmla="*/ 17909 w 18294"/>
                    <a:gd name="connsiteY0" fmla="*/ 11978 h 18453"/>
                    <a:gd name="connsiteX1" fmla="*/ 6486 w 18294"/>
                    <a:gd name="connsiteY1" fmla="*/ 18019 h 18453"/>
                    <a:gd name="connsiteX2" fmla="*/ 386 w 18294"/>
                    <a:gd name="connsiteY2" fmla="*/ 6476 h 18453"/>
                    <a:gd name="connsiteX3" fmla="*/ 11809 w 18294"/>
                    <a:gd name="connsiteY3" fmla="*/ 435 h 18453"/>
                    <a:gd name="connsiteX4" fmla="*/ 17909 w 18294"/>
                    <a:gd name="connsiteY4" fmla="*/ 1197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53">
                      <a:moveTo>
                        <a:pt x="17909" y="11978"/>
                      </a:moveTo>
                      <a:cubicBezTo>
                        <a:pt x="16414" y="16822"/>
                        <a:pt x="11270" y="19574"/>
                        <a:pt x="6486" y="18019"/>
                      </a:cubicBezTo>
                      <a:cubicBezTo>
                        <a:pt x="1642" y="16523"/>
                        <a:pt x="-1050" y="11320"/>
                        <a:pt x="386" y="6476"/>
                      </a:cubicBezTo>
                      <a:cubicBezTo>
                        <a:pt x="1881" y="1631"/>
                        <a:pt x="7024" y="-1120"/>
                        <a:pt x="11809" y="435"/>
                      </a:cubicBezTo>
                      <a:cubicBezTo>
                        <a:pt x="16653" y="1930"/>
                        <a:pt x="19344" y="7134"/>
                        <a:pt x="17909" y="11978"/>
                      </a:cubicBezTo>
                      <a:close/>
                    </a:path>
                  </a:pathLst>
                </a:custGeom>
                <a:grpFill/>
                <a:ln w="5978" cap="flat">
                  <a:noFill/>
                  <a:prstDash val="solid"/>
                  <a:miter/>
                </a:ln>
              </p:spPr>
              <p:txBody>
                <a:bodyPr rtlCol="0" anchor="ctr"/>
                <a:lstStyle/>
                <a:p>
                  <a:endParaRPr lang="en-GB"/>
                </a:p>
              </p:txBody>
            </p:sp>
            <p:sp>
              <p:nvSpPr>
                <p:cNvPr id="2393" name="Vrije vorm: vorm 2392">
                  <a:extLst>
                    <a:ext uri="{FF2B5EF4-FFF2-40B4-BE49-F238E27FC236}">
                      <a16:creationId xmlns:a16="http://schemas.microsoft.com/office/drawing/2014/main" id="{C4A246DC-C308-4C4A-817F-8635B80EADBF}"/>
                    </a:ext>
                  </a:extLst>
                </p:cNvPr>
                <p:cNvSpPr/>
                <p:nvPr/>
              </p:nvSpPr>
              <p:spPr>
                <a:xfrm>
                  <a:off x="5428194" y="5429763"/>
                  <a:ext cx="18338" cy="18431"/>
                </a:xfrm>
                <a:custGeom>
                  <a:avLst/>
                  <a:gdLst>
                    <a:gd name="connsiteX0" fmla="*/ 17931 w 18338"/>
                    <a:gd name="connsiteY0" fmla="*/ 11956 h 18431"/>
                    <a:gd name="connsiteX1" fmla="*/ 11831 w 18338"/>
                    <a:gd name="connsiteY1" fmla="*/ 413 h 18431"/>
                    <a:gd name="connsiteX2" fmla="*/ 407 w 18338"/>
                    <a:gd name="connsiteY2" fmla="*/ 6453 h 18431"/>
                    <a:gd name="connsiteX3" fmla="*/ 6508 w 18338"/>
                    <a:gd name="connsiteY3" fmla="*/ 17996 h 18431"/>
                    <a:gd name="connsiteX4" fmla="*/ 17931 w 18338"/>
                    <a:gd name="connsiteY4" fmla="*/ 11956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1">
                      <a:moveTo>
                        <a:pt x="17931" y="11956"/>
                      </a:moveTo>
                      <a:cubicBezTo>
                        <a:pt x="19426" y="7111"/>
                        <a:pt x="16675" y="1908"/>
                        <a:pt x="11831" y="413"/>
                      </a:cubicBezTo>
                      <a:cubicBezTo>
                        <a:pt x="6986" y="-1082"/>
                        <a:pt x="1843" y="1609"/>
                        <a:pt x="407" y="6453"/>
                      </a:cubicBezTo>
                      <a:cubicBezTo>
                        <a:pt x="-1088" y="11298"/>
                        <a:pt x="1664" y="16501"/>
                        <a:pt x="6508" y="17996"/>
                      </a:cubicBezTo>
                      <a:cubicBezTo>
                        <a:pt x="11352" y="19551"/>
                        <a:pt x="16496" y="16800"/>
                        <a:pt x="17931" y="11956"/>
                      </a:cubicBezTo>
                      <a:close/>
                    </a:path>
                  </a:pathLst>
                </a:custGeom>
                <a:grpFill/>
                <a:ln w="5978" cap="flat">
                  <a:noFill/>
                  <a:prstDash val="solid"/>
                  <a:miter/>
                </a:ln>
              </p:spPr>
              <p:txBody>
                <a:bodyPr rtlCol="0" anchor="ctr"/>
                <a:lstStyle/>
                <a:p>
                  <a:endParaRPr lang="en-GB"/>
                </a:p>
              </p:txBody>
            </p:sp>
          </p:grpSp>
          <p:grpSp>
            <p:nvGrpSpPr>
              <p:cNvPr id="1004" name="Graphic 3">
                <a:extLst>
                  <a:ext uri="{FF2B5EF4-FFF2-40B4-BE49-F238E27FC236}">
                    <a16:creationId xmlns:a16="http://schemas.microsoft.com/office/drawing/2014/main" id="{FBFFD26E-3AA1-4C0B-BDB0-3B34855F54F8}"/>
                  </a:ext>
                </a:extLst>
              </p:cNvPr>
              <p:cNvGrpSpPr/>
              <p:nvPr/>
            </p:nvGrpSpPr>
            <p:grpSpPr>
              <a:xfrm>
                <a:off x="5088695" y="4827221"/>
                <a:ext cx="90829" cy="134702"/>
                <a:chOff x="5088695" y="4827221"/>
                <a:chExt cx="90829" cy="134702"/>
              </a:xfrm>
              <a:grpFill/>
            </p:grpSpPr>
            <p:sp>
              <p:nvSpPr>
                <p:cNvPr id="2388" name="Vrije vorm: vorm 2387">
                  <a:extLst>
                    <a:ext uri="{FF2B5EF4-FFF2-40B4-BE49-F238E27FC236}">
                      <a16:creationId xmlns:a16="http://schemas.microsoft.com/office/drawing/2014/main" id="{E7968679-D539-4837-82D4-47FF51E190C9}"/>
                    </a:ext>
                  </a:extLst>
                </p:cNvPr>
                <p:cNvSpPr/>
                <p:nvPr/>
              </p:nvSpPr>
              <p:spPr>
                <a:xfrm>
                  <a:off x="5096312" y="4835214"/>
                  <a:ext cx="75536" cy="118717"/>
                </a:xfrm>
                <a:custGeom>
                  <a:avLst/>
                  <a:gdLst>
                    <a:gd name="connsiteX0" fmla="*/ 75537 w 75536"/>
                    <a:gd name="connsiteY0" fmla="*/ 1615 h 118717"/>
                    <a:gd name="connsiteX1" fmla="*/ 2572 w 75536"/>
                    <a:gd name="connsiteY1" fmla="*/ 118717 h 118717"/>
                    <a:gd name="connsiteX2" fmla="*/ 0 w 75536"/>
                    <a:gd name="connsiteY2" fmla="*/ 117043 h 118717"/>
                    <a:gd name="connsiteX3" fmla="*/ 72965 w 75536"/>
                    <a:gd name="connsiteY3" fmla="*/ 0 h 118717"/>
                  </a:gdLst>
                  <a:ahLst/>
                  <a:cxnLst>
                    <a:cxn ang="0">
                      <a:pos x="connsiteX0" y="connsiteY0"/>
                    </a:cxn>
                    <a:cxn ang="0">
                      <a:pos x="connsiteX1" y="connsiteY1"/>
                    </a:cxn>
                    <a:cxn ang="0">
                      <a:pos x="connsiteX2" y="connsiteY2"/>
                    </a:cxn>
                    <a:cxn ang="0">
                      <a:pos x="connsiteX3" y="connsiteY3"/>
                    </a:cxn>
                  </a:cxnLst>
                  <a:rect l="l" t="t" r="r" b="b"/>
                  <a:pathLst>
                    <a:path w="75536" h="118717">
                      <a:moveTo>
                        <a:pt x="75537" y="1615"/>
                      </a:moveTo>
                      <a:lnTo>
                        <a:pt x="2572" y="118717"/>
                      </a:lnTo>
                      <a:lnTo>
                        <a:pt x="0" y="117043"/>
                      </a:lnTo>
                      <a:lnTo>
                        <a:pt x="72965" y="0"/>
                      </a:lnTo>
                      <a:close/>
                    </a:path>
                  </a:pathLst>
                </a:custGeom>
                <a:grpFill/>
                <a:ln w="5978" cap="flat">
                  <a:noFill/>
                  <a:prstDash val="solid"/>
                  <a:miter/>
                </a:ln>
              </p:spPr>
              <p:txBody>
                <a:bodyPr rtlCol="0" anchor="ctr"/>
                <a:lstStyle/>
                <a:p>
                  <a:endParaRPr lang="en-GB"/>
                </a:p>
              </p:txBody>
            </p:sp>
            <p:sp>
              <p:nvSpPr>
                <p:cNvPr id="2389" name="Vrije vorm: vorm 2388">
                  <a:extLst>
                    <a:ext uri="{FF2B5EF4-FFF2-40B4-BE49-F238E27FC236}">
                      <a16:creationId xmlns:a16="http://schemas.microsoft.com/office/drawing/2014/main" id="{D3C77604-D27E-4EC6-9D3A-B08280784B00}"/>
                    </a:ext>
                  </a:extLst>
                </p:cNvPr>
                <p:cNvSpPr/>
                <p:nvPr/>
              </p:nvSpPr>
              <p:spPr>
                <a:xfrm>
                  <a:off x="5088695" y="4943520"/>
                  <a:ext cx="18343" cy="18404"/>
                </a:xfrm>
                <a:custGeom>
                  <a:avLst/>
                  <a:gdLst>
                    <a:gd name="connsiteX0" fmla="*/ 16947 w 18343"/>
                    <a:gd name="connsiteY0" fmla="*/ 14119 h 18404"/>
                    <a:gd name="connsiteX1" fmla="*/ 4327 w 18343"/>
                    <a:gd name="connsiteY1" fmla="*/ 16990 h 18404"/>
                    <a:gd name="connsiteX2" fmla="*/ 1397 w 18343"/>
                    <a:gd name="connsiteY2" fmla="*/ 4311 h 18404"/>
                    <a:gd name="connsiteX3" fmla="*/ 14016 w 18343"/>
                    <a:gd name="connsiteY3" fmla="*/ 1440 h 18404"/>
                    <a:gd name="connsiteX4" fmla="*/ 16947 w 18343"/>
                    <a:gd name="connsiteY4" fmla="*/ 1411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119"/>
                      </a:moveTo>
                      <a:cubicBezTo>
                        <a:pt x="14256" y="18426"/>
                        <a:pt x="8634" y="19682"/>
                        <a:pt x="4327" y="16990"/>
                      </a:cubicBezTo>
                      <a:cubicBezTo>
                        <a:pt x="21" y="14299"/>
                        <a:pt x="-1294" y="8617"/>
                        <a:pt x="1397" y="4311"/>
                      </a:cubicBezTo>
                      <a:cubicBezTo>
                        <a:pt x="4088" y="5"/>
                        <a:pt x="9710" y="-1310"/>
                        <a:pt x="14016" y="1440"/>
                      </a:cubicBezTo>
                      <a:cubicBezTo>
                        <a:pt x="18322" y="4072"/>
                        <a:pt x="19638" y="9814"/>
                        <a:pt x="16947" y="14119"/>
                      </a:cubicBezTo>
                      <a:close/>
                    </a:path>
                  </a:pathLst>
                </a:custGeom>
                <a:grpFill/>
                <a:ln w="5978" cap="flat">
                  <a:noFill/>
                  <a:prstDash val="solid"/>
                  <a:miter/>
                </a:ln>
              </p:spPr>
              <p:txBody>
                <a:bodyPr rtlCol="0" anchor="ctr"/>
                <a:lstStyle/>
                <a:p>
                  <a:endParaRPr lang="en-GB"/>
                </a:p>
              </p:txBody>
            </p:sp>
            <p:sp>
              <p:nvSpPr>
                <p:cNvPr id="2390" name="Vrije vorm: vorm 2389">
                  <a:extLst>
                    <a:ext uri="{FF2B5EF4-FFF2-40B4-BE49-F238E27FC236}">
                      <a16:creationId xmlns:a16="http://schemas.microsoft.com/office/drawing/2014/main" id="{0964E4FC-6452-4E5D-B857-3C618F83E750}"/>
                    </a:ext>
                  </a:extLst>
                </p:cNvPr>
                <p:cNvSpPr/>
                <p:nvPr/>
              </p:nvSpPr>
              <p:spPr>
                <a:xfrm>
                  <a:off x="5161182" y="4827221"/>
                  <a:ext cx="18343" cy="18404"/>
                </a:xfrm>
                <a:custGeom>
                  <a:avLst/>
                  <a:gdLst>
                    <a:gd name="connsiteX0" fmla="*/ 16947 w 18343"/>
                    <a:gd name="connsiteY0" fmla="*/ 14093 h 18404"/>
                    <a:gd name="connsiteX1" fmla="*/ 14016 w 18343"/>
                    <a:gd name="connsiteY1" fmla="*/ 1414 h 18404"/>
                    <a:gd name="connsiteX2" fmla="*/ 1397 w 18343"/>
                    <a:gd name="connsiteY2" fmla="*/ 4285 h 18404"/>
                    <a:gd name="connsiteX3" fmla="*/ 4327 w 18343"/>
                    <a:gd name="connsiteY3" fmla="*/ 16964 h 18404"/>
                    <a:gd name="connsiteX4" fmla="*/ 16947 w 18343"/>
                    <a:gd name="connsiteY4" fmla="*/ 14093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093"/>
                      </a:moveTo>
                      <a:cubicBezTo>
                        <a:pt x="19638" y="9787"/>
                        <a:pt x="18322" y="4105"/>
                        <a:pt x="14016" y="1414"/>
                      </a:cubicBezTo>
                      <a:cubicBezTo>
                        <a:pt x="9710" y="-1277"/>
                        <a:pt x="4088" y="-21"/>
                        <a:pt x="1397" y="4285"/>
                      </a:cubicBezTo>
                      <a:cubicBezTo>
                        <a:pt x="-1294" y="8591"/>
                        <a:pt x="21" y="14273"/>
                        <a:pt x="4327" y="16964"/>
                      </a:cubicBezTo>
                      <a:cubicBezTo>
                        <a:pt x="8574" y="19715"/>
                        <a:pt x="14256" y="18399"/>
                        <a:pt x="16947" y="14093"/>
                      </a:cubicBezTo>
                      <a:close/>
                    </a:path>
                  </a:pathLst>
                </a:custGeom>
                <a:grpFill/>
                <a:ln w="5978" cap="flat">
                  <a:noFill/>
                  <a:prstDash val="solid"/>
                  <a:miter/>
                </a:ln>
              </p:spPr>
              <p:txBody>
                <a:bodyPr rtlCol="0" anchor="ctr"/>
                <a:lstStyle/>
                <a:p>
                  <a:endParaRPr lang="en-GB"/>
                </a:p>
              </p:txBody>
            </p:sp>
          </p:grpSp>
          <p:grpSp>
            <p:nvGrpSpPr>
              <p:cNvPr id="1005" name="Graphic 3">
                <a:extLst>
                  <a:ext uri="{FF2B5EF4-FFF2-40B4-BE49-F238E27FC236}">
                    <a16:creationId xmlns:a16="http://schemas.microsoft.com/office/drawing/2014/main" id="{51ACA4A0-3904-4A23-B83E-2775DFD71209}"/>
                  </a:ext>
                </a:extLst>
              </p:cNvPr>
              <p:cNvGrpSpPr/>
              <p:nvPr/>
            </p:nvGrpSpPr>
            <p:grpSpPr>
              <a:xfrm>
                <a:off x="4277956" y="2639164"/>
                <a:ext cx="216949" cy="104820"/>
                <a:chOff x="4277956" y="2639164"/>
                <a:chExt cx="216949" cy="104820"/>
              </a:xfrm>
              <a:grpFill/>
            </p:grpSpPr>
            <p:sp>
              <p:nvSpPr>
                <p:cNvPr id="2385" name="Vrije vorm: vorm 2384">
                  <a:extLst>
                    <a:ext uri="{FF2B5EF4-FFF2-40B4-BE49-F238E27FC236}">
                      <a16:creationId xmlns:a16="http://schemas.microsoft.com/office/drawing/2014/main" id="{CCA3AA76-A5B7-4FD1-A6AE-18A9ED300C1B}"/>
                    </a:ext>
                  </a:extLst>
                </p:cNvPr>
                <p:cNvSpPr/>
                <p:nvPr/>
              </p:nvSpPr>
              <p:spPr>
                <a:xfrm>
                  <a:off x="4286104" y="2646808"/>
                  <a:ext cx="200713" cy="89531"/>
                </a:xfrm>
                <a:custGeom>
                  <a:avLst/>
                  <a:gdLst>
                    <a:gd name="connsiteX0" fmla="*/ 200713 w 200713"/>
                    <a:gd name="connsiteY0" fmla="*/ 86720 h 89531"/>
                    <a:gd name="connsiteX1" fmla="*/ 199517 w 200713"/>
                    <a:gd name="connsiteY1" fmla="*/ 89531 h 89531"/>
                    <a:gd name="connsiteX2" fmla="*/ 0 w 200713"/>
                    <a:gd name="connsiteY2" fmla="*/ 2811 h 89531"/>
                    <a:gd name="connsiteX3" fmla="*/ 1196 w 200713"/>
                    <a:gd name="connsiteY3" fmla="*/ 0 h 89531"/>
                  </a:gdLst>
                  <a:ahLst/>
                  <a:cxnLst>
                    <a:cxn ang="0">
                      <a:pos x="connsiteX0" y="connsiteY0"/>
                    </a:cxn>
                    <a:cxn ang="0">
                      <a:pos x="connsiteX1" y="connsiteY1"/>
                    </a:cxn>
                    <a:cxn ang="0">
                      <a:pos x="connsiteX2" y="connsiteY2"/>
                    </a:cxn>
                    <a:cxn ang="0">
                      <a:pos x="connsiteX3" y="connsiteY3"/>
                    </a:cxn>
                  </a:cxnLst>
                  <a:rect l="l" t="t" r="r" b="b"/>
                  <a:pathLst>
                    <a:path w="200713" h="89531">
                      <a:moveTo>
                        <a:pt x="200713" y="86720"/>
                      </a:moveTo>
                      <a:lnTo>
                        <a:pt x="199517" y="89531"/>
                      </a:lnTo>
                      <a:lnTo>
                        <a:pt x="0" y="2811"/>
                      </a:lnTo>
                      <a:lnTo>
                        <a:pt x="1196" y="0"/>
                      </a:lnTo>
                      <a:close/>
                    </a:path>
                  </a:pathLst>
                </a:custGeom>
                <a:grpFill/>
                <a:ln w="5978" cap="flat">
                  <a:noFill/>
                  <a:prstDash val="solid"/>
                  <a:miter/>
                </a:ln>
              </p:spPr>
              <p:txBody>
                <a:bodyPr rtlCol="0" anchor="ctr"/>
                <a:lstStyle/>
                <a:p>
                  <a:endParaRPr lang="en-GB"/>
                </a:p>
              </p:txBody>
            </p:sp>
            <p:sp>
              <p:nvSpPr>
                <p:cNvPr id="2386" name="Vrije vorm: vorm 2385">
                  <a:extLst>
                    <a:ext uri="{FF2B5EF4-FFF2-40B4-BE49-F238E27FC236}">
                      <a16:creationId xmlns:a16="http://schemas.microsoft.com/office/drawing/2014/main" id="{EB7D86CA-3DFA-4C2B-AF91-550FB523EAA6}"/>
                    </a:ext>
                  </a:extLst>
                </p:cNvPr>
                <p:cNvSpPr/>
                <p:nvPr/>
              </p:nvSpPr>
              <p:spPr>
                <a:xfrm>
                  <a:off x="4277956" y="2639164"/>
                  <a:ext cx="18304" cy="18458"/>
                </a:xfrm>
                <a:custGeom>
                  <a:avLst/>
                  <a:gdLst>
                    <a:gd name="connsiteX0" fmla="*/ 5576 w 18304"/>
                    <a:gd name="connsiteY0" fmla="*/ 17692 h 18458"/>
                    <a:gd name="connsiteX1" fmla="*/ 732 w 18304"/>
                    <a:gd name="connsiteY1" fmla="*/ 5551 h 18458"/>
                    <a:gd name="connsiteX2" fmla="*/ 12753 w 18304"/>
                    <a:gd name="connsiteY2" fmla="*/ 767 h 18458"/>
                    <a:gd name="connsiteX3" fmla="*/ 17538 w 18304"/>
                    <a:gd name="connsiteY3" fmla="*/ 12908 h 18458"/>
                    <a:gd name="connsiteX4" fmla="*/ 5576 w 18304"/>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8">
                      <a:moveTo>
                        <a:pt x="5576" y="17692"/>
                      </a:moveTo>
                      <a:cubicBezTo>
                        <a:pt x="911" y="15659"/>
                        <a:pt x="-1242" y="10216"/>
                        <a:pt x="732" y="5551"/>
                      </a:cubicBezTo>
                      <a:cubicBezTo>
                        <a:pt x="2705" y="886"/>
                        <a:pt x="8088" y="-1267"/>
                        <a:pt x="12753" y="767"/>
                      </a:cubicBezTo>
                      <a:cubicBezTo>
                        <a:pt x="17418" y="2800"/>
                        <a:pt x="19571" y="8243"/>
                        <a:pt x="17538" y="12908"/>
                      </a:cubicBezTo>
                      <a:cubicBezTo>
                        <a:pt x="15564" y="17572"/>
                        <a:pt x="10181" y="19725"/>
                        <a:pt x="5576" y="17692"/>
                      </a:cubicBezTo>
                      <a:close/>
                    </a:path>
                  </a:pathLst>
                </a:custGeom>
                <a:grpFill/>
                <a:ln w="5978" cap="flat">
                  <a:noFill/>
                  <a:prstDash val="solid"/>
                  <a:miter/>
                </a:ln>
              </p:spPr>
              <p:txBody>
                <a:bodyPr rtlCol="0" anchor="ctr"/>
                <a:lstStyle/>
                <a:p>
                  <a:endParaRPr lang="en-GB"/>
                </a:p>
              </p:txBody>
            </p:sp>
            <p:sp>
              <p:nvSpPr>
                <p:cNvPr id="2387" name="Vrije vorm: vorm 2386">
                  <a:extLst>
                    <a:ext uri="{FF2B5EF4-FFF2-40B4-BE49-F238E27FC236}">
                      <a16:creationId xmlns:a16="http://schemas.microsoft.com/office/drawing/2014/main" id="{9A70B702-E770-44AD-9AF8-3ED4BB15E08B}"/>
                    </a:ext>
                  </a:extLst>
                </p:cNvPr>
                <p:cNvSpPr/>
                <p:nvPr/>
              </p:nvSpPr>
              <p:spPr>
                <a:xfrm>
                  <a:off x="4476601" y="2725525"/>
                  <a:ext cx="18305" cy="18458"/>
                </a:xfrm>
                <a:custGeom>
                  <a:avLst/>
                  <a:gdLst>
                    <a:gd name="connsiteX0" fmla="*/ 5551 w 18305"/>
                    <a:gd name="connsiteY0" fmla="*/ 17692 h 18458"/>
                    <a:gd name="connsiteX1" fmla="*/ 17572 w 18305"/>
                    <a:gd name="connsiteY1" fmla="*/ 12908 h 18458"/>
                    <a:gd name="connsiteX2" fmla="*/ 12788 w 18305"/>
                    <a:gd name="connsiteY2" fmla="*/ 767 h 18458"/>
                    <a:gd name="connsiteX3" fmla="*/ 767 w 18305"/>
                    <a:gd name="connsiteY3" fmla="*/ 5551 h 18458"/>
                    <a:gd name="connsiteX4" fmla="*/ 5551 w 1830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8">
                      <a:moveTo>
                        <a:pt x="5551" y="17692"/>
                      </a:moveTo>
                      <a:cubicBezTo>
                        <a:pt x="10216" y="19726"/>
                        <a:pt x="15599" y="17573"/>
                        <a:pt x="17572" y="12908"/>
                      </a:cubicBezTo>
                      <a:cubicBezTo>
                        <a:pt x="19546" y="8243"/>
                        <a:pt x="17393" y="2800"/>
                        <a:pt x="12788" y="767"/>
                      </a:cubicBezTo>
                      <a:cubicBezTo>
                        <a:pt x="8123" y="-1267"/>
                        <a:pt x="2740" y="886"/>
                        <a:pt x="767" y="5551"/>
                      </a:cubicBezTo>
                      <a:cubicBezTo>
                        <a:pt x="-1267" y="10216"/>
                        <a:pt x="886" y="15659"/>
                        <a:pt x="5551" y="17692"/>
                      </a:cubicBezTo>
                      <a:close/>
                    </a:path>
                  </a:pathLst>
                </a:custGeom>
                <a:grpFill/>
                <a:ln w="5978" cap="flat">
                  <a:noFill/>
                  <a:prstDash val="solid"/>
                  <a:miter/>
                </a:ln>
              </p:spPr>
              <p:txBody>
                <a:bodyPr rtlCol="0" anchor="ctr"/>
                <a:lstStyle/>
                <a:p>
                  <a:endParaRPr lang="en-GB"/>
                </a:p>
              </p:txBody>
            </p:sp>
          </p:grpSp>
          <p:grpSp>
            <p:nvGrpSpPr>
              <p:cNvPr id="1006" name="Graphic 3">
                <a:extLst>
                  <a:ext uri="{FF2B5EF4-FFF2-40B4-BE49-F238E27FC236}">
                    <a16:creationId xmlns:a16="http://schemas.microsoft.com/office/drawing/2014/main" id="{D20F8E6F-C968-48E0-8D7B-C6C31409A245}"/>
                  </a:ext>
                </a:extLst>
              </p:cNvPr>
              <p:cNvGrpSpPr/>
              <p:nvPr/>
            </p:nvGrpSpPr>
            <p:grpSpPr>
              <a:xfrm>
                <a:off x="5193453" y="5136141"/>
                <a:ext cx="84779" cy="164515"/>
                <a:chOff x="5193453" y="5136141"/>
                <a:chExt cx="84779" cy="164515"/>
              </a:xfrm>
              <a:grpFill/>
            </p:grpSpPr>
            <p:sp>
              <p:nvSpPr>
                <p:cNvPr id="2382" name="Vrije vorm: vorm 2381">
                  <a:extLst>
                    <a:ext uri="{FF2B5EF4-FFF2-40B4-BE49-F238E27FC236}">
                      <a16:creationId xmlns:a16="http://schemas.microsoft.com/office/drawing/2014/main" id="{B4082AA5-A38D-4BBE-94F9-90A9A3476699}"/>
                    </a:ext>
                  </a:extLst>
                </p:cNvPr>
                <p:cNvSpPr/>
                <p:nvPr/>
              </p:nvSpPr>
              <p:spPr>
                <a:xfrm>
                  <a:off x="5201035" y="5144298"/>
                  <a:ext cx="69615" cy="148202"/>
                </a:xfrm>
                <a:custGeom>
                  <a:avLst/>
                  <a:gdLst>
                    <a:gd name="connsiteX0" fmla="*/ 69616 w 69615"/>
                    <a:gd name="connsiteY0" fmla="*/ 1316 h 148202"/>
                    <a:gd name="connsiteX1" fmla="*/ 2751 w 69615"/>
                    <a:gd name="connsiteY1" fmla="*/ 148202 h 148202"/>
                    <a:gd name="connsiteX2" fmla="*/ 0 w 69615"/>
                    <a:gd name="connsiteY2" fmla="*/ 146946 h 148202"/>
                    <a:gd name="connsiteX3" fmla="*/ 66805 w 69615"/>
                    <a:gd name="connsiteY3" fmla="*/ 0 h 148202"/>
                  </a:gdLst>
                  <a:ahLst/>
                  <a:cxnLst>
                    <a:cxn ang="0">
                      <a:pos x="connsiteX0" y="connsiteY0"/>
                    </a:cxn>
                    <a:cxn ang="0">
                      <a:pos x="connsiteX1" y="connsiteY1"/>
                    </a:cxn>
                    <a:cxn ang="0">
                      <a:pos x="connsiteX2" y="connsiteY2"/>
                    </a:cxn>
                    <a:cxn ang="0">
                      <a:pos x="connsiteX3" y="connsiteY3"/>
                    </a:cxn>
                  </a:cxnLst>
                  <a:rect l="l" t="t" r="r" b="b"/>
                  <a:pathLst>
                    <a:path w="69615" h="148202">
                      <a:moveTo>
                        <a:pt x="69616" y="1316"/>
                      </a:moveTo>
                      <a:lnTo>
                        <a:pt x="2751" y="148202"/>
                      </a:lnTo>
                      <a:lnTo>
                        <a:pt x="0" y="146946"/>
                      </a:lnTo>
                      <a:lnTo>
                        <a:pt x="66805" y="0"/>
                      </a:lnTo>
                      <a:close/>
                    </a:path>
                  </a:pathLst>
                </a:custGeom>
                <a:grpFill/>
                <a:ln w="5978" cap="flat">
                  <a:noFill/>
                  <a:prstDash val="solid"/>
                  <a:miter/>
                </a:ln>
              </p:spPr>
              <p:txBody>
                <a:bodyPr rtlCol="0" anchor="ctr"/>
                <a:lstStyle/>
                <a:p>
                  <a:endParaRPr lang="en-GB"/>
                </a:p>
              </p:txBody>
            </p:sp>
            <p:sp>
              <p:nvSpPr>
                <p:cNvPr id="2383" name="Vrije vorm: vorm 2382">
                  <a:extLst>
                    <a:ext uri="{FF2B5EF4-FFF2-40B4-BE49-F238E27FC236}">
                      <a16:creationId xmlns:a16="http://schemas.microsoft.com/office/drawing/2014/main" id="{44C7F454-BD79-446A-8ACD-182F8E9B833C}"/>
                    </a:ext>
                  </a:extLst>
                </p:cNvPr>
                <p:cNvSpPr/>
                <p:nvPr/>
              </p:nvSpPr>
              <p:spPr>
                <a:xfrm>
                  <a:off x="5193453" y="5282250"/>
                  <a:ext cx="18333" cy="18406"/>
                </a:xfrm>
                <a:custGeom>
                  <a:avLst/>
                  <a:gdLst>
                    <a:gd name="connsiteX0" fmla="*/ 17510 w 18333"/>
                    <a:gd name="connsiteY0" fmla="*/ 13061 h 18406"/>
                    <a:gd name="connsiteX1" fmla="*/ 5369 w 18333"/>
                    <a:gd name="connsiteY1" fmla="*/ 17546 h 18406"/>
                    <a:gd name="connsiteX2" fmla="*/ 824 w 18333"/>
                    <a:gd name="connsiteY2" fmla="*/ 5346 h 18406"/>
                    <a:gd name="connsiteX3" fmla="*/ 12965 w 18333"/>
                    <a:gd name="connsiteY3" fmla="*/ 860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5417" y="17666"/>
                        <a:pt x="9974" y="19699"/>
                        <a:pt x="5369" y="17546"/>
                      </a:cubicBezTo>
                      <a:cubicBezTo>
                        <a:pt x="764" y="15393"/>
                        <a:pt x="-1269" y="9951"/>
                        <a:pt x="824" y="5346"/>
                      </a:cubicBezTo>
                      <a:cubicBezTo>
                        <a:pt x="2917" y="741"/>
                        <a:pt x="8359" y="-1293"/>
                        <a:pt x="12965" y="860"/>
                      </a:cubicBezTo>
                      <a:cubicBezTo>
                        <a:pt x="17570" y="2953"/>
                        <a:pt x="19603" y="8456"/>
                        <a:pt x="17510" y="13061"/>
                      </a:cubicBezTo>
                      <a:close/>
                    </a:path>
                  </a:pathLst>
                </a:custGeom>
                <a:grpFill/>
                <a:ln w="5978" cap="flat">
                  <a:noFill/>
                  <a:prstDash val="solid"/>
                  <a:miter/>
                </a:ln>
              </p:spPr>
              <p:txBody>
                <a:bodyPr rtlCol="0" anchor="ctr"/>
                <a:lstStyle/>
                <a:p>
                  <a:endParaRPr lang="en-GB"/>
                </a:p>
              </p:txBody>
            </p:sp>
            <p:sp>
              <p:nvSpPr>
                <p:cNvPr id="2384" name="Vrije vorm: vorm 2383">
                  <a:extLst>
                    <a:ext uri="{FF2B5EF4-FFF2-40B4-BE49-F238E27FC236}">
                      <a16:creationId xmlns:a16="http://schemas.microsoft.com/office/drawing/2014/main" id="{42441668-DFE8-471C-B2C8-4840BBEF7AC4}"/>
                    </a:ext>
                  </a:extLst>
                </p:cNvPr>
                <p:cNvSpPr/>
                <p:nvPr/>
              </p:nvSpPr>
              <p:spPr>
                <a:xfrm>
                  <a:off x="5259898" y="5136141"/>
                  <a:ext cx="18333" cy="18416"/>
                </a:xfrm>
                <a:custGeom>
                  <a:avLst/>
                  <a:gdLst>
                    <a:gd name="connsiteX0" fmla="*/ 17510 w 18333"/>
                    <a:gd name="connsiteY0" fmla="*/ 13061 h 18416"/>
                    <a:gd name="connsiteX1" fmla="*/ 12965 w 18333"/>
                    <a:gd name="connsiteY1" fmla="*/ 860 h 18416"/>
                    <a:gd name="connsiteX2" fmla="*/ 824 w 18333"/>
                    <a:gd name="connsiteY2" fmla="*/ 5346 h 18416"/>
                    <a:gd name="connsiteX3" fmla="*/ 5369 w 18333"/>
                    <a:gd name="connsiteY3" fmla="*/ 17546 h 18416"/>
                    <a:gd name="connsiteX4" fmla="*/ 17510 w 18333"/>
                    <a:gd name="connsiteY4" fmla="*/ 13061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17510" y="13061"/>
                      </a:moveTo>
                      <a:cubicBezTo>
                        <a:pt x="19603" y="8456"/>
                        <a:pt x="17570" y="2953"/>
                        <a:pt x="12965" y="860"/>
                      </a:cubicBezTo>
                      <a:cubicBezTo>
                        <a:pt x="8359" y="-1293"/>
                        <a:pt x="2917" y="741"/>
                        <a:pt x="824" y="5346"/>
                      </a:cubicBezTo>
                      <a:cubicBezTo>
                        <a:pt x="-1269" y="9951"/>
                        <a:pt x="764" y="15453"/>
                        <a:pt x="5369" y="17546"/>
                      </a:cubicBezTo>
                      <a:cubicBezTo>
                        <a:pt x="9974" y="19699"/>
                        <a:pt x="15357" y="17726"/>
                        <a:pt x="17510" y="13061"/>
                      </a:cubicBezTo>
                      <a:close/>
                    </a:path>
                  </a:pathLst>
                </a:custGeom>
                <a:grpFill/>
                <a:ln w="5978" cap="flat">
                  <a:noFill/>
                  <a:prstDash val="solid"/>
                  <a:miter/>
                </a:ln>
              </p:spPr>
              <p:txBody>
                <a:bodyPr rtlCol="0" anchor="ctr"/>
                <a:lstStyle/>
                <a:p>
                  <a:endParaRPr lang="en-GB"/>
                </a:p>
              </p:txBody>
            </p:sp>
          </p:grpSp>
          <p:grpSp>
            <p:nvGrpSpPr>
              <p:cNvPr id="1007" name="Graphic 3">
                <a:extLst>
                  <a:ext uri="{FF2B5EF4-FFF2-40B4-BE49-F238E27FC236}">
                    <a16:creationId xmlns:a16="http://schemas.microsoft.com/office/drawing/2014/main" id="{1AE320CD-D004-4803-BC77-C02D18B54D91}"/>
                  </a:ext>
                </a:extLst>
              </p:cNvPr>
              <p:cNvGrpSpPr/>
              <p:nvPr/>
            </p:nvGrpSpPr>
            <p:grpSpPr>
              <a:xfrm>
                <a:off x="5084466" y="4933338"/>
                <a:ext cx="250574" cy="414922"/>
                <a:chOff x="5084466" y="4933338"/>
                <a:chExt cx="250574" cy="414922"/>
              </a:xfrm>
              <a:grpFill/>
            </p:grpSpPr>
            <p:sp>
              <p:nvSpPr>
                <p:cNvPr id="2379" name="Vrije vorm: vorm 2378">
                  <a:extLst>
                    <a:ext uri="{FF2B5EF4-FFF2-40B4-BE49-F238E27FC236}">
                      <a16:creationId xmlns:a16="http://schemas.microsoft.com/office/drawing/2014/main" id="{DE52916B-C654-4610-A971-C2DB2FE9D5F5}"/>
                    </a:ext>
                  </a:extLst>
                </p:cNvPr>
                <p:cNvSpPr/>
                <p:nvPr/>
              </p:nvSpPr>
              <p:spPr>
                <a:xfrm>
                  <a:off x="5092066" y="4941372"/>
                  <a:ext cx="235341" cy="398854"/>
                </a:xfrm>
                <a:custGeom>
                  <a:avLst/>
                  <a:gdLst>
                    <a:gd name="connsiteX0" fmla="*/ 235341 w 235341"/>
                    <a:gd name="connsiteY0" fmla="*/ 1555 h 398854"/>
                    <a:gd name="connsiteX1" fmla="*/ 2632 w 235341"/>
                    <a:gd name="connsiteY1" fmla="*/ 398854 h 398854"/>
                    <a:gd name="connsiteX2" fmla="*/ 0 w 235341"/>
                    <a:gd name="connsiteY2" fmla="*/ 397299 h 398854"/>
                    <a:gd name="connsiteX3" fmla="*/ 232710 w 235341"/>
                    <a:gd name="connsiteY3" fmla="*/ 0 h 398854"/>
                  </a:gdLst>
                  <a:ahLst/>
                  <a:cxnLst>
                    <a:cxn ang="0">
                      <a:pos x="connsiteX0" y="connsiteY0"/>
                    </a:cxn>
                    <a:cxn ang="0">
                      <a:pos x="connsiteX1" y="connsiteY1"/>
                    </a:cxn>
                    <a:cxn ang="0">
                      <a:pos x="connsiteX2" y="connsiteY2"/>
                    </a:cxn>
                    <a:cxn ang="0">
                      <a:pos x="connsiteX3" y="connsiteY3"/>
                    </a:cxn>
                  </a:cxnLst>
                  <a:rect l="l" t="t" r="r" b="b"/>
                  <a:pathLst>
                    <a:path w="235341" h="398854">
                      <a:moveTo>
                        <a:pt x="235341" y="1555"/>
                      </a:moveTo>
                      <a:lnTo>
                        <a:pt x="2632" y="398854"/>
                      </a:lnTo>
                      <a:lnTo>
                        <a:pt x="0" y="397299"/>
                      </a:lnTo>
                      <a:lnTo>
                        <a:pt x="232710" y="0"/>
                      </a:lnTo>
                      <a:close/>
                    </a:path>
                  </a:pathLst>
                </a:custGeom>
                <a:grpFill/>
                <a:ln w="5978" cap="flat">
                  <a:noFill/>
                  <a:prstDash val="solid"/>
                  <a:miter/>
                </a:ln>
              </p:spPr>
              <p:txBody>
                <a:bodyPr rtlCol="0" anchor="ctr"/>
                <a:lstStyle/>
                <a:p>
                  <a:endParaRPr lang="en-GB"/>
                </a:p>
              </p:txBody>
            </p:sp>
            <p:sp>
              <p:nvSpPr>
                <p:cNvPr id="2380" name="Vrije vorm: vorm 2379">
                  <a:extLst>
                    <a:ext uri="{FF2B5EF4-FFF2-40B4-BE49-F238E27FC236}">
                      <a16:creationId xmlns:a16="http://schemas.microsoft.com/office/drawing/2014/main" id="{BE51471F-82EC-4E30-AB29-A073AF0A9EF7}"/>
                    </a:ext>
                  </a:extLst>
                </p:cNvPr>
                <p:cNvSpPr/>
                <p:nvPr/>
              </p:nvSpPr>
              <p:spPr>
                <a:xfrm>
                  <a:off x="5316684" y="4933338"/>
                  <a:ext cx="18356" cy="18400"/>
                </a:xfrm>
                <a:custGeom>
                  <a:avLst/>
                  <a:gdLst>
                    <a:gd name="connsiteX0" fmla="*/ 1274 w 18356"/>
                    <a:gd name="connsiteY0" fmla="*/ 4505 h 18400"/>
                    <a:gd name="connsiteX1" fmla="*/ 13833 w 18356"/>
                    <a:gd name="connsiteY1" fmla="*/ 1276 h 18400"/>
                    <a:gd name="connsiteX2" fmla="*/ 17123 w 18356"/>
                    <a:gd name="connsiteY2" fmla="*/ 13895 h 18400"/>
                    <a:gd name="connsiteX3" fmla="*/ 4563 w 18356"/>
                    <a:gd name="connsiteY3" fmla="*/ 17125 h 18400"/>
                    <a:gd name="connsiteX4" fmla="*/ 1274 w 18356"/>
                    <a:gd name="connsiteY4" fmla="*/ 450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0">
                      <a:moveTo>
                        <a:pt x="1274" y="4505"/>
                      </a:moveTo>
                      <a:cubicBezTo>
                        <a:pt x="3845" y="140"/>
                        <a:pt x="9467" y="-1296"/>
                        <a:pt x="13833" y="1276"/>
                      </a:cubicBezTo>
                      <a:cubicBezTo>
                        <a:pt x="18199" y="3848"/>
                        <a:pt x="19635" y="9529"/>
                        <a:pt x="17123" y="13895"/>
                      </a:cubicBezTo>
                      <a:cubicBezTo>
                        <a:pt x="14551" y="18261"/>
                        <a:pt x="8929" y="19697"/>
                        <a:pt x="4563" y="17125"/>
                      </a:cubicBezTo>
                      <a:cubicBezTo>
                        <a:pt x="137" y="14493"/>
                        <a:pt x="-1298" y="8872"/>
                        <a:pt x="1274" y="4505"/>
                      </a:cubicBezTo>
                      <a:close/>
                    </a:path>
                  </a:pathLst>
                </a:custGeom>
                <a:grpFill/>
                <a:ln w="5978" cap="flat">
                  <a:noFill/>
                  <a:prstDash val="solid"/>
                  <a:miter/>
                </a:ln>
              </p:spPr>
              <p:txBody>
                <a:bodyPr rtlCol="0" anchor="ctr"/>
                <a:lstStyle/>
                <a:p>
                  <a:endParaRPr lang="en-GB"/>
                </a:p>
              </p:txBody>
            </p:sp>
            <p:sp>
              <p:nvSpPr>
                <p:cNvPr id="2381" name="Vrije vorm: vorm 2380">
                  <a:extLst>
                    <a:ext uri="{FF2B5EF4-FFF2-40B4-BE49-F238E27FC236}">
                      <a16:creationId xmlns:a16="http://schemas.microsoft.com/office/drawing/2014/main" id="{4218CA21-A0E0-4C85-9F73-1E2042BD343E}"/>
                    </a:ext>
                  </a:extLst>
                </p:cNvPr>
                <p:cNvSpPr/>
                <p:nvPr/>
              </p:nvSpPr>
              <p:spPr>
                <a:xfrm>
                  <a:off x="5084466" y="5329819"/>
                  <a:ext cx="18369" cy="18441"/>
                </a:xfrm>
                <a:custGeom>
                  <a:avLst/>
                  <a:gdLst>
                    <a:gd name="connsiteX0" fmla="*/ 1261 w 18369"/>
                    <a:gd name="connsiteY0" fmla="*/ 4546 h 18441"/>
                    <a:gd name="connsiteX1" fmla="*/ 4550 w 18369"/>
                    <a:gd name="connsiteY1" fmla="*/ 17165 h 18441"/>
                    <a:gd name="connsiteX2" fmla="*/ 17109 w 18369"/>
                    <a:gd name="connsiteY2" fmla="*/ 13935 h 18441"/>
                    <a:gd name="connsiteX3" fmla="*/ 13820 w 18369"/>
                    <a:gd name="connsiteY3" fmla="*/ 1316 h 18441"/>
                    <a:gd name="connsiteX4" fmla="*/ 1261 w 18369"/>
                    <a:gd name="connsiteY4" fmla="*/ 454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1">
                      <a:moveTo>
                        <a:pt x="1261" y="4546"/>
                      </a:moveTo>
                      <a:cubicBezTo>
                        <a:pt x="-1311" y="8912"/>
                        <a:pt x="184" y="14593"/>
                        <a:pt x="4550" y="17165"/>
                      </a:cubicBezTo>
                      <a:cubicBezTo>
                        <a:pt x="8916" y="19737"/>
                        <a:pt x="14538" y="18302"/>
                        <a:pt x="17109" y="13935"/>
                      </a:cubicBezTo>
                      <a:cubicBezTo>
                        <a:pt x="19681" y="9570"/>
                        <a:pt x="18186" y="3888"/>
                        <a:pt x="13820" y="1316"/>
                      </a:cubicBezTo>
                      <a:cubicBezTo>
                        <a:pt x="9454" y="-1315"/>
                        <a:pt x="3832" y="120"/>
                        <a:pt x="1261" y="4546"/>
                      </a:cubicBezTo>
                      <a:close/>
                    </a:path>
                  </a:pathLst>
                </a:custGeom>
                <a:grpFill/>
                <a:ln w="5978" cap="flat">
                  <a:noFill/>
                  <a:prstDash val="solid"/>
                  <a:miter/>
                </a:ln>
              </p:spPr>
              <p:txBody>
                <a:bodyPr rtlCol="0" anchor="ctr"/>
                <a:lstStyle/>
                <a:p>
                  <a:endParaRPr lang="en-GB"/>
                </a:p>
              </p:txBody>
            </p:sp>
          </p:grpSp>
          <p:grpSp>
            <p:nvGrpSpPr>
              <p:cNvPr id="1008" name="Graphic 3">
                <a:extLst>
                  <a:ext uri="{FF2B5EF4-FFF2-40B4-BE49-F238E27FC236}">
                    <a16:creationId xmlns:a16="http://schemas.microsoft.com/office/drawing/2014/main" id="{47EF8896-E21D-4373-A440-4C0CDB7E4616}"/>
                  </a:ext>
                </a:extLst>
              </p:cNvPr>
              <p:cNvGrpSpPr/>
              <p:nvPr/>
            </p:nvGrpSpPr>
            <p:grpSpPr>
              <a:xfrm>
                <a:off x="5082009" y="4956135"/>
                <a:ext cx="277285" cy="490091"/>
                <a:chOff x="5082009" y="4956135"/>
                <a:chExt cx="277285" cy="490091"/>
              </a:xfrm>
              <a:grpFill/>
            </p:grpSpPr>
            <p:sp>
              <p:nvSpPr>
                <p:cNvPr id="2376" name="Vrije vorm: vorm 2375">
                  <a:extLst>
                    <a:ext uri="{FF2B5EF4-FFF2-40B4-BE49-F238E27FC236}">
                      <a16:creationId xmlns:a16="http://schemas.microsoft.com/office/drawing/2014/main" id="{C455FC93-185D-4D1E-9B97-AD634C7C0C3C}"/>
                    </a:ext>
                  </a:extLst>
                </p:cNvPr>
                <p:cNvSpPr/>
                <p:nvPr/>
              </p:nvSpPr>
              <p:spPr>
                <a:xfrm>
                  <a:off x="5089614" y="4964218"/>
                  <a:ext cx="262135" cy="473912"/>
                </a:xfrm>
                <a:custGeom>
                  <a:avLst/>
                  <a:gdLst>
                    <a:gd name="connsiteX0" fmla="*/ 262135 w 262135"/>
                    <a:gd name="connsiteY0" fmla="*/ 1435 h 473912"/>
                    <a:gd name="connsiteX1" fmla="*/ 2691 w 262135"/>
                    <a:gd name="connsiteY1" fmla="*/ 473912 h 473912"/>
                    <a:gd name="connsiteX2" fmla="*/ 0 w 262135"/>
                    <a:gd name="connsiteY2" fmla="*/ 472417 h 473912"/>
                    <a:gd name="connsiteX3" fmla="*/ 259444 w 262135"/>
                    <a:gd name="connsiteY3" fmla="*/ 0 h 473912"/>
                  </a:gdLst>
                  <a:ahLst/>
                  <a:cxnLst>
                    <a:cxn ang="0">
                      <a:pos x="connsiteX0" y="connsiteY0"/>
                    </a:cxn>
                    <a:cxn ang="0">
                      <a:pos x="connsiteX1" y="connsiteY1"/>
                    </a:cxn>
                    <a:cxn ang="0">
                      <a:pos x="connsiteX2" y="connsiteY2"/>
                    </a:cxn>
                    <a:cxn ang="0">
                      <a:pos x="connsiteX3" y="connsiteY3"/>
                    </a:cxn>
                  </a:cxnLst>
                  <a:rect l="l" t="t" r="r" b="b"/>
                  <a:pathLst>
                    <a:path w="262135" h="473912">
                      <a:moveTo>
                        <a:pt x="262135" y="1435"/>
                      </a:moveTo>
                      <a:lnTo>
                        <a:pt x="2691" y="473912"/>
                      </a:lnTo>
                      <a:lnTo>
                        <a:pt x="0" y="472417"/>
                      </a:lnTo>
                      <a:lnTo>
                        <a:pt x="259444" y="0"/>
                      </a:lnTo>
                      <a:close/>
                    </a:path>
                  </a:pathLst>
                </a:custGeom>
                <a:grpFill/>
                <a:ln w="5978" cap="flat">
                  <a:noFill/>
                  <a:prstDash val="solid"/>
                  <a:miter/>
                </a:ln>
              </p:spPr>
              <p:txBody>
                <a:bodyPr rtlCol="0" anchor="ctr"/>
                <a:lstStyle/>
                <a:p>
                  <a:endParaRPr lang="en-GB"/>
                </a:p>
              </p:txBody>
            </p:sp>
            <p:sp>
              <p:nvSpPr>
                <p:cNvPr id="2377" name="Vrije vorm: vorm 2376">
                  <a:extLst>
                    <a:ext uri="{FF2B5EF4-FFF2-40B4-BE49-F238E27FC236}">
                      <a16:creationId xmlns:a16="http://schemas.microsoft.com/office/drawing/2014/main" id="{D889E7CF-872A-49AA-9844-DADF0CAECEB6}"/>
                    </a:ext>
                  </a:extLst>
                </p:cNvPr>
                <p:cNvSpPr/>
                <p:nvPr/>
              </p:nvSpPr>
              <p:spPr>
                <a:xfrm>
                  <a:off x="5341013" y="4956135"/>
                  <a:ext cx="18281" cy="18439"/>
                </a:xfrm>
                <a:custGeom>
                  <a:avLst/>
                  <a:gdLst>
                    <a:gd name="connsiteX0" fmla="*/ 1107 w 18281"/>
                    <a:gd name="connsiteY0" fmla="*/ 4734 h 18439"/>
                    <a:gd name="connsiteX1" fmla="*/ 13547 w 18281"/>
                    <a:gd name="connsiteY1" fmla="*/ 1146 h 18439"/>
                    <a:gd name="connsiteX2" fmla="*/ 17136 w 18281"/>
                    <a:gd name="connsiteY2" fmla="*/ 13706 h 18439"/>
                    <a:gd name="connsiteX3" fmla="*/ 4696 w 18281"/>
                    <a:gd name="connsiteY3" fmla="*/ 17294 h 18439"/>
                    <a:gd name="connsiteX4" fmla="*/ 1107 w 18281"/>
                    <a:gd name="connsiteY4" fmla="*/ 47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39">
                      <a:moveTo>
                        <a:pt x="1107" y="4734"/>
                      </a:moveTo>
                      <a:cubicBezTo>
                        <a:pt x="3559" y="309"/>
                        <a:pt x="9121" y="-1306"/>
                        <a:pt x="13547" y="1146"/>
                      </a:cubicBezTo>
                      <a:cubicBezTo>
                        <a:pt x="17973" y="3598"/>
                        <a:pt x="19587" y="9220"/>
                        <a:pt x="17136" y="13706"/>
                      </a:cubicBezTo>
                      <a:cubicBezTo>
                        <a:pt x="14683" y="18131"/>
                        <a:pt x="9121" y="19746"/>
                        <a:pt x="4696" y="17294"/>
                      </a:cubicBezTo>
                      <a:cubicBezTo>
                        <a:pt x="330" y="14782"/>
                        <a:pt x="-1285" y="9160"/>
                        <a:pt x="1107" y="4734"/>
                      </a:cubicBezTo>
                      <a:close/>
                    </a:path>
                  </a:pathLst>
                </a:custGeom>
                <a:grpFill/>
                <a:ln w="5978" cap="flat">
                  <a:noFill/>
                  <a:prstDash val="solid"/>
                  <a:miter/>
                </a:ln>
              </p:spPr>
              <p:txBody>
                <a:bodyPr rtlCol="0" anchor="ctr"/>
                <a:lstStyle/>
                <a:p>
                  <a:endParaRPr lang="en-GB"/>
                </a:p>
              </p:txBody>
            </p:sp>
            <p:sp>
              <p:nvSpPr>
                <p:cNvPr id="2378" name="Vrije vorm: vorm 2377">
                  <a:extLst>
                    <a:ext uri="{FF2B5EF4-FFF2-40B4-BE49-F238E27FC236}">
                      <a16:creationId xmlns:a16="http://schemas.microsoft.com/office/drawing/2014/main" id="{8F182B8E-74BC-4FBB-AB60-77DF74D6366C}"/>
                    </a:ext>
                  </a:extLst>
                </p:cNvPr>
                <p:cNvSpPr/>
                <p:nvPr/>
              </p:nvSpPr>
              <p:spPr>
                <a:xfrm>
                  <a:off x="5082009" y="5427781"/>
                  <a:ext cx="18320" cy="18445"/>
                </a:xfrm>
                <a:custGeom>
                  <a:avLst/>
                  <a:gdLst>
                    <a:gd name="connsiteX0" fmla="*/ 1146 w 18320"/>
                    <a:gd name="connsiteY0" fmla="*/ 4728 h 18445"/>
                    <a:gd name="connsiteX1" fmla="*/ 4734 w 18320"/>
                    <a:gd name="connsiteY1" fmla="*/ 17288 h 18445"/>
                    <a:gd name="connsiteX2" fmla="*/ 17174 w 18320"/>
                    <a:gd name="connsiteY2" fmla="*/ 13699 h 18445"/>
                    <a:gd name="connsiteX3" fmla="*/ 13586 w 18320"/>
                    <a:gd name="connsiteY3" fmla="*/ 1199 h 18445"/>
                    <a:gd name="connsiteX4" fmla="*/ 1146 w 18320"/>
                    <a:gd name="connsiteY4" fmla="*/ 47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45">
                      <a:moveTo>
                        <a:pt x="1146" y="4728"/>
                      </a:moveTo>
                      <a:cubicBezTo>
                        <a:pt x="-1306" y="9154"/>
                        <a:pt x="309" y="14776"/>
                        <a:pt x="4734" y="17288"/>
                      </a:cubicBezTo>
                      <a:cubicBezTo>
                        <a:pt x="9160" y="19740"/>
                        <a:pt x="14722" y="18185"/>
                        <a:pt x="17174" y="13699"/>
                      </a:cubicBezTo>
                      <a:cubicBezTo>
                        <a:pt x="19626" y="9274"/>
                        <a:pt x="18011" y="3652"/>
                        <a:pt x="13586" y="1199"/>
                      </a:cubicBezTo>
                      <a:cubicBezTo>
                        <a:pt x="9160" y="-1312"/>
                        <a:pt x="3598" y="243"/>
                        <a:pt x="1146" y="4728"/>
                      </a:cubicBezTo>
                      <a:close/>
                    </a:path>
                  </a:pathLst>
                </a:custGeom>
                <a:grpFill/>
                <a:ln w="5978" cap="flat">
                  <a:noFill/>
                  <a:prstDash val="solid"/>
                  <a:miter/>
                </a:ln>
              </p:spPr>
              <p:txBody>
                <a:bodyPr rtlCol="0" anchor="ctr"/>
                <a:lstStyle/>
                <a:p>
                  <a:endParaRPr lang="en-GB"/>
                </a:p>
              </p:txBody>
            </p:sp>
          </p:grpSp>
          <p:grpSp>
            <p:nvGrpSpPr>
              <p:cNvPr id="1009" name="Graphic 3">
                <a:extLst>
                  <a:ext uri="{FF2B5EF4-FFF2-40B4-BE49-F238E27FC236}">
                    <a16:creationId xmlns:a16="http://schemas.microsoft.com/office/drawing/2014/main" id="{F18EFA80-BF06-4F36-B5EA-8675BEE0A601}"/>
                  </a:ext>
                </a:extLst>
              </p:cNvPr>
              <p:cNvGrpSpPr/>
              <p:nvPr/>
            </p:nvGrpSpPr>
            <p:grpSpPr>
              <a:xfrm>
                <a:off x="5107427" y="4944891"/>
                <a:ext cx="114370" cy="193555"/>
                <a:chOff x="5107427" y="4944891"/>
                <a:chExt cx="114370" cy="193555"/>
              </a:xfrm>
              <a:grpFill/>
            </p:grpSpPr>
            <p:sp>
              <p:nvSpPr>
                <p:cNvPr id="2373" name="Vrije vorm: vorm 2372">
                  <a:extLst>
                    <a:ext uri="{FF2B5EF4-FFF2-40B4-BE49-F238E27FC236}">
                      <a16:creationId xmlns:a16="http://schemas.microsoft.com/office/drawing/2014/main" id="{AF98B03B-1684-4398-B724-776395DA2BB5}"/>
                    </a:ext>
                  </a:extLst>
                </p:cNvPr>
                <p:cNvSpPr/>
                <p:nvPr/>
              </p:nvSpPr>
              <p:spPr>
                <a:xfrm>
                  <a:off x="5115032" y="4952915"/>
                  <a:ext cx="99100" cy="177447"/>
                </a:xfrm>
                <a:custGeom>
                  <a:avLst/>
                  <a:gdLst>
                    <a:gd name="connsiteX0" fmla="*/ 99101 w 99100"/>
                    <a:gd name="connsiteY0" fmla="*/ 1495 h 177447"/>
                    <a:gd name="connsiteX1" fmla="*/ 2632 w 99100"/>
                    <a:gd name="connsiteY1" fmla="*/ 177448 h 177447"/>
                    <a:gd name="connsiteX2" fmla="*/ 0 w 99100"/>
                    <a:gd name="connsiteY2" fmla="*/ 175953 h 177447"/>
                    <a:gd name="connsiteX3" fmla="*/ 96469 w 99100"/>
                    <a:gd name="connsiteY3" fmla="*/ 0 h 177447"/>
                  </a:gdLst>
                  <a:ahLst/>
                  <a:cxnLst>
                    <a:cxn ang="0">
                      <a:pos x="connsiteX0" y="connsiteY0"/>
                    </a:cxn>
                    <a:cxn ang="0">
                      <a:pos x="connsiteX1" y="connsiteY1"/>
                    </a:cxn>
                    <a:cxn ang="0">
                      <a:pos x="connsiteX2" y="connsiteY2"/>
                    </a:cxn>
                    <a:cxn ang="0">
                      <a:pos x="connsiteX3" y="connsiteY3"/>
                    </a:cxn>
                  </a:cxnLst>
                  <a:rect l="l" t="t" r="r" b="b"/>
                  <a:pathLst>
                    <a:path w="99100" h="177447">
                      <a:moveTo>
                        <a:pt x="99101" y="1495"/>
                      </a:moveTo>
                      <a:lnTo>
                        <a:pt x="2632" y="177448"/>
                      </a:lnTo>
                      <a:lnTo>
                        <a:pt x="0" y="175953"/>
                      </a:lnTo>
                      <a:lnTo>
                        <a:pt x="96469" y="0"/>
                      </a:lnTo>
                      <a:close/>
                    </a:path>
                  </a:pathLst>
                </a:custGeom>
                <a:grpFill/>
                <a:ln w="5978" cap="flat">
                  <a:noFill/>
                  <a:prstDash val="solid"/>
                  <a:miter/>
                </a:ln>
              </p:spPr>
              <p:txBody>
                <a:bodyPr rtlCol="0" anchor="ctr"/>
                <a:lstStyle/>
                <a:p>
                  <a:endParaRPr lang="en-GB"/>
                </a:p>
              </p:txBody>
            </p:sp>
            <p:sp>
              <p:nvSpPr>
                <p:cNvPr id="2374" name="Vrije vorm: vorm 2373">
                  <a:extLst>
                    <a:ext uri="{FF2B5EF4-FFF2-40B4-BE49-F238E27FC236}">
                      <a16:creationId xmlns:a16="http://schemas.microsoft.com/office/drawing/2014/main" id="{530B15F1-DA7B-4706-A7B6-46358778DE80}"/>
                    </a:ext>
                  </a:extLst>
                </p:cNvPr>
                <p:cNvSpPr/>
                <p:nvPr/>
              </p:nvSpPr>
              <p:spPr>
                <a:xfrm>
                  <a:off x="5107427" y="5120066"/>
                  <a:ext cx="18320" cy="18379"/>
                </a:xfrm>
                <a:custGeom>
                  <a:avLst/>
                  <a:gdLst>
                    <a:gd name="connsiteX0" fmla="*/ 17174 w 18320"/>
                    <a:gd name="connsiteY0" fmla="*/ 13646 h 18379"/>
                    <a:gd name="connsiteX1" fmla="*/ 4734 w 18320"/>
                    <a:gd name="connsiteY1" fmla="*/ 17234 h 18379"/>
                    <a:gd name="connsiteX2" fmla="*/ 1146 w 18320"/>
                    <a:gd name="connsiteY2" fmla="*/ 4734 h 18379"/>
                    <a:gd name="connsiteX3" fmla="*/ 13586 w 18320"/>
                    <a:gd name="connsiteY3" fmla="*/ 1146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4722" y="18071"/>
                        <a:pt x="9160" y="19686"/>
                        <a:pt x="4734" y="17234"/>
                      </a:cubicBezTo>
                      <a:cubicBezTo>
                        <a:pt x="309" y="14782"/>
                        <a:pt x="-1306" y="9160"/>
                        <a:pt x="1146" y="4734"/>
                      </a:cubicBezTo>
                      <a:cubicBezTo>
                        <a:pt x="3598" y="309"/>
                        <a:pt x="9160" y="-1306"/>
                        <a:pt x="13586" y="1146"/>
                      </a:cubicBezTo>
                      <a:cubicBezTo>
                        <a:pt x="18011" y="3598"/>
                        <a:pt x="19626" y="9160"/>
                        <a:pt x="17174" y="13646"/>
                      </a:cubicBezTo>
                      <a:close/>
                    </a:path>
                  </a:pathLst>
                </a:custGeom>
                <a:grpFill/>
                <a:ln w="5978" cap="flat">
                  <a:noFill/>
                  <a:prstDash val="solid"/>
                  <a:miter/>
                </a:ln>
              </p:spPr>
              <p:txBody>
                <a:bodyPr rtlCol="0" anchor="ctr"/>
                <a:lstStyle/>
                <a:p>
                  <a:endParaRPr lang="en-GB"/>
                </a:p>
              </p:txBody>
            </p:sp>
            <p:sp>
              <p:nvSpPr>
                <p:cNvPr id="2375" name="Vrije vorm: vorm 2374">
                  <a:extLst>
                    <a:ext uri="{FF2B5EF4-FFF2-40B4-BE49-F238E27FC236}">
                      <a16:creationId xmlns:a16="http://schemas.microsoft.com/office/drawing/2014/main" id="{C01934E1-9265-4FDC-89BE-38C9ED26DEAA}"/>
                    </a:ext>
                  </a:extLst>
                </p:cNvPr>
                <p:cNvSpPr/>
                <p:nvPr/>
              </p:nvSpPr>
              <p:spPr>
                <a:xfrm>
                  <a:off x="5203477" y="4944891"/>
                  <a:ext cx="18320" cy="18379"/>
                </a:xfrm>
                <a:custGeom>
                  <a:avLst/>
                  <a:gdLst>
                    <a:gd name="connsiteX0" fmla="*/ 17174 w 18320"/>
                    <a:gd name="connsiteY0" fmla="*/ 13646 h 18379"/>
                    <a:gd name="connsiteX1" fmla="*/ 13586 w 18320"/>
                    <a:gd name="connsiteY1" fmla="*/ 1146 h 18379"/>
                    <a:gd name="connsiteX2" fmla="*/ 1146 w 18320"/>
                    <a:gd name="connsiteY2" fmla="*/ 4734 h 18379"/>
                    <a:gd name="connsiteX3" fmla="*/ 4734 w 18320"/>
                    <a:gd name="connsiteY3" fmla="*/ 17234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9626" y="9220"/>
                        <a:pt x="18011" y="3598"/>
                        <a:pt x="13586" y="1146"/>
                      </a:cubicBezTo>
                      <a:cubicBezTo>
                        <a:pt x="9160" y="-1306"/>
                        <a:pt x="3598" y="309"/>
                        <a:pt x="1146" y="4734"/>
                      </a:cubicBezTo>
                      <a:cubicBezTo>
                        <a:pt x="-1306" y="9160"/>
                        <a:pt x="309" y="14782"/>
                        <a:pt x="4734" y="17234"/>
                      </a:cubicBezTo>
                      <a:cubicBezTo>
                        <a:pt x="9160" y="19686"/>
                        <a:pt x="14722" y="18071"/>
                        <a:pt x="17174" y="13646"/>
                      </a:cubicBezTo>
                      <a:close/>
                    </a:path>
                  </a:pathLst>
                </a:custGeom>
                <a:grpFill/>
                <a:ln w="5978" cap="flat">
                  <a:noFill/>
                  <a:prstDash val="solid"/>
                  <a:miter/>
                </a:ln>
              </p:spPr>
              <p:txBody>
                <a:bodyPr rtlCol="0" anchor="ctr"/>
                <a:lstStyle/>
                <a:p>
                  <a:endParaRPr lang="en-GB"/>
                </a:p>
              </p:txBody>
            </p:sp>
          </p:grpSp>
          <p:grpSp>
            <p:nvGrpSpPr>
              <p:cNvPr id="1010" name="Graphic 3">
                <a:extLst>
                  <a:ext uri="{FF2B5EF4-FFF2-40B4-BE49-F238E27FC236}">
                    <a16:creationId xmlns:a16="http://schemas.microsoft.com/office/drawing/2014/main" id="{F10261B4-AA21-4B22-AF6B-AD521120ADB4}"/>
                  </a:ext>
                </a:extLst>
              </p:cNvPr>
              <p:cNvGrpSpPr/>
              <p:nvPr/>
            </p:nvGrpSpPr>
            <p:grpSpPr>
              <a:xfrm>
                <a:off x="4304968" y="2572386"/>
                <a:ext cx="63475" cy="40105"/>
                <a:chOff x="4304968" y="2572386"/>
                <a:chExt cx="63475" cy="40105"/>
              </a:xfrm>
              <a:grpFill/>
            </p:grpSpPr>
            <p:sp>
              <p:nvSpPr>
                <p:cNvPr id="2370" name="Vrije vorm: vorm 2369">
                  <a:extLst>
                    <a:ext uri="{FF2B5EF4-FFF2-40B4-BE49-F238E27FC236}">
                      <a16:creationId xmlns:a16="http://schemas.microsoft.com/office/drawing/2014/main" id="{F1510E9F-6D85-4E12-A2D3-473306C9BCAC}"/>
                    </a:ext>
                  </a:extLst>
                </p:cNvPr>
                <p:cNvSpPr/>
                <p:nvPr/>
              </p:nvSpPr>
              <p:spPr>
                <a:xfrm>
                  <a:off x="4313077" y="2580004"/>
                  <a:ext cx="47247" cy="24820"/>
                </a:xfrm>
                <a:custGeom>
                  <a:avLst/>
                  <a:gdLst>
                    <a:gd name="connsiteX0" fmla="*/ 47247 w 47247"/>
                    <a:gd name="connsiteY0" fmla="*/ 22069 h 24820"/>
                    <a:gd name="connsiteX1" fmla="*/ 45992 w 47247"/>
                    <a:gd name="connsiteY1" fmla="*/ 24820 h 24820"/>
                    <a:gd name="connsiteX2" fmla="*/ 0 w 47247"/>
                    <a:gd name="connsiteY2" fmla="*/ 2751 h 24820"/>
                    <a:gd name="connsiteX3" fmla="*/ 1256 w 47247"/>
                    <a:gd name="connsiteY3" fmla="*/ 0 h 24820"/>
                  </a:gdLst>
                  <a:ahLst/>
                  <a:cxnLst>
                    <a:cxn ang="0">
                      <a:pos x="connsiteX0" y="connsiteY0"/>
                    </a:cxn>
                    <a:cxn ang="0">
                      <a:pos x="connsiteX1" y="connsiteY1"/>
                    </a:cxn>
                    <a:cxn ang="0">
                      <a:pos x="connsiteX2" y="connsiteY2"/>
                    </a:cxn>
                    <a:cxn ang="0">
                      <a:pos x="connsiteX3" y="connsiteY3"/>
                    </a:cxn>
                  </a:cxnLst>
                  <a:rect l="l" t="t" r="r" b="b"/>
                  <a:pathLst>
                    <a:path w="47247" h="24820">
                      <a:moveTo>
                        <a:pt x="47247" y="22069"/>
                      </a:moveTo>
                      <a:lnTo>
                        <a:pt x="45992" y="24820"/>
                      </a:lnTo>
                      <a:lnTo>
                        <a:pt x="0" y="2751"/>
                      </a:lnTo>
                      <a:lnTo>
                        <a:pt x="1256" y="0"/>
                      </a:lnTo>
                      <a:close/>
                    </a:path>
                  </a:pathLst>
                </a:custGeom>
                <a:grpFill/>
                <a:ln w="5978" cap="flat">
                  <a:noFill/>
                  <a:prstDash val="solid"/>
                  <a:miter/>
                </a:ln>
              </p:spPr>
              <p:txBody>
                <a:bodyPr rtlCol="0" anchor="ctr"/>
                <a:lstStyle/>
                <a:p>
                  <a:endParaRPr lang="en-GB"/>
                </a:p>
              </p:txBody>
            </p:sp>
            <p:sp>
              <p:nvSpPr>
                <p:cNvPr id="2371" name="Vrije vorm: vorm 2370">
                  <a:extLst>
                    <a:ext uri="{FF2B5EF4-FFF2-40B4-BE49-F238E27FC236}">
                      <a16:creationId xmlns:a16="http://schemas.microsoft.com/office/drawing/2014/main" id="{AAB642BF-7CED-4DDC-8F52-F40D998DDF0F}"/>
                    </a:ext>
                  </a:extLst>
                </p:cNvPr>
                <p:cNvSpPr/>
                <p:nvPr/>
              </p:nvSpPr>
              <p:spPr>
                <a:xfrm>
                  <a:off x="4304968" y="2572386"/>
                  <a:ext cx="18311" cy="18406"/>
                </a:xfrm>
                <a:custGeom>
                  <a:avLst/>
                  <a:gdLst>
                    <a:gd name="connsiteX0" fmla="*/ 5238 w 18311"/>
                    <a:gd name="connsiteY0" fmla="*/ 17486 h 18406"/>
                    <a:gd name="connsiteX1" fmla="*/ 872 w 18311"/>
                    <a:gd name="connsiteY1" fmla="*/ 5226 h 18406"/>
                    <a:gd name="connsiteX2" fmla="*/ 13073 w 18311"/>
                    <a:gd name="connsiteY2" fmla="*/ 920 h 18406"/>
                    <a:gd name="connsiteX3" fmla="*/ 17439 w 18311"/>
                    <a:gd name="connsiteY3" fmla="*/ 13180 h 18406"/>
                    <a:gd name="connsiteX4" fmla="*/ 5238 w 18311"/>
                    <a:gd name="connsiteY4" fmla="*/ 174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6">
                      <a:moveTo>
                        <a:pt x="5238" y="17486"/>
                      </a:moveTo>
                      <a:cubicBezTo>
                        <a:pt x="693" y="15273"/>
                        <a:pt x="-1281" y="9771"/>
                        <a:pt x="872" y="5226"/>
                      </a:cubicBezTo>
                      <a:cubicBezTo>
                        <a:pt x="3025" y="621"/>
                        <a:pt x="8528" y="-1293"/>
                        <a:pt x="13073" y="920"/>
                      </a:cubicBezTo>
                      <a:cubicBezTo>
                        <a:pt x="17618" y="3133"/>
                        <a:pt x="19592" y="8635"/>
                        <a:pt x="17439" y="13180"/>
                      </a:cubicBezTo>
                      <a:cubicBezTo>
                        <a:pt x="15286" y="17785"/>
                        <a:pt x="9784" y="19699"/>
                        <a:pt x="5238" y="17486"/>
                      </a:cubicBezTo>
                      <a:close/>
                    </a:path>
                  </a:pathLst>
                </a:custGeom>
                <a:grpFill/>
                <a:ln w="5978" cap="flat">
                  <a:noFill/>
                  <a:prstDash val="solid"/>
                  <a:miter/>
                </a:ln>
              </p:spPr>
              <p:txBody>
                <a:bodyPr rtlCol="0" anchor="ctr"/>
                <a:lstStyle/>
                <a:p>
                  <a:endParaRPr lang="en-GB"/>
                </a:p>
              </p:txBody>
            </p:sp>
            <p:sp>
              <p:nvSpPr>
                <p:cNvPr id="2372" name="Vrije vorm: vorm 2371">
                  <a:extLst>
                    <a:ext uri="{FF2B5EF4-FFF2-40B4-BE49-F238E27FC236}">
                      <a16:creationId xmlns:a16="http://schemas.microsoft.com/office/drawing/2014/main" id="{21485501-0B73-4CB5-8B32-8E535A3E75AB}"/>
                    </a:ext>
                  </a:extLst>
                </p:cNvPr>
                <p:cNvSpPr/>
                <p:nvPr/>
              </p:nvSpPr>
              <p:spPr>
                <a:xfrm>
                  <a:off x="4350122" y="2594106"/>
                  <a:ext cx="18321" cy="18385"/>
                </a:xfrm>
                <a:custGeom>
                  <a:avLst/>
                  <a:gdLst>
                    <a:gd name="connsiteX0" fmla="*/ 5238 w 18321"/>
                    <a:gd name="connsiteY0" fmla="*/ 17476 h 18385"/>
                    <a:gd name="connsiteX1" fmla="*/ 17439 w 18321"/>
                    <a:gd name="connsiteY1" fmla="*/ 13170 h 18385"/>
                    <a:gd name="connsiteX2" fmla="*/ 13073 w 18321"/>
                    <a:gd name="connsiteY2" fmla="*/ 910 h 18385"/>
                    <a:gd name="connsiteX3" fmla="*/ 872 w 18321"/>
                    <a:gd name="connsiteY3" fmla="*/ 5216 h 18385"/>
                    <a:gd name="connsiteX4" fmla="*/ 5238 w 18321"/>
                    <a:gd name="connsiteY4" fmla="*/ 17476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5">
                      <a:moveTo>
                        <a:pt x="5238" y="17476"/>
                      </a:moveTo>
                      <a:cubicBezTo>
                        <a:pt x="9784" y="19689"/>
                        <a:pt x="15286" y="17715"/>
                        <a:pt x="17439" y="13170"/>
                      </a:cubicBezTo>
                      <a:cubicBezTo>
                        <a:pt x="19592" y="8565"/>
                        <a:pt x="17678" y="3063"/>
                        <a:pt x="13073" y="910"/>
                      </a:cubicBezTo>
                      <a:cubicBezTo>
                        <a:pt x="8528" y="-1303"/>
                        <a:pt x="3025" y="670"/>
                        <a:pt x="872" y="5216"/>
                      </a:cubicBezTo>
                      <a:cubicBezTo>
                        <a:pt x="-1281" y="9761"/>
                        <a:pt x="693" y="15263"/>
                        <a:pt x="5238" y="17476"/>
                      </a:cubicBezTo>
                      <a:close/>
                    </a:path>
                  </a:pathLst>
                </a:custGeom>
                <a:grpFill/>
                <a:ln w="5978" cap="flat">
                  <a:noFill/>
                  <a:prstDash val="solid"/>
                  <a:miter/>
                </a:ln>
              </p:spPr>
              <p:txBody>
                <a:bodyPr rtlCol="0" anchor="ctr"/>
                <a:lstStyle/>
                <a:p>
                  <a:endParaRPr lang="en-GB"/>
                </a:p>
              </p:txBody>
            </p:sp>
          </p:grpSp>
          <p:grpSp>
            <p:nvGrpSpPr>
              <p:cNvPr id="1011" name="Graphic 3">
                <a:extLst>
                  <a:ext uri="{FF2B5EF4-FFF2-40B4-BE49-F238E27FC236}">
                    <a16:creationId xmlns:a16="http://schemas.microsoft.com/office/drawing/2014/main" id="{31C77465-BD8F-41FA-A4C4-88C5E2AFDA90}"/>
                  </a:ext>
                </a:extLst>
              </p:cNvPr>
              <p:cNvGrpSpPr/>
              <p:nvPr/>
            </p:nvGrpSpPr>
            <p:grpSpPr>
              <a:xfrm>
                <a:off x="4305795" y="2572755"/>
                <a:ext cx="62638" cy="39687"/>
                <a:chOff x="4305795" y="2572755"/>
                <a:chExt cx="62638" cy="39687"/>
              </a:xfrm>
              <a:grpFill/>
            </p:grpSpPr>
            <p:sp>
              <p:nvSpPr>
                <p:cNvPr id="2367" name="Vrije vorm: vorm 2366">
                  <a:extLst>
                    <a:ext uri="{FF2B5EF4-FFF2-40B4-BE49-F238E27FC236}">
                      <a16:creationId xmlns:a16="http://schemas.microsoft.com/office/drawing/2014/main" id="{C1749DD7-732A-4D33-BB45-34BFCF6B2DFD}"/>
                    </a:ext>
                  </a:extLst>
                </p:cNvPr>
                <p:cNvSpPr/>
                <p:nvPr/>
              </p:nvSpPr>
              <p:spPr>
                <a:xfrm>
                  <a:off x="4313914" y="2580422"/>
                  <a:ext cx="46410" cy="24401"/>
                </a:xfrm>
                <a:custGeom>
                  <a:avLst/>
                  <a:gdLst>
                    <a:gd name="connsiteX0" fmla="*/ 46410 w 46410"/>
                    <a:gd name="connsiteY0" fmla="*/ 21650 h 24401"/>
                    <a:gd name="connsiteX1" fmla="*/ 45155 w 46410"/>
                    <a:gd name="connsiteY1" fmla="*/ 24401 h 24401"/>
                    <a:gd name="connsiteX2" fmla="*/ 0 w 46410"/>
                    <a:gd name="connsiteY2" fmla="*/ 2751 h 24401"/>
                    <a:gd name="connsiteX3" fmla="*/ 1316 w 46410"/>
                    <a:gd name="connsiteY3" fmla="*/ 0 h 24401"/>
                  </a:gdLst>
                  <a:ahLst/>
                  <a:cxnLst>
                    <a:cxn ang="0">
                      <a:pos x="connsiteX0" y="connsiteY0"/>
                    </a:cxn>
                    <a:cxn ang="0">
                      <a:pos x="connsiteX1" y="connsiteY1"/>
                    </a:cxn>
                    <a:cxn ang="0">
                      <a:pos x="connsiteX2" y="connsiteY2"/>
                    </a:cxn>
                    <a:cxn ang="0">
                      <a:pos x="connsiteX3" y="connsiteY3"/>
                    </a:cxn>
                  </a:cxnLst>
                  <a:rect l="l" t="t" r="r" b="b"/>
                  <a:pathLst>
                    <a:path w="46410" h="24401">
                      <a:moveTo>
                        <a:pt x="46410" y="21650"/>
                      </a:moveTo>
                      <a:lnTo>
                        <a:pt x="45155" y="24401"/>
                      </a:lnTo>
                      <a:lnTo>
                        <a:pt x="0" y="2751"/>
                      </a:lnTo>
                      <a:lnTo>
                        <a:pt x="1316" y="0"/>
                      </a:lnTo>
                      <a:close/>
                    </a:path>
                  </a:pathLst>
                </a:custGeom>
                <a:grpFill/>
                <a:ln w="5978" cap="flat">
                  <a:noFill/>
                  <a:prstDash val="solid"/>
                  <a:miter/>
                </a:ln>
              </p:spPr>
              <p:txBody>
                <a:bodyPr rtlCol="0" anchor="ctr"/>
                <a:lstStyle/>
                <a:p>
                  <a:endParaRPr lang="en-GB"/>
                </a:p>
              </p:txBody>
            </p:sp>
            <p:sp>
              <p:nvSpPr>
                <p:cNvPr id="2368" name="Vrije vorm: vorm 2367">
                  <a:extLst>
                    <a:ext uri="{FF2B5EF4-FFF2-40B4-BE49-F238E27FC236}">
                      <a16:creationId xmlns:a16="http://schemas.microsoft.com/office/drawing/2014/main" id="{4ADD7EEA-9F77-4567-9A24-F3D9701A957B}"/>
                    </a:ext>
                  </a:extLst>
                </p:cNvPr>
                <p:cNvSpPr/>
                <p:nvPr/>
              </p:nvSpPr>
              <p:spPr>
                <a:xfrm>
                  <a:off x="4350122" y="2594046"/>
                  <a:ext cx="18311" cy="18396"/>
                </a:xfrm>
                <a:custGeom>
                  <a:avLst/>
                  <a:gdLst>
                    <a:gd name="connsiteX0" fmla="*/ 13073 w 18311"/>
                    <a:gd name="connsiteY0" fmla="*/ 910 h 18396"/>
                    <a:gd name="connsiteX1" fmla="*/ 17439 w 18311"/>
                    <a:gd name="connsiteY1" fmla="*/ 13170 h 18396"/>
                    <a:gd name="connsiteX2" fmla="*/ 5238 w 18311"/>
                    <a:gd name="connsiteY2" fmla="*/ 17476 h 18396"/>
                    <a:gd name="connsiteX3" fmla="*/ 872 w 18311"/>
                    <a:gd name="connsiteY3" fmla="*/ 5216 h 18396"/>
                    <a:gd name="connsiteX4" fmla="*/ 13073 w 18311"/>
                    <a:gd name="connsiteY4" fmla="*/ 910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396">
                      <a:moveTo>
                        <a:pt x="13073" y="910"/>
                      </a:moveTo>
                      <a:cubicBezTo>
                        <a:pt x="17618" y="3122"/>
                        <a:pt x="19592" y="8625"/>
                        <a:pt x="17439" y="13170"/>
                      </a:cubicBezTo>
                      <a:cubicBezTo>
                        <a:pt x="15286" y="17775"/>
                        <a:pt x="9784" y="19689"/>
                        <a:pt x="5238" y="17476"/>
                      </a:cubicBezTo>
                      <a:cubicBezTo>
                        <a:pt x="693" y="15263"/>
                        <a:pt x="-1281" y="9761"/>
                        <a:pt x="872" y="5216"/>
                      </a:cubicBezTo>
                      <a:cubicBezTo>
                        <a:pt x="3025" y="670"/>
                        <a:pt x="8528" y="-1303"/>
                        <a:pt x="13073" y="910"/>
                      </a:cubicBezTo>
                      <a:close/>
                    </a:path>
                  </a:pathLst>
                </a:custGeom>
                <a:grpFill/>
                <a:ln w="5978" cap="flat">
                  <a:noFill/>
                  <a:prstDash val="solid"/>
                  <a:miter/>
                </a:ln>
              </p:spPr>
              <p:txBody>
                <a:bodyPr rtlCol="0" anchor="ctr"/>
                <a:lstStyle/>
                <a:p>
                  <a:endParaRPr lang="en-GB"/>
                </a:p>
              </p:txBody>
            </p:sp>
            <p:sp>
              <p:nvSpPr>
                <p:cNvPr id="2369" name="Vrije vorm: vorm 2368">
                  <a:extLst>
                    <a:ext uri="{FF2B5EF4-FFF2-40B4-BE49-F238E27FC236}">
                      <a16:creationId xmlns:a16="http://schemas.microsoft.com/office/drawing/2014/main" id="{89494B8E-DD32-45F8-8E07-5E7FE08D08D5}"/>
                    </a:ext>
                  </a:extLst>
                </p:cNvPr>
                <p:cNvSpPr/>
                <p:nvPr/>
              </p:nvSpPr>
              <p:spPr>
                <a:xfrm>
                  <a:off x="4305795" y="2572755"/>
                  <a:ext cx="18331" cy="18385"/>
                </a:xfrm>
                <a:custGeom>
                  <a:avLst/>
                  <a:gdLst>
                    <a:gd name="connsiteX0" fmla="*/ 13083 w 18331"/>
                    <a:gd name="connsiteY0" fmla="*/ 910 h 18385"/>
                    <a:gd name="connsiteX1" fmla="*/ 882 w 18331"/>
                    <a:gd name="connsiteY1" fmla="*/ 5216 h 18385"/>
                    <a:gd name="connsiteX2" fmla="*/ 5248 w 18331"/>
                    <a:gd name="connsiteY2" fmla="*/ 17476 h 18385"/>
                    <a:gd name="connsiteX3" fmla="*/ 17449 w 18331"/>
                    <a:gd name="connsiteY3" fmla="*/ 13170 h 18385"/>
                    <a:gd name="connsiteX4" fmla="*/ 13083 w 18331"/>
                    <a:gd name="connsiteY4" fmla="*/ 910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5">
                      <a:moveTo>
                        <a:pt x="13083" y="910"/>
                      </a:moveTo>
                      <a:cubicBezTo>
                        <a:pt x="8537" y="-1303"/>
                        <a:pt x="3035" y="670"/>
                        <a:pt x="882" y="5216"/>
                      </a:cubicBezTo>
                      <a:cubicBezTo>
                        <a:pt x="-1271" y="9821"/>
                        <a:pt x="643" y="15323"/>
                        <a:pt x="5248" y="17476"/>
                      </a:cubicBezTo>
                      <a:cubicBezTo>
                        <a:pt x="9794" y="19689"/>
                        <a:pt x="15296" y="17715"/>
                        <a:pt x="17449" y="13170"/>
                      </a:cubicBezTo>
                      <a:cubicBezTo>
                        <a:pt x="19602" y="8625"/>
                        <a:pt x="17688" y="3122"/>
                        <a:pt x="13083" y="910"/>
                      </a:cubicBezTo>
                      <a:close/>
                    </a:path>
                  </a:pathLst>
                </a:custGeom>
                <a:grpFill/>
                <a:ln w="5978" cap="flat">
                  <a:noFill/>
                  <a:prstDash val="solid"/>
                  <a:miter/>
                </a:ln>
              </p:spPr>
              <p:txBody>
                <a:bodyPr rtlCol="0" anchor="ctr"/>
                <a:lstStyle/>
                <a:p>
                  <a:endParaRPr lang="en-GB"/>
                </a:p>
              </p:txBody>
            </p:sp>
          </p:grpSp>
          <p:grpSp>
            <p:nvGrpSpPr>
              <p:cNvPr id="1012" name="Graphic 3">
                <a:extLst>
                  <a:ext uri="{FF2B5EF4-FFF2-40B4-BE49-F238E27FC236}">
                    <a16:creationId xmlns:a16="http://schemas.microsoft.com/office/drawing/2014/main" id="{FB607D35-561C-4B9A-8896-8C69C76E00CF}"/>
                  </a:ext>
                </a:extLst>
              </p:cNvPr>
              <p:cNvGrpSpPr/>
              <p:nvPr/>
            </p:nvGrpSpPr>
            <p:grpSpPr>
              <a:xfrm>
                <a:off x="4198359" y="2564194"/>
                <a:ext cx="297030" cy="178804"/>
                <a:chOff x="4198359" y="2564194"/>
                <a:chExt cx="297030" cy="178804"/>
              </a:xfrm>
              <a:grpFill/>
            </p:grpSpPr>
            <p:sp>
              <p:nvSpPr>
                <p:cNvPr id="2364" name="Vrije vorm: vorm 2363">
                  <a:extLst>
                    <a:ext uri="{FF2B5EF4-FFF2-40B4-BE49-F238E27FC236}">
                      <a16:creationId xmlns:a16="http://schemas.microsoft.com/office/drawing/2014/main" id="{8E4383A8-0815-4B3E-9E26-F2F0A19AAB2E}"/>
                    </a:ext>
                  </a:extLst>
                </p:cNvPr>
                <p:cNvSpPr/>
                <p:nvPr/>
              </p:nvSpPr>
              <p:spPr>
                <a:xfrm>
                  <a:off x="4206381" y="2571870"/>
                  <a:ext cx="280974" cy="163512"/>
                </a:xfrm>
                <a:custGeom>
                  <a:avLst/>
                  <a:gdLst>
                    <a:gd name="connsiteX0" fmla="*/ 280974 w 280974"/>
                    <a:gd name="connsiteY0" fmla="*/ 160881 h 163512"/>
                    <a:gd name="connsiteX1" fmla="*/ 279479 w 280974"/>
                    <a:gd name="connsiteY1" fmla="*/ 163513 h 163512"/>
                    <a:gd name="connsiteX2" fmla="*/ 0 w 280974"/>
                    <a:gd name="connsiteY2" fmla="*/ 2632 h 163512"/>
                    <a:gd name="connsiteX3" fmla="*/ 1495 w 280974"/>
                    <a:gd name="connsiteY3" fmla="*/ 0 h 163512"/>
                  </a:gdLst>
                  <a:ahLst/>
                  <a:cxnLst>
                    <a:cxn ang="0">
                      <a:pos x="connsiteX0" y="connsiteY0"/>
                    </a:cxn>
                    <a:cxn ang="0">
                      <a:pos x="connsiteX1" y="connsiteY1"/>
                    </a:cxn>
                    <a:cxn ang="0">
                      <a:pos x="connsiteX2" y="connsiteY2"/>
                    </a:cxn>
                    <a:cxn ang="0">
                      <a:pos x="connsiteX3" y="connsiteY3"/>
                    </a:cxn>
                  </a:cxnLst>
                  <a:rect l="l" t="t" r="r" b="b"/>
                  <a:pathLst>
                    <a:path w="280974" h="163512">
                      <a:moveTo>
                        <a:pt x="280974" y="160881"/>
                      </a:moveTo>
                      <a:lnTo>
                        <a:pt x="279479" y="163513"/>
                      </a:lnTo>
                      <a:lnTo>
                        <a:pt x="0" y="2632"/>
                      </a:lnTo>
                      <a:lnTo>
                        <a:pt x="1495" y="0"/>
                      </a:lnTo>
                      <a:close/>
                    </a:path>
                  </a:pathLst>
                </a:custGeom>
                <a:grpFill/>
                <a:ln w="5978" cap="flat">
                  <a:noFill/>
                  <a:prstDash val="solid"/>
                  <a:miter/>
                </a:ln>
              </p:spPr>
              <p:txBody>
                <a:bodyPr rtlCol="0" anchor="ctr"/>
                <a:lstStyle/>
                <a:p>
                  <a:endParaRPr lang="en-GB"/>
                </a:p>
              </p:txBody>
            </p:sp>
            <p:sp>
              <p:nvSpPr>
                <p:cNvPr id="2365" name="Vrije vorm: vorm 2364">
                  <a:extLst>
                    <a:ext uri="{FF2B5EF4-FFF2-40B4-BE49-F238E27FC236}">
                      <a16:creationId xmlns:a16="http://schemas.microsoft.com/office/drawing/2014/main" id="{B405003D-1AF1-467F-909A-000F4FF82085}"/>
                    </a:ext>
                  </a:extLst>
                </p:cNvPr>
                <p:cNvSpPr/>
                <p:nvPr/>
              </p:nvSpPr>
              <p:spPr>
                <a:xfrm>
                  <a:off x="4477048" y="2724610"/>
                  <a:ext cx="18341" cy="18388"/>
                </a:xfrm>
                <a:custGeom>
                  <a:avLst/>
                  <a:gdLst>
                    <a:gd name="connsiteX0" fmla="*/ 13716 w 18341"/>
                    <a:gd name="connsiteY0" fmla="*/ 1203 h 18388"/>
                    <a:gd name="connsiteX1" fmla="*/ 17125 w 18341"/>
                    <a:gd name="connsiteY1" fmla="*/ 13763 h 18388"/>
                    <a:gd name="connsiteX2" fmla="*/ 4626 w 18341"/>
                    <a:gd name="connsiteY2" fmla="*/ 17172 h 18388"/>
                    <a:gd name="connsiteX3" fmla="*/ 1217 w 18341"/>
                    <a:gd name="connsiteY3" fmla="*/ 4613 h 18388"/>
                    <a:gd name="connsiteX4" fmla="*/ 13716 w 18341"/>
                    <a:gd name="connsiteY4" fmla="*/ 1203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8">
                      <a:moveTo>
                        <a:pt x="13716" y="1203"/>
                      </a:moveTo>
                      <a:cubicBezTo>
                        <a:pt x="18142" y="3715"/>
                        <a:pt x="19637" y="9397"/>
                        <a:pt x="17125" y="13763"/>
                      </a:cubicBezTo>
                      <a:cubicBezTo>
                        <a:pt x="14613" y="18189"/>
                        <a:pt x="9051" y="19684"/>
                        <a:pt x="4626" y="17172"/>
                      </a:cubicBezTo>
                      <a:cubicBezTo>
                        <a:pt x="200" y="14660"/>
                        <a:pt x="-1296" y="9038"/>
                        <a:pt x="1217" y="4613"/>
                      </a:cubicBezTo>
                      <a:cubicBezTo>
                        <a:pt x="3728" y="247"/>
                        <a:pt x="9290" y="-1308"/>
                        <a:pt x="13716" y="1203"/>
                      </a:cubicBezTo>
                      <a:close/>
                    </a:path>
                  </a:pathLst>
                </a:custGeom>
                <a:grpFill/>
                <a:ln w="5978" cap="flat">
                  <a:noFill/>
                  <a:prstDash val="solid"/>
                  <a:miter/>
                </a:ln>
              </p:spPr>
              <p:txBody>
                <a:bodyPr rtlCol="0" anchor="ctr"/>
                <a:lstStyle/>
                <a:p>
                  <a:endParaRPr lang="en-GB"/>
                </a:p>
              </p:txBody>
            </p:sp>
            <p:sp>
              <p:nvSpPr>
                <p:cNvPr id="2366" name="Vrije vorm: vorm 2365">
                  <a:extLst>
                    <a:ext uri="{FF2B5EF4-FFF2-40B4-BE49-F238E27FC236}">
                      <a16:creationId xmlns:a16="http://schemas.microsoft.com/office/drawing/2014/main" id="{96C628BC-9DF0-4459-BF68-966AC7BF8A8E}"/>
                    </a:ext>
                  </a:extLst>
                </p:cNvPr>
                <p:cNvSpPr/>
                <p:nvPr/>
              </p:nvSpPr>
              <p:spPr>
                <a:xfrm>
                  <a:off x="4198359" y="2564194"/>
                  <a:ext cx="18315" cy="18401"/>
                </a:xfrm>
                <a:custGeom>
                  <a:avLst/>
                  <a:gdLst>
                    <a:gd name="connsiteX0" fmla="*/ 13703 w 18315"/>
                    <a:gd name="connsiteY0" fmla="*/ 1216 h 18401"/>
                    <a:gd name="connsiteX1" fmla="*/ 1203 w 18315"/>
                    <a:gd name="connsiteY1" fmla="*/ 4625 h 18401"/>
                    <a:gd name="connsiteX2" fmla="*/ 4612 w 18315"/>
                    <a:gd name="connsiteY2" fmla="*/ 17185 h 18401"/>
                    <a:gd name="connsiteX3" fmla="*/ 17112 w 18315"/>
                    <a:gd name="connsiteY3" fmla="*/ 13776 h 18401"/>
                    <a:gd name="connsiteX4" fmla="*/ 13703 w 18315"/>
                    <a:gd name="connsiteY4" fmla="*/ 1216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01">
                      <a:moveTo>
                        <a:pt x="13703" y="1216"/>
                      </a:moveTo>
                      <a:cubicBezTo>
                        <a:pt x="9278" y="-1295"/>
                        <a:pt x="3716" y="200"/>
                        <a:pt x="1203" y="4625"/>
                      </a:cubicBezTo>
                      <a:cubicBezTo>
                        <a:pt x="-1308" y="9051"/>
                        <a:pt x="247" y="14673"/>
                        <a:pt x="4612" y="17185"/>
                      </a:cubicBezTo>
                      <a:cubicBezTo>
                        <a:pt x="9038" y="19697"/>
                        <a:pt x="14600" y="18202"/>
                        <a:pt x="17112" y="13776"/>
                      </a:cubicBezTo>
                      <a:cubicBezTo>
                        <a:pt x="19624" y="9410"/>
                        <a:pt x="18069" y="3728"/>
                        <a:pt x="13703" y="1216"/>
                      </a:cubicBezTo>
                      <a:close/>
                    </a:path>
                  </a:pathLst>
                </a:custGeom>
                <a:grpFill/>
                <a:ln w="5978" cap="flat">
                  <a:noFill/>
                  <a:prstDash val="solid"/>
                  <a:miter/>
                </a:ln>
              </p:spPr>
              <p:txBody>
                <a:bodyPr rtlCol="0" anchor="ctr"/>
                <a:lstStyle/>
                <a:p>
                  <a:endParaRPr lang="en-GB"/>
                </a:p>
              </p:txBody>
            </p:sp>
          </p:grpSp>
          <p:grpSp>
            <p:nvGrpSpPr>
              <p:cNvPr id="1013" name="Graphic 3">
                <a:extLst>
                  <a:ext uri="{FF2B5EF4-FFF2-40B4-BE49-F238E27FC236}">
                    <a16:creationId xmlns:a16="http://schemas.microsoft.com/office/drawing/2014/main" id="{1653DE3D-6EFD-4F7C-92BF-AE1D72A05F97}"/>
                  </a:ext>
                </a:extLst>
              </p:cNvPr>
              <p:cNvGrpSpPr/>
              <p:nvPr/>
            </p:nvGrpSpPr>
            <p:grpSpPr>
              <a:xfrm>
                <a:off x="5050837" y="4904330"/>
                <a:ext cx="263433" cy="421664"/>
                <a:chOff x="5050837" y="4904330"/>
                <a:chExt cx="263433" cy="421664"/>
              </a:xfrm>
              <a:grpFill/>
            </p:grpSpPr>
            <p:sp>
              <p:nvSpPr>
                <p:cNvPr id="2361" name="Vrije vorm: vorm 2360">
                  <a:extLst>
                    <a:ext uri="{FF2B5EF4-FFF2-40B4-BE49-F238E27FC236}">
                      <a16:creationId xmlns:a16="http://schemas.microsoft.com/office/drawing/2014/main" id="{3D95F934-79F4-4BEB-B76D-153E862978CA}"/>
                    </a:ext>
                  </a:extLst>
                </p:cNvPr>
                <p:cNvSpPr/>
                <p:nvPr/>
              </p:nvSpPr>
              <p:spPr>
                <a:xfrm>
                  <a:off x="5058454" y="4912365"/>
                  <a:ext cx="248199" cy="405612"/>
                </a:xfrm>
                <a:custGeom>
                  <a:avLst/>
                  <a:gdLst>
                    <a:gd name="connsiteX0" fmla="*/ 248200 w 248199"/>
                    <a:gd name="connsiteY0" fmla="*/ 1615 h 405612"/>
                    <a:gd name="connsiteX1" fmla="*/ 2632 w 248199"/>
                    <a:gd name="connsiteY1" fmla="*/ 405613 h 405612"/>
                    <a:gd name="connsiteX2" fmla="*/ 0 w 248199"/>
                    <a:gd name="connsiteY2" fmla="*/ 403998 h 405612"/>
                    <a:gd name="connsiteX3" fmla="*/ 245568 w 248199"/>
                    <a:gd name="connsiteY3" fmla="*/ 0 h 405612"/>
                  </a:gdLst>
                  <a:ahLst/>
                  <a:cxnLst>
                    <a:cxn ang="0">
                      <a:pos x="connsiteX0" y="connsiteY0"/>
                    </a:cxn>
                    <a:cxn ang="0">
                      <a:pos x="connsiteX1" y="connsiteY1"/>
                    </a:cxn>
                    <a:cxn ang="0">
                      <a:pos x="connsiteX2" y="connsiteY2"/>
                    </a:cxn>
                    <a:cxn ang="0">
                      <a:pos x="connsiteX3" y="connsiteY3"/>
                    </a:cxn>
                  </a:cxnLst>
                  <a:rect l="l" t="t" r="r" b="b"/>
                  <a:pathLst>
                    <a:path w="248199" h="405612">
                      <a:moveTo>
                        <a:pt x="248200" y="1615"/>
                      </a:moveTo>
                      <a:lnTo>
                        <a:pt x="2632" y="405613"/>
                      </a:lnTo>
                      <a:lnTo>
                        <a:pt x="0" y="403998"/>
                      </a:lnTo>
                      <a:lnTo>
                        <a:pt x="245568" y="0"/>
                      </a:lnTo>
                      <a:close/>
                    </a:path>
                  </a:pathLst>
                </a:custGeom>
                <a:grpFill/>
                <a:ln w="5978" cap="flat">
                  <a:noFill/>
                  <a:prstDash val="solid"/>
                  <a:miter/>
                </a:ln>
              </p:spPr>
              <p:txBody>
                <a:bodyPr rtlCol="0" anchor="ctr"/>
                <a:lstStyle/>
                <a:p>
                  <a:endParaRPr lang="en-GB"/>
                </a:p>
              </p:txBody>
            </p:sp>
            <p:sp>
              <p:nvSpPr>
                <p:cNvPr id="2362" name="Vrije vorm: vorm 2361">
                  <a:extLst>
                    <a:ext uri="{FF2B5EF4-FFF2-40B4-BE49-F238E27FC236}">
                      <a16:creationId xmlns:a16="http://schemas.microsoft.com/office/drawing/2014/main" id="{2B807321-5CBB-413D-8FC2-DA32D5E887B2}"/>
                    </a:ext>
                  </a:extLst>
                </p:cNvPr>
                <p:cNvSpPr/>
                <p:nvPr/>
              </p:nvSpPr>
              <p:spPr>
                <a:xfrm>
                  <a:off x="5295928" y="4904330"/>
                  <a:ext cx="18343" cy="18403"/>
                </a:xfrm>
                <a:custGeom>
                  <a:avLst/>
                  <a:gdLst>
                    <a:gd name="connsiteX0" fmla="*/ 1337 w 18343"/>
                    <a:gd name="connsiteY0" fmla="*/ 4387 h 18403"/>
                    <a:gd name="connsiteX1" fmla="*/ 13956 w 18343"/>
                    <a:gd name="connsiteY1" fmla="*/ 1337 h 18403"/>
                    <a:gd name="connsiteX2" fmla="*/ 17007 w 18343"/>
                    <a:gd name="connsiteY2" fmla="*/ 14016 h 18403"/>
                    <a:gd name="connsiteX3" fmla="*/ 4387 w 18343"/>
                    <a:gd name="connsiteY3" fmla="*/ 17066 h 18403"/>
                    <a:gd name="connsiteX4" fmla="*/ 1337 w 18343"/>
                    <a:gd name="connsiteY4" fmla="*/ 438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1337" y="4387"/>
                      </a:moveTo>
                      <a:cubicBezTo>
                        <a:pt x="3969" y="81"/>
                        <a:pt x="9590" y="-1295"/>
                        <a:pt x="13956" y="1337"/>
                      </a:cubicBezTo>
                      <a:cubicBezTo>
                        <a:pt x="18262" y="4028"/>
                        <a:pt x="19638" y="9650"/>
                        <a:pt x="17007" y="14016"/>
                      </a:cubicBezTo>
                      <a:cubicBezTo>
                        <a:pt x="14375" y="18322"/>
                        <a:pt x="8753" y="19698"/>
                        <a:pt x="4387" y="17066"/>
                      </a:cubicBezTo>
                      <a:cubicBezTo>
                        <a:pt x="81" y="14435"/>
                        <a:pt x="-1294" y="8753"/>
                        <a:pt x="1337" y="4387"/>
                      </a:cubicBezTo>
                      <a:close/>
                    </a:path>
                  </a:pathLst>
                </a:custGeom>
                <a:grpFill/>
                <a:ln w="5978" cap="flat">
                  <a:noFill/>
                  <a:prstDash val="solid"/>
                  <a:miter/>
                </a:ln>
              </p:spPr>
              <p:txBody>
                <a:bodyPr rtlCol="0" anchor="ctr"/>
                <a:lstStyle/>
                <a:p>
                  <a:endParaRPr lang="en-GB"/>
                </a:p>
              </p:txBody>
            </p:sp>
            <p:sp>
              <p:nvSpPr>
                <p:cNvPr id="2363" name="Vrije vorm: vorm 2362">
                  <a:extLst>
                    <a:ext uri="{FF2B5EF4-FFF2-40B4-BE49-F238E27FC236}">
                      <a16:creationId xmlns:a16="http://schemas.microsoft.com/office/drawing/2014/main" id="{30FD22C5-1E5E-421D-8E8A-80DF462FFF68}"/>
                    </a:ext>
                  </a:extLst>
                </p:cNvPr>
                <p:cNvSpPr/>
                <p:nvPr/>
              </p:nvSpPr>
              <p:spPr>
                <a:xfrm>
                  <a:off x="5050837" y="5307524"/>
                  <a:ext cx="18343" cy="18470"/>
                </a:xfrm>
                <a:custGeom>
                  <a:avLst/>
                  <a:gdLst>
                    <a:gd name="connsiteX0" fmla="*/ 1337 w 18343"/>
                    <a:gd name="connsiteY0" fmla="*/ 4414 h 18470"/>
                    <a:gd name="connsiteX1" fmla="*/ 4387 w 18343"/>
                    <a:gd name="connsiteY1" fmla="*/ 17093 h 18470"/>
                    <a:gd name="connsiteX2" fmla="*/ 17006 w 18343"/>
                    <a:gd name="connsiteY2" fmla="*/ 14043 h 18470"/>
                    <a:gd name="connsiteX3" fmla="*/ 13957 w 18343"/>
                    <a:gd name="connsiteY3" fmla="*/ 1364 h 18470"/>
                    <a:gd name="connsiteX4" fmla="*/ 1337 w 18343"/>
                    <a:gd name="connsiteY4" fmla="*/ 4414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70">
                      <a:moveTo>
                        <a:pt x="1337" y="4414"/>
                      </a:moveTo>
                      <a:cubicBezTo>
                        <a:pt x="-1295" y="8720"/>
                        <a:pt x="81" y="14402"/>
                        <a:pt x="4387" y="17093"/>
                      </a:cubicBezTo>
                      <a:cubicBezTo>
                        <a:pt x="8693" y="19784"/>
                        <a:pt x="14375" y="18409"/>
                        <a:pt x="17006" y="14043"/>
                      </a:cubicBezTo>
                      <a:cubicBezTo>
                        <a:pt x="19638" y="9736"/>
                        <a:pt x="18263" y="4055"/>
                        <a:pt x="13957" y="1364"/>
                      </a:cubicBezTo>
                      <a:cubicBezTo>
                        <a:pt x="9650" y="-1328"/>
                        <a:pt x="3968" y="108"/>
                        <a:pt x="1337" y="4414"/>
                      </a:cubicBezTo>
                      <a:close/>
                    </a:path>
                  </a:pathLst>
                </a:custGeom>
                <a:grpFill/>
                <a:ln w="5978" cap="flat">
                  <a:noFill/>
                  <a:prstDash val="solid"/>
                  <a:miter/>
                </a:ln>
              </p:spPr>
              <p:txBody>
                <a:bodyPr rtlCol="0" anchor="ctr"/>
                <a:lstStyle/>
                <a:p>
                  <a:endParaRPr lang="en-GB"/>
                </a:p>
              </p:txBody>
            </p:sp>
          </p:grpSp>
          <p:grpSp>
            <p:nvGrpSpPr>
              <p:cNvPr id="1014" name="Graphic 3">
                <a:extLst>
                  <a:ext uri="{FF2B5EF4-FFF2-40B4-BE49-F238E27FC236}">
                    <a16:creationId xmlns:a16="http://schemas.microsoft.com/office/drawing/2014/main" id="{14D030B0-84E1-4A8F-9116-9E774DF45B7C}"/>
                  </a:ext>
                </a:extLst>
              </p:cNvPr>
              <p:cNvGrpSpPr/>
              <p:nvPr/>
            </p:nvGrpSpPr>
            <p:grpSpPr>
              <a:xfrm>
                <a:off x="3899245" y="2119684"/>
                <a:ext cx="711876" cy="470137"/>
                <a:chOff x="3899245" y="2119684"/>
                <a:chExt cx="711876" cy="470137"/>
              </a:xfrm>
              <a:grpFill/>
            </p:grpSpPr>
            <p:sp>
              <p:nvSpPr>
                <p:cNvPr id="2358" name="Vrije vorm: vorm 2357">
                  <a:extLst>
                    <a:ext uri="{FF2B5EF4-FFF2-40B4-BE49-F238E27FC236}">
                      <a16:creationId xmlns:a16="http://schemas.microsoft.com/office/drawing/2014/main" id="{76C36943-EA86-4DEE-A8B4-B9C337423A47}"/>
                    </a:ext>
                  </a:extLst>
                </p:cNvPr>
                <p:cNvSpPr/>
                <p:nvPr/>
              </p:nvSpPr>
              <p:spPr>
                <a:xfrm>
                  <a:off x="3907225" y="2127383"/>
                  <a:ext cx="695917" cy="454774"/>
                </a:xfrm>
                <a:custGeom>
                  <a:avLst/>
                  <a:gdLst>
                    <a:gd name="connsiteX0" fmla="*/ 695917 w 695917"/>
                    <a:gd name="connsiteY0" fmla="*/ 452202 h 454774"/>
                    <a:gd name="connsiteX1" fmla="*/ 694302 w 695917"/>
                    <a:gd name="connsiteY1" fmla="*/ 454774 h 454774"/>
                    <a:gd name="connsiteX2" fmla="*/ 0 w 695917"/>
                    <a:gd name="connsiteY2" fmla="*/ 2572 h 454774"/>
                    <a:gd name="connsiteX3" fmla="*/ 1675 w 695917"/>
                    <a:gd name="connsiteY3" fmla="*/ 0 h 454774"/>
                  </a:gdLst>
                  <a:ahLst/>
                  <a:cxnLst>
                    <a:cxn ang="0">
                      <a:pos x="connsiteX0" y="connsiteY0"/>
                    </a:cxn>
                    <a:cxn ang="0">
                      <a:pos x="connsiteX1" y="connsiteY1"/>
                    </a:cxn>
                    <a:cxn ang="0">
                      <a:pos x="connsiteX2" y="connsiteY2"/>
                    </a:cxn>
                    <a:cxn ang="0">
                      <a:pos x="connsiteX3" y="connsiteY3"/>
                    </a:cxn>
                  </a:cxnLst>
                  <a:rect l="l" t="t" r="r" b="b"/>
                  <a:pathLst>
                    <a:path w="695917" h="454774">
                      <a:moveTo>
                        <a:pt x="695917" y="452202"/>
                      </a:moveTo>
                      <a:lnTo>
                        <a:pt x="694302" y="454774"/>
                      </a:lnTo>
                      <a:lnTo>
                        <a:pt x="0" y="2572"/>
                      </a:lnTo>
                      <a:lnTo>
                        <a:pt x="1675" y="0"/>
                      </a:lnTo>
                      <a:close/>
                    </a:path>
                  </a:pathLst>
                </a:custGeom>
                <a:grpFill/>
                <a:ln w="5978" cap="flat">
                  <a:noFill/>
                  <a:prstDash val="solid"/>
                  <a:miter/>
                </a:ln>
              </p:spPr>
              <p:txBody>
                <a:bodyPr rtlCol="0" anchor="ctr"/>
                <a:lstStyle/>
                <a:p>
                  <a:endParaRPr lang="en-GB"/>
                </a:p>
              </p:txBody>
            </p:sp>
            <p:sp>
              <p:nvSpPr>
                <p:cNvPr id="2359" name="Vrije vorm: vorm 2358">
                  <a:extLst>
                    <a:ext uri="{FF2B5EF4-FFF2-40B4-BE49-F238E27FC236}">
                      <a16:creationId xmlns:a16="http://schemas.microsoft.com/office/drawing/2014/main" id="{977B5F56-09B2-4274-BCAB-F32CD98AB548}"/>
                    </a:ext>
                  </a:extLst>
                </p:cNvPr>
                <p:cNvSpPr/>
                <p:nvPr/>
              </p:nvSpPr>
              <p:spPr>
                <a:xfrm>
                  <a:off x="4592770" y="2571408"/>
                  <a:ext cx="18351" cy="18413"/>
                </a:xfrm>
                <a:custGeom>
                  <a:avLst/>
                  <a:gdLst>
                    <a:gd name="connsiteX0" fmla="*/ 14140 w 18351"/>
                    <a:gd name="connsiteY0" fmla="*/ 1478 h 18413"/>
                    <a:gd name="connsiteX1" fmla="*/ 16891 w 18351"/>
                    <a:gd name="connsiteY1" fmla="*/ 14217 h 18413"/>
                    <a:gd name="connsiteX2" fmla="*/ 4212 w 18351"/>
                    <a:gd name="connsiteY2" fmla="*/ 16909 h 18413"/>
                    <a:gd name="connsiteX3" fmla="*/ 1461 w 18351"/>
                    <a:gd name="connsiteY3" fmla="*/ 4170 h 18413"/>
                    <a:gd name="connsiteX4" fmla="*/ 14140 w 18351"/>
                    <a:gd name="connsiteY4" fmla="*/ 147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13">
                      <a:moveTo>
                        <a:pt x="14140" y="1478"/>
                      </a:moveTo>
                      <a:cubicBezTo>
                        <a:pt x="18386" y="4230"/>
                        <a:pt x="19642" y="9971"/>
                        <a:pt x="16891" y="14217"/>
                      </a:cubicBezTo>
                      <a:cubicBezTo>
                        <a:pt x="14140" y="18464"/>
                        <a:pt x="8458" y="19720"/>
                        <a:pt x="4212" y="16909"/>
                      </a:cubicBezTo>
                      <a:cubicBezTo>
                        <a:pt x="-35" y="14158"/>
                        <a:pt x="-1290" y="8416"/>
                        <a:pt x="1461" y="4170"/>
                      </a:cubicBezTo>
                      <a:cubicBezTo>
                        <a:pt x="4212" y="-76"/>
                        <a:pt x="9894" y="-1273"/>
                        <a:pt x="14140" y="1478"/>
                      </a:cubicBezTo>
                      <a:close/>
                    </a:path>
                  </a:pathLst>
                </a:custGeom>
                <a:grpFill/>
                <a:ln w="5978" cap="flat">
                  <a:noFill/>
                  <a:prstDash val="solid"/>
                  <a:miter/>
                </a:ln>
              </p:spPr>
              <p:txBody>
                <a:bodyPr rtlCol="0" anchor="ctr"/>
                <a:lstStyle/>
                <a:p>
                  <a:endParaRPr lang="en-GB"/>
                </a:p>
              </p:txBody>
            </p:sp>
            <p:sp>
              <p:nvSpPr>
                <p:cNvPr id="2360" name="Vrije vorm: vorm 2359">
                  <a:extLst>
                    <a:ext uri="{FF2B5EF4-FFF2-40B4-BE49-F238E27FC236}">
                      <a16:creationId xmlns:a16="http://schemas.microsoft.com/office/drawing/2014/main" id="{56F99E73-1095-4433-BE4F-80E3C8D8A04A}"/>
                    </a:ext>
                  </a:extLst>
                </p:cNvPr>
                <p:cNvSpPr/>
                <p:nvPr/>
              </p:nvSpPr>
              <p:spPr>
                <a:xfrm>
                  <a:off x="3899245" y="2119684"/>
                  <a:ext cx="18351" cy="18387"/>
                </a:xfrm>
                <a:custGeom>
                  <a:avLst/>
                  <a:gdLst>
                    <a:gd name="connsiteX0" fmla="*/ 14140 w 18351"/>
                    <a:gd name="connsiteY0" fmla="*/ 1479 h 18387"/>
                    <a:gd name="connsiteX1" fmla="*/ 1461 w 18351"/>
                    <a:gd name="connsiteY1" fmla="*/ 4170 h 18387"/>
                    <a:gd name="connsiteX2" fmla="*/ 4212 w 18351"/>
                    <a:gd name="connsiteY2" fmla="*/ 16909 h 18387"/>
                    <a:gd name="connsiteX3" fmla="*/ 16891 w 18351"/>
                    <a:gd name="connsiteY3" fmla="*/ 14217 h 18387"/>
                    <a:gd name="connsiteX4" fmla="*/ 14140 w 18351"/>
                    <a:gd name="connsiteY4" fmla="*/ 147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7">
                      <a:moveTo>
                        <a:pt x="14140" y="1479"/>
                      </a:moveTo>
                      <a:cubicBezTo>
                        <a:pt x="9893" y="-1273"/>
                        <a:pt x="4212" y="-77"/>
                        <a:pt x="1461" y="4170"/>
                      </a:cubicBezTo>
                      <a:cubicBezTo>
                        <a:pt x="-1290" y="8416"/>
                        <a:pt x="-34" y="14158"/>
                        <a:pt x="4212" y="16909"/>
                      </a:cubicBezTo>
                      <a:cubicBezTo>
                        <a:pt x="8458" y="19660"/>
                        <a:pt x="14140" y="18464"/>
                        <a:pt x="16891" y="14217"/>
                      </a:cubicBezTo>
                      <a:cubicBezTo>
                        <a:pt x="19642" y="9971"/>
                        <a:pt x="18386" y="4289"/>
                        <a:pt x="14140" y="1479"/>
                      </a:cubicBezTo>
                      <a:close/>
                    </a:path>
                  </a:pathLst>
                </a:custGeom>
                <a:grpFill/>
                <a:ln w="5978" cap="flat">
                  <a:noFill/>
                  <a:prstDash val="solid"/>
                  <a:miter/>
                </a:ln>
              </p:spPr>
              <p:txBody>
                <a:bodyPr rtlCol="0" anchor="ctr"/>
                <a:lstStyle/>
                <a:p>
                  <a:endParaRPr lang="en-GB"/>
                </a:p>
              </p:txBody>
            </p:sp>
          </p:grpSp>
          <p:grpSp>
            <p:nvGrpSpPr>
              <p:cNvPr id="1015" name="Graphic 3">
                <a:extLst>
                  <a:ext uri="{FF2B5EF4-FFF2-40B4-BE49-F238E27FC236}">
                    <a16:creationId xmlns:a16="http://schemas.microsoft.com/office/drawing/2014/main" id="{F0587E64-3404-4AD7-BCA9-09F3DB81163A}"/>
                  </a:ext>
                </a:extLst>
              </p:cNvPr>
              <p:cNvGrpSpPr/>
              <p:nvPr/>
            </p:nvGrpSpPr>
            <p:grpSpPr>
              <a:xfrm>
                <a:off x="3936326" y="2032186"/>
                <a:ext cx="528088" cy="350795"/>
                <a:chOff x="3936326" y="2032186"/>
                <a:chExt cx="528088" cy="350795"/>
              </a:xfrm>
              <a:grpFill/>
            </p:grpSpPr>
            <p:sp>
              <p:nvSpPr>
                <p:cNvPr id="2355" name="Vrije vorm: vorm 2354">
                  <a:extLst>
                    <a:ext uri="{FF2B5EF4-FFF2-40B4-BE49-F238E27FC236}">
                      <a16:creationId xmlns:a16="http://schemas.microsoft.com/office/drawing/2014/main" id="{8B1FE660-FC82-4661-A29F-67224D87CF04}"/>
                    </a:ext>
                  </a:extLst>
                </p:cNvPr>
                <p:cNvSpPr/>
                <p:nvPr/>
              </p:nvSpPr>
              <p:spPr>
                <a:xfrm>
                  <a:off x="3944305" y="2039885"/>
                  <a:ext cx="512189" cy="335458"/>
                </a:xfrm>
                <a:custGeom>
                  <a:avLst/>
                  <a:gdLst>
                    <a:gd name="connsiteX0" fmla="*/ 512189 w 512189"/>
                    <a:gd name="connsiteY0" fmla="*/ 332887 h 335458"/>
                    <a:gd name="connsiteX1" fmla="*/ 510514 w 512189"/>
                    <a:gd name="connsiteY1" fmla="*/ 335459 h 335458"/>
                    <a:gd name="connsiteX2" fmla="*/ 0 w 512189"/>
                    <a:gd name="connsiteY2" fmla="*/ 2512 h 335458"/>
                    <a:gd name="connsiteX3" fmla="*/ 1615 w 512189"/>
                    <a:gd name="connsiteY3" fmla="*/ 0 h 335458"/>
                  </a:gdLst>
                  <a:ahLst/>
                  <a:cxnLst>
                    <a:cxn ang="0">
                      <a:pos x="connsiteX0" y="connsiteY0"/>
                    </a:cxn>
                    <a:cxn ang="0">
                      <a:pos x="connsiteX1" y="connsiteY1"/>
                    </a:cxn>
                    <a:cxn ang="0">
                      <a:pos x="connsiteX2" y="connsiteY2"/>
                    </a:cxn>
                    <a:cxn ang="0">
                      <a:pos x="connsiteX3" y="connsiteY3"/>
                    </a:cxn>
                  </a:cxnLst>
                  <a:rect l="l" t="t" r="r" b="b"/>
                  <a:pathLst>
                    <a:path w="512189" h="335458">
                      <a:moveTo>
                        <a:pt x="512189" y="332887"/>
                      </a:moveTo>
                      <a:lnTo>
                        <a:pt x="510514" y="335459"/>
                      </a:lnTo>
                      <a:lnTo>
                        <a:pt x="0" y="2512"/>
                      </a:lnTo>
                      <a:lnTo>
                        <a:pt x="1615" y="0"/>
                      </a:lnTo>
                      <a:close/>
                    </a:path>
                  </a:pathLst>
                </a:custGeom>
                <a:grpFill/>
                <a:ln w="5978" cap="flat">
                  <a:noFill/>
                  <a:prstDash val="solid"/>
                  <a:miter/>
                </a:ln>
              </p:spPr>
              <p:txBody>
                <a:bodyPr rtlCol="0" anchor="ctr"/>
                <a:lstStyle/>
                <a:p>
                  <a:endParaRPr lang="en-GB"/>
                </a:p>
              </p:txBody>
            </p:sp>
            <p:sp>
              <p:nvSpPr>
                <p:cNvPr id="2356" name="Vrije vorm: vorm 2355">
                  <a:extLst>
                    <a:ext uri="{FF2B5EF4-FFF2-40B4-BE49-F238E27FC236}">
                      <a16:creationId xmlns:a16="http://schemas.microsoft.com/office/drawing/2014/main" id="{8ACECA0C-6ED1-4322-B6B9-7FB43572808F}"/>
                    </a:ext>
                  </a:extLst>
                </p:cNvPr>
                <p:cNvSpPr/>
                <p:nvPr/>
              </p:nvSpPr>
              <p:spPr>
                <a:xfrm>
                  <a:off x="3936326" y="2032186"/>
                  <a:ext cx="18351" cy="18428"/>
                </a:xfrm>
                <a:custGeom>
                  <a:avLst/>
                  <a:gdLst>
                    <a:gd name="connsiteX0" fmla="*/ 4212 w 18351"/>
                    <a:gd name="connsiteY0" fmla="*/ 16909 h 18428"/>
                    <a:gd name="connsiteX1" fmla="*/ 1461 w 18351"/>
                    <a:gd name="connsiteY1" fmla="*/ 4170 h 18428"/>
                    <a:gd name="connsiteX2" fmla="*/ 14140 w 18351"/>
                    <a:gd name="connsiteY2" fmla="*/ 1479 h 18428"/>
                    <a:gd name="connsiteX3" fmla="*/ 16891 w 18351"/>
                    <a:gd name="connsiteY3" fmla="*/ 14217 h 18428"/>
                    <a:gd name="connsiteX4" fmla="*/ 4212 w 18351"/>
                    <a:gd name="connsiteY4" fmla="*/ 16909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8">
                      <a:moveTo>
                        <a:pt x="4212" y="16909"/>
                      </a:moveTo>
                      <a:cubicBezTo>
                        <a:pt x="-34" y="14158"/>
                        <a:pt x="-1290" y="8416"/>
                        <a:pt x="1461" y="4170"/>
                      </a:cubicBezTo>
                      <a:cubicBezTo>
                        <a:pt x="4212" y="-76"/>
                        <a:pt x="9893" y="-1273"/>
                        <a:pt x="14140" y="1479"/>
                      </a:cubicBezTo>
                      <a:cubicBezTo>
                        <a:pt x="18386" y="4230"/>
                        <a:pt x="19642" y="9971"/>
                        <a:pt x="16891" y="14217"/>
                      </a:cubicBezTo>
                      <a:cubicBezTo>
                        <a:pt x="14140" y="18524"/>
                        <a:pt x="8458" y="19720"/>
                        <a:pt x="4212" y="16909"/>
                      </a:cubicBezTo>
                      <a:close/>
                    </a:path>
                  </a:pathLst>
                </a:custGeom>
                <a:grpFill/>
                <a:ln w="5978" cap="flat">
                  <a:noFill/>
                  <a:prstDash val="solid"/>
                  <a:miter/>
                </a:ln>
              </p:spPr>
              <p:txBody>
                <a:bodyPr rtlCol="0" anchor="ctr"/>
                <a:lstStyle/>
                <a:p>
                  <a:endParaRPr lang="en-GB"/>
                </a:p>
              </p:txBody>
            </p:sp>
            <p:sp>
              <p:nvSpPr>
                <p:cNvPr id="2357" name="Vrije vorm: vorm 2356">
                  <a:extLst>
                    <a:ext uri="{FF2B5EF4-FFF2-40B4-BE49-F238E27FC236}">
                      <a16:creationId xmlns:a16="http://schemas.microsoft.com/office/drawing/2014/main" id="{893C4220-1341-4824-9845-2F9AA5254BDE}"/>
                    </a:ext>
                  </a:extLst>
                </p:cNvPr>
                <p:cNvSpPr/>
                <p:nvPr/>
              </p:nvSpPr>
              <p:spPr>
                <a:xfrm>
                  <a:off x="4446089" y="2364595"/>
                  <a:ext cx="18325" cy="18387"/>
                </a:xfrm>
                <a:custGeom>
                  <a:avLst/>
                  <a:gdLst>
                    <a:gd name="connsiteX0" fmla="*/ 4186 w 18325"/>
                    <a:gd name="connsiteY0" fmla="*/ 16909 h 18387"/>
                    <a:gd name="connsiteX1" fmla="*/ 16865 w 18325"/>
                    <a:gd name="connsiteY1" fmla="*/ 14217 h 18387"/>
                    <a:gd name="connsiteX2" fmla="*/ 14113 w 18325"/>
                    <a:gd name="connsiteY2" fmla="*/ 1478 h 18387"/>
                    <a:gd name="connsiteX3" fmla="*/ 1434 w 18325"/>
                    <a:gd name="connsiteY3" fmla="*/ 4170 h 18387"/>
                    <a:gd name="connsiteX4" fmla="*/ 4186 w 18325"/>
                    <a:gd name="connsiteY4" fmla="*/ 1690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7">
                      <a:moveTo>
                        <a:pt x="4186" y="16909"/>
                      </a:moveTo>
                      <a:cubicBezTo>
                        <a:pt x="8432" y="19660"/>
                        <a:pt x="14113" y="18464"/>
                        <a:pt x="16865" y="14217"/>
                      </a:cubicBezTo>
                      <a:cubicBezTo>
                        <a:pt x="19616" y="9971"/>
                        <a:pt x="18360" y="4230"/>
                        <a:pt x="14113" y="1478"/>
                      </a:cubicBezTo>
                      <a:cubicBezTo>
                        <a:pt x="9867" y="-1273"/>
                        <a:pt x="4186" y="-77"/>
                        <a:pt x="1434" y="4170"/>
                      </a:cubicBezTo>
                      <a:cubicBezTo>
                        <a:pt x="-1257" y="8476"/>
                        <a:pt x="-61" y="14158"/>
                        <a:pt x="4186" y="16909"/>
                      </a:cubicBezTo>
                      <a:close/>
                    </a:path>
                  </a:pathLst>
                </a:custGeom>
                <a:grpFill/>
                <a:ln w="5978" cap="flat">
                  <a:noFill/>
                  <a:prstDash val="solid"/>
                  <a:miter/>
                </a:ln>
              </p:spPr>
              <p:txBody>
                <a:bodyPr rtlCol="0" anchor="ctr"/>
                <a:lstStyle/>
                <a:p>
                  <a:endParaRPr lang="en-GB"/>
                </a:p>
              </p:txBody>
            </p:sp>
          </p:grpSp>
          <p:grpSp>
            <p:nvGrpSpPr>
              <p:cNvPr id="1016" name="Graphic 3">
                <a:extLst>
                  <a:ext uri="{FF2B5EF4-FFF2-40B4-BE49-F238E27FC236}">
                    <a16:creationId xmlns:a16="http://schemas.microsoft.com/office/drawing/2014/main" id="{0F6473D4-DA71-427C-A9F2-70815799DCAA}"/>
                  </a:ext>
                </a:extLst>
              </p:cNvPr>
              <p:cNvGrpSpPr/>
              <p:nvPr/>
            </p:nvGrpSpPr>
            <p:grpSpPr>
              <a:xfrm>
                <a:off x="5054524" y="4812280"/>
                <a:ext cx="97452" cy="140183"/>
                <a:chOff x="5054524" y="4812280"/>
                <a:chExt cx="97452" cy="140183"/>
              </a:xfrm>
              <a:grpFill/>
            </p:grpSpPr>
            <p:sp>
              <p:nvSpPr>
                <p:cNvPr id="2352" name="Vrije vorm: vorm 2351">
                  <a:extLst>
                    <a:ext uri="{FF2B5EF4-FFF2-40B4-BE49-F238E27FC236}">
                      <a16:creationId xmlns:a16="http://schemas.microsoft.com/office/drawing/2014/main" id="{191DA4E1-669B-4DB2-966E-8EBE42740CAB}"/>
                    </a:ext>
                  </a:extLst>
                </p:cNvPr>
                <p:cNvSpPr/>
                <p:nvPr/>
              </p:nvSpPr>
              <p:spPr>
                <a:xfrm>
                  <a:off x="5062162" y="4820262"/>
                  <a:ext cx="82175" cy="124219"/>
                </a:xfrm>
                <a:custGeom>
                  <a:avLst/>
                  <a:gdLst>
                    <a:gd name="connsiteX0" fmla="*/ 82175 w 82175"/>
                    <a:gd name="connsiteY0" fmla="*/ 1674 h 124219"/>
                    <a:gd name="connsiteX1" fmla="*/ 2572 w 82175"/>
                    <a:gd name="connsiteY1" fmla="*/ 124220 h 124219"/>
                    <a:gd name="connsiteX2" fmla="*/ 0 w 82175"/>
                    <a:gd name="connsiteY2" fmla="*/ 122545 h 124219"/>
                    <a:gd name="connsiteX3" fmla="*/ 79603 w 82175"/>
                    <a:gd name="connsiteY3" fmla="*/ 0 h 124219"/>
                  </a:gdLst>
                  <a:ahLst/>
                  <a:cxnLst>
                    <a:cxn ang="0">
                      <a:pos x="connsiteX0" y="connsiteY0"/>
                    </a:cxn>
                    <a:cxn ang="0">
                      <a:pos x="connsiteX1" y="connsiteY1"/>
                    </a:cxn>
                    <a:cxn ang="0">
                      <a:pos x="connsiteX2" y="connsiteY2"/>
                    </a:cxn>
                    <a:cxn ang="0">
                      <a:pos x="connsiteX3" y="connsiteY3"/>
                    </a:cxn>
                  </a:cxnLst>
                  <a:rect l="l" t="t" r="r" b="b"/>
                  <a:pathLst>
                    <a:path w="82175" h="124219">
                      <a:moveTo>
                        <a:pt x="82175" y="1674"/>
                      </a:moveTo>
                      <a:lnTo>
                        <a:pt x="2572" y="124220"/>
                      </a:lnTo>
                      <a:lnTo>
                        <a:pt x="0" y="122545"/>
                      </a:lnTo>
                      <a:lnTo>
                        <a:pt x="79603" y="0"/>
                      </a:lnTo>
                      <a:close/>
                    </a:path>
                  </a:pathLst>
                </a:custGeom>
                <a:grpFill/>
                <a:ln w="5978" cap="flat">
                  <a:noFill/>
                  <a:prstDash val="solid"/>
                  <a:miter/>
                </a:ln>
              </p:spPr>
              <p:txBody>
                <a:bodyPr rtlCol="0" anchor="ctr"/>
                <a:lstStyle/>
                <a:p>
                  <a:endParaRPr lang="en-GB"/>
                </a:p>
              </p:txBody>
            </p:sp>
            <p:sp>
              <p:nvSpPr>
                <p:cNvPr id="2353" name="Vrije vorm: vorm 2352">
                  <a:extLst>
                    <a:ext uri="{FF2B5EF4-FFF2-40B4-BE49-F238E27FC236}">
                      <a16:creationId xmlns:a16="http://schemas.microsoft.com/office/drawing/2014/main" id="{E1D347B3-2659-4551-862A-53A33FDB9F30}"/>
                    </a:ext>
                  </a:extLst>
                </p:cNvPr>
                <p:cNvSpPr/>
                <p:nvPr/>
              </p:nvSpPr>
              <p:spPr>
                <a:xfrm>
                  <a:off x="5054524" y="4934048"/>
                  <a:ext cx="18327" cy="18416"/>
                </a:xfrm>
                <a:custGeom>
                  <a:avLst/>
                  <a:gdLst>
                    <a:gd name="connsiteX0" fmla="*/ 16849 w 18327"/>
                    <a:gd name="connsiteY0" fmla="*/ 14262 h 18416"/>
                    <a:gd name="connsiteX1" fmla="*/ 4170 w 18327"/>
                    <a:gd name="connsiteY1" fmla="*/ 16893 h 18416"/>
                    <a:gd name="connsiteX2" fmla="*/ 1479 w 18327"/>
                    <a:gd name="connsiteY2" fmla="*/ 4154 h 18416"/>
                    <a:gd name="connsiteX3" fmla="*/ 14158 w 18327"/>
                    <a:gd name="connsiteY3" fmla="*/ 152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4098" y="18508"/>
                        <a:pt x="8416" y="19705"/>
                        <a:pt x="4170" y="16893"/>
                      </a:cubicBezTo>
                      <a:cubicBezTo>
                        <a:pt x="-76" y="14083"/>
                        <a:pt x="-1273" y="8401"/>
                        <a:pt x="1479" y="4154"/>
                      </a:cubicBezTo>
                      <a:cubicBezTo>
                        <a:pt x="4230" y="-92"/>
                        <a:pt x="9912" y="-1288"/>
                        <a:pt x="14158" y="1523"/>
                      </a:cubicBezTo>
                      <a:cubicBezTo>
                        <a:pt x="18404" y="4334"/>
                        <a:pt x="19600" y="10016"/>
                        <a:pt x="16849" y="14262"/>
                      </a:cubicBezTo>
                      <a:close/>
                    </a:path>
                  </a:pathLst>
                </a:custGeom>
                <a:grpFill/>
                <a:ln w="5978" cap="flat">
                  <a:noFill/>
                  <a:prstDash val="solid"/>
                  <a:miter/>
                </a:ln>
              </p:spPr>
              <p:txBody>
                <a:bodyPr rtlCol="0" anchor="ctr"/>
                <a:lstStyle/>
                <a:p>
                  <a:endParaRPr lang="en-GB"/>
                </a:p>
              </p:txBody>
            </p:sp>
            <p:sp>
              <p:nvSpPr>
                <p:cNvPr id="2354" name="Vrije vorm: vorm 2353">
                  <a:extLst>
                    <a:ext uri="{FF2B5EF4-FFF2-40B4-BE49-F238E27FC236}">
                      <a16:creationId xmlns:a16="http://schemas.microsoft.com/office/drawing/2014/main" id="{33EC1BB6-1D83-40E1-BEFD-81014286CAEF}"/>
                    </a:ext>
                  </a:extLst>
                </p:cNvPr>
                <p:cNvSpPr/>
                <p:nvPr/>
              </p:nvSpPr>
              <p:spPr>
                <a:xfrm>
                  <a:off x="5133649" y="4812280"/>
                  <a:ext cx="18327" cy="18390"/>
                </a:xfrm>
                <a:custGeom>
                  <a:avLst/>
                  <a:gdLst>
                    <a:gd name="connsiteX0" fmla="*/ 16849 w 18327"/>
                    <a:gd name="connsiteY0" fmla="*/ 14262 h 18390"/>
                    <a:gd name="connsiteX1" fmla="*/ 14158 w 18327"/>
                    <a:gd name="connsiteY1" fmla="*/ 1523 h 18390"/>
                    <a:gd name="connsiteX2" fmla="*/ 1478 w 18327"/>
                    <a:gd name="connsiteY2" fmla="*/ 4154 h 18390"/>
                    <a:gd name="connsiteX3" fmla="*/ 4170 w 18327"/>
                    <a:gd name="connsiteY3" fmla="*/ 16893 h 18390"/>
                    <a:gd name="connsiteX4" fmla="*/ 16849 w 18327"/>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0">
                      <a:moveTo>
                        <a:pt x="16849" y="14262"/>
                      </a:moveTo>
                      <a:cubicBezTo>
                        <a:pt x="19600" y="10015"/>
                        <a:pt x="18404" y="4274"/>
                        <a:pt x="14158" y="1523"/>
                      </a:cubicBezTo>
                      <a:cubicBezTo>
                        <a:pt x="9911" y="-1288"/>
                        <a:pt x="4230" y="-92"/>
                        <a:pt x="1478" y="4154"/>
                      </a:cubicBezTo>
                      <a:cubicBezTo>
                        <a:pt x="-1273" y="8401"/>
                        <a:pt x="-76" y="14142"/>
                        <a:pt x="4170" y="16893"/>
                      </a:cubicBezTo>
                      <a:cubicBezTo>
                        <a:pt x="8416" y="19645"/>
                        <a:pt x="14098" y="18508"/>
                        <a:pt x="16849" y="14262"/>
                      </a:cubicBezTo>
                      <a:close/>
                    </a:path>
                  </a:pathLst>
                </a:custGeom>
                <a:grpFill/>
                <a:ln w="5978" cap="flat">
                  <a:noFill/>
                  <a:prstDash val="solid"/>
                  <a:miter/>
                </a:ln>
              </p:spPr>
              <p:txBody>
                <a:bodyPr rtlCol="0" anchor="ctr"/>
                <a:lstStyle/>
                <a:p>
                  <a:endParaRPr lang="en-GB"/>
                </a:p>
              </p:txBody>
            </p:sp>
          </p:grpSp>
          <p:grpSp>
            <p:nvGrpSpPr>
              <p:cNvPr id="1017" name="Graphic 3">
                <a:extLst>
                  <a:ext uri="{FF2B5EF4-FFF2-40B4-BE49-F238E27FC236}">
                    <a16:creationId xmlns:a16="http://schemas.microsoft.com/office/drawing/2014/main" id="{E2866963-D191-4D42-AB96-1E9F8808BBF1}"/>
                  </a:ext>
                </a:extLst>
              </p:cNvPr>
              <p:cNvGrpSpPr/>
              <p:nvPr/>
            </p:nvGrpSpPr>
            <p:grpSpPr>
              <a:xfrm>
                <a:off x="5181514" y="5188018"/>
                <a:ext cx="112868" cy="236774"/>
                <a:chOff x="5181514" y="5188018"/>
                <a:chExt cx="112868" cy="236774"/>
              </a:xfrm>
              <a:grpFill/>
            </p:grpSpPr>
            <p:sp>
              <p:nvSpPr>
                <p:cNvPr id="2349" name="Vrije vorm: vorm 2348">
                  <a:extLst>
                    <a:ext uri="{FF2B5EF4-FFF2-40B4-BE49-F238E27FC236}">
                      <a16:creationId xmlns:a16="http://schemas.microsoft.com/office/drawing/2014/main" id="{B429B6B8-4BAB-438C-9AC0-3AEFF45543E2}"/>
                    </a:ext>
                  </a:extLst>
                </p:cNvPr>
                <p:cNvSpPr/>
                <p:nvPr/>
              </p:nvSpPr>
              <p:spPr>
                <a:xfrm>
                  <a:off x="5189133" y="5196151"/>
                  <a:ext cx="97605" cy="220449"/>
                </a:xfrm>
                <a:custGeom>
                  <a:avLst/>
                  <a:gdLst>
                    <a:gd name="connsiteX0" fmla="*/ 97605 w 97605"/>
                    <a:gd name="connsiteY0" fmla="*/ 1256 h 220449"/>
                    <a:gd name="connsiteX1" fmla="*/ 2811 w 97605"/>
                    <a:gd name="connsiteY1" fmla="*/ 220450 h 220449"/>
                    <a:gd name="connsiteX2" fmla="*/ 0 w 97605"/>
                    <a:gd name="connsiteY2" fmla="*/ 219194 h 220449"/>
                    <a:gd name="connsiteX3" fmla="*/ 94854 w 97605"/>
                    <a:gd name="connsiteY3" fmla="*/ 0 h 220449"/>
                  </a:gdLst>
                  <a:ahLst/>
                  <a:cxnLst>
                    <a:cxn ang="0">
                      <a:pos x="connsiteX0" y="connsiteY0"/>
                    </a:cxn>
                    <a:cxn ang="0">
                      <a:pos x="connsiteX1" y="connsiteY1"/>
                    </a:cxn>
                    <a:cxn ang="0">
                      <a:pos x="connsiteX2" y="connsiteY2"/>
                    </a:cxn>
                    <a:cxn ang="0">
                      <a:pos x="connsiteX3" y="connsiteY3"/>
                    </a:cxn>
                  </a:cxnLst>
                  <a:rect l="l" t="t" r="r" b="b"/>
                  <a:pathLst>
                    <a:path w="97605" h="220449">
                      <a:moveTo>
                        <a:pt x="97605" y="1256"/>
                      </a:moveTo>
                      <a:lnTo>
                        <a:pt x="2811" y="220450"/>
                      </a:lnTo>
                      <a:lnTo>
                        <a:pt x="0" y="219194"/>
                      </a:lnTo>
                      <a:lnTo>
                        <a:pt x="94854" y="0"/>
                      </a:lnTo>
                      <a:close/>
                    </a:path>
                  </a:pathLst>
                </a:custGeom>
                <a:grpFill/>
                <a:ln w="5978" cap="flat">
                  <a:noFill/>
                  <a:prstDash val="solid"/>
                  <a:miter/>
                </a:ln>
              </p:spPr>
              <p:txBody>
                <a:bodyPr rtlCol="0" anchor="ctr"/>
                <a:lstStyle/>
                <a:p>
                  <a:endParaRPr lang="en-GB"/>
                </a:p>
              </p:txBody>
            </p:sp>
            <p:sp>
              <p:nvSpPr>
                <p:cNvPr id="2350" name="Vrije vorm: vorm 2349">
                  <a:extLst>
                    <a:ext uri="{FF2B5EF4-FFF2-40B4-BE49-F238E27FC236}">
                      <a16:creationId xmlns:a16="http://schemas.microsoft.com/office/drawing/2014/main" id="{DE5702FC-9972-4ACF-9166-B0FEE3A71787}"/>
                    </a:ext>
                  </a:extLst>
                </p:cNvPr>
                <p:cNvSpPr/>
                <p:nvPr/>
              </p:nvSpPr>
              <p:spPr>
                <a:xfrm>
                  <a:off x="5181514" y="5406374"/>
                  <a:ext cx="18373" cy="18418"/>
                </a:xfrm>
                <a:custGeom>
                  <a:avLst/>
                  <a:gdLst>
                    <a:gd name="connsiteX0" fmla="*/ 17607 w 18373"/>
                    <a:gd name="connsiteY0" fmla="*/ 12917 h 18418"/>
                    <a:gd name="connsiteX1" fmla="*/ 5526 w 18373"/>
                    <a:gd name="connsiteY1" fmla="*/ 17642 h 18418"/>
                    <a:gd name="connsiteX2" fmla="*/ 741 w 18373"/>
                    <a:gd name="connsiteY2" fmla="*/ 5501 h 18418"/>
                    <a:gd name="connsiteX3" fmla="*/ 12822 w 18373"/>
                    <a:gd name="connsiteY3" fmla="*/ 777 h 18418"/>
                    <a:gd name="connsiteX4" fmla="*/ 17607 w 18373"/>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18">
                      <a:moveTo>
                        <a:pt x="17607" y="12917"/>
                      </a:moveTo>
                      <a:cubicBezTo>
                        <a:pt x="15574" y="17582"/>
                        <a:pt x="10191" y="19676"/>
                        <a:pt x="5526" y="17642"/>
                      </a:cubicBezTo>
                      <a:cubicBezTo>
                        <a:pt x="861" y="15609"/>
                        <a:pt x="-1232" y="10166"/>
                        <a:pt x="741" y="5501"/>
                      </a:cubicBezTo>
                      <a:cubicBezTo>
                        <a:pt x="2775" y="836"/>
                        <a:pt x="8158" y="-1257"/>
                        <a:pt x="12822" y="777"/>
                      </a:cubicBezTo>
                      <a:cubicBezTo>
                        <a:pt x="17487" y="2810"/>
                        <a:pt x="19640" y="8252"/>
                        <a:pt x="17607" y="12917"/>
                      </a:cubicBezTo>
                      <a:close/>
                    </a:path>
                  </a:pathLst>
                </a:custGeom>
                <a:grpFill/>
                <a:ln w="5978" cap="flat">
                  <a:noFill/>
                  <a:prstDash val="solid"/>
                  <a:miter/>
                </a:ln>
              </p:spPr>
              <p:txBody>
                <a:bodyPr rtlCol="0" anchor="ctr"/>
                <a:lstStyle/>
                <a:p>
                  <a:endParaRPr lang="en-GB"/>
                </a:p>
              </p:txBody>
            </p:sp>
            <p:sp>
              <p:nvSpPr>
                <p:cNvPr id="2351" name="Vrije vorm: vorm 2350">
                  <a:extLst>
                    <a:ext uri="{FF2B5EF4-FFF2-40B4-BE49-F238E27FC236}">
                      <a16:creationId xmlns:a16="http://schemas.microsoft.com/office/drawing/2014/main" id="{A73FDEAD-C287-4969-B799-3A3A8051C61E}"/>
                    </a:ext>
                  </a:extLst>
                </p:cNvPr>
                <p:cNvSpPr/>
                <p:nvPr/>
              </p:nvSpPr>
              <p:spPr>
                <a:xfrm>
                  <a:off x="5275984" y="5188018"/>
                  <a:ext cx="18398" cy="18409"/>
                </a:xfrm>
                <a:custGeom>
                  <a:avLst/>
                  <a:gdLst>
                    <a:gd name="connsiteX0" fmla="*/ 17632 w 18398"/>
                    <a:gd name="connsiteY0" fmla="*/ 12917 h 18409"/>
                    <a:gd name="connsiteX1" fmla="*/ 12848 w 18398"/>
                    <a:gd name="connsiteY1" fmla="*/ 777 h 18409"/>
                    <a:gd name="connsiteX2" fmla="*/ 767 w 18398"/>
                    <a:gd name="connsiteY2" fmla="*/ 5501 h 18409"/>
                    <a:gd name="connsiteX3" fmla="*/ 5551 w 18398"/>
                    <a:gd name="connsiteY3" fmla="*/ 17642 h 18409"/>
                    <a:gd name="connsiteX4" fmla="*/ 17632 w 18398"/>
                    <a:gd name="connsiteY4" fmla="*/ 12917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409">
                      <a:moveTo>
                        <a:pt x="17632" y="12917"/>
                      </a:moveTo>
                      <a:cubicBezTo>
                        <a:pt x="19666" y="8252"/>
                        <a:pt x="17513" y="2810"/>
                        <a:pt x="12848" y="777"/>
                      </a:cubicBezTo>
                      <a:cubicBezTo>
                        <a:pt x="8183" y="-1257"/>
                        <a:pt x="2800" y="836"/>
                        <a:pt x="767" y="5501"/>
                      </a:cubicBezTo>
                      <a:cubicBezTo>
                        <a:pt x="-1267" y="10166"/>
                        <a:pt x="886" y="15609"/>
                        <a:pt x="5551" y="17642"/>
                      </a:cubicBezTo>
                      <a:cubicBezTo>
                        <a:pt x="10216" y="19676"/>
                        <a:pt x="15599" y="17523"/>
                        <a:pt x="17632" y="12917"/>
                      </a:cubicBezTo>
                      <a:close/>
                    </a:path>
                  </a:pathLst>
                </a:custGeom>
                <a:grpFill/>
                <a:ln w="5978" cap="flat">
                  <a:noFill/>
                  <a:prstDash val="solid"/>
                  <a:miter/>
                </a:ln>
              </p:spPr>
              <p:txBody>
                <a:bodyPr rtlCol="0" anchor="ctr"/>
                <a:lstStyle/>
                <a:p>
                  <a:endParaRPr lang="en-GB"/>
                </a:p>
              </p:txBody>
            </p:sp>
          </p:grpSp>
          <p:grpSp>
            <p:nvGrpSpPr>
              <p:cNvPr id="1018" name="Graphic 3">
                <a:extLst>
                  <a:ext uri="{FF2B5EF4-FFF2-40B4-BE49-F238E27FC236}">
                    <a16:creationId xmlns:a16="http://schemas.microsoft.com/office/drawing/2014/main" id="{23113D06-88CE-4361-A2F8-A932995A6D71}"/>
                  </a:ext>
                </a:extLst>
              </p:cNvPr>
              <p:cNvGrpSpPr/>
              <p:nvPr/>
            </p:nvGrpSpPr>
            <p:grpSpPr>
              <a:xfrm>
                <a:off x="4198345" y="2645224"/>
                <a:ext cx="289569" cy="130378"/>
                <a:chOff x="4198345" y="2645224"/>
                <a:chExt cx="289569" cy="130378"/>
              </a:xfrm>
              <a:grpFill/>
            </p:grpSpPr>
            <p:sp>
              <p:nvSpPr>
                <p:cNvPr id="2346" name="Vrije vorm: vorm 2345">
                  <a:extLst>
                    <a:ext uri="{FF2B5EF4-FFF2-40B4-BE49-F238E27FC236}">
                      <a16:creationId xmlns:a16="http://schemas.microsoft.com/office/drawing/2014/main" id="{26D30E60-38BD-477E-8208-ADD76186BF06}"/>
                    </a:ext>
                  </a:extLst>
                </p:cNvPr>
                <p:cNvSpPr/>
                <p:nvPr/>
              </p:nvSpPr>
              <p:spPr>
                <a:xfrm>
                  <a:off x="4206500" y="2652849"/>
                  <a:ext cx="273199" cy="115128"/>
                </a:xfrm>
                <a:custGeom>
                  <a:avLst/>
                  <a:gdLst>
                    <a:gd name="connsiteX0" fmla="*/ 273199 w 273199"/>
                    <a:gd name="connsiteY0" fmla="*/ 112258 h 115128"/>
                    <a:gd name="connsiteX1" fmla="*/ 272063 w 273199"/>
                    <a:gd name="connsiteY1" fmla="*/ 115129 h 115128"/>
                    <a:gd name="connsiteX2" fmla="*/ 0 w 273199"/>
                    <a:gd name="connsiteY2" fmla="*/ 2871 h 115128"/>
                    <a:gd name="connsiteX3" fmla="*/ 1196 w 273199"/>
                    <a:gd name="connsiteY3" fmla="*/ 0 h 115128"/>
                  </a:gdLst>
                  <a:ahLst/>
                  <a:cxnLst>
                    <a:cxn ang="0">
                      <a:pos x="connsiteX0" y="connsiteY0"/>
                    </a:cxn>
                    <a:cxn ang="0">
                      <a:pos x="connsiteX1" y="connsiteY1"/>
                    </a:cxn>
                    <a:cxn ang="0">
                      <a:pos x="connsiteX2" y="connsiteY2"/>
                    </a:cxn>
                    <a:cxn ang="0">
                      <a:pos x="connsiteX3" y="connsiteY3"/>
                    </a:cxn>
                  </a:cxnLst>
                  <a:rect l="l" t="t" r="r" b="b"/>
                  <a:pathLst>
                    <a:path w="273199" h="115128">
                      <a:moveTo>
                        <a:pt x="273199" y="112258"/>
                      </a:moveTo>
                      <a:lnTo>
                        <a:pt x="272063" y="115129"/>
                      </a:lnTo>
                      <a:lnTo>
                        <a:pt x="0" y="2871"/>
                      </a:lnTo>
                      <a:lnTo>
                        <a:pt x="1196" y="0"/>
                      </a:lnTo>
                      <a:close/>
                    </a:path>
                  </a:pathLst>
                </a:custGeom>
                <a:grpFill/>
                <a:ln w="5978" cap="flat">
                  <a:noFill/>
                  <a:prstDash val="solid"/>
                  <a:miter/>
                </a:ln>
              </p:spPr>
              <p:txBody>
                <a:bodyPr rtlCol="0" anchor="ctr"/>
                <a:lstStyle/>
                <a:p>
                  <a:endParaRPr lang="en-GB"/>
                </a:p>
              </p:txBody>
            </p:sp>
            <p:sp>
              <p:nvSpPr>
                <p:cNvPr id="2347" name="Vrije vorm: vorm 2346">
                  <a:extLst>
                    <a:ext uri="{FF2B5EF4-FFF2-40B4-BE49-F238E27FC236}">
                      <a16:creationId xmlns:a16="http://schemas.microsoft.com/office/drawing/2014/main" id="{ACB5CA55-CB97-4E32-B6B0-B9AAE94E3D76}"/>
                    </a:ext>
                  </a:extLst>
                </p:cNvPr>
                <p:cNvSpPr/>
                <p:nvPr/>
              </p:nvSpPr>
              <p:spPr>
                <a:xfrm>
                  <a:off x="4198345" y="2645224"/>
                  <a:ext cx="18343" cy="18444"/>
                </a:xfrm>
                <a:custGeom>
                  <a:avLst/>
                  <a:gdLst>
                    <a:gd name="connsiteX0" fmla="*/ 5703 w 18343"/>
                    <a:gd name="connsiteY0" fmla="*/ 17732 h 18444"/>
                    <a:gd name="connsiteX1" fmla="*/ 679 w 18343"/>
                    <a:gd name="connsiteY1" fmla="*/ 5711 h 18444"/>
                    <a:gd name="connsiteX2" fmla="*/ 12641 w 18343"/>
                    <a:gd name="connsiteY2" fmla="*/ 687 h 18444"/>
                    <a:gd name="connsiteX3" fmla="*/ 17664 w 18343"/>
                    <a:gd name="connsiteY3" fmla="*/ 12708 h 18444"/>
                    <a:gd name="connsiteX4" fmla="*/ 5703 w 18343"/>
                    <a:gd name="connsiteY4" fmla="*/ 177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4">
                      <a:moveTo>
                        <a:pt x="5703" y="17732"/>
                      </a:moveTo>
                      <a:cubicBezTo>
                        <a:pt x="1038" y="15819"/>
                        <a:pt x="-1235" y="10436"/>
                        <a:pt x="679" y="5711"/>
                      </a:cubicBezTo>
                      <a:cubicBezTo>
                        <a:pt x="2593" y="986"/>
                        <a:pt x="7916" y="-1227"/>
                        <a:pt x="12641" y="687"/>
                      </a:cubicBezTo>
                      <a:cubicBezTo>
                        <a:pt x="17306" y="2601"/>
                        <a:pt x="19578" y="7984"/>
                        <a:pt x="17664" y="12708"/>
                      </a:cubicBezTo>
                      <a:cubicBezTo>
                        <a:pt x="15751" y="17433"/>
                        <a:pt x="10428" y="19706"/>
                        <a:pt x="5703" y="17732"/>
                      </a:cubicBezTo>
                      <a:close/>
                    </a:path>
                  </a:pathLst>
                </a:custGeom>
                <a:grpFill/>
                <a:ln w="5978" cap="flat">
                  <a:noFill/>
                  <a:prstDash val="solid"/>
                  <a:miter/>
                </a:ln>
              </p:spPr>
              <p:txBody>
                <a:bodyPr rtlCol="0" anchor="ctr"/>
                <a:lstStyle/>
                <a:p>
                  <a:endParaRPr lang="en-GB"/>
                </a:p>
              </p:txBody>
            </p:sp>
            <p:sp>
              <p:nvSpPr>
                <p:cNvPr id="2348" name="Vrije vorm: vorm 2347">
                  <a:extLst>
                    <a:ext uri="{FF2B5EF4-FFF2-40B4-BE49-F238E27FC236}">
                      <a16:creationId xmlns:a16="http://schemas.microsoft.com/office/drawing/2014/main" id="{21B1CA41-2731-4940-980D-EED3CC1D053B}"/>
                    </a:ext>
                  </a:extLst>
                </p:cNvPr>
                <p:cNvSpPr/>
                <p:nvPr/>
              </p:nvSpPr>
              <p:spPr>
                <a:xfrm>
                  <a:off x="4469563" y="2757183"/>
                  <a:ext cx="18352" cy="18419"/>
                </a:xfrm>
                <a:custGeom>
                  <a:avLst/>
                  <a:gdLst>
                    <a:gd name="connsiteX0" fmla="*/ 5711 w 18352"/>
                    <a:gd name="connsiteY0" fmla="*/ 17732 h 18419"/>
                    <a:gd name="connsiteX1" fmla="*/ 17673 w 18352"/>
                    <a:gd name="connsiteY1" fmla="*/ 12708 h 18419"/>
                    <a:gd name="connsiteX2" fmla="*/ 12649 w 18352"/>
                    <a:gd name="connsiteY2" fmla="*/ 687 h 18419"/>
                    <a:gd name="connsiteX3" fmla="*/ 687 w 18352"/>
                    <a:gd name="connsiteY3" fmla="*/ 5711 h 18419"/>
                    <a:gd name="connsiteX4" fmla="*/ 5711 w 18352"/>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9">
                      <a:moveTo>
                        <a:pt x="5711" y="17732"/>
                      </a:moveTo>
                      <a:cubicBezTo>
                        <a:pt x="10376" y="19646"/>
                        <a:pt x="15759" y="17433"/>
                        <a:pt x="17673" y="12708"/>
                      </a:cubicBezTo>
                      <a:cubicBezTo>
                        <a:pt x="19587" y="7984"/>
                        <a:pt x="17314" y="2601"/>
                        <a:pt x="12649" y="687"/>
                      </a:cubicBezTo>
                      <a:cubicBezTo>
                        <a:pt x="7984" y="-1227"/>
                        <a:pt x="2601" y="986"/>
                        <a:pt x="687" y="5711"/>
                      </a:cubicBezTo>
                      <a:cubicBezTo>
                        <a:pt x="-1227" y="10376"/>
                        <a:pt x="986" y="15759"/>
                        <a:pt x="5711" y="17732"/>
                      </a:cubicBezTo>
                      <a:close/>
                    </a:path>
                  </a:pathLst>
                </a:custGeom>
                <a:grpFill/>
                <a:ln w="5978" cap="flat">
                  <a:noFill/>
                  <a:prstDash val="solid"/>
                  <a:miter/>
                </a:ln>
              </p:spPr>
              <p:txBody>
                <a:bodyPr rtlCol="0" anchor="ctr"/>
                <a:lstStyle/>
                <a:p>
                  <a:endParaRPr lang="en-GB"/>
                </a:p>
              </p:txBody>
            </p:sp>
          </p:grpSp>
          <p:grpSp>
            <p:nvGrpSpPr>
              <p:cNvPr id="1019" name="Graphic 3">
                <a:extLst>
                  <a:ext uri="{FF2B5EF4-FFF2-40B4-BE49-F238E27FC236}">
                    <a16:creationId xmlns:a16="http://schemas.microsoft.com/office/drawing/2014/main" id="{C1680FC9-A2A1-41F4-981B-7B9C0B148209}"/>
                  </a:ext>
                </a:extLst>
              </p:cNvPr>
              <p:cNvGrpSpPr/>
              <p:nvPr/>
            </p:nvGrpSpPr>
            <p:grpSpPr>
              <a:xfrm>
                <a:off x="4180703" y="2425583"/>
                <a:ext cx="162296" cy="94274"/>
                <a:chOff x="4180703" y="2425583"/>
                <a:chExt cx="162296" cy="94274"/>
              </a:xfrm>
              <a:grpFill/>
            </p:grpSpPr>
            <p:sp>
              <p:nvSpPr>
                <p:cNvPr id="2343" name="Vrije vorm: vorm 2342">
                  <a:extLst>
                    <a:ext uri="{FF2B5EF4-FFF2-40B4-BE49-F238E27FC236}">
                      <a16:creationId xmlns:a16="http://schemas.microsoft.com/office/drawing/2014/main" id="{F7DB77A0-C95A-4788-BE4C-276183544B87}"/>
                    </a:ext>
                  </a:extLst>
                </p:cNvPr>
                <p:cNvSpPr/>
                <p:nvPr/>
              </p:nvSpPr>
              <p:spPr>
                <a:xfrm>
                  <a:off x="4188737" y="2433237"/>
                  <a:ext cx="146228" cy="78945"/>
                </a:xfrm>
                <a:custGeom>
                  <a:avLst/>
                  <a:gdLst>
                    <a:gd name="connsiteX0" fmla="*/ 146229 w 146228"/>
                    <a:gd name="connsiteY0" fmla="*/ 76254 h 78945"/>
                    <a:gd name="connsiteX1" fmla="*/ 144853 w 146228"/>
                    <a:gd name="connsiteY1" fmla="*/ 78945 h 78945"/>
                    <a:gd name="connsiteX2" fmla="*/ 0 w 146228"/>
                    <a:gd name="connsiteY2" fmla="*/ 2691 h 78945"/>
                    <a:gd name="connsiteX3" fmla="*/ 1435 w 146228"/>
                    <a:gd name="connsiteY3" fmla="*/ 0 h 78945"/>
                  </a:gdLst>
                  <a:ahLst/>
                  <a:cxnLst>
                    <a:cxn ang="0">
                      <a:pos x="connsiteX0" y="connsiteY0"/>
                    </a:cxn>
                    <a:cxn ang="0">
                      <a:pos x="connsiteX1" y="connsiteY1"/>
                    </a:cxn>
                    <a:cxn ang="0">
                      <a:pos x="connsiteX2" y="connsiteY2"/>
                    </a:cxn>
                    <a:cxn ang="0">
                      <a:pos x="connsiteX3" y="connsiteY3"/>
                    </a:cxn>
                  </a:cxnLst>
                  <a:rect l="l" t="t" r="r" b="b"/>
                  <a:pathLst>
                    <a:path w="146228" h="78945">
                      <a:moveTo>
                        <a:pt x="146229" y="76254"/>
                      </a:moveTo>
                      <a:lnTo>
                        <a:pt x="144853" y="78945"/>
                      </a:lnTo>
                      <a:lnTo>
                        <a:pt x="0" y="2691"/>
                      </a:lnTo>
                      <a:lnTo>
                        <a:pt x="1435" y="0"/>
                      </a:lnTo>
                      <a:close/>
                    </a:path>
                  </a:pathLst>
                </a:custGeom>
                <a:grpFill/>
                <a:ln w="5978" cap="flat">
                  <a:noFill/>
                  <a:prstDash val="solid"/>
                  <a:miter/>
                </a:ln>
              </p:spPr>
              <p:txBody>
                <a:bodyPr rtlCol="0" anchor="ctr"/>
                <a:lstStyle/>
                <a:p>
                  <a:endParaRPr lang="en-GB"/>
                </a:p>
              </p:txBody>
            </p:sp>
            <p:sp>
              <p:nvSpPr>
                <p:cNvPr id="2344" name="Vrije vorm: vorm 2343">
                  <a:extLst>
                    <a:ext uri="{FF2B5EF4-FFF2-40B4-BE49-F238E27FC236}">
                      <a16:creationId xmlns:a16="http://schemas.microsoft.com/office/drawing/2014/main" id="{1B3F6453-CA9B-4401-9CEA-F9EB0F834EDE}"/>
                    </a:ext>
                  </a:extLst>
                </p:cNvPr>
                <p:cNvSpPr/>
                <p:nvPr/>
              </p:nvSpPr>
              <p:spPr>
                <a:xfrm>
                  <a:off x="4324659" y="2501419"/>
                  <a:ext cx="18341" cy="18438"/>
                </a:xfrm>
                <a:custGeom>
                  <a:avLst/>
                  <a:gdLst>
                    <a:gd name="connsiteX0" fmla="*/ 13417 w 18341"/>
                    <a:gd name="connsiteY0" fmla="*/ 1075 h 18438"/>
                    <a:gd name="connsiteX1" fmla="*/ 17304 w 18341"/>
                    <a:gd name="connsiteY1" fmla="*/ 13514 h 18438"/>
                    <a:gd name="connsiteX2" fmla="*/ 4924 w 18341"/>
                    <a:gd name="connsiteY2" fmla="*/ 17402 h 18438"/>
                    <a:gd name="connsiteX3" fmla="*/ 1037 w 18341"/>
                    <a:gd name="connsiteY3" fmla="*/ 4962 h 18438"/>
                    <a:gd name="connsiteX4" fmla="*/ 13417 w 18341"/>
                    <a:gd name="connsiteY4" fmla="*/ 1075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8">
                      <a:moveTo>
                        <a:pt x="13417" y="1075"/>
                      </a:moveTo>
                      <a:cubicBezTo>
                        <a:pt x="17902" y="3467"/>
                        <a:pt x="19637" y="9029"/>
                        <a:pt x="17304" y="13514"/>
                      </a:cubicBezTo>
                      <a:cubicBezTo>
                        <a:pt x="14972" y="18000"/>
                        <a:pt x="9410" y="19734"/>
                        <a:pt x="4924" y="17402"/>
                      </a:cubicBezTo>
                      <a:cubicBezTo>
                        <a:pt x="439" y="15010"/>
                        <a:pt x="-1296" y="9448"/>
                        <a:pt x="1037" y="4962"/>
                      </a:cubicBezTo>
                      <a:cubicBezTo>
                        <a:pt x="3429" y="417"/>
                        <a:pt x="8931" y="-1318"/>
                        <a:pt x="13417" y="1075"/>
                      </a:cubicBezTo>
                      <a:close/>
                    </a:path>
                  </a:pathLst>
                </a:custGeom>
                <a:grpFill/>
                <a:ln w="5978" cap="flat">
                  <a:noFill/>
                  <a:prstDash val="solid"/>
                  <a:miter/>
                </a:ln>
              </p:spPr>
              <p:txBody>
                <a:bodyPr rtlCol="0" anchor="ctr"/>
                <a:lstStyle/>
                <a:p>
                  <a:endParaRPr lang="en-GB"/>
                </a:p>
              </p:txBody>
            </p:sp>
            <p:sp>
              <p:nvSpPr>
                <p:cNvPr id="2345" name="Vrije vorm: vorm 2344">
                  <a:extLst>
                    <a:ext uri="{FF2B5EF4-FFF2-40B4-BE49-F238E27FC236}">
                      <a16:creationId xmlns:a16="http://schemas.microsoft.com/office/drawing/2014/main" id="{D90325D9-D83E-49BA-AFDE-9324A7519B3B}"/>
                    </a:ext>
                  </a:extLst>
                </p:cNvPr>
                <p:cNvSpPr/>
                <p:nvPr/>
              </p:nvSpPr>
              <p:spPr>
                <a:xfrm>
                  <a:off x="4180703" y="2425583"/>
                  <a:ext cx="18340" cy="18476"/>
                </a:xfrm>
                <a:custGeom>
                  <a:avLst/>
                  <a:gdLst>
                    <a:gd name="connsiteX0" fmla="*/ 13417 w 18340"/>
                    <a:gd name="connsiteY0" fmla="*/ 1075 h 18476"/>
                    <a:gd name="connsiteX1" fmla="*/ 1037 w 18340"/>
                    <a:gd name="connsiteY1" fmla="*/ 4962 h 18476"/>
                    <a:gd name="connsiteX2" fmla="*/ 4924 w 18340"/>
                    <a:gd name="connsiteY2" fmla="*/ 17402 h 18476"/>
                    <a:gd name="connsiteX3" fmla="*/ 17304 w 18340"/>
                    <a:gd name="connsiteY3" fmla="*/ 13514 h 18476"/>
                    <a:gd name="connsiteX4" fmla="*/ 13417 w 18340"/>
                    <a:gd name="connsiteY4" fmla="*/ 1075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76">
                      <a:moveTo>
                        <a:pt x="13417" y="1075"/>
                      </a:moveTo>
                      <a:cubicBezTo>
                        <a:pt x="8931" y="-1318"/>
                        <a:pt x="3369" y="417"/>
                        <a:pt x="1037" y="4962"/>
                      </a:cubicBezTo>
                      <a:cubicBezTo>
                        <a:pt x="-1296" y="9448"/>
                        <a:pt x="439" y="15010"/>
                        <a:pt x="4924" y="17402"/>
                      </a:cubicBezTo>
                      <a:cubicBezTo>
                        <a:pt x="9410" y="19794"/>
                        <a:pt x="14972" y="18060"/>
                        <a:pt x="17304" y="13514"/>
                      </a:cubicBezTo>
                      <a:cubicBezTo>
                        <a:pt x="19637" y="9029"/>
                        <a:pt x="17902" y="3407"/>
                        <a:pt x="13417" y="1075"/>
                      </a:cubicBezTo>
                      <a:close/>
                    </a:path>
                  </a:pathLst>
                </a:custGeom>
                <a:grpFill/>
                <a:ln w="5978" cap="flat">
                  <a:noFill/>
                  <a:prstDash val="solid"/>
                  <a:miter/>
                </a:ln>
              </p:spPr>
              <p:txBody>
                <a:bodyPr rtlCol="0" anchor="ctr"/>
                <a:lstStyle/>
                <a:p>
                  <a:endParaRPr lang="en-GB"/>
                </a:p>
              </p:txBody>
            </p:sp>
          </p:grpSp>
          <p:grpSp>
            <p:nvGrpSpPr>
              <p:cNvPr id="1020" name="Graphic 3">
                <a:extLst>
                  <a:ext uri="{FF2B5EF4-FFF2-40B4-BE49-F238E27FC236}">
                    <a16:creationId xmlns:a16="http://schemas.microsoft.com/office/drawing/2014/main" id="{27694848-1A32-4F09-9F5D-D2BA0AB61DCF}"/>
                  </a:ext>
                </a:extLst>
              </p:cNvPr>
              <p:cNvGrpSpPr/>
              <p:nvPr/>
            </p:nvGrpSpPr>
            <p:grpSpPr>
              <a:xfrm>
                <a:off x="5062095" y="4953630"/>
                <a:ext cx="116950" cy="190610"/>
                <a:chOff x="5062095" y="4953630"/>
                <a:chExt cx="116950" cy="190610"/>
              </a:xfrm>
              <a:grpFill/>
            </p:grpSpPr>
            <p:sp>
              <p:nvSpPr>
                <p:cNvPr id="2340" name="Vrije vorm: vorm 2339">
                  <a:extLst>
                    <a:ext uri="{FF2B5EF4-FFF2-40B4-BE49-F238E27FC236}">
                      <a16:creationId xmlns:a16="http://schemas.microsoft.com/office/drawing/2014/main" id="{DB7C9787-0D60-4059-A88D-288BBC23AD09}"/>
                    </a:ext>
                  </a:extLst>
                </p:cNvPr>
                <p:cNvSpPr/>
                <p:nvPr/>
              </p:nvSpPr>
              <p:spPr>
                <a:xfrm>
                  <a:off x="5069698" y="4961647"/>
                  <a:ext cx="101732" cy="174517"/>
                </a:xfrm>
                <a:custGeom>
                  <a:avLst/>
                  <a:gdLst>
                    <a:gd name="connsiteX0" fmla="*/ 101732 w 101732"/>
                    <a:gd name="connsiteY0" fmla="*/ 1555 h 174517"/>
                    <a:gd name="connsiteX1" fmla="*/ 2691 w 101732"/>
                    <a:gd name="connsiteY1" fmla="*/ 174517 h 174517"/>
                    <a:gd name="connsiteX2" fmla="*/ 0 w 101732"/>
                    <a:gd name="connsiteY2" fmla="*/ 172962 h 174517"/>
                    <a:gd name="connsiteX3" fmla="*/ 99101 w 101732"/>
                    <a:gd name="connsiteY3" fmla="*/ 0 h 174517"/>
                  </a:gdLst>
                  <a:ahLst/>
                  <a:cxnLst>
                    <a:cxn ang="0">
                      <a:pos x="connsiteX0" y="connsiteY0"/>
                    </a:cxn>
                    <a:cxn ang="0">
                      <a:pos x="connsiteX1" y="connsiteY1"/>
                    </a:cxn>
                    <a:cxn ang="0">
                      <a:pos x="connsiteX2" y="connsiteY2"/>
                    </a:cxn>
                    <a:cxn ang="0">
                      <a:pos x="connsiteX3" y="connsiteY3"/>
                    </a:cxn>
                  </a:cxnLst>
                  <a:rect l="l" t="t" r="r" b="b"/>
                  <a:pathLst>
                    <a:path w="101732" h="174517">
                      <a:moveTo>
                        <a:pt x="101732" y="1555"/>
                      </a:moveTo>
                      <a:lnTo>
                        <a:pt x="2691" y="174517"/>
                      </a:lnTo>
                      <a:lnTo>
                        <a:pt x="0" y="172962"/>
                      </a:lnTo>
                      <a:lnTo>
                        <a:pt x="99101" y="0"/>
                      </a:lnTo>
                      <a:close/>
                    </a:path>
                  </a:pathLst>
                </a:custGeom>
                <a:grpFill/>
                <a:ln w="5978" cap="flat">
                  <a:noFill/>
                  <a:prstDash val="solid"/>
                  <a:miter/>
                </a:ln>
              </p:spPr>
              <p:txBody>
                <a:bodyPr rtlCol="0" anchor="ctr"/>
                <a:lstStyle/>
                <a:p>
                  <a:endParaRPr lang="en-GB"/>
                </a:p>
              </p:txBody>
            </p:sp>
            <p:sp>
              <p:nvSpPr>
                <p:cNvPr id="2341" name="Vrije vorm: vorm 2340">
                  <a:extLst>
                    <a:ext uri="{FF2B5EF4-FFF2-40B4-BE49-F238E27FC236}">
                      <a16:creationId xmlns:a16="http://schemas.microsoft.com/office/drawing/2014/main" id="{EBDC7A7A-0979-45F7-8C23-7B87BF84BE87}"/>
                    </a:ext>
                  </a:extLst>
                </p:cNvPr>
                <p:cNvSpPr/>
                <p:nvPr/>
              </p:nvSpPr>
              <p:spPr>
                <a:xfrm>
                  <a:off x="5062095" y="5125755"/>
                  <a:ext cx="18328" cy="18485"/>
                </a:xfrm>
                <a:custGeom>
                  <a:avLst/>
                  <a:gdLst>
                    <a:gd name="connsiteX0" fmla="*/ 17112 w 18328"/>
                    <a:gd name="connsiteY0" fmla="*/ 13877 h 18485"/>
                    <a:gd name="connsiteX1" fmla="*/ 4612 w 18328"/>
                    <a:gd name="connsiteY1" fmla="*/ 17227 h 18485"/>
                    <a:gd name="connsiteX2" fmla="*/ 1204 w 18328"/>
                    <a:gd name="connsiteY2" fmla="*/ 4607 h 18485"/>
                    <a:gd name="connsiteX3" fmla="*/ 13703 w 18328"/>
                    <a:gd name="connsiteY3" fmla="*/ 1258 h 18485"/>
                    <a:gd name="connsiteX4" fmla="*/ 17112 w 18328"/>
                    <a:gd name="connsiteY4" fmla="*/ 13877 h 18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85">
                      <a:moveTo>
                        <a:pt x="17112" y="13877"/>
                      </a:moveTo>
                      <a:cubicBezTo>
                        <a:pt x="14600" y="18303"/>
                        <a:pt x="8979" y="19799"/>
                        <a:pt x="4612" y="17227"/>
                      </a:cubicBezTo>
                      <a:cubicBezTo>
                        <a:pt x="247" y="14655"/>
                        <a:pt x="-1308" y="9033"/>
                        <a:pt x="1204" y="4607"/>
                      </a:cubicBezTo>
                      <a:cubicBezTo>
                        <a:pt x="3715" y="182"/>
                        <a:pt x="9337" y="-1313"/>
                        <a:pt x="13703" y="1258"/>
                      </a:cubicBezTo>
                      <a:cubicBezTo>
                        <a:pt x="18129" y="3830"/>
                        <a:pt x="19624" y="9452"/>
                        <a:pt x="17112" y="13877"/>
                      </a:cubicBezTo>
                      <a:close/>
                    </a:path>
                  </a:pathLst>
                </a:custGeom>
                <a:grpFill/>
                <a:ln w="5978" cap="flat">
                  <a:noFill/>
                  <a:prstDash val="solid"/>
                  <a:miter/>
                </a:ln>
              </p:spPr>
              <p:txBody>
                <a:bodyPr rtlCol="0" anchor="ctr"/>
                <a:lstStyle/>
                <a:p>
                  <a:endParaRPr lang="en-GB"/>
                </a:p>
              </p:txBody>
            </p:sp>
            <p:sp>
              <p:nvSpPr>
                <p:cNvPr id="2342" name="Vrije vorm: vorm 2341">
                  <a:extLst>
                    <a:ext uri="{FF2B5EF4-FFF2-40B4-BE49-F238E27FC236}">
                      <a16:creationId xmlns:a16="http://schemas.microsoft.com/office/drawing/2014/main" id="{FAB0B95F-3ACB-4C43-A658-80EBC2F20231}"/>
                    </a:ext>
                  </a:extLst>
                </p:cNvPr>
                <p:cNvSpPr/>
                <p:nvPr/>
              </p:nvSpPr>
              <p:spPr>
                <a:xfrm>
                  <a:off x="5160704" y="4953630"/>
                  <a:ext cx="18341" cy="18442"/>
                </a:xfrm>
                <a:custGeom>
                  <a:avLst/>
                  <a:gdLst>
                    <a:gd name="connsiteX0" fmla="*/ 17125 w 18341"/>
                    <a:gd name="connsiteY0" fmla="*/ 13818 h 18442"/>
                    <a:gd name="connsiteX1" fmla="*/ 13716 w 18341"/>
                    <a:gd name="connsiteY1" fmla="*/ 1258 h 18442"/>
                    <a:gd name="connsiteX2" fmla="*/ 1217 w 18341"/>
                    <a:gd name="connsiteY2" fmla="*/ 4607 h 18442"/>
                    <a:gd name="connsiteX3" fmla="*/ 4626 w 18341"/>
                    <a:gd name="connsiteY3" fmla="*/ 17227 h 18442"/>
                    <a:gd name="connsiteX4" fmla="*/ 17125 w 18341"/>
                    <a:gd name="connsiteY4" fmla="*/ 13818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42">
                      <a:moveTo>
                        <a:pt x="17125" y="13818"/>
                      </a:moveTo>
                      <a:cubicBezTo>
                        <a:pt x="19637" y="9392"/>
                        <a:pt x="18142" y="3770"/>
                        <a:pt x="13716" y="1258"/>
                      </a:cubicBezTo>
                      <a:cubicBezTo>
                        <a:pt x="9350" y="-1313"/>
                        <a:pt x="3728" y="182"/>
                        <a:pt x="1217" y="4607"/>
                      </a:cubicBezTo>
                      <a:cubicBezTo>
                        <a:pt x="-1296" y="9033"/>
                        <a:pt x="200" y="14655"/>
                        <a:pt x="4626" y="17227"/>
                      </a:cubicBezTo>
                      <a:cubicBezTo>
                        <a:pt x="8991" y="19738"/>
                        <a:pt x="14613" y="18243"/>
                        <a:pt x="17125" y="13818"/>
                      </a:cubicBezTo>
                      <a:close/>
                    </a:path>
                  </a:pathLst>
                </a:custGeom>
                <a:grpFill/>
                <a:ln w="5978" cap="flat">
                  <a:noFill/>
                  <a:prstDash val="solid"/>
                  <a:miter/>
                </a:ln>
              </p:spPr>
              <p:txBody>
                <a:bodyPr rtlCol="0" anchor="ctr"/>
                <a:lstStyle/>
                <a:p>
                  <a:endParaRPr lang="en-GB"/>
                </a:p>
              </p:txBody>
            </p:sp>
          </p:grpSp>
          <p:grpSp>
            <p:nvGrpSpPr>
              <p:cNvPr id="1021" name="Graphic 3">
                <a:extLst>
                  <a:ext uri="{FF2B5EF4-FFF2-40B4-BE49-F238E27FC236}">
                    <a16:creationId xmlns:a16="http://schemas.microsoft.com/office/drawing/2014/main" id="{A8071CD8-F1FE-4880-89E8-2EE061BEC363}"/>
                  </a:ext>
                </a:extLst>
              </p:cNvPr>
              <p:cNvGrpSpPr/>
              <p:nvPr/>
            </p:nvGrpSpPr>
            <p:grpSpPr>
              <a:xfrm>
                <a:off x="5005726" y="4888540"/>
                <a:ext cx="281589" cy="436518"/>
                <a:chOff x="5005726" y="4888540"/>
                <a:chExt cx="281589" cy="436518"/>
              </a:xfrm>
              <a:grpFill/>
            </p:grpSpPr>
            <p:sp>
              <p:nvSpPr>
                <p:cNvPr id="2337" name="Vrije vorm: vorm 2336">
                  <a:extLst>
                    <a:ext uri="{FF2B5EF4-FFF2-40B4-BE49-F238E27FC236}">
                      <a16:creationId xmlns:a16="http://schemas.microsoft.com/office/drawing/2014/main" id="{40F41EC4-05F4-4007-AA11-F8BC1581D02B}"/>
                    </a:ext>
                  </a:extLst>
                </p:cNvPr>
                <p:cNvSpPr/>
                <p:nvPr/>
              </p:nvSpPr>
              <p:spPr>
                <a:xfrm>
                  <a:off x="5013360" y="4896576"/>
                  <a:ext cx="266381" cy="420444"/>
                </a:xfrm>
                <a:custGeom>
                  <a:avLst/>
                  <a:gdLst>
                    <a:gd name="connsiteX0" fmla="*/ 266382 w 266381"/>
                    <a:gd name="connsiteY0" fmla="*/ 1615 h 420444"/>
                    <a:gd name="connsiteX1" fmla="*/ 2572 w 266381"/>
                    <a:gd name="connsiteY1" fmla="*/ 420445 h 420444"/>
                    <a:gd name="connsiteX2" fmla="*/ 0 w 266381"/>
                    <a:gd name="connsiteY2" fmla="*/ 418830 h 420444"/>
                    <a:gd name="connsiteX3" fmla="*/ 263810 w 266381"/>
                    <a:gd name="connsiteY3" fmla="*/ 0 h 420444"/>
                  </a:gdLst>
                  <a:ahLst/>
                  <a:cxnLst>
                    <a:cxn ang="0">
                      <a:pos x="connsiteX0" y="connsiteY0"/>
                    </a:cxn>
                    <a:cxn ang="0">
                      <a:pos x="connsiteX1" y="connsiteY1"/>
                    </a:cxn>
                    <a:cxn ang="0">
                      <a:pos x="connsiteX2" y="connsiteY2"/>
                    </a:cxn>
                    <a:cxn ang="0">
                      <a:pos x="connsiteX3" y="connsiteY3"/>
                    </a:cxn>
                  </a:cxnLst>
                  <a:rect l="l" t="t" r="r" b="b"/>
                  <a:pathLst>
                    <a:path w="266381" h="420444">
                      <a:moveTo>
                        <a:pt x="266382" y="1615"/>
                      </a:moveTo>
                      <a:lnTo>
                        <a:pt x="2572" y="420445"/>
                      </a:lnTo>
                      <a:lnTo>
                        <a:pt x="0" y="418830"/>
                      </a:lnTo>
                      <a:lnTo>
                        <a:pt x="263810" y="0"/>
                      </a:lnTo>
                      <a:close/>
                    </a:path>
                  </a:pathLst>
                </a:custGeom>
                <a:grpFill/>
                <a:ln w="5978" cap="flat">
                  <a:noFill/>
                  <a:prstDash val="solid"/>
                  <a:miter/>
                </a:ln>
              </p:spPr>
              <p:txBody>
                <a:bodyPr rtlCol="0" anchor="ctr"/>
                <a:lstStyle/>
                <a:p>
                  <a:endParaRPr lang="en-GB"/>
                </a:p>
              </p:txBody>
            </p:sp>
            <p:sp>
              <p:nvSpPr>
                <p:cNvPr id="2338" name="Vrije vorm: vorm 2337">
                  <a:extLst>
                    <a:ext uri="{FF2B5EF4-FFF2-40B4-BE49-F238E27FC236}">
                      <a16:creationId xmlns:a16="http://schemas.microsoft.com/office/drawing/2014/main" id="{122FFB7B-FA51-4A88-86B4-71CB94F903BD}"/>
                    </a:ext>
                  </a:extLst>
                </p:cNvPr>
                <p:cNvSpPr/>
                <p:nvPr/>
              </p:nvSpPr>
              <p:spPr>
                <a:xfrm>
                  <a:off x="5269012" y="4888540"/>
                  <a:ext cx="18303" cy="18465"/>
                </a:xfrm>
                <a:custGeom>
                  <a:avLst/>
                  <a:gdLst>
                    <a:gd name="connsiteX0" fmla="*/ 1400 w 18303"/>
                    <a:gd name="connsiteY0" fmla="*/ 4269 h 18465"/>
                    <a:gd name="connsiteX1" fmla="*/ 14019 w 18303"/>
                    <a:gd name="connsiteY1" fmla="*/ 1458 h 18465"/>
                    <a:gd name="connsiteX2" fmla="*/ 16889 w 18303"/>
                    <a:gd name="connsiteY2" fmla="*/ 14197 h 18465"/>
                    <a:gd name="connsiteX3" fmla="*/ 4270 w 18303"/>
                    <a:gd name="connsiteY3" fmla="*/ 17008 h 18465"/>
                    <a:gd name="connsiteX4" fmla="*/ 1400 w 18303"/>
                    <a:gd name="connsiteY4" fmla="*/ 426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0" y="4269"/>
                      </a:moveTo>
                      <a:cubicBezTo>
                        <a:pt x="4091" y="-37"/>
                        <a:pt x="9772" y="-1293"/>
                        <a:pt x="14019" y="1458"/>
                      </a:cubicBezTo>
                      <a:cubicBezTo>
                        <a:pt x="18325" y="4209"/>
                        <a:pt x="19581" y="9891"/>
                        <a:pt x="16889" y="14197"/>
                      </a:cubicBezTo>
                      <a:cubicBezTo>
                        <a:pt x="14198" y="18503"/>
                        <a:pt x="8516" y="19759"/>
                        <a:pt x="4270" y="17008"/>
                      </a:cubicBezTo>
                      <a:cubicBezTo>
                        <a:pt x="24" y="14257"/>
                        <a:pt x="-1292" y="8575"/>
                        <a:pt x="1400" y="4269"/>
                      </a:cubicBezTo>
                      <a:close/>
                    </a:path>
                  </a:pathLst>
                </a:custGeom>
                <a:grpFill/>
                <a:ln w="5978" cap="flat">
                  <a:noFill/>
                  <a:prstDash val="solid"/>
                  <a:miter/>
                </a:ln>
              </p:spPr>
              <p:txBody>
                <a:bodyPr rtlCol="0" anchor="ctr"/>
                <a:lstStyle/>
                <a:p>
                  <a:endParaRPr lang="en-GB"/>
                </a:p>
              </p:txBody>
            </p:sp>
            <p:sp>
              <p:nvSpPr>
                <p:cNvPr id="2339" name="Vrije vorm: vorm 2338">
                  <a:extLst>
                    <a:ext uri="{FF2B5EF4-FFF2-40B4-BE49-F238E27FC236}">
                      <a16:creationId xmlns:a16="http://schemas.microsoft.com/office/drawing/2014/main" id="{61B0464A-61BE-479D-B67A-C11FCC282D6C}"/>
                    </a:ext>
                  </a:extLst>
                </p:cNvPr>
                <p:cNvSpPr/>
                <p:nvPr/>
              </p:nvSpPr>
              <p:spPr>
                <a:xfrm>
                  <a:off x="5005726" y="5306633"/>
                  <a:ext cx="18318" cy="18424"/>
                </a:xfrm>
                <a:custGeom>
                  <a:avLst/>
                  <a:gdLst>
                    <a:gd name="connsiteX0" fmla="*/ 1414 w 18318"/>
                    <a:gd name="connsiteY0" fmla="*/ 4228 h 18424"/>
                    <a:gd name="connsiteX1" fmla="*/ 4285 w 18318"/>
                    <a:gd name="connsiteY1" fmla="*/ 16966 h 18424"/>
                    <a:gd name="connsiteX2" fmla="*/ 16904 w 18318"/>
                    <a:gd name="connsiteY2" fmla="*/ 14156 h 18424"/>
                    <a:gd name="connsiteX3" fmla="*/ 14033 w 18318"/>
                    <a:gd name="connsiteY3" fmla="*/ 1417 h 18424"/>
                    <a:gd name="connsiteX4" fmla="*/ 1414 w 18318"/>
                    <a:gd name="connsiteY4" fmla="*/ 4228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4">
                      <a:moveTo>
                        <a:pt x="1414" y="4228"/>
                      </a:moveTo>
                      <a:cubicBezTo>
                        <a:pt x="-1277" y="8534"/>
                        <a:pt x="-21" y="14216"/>
                        <a:pt x="4285" y="16966"/>
                      </a:cubicBezTo>
                      <a:cubicBezTo>
                        <a:pt x="8591" y="19718"/>
                        <a:pt x="14213" y="18462"/>
                        <a:pt x="16904" y="14156"/>
                      </a:cubicBezTo>
                      <a:cubicBezTo>
                        <a:pt x="19595" y="9849"/>
                        <a:pt x="18340" y="4168"/>
                        <a:pt x="14033" y="1417"/>
                      </a:cubicBezTo>
                      <a:cubicBezTo>
                        <a:pt x="9787" y="-1275"/>
                        <a:pt x="4105" y="-19"/>
                        <a:pt x="1414" y="4228"/>
                      </a:cubicBezTo>
                      <a:close/>
                    </a:path>
                  </a:pathLst>
                </a:custGeom>
                <a:grpFill/>
                <a:ln w="5978" cap="flat">
                  <a:noFill/>
                  <a:prstDash val="solid"/>
                  <a:miter/>
                </a:ln>
              </p:spPr>
              <p:txBody>
                <a:bodyPr rtlCol="0" anchor="ctr"/>
                <a:lstStyle/>
                <a:p>
                  <a:endParaRPr lang="en-GB"/>
                </a:p>
              </p:txBody>
            </p:sp>
          </p:grpSp>
          <p:grpSp>
            <p:nvGrpSpPr>
              <p:cNvPr id="1022" name="Graphic 3">
                <a:extLst>
                  <a:ext uri="{FF2B5EF4-FFF2-40B4-BE49-F238E27FC236}">
                    <a16:creationId xmlns:a16="http://schemas.microsoft.com/office/drawing/2014/main" id="{F01D7F47-4994-4BFD-9002-D57B7AA13895}"/>
                  </a:ext>
                </a:extLst>
              </p:cNvPr>
              <p:cNvGrpSpPr/>
              <p:nvPr/>
            </p:nvGrpSpPr>
            <p:grpSpPr>
              <a:xfrm>
                <a:off x="4189142" y="2473832"/>
                <a:ext cx="152775" cy="86090"/>
                <a:chOff x="4189142" y="2473832"/>
                <a:chExt cx="152775" cy="86090"/>
              </a:xfrm>
              <a:grpFill/>
            </p:grpSpPr>
            <p:sp>
              <p:nvSpPr>
                <p:cNvPr id="2334" name="Vrije vorm: vorm 2333">
                  <a:extLst>
                    <a:ext uri="{FF2B5EF4-FFF2-40B4-BE49-F238E27FC236}">
                      <a16:creationId xmlns:a16="http://schemas.microsoft.com/office/drawing/2014/main" id="{987E94FE-BE63-4217-84BB-1D51D1CD6371}"/>
                    </a:ext>
                  </a:extLst>
                </p:cNvPr>
                <p:cNvSpPr/>
                <p:nvPr/>
              </p:nvSpPr>
              <p:spPr>
                <a:xfrm>
                  <a:off x="4197230" y="2481441"/>
                  <a:ext cx="136599" cy="70811"/>
                </a:xfrm>
                <a:custGeom>
                  <a:avLst/>
                  <a:gdLst>
                    <a:gd name="connsiteX0" fmla="*/ 136600 w 136599"/>
                    <a:gd name="connsiteY0" fmla="*/ 68061 h 70811"/>
                    <a:gd name="connsiteX1" fmla="*/ 135284 w 136599"/>
                    <a:gd name="connsiteY1" fmla="*/ 70812 h 70811"/>
                    <a:gd name="connsiteX2" fmla="*/ 0 w 136599"/>
                    <a:gd name="connsiteY2" fmla="*/ 2751 h 70811"/>
                    <a:gd name="connsiteX3" fmla="*/ 1375 w 136599"/>
                    <a:gd name="connsiteY3" fmla="*/ 0 h 70811"/>
                  </a:gdLst>
                  <a:ahLst/>
                  <a:cxnLst>
                    <a:cxn ang="0">
                      <a:pos x="connsiteX0" y="connsiteY0"/>
                    </a:cxn>
                    <a:cxn ang="0">
                      <a:pos x="connsiteX1" y="connsiteY1"/>
                    </a:cxn>
                    <a:cxn ang="0">
                      <a:pos x="connsiteX2" y="connsiteY2"/>
                    </a:cxn>
                    <a:cxn ang="0">
                      <a:pos x="connsiteX3" y="connsiteY3"/>
                    </a:cxn>
                  </a:cxnLst>
                  <a:rect l="l" t="t" r="r" b="b"/>
                  <a:pathLst>
                    <a:path w="136599" h="70811">
                      <a:moveTo>
                        <a:pt x="136600" y="68061"/>
                      </a:moveTo>
                      <a:lnTo>
                        <a:pt x="135284" y="70812"/>
                      </a:lnTo>
                      <a:lnTo>
                        <a:pt x="0" y="2751"/>
                      </a:lnTo>
                      <a:lnTo>
                        <a:pt x="1375" y="0"/>
                      </a:lnTo>
                      <a:close/>
                    </a:path>
                  </a:pathLst>
                </a:custGeom>
                <a:grpFill/>
                <a:ln w="5978" cap="flat">
                  <a:noFill/>
                  <a:prstDash val="solid"/>
                  <a:miter/>
                </a:ln>
              </p:spPr>
              <p:txBody>
                <a:bodyPr rtlCol="0" anchor="ctr"/>
                <a:lstStyle/>
                <a:p>
                  <a:endParaRPr lang="en-GB"/>
                </a:p>
              </p:txBody>
            </p:sp>
            <p:sp>
              <p:nvSpPr>
                <p:cNvPr id="2335" name="Vrije vorm: vorm 2334">
                  <a:extLst>
                    <a:ext uri="{FF2B5EF4-FFF2-40B4-BE49-F238E27FC236}">
                      <a16:creationId xmlns:a16="http://schemas.microsoft.com/office/drawing/2014/main" id="{5009D8EC-EFAF-43B6-9D7A-2C05B3081466}"/>
                    </a:ext>
                  </a:extLst>
                </p:cNvPr>
                <p:cNvSpPr/>
                <p:nvPr/>
              </p:nvSpPr>
              <p:spPr>
                <a:xfrm>
                  <a:off x="4323589" y="2541463"/>
                  <a:ext cx="18329" cy="18459"/>
                </a:xfrm>
                <a:custGeom>
                  <a:avLst/>
                  <a:gdLst>
                    <a:gd name="connsiteX0" fmla="*/ 13231 w 18329"/>
                    <a:gd name="connsiteY0" fmla="*/ 982 h 18459"/>
                    <a:gd name="connsiteX1" fmla="*/ 17358 w 18329"/>
                    <a:gd name="connsiteY1" fmla="*/ 13362 h 18459"/>
                    <a:gd name="connsiteX2" fmla="*/ 5098 w 18329"/>
                    <a:gd name="connsiteY2" fmla="*/ 17489 h 18459"/>
                    <a:gd name="connsiteX3" fmla="*/ 971 w 18329"/>
                    <a:gd name="connsiteY3" fmla="*/ 5109 h 18459"/>
                    <a:gd name="connsiteX4" fmla="*/ 13231 w 18329"/>
                    <a:gd name="connsiteY4" fmla="*/ 982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9">
                      <a:moveTo>
                        <a:pt x="13231" y="982"/>
                      </a:moveTo>
                      <a:cubicBezTo>
                        <a:pt x="17777" y="3255"/>
                        <a:pt x="19631" y="8817"/>
                        <a:pt x="17358" y="13362"/>
                      </a:cubicBezTo>
                      <a:cubicBezTo>
                        <a:pt x="15086" y="17907"/>
                        <a:pt x="9583" y="19761"/>
                        <a:pt x="5098" y="17489"/>
                      </a:cubicBezTo>
                      <a:cubicBezTo>
                        <a:pt x="552" y="15216"/>
                        <a:pt x="-1302" y="9654"/>
                        <a:pt x="971" y="5109"/>
                      </a:cubicBezTo>
                      <a:cubicBezTo>
                        <a:pt x="3244" y="503"/>
                        <a:pt x="8746" y="-1291"/>
                        <a:pt x="13231" y="982"/>
                      </a:cubicBezTo>
                      <a:close/>
                    </a:path>
                  </a:pathLst>
                </a:custGeom>
                <a:grpFill/>
                <a:ln w="5978" cap="flat">
                  <a:noFill/>
                  <a:prstDash val="solid"/>
                  <a:miter/>
                </a:ln>
              </p:spPr>
              <p:txBody>
                <a:bodyPr rtlCol="0" anchor="ctr"/>
                <a:lstStyle/>
                <a:p>
                  <a:endParaRPr lang="en-GB"/>
                </a:p>
              </p:txBody>
            </p:sp>
            <p:sp>
              <p:nvSpPr>
                <p:cNvPr id="2336" name="Vrije vorm: vorm 2335">
                  <a:extLst>
                    <a:ext uri="{FF2B5EF4-FFF2-40B4-BE49-F238E27FC236}">
                      <a16:creationId xmlns:a16="http://schemas.microsoft.com/office/drawing/2014/main" id="{0A114325-24F3-4EB1-83A4-C71EBECA097C}"/>
                    </a:ext>
                  </a:extLst>
                </p:cNvPr>
                <p:cNvSpPr/>
                <p:nvPr/>
              </p:nvSpPr>
              <p:spPr>
                <a:xfrm>
                  <a:off x="4189142" y="2473832"/>
                  <a:ext cx="18329" cy="18449"/>
                </a:xfrm>
                <a:custGeom>
                  <a:avLst/>
                  <a:gdLst>
                    <a:gd name="connsiteX0" fmla="*/ 13231 w 18329"/>
                    <a:gd name="connsiteY0" fmla="*/ 971 h 18449"/>
                    <a:gd name="connsiteX1" fmla="*/ 971 w 18329"/>
                    <a:gd name="connsiteY1" fmla="*/ 5098 h 18449"/>
                    <a:gd name="connsiteX2" fmla="*/ 5098 w 18329"/>
                    <a:gd name="connsiteY2" fmla="*/ 17478 h 18449"/>
                    <a:gd name="connsiteX3" fmla="*/ 17358 w 18329"/>
                    <a:gd name="connsiteY3" fmla="*/ 13351 h 18449"/>
                    <a:gd name="connsiteX4" fmla="*/ 13231 w 18329"/>
                    <a:gd name="connsiteY4" fmla="*/ 971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13231" y="971"/>
                      </a:moveTo>
                      <a:cubicBezTo>
                        <a:pt x="8686" y="-1302"/>
                        <a:pt x="3184" y="552"/>
                        <a:pt x="971" y="5098"/>
                      </a:cubicBezTo>
                      <a:cubicBezTo>
                        <a:pt x="-1302" y="9643"/>
                        <a:pt x="552" y="15205"/>
                        <a:pt x="5098" y="17478"/>
                      </a:cubicBezTo>
                      <a:cubicBezTo>
                        <a:pt x="9643" y="19751"/>
                        <a:pt x="15145" y="17897"/>
                        <a:pt x="17358" y="13351"/>
                      </a:cubicBezTo>
                      <a:cubicBezTo>
                        <a:pt x="19631" y="8806"/>
                        <a:pt x="17777" y="3244"/>
                        <a:pt x="13231" y="971"/>
                      </a:cubicBezTo>
                      <a:close/>
                    </a:path>
                  </a:pathLst>
                </a:custGeom>
                <a:grpFill/>
                <a:ln w="5978" cap="flat">
                  <a:noFill/>
                  <a:prstDash val="solid"/>
                  <a:miter/>
                </a:ln>
              </p:spPr>
              <p:txBody>
                <a:bodyPr rtlCol="0" anchor="ctr"/>
                <a:lstStyle/>
                <a:p>
                  <a:endParaRPr lang="en-GB"/>
                </a:p>
              </p:txBody>
            </p:sp>
          </p:grpSp>
          <p:grpSp>
            <p:nvGrpSpPr>
              <p:cNvPr id="1023" name="Graphic 3">
                <a:extLst>
                  <a:ext uri="{FF2B5EF4-FFF2-40B4-BE49-F238E27FC236}">
                    <a16:creationId xmlns:a16="http://schemas.microsoft.com/office/drawing/2014/main" id="{54418466-DA3B-4A3A-87F4-7CE978006B46}"/>
                  </a:ext>
                </a:extLst>
              </p:cNvPr>
              <p:cNvGrpSpPr/>
              <p:nvPr/>
            </p:nvGrpSpPr>
            <p:grpSpPr>
              <a:xfrm>
                <a:off x="4999835" y="4798319"/>
                <a:ext cx="123817" cy="174385"/>
                <a:chOff x="4999835" y="4798319"/>
                <a:chExt cx="123817" cy="174385"/>
              </a:xfrm>
              <a:grpFill/>
            </p:grpSpPr>
            <p:sp>
              <p:nvSpPr>
                <p:cNvPr id="2331" name="Vrije vorm: vorm 2330">
                  <a:extLst>
                    <a:ext uri="{FF2B5EF4-FFF2-40B4-BE49-F238E27FC236}">
                      <a16:creationId xmlns:a16="http://schemas.microsoft.com/office/drawing/2014/main" id="{60E0E490-1F3C-4B91-9025-CC7578CDA72A}"/>
                    </a:ext>
                  </a:extLst>
                </p:cNvPr>
                <p:cNvSpPr/>
                <p:nvPr/>
              </p:nvSpPr>
              <p:spPr>
                <a:xfrm>
                  <a:off x="5007439" y="4806267"/>
                  <a:ext cx="108550" cy="158489"/>
                </a:xfrm>
                <a:custGeom>
                  <a:avLst/>
                  <a:gdLst>
                    <a:gd name="connsiteX0" fmla="*/ 108550 w 108550"/>
                    <a:gd name="connsiteY0" fmla="*/ 1735 h 158489"/>
                    <a:gd name="connsiteX1" fmla="*/ 2572 w 108550"/>
                    <a:gd name="connsiteY1" fmla="*/ 158489 h 158489"/>
                    <a:gd name="connsiteX2" fmla="*/ 0 w 108550"/>
                    <a:gd name="connsiteY2" fmla="*/ 156755 h 158489"/>
                    <a:gd name="connsiteX3" fmla="*/ 106038 w 108550"/>
                    <a:gd name="connsiteY3" fmla="*/ 0 h 158489"/>
                  </a:gdLst>
                  <a:ahLst/>
                  <a:cxnLst>
                    <a:cxn ang="0">
                      <a:pos x="connsiteX0" y="connsiteY0"/>
                    </a:cxn>
                    <a:cxn ang="0">
                      <a:pos x="connsiteX1" y="connsiteY1"/>
                    </a:cxn>
                    <a:cxn ang="0">
                      <a:pos x="connsiteX2" y="connsiteY2"/>
                    </a:cxn>
                    <a:cxn ang="0">
                      <a:pos x="connsiteX3" y="connsiteY3"/>
                    </a:cxn>
                  </a:cxnLst>
                  <a:rect l="l" t="t" r="r" b="b"/>
                  <a:pathLst>
                    <a:path w="108550" h="158489">
                      <a:moveTo>
                        <a:pt x="108550" y="1735"/>
                      </a:moveTo>
                      <a:lnTo>
                        <a:pt x="2572" y="158489"/>
                      </a:lnTo>
                      <a:lnTo>
                        <a:pt x="0" y="156755"/>
                      </a:lnTo>
                      <a:lnTo>
                        <a:pt x="106038" y="0"/>
                      </a:lnTo>
                      <a:close/>
                    </a:path>
                  </a:pathLst>
                </a:custGeom>
                <a:grpFill/>
                <a:ln w="5978" cap="flat">
                  <a:noFill/>
                  <a:prstDash val="solid"/>
                  <a:miter/>
                </a:ln>
              </p:spPr>
              <p:txBody>
                <a:bodyPr rtlCol="0" anchor="ctr"/>
                <a:lstStyle/>
                <a:p>
                  <a:endParaRPr lang="en-GB"/>
                </a:p>
              </p:txBody>
            </p:sp>
            <p:sp>
              <p:nvSpPr>
                <p:cNvPr id="2332" name="Vrije vorm: vorm 2331">
                  <a:extLst>
                    <a:ext uri="{FF2B5EF4-FFF2-40B4-BE49-F238E27FC236}">
                      <a16:creationId xmlns:a16="http://schemas.microsoft.com/office/drawing/2014/main" id="{4E233B90-FD64-40A0-8701-0FB7ED523BF6}"/>
                    </a:ext>
                  </a:extLst>
                </p:cNvPr>
                <p:cNvSpPr/>
                <p:nvPr/>
              </p:nvSpPr>
              <p:spPr>
                <a:xfrm>
                  <a:off x="4999835" y="4954296"/>
                  <a:ext cx="18317" cy="18408"/>
                </a:xfrm>
                <a:custGeom>
                  <a:avLst/>
                  <a:gdLst>
                    <a:gd name="connsiteX0" fmla="*/ 16754 w 18317"/>
                    <a:gd name="connsiteY0" fmla="*/ 14407 h 18408"/>
                    <a:gd name="connsiteX1" fmla="*/ 4015 w 18317"/>
                    <a:gd name="connsiteY1" fmla="*/ 16799 h 18408"/>
                    <a:gd name="connsiteX2" fmla="*/ 1563 w 18317"/>
                    <a:gd name="connsiteY2" fmla="*/ 4001 h 18408"/>
                    <a:gd name="connsiteX3" fmla="*/ 14302 w 18317"/>
                    <a:gd name="connsiteY3" fmla="*/ 1609 h 18408"/>
                    <a:gd name="connsiteX4" fmla="*/ 16754 w 1831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08">
                      <a:moveTo>
                        <a:pt x="16754" y="14407"/>
                      </a:moveTo>
                      <a:cubicBezTo>
                        <a:pt x="13943" y="18594"/>
                        <a:pt x="8202" y="19670"/>
                        <a:pt x="4015" y="16799"/>
                      </a:cubicBezTo>
                      <a:cubicBezTo>
                        <a:pt x="-171" y="13929"/>
                        <a:pt x="-1248" y="8187"/>
                        <a:pt x="1563" y="4001"/>
                      </a:cubicBezTo>
                      <a:cubicBezTo>
                        <a:pt x="4434" y="-186"/>
                        <a:pt x="10116" y="-1262"/>
                        <a:pt x="14302" y="1609"/>
                      </a:cubicBezTo>
                      <a:cubicBezTo>
                        <a:pt x="18489" y="4479"/>
                        <a:pt x="19565" y="10221"/>
                        <a:pt x="16754" y="14407"/>
                      </a:cubicBezTo>
                      <a:close/>
                    </a:path>
                  </a:pathLst>
                </a:custGeom>
                <a:grpFill/>
                <a:ln w="5978" cap="flat">
                  <a:noFill/>
                  <a:prstDash val="solid"/>
                  <a:miter/>
                </a:ln>
              </p:spPr>
              <p:txBody>
                <a:bodyPr rtlCol="0" anchor="ctr"/>
                <a:lstStyle/>
                <a:p>
                  <a:endParaRPr lang="en-GB"/>
                </a:p>
              </p:txBody>
            </p:sp>
            <p:sp>
              <p:nvSpPr>
                <p:cNvPr id="2333" name="Vrije vorm: vorm 2332">
                  <a:extLst>
                    <a:ext uri="{FF2B5EF4-FFF2-40B4-BE49-F238E27FC236}">
                      <a16:creationId xmlns:a16="http://schemas.microsoft.com/office/drawing/2014/main" id="{A57AC597-C260-48DF-B3E3-252773934A96}"/>
                    </a:ext>
                  </a:extLst>
                </p:cNvPr>
                <p:cNvSpPr/>
                <p:nvPr/>
              </p:nvSpPr>
              <p:spPr>
                <a:xfrm>
                  <a:off x="5105309" y="4798319"/>
                  <a:ext cx="18343" cy="18408"/>
                </a:xfrm>
                <a:custGeom>
                  <a:avLst/>
                  <a:gdLst>
                    <a:gd name="connsiteX0" fmla="*/ 16780 w 18343"/>
                    <a:gd name="connsiteY0" fmla="*/ 14407 h 18408"/>
                    <a:gd name="connsiteX1" fmla="*/ 14328 w 18343"/>
                    <a:gd name="connsiteY1" fmla="*/ 1609 h 18408"/>
                    <a:gd name="connsiteX2" fmla="*/ 1589 w 18343"/>
                    <a:gd name="connsiteY2" fmla="*/ 4001 h 18408"/>
                    <a:gd name="connsiteX3" fmla="*/ 4041 w 18343"/>
                    <a:gd name="connsiteY3" fmla="*/ 16800 h 18408"/>
                    <a:gd name="connsiteX4" fmla="*/ 16780 w 18343"/>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6780" y="14407"/>
                      </a:moveTo>
                      <a:cubicBezTo>
                        <a:pt x="19592" y="10221"/>
                        <a:pt x="18515" y="4480"/>
                        <a:pt x="14328" y="1609"/>
                      </a:cubicBezTo>
                      <a:cubicBezTo>
                        <a:pt x="10142" y="-1262"/>
                        <a:pt x="4460" y="-186"/>
                        <a:pt x="1589" y="4001"/>
                      </a:cubicBezTo>
                      <a:cubicBezTo>
                        <a:pt x="-1281" y="8188"/>
                        <a:pt x="-145" y="13929"/>
                        <a:pt x="4041" y="16800"/>
                      </a:cubicBezTo>
                      <a:cubicBezTo>
                        <a:pt x="8228" y="19670"/>
                        <a:pt x="13910" y="18594"/>
                        <a:pt x="16780" y="14407"/>
                      </a:cubicBezTo>
                      <a:close/>
                    </a:path>
                  </a:pathLst>
                </a:custGeom>
                <a:grpFill/>
                <a:ln w="5978" cap="flat">
                  <a:noFill/>
                  <a:prstDash val="solid"/>
                  <a:miter/>
                </a:ln>
              </p:spPr>
              <p:txBody>
                <a:bodyPr rtlCol="0" anchor="ctr"/>
                <a:lstStyle/>
                <a:p>
                  <a:endParaRPr lang="en-GB"/>
                </a:p>
              </p:txBody>
            </p:sp>
          </p:grpSp>
          <p:grpSp>
            <p:nvGrpSpPr>
              <p:cNvPr id="1024" name="Graphic 3">
                <a:extLst>
                  <a:ext uri="{FF2B5EF4-FFF2-40B4-BE49-F238E27FC236}">
                    <a16:creationId xmlns:a16="http://schemas.microsoft.com/office/drawing/2014/main" id="{43ED4AD8-70A4-424F-B705-C8963E284F9C}"/>
                  </a:ext>
                </a:extLst>
              </p:cNvPr>
              <p:cNvGrpSpPr/>
              <p:nvPr/>
            </p:nvGrpSpPr>
            <p:grpSpPr>
              <a:xfrm>
                <a:off x="4268544" y="2595388"/>
                <a:ext cx="51745" cy="33610"/>
                <a:chOff x="4268544" y="2595388"/>
                <a:chExt cx="51745" cy="33610"/>
              </a:xfrm>
              <a:grpFill/>
            </p:grpSpPr>
            <p:sp>
              <p:nvSpPr>
                <p:cNvPr id="2328" name="Vrije vorm: vorm 2327">
                  <a:extLst>
                    <a:ext uri="{FF2B5EF4-FFF2-40B4-BE49-F238E27FC236}">
                      <a16:creationId xmlns:a16="http://schemas.microsoft.com/office/drawing/2014/main" id="{A4E39B11-62E3-4339-9A39-A7A301F10897}"/>
                    </a:ext>
                  </a:extLst>
                </p:cNvPr>
                <p:cNvSpPr/>
                <p:nvPr/>
              </p:nvSpPr>
              <p:spPr>
                <a:xfrm>
                  <a:off x="4276714" y="2602970"/>
                  <a:ext cx="35405" cy="18420"/>
                </a:xfrm>
                <a:custGeom>
                  <a:avLst/>
                  <a:gdLst>
                    <a:gd name="connsiteX0" fmla="*/ 35406 w 35405"/>
                    <a:gd name="connsiteY0" fmla="*/ 15670 h 18420"/>
                    <a:gd name="connsiteX1" fmla="*/ 34150 w 35405"/>
                    <a:gd name="connsiteY1" fmla="*/ 18421 h 18420"/>
                    <a:gd name="connsiteX2" fmla="*/ 0 w 35405"/>
                    <a:gd name="connsiteY2" fmla="*/ 2811 h 18420"/>
                    <a:gd name="connsiteX3" fmla="*/ 1256 w 35405"/>
                    <a:gd name="connsiteY3" fmla="*/ 0 h 18420"/>
                  </a:gdLst>
                  <a:ahLst/>
                  <a:cxnLst>
                    <a:cxn ang="0">
                      <a:pos x="connsiteX0" y="connsiteY0"/>
                    </a:cxn>
                    <a:cxn ang="0">
                      <a:pos x="connsiteX1" y="connsiteY1"/>
                    </a:cxn>
                    <a:cxn ang="0">
                      <a:pos x="connsiteX2" y="connsiteY2"/>
                    </a:cxn>
                    <a:cxn ang="0">
                      <a:pos x="connsiteX3" y="connsiteY3"/>
                    </a:cxn>
                  </a:cxnLst>
                  <a:rect l="l" t="t" r="r" b="b"/>
                  <a:pathLst>
                    <a:path w="35405" h="18420">
                      <a:moveTo>
                        <a:pt x="35406" y="15670"/>
                      </a:moveTo>
                      <a:lnTo>
                        <a:pt x="34150" y="18421"/>
                      </a:lnTo>
                      <a:lnTo>
                        <a:pt x="0" y="2811"/>
                      </a:lnTo>
                      <a:lnTo>
                        <a:pt x="1256" y="0"/>
                      </a:lnTo>
                      <a:close/>
                    </a:path>
                  </a:pathLst>
                </a:custGeom>
                <a:grpFill/>
                <a:ln w="5978" cap="flat">
                  <a:noFill/>
                  <a:prstDash val="solid"/>
                  <a:miter/>
                </a:ln>
              </p:spPr>
              <p:txBody>
                <a:bodyPr rtlCol="0" anchor="ctr"/>
                <a:lstStyle/>
                <a:p>
                  <a:endParaRPr lang="en-GB"/>
                </a:p>
              </p:txBody>
            </p:sp>
            <p:sp>
              <p:nvSpPr>
                <p:cNvPr id="2329" name="Vrije vorm: vorm 2328">
                  <a:extLst>
                    <a:ext uri="{FF2B5EF4-FFF2-40B4-BE49-F238E27FC236}">
                      <a16:creationId xmlns:a16="http://schemas.microsoft.com/office/drawing/2014/main" id="{F253AFCB-E057-4F66-A899-30C1CA96D6D5}"/>
                    </a:ext>
                  </a:extLst>
                </p:cNvPr>
                <p:cNvSpPr/>
                <p:nvPr/>
              </p:nvSpPr>
              <p:spPr>
                <a:xfrm>
                  <a:off x="4301917" y="2610579"/>
                  <a:ext cx="18372" cy="18419"/>
                </a:xfrm>
                <a:custGeom>
                  <a:avLst/>
                  <a:gdLst>
                    <a:gd name="connsiteX0" fmla="*/ 12954 w 18372"/>
                    <a:gd name="connsiteY0" fmla="*/ 824 h 18419"/>
                    <a:gd name="connsiteX1" fmla="*/ 17560 w 18372"/>
                    <a:gd name="connsiteY1" fmla="*/ 13024 h 18419"/>
                    <a:gd name="connsiteX2" fmla="*/ 5419 w 18372"/>
                    <a:gd name="connsiteY2" fmla="*/ 17570 h 18419"/>
                    <a:gd name="connsiteX3" fmla="*/ 813 w 18372"/>
                    <a:gd name="connsiteY3" fmla="*/ 5369 h 18419"/>
                    <a:gd name="connsiteX4" fmla="*/ 12954 w 18372"/>
                    <a:gd name="connsiteY4" fmla="*/ 82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19">
                      <a:moveTo>
                        <a:pt x="12954" y="824"/>
                      </a:moveTo>
                      <a:cubicBezTo>
                        <a:pt x="17560" y="2917"/>
                        <a:pt x="19653" y="8419"/>
                        <a:pt x="17560" y="13024"/>
                      </a:cubicBezTo>
                      <a:cubicBezTo>
                        <a:pt x="15466" y="17629"/>
                        <a:pt x="10024" y="19723"/>
                        <a:pt x="5419" y="17570"/>
                      </a:cubicBezTo>
                      <a:cubicBezTo>
                        <a:pt x="813" y="15476"/>
                        <a:pt x="-1280" y="9974"/>
                        <a:pt x="813" y="5369"/>
                      </a:cubicBezTo>
                      <a:cubicBezTo>
                        <a:pt x="2907" y="764"/>
                        <a:pt x="8349" y="-1269"/>
                        <a:pt x="12954" y="824"/>
                      </a:cubicBezTo>
                      <a:close/>
                    </a:path>
                  </a:pathLst>
                </a:custGeom>
                <a:grpFill/>
                <a:ln w="5978" cap="flat">
                  <a:noFill/>
                  <a:prstDash val="solid"/>
                  <a:miter/>
                </a:ln>
              </p:spPr>
              <p:txBody>
                <a:bodyPr rtlCol="0" anchor="ctr"/>
                <a:lstStyle/>
                <a:p>
                  <a:endParaRPr lang="en-GB"/>
                </a:p>
              </p:txBody>
            </p:sp>
            <p:sp>
              <p:nvSpPr>
                <p:cNvPr id="2330" name="Vrije vorm: vorm 2329">
                  <a:extLst>
                    <a:ext uri="{FF2B5EF4-FFF2-40B4-BE49-F238E27FC236}">
                      <a16:creationId xmlns:a16="http://schemas.microsoft.com/office/drawing/2014/main" id="{CB3153D9-871B-451E-81AF-F2756B8C48CC}"/>
                    </a:ext>
                  </a:extLst>
                </p:cNvPr>
                <p:cNvSpPr/>
                <p:nvPr/>
              </p:nvSpPr>
              <p:spPr>
                <a:xfrm>
                  <a:off x="4268544" y="2595388"/>
                  <a:ext cx="18381" cy="18393"/>
                </a:xfrm>
                <a:custGeom>
                  <a:avLst/>
                  <a:gdLst>
                    <a:gd name="connsiteX0" fmla="*/ 12954 w 18381"/>
                    <a:gd name="connsiteY0" fmla="*/ 824 h 18393"/>
                    <a:gd name="connsiteX1" fmla="*/ 813 w 18381"/>
                    <a:gd name="connsiteY1" fmla="*/ 5369 h 18393"/>
                    <a:gd name="connsiteX2" fmla="*/ 5418 w 18381"/>
                    <a:gd name="connsiteY2" fmla="*/ 17570 h 18393"/>
                    <a:gd name="connsiteX3" fmla="*/ 17559 w 18381"/>
                    <a:gd name="connsiteY3" fmla="*/ 13024 h 18393"/>
                    <a:gd name="connsiteX4" fmla="*/ 12954 w 18381"/>
                    <a:gd name="connsiteY4" fmla="*/ 824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393">
                      <a:moveTo>
                        <a:pt x="12954" y="824"/>
                      </a:moveTo>
                      <a:cubicBezTo>
                        <a:pt x="8349" y="-1270"/>
                        <a:pt x="2907" y="764"/>
                        <a:pt x="813" y="5369"/>
                      </a:cubicBezTo>
                      <a:cubicBezTo>
                        <a:pt x="-1280" y="9974"/>
                        <a:pt x="813" y="15476"/>
                        <a:pt x="5418" y="17570"/>
                      </a:cubicBezTo>
                      <a:cubicBezTo>
                        <a:pt x="10024" y="19663"/>
                        <a:pt x="15466" y="17630"/>
                        <a:pt x="17559" y="13024"/>
                      </a:cubicBezTo>
                      <a:cubicBezTo>
                        <a:pt x="19652" y="8419"/>
                        <a:pt x="17619" y="2917"/>
                        <a:pt x="12954" y="824"/>
                      </a:cubicBezTo>
                      <a:close/>
                    </a:path>
                  </a:pathLst>
                </a:custGeom>
                <a:grpFill/>
                <a:ln w="5978" cap="flat">
                  <a:noFill/>
                  <a:prstDash val="solid"/>
                  <a:miter/>
                </a:ln>
              </p:spPr>
              <p:txBody>
                <a:bodyPr rtlCol="0" anchor="ctr"/>
                <a:lstStyle/>
                <a:p>
                  <a:endParaRPr lang="en-GB"/>
                </a:p>
              </p:txBody>
            </p:sp>
          </p:grpSp>
          <p:grpSp>
            <p:nvGrpSpPr>
              <p:cNvPr id="1025" name="Graphic 3">
                <a:extLst>
                  <a:ext uri="{FF2B5EF4-FFF2-40B4-BE49-F238E27FC236}">
                    <a16:creationId xmlns:a16="http://schemas.microsoft.com/office/drawing/2014/main" id="{F322751A-7FF8-453F-BD5D-279F029CE9BD}"/>
                  </a:ext>
                </a:extLst>
              </p:cNvPr>
              <p:cNvGrpSpPr/>
              <p:nvPr/>
            </p:nvGrpSpPr>
            <p:grpSpPr>
              <a:xfrm>
                <a:off x="3901507" y="2227421"/>
                <a:ext cx="660403" cy="407025"/>
                <a:chOff x="3901507" y="2227421"/>
                <a:chExt cx="660403" cy="407025"/>
              </a:xfrm>
              <a:grpFill/>
            </p:grpSpPr>
            <p:sp>
              <p:nvSpPr>
                <p:cNvPr id="2325" name="Vrije vorm: vorm 2324">
                  <a:extLst>
                    <a:ext uri="{FF2B5EF4-FFF2-40B4-BE49-F238E27FC236}">
                      <a16:creationId xmlns:a16="http://schemas.microsoft.com/office/drawing/2014/main" id="{6920BDFF-FD48-4531-AEA2-FAA4AB9BD2AC}"/>
                    </a:ext>
                  </a:extLst>
                </p:cNvPr>
                <p:cNvSpPr/>
                <p:nvPr/>
              </p:nvSpPr>
              <p:spPr>
                <a:xfrm>
                  <a:off x="3909498" y="2235096"/>
                  <a:ext cx="644362" cy="391737"/>
                </a:xfrm>
                <a:custGeom>
                  <a:avLst/>
                  <a:gdLst>
                    <a:gd name="connsiteX0" fmla="*/ 644363 w 644362"/>
                    <a:gd name="connsiteY0" fmla="*/ 389106 h 391737"/>
                    <a:gd name="connsiteX1" fmla="*/ 642808 w 644362"/>
                    <a:gd name="connsiteY1" fmla="*/ 391737 h 391737"/>
                    <a:gd name="connsiteX2" fmla="*/ 0 w 644362"/>
                    <a:gd name="connsiteY2" fmla="*/ 2631 h 391737"/>
                    <a:gd name="connsiteX3" fmla="*/ 1555 w 644362"/>
                    <a:gd name="connsiteY3" fmla="*/ 0 h 391737"/>
                  </a:gdLst>
                  <a:ahLst/>
                  <a:cxnLst>
                    <a:cxn ang="0">
                      <a:pos x="connsiteX0" y="connsiteY0"/>
                    </a:cxn>
                    <a:cxn ang="0">
                      <a:pos x="connsiteX1" y="connsiteY1"/>
                    </a:cxn>
                    <a:cxn ang="0">
                      <a:pos x="connsiteX2" y="connsiteY2"/>
                    </a:cxn>
                    <a:cxn ang="0">
                      <a:pos x="connsiteX3" y="connsiteY3"/>
                    </a:cxn>
                  </a:cxnLst>
                  <a:rect l="l" t="t" r="r" b="b"/>
                  <a:pathLst>
                    <a:path w="644362" h="391737">
                      <a:moveTo>
                        <a:pt x="644363" y="389106"/>
                      </a:moveTo>
                      <a:lnTo>
                        <a:pt x="642808" y="391737"/>
                      </a:lnTo>
                      <a:lnTo>
                        <a:pt x="0" y="2631"/>
                      </a:lnTo>
                      <a:lnTo>
                        <a:pt x="1555" y="0"/>
                      </a:lnTo>
                      <a:close/>
                    </a:path>
                  </a:pathLst>
                </a:custGeom>
                <a:grpFill/>
                <a:ln w="5978" cap="flat">
                  <a:noFill/>
                  <a:prstDash val="solid"/>
                  <a:miter/>
                </a:ln>
              </p:spPr>
              <p:txBody>
                <a:bodyPr rtlCol="0" anchor="ctr"/>
                <a:lstStyle/>
                <a:p>
                  <a:endParaRPr lang="en-GB"/>
                </a:p>
              </p:txBody>
            </p:sp>
            <p:sp>
              <p:nvSpPr>
                <p:cNvPr id="2326" name="Vrije vorm: vorm 2325">
                  <a:extLst>
                    <a:ext uri="{FF2B5EF4-FFF2-40B4-BE49-F238E27FC236}">
                      <a16:creationId xmlns:a16="http://schemas.microsoft.com/office/drawing/2014/main" id="{7ECCAB7D-2D9D-4D3F-BA0D-74346003A523}"/>
                    </a:ext>
                  </a:extLst>
                </p:cNvPr>
                <p:cNvSpPr/>
                <p:nvPr/>
              </p:nvSpPr>
              <p:spPr>
                <a:xfrm>
                  <a:off x="4543598" y="2616049"/>
                  <a:ext cx="18313" cy="18398"/>
                </a:xfrm>
                <a:custGeom>
                  <a:avLst/>
                  <a:gdLst>
                    <a:gd name="connsiteX0" fmla="*/ 13851 w 18313"/>
                    <a:gd name="connsiteY0" fmla="*/ 1335 h 18398"/>
                    <a:gd name="connsiteX1" fmla="*/ 17021 w 18313"/>
                    <a:gd name="connsiteY1" fmla="*/ 13954 h 18398"/>
                    <a:gd name="connsiteX2" fmla="*/ 4462 w 18313"/>
                    <a:gd name="connsiteY2" fmla="*/ 17064 h 18398"/>
                    <a:gd name="connsiteX3" fmla="*/ 1292 w 18313"/>
                    <a:gd name="connsiteY3" fmla="*/ 4445 h 18398"/>
                    <a:gd name="connsiteX4" fmla="*/ 13851 w 18313"/>
                    <a:gd name="connsiteY4" fmla="*/ 133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98">
                      <a:moveTo>
                        <a:pt x="13851" y="1335"/>
                      </a:moveTo>
                      <a:cubicBezTo>
                        <a:pt x="18217" y="3966"/>
                        <a:pt x="19593" y="9648"/>
                        <a:pt x="17021" y="13954"/>
                      </a:cubicBezTo>
                      <a:cubicBezTo>
                        <a:pt x="14449" y="18320"/>
                        <a:pt x="8768" y="19695"/>
                        <a:pt x="4462" y="17064"/>
                      </a:cubicBezTo>
                      <a:cubicBezTo>
                        <a:pt x="96" y="14432"/>
                        <a:pt x="-1280" y="8751"/>
                        <a:pt x="1292" y="4445"/>
                      </a:cubicBezTo>
                      <a:cubicBezTo>
                        <a:pt x="3864" y="79"/>
                        <a:pt x="9486" y="-1297"/>
                        <a:pt x="13851" y="1335"/>
                      </a:cubicBezTo>
                      <a:close/>
                    </a:path>
                  </a:pathLst>
                </a:custGeom>
                <a:grpFill/>
                <a:ln w="5978" cap="flat">
                  <a:noFill/>
                  <a:prstDash val="solid"/>
                  <a:miter/>
                </a:ln>
              </p:spPr>
              <p:txBody>
                <a:bodyPr rtlCol="0" anchor="ctr"/>
                <a:lstStyle/>
                <a:p>
                  <a:endParaRPr lang="en-GB"/>
                </a:p>
              </p:txBody>
            </p:sp>
            <p:sp>
              <p:nvSpPr>
                <p:cNvPr id="2327" name="Vrije vorm: vorm 2326">
                  <a:extLst>
                    <a:ext uri="{FF2B5EF4-FFF2-40B4-BE49-F238E27FC236}">
                      <a16:creationId xmlns:a16="http://schemas.microsoft.com/office/drawing/2014/main" id="{DC5C7BEA-1FF7-42A7-9C7B-4661EC623A7A}"/>
                    </a:ext>
                  </a:extLst>
                </p:cNvPr>
                <p:cNvSpPr/>
                <p:nvPr/>
              </p:nvSpPr>
              <p:spPr>
                <a:xfrm>
                  <a:off x="3901507" y="2227421"/>
                  <a:ext cx="18339" cy="18398"/>
                </a:xfrm>
                <a:custGeom>
                  <a:avLst/>
                  <a:gdLst>
                    <a:gd name="connsiteX0" fmla="*/ 13852 w 18339"/>
                    <a:gd name="connsiteY0" fmla="*/ 1335 h 18398"/>
                    <a:gd name="connsiteX1" fmla="*/ 1292 w 18339"/>
                    <a:gd name="connsiteY1" fmla="*/ 4445 h 18398"/>
                    <a:gd name="connsiteX2" fmla="*/ 4462 w 18339"/>
                    <a:gd name="connsiteY2" fmla="*/ 17064 h 18398"/>
                    <a:gd name="connsiteX3" fmla="*/ 17021 w 18339"/>
                    <a:gd name="connsiteY3" fmla="*/ 13954 h 18398"/>
                    <a:gd name="connsiteX4" fmla="*/ 13852 w 18339"/>
                    <a:gd name="connsiteY4" fmla="*/ 133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3852" y="1335"/>
                      </a:moveTo>
                      <a:cubicBezTo>
                        <a:pt x="9485" y="-1297"/>
                        <a:pt x="3863" y="79"/>
                        <a:pt x="1292" y="4445"/>
                      </a:cubicBezTo>
                      <a:cubicBezTo>
                        <a:pt x="-1280" y="8810"/>
                        <a:pt x="96" y="14492"/>
                        <a:pt x="4462" y="17064"/>
                      </a:cubicBezTo>
                      <a:cubicBezTo>
                        <a:pt x="8828" y="19695"/>
                        <a:pt x="14449" y="18320"/>
                        <a:pt x="17021" y="13954"/>
                      </a:cubicBezTo>
                      <a:cubicBezTo>
                        <a:pt x="19653" y="9648"/>
                        <a:pt x="18217" y="3966"/>
                        <a:pt x="13852" y="1335"/>
                      </a:cubicBezTo>
                      <a:close/>
                    </a:path>
                  </a:pathLst>
                </a:custGeom>
                <a:grpFill/>
                <a:ln w="5978" cap="flat">
                  <a:noFill/>
                  <a:prstDash val="solid"/>
                  <a:miter/>
                </a:ln>
              </p:spPr>
              <p:txBody>
                <a:bodyPr rtlCol="0" anchor="ctr"/>
                <a:lstStyle/>
                <a:p>
                  <a:endParaRPr lang="en-GB"/>
                </a:p>
              </p:txBody>
            </p:sp>
          </p:grpSp>
          <p:grpSp>
            <p:nvGrpSpPr>
              <p:cNvPr id="1026" name="Graphic 3">
                <a:extLst>
                  <a:ext uri="{FF2B5EF4-FFF2-40B4-BE49-F238E27FC236}">
                    <a16:creationId xmlns:a16="http://schemas.microsoft.com/office/drawing/2014/main" id="{E91F5811-8365-4CF5-85F1-8DAEC0A46A36}"/>
                  </a:ext>
                </a:extLst>
              </p:cNvPr>
              <p:cNvGrpSpPr/>
              <p:nvPr/>
            </p:nvGrpSpPr>
            <p:grpSpPr>
              <a:xfrm>
                <a:off x="3922934" y="2133540"/>
                <a:ext cx="507803" cy="312199"/>
                <a:chOff x="3922934" y="2133540"/>
                <a:chExt cx="507803" cy="312199"/>
              </a:xfrm>
              <a:grpFill/>
            </p:grpSpPr>
            <p:sp>
              <p:nvSpPr>
                <p:cNvPr id="2322" name="Vrije vorm: vorm 2321">
                  <a:extLst>
                    <a:ext uri="{FF2B5EF4-FFF2-40B4-BE49-F238E27FC236}">
                      <a16:creationId xmlns:a16="http://schemas.microsoft.com/office/drawing/2014/main" id="{AB565B47-6986-435B-9FE9-27F17143469B}"/>
                    </a:ext>
                  </a:extLst>
                </p:cNvPr>
                <p:cNvSpPr/>
                <p:nvPr/>
              </p:nvSpPr>
              <p:spPr>
                <a:xfrm>
                  <a:off x="3930969" y="2141198"/>
                  <a:ext cx="491794" cy="296883"/>
                </a:xfrm>
                <a:custGeom>
                  <a:avLst/>
                  <a:gdLst>
                    <a:gd name="connsiteX0" fmla="*/ 491795 w 491794"/>
                    <a:gd name="connsiteY0" fmla="*/ 294252 h 296883"/>
                    <a:gd name="connsiteX1" fmla="*/ 490240 w 491794"/>
                    <a:gd name="connsiteY1" fmla="*/ 296883 h 296883"/>
                    <a:gd name="connsiteX2" fmla="*/ 0 w 491794"/>
                    <a:gd name="connsiteY2" fmla="*/ 2632 h 296883"/>
                    <a:gd name="connsiteX3" fmla="*/ 1555 w 491794"/>
                    <a:gd name="connsiteY3" fmla="*/ 0 h 296883"/>
                  </a:gdLst>
                  <a:ahLst/>
                  <a:cxnLst>
                    <a:cxn ang="0">
                      <a:pos x="connsiteX0" y="connsiteY0"/>
                    </a:cxn>
                    <a:cxn ang="0">
                      <a:pos x="connsiteX1" y="connsiteY1"/>
                    </a:cxn>
                    <a:cxn ang="0">
                      <a:pos x="connsiteX2" y="connsiteY2"/>
                    </a:cxn>
                    <a:cxn ang="0">
                      <a:pos x="connsiteX3" y="connsiteY3"/>
                    </a:cxn>
                  </a:cxnLst>
                  <a:rect l="l" t="t" r="r" b="b"/>
                  <a:pathLst>
                    <a:path w="491794" h="296883">
                      <a:moveTo>
                        <a:pt x="491795" y="294252"/>
                      </a:moveTo>
                      <a:lnTo>
                        <a:pt x="490240" y="296883"/>
                      </a:lnTo>
                      <a:lnTo>
                        <a:pt x="0" y="2632"/>
                      </a:lnTo>
                      <a:lnTo>
                        <a:pt x="1555" y="0"/>
                      </a:lnTo>
                      <a:close/>
                    </a:path>
                  </a:pathLst>
                </a:custGeom>
                <a:grpFill/>
                <a:ln w="5978" cap="flat">
                  <a:noFill/>
                  <a:prstDash val="solid"/>
                  <a:miter/>
                </a:ln>
              </p:spPr>
              <p:txBody>
                <a:bodyPr rtlCol="0" anchor="ctr"/>
                <a:lstStyle/>
                <a:p>
                  <a:endParaRPr lang="en-GB"/>
                </a:p>
              </p:txBody>
            </p:sp>
            <p:sp>
              <p:nvSpPr>
                <p:cNvPr id="2323" name="Vrije vorm: vorm 2322">
                  <a:extLst>
                    <a:ext uri="{FF2B5EF4-FFF2-40B4-BE49-F238E27FC236}">
                      <a16:creationId xmlns:a16="http://schemas.microsoft.com/office/drawing/2014/main" id="{E979F29D-BEA1-436D-AAAE-0AE738D9F842}"/>
                    </a:ext>
                  </a:extLst>
                </p:cNvPr>
                <p:cNvSpPr/>
                <p:nvPr/>
              </p:nvSpPr>
              <p:spPr>
                <a:xfrm>
                  <a:off x="3922934" y="2133540"/>
                  <a:ext cx="18341" cy="18425"/>
                </a:xfrm>
                <a:custGeom>
                  <a:avLst/>
                  <a:gdLst>
                    <a:gd name="connsiteX0" fmla="*/ 4505 w 18341"/>
                    <a:gd name="connsiteY0" fmla="*/ 17108 h 18425"/>
                    <a:gd name="connsiteX1" fmla="*/ 1276 w 18341"/>
                    <a:gd name="connsiteY1" fmla="*/ 4488 h 18425"/>
                    <a:gd name="connsiteX2" fmla="*/ 13835 w 18341"/>
                    <a:gd name="connsiteY2" fmla="*/ 1318 h 18425"/>
                    <a:gd name="connsiteX3" fmla="*/ 17065 w 18341"/>
                    <a:gd name="connsiteY3" fmla="*/ 13938 h 18425"/>
                    <a:gd name="connsiteX4" fmla="*/ 4505 w 1834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4505" y="17108"/>
                      </a:moveTo>
                      <a:cubicBezTo>
                        <a:pt x="140" y="14476"/>
                        <a:pt x="-1296" y="8854"/>
                        <a:pt x="1276" y="4488"/>
                      </a:cubicBezTo>
                      <a:cubicBezTo>
                        <a:pt x="3848" y="122"/>
                        <a:pt x="9470" y="-1313"/>
                        <a:pt x="13835" y="1318"/>
                      </a:cubicBezTo>
                      <a:cubicBezTo>
                        <a:pt x="18202" y="3950"/>
                        <a:pt x="19637" y="9572"/>
                        <a:pt x="17065" y="13938"/>
                      </a:cubicBezTo>
                      <a:cubicBezTo>
                        <a:pt x="14493" y="18304"/>
                        <a:pt x="8872" y="19739"/>
                        <a:pt x="4505" y="17108"/>
                      </a:cubicBezTo>
                      <a:close/>
                    </a:path>
                  </a:pathLst>
                </a:custGeom>
                <a:grpFill/>
                <a:ln w="5978" cap="flat">
                  <a:noFill/>
                  <a:prstDash val="solid"/>
                  <a:miter/>
                </a:ln>
              </p:spPr>
              <p:txBody>
                <a:bodyPr rtlCol="0" anchor="ctr"/>
                <a:lstStyle/>
                <a:p>
                  <a:endParaRPr lang="en-GB"/>
                </a:p>
              </p:txBody>
            </p:sp>
            <p:sp>
              <p:nvSpPr>
                <p:cNvPr id="2324" name="Vrije vorm: vorm 2323">
                  <a:extLst>
                    <a:ext uri="{FF2B5EF4-FFF2-40B4-BE49-F238E27FC236}">
                      <a16:creationId xmlns:a16="http://schemas.microsoft.com/office/drawing/2014/main" id="{2691FCF0-B985-4472-AB8A-9D32A840DB9C}"/>
                    </a:ext>
                  </a:extLst>
                </p:cNvPr>
                <p:cNvSpPr/>
                <p:nvPr/>
              </p:nvSpPr>
              <p:spPr>
                <a:xfrm>
                  <a:off x="4412397" y="2427313"/>
                  <a:ext cx="18340" cy="18425"/>
                </a:xfrm>
                <a:custGeom>
                  <a:avLst/>
                  <a:gdLst>
                    <a:gd name="connsiteX0" fmla="*/ 4506 w 18340"/>
                    <a:gd name="connsiteY0" fmla="*/ 17108 h 18425"/>
                    <a:gd name="connsiteX1" fmla="*/ 17065 w 18340"/>
                    <a:gd name="connsiteY1" fmla="*/ 13938 h 18425"/>
                    <a:gd name="connsiteX2" fmla="*/ 13835 w 18340"/>
                    <a:gd name="connsiteY2" fmla="*/ 1318 h 18425"/>
                    <a:gd name="connsiteX3" fmla="*/ 1276 w 18340"/>
                    <a:gd name="connsiteY3" fmla="*/ 4488 h 18425"/>
                    <a:gd name="connsiteX4" fmla="*/ 4506 w 18340"/>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4506" y="17108"/>
                      </a:moveTo>
                      <a:cubicBezTo>
                        <a:pt x="8871" y="19739"/>
                        <a:pt x="14493" y="18304"/>
                        <a:pt x="17065" y="13938"/>
                      </a:cubicBezTo>
                      <a:cubicBezTo>
                        <a:pt x="19637" y="9572"/>
                        <a:pt x="18201" y="3890"/>
                        <a:pt x="13835" y="1318"/>
                      </a:cubicBezTo>
                      <a:cubicBezTo>
                        <a:pt x="9470" y="-1313"/>
                        <a:pt x="3848" y="122"/>
                        <a:pt x="1276" y="4488"/>
                      </a:cubicBezTo>
                      <a:cubicBezTo>
                        <a:pt x="-1296" y="8854"/>
                        <a:pt x="140" y="14536"/>
                        <a:pt x="4506" y="17108"/>
                      </a:cubicBezTo>
                      <a:close/>
                    </a:path>
                  </a:pathLst>
                </a:custGeom>
                <a:grpFill/>
                <a:ln w="5978" cap="flat">
                  <a:noFill/>
                  <a:prstDash val="solid"/>
                  <a:miter/>
                </a:ln>
              </p:spPr>
              <p:txBody>
                <a:bodyPr rtlCol="0" anchor="ctr"/>
                <a:lstStyle/>
                <a:p>
                  <a:endParaRPr lang="en-GB"/>
                </a:p>
              </p:txBody>
            </p:sp>
          </p:grpSp>
          <p:grpSp>
            <p:nvGrpSpPr>
              <p:cNvPr id="1027" name="Graphic 3">
                <a:extLst>
                  <a:ext uri="{FF2B5EF4-FFF2-40B4-BE49-F238E27FC236}">
                    <a16:creationId xmlns:a16="http://schemas.microsoft.com/office/drawing/2014/main" id="{01CF2F8B-EECC-431C-8DD6-E26D67DBEE41}"/>
                  </a:ext>
                </a:extLst>
              </p:cNvPr>
              <p:cNvGrpSpPr/>
              <p:nvPr/>
            </p:nvGrpSpPr>
            <p:grpSpPr>
              <a:xfrm>
                <a:off x="5278803" y="5567752"/>
                <a:ext cx="36682" cy="71311"/>
                <a:chOff x="5278803" y="5567752"/>
                <a:chExt cx="36682" cy="71311"/>
              </a:xfrm>
              <a:grpFill/>
            </p:grpSpPr>
            <p:sp>
              <p:nvSpPr>
                <p:cNvPr id="2319" name="Vrije vorm: vorm 2318">
                  <a:extLst>
                    <a:ext uri="{FF2B5EF4-FFF2-40B4-BE49-F238E27FC236}">
                      <a16:creationId xmlns:a16="http://schemas.microsoft.com/office/drawing/2014/main" id="{01C14FF9-F816-48B7-BC50-9CF7666E29BB}"/>
                    </a:ext>
                  </a:extLst>
                </p:cNvPr>
                <p:cNvSpPr/>
                <p:nvPr/>
              </p:nvSpPr>
              <p:spPr>
                <a:xfrm>
                  <a:off x="5286380" y="5575986"/>
                  <a:ext cx="21530" cy="54843"/>
                </a:xfrm>
                <a:custGeom>
                  <a:avLst/>
                  <a:gdLst>
                    <a:gd name="connsiteX0" fmla="*/ 21530 w 21530"/>
                    <a:gd name="connsiteY0" fmla="*/ 1017 h 54843"/>
                    <a:gd name="connsiteX1" fmla="*/ 2871 w 21530"/>
                    <a:gd name="connsiteY1" fmla="*/ 54843 h 54843"/>
                    <a:gd name="connsiteX2" fmla="*/ 0 w 21530"/>
                    <a:gd name="connsiteY2" fmla="*/ 53826 h 54843"/>
                    <a:gd name="connsiteX3" fmla="*/ 18660 w 21530"/>
                    <a:gd name="connsiteY3" fmla="*/ 0 h 54843"/>
                  </a:gdLst>
                  <a:ahLst/>
                  <a:cxnLst>
                    <a:cxn ang="0">
                      <a:pos x="connsiteX0" y="connsiteY0"/>
                    </a:cxn>
                    <a:cxn ang="0">
                      <a:pos x="connsiteX1" y="connsiteY1"/>
                    </a:cxn>
                    <a:cxn ang="0">
                      <a:pos x="connsiteX2" y="connsiteY2"/>
                    </a:cxn>
                    <a:cxn ang="0">
                      <a:pos x="connsiteX3" y="connsiteY3"/>
                    </a:cxn>
                  </a:cxnLst>
                  <a:rect l="l" t="t" r="r" b="b"/>
                  <a:pathLst>
                    <a:path w="21530" h="54843">
                      <a:moveTo>
                        <a:pt x="21530" y="1017"/>
                      </a:moveTo>
                      <a:lnTo>
                        <a:pt x="2871" y="54843"/>
                      </a:lnTo>
                      <a:lnTo>
                        <a:pt x="0" y="53826"/>
                      </a:lnTo>
                      <a:lnTo>
                        <a:pt x="18660" y="0"/>
                      </a:lnTo>
                      <a:close/>
                    </a:path>
                  </a:pathLst>
                </a:custGeom>
                <a:grpFill/>
                <a:ln w="5978" cap="flat">
                  <a:noFill/>
                  <a:prstDash val="solid"/>
                  <a:miter/>
                </a:ln>
              </p:spPr>
              <p:txBody>
                <a:bodyPr rtlCol="0" anchor="ctr"/>
                <a:lstStyle/>
                <a:p>
                  <a:endParaRPr lang="en-GB"/>
                </a:p>
              </p:txBody>
            </p:sp>
            <p:sp>
              <p:nvSpPr>
                <p:cNvPr id="2320" name="Vrije vorm: vorm 2319">
                  <a:extLst>
                    <a:ext uri="{FF2B5EF4-FFF2-40B4-BE49-F238E27FC236}">
                      <a16:creationId xmlns:a16="http://schemas.microsoft.com/office/drawing/2014/main" id="{FB173050-2D1C-43E6-86A1-52E85322A84E}"/>
                    </a:ext>
                  </a:extLst>
                </p:cNvPr>
                <p:cNvSpPr/>
                <p:nvPr/>
              </p:nvSpPr>
              <p:spPr>
                <a:xfrm>
                  <a:off x="5278803" y="5620682"/>
                  <a:ext cx="18321" cy="18381"/>
                </a:xfrm>
                <a:custGeom>
                  <a:avLst/>
                  <a:gdLst>
                    <a:gd name="connsiteX0" fmla="*/ 17803 w 18321"/>
                    <a:gd name="connsiteY0" fmla="*/ 12241 h 18381"/>
                    <a:gd name="connsiteX1" fmla="*/ 6141 w 18321"/>
                    <a:gd name="connsiteY1" fmla="*/ 17863 h 18381"/>
                    <a:gd name="connsiteX2" fmla="*/ 519 w 18321"/>
                    <a:gd name="connsiteY2" fmla="*/ 6141 h 18381"/>
                    <a:gd name="connsiteX3" fmla="*/ 12181 w 18321"/>
                    <a:gd name="connsiteY3" fmla="*/ 519 h 18381"/>
                    <a:gd name="connsiteX4" fmla="*/ 17803 w 18321"/>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17803" y="12241"/>
                      </a:moveTo>
                      <a:cubicBezTo>
                        <a:pt x="16129" y="17026"/>
                        <a:pt x="10925" y="19537"/>
                        <a:pt x="6141" y="17863"/>
                      </a:cubicBezTo>
                      <a:cubicBezTo>
                        <a:pt x="1356" y="16188"/>
                        <a:pt x="-1156" y="10925"/>
                        <a:pt x="519" y="6141"/>
                      </a:cubicBezTo>
                      <a:cubicBezTo>
                        <a:pt x="2193" y="1356"/>
                        <a:pt x="7397" y="-1156"/>
                        <a:pt x="12181" y="519"/>
                      </a:cubicBezTo>
                      <a:cubicBezTo>
                        <a:pt x="16966" y="2194"/>
                        <a:pt x="19478" y="7457"/>
                        <a:pt x="17803" y="12241"/>
                      </a:cubicBezTo>
                      <a:close/>
                    </a:path>
                  </a:pathLst>
                </a:custGeom>
                <a:grpFill/>
                <a:ln w="5978" cap="flat">
                  <a:noFill/>
                  <a:prstDash val="solid"/>
                  <a:miter/>
                </a:ln>
              </p:spPr>
              <p:txBody>
                <a:bodyPr rtlCol="0" anchor="ctr"/>
                <a:lstStyle/>
                <a:p>
                  <a:endParaRPr lang="en-GB"/>
                </a:p>
              </p:txBody>
            </p:sp>
            <p:sp>
              <p:nvSpPr>
                <p:cNvPr id="2321" name="Vrije vorm: vorm 2320">
                  <a:extLst>
                    <a:ext uri="{FF2B5EF4-FFF2-40B4-BE49-F238E27FC236}">
                      <a16:creationId xmlns:a16="http://schemas.microsoft.com/office/drawing/2014/main" id="{EABE8DB5-7C57-4175-9503-C342CDE31376}"/>
                    </a:ext>
                  </a:extLst>
                </p:cNvPr>
                <p:cNvSpPr/>
                <p:nvPr/>
              </p:nvSpPr>
              <p:spPr>
                <a:xfrm>
                  <a:off x="5297164" y="5567752"/>
                  <a:ext cx="18321" cy="18381"/>
                </a:xfrm>
                <a:custGeom>
                  <a:avLst/>
                  <a:gdLst>
                    <a:gd name="connsiteX0" fmla="*/ 17803 w 18321"/>
                    <a:gd name="connsiteY0" fmla="*/ 12241 h 18381"/>
                    <a:gd name="connsiteX1" fmla="*/ 12181 w 18321"/>
                    <a:gd name="connsiteY1" fmla="*/ 519 h 18381"/>
                    <a:gd name="connsiteX2" fmla="*/ 519 w 18321"/>
                    <a:gd name="connsiteY2" fmla="*/ 6141 h 18381"/>
                    <a:gd name="connsiteX3" fmla="*/ 6141 w 18321"/>
                    <a:gd name="connsiteY3" fmla="*/ 17863 h 18381"/>
                    <a:gd name="connsiteX4" fmla="*/ 17803 w 18321"/>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17803" y="12241"/>
                      </a:moveTo>
                      <a:cubicBezTo>
                        <a:pt x="19478" y="7456"/>
                        <a:pt x="16966" y="2193"/>
                        <a:pt x="12181" y="519"/>
                      </a:cubicBezTo>
                      <a:cubicBezTo>
                        <a:pt x="7397" y="-1156"/>
                        <a:pt x="2193" y="1356"/>
                        <a:pt x="519" y="6141"/>
                      </a:cubicBezTo>
                      <a:cubicBezTo>
                        <a:pt x="-1156" y="10925"/>
                        <a:pt x="1356" y="16188"/>
                        <a:pt x="6141" y="17863"/>
                      </a:cubicBezTo>
                      <a:cubicBezTo>
                        <a:pt x="10925" y="19538"/>
                        <a:pt x="16129" y="17026"/>
                        <a:pt x="17803" y="12241"/>
                      </a:cubicBezTo>
                      <a:close/>
                    </a:path>
                  </a:pathLst>
                </a:custGeom>
                <a:grpFill/>
                <a:ln w="5978" cap="flat">
                  <a:noFill/>
                  <a:prstDash val="solid"/>
                  <a:miter/>
                </a:ln>
              </p:spPr>
              <p:txBody>
                <a:bodyPr rtlCol="0" anchor="ctr"/>
                <a:lstStyle/>
                <a:p>
                  <a:endParaRPr lang="en-GB"/>
                </a:p>
              </p:txBody>
            </p:sp>
          </p:grpSp>
          <p:grpSp>
            <p:nvGrpSpPr>
              <p:cNvPr id="1028" name="Graphic 3">
                <a:extLst>
                  <a:ext uri="{FF2B5EF4-FFF2-40B4-BE49-F238E27FC236}">
                    <a16:creationId xmlns:a16="http://schemas.microsoft.com/office/drawing/2014/main" id="{BB090648-5953-4F63-A7AB-6633E73D64B5}"/>
                  </a:ext>
                </a:extLst>
              </p:cNvPr>
              <p:cNvGrpSpPr/>
              <p:nvPr/>
            </p:nvGrpSpPr>
            <p:grpSpPr>
              <a:xfrm>
                <a:off x="5288444" y="5608763"/>
                <a:ext cx="58369" cy="141438"/>
                <a:chOff x="5288444" y="5608763"/>
                <a:chExt cx="58369" cy="141438"/>
              </a:xfrm>
              <a:grpFill/>
            </p:grpSpPr>
            <p:sp>
              <p:nvSpPr>
                <p:cNvPr id="2316" name="Vrije vorm: vorm 2315">
                  <a:extLst>
                    <a:ext uri="{FF2B5EF4-FFF2-40B4-BE49-F238E27FC236}">
                      <a16:creationId xmlns:a16="http://schemas.microsoft.com/office/drawing/2014/main" id="{06FF24F4-900E-4B6E-84D4-4BDE0DD3DBCA}"/>
                    </a:ext>
                  </a:extLst>
                </p:cNvPr>
                <p:cNvSpPr/>
                <p:nvPr/>
              </p:nvSpPr>
              <p:spPr>
                <a:xfrm>
                  <a:off x="5296009" y="5617074"/>
                  <a:ext cx="43240" cy="124757"/>
                </a:xfrm>
                <a:custGeom>
                  <a:avLst/>
                  <a:gdLst>
                    <a:gd name="connsiteX0" fmla="*/ 43241 w 43240"/>
                    <a:gd name="connsiteY0" fmla="*/ 957 h 124757"/>
                    <a:gd name="connsiteX1" fmla="*/ 2871 w 43240"/>
                    <a:gd name="connsiteY1" fmla="*/ 124758 h 124757"/>
                    <a:gd name="connsiteX2" fmla="*/ 0 w 43240"/>
                    <a:gd name="connsiteY2" fmla="*/ 123801 h 124757"/>
                    <a:gd name="connsiteX3" fmla="*/ 40370 w 43240"/>
                    <a:gd name="connsiteY3" fmla="*/ 0 h 124757"/>
                  </a:gdLst>
                  <a:ahLst/>
                  <a:cxnLst>
                    <a:cxn ang="0">
                      <a:pos x="connsiteX0" y="connsiteY0"/>
                    </a:cxn>
                    <a:cxn ang="0">
                      <a:pos x="connsiteX1" y="connsiteY1"/>
                    </a:cxn>
                    <a:cxn ang="0">
                      <a:pos x="connsiteX2" y="connsiteY2"/>
                    </a:cxn>
                    <a:cxn ang="0">
                      <a:pos x="connsiteX3" y="connsiteY3"/>
                    </a:cxn>
                  </a:cxnLst>
                  <a:rect l="l" t="t" r="r" b="b"/>
                  <a:pathLst>
                    <a:path w="43240" h="124757">
                      <a:moveTo>
                        <a:pt x="43241" y="957"/>
                      </a:moveTo>
                      <a:lnTo>
                        <a:pt x="2871" y="124758"/>
                      </a:lnTo>
                      <a:lnTo>
                        <a:pt x="0" y="123801"/>
                      </a:lnTo>
                      <a:lnTo>
                        <a:pt x="40370" y="0"/>
                      </a:lnTo>
                      <a:close/>
                    </a:path>
                  </a:pathLst>
                </a:custGeom>
                <a:grpFill/>
                <a:ln w="5978" cap="flat">
                  <a:noFill/>
                  <a:prstDash val="solid"/>
                  <a:miter/>
                </a:ln>
              </p:spPr>
              <p:txBody>
                <a:bodyPr rtlCol="0" anchor="ctr"/>
                <a:lstStyle/>
                <a:p>
                  <a:endParaRPr lang="en-GB"/>
                </a:p>
              </p:txBody>
            </p:sp>
            <p:sp>
              <p:nvSpPr>
                <p:cNvPr id="2317" name="Vrije vorm: vorm 2316">
                  <a:extLst>
                    <a:ext uri="{FF2B5EF4-FFF2-40B4-BE49-F238E27FC236}">
                      <a16:creationId xmlns:a16="http://schemas.microsoft.com/office/drawing/2014/main" id="{03AB07E4-194C-4E14-BF87-63D0EB99A920}"/>
                    </a:ext>
                  </a:extLst>
                </p:cNvPr>
                <p:cNvSpPr/>
                <p:nvPr/>
              </p:nvSpPr>
              <p:spPr>
                <a:xfrm>
                  <a:off x="5288444" y="5731750"/>
                  <a:ext cx="18298" cy="18451"/>
                </a:xfrm>
                <a:custGeom>
                  <a:avLst/>
                  <a:gdLst>
                    <a:gd name="connsiteX0" fmla="*/ 17851 w 18298"/>
                    <a:gd name="connsiteY0" fmla="*/ 12115 h 18451"/>
                    <a:gd name="connsiteX1" fmla="*/ 6308 w 18298"/>
                    <a:gd name="connsiteY1" fmla="*/ 17976 h 18451"/>
                    <a:gd name="connsiteX2" fmla="*/ 447 w 18298"/>
                    <a:gd name="connsiteY2" fmla="*/ 6314 h 18451"/>
                    <a:gd name="connsiteX3" fmla="*/ 11990 w 18298"/>
                    <a:gd name="connsiteY3" fmla="*/ 453 h 18451"/>
                    <a:gd name="connsiteX4" fmla="*/ 17851 w 18298"/>
                    <a:gd name="connsiteY4" fmla="*/ 12115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1">
                      <a:moveTo>
                        <a:pt x="17851" y="12115"/>
                      </a:moveTo>
                      <a:cubicBezTo>
                        <a:pt x="16296" y="16960"/>
                        <a:pt x="11093" y="19591"/>
                        <a:pt x="6308" y="17976"/>
                      </a:cubicBezTo>
                      <a:cubicBezTo>
                        <a:pt x="1524" y="16362"/>
                        <a:pt x="-1108" y="11158"/>
                        <a:pt x="447" y="6314"/>
                      </a:cubicBezTo>
                      <a:cubicBezTo>
                        <a:pt x="2002" y="1469"/>
                        <a:pt x="7205" y="-1102"/>
                        <a:pt x="11990" y="453"/>
                      </a:cubicBezTo>
                      <a:cubicBezTo>
                        <a:pt x="16774" y="2068"/>
                        <a:pt x="19406" y="7271"/>
                        <a:pt x="17851" y="12115"/>
                      </a:cubicBezTo>
                      <a:close/>
                    </a:path>
                  </a:pathLst>
                </a:custGeom>
                <a:grpFill/>
                <a:ln w="5978" cap="flat">
                  <a:noFill/>
                  <a:prstDash val="solid"/>
                  <a:miter/>
                </a:ln>
              </p:spPr>
              <p:txBody>
                <a:bodyPr rtlCol="0" anchor="ctr"/>
                <a:lstStyle/>
                <a:p>
                  <a:endParaRPr lang="en-GB"/>
                </a:p>
              </p:txBody>
            </p:sp>
            <p:sp>
              <p:nvSpPr>
                <p:cNvPr id="2318" name="Vrije vorm: vorm 2317">
                  <a:extLst>
                    <a:ext uri="{FF2B5EF4-FFF2-40B4-BE49-F238E27FC236}">
                      <a16:creationId xmlns:a16="http://schemas.microsoft.com/office/drawing/2014/main" id="{4B1D8F7F-3C14-497C-9FBB-B30917E957F1}"/>
                    </a:ext>
                  </a:extLst>
                </p:cNvPr>
                <p:cNvSpPr/>
                <p:nvPr/>
              </p:nvSpPr>
              <p:spPr>
                <a:xfrm>
                  <a:off x="5328515" y="5608763"/>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8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4" y="2091"/>
                        <a:pt x="11990" y="476"/>
                      </a:cubicBezTo>
                      <a:cubicBezTo>
                        <a:pt x="7205" y="-1139"/>
                        <a:pt x="2002" y="1492"/>
                        <a:pt x="447" y="6337"/>
                      </a:cubicBezTo>
                      <a:cubicBezTo>
                        <a:pt x="-1108" y="11181"/>
                        <a:pt x="1524" y="16385"/>
                        <a:pt x="6308" y="17999"/>
                      </a:cubicBezTo>
                      <a:cubicBezTo>
                        <a:pt x="11093" y="19614"/>
                        <a:pt x="16296" y="16982"/>
                        <a:pt x="17851" y="12138"/>
                      </a:cubicBezTo>
                      <a:close/>
                    </a:path>
                  </a:pathLst>
                </a:custGeom>
                <a:grpFill/>
                <a:ln w="5978" cap="flat">
                  <a:noFill/>
                  <a:prstDash val="solid"/>
                  <a:miter/>
                </a:ln>
              </p:spPr>
              <p:txBody>
                <a:bodyPr rtlCol="0" anchor="ctr"/>
                <a:lstStyle/>
                <a:p>
                  <a:endParaRPr lang="en-GB"/>
                </a:p>
              </p:txBody>
            </p:sp>
          </p:grpSp>
          <p:grpSp>
            <p:nvGrpSpPr>
              <p:cNvPr id="1029" name="Graphic 3">
                <a:extLst>
                  <a:ext uri="{FF2B5EF4-FFF2-40B4-BE49-F238E27FC236}">
                    <a16:creationId xmlns:a16="http://schemas.microsoft.com/office/drawing/2014/main" id="{43189C2F-DD16-4A00-A0D6-C0B1AB8378CC}"/>
                  </a:ext>
                </a:extLst>
              </p:cNvPr>
              <p:cNvGrpSpPr/>
              <p:nvPr/>
            </p:nvGrpSpPr>
            <p:grpSpPr>
              <a:xfrm>
                <a:off x="3814486" y="2124673"/>
                <a:ext cx="772990" cy="487870"/>
                <a:chOff x="3814486" y="2124673"/>
                <a:chExt cx="772990" cy="487870"/>
              </a:xfrm>
              <a:grpFill/>
            </p:grpSpPr>
            <p:sp>
              <p:nvSpPr>
                <p:cNvPr id="2313" name="Vrije vorm: vorm 2312">
                  <a:extLst>
                    <a:ext uri="{FF2B5EF4-FFF2-40B4-BE49-F238E27FC236}">
                      <a16:creationId xmlns:a16="http://schemas.microsoft.com/office/drawing/2014/main" id="{188DC1FB-2299-469C-B744-0B4050C4F451}"/>
                    </a:ext>
                  </a:extLst>
                </p:cNvPr>
                <p:cNvSpPr/>
                <p:nvPr/>
              </p:nvSpPr>
              <p:spPr>
                <a:xfrm>
                  <a:off x="3822478" y="2132407"/>
                  <a:ext cx="757039" cy="472417"/>
                </a:xfrm>
                <a:custGeom>
                  <a:avLst/>
                  <a:gdLst>
                    <a:gd name="connsiteX0" fmla="*/ 757040 w 757039"/>
                    <a:gd name="connsiteY0" fmla="*/ 469845 h 472417"/>
                    <a:gd name="connsiteX1" fmla="*/ 755425 w 757039"/>
                    <a:gd name="connsiteY1" fmla="*/ 472417 h 472417"/>
                    <a:gd name="connsiteX2" fmla="*/ 0 w 757039"/>
                    <a:gd name="connsiteY2" fmla="*/ 2572 h 472417"/>
                    <a:gd name="connsiteX3" fmla="*/ 1615 w 757039"/>
                    <a:gd name="connsiteY3" fmla="*/ 0 h 472417"/>
                  </a:gdLst>
                  <a:ahLst/>
                  <a:cxnLst>
                    <a:cxn ang="0">
                      <a:pos x="connsiteX0" y="connsiteY0"/>
                    </a:cxn>
                    <a:cxn ang="0">
                      <a:pos x="connsiteX1" y="connsiteY1"/>
                    </a:cxn>
                    <a:cxn ang="0">
                      <a:pos x="connsiteX2" y="connsiteY2"/>
                    </a:cxn>
                    <a:cxn ang="0">
                      <a:pos x="connsiteX3" y="connsiteY3"/>
                    </a:cxn>
                  </a:cxnLst>
                  <a:rect l="l" t="t" r="r" b="b"/>
                  <a:pathLst>
                    <a:path w="757039" h="472417">
                      <a:moveTo>
                        <a:pt x="757040" y="469845"/>
                      </a:moveTo>
                      <a:lnTo>
                        <a:pt x="755425" y="472417"/>
                      </a:lnTo>
                      <a:lnTo>
                        <a:pt x="0" y="2572"/>
                      </a:lnTo>
                      <a:lnTo>
                        <a:pt x="1615" y="0"/>
                      </a:lnTo>
                      <a:close/>
                    </a:path>
                  </a:pathLst>
                </a:custGeom>
                <a:grpFill/>
                <a:ln w="5978" cap="flat">
                  <a:noFill/>
                  <a:prstDash val="solid"/>
                  <a:miter/>
                </a:ln>
              </p:spPr>
              <p:txBody>
                <a:bodyPr rtlCol="0" anchor="ctr"/>
                <a:lstStyle/>
                <a:p>
                  <a:endParaRPr lang="en-GB"/>
                </a:p>
              </p:txBody>
            </p:sp>
            <p:sp>
              <p:nvSpPr>
                <p:cNvPr id="2314" name="Vrije vorm: vorm 2313">
                  <a:extLst>
                    <a:ext uri="{FF2B5EF4-FFF2-40B4-BE49-F238E27FC236}">
                      <a16:creationId xmlns:a16="http://schemas.microsoft.com/office/drawing/2014/main" id="{BA560678-319E-4574-901A-74F8159A6749}"/>
                    </a:ext>
                  </a:extLst>
                </p:cNvPr>
                <p:cNvSpPr/>
                <p:nvPr/>
              </p:nvSpPr>
              <p:spPr>
                <a:xfrm>
                  <a:off x="4569107" y="2594099"/>
                  <a:ext cx="18369" cy="18443"/>
                </a:xfrm>
                <a:custGeom>
                  <a:avLst/>
                  <a:gdLst>
                    <a:gd name="connsiteX0" fmla="*/ 13999 w 18369"/>
                    <a:gd name="connsiteY0" fmla="*/ 1394 h 18443"/>
                    <a:gd name="connsiteX1" fmla="*/ 16990 w 18369"/>
                    <a:gd name="connsiteY1" fmla="*/ 14074 h 18443"/>
                    <a:gd name="connsiteX2" fmla="*/ 4370 w 18369"/>
                    <a:gd name="connsiteY2" fmla="*/ 17064 h 18443"/>
                    <a:gd name="connsiteX3" fmla="*/ 1380 w 18369"/>
                    <a:gd name="connsiteY3" fmla="*/ 4385 h 18443"/>
                    <a:gd name="connsiteX4" fmla="*/ 13999 w 18369"/>
                    <a:gd name="connsiteY4" fmla="*/ 139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3">
                      <a:moveTo>
                        <a:pt x="13999" y="1394"/>
                      </a:moveTo>
                      <a:cubicBezTo>
                        <a:pt x="18306" y="4086"/>
                        <a:pt x="19681" y="9767"/>
                        <a:pt x="16990" y="14074"/>
                      </a:cubicBezTo>
                      <a:cubicBezTo>
                        <a:pt x="14358" y="18380"/>
                        <a:pt x="8676" y="19755"/>
                        <a:pt x="4370" y="17064"/>
                      </a:cubicBezTo>
                      <a:cubicBezTo>
                        <a:pt x="64" y="14372"/>
                        <a:pt x="-1311" y="8691"/>
                        <a:pt x="1380" y="4385"/>
                      </a:cubicBezTo>
                      <a:cubicBezTo>
                        <a:pt x="4071" y="19"/>
                        <a:pt x="9693" y="-1297"/>
                        <a:pt x="13999" y="1394"/>
                      </a:cubicBezTo>
                      <a:close/>
                    </a:path>
                  </a:pathLst>
                </a:custGeom>
                <a:grpFill/>
                <a:ln w="5978" cap="flat">
                  <a:noFill/>
                  <a:prstDash val="solid"/>
                  <a:miter/>
                </a:ln>
              </p:spPr>
              <p:txBody>
                <a:bodyPr rtlCol="0" anchor="ctr"/>
                <a:lstStyle/>
                <a:p>
                  <a:endParaRPr lang="en-GB"/>
                </a:p>
              </p:txBody>
            </p:sp>
            <p:sp>
              <p:nvSpPr>
                <p:cNvPr id="2315" name="Vrije vorm: vorm 2314">
                  <a:extLst>
                    <a:ext uri="{FF2B5EF4-FFF2-40B4-BE49-F238E27FC236}">
                      <a16:creationId xmlns:a16="http://schemas.microsoft.com/office/drawing/2014/main" id="{7496620E-3220-4697-AC4E-52CA2E7FB886}"/>
                    </a:ext>
                  </a:extLst>
                </p:cNvPr>
                <p:cNvSpPr/>
                <p:nvPr/>
              </p:nvSpPr>
              <p:spPr>
                <a:xfrm>
                  <a:off x="3814486" y="2124673"/>
                  <a:ext cx="18343" cy="18458"/>
                </a:xfrm>
                <a:custGeom>
                  <a:avLst/>
                  <a:gdLst>
                    <a:gd name="connsiteX0" fmla="*/ 13973 w 18343"/>
                    <a:gd name="connsiteY0" fmla="*/ 1394 h 18458"/>
                    <a:gd name="connsiteX1" fmla="*/ 1354 w 18343"/>
                    <a:gd name="connsiteY1" fmla="*/ 4385 h 18458"/>
                    <a:gd name="connsiteX2" fmla="*/ 4344 w 18343"/>
                    <a:gd name="connsiteY2" fmla="*/ 17064 h 18458"/>
                    <a:gd name="connsiteX3" fmla="*/ 16963 w 18343"/>
                    <a:gd name="connsiteY3" fmla="*/ 14073 h 18458"/>
                    <a:gd name="connsiteX4" fmla="*/ 13973 w 18343"/>
                    <a:gd name="connsiteY4" fmla="*/ 139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3973" y="1394"/>
                      </a:moveTo>
                      <a:cubicBezTo>
                        <a:pt x="9667" y="-1297"/>
                        <a:pt x="4045" y="19"/>
                        <a:pt x="1354" y="4385"/>
                      </a:cubicBezTo>
                      <a:cubicBezTo>
                        <a:pt x="-1278" y="8691"/>
                        <a:pt x="38" y="14372"/>
                        <a:pt x="4344" y="17064"/>
                      </a:cubicBezTo>
                      <a:cubicBezTo>
                        <a:pt x="8650" y="19755"/>
                        <a:pt x="14272" y="18439"/>
                        <a:pt x="16963" y="14073"/>
                      </a:cubicBezTo>
                      <a:cubicBezTo>
                        <a:pt x="19655" y="9708"/>
                        <a:pt x="18279" y="4086"/>
                        <a:pt x="13973" y="1394"/>
                      </a:cubicBezTo>
                      <a:close/>
                    </a:path>
                  </a:pathLst>
                </a:custGeom>
                <a:grpFill/>
                <a:ln w="5978" cap="flat">
                  <a:noFill/>
                  <a:prstDash val="solid"/>
                  <a:miter/>
                </a:ln>
              </p:spPr>
              <p:txBody>
                <a:bodyPr rtlCol="0" anchor="ctr"/>
                <a:lstStyle/>
                <a:p>
                  <a:endParaRPr lang="en-GB"/>
                </a:p>
              </p:txBody>
            </p:sp>
          </p:grpSp>
          <p:grpSp>
            <p:nvGrpSpPr>
              <p:cNvPr id="1030" name="Graphic 3">
                <a:extLst>
                  <a:ext uri="{FF2B5EF4-FFF2-40B4-BE49-F238E27FC236}">
                    <a16:creationId xmlns:a16="http://schemas.microsoft.com/office/drawing/2014/main" id="{FF8CE5D8-0262-493A-8150-A14A9B3F4D92}"/>
                  </a:ext>
                </a:extLst>
              </p:cNvPr>
              <p:cNvGrpSpPr/>
              <p:nvPr/>
            </p:nvGrpSpPr>
            <p:grpSpPr>
              <a:xfrm>
                <a:off x="5205800" y="5412662"/>
                <a:ext cx="121333" cy="298486"/>
                <a:chOff x="5205800" y="5412662"/>
                <a:chExt cx="121333" cy="298486"/>
              </a:xfrm>
              <a:grpFill/>
            </p:grpSpPr>
            <p:sp>
              <p:nvSpPr>
                <p:cNvPr id="2310" name="Vrije vorm: vorm 2309">
                  <a:extLst>
                    <a:ext uri="{FF2B5EF4-FFF2-40B4-BE49-F238E27FC236}">
                      <a16:creationId xmlns:a16="http://schemas.microsoft.com/office/drawing/2014/main" id="{37AE58E2-B153-44B5-802A-34683D2EEEC2}"/>
                    </a:ext>
                  </a:extLst>
                </p:cNvPr>
                <p:cNvSpPr/>
                <p:nvPr/>
              </p:nvSpPr>
              <p:spPr>
                <a:xfrm>
                  <a:off x="5213415" y="5420906"/>
                  <a:ext cx="106157" cy="281991"/>
                </a:xfrm>
                <a:custGeom>
                  <a:avLst/>
                  <a:gdLst>
                    <a:gd name="connsiteX0" fmla="*/ 106158 w 106157"/>
                    <a:gd name="connsiteY0" fmla="*/ 1076 h 281991"/>
                    <a:gd name="connsiteX1" fmla="*/ 2871 w 106157"/>
                    <a:gd name="connsiteY1" fmla="*/ 281991 h 281991"/>
                    <a:gd name="connsiteX2" fmla="*/ 0 w 106157"/>
                    <a:gd name="connsiteY2" fmla="*/ 280914 h 281991"/>
                    <a:gd name="connsiteX3" fmla="*/ 103287 w 106157"/>
                    <a:gd name="connsiteY3" fmla="*/ 0 h 281991"/>
                  </a:gdLst>
                  <a:ahLst/>
                  <a:cxnLst>
                    <a:cxn ang="0">
                      <a:pos x="connsiteX0" y="connsiteY0"/>
                    </a:cxn>
                    <a:cxn ang="0">
                      <a:pos x="connsiteX1" y="connsiteY1"/>
                    </a:cxn>
                    <a:cxn ang="0">
                      <a:pos x="connsiteX2" y="connsiteY2"/>
                    </a:cxn>
                    <a:cxn ang="0">
                      <a:pos x="connsiteX3" y="connsiteY3"/>
                    </a:cxn>
                  </a:cxnLst>
                  <a:rect l="l" t="t" r="r" b="b"/>
                  <a:pathLst>
                    <a:path w="106157" h="281991">
                      <a:moveTo>
                        <a:pt x="106158" y="1076"/>
                      </a:moveTo>
                      <a:lnTo>
                        <a:pt x="2871" y="281991"/>
                      </a:lnTo>
                      <a:lnTo>
                        <a:pt x="0" y="280914"/>
                      </a:lnTo>
                      <a:lnTo>
                        <a:pt x="103287" y="0"/>
                      </a:lnTo>
                      <a:close/>
                    </a:path>
                  </a:pathLst>
                </a:custGeom>
                <a:grpFill/>
                <a:ln w="5978" cap="flat">
                  <a:noFill/>
                  <a:prstDash val="solid"/>
                  <a:miter/>
                </a:ln>
              </p:spPr>
              <p:txBody>
                <a:bodyPr rtlCol="0" anchor="ctr"/>
                <a:lstStyle/>
                <a:p>
                  <a:endParaRPr lang="en-GB"/>
                </a:p>
              </p:txBody>
            </p:sp>
            <p:sp>
              <p:nvSpPr>
                <p:cNvPr id="2311" name="Vrije vorm: vorm 2310">
                  <a:extLst>
                    <a:ext uri="{FF2B5EF4-FFF2-40B4-BE49-F238E27FC236}">
                      <a16:creationId xmlns:a16="http://schemas.microsoft.com/office/drawing/2014/main" id="{75031803-90A6-4D84-AEA4-64AC8E8F80B8}"/>
                    </a:ext>
                  </a:extLst>
                </p:cNvPr>
                <p:cNvSpPr/>
                <p:nvPr/>
              </p:nvSpPr>
              <p:spPr>
                <a:xfrm>
                  <a:off x="5205800" y="5692732"/>
                  <a:ext cx="18345" cy="18415"/>
                </a:xfrm>
                <a:custGeom>
                  <a:avLst/>
                  <a:gdLst>
                    <a:gd name="connsiteX0" fmla="*/ 17782 w 18345"/>
                    <a:gd name="connsiteY0" fmla="*/ 12438 h 18415"/>
                    <a:gd name="connsiteX1" fmla="*/ 6000 w 18345"/>
                    <a:gd name="connsiteY1" fmla="*/ 17820 h 18415"/>
                    <a:gd name="connsiteX2" fmla="*/ 557 w 18345"/>
                    <a:gd name="connsiteY2" fmla="*/ 5978 h 18415"/>
                    <a:gd name="connsiteX3" fmla="*/ 12339 w 18345"/>
                    <a:gd name="connsiteY3" fmla="*/ 596 h 18415"/>
                    <a:gd name="connsiteX4" fmla="*/ 17782 w 18345"/>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15">
                      <a:moveTo>
                        <a:pt x="17782" y="12438"/>
                      </a:moveTo>
                      <a:cubicBezTo>
                        <a:pt x="16047" y="17222"/>
                        <a:pt x="10784" y="19614"/>
                        <a:pt x="6000" y="17820"/>
                      </a:cubicBezTo>
                      <a:cubicBezTo>
                        <a:pt x="1275" y="16026"/>
                        <a:pt x="-1177" y="10703"/>
                        <a:pt x="557" y="5978"/>
                      </a:cubicBezTo>
                      <a:cubicBezTo>
                        <a:pt x="2291" y="1194"/>
                        <a:pt x="7555" y="-1198"/>
                        <a:pt x="12339" y="596"/>
                      </a:cubicBezTo>
                      <a:cubicBezTo>
                        <a:pt x="17124" y="2390"/>
                        <a:pt x="19516" y="7653"/>
                        <a:pt x="17782" y="12438"/>
                      </a:cubicBezTo>
                      <a:close/>
                    </a:path>
                  </a:pathLst>
                </a:custGeom>
                <a:grpFill/>
                <a:ln w="5978" cap="flat">
                  <a:noFill/>
                  <a:prstDash val="solid"/>
                  <a:miter/>
                </a:ln>
              </p:spPr>
              <p:txBody>
                <a:bodyPr rtlCol="0" anchor="ctr"/>
                <a:lstStyle/>
                <a:p>
                  <a:endParaRPr lang="en-GB"/>
                </a:p>
              </p:txBody>
            </p:sp>
            <p:sp>
              <p:nvSpPr>
                <p:cNvPr id="2312" name="Vrije vorm: vorm 2311">
                  <a:extLst>
                    <a:ext uri="{FF2B5EF4-FFF2-40B4-BE49-F238E27FC236}">
                      <a16:creationId xmlns:a16="http://schemas.microsoft.com/office/drawing/2014/main" id="{DBC74A3A-75CF-41EE-BC68-8C1C14199E53}"/>
                    </a:ext>
                  </a:extLst>
                </p:cNvPr>
                <p:cNvSpPr/>
                <p:nvPr/>
              </p:nvSpPr>
              <p:spPr>
                <a:xfrm>
                  <a:off x="5308782" y="5412662"/>
                  <a:ext cx="18352" cy="18409"/>
                </a:xfrm>
                <a:custGeom>
                  <a:avLst/>
                  <a:gdLst>
                    <a:gd name="connsiteX0" fmla="*/ 17788 w 18352"/>
                    <a:gd name="connsiteY0" fmla="*/ 12431 h 18409"/>
                    <a:gd name="connsiteX1" fmla="*/ 12346 w 18352"/>
                    <a:gd name="connsiteY1" fmla="*/ 589 h 18409"/>
                    <a:gd name="connsiteX2" fmla="*/ 564 w 18352"/>
                    <a:gd name="connsiteY2" fmla="*/ 5971 h 18409"/>
                    <a:gd name="connsiteX3" fmla="*/ 6007 w 18352"/>
                    <a:gd name="connsiteY3" fmla="*/ 17813 h 18409"/>
                    <a:gd name="connsiteX4" fmla="*/ 17788 w 18352"/>
                    <a:gd name="connsiteY4" fmla="*/ 12431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9">
                      <a:moveTo>
                        <a:pt x="17788" y="12431"/>
                      </a:moveTo>
                      <a:cubicBezTo>
                        <a:pt x="19523" y="7646"/>
                        <a:pt x="17131" y="2383"/>
                        <a:pt x="12346" y="589"/>
                      </a:cubicBezTo>
                      <a:cubicBezTo>
                        <a:pt x="7621" y="-1205"/>
                        <a:pt x="2358" y="1247"/>
                        <a:pt x="564" y="5971"/>
                      </a:cubicBezTo>
                      <a:cubicBezTo>
                        <a:pt x="-1170" y="10756"/>
                        <a:pt x="1222" y="16019"/>
                        <a:pt x="6007" y="17813"/>
                      </a:cubicBezTo>
                      <a:cubicBezTo>
                        <a:pt x="10791" y="19608"/>
                        <a:pt x="16054" y="17215"/>
                        <a:pt x="17788" y="12431"/>
                      </a:cubicBezTo>
                      <a:close/>
                    </a:path>
                  </a:pathLst>
                </a:custGeom>
                <a:grpFill/>
                <a:ln w="5978" cap="flat">
                  <a:noFill/>
                  <a:prstDash val="solid"/>
                  <a:miter/>
                </a:ln>
              </p:spPr>
              <p:txBody>
                <a:bodyPr rtlCol="0" anchor="ctr"/>
                <a:lstStyle/>
                <a:p>
                  <a:endParaRPr lang="en-GB"/>
                </a:p>
              </p:txBody>
            </p:sp>
          </p:grpSp>
          <p:grpSp>
            <p:nvGrpSpPr>
              <p:cNvPr id="1031" name="Graphic 3">
                <a:extLst>
                  <a:ext uri="{FF2B5EF4-FFF2-40B4-BE49-F238E27FC236}">
                    <a16:creationId xmlns:a16="http://schemas.microsoft.com/office/drawing/2014/main" id="{920B8FC1-FB16-4E41-BC8E-5B0AF5FC2DF0}"/>
                  </a:ext>
                </a:extLst>
              </p:cNvPr>
              <p:cNvGrpSpPr/>
              <p:nvPr/>
            </p:nvGrpSpPr>
            <p:grpSpPr>
              <a:xfrm>
                <a:off x="4964854" y="4873624"/>
                <a:ext cx="295091" cy="441529"/>
                <a:chOff x="4964854" y="4873624"/>
                <a:chExt cx="295091" cy="441529"/>
              </a:xfrm>
              <a:grpFill/>
            </p:grpSpPr>
            <p:sp>
              <p:nvSpPr>
                <p:cNvPr id="2307" name="Vrije vorm: vorm 2306">
                  <a:extLst>
                    <a:ext uri="{FF2B5EF4-FFF2-40B4-BE49-F238E27FC236}">
                      <a16:creationId xmlns:a16="http://schemas.microsoft.com/office/drawing/2014/main" id="{B3C752ED-F995-4876-BD13-72FEC111F93A}"/>
                    </a:ext>
                  </a:extLst>
                </p:cNvPr>
                <p:cNvSpPr/>
                <p:nvPr/>
              </p:nvSpPr>
              <p:spPr>
                <a:xfrm>
                  <a:off x="4972452" y="4881625"/>
                  <a:ext cx="279897" cy="425587"/>
                </a:xfrm>
                <a:custGeom>
                  <a:avLst/>
                  <a:gdLst>
                    <a:gd name="connsiteX0" fmla="*/ 279898 w 279897"/>
                    <a:gd name="connsiteY0" fmla="*/ 1674 h 425587"/>
                    <a:gd name="connsiteX1" fmla="*/ 2572 w 279897"/>
                    <a:gd name="connsiteY1" fmla="*/ 425588 h 425587"/>
                    <a:gd name="connsiteX2" fmla="*/ 0 w 279897"/>
                    <a:gd name="connsiteY2" fmla="*/ 423914 h 425587"/>
                    <a:gd name="connsiteX3" fmla="*/ 277326 w 279897"/>
                    <a:gd name="connsiteY3" fmla="*/ 0 h 425587"/>
                  </a:gdLst>
                  <a:ahLst/>
                  <a:cxnLst>
                    <a:cxn ang="0">
                      <a:pos x="connsiteX0" y="connsiteY0"/>
                    </a:cxn>
                    <a:cxn ang="0">
                      <a:pos x="connsiteX1" y="connsiteY1"/>
                    </a:cxn>
                    <a:cxn ang="0">
                      <a:pos x="connsiteX2" y="connsiteY2"/>
                    </a:cxn>
                    <a:cxn ang="0">
                      <a:pos x="connsiteX3" y="connsiteY3"/>
                    </a:cxn>
                  </a:cxnLst>
                  <a:rect l="l" t="t" r="r" b="b"/>
                  <a:pathLst>
                    <a:path w="279897" h="425587">
                      <a:moveTo>
                        <a:pt x="279898" y="1674"/>
                      </a:moveTo>
                      <a:lnTo>
                        <a:pt x="2572" y="425588"/>
                      </a:lnTo>
                      <a:lnTo>
                        <a:pt x="0" y="423914"/>
                      </a:lnTo>
                      <a:lnTo>
                        <a:pt x="277326" y="0"/>
                      </a:lnTo>
                      <a:close/>
                    </a:path>
                  </a:pathLst>
                </a:custGeom>
                <a:grpFill/>
                <a:ln w="5978" cap="flat">
                  <a:noFill/>
                  <a:prstDash val="solid"/>
                  <a:miter/>
                </a:ln>
              </p:spPr>
              <p:txBody>
                <a:bodyPr rtlCol="0" anchor="ctr"/>
                <a:lstStyle/>
                <a:p>
                  <a:endParaRPr lang="en-GB"/>
                </a:p>
              </p:txBody>
            </p:sp>
            <p:sp>
              <p:nvSpPr>
                <p:cNvPr id="2308" name="Vrije vorm: vorm 2307">
                  <a:extLst>
                    <a:ext uri="{FF2B5EF4-FFF2-40B4-BE49-F238E27FC236}">
                      <a16:creationId xmlns:a16="http://schemas.microsoft.com/office/drawing/2014/main" id="{C927B34C-3235-48A9-B618-497680B2BC90}"/>
                    </a:ext>
                  </a:extLst>
                </p:cNvPr>
                <p:cNvSpPr/>
                <p:nvPr/>
              </p:nvSpPr>
              <p:spPr>
                <a:xfrm>
                  <a:off x="5241658" y="4873624"/>
                  <a:ext cx="18288" cy="18393"/>
                </a:xfrm>
                <a:custGeom>
                  <a:avLst/>
                  <a:gdLst>
                    <a:gd name="connsiteX0" fmla="*/ 1481 w 18288"/>
                    <a:gd name="connsiteY0" fmla="*/ 4113 h 18393"/>
                    <a:gd name="connsiteX1" fmla="*/ 14161 w 18288"/>
                    <a:gd name="connsiteY1" fmla="*/ 1541 h 18393"/>
                    <a:gd name="connsiteX2" fmla="*/ 16792 w 18288"/>
                    <a:gd name="connsiteY2" fmla="*/ 14280 h 18393"/>
                    <a:gd name="connsiteX3" fmla="*/ 4113 w 18288"/>
                    <a:gd name="connsiteY3" fmla="*/ 16852 h 18393"/>
                    <a:gd name="connsiteX4" fmla="*/ 1481 w 18288"/>
                    <a:gd name="connsiteY4" fmla="*/ 4113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93">
                      <a:moveTo>
                        <a:pt x="1481" y="4113"/>
                      </a:moveTo>
                      <a:cubicBezTo>
                        <a:pt x="4232" y="-133"/>
                        <a:pt x="9914" y="-1269"/>
                        <a:pt x="14161" y="1541"/>
                      </a:cubicBezTo>
                      <a:cubicBezTo>
                        <a:pt x="18407" y="4352"/>
                        <a:pt x="19543" y="10094"/>
                        <a:pt x="16792" y="14280"/>
                      </a:cubicBezTo>
                      <a:cubicBezTo>
                        <a:pt x="14041" y="18527"/>
                        <a:pt x="8359" y="19663"/>
                        <a:pt x="4113" y="16852"/>
                      </a:cubicBezTo>
                      <a:cubicBezTo>
                        <a:pt x="-73" y="14101"/>
                        <a:pt x="-1270" y="8359"/>
                        <a:pt x="1481" y="4113"/>
                      </a:cubicBezTo>
                      <a:close/>
                    </a:path>
                  </a:pathLst>
                </a:custGeom>
                <a:grpFill/>
                <a:ln w="5978" cap="flat">
                  <a:noFill/>
                  <a:prstDash val="solid"/>
                  <a:miter/>
                </a:ln>
              </p:spPr>
              <p:txBody>
                <a:bodyPr rtlCol="0" anchor="ctr"/>
                <a:lstStyle/>
                <a:p>
                  <a:endParaRPr lang="en-GB"/>
                </a:p>
              </p:txBody>
            </p:sp>
            <p:sp>
              <p:nvSpPr>
                <p:cNvPr id="2309" name="Vrije vorm: vorm 2308">
                  <a:extLst>
                    <a:ext uri="{FF2B5EF4-FFF2-40B4-BE49-F238E27FC236}">
                      <a16:creationId xmlns:a16="http://schemas.microsoft.com/office/drawing/2014/main" id="{E84DC110-F4A4-440C-8BDE-287EAFF1B5B6}"/>
                    </a:ext>
                  </a:extLst>
                </p:cNvPr>
                <p:cNvSpPr/>
                <p:nvPr/>
              </p:nvSpPr>
              <p:spPr>
                <a:xfrm>
                  <a:off x="4964854" y="5296760"/>
                  <a:ext cx="18304" cy="18393"/>
                </a:xfrm>
                <a:custGeom>
                  <a:avLst/>
                  <a:gdLst>
                    <a:gd name="connsiteX0" fmla="*/ 1497 w 18304"/>
                    <a:gd name="connsiteY0" fmla="*/ 4113 h 18393"/>
                    <a:gd name="connsiteX1" fmla="*/ 4128 w 18304"/>
                    <a:gd name="connsiteY1" fmla="*/ 16852 h 18393"/>
                    <a:gd name="connsiteX2" fmla="*/ 16807 w 18304"/>
                    <a:gd name="connsiteY2" fmla="*/ 14280 h 18393"/>
                    <a:gd name="connsiteX3" fmla="*/ 14176 w 18304"/>
                    <a:gd name="connsiteY3" fmla="*/ 1541 h 18393"/>
                    <a:gd name="connsiteX4" fmla="*/ 1497 w 18304"/>
                    <a:gd name="connsiteY4" fmla="*/ 4113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393">
                      <a:moveTo>
                        <a:pt x="1497" y="4113"/>
                      </a:moveTo>
                      <a:cubicBezTo>
                        <a:pt x="-1255" y="8359"/>
                        <a:pt x="-118" y="14101"/>
                        <a:pt x="4128" y="16852"/>
                      </a:cubicBezTo>
                      <a:cubicBezTo>
                        <a:pt x="8375" y="19663"/>
                        <a:pt x="14056" y="18527"/>
                        <a:pt x="16807" y="14280"/>
                      </a:cubicBezTo>
                      <a:cubicBezTo>
                        <a:pt x="19559" y="10034"/>
                        <a:pt x="18422" y="4293"/>
                        <a:pt x="14176" y="1541"/>
                      </a:cubicBezTo>
                      <a:cubicBezTo>
                        <a:pt x="9929" y="-1269"/>
                        <a:pt x="4248" y="-133"/>
                        <a:pt x="1497" y="4113"/>
                      </a:cubicBezTo>
                      <a:close/>
                    </a:path>
                  </a:pathLst>
                </a:custGeom>
                <a:grpFill/>
                <a:ln w="5978" cap="flat">
                  <a:noFill/>
                  <a:prstDash val="solid"/>
                  <a:miter/>
                </a:ln>
              </p:spPr>
              <p:txBody>
                <a:bodyPr rtlCol="0" anchor="ctr"/>
                <a:lstStyle/>
                <a:p>
                  <a:endParaRPr lang="en-GB"/>
                </a:p>
              </p:txBody>
            </p:sp>
          </p:grpSp>
          <p:grpSp>
            <p:nvGrpSpPr>
              <p:cNvPr id="1032" name="Graphic 3">
                <a:extLst>
                  <a:ext uri="{FF2B5EF4-FFF2-40B4-BE49-F238E27FC236}">
                    <a16:creationId xmlns:a16="http://schemas.microsoft.com/office/drawing/2014/main" id="{50C8A7EA-5011-437D-9020-E196672440E6}"/>
                  </a:ext>
                </a:extLst>
              </p:cNvPr>
              <p:cNvGrpSpPr/>
              <p:nvPr/>
            </p:nvGrpSpPr>
            <p:grpSpPr>
              <a:xfrm>
                <a:off x="5181548" y="5318278"/>
                <a:ext cx="56470" cy="106514"/>
                <a:chOff x="5181548" y="5318278"/>
                <a:chExt cx="56470" cy="106514"/>
              </a:xfrm>
              <a:grpFill/>
            </p:grpSpPr>
            <p:sp>
              <p:nvSpPr>
                <p:cNvPr id="2304" name="Vrije vorm: vorm 2303">
                  <a:extLst>
                    <a:ext uri="{FF2B5EF4-FFF2-40B4-BE49-F238E27FC236}">
                      <a16:creationId xmlns:a16="http://schemas.microsoft.com/office/drawing/2014/main" id="{FEBA7870-329D-423D-93B0-F5241E8400C8}"/>
                    </a:ext>
                  </a:extLst>
                </p:cNvPr>
                <p:cNvSpPr/>
                <p:nvPr/>
              </p:nvSpPr>
              <p:spPr>
                <a:xfrm>
                  <a:off x="5189133" y="5326471"/>
                  <a:ext cx="41267" cy="90129"/>
                </a:xfrm>
                <a:custGeom>
                  <a:avLst/>
                  <a:gdLst>
                    <a:gd name="connsiteX0" fmla="*/ 41267 w 41267"/>
                    <a:gd name="connsiteY0" fmla="*/ 1256 h 90129"/>
                    <a:gd name="connsiteX1" fmla="*/ 2811 w 41267"/>
                    <a:gd name="connsiteY1" fmla="*/ 90130 h 90129"/>
                    <a:gd name="connsiteX2" fmla="*/ 0 w 41267"/>
                    <a:gd name="connsiteY2" fmla="*/ 88873 h 90129"/>
                    <a:gd name="connsiteX3" fmla="*/ 38456 w 41267"/>
                    <a:gd name="connsiteY3" fmla="*/ 0 h 90129"/>
                  </a:gdLst>
                  <a:ahLst/>
                  <a:cxnLst>
                    <a:cxn ang="0">
                      <a:pos x="connsiteX0" y="connsiteY0"/>
                    </a:cxn>
                    <a:cxn ang="0">
                      <a:pos x="connsiteX1" y="connsiteY1"/>
                    </a:cxn>
                    <a:cxn ang="0">
                      <a:pos x="connsiteX2" y="connsiteY2"/>
                    </a:cxn>
                    <a:cxn ang="0">
                      <a:pos x="connsiteX3" y="connsiteY3"/>
                    </a:cxn>
                  </a:cxnLst>
                  <a:rect l="l" t="t" r="r" b="b"/>
                  <a:pathLst>
                    <a:path w="41267" h="90129">
                      <a:moveTo>
                        <a:pt x="41267" y="1256"/>
                      </a:moveTo>
                      <a:lnTo>
                        <a:pt x="2811" y="90130"/>
                      </a:lnTo>
                      <a:lnTo>
                        <a:pt x="0" y="88873"/>
                      </a:lnTo>
                      <a:lnTo>
                        <a:pt x="38456" y="0"/>
                      </a:lnTo>
                      <a:close/>
                    </a:path>
                  </a:pathLst>
                </a:custGeom>
                <a:grpFill/>
                <a:ln w="5978" cap="flat">
                  <a:noFill/>
                  <a:prstDash val="solid"/>
                  <a:miter/>
                </a:ln>
              </p:spPr>
              <p:txBody>
                <a:bodyPr rtlCol="0" anchor="ctr"/>
                <a:lstStyle/>
                <a:p>
                  <a:endParaRPr lang="en-GB"/>
                </a:p>
              </p:txBody>
            </p:sp>
            <p:sp>
              <p:nvSpPr>
                <p:cNvPr id="2305" name="Vrije vorm: vorm 2304">
                  <a:extLst>
                    <a:ext uri="{FF2B5EF4-FFF2-40B4-BE49-F238E27FC236}">
                      <a16:creationId xmlns:a16="http://schemas.microsoft.com/office/drawing/2014/main" id="{F540AB7C-AE0C-4F58-8530-0814B09E9BA5}"/>
                    </a:ext>
                  </a:extLst>
                </p:cNvPr>
                <p:cNvSpPr/>
                <p:nvPr/>
              </p:nvSpPr>
              <p:spPr>
                <a:xfrm>
                  <a:off x="5219646" y="5318278"/>
                  <a:ext cx="18373" cy="18418"/>
                </a:xfrm>
                <a:custGeom>
                  <a:avLst/>
                  <a:gdLst>
                    <a:gd name="connsiteX0" fmla="*/ 767 w 18373"/>
                    <a:gd name="connsiteY0" fmla="*/ 5501 h 18418"/>
                    <a:gd name="connsiteX1" fmla="*/ 12848 w 18373"/>
                    <a:gd name="connsiteY1" fmla="*/ 776 h 18418"/>
                    <a:gd name="connsiteX2" fmla="*/ 17632 w 18373"/>
                    <a:gd name="connsiteY2" fmla="*/ 12917 h 18418"/>
                    <a:gd name="connsiteX3" fmla="*/ 5551 w 18373"/>
                    <a:gd name="connsiteY3" fmla="*/ 17642 h 18418"/>
                    <a:gd name="connsiteX4" fmla="*/ 767 w 18373"/>
                    <a:gd name="connsiteY4" fmla="*/ 550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18">
                      <a:moveTo>
                        <a:pt x="767" y="5501"/>
                      </a:moveTo>
                      <a:cubicBezTo>
                        <a:pt x="2800" y="836"/>
                        <a:pt x="8183" y="-1257"/>
                        <a:pt x="12848" y="776"/>
                      </a:cubicBezTo>
                      <a:cubicBezTo>
                        <a:pt x="17513" y="2810"/>
                        <a:pt x="19606" y="8252"/>
                        <a:pt x="17632" y="12917"/>
                      </a:cubicBezTo>
                      <a:cubicBezTo>
                        <a:pt x="15599" y="17583"/>
                        <a:pt x="10216" y="19676"/>
                        <a:pt x="5551" y="17642"/>
                      </a:cubicBezTo>
                      <a:cubicBezTo>
                        <a:pt x="886" y="15609"/>
                        <a:pt x="-1267" y="10166"/>
                        <a:pt x="767" y="5501"/>
                      </a:cubicBezTo>
                      <a:close/>
                    </a:path>
                  </a:pathLst>
                </a:custGeom>
                <a:grpFill/>
                <a:ln w="5978" cap="flat">
                  <a:noFill/>
                  <a:prstDash val="solid"/>
                  <a:miter/>
                </a:ln>
              </p:spPr>
              <p:txBody>
                <a:bodyPr rtlCol="0" anchor="ctr"/>
                <a:lstStyle/>
                <a:p>
                  <a:endParaRPr lang="en-GB"/>
                </a:p>
              </p:txBody>
            </p:sp>
            <p:sp>
              <p:nvSpPr>
                <p:cNvPr id="2306" name="Vrije vorm: vorm 2305">
                  <a:extLst>
                    <a:ext uri="{FF2B5EF4-FFF2-40B4-BE49-F238E27FC236}">
                      <a16:creationId xmlns:a16="http://schemas.microsoft.com/office/drawing/2014/main" id="{6B3CE68A-D4CA-4917-B40B-E8EB3F1DF26E}"/>
                    </a:ext>
                  </a:extLst>
                </p:cNvPr>
                <p:cNvSpPr/>
                <p:nvPr/>
              </p:nvSpPr>
              <p:spPr>
                <a:xfrm>
                  <a:off x="5181548" y="5406348"/>
                  <a:ext cx="18398" cy="18444"/>
                </a:xfrm>
                <a:custGeom>
                  <a:avLst/>
                  <a:gdLst>
                    <a:gd name="connsiteX0" fmla="*/ 767 w 18398"/>
                    <a:gd name="connsiteY0" fmla="*/ 5527 h 18444"/>
                    <a:gd name="connsiteX1" fmla="*/ 5551 w 18398"/>
                    <a:gd name="connsiteY1" fmla="*/ 17668 h 18444"/>
                    <a:gd name="connsiteX2" fmla="*/ 17632 w 18398"/>
                    <a:gd name="connsiteY2" fmla="*/ 12943 h 18444"/>
                    <a:gd name="connsiteX3" fmla="*/ 12848 w 18398"/>
                    <a:gd name="connsiteY3" fmla="*/ 802 h 18444"/>
                    <a:gd name="connsiteX4" fmla="*/ 767 w 18398"/>
                    <a:gd name="connsiteY4" fmla="*/ 5527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444">
                      <a:moveTo>
                        <a:pt x="767" y="5527"/>
                      </a:moveTo>
                      <a:cubicBezTo>
                        <a:pt x="-1267" y="10192"/>
                        <a:pt x="886" y="15634"/>
                        <a:pt x="5551" y="17668"/>
                      </a:cubicBezTo>
                      <a:cubicBezTo>
                        <a:pt x="10216" y="19701"/>
                        <a:pt x="15599" y="17608"/>
                        <a:pt x="17632" y="12943"/>
                      </a:cubicBezTo>
                      <a:cubicBezTo>
                        <a:pt x="19666" y="8278"/>
                        <a:pt x="17513" y="2835"/>
                        <a:pt x="12848" y="802"/>
                      </a:cubicBezTo>
                      <a:cubicBezTo>
                        <a:pt x="8183" y="-1291"/>
                        <a:pt x="2800" y="862"/>
                        <a:pt x="767" y="5527"/>
                      </a:cubicBezTo>
                      <a:close/>
                    </a:path>
                  </a:pathLst>
                </a:custGeom>
                <a:grpFill/>
                <a:ln w="5978" cap="flat">
                  <a:noFill/>
                  <a:prstDash val="solid"/>
                  <a:miter/>
                </a:ln>
              </p:spPr>
              <p:txBody>
                <a:bodyPr rtlCol="0" anchor="ctr"/>
                <a:lstStyle/>
                <a:p>
                  <a:endParaRPr lang="en-GB"/>
                </a:p>
              </p:txBody>
            </p:sp>
          </p:grpSp>
          <p:grpSp>
            <p:nvGrpSpPr>
              <p:cNvPr id="1033" name="Graphic 3">
                <a:extLst>
                  <a:ext uri="{FF2B5EF4-FFF2-40B4-BE49-F238E27FC236}">
                    <a16:creationId xmlns:a16="http://schemas.microsoft.com/office/drawing/2014/main" id="{F29763EB-EE0E-4065-A396-4E6CF05878C6}"/>
                  </a:ext>
                </a:extLst>
              </p:cNvPr>
              <p:cNvGrpSpPr/>
              <p:nvPr/>
            </p:nvGrpSpPr>
            <p:grpSpPr>
              <a:xfrm>
                <a:off x="4180703" y="2425621"/>
                <a:ext cx="47945" cy="33977"/>
                <a:chOff x="4180703" y="2425621"/>
                <a:chExt cx="47945" cy="33977"/>
              </a:xfrm>
              <a:grpFill/>
            </p:grpSpPr>
            <p:sp>
              <p:nvSpPr>
                <p:cNvPr id="2301" name="Vrije vorm: vorm 2300">
                  <a:extLst>
                    <a:ext uri="{FF2B5EF4-FFF2-40B4-BE49-F238E27FC236}">
                      <a16:creationId xmlns:a16="http://schemas.microsoft.com/office/drawing/2014/main" id="{41D71269-7B11-4126-92CA-70D7541D9C33}"/>
                    </a:ext>
                  </a:extLst>
                </p:cNvPr>
                <p:cNvSpPr/>
                <p:nvPr/>
              </p:nvSpPr>
              <p:spPr>
                <a:xfrm>
                  <a:off x="4188737" y="2433237"/>
                  <a:ext cx="31877" cy="18719"/>
                </a:xfrm>
                <a:custGeom>
                  <a:avLst/>
                  <a:gdLst>
                    <a:gd name="connsiteX0" fmla="*/ 31877 w 31877"/>
                    <a:gd name="connsiteY0" fmla="*/ 16028 h 18719"/>
                    <a:gd name="connsiteX1" fmla="*/ 30442 w 31877"/>
                    <a:gd name="connsiteY1" fmla="*/ 18720 h 18719"/>
                    <a:gd name="connsiteX2" fmla="*/ 0 w 31877"/>
                    <a:gd name="connsiteY2" fmla="*/ 2691 h 18719"/>
                    <a:gd name="connsiteX3" fmla="*/ 1435 w 31877"/>
                    <a:gd name="connsiteY3" fmla="*/ 0 h 18719"/>
                  </a:gdLst>
                  <a:ahLst/>
                  <a:cxnLst>
                    <a:cxn ang="0">
                      <a:pos x="connsiteX0" y="connsiteY0"/>
                    </a:cxn>
                    <a:cxn ang="0">
                      <a:pos x="connsiteX1" y="connsiteY1"/>
                    </a:cxn>
                    <a:cxn ang="0">
                      <a:pos x="connsiteX2" y="connsiteY2"/>
                    </a:cxn>
                    <a:cxn ang="0">
                      <a:pos x="connsiteX3" y="connsiteY3"/>
                    </a:cxn>
                  </a:cxnLst>
                  <a:rect l="l" t="t" r="r" b="b"/>
                  <a:pathLst>
                    <a:path w="31877" h="18719">
                      <a:moveTo>
                        <a:pt x="31877" y="16028"/>
                      </a:moveTo>
                      <a:lnTo>
                        <a:pt x="30442" y="18720"/>
                      </a:lnTo>
                      <a:lnTo>
                        <a:pt x="0" y="2691"/>
                      </a:lnTo>
                      <a:lnTo>
                        <a:pt x="1435" y="0"/>
                      </a:lnTo>
                      <a:close/>
                    </a:path>
                  </a:pathLst>
                </a:custGeom>
                <a:grpFill/>
                <a:ln w="5978" cap="flat">
                  <a:noFill/>
                  <a:prstDash val="solid"/>
                  <a:miter/>
                </a:ln>
              </p:spPr>
              <p:txBody>
                <a:bodyPr rtlCol="0" anchor="ctr"/>
                <a:lstStyle/>
                <a:p>
                  <a:endParaRPr lang="en-GB"/>
                </a:p>
              </p:txBody>
            </p:sp>
            <p:sp>
              <p:nvSpPr>
                <p:cNvPr id="2302" name="Vrije vorm: vorm 2301">
                  <a:extLst>
                    <a:ext uri="{FF2B5EF4-FFF2-40B4-BE49-F238E27FC236}">
                      <a16:creationId xmlns:a16="http://schemas.microsoft.com/office/drawing/2014/main" id="{667C47F2-2658-424F-A792-797527C308CA}"/>
                    </a:ext>
                  </a:extLst>
                </p:cNvPr>
                <p:cNvSpPr/>
                <p:nvPr/>
              </p:nvSpPr>
              <p:spPr>
                <a:xfrm>
                  <a:off x="4180703" y="2425621"/>
                  <a:ext cx="18340" cy="18400"/>
                </a:xfrm>
                <a:custGeom>
                  <a:avLst/>
                  <a:gdLst>
                    <a:gd name="connsiteX0" fmla="*/ 4924 w 18340"/>
                    <a:gd name="connsiteY0" fmla="*/ 17364 h 18400"/>
                    <a:gd name="connsiteX1" fmla="*/ 1037 w 18340"/>
                    <a:gd name="connsiteY1" fmla="*/ 4924 h 18400"/>
                    <a:gd name="connsiteX2" fmla="*/ 13417 w 18340"/>
                    <a:gd name="connsiteY2" fmla="*/ 1037 h 18400"/>
                    <a:gd name="connsiteX3" fmla="*/ 17304 w 18340"/>
                    <a:gd name="connsiteY3" fmla="*/ 13477 h 18400"/>
                    <a:gd name="connsiteX4" fmla="*/ 4924 w 18340"/>
                    <a:gd name="connsiteY4" fmla="*/ 1736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0">
                      <a:moveTo>
                        <a:pt x="4924" y="17364"/>
                      </a:moveTo>
                      <a:cubicBezTo>
                        <a:pt x="439" y="14972"/>
                        <a:pt x="-1296" y="9410"/>
                        <a:pt x="1037" y="4924"/>
                      </a:cubicBezTo>
                      <a:cubicBezTo>
                        <a:pt x="3369" y="439"/>
                        <a:pt x="8931" y="-1296"/>
                        <a:pt x="13417" y="1037"/>
                      </a:cubicBezTo>
                      <a:cubicBezTo>
                        <a:pt x="17902" y="3429"/>
                        <a:pt x="19637" y="8991"/>
                        <a:pt x="17304" y="13477"/>
                      </a:cubicBezTo>
                      <a:cubicBezTo>
                        <a:pt x="14972" y="17962"/>
                        <a:pt x="9410" y="19697"/>
                        <a:pt x="4924" y="17364"/>
                      </a:cubicBezTo>
                      <a:close/>
                    </a:path>
                  </a:pathLst>
                </a:custGeom>
                <a:grpFill/>
                <a:ln w="5978" cap="flat">
                  <a:noFill/>
                  <a:prstDash val="solid"/>
                  <a:miter/>
                </a:ln>
              </p:spPr>
              <p:txBody>
                <a:bodyPr rtlCol="0" anchor="ctr"/>
                <a:lstStyle/>
                <a:p>
                  <a:endParaRPr lang="en-GB"/>
                </a:p>
              </p:txBody>
            </p:sp>
            <p:sp>
              <p:nvSpPr>
                <p:cNvPr id="2303" name="Vrije vorm: vorm 2302">
                  <a:extLst>
                    <a:ext uri="{FF2B5EF4-FFF2-40B4-BE49-F238E27FC236}">
                      <a16:creationId xmlns:a16="http://schemas.microsoft.com/office/drawing/2014/main" id="{EDC28786-D002-40B3-A44F-2E6CB9922F0B}"/>
                    </a:ext>
                  </a:extLst>
                </p:cNvPr>
                <p:cNvSpPr/>
                <p:nvPr/>
              </p:nvSpPr>
              <p:spPr>
                <a:xfrm>
                  <a:off x="4210308" y="2441133"/>
                  <a:ext cx="18341" cy="18465"/>
                </a:xfrm>
                <a:custGeom>
                  <a:avLst/>
                  <a:gdLst>
                    <a:gd name="connsiteX0" fmla="*/ 4924 w 18341"/>
                    <a:gd name="connsiteY0" fmla="*/ 17402 h 18465"/>
                    <a:gd name="connsiteX1" fmla="*/ 17304 w 18341"/>
                    <a:gd name="connsiteY1" fmla="*/ 13515 h 18465"/>
                    <a:gd name="connsiteX2" fmla="*/ 13417 w 18341"/>
                    <a:gd name="connsiteY2" fmla="*/ 1075 h 18465"/>
                    <a:gd name="connsiteX3" fmla="*/ 1037 w 18341"/>
                    <a:gd name="connsiteY3" fmla="*/ 4962 h 18465"/>
                    <a:gd name="connsiteX4" fmla="*/ 4924 w 18341"/>
                    <a:gd name="connsiteY4" fmla="*/ 1740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65">
                      <a:moveTo>
                        <a:pt x="4924" y="17402"/>
                      </a:moveTo>
                      <a:cubicBezTo>
                        <a:pt x="9410" y="19794"/>
                        <a:pt x="14972" y="18000"/>
                        <a:pt x="17304" y="13515"/>
                      </a:cubicBezTo>
                      <a:cubicBezTo>
                        <a:pt x="19637" y="9029"/>
                        <a:pt x="17902" y="3467"/>
                        <a:pt x="13417" y="1075"/>
                      </a:cubicBezTo>
                      <a:cubicBezTo>
                        <a:pt x="8931" y="-1318"/>
                        <a:pt x="3369" y="417"/>
                        <a:pt x="1037" y="4962"/>
                      </a:cubicBezTo>
                      <a:cubicBezTo>
                        <a:pt x="-1296" y="9507"/>
                        <a:pt x="439" y="15070"/>
                        <a:pt x="4924" y="17402"/>
                      </a:cubicBezTo>
                      <a:close/>
                    </a:path>
                  </a:pathLst>
                </a:custGeom>
                <a:grpFill/>
                <a:ln w="5978" cap="flat">
                  <a:noFill/>
                  <a:prstDash val="solid"/>
                  <a:miter/>
                </a:ln>
              </p:spPr>
              <p:txBody>
                <a:bodyPr rtlCol="0" anchor="ctr"/>
                <a:lstStyle/>
                <a:p>
                  <a:endParaRPr lang="en-GB"/>
                </a:p>
              </p:txBody>
            </p:sp>
          </p:grpSp>
          <p:grpSp>
            <p:nvGrpSpPr>
              <p:cNvPr id="1034" name="Graphic 3">
                <a:extLst>
                  <a:ext uri="{FF2B5EF4-FFF2-40B4-BE49-F238E27FC236}">
                    <a16:creationId xmlns:a16="http://schemas.microsoft.com/office/drawing/2014/main" id="{D50BBBAC-7EA8-4B08-B07C-779529BCBC8A}"/>
                  </a:ext>
                </a:extLst>
              </p:cNvPr>
              <p:cNvGrpSpPr/>
              <p:nvPr/>
            </p:nvGrpSpPr>
            <p:grpSpPr>
              <a:xfrm>
                <a:off x="4217292" y="2770336"/>
                <a:ext cx="235744" cy="94203"/>
                <a:chOff x="4217292" y="2770336"/>
                <a:chExt cx="235744" cy="94203"/>
              </a:xfrm>
              <a:grpFill/>
            </p:grpSpPr>
            <p:sp>
              <p:nvSpPr>
                <p:cNvPr id="2298" name="Vrije vorm: vorm 2297">
                  <a:extLst>
                    <a:ext uri="{FF2B5EF4-FFF2-40B4-BE49-F238E27FC236}">
                      <a16:creationId xmlns:a16="http://schemas.microsoft.com/office/drawing/2014/main" id="{61EF8B82-2E15-48B0-B827-47B7FEC16B17}"/>
                    </a:ext>
                  </a:extLst>
                </p:cNvPr>
                <p:cNvSpPr/>
                <p:nvPr/>
              </p:nvSpPr>
              <p:spPr>
                <a:xfrm>
                  <a:off x="4225519" y="2777906"/>
                  <a:ext cx="219253" cy="79005"/>
                </a:xfrm>
                <a:custGeom>
                  <a:avLst/>
                  <a:gdLst>
                    <a:gd name="connsiteX0" fmla="*/ 219253 w 219253"/>
                    <a:gd name="connsiteY0" fmla="*/ 76135 h 79005"/>
                    <a:gd name="connsiteX1" fmla="*/ 218237 w 219253"/>
                    <a:gd name="connsiteY1" fmla="*/ 79005 h 79005"/>
                    <a:gd name="connsiteX2" fmla="*/ 0 w 219253"/>
                    <a:gd name="connsiteY2" fmla="*/ 2931 h 79005"/>
                    <a:gd name="connsiteX3" fmla="*/ 957 w 219253"/>
                    <a:gd name="connsiteY3" fmla="*/ 0 h 79005"/>
                  </a:gdLst>
                  <a:ahLst/>
                  <a:cxnLst>
                    <a:cxn ang="0">
                      <a:pos x="connsiteX0" y="connsiteY0"/>
                    </a:cxn>
                    <a:cxn ang="0">
                      <a:pos x="connsiteX1" y="connsiteY1"/>
                    </a:cxn>
                    <a:cxn ang="0">
                      <a:pos x="connsiteX2" y="connsiteY2"/>
                    </a:cxn>
                    <a:cxn ang="0">
                      <a:pos x="connsiteX3" y="connsiteY3"/>
                    </a:cxn>
                  </a:cxnLst>
                  <a:rect l="l" t="t" r="r" b="b"/>
                  <a:pathLst>
                    <a:path w="219253" h="79005">
                      <a:moveTo>
                        <a:pt x="219253" y="76135"/>
                      </a:moveTo>
                      <a:lnTo>
                        <a:pt x="218237" y="79005"/>
                      </a:lnTo>
                      <a:lnTo>
                        <a:pt x="0" y="2931"/>
                      </a:lnTo>
                      <a:lnTo>
                        <a:pt x="957" y="0"/>
                      </a:lnTo>
                      <a:close/>
                    </a:path>
                  </a:pathLst>
                </a:custGeom>
                <a:grpFill/>
                <a:ln w="5978" cap="flat">
                  <a:noFill/>
                  <a:prstDash val="solid"/>
                  <a:miter/>
                </a:ln>
              </p:spPr>
              <p:txBody>
                <a:bodyPr rtlCol="0" anchor="ctr"/>
                <a:lstStyle/>
                <a:p>
                  <a:endParaRPr lang="en-GB"/>
                </a:p>
              </p:txBody>
            </p:sp>
            <p:sp>
              <p:nvSpPr>
                <p:cNvPr id="2299" name="Vrije vorm: vorm 2298">
                  <a:extLst>
                    <a:ext uri="{FF2B5EF4-FFF2-40B4-BE49-F238E27FC236}">
                      <a16:creationId xmlns:a16="http://schemas.microsoft.com/office/drawing/2014/main" id="{B12AC878-9E1B-4A09-835B-AFF615CCEA9E}"/>
                    </a:ext>
                  </a:extLst>
                </p:cNvPr>
                <p:cNvSpPr/>
                <p:nvPr/>
              </p:nvSpPr>
              <p:spPr>
                <a:xfrm>
                  <a:off x="4217292" y="2770336"/>
                  <a:ext cx="18368" cy="18428"/>
                </a:xfrm>
                <a:custGeom>
                  <a:avLst/>
                  <a:gdLst>
                    <a:gd name="connsiteX0" fmla="*/ 6194 w 18368"/>
                    <a:gd name="connsiteY0" fmla="*/ 17916 h 18428"/>
                    <a:gd name="connsiteX1" fmla="*/ 512 w 18368"/>
                    <a:gd name="connsiteY1" fmla="*/ 6194 h 18428"/>
                    <a:gd name="connsiteX2" fmla="*/ 12174 w 18368"/>
                    <a:gd name="connsiteY2" fmla="*/ 512 h 18428"/>
                    <a:gd name="connsiteX3" fmla="*/ 17856 w 18368"/>
                    <a:gd name="connsiteY3" fmla="*/ 12234 h 18428"/>
                    <a:gd name="connsiteX4" fmla="*/ 6194 w 18368"/>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6194" y="17916"/>
                      </a:moveTo>
                      <a:cubicBezTo>
                        <a:pt x="1409" y="16241"/>
                        <a:pt x="-1163" y="10978"/>
                        <a:pt x="512" y="6194"/>
                      </a:cubicBezTo>
                      <a:cubicBezTo>
                        <a:pt x="2127" y="1409"/>
                        <a:pt x="7390" y="-1162"/>
                        <a:pt x="12174" y="512"/>
                      </a:cubicBezTo>
                      <a:cubicBezTo>
                        <a:pt x="16959" y="2187"/>
                        <a:pt x="19531" y="7450"/>
                        <a:pt x="17856" y="12234"/>
                      </a:cubicBezTo>
                      <a:cubicBezTo>
                        <a:pt x="16182" y="17019"/>
                        <a:pt x="10978" y="19591"/>
                        <a:pt x="6194" y="17916"/>
                      </a:cubicBezTo>
                      <a:close/>
                    </a:path>
                  </a:pathLst>
                </a:custGeom>
                <a:grpFill/>
                <a:ln w="5978" cap="flat">
                  <a:noFill/>
                  <a:prstDash val="solid"/>
                  <a:miter/>
                </a:ln>
              </p:spPr>
              <p:txBody>
                <a:bodyPr rtlCol="0" anchor="ctr"/>
                <a:lstStyle/>
                <a:p>
                  <a:endParaRPr lang="en-GB"/>
                </a:p>
              </p:txBody>
            </p:sp>
            <p:sp>
              <p:nvSpPr>
                <p:cNvPr id="2300" name="Vrije vorm: vorm 2299">
                  <a:extLst>
                    <a:ext uri="{FF2B5EF4-FFF2-40B4-BE49-F238E27FC236}">
                      <a16:creationId xmlns:a16="http://schemas.microsoft.com/office/drawing/2014/main" id="{28A89A08-DD37-4055-93F7-63A2AC6A5131}"/>
                    </a:ext>
                  </a:extLst>
                </p:cNvPr>
                <p:cNvSpPr/>
                <p:nvPr/>
              </p:nvSpPr>
              <p:spPr>
                <a:xfrm>
                  <a:off x="4434691" y="2846112"/>
                  <a:ext cx="18345" cy="18428"/>
                </a:xfrm>
                <a:custGeom>
                  <a:avLst/>
                  <a:gdLst>
                    <a:gd name="connsiteX0" fmla="*/ 6194 w 18345"/>
                    <a:gd name="connsiteY0" fmla="*/ 17916 h 18428"/>
                    <a:gd name="connsiteX1" fmla="*/ 17856 w 18345"/>
                    <a:gd name="connsiteY1" fmla="*/ 12234 h 18428"/>
                    <a:gd name="connsiteX2" fmla="*/ 12175 w 18345"/>
                    <a:gd name="connsiteY2" fmla="*/ 512 h 18428"/>
                    <a:gd name="connsiteX3" fmla="*/ 512 w 18345"/>
                    <a:gd name="connsiteY3" fmla="*/ 6194 h 18428"/>
                    <a:gd name="connsiteX4" fmla="*/ 6194 w 18345"/>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8">
                      <a:moveTo>
                        <a:pt x="6194" y="17916"/>
                      </a:moveTo>
                      <a:cubicBezTo>
                        <a:pt x="10978" y="19591"/>
                        <a:pt x="16182" y="17019"/>
                        <a:pt x="17856" y="12234"/>
                      </a:cubicBezTo>
                      <a:cubicBezTo>
                        <a:pt x="19471" y="7450"/>
                        <a:pt x="16959" y="2187"/>
                        <a:pt x="12175" y="512"/>
                      </a:cubicBezTo>
                      <a:cubicBezTo>
                        <a:pt x="7390" y="-1162"/>
                        <a:pt x="2187" y="1409"/>
                        <a:pt x="512" y="6194"/>
                      </a:cubicBezTo>
                      <a:cubicBezTo>
                        <a:pt x="-1163" y="10978"/>
                        <a:pt x="1409" y="16241"/>
                        <a:pt x="6194" y="17916"/>
                      </a:cubicBezTo>
                      <a:close/>
                    </a:path>
                  </a:pathLst>
                </a:custGeom>
                <a:grpFill/>
                <a:ln w="5978" cap="flat">
                  <a:noFill/>
                  <a:prstDash val="solid"/>
                  <a:miter/>
                </a:ln>
              </p:spPr>
              <p:txBody>
                <a:bodyPr rtlCol="0" anchor="ctr"/>
                <a:lstStyle/>
                <a:p>
                  <a:endParaRPr lang="en-GB"/>
                </a:p>
              </p:txBody>
            </p:sp>
          </p:grpSp>
          <p:grpSp>
            <p:nvGrpSpPr>
              <p:cNvPr id="1035" name="Graphic 3">
                <a:extLst>
                  <a:ext uri="{FF2B5EF4-FFF2-40B4-BE49-F238E27FC236}">
                    <a16:creationId xmlns:a16="http://schemas.microsoft.com/office/drawing/2014/main" id="{E3152B2D-A7A3-41A4-8EA9-59B0870AC87A}"/>
                  </a:ext>
                </a:extLst>
              </p:cNvPr>
              <p:cNvGrpSpPr/>
              <p:nvPr/>
            </p:nvGrpSpPr>
            <p:grpSpPr>
              <a:xfrm>
                <a:off x="4174964" y="2716135"/>
                <a:ext cx="282625" cy="116101"/>
                <a:chOff x="4174964" y="2716135"/>
                <a:chExt cx="282625" cy="116101"/>
              </a:xfrm>
              <a:grpFill/>
            </p:grpSpPr>
            <p:sp>
              <p:nvSpPr>
                <p:cNvPr id="2295" name="Vrije vorm: vorm 2294">
                  <a:extLst>
                    <a:ext uri="{FF2B5EF4-FFF2-40B4-BE49-F238E27FC236}">
                      <a16:creationId xmlns:a16="http://schemas.microsoft.com/office/drawing/2014/main" id="{F30387B0-7136-4031-9541-6558FC33BFBB}"/>
                    </a:ext>
                  </a:extLst>
                </p:cNvPr>
                <p:cNvSpPr/>
                <p:nvPr/>
              </p:nvSpPr>
              <p:spPr>
                <a:xfrm>
                  <a:off x="4183235" y="2723780"/>
                  <a:ext cx="266142" cy="100835"/>
                </a:xfrm>
                <a:custGeom>
                  <a:avLst/>
                  <a:gdLst>
                    <a:gd name="connsiteX0" fmla="*/ 266142 w 266142"/>
                    <a:gd name="connsiteY0" fmla="*/ 97964 h 100835"/>
                    <a:gd name="connsiteX1" fmla="*/ 265066 w 266142"/>
                    <a:gd name="connsiteY1" fmla="*/ 100835 h 100835"/>
                    <a:gd name="connsiteX2" fmla="*/ 0 w 266142"/>
                    <a:gd name="connsiteY2" fmla="*/ 2871 h 100835"/>
                    <a:gd name="connsiteX3" fmla="*/ 1017 w 266142"/>
                    <a:gd name="connsiteY3" fmla="*/ 0 h 100835"/>
                  </a:gdLst>
                  <a:ahLst/>
                  <a:cxnLst>
                    <a:cxn ang="0">
                      <a:pos x="connsiteX0" y="connsiteY0"/>
                    </a:cxn>
                    <a:cxn ang="0">
                      <a:pos x="connsiteX1" y="connsiteY1"/>
                    </a:cxn>
                    <a:cxn ang="0">
                      <a:pos x="connsiteX2" y="connsiteY2"/>
                    </a:cxn>
                    <a:cxn ang="0">
                      <a:pos x="connsiteX3" y="connsiteY3"/>
                    </a:cxn>
                  </a:cxnLst>
                  <a:rect l="l" t="t" r="r" b="b"/>
                  <a:pathLst>
                    <a:path w="266142" h="100835">
                      <a:moveTo>
                        <a:pt x="266142" y="97964"/>
                      </a:moveTo>
                      <a:lnTo>
                        <a:pt x="265066" y="100835"/>
                      </a:lnTo>
                      <a:lnTo>
                        <a:pt x="0" y="2871"/>
                      </a:lnTo>
                      <a:lnTo>
                        <a:pt x="1017" y="0"/>
                      </a:lnTo>
                      <a:close/>
                    </a:path>
                  </a:pathLst>
                </a:custGeom>
                <a:grpFill/>
                <a:ln w="5978" cap="flat">
                  <a:noFill/>
                  <a:prstDash val="solid"/>
                  <a:miter/>
                </a:ln>
              </p:spPr>
              <p:txBody>
                <a:bodyPr rtlCol="0" anchor="ctr"/>
                <a:lstStyle/>
                <a:p>
                  <a:endParaRPr lang="en-GB"/>
                </a:p>
              </p:txBody>
            </p:sp>
            <p:sp>
              <p:nvSpPr>
                <p:cNvPr id="2296" name="Vrije vorm: vorm 2295">
                  <a:extLst>
                    <a:ext uri="{FF2B5EF4-FFF2-40B4-BE49-F238E27FC236}">
                      <a16:creationId xmlns:a16="http://schemas.microsoft.com/office/drawing/2014/main" id="{C273688A-92B2-48B6-872D-6ADFDC2F2005}"/>
                    </a:ext>
                  </a:extLst>
                </p:cNvPr>
                <p:cNvSpPr/>
                <p:nvPr/>
              </p:nvSpPr>
              <p:spPr>
                <a:xfrm>
                  <a:off x="4174964" y="2716135"/>
                  <a:ext cx="18337" cy="18429"/>
                </a:xfrm>
                <a:custGeom>
                  <a:avLst/>
                  <a:gdLst>
                    <a:gd name="connsiteX0" fmla="*/ 6059 w 18337"/>
                    <a:gd name="connsiteY0" fmla="*/ 17872 h 18429"/>
                    <a:gd name="connsiteX1" fmla="*/ 557 w 18337"/>
                    <a:gd name="connsiteY1" fmla="*/ 6031 h 18429"/>
                    <a:gd name="connsiteX2" fmla="*/ 12279 w 18337"/>
                    <a:gd name="connsiteY2" fmla="*/ 588 h 18429"/>
                    <a:gd name="connsiteX3" fmla="*/ 17781 w 18337"/>
                    <a:gd name="connsiteY3" fmla="*/ 12430 h 18429"/>
                    <a:gd name="connsiteX4" fmla="*/ 6059 w 18337"/>
                    <a:gd name="connsiteY4" fmla="*/ 1787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29">
                      <a:moveTo>
                        <a:pt x="6059" y="17872"/>
                      </a:moveTo>
                      <a:cubicBezTo>
                        <a:pt x="1274" y="16138"/>
                        <a:pt x="-1178" y="10815"/>
                        <a:pt x="557" y="6031"/>
                      </a:cubicBezTo>
                      <a:cubicBezTo>
                        <a:pt x="2291" y="1246"/>
                        <a:pt x="7554" y="-1206"/>
                        <a:pt x="12279" y="588"/>
                      </a:cubicBezTo>
                      <a:cubicBezTo>
                        <a:pt x="17063" y="2323"/>
                        <a:pt x="19516" y="7645"/>
                        <a:pt x="17781" y="12430"/>
                      </a:cubicBezTo>
                      <a:cubicBezTo>
                        <a:pt x="16106" y="17155"/>
                        <a:pt x="10843" y="19607"/>
                        <a:pt x="6059" y="17872"/>
                      </a:cubicBezTo>
                      <a:close/>
                    </a:path>
                  </a:pathLst>
                </a:custGeom>
                <a:grpFill/>
                <a:ln w="5978" cap="flat">
                  <a:noFill/>
                  <a:prstDash val="solid"/>
                  <a:miter/>
                </a:ln>
              </p:spPr>
              <p:txBody>
                <a:bodyPr rtlCol="0" anchor="ctr"/>
                <a:lstStyle/>
                <a:p>
                  <a:endParaRPr lang="en-GB"/>
                </a:p>
              </p:txBody>
            </p:sp>
            <p:sp>
              <p:nvSpPr>
                <p:cNvPr id="2297" name="Vrije vorm: vorm 2296">
                  <a:extLst>
                    <a:ext uri="{FF2B5EF4-FFF2-40B4-BE49-F238E27FC236}">
                      <a16:creationId xmlns:a16="http://schemas.microsoft.com/office/drawing/2014/main" id="{B2D9191D-A208-47EF-ACBB-A5D55D50B339}"/>
                    </a:ext>
                  </a:extLst>
                </p:cNvPr>
                <p:cNvSpPr/>
                <p:nvPr/>
              </p:nvSpPr>
              <p:spPr>
                <a:xfrm>
                  <a:off x="4439252" y="2813824"/>
                  <a:ext cx="18337" cy="18412"/>
                </a:xfrm>
                <a:custGeom>
                  <a:avLst/>
                  <a:gdLst>
                    <a:gd name="connsiteX0" fmla="*/ 6059 w 18337"/>
                    <a:gd name="connsiteY0" fmla="*/ 17848 h 18412"/>
                    <a:gd name="connsiteX1" fmla="*/ 17781 w 18337"/>
                    <a:gd name="connsiteY1" fmla="*/ 12406 h 18412"/>
                    <a:gd name="connsiteX2" fmla="*/ 12279 w 18337"/>
                    <a:gd name="connsiteY2" fmla="*/ 564 h 18412"/>
                    <a:gd name="connsiteX3" fmla="*/ 557 w 18337"/>
                    <a:gd name="connsiteY3" fmla="*/ 6006 h 18412"/>
                    <a:gd name="connsiteX4" fmla="*/ 6059 w 18337"/>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2">
                      <a:moveTo>
                        <a:pt x="6059" y="17848"/>
                      </a:moveTo>
                      <a:cubicBezTo>
                        <a:pt x="10843" y="19583"/>
                        <a:pt x="16047" y="17190"/>
                        <a:pt x="17781" y="12406"/>
                      </a:cubicBezTo>
                      <a:cubicBezTo>
                        <a:pt x="19516" y="7621"/>
                        <a:pt x="17063" y="2358"/>
                        <a:pt x="12279" y="564"/>
                      </a:cubicBezTo>
                      <a:cubicBezTo>
                        <a:pt x="7494" y="-1170"/>
                        <a:pt x="2291" y="1222"/>
                        <a:pt x="557" y="6006"/>
                      </a:cubicBezTo>
                      <a:cubicBezTo>
                        <a:pt x="-1178" y="10791"/>
                        <a:pt x="1274" y="16114"/>
                        <a:pt x="6059" y="17848"/>
                      </a:cubicBezTo>
                      <a:close/>
                    </a:path>
                  </a:pathLst>
                </a:custGeom>
                <a:grpFill/>
                <a:ln w="5978" cap="flat">
                  <a:noFill/>
                  <a:prstDash val="solid"/>
                  <a:miter/>
                </a:ln>
              </p:spPr>
              <p:txBody>
                <a:bodyPr rtlCol="0" anchor="ctr"/>
                <a:lstStyle/>
                <a:p>
                  <a:endParaRPr lang="en-GB"/>
                </a:p>
              </p:txBody>
            </p:sp>
          </p:grpSp>
          <p:grpSp>
            <p:nvGrpSpPr>
              <p:cNvPr id="1036" name="Graphic 3">
                <a:extLst>
                  <a:ext uri="{FF2B5EF4-FFF2-40B4-BE49-F238E27FC236}">
                    <a16:creationId xmlns:a16="http://schemas.microsoft.com/office/drawing/2014/main" id="{81898974-0066-4639-837D-67A0B2243FB2}"/>
                  </a:ext>
                </a:extLst>
              </p:cNvPr>
              <p:cNvGrpSpPr/>
              <p:nvPr/>
            </p:nvGrpSpPr>
            <p:grpSpPr>
              <a:xfrm>
                <a:off x="4198749" y="2563425"/>
                <a:ext cx="121540" cy="65607"/>
                <a:chOff x="4198749" y="2563425"/>
                <a:chExt cx="121540" cy="65607"/>
              </a:xfrm>
              <a:grpFill/>
            </p:grpSpPr>
            <p:sp>
              <p:nvSpPr>
                <p:cNvPr id="2292" name="Vrije vorm: vorm 2291">
                  <a:extLst>
                    <a:ext uri="{FF2B5EF4-FFF2-40B4-BE49-F238E27FC236}">
                      <a16:creationId xmlns:a16="http://schemas.microsoft.com/office/drawing/2014/main" id="{B1230367-7658-4E41-A80D-10D25687816B}"/>
                    </a:ext>
                  </a:extLst>
                </p:cNvPr>
                <p:cNvSpPr/>
                <p:nvPr/>
              </p:nvSpPr>
              <p:spPr>
                <a:xfrm>
                  <a:off x="4206859" y="2571033"/>
                  <a:ext cx="105260" cy="50357"/>
                </a:xfrm>
                <a:custGeom>
                  <a:avLst/>
                  <a:gdLst>
                    <a:gd name="connsiteX0" fmla="*/ 105261 w 105260"/>
                    <a:gd name="connsiteY0" fmla="*/ 47607 h 50357"/>
                    <a:gd name="connsiteX1" fmla="*/ 104005 w 105260"/>
                    <a:gd name="connsiteY1" fmla="*/ 50358 h 50357"/>
                    <a:gd name="connsiteX2" fmla="*/ 0 w 105260"/>
                    <a:gd name="connsiteY2" fmla="*/ 2811 h 50357"/>
                    <a:gd name="connsiteX3" fmla="*/ 1256 w 105260"/>
                    <a:gd name="connsiteY3" fmla="*/ 0 h 50357"/>
                  </a:gdLst>
                  <a:ahLst/>
                  <a:cxnLst>
                    <a:cxn ang="0">
                      <a:pos x="connsiteX0" y="connsiteY0"/>
                    </a:cxn>
                    <a:cxn ang="0">
                      <a:pos x="connsiteX1" y="connsiteY1"/>
                    </a:cxn>
                    <a:cxn ang="0">
                      <a:pos x="connsiteX2" y="connsiteY2"/>
                    </a:cxn>
                    <a:cxn ang="0">
                      <a:pos x="connsiteX3" y="connsiteY3"/>
                    </a:cxn>
                  </a:cxnLst>
                  <a:rect l="l" t="t" r="r" b="b"/>
                  <a:pathLst>
                    <a:path w="105260" h="50357">
                      <a:moveTo>
                        <a:pt x="105261" y="47607"/>
                      </a:moveTo>
                      <a:lnTo>
                        <a:pt x="104005" y="50358"/>
                      </a:lnTo>
                      <a:lnTo>
                        <a:pt x="0" y="2811"/>
                      </a:lnTo>
                      <a:lnTo>
                        <a:pt x="1256" y="0"/>
                      </a:lnTo>
                      <a:close/>
                    </a:path>
                  </a:pathLst>
                </a:custGeom>
                <a:grpFill/>
                <a:ln w="5978" cap="flat">
                  <a:noFill/>
                  <a:prstDash val="solid"/>
                  <a:miter/>
                </a:ln>
              </p:spPr>
              <p:txBody>
                <a:bodyPr rtlCol="0" anchor="ctr"/>
                <a:lstStyle/>
                <a:p>
                  <a:endParaRPr lang="en-GB"/>
                </a:p>
              </p:txBody>
            </p:sp>
            <p:sp>
              <p:nvSpPr>
                <p:cNvPr id="2293" name="Vrije vorm: vorm 2292">
                  <a:extLst>
                    <a:ext uri="{FF2B5EF4-FFF2-40B4-BE49-F238E27FC236}">
                      <a16:creationId xmlns:a16="http://schemas.microsoft.com/office/drawing/2014/main" id="{C4ADAEBB-D0F5-4A99-A67C-F25627B33777}"/>
                    </a:ext>
                  </a:extLst>
                </p:cNvPr>
                <p:cNvSpPr/>
                <p:nvPr/>
              </p:nvSpPr>
              <p:spPr>
                <a:xfrm>
                  <a:off x="4198749" y="2563425"/>
                  <a:ext cx="18372" cy="18419"/>
                </a:xfrm>
                <a:custGeom>
                  <a:avLst/>
                  <a:gdLst>
                    <a:gd name="connsiteX0" fmla="*/ 5419 w 18372"/>
                    <a:gd name="connsiteY0" fmla="*/ 17596 h 18419"/>
                    <a:gd name="connsiteX1" fmla="*/ 813 w 18372"/>
                    <a:gd name="connsiteY1" fmla="*/ 5395 h 18419"/>
                    <a:gd name="connsiteX2" fmla="*/ 12954 w 18372"/>
                    <a:gd name="connsiteY2" fmla="*/ 849 h 18419"/>
                    <a:gd name="connsiteX3" fmla="*/ 17560 w 18372"/>
                    <a:gd name="connsiteY3" fmla="*/ 13050 h 18419"/>
                    <a:gd name="connsiteX4" fmla="*/ 5419 w 18372"/>
                    <a:gd name="connsiteY4" fmla="*/ 1759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19">
                      <a:moveTo>
                        <a:pt x="5419" y="17596"/>
                      </a:moveTo>
                      <a:cubicBezTo>
                        <a:pt x="813" y="15502"/>
                        <a:pt x="-1280" y="10000"/>
                        <a:pt x="813" y="5395"/>
                      </a:cubicBezTo>
                      <a:cubicBezTo>
                        <a:pt x="2907" y="790"/>
                        <a:pt x="8349" y="-1304"/>
                        <a:pt x="12954" y="849"/>
                      </a:cubicBezTo>
                      <a:cubicBezTo>
                        <a:pt x="17560" y="2943"/>
                        <a:pt x="19653" y="8445"/>
                        <a:pt x="17560" y="13050"/>
                      </a:cubicBezTo>
                      <a:cubicBezTo>
                        <a:pt x="15406" y="17655"/>
                        <a:pt x="10024" y="19689"/>
                        <a:pt x="5419" y="17596"/>
                      </a:cubicBezTo>
                      <a:close/>
                    </a:path>
                  </a:pathLst>
                </a:custGeom>
                <a:grpFill/>
                <a:ln w="5978" cap="flat">
                  <a:noFill/>
                  <a:prstDash val="solid"/>
                  <a:miter/>
                </a:ln>
              </p:spPr>
              <p:txBody>
                <a:bodyPr rtlCol="0" anchor="ctr"/>
                <a:lstStyle/>
                <a:p>
                  <a:endParaRPr lang="en-GB"/>
                </a:p>
              </p:txBody>
            </p:sp>
            <p:sp>
              <p:nvSpPr>
                <p:cNvPr id="2294" name="Vrije vorm: vorm 2293">
                  <a:extLst>
                    <a:ext uri="{FF2B5EF4-FFF2-40B4-BE49-F238E27FC236}">
                      <a16:creationId xmlns:a16="http://schemas.microsoft.com/office/drawing/2014/main" id="{CA7D715E-E64D-4797-B983-345242D5FC4B}"/>
                    </a:ext>
                  </a:extLst>
                </p:cNvPr>
                <p:cNvSpPr/>
                <p:nvPr/>
              </p:nvSpPr>
              <p:spPr>
                <a:xfrm>
                  <a:off x="4301917" y="2610639"/>
                  <a:ext cx="18372" cy="18393"/>
                </a:xfrm>
                <a:custGeom>
                  <a:avLst/>
                  <a:gdLst>
                    <a:gd name="connsiteX0" fmla="*/ 5419 w 18372"/>
                    <a:gd name="connsiteY0" fmla="*/ 17570 h 18393"/>
                    <a:gd name="connsiteX1" fmla="*/ 17560 w 18372"/>
                    <a:gd name="connsiteY1" fmla="*/ 13024 h 18393"/>
                    <a:gd name="connsiteX2" fmla="*/ 12954 w 18372"/>
                    <a:gd name="connsiteY2" fmla="*/ 824 h 18393"/>
                    <a:gd name="connsiteX3" fmla="*/ 813 w 18372"/>
                    <a:gd name="connsiteY3" fmla="*/ 5369 h 18393"/>
                    <a:gd name="connsiteX4" fmla="*/ 5419 w 18372"/>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393">
                      <a:moveTo>
                        <a:pt x="5419" y="17570"/>
                      </a:moveTo>
                      <a:cubicBezTo>
                        <a:pt x="10024" y="19663"/>
                        <a:pt x="15466" y="17630"/>
                        <a:pt x="17560" y="13024"/>
                      </a:cubicBezTo>
                      <a:cubicBezTo>
                        <a:pt x="19653" y="8419"/>
                        <a:pt x="17560" y="2917"/>
                        <a:pt x="12954" y="824"/>
                      </a:cubicBezTo>
                      <a:cubicBezTo>
                        <a:pt x="8349" y="-1270"/>
                        <a:pt x="2907" y="764"/>
                        <a:pt x="813" y="5369"/>
                      </a:cubicBezTo>
                      <a:cubicBezTo>
                        <a:pt x="-1280" y="9974"/>
                        <a:pt x="813" y="15477"/>
                        <a:pt x="5419" y="17570"/>
                      </a:cubicBezTo>
                      <a:close/>
                    </a:path>
                  </a:pathLst>
                </a:custGeom>
                <a:grpFill/>
                <a:ln w="5978" cap="flat">
                  <a:noFill/>
                  <a:prstDash val="solid"/>
                  <a:miter/>
                </a:ln>
              </p:spPr>
              <p:txBody>
                <a:bodyPr rtlCol="0" anchor="ctr"/>
                <a:lstStyle/>
                <a:p>
                  <a:endParaRPr lang="en-GB"/>
                </a:p>
              </p:txBody>
            </p:sp>
          </p:grpSp>
          <p:grpSp>
            <p:nvGrpSpPr>
              <p:cNvPr id="1037" name="Graphic 3">
                <a:extLst>
                  <a:ext uri="{FF2B5EF4-FFF2-40B4-BE49-F238E27FC236}">
                    <a16:creationId xmlns:a16="http://schemas.microsoft.com/office/drawing/2014/main" id="{E4A091D9-8104-4BD6-9532-EE5032A27227}"/>
                  </a:ext>
                </a:extLst>
              </p:cNvPr>
              <p:cNvGrpSpPr/>
              <p:nvPr/>
            </p:nvGrpSpPr>
            <p:grpSpPr>
              <a:xfrm>
                <a:off x="4148780" y="2665941"/>
                <a:ext cx="315615" cy="134670"/>
                <a:chOff x="4148780" y="2665941"/>
                <a:chExt cx="315615" cy="134670"/>
              </a:xfrm>
              <a:grpFill/>
            </p:grpSpPr>
            <p:sp>
              <p:nvSpPr>
                <p:cNvPr id="2289" name="Vrije vorm: vorm 2288">
                  <a:extLst>
                    <a:ext uri="{FF2B5EF4-FFF2-40B4-BE49-F238E27FC236}">
                      <a16:creationId xmlns:a16="http://schemas.microsoft.com/office/drawing/2014/main" id="{0B6D7B19-1007-46CD-AAC3-3C57C39F8A14}"/>
                    </a:ext>
                  </a:extLst>
                </p:cNvPr>
                <p:cNvSpPr/>
                <p:nvPr/>
              </p:nvSpPr>
              <p:spPr>
                <a:xfrm>
                  <a:off x="4156980" y="2673542"/>
                  <a:ext cx="299215" cy="119435"/>
                </a:xfrm>
                <a:custGeom>
                  <a:avLst/>
                  <a:gdLst>
                    <a:gd name="connsiteX0" fmla="*/ 299216 w 299215"/>
                    <a:gd name="connsiteY0" fmla="*/ 116564 h 119435"/>
                    <a:gd name="connsiteX1" fmla="*/ 298139 w 299215"/>
                    <a:gd name="connsiteY1" fmla="*/ 119435 h 119435"/>
                    <a:gd name="connsiteX2" fmla="*/ 0 w 299215"/>
                    <a:gd name="connsiteY2" fmla="*/ 2871 h 119435"/>
                    <a:gd name="connsiteX3" fmla="*/ 1076 w 299215"/>
                    <a:gd name="connsiteY3" fmla="*/ 0 h 119435"/>
                  </a:gdLst>
                  <a:ahLst/>
                  <a:cxnLst>
                    <a:cxn ang="0">
                      <a:pos x="connsiteX0" y="connsiteY0"/>
                    </a:cxn>
                    <a:cxn ang="0">
                      <a:pos x="connsiteX1" y="connsiteY1"/>
                    </a:cxn>
                    <a:cxn ang="0">
                      <a:pos x="connsiteX2" y="connsiteY2"/>
                    </a:cxn>
                    <a:cxn ang="0">
                      <a:pos x="connsiteX3" y="connsiteY3"/>
                    </a:cxn>
                  </a:cxnLst>
                  <a:rect l="l" t="t" r="r" b="b"/>
                  <a:pathLst>
                    <a:path w="299215" h="119435">
                      <a:moveTo>
                        <a:pt x="299216" y="116564"/>
                      </a:moveTo>
                      <a:lnTo>
                        <a:pt x="298139" y="119435"/>
                      </a:lnTo>
                      <a:lnTo>
                        <a:pt x="0" y="2871"/>
                      </a:lnTo>
                      <a:lnTo>
                        <a:pt x="1076" y="0"/>
                      </a:lnTo>
                      <a:close/>
                    </a:path>
                  </a:pathLst>
                </a:custGeom>
                <a:grpFill/>
                <a:ln w="5978" cap="flat">
                  <a:noFill/>
                  <a:prstDash val="solid"/>
                  <a:miter/>
                </a:ln>
              </p:spPr>
              <p:txBody>
                <a:bodyPr rtlCol="0" anchor="ctr"/>
                <a:lstStyle/>
                <a:p>
                  <a:endParaRPr lang="en-GB"/>
                </a:p>
              </p:txBody>
            </p:sp>
            <p:sp>
              <p:nvSpPr>
                <p:cNvPr id="2290" name="Vrije vorm: vorm 2289">
                  <a:extLst>
                    <a:ext uri="{FF2B5EF4-FFF2-40B4-BE49-F238E27FC236}">
                      <a16:creationId xmlns:a16="http://schemas.microsoft.com/office/drawing/2014/main" id="{EE2CC262-30D5-4955-A515-7F12D848F3D2}"/>
                    </a:ext>
                  </a:extLst>
                </p:cNvPr>
                <p:cNvSpPr/>
                <p:nvPr/>
              </p:nvSpPr>
              <p:spPr>
                <a:xfrm>
                  <a:off x="4148780" y="2665941"/>
                  <a:ext cx="18313" cy="18404"/>
                </a:xfrm>
                <a:custGeom>
                  <a:avLst/>
                  <a:gdLst>
                    <a:gd name="connsiteX0" fmla="*/ 5867 w 18313"/>
                    <a:gd name="connsiteY0" fmla="*/ 17769 h 18404"/>
                    <a:gd name="connsiteX1" fmla="*/ 604 w 18313"/>
                    <a:gd name="connsiteY1" fmla="*/ 5867 h 18404"/>
                    <a:gd name="connsiteX2" fmla="*/ 12446 w 18313"/>
                    <a:gd name="connsiteY2" fmla="*/ 604 h 18404"/>
                    <a:gd name="connsiteX3" fmla="*/ 17709 w 18313"/>
                    <a:gd name="connsiteY3" fmla="*/ 12506 h 18404"/>
                    <a:gd name="connsiteX4" fmla="*/ 5867 w 18313"/>
                    <a:gd name="connsiteY4" fmla="*/ 1776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5867" y="17769"/>
                      </a:moveTo>
                      <a:cubicBezTo>
                        <a:pt x="1142" y="15915"/>
                        <a:pt x="-1190" y="10592"/>
                        <a:pt x="604" y="5867"/>
                      </a:cubicBezTo>
                      <a:cubicBezTo>
                        <a:pt x="2399" y="1142"/>
                        <a:pt x="7721" y="-1190"/>
                        <a:pt x="12446" y="604"/>
                      </a:cubicBezTo>
                      <a:cubicBezTo>
                        <a:pt x="17171" y="2458"/>
                        <a:pt x="19503" y="7781"/>
                        <a:pt x="17709" y="12506"/>
                      </a:cubicBezTo>
                      <a:cubicBezTo>
                        <a:pt x="15915" y="17290"/>
                        <a:pt x="10592" y="19623"/>
                        <a:pt x="5867" y="17769"/>
                      </a:cubicBezTo>
                      <a:close/>
                    </a:path>
                  </a:pathLst>
                </a:custGeom>
                <a:grpFill/>
                <a:ln w="5978" cap="flat">
                  <a:noFill/>
                  <a:prstDash val="solid"/>
                  <a:miter/>
                </a:ln>
              </p:spPr>
              <p:txBody>
                <a:bodyPr rtlCol="0" anchor="ctr"/>
                <a:lstStyle/>
                <a:p>
                  <a:endParaRPr lang="en-GB"/>
                </a:p>
              </p:txBody>
            </p:sp>
            <p:sp>
              <p:nvSpPr>
                <p:cNvPr id="2291" name="Vrije vorm: vorm 2290">
                  <a:extLst>
                    <a:ext uri="{FF2B5EF4-FFF2-40B4-BE49-F238E27FC236}">
                      <a16:creationId xmlns:a16="http://schemas.microsoft.com/office/drawing/2014/main" id="{83C324B2-9639-4BBF-9D40-AE62C9F8458E}"/>
                    </a:ext>
                  </a:extLst>
                </p:cNvPr>
                <p:cNvSpPr/>
                <p:nvPr/>
              </p:nvSpPr>
              <p:spPr>
                <a:xfrm>
                  <a:off x="4446082" y="2782174"/>
                  <a:ext cx="18313" cy="18436"/>
                </a:xfrm>
                <a:custGeom>
                  <a:avLst/>
                  <a:gdLst>
                    <a:gd name="connsiteX0" fmla="*/ 5867 w 18313"/>
                    <a:gd name="connsiteY0" fmla="*/ 17801 h 18436"/>
                    <a:gd name="connsiteX1" fmla="*/ 17709 w 18313"/>
                    <a:gd name="connsiteY1" fmla="*/ 12538 h 18436"/>
                    <a:gd name="connsiteX2" fmla="*/ 12446 w 18313"/>
                    <a:gd name="connsiteY2" fmla="*/ 636 h 18436"/>
                    <a:gd name="connsiteX3" fmla="*/ 604 w 18313"/>
                    <a:gd name="connsiteY3" fmla="*/ 5899 h 18436"/>
                    <a:gd name="connsiteX4" fmla="*/ 5867 w 18313"/>
                    <a:gd name="connsiteY4" fmla="*/ 178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6">
                      <a:moveTo>
                        <a:pt x="5867" y="17801"/>
                      </a:moveTo>
                      <a:cubicBezTo>
                        <a:pt x="10592" y="19655"/>
                        <a:pt x="15915" y="17322"/>
                        <a:pt x="17709" y="12538"/>
                      </a:cubicBezTo>
                      <a:cubicBezTo>
                        <a:pt x="19503" y="7813"/>
                        <a:pt x="17171" y="2430"/>
                        <a:pt x="12446" y="636"/>
                      </a:cubicBezTo>
                      <a:cubicBezTo>
                        <a:pt x="7721" y="-1218"/>
                        <a:pt x="2398" y="1115"/>
                        <a:pt x="604" y="5899"/>
                      </a:cubicBezTo>
                      <a:cubicBezTo>
                        <a:pt x="-1190" y="10624"/>
                        <a:pt x="1143" y="15947"/>
                        <a:pt x="5867" y="17801"/>
                      </a:cubicBezTo>
                      <a:close/>
                    </a:path>
                  </a:pathLst>
                </a:custGeom>
                <a:grpFill/>
                <a:ln w="5978" cap="flat">
                  <a:noFill/>
                  <a:prstDash val="solid"/>
                  <a:miter/>
                </a:ln>
              </p:spPr>
              <p:txBody>
                <a:bodyPr rtlCol="0" anchor="ctr"/>
                <a:lstStyle/>
                <a:p>
                  <a:endParaRPr lang="en-GB"/>
                </a:p>
              </p:txBody>
            </p:sp>
          </p:grpSp>
          <p:grpSp>
            <p:nvGrpSpPr>
              <p:cNvPr id="1038" name="Graphic 3">
                <a:extLst>
                  <a:ext uri="{FF2B5EF4-FFF2-40B4-BE49-F238E27FC236}">
                    <a16:creationId xmlns:a16="http://schemas.microsoft.com/office/drawing/2014/main" id="{97B171AF-3BE5-4AAC-8100-1A974173EAF6}"/>
                  </a:ext>
                </a:extLst>
              </p:cNvPr>
              <p:cNvGrpSpPr/>
              <p:nvPr/>
            </p:nvGrpSpPr>
            <p:grpSpPr>
              <a:xfrm>
                <a:off x="5157389" y="5298996"/>
                <a:ext cx="46742" cy="80905"/>
                <a:chOff x="5157389" y="5298996"/>
                <a:chExt cx="46742" cy="80905"/>
              </a:xfrm>
              <a:grpFill/>
            </p:grpSpPr>
            <p:sp>
              <p:nvSpPr>
                <p:cNvPr id="2286" name="Vrije vorm: vorm 2285">
                  <a:extLst>
                    <a:ext uri="{FF2B5EF4-FFF2-40B4-BE49-F238E27FC236}">
                      <a16:creationId xmlns:a16="http://schemas.microsoft.com/office/drawing/2014/main" id="{C1EF241A-2EEB-436B-82C1-3B9297E40AEE}"/>
                    </a:ext>
                  </a:extLst>
                </p:cNvPr>
                <p:cNvSpPr/>
                <p:nvPr/>
              </p:nvSpPr>
              <p:spPr>
                <a:xfrm>
                  <a:off x="5164971" y="5307153"/>
                  <a:ext cx="31578" cy="64592"/>
                </a:xfrm>
                <a:custGeom>
                  <a:avLst/>
                  <a:gdLst>
                    <a:gd name="connsiteX0" fmla="*/ 31578 w 31578"/>
                    <a:gd name="connsiteY0" fmla="*/ 1256 h 64592"/>
                    <a:gd name="connsiteX1" fmla="*/ 2811 w 31578"/>
                    <a:gd name="connsiteY1" fmla="*/ 64592 h 64592"/>
                    <a:gd name="connsiteX2" fmla="*/ 0 w 31578"/>
                    <a:gd name="connsiteY2" fmla="*/ 63336 h 64592"/>
                    <a:gd name="connsiteX3" fmla="*/ 28827 w 31578"/>
                    <a:gd name="connsiteY3" fmla="*/ 0 h 64592"/>
                  </a:gdLst>
                  <a:ahLst/>
                  <a:cxnLst>
                    <a:cxn ang="0">
                      <a:pos x="connsiteX0" y="connsiteY0"/>
                    </a:cxn>
                    <a:cxn ang="0">
                      <a:pos x="connsiteX1" y="connsiteY1"/>
                    </a:cxn>
                    <a:cxn ang="0">
                      <a:pos x="connsiteX2" y="connsiteY2"/>
                    </a:cxn>
                    <a:cxn ang="0">
                      <a:pos x="connsiteX3" y="connsiteY3"/>
                    </a:cxn>
                  </a:cxnLst>
                  <a:rect l="l" t="t" r="r" b="b"/>
                  <a:pathLst>
                    <a:path w="31578" h="64592">
                      <a:moveTo>
                        <a:pt x="31578" y="1256"/>
                      </a:moveTo>
                      <a:lnTo>
                        <a:pt x="2811" y="64592"/>
                      </a:lnTo>
                      <a:lnTo>
                        <a:pt x="0" y="63336"/>
                      </a:lnTo>
                      <a:lnTo>
                        <a:pt x="28827" y="0"/>
                      </a:lnTo>
                      <a:close/>
                    </a:path>
                  </a:pathLst>
                </a:custGeom>
                <a:grpFill/>
                <a:ln w="5978" cap="flat">
                  <a:noFill/>
                  <a:prstDash val="solid"/>
                  <a:miter/>
                </a:ln>
              </p:spPr>
              <p:txBody>
                <a:bodyPr rtlCol="0" anchor="ctr"/>
                <a:lstStyle/>
                <a:p>
                  <a:endParaRPr lang="en-GB"/>
                </a:p>
              </p:txBody>
            </p:sp>
            <p:sp>
              <p:nvSpPr>
                <p:cNvPr id="2287" name="Vrije vorm: vorm 2286">
                  <a:extLst>
                    <a:ext uri="{FF2B5EF4-FFF2-40B4-BE49-F238E27FC236}">
                      <a16:creationId xmlns:a16="http://schemas.microsoft.com/office/drawing/2014/main" id="{47922243-9B7A-46C3-A347-D30744B05021}"/>
                    </a:ext>
                  </a:extLst>
                </p:cNvPr>
                <p:cNvSpPr/>
                <p:nvPr/>
              </p:nvSpPr>
              <p:spPr>
                <a:xfrm>
                  <a:off x="5157389" y="5361495"/>
                  <a:ext cx="18333" cy="18406"/>
                </a:xfrm>
                <a:custGeom>
                  <a:avLst/>
                  <a:gdLst>
                    <a:gd name="connsiteX0" fmla="*/ 17510 w 18333"/>
                    <a:gd name="connsiteY0" fmla="*/ 13061 h 18406"/>
                    <a:gd name="connsiteX1" fmla="*/ 5369 w 18333"/>
                    <a:gd name="connsiteY1" fmla="*/ 17546 h 18406"/>
                    <a:gd name="connsiteX2" fmla="*/ 824 w 18333"/>
                    <a:gd name="connsiteY2" fmla="*/ 5346 h 18406"/>
                    <a:gd name="connsiteX3" fmla="*/ 12965 w 18333"/>
                    <a:gd name="connsiteY3" fmla="*/ 860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5417" y="17666"/>
                        <a:pt x="9974" y="19699"/>
                        <a:pt x="5369" y="17546"/>
                      </a:cubicBezTo>
                      <a:cubicBezTo>
                        <a:pt x="764" y="15393"/>
                        <a:pt x="-1270" y="9951"/>
                        <a:pt x="824" y="5346"/>
                      </a:cubicBezTo>
                      <a:cubicBezTo>
                        <a:pt x="2917" y="741"/>
                        <a:pt x="8360" y="-1293"/>
                        <a:pt x="12965" y="860"/>
                      </a:cubicBezTo>
                      <a:cubicBezTo>
                        <a:pt x="17570" y="2953"/>
                        <a:pt x="19603" y="8456"/>
                        <a:pt x="17510" y="13061"/>
                      </a:cubicBezTo>
                      <a:close/>
                    </a:path>
                  </a:pathLst>
                </a:custGeom>
                <a:grpFill/>
                <a:ln w="5978" cap="flat">
                  <a:noFill/>
                  <a:prstDash val="solid"/>
                  <a:miter/>
                </a:ln>
              </p:spPr>
              <p:txBody>
                <a:bodyPr rtlCol="0" anchor="ctr"/>
                <a:lstStyle/>
                <a:p>
                  <a:endParaRPr lang="en-GB"/>
                </a:p>
              </p:txBody>
            </p:sp>
            <p:sp>
              <p:nvSpPr>
                <p:cNvPr id="2288" name="Vrije vorm: vorm 2287">
                  <a:extLst>
                    <a:ext uri="{FF2B5EF4-FFF2-40B4-BE49-F238E27FC236}">
                      <a16:creationId xmlns:a16="http://schemas.microsoft.com/office/drawing/2014/main" id="{C2F30DB6-09F7-4427-A2BF-74E0FECE4896}"/>
                    </a:ext>
                  </a:extLst>
                </p:cNvPr>
                <p:cNvSpPr/>
                <p:nvPr/>
              </p:nvSpPr>
              <p:spPr>
                <a:xfrm>
                  <a:off x="5185797" y="5298996"/>
                  <a:ext cx="18333" cy="18406"/>
                </a:xfrm>
                <a:custGeom>
                  <a:avLst/>
                  <a:gdLst>
                    <a:gd name="connsiteX0" fmla="*/ 17510 w 18333"/>
                    <a:gd name="connsiteY0" fmla="*/ 13061 h 18406"/>
                    <a:gd name="connsiteX1" fmla="*/ 12965 w 18333"/>
                    <a:gd name="connsiteY1" fmla="*/ 860 h 18406"/>
                    <a:gd name="connsiteX2" fmla="*/ 824 w 18333"/>
                    <a:gd name="connsiteY2" fmla="*/ 5346 h 18406"/>
                    <a:gd name="connsiteX3" fmla="*/ 5369 w 18333"/>
                    <a:gd name="connsiteY3" fmla="*/ 17546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9603" y="8456"/>
                        <a:pt x="17570" y="2953"/>
                        <a:pt x="12965" y="860"/>
                      </a:cubicBezTo>
                      <a:cubicBezTo>
                        <a:pt x="8360" y="-1293"/>
                        <a:pt x="2917" y="740"/>
                        <a:pt x="824" y="5346"/>
                      </a:cubicBezTo>
                      <a:cubicBezTo>
                        <a:pt x="-1270" y="9951"/>
                        <a:pt x="764" y="15453"/>
                        <a:pt x="5369" y="17546"/>
                      </a:cubicBezTo>
                      <a:cubicBezTo>
                        <a:pt x="9974" y="19699"/>
                        <a:pt x="15417" y="17666"/>
                        <a:pt x="17510" y="13061"/>
                      </a:cubicBezTo>
                      <a:close/>
                    </a:path>
                  </a:pathLst>
                </a:custGeom>
                <a:grpFill/>
                <a:ln w="5978" cap="flat">
                  <a:noFill/>
                  <a:prstDash val="solid"/>
                  <a:miter/>
                </a:ln>
              </p:spPr>
              <p:txBody>
                <a:bodyPr rtlCol="0" anchor="ctr"/>
                <a:lstStyle/>
                <a:p>
                  <a:endParaRPr lang="en-GB"/>
                </a:p>
              </p:txBody>
            </p:sp>
          </p:grpSp>
          <p:grpSp>
            <p:nvGrpSpPr>
              <p:cNvPr id="1039" name="Graphic 3">
                <a:extLst>
                  <a:ext uri="{FF2B5EF4-FFF2-40B4-BE49-F238E27FC236}">
                    <a16:creationId xmlns:a16="http://schemas.microsoft.com/office/drawing/2014/main" id="{B3FB4507-DBDD-43DE-8094-BA60C17CB4A1}"/>
                  </a:ext>
                </a:extLst>
              </p:cNvPr>
              <p:cNvGrpSpPr/>
              <p:nvPr/>
            </p:nvGrpSpPr>
            <p:grpSpPr>
              <a:xfrm>
                <a:off x="4244749" y="2817410"/>
                <a:ext cx="199752" cy="77865"/>
                <a:chOff x="4244749" y="2817410"/>
                <a:chExt cx="199752" cy="77865"/>
              </a:xfrm>
              <a:grpFill/>
            </p:grpSpPr>
            <p:sp>
              <p:nvSpPr>
                <p:cNvPr id="2283" name="Vrije vorm: vorm 2282">
                  <a:extLst>
                    <a:ext uri="{FF2B5EF4-FFF2-40B4-BE49-F238E27FC236}">
                      <a16:creationId xmlns:a16="http://schemas.microsoft.com/office/drawing/2014/main" id="{3CAE193C-AB55-4499-8F34-48CACE8D2E5F}"/>
                    </a:ext>
                  </a:extLst>
                </p:cNvPr>
                <p:cNvSpPr/>
                <p:nvPr/>
              </p:nvSpPr>
              <p:spPr>
                <a:xfrm>
                  <a:off x="4253030" y="2825034"/>
                  <a:ext cx="183189" cy="62618"/>
                </a:xfrm>
                <a:custGeom>
                  <a:avLst/>
                  <a:gdLst>
                    <a:gd name="connsiteX0" fmla="*/ 183190 w 183189"/>
                    <a:gd name="connsiteY0" fmla="*/ 59748 h 62618"/>
                    <a:gd name="connsiteX1" fmla="*/ 182233 w 183189"/>
                    <a:gd name="connsiteY1" fmla="*/ 62618 h 62618"/>
                    <a:gd name="connsiteX2" fmla="*/ 0 w 183189"/>
                    <a:gd name="connsiteY2" fmla="*/ 2871 h 62618"/>
                    <a:gd name="connsiteX3" fmla="*/ 957 w 183189"/>
                    <a:gd name="connsiteY3" fmla="*/ 0 h 62618"/>
                  </a:gdLst>
                  <a:ahLst/>
                  <a:cxnLst>
                    <a:cxn ang="0">
                      <a:pos x="connsiteX0" y="connsiteY0"/>
                    </a:cxn>
                    <a:cxn ang="0">
                      <a:pos x="connsiteX1" y="connsiteY1"/>
                    </a:cxn>
                    <a:cxn ang="0">
                      <a:pos x="connsiteX2" y="connsiteY2"/>
                    </a:cxn>
                    <a:cxn ang="0">
                      <a:pos x="connsiteX3" y="connsiteY3"/>
                    </a:cxn>
                  </a:cxnLst>
                  <a:rect l="l" t="t" r="r" b="b"/>
                  <a:pathLst>
                    <a:path w="183189" h="62618">
                      <a:moveTo>
                        <a:pt x="183190" y="59748"/>
                      </a:moveTo>
                      <a:lnTo>
                        <a:pt x="182233" y="62618"/>
                      </a:lnTo>
                      <a:lnTo>
                        <a:pt x="0" y="2871"/>
                      </a:lnTo>
                      <a:lnTo>
                        <a:pt x="957" y="0"/>
                      </a:lnTo>
                      <a:close/>
                    </a:path>
                  </a:pathLst>
                </a:custGeom>
                <a:grpFill/>
                <a:ln w="5978" cap="flat">
                  <a:noFill/>
                  <a:prstDash val="solid"/>
                  <a:miter/>
                </a:ln>
              </p:spPr>
              <p:txBody>
                <a:bodyPr rtlCol="0" anchor="ctr"/>
                <a:lstStyle/>
                <a:p>
                  <a:endParaRPr lang="en-GB"/>
                </a:p>
              </p:txBody>
            </p:sp>
            <p:sp>
              <p:nvSpPr>
                <p:cNvPr id="2284" name="Vrije vorm: vorm 2283">
                  <a:extLst>
                    <a:ext uri="{FF2B5EF4-FFF2-40B4-BE49-F238E27FC236}">
                      <a16:creationId xmlns:a16="http://schemas.microsoft.com/office/drawing/2014/main" id="{391DFF89-FCCF-4BE5-A830-0CDF0DC6A526}"/>
                    </a:ext>
                  </a:extLst>
                </p:cNvPr>
                <p:cNvSpPr/>
                <p:nvPr/>
              </p:nvSpPr>
              <p:spPr>
                <a:xfrm>
                  <a:off x="4244749" y="2817410"/>
                  <a:ext cx="18357" cy="18416"/>
                </a:xfrm>
                <a:custGeom>
                  <a:avLst/>
                  <a:gdLst>
                    <a:gd name="connsiteX0" fmla="*/ 6368 w 18357"/>
                    <a:gd name="connsiteY0" fmla="*/ 17970 h 18416"/>
                    <a:gd name="connsiteX1" fmla="*/ 447 w 18357"/>
                    <a:gd name="connsiteY1" fmla="*/ 6368 h 18416"/>
                    <a:gd name="connsiteX2" fmla="*/ 11990 w 18357"/>
                    <a:gd name="connsiteY2" fmla="*/ 447 h 18416"/>
                    <a:gd name="connsiteX3" fmla="*/ 17911 w 18357"/>
                    <a:gd name="connsiteY3" fmla="*/ 12049 h 18416"/>
                    <a:gd name="connsiteX4" fmla="*/ 6368 w 18357"/>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6368" y="17970"/>
                      </a:moveTo>
                      <a:cubicBezTo>
                        <a:pt x="1523" y="16415"/>
                        <a:pt x="-1108" y="11212"/>
                        <a:pt x="447" y="6368"/>
                      </a:cubicBezTo>
                      <a:cubicBezTo>
                        <a:pt x="2002" y="1523"/>
                        <a:pt x="7145" y="-1108"/>
                        <a:pt x="11990" y="447"/>
                      </a:cubicBezTo>
                      <a:cubicBezTo>
                        <a:pt x="16834" y="2002"/>
                        <a:pt x="19465" y="7205"/>
                        <a:pt x="17911" y="12049"/>
                      </a:cubicBezTo>
                      <a:cubicBezTo>
                        <a:pt x="16356" y="16894"/>
                        <a:pt x="11212" y="19525"/>
                        <a:pt x="6368" y="17970"/>
                      </a:cubicBezTo>
                      <a:close/>
                    </a:path>
                  </a:pathLst>
                </a:custGeom>
                <a:grpFill/>
                <a:ln w="5978" cap="flat">
                  <a:noFill/>
                  <a:prstDash val="solid"/>
                  <a:miter/>
                </a:ln>
              </p:spPr>
              <p:txBody>
                <a:bodyPr rtlCol="0" anchor="ctr"/>
                <a:lstStyle/>
                <a:p>
                  <a:endParaRPr lang="en-GB"/>
                </a:p>
              </p:txBody>
            </p:sp>
            <p:sp>
              <p:nvSpPr>
                <p:cNvPr id="2285" name="Vrije vorm: vorm 2284">
                  <a:extLst>
                    <a:ext uri="{FF2B5EF4-FFF2-40B4-BE49-F238E27FC236}">
                      <a16:creationId xmlns:a16="http://schemas.microsoft.com/office/drawing/2014/main" id="{43E7FB7B-7A01-41AF-ADC3-C9CCCC9CFA6F}"/>
                    </a:ext>
                  </a:extLst>
                </p:cNvPr>
                <p:cNvSpPr/>
                <p:nvPr/>
              </p:nvSpPr>
              <p:spPr>
                <a:xfrm>
                  <a:off x="4426144" y="2876859"/>
                  <a:ext cx="18357" cy="18416"/>
                </a:xfrm>
                <a:custGeom>
                  <a:avLst/>
                  <a:gdLst>
                    <a:gd name="connsiteX0" fmla="*/ 6368 w 18357"/>
                    <a:gd name="connsiteY0" fmla="*/ 17970 h 18416"/>
                    <a:gd name="connsiteX1" fmla="*/ 17910 w 18357"/>
                    <a:gd name="connsiteY1" fmla="*/ 12049 h 18416"/>
                    <a:gd name="connsiteX2" fmla="*/ 11990 w 18357"/>
                    <a:gd name="connsiteY2" fmla="*/ 447 h 18416"/>
                    <a:gd name="connsiteX3" fmla="*/ 447 w 18357"/>
                    <a:gd name="connsiteY3" fmla="*/ 6368 h 18416"/>
                    <a:gd name="connsiteX4" fmla="*/ 6368 w 18357"/>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6368" y="17970"/>
                      </a:moveTo>
                      <a:cubicBezTo>
                        <a:pt x="11212" y="19525"/>
                        <a:pt x="16355" y="16894"/>
                        <a:pt x="17910" y="12049"/>
                      </a:cubicBezTo>
                      <a:cubicBezTo>
                        <a:pt x="19465" y="7205"/>
                        <a:pt x="16834" y="2002"/>
                        <a:pt x="11990" y="447"/>
                      </a:cubicBezTo>
                      <a:cubicBezTo>
                        <a:pt x="7145" y="-1108"/>
                        <a:pt x="2002" y="1523"/>
                        <a:pt x="447" y="6368"/>
                      </a:cubicBezTo>
                      <a:cubicBezTo>
                        <a:pt x="-1108" y="11212"/>
                        <a:pt x="1523" y="16415"/>
                        <a:pt x="6368" y="17970"/>
                      </a:cubicBezTo>
                      <a:close/>
                    </a:path>
                  </a:pathLst>
                </a:custGeom>
                <a:grpFill/>
                <a:ln w="5978" cap="flat">
                  <a:noFill/>
                  <a:prstDash val="solid"/>
                  <a:miter/>
                </a:ln>
              </p:spPr>
              <p:txBody>
                <a:bodyPr rtlCol="0" anchor="ctr"/>
                <a:lstStyle/>
                <a:p>
                  <a:endParaRPr lang="en-GB"/>
                </a:p>
              </p:txBody>
            </p:sp>
          </p:grpSp>
          <p:grpSp>
            <p:nvGrpSpPr>
              <p:cNvPr id="1040" name="Graphic 3">
                <a:extLst>
                  <a:ext uri="{FF2B5EF4-FFF2-40B4-BE49-F238E27FC236}">
                    <a16:creationId xmlns:a16="http://schemas.microsoft.com/office/drawing/2014/main" id="{81ABC24A-0DAA-4ED3-9E84-B93CAC8B0182}"/>
                  </a:ext>
                </a:extLst>
              </p:cNvPr>
              <p:cNvGrpSpPr/>
              <p:nvPr/>
            </p:nvGrpSpPr>
            <p:grpSpPr>
              <a:xfrm>
                <a:off x="4952234" y="4782561"/>
                <a:ext cx="144141" cy="197050"/>
                <a:chOff x="4952234" y="4782561"/>
                <a:chExt cx="144141" cy="197050"/>
              </a:xfrm>
              <a:grpFill/>
            </p:grpSpPr>
            <p:sp>
              <p:nvSpPr>
                <p:cNvPr id="2280" name="Vrije vorm: vorm 2279">
                  <a:extLst>
                    <a:ext uri="{FF2B5EF4-FFF2-40B4-BE49-F238E27FC236}">
                      <a16:creationId xmlns:a16="http://schemas.microsoft.com/office/drawing/2014/main" id="{5532A701-8FBF-44A9-A522-4903A5CC9EB3}"/>
                    </a:ext>
                  </a:extLst>
                </p:cNvPr>
                <p:cNvSpPr/>
                <p:nvPr/>
              </p:nvSpPr>
              <p:spPr>
                <a:xfrm>
                  <a:off x="4959952" y="4790538"/>
                  <a:ext cx="128765" cy="181156"/>
                </a:xfrm>
                <a:custGeom>
                  <a:avLst/>
                  <a:gdLst>
                    <a:gd name="connsiteX0" fmla="*/ 128765 w 128765"/>
                    <a:gd name="connsiteY0" fmla="*/ 1735 h 181156"/>
                    <a:gd name="connsiteX1" fmla="*/ 2452 w 128765"/>
                    <a:gd name="connsiteY1" fmla="*/ 181156 h 181156"/>
                    <a:gd name="connsiteX2" fmla="*/ 0 w 128765"/>
                    <a:gd name="connsiteY2" fmla="*/ 179422 h 181156"/>
                    <a:gd name="connsiteX3" fmla="*/ 126313 w 128765"/>
                    <a:gd name="connsiteY3" fmla="*/ 0 h 181156"/>
                  </a:gdLst>
                  <a:ahLst/>
                  <a:cxnLst>
                    <a:cxn ang="0">
                      <a:pos x="connsiteX0" y="connsiteY0"/>
                    </a:cxn>
                    <a:cxn ang="0">
                      <a:pos x="connsiteX1" y="connsiteY1"/>
                    </a:cxn>
                    <a:cxn ang="0">
                      <a:pos x="connsiteX2" y="connsiteY2"/>
                    </a:cxn>
                    <a:cxn ang="0">
                      <a:pos x="connsiteX3" y="connsiteY3"/>
                    </a:cxn>
                  </a:cxnLst>
                  <a:rect l="l" t="t" r="r" b="b"/>
                  <a:pathLst>
                    <a:path w="128765" h="181156">
                      <a:moveTo>
                        <a:pt x="128765" y="1735"/>
                      </a:moveTo>
                      <a:lnTo>
                        <a:pt x="2452" y="181156"/>
                      </a:lnTo>
                      <a:lnTo>
                        <a:pt x="0" y="179422"/>
                      </a:lnTo>
                      <a:lnTo>
                        <a:pt x="126313" y="0"/>
                      </a:lnTo>
                      <a:close/>
                    </a:path>
                  </a:pathLst>
                </a:custGeom>
                <a:grpFill/>
                <a:ln w="5978" cap="flat">
                  <a:noFill/>
                  <a:prstDash val="solid"/>
                  <a:miter/>
                </a:ln>
              </p:spPr>
              <p:txBody>
                <a:bodyPr rtlCol="0" anchor="ctr"/>
                <a:lstStyle/>
                <a:p>
                  <a:endParaRPr lang="en-GB"/>
                </a:p>
              </p:txBody>
            </p:sp>
            <p:sp>
              <p:nvSpPr>
                <p:cNvPr id="2281" name="Vrije vorm: vorm 2280">
                  <a:extLst>
                    <a:ext uri="{FF2B5EF4-FFF2-40B4-BE49-F238E27FC236}">
                      <a16:creationId xmlns:a16="http://schemas.microsoft.com/office/drawing/2014/main" id="{50A631A8-0E57-45EA-9225-E9510DD2FA7D}"/>
                    </a:ext>
                  </a:extLst>
                </p:cNvPr>
                <p:cNvSpPr/>
                <p:nvPr/>
              </p:nvSpPr>
              <p:spPr>
                <a:xfrm>
                  <a:off x="4952234" y="4961205"/>
                  <a:ext cx="18366" cy="18406"/>
                </a:xfrm>
                <a:custGeom>
                  <a:avLst/>
                  <a:gdLst>
                    <a:gd name="connsiteX0" fmla="*/ 16689 w 18366"/>
                    <a:gd name="connsiteY0" fmla="*/ 14556 h 18406"/>
                    <a:gd name="connsiteX1" fmla="*/ 3890 w 18366"/>
                    <a:gd name="connsiteY1" fmla="*/ 16709 h 18406"/>
                    <a:gd name="connsiteX2" fmla="*/ 1677 w 18366"/>
                    <a:gd name="connsiteY2" fmla="*/ 3851 h 18406"/>
                    <a:gd name="connsiteX3" fmla="*/ 14476 w 18366"/>
                    <a:gd name="connsiteY3" fmla="*/ 1697 h 18406"/>
                    <a:gd name="connsiteX4" fmla="*/ 16689 w 18366"/>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6689" y="14556"/>
                      </a:moveTo>
                      <a:cubicBezTo>
                        <a:pt x="13759" y="18683"/>
                        <a:pt x="8077" y="19640"/>
                        <a:pt x="3890" y="16709"/>
                      </a:cubicBezTo>
                      <a:cubicBezTo>
                        <a:pt x="-237" y="13779"/>
                        <a:pt x="-1253" y="7977"/>
                        <a:pt x="1677" y="3851"/>
                      </a:cubicBezTo>
                      <a:cubicBezTo>
                        <a:pt x="4608" y="-276"/>
                        <a:pt x="10290" y="-1233"/>
                        <a:pt x="14476" y="1697"/>
                      </a:cubicBezTo>
                      <a:cubicBezTo>
                        <a:pt x="18603" y="4688"/>
                        <a:pt x="19620" y="10429"/>
                        <a:pt x="16689" y="14556"/>
                      </a:cubicBezTo>
                      <a:close/>
                    </a:path>
                  </a:pathLst>
                </a:custGeom>
                <a:grpFill/>
                <a:ln w="5978" cap="flat">
                  <a:noFill/>
                  <a:prstDash val="solid"/>
                  <a:miter/>
                </a:ln>
              </p:spPr>
              <p:txBody>
                <a:bodyPr rtlCol="0" anchor="ctr"/>
                <a:lstStyle/>
                <a:p>
                  <a:endParaRPr lang="en-GB"/>
                </a:p>
              </p:txBody>
            </p:sp>
            <p:sp>
              <p:nvSpPr>
                <p:cNvPr id="2282" name="Vrije vorm: vorm 2281">
                  <a:extLst>
                    <a:ext uri="{FF2B5EF4-FFF2-40B4-BE49-F238E27FC236}">
                      <a16:creationId xmlns:a16="http://schemas.microsoft.com/office/drawing/2014/main" id="{5C638883-405F-44D4-BCA6-06EA10627C95}"/>
                    </a:ext>
                  </a:extLst>
                </p:cNvPr>
                <p:cNvSpPr/>
                <p:nvPr/>
              </p:nvSpPr>
              <p:spPr>
                <a:xfrm>
                  <a:off x="5078009" y="4782561"/>
                  <a:ext cx="18366" cy="18432"/>
                </a:xfrm>
                <a:custGeom>
                  <a:avLst/>
                  <a:gdLst>
                    <a:gd name="connsiteX0" fmla="*/ 16689 w 18366"/>
                    <a:gd name="connsiteY0" fmla="*/ 14556 h 18432"/>
                    <a:gd name="connsiteX1" fmla="*/ 14476 w 18366"/>
                    <a:gd name="connsiteY1" fmla="*/ 1697 h 18432"/>
                    <a:gd name="connsiteX2" fmla="*/ 1677 w 18366"/>
                    <a:gd name="connsiteY2" fmla="*/ 3850 h 18432"/>
                    <a:gd name="connsiteX3" fmla="*/ 3890 w 18366"/>
                    <a:gd name="connsiteY3" fmla="*/ 16709 h 18432"/>
                    <a:gd name="connsiteX4" fmla="*/ 16689 w 18366"/>
                    <a:gd name="connsiteY4" fmla="*/ 1455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32">
                      <a:moveTo>
                        <a:pt x="16689" y="14556"/>
                      </a:moveTo>
                      <a:cubicBezTo>
                        <a:pt x="19620" y="10429"/>
                        <a:pt x="18603" y="4688"/>
                        <a:pt x="14476" y="1697"/>
                      </a:cubicBezTo>
                      <a:cubicBezTo>
                        <a:pt x="10349" y="-1233"/>
                        <a:pt x="4608" y="-276"/>
                        <a:pt x="1677" y="3850"/>
                      </a:cubicBezTo>
                      <a:cubicBezTo>
                        <a:pt x="-1253" y="7977"/>
                        <a:pt x="-237" y="13719"/>
                        <a:pt x="3890" y="16709"/>
                      </a:cubicBezTo>
                      <a:cubicBezTo>
                        <a:pt x="8077" y="19700"/>
                        <a:pt x="13758" y="18683"/>
                        <a:pt x="16689" y="14556"/>
                      </a:cubicBezTo>
                      <a:close/>
                    </a:path>
                  </a:pathLst>
                </a:custGeom>
                <a:grpFill/>
                <a:ln w="5978" cap="flat">
                  <a:noFill/>
                  <a:prstDash val="solid"/>
                  <a:miter/>
                </a:ln>
              </p:spPr>
              <p:txBody>
                <a:bodyPr rtlCol="0" anchor="ctr"/>
                <a:lstStyle/>
                <a:p>
                  <a:endParaRPr lang="en-GB"/>
                </a:p>
              </p:txBody>
            </p:sp>
          </p:grpSp>
          <p:grpSp>
            <p:nvGrpSpPr>
              <p:cNvPr id="1041" name="Graphic 3">
                <a:extLst>
                  <a:ext uri="{FF2B5EF4-FFF2-40B4-BE49-F238E27FC236}">
                    <a16:creationId xmlns:a16="http://schemas.microsoft.com/office/drawing/2014/main" id="{85CC762C-06D7-4AC5-AEEC-826F66DBE8AB}"/>
                  </a:ext>
                </a:extLst>
              </p:cNvPr>
              <p:cNvGrpSpPr/>
              <p:nvPr/>
            </p:nvGrpSpPr>
            <p:grpSpPr>
              <a:xfrm>
                <a:off x="4052409" y="2541722"/>
                <a:ext cx="435778" cy="233199"/>
                <a:chOff x="4052409" y="2541722"/>
                <a:chExt cx="435778" cy="233199"/>
              </a:xfrm>
              <a:grpFill/>
            </p:grpSpPr>
            <p:sp>
              <p:nvSpPr>
                <p:cNvPr id="2277" name="Vrije vorm: vorm 2276">
                  <a:extLst>
                    <a:ext uri="{FF2B5EF4-FFF2-40B4-BE49-F238E27FC236}">
                      <a16:creationId xmlns:a16="http://schemas.microsoft.com/office/drawing/2014/main" id="{44BFB2DA-8EF8-4C14-8AF6-37DD3A537F39}"/>
                    </a:ext>
                  </a:extLst>
                </p:cNvPr>
                <p:cNvSpPr/>
                <p:nvPr/>
              </p:nvSpPr>
              <p:spPr>
                <a:xfrm>
                  <a:off x="4060451" y="2549382"/>
                  <a:ext cx="419667" cy="217877"/>
                </a:xfrm>
                <a:custGeom>
                  <a:avLst/>
                  <a:gdLst>
                    <a:gd name="connsiteX0" fmla="*/ 419668 w 419667"/>
                    <a:gd name="connsiteY0" fmla="*/ 215127 h 217877"/>
                    <a:gd name="connsiteX1" fmla="*/ 418292 w 419667"/>
                    <a:gd name="connsiteY1" fmla="*/ 217878 h 217877"/>
                    <a:gd name="connsiteX2" fmla="*/ 0 w 419667"/>
                    <a:gd name="connsiteY2" fmla="*/ 2751 h 217877"/>
                    <a:gd name="connsiteX3" fmla="*/ 1376 w 419667"/>
                    <a:gd name="connsiteY3" fmla="*/ 0 h 217877"/>
                  </a:gdLst>
                  <a:ahLst/>
                  <a:cxnLst>
                    <a:cxn ang="0">
                      <a:pos x="connsiteX0" y="connsiteY0"/>
                    </a:cxn>
                    <a:cxn ang="0">
                      <a:pos x="connsiteX1" y="connsiteY1"/>
                    </a:cxn>
                    <a:cxn ang="0">
                      <a:pos x="connsiteX2" y="connsiteY2"/>
                    </a:cxn>
                    <a:cxn ang="0">
                      <a:pos x="connsiteX3" y="connsiteY3"/>
                    </a:cxn>
                  </a:cxnLst>
                  <a:rect l="l" t="t" r="r" b="b"/>
                  <a:pathLst>
                    <a:path w="419667" h="217877">
                      <a:moveTo>
                        <a:pt x="419668" y="215127"/>
                      </a:moveTo>
                      <a:lnTo>
                        <a:pt x="418292" y="217878"/>
                      </a:lnTo>
                      <a:lnTo>
                        <a:pt x="0" y="2751"/>
                      </a:lnTo>
                      <a:lnTo>
                        <a:pt x="1376" y="0"/>
                      </a:lnTo>
                      <a:close/>
                    </a:path>
                  </a:pathLst>
                </a:custGeom>
                <a:grpFill/>
                <a:ln w="5978" cap="flat">
                  <a:noFill/>
                  <a:prstDash val="solid"/>
                  <a:miter/>
                </a:ln>
              </p:spPr>
              <p:txBody>
                <a:bodyPr rtlCol="0" anchor="ctr"/>
                <a:lstStyle/>
                <a:p>
                  <a:endParaRPr lang="en-GB"/>
                </a:p>
              </p:txBody>
            </p:sp>
            <p:sp>
              <p:nvSpPr>
                <p:cNvPr id="2278" name="Vrije vorm: vorm 2277">
                  <a:extLst>
                    <a:ext uri="{FF2B5EF4-FFF2-40B4-BE49-F238E27FC236}">
                      <a16:creationId xmlns:a16="http://schemas.microsoft.com/office/drawing/2014/main" id="{BA292FDE-6803-490D-AC56-082EDFD52933}"/>
                    </a:ext>
                  </a:extLst>
                </p:cNvPr>
                <p:cNvSpPr/>
                <p:nvPr/>
              </p:nvSpPr>
              <p:spPr>
                <a:xfrm>
                  <a:off x="4469837" y="2756489"/>
                  <a:ext cx="18349" cy="18431"/>
                </a:xfrm>
                <a:custGeom>
                  <a:avLst/>
                  <a:gdLst>
                    <a:gd name="connsiteX0" fmla="*/ 13332 w 18349"/>
                    <a:gd name="connsiteY0" fmla="*/ 1022 h 18431"/>
                    <a:gd name="connsiteX1" fmla="*/ 17338 w 18349"/>
                    <a:gd name="connsiteY1" fmla="*/ 13402 h 18431"/>
                    <a:gd name="connsiteX2" fmla="*/ 5018 w 18349"/>
                    <a:gd name="connsiteY2" fmla="*/ 17409 h 18431"/>
                    <a:gd name="connsiteX3" fmla="*/ 1011 w 18349"/>
                    <a:gd name="connsiteY3" fmla="*/ 5029 h 18431"/>
                    <a:gd name="connsiteX4" fmla="*/ 13332 w 18349"/>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13332" y="1022"/>
                      </a:moveTo>
                      <a:cubicBezTo>
                        <a:pt x="17817" y="3355"/>
                        <a:pt x="19671" y="8917"/>
                        <a:pt x="17338" y="13402"/>
                      </a:cubicBezTo>
                      <a:cubicBezTo>
                        <a:pt x="15066" y="17948"/>
                        <a:pt x="9504" y="19742"/>
                        <a:pt x="5018" y="17409"/>
                      </a:cubicBezTo>
                      <a:cubicBezTo>
                        <a:pt x="533" y="15077"/>
                        <a:pt x="-1321" y="9515"/>
                        <a:pt x="1011" y="5029"/>
                      </a:cubicBezTo>
                      <a:cubicBezTo>
                        <a:pt x="3284" y="484"/>
                        <a:pt x="8846" y="-1310"/>
                        <a:pt x="13332" y="1022"/>
                      </a:cubicBezTo>
                      <a:close/>
                    </a:path>
                  </a:pathLst>
                </a:custGeom>
                <a:grpFill/>
                <a:ln w="5978" cap="flat">
                  <a:noFill/>
                  <a:prstDash val="solid"/>
                  <a:miter/>
                </a:ln>
              </p:spPr>
              <p:txBody>
                <a:bodyPr rtlCol="0" anchor="ctr"/>
                <a:lstStyle/>
                <a:p>
                  <a:endParaRPr lang="en-GB"/>
                </a:p>
              </p:txBody>
            </p:sp>
            <p:sp>
              <p:nvSpPr>
                <p:cNvPr id="2279" name="Vrije vorm: vorm 2278">
                  <a:extLst>
                    <a:ext uri="{FF2B5EF4-FFF2-40B4-BE49-F238E27FC236}">
                      <a16:creationId xmlns:a16="http://schemas.microsoft.com/office/drawing/2014/main" id="{E8211B4A-6BAF-47E3-A67F-107655E5680D}"/>
                    </a:ext>
                  </a:extLst>
                </p:cNvPr>
                <p:cNvSpPr/>
                <p:nvPr/>
              </p:nvSpPr>
              <p:spPr>
                <a:xfrm>
                  <a:off x="4052409" y="2541722"/>
                  <a:ext cx="18297" cy="18405"/>
                </a:xfrm>
                <a:custGeom>
                  <a:avLst/>
                  <a:gdLst>
                    <a:gd name="connsiteX0" fmla="*/ 13305 w 18297"/>
                    <a:gd name="connsiteY0" fmla="*/ 1022 h 18405"/>
                    <a:gd name="connsiteX1" fmla="*/ 985 w 18297"/>
                    <a:gd name="connsiteY1" fmla="*/ 5029 h 18405"/>
                    <a:gd name="connsiteX2" fmla="*/ 4992 w 18297"/>
                    <a:gd name="connsiteY2" fmla="*/ 17409 h 18405"/>
                    <a:gd name="connsiteX3" fmla="*/ 17312 w 18297"/>
                    <a:gd name="connsiteY3" fmla="*/ 13402 h 18405"/>
                    <a:gd name="connsiteX4" fmla="*/ 13305 w 18297"/>
                    <a:gd name="connsiteY4" fmla="*/ 102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13305" y="1022"/>
                      </a:moveTo>
                      <a:cubicBezTo>
                        <a:pt x="8820" y="-1310"/>
                        <a:pt x="3258" y="484"/>
                        <a:pt x="985" y="5029"/>
                      </a:cubicBezTo>
                      <a:cubicBezTo>
                        <a:pt x="-1288" y="9575"/>
                        <a:pt x="507" y="15137"/>
                        <a:pt x="4992" y="17409"/>
                      </a:cubicBezTo>
                      <a:cubicBezTo>
                        <a:pt x="9478" y="19682"/>
                        <a:pt x="15040" y="17948"/>
                        <a:pt x="17312" y="13402"/>
                      </a:cubicBezTo>
                      <a:cubicBezTo>
                        <a:pt x="19585" y="8917"/>
                        <a:pt x="17791" y="3355"/>
                        <a:pt x="13305" y="1022"/>
                      </a:cubicBezTo>
                      <a:close/>
                    </a:path>
                  </a:pathLst>
                </a:custGeom>
                <a:grpFill/>
                <a:ln w="5978" cap="flat">
                  <a:noFill/>
                  <a:prstDash val="solid"/>
                  <a:miter/>
                </a:ln>
              </p:spPr>
              <p:txBody>
                <a:bodyPr rtlCol="0" anchor="ctr"/>
                <a:lstStyle/>
                <a:p>
                  <a:endParaRPr lang="en-GB"/>
                </a:p>
              </p:txBody>
            </p:sp>
          </p:grpSp>
          <p:grpSp>
            <p:nvGrpSpPr>
              <p:cNvPr id="1042" name="Graphic 3">
                <a:extLst>
                  <a:ext uri="{FF2B5EF4-FFF2-40B4-BE49-F238E27FC236}">
                    <a16:creationId xmlns:a16="http://schemas.microsoft.com/office/drawing/2014/main" id="{3247DED1-9D3D-407A-9E44-A91D2EE7F290}"/>
                  </a:ext>
                </a:extLst>
              </p:cNvPr>
              <p:cNvGrpSpPr/>
              <p:nvPr/>
            </p:nvGrpSpPr>
            <p:grpSpPr>
              <a:xfrm>
                <a:off x="5015716" y="4962286"/>
                <a:ext cx="119387" cy="187533"/>
                <a:chOff x="5015716" y="4962286"/>
                <a:chExt cx="119387" cy="187533"/>
              </a:xfrm>
              <a:grpFill/>
            </p:grpSpPr>
            <p:sp>
              <p:nvSpPr>
                <p:cNvPr id="2274" name="Vrije vorm: vorm 2273">
                  <a:extLst>
                    <a:ext uri="{FF2B5EF4-FFF2-40B4-BE49-F238E27FC236}">
                      <a16:creationId xmlns:a16="http://schemas.microsoft.com/office/drawing/2014/main" id="{B4A4904B-28A6-4834-8D64-12563E5D6475}"/>
                    </a:ext>
                  </a:extLst>
                </p:cNvPr>
                <p:cNvSpPr/>
                <p:nvPr/>
              </p:nvSpPr>
              <p:spPr>
                <a:xfrm>
                  <a:off x="5023347" y="4970318"/>
                  <a:ext cx="104124" cy="171467"/>
                </a:xfrm>
                <a:custGeom>
                  <a:avLst/>
                  <a:gdLst>
                    <a:gd name="connsiteX0" fmla="*/ 104125 w 104124"/>
                    <a:gd name="connsiteY0" fmla="*/ 1615 h 171467"/>
                    <a:gd name="connsiteX1" fmla="*/ 2572 w 104124"/>
                    <a:gd name="connsiteY1" fmla="*/ 171468 h 171467"/>
                    <a:gd name="connsiteX2" fmla="*/ 0 w 104124"/>
                    <a:gd name="connsiteY2" fmla="*/ 169913 h 171467"/>
                    <a:gd name="connsiteX3" fmla="*/ 101553 w 104124"/>
                    <a:gd name="connsiteY3" fmla="*/ 0 h 171467"/>
                  </a:gdLst>
                  <a:ahLst/>
                  <a:cxnLst>
                    <a:cxn ang="0">
                      <a:pos x="connsiteX0" y="connsiteY0"/>
                    </a:cxn>
                    <a:cxn ang="0">
                      <a:pos x="connsiteX1" y="connsiteY1"/>
                    </a:cxn>
                    <a:cxn ang="0">
                      <a:pos x="connsiteX2" y="connsiteY2"/>
                    </a:cxn>
                    <a:cxn ang="0">
                      <a:pos x="connsiteX3" y="connsiteY3"/>
                    </a:cxn>
                  </a:cxnLst>
                  <a:rect l="l" t="t" r="r" b="b"/>
                  <a:pathLst>
                    <a:path w="104124" h="171467">
                      <a:moveTo>
                        <a:pt x="104125" y="1615"/>
                      </a:moveTo>
                      <a:lnTo>
                        <a:pt x="2572" y="171468"/>
                      </a:lnTo>
                      <a:lnTo>
                        <a:pt x="0" y="169913"/>
                      </a:lnTo>
                      <a:lnTo>
                        <a:pt x="101553" y="0"/>
                      </a:lnTo>
                      <a:close/>
                    </a:path>
                  </a:pathLst>
                </a:custGeom>
                <a:grpFill/>
                <a:ln w="5978" cap="flat">
                  <a:noFill/>
                  <a:prstDash val="solid"/>
                  <a:miter/>
                </a:ln>
              </p:spPr>
              <p:txBody>
                <a:bodyPr rtlCol="0" anchor="ctr"/>
                <a:lstStyle/>
                <a:p>
                  <a:endParaRPr lang="en-GB"/>
                </a:p>
              </p:txBody>
            </p:sp>
            <p:sp>
              <p:nvSpPr>
                <p:cNvPr id="2275" name="Vrije vorm: vorm 2274">
                  <a:extLst>
                    <a:ext uri="{FF2B5EF4-FFF2-40B4-BE49-F238E27FC236}">
                      <a16:creationId xmlns:a16="http://schemas.microsoft.com/office/drawing/2014/main" id="{4BC846C2-DDB5-47C5-B3B1-98CD6A156FC2}"/>
                    </a:ext>
                  </a:extLst>
                </p:cNvPr>
                <p:cNvSpPr/>
                <p:nvPr/>
              </p:nvSpPr>
              <p:spPr>
                <a:xfrm>
                  <a:off x="5015716" y="5131361"/>
                  <a:ext cx="18312" cy="18458"/>
                </a:xfrm>
                <a:custGeom>
                  <a:avLst/>
                  <a:gdLst>
                    <a:gd name="connsiteX0" fmla="*/ 17021 w 18312"/>
                    <a:gd name="connsiteY0" fmla="*/ 14014 h 18458"/>
                    <a:gd name="connsiteX1" fmla="*/ 4462 w 18312"/>
                    <a:gd name="connsiteY1" fmla="*/ 17124 h 18458"/>
                    <a:gd name="connsiteX2" fmla="*/ 1292 w 18312"/>
                    <a:gd name="connsiteY2" fmla="*/ 4445 h 18458"/>
                    <a:gd name="connsiteX3" fmla="*/ 13851 w 18312"/>
                    <a:gd name="connsiteY3" fmla="*/ 1335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4449" y="18380"/>
                        <a:pt x="8768" y="19755"/>
                        <a:pt x="4462" y="17124"/>
                      </a:cubicBezTo>
                      <a:cubicBezTo>
                        <a:pt x="96" y="14492"/>
                        <a:pt x="-1280" y="8811"/>
                        <a:pt x="1292" y="4445"/>
                      </a:cubicBezTo>
                      <a:cubicBezTo>
                        <a:pt x="3864" y="79"/>
                        <a:pt x="9545" y="-1297"/>
                        <a:pt x="13851" y="1335"/>
                      </a:cubicBezTo>
                      <a:cubicBezTo>
                        <a:pt x="18217" y="4026"/>
                        <a:pt x="19593" y="9708"/>
                        <a:pt x="17021" y="14014"/>
                      </a:cubicBezTo>
                      <a:close/>
                    </a:path>
                  </a:pathLst>
                </a:custGeom>
                <a:grpFill/>
                <a:ln w="5978" cap="flat">
                  <a:noFill/>
                  <a:prstDash val="solid"/>
                  <a:miter/>
                </a:ln>
              </p:spPr>
              <p:txBody>
                <a:bodyPr rtlCol="0" anchor="ctr"/>
                <a:lstStyle/>
                <a:p>
                  <a:endParaRPr lang="en-GB"/>
                </a:p>
              </p:txBody>
            </p:sp>
            <p:sp>
              <p:nvSpPr>
                <p:cNvPr id="2276" name="Vrije vorm: vorm 2275">
                  <a:extLst>
                    <a:ext uri="{FF2B5EF4-FFF2-40B4-BE49-F238E27FC236}">
                      <a16:creationId xmlns:a16="http://schemas.microsoft.com/office/drawing/2014/main" id="{B44B3B59-5C55-406D-BCC4-D025A0BDEB0D}"/>
                    </a:ext>
                  </a:extLst>
                </p:cNvPr>
                <p:cNvSpPr/>
                <p:nvPr/>
              </p:nvSpPr>
              <p:spPr>
                <a:xfrm>
                  <a:off x="5116790" y="4962286"/>
                  <a:ext cx="18312" cy="18458"/>
                </a:xfrm>
                <a:custGeom>
                  <a:avLst/>
                  <a:gdLst>
                    <a:gd name="connsiteX0" fmla="*/ 17021 w 18312"/>
                    <a:gd name="connsiteY0" fmla="*/ 14014 h 18458"/>
                    <a:gd name="connsiteX1" fmla="*/ 13851 w 18312"/>
                    <a:gd name="connsiteY1" fmla="*/ 1335 h 18458"/>
                    <a:gd name="connsiteX2" fmla="*/ 1292 w 18312"/>
                    <a:gd name="connsiteY2" fmla="*/ 4445 h 18458"/>
                    <a:gd name="connsiteX3" fmla="*/ 4462 w 18312"/>
                    <a:gd name="connsiteY3" fmla="*/ 17124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9593" y="9648"/>
                        <a:pt x="18217" y="3966"/>
                        <a:pt x="13851" y="1335"/>
                      </a:cubicBezTo>
                      <a:cubicBezTo>
                        <a:pt x="9485" y="-1297"/>
                        <a:pt x="3863" y="79"/>
                        <a:pt x="1292" y="4445"/>
                      </a:cubicBezTo>
                      <a:cubicBezTo>
                        <a:pt x="-1280" y="8810"/>
                        <a:pt x="96" y="14492"/>
                        <a:pt x="4462" y="17124"/>
                      </a:cubicBezTo>
                      <a:cubicBezTo>
                        <a:pt x="8768" y="19755"/>
                        <a:pt x="14449" y="18380"/>
                        <a:pt x="17021" y="14014"/>
                      </a:cubicBezTo>
                      <a:close/>
                    </a:path>
                  </a:pathLst>
                </a:custGeom>
                <a:grpFill/>
                <a:ln w="5978" cap="flat">
                  <a:noFill/>
                  <a:prstDash val="solid"/>
                  <a:miter/>
                </a:ln>
              </p:spPr>
              <p:txBody>
                <a:bodyPr rtlCol="0" anchor="ctr"/>
                <a:lstStyle/>
                <a:p>
                  <a:endParaRPr lang="en-GB"/>
                </a:p>
              </p:txBody>
            </p:sp>
          </p:grpSp>
          <p:grpSp>
            <p:nvGrpSpPr>
              <p:cNvPr id="1043" name="Graphic 3">
                <a:extLst>
                  <a:ext uri="{FF2B5EF4-FFF2-40B4-BE49-F238E27FC236}">
                    <a16:creationId xmlns:a16="http://schemas.microsoft.com/office/drawing/2014/main" id="{773606AE-8F80-49A5-9714-1326A2B8D1F6}"/>
                  </a:ext>
                </a:extLst>
              </p:cNvPr>
              <p:cNvGrpSpPr/>
              <p:nvPr/>
            </p:nvGrpSpPr>
            <p:grpSpPr>
              <a:xfrm>
                <a:off x="4022196" y="2141296"/>
                <a:ext cx="169150" cy="112779"/>
                <a:chOff x="4022196" y="2141296"/>
                <a:chExt cx="169150" cy="112779"/>
              </a:xfrm>
              <a:grpFill/>
            </p:grpSpPr>
            <p:sp>
              <p:nvSpPr>
                <p:cNvPr id="2271" name="Vrije vorm: vorm 2270">
                  <a:extLst>
                    <a:ext uri="{FF2B5EF4-FFF2-40B4-BE49-F238E27FC236}">
                      <a16:creationId xmlns:a16="http://schemas.microsoft.com/office/drawing/2014/main" id="{967E8489-26C3-488F-8A56-9C03093A5620}"/>
                    </a:ext>
                  </a:extLst>
                </p:cNvPr>
                <p:cNvSpPr/>
                <p:nvPr/>
              </p:nvSpPr>
              <p:spPr>
                <a:xfrm>
                  <a:off x="4030188" y="2148913"/>
                  <a:ext cx="153226" cy="97485"/>
                </a:xfrm>
                <a:custGeom>
                  <a:avLst/>
                  <a:gdLst>
                    <a:gd name="connsiteX0" fmla="*/ 153226 w 153226"/>
                    <a:gd name="connsiteY0" fmla="*/ 94914 h 97485"/>
                    <a:gd name="connsiteX1" fmla="*/ 151612 w 153226"/>
                    <a:gd name="connsiteY1" fmla="*/ 97486 h 97485"/>
                    <a:gd name="connsiteX2" fmla="*/ 0 w 153226"/>
                    <a:gd name="connsiteY2" fmla="*/ 2572 h 97485"/>
                    <a:gd name="connsiteX3" fmla="*/ 1615 w 153226"/>
                    <a:gd name="connsiteY3" fmla="*/ 0 h 97485"/>
                  </a:gdLst>
                  <a:ahLst/>
                  <a:cxnLst>
                    <a:cxn ang="0">
                      <a:pos x="connsiteX0" y="connsiteY0"/>
                    </a:cxn>
                    <a:cxn ang="0">
                      <a:pos x="connsiteX1" y="connsiteY1"/>
                    </a:cxn>
                    <a:cxn ang="0">
                      <a:pos x="connsiteX2" y="connsiteY2"/>
                    </a:cxn>
                    <a:cxn ang="0">
                      <a:pos x="connsiteX3" y="connsiteY3"/>
                    </a:cxn>
                  </a:cxnLst>
                  <a:rect l="l" t="t" r="r" b="b"/>
                  <a:pathLst>
                    <a:path w="153226" h="97485">
                      <a:moveTo>
                        <a:pt x="153226" y="94914"/>
                      </a:moveTo>
                      <a:lnTo>
                        <a:pt x="151612" y="97486"/>
                      </a:lnTo>
                      <a:lnTo>
                        <a:pt x="0" y="2572"/>
                      </a:lnTo>
                      <a:lnTo>
                        <a:pt x="1615" y="0"/>
                      </a:lnTo>
                      <a:close/>
                    </a:path>
                  </a:pathLst>
                </a:custGeom>
                <a:grpFill/>
                <a:ln w="5978" cap="flat">
                  <a:noFill/>
                  <a:prstDash val="solid"/>
                  <a:miter/>
                </a:ln>
              </p:spPr>
              <p:txBody>
                <a:bodyPr rtlCol="0" anchor="ctr"/>
                <a:lstStyle/>
                <a:p>
                  <a:endParaRPr lang="en-GB"/>
                </a:p>
              </p:txBody>
            </p:sp>
            <p:sp>
              <p:nvSpPr>
                <p:cNvPr id="2272" name="Vrije vorm: vorm 2271">
                  <a:extLst>
                    <a:ext uri="{FF2B5EF4-FFF2-40B4-BE49-F238E27FC236}">
                      <a16:creationId xmlns:a16="http://schemas.microsoft.com/office/drawing/2014/main" id="{F8E2BA97-70F0-4F9C-8F87-5341A13F9152}"/>
                    </a:ext>
                  </a:extLst>
                </p:cNvPr>
                <p:cNvSpPr/>
                <p:nvPr/>
              </p:nvSpPr>
              <p:spPr>
                <a:xfrm>
                  <a:off x="4022196" y="2141296"/>
                  <a:ext cx="18316" cy="18403"/>
                </a:xfrm>
                <a:custGeom>
                  <a:avLst/>
                  <a:gdLst>
                    <a:gd name="connsiteX0" fmla="*/ 4344 w 18316"/>
                    <a:gd name="connsiteY0" fmla="*/ 17007 h 18403"/>
                    <a:gd name="connsiteX1" fmla="*/ 1354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4" y="4327"/>
                      </a:cubicBezTo>
                      <a:cubicBezTo>
                        <a:pt x="4045" y="21"/>
                        <a:pt x="9667" y="-1294"/>
                        <a:pt x="13973" y="1397"/>
                      </a:cubicBezTo>
                      <a:cubicBezTo>
                        <a:pt x="18279" y="4088"/>
                        <a:pt x="19595" y="9770"/>
                        <a:pt x="16963" y="14076"/>
                      </a:cubicBezTo>
                      <a:cubicBezTo>
                        <a:pt x="14332" y="18382"/>
                        <a:pt x="8650" y="19698"/>
                        <a:pt x="4344" y="17007"/>
                      </a:cubicBezTo>
                      <a:close/>
                    </a:path>
                  </a:pathLst>
                </a:custGeom>
                <a:grpFill/>
                <a:ln w="5978" cap="flat">
                  <a:noFill/>
                  <a:prstDash val="solid"/>
                  <a:miter/>
                </a:ln>
              </p:spPr>
              <p:txBody>
                <a:bodyPr rtlCol="0" anchor="ctr"/>
                <a:lstStyle/>
                <a:p>
                  <a:endParaRPr lang="en-GB"/>
                </a:p>
              </p:txBody>
            </p:sp>
            <p:sp>
              <p:nvSpPr>
                <p:cNvPr id="2273" name="Vrije vorm: vorm 2272">
                  <a:extLst>
                    <a:ext uri="{FF2B5EF4-FFF2-40B4-BE49-F238E27FC236}">
                      <a16:creationId xmlns:a16="http://schemas.microsoft.com/office/drawing/2014/main" id="{7A949B4F-43F0-423D-8128-619B66BD6DE8}"/>
                    </a:ext>
                  </a:extLst>
                </p:cNvPr>
                <p:cNvSpPr/>
                <p:nvPr/>
              </p:nvSpPr>
              <p:spPr>
                <a:xfrm>
                  <a:off x="4173030" y="2235672"/>
                  <a:ext cx="18316" cy="18403"/>
                </a:xfrm>
                <a:custGeom>
                  <a:avLst/>
                  <a:gdLst>
                    <a:gd name="connsiteX0" fmla="*/ 4344 w 18316"/>
                    <a:gd name="connsiteY0" fmla="*/ 17007 h 18403"/>
                    <a:gd name="connsiteX1" fmla="*/ 16963 w 18316"/>
                    <a:gd name="connsiteY1" fmla="*/ 14076 h 18403"/>
                    <a:gd name="connsiteX2" fmla="*/ 13973 w 18316"/>
                    <a:gd name="connsiteY2" fmla="*/ 1397 h 18403"/>
                    <a:gd name="connsiteX3" fmla="*/ 1354 w 18316"/>
                    <a:gd name="connsiteY3" fmla="*/ 4327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8650" y="19698"/>
                        <a:pt x="14272" y="18382"/>
                        <a:pt x="16963" y="14076"/>
                      </a:cubicBezTo>
                      <a:cubicBezTo>
                        <a:pt x="19595" y="9770"/>
                        <a:pt x="18279" y="4088"/>
                        <a:pt x="13973" y="1397"/>
                      </a:cubicBezTo>
                      <a:cubicBezTo>
                        <a:pt x="9667" y="-1294"/>
                        <a:pt x="4045" y="21"/>
                        <a:pt x="1354" y="4327"/>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1044" name="Graphic 3">
                <a:extLst>
                  <a:ext uri="{FF2B5EF4-FFF2-40B4-BE49-F238E27FC236}">
                    <a16:creationId xmlns:a16="http://schemas.microsoft.com/office/drawing/2014/main" id="{1AF52AED-495B-4B7C-908F-653B4BE1CAB6}"/>
                  </a:ext>
                </a:extLst>
              </p:cNvPr>
              <p:cNvGrpSpPr/>
              <p:nvPr/>
            </p:nvGrpSpPr>
            <p:grpSpPr>
              <a:xfrm>
                <a:off x="4930353" y="4858200"/>
                <a:ext cx="302492" cy="435509"/>
                <a:chOff x="4930353" y="4858200"/>
                <a:chExt cx="302492" cy="435509"/>
              </a:xfrm>
              <a:grpFill/>
            </p:grpSpPr>
            <p:sp>
              <p:nvSpPr>
                <p:cNvPr id="2268" name="Vrije vorm: vorm 2267">
                  <a:extLst>
                    <a:ext uri="{FF2B5EF4-FFF2-40B4-BE49-F238E27FC236}">
                      <a16:creationId xmlns:a16="http://schemas.microsoft.com/office/drawing/2014/main" id="{95E713A8-D2F5-48E5-BEAF-37979952FA82}"/>
                    </a:ext>
                  </a:extLst>
                </p:cNvPr>
                <p:cNvSpPr/>
                <p:nvPr/>
              </p:nvSpPr>
              <p:spPr>
                <a:xfrm>
                  <a:off x="4938003" y="4866134"/>
                  <a:ext cx="287194" cy="419607"/>
                </a:xfrm>
                <a:custGeom>
                  <a:avLst/>
                  <a:gdLst>
                    <a:gd name="connsiteX0" fmla="*/ 287194 w 287194"/>
                    <a:gd name="connsiteY0" fmla="*/ 1735 h 419607"/>
                    <a:gd name="connsiteX1" fmla="*/ 2512 w 287194"/>
                    <a:gd name="connsiteY1" fmla="*/ 419608 h 419607"/>
                    <a:gd name="connsiteX2" fmla="*/ 0 w 287194"/>
                    <a:gd name="connsiteY2" fmla="*/ 417873 h 419607"/>
                    <a:gd name="connsiteX3" fmla="*/ 284682 w 287194"/>
                    <a:gd name="connsiteY3" fmla="*/ 0 h 419607"/>
                  </a:gdLst>
                  <a:ahLst/>
                  <a:cxnLst>
                    <a:cxn ang="0">
                      <a:pos x="connsiteX0" y="connsiteY0"/>
                    </a:cxn>
                    <a:cxn ang="0">
                      <a:pos x="connsiteX1" y="connsiteY1"/>
                    </a:cxn>
                    <a:cxn ang="0">
                      <a:pos x="connsiteX2" y="connsiteY2"/>
                    </a:cxn>
                    <a:cxn ang="0">
                      <a:pos x="connsiteX3" y="connsiteY3"/>
                    </a:cxn>
                  </a:cxnLst>
                  <a:rect l="l" t="t" r="r" b="b"/>
                  <a:pathLst>
                    <a:path w="287194" h="419607">
                      <a:moveTo>
                        <a:pt x="287194" y="1735"/>
                      </a:moveTo>
                      <a:lnTo>
                        <a:pt x="2512" y="419608"/>
                      </a:lnTo>
                      <a:lnTo>
                        <a:pt x="0" y="417873"/>
                      </a:lnTo>
                      <a:lnTo>
                        <a:pt x="284682" y="0"/>
                      </a:lnTo>
                      <a:close/>
                    </a:path>
                  </a:pathLst>
                </a:custGeom>
                <a:grpFill/>
                <a:ln w="5978" cap="flat">
                  <a:noFill/>
                  <a:prstDash val="solid"/>
                  <a:miter/>
                </a:ln>
              </p:spPr>
              <p:txBody>
                <a:bodyPr rtlCol="0" anchor="ctr"/>
                <a:lstStyle/>
                <a:p>
                  <a:endParaRPr lang="en-GB"/>
                </a:p>
              </p:txBody>
            </p:sp>
            <p:sp>
              <p:nvSpPr>
                <p:cNvPr id="2269" name="Vrije vorm: vorm 2268">
                  <a:extLst>
                    <a:ext uri="{FF2B5EF4-FFF2-40B4-BE49-F238E27FC236}">
                      <a16:creationId xmlns:a16="http://schemas.microsoft.com/office/drawing/2014/main" id="{D0779A63-D76F-403B-A434-8342C5BF9CFF}"/>
                    </a:ext>
                  </a:extLst>
                </p:cNvPr>
                <p:cNvSpPr/>
                <p:nvPr/>
              </p:nvSpPr>
              <p:spPr>
                <a:xfrm>
                  <a:off x="5214540" y="4858200"/>
                  <a:ext cx="18306" cy="18439"/>
                </a:xfrm>
                <a:custGeom>
                  <a:avLst/>
                  <a:gdLst>
                    <a:gd name="connsiteX0" fmla="*/ 1567 w 18306"/>
                    <a:gd name="connsiteY0" fmla="*/ 3987 h 18439"/>
                    <a:gd name="connsiteX1" fmla="*/ 14306 w 18306"/>
                    <a:gd name="connsiteY1" fmla="*/ 1654 h 18439"/>
                    <a:gd name="connsiteX2" fmla="*/ 16698 w 18306"/>
                    <a:gd name="connsiteY2" fmla="*/ 14453 h 18439"/>
                    <a:gd name="connsiteX3" fmla="*/ 3959 w 18306"/>
                    <a:gd name="connsiteY3" fmla="*/ 16785 h 18439"/>
                    <a:gd name="connsiteX4" fmla="*/ 1567 w 18306"/>
                    <a:gd name="connsiteY4" fmla="*/ 3987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9">
                      <a:moveTo>
                        <a:pt x="1567" y="3987"/>
                      </a:moveTo>
                      <a:cubicBezTo>
                        <a:pt x="4437" y="-200"/>
                        <a:pt x="10119" y="-1276"/>
                        <a:pt x="14306" y="1654"/>
                      </a:cubicBezTo>
                      <a:cubicBezTo>
                        <a:pt x="18492" y="4525"/>
                        <a:pt x="19569" y="10266"/>
                        <a:pt x="16698" y="14453"/>
                      </a:cubicBezTo>
                      <a:cubicBezTo>
                        <a:pt x="13827" y="18640"/>
                        <a:pt x="8145" y="19716"/>
                        <a:pt x="3959" y="16785"/>
                      </a:cubicBezTo>
                      <a:cubicBezTo>
                        <a:pt x="-168" y="13915"/>
                        <a:pt x="-1245" y="8173"/>
                        <a:pt x="1567" y="3987"/>
                      </a:cubicBezTo>
                      <a:close/>
                    </a:path>
                  </a:pathLst>
                </a:custGeom>
                <a:grpFill/>
                <a:ln w="5978" cap="flat">
                  <a:noFill/>
                  <a:prstDash val="solid"/>
                  <a:miter/>
                </a:ln>
              </p:spPr>
              <p:txBody>
                <a:bodyPr rtlCol="0" anchor="ctr"/>
                <a:lstStyle/>
                <a:p>
                  <a:endParaRPr lang="en-GB"/>
                </a:p>
              </p:txBody>
            </p:sp>
            <p:sp>
              <p:nvSpPr>
                <p:cNvPr id="2270" name="Vrije vorm: vorm 2269">
                  <a:extLst>
                    <a:ext uri="{FF2B5EF4-FFF2-40B4-BE49-F238E27FC236}">
                      <a16:creationId xmlns:a16="http://schemas.microsoft.com/office/drawing/2014/main" id="{33DE6B5A-9611-46CC-93D8-F96DE28E576D}"/>
                    </a:ext>
                  </a:extLst>
                </p:cNvPr>
                <p:cNvSpPr/>
                <p:nvPr/>
              </p:nvSpPr>
              <p:spPr>
                <a:xfrm>
                  <a:off x="4930353" y="5275296"/>
                  <a:ext cx="18348" cy="18413"/>
                </a:xfrm>
                <a:custGeom>
                  <a:avLst/>
                  <a:gdLst>
                    <a:gd name="connsiteX0" fmla="*/ 1609 w 18348"/>
                    <a:gd name="connsiteY0" fmla="*/ 3987 h 18413"/>
                    <a:gd name="connsiteX1" fmla="*/ 4001 w 18348"/>
                    <a:gd name="connsiteY1" fmla="*/ 16786 h 18413"/>
                    <a:gd name="connsiteX2" fmla="*/ 16740 w 18348"/>
                    <a:gd name="connsiteY2" fmla="*/ 14453 h 18413"/>
                    <a:gd name="connsiteX3" fmla="*/ 14348 w 18348"/>
                    <a:gd name="connsiteY3" fmla="*/ 1654 h 18413"/>
                    <a:gd name="connsiteX4" fmla="*/ 1609 w 18348"/>
                    <a:gd name="connsiteY4" fmla="*/ 3987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3">
                      <a:moveTo>
                        <a:pt x="1609" y="3987"/>
                      </a:moveTo>
                      <a:cubicBezTo>
                        <a:pt x="-1262" y="8173"/>
                        <a:pt x="-186" y="13915"/>
                        <a:pt x="4001" y="16786"/>
                      </a:cubicBezTo>
                      <a:cubicBezTo>
                        <a:pt x="8187" y="19656"/>
                        <a:pt x="13869" y="18640"/>
                        <a:pt x="16740" y="14453"/>
                      </a:cubicBezTo>
                      <a:cubicBezTo>
                        <a:pt x="19611" y="10266"/>
                        <a:pt x="18534" y="4525"/>
                        <a:pt x="14348" y="1654"/>
                      </a:cubicBezTo>
                      <a:cubicBezTo>
                        <a:pt x="10161" y="-1276"/>
                        <a:pt x="4419" y="-200"/>
                        <a:pt x="1609" y="3987"/>
                      </a:cubicBezTo>
                      <a:close/>
                    </a:path>
                  </a:pathLst>
                </a:custGeom>
                <a:grpFill/>
                <a:ln w="5978" cap="flat">
                  <a:noFill/>
                  <a:prstDash val="solid"/>
                  <a:miter/>
                </a:ln>
              </p:spPr>
              <p:txBody>
                <a:bodyPr rtlCol="0" anchor="ctr"/>
                <a:lstStyle/>
                <a:p>
                  <a:endParaRPr lang="en-GB"/>
                </a:p>
              </p:txBody>
            </p:sp>
          </p:grpSp>
          <p:grpSp>
            <p:nvGrpSpPr>
              <p:cNvPr id="1045" name="Graphic 3">
                <a:extLst>
                  <a:ext uri="{FF2B5EF4-FFF2-40B4-BE49-F238E27FC236}">
                    <a16:creationId xmlns:a16="http://schemas.microsoft.com/office/drawing/2014/main" id="{40BF1BA6-5919-4A52-A2B2-461156499368}"/>
                  </a:ext>
                </a:extLst>
              </p:cNvPr>
              <p:cNvGrpSpPr/>
              <p:nvPr/>
            </p:nvGrpSpPr>
            <p:grpSpPr>
              <a:xfrm>
                <a:off x="4244609" y="2854410"/>
                <a:ext cx="190860" cy="71387"/>
                <a:chOff x="4244609" y="2854410"/>
                <a:chExt cx="190860" cy="71387"/>
              </a:xfrm>
              <a:grpFill/>
            </p:grpSpPr>
            <p:sp>
              <p:nvSpPr>
                <p:cNvPr id="2265" name="Vrije vorm: vorm 2264">
                  <a:extLst>
                    <a:ext uri="{FF2B5EF4-FFF2-40B4-BE49-F238E27FC236}">
                      <a16:creationId xmlns:a16="http://schemas.microsoft.com/office/drawing/2014/main" id="{3B469961-FDE5-44F1-AA60-D1EBBCD2D042}"/>
                    </a:ext>
                  </a:extLst>
                </p:cNvPr>
                <p:cNvSpPr/>
                <p:nvPr/>
              </p:nvSpPr>
              <p:spPr>
                <a:xfrm>
                  <a:off x="4252911" y="2861995"/>
                  <a:ext cx="174218" cy="56218"/>
                </a:xfrm>
                <a:custGeom>
                  <a:avLst/>
                  <a:gdLst>
                    <a:gd name="connsiteX0" fmla="*/ 174218 w 174218"/>
                    <a:gd name="connsiteY0" fmla="*/ 53288 h 56218"/>
                    <a:gd name="connsiteX1" fmla="*/ 173381 w 174218"/>
                    <a:gd name="connsiteY1" fmla="*/ 56219 h 56218"/>
                    <a:gd name="connsiteX2" fmla="*/ 0 w 174218"/>
                    <a:gd name="connsiteY2" fmla="*/ 2930 h 56218"/>
                    <a:gd name="connsiteX3" fmla="*/ 837 w 174218"/>
                    <a:gd name="connsiteY3" fmla="*/ 0 h 56218"/>
                  </a:gdLst>
                  <a:ahLst/>
                  <a:cxnLst>
                    <a:cxn ang="0">
                      <a:pos x="connsiteX0" y="connsiteY0"/>
                    </a:cxn>
                    <a:cxn ang="0">
                      <a:pos x="connsiteX1" y="connsiteY1"/>
                    </a:cxn>
                    <a:cxn ang="0">
                      <a:pos x="connsiteX2" y="connsiteY2"/>
                    </a:cxn>
                    <a:cxn ang="0">
                      <a:pos x="connsiteX3" y="connsiteY3"/>
                    </a:cxn>
                  </a:cxnLst>
                  <a:rect l="l" t="t" r="r" b="b"/>
                  <a:pathLst>
                    <a:path w="174218" h="56218">
                      <a:moveTo>
                        <a:pt x="174218" y="53288"/>
                      </a:moveTo>
                      <a:lnTo>
                        <a:pt x="173381" y="56219"/>
                      </a:lnTo>
                      <a:lnTo>
                        <a:pt x="0" y="2930"/>
                      </a:lnTo>
                      <a:lnTo>
                        <a:pt x="837" y="0"/>
                      </a:lnTo>
                      <a:close/>
                    </a:path>
                  </a:pathLst>
                </a:custGeom>
                <a:grpFill/>
                <a:ln w="5978" cap="flat">
                  <a:noFill/>
                  <a:prstDash val="solid"/>
                  <a:miter/>
                </a:ln>
              </p:spPr>
              <p:txBody>
                <a:bodyPr rtlCol="0" anchor="ctr"/>
                <a:lstStyle/>
                <a:p>
                  <a:endParaRPr lang="en-GB"/>
                </a:p>
              </p:txBody>
            </p:sp>
            <p:sp>
              <p:nvSpPr>
                <p:cNvPr id="2266" name="Vrije vorm: vorm 2265">
                  <a:extLst>
                    <a:ext uri="{FF2B5EF4-FFF2-40B4-BE49-F238E27FC236}">
                      <a16:creationId xmlns:a16="http://schemas.microsoft.com/office/drawing/2014/main" id="{EA551F34-4AAA-4CA0-9412-F16430516C20}"/>
                    </a:ext>
                  </a:extLst>
                </p:cNvPr>
                <p:cNvSpPr/>
                <p:nvPr/>
              </p:nvSpPr>
              <p:spPr>
                <a:xfrm>
                  <a:off x="4244609" y="2854410"/>
                  <a:ext cx="18338" cy="18398"/>
                </a:xfrm>
                <a:custGeom>
                  <a:avLst/>
                  <a:gdLst>
                    <a:gd name="connsiteX0" fmla="*/ 6508 w 18338"/>
                    <a:gd name="connsiteY0" fmla="*/ 17991 h 18398"/>
                    <a:gd name="connsiteX1" fmla="*/ 407 w 18338"/>
                    <a:gd name="connsiteY1" fmla="*/ 6508 h 18398"/>
                    <a:gd name="connsiteX2" fmla="*/ 11831 w 18338"/>
                    <a:gd name="connsiteY2" fmla="*/ 407 h 18398"/>
                    <a:gd name="connsiteX3" fmla="*/ 17931 w 18338"/>
                    <a:gd name="connsiteY3" fmla="*/ 11890 h 18398"/>
                    <a:gd name="connsiteX4" fmla="*/ 6508 w 18338"/>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6508" y="17991"/>
                      </a:moveTo>
                      <a:cubicBezTo>
                        <a:pt x="1663" y="16496"/>
                        <a:pt x="-1088" y="11352"/>
                        <a:pt x="407" y="6508"/>
                      </a:cubicBezTo>
                      <a:cubicBezTo>
                        <a:pt x="1843" y="1663"/>
                        <a:pt x="6986" y="-1088"/>
                        <a:pt x="11831" y="407"/>
                      </a:cubicBezTo>
                      <a:cubicBezTo>
                        <a:pt x="16675" y="1903"/>
                        <a:pt x="19426" y="7046"/>
                        <a:pt x="17931" y="11890"/>
                      </a:cubicBezTo>
                      <a:cubicBezTo>
                        <a:pt x="16436" y="16735"/>
                        <a:pt x="11352" y="19486"/>
                        <a:pt x="6508" y="17991"/>
                      </a:cubicBezTo>
                      <a:close/>
                    </a:path>
                  </a:pathLst>
                </a:custGeom>
                <a:grpFill/>
                <a:ln w="5978" cap="flat">
                  <a:noFill/>
                  <a:prstDash val="solid"/>
                  <a:miter/>
                </a:ln>
              </p:spPr>
              <p:txBody>
                <a:bodyPr rtlCol="0" anchor="ctr"/>
                <a:lstStyle/>
                <a:p>
                  <a:endParaRPr lang="en-GB"/>
                </a:p>
              </p:txBody>
            </p:sp>
            <p:sp>
              <p:nvSpPr>
                <p:cNvPr id="2267" name="Vrije vorm: vorm 2266">
                  <a:extLst>
                    <a:ext uri="{FF2B5EF4-FFF2-40B4-BE49-F238E27FC236}">
                      <a16:creationId xmlns:a16="http://schemas.microsoft.com/office/drawing/2014/main" id="{162DA19C-D338-47A9-8340-AB4A5A1FAEAE}"/>
                    </a:ext>
                  </a:extLst>
                </p:cNvPr>
                <p:cNvSpPr/>
                <p:nvPr/>
              </p:nvSpPr>
              <p:spPr>
                <a:xfrm>
                  <a:off x="4417153" y="2907400"/>
                  <a:ext cx="18316" cy="18398"/>
                </a:xfrm>
                <a:custGeom>
                  <a:avLst/>
                  <a:gdLst>
                    <a:gd name="connsiteX0" fmla="*/ 6508 w 18316"/>
                    <a:gd name="connsiteY0" fmla="*/ 17991 h 18398"/>
                    <a:gd name="connsiteX1" fmla="*/ 17931 w 18316"/>
                    <a:gd name="connsiteY1" fmla="*/ 11891 h 18398"/>
                    <a:gd name="connsiteX2" fmla="*/ 11831 w 18316"/>
                    <a:gd name="connsiteY2" fmla="*/ 407 h 18398"/>
                    <a:gd name="connsiteX3" fmla="*/ 407 w 18316"/>
                    <a:gd name="connsiteY3" fmla="*/ 6508 h 18398"/>
                    <a:gd name="connsiteX4" fmla="*/ 6508 w 18316"/>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8">
                      <a:moveTo>
                        <a:pt x="6508" y="17991"/>
                      </a:moveTo>
                      <a:cubicBezTo>
                        <a:pt x="11352" y="19486"/>
                        <a:pt x="16496" y="16735"/>
                        <a:pt x="17931" y="11891"/>
                      </a:cubicBezTo>
                      <a:cubicBezTo>
                        <a:pt x="19366" y="7046"/>
                        <a:pt x="16675" y="1903"/>
                        <a:pt x="11831" y="407"/>
                      </a:cubicBezTo>
                      <a:cubicBezTo>
                        <a:pt x="6986" y="-1088"/>
                        <a:pt x="1843" y="1664"/>
                        <a:pt x="407" y="6508"/>
                      </a:cubicBezTo>
                      <a:cubicBezTo>
                        <a:pt x="-1088" y="11352"/>
                        <a:pt x="1664" y="16555"/>
                        <a:pt x="6508" y="17991"/>
                      </a:cubicBezTo>
                      <a:close/>
                    </a:path>
                  </a:pathLst>
                </a:custGeom>
                <a:grpFill/>
                <a:ln w="5978" cap="flat">
                  <a:noFill/>
                  <a:prstDash val="solid"/>
                  <a:miter/>
                </a:ln>
              </p:spPr>
              <p:txBody>
                <a:bodyPr rtlCol="0" anchor="ctr"/>
                <a:lstStyle/>
                <a:p>
                  <a:endParaRPr lang="en-GB"/>
                </a:p>
              </p:txBody>
            </p:sp>
          </p:grpSp>
          <p:grpSp>
            <p:nvGrpSpPr>
              <p:cNvPr id="1046" name="Graphic 3">
                <a:extLst>
                  <a:ext uri="{FF2B5EF4-FFF2-40B4-BE49-F238E27FC236}">
                    <a16:creationId xmlns:a16="http://schemas.microsoft.com/office/drawing/2014/main" id="{B590B7D3-B45A-451F-ABD0-BBA6FA154A1C}"/>
                  </a:ext>
                </a:extLst>
              </p:cNvPr>
              <p:cNvGrpSpPr/>
              <p:nvPr/>
            </p:nvGrpSpPr>
            <p:grpSpPr>
              <a:xfrm>
                <a:off x="5083906" y="5193433"/>
                <a:ext cx="86523" cy="154534"/>
                <a:chOff x="5083906" y="5193433"/>
                <a:chExt cx="86523" cy="154534"/>
              </a:xfrm>
              <a:grpFill/>
            </p:grpSpPr>
            <p:sp>
              <p:nvSpPr>
                <p:cNvPr id="2262" name="Vrije vorm: vorm 2261">
                  <a:extLst>
                    <a:ext uri="{FF2B5EF4-FFF2-40B4-BE49-F238E27FC236}">
                      <a16:creationId xmlns:a16="http://schemas.microsoft.com/office/drawing/2014/main" id="{A443D161-6F00-4A98-82CC-B9965F0C203F}"/>
                    </a:ext>
                  </a:extLst>
                </p:cNvPr>
                <p:cNvSpPr/>
                <p:nvPr/>
              </p:nvSpPr>
              <p:spPr>
                <a:xfrm>
                  <a:off x="5091528" y="5201533"/>
                  <a:ext cx="71290" cy="138334"/>
                </a:xfrm>
                <a:custGeom>
                  <a:avLst/>
                  <a:gdLst>
                    <a:gd name="connsiteX0" fmla="*/ 71290 w 71290"/>
                    <a:gd name="connsiteY0" fmla="*/ 1375 h 138334"/>
                    <a:gd name="connsiteX1" fmla="*/ 2751 w 71290"/>
                    <a:gd name="connsiteY1" fmla="*/ 138334 h 138334"/>
                    <a:gd name="connsiteX2" fmla="*/ 0 w 71290"/>
                    <a:gd name="connsiteY2" fmla="*/ 136958 h 138334"/>
                    <a:gd name="connsiteX3" fmla="*/ 68539 w 71290"/>
                    <a:gd name="connsiteY3" fmla="*/ 0 h 138334"/>
                  </a:gdLst>
                  <a:ahLst/>
                  <a:cxnLst>
                    <a:cxn ang="0">
                      <a:pos x="connsiteX0" y="connsiteY0"/>
                    </a:cxn>
                    <a:cxn ang="0">
                      <a:pos x="connsiteX1" y="connsiteY1"/>
                    </a:cxn>
                    <a:cxn ang="0">
                      <a:pos x="connsiteX2" y="connsiteY2"/>
                    </a:cxn>
                    <a:cxn ang="0">
                      <a:pos x="connsiteX3" y="connsiteY3"/>
                    </a:cxn>
                  </a:cxnLst>
                  <a:rect l="l" t="t" r="r" b="b"/>
                  <a:pathLst>
                    <a:path w="71290" h="138334">
                      <a:moveTo>
                        <a:pt x="71290" y="1375"/>
                      </a:moveTo>
                      <a:lnTo>
                        <a:pt x="2751" y="138334"/>
                      </a:lnTo>
                      <a:lnTo>
                        <a:pt x="0" y="136958"/>
                      </a:lnTo>
                      <a:lnTo>
                        <a:pt x="68539" y="0"/>
                      </a:lnTo>
                      <a:close/>
                    </a:path>
                  </a:pathLst>
                </a:custGeom>
                <a:grpFill/>
                <a:ln w="5978" cap="flat">
                  <a:noFill/>
                  <a:prstDash val="solid"/>
                  <a:miter/>
                </a:ln>
              </p:spPr>
              <p:txBody>
                <a:bodyPr rtlCol="0" anchor="ctr"/>
                <a:lstStyle/>
                <a:p>
                  <a:endParaRPr lang="en-GB"/>
                </a:p>
              </p:txBody>
            </p:sp>
            <p:sp>
              <p:nvSpPr>
                <p:cNvPr id="2263" name="Vrije vorm: vorm 2262">
                  <a:extLst>
                    <a:ext uri="{FF2B5EF4-FFF2-40B4-BE49-F238E27FC236}">
                      <a16:creationId xmlns:a16="http://schemas.microsoft.com/office/drawing/2014/main" id="{AC84F08D-3F9F-4052-B791-A6D801A2FF05}"/>
                    </a:ext>
                  </a:extLst>
                </p:cNvPr>
                <p:cNvSpPr/>
                <p:nvPr/>
              </p:nvSpPr>
              <p:spPr>
                <a:xfrm>
                  <a:off x="5083906" y="5329554"/>
                  <a:ext cx="18353" cy="18413"/>
                </a:xfrm>
                <a:custGeom>
                  <a:avLst/>
                  <a:gdLst>
                    <a:gd name="connsiteX0" fmla="*/ 17371 w 18353"/>
                    <a:gd name="connsiteY0" fmla="*/ 13364 h 18413"/>
                    <a:gd name="connsiteX1" fmla="*/ 5050 w 18353"/>
                    <a:gd name="connsiteY1" fmla="*/ 17430 h 18413"/>
                    <a:gd name="connsiteX2" fmla="*/ 983 w 18353"/>
                    <a:gd name="connsiteY2" fmla="*/ 5050 h 18413"/>
                    <a:gd name="connsiteX3" fmla="*/ 13304 w 18353"/>
                    <a:gd name="connsiteY3" fmla="*/ 983 h 18413"/>
                    <a:gd name="connsiteX4" fmla="*/ 17371 w 18353"/>
                    <a:gd name="connsiteY4" fmla="*/ 1336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3">
                      <a:moveTo>
                        <a:pt x="17371" y="13364"/>
                      </a:moveTo>
                      <a:cubicBezTo>
                        <a:pt x="15098" y="17909"/>
                        <a:pt x="9596" y="19703"/>
                        <a:pt x="5050" y="17430"/>
                      </a:cubicBezTo>
                      <a:cubicBezTo>
                        <a:pt x="505" y="15158"/>
                        <a:pt x="-1289" y="9596"/>
                        <a:pt x="983" y="5050"/>
                      </a:cubicBezTo>
                      <a:cubicBezTo>
                        <a:pt x="3256" y="505"/>
                        <a:pt x="8758" y="-1289"/>
                        <a:pt x="13304" y="983"/>
                      </a:cubicBezTo>
                      <a:cubicBezTo>
                        <a:pt x="17849" y="3256"/>
                        <a:pt x="19643" y="8818"/>
                        <a:pt x="17371" y="13364"/>
                      </a:cubicBezTo>
                      <a:close/>
                    </a:path>
                  </a:pathLst>
                </a:custGeom>
                <a:grpFill/>
                <a:ln w="5978" cap="flat">
                  <a:noFill/>
                  <a:prstDash val="solid"/>
                  <a:miter/>
                </a:ln>
              </p:spPr>
              <p:txBody>
                <a:bodyPr rtlCol="0" anchor="ctr"/>
                <a:lstStyle/>
                <a:p>
                  <a:endParaRPr lang="en-GB"/>
                </a:p>
              </p:txBody>
            </p:sp>
            <p:sp>
              <p:nvSpPr>
                <p:cNvPr id="2264" name="Vrije vorm: vorm 2263">
                  <a:extLst>
                    <a:ext uri="{FF2B5EF4-FFF2-40B4-BE49-F238E27FC236}">
                      <a16:creationId xmlns:a16="http://schemas.microsoft.com/office/drawing/2014/main" id="{C9F43DD2-C99D-43A5-8D14-EEFC82E62E94}"/>
                    </a:ext>
                  </a:extLst>
                </p:cNvPr>
                <p:cNvSpPr/>
                <p:nvPr/>
              </p:nvSpPr>
              <p:spPr>
                <a:xfrm>
                  <a:off x="5152097" y="5193433"/>
                  <a:ext cx="18332" cy="18413"/>
                </a:xfrm>
                <a:custGeom>
                  <a:avLst/>
                  <a:gdLst>
                    <a:gd name="connsiteX0" fmla="*/ 17360 w 18332"/>
                    <a:gd name="connsiteY0" fmla="*/ 13364 h 18413"/>
                    <a:gd name="connsiteX1" fmla="*/ 13293 w 18332"/>
                    <a:gd name="connsiteY1" fmla="*/ 983 h 18413"/>
                    <a:gd name="connsiteX2" fmla="*/ 972 w 18332"/>
                    <a:gd name="connsiteY2" fmla="*/ 5050 h 18413"/>
                    <a:gd name="connsiteX3" fmla="*/ 5040 w 18332"/>
                    <a:gd name="connsiteY3" fmla="*/ 17430 h 18413"/>
                    <a:gd name="connsiteX4" fmla="*/ 17360 w 18332"/>
                    <a:gd name="connsiteY4" fmla="*/ 1336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13">
                      <a:moveTo>
                        <a:pt x="17360" y="13364"/>
                      </a:moveTo>
                      <a:cubicBezTo>
                        <a:pt x="19633" y="8818"/>
                        <a:pt x="17778" y="3256"/>
                        <a:pt x="13293" y="983"/>
                      </a:cubicBezTo>
                      <a:cubicBezTo>
                        <a:pt x="8748" y="-1289"/>
                        <a:pt x="3245" y="505"/>
                        <a:pt x="972" y="5050"/>
                      </a:cubicBezTo>
                      <a:cubicBezTo>
                        <a:pt x="-1300" y="9596"/>
                        <a:pt x="554" y="15158"/>
                        <a:pt x="5040" y="17430"/>
                      </a:cubicBezTo>
                      <a:cubicBezTo>
                        <a:pt x="9585" y="19703"/>
                        <a:pt x="15087" y="17909"/>
                        <a:pt x="17360" y="13364"/>
                      </a:cubicBezTo>
                      <a:close/>
                    </a:path>
                  </a:pathLst>
                </a:custGeom>
                <a:grpFill/>
                <a:ln w="5978" cap="flat">
                  <a:noFill/>
                  <a:prstDash val="solid"/>
                  <a:miter/>
                </a:ln>
              </p:spPr>
              <p:txBody>
                <a:bodyPr rtlCol="0" anchor="ctr"/>
                <a:lstStyle/>
                <a:p>
                  <a:endParaRPr lang="en-GB"/>
                </a:p>
              </p:txBody>
            </p:sp>
          </p:grpSp>
          <p:grpSp>
            <p:nvGrpSpPr>
              <p:cNvPr id="1047" name="Graphic 3">
                <a:extLst>
                  <a:ext uri="{FF2B5EF4-FFF2-40B4-BE49-F238E27FC236}">
                    <a16:creationId xmlns:a16="http://schemas.microsoft.com/office/drawing/2014/main" id="{4A67EF64-BF19-451E-A1AC-559CFEEB0281}"/>
                  </a:ext>
                </a:extLst>
              </p:cNvPr>
              <p:cNvGrpSpPr/>
              <p:nvPr/>
            </p:nvGrpSpPr>
            <p:grpSpPr>
              <a:xfrm>
                <a:off x="4902185" y="4712652"/>
                <a:ext cx="89158" cy="104457"/>
                <a:chOff x="4902185" y="4712652"/>
                <a:chExt cx="89158" cy="104457"/>
              </a:xfrm>
              <a:grpFill/>
            </p:grpSpPr>
            <p:sp>
              <p:nvSpPr>
                <p:cNvPr id="2259" name="Vrije vorm: vorm 2258">
                  <a:extLst>
                    <a:ext uri="{FF2B5EF4-FFF2-40B4-BE49-F238E27FC236}">
                      <a16:creationId xmlns:a16="http://schemas.microsoft.com/office/drawing/2014/main" id="{E9F6287A-830E-4346-9C01-CF488B89D9BD}"/>
                    </a:ext>
                  </a:extLst>
                </p:cNvPr>
                <p:cNvSpPr/>
                <p:nvPr/>
              </p:nvSpPr>
              <p:spPr>
                <a:xfrm>
                  <a:off x="4909953" y="4720504"/>
                  <a:ext cx="73682" cy="88693"/>
                </a:xfrm>
                <a:custGeom>
                  <a:avLst/>
                  <a:gdLst>
                    <a:gd name="connsiteX0" fmla="*/ 73683 w 73682"/>
                    <a:gd name="connsiteY0" fmla="*/ 1973 h 88693"/>
                    <a:gd name="connsiteX1" fmla="*/ 2333 w 73682"/>
                    <a:gd name="connsiteY1" fmla="*/ 88694 h 88693"/>
                    <a:gd name="connsiteX2" fmla="*/ 0 w 73682"/>
                    <a:gd name="connsiteY2" fmla="*/ 86780 h 88693"/>
                    <a:gd name="connsiteX3" fmla="*/ 71350 w 73682"/>
                    <a:gd name="connsiteY3" fmla="*/ 0 h 88693"/>
                  </a:gdLst>
                  <a:ahLst/>
                  <a:cxnLst>
                    <a:cxn ang="0">
                      <a:pos x="connsiteX0" y="connsiteY0"/>
                    </a:cxn>
                    <a:cxn ang="0">
                      <a:pos x="connsiteX1" y="connsiteY1"/>
                    </a:cxn>
                    <a:cxn ang="0">
                      <a:pos x="connsiteX2" y="connsiteY2"/>
                    </a:cxn>
                    <a:cxn ang="0">
                      <a:pos x="connsiteX3" y="connsiteY3"/>
                    </a:cxn>
                  </a:cxnLst>
                  <a:rect l="l" t="t" r="r" b="b"/>
                  <a:pathLst>
                    <a:path w="73682" h="88693">
                      <a:moveTo>
                        <a:pt x="73683" y="1973"/>
                      </a:moveTo>
                      <a:lnTo>
                        <a:pt x="2333" y="88694"/>
                      </a:lnTo>
                      <a:lnTo>
                        <a:pt x="0" y="86780"/>
                      </a:lnTo>
                      <a:lnTo>
                        <a:pt x="71350" y="0"/>
                      </a:lnTo>
                      <a:close/>
                    </a:path>
                  </a:pathLst>
                </a:custGeom>
                <a:grpFill/>
                <a:ln w="5978" cap="flat">
                  <a:noFill/>
                  <a:prstDash val="solid"/>
                  <a:miter/>
                </a:ln>
              </p:spPr>
              <p:txBody>
                <a:bodyPr rtlCol="0" anchor="ctr"/>
                <a:lstStyle/>
                <a:p>
                  <a:endParaRPr lang="en-GB"/>
                </a:p>
              </p:txBody>
            </p:sp>
            <p:sp>
              <p:nvSpPr>
                <p:cNvPr id="2260" name="Vrije vorm: vorm 2259">
                  <a:extLst>
                    <a:ext uri="{FF2B5EF4-FFF2-40B4-BE49-F238E27FC236}">
                      <a16:creationId xmlns:a16="http://schemas.microsoft.com/office/drawing/2014/main" id="{D1E54227-5BE4-4A3C-A0F2-8F8B81AD01C7}"/>
                    </a:ext>
                  </a:extLst>
                </p:cNvPr>
                <p:cNvSpPr/>
                <p:nvPr/>
              </p:nvSpPr>
              <p:spPr>
                <a:xfrm>
                  <a:off x="4902185" y="4798715"/>
                  <a:ext cx="18365" cy="18394"/>
                </a:xfrm>
                <a:custGeom>
                  <a:avLst/>
                  <a:gdLst>
                    <a:gd name="connsiteX0" fmla="*/ 16260 w 18365"/>
                    <a:gd name="connsiteY0" fmla="*/ 15088 h 18394"/>
                    <a:gd name="connsiteX1" fmla="*/ 3342 w 18365"/>
                    <a:gd name="connsiteY1" fmla="*/ 16285 h 18394"/>
                    <a:gd name="connsiteX2" fmla="*/ 2086 w 18365"/>
                    <a:gd name="connsiteY2" fmla="*/ 3307 h 18394"/>
                    <a:gd name="connsiteX3" fmla="*/ 15004 w 18365"/>
                    <a:gd name="connsiteY3" fmla="*/ 2110 h 18394"/>
                    <a:gd name="connsiteX4" fmla="*/ 16260 w 18365"/>
                    <a:gd name="connsiteY4" fmla="*/ 150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4">
                      <a:moveTo>
                        <a:pt x="16260" y="15088"/>
                      </a:moveTo>
                      <a:cubicBezTo>
                        <a:pt x="13031" y="18976"/>
                        <a:pt x="7289" y="19514"/>
                        <a:pt x="3342" y="16285"/>
                      </a:cubicBezTo>
                      <a:cubicBezTo>
                        <a:pt x="-546" y="13055"/>
                        <a:pt x="-1143" y="7254"/>
                        <a:pt x="2086" y="3307"/>
                      </a:cubicBezTo>
                      <a:cubicBezTo>
                        <a:pt x="5315" y="-581"/>
                        <a:pt x="11057" y="-1119"/>
                        <a:pt x="15004" y="2110"/>
                      </a:cubicBezTo>
                      <a:cubicBezTo>
                        <a:pt x="18952" y="5340"/>
                        <a:pt x="19490" y="11141"/>
                        <a:pt x="16260" y="15088"/>
                      </a:cubicBezTo>
                      <a:close/>
                    </a:path>
                  </a:pathLst>
                </a:custGeom>
                <a:grpFill/>
                <a:ln w="5978" cap="flat">
                  <a:noFill/>
                  <a:prstDash val="solid"/>
                  <a:miter/>
                </a:ln>
              </p:spPr>
              <p:txBody>
                <a:bodyPr rtlCol="0" anchor="ctr"/>
                <a:lstStyle/>
                <a:p>
                  <a:endParaRPr lang="en-GB"/>
                </a:p>
              </p:txBody>
            </p:sp>
            <p:sp>
              <p:nvSpPr>
                <p:cNvPr id="2261" name="Vrije vorm: vorm 2260">
                  <a:extLst>
                    <a:ext uri="{FF2B5EF4-FFF2-40B4-BE49-F238E27FC236}">
                      <a16:creationId xmlns:a16="http://schemas.microsoft.com/office/drawing/2014/main" id="{45AE4D95-2FEA-46EE-AD39-2B1595CB45F7}"/>
                    </a:ext>
                  </a:extLst>
                </p:cNvPr>
                <p:cNvSpPr/>
                <p:nvPr/>
              </p:nvSpPr>
              <p:spPr>
                <a:xfrm>
                  <a:off x="4972978" y="4712652"/>
                  <a:ext cx="18365" cy="18395"/>
                </a:xfrm>
                <a:custGeom>
                  <a:avLst/>
                  <a:gdLst>
                    <a:gd name="connsiteX0" fmla="*/ 16280 w 18365"/>
                    <a:gd name="connsiteY0" fmla="*/ 15088 h 18395"/>
                    <a:gd name="connsiteX1" fmla="*/ 15024 w 18365"/>
                    <a:gd name="connsiteY1" fmla="*/ 2110 h 18395"/>
                    <a:gd name="connsiteX2" fmla="*/ 2105 w 18365"/>
                    <a:gd name="connsiteY2" fmla="*/ 3307 h 18395"/>
                    <a:gd name="connsiteX3" fmla="*/ 3361 w 18365"/>
                    <a:gd name="connsiteY3" fmla="*/ 16285 h 18395"/>
                    <a:gd name="connsiteX4" fmla="*/ 16280 w 18365"/>
                    <a:gd name="connsiteY4" fmla="*/ 15088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5">
                      <a:moveTo>
                        <a:pt x="16280" y="15088"/>
                      </a:moveTo>
                      <a:cubicBezTo>
                        <a:pt x="19509" y="11201"/>
                        <a:pt x="18911" y="5340"/>
                        <a:pt x="15024" y="2110"/>
                      </a:cubicBezTo>
                      <a:cubicBezTo>
                        <a:pt x="11136" y="-1119"/>
                        <a:pt x="5335" y="-581"/>
                        <a:pt x="2105" y="3307"/>
                      </a:cubicBezTo>
                      <a:cubicBezTo>
                        <a:pt x="-1124" y="7194"/>
                        <a:pt x="-586" y="13055"/>
                        <a:pt x="3361" y="16285"/>
                      </a:cubicBezTo>
                      <a:cubicBezTo>
                        <a:pt x="7249" y="19514"/>
                        <a:pt x="13050" y="18976"/>
                        <a:pt x="16280" y="15088"/>
                      </a:cubicBezTo>
                      <a:close/>
                    </a:path>
                  </a:pathLst>
                </a:custGeom>
                <a:grpFill/>
                <a:ln w="5978" cap="flat">
                  <a:noFill/>
                  <a:prstDash val="solid"/>
                  <a:miter/>
                </a:ln>
              </p:spPr>
              <p:txBody>
                <a:bodyPr rtlCol="0" anchor="ctr"/>
                <a:lstStyle/>
                <a:p>
                  <a:endParaRPr lang="en-GB"/>
                </a:p>
              </p:txBody>
            </p:sp>
          </p:grpSp>
          <p:grpSp>
            <p:nvGrpSpPr>
              <p:cNvPr id="1048" name="Graphic 3">
                <a:extLst>
                  <a:ext uri="{FF2B5EF4-FFF2-40B4-BE49-F238E27FC236}">
                    <a16:creationId xmlns:a16="http://schemas.microsoft.com/office/drawing/2014/main" id="{88FB52E9-123C-4BE0-92C6-E2EC22852F9E}"/>
                  </a:ext>
                </a:extLst>
              </p:cNvPr>
              <p:cNvGrpSpPr/>
              <p:nvPr/>
            </p:nvGrpSpPr>
            <p:grpSpPr>
              <a:xfrm>
                <a:off x="4185853" y="2599153"/>
                <a:ext cx="93567" cy="51113"/>
                <a:chOff x="4185853" y="2599153"/>
                <a:chExt cx="93567" cy="51113"/>
              </a:xfrm>
              <a:grpFill/>
            </p:grpSpPr>
            <p:sp>
              <p:nvSpPr>
                <p:cNvPr id="2256" name="Vrije vorm: vorm 2255">
                  <a:extLst>
                    <a:ext uri="{FF2B5EF4-FFF2-40B4-BE49-F238E27FC236}">
                      <a16:creationId xmlns:a16="http://schemas.microsoft.com/office/drawing/2014/main" id="{4706EE2E-CB01-4D4B-827D-1795366198F9}"/>
                    </a:ext>
                  </a:extLst>
                </p:cNvPr>
                <p:cNvSpPr/>
                <p:nvPr/>
              </p:nvSpPr>
              <p:spPr>
                <a:xfrm>
                  <a:off x="4194001" y="2606797"/>
                  <a:ext cx="77270" cy="35824"/>
                </a:xfrm>
                <a:custGeom>
                  <a:avLst/>
                  <a:gdLst>
                    <a:gd name="connsiteX0" fmla="*/ 77271 w 77270"/>
                    <a:gd name="connsiteY0" fmla="*/ 33073 h 35824"/>
                    <a:gd name="connsiteX1" fmla="*/ 76075 w 77270"/>
                    <a:gd name="connsiteY1" fmla="*/ 35824 h 35824"/>
                    <a:gd name="connsiteX2" fmla="*/ 0 w 77270"/>
                    <a:gd name="connsiteY2" fmla="*/ 2811 h 35824"/>
                    <a:gd name="connsiteX3" fmla="*/ 1196 w 77270"/>
                    <a:gd name="connsiteY3" fmla="*/ 0 h 35824"/>
                  </a:gdLst>
                  <a:ahLst/>
                  <a:cxnLst>
                    <a:cxn ang="0">
                      <a:pos x="connsiteX0" y="connsiteY0"/>
                    </a:cxn>
                    <a:cxn ang="0">
                      <a:pos x="connsiteX1" y="connsiteY1"/>
                    </a:cxn>
                    <a:cxn ang="0">
                      <a:pos x="connsiteX2" y="connsiteY2"/>
                    </a:cxn>
                    <a:cxn ang="0">
                      <a:pos x="connsiteX3" y="connsiteY3"/>
                    </a:cxn>
                  </a:cxnLst>
                  <a:rect l="l" t="t" r="r" b="b"/>
                  <a:pathLst>
                    <a:path w="77270" h="35824">
                      <a:moveTo>
                        <a:pt x="77271" y="33073"/>
                      </a:moveTo>
                      <a:lnTo>
                        <a:pt x="76075" y="35824"/>
                      </a:lnTo>
                      <a:lnTo>
                        <a:pt x="0" y="2811"/>
                      </a:lnTo>
                      <a:lnTo>
                        <a:pt x="1196" y="0"/>
                      </a:lnTo>
                      <a:close/>
                    </a:path>
                  </a:pathLst>
                </a:custGeom>
                <a:grpFill/>
                <a:ln w="5978" cap="flat">
                  <a:noFill/>
                  <a:prstDash val="solid"/>
                  <a:miter/>
                </a:ln>
              </p:spPr>
              <p:txBody>
                <a:bodyPr rtlCol="0" anchor="ctr"/>
                <a:lstStyle/>
                <a:p>
                  <a:endParaRPr lang="en-GB"/>
                </a:p>
              </p:txBody>
            </p:sp>
            <p:sp>
              <p:nvSpPr>
                <p:cNvPr id="2257" name="Vrije vorm: vorm 2256">
                  <a:extLst>
                    <a:ext uri="{FF2B5EF4-FFF2-40B4-BE49-F238E27FC236}">
                      <a16:creationId xmlns:a16="http://schemas.microsoft.com/office/drawing/2014/main" id="{5DCE07E1-42FD-43FD-9CA3-7D105D024EB6}"/>
                    </a:ext>
                  </a:extLst>
                </p:cNvPr>
                <p:cNvSpPr/>
                <p:nvPr/>
              </p:nvSpPr>
              <p:spPr>
                <a:xfrm>
                  <a:off x="4185853" y="2599153"/>
                  <a:ext cx="18304" cy="18424"/>
                </a:xfrm>
                <a:custGeom>
                  <a:avLst/>
                  <a:gdLst>
                    <a:gd name="connsiteX0" fmla="*/ 5576 w 18304"/>
                    <a:gd name="connsiteY0" fmla="*/ 17692 h 18424"/>
                    <a:gd name="connsiteX1" fmla="*/ 732 w 18304"/>
                    <a:gd name="connsiteY1" fmla="*/ 5551 h 18424"/>
                    <a:gd name="connsiteX2" fmla="*/ 12753 w 18304"/>
                    <a:gd name="connsiteY2" fmla="*/ 767 h 18424"/>
                    <a:gd name="connsiteX3" fmla="*/ 17538 w 18304"/>
                    <a:gd name="connsiteY3" fmla="*/ 12908 h 18424"/>
                    <a:gd name="connsiteX4" fmla="*/ 5576 w 18304"/>
                    <a:gd name="connsiteY4" fmla="*/ 1769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4">
                      <a:moveTo>
                        <a:pt x="5576" y="17692"/>
                      </a:moveTo>
                      <a:cubicBezTo>
                        <a:pt x="911" y="15659"/>
                        <a:pt x="-1242" y="10216"/>
                        <a:pt x="732" y="5551"/>
                      </a:cubicBezTo>
                      <a:cubicBezTo>
                        <a:pt x="2705" y="886"/>
                        <a:pt x="8088" y="-1267"/>
                        <a:pt x="12753" y="767"/>
                      </a:cubicBezTo>
                      <a:cubicBezTo>
                        <a:pt x="17418" y="2800"/>
                        <a:pt x="19571" y="8243"/>
                        <a:pt x="17538" y="12908"/>
                      </a:cubicBezTo>
                      <a:cubicBezTo>
                        <a:pt x="15624" y="17513"/>
                        <a:pt x="10241" y="19666"/>
                        <a:pt x="5576" y="17692"/>
                      </a:cubicBezTo>
                      <a:close/>
                    </a:path>
                  </a:pathLst>
                </a:custGeom>
                <a:grpFill/>
                <a:ln w="5978" cap="flat">
                  <a:noFill/>
                  <a:prstDash val="solid"/>
                  <a:miter/>
                </a:ln>
              </p:spPr>
              <p:txBody>
                <a:bodyPr rtlCol="0" anchor="ctr"/>
                <a:lstStyle/>
                <a:p>
                  <a:endParaRPr lang="en-GB"/>
                </a:p>
              </p:txBody>
            </p:sp>
            <p:sp>
              <p:nvSpPr>
                <p:cNvPr id="2258" name="Vrije vorm: vorm 2257">
                  <a:extLst>
                    <a:ext uri="{FF2B5EF4-FFF2-40B4-BE49-F238E27FC236}">
                      <a16:creationId xmlns:a16="http://schemas.microsoft.com/office/drawing/2014/main" id="{C269F808-DFE5-4457-8F91-05296B539511}"/>
                    </a:ext>
                  </a:extLst>
                </p:cNvPr>
                <p:cNvSpPr/>
                <p:nvPr/>
              </p:nvSpPr>
              <p:spPr>
                <a:xfrm>
                  <a:off x="4261115" y="2631808"/>
                  <a:ext cx="18305" cy="18458"/>
                </a:xfrm>
                <a:custGeom>
                  <a:avLst/>
                  <a:gdLst>
                    <a:gd name="connsiteX0" fmla="*/ 5551 w 18305"/>
                    <a:gd name="connsiteY0" fmla="*/ 17692 h 18458"/>
                    <a:gd name="connsiteX1" fmla="*/ 17573 w 18305"/>
                    <a:gd name="connsiteY1" fmla="*/ 12908 h 18458"/>
                    <a:gd name="connsiteX2" fmla="*/ 12788 w 18305"/>
                    <a:gd name="connsiteY2" fmla="*/ 767 h 18458"/>
                    <a:gd name="connsiteX3" fmla="*/ 767 w 18305"/>
                    <a:gd name="connsiteY3" fmla="*/ 5551 h 18458"/>
                    <a:gd name="connsiteX4" fmla="*/ 5551 w 1830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8">
                      <a:moveTo>
                        <a:pt x="5551" y="17692"/>
                      </a:moveTo>
                      <a:cubicBezTo>
                        <a:pt x="10216" y="19726"/>
                        <a:pt x="15599" y="17572"/>
                        <a:pt x="17573" y="12908"/>
                      </a:cubicBezTo>
                      <a:cubicBezTo>
                        <a:pt x="19546" y="8243"/>
                        <a:pt x="17393" y="2800"/>
                        <a:pt x="12788" y="767"/>
                      </a:cubicBezTo>
                      <a:cubicBezTo>
                        <a:pt x="8123" y="-1267"/>
                        <a:pt x="2740" y="886"/>
                        <a:pt x="767" y="5551"/>
                      </a:cubicBezTo>
                      <a:cubicBezTo>
                        <a:pt x="-1267" y="10276"/>
                        <a:pt x="886" y="15659"/>
                        <a:pt x="5551" y="17692"/>
                      </a:cubicBezTo>
                      <a:close/>
                    </a:path>
                  </a:pathLst>
                </a:custGeom>
                <a:grpFill/>
                <a:ln w="5978" cap="flat">
                  <a:noFill/>
                  <a:prstDash val="solid"/>
                  <a:miter/>
                </a:ln>
              </p:spPr>
              <p:txBody>
                <a:bodyPr rtlCol="0" anchor="ctr"/>
                <a:lstStyle/>
                <a:p>
                  <a:endParaRPr lang="en-GB"/>
                </a:p>
              </p:txBody>
            </p:sp>
          </p:grpSp>
          <p:grpSp>
            <p:nvGrpSpPr>
              <p:cNvPr id="1049" name="Graphic 3">
                <a:extLst>
                  <a:ext uri="{FF2B5EF4-FFF2-40B4-BE49-F238E27FC236}">
                    <a16:creationId xmlns:a16="http://schemas.microsoft.com/office/drawing/2014/main" id="{01E47C33-1797-43DF-9FE7-8F408CFAC259}"/>
                  </a:ext>
                </a:extLst>
              </p:cNvPr>
              <p:cNvGrpSpPr/>
              <p:nvPr/>
            </p:nvGrpSpPr>
            <p:grpSpPr>
              <a:xfrm>
                <a:off x="4886531" y="4764552"/>
                <a:ext cx="182547" cy="186120"/>
                <a:chOff x="4886531" y="4764552"/>
                <a:chExt cx="182547" cy="186120"/>
              </a:xfrm>
              <a:grpFill/>
            </p:grpSpPr>
            <p:sp>
              <p:nvSpPr>
                <p:cNvPr id="2253" name="Vrije vorm: vorm 2252">
                  <a:extLst>
                    <a:ext uri="{FF2B5EF4-FFF2-40B4-BE49-F238E27FC236}">
                      <a16:creationId xmlns:a16="http://schemas.microsoft.com/office/drawing/2014/main" id="{38EE444E-ECB0-436D-B9C6-F865C9F627C8}"/>
                    </a:ext>
                  </a:extLst>
                </p:cNvPr>
                <p:cNvSpPr/>
                <p:nvPr/>
              </p:nvSpPr>
              <p:spPr>
                <a:xfrm>
                  <a:off x="4894283" y="4772357"/>
                  <a:ext cx="167041" cy="170510"/>
                </a:xfrm>
                <a:custGeom>
                  <a:avLst/>
                  <a:gdLst>
                    <a:gd name="connsiteX0" fmla="*/ 167042 w 167041"/>
                    <a:gd name="connsiteY0" fmla="*/ 2153 h 170510"/>
                    <a:gd name="connsiteX1" fmla="*/ 2213 w 167041"/>
                    <a:gd name="connsiteY1" fmla="*/ 170510 h 170510"/>
                    <a:gd name="connsiteX2" fmla="*/ 0 w 167041"/>
                    <a:gd name="connsiteY2" fmla="*/ 168357 h 170510"/>
                    <a:gd name="connsiteX3" fmla="*/ 164829 w 167041"/>
                    <a:gd name="connsiteY3" fmla="*/ 0 h 170510"/>
                  </a:gdLst>
                  <a:ahLst/>
                  <a:cxnLst>
                    <a:cxn ang="0">
                      <a:pos x="connsiteX0" y="connsiteY0"/>
                    </a:cxn>
                    <a:cxn ang="0">
                      <a:pos x="connsiteX1" y="connsiteY1"/>
                    </a:cxn>
                    <a:cxn ang="0">
                      <a:pos x="connsiteX2" y="connsiteY2"/>
                    </a:cxn>
                    <a:cxn ang="0">
                      <a:pos x="connsiteX3" y="connsiteY3"/>
                    </a:cxn>
                  </a:cxnLst>
                  <a:rect l="l" t="t" r="r" b="b"/>
                  <a:pathLst>
                    <a:path w="167041" h="170510">
                      <a:moveTo>
                        <a:pt x="167042" y="2153"/>
                      </a:moveTo>
                      <a:lnTo>
                        <a:pt x="2213" y="170510"/>
                      </a:lnTo>
                      <a:lnTo>
                        <a:pt x="0" y="168357"/>
                      </a:lnTo>
                      <a:lnTo>
                        <a:pt x="164829" y="0"/>
                      </a:lnTo>
                      <a:close/>
                    </a:path>
                  </a:pathLst>
                </a:custGeom>
                <a:grpFill/>
                <a:ln w="5978" cap="flat">
                  <a:noFill/>
                  <a:prstDash val="solid"/>
                  <a:miter/>
                </a:ln>
              </p:spPr>
              <p:txBody>
                <a:bodyPr rtlCol="0" anchor="ctr"/>
                <a:lstStyle/>
                <a:p>
                  <a:endParaRPr lang="en-GB"/>
                </a:p>
              </p:txBody>
            </p:sp>
            <p:sp>
              <p:nvSpPr>
                <p:cNvPr id="2254" name="Vrije vorm: vorm 2253">
                  <a:extLst>
                    <a:ext uri="{FF2B5EF4-FFF2-40B4-BE49-F238E27FC236}">
                      <a16:creationId xmlns:a16="http://schemas.microsoft.com/office/drawing/2014/main" id="{B468365E-91FC-4B3D-90C3-F61DA415E258}"/>
                    </a:ext>
                  </a:extLst>
                </p:cNvPr>
                <p:cNvSpPr/>
                <p:nvPr/>
              </p:nvSpPr>
              <p:spPr>
                <a:xfrm>
                  <a:off x="5050716" y="4764552"/>
                  <a:ext cx="18361" cy="18421"/>
                </a:xfrm>
                <a:custGeom>
                  <a:avLst/>
                  <a:gdLst>
                    <a:gd name="connsiteX0" fmla="*/ 2654 w 18361"/>
                    <a:gd name="connsiteY0" fmla="*/ 2722 h 18421"/>
                    <a:gd name="connsiteX1" fmla="*/ 15632 w 18361"/>
                    <a:gd name="connsiteY1" fmla="*/ 2662 h 18421"/>
                    <a:gd name="connsiteX2" fmla="*/ 15752 w 18361"/>
                    <a:gd name="connsiteY2" fmla="*/ 15700 h 18421"/>
                    <a:gd name="connsiteX3" fmla="*/ 2774 w 18361"/>
                    <a:gd name="connsiteY3" fmla="*/ 15760 h 18421"/>
                    <a:gd name="connsiteX4" fmla="*/ 2654 w 18361"/>
                    <a:gd name="connsiteY4" fmla="*/ 272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2654" y="2722"/>
                      </a:moveTo>
                      <a:cubicBezTo>
                        <a:pt x="6183" y="-867"/>
                        <a:pt x="11984" y="-927"/>
                        <a:pt x="15632" y="2662"/>
                      </a:cubicBezTo>
                      <a:cubicBezTo>
                        <a:pt x="19221" y="6250"/>
                        <a:pt x="19281" y="12052"/>
                        <a:pt x="15752" y="15700"/>
                      </a:cubicBezTo>
                      <a:cubicBezTo>
                        <a:pt x="12224" y="19288"/>
                        <a:pt x="6422" y="19348"/>
                        <a:pt x="2774" y="15760"/>
                      </a:cubicBezTo>
                      <a:cubicBezTo>
                        <a:pt x="-874" y="12171"/>
                        <a:pt x="-934" y="6310"/>
                        <a:pt x="2654" y="2722"/>
                      </a:cubicBezTo>
                      <a:close/>
                    </a:path>
                  </a:pathLst>
                </a:custGeom>
                <a:grpFill/>
                <a:ln w="5978" cap="flat">
                  <a:noFill/>
                  <a:prstDash val="solid"/>
                  <a:miter/>
                </a:ln>
              </p:spPr>
              <p:txBody>
                <a:bodyPr rtlCol="0" anchor="ctr"/>
                <a:lstStyle/>
                <a:p>
                  <a:endParaRPr lang="en-GB"/>
                </a:p>
              </p:txBody>
            </p:sp>
            <p:sp>
              <p:nvSpPr>
                <p:cNvPr id="2255" name="Vrije vorm: vorm 2254">
                  <a:extLst>
                    <a:ext uri="{FF2B5EF4-FFF2-40B4-BE49-F238E27FC236}">
                      <a16:creationId xmlns:a16="http://schemas.microsoft.com/office/drawing/2014/main" id="{41CA9C49-672E-441E-B5E1-2452F70470DB}"/>
                    </a:ext>
                  </a:extLst>
                </p:cNvPr>
                <p:cNvSpPr/>
                <p:nvPr/>
              </p:nvSpPr>
              <p:spPr>
                <a:xfrm>
                  <a:off x="4886531" y="4932251"/>
                  <a:ext cx="18316" cy="18421"/>
                </a:xfrm>
                <a:custGeom>
                  <a:avLst/>
                  <a:gdLst>
                    <a:gd name="connsiteX0" fmla="*/ 2610 w 18316"/>
                    <a:gd name="connsiteY0" fmla="*/ 2721 h 18421"/>
                    <a:gd name="connsiteX1" fmla="*/ 2729 w 18316"/>
                    <a:gd name="connsiteY1" fmla="*/ 15759 h 18421"/>
                    <a:gd name="connsiteX2" fmla="*/ 15707 w 18316"/>
                    <a:gd name="connsiteY2" fmla="*/ 15699 h 18421"/>
                    <a:gd name="connsiteX3" fmla="*/ 15588 w 18316"/>
                    <a:gd name="connsiteY3" fmla="*/ 2661 h 18421"/>
                    <a:gd name="connsiteX4" fmla="*/ 2610 w 18316"/>
                    <a:gd name="connsiteY4" fmla="*/ 27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1">
                      <a:moveTo>
                        <a:pt x="2610" y="2721"/>
                      </a:moveTo>
                      <a:cubicBezTo>
                        <a:pt x="-919" y="6310"/>
                        <a:pt x="-859" y="12171"/>
                        <a:pt x="2729" y="15759"/>
                      </a:cubicBezTo>
                      <a:cubicBezTo>
                        <a:pt x="6318" y="19348"/>
                        <a:pt x="12119" y="19288"/>
                        <a:pt x="15707" y="15699"/>
                      </a:cubicBezTo>
                      <a:cubicBezTo>
                        <a:pt x="19236" y="12111"/>
                        <a:pt x="19176" y="6250"/>
                        <a:pt x="15588" y="2661"/>
                      </a:cubicBezTo>
                      <a:cubicBezTo>
                        <a:pt x="11999" y="-927"/>
                        <a:pt x="6198" y="-867"/>
                        <a:pt x="2610" y="2721"/>
                      </a:cubicBezTo>
                      <a:close/>
                    </a:path>
                  </a:pathLst>
                </a:custGeom>
                <a:grpFill/>
                <a:ln w="5978" cap="flat">
                  <a:noFill/>
                  <a:prstDash val="solid"/>
                  <a:miter/>
                </a:ln>
              </p:spPr>
              <p:txBody>
                <a:bodyPr rtlCol="0" anchor="ctr"/>
                <a:lstStyle/>
                <a:p>
                  <a:endParaRPr lang="en-GB"/>
                </a:p>
              </p:txBody>
            </p:sp>
          </p:grpSp>
          <p:grpSp>
            <p:nvGrpSpPr>
              <p:cNvPr id="1050" name="Graphic 3">
                <a:extLst>
                  <a:ext uri="{FF2B5EF4-FFF2-40B4-BE49-F238E27FC236}">
                    <a16:creationId xmlns:a16="http://schemas.microsoft.com/office/drawing/2014/main" id="{633AA37B-E85C-4C02-8B0F-FCB08D650E86}"/>
                  </a:ext>
                </a:extLst>
              </p:cNvPr>
              <p:cNvGrpSpPr/>
              <p:nvPr/>
            </p:nvGrpSpPr>
            <p:grpSpPr>
              <a:xfrm>
                <a:off x="4979009" y="4959096"/>
                <a:ext cx="118281" cy="178780"/>
                <a:chOff x="4979009" y="4959096"/>
                <a:chExt cx="118281" cy="178780"/>
              </a:xfrm>
              <a:grpFill/>
            </p:grpSpPr>
            <p:sp>
              <p:nvSpPr>
                <p:cNvPr id="2250" name="Vrije vorm: vorm 2249">
                  <a:extLst>
                    <a:ext uri="{FF2B5EF4-FFF2-40B4-BE49-F238E27FC236}">
                      <a16:creationId xmlns:a16="http://schemas.microsoft.com/office/drawing/2014/main" id="{1F2D63BA-AEB7-4C10-86A6-02E3893D28B2}"/>
                    </a:ext>
                  </a:extLst>
                </p:cNvPr>
                <p:cNvSpPr/>
                <p:nvPr/>
              </p:nvSpPr>
              <p:spPr>
                <a:xfrm>
                  <a:off x="4986626" y="4967089"/>
                  <a:ext cx="103047" cy="162795"/>
                </a:xfrm>
                <a:custGeom>
                  <a:avLst/>
                  <a:gdLst>
                    <a:gd name="connsiteX0" fmla="*/ 103048 w 103047"/>
                    <a:gd name="connsiteY0" fmla="*/ 1615 h 162795"/>
                    <a:gd name="connsiteX1" fmla="*/ 2572 w 103047"/>
                    <a:gd name="connsiteY1" fmla="*/ 162795 h 162795"/>
                    <a:gd name="connsiteX2" fmla="*/ 0 w 103047"/>
                    <a:gd name="connsiteY2" fmla="*/ 161121 h 162795"/>
                    <a:gd name="connsiteX3" fmla="*/ 100476 w 103047"/>
                    <a:gd name="connsiteY3" fmla="*/ 0 h 162795"/>
                  </a:gdLst>
                  <a:ahLst/>
                  <a:cxnLst>
                    <a:cxn ang="0">
                      <a:pos x="connsiteX0" y="connsiteY0"/>
                    </a:cxn>
                    <a:cxn ang="0">
                      <a:pos x="connsiteX1" y="connsiteY1"/>
                    </a:cxn>
                    <a:cxn ang="0">
                      <a:pos x="connsiteX2" y="connsiteY2"/>
                    </a:cxn>
                    <a:cxn ang="0">
                      <a:pos x="connsiteX3" y="connsiteY3"/>
                    </a:cxn>
                  </a:cxnLst>
                  <a:rect l="l" t="t" r="r" b="b"/>
                  <a:pathLst>
                    <a:path w="103047" h="162795">
                      <a:moveTo>
                        <a:pt x="103048" y="1615"/>
                      </a:moveTo>
                      <a:lnTo>
                        <a:pt x="2572" y="162795"/>
                      </a:lnTo>
                      <a:lnTo>
                        <a:pt x="0" y="161121"/>
                      </a:lnTo>
                      <a:lnTo>
                        <a:pt x="100476" y="0"/>
                      </a:lnTo>
                      <a:close/>
                    </a:path>
                  </a:pathLst>
                </a:custGeom>
                <a:grpFill/>
                <a:ln w="5978" cap="flat">
                  <a:noFill/>
                  <a:prstDash val="solid"/>
                  <a:miter/>
                </a:ln>
              </p:spPr>
              <p:txBody>
                <a:bodyPr rtlCol="0" anchor="ctr"/>
                <a:lstStyle/>
                <a:p>
                  <a:endParaRPr lang="en-GB"/>
                </a:p>
              </p:txBody>
            </p:sp>
            <p:sp>
              <p:nvSpPr>
                <p:cNvPr id="2251" name="Vrije vorm: vorm 2250">
                  <a:extLst>
                    <a:ext uri="{FF2B5EF4-FFF2-40B4-BE49-F238E27FC236}">
                      <a16:creationId xmlns:a16="http://schemas.microsoft.com/office/drawing/2014/main" id="{1D01A9E1-DC1D-41A3-B4CE-5E9EB3B024BE}"/>
                    </a:ext>
                  </a:extLst>
                </p:cNvPr>
                <p:cNvSpPr/>
                <p:nvPr/>
              </p:nvSpPr>
              <p:spPr>
                <a:xfrm>
                  <a:off x="4979009" y="5119499"/>
                  <a:ext cx="18343" cy="18377"/>
                </a:xfrm>
                <a:custGeom>
                  <a:avLst/>
                  <a:gdLst>
                    <a:gd name="connsiteX0" fmla="*/ 16947 w 18343"/>
                    <a:gd name="connsiteY0" fmla="*/ 14093 h 18377"/>
                    <a:gd name="connsiteX1" fmla="*/ 4328 w 18343"/>
                    <a:gd name="connsiteY1" fmla="*/ 16964 h 18377"/>
                    <a:gd name="connsiteX2" fmla="*/ 1397 w 18343"/>
                    <a:gd name="connsiteY2" fmla="*/ 4285 h 18377"/>
                    <a:gd name="connsiteX3" fmla="*/ 14016 w 18343"/>
                    <a:gd name="connsiteY3" fmla="*/ 1414 h 18377"/>
                    <a:gd name="connsiteX4" fmla="*/ 16947 w 18343"/>
                    <a:gd name="connsiteY4" fmla="*/ 14093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7">
                      <a:moveTo>
                        <a:pt x="16947" y="14093"/>
                      </a:moveTo>
                      <a:cubicBezTo>
                        <a:pt x="14255" y="18399"/>
                        <a:pt x="8634" y="19655"/>
                        <a:pt x="4328" y="16964"/>
                      </a:cubicBezTo>
                      <a:cubicBezTo>
                        <a:pt x="21" y="14272"/>
                        <a:pt x="-1294" y="8531"/>
                        <a:pt x="1397" y="4285"/>
                      </a:cubicBezTo>
                      <a:cubicBezTo>
                        <a:pt x="4088" y="-22"/>
                        <a:pt x="9710" y="-1277"/>
                        <a:pt x="14016" y="1414"/>
                      </a:cubicBezTo>
                      <a:cubicBezTo>
                        <a:pt x="18322" y="4046"/>
                        <a:pt x="19638" y="9787"/>
                        <a:pt x="16947" y="14093"/>
                      </a:cubicBezTo>
                      <a:close/>
                    </a:path>
                  </a:pathLst>
                </a:custGeom>
                <a:grpFill/>
                <a:ln w="5978" cap="flat">
                  <a:noFill/>
                  <a:prstDash val="solid"/>
                  <a:miter/>
                </a:ln>
              </p:spPr>
              <p:txBody>
                <a:bodyPr rtlCol="0" anchor="ctr"/>
                <a:lstStyle/>
                <a:p>
                  <a:endParaRPr lang="en-GB"/>
                </a:p>
              </p:txBody>
            </p:sp>
            <p:sp>
              <p:nvSpPr>
                <p:cNvPr id="2252" name="Vrije vorm: vorm 2251">
                  <a:extLst>
                    <a:ext uri="{FF2B5EF4-FFF2-40B4-BE49-F238E27FC236}">
                      <a16:creationId xmlns:a16="http://schemas.microsoft.com/office/drawing/2014/main" id="{37A3BF0D-F4D6-4A5E-A099-576571776F75}"/>
                    </a:ext>
                  </a:extLst>
                </p:cNvPr>
                <p:cNvSpPr/>
                <p:nvPr/>
              </p:nvSpPr>
              <p:spPr>
                <a:xfrm>
                  <a:off x="5078947" y="4959096"/>
                  <a:ext cx="18343" cy="18404"/>
                </a:xfrm>
                <a:custGeom>
                  <a:avLst/>
                  <a:gdLst>
                    <a:gd name="connsiteX0" fmla="*/ 16947 w 18343"/>
                    <a:gd name="connsiteY0" fmla="*/ 14093 h 18404"/>
                    <a:gd name="connsiteX1" fmla="*/ 14016 w 18343"/>
                    <a:gd name="connsiteY1" fmla="*/ 1414 h 18404"/>
                    <a:gd name="connsiteX2" fmla="*/ 1397 w 18343"/>
                    <a:gd name="connsiteY2" fmla="*/ 4285 h 18404"/>
                    <a:gd name="connsiteX3" fmla="*/ 4327 w 18343"/>
                    <a:gd name="connsiteY3" fmla="*/ 16964 h 18404"/>
                    <a:gd name="connsiteX4" fmla="*/ 16947 w 18343"/>
                    <a:gd name="connsiteY4" fmla="*/ 14093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093"/>
                      </a:moveTo>
                      <a:cubicBezTo>
                        <a:pt x="19638" y="9787"/>
                        <a:pt x="18322" y="4105"/>
                        <a:pt x="14016" y="1414"/>
                      </a:cubicBezTo>
                      <a:cubicBezTo>
                        <a:pt x="9710" y="-1277"/>
                        <a:pt x="4088" y="-21"/>
                        <a:pt x="1397" y="4285"/>
                      </a:cubicBezTo>
                      <a:cubicBezTo>
                        <a:pt x="-1294" y="8591"/>
                        <a:pt x="21" y="14272"/>
                        <a:pt x="4327" y="16964"/>
                      </a:cubicBezTo>
                      <a:cubicBezTo>
                        <a:pt x="8634" y="19715"/>
                        <a:pt x="14256" y="18399"/>
                        <a:pt x="16947" y="14093"/>
                      </a:cubicBezTo>
                      <a:close/>
                    </a:path>
                  </a:pathLst>
                </a:custGeom>
                <a:grpFill/>
                <a:ln w="5978" cap="flat">
                  <a:noFill/>
                  <a:prstDash val="solid"/>
                  <a:miter/>
                </a:ln>
              </p:spPr>
              <p:txBody>
                <a:bodyPr rtlCol="0" anchor="ctr"/>
                <a:lstStyle/>
                <a:p>
                  <a:endParaRPr lang="en-GB"/>
                </a:p>
              </p:txBody>
            </p:sp>
          </p:grpSp>
          <p:grpSp>
            <p:nvGrpSpPr>
              <p:cNvPr id="1051" name="Graphic 3">
                <a:extLst>
                  <a:ext uri="{FF2B5EF4-FFF2-40B4-BE49-F238E27FC236}">
                    <a16:creationId xmlns:a16="http://schemas.microsoft.com/office/drawing/2014/main" id="{8497033F-F044-4C2E-9CCF-62F07F870EB8}"/>
                  </a:ext>
                </a:extLst>
              </p:cNvPr>
              <p:cNvGrpSpPr/>
              <p:nvPr/>
            </p:nvGrpSpPr>
            <p:grpSpPr>
              <a:xfrm>
                <a:off x="4889943" y="4765398"/>
                <a:ext cx="180087" cy="239330"/>
                <a:chOff x="4889943" y="4765398"/>
                <a:chExt cx="180087" cy="239330"/>
              </a:xfrm>
              <a:grpFill/>
            </p:grpSpPr>
            <p:sp>
              <p:nvSpPr>
                <p:cNvPr id="2247" name="Vrije vorm: vorm 2246">
                  <a:extLst>
                    <a:ext uri="{FF2B5EF4-FFF2-40B4-BE49-F238E27FC236}">
                      <a16:creationId xmlns:a16="http://schemas.microsoft.com/office/drawing/2014/main" id="{E3D52598-3E77-4306-9E8C-2A45E0945FE1}"/>
                    </a:ext>
                  </a:extLst>
                </p:cNvPr>
                <p:cNvSpPr/>
                <p:nvPr/>
              </p:nvSpPr>
              <p:spPr>
                <a:xfrm>
                  <a:off x="4897573" y="4773313"/>
                  <a:ext cx="164828" cy="223440"/>
                </a:xfrm>
                <a:custGeom>
                  <a:avLst/>
                  <a:gdLst>
                    <a:gd name="connsiteX0" fmla="*/ 164829 w 164828"/>
                    <a:gd name="connsiteY0" fmla="*/ 1795 h 223440"/>
                    <a:gd name="connsiteX1" fmla="*/ 2452 w 164828"/>
                    <a:gd name="connsiteY1" fmla="*/ 223440 h 223440"/>
                    <a:gd name="connsiteX2" fmla="*/ 0 w 164828"/>
                    <a:gd name="connsiteY2" fmla="*/ 221646 h 223440"/>
                    <a:gd name="connsiteX3" fmla="*/ 162377 w 164828"/>
                    <a:gd name="connsiteY3" fmla="*/ 0 h 223440"/>
                  </a:gdLst>
                  <a:ahLst/>
                  <a:cxnLst>
                    <a:cxn ang="0">
                      <a:pos x="connsiteX0" y="connsiteY0"/>
                    </a:cxn>
                    <a:cxn ang="0">
                      <a:pos x="connsiteX1" y="connsiteY1"/>
                    </a:cxn>
                    <a:cxn ang="0">
                      <a:pos x="connsiteX2" y="connsiteY2"/>
                    </a:cxn>
                    <a:cxn ang="0">
                      <a:pos x="connsiteX3" y="connsiteY3"/>
                    </a:cxn>
                  </a:cxnLst>
                  <a:rect l="l" t="t" r="r" b="b"/>
                  <a:pathLst>
                    <a:path w="164828" h="223440">
                      <a:moveTo>
                        <a:pt x="164829" y="1795"/>
                      </a:moveTo>
                      <a:lnTo>
                        <a:pt x="2452" y="223440"/>
                      </a:lnTo>
                      <a:lnTo>
                        <a:pt x="0" y="221646"/>
                      </a:lnTo>
                      <a:lnTo>
                        <a:pt x="162377" y="0"/>
                      </a:lnTo>
                      <a:close/>
                    </a:path>
                  </a:pathLst>
                </a:custGeom>
                <a:grpFill/>
                <a:ln w="5978" cap="flat">
                  <a:noFill/>
                  <a:prstDash val="solid"/>
                  <a:miter/>
                </a:ln>
              </p:spPr>
              <p:txBody>
                <a:bodyPr rtlCol="0" anchor="ctr"/>
                <a:lstStyle/>
                <a:p>
                  <a:endParaRPr lang="en-GB"/>
                </a:p>
              </p:txBody>
            </p:sp>
            <p:sp>
              <p:nvSpPr>
                <p:cNvPr id="2248" name="Vrije vorm: vorm 2247">
                  <a:extLst>
                    <a:ext uri="{FF2B5EF4-FFF2-40B4-BE49-F238E27FC236}">
                      <a16:creationId xmlns:a16="http://schemas.microsoft.com/office/drawing/2014/main" id="{984C3390-CBB3-4B43-9418-447222809784}"/>
                    </a:ext>
                  </a:extLst>
                </p:cNvPr>
                <p:cNvSpPr/>
                <p:nvPr/>
              </p:nvSpPr>
              <p:spPr>
                <a:xfrm>
                  <a:off x="4889943" y="4986326"/>
                  <a:ext cx="18309" cy="18402"/>
                </a:xfrm>
                <a:custGeom>
                  <a:avLst/>
                  <a:gdLst>
                    <a:gd name="connsiteX0" fmla="*/ 16541 w 18309"/>
                    <a:gd name="connsiteY0" fmla="*/ 14674 h 18402"/>
                    <a:gd name="connsiteX1" fmla="*/ 3742 w 18309"/>
                    <a:gd name="connsiteY1" fmla="*/ 16588 h 18402"/>
                    <a:gd name="connsiteX2" fmla="*/ 1768 w 18309"/>
                    <a:gd name="connsiteY2" fmla="*/ 3729 h 18402"/>
                    <a:gd name="connsiteX3" fmla="*/ 14567 w 18309"/>
                    <a:gd name="connsiteY3" fmla="*/ 1815 h 18402"/>
                    <a:gd name="connsiteX4" fmla="*/ 16541 w 18309"/>
                    <a:gd name="connsiteY4" fmla="*/ 14674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2">
                      <a:moveTo>
                        <a:pt x="16541" y="14674"/>
                      </a:moveTo>
                      <a:cubicBezTo>
                        <a:pt x="13550" y="18741"/>
                        <a:pt x="7809" y="19638"/>
                        <a:pt x="3742" y="16588"/>
                      </a:cubicBezTo>
                      <a:cubicBezTo>
                        <a:pt x="-325" y="13537"/>
                        <a:pt x="-1222" y="7796"/>
                        <a:pt x="1768" y="3729"/>
                      </a:cubicBezTo>
                      <a:cubicBezTo>
                        <a:pt x="4759" y="-338"/>
                        <a:pt x="10500" y="-1235"/>
                        <a:pt x="14567" y="1815"/>
                      </a:cubicBezTo>
                      <a:cubicBezTo>
                        <a:pt x="18634" y="4806"/>
                        <a:pt x="19531" y="10547"/>
                        <a:pt x="16541" y="14674"/>
                      </a:cubicBezTo>
                      <a:close/>
                    </a:path>
                  </a:pathLst>
                </a:custGeom>
                <a:grpFill/>
                <a:ln w="5978" cap="flat">
                  <a:noFill/>
                  <a:prstDash val="solid"/>
                  <a:miter/>
                </a:ln>
              </p:spPr>
              <p:txBody>
                <a:bodyPr rtlCol="0" anchor="ctr"/>
                <a:lstStyle/>
                <a:p>
                  <a:endParaRPr lang="en-GB"/>
                </a:p>
              </p:txBody>
            </p:sp>
            <p:sp>
              <p:nvSpPr>
                <p:cNvPr id="2249" name="Vrije vorm: vorm 2248">
                  <a:extLst>
                    <a:ext uri="{FF2B5EF4-FFF2-40B4-BE49-F238E27FC236}">
                      <a16:creationId xmlns:a16="http://schemas.microsoft.com/office/drawing/2014/main" id="{277AC891-E842-4E6D-AF87-347726F8BAB5}"/>
                    </a:ext>
                  </a:extLst>
                </p:cNvPr>
                <p:cNvSpPr/>
                <p:nvPr/>
              </p:nvSpPr>
              <p:spPr>
                <a:xfrm>
                  <a:off x="5051722" y="4765398"/>
                  <a:ext cx="18309" cy="18402"/>
                </a:xfrm>
                <a:custGeom>
                  <a:avLst/>
                  <a:gdLst>
                    <a:gd name="connsiteX0" fmla="*/ 16541 w 18309"/>
                    <a:gd name="connsiteY0" fmla="*/ 14674 h 18402"/>
                    <a:gd name="connsiteX1" fmla="*/ 14567 w 18309"/>
                    <a:gd name="connsiteY1" fmla="*/ 1815 h 18402"/>
                    <a:gd name="connsiteX2" fmla="*/ 1768 w 18309"/>
                    <a:gd name="connsiteY2" fmla="*/ 3729 h 18402"/>
                    <a:gd name="connsiteX3" fmla="*/ 3742 w 18309"/>
                    <a:gd name="connsiteY3" fmla="*/ 16588 h 18402"/>
                    <a:gd name="connsiteX4" fmla="*/ 16541 w 18309"/>
                    <a:gd name="connsiteY4" fmla="*/ 14674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2">
                      <a:moveTo>
                        <a:pt x="16541" y="14674"/>
                      </a:moveTo>
                      <a:cubicBezTo>
                        <a:pt x="19531" y="10607"/>
                        <a:pt x="18634" y="4806"/>
                        <a:pt x="14567" y="1815"/>
                      </a:cubicBezTo>
                      <a:cubicBezTo>
                        <a:pt x="10500" y="-1235"/>
                        <a:pt x="4759" y="-338"/>
                        <a:pt x="1768" y="3729"/>
                      </a:cubicBezTo>
                      <a:cubicBezTo>
                        <a:pt x="-1222" y="7796"/>
                        <a:pt x="-325" y="13597"/>
                        <a:pt x="3742" y="16588"/>
                      </a:cubicBezTo>
                      <a:cubicBezTo>
                        <a:pt x="7809" y="19638"/>
                        <a:pt x="13550" y="18741"/>
                        <a:pt x="16541" y="14674"/>
                      </a:cubicBezTo>
                      <a:close/>
                    </a:path>
                  </a:pathLst>
                </a:custGeom>
                <a:grpFill/>
                <a:ln w="5978" cap="flat">
                  <a:noFill/>
                  <a:prstDash val="solid"/>
                  <a:miter/>
                </a:ln>
              </p:spPr>
              <p:txBody>
                <a:bodyPr rtlCol="0" anchor="ctr"/>
                <a:lstStyle/>
                <a:p>
                  <a:endParaRPr lang="en-GB"/>
                </a:p>
              </p:txBody>
            </p:sp>
          </p:grpSp>
          <p:grpSp>
            <p:nvGrpSpPr>
              <p:cNvPr id="1052" name="Graphic 3">
                <a:extLst>
                  <a:ext uri="{FF2B5EF4-FFF2-40B4-BE49-F238E27FC236}">
                    <a16:creationId xmlns:a16="http://schemas.microsoft.com/office/drawing/2014/main" id="{758BB58A-4B67-4230-BFF4-C2D53C0F54FB}"/>
                  </a:ext>
                </a:extLst>
              </p:cNvPr>
              <p:cNvGrpSpPr/>
              <p:nvPr/>
            </p:nvGrpSpPr>
            <p:grpSpPr>
              <a:xfrm>
                <a:off x="5050321" y="5141906"/>
                <a:ext cx="105054" cy="183846"/>
                <a:chOff x="5050321" y="5141906"/>
                <a:chExt cx="105054" cy="183846"/>
              </a:xfrm>
              <a:grpFill/>
            </p:grpSpPr>
            <p:sp>
              <p:nvSpPr>
                <p:cNvPr id="2244" name="Vrije vorm: vorm 2243">
                  <a:extLst>
                    <a:ext uri="{FF2B5EF4-FFF2-40B4-BE49-F238E27FC236}">
                      <a16:creationId xmlns:a16="http://schemas.microsoft.com/office/drawing/2014/main" id="{1CA477B6-5A27-4383-BAB0-5DFB11BC0D85}"/>
                    </a:ext>
                  </a:extLst>
                </p:cNvPr>
                <p:cNvSpPr/>
                <p:nvPr/>
              </p:nvSpPr>
              <p:spPr>
                <a:xfrm>
                  <a:off x="5057976" y="5149980"/>
                  <a:ext cx="89830" cy="167639"/>
                </a:xfrm>
                <a:custGeom>
                  <a:avLst/>
                  <a:gdLst>
                    <a:gd name="connsiteX0" fmla="*/ 89831 w 89830"/>
                    <a:gd name="connsiteY0" fmla="*/ 1435 h 167639"/>
                    <a:gd name="connsiteX1" fmla="*/ 2691 w 89830"/>
                    <a:gd name="connsiteY1" fmla="*/ 167639 h 167639"/>
                    <a:gd name="connsiteX2" fmla="*/ 0 w 89830"/>
                    <a:gd name="connsiteY2" fmla="*/ 166204 h 167639"/>
                    <a:gd name="connsiteX3" fmla="*/ 87139 w 89830"/>
                    <a:gd name="connsiteY3" fmla="*/ 0 h 167639"/>
                  </a:gdLst>
                  <a:ahLst/>
                  <a:cxnLst>
                    <a:cxn ang="0">
                      <a:pos x="connsiteX0" y="connsiteY0"/>
                    </a:cxn>
                    <a:cxn ang="0">
                      <a:pos x="connsiteX1" y="connsiteY1"/>
                    </a:cxn>
                    <a:cxn ang="0">
                      <a:pos x="connsiteX2" y="connsiteY2"/>
                    </a:cxn>
                    <a:cxn ang="0">
                      <a:pos x="connsiteX3" y="connsiteY3"/>
                    </a:cxn>
                  </a:cxnLst>
                  <a:rect l="l" t="t" r="r" b="b"/>
                  <a:pathLst>
                    <a:path w="89830" h="167639">
                      <a:moveTo>
                        <a:pt x="89831" y="1435"/>
                      </a:moveTo>
                      <a:lnTo>
                        <a:pt x="2691" y="167639"/>
                      </a:lnTo>
                      <a:lnTo>
                        <a:pt x="0" y="166204"/>
                      </a:lnTo>
                      <a:lnTo>
                        <a:pt x="87139" y="0"/>
                      </a:lnTo>
                      <a:close/>
                    </a:path>
                  </a:pathLst>
                </a:custGeom>
                <a:grpFill/>
                <a:ln w="5978" cap="flat">
                  <a:noFill/>
                  <a:prstDash val="solid"/>
                  <a:miter/>
                </a:ln>
              </p:spPr>
              <p:txBody>
                <a:bodyPr rtlCol="0" anchor="ctr"/>
                <a:lstStyle/>
                <a:p>
                  <a:endParaRPr lang="en-GB"/>
                </a:p>
              </p:txBody>
            </p:sp>
            <p:sp>
              <p:nvSpPr>
                <p:cNvPr id="2245" name="Vrije vorm: vorm 2244">
                  <a:extLst>
                    <a:ext uri="{FF2B5EF4-FFF2-40B4-BE49-F238E27FC236}">
                      <a16:creationId xmlns:a16="http://schemas.microsoft.com/office/drawing/2014/main" id="{FAA7A9DD-9C53-42BE-BE42-32B54C8A5C7D}"/>
                    </a:ext>
                  </a:extLst>
                </p:cNvPr>
                <p:cNvSpPr/>
                <p:nvPr/>
              </p:nvSpPr>
              <p:spPr>
                <a:xfrm>
                  <a:off x="5050321" y="5307332"/>
                  <a:ext cx="18360" cy="18420"/>
                </a:xfrm>
                <a:custGeom>
                  <a:avLst/>
                  <a:gdLst>
                    <a:gd name="connsiteX0" fmla="*/ 17284 w 18360"/>
                    <a:gd name="connsiteY0" fmla="*/ 13516 h 18420"/>
                    <a:gd name="connsiteX1" fmla="*/ 4904 w 18360"/>
                    <a:gd name="connsiteY1" fmla="*/ 17344 h 18420"/>
                    <a:gd name="connsiteX2" fmla="*/ 1076 w 18360"/>
                    <a:gd name="connsiteY2" fmla="*/ 4904 h 18420"/>
                    <a:gd name="connsiteX3" fmla="*/ 13456 w 18360"/>
                    <a:gd name="connsiteY3" fmla="*/ 1076 h 18420"/>
                    <a:gd name="connsiteX4" fmla="*/ 17284 w 18360"/>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17284" y="13516"/>
                      </a:moveTo>
                      <a:cubicBezTo>
                        <a:pt x="14952" y="18002"/>
                        <a:pt x="9389" y="19736"/>
                        <a:pt x="4904" y="17344"/>
                      </a:cubicBezTo>
                      <a:cubicBezTo>
                        <a:pt x="418" y="14952"/>
                        <a:pt x="-1316" y="9390"/>
                        <a:pt x="1076" y="4904"/>
                      </a:cubicBezTo>
                      <a:cubicBezTo>
                        <a:pt x="3409" y="419"/>
                        <a:pt x="8971" y="-1316"/>
                        <a:pt x="13456" y="1076"/>
                      </a:cubicBezTo>
                      <a:cubicBezTo>
                        <a:pt x="17942" y="3409"/>
                        <a:pt x="19677" y="8971"/>
                        <a:pt x="17284" y="13516"/>
                      </a:cubicBezTo>
                      <a:close/>
                    </a:path>
                  </a:pathLst>
                </a:custGeom>
                <a:grpFill/>
                <a:ln w="5978" cap="flat">
                  <a:noFill/>
                  <a:prstDash val="solid"/>
                  <a:miter/>
                </a:ln>
              </p:spPr>
              <p:txBody>
                <a:bodyPr rtlCol="0" anchor="ctr"/>
                <a:lstStyle/>
                <a:p>
                  <a:endParaRPr lang="en-GB"/>
                </a:p>
              </p:txBody>
            </p:sp>
            <p:sp>
              <p:nvSpPr>
                <p:cNvPr id="2246" name="Vrije vorm: vorm 2245">
                  <a:extLst>
                    <a:ext uri="{FF2B5EF4-FFF2-40B4-BE49-F238E27FC236}">
                      <a16:creationId xmlns:a16="http://schemas.microsoft.com/office/drawing/2014/main" id="{2342C400-2333-445E-9473-BB5E4D13EEAC}"/>
                    </a:ext>
                  </a:extLst>
                </p:cNvPr>
                <p:cNvSpPr/>
                <p:nvPr/>
              </p:nvSpPr>
              <p:spPr>
                <a:xfrm>
                  <a:off x="5137068" y="5141906"/>
                  <a:ext cx="18307" cy="18393"/>
                </a:xfrm>
                <a:custGeom>
                  <a:avLst/>
                  <a:gdLst>
                    <a:gd name="connsiteX0" fmla="*/ 17258 w 18307"/>
                    <a:gd name="connsiteY0" fmla="*/ 13516 h 18393"/>
                    <a:gd name="connsiteX1" fmla="*/ 13430 w 18307"/>
                    <a:gd name="connsiteY1" fmla="*/ 1076 h 18393"/>
                    <a:gd name="connsiteX2" fmla="*/ 1050 w 18307"/>
                    <a:gd name="connsiteY2" fmla="*/ 4904 h 18393"/>
                    <a:gd name="connsiteX3" fmla="*/ 4877 w 18307"/>
                    <a:gd name="connsiteY3" fmla="*/ 17344 h 18393"/>
                    <a:gd name="connsiteX4" fmla="*/ 17258 w 18307"/>
                    <a:gd name="connsiteY4" fmla="*/ 13516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393">
                      <a:moveTo>
                        <a:pt x="17258" y="13516"/>
                      </a:moveTo>
                      <a:cubicBezTo>
                        <a:pt x="19590" y="9031"/>
                        <a:pt x="17915" y="3469"/>
                        <a:pt x="13430" y="1076"/>
                      </a:cubicBezTo>
                      <a:cubicBezTo>
                        <a:pt x="8944" y="-1316"/>
                        <a:pt x="3382" y="418"/>
                        <a:pt x="1050" y="4904"/>
                      </a:cubicBezTo>
                      <a:cubicBezTo>
                        <a:pt x="-1282" y="9389"/>
                        <a:pt x="392" y="14951"/>
                        <a:pt x="4877" y="17344"/>
                      </a:cubicBezTo>
                      <a:cubicBezTo>
                        <a:pt x="9363" y="19676"/>
                        <a:pt x="14925" y="18002"/>
                        <a:pt x="17258" y="13516"/>
                      </a:cubicBezTo>
                      <a:close/>
                    </a:path>
                  </a:pathLst>
                </a:custGeom>
                <a:grpFill/>
                <a:ln w="5978" cap="flat">
                  <a:noFill/>
                  <a:prstDash val="solid"/>
                  <a:miter/>
                </a:ln>
              </p:spPr>
              <p:txBody>
                <a:bodyPr rtlCol="0" anchor="ctr"/>
                <a:lstStyle/>
                <a:p>
                  <a:endParaRPr lang="en-GB"/>
                </a:p>
              </p:txBody>
            </p:sp>
          </p:grpSp>
          <p:grpSp>
            <p:nvGrpSpPr>
              <p:cNvPr id="1053" name="Graphic 3">
                <a:extLst>
                  <a:ext uri="{FF2B5EF4-FFF2-40B4-BE49-F238E27FC236}">
                    <a16:creationId xmlns:a16="http://schemas.microsoft.com/office/drawing/2014/main" id="{6BCA3CDE-E692-44C8-BEFE-7BF72C0DB3C8}"/>
                  </a:ext>
                </a:extLst>
              </p:cNvPr>
              <p:cNvGrpSpPr/>
              <p:nvPr/>
            </p:nvGrpSpPr>
            <p:grpSpPr>
              <a:xfrm>
                <a:off x="5081587" y="5257789"/>
                <a:ext cx="99364" cy="188198"/>
                <a:chOff x="5081587" y="5257789"/>
                <a:chExt cx="99364" cy="188198"/>
              </a:xfrm>
              <a:grpFill/>
            </p:grpSpPr>
            <p:sp>
              <p:nvSpPr>
                <p:cNvPr id="2241" name="Vrije vorm: vorm 2240">
                  <a:extLst>
                    <a:ext uri="{FF2B5EF4-FFF2-40B4-BE49-F238E27FC236}">
                      <a16:creationId xmlns:a16="http://schemas.microsoft.com/office/drawing/2014/main" id="{6B2F555F-CB5A-4B32-B4C1-FA9D840104AF}"/>
                    </a:ext>
                  </a:extLst>
                </p:cNvPr>
                <p:cNvSpPr/>
                <p:nvPr/>
              </p:nvSpPr>
              <p:spPr>
                <a:xfrm>
                  <a:off x="5089135" y="5265946"/>
                  <a:ext cx="84208" cy="171885"/>
                </a:xfrm>
                <a:custGeom>
                  <a:avLst/>
                  <a:gdLst>
                    <a:gd name="connsiteX0" fmla="*/ 84209 w 84208"/>
                    <a:gd name="connsiteY0" fmla="*/ 1316 h 171885"/>
                    <a:gd name="connsiteX1" fmla="*/ 2751 w 84208"/>
                    <a:gd name="connsiteY1" fmla="*/ 171886 h 171885"/>
                    <a:gd name="connsiteX2" fmla="*/ 0 w 84208"/>
                    <a:gd name="connsiteY2" fmla="*/ 170510 h 171885"/>
                    <a:gd name="connsiteX3" fmla="*/ 81458 w 84208"/>
                    <a:gd name="connsiteY3" fmla="*/ 0 h 171885"/>
                  </a:gdLst>
                  <a:ahLst/>
                  <a:cxnLst>
                    <a:cxn ang="0">
                      <a:pos x="connsiteX0" y="connsiteY0"/>
                    </a:cxn>
                    <a:cxn ang="0">
                      <a:pos x="connsiteX1" y="connsiteY1"/>
                    </a:cxn>
                    <a:cxn ang="0">
                      <a:pos x="connsiteX2" y="connsiteY2"/>
                    </a:cxn>
                    <a:cxn ang="0">
                      <a:pos x="connsiteX3" y="connsiteY3"/>
                    </a:cxn>
                  </a:cxnLst>
                  <a:rect l="l" t="t" r="r" b="b"/>
                  <a:pathLst>
                    <a:path w="84208" h="171885">
                      <a:moveTo>
                        <a:pt x="84209" y="1316"/>
                      </a:moveTo>
                      <a:lnTo>
                        <a:pt x="2751" y="171886"/>
                      </a:lnTo>
                      <a:lnTo>
                        <a:pt x="0" y="170510"/>
                      </a:lnTo>
                      <a:lnTo>
                        <a:pt x="81458" y="0"/>
                      </a:lnTo>
                      <a:close/>
                    </a:path>
                  </a:pathLst>
                </a:custGeom>
                <a:grpFill/>
                <a:ln w="5978" cap="flat">
                  <a:noFill/>
                  <a:prstDash val="solid"/>
                  <a:miter/>
                </a:ln>
              </p:spPr>
              <p:txBody>
                <a:bodyPr rtlCol="0" anchor="ctr"/>
                <a:lstStyle/>
                <a:p>
                  <a:endParaRPr lang="en-GB"/>
                </a:p>
              </p:txBody>
            </p:sp>
            <p:sp>
              <p:nvSpPr>
                <p:cNvPr id="2242" name="Vrije vorm: vorm 2241">
                  <a:extLst>
                    <a:ext uri="{FF2B5EF4-FFF2-40B4-BE49-F238E27FC236}">
                      <a16:creationId xmlns:a16="http://schemas.microsoft.com/office/drawing/2014/main" id="{33DD5003-3C3F-49FB-8CAF-6EACAAE2BB31}"/>
                    </a:ext>
                  </a:extLst>
                </p:cNvPr>
                <p:cNvSpPr/>
                <p:nvPr/>
              </p:nvSpPr>
              <p:spPr>
                <a:xfrm>
                  <a:off x="5081587" y="5427522"/>
                  <a:ext cx="18299" cy="18465"/>
                </a:xfrm>
                <a:custGeom>
                  <a:avLst/>
                  <a:gdLst>
                    <a:gd name="connsiteX0" fmla="*/ 17416 w 18299"/>
                    <a:gd name="connsiteY0" fmla="*/ 13240 h 18465"/>
                    <a:gd name="connsiteX1" fmla="*/ 5216 w 18299"/>
                    <a:gd name="connsiteY1" fmla="*/ 17546 h 18465"/>
                    <a:gd name="connsiteX2" fmla="*/ 910 w 18299"/>
                    <a:gd name="connsiteY2" fmla="*/ 5226 h 18465"/>
                    <a:gd name="connsiteX3" fmla="*/ 13110 w 18299"/>
                    <a:gd name="connsiteY3" fmla="*/ 920 h 18465"/>
                    <a:gd name="connsiteX4" fmla="*/ 17416 w 18299"/>
                    <a:gd name="connsiteY4" fmla="*/ 1324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65">
                      <a:moveTo>
                        <a:pt x="17416" y="13240"/>
                      </a:moveTo>
                      <a:cubicBezTo>
                        <a:pt x="15204" y="17845"/>
                        <a:pt x="9761" y="19759"/>
                        <a:pt x="5216" y="17546"/>
                      </a:cubicBezTo>
                      <a:cubicBezTo>
                        <a:pt x="670" y="15333"/>
                        <a:pt x="-1303" y="9831"/>
                        <a:pt x="910" y="5226"/>
                      </a:cubicBezTo>
                      <a:cubicBezTo>
                        <a:pt x="3122" y="621"/>
                        <a:pt x="8565" y="-1293"/>
                        <a:pt x="13110" y="920"/>
                      </a:cubicBezTo>
                      <a:cubicBezTo>
                        <a:pt x="17656" y="3133"/>
                        <a:pt x="19569" y="8635"/>
                        <a:pt x="17416" y="13240"/>
                      </a:cubicBezTo>
                      <a:close/>
                    </a:path>
                  </a:pathLst>
                </a:custGeom>
                <a:grpFill/>
                <a:ln w="5978" cap="flat">
                  <a:noFill/>
                  <a:prstDash val="solid"/>
                  <a:miter/>
                </a:ln>
              </p:spPr>
              <p:txBody>
                <a:bodyPr rtlCol="0" anchor="ctr"/>
                <a:lstStyle/>
                <a:p>
                  <a:endParaRPr lang="en-GB"/>
                </a:p>
              </p:txBody>
            </p:sp>
            <p:sp>
              <p:nvSpPr>
                <p:cNvPr id="2243" name="Vrije vorm: vorm 2242">
                  <a:extLst>
                    <a:ext uri="{FF2B5EF4-FFF2-40B4-BE49-F238E27FC236}">
                      <a16:creationId xmlns:a16="http://schemas.microsoft.com/office/drawing/2014/main" id="{27C3E64E-B59A-4B30-B458-71C5116BDD99}"/>
                    </a:ext>
                  </a:extLst>
                </p:cNvPr>
                <p:cNvSpPr/>
                <p:nvPr/>
              </p:nvSpPr>
              <p:spPr>
                <a:xfrm>
                  <a:off x="5162626" y="5257789"/>
                  <a:ext cx="18326" cy="18429"/>
                </a:xfrm>
                <a:custGeom>
                  <a:avLst/>
                  <a:gdLst>
                    <a:gd name="connsiteX0" fmla="*/ 17416 w 18326"/>
                    <a:gd name="connsiteY0" fmla="*/ 13240 h 18429"/>
                    <a:gd name="connsiteX1" fmla="*/ 13110 w 18326"/>
                    <a:gd name="connsiteY1" fmla="*/ 920 h 18429"/>
                    <a:gd name="connsiteX2" fmla="*/ 910 w 18326"/>
                    <a:gd name="connsiteY2" fmla="*/ 5226 h 18429"/>
                    <a:gd name="connsiteX3" fmla="*/ 5216 w 18326"/>
                    <a:gd name="connsiteY3" fmla="*/ 17546 h 18429"/>
                    <a:gd name="connsiteX4" fmla="*/ 17416 w 18326"/>
                    <a:gd name="connsiteY4" fmla="*/ 132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7416" y="13240"/>
                      </a:moveTo>
                      <a:cubicBezTo>
                        <a:pt x="19629" y="8635"/>
                        <a:pt x="17656" y="3133"/>
                        <a:pt x="13110" y="920"/>
                      </a:cubicBezTo>
                      <a:cubicBezTo>
                        <a:pt x="8565" y="-1293"/>
                        <a:pt x="3063" y="621"/>
                        <a:pt x="910" y="5226"/>
                      </a:cubicBezTo>
                      <a:cubicBezTo>
                        <a:pt x="-1303" y="9831"/>
                        <a:pt x="670" y="15333"/>
                        <a:pt x="5216" y="17546"/>
                      </a:cubicBezTo>
                      <a:cubicBezTo>
                        <a:pt x="9701" y="19699"/>
                        <a:pt x="15204" y="17785"/>
                        <a:pt x="17416" y="13240"/>
                      </a:cubicBezTo>
                      <a:close/>
                    </a:path>
                  </a:pathLst>
                </a:custGeom>
                <a:grpFill/>
                <a:ln w="5978" cap="flat">
                  <a:noFill/>
                  <a:prstDash val="solid"/>
                  <a:miter/>
                </a:ln>
              </p:spPr>
              <p:txBody>
                <a:bodyPr rtlCol="0" anchor="ctr"/>
                <a:lstStyle/>
                <a:p>
                  <a:endParaRPr lang="en-GB"/>
                </a:p>
              </p:txBody>
            </p:sp>
          </p:grpSp>
          <p:grpSp>
            <p:nvGrpSpPr>
              <p:cNvPr id="1054" name="Graphic 3">
                <a:extLst>
                  <a:ext uri="{FF2B5EF4-FFF2-40B4-BE49-F238E27FC236}">
                    <a16:creationId xmlns:a16="http://schemas.microsoft.com/office/drawing/2014/main" id="{BDC28F16-82AA-4229-BBB9-0C1DE7755212}"/>
                  </a:ext>
                </a:extLst>
              </p:cNvPr>
              <p:cNvGrpSpPr/>
              <p:nvPr/>
            </p:nvGrpSpPr>
            <p:grpSpPr>
              <a:xfrm>
                <a:off x="4196167" y="2840801"/>
                <a:ext cx="217790" cy="110472"/>
                <a:chOff x="4196167" y="2840801"/>
                <a:chExt cx="217790" cy="110472"/>
              </a:xfrm>
              <a:grpFill/>
            </p:grpSpPr>
            <p:sp>
              <p:nvSpPr>
                <p:cNvPr id="2238" name="Vrije vorm: vorm 2237">
                  <a:extLst>
                    <a:ext uri="{FF2B5EF4-FFF2-40B4-BE49-F238E27FC236}">
                      <a16:creationId xmlns:a16="http://schemas.microsoft.com/office/drawing/2014/main" id="{52F42F16-4D64-49D2-8AA5-8BDE34920FF1}"/>
                    </a:ext>
                  </a:extLst>
                </p:cNvPr>
                <p:cNvSpPr/>
                <p:nvPr/>
              </p:nvSpPr>
              <p:spPr>
                <a:xfrm>
                  <a:off x="4204288" y="2848418"/>
                  <a:ext cx="201550" cy="95272"/>
                </a:xfrm>
                <a:custGeom>
                  <a:avLst/>
                  <a:gdLst>
                    <a:gd name="connsiteX0" fmla="*/ 201550 w 201550"/>
                    <a:gd name="connsiteY0" fmla="*/ 92462 h 95272"/>
                    <a:gd name="connsiteX1" fmla="*/ 200294 w 201550"/>
                    <a:gd name="connsiteY1" fmla="*/ 95273 h 95272"/>
                    <a:gd name="connsiteX2" fmla="*/ 0 w 201550"/>
                    <a:gd name="connsiteY2" fmla="*/ 2811 h 95272"/>
                    <a:gd name="connsiteX3" fmla="*/ 1256 w 201550"/>
                    <a:gd name="connsiteY3" fmla="*/ 0 h 95272"/>
                  </a:gdLst>
                  <a:ahLst/>
                  <a:cxnLst>
                    <a:cxn ang="0">
                      <a:pos x="connsiteX0" y="connsiteY0"/>
                    </a:cxn>
                    <a:cxn ang="0">
                      <a:pos x="connsiteX1" y="connsiteY1"/>
                    </a:cxn>
                    <a:cxn ang="0">
                      <a:pos x="connsiteX2" y="connsiteY2"/>
                    </a:cxn>
                    <a:cxn ang="0">
                      <a:pos x="connsiteX3" y="connsiteY3"/>
                    </a:cxn>
                  </a:cxnLst>
                  <a:rect l="l" t="t" r="r" b="b"/>
                  <a:pathLst>
                    <a:path w="201550" h="95272">
                      <a:moveTo>
                        <a:pt x="201550" y="92462"/>
                      </a:moveTo>
                      <a:lnTo>
                        <a:pt x="200294" y="95273"/>
                      </a:lnTo>
                      <a:lnTo>
                        <a:pt x="0" y="2811"/>
                      </a:lnTo>
                      <a:lnTo>
                        <a:pt x="1256" y="0"/>
                      </a:lnTo>
                      <a:close/>
                    </a:path>
                  </a:pathLst>
                </a:custGeom>
                <a:grpFill/>
                <a:ln w="5978" cap="flat">
                  <a:noFill/>
                  <a:prstDash val="solid"/>
                  <a:miter/>
                </a:ln>
              </p:spPr>
              <p:txBody>
                <a:bodyPr rtlCol="0" anchor="ctr"/>
                <a:lstStyle/>
                <a:p>
                  <a:endParaRPr lang="en-GB"/>
                </a:p>
              </p:txBody>
            </p:sp>
            <p:sp>
              <p:nvSpPr>
                <p:cNvPr id="2239" name="Vrije vorm: vorm 2238">
                  <a:extLst>
                    <a:ext uri="{FF2B5EF4-FFF2-40B4-BE49-F238E27FC236}">
                      <a16:creationId xmlns:a16="http://schemas.microsoft.com/office/drawing/2014/main" id="{DF3336E8-87C5-4373-B5C0-1E411946F490}"/>
                    </a:ext>
                  </a:extLst>
                </p:cNvPr>
                <p:cNvSpPr/>
                <p:nvPr/>
              </p:nvSpPr>
              <p:spPr>
                <a:xfrm>
                  <a:off x="4395624" y="2932880"/>
                  <a:ext cx="18333" cy="18393"/>
                </a:xfrm>
                <a:custGeom>
                  <a:avLst/>
                  <a:gdLst>
                    <a:gd name="connsiteX0" fmla="*/ 12965 w 18333"/>
                    <a:gd name="connsiteY0" fmla="*/ 824 h 18393"/>
                    <a:gd name="connsiteX1" fmla="*/ 17510 w 18333"/>
                    <a:gd name="connsiteY1" fmla="*/ 13024 h 18393"/>
                    <a:gd name="connsiteX2" fmla="*/ 5369 w 18333"/>
                    <a:gd name="connsiteY2" fmla="*/ 17570 h 18393"/>
                    <a:gd name="connsiteX3" fmla="*/ 824 w 18333"/>
                    <a:gd name="connsiteY3" fmla="*/ 5369 h 18393"/>
                    <a:gd name="connsiteX4" fmla="*/ 12965 w 18333"/>
                    <a:gd name="connsiteY4" fmla="*/ 824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2965" y="824"/>
                      </a:moveTo>
                      <a:cubicBezTo>
                        <a:pt x="17570" y="2977"/>
                        <a:pt x="19603" y="8419"/>
                        <a:pt x="17510" y="13024"/>
                      </a:cubicBezTo>
                      <a:cubicBezTo>
                        <a:pt x="15417" y="17630"/>
                        <a:pt x="9974" y="19663"/>
                        <a:pt x="5369" y="17570"/>
                      </a:cubicBezTo>
                      <a:cubicBezTo>
                        <a:pt x="764" y="15417"/>
                        <a:pt x="-1270" y="9974"/>
                        <a:pt x="824" y="5369"/>
                      </a:cubicBezTo>
                      <a:cubicBezTo>
                        <a:pt x="2917" y="764"/>
                        <a:pt x="8359" y="-1270"/>
                        <a:pt x="12965" y="824"/>
                      </a:cubicBezTo>
                      <a:close/>
                    </a:path>
                  </a:pathLst>
                </a:custGeom>
                <a:grpFill/>
                <a:ln w="5978" cap="flat">
                  <a:noFill/>
                  <a:prstDash val="solid"/>
                  <a:miter/>
                </a:ln>
              </p:spPr>
              <p:txBody>
                <a:bodyPr rtlCol="0" anchor="ctr"/>
                <a:lstStyle/>
                <a:p>
                  <a:endParaRPr lang="en-GB"/>
                </a:p>
              </p:txBody>
            </p:sp>
            <p:sp>
              <p:nvSpPr>
                <p:cNvPr id="2240" name="Vrije vorm: vorm 2239">
                  <a:extLst>
                    <a:ext uri="{FF2B5EF4-FFF2-40B4-BE49-F238E27FC236}">
                      <a16:creationId xmlns:a16="http://schemas.microsoft.com/office/drawing/2014/main" id="{29D8780F-A75B-45C8-A604-D2221D6B2725}"/>
                    </a:ext>
                  </a:extLst>
                </p:cNvPr>
                <p:cNvSpPr/>
                <p:nvPr/>
              </p:nvSpPr>
              <p:spPr>
                <a:xfrm>
                  <a:off x="4196167" y="2840801"/>
                  <a:ext cx="18333" cy="18464"/>
                </a:xfrm>
                <a:custGeom>
                  <a:avLst/>
                  <a:gdLst>
                    <a:gd name="connsiteX0" fmla="*/ 12965 w 18333"/>
                    <a:gd name="connsiteY0" fmla="*/ 859 h 18464"/>
                    <a:gd name="connsiteX1" fmla="*/ 824 w 18333"/>
                    <a:gd name="connsiteY1" fmla="*/ 5404 h 18464"/>
                    <a:gd name="connsiteX2" fmla="*/ 5369 w 18333"/>
                    <a:gd name="connsiteY2" fmla="*/ 17605 h 18464"/>
                    <a:gd name="connsiteX3" fmla="*/ 17510 w 18333"/>
                    <a:gd name="connsiteY3" fmla="*/ 13060 h 18464"/>
                    <a:gd name="connsiteX4" fmla="*/ 12965 w 18333"/>
                    <a:gd name="connsiteY4" fmla="*/ 85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12965" y="859"/>
                      </a:moveTo>
                      <a:cubicBezTo>
                        <a:pt x="8359" y="-1294"/>
                        <a:pt x="2917" y="739"/>
                        <a:pt x="824" y="5404"/>
                      </a:cubicBezTo>
                      <a:cubicBezTo>
                        <a:pt x="-1269" y="10009"/>
                        <a:pt x="764" y="15512"/>
                        <a:pt x="5369" y="17605"/>
                      </a:cubicBezTo>
                      <a:cubicBezTo>
                        <a:pt x="9974" y="19758"/>
                        <a:pt x="15417" y="17725"/>
                        <a:pt x="17510" y="13060"/>
                      </a:cubicBezTo>
                      <a:cubicBezTo>
                        <a:pt x="19603" y="8455"/>
                        <a:pt x="17570" y="2952"/>
                        <a:pt x="12965" y="859"/>
                      </a:cubicBezTo>
                      <a:close/>
                    </a:path>
                  </a:pathLst>
                </a:custGeom>
                <a:grpFill/>
                <a:ln w="5978" cap="flat">
                  <a:noFill/>
                  <a:prstDash val="solid"/>
                  <a:miter/>
                </a:ln>
              </p:spPr>
              <p:txBody>
                <a:bodyPr rtlCol="0" anchor="ctr"/>
                <a:lstStyle/>
                <a:p>
                  <a:endParaRPr lang="en-GB"/>
                </a:p>
              </p:txBody>
            </p:sp>
          </p:grpSp>
          <p:grpSp>
            <p:nvGrpSpPr>
              <p:cNvPr id="1055" name="Graphic 3">
                <a:extLst>
                  <a:ext uri="{FF2B5EF4-FFF2-40B4-BE49-F238E27FC236}">
                    <a16:creationId xmlns:a16="http://schemas.microsoft.com/office/drawing/2014/main" id="{9E4A0969-F088-489D-AFDC-CEFCC162986B}"/>
                  </a:ext>
                </a:extLst>
              </p:cNvPr>
              <p:cNvGrpSpPr/>
              <p:nvPr/>
            </p:nvGrpSpPr>
            <p:grpSpPr>
              <a:xfrm>
                <a:off x="4221646" y="2884432"/>
                <a:ext cx="191833" cy="68220"/>
                <a:chOff x="4221646" y="2884432"/>
                <a:chExt cx="191833" cy="68220"/>
              </a:xfrm>
              <a:grpFill/>
            </p:grpSpPr>
            <p:sp>
              <p:nvSpPr>
                <p:cNvPr id="2235" name="Vrije vorm: vorm 2234">
                  <a:extLst>
                    <a:ext uri="{FF2B5EF4-FFF2-40B4-BE49-F238E27FC236}">
                      <a16:creationId xmlns:a16="http://schemas.microsoft.com/office/drawing/2014/main" id="{2E63CA7A-72CA-40FC-AA79-97E576F7DD5C}"/>
                    </a:ext>
                  </a:extLst>
                </p:cNvPr>
                <p:cNvSpPr/>
                <p:nvPr/>
              </p:nvSpPr>
              <p:spPr>
                <a:xfrm>
                  <a:off x="4229945" y="2892018"/>
                  <a:ext cx="175235" cy="52989"/>
                </a:xfrm>
                <a:custGeom>
                  <a:avLst/>
                  <a:gdLst>
                    <a:gd name="connsiteX0" fmla="*/ 175235 w 175235"/>
                    <a:gd name="connsiteY0" fmla="*/ 50059 h 52989"/>
                    <a:gd name="connsiteX1" fmla="*/ 174398 w 175235"/>
                    <a:gd name="connsiteY1" fmla="*/ 52989 h 52989"/>
                    <a:gd name="connsiteX2" fmla="*/ 0 w 175235"/>
                    <a:gd name="connsiteY2" fmla="*/ 2990 h 52989"/>
                    <a:gd name="connsiteX3" fmla="*/ 837 w 175235"/>
                    <a:gd name="connsiteY3" fmla="*/ 0 h 52989"/>
                  </a:gdLst>
                  <a:ahLst/>
                  <a:cxnLst>
                    <a:cxn ang="0">
                      <a:pos x="connsiteX0" y="connsiteY0"/>
                    </a:cxn>
                    <a:cxn ang="0">
                      <a:pos x="connsiteX1" y="connsiteY1"/>
                    </a:cxn>
                    <a:cxn ang="0">
                      <a:pos x="connsiteX2" y="connsiteY2"/>
                    </a:cxn>
                    <a:cxn ang="0">
                      <a:pos x="connsiteX3" y="connsiteY3"/>
                    </a:cxn>
                  </a:cxnLst>
                  <a:rect l="l" t="t" r="r" b="b"/>
                  <a:pathLst>
                    <a:path w="175235" h="52989">
                      <a:moveTo>
                        <a:pt x="175235" y="50059"/>
                      </a:moveTo>
                      <a:lnTo>
                        <a:pt x="174398" y="52989"/>
                      </a:lnTo>
                      <a:lnTo>
                        <a:pt x="0" y="2990"/>
                      </a:lnTo>
                      <a:lnTo>
                        <a:pt x="837" y="0"/>
                      </a:lnTo>
                      <a:close/>
                    </a:path>
                  </a:pathLst>
                </a:custGeom>
                <a:grpFill/>
                <a:ln w="5978" cap="flat">
                  <a:noFill/>
                  <a:prstDash val="solid"/>
                  <a:miter/>
                </a:ln>
              </p:spPr>
              <p:txBody>
                <a:bodyPr rtlCol="0" anchor="ctr"/>
                <a:lstStyle/>
                <a:p>
                  <a:endParaRPr lang="en-GB"/>
                </a:p>
              </p:txBody>
            </p:sp>
            <p:sp>
              <p:nvSpPr>
                <p:cNvPr id="2236" name="Vrije vorm: vorm 2235">
                  <a:extLst>
                    <a:ext uri="{FF2B5EF4-FFF2-40B4-BE49-F238E27FC236}">
                      <a16:creationId xmlns:a16="http://schemas.microsoft.com/office/drawing/2014/main" id="{4CE20D48-21B6-491D-AE8F-8C378E018E9D}"/>
                    </a:ext>
                  </a:extLst>
                </p:cNvPr>
                <p:cNvSpPr/>
                <p:nvPr/>
              </p:nvSpPr>
              <p:spPr>
                <a:xfrm>
                  <a:off x="4221646" y="2884432"/>
                  <a:ext cx="18332" cy="18421"/>
                </a:xfrm>
                <a:custGeom>
                  <a:avLst/>
                  <a:gdLst>
                    <a:gd name="connsiteX0" fmla="*/ 6684 w 18332"/>
                    <a:gd name="connsiteY0" fmla="*/ 18052 h 18421"/>
                    <a:gd name="connsiteX1" fmla="*/ 345 w 18332"/>
                    <a:gd name="connsiteY1" fmla="*/ 6688 h 18421"/>
                    <a:gd name="connsiteX2" fmla="*/ 11648 w 18332"/>
                    <a:gd name="connsiteY2" fmla="*/ 349 h 18421"/>
                    <a:gd name="connsiteX3" fmla="*/ 17988 w 18332"/>
                    <a:gd name="connsiteY3" fmla="*/ 11712 h 18421"/>
                    <a:gd name="connsiteX4" fmla="*/ 6684 w 18332"/>
                    <a:gd name="connsiteY4" fmla="*/ 1805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1">
                      <a:moveTo>
                        <a:pt x="6684" y="18052"/>
                      </a:moveTo>
                      <a:cubicBezTo>
                        <a:pt x="1840" y="16676"/>
                        <a:pt x="-1031" y="11533"/>
                        <a:pt x="345" y="6688"/>
                      </a:cubicBezTo>
                      <a:cubicBezTo>
                        <a:pt x="1720" y="1784"/>
                        <a:pt x="6804" y="-1027"/>
                        <a:pt x="11648" y="349"/>
                      </a:cubicBezTo>
                      <a:cubicBezTo>
                        <a:pt x="16493" y="1724"/>
                        <a:pt x="19363" y="6868"/>
                        <a:pt x="17988" y="11712"/>
                      </a:cubicBezTo>
                      <a:cubicBezTo>
                        <a:pt x="16612" y="16616"/>
                        <a:pt x="11528" y="19487"/>
                        <a:pt x="6684" y="18052"/>
                      </a:cubicBezTo>
                      <a:close/>
                    </a:path>
                  </a:pathLst>
                </a:custGeom>
                <a:grpFill/>
                <a:ln w="5978" cap="flat">
                  <a:noFill/>
                  <a:prstDash val="solid"/>
                  <a:miter/>
                </a:ln>
              </p:spPr>
              <p:txBody>
                <a:bodyPr rtlCol="0" anchor="ctr"/>
                <a:lstStyle/>
                <a:p>
                  <a:endParaRPr lang="en-GB"/>
                </a:p>
              </p:txBody>
            </p:sp>
            <p:sp>
              <p:nvSpPr>
                <p:cNvPr id="2237" name="Vrije vorm: vorm 2236">
                  <a:extLst>
                    <a:ext uri="{FF2B5EF4-FFF2-40B4-BE49-F238E27FC236}">
                      <a16:creationId xmlns:a16="http://schemas.microsoft.com/office/drawing/2014/main" id="{FA2BCC14-435F-49A9-911D-B82DE8680E49}"/>
                    </a:ext>
                  </a:extLst>
                </p:cNvPr>
                <p:cNvSpPr/>
                <p:nvPr/>
              </p:nvSpPr>
              <p:spPr>
                <a:xfrm>
                  <a:off x="4395142" y="2934252"/>
                  <a:ext cx="18336" cy="18400"/>
                </a:xfrm>
                <a:custGeom>
                  <a:avLst/>
                  <a:gdLst>
                    <a:gd name="connsiteX0" fmla="*/ 6688 w 18336"/>
                    <a:gd name="connsiteY0" fmla="*/ 18052 h 18400"/>
                    <a:gd name="connsiteX1" fmla="*/ 17992 w 18336"/>
                    <a:gd name="connsiteY1" fmla="*/ 11712 h 18400"/>
                    <a:gd name="connsiteX2" fmla="*/ 11653 w 18336"/>
                    <a:gd name="connsiteY2" fmla="*/ 349 h 18400"/>
                    <a:gd name="connsiteX3" fmla="*/ 349 w 18336"/>
                    <a:gd name="connsiteY3" fmla="*/ 6688 h 18400"/>
                    <a:gd name="connsiteX4" fmla="*/ 6688 w 18336"/>
                    <a:gd name="connsiteY4" fmla="*/ 18052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00">
                      <a:moveTo>
                        <a:pt x="6688" y="18052"/>
                      </a:moveTo>
                      <a:cubicBezTo>
                        <a:pt x="11533" y="19427"/>
                        <a:pt x="16617" y="16616"/>
                        <a:pt x="17992" y="11712"/>
                      </a:cubicBezTo>
                      <a:cubicBezTo>
                        <a:pt x="19368" y="6808"/>
                        <a:pt x="16497" y="1725"/>
                        <a:pt x="11653" y="349"/>
                      </a:cubicBezTo>
                      <a:cubicBezTo>
                        <a:pt x="6808" y="-1027"/>
                        <a:pt x="1724" y="1784"/>
                        <a:pt x="349" y="6688"/>
                      </a:cubicBezTo>
                      <a:cubicBezTo>
                        <a:pt x="-1027" y="11533"/>
                        <a:pt x="1784" y="16616"/>
                        <a:pt x="6688" y="18052"/>
                      </a:cubicBezTo>
                      <a:close/>
                    </a:path>
                  </a:pathLst>
                </a:custGeom>
                <a:grpFill/>
                <a:ln w="5978" cap="flat">
                  <a:noFill/>
                  <a:prstDash val="solid"/>
                  <a:miter/>
                </a:ln>
              </p:spPr>
              <p:txBody>
                <a:bodyPr rtlCol="0" anchor="ctr"/>
                <a:lstStyle/>
                <a:p>
                  <a:endParaRPr lang="en-GB"/>
                </a:p>
              </p:txBody>
            </p:sp>
          </p:grpSp>
          <p:grpSp>
            <p:nvGrpSpPr>
              <p:cNvPr id="1056" name="Graphic 3">
                <a:extLst>
                  <a:ext uri="{FF2B5EF4-FFF2-40B4-BE49-F238E27FC236}">
                    <a16:creationId xmlns:a16="http://schemas.microsoft.com/office/drawing/2014/main" id="{8DD14B4F-47D1-4889-BFCC-BA64444F9BD3}"/>
                  </a:ext>
                </a:extLst>
              </p:cNvPr>
              <p:cNvGrpSpPr/>
              <p:nvPr/>
            </p:nvGrpSpPr>
            <p:grpSpPr>
              <a:xfrm>
                <a:off x="4878697" y="4697810"/>
                <a:ext cx="83684" cy="95027"/>
                <a:chOff x="4878697" y="4697810"/>
                <a:chExt cx="83684" cy="95027"/>
              </a:xfrm>
              <a:grpFill/>
            </p:grpSpPr>
            <p:sp>
              <p:nvSpPr>
                <p:cNvPr id="2232" name="Vrije vorm: vorm 2231">
                  <a:extLst>
                    <a:ext uri="{FF2B5EF4-FFF2-40B4-BE49-F238E27FC236}">
                      <a16:creationId xmlns:a16="http://schemas.microsoft.com/office/drawing/2014/main" id="{89F138D9-C83E-4EA1-B929-7C10EB53333F}"/>
                    </a:ext>
                  </a:extLst>
                </p:cNvPr>
                <p:cNvSpPr/>
                <p:nvPr/>
              </p:nvSpPr>
              <p:spPr>
                <a:xfrm>
                  <a:off x="4886389" y="4705671"/>
                  <a:ext cx="68299" cy="79304"/>
                </a:xfrm>
                <a:custGeom>
                  <a:avLst/>
                  <a:gdLst>
                    <a:gd name="connsiteX0" fmla="*/ 68300 w 68299"/>
                    <a:gd name="connsiteY0" fmla="*/ 2034 h 79304"/>
                    <a:gd name="connsiteX1" fmla="*/ 2333 w 68299"/>
                    <a:gd name="connsiteY1" fmla="*/ 79304 h 79304"/>
                    <a:gd name="connsiteX2" fmla="*/ 0 w 68299"/>
                    <a:gd name="connsiteY2" fmla="*/ 77331 h 79304"/>
                    <a:gd name="connsiteX3" fmla="*/ 66027 w 68299"/>
                    <a:gd name="connsiteY3" fmla="*/ 0 h 79304"/>
                  </a:gdLst>
                  <a:ahLst/>
                  <a:cxnLst>
                    <a:cxn ang="0">
                      <a:pos x="connsiteX0" y="connsiteY0"/>
                    </a:cxn>
                    <a:cxn ang="0">
                      <a:pos x="connsiteX1" y="connsiteY1"/>
                    </a:cxn>
                    <a:cxn ang="0">
                      <a:pos x="connsiteX2" y="connsiteY2"/>
                    </a:cxn>
                    <a:cxn ang="0">
                      <a:pos x="connsiteX3" y="connsiteY3"/>
                    </a:cxn>
                  </a:cxnLst>
                  <a:rect l="l" t="t" r="r" b="b"/>
                  <a:pathLst>
                    <a:path w="68299" h="79304">
                      <a:moveTo>
                        <a:pt x="68300" y="2034"/>
                      </a:moveTo>
                      <a:lnTo>
                        <a:pt x="2333" y="79304"/>
                      </a:lnTo>
                      <a:lnTo>
                        <a:pt x="0" y="77331"/>
                      </a:lnTo>
                      <a:lnTo>
                        <a:pt x="66027" y="0"/>
                      </a:lnTo>
                      <a:close/>
                    </a:path>
                  </a:pathLst>
                </a:custGeom>
                <a:grpFill/>
                <a:ln w="5978" cap="flat">
                  <a:noFill/>
                  <a:prstDash val="solid"/>
                  <a:miter/>
                </a:ln>
              </p:spPr>
              <p:txBody>
                <a:bodyPr rtlCol="0" anchor="ctr"/>
                <a:lstStyle/>
                <a:p>
                  <a:endParaRPr lang="en-GB"/>
                </a:p>
              </p:txBody>
            </p:sp>
            <p:sp>
              <p:nvSpPr>
                <p:cNvPr id="2233" name="Vrije vorm: vorm 2232">
                  <a:extLst>
                    <a:ext uri="{FF2B5EF4-FFF2-40B4-BE49-F238E27FC236}">
                      <a16:creationId xmlns:a16="http://schemas.microsoft.com/office/drawing/2014/main" id="{A6E5320C-9C63-434C-94F1-3C4559C16527}"/>
                    </a:ext>
                  </a:extLst>
                </p:cNvPr>
                <p:cNvSpPr/>
                <p:nvPr/>
              </p:nvSpPr>
              <p:spPr>
                <a:xfrm>
                  <a:off x="4878697" y="4774423"/>
                  <a:ext cx="18315" cy="18414"/>
                </a:xfrm>
                <a:custGeom>
                  <a:avLst/>
                  <a:gdLst>
                    <a:gd name="connsiteX0" fmla="*/ 16125 w 18315"/>
                    <a:gd name="connsiteY0" fmla="*/ 15218 h 18414"/>
                    <a:gd name="connsiteX1" fmla="*/ 3207 w 18315"/>
                    <a:gd name="connsiteY1" fmla="*/ 16175 h 18414"/>
                    <a:gd name="connsiteX2" fmla="*/ 2190 w 18315"/>
                    <a:gd name="connsiteY2" fmla="*/ 3197 h 18414"/>
                    <a:gd name="connsiteX3" fmla="*/ 15108 w 18315"/>
                    <a:gd name="connsiteY3" fmla="*/ 2240 h 18414"/>
                    <a:gd name="connsiteX4" fmla="*/ 16125 w 18315"/>
                    <a:gd name="connsiteY4" fmla="*/ 1521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14">
                      <a:moveTo>
                        <a:pt x="16125" y="15218"/>
                      </a:moveTo>
                      <a:cubicBezTo>
                        <a:pt x="12836" y="19046"/>
                        <a:pt x="7034" y="19524"/>
                        <a:pt x="3207" y="16175"/>
                      </a:cubicBezTo>
                      <a:cubicBezTo>
                        <a:pt x="-621" y="12826"/>
                        <a:pt x="-1100" y="7024"/>
                        <a:pt x="2190" y="3197"/>
                      </a:cubicBezTo>
                      <a:cubicBezTo>
                        <a:pt x="5479" y="-631"/>
                        <a:pt x="11281" y="-1110"/>
                        <a:pt x="15108" y="2240"/>
                      </a:cubicBezTo>
                      <a:cubicBezTo>
                        <a:pt x="18936" y="5529"/>
                        <a:pt x="19415" y="11390"/>
                        <a:pt x="16125" y="15218"/>
                      </a:cubicBezTo>
                      <a:close/>
                    </a:path>
                  </a:pathLst>
                </a:custGeom>
                <a:grpFill/>
                <a:ln w="5978" cap="flat">
                  <a:noFill/>
                  <a:prstDash val="solid"/>
                  <a:miter/>
                </a:ln>
              </p:spPr>
              <p:txBody>
                <a:bodyPr rtlCol="0" anchor="ctr"/>
                <a:lstStyle/>
                <a:p>
                  <a:endParaRPr lang="en-GB"/>
                </a:p>
              </p:txBody>
            </p:sp>
            <p:sp>
              <p:nvSpPr>
                <p:cNvPr id="2234" name="Vrije vorm: vorm 2233">
                  <a:extLst>
                    <a:ext uri="{FF2B5EF4-FFF2-40B4-BE49-F238E27FC236}">
                      <a16:creationId xmlns:a16="http://schemas.microsoft.com/office/drawing/2014/main" id="{5841EB25-6EF1-4D11-9D86-CAF18264BA49}"/>
                    </a:ext>
                  </a:extLst>
                </p:cNvPr>
                <p:cNvSpPr/>
                <p:nvPr/>
              </p:nvSpPr>
              <p:spPr>
                <a:xfrm>
                  <a:off x="4944046" y="4697810"/>
                  <a:ext cx="18334" cy="18434"/>
                </a:xfrm>
                <a:custGeom>
                  <a:avLst/>
                  <a:gdLst>
                    <a:gd name="connsiteX0" fmla="*/ 16145 w 18334"/>
                    <a:gd name="connsiteY0" fmla="*/ 15218 h 18434"/>
                    <a:gd name="connsiteX1" fmla="*/ 15128 w 18334"/>
                    <a:gd name="connsiteY1" fmla="*/ 2240 h 18434"/>
                    <a:gd name="connsiteX2" fmla="*/ 2210 w 18334"/>
                    <a:gd name="connsiteY2" fmla="*/ 3197 h 18434"/>
                    <a:gd name="connsiteX3" fmla="*/ 3227 w 18334"/>
                    <a:gd name="connsiteY3" fmla="*/ 16175 h 18434"/>
                    <a:gd name="connsiteX4" fmla="*/ 16145 w 18334"/>
                    <a:gd name="connsiteY4" fmla="*/ 15218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4">
                      <a:moveTo>
                        <a:pt x="16145" y="15218"/>
                      </a:moveTo>
                      <a:cubicBezTo>
                        <a:pt x="19434" y="11390"/>
                        <a:pt x="18956" y="5529"/>
                        <a:pt x="15128" y="2240"/>
                      </a:cubicBezTo>
                      <a:cubicBezTo>
                        <a:pt x="11300" y="-1110"/>
                        <a:pt x="5499" y="-631"/>
                        <a:pt x="2210" y="3197"/>
                      </a:cubicBezTo>
                      <a:cubicBezTo>
                        <a:pt x="-1079" y="7025"/>
                        <a:pt x="-661" y="12886"/>
                        <a:pt x="3227" y="16175"/>
                      </a:cubicBezTo>
                      <a:cubicBezTo>
                        <a:pt x="7114" y="19524"/>
                        <a:pt x="12855" y="19105"/>
                        <a:pt x="16145" y="15218"/>
                      </a:cubicBezTo>
                      <a:close/>
                    </a:path>
                  </a:pathLst>
                </a:custGeom>
                <a:grpFill/>
                <a:ln w="5978" cap="flat">
                  <a:noFill/>
                  <a:prstDash val="solid"/>
                  <a:miter/>
                </a:ln>
              </p:spPr>
              <p:txBody>
                <a:bodyPr rtlCol="0" anchor="ctr"/>
                <a:lstStyle/>
                <a:p>
                  <a:endParaRPr lang="en-GB"/>
                </a:p>
              </p:txBody>
            </p:sp>
          </p:grpSp>
          <p:grpSp>
            <p:nvGrpSpPr>
              <p:cNvPr id="1057" name="Graphic 3">
                <a:extLst>
                  <a:ext uri="{FF2B5EF4-FFF2-40B4-BE49-F238E27FC236}">
                    <a16:creationId xmlns:a16="http://schemas.microsoft.com/office/drawing/2014/main" id="{643F8EC1-AD48-41E6-8132-B2A3801960CD}"/>
                  </a:ext>
                </a:extLst>
              </p:cNvPr>
              <p:cNvGrpSpPr/>
              <p:nvPr/>
            </p:nvGrpSpPr>
            <p:grpSpPr>
              <a:xfrm>
                <a:off x="4327602" y="3051217"/>
                <a:ext cx="63770" cy="27888"/>
                <a:chOff x="4327602" y="3051217"/>
                <a:chExt cx="63770" cy="27888"/>
              </a:xfrm>
              <a:grpFill/>
            </p:grpSpPr>
            <p:sp>
              <p:nvSpPr>
                <p:cNvPr id="2229" name="Vrije vorm: vorm 2228">
                  <a:extLst>
                    <a:ext uri="{FF2B5EF4-FFF2-40B4-BE49-F238E27FC236}">
                      <a16:creationId xmlns:a16="http://schemas.microsoft.com/office/drawing/2014/main" id="{00A6BED9-76EB-49F9-8642-276B096CB504}"/>
                    </a:ext>
                  </a:extLst>
                </p:cNvPr>
                <p:cNvSpPr/>
                <p:nvPr/>
              </p:nvSpPr>
              <p:spPr>
                <a:xfrm>
                  <a:off x="4336043" y="3058880"/>
                  <a:ext cx="46889" cy="12619"/>
                </a:xfrm>
                <a:custGeom>
                  <a:avLst/>
                  <a:gdLst>
                    <a:gd name="connsiteX0" fmla="*/ 46889 w 46889"/>
                    <a:gd name="connsiteY0" fmla="*/ 9629 h 12619"/>
                    <a:gd name="connsiteX1" fmla="*/ 46291 w 46889"/>
                    <a:gd name="connsiteY1" fmla="*/ 12619 h 12619"/>
                    <a:gd name="connsiteX2" fmla="*/ 0 w 46889"/>
                    <a:gd name="connsiteY2" fmla="*/ 2990 h 12619"/>
                    <a:gd name="connsiteX3" fmla="*/ 598 w 46889"/>
                    <a:gd name="connsiteY3" fmla="*/ 0 h 12619"/>
                  </a:gdLst>
                  <a:ahLst/>
                  <a:cxnLst>
                    <a:cxn ang="0">
                      <a:pos x="connsiteX0" y="connsiteY0"/>
                    </a:cxn>
                    <a:cxn ang="0">
                      <a:pos x="connsiteX1" y="connsiteY1"/>
                    </a:cxn>
                    <a:cxn ang="0">
                      <a:pos x="connsiteX2" y="connsiteY2"/>
                    </a:cxn>
                    <a:cxn ang="0">
                      <a:pos x="connsiteX3" y="connsiteY3"/>
                    </a:cxn>
                  </a:cxnLst>
                  <a:rect l="l" t="t" r="r" b="b"/>
                  <a:pathLst>
                    <a:path w="46889" h="12619">
                      <a:moveTo>
                        <a:pt x="46889" y="9629"/>
                      </a:moveTo>
                      <a:lnTo>
                        <a:pt x="46291" y="12619"/>
                      </a:lnTo>
                      <a:lnTo>
                        <a:pt x="0" y="2990"/>
                      </a:lnTo>
                      <a:lnTo>
                        <a:pt x="598" y="0"/>
                      </a:lnTo>
                      <a:close/>
                    </a:path>
                  </a:pathLst>
                </a:custGeom>
                <a:grpFill/>
                <a:ln w="5978" cap="flat">
                  <a:noFill/>
                  <a:prstDash val="solid"/>
                  <a:miter/>
                </a:ln>
              </p:spPr>
              <p:txBody>
                <a:bodyPr rtlCol="0" anchor="ctr"/>
                <a:lstStyle/>
                <a:p>
                  <a:endParaRPr lang="en-GB"/>
                </a:p>
              </p:txBody>
            </p:sp>
            <p:sp>
              <p:nvSpPr>
                <p:cNvPr id="2230" name="Vrije vorm: vorm 2229">
                  <a:extLst>
                    <a:ext uri="{FF2B5EF4-FFF2-40B4-BE49-F238E27FC236}">
                      <a16:creationId xmlns:a16="http://schemas.microsoft.com/office/drawing/2014/main" id="{D147690F-74B3-4E7D-859A-B86088BE2811}"/>
                    </a:ext>
                  </a:extLst>
                </p:cNvPr>
                <p:cNvSpPr/>
                <p:nvPr/>
              </p:nvSpPr>
              <p:spPr>
                <a:xfrm>
                  <a:off x="4327602" y="3051217"/>
                  <a:ext cx="18376" cy="18455"/>
                </a:xfrm>
                <a:custGeom>
                  <a:avLst/>
                  <a:gdLst>
                    <a:gd name="connsiteX0" fmla="*/ 7364 w 18376"/>
                    <a:gd name="connsiteY0" fmla="*/ 18249 h 18455"/>
                    <a:gd name="connsiteX1" fmla="*/ 187 w 18376"/>
                    <a:gd name="connsiteY1" fmla="*/ 7364 h 18455"/>
                    <a:gd name="connsiteX2" fmla="*/ 11012 w 18376"/>
                    <a:gd name="connsiteY2" fmla="*/ 187 h 18455"/>
                    <a:gd name="connsiteX3" fmla="*/ 18189 w 18376"/>
                    <a:gd name="connsiteY3" fmla="*/ 11072 h 18455"/>
                    <a:gd name="connsiteX4" fmla="*/ 7364 w 18376"/>
                    <a:gd name="connsiteY4" fmla="*/ 18249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55">
                      <a:moveTo>
                        <a:pt x="7364" y="18249"/>
                      </a:moveTo>
                      <a:cubicBezTo>
                        <a:pt x="2400" y="17232"/>
                        <a:pt x="-830" y="12328"/>
                        <a:pt x="187" y="7364"/>
                      </a:cubicBezTo>
                      <a:cubicBezTo>
                        <a:pt x="1204" y="2400"/>
                        <a:pt x="6048" y="-830"/>
                        <a:pt x="11012" y="187"/>
                      </a:cubicBezTo>
                      <a:cubicBezTo>
                        <a:pt x="15976" y="1204"/>
                        <a:pt x="19206" y="6108"/>
                        <a:pt x="18189" y="11072"/>
                      </a:cubicBezTo>
                      <a:cubicBezTo>
                        <a:pt x="17173" y="16096"/>
                        <a:pt x="12328" y="19325"/>
                        <a:pt x="7364" y="18249"/>
                      </a:cubicBezTo>
                      <a:close/>
                    </a:path>
                  </a:pathLst>
                </a:custGeom>
                <a:grpFill/>
                <a:ln w="5978" cap="flat">
                  <a:noFill/>
                  <a:prstDash val="solid"/>
                  <a:miter/>
                </a:ln>
              </p:spPr>
              <p:txBody>
                <a:bodyPr rtlCol="0" anchor="ctr"/>
                <a:lstStyle/>
                <a:p>
                  <a:endParaRPr lang="en-GB"/>
                </a:p>
              </p:txBody>
            </p:sp>
            <p:sp>
              <p:nvSpPr>
                <p:cNvPr id="2231" name="Vrije vorm: vorm 2230">
                  <a:extLst>
                    <a:ext uri="{FF2B5EF4-FFF2-40B4-BE49-F238E27FC236}">
                      <a16:creationId xmlns:a16="http://schemas.microsoft.com/office/drawing/2014/main" id="{20EB2D99-0393-4F77-8BF7-4EC3216172E8}"/>
                    </a:ext>
                  </a:extLst>
                </p:cNvPr>
                <p:cNvSpPr/>
                <p:nvPr/>
              </p:nvSpPr>
              <p:spPr>
                <a:xfrm>
                  <a:off x="4372996" y="3060664"/>
                  <a:ext cx="18376" cy="18440"/>
                </a:xfrm>
                <a:custGeom>
                  <a:avLst/>
                  <a:gdLst>
                    <a:gd name="connsiteX0" fmla="*/ 7364 w 18376"/>
                    <a:gd name="connsiteY0" fmla="*/ 18251 h 18440"/>
                    <a:gd name="connsiteX1" fmla="*/ 18189 w 18376"/>
                    <a:gd name="connsiteY1" fmla="*/ 11074 h 18440"/>
                    <a:gd name="connsiteX2" fmla="*/ 11012 w 18376"/>
                    <a:gd name="connsiteY2" fmla="*/ 190 h 18440"/>
                    <a:gd name="connsiteX3" fmla="*/ 187 w 18376"/>
                    <a:gd name="connsiteY3" fmla="*/ 7366 h 18440"/>
                    <a:gd name="connsiteX4" fmla="*/ 7364 w 18376"/>
                    <a:gd name="connsiteY4" fmla="*/ 18251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40">
                      <a:moveTo>
                        <a:pt x="7364" y="18251"/>
                      </a:moveTo>
                      <a:cubicBezTo>
                        <a:pt x="12328" y="19268"/>
                        <a:pt x="17172" y="16098"/>
                        <a:pt x="18189" y="11074"/>
                      </a:cubicBezTo>
                      <a:cubicBezTo>
                        <a:pt x="19206" y="6110"/>
                        <a:pt x="15976" y="1206"/>
                        <a:pt x="11012" y="190"/>
                      </a:cubicBezTo>
                      <a:cubicBezTo>
                        <a:pt x="6048" y="-827"/>
                        <a:pt x="1204" y="2343"/>
                        <a:pt x="187" y="7366"/>
                      </a:cubicBezTo>
                      <a:cubicBezTo>
                        <a:pt x="-830" y="12330"/>
                        <a:pt x="2400" y="17235"/>
                        <a:pt x="7364" y="18251"/>
                      </a:cubicBezTo>
                      <a:close/>
                    </a:path>
                  </a:pathLst>
                </a:custGeom>
                <a:grpFill/>
                <a:ln w="5978" cap="flat">
                  <a:noFill/>
                  <a:prstDash val="solid"/>
                  <a:miter/>
                </a:ln>
              </p:spPr>
              <p:txBody>
                <a:bodyPr rtlCol="0" anchor="ctr"/>
                <a:lstStyle/>
                <a:p>
                  <a:endParaRPr lang="en-GB"/>
                </a:p>
              </p:txBody>
            </p:sp>
          </p:grpSp>
          <p:grpSp>
            <p:nvGrpSpPr>
              <p:cNvPr id="1058" name="Graphic 3">
                <a:extLst>
                  <a:ext uri="{FF2B5EF4-FFF2-40B4-BE49-F238E27FC236}">
                    <a16:creationId xmlns:a16="http://schemas.microsoft.com/office/drawing/2014/main" id="{CAD4BA12-4E74-4A50-A3D9-90368D490B6B}"/>
                  </a:ext>
                </a:extLst>
              </p:cNvPr>
              <p:cNvGrpSpPr/>
              <p:nvPr/>
            </p:nvGrpSpPr>
            <p:grpSpPr>
              <a:xfrm>
                <a:off x="4333563" y="3085747"/>
                <a:ext cx="67099" cy="27662"/>
                <a:chOff x="4333563" y="3085747"/>
                <a:chExt cx="67099" cy="27662"/>
              </a:xfrm>
              <a:grpFill/>
            </p:grpSpPr>
            <p:sp>
              <p:nvSpPr>
                <p:cNvPr id="2226" name="Vrije vorm: vorm 2225">
                  <a:extLst>
                    <a:ext uri="{FF2B5EF4-FFF2-40B4-BE49-F238E27FC236}">
                      <a16:creationId xmlns:a16="http://schemas.microsoft.com/office/drawing/2014/main" id="{03D2B7A9-DD8D-4B42-9E88-E1348C744A83}"/>
                    </a:ext>
                  </a:extLst>
                </p:cNvPr>
                <p:cNvSpPr/>
                <p:nvPr/>
              </p:nvSpPr>
              <p:spPr>
                <a:xfrm>
                  <a:off x="4342023" y="3093389"/>
                  <a:ext cx="50178" cy="12380"/>
                </a:xfrm>
                <a:custGeom>
                  <a:avLst/>
                  <a:gdLst>
                    <a:gd name="connsiteX0" fmla="*/ 50178 w 50178"/>
                    <a:gd name="connsiteY0" fmla="*/ 9330 h 12380"/>
                    <a:gd name="connsiteX1" fmla="*/ 49640 w 50178"/>
                    <a:gd name="connsiteY1" fmla="*/ 12380 h 12380"/>
                    <a:gd name="connsiteX2" fmla="*/ 0 w 50178"/>
                    <a:gd name="connsiteY2" fmla="*/ 3050 h 12380"/>
                    <a:gd name="connsiteX3" fmla="*/ 538 w 50178"/>
                    <a:gd name="connsiteY3" fmla="*/ 0 h 12380"/>
                  </a:gdLst>
                  <a:ahLst/>
                  <a:cxnLst>
                    <a:cxn ang="0">
                      <a:pos x="connsiteX0" y="connsiteY0"/>
                    </a:cxn>
                    <a:cxn ang="0">
                      <a:pos x="connsiteX1" y="connsiteY1"/>
                    </a:cxn>
                    <a:cxn ang="0">
                      <a:pos x="connsiteX2" y="connsiteY2"/>
                    </a:cxn>
                    <a:cxn ang="0">
                      <a:pos x="connsiteX3" y="connsiteY3"/>
                    </a:cxn>
                  </a:cxnLst>
                  <a:rect l="l" t="t" r="r" b="b"/>
                  <a:pathLst>
                    <a:path w="50178" h="12380">
                      <a:moveTo>
                        <a:pt x="50178" y="9330"/>
                      </a:moveTo>
                      <a:lnTo>
                        <a:pt x="49640" y="12380"/>
                      </a:lnTo>
                      <a:lnTo>
                        <a:pt x="0" y="3050"/>
                      </a:lnTo>
                      <a:lnTo>
                        <a:pt x="538" y="0"/>
                      </a:lnTo>
                      <a:close/>
                    </a:path>
                  </a:pathLst>
                </a:custGeom>
                <a:grpFill/>
                <a:ln w="5978" cap="flat">
                  <a:noFill/>
                  <a:prstDash val="solid"/>
                  <a:miter/>
                </a:ln>
              </p:spPr>
              <p:txBody>
                <a:bodyPr rtlCol="0" anchor="ctr"/>
                <a:lstStyle/>
                <a:p>
                  <a:endParaRPr lang="en-GB"/>
                </a:p>
              </p:txBody>
            </p:sp>
            <p:sp>
              <p:nvSpPr>
                <p:cNvPr id="2227" name="Vrije vorm: vorm 2226">
                  <a:extLst>
                    <a:ext uri="{FF2B5EF4-FFF2-40B4-BE49-F238E27FC236}">
                      <a16:creationId xmlns:a16="http://schemas.microsoft.com/office/drawing/2014/main" id="{B30958B7-FB50-41FF-88DA-A8F0203E26C8}"/>
                    </a:ext>
                  </a:extLst>
                </p:cNvPr>
                <p:cNvSpPr/>
                <p:nvPr/>
              </p:nvSpPr>
              <p:spPr>
                <a:xfrm>
                  <a:off x="4333563" y="3085747"/>
                  <a:ext cx="18296" cy="18452"/>
                </a:xfrm>
                <a:custGeom>
                  <a:avLst/>
                  <a:gdLst>
                    <a:gd name="connsiteX0" fmla="*/ 7504 w 18296"/>
                    <a:gd name="connsiteY0" fmla="*/ 18287 h 18452"/>
                    <a:gd name="connsiteX1" fmla="*/ 147 w 18296"/>
                    <a:gd name="connsiteY1" fmla="*/ 7522 h 18452"/>
                    <a:gd name="connsiteX2" fmla="*/ 10793 w 18296"/>
                    <a:gd name="connsiteY2" fmla="*/ 165 h 18452"/>
                    <a:gd name="connsiteX3" fmla="*/ 18149 w 18296"/>
                    <a:gd name="connsiteY3" fmla="*/ 10931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2540" y="17330"/>
                        <a:pt x="-750" y="12546"/>
                        <a:pt x="147" y="7522"/>
                      </a:cubicBezTo>
                      <a:cubicBezTo>
                        <a:pt x="1045" y="2498"/>
                        <a:pt x="5829" y="-791"/>
                        <a:pt x="10793" y="165"/>
                      </a:cubicBezTo>
                      <a:cubicBezTo>
                        <a:pt x="15757" y="1122"/>
                        <a:pt x="19047" y="5907"/>
                        <a:pt x="18149" y="10931"/>
                      </a:cubicBezTo>
                      <a:cubicBezTo>
                        <a:pt x="17253" y="15955"/>
                        <a:pt x="12468" y="19244"/>
                        <a:pt x="7504" y="18287"/>
                      </a:cubicBezTo>
                      <a:close/>
                    </a:path>
                  </a:pathLst>
                </a:custGeom>
                <a:grpFill/>
                <a:ln w="5978" cap="flat">
                  <a:noFill/>
                  <a:prstDash val="solid"/>
                  <a:miter/>
                </a:ln>
              </p:spPr>
              <p:txBody>
                <a:bodyPr rtlCol="0" anchor="ctr"/>
                <a:lstStyle/>
                <a:p>
                  <a:endParaRPr lang="en-GB"/>
                </a:p>
              </p:txBody>
            </p:sp>
            <p:sp>
              <p:nvSpPr>
                <p:cNvPr id="2228" name="Vrije vorm: vorm 2227">
                  <a:extLst>
                    <a:ext uri="{FF2B5EF4-FFF2-40B4-BE49-F238E27FC236}">
                      <a16:creationId xmlns:a16="http://schemas.microsoft.com/office/drawing/2014/main" id="{29625A14-662F-4E3C-9C40-9F4ADD516B59}"/>
                    </a:ext>
                  </a:extLst>
                </p:cNvPr>
                <p:cNvSpPr/>
                <p:nvPr/>
              </p:nvSpPr>
              <p:spPr>
                <a:xfrm>
                  <a:off x="4382347" y="3094958"/>
                  <a:ext cx="18314" cy="18452"/>
                </a:xfrm>
                <a:custGeom>
                  <a:avLst/>
                  <a:gdLst>
                    <a:gd name="connsiteX0" fmla="*/ 7522 w 18314"/>
                    <a:gd name="connsiteY0" fmla="*/ 18287 h 18452"/>
                    <a:gd name="connsiteX1" fmla="*/ 18168 w 18314"/>
                    <a:gd name="connsiteY1" fmla="*/ 10931 h 18452"/>
                    <a:gd name="connsiteX2" fmla="*/ 10811 w 18314"/>
                    <a:gd name="connsiteY2" fmla="*/ 166 h 18452"/>
                    <a:gd name="connsiteX3" fmla="*/ 166 w 18314"/>
                    <a:gd name="connsiteY3" fmla="*/ 7522 h 18452"/>
                    <a:gd name="connsiteX4" fmla="*/ 7522 w 18314"/>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52">
                      <a:moveTo>
                        <a:pt x="7522" y="18287"/>
                      </a:moveTo>
                      <a:cubicBezTo>
                        <a:pt x="12486" y="19244"/>
                        <a:pt x="17270" y="15955"/>
                        <a:pt x="18168" y="10931"/>
                      </a:cubicBezTo>
                      <a:cubicBezTo>
                        <a:pt x="19064" y="5907"/>
                        <a:pt x="15775" y="1122"/>
                        <a:pt x="10811" y="166"/>
                      </a:cubicBezTo>
                      <a:cubicBezTo>
                        <a:pt x="5847" y="-791"/>
                        <a:pt x="1062" y="2498"/>
                        <a:pt x="166" y="7522"/>
                      </a:cubicBezTo>
                      <a:cubicBezTo>
                        <a:pt x="-792" y="12486"/>
                        <a:pt x="2498" y="17330"/>
                        <a:pt x="7522" y="18287"/>
                      </a:cubicBezTo>
                      <a:close/>
                    </a:path>
                  </a:pathLst>
                </a:custGeom>
                <a:grpFill/>
                <a:ln w="5978" cap="flat">
                  <a:noFill/>
                  <a:prstDash val="solid"/>
                  <a:miter/>
                </a:ln>
              </p:spPr>
              <p:txBody>
                <a:bodyPr rtlCol="0" anchor="ctr"/>
                <a:lstStyle/>
                <a:p>
                  <a:endParaRPr lang="en-GB"/>
                </a:p>
              </p:txBody>
            </p:sp>
          </p:grpSp>
          <p:grpSp>
            <p:nvGrpSpPr>
              <p:cNvPr id="1059" name="Graphic 3">
                <a:extLst>
                  <a:ext uri="{FF2B5EF4-FFF2-40B4-BE49-F238E27FC236}">
                    <a16:creationId xmlns:a16="http://schemas.microsoft.com/office/drawing/2014/main" id="{1586E382-BB39-4457-9463-C7E156D0A530}"/>
                  </a:ext>
                </a:extLst>
              </p:cNvPr>
              <p:cNvGrpSpPr/>
              <p:nvPr/>
            </p:nvGrpSpPr>
            <p:grpSpPr>
              <a:xfrm>
                <a:off x="4273250" y="3005298"/>
                <a:ext cx="115157" cy="40359"/>
                <a:chOff x="4273250" y="3005298"/>
                <a:chExt cx="115157" cy="40359"/>
              </a:xfrm>
              <a:grpFill/>
            </p:grpSpPr>
            <p:sp>
              <p:nvSpPr>
                <p:cNvPr id="2223" name="Vrije vorm: vorm 2222">
                  <a:extLst>
                    <a:ext uri="{FF2B5EF4-FFF2-40B4-BE49-F238E27FC236}">
                      <a16:creationId xmlns:a16="http://schemas.microsoft.com/office/drawing/2014/main" id="{0E90FD1C-7441-4C00-B2D4-C8779754D09F}"/>
                    </a:ext>
                  </a:extLst>
                </p:cNvPr>
                <p:cNvSpPr/>
                <p:nvPr/>
              </p:nvSpPr>
              <p:spPr>
                <a:xfrm>
                  <a:off x="4281678" y="3012888"/>
                  <a:ext cx="98323" cy="25178"/>
                </a:xfrm>
                <a:custGeom>
                  <a:avLst/>
                  <a:gdLst>
                    <a:gd name="connsiteX0" fmla="*/ 98323 w 98323"/>
                    <a:gd name="connsiteY0" fmla="*/ 22188 h 25178"/>
                    <a:gd name="connsiteX1" fmla="*/ 97665 w 98323"/>
                    <a:gd name="connsiteY1" fmla="*/ 25179 h 25178"/>
                    <a:gd name="connsiteX2" fmla="*/ 0 w 98323"/>
                    <a:gd name="connsiteY2" fmla="*/ 2990 h 25178"/>
                    <a:gd name="connsiteX3" fmla="*/ 658 w 98323"/>
                    <a:gd name="connsiteY3" fmla="*/ 0 h 25178"/>
                  </a:gdLst>
                  <a:ahLst/>
                  <a:cxnLst>
                    <a:cxn ang="0">
                      <a:pos x="connsiteX0" y="connsiteY0"/>
                    </a:cxn>
                    <a:cxn ang="0">
                      <a:pos x="connsiteX1" y="connsiteY1"/>
                    </a:cxn>
                    <a:cxn ang="0">
                      <a:pos x="connsiteX2" y="connsiteY2"/>
                    </a:cxn>
                    <a:cxn ang="0">
                      <a:pos x="connsiteX3" y="connsiteY3"/>
                    </a:cxn>
                  </a:cxnLst>
                  <a:rect l="l" t="t" r="r" b="b"/>
                  <a:pathLst>
                    <a:path w="98323" h="25178">
                      <a:moveTo>
                        <a:pt x="98323" y="22188"/>
                      </a:moveTo>
                      <a:lnTo>
                        <a:pt x="97665" y="25179"/>
                      </a:lnTo>
                      <a:lnTo>
                        <a:pt x="0" y="2990"/>
                      </a:lnTo>
                      <a:lnTo>
                        <a:pt x="658" y="0"/>
                      </a:lnTo>
                      <a:close/>
                    </a:path>
                  </a:pathLst>
                </a:custGeom>
                <a:grpFill/>
                <a:ln w="5978" cap="flat">
                  <a:noFill/>
                  <a:prstDash val="solid"/>
                  <a:miter/>
                </a:ln>
              </p:spPr>
              <p:txBody>
                <a:bodyPr rtlCol="0" anchor="ctr"/>
                <a:lstStyle/>
                <a:p>
                  <a:endParaRPr lang="en-GB"/>
                </a:p>
              </p:txBody>
            </p:sp>
            <p:sp>
              <p:nvSpPr>
                <p:cNvPr id="2224" name="Vrije vorm: vorm 2223">
                  <a:extLst>
                    <a:ext uri="{FF2B5EF4-FFF2-40B4-BE49-F238E27FC236}">
                      <a16:creationId xmlns:a16="http://schemas.microsoft.com/office/drawing/2014/main" id="{B620E6A2-D7B4-4C0A-97BD-0C71CACD5AA2}"/>
                    </a:ext>
                  </a:extLst>
                </p:cNvPr>
                <p:cNvSpPr/>
                <p:nvPr/>
              </p:nvSpPr>
              <p:spPr>
                <a:xfrm>
                  <a:off x="4273250" y="3005298"/>
                  <a:ext cx="18350" cy="18389"/>
                </a:xfrm>
                <a:custGeom>
                  <a:avLst/>
                  <a:gdLst>
                    <a:gd name="connsiteX0" fmla="*/ 7172 w 18350"/>
                    <a:gd name="connsiteY0" fmla="*/ 18176 h 18389"/>
                    <a:gd name="connsiteX1" fmla="*/ 234 w 18350"/>
                    <a:gd name="connsiteY1" fmla="*/ 7172 h 18389"/>
                    <a:gd name="connsiteX2" fmla="*/ 11179 w 18350"/>
                    <a:gd name="connsiteY2" fmla="*/ 234 h 18389"/>
                    <a:gd name="connsiteX3" fmla="*/ 18116 w 18350"/>
                    <a:gd name="connsiteY3" fmla="*/ 11239 h 18389"/>
                    <a:gd name="connsiteX4" fmla="*/ 7172 w 18350"/>
                    <a:gd name="connsiteY4" fmla="*/ 18176 h 18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89">
                      <a:moveTo>
                        <a:pt x="7172" y="18176"/>
                      </a:moveTo>
                      <a:cubicBezTo>
                        <a:pt x="2208" y="17040"/>
                        <a:pt x="-902" y="12136"/>
                        <a:pt x="234" y="7172"/>
                      </a:cubicBezTo>
                      <a:cubicBezTo>
                        <a:pt x="1311" y="2208"/>
                        <a:pt x="6215" y="-902"/>
                        <a:pt x="11179" y="234"/>
                      </a:cubicBezTo>
                      <a:cubicBezTo>
                        <a:pt x="16143" y="1370"/>
                        <a:pt x="19253" y="6275"/>
                        <a:pt x="18116" y="11239"/>
                      </a:cubicBezTo>
                      <a:cubicBezTo>
                        <a:pt x="17040" y="16143"/>
                        <a:pt x="12136" y="19253"/>
                        <a:pt x="7172" y="18176"/>
                      </a:cubicBezTo>
                      <a:close/>
                    </a:path>
                  </a:pathLst>
                </a:custGeom>
                <a:grpFill/>
                <a:ln w="5978" cap="flat">
                  <a:noFill/>
                  <a:prstDash val="solid"/>
                  <a:miter/>
                </a:ln>
              </p:spPr>
              <p:txBody>
                <a:bodyPr rtlCol="0" anchor="ctr"/>
                <a:lstStyle/>
                <a:p>
                  <a:endParaRPr lang="en-GB"/>
                </a:p>
              </p:txBody>
            </p:sp>
            <p:sp>
              <p:nvSpPr>
                <p:cNvPr id="2225" name="Vrije vorm: vorm 2224">
                  <a:extLst>
                    <a:ext uri="{FF2B5EF4-FFF2-40B4-BE49-F238E27FC236}">
                      <a16:creationId xmlns:a16="http://schemas.microsoft.com/office/drawing/2014/main" id="{CA5CFBA9-B089-477D-9340-0BE25EE25211}"/>
                    </a:ext>
                  </a:extLst>
                </p:cNvPr>
                <p:cNvSpPr/>
                <p:nvPr/>
              </p:nvSpPr>
              <p:spPr>
                <a:xfrm>
                  <a:off x="4370078" y="3027247"/>
                  <a:ext cx="18329" cy="18410"/>
                </a:xfrm>
                <a:custGeom>
                  <a:avLst/>
                  <a:gdLst>
                    <a:gd name="connsiteX0" fmla="*/ 7172 w 18329"/>
                    <a:gd name="connsiteY0" fmla="*/ 18176 h 18410"/>
                    <a:gd name="connsiteX1" fmla="*/ 18116 w 18329"/>
                    <a:gd name="connsiteY1" fmla="*/ 11239 h 18410"/>
                    <a:gd name="connsiteX2" fmla="*/ 11179 w 18329"/>
                    <a:gd name="connsiteY2" fmla="*/ 234 h 18410"/>
                    <a:gd name="connsiteX3" fmla="*/ 234 w 18329"/>
                    <a:gd name="connsiteY3" fmla="*/ 7172 h 18410"/>
                    <a:gd name="connsiteX4" fmla="*/ 7172 w 18329"/>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0">
                      <a:moveTo>
                        <a:pt x="7172" y="18176"/>
                      </a:moveTo>
                      <a:cubicBezTo>
                        <a:pt x="12136" y="19313"/>
                        <a:pt x="16980" y="16203"/>
                        <a:pt x="18116" y="11239"/>
                      </a:cubicBezTo>
                      <a:cubicBezTo>
                        <a:pt x="19193" y="6275"/>
                        <a:pt x="16083" y="1371"/>
                        <a:pt x="11179" y="234"/>
                      </a:cubicBezTo>
                      <a:cubicBezTo>
                        <a:pt x="6274" y="-902"/>
                        <a:pt x="1370" y="2208"/>
                        <a:pt x="234" y="7172"/>
                      </a:cubicBezTo>
                      <a:cubicBezTo>
                        <a:pt x="-902" y="12136"/>
                        <a:pt x="2208" y="17100"/>
                        <a:pt x="7172" y="18176"/>
                      </a:cubicBezTo>
                      <a:close/>
                    </a:path>
                  </a:pathLst>
                </a:custGeom>
                <a:grpFill/>
                <a:ln w="5978" cap="flat">
                  <a:noFill/>
                  <a:prstDash val="solid"/>
                  <a:miter/>
                </a:ln>
              </p:spPr>
              <p:txBody>
                <a:bodyPr rtlCol="0" anchor="ctr"/>
                <a:lstStyle/>
                <a:p>
                  <a:endParaRPr lang="en-GB"/>
                </a:p>
              </p:txBody>
            </p:sp>
          </p:grpSp>
          <p:grpSp>
            <p:nvGrpSpPr>
              <p:cNvPr id="1060" name="Graphic 3">
                <a:extLst>
                  <a:ext uri="{FF2B5EF4-FFF2-40B4-BE49-F238E27FC236}">
                    <a16:creationId xmlns:a16="http://schemas.microsoft.com/office/drawing/2014/main" id="{EB3C48B9-C391-44A2-A501-95DE9488BF17}"/>
                  </a:ext>
                </a:extLst>
              </p:cNvPr>
              <p:cNvGrpSpPr/>
              <p:nvPr/>
            </p:nvGrpSpPr>
            <p:grpSpPr>
              <a:xfrm>
                <a:off x="3966150" y="2549958"/>
                <a:ext cx="498573" cy="250039"/>
                <a:chOff x="3966150" y="2549958"/>
                <a:chExt cx="498573" cy="250039"/>
              </a:xfrm>
              <a:grpFill/>
            </p:grpSpPr>
            <p:sp>
              <p:nvSpPr>
                <p:cNvPr id="2220" name="Vrije vorm: vorm 2219">
                  <a:extLst>
                    <a:ext uri="{FF2B5EF4-FFF2-40B4-BE49-F238E27FC236}">
                      <a16:creationId xmlns:a16="http://schemas.microsoft.com/office/drawing/2014/main" id="{5423628D-6EC6-4576-9655-A3EC854806A3}"/>
                    </a:ext>
                  </a:extLst>
                </p:cNvPr>
                <p:cNvSpPr/>
                <p:nvPr/>
              </p:nvSpPr>
              <p:spPr>
                <a:xfrm>
                  <a:off x="3974269" y="2557576"/>
                  <a:ext cx="482345" cy="234743"/>
                </a:xfrm>
                <a:custGeom>
                  <a:avLst/>
                  <a:gdLst>
                    <a:gd name="connsiteX0" fmla="*/ 482345 w 482345"/>
                    <a:gd name="connsiteY0" fmla="*/ 231992 h 234743"/>
                    <a:gd name="connsiteX1" fmla="*/ 481029 w 482345"/>
                    <a:gd name="connsiteY1" fmla="*/ 234743 h 234743"/>
                    <a:gd name="connsiteX2" fmla="*/ 0 w 482345"/>
                    <a:gd name="connsiteY2" fmla="*/ 2811 h 234743"/>
                    <a:gd name="connsiteX3" fmla="*/ 1256 w 482345"/>
                    <a:gd name="connsiteY3" fmla="*/ 0 h 234743"/>
                  </a:gdLst>
                  <a:ahLst/>
                  <a:cxnLst>
                    <a:cxn ang="0">
                      <a:pos x="connsiteX0" y="connsiteY0"/>
                    </a:cxn>
                    <a:cxn ang="0">
                      <a:pos x="connsiteX1" y="connsiteY1"/>
                    </a:cxn>
                    <a:cxn ang="0">
                      <a:pos x="connsiteX2" y="connsiteY2"/>
                    </a:cxn>
                    <a:cxn ang="0">
                      <a:pos x="connsiteX3" y="connsiteY3"/>
                    </a:cxn>
                  </a:cxnLst>
                  <a:rect l="l" t="t" r="r" b="b"/>
                  <a:pathLst>
                    <a:path w="482345" h="234743">
                      <a:moveTo>
                        <a:pt x="482345" y="231992"/>
                      </a:moveTo>
                      <a:lnTo>
                        <a:pt x="481029" y="234743"/>
                      </a:lnTo>
                      <a:lnTo>
                        <a:pt x="0" y="2811"/>
                      </a:lnTo>
                      <a:lnTo>
                        <a:pt x="1256" y="0"/>
                      </a:lnTo>
                      <a:close/>
                    </a:path>
                  </a:pathLst>
                </a:custGeom>
                <a:grpFill/>
                <a:ln w="5978" cap="flat">
                  <a:noFill/>
                  <a:prstDash val="solid"/>
                  <a:miter/>
                </a:ln>
              </p:spPr>
              <p:txBody>
                <a:bodyPr rtlCol="0" anchor="ctr"/>
                <a:lstStyle/>
                <a:p>
                  <a:endParaRPr lang="en-GB"/>
                </a:p>
              </p:txBody>
            </p:sp>
            <p:sp>
              <p:nvSpPr>
                <p:cNvPr id="2221" name="Vrije vorm: vorm 2220">
                  <a:extLst>
                    <a:ext uri="{FF2B5EF4-FFF2-40B4-BE49-F238E27FC236}">
                      <a16:creationId xmlns:a16="http://schemas.microsoft.com/office/drawing/2014/main" id="{8FE2A95B-48D1-4DF6-A05A-05E3D3CAA9C1}"/>
                    </a:ext>
                  </a:extLst>
                </p:cNvPr>
                <p:cNvSpPr/>
                <p:nvPr/>
              </p:nvSpPr>
              <p:spPr>
                <a:xfrm>
                  <a:off x="4446412" y="2781531"/>
                  <a:ext cx="18311" cy="18465"/>
                </a:xfrm>
                <a:custGeom>
                  <a:avLst/>
                  <a:gdLst>
                    <a:gd name="connsiteX0" fmla="*/ 13073 w 18311"/>
                    <a:gd name="connsiteY0" fmla="*/ 920 h 18465"/>
                    <a:gd name="connsiteX1" fmla="*/ 17439 w 18311"/>
                    <a:gd name="connsiteY1" fmla="*/ 13240 h 18465"/>
                    <a:gd name="connsiteX2" fmla="*/ 5238 w 18311"/>
                    <a:gd name="connsiteY2" fmla="*/ 17546 h 18465"/>
                    <a:gd name="connsiteX3" fmla="*/ 873 w 18311"/>
                    <a:gd name="connsiteY3" fmla="*/ 5226 h 18465"/>
                    <a:gd name="connsiteX4" fmla="*/ 13073 w 18311"/>
                    <a:gd name="connsiteY4" fmla="*/ 92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65">
                      <a:moveTo>
                        <a:pt x="13073" y="920"/>
                      </a:moveTo>
                      <a:cubicBezTo>
                        <a:pt x="17618" y="3133"/>
                        <a:pt x="19592" y="8635"/>
                        <a:pt x="17439" y="13240"/>
                      </a:cubicBezTo>
                      <a:cubicBezTo>
                        <a:pt x="15286" y="17845"/>
                        <a:pt x="9784" y="19759"/>
                        <a:pt x="5238" y="17546"/>
                      </a:cubicBezTo>
                      <a:cubicBezTo>
                        <a:pt x="693" y="15333"/>
                        <a:pt x="-1281" y="9831"/>
                        <a:pt x="873" y="5226"/>
                      </a:cubicBezTo>
                      <a:cubicBezTo>
                        <a:pt x="3025" y="621"/>
                        <a:pt x="8468" y="-1293"/>
                        <a:pt x="13073" y="920"/>
                      </a:cubicBezTo>
                      <a:close/>
                    </a:path>
                  </a:pathLst>
                </a:custGeom>
                <a:grpFill/>
                <a:ln w="5978" cap="flat">
                  <a:noFill/>
                  <a:prstDash val="solid"/>
                  <a:miter/>
                </a:ln>
              </p:spPr>
              <p:txBody>
                <a:bodyPr rtlCol="0" anchor="ctr"/>
                <a:lstStyle/>
                <a:p>
                  <a:endParaRPr lang="en-GB"/>
                </a:p>
              </p:txBody>
            </p:sp>
            <p:sp>
              <p:nvSpPr>
                <p:cNvPr id="2222" name="Vrije vorm: vorm 2221">
                  <a:extLst>
                    <a:ext uri="{FF2B5EF4-FFF2-40B4-BE49-F238E27FC236}">
                      <a16:creationId xmlns:a16="http://schemas.microsoft.com/office/drawing/2014/main" id="{8172B54F-8002-4FC3-BC2D-1C5BE293A8F6}"/>
                    </a:ext>
                  </a:extLst>
                </p:cNvPr>
                <p:cNvSpPr/>
                <p:nvPr/>
              </p:nvSpPr>
              <p:spPr>
                <a:xfrm>
                  <a:off x="3966150" y="2549958"/>
                  <a:ext cx="18331" cy="18465"/>
                </a:xfrm>
                <a:custGeom>
                  <a:avLst/>
                  <a:gdLst>
                    <a:gd name="connsiteX0" fmla="*/ 13083 w 18331"/>
                    <a:gd name="connsiteY0" fmla="*/ 920 h 18465"/>
                    <a:gd name="connsiteX1" fmla="*/ 882 w 18331"/>
                    <a:gd name="connsiteY1" fmla="*/ 5226 h 18465"/>
                    <a:gd name="connsiteX2" fmla="*/ 5248 w 18331"/>
                    <a:gd name="connsiteY2" fmla="*/ 17546 h 18465"/>
                    <a:gd name="connsiteX3" fmla="*/ 17449 w 18331"/>
                    <a:gd name="connsiteY3" fmla="*/ 13240 h 18465"/>
                    <a:gd name="connsiteX4" fmla="*/ 13083 w 18331"/>
                    <a:gd name="connsiteY4" fmla="*/ 92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65">
                      <a:moveTo>
                        <a:pt x="13083" y="920"/>
                      </a:moveTo>
                      <a:cubicBezTo>
                        <a:pt x="8538" y="-1293"/>
                        <a:pt x="3036" y="621"/>
                        <a:pt x="882" y="5226"/>
                      </a:cubicBezTo>
                      <a:cubicBezTo>
                        <a:pt x="-1271" y="9831"/>
                        <a:pt x="643" y="15333"/>
                        <a:pt x="5248" y="17546"/>
                      </a:cubicBezTo>
                      <a:cubicBezTo>
                        <a:pt x="9853" y="19759"/>
                        <a:pt x="15296" y="17845"/>
                        <a:pt x="17449" y="13240"/>
                      </a:cubicBezTo>
                      <a:cubicBezTo>
                        <a:pt x="19602" y="8635"/>
                        <a:pt x="17688" y="3133"/>
                        <a:pt x="13083" y="920"/>
                      </a:cubicBezTo>
                      <a:close/>
                    </a:path>
                  </a:pathLst>
                </a:custGeom>
                <a:grpFill/>
                <a:ln w="5978" cap="flat">
                  <a:noFill/>
                  <a:prstDash val="solid"/>
                  <a:miter/>
                </a:ln>
              </p:spPr>
              <p:txBody>
                <a:bodyPr rtlCol="0" anchor="ctr"/>
                <a:lstStyle/>
                <a:p>
                  <a:endParaRPr lang="en-GB"/>
                </a:p>
              </p:txBody>
            </p:sp>
          </p:grpSp>
          <p:grpSp>
            <p:nvGrpSpPr>
              <p:cNvPr id="1061" name="Graphic 3">
                <a:extLst>
                  <a:ext uri="{FF2B5EF4-FFF2-40B4-BE49-F238E27FC236}">
                    <a16:creationId xmlns:a16="http://schemas.microsoft.com/office/drawing/2014/main" id="{B07171F7-B3F1-429D-8805-EF53AEB22592}"/>
                  </a:ext>
                </a:extLst>
              </p:cNvPr>
              <p:cNvGrpSpPr/>
              <p:nvPr/>
            </p:nvGrpSpPr>
            <p:grpSpPr>
              <a:xfrm>
                <a:off x="4843072" y="4842312"/>
                <a:ext cx="363029" cy="514543"/>
                <a:chOff x="4843072" y="4842312"/>
                <a:chExt cx="363029" cy="514543"/>
              </a:xfrm>
              <a:grpFill/>
            </p:grpSpPr>
            <p:sp>
              <p:nvSpPr>
                <p:cNvPr id="2217" name="Vrije vorm: vorm 2216">
                  <a:extLst>
                    <a:ext uri="{FF2B5EF4-FFF2-40B4-BE49-F238E27FC236}">
                      <a16:creationId xmlns:a16="http://schemas.microsoft.com/office/drawing/2014/main" id="{F3A37C04-B0A9-4DDD-BB78-8207AAF83B9C}"/>
                    </a:ext>
                  </a:extLst>
                </p:cNvPr>
                <p:cNvSpPr/>
                <p:nvPr/>
              </p:nvSpPr>
              <p:spPr>
                <a:xfrm>
                  <a:off x="4850684" y="4850286"/>
                  <a:ext cx="347779" cy="498612"/>
                </a:xfrm>
                <a:custGeom>
                  <a:avLst/>
                  <a:gdLst>
                    <a:gd name="connsiteX0" fmla="*/ 347779 w 347779"/>
                    <a:gd name="connsiteY0" fmla="*/ 1734 h 498612"/>
                    <a:gd name="connsiteX1" fmla="*/ 2512 w 347779"/>
                    <a:gd name="connsiteY1" fmla="*/ 498613 h 498612"/>
                    <a:gd name="connsiteX2" fmla="*/ 0 w 347779"/>
                    <a:gd name="connsiteY2" fmla="*/ 496878 h 498612"/>
                    <a:gd name="connsiteX3" fmla="*/ 345267 w 347779"/>
                    <a:gd name="connsiteY3" fmla="*/ 0 h 498612"/>
                  </a:gdLst>
                  <a:ahLst/>
                  <a:cxnLst>
                    <a:cxn ang="0">
                      <a:pos x="connsiteX0" y="connsiteY0"/>
                    </a:cxn>
                    <a:cxn ang="0">
                      <a:pos x="connsiteX1" y="connsiteY1"/>
                    </a:cxn>
                    <a:cxn ang="0">
                      <a:pos x="connsiteX2" y="connsiteY2"/>
                    </a:cxn>
                    <a:cxn ang="0">
                      <a:pos x="connsiteX3" y="connsiteY3"/>
                    </a:cxn>
                  </a:cxnLst>
                  <a:rect l="l" t="t" r="r" b="b"/>
                  <a:pathLst>
                    <a:path w="347779" h="498612">
                      <a:moveTo>
                        <a:pt x="347779" y="1734"/>
                      </a:moveTo>
                      <a:lnTo>
                        <a:pt x="2512" y="498613"/>
                      </a:lnTo>
                      <a:lnTo>
                        <a:pt x="0" y="496878"/>
                      </a:lnTo>
                      <a:lnTo>
                        <a:pt x="345267" y="0"/>
                      </a:lnTo>
                      <a:close/>
                    </a:path>
                  </a:pathLst>
                </a:custGeom>
                <a:grpFill/>
                <a:ln w="5978" cap="flat">
                  <a:noFill/>
                  <a:prstDash val="solid"/>
                  <a:miter/>
                </a:ln>
              </p:spPr>
              <p:txBody>
                <a:bodyPr rtlCol="0" anchor="ctr"/>
                <a:lstStyle/>
                <a:p>
                  <a:endParaRPr lang="en-GB"/>
                </a:p>
              </p:txBody>
            </p:sp>
            <p:sp>
              <p:nvSpPr>
                <p:cNvPr id="2218" name="Vrije vorm: vorm 2217">
                  <a:extLst>
                    <a:ext uri="{FF2B5EF4-FFF2-40B4-BE49-F238E27FC236}">
                      <a16:creationId xmlns:a16="http://schemas.microsoft.com/office/drawing/2014/main" id="{9FB76DF4-EE2B-495A-AA47-8AC033051FFD}"/>
                    </a:ext>
                  </a:extLst>
                </p:cNvPr>
                <p:cNvSpPr/>
                <p:nvPr/>
              </p:nvSpPr>
              <p:spPr>
                <a:xfrm>
                  <a:off x="5187774" y="4842312"/>
                  <a:ext cx="18326" cy="18472"/>
                </a:xfrm>
                <a:custGeom>
                  <a:avLst/>
                  <a:gdLst>
                    <a:gd name="connsiteX0" fmla="*/ 1658 w 18326"/>
                    <a:gd name="connsiteY0" fmla="*/ 3907 h 18472"/>
                    <a:gd name="connsiteX1" fmla="*/ 14397 w 18326"/>
                    <a:gd name="connsiteY1" fmla="*/ 1694 h 18472"/>
                    <a:gd name="connsiteX2" fmla="*/ 16669 w 18326"/>
                    <a:gd name="connsiteY2" fmla="*/ 14553 h 18472"/>
                    <a:gd name="connsiteX3" fmla="*/ 3930 w 18326"/>
                    <a:gd name="connsiteY3" fmla="*/ 16825 h 18472"/>
                    <a:gd name="connsiteX4" fmla="*/ 1658 w 18326"/>
                    <a:gd name="connsiteY4" fmla="*/ 3907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72">
                      <a:moveTo>
                        <a:pt x="1658" y="3907"/>
                      </a:moveTo>
                      <a:cubicBezTo>
                        <a:pt x="4528" y="-280"/>
                        <a:pt x="10270" y="-1237"/>
                        <a:pt x="14397" y="1694"/>
                      </a:cubicBezTo>
                      <a:cubicBezTo>
                        <a:pt x="18523" y="4625"/>
                        <a:pt x="19600" y="10366"/>
                        <a:pt x="16669" y="14553"/>
                      </a:cubicBezTo>
                      <a:cubicBezTo>
                        <a:pt x="13739" y="18739"/>
                        <a:pt x="8057" y="19696"/>
                        <a:pt x="3930" y="16825"/>
                      </a:cubicBezTo>
                      <a:cubicBezTo>
                        <a:pt x="-196" y="13835"/>
                        <a:pt x="-1273" y="8093"/>
                        <a:pt x="1658" y="3907"/>
                      </a:cubicBezTo>
                      <a:close/>
                    </a:path>
                  </a:pathLst>
                </a:custGeom>
                <a:grpFill/>
                <a:ln w="5978" cap="flat">
                  <a:noFill/>
                  <a:prstDash val="solid"/>
                  <a:miter/>
                </a:ln>
              </p:spPr>
              <p:txBody>
                <a:bodyPr rtlCol="0" anchor="ctr"/>
                <a:lstStyle/>
                <a:p>
                  <a:endParaRPr lang="en-GB"/>
                </a:p>
              </p:txBody>
            </p:sp>
            <p:sp>
              <p:nvSpPr>
                <p:cNvPr id="2219" name="Vrije vorm: vorm 2218">
                  <a:extLst>
                    <a:ext uri="{FF2B5EF4-FFF2-40B4-BE49-F238E27FC236}">
                      <a16:creationId xmlns:a16="http://schemas.microsoft.com/office/drawing/2014/main" id="{29AAB457-0EF2-4BE4-B4E0-DDE3AB9B0F81}"/>
                    </a:ext>
                  </a:extLst>
                </p:cNvPr>
                <p:cNvSpPr/>
                <p:nvPr/>
              </p:nvSpPr>
              <p:spPr>
                <a:xfrm>
                  <a:off x="4843072" y="5338429"/>
                  <a:ext cx="18274" cy="18426"/>
                </a:xfrm>
                <a:custGeom>
                  <a:avLst/>
                  <a:gdLst>
                    <a:gd name="connsiteX0" fmla="*/ 1631 w 18274"/>
                    <a:gd name="connsiteY0" fmla="*/ 3890 h 18426"/>
                    <a:gd name="connsiteX1" fmla="*/ 3904 w 18274"/>
                    <a:gd name="connsiteY1" fmla="*/ 16749 h 18426"/>
                    <a:gd name="connsiteX2" fmla="*/ 16643 w 18274"/>
                    <a:gd name="connsiteY2" fmla="*/ 14536 h 18426"/>
                    <a:gd name="connsiteX3" fmla="*/ 14370 w 18274"/>
                    <a:gd name="connsiteY3" fmla="*/ 1677 h 18426"/>
                    <a:gd name="connsiteX4" fmla="*/ 1631 w 18274"/>
                    <a:gd name="connsiteY4" fmla="*/ 389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26">
                      <a:moveTo>
                        <a:pt x="1631" y="3890"/>
                      </a:moveTo>
                      <a:cubicBezTo>
                        <a:pt x="-1239" y="8077"/>
                        <a:pt x="-223" y="13818"/>
                        <a:pt x="3904" y="16749"/>
                      </a:cubicBezTo>
                      <a:cubicBezTo>
                        <a:pt x="8031" y="19679"/>
                        <a:pt x="13772" y="18663"/>
                        <a:pt x="16643" y="14536"/>
                      </a:cubicBezTo>
                      <a:cubicBezTo>
                        <a:pt x="19514" y="10349"/>
                        <a:pt x="18497" y="4608"/>
                        <a:pt x="14370" y="1677"/>
                      </a:cubicBezTo>
                      <a:cubicBezTo>
                        <a:pt x="10244" y="-1253"/>
                        <a:pt x="4502" y="-237"/>
                        <a:pt x="1631" y="3890"/>
                      </a:cubicBezTo>
                      <a:close/>
                    </a:path>
                  </a:pathLst>
                </a:custGeom>
                <a:grpFill/>
                <a:ln w="5978" cap="flat">
                  <a:noFill/>
                  <a:prstDash val="solid"/>
                  <a:miter/>
                </a:ln>
              </p:spPr>
              <p:txBody>
                <a:bodyPr rtlCol="0" anchor="ctr"/>
                <a:lstStyle/>
                <a:p>
                  <a:endParaRPr lang="en-GB"/>
                </a:p>
              </p:txBody>
            </p:sp>
          </p:grpSp>
          <p:grpSp>
            <p:nvGrpSpPr>
              <p:cNvPr id="1062" name="Graphic 3">
                <a:extLst>
                  <a:ext uri="{FF2B5EF4-FFF2-40B4-BE49-F238E27FC236}">
                    <a16:creationId xmlns:a16="http://schemas.microsoft.com/office/drawing/2014/main" id="{8F9A649B-DF94-4167-BF1D-EEC5C4C72FB0}"/>
                  </a:ext>
                </a:extLst>
              </p:cNvPr>
              <p:cNvGrpSpPr/>
              <p:nvPr/>
            </p:nvGrpSpPr>
            <p:grpSpPr>
              <a:xfrm>
                <a:off x="4207676" y="2954074"/>
                <a:ext cx="200873" cy="63443"/>
                <a:chOff x="4207676" y="2954074"/>
                <a:chExt cx="200873" cy="63443"/>
              </a:xfrm>
              <a:grpFill/>
            </p:grpSpPr>
            <p:sp>
              <p:nvSpPr>
                <p:cNvPr id="2214" name="Vrije vorm: vorm 2213">
                  <a:extLst>
                    <a:ext uri="{FF2B5EF4-FFF2-40B4-BE49-F238E27FC236}">
                      <a16:creationId xmlns:a16="http://schemas.microsoft.com/office/drawing/2014/main" id="{ADAE84EA-4353-4903-899C-703701052697}"/>
                    </a:ext>
                  </a:extLst>
                </p:cNvPr>
                <p:cNvSpPr/>
                <p:nvPr/>
              </p:nvSpPr>
              <p:spPr>
                <a:xfrm>
                  <a:off x="4216069" y="2961693"/>
                  <a:ext cx="184086" cy="48204"/>
                </a:xfrm>
                <a:custGeom>
                  <a:avLst/>
                  <a:gdLst>
                    <a:gd name="connsiteX0" fmla="*/ 184087 w 184086"/>
                    <a:gd name="connsiteY0" fmla="*/ 45274 h 48204"/>
                    <a:gd name="connsiteX1" fmla="*/ 183369 w 184086"/>
                    <a:gd name="connsiteY1" fmla="*/ 48205 h 48204"/>
                    <a:gd name="connsiteX2" fmla="*/ 0 w 184086"/>
                    <a:gd name="connsiteY2" fmla="*/ 2930 h 48204"/>
                    <a:gd name="connsiteX3" fmla="*/ 718 w 184086"/>
                    <a:gd name="connsiteY3" fmla="*/ 0 h 48204"/>
                  </a:gdLst>
                  <a:ahLst/>
                  <a:cxnLst>
                    <a:cxn ang="0">
                      <a:pos x="connsiteX0" y="connsiteY0"/>
                    </a:cxn>
                    <a:cxn ang="0">
                      <a:pos x="connsiteX1" y="connsiteY1"/>
                    </a:cxn>
                    <a:cxn ang="0">
                      <a:pos x="connsiteX2" y="connsiteY2"/>
                    </a:cxn>
                    <a:cxn ang="0">
                      <a:pos x="connsiteX3" y="connsiteY3"/>
                    </a:cxn>
                  </a:cxnLst>
                  <a:rect l="l" t="t" r="r" b="b"/>
                  <a:pathLst>
                    <a:path w="184086" h="48204">
                      <a:moveTo>
                        <a:pt x="184087" y="45274"/>
                      </a:moveTo>
                      <a:lnTo>
                        <a:pt x="183369" y="48205"/>
                      </a:lnTo>
                      <a:lnTo>
                        <a:pt x="0" y="2930"/>
                      </a:lnTo>
                      <a:lnTo>
                        <a:pt x="718" y="0"/>
                      </a:lnTo>
                      <a:close/>
                    </a:path>
                  </a:pathLst>
                </a:custGeom>
                <a:grpFill/>
                <a:ln w="5978" cap="flat">
                  <a:noFill/>
                  <a:prstDash val="solid"/>
                  <a:miter/>
                </a:ln>
              </p:spPr>
              <p:txBody>
                <a:bodyPr rtlCol="0" anchor="ctr"/>
                <a:lstStyle/>
                <a:p>
                  <a:endParaRPr lang="en-GB"/>
                </a:p>
              </p:txBody>
            </p:sp>
            <p:sp>
              <p:nvSpPr>
                <p:cNvPr id="2215" name="Vrije vorm: vorm 2214">
                  <a:extLst>
                    <a:ext uri="{FF2B5EF4-FFF2-40B4-BE49-F238E27FC236}">
                      <a16:creationId xmlns:a16="http://schemas.microsoft.com/office/drawing/2014/main" id="{62EEFD9A-EBCE-42EF-AD65-55E0D5B4ECA1}"/>
                    </a:ext>
                  </a:extLst>
                </p:cNvPr>
                <p:cNvSpPr/>
                <p:nvPr/>
              </p:nvSpPr>
              <p:spPr>
                <a:xfrm>
                  <a:off x="4207676" y="2954074"/>
                  <a:ext cx="18342" cy="18408"/>
                </a:xfrm>
                <a:custGeom>
                  <a:avLst/>
                  <a:gdLst>
                    <a:gd name="connsiteX0" fmla="*/ 7018 w 18342"/>
                    <a:gd name="connsiteY0" fmla="*/ 18146 h 18408"/>
                    <a:gd name="connsiteX1" fmla="*/ 260 w 18342"/>
                    <a:gd name="connsiteY1" fmla="*/ 7021 h 18408"/>
                    <a:gd name="connsiteX2" fmla="*/ 11324 w 18342"/>
                    <a:gd name="connsiteY2" fmla="*/ 263 h 18408"/>
                    <a:gd name="connsiteX3" fmla="*/ 18082 w 18342"/>
                    <a:gd name="connsiteY3" fmla="*/ 11387 h 18408"/>
                    <a:gd name="connsiteX4" fmla="*/ 7018 w 18342"/>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7018" y="18146"/>
                      </a:moveTo>
                      <a:cubicBezTo>
                        <a:pt x="2114" y="16949"/>
                        <a:pt x="-936" y="11926"/>
                        <a:pt x="260" y="7021"/>
                      </a:cubicBezTo>
                      <a:cubicBezTo>
                        <a:pt x="1456" y="2057"/>
                        <a:pt x="6420" y="-933"/>
                        <a:pt x="11324" y="263"/>
                      </a:cubicBezTo>
                      <a:cubicBezTo>
                        <a:pt x="16228" y="1459"/>
                        <a:pt x="19279" y="6483"/>
                        <a:pt x="18082" y="11387"/>
                      </a:cubicBezTo>
                      <a:cubicBezTo>
                        <a:pt x="16886" y="16351"/>
                        <a:pt x="11982" y="19342"/>
                        <a:pt x="7018" y="18146"/>
                      </a:cubicBezTo>
                      <a:close/>
                    </a:path>
                  </a:pathLst>
                </a:custGeom>
                <a:grpFill/>
                <a:ln w="5978" cap="flat">
                  <a:noFill/>
                  <a:prstDash val="solid"/>
                  <a:miter/>
                </a:ln>
              </p:spPr>
              <p:txBody>
                <a:bodyPr rtlCol="0" anchor="ctr"/>
                <a:lstStyle/>
                <a:p>
                  <a:endParaRPr lang="en-GB"/>
                </a:p>
              </p:txBody>
            </p:sp>
            <p:sp>
              <p:nvSpPr>
                <p:cNvPr id="2216" name="Vrije vorm: vorm 2215">
                  <a:extLst>
                    <a:ext uri="{FF2B5EF4-FFF2-40B4-BE49-F238E27FC236}">
                      <a16:creationId xmlns:a16="http://schemas.microsoft.com/office/drawing/2014/main" id="{A129BA87-E246-45AB-BCA9-A9BBA8C4FC85}"/>
                    </a:ext>
                  </a:extLst>
                </p:cNvPr>
                <p:cNvSpPr/>
                <p:nvPr/>
              </p:nvSpPr>
              <p:spPr>
                <a:xfrm>
                  <a:off x="4390208" y="2999109"/>
                  <a:ext cx="18342" cy="18408"/>
                </a:xfrm>
                <a:custGeom>
                  <a:avLst/>
                  <a:gdLst>
                    <a:gd name="connsiteX0" fmla="*/ 7018 w 18342"/>
                    <a:gd name="connsiteY0" fmla="*/ 18146 h 18408"/>
                    <a:gd name="connsiteX1" fmla="*/ 18082 w 18342"/>
                    <a:gd name="connsiteY1" fmla="*/ 11387 h 18408"/>
                    <a:gd name="connsiteX2" fmla="*/ 11324 w 18342"/>
                    <a:gd name="connsiteY2" fmla="*/ 263 h 18408"/>
                    <a:gd name="connsiteX3" fmla="*/ 260 w 18342"/>
                    <a:gd name="connsiteY3" fmla="*/ 7021 h 18408"/>
                    <a:gd name="connsiteX4" fmla="*/ 7018 w 18342"/>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7018" y="18146"/>
                      </a:moveTo>
                      <a:cubicBezTo>
                        <a:pt x="11922" y="19342"/>
                        <a:pt x="16886" y="16351"/>
                        <a:pt x="18082" y="11387"/>
                      </a:cubicBezTo>
                      <a:cubicBezTo>
                        <a:pt x="19279" y="6423"/>
                        <a:pt x="16228" y="1459"/>
                        <a:pt x="11324" y="263"/>
                      </a:cubicBezTo>
                      <a:cubicBezTo>
                        <a:pt x="6420" y="-933"/>
                        <a:pt x="1456" y="2057"/>
                        <a:pt x="260" y="7021"/>
                      </a:cubicBezTo>
                      <a:cubicBezTo>
                        <a:pt x="-936" y="11985"/>
                        <a:pt x="2114" y="16949"/>
                        <a:pt x="7018" y="18146"/>
                      </a:cubicBezTo>
                      <a:close/>
                    </a:path>
                  </a:pathLst>
                </a:custGeom>
                <a:grpFill/>
                <a:ln w="5978" cap="flat">
                  <a:noFill/>
                  <a:prstDash val="solid"/>
                  <a:miter/>
                </a:ln>
              </p:spPr>
              <p:txBody>
                <a:bodyPr rtlCol="0" anchor="ctr"/>
                <a:lstStyle/>
                <a:p>
                  <a:endParaRPr lang="en-GB"/>
                </a:p>
              </p:txBody>
            </p:sp>
          </p:grpSp>
          <p:grpSp>
            <p:nvGrpSpPr>
              <p:cNvPr id="1063" name="Graphic 3">
                <a:extLst>
                  <a:ext uri="{FF2B5EF4-FFF2-40B4-BE49-F238E27FC236}">
                    <a16:creationId xmlns:a16="http://schemas.microsoft.com/office/drawing/2014/main" id="{3009B1D8-73C3-464C-80E5-24E40FF61741}"/>
                  </a:ext>
                </a:extLst>
              </p:cNvPr>
              <p:cNvGrpSpPr/>
              <p:nvPr/>
            </p:nvGrpSpPr>
            <p:grpSpPr>
              <a:xfrm>
                <a:off x="3979596" y="2270015"/>
                <a:ext cx="235963" cy="138229"/>
                <a:chOff x="3979596" y="2270015"/>
                <a:chExt cx="235963" cy="138229"/>
              </a:xfrm>
              <a:grpFill/>
            </p:grpSpPr>
            <p:sp>
              <p:nvSpPr>
                <p:cNvPr id="2211" name="Vrije vorm: vorm 2210">
                  <a:extLst>
                    <a:ext uri="{FF2B5EF4-FFF2-40B4-BE49-F238E27FC236}">
                      <a16:creationId xmlns:a16="http://schemas.microsoft.com/office/drawing/2014/main" id="{4D63BA0C-556A-45B1-89B7-EE5ABE5579DE}"/>
                    </a:ext>
                  </a:extLst>
                </p:cNvPr>
                <p:cNvSpPr/>
                <p:nvPr/>
              </p:nvSpPr>
              <p:spPr>
                <a:xfrm>
                  <a:off x="3987606" y="2277678"/>
                  <a:ext cx="219911" cy="122903"/>
                </a:xfrm>
                <a:custGeom>
                  <a:avLst/>
                  <a:gdLst>
                    <a:gd name="connsiteX0" fmla="*/ 219911 w 219911"/>
                    <a:gd name="connsiteY0" fmla="*/ 120272 h 122903"/>
                    <a:gd name="connsiteX1" fmla="*/ 218416 w 219911"/>
                    <a:gd name="connsiteY1" fmla="*/ 122904 h 122903"/>
                    <a:gd name="connsiteX2" fmla="*/ 0 w 219911"/>
                    <a:gd name="connsiteY2" fmla="*/ 2691 h 122903"/>
                    <a:gd name="connsiteX3" fmla="*/ 1495 w 219911"/>
                    <a:gd name="connsiteY3" fmla="*/ 0 h 122903"/>
                  </a:gdLst>
                  <a:ahLst/>
                  <a:cxnLst>
                    <a:cxn ang="0">
                      <a:pos x="connsiteX0" y="connsiteY0"/>
                    </a:cxn>
                    <a:cxn ang="0">
                      <a:pos x="connsiteX1" y="connsiteY1"/>
                    </a:cxn>
                    <a:cxn ang="0">
                      <a:pos x="connsiteX2" y="connsiteY2"/>
                    </a:cxn>
                    <a:cxn ang="0">
                      <a:pos x="connsiteX3" y="connsiteY3"/>
                    </a:cxn>
                  </a:cxnLst>
                  <a:rect l="l" t="t" r="r" b="b"/>
                  <a:pathLst>
                    <a:path w="219911" h="122903">
                      <a:moveTo>
                        <a:pt x="219911" y="120272"/>
                      </a:moveTo>
                      <a:lnTo>
                        <a:pt x="218416" y="122904"/>
                      </a:lnTo>
                      <a:lnTo>
                        <a:pt x="0" y="2691"/>
                      </a:lnTo>
                      <a:lnTo>
                        <a:pt x="1495" y="0"/>
                      </a:lnTo>
                      <a:close/>
                    </a:path>
                  </a:pathLst>
                </a:custGeom>
                <a:grpFill/>
                <a:ln w="5978" cap="flat">
                  <a:noFill/>
                  <a:prstDash val="solid"/>
                  <a:miter/>
                </a:ln>
              </p:spPr>
              <p:txBody>
                <a:bodyPr rtlCol="0" anchor="ctr"/>
                <a:lstStyle/>
                <a:p>
                  <a:endParaRPr lang="en-GB"/>
                </a:p>
              </p:txBody>
            </p:sp>
            <p:sp>
              <p:nvSpPr>
                <p:cNvPr id="2212" name="Vrije vorm: vorm 2211">
                  <a:extLst>
                    <a:ext uri="{FF2B5EF4-FFF2-40B4-BE49-F238E27FC236}">
                      <a16:creationId xmlns:a16="http://schemas.microsoft.com/office/drawing/2014/main" id="{D8ACAAAC-F902-49D2-98B3-70FBB3A7B90D}"/>
                    </a:ext>
                  </a:extLst>
                </p:cNvPr>
                <p:cNvSpPr/>
                <p:nvPr/>
              </p:nvSpPr>
              <p:spPr>
                <a:xfrm>
                  <a:off x="3979596" y="2270015"/>
                  <a:ext cx="18351" cy="18423"/>
                </a:xfrm>
                <a:custGeom>
                  <a:avLst/>
                  <a:gdLst>
                    <a:gd name="connsiteX0" fmla="*/ 4780 w 18351"/>
                    <a:gd name="connsiteY0" fmla="*/ 17292 h 18423"/>
                    <a:gd name="connsiteX1" fmla="*/ 1132 w 18351"/>
                    <a:gd name="connsiteY1" fmla="*/ 4792 h 18423"/>
                    <a:gd name="connsiteX2" fmla="*/ 13572 w 18351"/>
                    <a:gd name="connsiteY2" fmla="*/ 1144 h 18423"/>
                    <a:gd name="connsiteX3" fmla="*/ 17220 w 18351"/>
                    <a:gd name="connsiteY3" fmla="*/ 13644 h 18423"/>
                    <a:gd name="connsiteX4" fmla="*/ 4780 w 18351"/>
                    <a:gd name="connsiteY4" fmla="*/ 172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3">
                      <a:moveTo>
                        <a:pt x="4780" y="17292"/>
                      </a:moveTo>
                      <a:cubicBezTo>
                        <a:pt x="354" y="14840"/>
                        <a:pt x="-1320" y="9218"/>
                        <a:pt x="1132" y="4792"/>
                      </a:cubicBezTo>
                      <a:cubicBezTo>
                        <a:pt x="3524" y="307"/>
                        <a:pt x="9086" y="-1308"/>
                        <a:pt x="13572" y="1144"/>
                      </a:cubicBezTo>
                      <a:cubicBezTo>
                        <a:pt x="17998" y="3596"/>
                        <a:pt x="19672" y="9218"/>
                        <a:pt x="17220" y="13644"/>
                      </a:cubicBezTo>
                      <a:cubicBezTo>
                        <a:pt x="14828" y="18069"/>
                        <a:pt x="9206" y="19744"/>
                        <a:pt x="4780" y="17292"/>
                      </a:cubicBezTo>
                      <a:close/>
                    </a:path>
                  </a:pathLst>
                </a:custGeom>
                <a:grpFill/>
                <a:ln w="5978" cap="flat">
                  <a:noFill/>
                  <a:prstDash val="solid"/>
                  <a:miter/>
                </a:ln>
              </p:spPr>
              <p:txBody>
                <a:bodyPr rtlCol="0" anchor="ctr"/>
                <a:lstStyle/>
                <a:p>
                  <a:endParaRPr lang="en-GB"/>
                </a:p>
              </p:txBody>
            </p:sp>
            <p:sp>
              <p:nvSpPr>
                <p:cNvPr id="2213" name="Vrije vorm: vorm 2212">
                  <a:extLst>
                    <a:ext uri="{FF2B5EF4-FFF2-40B4-BE49-F238E27FC236}">
                      <a16:creationId xmlns:a16="http://schemas.microsoft.com/office/drawing/2014/main" id="{91D8A7BE-DEAA-4A9A-A1DF-B5157BCBA01A}"/>
                    </a:ext>
                  </a:extLst>
                </p:cNvPr>
                <p:cNvSpPr/>
                <p:nvPr/>
              </p:nvSpPr>
              <p:spPr>
                <a:xfrm>
                  <a:off x="4197223" y="2389809"/>
                  <a:ext cx="18337" cy="18435"/>
                </a:xfrm>
                <a:custGeom>
                  <a:avLst/>
                  <a:gdLst>
                    <a:gd name="connsiteX0" fmla="*/ 4792 w 18337"/>
                    <a:gd name="connsiteY0" fmla="*/ 17292 h 18435"/>
                    <a:gd name="connsiteX1" fmla="*/ 17232 w 18337"/>
                    <a:gd name="connsiteY1" fmla="*/ 13644 h 18435"/>
                    <a:gd name="connsiteX2" fmla="*/ 13584 w 18337"/>
                    <a:gd name="connsiteY2" fmla="*/ 1144 h 18435"/>
                    <a:gd name="connsiteX3" fmla="*/ 1144 w 18337"/>
                    <a:gd name="connsiteY3" fmla="*/ 4792 h 18435"/>
                    <a:gd name="connsiteX4" fmla="*/ 4792 w 18337"/>
                    <a:gd name="connsiteY4" fmla="*/ 1729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5">
                      <a:moveTo>
                        <a:pt x="4792" y="17292"/>
                      </a:moveTo>
                      <a:cubicBezTo>
                        <a:pt x="9218" y="19744"/>
                        <a:pt x="14780" y="18129"/>
                        <a:pt x="17232" y="13644"/>
                      </a:cubicBezTo>
                      <a:cubicBezTo>
                        <a:pt x="19624" y="9158"/>
                        <a:pt x="18009" y="3596"/>
                        <a:pt x="13584" y="1144"/>
                      </a:cubicBezTo>
                      <a:cubicBezTo>
                        <a:pt x="9158" y="-1308"/>
                        <a:pt x="3596" y="307"/>
                        <a:pt x="1144" y="4792"/>
                      </a:cubicBezTo>
                      <a:cubicBezTo>
                        <a:pt x="-1308" y="9278"/>
                        <a:pt x="307" y="14840"/>
                        <a:pt x="4792" y="17292"/>
                      </a:cubicBezTo>
                      <a:close/>
                    </a:path>
                  </a:pathLst>
                </a:custGeom>
                <a:grpFill/>
                <a:ln w="5978" cap="flat">
                  <a:noFill/>
                  <a:prstDash val="solid"/>
                  <a:miter/>
                </a:ln>
              </p:spPr>
              <p:txBody>
                <a:bodyPr rtlCol="0" anchor="ctr"/>
                <a:lstStyle/>
                <a:p>
                  <a:endParaRPr lang="en-GB"/>
                </a:p>
              </p:txBody>
            </p:sp>
          </p:grpSp>
          <p:grpSp>
            <p:nvGrpSpPr>
              <p:cNvPr id="1064" name="Graphic 3">
                <a:extLst>
                  <a:ext uri="{FF2B5EF4-FFF2-40B4-BE49-F238E27FC236}">
                    <a16:creationId xmlns:a16="http://schemas.microsoft.com/office/drawing/2014/main" id="{276DF175-A12D-468C-8297-58A2FAFCFC01}"/>
                  </a:ext>
                </a:extLst>
              </p:cNvPr>
              <p:cNvGrpSpPr/>
              <p:nvPr/>
            </p:nvGrpSpPr>
            <p:grpSpPr>
              <a:xfrm>
                <a:off x="3899830" y="2173474"/>
                <a:ext cx="344772" cy="206136"/>
                <a:chOff x="3899830" y="2173474"/>
                <a:chExt cx="344772" cy="206136"/>
              </a:xfrm>
              <a:grpFill/>
            </p:grpSpPr>
            <p:sp>
              <p:nvSpPr>
                <p:cNvPr id="2208" name="Vrije vorm: vorm 2207">
                  <a:extLst>
                    <a:ext uri="{FF2B5EF4-FFF2-40B4-BE49-F238E27FC236}">
                      <a16:creationId xmlns:a16="http://schemas.microsoft.com/office/drawing/2014/main" id="{89539600-CC4F-4172-AB24-90166A83C79D}"/>
                    </a:ext>
                  </a:extLst>
                </p:cNvPr>
                <p:cNvSpPr/>
                <p:nvPr/>
              </p:nvSpPr>
              <p:spPr>
                <a:xfrm>
                  <a:off x="3907883" y="2181090"/>
                  <a:ext cx="328700" cy="190844"/>
                </a:xfrm>
                <a:custGeom>
                  <a:avLst/>
                  <a:gdLst>
                    <a:gd name="connsiteX0" fmla="*/ 328700 w 328700"/>
                    <a:gd name="connsiteY0" fmla="*/ 188213 h 190844"/>
                    <a:gd name="connsiteX1" fmla="*/ 327205 w 328700"/>
                    <a:gd name="connsiteY1" fmla="*/ 190845 h 190844"/>
                    <a:gd name="connsiteX2" fmla="*/ 0 w 328700"/>
                    <a:gd name="connsiteY2" fmla="*/ 2691 h 190844"/>
                    <a:gd name="connsiteX3" fmla="*/ 1495 w 328700"/>
                    <a:gd name="connsiteY3" fmla="*/ 0 h 190844"/>
                  </a:gdLst>
                  <a:ahLst/>
                  <a:cxnLst>
                    <a:cxn ang="0">
                      <a:pos x="connsiteX0" y="connsiteY0"/>
                    </a:cxn>
                    <a:cxn ang="0">
                      <a:pos x="connsiteX1" y="connsiteY1"/>
                    </a:cxn>
                    <a:cxn ang="0">
                      <a:pos x="connsiteX2" y="connsiteY2"/>
                    </a:cxn>
                    <a:cxn ang="0">
                      <a:pos x="connsiteX3" y="connsiteY3"/>
                    </a:cxn>
                  </a:cxnLst>
                  <a:rect l="l" t="t" r="r" b="b"/>
                  <a:pathLst>
                    <a:path w="328700" h="190844">
                      <a:moveTo>
                        <a:pt x="328700" y="188213"/>
                      </a:moveTo>
                      <a:lnTo>
                        <a:pt x="327205" y="190845"/>
                      </a:lnTo>
                      <a:lnTo>
                        <a:pt x="0" y="2691"/>
                      </a:lnTo>
                      <a:lnTo>
                        <a:pt x="1495" y="0"/>
                      </a:lnTo>
                      <a:close/>
                    </a:path>
                  </a:pathLst>
                </a:custGeom>
                <a:grpFill/>
                <a:ln w="5978" cap="flat">
                  <a:noFill/>
                  <a:prstDash val="solid"/>
                  <a:miter/>
                </a:ln>
              </p:spPr>
              <p:txBody>
                <a:bodyPr rtlCol="0" anchor="ctr"/>
                <a:lstStyle/>
                <a:p>
                  <a:endParaRPr lang="en-GB"/>
                </a:p>
              </p:txBody>
            </p:sp>
            <p:sp>
              <p:nvSpPr>
                <p:cNvPr id="2209" name="Vrije vorm: vorm 2208">
                  <a:extLst>
                    <a:ext uri="{FF2B5EF4-FFF2-40B4-BE49-F238E27FC236}">
                      <a16:creationId xmlns:a16="http://schemas.microsoft.com/office/drawing/2014/main" id="{F697423A-8E5D-4E3B-A892-1A0A881080D3}"/>
                    </a:ext>
                  </a:extLst>
                </p:cNvPr>
                <p:cNvSpPr/>
                <p:nvPr/>
              </p:nvSpPr>
              <p:spPr>
                <a:xfrm>
                  <a:off x="3899830" y="2173474"/>
                  <a:ext cx="18318" cy="18401"/>
                </a:xfrm>
                <a:custGeom>
                  <a:avLst/>
                  <a:gdLst>
                    <a:gd name="connsiteX0" fmla="*/ 4644 w 18318"/>
                    <a:gd name="connsiteY0" fmla="*/ 17185 h 18401"/>
                    <a:gd name="connsiteX1" fmla="*/ 1175 w 18318"/>
                    <a:gd name="connsiteY1" fmla="*/ 4625 h 18401"/>
                    <a:gd name="connsiteX2" fmla="*/ 13675 w 18318"/>
                    <a:gd name="connsiteY2" fmla="*/ 1216 h 18401"/>
                    <a:gd name="connsiteX3" fmla="*/ 17143 w 18318"/>
                    <a:gd name="connsiteY3" fmla="*/ 13776 h 18401"/>
                    <a:gd name="connsiteX4" fmla="*/ 4644 w 18318"/>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01">
                      <a:moveTo>
                        <a:pt x="4644" y="17185"/>
                      </a:moveTo>
                      <a:cubicBezTo>
                        <a:pt x="218" y="14673"/>
                        <a:pt x="-1277" y="9051"/>
                        <a:pt x="1175" y="4625"/>
                      </a:cubicBezTo>
                      <a:cubicBezTo>
                        <a:pt x="3687" y="200"/>
                        <a:pt x="9249" y="-1295"/>
                        <a:pt x="13675" y="1216"/>
                      </a:cubicBezTo>
                      <a:cubicBezTo>
                        <a:pt x="18100" y="3728"/>
                        <a:pt x="19596" y="9350"/>
                        <a:pt x="17143" y="13776"/>
                      </a:cubicBezTo>
                      <a:cubicBezTo>
                        <a:pt x="14631" y="18202"/>
                        <a:pt x="9069" y="19697"/>
                        <a:pt x="4644" y="17185"/>
                      </a:cubicBezTo>
                      <a:close/>
                    </a:path>
                  </a:pathLst>
                </a:custGeom>
                <a:grpFill/>
                <a:ln w="5978" cap="flat">
                  <a:noFill/>
                  <a:prstDash val="solid"/>
                  <a:miter/>
                </a:ln>
              </p:spPr>
              <p:txBody>
                <a:bodyPr rtlCol="0" anchor="ctr"/>
                <a:lstStyle/>
                <a:p>
                  <a:endParaRPr lang="en-GB"/>
                </a:p>
              </p:txBody>
            </p:sp>
            <p:sp>
              <p:nvSpPr>
                <p:cNvPr id="2210" name="Vrije vorm: vorm 2209">
                  <a:extLst>
                    <a:ext uri="{FF2B5EF4-FFF2-40B4-BE49-F238E27FC236}">
                      <a16:creationId xmlns:a16="http://schemas.microsoft.com/office/drawing/2014/main" id="{EF409D94-D50F-419B-AC04-904B083B39E6}"/>
                    </a:ext>
                  </a:extLst>
                </p:cNvPr>
                <p:cNvSpPr/>
                <p:nvPr/>
              </p:nvSpPr>
              <p:spPr>
                <a:xfrm>
                  <a:off x="4226258" y="2361209"/>
                  <a:ext cx="18344" cy="18401"/>
                </a:xfrm>
                <a:custGeom>
                  <a:avLst/>
                  <a:gdLst>
                    <a:gd name="connsiteX0" fmla="*/ 4644 w 18344"/>
                    <a:gd name="connsiteY0" fmla="*/ 17185 h 18401"/>
                    <a:gd name="connsiteX1" fmla="*/ 17143 w 18344"/>
                    <a:gd name="connsiteY1" fmla="*/ 13776 h 18401"/>
                    <a:gd name="connsiteX2" fmla="*/ 13675 w 18344"/>
                    <a:gd name="connsiteY2" fmla="*/ 1216 h 18401"/>
                    <a:gd name="connsiteX3" fmla="*/ 1175 w 18344"/>
                    <a:gd name="connsiteY3" fmla="*/ 4625 h 18401"/>
                    <a:gd name="connsiteX4" fmla="*/ 4644 w 18344"/>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1">
                      <a:moveTo>
                        <a:pt x="4644" y="17185"/>
                      </a:moveTo>
                      <a:cubicBezTo>
                        <a:pt x="9070" y="19697"/>
                        <a:pt x="14632" y="18202"/>
                        <a:pt x="17143" y="13776"/>
                      </a:cubicBezTo>
                      <a:cubicBezTo>
                        <a:pt x="19655" y="9350"/>
                        <a:pt x="18100" y="3728"/>
                        <a:pt x="13675" y="1216"/>
                      </a:cubicBezTo>
                      <a:cubicBezTo>
                        <a:pt x="9249" y="-1295"/>
                        <a:pt x="3687" y="200"/>
                        <a:pt x="1175" y="4625"/>
                      </a:cubicBezTo>
                      <a:cubicBezTo>
                        <a:pt x="-1277" y="9051"/>
                        <a:pt x="218" y="14673"/>
                        <a:pt x="4644" y="17185"/>
                      </a:cubicBezTo>
                      <a:close/>
                    </a:path>
                  </a:pathLst>
                </a:custGeom>
                <a:grpFill/>
                <a:ln w="5978" cap="flat">
                  <a:noFill/>
                  <a:prstDash val="solid"/>
                  <a:miter/>
                </a:ln>
              </p:spPr>
              <p:txBody>
                <a:bodyPr rtlCol="0" anchor="ctr"/>
                <a:lstStyle/>
                <a:p>
                  <a:endParaRPr lang="en-GB"/>
                </a:p>
              </p:txBody>
            </p:sp>
          </p:grpSp>
          <p:grpSp>
            <p:nvGrpSpPr>
              <p:cNvPr id="1065" name="Graphic 3">
                <a:extLst>
                  <a:ext uri="{FF2B5EF4-FFF2-40B4-BE49-F238E27FC236}">
                    <a16:creationId xmlns:a16="http://schemas.microsoft.com/office/drawing/2014/main" id="{8D0E09E3-F2DB-4334-A0CE-AA2872A8C5C5}"/>
                  </a:ext>
                </a:extLst>
              </p:cNvPr>
              <p:cNvGrpSpPr/>
              <p:nvPr/>
            </p:nvGrpSpPr>
            <p:grpSpPr>
              <a:xfrm>
                <a:off x="5005276" y="5136154"/>
                <a:ext cx="111619" cy="188591"/>
                <a:chOff x="5005276" y="5136154"/>
                <a:chExt cx="111619" cy="188591"/>
              </a:xfrm>
              <a:grpFill/>
            </p:grpSpPr>
            <p:sp>
              <p:nvSpPr>
                <p:cNvPr id="2205" name="Vrije vorm: vorm 2204">
                  <a:extLst>
                    <a:ext uri="{FF2B5EF4-FFF2-40B4-BE49-F238E27FC236}">
                      <a16:creationId xmlns:a16="http://schemas.microsoft.com/office/drawing/2014/main" id="{7818E8DE-1A3D-46C2-847C-DC1E164EEC31}"/>
                    </a:ext>
                  </a:extLst>
                </p:cNvPr>
                <p:cNvSpPr/>
                <p:nvPr/>
              </p:nvSpPr>
              <p:spPr>
                <a:xfrm>
                  <a:off x="5012881" y="5144178"/>
                  <a:ext cx="96409" cy="172544"/>
                </a:xfrm>
                <a:custGeom>
                  <a:avLst/>
                  <a:gdLst>
                    <a:gd name="connsiteX0" fmla="*/ 96410 w 96409"/>
                    <a:gd name="connsiteY0" fmla="*/ 1495 h 172544"/>
                    <a:gd name="connsiteX1" fmla="*/ 2632 w 96409"/>
                    <a:gd name="connsiteY1" fmla="*/ 172544 h 172544"/>
                    <a:gd name="connsiteX2" fmla="*/ 0 w 96409"/>
                    <a:gd name="connsiteY2" fmla="*/ 171049 h 172544"/>
                    <a:gd name="connsiteX3" fmla="*/ 93718 w 96409"/>
                    <a:gd name="connsiteY3" fmla="*/ 0 h 172544"/>
                  </a:gdLst>
                  <a:ahLst/>
                  <a:cxnLst>
                    <a:cxn ang="0">
                      <a:pos x="connsiteX0" y="connsiteY0"/>
                    </a:cxn>
                    <a:cxn ang="0">
                      <a:pos x="connsiteX1" y="connsiteY1"/>
                    </a:cxn>
                    <a:cxn ang="0">
                      <a:pos x="connsiteX2" y="connsiteY2"/>
                    </a:cxn>
                    <a:cxn ang="0">
                      <a:pos x="connsiteX3" y="connsiteY3"/>
                    </a:cxn>
                  </a:cxnLst>
                  <a:rect l="l" t="t" r="r" b="b"/>
                  <a:pathLst>
                    <a:path w="96409" h="172544">
                      <a:moveTo>
                        <a:pt x="96410" y="1495"/>
                      </a:moveTo>
                      <a:lnTo>
                        <a:pt x="2632" y="172544"/>
                      </a:lnTo>
                      <a:lnTo>
                        <a:pt x="0" y="171049"/>
                      </a:lnTo>
                      <a:lnTo>
                        <a:pt x="93718" y="0"/>
                      </a:lnTo>
                      <a:close/>
                    </a:path>
                  </a:pathLst>
                </a:custGeom>
                <a:grpFill/>
                <a:ln w="5978" cap="flat">
                  <a:noFill/>
                  <a:prstDash val="solid"/>
                  <a:miter/>
                </a:ln>
              </p:spPr>
              <p:txBody>
                <a:bodyPr rtlCol="0" anchor="ctr"/>
                <a:lstStyle/>
                <a:p>
                  <a:endParaRPr lang="en-GB"/>
                </a:p>
              </p:txBody>
            </p:sp>
            <p:sp>
              <p:nvSpPr>
                <p:cNvPr id="2206" name="Vrije vorm: vorm 2205">
                  <a:extLst>
                    <a:ext uri="{FF2B5EF4-FFF2-40B4-BE49-F238E27FC236}">
                      <a16:creationId xmlns:a16="http://schemas.microsoft.com/office/drawing/2014/main" id="{F7E7494F-2CC6-475C-BD31-DA64999A680F}"/>
                    </a:ext>
                  </a:extLst>
                </p:cNvPr>
                <p:cNvSpPr/>
                <p:nvPr/>
              </p:nvSpPr>
              <p:spPr>
                <a:xfrm>
                  <a:off x="5005276" y="5306366"/>
                  <a:ext cx="18320" cy="18379"/>
                </a:xfrm>
                <a:custGeom>
                  <a:avLst/>
                  <a:gdLst>
                    <a:gd name="connsiteX0" fmla="*/ 17174 w 18320"/>
                    <a:gd name="connsiteY0" fmla="*/ 13646 h 18379"/>
                    <a:gd name="connsiteX1" fmla="*/ 4734 w 18320"/>
                    <a:gd name="connsiteY1" fmla="*/ 17234 h 18379"/>
                    <a:gd name="connsiteX2" fmla="*/ 1146 w 18320"/>
                    <a:gd name="connsiteY2" fmla="*/ 4734 h 18379"/>
                    <a:gd name="connsiteX3" fmla="*/ 13586 w 18320"/>
                    <a:gd name="connsiteY3" fmla="*/ 1146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4722" y="18071"/>
                        <a:pt x="9160" y="19686"/>
                        <a:pt x="4734" y="17234"/>
                      </a:cubicBezTo>
                      <a:cubicBezTo>
                        <a:pt x="309" y="14782"/>
                        <a:pt x="-1306" y="9160"/>
                        <a:pt x="1146" y="4734"/>
                      </a:cubicBezTo>
                      <a:cubicBezTo>
                        <a:pt x="3598" y="309"/>
                        <a:pt x="9160" y="-1306"/>
                        <a:pt x="13586" y="1146"/>
                      </a:cubicBezTo>
                      <a:cubicBezTo>
                        <a:pt x="18012" y="3598"/>
                        <a:pt x="19626" y="9220"/>
                        <a:pt x="17174" y="13646"/>
                      </a:cubicBezTo>
                      <a:close/>
                    </a:path>
                  </a:pathLst>
                </a:custGeom>
                <a:grpFill/>
                <a:ln w="5978" cap="flat">
                  <a:noFill/>
                  <a:prstDash val="solid"/>
                  <a:miter/>
                </a:ln>
              </p:spPr>
              <p:txBody>
                <a:bodyPr rtlCol="0" anchor="ctr"/>
                <a:lstStyle/>
                <a:p>
                  <a:endParaRPr lang="en-GB"/>
                </a:p>
              </p:txBody>
            </p:sp>
            <p:sp>
              <p:nvSpPr>
                <p:cNvPr id="2207" name="Vrije vorm: vorm 2206">
                  <a:extLst>
                    <a:ext uri="{FF2B5EF4-FFF2-40B4-BE49-F238E27FC236}">
                      <a16:creationId xmlns:a16="http://schemas.microsoft.com/office/drawing/2014/main" id="{1B9019D8-53FA-443F-8647-5B2FFE40EF43}"/>
                    </a:ext>
                  </a:extLst>
                </p:cNvPr>
                <p:cNvSpPr/>
                <p:nvPr/>
              </p:nvSpPr>
              <p:spPr>
                <a:xfrm>
                  <a:off x="5098575" y="5136154"/>
                  <a:ext cx="18320" cy="18379"/>
                </a:xfrm>
                <a:custGeom>
                  <a:avLst/>
                  <a:gdLst>
                    <a:gd name="connsiteX0" fmla="*/ 17174 w 18320"/>
                    <a:gd name="connsiteY0" fmla="*/ 13646 h 18379"/>
                    <a:gd name="connsiteX1" fmla="*/ 13586 w 18320"/>
                    <a:gd name="connsiteY1" fmla="*/ 1146 h 18379"/>
                    <a:gd name="connsiteX2" fmla="*/ 1146 w 18320"/>
                    <a:gd name="connsiteY2" fmla="*/ 4734 h 18379"/>
                    <a:gd name="connsiteX3" fmla="*/ 4735 w 18320"/>
                    <a:gd name="connsiteY3" fmla="*/ 17234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9626" y="9220"/>
                        <a:pt x="18012" y="3598"/>
                        <a:pt x="13586" y="1146"/>
                      </a:cubicBezTo>
                      <a:cubicBezTo>
                        <a:pt x="9160" y="-1306"/>
                        <a:pt x="3598" y="309"/>
                        <a:pt x="1146" y="4734"/>
                      </a:cubicBezTo>
                      <a:cubicBezTo>
                        <a:pt x="-1306" y="9160"/>
                        <a:pt x="308" y="14782"/>
                        <a:pt x="4735" y="17234"/>
                      </a:cubicBezTo>
                      <a:cubicBezTo>
                        <a:pt x="9160" y="19686"/>
                        <a:pt x="14722" y="18071"/>
                        <a:pt x="17174" y="13646"/>
                      </a:cubicBezTo>
                      <a:close/>
                    </a:path>
                  </a:pathLst>
                </a:custGeom>
                <a:grpFill/>
                <a:ln w="5978" cap="flat">
                  <a:noFill/>
                  <a:prstDash val="solid"/>
                  <a:miter/>
                </a:ln>
              </p:spPr>
              <p:txBody>
                <a:bodyPr rtlCol="0" anchor="ctr"/>
                <a:lstStyle/>
                <a:p>
                  <a:endParaRPr lang="en-GB"/>
                </a:p>
              </p:txBody>
            </p:sp>
          </p:grpSp>
          <p:grpSp>
            <p:nvGrpSpPr>
              <p:cNvPr id="1066" name="Graphic 3">
                <a:extLst>
                  <a:ext uri="{FF2B5EF4-FFF2-40B4-BE49-F238E27FC236}">
                    <a16:creationId xmlns:a16="http://schemas.microsoft.com/office/drawing/2014/main" id="{5984A482-3950-4BED-84E7-46A4BDAEF41A}"/>
                  </a:ext>
                </a:extLst>
              </p:cNvPr>
              <p:cNvGrpSpPr/>
              <p:nvPr/>
            </p:nvGrpSpPr>
            <p:grpSpPr>
              <a:xfrm>
                <a:off x="4819739" y="4656854"/>
                <a:ext cx="136549" cy="151761"/>
                <a:chOff x="4819739" y="4656854"/>
                <a:chExt cx="136549" cy="151761"/>
              </a:xfrm>
              <a:grpFill/>
            </p:grpSpPr>
            <p:sp>
              <p:nvSpPr>
                <p:cNvPr id="2202" name="Vrije vorm: vorm 2201">
                  <a:extLst>
                    <a:ext uri="{FF2B5EF4-FFF2-40B4-BE49-F238E27FC236}">
                      <a16:creationId xmlns:a16="http://schemas.microsoft.com/office/drawing/2014/main" id="{9B6B44E5-DAA8-4AA7-ABDB-93AEE3DC3CD4}"/>
                    </a:ext>
                  </a:extLst>
                </p:cNvPr>
                <p:cNvSpPr/>
                <p:nvPr/>
              </p:nvSpPr>
              <p:spPr>
                <a:xfrm>
                  <a:off x="4827419" y="4664764"/>
                  <a:ext cx="121169" cy="136001"/>
                </a:xfrm>
                <a:custGeom>
                  <a:avLst/>
                  <a:gdLst>
                    <a:gd name="connsiteX0" fmla="*/ 121169 w 121169"/>
                    <a:gd name="connsiteY0" fmla="*/ 2033 h 136001"/>
                    <a:gd name="connsiteX1" fmla="*/ 2273 w 121169"/>
                    <a:gd name="connsiteY1" fmla="*/ 136002 h 136001"/>
                    <a:gd name="connsiteX2" fmla="*/ 0 w 121169"/>
                    <a:gd name="connsiteY2" fmla="*/ 133968 h 136001"/>
                    <a:gd name="connsiteX3" fmla="*/ 118897 w 121169"/>
                    <a:gd name="connsiteY3" fmla="*/ 0 h 136001"/>
                  </a:gdLst>
                  <a:ahLst/>
                  <a:cxnLst>
                    <a:cxn ang="0">
                      <a:pos x="connsiteX0" y="connsiteY0"/>
                    </a:cxn>
                    <a:cxn ang="0">
                      <a:pos x="connsiteX1" y="connsiteY1"/>
                    </a:cxn>
                    <a:cxn ang="0">
                      <a:pos x="connsiteX2" y="connsiteY2"/>
                    </a:cxn>
                    <a:cxn ang="0">
                      <a:pos x="connsiteX3" y="connsiteY3"/>
                    </a:cxn>
                  </a:cxnLst>
                  <a:rect l="l" t="t" r="r" b="b"/>
                  <a:pathLst>
                    <a:path w="121169" h="136001">
                      <a:moveTo>
                        <a:pt x="121169" y="2033"/>
                      </a:moveTo>
                      <a:lnTo>
                        <a:pt x="2273" y="136002"/>
                      </a:lnTo>
                      <a:lnTo>
                        <a:pt x="0" y="133968"/>
                      </a:lnTo>
                      <a:lnTo>
                        <a:pt x="118897" y="0"/>
                      </a:lnTo>
                      <a:close/>
                    </a:path>
                  </a:pathLst>
                </a:custGeom>
                <a:grpFill/>
                <a:ln w="5978" cap="flat">
                  <a:noFill/>
                  <a:prstDash val="solid"/>
                  <a:miter/>
                </a:ln>
              </p:spPr>
              <p:txBody>
                <a:bodyPr rtlCol="0" anchor="ctr"/>
                <a:lstStyle/>
                <a:p>
                  <a:endParaRPr lang="en-GB"/>
                </a:p>
              </p:txBody>
            </p:sp>
            <p:sp>
              <p:nvSpPr>
                <p:cNvPr id="2203" name="Vrije vorm: vorm 2202">
                  <a:extLst>
                    <a:ext uri="{FF2B5EF4-FFF2-40B4-BE49-F238E27FC236}">
                      <a16:creationId xmlns:a16="http://schemas.microsoft.com/office/drawing/2014/main" id="{84596457-18D2-4619-B454-FD2D3B3234EF}"/>
                    </a:ext>
                  </a:extLst>
                </p:cNvPr>
                <p:cNvSpPr/>
                <p:nvPr/>
              </p:nvSpPr>
              <p:spPr>
                <a:xfrm>
                  <a:off x="4819739" y="4790164"/>
                  <a:ext cx="18310" cy="18450"/>
                </a:xfrm>
                <a:custGeom>
                  <a:avLst/>
                  <a:gdLst>
                    <a:gd name="connsiteX0" fmla="*/ 15993 w 18310"/>
                    <a:gd name="connsiteY0" fmla="*/ 15386 h 18450"/>
                    <a:gd name="connsiteX1" fmla="*/ 3075 w 18310"/>
                    <a:gd name="connsiteY1" fmla="*/ 16103 h 18450"/>
                    <a:gd name="connsiteX2" fmla="*/ 2297 w 18310"/>
                    <a:gd name="connsiteY2" fmla="*/ 3065 h 18450"/>
                    <a:gd name="connsiteX3" fmla="*/ 15215 w 18310"/>
                    <a:gd name="connsiteY3" fmla="*/ 2348 h 18450"/>
                    <a:gd name="connsiteX4" fmla="*/ 15993 w 18310"/>
                    <a:gd name="connsiteY4" fmla="*/ 1538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50">
                      <a:moveTo>
                        <a:pt x="15993" y="15386"/>
                      </a:moveTo>
                      <a:cubicBezTo>
                        <a:pt x="12644" y="19153"/>
                        <a:pt x="6843" y="19512"/>
                        <a:pt x="3075" y="16103"/>
                      </a:cubicBezTo>
                      <a:cubicBezTo>
                        <a:pt x="-693" y="12694"/>
                        <a:pt x="-1052" y="6893"/>
                        <a:pt x="2297" y="3065"/>
                      </a:cubicBezTo>
                      <a:cubicBezTo>
                        <a:pt x="5646" y="-703"/>
                        <a:pt x="11448" y="-1061"/>
                        <a:pt x="15215" y="2348"/>
                      </a:cubicBezTo>
                      <a:cubicBezTo>
                        <a:pt x="19043" y="5817"/>
                        <a:pt x="19342" y="11618"/>
                        <a:pt x="15993" y="15386"/>
                      </a:cubicBezTo>
                      <a:close/>
                    </a:path>
                  </a:pathLst>
                </a:custGeom>
                <a:grpFill/>
                <a:ln w="5978" cap="flat">
                  <a:noFill/>
                  <a:prstDash val="solid"/>
                  <a:miter/>
                </a:ln>
              </p:spPr>
              <p:txBody>
                <a:bodyPr rtlCol="0" anchor="ctr"/>
                <a:lstStyle/>
                <a:p>
                  <a:endParaRPr lang="en-GB"/>
                </a:p>
              </p:txBody>
            </p:sp>
            <p:sp>
              <p:nvSpPr>
                <p:cNvPr id="2204" name="Vrije vorm: vorm 2203">
                  <a:extLst>
                    <a:ext uri="{FF2B5EF4-FFF2-40B4-BE49-F238E27FC236}">
                      <a16:creationId xmlns:a16="http://schemas.microsoft.com/office/drawing/2014/main" id="{75AF71D0-A0B0-4353-9CDD-2D388D356333}"/>
                    </a:ext>
                  </a:extLst>
                </p:cNvPr>
                <p:cNvSpPr/>
                <p:nvPr/>
              </p:nvSpPr>
              <p:spPr>
                <a:xfrm>
                  <a:off x="4937978" y="4656854"/>
                  <a:ext cx="18310" cy="18471"/>
                </a:xfrm>
                <a:custGeom>
                  <a:avLst/>
                  <a:gdLst>
                    <a:gd name="connsiteX0" fmla="*/ 15993 w 18310"/>
                    <a:gd name="connsiteY0" fmla="*/ 15386 h 18471"/>
                    <a:gd name="connsiteX1" fmla="*/ 15215 w 18310"/>
                    <a:gd name="connsiteY1" fmla="*/ 2348 h 18471"/>
                    <a:gd name="connsiteX2" fmla="*/ 2297 w 18310"/>
                    <a:gd name="connsiteY2" fmla="*/ 3065 h 18471"/>
                    <a:gd name="connsiteX3" fmla="*/ 3075 w 18310"/>
                    <a:gd name="connsiteY3" fmla="*/ 16103 h 18471"/>
                    <a:gd name="connsiteX4" fmla="*/ 15993 w 18310"/>
                    <a:gd name="connsiteY4" fmla="*/ 15386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71">
                      <a:moveTo>
                        <a:pt x="15993" y="15386"/>
                      </a:moveTo>
                      <a:cubicBezTo>
                        <a:pt x="19342" y="11618"/>
                        <a:pt x="19043" y="5757"/>
                        <a:pt x="15215" y="2348"/>
                      </a:cubicBezTo>
                      <a:cubicBezTo>
                        <a:pt x="11388" y="-1061"/>
                        <a:pt x="5646" y="-703"/>
                        <a:pt x="2297" y="3065"/>
                      </a:cubicBezTo>
                      <a:cubicBezTo>
                        <a:pt x="-1052" y="6833"/>
                        <a:pt x="-693" y="12694"/>
                        <a:pt x="3075" y="16103"/>
                      </a:cubicBezTo>
                      <a:cubicBezTo>
                        <a:pt x="6843" y="19512"/>
                        <a:pt x="12644" y="19213"/>
                        <a:pt x="15993" y="15386"/>
                      </a:cubicBezTo>
                      <a:close/>
                    </a:path>
                  </a:pathLst>
                </a:custGeom>
                <a:grpFill/>
                <a:ln w="5978" cap="flat">
                  <a:noFill/>
                  <a:prstDash val="solid"/>
                  <a:miter/>
                </a:ln>
              </p:spPr>
              <p:txBody>
                <a:bodyPr rtlCol="0" anchor="ctr"/>
                <a:lstStyle/>
                <a:p>
                  <a:endParaRPr lang="en-GB"/>
                </a:p>
              </p:txBody>
            </p:sp>
          </p:grpSp>
          <p:grpSp>
            <p:nvGrpSpPr>
              <p:cNvPr id="1067" name="Graphic 3">
                <a:extLst>
                  <a:ext uri="{FF2B5EF4-FFF2-40B4-BE49-F238E27FC236}">
                    <a16:creationId xmlns:a16="http://schemas.microsoft.com/office/drawing/2014/main" id="{F90CD0E8-0931-4BD3-B1EA-DEBFDE40BDC2}"/>
                  </a:ext>
                </a:extLst>
              </p:cNvPr>
              <p:cNvGrpSpPr/>
              <p:nvPr/>
            </p:nvGrpSpPr>
            <p:grpSpPr>
              <a:xfrm>
                <a:off x="4172000" y="2907971"/>
                <a:ext cx="239211" cy="77302"/>
                <a:chOff x="4172000" y="2907971"/>
                <a:chExt cx="239211" cy="77302"/>
              </a:xfrm>
              <a:grpFill/>
            </p:grpSpPr>
            <p:sp>
              <p:nvSpPr>
                <p:cNvPr id="2199" name="Vrije vorm: vorm 2198">
                  <a:extLst>
                    <a:ext uri="{FF2B5EF4-FFF2-40B4-BE49-F238E27FC236}">
                      <a16:creationId xmlns:a16="http://schemas.microsoft.com/office/drawing/2014/main" id="{8B5B9103-35FF-48CB-842B-6161FB1338FA}"/>
                    </a:ext>
                  </a:extLst>
                </p:cNvPr>
                <p:cNvSpPr/>
                <p:nvPr/>
              </p:nvSpPr>
              <p:spPr>
                <a:xfrm>
                  <a:off x="4180365" y="2915522"/>
                  <a:ext cx="222482" cy="62139"/>
                </a:xfrm>
                <a:custGeom>
                  <a:avLst/>
                  <a:gdLst>
                    <a:gd name="connsiteX0" fmla="*/ 222483 w 222482"/>
                    <a:gd name="connsiteY0" fmla="*/ 59149 h 62139"/>
                    <a:gd name="connsiteX1" fmla="*/ 221765 w 222482"/>
                    <a:gd name="connsiteY1" fmla="*/ 62140 h 62139"/>
                    <a:gd name="connsiteX2" fmla="*/ 0 w 222482"/>
                    <a:gd name="connsiteY2" fmla="*/ 2990 h 62139"/>
                    <a:gd name="connsiteX3" fmla="*/ 778 w 222482"/>
                    <a:gd name="connsiteY3" fmla="*/ 0 h 62139"/>
                  </a:gdLst>
                  <a:ahLst/>
                  <a:cxnLst>
                    <a:cxn ang="0">
                      <a:pos x="connsiteX0" y="connsiteY0"/>
                    </a:cxn>
                    <a:cxn ang="0">
                      <a:pos x="connsiteX1" y="connsiteY1"/>
                    </a:cxn>
                    <a:cxn ang="0">
                      <a:pos x="connsiteX2" y="connsiteY2"/>
                    </a:cxn>
                    <a:cxn ang="0">
                      <a:pos x="connsiteX3" y="connsiteY3"/>
                    </a:cxn>
                  </a:cxnLst>
                  <a:rect l="l" t="t" r="r" b="b"/>
                  <a:pathLst>
                    <a:path w="222482" h="62139">
                      <a:moveTo>
                        <a:pt x="222483" y="59149"/>
                      </a:moveTo>
                      <a:lnTo>
                        <a:pt x="221765" y="62140"/>
                      </a:lnTo>
                      <a:lnTo>
                        <a:pt x="0" y="2990"/>
                      </a:lnTo>
                      <a:lnTo>
                        <a:pt x="778" y="0"/>
                      </a:lnTo>
                      <a:close/>
                    </a:path>
                  </a:pathLst>
                </a:custGeom>
                <a:grpFill/>
                <a:ln w="5978" cap="flat">
                  <a:noFill/>
                  <a:prstDash val="solid"/>
                  <a:miter/>
                </a:ln>
              </p:spPr>
              <p:txBody>
                <a:bodyPr rtlCol="0" anchor="ctr"/>
                <a:lstStyle/>
                <a:p>
                  <a:endParaRPr lang="en-GB"/>
                </a:p>
              </p:txBody>
            </p:sp>
            <p:sp>
              <p:nvSpPr>
                <p:cNvPr id="2200" name="Vrije vorm: vorm 2199">
                  <a:extLst>
                    <a:ext uri="{FF2B5EF4-FFF2-40B4-BE49-F238E27FC236}">
                      <a16:creationId xmlns:a16="http://schemas.microsoft.com/office/drawing/2014/main" id="{0AAB74B2-5BFC-4D98-B25F-5C2019D58661}"/>
                    </a:ext>
                  </a:extLst>
                </p:cNvPr>
                <p:cNvSpPr/>
                <p:nvPr/>
              </p:nvSpPr>
              <p:spPr>
                <a:xfrm>
                  <a:off x="4172000" y="2907971"/>
                  <a:ext cx="18308" cy="18368"/>
                </a:xfrm>
                <a:custGeom>
                  <a:avLst/>
                  <a:gdLst>
                    <a:gd name="connsiteX0" fmla="*/ 6869 w 18308"/>
                    <a:gd name="connsiteY0" fmla="*/ 18078 h 18368"/>
                    <a:gd name="connsiteX1" fmla="*/ 290 w 18308"/>
                    <a:gd name="connsiteY1" fmla="*/ 6834 h 18368"/>
                    <a:gd name="connsiteX2" fmla="*/ 11474 w 18308"/>
                    <a:gd name="connsiteY2" fmla="*/ 315 h 18368"/>
                    <a:gd name="connsiteX3" fmla="*/ 17994 w 18308"/>
                    <a:gd name="connsiteY3" fmla="*/ 11559 h 18368"/>
                    <a:gd name="connsiteX4" fmla="*/ 6869 w 18308"/>
                    <a:gd name="connsiteY4" fmla="*/ 18078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368">
                      <a:moveTo>
                        <a:pt x="6869" y="18078"/>
                      </a:moveTo>
                      <a:cubicBezTo>
                        <a:pt x="1965" y="16762"/>
                        <a:pt x="-965" y="11738"/>
                        <a:pt x="290" y="6834"/>
                      </a:cubicBezTo>
                      <a:cubicBezTo>
                        <a:pt x="1547" y="1930"/>
                        <a:pt x="6570" y="-1001"/>
                        <a:pt x="11474" y="315"/>
                      </a:cubicBezTo>
                      <a:cubicBezTo>
                        <a:pt x="16379" y="1631"/>
                        <a:pt x="19309" y="6654"/>
                        <a:pt x="17994" y="11559"/>
                      </a:cubicBezTo>
                      <a:cubicBezTo>
                        <a:pt x="16737" y="16403"/>
                        <a:pt x="11774" y="19333"/>
                        <a:pt x="6869" y="18078"/>
                      </a:cubicBezTo>
                      <a:close/>
                    </a:path>
                  </a:pathLst>
                </a:custGeom>
                <a:grpFill/>
                <a:ln w="5978" cap="flat">
                  <a:noFill/>
                  <a:prstDash val="solid"/>
                  <a:miter/>
                </a:ln>
              </p:spPr>
              <p:txBody>
                <a:bodyPr rtlCol="0" anchor="ctr"/>
                <a:lstStyle/>
                <a:p>
                  <a:endParaRPr lang="en-GB"/>
                </a:p>
              </p:txBody>
            </p:sp>
            <p:sp>
              <p:nvSpPr>
                <p:cNvPr id="2201" name="Vrije vorm: vorm 2200">
                  <a:extLst>
                    <a:ext uri="{FF2B5EF4-FFF2-40B4-BE49-F238E27FC236}">
                      <a16:creationId xmlns:a16="http://schemas.microsoft.com/office/drawing/2014/main" id="{E366855B-F80C-41BC-97CB-CF1DDB631650}"/>
                    </a:ext>
                  </a:extLst>
                </p:cNvPr>
                <p:cNvSpPr/>
                <p:nvPr/>
              </p:nvSpPr>
              <p:spPr>
                <a:xfrm>
                  <a:off x="4392868" y="2966881"/>
                  <a:ext cx="18343" cy="18392"/>
                </a:xfrm>
                <a:custGeom>
                  <a:avLst/>
                  <a:gdLst>
                    <a:gd name="connsiteX0" fmla="*/ 6869 w 18343"/>
                    <a:gd name="connsiteY0" fmla="*/ 18078 h 18392"/>
                    <a:gd name="connsiteX1" fmla="*/ 18053 w 18343"/>
                    <a:gd name="connsiteY1" fmla="*/ 11558 h 18392"/>
                    <a:gd name="connsiteX2" fmla="*/ 11474 w 18343"/>
                    <a:gd name="connsiteY2" fmla="*/ 315 h 18392"/>
                    <a:gd name="connsiteX3" fmla="*/ 290 w 18343"/>
                    <a:gd name="connsiteY3" fmla="*/ 6834 h 18392"/>
                    <a:gd name="connsiteX4" fmla="*/ 6869 w 18343"/>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6869" y="18078"/>
                      </a:moveTo>
                      <a:cubicBezTo>
                        <a:pt x="11774" y="19393"/>
                        <a:pt x="16797" y="16463"/>
                        <a:pt x="18053" y="11558"/>
                      </a:cubicBezTo>
                      <a:cubicBezTo>
                        <a:pt x="19309" y="6654"/>
                        <a:pt x="16379" y="1571"/>
                        <a:pt x="11474" y="315"/>
                      </a:cubicBezTo>
                      <a:cubicBezTo>
                        <a:pt x="6571" y="-1001"/>
                        <a:pt x="1547" y="1930"/>
                        <a:pt x="290" y="6834"/>
                      </a:cubicBezTo>
                      <a:cubicBezTo>
                        <a:pt x="-965" y="11738"/>
                        <a:pt x="1965" y="16762"/>
                        <a:pt x="6869" y="18078"/>
                      </a:cubicBezTo>
                      <a:close/>
                    </a:path>
                  </a:pathLst>
                </a:custGeom>
                <a:grpFill/>
                <a:ln w="5978" cap="flat">
                  <a:noFill/>
                  <a:prstDash val="solid"/>
                  <a:miter/>
                </a:ln>
              </p:spPr>
              <p:txBody>
                <a:bodyPr rtlCol="0" anchor="ctr"/>
                <a:lstStyle/>
                <a:p>
                  <a:endParaRPr lang="en-GB"/>
                </a:p>
              </p:txBody>
            </p:sp>
          </p:grpSp>
          <p:grpSp>
            <p:nvGrpSpPr>
              <p:cNvPr id="1068" name="Graphic 3">
                <a:extLst>
                  <a:ext uri="{FF2B5EF4-FFF2-40B4-BE49-F238E27FC236}">
                    <a16:creationId xmlns:a16="http://schemas.microsoft.com/office/drawing/2014/main" id="{F5B0908E-0C2A-4FCA-8AAF-E923BB55C4C1}"/>
                  </a:ext>
                </a:extLst>
              </p:cNvPr>
              <p:cNvGrpSpPr/>
              <p:nvPr/>
            </p:nvGrpSpPr>
            <p:grpSpPr>
              <a:xfrm>
                <a:off x="4827612" y="4728902"/>
                <a:ext cx="191142" cy="236727"/>
                <a:chOff x="4827612" y="4728902"/>
                <a:chExt cx="191142" cy="236727"/>
              </a:xfrm>
              <a:grpFill/>
            </p:grpSpPr>
            <p:sp>
              <p:nvSpPr>
                <p:cNvPr id="2196" name="Vrije vorm: vorm 2195">
                  <a:extLst>
                    <a:ext uri="{FF2B5EF4-FFF2-40B4-BE49-F238E27FC236}">
                      <a16:creationId xmlns:a16="http://schemas.microsoft.com/office/drawing/2014/main" id="{E504409E-7578-4AD3-ABDF-5B1A1A63353A}"/>
                    </a:ext>
                  </a:extLst>
                </p:cNvPr>
                <p:cNvSpPr/>
                <p:nvPr/>
              </p:nvSpPr>
              <p:spPr>
                <a:xfrm>
                  <a:off x="4835314" y="4736771"/>
                  <a:ext cx="175713" cy="220987"/>
                </a:xfrm>
                <a:custGeom>
                  <a:avLst/>
                  <a:gdLst>
                    <a:gd name="connsiteX0" fmla="*/ 175713 w 175713"/>
                    <a:gd name="connsiteY0" fmla="*/ 1914 h 220987"/>
                    <a:gd name="connsiteX1" fmla="*/ 2392 w 175713"/>
                    <a:gd name="connsiteY1" fmla="*/ 220988 h 220987"/>
                    <a:gd name="connsiteX2" fmla="*/ 0 w 175713"/>
                    <a:gd name="connsiteY2" fmla="*/ 219074 h 220987"/>
                    <a:gd name="connsiteX3" fmla="*/ 173321 w 175713"/>
                    <a:gd name="connsiteY3" fmla="*/ 0 h 220987"/>
                  </a:gdLst>
                  <a:ahLst/>
                  <a:cxnLst>
                    <a:cxn ang="0">
                      <a:pos x="connsiteX0" y="connsiteY0"/>
                    </a:cxn>
                    <a:cxn ang="0">
                      <a:pos x="connsiteX1" y="connsiteY1"/>
                    </a:cxn>
                    <a:cxn ang="0">
                      <a:pos x="connsiteX2" y="connsiteY2"/>
                    </a:cxn>
                    <a:cxn ang="0">
                      <a:pos x="connsiteX3" y="connsiteY3"/>
                    </a:cxn>
                  </a:cxnLst>
                  <a:rect l="l" t="t" r="r" b="b"/>
                  <a:pathLst>
                    <a:path w="175713" h="220987">
                      <a:moveTo>
                        <a:pt x="175713" y="1914"/>
                      </a:moveTo>
                      <a:lnTo>
                        <a:pt x="2392" y="220988"/>
                      </a:lnTo>
                      <a:lnTo>
                        <a:pt x="0" y="219074"/>
                      </a:lnTo>
                      <a:lnTo>
                        <a:pt x="173321" y="0"/>
                      </a:lnTo>
                      <a:close/>
                    </a:path>
                  </a:pathLst>
                </a:custGeom>
                <a:grpFill/>
                <a:ln w="5978" cap="flat">
                  <a:noFill/>
                  <a:prstDash val="solid"/>
                  <a:miter/>
                </a:ln>
              </p:spPr>
              <p:txBody>
                <a:bodyPr rtlCol="0" anchor="ctr"/>
                <a:lstStyle/>
                <a:p>
                  <a:endParaRPr lang="en-GB"/>
                </a:p>
              </p:txBody>
            </p:sp>
            <p:sp>
              <p:nvSpPr>
                <p:cNvPr id="2197" name="Vrije vorm: vorm 2196">
                  <a:extLst>
                    <a:ext uri="{FF2B5EF4-FFF2-40B4-BE49-F238E27FC236}">
                      <a16:creationId xmlns:a16="http://schemas.microsoft.com/office/drawing/2014/main" id="{B6119F93-E56D-4A69-93B9-3598880F6262}"/>
                    </a:ext>
                  </a:extLst>
                </p:cNvPr>
                <p:cNvSpPr/>
                <p:nvPr/>
              </p:nvSpPr>
              <p:spPr>
                <a:xfrm>
                  <a:off x="4827612" y="4947198"/>
                  <a:ext cx="18318" cy="18431"/>
                </a:xfrm>
                <a:custGeom>
                  <a:avLst/>
                  <a:gdLst>
                    <a:gd name="connsiteX0" fmla="*/ 16314 w 18318"/>
                    <a:gd name="connsiteY0" fmla="*/ 14987 h 18431"/>
                    <a:gd name="connsiteX1" fmla="*/ 3456 w 18318"/>
                    <a:gd name="connsiteY1" fmla="*/ 16422 h 18431"/>
                    <a:gd name="connsiteX2" fmla="*/ 1960 w 18318"/>
                    <a:gd name="connsiteY2" fmla="*/ 3444 h 18431"/>
                    <a:gd name="connsiteX3" fmla="*/ 14819 w 18318"/>
                    <a:gd name="connsiteY3" fmla="*/ 2009 h 18431"/>
                    <a:gd name="connsiteX4" fmla="*/ 16314 w 18318"/>
                    <a:gd name="connsiteY4" fmla="*/ 14987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1">
                      <a:moveTo>
                        <a:pt x="16314" y="14987"/>
                      </a:moveTo>
                      <a:cubicBezTo>
                        <a:pt x="13144" y="18934"/>
                        <a:pt x="7403" y="19592"/>
                        <a:pt x="3456" y="16422"/>
                      </a:cubicBezTo>
                      <a:cubicBezTo>
                        <a:pt x="-492" y="13253"/>
                        <a:pt x="-1150" y="7451"/>
                        <a:pt x="1960" y="3444"/>
                      </a:cubicBezTo>
                      <a:cubicBezTo>
                        <a:pt x="5130" y="-503"/>
                        <a:pt x="10872" y="-1161"/>
                        <a:pt x="14819" y="2009"/>
                      </a:cubicBezTo>
                      <a:cubicBezTo>
                        <a:pt x="18826" y="5178"/>
                        <a:pt x="19484" y="10980"/>
                        <a:pt x="16314" y="14987"/>
                      </a:cubicBezTo>
                      <a:close/>
                    </a:path>
                  </a:pathLst>
                </a:custGeom>
                <a:grpFill/>
                <a:ln w="5978" cap="flat">
                  <a:noFill/>
                  <a:prstDash val="solid"/>
                  <a:miter/>
                </a:ln>
              </p:spPr>
              <p:txBody>
                <a:bodyPr rtlCol="0" anchor="ctr"/>
                <a:lstStyle/>
                <a:p>
                  <a:endParaRPr lang="en-GB"/>
                </a:p>
              </p:txBody>
            </p:sp>
            <p:sp>
              <p:nvSpPr>
                <p:cNvPr id="2198" name="Vrije vorm: vorm 2197">
                  <a:extLst>
                    <a:ext uri="{FF2B5EF4-FFF2-40B4-BE49-F238E27FC236}">
                      <a16:creationId xmlns:a16="http://schemas.microsoft.com/office/drawing/2014/main" id="{5CB4C893-4288-4E8A-B6F9-D89FF9DD10B0}"/>
                    </a:ext>
                  </a:extLst>
                </p:cNvPr>
                <p:cNvSpPr/>
                <p:nvPr/>
              </p:nvSpPr>
              <p:spPr>
                <a:xfrm>
                  <a:off x="5000429" y="4728902"/>
                  <a:ext cx="18324" cy="18390"/>
                </a:xfrm>
                <a:custGeom>
                  <a:avLst/>
                  <a:gdLst>
                    <a:gd name="connsiteX0" fmla="*/ 16339 w 18324"/>
                    <a:gd name="connsiteY0" fmla="*/ 14927 h 18390"/>
                    <a:gd name="connsiteX1" fmla="*/ 14844 w 18324"/>
                    <a:gd name="connsiteY1" fmla="*/ 2009 h 18390"/>
                    <a:gd name="connsiteX2" fmla="*/ 1985 w 18324"/>
                    <a:gd name="connsiteY2" fmla="*/ 3444 h 18390"/>
                    <a:gd name="connsiteX3" fmla="*/ 3481 w 18324"/>
                    <a:gd name="connsiteY3" fmla="*/ 16363 h 18390"/>
                    <a:gd name="connsiteX4" fmla="*/ 16339 w 18324"/>
                    <a:gd name="connsiteY4" fmla="*/ 14927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0">
                      <a:moveTo>
                        <a:pt x="16339" y="14927"/>
                      </a:moveTo>
                      <a:cubicBezTo>
                        <a:pt x="19509" y="10980"/>
                        <a:pt x="18792" y="5178"/>
                        <a:pt x="14844" y="2009"/>
                      </a:cubicBezTo>
                      <a:cubicBezTo>
                        <a:pt x="10897" y="-1161"/>
                        <a:pt x="5095" y="-503"/>
                        <a:pt x="1985" y="3444"/>
                      </a:cubicBezTo>
                      <a:cubicBezTo>
                        <a:pt x="-1184" y="7392"/>
                        <a:pt x="-467" y="13193"/>
                        <a:pt x="3481" y="16363"/>
                      </a:cubicBezTo>
                      <a:cubicBezTo>
                        <a:pt x="7428" y="19532"/>
                        <a:pt x="13170" y="18934"/>
                        <a:pt x="16339" y="14927"/>
                      </a:cubicBezTo>
                      <a:close/>
                    </a:path>
                  </a:pathLst>
                </a:custGeom>
                <a:grpFill/>
                <a:ln w="5978" cap="flat">
                  <a:noFill/>
                  <a:prstDash val="solid"/>
                  <a:miter/>
                </a:ln>
              </p:spPr>
              <p:txBody>
                <a:bodyPr rtlCol="0" anchor="ctr"/>
                <a:lstStyle/>
                <a:p>
                  <a:endParaRPr lang="en-GB"/>
                </a:p>
              </p:txBody>
            </p:sp>
          </p:grpSp>
          <p:grpSp>
            <p:nvGrpSpPr>
              <p:cNvPr id="1069" name="Graphic 3">
                <a:extLst>
                  <a:ext uri="{FF2B5EF4-FFF2-40B4-BE49-F238E27FC236}">
                    <a16:creationId xmlns:a16="http://schemas.microsoft.com/office/drawing/2014/main" id="{DEBB1B73-4A6C-41EC-B390-B0725F6E58E5}"/>
                  </a:ext>
                </a:extLst>
              </p:cNvPr>
              <p:cNvGrpSpPr/>
              <p:nvPr/>
            </p:nvGrpSpPr>
            <p:grpSpPr>
              <a:xfrm>
                <a:off x="4290044" y="3111562"/>
                <a:ext cx="112511" cy="34225"/>
                <a:chOff x="4290044" y="3111562"/>
                <a:chExt cx="112511" cy="34225"/>
              </a:xfrm>
              <a:grpFill/>
            </p:grpSpPr>
            <p:sp>
              <p:nvSpPr>
                <p:cNvPr id="2193" name="Vrije vorm: vorm 2192">
                  <a:extLst>
                    <a:ext uri="{FF2B5EF4-FFF2-40B4-BE49-F238E27FC236}">
                      <a16:creationId xmlns:a16="http://schemas.microsoft.com/office/drawing/2014/main" id="{CB725AAF-76AE-4838-89C2-E0DD319909C2}"/>
                    </a:ext>
                  </a:extLst>
                </p:cNvPr>
                <p:cNvSpPr/>
                <p:nvPr/>
              </p:nvSpPr>
              <p:spPr>
                <a:xfrm>
                  <a:off x="4298484" y="3119106"/>
                  <a:ext cx="95571" cy="19078"/>
                </a:xfrm>
                <a:custGeom>
                  <a:avLst/>
                  <a:gdLst>
                    <a:gd name="connsiteX0" fmla="*/ 95572 w 95571"/>
                    <a:gd name="connsiteY0" fmla="*/ 16088 h 19078"/>
                    <a:gd name="connsiteX1" fmla="*/ 95093 w 95571"/>
                    <a:gd name="connsiteY1" fmla="*/ 19079 h 19078"/>
                    <a:gd name="connsiteX2" fmla="*/ 0 w 95571"/>
                    <a:gd name="connsiteY2" fmla="*/ 3050 h 19078"/>
                    <a:gd name="connsiteX3" fmla="*/ 538 w 95571"/>
                    <a:gd name="connsiteY3" fmla="*/ 0 h 19078"/>
                  </a:gdLst>
                  <a:ahLst/>
                  <a:cxnLst>
                    <a:cxn ang="0">
                      <a:pos x="connsiteX0" y="connsiteY0"/>
                    </a:cxn>
                    <a:cxn ang="0">
                      <a:pos x="connsiteX1" y="connsiteY1"/>
                    </a:cxn>
                    <a:cxn ang="0">
                      <a:pos x="connsiteX2" y="connsiteY2"/>
                    </a:cxn>
                    <a:cxn ang="0">
                      <a:pos x="connsiteX3" y="connsiteY3"/>
                    </a:cxn>
                  </a:cxnLst>
                  <a:rect l="l" t="t" r="r" b="b"/>
                  <a:pathLst>
                    <a:path w="95571" h="19078">
                      <a:moveTo>
                        <a:pt x="95572" y="16088"/>
                      </a:moveTo>
                      <a:lnTo>
                        <a:pt x="95093" y="19079"/>
                      </a:lnTo>
                      <a:lnTo>
                        <a:pt x="0" y="3050"/>
                      </a:lnTo>
                      <a:lnTo>
                        <a:pt x="538" y="0"/>
                      </a:lnTo>
                      <a:close/>
                    </a:path>
                  </a:pathLst>
                </a:custGeom>
                <a:grpFill/>
                <a:ln w="5978" cap="flat">
                  <a:noFill/>
                  <a:prstDash val="solid"/>
                  <a:miter/>
                </a:ln>
              </p:spPr>
              <p:txBody>
                <a:bodyPr rtlCol="0" anchor="ctr"/>
                <a:lstStyle/>
                <a:p>
                  <a:endParaRPr lang="en-GB"/>
                </a:p>
              </p:txBody>
            </p:sp>
            <p:sp>
              <p:nvSpPr>
                <p:cNvPr id="2194" name="Vrije vorm: vorm 2193">
                  <a:extLst>
                    <a:ext uri="{FF2B5EF4-FFF2-40B4-BE49-F238E27FC236}">
                      <a16:creationId xmlns:a16="http://schemas.microsoft.com/office/drawing/2014/main" id="{38360CBC-5FD9-473E-8E65-662E422B8A35}"/>
                    </a:ext>
                  </a:extLst>
                </p:cNvPr>
                <p:cNvSpPr/>
                <p:nvPr/>
              </p:nvSpPr>
              <p:spPr>
                <a:xfrm>
                  <a:off x="4290044" y="3111562"/>
                  <a:ext cx="18314" cy="18376"/>
                </a:xfrm>
                <a:custGeom>
                  <a:avLst/>
                  <a:gdLst>
                    <a:gd name="connsiteX0" fmla="*/ 7662 w 18314"/>
                    <a:gd name="connsiteY0" fmla="*/ 18250 h 18376"/>
                    <a:gd name="connsiteX1" fmla="*/ 127 w 18314"/>
                    <a:gd name="connsiteY1" fmla="*/ 7664 h 18376"/>
                    <a:gd name="connsiteX2" fmla="*/ 10653 w 18314"/>
                    <a:gd name="connsiteY2" fmla="*/ 128 h 18376"/>
                    <a:gd name="connsiteX3" fmla="*/ 18188 w 18314"/>
                    <a:gd name="connsiteY3" fmla="*/ 10714 h 18376"/>
                    <a:gd name="connsiteX4" fmla="*/ 7662 w 18314"/>
                    <a:gd name="connsiteY4" fmla="*/ 18250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76">
                      <a:moveTo>
                        <a:pt x="7662" y="18250"/>
                      </a:moveTo>
                      <a:cubicBezTo>
                        <a:pt x="2698" y="17412"/>
                        <a:pt x="-711" y="12628"/>
                        <a:pt x="127" y="7664"/>
                      </a:cubicBezTo>
                      <a:cubicBezTo>
                        <a:pt x="964" y="2640"/>
                        <a:pt x="5629" y="-709"/>
                        <a:pt x="10653" y="128"/>
                      </a:cubicBezTo>
                      <a:cubicBezTo>
                        <a:pt x="15616" y="965"/>
                        <a:pt x="19025" y="5750"/>
                        <a:pt x="18188" y="10714"/>
                      </a:cubicBezTo>
                      <a:cubicBezTo>
                        <a:pt x="17411" y="15678"/>
                        <a:pt x="12686" y="19087"/>
                        <a:pt x="7662" y="18250"/>
                      </a:cubicBezTo>
                      <a:close/>
                    </a:path>
                  </a:pathLst>
                </a:custGeom>
                <a:grpFill/>
                <a:ln w="5978" cap="flat">
                  <a:noFill/>
                  <a:prstDash val="solid"/>
                  <a:miter/>
                </a:ln>
              </p:spPr>
              <p:txBody>
                <a:bodyPr rtlCol="0" anchor="ctr"/>
                <a:lstStyle/>
                <a:p>
                  <a:endParaRPr lang="en-GB"/>
                </a:p>
              </p:txBody>
            </p:sp>
            <p:sp>
              <p:nvSpPr>
                <p:cNvPr id="2195" name="Vrije vorm: vorm 2194">
                  <a:extLst>
                    <a:ext uri="{FF2B5EF4-FFF2-40B4-BE49-F238E27FC236}">
                      <a16:creationId xmlns:a16="http://schemas.microsoft.com/office/drawing/2014/main" id="{941B13BC-6E0E-4A0D-80DD-D6870C028AF0}"/>
                    </a:ext>
                  </a:extLst>
                </p:cNvPr>
                <p:cNvSpPr/>
                <p:nvPr/>
              </p:nvSpPr>
              <p:spPr>
                <a:xfrm>
                  <a:off x="4384239" y="3127411"/>
                  <a:ext cx="18316" cy="18376"/>
                </a:xfrm>
                <a:custGeom>
                  <a:avLst/>
                  <a:gdLst>
                    <a:gd name="connsiteX0" fmla="*/ 7664 w 18316"/>
                    <a:gd name="connsiteY0" fmla="*/ 18250 h 18376"/>
                    <a:gd name="connsiteX1" fmla="*/ 18190 w 18316"/>
                    <a:gd name="connsiteY1" fmla="*/ 10714 h 18376"/>
                    <a:gd name="connsiteX2" fmla="*/ 10654 w 18316"/>
                    <a:gd name="connsiteY2" fmla="*/ 128 h 18376"/>
                    <a:gd name="connsiteX3" fmla="*/ 128 w 18316"/>
                    <a:gd name="connsiteY3" fmla="*/ 7664 h 18376"/>
                    <a:gd name="connsiteX4" fmla="*/ 7664 w 18316"/>
                    <a:gd name="connsiteY4" fmla="*/ 18250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76">
                      <a:moveTo>
                        <a:pt x="7664" y="18250"/>
                      </a:moveTo>
                      <a:cubicBezTo>
                        <a:pt x="12628" y="19087"/>
                        <a:pt x="17353" y="15678"/>
                        <a:pt x="18190" y="10714"/>
                      </a:cubicBezTo>
                      <a:cubicBezTo>
                        <a:pt x="19027" y="5690"/>
                        <a:pt x="15618" y="965"/>
                        <a:pt x="10654" y="128"/>
                      </a:cubicBezTo>
                      <a:cubicBezTo>
                        <a:pt x="5630" y="-709"/>
                        <a:pt x="966" y="2640"/>
                        <a:pt x="128" y="7664"/>
                      </a:cubicBezTo>
                      <a:cubicBezTo>
                        <a:pt x="-709" y="12688"/>
                        <a:pt x="2640" y="17412"/>
                        <a:pt x="7664" y="18250"/>
                      </a:cubicBezTo>
                      <a:close/>
                    </a:path>
                  </a:pathLst>
                </a:custGeom>
                <a:grpFill/>
                <a:ln w="5978" cap="flat">
                  <a:noFill/>
                  <a:prstDash val="solid"/>
                  <a:miter/>
                </a:ln>
              </p:spPr>
              <p:txBody>
                <a:bodyPr rtlCol="0" anchor="ctr"/>
                <a:lstStyle/>
                <a:p>
                  <a:endParaRPr lang="en-GB"/>
                </a:p>
              </p:txBody>
            </p:sp>
          </p:grpSp>
          <p:grpSp>
            <p:nvGrpSpPr>
              <p:cNvPr id="1070" name="Graphic 3">
                <a:extLst>
                  <a:ext uri="{FF2B5EF4-FFF2-40B4-BE49-F238E27FC236}">
                    <a16:creationId xmlns:a16="http://schemas.microsoft.com/office/drawing/2014/main" id="{28583572-F871-47CE-939B-E7D943605FFF}"/>
                  </a:ext>
                </a:extLst>
              </p:cNvPr>
              <p:cNvGrpSpPr/>
              <p:nvPr/>
            </p:nvGrpSpPr>
            <p:grpSpPr>
              <a:xfrm>
                <a:off x="4819037" y="4746703"/>
                <a:ext cx="225669" cy="290715"/>
                <a:chOff x="4819037" y="4746703"/>
                <a:chExt cx="225669" cy="290715"/>
              </a:xfrm>
              <a:grpFill/>
            </p:grpSpPr>
            <p:sp>
              <p:nvSpPr>
                <p:cNvPr id="2190" name="Vrije vorm: vorm 2189">
                  <a:extLst>
                    <a:ext uri="{FF2B5EF4-FFF2-40B4-BE49-F238E27FC236}">
                      <a16:creationId xmlns:a16="http://schemas.microsoft.com/office/drawing/2014/main" id="{3E51B147-0A69-4B43-B621-9EBE96B121C4}"/>
                    </a:ext>
                  </a:extLst>
                </p:cNvPr>
                <p:cNvSpPr/>
                <p:nvPr/>
              </p:nvSpPr>
              <p:spPr>
                <a:xfrm>
                  <a:off x="4826761" y="4754594"/>
                  <a:ext cx="210282" cy="274933"/>
                </a:xfrm>
                <a:custGeom>
                  <a:avLst/>
                  <a:gdLst>
                    <a:gd name="connsiteX0" fmla="*/ 210282 w 210282"/>
                    <a:gd name="connsiteY0" fmla="*/ 1914 h 274933"/>
                    <a:gd name="connsiteX1" fmla="*/ 2392 w 210282"/>
                    <a:gd name="connsiteY1" fmla="*/ 274934 h 274933"/>
                    <a:gd name="connsiteX2" fmla="*/ 0 w 210282"/>
                    <a:gd name="connsiteY2" fmla="*/ 273020 h 274933"/>
                    <a:gd name="connsiteX3" fmla="*/ 207890 w 210282"/>
                    <a:gd name="connsiteY3" fmla="*/ 0 h 274933"/>
                  </a:gdLst>
                  <a:ahLst/>
                  <a:cxnLst>
                    <a:cxn ang="0">
                      <a:pos x="connsiteX0" y="connsiteY0"/>
                    </a:cxn>
                    <a:cxn ang="0">
                      <a:pos x="connsiteX1" y="connsiteY1"/>
                    </a:cxn>
                    <a:cxn ang="0">
                      <a:pos x="connsiteX2" y="connsiteY2"/>
                    </a:cxn>
                    <a:cxn ang="0">
                      <a:pos x="connsiteX3" y="connsiteY3"/>
                    </a:cxn>
                  </a:cxnLst>
                  <a:rect l="l" t="t" r="r" b="b"/>
                  <a:pathLst>
                    <a:path w="210282" h="274933">
                      <a:moveTo>
                        <a:pt x="210282" y="1914"/>
                      </a:moveTo>
                      <a:lnTo>
                        <a:pt x="2392" y="274934"/>
                      </a:lnTo>
                      <a:lnTo>
                        <a:pt x="0" y="273020"/>
                      </a:lnTo>
                      <a:lnTo>
                        <a:pt x="207890" y="0"/>
                      </a:lnTo>
                      <a:close/>
                    </a:path>
                  </a:pathLst>
                </a:custGeom>
                <a:grpFill/>
                <a:ln w="5978" cap="flat">
                  <a:noFill/>
                  <a:prstDash val="solid"/>
                  <a:miter/>
                </a:ln>
              </p:spPr>
              <p:txBody>
                <a:bodyPr rtlCol="0" anchor="ctr"/>
                <a:lstStyle/>
                <a:p>
                  <a:endParaRPr lang="en-GB"/>
                </a:p>
              </p:txBody>
            </p:sp>
            <p:sp>
              <p:nvSpPr>
                <p:cNvPr id="2191" name="Vrije vorm: vorm 2190">
                  <a:extLst>
                    <a:ext uri="{FF2B5EF4-FFF2-40B4-BE49-F238E27FC236}">
                      <a16:creationId xmlns:a16="http://schemas.microsoft.com/office/drawing/2014/main" id="{3FA457CF-F23E-45A0-BE6D-4664CBDAB03F}"/>
                    </a:ext>
                  </a:extLst>
                </p:cNvPr>
                <p:cNvSpPr/>
                <p:nvPr/>
              </p:nvSpPr>
              <p:spPr>
                <a:xfrm>
                  <a:off x="4819037" y="5019005"/>
                  <a:ext cx="18361" cy="18413"/>
                </a:xfrm>
                <a:custGeom>
                  <a:avLst/>
                  <a:gdLst>
                    <a:gd name="connsiteX0" fmla="*/ 16456 w 18361"/>
                    <a:gd name="connsiteY0" fmla="*/ 14829 h 18413"/>
                    <a:gd name="connsiteX1" fmla="*/ 3597 w 18361"/>
                    <a:gd name="connsiteY1" fmla="*/ 16503 h 18413"/>
                    <a:gd name="connsiteX2" fmla="*/ 1863 w 18361"/>
                    <a:gd name="connsiteY2" fmla="*/ 3585 h 18413"/>
                    <a:gd name="connsiteX3" fmla="*/ 14721 w 18361"/>
                    <a:gd name="connsiteY3" fmla="*/ 1910 h 18413"/>
                    <a:gd name="connsiteX4" fmla="*/ 16456 w 18361"/>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3">
                      <a:moveTo>
                        <a:pt x="16456" y="14829"/>
                      </a:moveTo>
                      <a:cubicBezTo>
                        <a:pt x="13405" y="18836"/>
                        <a:pt x="7604" y="19614"/>
                        <a:pt x="3597" y="16503"/>
                      </a:cubicBezTo>
                      <a:cubicBezTo>
                        <a:pt x="-410" y="13393"/>
                        <a:pt x="-1188" y="7592"/>
                        <a:pt x="1863" y="3585"/>
                      </a:cubicBezTo>
                      <a:cubicBezTo>
                        <a:pt x="4913" y="-422"/>
                        <a:pt x="10714" y="-1200"/>
                        <a:pt x="14721" y="1910"/>
                      </a:cubicBezTo>
                      <a:cubicBezTo>
                        <a:pt x="18788" y="5021"/>
                        <a:pt x="19566" y="10762"/>
                        <a:pt x="16456" y="14829"/>
                      </a:cubicBezTo>
                      <a:close/>
                    </a:path>
                  </a:pathLst>
                </a:custGeom>
                <a:grpFill/>
                <a:ln w="5978" cap="flat">
                  <a:noFill/>
                  <a:prstDash val="solid"/>
                  <a:miter/>
                </a:ln>
              </p:spPr>
              <p:txBody>
                <a:bodyPr rtlCol="0" anchor="ctr"/>
                <a:lstStyle/>
                <a:p>
                  <a:endParaRPr lang="en-GB"/>
                </a:p>
              </p:txBody>
            </p:sp>
            <p:sp>
              <p:nvSpPr>
                <p:cNvPr id="2192" name="Vrije vorm: vorm 2191">
                  <a:extLst>
                    <a:ext uri="{FF2B5EF4-FFF2-40B4-BE49-F238E27FC236}">
                      <a16:creationId xmlns:a16="http://schemas.microsoft.com/office/drawing/2014/main" id="{D9172976-E25B-470C-A3FE-C5C7017C9E62}"/>
                    </a:ext>
                  </a:extLst>
                </p:cNvPr>
                <p:cNvSpPr/>
                <p:nvPr/>
              </p:nvSpPr>
              <p:spPr>
                <a:xfrm>
                  <a:off x="5026389" y="4746703"/>
                  <a:ext cx="18318" cy="18413"/>
                </a:xfrm>
                <a:custGeom>
                  <a:avLst/>
                  <a:gdLst>
                    <a:gd name="connsiteX0" fmla="*/ 16456 w 18318"/>
                    <a:gd name="connsiteY0" fmla="*/ 14829 h 18413"/>
                    <a:gd name="connsiteX1" fmla="*/ 14721 w 18318"/>
                    <a:gd name="connsiteY1" fmla="*/ 1910 h 18413"/>
                    <a:gd name="connsiteX2" fmla="*/ 1863 w 18318"/>
                    <a:gd name="connsiteY2" fmla="*/ 3585 h 18413"/>
                    <a:gd name="connsiteX3" fmla="*/ 3597 w 18318"/>
                    <a:gd name="connsiteY3" fmla="*/ 16503 h 18413"/>
                    <a:gd name="connsiteX4" fmla="*/ 16456 w 1831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6456" y="14829"/>
                      </a:moveTo>
                      <a:cubicBezTo>
                        <a:pt x="19506" y="10822"/>
                        <a:pt x="18728" y="5020"/>
                        <a:pt x="14721" y="1910"/>
                      </a:cubicBezTo>
                      <a:cubicBezTo>
                        <a:pt x="10714" y="-1200"/>
                        <a:pt x="4973" y="-422"/>
                        <a:pt x="1863" y="3585"/>
                      </a:cubicBezTo>
                      <a:cubicBezTo>
                        <a:pt x="-1187" y="7592"/>
                        <a:pt x="-410" y="13393"/>
                        <a:pt x="3597" y="16503"/>
                      </a:cubicBezTo>
                      <a:cubicBezTo>
                        <a:pt x="7664" y="19613"/>
                        <a:pt x="13405" y="18836"/>
                        <a:pt x="16456" y="14829"/>
                      </a:cubicBezTo>
                      <a:close/>
                    </a:path>
                  </a:pathLst>
                </a:custGeom>
                <a:grpFill/>
                <a:ln w="5978" cap="flat">
                  <a:noFill/>
                  <a:prstDash val="solid"/>
                  <a:miter/>
                </a:ln>
              </p:spPr>
              <p:txBody>
                <a:bodyPr rtlCol="0" anchor="ctr"/>
                <a:lstStyle/>
                <a:p>
                  <a:endParaRPr lang="en-GB"/>
                </a:p>
              </p:txBody>
            </p:sp>
          </p:grpSp>
          <p:grpSp>
            <p:nvGrpSpPr>
              <p:cNvPr id="1071" name="Graphic 3">
                <a:extLst>
                  <a:ext uri="{FF2B5EF4-FFF2-40B4-BE49-F238E27FC236}">
                    <a16:creationId xmlns:a16="http://schemas.microsoft.com/office/drawing/2014/main" id="{31E3FF48-F5A0-487D-ADE7-192C612DC7C1}"/>
                  </a:ext>
                </a:extLst>
              </p:cNvPr>
              <p:cNvGrpSpPr/>
              <p:nvPr/>
            </p:nvGrpSpPr>
            <p:grpSpPr>
              <a:xfrm>
                <a:off x="4811653" y="4782058"/>
                <a:ext cx="284038" cy="330663"/>
                <a:chOff x="4811653" y="4782058"/>
                <a:chExt cx="284038" cy="330663"/>
              </a:xfrm>
              <a:grpFill/>
            </p:grpSpPr>
            <p:sp>
              <p:nvSpPr>
                <p:cNvPr id="2187" name="Vrije vorm: vorm 2186">
                  <a:extLst>
                    <a:ext uri="{FF2B5EF4-FFF2-40B4-BE49-F238E27FC236}">
                      <a16:creationId xmlns:a16="http://schemas.microsoft.com/office/drawing/2014/main" id="{A48EA767-6A18-4DC3-818C-3ACA297A4930}"/>
                    </a:ext>
                  </a:extLst>
                </p:cNvPr>
                <p:cNvSpPr/>
                <p:nvPr/>
              </p:nvSpPr>
              <p:spPr>
                <a:xfrm>
                  <a:off x="4819345" y="4789940"/>
                  <a:ext cx="268654" cy="314885"/>
                </a:xfrm>
                <a:custGeom>
                  <a:avLst/>
                  <a:gdLst>
                    <a:gd name="connsiteX0" fmla="*/ 268654 w 268654"/>
                    <a:gd name="connsiteY0" fmla="*/ 1974 h 314885"/>
                    <a:gd name="connsiteX1" fmla="*/ 2333 w 268654"/>
                    <a:gd name="connsiteY1" fmla="*/ 314885 h 314885"/>
                    <a:gd name="connsiteX2" fmla="*/ 0 w 268654"/>
                    <a:gd name="connsiteY2" fmla="*/ 312911 h 314885"/>
                    <a:gd name="connsiteX3" fmla="*/ 266382 w 268654"/>
                    <a:gd name="connsiteY3" fmla="*/ 0 h 314885"/>
                  </a:gdLst>
                  <a:ahLst/>
                  <a:cxnLst>
                    <a:cxn ang="0">
                      <a:pos x="connsiteX0" y="connsiteY0"/>
                    </a:cxn>
                    <a:cxn ang="0">
                      <a:pos x="connsiteX1" y="connsiteY1"/>
                    </a:cxn>
                    <a:cxn ang="0">
                      <a:pos x="connsiteX2" y="connsiteY2"/>
                    </a:cxn>
                    <a:cxn ang="0">
                      <a:pos x="connsiteX3" y="connsiteY3"/>
                    </a:cxn>
                  </a:cxnLst>
                  <a:rect l="l" t="t" r="r" b="b"/>
                  <a:pathLst>
                    <a:path w="268654" h="314885">
                      <a:moveTo>
                        <a:pt x="268654" y="1974"/>
                      </a:moveTo>
                      <a:lnTo>
                        <a:pt x="2333" y="314885"/>
                      </a:lnTo>
                      <a:lnTo>
                        <a:pt x="0" y="312911"/>
                      </a:lnTo>
                      <a:lnTo>
                        <a:pt x="266382" y="0"/>
                      </a:lnTo>
                      <a:close/>
                    </a:path>
                  </a:pathLst>
                </a:custGeom>
                <a:grpFill/>
                <a:ln w="5978" cap="flat">
                  <a:noFill/>
                  <a:prstDash val="solid"/>
                  <a:miter/>
                </a:ln>
              </p:spPr>
              <p:txBody>
                <a:bodyPr rtlCol="0" anchor="ctr"/>
                <a:lstStyle/>
                <a:p>
                  <a:endParaRPr lang="en-GB"/>
                </a:p>
              </p:txBody>
            </p:sp>
            <p:sp>
              <p:nvSpPr>
                <p:cNvPr id="2188" name="Vrije vorm: vorm 2187">
                  <a:extLst>
                    <a:ext uri="{FF2B5EF4-FFF2-40B4-BE49-F238E27FC236}">
                      <a16:creationId xmlns:a16="http://schemas.microsoft.com/office/drawing/2014/main" id="{AFA9C7D7-8F71-4918-9554-032817EC0B2B}"/>
                    </a:ext>
                  </a:extLst>
                </p:cNvPr>
                <p:cNvSpPr/>
                <p:nvPr/>
              </p:nvSpPr>
              <p:spPr>
                <a:xfrm>
                  <a:off x="5077376" y="4782058"/>
                  <a:ext cx="18314" cy="18454"/>
                </a:xfrm>
                <a:custGeom>
                  <a:avLst/>
                  <a:gdLst>
                    <a:gd name="connsiteX0" fmla="*/ 2190 w 18314"/>
                    <a:gd name="connsiteY0" fmla="*/ 3217 h 18454"/>
                    <a:gd name="connsiteX1" fmla="*/ 15108 w 18314"/>
                    <a:gd name="connsiteY1" fmla="*/ 2260 h 18454"/>
                    <a:gd name="connsiteX2" fmla="*/ 16125 w 18314"/>
                    <a:gd name="connsiteY2" fmla="*/ 15238 h 18454"/>
                    <a:gd name="connsiteX3" fmla="*/ 3206 w 18314"/>
                    <a:gd name="connsiteY3" fmla="*/ 16195 h 18454"/>
                    <a:gd name="connsiteX4" fmla="*/ 2190 w 18314"/>
                    <a:gd name="connsiteY4" fmla="*/ 321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54">
                      <a:moveTo>
                        <a:pt x="2190" y="3217"/>
                      </a:moveTo>
                      <a:cubicBezTo>
                        <a:pt x="5479" y="-671"/>
                        <a:pt x="11281" y="-1089"/>
                        <a:pt x="15108" y="2260"/>
                      </a:cubicBezTo>
                      <a:cubicBezTo>
                        <a:pt x="18936" y="5549"/>
                        <a:pt x="19414" y="11410"/>
                        <a:pt x="16125" y="15238"/>
                      </a:cubicBezTo>
                      <a:cubicBezTo>
                        <a:pt x="12836" y="19125"/>
                        <a:pt x="7034" y="19544"/>
                        <a:pt x="3206" y="16195"/>
                      </a:cubicBezTo>
                      <a:cubicBezTo>
                        <a:pt x="-621" y="12846"/>
                        <a:pt x="-1099" y="7044"/>
                        <a:pt x="2190" y="3217"/>
                      </a:cubicBezTo>
                      <a:close/>
                    </a:path>
                  </a:pathLst>
                </a:custGeom>
                <a:grpFill/>
                <a:ln w="5978" cap="flat">
                  <a:noFill/>
                  <a:prstDash val="solid"/>
                  <a:miter/>
                </a:ln>
              </p:spPr>
              <p:txBody>
                <a:bodyPr rtlCol="0" anchor="ctr"/>
                <a:lstStyle/>
                <a:p>
                  <a:endParaRPr lang="en-GB"/>
                </a:p>
              </p:txBody>
            </p:sp>
            <p:sp>
              <p:nvSpPr>
                <p:cNvPr id="2189" name="Vrije vorm: vorm 2188">
                  <a:extLst>
                    <a:ext uri="{FF2B5EF4-FFF2-40B4-BE49-F238E27FC236}">
                      <a16:creationId xmlns:a16="http://schemas.microsoft.com/office/drawing/2014/main" id="{E84ED3FD-00A9-4742-A1A6-CE16B3CCA597}"/>
                    </a:ext>
                  </a:extLst>
                </p:cNvPr>
                <p:cNvSpPr/>
                <p:nvPr/>
              </p:nvSpPr>
              <p:spPr>
                <a:xfrm>
                  <a:off x="4811653" y="5094312"/>
                  <a:ext cx="18314" cy="18410"/>
                </a:xfrm>
                <a:custGeom>
                  <a:avLst/>
                  <a:gdLst>
                    <a:gd name="connsiteX0" fmla="*/ 2190 w 18314"/>
                    <a:gd name="connsiteY0" fmla="*/ 3217 h 18410"/>
                    <a:gd name="connsiteX1" fmla="*/ 3207 w 18314"/>
                    <a:gd name="connsiteY1" fmla="*/ 16195 h 18410"/>
                    <a:gd name="connsiteX2" fmla="*/ 16125 w 18314"/>
                    <a:gd name="connsiteY2" fmla="*/ 15238 h 18410"/>
                    <a:gd name="connsiteX3" fmla="*/ 15108 w 18314"/>
                    <a:gd name="connsiteY3" fmla="*/ 2260 h 18410"/>
                    <a:gd name="connsiteX4" fmla="*/ 2190 w 18314"/>
                    <a:gd name="connsiteY4" fmla="*/ 3217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10">
                      <a:moveTo>
                        <a:pt x="2190" y="3217"/>
                      </a:moveTo>
                      <a:cubicBezTo>
                        <a:pt x="-1099" y="7104"/>
                        <a:pt x="-621" y="12905"/>
                        <a:pt x="3207" y="16195"/>
                      </a:cubicBezTo>
                      <a:cubicBezTo>
                        <a:pt x="7034" y="19484"/>
                        <a:pt x="12835" y="19066"/>
                        <a:pt x="16125" y="15238"/>
                      </a:cubicBezTo>
                      <a:cubicBezTo>
                        <a:pt x="19414" y="11410"/>
                        <a:pt x="18936" y="5549"/>
                        <a:pt x="15108" y="2260"/>
                      </a:cubicBezTo>
                      <a:cubicBezTo>
                        <a:pt x="11281" y="-1089"/>
                        <a:pt x="5479" y="-671"/>
                        <a:pt x="2190" y="3217"/>
                      </a:cubicBezTo>
                      <a:close/>
                    </a:path>
                  </a:pathLst>
                </a:custGeom>
                <a:grpFill/>
                <a:ln w="5978" cap="flat">
                  <a:noFill/>
                  <a:prstDash val="solid"/>
                  <a:miter/>
                </a:ln>
              </p:spPr>
              <p:txBody>
                <a:bodyPr rtlCol="0" anchor="ctr"/>
                <a:lstStyle/>
                <a:p>
                  <a:endParaRPr lang="en-GB"/>
                </a:p>
              </p:txBody>
            </p:sp>
          </p:grpSp>
          <p:grpSp>
            <p:nvGrpSpPr>
              <p:cNvPr id="1072" name="Graphic 3">
                <a:extLst>
                  <a:ext uri="{FF2B5EF4-FFF2-40B4-BE49-F238E27FC236}">
                    <a16:creationId xmlns:a16="http://schemas.microsoft.com/office/drawing/2014/main" id="{5FAF61DB-2E8D-495B-9FE1-17D19B25F33E}"/>
                  </a:ext>
                </a:extLst>
              </p:cNvPr>
              <p:cNvGrpSpPr/>
              <p:nvPr/>
            </p:nvGrpSpPr>
            <p:grpSpPr>
              <a:xfrm>
                <a:off x="4793228" y="4746047"/>
                <a:ext cx="250794" cy="264375"/>
                <a:chOff x="4793228" y="4746047"/>
                <a:chExt cx="250794" cy="264375"/>
              </a:xfrm>
              <a:grpFill/>
            </p:grpSpPr>
            <p:sp>
              <p:nvSpPr>
                <p:cNvPr id="2184" name="Vrije vorm: vorm 2183">
                  <a:extLst>
                    <a:ext uri="{FF2B5EF4-FFF2-40B4-BE49-F238E27FC236}">
                      <a16:creationId xmlns:a16="http://schemas.microsoft.com/office/drawing/2014/main" id="{7F534E12-0F98-4110-8072-C04C1AF43130}"/>
                    </a:ext>
                  </a:extLst>
                </p:cNvPr>
                <p:cNvSpPr/>
                <p:nvPr/>
              </p:nvSpPr>
              <p:spPr>
                <a:xfrm>
                  <a:off x="4800925" y="4753876"/>
                  <a:ext cx="235341" cy="248738"/>
                </a:xfrm>
                <a:custGeom>
                  <a:avLst/>
                  <a:gdLst>
                    <a:gd name="connsiteX0" fmla="*/ 235341 w 235341"/>
                    <a:gd name="connsiteY0" fmla="*/ 2153 h 248738"/>
                    <a:gd name="connsiteX1" fmla="*/ 2213 w 235341"/>
                    <a:gd name="connsiteY1" fmla="*/ 248738 h 248738"/>
                    <a:gd name="connsiteX2" fmla="*/ 0 w 235341"/>
                    <a:gd name="connsiteY2" fmla="*/ 246585 h 248738"/>
                    <a:gd name="connsiteX3" fmla="*/ 233128 w 235341"/>
                    <a:gd name="connsiteY3" fmla="*/ 0 h 248738"/>
                  </a:gdLst>
                  <a:ahLst/>
                  <a:cxnLst>
                    <a:cxn ang="0">
                      <a:pos x="connsiteX0" y="connsiteY0"/>
                    </a:cxn>
                    <a:cxn ang="0">
                      <a:pos x="connsiteX1" y="connsiteY1"/>
                    </a:cxn>
                    <a:cxn ang="0">
                      <a:pos x="connsiteX2" y="connsiteY2"/>
                    </a:cxn>
                    <a:cxn ang="0">
                      <a:pos x="connsiteX3" y="connsiteY3"/>
                    </a:cxn>
                  </a:cxnLst>
                  <a:rect l="l" t="t" r="r" b="b"/>
                  <a:pathLst>
                    <a:path w="235341" h="248738">
                      <a:moveTo>
                        <a:pt x="235341" y="2153"/>
                      </a:moveTo>
                      <a:lnTo>
                        <a:pt x="2213" y="248738"/>
                      </a:lnTo>
                      <a:lnTo>
                        <a:pt x="0" y="246585"/>
                      </a:lnTo>
                      <a:lnTo>
                        <a:pt x="233128" y="0"/>
                      </a:lnTo>
                      <a:close/>
                    </a:path>
                  </a:pathLst>
                </a:custGeom>
                <a:grpFill/>
                <a:ln w="5978" cap="flat">
                  <a:noFill/>
                  <a:prstDash val="solid"/>
                  <a:miter/>
                </a:ln>
              </p:spPr>
              <p:txBody>
                <a:bodyPr rtlCol="0" anchor="ctr"/>
                <a:lstStyle/>
                <a:p>
                  <a:endParaRPr lang="en-GB"/>
                </a:p>
              </p:txBody>
            </p:sp>
            <p:sp>
              <p:nvSpPr>
                <p:cNvPr id="2185" name="Vrije vorm: vorm 2184">
                  <a:extLst>
                    <a:ext uri="{FF2B5EF4-FFF2-40B4-BE49-F238E27FC236}">
                      <a16:creationId xmlns:a16="http://schemas.microsoft.com/office/drawing/2014/main" id="{58FF6D59-C9F8-4D1A-8A7D-9A1A674A3208}"/>
                    </a:ext>
                  </a:extLst>
                </p:cNvPr>
                <p:cNvSpPr/>
                <p:nvPr/>
              </p:nvSpPr>
              <p:spPr>
                <a:xfrm>
                  <a:off x="5025677" y="4746047"/>
                  <a:ext cx="18345" cy="18469"/>
                </a:xfrm>
                <a:custGeom>
                  <a:avLst/>
                  <a:gdLst>
                    <a:gd name="connsiteX0" fmla="*/ 2515 w 18345"/>
                    <a:gd name="connsiteY0" fmla="*/ 2866 h 18469"/>
                    <a:gd name="connsiteX1" fmla="*/ 15493 w 18345"/>
                    <a:gd name="connsiteY1" fmla="*/ 2567 h 18469"/>
                    <a:gd name="connsiteX2" fmla="*/ 15852 w 18345"/>
                    <a:gd name="connsiteY2" fmla="*/ 15605 h 18469"/>
                    <a:gd name="connsiteX3" fmla="*/ 2874 w 18345"/>
                    <a:gd name="connsiteY3" fmla="*/ 15903 h 18469"/>
                    <a:gd name="connsiteX4" fmla="*/ 2515 w 18345"/>
                    <a:gd name="connsiteY4" fmla="*/ 2866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9">
                      <a:moveTo>
                        <a:pt x="2515" y="2866"/>
                      </a:moveTo>
                      <a:cubicBezTo>
                        <a:pt x="5984" y="-842"/>
                        <a:pt x="11785" y="-962"/>
                        <a:pt x="15493" y="2567"/>
                      </a:cubicBezTo>
                      <a:cubicBezTo>
                        <a:pt x="19141" y="6095"/>
                        <a:pt x="19321" y="11897"/>
                        <a:pt x="15852" y="15605"/>
                      </a:cubicBezTo>
                      <a:cubicBezTo>
                        <a:pt x="12383" y="19313"/>
                        <a:pt x="6582" y="19432"/>
                        <a:pt x="2874" y="15903"/>
                      </a:cubicBezTo>
                      <a:cubicBezTo>
                        <a:pt x="-834" y="12375"/>
                        <a:pt x="-954" y="6574"/>
                        <a:pt x="2515" y="2866"/>
                      </a:cubicBezTo>
                      <a:close/>
                    </a:path>
                  </a:pathLst>
                </a:custGeom>
                <a:grpFill/>
                <a:ln w="5978" cap="flat">
                  <a:noFill/>
                  <a:prstDash val="solid"/>
                  <a:miter/>
                </a:ln>
              </p:spPr>
              <p:txBody>
                <a:bodyPr rtlCol="0" anchor="ctr"/>
                <a:lstStyle/>
                <a:p>
                  <a:endParaRPr lang="en-GB"/>
                </a:p>
              </p:txBody>
            </p:sp>
            <p:sp>
              <p:nvSpPr>
                <p:cNvPr id="2186" name="Vrije vorm: vorm 2185">
                  <a:extLst>
                    <a:ext uri="{FF2B5EF4-FFF2-40B4-BE49-F238E27FC236}">
                      <a16:creationId xmlns:a16="http://schemas.microsoft.com/office/drawing/2014/main" id="{DA381D93-07B0-4975-8375-26D19093C22E}"/>
                    </a:ext>
                  </a:extLst>
                </p:cNvPr>
                <p:cNvSpPr/>
                <p:nvPr/>
              </p:nvSpPr>
              <p:spPr>
                <a:xfrm>
                  <a:off x="4793228" y="4991974"/>
                  <a:ext cx="18323" cy="18448"/>
                </a:xfrm>
                <a:custGeom>
                  <a:avLst/>
                  <a:gdLst>
                    <a:gd name="connsiteX0" fmla="*/ 2493 w 18323"/>
                    <a:gd name="connsiteY0" fmla="*/ 2866 h 18448"/>
                    <a:gd name="connsiteX1" fmla="*/ 2852 w 18323"/>
                    <a:gd name="connsiteY1" fmla="*/ 15903 h 18448"/>
                    <a:gd name="connsiteX2" fmla="*/ 15830 w 18323"/>
                    <a:gd name="connsiteY2" fmla="*/ 15605 h 18448"/>
                    <a:gd name="connsiteX3" fmla="*/ 15472 w 18323"/>
                    <a:gd name="connsiteY3" fmla="*/ 2567 h 18448"/>
                    <a:gd name="connsiteX4" fmla="*/ 2493 w 18323"/>
                    <a:gd name="connsiteY4" fmla="*/ 286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8">
                      <a:moveTo>
                        <a:pt x="2493" y="2866"/>
                      </a:moveTo>
                      <a:cubicBezTo>
                        <a:pt x="-975" y="6574"/>
                        <a:pt x="-796" y="12375"/>
                        <a:pt x="2852" y="15903"/>
                      </a:cubicBezTo>
                      <a:cubicBezTo>
                        <a:pt x="6501" y="19432"/>
                        <a:pt x="12302" y="19253"/>
                        <a:pt x="15830" y="15605"/>
                      </a:cubicBezTo>
                      <a:cubicBezTo>
                        <a:pt x="19299" y="11897"/>
                        <a:pt x="19120" y="6095"/>
                        <a:pt x="15472" y="2567"/>
                      </a:cubicBezTo>
                      <a:cubicBezTo>
                        <a:pt x="11764" y="-962"/>
                        <a:pt x="5962" y="-842"/>
                        <a:pt x="2493" y="2866"/>
                      </a:cubicBezTo>
                      <a:close/>
                    </a:path>
                  </a:pathLst>
                </a:custGeom>
                <a:grpFill/>
                <a:ln w="5978" cap="flat">
                  <a:noFill/>
                  <a:prstDash val="solid"/>
                  <a:miter/>
                </a:ln>
              </p:spPr>
              <p:txBody>
                <a:bodyPr rtlCol="0" anchor="ctr"/>
                <a:lstStyle/>
                <a:p>
                  <a:endParaRPr lang="en-GB"/>
                </a:p>
              </p:txBody>
            </p:sp>
          </p:grpSp>
          <p:grpSp>
            <p:nvGrpSpPr>
              <p:cNvPr id="1073" name="Graphic 3">
                <a:extLst>
                  <a:ext uri="{FF2B5EF4-FFF2-40B4-BE49-F238E27FC236}">
                    <a16:creationId xmlns:a16="http://schemas.microsoft.com/office/drawing/2014/main" id="{7D0E7FA8-1EEF-4BD8-A976-A1588C744585}"/>
                  </a:ext>
                </a:extLst>
              </p:cNvPr>
              <p:cNvGrpSpPr/>
              <p:nvPr/>
            </p:nvGrpSpPr>
            <p:grpSpPr>
              <a:xfrm>
                <a:off x="4915472" y="4949478"/>
                <a:ext cx="147391" cy="217095"/>
                <a:chOff x="4915472" y="4949478"/>
                <a:chExt cx="147391" cy="217095"/>
              </a:xfrm>
              <a:grpFill/>
            </p:grpSpPr>
            <p:sp>
              <p:nvSpPr>
                <p:cNvPr id="2181" name="Vrije vorm: vorm 2180">
                  <a:extLst>
                    <a:ext uri="{FF2B5EF4-FFF2-40B4-BE49-F238E27FC236}">
                      <a16:creationId xmlns:a16="http://schemas.microsoft.com/office/drawing/2014/main" id="{ED6D41D4-BEEC-4C8D-8D9E-E3303774973F}"/>
                    </a:ext>
                  </a:extLst>
                </p:cNvPr>
                <p:cNvSpPr/>
                <p:nvPr/>
              </p:nvSpPr>
              <p:spPr>
                <a:xfrm>
                  <a:off x="4923111" y="4957460"/>
                  <a:ext cx="132113" cy="201131"/>
                </a:xfrm>
                <a:custGeom>
                  <a:avLst/>
                  <a:gdLst>
                    <a:gd name="connsiteX0" fmla="*/ 132114 w 132113"/>
                    <a:gd name="connsiteY0" fmla="*/ 1674 h 201131"/>
                    <a:gd name="connsiteX1" fmla="*/ 2512 w 132113"/>
                    <a:gd name="connsiteY1" fmla="*/ 201132 h 201131"/>
                    <a:gd name="connsiteX2" fmla="*/ 0 w 132113"/>
                    <a:gd name="connsiteY2" fmla="*/ 199457 h 201131"/>
                    <a:gd name="connsiteX3" fmla="*/ 129542 w 132113"/>
                    <a:gd name="connsiteY3" fmla="*/ 0 h 201131"/>
                  </a:gdLst>
                  <a:ahLst/>
                  <a:cxnLst>
                    <a:cxn ang="0">
                      <a:pos x="connsiteX0" y="connsiteY0"/>
                    </a:cxn>
                    <a:cxn ang="0">
                      <a:pos x="connsiteX1" y="connsiteY1"/>
                    </a:cxn>
                    <a:cxn ang="0">
                      <a:pos x="connsiteX2" y="connsiteY2"/>
                    </a:cxn>
                    <a:cxn ang="0">
                      <a:pos x="connsiteX3" y="connsiteY3"/>
                    </a:cxn>
                  </a:cxnLst>
                  <a:rect l="l" t="t" r="r" b="b"/>
                  <a:pathLst>
                    <a:path w="132113" h="201131">
                      <a:moveTo>
                        <a:pt x="132114" y="1674"/>
                      </a:moveTo>
                      <a:lnTo>
                        <a:pt x="2512" y="201132"/>
                      </a:lnTo>
                      <a:lnTo>
                        <a:pt x="0" y="199457"/>
                      </a:lnTo>
                      <a:lnTo>
                        <a:pt x="129542" y="0"/>
                      </a:lnTo>
                      <a:close/>
                    </a:path>
                  </a:pathLst>
                </a:custGeom>
                <a:grpFill/>
                <a:ln w="5978" cap="flat">
                  <a:noFill/>
                  <a:prstDash val="solid"/>
                  <a:miter/>
                </a:ln>
              </p:spPr>
              <p:txBody>
                <a:bodyPr rtlCol="0" anchor="ctr"/>
                <a:lstStyle/>
                <a:p>
                  <a:endParaRPr lang="en-GB"/>
                </a:p>
              </p:txBody>
            </p:sp>
            <p:sp>
              <p:nvSpPr>
                <p:cNvPr id="2182" name="Vrije vorm: vorm 2181">
                  <a:extLst>
                    <a:ext uri="{FF2B5EF4-FFF2-40B4-BE49-F238E27FC236}">
                      <a16:creationId xmlns:a16="http://schemas.microsoft.com/office/drawing/2014/main" id="{9FD5A48C-8BD5-4CFF-8121-FEC62355E566}"/>
                    </a:ext>
                  </a:extLst>
                </p:cNvPr>
                <p:cNvSpPr/>
                <p:nvPr/>
              </p:nvSpPr>
              <p:spPr>
                <a:xfrm>
                  <a:off x="4915472" y="5148157"/>
                  <a:ext cx="18327" cy="18416"/>
                </a:xfrm>
                <a:custGeom>
                  <a:avLst/>
                  <a:gdLst>
                    <a:gd name="connsiteX0" fmla="*/ 16849 w 18327"/>
                    <a:gd name="connsiteY0" fmla="*/ 14262 h 18416"/>
                    <a:gd name="connsiteX1" fmla="*/ 4170 w 18327"/>
                    <a:gd name="connsiteY1" fmla="*/ 16893 h 18416"/>
                    <a:gd name="connsiteX2" fmla="*/ 1479 w 18327"/>
                    <a:gd name="connsiteY2" fmla="*/ 4155 h 18416"/>
                    <a:gd name="connsiteX3" fmla="*/ 14158 w 18327"/>
                    <a:gd name="connsiteY3" fmla="*/ 152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4098" y="18508"/>
                        <a:pt x="8416" y="19704"/>
                        <a:pt x="4170" y="16893"/>
                      </a:cubicBezTo>
                      <a:cubicBezTo>
                        <a:pt x="-76" y="14082"/>
                        <a:pt x="-1273" y="8401"/>
                        <a:pt x="1479" y="4155"/>
                      </a:cubicBezTo>
                      <a:cubicBezTo>
                        <a:pt x="4230" y="-92"/>
                        <a:pt x="9912" y="-1288"/>
                        <a:pt x="14158" y="1523"/>
                      </a:cubicBezTo>
                      <a:cubicBezTo>
                        <a:pt x="18404" y="4334"/>
                        <a:pt x="19600" y="10016"/>
                        <a:pt x="16849" y="14262"/>
                      </a:cubicBezTo>
                      <a:close/>
                    </a:path>
                  </a:pathLst>
                </a:custGeom>
                <a:grpFill/>
                <a:ln w="5978" cap="flat">
                  <a:noFill/>
                  <a:prstDash val="solid"/>
                  <a:miter/>
                </a:ln>
              </p:spPr>
              <p:txBody>
                <a:bodyPr rtlCol="0" anchor="ctr"/>
                <a:lstStyle/>
                <a:p>
                  <a:endParaRPr lang="en-GB"/>
                </a:p>
              </p:txBody>
            </p:sp>
            <p:sp>
              <p:nvSpPr>
                <p:cNvPr id="2183" name="Vrije vorm: vorm 2182">
                  <a:extLst>
                    <a:ext uri="{FF2B5EF4-FFF2-40B4-BE49-F238E27FC236}">
                      <a16:creationId xmlns:a16="http://schemas.microsoft.com/office/drawing/2014/main" id="{2C889049-4398-49D5-BAB5-C7FCE8C4846B}"/>
                    </a:ext>
                  </a:extLst>
                </p:cNvPr>
                <p:cNvSpPr/>
                <p:nvPr/>
              </p:nvSpPr>
              <p:spPr>
                <a:xfrm>
                  <a:off x="5044536" y="4949478"/>
                  <a:ext cx="18327" cy="18416"/>
                </a:xfrm>
                <a:custGeom>
                  <a:avLst/>
                  <a:gdLst>
                    <a:gd name="connsiteX0" fmla="*/ 16849 w 18327"/>
                    <a:gd name="connsiteY0" fmla="*/ 14262 h 18416"/>
                    <a:gd name="connsiteX1" fmla="*/ 14158 w 18327"/>
                    <a:gd name="connsiteY1" fmla="*/ 1523 h 18416"/>
                    <a:gd name="connsiteX2" fmla="*/ 1479 w 18327"/>
                    <a:gd name="connsiteY2" fmla="*/ 4154 h 18416"/>
                    <a:gd name="connsiteX3" fmla="*/ 4170 w 18327"/>
                    <a:gd name="connsiteY3" fmla="*/ 1689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9600" y="10015"/>
                        <a:pt x="18404" y="4274"/>
                        <a:pt x="14158" y="1523"/>
                      </a:cubicBezTo>
                      <a:cubicBezTo>
                        <a:pt x="9911" y="-1288"/>
                        <a:pt x="4229" y="-92"/>
                        <a:pt x="1479" y="4154"/>
                      </a:cubicBezTo>
                      <a:cubicBezTo>
                        <a:pt x="-1273" y="8401"/>
                        <a:pt x="-76" y="14142"/>
                        <a:pt x="4170" y="16893"/>
                      </a:cubicBezTo>
                      <a:cubicBezTo>
                        <a:pt x="8416" y="19704"/>
                        <a:pt x="14098" y="18508"/>
                        <a:pt x="16849" y="14262"/>
                      </a:cubicBezTo>
                      <a:close/>
                    </a:path>
                  </a:pathLst>
                </a:custGeom>
                <a:grpFill/>
                <a:ln w="5978" cap="flat">
                  <a:noFill/>
                  <a:prstDash val="solid"/>
                  <a:miter/>
                </a:ln>
              </p:spPr>
              <p:txBody>
                <a:bodyPr rtlCol="0" anchor="ctr"/>
                <a:lstStyle/>
                <a:p>
                  <a:endParaRPr lang="en-GB"/>
                </a:p>
              </p:txBody>
            </p:sp>
          </p:grpSp>
          <p:grpSp>
            <p:nvGrpSpPr>
              <p:cNvPr id="1074" name="Graphic 3">
                <a:extLst>
                  <a:ext uri="{FF2B5EF4-FFF2-40B4-BE49-F238E27FC236}">
                    <a16:creationId xmlns:a16="http://schemas.microsoft.com/office/drawing/2014/main" id="{9435751C-0455-484A-B536-25B8F2112731}"/>
                  </a:ext>
                </a:extLst>
              </p:cNvPr>
              <p:cNvGrpSpPr/>
              <p:nvPr/>
            </p:nvGrpSpPr>
            <p:grpSpPr>
              <a:xfrm>
                <a:off x="4221646" y="2884432"/>
                <a:ext cx="72098" cy="33830"/>
                <a:chOff x="4221646" y="2884432"/>
                <a:chExt cx="72098" cy="33830"/>
              </a:xfrm>
              <a:grpFill/>
            </p:grpSpPr>
            <p:sp>
              <p:nvSpPr>
                <p:cNvPr id="2178" name="Vrije vorm: vorm 2177">
                  <a:extLst>
                    <a:ext uri="{FF2B5EF4-FFF2-40B4-BE49-F238E27FC236}">
                      <a16:creationId xmlns:a16="http://schemas.microsoft.com/office/drawing/2014/main" id="{F7DCF929-D35C-41F9-96F5-88F76C1B3705}"/>
                    </a:ext>
                  </a:extLst>
                </p:cNvPr>
                <p:cNvSpPr/>
                <p:nvPr/>
              </p:nvSpPr>
              <p:spPr>
                <a:xfrm>
                  <a:off x="4229945" y="2892018"/>
                  <a:ext cx="55441" cy="18659"/>
                </a:xfrm>
                <a:custGeom>
                  <a:avLst/>
                  <a:gdLst>
                    <a:gd name="connsiteX0" fmla="*/ 55441 w 55441"/>
                    <a:gd name="connsiteY0" fmla="*/ 15729 h 18659"/>
                    <a:gd name="connsiteX1" fmla="*/ 54604 w 55441"/>
                    <a:gd name="connsiteY1" fmla="*/ 18660 h 18659"/>
                    <a:gd name="connsiteX2" fmla="*/ 0 w 55441"/>
                    <a:gd name="connsiteY2" fmla="*/ 2990 h 18659"/>
                    <a:gd name="connsiteX3" fmla="*/ 837 w 55441"/>
                    <a:gd name="connsiteY3" fmla="*/ 0 h 18659"/>
                  </a:gdLst>
                  <a:ahLst/>
                  <a:cxnLst>
                    <a:cxn ang="0">
                      <a:pos x="connsiteX0" y="connsiteY0"/>
                    </a:cxn>
                    <a:cxn ang="0">
                      <a:pos x="connsiteX1" y="connsiteY1"/>
                    </a:cxn>
                    <a:cxn ang="0">
                      <a:pos x="connsiteX2" y="connsiteY2"/>
                    </a:cxn>
                    <a:cxn ang="0">
                      <a:pos x="connsiteX3" y="connsiteY3"/>
                    </a:cxn>
                  </a:cxnLst>
                  <a:rect l="l" t="t" r="r" b="b"/>
                  <a:pathLst>
                    <a:path w="55441" h="18659">
                      <a:moveTo>
                        <a:pt x="55441" y="15729"/>
                      </a:moveTo>
                      <a:lnTo>
                        <a:pt x="54604" y="18660"/>
                      </a:lnTo>
                      <a:lnTo>
                        <a:pt x="0" y="2990"/>
                      </a:lnTo>
                      <a:lnTo>
                        <a:pt x="837" y="0"/>
                      </a:lnTo>
                      <a:close/>
                    </a:path>
                  </a:pathLst>
                </a:custGeom>
                <a:grpFill/>
                <a:ln w="5978" cap="flat">
                  <a:noFill/>
                  <a:prstDash val="solid"/>
                  <a:miter/>
                </a:ln>
              </p:spPr>
              <p:txBody>
                <a:bodyPr rtlCol="0" anchor="ctr"/>
                <a:lstStyle/>
                <a:p>
                  <a:endParaRPr lang="en-GB"/>
                </a:p>
              </p:txBody>
            </p:sp>
            <p:sp>
              <p:nvSpPr>
                <p:cNvPr id="2179" name="Vrije vorm: vorm 2178">
                  <a:extLst>
                    <a:ext uri="{FF2B5EF4-FFF2-40B4-BE49-F238E27FC236}">
                      <a16:creationId xmlns:a16="http://schemas.microsoft.com/office/drawing/2014/main" id="{AB69F557-6A72-4B21-9BA3-011A2E7DA889}"/>
                    </a:ext>
                  </a:extLst>
                </p:cNvPr>
                <p:cNvSpPr/>
                <p:nvPr/>
              </p:nvSpPr>
              <p:spPr>
                <a:xfrm>
                  <a:off x="4275412" y="2899863"/>
                  <a:ext cx="18332" cy="18400"/>
                </a:xfrm>
                <a:custGeom>
                  <a:avLst/>
                  <a:gdLst>
                    <a:gd name="connsiteX0" fmla="*/ 11648 w 18332"/>
                    <a:gd name="connsiteY0" fmla="*/ 349 h 18400"/>
                    <a:gd name="connsiteX1" fmla="*/ 17988 w 18332"/>
                    <a:gd name="connsiteY1" fmla="*/ 11712 h 18400"/>
                    <a:gd name="connsiteX2" fmla="*/ 6684 w 18332"/>
                    <a:gd name="connsiteY2" fmla="*/ 18052 h 18400"/>
                    <a:gd name="connsiteX3" fmla="*/ 345 w 18332"/>
                    <a:gd name="connsiteY3" fmla="*/ 6688 h 18400"/>
                    <a:gd name="connsiteX4" fmla="*/ 11648 w 18332"/>
                    <a:gd name="connsiteY4" fmla="*/ 34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00">
                      <a:moveTo>
                        <a:pt x="11648" y="349"/>
                      </a:moveTo>
                      <a:cubicBezTo>
                        <a:pt x="16493" y="1725"/>
                        <a:pt x="19364" y="6868"/>
                        <a:pt x="17988" y="11712"/>
                      </a:cubicBezTo>
                      <a:cubicBezTo>
                        <a:pt x="16612" y="16616"/>
                        <a:pt x="11529" y="19427"/>
                        <a:pt x="6684" y="18052"/>
                      </a:cubicBezTo>
                      <a:cubicBezTo>
                        <a:pt x="1840" y="16676"/>
                        <a:pt x="-1031" y="11533"/>
                        <a:pt x="345" y="6688"/>
                      </a:cubicBezTo>
                      <a:cubicBezTo>
                        <a:pt x="1660" y="1784"/>
                        <a:pt x="6744" y="-1027"/>
                        <a:pt x="11648" y="349"/>
                      </a:cubicBezTo>
                      <a:close/>
                    </a:path>
                  </a:pathLst>
                </a:custGeom>
                <a:grpFill/>
                <a:ln w="5978" cap="flat">
                  <a:noFill/>
                  <a:prstDash val="solid"/>
                  <a:miter/>
                </a:ln>
              </p:spPr>
              <p:txBody>
                <a:bodyPr rtlCol="0" anchor="ctr"/>
                <a:lstStyle/>
                <a:p>
                  <a:endParaRPr lang="en-GB"/>
                </a:p>
              </p:txBody>
            </p:sp>
            <p:sp>
              <p:nvSpPr>
                <p:cNvPr id="2180" name="Vrije vorm: vorm 2179">
                  <a:extLst>
                    <a:ext uri="{FF2B5EF4-FFF2-40B4-BE49-F238E27FC236}">
                      <a16:creationId xmlns:a16="http://schemas.microsoft.com/office/drawing/2014/main" id="{F84481C1-D7E0-4C4D-AC68-3AD56A0B1F81}"/>
                    </a:ext>
                  </a:extLst>
                </p:cNvPr>
                <p:cNvSpPr/>
                <p:nvPr/>
              </p:nvSpPr>
              <p:spPr>
                <a:xfrm>
                  <a:off x="4221646" y="2884432"/>
                  <a:ext cx="18311" cy="18400"/>
                </a:xfrm>
                <a:custGeom>
                  <a:avLst/>
                  <a:gdLst>
                    <a:gd name="connsiteX0" fmla="*/ 11648 w 18311"/>
                    <a:gd name="connsiteY0" fmla="*/ 349 h 18400"/>
                    <a:gd name="connsiteX1" fmla="*/ 345 w 18311"/>
                    <a:gd name="connsiteY1" fmla="*/ 6688 h 18400"/>
                    <a:gd name="connsiteX2" fmla="*/ 6684 w 18311"/>
                    <a:gd name="connsiteY2" fmla="*/ 18052 h 18400"/>
                    <a:gd name="connsiteX3" fmla="*/ 17988 w 18311"/>
                    <a:gd name="connsiteY3" fmla="*/ 11712 h 18400"/>
                    <a:gd name="connsiteX4" fmla="*/ 11648 w 18311"/>
                    <a:gd name="connsiteY4" fmla="*/ 34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0">
                      <a:moveTo>
                        <a:pt x="11648" y="349"/>
                      </a:moveTo>
                      <a:cubicBezTo>
                        <a:pt x="6804" y="-1027"/>
                        <a:pt x="1720" y="1784"/>
                        <a:pt x="345" y="6688"/>
                      </a:cubicBezTo>
                      <a:cubicBezTo>
                        <a:pt x="-1031" y="11593"/>
                        <a:pt x="1840" y="16676"/>
                        <a:pt x="6684" y="18052"/>
                      </a:cubicBezTo>
                      <a:cubicBezTo>
                        <a:pt x="11528" y="19427"/>
                        <a:pt x="16612" y="16616"/>
                        <a:pt x="17988" y="11712"/>
                      </a:cubicBezTo>
                      <a:cubicBezTo>
                        <a:pt x="19304" y="6868"/>
                        <a:pt x="16493" y="1724"/>
                        <a:pt x="11648" y="349"/>
                      </a:cubicBezTo>
                      <a:close/>
                    </a:path>
                  </a:pathLst>
                </a:custGeom>
                <a:grpFill/>
                <a:ln w="5978" cap="flat">
                  <a:noFill/>
                  <a:prstDash val="solid"/>
                  <a:miter/>
                </a:ln>
              </p:spPr>
              <p:txBody>
                <a:bodyPr rtlCol="0" anchor="ctr"/>
                <a:lstStyle/>
                <a:p>
                  <a:endParaRPr lang="en-GB"/>
                </a:p>
              </p:txBody>
            </p:sp>
          </p:grpSp>
          <p:grpSp>
            <p:nvGrpSpPr>
              <p:cNvPr id="1075" name="Graphic 3">
                <a:extLst>
                  <a:ext uri="{FF2B5EF4-FFF2-40B4-BE49-F238E27FC236}">
                    <a16:creationId xmlns:a16="http://schemas.microsoft.com/office/drawing/2014/main" id="{3034029B-6674-4D58-AECC-7C3B8C84E4AA}"/>
                  </a:ext>
                </a:extLst>
              </p:cNvPr>
              <p:cNvGrpSpPr/>
              <p:nvPr/>
            </p:nvGrpSpPr>
            <p:grpSpPr>
              <a:xfrm>
                <a:off x="4806052" y="4660869"/>
                <a:ext cx="104095" cy="111613"/>
                <a:chOff x="4806052" y="4660869"/>
                <a:chExt cx="104095" cy="111613"/>
              </a:xfrm>
              <a:grpFill/>
            </p:grpSpPr>
            <p:sp>
              <p:nvSpPr>
                <p:cNvPr id="2175" name="Vrije vorm: vorm 2174">
                  <a:extLst>
                    <a:ext uri="{FF2B5EF4-FFF2-40B4-BE49-F238E27FC236}">
                      <a16:creationId xmlns:a16="http://schemas.microsoft.com/office/drawing/2014/main" id="{48D1844C-F2D5-440D-AF4A-A232CB2D981F}"/>
                    </a:ext>
                  </a:extLst>
                </p:cNvPr>
                <p:cNvSpPr/>
                <p:nvPr/>
              </p:nvSpPr>
              <p:spPr>
                <a:xfrm>
                  <a:off x="4813783" y="4668711"/>
                  <a:ext cx="88634" cy="95931"/>
                </a:xfrm>
                <a:custGeom>
                  <a:avLst/>
                  <a:gdLst>
                    <a:gd name="connsiteX0" fmla="*/ 88634 w 88634"/>
                    <a:gd name="connsiteY0" fmla="*/ 2093 h 95931"/>
                    <a:gd name="connsiteX1" fmla="*/ 2273 w 88634"/>
                    <a:gd name="connsiteY1" fmla="*/ 95931 h 95931"/>
                    <a:gd name="connsiteX2" fmla="*/ 0 w 88634"/>
                    <a:gd name="connsiteY2" fmla="*/ 93838 h 95931"/>
                    <a:gd name="connsiteX3" fmla="*/ 86422 w 88634"/>
                    <a:gd name="connsiteY3" fmla="*/ 0 h 95931"/>
                  </a:gdLst>
                  <a:ahLst/>
                  <a:cxnLst>
                    <a:cxn ang="0">
                      <a:pos x="connsiteX0" y="connsiteY0"/>
                    </a:cxn>
                    <a:cxn ang="0">
                      <a:pos x="connsiteX1" y="connsiteY1"/>
                    </a:cxn>
                    <a:cxn ang="0">
                      <a:pos x="connsiteX2" y="connsiteY2"/>
                    </a:cxn>
                    <a:cxn ang="0">
                      <a:pos x="connsiteX3" y="connsiteY3"/>
                    </a:cxn>
                  </a:cxnLst>
                  <a:rect l="l" t="t" r="r" b="b"/>
                  <a:pathLst>
                    <a:path w="88634" h="95931">
                      <a:moveTo>
                        <a:pt x="88634" y="2093"/>
                      </a:moveTo>
                      <a:lnTo>
                        <a:pt x="2273" y="95931"/>
                      </a:lnTo>
                      <a:lnTo>
                        <a:pt x="0" y="93838"/>
                      </a:lnTo>
                      <a:lnTo>
                        <a:pt x="86422" y="0"/>
                      </a:lnTo>
                      <a:close/>
                    </a:path>
                  </a:pathLst>
                </a:custGeom>
                <a:grpFill/>
                <a:ln w="5978" cap="flat">
                  <a:noFill/>
                  <a:prstDash val="solid"/>
                  <a:miter/>
                </a:ln>
              </p:spPr>
              <p:txBody>
                <a:bodyPr rtlCol="0" anchor="ctr"/>
                <a:lstStyle/>
                <a:p>
                  <a:endParaRPr lang="en-GB"/>
                </a:p>
              </p:txBody>
            </p:sp>
            <p:sp>
              <p:nvSpPr>
                <p:cNvPr id="2176" name="Vrije vorm: vorm 2175">
                  <a:extLst>
                    <a:ext uri="{FF2B5EF4-FFF2-40B4-BE49-F238E27FC236}">
                      <a16:creationId xmlns:a16="http://schemas.microsoft.com/office/drawing/2014/main" id="{7AC32BDE-8CF7-445A-BA2E-A01A686729E1}"/>
                    </a:ext>
                  </a:extLst>
                </p:cNvPr>
                <p:cNvSpPr/>
                <p:nvPr/>
              </p:nvSpPr>
              <p:spPr>
                <a:xfrm>
                  <a:off x="4806052" y="4754049"/>
                  <a:ext cx="18331" cy="18434"/>
                </a:xfrm>
                <a:custGeom>
                  <a:avLst/>
                  <a:gdLst>
                    <a:gd name="connsiteX0" fmla="*/ 15924 w 18331"/>
                    <a:gd name="connsiteY0" fmla="*/ 15497 h 18434"/>
                    <a:gd name="connsiteX1" fmla="*/ 2946 w 18331"/>
                    <a:gd name="connsiteY1" fmla="*/ 15975 h 18434"/>
                    <a:gd name="connsiteX2" fmla="*/ 2408 w 18331"/>
                    <a:gd name="connsiteY2" fmla="*/ 2937 h 18434"/>
                    <a:gd name="connsiteX3" fmla="*/ 15386 w 18331"/>
                    <a:gd name="connsiteY3" fmla="*/ 2459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2515" y="19205"/>
                        <a:pt x="6714" y="19444"/>
                        <a:pt x="2946" y="15975"/>
                      </a:cubicBezTo>
                      <a:cubicBezTo>
                        <a:pt x="-762" y="12507"/>
                        <a:pt x="-1001" y="6705"/>
                        <a:pt x="2408" y="2937"/>
                      </a:cubicBezTo>
                      <a:cubicBezTo>
                        <a:pt x="5817" y="-771"/>
                        <a:pt x="11618" y="-1010"/>
                        <a:pt x="15386" y="2459"/>
                      </a:cubicBezTo>
                      <a:cubicBezTo>
                        <a:pt x="19094" y="5928"/>
                        <a:pt x="19333" y="11729"/>
                        <a:pt x="15924" y="15497"/>
                      </a:cubicBezTo>
                      <a:close/>
                    </a:path>
                  </a:pathLst>
                </a:custGeom>
                <a:grpFill/>
                <a:ln w="5978" cap="flat">
                  <a:noFill/>
                  <a:prstDash val="solid"/>
                  <a:miter/>
                </a:ln>
              </p:spPr>
              <p:txBody>
                <a:bodyPr rtlCol="0" anchor="ctr"/>
                <a:lstStyle/>
                <a:p>
                  <a:endParaRPr lang="en-GB"/>
                </a:p>
              </p:txBody>
            </p:sp>
            <p:sp>
              <p:nvSpPr>
                <p:cNvPr id="2177" name="Vrije vorm: vorm 2176">
                  <a:extLst>
                    <a:ext uri="{FF2B5EF4-FFF2-40B4-BE49-F238E27FC236}">
                      <a16:creationId xmlns:a16="http://schemas.microsoft.com/office/drawing/2014/main" id="{34E2D27F-087F-43C4-807B-4B9FE9A18FC1}"/>
                    </a:ext>
                  </a:extLst>
                </p:cNvPr>
                <p:cNvSpPr/>
                <p:nvPr/>
              </p:nvSpPr>
              <p:spPr>
                <a:xfrm>
                  <a:off x="4891816" y="4660869"/>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7" y="-771"/>
                        <a:pt x="2408" y="2937"/>
                      </a:cubicBezTo>
                      <a:cubicBezTo>
                        <a:pt x="-1001" y="6646"/>
                        <a:pt x="-762" y="12507"/>
                        <a:pt x="2946" y="15975"/>
                      </a:cubicBezTo>
                      <a:cubicBezTo>
                        <a:pt x="6714" y="19444"/>
                        <a:pt x="12515" y="19205"/>
                        <a:pt x="15924" y="15497"/>
                      </a:cubicBezTo>
                      <a:close/>
                    </a:path>
                  </a:pathLst>
                </a:custGeom>
                <a:grpFill/>
                <a:ln w="5978" cap="flat">
                  <a:noFill/>
                  <a:prstDash val="solid"/>
                  <a:miter/>
                </a:ln>
              </p:spPr>
              <p:txBody>
                <a:bodyPr rtlCol="0" anchor="ctr"/>
                <a:lstStyle/>
                <a:p>
                  <a:endParaRPr lang="en-GB"/>
                </a:p>
              </p:txBody>
            </p:sp>
          </p:grpSp>
          <p:grpSp>
            <p:nvGrpSpPr>
              <p:cNvPr id="1076" name="Graphic 3">
                <a:extLst>
                  <a:ext uri="{FF2B5EF4-FFF2-40B4-BE49-F238E27FC236}">
                    <a16:creationId xmlns:a16="http://schemas.microsoft.com/office/drawing/2014/main" id="{9D39DF31-D9D5-4A52-9A12-F57FA25863C7}"/>
                  </a:ext>
                </a:extLst>
              </p:cNvPr>
              <p:cNvGrpSpPr/>
              <p:nvPr/>
            </p:nvGrpSpPr>
            <p:grpSpPr>
              <a:xfrm>
                <a:off x="4243965" y="3138270"/>
                <a:ext cx="155746" cy="39016"/>
                <a:chOff x="4243965" y="3138270"/>
                <a:chExt cx="155746" cy="39016"/>
              </a:xfrm>
              <a:grpFill/>
            </p:grpSpPr>
            <p:sp>
              <p:nvSpPr>
                <p:cNvPr id="2172" name="Vrije vorm: vorm 2171">
                  <a:extLst>
                    <a:ext uri="{FF2B5EF4-FFF2-40B4-BE49-F238E27FC236}">
                      <a16:creationId xmlns:a16="http://schemas.microsoft.com/office/drawing/2014/main" id="{C06068DC-4712-494E-A5DD-26629A48189A}"/>
                    </a:ext>
                  </a:extLst>
                </p:cNvPr>
                <p:cNvSpPr/>
                <p:nvPr/>
              </p:nvSpPr>
              <p:spPr>
                <a:xfrm>
                  <a:off x="4252492" y="3145899"/>
                  <a:ext cx="138692" cy="23743"/>
                </a:xfrm>
                <a:custGeom>
                  <a:avLst/>
                  <a:gdLst>
                    <a:gd name="connsiteX0" fmla="*/ 138693 w 138692"/>
                    <a:gd name="connsiteY0" fmla="*/ 20693 h 23743"/>
                    <a:gd name="connsiteX1" fmla="*/ 138274 w 138692"/>
                    <a:gd name="connsiteY1" fmla="*/ 23743 h 23743"/>
                    <a:gd name="connsiteX2" fmla="*/ 0 w 138692"/>
                    <a:gd name="connsiteY2" fmla="*/ 3050 h 23743"/>
                    <a:gd name="connsiteX3" fmla="*/ 419 w 138692"/>
                    <a:gd name="connsiteY3" fmla="*/ 0 h 23743"/>
                  </a:gdLst>
                  <a:ahLst/>
                  <a:cxnLst>
                    <a:cxn ang="0">
                      <a:pos x="connsiteX0" y="connsiteY0"/>
                    </a:cxn>
                    <a:cxn ang="0">
                      <a:pos x="connsiteX1" y="connsiteY1"/>
                    </a:cxn>
                    <a:cxn ang="0">
                      <a:pos x="connsiteX2" y="connsiteY2"/>
                    </a:cxn>
                    <a:cxn ang="0">
                      <a:pos x="connsiteX3" y="connsiteY3"/>
                    </a:cxn>
                  </a:cxnLst>
                  <a:rect l="l" t="t" r="r" b="b"/>
                  <a:pathLst>
                    <a:path w="138692" h="23743">
                      <a:moveTo>
                        <a:pt x="138693" y="20693"/>
                      </a:moveTo>
                      <a:lnTo>
                        <a:pt x="138274" y="23743"/>
                      </a:lnTo>
                      <a:lnTo>
                        <a:pt x="0" y="3050"/>
                      </a:lnTo>
                      <a:lnTo>
                        <a:pt x="419" y="0"/>
                      </a:lnTo>
                      <a:close/>
                    </a:path>
                  </a:pathLst>
                </a:custGeom>
                <a:grpFill/>
                <a:ln w="5978" cap="flat">
                  <a:noFill/>
                  <a:prstDash val="solid"/>
                  <a:miter/>
                </a:ln>
              </p:spPr>
              <p:txBody>
                <a:bodyPr rtlCol="0" anchor="ctr"/>
                <a:lstStyle/>
                <a:p>
                  <a:endParaRPr lang="en-GB"/>
                </a:p>
              </p:txBody>
            </p:sp>
            <p:sp>
              <p:nvSpPr>
                <p:cNvPr id="2173" name="Vrije vorm: vorm 2172">
                  <a:extLst>
                    <a:ext uri="{FF2B5EF4-FFF2-40B4-BE49-F238E27FC236}">
                      <a16:creationId xmlns:a16="http://schemas.microsoft.com/office/drawing/2014/main" id="{AA0B99BE-1BF4-4FB9-B181-BCE446F907D8}"/>
                    </a:ext>
                  </a:extLst>
                </p:cNvPr>
                <p:cNvSpPr/>
                <p:nvPr/>
              </p:nvSpPr>
              <p:spPr>
                <a:xfrm>
                  <a:off x="4243965" y="3138270"/>
                  <a:ext cx="18369" cy="18444"/>
                </a:xfrm>
                <a:custGeom>
                  <a:avLst/>
                  <a:gdLst>
                    <a:gd name="connsiteX0" fmla="*/ 7869 w 18369"/>
                    <a:gd name="connsiteY0" fmla="*/ 18335 h 18444"/>
                    <a:gd name="connsiteX1" fmla="*/ 94 w 18369"/>
                    <a:gd name="connsiteY1" fmla="*/ 7869 h 18444"/>
                    <a:gd name="connsiteX2" fmla="*/ 10500 w 18369"/>
                    <a:gd name="connsiteY2" fmla="*/ 94 h 18444"/>
                    <a:gd name="connsiteX3" fmla="*/ 18276 w 18369"/>
                    <a:gd name="connsiteY3" fmla="*/ 10560 h 18444"/>
                    <a:gd name="connsiteX4" fmla="*/ 7869 w 18369"/>
                    <a:gd name="connsiteY4" fmla="*/ 1833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4">
                      <a:moveTo>
                        <a:pt x="7869" y="18335"/>
                      </a:moveTo>
                      <a:cubicBezTo>
                        <a:pt x="2845" y="17558"/>
                        <a:pt x="-624" y="12893"/>
                        <a:pt x="94" y="7869"/>
                      </a:cubicBezTo>
                      <a:cubicBezTo>
                        <a:pt x="812" y="2845"/>
                        <a:pt x="5477" y="-624"/>
                        <a:pt x="10500" y="94"/>
                      </a:cubicBezTo>
                      <a:cubicBezTo>
                        <a:pt x="15524" y="872"/>
                        <a:pt x="18993" y="5536"/>
                        <a:pt x="18276" y="10560"/>
                      </a:cubicBezTo>
                      <a:cubicBezTo>
                        <a:pt x="17558" y="15644"/>
                        <a:pt x="12893" y="19113"/>
                        <a:pt x="7869" y="18335"/>
                      </a:cubicBezTo>
                      <a:close/>
                    </a:path>
                  </a:pathLst>
                </a:custGeom>
                <a:grpFill/>
                <a:ln w="5978" cap="flat">
                  <a:noFill/>
                  <a:prstDash val="solid"/>
                  <a:miter/>
                </a:ln>
              </p:spPr>
              <p:txBody>
                <a:bodyPr rtlCol="0" anchor="ctr"/>
                <a:lstStyle/>
                <a:p>
                  <a:endParaRPr lang="en-GB"/>
                </a:p>
              </p:txBody>
            </p:sp>
            <p:sp>
              <p:nvSpPr>
                <p:cNvPr id="2174" name="Vrije vorm: vorm 2173">
                  <a:extLst>
                    <a:ext uri="{FF2B5EF4-FFF2-40B4-BE49-F238E27FC236}">
                      <a16:creationId xmlns:a16="http://schemas.microsoft.com/office/drawing/2014/main" id="{F50D0378-7BEA-4894-A0B0-01AEE437A64F}"/>
                    </a:ext>
                  </a:extLst>
                </p:cNvPr>
                <p:cNvSpPr/>
                <p:nvPr/>
              </p:nvSpPr>
              <p:spPr>
                <a:xfrm>
                  <a:off x="4381343" y="3158830"/>
                  <a:ext cx="18369" cy="18456"/>
                </a:xfrm>
                <a:custGeom>
                  <a:avLst/>
                  <a:gdLst>
                    <a:gd name="connsiteX0" fmla="*/ 7869 w 18369"/>
                    <a:gd name="connsiteY0" fmla="*/ 18349 h 18456"/>
                    <a:gd name="connsiteX1" fmla="*/ 18275 w 18369"/>
                    <a:gd name="connsiteY1" fmla="*/ 10574 h 18456"/>
                    <a:gd name="connsiteX2" fmla="*/ 10500 w 18369"/>
                    <a:gd name="connsiteY2" fmla="*/ 107 h 18456"/>
                    <a:gd name="connsiteX3" fmla="*/ 94 w 18369"/>
                    <a:gd name="connsiteY3" fmla="*/ 7882 h 18456"/>
                    <a:gd name="connsiteX4" fmla="*/ 7869 w 18369"/>
                    <a:gd name="connsiteY4" fmla="*/ 1834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56">
                      <a:moveTo>
                        <a:pt x="7869" y="18349"/>
                      </a:moveTo>
                      <a:cubicBezTo>
                        <a:pt x="12893" y="19126"/>
                        <a:pt x="17558" y="15598"/>
                        <a:pt x="18275" y="10574"/>
                      </a:cubicBezTo>
                      <a:cubicBezTo>
                        <a:pt x="18993" y="5550"/>
                        <a:pt x="15524" y="825"/>
                        <a:pt x="10500" y="107"/>
                      </a:cubicBezTo>
                      <a:cubicBezTo>
                        <a:pt x="5476" y="-670"/>
                        <a:pt x="872" y="2859"/>
                        <a:pt x="94" y="7882"/>
                      </a:cubicBezTo>
                      <a:cubicBezTo>
                        <a:pt x="-624" y="12906"/>
                        <a:pt x="2845" y="17571"/>
                        <a:pt x="7869" y="18349"/>
                      </a:cubicBezTo>
                      <a:close/>
                    </a:path>
                  </a:pathLst>
                </a:custGeom>
                <a:grpFill/>
                <a:ln w="5978" cap="flat">
                  <a:noFill/>
                  <a:prstDash val="solid"/>
                  <a:miter/>
                </a:ln>
              </p:spPr>
              <p:txBody>
                <a:bodyPr rtlCol="0" anchor="ctr"/>
                <a:lstStyle/>
                <a:p>
                  <a:endParaRPr lang="en-GB"/>
                </a:p>
              </p:txBody>
            </p:sp>
          </p:grpSp>
          <p:grpSp>
            <p:nvGrpSpPr>
              <p:cNvPr id="1077" name="Graphic 3">
                <a:extLst>
                  <a:ext uri="{FF2B5EF4-FFF2-40B4-BE49-F238E27FC236}">
                    <a16:creationId xmlns:a16="http://schemas.microsoft.com/office/drawing/2014/main" id="{2DDA8557-C2B1-42B5-8CB2-AE28A6D95540}"/>
                  </a:ext>
                </a:extLst>
              </p:cNvPr>
              <p:cNvGrpSpPr/>
              <p:nvPr/>
            </p:nvGrpSpPr>
            <p:grpSpPr>
              <a:xfrm>
                <a:off x="4964370" y="5141724"/>
                <a:ext cx="106962" cy="173206"/>
                <a:chOff x="4964370" y="5141724"/>
                <a:chExt cx="106962" cy="173206"/>
              </a:xfrm>
              <a:grpFill/>
            </p:grpSpPr>
            <p:sp>
              <p:nvSpPr>
                <p:cNvPr id="2169" name="Vrije vorm: vorm 2168">
                  <a:extLst>
                    <a:ext uri="{FF2B5EF4-FFF2-40B4-BE49-F238E27FC236}">
                      <a16:creationId xmlns:a16="http://schemas.microsoft.com/office/drawing/2014/main" id="{462C70DF-F5A2-42CB-99AF-1B7D3EBB462C}"/>
                    </a:ext>
                  </a:extLst>
                </p:cNvPr>
                <p:cNvSpPr/>
                <p:nvPr/>
              </p:nvSpPr>
              <p:spPr>
                <a:xfrm>
                  <a:off x="4971973" y="5149800"/>
                  <a:ext cx="91744" cy="157053"/>
                </a:xfrm>
                <a:custGeom>
                  <a:avLst/>
                  <a:gdLst>
                    <a:gd name="connsiteX0" fmla="*/ 91744 w 91744"/>
                    <a:gd name="connsiteY0" fmla="*/ 1495 h 157053"/>
                    <a:gd name="connsiteX1" fmla="*/ 2632 w 91744"/>
                    <a:gd name="connsiteY1" fmla="*/ 157054 h 157053"/>
                    <a:gd name="connsiteX2" fmla="*/ 0 w 91744"/>
                    <a:gd name="connsiteY2" fmla="*/ 155499 h 157053"/>
                    <a:gd name="connsiteX3" fmla="*/ 89053 w 91744"/>
                    <a:gd name="connsiteY3" fmla="*/ 0 h 157053"/>
                  </a:gdLst>
                  <a:ahLst/>
                  <a:cxnLst>
                    <a:cxn ang="0">
                      <a:pos x="connsiteX0" y="connsiteY0"/>
                    </a:cxn>
                    <a:cxn ang="0">
                      <a:pos x="connsiteX1" y="connsiteY1"/>
                    </a:cxn>
                    <a:cxn ang="0">
                      <a:pos x="connsiteX2" y="connsiteY2"/>
                    </a:cxn>
                    <a:cxn ang="0">
                      <a:pos x="connsiteX3" y="connsiteY3"/>
                    </a:cxn>
                  </a:cxnLst>
                  <a:rect l="l" t="t" r="r" b="b"/>
                  <a:pathLst>
                    <a:path w="91744" h="157053">
                      <a:moveTo>
                        <a:pt x="91744" y="1495"/>
                      </a:moveTo>
                      <a:lnTo>
                        <a:pt x="2632" y="157054"/>
                      </a:lnTo>
                      <a:lnTo>
                        <a:pt x="0" y="155499"/>
                      </a:lnTo>
                      <a:lnTo>
                        <a:pt x="89053" y="0"/>
                      </a:lnTo>
                      <a:close/>
                    </a:path>
                  </a:pathLst>
                </a:custGeom>
                <a:grpFill/>
                <a:ln w="5978" cap="flat">
                  <a:noFill/>
                  <a:prstDash val="solid"/>
                  <a:miter/>
                </a:ln>
              </p:spPr>
              <p:txBody>
                <a:bodyPr rtlCol="0" anchor="ctr"/>
                <a:lstStyle/>
                <a:p>
                  <a:endParaRPr lang="en-GB"/>
                </a:p>
              </p:txBody>
            </p:sp>
            <p:sp>
              <p:nvSpPr>
                <p:cNvPr id="2170" name="Vrije vorm: vorm 2169">
                  <a:extLst>
                    <a:ext uri="{FF2B5EF4-FFF2-40B4-BE49-F238E27FC236}">
                      <a16:creationId xmlns:a16="http://schemas.microsoft.com/office/drawing/2014/main" id="{AF0BB491-1E77-42C7-84D2-715A37CDC50E}"/>
                    </a:ext>
                  </a:extLst>
                </p:cNvPr>
                <p:cNvSpPr/>
                <p:nvPr/>
              </p:nvSpPr>
              <p:spPr>
                <a:xfrm>
                  <a:off x="4964370" y="5296445"/>
                  <a:ext cx="18328" cy="18485"/>
                </a:xfrm>
                <a:custGeom>
                  <a:avLst/>
                  <a:gdLst>
                    <a:gd name="connsiteX0" fmla="*/ 17112 w 18328"/>
                    <a:gd name="connsiteY0" fmla="*/ 13878 h 18485"/>
                    <a:gd name="connsiteX1" fmla="*/ 4612 w 18328"/>
                    <a:gd name="connsiteY1" fmla="*/ 17227 h 18485"/>
                    <a:gd name="connsiteX2" fmla="*/ 1203 w 18328"/>
                    <a:gd name="connsiteY2" fmla="*/ 4608 h 18485"/>
                    <a:gd name="connsiteX3" fmla="*/ 13703 w 18328"/>
                    <a:gd name="connsiteY3" fmla="*/ 1258 h 18485"/>
                    <a:gd name="connsiteX4" fmla="*/ 17112 w 18328"/>
                    <a:gd name="connsiteY4" fmla="*/ 13878 h 18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85">
                      <a:moveTo>
                        <a:pt x="17112" y="13878"/>
                      </a:moveTo>
                      <a:cubicBezTo>
                        <a:pt x="14600" y="18303"/>
                        <a:pt x="8978" y="19799"/>
                        <a:pt x="4612" y="17227"/>
                      </a:cubicBezTo>
                      <a:cubicBezTo>
                        <a:pt x="247" y="14655"/>
                        <a:pt x="-1308" y="9033"/>
                        <a:pt x="1203" y="4608"/>
                      </a:cubicBezTo>
                      <a:cubicBezTo>
                        <a:pt x="3715" y="182"/>
                        <a:pt x="9337" y="-1314"/>
                        <a:pt x="13703" y="1258"/>
                      </a:cubicBezTo>
                      <a:cubicBezTo>
                        <a:pt x="18129" y="3830"/>
                        <a:pt x="19624" y="9452"/>
                        <a:pt x="17112" y="13878"/>
                      </a:cubicBezTo>
                      <a:close/>
                    </a:path>
                  </a:pathLst>
                </a:custGeom>
                <a:grpFill/>
                <a:ln w="5978" cap="flat">
                  <a:noFill/>
                  <a:prstDash val="solid"/>
                  <a:miter/>
                </a:ln>
              </p:spPr>
              <p:txBody>
                <a:bodyPr rtlCol="0" anchor="ctr"/>
                <a:lstStyle/>
                <a:p>
                  <a:endParaRPr lang="en-GB"/>
                </a:p>
              </p:txBody>
            </p:sp>
            <p:sp>
              <p:nvSpPr>
                <p:cNvPr id="2171" name="Vrije vorm: vorm 2170">
                  <a:extLst>
                    <a:ext uri="{FF2B5EF4-FFF2-40B4-BE49-F238E27FC236}">
                      <a16:creationId xmlns:a16="http://schemas.microsoft.com/office/drawing/2014/main" id="{C1C0EF00-CA89-4AE7-AD45-6F496671E4EB}"/>
                    </a:ext>
                  </a:extLst>
                </p:cNvPr>
                <p:cNvSpPr/>
                <p:nvPr/>
              </p:nvSpPr>
              <p:spPr>
                <a:xfrm>
                  <a:off x="5052992" y="5141724"/>
                  <a:ext cx="18341" cy="18469"/>
                </a:xfrm>
                <a:custGeom>
                  <a:avLst/>
                  <a:gdLst>
                    <a:gd name="connsiteX0" fmla="*/ 17125 w 18341"/>
                    <a:gd name="connsiteY0" fmla="*/ 13818 h 18469"/>
                    <a:gd name="connsiteX1" fmla="*/ 13716 w 18341"/>
                    <a:gd name="connsiteY1" fmla="*/ 1258 h 18469"/>
                    <a:gd name="connsiteX2" fmla="*/ 1216 w 18341"/>
                    <a:gd name="connsiteY2" fmla="*/ 4608 h 18469"/>
                    <a:gd name="connsiteX3" fmla="*/ 4625 w 18341"/>
                    <a:gd name="connsiteY3" fmla="*/ 17227 h 18469"/>
                    <a:gd name="connsiteX4" fmla="*/ 17125 w 18341"/>
                    <a:gd name="connsiteY4" fmla="*/ 13818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69">
                      <a:moveTo>
                        <a:pt x="17125" y="13818"/>
                      </a:moveTo>
                      <a:cubicBezTo>
                        <a:pt x="19637" y="9392"/>
                        <a:pt x="18142" y="3770"/>
                        <a:pt x="13716" y="1258"/>
                      </a:cubicBezTo>
                      <a:cubicBezTo>
                        <a:pt x="9350" y="-1314"/>
                        <a:pt x="3728" y="182"/>
                        <a:pt x="1216" y="4608"/>
                      </a:cubicBezTo>
                      <a:cubicBezTo>
                        <a:pt x="-1295" y="9033"/>
                        <a:pt x="200" y="14655"/>
                        <a:pt x="4625" y="17227"/>
                      </a:cubicBezTo>
                      <a:cubicBezTo>
                        <a:pt x="9051" y="19799"/>
                        <a:pt x="14613" y="18243"/>
                        <a:pt x="17125" y="13818"/>
                      </a:cubicBezTo>
                      <a:close/>
                    </a:path>
                  </a:pathLst>
                </a:custGeom>
                <a:grpFill/>
                <a:ln w="5978" cap="flat">
                  <a:noFill/>
                  <a:prstDash val="solid"/>
                  <a:miter/>
                </a:ln>
              </p:spPr>
              <p:txBody>
                <a:bodyPr rtlCol="0" anchor="ctr"/>
                <a:lstStyle/>
                <a:p>
                  <a:endParaRPr lang="en-GB"/>
                </a:p>
              </p:txBody>
            </p:sp>
          </p:grpSp>
          <p:grpSp>
            <p:nvGrpSpPr>
              <p:cNvPr id="1078" name="Graphic 3">
                <a:extLst>
                  <a:ext uri="{FF2B5EF4-FFF2-40B4-BE49-F238E27FC236}">
                    <a16:creationId xmlns:a16="http://schemas.microsoft.com/office/drawing/2014/main" id="{DEC1E7CF-DE87-4E6A-A5C5-7AFF040F9044}"/>
                  </a:ext>
                </a:extLst>
              </p:cNvPr>
              <p:cNvGrpSpPr/>
              <p:nvPr/>
            </p:nvGrpSpPr>
            <p:grpSpPr>
              <a:xfrm>
                <a:off x="4078491" y="2595763"/>
                <a:ext cx="121272" cy="60882"/>
                <a:chOff x="4078491" y="2595763"/>
                <a:chExt cx="121272" cy="60882"/>
              </a:xfrm>
              <a:grpFill/>
            </p:grpSpPr>
            <p:sp>
              <p:nvSpPr>
                <p:cNvPr id="2166" name="Vrije vorm: vorm 2165">
                  <a:extLst>
                    <a:ext uri="{FF2B5EF4-FFF2-40B4-BE49-F238E27FC236}">
                      <a16:creationId xmlns:a16="http://schemas.microsoft.com/office/drawing/2014/main" id="{908DDE68-C31F-413E-803F-0F771B1E57F7}"/>
                    </a:ext>
                  </a:extLst>
                </p:cNvPr>
                <p:cNvSpPr/>
                <p:nvPr/>
              </p:nvSpPr>
              <p:spPr>
                <a:xfrm>
                  <a:off x="4086647" y="2603388"/>
                  <a:ext cx="104902" cy="45632"/>
                </a:xfrm>
                <a:custGeom>
                  <a:avLst/>
                  <a:gdLst>
                    <a:gd name="connsiteX0" fmla="*/ 104902 w 104902"/>
                    <a:gd name="connsiteY0" fmla="*/ 42822 h 45632"/>
                    <a:gd name="connsiteX1" fmla="*/ 103766 w 104902"/>
                    <a:gd name="connsiteY1" fmla="*/ 45633 h 45632"/>
                    <a:gd name="connsiteX2" fmla="*/ 0 w 104902"/>
                    <a:gd name="connsiteY2" fmla="*/ 2811 h 45632"/>
                    <a:gd name="connsiteX3" fmla="*/ 1136 w 104902"/>
                    <a:gd name="connsiteY3" fmla="*/ 0 h 45632"/>
                  </a:gdLst>
                  <a:ahLst/>
                  <a:cxnLst>
                    <a:cxn ang="0">
                      <a:pos x="connsiteX0" y="connsiteY0"/>
                    </a:cxn>
                    <a:cxn ang="0">
                      <a:pos x="connsiteX1" y="connsiteY1"/>
                    </a:cxn>
                    <a:cxn ang="0">
                      <a:pos x="connsiteX2" y="connsiteY2"/>
                    </a:cxn>
                    <a:cxn ang="0">
                      <a:pos x="connsiteX3" y="connsiteY3"/>
                    </a:cxn>
                  </a:cxnLst>
                  <a:rect l="l" t="t" r="r" b="b"/>
                  <a:pathLst>
                    <a:path w="104902" h="45632">
                      <a:moveTo>
                        <a:pt x="104902" y="42822"/>
                      </a:moveTo>
                      <a:lnTo>
                        <a:pt x="103766" y="45633"/>
                      </a:lnTo>
                      <a:lnTo>
                        <a:pt x="0" y="2811"/>
                      </a:lnTo>
                      <a:lnTo>
                        <a:pt x="1136" y="0"/>
                      </a:lnTo>
                      <a:close/>
                    </a:path>
                  </a:pathLst>
                </a:custGeom>
                <a:grpFill/>
                <a:ln w="5978" cap="flat">
                  <a:noFill/>
                  <a:prstDash val="solid"/>
                  <a:miter/>
                </a:ln>
              </p:spPr>
              <p:txBody>
                <a:bodyPr rtlCol="0" anchor="ctr"/>
                <a:lstStyle/>
                <a:p>
                  <a:endParaRPr lang="en-GB"/>
                </a:p>
              </p:txBody>
            </p:sp>
            <p:sp>
              <p:nvSpPr>
                <p:cNvPr id="2167" name="Vrije vorm: vorm 2166">
                  <a:extLst>
                    <a:ext uri="{FF2B5EF4-FFF2-40B4-BE49-F238E27FC236}">
                      <a16:creationId xmlns:a16="http://schemas.microsoft.com/office/drawing/2014/main" id="{ADEA14E4-82E3-42C9-AAFD-C81F42059160}"/>
                    </a:ext>
                  </a:extLst>
                </p:cNvPr>
                <p:cNvSpPr/>
                <p:nvPr/>
              </p:nvSpPr>
              <p:spPr>
                <a:xfrm>
                  <a:off x="4078491" y="2595763"/>
                  <a:ext cx="18343" cy="18419"/>
                </a:xfrm>
                <a:custGeom>
                  <a:avLst/>
                  <a:gdLst>
                    <a:gd name="connsiteX0" fmla="*/ 5703 w 18343"/>
                    <a:gd name="connsiteY0" fmla="*/ 17732 h 18419"/>
                    <a:gd name="connsiteX1" fmla="*/ 679 w 18343"/>
                    <a:gd name="connsiteY1" fmla="*/ 5711 h 18419"/>
                    <a:gd name="connsiteX2" fmla="*/ 12641 w 18343"/>
                    <a:gd name="connsiteY2" fmla="*/ 687 h 18419"/>
                    <a:gd name="connsiteX3" fmla="*/ 17665 w 18343"/>
                    <a:gd name="connsiteY3" fmla="*/ 12709 h 18419"/>
                    <a:gd name="connsiteX4" fmla="*/ 5703 w 18343"/>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9">
                      <a:moveTo>
                        <a:pt x="5703" y="17732"/>
                      </a:moveTo>
                      <a:cubicBezTo>
                        <a:pt x="1038" y="15818"/>
                        <a:pt x="-1234" y="10436"/>
                        <a:pt x="679" y="5711"/>
                      </a:cubicBezTo>
                      <a:cubicBezTo>
                        <a:pt x="2593" y="986"/>
                        <a:pt x="7916" y="-1226"/>
                        <a:pt x="12641" y="687"/>
                      </a:cubicBezTo>
                      <a:cubicBezTo>
                        <a:pt x="17306" y="2601"/>
                        <a:pt x="19578" y="7984"/>
                        <a:pt x="17665" y="12709"/>
                      </a:cubicBezTo>
                      <a:cubicBezTo>
                        <a:pt x="15751" y="17433"/>
                        <a:pt x="10368" y="19646"/>
                        <a:pt x="5703" y="17732"/>
                      </a:cubicBezTo>
                      <a:close/>
                    </a:path>
                  </a:pathLst>
                </a:custGeom>
                <a:grpFill/>
                <a:ln w="5978" cap="flat">
                  <a:noFill/>
                  <a:prstDash val="solid"/>
                  <a:miter/>
                </a:ln>
              </p:spPr>
              <p:txBody>
                <a:bodyPr rtlCol="0" anchor="ctr"/>
                <a:lstStyle/>
                <a:p>
                  <a:endParaRPr lang="en-GB"/>
                </a:p>
              </p:txBody>
            </p:sp>
            <p:sp>
              <p:nvSpPr>
                <p:cNvPr id="2168" name="Vrije vorm: vorm 2167">
                  <a:extLst>
                    <a:ext uri="{FF2B5EF4-FFF2-40B4-BE49-F238E27FC236}">
                      <a16:creationId xmlns:a16="http://schemas.microsoft.com/office/drawing/2014/main" id="{61025513-A009-4E00-81E0-DA086DE733ED}"/>
                    </a:ext>
                  </a:extLst>
                </p:cNvPr>
                <p:cNvSpPr/>
                <p:nvPr/>
              </p:nvSpPr>
              <p:spPr>
                <a:xfrm>
                  <a:off x="4181387" y="2638226"/>
                  <a:ext cx="18377" cy="18419"/>
                </a:xfrm>
                <a:custGeom>
                  <a:avLst/>
                  <a:gdLst>
                    <a:gd name="connsiteX0" fmla="*/ 5736 w 18377"/>
                    <a:gd name="connsiteY0" fmla="*/ 17732 h 18419"/>
                    <a:gd name="connsiteX1" fmla="*/ 17698 w 18377"/>
                    <a:gd name="connsiteY1" fmla="*/ 12709 h 18419"/>
                    <a:gd name="connsiteX2" fmla="*/ 12674 w 18377"/>
                    <a:gd name="connsiteY2" fmla="*/ 687 h 18419"/>
                    <a:gd name="connsiteX3" fmla="*/ 712 w 18377"/>
                    <a:gd name="connsiteY3" fmla="*/ 5711 h 18419"/>
                    <a:gd name="connsiteX4" fmla="*/ 5736 w 18377"/>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19">
                      <a:moveTo>
                        <a:pt x="5736" y="17732"/>
                      </a:moveTo>
                      <a:cubicBezTo>
                        <a:pt x="10401" y="19646"/>
                        <a:pt x="15784" y="17433"/>
                        <a:pt x="17698" y="12709"/>
                      </a:cubicBezTo>
                      <a:cubicBezTo>
                        <a:pt x="19611" y="7984"/>
                        <a:pt x="17339" y="2601"/>
                        <a:pt x="12674" y="687"/>
                      </a:cubicBezTo>
                      <a:cubicBezTo>
                        <a:pt x="8009" y="-1227"/>
                        <a:pt x="2626" y="986"/>
                        <a:pt x="712" y="5711"/>
                      </a:cubicBezTo>
                      <a:cubicBezTo>
                        <a:pt x="-1261" y="10436"/>
                        <a:pt x="1011" y="15819"/>
                        <a:pt x="5736" y="17732"/>
                      </a:cubicBezTo>
                      <a:close/>
                    </a:path>
                  </a:pathLst>
                </a:custGeom>
                <a:grpFill/>
                <a:ln w="5978" cap="flat">
                  <a:noFill/>
                  <a:prstDash val="solid"/>
                  <a:miter/>
                </a:ln>
              </p:spPr>
              <p:txBody>
                <a:bodyPr rtlCol="0" anchor="ctr"/>
                <a:lstStyle/>
                <a:p>
                  <a:endParaRPr lang="en-GB"/>
                </a:p>
              </p:txBody>
            </p:sp>
          </p:grpSp>
          <p:grpSp>
            <p:nvGrpSpPr>
              <p:cNvPr id="1079" name="Graphic 3">
                <a:extLst>
                  <a:ext uri="{FF2B5EF4-FFF2-40B4-BE49-F238E27FC236}">
                    <a16:creationId xmlns:a16="http://schemas.microsoft.com/office/drawing/2014/main" id="{847945D6-A8C7-434E-994C-C803BBB66C4A}"/>
                  </a:ext>
                </a:extLst>
              </p:cNvPr>
              <p:cNvGrpSpPr/>
              <p:nvPr/>
            </p:nvGrpSpPr>
            <p:grpSpPr>
              <a:xfrm>
                <a:off x="4772174" y="4826871"/>
                <a:ext cx="406835" cy="561035"/>
                <a:chOff x="4772174" y="4826871"/>
                <a:chExt cx="406835" cy="561035"/>
              </a:xfrm>
              <a:grpFill/>
            </p:grpSpPr>
            <p:sp>
              <p:nvSpPr>
                <p:cNvPr id="2163" name="Vrije vorm: vorm 2162">
                  <a:extLst>
                    <a:ext uri="{FF2B5EF4-FFF2-40B4-BE49-F238E27FC236}">
                      <a16:creationId xmlns:a16="http://schemas.microsoft.com/office/drawing/2014/main" id="{1E318D89-94D1-43C6-9097-2F8FE1A6FE91}"/>
                    </a:ext>
                  </a:extLst>
                </p:cNvPr>
                <p:cNvSpPr/>
                <p:nvPr/>
              </p:nvSpPr>
              <p:spPr>
                <a:xfrm>
                  <a:off x="4779812" y="4834795"/>
                  <a:ext cx="391557" cy="545142"/>
                </a:xfrm>
                <a:custGeom>
                  <a:avLst/>
                  <a:gdLst>
                    <a:gd name="connsiteX0" fmla="*/ 391558 w 391557"/>
                    <a:gd name="connsiteY0" fmla="*/ 1794 h 545142"/>
                    <a:gd name="connsiteX1" fmla="*/ 2512 w 391557"/>
                    <a:gd name="connsiteY1" fmla="*/ 545143 h 545142"/>
                    <a:gd name="connsiteX2" fmla="*/ 0 w 391557"/>
                    <a:gd name="connsiteY2" fmla="*/ 543348 h 545142"/>
                    <a:gd name="connsiteX3" fmla="*/ 389046 w 391557"/>
                    <a:gd name="connsiteY3" fmla="*/ 0 h 545142"/>
                  </a:gdLst>
                  <a:ahLst/>
                  <a:cxnLst>
                    <a:cxn ang="0">
                      <a:pos x="connsiteX0" y="connsiteY0"/>
                    </a:cxn>
                    <a:cxn ang="0">
                      <a:pos x="connsiteX1" y="connsiteY1"/>
                    </a:cxn>
                    <a:cxn ang="0">
                      <a:pos x="connsiteX2" y="connsiteY2"/>
                    </a:cxn>
                    <a:cxn ang="0">
                      <a:pos x="connsiteX3" y="connsiteY3"/>
                    </a:cxn>
                  </a:cxnLst>
                  <a:rect l="l" t="t" r="r" b="b"/>
                  <a:pathLst>
                    <a:path w="391557" h="545142">
                      <a:moveTo>
                        <a:pt x="391558" y="1794"/>
                      </a:moveTo>
                      <a:lnTo>
                        <a:pt x="2512" y="545143"/>
                      </a:lnTo>
                      <a:lnTo>
                        <a:pt x="0" y="543348"/>
                      </a:lnTo>
                      <a:lnTo>
                        <a:pt x="389046" y="0"/>
                      </a:lnTo>
                      <a:close/>
                    </a:path>
                  </a:pathLst>
                </a:custGeom>
                <a:grpFill/>
                <a:ln w="5978" cap="flat">
                  <a:noFill/>
                  <a:prstDash val="solid"/>
                  <a:miter/>
                </a:ln>
              </p:spPr>
              <p:txBody>
                <a:bodyPr rtlCol="0" anchor="ctr"/>
                <a:lstStyle/>
                <a:p>
                  <a:endParaRPr lang="en-GB"/>
                </a:p>
              </p:txBody>
            </p:sp>
            <p:sp>
              <p:nvSpPr>
                <p:cNvPr id="2164" name="Vrije vorm: vorm 2163">
                  <a:extLst>
                    <a:ext uri="{FF2B5EF4-FFF2-40B4-BE49-F238E27FC236}">
                      <a16:creationId xmlns:a16="http://schemas.microsoft.com/office/drawing/2014/main" id="{66C96163-1DE6-4E43-8EE9-52DB9DD60F5A}"/>
                    </a:ext>
                  </a:extLst>
                </p:cNvPr>
                <p:cNvSpPr/>
                <p:nvPr/>
              </p:nvSpPr>
              <p:spPr>
                <a:xfrm>
                  <a:off x="5160698" y="4826871"/>
                  <a:ext cx="18311" cy="18421"/>
                </a:xfrm>
                <a:custGeom>
                  <a:avLst/>
                  <a:gdLst>
                    <a:gd name="connsiteX0" fmla="*/ 1701 w 18311"/>
                    <a:gd name="connsiteY0" fmla="*/ 3798 h 18421"/>
                    <a:gd name="connsiteX1" fmla="*/ 14500 w 18311"/>
                    <a:gd name="connsiteY1" fmla="*/ 1765 h 18421"/>
                    <a:gd name="connsiteX2" fmla="*/ 16593 w 18311"/>
                    <a:gd name="connsiteY2" fmla="*/ 14623 h 18421"/>
                    <a:gd name="connsiteX3" fmla="*/ 3794 w 18311"/>
                    <a:gd name="connsiteY3" fmla="*/ 16657 h 18421"/>
                    <a:gd name="connsiteX4" fmla="*/ 1701 w 18311"/>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1701" y="3798"/>
                      </a:moveTo>
                      <a:cubicBezTo>
                        <a:pt x="4632" y="-329"/>
                        <a:pt x="10373" y="-1226"/>
                        <a:pt x="14500" y="1765"/>
                      </a:cubicBezTo>
                      <a:cubicBezTo>
                        <a:pt x="18627" y="4755"/>
                        <a:pt x="19524" y="10497"/>
                        <a:pt x="16593" y="14623"/>
                      </a:cubicBezTo>
                      <a:cubicBezTo>
                        <a:pt x="13662" y="18750"/>
                        <a:pt x="7921" y="19647"/>
                        <a:pt x="3794" y="16657"/>
                      </a:cubicBezTo>
                      <a:cubicBezTo>
                        <a:pt x="-272" y="13666"/>
                        <a:pt x="-1230" y="7925"/>
                        <a:pt x="1701" y="3798"/>
                      </a:cubicBezTo>
                      <a:close/>
                    </a:path>
                  </a:pathLst>
                </a:custGeom>
                <a:grpFill/>
                <a:ln w="5978" cap="flat">
                  <a:noFill/>
                  <a:prstDash val="solid"/>
                  <a:miter/>
                </a:ln>
              </p:spPr>
              <p:txBody>
                <a:bodyPr rtlCol="0" anchor="ctr"/>
                <a:lstStyle/>
                <a:p>
                  <a:endParaRPr lang="en-GB"/>
                </a:p>
              </p:txBody>
            </p:sp>
            <p:sp>
              <p:nvSpPr>
                <p:cNvPr id="2165" name="Vrije vorm: vorm 2164">
                  <a:extLst>
                    <a:ext uri="{FF2B5EF4-FFF2-40B4-BE49-F238E27FC236}">
                      <a16:creationId xmlns:a16="http://schemas.microsoft.com/office/drawing/2014/main" id="{528CC28A-E2B5-4B49-A15C-3CEFED609BEF}"/>
                    </a:ext>
                  </a:extLst>
                </p:cNvPr>
                <p:cNvSpPr/>
                <p:nvPr/>
              </p:nvSpPr>
              <p:spPr>
                <a:xfrm>
                  <a:off x="4772174" y="5369502"/>
                  <a:ext cx="18327" cy="18404"/>
                </a:xfrm>
                <a:custGeom>
                  <a:avLst/>
                  <a:gdLst>
                    <a:gd name="connsiteX0" fmla="*/ 1718 w 18327"/>
                    <a:gd name="connsiteY0" fmla="*/ 3798 h 18404"/>
                    <a:gd name="connsiteX1" fmla="*/ 3811 w 18327"/>
                    <a:gd name="connsiteY1" fmla="*/ 16657 h 18404"/>
                    <a:gd name="connsiteX2" fmla="*/ 16610 w 18327"/>
                    <a:gd name="connsiteY2" fmla="*/ 14623 h 18404"/>
                    <a:gd name="connsiteX3" fmla="*/ 14517 w 18327"/>
                    <a:gd name="connsiteY3" fmla="*/ 1765 h 18404"/>
                    <a:gd name="connsiteX4" fmla="*/ 1718 w 18327"/>
                    <a:gd name="connsiteY4" fmla="*/ 3798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4">
                      <a:moveTo>
                        <a:pt x="1718" y="3798"/>
                      </a:moveTo>
                      <a:cubicBezTo>
                        <a:pt x="-1213" y="7925"/>
                        <a:pt x="-316" y="13666"/>
                        <a:pt x="3811" y="16657"/>
                      </a:cubicBezTo>
                      <a:cubicBezTo>
                        <a:pt x="7938" y="19647"/>
                        <a:pt x="13620" y="18690"/>
                        <a:pt x="16610" y="14623"/>
                      </a:cubicBezTo>
                      <a:cubicBezTo>
                        <a:pt x="19540" y="10496"/>
                        <a:pt x="18644" y="4755"/>
                        <a:pt x="14517" y="1765"/>
                      </a:cubicBezTo>
                      <a:cubicBezTo>
                        <a:pt x="10390" y="-1226"/>
                        <a:pt x="4648" y="-329"/>
                        <a:pt x="1718" y="3798"/>
                      </a:cubicBezTo>
                      <a:close/>
                    </a:path>
                  </a:pathLst>
                </a:custGeom>
                <a:grpFill/>
                <a:ln w="5978" cap="flat">
                  <a:noFill/>
                  <a:prstDash val="solid"/>
                  <a:miter/>
                </a:ln>
              </p:spPr>
              <p:txBody>
                <a:bodyPr rtlCol="0" anchor="ctr"/>
                <a:lstStyle/>
                <a:p>
                  <a:endParaRPr lang="en-GB"/>
                </a:p>
              </p:txBody>
            </p:sp>
          </p:grpSp>
          <p:grpSp>
            <p:nvGrpSpPr>
              <p:cNvPr id="1080" name="Graphic 3">
                <a:extLst>
                  <a:ext uri="{FF2B5EF4-FFF2-40B4-BE49-F238E27FC236}">
                    <a16:creationId xmlns:a16="http://schemas.microsoft.com/office/drawing/2014/main" id="{0068D22F-969F-4523-8C30-8D327DDF0B08}"/>
                  </a:ext>
                </a:extLst>
              </p:cNvPr>
              <p:cNvGrpSpPr/>
              <p:nvPr/>
            </p:nvGrpSpPr>
            <p:grpSpPr>
              <a:xfrm>
                <a:off x="3856688" y="2552159"/>
                <a:ext cx="601122" cy="279548"/>
                <a:chOff x="3856688" y="2552159"/>
                <a:chExt cx="601122" cy="279548"/>
              </a:xfrm>
              <a:grpFill/>
            </p:grpSpPr>
            <p:sp>
              <p:nvSpPr>
                <p:cNvPr id="2160" name="Vrije vorm: vorm 2159">
                  <a:extLst>
                    <a:ext uri="{FF2B5EF4-FFF2-40B4-BE49-F238E27FC236}">
                      <a16:creationId xmlns:a16="http://schemas.microsoft.com/office/drawing/2014/main" id="{9EEEFCBA-80FA-4452-8B01-22140511AF40}"/>
                    </a:ext>
                  </a:extLst>
                </p:cNvPr>
                <p:cNvSpPr/>
                <p:nvPr/>
              </p:nvSpPr>
              <p:spPr>
                <a:xfrm>
                  <a:off x="3864822" y="2559789"/>
                  <a:ext cx="584854" cy="264288"/>
                </a:xfrm>
                <a:custGeom>
                  <a:avLst/>
                  <a:gdLst>
                    <a:gd name="connsiteX0" fmla="*/ 584855 w 584854"/>
                    <a:gd name="connsiteY0" fmla="*/ 261477 h 264288"/>
                    <a:gd name="connsiteX1" fmla="*/ 583659 w 584854"/>
                    <a:gd name="connsiteY1" fmla="*/ 264288 h 264288"/>
                    <a:gd name="connsiteX2" fmla="*/ 0 w 584854"/>
                    <a:gd name="connsiteY2" fmla="*/ 2811 h 264288"/>
                    <a:gd name="connsiteX3" fmla="*/ 1196 w 584854"/>
                    <a:gd name="connsiteY3" fmla="*/ 0 h 264288"/>
                  </a:gdLst>
                  <a:ahLst/>
                  <a:cxnLst>
                    <a:cxn ang="0">
                      <a:pos x="connsiteX0" y="connsiteY0"/>
                    </a:cxn>
                    <a:cxn ang="0">
                      <a:pos x="connsiteX1" y="connsiteY1"/>
                    </a:cxn>
                    <a:cxn ang="0">
                      <a:pos x="connsiteX2" y="connsiteY2"/>
                    </a:cxn>
                    <a:cxn ang="0">
                      <a:pos x="connsiteX3" y="connsiteY3"/>
                    </a:cxn>
                  </a:cxnLst>
                  <a:rect l="l" t="t" r="r" b="b"/>
                  <a:pathLst>
                    <a:path w="584854" h="264288">
                      <a:moveTo>
                        <a:pt x="584855" y="261477"/>
                      </a:moveTo>
                      <a:lnTo>
                        <a:pt x="583659" y="264288"/>
                      </a:lnTo>
                      <a:lnTo>
                        <a:pt x="0" y="2811"/>
                      </a:lnTo>
                      <a:lnTo>
                        <a:pt x="1196" y="0"/>
                      </a:lnTo>
                      <a:close/>
                    </a:path>
                  </a:pathLst>
                </a:custGeom>
                <a:grpFill/>
                <a:ln w="5978" cap="flat">
                  <a:noFill/>
                  <a:prstDash val="solid"/>
                  <a:miter/>
                </a:ln>
              </p:spPr>
              <p:txBody>
                <a:bodyPr rtlCol="0" anchor="ctr"/>
                <a:lstStyle/>
                <a:p>
                  <a:endParaRPr lang="en-GB"/>
                </a:p>
              </p:txBody>
            </p:sp>
            <p:sp>
              <p:nvSpPr>
                <p:cNvPr id="2161" name="Vrije vorm: vorm 2160">
                  <a:extLst>
                    <a:ext uri="{FF2B5EF4-FFF2-40B4-BE49-F238E27FC236}">
                      <a16:creationId xmlns:a16="http://schemas.microsoft.com/office/drawing/2014/main" id="{BDF7AF52-442C-4D77-9754-AEA92BA76865}"/>
                    </a:ext>
                  </a:extLst>
                </p:cNvPr>
                <p:cNvSpPr/>
                <p:nvPr/>
              </p:nvSpPr>
              <p:spPr>
                <a:xfrm>
                  <a:off x="4439509" y="2813277"/>
                  <a:ext cx="18301" cy="18430"/>
                </a:xfrm>
                <a:custGeom>
                  <a:avLst/>
                  <a:gdLst>
                    <a:gd name="connsiteX0" fmla="*/ 12859 w 18301"/>
                    <a:gd name="connsiteY0" fmla="*/ 812 h 18430"/>
                    <a:gd name="connsiteX1" fmla="*/ 17524 w 18301"/>
                    <a:gd name="connsiteY1" fmla="*/ 12953 h 18430"/>
                    <a:gd name="connsiteX2" fmla="*/ 5443 w 18301"/>
                    <a:gd name="connsiteY2" fmla="*/ 17618 h 18430"/>
                    <a:gd name="connsiteX3" fmla="*/ 777 w 18301"/>
                    <a:gd name="connsiteY3" fmla="*/ 5477 h 18430"/>
                    <a:gd name="connsiteX4" fmla="*/ 12859 w 1830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0">
                      <a:moveTo>
                        <a:pt x="12859" y="812"/>
                      </a:moveTo>
                      <a:cubicBezTo>
                        <a:pt x="17464" y="2906"/>
                        <a:pt x="19557" y="8348"/>
                        <a:pt x="17524" y="12953"/>
                      </a:cubicBezTo>
                      <a:cubicBezTo>
                        <a:pt x="15490" y="17618"/>
                        <a:pt x="10048" y="19711"/>
                        <a:pt x="5443" y="17618"/>
                      </a:cubicBezTo>
                      <a:cubicBezTo>
                        <a:pt x="837" y="15525"/>
                        <a:pt x="-1256" y="10082"/>
                        <a:pt x="777" y="5477"/>
                      </a:cubicBezTo>
                      <a:cubicBezTo>
                        <a:pt x="2811" y="812"/>
                        <a:pt x="8194" y="-1281"/>
                        <a:pt x="12859" y="812"/>
                      </a:cubicBezTo>
                      <a:close/>
                    </a:path>
                  </a:pathLst>
                </a:custGeom>
                <a:grpFill/>
                <a:ln w="5978" cap="flat">
                  <a:noFill/>
                  <a:prstDash val="solid"/>
                  <a:miter/>
                </a:ln>
              </p:spPr>
              <p:txBody>
                <a:bodyPr rtlCol="0" anchor="ctr"/>
                <a:lstStyle/>
                <a:p>
                  <a:endParaRPr lang="en-GB"/>
                </a:p>
              </p:txBody>
            </p:sp>
            <p:sp>
              <p:nvSpPr>
                <p:cNvPr id="2162" name="Vrije vorm: vorm 2161">
                  <a:extLst>
                    <a:ext uri="{FF2B5EF4-FFF2-40B4-BE49-F238E27FC236}">
                      <a16:creationId xmlns:a16="http://schemas.microsoft.com/office/drawing/2014/main" id="{ACF8AEC2-2B98-4961-BCC9-68DBB64BA6FB}"/>
                    </a:ext>
                  </a:extLst>
                </p:cNvPr>
                <p:cNvSpPr/>
                <p:nvPr/>
              </p:nvSpPr>
              <p:spPr>
                <a:xfrm>
                  <a:off x="3856688" y="2552159"/>
                  <a:ext cx="18301" cy="18430"/>
                </a:xfrm>
                <a:custGeom>
                  <a:avLst/>
                  <a:gdLst>
                    <a:gd name="connsiteX0" fmla="*/ 12859 w 18301"/>
                    <a:gd name="connsiteY0" fmla="*/ 812 h 18430"/>
                    <a:gd name="connsiteX1" fmla="*/ 778 w 18301"/>
                    <a:gd name="connsiteY1" fmla="*/ 5477 h 18430"/>
                    <a:gd name="connsiteX2" fmla="*/ 5442 w 18301"/>
                    <a:gd name="connsiteY2" fmla="*/ 17618 h 18430"/>
                    <a:gd name="connsiteX3" fmla="*/ 17524 w 18301"/>
                    <a:gd name="connsiteY3" fmla="*/ 12953 h 18430"/>
                    <a:gd name="connsiteX4" fmla="*/ 12859 w 1830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0">
                      <a:moveTo>
                        <a:pt x="12859" y="812"/>
                      </a:moveTo>
                      <a:cubicBezTo>
                        <a:pt x="8254" y="-1281"/>
                        <a:pt x="2811" y="812"/>
                        <a:pt x="778" y="5477"/>
                      </a:cubicBezTo>
                      <a:cubicBezTo>
                        <a:pt x="-1256" y="10142"/>
                        <a:pt x="837" y="15585"/>
                        <a:pt x="5442" y="17618"/>
                      </a:cubicBezTo>
                      <a:cubicBezTo>
                        <a:pt x="10048" y="19711"/>
                        <a:pt x="15490" y="17618"/>
                        <a:pt x="17524" y="12953"/>
                      </a:cubicBezTo>
                      <a:cubicBezTo>
                        <a:pt x="19557" y="8288"/>
                        <a:pt x="17464" y="2846"/>
                        <a:pt x="12859" y="812"/>
                      </a:cubicBezTo>
                      <a:close/>
                    </a:path>
                  </a:pathLst>
                </a:custGeom>
                <a:grpFill/>
                <a:ln w="5978" cap="flat">
                  <a:noFill/>
                  <a:prstDash val="solid"/>
                  <a:miter/>
                </a:ln>
              </p:spPr>
              <p:txBody>
                <a:bodyPr rtlCol="0" anchor="ctr"/>
                <a:lstStyle/>
                <a:p>
                  <a:endParaRPr lang="en-GB"/>
                </a:p>
              </p:txBody>
            </p:sp>
          </p:grpSp>
          <p:grpSp>
            <p:nvGrpSpPr>
              <p:cNvPr id="1081" name="Graphic 3">
                <a:extLst>
                  <a:ext uri="{FF2B5EF4-FFF2-40B4-BE49-F238E27FC236}">
                    <a16:creationId xmlns:a16="http://schemas.microsoft.com/office/drawing/2014/main" id="{992A7F6D-676C-4D5A-87E9-A9936E9C6A5F}"/>
                  </a:ext>
                </a:extLst>
              </p:cNvPr>
              <p:cNvGrpSpPr/>
              <p:nvPr/>
            </p:nvGrpSpPr>
            <p:grpSpPr>
              <a:xfrm>
                <a:off x="4052602" y="2541200"/>
                <a:ext cx="134714" cy="69055"/>
                <a:chOff x="4052602" y="2541200"/>
                <a:chExt cx="134714" cy="69055"/>
              </a:xfrm>
              <a:grpFill/>
            </p:grpSpPr>
            <p:sp>
              <p:nvSpPr>
                <p:cNvPr id="2157" name="Vrije vorm: vorm 2156">
                  <a:extLst>
                    <a:ext uri="{FF2B5EF4-FFF2-40B4-BE49-F238E27FC236}">
                      <a16:creationId xmlns:a16="http://schemas.microsoft.com/office/drawing/2014/main" id="{7C34EDEB-AB80-4453-98FA-E74A4C6895EE}"/>
                    </a:ext>
                  </a:extLst>
                </p:cNvPr>
                <p:cNvSpPr/>
                <p:nvPr/>
              </p:nvSpPr>
              <p:spPr>
                <a:xfrm>
                  <a:off x="4060750" y="2548844"/>
                  <a:ext cx="118478" cy="53766"/>
                </a:xfrm>
                <a:custGeom>
                  <a:avLst/>
                  <a:gdLst>
                    <a:gd name="connsiteX0" fmla="*/ 118478 w 118478"/>
                    <a:gd name="connsiteY0" fmla="*/ 50956 h 53766"/>
                    <a:gd name="connsiteX1" fmla="*/ 117282 w 118478"/>
                    <a:gd name="connsiteY1" fmla="*/ 53767 h 53766"/>
                    <a:gd name="connsiteX2" fmla="*/ 0 w 118478"/>
                    <a:gd name="connsiteY2" fmla="*/ 2811 h 53766"/>
                    <a:gd name="connsiteX3" fmla="*/ 1196 w 118478"/>
                    <a:gd name="connsiteY3" fmla="*/ 0 h 53766"/>
                  </a:gdLst>
                  <a:ahLst/>
                  <a:cxnLst>
                    <a:cxn ang="0">
                      <a:pos x="connsiteX0" y="connsiteY0"/>
                    </a:cxn>
                    <a:cxn ang="0">
                      <a:pos x="connsiteX1" y="connsiteY1"/>
                    </a:cxn>
                    <a:cxn ang="0">
                      <a:pos x="connsiteX2" y="connsiteY2"/>
                    </a:cxn>
                    <a:cxn ang="0">
                      <a:pos x="connsiteX3" y="connsiteY3"/>
                    </a:cxn>
                  </a:cxnLst>
                  <a:rect l="l" t="t" r="r" b="b"/>
                  <a:pathLst>
                    <a:path w="118478" h="53766">
                      <a:moveTo>
                        <a:pt x="118478" y="50956"/>
                      </a:moveTo>
                      <a:lnTo>
                        <a:pt x="117282" y="53767"/>
                      </a:lnTo>
                      <a:lnTo>
                        <a:pt x="0" y="2811"/>
                      </a:lnTo>
                      <a:lnTo>
                        <a:pt x="1196" y="0"/>
                      </a:lnTo>
                      <a:close/>
                    </a:path>
                  </a:pathLst>
                </a:custGeom>
                <a:grpFill/>
                <a:ln w="5978" cap="flat">
                  <a:noFill/>
                  <a:prstDash val="solid"/>
                  <a:miter/>
                </a:ln>
              </p:spPr>
              <p:txBody>
                <a:bodyPr rtlCol="0" anchor="ctr"/>
                <a:lstStyle/>
                <a:p>
                  <a:endParaRPr lang="en-GB"/>
                </a:p>
              </p:txBody>
            </p:sp>
            <p:sp>
              <p:nvSpPr>
                <p:cNvPr id="2158" name="Vrije vorm: vorm 2157">
                  <a:extLst>
                    <a:ext uri="{FF2B5EF4-FFF2-40B4-BE49-F238E27FC236}">
                      <a16:creationId xmlns:a16="http://schemas.microsoft.com/office/drawing/2014/main" id="{E2701BCD-FEC7-48D7-870E-DB66DDB02751}"/>
                    </a:ext>
                  </a:extLst>
                </p:cNvPr>
                <p:cNvSpPr/>
                <p:nvPr/>
              </p:nvSpPr>
              <p:spPr>
                <a:xfrm>
                  <a:off x="4052602" y="2541200"/>
                  <a:ext cx="18304" cy="18458"/>
                </a:xfrm>
                <a:custGeom>
                  <a:avLst/>
                  <a:gdLst>
                    <a:gd name="connsiteX0" fmla="*/ 5576 w 18304"/>
                    <a:gd name="connsiteY0" fmla="*/ 17692 h 18458"/>
                    <a:gd name="connsiteX1" fmla="*/ 732 w 18304"/>
                    <a:gd name="connsiteY1" fmla="*/ 5551 h 18458"/>
                    <a:gd name="connsiteX2" fmla="*/ 12753 w 18304"/>
                    <a:gd name="connsiteY2" fmla="*/ 767 h 18458"/>
                    <a:gd name="connsiteX3" fmla="*/ 17538 w 18304"/>
                    <a:gd name="connsiteY3" fmla="*/ 12908 h 18458"/>
                    <a:gd name="connsiteX4" fmla="*/ 5576 w 18304"/>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8">
                      <a:moveTo>
                        <a:pt x="5576" y="17692"/>
                      </a:moveTo>
                      <a:cubicBezTo>
                        <a:pt x="911" y="15659"/>
                        <a:pt x="-1242" y="10216"/>
                        <a:pt x="732" y="5551"/>
                      </a:cubicBezTo>
                      <a:cubicBezTo>
                        <a:pt x="2705" y="886"/>
                        <a:pt x="8088" y="-1267"/>
                        <a:pt x="12753" y="767"/>
                      </a:cubicBezTo>
                      <a:cubicBezTo>
                        <a:pt x="17418" y="2800"/>
                        <a:pt x="19571" y="8243"/>
                        <a:pt x="17538" y="12908"/>
                      </a:cubicBezTo>
                      <a:cubicBezTo>
                        <a:pt x="15624" y="17572"/>
                        <a:pt x="10241" y="19725"/>
                        <a:pt x="5576" y="17692"/>
                      </a:cubicBezTo>
                      <a:close/>
                    </a:path>
                  </a:pathLst>
                </a:custGeom>
                <a:grpFill/>
                <a:ln w="5978" cap="flat">
                  <a:noFill/>
                  <a:prstDash val="solid"/>
                  <a:miter/>
                </a:ln>
              </p:spPr>
              <p:txBody>
                <a:bodyPr rtlCol="0" anchor="ctr"/>
                <a:lstStyle/>
                <a:p>
                  <a:endParaRPr lang="en-GB"/>
                </a:p>
              </p:txBody>
            </p:sp>
            <p:sp>
              <p:nvSpPr>
                <p:cNvPr id="2159" name="Vrije vorm: vorm 2158">
                  <a:extLst>
                    <a:ext uri="{FF2B5EF4-FFF2-40B4-BE49-F238E27FC236}">
                      <a16:creationId xmlns:a16="http://schemas.microsoft.com/office/drawing/2014/main" id="{7E879AD4-8170-4C94-A95C-217184C74E84}"/>
                    </a:ext>
                  </a:extLst>
                </p:cNvPr>
                <p:cNvSpPr/>
                <p:nvPr/>
              </p:nvSpPr>
              <p:spPr>
                <a:xfrm>
                  <a:off x="4169012" y="2591797"/>
                  <a:ext cx="18305" cy="18458"/>
                </a:xfrm>
                <a:custGeom>
                  <a:avLst/>
                  <a:gdLst>
                    <a:gd name="connsiteX0" fmla="*/ 5551 w 18305"/>
                    <a:gd name="connsiteY0" fmla="*/ 17692 h 18458"/>
                    <a:gd name="connsiteX1" fmla="*/ 17573 w 18305"/>
                    <a:gd name="connsiteY1" fmla="*/ 12908 h 18458"/>
                    <a:gd name="connsiteX2" fmla="*/ 12788 w 18305"/>
                    <a:gd name="connsiteY2" fmla="*/ 767 h 18458"/>
                    <a:gd name="connsiteX3" fmla="*/ 767 w 18305"/>
                    <a:gd name="connsiteY3" fmla="*/ 5551 h 18458"/>
                    <a:gd name="connsiteX4" fmla="*/ 5551 w 1830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8">
                      <a:moveTo>
                        <a:pt x="5551" y="17692"/>
                      </a:moveTo>
                      <a:cubicBezTo>
                        <a:pt x="10216" y="19726"/>
                        <a:pt x="15599" y="17572"/>
                        <a:pt x="17573" y="12908"/>
                      </a:cubicBezTo>
                      <a:cubicBezTo>
                        <a:pt x="19546" y="8243"/>
                        <a:pt x="17393" y="2800"/>
                        <a:pt x="12788" y="767"/>
                      </a:cubicBezTo>
                      <a:cubicBezTo>
                        <a:pt x="8123" y="-1267"/>
                        <a:pt x="2740" y="886"/>
                        <a:pt x="767" y="5551"/>
                      </a:cubicBezTo>
                      <a:cubicBezTo>
                        <a:pt x="-1267" y="10216"/>
                        <a:pt x="886" y="15659"/>
                        <a:pt x="5551" y="17692"/>
                      </a:cubicBezTo>
                      <a:close/>
                    </a:path>
                  </a:pathLst>
                </a:custGeom>
                <a:grpFill/>
                <a:ln w="5978" cap="flat">
                  <a:noFill/>
                  <a:prstDash val="solid"/>
                  <a:miter/>
                </a:ln>
              </p:spPr>
              <p:txBody>
                <a:bodyPr rtlCol="0" anchor="ctr"/>
                <a:lstStyle/>
                <a:p>
                  <a:endParaRPr lang="en-GB"/>
                </a:p>
              </p:txBody>
            </p:sp>
          </p:grpSp>
          <p:grpSp>
            <p:nvGrpSpPr>
              <p:cNvPr id="1082" name="Graphic 3">
                <a:extLst>
                  <a:ext uri="{FF2B5EF4-FFF2-40B4-BE49-F238E27FC236}">
                    <a16:creationId xmlns:a16="http://schemas.microsoft.com/office/drawing/2014/main" id="{335442B7-4610-4AEE-8153-86360BC6F732}"/>
                  </a:ext>
                </a:extLst>
              </p:cNvPr>
              <p:cNvGrpSpPr/>
              <p:nvPr/>
            </p:nvGrpSpPr>
            <p:grpSpPr>
              <a:xfrm>
                <a:off x="4778068" y="4650289"/>
                <a:ext cx="98126" cy="101855"/>
                <a:chOff x="4778068" y="4650289"/>
                <a:chExt cx="98126" cy="101855"/>
              </a:xfrm>
              <a:grpFill/>
            </p:grpSpPr>
            <p:sp>
              <p:nvSpPr>
                <p:cNvPr id="2154" name="Vrije vorm: vorm 2153">
                  <a:extLst>
                    <a:ext uri="{FF2B5EF4-FFF2-40B4-BE49-F238E27FC236}">
                      <a16:creationId xmlns:a16="http://schemas.microsoft.com/office/drawing/2014/main" id="{3F817C18-1CA2-4C76-9183-1E1261EB93F3}"/>
                    </a:ext>
                  </a:extLst>
                </p:cNvPr>
                <p:cNvSpPr/>
                <p:nvPr/>
              </p:nvSpPr>
              <p:spPr>
                <a:xfrm>
                  <a:off x="4785793" y="4658125"/>
                  <a:ext cx="82653" cy="86241"/>
                </a:xfrm>
                <a:custGeom>
                  <a:avLst/>
                  <a:gdLst>
                    <a:gd name="connsiteX0" fmla="*/ 82654 w 82653"/>
                    <a:gd name="connsiteY0" fmla="*/ 2093 h 86241"/>
                    <a:gd name="connsiteX1" fmla="*/ 2213 w 82653"/>
                    <a:gd name="connsiteY1" fmla="*/ 86242 h 86241"/>
                    <a:gd name="connsiteX2" fmla="*/ 0 w 82653"/>
                    <a:gd name="connsiteY2" fmla="*/ 84089 h 86241"/>
                    <a:gd name="connsiteX3" fmla="*/ 80441 w 82653"/>
                    <a:gd name="connsiteY3" fmla="*/ 0 h 86241"/>
                  </a:gdLst>
                  <a:ahLst/>
                  <a:cxnLst>
                    <a:cxn ang="0">
                      <a:pos x="connsiteX0" y="connsiteY0"/>
                    </a:cxn>
                    <a:cxn ang="0">
                      <a:pos x="connsiteX1" y="connsiteY1"/>
                    </a:cxn>
                    <a:cxn ang="0">
                      <a:pos x="connsiteX2" y="connsiteY2"/>
                    </a:cxn>
                    <a:cxn ang="0">
                      <a:pos x="connsiteX3" y="connsiteY3"/>
                    </a:cxn>
                  </a:cxnLst>
                  <a:rect l="l" t="t" r="r" b="b"/>
                  <a:pathLst>
                    <a:path w="82653" h="86241">
                      <a:moveTo>
                        <a:pt x="82654" y="2093"/>
                      </a:moveTo>
                      <a:lnTo>
                        <a:pt x="2213" y="86242"/>
                      </a:lnTo>
                      <a:lnTo>
                        <a:pt x="0" y="84089"/>
                      </a:lnTo>
                      <a:lnTo>
                        <a:pt x="80441" y="0"/>
                      </a:lnTo>
                      <a:close/>
                    </a:path>
                  </a:pathLst>
                </a:custGeom>
                <a:grpFill/>
                <a:ln w="5978" cap="flat">
                  <a:noFill/>
                  <a:prstDash val="solid"/>
                  <a:miter/>
                </a:ln>
              </p:spPr>
              <p:txBody>
                <a:bodyPr rtlCol="0" anchor="ctr"/>
                <a:lstStyle/>
                <a:p>
                  <a:endParaRPr lang="en-GB"/>
                </a:p>
              </p:txBody>
            </p:sp>
            <p:sp>
              <p:nvSpPr>
                <p:cNvPr id="2155" name="Vrije vorm: vorm 2154">
                  <a:extLst>
                    <a:ext uri="{FF2B5EF4-FFF2-40B4-BE49-F238E27FC236}">
                      <a16:creationId xmlns:a16="http://schemas.microsoft.com/office/drawing/2014/main" id="{0AFB5C4D-8714-45FB-8333-4CE24EC71FD9}"/>
                    </a:ext>
                  </a:extLst>
                </p:cNvPr>
                <p:cNvSpPr/>
                <p:nvPr/>
              </p:nvSpPr>
              <p:spPr>
                <a:xfrm>
                  <a:off x="4778068" y="4733720"/>
                  <a:ext cx="18320" cy="18423"/>
                </a:xfrm>
                <a:custGeom>
                  <a:avLst/>
                  <a:gdLst>
                    <a:gd name="connsiteX0" fmla="*/ 15799 w 18320"/>
                    <a:gd name="connsiteY0" fmla="*/ 15611 h 18423"/>
                    <a:gd name="connsiteX1" fmla="*/ 2821 w 18320"/>
                    <a:gd name="connsiteY1" fmla="*/ 15851 h 18423"/>
                    <a:gd name="connsiteX2" fmla="*/ 2522 w 18320"/>
                    <a:gd name="connsiteY2" fmla="*/ 2813 h 18423"/>
                    <a:gd name="connsiteX3" fmla="*/ 15500 w 18320"/>
                    <a:gd name="connsiteY3" fmla="*/ 2573 h 18423"/>
                    <a:gd name="connsiteX4" fmla="*/ 15799 w 18320"/>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15799" y="15611"/>
                      </a:moveTo>
                      <a:cubicBezTo>
                        <a:pt x="12270" y="19260"/>
                        <a:pt x="6469" y="19379"/>
                        <a:pt x="2821" y="15851"/>
                      </a:cubicBezTo>
                      <a:cubicBezTo>
                        <a:pt x="-827" y="12322"/>
                        <a:pt x="-947" y="6461"/>
                        <a:pt x="2522" y="2813"/>
                      </a:cubicBezTo>
                      <a:cubicBezTo>
                        <a:pt x="6050" y="-836"/>
                        <a:pt x="11852" y="-955"/>
                        <a:pt x="15500" y="2573"/>
                      </a:cubicBezTo>
                      <a:cubicBezTo>
                        <a:pt x="19148" y="6102"/>
                        <a:pt x="19268" y="11963"/>
                        <a:pt x="15799" y="15611"/>
                      </a:cubicBezTo>
                      <a:close/>
                    </a:path>
                  </a:pathLst>
                </a:custGeom>
                <a:grpFill/>
                <a:ln w="5978" cap="flat">
                  <a:noFill/>
                  <a:prstDash val="solid"/>
                  <a:miter/>
                </a:ln>
              </p:spPr>
              <p:txBody>
                <a:bodyPr rtlCol="0" anchor="ctr"/>
                <a:lstStyle/>
                <a:p>
                  <a:endParaRPr lang="en-GB"/>
                </a:p>
              </p:txBody>
            </p:sp>
            <p:sp>
              <p:nvSpPr>
                <p:cNvPr id="2156" name="Vrije vorm: vorm 2155">
                  <a:extLst>
                    <a:ext uri="{FF2B5EF4-FFF2-40B4-BE49-F238E27FC236}">
                      <a16:creationId xmlns:a16="http://schemas.microsoft.com/office/drawing/2014/main" id="{DCC1B06C-D674-400A-AF9F-F0F5FF7D6E9B}"/>
                    </a:ext>
                  </a:extLst>
                </p:cNvPr>
                <p:cNvSpPr/>
                <p:nvPr/>
              </p:nvSpPr>
              <p:spPr>
                <a:xfrm>
                  <a:off x="4857828" y="4650289"/>
                  <a:ext cx="18366" cy="18423"/>
                </a:xfrm>
                <a:custGeom>
                  <a:avLst/>
                  <a:gdLst>
                    <a:gd name="connsiteX0" fmla="*/ 15822 w 18366"/>
                    <a:gd name="connsiteY0" fmla="*/ 15611 h 18423"/>
                    <a:gd name="connsiteX1" fmla="*/ 15523 w 18366"/>
                    <a:gd name="connsiteY1" fmla="*/ 2573 h 18423"/>
                    <a:gd name="connsiteX2" fmla="*/ 2545 w 18366"/>
                    <a:gd name="connsiteY2" fmla="*/ 2813 h 18423"/>
                    <a:gd name="connsiteX3" fmla="*/ 2844 w 18366"/>
                    <a:gd name="connsiteY3" fmla="*/ 15851 h 18423"/>
                    <a:gd name="connsiteX4" fmla="*/ 15822 w 18366"/>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3">
                      <a:moveTo>
                        <a:pt x="15822" y="15611"/>
                      </a:moveTo>
                      <a:cubicBezTo>
                        <a:pt x="19351" y="11963"/>
                        <a:pt x="19171" y="6102"/>
                        <a:pt x="15523" y="2573"/>
                      </a:cubicBezTo>
                      <a:cubicBezTo>
                        <a:pt x="11875" y="-955"/>
                        <a:pt x="6073" y="-836"/>
                        <a:pt x="2545" y="2813"/>
                      </a:cubicBezTo>
                      <a:cubicBezTo>
                        <a:pt x="-984" y="6461"/>
                        <a:pt x="-805" y="12322"/>
                        <a:pt x="2844" y="15851"/>
                      </a:cubicBezTo>
                      <a:cubicBezTo>
                        <a:pt x="6492" y="19379"/>
                        <a:pt x="12293" y="19260"/>
                        <a:pt x="15822" y="15611"/>
                      </a:cubicBezTo>
                      <a:close/>
                    </a:path>
                  </a:pathLst>
                </a:custGeom>
                <a:grpFill/>
                <a:ln w="5978" cap="flat">
                  <a:noFill/>
                  <a:prstDash val="solid"/>
                  <a:miter/>
                </a:ln>
              </p:spPr>
              <p:txBody>
                <a:bodyPr rtlCol="0" anchor="ctr"/>
                <a:lstStyle/>
                <a:p>
                  <a:endParaRPr lang="en-GB"/>
                </a:p>
              </p:txBody>
            </p:sp>
          </p:grpSp>
          <p:grpSp>
            <p:nvGrpSpPr>
              <p:cNvPr id="1083" name="Graphic 3">
                <a:extLst>
                  <a:ext uri="{FF2B5EF4-FFF2-40B4-BE49-F238E27FC236}">
                    <a16:creationId xmlns:a16="http://schemas.microsoft.com/office/drawing/2014/main" id="{F6F8DCFA-CFCE-4D32-BD4F-2E7F26B3DBE1}"/>
                  </a:ext>
                </a:extLst>
              </p:cNvPr>
              <p:cNvGrpSpPr/>
              <p:nvPr/>
            </p:nvGrpSpPr>
            <p:grpSpPr>
              <a:xfrm>
                <a:off x="4894036" y="4969487"/>
                <a:ext cx="113829" cy="159553"/>
                <a:chOff x="4894036" y="4969487"/>
                <a:chExt cx="113829" cy="159553"/>
              </a:xfrm>
              <a:grpFill/>
            </p:grpSpPr>
            <p:sp>
              <p:nvSpPr>
                <p:cNvPr id="2151" name="Vrije vorm: vorm 2150">
                  <a:extLst>
                    <a:ext uri="{FF2B5EF4-FFF2-40B4-BE49-F238E27FC236}">
                      <a16:creationId xmlns:a16="http://schemas.microsoft.com/office/drawing/2014/main" id="{899DC0E7-7DDA-4B6E-84A7-5BA29ABED520}"/>
                    </a:ext>
                  </a:extLst>
                </p:cNvPr>
                <p:cNvSpPr/>
                <p:nvPr/>
              </p:nvSpPr>
              <p:spPr>
                <a:xfrm>
                  <a:off x="4901700" y="4977495"/>
                  <a:ext cx="98502" cy="143597"/>
                </a:xfrm>
                <a:custGeom>
                  <a:avLst/>
                  <a:gdLst>
                    <a:gd name="connsiteX0" fmla="*/ 98502 w 98502"/>
                    <a:gd name="connsiteY0" fmla="*/ 1675 h 143597"/>
                    <a:gd name="connsiteX1" fmla="*/ 2512 w 98502"/>
                    <a:gd name="connsiteY1" fmla="*/ 143597 h 143597"/>
                    <a:gd name="connsiteX2" fmla="*/ 0 w 98502"/>
                    <a:gd name="connsiteY2" fmla="*/ 141863 h 143597"/>
                    <a:gd name="connsiteX3" fmla="*/ 95991 w 98502"/>
                    <a:gd name="connsiteY3" fmla="*/ 0 h 143597"/>
                  </a:gdLst>
                  <a:ahLst/>
                  <a:cxnLst>
                    <a:cxn ang="0">
                      <a:pos x="connsiteX0" y="connsiteY0"/>
                    </a:cxn>
                    <a:cxn ang="0">
                      <a:pos x="connsiteX1" y="connsiteY1"/>
                    </a:cxn>
                    <a:cxn ang="0">
                      <a:pos x="connsiteX2" y="connsiteY2"/>
                    </a:cxn>
                    <a:cxn ang="0">
                      <a:pos x="connsiteX3" y="connsiteY3"/>
                    </a:cxn>
                  </a:cxnLst>
                  <a:rect l="l" t="t" r="r" b="b"/>
                  <a:pathLst>
                    <a:path w="98502" h="143597">
                      <a:moveTo>
                        <a:pt x="98502" y="1675"/>
                      </a:moveTo>
                      <a:lnTo>
                        <a:pt x="2512" y="143597"/>
                      </a:lnTo>
                      <a:lnTo>
                        <a:pt x="0" y="141863"/>
                      </a:lnTo>
                      <a:lnTo>
                        <a:pt x="95991" y="0"/>
                      </a:lnTo>
                      <a:close/>
                    </a:path>
                  </a:pathLst>
                </a:custGeom>
                <a:grpFill/>
                <a:ln w="5978" cap="flat">
                  <a:noFill/>
                  <a:prstDash val="solid"/>
                  <a:miter/>
                </a:ln>
              </p:spPr>
              <p:txBody>
                <a:bodyPr rtlCol="0" anchor="ctr"/>
                <a:lstStyle/>
                <a:p>
                  <a:endParaRPr lang="en-GB"/>
                </a:p>
              </p:txBody>
            </p:sp>
            <p:sp>
              <p:nvSpPr>
                <p:cNvPr id="2152" name="Vrije vorm: vorm 2151">
                  <a:extLst>
                    <a:ext uri="{FF2B5EF4-FFF2-40B4-BE49-F238E27FC236}">
                      <a16:creationId xmlns:a16="http://schemas.microsoft.com/office/drawing/2014/main" id="{0291A2DD-3518-42D9-8A56-D759BA8734F8}"/>
                    </a:ext>
                  </a:extLst>
                </p:cNvPr>
                <p:cNvSpPr/>
                <p:nvPr/>
              </p:nvSpPr>
              <p:spPr>
                <a:xfrm>
                  <a:off x="4894036" y="5110632"/>
                  <a:ext cx="18343" cy="18408"/>
                </a:xfrm>
                <a:custGeom>
                  <a:avLst/>
                  <a:gdLst>
                    <a:gd name="connsiteX0" fmla="*/ 16754 w 18343"/>
                    <a:gd name="connsiteY0" fmla="*/ 14408 h 18408"/>
                    <a:gd name="connsiteX1" fmla="*/ 4015 w 18343"/>
                    <a:gd name="connsiteY1" fmla="*/ 16800 h 18408"/>
                    <a:gd name="connsiteX2" fmla="*/ 1563 w 18343"/>
                    <a:gd name="connsiteY2" fmla="*/ 4001 h 18408"/>
                    <a:gd name="connsiteX3" fmla="*/ 14302 w 18343"/>
                    <a:gd name="connsiteY3" fmla="*/ 1609 h 18408"/>
                    <a:gd name="connsiteX4" fmla="*/ 16754 w 18343"/>
                    <a:gd name="connsiteY4" fmla="*/ 14408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6754" y="14408"/>
                      </a:moveTo>
                      <a:cubicBezTo>
                        <a:pt x="13943" y="18594"/>
                        <a:pt x="8202" y="19670"/>
                        <a:pt x="4015" y="16800"/>
                      </a:cubicBezTo>
                      <a:cubicBezTo>
                        <a:pt x="-171" y="13929"/>
                        <a:pt x="-1248" y="8187"/>
                        <a:pt x="1563" y="4001"/>
                      </a:cubicBezTo>
                      <a:cubicBezTo>
                        <a:pt x="4374" y="-185"/>
                        <a:pt x="10116" y="-1262"/>
                        <a:pt x="14302" y="1609"/>
                      </a:cubicBezTo>
                      <a:cubicBezTo>
                        <a:pt x="18489" y="4479"/>
                        <a:pt x="19625" y="10221"/>
                        <a:pt x="16754" y="14408"/>
                      </a:cubicBezTo>
                      <a:close/>
                    </a:path>
                  </a:pathLst>
                </a:custGeom>
                <a:grpFill/>
                <a:ln w="5978" cap="flat">
                  <a:noFill/>
                  <a:prstDash val="solid"/>
                  <a:miter/>
                </a:ln>
              </p:spPr>
              <p:txBody>
                <a:bodyPr rtlCol="0" anchor="ctr"/>
                <a:lstStyle/>
                <a:p>
                  <a:endParaRPr lang="en-GB"/>
                </a:p>
              </p:txBody>
            </p:sp>
            <p:sp>
              <p:nvSpPr>
                <p:cNvPr id="2153" name="Vrije vorm: vorm 2152">
                  <a:extLst>
                    <a:ext uri="{FF2B5EF4-FFF2-40B4-BE49-F238E27FC236}">
                      <a16:creationId xmlns:a16="http://schemas.microsoft.com/office/drawing/2014/main" id="{4DD94DFD-39C7-465B-9A16-1FD8959B9A19}"/>
                    </a:ext>
                  </a:extLst>
                </p:cNvPr>
                <p:cNvSpPr/>
                <p:nvPr/>
              </p:nvSpPr>
              <p:spPr>
                <a:xfrm>
                  <a:off x="4989522" y="4969487"/>
                  <a:ext cx="18343" cy="18450"/>
                </a:xfrm>
                <a:custGeom>
                  <a:avLst/>
                  <a:gdLst>
                    <a:gd name="connsiteX0" fmla="*/ 16781 w 18343"/>
                    <a:gd name="connsiteY0" fmla="*/ 14407 h 18450"/>
                    <a:gd name="connsiteX1" fmla="*/ 14329 w 18343"/>
                    <a:gd name="connsiteY1" fmla="*/ 1609 h 18450"/>
                    <a:gd name="connsiteX2" fmla="*/ 1590 w 18343"/>
                    <a:gd name="connsiteY2" fmla="*/ 4001 h 18450"/>
                    <a:gd name="connsiteX3" fmla="*/ 4042 w 18343"/>
                    <a:gd name="connsiteY3" fmla="*/ 16800 h 18450"/>
                    <a:gd name="connsiteX4" fmla="*/ 16781 w 18343"/>
                    <a:gd name="connsiteY4" fmla="*/ 14407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0">
                      <a:moveTo>
                        <a:pt x="16781" y="14407"/>
                      </a:moveTo>
                      <a:cubicBezTo>
                        <a:pt x="19592" y="10221"/>
                        <a:pt x="18515" y="4480"/>
                        <a:pt x="14329" y="1609"/>
                      </a:cubicBezTo>
                      <a:cubicBezTo>
                        <a:pt x="10142" y="-1262"/>
                        <a:pt x="4460" y="-186"/>
                        <a:pt x="1590" y="4001"/>
                      </a:cubicBezTo>
                      <a:cubicBezTo>
                        <a:pt x="-1281" y="8188"/>
                        <a:pt x="-145" y="13929"/>
                        <a:pt x="4042" y="16800"/>
                      </a:cubicBezTo>
                      <a:cubicBezTo>
                        <a:pt x="8228" y="19730"/>
                        <a:pt x="13910" y="18654"/>
                        <a:pt x="16781" y="14407"/>
                      </a:cubicBezTo>
                      <a:close/>
                    </a:path>
                  </a:pathLst>
                </a:custGeom>
                <a:grpFill/>
                <a:ln w="5978" cap="flat">
                  <a:noFill/>
                  <a:prstDash val="solid"/>
                  <a:miter/>
                </a:ln>
              </p:spPr>
              <p:txBody>
                <a:bodyPr rtlCol="0" anchor="ctr"/>
                <a:lstStyle/>
                <a:p>
                  <a:endParaRPr lang="en-GB"/>
                </a:p>
              </p:txBody>
            </p:sp>
          </p:grpSp>
          <p:grpSp>
            <p:nvGrpSpPr>
              <p:cNvPr id="1084" name="Graphic 3">
                <a:extLst>
                  <a:ext uri="{FF2B5EF4-FFF2-40B4-BE49-F238E27FC236}">
                    <a16:creationId xmlns:a16="http://schemas.microsoft.com/office/drawing/2014/main" id="{9BA0F39B-B682-4891-89E1-8D67AC295556}"/>
                  </a:ext>
                </a:extLst>
              </p:cNvPr>
              <p:cNvGrpSpPr/>
              <p:nvPr/>
            </p:nvGrpSpPr>
            <p:grpSpPr>
              <a:xfrm>
                <a:off x="4256387" y="3208345"/>
                <a:ext cx="135389" cy="31445"/>
                <a:chOff x="4256387" y="3208345"/>
                <a:chExt cx="135389" cy="31445"/>
              </a:xfrm>
              <a:grpFill/>
            </p:grpSpPr>
            <p:sp>
              <p:nvSpPr>
                <p:cNvPr id="2148" name="Vrije vorm: vorm 2147">
                  <a:extLst>
                    <a:ext uri="{FF2B5EF4-FFF2-40B4-BE49-F238E27FC236}">
                      <a16:creationId xmlns:a16="http://schemas.microsoft.com/office/drawing/2014/main" id="{FCB0CE6F-FE4A-4424-805C-CE5E5EF8BA00}"/>
                    </a:ext>
                  </a:extLst>
                </p:cNvPr>
                <p:cNvSpPr/>
                <p:nvPr/>
              </p:nvSpPr>
              <p:spPr>
                <a:xfrm>
                  <a:off x="4264932" y="3215934"/>
                  <a:ext cx="118298" cy="16207"/>
                </a:xfrm>
                <a:custGeom>
                  <a:avLst/>
                  <a:gdLst>
                    <a:gd name="connsiteX0" fmla="*/ 118299 w 118298"/>
                    <a:gd name="connsiteY0" fmla="*/ 13157 h 16207"/>
                    <a:gd name="connsiteX1" fmla="*/ 117940 w 118298"/>
                    <a:gd name="connsiteY1" fmla="*/ 16208 h 16207"/>
                    <a:gd name="connsiteX2" fmla="*/ 0 w 118298"/>
                    <a:gd name="connsiteY2" fmla="*/ 3050 h 16207"/>
                    <a:gd name="connsiteX3" fmla="*/ 299 w 118298"/>
                    <a:gd name="connsiteY3" fmla="*/ 0 h 16207"/>
                  </a:gdLst>
                  <a:ahLst/>
                  <a:cxnLst>
                    <a:cxn ang="0">
                      <a:pos x="connsiteX0" y="connsiteY0"/>
                    </a:cxn>
                    <a:cxn ang="0">
                      <a:pos x="connsiteX1" y="connsiteY1"/>
                    </a:cxn>
                    <a:cxn ang="0">
                      <a:pos x="connsiteX2" y="connsiteY2"/>
                    </a:cxn>
                    <a:cxn ang="0">
                      <a:pos x="connsiteX3" y="connsiteY3"/>
                    </a:cxn>
                  </a:cxnLst>
                  <a:rect l="l" t="t" r="r" b="b"/>
                  <a:pathLst>
                    <a:path w="118298" h="16207">
                      <a:moveTo>
                        <a:pt x="118299" y="13157"/>
                      </a:moveTo>
                      <a:lnTo>
                        <a:pt x="117940" y="16208"/>
                      </a:lnTo>
                      <a:lnTo>
                        <a:pt x="0" y="3050"/>
                      </a:lnTo>
                      <a:lnTo>
                        <a:pt x="299" y="0"/>
                      </a:lnTo>
                      <a:close/>
                    </a:path>
                  </a:pathLst>
                </a:custGeom>
                <a:grpFill/>
                <a:ln w="5978" cap="flat">
                  <a:noFill/>
                  <a:prstDash val="solid"/>
                  <a:miter/>
                </a:ln>
              </p:spPr>
              <p:txBody>
                <a:bodyPr rtlCol="0" anchor="ctr"/>
                <a:lstStyle/>
                <a:p>
                  <a:endParaRPr lang="en-GB"/>
                </a:p>
              </p:txBody>
            </p:sp>
            <p:sp>
              <p:nvSpPr>
                <p:cNvPr id="2149" name="Vrije vorm: vorm 2148">
                  <a:extLst>
                    <a:ext uri="{FF2B5EF4-FFF2-40B4-BE49-F238E27FC236}">
                      <a16:creationId xmlns:a16="http://schemas.microsoft.com/office/drawing/2014/main" id="{324480E8-36CE-48E3-BA57-23263071CD9B}"/>
                    </a:ext>
                  </a:extLst>
                </p:cNvPr>
                <p:cNvSpPr/>
                <p:nvPr/>
              </p:nvSpPr>
              <p:spPr>
                <a:xfrm>
                  <a:off x="4256387" y="3208345"/>
                  <a:ext cx="18346" cy="18407"/>
                </a:xfrm>
                <a:custGeom>
                  <a:avLst/>
                  <a:gdLst>
                    <a:gd name="connsiteX0" fmla="*/ 8186 w 18346"/>
                    <a:gd name="connsiteY0" fmla="*/ 18354 h 18407"/>
                    <a:gd name="connsiteX1" fmla="*/ 53 w 18346"/>
                    <a:gd name="connsiteY1" fmla="*/ 8187 h 18407"/>
                    <a:gd name="connsiteX2" fmla="*/ 10160 w 18346"/>
                    <a:gd name="connsiteY2" fmla="*/ 53 h 18407"/>
                    <a:gd name="connsiteX3" fmla="*/ 18294 w 18346"/>
                    <a:gd name="connsiteY3" fmla="*/ 10221 h 18407"/>
                    <a:gd name="connsiteX4" fmla="*/ 8186 w 18346"/>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7">
                      <a:moveTo>
                        <a:pt x="8186" y="18354"/>
                      </a:moveTo>
                      <a:cubicBezTo>
                        <a:pt x="3163" y="17816"/>
                        <a:pt x="-485" y="13211"/>
                        <a:pt x="53" y="8187"/>
                      </a:cubicBezTo>
                      <a:cubicBezTo>
                        <a:pt x="591" y="3104"/>
                        <a:pt x="5136" y="-485"/>
                        <a:pt x="10160" y="53"/>
                      </a:cubicBezTo>
                      <a:cubicBezTo>
                        <a:pt x="15184" y="592"/>
                        <a:pt x="18832" y="5197"/>
                        <a:pt x="18294" y="10221"/>
                      </a:cubicBezTo>
                      <a:cubicBezTo>
                        <a:pt x="17756" y="15244"/>
                        <a:pt x="13210" y="18893"/>
                        <a:pt x="8186" y="18354"/>
                      </a:cubicBezTo>
                      <a:close/>
                    </a:path>
                  </a:pathLst>
                </a:custGeom>
                <a:grpFill/>
                <a:ln w="5978" cap="flat">
                  <a:noFill/>
                  <a:prstDash val="solid"/>
                  <a:miter/>
                </a:ln>
              </p:spPr>
              <p:txBody>
                <a:bodyPr rtlCol="0" anchor="ctr"/>
                <a:lstStyle/>
                <a:p>
                  <a:endParaRPr lang="en-GB"/>
                </a:p>
              </p:txBody>
            </p:sp>
            <p:sp>
              <p:nvSpPr>
                <p:cNvPr id="2150" name="Vrije vorm: vorm 2149">
                  <a:extLst>
                    <a:ext uri="{FF2B5EF4-FFF2-40B4-BE49-F238E27FC236}">
                      <a16:creationId xmlns:a16="http://schemas.microsoft.com/office/drawing/2014/main" id="{99A32180-DB86-4F8C-826C-3DE6933EA674}"/>
                    </a:ext>
                  </a:extLst>
                </p:cNvPr>
                <p:cNvSpPr/>
                <p:nvPr/>
              </p:nvSpPr>
              <p:spPr>
                <a:xfrm>
                  <a:off x="4373429" y="3221383"/>
                  <a:ext cx="18346" cy="18406"/>
                </a:xfrm>
                <a:custGeom>
                  <a:avLst/>
                  <a:gdLst>
                    <a:gd name="connsiteX0" fmla="*/ 8186 w 18346"/>
                    <a:gd name="connsiteY0" fmla="*/ 18354 h 18406"/>
                    <a:gd name="connsiteX1" fmla="*/ 18294 w 18346"/>
                    <a:gd name="connsiteY1" fmla="*/ 10220 h 18406"/>
                    <a:gd name="connsiteX2" fmla="*/ 10160 w 18346"/>
                    <a:gd name="connsiteY2" fmla="*/ 53 h 18406"/>
                    <a:gd name="connsiteX3" fmla="*/ 53 w 18346"/>
                    <a:gd name="connsiteY3" fmla="*/ 8187 h 18406"/>
                    <a:gd name="connsiteX4" fmla="*/ 8186 w 18346"/>
                    <a:gd name="connsiteY4" fmla="*/ 18354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6">
                      <a:moveTo>
                        <a:pt x="8186" y="18354"/>
                      </a:moveTo>
                      <a:cubicBezTo>
                        <a:pt x="13210" y="18892"/>
                        <a:pt x="17756" y="15244"/>
                        <a:pt x="18294" y="10220"/>
                      </a:cubicBezTo>
                      <a:cubicBezTo>
                        <a:pt x="18832" y="5136"/>
                        <a:pt x="15184" y="591"/>
                        <a:pt x="10160" y="53"/>
                      </a:cubicBezTo>
                      <a:cubicBezTo>
                        <a:pt x="5136" y="-486"/>
                        <a:pt x="591" y="3163"/>
                        <a:pt x="53" y="8187"/>
                      </a:cubicBezTo>
                      <a:cubicBezTo>
                        <a:pt x="-486" y="13210"/>
                        <a:pt x="3163" y="17756"/>
                        <a:pt x="8186" y="18354"/>
                      </a:cubicBezTo>
                      <a:close/>
                    </a:path>
                  </a:pathLst>
                </a:custGeom>
                <a:grpFill/>
                <a:ln w="5978" cap="flat">
                  <a:noFill/>
                  <a:prstDash val="solid"/>
                  <a:miter/>
                </a:ln>
              </p:spPr>
              <p:txBody>
                <a:bodyPr rtlCol="0" anchor="ctr"/>
                <a:lstStyle/>
                <a:p>
                  <a:endParaRPr lang="en-GB"/>
                </a:p>
              </p:txBody>
            </p:sp>
          </p:grpSp>
          <p:grpSp>
            <p:nvGrpSpPr>
              <p:cNvPr id="1085" name="Graphic 3">
                <a:extLst>
                  <a:ext uri="{FF2B5EF4-FFF2-40B4-BE49-F238E27FC236}">
                    <a16:creationId xmlns:a16="http://schemas.microsoft.com/office/drawing/2014/main" id="{4E6E5D56-EB95-4EBC-B20C-D9DE06B6156D}"/>
                  </a:ext>
                </a:extLst>
              </p:cNvPr>
              <p:cNvGrpSpPr/>
              <p:nvPr/>
            </p:nvGrpSpPr>
            <p:grpSpPr>
              <a:xfrm>
                <a:off x="4229281" y="3170761"/>
                <a:ext cx="166826" cy="37834"/>
                <a:chOff x="4229281" y="3170761"/>
                <a:chExt cx="166826" cy="37834"/>
              </a:xfrm>
              <a:grpFill/>
            </p:grpSpPr>
            <p:sp>
              <p:nvSpPr>
                <p:cNvPr id="2145" name="Vrije vorm: vorm 2144">
                  <a:extLst>
                    <a:ext uri="{FF2B5EF4-FFF2-40B4-BE49-F238E27FC236}">
                      <a16:creationId xmlns:a16="http://schemas.microsoft.com/office/drawing/2014/main" id="{B705F219-5CFE-49B0-BE17-AE475FBD52BA}"/>
                    </a:ext>
                  </a:extLst>
                </p:cNvPr>
                <p:cNvSpPr/>
                <p:nvPr/>
              </p:nvSpPr>
              <p:spPr>
                <a:xfrm>
                  <a:off x="4237779" y="3178375"/>
                  <a:ext cx="149817" cy="22547"/>
                </a:xfrm>
                <a:custGeom>
                  <a:avLst/>
                  <a:gdLst>
                    <a:gd name="connsiteX0" fmla="*/ 149817 w 149817"/>
                    <a:gd name="connsiteY0" fmla="*/ 19557 h 22547"/>
                    <a:gd name="connsiteX1" fmla="*/ 149458 w 149817"/>
                    <a:gd name="connsiteY1" fmla="*/ 22547 h 22547"/>
                    <a:gd name="connsiteX2" fmla="*/ 0 w 149817"/>
                    <a:gd name="connsiteY2" fmla="*/ 3050 h 22547"/>
                    <a:gd name="connsiteX3" fmla="*/ 359 w 149817"/>
                    <a:gd name="connsiteY3" fmla="*/ 0 h 22547"/>
                  </a:gdLst>
                  <a:ahLst/>
                  <a:cxnLst>
                    <a:cxn ang="0">
                      <a:pos x="connsiteX0" y="connsiteY0"/>
                    </a:cxn>
                    <a:cxn ang="0">
                      <a:pos x="connsiteX1" y="connsiteY1"/>
                    </a:cxn>
                    <a:cxn ang="0">
                      <a:pos x="connsiteX2" y="connsiteY2"/>
                    </a:cxn>
                    <a:cxn ang="0">
                      <a:pos x="connsiteX3" y="connsiteY3"/>
                    </a:cxn>
                  </a:cxnLst>
                  <a:rect l="l" t="t" r="r" b="b"/>
                  <a:pathLst>
                    <a:path w="149817" h="22547">
                      <a:moveTo>
                        <a:pt x="149817" y="19557"/>
                      </a:moveTo>
                      <a:lnTo>
                        <a:pt x="149458" y="22547"/>
                      </a:lnTo>
                      <a:lnTo>
                        <a:pt x="0" y="3050"/>
                      </a:lnTo>
                      <a:lnTo>
                        <a:pt x="359" y="0"/>
                      </a:lnTo>
                      <a:close/>
                    </a:path>
                  </a:pathLst>
                </a:custGeom>
                <a:grpFill/>
                <a:ln w="5978" cap="flat">
                  <a:noFill/>
                  <a:prstDash val="solid"/>
                  <a:miter/>
                </a:ln>
              </p:spPr>
              <p:txBody>
                <a:bodyPr rtlCol="0" anchor="ctr"/>
                <a:lstStyle/>
                <a:p>
                  <a:endParaRPr lang="en-GB"/>
                </a:p>
              </p:txBody>
            </p:sp>
            <p:sp>
              <p:nvSpPr>
                <p:cNvPr id="2146" name="Vrije vorm: vorm 2145">
                  <a:extLst>
                    <a:ext uri="{FF2B5EF4-FFF2-40B4-BE49-F238E27FC236}">
                      <a16:creationId xmlns:a16="http://schemas.microsoft.com/office/drawing/2014/main" id="{0CDB7F18-8CE6-4C34-BEAD-12D924BDB1D3}"/>
                    </a:ext>
                  </a:extLst>
                </p:cNvPr>
                <p:cNvSpPr/>
                <p:nvPr/>
              </p:nvSpPr>
              <p:spPr>
                <a:xfrm>
                  <a:off x="4229281" y="3170761"/>
                  <a:ext cx="18313" cy="18456"/>
                </a:xfrm>
                <a:custGeom>
                  <a:avLst/>
                  <a:gdLst>
                    <a:gd name="connsiteX0" fmla="*/ 8020 w 18313"/>
                    <a:gd name="connsiteY0" fmla="*/ 18379 h 18456"/>
                    <a:gd name="connsiteX1" fmla="*/ 66 w 18313"/>
                    <a:gd name="connsiteY1" fmla="*/ 8032 h 18456"/>
                    <a:gd name="connsiteX2" fmla="*/ 10293 w 18313"/>
                    <a:gd name="connsiteY2" fmla="*/ 78 h 18456"/>
                    <a:gd name="connsiteX3" fmla="*/ 18247 w 18313"/>
                    <a:gd name="connsiteY3" fmla="*/ 10425 h 18456"/>
                    <a:gd name="connsiteX4" fmla="*/ 8020 w 18313"/>
                    <a:gd name="connsiteY4" fmla="*/ 1837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56">
                      <a:moveTo>
                        <a:pt x="8020" y="18379"/>
                      </a:moveTo>
                      <a:cubicBezTo>
                        <a:pt x="2997" y="17721"/>
                        <a:pt x="-532" y="13116"/>
                        <a:pt x="66" y="8032"/>
                      </a:cubicBezTo>
                      <a:cubicBezTo>
                        <a:pt x="724" y="3008"/>
                        <a:pt x="5269" y="-580"/>
                        <a:pt x="10293" y="78"/>
                      </a:cubicBezTo>
                      <a:cubicBezTo>
                        <a:pt x="15317" y="736"/>
                        <a:pt x="18845" y="5341"/>
                        <a:pt x="18247" y="10425"/>
                      </a:cubicBezTo>
                      <a:cubicBezTo>
                        <a:pt x="17590" y="15448"/>
                        <a:pt x="13044" y="19037"/>
                        <a:pt x="8020" y="18379"/>
                      </a:cubicBezTo>
                      <a:close/>
                    </a:path>
                  </a:pathLst>
                </a:custGeom>
                <a:grpFill/>
                <a:ln w="5978" cap="flat">
                  <a:noFill/>
                  <a:prstDash val="solid"/>
                  <a:miter/>
                </a:ln>
              </p:spPr>
              <p:txBody>
                <a:bodyPr rtlCol="0" anchor="ctr"/>
                <a:lstStyle/>
                <a:p>
                  <a:endParaRPr lang="en-GB"/>
                </a:p>
              </p:txBody>
            </p:sp>
            <p:sp>
              <p:nvSpPr>
                <p:cNvPr id="2147" name="Vrije vorm: vorm 2146">
                  <a:extLst>
                    <a:ext uri="{FF2B5EF4-FFF2-40B4-BE49-F238E27FC236}">
                      <a16:creationId xmlns:a16="http://schemas.microsoft.com/office/drawing/2014/main" id="{226EEB64-D980-4102-8FF8-235236841A18}"/>
                    </a:ext>
                  </a:extLst>
                </p:cNvPr>
                <p:cNvSpPr/>
                <p:nvPr/>
              </p:nvSpPr>
              <p:spPr>
                <a:xfrm>
                  <a:off x="4377782" y="3190139"/>
                  <a:ext cx="18325" cy="18456"/>
                </a:xfrm>
                <a:custGeom>
                  <a:avLst/>
                  <a:gdLst>
                    <a:gd name="connsiteX0" fmla="*/ 8020 w 18325"/>
                    <a:gd name="connsiteY0" fmla="*/ 18379 h 18456"/>
                    <a:gd name="connsiteX1" fmla="*/ 18248 w 18325"/>
                    <a:gd name="connsiteY1" fmla="*/ 10424 h 18456"/>
                    <a:gd name="connsiteX2" fmla="*/ 10293 w 18325"/>
                    <a:gd name="connsiteY2" fmla="*/ 78 h 18456"/>
                    <a:gd name="connsiteX3" fmla="*/ 66 w 18325"/>
                    <a:gd name="connsiteY3" fmla="*/ 8032 h 18456"/>
                    <a:gd name="connsiteX4" fmla="*/ 8020 w 18325"/>
                    <a:gd name="connsiteY4" fmla="*/ 1837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6">
                      <a:moveTo>
                        <a:pt x="8020" y="18379"/>
                      </a:moveTo>
                      <a:cubicBezTo>
                        <a:pt x="13044" y="19037"/>
                        <a:pt x="17649" y="15448"/>
                        <a:pt x="18248" y="10424"/>
                      </a:cubicBezTo>
                      <a:cubicBezTo>
                        <a:pt x="18905" y="5401"/>
                        <a:pt x="15317" y="736"/>
                        <a:pt x="10293" y="78"/>
                      </a:cubicBezTo>
                      <a:cubicBezTo>
                        <a:pt x="5269" y="-580"/>
                        <a:pt x="664" y="3008"/>
                        <a:pt x="66" y="8032"/>
                      </a:cubicBezTo>
                      <a:cubicBezTo>
                        <a:pt x="-532" y="13056"/>
                        <a:pt x="2997" y="17721"/>
                        <a:pt x="8020" y="18379"/>
                      </a:cubicBezTo>
                      <a:close/>
                    </a:path>
                  </a:pathLst>
                </a:custGeom>
                <a:grpFill/>
                <a:ln w="5978" cap="flat">
                  <a:noFill/>
                  <a:prstDash val="solid"/>
                  <a:miter/>
                </a:ln>
              </p:spPr>
              <p:txBody>
                <a:bodyPr rtlCol="0" anchor="ctr"/>
                <a:lstStyle/>
                <a:p>
                  <a:endParaRPr lang="en-GB"/>
                </a:p>
              </p:txBody>
            </p:sp>
          </p:grpSp>
          <p:grpSp>
            <p:nvGrpSpPr>
              <p:cNvPr id="1086" name="Graphic 3">
                <a:extLst>
                  <a:ext uri="{FF2B5EF4-FFF2-40B4-BE49-F238E27FC236}">
                    <a16:creationId xmlns:a16="http://schemas.microsoft.com/office/drawing/2014/main" id="{0A924995-B70C-4D99-B620-FFAA57C84EA3}"/>
                  </a:ext>
                </a:extLst>
              </p:cNvPr>
              <p:cNvGrpSpPr/>
              <p:nvPr/>
            </p:nvGrpSpPr>
            <p:grpSpPr>
              <a:xfrm>
                <a:off x="4090374" y="2926037"/>
                <a:ext cx="298339" cy="118560"/>
                <a:chOff x="4090374" y="2926037"/>
                <a:chExt cx="298339" cy="118560"/>
              </a:xfrm>
              <a:grpFill/>
            </p:grpSpPr>
            <p:sp>
              <p:nvSpPr>
                <p:cNvPr id="2142" name="Vrije vorm: vorm 2141">
                  <a:extLst>
                    <a:ext uri="{FF2B5EF4-FFF2-40B4-BE49-F238E27FC236}">
                      <a16:creationId xmlns:a16="http://schemas.microsoft.com/office/drawing/2014/main" id="{D48BB430-338E-4ABC-870D-CA2755D09635}"/>
                    </a:ext>
                  </a:extLst>
                </p:cNvPr>
                <p:cNvSpPr/>
                <p:nvPr/>
              </p:nvSpPr>
              <p:spPr>
                <a:xfrm>
                  <a:off x="4098548" y="2933644"/>
                  <a:ext cx="281930" cy="103346"/>
                </a:xfrm>
                <a:custGeom>
                  <a:avLst/>
                  <a:gdLst>
                    <a:gd name="connsiteX0" fmla="*/ 281931 w 281930"/>
                    <a:gd name="connsiteY0" fmla="*/ 100476 h 103346"/>
                    <a:gd name="connsiteX1" fmla="*/ 280914 w 281930"/>
                    <a:gd name="connsiteY1" fmla="*/ 103347 h 103346"/>
                    <a:gd name="connsiteX2" fmla="*/ 0 w 281930"/>
                    <a:gd name="connsiteY2" fmla="*/ 2871 h 103346"/>
                    <a:gd name="connsiteX3" fmla="*/ 1017 w 281930"/>
                    <a:gd name="connsiteY3" fmla="*/ 0 h 103346"/>
                  </a:gdLst>
                  <a:ahLst/>
                  <a:cxnLst>
                    <a:cxn ang="0">
                      <a:pos x="connsiteX0" y="connsiteY0"/>
                    </a:cxn>
                    <a:cxn ang="0">
                      <a:pos x="connsiteX1" y="connsiteY1"/>
                    </a:cxn>
                    <a:cxn ang="0">
                      <a:pos x="connsiteX2" y="connsiteY2"/>
                    </a:cxn>
                    <a:cxn ang="0">
                      <a:pos x="connsiteX3" y="connsiteY3"/>
                    </a:cxn>
                  </a:cxnLst>
                  <a:rect l="l" t="t" r="r" b="b"/>
                  <a:pathLst>
                    <a:path w="281930" h="103346">
                      <a:moveTo>
                        <a:pt x="281931" y="100476"/>
                      </a:moveTo>
                      <a:lnTo>
                        <a:pt x="280914" y="103347"/>
                      </a:lnTo>
                      <a:lnTo>
                        <a:pt x="0" y="2871"/>
                      </a:lnTo>
                      <a:lnTo>
                        <a:pt x="1017" y="0"/>
                      </a:lnTo>
                      <a:close/>
                    </a:path>
                  </a:pathLst>
                </a:custGeom>
                <a:grpFill/>
                <a:ln w="5978" cap="flat">
                  <a:noFill/>
                  <a:prstDash val="solid"/>
                  <a:miter/>
                </a:ln>
              </p:spPr>
              <p:txBody>
                <a:bodyPr rtlCol="0" anchor="ctr"/>
                <a:lstStyle/>
                <a:p>
                  <a:endParaRPr lang="en-GB"/>
                </a:p>
              </p:txBody>
            </p:sp>
            <p:sp>
              <p:nvSpPr>
                <p:cNvPr id="2143" name="Vrije vorm: vorm 2142">
                  <a:extLst>
                    <a:ext uri="{FF2B5EF4-FFF2-40B4-BE49-F238E27FC236}">
                      <a16:creationId xmlns:a16="http://schemas.microsoft.com/office/drawing/2014/main" id="{47249322-9D4A-4982-A1D2-1FD36C1FD271}"/>
                    </a:ext>
                  </a:extLst>
                </p:cNvPr>
                <p:cNvSpPr/>
                <p:nvPr/>
              </p:nvSpPr>
              <p:spPr>
                <a:xfrm>
                  <a:off x="4370392" y="3026178"/>
                  <a:ext cx="18322" cy="18419"/>
                </a:xfrm>
                <a:custGeom>
                  <a:avLst/>
                  <a:gdLst>
                    <a:gd name="connsiteX0" fmla="*/ 12181 w 18322"/>
                    <a:gd name="connsiteY0" fmla="*/ 526 h 18419"/>
                    <a:gd name="connsiteX1" fmla="*/ 17803 w 18322"/>
                    <a:gd name="connsiteY1" fmla="*/ 12308 h 18419"/>
                    <a:gd name="connsiteX2" fmla="*/ 6141 w 18322"/>
                    <a:gd name="connsiteY2" fmla="*/ 17870 h 18419"/>
                    <a:gd name="connsiteX3" fmla="*/ 519 w 18322"/>
                    <a:gd name="connsiteY3" fmla="*/ 6088 h 18419"/>
                    <a:gd name="connsiteX4" fmla="*/ 12181 w 18322"/>
                    <a:gd name="connsiteY4" fmla="*/ 52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19">
                      <a:moveTo>
                        <a:pt x="12181" y="526"/>
                      </a:moveTo>
                      <a:cubicBezTo>
                        <a:pt x="16966" y="2260"/>
                        <a:pt x="19478" y="7523"/>
                        <a:pt x="17803" y="12308"/>
                      </a:cubicBezTo>
                      <a:cubicBezTo>
                        <a:pt x="16129" y="17092"/>
                        <a:pt x="10865" y="19604"/>
                        <a:pt x="6141" y="17870"/>
                      </a:cubicBezTo>
                      <a:cubicBezTo>
                        <a:pt x="1356" y="16136"/>
                        <a:pt x="-1156" y="10872"/>
                        <a:pt x="519" y="6088"/>
                      </a:cubicBezTo>
                      <a:cubicBezTo>
                        <a:pt x="2193" y="1303"/>
                        <a:pt x="7397" y="-1149"/>
                        <a:pt x="12181" y="526"/>
                      </a:cubicBezTo>
                      <a:close/>
                    </a:path>
                  </a:pathLst>
                </a:custGeom>
                <a:grpFill/>
                <a:ln w="5978" cap="flat">
                  <a:noFill/>
                  <a:prstDash val="solid"/>
                  <a:miter/>
                </a:ln>
              </p:spPr>
              <p:txBody>
                <a:bodyPr rtlCol="0" anchor="ctr"/>
                <a:lstStyle/>
                <a:p>
                  <a:endParaRPr lang="en-GB"/>
                </a:p>
              </p:txBody>
            </p:sp>
            <p:sp>
              <p:nvSpPr>
                <p:cNvPr id="2144" name="Vrije vorm: vorm 2143">
                  <a:extLst>
                    <a:ext uri="{FF2B5EF4-FFF2-40B4-BE49-F238E27FC236}">
                      <a16:creationId xmlns:a16="http://schemas.microsoft.com/office/drawing/2014/main" id="{FF39A5DA-55AC-4DA9-AAF9-0D657D742D41}"/>
                    </a:ext>
                  </a:extLst>
                </p:cNvPr>
                <p:cNvSpPr/>
                <p:nvPr/>
              </p:nvSpPr>
              <p:spPr>
                <a:xfrm>
                  <a:off x="4090374" y="2926037"/>
                  <a:ext cx="18292" cy="18442"/>
                </a:xfrm>
                <a:custGeom>
                  <a:avLst/>
                  <a:gdLst>
                    <a:gd name="connsiteX0" fmla="*/ 12181 w 18292"/>
                    <a:gd name="connsiteY0" fmla="*/ 549 h 18442"/>
                    <a:gd name="connsiteX1" fmla="*/ 519 w 18292"/>
                    <a:gd name="connsiteY1" fmla="*/ 6111 h 18442"/>
                    <a:gd name="connsiteX2" fmla="*/ 6141 w 18292"/>
                    <a:gd name="connsiteY2" fmla="*/ 17894 h 18442"/>
                    <a:gd name="connsiteX3" fmla="*/ 17803 w 18292"/>
                    <a:gd name="connsiteY3" fmla="*/ 12331 h 18442"/>
                    <a:gd name="connsiteX4" fmla="*/ 12181 w 18292"/>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442">
                      <a:moveTo>
                        <a:pt x="12181" y="549"/>
                      </a:moveTo>
                      <a:cubicBezTo>
                        <a:pt x="7397" y="-1185"/>
                        <a:pt x="2194" y="1327"/>
                        <a:pt x="519" y="6111"/>
                      </a:cubicBezTo>
                      <a:cubicBezTo>
                        <a:pt x="-1156" y="10896"/>
                        <a:pt x="1356" y="16159"/>
                        <a:pt x="6141" y="17894"/>
                      </a:cubicBezTo>
                      <a:cubicBezTo>
                        <a:pt x="10925" y="19628"/>
                        <a:pt x="16128" y="17116"/>
                        <a:pt x="17803" y="12331"/>
                      </a:cubicBezTo>
                      <a:cubicBezTo>
                        <a:pt x="19418" y="7547"/>
                        <a:pt x="16906" y="2224"/>
                        <a:pt x="12181" y="549"/>
                      </a:cubicBezTo>
                      <a:close/>
                    </a:path>
                  </a:pathLst>
                </a:custGeom>
                <a:grpFill/>
                <a:ln w="5978" cap="flat">
                  <a:noFill/>
                  <a:prstDash val="solid"/>
                  <a:miter/>
                </a:ln>
              </p:spPr>
              <p:txBody>
                <a:bodyPr rtlCol="0" anchor="ctr"/>
                <a:lstStyle/>
                <a:p>
                  <a:endParaRPr lang="en-GB"/>
                </a:p>
              </p:txBody>
            </p:sp>
          </p:grpSp>
          <p:grpSp>
            <p:nvGrpSpPr>
              <p:cNvPr id="1087" name="Graphic 3">
                <a:extLst>
                  <a:ext uri="{FF2B5EF4-FFF2-40B4-BE49-F238E27FC236}">
                    <a16:creationId xmlns:a16="http://schemas.microsoft.com/office/drawing/2014/main" id="{7404DECD-456F-4FC0-80B5-33F1985623B2}"/>
                  </a:ext>
                </a:extLst>
              </p:cNvPr>
              <p:cNvGrpSpPr/>
              <p:nvPr/>
            </p:nvGrpSpPr>
            <p:grpSpPr>
              <a:xfrm>
                <a:off x="4261362" y="3242626"/>
                <a:ext cx="129436" cy="28730"/>
                <a:chOff x="4261362" y="3242626"/>
                <a:chExt cx="129436" cy="28730"/>
              </a:xfrm>
              <a:grpFill/>
            </p:grpSpPr>
            <p:sp>
              <p:nvSpPr>
                <p:cNvPr id="2139" name="Vrije vorm: vorm 2138">
                  <a:extLst>
                    <a:ext uri="{FF2B5EF4-FFF2-40B4-BE49-F238E27FC236}">
                      <a16:creationId xmlns:a16="http://schemas.microsoft.com/office/drawing/2014/main" id="{9AE70204-ACEA-4F12-82DE-8F91FC673EE5}"/>
                    </a:ext>
                  </a:extLst>
                </p:cNvPr>
                <p:cNvSpPr/>
                <p:nvPr/>
              </p:nvSpPr>
              <p:spPr>
                <a:xfrm>
                  <a:off x="4269896" y="3250263"/>
                  <a:ext cx="112378" cy="13456"/>
                </a:xfrm>
                <a:custGeom>
                  <a:avLst/>
                  <a:gdLst>
                    <a:gd name="connsiteX0" fmla="*/ 112378 w 112378"/>
                    <a:gd name="connsiteY0" fmla="*/ 10406 h 13456"/>
                    <a:gd name="connsiteX1" fmla="*/ 112079 w 112378"/>
                    <a:gd name="connsiteY1" fmla="*/ 13457 h 13456"/>
                    <a:gd name="connsiteX2" fmla="*/ 0 w 112378"/>
                    <a:gd name="connsiteY2" fmla="*/ 3050 h 13456"/>
                    <a:gd name="connsiteX3" fmla="*/ 299 w 112378"/>
                    <a:gd name="connsiteY3" fmla="*/ 0 h 13456"/>
                  </a:gdLst>
                  <a:ahLst/>
                  <a:cxnLst>
                    <a:cxn ang="0">
                      <a:pos x="connsiteX0" y="connsiteY0"/>
                    </a:cxn>
                    <a:cxn ang="0">
                      <a:pos x="connsiteX1" y="connsiteY1"/>
                    </a:cxn>
                    <a:cxn ang="0">
                      <a:pos x="connsiteX2" y="connsiteY2"/>
                    </a:cxn>
                    <a:cxn ang="0">
                      <a:pos x="connsiteX3" y="connsiteY3"/>
                    </a:cxn>
                  </a:cxnLst>
                  <a:rect l="l" t="t" r="r" b="b"/>
                  <a:pathLst>
                    <a:path w="112378" h="13456">
                      <a:moveTo>
                        <a:pt x="112378" y="10406"/>
                      </a:moveTo>
                      <a:lnTo>
                        <a:pt x="112079" y="13457"/>
                      </a:lnTo>
                      <a:lnTo>
                        <a:pt x="0" y="3050"/>
                      </a:lnTo>
                      <a:lnTo>
                        <a:pt x="299" y="0"/>
                      </a:lnTo>
                      <a:close/>
                    </a:path>
                  </a:pathLst>
                </a:custGeom>
                <a:grpFill/>
                <a:ln w="5978" cap="flat">
                  <a:noFill/>
                  <a:prstDash val="solid"/>
                  <a:miter/>
                </a:ln>
              </p:spPr>
              <p:txBody>
                <a:bodyPr rtlCol="0" anchor="ctr"/>
                <a:lstStyle/>
                <a:p>
                  <a:endParaRPr lang="en-GB"/>
                </a:p>
              </p:txBody>
            </p:sp>
            <p:sp>
              <p:nvSpPr>
                <p:cNvPr id="2140" name="Vrije vorm: vorm 2139">
                  <a:extLst>
                    <a:ext uri="{FF2B5EF4-FFF2-40B4-BE49-F238E27FC236}">
                      <a16:creationId xmlns:a16="http://schemas.microsoft.com/office/drawing/2014/main" id="{4E4327DE-B4E0-49B4-8555-08DB402B7E83}"/>
                    </a:ext>
                  </a:extLst>
                </p:cNvPr>
                <p:cNvSpPr/>
                <p:nvPr/>
              </p:nvSpPr>
              <p:spPr>
                <a:xfrm>
                  <a:off x="4261362" y="3242626"/>
                  <a:ext cx="18323" cy="18434"/>
                </a:xfrm>
                <a:custGeom>
                  <a:avLst/>
                  <a:gdLst>
                    <a:gd name="connsiteX0" fmla="*/ 8354 w 18323"/>
                    <a:gd name="connsiteY0" fmla="*/ 18402 h 18434"/>
                    <a:gd name="connsiteX1" fmla="*/ 41 w 18323"/>
                    <a:gd name="connsiteY1" fmla="*/ 8355 h 18434"/>
                    <a:gd name="connsiteX2" fmla="*/ 9969 w 18323"/>
                    <a:gd name="connsiteY2" fmla="*/ 42 h 18434"/>
                    <a:gd name="connsiteX3" fmla="*/ 18282 w 18323"/>
                    <a:gd name="connsiteY3" fmla="*/ 10089 h 18434"/>
                    <a:gd name="connsiteX4" fmla="*/ 8354 w 18323"/>
                    <a:gd name="connsiteY4" fmla="*/ 1840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4">
                      <a:moveTo>
                        <a:pt x="8354" y="18402"/>
                      </a:moveTo>
                      <a:cubicBezTo>
                        <a:pt x="3330" y="17924"/>
                        <a:pt x="-438" y="13438"/>
                        <a:pt x="41" y="8355"/>
                      </a:cubicBezTo>
                      <a:cubicBezTo>
                        <a:pt x="460" y="3271"/>
                        <a:pt x="4945" y="-437"/>
                        <a:pt x="9969" y="42"/>
                      </a:cubicBezTo>
                      <a:cubicBezTo>
                        <a:pt x="14993" y="520"/>
                        <a:pt x="18761" y="5005"/>
                        <a:pt x="18282" y="10089"/>
                      </a:cubicBezTo>
                      <a:cubicBezTo>
                        <a:pt x="17804" y="15113"/>
                        <a:pt x="13378" y="18821"/>
                        <a:pt x="8354" y="18402"/>
                      </a:cubicBezTo>
                      <a:close/>
                    </a:path>
                  </a:pathLst>
                </a:custGeom>
                <a:grpFill/>
                <a:ln w="5978" cap="flat">
                  <a:noFill/>
                  <a:prstDash val="solid"/>
                  <a:miter/>
                </a:ln>
              </p:spPr>
              <p:txBody>
                <a:bodyPr rtlCol="0" anchor="ctr"/>
                <a:lstStyle/>
                <a:p>
                  <a:endParaRPr lang="en-GB"/>
                </a:p>
              </p:txBody>
            </p:sp>
            <p:sp>
              <p:nvSpPr>
                <p:cNvPr id="2141" name="Vrije vorm: vorm 2140">
                  <a:extLst>
                    <a:ext uri="{FF2B5EF4-FFF2-40B4-BE49-F238E27FC236}">
                      <a16:creationId xmlns:a16="http://schemas.microsoft.com/office/drawing/2014/main" id="{CCC4DB8D-BA42-4D82-931E-2F8F48C90D17}"/>
                    </a:ext>
                  </a:extLst>
                </p:cNvPr>
                <p:cNvSpPr/>
                <p:nvPr/>
              </p:nvSpPr>
              <p:spPr>
                <a:xfrm>
                  <a:off x="4372493" y="3252914"/>
                  <a:ext cx="18305" cy="18442"/>
                </a:xfrm>
                <a:custGeom>
                  <a:avLst/>
                  <a:gdLst>
                    <a:gd name="connsiteX0" fmla="*/ 8345 w 18305"/>
                    <a:gd name="connsiteY0" fmla="*/ 18402 h 18442"/>
                    <a:gd name="connsiteX1" fmla="*/ 18273 w 18305"/>
                    <a:gd name="connsiteY1" fmla="*/ 10089 h 18442"/>
                    <a:gd name="connsiteX2" fmla="*/ 9960 w 18305"/>
                    <a:gd name="connsiteY2" fmla="*/ 41 h 18442"/>
                    <a:gd name="connsiteX3" fmla="*/ 32 w 18305"/>
                    <a:gd name="connsiteY3" fmla="*/ 8354 h 18442"/>
                    <a:gd name="connsiteX4" fmla="*/ 8345 w 18305"/>
                    <a:gd name="connsiteY4" fmla="*/ 18402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42">
                      <a:moveTo>
                        <a:pt x="8345" y="18402"/>
                      </a:moveTo>
                      <a:cubicBezTo>
                        <a:pt x="13369" y="18880"/>
                        <a:pt x="17855" y="15112"/>
                        <a:pt x="18273" y="10089"/>
                      </a:cubicBezTo>
                      <a:cubicBezTo>
                        <a:pt x="18692" y="5005"/>
                        <a:pt x="14984" y="519"/>
                        <a:pt x="9960" y="41"/>
                      </a:cubicBezTo>
                      <a:cubicBezTo>
                        <a:pt x="4936" y="-438"/>
                        <a:pt x="451" y="3330"/>
                        <a:pt x="32" y="8354"/>
                      </a:cubicBezTo>
                      <a:cubicBezTo>
                        <a:pt x="-386" y="13438"/>
                        <a:pt x="3322" y="17923"/>
                        <a:pt x="8345" y="18402"/>
                      </a:cubicBezTo>
                      <a:close/>
                    </a:path>
                  </a:pathLst>
                </a:custGeom>
                <a:grpFill/>
                <a:ln w="5978" cap="flat">
                  <a:noFill/>
                  <a:prstDash val="solid"/>
                  <a:miter/>
                </a:ln>
              </p:spPr>
              <p:txBody>
                <a:bodyPr rtlCol="0" anchor="ctr"/>
                <a:lstStyle/>
                <a:p>
                  <a:endParaRPr lang="en-GB"/>
                </a:p>
              </p:txBody>
            </p:sp>
          </p:grpSp>
          <p:grpSp>
            <p:nvGrpSpPr>
              <p:cNvPr id="1088" name="Graphic 3">
                <a:extLst>
                  <a:ext uri="{FF2B5EF4-FFF2-40B4-BE49-F238E27FC236}">
                    <a16:creationId xmlns:a16="http://schemas.microsoft.com/office/drawing/2014/main" id="{6C50D310-3A73-410C-8B58-C1D1C1958813}"/>
                  </a:ext>
                </a:extLst>
              </p:cNvPr>
              <p:cNvGrpSpPr/>
              <p:nvPr/>
            </p:nvGrpSpPr>
            <p:grpSpPr>
              <a:xfrm>
                <a:off x="4817558" y="4812889"/>
                <a:ext cx="91311" cy="107148"/>
                <a:chOff x="4817558" y="4812889"/>
                <a:chExt cx="91311" cy="107148"/>
              </a:xfrm>
              <a:grpFill/>
            </p:grpSpPr>
            <p:sp>
              <p:nvSpPr>
                <p:cNvPr id="2136" name="Vrije vorm: vorm 2135">
                  <a:extLst>
                    <a:ext uri="{FF2B5EF4-FFF2-40B4-BE49-F238E27FC236}">
                      <a16:creationId xmlns:a16="http://schemas.microsoft.com/office/drawing/2014/main" id="{128BF765-2543-4A37-8EED-7AC3E9033FF6}"/>
                    </a:ext>
                  </a:extLst>
                </p:cNvPr>
                <p:cNvSpPr/>
                <p:nvPr/>
              </p:nvSpPr>
              <p:spPr>
                <a:xfrm>
                  <a:off x="4825266" y="4820741"/>
                  <a:ext cx="75955" cy="91445"/>
                </a:xfrm>
                <a:custGeom>
                  <a:avLst/>
                  <a:gdLst>
                    <a:gd name="connsiteX0" fmla="*/ 75955 w 75955"/>
                    <a:gd name="connsiteY0" fmla="*/ 1973 h 91445"/>
                    <a:gd name="connsiteX1" fmla="*/ 2392 w 75955"/>
                    <a:gd name="connsiteY1" fmla="*/ 91445 h 91445"/>
                    <a:gd name="connsiteX2" fmla="*/ 0 w 75955"/>
                    <a:gd name="connsiteY2" fmla="*/ 89471 h 91445"/>
                    <a:gd name="connsiteX3" fmla="*/ 73563 w 75955"/>
                    <a:gd name="connsiteY3" fmla="*/ 0 h 91445"/>
                  </a:gdLst>
                  <a:ahLst/>
                  <a:cxnLst>
                    <a:cxn ang="0">
                      <a:pos x="connsiteX0" y="connsiteY0"/>
                    </a:cxn>
                    <a:cxn ang="0">
                      <a:pos x="connsiteX1" y="connsiteY1"/>
                    </a:cxn>
                    <a:cxn ang="0">
                      <a:pos x="connsiteX2" y="connsiteY2"/>
                    </a:cxn>
                    <a:cxn ang="0">
                      <a:pos x="connsiteX3" y="connsiteY3"/>
                    </a:cxn>
                  </a:cxnLst>
                  <a:rect l="l" t="t" r="r" b="b"/>
                  <a:pathLst>
                    <a:path w="75955" h="91445">
                      <a:moveTo>
                        <a:pt x="75955" y="1973"/>
                      </a:moveTo>
                      <a:lnTo>
                        <a:pt x="2392" y="91445"/>
                      </a:lnTo>
                      <a:lnTo>
                        <a:pt x="0" y="89471"/>
                      </a:lnTo>
                      <a:lnTo>
                        <a:pt x="73563" y="0"/>
                      </a:lnTo>
                      <a:close/>
                    </a:path>
                  </a:pathLst>
                </a:custGeom>
                <a:grpFill/>
                <a:ln w="5978" cap="flat">
                  <a:noFill/>
                  <a:prstDash val="solid"/>
                  <a:miter/>
                </a:ln>
              </p:spPr>
              <p:txBody>
                <a:bodyPr rtlCol="0" anchor="ctr"/>
                <a:lstStyle/>
                <a:p>
                  <a:endParaRPr lang="en-GB"/>
                </a:p>
              </p:txBody>
            </p:sp>
            <p:sp>
              <p:nvSpPr>
                <p:cNvPr id="2137" name="Vrije vorm: vorm 2136">
                  <a:extLst>
                    <a:ext uri="{FF2B5EF4-FFF2-40B4-BE49-F238E27FC236}">
                      <a16:creationId xmlns:a16="http://schemas.microsoft.com/office/drawing/2014/main" id="{3AEC0BE2-3E94-4D9D-B2E2-6205329AC280}"/>
                    </a:ext>
                  </a:extLst>
                </p:cNvPr>
                <p:cNvSpPr/>
                <p:nvPr/>
              </p:nvSpPr>
              <p:spPr>
                <a:xfrm>
                  <a:off x="4817558" y="4901643"/>
                  <a:ext cx="18346" cy="18394"/>
                </a:xfrm>
                <a:custGeom>
                  <a:avLst/>
                  <a:gdLst>
                    <a:gd name="connsiteX0" fmla="*/ 16261 w 18346"/>
                    <a:gd name="connsiteY0" fmla="*/ 15089 h 18394"/>
                    <a:gd name="connsiteX1" fmla="*/ 3342 w 18346"/>
                    <a:gd name="connsiteY1" fmla="*/ 16285 h 18394"/>
                    <a:gd name="connsiteX2" fmla="*/ 2086 w 18346"/>
                    <a:gd name="connsiteY2" fmla="*/ 3306 h 18394"/>
                    <a:gd name="connsiteX3" fmla="*/ 15005 w 18346"/>
                    <a:gd name="connsiteY3" fmla="*/ 2111 h 18394"/>
                    <a:gd name="connsiteX4" fmla="*/ 16261 w 18346"/>
                    <a:gd name="connsiteY4" fmla="*/ 1508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4">
                      <a:moveTo>
                        <a:pt x="16261" y="15089"/>
                      </a:moveTo>
                      <a:cubicBezTo>
                        <a:pt x="13031" y="18976"/>
                        <a:pt x="7290" y="19514"/>
                        <a:pt x="3342" y="16285"/>
                      </a:cubicBezTo>
                      <a:cubicBezTo>
                        <a:pt x="-546" y="13055"/>
                        <a:pt x="-1143" y="7254"/>
                        <a:pt x="2086" y="3306"/>
                      </a:cubicBezTo>
                      <a:cubicBezTo>
                        <a:pt x="5316" y="-581"/>
                        <a:pt x="11057" y="-1119"/>
                        <a:pt x="15005" y="2111"/>
                      </a:cubicBezTo>
                      <a:cubicBezTo>
                        <a:pt x="18892" y="5340"/>
                        <a:pt x="19490" y="11141"/>
                        <a:pt x="16261" y="15089"/>
                      </a:cubicBezTo>
                      <a:close/>
                    </a:path>
                  </a:pathLst>
                </a:custGeom>
                <a:grpFill/>
                <a:ln w="5978" cap="flat">
                  <a:noFill/>
                  <a:prstDash val="solid"/>
                  <a:miter/>
                </a:ln>
              </p:spPr>
              <p:txBody>
                <a:bodyPr rtlCol="0" anchor="ctr"/>
                <a:lstStyle/>
                <a:p>
                  <a:endParaRPr lang="en-GB"/>
                </a:p>
              </p:txBody>
            </p:sp>
            <p:sp>
              <p:nvSpPr>
                <p:cNvPr id="2138" name="Vrije vorm: vorm 2137">
                  <a:extLst>
                    <a:ext uri="{FF2B5EF4-FFF2-40B4-BE49-F238E27FC236}">
                      <a16:creationId xmlns:a16="http://schemas.microsoft.com/office/drawing/2014/main" id="{9EB9F1A7-D23F-45C0-A23C-DAE15EDCCFBE}"/>
                    </a:ext>
                  </a:extLst>
                </p:cNvPr>
                <p:cNvSpPr/>
                <p:nvPr/>
              </p:nvSpPr>
              <p:spPr>
                <a:xfrm>
                  <a:off x="4890503" y="4812889"/>
                  <a:ext cx="18365" cy="18394"/>
                </a:xfrm>
                <a:custGeom>
                  <a:avLst/>
                  <a:gdLst>
                    <a:gd name="connsiteX0" fmla="*/ 16280 w 18365"/>
                    <a:gd name="connsiteY0" fmla="*/ 15088 h 18394"/>
                    <a:gd name="connsiteX1" fmla="*/ 15024 w 18365"/>
                    <a:gd name="connsiteY1" fmla="*/ 2110 h 18394"/>
                    <a:gd name="connsiteX2" fmla="*/ 2105 w 18365"/>
                    <a:gd name="connsiteY2" fmla="*/ 3307 h 18394"/>
                    <a:gd name="connsiteX3" fmla="*/ 3361 w 18365"/>
                    <a:gd name="connsiteY3" fmla="*/ 16285 h 18394"/>
                    <a:gd name="connsiteX4" fmla="*/ 16280 w 18365"/>
                    <a:gd name="connsiteY4" fmla="*/ 150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4">
                      <a:moveTo>
                        <a:pt x="16280" y="15088"/>
                      </a:moveTo>
                      <a:cubicBezTo>
                        <a:pt x="19509" y="11201"/>
                        <a:pt x="18911" y="5340"/>
                        <a:pt x="15024" y="2110"/>
                      </a:cubicBezTo>
                      <a:cubicBezTo>
                        <a:pt x="11136" y="-1119"/>
                        <a:pt x="5335" y="-581"/>
                        <a:pt x="2105" y="3307"/>
                      </a:cubicBezTo>
                      <a:cubicBezTo>
                        <a:pt x="-1124" y="7194"/>
                        <a:pt x="-586" y="13055"/>
                        <a:pt x="3361" y="16285"/>
                      </a:cubicBezTo>
                      <a:cubicBezTo>
                        <a:pt x="7308" y="19514"/>
                        <a:pt x="13110" y="18976"/>
                        <a:pt x="16280" y="15088"/>
                      </a:cubicBezTo>
                      <a:close/>
                    </a:path>
                  </a:pathLst>
                </a:custGeom>
                <a:grpFill/>
                <a:ln w="5978" cap="flat">
                  <a:noFill/>
                  <a:prstDash val="solid"/>
                  <a:miter/>
                </a:ln>
              </p:spPr>
              <p:txBody>
                <a:bodyPr rtlCol="0" anchor="ctr"/>
                <a:lstStyle/>
                <a:p>
                  <a:endParaRPr lang="en-GB"/>
                </a:p>
              </p:txBody>
            </p:sp>
          </p:grpSp>
          <p:grpSp>
            <p:nvGrpSpPr>
              <p:cNvPr id="1089" name="Graphic 3">
                <a:extLst>
                  <a:ext uri="{FF2B5EF4-FFF2-40B4-BE49-F238E27FC236}">
                    <a16:creationId xmlns:a16="http://schemas.microsoft.com/office/drawing/2014/main" id="{F021E75D-957A-45EB-BEC9-FBEC9AAF00AE}"/>
                  </a:ext>
                </a:extLst>
              </p:cNvPr>
              <p:cNvGrpSpPr/>
              <p:nvPr/>
            </p:nvGrpSpPr>
            <p:grpSpPr>
              <a:xfrm>
                <a:off x="4749004" y="4630793"/>
                <a:ext cx="101171" cy="101911"/>
                <a:chOff x="4749004" y="4630793"/>
                <a:chExt cx="101171" cy="101911"/>
              </a:xfrm>
              <a:grpFill/>
            </p:grpSpPr>
            <p:sp>
              <p:nvSpPr>
                <p:cNvPr id="2133" name="Vrije vorm: vorm 2132">
                  <a:extLst>
                    <a:ext uri="{FF2B5EF4-FFF2-40B4-BE49-F238E27FC236}">
                      <a16:creationId xmlns:a16="http://schemas.microsoft.com/office/drawing/2014/main" id="{8B2B3518-0994-4959-96EC-93FB4BF62047}"/>
                    </a:ext>
                  </a:extLst>
                </p:cNvPr>
                <p:cNvSpPr/>
                <p:nvPr/>
              </p:nvSpPr>
              <p:spPr>
                <a:xfrm>
                  <a:off x="4756727" y="4638628"/>
                  <a:ext cx="85703" cy="86301"/>
                </a:xfrm>
                <a:custGeom>
                  <a:avLst/>
                  <a:gdLst>
                    <a:gd name="connsiteX0" fmla="*/ 85703 w 85703"/>
                    <a:gd name="connsiteY0" fmla="*/ 2153 h 86301"/>
                    <a:gd name="connsiteX1" fmla="*/ 2213 w 85703"/>
                    <a:gd name="connsiteY1" fmla="*/ 86302 h 86301"/>
                    <a:gd name="connsiteX2" fmla="*/ 0 w 85703"/>
                    <a:gd name="connsiteY2" fmla="*/ 84089 h 86301"/>
                    <a:gd name="connsiteX3" fmla="*/ 83551 w 85703"/>
                    <a:gd name="connsiteY3" fmla="*/ 0 h 86301"/>
                  </a:gdLst>
                  <a:ahLst/>
                  <a:cxnLst>
                    <a:cxn ang="0">
                      <a:pos x="connsiteX0" y="connsiteY0"/>
                    </a:cxn>
                    <a:cxn ang="0">
                      <a:pos x="connsiteX1" y="connsiteY1"/>
                    </a:cxn>
                    <a:cxn ang="0">
                      <a:pos x="connsiteX2" y="connsiteY2"/>
                    </a:cxn>
                    <a:cxn ang="0">
                      <a:pos x="connsiteX3" y="connsiteY3"/>
                    </a:cxn>
                  </a:cxnLst>
                  <a:rect l="l" t="t" r="r" b="b"/>
                  <a:pathLst>
                    <a:path w="85703" h="86301">
                      <a:moveTo>
                        <a:pt x="85703" y="2153"/>
                      </a:moveTo>
                      <a:lnTo>
                        <a:pt x="2213" y="86302"/>
                      </a:lnTo>
                      <a:lnTo>
                        <a:pt x="0" y="84089"/>
                      </a:lnTo>
                      <a:lnTo>
                        <a:pt x="83551" y="0"/>
                      </a:lnTo>
                      <a:close/>
                    </a:path>
                  </a:pathLst>
                </a:custGeom>
                <a:grpFill/>
                <a:ln w="5978" cap="flat">
                  <a:noFill/>
                  <a:prstDash val="solid"/>
                  <a:miter/>
                </a:ln>
              </p:spPr>
              <p:txBody>
                <a:bodyPr rtlCol="0" anchor="ctr"/>
                <a:lstStyle/>
                <a:p>
                  <a:endParaRPr lang="en-GB"/>
                </a:p>
              </p:txBody>
            </p:sp>
            <p:sp>
              <p:nvSpPr>
                <p:cNvPr id="2134" name="Vrije vorm: vorm 2133">
                  <a:extLst>
                    <a:ext uri="{FF2B5EF4-FFF2-40B4-BE49-F238E27FC236}">
                      <a16:creationId xmlns:a16="http://schemas.microsoft.com/office/drawing/2014/main" id="{C6126C21-7C4B-423B-8FA6-6CF8B8826E72}"/>
                    </a:ext>
                  </a:extLst>
                </p:cNvPr>
                <p:cNvSpPr/>
                <p:nvPr/>
              </p:nvSpPr>
              <p:spPr>
                <a:xfrm>
                  <a:off x="4749004" y="4714284"/>
                  <a:ext cx="18316" cy="18420"/>
                </a:xfrm>
                <a:custGeom>
                  <a:avLst/>
                  <a:gdLst>
                    <a:gd name="connsiteX0" fmla="*/ 15677 w 18316"/>
                    <a:gd name="connsiteY0" fmla="*/ 15729 h 18420"/>
                    <a:gd name="connsiteX1" fmla="*/ 2699 w 18316"/>
                    <a:gd name="connsiteY1" fmla="*/ 15729 h 18420"/>
                    <a:gd name="connsiteX2" fmla="*/ 2639 w 18316"/>
                    <a:gd name="connsiteY2" fmla="*/ 2691 h 18420"/>
                    <a:gd name="connsiteX3" fmla="*/ 15617 w 18316"/>
                    <a:gd name="connsiteY3" fmla="*/ 2691 h 18420"/>
                    <a:gd name="connsiteX4" fmla="*/ 15677 w 18316"/>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0">
                      <a:moveTo>
                        <a:pt x="15677" y="15729"/>
                      </a:moveTo>
                      <a:cubicBezTo>
                        <a:pt x="12089" y="19318"/>
                        <a:pt x="6287" y="19318"/>
                        <a:pt x="2699" y="15729"/>
                      </a:cubicBezTo>
                      <a:cubicBezTo>
                        <a:pt x="-890" y="12141"/>
                        <a:pt x="-890" y="6280"/>
                        <a:pt x="2639" y="2691"/>
                      </a:cubicBezTo>
                      <a:cubicBezTo>
                        <a:pt x="6228" y="-897"/>
                        <a:pt x="12029" y="-897"/>
                        <a:pt x="15617" y="2691"/>
                      </a:cubicBezTo>
                      <a:cubicBezTo>
                        <a:pt x="19206" y="6280"/>
                        <a:pt x="19206" y="12141"/>
                        <a:pt x="15677" y="15729"/>
                      </a:cubicBezTo>
                      <a:close/>
                    </a:path>
                  </a:pathLst>
                </a:custGeom>
                <a:grpFill/>
                <a:ln w="5978" cap="flat">
                  <a:noFill/>
                  <a:prstDash val="solid"/>
                  <a:miter/>
                </a:ln>
              </p:spPr>
              <p:txBody>
                <a:bodyPr rtlCol="0" anchor="ctr"/>
                <a:lstStyle/>
                <a:p>
                  <a:endParaRPr lang="en-GB"/>
                </a:p>
              </p:txBody>
            </p:sp>
            <p:sp>
              <p:nvSpPr>
                <p:cNvPr id="2135" name="Vrije vorm: vorm 2134">
                  <a:extLst>
                    <a:ext uri="{FF2B5EF4-FFF2-40B4-BE49-F238E27FC236}">
                      <a16:creationId xmlns:a16="http://schemas.microsoft.com/office/drawing/2014/main" id="{23ED7160-0336-4E90-99F3-7B00177A9EF7}"/>
                    </a:ext>
                  </a:extLst>
                </p:cNvPr>
                <p:cNvSpPr/>
                <p:nvPr/>
              </p:nvSpPr>
              <p:spPr>
                <a:xfrm>
                  <a:off x="4831815" y="4630793"/>
                  <a:ext cx="18361" cy="18420"/>
                </a:xfrm>
                <a:custGeom>
                  <a:avLst/>
                  <a:gdLst>
                    <a:gd name="connsiteX0" fmla="*/ 15700 w 18361"/>
                    <a:gd name="connsiteY0" fmla="*/ 15729 h 18420"/>
                    <a:gd name="connsiteX1" fmla="*/ 15640 w 18361"/>
                    <a:gd name="connsiteY1" fmla="*/ 2691 h 18420"/>
                    <a:gd name="connsiteX2" fmla="*/ 2662 w 18361"/>
                    <a:gd name="connsiteY2" fmla="*/ 2691 h 18420"/>
                    <a:gd name="connsiteX3" fmla="*/ 2722 w 18361"/>
                    <a:gd name="connsiteY3" fmla="*/ 15729 h 18420"/>
                    <a:gd name="connsiteX4" fmla="*/ 15700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700" y="15729"/>
                      </a:moveTo>
                      <a:cubicBezTo>
                        <a:pt x="19288" y="12141"/>
                        <a:pt x="19228" y="6280"/>
                        <a:pt x="15640" y="2691"/>
                      </a:cubicBezTo>
                      <a:cubicBezTo>
                        <a:pt x="12052" y="-897"/>
                        <a:pt x="6250" y="-897"/>
                        <a:pt x="2662" y="2691"/>
                      </a:cubicBezTo>
                      <a:cubicBezTo>
                        <a:pt x="-927" y="6280"/>
                        <a:pt x="-867" y="12141"/>
                        <a:pt x="2722" y="15729"/>
                      </a:cubicBezTo>
                      <a:cubicBezTo>
                        <a:pt x="6370" y="19318"/>
                        <a:pt x="12171" y="19318"/>
                        <a:pt x="15700" y="15729"/>
                      </a:cubicBezTo>
                      <a:close/>
                    </a:path>
                  </a:pathLst>
                </a:custGeom>
                <a:grpFill/>
                <a:ln w="5978" cap="flat">
                  <a:noFill/>
                  <a:prstDash val="solid"/>
                  <a:miter/>
                </a:ln>
              </p:spPr>
              <p:txBody>
                <a:bodyPr rtlCol="0" anchor="ctr"/>
                <a:lstStyle/>
                <a:p>
                  <a:endParaRPr lang="en-GB"/>
                </a:p>
              </p:txBody>
            </p:sp>
          </p:grpSp>
          <p:grpSp>
            <p:nvGrpSpPr>
              <p:cNvPr id="1090" name="Graphic 3">
                <a:extLst>
                  <a:ext uri="{FF2B5EF4-FFF2-40B4-BE49-F238E27FC236}">
                    <a16:creationId xmlns:a16="http://schemas.microsoft.com/office/drawing/2014/main" id="{5387E12D-0228-4747-B9B4-E68934639834}"/>
                  </a:ext>
                </a:extLst>
              </p:cNvPr>
              <p:cNvGrpSpPr/>
              <p:nvPr/>
            </p:nvGrpSpPr>
            <p:grpSpPr>
              <a:xfrm>
                <a:off x="4721304" y="4485210"/>
                <a:ext cx="51827" cy="46434"/>
                <a:chOff x="4721304" y="4485210"/>
                <a:chExt cx="51827" cy="46434"/>
              </a:xfrm>
              <a:grpFill/>
            </p:grpSpPr>
            <p:sp>
              <p:nvSpPr>
                <p:cNvPr id="2130" name="Vrije vorm: vorm 2129">
                  <a:extLst>
                    <a:ext uri="{FF2B5EF4-FFF2-40B4-BE49-F238E27FC236}">
                      <a16:creationId xmlns:a16="http://schemas.microsoft.com/office/drawing/2014/main" id="{455F8C9C-55DC-45EC-9FE1-92A7A95A99D5}"/>
                    </a:ext>
                  </a:extLst>
                </p:cNvPr>
                <p:cNvSpPr/>
                <p:nvPr/>
              </p:nvSpPr>
              <p:spPr>
                <a:xfrm>
                  <a:off x="4729156" y="4492997"/>
                  <a:ext cx="36183" cy="30920"/>
                </a:xfrm>
                <a:custGeom>
                  <a:avLst/>
                  <a:gdLst>
                    <a:gd name="connsiteX0" fmla="*/ 36183 w 36183"/>
                    <a:gd name="connsiteY0" fmla="*/ 2333 h 30920"/>
                    <a:gd name="connsiteX1" fmla="*/ 1914 w 36183"/>
                    <a:gd name="connsiteY1" fmla="*/ 30921 h 30920"/>
                    <a:gd name="connsiteX2" fmla="*/ 0 w 36183"/>
                    <a:gd name="connsiteY2" fmla="*/ 28528 h 30920"/>
                    <a:gd name="connsiteX3" fmla="*/ 34210 w 36183"/>
                    <a:gd name="connsiteY3" fmla="*/ 0 h 30920"/>
                  </a:gdLst>
                  <a:ahLst/>
                  <a:cxnLst>
                    <a:cxn ang="0">
                      <a:pos x="connsiteX0" y="connsiteY0"/>
                    </a:cxn>
                    <a:cxn ang="0">
                      <a:pos x="connsiteX1" y="connsiteY1"/>
                    </a:cxn>
                    <a:cxn ang="0">
                      <a:pos x="connsiteX2" y="connsiteY2"/>
                    </a:cxn>
                    <a:cxn ang="0">
                      <a:pos x="connsiteX3" y="connsiteY3"/>
                    </a:cxn>
                  </a:cxnLst>
                  <a:rect l="l" t="t" r="r" b="b"/>
                  <a:pathLst>
                    <a:path w="36183" h="30920">
                      <a:moveTo>
                        <a:pt x="36183" y="2333"/>
                      </a:moveTo>
                      <a:lnTo>
                        <a:pt x="1914" y="30921"/>
                      </a:lnTo>
                      <a:lnTo>
                        <a:pt x="0" y="28528"/>
                      </a:lnTo>
                      <a:lnTo>
                        <a:pt x="34210" y="0"/>
                      </a:lnTo>
                      <a:close/>
                    </a:path>
                  </a:pathLst>
                </a:custGeom>
                <a:grpFill/>
                <a:ln w="5978" cap="flat">
                  <a:noFill/>
                  <a:prstDash val="solid"/>
                  <a:miter/>
                </a:ln>
              </p:spPr>
              <p:txBody>
                <a:bodyPr rtlCol="0" anchor="ctr"/>
                <a:lstStyle/>
                <a:p>
                  <a:endParaRPr lang="en-GB"/>
                </a:p>
              </p:txBody>
            </p:sp>
            <p:sp>
              <p:nvSpPr>
                <p:cNvPr id="2131" name="Vrije vorm: vorm 2130">
                  <a:extLst>
                    <a:ext uri="{FF2B5EF4-FFF2-40B4-BE49-F238E27FC236}">
                      <a16:creationId xmlns:a16="http://schemas.microsoft.com/office/drawing/2014/main" id="{258D3FEA-E17C-42EF-95D3-451581835E2C}"/>
                    </a:ext>
                  </a:extLst>
                </p:cNvPr>
                <p:cNvSpPr/>
                <p:nvPr/>
              </p:nvSpPr>
              <p:spPr>
                <a:xfrm>
                  <a:off x="4721304" y="4513200"/>
                  <a:ext cx="18335" cy="18444"/>
                </a:xfrm>
                <a:custGeom>
                  <a:avLst/>
                  <a:gdLst>
                    <a:gd name="connsiteX0" fmla="*/ 15029 w 18335"/>
                    <a:gd name="connsiteY0" fmla="*/ 16340 h 18444"/>
                    <a:gd name="connsiteX1" fmla="*/ 2110 w 18335"/>
                    <a:gd name="connsiteY1" fmla="*/ 15084 h 18444"/>
                    <a:gd name="connsiteX2" fmla="*/ 3307 w 18335"/>
                    <a:gd name="connsiteY2" fmla="*/ 2105 h 18444"/>
                    <a:gd name="connsiteX3" fmla="*/ 16225 w 18335"/>
                    <a:gd name="connsiteY3" fmla="*/ 3361 h 18444"/>
                    <a:gd name="connsiteX4" fmla="*/ 15029 w 18335"/>
                    <a:gd name="connsiteY4" fmla="*/ 163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40"/>
                      </a:moveTo>
                      <a:cubicBezTo>
                        <a:pt x="11141" y="19569"/>
                        <a:pt x="5340" y="19031"/>
                        <a:pt x="2110" y="15084"/>
                      </a:cubicBezTo>
                      <a:cubicBezTo>
                        <a:pt x="-1119" y="11136"/>
                        <a:pt x="-581" y="5335"/>
                        <a:pt x="3307" y="2105"/>
                      </a:cubicBezTo>
                      <a:cubicBezTo>
                        <a:pt x="7194" y="-1124"/>
                        <a:pt x="12995" y="-586"/>
                        <a:pt x="16225" y="3361"/>
                      </a:cubicBezTo>
                      <a:cubicBezTo>
                        <a:pt x="19454" y="7249"/>
                        <a:pt x="18916" y="13110"/>
                        <a:pt x="15029" y="16340"/>
                      </a:cubicBezTo>
                      <a:close/>
                    </a:path>
                  </a:pathLst>
                </a:custGeom>
                <a:grpFill/>
                <a:ln w="5978" cap="flat">
                  <a:noFill/>
                  <a:prstDash val="solid"/>
                  <a:miter/>
                </a:ln>
              </p:spPr>
              <p:txBody>
                <a:bodyPr rtlCol="0" anchor="ctr"/>
                <a:lstStyle/>
                <a:p>
                  <a:endParaRPr lang="en-GB"/>
                </a:p>
              </p:txBody>
            </p:sp>
            <p:sp>
              <p:nvSpPr>
                <p:cNvPr id="2132" name="Vrije vorm: vorm 2131">
                  <a:extLst>
                    <a:ext uri="{FF2B5EF4-FFF2-40B4-BE49-F238E27FC236}">
                      <a16:creationId xmlns:a16="http://schemas.microsoft.com/office/drawing/2014/main" id="{C7338352-825C-4266-A312-E6EA866A13F4}"/>
                    </a:ext>
                  </a:extLst>
                </p:cNvPr>
                <p:cNvSpPr/>
                <p:nvPr/>
              </p:nvSpPr>
              <p:spPr>
                <a:xfrm>
                  <a:off x="4754796" y="4485210"/>
                  <a:ext cx="18335" cy="18444"/>
                </a:xfrm>
                <a:custGeom>
                  <a:avLst/>
                  <a:gdLst>
                    <a:gd name="connsiteX0" fmla="*/ 15029 w 18335"/>
                    <a:gd name="connsiteY0" fmla="*/ 16340 h 18444"/>
                    <a:gd name="connsiteX1" fmla="*/ 16225 w 18335"/>
                    <a:gd name="connsiteY1" fmla="*/ 3361 h 18444"/>
                    <a:gd name="connsiteX2" fmla="*/ 3307 w 18335"/>
                    <a:gd name="connsiteY2" fmla="*/ 2105 h 18444"/>
                    <a:gd name="connsiteX3" fmla="*/ 2110 w 18335"/>
                    <a:gd name="connsiteY3" fmla="*/ 15084 h 18444"/>
                    <a:gd name="connsiteX4" fmla="*/ 15029 w 18335"/>
                    <a:gd name="connsiteY4" fmla="*/ 163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40"/>
                      </a:moveTo>
                      <a:cubicBezTo>
                        <a:pt x="18916" y="13110"/>
                        <a:pt x="19455" y="7309"/>
                        <a:pt x="16225" y="3361"/>
                      </a:cubicBezTo>
                      <a:cubicBezTo>
                        <a:pt x="12995" y="-586"/>
                        <a:pt x="7194" y="-1124"/>
                        <a:pt x="3307" y="2105"/>
                      </a:cubicBezTo>
                      <a:cubicBezTo>
                        <a:pt x="-581" y="5335"/>
                        <a:pt x="-1119" y="11136"/>
                        <a:pt x="2110" y="15084"/>
                      </a:cubicBezTo>
                      <a:cubicBezTo>
                        <a:pt x="5400" y="19031"/>
                        <a:pt x="11201" y="19569"/>
                        <a:pt x="15029" y="16340"/>
                      </a:cubicBezTo>
                      <a:close/>
                    </a:path>
                  </a:pathLst>
                </a:custGeom>
                <a:grpFill/>
                <a:ln w="5978" cap="flat">
                  <a:noFill/>
                  <a:prstDash val="solid"/>
                  <a:miter/>
                </a:ln>
              </p:spPr>
              <p:txBody>
                <a:bodyPr rtlCol="0" anchor="ctr"/>
                <a:lstStyle/>
                <a:p>
                  <a:endParaRPr lang="en-GB"/>
                </a:p>
              </p:txBody>
            </p:sp>
          </p:grpSp>
          <p:grpSp>
            <p:nvGrpSpPr>
              <p:cNvPr id="1091" name="Graphic 3">
                <a:extLst>
                  <a:ext uri="{FF2B5EF4-FFF2-40B4-BE49-F238E27FC236}">
                    <a16:creationId xmlns:a16="http://schemas.microsoft.com/office/drawing/2014/main" id="{8BE19AE3-4F04-4171-BDE3-AB129B4EBC73}"/>
                  </a:ext>
                </a:extLst>
              </p:cNvPr>
              <p:cNvGrpSpPr/>
              <p:nvPr/>
            </p:nvGrpSpPr>
            <p:grpSpPr>
              <a:xfrm>
                <a:off x="4929893" y="5147150"/>
                <a:ext cx="94686" cy="146266"/>
                <a:chOff x="4929893" y="5147150"/>
                <a:chExt cx="94686" cy="146266"/>
              </a:xfrm>
              <a:grpFill/>
            </p:grpSpPr>
            <p:sp>
              <p:nvSpPr>
                <p:cNvPr id="2127" name="Vrije vorm: vorm 2126">
                  <a:extLst>
                    <a:ext uri="{FF2B5EF4-FFF2-40B4-BE49-F238E27FC236}">
                      <a16:creationId xmlns:a16="http://schemas.microsoft.com/office/drawing/2014/main" id="{720CEF0A-2BB3-4FCB-AF06-BF329960B16F}"/>
                    </a:ext>
                  </a:extLst>
                </p:cNvPr>
                <p:cNvSpPr/>
                <p:nvPr/>
              </p:nvSpPr>
              <p:spPr>
                <a:xfrm>
                  <a:off x="4937524" y="5155183"/>
                  <a:ext cx="79483" cy="130200"/>
                </a:xfrm>
                <a:custGeom>
                  <a:avLst/>
                  <a:gdLst>
                    <a:gd name="connsiteX0" fmla="*/ 79484 w 79483"/>
                    <a:gd name="connsiteY0" fmla="*/ 1615 h 130200"/>
                    <a:gd name="connsiteX1" fmla="*/ 2572 w 79483"/>
                    <a:gd name="connsiteY1" fmla="*/ 130200 h 130200"/>
                    <a:gd name="connsiteX2" fmla="*/ 0 w 79483"/>
                    <a:gd name="connsiteY2" fmla="*/ 128645 h 130200"/>
                    <a:gd name="connsiteX3" fmla="*/ 76852 w 79483"/>
                    <a:gd name="connsiteY3" fmla="*/ 0 h 130200"/>
                  </a:gdLst>
                  <a:ahLst/>
                  <a:cxnLst>
                    <a:cxn ang="0">
                      <a:pos x="connsiteX0" y="connsiteY0"/>
                    </a:cxn>
                    <a:cxn ang="0">
                      <a:pos x="connsiteX1" y="connsiteY1"/>
                    </a:cxn>
                    <a:cxn ang="0">
                      <a:pos x="connsiteX2" y="connsiteY2"/>
                    </a:cxn>
                    <a:cxn ang="0">
                      <a:pos x="connsiteX3" y="connsiteY3"/>
                    </a:cxn>
                  </a:cxnLst>
                  <a:rect l="l" t="t" r="r" b="b"/>
                  <a:pathLst>
                    <a:path w="79483" h="130200">
                      <a:moveTo>
                        <a:pt x="79484" y="1615"/>
                      </a:moveTo>
                      <a:lnTo>
                        <a:pt x="2572" y="130200"/>
                      </a:lnTo>
                      <a:lnTo>
                        <a:pt x="0" y="128645"/>
                      </a:lnTo>
                      <a:lnTo>
                        <a:pt x="76852" y="0"/>
                      </a:lnTo>
                      <a:close/>
                    </a:path>
                  </a:pathLst>
                </a:custGeom>
                <a:grpFill/>
                <a:ln w="5978" cap="flat">
                  <a:noFill/>
                  <a:prstDash val="solid"/>
                  <a:miter/>
                </a:ln>
              </p:spPr>
              <p:txBody>
                <a:bodyPr rtlCol="0" anchor="ctr"/>
                <a:lstStyle/>
                <a:p>
                  <a:endParaRPr lang="en-GB"/>
                </a:p>
              </p:txBody>
            </p:sp>
            <p:sp>
              <p:nvSpPr>
                <p:cNvPr id="2128" name="Vrije vorm: vorm 2127">
                  <a:extLst>
                    <a:ext uri="{FF2B5EF4-FFF2-40B4-BE49-F238E27FC236}">
                      <a16:creationId xmlns:a16="http://schemas.microsoft.com/office/drawing/2014/main" id="{BC307170-8751-4FBE-8564-2EF428DB4BEE}"/>
                    </a:ext>
                  </a:extLst>
                </p:cNvPr>
                <p:cNvSpPr/>
                <p:nvPr/>
              </p:nvSpPr>
              <p:spPr>
                <a:xfrm>
                  <a:off x="4929893" y="5274958"/>
                  <a:ext cx="18312" cy="18458"/>
                </a:xfrm>
                <a:custGeom>
                  <a:avLst/>
                  <a:gdLst>
                    <a:gd name="connsiteX0" fmla="*/ 17021 w 18312"/>
                    <a:gd name="connsiteY0" fmla="*/ 14014 h 18458"/>
                    <a:gd name="connsiteX1" fmla="*/ 4462 w 18312"/>
                    <a:gd name="connsiteY1" fmla="*/ 17124 h 18458"/>
                    <a:gd name="connsiteX2" fmla="*/ 1292 w 18312"/>
                    <a:gd name="connsiteY2" fmla="*/ 4445 h 18458"/>
                    <a:gd name="connsiteX3" fmla="*/ 13851 w 18312"/>
                    <a:gd name="connsiteY3" fmla="*/ 1335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4449" y="18380"/>
                        <a:pt x="8768" y="19755"/>
                        <a:pt x="4462" y="17124"/>
                      </a:cubicBezTo>
                      <a:cubicBezTo>
                        <a:pt x="96" y="14492"/>
                        <a:pt x="-1280" y="8811"/>
                        <a:pt x="1292" y="4445"/>
                      </a:cubicBezTo>
                      <a:cubicBezTo>
                        <a:pt x="3863" y="79"/>
                        <a:pt x="9545" y="-1297"/>
                        <a:pt x="13851" y="1335"/>
                      </a:cubicBezTo>
                      <a:cubicBezTo>
                        <a:pt x="18217" y="4026"/>
                        <a:pt x="19593" y="9648"/>
                        <a:pt x="17021" y="14014"/>
                      </a:cubicBezTo>
                      <a:close/>
                    </a:path>
                  </a:pathLst>
                </a:custGeom>
                <a:grpFill/>
                <a:ln w="5978" cap="flat">
                  <a:noFill/>
                  <a:prstDash val="solid"/>
                  <a:miter/>
                </a:ln>
              </p:spPr>
              <p:txBody>
                <a:bodyPr rtlCol="0" anchor="ctr"/>
                <a:lstStyle/>
                <a:p>
                  <a:endParaRPr lang="en-GB"/>
                </a:p>
              </p:txBody>
            </p:sp>
            <p:sp>
              <p:nvSpPr>
                <p:cNvPr id="2129" name="Vrije vorm: vorm 2128">
                  <a:extLst>
                    <a:ext uri="{FF2B5EF4-FFF2-40B4-BE49-F238E27FC236}">
                      <a16:creationId xmlns:a16="http://schemas.microsoft.com/office/drawing/2014/main" id="{25750979-3051-4669-BBE0-92B50D307C9A}"/>
                    </a:ext>
                  </a:extLst>
                </p:cNvPr>
                <p:cNvSpPr/>
                <p:nvPr/>
              </p:nvSpPr>
              <p:spPr>
                <a:xfrm>
                  <a:off x="5006240" y="5147150"/>
                  <a:ext cx="18339" cy="18458"/>
                </a:xfrm>
                <a:custGeom>
                  <a:avLst/>
                  <a:gdLst>
                    <a:gd name="connsiteX0" fmla="*/ 17048 w 18339"/>
                    <a:gd name="connsiteY0" fmla="*/ 14014 h 18458"/>
                    <a:gd name="connsiteX1" fmla="*/ 13878 w 18339"/>
                    <a:gd name="connsiteY1" fmla="*/ 1335 h 18458"/>
                    <a:gd name="connsiteX2" fmla="*/ 1318 w 18339"/>
                    <a:gd name="connsiteY2" fmla="*/ 4444 h 18458"/>
                    <a:gd name="connsiteX3" fmla="*/ 4488 w 18339"/>
                    <a:gd name="connsiteY3" fmla="*/ 17124 h 18458"/>
                    <a:gd name="connsiteX4" fmla="*/ 17048 w 18339"/>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8">
                      <a:moveTo>
                        <a:pt x="17048" y="14014"/>
                      </a:moveTo>
                      <a:cubicBezTo>
                        <a:pt x="19619" y="9648"/>
                        <a:pt x="18244" y="3966"/>
                        <a:pt x="13878" y="1335"/>
                      </a:cubicBezTo>
                      <a:cubicBezTo>
                        <a:pt x="9512" y="-1297"/>
                        <a:pt x="3890" y="79"/>
                        <a:pt x="1318" y="4444"/>
                      </a:cubicBezTo>
                      <a:cubicBezTo>
                        <a:pt x="-1313" y="8811"/>
                        <a:pt x="122" y="14492"/>
                        <a:pt x="4488" y="17124"/>
                      </a:cubicBezTo>
                      <a:cubicBezTo>
                        <a:pt x="8854" y="19755"/>
                        <a:pt x="14476" y="18380"/>
                        <a:pt x="17048" y="14014"/>
                      </a:cubicBezTo>
                      <a:close/>
                    </a:path>
                  </a:pathLst>
                </a:custGeom>
                <a:grpFill/>
                <a:ln w="5978" cap="flat">
                  <a:noFill/>
                  <a:prstDash val="solid"/>
                  <a:miter/>
                </a:ln>
              </p:spPr>
              <p:txBody>
                <a:bodyPr rtlCol="0" anchor="ctr"/>
                <a:lstStyle/>
                <a:p>
                  <a:endParaRPr lang="en-GB"/>
                </a:p>
              </p:txBody>
            </p:sp>
          </p:grpSp>
          <p:grpSp>
            <p:nvGrpSpPr>
              <p:cNvPr id="1092" name="Graphic 3">
                <a:extLst>
                  <a:ext uri="{FF2B5EF4-FFF2-40B4-BE49-F238E27FC236}">
                    <a16:creationId xmlns:a16="http://schemas.microsoft.com/office/drawing/2014/main" id="{2F50E19A-668B-4121-AF6D-12224D91965A}"/>
                  </a:ext>
                </a:extLst>
              </p:cNvPr>
              <p:cNvGrpSpPr/>
              <p:nvPr/>
            </p:nvGrpSpPr>
            <p:grpSpPr>
              <a:xfrm>
                <a:off x="4725305" y="4797912"/>
                <a:ext cx="397843" cy="504881"/>
                <a:chOff x="4725305" y="4797912"/>
                <a:chExt cx="397843" cy="504881"/>
              </a:xfrm>
              <a:grpFill/>
            </p:grpSpPr>
            <p:sp>
              <p:nvSpPr>
                <p:cNvPr id="2124" name="Vrije vorm: vorm 2123">
                  <a:extLst>
                    <a:ext uri="{FF2B5EF4-FFF2-40B4-BE49-F238E27FC236}">
                      <a16:creationId xmlns:a16="http://schemas.microsoft.com/office/drawing/2014/main" id="{E179C035-9127-453E-86DA-D4BD0AE1FB17}"/>
                    </a:ext>
                  </a:extLst>
                </p:cNvPr>
                <p:cNvSpPr/>
                <p:nvPr/>
              </p:nvSpPr>
              <p:spPr>
                <a:xfrm>
                  <a:off x="4732983" y="4805849"/>
                  <a:ext cx="382467" cy="489043"/>
                </a:xfrm>
                <a:custGeom>
                  <a:avLst/>
                  <a:gdLst>
                    <a:gd name="connsiteX0" fmla="*/ 382467 w 382467"/>
                    <a:gd name="connsiteY0" fmla="*/ 1914 h 489043"/>
                    <a:gd name="connsiteX1" fmla="*/ 2392 w 382467"/>
                    <a:gd name="connsiteY1" fmla="*/ 489044 h 489043"/>
                    <a:gd name="connsiteX2" fmla="*/ 0 w 382467"/>
                    <a:gd name="connsiteY2" fmla="*/ 487130 h 489043"/>
                    <a:gd name="connsiteX3" fmla="*/ 380075 w 382467"/>
                    <a:gd name="connsiteY3" fmla="*/ 0 h 489043"/>
                  </a:gdLst>
                  <a:ahLst/>
                  <a:cxnLst>
                    <a:cxn ang="0">
                      <a:pos x="connsiteX0" y="connsiteY0"/>
                    </a:cxn>
                    <a:cxn ang="0">
                      <a:pos x="connsiteX1" y="connsiteY1"/>
                    </a:cxn>
                    <a:cxn ang="0">
                      <a:pos x="connsiteX2" y="connsiteY2"/>
                    </a:cxn>
                    <a:cxn ang="0">
                      <a:pos x="connsiteX3" y="connsiteY3"/>
                    </a:cxn>
                  </a:cxnLst>
                  <a:rect l="l" t="t" r="r" b="b"/>
                  <a:pathLst>
                    <a:path w="382467" h="489043">
                      <a:moveTo>
                        <a:pt x="382467" y="1914"/>
                      </a:moveTo>
                      <a:lnTo>
                        <a:pt x="2392" y="489044"/>
                      </a:lnTo>
                      <a:lnTo>
                        <a:pt x="0" y="487130"/>
                      </a:lnTo>
                      <a:lnTo>
                        <a:pt x="380075" y="0"/>
                      </a:lnTo>
                      <a:close/>
                    </a:path>
                  </a:pathLst>
                </a:custGeom>
                <a:grpFill/>
                <a:ln w="5978" cap="flat">
                  <a:noFill/>
                  <a:prstDash val="solid"/>
                  <a:miter/>
                </a:ln>
              </p:spPr>
              <p:txBody>
                <a:bodyPr rtlCol="0" anchor="ctr"/>
                <a:lstStyle/>
                <a:p>
                  <a:endParaRPr lang="en-GB"/>
                </a:p>
              </p:txBody>
            </p:sp>
            <p:sp>
              <p:nvSpPr>
                <p:cNvPr id="2125" name="Vrije vorm: vorm 2124">
                  <a:extLst>
                    <a:ext uri="{FF2B5EF4-FFF2-40B4-BE49-F238E27FC236}">
                      <a16:creationId xmlns:a16="http://schemas.microsoft.com/office/drawing/2014/main" id="{177A4BCC-1FDD-4CB9-A7D2-95D0FD94790D}"/>
                    </a:ext>
                  </a:extLst>
                </p:cNvPr>
                <p:cNvSpPr/>
                <p:nvPr/>
              </p:nvSpPr>
              <p:spPr>
                <a:xfrm>
                  <a:off x="5104841" y="4797912"/>
                  <a:ext cx="18306" cy="18384"/>
                </a:xfrm>
                <a:custGeom>
                  <a:avLst/>
                  <a:gdLst>
                    <a:gd name="connsiteX0" fmla="*/ 1937 w 18306"/>
                    <a:gd name="connsiteY0" fmla="*/ 3511 h 18384"/>
                    <a:gd name="connsiteX1" fmla="*/ 14796 w 18306"/>
                    <a:gd name="connsiteY1" fmla="*/ 1956 h 18384"/>
                    <a:gd name="connsiteX2" fmla="*/ 16351 w 18306"/>
                    <a:gd name="connsiteY2" fmla="*/ 14874 h 18384"/>
                    <a:gd name="connsiteX3" fmla="*/ 3492 w 18306"/>
                    <a:gd name="connsiteY3" fmla="*/ 16429 h 18384"/>
                    <a:gd name="connsiteX4" fmla="*/ 1937 w 18306"/>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84">
                      <a:moveTo>
                        <a:pt x="1937" y="3511"/>
                      </a:moveTo>
                      <a:cubicBezTo>
                        <a:pt x="5047" y="-496"/>
                        <a:pt x="10789" y="-1154"/>
                        <a:pt x="14796" y="1956"/>
                      </a:cubicBezTo>
                      <a:cubicBezTo>
                        <a:pt x="18803" y="5126"/>
                        <a:pt x="19461" y="10927"/>
                        <a:pt x="16351" y="14874"/>
                      </a:cubicBezTo>
                      <a:cubicBezTo>
                        <a:pt x="13241" y="18881"/>
                        <a:pt x="7499" y="19539"/>
                        <a:pt x="3492" y="16429"/>
                      </a:cubicBezTo>
                      <a:cubicBezTo>
                        <a:pt x="-455" y="13319"/>
                        <a:pt x="-1173" y="7518"/>
                        <a:pt x="1937" y="3511"/>
                      </a:cubicBezTo>
                      <a:close/>
                    </a:path>
                  </a:pathLst>
                </a:custGeom>
                <a:grpFill/>
                <a:ln w="5978" cap="flat">
                  <a:noFill/>
                  <a:prstDash val="solid"/>
                  <a:miter/>
                </a:ln>
              </p:spPr>
              <p:txBody>
                <a:bodyPr rtlCol="0" anchor="ctr"/>
                <a:lstStyle/>
                <a:p>
                  <a:endParaRPr lang="en-GB"/>
                </a:p>
              </p:txBody>
            </p:sp>
            <p:sp>
              <p:nvSpPr>
                <p:cNvPr id="2126" name="Vrije vorm: vorm 2125">
                  <a:extLst>
                    <a:ext uri="{FF2B5EF4-FFF2-40B4-BE49-F238E27FC236}">
                      <a16:creationId xmlns:a16="http://schemas.microsoft.com/office/drawing/2014/main" id="{A67657AB-1C6B-4CB7-8200-550C607DA867}"/>
                    </a:ext>
                  </a:extLst>
                </p:cNvPr>
                <p:cNvSpPr/>
                <p:nvPr/>
              </p:nvSpPr>
              <p:spPr>
                <a:xfrm>
                  <a:off x="4725305" y="5284384"/>
                  <a:ext cx="18288" cy="18410"/>
                </a:xfrm>
                <a:custGeom>
                  <a:avLst/>
                  <a:gdLst>
                    <a:gd name="connsiteX0" fmla="*/ 1937 w 18288"/>
                    <a:gd name="connsiteY0" fmla="*/ 3511 h 18410"/>
                    <a:gd name="connsiteX1" fmla="*/ 3492 w 18288"/>
                    <a:gd name="connsiteY1" fmla="*/ 16429 h 18410"/>
                    <a:gd name="connsiteX2" fmla="*/ 16351 w 18288"/>
                    <a:gd name="connsiteY2" fmla="*/ 14874 h 18410"/>
                    <a:gd name="connsiteX3" fmla="*/ 14796 w 18288"/>
                    <a:gd name="connsiteY3" fmla="*/ 1956 h 18410"/>
                    <a:gd name="connsiteX4" fmla="*/ 1937 w 18288"/>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10">
                      <a:moveTo>
                        <a:pt x="1937" y="3511"/>
                      </a:moveTo>
                      <a:cubicBezTo>
                        <a:pt x="-1173" y="7518"/>
                        <a:pt x="-455" y="13319"/>
                        <a:pt x="3492" y="16429"/>
                      </a:cubicBezTo>
                      <a:cubicBezTo>
                        <a:pt x="7499" y="19599"/>
                        <a:pt x="13241" y="18881"/>
                        <a:pt x="16351" y="14874"/>
                      </a:cubicBezTo>
                      <a:cubicBezTo>
                        <a:pt x="19461" y="10867"/>
                        <a:pt x="18743" y="5066"/>
                        <a:pt x="14796" y="1956"/>
                      </a:cubicBezTo>
                      <a:cubicBezTo>
                        <a:pt x="10849" y="-1154"/>
                        <a:pt x="5047" y="-496"/>
                        <a:pt x="1937" y="3511"/>
                      </a:cubicBezTo>
                      <a:close/>
                    </a:path>
                  </a:pathLst>
                </a:custGeom>
                <a:grpFill/>
                <a:ln w="5978" cap="flat">
                  <a:noFill/>
                  <a:prstDash val="solid"/>
                  <a:miter/>
                </a:ln>
              </p:spPr>
              <p:txBody>
                <a:bodyPr rtlCol="0" anchor="ctr"/>
                <a:lstStyle/>
                <a:p>
                  <a:endParaRPr lang="en-GB"/>
                </a:p>
              </p:txBody>
            </p:sp>
          </p:grpSp>
          <p:grpSp>
            <p:nvGrpSpPr>
              <p:cNvPr id="1093" name="Graphic 3">
                <a:extLst>
                  <a:ext uri="{FF2B5EF4-FFF2-40B4-BE49-F238E27FC236}">
                    <a16:creationId xmlns:a16="http://schemas.microsoft.com/office/drawing/2014/main" id="{AC57E98D-148F-4C2F-9FFB-633D48AB12A7}"/>
                  </a:ext>
                </a:extLst>
              </p:cNvPr>
              <p:cNvGrpSpPr/>
              <p:nvPr/>
            </p:nvGrpSpPr>
            <p:grpSpPr>
              <a:xfrm>
                <a:off x="4266045" y="3276607"/>
                <a:ext cx="126000" cy="26370"/>
                <a:chOff x="4266045" y="3276607"/>
                <a:chExt cx="126000" cy="26370"/>
              </a:xfrm>
              <a:grpFill/>
            </p:grpSpPr>
            <p:sp>
              <p:nvSpPr>
                <p:cNvPr id="2121" name="Vrije vorm: vorm 2120">
                  <a:extLst>
                    <a:ext uri="{FF2B5EF4-FFF2-40B4-BE49-F238E27FC236}">
                      <a16:creationId xmlns:a16="http://schemas.microsoft.com/office/drawing/2014/main" id="{CDEE52E4-A28D-4012-8C9E-1C5474E2B777}"/>
                    </a:ext>
                  </a:extLst>
                </p:cNvPr>
                <p:cNvSpPr/>
                <p:nvPr/>
              </p:nvSpPr>
              <p:spPr>
                <a:xfrm>
                  <a:off x="4274621" y="3284293"/>
                  <a:ext cx="108848" cy="11064"/>
                </a:xfrm>
                <a:custGeom>
                  <a:avLst/>
                  <a:gdLst>
                    <a:gd name="connsiteX0" fmla="*/ 108849 w 108848"/>
                    <a:gd name="connsiteY0" fmla="*/ 8014 h 11064"/>
                    <a:gd name="connsiteX1" fmla="*/ 108670 w 108848"/>
                    <a:gd name="connsiteY1" fmla="*/ 11064 h 11064"/>
                    <a:gd name="connsiteX2" fmla="*/ 0 w 108848"/>
                    <a:gd name="connsiteY2" fmla="*/ 3050 h 11064"/>
                    <a:gd name="connsiteX3" fmla="*/ 239 w 108848"/>
                    <a:gd name="connsiteY3" fmla="*/ 0 h 11064"/>
                  </a:gdLst>
                  <a:ahLst/>
                  <a:cxnLst>
                    <a:cxn ang="0">
                      <a:pos x="connsiteX0" y="connsiteY0"/>
                    </a:cxn>
                    <a:cxn ang="0">
                      <a:pos x="connsiteX1" y="connsiteY1"/>
                    </a:cxn>
                    <a:cxn ang="0">
                      <a:pos x="connsiteX2" y="connsiteY2"/>
                    </a:cxn>
                    <a:cxn ang="0">
                      <a:pos x="connsiteX3" y="connsiteY3"/>
                    </a:cxn>
                  </a:cxnLst>
                  <a:rect l="l" t="t" r="r" b="b"/>
                  <a:pathLst>
                    <a:path w="108848" h="11064">
                      <a:moveTo>
                        <a:pt x="108849" y="8014"/>
                      </a:moveTo>
                      <a:lnTo>
                        <a:pt x="108670" y="11064"/>
                      </a:lnTo>
                      <a:lnTo>
                        <a:pt x="0" y="3050"/>
                      </a:lnTo>
                      <a:lnTo>
                        <a:pt x="239" y="0"/>
                      </a:lnTo>
                      <a:close/>
                    </a:path>
                  </a:pathLst>
                </a:custGeom>
                <a:grpFill/>
                <a:ln w="5978" cap="flat">
                  <a:noFill/>
                  <a:prstDash val="solid"/>
                  <a:miter/>
                </a:ln>
              </p:spPr>
              <p:txBody>
                <a:bodyPr rtlCol="0" anchor="ctr"/>
                <a:lstStyle/>
                <a:p>
                  <a:endParaRPr lang="en-GB"/>
                </a:p>
              </p:txBody>
            </p:sp>
            <p:sp>
              <p:nvSpPr>
                <p:cNvPr id="2122" name="Vrije vorm: vorm 2121">
                  <a:extLst>
                    <a:ext uri="{FF2B5EF4-FFF2-40B4-BE49-F238E27FC236}">
                      <a16:creationId xmlns:a16="http://schemas.microsoft.com/office/drawing/2014/main" id="{8782C40E-067B-41C0-AF1E-F7AF837BFB99}"/>
                    </a:ext>
                  </a:extLst>
                </p:cNvPr>
                <p:cNvSpPr/>
                <p:nvPr/>
              </p:nvSpPr>
              <p:spPr>
                <a:xfrm>
                  <a:off x="4266045" y="3276607"/>
                  <a:ext cx="18288" cy="18423"/>
                </a:xfrm>
                <a:custGeom>
                  <a:avLst/>
                  <a:gdLst>
                    <a:gd name="connsiteX0" fmla="*/ 8516 w 18288"/>
                    <a:gd name="connsiteY0" fmla="*/ 18392 h 18423"/>
                    <a:gd name="connsiteX1" fmla="*/ 23 w 18288"/>
                    <a:gd name="connsiteY1" fmla="*/ 8524 h 18423"/>
                    <a:gd name="connsiteX2" fmla="*/ 9772 w 18288"/>
                    <a:gd name="connsiteY2" fmla="*/ 31 h 18423"/>
                    <a:gd name="connsiteX3" fmla="*/ 18265 w 18288"/>
                    <a:gd name="connsiteY3" fmla="*/ 9899 h 18423"/>
                    <a:gd name="connsiteX4" fmla="*/ 8516 w 18288"/>
                    <a:gd name="connsiteY4" fmla="*/ 183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3">
                      <a:moveTo>
                        <a:pt x="8516" y="18392"/>
                      </a:moveTo>
                      <a:cubicBezTo>
                        <a:pt x="3492" y="18033"/>
                        <a:pt x="-336" y="13608"/>
                        <a:pt x="23" y="8524"/>
                      </a:cubicBezTo>
                      <a:cubicBezTo>
                        <a:pt x="382" y="3440"/>
                        <a:pt x="4748" y="-387"/>
                        <a:pt x="9772" y="31"/>
                      </a:cubicBezTo>
                      <a:cubicBezTo>
                        <a:pt x="14796" y="390"/>
                        <a:pt x="18624" y="4816"/>
                        <a:pt x="18265" y="9899"/>
                      </a:cubicBezTo>
                      <a:cubicBezTo>
                        <a:pt x="17965" y="14983"/>
                        <a:pt x="13540" y="18811"/>
                        <a:pt x="8516" y="18392"/>
                      </a:cubicBezTo>
                      <a:close/>
                    </a:path>
                  </a:pathLst>
                </a:custGeom>
                <a:grpFill/>
                <a:ln w="5978" cap="flat">
                  <a:noFill/>
                  <a:prstDash val="solid"/>
                  <a:miter/>
                </a:ln>
              </p:spPr>
              <p:txBody>
                <a:bodyPr rtlCol="0" anchor="ctr"/>
                <a:lstStyle/>
                <a:p>
                  <a:endParaRPr lang="en-GB"/>
                </a:p>
              </p:txBody>
            </p:sp>
            <p:sp>
              <p:nvSpPr>
                <p:cNvPr id="2123" name="Vrije vorm: vorm 2122">
                  <a:extLst>
                    <a:ext uri="{FF2B5EF4-FFF2-40B4-BE49-F238E27FC236}">
                      <a16:creationId xmlns:a16="http://schemas.microsoft.com/office/drawing/2014/main" id="{415E21EE-E69A-4CA4-BE40-6E4BFEC58474}"/>
                    </a:ext>
                  </a:extLst>
                </p:cNvPr>
                <p:cNvSpPr/>
                <p:nvPr/>
              </p:nvSpPr>
              <p:spPr>
                <a:xfrm>
                  <a:off x="4373758" y="3284569"/>
                  <a:ext cx="18287" cy="18407"/>
                </a:xfrm>
                <a:custGeom>
                  <a:avLst/>
                  <a:gdLst>
                    <a:gd name="connsiteX0" fmla="*/ 8516 w 18287"/>
                    <a:gd name="connsiteY0" fmla="*/ 18384 h 18407"/>
                    <a:gd name="connsiteX1" fmla="*/ 18264 w 18287"/>
                    <a:gd name="connsiteY1" fmla="*/ 9892 h 18407"/>
                    <a:gd name="connsiteX2" fmla="*/ 9772 w 18287"/>
                    <a:gd name="connsiteY2" fmla="*/ 23 h 18407"/>
                    <a:gd name="connsiteX3" fmla="*/ 23 w 18287"/>
                    <a:gd name="connsiteY3" fmla="*/ 8516 h 18407"/>
                    <a:gd name="connsiteX4" fmla="*/ 8516 w 18287"/>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07">
                      <a:moveTo>
                        <a:pt x="8516" y="18384"/>
                      </a:moveTo>
                      <a:cubicBezTo>
                        <a:pt x="13540" y="18743"/>
                        <a:pt x="17965" y="14975"/>
                        <a:pt x="18264" y="9892"/>
                      </a:cubicBezTo>
                      <a:cubicBezTo>
                        <a:pt x="18623" y="4808"/>
                        <a:pt x="14796" y="382"/>
                        <a:pt x="9772" y="23"/>
                      </a:cubicBezTo>
                      <a:cubicBezTo>
                        <a:pt x="4748" y="-336"/>
                        <a:pt x="322" y="3492"/>
                        <a:pt x="23" y="8516"/>
                      </a:cubicBezTo>
                      <a:cubicBezTo>
                        <a:pt x="-336" y="13600"/>
                        <a:pt x="3492" y="18025"/>
                        <a:pt x="8516" y="18384"/>
                      </a:cubicBezTo>
                      <a:close/>
                    </a:path>
                  </a:pathLst>
                </a:custGeom>
                <a:grpFill/>
                <a:ln w="5978" cap="flat">
                  <a:noFill/>
                  <a:prstDash val="solid"/>
                  <a:miter/>
                </a:ln>
              </p:spPr>
              <p:txBody>
                <a:bodyPr rtlCol="0" anchor="ctr"/>
                <a:lstStyle/>
                <a:p>
                  <a:endParaRPr lang="en-GB"/>
                </a:p>
              </p:txBody>
            </p:sp>
          </p:grpSp>
          <p:grpSp>
            <p:nvGrpSpPr>
              <p:cNvPr id="1094" name="Graphic 3">
                <a:extLst>
                  <a:ext uri="{FF2B5EF4-FFF2-40B4-BE49-F238E27FC236}">
                    <a16:creationId xmlns:a16="http://schemas.microsoft.com/office/drawing/2014/main" id="{F8F67102-49D7-434C-A2A0-7AF1B630BBD4}"/>
                  </a:ext>
                </a:extLst>
              </p:cNvPr>
              <p:cNvGrpSpPr/>
              <p:nvPr/>
            </p:nvGrpSpPr>
            <p:grpSpPr>
              <a:xfrm>
                <a:off x="4706553" y="4811906"/>
                <a:ext cx="444956" cy="595047"/>
                <a:chOff x="4706553" y="4811906"/>
                <a:chExt cx="444956" cy="595047"/>
              </a:xfrm>
              <a:grpFill/>
            </p:grpSpPr>
            <p:sp>
              <p:nvSpPr>
                <p:cNvPr id="2118" name="Vrije vorm: vorm 2117">
                  <a:extLst>
                    <a:ext uri="{FF2B5EF4-FFF2-40B4-BE49-F238E27FC236}">
                      <a16:creationId xmlns:a16="http://schemas.microsoft.com/office/drawing/2014/main" id="{D7FB3904-9D4F-4857-BAFF-9E00DD46345A}"/>
                    </a:ext>
                  </a:extLst>
                </p:cNvPr>
                <p:cNvSpPr/>
                <p:nvPr/>
              </p:nvSpPr>
              <p:spPr>
                <a:xfrm>
                  <a:off x="4714204" y="4819844"/>
                  <a:ext cx="429654" cy="579173"/>
                </a:xfrm>
                <a:custGeom>
                  <a:avLst/>
                  <a:gdLst>
                    <a:gd name="connsiteX0" fmla="*/ 429655 w 429654"/>
                    <a:gd name="connsiteY0" fmla="*/ 1854 h 579173"/>
                    <a:gd name="connsiteX1" fmla="*/ 2452 w 429654"/>
                    <a:gd name="connsiteY1" fmla="*/ 579173 h 579173"/>
                    <a:gd name="connsiteX2" fmla="*/ 0 w 429654"/>
                    <a:gd name="connsiteY2" fmla="*/ 577319 h 579173"/>
                    <a:gd name="connsiteX3" fmla="*/ 427203 w 429654"/>
                    <a:gd name="connsiteY3" fmla="*/ 0 h 579173"/>
                  </a:gdLst>
                  <a:ahLst/>
                  <a:cxnLst>
                    <a:cxn ang="0">
                      <a:pos x="connsiteX0" y="connsiteY0"/>
                    </a:cxn>
                    <a:cxn ang="0">
                      <a:pos x="connsiteX1" y="connsiteY1"/>
                    </a:cxn>
                    <a:cxn ang="0">
                      <a:pos x="connsiteX2" y="connsiteY2"/>
                    </a:cxn>
                    <a:cxn ang="0">
                      <a:pos x="connsiteX3" y="connsiteY3"/>
                    </a:cxn>
                  </a:cxnLst>
                  <a:rect l="l" t="t" r="r" b="b"/>
                  <a:pathLst>
                    <a:path w="429654" h="579173">
                      <a:moveTo>
                        <a:pt x="429655" y="1854"/>
                      </a:moveTo>
                      <a:lnTo>
                        <a:pt x="2452" y="579173"/>
                      </a:lnTo>
                      <a:lnTo>
                        <a:pt x="0" y="577319"/>
                      </a:lnTo>
                      <a:lnTo>
                        <a:pt x="427203" y="0"/>
                      </a:lnTo>
                      <a:close/>
                    </a:path>
                  </a:pathLst>
                </a:custGeom>
                <a:grpFill/>
                <a:ln w="5978" cap="flat">
                  <a:noFill/>
                  <a:prstDash val="solid"/>
                  <a:miter/>
                </a:ln>
              </p:spPr>
              <p:txBody>
                <a:bodyPr rtlCol="0" anchor="ctr"/>
                <a:lstStyle/>
                <a:p>
                  <a:endParaRPr lang="en-GB"/>
                </a:p>
              </p:txBody>
            </p:sp>
            <p:sp>
              <p:nvSpPr>
                <p:cNvPr id="2119" name="Vrije vorm: vorm 2118">
                  <a:extLst>
                    <a:ext uri="{FF2B5EF4-FFF2-40B4-BE49-F238E27FC236}">
                      <a16:creationId xmlns:a16="http://schemas.microsoft.com/office/drawing/2014/main" id="{19D8447F-18EA-4987-B8B0-E4BD0C5D2A34}"/>
                    </a:ext>
                  </a:extLst>
                </p:cNvPr>
                <p:cNvSpPr/>
                <p:nvPr/>
              </p:nvSpPr>
              <p:spPr>
                <a:xfrm>
                  <a:off x="5133218" y="4811906"/>
                  <a:ext cx="18291" cy="18446"/>
                </a:xfrm>
                <a:custGeom>
                  <a:avLst/>
                  <a:gdLst>
                    <a:gd name="connsiteX0" fmla="*/ 1790 w 18291"/>
                    <a:gd name="connsiteY0" fmla="*/ 3691 h 18446"/>
                    <a:gd name="connsiteX1" fmla="*/ 14588 w 18291"/>
                    <a:gd name="connsiteY1" fmla="*/ 1837 h 18446"/>
                    <a:gd name="connsiteX2" fmla="*/ 16502 w 18291"/>
                    <a:gd name="connsiteY2" fmla="*/ 14755 h 18446"/>
                    <a:gd name="connsiteX3" fmla="*/ 3703 w 18291"/>
                    <a:gd name="connsiteY3" fmla="*/ 16609 h 18446"/>
                    <a:gd name="connsiteX4" fmla="*/ 1790 w 18291"/>
                    <a:gd name="connsiteY4" fmla="*/ 3691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6">
                      <a:moveTo>
                        <a:pt x="1790" y="3691"/>
                      </a:moveTo>
                      <a:cubicBezTo>
                        <a:pt x="4780" y="-376"/>
                        <a:pt x="10521" y="-1213"/>
                        <a:pt x="14588" y="1837"/>
                      </a:cubicBezTo>
                      <a:cubicBezTo>
                        <a:pt x="18655" y="4887"/>
                        <a:pt x="19492" y="10629"/>
                        <a:pt x="16502" y="14755"/>
                      </a:cubicBezTo>
                      <a:cubicBezTo>
                        <a:pt x="13512" y="18822"/>
                        <a:pt x="7770" y="19660"/>
                        <a:pt x="3703" y="16609"/>
                      </a:cubicBezTo>
                      <a:cubicBezTo>
                        <a:pt x="-363" y="13559"/>
                        <a:pt x="-1201" y="7758"/>
                        <a:pt x="1790" y="3691"/>
                      </a:cubicBezTo>
                      <a:close/>
                    </a:path>
                  </a:pathLst>
                </a:custGeom>
                <a:grpFill/>
                <a:ln w="5978" cap="flat">
                  <a:noFill/>
                  <a:prstDash val="solid"/>
                  <a:miter/>
                </a:ln>
              </p:spPr>
              <p:txBody>
                <a:bodyPr rtlCol="0" anchor="ctr"/>
                <a:lstStyle/>
                <a:p>
                  <a:endParaRPr lang="en-GB"/>
                </a:p>
              </p:txBody>
            </p:sp>
            <p:sp>
              <p:nvSpPr>
                <p:cNvPr id="2120" name="Vrije vorm: vorm 2119">
                  <a:extLst>
                    <a:ext uri="{FF2B5EF4-FFF2-40B4-BE49-F238E27FC236}">
                      <a16:creationId xmlns:a16="http://schemas.microsoft.com/office/drawing/2014/main" id="{7C55737E-1426-4499-B9C0-DADBDA8210A3}"/>
                    </a:ext>
                  </a:extLst>
                </p:cNvPr>
                <p:cNvSpPr/>
                <p:nvPr/>
              </p:nvSpPr>
              <p:spPr>
                <a:xfrm>
                  <a:off x="4706553" y="5388508"/>
                  <a:ext cx="18291" cy="18445"/>
                </a:xfrm>
                <a:custGeom>
                  <a:avLst/>
                  <a:gdLst>
                    <a:gd name="connsiteX0" fmla="*/ 1790 w 18291"/>
                    <a:gd name="connsiteY0" fmla="*/ 3691 h 18445"/>
                    <a:gd name="connsiteX1" fmla="*/ 3703 w 18291"/>
                    <a:gd name="connsiteY1" fmla="*/ 16609 h 18445"/>
                    <a:gd name="connsiteX2" fmla="*/ 16502 w 18291"/>
                    <a:gd name="connsiteY2" fmla="*/ 14755 h 18445"/>
                    <a:gd name="connsiteX3" fmla="*/ 14588 w 18291"/>
                    <a:gd name="connsiteY3" fmla="*/ 1837 h 18445"/>
                    <a:gd name="connsiteX4" fmla="*/ 1790 w 18291"/>
                    <a:gd name="connsiteY4" fmla="*/ 369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790" y="3691"/>
                      </a:moveTo>
                      <a:cubicBezTo>
                        <a:pt x="-1201" y="7758"/>
                        <a:pt x="-363" y="13559"/>
                        <a:pt x="3703" y="16609"/>
                      </a:cubicBezTo>
                      <a:cubicBezTo>
                        <a:pt x="7770" y="19659"/>
                        <a:pt x="13512" y="18822"/>
                        <a:pt x="16502" y="14755"/>
                      </a:cubicBezTo>
                      <a:cubicBezTo>
                        <a:pt x="19493" y="10688"/>
                        <a:pt x="18655" y="4887"/>
                        <a:pt x="14588" y="1837"/>
                      </a:cubicBezTo>
                      <a:cubicBezTo>
                        <a:pt x="10522" y="-1213"/>
                        <a:pt x="4780" y="-376"/>
                        <a:pt x="1790" y="3691"/>
                      </a:cubicBezTo>
                      <a:close/>
                    </a:path>
                  </a:pathLst>
                </a:custGeom>
                <a:grpFill/>
                <a:ln w="5978" cap="flat">
                  <a:noFill/>
                  <a:prstDash val="solid"/>
                  <a:miter/>
                </a:ln>
              </p:spPr>
              <p:txBody>
                <a:bodyPr rtlCol="0" anchor="ctr"/>
                <a:lstStyle/>
                <a:p>
                  <a:endParaRPr lang="en-GB"/>
                </a:p>
              </p:txBody>
            </p:sp>
          </p:grpSp>
          <p:grpSp>
            <p:nvGrpSpPr>
              <p:cNvPr id="1095" name="Graphic 3">
                <a:extLst>
                  <a:ext uri="{FF2B5EF4-FFF2-40B4-BE49-F238E27FC236}">
                    <a16:creationId xmlns:a16="http://schemas.microsoft.com/office/drawing/2014/main" id="{89163C36-9874-46FC-B081-511E5FF8E6DE}"/>
                  </a:ext>
                </a:extLst>
              </p:cNvPr>
              <p:cNvGrpSpPr/>
              <p:nvPr/>
            </p:nvGrpSpPr>
            <p:grpSpPr>
              <a:xfrm>
                <a:off x="4069057" y="2634721"/>
                <a:ext cx="80931" cy="42925"/>
                <a:chOff x="4069057" y="2634721"/>
                <a:chExt cx="80931" cy="42925"/>
              </a:xfrm>
              <a:grpFill/>
            </p:grpSpPr>
            <p:sp>
              <p:nvSpPr>
                <p:cNvPr id="2115" name="Vrije vorm: vorm 2114">
                  <a:extLst>
                    <a:ext uri="{FF2B5EF4-FFF2-40B4-BE49-F238E27FC236}">
                      <a16:creationId xmlns:a16="http://schemas.microsoft.com/office/drawing/2014/main" id="{71063318-128A-411B-82E3-9EEFBF57BB6B}"/>
                    </a:ext>
                  </a:extLst>
                </p:cNvPr>
                <p:cNvSpPr/>
                <p:nvPr/>
              </p:nvSpPr>
              <p:spPr>
                <a:xfrm>
                  <a:off x="4077257" y="2642323"/>
                  <a:ext cx="64591" cy="27690"/>
                </a:xfrm>
                <a:custGeom>
                  <a:avLst/>
                  <a:gdLst>
                    <a:gd name="connsiteX0" fmla="*/ 64592 w 64591"/>
                    <a:gd name="connsiteY0" fmla="*/ 24880 h 27690"/>
                    <a:gd name="connsiteX1" fmla="*/ 63455 w 64591"/>
                    <a:gd name="connsiteY1" fmla="*/ 27691 h 27690"/>
                    <a:gd name="connsiteX2" fmla="*/ 0 w 64591"/>
                    <a:gd name="connsiteY2" fmla="*/ 2871 h 27690"/>
                    <a:gd name="connsiteX3" fmla="*/ 1076 w 64591"/>
                    <a:gd name="connsiteY3" fmla="*/ 0 h 27690"/>
                  </a:gdLst>
                  <a:ahLst/>
                  <a:cxnLst>
                    <a:cxn ang="0">
                      <a:pos x="connsiteX0" y="connsiteY0"/>
                    </a:cxn>
                    <a:cxn ang="0">
                      <a:pos x="connsiteX1" y="connsiteY1"/>
                    </a:cxn>
                    <a:cxn ang="0">
                      <a:pos x="connsiteX2" y="connsiteY2"/>
                    </a:cxn>
                    <a:cxn ang="0">
                      <a:pos x="connsiteX3" y="connsiteY3"/>
                    </a:cxn>
                  </a:cxnLst>
                  <a:rect l="l" t="t" r="r" b="b"/>
                  <a:pathLst>
                    <a:path w="64591" h="27690">
                      <a:moveTo>
                        <a:pt x="64592" y="24880"/>
                      </a:moveTo>
                      <a:lnTo>
                        <a:pt x="63455" y="27691"/>
                      </a:lnTo>
                      <a:lnTo>
                        <a:pt x="0" y="2871"/>
                      </a:lnTo>
                      <a:lnTo>
                        <a:pt x="1076" y="0"/>
                      </a:lnTo>
                      <a:close/>
                    </a:path>
                  </a:pathLst>
                </a:custGeom>
                <a:grpFill/>
                <a:ln w="5978" cap="flat">
                  <a:noFill/>
                  <a:prstDash val="solid"/>
                  <a:miter/>
                </a:ln>
              </p:spPr>
              <p:txBody>
                <a:bodyPr rtlCol="0" anchor="ctr"/>
                <a:lstStyle/>
                <a:p>
                  <a:endParaRPr lang="en-GB"/>
                </a:p>
              </p:txBody>
            </p:sp>
            <p:sp>
              <p:nvSpPr>
                <p:cNvPr id="2116" name="Vrije vorm: vorm 2115">
                  <a:extLst>
                    <a:ext uri="{FF2B5EF4-FFF2-40B4-BE49-F238E27FC236}">
                      <a16:creationId xmlns:a16="http://schemas.microsoft.com/office/drawing/2014/main" id="{67739BD1-FD80-4FDA-940F-F4AB212FADEE}"/>
                    </a:ext>
                  </a:extLst>
                </p:cNvPr>
                <p:cNvSpPr/>
                <p:nvPr/>
              </p:nvSpPr>
              <p:spPr>
                <a:xfrm>
                  <a:off x="4069057" y="2634721"/>
                  <a:ext cx="18313" cy="18404"/>
                </a:xfrm>
                <a:custGeom>
                  <a:avLst/>
                  <a:gdLst>
                    <a:gd name="connsiteX0" fmla="*/ 5867 w 18313"/>
                    <a:gd name="connsiteY0" fmla="*/ 17769 h 18404"/>
                    <a:gd name="connsiteX1" fmla="*/ 604 w 18313"/>
                    <a:gd name="connsiteY1" fmla="*/ 5867 h 18404"/>
                    <a:gd name="connsiteX2" fmla="*/ 12446 w 18313"/>
                    <a:gd name="connsiteY2" fmla="*/ 604 h 18404"/>
                    <a:gd name="connsiteX3" fmla="*/ 17709 w 18313"/>
                    <a:gd name="connsiteY3" fmla="*/ 12506 h 18404"/>
                    <a:gd name="connsiteX4" fmla="*/ 5867 w 18313"/>
                    <a:gd name="connsiteY4" fmla="*/ 1776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5867" y="17769"/>
                      </a:moveTo>
                      <a:cubicBezTo>
                        <a:pt x="1142" y="15915"/>
                        <a:pt x="-1190" y="10592"/>
                        <a:pt x="604" y="5867"/>
                      </a:cubicBezTo>
                      <a:cubicBezTo>
                        <a:pt x="2398" y="1142"/>
                        <a:pt x="7721" y="-1190"/>
                        <a:pt x="12446" y="604"/>
                      </a:cubicBezTo>
                      <a:cubicBezTo>
                        <a:pt x="17171" y="2458"/>
                        <a:pt x="19503" y="7781"/>
                        <a:pt x="17709" y="12506"/>
                      </a:cubicBezTo>
                      <a:cubicBezTo>
                        <a:pt x="15915" y="17290"/>
                        <a:pt x="10592" y="19623"/>
                        <a:pt x="5867" y="17769"/>
                      </a:cubicBezTo>
                      <a:close/>
                    </a:path>
                  </a:pathLst>
                </a:custGeom>
                <a:grpFill/>
                <a:ln w="5978" cap="flat">
                  <a:noFill/>
                  <a:prstDash val="solid"/>
                  <a:miter/>
                </a:ln>
              </p:spPr>
              <p:txBody>
                <a:bodyPr rtlCol="0" anchor="ctr"/>
                <a:lstStyle/>
                <a:p>
                  <a:endParaRPr lang="en-GB"/>
                </a:p>
              </p:txBody>
            </p:sp>
            <p:sp>
              <p:nvSpPr>
                <p:cNvPr id="2117" name="Vrije vorm: vorm 2116">
                  <a:extLst>
                    <a:ext uri="{FF2B5EF4-FFF2-40B4-BE49-F238E27FC236}">
                      <a16:creationId xmlns:a16="http://schemas.microsoft.com/office/drawing/2014/main" id="{5527E12A-334A-484B-A96C-4C47C6ED7869}"/>
                    </a:ext>
                  </a:extLst>
                </p:cNvPr>
                <p:cNvSpPr/>
                <p:nvPr/>
              </p:nvSpPr>
              <p:spPr>
                <a:xfrm>
                  <a:off x="4131675" y="2659210"/>
                  <a:ext cx="18313" cy="18436"/>
                </a:xfrm>
                <a:custGeom>
                  <a:avLst/>
                  <a:gdLst>
                    <a:gd name="connsiteX0" fmla="*/ 5867 w 18313"/>
                    <a:gd name="connsiteY0" fmla="*/ 17801 h 18436"/>
                    <a:gd name="connsiteX1" fmla="*/ 17709 w 18313"/>
                    <a:gd name="connsiteY1" fmla="*/ 12538 h 18436"/>
                    <a:gd name="connsiteX2" fmla="*/ 12446 w 18313"/>
                    <a:gd name="connsiteY2" fmla="*/ 636 h 18436"/>
                    <a:gd name="connsiteX3" fmla="*/ 604 w 18313"/>
                    <a:gd name="connsiteY3" fmla="*/ 5899 h 18436"/>
                    <a:gd name="connsiteX4" fmla="*/ 5867 w 18313"/>
                    <a:gd name="connsiteY4" fmla="*/ 178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6">
                      <a:moveTo>
                        <a:pt x="5867" y="17801"/>
                      </a:moveTo>
                      <a:cubicBezTo>
                        <a:pt x="10592" y="19655"/>
                        <a:pt x="15915" y="17322"/>
                        <a:pt x="17709" y="12538"/>
                      </a:cubicBezTo>
                      <a:cubicBezTo>
                        <a:pt x="19503" y="7813"/>
                        <a:pt x="17171" y="2430"/>
                        <a:pt x="12446" y="636"/>
                      </a:cubicBezTo>
                      <a:cubicBezTo>
                        <a:pt x="7721" y="-1218"/>
                        <a:pt x="2399" y="1115"/>
                        <a:pt x="604" y="5899"/>
                      </a:cubicBezTo>
                      <a:cubicBezTo>
                        <a:pt x="-1190" y="10624"/>
                        <a:pt x="1143" y="15947"/>
                        <a:pt x="5867" y="17801"/>
                      </a:cubicBezTo>
                      <a:close/>
                    </a:path>
                  </a:pathLst>
                </a:custGeom>
                <a:grpFill/>
                <a:ln w="5978" cap="flat">
                  <a:noFill/>
                  <a:prstDash val="solid"/>
                  <a:miter/>
                </a:ln>
              </p:spPr>
              <p:txBody>
                <a:bodyPr rtlCol="0" anchor="ctr"/>
                <a:lstStyle/>
                <a:p>
                  <a:endParaRPr lang="en-GB"/>
                </a:p>
              </p:txBody>
            </p:sp>
          </p:grpSp>
          <p:grpSp>
            <p:nvGrpSpPr>
              <p:cNvPr id="1096" name="Graphic 3">
                <a:extLst>
                  <a:ext uri="{FF2B5EF4-FFF2-40B4-BE49-F238E27FC236}">
                    <a16:creationId xmlns:a16="http://schemas.microsoft.com/office/drawing/2014/main" id="{ED6934EE-A455-4CFD-B21C-497D7B94E78F}"/>
                  </a:ext>
                </a:extLst>
              </p:cNvPr>
              <p:cNvGrpSpPr/>
              <p:nvPr/>
            </p:nvGrpSpPr>
            <p:grpSpPr>
              <a:xfrm>
                <a:off x="4827586" y="4878838"/>
                <a:ext cx="72425" cy="86790"/>
                <a:chOff x="4827586" y="4878838"/>
                <a:chExt cx="72425" cy="86790"/>
              </a:xfrm>
              <a:grpFill/>
            </p:grpSpPr>
            <p:sp>
              <p:nvSpPr>
                <p:cNvPr id="2112" name="Vrije vorm: vorm 2111">
                  <a:extLst>
                    <a:ext uri="{FF2B5EF4-FFF2-40B4-BE49-F238E27FC236}">
                      <a16:creationId xmlns:a16="http://schemas.microsoft.com/office/drawing/2014/main" id="{9B32C0DB-4307-4FD6-9F82-B4BA36DB14D5}"/>
                    </a:ext>
                  </a:extLst>
                </p:cNvPr>
                <p:cNvSpPr/>
                <p:nvPr/>
              </p:nvSpPr>
              <p:spPr>
                <a:xfrm>
                  <a:off x="4835314" y="4886708"/>
                  <a:ext cx="57055" cy="71050"/>
                </a:xfrm>
                <a:custGeom>
                  <a:avLst/>
                  <a:gdLst>
                    <a:gd name="connsiteX0" fmla="*/ 57056 w 57055"/>
                    <a:gd name="connsiteY0" fmla="*/ 1914 h 71050"/>
                    <a:gd name="connsiteX1" fmla="*/ 2392 w 57055"/>
                    <a:gd name="connsiteY1" fmla="*/ 71051 h 71050"/>
                    <a:gd name="connsiteX2" fmla="*/ 0 w 57055"/>
                    <a:gd name="connsiteY2" fmla="*/ 69137 h 71050"/>
                    <a:gd name="connsiteX3" fmla="*/ 54664 w 57055"/>
                    <a:gd name="connsiteY3" fmla="*/ 0 h 71050"/>
                  </a:gdLst>
                  <a:ahLst/>
                  <a:cxnLst>
                    <a:cxn ang="0">
                      <a:pos x="connsiteX0" y="connsiteY0"/>
                    </a:cxn>
                    <a:cxn ang="0">
                      <a:pos x="connsiteX1" y="connsiteY1"/>
                    </a:cxn>
                    <a:cxn ang="0">
                      <a:pos x="connsiteX2" y="connsiteY2"/>
                    </a:cxn>
                    <a:cxn ang="0">
                      <a:pos x="connsiteX3" y="connsiteY3"/>
                    </a:cxn>
                  </a:cxnLst>
                  <a:rect l="l" t="t" r="r" b="b"/>
                  <a:pathLst>
                    <a:path w="57055" h="71050">
                      <a:moveTo>
                        <a:pt x="57056" y="1914"/>
                      </a:moveTo>
                      <a:lnTo>
                        <a:pt x="2392" y="71051"/>
                      </a:lnTo>
                      <a:lnTo>
                        <a:pt x="0" y="69137"/>
                      </a:lnTo>
                      <a:lnTo>
                        <a:pt x="54664" y="0"/>
                      </a:lnTo>
                      <a:close/>
                    </a:path>
                  </a:pathLst>
                </a:custGeom>
                <a:grpFill/>
                <a:ln w="5978" cap="flat">
                  <a:noFill/>
                  <a:prstDash val="solid"/>
                  <a:miter/>
                </a:ln>
              </p:spPr>
              <p:txBody>
                <a:bodyPr rtlCol="0" anchor="ctr"/>
                <a:lstStyle/>
                <a:p>
                  <a:endParaRPr lang="en-GB"/>
                </a:p>
              </p:txBody>
            </p:sp>
            <p:sp>
              <p:nvSpPr>
                <p:cNvPr id="2113" name="Vrije vorm: vorm 2112">
                  <a:extLst>
                    <a:ext uri="{FF2B5EF4-FFF2-40B4-BE49-F238E27FC236}">
                      <a16:creationId xmlns:a16="http://schemas.microsoft.com/office/drawing/2014/main" id="{1B0668F5-AFA6-4D51-95F2-30B9A6284499}"/>
                    </a:ext>
                  </a:extLst>
                </p:cNvPr>
                <p:cNvSpPr/>
                <p:nvPr/>
              </p:nvSpPr>
              <p:spPr>
                <a:xfrm>
                  <a:off x="4881712" y="4878838"/>
                  <a:ext cx="18299" cy="18371"/>
                </a:xfrm>
                <a:custGeom>
                  <a:avLst/>
                  <a:gdLst>
                    <a:gd name="connsiteX0" fmla="*/ 1985 w 18299"/>
                    <a:gd name="connsiteY0" fmla="*/ 3444 h 18371"/>
                    <a:gd name="connsiteX1" fmla="*/ 14844 w 18299"/>
                    <a:gd name="connsiteY1" fmla="*/ 2009 h 18371"/>
                    <a:gd name="connsiteX2" fmla="*/ 16339 w 18299"/>
                    <a:gd name="connsiteY2" fmla="*/ 14927 h 18371"/>
                    <a:gd name="connsiteX3" fmla="*/ 3481 w 18299"/>
                    <a:gd name="connsiteY3" fmla="*/ 16362 h 18371"/>
                    <a:gd name="connsiteX4" fmla="*/ 1985 w 18299"/>
                    <a:gd name="connsiteY4" fmla="*/ 3444 h 1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71">
                      <a:moveTo>
                        <a:pt x="1985" y="3444"/>
                      </a:moveTo>
                      <a:cubicBezTo>
                        <a:pt x="5155" y="-503"/>
                        <a:pt x="10897" y="-1161"/>
                        <a:pt x="14844" y="2009"/>
                      </a:cubicBezTo>
                      <a:cubicBezTo>
                        <a:pt x="18791" y="5178"/>
                        <a:pt x="19449" y="10980"/>
                        <a:pt x="16339" y="14927"/>
                      </a:cubicBezTo>
                      <a:cubicBezTo>
                        <a:pt x="13169" y="18874"/>
                        <a:pt x="7428" y="19532"/>
                        <a:pt x="3481" y="16362"/>
                      </a:cubicBezTo>
                      <a:cubicBezTo>
                        <a:pt x="-467" y="13193"/>
                        <a:pt x="-1184" y="7451"/>
                        <a:pt x="1985" y="3444"/>
                      </a:cubicBezTo>
                      <a:close/>
                    </a:path>
                  </a:pathLst>
                </a:custGeom>
                <a:grpFill/>
                <a:ln w="5978" cap="flat">
                  <a:noFill/>
                  <a:prstDash val="solid"/>
                  <a:miter/>
                </a:ln>
              </p:spPr>
              <p:txBody>
                <a:bodyPr rtlCol="0" anchor="ctr"/>
                <a:lstStyle/>
                <a:p>
                  <a:endParaRPr lang="en-GB"/>
                </a:p>
              </p:txBody>
            </p:sp>
            <p:sp>
              <p:nvSpPr>
                <p:cNvPr id="2114" name="Vrije vorm: vorm 2113">
                  <a:extLst>
                    <a:ext uri="{FF2B5EF4-FFF2-40B4-BE49-F238E27FC236}">
                      <a16:creationId xmlns:a16="http://schemas.microsoft.com/office/drawing/2014/main" id="{5D118BDB-408A-43C1-BD37-85DC8DD629BB}"/>
                    </a:ext>
                  </a:extLst>
                </p:cNvPr>
                <p:cNvSpPr/>
                <p:nvPr/>
              </p:nvSpPr>
              <p:spPr>
                <a:xfrm>
                  <a:off x="4827586" y="4947198"/>
                  <a:ext cx="18324" cy="18431"/>
                </a:xfrm>
                <a:custGeom>
                  <a:avLst/>
                  <a:gdLst>
                    <a:gd name="connsiteX0" fmla="*/ 1986 w 18324"/>
                    <a:gd name="connsiteY0" fmla="*/ 3444 h 18431"/>
                    <a:gd name="connsiteX1" fmla="*/ 3481 w 18324"/>
                    <a:gd name="connsiteY1" fmla="*/ 16422 h 18431"/>
                    <a:gd name="connsiteX2" fmla="*/ 16339 w 18324"/>
                    <a:gd name="connsiteY2" fmla="*/ 14987 h 18431"/>
                    <a:gd name="connsiteX3" fmla="*/ 14844 w 18324"/>
                    <a:gd name="connsiteY3" fmla="*/ 2009 h 18431"/>
                    <a:gd name="connsiteX4" fmla="*/ 1986 w 18324"/>
                    <a:gd name="connsiteY4" fmla="*/ 3444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1">
                      <a:moveTo>
                        <a:pt x="1986" y="3444"/>
                      </a:moveTo>
                      <a:cubicBezTo>
                        <a:pt x="-1184" y="7392"/>
                        <a:pt x="-467" y="13193"/>
                        <a:pt x="3481" y="16422"/>
                      </a:cubicBezTo>
                      <a:cubicBezTo>
                        <a:pt x="7428" y="19592"/>
                        <a:pt x="13229" y="18934"/>
                        <a:pt x="16339" y="14987"/>
                      </a:cubicBezTo>
                      <a:cubicBezTo>
                        <a:pt x="19509" y="11040"/>
                        <a:pt x="18791" y="5238"/>
                        <a:pt x="14844" y="2009"/>
                      </a:cubicBezTo>
                      <a:cubicBezTo>
                        <a:pt x="10897" y="-1161"/>
                        <a:pt x="5155" y="-503"/>
                        <a:pt x="1986" y="3444"/>
                      </a:cubicBezTo>
                      <a:close/>
                    </a:path>
                  </a:pathLst>
                </a:custGeom>
                <a:grpFill/>
                <a:ln w="5978" cap="flat">
                  <a:noFill/>
                  <a:prstDash val="solid"/>
                  <a:miter/>
                </a:ln>
              </p:spPr>
              <p:txBody>
                <a:bodyPr rtlCol="0" anchor="ctr"/>
                <a:lstStyle/>
                <a:p>
                  <a:endParaRPr lang="en-GB"/>
                </a:p>
              </p:txBody>
            </p:sp>
          </p:grpSp>
          <p:grpSp>
            <p:nvGrpSpPr>
              <p:cNvPr id="1097" name="Graphic 3">
                <a:extLst>
                  <a:ext uri="{FF2B5EF4-FFF2-40B4-BE49-F238E27FC236}">
                    <a16:creationId xmlns:a16="http://schemas.microsoft.com/office/drawing/2014/main" id="{E463340A-F883-4798-82DF-DA14F2481F54}"/>
                  </a:ext>
                </a:extLst>
              </p:cNvPr>
              <p:cNvGrpSpPr/>
              <p:nvPr/>
            </p:nvGrpSpPr>
            <p:grpSpPr>
              <a:xfrm>
                <a:off x="4084026" y="2805069"/>
                <a:ext cx="161375" cy="62356"/>
                <a:chOff x="4084026" y="2805069"/>
                <a:chExt cx="161375" cy="62356"/>
              </a:xfrm>
              <a:grpFill/>
            </p:grpSpPr>
            <p:sp>
              <p:nvSpPr>
                <p:cNvPr id="2109" name="Vrije vorm: vorm 2108">
                  <a:extLst>
                    <a:ext uri="{FF2B5EF4-FFF2-40B4-BE49-F238E27FC236}">
                      <a16:creationId xmlns:a16="http://schemas.microsoft.com/office/drawing/2014/main" id="{83CF7C44-FFA4-4A44-898C-A4EE06E6E658}"/>
                    </a:ext>
                  </a:extLst>
                </p:cNvPr>
                <p:cNvSpPr/>
                <p:nvPr/>
              </p:nvSpPr>
              <p:spPr>
                <a:xfrm>
                  <a:off x="4092328" y="2812654"/>
                  <a:ext cx="144733" cy="47127"/>
                </a:xfrm>
                <a:custGeom>
                  <a:avLst/>
                  <a:gdLst>
                    <a:gd name="connsiteX0" fmla="*/ 144734 w 144733"/>
                    <a:gd name="connsiteY0" fmla="*/ 44257 h 47127"/>
                    <a:gd name="connsiteX1" fmla="*/ 143896 w 144733"/>
                    <a:gd name="connsiteY1" fmla="*/ 47128 h 47127"/>
                    <a:gd name="connsiteX2" fmla="*/ 0 w 144733"/>
                    <a:gd name="connsiteY2" fmla="*/ 2930 h 47127"/>
                    <a:gd name="connsiteX3" fmla="*/ 837 w 144733"/>
                    <a:gd name="connsiteY3" fmla="*/ 0 h 47127"/>
                  </a:gdLst>
                  <a:ahLst/>
                  <a:cxnLst>
                    <a:cxn ang="0">
                      <a:pos x="connsiteX0" y="connsiteY0"/>
                    </a:cxn>
                    <a:cxn ang="0">
                      <a:pos x="connsiteX1" y="connsiteY1"/>
                    </a:cxn>
                    <a:cxn ang="0">
                      <a:pos x="connsiteX2" y="connsiteY2"/>
                    </a:cxn>
                    <a:cxn ang="0">
                      <a:pos x="connsiteX3" y="connsiteY3"/>
                    </a:cxn>
                  </a:cxnLst>
                  <a:rect l="l" t="t" r="r" b="b"/>
                  <a:pathLst>
                    <a:path w="144733" h="47127">
                      <a:moveTo>
                        <a:pt x="144734" y="44257"/>
                      </a:moveTo>
                      <a:lnTo>
                        <a:pt x="143896" y="47128"/>
                      </a:lnTo>
                      <a:lnTo>
                        <a:pt x="0" y="2930"/>
                      </a:lnTo>
                      <a:lnTo>
                        <a:pt x="837" y="0"/>
                      </a:lnTo>
                      <a:close/>
                    </a:path>
                  </a:pathLst>
                </a:custGeom>
                <a:grpFill/>
                <a:ln w="5978" cap="flat">
                  <a:noFill/>
                  <a:prstDash val="solid"/>
                  <a:miter/>
                </a:ln>
              </p:spPr>
              <p:txBody>
                <a:bodyPr rtlCol="0" anchor="ctr"/>
                <a:lstStyle/>
                <a:p>
                  <a:endParaRPr lang="en-GB"/>
                </a:p>
              </p:txBody>
            </p:sp>
            <p:sp>
              <p:nvSpPr>
                <p:cNvPr id="2110" name="Vrije vorm: vorm 2109">
                  <a:extLst>
                    <a:ext uri="{FF2B5EF4-FFF2-40B4-BE49-F238E27FC236}">
                      <a16:creationId xmlns:a16="http://schemas.microsoft.com/office/drawing/2014/main" id="{17E95BEC-FCE1-4094-BEBD-23859DA7B8D4}"/>
                    </a:ext>
                  </a:extLst>
                </p:cNvPr>
                <p:cNvSpPr/>
                <p:nvPr/>
              </p:nvSpPr>
              <p:spPr>
                <a:xfrm>
                  <a:off x="4084026" y="2805069"/>
                  <a:ext cx="18338" cy="18398"/>
                </a:xfrm>
                <a:custGeom>
                  <a:avLst/>
                  <a:gdLst>
                    <a:gd name="connsiteX0" fmla="*/ 6508 w 18338"/>
                    <a:gd name="connsiteY0" fmla="*/ 17991 h 18398"/>
                    <a:gd name="connsiteX1" fmla="*/ 407 w 18338"/>
                    <a:gd name="connsiteY1" fmla="*/ 6508 h 18398"/>
                    <a:gd name="connsiteX2" fmla="*/ 11831 w 18338"/>
                    <a:gd name="connsiteY2" fmla="*/ 407 h 18398"/>
                    <a:gd name="connsiteX3" fmla="*/ 17931 w 18338"/>
                    <a:gd name="connsiteY3" fmla="*/ 11890 h 18398"/>
                    <a:gd name="connsiteX4" fmla="*/ 6508 w 18338"/>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6508" y="17991"/>
                      </a:moveTo>
                      <a:cubicBezTo>
                        <a:pt x="1664" y="16496"/>
                        <a:pt x="-1088" y="11352"/>
                        <a:pt x="407" y="6508"/>
                      </a:cubicBezTo>
                      <a:cubicBezTo>
                        <a:pt x="1843" y="1663"/>
                        <a:pt x="6986" y="-1088"/>
                        <a:pt x="11831" y="407"/>
                      </a:cubicBezTo>
                      <a:cubicBezTo>
                        <a:pt x="16675" y="1903"/>
                        <a:pt x="19426" y="7046"/>
                        <a:pt x="17931" y="11890"/>
                      </a:cubicBezTo>
                      <a:cubicBezTo>
                        <a:pt x="16496" y="16735"/>
                        <a:pt x="11352" y="19486"/>
                        <a:pt x="6508" y="17991"/>
                      </a:cubicBezTo>
                      <a:close/>
                    </a:path>
                  </a:pathLst>
                </a:custGeom>
                <a:grpFill/>
                <a:ln w="5978" cap="flat">
                  <a:noFill/>
                  <a:prstDash val="solid"/>
                  <a:miter/>
                </a:ln>
              </p:spPr>
              <p:txBody>
                <a:bodyPr rtlCol="0" anchor="ctr"/>
                <a:lstStyle/>
                <a:p>
                  <a:endParaRPr lang="en-GB"/>
                </a:p>
              </p:txBody>
            </p:sp>
            <p:sp>
              <p:nvSpPr>
                <p:cNvPr id="2111" name="Vrije vorm: vorm 2110">
                  <a:extLst>
                    <a:ext uri="{FF2B5EF4-FFF2-40B4-BE49-F238E27FC236}">
                      <a16:creationId xmlns:a16="http://schemas.microsoft.com/office/drawing/2014/main" id="{683D511A-CBA6-429D-900A-2BA218F37748}"/>
                    </a:ext>
                  </a:extLst>
                </p:cNvPr>
                <p:cNvSpPr/>
                <p:nvPr/>
              </p:nvSpPr>
              <p:spPr>
                <a:xfrm>
                  <a:off x="4227085" y="2849028"/>
                  <a:ext cx="18316" cy="18398"/>
                </a:xfrm>
                <a:custGeom>
                  <a:avLst/>
                  <a:gdLst>
                    <a:gd name="connsiteX0" fmla="*/ 6508 w 18316"/>
                    <a:gd name="connsiteY0" fmla="*/ 17991 h 18398"/>
                    <a:gd name="connsiteX1" fmla="*/ 17931 w 18316"/>
                    <a:gd name="connsiteY1" fmla="*/ 11890 h 18398"/>
                    <a:gd name="connsiteX2" fmla="*/ 11831 w 18316"/>
                    <a:gd name="connsiteY2" fmla="*/ 407 h 18398"/>
                    <a:gd name="connsiteX3" fmla="*/ 407 w 18316"/>
                    <a:gd name="connsiteY3" fmla="*/ 6508 h 18398"/>
                    <a:gd name="connsiteX4" fmla="*/ 6508 w 18316"/>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8">
                      <a:moveTo>
                        <a:pt x="6508" y="17991"/>
                      </a:moveTo>
                      <a:cubicBezTo>
                        <a:pt x="11352" y="19486"/>
                        <a:pt x="16496" y="16735"/>
                        <a:pt x="17931" y="11890"/>
                      </a:cubicBezTo>
                      <a:cubicBezTo>
                        <a:pt x="19366" y="7046"/>
                        <a:pt x="16675" y="1903"/>
                        <a:pt x="11831" y="407"/>
                      </a:cubicBezTo>
                      <a:cubicBezTo>
                        <a:pt x="6986" y="-1088"/>
                        <a:pt x="1843" y="1663"/>
                        <a:pt x="407" y="6508"/>
                      </a:cubicBezTo>
                      <a:cubicBezTo>
                        <a:pt x="-1088" y="11352"/>
                        <a:pt x="1663" y="16496"/>
                        <a:pt x="6508" y="17991"/>
                      </a:cubicBezTo>
                      <a:close/>
                    </a:path>
                  </a:pathLst>
                </a:custGeom>
                <a:grpFill/>
                <a:ln w="5978" cap="flat">
                  <a:noFill/>
                  <a:prstDash val="solid"/>
                  <a:miter/>
                </a:ln>
              </p:spPr>
              <p:txBody>
                <a:bodyPr rtlCol="0" anchor="ctr"/>
                <a:lstStyle/>
                <a:p>
                  <a:endParaRPr lang="en-GB"/>
                </a:p>
              </p:txBody>
            </p:sp>
          </p:grpSp>
          <p:grpSp>
            <p:nvGrpSpPr>
              <p:cNvPr id="1098" name="Graphic 3">
                <a:extLst>
                  <a:ext uri="{FF2B5EF4-FFF2-40B4-BE49-F238E27FC236}">
                    <a16:creationId xmlns:a16="http://schemas.microsoft.com/office/drawing/2014/main" id="{875BED0C-1E57-40F2-A17A-0D60E5DD94D9}"/>
                  </a:ext>
                </a:extLst>
              </p:cNvPr>
              <p:cNvGrpSpPr/>
              <p:nvPr/>
            </p:nvGrpSpPr>
            <p:grpSpPr>
              <a:xfrm>
                <a:off x="4172000" y="2907911"/>
                <a:ext cx="23307" cy="19708"/>
                <a:chOff x="4172000" y="2907911"/>
                <a:chExt cx="23307" cy="19708"/>
              </a:xfrm>
              <a:grpFill/>
            </p:grpSpPr>
            <p:sp>
              <p:nvSpPr>
                <p:cNvPr id="2106" name="Vrije vorm: vorm 2105">
                  <a:extLst>
                    <a:ext uri="{FF2B5EF4-FFF2-40B4-BE49-F238E27FC236}">
                      <a16:creationId xmlns:a16="http://schemas.microsoft.com/office/drawing/2014/main" id="{3C3E1EF5-C5F9-4987-8226-F7C374BB6BE8}"/>
                    </a:ext>
                  </a:extLst>
                </p:cNvPr>
                <p:cNvSpPr/>
                <p:nvPr/>
              </p:nvSpPr>
              <p:spPr>
                <a:xfrm>
                  <a:off x="4180365" y="2915522"/>
                  <a:ext cx="6578" cy="4485"/>
                </a:xfrm>
                <a:custGeom>
                  <a:avLst/>
                  <a:gdLst>
                    <a:gd name="connsiteX0" fmla="*/ 6579 w 6578"/>
                    <a:gd name="connsiteY0" fmla="*/ 1555 h 4485"/>
                    <a:gd name="connsiteX1" fmla="*/ 5801 w 6578"/>
                    <a:gd name="connsiteY1" fmla="*/ 4486 h 4485"/>
                    <a:gd name="connsiteX2" fmla="*/ 0 w 6578"/>
                    <a:gd name="connsiteY2" fmla="*/ 2990 h 4485"/>
                    <a:gd name="connsiteX3" fmla="*/ 778 w 6578"/>
                    <a:gd name="connsiteY3" fmla="*/ 0 h 4485"/>
                  </a:gdLst>
                  <a:ahLst/>
                  <a:cxnLst>
                    <a:cxn ang="0">
                      <a:pos x="connsiteX0" y="connsiteY0"/>
                    </a:cxn>
                    <a:cxn ang="0">
                      <a:pos x="connsiteX1" y="connsiteY1"/>
                    </a:cxn>
                    <a:cxn ang="0">
                      <a:pos x="connsiteX2" y="connsiteY2"/>
                    </a:cxn>
                    <a:cxn ang="0">
                      <a:pos x="connsiteX3" y="connsiteY3"/>
                    </a:cxn>
                  </a:cxnLst>
                  <a:rect l="l" t="t" r="r" b="b"/>
                  <a:pathLst>
                    <a:path w="6578" h="4485">
                      <a:moveTo>
                        <a:pt x="6579" y="1555"/>
                      </a:moveTo>
                      <a:lnTo>
                        <a:pt x="5801" y="4486"/>
                      </a:lnTo>
                      <a:lnTo>
                        <a:pt x="0" y="2990"/>
                      </a:lnTo>
                      <a:lnTo>
                        <a:pt x="778" y="0"/>
                      </a:lnTo>
                      <a:close/>
                    </a:path>
                  </a:pathLst>
                </a:custGeom>
                <a:grpFill/>
                <a:ln w="5978" cap="flat">
                  <a:noFill/>
                  <a:prstDash val="solid"/>
                  <a:miter/>
                </a:ln>
              </p:spPr>
              <p:txBody>
                <a:bodyPr rtlCol="0" anchor="ctr"/>
                <a:lstStyle/>
                <a:p>
                  <a:endParaRPr lang="en-GB"/>
                </a:p>
              </p:txBody>
            </p:sp>
            <p:sp>
              <p:nvSpPr>
                <p:cNvPr id="2107" name="Vrije vorm: vorm 2106">
                  <a:extLst>
                    <a:ext uri="{FF2B5EF4-FFF2-40B4-BE49-F238E27FC236}">
                      <a16:creationId xmlns:a16="http://schemas.microsoft.com/office/drawing/2014/main" id="{E3BEAC97-54B7-4EBD-AE46-FD565A91C09C}"/>
                    </a:ext>
                  </a:extLst>
                </p:cNvPr>
                <p:cNvSpPr/>
                <p:nvPr/>
              </p:nvSpPr>
              <p:spPr>
                <a:xfrm>
                  <a:off x="4176964" y="2909227"/>
                  <a:ext cx="18343" cy="18392"/>
                </a:xfrm>
                <a:custGeom>
                  <a:avLst/>
                  <a:gdLst>
                    <a:gd name="connsiteX0" fmla="*/ 11474 w 18343"/>
                    <a:gd name="connsiteY0" fmla="*/ 315 h 18392"/>
                    <a:gd name="connsiteX1" fmla="*/ 18053 w 18343"/>
                    <a:gd name="connsiteY1" fmla="*/ 11559 h 18392"/>
                    <a:gd name="connsiteX2" fmla="*/ 6869 w 18343"/>
                    <a:gd name="connsiteY2" fmla="*/ 18078 h 18392"/>
                    <a:gd name="connsiteX3" fmla="*/ 291 w 18343"/>
                    <a:gd name="connsiteY3" fmla="*/ 6834 h 18392"/>
                    <a:gd name="connsiteX4" fmla="*/ 11474 w 18343"/>
                    <a:gd name="connsiteY4" fmla="*/ 315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11474" y="315"/>
                      </a:moveTo>
                      <a:cubicBezTo>
                        <a:pt x="16379" y="1631"/>
                        <a:pt x="19309" y="6654"/>
                        <a:pt x="18053" y="11559"/>
                      </a:cubicBezTo>
                      <a:cubicBezTo>
                        <a:pt x="16797" y="16463"/>
                        <a:pt x="11773" y="19393"/>
                        <a:pt x="6869" y="18078"/>
                      </a:cubicBezTo>
                      <a:cubicBezTo>
                        <a:pt x="1965" y="16762"/>
                        <a:pt x="-966" y="11738"/>
                        <a:pt x="291" y="6834"/>
                      </a:cubicBezTo>
                      <a:cubicBezTo>
                        <a:pt x="1547" y="1930"/>
                        <a:pt x="6570" y="-1001"/>
                        <a:pt x="11474" y="315"/>
                      </a:cubicBezTo>
                      <a:close/>
                    </a:path>
                  </a:pathLst>
                </a:custGeom>
                <a:grpFill/>
                <a:ln w="5978" cap="flat">
                  <a:noFill/>
                  <a:prstDash val="solid"/>
                  <a:miter/>
                </a:ln>
              </p:spPr>
              <p:txBody>
                <a:bodyPr rtlCol="0" anchor="ctr"/>
                <a:lstStyle/>
                <a:p>
                  <a:endParaRPr lang="en-GB"/>
                </a:p>
              </p:txBody>
            </p:sp>
            <p:sp>
              <p:nvSpPr>
                <p:cNvPr id="2108" name="Vrije vorm: vorm 2107">
                  <a:extLst>
                    <a:ext uri="{FF2B5EF4-FFF2-40B4-BE49-F238E27FC236}">
                      <a16:creationId xmlns:a16="http://schemas.microsoft.com/office/drawing/2014/main" id="{3B7F17D5-8797-4DE7-B8DC-FFC577CE0BF1}"/>
                    </a:ext>
                  </a:extLst>
                </p:cNvPr>
                <p:cNvSpPr/>
                <p:nvPr/>
              </p:nvSpPr>
              <p:spPr>
                <a:xfrm>
                  <a:off x="4172000" y="2907911"/>
                  <a:ext cx="18343" cy="18392"/>
                </a:xfrm>
                <a:custGeom>
                  <a:avLst/>
                  <a:gdLst>
                    <a:gd name="connsiteX0" fmla="*/ 11474 w 18343"/>
                    <a:gd name="connsiteY0" fmla="*/ 315 h 18392"/>
                    <a:gd name="connsiteX1" fmla="*/ 290 w 18343"/>
                    <a:gd name="connsiteY1" fmla="*/ 6834 h 18392"/>
                    <a:gd name="connsiteX2" fmla="*/ 6869 w 18343"/>
                    <a:gd name="connsiteY2" fmla="*/ 18078 h 18392"/>
                    <a:gd name="connsiteX3" fmla="*/ 18053 w 18343"/>
                    <a:gd name="connsiteY3" fmla="*/ 11559 h 18392"/>
                    <a:gd name="connsiteX4" fmla="*/ 11474 w 18343"/>
                    <a:gd name="connsiteY4" fmla="*/ 315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11474" y="315"/>
                      </a:moveTo>
                      <a:cubicBezTo>
                        <a:pt x="6570" y="-1001"/>
                        <a:pt x="1547" y="1930"/>
                        <a:pt x="290" y="6834"/>
                      </a:cubicBezTo>
                      <a:cubicBezTo>
                        <a:pt x="-965" y="11738"/>
                        <a:pt x="1965" y="16822"/>
                        <a:pt x="6869" y="18078"/>
                      </a:cubicBezTo>
                      <a:cubicBezTo>
                        <a:pt x="11774" y="19393"/>
                        <a:pt x="16797" y="16463"/>
                        <a:pt x="18053" y="11559"/>
                      </a:cubicBezTo>
                      <a:cubicBezTo>
                        <a:pt x="19309" y="6654"/>
                        <a:pt x="16379" y="1631"/>
                        <a:pt x="11474" y="315"/>
                      </a:cubicBezTo>
                      <a:close/>
                    </a:path>
                  </a:pathLst>
                </a:custGeom>
                <a:grpFill/>
                <a:ln w="5978" cap="flat">
                  <a:noFill/>
                  <a:prstDash val="solid"/>
                  <a:miter/>
                </a:ln>
              </p:spPr>
              <p:txBody>
                <a:bodyPr rtlCol="0" anchor="ctr"/>
                <a:lstStyle/>
                <a:p>
                  <a:endParaRPr lang="en-GB"/>
                </a:p>
              </p:txBody>
            </p:sp>
          </p:grpSp>
          <p:grpSp>
            <p:nvGrpSpPr>
              <p:cNvPr id="1099" name="Graphic 3">
                <a:extLst>
                  <a:ext uri="{FF2B5EF4-FFF2-40B4-BE49-F238E27FC236}">
                    <a16:creationId xmlns:a16="http://schemas.microsoft.com/office/drawing/2014/main" id="{3A961D3B-3E88-46D4-BB85-1C82B6907F6D}"/>
                  </a:ext>
                </a:extLst>
              </p:cNvPr>
              <p:cNvGrpSpPr/>
              <p:nvPr/>
            </p:nvGrpSpPr>
            <p:grpSpPr>
              <a:xfrm>
                <a:off x="3774124" y="2568338"/>
                <a:ext cx="679052" cy="295661"/>
                <a:chOff x="3774124" y="2568338"/>
                <a:chExt cx="679052" cy="295661"/>
              </a:xfrm>
              <a:grpFill/>
            </p:grpSpPr>
            <p:sp>
              <p:nvSpPr>
                <p:cNvPr id="2103" name="Vrije vorm: vorm 2102">
                  <a:extLst>
                    <a:ext uri="{FF2B5EF4-FFF2-40B4-BE49-F238E27FC236}">
                      <a16:creationId xmlns:a16="http://schemas.microsoft.com/office/drawing/2014/main" id="{D2DB20A2-3053-4B8F-866E-5BE5A3B39250}"/>
                    </a:ext>
                  </a:extLst>
                </p:cNvPr>
                <p:cNvSpPr/>
                <p:nvPr/>
              </p:nvSpPr>
              <p:spPr>
                <a:xfrm>
                  <a:off x="3782288" y="2575997"/>
                  <a:ext cx="662723" cy="280376"/>
                </a:xfrm>
                <a:custGeom>
                  <a:avLst/>
                  <a:gdLst>
                    <a:gd name="connsiteX0" fmla="*/ 662724 w 662723"/>
                    <a:gd name="connsiteY0" fmla="*/ 277565 h 280376"/>
                    <a:gd name="connsiteX1" fmla="*/ 661588 w 662723"/>
                    <a:gd name="connsiteY1" fmla="*/ 280376 h 280376"/>
                    <a:gd name="connsiteX2" fmla="*/ 0 w 662723"/>
                    <a:gd name="connsiteY2" fmla="*/ 2811 h 280376"/>
                    <a:gd name="connsiteX3" fmla="*/ 1136 w 662723"/>
                    <a:gd name="connsiteY3" fmla="*/ 0 h 280376"/>
                  </a:gdLst>
                  <a:ahLst/>
                  <a:cxnLst>
                    <a:cxn ang="0">
                      <a:pos x="connsiteX0" y="connsiteY0"/>
                    </a:cxn>
                    <a:cxn ang="0">
                      <a:pos x="connsiteX1" y="connsiteY1"/>
                    </a:cxn>
                    <a:cxn ang="0">
                      <a:pos x="connsiteX2" y="connsiteY2"/>
                    </a:cxn>
                    <a:cxn ang="0">
                      <a:pos x="connsiteX3" y="connsiteY3"/>
                    </a:cxn>
                  </a:cxnLst>
                  <a:rect l="l" t="t" r="r" b="b"/>
                  <a:pathLst>
                    <a:path w="662723" h="280376">
                      <a:moveTo>
                        <a:pt x="662724" y="277565"/>
                      </a:moveTo>
                      <a:lnTo>
                        <a:pt x="661588" y="280376"/>
                      </a:lnTo>
                      <a:lnTo>
                        <a:pt x="0" y="2811"/>
                      </a:lnTo>
                      <a:lnTo>
                        <a:pt x="1136" y="0"/>
                      </a:lnTo>
                      <a:close/>
                    </a:path>
                  </a:pathLst>
                </a:custGeom>
                <a:grpFill/>
                <a:ln w="5978" cap="flat">
                  <a:noFill/>
                  <a:prstDash val="solid"/>
                  <a:miter/>
                </a:ln>
              </p:spPr>
              <p:txBody>
                <a:bodyPr rtlCol="0" anchor="ctr"/>
                <a:lstStyle/>
                <a:p>
                  <a:endParaRPr lang="en-GB"/>
                </a:p>
              </p:txBody>
            </p:sp>
            <p:sp>
              <p:nvSpPr>
                <p:cNvPr id="2104" name="Vrije vorm: vorm 2103">
                  <a:extLst>
                    <a:ext uri="{FF2B5EF4-FFF2-40B4-BE49-F238E27FC236}">
                      <a16:creationId xmlns:a16="http://schemas.microsoft.com/office/drawing/2014/main" id="{E3B06AFE-A1DD-47F5-8EB9-811AD0163691}"/>
                    </a:ext>
                  </a:extLst>
                </p:cNvPr>
                <p:cNvSpPr/>
                <p:nvPr/>
              </p:nvSpPr>
              <p:spPr>
                <a:xfrm>
                  <a:off x="4434874" y="2845577"/>
                  <a:ext cx="18301" cy="18421"/>
                </a:xfrm>
                <a:custGeom>
                  <a:avLst/>
                  <a:gdLst>
                    <a:gd name="connsiteX0" fmla="*/ 12650 w 18301"/>
                    <a:gd name="connsiteY0" fmla="*/ 688 h 18421"/>
                    <a:gd name="connsiteX1" fmla="*/ 17614 w 18301"/>
                    <a:gd name="connsiteY1" fmla="*/ 12769 h 18421"/>
                    <a:gd name="connsiteX2" fmla="*/ 5652 w 18301"/>
                    <a:gd name="connsiteY2" fmla="*/ 17733 h 18421"/>
                    <a:gd name="connsiteX3" fmla="*/ 688 w 18301"/>
                    <a:gd name="connsiteY3" fmla="*/ 5652 h 18421"/>
                    <a:gd name="connsiteX4" fmla="*/ 12650 w 18301"/>
                    <a:gd name="connsiteY4" fmla="*/ 68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1">
                      <a:moveTo>
                        <a:pt x="12650" y="688"/>
                      </a:moveTo>
                      <a:cubicBezTo>
                        <a:pt x="17314" y="2662"/>
                        <a:pt x="19528" y="8044"/>
                        <a:pt x="17614" y="12769"/>
                      </a:cubicBezTo>
                      <a:cubicBezTo>
                        <a:pt x="15700" y="17434"/>
                        <a:pt x="10317" y="19647"/>
                        <a:pt x="5652" y="17733"/>
                      </a:cubicBezTo>
                      <a:cubicBezTo>
                        <a:pt x="987" y="15760"/>
                        <a:pt x="-1226" y="10377"/>
                        <a:pt x="688" y="5652"/>
                      </a:cubicBezTo>
                      <a:cubicBezTo>
                        <a:pt x="2602" y="987"/>
                        <a:pt x="7985" y="-1226"/>
                        <a:pt x="12650" y="688"/>
                      </a:cubicBezTo>
                      <a:close/>
                    </a:path>
                  </a:pathLst>
                </a:custGeom>
                <a:grpFill/>
                <a:ln w="5978" cap="flat">
                  <a:noFill/>
                  <a:prstDash val="solid"/>
                  <a:miter/>
                </a:ln>
              </p:spPr>
              <p:txBody>
                <a:bodyPr rtlCol="0" anchor="ctr"/>
                <a:lstStyle/>
                <a:p>
                  <a:endParaRPr lang="en-GB"/>
                </a:p>
              </p:txBody>
            </p:sp>
            <p:sp>
              <p:nvSpPr>
                <p:cNvPr id="2105" name="Vrije vorm: vorm 2104">
                  <a:extLst>
                    <a:ext uri="{FF2B5EF4-FFF2-40B4-BE49-F238E27FC236}">
                      <a16:creationId xmlns:a16="http://schemas.microsoft.com/office/drawing/2014/main" id="{EA229E1E-18B0-469F-979F-736FAFEEB159}"/>
                    </a:ext>
                  </a:extLst>
                </p:cNvPr>
                <p:cNvSpPr/>
                <p:nvPr/>
              </p:nvSpPr>
              <p:spPr>
                <a:xfrm>
                  <a:off x="3774124" y="2568338"/>
                  <a:ext cx="18301" cy="18488"/>
                </a:xfrm>
                <a:custGeom>
                  <a:avLst/>
                  <a:gdLst>
                    <a:gd name="connsiteX0" fmla="*/ 12650 w 18301"/>
                    <a:gd name="connsiteY0" fmla="*/ 722 h 18488"/>
                    <a:gd name="connsiteX1" fmla="*/ 688 w 18301"/>
                    <a:gd name="connsiteY1" fmla="*/ 5685 h 18488"/>
                    <a:gd name="connsiteX2" fmla="*/ 5652 w 18301"/>
                    <a:gd name="connsiteY2" fmla="*/ 17767 h 18488"/>
                    <a:gd name="connsiteX3" fmla="*/ 17613 w 18301"/>
                    <a:gd name="connsiteY3" fmla="*/ 12802 h 18488"/>
                    <a:gd name="connsiteX4" fmla="*/ 12650 w 18301"/>
                    <a:gd name="connsiteY4" fmla="*/ 722 h 18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88">
                      <a:moveTo>
                        <a:pt x="12650" y="722"/>
                      </a:moveTo>
                      <a:cubicBezTo>
                        <a:pt x="7985" y="-1252"/>
                        <a:pt x="2602" y="961"/>
                        <a:pt x="688" y="5685"/>
                      </a:cubicBezTo>
                      <a:cubicBezTo>
                        <a:pt x="-1226" y="10350"/>
                        <a:pt x="987" y="15793"/>
                        <a:pt x="5652" y="17767"/>
                      </a:cubicBezTo>
                      <a:cubicBezTo>
                        <a:pt x="10317" y="19740"/>
                        <a:pt x="15700" y="17527"/>
                        <a:pt x="17613" y="12802"/>
                      </a:cubicBezTo>
                      <a:cubicBezTo>
                        <a:pt x="19527" y="8078"/>
                        <a:pt x="17314" y="2695"/>
                        <a:pt x="12650" y="722"/>
                      </a:cubicBezTo>
                      <a:close/>
                    </a:path>
                  </a:pathLst>
                </a:custGeom>
                <a:grpFill/>
                <a:ln w="5978" cap="flat">
                  <a:noFill/>
                  <a:prstDash val="solid"/>
                  <a:miter/>
                </a:ln>
              </p:spPr>
              <p:txBody>
                <a:bodyPr rtlCol="0" anchor="ctr"/>
                <a:lstStyle/>
                <a:p>
                  <a:endParaRPr lang="en-GB"/>
                </a:p>
              </p:txBody>
            </p:sp>
          </p:grpSp>
          <p:grpSp>
            <p:nvGrpSpPr>
              <p:cNvPr id="1100" name="Graphic 3">
                <a:extLst>
                  <a:ext uri="{FF2B5EF4-FFF2-40B4-BE49-F238E27FC236}">
                    <a16:creationId xmlns:a16="http://schemas.microsoft.com/office/drawing/2014/main" id="{3111AEBC-BF82-4051-B1B4-4F8E57218F97}"/>
                  </a:ext>
                </a:extLst>
              </p:cNvPr>
              <p:cNvGrpSpPr/>
              <p:nvPr/>
            </p:nvGrpSpPr>
            <p:grpSpPr>
              <a:xfrm>
                <a:off x="4198227" y="3203295"/>
                <a:ext cx="192858" cy="66426"/>
                <a:chOff x="4198227" y="3203295"/>
                <a:chExt cx="192858" cy="66426"/>
              </a:xfrm>
              <a:grpFill/>
            </p:grpSpPr>
            <p:sp>
              <p:nvSpPr>
                <p:cNvPr id="2100" name="Vrije vorm: vorm 2099">
                  <a:extLst>
                    <a:ext uri="{FF2B5EF4-FFF2-40B4-BE49-F238E27FC236}">
                      <a16:creationId xmlns:a16="http://schemas.microsoft.com/office/drawing/2014/main" id="{05D86B37-91ED-4A56-8818-760F0B605E31}"/>
                    </a:ext>
                  </a:extLst>
                </p:cNvPr>
                <p:cNvSpPr/>
                <p:nvPr/>
              </p:nvSpPr>
              <p:spPr>
                <a:xfrm>
                  <a:off x="4206560" y="3210850"/>
                  <a:ext cx="176191" cy="51314"/>
                </a:xfrm>
                <a:custGeom>
                  <a:avLst/>
                  <a:gdLst>
                    <a:gd name="connsiteX0" fmla="*/ 176192 w 176191"/>
                    <a:gd name="connsiteY0" fmla="*/ 48324 h 51314"/>
                    <a:gd name="connsiteX1" fmla="*/ 175414 w 176191"/>
                    <a:gd name="connsiteY1" fmla="*/ 51315 h 51314"/>
                    <a:gd name="connsiteX2" fmla="*/ 0 w 176191"/>
                    <a:gd name="connsiteY2" fmla="*/ 2990 h 51314"/>
                    <a:gd name="connsiteX3" fmla="*/ 778 w 176191"/>
                    <a:gd name="connsiteY3" fmla="*/ 0 h 51314"/>
                  </a:gdLst>
                  <a:ahLst/>
                  <a:cxnLst>
                    <a:cxn ang="0">
                      <a:pos x="connsiteX0" y="connsiteY0"/>
                    </a:cxn>
                    <a:cxn ang="0">
                      <a:pos x="connsiteX1" y="connsiteY1"/>
                    </a:cxn>
                    <a:cxn ang="0">
                      <a:pos x="connsiteX2" y="connsiteY2"/>
                    </a:cxn>
                    <a:cxn ang="0">
                      <a:pos x="connsiteX3" y="connsiteY3"/>
                    </a:cxn>
                  </a:cxnLst>
                  <a:rect l="l" t="t" r="r" b="b"/>
                  <a:pathLst>
                    <a:path w="176191" h="51314">
                      <a:moveTo>
                        <a:pt x="176192" y="48324"/>
                      </a:moveTo>
                      <a:lnTo>
                        <a:pt x="175414" y="51315"/>
                      </a:lnTo>
                      <a:lnTo>
                        <a:pt x="0" y="2990"/>
                      </a:lnTo>
                      <a:lnTo>
                        <a:pt x="778" y="0"/>
                      </a:lnTo>
                      <a:close/>
                    </a:path>
                  </a:pathLst>
                </a:custGeom>
                <a:grpFill/>
                <a:ln w="5978" cap="flat">
                  <a:noFill/>
                  <a:prstDash val="solid"/>
                  <a:miter/>
                </a:ln>
              </p:spPr>
              <p:txBody>
                <a:bodyPr rtlCol="0" anchor="ctr"/>
                <a:lstStyle/>
                <a:p>
                  <a:endParaRPr lang="en-GB"/>
                </a:p>
              </p:txBody>
            </p:sp>
            <p:sp>
              <p:nvSpPr>
                <p:cNvPr id="2101" name="Vrije vorm: vorm 2100">
                  <a:extLst>
                    <a:ext uri="{FF2B5EF4-FFF2-40B4-BE49-F238E27FC236}">
                      <a16:creationId xmlns:a16="http://schemas.microsoft.com/office/drawing/2014/main" id="{C5CA7624-EBB9-4ED9-8B72-7C7C5FDB7F9D}"/>
                    </a:ext>
                  </a:extLst>
                </p:cNvPr>
                <p:cNvSpPr/>
                <p:nvPr/>
              </p:nvSpPr>
              <p:spPr>
                <a:xfrm>
                  <a:off x="4372744" y="3251320"/>
                  <a:ext cx="18341" cy="18400"/>
                </a:xfrm>
                <a:custGeom>
                  <a:avLst/>
                  <a:gdLst>
                    <a:gd name="connsiteX0" fmla="*/ 11563 w 18341"/>
                    <a:gd name="connsiteY0" fmla="*/ 319 h 18400"/>
                    <a:gd name="connsiteX1" fmla="*/ 18022 w 18341"/>
                    <a:gd name="connsiteY1" fmla="*/ 11623 h 18400"/>
                    <a:gd name="connsiteX2" fmla="*/ 6778 w 18341"/>
                    <a:gd name="connsiteY2" fmla="*/ 18082 h 18400"/>
                    <a:gd name="connsiteX3" fmla="*/ 319 w 18341"/>
                    <a:gd name="connsiteY3" fmla="*/ 6778 h 18400"/>
                    <a:gd name="connsiteX4" fmla="*/ 11563 w 18341"/>
                    <a:gd name="connsiteY4" fmla="*/ 31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1563" y="319"/>
                      </a:moveTo>
                      <a:cubicBezTo>
                        <a:pt x="16467" y="1635"/>
                        <a:pt x="19338" y="6718"/>
                        <a:pt x="18022" y="11623"/>
                      </a:cubicBezTo>
                      <a:cubicBezTo>
                        <a:pt x="16706" y="16527"/>
                        <a:pt x="11683" y="19398"/>
                        <a:pt x="6778" y="18082"/>
                      </a:cubicBezTo>
                      <a:cubicBezTo>
                        <a:pt x="1874" y="16766"/>
                        <a:pt x="-997" y="11682"/>
                        <a:pt x="319" y="6778"/>
                      </a:cubicBezTo>
                      <a:cubicBezTo>
                        <a:pt x="1694" y="1874"/>
                        <a:pt x="6718" y="-997"/>
                        <a:pt x="11563" y="319"/>
                      </a:cubicBezTo>
                      <a:close/>
                    </a:path>
                  </a:pathLst>
                </a:custGeom>
                <a:grpFill/>
                <a:ln w="5978" cap="flat">
                  <a:noFill/>
                  <a:prstDash val="solid"/>
                  <a:miter/>
                </a:ln>
              </p:spPr>
              <p:txBody>
                <a:bodyPr rtlCol="0" anchor="ctr"/>
                <a:lstStyle/>
                <a:p>
                  <a:endParaRPr lang="en-GB"/>
                </a:p>
              </p:txBody>
            </p:sp>
            <p:sp>
              <p:nvSpPr>
                <p:cNvPr id="2102" name="Vrije vorm: vorm 2101">
                  <a:extLst>
                    <a:ext uri="{FF2B5EF4-FFF2-40B4-BE49-F238E27FC236}">
                      <a16:creationId xmlns:a16="http://schemas.microsoft.com/office/drawing/2014/main" id="{8D76F4D4-4E88-488F-B15C-BCE328136F66}"/>
                    </a:ext>
                  </a:extLst>
                </p:cNvPr>
                <p:cNvSpPr/>
                <p:nvPr/>
              </p:nvSpPr>
              <p:spPr>
                <a:xfrm>
                  <a:off x="4198227" y="3203295"/>
                  <a:ext cx="18337" cy="18400"/>
                </a:xfrm>
                <a:custGeom>
                  <a:avLst/>
                  <a:gdLst>
                    <a:gd name="connsiteX0" fmla="*/ 11563 w 18337"/>
                    <a:gd name="connsiteY0" fmla="*/ 319 h 18400"/>
                    <a:gd name="connsiteX1" fmla="*/ 319 w 18337"/>
                    <a:gd name="connsiteY1" fmla="*/ 6778 h 18400"/>
                    <a:gd name="connsiteX2" fmla="*/ 6778 w 18337"/>
                    <a:gd name="connsiteY2" fmla="*/ 18082 h 18400"/>
                    <a:gd name="connsiteX3" fmla="*/ 18022 w 18337"/>
                    <a:gd name="connsiteY3" fmla="*/ 11623 h 18400"/>
                    <a:gd name="connsiteX4" fmla="*/ 11563 w 18337"/>
                    <a:gd name="connsiteY4" fmla="*/ 31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00">
                      <a:moveTo>
                        <a:pt x="11563" y="319"/>
                      </a:moveTo>
                      <a:cubicBezTo>
                        <a:pt x="6659" y="-997"/>
                        <a:pt x="1635" y="1874"/>
                        <a:pt x="319" y="6778"/>
                      </a:cubicBezTo>
                      <a:cubicBezTo>
                        <a:pt x="-997" y="11682"/>
                        <a:pt x="1874" y="16766"/>
                        <a:pt x="6778" y="18082"/>
                      </a:cubicBezTo>
                      <a:cubicBezTo>
                        <a:pt x="11683" y="19398"/>
                        <a:pt x="16706" y="16527"/>
                        <a:pt x="18022" y="11623"/>
                      </a:cubicBezTo>
                      <a:cubicBezTo>
                        <a:pt x="19338" y="6718"/>
                        <a:pt x="16407" y="1635"/>
                        <a:pt x="11563" y="319"/>
                      </a:cubicBezTo>
                      <a:close/>
                    </a:path>
                  </a:pathLst>
                </a:custGeom>
                <a:grpFill/>
                <a:ln w="5978" cap="flat">
                  <a:noFill/>
                  <a:prstDash val="solid"/>
                  <a:miter/>
                </a:ln>
              </p:spPr>
              <p:txBody>
                <a:bodyPr rtlCol="0" anchor="ctr"/>
                <a:lstStyle/>
                <a:p>
                  <a:endParaRPr lang="en-GB"/>
                </a:p>
              </p:txBody>
            </p:sp>
          </p:grpSp>
          <p:grpSp>
            <p:nvGrpSpPr>
              <p:cNvPr id="1101" name="Graphic 3">
                <a:extLst>
                  <a:ext uri="{FF2B5EF4-FFF2-40B4-BE49-F238E27FC236}">
                    <a16:creationId xmlns:a16="http://schemas.microsoft.com/office/drawing/2014/main" id="{63B745A4-8D74-405A-AC0C-6FF85E47803A}"/>
                  </a:ext>
                </a:extLst>
              </p:cNvPr>
              <p:cNvGrpSpPr/>
              <p:nvPr/>
            </p:nvGrpSpPr>
            <p:grpSpPr>
              <a:xfrm>
                <a:off x="4244402" y="3308978"/>
                <a:ext cx="148647" cy="25510"/>
                <a:chOff x="4244402" y="3308978"/>
                <a:chExt cx="148647" cy="25510"/>
              </a:xfrm>
              <a:grpFill/>
            </p:grpSpPr>
            <p:sp>
              <p:nvSpPr>
                <p:cNvPr id="2097" name="Vrije vorm: vorm 2096">
                  <a:extLst>
                    <a:ext uri="{FF2B5EF4-FFF2-40B4-BE49-F238E27FC236}">
                      <a16:creationId xmlns:a16="http://schemas.microsoft.com/office/drawing/2014/main" id="{1B22D0B7-D829-4A42-BE2D-9C88DEB1AE99}"/>
                    </a:ext>
                  </a:extLst>
                </p:cNvPr>
                <p:cNvSpPr/>
                <p:nvPr/>
              </p:nvSpPr>
              <p:spPr>
                <a:xfrm>
                  <a:off x="4253030" y="3316589"/>
                  <a:ext cx="131396" cy="10226"/>
                </a:xfrm>
                <a:custGeom>
                  <a:avLst/>
                  <a:gdLst>
                    <a:gd name="connsiteX0" fmla="*/ 131397 w 131396"/>
                    <a:gd name="connsiteY0" fmla="*/ 7177 h 10226"/>
                    <a:gd name="connsiteX1" fmla="*/ 131217 w 131396"/>
                    <a:gd name="connsiteY1" fmla="*/ 10227 h 10226"/>
                    <a:gd name="connsiteX2" fmla="*/ 0 w 131396"/>
                    <a:gd name="connsiteY2" fmla="*/ 3050 h 10226"/>
                    <a:gd name="connsiteX3" fmla="*/ 120 w 131396"/>
                    <a:gd name="connsiteY3" fmla="*/ 0 h 10226"/>
                  </a:gdLst>
                  <a:ahLst/>
                  <a:cxnLst>
                    <a:cxn ang="0">
                      <a:pos x="connsiteX0" y="connsiteY0"/>
                    </a:cxn>
                    <a:cxn ang="0">
                      <a:pos x="connsiteX1" y="connsiteY1"/>
                    </a:cxn>
                    <a:cxn ang="0">
                      <a:pos x="connsiteX2" y="connsiteY2"/>
                    </a:cxn>
                    <a:cxn ang="0">
                      <a:pos x="connsiteX3" y="connsiteY3"/>
                    </a:cxn>
                  </a:cxnLst>
                  <a:rect l="l" t="t" r="r" b="b"/>
                  <a:pathLst>
                    <a:path w="131396" h="10226">
                      <a:moveTo>
                        <a:pt x="131397" y="7177"/>
                      </a:moveTo>
                      <a:lnTo>
                        <a:pt x="131217" y="10227"/>
                      </a:lnTo>
                      <a:lnTo>
                        <a:pt x="0" y="3050"/>
                      </a:lnTo>
                      <a:lnTo>
                        <a:pt x="120" y="0"/>
                      </a:lnTo>
                      <a:close/>
                    </a:path>
                  </a:pathLst>
                </a:custGeom>
                <a:grpFill/>
                <a:ln w="5978" cap="flat">
                  <a:noFill/>
                  <a:prstDash val="solid"/>
                  <a:miter/>
                </a:ln>
              </p:spPr>
              <p:txBody>
                <a:bodyPr rtlCol="0" anchor="ctr"/>
                <a:lstStyle/>
                <a:p>
                  <a:endParaRPr lang="en-GB"/>
                </a:p>
              </p:txBody>
            </p:sp>
            <p:sp>
              <p:nvSpPr>
                <p:cNvPr id="2098" name="Vrije vorm: vorm 2097">
                  <a:extLst>
                    <a:ext uri="{FF2B5EF4-FFF2-40B4-BE49-F238E27FC236}">
                      <a16:creationId xmlns:a16="http://schemas.microsoft.com/office/drawing/2014/main" id="{C945489F-341D-44BF-965D-27756CDEDA95}"/>
                    </a:ext>
                  </a:extLst>
                </p:cNvPr>
                <p:cNvSpPr/>
                <p:nvPr/>
              </p:nvSpPr>
              <p:spPr>
                <a:xfrm>
                  <a:off x="4244402" y="3308978"/>
                  <a:ext cx="18333" cy="18387"/>
                </a:xfrm>
                <a:custGeom>
                  <a:avLst/>
                  <a:gdLst>
                    <a:gd name="connsiteX0" fmla="*/ 8688 w 18333"/>
                    <a:gd name="connsiteY0" fmla="*/ 18377 h 18387"/>
                    <a:gd name="connsiteX1" fmla="*/ 16 w 18333"/>
                    <a:gd name="connsiteY1" fmla="*/ 8688 h 18387"/>
                    <a:gd name="connsiteX2" fmla="*/ 9645 w 18333"/>
                    <a:gd name="connsiteY2" fmla="*/ 16 h 18387"/>
                    <a:gd name="connsiteX3" fmla="*/ 18317 w 18333"/>
                    <a:gd name="connsiteY3" fmla="*/ 9705 h 18387"/>
                    <a:gd name="connsiteX4" fmla="*/ 8688 w 18333"/>
                    <a:gd name="connsiteY4" fmla="*/ 18377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87">
                      <a:moveTo>
                        <a:pt x="8688" y="18377"/>
                      </a:moveTo>
                      <a:cubicBezTo>
                        <a:pt x="3605" y="18078"/>
                        <a:pt x="-283" y="13772"/>
                        <a:pt x="16" y="8688"/>
                      </a:cubicBezTo>
                      <a:cubicBezTo>
                        <a:pt x="256" y="3605"/>
                        <a:pt x="4562" y="-283"/>
                        <a:pt x="9645" y="16"/>
                      </a:cubicBezTo>
                      <a:cubicBezTo>
                        <a:pt x="14729" y="315"/>
                        <a:pt x="18616" y="4621"/>
                        <a:pt x="18317" y="9705"/>
                      </a:cubicBezTo>
                      <a:cubicBezTo>
                        <a:pt x="18078" y="14729"/>
                        <a:pt x="13772" y="18616"/>
                        <a:pt x="8688" y="18377"/>
                      </a:cubicBezTo>
                      <a:close/>
                    </a:path>
                  </a:pathLst>
                </a:custGeom>
                <a:grpFill/>
                <a:ln w="5978" cap="flat">
                  <a:noFill/>
                  <a:prstDash val="solid"/>
                  <a:miter/>
                </a:ln>
              </p:spPr>
              <p:txBody>
                <a:bodyPr rtlCol="0" anchor="ctr"/>
                <a:lstStyle/>
                <a:p>
                  <a:endParaRPr lang="en-GB"/>
                </a:p>
              </p:txBody>
            </p:sp>
            <p:sp>
              <p:nvSpPr>
                <p:cNvPr id="2099" name="Vrije vorm: vorm 2098">
                  <a:extLst>
                    <a:ext uri="{FF2B5EF4-FFF2-40B4-BE49-F238E27FC236}">
                      <a16:creationId xmlns:a16="http://schemas.microsoft.com/office/drawing/2014/main" id="{D10DC954-5CBD-4B9B-9B71-37CAB330DF53}"/>
                    </a:ext>
                  </a:extLst>
                </p:cNvPr>
                <p:cNvSpPr/>
                <p:nvPr/>
              </p:nvSpPr>
              <p:spPr>
                <a:xfrm>
                  <a:off x="4374722" y="3316100"/>
                  <a:ext cx="18327" cy="18387"/>
                </a:xfrm>
                <a:custGeom>
                  <a:avLst/>
                  <a:gdLst>
                    <a:gd name="connsiteX0" fmla="*/ 8688 w 18327"/>
                    <a:gd name="connsiteY0" fmla="*/ 18371 h 18387"/>
                    <a:gd name="connsiteX1" fmla="*/ 18317 w 18327"/>
                    <a:gd name="connsiteY1" fmla="*/ 9699 h 18387"/>
                    <a:gd name="connsiteX2" fmla="*/ 9645 w 18327"/>
                    <a:gd name="connsiteY2" fmla="*/ 11 h 18387"/>
                    <a:gd name="connsiteX3" fmla="*/ 16 w 18327"/>
                    <a:gd name="connsiteY3" fmla="*/ 8683 h 18387"/>
                    <a:gd name="connsiteX4" fmla="*/ 8688 w 18327"/>
                    <a:gd name="connsiteY4" fmla="*/ 18371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87">
                      <a:moveTo>
                        <a:pt x="8688" y="18371"/>
                      </a:moveTo>
                      <a:cubicBezTo>
                        <a:pt x="13772" y="18670"/>
                        <a:pt x="18077" y="14783"/>
                        <a:pt x="18317" y="9699"/>
                      </a:cubicBezTo>
                      <a:cubicBezTo>
                        <a:pt x="18556" y="4616"/>
                        <a:pt x="14668" y="250"/>
                        <a:pt x="9645" y="11"/>
                      </a:cubicBezTo>
                      <a:cubicBezTo>
                        <a:pt x="4621" y="-229"/>
                        <a:pt x="255" y="3599"/>
                        <a:pt x="16" y="8683"/>
                      </a:cubicBezTo>
                      <a:cubicBezTo>
                        <a:pt x="-283" y="13766"/>
                        <a:pt x="3664" y="18132"/>
                        <a:pt x="8688" y="18371"/>
                      </a:cubicBezTo>
                      <a:close/>
                    </a:path>
                  </a:pathLst>
                </a:custGeom>
                <a:grpFill/>
                <a:ln w="5978" cap="flat">
                  <a:noFill/>
                  <a:prstDash val="solid"/>
                  <a:miter/>
                </a:ln>
              </p:spPr>
              <p:txBody>
                <a:bodyPr rtlCol="0" anchor="ctr"/>
                <a:lstStyle/>
                <a:p>
                  <a:endParaRPr lang="en-GB"/>
                </a:p>
              </p:txBody>
            </p:sp>
          </p:grpSp>
          <p:grpSp>
            <p:nvGrpSpPr>
              <p:cNvPr id="1102" name="Graphic 3">
                <a:extLst>
                  <a:ext uri="{FF2B5EF4-FFF2-40B4-BE49-F238E27FC236}">
                    <a16:creationId xmlns:a16="http://schemas.microsoft.com/office/drawing/2014/main" id="{23A01FBB-4771-40FA-A2D0-B4DCAB5A03FF}"/>
                  </a:ext>
                </a:extLst>
              </p:cNvPr>
              <p:cNvGrpSpPr/>
              <p:nvPr/>
            </p:nvGrpSpPr>
            <p:grpSpPr>
              <a:xfrm>
                <a:off x="4027563" y="2950248"/>
                <a:ext cx="364035" cy="127943"/>
                <a:chOff x="4027563" y="2950248"/>
                <a:chExt cx="364035" cy="127943"/>
              </a:xfrm>
              <a:grpFill/>
            </p:grpSpPr>
            <p:sp>
              <p:nvSpPr>
                <p:cNvPr id="2094" name="Vrije vorm: vorm 2093">
                  <a:extLst>
                    <a:ext uri="{FF2B5EF4-FFF2-40B4-BE49-F238E27FC236}">
                      <a16:creationId xmlns:a16="http://schemas.microsoft.com/office/drawing/2014/main" id="{D6D94D1C-B5F8-4129-82EE-79E49CE9B2D1}"/>
                    </a:ext>
                  </a:extLst>
                </p:cNvPr>
                <p:cNvSpPr/>
                <p:nvPr/>
              </p:nvSpPr>
              <p:spPr>
                <a:xfrm>
                  <a:off x="4035870" y="2957866"/>
                  <a:ext cx="347420" cy="112736"/>
                </a:xfrm>
                <a:custGeom>
                  <a:avLst/>
                  <a:gdLst>
                    <a:gd name="connsiteX0" fmla="*/ 347420 w 347420"/>
                    <a:gd name="connsiteY0" fmla="*/ 109806 h 112736"/>
                    <a:gd name="connsiteX1" fmla="*/ 346523 w 347420"/>
                    <a:gd name="connsiteY1" fmla="*/ 112736 h 112736"/>
                    <a:gd name="connsiteX2" fmla="*/ 0 w 347420"/>
                    <a:gd name="connsiteY2" fmla="*/ 2930 h 112736"/>
                    <a:gd name="connsiteX3" fmla="*/ 897 w 347420"/>
                    <a:gd name="connsiteY3" fmla="*/ 0 h 112736"/>
                  </a:gdLst>
                  <a:ahLst/>
                  <a:cxnLst>
                    <a:cxn ang="0">
                      <a:pos x="connsiteX0" y="connsiteY0"/>
                    </a:cxn>
                    <a:cxn ang="0">
                      <a:pos x="connsiteX1" y="connsiteY1"/>
                    </a:cxn>
                    <a:cxn ang="0">
                      <a:pos x="connsiteX2" y="connsiteY2"/>
                    </a:cxn>
                    <a:cxn ang="0">
                      <a:pos x="connsiteX3" y="connsiteY3"/>
                    </a:cxn>
                  </a:cxnLst>
                  <a:rect l="l" t="t" r="r" b="b"/>
                  <a:pathLst>
                    <a:path w="347420" h="112736">
                      <a:moveTo>
                        <a:pt x="347420" y="109806"/>
                      </a:moveTo>
                      <a:lnTo>
                        <a:pt x="346523" y="112736"/>
                      </a:lnTo>
                      <a:lnTo>
                        <a:pt x="0" y="2930"/>
                      </a:lnTo>
                      <a:lnTo>
                        <a:pt x="897" y="0"/>
                      </a:lnTo>
                      <a:close/>
                    </a:path>
                  </a:pathLst>
                </a:custGeom>
                <a:grpFill/>
                <a:ln w="5978" cap="flat">
                  <a:noFill/>
                  <a:prstDash val="solid"/>
                  <a:miter/>
                </a:ln>
              </p:spPr>
              <p:txBody>
                <a:bodyPr rtlCol="0" anchor="ctr"/>
                <a:lstStyle/>
                <a:p>
                  <a:endParaRPr lang="en-GB"/>
                </a:p>
              </p:txBody>
            </p:sp>
            <p:sp>
              <p:nvSpPr>
                <p:cNvPr id="2095" name="Vrije vorm: vorm 2094">
                  <a:extLst>
                    <a:ext uri="{FF2B5EF4-FFF2-40B4-BE49-F238E27FC236}">
                      <a16:creationId xmlns:a16="http://schemas.microsoft.com/office/drawing/2014/main" id="{6DFDB831-7F7B-41D6-8F94-48DC53032B54}"/>
                    </a:ext>
                  </a:extLst>
                </p:cNvPr>
                <p:cNvSpPr/>
                <p:nvPr/>
              </p:nvSpPr>
              <p:spPr>
                <a:xfrm>
                  <a:off x="4373249" y="3059755"/>
                  <a:ext cx="18349" cy="18436"/>
                </a:xfrm>
                <a:custGeom>
                  <a:avLst/>
                  <a:gdLst>
                    <a:gd name="connsiteX0" fmla="*/ 11896 w 18349"/>
                    <a:gd name="connsiteY0" fmla="*/ 440 h 18436"/>
                    <a:gd name="connsiteX1" fmla="*/ 17936 w 18349"/>
                    <a:gd name="connsiteY1" fmla="*/ 11983 h 18436"/>
                    <a:gd name="connsiteX2" fmla="*/ 6453 w 18349"/>
                    <a:gd name="connsiteY2" fmla="*/ 18024 h 18436"/>
                    <a:gd name="connsiteX3" fmla="*/ 413 w 18349"/>
                    <a:gd name="connsiteY3" fmla="*/ 6481 h 18436"/>
                    <a:gd name="connsiteX4" fmla="*/ 11896 w 18349"/>
                    <a:gd name="connsiteY4" fmla="*/ 440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6">
                      <a:moveTo>
                        <a:pt x="11896" y="440"/>
                      </a:moveTo>
                      <a:cubicBezTo>
                        <a:pt x="16740" y="1996"/>
                        <a:pt x="19432" y="7139"/>
                        <a:pt x="17936" y="11983"/>
                      </a:cubicBezTo>
                      <a:cubicBezTo>
                        <a:pt x="16441" y="16828"/>
                        <a:pt x="11298" y="19519"/>
                        <a:pt x="6453" y="18024"/>
                      </a:cubicBezTo>
                      <a:cubicBezTo>
                        <a:pt x="1609" y="16469"/>
                        <a:pt x="-1082" y="11325"/>
                        <a:pt x="413" y="6481"/>
                      </a:cubicBezTo>
                      <a:cubicBezTo>
                        <a:pt x="1908" y="1577"/>
                        <a:pt x="7051" y="-1115"/>
                        <a:pt x="11896" y="440"/>
                      </a:cubicBezTo>
                      <a:close/>
                    </a:path>
                  </a:pathLst>
                </a:custGeom>
                <a:grpFill/>
                <a:ln w="5978" cap="flat">
                  <a:noFill/>
                  <a:prstDash val="solid"/>
                  <a:miter/>
                </a:ln>
              </p:spPr>
              <p:txBody>
                <a:bodyPr rtlCol="0" anchor="ctr"/>
                <a:lstStyle/>
                <a:p>
                  <a:endParaRPr lang="en-GB"/>
                </a:p>
              </p:txBody>
            </p:sp>
            <p:sp>
              <p:nvSpPr>
                <p:cNvPr id="2096" name="Vrije vorm: vorm 2095">
                  <a:extLst>
                    <a:ext uri="{FF2B5EF4-FFF2-40B4-BE49-F238E27FC236}">
                      <a16:creationId xmlns:a16="http://schemas.microsoft.com/office/drawing/2014/main" id="{775B3C1B-F7B5-4039-ADEF-F78E40EF0375}"/>
                    </a:ext>
                  </a:extLst>
                </p:cNvPr>
                <p:cNvSpPr/>
                <p:nvPr/>
              </p:nvSpPr>
              <p:spPr>
                <a:xfrm>
                  <a:off x="4027563" y="2950248"/>
                  <a:ext cx="18349" cy="18464"/>
                </a:xfrm>
                <a:custGeom>
                  <a:avLst/>
                  <a:gdLst>
                    <a:gd name="connsiteX0" fmla="*/ 11896 w 18349"/>
                    <a:gd name="connsiteY0" fmla="*/ 440 h 18464"/>
                    <a:gd name="connsiteX1" fmla="*/ 413 w 18349"/>
                    <a:gd name="connsiteY1" fmla="*/ 6481 h 18464"/>
                    <a:gd name="connsiteX2" fmla="*/ 6453 w 18349"/>
                    <a:gd name="connsiteY2" fmla="*/ 18024 h 18464"/>
                    <a:gd name="connsiteX3" fmla="*/ 17936 w 18349"/>
                    <a:gd name="connsiteY3" fmla="*/ 11983 h 18464"/>
                    <a:gd name="connsiteX4" fmla="*/ 11896 w 18349"/>
                    <a:gd name="connsiteY4" fmla="*/ 440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4">
                      <a:moveTo>
                        <a:pt x="11896" y="440"/>
                      </a:moveTo>
                      <a:cubicBezTo>
                        <a:pt x="7052" y="-1115"/>
                        <a:pt x="1908" y="1577"/>
                        <a:pt x="413" y="6481"/>
                      </a:cubicBezTo>
                      <a:cubicBezTo>
                        <a:pt x="-1082" y="11325"/>
                        <a:pt x="1609" y="16529"/>
                        <a:pt x="6453" y="18024"/>
                      </a:cubicBezTo>
                      <a:cubicBezTo>
                        <a:pt x="11298" y="19579"/>
                        <a:pt x="16441" y="16887"/>
                        <a:pt x="17936" y="11983"/>
                      </a:cubicBezTo>
                      <a:cubicBezTo>
                        <a:pt x="19432" y="7139"/>
                        <a:pt x="16741" y="1936"/>
                        <a:pt x="11896" y="440"/>
                      </a:cubicBezTo>
                      <a:close/>
                    </a:path>
                  </a:pathLst>
                </a:custGeom>
                <a:grpFill/>
                <a:ln w="5978" cap="flat">
                  <a:noFill/>
                  <a:prstDash val="solid"/>
                  <a:miter/>
                </a:ln>
              </p:spPr>
              <p:txBody>
                <a:bodyPr rtlCol="0" anchor="ctr"/>
                <a:lstStyle/>
                <a:p>
                  <a:endParaRPr lang="en-GB"/>
                </a:p>
              </p:txBody>
            </p:sp>
          </p:grpSp>
          <p:grpSp>
            <p:nvGrpSpPr>
              <p:cNvPr id="1103" name="Graphic 3">
                <a:extLst>
                  <a:ext uri="{FF2B5EF4-FFF2-40B4-BE49-F238E27FC236}">
                    <a16:creationId xmlns:a16="http://schemas.microsoft.com/office/drawing/2014/main" id="{F0071E04-9556-47DB-8799-E8B9AE022467}"/>
                  </a:ext>
                </a:extLst>
              </p:cNvPr>
              <p:cNvGrpSpPr/>
              <p:nvPr/>
            </p:nvGrpSpPr>
            <p:grpSpPr>
              <a:xfrm>
                <a:off x="4700260" y="4607766"/>
                <a:ext cx="127369" cy="124222"/>
                <a:chOff x="4700260" y="4607766"/>
                <a:chExt cx="127369" cy="124222"/>
              </a:xfrm>
              <a:grpFill/>
            </p:grpSpPr>
            <p:sp>
              <p:nvSpPr>
                <p:cNvPr id="2091" name="Vrije vorm: vorm 2090">
                  <a:extLst>
                    <a:ext uri="{FF2B5EF4-FFF2-40B4-BE49-F238E27FC236}">
                      <a16:creationId xmlns:a16="http://schemas.microsoft.com/office/drawing/2014/main" id="{8FCD858D-9016-4255-8231-4D7EB97E4955}"/>
                    </a:ext>
                  </a:extLst>
                </p:cNvPr>
                <p:cNvSpPr/>
                <p:nvPr/>
              </p:nvSpPr>
              <p:spPr>
                <a:xfrm>
                  <a:off x="4708044" y="4615542"/>
                  <a:ext cx="111839" cy="108609"/>
                </a:xfrm>
                <a:custGeom>
                  <a:avLst/>
                  <a:gdLst>
                    <a:gd name="connsiteX0" fmla="*/ 111840 w 111839"/>
                    <a:gd name="connsiteY0" fmla="*/ 2213 h 108609"/>
                    <a:gd name="connsiteX1" fmla="*/ 2153 w 111839"/>
                    <a:gd name="connsiteY1" fmla="*/ 108610 h 108609"/>
                    <a:gd name="connsiteX2" fmla="*/ 0 w 111839"/>
                    <a:gd name="connsiteY2" fmla="*/ 106397 h 108609"/>
                    <a:gd name="connsiteX3" fmla="*/ 109687 w 111839"/>
                    <a:gd name="connsiteY3" fmla="*/ 0 h 108609"/>
                  </a:gdLst>
                  <a:ahLst/>
                  <a:cxnLst>
                    <a:cxn ang="0">
                      <a:pos x="connsiteX0" y="connsiteY0"/>
                    </a:cxn>
                    <a:cxn ang="0">
                      <a:pos x="connsiteX1" y="connsiteY1"/>
                    </a:cxn>
                    <a:cxn ang="0">
                      <a:pos x="connsiteX2" y="connsiteY2"/>
                    </a:cxn>
                    <a:cxn ang="0">
                      <a:pos x="connsiteX3" y="connsiteY3"/>
                    </a:cxn>
                  </a:cxnLst>
                  <a:rect l="l" t="t" r="r" b="b"/>
                  <a:pathLst>
                    <a:path w="111839" h="108609">
                      <a:moveTo>
                        <a:pt x="111840" y="2213"/>
                      </a:moveTo>
                      <a:lnTo>
                        <a:pt x="2153" y="108610"/>
                      </a:lnTo>
                      <a:lnTo>
                        <a:pt x="0" y="106397"/>
                      </a:lnTo>
                      <a:lnTo>
                        <a:pt x="109687" y="0"/>
                      </a:lnTo>
                      <a:close/>
                    </a:path>
                  </a:pathLst>
                </a:custGeom>
                <a:grpFill/>
                <a:ln w="5978" cap="flat">
                  <a:noFill/>
                  <a:prstDash val="solid"/>
                  <a:miter/>
                </a:ln>
              </p:spPr>
              <p:txBody>
                <a:bodyPr rtlCol="0" anchor="ctr"/>
                <a:lstStyle/>
                <a:p>
                  <a:endParaRPr lang="en-GB"/>
                </a:p>
              </p:txBody>
            </p:sp>
            <p:sp>
              <p:nvSpPr>
                <p:cNvPr id="2092" name="Vrije vorm: vorm 2091">
                  <a:extLst>
                    <a:ext uri="{FF2B5EF4-FFF2-40B4-BE49-F238E27FC236}">
                      <a16:creationId xmlns:a16="http://schemas.microsoft.com/office/drawing/2014/main" id="{17CB255C-103B-4341-8D16-1582132306FF}"/>
                    </a:ext>
                  </a:extLst>
                </p:cNvPr>
                <p:cNvSpPr/>
                <p:nvPr/>
              </p:nvSpPr>
              <p:spPr>
                <a:xfrm>
                  <a:off x="4700260" y="4713565"/>
                  <a:ext cx="18340" cy="18423"/>
                </a:xfrm>
                <a:custGeom>
                  <a:avLst/>
                  <a:gdLst>
                    <a:gd name="connsiteX0" fmla="*/ 15559 w 18340"/>
                    <a:gd name="connsiteY0" fmla="*/ 15851 h 18423"/>
                    <a:gd name="connsiteX1" fmla="*/ 2580 w 18340"/>
                    <a:gd name="connsiteY1" fmla="*/ 15611 h 18423"/>
                    <a:gd name="connsiteX2" fmla="*/ 2760 w 18340"/>
                    <a:gd name="connsiteY2" fmla="*/ 2573 h 18423"/>
                    <a:gd name="connsiteX3" fmla="*/ 15738 w 18340"/>
                    <a:gd name="connsiteY3" fmla="*/ 2813 h 18423"/>
                    <a:gd name="connsiteX4" fmla="*/ 15559 w 18340"/>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3">
                      <a:moveTo>
                        <a:pt x="15559" y="15851"/>
                      </a:moveTo>
                      <a:cubicBezTo>
                        <a:pt x="11910" y="19379"/>
                        <a:pt x="6109" y="19260"/>
                        <a:pt x="2580" y="15611"/>
                      </a:cubicBezTo>
                      <a:cubicBezTo>
                        <a:pt x="-948" y="11963"/>
                        <a:pt x="-829" y="6102"/>
                        <a:pt x="2760" y="2573"/>
                      </a:cubicBezTo>
                      <a:cubicBezTo>
                        <a:pt x="6408" y="-955"/>
                        <a:pt x="12209" y="-836"/>
                        <a:pt x="15738" y="2813"/>
                      </a:cubicBezTo>
                      <a:cubicBezTo>
                        <a:pt x="19267" y="6461"/>
                        <a:pt x="19207" y="12322"/>
                        <a:pt x="15559" y="15851"/>
                      </a:cubicBezTo>
                      <a:close/>
                    </a:path>
                  </a:pathLst>
                </a:custGeom>
                <a:grpFill/>
                <a:ln w="5978" cap="flat">
                  <a:noFill/>
                  <a:prstDash val="solid"/>
                  <a:miter/>
                </a:ln>
              </p:spPr>
              <p:txBody>
                <a:bodyPr rtlCol="0" anchor="ctr"/>
                <a:lstStyle/>
                <a:p>
                  <a:endParaRPr lang="en-GB"/>
                </a:p>
              </p:txBody>
            </p:sp>
            <p:sp>
              <p:nvSpPr>
                <p:cNvPr id="2093" name="Vrije vorm: vorm 2092">
                  <a:extLst>
                    <a:ext uri="{FF2B5EF4-FFF2-40B4-BE49-F238E27FC236}">
                      <a16:creationId xmlns:a16="http://schemas.microsoft.com/office/drawing/2014/main" id="{CCC1B363-F100-41DD-80E9-902AAB4B5A83}"/>
                    </a:ext>
                  </a:extLst>
                </p:cNvPr>
                <p:cNvSpPr/>
                <p:nvPr/>
              </p:nvSpPr>
              <p:spPr>
                <a:xfrm>
                  <a:off x="4809267" y="4607766"/>
                  <a:ext cx="18362" cy="18424"/>
                </a:xfrm>
                <a:custGeom>
                  <a:avLst/>
                  <a:gdLst>
                    <a:gd name="connsiteX0" fmla="*/ 15581 w 18362"/>
                    <a:gd name="connsiteY0" fmla="*/ 15851 h 18424"/>
                    <a:gd name="connsiteX1" fmla="*/ 15760 w 18362"/>
                    <a:gd name="connsiteY1" fmla="*/ 2813 h 18424"/>
                    <a:gd name="connsiteX2" fmla="*/ 2782 w 18362"/>
                    <a:gd name="connsiteY2" fmla="*/ 2573 h 18424"/>
                    <a:gd name="connsiteX3" fmla="*/ 2602 w 18362"/>
                    <a:gd name="connsiteY3" fmla="*/ 15611 h 18424"/>
                    <a:gd name="connsiteX4" fmla="*/ 15581 w 18362"/>
                    <a:gd name="connsiteY4" fmla="*/ 15851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15581" y="15851"/>
                      </a:moveTo>
                      <a:cubicBezTo>
                        <a:pt x="19229" y="12322"/>
                        <a:pt x="19289" y="6521"/>
                        <a:pt x="15760" y="2813"/>
                      </a:cubicBezTo>
                      <a:cubicBezTo>
                        <a:pt x="12231" y="-836"/>
                        <a:pt x="6430" y="-955"/>
                        <a:pt x="2782" y="2573"/>
                      </a:cubicBezTo>
                      <a:cubicBezTo>
                        <a:pt x="-866" y="6102"/>
                        <a:pt x="-926" y="11903"/>
                        <a:pt x="2602" y="15611"/>
                      </a:cubicBezTo>
                      <a:cubicBezTo>
                        <a:pt x="6131" y="19260"/>
                        <a:pt x="11932" y="19379"/>
                        <a:pt x="15581" y="15851"/>
                      </a:cubicBezTo>
                      <a:close/>
                    </a:path>
                  </a:pathLst>
                </a:custGeom>
                <a:grpFill/>
                <a:ln w="5978" cap="flat">
                  <a:noFill/>
                  <a:prstDash val="solid"/>
                  <a:miter/>
                </a:ln>
              </p:spPr>
              <p:txBody>
                <a:bodyPr rtlCol="0" anchor="ctr"/>
                <a:lstStyle/>
                <a:p>
                  <a:endParaRPr lang="en-GB"/>
                </a:p>
              </p:txBody>
            </p:sp>
          </p:grpSp>
          <p:grpSp>
            <p:nvGrpSpPr>
              <p:cNvPr id="1104" name="Graphic 3">
                <a:extLst>
                  <a:ext uri="{FF2B5EF4-FFF2-40B4-BE49-F238E27FC236}">
                    <a16:creationId xmlns:a16="http://schemas.microsoft.com/office/drawing/2014/main" id="{74D92BB4-D5F6-4C63-A738-DCF792A63986}"/>
                  </a:ext>
                </a:extLst>
              </p:cNvPr>
              <p:cNvGrpSpPr/>
              <p:nvPr/>
            </p:nvGrpSpPr>
            <p:grpSpPr>
              <a:xfrm>
                <a:off x="3899430" y="2119426"/>
                <a:ext cx="26056" cy="23090"/>
                <a:chOff x="3899430" y="2119426"/>
                <a:chExt cx="26056" cy="23090"/>
              </a:xfrm>
              <a:grpFill/>
            </p:grpSpPr>
            <p:sp>
              <p:nvSpPr>
                <p:cNvPr id="2088" name="Vrije vorm: vorm 2087">
                  <a:extLst>
                    <a:ext uri="{FF2B5EF4-FFF2-40B4-BE49-F238E27FC236}">
                      <a16:creationId xmlns:a16="http://schemas.microsoft.com/office/drawing/2014/main" id="{10BE8330-722C-48BF-A9C7-6C1DBB24C216}"/>
                    </a:ext>
                  </a:extLst>
                </p:cNvPr>
                <p:cNvSpPr/>
                <p:nvPr/>
              </p:nvSpPr>
              <p:spPr>
                <a:xfrm>
                  <a:off x="3907464" y="2127084"/>
                  <a:ext cx="10047" cy="7715"/>
                </a:xfrm>
                <a:custGeom>
                  <a:avLst/>
                  <a:gdLst>
                    <a:gd name="connsiteX0" fmla="*/ 10048 w 10047"/>
                    <a:gd name="connsiteY0" fmla="*/ 5084 h 7715"/>
                    <a:gd name="connsiteX1" fmla="*/ 8493 w 10047"/>
                    <a:gd name="connsiteY1" fmla="*/ 7715 h 7715"/>
                    <a:gd name="connsiteX2" fmla="*/ 0 w 10047"/>
                    <a:gd name="connsiteY2" fmla="*/ 2632 h 7715"/>
                    <a:gd name="connsiteX3" fmla="*/ 1555 w 10047"/>
                    <a:gd name="connsiteY3" fmla="*/ 0 h 7715"/>
                  </a:gdLst>
                  <a:ahLst/>
                  <a:cxnLst>
                    <a:cxn ang="0">
                      <a:pos x="connsiteX0" y="connsiteY0"/>
                    </a:cxn>
                    <a:cxn ang="0">
                      <a:pos x="connsiteX1" y="connsiteY1"/>
                    </a:cxn>
                    <a:cxn ang="0">
                      <a:pos x="connsiteX2" y="connsiteY2"/>
                    </a:cxn>
                    <a:cxn ang="0">
                      <a:pos x="connsiteX3" y="connsiteY3"/>
                    </a:cxn>
                  </a:cxnLst>
                  <a:rect l="l" t="t" r="r" b="b"/>
                  <a:pathLst>
                    <a:path w="10047" h="7715">
                      <a:moveTo>
                        <a:pt x="10048" y="5084"/>
                      </a:moveTo>
                      <a:lnTo>
                        <a:pt x="8493" y="7715"/>
                      </a:lnTo>
                      <a:lnTo>
                        <a:pt x="0" y="2632"/>
                      </a:lnTo>
                      <a:lnTo>
                        <a:pt x="1555" y="0"/>
                      </a:lnTo>
                      <a:close/>
                    </a:path>
                  </a:pathLst>
                </a:custGeom>
                <a:grpFill/>
                <a:ln w="5978" cap="flat">
                  <a:noFill/>
                  <a:prstDash val="solid"/>
                  <a:miter/>
                </a:ln>
              </p:spPr>
              <p:txBody>
                <a:bodyPr rtlCol="0" anchor="ctr"/>
                <a:lstStyle/>
                <a:p>
                  <a:endParaRPr lang="en-GB"/>
                </a:p>
              </p:txBody>
            </p:sp>
            <p:sp>
              <p:nvSpPr>
                <p:cNvPr id="2089" name="Vrije vorm: vorm 2088">
                  <a:extLst>
                    <a:ext uri="{FF2B5EF4-FFF2-40B4-BE49-F238E27FC236}">
                      <a16:creationId xmlns:a16="http://schemas.microsoft.com/office/drawing/2014/main" id="{C1F6D55E-3A77-4D80-B359-F62E477CE24B}"/>
                    </a:ext>
                  </a:extLst>
                </p:cNvPr>
                <p:cNvSpPr/>
                <p:nvPr/>
              </p:nvSpPr>
              <p:spPr>
                <a:xfrm>
                  <a:off x="3899430" y="2119426"/>
                  <a:ext cx="18341" cy="18425"/>
                </a:xfrm>
                <a:custGeom>
                  <a:avLst/>
                  <a:gdLst>
                    <a:gd name="connsiteX0" fmla="*/ 4505 w 18341"/>
                    <a:gd name="connsiteY0" fmla="*/ 17108 h 18425"/>
                    <a:gd name="connsiteX1" fmla="*/ 1276 w 18341"/>
                    <a:gd name="connsiteY1" fmla="*/ 4488 h 18425"/>
                    <a:gd name="connsiteX2" fmla="*/ 13835 w 18341"/>
                    <a:gd name="connsiteY2" fmla="*/ 1318 h 18425"/>
                    <a:gd name="connsiteX3" fmla="*/ 17065 w 18341"/>
                    <a:gd name="connsiteY3" fmla="*/ 13938 h 18425"/>
                    <a:gd name="connsiteX4" fmla="*/ 4505 w 1834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4505" y="17108"/>
                      </a:moveTo>
                      <a:cubicBezTo>
                        <a:pt x="140" y="14476"/>
                        <a:pt x="-1296" y="8854"/>
                        <a:pt x="1276" y="4488"/>
                      </a:cubicBezTo>
                      <a:cubicBezTo>
                        <a:pt x="3848" y="122"/>
                        <a:pt x="9470" y="-1313"/>
                        <a:pt x="13835" y="1318"/>
                      </a:cubicBezTo>
                      <a:cubicBezTo>
                        <a:pt x="18202" y="3950"/>
                        <a:pt x="19637" y="9572"/>
                        <a:pt x="17065" y="13938"/>
                      </a:cubicBezTo>
                      <a:cubicBezTo>
                        <a:pt x="14493" y="18304"/>
                        <a:pt x="8872" y="19739"/>
                        <a:pt x="4505" y="17108"/>
                      </a:cubicBezTo>
                      <a:close/>
                    </a:path>
                  </a:pathLst>
                </a:custGeom>
                <a:grpFill/>
                <a:ln w="5978" cap="flat">
                  <a:noFill/>
                  <a:prstDash val="solid"/>
                  <a:miter/>
                </a:ln>
              </p:spPr>
              <p:txBody>
                <a:bodyPr rtlCol="0" anchor="ctr"/>
                <a:lstStyle/>
                <a:p>
                  <a:endParaRPr lang="en-GB"/>
                </a:p>
              </p:txBody>
            </p:sp>
            <p:sp>
              <p:nvSpPr>
                <p:cNvPr id="2090" name="Vrije vorm: vorm 2089">
                  <a:extLst>
                    <a:ext uri="{FF2B5EF4-FFF2-40B4-BE49-F238E27FC236}">
                      <a16:creationId xmlns:a16="http://schemas.microsoft.com/office/drawing/2014/main" id="{A0E93285-460E-43DF-B285-C8174CD00872}"/>
                    </a:ext>
                  </a:extLst>
                </p:cNvPr>
                <p:cNvSpPr/>
                <p:nvPr/>
              </p:nvSpPr>
              <p:spPr>
                <a:xfrm>
                  <a:off x="3907185" y="2124091"/>
                  <a:ext cx="18301" cy="18425"/>
                </a:xfrm>
                <a:custGeom>
                  <a:avLst/>
                  <a:gdLst>
                    <a:gd name="connsiteX0" fmla="*/ 4466 w 18301"/>
                    <a:gd name="connsiteY0" fmla="*/ 17108 h 18425"/>
                    <a:gd name="connsiteX1" fmla="*/ 17025 w 18301"/>
                    <a:gd name="connsiteY1" fmla="*/ 13938 h 18425"/>
                    <a:gd name="connsiteX2" fmla="*/ 13796 w 18301"/>
                    <a:gd name="connsiteY2" fmla="*/ 1318 h 18425"/>
                    <a:gd name="connsiteX3" fmla="*/ 1236 w 18301"/>
                    <a:gd name="connsiteY3" fmla="*/ 4488 h 18425"/>
                    <a:gd name="connsiteX4" fmla="*/ 4466 w 1830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5">
                      <a:moveTo>
                        <a:pt x="4466" y="17108"/>
                      </a:moveTo>
                      <a:cubicBezTo>
                        <a:pt x="8832" y="19739"/>
                        <a:pt x="14453" y="18304"/>
                        <a:pt x="17025" y="13938"/>
                      </a:cubicBezTo>
                      <a:cubicBezTo>
                        <a:pt x="19597" y="9572"/>
                        <a:pt x="18161" y="3890"/>
                        <a:pt x="13796" y="1318"/>
                      </a:cubicBezTo>
                      <a:cubicBezTo>
                        <a:pt x="9430" y="-1313"/>
                        <a:pt x="3808" y="122"/>
                        <a:pt x="1236" y="4488"/>
                      </a:cubicBezTo>
                      <a:cubicBezTo>
                        <a:pt x="-1276" y="8794"/>
                        <a:pt x="159" y="14476"/>
                        <a:pt x="4466" y="17108"/>
                      </a:cubicBezTo>
                      <a:close/>
                    </a:path>
                  </a:pathLst>
                </a:custGeom>
                <a:grpFill/>
                <a:ln w="5978" cap="flat">
                  <a:noFill/>
                  <a:prstDash val="solid"/>
                  <a:miter/>
                </a:ln>
              </p:spPr>
              <p:txBody>
                <a:bodyPr rtlCol="0" anchor="ctr"/>
                <a:lstStyle/>
                <a:p>
                  <a:endParaRPr lang="en-GB"/>
                </a:p>
              </p:txBody>
            </p:sp>
          </p:grpSp>
          <p:grpSp>
            <p:nvGrpSpPr>
              <p:cNvPr id="1105" name="Graphic 3">
                <a:extLst>
                  <a:ext uri="{FF2B5EF4-FFF2-40B4-BE49-F238E27FC236}">
                    <a16:creationId xmlns:a16="http://schemas.microsoft.com/office/drawing/2014/main" id="{935828BE-2DA6-4C7B-A006-C03D51323646}"/>
                  </a:ext>
                </a:extLst>
              </p:cNvPr>
              <p:cNvGrpSpPr/>
              <p:nvPr/>
            </p:nvGrpSpPr>
            <p:grpSpPr>
              <a:xfrm>
                <a:off x="4792625" y="4878898"/>
                <a:ext cx="107412" cy="130988"/>
                <a:chOff x="4792625" y="4878898"/>
                <a:chExt cx="107412" cy="130988"/>
              </a:xfrm>
              <a:grpFill/>
            </p:grpSpPr>
            <p:sp>
              <p:nvSpPr>
                <p:cNvPr id="2085" name="Vrije vorm: vorm 2084">
                  <a:extLst>
                    <a:ext uri="{FF2B5EF4-FFF2-40B4-BE49-F238E27FC236}">
                      <a16:creationId xmlns:a16="http://schemas.microsoft.com/office/drawing/2014/main" id="{5467C3BB-25B0-4CB8-B601-A08CBAE40E19}"/>
                    </a:ext>
                  </a:extLst>
                </p:cNvPr>
                <p:cNvSpPr/>
                <p:nvPr/>
              </p:nvSpPr>
              <p:spPr>
                <a:xfrm>
                  <a:off x="4800266" y="4886708"/>
                  <a:ext cx="92103" cy="115248"/>
                </a:xfrm>
                <a:custGeom>
                  <a:avLst/>
                  <a:gdLst>
                    <a:gd name="connsiteX0" fmla="*/ 92103 w 92103"/>
                    <a:gd name="connsiteY0" fmla="*/ 1914 h 115248"/>
                    <a:gd name="connsiteX1" fmla="*/ 2392 w 92103"/>
                    <a:gd name="connsiteY1" fmla="*/ 115249 h 115248"/>
                    <a:gd name="connsiteX2" fmla="*/ 0 w 92103"/>
                    <a:gd name="connsiteY2" fmla="*/ 113395 h 115248"/>
                    <a:gd name="connsiteX3" fmla="*/ 89711 w 92103"/>
                    <a:gd name="connsiteY3" fmla="*/ 0 h 115248"/>
                  </a:gdLst>
                  <a:ahLst/>
                  <a:cxnLst>
                    <a:cxn ang="0">
                      <a:pos x="connsiteX0" y="connsiteY0"/>
                    </a:cxn>
                    <a:cxn ang="0">
                      <a:pos x="connsiteX1" y="connsiteY1"/>
                    </a:cxn>
                    <a:cxn ang="0">
                      <a:pos x="connsiteX2" y="connsiteY2"/>
                    </a:cxn>
                    <a:cxn ang="0">
                      <a:pos x="connsiteX3" y="connsiteY3"/>
                    </a:cxn>
                  </a:cxnLst>
                  <a:rect l="l" t="t" r="r" b="b"/>
                  <a:pathLst>
                    <a:path w="92103" h="115248">
                      <a:moveTo>
                        <a:pt x="92103" y="1914"/>
                      </a:moveTo>
                      <a:lnTo>
                        <a:pt x="2392" y="115249"/>
                      </a:lnTo>
                      <a:lnTo>
                        <a:pt x="0" y="113395"/>
                      </a:lnTo>
                      <a:lnTo>
                        <a:pt x="89711" y="0"/>
                      </a:lnTo>
                      <a:close/>
                    </a:path>
                  </a:pathLst>
                </a:custGeom>
                <a:grpFill/>
                <a:ln w="5978" cap="flat">
                  <a:noFill/>
                  <a:prstDash val="solid"/>
                  <a:miter/>
                </a:ln>
              </p:spPr>
              <p:txBody>
                <a:bodyPr rtlCol="0" anchor="ctr"/>
                <a:lstStyle/>
                <a:p>
                  <a:endParaRPr lang="en-GB"/>
                </a:p>
              </p:txBody>
            </p:sp>
            <p:sp>
              <p:nvSpPr>
                <p:cNvPr id="2086" name="Vrije vorm: vorm 2085">
                  <a:extLst>
                    <a:ext uri="{FF2B5EF4-FFF2-40B4-BE49-F238E27FC236}">
                      <a16:creationId xmlns:a16="http://schemas.microsoft.com/office/drawing/2014/main" id="{24A0207B-B716-4323-BD18-42B2B2253CB8}"/>
                    </a:ext>
                  </a:extLst>
                </p:cNvPr>
                <p:cNvSpPr/>
                <p:nvPr/>
              </p:nvSpPr>
              <p:spPr>
                <a:xfrm>
                  <a:off x="4792625" y="4991455"/>
                  <a:ext cx="18274" cy="18430"/>
                </a:xfrm>
                <a:custGeom>
                  <a:avLst/>
                  <a:gdLst>
                    <a:gd name="connsiteX0" fmla="*/ 16314 w 18274"/>
                    <a:gd name="connsiteY0" fmla="*/ 14987 h 18430"/>
                    <a:gd name="connsiteX1" fmla="*/ 3455 w 18274"/>
                    <a:gd name="connsiteY1" fmla="*/ 16422 h 18430"/>
                    <a:gd name="connsiteX2" fmla="*/ 1960 w 18274"/>
                    <a:gd name="connsiteY2" fmla="*/ 3444 h 18430"/>
                    <a:gd name="connsiteX3" fmla="*/ 14819 w 18274"/>
                    <a:gd name="connsiteY3" fmla="*/ 2009 h 18430"/>
                    <a:gd name="connsiteX4" fmla="*/ 16314 w 18274"/>
                    <a:gd name="connsiteY4" fmla="*/ 149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30">
                      <a:moveTo>
                        <a:pt x="16314" y="14987"/>
                      </a:moveTo>
                      <a:cubicBezTo>
                        <a:pt x="13144" y="18934"/>
                        <a:pt x="7403" y="19592"/>
                        <a:pt x="3455" y="16422"/>
                      </a:cubicBezTo>
                      <a:cubicBezTo>
                        <a:pt x="-492" y="13252"/>
                        <a:pt x="-1150" y="7451"/>
                        <a:pt x="1960" y="3444"/>
                      </a:cubicBezTo>
                      <a:cubicBezTo>
                        <a:pt x="5130" y="-503"/>
                        <a:pt x="10872" y="-1161"/>
                        <a:pt x="14819" y="2009"/>
                      </a:cubicBezTo>
                      <a:cubicBezTo>
                        <a:pt x="18766" y="5178"/>
                        <a:pt x="19424" y="10980"/>
                        <a:pt x="16314" y="14987"/>
                      </a:cubicBezTo>
                      <a:close/>
                    </a:path>
                  </a:pathLst>
                </a:custGeom>
                <a:grpFill/>
                <a:ln w="5978" cap="flat">
                  <a:noFill/>
                  <a:prstDash val="solid"/>
                  <a:miter/>
                </a:ln>
              </p:spPr>
              <p:txBody>
                <a:bodyPr rtlCol="0" anchor="ctr"/>
                <a:lstStyle/>
                <a:p>
                  <a:endParaRPr lang="en-GB"/>
                </a:p>
              </p:txBody>
            </p:sp>
            <p:sp>
              <p:nvSpPr>
                <p:cNvPr id="2087" name="Vrije vorm: vorm 2086">
                  <a:extLst>
                    <a:ext uri="{FF2B5EF4-FFF2-40B4-BE49-F238E27FC236}">
                      <a16:creationId xmlns:a16="http://schemas.microsoft.com/office/drawing/2014/main" id="{95C17A28-3358-41A1-B41E-3D41FF0455A7}"/>
                    </a:ext>
                  </a:extLst>
                </p:cNvPr>
                <p:cNvSpPr/>
                <p:nvPr/>
              </p:nvSpPr>
              <p:spPr>
                <a:xfrm>
                  <a:off x="4881712" y="4878898"/>
                  <a:ext cx="18324" cy="18371"/>
                </a:xfrm>
                <a:custGeom>
                  <a:avLst/>
                  <a:gdLst>
                    <a:gd name="connsiteX0" fmla="*/ 16339 w 18324"/>
                    <a:gd name="connsiteY0" fmla="*/ 14927 h 18371"/>
                    <a:gd name="connsiteX1" fmla="*/ 14844 w 18324"/>
                    <a:gd name="connsiteY1" fmla="*/ 2009 h 18371"/>
                    <a:gd name="connsiteX2" fmla="*/ 1985 w 18324"/>
                    <a:gd name="connsiteY2" fmla="*/ 3444 h 18371"/>
                    <a:gd name="connsiteX3" fmla="*/ 3481 w 18324"/>
                    <a:gd name="connsiteY3" fmla="*/ 16362 h 18371"/>
                    <a:gd name="connsiteX4" fmla="*/ 16339 w 18324"/>
                    <a:gd name="connsiteY4" fmla="*/ 14927 h 1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71">
                      <a:moveTo>
                        <a:pt x="16339" y="14927"/>
                      </a:moveTo>
                      <a:cubicBezTo>
                        <a:pt x="19509" y="10980"/>
                        <a:pt x="18791" y="5178"/>
                        <a:pt x="14844" y="2009"/>
                      </a:cubicBezTo>
                      <a:cubicBezTo>
                        <a:pt x="10897" y="-1161"/>
                        <a:pt x="5095" y="-503"/>
                        <a:pt x="1985" y="3444"/>
                      </a:cubicBezTo>
                      <a:cubicBezTo>
                        <a:pt x="-1184" y="7391"/>
                        <a:pt x="-467" y="13193"/>
                        <a:pt x="3481" y="16362"/>
                      </a:cubicBezTo>
                      <a:cubicBezTo>
                        <a:pt x="7428" y="19532"/>
                        <a:pt x="13229" y="18875"/>
                        <a:pt x="16339" y="14927"/>
                      </a:cubicBezTo>
                      <a:close/>
                    </a:path>
                  </a:pathLst>
                </a:custGeom>
                <a:grpFill/>
                <a:ln w="5978" cap="flat">
                  <a:noFill/>
                  <a:prstDash val="solid"/>
                  <a:miter/>
                </a:ln>
              </p:spPr>
              <p:txBody>
                <a:bodyPr rtlCol="0" anchor="ctr"/>
                <a:lstStyle/>
                <a:p>
                  <a:endParaRPr lang="en-GB"/>
                </a:p>
              </p:txBody>
            </p:sp>
          </p:grpSp>
          <p:grpSp>
            <p:nvGrpSpPr>
              <p:cNvPr id="1106" name="Graphic 3">
                <a:extLst>
                  <a:ext uri="{FF2B5EF4-FFF2-40B4-BE49-F238E27FC236}">
                    <a16:creationId xmlns:a16="http://schemas.microsoft.com/office/drawing/2014/main" id="{1B0CB438-020F-4603-BC3B-1FC44184EEE4}"/>
                  </a:ext>
                </a:extLst>
              </p:cNvPr>
              <p:cNvGrpSpPr/>
              <p:nvPr/>
            </p:nvGrpSpPr>
            <p:grpSpPr>
              <a:xfrm>
                <a:off x="4084048" y="2805069"/>
                <a:ext cx="113350" cy="47584"/>
                <a:chOff x="4084048" y="2805069"/>
                <a:chExt cx="113350" cy="47584"/>
              </a:xfrm>
              <a:grpFill/>
            </p:grpSpPr>
            <p:sp>
              <p:nvSpPr>
                <p:cNvPr id="2082" name="Vrije vorm: vorm 2081">
                  <a:extLst>
                    <a:ext uri="{FF2B5EF4-FFF2-40B4-BE49-F238E27FC236}">
                      <a16:creationId xmlns:a16="http://schemas.microsoft.com/office/drawing/2014/main" id="{75FB8268-BC56-40D3-A47B-D0AACB07F1EB}"/>
                    </a:ext>
                  </a:extLst>
                </p:cNvPr>
                <p:cNvSpPr/>
                <p:nvPr/>
              </p:nvSpPr>
              <p:spPr>
                <a:xfrm>
                  <a:off x="4092328" y="2812654"/>
                  <a:ext cx="96768" cy="32415"/>
                </a:xfrm>
                <a:custGeom>
                  <a:avLst/>
                  <a:gdLst>
                    <a:gd name="connsiteX0" fmla="*/ 96768 w 96768"/>
                    <a:gd name="connsiteY0" fmla="*/ 29485 h 32415"/>
                    <a:gd name="connsiteX1" fmla="*/ 95871 w 96768"/>
                    <a:gd name="connsiteY1" fmla="*/ 32415 h 32415"/>
                    <a:gd name="connsiteX2" fmla="*/ 0 w 96768"/>
                    <a:gd name="connsiteY2" fmla="*/ 2930 h 32415"/>
                    <a:gd name="connsiteX3" fmla="*/ 837 w 96768"/>
                    <a:gd name="connsiteY3" fmla="*/ 0 h 32415"/>
                  </a:gdLst>
                  <a:ahLst/>
                  <a:cxnLst>
                    <a:cxn ang="0">
                      <a:pos x="connsiteX0" y="connsiteY0"/>
                    </a:cxn>
                    <a:cxn ang="0">
                      <a:pos x="connsiteX1" y="connsiteY1"/>
                    </a:cxn>
                    <a:cxn ang="0">
                      <a:pos x="connsiteX2" y="connsiteY2"/>
                    </a:cxn>
                    <a:cxn ang="0">
                      <a:pos x="connsiteX3" y="connsiteY3"/>
                    </a:cxn>
                  </a:cxnLst>
                  <a:rect l="l" t="t" r="r" b="b"/>
                  <a:pathLst>
                    <a:path w="96768" h="32415">
                      <a:moveTo>
                        <a:pt x="96768" y="29485"/>
                      </a:moveTo>
                      <a:lnTo>
                        <a:pt x="95871" y="32415"/>
                      </a:lnTo>
                      <a:lnTo>
                        <a:pt x="0" y="2930"/>
                      </a:lnTo>
                      <a:lnTo>
                        <a:pt x="837" y="0"/>
                      </a:lnTo>
                      <a:close/>
                    </a:path>
                  </a:pathLst>
                </a:custGeom>
                <a:grpFill/>
                <a:ln w="5978" cap="flat">
                  <a:noFill/>
                  <a:prstDash val="solid"/>
                  <a:miter/>
                </a:ln>
              </p:spPr>
              <p:txBody>
                <a:bodyPr rtlCol="0" anchor="ctr"/>
                <a:lstStyle/>
                <a:p>
                  <a:endParaRPr lang="en-GB"/>
                </a:p>
              </p:txBody>
            </p:sp>
            <p:sp>
              <p:nvSpPr>
                <p:cNvPr id="2083" name="Vrije vorm: vorm 2082">
                  <a:extLst>
                    <a:ext uri="{FF2B5EF4-FFF2-40B4-BE49-F238E27FC236}">
                      <a16:creationId xmlns:a16="http://schemas.microsoft.com/office/drawing/2014/main" id="{9144B373-66A5-4121-B512-E5640000F964}"/>
                    </a:ext>
                  </a:extLst>
                </p:cNvPr>
                <p:cNvSpPr/>
                <p:nvPr/>
              </p:nvSpPr>
              <p:spPr>
                <a:xfrm>
                  <a:off x="4179060" y="2834255"/>
                  <a:ext cx="18338" cy="18398"/>
                </a:xfrm>
                <a:custGeom>
                  <a:avLst/>
                  <a:gdLst>
                    <a:gd name="connsiteX0" fmla="*/ 11831 w 18338"/>
                    <a:gd name="connsiteY0" fmla="*/ 407 h 18398"/>
                    <a:gd name="connsiteX1" fmla="*/ 17931 w 18338"/>
                    <a:gd name="connsiteY1" fmla="*/ 11890 h 18398"/>
                    <a:gd name="connsiteX2" fmla="*/ 6508 w 18338"/>
                    <a:gd name="connsiteY2" fmla="*/ 17991 h 18398"/>
                    <a:gd name="connsiteX3" fmla="*/ 407 w 18338"/>
                    <a:gd name="connsiteY3" fmla="*/ 6508 h 18398"/>
                    <a:gd name="connsiteX4" fmla="*/ 11831 w 18338"/>
                    <a:gd name="connsiteY4" fmla="*/ 407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11831" y="407"/>
                      </a:moveTo>
                      <a:cubicBezTo>
                        <a:pt x="16675" y="1903"/>
                        <a:pt x="19426" y="7046"/>
                        <a:pt x="17931" y="11890"/>
                      </a:cubicBezTo>
                      <a:cubicBezTo>
                        <a:pt x="16496" y="16735"/>
                        <a:pt x="11352" y="19486"/>
                        <a:pt x="6508" y="17991"/>
                      </a:cubicBezTo>
                      <a:cubicBezTo>
                        <a:pt x="1664" y="16496"/>
                        <a:pt x="-1088" y="11352"/>
                        <a:pt x="407" y="6508"/>
                      </a:cubicBezTo>
                      <a:cubicBezTo>
                        <a:pt x="1843" y="1663"/>
                        <a:pt x="6986" y="-1088"/>
                        <a:pt x="11831" y="407"/>
                      </a:cubicBezTo>
                      <a:close/>
                    </a:path>
                  </a:pathLst>
                </a:custGeom>
                <a:grpFill/>
                <a:ln w="5978" cap="flat">
                  <a:noFill/>
                  <a:prstDash val="solid"/>
                  <a:miter/>
                </a:ln>
              </p:spPr>
              <p:txBody>
                <a:bodyPr rtlCol="0" anchor="ctr"/>
                <a:lstStyle/>
                <a:p>
                  <a:endParaRPr lang="en-GB"/>
                </a:p>
              </p:txBody>
            </p:sp>
            <p:sp>
              <p:nvSpPr>
                <p:cNvPr id="2084" name="Vrije vorm: vorm 2083">
                  <a:extLst>
                    <a:ext uri="{FF2B5EF4-FFF2-40B4-BE49-F238E27FC236}">
                      <a16:creationId xmlns:a16="http://schemas.microsoft.com/office/drawing/2014/main" id="{B1EED4F2-C266-4B20-AFD3-02C80025A7CB}"/>
                    </a:ext>
                  </a:extLst>
                </p:cNvPr>
                <p:cNvSpPr/>
                <p:nvPr/>
              </p:nvSpPr>
              <p:spPr>
                <a:xfrm>
                  <a:off x="4084048" y="2805069"/>
                  <a:ext cx="18316" cy="18398"/>
                </a:xfrm>
                <a:custGeom>
                  <a:avLst/>
                  <a:gdLst>
                    <a:gd name="connsiteX0" fmla="*/ 11809 w 18316"/>
                    <a:gd name="connsiteY0" fmla="*/ 407 h 18398"/>
                    <a:gd name="connsiteX1" fmla="*/ 386 w 18316"/>
                    <a:gd name="connsiteY1" fmla="*/ 6508 h 18398"/>
                    <a:gd name="connsiteX2" fmla="*/ 6486 w 18316"/>
                    <a:gd name="connsiteY2" fmla="*/ 17991 h 18398"/>
                    <a:gd name="connsiteX3" fmla="*/ 17909 w 18316"/>
                    <a:gd name="connsiteY3" fmla="*/ 11890 h 18398"/>
                    <a:gd name="connsiteX4" fmla="*/ 11809 w 18316"/>
                    <a:gd name="connsiteY4" fmla="*/ 407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8">
                      <a:moveTo>
                        <a:pt x="11809" y="407"/>
                      </a:moveTo>
                      <a:cubicBezTo>
                        <a:pt x="6965" y="-1088"/>
                        <a:pt x="1821" y="1663"/>
                        <a:pt x="386" y="6508"/>
                      </a:cubicBezTo>
                      <a:cubicBezTo>
                        <a:pt x="-1050" y="11352"/>
                        <a:pt x="1642" y="16496"/>
                        <a:pt x="6486" y="17991"/>
                      </a:cubicBezTo>
                      <a:cubicBezTo>
                        <a:pt x="11330" y="19486"/>
                        <a:pt x="16474" y="16735"/>
                        <a:pt x="17909" y="11890"/>
                      </a:cubicBezTo>
                      <a:cubicBezTo>
                        <a:pt x="19404" y="7046"/>
                        <a:pt x="16653" y="1903"/>
                        <a:pt x="11809" y="407"/>
                      </a:cubicBezTo>
                      <a:close/>
                    </a:path>
                  </a:pathLst>
                </a:custGeom>
                <a:grpFill/>
                <a:ln w="5978" cap="flat">
                  <a:noFill/>
                  <a:prstDash val="solid"/>
                  <a:miter/>
                </a:ln>
              </p:spPr>
              <p:txBody>
                <a:bodyPr rtlCol="0" anchor="ctr"/>
                <a:lstStyle/>
                <a:p>
                  <a:endParaRPr lang="en-GB"/>
                </a:p>
              </p:txBody>
            </p:sp>
          </p:grpSp>
          <p:grpSp>
            <p:nvGrpSpPr>
              <p:cNvPr id="1107" name="Graphic 3">
                <a:extLst>
                  <a:ext uri="{FF2B5EF4-FFF2-40B4-BE49-F238E27FC236}">
                    <a16:creationId xmlns:a16="http://schemas.microsoft.com/office/drawing/2014/main" id="{47D34840-D82C-4A9D-B6F6-9AEE10442D36}"/>
                  </a:ext>
                </a:extLst>
              </p:cNvPr>
              <p:cNvGrpSpPr/>
              <p:nvPr/>
            </p:nvGrpSpPr>
            <p:grpSpPr>
              <a:xfrm>
                <a:off x="3999669" y="2651304"/>
                <a:ext cx="176408" cy="76867"/>
                <a:chOff x="3999669" y="2651304"/>
                <a:chExt cx="176408" cy="76867"/>
              </a:xfrm>
              <a:grpFill/>
            </p:grpSpPr>
            <p:sp>
              <p:nvSpPr>
                <p:cNvPr id="2079" name="Vrije vorm: vorm 2078">
                  <a:extLst>
                    <a:ext uri="{FF2B5EF4-FFF2-40B4-BE49-F238E27FC236}">
                      <a16:creationId xmlns:a16="http://schemas.microsoft.com/office/drawing/2014/main" id="{9ADC76AD-0ECA-44E5-87EB-68FB6CB438AA}"/>
                    </a:ext>
                  </a:extLst>
                </p:cNvPr>
                <p:cNvSpPr/>
                <p:nvPr/>
              </p:nvSpPr>
              <p:spPr>
                <a:xfrm>
                  <a:off x="4007940" y="2658949"/>
                  <a:ext cx="159984" cy="61661"/>
                </a:xfrm>
                <a:custGeom>
                  <a:avLst/>
                  <a:gdLst>
                    <a:gd name="connsiteX0" fmla="*/ 159984 w 159984"/>
                    <a:gd name="connsiteY0" fmla="*/ 58731 h 61661"/>
                    <a:gd name="connsiteX1" fmla="*/ 158908 w 159984"/>
                    <a:gd name="connsiteY1" fmla="*/ 61661 h 61661"/>
                    <a:gd name="connsiteX2" fmla="*/ 0 w 159984"/>
                    <a:gd name="connsiteY2" fmla="*/ 2871 h 61661"/>
                    <a:gd name="connsiteX3" fmla="*/ 1017 w 159984"/>
                    <a:gd name="connsiteY3" fmla="*/ 0 h 61661"/>
                  </a:gdLst>
                  <a:ahLst/>
                  <a:cxnLst>
                    <a:cxn ang="0">
                      <a:pos x="connsiteX0" y="connsiteY0"/>
                    </a:cxn>
                    <a:cxn ang="0">
                      <a:pos x="connsiteX1" y="connsiteY1"/>
                    </a:cxn>
                    <a:cxn ang="0">
                      <a:pos x="connsiteX2" y="connsiteY2"/>
                    </a:cxn>
                    <a:cxn ang="0">
                      <a:pos x="connsiteX3" y="connsiteY3"/>
                    </a:cxn>
                  </a:cxnLst>
                  <a:rect l="l" t="t" r="r" b="b"/>
                  <a:pathLst>
                    <a:path w="159984" h="61661">
                      <a:moveTo>
                        <a:pt x="159984" y="58731"/>
                      </a:moveTo>
                      <a:lnTo>
                        <a:pt x="158908" y="61661"/>
                      </a:lnTo>
                      <a:lnTo>
                        <a:pt x="0" y="2871"/>
                      </a:lnTo>
                      <a:lnTo>
                        <a:pt x="1017" y="0"/>
                      </a:lnTo>
                      <a:close/>
                    </a:path>
                  </a:pathLst>
                </a:custGeom>
                <a:grpFill/>
                <a:ln w="5978" cap="flat">
                  <a:noFill/>
                  <a:prstDash val="solid"/>
                  <a:miter/>
                </a:ln>
              </p:spPr>
              <p:txBody>
                <a:bodyPr rtlCol="0" anchor="ctr"/>
                <a:lstStyle/>
                <a:p>
                  <a:endParaRPr lang="en-GB"/>
                </a:p>
              </p:txBody>
            </p:sp>
            <p:sp>
              <p:nvSpPr>
                <p:cNvPr id="2080" name="Vrije vorm: vorm 2079">
                  <a:extLst>
                    <a:ext uri="{FF2B5EF4-FFF2-40B4-BE49-F238E27FC236}">
                      <a16:creationId xmlns:a16="http://schemas.microsoft.com/office/drawing/2014/main" id="{619E4189-2CF3-455B-B201-F0B62FF875D3}"/>
                    </a:ext>
                  </a:extLst>
                </p:cNvPr>
                <p:cNvSpPr/>
                <p:nvPr/>
              </p:nvSpPr>
              <p:spPr>
                <a:xfrm>
                  <a:off x="3999669" y="2651304"/>
                  <a:ext cx="18337" cy="18460"/>
                </a:xfrm>
                <a:custGeom>
                  <a:avLst/>
                  <a:gdLst>
                    <a:gd name="connsiteX0" fmla="*/ 6059 w 18337"/>
                    <a:gd name="connsiteY0" fmla="*/ 17872 h 18460"/>
                    <a:gd name="connsiteX1" fmla="*/ 557 w 18337"/>
                    <a:gd name="connsiteY1" fmla="*/ 6031 h 18460"/>
                    <a:gd name="connsiteX2" fmla="*/ 12279 w 18337"/>
                    <a:gd name="connsiteY2" fmla="*/ 588 h 18460"/>
                    <a:gd name="connsiteX3" fmla="*/ 17781 w 18337"/>
                    <a:gd name="connsiteY3" fmla="*/ 12430 h 18460"/>
                    <a:gd name="connsiteX4" fmla="*/ 6059 w 18337"/>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60">
                      <a:moveTo>
                        <a:pt x="6059" y="17872"/>
                      </a:moveTo>
                      <a:cubicBezTo>
                        <a:pt x="1274" y="16138"/>
                        <a:pt x="-1178" y="10815"/>
                        <a:pt x="557" y="6031"/>
                      </a:cubicBezTo>
                      <a:cubicBezTo>
                        <a:pt x="2291" y="1246"/>
                        <a:pt x="7554" y="-1206"/>
                        <a:pt x="12279" y="588"/>
                      </a:cubicBezTo>
                      <a:cubicBezTo>
                        <a:pt x="17063" y="2322"/>
                        <a:pt x="19516" y="7645"/>
                        <a:pt x="17781" y="12430"/>
                      </a:cubicBezTo>
                      <a:cubicBezTo>
                        <a:pt x="16106" y="17215"/>
                        <a:pt x="10843" y="19667"/>
                        <a:pt x="6059" y="17872"/>
                      </a:cubicBezTo>
                      <a:close/>
                    </a:path>
                  </a:pathLst>
                </a:custGeom>
                <a:grpFill/>
                <a:ln w="5978" cap="flat">
                  <a:noFill/>
                  <a:prstDash val="solid"/>
                  <a:miter/>
                </a:ln>
              </p:spPr>
              <p:txBody>
                <a:bodyPr rtlCol="0" anchor="ctr"/>
                <a:lstStyle/>
                <a:p>
                  <a:endParaRPr lang="en-GB"/>
                </a:p>
              </p:txBody>
            </p:sp>
            <p:sp>
              <p:nvSpPr>
                <p:cNvPr id="2081" name="Vrije vorm: vorm 2080">
                  <a:extLst>
                    <a:ext uri="{FF2B5EF4-FFF2-40B4-BE49-F238E27FC236}">
                      <a16:creationId xmlns:a16="http://schemas.microsoft.com/office/drawing/2014/main" id="{B1E9C123-1F84-4462-9406-617D6F17EE21}"/>
                    </a:ext>
                  </a:extLst>
                </p:cNvPr>
                <p:cNvSpPr/>
                <p:nvPr/>
              </p:nvSpPr>
              <p:spPr>
                <a:xfrm>
                  <a:off x="4157769" y="2709766"/>
                  <a:ext cx="18307" cy="18405"/>
                </a:xfrm>
                <a:custGeom>
                  <a:avLst/>
                  <a:gdLst>
                    <a:gd name="connsiteX0" fmla="*/ 6029 w 18307"/>
                    <a:gd name="connsiteY0" fmla="*/ 17842 h 18405"/>
                    <a:gd name="connsiteX1" fmla="*/ 17751 w 18307"/>
                    <a:gd name="connsiteY1" fmla="*/ 12399 h 18405"/>
                    <a:gd name="connsiteX2" fmla="*/ 12248 w 18307"/>
                    <a:gd name="connsiteY2" fmla="*/ 557 h 18405"/>
                    <a:gd name="connsiteX3" fmla="*/ 526 w 18307"/>
                    <a:gd name="connsiteY3" fmla="*/ 6000 h 18405"/>
                    <a:gd name="connsiteX4" fmla="*/ 6029 w 18307"/>
                    <a:gd name="connsiteY4" fmla="*/ 1784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05">
                      <a:moveTo>
                        <a:pt x="6029" y="17842"/>
                      </a:moveTo>
                      <a:cubicBezTo>
                        <a:pt x="10813" y="19576"/>
                        <a:pt x="16016" y="17184"/>
                        <a:pt x="17751" y="12399"/>
                      </a:cubicBezTo>
                      <a:cubicBezTo>
                        <a:pt x="19485" y="7614"/>
                        <a:pt x="17033" y="2351"/>
                        <a:pt x="12248" y="557"/>
                      </a:cubicBezTo>
                      <a:cubicBezTo>
                        <a:pt x="7464" y="-1177"/>
                        <a:pt x="2261" y="1275"/>
                        <a:pt x="526" y="6000"/>
                      </a:cubicBezTo>
                      <a:cubicBezTo>
                        <a:pt x="-1148" y="10784"/>
                        <a:pt x="1304" y="16107"/>
                        <a:pt x="6029" y="17842"/>
                      </a:cubicBezTo>
                      <a:close/>
                    </a:path>
                  </a:pathLst>
                </a:custGeom>
                <a:grpFill/>
                <a:ln w="5978" cap="flat">
                  <a:noFill/>
                  <a:prstDash val="solid"/>
                  <a:miter/>
                </a:ln>
              </p:spPr>
              <p:txBody>
                <a:bodyPr rtlCol="0" anchor="ctr"/>
                <a:lstStyle/>
                <a:p>
                  <a:endParaRPr lang="en-GB"/>
                </a:p>
              </p:txBody>
            </p:sp>
          </p:grpSp>
          <p:grpSp>
            <p:nvGrpSpPr>
              <p:cNvPr id="1108" name="Graphic 3">
                <a:extLst>
                  <a:ext uri="{FF2B5EF4-FFF2-40B4-BE49-F238E27FC236}">
                    <a16:creationId xmlns:a16="http://schemas.microsoft.com/office/drawing/2014/main" id="{D2DBA687-7556-4817-BA26-F597C8A29B48}"/>
                  </a:ext>
                </a:extLst>
              </p:cNvPr>
              <p:cNvGrpSpPr/>
              <p:nvPr/>
            </p:nvGrpSpPr>
            <p:grpSpPr>
              <a:xfrm>
                <a:off x="4638958" y="4504433"/>
                <a:ext cx="160114" cy="141313"/>
                <a:chOff x="4638958" y="4504433"/>
                <a:chExt cx="160114" cy="141313"/>
              </a:xfrm>
              <a:grpFill/>
            </p:grpSpPr>
            <p:sp>
              <p:nvSpPr>
                <p:cNvPr id="2076" name="Vrije vorm: vorm 2075">
                  <a:extLst>
                    <a:ext uri="{FF2B5EF4-FFF2-40B4-BE49-F238E27FC236}">
                      <a16:creationId xmlns:a16="http://schemas.microsoft.com/office/drawing/2014/main" id="{5E440C1A-AD1B-42E1-915F-491C1B20FC0C}"/>
                    </a:ext>
                  </a:extLst>
                </p:cNvPr>
                <p:cNvSpPr/>
                <p:nvPr/>
              </p:nvSpPr>
              <p:spPr>
                <a:xfrm>
                  <a:off x="4646801" y="4512195"/>
                  <a:ext cx="144434" cy="125834"/>
                </a:xfrm>
                <a:custGeom>
                  <a:avLst/>
                  <a:gdLst>
                    <a:gd name="connsiteX0" fmla="*/ 144434 w 144434"/>
                    <a:gd name="connsiteY0" fmla="*/ 2333 h 125834"/>
                    <a:gd name="connsiteX1" fmla="*/ 1974 w 144434"/>
                    <a:gd name="connsiteY1" fmla="*/ 125834 h 125834"/>
                    <a:gd name="connsiteX2" fmla="*/ 0 w 144434"/>
                    <a:gd name="connsiteY2" fmla="*/ 123502 h 125834"/>
                    <a:gd name="connsiteX3" fmla="*/ 142461 w 144434"/>
                    <a:gd name="connsiteY3" fmla="*/ 0 h 125834"/>
                  </a:gdLst>
                  <a:ahLst/>
                  <a:cxnLst>
                    <a:cxn ang="0">
                      <a:pos x="connsiteX0" y="connsiteY0"/>
                    </a:cxn>
                    <a:cxn ang="0">
                      <a:pos x="connsiteX1" y="connsiteY1"/>
                    </a:cxn>
                    <a:cxn ang="0">
                      <a:pos x="connsiteX2" y="connsiteY2"/>
                    </a:cxn>
                    <a:cxn ang="0">
                      <a:pos x="connsiteX3" y="connsiteY3"/>
                    </a:cxn>
                  </a:cxnLst>
                  <a:rect l="l" t="t" r="r" b="b"/>
                  <a:pathLst>
                    <a:path w="144434" h="125834">
                      <a:moveTo>
                        <a:pt x="144434" y="2333"/>
                      </a:moveTo>
                      <a:lnTo>
                        <a:pt x="1974" y="125834"/>
                      </a:lnTo>
                      <a:lnTo>
                        <a:pt x="0" y="123502"/>
                      </a:lnTo>
                      <a:lnTo>
                        <a:pt x="142461" y="0"/>
                      </a:lnTo>
                      <a:close/>
                    </a:path>
                  </a:pathLst>
                </a:custGeom>
                <a:grpFill/>
                <a:ln w="5978" cap="flat">
                  <a:noFill/>
                  <a:prstDash val="solid"/>
                  <a:miter/>
                </a:ln>
              </p:spPr>
              <p:txBody>
                <a:bodyPr rtlCol="0" anchor="ctr"/>
                <a:lstStyle/>
                <a:p>
                  <a:endParaRPr lang="en-GB"/>
                </a:p>
              </p:txBody>
            </p:sp>
            <p:sp>
              <p:nvSpPr>
                <p:cNvPr id="2077" name="Vrije vorm: vorm 2076">
                  <a:extLst>
                    <a:ext uri="{FF2B5EF4-FFF2-40B4-BE49-F238E27FC236}">
                      <a16:creationId xmlns:a16="http://schemas.microsoft.com/office/drawing/2014/main" id="{2E57411A-7BA5-4353-BE82-7239D93AD002}"/>
                    </a:ext>
                  </a:extLst>
                </p:cNvPr>
                <p:cNvSpPr/>
                <p:nvPr/>
              </p:nvSpPr>
              <p:spPr>
                <a:xfrm>
                  <a:off x="4638958" y="4627382"/>
                  <a:ext cx="18301" cy="18365"/>
                </a:xfrm>
                <a:custGeom>
                  <a:avLst/>
                  <a:gdLst>
                    <a:gd name="connsiteX0" fmla="*/ 15139 w 18301"/>
                    <a:gd name="connsiteY0" fmla="*/ 16150 h 18365"/>
                    <a:gd name="connsiteX1" fmla="*/ 2221 w 18301"/>
                    <a:gd name="connsiteY1" fmla="*/ 15193 h 18365"/>
                    <a:gd name="connsiteX2" fmla="*/ 3118 w 18301"/>
                    <a:gd name="connsiteY2" fmla="*/ 2215 h 18365"/>
                    <a:gd name="connsiteX3" fmla="*/ 16036 w 18301"/>
                    <a:gd name="connsiteY3" fmla="*/ 3172 h 18365"/>
                    <a:gd name="connsiteX4" fmla="*/ 15139 w 18301"/>
                    <a:gd name="connsiteY4" fmla="*/ 1615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65">
                      <a:moveTo>
                        <a:pt x="15139" y="16150"/>
                      </a:moveTo>
                      <a:cubicBezTo>
                        <a:pt x="11312" y="19440"/>
                        <a:pt x="5510" y="19021"/>
                        <a:pt x="2221" y="15193"/>
                      </a:cubicBezTo>
                      <a:cubicBezTo>
                        <a:pt x="-1068" y="11306"/>
                        <a:pt x="-650" y="5505"/>
                        <a:pt x="3118" y="2215"/>
                      </a:cubicBezTo>
                      <a:cubicBezTo>
                        <a:pt x="6945" y="-1074"/>
                        <a:pt x="12747" y="-655"/>
                        <a:pt x="16036" y="3172"/>
                      </a:cubicBezTo>
                      <a:cubicBezTo>
                        <a:pt x="19385" y="7060"/>
                        <a:pt x="18967" y="12861"/>
                        <a:pt x="15139" y="16150"/>
                      </a:cubicBezTo>
                      <a:close/>
                    </a:path>
                  </a:pathLst>
                </a:custGeom>
                <a:grpFill/>
                <a:ln w="5978" cap="flat">
                  <a:noFill/>
                  <a:prstDash val="solid"/>
                  <a:miter/>
                </a:ln>
              </p:spPr>
              <p:txBody>
                <a:bodyPr rtlCol="0" anchor="ctr"/>
                <a:lstStyle/>
                <a:p>
                  <a:endParaRPr lang="en-GB"/>
                </a:p>
              </p:txBody>
            </p:sp>
            <p:sp>
              <p:nvSpPr>
                <p:cNvPr id="2078" name="Vrije vorm: vorm 2077">
                  <a:extLst>
                    <a:ext uri="{FF2B5EF4-FFF2-40B4-BE49-F238E27FC236}">
                      <a16:creationId xmlns:a16="http://schemas.microsoft.com/office/drawing/2014/main" id="{2EF7FDA2-D6EC-46D6-A41E-DF10070BAADE}"/>
                    </a:ext>
                  </a:extLst>
                </p:cNvPr>
                <p:cNvSpPr/>
                <p:nvPr/>
              </p:nvSpPr>
              <p:spPr>
                <a:xfrm>
                  <a:off x="4780767" y="4504433"/>
                  <a:ext cx="18306" cy="18454"/>
                </a:xfrm>
                <a:custGeom>
                  <a:avLst/>
                  <a:gdLst>
                    <a:gd name="connsiteX0" fmla="*/ 15134 w 18306"/>
                    <a:gd name="connsiteY0" fmla="*/ 16195 h 18454"/>
                    <a:gd name="connsiteX1" fmla="*/ 16091 w 18306"/>
                    <a:gd name="connsiteY1" fmla="*/ 3217 h 18454"/>
                    <a:gd name="connsiteX2" fmla="*/ 3172 w 18306"/>
                    <a:gd name="connsiteY2" fmla="*/ 2260 h 18454"/>
                    <a:gd name="connsiteX3" fmla="*/ 2216 w 18306"/>
                    <a:gd name="connsiteY3" fmla="*/ 15238 h 18454"/>
                    <a:gd name="connsiteX4" fmla="*/ 15134 w 18306"/>
                    <a:gd name="connsiteY4" fmla="*/ 16195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54">
                      <a:moveTo>
                        <a:pt x="15134" y="16195"/>
                      </a:moveTo>
                      <a:cubicBezTo>
                        <a:pt x="18961" y="12905"/>
                        <a:pt x="19380" y="7044"/>
                        <a:pt x="16091" y="3217"/>
                      </a:cubicBezTo>
                      <a:cubicBezTo>
                        <a:pt x="12801" y="-671"/>
                        <a:pt x="7000" y="-1089"/>
                        <a:pt x="3172" y="2260"/>
                      </a:cubicBezTo>
                      <a:cubicBezTo>
                        <a:pt x="-655" y="5549"/>
                        <a:pt x="-1074" y="11410"/>
                        <a:pt x="2216" y="15238"/>
                      </a:cubicBezTo>
                      <a:cubicBezTo>
                        <a:pt x="5565" y="19125"/>
                        <a:pt x="11306" y="19544"/>
                        <a:pt x="15134" y="16195"/>
                      </a:cubicBezTo>
                      <a:close/>
                    </a:path>
                  </a:pathLst>
                </a:custGeom>
                <a:grpFill/>
                <a:ln w="5978" cap="flat">
                  <a:noFill/>
                  <a:prstDash val="solid"/>
                  <a:miter/>
                </a:ln>
              </p:spPr>
              <p:txBody>
                <a:bodyPr rtlCol="0" anchor="ctr"/>
                <a:lstStyle/>
                <a:p>
                  <a:endParaRPr lang="en-GB"/>
                </a:p>
              </p:txBody>
            </p:sp>
          </p:grpSp>
          <p:grpSp>
            <p:nvGrpSpPr>
              <p:cNvPr id="1109" name="Graphic 3">
                <a:extLst>
                  <a:ext uri="{FF2B5EF4-FFF2-40B4-BE49-F238E27FC236}">
                    <a16:creationId xmlns:a16="http://schemas.microsoft.com/office/drawing/2014/main" id="{9D4CE45C-426F-4455-BA53-47BC2AB71E81}"/>
                  </a:ext>
                </a:extLst>
              </p:cNvPr>
              <p:cNvGrpSpPr/>
              <p:nvPr/>
            </p:nvGrpSpPr>
            <p:grpSpPr>
              <a:xfrm>
                <a:off x="3901667" y="2227133"/>
                <a:ext cx="80166" cy="52466"/>
                <a:chOff x="3901667" y="2227133"/>
                <a:chExt cx="80166" cy="52466"/>
              </a:xfrm>
              <a:grpFill/>
            </p:grpSpPr>
            <p:sp>
              <p:nvSpPr>
                <p:cNvPr id="2073" name="Vrije vorm: vorm 2072">
                  <a:extLst>
                    <a:ext uri="{FF2B5EF4-FFF2-40B4-BE49-F238E27FC236}">
                      <a16:creationId xmlns:a16="http://schemas.microsoft.com/office/drawing/2014/main" id="{6C134788-EC6A-4AE4-B7B1-65B1DC87F9B1}"/>
                    </a:ext>
                  </a:extLst>
                </p:cNvPr>
                <p:cNvSpPr/>
                <p:nvPr/>
              </p:nvSpPr>
              <p:spPr>
                <a:xfrm>
                  <a:off x="3909737" y="2234737"/>
                  <a:ext cx="64053" cy="37200"/>
                </a:xfrm>
                <a:custGeom>
                  <a:avLst/>
                  <a:gdLst>
                    <a:gd name="connsiteX0" fmla="*/ 64053 w 64053"/>
                    <a:gd name="connsiteY0" fmla="*/ 34509 h 37200"/>
                    <a:gd name="connsiteX1" fmla="*/ 62618 w 64053"/>
                    <a:gd name="connsiteY1" fmla="*/ 37200 h 37200"/>
                    <a:gd name="connsiteX2" fmla="*/ 0 w 64053"/>
                    <a:gd name="connsiteY2" fmla="*/ 2691 h 37200"/>
                    <a:gd name="connsiteX3" fmla="*/ 1435 w 64053"/>
                    <a:gd name="connsiteY3" fmla="*/ 0 h 37200"/>
                  </a:gdLst>
                  <a:ahLst/>
                  <a:cxnLst>
                    <a:cxn ang="0">
                      <a:pos x="connsiteX0" y="connsiteY0"/>
                    </a:cxn>
                    <a:cxn ang="0">
                      <a:pos x="connsiteX1" y="connsiteY1"/>
                    </a:cxn>
                    <a:cxn ang="0">
                      <a:pos x="connsiteX2" y="connsiteY2"/>
                    </a:cxn>
                    <a:cxn ang="0">
                      <a:pos x="connsiteX3" y="connsiteY3"/>
                    </a:cxn>
                  </a:cxnLst>
                  <a:rect l="l" t="t" r="r" b="b"/>
                  <a:pathLst>
                    <a:path w="64053" h="37200">
                      <a:moveTo>
                        <a:pt x="64053" y="34509"/>
                      </a:moveTo>
                      <a:lnTo>
                        <a:pt x="62618" y="37200"/>
                      </a:lnTo>
                      <a:lnTo>
                        <a:pt x="0" y="2691"/>
                      </a:lnTo>
                      <a:lnTo>
                        <a:pt x="1435" y="0"/>
                      </a:lnTo>
                      <a:close/>
                    </a:path>
                  </a:pathLst>
                </a:custGeom>
                <a:grpFill/>
                <a:ln w="5978" cap="flat">
                  <a:noFill/>
                  <a:prstDash val="solid"/>
                  <a:miter/>
                </a:ln>
              </p:spPr>
              <p:txBody>
                <a:bodyPr rtlCol="0" anchor="ctr"/>
                <a:lstStyle/>
                <a:p>
                  <a:endParaRPr lang="en-GB"/>
                </a:p>
              </p:txBody>
            </p:sp>
            <p:sp>
              <p:nvSpPr>
                <p:cNvPr id="2074" name="Vrije vorm: vorm 2073">
                  <a:extLst>
                    <a:ext uri="{FF2B5EF4-FFF2-40B4-BE49-F238E27FC236}">
                      <a16:creationId xmlns:a16="http://schemas.microsoft.com/office/drawing/2014/main" id="{412D9987-BA67-42A7-921C-16468EA4795C}"/>
                    </a:ext>
                  </a:extLst>
                </p:cNvPr>
                <p:cNvSpPr/>
                <p:nvPr/>
              </p:nvSpPr>
              <p:spPr>
                <a:xfrm>
                  <a:off x="3901667" y="2227133"/>
                  <a:ext cx="18351" cy="18397"/>
                </a:xfrm>
                <a:custGeom>
                  <a:avLst/>
                  <a:gdLst>
                    <a:gd name="connsiteX0" fmla="*/ 4780 w 18351"/>
                    <a:gd name="connsiteY0" fmla="*/ 17292 h 18397"/>
                    <a:gd name="connsiteX1" fmla="*/ 1132 w 18351"/>
                    <a:gd name="connsiteY1" fmla="*/ 4792 h 18397"/>
                    <a:gd name="connsiteX2" fmla="*/ 13572 w 18351"/>
                    <a:gd name="connsiteY2" fmla="*/ 1144 h 18397"/>
                    <a:gd name="connsiteX3" fmla="*/ 17220 w 18351"/>
                    <a:gd name="connsiteY3" fmla="*/ 13644 h 18397"/>
                    <a:gd name="connsiteX4" fmla="*/ 4780 w 18351"/>
                    <a:gd name="connsiteY4" fmla="*/ 1729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97">
                      <a:moveTo>
                        <a:pt x="4780" y="17292"/>
                      </a:moveTo>
                      <a:cubicBezTo>
                        <a:pt x="354" y="14840"/>
                        <a:pt x="-1320" y="9218"/>
                        <a:pt x="1132" y="4792"/>
                      </a:cubicBezTo>
                      <a:cubicBezTo>
                        <a:pt x="3524" y="307"/>
                        <a:pt x="9086" y="-1308"/>
                        <a:pt x="13572" y="1144"/>
                      </a:cubicBezTo>
                      <a:cubicBezTo>
                        <a:pt x="17997" y="3596"/>
                        <a:pt x="19672" y="9218"/>
                        <a:pt x="17220" y="13644"/>
                      </a:cubicBezTo>
                      <a:cubicBezTo>
                        <a:pt x="14828" y="18069"/>
                        <a:pt x="9265" y="19684"/>
                        <a:pt x="4780" y="17292"/>
                      </a:cubicBezTo>
                      <a:close/>
                    </a:path>
                  </a:pathLst>
                </a:custGeom>
                <a:grpFill/>
                <a:ln w="5978" cap="flat">
                  <a:noFill/>
                  <a:prstDash val="solid"/>
                  <a:miter/>
                </a:ln>
              </p:spPr>
              <p:txBody>
                <a:bodyPr rtlCol="0" anchor="ctr"/>
                <a:lstStyle/>
                <a:p>
                  <a:endParaRPr lang="en-GB"/>
                </a:p>
              </p:txBody>
            </p:sp>
            <p:sp>
              <p:nvSpPr>
                <p:cNvPr id="2075" name="Vrije vorm: vorm 2074">
                  <a:extLst>
                    <a:ext uri="{FF2B5EF4-FFF2-40B4-BE49-F238E27FC236}">
                      <a16:creationId xmlns:a16="http://schemas.microsoft.com/office/drawing/2014/main" id="{B538112F-DB82-4A09-8E76-5C566ECF6AD4}"/>
                    </a:ext>
                  </a:extLst>
                </p:cNvPr>
                <p:cNvSpPr/>
                <p:nvPr/>
              </p:nvSpPr>
              <p:spPr>
                <a:xfrm>
                  <a:off x="3963508" y="2261164"/>
                  <a:ext cx="18325" cy="18436"/>
                </a:xfrm>
                <a:custGeom>
                  <a:avLst/>
                  <a:gdLst>
                    <a:gd name="connsiteX0" fmla="*/ 4780 w 18325"/>
                    <a:gd name="connsiteY0" fmla="*/ 17292 h 18436"/>
                    <a:gd name="connsiteX1" fmla="*/ 17220 w 18325"/>
                    <a:gd name="connsiteY1" fmla="*/ 13644 h 18436"/>
                    <a:gd name="connsiteX2" fmla="*/ 13572 w 18325"/>
                    <a:gd name="connsiteY2" fmla="*/ 1144 h 18436"/>
                    <a:gd name="connsiteX3" fmla="*/ 1132 w 18325"/>
                    <a:gd name="connsiteY3" fmla="*/ 4792 h 18436"/>
                    <a:gd name="connsiteX4" fmla="*/ 4780 w 18325"/>
                    <a:gd name="connsiteY4" fmla="*/ 172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6">
                      <a:moveTo>
                        <a:pt x="4780" y="17292"/>
                      </a:moveTo>
                      <a:cubicBezTo>
                        <a:pt x="9206" y="19744"/>
                        <a:pt x="14768" y="18129"/>
                        <a:pt x="17220" y="13644"/>
                      </a:cubicBezTo>
                      <a:cubicBezTo>
                        <a:pt x="19612" y="9158"/>
                        <a:pt x="17998" y="3596"/>
                        <a:pt x="13572" y="1144"/>
                      </a:cubicBezTo>
                      <a:cubicBezTo>
                        <a:pt x="9146" y="-1308"/>
                        <a:pt x="3584" y="307"/>
                        <a:pt x="1132" y="4792"/>
                      </a:cubicBezTo>
                      <a:cubicBezTo>
                        <a:pt x="-1320" y="9218"/>
                        <a:pt x="354" y="14840"/>
                        <a:pt x="4780" y="17292"/>
                      </a:cubicBezTo>
                      <a:close/>
                    </a:path>
                  </a:pathLst>
                </a:custGeom>
                <a:grpFill/>
                <a:ln w="5978" cap="flat">
                  <a:noFill/>
                  <a:prstDash val="solid"/>
                  <a:miter/>
                </a:ln>
              </p:spPr>
              <p:txBody>
                <a:bodyPr rtlCol="0" anchor="ctr"/>
                <a:lstStyle/>
                <a:p>
                  <a:endParaRPr lang="en-GB"/>
                </a:p>
              </p:txBody>
            </p:sp>
          </p:grpSp>
          <p:grpSp>
            <p:nvGrpSpPr>
              <p:cNvPr id="1110" name="Graphic 3">
                <a:extLst>
                  <a:ext uri="{FF2B5EF4-FFF2-40B4-BE49-F238E27FC236}">
                    <a16:creationId xmlns:a16="http://schemas.microsoft.com/office/drawing/2014/main" id="{BF9894C3-51FA-4008-9F5A-799BFC48B676}"/>
                  </a:ext>
                </a:extLst>
              </p:cNvPr>
              <p:cNvGrpSpPr/>
              <p:nvPr/>
            </p:nvGrpSpPr>
            <p:grpSpPr>
              <a:xfrm>
                <a:off x="4821848" y="4946100"/>
                <a:ext cx="71068" cy="87670"/>
                <a:chOff x="4821848" y="4946100"/>
                <a:chExt cx="71068" cy="87670"/>
              </a:xfrm>
              <a:grpFill/>
            </p:grpSpPr>
            <p:sp>
              <p:nvSpPr>
                <p:cNvPr id="2070" name="Vrije vorm: vorm 2069">
                  <a:extLst>
                    <a:ext uri="{FF2B5EF4-FFF2-40B4-BE49-F238E27FC236}">
                      <a16:creationId xmlns:a16="http://schemas.microsoft.com/office/drawing/2014/main" id="{9C12BE90-6E54-4D95-BB38-AAC7DE444983}"/>
                    </a:ext>
                  </a:extLst>
                </p:cNvPr>
                <p:cNvSpPr/>
                <p:nvPr/>
              </p:nvSpPr>
              <p:spPr>
                <a:xfrm>
                  <a:off x="4829512" y="4954051"/>
                  <a:ext cx="55680" cy="71828"/>
                </a:xfrm>
                <a:custGeom>
                  <a:avLst/>
                  <a:gdLst>
                    <a:gd name="connsiteX0" fmla="*/ 55681 w 55680"/>
                    <a:gd name="connsiteY0" fmla="*/ 1854 h 71828"/>
                    <a:gd name="connsiteX1" fmla="*/ 2392 w 55680"/>
                    <a:gd name="connsiteY1" fmla="*/ 71829 h 71828"/>
                    <a:gd name="connsiteX2" fmla="*/ 0 w 55680"/>
                    <a:gd name="connsiteY2" fmla="*/ 69975 h 71828"/>
                    <a:gd name="connsiteX3" fmla="*/ 53288 w 55680"/>
                    <a:gd name="connsiteY3" fmla="*/ 0 h 71828"/>
                  </a:gdLst>
                  <a:ahLst/>
                  <a:cxnLst>
                    <a:cxn ang="0">
                      <a:pos x="connsiteX0" y="connsiteY0"/>
                    </a:cxn>
                    <a:cxn ang="0">
                      <a:pos x="connsiteX1" y="connsiteY1"/>
                    </a:cxn>
                    <a:cxn ang="0">
                      <a:pos x="connsiteX2" y="connsiteY2"/>
                    </a:cxn>
                    <a:cxn ang="0">
                      <a:pos x="connsiteX3" y="connsiteY3"/>
                    </a:cxn>
                  </a:cxnLst>
                  <a:rect l="l" t="t" r="r" b="b"/>
                  <a:pathLst>
                    <a:path w="55680" h="71828">
                      <a:moveTo>
                        <a:pt x="55681" y="1854"/>
                      </a:moveTo>
                      <a:lnTo>
                        <a:pt x="2392" y="71829"/>
                      </a:lnTo>
                      <a:lnTo>
                        <a:pt x="0" y="69975"/>
                      </a:lnTo>
                      <a:lnTo>
                        <a:pt x="53288" y="0"/>
                      </a:lnTo>
                      <a:close/>
                    </a:path>
                  </a:pathLst>
                </a:custGeom>
                <a:grpFill/>
                <a:ln w="5978" cap="flat">
                  <a:noFill/>
                  <a:prstDash val="solid"/>
                  <a:miter/>
                </a:ln>
              </p:spPr>
              <p:txBody>
                <a:bodyPr rtlCol="0" anchor="ctr"/>
                <a:lstStyle/>
                <a:p>
                  <a:endParaRPr lang="en-GB"/>
                </a:p>
              </p:txBody>
            </p:sp>
            <p:sp>
              <p:nvSpPr>
                <p:cNvPr id="2071" name="Vrije vorm: vorm 2070">
                  <a:extLst>
                    <a:ext uri="{FF2B5EF4-FFF2-40B4-BE49-F238E27FC236}">
                      <a16:creationId xmlns:a16="http://schemas.microsoft.com/office/drawing/2014/main" id="{9A6F52D5-B178-4876-9F7D-BE27BE48E499}"/>
                    </a:ext>
                  </a:extLst>
                </p:cNvPr>
                <p:cNvSpPr/>
                <p:nvPr/>
              </p:nvSpPr>
              <p:spPr>
                <a:xfrm>
                  <a:off x="4874573" y="4946100"/>
                  <a:ext cx="18343" cy="18413"/>
                </a:xfrm>
                <a:custGeom>
                  <a:avLst/>
                  <a:gdLst>
                    <a:gd name="connsiteX0" fmla="*/ 1888 w 18343"/>
                    <a:gd name="connsiteY0" fmla="*/ 3585 h 18413"/>
                    <a:gd name="connsiteX1" fmla="*/ 14747 w 18343"/>
                    <a:gd name="connsiteY1" fmla="*/ 1910 h 18413"/>
                    <a:gd name="connsiteX2" fmla="*/ 16481 w 18343"/>
                    <a:gd name="connsiteY2" fmla="*/ 14829 h 18413"/>
                    <a:gd name="connsiteX3" fmla="*/ 3623 w 18343"/>
                    <a:gd name="connsiteY3" fmla="*/ 16503 h 18413"/>
                    <a:gd name="connsiteX4" fmla="*/ 1888 w 18343"/>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3">
                      <a:moveTo>
                        <a:pt x="1888" y="3585"/>
                      </a:moveTo>
                      <a:cubicBezTo>
                        <a:pt x="4938" y="-422"/>
                        <a:pt x="10740" y="-1200"/>
                        <a:pt x="14747" y="1910"/>
                      </a:cubicBezTo>
                      <a:cubicBezTo>
                        <a:pt x="18754" y="5021"/>
                        <a:pt x="19531" y="10822"/>
                        <a:pt x="16481" y="14829"/>
                      </a:cubicBezTo>
                      <a:cubicBezTo>
                        <a:pt x="13431" y="18836"/>
                        <a:pt x="7630" y="19614"/>
                        <a:pt x="3623" y="16503"/>
                      </a:cubicBezTo>
                      <a:cubicBezTo>
                        <a:pt x="-384" y="13393"/>
                        <a:pt x="-1222" y="7652"/>
                        <a:pt x="1888" y="3585"/>
                      </a:cubicBezTo>
                      <a:close/>
                    </a:path>
                  </a:pathLst>
                </a:custGeom>
                <a:grpFill/>
                <a:ln w="5978" cap="flat">
                  <a:noFill/>
                  <a:prstDash val="solid"/>
                  <a:miter/>
                </a:ln>
              </p:spPr>
              <p:txBody>
                <a:bodyPr rtlCol="0" anchor="ctr"/>
                <a:lstStyle/>
                <a:p>
                  <a:endParaRPr lang="en-GB"/>
                </a:p>
              </p:txBody>
            </p:sp>
            <p:sp>
              <p:nvSpPr>
                <p:cNvPr id="2072" name="Vrije vorm: vorm 2071">
                  <a:extLst>
                    <a:ext uri="{FF2B5EF4-FFF2-40B4-BE49-F238E27FC236}">
                      <a16:creationId xmlns:a16="http://schemas.microsoft.com/office/drawing/2014/main" id="{0C0621A7-BA43-4547-9014-7E0B2407359D}"/>
                    </a:ext>
                  </a:extLst>
                </p:cNvPr>
                <p:cNvSpPr/>
                <p:nvPr/>
              </p:nvSpPr>
              <p:spPr>
                <a:xfrm>
                  <a:off x="4821848" y="5015357"/>
                  <a:ext cx="18343" cy="18413"/>
                </a:xfrm>
                <a:custGeom>
                  <a:avLst/>
                  <a:gdLst>
                    <a:gd name="connsiteX0" fmla="*/ 1863 w 18343"/>
                    <a:gd name="connsiteY0" fmla="*/ 3585 h 18413"/>
                    <a:gd name="connsiteX1" fmla="*/ 3597 w 18343"/>
                    <a:gd name="connsiteY1" fmla="*/ 16503 h 18413"/>
                    <a:gd name="connsiteX2" fmla="*/ 16456 w 18343"/>
                    <a:gd name="connsiteY2" fmla="*/ 14829 h 18413"/>
                    <a:gd name="connsiteX3" fmla="*/ 14721 w 18343"/>
                    <a:gd name="connsiteY3" fmla="*/ 1910 h 18413"/>
                    <a:gd name="connsiteX4" fmla="*/ 1863 w 18343"/>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3">
                      <a:moveTo>
                        <a:pt x="1863" y="3585"/>
                      </a:moveTo>
                      <a:cubicBezTo>
                        <a:pt x="-1188" y="7592"/>
                        <a:pt x="-410" y="13393"/>
                        <a:pt x="3597" y="16503"/>
                      </a:cubicBezTo>
                      <a:cubicBezTo>
                        <a:pt x="7604" y="19613"/>
                        <a:pt x="13346" y="18836"/>
                        <a:pt x="16456" y="14829"/>
                      </a:cubicBezTo>
                      <a:cubicBezTo>
                        <a:pt x="19565" y="10822"/>
                        <a:pt x="18728" y="5021"/>
                        <a:pt x="14721" y="1910"/>
                      </a:cubicBezTo>
                      <a:cubicBezTo>
                        <a:pt x="10654" y="-1200"/>
                        <a:pt x="4913" y="-422"/>
                        <a:pt x="1863" y="3585"/>
                      </a:cubicBezTo>
                      <a:close/>
                    </a:path>
                  </a:pathLst>
                </a:custGeom>
                <a:grpFill/>
                <a:ln w="5978" cap="flat">
                  <a:noFill/>
                  <a:prstDash val="solid"/>
                  <a:miter/>
                </a:ln>
              </p:spPr>
              <p:txBody>
                <a:bodyPr rtlCol="0" anchor="ctr"/>
                <a:lstStyle/>
                <a:p>
                  <a:endParaRPr lang="en-GB"/>
                </a:p>
              </p:txBody>
            </p:sp>
          </p:grpSp>
          <p:grpSp>
            <p:nvGrpSpPr>
              <p:cNvPr id="1111" name="Graphic 3">
                <a:extLst>
                  <a:ext uri="{FF2B5EF4-FFF2-40B4-BE49-F238E27FC236}">
                    <a16:creationId xmlns:a16="http://schemas.microsoft.com/office/drawing/2014/main" id="{06D50C20-D1EF-45B5-B335-809AE6B1E0EB}"/>
                  </a:ext>
                </a:extLst>
              </p:cNvPr>
              <p:cNvGrpSpPr/>
              <p:nvPr/>
            </p:nvGrpSpPr>
            <p:grpSpPr>
              <a:xfrm>
                <a:off x="4665933" y="4728364"/>
                <a:ext cx="352254" cy="376974"/>
                <a:chOff x="4665933" y="4728364"/>
                <a:chExt cx="352254" cy="376974"/>
              </a:xfrm>
              <a:grpFill/>
            </p:grpSpPr>
            <p:sp>
              <p:nvSpPr>
                <p:cNvPr id="2067" name="Vrije vorm: vorm 2066">
                  <a:extLst>
                    <a:ext uri="{FF2B5EF4-FFF2-40B4-BE49-F238E27FC236}">
                      <a16:creationId xmlns:a16="http://schemas.microsoft.com/office/drawing/2014/main" id="{27D1BDB6-40A0-4B66-AAA2-21833D7F5736}"/>
                    </a:ext>
                  </a:extLst>
                </p:cNvPr>
                <p:cNvSpPr/>
                <p:nvPr/>
              </p:nvSpPr>
              <p:spPr>
                <a:xfrm>
                  <a:off x="4673655" y="4736233"/>
                  <a:ext cx="336774" cy="361295"/>
                </a:xfrm>
                <a:custGeom>
                  <a:avLst/>
                  <a:gdLst>
                    <a:gd name="connsiteX0" fmla="*/ 336774 w 336774"/>
                    <a:gd name="connsiteY0" fmla="*/ 2093 h 361295"/>
                    <a:gd name="connsiteX1" fmla="*/ 2273 w 336774"/>
                    <a:gd name="connsiteY1" fmla="*/ 361295 h 361295"/>
                    <a:gd name="connsiteX2" fmla="*/ 0 w 336774"/>
                    <a:gd name="connsiteY2" fmla="*/ 359202 h 361295"/>
                    <a:gd name="connsiteX3" fmla="*/ 334562 w 336774"/>
                    <a:gd name="connsiteY3" fmla="*/ 0 h 361295"/>
                  </a:gdLst>
                  <a:ahLst/>
                  <a:cxnLst>
                    <a:cxn ang="0">
                      <a:pos x="connsiteX0" y="connsiteY0"/>
                    </a:cxn>
                    <a:cxn ang="0">
                      <a:pos x="connsiteX1" y="connsiteY1"/>
                    </a:cxn>
                    <a:cxn ang="0">
                      <a:pos x="connsiteX2" y="connsiteY2"/>
                    </a:cxn>
                    <a:cxn ang="0">
                      <a:pos x="connsiteX3" y="connsiteY3"/>
                    </a:cxn>
                  </a:cxnLst>
                  <a:rect l="l" t="t" r="r" b="b"/>
                  <a:pathLst>
                    <a:path w="336774" h="361295">
                      <a:moveTo>
                        <a:pt x="336774" y="2093"/>
                      </a:moveTo>
                      <a:lnTo>
                        <a:pt x="2273" y="361295"/>
                      </a:lnTo>
                      <a:lnTo>
                        <a:pt x="0" y="359202"/>
                      </a:lnTo>
                      <a:lnTo>
                        <a:pt x="334562" y="0"/>
                      </a:lnTo>
                      <a:close/>
                    </a:path>
                  </a:pathLst>
                </a:custGeom>
                <a:grpFill/>
                <a:ln w="5978" cap="flat">
                  <a:noFill/>
                  <a:prstDash val="solid"/>
                  <a:miter/>
                </a:ln>
              </p:spPr>
              <p:txBody>
                <a:bodyPr rtlCol="0" anchor="ctr"/>
                <a:lstStyle/>
                <a:p>
                  <a:endParaRPr lang="en-GB"/>
                </a:p>
              </p:txBody>
            </p:sp>
            <p:sp>
              <p:nvSpPr>
                <p:cNvPr id="2068" name="Vrije vorm: vorm 2067">
                  <a:extLst>
                    <a:ext uri="{FF2B5EF4-FFF2-40B4-BE49-F238E27FC236}">
                      <a16:creationId xmlns:a16="http://schemas.microsoft.com/office/drawing/2014/main" id="{6F85E823-BC6E-4655-8CEF-20B3F2B700C3}"/>
                    </a:ext>
                  </a:extLst>
                </p:cNvPr>
                <p:cNvSpPr/>
                <p:nvPr/>
              </p:nvSpPr>
              <p:spPr>
                <a:xfrm>
                  <a:off x="4999860" y="4728364"/>
                  <a:ext cx="18327" cy="18429"/>
                </a:xfrm>
                <a:custGeom>
                  <a:avLst/>
                  <a:gdLst>
                    <a:gd name="connsiteX0" fmla="*/ 2435 w 18327"/>
                    <a:gd name="connsiteY0" fmla="*/ 2905 h 18429"/>
                    <a:gd name="connsiteX1" fmla="*/ 15414 w 18327"/>
                    <a:gd name="connsiteY1" fmla="*/ 2487 h 18429"/>
                    <a:gd name="connsiteX2" fmla="*/ 15892 w 18327"/>
                    <a:gd name="connsiteY2" fmla="*/ 15525 h 18429"/>
                    <a:gd name="connsiteX3" fmla="*/ 2914 w 18327"/>
                    <a:gd name="connsiteY3" fmla="*/ 15943 h 18429"/>
                    <a:gd name="connsiteX4" fmla="*/ 2435 w 18327"/>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2435" y="2905"/>
                      </a:moveTo>
                      <a:cubicBezTo>
                        <a:pt x="5904" y="-803"/>
                        <a:pt x="11706" y="-982"/>
                        <a:pt x="15414" y="2487"/>
                      </a:cubicBezTo>
                      <a:cubicBezTo>
                        <a:pt x="19122" y="5956"/>
                        <a:pt x="19301" y="11817"/>
                        <a:pt x="15892" y="15525"/>
                      </a:cubicBezTo>
                      <a:cubicBezTo>
                        <a:pt x="12423" y="19233"/>
                        <a:pt x="6622" y="19412"/>
                        <a:pt x="2914" y="15943"/>
                      </a:cubicBezTo>
                      <a:cubicBezTo>
                        <a:pt x="-794" y="12474"/>
                        <a:pt x="-974" y="6613"/>
                        <a:pt x="2435" y="2905"/>
                      </a:cubicBezTo>
                      <a:close/>
                    </a:path>
                  </a:pathLst>
                </a:custGeom>
                <a:grpFill/>
                <a:ln w="5978" cap="flat">
                  <a:noFill/>
                  <a:prstDash val="solid"/>
                  <a:miter/>
                </a:ln>
              </p:spPr>
              <p:txBody>
                <a:bodyPr rtlCol="0" anchor="ctr"/>
                <a:lstStyle/>
                <a:p>
                  <a:endParaRPr lang="en-GB"/>
                </a:p>
              </p:txBody>
            </p:sp>
            <p:sp>
              <p:nvSpPr>
                <p:cNvPr id="2069" name="Vrije vorm: vorm 2068">
                  <a:extLst>
                    <a:ext uri="{FF2B5EF4-FFF2-40B4-BE49-F238E27FC236}">
                      <a16:creationId xmlns:a16="http://schemas.microsoft.com/office/drawing/2014/main" id="{DF95AC33-6A65-4401-9B2C-F2EEEDE7A108}"/>
                    </a:ext>
                  </a:extLst>
                </p:cNvPr>
                <p:cNvSpPr/>
                <p:nvPr/>
              </p:nvSpPr>
              <p:spPr>
                <a:xfrm>
                  <a:off x="4665933" y="5086908"/>
                  <a:ext cx="18374" cy="18429"/>
                </a:xfrm>
                <a:custGeom>
                  <a:avLst/>
                  <a:gdLst>
                    <a:gd name="connsiteX0" fmla="*/ 2459 w 18374"/>
                    <a:gd name="connsiteY0" fmla="*/ 2905 h 18429"/>
                    <a:gd name="connsiteX1" fmla="*/ 2937 w 18374"/>
                    <a:gd name="connsiteY1" fmla="*/ 15943 h 18429"/>
                    <a:gd name="connsiteX2" fmla="*/ 15915 w 18374"/>
                    <a:gd name="connsiteY2" fmla="*/ 15525 h 18429"/>
                    <a:gd name="connsiteX3" fmla="*/ 15437 w 18374"/>
                    <a:gd name="connsiteY3" fmla="*/ 2487 h 18429"/>
                    <a:gd name="connsiteX4" fmla="*/ 2459 w 18374"/>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9">
                      <a:moveTo>
                        <a:pt x="2459" y="2905"/>
                      </a:moveTo>
                      <a:cubicBezTo>
                        <a:pt x="-1010" y="6613"/>
                        <a:pt x="-771" y="12415"/>
                        <a:pt x="2937" y="15943"/>
                      </a:cubicBezTo>
                      <a:cubicBezTo>
                        <a:pt x="6645" y="19412"/>
                        <a:pt x="12447" y="19233"/>
                        <a:pt x="15915" y="15525"/>
                      </a:cubicBezTo>
                      <a:cubicBezTo>
                        <a:pt x="19384" y="11817"/>
                        <a:pt x="19145" y="6015"/>
                        <a:pt x="15437" y="2487"/>
                      </a:cubicBezTo>
                      <a:cubicBezTo>
                        <a:pt x="11729" y="-982"/>
                        <a:pt x="5928" y="-803"/>
                        <a:pt x="2459" y="2905"/>
                      </a:cubicBezTo>
                      <a:close/>
                    </a:path>
                  </a:pathLst>
                </a:custGeom>
                <a:grpFill/>
                <a:ln w="5978" cap="flat">
                  <a:noFill/>
                  <a:prstDash val="solid"/>
                  <a:miter/>
                </a:ln>
              </p:spPr>
              <p:txBody>
                <a:bodyPr rtlCol="0" anchor="ctr"/>
                <a:lstStyle/>
                <a:p>
                  <a:endParaRPr lang="en-GB"/>
                </a:p>
              </p:txBody>
            </p:sp>
          </p:grpSp>
          <p:grpSp>
            <p:nvGrpSpPr>
              <p:cNvPr id="1112" name="Graphic 3">
                <a:extLst>
                  <a:ext uri="{FF2B5EF4-FFF2-40B4-BE49-F238E27FC236}">
                    <a16:creationId xmlns:a16="http://schemas.microsoft.com/office/drawing/2014/main" id="{7AAFF401-C8C9-4EFA-97D3-C071BB944D5F}"/>
                  </a:ext>
                </a:extLst>
              </p:cNvPr>
              <p:cNvGrpSpPr/>
              <p:nvPr/>
            </p:nvGrpSpPr>
            <p:grpSpPr>
              <a:xfrm>
                <a:off x="4058829" y="2995477"/>
                <a:ext cx="269207" cy="70470"/>
                <a:chOff x="4058829" y="2995477"/>
                <a:chExt cx="269207" cy="70470"/>
              </a:xfrm>
              <a:grpFill/>
            </p:grpSpPr>
            <p:sp>
              <p:nvSpPr>
                <p:cNvPr id="2064" name="Vrije vorm: vorm 2063">
                  <a:extLst>
                    <a:ext uri="{FF2B5EF4-FFF2-40B4-BE49-F238E27FC236}">
                      <a16:creationId xmlns:a16="http://schemas.microsoft.com/office/drawing/2014/main" id="{28CBDF70-5197-44F1-9CC8-A9FB3A8DD973}"/>
                    </a:ext>
                  </a:extLst>
                </p:cNvPr>
                <p:cNvSpPr/>
                <p:nvPr/>
              </p:nvSpPr>
              <p:spPr>
                <a:xfrm>
                  <a:off x="4067269" y="3003080"/>
                  <a:ext cx="252326" cy="55261"/>
                </a:xfrm>
                <a:custGeom>
                  <a:avLst/>
                  <a:gdLst>
                    <a:gd name="connsiteX0" fmla="*/ 252327 w 252326"/>
                    <a:gd name="connsiteY0" fmla="*/ 52271 h 55261"/>
                    <a:gd name="connsiteX1" fmla="*/ 251729 w 252326"/>
                    <a:gd name="connsiteY1" fmla="*/ 55262 h 55261"/>
                    <a:gd name="connsiteX2" fmla="*/ 0 w 252326"/>
                    <a:gd name="connsiteY2" fmla="*/ 2990 h 55261"/>
                    <a:gd name="connsiteX3" fmla="*/ 598 w 252326"/>
                    <a:gd name="connsiteY3" fmla="*/ 0 h 55261"/>
                  </a:gdLst>
                  <a:ahLst/>
                  <a:cxnLst>
                    <a:cxn ang="0">
                      <a:pos x="connsiteX0" y="connsiteY0"/>
                    </a:cxn>
                    <a:cxn ang="0">
                      <a:pos x="connsiteX1" y="connsiteY1"/>
                    </a:cxn>
                    <a:cxn ang="0">
                      <a:pos x="connsiteX2" y="connsiteY2"/>
                    </a:cxn>
                    <a:cxn ang="0">
                      <a:pos x="connsiteX3" y="connsiteY3"/>
                    </a:cxn>
                  </a:cxnLst>
                  <a:rect l="l" t="t" r="r" b="b"/>
                  <a:pathLst>
                    <a:path w="252326" h="55261">
                      <a:moveTo>
                        <a:pt x="252327" y="52271"/>
                      </a:moveTo>
                      <a:lnTo>
                        <a:pt x="251729" y="55262"/>
                      </a:lnTo>
                      <a:lnTo>
                        <a:pt x="0" y="2990"/>
                      </a:lnTo>
                      <a:lnTo>
                        <a:pt x="598" y="0"/>
                      </a:lnTo>
                      <a:close/>
                    </a:path>
                  </a:pathLst>
                </a:custGeom>
                <a:grpFill/>
                <a:ln w="5978" cap="flat">
                  <a:noFill/>
                  <a:prstDash val="solid"/>
                  <a:miter/>
                </a:ln>
              </p:spPr>
              <p:txBody>
                <a:bodyPr rtlCol="0" anchor="ctr"/>
                <a:lstStyle/>
                <a:p>
                  <a:endParaRPr lang="en-GB"/>
                </a:p>
              </p:txBody>
            </p:sp>
            <p:sp>
              <p:nvSpPr>
                <p:cNvPr id="2065" name="Vrije vorm: vorm 2064">
                  <a:extLst>
                    <a:ext uri="{FF2B5EF4-FFF2-40B4-BE49-F238E27FC236}">
                      <a16:creationId xmlns:a16="http://schemas.microsoft.com/office/drawing/2014/main" id="{991EE580-F6E2-47AB-AAF4-1124207C1978}"/>
                    </a:ext>
                  </a:extLst>
                </p:cNvPr>
                <p:cNvSpPr/>
                <p:nvPr/>
              </p:nvSpPr>
              <p:spPr>
                <a:xfrm>
                  <a:off x="4058829" y="2995477"/>
                  <a:ext cx="18376" cy="18436"/>
                </a:xfrm>
                <a:custGeom>
                  <a:avLst/>
                  <a:gdLst>
                    <a:gd name="connsiteX0" fmla="*/ 7364 w 18376"/>
                    <a:gd name="connsiteY0" fmla="*/ 18249 h 18436"/>
                    <a:gd name="connsiteX1" fmla="*/ 187 w 18376"/>
                    <a:gd name="connsiteY1" fmla="*/ 7364 h 18436"/>
                    <a:gd name="connsiteX2" fmla="*/ 11012 w 18376"/>
                    <a:gd name="connsiteY2" fmla="*/ 187 h 18436"/>
                    <a:gd name="connsiteX3" fmla="*/ 18189 w 18376"/>
                    <a:gd name="connsiteY3" fmla="*/ 11072 h 18436"/>
                    <a:gd name="connsiteX4" fmla="*/ 7364 w 18376"/>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6">
                      <a:moveTo>
                        <a:pt x="7364" y="18249"/>
                      </a:moveTo>
                      <a:cubicBezTo>
                        <a:pt x="2400" y="17232"/>
                        <a:pt x="-830" y="12328"/>
                        <a:pt x="187" y="7364"/>
                      </a:cubicBezTo>
                      <a:cubicBezTo>
                        <a:pt x="1204" y="2400"/>
                        <a:pt x="6048" y="-830"/>
                        <a:pt x="11012" y="187"/>
                      </a:cubicBezTo>
                      <a:cubicBezTo>
                        <a:pt x="15976" y="1204"/>
                        <a:pt x="19206" y="6108"/>
                        <a:pt x="18189" y="11072"/>
                      </a:cubicBezTo>
                      <a:cubicBezTo>
                        <a:pt x="17173" y="16036"/>
                        <a:pt x="12328" y="19266"/>
                        <a:pt x="7364" y="18249"/>
                      </a:cubicBezTo>
                      <a:close/>
                    </a:path>
                  </a:pathLst>
                </a:custGeom>
                <a:grpFill/>
                <a:ln w="5978" cap="flat">
                  <a:noFill/>
                  <a:prstDash val="solid"/>
                  <a:miter/>
                </a:ln>
              </p:spPr>
              <p:txBody>
                <a:bodyPr rtlCol="0" anchor="ctr"/>
                <a:lstStyle/>
                <a:p>
                  <a:endParaRPr lang="en-GB"/>
                </a:p>
              </p:txBody>
            </p:sp>
            <p:sp>
              <p:nvSpPr>
                <p:cNvPr id="2066" name="Vrije vorm: vorm 2065">
                  <a:extLst>
                    <a:ext uri="{FF2B5EF4-FFF2-40B4-BE49-F238E27FC236}">
                      <a16:creationId xmlns:a16="http://schemas.microsoft.com/office/drawing/2014/main" id="{F05FD85B-C75C-434C-BAF3-64B4D70BE632}"/>
                    </a:ext>
                  </a:extLst>
                </p:cNvPr>
                <p:cNvSpPr/>
                <p:nvPr/>
              </p:nvSpPr>
              <p:spPr>
                <a:xfrm>
                  <a:off x="4309660" y="3047507"/>
                  <a:ext cx="18376" cy="18440"/>
                </a:xfrm>
                <a:custGeom>
                  <a:avLst/>
                  <a:gdLst>
                    <a:gd name="connsiteX0" fmla="*/ 7364 w 18376"/>
                    <a:gd name="connsiteY0" fmla="*/ 18251 h 18440"/>
                    <a:gd name="connsiteX1" fmla="*/ 18189 w 18376"/>
                    <a:gd name="connsiteY1" fmla="*/ 11075 h 18440"/>
                    <a:gd name="connsiteX2" fmla="*/ 11012 w 18376"/>
                    <a:gd name="connsiteY2" fmla="*/ 190 h 18440"/>
                    <a:gd name="connsiteX3" fmla="*/ 187 w 18376"/>
                    <a:gd name="connsiteY3" fmla="*/ 7367 h 18440"/>
                    <a:gd name="connsiteX4" fmla="*/ 7364 w 18376"/>
                    <a:gd name="connsiteY4" fmla="*/ 18251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40">
                      <a:moveTo>
                        <a:pt x="7364" y="18251"/>
                      </a:moveTo>
                      <a:cubicBezTo>
                        <a:pt x="12328" y="19268"/>
                        <a:pt x="17173" y="16098"/>
                        <a:pt x="18189" y="11075"/>
                      </a:cubicBezTo>
                      <a:cubicBezTo>
                        <a:pt x="19206" y="6110"/>
                        <a:pt x="15976" y="1206"/>
                        <a:pt x="11012" y="190"/>
                      </a:cubicBezTo>
                      <a:cubicBezTo>
                        <a:pt x="6048" y="-827"/>
                        <a:pt x="1204" y="2343"/>
                        <a:pt x="187" y="7367"/>
                      </a:cubicBezTo>
                      <a:cubicBezTo>
                        <a:pt x="-830" y="12330"/>
                        <a:pt x="2400" y="17235"/>
                        <a:pt x="7364" y="18251"/>
                      </a:cubicBezTo>
                      <a:close/>
                    </a:path>
                  </a:pathLst>
                </a:custGeom>
                <a:grpFill/>
                <a:ln w="5978" cap="flat">
                  <a:noFill/>
                  <a:prstDash val="solid"/>
                  <a:miter/>
                </a:ln>
              </p:spPr>
              <p:txBody>
                <a:bodyPr rtlCol="0" anchor="ctr"/>
                <a:lstStyle/>
                <a:p>
                  <a:endParaRPr lang="en-GB"/>
                </a:p>
              </p:txBody>
            </p:sp>
          </p:grpSp>
          <p:grpSp>
            <p:nvGrpSpPr>
              <p:cNvPr id="1113" name="Graphic 3">
                <a:extLst>
                  <a:ext uri="{FF2B5EF4-FFF2-40B4-BE49-F238E27FC236}">
                    <a16:creationId xmlns:a16="http://schemas.microsoft.com/office/drawing/2014/main" id="{34D39654-A735-4328-911C-B5DABD90CF95}"/>
                  </a:ext>
                </a:extLst>
              </p:cNvPr>
              <p:cNvGrpSpPr/>
              <p:nvPr/>
            </p:nvGrpSpPr>
            <p:grpSpPr>
              <a:xfrm>
                <a:off x="4814258" y="4976217"/>
                <a:ext cx="145755" cy="199383"/>
                <a:chOff x="4814258" y="4976217"/>
                <a:chExt cx="145755" cy="199383"/>
              </a:xfrm>
              <a:grpFill/>
            </p:grpSpPr>
            <p:sp>
              <p:nvSpPr>
                <p:cNvPr id="2061" name="Vrije vorm: vorm 2060">
                  <a:extLst>
                    <a:ext uri="{FF2B5EF4-FFF2-40B4-BE49-F238E27FC236}">
                      <a16:creationId xmlns:a16="http://schemas.microsoft.com/office/drawing/2014/main" id="{86E89141-A4C6-4C55-B994-F6895A3BC99D}"/>
                    </a:ext>
                  </a:extLst>
                </p:cNvPr>
                <p:cNvSpPr/>
                <p:nvPr/>
              </p:nvSpPr>
              <p:spPr>
                <a:xfrm>
                  <a:off x="4821976" y="4984194"/>
                  <a:ext cx="130379" cy="183428"/>
                </a:xfrm>
                <a:custGeom>
                  <a:avLst/>
                  <a:gdLst>
                    <a:gd name="connsiteX0" fmla="*/ 130380 w 130379"/>
                    <a:gd name="connsiteY0" fmla="*/ 1795 h 183428"/>
                    <a:gd name="connsiteX1" fmla="*/ 2512 w 130379"/>
                    <a:gd name="connsiteY1" fmla="*/ 183429 h 183428"/>
                    <a:gd name="connsiteX2" fmla="*/ 0 w 130379"/>
                    <a:gd name="connsiteY2" fmla="*/ 181694 h 183428"/>
                    <a:gd name="connsiteX3" fmla="*/ 127928 w 130379"/>
                    <a:gd name="connsiteY3" fmla="*/ 0 h 183428"/>
                  </a:gdLst>
                  <a:ahLst/>
                  <a:cxnLst>
                    <a:cxn ang="0">
                      <a:pos x="connsiteX0" y="connsiteY0"/>
                    </a:cxn>
                    <a:cxn ang="0">
                      <a:pos x="connsiteX1" y="connsiteY1"/>
                    </a:cxn>
                    <a:cxn ang="0">
                      <a:pos x="connsiteX2" y="connsiteY2"/>
                    </a:cxn>
                    <a:cxn ang="0">
                      <a:pos x="connsiteX3" y="connsiteY3"/>
                    </a:cxn>
                  </a:cxnLst>
                  <a:rect l="l" t="t" r="r" b="b"/>
                  <a:pathLst>
                    <a:path w="130379" h="183428">
                      <a:moveTo>
                        <a:pt x="130380" y="1795"/>
                      </a:moveTo>
                      <a:lnTo>
                        <a:pt x="2512" y="183429"/>
                      </a:lnTo>
                      <a:lnTo>
                        <a:pt x="0" y="181694"/>
                      </a:lnTo>
                      <a:lnTo>
                        <a:pt x="127928" y="0"/>
                      </a:lnTo>
                      <a:close/>
                    </a:path>
                  </a:pathLst>
                </a:custGeom>
                <a:grpFill/>
                <a:ln w="5978" cap="flat">
                  <a:noFill/>
                  <a:prstDash val="solid"/>
                  <a:miter/>
                </a:ln>
              </p:spPr>
              <p:txBody>
                <a:bodyPr rtlCol="0" anchor="ctr"/>
                <a:lstStyle/>
                <a:p>
                  <a:endParaRPr lang="en-GB"/>
                </a:p>
              </p:txBody>
            </p:sp>
            <p:sp>
              <p:nvSpPr>
                <p:cNvPr id="2062" name="Vrije vorm: vorm 2061">
                  <a:extLst>
                    <a:ext uri="{FF2B5EF4-FFF2-40B4-BE49-F238E27FC236}">
                      <a16:creationId xmlns:a16="http://schemas.microsoft.com/office/drawing/2014/main" id="{1418249E-60E6-4691-9842-3AD98D828AAD}"/>
                    </a:ext>
                  </a:extLst>
                </p:cNvPr>
                <p:cNvSpPr/>
                <p:nvPr/>
              </p:nvSpPr>
              <p:spPr>
                <a:xfrm>
                  <a:off x="4814258" y="5157193"/>
                  <a:ext cx="18382" cy="18406"/>
                </a:xfrm>
                <a:custGeom>
                  <a:avLst/>
                  <a:gdLst>
                    <a:gd name="connsiteX0" fmla="*/ 16689 w 18382"/>
                    <a:gd name="connsiteY0" fmla="*/ 14556 h 18406"/>
                    <a:gd name="connsiteX1" fmla="*/ 3890 w 18382"/>
                    <a:gd name="connsiteY1" fmla="*/ 16709 h 18406"/>
                    <a:gd name="connsiteX2" fmla="*/ 1677 w 18382"/>
                    <a:gd name="connsiteY2" fmla="*/ 3850 h 18406"/>
                    <a:gd name="connsiteX3" fmla="*/ 14476 w 18382"/>
                    <a:gd name="connsiteY3" fmla="*/ 1697 h 18406"/>
                    <a:gd name="connsiteX4" fmla="*/ 16689 w 18382"/>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2" h="18406">
                      <a:moveTo>
                        <a:pt x="16689" y="14556"/>
                      </a:moveTo>
                      <a:cubicBezTo>
                        <a:pt x="13759" y="18683"/>
                        <a:pt x="8077" y="19640"/>
                        <a:pt x="3890" y="16709"/>
                      </a:cubicBezTo>
                      <a:cubicBezTo>
                        <a:pt x="-237" y="13779"/>
                        <a:pt x="-1253" y="7977"/>
                        <a:pt x="1677" y="3850"/>
                      </a:cubicBezTo>
                      <a:cubicBezTo>
                        <a:pt x="4608" y="-276"/>
                        <a:pt x="10290" y="-1233"/>
                        <a:pt x="14476" y="1697"/>
                      </a:cubicBezTo>
                      <a:cubicBezTo>
                        <a:pt x="18663" y="4628"/>
                        <a:pt x="19620" y="10370"/>
                        <a:pt x="16689" y="14556"/>
                      </a:cubicBezTo>
                      <a:close/>
                    </a:path>
                  </a:pathLst>
                </a:custGeom>
                <a:grpFill/>
                <a:ln w="5978" cap="flat">
                  <a:noFill/>
                  <a:prstDash val="solid"/>
                  <a:miter/>
                </a:ln>
              </p:spPr>
              <p:txBody>
                <a:bodyPr rtlCol="0" anchor="ctr"/>
                <a:lstStyle/>
                <a:p>
                  <a:endParaRPr lang="en-GB"/>
                </a:p>
              </p:txBody>
            </p:sp>
            <p:sp>
              <p:nvSpPr>
                <p:cNvPr id="2063" name="Vrije vorm: vorm 2062">
                  <a:extLst>
                    <a:ext uri="{FF2B5EF4-FFF2-40B4-BE49-F238E27FC236}">
                      <a16:creationId xmlns:a16="http://schemas.microsoft.com/office/drawing/2014/main" id="{557AC014-D589-4CB9-92D0-25660CDAB603}"/>
                    </a:ext>
                  </a:extLst>
                </p:cNvPr>
                <p:cNvSpPr/>
                <p:nvPr/>
              </p:nvSpPr>
              <p:spPr>
                <a:xfrm>
                  <a:off x="4941648" y="4976217"/>
                  <a:ext cx="18366" cy="18449"/>
                </a:xfrm>
                <a:custGeom>
                  <a:avLst/>
                  <a:gdLst>
                    <a:gd name="connsiteX0" fmla="*/ 16689 w 18366"/>
                    <a:gd name="connsiteY0" fmla="*/ 14556 h 18449"/>
                    <a:gd name="connsiteX1" fmla="*/ 14476 w 18366"/>
                    <a:gd name="connsiteY1" fmla="*/ 1697 h 18449"/>
                    <a:gd name="connsiteX2" fmla="*/ 1678 w 18366"/>
                    <a:gd name="connsiteY2" fmla="*/ 3850 h 18449"/>
                    <a:gd name="connsiteX3" fmla="*/ 3890 w 18366"/>
                    <a:gd name="connsiteY3" fmla="*/ 16709 h 18449"/>
                    <a:gd name="connsiteX4" fmla="*/ 16689 w 18366"/>
                    <a:gd name="connsiteY4" fmla="*/ 14556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49">
                      <a:moveTo>
                        <a:pt x="16689" y="14556"/>
                      </a:moveTo>
                      <a:cubicBezTo>
                        <a:pt x="19620" y="10429"/>
                        <a:pt x="18603" y="4628"/>
                        <a:pt x="14476" y="1697"/>
                      </a:cubicBezTo>
                      <a:cubicBezTo>
                        <a:pt x="10349" y="-1233"/>
                        <a:pt x="4608" y="-276"/>
                        <a:pt x="1678" y="3850"/>
                      </a:cubicBezTo>
                      <a:cubicBezTo>
                        <a:pt x="-1253" y="7977"/>
                        <a:pt x="-236" y="13719"/>
                        <a:pt x="3890" y="16709"/>
                      </a:cubicBezTo>
                      <a:cubicBezTo>
                        <a:pt x="8077" y="19700"/>
                        <a:pt x="13818" y="18743"/>
                        <a:pt x="16689" y="14556"/>
                      </a:cubicBezTo>
                      <a:close/>
                    </a:path>
                  </a:pathLst>
                </a:custGeom>
                <a:grpFill/>
                <a:ln w="5978" cap="flat">
                  <a:noFill/>
                  <a:prstDash val="solid"/>
                  <a:miter/>
                </a:ln>
              </p:spPr>
              <p:txBody>
                <a:bodyPr rtlCol="0" anchor="ctr"/>
                <a:lstStyle/>
                <a:p>
                  <a:endParaRPr lang="en-GB"/>
                </a:p>
              </p:txBody>
            </p:sp>
          </p:grpSp>
          <p:grpSp>
            <p:nvGrpSpPr>
              <p:cNvPr id="1114" name="Graphic 3">
                <a:extLst>
                  <a:ext uri="{FF2B5EF4-FFF2-40B4-BE49-F238E27FC236}">
                    <a16:creationId xmlns:a16="http://schemas.microsoft.com/office/drawing/2014/main" id="{8AC6B303-6B81-4A33-9098-3B06A1CB1BC6}"/>
                  </a:ext>
                </a:extLst>
              </p:cNvPr>
              <p:cNvGrpSpPr/>
              <p:nvPr/>
            </p:nvGrpSpPr>
            <p:grpSpPr>
              <a:xfrm>
                <a:off x="4736535" y="4788358"/>
                <a:ext cx="148515" cy="170863"/>
                <a:chOff x="4736535" y="4788358"/>
                <a:chExt cx="148515" cy="170863"/>
              </a:xfrm>
              <a:grpFill/>
            </p:grpSpPr>
            <p:sp>
              <p:nvSpPr>
                <p:cNvPr id="2058" name="Vrije vorm: vorm 2057">
                  <a:extLst>
                    <a:ext uri="{FF2B5EF4-FFF2-40B4-BE49-F238E27FC236}">
                      <a16:creationId xmlns:a16="http://schemas.microsoft.com/office/drawing/2014/main" id="{9C2D56AA-FCB8-49FD-BEC8-2C4393E7B413}"/>
                    </a:ext>
                  </a:extLst>
                </p:cNvPr>
                <p:cNvSpPr/>
                <p:nvPr/>
              </p:nvSpPr>
              <p:spPr>
                <a:xfrm>
                  <a:off x="4744287" y="4796220"/>
                  <a:ext cx="133071" cy="155139"/>
                </a:xfrm>
                <a:custGeom>
                  <a:avLst/>
                  <a:gdLst>
                    <a:gd name="connsiteX0" fmla="*/ 133071 w 133071"/>
                    <a:gd name="connsiteY0" fmla="*/ 2034 h 155139"/>
                    <a:gd name="connsiteX1" fmla="*/ 2273 w 133071"/>
                    <a:gd name="connsiteY1" fmla="*/ 155140 h 155139"/>
                    <a:gd name="connsiteX2" fmla="*/ 0 w 133071"/>
                    <a:gd name="connsiteY2" fmla="*/ 153166 h 155139"/>
                    <a:gd name="connsiteX3" fmla="*/ 130798 w 133071"/>
                    <a:gd name="connsiteY3" fmla="*/ 0 h 155139"/>
                  </a:gdLst>
                  <a:ahLst/>
                  <a:cxnLst>
                    <a:cxn ang="0">
                      <a:pos x="connsiteX0" y="connsiteY0"/>
                    </a:cxn>
                    <a:cxn ang="0">
                      <a:pos x="connsiteX1" y="connsiteY1"/>
                    </a:cxn>
                    <a:cxn ang="0">
                      <a:pos x="connsiteX2" y="connsiteY2"/>
                    </a:cxn>
                    <a:cxn ang="0">
                      <a:pos x="connsiteX3" y="connsiteY3"/>
                    </a:cxn>
                  </a:cxnLst>
                  <a:rect l="l" t="t" r="r" b="b"/>
                  <a:pathLst>
                    <a:path w="133071" h="155139">
                      <a:moveTo>
                        <a:pt x="133071" y="2034"/>
                      </a:moveTo>
                      <a:lnTo>
                        <a:pt x="2273" y="155140"/>
                      </a:lnTo>
                      <a:lnTo>
                        <a:pt x="0" y="153166"/>
                      </a:lnTo>
                      <a:lnTo>
                        <a:pt x="130798" y="0"/>
                      </a:lnTo>
                      <a:close/>
                    </a:path>
                  </a:pathLst>
                </a:custGeom>
                <a:grpFill/>
                <a:ln w="5978" cap="flat">
                  <a:noFill/>
                  <a:prstDash val="solid"/>
                  <a:miter/>
                </a:ln>
              </p:spPr>
              <p:txBody>
                <a:bodyPr rtlCol="0" anchor="ctr"/>
                <a:lstStyle/>
                <a:p>
                  <a:endParaRPr lang="en-GB"/>
                </a:p>
              </p:txBody>
            </p:sp>
            <p:sp>
              <p:nvSpPr>
                <p:cNvPr id="2059" name="Vrije vorm: vorm 2058">
                  <a:extLst>
                    <a:ext uri="{FF2B5EF4-FFF2-40B4-BE49-F238E27FC236}">
                      <a16:creationId xmlns:a16="http://schemas.microsoft.com/office/drawing/2014/main" id="{8C195579-DEC3-406C-9BBB-9D88A8B4F9D7}"/>
                    </a:ext>
                  </a:extLst>
                </p:cNvPr>
                <p:cNvSpPr/>
                <p:nvPr/>
              </p:nvSpPr>
              <p:spPr>
                <a:xfrm>
                  <a:off x="4736535" y="4940807"/>
                  <a:ext cx="18334" cy="18414"/>
                </a:xfrm>
                <a:custGeom>
                  <a:avLst/>
                  <a:gdLst>
                    <a:gd name="connsiteX0" fmla="*/ 16125 w 18334"/>
                    <a:gd name="connsiteY0" fmla="*/ 15218 h 18414"/>
                    <a:gd name="connsiteX1" fmla="*/ 3207 w 18334"/>
                    <a:gd name="connsiteY1" fmla="*/ 16175 h 18414"/>
                    <a:gd name="connsiteX2" fmla="*/ 2190 w 18334"/>
                    <a:gd name="connsiteY2" fmla="*/ 3197 h 18414"/>
                    <a:gd name="connsiteX3" fmla="*/ 15108 w 18334"/>
                    <a:gd name="connsiteY3" fmla="*/ 2240 h 18414"/>
                    <a:gd name="connsiteX4" fmla="*/ 16125 w 18334"/>
                    <a:gd name="connsiteY4" fmla="*/ 1521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14">
                      <a:moveTo>
                        <a:pt x="16125" y="15218"/>
                      </a:moveTo>
                      <a:cubicBezTo>
                        <a:pt x="12835" y="19045"/>
                        <a:pt x="7034" y="19524"/>
                        <a:pt x="3207" y="16175"/>
                      </a:cubicBezTo>
                      <a:cubicBezTo>
                        <a:pt x="-621" y="12826"/>
                        <a:pt x="-1099" y="7025"/>
                        <a:pt x="2190" y="3197"/>
                      </a:cubicBezTo>
                      <a:cubicBezTo>
                        <a:pt x="5479" y="-631"/>
                        <a:pt x="11281" y="-1110"/>
                        <a:pt x="15108" y="2240"/>
                      </a:cubicBezTo>
                      <a:cubicBezTo>
                        <a:pt x="18996" y="5529"/>
                        <a:pt x="19414" y="11390"/>
                        <a:pt x="16125" y="15218"/>
                      </a:cubicBezTo>
                      <a:close/>
                    </a:path>
                  </a:pathLst>
                </a:custGeom>
                <a:grpFill/>
                <a:ln w="5978" cap="flat">
                  <a:noFill/>
                  <a:prstDash val="solid"/>
                  <a:miter/>
                </a:ln>
              </p:spPr>
              <p:txBody>
                <a:bodyPr rtlCol="0" anchor="ctr"/>
                <a:lstStyle/>
                <a:p>
                  <a:endParaRPr lang="en-GB"/>
                </a:p>
              </p:txBody>
            </p:sp>
            <p:sp>
              <p:nvSpPr>
                <p:cNvPr id="2060" name="Vrije vorm: vorm 2059">
                  <a:extLst>
                    <a:ext uri="{FF2B5EF4-FFF2-40B4-BE49-F238E27FC236}">
                      <a16:creationId xmlns:a16="http://schemas.microsoft.com/office/drawing/2014/main" id="{8FF7DC80-1E66-41BE-B32E-664F88AADE66}"/>
                    </a:ext>
                  </a:extLst>
                </p:cNvPr>
                <p:cNvSpPr/>
                <p:nvPr/>
              </p:nvSpPr>
              <p:spPr>
                <a:xfrm>
                  <a:off x="4866715" y="4788358"/>
                  <a:ext cx="18334" cy="18434"/>
                </a:xfrm>
                <a:custGeom>
                  <a:avLst/>
                  <a:gdLst>
                    <a:gd name="connsiteX0" fmla="*/ 16145 w 18334"/>
                    <a:gd name="connsiteY0" fmla="*/ 15218 h 18434"/>
                    <a:gd name="connsiteX1" fmla="*/ 15128 w 18334"/>
                    <a:gd name="connsiteY1" fmla="*/ 2240 h 18434"/>
                    <a:gd name="connsiteX2" fmla="*/ 2210 w 18334"/>
                    <a:gd name="connsiteY2" fmla="*/ 3197 h 18434"/>
                    <a:gd name="connsiteX3" fmla="*/ 3227 w 18334"/>
                    <a:gd name="connsiteY3" fmla="*/ 16175 h 18434"/>
                    <a:gd name="connsiteX4" fmla="*/ 16145 w 18334"/>
                    <a:gd name="connsiteY4" fmla="*/ 15218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4">
                      <a:moveTo>
                        <a:pt x="16145" y="15218"/>
                      </a:moveTo>
                      <a:cubicBezTo>
                        <a:pt x="19435" y="11390"/>
                        <a:pt x="18956" y="5529"/>
                        <a:pt x="15128" y="2240"/>
                      </a:cubicBezTo>
                      <a:cubicBezTo>
                        <a:pt x="11301" y="-1110"/>
                        <a:pt x="5499" y="-631"/>
                        <a:pt x="2210" y="3197"/>
                      </a:cubicBezTo>
                      <a:cubicBezTo>
                        <a:pt x="-1080" y="7024"/>
                        <a:pt x="-661" y="12886"/>
                        <a:pt x="3227" y="16175"/>
                      </a:cubicBezTo>
                      <a:cubicBezTo>
                        <a:pt x="7114" y="19524"/>
                        <a:pt x="12856" y="19105"/>
                        <a:pt x="16145" y="15218"/>
                      </a:cubicBezTo>
                      <a:close/>
                    </a:path>
                  </a:pathLst>
                </a:custGeom>
                <a:grpFill/>
                <a:ln w="5978" cap="flat">
                  <a:noFill/>
                  <a:prstDash val="solid"/>
                  <a:miter/>
                </a:ln>
              </p:spPr>
              <p:txBody>
                <a:bodyPr rtlCol="0" anchor="ctr"/>
                <a:lstStyle/>
                <a:p>
                  <a:endParaRPr lang="en-GB"/>
                </a:p>
              </p:txBody>
            </p:sp>
          </p:grpSp>
          <p:grpSp>
            <p:nvGrpSpPr>
              <p:cNvPr id="1115" name="Graphic 3">
                <a:extLst>
                  <a:ext uri="{FF2B5EF4-FFF2-40B4-BE49-F238E27FC236}">
                    <a16:creationId xmlns:a16="http://schemas.microsoft.com/office/drawing/2014/main" id="{6322F58F-A90F-4508-B118-F9597E1A8E00}"/>
                  </a:ext>
                </a:extLst>
              </p:cNvPr>
              <p:cNvGrpSpPr/>
              <p:nvPr/>
            </p:nvGrpSpPr>
            <p:grpSpPr>
              <a:xfrm>
                <a:off x="4640209" y="4567749"/>
                <a:ext cx="182998" cy="172258"/>
                <a:chOff x="4640209" y="4567749"/>
                <a:chExt cx="182998" cy="172258"/>
              </a:xfrm>
              <a:grpFill/>
            </p:grpSpPr>
            <p:sp>
              <p:nvSpPr>
                <p:cNvPr id="2055" name="Vrije vorm: vorm 2054">
                  <a:extLst>
                    <a:ext uri="{FF2B5EF4-FFF2-40B4-BE49-F238E27FC236}">
                      <a16:creationId xmlns:a16="http://schemas.microsoft.com/office/drawing/2014/main" id="{DB5F5342-ED5C-4050-8652-81217495F07B}"/>
                    </a:ext>
                  </a:extLst>
                </p:cNvPr>
                <p:cNvSpPr/>
                <p:nvPr/>
              </p:nvSpPr>
              <p:spPr>
                <a:xfrm>
                  <a:off x="4648057" y="4575531"/>
                  <a:ext cx="167340" cy="156694"/>
                </a:xfrm>
                <a:custGeom>
                  <a:avLst/>
                  <a:gdLst>
                    <a:gd name="connsiteX0" fmla="*/ 167341 w 167340"/>
                    <a:gd name="connsiteY0" fmla="*/ 2213 h 156694"/>
                    <a:gd name="connsiteX1" fmla="*/ 2093 w 167340"/>
                    <a:gd name="connsiteY1" fmla="*/ 156695 h 156694"/>
                    <a:gd name="connsiteX2" fmla="*/ 0 w 167340"/>
                    <a:gd name="connsiteY2" fmla="*/ 154482 h 156694"/>
                    <a:gd name="connsiteX3" fmla="*/ 165247 w 167340"/>
                    <a:gd name="connsiteY3" fmla="*/ 0 h 156694"/>
                  </a:gdLst>
                  <a:ahLst/>
                  <a:cxnLst>
                    <a:cxn ang="0">
                      <a:pos x="connsiteX0" y="connsiteY0"/>
                    </a:cxn>
                    <a:cxn ang="0">
                      <a:pos x="connsiteX1" y="connsiteY1"/>
                    </a:cxn>
                    <a:cxn ang="0">
                      <a:pos x="connsiteX2" y="connsiteY2"/>
                    </a:cxn>
                    <a:cxn ang="0">
                      <a:pos x="connsiteX3" y="connsiteY3"/>
                    </a:cxn>
                  </a:cxnLst>
                  <a:rect l="l" t="t" r="r" b="b"/>
                  <a:pathLst>
                    <a:path w="167340" h="156694">
                      <a:moveTo>
                        <a:pt x="167341" y="2213"/>
                      </a:moveTo>
                      <a:lnTo>
                        <a:pt x="2093" y="156695"/>
                      </a:lnTo>
                      <a:lnTo>
                        <a:pt x="0" y="154482"/>
                      </a:lnTo>
                      <a:lnTo>
                        <a:pt x="165247" y="0"/>
                      </a:lnTo>
                      <a:close/>
                    </a:path>
                  </a:pathLst>
                </a:custGeom>
                <a:grpFill/>
                <a:ln w="5978" cap="flat">
                  <a:noFill/>
                  <a:prstDash val="solid"/>
                  <a:miter/>
                </a:ln>
              </p:spPr>
              <p:txBody>
                <a:bodyPr rtlCol="0" anchor="ctr"/>
                <a:lstStyle/>
                <a:p>
                  <a:endParaRPr lang="en-GB"/>
                </a:p>
              </p:txBody>
            </p:sp>
            <p:sp>
              <p:nvSpPr>
                <p:cNvPr id="2056" name="Vrije vorm: vorm 2055">
                  <a:extLst>
                    <a:ext uri="{FF2B5EF4-FFF2-40B4-BE49-F238E27FC236}">
                      <a16:creationId xmlns:a16="http://schemas.microsoft.com/office/drawing/2014/main" id="{29351657-FE84-4BFB-98C4-D9B18DA8E630}"/>
                    </a:ext>
                  </a:extLst>
                </p:cNvPr>
                <p:cNvSpPr/>
                <p:nvPr/>
              </p:nvSpPr>
              <p:spPr>
                <a:xfrm>
                  <a:off x="4640209" y="4721574"/>
                  <a:ext cx="18372" cy="18434"/>
                </a:xfrm>
                <a:custGeom>
                  <a:avLst/>
                  <a:gdLst>
                    <a:gd name="connsiteX0" fmla="*/ 15443 w 18372"/>
                    <a:gd name="connsiteY0" fmla="*/ 15975 h 18434"/>
                    <a:gd name="connsiteX1" fmla="*/ 2465 w 18372"/>
                    <a:gd name="connsiteY1" fmla="*/ 15497 h 18434"/>
                    <a:gd name="connsiteX2" fmla="*/ 2884 w 18372"/>
                    <a:gd name="connsiteY2" fmla="*/ 2459 h 18434"/>
                    <a:gd name="connsiteX3" fmla="*/ 15862 w 18372"/>
                    <a:gd name="connsiteY3" fmla="*/ 2937 h 18434"/>
                    <a:gd name="connsiteX4" fmla="*/ 15443 w 18372"/>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4">
                      <a:moveTo>
                        <a:pt x="15443" y="15975"/>
                      </a:moveTo>
                      <a:cubicBezTo>
                        <a:pt x="11735" y="19444"/>
                        <a:pt x="5934" y="19205"/>
                        <a:pt x="2465" y="15497"/>
                      </a:cubicBezTo>
                      <a:cubicBezTo>
                        <a:pt x="-1004" y="11789"/>
                        <a:pt x="-764" y="5928"/>
                        <a:pt x="2884" y="2459"/>
                      </a:cubicBezTo>
                      <a:cubicBezTo>
                        <a:pt x="6592" y="-1010"/>
                        <a:pt x="12393" y="-771"/>
                        <a:pt x="15862" y="2937"/>
                      </a:cubicBezTo>
                      <a:cubicBezTo>
                        <a:pt x="19391" y="6705"/>
                        <a:pt x="19151" y="12506"/>
                        <a:pt x="15443" y="15975"/>
                      </a:cubicBezTo>
                      <a:close/>
                    </a:path>
                  </a:pathLst>
                </a:custGeom>
                <a:grpFill/>
                <a:ln w="5978" cap="flat">
                  <a:noFill/>
                  <a:prstDash val="solid"/>
                  <a:miter/>
                </a:ln>
              </p:spPr>
              <p:txBody>
                <a:bodyPr rtlCol="0" anchor="ctr"/>
                <a:lstStyle/>
                <a:p>
                  <a:endParaRPr lang="en-GB"/>
                </a:p>
              </p:txBody>
            </p:sp>
            <p:sp>
              <p:nvSpPr>
                <p:cNvPr id="2057" name="Vrije vorm: vorm 2056">
                  <a:extLst>
                    <a:ext uri="{FF2B5EF4-FFF2-40B4-BE49-F238E27FC236}">
                      <a16:creationId xmlns:a16="http://schemas.microsoft.com/office/drawing/2014/main" id="{3366379D-6EFF-41FC-803B-A1A828B937F5}"/>
                    </a:ext>
                  </a:extLst>
                </p:cNvPr>
                <p:cNvSpPr/>
                <p:nvPr/>
              </p:nvSpPr>
              <p:spPr>
                <a:xfrm>
                  <a:off x="4804837" y="4567749"/>
                  <a:ext cx="18370" cy="18434"/>
                </a:xfrm>
                <a:custGeom>
                  <a:avLst/>
                  <a:gdLst>
                    <a:gd name="connsiteX0" fmla="*/ 15465 w 18370"/>
                    <a:gd name="connsiteY0" fmla="*/ 15975 h 18434"/>
                    <a:gd name="connsiteX1" fmla="*/ 15884 w 18370"/>
                    <a:gd name="connsiteY1" fmla="*/ 2937 h 18434"/>
                    <a:gd name="connsiteX2" fmla="*/ 2905 w 18370"/>
                    <a:gd name="connsiteY2" fmla="*/ 2459 h 18434"/>
                    <a:gd name="connsiteX3" fmla="*/ 2487 w 18370"/>
                    <a:gd name="connsiteY3" fmla="*/ 15497 h 18434"/>
                    <a:gd name="connsiteX4" fmla="*/ 15465 w 18370"/>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4">
                      <a:moveTo>
                        <a:pt x="15465" y="15975"/>
                      </a:moveTo>
                      <a:cubicBezTo>
                        <a:pt x="19173" y="12507"/>
                        <a:pt x="19352" y="6705"/>
                        <a:pt x="15884" y="2937"/>
                      </a:cubicBezTo>
                      <a:cubicBezTo>
                        <a:pt x="12415" y="-771"/>
                        <a:pt x="6613" y="-1010"/>
                        <a:pt x="2905" y="2459"/>
                      </a:cubicBezTo>
                      <a:cubicBezTo>
                        <a:pt x="-803" y="5928"/>
                        <a:pt x="-982" y="11729"/>
                        <a:pt x="2487" y="15497"/>
                      </a:cubicBezTo>
                      <a:cubicBezTo>
                        <a:pt x="5955" y="19205"/>
                        <a:pt x="11757" y="19444"/>
                        <a:pt x="15465" y="15975"/>
                      </a:cubicBezTo>
                      <a:close/>
                    </a:path>
                  </a:pathLst>
                </a:custGeom>
                <a:grpFill/>
                <a:ln w="5978" cap="flat">
                  <a:noFill/>
                  <a:prstDash val="solid"/>
                  <a:miter/>
                </a:ln>
              </p:spPr>
              <p:txBody>
                <a:bodyPr rtlCol="0" anchor="ctr"/>
                <a:lstStyle/>
                <a:p>
                  <a:endParaRPr lang="en-GB"/>
                </a:p>
              </p:txBody>
            </p:sp>
          </p:grpSp>
          <p:grpSp>
            <p:nvGrpSpPr>
              <p:cNvPr id="1116" name="Graphic 3">
                <a:extLst>
                  <a:ext uri="{FF2B5EF4-FFF2-40B4-BE49-F238E27FC236}">
                    <a16:creationId xmlns:a16="http://schemas.microsoft.com/office/drawing/2014/main" id="{CABC6C27-A413-49B5-9331-73D434197F2E}"/>
                  </a:ext>
                </a:extLst>
              </p:cNvPr>
              <p:cNvGrpSpPr/>
              <p:nvPr/>
            </p:nvGrpSpPr>
            <p:grpSpPr>
              <a:xfrm>
                <a:off x="3876097" y="2829491"/>
                <a:ext cx="532639" cy="187372"/>
                <a:chOff x="3876097" y="2829491"/>
                <a:chExt cx="532639" cy="187372"/>
              </a:xfrm>
              <a:grpFill/>
            </p:grpSpPr>
            <p:sp>
              <p:nvSpPr>
                <p:cNvPr id="2052" name="Vrije vorm: vorm 2051">
                  <a:extLst>
                    <a:ext uri="{FF2B5EF4-FFF2-40B4-BE49-F238E27FC236}">
                      <a16:creationId xmlns:a16="http://schemas.microsoft.com/office/drawing/2014/main" id="{F95867E8-092E-4335-98E0-DE0F8AF0BABE}"/>
                    </a:ext>
                  </a:extLst>
                </p:cNvPr>
                <p:cNvSpPr/>
                <p:nvPr/>
              </p:nvSpPr>
              <p:spPr>
                <a:xfrm>
                  <a:off x="3884379" y="2837115"/>
                  <a:ext cx="516076" cy="172125"/>
                </a:xfrm>
                <a:custGeom>
                  <a:avLst/>
                  <a:gdLst>
                    <a:gd name="connsiteX0" fmla="*/ 516076 w 516076"/>
                    <a:gd name="connsiteY0" fmla="*/ 169254 h 172125"/>
                    <a:gd name="connsiteX1" fmla="*/ 515179 w 516076"/>
                    <a:gd name="connsiteY1" fmla="*/ 172125 h 172125"/>
                    <a:gd name="connsiteX2" fmla="*/ 0 w 516076"/>
                    <a:gd name="connsiteY2" fmla="*/ 2930 h 172125"/>
                    <a:gd name="connsiteX3" fmla="*/ 957 w 516076"/>
                    <a:gd name="connsiteY3" fmla="*/ 0 h 172125"/>
                  </a:gdLst>
                  <a:ahLst/>
                  <a:cxnLst>
                    <a:cxn ang="0">
                      <a:pos x="connsiteX0" y="connsiteY0"/>
                    </a:cxn>
                    <a:cxn ang="0">
                      <a:pos x="connsiteX1" y="connsiteY1"/>
                    </a:cxn>
                    <a:cxn ang="0">
                      <a:pos x="connsiteX2" y="connsiteY2"/>
                    </a:cxn>
                    <a:cxn ang="0">
                      <a:pos x="connsiteX3" y="connsiteY3"/>
                    </a:cxn>
                  </a:cxnLst>
                  <a:rect l="l" t="t" r="r" b="b"/>
                  <a:pathLst>
                    <a:path w="516076" h="172125">
                      <a:moveTo>
                        <a:pt x="516076" y="169254"/>
                      </a:moveTo>
                      <a:lnTo>
                        <a:pt x="515179" y="172125"/>
                      </a:lnTo>
                      <a:lnTo>
                        <a:pt x="0" y="2930"/>
                      </a:lnTo>
                      <a:lnTo>
                        <a:pt x="957" y="0"/>
                      </a:lnTo>
                      <a:close/>
                    </a:path>
                  </a:pathLst>
                </a:custGeom>
                <a:grpFill/>
                <a:ln w="5978" cap="flat">
                  <a:noFill/>
                  <a:prstDash val="solid"/>
                  <a:miter/>
                </a:ln>
              </p:spPr>
              <p:txBody>
                <a:bodyPr rtlCol="0" anchor="ctr"/>
                <a:lstStyle/>
                <a:p>
                  <a:endParaRPr lang="en-GB"/>
                </a:p>
              </p:txBody>
            </p:sp>
            <p:sp>
              <p:nvSpPr>
                <p:cNvPr id="2053" name="Vrije vorm: vorm 2052">
                  <a:extLst>
                    <a:ext uri="{FF2B5EF4-FFF2-40B4-BE49-F238E27FC236}">
                      <a16:creationId xmlns:a16="http://schemas.microsoft.com/office/drawing/2014/main" id="{EF47D676-AE0D-45BF-87BD-BAB4EF32F715}"/>
                    </a:ext>
                  </a:extLst>
                </p:cNvPr>
                <p:cNvSpPr/>
                <p:nvPr/>
              </p:nvSpPr>
              <p:spPr>
                <a:xfrm>
                  <a:off x="4390380" y="2998447"/>
                  <a:ext cx="18357" cy="18416"/>
                </a:xfrm>
                <a:custGeom>
                  <a:avLst/>
                  <a:gdLst>
                    <a:gd name="connsiteX0" fmla="*/ 11990 w 18357"/>
                    <a:gd name="connsiteY0" fmla="*/ 447 h 18416"/>
                    <a:gd name="connsiteX1" fmla="*/ 17910 w 18357"/>
                    <a:gd name="connsiteY1" fmla="*/ 12049 h 18416"/>
                    <a:gd name="connsiteX2" fmla="*/ 6368 w 18357"/>
                    <a:gd name="connsiteY2" fmla="*/ 17970 h 18416"/>
                    <a:gd name="connsiteX3" fmla="*/ 447 w 18357"/>
                    <a:gd name="connsiteY3" fmla="*/ 6368 h 18416"/>
                    <a:gd name="connsiteX4" fmla="*/ 11990 w 18357"/>
                    <a:gd name="connsiteY4" fmla="*/ 44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11990" y="447"/>
                      </a:moveTo>
                      <a:cubicBezTo>
                        <a:pt x="16834" y="2002"/>
                        <a:pt x="19465" y="7205"/>
                        <a:pt x="17910" y="12049"/>
                      </a:cubicBezTo>
                      <a:cubicBezTo>
                        <a:pt x="16355" y="16894"/>
                        <a:pt x="11212" y="19525"/>
                        <a:pt x="6368" y="17970"/>
                      </a:cubicBezTo>
                      <a:cubicBezTo>
                        <a:pt x="1523" y="16415"/>
                        <a:pt x="-1108" y="11212"/>
                        <a:pt x="447" y="6368"/>
                      </a:cubicBezTo>
                      <a:cubicBezTo>
                        <a:pt x="2001" y="1523"/>
                        <a:pt x="7205" y="-1108"/>
                        <a:pt x="11990" y="447"/>
                      </a:cubicBezTo>
                      <a:close/>
                    </a:path>
                  </a:pathLst>
                </a:custGeom>
                <a:grpFill/>
                <a:ln w="5978" cap="flat">
                  <a:noFill/>
                  <a:prstDash val="solid"/>
                  <a:miter/>
                </a:ln>
              </p:spPr>
              <p:txBody>
                <a:bodyPr rtlCol="0" anchor="ctr"/>
                <a:lstStyle/>
                <a:p>
                  <a:endParaRPr lang="en-GB"/>
                </a:p>
              </p:txBody>
            </p:sp>
            <p:sp>
              <p:nvSpPr>
                <p:cNvPr id="2054" name="Vrije vorm: vorm 2053">
                  <a:extLst>
                    <a:ext uri="{FF2B5EF4-FFF2-40B4-BE49-F238E27FC236}">
                      <a16:creationId xmlns:a16="http://schemas.microsoft.com/office/drawing/2014/main" id="{6A47E7CF-405B-475A-B4CF-B3AE9AA78D3F}"/>
                    </a:ext>
                  </a:extLst>
                </p:cNvPr>
                <p:cNvSpPr/>
                <p:nvPr/>
              </p:nvSpPr>
              <p:spPr>
                <a:xfrm>
                  <a:off x="3876097" y="2829491"/>
                  <a:ext cx="18357" cy="18358"/>
                </a:xfrm>
                <a:custGeom>
                  <a:avLst/>
                  <a:gdLst>
                    <a:gd name="connsiteX0" fmla="*/ 11990 w 18357"/>
                    <a:gd name="connsiteY0" fmla="*/ 447 h 18358"/>
                    <a:gd name="connsiteX1" fmla="*/ 447 w 18357"/>
                    <a:gd name="connsiteY1" fmla="*/ 6308 h 18358"/>
                    <a:gd name="connsiteX2" fmla="*/ 6368 w 18357"/>
                    <a:gd name="connsiteY2" fmla="*/ 17911 h 18358"/>
                    <a:gd name="connsiteX3" fmla="*/ 17911 w 18357"/>
                    <a:gd name="connsiteY3" fmla="*/ 12050 h 18358"/>
                    <a:gd name="connsiteX4" fmla="*/ 11990 w 18357"/>
                    <a:gd name="connsiteY4" fmla="*/ 447 h 1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358">
                      <a:moveTo>
                        <a:pt x="11990" y="447"/>
                      </a:moveTo>
                      <a:cubicBezTo>
                        <a:pt x="7145" y="-1108"/>
                        <a:pt x="2002" y="1524"/>
                        <a:pt x="447" y="6308"/>
                      </a:cubicBezTo>
                      <a:cubicBezTo>
                        <a:pt x="-1108" y="11153"/>
                        <a:pt x="1523" y="16356"/>
                        <a:pt x="6368" y="17911"/>
                      </a:cubicBezTo>
                      <a:cubicBezTo>
                        <a:pt x="11152" y="19466"/>
                        <a:pt x="16356" y="16834"/>
                        <a:pt x="17911" y="12050"/>
                      </a:cubicBezTo>
                      <a:cubicBezTo>
                        <a:pt x="19466" y="7265"/>
                        <a:pt x="16834" y="2062"/>
                        <a:pt x="11990" y="447"/>
                      </a:cubicBezTo>
                      <a:close/>
                    </a:path>
                  </a:pathLst>
                </a:custGeom>
                <a:grpFill/>
                <a:ln w="5978" cap="flat">
                  <a:noFill/>
                  <a:prstDash val="solid"/>
                  <a:miter/>
                </a:ln>
              </p:spPr>
              <p:txBody>
                <a:bodyPr rtlCol="0" anchor="ctr"/>
                <a:lstStyle/>
                <a:p>
                  <a:endParaRPr lang="en-GB"/>
                </a:p>
              </p:txBody>
            </p:sp>
          </p:grpSp>
          <p:grpSp>
            <p:nvGrpSpPr>
              <p:cNvPr id="1117" name="Graphic 3">
                <a:extLst>
                  <a:ext uri="{FF2B5EF4-FFF2-40B4-BE49-F238E27FC236}">
                    <a16:creationId xmlns:a16="http://schemas.microsoft.com/office/drawing/2014/main" id="{D1273161-45D4-45B0-95BC-77BA2FD6EB68}"/>
                  </a:ext>
                </a:extLst>
              </p:cNvPr>
              <p:cNvGrpSpPr/>
              <p:nvPr/>
            </p:nvGrpSpPr>
            <p:grpSpPr>
              <a:xfrm>
                <a:off x="4606341" y="4335183"/>
                <a:ext cx="51511" cy="40378"/>
                <a:chOff x="4606341" y="4335183"/>
                <a:chExt cx="51511" cy="40378"/>
              </a:xfrm>
              <a:grpFill/>
            </p:grpSpPr>
            <p:sp>
              <p:nvSpPr>
                <p:cNvPr id="2049" name="Vrije vorm: vorm 2048">
                  <a:extLst>
                    <a:ext uri="{FF2B5EF4-FFF2-40B4-BE49-F238E27FC236}">
                      <a16:creationId xmlns:a16="http://schemas.microsoft.com/office/drawing/2014/main" id="{FB2D2B76-3817-4D37-BFAC-38DFBD477CC6}"/>
                    </a:ext>
                  </a:extLst>
                </p:cNvPr>
                <p:cNvSpPr/>
                <p:nvPr/>
              </p:nvSpPr>
              <p:spPr>
                <a:xfrm>
                  <a:off x="4614266" y="4342881"/>
                  <a:ext cx="35645" cy="24939"/>
                </a:xfrm>
                <a:custGeom>
                  <a:avLst/>
                  <a:gdLst>
                    <a:gd name="connsiteX0" fmla="*/ 35645 w 35645"/>
                    <a:gd name="connsiteY0" fmla="*/ 2572 h 24939"/>
                    <a:gd name="connsiteX1" fmla="*/ 1674 w 35645"/>
                    <a:gd name="connsiteY1" fmla="*/ 24940 h 24939"/>
                    <a:gd name="connsiteX2" fmla="*/ 0 w 35645"/>
                    <a:gd name="connsiteY2" fmla="*/ 22428 h 24939"/>
                    <a:gd name="connsiteX3" fmla="*/ 33970 w 35645"/>
                    <a:gd name="connsiteY3" fmla="*/ 0 h 24939"/>
                  </a:gdLst>
                  <a:ahLst/>
                  <a:cxnLst>
                    <a:cxn ang="0">
                      <a:pos x="connsiteX0" y="connsiteY0"/>
                    </a:cxn>
                    <a:cxn ang="0">
                      <a:pos x="connsiteX1" y="connsiteY1"/>
                    </a:cxn>
                    <a:cxn ang="0">
                      <a:pos x="connsiteX2" y="connsiteY2"/>
                    </a:cxn>
                    <a:cxn ang="0">
                      <a:pos x="connsiteX3" y="connsiteY3"/>
                    </a:cxn>
                  </a:cxnLst>
                  <a:rect l="l" t="t" r="r" b="b"/>
                  <a:pathLst>
                    <a:path w="35645" h="24939">
                      <a:moveTo>
                        <a:pt x="35645" y="2572"/>
                      </a:moveTo>
                      <a:lnTo>
                        <a:pt x="1674" y="24940"/>
                      </a:lnTo>
                      <a:lnTo>
                        <a:pt x="0" y="22428"/>
                      </a:lnTo>
                      <a:lnTo>
                        <a:pt x="33970" y="0"/>
                      </a:lnTo>
                      <a:close/>
                    </a:path>
                  </a:pathLst>
                </a:custGeom>
                <a:grpFill/>
                <a:ln w="5978" cap="flat">
                  <a:noFill/>
                  <a:prstDash val="solid"/>
                  <a:miter/>
                </a:ln>
              </p:spPr>
              <p:txBody>
                <a:bodyPr rtlCol="0" anchor="ctr"/>
                <a:lstStyle/>
                <a:p>
                  <a:endParaRPr lang="en-GB"/>
                </a:p>
              </p:txBody>
            </p:sp>
            <p:sp>
              <p:nvSpPr>
                <p:cNvPr id="2050" name="Vrije vorm: vorm 2049">
                  <a:extLst>
                    <a:ext uri="{FF2B5EF4-FFF2-40B4-BE49-F238E27FC236}">
                      <a16:creationId xmlns:a16="http://schemas.microsoft.com/office/drawing/2014/main" id="{CE7D536A-0672-4DD7-B652-2E6A9E351200}"/>
                    </a:ext>
                  </a:extLst>
                </p:cNvPr>
                <p:cNvSpPr/>
                <p:nvPr/>
              </p:nvSpPr>
              <p:spPr>
                <a:xfrm>
                  <a:off x="4606341" y="4357090"/>
                  <a:ext cx="18318" cy="18470"/>
                </a:xfrm>
                <a:custGeom>
                  <a:avLst/>
                  <a:gdLst>
                    <a:gd name="connsiteX0" fmla="*/ 14205 w 18318"/>
                    <a:gd name="connsiteY0" fmla="*/ 16951 h 18470"/>
                    <a:gd name="connsiteX1" fmla="*/ 1526 w 18318"/>
                    <a:gd name="connsiteY1" fmla="*/ 14259 h 18470"/>
                    <a:gd name="connsiteX2" fmla="*/ 4098 w 18318"/>
                    <a:gd name="connsiteY2" fmla="*/ 1520 h 18470"/>
                    <a:gd name="connsiteX3" fmla="*/ 16777 w 18318"/>
                    <a:gd name="connsiteY3" fmla="*/ 4212 h 18470"/>
                    <a:gd name="connsiteX4" fmla="*/ 14205 w 18318"/>
                    <a:gd name="connsiteY4" fmla="*/ 16951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0">
                      <a:moveTo>
                        <a:pt x="14205" y="16951"/>
                      </a:moveTo>
                      <a:cubicBezTo>
                        <a:pt x="9959" y="19761"/>
                        <a:pt x="4277" y="18565"/>
                        <a:pt x="1526" y="14259"/>
                      </a:cubicBezTo>
                      <a:cubicBezTo>
                        <a:pt x="-1285" y="10013"/>
                        <a:pt x="-89" y="4271"/>
                        <a:pt x="4098" y="1520"/>
                      </a:cubicBezTo>
                      <a:cubicBezTo>
                        <a:pt x="8344" y="-1291"/>
                        <a:pt x="14026" y="-95"/>
                        <a:pt x="16777" y="4212"/>
                      </a:cubicBezTo>
                      <a:cubicBezTo>
                        <a:pt x="19588" y="8458"/>
                        <a:pt x="18451" y="14139"/>
                        <a:pt x="14205" y="16951"/>
                      </a:cubicBezTo>
                      <a:close/>
                    </a:path>
                  </a:pathLst>
                </a:custGeom>
                <a:grpFill/>
                <a:ln w="5978" cap="flat">
                  <a:noFill/>
                  <a:prstDash val="solid"/>
                  <a:miter/>
                </a:ln>
              </p:spPr>
              <p:txBody>
                <a:bodyPr rtlCol="0" anchor="ctr"/>
                <a:lstStyle/>
                <a:p>
                  <a:endParaRPr lang="en-GB"/>
                </a:p>
              </p:txBody>
            </p:sp>
            <p:sp>
              <p:nvSpPr>
                <p:cNvPr id="2051" name="Vrije vorm: vorm 2050">
                  <a:extLst>
                    <a:ext uri="{FF2B5EF4-FFF2-40B4-BE49-F238E27FC236}">
                      <a16:creationId xmlns:a16="http://schemas.microsoft.com/office/drawing/2014/main" id="{A2DFD333-84F7-48F0-AEF8-4CB358F24E18}"/>
                    </a:ext>
                  </a:extLst>
                </p:cNvPr>
                <p:cNvSpPr/>
                <p:nvPr/>
              </p:nvSpPr>
              <p:spPr>
                <a:xfrm>
                  <a:off x="4639518" y="4335183"/>
                  <a:ext cx="18333" cy="18428"/>
                </a:xfrm>
                <a:custGeom>
                  <a:avLst/>
                  <a:gdLst>
                    <a:gd name="connsiteX0" fmla="*/ 14220 w 18333"/>
                    <a:gd name="connsiteY0" fmla="*/ 16909 h 18428"/>
                    <a:gd name="connsiteX1" fmla="*/ 16792 w 18333"/>
                    <a:gd name="connsiteY1" fmla="*/ 4170 h 18428"/>
                    <a:gd name="connsiteX2" fmla="*/ 4113 w 18333"/>
                    <a:gd name="connsiteY2" fmla="*/ 1479 h 18428"/>
                    <a:gd name="connsiteX3" fmla="*/ 1541 w 18333"/>
                    <a:gd name="connsiteY3" fmla="*/ 14218 h 18428"/>
                    <a:gd name="connsiteX4" fmla="*/ 14220 w 18333"/>
                    <a:gd name="connsiteY4" fmla="*/ 16909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28">
                      <a:moveTo>
                        <a:pt x="14220" y="16909"/>
                      </a:moveTo>
                      <a:cubicBezTo>
                        <a:pt x="18467" y="14098"/>
                        <a:pt x="19603" y="8416"/>
                        <a:pt x="16792" y="4170"/>
                      </a:cubicBezTo>
                      <a:cubicBezTo>
                        <a:pt x="13981" y="-76"/>
                        <a:pt x="8300" y="-1273"/>
                        <a:pt x="4113" y="1479"/>
                      </a:cubicBezTo>
                      <a:cubicBezTo>
                        <a:pt x="-133" y="4289"/>
                        <a:pt x="-1269" y="9971"/>
                        <a:pt x="1541" y="14218"/>
                      </a:cubicBezTo>
                      <a:cubicBezTo>
                        <a:pt x="4352" y="18524"/>
                        <a:pt x="10034" y="19720"/>
                        <a:pt x="14220" y="16909"/>
                      </a:cubicBezTo>
                      <a:close/>
                    </a:path>
                  </a:pathLst>
                </a:custGeom>
                <a:grpFill/>
                <a:ln w="5978" cap="flat">
                  <a:noFill/>
                  <a:prstDash val="solid"/>
                  <a:miter/>
                </a:ln>
              </p:spPr>
              <p:txBody>
                <a:bodyPr rtlCol="0" anchor="ctr"/>
                <a:lstStyle/>
                <a:p>
                  <a:endParaRPr lang="en-GB"/>
                </a:p>
              </p:txBody>
            </p:sp>
          </p:grpSp>
          <p:grpSp>
            <p:nvGrpSpPr>
              <p:cNvPr id="1118" name="Graphic 3">
                <a:extLst>
                  <a:ext uri="{FF2B5EF4-FFF2-40B4-BE49-F238E27FC236}">
                    <a16:creationId xmlns:a16="http://schemas.microsoft.com/office/drawing/2014/main" id="{A07BDB78-BF93-4292-B904-C09A920F4E69}"/>
                  </a:ext>
                </a:extLst>
              </p:cNvPr>
              <p:cNvGrpSpPr/>
              <p:nvPr/>
            </p:nvGrpSpPr>
            <p:grpSpPr>
              <a:xfrm>
                <a:off x="4617235" y="4531976"/>
                <a:ext cx="198204" cy="180289"/>
                <a:chOff x="4617235" y="4531976"/>
                <a:chExt cx="198204" cy="180289"/>
              </a:xfrm>
              <a:grpFill/>
            </p:grpSpPr>
            <p:sp>
              <p:nvSpPr>
                <p:cNvPr id="2046" name="Vrije vorm: vorm 2045">
                  <a:extLst>
                    <a:ext uri="{FF2B5EF4-FFF2-40B4-BE49-F238E27FC236}">
                      <a16:creationId xmlns:a16="http://schemas.microsoft.com/office/drawing/2014/main" id="{8EBC7508-8E17-4841-9456-3F8CDBD9D367}"/>
                    </a:ext>
                  </a:extLst>
                </p:cNvPr>
                <p:cNvSpPr/>
                <p:nvPr/>
              </p:nvSpPr>
              <p:spPr>
                <a:xfrm>
                  <a:off x="4625031" y="4539706"/>
                  <a:ext cx="182591" cy="164828"/>
                </a:xfrm>
                <a:custGeom>
                  <a:avLst/>
                  <a:gdLst>
                    <a:gd name="connsiteX0" fmla="*/ 182592 w 182591"/>
                    <a:gd name="connsiteY0" fmla="*/ 2273 h 164828"/>
                    <a:gd name="connsiteX1" fmla="*/ 2034 w 182591"/>
                    <a:gd name="connsiteY1" fmla="*/ 164829 h 164828"/>
                    <a:gd name="connsiteX2" fmla="*/ 0 w 182591"/>
                    <a:gd name="connsiteY2" fmla="*/ 162496 h 164828"/>
                    <a:gd name="connsiteX3" fmla="*/ 180558 w 182591"/>
                    <a:gd name="connsiteY3" fmla="*/ 0 h 164828"/>
                  </a:gdLst>
                  <a:ahLst/>
                  <a:cxnLst>
                    <a:cxn ang="0">
                      <a:pos x="connsiteX0" y="connsiteY0"/>
                    </a:cxn>
                    <a:cxn ang="0">
                      <a:pos x="connsiteX1" y="connsiteY1"/>
                    </a:cxn>
                    <a:cxn ang="0">
                      <a:pos x="connsiteX2" y="connsiteY2"/>
                    </a:cxn>
                    <a:cxn ang="0">
                      <a:pos x="connsiteX3" y="connsiteY3"/>
                    </a:cxn>
                  </a:cxnLst>
                  <a:rect l="l" t="t" r="r" b="b"/>
                  <a:pathLst>
                    <a:path w="182591" h="164828">
                      <a:moveTo>
                        <a:pt x="182592" y="2273"/>
                      </a:moveTo>
                      <a:lnTo>
                        <a:pt x="2034" y="164829"/>
                      </a:lnTo>
                      <a:lnTo>
                        <a:pt x="0" y="162496"/>
                      </a:lnTo>
                      <a:lnTo>
                        <a:pt x="180558" y="0"/>
                      </a:lnTo>
                      <a:close/>
                    </a:path>
                  </a:pathLst>
                </a:custGeom>
                <a:grpFill/>
                <a:ln w="5978" cap="flat">
                  <a:noFill/>
                  <a:prstDash val="solid"/>
                  <a:miter/>
                </a:ln>
              </p:spPr>
              <p:txBody>
                <a:bodyPr rtlCol="0" anchor="ctr"/>
                <a:lstStyle/>
                <a:p>
                  <a:endParaRPr lang="en-GB"/>
                </a:p>
              </p:txBody>
            </p:sp>
            <p:sp>
              <p:nvSpPr>
                <p:cNvPr id="2047" name="Vrije vorm: vorm 2046">
                  <a:extLst>
                    <a:ext uri="{FF2B5EF4-FFF2-40B4-BE49-F238E27FC236}">
                      <a16:creationId xmlns:a16="http://schemas.microsoft.com/office/drawing/2014/main" id="{47ED1465-F093-4D28-9EE1-96E24DEE782A}"/>
                    </a:ext>
                  </a:extLst>
                </p:cNvPr>
                <p:cNvSpPr/>
                <p:nvPr/>
              </p:nvSpPr>
              <p:spPr>
                <a:xfrm>
                  <a:off x="4617235" y="4693875"/>
                  <a:ext cx="18303" cy="18391"/>
                </a:xfrm>
                <a:custGeom>
                  <a:avLst/>
                  <a:gdLst>
                    <a:gd name="connsiteX0" fmla="*/ 15272 w 18303"/>
                    <a:gd name="connsiteY0" fmla="*/ 16043 h 18391"/>
                    <a:gd name="connsiteX1" fmla="*/ 2354 w 18303"/>
                    <a:gd name="connsiteY1" fmla="*/ 15326 h 18391"/>
                    <a:gd name="connsiteX2" fmla="*/ 3011 w 18303"/>
                    <a:gd name="connsiteY2" fmla="*/ 2348 h 18391"/>
                    <a:gd name="connsiteX3" fmla="*/ 15930 w 18303"/>
                    <a:gd name="connsiteY3" fmla="*/ 3065 h 18391"/>
                    <a:gd name="connsiteX4" fmla="*/ 15272 w 18303"/>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91">
                      <a:moveTo>
                        <a:pt x="15272" y="16043"/>
                      </a:moveTo>
                      <a:cubicBezTo>
                        <a:pt x="11504" y="19452"/>
                        <a:pt x="5703" y="19094"/>
                        <a:pt x="2354" y="15326"/>
                      </a:cubicBezTo>
                      <a:cubicBezTo>
                        <a:pt x="-1055" y="11498"/>
                        <a:pt x="-697" y="5697"/>
                        <a:pt x="3011" y="2348"/>
                      </a:cubicBezTo>
                      <a:cubicBezTo>
                        <a:pt x="6779" y="-1061"/>
                        <a:pt x="12580" y="-703"/>
                        <a:pt x="15930" y="3065"/>
                      </a:cubicBezTo>
                      <a:cubicBezTo>
                        <a:pt x="19339" y="6833"/>
                        <a:pt x="19040" y="12694"/>
                        <a:pt x="15272" y="16043"/>
                      </a:cubicBezTo>
                      <a:close/>
                    </a:path>
                  </a:pathLst>
                </a:custGeom>
                <a:grpFill/>
                <a:ln w="5978" cap="flat">
                  <a:noFill/>
                  <a:prstDash val="solid"/>
                  <a:miter/>
                </a:ln>
              </p:spPr>
              <p:txBody>
                <a:bodyPr rtlCol="0" anchor="ctr"/>
                <a:lstStyle/>
                <a:p>
                  <a:endParaRPr lang="en-GB"/>
                </a:p>
              </p:txBody>
            </p:sp>
            <p:sp>
              <p:nvSpPr>
                <p:cNvPr id="2048" name="Vrije vorm: vorm 2047">
                  <a:extLst>
                    <a:ext uri="{FF2B5EF4-FFF2-40B4-BE49-F238E27FC236}">
                      <a16:creationId xmlns:a16="http://schemas.microsoft.com/office/drawing/2014/main" id="{A6B4E9F2-C487-45DB-B387-0882DE5AC82A}"/>
                    </a:ext>
                  </a:extLst>
                </p:cNvPr>
                <p:cNvSpPr/>
                <p:nvPr/>
              </p:nvSpPr>
              <p:spPr>
                <a:xfrm>
                  <a:off x="4797115" y="4531976"/>
                  <a:ext cx="18325" cy="18391"/>
                </a:xfrm>
                <a:custGeom>
                  <a:avLst/>
                  <a:gdLst>
                    <a:gd name="connsiteX0" fmla="*/ 15293 w 18325"/>
                    <a:gd name="connsiteY0" fmla="*/ 16043 h 18391"/>
                    <a:gd name="connsiteX1" fmla="*/ 15951 w 18325"/>
                    <a:gd name="connsiteY1" fmla="*/ 3065 h 18391"/>
                    <a:gd name="connsiteX2" fmla="*/ 3032 w 18325"/>
                    <a:gd name="connsiteY2" fmla="*/ 2348 h 18391"/>
                    <a:gd name="connsiteX3" fmla="*/ 2374 w 18325"/>
                    <a:gd name="connsiteY3" fmla="*/ 15326 h 18391"/>
                    <a:gd name="connsiteX4" fmla="*/ 15293 w 18325"/>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91">
                      <a:moveTo>
                        <a:pt x="15293" y="16043"/>
                      </a:moveTo>
                      <a:cubicBezTo>
                        <a:pt x="19061" y="12634"/>
                        <a:pt x="19360" y="6833"/>
                        <a:pt x="15951" y="3065"/>
                      </a:cubicBezTo>
                      <a:cubicBezTo>
                        <a:pt x="12542" y="-703"/>
                        <a:pt x="6800" y="-1061"/>
                        <a:pt x="3032" y="2348"/>
                      </a:cubicBezTo>
                      <a:cubicBezTo>
                        <a:pt x="-735" y="5757"/>
                        <a:pt x="-1035" y="11558"/>
                        <a:pt x="2374" y="15326"/>
                      </a:cubicBezTo>
                      <a:cubicBezTo>
                        <a:pt x="5723" y="19094"/>
                        <a:pt x="11525" y="19452"/>
                        <a:pt x="15293" y="16043"/>
                      </a:cubicBezTo>
                      <a:close/>
                    </a:path>
                  </a:pathLst>
                </a:custGeom>
                <a:grpFill/>
                <a:ln w="5978" cap="flat">
                  <a:noFill/>
                  <a:prstDash val="solid"/>
                  <a:miter/>
                </a:ln>
              </p:spPr>
              <p:txBody>
                <a:bodyPr rtlCol="0" anchor="ctr"/>
                <a:lstStyle/>
                <a:p>
                  <a:endParaRPr lang="en-GB"/>
                </a:p>
              </p:txBody>
            </p:sp>
          </p:grpSp>
          <p:grpSp>
            <p:nvGrpSpPr>
              <p:cNvPr id="1119" name="Graphic 3">
                <a:extLst>
                  <a:ext uri="{FF2B5EF4-FFF2-40B4-BE49-F238E27FC236}">
                    <a16:creationId xmlns:a16="http://schemas.microsoft.com/office/drawing/2014/main" id="{8603F168-9058-48C1-873C-224893EC0FDE}"/>
                  </a:ext>
                </a:extLst>
              </p:cNvPr>
              <p:cNvGrpSpPr/>
              <p:nvPr/>
            </p:nvGrpSpPr>
            <p:grpSpPr>
              <a:xfrm>
                <a:off x="4191543" y="3340865"/>
                <a:ext cx="191035" cy="24652"/>
                <a:chOff x="4191543" y="3340865"/>
                <a:chExt cx="191035" cy="24652"/>
              </a:xfrm>
              <a:grpFill/>
            </p:grpSpPr>
            <p:sp>
              <p:nvSpPr>
                <p:cNvPr id="2043" name="Vrije vorm: vorm 2042">
                  <a:extLst>
                    <a:ext uri="{FF2B5EF4-FFF2-40B4-BE49-F238E27FC236}">
                      <a16:creationId xmlns:a16="http://schemas.microsoft.com/office/drawing/2014/main" id="{FDE04CB9-33BD-4B0F-8B27-0C3924E54332}"/>
                    </a:ext>
                  </a:extLst>
                </p:cNvPr>
                <p:cNvSpPr/>
                <p:nvPr/>
              </p:nvSpPr>
              <p:spPr>
                <a:xfrm>
                  <a:off x="4200221" y="3348526"/>
                  <a:ext cx="173680" cy="9329"/>
                </a:xfrm>
                <a:custGeom>
                  <a:avLst/>
                  <a:gdLst>
                    <a:gd name="connsiteX0" fmla="*/ 173680 w 173680"/>
                    <a:gd name="connsiteY0" fmla="*/ 6220 h 9329"/>
                    <a:gd name="connsiteX1" fmla="*/ 173620 w 173680"/>
                    <a:gd name="connsiteY1" fmla="*/ 9330 h 9329"/>
                    <a:gd name="connsiteX2" fmla="*/ 0 w 173680"/>
                    <a:gd name="connsiteY2" fmla="*/ 3050 h 9329"/>
                    <a:gd name="connsiteX3" fmla="*/ 119 w 173680"/>
                    <a:gd name="connsiteY3" fmla="*/ 0 h 9329"/>
                  </a:gdLst>
                  <a:ahLst/>
                  <a:cxnLst>
                    <a:cxn ang="0">
                      <a:pos x="connsiteX0" y="connsiteY0"/>
                    </a:cxn>
                    <a:cxn ang="0">
                      <a:pos x="connsiteX1" y="connsiteY1"/>
                    </a:cxn>
                    <a:cxn ang="0">
                      <a:pos x="connsiteX2" y="connsiteY2"/>
                    </a:cxn>
                    <a:cxn ang="0">
                      <a:pos x="connsiteX3" y="connsiteY3"/>
                    </a:cxn>
                  </a:cxnLst>
                  <a:rect l="l" t="t" r="r" b="b"/>
                  <a:pathLst>
                    <a:path w="173680" h="9329">
                      <a:moveTo>
                        <a:pt x="173680" y="6220"/>
                      </a:moveTo>
                      <a:lnTo>
                        <a:pt x="173620" y="9330"/>
                      </a:lnTo>
                      <a:lnTo>
                        <a:pt x="0" y="3050"/>
                      </a:lnTo>
                      <a:lnTo>
                        <a:pt x="119" y="0"/>
                      </a:lnTo>
                      <a:close/>
                    </a:path>
                  </a:pathLst>
                </a:custGeom>
                <a:grpFill/>
                <a:ln w="5978" cap="flat">
                  <a:noFill/>
                  <a:prstDash val="solid"/>
                  <a:miter/>
                </a:ln>
              </p:spPr>
              <p:txBody>
                <a:bodyPr rtlCol="0" anchor="ctr"/>
                <a:lstStyle/>
                <a:p>
                  <a:endParaRPr lang="en-GB"/>
                </a:p>
              </p:txBody>
            </p:sp>
            <p:sp>
              <p:nvSpPr>
                <p:cNvPr id="2044" name="Vrije vorm: vorm 2043">
                  <a:extLst>
                    <a:ext uri="{FF2B5EF4-FFF2-40B4-BE49-F238E27FC236}">
                      <a16:creationId xmlns:a16="http://schemas.microsoft.com/office/drawing/2014/main" id="{69545F4B-48F7-4430-9DF8-1D331DD26FA9}"/>
                    </a:ext>
                  </a:extLst>
                </p:cNvPr>
                <p:cNvSpPr/>
                <p:nvPr/>
              </p:nvSpPr>
              <p:spPr>
                <a:xfrm>
                  <a:off x="4191543" y="3340865"/>
                  <a:ext cx="18312" cy="18372"/>
                </a:xfrm>
                <a:custGeom>
                  <a:avLst/>
                  <a:gdLst>
                    <a:gd name="connsiteX0" fmla="*/ 8857 w 18312"/>
                    <a:gd name="connsiteY0" fmla="*/ 18367 h 18372"/>
                    <a:gd name="connsiteX1" fmla="*/ 6 w 18312"/>
                    <a:gd name="connsiteY1" fmla="*/ 8857 h 18372"/>
                    <a:gd name="connsiteX2" fmla="*/ 9455 w 18312"/>
                    <a:gd name="connsiteY2" fmla="*/ 6 h 18372"/>
                    <a:gd name="connsiteX3" fmla="*/ 18307 w 18312"/>
                    <a:gd name="connsiteY3" fmla="*/ 9515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3774" y="18187"/>
                        <a:pt x="-174" y="13941"/>
                        <a:pt x="6" y="8857"/>
                      </a:cubicBezTo>
                      <a:cubicBezTo>
                        <a:pt x="185" y="3774"/>
                        <a:pt x="4372" y="-174"/>
                        <a:pt x="9455" y="6"/>
                      </a:cubicBezTo>
                      <a:cubicBezTo>
                        <a:pt x="14539" y="185"/>
                        <a:pt x="18486" y="4432"/>
                        <a:pt x="18307" y="9515"/>
                      </a:cubicBezTo>
                      <a:cubicBezTo>
                        <a:pt x="18127" y="14599"/>
                        <a:pt x="13941" y="18546"/>
                        <a:pt x="8857" y="18367"/>
                      </a:cubicBezTo>
                      <a:close/>
                    </a:path>
                  </a:pathLst>
                </a:custGeom>
                <a:grpFill/>
                <a:ln w="5978" cap="flat">
                  <a:noFill/>
                  <a:prstDash val="solid"/>
                  <a:miter/>
                </a:ln>
              </p:spPr>
              <p:txBody>
                <a:bodyPr rtlCol="0" anchor="ctr"/>
                <a:lstStyle/>
                <a:p>
                  <a:endParaRPr lang="en-GB"/>
                </a:p>
              </p:txBody>
            </p:sp>
            <p:sp>
              <p:nvSpPr>
                <p:cNvPr id="2045" name="Vrije vorm: vorm 2044">
                  <a:extLst>
                    <a:ext uri="{FF2B5EF4-FFF2-40B4-BE49-F238E27FC236}">
                      <a16:creationId xmlns:a16="http://schemas.microsoft.com/office/drawing/2014/main" id="{1B721726-A463-44A2-93E3-8342AEC68EE6}"/>
                    </a:ext>
                  </a:extLst>
                </p:cNvPr>
                <p:cNvSpPr/>
                <p:nvPr/>
              </p:nvSpPr>
              <p:spPr>
                <a:xfrm>
                  <a:off x="4364266" y="3347145"/>
                  <a:ext cx="18312" cy="18372"/>
                </a:xfrm>
                <a:custGeom>
                  <a:avLst/>
                  <a:gdLst>
                    <a:gd name="connsiteX0" fmla="*/ 8857 w 18312"/>
                    <a:gd name="connsiteY0" fmla="*/ 18367 h 18372"/>
                    <a:gd name="connsiteX1" fmla="*/ 18307 w 18312"/>
                    <a:gd name="connsiteY1" fmla="*/ 9515 h 18372"/>
                    <a:gd name="connsiteX2" fmla="*/ 9455 w 18312"/>
                    <a:gd name="connsiteY2" fmla="*/ 6 h 18372"/>
                    <a:gd name="connsiteX3" fmla="*/ 6 w 18312"/>
                    <a:gd name="connsiteY3" fmla="*/ 8857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13941" y="18546"/>
                        <a:pt x="18127" y="14599"/>
                        <a:pt x="18307" y="9515"/>
                      </a:cubicBezTo>
                      <a:cubicBezTo>
                        <a:pt x="18486" y="4432"/>
                        <a:pt x="14479" y="185"/>
                        <a:pt x="9455" y="6"/>
                      </a:cubicBezTo>
                      <a:cubicBezTo>
                        <a:pt x="4372" y="-174"/>
                        <a:pt x="185" y="3774"/>
                        <a:pt x="6" y="8857"/>
                      </a:cubicBezTo>
                      <a:cubicBezTo>
                        <a:pt x="-174" y="13881"/>
                        <a:pt x="3774" y="18187"/>
                        <a:pt x="8857" y="18367"/>
                      </a:cubicBezTo>
                      <a:close/>
                    </a:path>
                  </a:pathLst>
                </a:custGeom>
                <a:grpFill/>
                <a:ln w="5978" cap="flat">
                  <a:noFill/>
                  <a:prstDash val="solid"/>
                  <a:miter/>
                </a:ln>
              </p:spPr>
              <p:txBody>
                <a:bodyPr rtlCol="0" anchor="ctr"/>
                <a:lstStyle/>
                <a:p>
                  <a:endParaRPr lang="en-GB"/>
                </a:p>
              </p:txBody>
            </p:sp>
          </p:grpSp>
          <p:grpSp>
            <p:nvGrpSpPr>
              <p:cNvPr id="1120" name="Graphic 3">
                <a:extLst>
                  <a:ext uri="{FF2B5EF4-FFF2-40B4-BE49-F238E27FC236}">
                    <a16:creationId xmlns:a16="http://schemas.microsoft.com/office/drawing/2014/main" id="{FCAD4FA4-7DBC-4163-9565-449E1F990844}"/>
                  </a:ext>
                </a:extLst>
              </p:cNvPr>
              <p:cNvGrpSpPr/>
              <p:nvPr/>
            </p:nvGrpSpPr>
            <p:grpSpPr>
              <a:xfrm>
                <a:off x="4065420" y="2958050"/>
                <a:ext cx="208277" cy="61591"/>
                <a:chOff x="4065420" y="2958050"/>
                <a:chExt cx="208277" cy="61591"/>
              </a:xfrm>
              <a:grpFill/>
            </p:grpSpPr>
            <p:sp>
              <p:nvSpPr>
                <p:cNvPr id="2040" name="Vrije vorm: vorm 2039">
                  <a:extLst>
                    <a:ext uri="{FF2B5EF4-FFF2-40B4-BE49-F238E27FC236}">
                      <a16:creationId xmlns:a16="http://schemas.microsoft.com/office/drawing/2014/main" id="{ADDCA3FB-22E2-450E-BB97-44422D96D42F}"/>
                    </a:ext>
                  </a:extLst>
                </p:cNvPr>
                <p:cNvSpPr/>
                <p:nvPr/>
              </p:nvSpPr>
              <p:spPr>
                <a:xfrm>
                  <a:off x="4073788" y="2965641"/>
                  <a:ext cx="191502" cy="46350"/>
                </a:xfrm>
                <a:custGeom>
                  <a:avLst/>
                  <a:gdLst>
                    <a:gd name="connsiteX0" fmla="*/ 191502 w 191502"/>
                    <a:gd name="connsiteY0" fmla="*/ 43360 h 46350"/>
                    <a:gd name="connsiteX1" fmla="*/ 190845 w 191502"/>
                    <a:gd name="connsiteY1" fmla="*/ 46351 h 46350"/>
                    <a:gd name="connsiteX2" fmla="*/ 0 w 191502"/>
                    <a:gd name="connsiteY2" fmla="*/ 2990 h 46350"/>
                    <a:gd name="connsiteX3" fmla="*/ 658 w 191502"/>
                    <a:gd name="connsiteY3" fmla="*/ 0 h 46350"/>
                  </a:gdLst>
                  <a:ahLst/>
                  <a:cxnLst>
                    <a:cxn ang="0">
                      <a:pos x="connsiteX0" y="connsiteY0"/>
                    </a:cxn>
                    <a:cxn ang="0">
                      <a:pos x="connsiteX1" y="connsiteY1"/>
                    </a:cxn>
                    <a:cxn ang="0">
                      <a:pos x="connsiteX2" y="connsiteY2"/>
                    </a:cxn>
                    <a:cxn ang="0">
                      <a:pos x="connsiteX3" y="connsiteY3"/>
                    </a:cxn>
                  </a:cxnLst>
                  <a:rect l="l" t="t" r="r" b="b"/>
                  <a:pathLst>
                    <a:path w="191502" h="46350">
                      <a:moveTo>
                        <a:pt x="191502" y="43360"/>
                      </a:moveTo>
                      <a:lnTo>
                        <a:pt x="190845" y="46351"/>
                      </a:lnTo>
                      <a:lnTo>
                        <a:pt x="0" y="2990"/>
                      </a:lnTo>
                      <a:lnTo>
                        <a:pt x="658" y="0"/>
                      </a:lnTo>
                      <a:close/>
                    </a:path>
                  </a:pathLst>
                </a:custGeom>
                <a:grpFill/>
                <a:ln w="5978" cap="flat">
                  <a:noFill/>
                  <a:prstDash val="solid"/>
                  <a:miter/>
                </a:ln>
              </p:spPr>
              <p:txBody>
                <a:bodyPr rtlCol="0" anchor="ctr"/>
                <a:lstStyle/>
                <a:p>
                  <a:endParaRPr lang="en-GB"/>
                </a:p>
              </p:txBody>
            </p:sp>
            <p:sp>
              <p:nvSpPr>
                <p:cNvPr id="2041" name="Vrije vorm: vorm 2040">
                  <a:extLst>
                    <a:ext uri="{FF2B5EF4-FFF2-40B4-BE49-F238E27FC236}">
                      <a16:creationId xmlns:a16="http://schemas.microsoft.com/office/drawing/2014/main" id="{389BB6CC-1B25-4AB7-A892-9E14DEF951D7}"/>
                    </a:ext>
                  </a:extLst>
                </p:cNvPr>
                <p:cNvSpPr/>
                <p:nvPr/>
              </p:nvSpPr>
              <p:spPr>
                <a:xfrm>
                  <a:off x="4065420" y="2958050"/>
                  <a:ext cx="18350" cy="18410"/>
                </a:xfrm>
                <a:custGeom>
                  <a:avLst/>
                  <a:gdLst>
                    <a:gd name="connsiteX0" fmla="*/ 7172 w 18350"/>
                    <a:gd name="connsiteY0" fmla="*/ 18176 h 18410"/>
                    <a:gd name="connsiteX1" fmla="*/ 234 w 18350"/>
                    <a:gd name="connsiteY1" fmla="*/ 7172 h 18410"/>
                    <a:gd name="connsiteX2" fmla="*/ 11179 w 18350"/>
                    <a:gd name="connsiteY2" fmla="*/ 234 h 18410"/>
                    <a:gd name="connsiteX3" fmla="*/ 18116 w 18350"/>
                    <a:gd name="connsiteY3" fmla="*/ 11239 h 18410"/>
                    <a:gd name="connsiteX4" fmla="*/ 7172 w 18350"/>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0">
                      <a:moveTo>
                        <a:pt x="7172" y="18176"/>
                      </a:moveTo>
                      <a:cubicBezTo>
                        <a:pt x="2208" y="17040"/>
                        <a:pt x="-902" y="12136"/>
                        <a:pt x="234" y="7172"/>
                      </a:cubicBezTo>
                      <a:cubicBezTo>
                        <a:pt x="1311" y="2208"/>
                        <a:pt x="6215" y="-902"/>
                        <a:pt x="11179" y="234"/>
                      </a:cubicBezTo>
                      <a:cubicBezTo>
                        <a:pt x="16143" y="1371"/>
                        <a:pt x="19253" y="6275"/>
                        <a:pt x="18116" y="11239"/>
                      </a:cubicBezTo>
                      <a:cubicBezTo>
                        <a:pt x="16980" y="16203"/>
                        <a:pt x="12076" y="19313"/>
                        <a:pt x="7172" y="18176"/>
                      </a:cubicBezTo>
                      <a:close/>
                    </a:path>
                  </a:pathLst>
                </a:custGeom>
                <a:grpFill/>
                <a:ln w="5978" cap="flat">
                  <a:noFill/>
                  <a:prstDash val="solid"/>
                  <a:miter/>
                </a:ln>
              </p:spPr>
              <p:txBody>
                <a:bodyPr rtlCol="0" anchor="ctr"/>
                <a:lstStyle/>
                <a:p>
                  <a:endParaRPr lang="en-GB"/>
                </a:p>
              </p:txBody>
            </p:sp>
            <p:sp>
              <p:nvSpPr>
                <p:cNvPr id="2042" name="Vrije vorm: vorm 2041">
                  <a:extLst>
                    <a:ext uri="{FF2B5EF4-FFF2-40B4-BE49-F238E27FC236}">
                      <a16:creationId xmlns:a16="http://schemas.microsoft.com/office/drawing/2014/main" id="{A53C31D4-5C6A-4D5F-9103-26F74EFEF302}"/>
                    </a:ext>
                  </a:extLst>
                </p:cNvPr>
                <p:cNvSpPr/>
                <p:nvPr/>
              </p:nvSpPr>
              <p:spPr>
                <a:xfrm>
                  <a:off x="4255371" y="3001231"/>
                  <a:ext cx="18326" cy="18410"/>
                </a:xfrm>
                <a:custGeom>
                  <a:avLst/>
                  <a:gdLst>
                    <a:gd name="connsiteX0" fmla="*/ 7169 w 18326"/>
                    <a:gd name="connsiteY0" fmla="*/ 18176 h 18410"/>
                    <a:gd name="connsiteX1" fmla="*/ 18114 w 18326"/>
                    <a:gd name="connsiteY1" fmla="*/ 11239 h 18410"/>
                    <a:gd name="connsiteX2" fmla="*/ 11176 w 18326"/>
                    <a:gd name="connsiteY2" fmla="*/ 234 h 18410"/>
                    <a:gd name="connsiteX3" fmla="*/ 231 w 18326"/>
                    <a:gd name="connsiteY3" fmla="*/ 7172 h 18410"/>
                    <a:gd name="connsiteX4" fmla="*/ 7169 w 18326"/>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0">
                      <a:moveTo>
                        <a:pt x="7169" y="18176"/>
                      </a:moveTo>
                      <a:cubicBezTo>
                        <a:pt x="12133" y="19313"/>
                        <a:pt x="16977" y="16203"/>
                        <a:pt x="18114" y="11239"/>
                      </a:cubicBezTo>
                      <a:cubicBezTo>
                        <a:pt x="19190" y="6275"/>
                        <a:pt x="16080" y="1371"/>
                        <a:pt x="11176" y="234"/>
                      </a:cubicBezTo>
                      <a:cubicBezTo>
                        <a:pt x="6212" y="-902"/>
                        <a:pt x="1368" y="2208"/>
                        <a:pt x="231" y="7172"/>
                      </a:cubicBezTo>
                      <a:cubicBezTo>
                        <a:pt x="-905" y="12076"/>
                        <a:pt x="2265" y="17040"/>
                        <a:pt x="7169" y="18176"/>
                      </a:cubicBezTo>
                      <a:close/>
                    </a:path>
                  </a:pathLst>
                </a:custGeom>
                <a:grpFill/>
                <a:ln w="5978" cap="flat">
                  <a:noFill/>
                  <a:prstDash val="solid"/>
                  <a:miter/>
                </a:ln>
              </p:spPr>
              <p:txBody>
                <a:bodyPr rtlCol="0" anchor="ctr"/>
                <a:lstStyle/>
                <a:p>
                  <a:endParaRPr lang="en-GB"/>
                </a:p>
              </p:txBody>
            </p:sp>
          </p:grpSp>
          <p:grpSp>
            <p:nvGrpSpPr>
              <p:cNvPr id="1121" name="Graphic 3">
                <a:extLst>
                  <a:ext uri="{FF2B5EF4-FFF2-40B4-BE49-F238E27FC236}">
                    <a16:creationId xmlns:a16="http://schemas.microsoft.com/office/drawing/2014/main" id="{B1E40D55-2D71-4BF8-8F41-2F476CCE4CA9}"/>
                  </a:ext>
                </a:extLst>
              </p:cNvPr>
              <p:cNvGrpSpPr/>
              <p:nvPr/>
            </p:nvGrpSpPr>
            <p:grpSpPr>
              <a:xfrm>
                <a:off x="4323810" y="3537673"/>
                <a:ext cx="43662" cy="20322"/>
                <a:chOff x="4323810" y="3537673"/>
                <a:chExt cx="43662" cy="20322"/>
              </a:xfrm>
              <a:grpFill/>
            </p:grpSpPr>
            <p:sp>
              <p:nvSpPr>
                <p:cNvPr id="2037" name="Vrije vorm: vorm 2036">
                  <a:extLst>
                    <a:ext uri="{FF2B5EF4-FFF2-40B4-BE49-F238E27FC236}">
                      <a16:creationId xmlns:a16="http://schemas.microsoft.com/office/drawing/2014/main" id="{4E99B8F3-4DF6-46F5-AFD9-721DFE386B04}"/>
                    </a:ext>
                  </a:extLst>
                </p:cNvPr>
                <p:cNvSpPr/>
                <p:nvPr/>
              </p:nvSpPr>
              <p:spPr>
                <a:xfrm>
                  <a:off x="4332395" y="3545292"/>
                  <a:ext cx="26494" cy="5083"/>
                </a:xfrm>
                <a:custGeom>
                  <a:avLst/>
                  <a:gdLst>
                    <a:gd name="connsiteX0" fmla="*/ 26255 w 26494"/>
                    <a:gd name="connsiteY0" fmla="*/ 0 h 5083"/>
                    <a:gd name="connsiteX1" fmla="*/ 26495 w 26494"/>
                    <a:gd name="connsiteY1" fmla="*/ 3050 h 5083"/>
                    <a:gd name="connsiteX2" fmla="*/ 239 w 26494"/>
                    <a:gd name="connsiteY2" fmla="*/ 5083 h 5083"/>
                    <a:gd name="connsiteX3" fmla="*/ 0 w 26494"/>
                    <a:gd name="connsiteY3" fmla="*/ 2033 h 5083"/>
                  </a:gdLst>
                  <a:ahLst/>
                  <a:cxnLst>
                    <a:cxn ang="0">
                      <a:pos x="connsiteX0" y="connsiteY0"/>
                    </a:cxn>
                    <a:cxn ang="0">
                      <a:pos x="connsiteX1" y="connsiteY1"/>
                    </a:cxn>
                    <a:cxn ang="0">
                      <a:pos x="connsiteX2" y="connsiteY2"/>
                    </a:cxn>
                    <a:cxn ang="0">
                      <a:pos x="connsiteX3" y="connsiteY3"/>
                    </a:cxn>
                  </a:cxnLst>
                  <a:rect l="l" t="t" r="r" b="b"/>
                  <a:pathLst>
                    <a:path w="26494" h="5083">
                      <a:moveTo>
                        <a:pt x="26255" y="0"/>
                      </a:moveTo>
                      <a:lnTo>
                        <a:pt x="26495" y="3050"/>
                      </a:lnTo>
                      <a:lnTo>
                        <a:pt x="239" y="5083"/>
                      </a:lnTo>
                      <a:lnTo>
                        <a:pt x="0" y="2033"/>
                      </a:lnTo>
                      <a:close/>
                    </a:path>
                  </a:pathLst>
                </a:custGeom>
                <a:grpFill/>
                <a:ln w="5978" cap="flat">
                  <a:noFill/>
                  <a:prstDash val="solid"/>
                  <a:miter/>
                </a:ln>
              </p:spPr>
              <p:txBody>
                <a:bodyPr rtlCol="0" anchor="ctr"/>
                <a:lstStyle/>
                <a:p>
                  <a:endParaRPr lang="en-GB"/>
                </a:p>
              </p:txBody>
            </p:sp>
            <p:sp>
              <p:nvSpPr>
                <p:cNvPr id="2038" name="Vrije vorm: vorm 2037">
                  <a:extLst>
                    <a:ext uri="{FF2B5EF4-FFF2-40B4-BE49-F238E27FC236}">
                      <a16:creationId xmlns:a16="http://schemas.microsoft.com/office/drawing/2014/main" id="{E5E4F86F-E78E-4CD1-8FA1-2824E2993953}"/>
                    </a:ext>
                  </a:extLst>
                </p:cNvPr>
                <p:cNvSpPr/>
                <p:nvPr/>
              </p:nvSpPr>
              <p:spPr>
                <a:xfrm>
                  <a:off x="4323810" y="3539587"/>
                  <a:ext cx="18356" cy="18408"/>
                </a:xfrm>
                <a:custGeom>
                  <a:avLst/>
                  <a:gdLst>
                    <a:gd name="connsiteX0" fmla="*/ 9900 w 18356"/>
                    <a:gd name="connsiteY0" fmla="*/ 18384 h 18408"/>
                    <a:gd name="connsiteX1" fmla="*/ 32 w 18356"/>
                    <a:gd name="connsiteY1" fmla="*/ 9892 h 18408"/>
                    <a:gd name="connsiteX2" fmla="*/ 8464 w 18356"/>
                    <a:gd name="connsiteY2" fmla="*/ 24 h 18408"/>
                    <a:gd name="connsiteX3" fmla="*/ 18333 w 18356"/>
                    <a:gd name="connsiteY3" fmla="*/ 8516 h 18408"/>
                    <a:gd name="connsiteX4" fmla="*/ 9900 w 18356"/>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8">
                      <a:moveTo>
                        <a:pt x="9900" y="18384"/>
                      </a:moveTo>
                      <a:cubicBezTo>
                        <a:pt x="4876" y="18743"/>
                        <a:pt x="450" y="14975"/>
                        <a:pt x="32" y="9892"/>
                      </a:cubicBezTo>
                      <a:cubicBezTo>
                        <a:pt x="-387" y="4808"/>
                        <a:pt x="3381" y="382"/>
                        <a:pt x="8464" y="24"/>
                      </a:cubicBezTo>
                      <a:cubicBezTo>
                        <a:pt x="13488" y="-335"/>
                        <a:pt x="17914" y="3433"/>
                        <a:pt x="18333" y="8516"/>
                      </a:cubicBezTo>
                      <a:cubicBezTo>
                        <a:pt x="18692" y="13600"/>
                        <a:pt x="14924" y="18026"/>
                        <a:pt x="9900" y="18384"/>
                      </a:cubicBezTo>
                      <a:close/>
                    </a:path>
                  </a:pathLst>
                </a:custGeom>
                <a:grpFill/>
                <a:ln w="5978" cap="flat">
                  <a:noFill/>
                  <a:prstDash val="solid"/>
                  <a:miter/>
                </a:ln>
              </p:spPr>
              <p:txBody>
                <a:bodyPr rtlCol="0" anchor="ctr"/>
                <a:lstStyle/>
                <a:p>
                  <a:endParaRPr lang="en-GB"/>
                </a:p>
              </p:txBody>
            </p:sp>
            <p:sp>
              <p:nvSpPr>
                <p:cNvPr id="2039" name="Vrije vorm: vorm 2038">
                  <a:extLst>
                    <a:ext uri="{FF2B5EF4-FFF2-40B4-BE49-F238E27FC236}">
                      <a16:creationId xmlns:a16="http://schemas.microsoft.com/office/drawing/2014/main" id="{97826A3A-4B1F-4A4E-924E-37A8091CDF66}"/>
                    </a:ext>
                  </a:extLst>
                </p:cNvPr>
                <p:cNvSpPr/>
                <p:nvPr/>
              </p:nvSpPr>
              <p:spPr>
                <a:xfrm>
                  <a:off x="4349117" y="3537673"/>
                  <a:ext cx="18356" cy="18408"/>
                </a:xfrm>
                <a:custGeom>
                  <a:avLst/>
                  <a:gdLst>
                    <a:gd name="connsiteX0" fmla="*/ 9952 w 18356"/>
                    <a:gd name="connsiteY0" fmla="*/ 18384 h 18408"/>
                    <a:gd name="connsiteX1" fmla="*/ 18325 w 18356"/>
                    <a:gd name="connsiteY1" fmla="*/ 8516 h 18408"/>
                    <a:gd name="connsiteX2" fmla="*/ 8457 w 18356"/>
                    <a:gd name="connsiteY2" fmla="*/ 24 h 18408"/>
                    <a:gd name="connsiteX3" fmla="*/ 24 w 18356"/>
                    <a:gd name="connsiteY3" fmla="*/ 9892 h 18408"/>
                    <a:gd name="connsiteX4" fmla="*/ 9952 w 18356"/>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8">
                      <a:moveTo>
                        <a:pt x="9952" y="18384"/>
                      </a:moveTo>
                      <a:cubicBezTo>
                        <a:pt x="14975" y="18026"/>
                        <a:pt x="18743" y="13600"/>
                        <a:pt x="18325" y="8516"/>
                      </a:cubicBezTo>
                      <a:cubicBezTo>
                        <a:pt x="17906" y="3433"/>
                        <a:pt x="13480" y="-335"/>
                        <a:pt x="8457" y="24"/>
                      </a:cubicBezTo>
                      <a:cubicBezTo>
                        <a:pt x="3433" y="382"/>
                        <a:pt x="-335" y="4808"/>
                        <a:pt x="24" y="9892"/>
                      </a:cubicBezTo>
                      <a:cubicBezTo>
                        <a:pt x="442" y="14975"/>
                        <a:pt x="4868" y="18743"/>
                        <a:pt x="9952" y="18384"/>
                      </a:cubicBezTo>
                      <a:close/>
                    </a:path>
                  </a:pathLst>
                </a:custGeom>
                <a:grpFill/>
                <a:ln w="5978" cap="flat">
                  <a:noFill/>
                  <a:prstDash val="solid"/>
                  <a:miter/>
                </a:ln>
              </p:spPr>
              <p:txBody>
                <a:bodyPr rtlCol="0" anchor="ctr"/>
                <a:lstStyle/>
                <a:p>
                  <a:endParaRPr lang="en-GB"/>
                </a:p>
              </p:txBody>
            </p:sp>
          </p:grpSp>
          <p:grpSp>
            <p:nvGrpSpPr>
              <p:cNvPr id="1122" name="Graphic 3">
                <a:extLst>
                  <a:ext uri="{FF2B5EF4-FFF2-40B4-BE49-F238E27FC236}">
                    <a16:creationId xmlns:a16="http://schemas.microsoft.com/office/drawing/2014/main" id="{10B1EEDB-0922-4FC5-8697-4CBC4559F74E}"/>
                  </a:ext>
                </a:extLst>
              </p:cNvPr>
              <p:cNvGrpSpPr/>
              <p:nvPr/>
            </p:nvGrpSpPr>
            <p:grpSpPr>
              <a:xfrm>
                <a:off x="4063169" y="3149972"/>
                <a:ext cx="328728" cy="88803"/>
                <a:chOff x="4063169" y="3149972"/>
                <a:chExt cx="328728" cy="88803"/>
              </a:xfrm>
              <a:grpFill/>
            </p:grpSpPr>
            <p:sp>
              <p:nvSpPr>
                <p:cNvPr id="2034" name="Vrije vorm: vorm 2033">
                  <a:extLst>
                    <a:ext uri="{FF2B5EF4-FFF2-40B4-BE49-F238E27FC236}">
                      <a16:creationId xmlns:a16="http://schemas.microsoft.com/office/drawing/2014/main" id="{3ED97C9C-115B-471C-92A2-0F354FD75CF8}"/>
                    </a:ext>
                  </a:extLst>
                </p:cNvPr>
                <p:cNvSpPr/>
                <p:nvPr/>
              </p:nvSpPr>
              <p:spPr>
                <a:xfrm>
                  <a:off x="4071575" y="3157562"/>
                  <a:ext cx="311954" cy="73562"/>
                </a:xfrm>
                <a:custGeom>
                  <a:avLst/>
                  <a:gdLst>
                    <a:gd name="connsiteX0" fmla="*/ 311954 w 311954"/>
                    <a:gd name="connsiteY0" fmla="*/ 70632 h 73562"/>
                    <a:gd name="connsiteX1" fmla="*/ 311297 w 311954"/>
                    <a:gd name="connsiteY1" fmla="*/ 73563 h 73562"/>
                    <a:gd name="connsiteX2" fmla="*/ 0 w 311954"/>
                    <a:gd name="connsiteY2" fmla="*/ 2990 h 73562"/>
                    <a:gd name="connsiteX3" fmla="*/ 658 w 311954"/>
                    <a:gd name="connsiteY3" fmla="*/ 0 h 73562"/>
                  </a:gdLst>
                  <a:ahLst/>
                  <a:cxnLst>
                    <a:cxn ang="0">
                      <a:pos x="connsiteX0" y="connsiteY0"/>
                    </a:cxn>
                    <a:cxn ang="0">
                      <a:pos x="connsiteX1" y="connsiteY1"/>
                    </a:cxn>
                    <a:cxn ang="0">
                      <a:pos x="connsiteX2" y="connsiteY2"/>
                    </a:cxn>
                    <a:cxn ang="0">
                      <a:pos x="connsiteX3" y="connsiteY3"/>
                    </a:cxn>
                  </a:cxnLst>
                  <a:rect l="l" t="t" r="r" b="b"/>
                  <a:pathLst>
                    <a:path w="311954" h="73562">
                      <a:moveTo>
                        <a:pt x="311954" y="70632"/>
                      </a:moveTo>
                      <a:lnTo>
                        <a:pt x="311297" y="73563"/>
                      </a:lnTo>
                      <a:lnTo>
                        <a:pt x="0" y="2990"/>
                      </a:lnTo>
                      <a:lnTo>
                        <a:pt x="658" y="0"/>
                      </a:lnTo>
                      <a:close/>
                    </a:path>
                  </a:pathLst>
                </a:custGeom>
                <a:grpFill/>
                <a:ln w="5978" cap="flat">
                  <a:noFill/>
                  <a:prstDash val="solid"/>
                  <a:miter/>
                </a:ln>
              </p:spPr>
              <p:txBody>
                <a:bodyPr rtlCol="0" anchor="ctr"/>
                <a:lstStyle/>
                <a:p>
                  <a:endParaRPr lang="en-GB"/>
                </a:p>
              </p:txBody>
            </p:sp>
            <p:sp>
              <p:nvSpPr>
                <p:cNvPr id="2035" name="Vrije vorm: vorm 2034">
                  <a:extLst>
                    <a:ext uri="{FF2B5EF4-FFF2-40B4-BE49-F238E27FC236}">
                      <a16:creationId xmlns:a16="http://schemas.microsoft.com/office/drawing/2014/main" id="{6623B1BD-D667-4EF8-96E3-B1BEC90C64CD}"/>
                    </a:ext>
                  </a:extLst>
                </p:cNvPr>
                <p:cNvSpPr/>
                <p:nvPr/>
              </p:nvSpPr>
              <p:spPr>
                <a:xfrm>
                  <a:off x="4373547" y="3220365"/>
                  <a:ext cx="18350" cy="18410"/>
                </a:xfrm>
                <a:custGeom>
                  <a:avLst/>
                  <a:gdLst>
                    <a:gd name="connsiteX0" fmla="*/ 11179 w 18350"/>
                    <a:gd name="connsiteY0" fmla="*/ 234 h 18410"/>
                    <a:gd name="connsiteX1" fmla="*/ 18116 w 18350"/>
                    <a:gd name="connsiteY1" fmla="*/ 11239 h 18410"/>
                    <a:gd name="connsiteX2" fmla="*/ 7172 w 18350"/>
                    <a:gd name="connsiteY2" fmla="*/ 18176 h 18410"/>
                    <a:gd name="connsiteX3" fmla="*/ 234 w 18350"/>
                    <a:gd name="connsiteY3" fmla="*/ 7172 h 18410"/>
                    <a:gd name="connsiteX4" fmla="*/ 11179 w 18350"/>
                    <a:gd name="connsiteY4" fmla="*/ 234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0">
                      <a:moveTo>
                        <a:pt x="11179" y="234"/>
                      </a:moveTo>
                      <a:cubicBezTo>
                        <a:pt x="16143" y="1371"/>
                        <a:pt x="19253" y="6275"/>
                        <a:pt x="18116" y="11239"/>
                      </a:cubicBezTo>
                      <a:cubicBezTo>
                        <a:pt x="17040" y="16203"/>
                        <a:pt x="12136" y="19313"/>
                        <a:pt x="7172" y="18176"/>
                      </a:cubicBezTo>
                      <a:cubicBezTo>
                        <a:pt x="2208" y="17040"/>
                        <a:pt x="-902" y="12136"/>
                        <a:pt x="234" y="7172"/>
                      </a:cubicBezTo>
                      <a:cubicBezTo>
                        <a:pt x="1370" y="2208"/>
                        <a:pt x="6275" y="-902"/>
                        <a:pt x="11179" y="234"/>
                      </a:cubicBezTo>
                      <a:close/>
                    </a:path>
                  </a:pathLst>
                </a:custGeom>
                <a:grpFill/>
                <a:ln w="5978" cap="flat">
                  <a:noFill/>
                  <a:prstDash val="solid"/>
                  <a:miter/>
                </a:ln>
              </p:spPr>
              <p:txBody>
                <a:bodyPr rtlCol="0" anchor="ctr"/>
                <a:lstStyle/>
                <a:p>
                  <a:endParaRPr lang="en-GB"/>
                </a:p>
              </p:txBody>
            </p:sp>
            <p:sp>
              <p:nvSpPr>
                <p:cNvPr id="2036" name="Vrije vorm: vorm 2035">
                  <a:extLst>
                    <a:ext uri="{FF2B5EF4-FFF2-40B4-BE49-F238E27FC236}">
                      <a16:creationId xmlns:a16="http://schemas.microsoft.com/office/drawing/2014/main" id="{66E4AF59-32C6-458D-9FF3-39846FB2B7FA}"/>
                    </a:ext>
                  </a:extLst>
                </p:cNvPr>
                <p:cNvSpPr/>
                <p:nvPr/>
              </p:nvSpPr>
              <p:spPr>
                <a:xfrm>
                  <a:off x="4063169" y="3149972"/>
                  <a:ext cx="18329" cy="18410"/>
                </a:xfrm>
                <a:custGeom>
                  <a:avLst/>
                  <a:gdLst>
                    <a:gd name="connsiteX0" fmla="*/ 11157 w 18329"/>
                    <a:gd name="connsiteY0" fmla="*/ 234 h 18410"/>
                    <a:gd name="connsiteX1" fmla="*/ 213 w 18329"/>
                    <a:gd name="connsiteY1" fmla="*/ 7172 h 18410"/>
                    <a:gd name="connsiteX2" fmla="*/ 7150 w 18329"/>
                    <a:gd name="connsiteY2" fmla="*/ 18176 h 18410"/>
                    <a:gd name="connsiteX3" fmla="*/ 18095 w 18329"/>
                    <a:gd name="connsiteY3" fmla="*/ 11239 h 18410"/>
                    <a:gd name="connsiteX4" fmla="*/ 11157 w 18329"/>
                    <a:gd name="connsiteY4" fmla="*/ 234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0">
                      <a:moveTo>
                        <a:pt x="11157" y="234"/>
                      </a:moveTo>
                      <a:cubicBezTo>
                        <a:pt x="6194" y="-902"/>
                        <a:pt x="1349" y="2208"/>
                        <a:pt x="213" y="7172"/>
                      </a:cubicBezTo>
                      <a:cubicBezTo>
                        <a:pt x="-863" y="12136"/>
                        <a:pt x="2246" y="17040"/>
                        <a:pt x="7150" y="18176"/>
                      </a:cubicBezTo>
                      <a:cubicBezTo>
                        <a:pt x="12115" y="19313"/>
                        <a:pt x="16959" y="16203"/>
                        <a:pt x="18095" y="11239"/>
                      </a:cubicBezTo>
                      <a:cubicBezTo>
                        <a:pt x="19232" y="6275"/>
                        <a:pt x="16122" y="1311"/>
                        <a:pt x="11157" y="234"/>
                      </a:cubicBezTo>
                      <a:close/>
                    </a:path>
                  </a:pathLst>
                </a:custGeom>
                <a:grpFill/>
                <a:ln w="5978" cap="flat">
                  <a:noFill/>
                  <a:prstDash val="solid"/>
                  <a:miter/>
                </a:ln>
              </p:spPr>
              <p:txBody>
                <a:bodyPr rtlCol="0" anchor="ctr"/>
                <a:lstStyle/>
                <a:p>
                  <a:endParaRPr lang="en-GB"/>
                </a:p>
              </p:txBody>
            </p:sp>
          </p:grpSp>
          <p:grpSp>
            <p:nvGrpSpPr>
              <p:cNvPr id="1123" name="Graphic 3">
                <a:extLst>
                  <a:ext uri="{FF2B5EF4-FFF2-40B4-BE49-F238E27FC236}">
                    <a16:creationId xmlns:a16="http://schemas.microsoft.com/office/drawing/2014/main" id="{4F50AC8B-4532-4F70-9B0F-205B7A4A7F18}"/>
                  </a:ext>
                </a:extLst>
              </p:cNvPr>
              <p:cNvGrpSpPr/>
              <p:nvPr/>
            </p:nvGrpSpPr>
            <p:grpSpPr>
              <a:xfrm>
                <a:off x="3966353" y="2549473"/>
                <a:ext cx="113497" cy="57713"/>
                <a:chOff x="3966353" y="2549473"/>
                <a:chExt cx="113497" cy="57713"/>
              </a:xfrm>
              <a:grpFill/>
            </p:grpSpPr>
            <p:sp>
              <p:nvSpPr>
                <p:cNvPr id="2031" name="Vrije vorm: vorm 2030">
                  <a:extLst>
                    <a:ext uri="{FF2B5EF4-FFF2-40B4-BE49-F238E27FC236}">
                      <a16:creationId xmlns:a16="http://schemas.microsoft.com/office/drawing/2014/main" id="{A31B382C-632B-49CC-8840-E4886A2C1320}"/>
                    </a:ext>
                  </a:extLst>
                </p:cNvPr>
                <p:cNvSpPr/>
                <p:nvPr/>
              </p:nvSpPr>
              <p:spPr>
                <a:xfrm>
                  <a:off x="3974508" y="2557098"/>
                  <a:ext cx="97127" cy="42463"/>
                </a:xfrm>
                <a:custGeom>
                  <a:avLst/>
                  <a:gdLst>
                    <a:gd name="connsiteX0" fmla="*/ 97127 w 97127"/>
                    <a:gd name="connsiteY0" fmla="*/ 39592 h 42463"/>
                    <a:gd name="connsiteX1" fmla="*/ 95991 w 97127"/>
                    <a:gd name="connsiteY1" fmla="*/ 42463 h 42463"/>
                    <a:gd name="connsiteX2" fmla="*/ 0 w 97127"/>
                    <a:gd name="connsiteY2" fmla="*/ 2871 h 42463"/>
                    <a:gd name="connsiteX3" fmla="*/ 1136 w 97127"/>
                    <a:gd name="connsiteY3" fmla="*/ 0 h 42463"/>
                  </a:gdLst>
                  <a:ahLst/>
                  <a:cxnLst>
                    <a:cxn ang="0">
                      <a:pos x="connsiteX0" y="connsiteY0"/>
                    </a:cxn>
                    <a:cxn ang="0">
                      <a:pos x="connsiteX1" y="connsiteY1"/>
                    </a:cxn>
                    <a:cxn ang="0">
                      <a:pos x="connsiteX2" y="connsiteY2"/>
                    </a:cxn>
                    <a:cxn ang="0">
                      <a:pos x="connsiteX3" y="connsiteY3"/>
                    </a:cxn>
                  </a:cxnLst>
                  <a:rect l="l" t="t" r="r" b="b"/>
                  <a:pathLst>
                    <a:path w="97127" h="42463">
                      <a:moveTo>
                        <a:pt x="97127" y="39592"/>
                      </a:moveTo>
                      <a:lnTo>
                        <a:pt x="95991" y="42463"/>
                      </a:lnTo>
                      <a:lnTo>
                        <a:pt x="0" y="2871"/>
                      </a:lnTo>
                      <a:lnTo>
                        <a:pt x="1136" y="0"/>
                      </a:lnTo>
                      <a:close/>
                    </a:path>
                  </a:pathLst>
                </a:custGeom>
                <a:grpFill/>
                <a:ln w="5978" cap="flat">
                  <a:noFill/>
                  <a:prstDash val="solid"/>
                  <a:miter/>
                </a:ln>
              </p:spPr>
              <p:txBody>
                <a:bodyPr rtlCol="0" anchor="ctr"/>
                <a:lstStyle/>
                <a:p>
                  <a:endParaRPr lang="en-GB"/>
                </a:p>
              </p:txBody>
            </p:sp>
            <p:sp>
              <p:nvSpPr>
                <p:cNvPr id="2032" name="Vrije vorm: vorm 2031">
                  <a:extLst>
                    <a:ext uri="{FF2B5EF4-FFF2-40B4-BE49-F238E27FC236}">
                      <a16:creationId xmlns:a16="http://schemas.microsoft.com/office/drawing/2014/main" id="{51CA2BC3-530E-4987-AE46-DB2EFCB577A2}"/>
                    </a:ext>
                  </a:extLst>
                </p:cNvPr>
                <p:cNvSpPr/>
                <p:nvPr/>
              </p:nvSpPr>
              <p:spPr>
                <a:xfrm>
                  <a:off x="3966353" y="2549473"/>
                  <a:ext cx="18343" cy="18444"/>
                </a:xfrm>
                <a:custGeom>
                  <a:avLst/>
                  <a:gdLst>
                    <a:gd name="connsiteX0" fmla="*/ 5703 w 18343"/>
                    <a:gd name="connsiteY0" fmla="*/ 17732 h 18444"/>
                    <a:gd name="connsiteX1" fmla="*/ 679 w 18343"/>
                    <a:gd name="connsiteY1" fmla="*/ 5711 h 18444"/>
                    <a:gd name="connsiteX2" fmla="*/ 12641 w 18343"/>
                    <a:gd name="connsiteY2" fmla="*/ 687 h 18444"/>
                    <a:gd name="connsiteX3" fmla="*/ 17665 w 18343"/>
                    <a:gd name="connsiteY3" fmla="*/ 12709 h 18444"/>
                    <a:gd name="connsiteX4" fmla="*/ 5703 w 18343"/>
                    <a:gd name="connsiteY4" fmla="*/ 177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4">
                      <a:moveTo>
                        <a:pt x="5703" y="17732"/>
                      </a:moveTo>
                      <a:cubicBezTo>
                        <a:pt x="1038" y="15819"/>
                        <a:pt x="-1234" y="10436"/>
                        <a:pt x="679" y="5711"/>
                      </a:cubicBezTo>
                      <a:cubicBezTo>
                        <a:pt x="2593" y="986"/>
                        <a:pt x="7916" y="-1227"/>
                        <a:pt x="12641" y="687"/>
                      </a:cubicBezTo>
                      <a:cubicBezTo>
                        <a:pt x="17306" y="2601"/>
                        <a:pt x="19578" y="7984"/>
                        <a:pt x="17665" y="12709"/>
                      </a:cubicBezTo>
                      <a:cubicBezTo>
                        <a:pt x="15751" y="17433"/>
                        <a:pt x="10428" y="19706"/>
                        <a:pt x="5703" y="17732"/>
                      </a:cubicBezTo>
                      <a:close/>
                    </a:path>
                  </a:pathLst>
                </a:custGeom>
                <a:grpFill/>
                <a:ln w="5978" cap="flat">
                  <a:noFill/>
                  <a:prstDash val="solid"/>
                  <a:miter/>
                </a:ln>
              </p:spPr>
              <p:txBody>
                <a:bodyPr rtlCol="0" anchor="ctr"/>
                <a:lstStyle/>
                <a:p>
                  <a:endParaRPr lang="en-GB"/>
                </a:p>
              </p:txBody>
            </p:sp>
            <p:sp>
              <p:nvSpPr>
                <p:cNvPr id="2033" name="Vrije vorm: vorm 2032">
                  <a:extLst>
                    <a:ext uri="{FF2B5EF4-FFF2-40B4-BE49-F238E27FC236}">
                      <a16:creationId xmlns:a16="http://schemas.microsoft.com/office/drawing/2014/main" id="{88D328E0-C8E7-4B7F-8259-04ADAC7A76EC}"/>
                    </a:ext>
                  </a:extLst>
                </p:cNvPr>
                <p:cNvSpPr/>
                <p:nvPr/>
              </p:nvSpPr>
              <p:spPr>
                <a:xfrm>
                  <a:off x="4061506" y="2588766"/>
                  <a:ext cx="18343" cy="18419"/>
                </a:xfrm>
                <a:custGeom>
                  <a:avLst/>
                  <a:gdLst>
                    <a:gd name="connsiteX0" fmla="*/ 5703 w 18343"/>
                    <a:gd name="connsiteY0" fmla="*/ 17732 h 18419"/>
                    <a:gd name="connsiteX1" fmla="*/ 17664 w 18343"/>
                    <a:gd name="connsiteY1" fmla="*/ 12708 h 18419"/>
                    <a:gd name="connsiteX2" fmla="*/ 12641 w 18343"/>
                    <a:gd name="connsiteY2" fmla="*/ 687 h 18419"/>
                    <a:gd name="connsiteX3" fmla="*/ 679 w 18343"/>
                    <a:gd name="connsiteY3" fmla="*/ 5711 h 18419"/>
                    <a:gd name="connsiteX4" fmla="*/ 5703 w 18343"/>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9">
                      <a:moveTo>
                        <a:pt x="5703" y="17732"/>
                      </a:moveTo>
                      <a:cubicBezTo>
                        <a:pt x="10368" y="19646"/>
                        <a:pt x="15751" y="17433"/>
                        <a:pt x="17664" y="12708"/>
                      </a:cubicBezTo>
                      <a:cubicBezTo>
                        <a:pt x="19578" y="7984"/>
                        <a:pt x="17306" y="2601"/>
                        <a:pt x="12641" y="687"/>
                      </a:cubicBezTo>
                      <a:cubicBezTo>
                        <a:pt x="7976" y="-1227"/>
                        <a:pt x="2593" y="986"/>
                        <a:pt x="679" y="5711"/>
                      </a:cubicBezTo>
                      <a:cubicBezTo>
                        <a:pt x="-1235" y="10376"/>
                        <a:pt x="1038" y="15759"/>
                        <a:pt x="5703" y="17732"/>
                      </a:cubicBezTo>
                      <a:close/>
                    </a:path>
                  </a:pathLst>
                </a:custGeom>
                <a:grpFill/>
                <a:ln w="5978" cap="flat">
                  <a:noFill/>
                  <a:prstDash val="solid"/>
                  <a:miter/>
                </a:ln>
              </p:spPr>
              <p:txBody>
                <a:bodyPr rtlCol="0" anchor="ctr"/>
                <a:lstStyle/>
                <a:p>
                  <a:endParaRPr lang="en-GB"/>
                </a:p>
              </p:txBody>
            </p:sp>
          </p:grpSp>
          <p:grpSp>
            <p:nvGrpSpPr>
              <p:cNvPr id="1124" name="Graphic 3">
                <a:extLst>
                  <a:ext uri="{FF2B5EF4-FFF2-40B4-BE49-F238E27FC236}">
                    <a16:creationId xmlns:a16="http://schemas.microsoft.com/office/drawing/2014/main" id="{93255473-769B-4ED3-9564-038C8DB85626}"/>
                  </a:ext>
                </a:extLst>
              </p:cNvPr>
              <p:cNvGrpSpPr/>
              <p:nvPr/>
            </p:nvGrpSpPr>
            <p:grpSpPr>
              <a:xfrm>
                <a:off x="4076399" y="2921658"/>
                <a:ext cx="131856" cy="46398"/>
                <a:chOff x="4076399" y="2921658"/>
                <a:chExt cx="131856" cy="46398"/>
              </a:xfrm>
              <a:grpFill/>
            </p:grpSpPr>
            <p:sp>
              <p:nvSpPr>
                <p:cNvPr id="2028" name="Vrije vorm: vorm 2027">
                  <a:extLst>
                    <a:ext uri="{FF2B5EF4-FFF2-40B4-BE49-F238E27FC236}">
                      <a16:creationId xmlns:a16="http://schemas.microsoft.com/office/drawing/2014/main" id="{4891FB93-70A7-4AC3-94B1-22E89843E638}"/>
                    </a:ext>
                  </a:extLst>
                </p:cNvPr>
                <p:cNvSpPr/>
                <p:nvPr/>
              </p:nvSpPr>
              <p:spPr>
                <a:xfrm>
                  <a:off x="4084793" y="2929278"/>
                  <a:ext cx="115069" cy="31159"/>
                </a:xfrm>
                <a:custGeom>
                  <a:avLst/>
                  <a:gdLst>
                    <a:gd name="connsiteX0" fmla="*/ 115069 w 115069"/>
                    <a:gd name="connsiteY0" fmla="*/ 28229 h 31159"/>
                    <a:gd name="connsiteX1" fmla="*/ 114351 w 115069"/>
                    <a:gd name="connsiteY1" fmla="*/ 31160 h 31159"/>
                    <a:gd name="connsiteX2" fmla="*/ 0 w 115069"/>
                    <a:gd name="connsiteY2" fmla="*/ 2930 h 31159"/>
                    <a:gd name="connsiteX3" fmla="*/ 718 w 115069"/>
                    <a:gd name="connsiteY3" fmla="*/ 0 h 31159"/>
                  </a:gdLst>
                  <a:ahLst/>
                  <a:cxnLst>
                    <a:cxn ang="0">
                      <a:pos x="connsiteX0" y="connsiteY0"/>
                    </a:cxn>
                    <a:cxn ang="0">
                      <a:pos x="connsiteX1" y="connsiteY1"/>
                    </a:cxn>
                    <a:cxn ang="0">
                      <a:pos x="connsiteX2" y="connsiteY2"/>
                    </a:cxn>
                    <a:cxn ang="0">
                      <a:pos x="connsiteX3" y="connsiteY3"/>
                    </a:cxn>
                  </a:cxnLst>
                  <a:rect l="l" t="t" r="r" b="b"/>
                  <a:pathLst>
                    <a:path w="115069" h="31159">
                      <a:moveTo>
                        <a:pt x="115069" y="28229"/>
                      </a:moveTo>
                      <a:lnTo>
                        <a:pt x="114351" y="31160"/>
                      </a:lnTo>
                      <a:lnTo>
                        <a:pt x="0" y="2930"/>
                      </a:lnTo>
                      <a:lnTo>
                        <a:pt x="718" y="0"/>
                      </a:lnTo>
                      <a:close/>
                    </a:path>
                  </a:pathLst>
                </a:custGeom>
                <a:grpFill/>
                <a:ln w="5978" cap="flat">
                  <a:noFill/>
                  <a:prstDash val="solid"/>
                  <a:miter/>
                </a:ln>
              </p:spPr>
              <p:txBody>
                <a:bodyPr rtlCol="0" anchor="ctr"/>
                <a:lstStyle/>
                <a:p>
                  <a:endParaRPr lang="en-GB"/>
                </a:p>
              </p:txBody>
            </p:sp>
            <p:sp>
              <p:nvSpPr>
                <p:cNvPr id="2029" name="Vrije vorm: vorm 2028">
                  <a:extLst>
                    <a:ext uri="{FF2B5EF4-FFF2-40B4-BE49-F238E27FC236}">
                      <a16:creationId xmlns:a16="http://schemas.microsoft.com/office/drawing/2014/main" id="{4181AE8B-5980-4E64-98FA-C98C74ABBDFF}"/>
                    </a:ext>
                  </a:extLst>
                </p:cNvPr>
                <p:cNvSpPr/>
                <p:nvPr/>
              </p:nvSpPr>
              <p:spPr>
                <a:xfrm>
                  <a:off x="4076399" y="2921658"/>
                  <a:ext cx="18342" cy="18408"/>
                </a:xfrm>
                <a:custGeom>
                  <a:avLst/>
                  <a:gdLst>
                    <a:gd name="connsiteX0" fmla="*/ 7018 w 18342"/>
                    <a:gd name="connsiteY0" fmla="*/ 18145 h 18408"/>
                    <a:gd name="connsiteX1" fmla="*/ 260 w 18342"/>
                    <a:gd name="connsiteY1" fmla="*/ 7021 h 18408"/>
                    <a:gd name="connsiteX2" fmla="*/ 11324 w 18342"/>
                    <a:gd name="connsiteY2" fmla="*/ 263 h 18408"/>
                    <a:gd name="connsiteX3" fmla="*/ 18082 w 18342"/>
                    <a:gd name="connsiteY3" fmla="*/ 11387 h 18408"/>
                    <a:gd name="connsiteX4" fmla="*/ 7018 w 18342"/>
                    <a:gd name="connsiteY4" fmla="*/ 18145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7018" y="18145"/>
                      </a:moveTo>
                      <a:cubicBezTo>
                        <a:pt x="2114" y="16949"/>
                        <a:pt x="-936" y="11925"/>
                        <a:pt x="260" y="7021"/>
                      </a:cubicBezTo>
                      <a:cubicBezTo>
                        <a:pt x="1456" y="2057"/>
                        <a:pt x="6420" y="-933"/>
                        <a:pt x="11324" y="263"/>
                      </a:cubicBezTo>
                      <a:cubicBezTo>
                        <a:pt x="16228" y="1459"/>
                        <a:pt x="19279" y="6483"/>
                        <a:pt x="18082" y="11387"/>
                      </a:cubicBezTo>
                      <a:cubicBezTo>
                        <a:pt x="16886" y="16351"/>
                        <a:pt x="11922" y="19342"/>
                        <a:pt x="7018" y="18145"/>
                      </a:cubicBezTo>
                      <a:close/>
                    </a:path>
                  </a:pathLst>
                </a:custGeom>
                <a:grpFill/>
                <a:ln w="5978" cap="flat">
                  <a:noFill/>
                  <a:prstDash val="solid"/>
                  <a:miter/>
                </a:ln>
              </p:spPr>
              <p:txBody>
                <a:bodyPr rtlCol="0" anchor="ctr"/>
                <a:lstStyle/>
                <a:p>
                  <a:endParaRPr lang="en-GB"/>
                </a:p>
              </p:txBody>
            </p:sp>
            <p:sp>
              <p:nvSpPr>
                <p:cNvPr id="2030" name="Vrije vorm: vorm 2029">
                  <a:extLst>
                    <a:ext uri="{FF2B5EF4-FFF2-40B4-BE49-F238E27FC236}">
                      <a16:creationId xmlns:a16="http://schemas.microsoft.com/office/drawing/2014/main" id="{E5F5116E-DFD4-4BFF-BEC6-9D139E6A6202}"/>
                    </a:ext>
                  </a:extLst>
                </p:cNvPr>
                <p:cNvSpPr/>
                <p:nvPr/>
              </p:nvSpPr>
              <p:spPr>
                <a:xfrm>
                  <a:off x="4189910" y="2949648"/>
                  <a:ext cx="18345" cy="18408"/>
                </a:xfrm>
                <a:custGeom>
                  <a:avLst/>
                  <a:gdLst>
                    <a:gd name="connsiteX0" fmla="*/ 7021 w 18345"/>
                    <a:gd name="connsiteY0" fmla="*/ 18145 h 18408"/>
                    <a:gd name="connsiteX1" fmla="*/ 18086 w 18345"/>
                    <a:gd name="connsiteY1" fmla="*/ 11387 h 18408"/>
                    <a:gd name="connsiteX2" fmla="*/ 11328 w 18345"/>
                    <a:gd name="connsiteY2" fmla="*/ 263 h 18408"/>
                    <a:gd name="connsiteX3" fmla="*/ 263 w 18345"/>
                    <a:gd name="connsiteY3" fmla="*/ 7021 h 18408"/>
                    <a:gd name="connsiteX4" fmla="*/ 7021 w 18345"/>
                    <a:gd name="connsiteY4" fmla="*/ 18145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8">
                      <a:moveTo>
                        <a:pt x="7021" y="18145"/>
                      </a:moveTo>
                      <a:cubicBezTo>
                        <a:pt x="11926" y="19342"/>
                        <a:pt x="16890" y="16351"/>
                        <a:pt x="18086" y="11387"/>
                      </a:cubicBezTo>
                      <a:cubicBezTo>
                        <a:pt x="19282" y="6423"/>
                        <a:pt x="16232" y="1459"/>
                        <a:pt x="11328" y="263"/>
                      </a:cubicBezTo>
                      <a:cubicBezTo>
                        <a:pt x="6423" y="-933"/>
                        <a:pt x="1459" y="2057"/>
                        <a:pt x="263" y="7021"/>
                      </a:cubicBezTo>
                      <a:cubicBezTo>
                        <a:pt x="-933" y="11985"/>
                        <a:pt x="2058" y="16949"/>
                        <a:pt x="7021" y="18145"/>
                      </a:cubicBezTo>
                      <a:close/>
                    </a:path>
                  </a:pathLst>
                </a:custGeom>
                <a:grpFill/>
                <a:ln w="5978" cap="flat">
                  <a:noFill/>
                  <a:prstDash val="solid"/>
                  <a:miter/>
                </a:ln>
              </p:spPr>
              <p:txBody>
                <a:bodyPr rtlCol="0" anchor="ctr"/>
                <a:lstStyle/>
                <a:p>
                  <a:endParaRPr lang="en-GB"/>
                </a:p>
              </p:txBody>
            </p:sp>
          </p:grpSp>
          <p:grpSp>
            <p:nvGrpSpPr>
              <p:cNvPr id="1125" name="Graphic 3">
                <a:extLst>
                  <a:ext uri="{FF2B5EF4-FFF2-40B4-BE49-F238E27FC236}">
                    <a16:creationId xmlns:a16="http://schemas.microsoft.com/office/drawing/2014/main" id="{396C2096-4853-4CD1-B963-90EA4F3DE280}"/>
                  </a:ext>
                </a:extLst>
              </p:cNvPr>
              <p:cNvGrpSpPr/>
              <p:nvPr/>
            </p:nvGrpSpPr>
            <p:grpSpPr>
              <a:xfrm>
                <a:off x="4842648" y="5135049"/>
                <a:ext cx="144955" cy="221543"/>
                <a:chOff x="4842648" y="5135049"/>
                <a:chExt cx="144955" cy="221543"/>
              </a:xfrm>
              <a:grpFill/>
            </p:grpSpPr>
            <p:sp>
              <p:nvSpPr>
                <p:cNvPr id="2025" name="Vrije vorm: vorm 2024">
                  <a:extLst>
                    <a:ext uri="{FF2B5EF4-FFF2-40B4-BE49-F238E27FC236}">
                      <a16:creationId xmlns:a16="http://schemas.microsoft.com/office/drawing/2014/main" id="{32BD956B-25FD-4E8A-8B30-7DE41D3BF8DF}"/>
                    </a:ext>
                  </a:extLst>
                </p:cNvPr>
                <p:cNvSpPr/>
                <p:nvPr/>
              </p:nvSpPr>
              <p:spPr>
                <a:xfrm>
                  <a:off x="4850265" y="5143042"/>
                  <a:ext cx="129721" cy="205557"/>
                </a:xfrm>
                <a:custGeom>
                  <a:avLst/>
                  <a:gdLst>
                    <a:gd name="connsiteX0" fmla="*/ 129722 w 129721"/>
                    <a:gd name="connsiteY0" fmla="*/ 1615 h 205557"/>
                    <a:gd name="connsiteX1" fmla="*/ 2631 w 129721"/>
                    <a:gd name="connsiteY1" fmla="*/ 205557 h 205557"/>
                    <a:gd name="connsiteX2" fmla="*/ 0 w 129721"/>
                    <a:gd name="connsiteY2" fmla="*/ 203943 h 205557"/>
                    <a:gd name="connsiteX3" fmla="*/ 127150 w 129721"/>
                    <a:gd name="connsiteY3" fmla="*/ 0 h 205557"/>
                  </a:gdLst>
                  <a:ahLst/>
                  <a:cxnLst>
                    <a:cxn ang="0">
                      <a:pos x="connsiteX0" y="connsiteY0"/>
                    </a:cxn>
                    <a:cxn ang="0">
                      <a:pos x="connsiteX1" y="connsiteY1"/>
                    </a:cxn>
                    <a:cxn ang="0">
                      <a:pos x="connsiteX2" y="connsiteY2"/>
                    </a:cxn>
                    <a:cxn ang="0">
                      <a:pos x="connsiteX3" y="connsiteY3"/>
                    </a:cxn>
                  </a:cxnLst>
                  <a:rect l="l" t="t" r="r" b="b"/>
                  <a:pathLst>
                    <a:path w="129721" h="205557">
                      <a:moveTo>
                        <a:pt x="129722" y="1615"/>
                      </a:moveTo>
                      <a:lnTo>
                        <a:pt x="2631" y="205557"/>
                      </a:lnTo>
                      <a:lnTo>
                        <a:pt x="0" y="203943"/>
                      </a:lnTo>
                      <a:lnTo>
                        <a:pt x="127150" y="0"/>
                      </a:lnTo>
                      <a:close/>
                    </a:path>
                  </a:pathLst>
                </a:custGeom>
                <a:grpFill/>
                <a:ln w="5978" cap="flat">
                  <a:noFill/>
                  <a:prstDash val="solid"/>
                  <a:miter/>
                </a:ln>
              </p:spPr>
              <p:txBody>
                <a:bodyPr rtlCol="0" anchor="ctr"/>
                <a:lstStyle/>
                <a:p>
                  <a:endParaRPr lang="en-GB"/>
                </a:p>
              </p:txBody>
            </p:sp>
            <p:sp>
              <p:nvSpPr>
                <p:cNvPr id="2026" name="Vrije vorm: vorm 2025">
                  <a:extLst>
                    <a:ext uri="{FF2B5EF4-FFF2-40B4-BE49-F238E27FC236}">
                      <a16:creationId xmlns:a16="http://schemas.microsoft.com/office/drawing/2014/main" id="{235BB974-ABDA-4372-BB5E-7BA15607BB44}"/>
                    </a:ext>
                  </a:extLst>
                </p:cNvPr>
                <p:cNvSpPr/>
                <p:nvPr/>
              </p:nvSpPr>
              <p:spPr>
                <a:xfrm>
                  <a:off x="4842648" y="5338214"/>
                  <a:ext cx="18343" cy="18378"/>
                </a:xfrm>
                <a:custGeom>
                  <a:avLst/>
                  <a:gdLst>
                    <a:gd name="connsiteX0" fmla="*/ 16947 w 18343"/>
                    <a:gd name="connsiteY0" fmla="*/ 14093 h 18378"/>
                    <a:gd name="connsiteX1" fmla="*/ 4327 w 18343"/>
                    <a:gd name="connsiteY1" fmla="*/ 16964 h 18378"/>
                    <a:gd name="connsiteX2" fmla="*/ 1397 w 18343"/>
                    <a:gd name="connsiteY2" fmla="*/ 4285 h 18378"/>
                    <a:gd name="connsiteX3" fmla="*/ 14016 w 18343"/>
                    <a:gd name="connsiteY3" fmla="*/ 1414 h 18378"/>
                    <a:gd name="connsiteX4" fmla="*/ 16947 w 18343"/>
                    <a:gd name="connsiteY4" fmla="*/ 14093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8">
                      <a:moveTo>
                        <a:pt x="16947" y="14093"/>
                      </a:moveTo>
                      <a:cubicBezTo>
                        <a:pt x="14256" y="18399"/>
                        <a:pt x="8634" y="19655"/>
                        <a:pt x="4327" y="16964"/>
                      </a:cubicBezTo>
                      <a:cubicBezTo>
                        <a:pt x="21" y="14273"/>
                        <a:pt x="-1294" y="8531"/>
                        <a:pt x="1397" y="4285"/>
                      </a:cubicBezTo>
                      <a:cubicBezTo>
                        <a:pt x="4088" y="-21"/>
                        <a:pt x="9710" y="-1277"/>
                        <a:pt x="14016" y="1414"/>
                      </a:cubicBezTo>
                      <a:cubicBezTo>
                        <a:pt x="18322" y="4105"/>
                        <a:pt x="19638" y="9787"/>
                        <a:pt x="16947" y="14093"/>
                      </a:cubicBezTo>
                      <a:close/>
                    </a:path>
                  </a:pathLst>
                </a:custGeom>
                <a:grpFill/>
                <a:ln w="5978" cap="flat">
                  <a:noFill/>
                  <a:prstDash val="solid"/>
                  <a:miter/>
                </a:ln>
              </p:spPr>
              <p:txBody>
                <a:bodyPr rtlCol="0" anchor="ctr"/>
                <a:lstStyle/>
                <a:p>
                  <a:endParaRPr lang="en-GB"/>
                </a:p>
              </p:txBody>
            </p:sp>
            <p:sp>
              <p:nvSpPr>
                <p:cNvPr id="2027" name="Vrije vorm: vorm 2026">
                  <a:extLst>
                    <a:ext uri="{FF2B5EF4-FFF2-40B4-BE49-F238E27FC236}">
                      <a16:creationId xmlns:a16="http://schemas.microsoft.com/office/drawing/2014/main" id="{E6C4F8EC-9530-45DD-B0D5-3FD77EF2717F}"/>
                    </a:ext>
                  </a:extLst>
                </p:cNvPr>
                <p:cNvSpPr/>
                <p:nvPr/>
              </p:nvSpPr>
              <p:spPr>
                <a:xfrm>
                  <a:off x="4969260" y="5135049"/>
                  <a:ext cx="18343" cy="18404"/>
                </a:xfrm>
                <a:custGeom>
                  <a:avLst/>
                  <a:gdLst>
                    <a:gd name="connsiteX0" fmla="*/ 16947 w 18343"/>
                    <a:gd name="connsiteY0" fmla="*/ 14093 h 18404"/>
                    <a:gd name="connsiteX1" fmla="*/ 14016 w 18343"/>
                    <a:gd name="connsiteY1" fmla="*/ 1414 h 18404"/>
                    <a:gd name="connsiteX2" fmla="*/ 1397 w 18343"/>
                    <a:gd name="connsiteY2" fmla="*/ 4285 h 18404"/>
                    <a:gd name="connsiteX3" fmla="*/ 4328 w 18343"/>
                    <a:gd name="connsiteY3" fmla="*/ 16964 h 18404"/>
                    <a:gd name="connsiteX4" fmla="*/ 16947 w 18343"/>
                    <a:gd name="connsiteY4" fmla="*/ 14093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093"/>
                      </a:moveTo>
                      <a:cubicBezTo>
                        <a:pt x="19638" y="9787"/>
                        <a:pt x="18322" y="4105"/>
                        <a:pt x="14016" y="1414"/>
                      </a:cubicBezTo>
                      <a:cubicBezTo>
                        <a:pt x="9710" y="-1277"/>
                        <a:pt x="4088" y="-21"/>
                        <a:pt x="1397" y="4285"/>
                      </a:cubicBezTo>
                      <a:cubicBezTo>
                        <a:pt x="-1294" y="8591"/>
                        <a:pt x="21" y="14273"/>
                        <a:pt x="4328" y="16964"/>
                      </a:cubicBezTo>
                      <a:cubicBezTo>
                        <a:pt x="8634" y="19715"/>
                        <a:pt x="14255" y="18399"/>
                        <a:pt x="16947" y="14093"/>
                      </a:cubicBezTo>
                      <a:close/>
                    </a:path>
                  </a:pathLst>
                </a:custGeom>
                <a:grpFill/>
                <a:ln w="5978" cap="flat">
                  <a:noFill/>
                  <a:prstDash val="solid"/>
                  <a:miter/>
                </a:ln>
              </p:spPr>
              <p:txBody>
                <a:bodyPr rtlCol="0" anchor="ctr"/>
                <a:lstStyle/>
                <a:p>
                  <a:endParaRPr lang="en-GB"/>
                </a:p>
              </p:txBody>
            </p:sp>
          </p:grpSp>
          <p:grpSp>
            <p:nvGrpSpPr>
              <p:cNvPr id="1126" name="Graphic 3">
                <a:extLst>
                  <a:ext uri="{FF2B5EF4-FFF2-40B4-BE49-F238E27FC236}">
                    <a16:creationId xmlns:a16="http://schemas.microsoft.com/office/drawing/2014/main" id="{FC80F212-B3BF-41D1-AAA1-BBDBDD3BD476}"/>
                  </a:ext>
                </a:extLst>
              </p:cNvPr>
              <p:cNvGrpSpPr/>
              <p:nvPr/>
            </p:nvGrpSpPr>
            <p:grpSpPr>
              <a:xfrm>
                <a:off x="3939441" y="2971341"/>
                <a:ext cx="461393" cy="141231"/>
                <a:chOff x="3939441" y="2971341"/>
                <a:chExt cx="461393" cy="141231"/>
              </a:xfrm>
              <a:grpFill/>
            </p:grpSpPr>
            <p:sp>
              <p:nvSpPr>
                <p:cNvPr id="2022" name="Vrije vorm: vorm 2021">
                  <a:extLst>
                    <a:ext uri="{FF2B5EF4-FFF2-40B4-BE49-F238E27FC236}">
                      <a16:creationId xmlns:a16="http://schemas.microsoft.com/office/drawing/2014/main" id="{776E3173-CE5F-441E-BFAE-944E0D5409A4}"/>
                    </a:ext>
                  </a:extLst>
                </p:cNvPr>
                <p:cNvSpPr/>
                <p:nvPr/>
              </p:nvSpPr>
              <p:spPr>
                <a:xfrm>
                  <a:off x="3947774" y="2978918"/>
                  <a:ext cx="444726" cy="126073"/>
                </a:xfrm>
                <a:custGeom>
                  <a:avLst/>
                  <a:gdLst>
                    <a:gd name="connsiteX0" fmla="*/ 444726 w 444726"/>
                    <a:gd name="connsiteY0" fmla="*/ 123143 h 126073"/>
                    <a:gd name="connsiteX1" fmla="*/ 443949 w 444726"/>
                    <a:gd name="connsiteY1" fmla="*/ 126074 h 126073"/>
                    <a:gd name="connsiteX2" fmla="*/ 0 w 444726"/>
                    <a:gd name="connsiteY2" fmla="*/ 2990 h 126073"/>
                    <a:gd name="connsiteX3" fmla="*/ 837 w 444726"/>
                    <a:gd name="connsiteY3" fmla="*/ 0 h 126073"/>
                  </a:gdLst>
                  <a:ahLst/>
                  <a:cxnLst>
                    <a:cxn ang="0">
                      <a:pos x="connsiteX0" y="connsiteY0"/>
                    </a:cxn>
                    <a:cxn ang="0">
                      <a:pos x="connsiteX1" y="connsiteY1"/>
                    </a:cxn>
                    <a:cxn ang="0">
                      <a:pos x="connsiteX2" y="connsiteY2"/>
                    </a:cxn>
                    <a:cxn ang="0">
                      <a:pos x="connsiteX3" y="connsiteY3"/>
                    </a:cxn>
                  </a:cxnLst>
                  <a:rect l="l" t="t" r="r" b="b"/>
                  <a:pathLst>
                    <a:path w="444726" h="126073">
                      <a:moveTo>
                        <a:pt x="444726" y="123143"/>
                      </a:moveTo>
                      <a:lnTo>
                        <a:pt x="443949" y="126074"/>
                      </a:lnTo>
                      <a:lnTo>
                        <a:pt x="0" y="2990"/>
                      </a:lnTo>
                      <a:lnTo>
                        <a:pt x="837" y="0"/>
                      </a:lnTo>
                      <a:close/>
                    </a:path>
                  </a:pathLst>
                </a:custGeom>
                <a:grpFill/>
                <a:ln w="5978" cap="flat">
                  <a:noFill/>
                  <a:prstDash val="solid"/>
                  <a:miter/>
                </a:ln>
              </p:spPr>
              <p:txBody>
                <a:bodyPr rtlCol="0" anchor="ctr"/>
                <a:lstStyle/>
                <a:p>
                  <a:endParaRPr lang="en-GB"/>
                </a:p>
              </p:txBody>
            </p:sp>
            <p:sp>
              <p:nvSpPr>
                <p:cNvPr id="2023" name="Vrije vorm: vorm 2022">
                  <a:extLst>
                    <a:ext uri="{FF2B5EF4-FFF2-40B4-BE49-F238E27FC236}">
                      <a16:creationId xmlns:a16="http://schemas.microsoft.com/office/drawing/2014/main" id="{517B82CC-9A3D-477F-BB04-DFF8B328C66B}"/>
                    </a:ext>
                  </a:extLst>
                </p:cNvPr>
                <p:cNvSpPr/>
                <p:nvPr/>
              </p:nvSpPr>
              <p:spPr>
                <a:xfrm>
                  <a:off x="4382493" y="3094185"/>
                  <a:ext cx="18341" cy="18387"/>
                </a:xfrm>
                <a:custGeom>
                  <a:avLst/>
                  <a:gdLst>
                    <a:gd name="connsiteX0" fmla="*/ 11563 w 18341"/>
                    <a:gd name="connsiteY0" fmla="*/ 340 h 18387"/>
                    <a:gd name="connsiteX1" fmla="*/ 18022 w 18341"/>
                    <a:gd name="connsiteY1" fmla="*/ 11644 h 18387"/>
                    <a:gd name="connsiteX2" fmla="*/ 6778 w 18341"/>
                    <a:gd name="connsiteY2" fmla="*/ 18043 h 18387"/>
                    <a:gd name="connsiteX3" fmla="*/ 319 w 18341"/>
                    <a:gd name="connsiteY3" fmla="*/ 6739 h 18387"/>
                    <a:gd name="connsiteX4" fmla="*/ 11563 w 18341"/>
                    <a:gd name="connsiteY4" fmla="*/ 34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7">
                      <a:moveTo>
                        <a:pt x="11563" y="340"/>
                      </a:moveTo>
                      <a:cubicBezTo>
                        <a:pt x="16467" y="1716"/>
                        <a:pt x="19338" y="6799"/>
                        <a:pt x="18022" y="11644"/>
                      </a:cubicBezTo>
                      <a:cubicBezTo>
                        <a:pt x="16706" y="16548"/>
                        <a:pt x="11683" y="19418"/>
                        <a:pt x="6778" y="18043"/>
                      </a:cubicBezTo>
                      <a:cubicBezTo>
                        <a:pt x="1874" y="16667"/>
                        <a:pt x="-997" y="11644"/>
                        <a:pt x="319" y="6739"/>
                      </a:cubicBezTo>
                      <a:cubicBezTo>
                        <a:pt x="1635" y="1895"/>
                        <a:pt x="6718" y="-1035"/>
                        <a:pt x="11563" y="340"/>
                      </a:cubicBezTo>
                      <a:close/>
                    </a:path>
                  </a:pathLst>
                </a:custGeom>
                <a:grpFill/>
                <a:ln w="5978" cap="flat">
                  <a:noFill/>
                  <a:prstDash val="solid"/>
                  <a:miter/>
                </a:ln>
              </p:spPr>
              <p:txBody>
                <a:bodyPr rtlCol="0" anchor="ctr"/>
                <a:lstStyle/>
                <a:p>
                  <a:endParaRPr lang="en-GB"/>
                </a:p>
              </p:txBody>
            </p:sp>
            <p:sp>
              <p:nvSpPr>
                <p:cNvPr id="2024" name="Vrije vorm: vorm 2023">
                  <a:extLst>
                    <a:ext uri="{FF2B5EF4-FFF2-40B4-BE49-F238E27FC236}">
                      <a16:creationId xmlns:a16="http://schemas.microsoft.com/office/drawing/2014/main" id="{55EF57D8-D28A-4186-AAE2-CBBE58AD5F3C}"/>
                    </a:ext>
                  </a:extLst>
                </p:cNvPr>
                <p:cNvSpPr/>
                <p:nvPr/>
              </p:nvSpPr>
              <p:spPr>
                <a:xfrm>
                  <a:off x="3939441" y="2971341"/>
                  <a:ext cx="18341" cy="18387"/>
                </a:xfrm>
                <a:custGeom>
                  <a:avLst/>
                  <a:gdLst>
                    <a:gd name="connsiteX0" fmla="*/ 11563 w 18341"/>
                    <a:gd name="connsiteY0" fmla="*/ 340 h 18387"/>
                    <a:gd name="connsiteX1" fmla="*/ 319 w 18341"/>
                    <a:gd name="connsiteY1" fmla="*/ 6739 h 18387"/>
                    <a:gd name="connsiteX2" fmla="*/ 6778 w 18341"/>
                    <a:gd name="connsiteY2" fmla="*/ 18043 h 18387"/>
                    <a:gd name="connsiteX3" fmla="*/ 18022 w 18341"/>
                    <a:gd name="connsiteY3" fmla="*/ 11644 h 18387"/>
                    <a:gd name="connsiteX4" fmla="*/ 11563 w 18341"/>
                    <a:gd name="connsiteY4" fmla="*/ 34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7">
                      <a:moveTo>
                        <a:pt x="11563" y="340"/>
                      </a:moveTo>
                      <a:cubicBezTo>
                        <a:pt x="6659" y="-1036"/>
                        <a:pt x="1635" y="1895"/>
                        <a:pt x="319" y="6739"/>
                      </a:cubicBezTo>
                      <a:cubicBezTo>
                        <a:pt x="-997" y="11644"/>
                        <a:pt x="1874" y="16727"/>
                        <a:pt x="6778" y="18043"/>
                      </a:cubicBezTo>
                      <a:cubicBezTo>
                        <a:pt x="11683" y="19419"/>
                        <a:pt x="16706" y="16548"/>
                        <a:pt x="18022" y="11644"/>
                      </a:cubicBezTo>
                      <a:cubicBezTo>
                        <a:pt x="19338" y="6739"/>
                        <a:pt x="16467" y="1656"/>
                        <a:pt x="11563" y="340"/>
                      </a:cubicBezTo>
                      <a:close/>
                    </a:path>
                  </a:pathLst>
                </a:custGeom>
                <a:grpFill/>
                <a:ln w="5978" cap="flat">
                  <a:noFill/>
                  <a:prstDash val="solid"/>
                  <a:miter/>
                </a:ln>
              </p:spPr>
              <p:txBody>
                <a:bodyPr rtlCol="0" anchor="ctr"/>
                <a:lstStyle/>
                <a:p>
                  <a:endParaRPr lang="en-GB"/>
                </a:p>
              </p:txBody>
            </p:sp>
          </p:grpSp>
          <p:grpSp>
            <p:nvGrpSpPr>
              <p:cNvPr id="1127" name="Graphic 3">
                <a:extLst>
                  <a:ext uri="{FF2B5EF4-FFF2-40B4-BE49-F238E27FC236}">
                    <a16:creationId xmlns:a16="http://schemas.microsoft.com/office/drawing/2014/main" id="{3DAA404C-E09A-4A1F-B260-310F0B59E04D}"/>
                  </a:ext>
                </a:extLst>
              </p:cNvPr>
              <p:cNvGrpSpPr/>
              <p:nvPr/>
            </p:nvGrpSpPr>
            <p:grpSpPr>
              <a:xfrm>
                <a:off x="3909828" y="2707604"/>
                <a:ext cx="335813" cy="122481"/>
                <a:chOff x="3909828" y="2707604"/>
                <a:chExt cx="335813" cy="122481"/>
              </a:xfrm>
              <a:grpFill/>
            </p:grpSpPr>
            <p:sp>
              <p:nvSpPr>
                <p:cNvPr id="2019" name="Vrije vorm: vorm 2018">
                  <a:extLst>
                    <a:ext uri="{FF2B5EF4-FFF2-40B4-BE49-F238E27FC236}">
                      <a16:creationId xmlns:a16="http://schemas.microsoft.com/office/drawing/2014/main" id="{E9FFD6C8-6C2C-4C78-AB7A-4D7D12934E0A}"/>
                    </a:ext>
                  </a:extLst>
                </p:cNvPr>
                <p:cNvSpPr/>
                <p:nvPr/>
              </p:nvSpPr>
              <p:spPr>
                <a:xfrm>
                  <a:off x="3918110" y="2715228"/>
                  <a:ext cx="319310" cy="107294"/>
                </a:xfrm>
                <a:custGeom>
                  <a:avLst/>
                  <a:gdLst>
                    <a:gd name="connsiteX0" fmla="*/ 319311 w 319310"/>
                    <a:gd name="connsiteY0" fmla="*/ 104363 h 107294"/>
                    <a:gd name="connsiteX1" fmla="*/ 318354 w 319310"/>
                    <a:gd name="connsiteY1" fmla="*/ 107294 h 107294"/>
                    <a:gd name="connsiteX2" fmla="*/ 0 w 319310"/>
                    <a:gd name="connsiteY2" fmla="*/ 2930 h 107294"/>
                    <a:gd name="connsiteX3" fmla="*/ 957 w 319310"/>
                    <a:gd name="connsiteY3" fmla="*/ 0 h 107294"/>
                  </a:gdLst>
                  <a:ahLst/>
                  <a:cxnLst>
                    <a:cxn ang="0">
                      <a:pos x="connsiteX0" y="connsiteY0"/>
                    </a:cxn>
                    <a:cxn ang="0">
                      <a:pos x="connsiteX1" y="connsiteY1"/>
                    </a:cxn>
                    <a:cxn ang="0">
                      <a:pos x="connsiteX2" y="connsiteY2"/>
                    </a:cxn>
                    <a:cxn ang="0">
                      <a:pos x="connsiteX3" y="connsiteY3"/>
                    </a:cxn>
                  </a:cxnLst>
                  <a:rect l="l" t="t" r="r" b="b"/>
                  <a:pathLst>
                    <a:path w="319310" h="107294">
                      <a:moveTo>
                        <a:pt x="319311" y="104363"/>
                      </a:moveTo>
                      <a:lnTo>
                        <a:pt x="318354" y="107294"/>
                      </a:lnTo>
                      <a:lnTo>
                        <a:pt x="0" y="2930"/>
                      </a:lnTo>
                      <a:lnTo>
                        <a:pt x="957" y="0"/>
                      </a:lnTo>
                      <a:close/>
                    </a:path>
                  </a:pathLst>
                </a:custGeom>
                <a:grpFill/>
                <a:ln w="5978" cap="flat">
                  <a:noFill/>
                  <a:prstDash val="solid"/>
                  <a:miter/>
                </a:ln>
              </p:spPr>
              <p:txBody>
                <a:bodyPr rtlCol="0" anchor="ctr"/>
                <a:lstStyle/>
                <a:p>
                  <a:endParaRPr lang="en-GB"/>
                </a:p>
              </p:txBody>
            </p:sp>
            <p:sp>
              <p:nvSpPr>
                <p:cNvPr id="2020" name="Vrije vorm: vorm 2019">
                  <a:extLst>
                    <a:ext uri="{FF2B5EF4-FFF2-40B4-BE49-F238E27FC236}">
                      <a16:creationId xmlns:a16="http://schemas.microsoft.com/office/drawing/2014/main" id="{2352B813-5806-48EC-B265-B467C9DD5CE2}"/>
                    </a:ext>
                  </a:extLst>
                </p:cNvPr>
                <p:cNvSpPr/>
                <p:nvPr/>
              </p:nvSpPr>
              <p:spPr>
                <a:xfrm>
                  <a:off x="3909828" y="2707604"/>
                  <a:ext cx="18357" cy="18439"/>
                </a:xfrm>
                <a:custGeom>
                  <a:avLst/>
                  <a:gdLst>
                    <a:gd name="connsiteX0" fmla="*/ 6368 w 18357"/>
                    <a:gd name="connsiteY0" fmla="*/ 17970 h 18439"/>
                    <a:gd name="connsiteX1" fmla="*/ 447 w 18357"/>
                    <a:gd name="connsiteY1" fmla="*/ 6368 h 18439"/>
                    <a:gd name="connsiteX2" fmla="*/ 11990 w 18357"/>
                    <a:gd name="connsiteY2" fmla="*/ 447 h 18439"/>
                    <a:gd name="connsiteX3" fmla="*/ 17911 w 18357"/>
                    <a:gd name="connsiteY3" fmla="*/ 12049 h 18439"/>
                    <a:gd name="connsiteX4" fmla="*/ 6368 w 18357"/>
                    <a:gd name="connsiteY4" fmla="*/ 1797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39">
                      <a:moveTo>
                        <a:pt x="6368" y="17970"/>
                      </a:moveTo>
                      <a:cubicBezTo>
                        <a:pt x="1523" y="16415"/>
                        <a:pt x="-1108" y="11212"/>
                        <a:pt x="447" y="6368"/>
                      </a:cubicBezTo>
                      <a:cubicBezTo>
                        <a:pt x="2002" y="1523"/>
                        <a:pt x="7145" y="-1108"/>
                        <a:pt x="11990" y="447"/>
                      </a:cubicBezTo>
                      <a:cubicBezTo>
                        <a:pt x="16834" y="2002"/>
                        <a:pt x="19465" y="7205"/>
                        <a:pt x="17911" y="12049"/>
                      </a:cubicBezTo>
                      <a:cubicBezTo>
                        <a:pt x="16356" y="16894"/>
                        <a:pt x="11212" y="19585"/>
                        <a:pt x="6368" y="17970"/>
                      </a:cubicBezTo>
                      <a:close/>
                    </a:path>
                  </a:pathLst>
                </a:custGeom>
                <a:grpFill/>
                <a:ln w="5978" cap="flat">
                  <a:noFill/>
                  <a:prstDash val="solid"/>
                  <a:miter/>
                </a:ln>
              </p:spPr>
              <p:txBody>
                <a:bodyPr rtlCol="0" anchor="ctr"/>
                <a:lstStyle/>
                <a:p>
                  <a:endParaRPr lang="en-GB"/>
                </a:p>
              </p:txBody>
            </p:sp>
            <p:sp>
              <p:nvSpPr>
                <p:cNvPr id="2021" name="Vrije vorm: vorm 2020">
                  <a:extLst>
                    <a:ext uri="{FF2B5EF4-FFF2-40B4-BE49-F238E27FC236}">
                      <a16:creationId xmlns:a16="http://schemas.microsoft.com/office/drawing/2014/main" id="{0AB0DACA-5920-4484-9F52-441266A0FA86}"/>
                    </a:ext>
                  </a:extLst>
                </p:cNvPr>
                <p:cNvSpPr/>
                <p:nvPr/>
              </p:nvSpPr>
              <p:spPr>
                <a:xfrm>
                  <a:off x="4227313" y="2811669"/>
                  <a:ext cx="18329" cy="18416"/>
                </a:xfrm>
                <a:custGeom>
                  <a:avLst/>
                  <a:gdLst>
                    <a:gd name="connsiteX0" fmla="*/ 6340 w 18329"/>
                    <a:gd name="connsiteY0" fmla="*/ 17970 h 18416"/>
                    <a:gd name="connsiteX1" fmla="*/ 17882 w 18329"/>
                    <a:gd name="connsiteY1" fmla="*/ 12049 h 18416"/>
                    <a:gd name="connsiteX2" fmla="*/ 11962 w 18329"/>
                    <a:gd name="connsiteY2" fmla="*/ 447 h 18416"/>
                    <a:gd name="connsiteX3" fmla="*/ 419 w 18329"/>
                    <a:gd name="connsiteY3" fmla="*/ 6368 h 18416"/>
                    <a:gd name="connsiteX4" fmla="*/ 6340 w 18329"/>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6">
                      <a:moveTo>
                        <a:pt x="6340" y="17970"/>
                      </a:moveTo>
                      <a:cubicBezTo>
                        <a:pt x="11184" y="19525"/>
                        <a:pt x="16327" y="16894"/>
                        <a:pt x="17882" y="12049"/>
                      </a:cubicBezTo>
                      <a:cubicBezTo>
                        <a:pt x="19438" y="7205"/>
                        <a:pt x="16806" y="2002"/>
                        <a:pt x="11962" y="447"/>
                      </a:cubicBezTo>
                      <a:cubicBezTo>
                        <a:pt x="7117" y="-1108"/>
                        <a:pt x="1974" y="1523"/>
                        <a:pt x="419" y="6368"/>
                      </a:cubicBezTo>
                      <a:cubicBezTo>
                        <a:pt x="-1076" y="11212"/>
                        <a:pt x="1555" y="16415"/>
                        <a:pt x="6340" y="17970"/>
                      </a:cubicBezTo>
                      <a:close/>
                    </a:path>
                  </a:pathLst>
                </a:custGeom>
                <a:grpFill/>
                <a:ln w="5978" cap="flat">
                  <a:noFill/>
                  <a:prstDash val="solid"/>
                  <a:miter/>
                </a:ln>
              </p:spPr>
              <p:txBody>
                <a:bodyPr rtlCol="0" anchor="ctr"/>
                <a:lstStyle/>
                <a:p>
                  <a:endParaRPr lang="en-GB"/>
                </a:p>
              </p:txBody>
            </p:sp>
          </p:grpSp>
          <p:grpSp>
            <p:nvGrpSpPr>
              <p:cNvPr id="1128" name="Graphic 3">
                <a:extLst>
                  <a:ext uri="{FF2B5EF4-FFF2-40B4-BE49-F238E27FC236}">
                    <a16:creationId xmlns:a16="http://schemas.microsoft.com/office/drawing/2014/main" id="{E2F59303-998F-4823-B65B-F5CF9B414D37}"/>
                  </a:ext>
                </a:extLst>
              </p:cNvPr>
              <p:cNvGrpSpPr/>
              <p:nvPr/>
            </p:nvGrpSpPr>
            <p:grpSpPr>
              <a:xfrm>
                <a:off x="4591904" y="4378757"/>
                <a:ext cx="58333" cy="45930"/>
                <a:chOff x="4591904" y="4378757"/>
                <a:chExt cx="58333" cy="45930"/>
              </a:xfrm>
              <a:grpFill/>
            </p:grpSpPr>
            <p:sp>
              <p:nvSpPr>
                <p:cNvPr id="2016" name="Vrije vorm: vorm 2015">
                  <a:extLst>
                    <a:ext uri="{FF2B5EF4-FFF2-40B4-BE49-F238E27FC236}">
                      <a16:creationId xmlns:a16="http://schemas.microsoft.com/office/drawing/2014/main" id="{D558BED9-0B7B-449E-B6A0-FD06B97D9167}"/>
                    </a:ext>
                  </a:extLst>
                </p:cNvPr>
                <p:cNvSpPr/>
                <p:nvPr/>
              </p:nvSpPr>
              <p:spPr>
                <a:xfrm>
                  <a:off x="4599793" y="4386421"/>
                  <a:ext cx="42522" cy="30561"/>
                </a:xfrm>
                <a:custGeom>
                  <a:avLst/>
                  <a:gdLst>
                    <a:gd name="connsiteX0" fmla="*/ 42523 w 42522"/>
                    <a:gd name="connsiteY0" fmla="*/ 2512 h 30561"/>
                    <a:gd name="connsiteX1" fmla="*/ 1734 w 42522"/>
                    <a:gd name="connsiteY1" fmla="*/ 30561 h 30561"/>
                    <a:gd name="connsiteX2" fmla="*/ 0 w 42522"/>
                    <a:gd name="connsiteY2" fmla="*/ 28049 h 30561"/>
                    <a:gd name="connsiteX3" fmla="*/ 40848 w 42522"/>
                    <a:gd name="connsiteY3" fmla="*/ 0 h 30561"/>
                  </a:gdLst>
                  <a:ahLst/>
                  <a:cxnLst>
                    <a:cxn ang="0">
                      <a:pos x="connsiteX0" y="connsiteY0"/>
                    </a:cxn>
                    <a:cxn ang="0">
                      <a:pos x="connsiteX1" y="connsiteY1"/>
                    </a:cxn>
                    <a:cxn ang="0">
                      <a:pos x="connsiteX2" y="connsiteY2"/>
                    </a:cxn>
                    <a:cxn ang="0">
                      <a:pos x="connsiteX3" y="connsiteY3"/>
                    </a:cxn>
                  </a:cxnLst>
                  <a:rect l="l" t="t" r="r" b="b"/>
                  <a:pathLst>
                    <a:path w="42522" h="30561">
                      <a:moveTo>
                        <a:pt x="42523" y="2512"/>
                      </a:moveTo>
                      <a:lnTo>
                        <a:pt x="1734" y="30561"/>
                      </a:lnTo>
                      <a:lnTo>
                        <a:pt x="0" y="28049"/>
                      </a:lnTo>
                      <a:lnTo>
                        <a:pt x="40848" y="0"/>
                      </a:lnTo>
                      <a:close/>
                    </a:path>
                  </a:pathLst>
                </a:custGeom>
                <a:grpFill/>
                <a:ln w="5978" cap="flat">
                  <a:noFill/>
                  <a:prstDash val="solid"/>
                  <a:miter/>
                </a:ln>
              </p:spPr>
              <p:txBody>
                <a:bodyPr rtlCol="0" anchor="ctr"/>
                <a:lstStyle/>
                <a:p>
                  <a:endParaRPr lang="en-GB"/>
                </a:p>
              </p:txBody>
            </p:sp>
            <p:sp>
              <p:nvSpPr>
                <p:cNvPr id="2017" name="Vrije vorm: vorm 2016">
                  <a:extLst>
                    <a:ext uri="{FF2B5EF4-FFF2-40B4-BE49-F238E27FC236}">
                      <a16:creationId xmlns:a16="http://schemas.microsoft.com/office/drawing/2014/main" id="{8037263B-6F3B-4C13-8A11-CAF57130AAA5}"/>
                    </a:ext>
                  </a:extLst>
                </p:cNvPr>
                <p:cNvSpPr/>
                <p:nvPr/>
              </p:nvSpPr>
              <p:spPr>
                <a:xfrm>
                  <a:off x="4591904" y="4406226"/>
                  <a:ext cx="18306" cy="18461"/>
                </a:xfrm>
                <a:custGeom>
                  <a:avLst/>
                  <a:gdLst>
                    <a:gd name="connsiteX0" fmla="*/ 14348 w 18306"/>
                    <a:gd name="connsiteY0" fmla="*/ 16856 h 18461"/>
                    <a:gd name="connsiteX1" fmla="*/ 1609 w 18306"/>
                    <a:gd name="connsiteY1" fmla="*/ 14404 h 18461"/>
                    <a:gd name="connsiteX2" fmla="*/ 4001 w 18306"/>
                    <a:gd name="connsiteY2" fmla="*/ 1605 h 18461"/>
                    <a:gd name="connsiteX3" fmla="*/ 16740 w 18306"/>
                    <a:gd name="connsiteY3" fmla="*/ 4058 h 18461"/>
                    <a:gd name="connsiteX4" fmla="*/ 14348 w 18306"/>
                    <a:gd name="connsiteY4" fmla="*/ 1685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61">
                      <a:moveTo>
                        <a:pt x="14348" y="16856"/>
                      </a:moveTo>
                      <a:cubicBezTo>
                        <a:pt x="10161" y="19727"/>
                        <a:pt x="4480" y="18651"/>
                        <a:pt x="1609" y="14404"/>
                      </a:cubicBezTo>
                      <a:cubicBezTo>
                        <a:pt x="-1262" y="10218"/>
                        <a:pt x="-186" y="4476"/>
                        <a:pt x="4001" y="1605"/>
                      </a:cubicBezTo>
                      <a:cubicBezTo>
                        <a:pt x="8188" y="-1265"/>
                        <a:pt x="13869" y="-189"/>
                        <a:pt x="16740" y="4058"/>
                      </a:cubicBezTo>
                      <a:cubicBezTo>
                        <a:pt x="19551" y="8244"/>
                        <a:pt x="18474" y="13985"/>
                        <a:pt x="14348" y="16856"/>
                      </a:cubicBezTo>
                      <a:close/>
                    </a:path>
                  </a:pathLst>
                </a:custGeom>
                <a:grpFill/>
                <a:ln w="5978" cap="flat">
                  <a:noFill/>
                  <a:prstDash val="solid"/>
                  <a:miter/>
                </a:ln>
              </p:spPr>
              <p:txBody>
                <a:bodyPr rtlCol="0" anchor="ctr"/>
                <a:lstStyle/>
                <a:p>
                  <a:endParaRPr lang="en-GB"/>
                </a:p>
              </p:txBody>
            </p:sp>
            <p:sp>
              <p:nvSpPr>
                <p:cNvPr id="2018" name="Vrije vorm: vorm 2017">
                  <a:extLst>
                    <a:ext uri="{FF2B5EF4-FFF2-40B4-BE49-F238E27FC236}">
                      <a16:creationId xmlns:a16="http://schemas.microsoft.com/office/drawing/2014/main" id="{7008073B-6371-4960-91D0-AEAAC4B3BB73}"/>
                    </a:ext>
                  </a:extLst>
                </p:cNvPr>
                <p:cNvSpPr/>
                <p:nvPr/>
              </p:nvSpPr>
              <p:spPr>
                <a:xfrm>
                  <a:off x="4631941" y="4378757"/>
                  <a:ext cx="18296" cy="18419"/>
                </a:xfrm>
                <a:custGeom>
                  <a:avLst/>
                  <a:gdLst>
                    <a:gd name="connsiteX0" fmla="*/ 14321 w 18296"/>
                    <a:gd name="connsiteY0" fmla="*/ 16814 h 18419"/>
                    <a:gd name="connsiteX1" fmla="*/ 16714 w 18296"/>
                    <a:gd name="connsiteY1" fmla="*/ 4015 h 18419"/>
                    <a:gd name="connsiteX2" fmla="*/ 3975 w 18296"/>
                    <a:gd name="connsiteY2" fmla="*/ 1563 h 18419"/>
                    <a:gd name="connsiteX3" fmla="*/ 1582 w 18296"/>
                    <a:gd name="connsiteY3" fmla="*/ 14362 h 18419"/>
                    <a:gd name="connsiteX4" fmla="*/ 14321 w 18296"/>
                    <a:gd name="connsiteY4" fmla="*/ 1681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9">
                      <a:moveTo>
                        <a:pt x="14321" y="16814"/>
                      </a:moveTo>
                      <a:cubicBezTo>
                        <a:pt x="18508" y="13944"/>
                        <a:pt x="19524" y="8202"/>
                        <a:pt x="16714" y="4015"/>
                      </a:cubicBezTo>
                      <a:cubicBezTo>
                        <a:pt x="13843" y="-171"/>
                        <a:pt x="8161" y="-1248"/>
                        <a:pt x="3975" y="1563"/>
                      </a:cubicBezTo>
                      <a:cubicBezTo>
                        <a:pt x="-212" y="4434"/>
                        <a:pt x="-1228" y="10176"/>
                        <a:pt x="1582" y="14362"/>
                      </a:cubicBezTo>
                      <a:cubicBezTo>
                        <a:pt x="4453" y="18608"/>
                        <a:pt x="10195" y="19685"/>
                        <a:pt x="14321" y="16814"/>
                      </a:cubicBezTo>
                      <a:close/>
                    </a:path>
                  </a:pathLst>
                </a:custGeom>
                <a:grpFill/>
                <a:ln w="5978" cap="flat">
                  <a:noFill/>
                  <a:prstDash val="solid"/>
                  <a:miter/>
                </a:ln>
              </p:spPr>
              <p:txBody>
                <a:bodyPr rtlCol="0" anchor="ctr"/>
                <a:lstStyle/>
                <a:p>
                  <a:endParaRPr lang="en-GB"/>
                </a:p>
              </p:txBody>
            </p:sp>
          </p:grpSp>
          <p:grpSp>
            <p:nvGrpSpPr>
              <p:cNvPr id="1129" name="Graphic 3">
                <a:extLst>
                  <a:ext uri="{FF2B5EF4-FFF2-40B4-BE49-F238E27FC236}">
                    <a16:creationId xmlns:a16="http://schemas.microsoft.com/office/drawing/2014/main" id="{DDAECF49-1E8D-433D-93E9-B1805766E461}"/>
                  </a:ext>
                </a:extLst>
              </p:cNvPr>
              <p:cNvGrpSpPr/>
              <p:nvPr/>
            </p:nvGrpSpPr>
            <p:grpSpPr>
              <a:xfrm>
                <a:off x="4630038" y="4524933"/>
                <a:ext cx="95546" cy="82846"/>
                <a:chOff x="4630038" y="4524933"/>
                <a:chExt cx="95546" cy="82846"/>
              </a:xfrm>
              <a:grpFill/>
            </p:grpSpPr>
            <p:sp>
              <p:nvSpPr>
                <p:cNvPr id="2013" name="Vrije vorm: vorm 2012">
                  <a:extLst>
                    <a:ext uri="{FF2B5EF4-FFF2-40B4-BE49-F238E27FC236}">
                      <a16:creationId xmlns:a16="http://schemas.microsoft.com/office/drawing/2014/main" id="{FF7E2016-2510-4648-BBA1-F06762481C70}"/>
                    </a:ext>
                  </a:extLst>
                </p:cNvPr>
                <p:cNvSpPr/>
                <p:nvPr/>
              </p:nvSpPr>
              <p:spPr>
                <a:xfrm>
                  <a:off x="4637890" y="4532709"/>
                  <a:ext cx="79842" cy="67342"/>
                </a:xfrm>
                <a:custGeom>
                  <a:avLst/>
                  <a:gdLst>
                    <a:gd name="connsiteX0" fmla="*/ 79843 w 79842"/>
                    <a:gd name="connsiteY0" fmla="*/ 2333 h 67342"/>
                    <a:gd name="connsiteX1" fmla="*/ 1973 w 79842"/>
                    <a:gd name="connsiteY1" fmla="*/ 67343 h 67342"/>
                    <a:gd name="connsiteX2" fmla="*/ 0 w 79842"/>
                    <a:gd name="connsiteY2" fmla="*/ 64951 h 67342"/>
                    <a:gd name="connsiteX3" fmla="*/ 77869 w 79842"/>
                    <a:gd name="connsiteY3" fmla="*/ 0 h 67342"/>
                  </a:gdLst>
                  <a:ahLst/>
                  <a:cxnLst>
                    <a:cxn ang="0">
                      <a:pos x="connsiteX0" y="connsiteY0"/>
                    </a:cxn>
                    <a:cxn ang="0">
                      <a:pos x="connsiteX1" y="connsiteY1"/>
                    </a:cxn>
                    <a:cxn ang="0">
                      <a:pos x="connsiteX2" y="connsiteY2"/>
                    </a:cxn>
                    <a:cxn ang="0">
                      <a:pos x="connsiteX3" y="connsiteY3"/>
                    </a:cxn>
                  </a:cxnLst>
                  <a:rect l="l" t="t" r="r" b="b"/>
                  <a:pathLst>
                    <a:path w="79842" h="67342">
                      <a:moveTo>
                        <a:pt x="79843" y="2333"/>
                      </a:moveTo>
                      <a:lnTo>
                        <a:pt x="1973" y="67343"/>
                      </a:lnTo>
                      <a:lnTo>
                        <a:pt x="0" y="64951"/>
                      </a:lnTo>
                      <a:lnTo>
                        <a:pt x="77869" y="0"/>
                      </a:lnTo>
                      <a:close/>
                    </a:path>
                  </a:pathLst>
                </a:custGeom>
                <a:grpFill/>
                <a:ln w="5978" cap="flat">
                  <a:noFill/>
                  <a:prstDash val="solid"/>
                  <a:miter/>
                </a:ln>
              </p:spPr>
              <p:txBody>
                <a:bodyPr rtlCol="0" anchor="ctr"/>
                <a:lstStyle/>
                <a:p>
                  <a:endParaRPr lang="en-GB"/>
                </a:p>
              </p:txBody>
            </p:sp>
            <p:sp>
              <p:nvSpPr>
                <p:cNvPr id="2014" name="Vrije vorm: vorm 2013">
                  <a:extLst>
                    <a:ext uri="{FF2B5EF4-FFF2-40B4-BE49-F238E27FC236}">
                      <a16:creationId xmlns:a16="http://schemas.microsoft.com/office/drawing/2014/main" id="{89B13434-4C63-44E3-95EA-F37234769BDD}"/>
                    </a:ext>
                  </a:extLst>
                </p:cNvPr>
                <p:cNvSpPr/>
                <p:nvPr/>
              </p:nvSpPr>
              <p:spPr>
                <a:xfrm>
                  <a:off x="4630038" y="4589335"/>
                  <a:ext cx="18335" cy="18444"/>
                </a:xfrm>
                <a:custGeom>
                  <a:avLst/>
                  <a:gdLst>
                    <a:gd name="connsiteX0" fmla="*/ 15029 w 18335"/>
                    <a:gd name="connsiteY0" fmla="*/ 16339 h 18444"/>
                    <a:gd name="connsiteX1" fmla="*/ 2110 w 18335"/>
                    <a:gd name="connsiteY1" fmla="*/ 15083 h 18444"/>
                    <a:gd name="connsiteX2" fmla="*/ 3307 w 18335"/>
                    <a:gd name="connsiteY2" fmla="*/ 2105 h 18444"/>
                    <a:gd name="connsiteX3" fmla="*/ 16225 w 18335"/>
                    <a:gd name="connsiteY3" fmla="*/ 3361 h 18444"/>
                    <a:gd name="connsiteX4" fmla="*/ 15029 w 18335"/>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39"/>
                      </a:moveTo>
                      <a:cubicBezTo>
                        <a:pt x="11141" y="19569"/>
                        <a:pt x="5340" y="19031"/>
                        <a:pt x="2110" y="15083"/>
                      </a:cubicBezTo>
                      <a:cubicBezTo>
                        <a:pt x="-1119" y="11136"/>
                        <a:pt x="-581" y="5335"/>
                        <a:pt x="3307" y="2105"/>
                      </a:cubicBezTo>
                      <a:cubicBezTo>
                        <a:pt x="7194" y="-1124"/>
                        <a:pt x="12995" y="-586"/>
                        <a:pt x="16225" y="3361"/>
                      </a:cubicBezTo>
                      <a:cubicBezTo>
                        <a:pt x="19455" y="7249"/>
                        <a:pt x="18916" y="13110"/>
                        <a:pt x="15029" y="16339"/>
                      </a:cubicBezTo>
                      <a:close/>
                    </a:path>
                  </a:pathLst>
                </a:custGeom>
                <a:grpFill/>
                <a:ln w="5978" cap="flat">
                  <a:noFill/>
                  <a:prstDash val="solid"/>
                  <a:miter/>
                </a:ln>
              </p:spPr>
              <p:txBody>
                <a:bodyPr rtlCol="0" anchor="ctr"/>
                <a:lstStyle/>
                <a:p>
                  <a:endParaRPr lang="en-GB"/>
                </a:p>
              </p:txBody>
            </p:sp>
            <p:sp>
              <p:nvSpPr>
                <p:cNvPr id="2015" name="Vrije vorm: vorm 2014">
                  <a:extLst>
                    <a:ext uri="{FF2B5EF4-FFF2-40B4-BE49-F238E27FC236}">
                      <a16:creationId xmlns:a16="http://schemas.microsoft.com/office/drawing/2014/main" id="{428DE328-416B-46B1-AB2C-1048FC9ADF25}"/>
                    </a:ext>
                  </a:extLst>
                </p:cNvPr>
                <p:cNvSpPr/>
                <p:nvPr/>
              </p:nvSpPr>
              <p:spPr>
                <a:xfrm>
                  <a:off x="4707249" y="4524933"/>
                  <a:ext cx="18335" cy="18439"/>
                </a:xfrm>
                <a:custGeom>
                  <a:avLst/>
                  <a:gdLst>
                    <a:gd name="connsiteX0" fmla="*/ 15029 w 18335"/>
                    <a:gd name="connsiteY0" fmla="*/ 16329 h 18439"/>
                    <a:gd name="connsiteX1" fmla="*/ 16225 w 18335"/>
                    <a:gd name="connsiteY1" fmla="*/ 3351 h 18439"/>
                    <a:gd name="connsiteX2" fmla="*/ 3306 w 18335"/>
                    <a:gd name="connsiteY2" fmla="*/ 2154 h 18439"/>
                    <a:gd name="connsiteX3" fmla="*/ 2110 w 18335"/>
                    <a:gd name="connsiteY3" fmla="*/ 15133 h 18439"/>
                    <a:gd name="connsiteX4" fmla="*/ 15029 w 18335"/>
                    <a:gd name="connsiteY4" fmla="*/ 16329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9">
                      <a:moveTo>
                        <a:pt x="15029" y="16329"/>
                      </a:moveTo>
                      <a:cubicBezTo>
                        <a:pt x="18916" y="13099"/>
                        <a:pt x="19454" y="7298"/>
                        <a:pt x="16225" y="3351"/>
                      </a:cubicBezTo>
                      <a:cubicBezTo>
                        <a:pt x="12995" y="-596"/>
                        <a:pt x="7194" y="-1135"/>
                        <a:pt x="3306" y="2154"/>
                      </a:cubicBezTo>
                      <a:cubicBezTo>
                        <a:pt x="-581" y="5384"/>
                        <a:pt x="-1119" y="11185"/>
                        <a:pt x="2110" y="15133"/>
                      </a:cubicBezTo>
                      <a:cubicBezTo>
                        <a:pt x="5340" y="19020"/>
                        <a:pt x="11141" y="19559"/>
                        <a:pt x="15029" y="16329"/>
                      </a:cubicBezTo>
                      <a:close/>
                    </a:path>
                  </a:pathLst>
                </a:custGeom>
                <a:grpFill/>
                <a:ln w="5978" cap="flat">
                  <a:noFill/>
                  <a:prstDash val="solid"/>
                  <a:miter/>
                </a:ln>
              </p:spPr>
              <p:txBody>
                <a:bodyPr rtlCol="0" anchor="ctr"/>
                <a:lstStyle/>
                <a:p>
                  <a:endParaRPr lang="en-GB"/>
                </a:p>
              </p:txBody>
            </p:sp>
          </p:grpSp>
          <p:grpSp>
            <p:nvGrpSpPr>
              <p:cNvPr id="1130" name="Graphic 3">
                <a:extLst>
                  <a:ext uri="{FF2B5EF4-FFF2-40B4-BE49-F238E27FC236}">
                    <a16:creationId xmlns:a16="http://schemas.microsoft.com/office/drawing/2014/main" id="{6F7F621F-C5B3-4F2E-AFEE-67B06C3CD95E}"/>
                  </a:ext>
                </a:extLst>
              </p:cNvPr>
              <p:cNvGrpSpPr/>
              <p:nvPr/>
            </p:nvGrpSpPr>
            <p:grpSpPr>
              <a:xfrm>
                <a:off x="4722313" y="4803920"/>
                <a:ext cx="103575" cy="114501"/>
                <a:chOff x="4722313" y="4803920"/>
                <a:chExt cx="103575" cy="114501"/>
              </a:xfrm>
              <a:grpFill/>
            </p:grpSpPr>
            <p:sp>
              <p:nvSpPr>
                <p:cNvPr id="2010" name="Vrije vorm: vorm 2009">
                  <a:extLst>
                    <a:ext uri="{FF2B5EF4-FFF2-40B4-BE49-F238E27FC236}">
                      <a16:creationId xmlns:a16="http://schemas.microsoft.com/office/drawing/2014/main" id="{1CC71A2B-D4A0-4BF9-BB32-6D227EBFA6F4}"/>
                    </a:ext>
                  </a:extLst>
                </p:cNvPr>
                <p:cNvSpPr/>
                <p:nvPr/>
              </p:nvSpPr>
              <p:spPr>
                <a:xfrm>
                  <a:off x="4730053" y="4811770"/>
                  <a:ext cx="88095" cy="98801"/>
                </a:xfrm>
                <a:custGeom>
                  <a:avLst/>
                  <a:gdLst>
                    <a:gd name="connsiteX0" fmla="*/ 88096 w 88095"/>
                    <a:gd name="connsiteY0" fmla="*/ 2033 h 98801"/>
                    <a:gd name="connsiteX1" fmla="*/ 2273 w 88095"/>
                    <a:gd name="connsiteY1" fmla="*/ 98801 h 98801"/>
                    <a:gd name="connsiteX2" fmla="*/ 0 w 88095"/>
                    <a:gd name="connsiteY2" fmla="*/ 96768 h 98801"/>
                    <a:gd name="connsiteX3" fmla="*/ 85824 w 88095"/>
                    <a:gd name="connsiteY3" fmla="*/ 0 h 98801"/>
                  </a:gdLst>
                  <a:ahLst/>
                  <a:cxnLst>
                    <a:cxn ang="0">
                      <a:pos x="connsiteX0" y="connsiteY0"/>
                    </a:cxn>
                    <a:cxn ang="0">
                      <a:pos x="connsiteX1" y="connsiteY1"/>
                    </a:cxn>
                    <a:cxn ang="0">
                      <a:pos x="connsiteX2" y="connsiteY2"/>
                    </a:cxn>
                    <a:cxn ang="0">
                      <a:pos x="connsiteX3" y="connsiteY3"/>
                    </a:cxn>
                  </a:cxnLst>
                  <a:rect l="l" t="t" r="r" b="b"/>
                  <a:pathLst>
                    <a:path w="88095" h="98801">
                      <a:moveTo>
                        <a:pt x="88096" y="2033"/>
                      </a:moveTo>
                      <a:lnTo>
                        <a:pt x="2273" y="98801"/>
                      </a:lnTo>
                      <a:lnTo>
                        <a:pt x="0" y="96768"/>
                      </a:lnTo>
                      <a:lnTo>
                        <a:pt x="85824" y="0"/>
                      </a:lnTo>
                      <a:close/>
                    </a:path>
                  </a:pathLst>
                </a:custGeom>
                <a:grpFill/>
                <a:ln w="5978" cap="flat">
                  <a:noFill/>
                  <a:prstDash val="solid"/>
                  <a:miter/>
                </a:ln>
              </p:spPr>
              <p:txBody>
                <a:bodyPr rtlCol="0" anchor="ctr"/>
                <a:lstStyle/>
                <a:p>
                  <a:endParaRPr lang="en-GB"/>
                </a:p>
              </p:txBody>
            </p:sp>
            <p:sp>
              <p:nvSpPr>
                <p:cNvPr id="2011" name="Vrije vorm: vorm 2010">
                  <a:extLst>
                    <a:ext uri="{FF2B5EF4-FFF2-40B4-BE49-F238E27FC236}">
                      <a16:creationId xmlns:a16="http://schemas.microsoft.com/office/drawing/2014/main" id="{8D2255CA-6E7C-4FB4-BB03-20FFB8B92860}"/>
                    </a:ext>
                  </a:extLst>
                </p:cNvPr>
                <p:cNvSpPr/>
                <p:nvPr/>
              </p:nvSpPr>
              <p:spPr>
                <a:xfrm>
                  <a:off x="4722313" y="4899970"/>
                  <a:ext cx="18334" cy="18450"/>
                </a:xfrm>
                <a:custGeom>
                  <a:avLst/>
                  <a:gdLst>
                    <a:gd name="connsiteX0" fmla="*/ 15993 w 18334"/>
                    <a:gd name="connsiteY0" fmla="*/ 15385 h 18450"/>
                    <a:gd name="connsiteX1" fmla="*/ 3075 w 18334"/>
                    <a:gd name="connsiteY1" fmla="*/ 16103 h 18450"/>
                    <a:gd name="connsiteX2" fmla="*/ 2297 w 18334"/>
                    <a:gd name="connsiteY2" fmla="*/ 3065 h 18450"/>
                    <a:gd name="connsiteX3" fmla="*/ 15215 w 18334"/>
                    <a:gd name="connsiteY3" fmla="*/ 2348 h 18450"/>
                    <a:gd name="connsiteX4" fmla="*/ 15993 w 18334"/>
                    <a:gd name="connsiteY4" fmla="*/ 15385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0">
                      <a:moveTo>
                        <a:pt x="15993" y="15385"/>
                      </a:moveTo>
                      <a:cubicBezTo>
                        <a:pt x="12644" y="19153"/>
                        <a:pt x="6843" y="19512"/>
                        <a:pt x="3075" y="16103"/>
                      </a:cubicBezTo>
                      <a:cubicBezTo>
                        <a:pt x="-693" y="12694"/>
                        <a:pt x="-1052" y="6893"/>
                        <a:pt x="2297" y="3065"/>
                      </a:cubicBezTo>
                      <a:cubicBezTo>
                        <a:pt x="5646" y="-702"/>
                        <a:pt x="11447" y="-1062"/>
                        <a:pt x="15215" y="2348"/>
                      </a:cubicBezTo>
                      <a:cubicBezTo>
                        <a:pt x="19043" y="5816"/>
                        <a:pt x="19402" y="11618"/>
                        <a:pt x="15993" y="15385"/>
                      </a:cubicBezTo>
                      <a:close/>
                    </a:path>
                  </a:pathLst>
                </a:custGeom>
                <a:grpFill/>
                <a:ln w="5978" cap="flat">
                  <a:noFill/>
                  <a:prstDash val="solid"/>
                  <a:miter/>
                </a:ln>
              </p:spPr>
              <p:txBody>
                <a:bodyPr rtlCol="0" anchor="ctr"/>
                <a:lstStyle/>
                <a:p>
                  <a:endParaRPr lang="en-GB"/>
                </a:p>
              </p:txBody>
            </p:sp>
            <p:sp>
              <p:nvSpPr>
                <p:cNvPr id="2012" name="Vrije vorm: vorm 2011">
                  <a:extLst>
                    <a:ext uri="{FF2B5EF4-FFF2-40B4-BE49-F238E27FC236}">
                      <a16:creationId xmlns:a16="http://schemas.microsoft.com/office/drawing/2014/main" id="{660A62AC-7E6E-40C5-926E-7E6917825657}"/>
                    </a:ext>
                  </a:extLst>
                </p:cNvPr>
                <p:cNvSpPr/>
                <p:nvPr/>
              </p:nvSpPr>
              <p:spPr>
                <a:xfrm>
                  <a:off x="4807598" y="4803920"/>
                  <a:ext cx="18290" cy="18450"/>
                </a:xfrm>
                <a:custGeom>
                  <a:avLst/>
                  <a:gdLst>
                    <a:gd name="connsiteX0" fmla="*/ 15993 w 18290"/>
                    <a:gd name="connsiteY0" fmla="*/ 15386 h 18450"/>
                    <a:gd name="connsiteX1" fmla="*/ 15216 w 18290"/>
                    <a:gd name="connsiteY1" fmla="*/ 2348 h 18450"/>
                    <a:gd name="connsiteX2" fmla="*/ 2297 w 18290"/>
                    <a:gd name="connsiteY2" fmla="*/ 3065 h 18450"/>
                    <a:gd name="connsiteX3" fmla="*/ 3074 w 18290"/>
                    <a:gd name="connsiteY3" fmla="*/ 16104 h 18450"/>
                    <a:gd name="connsiteX4" fmla="*/ 15993 w 18290"/>
                    <a:gd name="connsiteY4" fmla="*/ 1538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50">
                      <a:moveTo>
                        <a:pt x="15993" y="15386"/>
                      </a:moveTo>
                      <a:cubicBezTo>
                        <a:pt x="19342" y="11618"/>
                        <a:pt x="18983" y="5757"/>
                        <a:pt x="15216" y="2348"/>
                      </a:cubicBezTo>
                      <a:cubicBezTo>
                        <a:pt x="11448" y="-1061"/>
                        <a:pt x="5647" y="-703"/>
                        <a:pt x="2297" y="3065"/>
                      </a:cubicBezTo>
                      <a:cubicBezTo>
                        <a:pt x="-1052" y="6833"/>
                        <a:pt x="-693" y="12695"/>
                        <a:pt x="3074" y="16104"/>
                      </a:cubicBezTo>
                      <a:cubicBezTo>
                        <a:pt x="6783" y="19512"/>
                        <a:pt x="12584" y="19153"/>
                        <a:pt x="15993" y="15386"/>
                      </a:cubicBezTo>
                      <a:close/>
                    </a:path>
                  </a:pathLst>
                </a:custGeom>
                <a:grpFill/>
                <a:ln w="5978" cap="flat">
                  <a:noFill/>
                  <a:prstDash val="solid"/>
                  <a:miter/>
                </a:ln>
              </p:spPr>
              <p:txBody>
                <a:bodyPr rtlCol="0" anchor="ctr"/>
                <a:lstStyle/>
                <a:p>
                  <a:endParaRPr lang="en-GB"/>
                </a:p>
              </p:txBody>
            </p:sp>
          </p:grpSp>
          <p:grpSp>
            <p:nvGrpSpPr>
              <p:cNvPr id="1131" name="Graphic 3">
                <a:extLst>
                  <a:ext uri="{FF2B5EF4-FFF2-40B4-BE49-F238E27FC236}">
                    <a16:creationId xmlns:a16="http://schemas.microsoft.com/office/drawing/2014/main" id="{40C28B37-8D4F-4AAD-83EE-56619EC16FC5}"/>
                  </a:ext>
                </a:extLst>
              </p:cNvPr>
              <p:cNvGrpSpPr/>
              <p:nvPr/>
            </p:nvGrpSpPr>
            <p:grpSpPr>
              <a:xfrm>
                <a:off x="4584779" y="4656358"/>
                <a:ext cx="371047" cy="357196"/>
                <a:chOff x="4584779" y="4656358"/>
                <a:chExt cx="371047" cy="357196"/>
              </a:xfrm>
              <a:grpFill/>
            </p:grpSpPr>
            <p:sp>
              <p:nvSpPr>
                <p:cNvPr id="2007" name="Vrije vorm: vorm 2006">
                  <a:extLst>
                    <a:ext uri="{FF2B5EF4-FFF2-40B4-BE49-F238E27FC236}">
                      <a16:creationId xmlns:a16="http://schemas.microsoft.com/office/drawing/2014/main" id="{47ECB393-87B6-48F3-8EDC-7CA5458C71F0}"/>
                    </a:ext>
                  </a:extLst>
                </p:cNvPr>
                <p:cNvSpPr/>
                <p:nvPr/>
              </p:nvSpPr>
              <p:spPr>
                <a:xfrm>
                  <a:off x="4592556" y="4664165"/>
                  <a:ext cx="355434" cy="341559"/>
                </a:xfrm>
                <a:custGeom>
                  <a:avLst/>
                  <a:gdLst>
                    <a:gd name="connsiteX0" fmla="*/ 355434 w 355434"/>
                    <a:gd name="connsiteY0" fmla="*/ 2213 h 341559"/>
                    <a:gd name="connsiteX1" fmla="*/ 2093 w 355434"/>
                    <a:gd name="connsiteY1" fmla="*/ 341559 h 341559"/>
                    <a:gd name="connsiteX2" fmla="*/ 0 w 355434"/>
                    <a:gd name="connsiteY2" fmla="*/ 339346 h 341559"/>
                    <a:gd name="connsiteX3" fmla="*/ 353341 w 355434"/>
                    <a:gd name="connsiteY3" fmla="*/ 0 h 341559"/>
                  </a:gdLst>
                  <a:ahLst/>
                  <a:cxnLst>
                    <a:cxn ang="0">
                      <a:pos x="connsiteX0" y="connsiteY0"/>
                    </a:cxn>
                    <a:cxn ang="0">
                      <a:pos x="connsiteX1" y="connsiteY1"/>
                    </a:cxn>
                    <a:cxn ang="0">
                      <a:pos x="connsiteX2" y="connsiteY2"/>
                    </a:cxn>
                    <a:cxn ang="0">
                      <a:pos x="connsiteX3" y="connsiteY3"/>
                    </a:cxn>
                  </a:cxnLst>
                  <a:rect l="l" t="t" r="r" b="b"/>
                  <a:pathLst>
                    <a:path w="355434" h="341559">
                      <a:moveTo>
                        <a:pt x="355434" y="2213"/>
                      </a:moveTo>
                      <a:lnTo>
                        <a:pt x="2093" y="341559"/>
                      </a:lnTo>
                      <a:lnTo>
                        <a:pt x="0" y="339346"/>
                      </a:lnTo>
                      <a:lnTo>
                        <a:pt x="353341" y="0"/>
                      </a:lnTo>
                      <a:close/>
                    </a:path>
                  </a:pathLst>
                </a:custGeom>
                <a:grpFill/>
                <a:ln w="5978" cap="flat">
                  <a:noFill/>
                  <a:prstDash val="solid"/>
                  <a:miter/>
                </a:ln>
              </p:spPr>
              <p:txBody>
                <a:bodyPr rtlCol="0" anchor="ctr"/>
                <a:lstStyle/>
                <a:p>
                  <a:endParaRPr lang="en-GB"/>
                </a:p>
              </p:txBody>
            </p:sp>
            <p:sp>
              <p:nvSpPr>
                <p:cNvPr id="2008" name="Vrije vorm: vorm 2007">
                  <a:extLst>
                    <a:ext uri="{FF2B5EF4-FFF2-40B4-BE49-F238E27FC236}">
                      <a16:creationId xmlns:a16="http://schemas.microsoft.com/office/drawing/2014/main" id="{B35CF1C0-0FCB-44AF-A547-11C74568EEC0}"/>
                    </a:ext>
                  </a:extLst>
                </p:cNvPr>
                <p:cNvSpPr/>
                <p:nvPr/>
              </p:nvSpPr>
              <p:spPr>
                <a:xfrm>
                  <a:off x="4937463" y="4656358"/>
                  <a:ext cx="18364" cy="18426"/>
                </a:xfrm>
                <a:custGeom>
                  <a:avLst/>
                  <a:gdLst>
                    <a:gd name="connsiteX0" fmla="*/ 2813 w 18364"/>
                    <a:gd name="connsiteY0" fmla="*/ 2545 h 18426"/>
                    <a:gd name="connsiteX1" fmla="*/ 15791 w 18364"/>
                    <a:gd name="connsiteY1" fmla="*/ 2844 h 18426"/>
                    <a:gd name="connsiteX2" fmla="*/ 15552 w 18364"/>
                    <a:gd name="connsiteY2" fmla="*/ 15882 h 18426"/>
                    <a:gd name="connsiteX3" fmla="*/ 2573 w 18364"/>
                    <a:gd name="connsiteY3" fmla="*/ 15583 h 18426"/>
                    <a:gd name="connsiteX4" fmla="*/ 2813 w 18364"/>
                    <a:gd name="connsiteY4" fmla="*/ 254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2813" y="2545"/>
                      </a:moveTo>
                      <a:cubicBezTo>
                        <a:pt x="6461" y="-984"/>
                        <a:pt x="12262" y="-804"/>
                        <a:pt x="15791" y="2844"/>
                      </a:cubicBezTo>
                      <a:cubicBezTo>
                        <a:pt x="19320" y="6552"/>
                        <a:pt x="19200" y="12353"/>
                        <a:pt x="15552" y="15882"/>
                      </a:cubicBezTo>
                      <a:cubicBezTo>
                        <a:pt x="11903" y="19410"/>
                        <a:pt x="6102" y="19231"/>
                        <a:pt x="2573" y="15583"/>
                      </a:cubicBezTo>
                      <a:cubicBezTo>
                        <a:pt x="-955" y="11875"/>
                        <a:pt x="-836" y="6073"/>
                        <a:pt x="2813" y="2545"/>
                      </a:cubicBezTo>
                      <a:close/>
                    </a:path>
                  </a:pathLst>
                </a:custGeom>
                <a:grpFill/>
                <a:ln w="5978" cap="flat">
                  <a:noFill/>
                  <a:prstDash val="solid"/>
                  <a:miter/>
                </a:ln>
              </p:spPr>
              <p:txBody>
                <a:bodyPr rtlCol="0" anchor="ctr"/>
                <a:lstStyle/>
                <a:p>
                  <a:endParaRPr lang="en-GB"/>
                </a:p>
              </p:txBody>
            </p:sp>
            <p:sp>
              <p:nvSpPr>
                <p:cNvPr id="2009" name="Vrije vorm: vorm 2008">
                  <a:extLst>
                    <a:ext uri="{FF2B5EF4-FFF2-40B4-BE49-F238E27FC236}">
                      <a16:creationId xmlns:a16="http://schemas.microsoft.com/office/drawing/2014/main" id="{853A3146-8544-46BA-BA5C-B00DB469F999}"/>
                    </a:ext>
                  </a:extLst>
                </p:cNvPr>
                <p:cNvSpPr/>
                <p:nvPr/>
              </p:nvSpPr>
              <p:spPr>
                <a:xfrm>
                  <a:off x="4584779" y="4995084"/>
                  <a:ext cx="18364" cy="18470"/>
                </a:xfrm>
                <a:custGeom>
                  <a:avLst/>
                  <a:gdLst>
                    <a:gd name="connsiteX0" fmla="*/ 2813 w 18364"/>
                    <a:gd name="connsiteY0" fmla="*/ 2566 h 18470"/>
                    <a:gd name="connsiteX1" fmla="*/ 2573 w 18364"/>
                    <a:gd name="connsiteY1" fmla="*/ 15604 h 18470"/>
                    <a:gd name="connsiteX2" fmla="*/ 15552 w 18364"/>
                    <a:gd name="connsiteY2" fmla="*/ 15904 h 18470"/>
                    <a:gd name="connsiteX3" fmla="*/ 15791 w 18364"/>
                    <a:gd name="connsiteY3" fmla="*/ 2866 h 18470"/>
                    <a:gd name="connsiteX4" fmla="*/ 2813 w 18364"/>
                    <a:gd name="connsiteY4" fmla="*/ 256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70">
                      <a:moveTo>
                        <a:pt x="2813" y="2566"/>
                      </a:moveTo>
                      <a:cubicBezTo>
                        <a:pt x="-836" y="6095"/>
                        <a:pt x="-955" y="11896"/>
                        <a:pt x="2573" y="15604"/>
                      </a:cubicBezTo>
                      <a:cubicBezTo>
                        <a:pt x="6102" y="19313"/>
                        <a:pt x="11903" y="19432"/>
                        <a:pt x="15552" y="15904"/>
                      </a:cubicBezTo>
                      <a:cubicBezTo>
                        <a:pt x="19200" y="12375"/>
                        <a:pt x="19319" y="6574"/>
                        <a:pt x="15791" y="2866"/>
                      </a:cubicBezTo>
                      <a:cubicBezTo>
                        <a:pt x="12262" y="-843"/>
                        <a:pt x="6461" y="-962"/>
                        <a:pt x="2813" y="2566"/>
                      </a:cubicBezTo>
                      <a:close/>
                    </a:path>
                  </a:pathLst>
                </a:custGeom>
                <a:grpFill/>
                <a:ln w="5978" cap="flat">
                  <a:noFill/>
                  <a:prstDash val="solid"/>
                  <a:miter/>
                </a:ln>
              </p:spPr>
              <p:txBody>
                <a:bodyPr rtlCol="0" anchor="ctr"/>
                <a:lstStyle/>
                <a:p>
                  <a:endParaRPr lang="en-GB"/>
                </a:p>
              </p:txBody>
            </p:sp>
          </p:grpSp>
          <p:grpSp>
            <p:nvGrpSpPr>
              <p:cNvPr id="1132" name="Graphic 3">
                <a:extLst>
                  <a:ext uri="{FF2B5EF4-FFF2-40B4-BE49-F238E27FC236}">
                    <a16:creationId xmlns:a16="http://schemas.microsoft.com/office/drawing/2014/main" id="{3327DAE6-EDE1-4DF7-AFCB-3107D199CD8B}"/>
                  </a:ext>
                </a:extLst>
              </p:cNvPr>
              <p:cNvGrpSpPr/>
              <p:nvPr/>
            </p:nvGrpSpPr>
            <p:grpSpPr>
              <a:xfrm>
                <a:off x="4009168" y="3024744"/>
                <a:ext cx="324689" cy="76047"/>
                <a:chOff x="4009168" y="3024744"/>
                <a:chExt cx="324689" cy="76047"/>
              </a:xfrm>
              <a:grpFill/>
            </p:grpSpPr>
            <p:sp>
              <p:nvSpPr>
                <p:cNvPr id="2004" name="Vrije vorm: vorm 2003">
                  <a:extLst>
                    <a:ext uri="{FF2B5EF4-FFF2-40B4-BE49-F238E27FC236}">
                      <a16:creationId xmlns:a16="http://schemas.microsoft.com/office/drawing/2014/main" id="{0D5F920A-3F26-41DD-92B7-F84425946F18}"/>
                    </a:ext>
                  </a:extLst>
                </p:cNvPr>
                <p:cNvSpPr/>
                <p:nvPr/>
              </p:nvSpPr>
              <p:spPr>
                <a:xfrm>
                  <a:off x="4017569" y="3032386"/>
                  <a:ext cx="307827" cy="60823"/>
                </a:xfrm>
                <a:custGeom>
                  <a:avLst/>
                  <a:gdLst>
                    <a:gd name="connsiteX0" fmla="*/ 307828 w 307827"/>
                    <a:gd name="connsiteY0" fmla="*/ 57774 h 60823"/>
                    <a:gd name="connsiteX1" fmla="*/ 307290 w 307827"/>
                    <a:gd name="connsiteY1" fmla="*/ 60824 h 60823"/>
                    <a:gd name="connsiteX2" fmla="*/ 0 w 307827"/>
                    <a:gd name="connsiteY2" fmla="*/ 2990 h 60823"/>
                    <a:gd name="connsiteX3" fmla="*/ 538 w 307827"/>
                    <a:gd name="connsiteY3" fmla="*/ 0 h 60823"/>
                  </a:gdLst>
                  <a:ahLst/>
                  <a:cxnLst>
                    <a:cxn ang="0">
                      <a:pos x="connsiteX0" y="connsiteY0"/>
                    </a:cxn>
                    <a:cxn ang="0">
                      <a:pos x="connsiteX1" y="connsiteY1"/>
                    </a:cxn>
                    <a:cxn ang="0">
                      <a:pos x="connsiteX2" y="connsiteY2"/>
                    </a:cxn>
                    <a:cxn ang="0">
                      <a:pos x="connsiteX3" y="connsiteY3"/>
                    </a:cxn>
                  </a:cxnLst>
                  <a:rect l="l" t="t" r="r" b="b"/>
                  <a:pathLst>
                    <a:path w="307827" h="60823">
                      <a:moveTo>
                        <a:pt x="307828" y="57774"/>
                      </a:moveTo>
                      <a:lnTo>
                        <a:pt x="307290" y="60824"/>
                      </a:lnTo>
                      <a:lnTo>
                        <a:pt x="0" y="2990"/>
                      </a:lnTo>
                      <a:lnTo>
                        <a:pt x="538" y="0"/>
                      </a:lnTo>
                      <a:close/>
                    </a:path>
                  </a:pathLst>
                </a:custGeom>
                <a:grpFill/>
                <a:ln w="5978" cap="flat">
                  <a:noFill/>
                  <a:prstDash val="solid"/>
                  <a:miter/>
                </a:ln>
              </p:spPr>
              <p:txBody>
                <a:bodyPr rtlCol="0" anchor="ctr"/>
                <a:lstStyle/>
                <a:p>
                  <a:endParaRPr lang="en-GB"/>
                </a:p>
              </p:txBody>
            </p:sp>
            <p:sp>
              <p:nvSpPr>
                <p:cNvPr id="2005" name="Vrije vorm: vorm 2004">
                  <a:extLst>
                    <a:ext uri="{FF2B5EF4-FFF2-40B4-BE49-F238E27FC236}">
                      <a16:creationId xmlns:a16="http://schemas.microsoft.com/office/drawing/2014/main" id="{FEE792EB-EEAE-41E0-9E17-419672EE53BD}"/>
                    </a:ext>
                  </a:extLst>
                </p:cNvPr>
                <p:cNvSpPr/>
                <p:nvPr/>
              </p:nvSpPr>
              <p:spPr>
                <a:xfrm>
                  <a:off x="4009168" y="3024744"/>
                  <a:ext cx="18296" cy="18452"/>
                </a:xfrm>
                <a:custGeom>
                  <a:avLst/>
                  <a:gdLst>
                    <a:gd name="connsiteX0" fmla="*/ 7504 w 18296"/>
                    <a:gd name="connsiteY0" fmla="*/ 18287 h 18452"/>
                    <a:gd name="connsiteX1" fmla="*/ 147 w 18296"/>
                    <a:gd name="connsiteY1" fmla="*/ 7522 h 18452"/>
                    <a:gd name="connsiteX2" fmla="*/ 10793 w 18296"/>
                    <a:gd name="connsiteY2" fmla="*/ 166 h 18452"/>
                    <a:gd name="connsiteX3" fmla="*/ 18149 w 18296"/>
                    <a:gd name="connsiteY3" fmla="*/ 10931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2540" y="17330"/>
                        <a:pt x="-750" y="12546"/>
                        <a:pt x="147" y="7522"/>
                      </a:cubicBezTo>
                      <a:cubicBezTo>
                        <a:pt x="1045" y="2498"/>
                        <a:pt x="5829" y="-791"/>
                        <a:pt x="10793" y="166"/>
                      </a:cubicBezTo>
                      <a:cubicBezTo>
                        <a:pt x="15757" y="1122"/>
                        <a:pt x="19047" y="5907"/>
                        <a:pt x="18149" y="10931"/>
                      </a:cubicBezTo>
                      <a:cubicBezTo>
                        <a:pt x="17253" y="15955"/>
                        <a:pt x="12468" y="19244"/>
                        <a:pt x="7504" y="18287"/>
                      </a:cubicBezTo>
                      <a:close/>
                    </a:path>
                  </a:pathLst>
                </a:custGeom>
                <a:grpFill/>
                <a:ln w="5978" cap="flat">
                  <a:noFill/>
                  <a:prstDash val="solid"/>
                  <a:miter/>
                </a:ln>
              </p:spPr>
              <p:txBody>
                <a:bodyPr rtlCol="0" anchor="ctr"/>
                <a:lstStyle/>
                <a:p>
                  <a:endParaRPr lang="en-GB"/>
                </a:p>
              </p:txBody>
            </p:sp>
            <p:sp>
              <p:nvSpPr>
                <p:cNvPr id="2006" name="Vrije vorm: vorm 2005">
                  <a:extLst>
                    <a:ext uri="{FF2B5EF4-FFF2-40B4-BE49-F238E27FC236}">
                      <a16:creationId xmlns:a16="http://schemas.microsoft.com/office/drawing/2014/main" id="{B22767E3-F99D-4335-9686-8D04C8C90953}"/>
                    </a:ext>
                  </a:extLst>
                </p:cNvPr>
                <p:cNvSpPr/>
                <p:nvPr/>
              </p:nvSpPr>
              <p:spPr>
                <a:xfrm>
                  <a:off x="4315545" y="3082338"/>
                  <a:ext cx="18312" cy="18452"/>
                </a:xfrm>
                <a:custGeom>
                  <a:avLst/>
                  <a:gdLst>
                    <a:gd name="connsiteX0" fmla="*/ 7520 w 18312"/>
                    <a:gd name="connsiteY0" fmla="*/ 18287 h 18452"/>
                    <a:gd name="connsiteX1" fmla="*/ 18165 w 18312"/>
                    <a:gd name="connsiteY1" fmla="*/ 10931 h 18452"/>
                    <a:gd name="connsiteX2" fmla="*/ 10809 w 18312"/>
                    <a:gd name="connsiteY2" fmla="*/ 166 h 18452"/>
                    <a:gd name="connsiteX3" fmla="*/ 163 w 18312"/>
                    <a:gd name="connsiteY3" fmla="*/ 7522 h 18452"/>
                    <a:gd name="connsiteX4" fmla="*/ 7520 w 18312"/>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2">
                      <a:moveTo>
                        <a:pt x="7520" y="18287"/>
                      </a:moveTo>
                      <a:cubicBezTo>
                        <a:pt x="12484" y="19244"/>
                        <a:pt x="17268" y="15955"/>
                        <a:pt x="18165" y="10931"/>
                      </a:cubicBezTo>
                      <a:cubicBezTo>
                        <a:pt x="19062" y="5907"/>
                        <a:pt x="15773" y="1122"/>
                        <a:pt x="10809" y="166"/>
                      </a:cubicBezTo>
                      <a:cubicBezTo>
                        <a:pt x="5845" y="-791"/>
                        <a:pt x="1060" y="2498"/>
                        <a:pt x="163" y="7522"/>
                      </a:cubicBezTo>
                      <a:cubicBezTo>
                        <a:pt x="-794" y="12545"/>
                        <a:pt x="2556" y="17390"/>
                        <a:pt x="7520" y="18287"/>
                      </a:cubicBezTo>
                      <a:close/>
                    </a:path>
                  </a:pathLst>
                </a:custGeom>
                <a:grpFill/>
                <a:ln w="5978" cap="flat">
                  <a:noFill/>
                  <a:prstDash val="solid"/>
                  <a:miter/>
                </a:ln>
              </p:spPr>
              <p:txBody>
                <a:bodyPr rtlCol="0" anchor="ctr"/>
                <a:lstStyle/>
                <a:p>
                  <a:endParaRPr lang="en-GB"/>
                </a:p>
              </p:txBody>
            </p:sp>
          </p:grpSp>
          <p:grpSp>
            <p:nvGrpSpPr>
              <p:cNvPr id="1133" name="Graphic 3">
                <a:extLst>
                  <a:ext uri="{FF2B5EF4-FFF2-40B4-BE49-F238E27FC236}">
                    <a16:creationId xmlns:a16="http://schemas.microsoft.com/office/drawing/2014/main" id="{3A43EDCC-ACD7-49E4-8057-29CDD591B729}"/>
                  </a:ext>
                </a:extLst>
              </p:cNvPr>
              <p:cNvGrpSpPr/>
              <p:nvPr/>
            </p:nvGrpSpPr>
            <p:grpSpPr>
              <a:xfrm>
                <a:off x="4074117" y="3226175"/>
                <a:ext cx="318112" cy="75791"/>
                <a:chOff x="4074117" y="3226175"/>
                <a:chExt cx="318112" cy="75791"/>
              </a:xfrm>
              <a:grpFill/>
            </p:grpSpPr>
            <p:sp>
              <p:nvSpPr>
                <p:cNvPr id="2001" name="Vrije vorm: vorm 2000">
                  <a:extLst>
                    <a:ext uri="{FF2B5EF4-FFF2-40B4-BE49-F238E27FC236}">
                      <a16:creationId xmlns:a16="http://schemas.microsoft.com/office/drawing/2014/main" id="{CDAE313C-DE2D-4C6B-8BF7-992CD9F26670}"/>
                    </a:ext>
                  </a:extLst>
                </p:cNvPr>
                <p:cNvSpPr/>
                <p:nvPr/>
              </p:nvSpPr>
              <p:spPr>
                <a:xfrm>
                  <a:off x="4082580" y="3233816"/>
                  <a:ext cx="301189" cy="60524"/>
                </a:xfrm>
                <a:custGeom>
                  <a:avLst/>
                  <a:gdLst>
                    <a:gd name="connsiteX0" fmla="*/ 301189 w 301189"/>
                    <a:gd name="connsiteY0" fmla="*/ 57475 h 60524"/>
                    <a:gd name="connsiteX1" fmla="*/ 300651 w 301189"/>
                    <a:gd name="connsiteY1" fmla="*/ 60525 h 60524"/>
                    <a:gd name="connsiteX2" fmla="*/ 0 w 301189"/>
                    <a:gd name="connsiteY2" fmla="*/ 2990 h 60524"/>
                    <a:gd name="connsiteX3" fmla="*/ 538 w 301189"/>
                    <a:gd name="connsiteY3" fmla="*/ 0 h 60524"/>
                  </a:gdLst>
                  <a:ahLst/>
                  <a:cxnLst>
                    <a:cxn ang="0">
                      <a:pos x="connsiteX0" y="connsiteY0"/>
                    </a:cxn>
                    <a:cxn ang="0">
                      <a:pos x="connsiteX1" y="connsiteY1"/>
                    </a:cxn>
                    <a:cxn ang="0">
                      <a:pos x="connsiteX2" y="connsiteY2"/>
                    </a:cxn>
                    <a:cxn ang="0">
                      <a:pos x="connsiteX3" y="connsiteY3"/>
                    </a:cxn>
                  </a:cxnLst>
                  <a:rect l="l" t="t" r="r" b="b"/>
                  <a:pathLst>
                    <a:path w="301189" h="60524">
                      <a:moveTo>
                        <a:pt x="301189" y="57475"/>
                      </a:moveTo>
                      <a:lnTo>
                        <a:pt x="300651" y="60525"/>
                      </a:lnTo>
                      <a:lnTo>
                        <a:pt x="0" y="2990"/>
                      </a:lnTo>
                      <a:lnTo>
                        <a:pt x="538" y="0"/>
                      </a:lnTo>
                      <a:close/>
                    </a:path>
                  </a:pathLst>
                </a:custGeom>
                <a:grpFill/>
                <a:ln w="5978" cap="flat">
                  <a:noFill/>
                  <a:prstDash val="solid"/>
                  <a:miter/>
                </a:ln>
              </p:spPr>
              <p:txBody>
                <a:bodyPr rtlCol="0" anchor="ctr"/>
                <a:lstStyle/>
                <a:p>
                  <a:endParaRPr lang="en-GB"/>
                </a:p>
              </p:txBody>
            </p:sp>
            <p:sp>
              <p:nvSpPr>
                <p:cNvPr id="2002" name="Vrije vorm: vorm 2001">
                  <a:extLst>
                    <a:ext uri="{FF2B5EF4-FFF2-40B4-BE49-F238E27FC236}">
                      <a16:creationId xmlns:a16="http://schemas.microsoft.com/office/drawing/2014/main" id="{E97E2C93-4BB9-4378-A496-FEC1922FEF6B}"/>
                    </a:ext>
                  </a:extLst>
                </p:cNvPr>
                <p:cNvSpPr/>
                <p:nvPr/>
              </p:nvSpPr>
              <p:spPr>
                <a:xfrm>
                  <a:off x="4373873" y="3283530"/>
                  <a:ext cx="18356" cy="18436"/>
                </a:xfrm>
                <a:custGeom>
                  <a:avLst/>
                  <a:gdLst>
                    <a:gd name="connsiteX0" fmla="*/ 10853 w 18356"/>
                    <a:gd name="connsiteY0" fmla="*/ 166 h 18436"/>
                    <a:gd name="connsiteX1" fmla="*/ 18209 w 18356"/>
                    <a:gd name="connsiteY1" fmla="*/ 10931 h 18436"/>
                    <a:gd name="connsiteX2" fmla="*/ 7504 w 18356"/>
                    <a:gd name="connsiteY2" fmla="*/ 18287 h 18436"/>
                    <a:gd name="connsiteX3" fmla="*/ 147 w 18356"/>
                    <a:gd name="connsiteY3" fmla="*/ 7522 h 18436"/>
                    <a:gd name="connsiteX4" fmla="*/ 10853 w 18356"/>
                    <a:gd name="connsiteY4" fmla="*/ 16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6">
                      <a:moveTo>
                        <a:pt x="10853" y="166"/>
                      </a:moveTo>
                      <a:cubicBezTo>
                        <a:pt x="15817" y="1122"/>
                        <a:pt x="19106" y="5967"/>
                        <a:pt x="18209" y="10931"/>
                      </a:cubicBezTo>
                      <a:cubicBezTo>
                        <a:pt x="17312" y="15955"/>
                        <a:pt x="12468" y="19184"/>
                        <a:pt x="7504" y="18287"/>
                      </a:cubicBezTo>
                      <a:cubicBezTo>
                        <a:pt x="2540" y="17330"/>
                        <a:pt x="-750" y="12486"/>
                        <a:pt x="147" y="7522"/>
                      </a:cubicBezTo>
                      <a:cubicBezTo>
                        <a:pt x="1104" y="2498"/>
                        <a:pt x="5889" y="-791"/>
                        <a:pt x="10853" y="166"/>
                      </a:cubicBezTo>
                      <a:close/>
                    </a:path>
                  </a:pathLst>
                </a:custGeom>
                <a:grpFill/>
                <a:ln w="5978" cap="flat">
                  <a:noFill/>
                  <a:prstDash val="solid"/>
                  <a:miter/>
                </a:ln>
              </p:spPr>
              <p:txBody>
                <a:bodyPr rtlCol="0" anchor="ctr"/>
                <a:lstStyle/>
                <a:p>
                  <a:endParaRPr lang="en-GB"/>
                </a:p>
              </p:txBody>
            </p:sp>
            <p:sp>
              <p:nvSpPr>
                <p:cNvPr id="2003" name="Vrije vorm: vorm 2002">
                  <a:extLst>
                    <a:ext uri="{FF2B5EF4-FFF2-40B4-BE49-F238E27FC236}">
                      <a16:creationId xmlns:a16="http://schemas.microsoft.com/office/drawing/2014/main" id="{213478F0-6FF8-45DA-9BE5-BFC7335EF3F9}"/>
                    </a:ext>
                  </a:extLst>
                </p:cNvPr>
                <p:cNvSpPr/>
                <p:nvPr/>
              </p:nvSpPr>
              <p:spPr>
                <a:xfrm>
                  <a:off x="4074117" y="3226175"/>
                  <a:ext cx="18358" cy="18452"/>
                </a:xfrm>
                <a:custGeom>
                  <a:avLst/>
                  <a:gdLst>
                    <a:gd name="connsiteX0" fmla="*/ 10855 w 18358"/>
                    <a:gd name="connsiteY0" fmla="*/ 166 h 18452"/>
                    <a:gd name="connsiteX1" fmla="*/ 149 w 18358"/>
                    <a:gd name="connsiteY1" fmla="*/ 7522 h 18452"/>
                    <a:gd name="connsiteX2" fmla="*/ 7506 w 18358"/>
                    <a:gd name="connsiteY2" fmla="*/ 18287 h 18452"/>
                    <a:gd name="connsiteX3" fmla="*/ 18211 w 18358"/>
                    <a:gd name="connsiteY3" fmla="*/ 10931 h 18452"/>
                    <a:gd name="connsiteX4" fmla="*/ 10855 w 18358"/>
                    <a:gd name="connsiteY4" fmla="*/ 166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52">
                      <a:moveTo>
                        <a:pt x="10855" y="166"/>
                      </a:moveTo>
                      <a:cubicBezTo>
                        <a:pt x="5891" y="-791"/>
                        <a:pt x="1106" y="2498"/>
                        <a:pt x="149" y="7522"/>
                      </a:cubicBezTo>
                      <a:cubicBezTo>
                        <a:pt x="-748" y="12546"/>
                        <a:pt x="2482" y="17330"/>
                        <a:pt x="7506" y="18287"/>
                      </a:cubicBezTo>
                      <a:cubicBezTo>
                        <a:pt x="12470" y="19244"/>
                        <a:pt x="17254" y="15955"/>
                        <a:pt x="18211" y="10931"/>
                      </a:cubicBezTo>
                      <a:cubicBezTo>
                        <a:pt x="19108" y="5967"/>
                        <a:pt x="15819" y="1122"/>
                        <a:pt x="10855" y="166"/>
                      </a:cubicBezTo>
                      <a:close/>
                    </a:path>
                  </a:pathLst>
                </a:custGeom>
                <a:grpFill/>
                <a:ln w="5978" cap="flat">
                  <a:noFill/>
                  <a:prstDash val="solid"/>
                  <a:miter/>
                </a:ln>
              </p:spPr>
              <p:txBody>
                <a:bodyPr rtlCol="0" anchor="ctr"/>
                <a:lstStyle/>
                <a:p>
                  <a:endParaRPr lang="en-GB"/>
                </a:p>
              </p:txBody>
            </p:sp>
          </p:grpSp>
          <p:grpSp>
            <p:nvGrpSpPr>
              <p:cNvPr id="1134" name="Graphic 3">
                <a:extLst>
                  <a:ext uri="{FF2B5EF4-FFF2-40B4-BE49-F238E27FC236}">
                    <a16:creationId xmlns:a16="http://schemas.microsoft.com/office/drawing/2014/main" id="{1EB0A744-89A2-413F-AA56-8C961183DA78}"/>
                  </a:ext>
                </a:extLst>
              </p:cNvPr>
              <p:cNvGrpSpPr/>
              <p:nvPr/>
            </p:nvGrpSpPr>
            <p:grpSpPr>
              <a:xfrm>
                <a:off x="4594400" y="4712189"/>
                <a:ext cx="396421" cy="414287"/>
                <a:chOff x="4594400" y="4712189"/>
                <a:chExt cx="396421" cy="414287"/>
              </a:xfrm>
              <a:grpFill/>
            </p:grpSpPr>
            <p:sp>
              <p:nvSpPr>
                <p:cNvPr id="1998" name="Vrije vorm: vorm 1997">
                  <a:extLst>
                    <a:ext uri="{FF2B5EF4-FFF2-40B4-BE49-F238E27FC236}">
                      <a16:creationId xmlns:a16="http://schemas.microsoft.com/office/drawing/2014/main" id="{16AD9612-E43C-4B32-9E4A-2B90DECD5624}"/>
                    </a:ext>
                  </a:extLst>
                </p:cNvPr>
                <p:cNvSpPr/>
                <p:nvPr/>
              </p:nvSpPr>
              <p:spPr>
                <a:xfrm>
                  <a:off x="4602125" y="4719966"/>
                  <a:ext cx="380972" cy="398675"/>
                </a:xfrm>
                <a:custGeom>
                  <a:avLst/>
                  <a:gdLst>
                    <a:gd name="connsiteX0" fmla="*/ 380972 w 380972"/>
                    <a:gd name="connsiteY0" fmla="*/ 2153 h 398675"/>
                    <a:gd name="connsiteX1" fmla="*/ 2213 w 380972"/>
                    <a:gd name="connsiteY1" fmla="*/ 398675 h 398675"/>
                    <a:gd name="connsiteX2" fmla="*/ 0 w 380972"/>
                    <a:gd name="connsiteY2" fmla="*/ 396582 h 398675"/>
                    <a:gd name="connsiteX3" fmla="*/ 378759 w 380972"/>
                    <a:gd name="connsiteY3" fmla="*/ 0 h 398675"/>
                  </a:gdLst>
                  <a:ahLst/>
                  <a:cxnLst>
                    <a:cxn ang="0">
                      <a:pos x="connsiteX0" y="connsiteY0"/>
                    </a:cxn>
                    <a:cxn ang="0">
                      <a:pos x="connsiteX1" y="connsiteY1"/>
                    </a:cxn>
                    <a:cxn ang="0">
                      <a:pos x="connsiteX2" y="connsiteY2"/>
                    </a:cxn>
                    <a:cxn ang="0">
                      <a:pos x="connsiteX3" y="connsiteY3"/>
                    </a:cxn>
                  </a:cxnLst>
                  <a:rect l="l" t="t" r="r" b="b"/>
                  <a:pathLst>
                    <a:path w="380972" h="398675">
                      <a:moveTo>
                        <a:pt x="380972" y="2153"/>
                      </a:moveTo>
                      <a:lnTo>
                        <a:pt x="2213" y="398675"/>
                      </a:lnTo>
                      <a:lnTo>
                        <a:pt x="0" y="396582"/>
                      </a:lnTo>
                      <a:lnTo>
                        <a:pt x="378759" y="0"/>
                      </a:lnTo>
                      <a:close/>
                    </a:path>
                  </a:pathLst>
                </a:custGeom>
                <a:grpFill/>
                <a:ln w="5978" cap="flat">
                  <a:noFill/>
                  <a:prstDash val="solid"/>
                  <a:miter/>
                </a:ln>
              </p:spPr>
              <p:txBody>
                <a:bodyPr rtlCol="0" anchor="ctr"/>
                <a:lstStyle/>
                <a:p>
                  <a:endParaRPr lang="en-GB"/>
                </a:p>
              </p:txBody>
            </p:sp>
            <p:sp>
              <p:nvSpPr>
                <p:cNvPr id="1999" name="Vrije vorm: vorm 1998">
                  <a:extLst>
                    <a:ext uri="{FF2B5EF4-FFF2-40B4-BE49-F238E27FC236}">
                      <a16:creationId xmlns:a16="http://schemas.microsoft.com/office/drawing/2014/main" id="{A77C62BA-1502-40F8-953A-327C5A502427}"/>
                    </a:ext>
                  </a:extLst>
                </p:cNvPr>
                <p:cNvSpPr/>
                <p:nvPr/>
              </p:nvSpPr>
              <p:spPr>
                <a:xfrm>
                  <a:off x="4972502" y="4712189"/>
                  <a:ext cx="18320" cy="18423"/>
                </a:xfrm>
                <a:custGeom>
                  <a:avLst/>
                  <a:gdLst>
                    <a:gd name="connsiteX0" fmla="*/ 2522 w 18320"/>
                    <a:gd name="connsiteY0" fmla="*/ 2812 h 18423"/>
                    <a:gd name="connsiteX1" fmla="*/ 15500 w 18320"/>
                    <a:gd name="connsiteY1" fmla="*/ 2573 h 18423"/>
                    <a:gd name="connsiteX2" fmla="*/ 15799 w 18320"/>
                    <a:gd name="connsiteY2" fmla="*/ 15611 h 18423"/>
                    <a:gd name="connsiteX3" fmla="*/ 2821 w 18320"/>
                    <a:gd name="connsiteY3" fmla="*/ 15851 h 18423"/>
                    <a:gd name="connsiteX4" fmla="*/ 2522 w 18320"/>
                    <a:gd name="connsiteY4" fmla="*/ 281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2522" y="2812"/>
                      </a:moveTo>
                      <a:cubicBezTo>
                        <a:pt x="5990" y="-836"/>
                        <a:pt x="11852" y="-955"/>
                        <a:pt x="15500" y="2573"/>
                      </a:cubicBezTo>
                      <a:cubicBezTo>
                        <a:pt x="19148" y="6102"/>
                        <a:pt x="19268" y="11963"/>
                        <a:pt x="15799" y="15611"/>
                      </a:cubicBezTo>
                      <a:cubicBezTo>
                        <a:pt x="12330" y="19259"/>
                        <a:pt x="6469" y="19379"/>
                        <a:pt x="2821" y="15851"/>
                      </a:cubicBezTo>
                      <a:cubicBezTo>
                        <a:pt x="-827" y="12322"/>
                        <a:pt x="-947" y="6461"/>
                        <a:pt x="2522" y="2812"/>
                      </a:cubicBezTo>
                      <a:close/>
                    </a:path>
                  </a:pathLst>
                </a:custGeom>
                <a:grpFill/>
                <a:ln w="5978" cap="flat">
                  <a:noFill/>
                  <a:prstDash val="solid"/>
                  <a:miter/>
                </a:ln>
              </p:spPr>
              <p:txBody>
                <a:bodyPr rtlCol="0" anchor="ctr"/>
                <a:lstStyle/>
                <a:p>
                  <a:endParaRPr lang="en-GB"/>
                </a:p>
              </p:txBody>
            </p:sp>
            <p:sp>
              <p:nvSpPr>
                <p:cNvPr id="2000" name="Vrije vorm: vorm 1999">
                  <a:extLst>
                    <a:ext uri="{FF2B5EF4-FFF2-40B4-BE49-F238E27FC236}">
                      <a16:creationId xmlns:a16="http://schemas.microsoft.com/office/drawing/2014/main" id="{9B264D61-1752-4755-AE39-4EE93EE0BB68}"/>
                    </a:ext>
                  </a:extLst>
                </p:cNvPr>
                <p:cNvSpPr/>
                <p:nvPr/>
              </p:nvSpPr>
              <p:spPr>
                <a:xfrm>
                  <a:off x="4594400" y="5108053"/>
                  <a:ext cx="18320" cy="18423"/>
                </a:xfrm>
                <a:custGeom>
                  <a:avLst/>
                  <a:gdLst>
                    <a:gd name="connsiteX0" fmla="*/ 2522 w 18320"/>
                    <a:gd name="connsiteY0" fmla="*/ 2812 h 18423"/>
                    <a:gd name="connsiteX1" fmla="*/ 2821 w 18320"/>
                    <a:gd name="connsiteY1" fmla="*/ 15851 h 18423"/>
                    <a:gd name="connsiteX2" fmla="*/ 15799 w 18320"/>
                    <a:gd name="connsiteY2" fmla="*/ 15611 h 18423"/>
                    <a:gd name="connsiteX3" fmla="*/ 15500 w 18320"/>
                    <a:gd name="connsiteY3" fmla="*/ 2573 h 18423"/>
                    <a:gd name="connsiteX4" fmla="*/ 2522 w 18320"/>
                    <a:gd name="connsiteY4" fmla="*/ 281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2522" y="2812"/>
                      </a:moveTo>
                      <a:cubicBezTo>
                        <a:pt x="-947" y="6461"/>
                        <a:pt x="-828" y="12322"/>
                        <a:pt x="2821" y="15851"/>
                      </a:cubicBezTo>
                      <a:cubicBezTo>
                        <a:pt x="6469" y="19379"/>
                        <a:pt x="12270" y="19259"/>
                        <a:pt x="15799" y="15611"/>
                      </a:cubicBezTo>
                      <a:cubicBezTo>
                        <a:pt x="19268" y="11963"/>
                        <a:pt x="19148" y="6102"/>
                        <a:pt x="15500" y="2573"/>
                      </a:cubicBezTo>
                      <a:cubicBezTo>
                        <a:pt x="11792" y="-955"/>
                        <a:pt x="5991" y="-836"/>
                        <a:pt x="2522" y="2812"/>
                      </a:cubicBezTo>
                      <a:close/>
                    </a:path>
                  </a:pathLst>
                </a:custGeom>
                <a:grpFill/>
                <a:ln w="5978" cap="flat">
                  <a:noFill/>
                  <a:prstDash val="solid"/>
                  <a:miter/>
                </a:ln>
              </p:spPr>
              <p:txBody>
                <a:bodyPr rtlCol="0" anchor="ctr"/>
                <a:lstStyle/>
                <a:p>
                  <a:endParaRPr lang="en-GB"/>
                </a:p>
              </p:txBody>
            </p:sp>
          </p:grpSp>
          <p:grpSp>
            <p:nvGrpSpPr>
              <p:cNvPr id="1135" name="Graphic 3">
                <a:extLst>
                  <a:ext uri="{FF2B5EF4-FFF2-40B4-BE49-F238E27FC236}">
                    <a16:creationId xmlns:a16="http://schemas.microsoft.com/office/drawing/2014/main" id="{A713B444-4B98-496D-A97E-4131266E63B6}"/>
                  </a:ext>
                </a:extLst>
              </p:cNvPr>
              <p:cNvGrpSpPr/>
              <p:nvPr/>
            </p:nvGrpSpPr>
            <p:grpSpPr>
              <a:xfrm>
                <a:off x="4557343" y="4503495"/>
                <a:ext cx="240995" cy="166259"/>
                <a:chOff x="4557343" y="4503495"/>
                <a:chExt cx="240995" cy="166259"/>
              </a:xfrm>
              <a:grpFill/>
            </p:grpSpPr>
            <p:sp>
              <p:nvSpPr>
                <p:cNvPr id="1995" name="Vrije vorm: vorm 1994">
                  <a:extLst>
                    <a:ext uri="{FF2B5EF4-FFF2-40B4-BE49-F238E27FC236}">
                      <a16:creationId xmlns:a16="http://schemas.microsoft.com/office/drawing/2014/main" id="{51D38F09-99D5-4823-9E25-7AECE8585315}"/>
                    </a:ext>
                  </a:extLst>
                </p:cNvPr>
                <p:cNvSpPr/>
                <p:nvPr/>
              </p:nvSpPr>
              <p:spPr>
                <a:xfrm>
                  <a:off x="4565344" y="4511179"/>
                  <a:ext cx="225114" cy="150893"/>
                </a:xfrm>
                <a:custGeom>
                  <a:avLst/>
                  <a:gdLst>
                    <a:gd name="connsiteX0" fmla="*/ 225114 w 225114"/>
                    <a:gd name="connsiteY0" fmla="*/ 2572 h 150893"/>
                    <a:gd name="connsiteX1" fmla="*/ 1674 w 225114"/>
                    <a:gd name="connsiteY1" fmla="*/ 150893 h 150893"/>
                    <a:gd name="connsiteX2" fmla="*/ 0 w 225114"/>
                    <a:gd name="connsiteY2" fmla="*/ 148322 h 150893"/>
                    <a:gd name="connsiteX3" fmla="*/ 223440 w 225114"/>
                    <a:gd name="connsiteY3" fmla="*/ 0 h 150893"/>
                  </a:gdLst>
                  <a:ahLst/>
                  <a:cxnLst>
                    <a:cxn ang="0">
                      <a:pos x="connsiteX0" y="connsiteY0"/>
                    </a:cxn>
                    <a:cxn ang="0">
                      <a:pos x="connsiteX1" y="connsiteY1"/>
                    </a:cxn>
                    <a:cxn ang="0">
                      <a:pos x="connsiteX2" y="connsiteY2"/>
                    </a:cxn>
                    <a:cxn ang="0">
                      <a:pos x="connsiteX3" y="connsiteY3"/>
                    </a:cxn>
                  </a:cxnLst>
                  <a:rect l="l" t="t" r="r" b="b"/>
                  <a:pathLst>
                    <a:path w="225114" h="150893">
                      <a:moveTo>
                        <a:pt x="225114" y="2572"/>
                      </a:moveTo>
                      <a:lnTo>
                        <a:pt x="1674" y="150893"/>
                      </a:lnTo>
                      <a:lnTo>
                        <a:pt x="0" y="148322"/>
                      </a:lnTo>
                      <a:lnTo>
                        <a:pt x="223440" y="0"/>
                      </a:lnTo>
                      <a:close/>
                    </a:path>
                  </a:pathLst>
                </a:custGeom>
                <a:grpFill/>
                <a:ln w="5978" cap="flat">
                  <a:noFill/>
                  <a:prstDash val="solid"/>
                  <a:miter/>
                </a:ln>
              </p:spPr>
              <p:txBody>
                <a:bodyPr rtlCol="0" anchor="ctr"/>
                <a:lstStyle/>
                <a:p>
                  <a:endParaRPr lang="en-GB"/>
                </a:p>
              </p:txBody>
            </p:sp>
            <p:sp>
              <p:nvSpPr>
                <p:cNvPr id="1996" name="Vrije vorm: vorm 1995">
                  <a:extLst>
                    <a:ext uri="{FF2B5EF4-FFF2-40B4-BE49-F238E27FC236}">
                      <a16:creationId xmlns:a16="http://schemas.microsoft.com/office/drawing/2014/main" id="{A13263DC-BDB2-4B40-B960-9A5F41C2F676}"/>
                    </a:ext>
                  </a:extLst>
                </p:cNvPr>
                <p:cNvSpPr/>
                <p:nvPr/>
              </p:nvSpPr>
              <p:spPr>
                <a:xfrm>
                  <a:off x="4780047" y="4503495"/>
                  <a:ext cx="18291" cy="18416"/>
                </a:xfrm>
                <a:custGeom>
                  <a:avLst/>
                  <a:gdLst>
                    <a:gd name="connsiteX0" fmla="*/ 4071 w 18291"/>
                    <a:gd name="connsiteY0" fmla="*/ 1523 h 18416"/>
                    <a:gd name="connsiteX1" fmla="*/ 16751 w 18291"/>
                    <a:gd name="connsiteY1" fmla="*/ 4154 h 18416"/>
                    <a:gd name="connsiteX2" fmla="*/ 14179 w 18291"/>
                    <a:gd name="connsiteY2" fmla="*/ 16893 h 18416"/>
                    <a:gd name="connsiteX3" fmla="*/ 1499 w 18291"/>
                    <a:gd name="connsiteY3" fmla="*/ 14262 h 18416"/>
                    <a:gd name="connsiteX4" fmla="*/ 4071 w 18291"/>
                    <a:gd name="connsiteY4" fmla="*/ 152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16">
                      <a:moveTo>
                        <a:pt x="4071" y="1523"/>
                      </a:moveTo>
                      <a:cubicBezTo>
                        <a:pt x="8258" y="-1288"/>
                        <a:pt x="13999" y="-92"/>
                        <a:pt x="16751" y="4154"/>
                      </a:cubicBezTo>
                      <a:cubicBezTo>
                        <a:pt x="19561" y="8401"/>
                        <a:pt x="18425" y="14142"/>
                        <a:pt x="14179" y="16893"/>
                      </a:cubicBezTo>
                      <a:cubicBezTo>
                        <a:pt x="9932" y="19705"/>
                        <a:pt x="4251" y="18508"/>
                        <a:pt x="1499" y="14262"/>
                      </a:cubicBezTo>
                      <a:cubicBezTo>
                        <a:pt x="-1251" y="10075"/>
                        <a:pt x="-115" y="4334"/>
                        <a:pt x="4071" y="1523"/>
                      </a:cubicBezTo>
                      <a:close/>
                    </a:path>
                  </a:pathLst>
                </a:custGeom>
                <a:grpFill/>
                <a:ln w="5978" cap="flat">
                  <a:noFill/>
                  <a:prstDash val="solid"/>
                  <a:miter/>
                </a:ln>
              </p:spPr>
              <p:txBody>
                <a:bodyPr rtlCol="0" anchor="ctr"/>
                <a:lstStyle/>
                <a:p>
                  <a:endParaRPr lang="en-GB"/>
                </a:p>
              </p:txBody>
            </p:sp>
            <p:sp>
              <p:nvSpPr>
                <p:cNvPr id="1997" name="Vrije vorm: vorm 1996">
                  <a:extLst>
                    <a:ext uri="{FF2B5EF4-FFF2-40B4-BE49-F238E27FC236}">
                      <a16:creationId xmlns:a16="http://schemas.microsoft.com/office/drawing/2014/main" id="{121DDB20-41FA-40A8-9D1D-01837F124026}"/>
                    </a:ext>
                  </a:extLst>
                </p:cNvPr>
                <p:cNvSpPr/>
                <p:nvPr/>
              </p:nvSpPr>
              <p:spPr>
                <a:xfrm>
                  <a:off x="4557343" y="4651323"/>
                  <a:ext cx="18318" cy="18431"/>
                </a:xfrm>
                <a:custGeom>
                  <a:avLst/>
                  <a:gdLst>
                    <a:gd name="connsiteX0" fmla="*/ 4113 w 18318"/>
                    <a:gd name="connsiteY0" fmla="*/ 1539 h 18431"/>
                    <a:gd name="connsiteX1" fmla="*/ 1541 w 18318"/>
                    <a:gd name="connsiteY1" fmla="*/ 14277 h 18431"/>
                    <a:gd name="connsiteX2" fmla="*/ 14220 w 18318"/>
                    <a:gd name="connsiteY2" fmla="*/ 16909 h 18431"/>
                    <a:gd name="connsiteX3" fmla="*/ 16792 w 18318"/>
                    <a:gd name="connsiteY3" fmla="*/ 4170 h 18431"/>
                    <a:gd name="connsiteX4" fmla="*/ 4113 w 18318"/>
                    <a:gd name="connsiteY4" fmla="*/ 153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1">
                      <a:moveTo>
                        <a:pt x="4113" y="1539"/>
                      </a:moveTo>
                      <a:cubicBezTo>
                        <a:pt x="-133" y="4349"/>
                        <a:pt x="-1269" y="10031"/>
                        <a:pt x="1541" y="14277"/>
                      </a:cubicBezTo>
                      <a:cubicBezTo>
                        <a:pt x="4352" y="18524"/>
                        <a:pt x="10034" y="19720"/>
                        <a:pt x="14220" y="16909"/>
                      </a:cubicBezTo>
                      <a:cubicBezTo>
                        <a:pt x="18407" y="14098"/>
                        <a:pt x="19603" y="8416"/>
                        <a:pt x="16792" y="4170"/>
                      </a:cubicBezTo>
                      <a:cubicBezTo>
                        <a:pt x="14041" y="-136"/>
                        <a:pt x="8359" y="-1273"/>
                        <a:pt x="4113" y="1539"/>
                      </a:cubicBezTo>
                      <a:close/>
                    </a:path>
                  </a:pathLst>
                </a:custGeom>
                <a:grpFill/>
                <a:ln w="5978" cap="flat">
                  <a:noFill/>
                  <a:prstDash val="solid"/>
                  <a:miter/>
                </a:ln>
              </p:spPr>
              <p:txBody>
                <a:bodyPr rtlCol="0" anchor="ctr"/>
                <a:lstStyle/>
                <a:p>
                  <a:endParaRPr lang="en-GB"/>
                </a:p>
              </p:txBody>
            </p:sp>
          </p:grpSp>
          <p:grpSp>
            <p:nvGrpSpPr>
              <p:cNvPr id="1136" name="Graphic 3">
                <a:extLst>
                  <a:ext uri="{FF2B5EF4-FFF2-40B4-BE49-F238E27FC236}">
                    <a16:creationId xmlns:a16="http://schemas.microsoft.com/office/drawing/2014/main" id="{6FF96169-0424-4062-AACB-B586C7FAA246}"/>
                  </a:ext>
                </a:extLst>
              </p:cNvPr>
              <p:cNvGrpSpPr/>
              <p:nvPr/>
            </p:nvGrpSpPr>
            <p:grpSpPr>
              <a:xfrm>
                <a:off x="4592377" y="4697328"/>
                <a:ext cx="369526" cy="368495"/>
                <a:chOff x="4592377" y="4697328"/>
                <a:chExt cx="369526" cy="368495"/>
              </a:xfrm>
              <a:grpFill/>
            </p:grpSpPr>
            <p:sp>
              <p:nvSpPr>
                <p:cNvPr id="1992" name="Vrije vorm: vorm 1991">
                  <a:extLst>
                    <a:ext uri="{FF2B5EF4-FFF2-40B4-BE49-F238E27FC236}">
                      <a16:creationId xmlns:a16="http://schemas.microsoft.com/office/drawing/2014/main" id="{4B89BF6F-E5EB-405F-91BF-251421F59233}"/>
                    </a:ext>
                  </a:extLst>
                </p:cNvPr>
                <p:cNvSpPr/>
                <p:nvPr/>
              </p:nvSpPr>
              <p:spPr>
                <a:xfrm>
                  <a:off x="4600152" y="4705133"/>
                  <a:ext cx="353998" cy="352862"/>
                </a:xfrm>
                <a:custGeom>
                  <a:avLst/>
                  <a:gdLst>
                    <a:gd name="connsiteX0" fmla="*/ 353999 w 353998"/>
                    <a:gd name="connsiteY0" fmla="*/ 2153 h 352862"/>
                    <a:gd name="connsiteX1" fmla="*/ 2153 w 353998"/>
                    <a:gd name="connsiteY1" fmla="*/ 352863 h 352862"/>
                    <a:gd name="connsiteX2" fmla="*/ 0 w 353998"/>
                    <a:gd name="connsiteY2" fmla="*/ 350650 h 352862"/>
                    <a:gd name="connsiteX3" fmla="*/ 351846 w 353998"/>
                    <a:gd name="connsiteY3" fmla="*/ 0 h 352862"/>
                  </a:gdLst>
                  <a:ahLst/>
                  <a:cxnLst>
                    <a:cxn ang="0">
                      <a:pos x="connsiteX0" y="connsiteY0"/>
                    </a:cxn>
                    <a:cxn ang="0">
                      <a:pos x="connsiteX1" y="connsiteY1"/>
                    </a:cxn>
                    <a:cxn ang="0">
                      <a:pos x="connsiteX2" y="connsiteY2"/>
                    </a:cxn>
                    <a:cxn ang="0">
                      <a:pos x="connsiteX3" y="connsiteY3"/>
                    </a:cxn>
                  </a:cxnLst>
                  <a:rect l="l" t="t" r="r" b="b"/>
                  <a:pathLst>
                    <a:path w="353998" h="352862">
                      <a:moveTo>
                        <a:pt x="353999" y="2153"/>
                      </a:moveTo>
                      <a:lnTo>
                        <a:pt x="2153" y="352863"/>
                      </a:lnTo>
                      <a:lnTo>
                        <a:pt x="0" y="350650"/>
                      </a:lnTo>
                      <a:lnTo>
                        <a:pt x="351846" y="0"/>
                      </a:lnTo>
                      <a:close/>
                    </a:path>
                  </a:pathLst>
                </a:custGeom>
                <a:grpFill/>
                <a:ln w="5978" cap="flat">
                  <a:noFill/>
                  <a:prstDash val="solid"/>
                  <a:miter/>
                </a:ln>
              </p:spPr>
              <p:txBody>
                <a:bodyPr rtlCol="0" anchor="ctr"/>
                <a:lstStyle/>
                <a:p>
                  <a:endParaRPr lang="en-GB"/>
                </a:p>
              </p:txBody>
            </p:sp>
            <p:sp>
              <p:nvSpPr>
                <p:cNvPr id="1993" name="Vrije vorm: vorm 1992">
                  <a:extLst>
                    <a:ext uri="{FF2B5EF4-FFF2-40B4-BE49-F238E27FC236}">
                      <a16:creationId xmlns:a16="http://schemas.microsoft.com/office/drawing/2014/main" id="{4DB3B249-1406-40AD-BCA8-58D07DEBFAA4}"/>
                    </a:ext>
                  </a:extLst>
                </p:cNvPr>
                <p:cNvSpPr/>
                <p:nvPr/>
              </p:nvSpPr>
              <p:spPr>
                <a:xfrm>
                  <a:off x="4943565" y="4697328"/>
                  <a:ext cx="18338" cy="18421"/>
                </a:xfrm>
                <a:custGeom>
                  <a:avLst/>
                  <a:gdLst>
                    <a:gd name="connsiteX0" fmla="*/ 2691 w 18338"/>
                    <a:gd name="connsiteY0" fmla="*/ 2662 h 18421"/>
                    <a:gd name="connsiteX1" fmla="*/ 15670 w 18338"/>
                    <a:gd name="connsiteY1" fmla="*/ 2721 h 18421"/>
                    <a:gd name="connsiteX2" fmla="*/ 15670 w 18338"/>
                    <a:gd name="connsiteY2" fmla="*/ 15760 h 18421"/>
                    <a:gd name="connsiteX3" fmla="*/ 2691 w 18338"/>
                    <a:gd name="connsiteY3" fmla="*/ 15700 h 18421"/>
                    <a:gd name="connsiteX4" fmla="*/ 2691 w 18338"/>
                    <a:gd name="connsiteY4" fmla="*/ 266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1">
                      <a:moveTo>
                        <a:pt x="2691" y="2662"/>
                      </a:moveTo>
                      <a:cubicBezTo>
                        <a:pt x="6280" y="-927"/>
                        <a:pt x="12081" y="-867"/>
                        <a:pt x="15670" y="2721"/>
                      </a:cubicBezTo>
                      <a:cubicBezTo>
                        <a:pt x="19258" y="6370"/>
                        <a:pt x="19198" y="12171"/>
                        <a:pt x="15670" y="15760"/>
                      </a:cubicBezTo>
                      <a:cubicBezTo>
                        <a:pt x="12081" y="19348"/>
                        <a:pt x="6280" y="19288"/>
                        <a:pt x="2691" y="15700"/>
                      </a:cubicBezTo>
                      <a:cubicBezTo>
                        <a:pt x="-897" y="12052"/>
                        <a:pt x="-897" y="6190"/>
                        <a:pt x="2691" y="2662"/>
                      </a:cubicBezTo>
                      <a:close/>
                    </a:path>
                  </a:pathLst>
                </a:custGeom>
                <a:grpFill/>
                <a:ln w="5978" cap="flat">
                  <a:noFill/>
                  <a:prstDash val="solid"/>
                  <a:miter/>
                </a:ln>
              </p:spPr>
              <p:txBody>
                <a:bodyPr rtlCol="0" anchor="ctr"/>
                <a:lstStyle/>
                <a:p>
                  <a:endParaRPr lang="en-GB"/>
                </a:p>
              </p:txBody>
            </p:sp>
            <p:sp>
              <p:nvSpPr>
                <p:cNvPr id="1994" name="Vrije vorm: vorm 1993">
                  <a:extLst>
                    <a:ext uri="{FF2B5EF4-FFF2-40B4-BE49-F238E27FC236}">
                      <a16:creationId xmlns:a16="http://schemas.microsoft.com/office/drawing/2014/main" id="{BF7B573A-729C-48D8-A32D-62B67771BA73}"/>
                    </a:ext>
                  </a:extLst>
                </p:cNvPr>
                <p:cNvSpPr/>
                <p:nvPr/>
              </p:nvSpPr>
              <p:spPr>
                <a:xfrm>
                  <a:off x="4592377" y="5047358"/>
                  <a:ext cx="18360" cy="18465"/>
                </a:xfrm>
                <a:custGeom>
                  <a:avLst/>
                  <a:gdLst>
                    <a:gd name="connsiteX0" fmla="*/ 2691 w 18360"/>
                    <a:gd name="connsiteY0" fmla="*/ 2684 h 18465"/>
                    <a:gd name="connsiteX1" fmla="*/ 2691 w 18360"/>
                    <a:gd name="connsiteY1" fmla="*/ 15722 h 18465"/>
                    <a:gd name="connsiteX2" fmla="*/ 15670 w 18360"/>
                    <a:gd name="connsiteY2" fmla="*/ 15782 h 18465"/>
                    <a:gd name="connsiteX3" fmla="*/ 15670 w 18360"/>
                    <a:gd name="connsiteY3" fmla="*/ 2744 h 18465"/>
                    <a:gd name="connsiteX4" fmla="*/ 2691 w 18360"/>
                    <a:gd name="connsiteY4" fmla="*/ 268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65">
                      <a:moveTo>
                        <a:pt x="2691" y="2684"/>
                      </a:moveTo>
                      <a:cubicBezTo>
                        <a:pt x="-897" y="6272"/>
                        <a:pt x="-897" y="12074"/>
                        <a:pt x="2691" y="15722"/>
                      </a:cubicBezTo>
                      <a:cubicBezTo>
                        <a:pt x="6280" y="19370"/>
                        <a:pt x="12081" y="19370"/>
                        <a:pt x="15670" y="15782"/>
                      </a:cubicBezTo>
                      <a:cubicBezTo>
                        <a:pt x="19258" y="12193"/>
                        <a:pt x="19258" y="6392"/>
                        <a:pt x="15670" y="2744"/>
                      </a:cubicBezTo>
                      <a:cubicBezTo>
                        <a:pt x="12081" y="-905"/>
                        <a:pt x="6280" y="-905"/>
                        <a:pt x="2691" y="2684"/>
                      </a:cubicBezTo>
                      <a:close/>
                    </a:path>
                  </a:pathLst>
                </a:custGeom>
                <a:grpFill/>
                <a:ln w="5978" cap="flat">
                  <a:noFill/>
                  <a:prstDash val="solid"/>
                  <a:miter/>
                </a:ln>
              </p:spPr>
              <p:txBody>
                <a:bodyPr rtlCol="0" anchor="ctr"/>
                <a:lstStyle/>
                <a:p>
                  <a:endParaRPr lang="en-GB"/>
                </a:p>
              </p:txBody>
            </p:sp>
          </p:grpSp>
          <p:grpSp>
            <p:nvGrpSpPr>
              <p:cNvPr id="1137" name="Graphic 3">
                <a:extLst>
                  <a:ext uri="{FF2B5EF4-FFF2-40B4-BE49-F238E27FC236}">
                    <a16:creationId xmlns:a16="http://schemas.microsoft.com/office/drawing/2014/main" id="{E64741A3-9F6D-4FFA-8A71-1139E727ADB1}"/>
                  </a:ext>
                </a:extLst>
              </p:cNvPr>
              <p:cNvGrpSpPr/>
              <p:nvPr/>
            </p:nvGrpSpPr>
            <p:grpSpPr>
              <a:xfrm>
                <a:off x="4565148" y="4531081"/>
                <a:ext cx="249565" cy="179926"/>
                <a:chOff x="4565148" y="4531081"/>
                <a:chExt cx="249565" cy="179926"/>
              </a:xfrm>
              <a:grpFill/>
            </p:grpSpPr>
            <p:sp>
              <p:nvSpPr>
                <p:cNvPr id="1989" name="Vrije vorm: vorm 1988">
                  <a:extLst>
                    <a:ext uri="{FF2B5EF4-FFF2-40B4-BE49-F238E27FC236}">
                      <a16:creationId xmlns:a16="http://schemas.microsoft.com/office/drawing/2014/main" id="{E16DD8EE-596E-467B-9A4B-36DF3344A3E2}"/>
                    </a:ext>
                  </a:extLst>
                </p:cNvPr>
                <p:cNvSpPr/>
                <p:nvPr/>
              </p:nvSpPr>
              <p:spPr>
                <a:xfrm>
                  <a:off x="4573059" y="4538750"/>
                  <a:ext cx="233786" cy="164589"/>
                </a:xfrm>
                <a:custGeom>
                  <a:avLst/>
                  <a:gdLst>
                    <a:gd name="connsiteX0" fmla="*/ 233787 w 233786"/>
                    <a:gd name="connsiteY0" fmla="*/ 2512 h 164589"/>
                    <a:gd name="connsiteX1" fmla="*/ 1734 w 233786"/>
                    <a:gd name="connsiteY1" fmla="*/ 164590 h 164589"/>
                    <a:gd name="connsiteX2" fmla="*/ 0 w 233786"/>
                    <a:gd name="connsiteY2" fmla="*/ 162077 h 164589"/>
                    <a:gd name="connsiteX3" fmla="*/ 231992 w 233786"/>
                    <a:gd name="connsiteY3" fmla="*/ 0 h 164589"/>
                  </a:gdLst>
                  <a:ahLst/>
                  <a:cxnLst>
                    <a:cxn ang="0">
                      <a:pos x="connsiteX0" y="connsiteY0"/>
                    </a:cxn>
                    <a:cxn ang="0">
                      <a:pos x="connsiteX1" y="connsiteY1"/>
                    </a:cxn>
                    <a:cxn ang="0">
                      <a:pos x="connsiteX2" y="connsiteY2"/>
                    </a:cxn>
                    <a:cxn ang="0">
                      <a:pos x="connsiteX3" y="connsiteY3"/>
                    </a:cxn>
                  </a:cxnLst>
                  <a:rect l="l" t="t" r="r" b="b"/>
                  <a:pathLst>
                    <a:path w="233786" h="164589">
                      <a:moveTo>
                        <a:pt x="233787" y="2512"/>
                      </a:moveTo>
                      <a:lnTo>
                        <a:pt x="1734" y="164590"/>
                      </a:lnTo>
                      <a:lnTo>
                        <a:pt x="0" y="162077"/>
                      </a:lnTo>
                      <a:lnTo>
                        <a:pt x="231992" y="0"/>
                      </a:lnTo>
                      <a:close/>
                    </a:path>
                  </a:pathLst>
                </a:custGeom>
                <a:grpFill/>
                <a:ln w="5978" cap="flat">
                  <a:noFill/>
                  <a:prstDash val="solid"/>
                  <a:miter/>
                </a:ln>
              </p:spPr>
              <p:txBody>
                <a:bodyPr rtlCol="0" anchor="ctr"/>
                <a:lstStyle/>
                <a:p>
                  <a:endParaRPr lang="en-GB"/>
                </a:p>
              </p:txBody>
            </p:sp>
            <p:sp>
              <p:nvSpPr>
                <p:cNvPr id="1990" name="Vrije vorm: vorm 1989">
                  <a:extLst>
                    <a:ext uri="{FF2B5EF4-FFF2-40B4-BE49-F238E27FC236}">
                      <a16:creationId xmlns:a16="http://schemas.microsoft.com/office/drawing/2014/main" id="{9A84CF9D-88BE-43D7-A996-A92CCD99D784}"/>
                    </a:ext>
                  </a:extLst>
                </p:cNvPr>
                <p:cNvSpPr/>
                <p:nvPr/>
              </p:nvSpPr>
              <p:spPr>
                <a:xfrm>
                  <a:off x="4796422" y="4531081"/>
                  <a:ext cx="18290" cy="18387"/>
                </a:xfrm>
                <a:custGeom>
                  <a:avLst/>
                  <a:gdLst>
                    <a:gd name="connsiteX0" fmla="*/ 3904 w 18290"/>
                    <a:gd name="connsiteY0" fmla="*/ 1628 h 18387"/>
                    <a:gd name="connsiteX1" fmla="*/ 16643 w 18290"/>
                    <a:gd name="connsiteY1" fmla="*/ 3961 h 18387"/>
                    <a:gd name="connsiteX2" fmla="*/ 14370 w 18290"/>
                    <a:gd name="connsiteY2" fmla="*/ 16759 h 18387"/>
                    <a:gd name="connsiteX3" fmla="*/ 1631 w 18290"/>
                    <a:gd name="connsiteY3" fmla="*/ 14427 h 18387"/>
                    <a:gd name="connsiteX4" fmla="*/ 3904 w 18290"/>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87">
                      <a:moveTo>
                        <a:pt x="3904" y="1628"/>
                      </a:moveTo>
                      <a:cubicBezTo>
                        <a:pt x="8031" y="-1243"/>
                        <a:pt x="13772" y="-226"/>
                        <a:pt x="16643" y="3961"/>
                      </a:cubicBezTo>
                      <a:cubicBezTo>
                        <a:pt x="19514" y="8147"/>
                        <a:pt x="18557" y="13888"/>
                        <a:pt x="14370" y="16759"/>
                      </a:cubicBezTo>
                      <a:cubicBezTo>
                        <a:pt x="10244" y="19630"/>
                        <a:pt x="4502" y="18613"/>
                        <a:pt x="1631" y="14427"/>
                      </a:cubicBezTo>
                      <a:cubicBezTo>
                        <a:pt x="-1239" y="10240"/>
                        <a:pt x="-223" y="4499"/>
                        <a:pt x="3904" y="1628"/>
                      </a:cubicBezTo>
                      <a:close/>
                    </a:path>
                  </a:pathLst>
                </a:custGeom>
                <a:grpFill/>
                <a:ln w="5978" cap="flat">
                  <a:noFill/>
                  <a:prstDash val="solid"/>
                  <a:miter/>
                </a:ln>
              </p:spPr>
              <p:txBody>
                <a:bodyPr rtlCol="0" anchor="ctr"/>
                <a:lstStyle/>
                <a:p>
                  <a:endParaRPr lang="en-GB"/>
                </a:p>
              </p:txBody>
            </p:sp>
            <p:sp>
              <p:nvSpPr>
                <p:cNvPr id="1991" name="Vrije vorm: vorm 1990">
                  <a:extLst>
                    <a:ext uri="{FF2B5EF4-FFF2-40B4-BE49-F238E27FC236}">
                      <a16:creationId xmlns:a16="http://schemas.microsoft.com/office/drawing/2014/main" id="{65F59302-EBA0-424D-9E3E-71DF680DAED0}"/>
                    </a:ext>
                  </a:extLst>
                </p:cNvPr>
                <p:cNvSpPr/>
                <p:nvPr/>
              </p:nvSpPr>
              <p:spPr>
                <a:xfrm>
                  <a:off x="4565148" y="4692620"/>
                  <a:ext cx="18274" cy="18387"/>
                </a:xfrm>
                <a:custGeom>
                  <a:avLst/>
                  <a:gdLst>
                    <a:gd name="connsiteX0" fmla="*/ 3904 w 18274"/>
                    <a:gd name="connsiteY0" fmla="*/ 1628 h 18387"/>
                    <a:gd name="connsiteX1" fmla="*/ 1631 w 18274"/>
                    <a:gd name="connsiteY1" fmla="*/ 14427 h 18387"/>
                    <a:gd name="connsiteX2" fmla="*/ 14370 w 18274"/>
                    <a:gd name="connsiteY2" fmla="*/ 16759 h 18387"/>
                    <a:gd name="connsiteX3" fmla="*/ 16643 w 18274"/>
                    <a:gd name="connsiteY3" fmla="*/ 3961 h 18387"/>
                    <a:gd name="connsiteX4" fmla="*/ 3904 w 18274"/>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3904" y="1628"/>
                      </a:moveTo>
                      <a:cubicBezTo>
                        <a:pt x="-223" y="4499"/>
                        <a:pt x="-1239" y="10240"/>
                        <a:pt x="1631" y="14427"/>
                      </a:cubicBezTo>
                      <a:cubicBezTo>
                        <a:pt x="4502" y="18613"/>
                        <a:pt x="10244" y="19630"/>
                        <a:pt x="14370" y="16759"/>
                      </a:cubicBezTo>
                      <a:cubicBezTo>
                        <a:pt x="18497" y="13888"/>
                        <a:pt x="19514" y="8147"/>
                        <a:pt x="16643" y="3961"/>
                      </a:cubicBezTo>
                      <a:cubicBezTo>
                        <a:pt x="13772" y="-226"/>
                        <a:pt x="8031" y="-1243"/>
                        <a:pt x="3904" y="1628"/>
                      </a:cubicBezTo>
                      <a:close/>
                    </a:path>
                  </a:pathLst>
                </a:custGeom>
                <a:grpFill/>
                <a:ln w="5978" cap="flat">
                  <a:noFill/>
                  <a:prstDash val="solid"/>
                  <a:miter/>
                </a:ln>
              </p:spPr>
              <p:txBody>
                <a:bodyPr rtlCol="0" anchor="ctr"/>
                <a:lstStyle/>
                <a:p>
                  <a:endParaRPr lang="en-GB"/>
                </a:p>
              </p:txBody>
            </p:sp>
          </p:grpSp>
          <p:grpSp>
            <p:nvGrpSpPr>
              <p:cNvPr id="1138" name="Graphic 3">
                <a:extLst>
                  <a:ext uri="{FF2B5EF4-FFF2-40B4-BE49-F238E27FC236}">
                    <a16:creationId xmlns:a16="http://schemas.microsoft.com/office/drawing/2014/main" id="{6504A5DD-061E-463A-8B1D-E72C6465E2D2}"/>
                  </a:ext>
                </a:extLst>
              </p:cNvPr>
              <p:cNvGrpSpPr/>
              <p:nvPr/>
            </p:nvGrpSpPr>
            <p:grpSpPr>
              <a:xfrm>
                <a:off x="3814665" y="2124432"/>
                <a:ext cx="87601" cy="58292"/>
                <a:chOff x="3814665" y="2124432"/>
                <a:chExt cx="87601" cy="58292"/>
              </a:xfrm>
              <a:grpFill/>
            </p:grpSpPr>
            <p:sp>
              <p:nvSpPr>
                <p:cNvPr id="1986" name="Vrije vorm: vorm 1985">
                  <a:extLst>
                    <a:ext uri="{FF2B5EF4-FFF2-40B4-BE49-F238E27FC236}">
                      <a16:creationId xmlns:a16="http://schemas.microsoft.com/office/drawing/2014/main" id="{E77A69FC-3F3D-42DA-AF9E-6E010253DE8C}"/>
                    </a:ext>
                  </a:extLst>
                </p:cNvPr>
                <p:cNvSpPr/>
                <p:nvPr/>
              </p:nvSpPr>
              <p:spPr>
                <a:xfrm>
                  <a:off x="3822658" y="2132108"/>
                  <a:ext cx="71589" cy="42941"/>
                </a:xfrm>
                <a:custGeom>
                  <a:avLst/>
                  <a:gdLst>
                    <a:gd name="connsiteX0" fmla="*/ 71589 w 71589"/>
                    <a:gd name="connsiteY0" fmla="*/ 40310 h 42941"/>
                    <a:gd name="connsiteX1" fmla="*/ 70094 w 71589"/>
                    <a:gd name="connsiteY1" fmla="*/ 42942 h 42941"/>
                    <a:gd name="connsiteX2" fmla="*/ 0 w 71589"/>
                    <a:gd name="connsiteY2" fmla="*/ 2631 h 42941"/>
                    <a:gd name="connsiteX3" fmla="*/ 1495 w 71589"/>
                    <a:gd name="connsiteY3" fmla="*/ 0 h 42941"/>
                  </a:gdLst>
                  <a:ahLst/>
                  <a:cxnLst>
                    <a:cxn ang="0">
                      <a:pos x="connsiteX0" y="connsiteY0"/>
                    </a:cxn>
                    <a:cxn ang="0">
                      <a:pos x="connsiteX1" y="connsiteY1"/>
                    </a:cxn>
                    <a:cxn ang="0">
                      <a:pos x="connsiteX2" y="connsiteY2"/>
                    </a:cxn>
                    <a:cxn ang="0">
                      <a:pos x="connsiteX3" y="connsiteY3"/>
                    </a:cxn>
                  </a:cxnLst>
                  <a:rect l="l" t="t" r="r" b="b"/>
                  <a:pathLst>
                    <a:path w="71589" h="42941">
                      <a:moveTo>
                        <a:pt x="71589" y="40310"/>
                      </a:moveTo>
                      <a:lnTo>
                        <a:pt x="70094" y="42942"/>
                      </a:lnTo>
                      <a:lnTo>
                        <a:pt x="0" y="2631"/>
                      </a:lnTo>
                      <a:lnTo>
                        <a:pt x="1495" y="0"/>
                      </a:lnTo>
                      <a:close/>
                    </a:path>
                  </a:pathLst>
                </a:custGeom>
                <a:grpFill/>
                <a:ln w="5978" cap="flat">
                  <a:noFill/>
                  <a:prstDash val="solid"/>
                  <a:miter/>
                </a:ln>
              </p:spPr>
              <p:txBody>
                <a:bodyPr rtlCol="0" anchor="ctr"/>
                <a:lstStyle/>
                <a:p>
                  <a:endParaRPr lang="en-GB"/>
                </a:p>
              </p:txBody>
            </p:sp>
            <p:sp>
              <p:nvSpPr>
                <p:cNvPr id="1987" name="Vrije vorm: vorm 1986">
                  <a:extLst>
                    <a:ext uri="{FF2B5EF4-FFF2-40B4-BE49-F238E27FC236}">
                      <a16:creationId xmlns:a16="http://schemas.microsoft.com/office/drawing/2014/main" id="{C4485336-F71D-4548-9DBB-B3CB46E680C4}"/>
                    </a:ext>
                  </a:extLst>
                </p:cNvPr>
                <p:cNvSpPr/>
                <p:nvPr/>
              </p:nvSpPr>
              <p:spPr>
                <a:xfrm>
                  <a:off x="3814665" y="2124432"/>
                  <a:ext cx="18318" cy="18427"/>
                </a:xfrm>
                <a:custGeom>
                  <a:avLst/>
                  <a:gdLst>
                    <a:gd name="connsiteX0" fmla="*/ 4644 w 18318"/>
                    <a:gd name="connsiteY0" fmla="*/ 17185 h 18427"/>
                    <a:gd name="connsiteX1" fmla="*/ 1175 w 18318"/>
                    <a:gd name="connsiteY1" fmla="*/ 4625 h 18427"/>
                    <a:gd name="connsiteX2" fmla="*/ 13675 w 18318"/>
                    <a:gd name="connsiteY2" fmla="*/ 1216 h 18427"/>
                    <a:gd name="connsiteX3" fmla="*/ 17143 w 18318"/>
                    <a:gd name="connsiteY3" fmla="*/ 13776 h 18427"/>
                    <a:gd name="connsiteX4" fmla="*/ 4644 w 18318"/>
                    <a:gd name="connsiteY4" fmla="*/ 17185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7">
                      <a:moveTo>
                        <a:pt x="4644" y="17185"/>
                      </a:moveTo>
                      <a:cubicBezTo>
                        <a:pt x="218" y="14673"/>
                        <a:pt x="-1277" y="9051"/>
                        <a:pt x="1175" y="4625"/>
                      </a:cubicBezTo>
                      <a:cubicBezTo>
                        <a:pt x="3687" y="200"/>
                        <a:pt x="9249" y="-1295"/>
                        <a:pt x="13675" y="1216"/>
                      </a:cubicBezTo>
                      <a:cubicBezTo>
                        <a:pt x="18101" y="3728"/>
                        <a:pt x="19596" y="9350"/>
                        <a:pt x="17143" y="13776"/>
                      </a:cubicBezTo>
                      <a:cubicBezTo>
                        <a:pt x="14632" y="18202"/>
                        <a:pt x="9010" y="19757"/>
                        <a:pt x="4644" y="17185"/>
                      </a:cubicBezTo>
                      <a:close/>
                    </a:path>
                  </a:pathLst>
                </a:custGeom>
                <a:grpFill/>
                <a:ln w="5978" cap="flat">
                  <a:noFill/>
                  <a:prstDash val="solid"/>
                  <a:miter/>
                </a:ln>
              </p:spPr>
              <p:txBody>
                <a:bodyPr rtlCol="0" anchor="ctr"/>
                <a:lstStyle/>
                <a:p>
                  <a:endParaRPr lang="en-GB"/>
                </a:p>
              </p:txBody>
            </p:sp>
            <p:sp>
              <p:nvSpPr>
                <p:cNvPr id="1988" name="Vrije vorm: vorm 1987">
                  <a:extLst>
                    <a:ext uri="{FF2B5EF4-FFF2-40B4-BE49-F238E27FC236}">
                      <a16:creationId xmlns:a16="http://schemas.microsoft.com/office/drawing/2014/main" id="{29A01E58-0C8C-46AF-8A5F-F6B369285599}"/>
                    </a:ext>
                  </a:extLst>
                </p:cNvPr>
                <p:cNvSpPr/>
                <p:nvPr/>
              </p:nvSpPr>
              <p:spPr>
                <a:xfrm>
                  <a:off x="3883921" y="2164323"/>
                  <a:ext cx="18344" cy="18401"/>
                </a:xfrm>
                <a:custGeom>
                  <a:avLst/>
                  <a:gdLst>
                    <a:gd name="connsiteX0" fmla="*/ 4644 w 18344"/>
                    <a:gd name="connsiteY0" fmla="*/ 17185 h 18401"/>
                    <a:gd name="connsiteX1" fmla="*/ 17143 w 18344"/>
                    <a:gd name="connsiteY1" fmla="*/ 13776 h 18401"/>
                    <a:gd name="connsiteX2" fmla="*/ 13675 w 18344"/>
                    <a:gd name="connsiteY2" fmla="*/ 1216 h 18401"/>
                    <a:gd name="connsiteX3" fmla="*/ 1175 w 18344"/>
                    <a:gd name="connsiteY3" fmla="*/ 4625 h 18401"/>
                    <a:gd name="connsiteX4" fmla="*/ 4644 w 18344"/>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1">
                      <a:moveTo>
                        <a:pt x="4644" y="17185"/>
                      </a:moveTo>
                      <a:cubicBezTo>
                        <a:pt x="9069" y="19697"/>
                        <a:pt x="14632" y="18202"/>
                        <a:pt x="17143" y="13776"/>
                      </a:cubicBezTo>
                      <a:cubicBezTo>
                        <a:pt x="19655" y="9350"/>
                        <a:pt x="18100" y="3728"/>
                        <a:pt x="13675" y="1216"/>
                      </a:cubicBezTo>
                      <a:cubicBezTo>
                        <a:pt x="9249" y="-1295"/>
                        <a:pt x="3687" y="200"/>
                        <a:pt x="1175" y="4625"/>
                      </a:cubicBezTo>
                      <a:cubicBezTo>
                        <a:pt x="-1277" y="8991"/>
                        <a:pt x="218" y="14613"/>
                        <a:pt x="4644" y="17185"/>
                      </a:cubicBezTo>
                      <a:close/>
                    </a:path>
                  </a:pathLst>
                </a:custGeom>
                <a:grpFill/>
                <a:ln w="5978" cap="flat">
                  <a:noFill/>
                  <a:prstDash val="solid"/>
                  <a:miter/>
                </a:ln>
              </p:spPr>
              <p:txBody>
                <a:bodyPr rtlCol="0" anchor="ctr"/>
                <a:lstStyle/>
                <a:p>
                  <a:endParaRPr lang="en-GB"/>
                </a:p>
              </p:txBody>
            </p:sp>
          </p:grpSp>
          <p:grpSp>
            <p:nvGrpSpPr>
              <p:cNvPr id="1139" name="Graphic 3">
                <a:extLst>
                  <a:ext uri="{FF2B5EF4-FFF2-40B4-BE49-F238E27FC236}">
                    <a16:creationId xmlns:a16="http://schemas.microsoft.com/office/drawing/2014/main" id="{0DD41744-4C7A-43F4-A8E8-8BD6EF1262AA}"/>
                  </a:ext>
                </a:extLst>
              </p:cNvPr>
              <p:cNvGrpSpPr/>
              <p:nvPr/>
            </p:nvGrpSpPr>
            <p:grpSpPr>
              <a:xfrm>
                <a:off x="4707610" y="4767506"/>
                <a:ext cx="104334" cy="111793"/>
                <a:chOff x="4707610" y="4767506"/>
                <a:chExt cx="104334" cy="111793"/>
              </a:xfrm>
              <a:grpFill/>
            </p:grpSpPr>
            <p:sp>
              <p:nvSpPr>
                <p:cNvPr id="1983" name="Vrije vorm: vorm 1982">
                  <a:extLst>
                    <a:ext uri="{FF2B5EF4-FFF2-40B4-BE49-F238E27FC236}">
                      <a16:creationId xmlns:a16="http://schemas.microsoft.com/office/drawing/2014/main" id="{259BD057-0B76-4AD6-8920-298818480EFA}"/>
                    </a:ext>
                  </a:extLst>
                </p:cNvPr>
                <p:cNvSpPr/>
                <p:nvPr/>
              </p:nvSpPr>
              <p:spPr>
                <a:xfrm>
                  <a:off x="4715400" y="4775347"/>
                  <a:ext cx="88813" cy="96110"/>
                </a:xfrm>
                <a:custGeom>
                  <a:avLst/>
                  <a:gdLst>
                    <a:gd name="connsiteX0" fmla="*/ 88814 w 88813"/>
                    <a:gd name="connsiteY0" fmla="*/ 2093 h 96110"/>
                    <a:gd name="connsiteX1" fmla="*/ 2213 w 88813"/>
                    <a:gd name="connsiteY1" fmla="*/ 96110 h 96110"/>
                    <a:gd name="connsiteX2" fmla="*/ 0 w 88813"/>
                    <a:gd name="connsiteY2" fmla="*/ 94017 h 96110"/>
                    <a:gd name="connsiteX3" fmla="*/ 86601 w 88813"/>
                    <a:gd name="connsiteY3" fmla="*/ 0 h 96110"/>
                  </a:gdLst>
                  <a:ahLst/>
                  <a:cxnLst>
                    <a:cxn ang="0">
                      <a:pos x="connsiteX0" y="connsiteY0"/>
                    </a:cxn>
                    <a:cxn ang="0">
                      <a:pos x="connsiteX1" y="connsiteY1"/>
                    </a:cxn>
                    <a:cxn ang="0">
                      <a:pos x="connsiteX2" y="connsiteY2"/>
                    </a:cxn>
                    <a:cxn ang="0">
                      <a:pos x="connsiteX3" y="connsiteY3"/>
                    </a:cxn>
                  </a:cxnLst>
                  <a:rect l="l" t="t" r="r" b="b"/>
                  <a:pathLst>
                    <a:path w="88813" h="96110">
                      <a:moveTo>
                        <a:pt x="88814" y="2093"/>
                      </a:moveTo>
                      <a:lnTo>
                        <a:pt x="2213" y="96110"/>
                      </a:lnTo>
                      <a:lnTo>
                        <a:pt x="0" y="94017"/>
                      </a:lnTo>
                      <a:lnTo>
                        <a:pt x="86601" y="0"/>
                      </a:lnTo>
                      <a:close/>
                    </a:path>
                  </a:pathLst>
                </a:custGeom>
                <a:grpFill/>
                <a:ln w="5978" cap="flat">
                  <a:noFill/>
                  <a:prstDash val="solid"/>
                  <a:miter/>
                </a:ln>
              </p:spPr>
              <p:txBody>
                <a:bodyPr rtlCol="0" anchor="ctr"/>
                <a:lstStyle/>
                <a:p>
                  <a:endParaRPr lang="en-GB"/>
                </a:p>
              </p:txBody>
            </p:sp>
            <p:sp>
              <p:nvSpPr>
                <p:cNvPr id="1984" name="Vrije vorm: vorm 1983">
                  <a:extLst>
                    <a:ext uri="{FF2B5EF4-FFF2-40B4-BE49-F238E27FC236}">
                      <a16:creationId xmlns:a16="http://schemas.microsoft.com/office/drawing/2014/main" id="{CAE3F671-EADE-428F-8A45-91A505929FBE}"/>
                    </a:ext>
                  </a:extLst>
                </p:cNvPr>
                <p:cNvSpPr/>
                <p:nvPr/>
              </p:nvSpPr>
              <p:spPr>
                <a:xfrm>
                  <a:off x="4707610" y="4860865"/>
                  <a:ext cx="18376" cy="18434"/>
                </a:xfrm>
                <a:custGeom>
                  <a:avLst/>
                  <a:gdLst>
                    <a:gd name="connsiteX0" fmla="*/ 15924 w 18376"/>
                    <a:gd name="connsiteY0" fmla="*/ 15497 h 18434"/>
                    <a:gd name="connsiteX1" fmla="*/ 2946 w 18376"/>
                    <a:gd name="connsiteY1" fmla="*/ 15975 h 18434"/>
                    <a:gd name="connsiteX2" fmla="*/ 2408 w 18376"/>
                    <a:gd name="connsiteY2" fmla="*/ 2937 h 18434"/>
                    <a:gd name="connsiteX3" fmla="*/ 15386 w 18376"/>
                    <a:gd name="connsiteY3" fmla="*/ 2459 h 18434"/>
                    <a:gd name="connsiteX4" fmla="*/ 15924 w 18376"/>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4">
                      <a:moveTo>
                        <a:pt x="15924" y="15497"/>
                      </a:moveTo>
                      <a:cubicBezTo>
                        <a:pt x="12515" y="19205"/>
                        <a:pt x="6714" y="19444"/>
                        <a:pt x="2946" y="15975"/>
                      </a:cubicBezTo>
                      <a:cubicBezTo>
                        <a:pt x="-762" y="12507"/>
                        <a:pt x="-1001" y="6705"/>
                        <a:pt x="2408" y="2937"/>
                      </a:cubicBezTo>
                      <a:cubicBezTo>
                        <a:pt x="5817" y="-771"/>
                        <a:pt x="11618" y="-1010"/>
                        <a:pt x="15386" y="2459"/>
                      </a:cubicBezTo>
                      <a:cubicBezTo>
                        <a:pt x="19154" y="5928"/>
                        <a:pt x="19393" y="11729"/>
                        <a:pt x="15924" y="15497"/>
                      </a:cubicBezTo>
                      <a:close/>
                    </a:path>
                  </a:pathLst>
                </a:custGeom>
                <a:grpFill/>
                <a:ln w="5978" cap="flat">
                  <a:noFill/>
                  <a:prstDash val="solid"/>
                  <a:miter/>
                </a:ln>
              </p:spPr>
              <p:txBody>
                <a:bodyPr rtlCol="0" anchor="ctr"/>
                <a:lstStyle/>
                <a:p>
                  <a:endParaRPr lang="en-GB"/>
                </a:p>
              </p:txBody>
            </p:sp>
            <p:sp>
              <p:nvSpPr>
                <p:cNvPr id="1985" name="Vrije vorm: vorm 1984">
                  <a:extLst>
                    <a:ext uri="{FF2B5EF4-FFF2-40B4-BE49-F238E27FC236}">
                      <a16:creationId xmlns:a16="http://schemas.microsoft.com/office/drawing/2014/main" id="{ACB794FA-74BF-49C8-9FD0-F380FDE3BF66}"/>
                    </a:ext>
                  </a:extLst>
                </p:cNvPr>
                <p:cNvSpPr/>
                <p:nvPr/>
              </p:nvSpPr>
              <p:spPr>
                <a:xfrm>
                  <a:off x="4793612" y="4767506"/>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6" y="-771"/>
                        <a:pt x="2408" y="2937"/>
                      </a:cubicBezTo>
                      <a:cubicBezTo>
                        <a:pt x="-1001" y="6645"/>
                        <a:pt x="-762" y="12507"/>
                        <a:pt x="2946" y="15975"/>
                      </a:cubicBezTo>
                      <a:cubicBezTo>
                        <a:pt x="6654" y="19444"/>
                        <a:pt x="12455" y="19205"/>
                        <a:pt x="15924" y="15497"/>
                      </a:cubicBezTo>
                      <a:close/>
                    </a:path>
                  </a:pathLst>
                </a:custGeom>
                <a:grpFill/>
                <a:ln w="5978" cap="flat">
                  <a:noFill/>
                  <a:prstDash val="solid"/>
                  <a:miter/>
                </a:ln>
              </p:spPr>
              <p:txBody>
                <a:bodyPr rtlCol="0" anchor="ctr"/>
                <a:lstStyle/>
                <a:p>
                  <a:endParaRPr lang="en-GB"/>
                </a:p>
              </p:txBody>
            </p:sp>
          </p:grpSp>
          <p:grpSp>
            <p:nvGrpSpPr>
              <p:cNvPr id="1140" name="Graphic 3">
                <a:extLst>
                  <a:ext uri="{FF2B5EF4-FFF2-40B4-BE49-F238E27FC236}">
                    <a16:creationId xmlns:a16="http://schemas.microsoft.com/office/drawing/2014/main" id="{BCFFAF06-C529-4458-A612-558C4AD33417}"/>
                  </a:ext>
                </a:extLst>
              </p:cNvPr>
              <p:cNvGrpSpPr/>
              <p:nvPr/>
            </p:nvGrpSpPr>
            <p:grpSpPr>
              <a:xfrm>
                <a:off x="4810724" y="5019005"/>
                <a:ext cx="26691" cy="29418"/>
                <a:chOff x="4810724" y="5019005"/>
                <a:chExt cx="26691" cy="29418"/>
              </a:xfrm>
              <a:grpFill/>
            </p:grpSpPr>
            <p:sp>
              <p:nvSpPr>
                <p:cNvPr id="1981" name="Vrije vorm: vorm 1980">
                  <a:extLst>
                    <a:ext uri="{FF2B5EF4-FFF2-40B4-BE49-F238E27FC236}">
                      <a16:creationId xmlns:a16="http://schemas.microsoft.com/office/drawing/2014/main" id="{FD3AC7D5-757B-46F9-8A99-4ABFA50FED08}"/>
                    </a:ext>
                  </a:extLst>
                </p:cNvPr>
                <p:cNvSpPr/>
                <p:nvPr/>
              </p:nvSpPr>
              <p:spPr>
                <a:xfrm>
                  <a:off x="4810724" y="5030010"/>
                  <a:ext cx="18318" cy="18413"/>
                </a:xfrm>
                <a:custGeom>
                  <a:avLst/>
                  <a:gdLst>
                    <a:gd name="connsiteX0" fmla="*/ 1863 w 18318"/>
                    <a:gd name="connsiteY0" fmla="*/ 3585 h 18413"/>
                    <a:gd name="connsiteX1" fmla="*/ 14721 w 18318"/>
                    <a:gd name="connsiteY1" fmla="*/ 1910 h 18413"/>
                    <a:gd name="connsiteX2" fmla="*/ 16456 w 18318"/>
                    <a:gd name="connsiteY2" fmla="*/ 14829 h 18413"/>
                    <a:gd name="connsiteX3" fmla="*/ 3597 w 18318"/>
                    <a:gd name="connsiteY3" fmla="*/ 16503 h 18413"/>
                    <a:gd name="connsiteX4" fmla="*/ 1863 w 18318"/>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863" y="3585"/>
                      </a:moveTo>
                      <a:cubicBezTo>
                        <a:pt x="4913" y="-422"/>
                        <a:pt x="10655" y="-1200"/>
                        <a:pt x="14721" y="1910"/>
                      </a:cubicBezTo>
                      <a:cubicBezTo>
                        <a:pt x="18728" y="5020"/>
                        <a:pt x="19506" y="10822"/>
                        <a:pt x="16456" y="14829"/>
                      </a:cubicBezTo>
                      <a:cubicBezTo>
                        <a:pt x="13405" y="18836"/>
                        <a:pt x="7664" y="19613"/>
                        <a:pt x="3597" y="16503"/>
                      </a:cubicBezTo>
                      <a:cubicBezTo>
                        <a:pt x="-410" y="13393"/>
                        <a:pt x="-1188" y="7592"/>
                        <a:pt x="1863" y="3585"/>
                      </a:cubicBezTo>
                      <a:close/>
                    </a:path>
                  </a:pathLst>
                </a:custGeom>
                <a:grpFill/>
                <a:ln w="5978" cap="flat">
                  <a:noFill/>
                  <a:prstDash val="solid"/>
                  <a:miter/>
                </a:ln>
              </p:spPr>
              <p:txBody>
                <a:bodyPr rtlCol="0" anchor="ctr"/>
                <a:lstStyle/>
                <a:p>
                  <a:endParaRPr lang="en-GB"/>
                </a:p>
              </p:txBody>
            </p:sp>
            <p:sp>
              <p:nvSpPr>
                <p:cNvPr id="1982" name="Vrije vorm: vorm 1981">
                  <a:extLst>
                    <a:ext uri="{FF2B5EF4-FFF2-40B4-BE49-F238E27FC236}">
                      <a16:creationId xmlns:a16="http://schemas.microsoft.com/office/drawing/2014/main" id="{19BACF3B-167E-4D62-8DC9-9B16B3B16F88}"/>
                    </a:ext>
                  </a:extLst>
                </p:cNvPr>
                <p:cNvSpPr/>
                <p:nvPr/>
              </p:nvSpPr>
              <p:spPr>
                <a:xfrm>
                  <a:off x="4819097" y="5019005"/>
                  <a:ext cx="18318" cy="18413"/>
                </a:xfrm>
                <a:custGeom>
                  <a:avLst/>
                  <a:gdLst>
                    <a:gd name="connsiteX0" fmla="*/ 1863 w 18318"/>
                    <a:gd name="connsiteY0" fmla="*/ 3585 h 18413"/>
                    <a:gd name="connsiteX1" fmla="*/ 3597 w 18318"/>
                    <a:gd name="connsiteY1" fmla="*/ 16503 h 18413"/>
                    <a:gd name="connsiteX2" fmla="*/ 16456 w 18318"/>
                    <a:gd name="connsiteY2" fmla="*/ 14829 h 18413"/>
                    <a:gd name="connsiteX3" fmla="*/ 14721 w 18318"/>
                    <a:gd name="connsiteY3" fmla="*/ 1910 h 18413"/>
                    <a:gd name="connsiteX4" fmla="*/ 1863 w 18318"/>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863" y="3585"/>
                      </a:moveTo>
                      <a:cubicBezTo>
                        <a:pt x="-1188" y="7592"/>
                        <a:pt x="-410" y="13393"/>
                        <a:pt x="3597" y="16503"/>
                      </a:cubicBezTo>
                      <a:cubicBezTo>
                        <a:pt x="7604" y="19614"/>
                        <a:pt x="13346" y="18836"/>
                        <a:pt x="16456" y="14829"/>
                      </a:cubicBezTo>
                      <a:cubicBezTo>
                        <a:pt x="19506" y="10822"/>
                        <a:pt x="18728" y="5021"/>
                        <a:pt x="14721" y="1910"/>
                      </a:cubicBezTo>
                      <a:cubicBezTo>
                        <a:pt x="10654" y="-1200"/>
                        <a:pt x="4913" y="-422"/>
                        <a:pt x="1863" y="3585"/>
                      </a:cubicBezTo>
                      <a:close/>
                    </a:path>
                  </a:pathLst>
                </a:custGeom>
                <a:grpFill/>
                <a:ln w="5978" cap="flat">
                  <a:noFill/>
                  <a:prstDash val="solid"/>
                  <a:miter/>
                </a:ln>
              </p:spPr>
              <p:txBody>
                <a:bodyPr rtlCol="0" anchor="ctr"/>
                <a:lstStyle/>
                <a:p>
                  <a:endParaRPr lang="en-GB"/>
                </a:p>
              </p:txBody>
            </p:sp>
          </p:grpSp>
          <p:grpSp>
            <p:nvGrpSpPr>
              <p:cNvPr id="1141" name="Graphic 3">
                <a:extLst>
                  <a:ext uri="{FF2B5EF4-FFF2-40B4-BE49-F238E27FC236}">
                    <a16:creationId xmlns:a16="http://schemas.microsoft.com/office/drawing/2014/main" id="{2C9856C0-7D55-48F2-955A-E08D46F11520}"/>
                  </a:ext>
                </a:extLst>
              </p:cNvPr>
              <p:cNvGrpSpPr/>
              <p:nvPr/>
            </p:nvGrpSpPr>
            <p:grpSpPr>
              <a:xfrm>
                <a:off x="3883388" y="2653892"/>
                <a:ext cx="334904" cy="128832"/>
                <a:chOff x="3883388" y="2653892"/>
                <a:chExt cx="334904" cy="128832"/>
              </a:xfrm>
              <a:grpFill/>
            </p:grpSpPr>
            <p:sp>
              <p:nvSpPr>
                <p:cNvPr id="1978" name="Vrije vorm: vorm 1977">
                  <a:extLst>
                    <a:ext uri="{FF2B5EF4-FFF2-40B4-BE49-F238E27FC236}">
                      <a16:creationId xmlns:a16="http://schemas.microsoft.com/office/drawing/2014/main" id="{07710775-DE82-490B-9DDE-78EE1CD370B1}"/>
                    </a:ext>
                  </a:extLst>
                </p:cNvPr>
                <p:cNvSpPr/>
                <p:nvPr/>
              </p:nvSpPr>
              <p:spPr>
                <a:xfrm>
                  <a:off x="3891615" y="2661521"/>
                  <a:ext cx="318413" cy="113573"/>
                </a:xfrm>
                <a:custGeom>
                  <a:avLst/>
                  <a:gdLst>
                    <a:gd name="connsiteX0" fmla="*/ 318414 w 318413"/>
                    <a:gd name="connsiteY0" fmla="*/ 110703 h 113573"/>
                    <a:gd name="connsiteX1" fmla="*/ 317397 w 318413"/>
                    <a:gd name="connsiteY1" fmla="*/ 113574 h 113573"/>
                    <a:gd name="connsiteX2" fmla="*/ 0 w 318413"/>
                    <a:gd name="connsiteY2" fmla="*/ 2930 h 113573"/>
                    <a:gd name="connsiteX3" fmla="*/ 1017 w 318413"/>
                    <a:gd name="connsiteY3" fmla="*/ 0 h 113573"/>
                  </a:gdLst>
                  <a:ahLst/>
                  <a:cxnLst>
                    <a:cxn ang="0">
                      <a:pos x="connsiteX0" y="connsiteY0"/>
                    </a:cxn>
                    <a:cxn ang="0">
                      <a:pos x="connsiteX1" y="connsiteY1"/>
                    </a:cxn>
                    <a:cxn ang="0">
                      <a:pos x="connsiteX2" y="connsiteY2"/>
                    </a:cxn>
                    <a:cxn ang="0">
                      <a:pos x="connsiteX3" y="connsiteY3"/>
                    </a:cxn>
                  </a:cxnLst>
                  <a:rect l="l" t="t" r="r" b="b"/>
                  <a:pathLst>
                    <a:path w="318413" h="113573">
                      <a:moveTo>
                        <a:pt x="318414" y="110703"/>
                      </a:moveTo>
                      <a:lnTo>
                        <a:pt x="317397" y="113574"/>
                      </a:lnTo>
                      <a:lnTo>
                        <a:pt x="0" y="2930"/>
                      </a:lnTo>
                      <a:lnTo>
                        <a:pt x="1017" y="0"/>
                      </a:lnTo>
                      <a:close/>
                    </a:path>
                  </a:pathLst>
                </a:custGeom>
                <a:grpFill/>
                <a:ln w="5978" cap="flat">
                  <a:noFill/>
                  <a:prstDash val="solid"/>
                  <a:miter/>
                </a:ln>
              </p:spPr>
              <p:txBody>
                <a:bodyPr rtlCol="0" anchor="ctr"/>
                <a:lstStyle/>
                <a:p>
                  <a:endParaRPr lang="en-GB"/>
                </a:p>
              </p:txBody>
            </p:sp>
            <p:sp>
              <p:nvSpPr>
                <p:cNvPr id="1979" name="Vrije vorm: vorm 1978">
                  <a:extLst>
                    <a:ext uri="{FF2B5EF4-FFF2-40B4-BE49-F238E27FC236}">
                      <a16:creationId xmlns:a16="http://schemas.microsoft.com/office/drawing/2014/main" id="{6AFB0981-D875-4D23-AB84-7CBA8E95A7B9}"/>
                    </a:ext>
                  </a:extLst>
                </p:cNvPr>
                <p:cNvSpPr/>
                <p:nvPr/>
              </p:nvSpPr>
              <p:spPr>
                <a:xfrm>
                  <a:off x="3883388" y="2653892"/>
                  <a:ext cx="18368" cy="18434"/>
                </a:xfrm>
                <a:custGeom>
                  <a:avLst/>
                  <a:gdLst>
                    <a:gd name="connsiteX0" fmla="*/ 6194 w 18368"/>
                    <a:gd name="connsiteY0" fmla="*/ 17916 h 18434"/>
                    <a:gd name="connsiteX1" fmla="*/ 512 w 18368"/>
                    <a:gd name="connsiteY1" fmla="*/ 6194 h 18434"/>
                    <a:gd name="connsiteX2" fmla="*/ 12175 w 18368"/>
                    <a:gd name="connsiteY2" fmla="*/ 512 h 18434"/>
                    <a:gd name="connsiteX3" fmla="*/ 17856 w 18368"/>
                    <a:gd name="connsiteY3" fmla="*/ 12234 h 18434"/>
                    <a:gd name="connsiteX4" fmla="*/ 6194 w 18368"/>
                    <a:gd name="connsiteY4" fmla="*/ 1791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34">
                      <a:moveTo>
                        <a:pt x="6194" y="17916"/>
                      </a:moveTo>
                      <a:cubicBezTo>
                        <a:pt x="1409" y="16241"/>
                        <a:pt x="-1163" y="10978"/>
                        <a:pt x="512" y="6194"/>
                      </a:cubicBezTo>
                      <a:cubicBezTo>
                        <a:pt x="2127" y="1409"/>
                        <a:pt x="7390" y="-1162"/>
                        <a:pt x="12175" y="512"/>
                      </a:cubicBezTo>
                      <a:cubicBezTo>
                        <a:pt x="16959" y="2187"/>
                        <a:pt x="19531" y="7450"/>
                        <a:pt x="17856" y="12234"/>
                      </a:cubicBezTo>
                      <a:cubicBezTo>
                        <a:pt x="16182" y="17079"/>
                        <a:pt x="10978" y="19591"/>
                        <a:pt x="6194" y="17916"/>
                      </a:cubicBezTo>
                      <a:close/>
                    </a:path>
                  </a:pathLst>
                </a:custGeom>
                <a:grpFill/>
                <a:ln w="5978" cap="flat">
                  <a:noFill/>
                  <a:prstDash val="solid"/>
                  <a:miter/>
                </a:ln>
              </p:spPr>
              <p:txBody>
                <a:bodyPr rtlCol="0" anchor="ctr"/>
                <a:lstStyle/>
                <a:p>
                  <a:endParaRPr lang="en-GB"/>
                </a:p>
              </p:txBody>
            </p:sp>
            <p:sp>
              <p:nvSpPr>
                <p:cNvPr id="1980" name="Vrije vorm: vorm 1979">
                  <a:extLst>
                    <a:ext uri="{FF2B5EF4-FFF2-40B4-BE49-F238E27FC236}">
                      <a16:creationId xmlns:a16="http://schemas.microsoft.com/office/drawing/2014/main" id="{6C8478E9-9CE6-4F43-94E2-6BC2A3549A22}"/>
                    </a:ext>
                  </a:extLst>
                </p:cNvPr>
                <p:cNvSpPr/>
                <p:nvPr/>
              </p:nvSpPr>
              <p:spPr>
                <a:xfrm>
                  <a:off x="4199948" y="2764296"/>
                  <a:ext cx="18345" cy="18428"/>
                </a:xfrm>
                <a:custGeom>
                  <a:avLst/>
                  <a:gdLst>
                    <a:gd name="connsiteX0" fmla="*/ 6194 w 18345"/>
                    <a:gd name="connsiteY0" fmla="*/ 17916 h 18428"/>
                    <a:gd name="connsiteX1" fmla="*/ 17856 w 18345"/>
                    <a:gd name="connsiteY1" fmla="*/ 12234 h 18428"/>
                    <a:gd name="connsiteX2" fmla="*/ 12175 w 18345"/>
                    <a:gd name="connsiteY2" fmla="*/ 512 h 18428"/>
                    <a:gd name="connsiteX3" fmla="*/ 512 w 18345"/>
                    <a:gd name="connsiteY3" fmla="*/ 6194 h 18428"/>
                    <a:gd name="connsiteX4" fmla="*/ 6194 w 18345"/>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8">
                      <a:moveTo>
                        <a:pt x="6194" y="17916"/>
                      </a:moveTo>
                      <a:cubicBezTo>
                        <a:pt x="10978" y="19591"/>
                        <a:pt x="16182" y="17019"/>
                        <a:pt x="17856" y="12234"/>
                      </a:cubicBezTo>
                      <a:cubicBezTo>
                        <a:pt x="19471" y="7450"/>
                        <a:pt x="16959" y="2187"/>
                        <a:pt x="12175" y="512"/>
                      </a:cubicBezTo>
                      <a:cubicBezTo>
                        <a:pt x="7390" y="-1163"/>
                        <a:pt x="2187" y="1409"/>
                        <a:pt x="512" y="6194"/>
                      </a:cubicBezTo>
                      <a:cubicBezTo>
                        <a:pt x="-1163" y="10978"/>
                        <a:pt x="1409" y="16241"/>
                        <a:pt x="6194" y="17916"/>
                      </a:cubicBezTo>
                      <a:close/>
                    </a:path>
                  </a:pathLst>
                </a:custGeom>
                <a:grpFill/>
                <a:ln w="5978" cap="flat">
                  <a:noFill/>
                  <a:prstDash val="solid"/>
                  <a:miter/>
                </a:ln>
              </p:spPr>
              <p:txBody>
                <a:bodyPr rtlCol="0" anchor="ctr"/>
                <a:lstStyle/>
                <a:p>
                  <a:endParaRPr lang="en-GB"/>
                </a:p>
              </p:txBody>
            </p:sp>
          </p:grpSp>
          <p:grpSp>
            <p:nvGrpSpPr>
              <p:cNvPr id="1142" name="Graphic 3">
                <a:extLst>
                  <a:ext uri="{FF2B5EF4-FFF2-40B4-BE49-F238E27FC236}">
                    <a16:creationId xmlns:a16="http://schemas.microsoft.com/office/drawing/2014/main" id="{6D850A82-0A9B-4BFF-B59B-887CD06DEDF5}"/>
                  </a:ext>
                </a:extLst>
              </p:cNvPr>
              <p:cNvGrpSpPr/>
              <p:nvPr/>
            </p:nvGrpSpPr>
            <p:grpSpPr>
              <a:xfrm>
                <a:off x="3795263" y="2762591"/>
                <a:ext cx="616135" cy="222041"/>
                <a:chOff x="3795263" y="2762591"/>
                <a:chExt cx="616135" cy="222041"/>
              </a:xfrm>
              <a:grpFill/>
            </p:grpSpPr>
            <p:sp>
              <p:nvSpPr>
                <p:cNvPr id="1975" name="Vrije vorm: vorm 1974">
                  <a:extLst>
                    <a:ext uri="{FF2B5EF4-FFF2-40B4-BE49-F238E27FC236}">
                      <a16:creationId xmlns:a16="http://schemas.microsoft.com/office/drawing/2014/main" id="{399FF4E3-0975-47C5-929B-DCF63C01D099}"/>
                    </a:ext>
                  </a:extLst>
                </p:cNvPr>
                <p:cNvSpPr/>
                <p:nvPr/>
              </p:nvSpPr>
              <p:spPr>
                <a:xfrm>
                  <a:off x="3803519" y="2770191"/>
                  <a:ext cx="599627" cy="206873"/>
                </a:xfrm>
                <a:custGeom>
                  <a:avLst/>
                  <a:gdLst>
                    <a:gd name="connsiteX0" fmla="*/ 599627 w 599627"/>
                    <a:gd name="connsiteY0" fmla="*/ 203943 h 206873"/>
                    <a:gd name="connsiteX1" fmla="*/ 598670 w 599627"/>
                    <a:gd name="connsiteY1" fmla="*/ 206873 h 206873"/>
                    <a:gd name="connsiteX2" fmla="*/ 0 w 599627"/>
                    <a:gd name="connsiteY2" fmla="*/ 2871 h 206873"/>
                    <a:gd name="connsiteX3" fmla="*/ 957 w 599627"/>
                    <a:gd name="connsiteY3" fmla="*/ 0 h 206873"/>
                  </a:gdLst>
                  <a:ahLst/>
                  <a:cxnLst>
                    <a:cxn ang="0">
                      <a:pos x="connsiteX0" y="connsiteY0"/>
                    </a:cxn>
                    <a:cxn ang="0">
                      <a:pos x="connsiteX1" y="connsiteY1"/>
                    </a:cxn>
                    <a:cxn ang="0">
                      <a:pos x="connsiteX2" y="connsiteY2"/>
                    </a:cxn>
                    <a:cxn ang="0">
                      <a:pos x="connsiteX3" y="connsiteY3"/>
                    </a:cxn>
                  </a:cxnLst>
                  <a:rect l="l" t="t" r="r" b="b"/>
                  <a:pathLst>
                    <a:path w="599627" h="206873">
                      <a:moveTo>
                        <a:pt x="599627" y="203943"/>
                      </a:moveTo>
                      <a:lnTo>
                        <a:pt x="598670" y="206873"/>
                      </a:lnTo>
                      <a:lnTo>
                        <a:pt x="0" y="2871"/>
                      </a:lnTo>
                      <a:lnTo>
                        <a:pt x="957" y="0"/>
                      </a:lnTo>
                      <a:close/>
                    </a:path>
                  </a:pathLst>
                </a:custGeom>
                <a:grpFill/>
                <a:ln w="5978" cap="flat">
                  <a:noFill/>
                  <a:prstDash val="solid"/>
                  <a:miter/>
                </a:ln>
              </p:spPr>
              <p:txBody>
                <a:bodyPr rtlCol="0" anchor="ctr"/>
                <a:lstStyle/>
                <a:p>
                  <a:endParaRPr lang="en-GB"/>
                </a:p>
              </p:txBody>
            </p:sp>
            <p:sp>
              <p:nvSpPr>
                <p:cNvPr id="1976" name="Vrije vorm: vorm 1975">
                  <a:extLst>
                    <a:ext uri="{FF2B5EF4-FFF2-40B4-BE49-F238E27FC236}">
                      <a16:creationId xmlns:a16="http://schemas.microsoft.com/office/drawing/2014/main" id="{68DA5385-D7F2-4F2A-BA74-2F0671F423AB}"/>
                    </a:ext>
                  </a:extLst>
                </p:cNvPr>
                <p:cNvSpPr/>
                <p:nvPr/>
              </p:nvSpPr>
              <p:spPr>
                <a:xfrm>
                  <a:off x="4393041" y="2966235"/>
                  <a:ext cx="18356" cy="18397"/>
                </a:xfrm>
                <a:custGeom>
                  <a:avLst/>
                  <a:gdLst>
                    <a:gd name="connsiteX0" fmla="*/ 12079 w 18356"/>
                    <a:gd name="connsiteY0" fmla="*/ 482 h 18397"/>
                    <a:gd name="connsiteX1" fmla="*/ 17880 w 18356"/>
                    <a:gd name="connsiteY1" fmla="*/ 12145 h 18397"/>
                    <a:gd name="connsiteX2" fmla="*/ 6277 w 18356"/>
                    <a:gd name="connsiteY2" fmla="*/ 17886 h 18397"/>
                    <a:gd name="connsiteX3" fmla="*/ 476 w 18356"/>
                    <a:gd name="connsiteY3" fmla="*/ 6224 h 18397"/>
                    <a:gd name="connsiteX4" fmla="*/ 12079 w 18356"/>
                    <a:gd name="connsiteY4" fmla="*/ 48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2079" y="482"/>
                      </a:moveTo>
                      <a:cubicBezTo>
                        <a:pt x="16863" y="2097"/>
                        <a:pt x="19495" y="7360"/>
                        <a:pt x="17880" y="12145"/>
                      </a:cubicBezTo>
                      <a:cubicBezTo>
                        <a:pt x="16265" y="16989"/>
                        <a:pt x="11062" y="19561"/>
                        <a:pt x="6277" y="17886"/>
                      </a:cubicBezTo>
                      <a:cubicBezTo>
                        <a:pt x="1493" y="16272"/>
                        <a:pt x="-1139" y="11008"/>
                        <a:pt x="476" y="6224"/>
                      </a:cubicBezTo>
                      <a:cubicBezTo>
                        <a:pt x="2091" y="1439"/>
                        <a:pt x="7294" y="-1132"/>
                        <a:pt x="12079" y="482"/>
                      </a:cubicBezTo>
                      <a:close/>
                    </a:path>
                  </a:pathLst>
                </a:custGeom>
                <a:grpFill/>
                <a:ln w="5978" cap="flat">
                  <a:noFill/>
                  <a:prstDash val="solid"/>
                  <a:miter/>
                </a:ln>
              </p:spPr>
              <p:txBody>
                <a:bodyPr rtlCol="0" anchor="ctr"/>
                <a:lstStyle/>
                <a:p>
                  <a:endParaRPr lang="en-GB"/>
                </a:p>
              </p:txBody>
            </p:sp>
            <p:sp>
              <p:nvSpPr>
                <p:cNvPr id="1977" name="Vrije vorm: vorm 1976">
                  <a:extLst>
                    <a:ext uri="{FF2B5EF4-FFF2-40B4-BE49-F238E27FC236}">
                      <a16:creationId xmlns:a16="http://schemas.microsoft.com/office/drawing/2014/main" id="{D6BC9588-6350-42C2-9DAE-C7C328D8C24E}"/>
                    </a:ext>
                  </a:extLst>
                </p:cNvPr>
                <p:cNvSpPr/>
                <p:nvPr/>
              </p:nvSpPr>
              <p:spPr>
                <a:xfrm>
                  <a:off x="3795263" y="2762591"/>
                  <a:ext cx="18338" cy="18368"/>
                </a:xfrm>
                <a:custGeom>
                  <a:avLst/>
                  <a:gdLst>
                    <a:gd name="connsiteX0" fmla="*/ 12085 w 18338"/>
                    <a:gd name="connsiteY0" fmla="*/ 482 h 18368"/>
                    <a:gd name="connsiteX1" fmla="*/ 482 w 18338"/>
                    <a:gd name="connsiteY1" fmla="*/ 6224 h 18368"/>
                    <a:gd name="connsiteX2" fmla="*/ 6283 w 18338"/>
                    <a:gd name="connsiteY2" fmla="*/ 17886 h 18368"/>
                    <a:gd name="connsiteX3" fmla="*/ 17886 w 18338"/>
                    <a:gd name="connsiteY3" fmla="*/ 12145 h 18368"/>
                    <a:gd name="connsiteX4" fmla="*/ 12085 w 18338"/>
                    <a:gd name="connsiteY4" fmla="*/ 482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68">
                      <a:moveTo>
                        <a:pt x="12085" y="482"/>
                      </a:moveTo>
                      <a:cubicBezTo>
                        <a:pt x="7300" y="-1133"/>
                        <a:pt x="2096" y="1439"/>
                        <a:pt x="482" y="6224"/>
                      </a:cubicBezTo>
                      <a:cubicBezTo>
                        <a:pt x="-1133" y="11068"/>
                        <a:pt x="1439" y="16271"/>
                        <a:pt x="6283" y="17886"/>
                      </a:cubicBezTo>
                      <a:cubicBezTo>
                        <a:pt x="11068" y="19501"/>
                        <a:pt x="16271" y="16929"/>
                        <a:pt x="17886" y="12145"/>
                      </a:cubicBezTo>
                      <a:cubicBezTo>
                        <a:pt x="19441" y="7360"/>
                        <a:pt x="16869" y="2097"/>
                        <a:pt x="12085" y="482"/>
                      </a:cubicBezTo>
                      <a:close/>
                    </a:path>
                  </a:pathLst>
                </a:custGeom>
                <a:grpFill/>
                <a:ln w="5978" cap="flat">
                  <a:noFill/>
                  <a:prstDash val="solid"/>
                  <a:miter/>
                </a:ln>
              </p:spPr>
              <p:txBody>
                <a:bodyPr rtlCol="0" anchor="ctr"/>
                <a:lstStyle/>
                <a:p>
                  <a:endParaRPr lang="en-GB"/>
                </a:p>
              </p:txBody>
            </p:sp>
          </p:grpSp>
          <p:grpSp>
            <p:nvGrpSpPr>
              <p:cNvPr id="1143" name="Graphic 3">
                <a:extLst>
                  <a:ext uri="{FF2B5EF4-FFF2-40B4-BE49-F238E27FC236}">
                    <a16:creationId xmlns:a16="http://schemas.microsoft.com/office/drawing/2014/main" id="{306B5D53-E6A9-4497-A28C-A28D20BDDDD4}"/>
                  </a:ext>
                </a:extLst>
              </p:cNvPr>
              <p:cNvGrpSpPr/>
              <p:nvPr/>
            </p:nvGrpSpPr>
            <p:grpSpPr>
              <a:xfrm>
                <a:off x="3680776" y="2632883"/>
                <a:ext cx="754805" cy="292413"/>
                <a:chOff x="3680776" y="2632883"/>
                <a:chExt cx="754805" cy="292413"/>
              </a:xfrm>
              <a:grpFill/>
            </p:grpSpPr>
            <p:sp>
              <p:nvSpPr>
                <p:cNvPr id="1972" name="Vrije vorm: vorm 1971">
                  <a:extLst>
                    <a:ext uri="{FF2B5EF4-FFF2-40B4-BE49-F238E27FC236}">
                      <a16:creationId xmlns:a16="http://schemas.microsoft.com/office/drawing/2014/main" id="{82C2AF04-3DE5-470E-A772-1EFA1D24BB4D}"/>
                    </a:ext>
                  </a:extLst>
                </p:cNvPr>
                <p:cNvSpPr/>
                <p:nvPr/>
              </p:nvSpPr>
              <p:spPr>
                <a:xfrm>
                  <a:off x="3688988" y="2640529"/>
                  <a:ext cx="738439" cy="277146"/>
                </a:xfrm>
                <a:custGeom>
                  <a:avLst/>
                  <a:gdLst>
                    <a:gd name="connsiteX0" fmla="*/ 738440 w 738439"/>
                    <a:gd name="connsiteY0" fmla="*/ 274276 h 277146"/>
                    <a:gd name="connsiteX1" fmla="*/ 737364 w 738439"/>
                    <a:gd name="connsiteY1" fmla="*/ 277147 h 277146"/>
                    <a:gd name="connsiteX2" fmla="*/ 0 w 738439"/>
                    <a:gd name="connsiteY2" fmla="*/ 2871 h 277146"/>
                    <a:gd name="connsiteX3" fmla="*/ 1017 w 738439"/>
                    <a:gd name="connsiteY3" fmla="*/ 0 h 277146"/>
                  </a:gdLst>
                  <a:ahLst/>
                  <a:cxnLst>
                    <a:cxn ang="0">
                      <a:pos x="connsiteX0" y="connsiteY0"/>
                    </a:cxn>
                    <a:cxn ang="0">
                      <a:pos x="connsiteX1" y="connsiteY1"/>
                    </a:cxn>
                    <a:cxn ang="0">
                      <a:pos x="connsiteX2" y="connsiteY2"/>
                    </a:cxn>
                    <a:cxn ang="0">
                      <a:pos x="connsiteX3" y="connsiteY3"/>
                    </a:cxn>
                  </a:cxnLst>
                  <a:rect l="l" t="t" r="r" b="b"/>
                  <a:pathLst>
                    <a:path w="738439" h="277146">
                      <a:moveTo>
                        <a:pt x="738440" y="274276"/>
                      </a:moveTo>
                      <a:lnTo>
                        <a:pt x="737364" y="277147"/>
                      </a:lnTo>
                      <a:lnTo>
                        <a:pt x="0" y="2871"/>
                      </a:lnTo>
                      <a:lnTo>
                        <a:pt x="1017" y="0"/>
                      </a:lnTo>
                      <a:close/>
                    </a:path>
                  </a:pathLst>
                </a:custGeom>
                <a:grpFill/>
                <a:ln w="5978" cap="flat">
                  <a:noFill/>
                  <a:prstDash val="solid"/>
                  <a:miter/>
                </a:ln>
              </p:spPr>
              <p:txBody>
                <a:bodyPr rtlCol="0" anchor="ctr"/>
                <a:lstStyle/>
                <a:p>
                  <a:endParaRPr lang="en-GB"/>
                </a:p>
              </p:txBody>
            </p:sp>
            <p:sp>
              <p:nvSpPr>
                <p:cNvPr id="1973" name="Vrije vorm: vorm 1972">
                  <a:extLst>
                    <a:ext uri="{FF2B5EF4-FFF2-40B4-BE49-F238E27FC236}">
                      <a16:creationId xmlns:a16="http://schemas.microsoft.com/office/drawing/2014/main" id="{D9AC3BA2-20F9-4F3A-9A5E-0730A6316E48}"/>
                    </a:ext>
                  </a:extLst>
                </p:cNvPr>
                <p:cNvSpPr/>
                <p:nvPr/>
              </p:nvSpPr>
              <p:spPr>
                <a:xfrm>
                  <a:off x="4417242" y="2906884"/>
                  <a:ext cx="18339" cy="18412"/>
                </a:xfrm>
                <a:custGeom>
                  <a:avLst/>
                  <a:gdLst>
                    <a:gd name="connsiteX0" fmla="*/ 12339 w 18339"/>
                    <a:gd name="connsiteY0" fmla="*/ 564 h 18412"/>
                    <a:gd name="connsiteX1" fmla="*/ 17782 w 18339"/>
                    <a:gd name="connsiteY1" fmla="*/ 12406 h 18412"/>
                    <a:gd name="connsiteX2" fmla="*/ 6000 w 18339"/>
                    <a:gd name="connsiteY2" fmla="*/ 17848 h 18412"/>
                    <a:gd name="connsiteX3" fmla="*/ 557 w 18339"/>
                    <a:gd name="connsiteY3" fmla="*/ 6006 h 18412"/>
                    <a:gd name="connsiteX4" fmla="*/ 12339 w 18339"/>
                    <a:gd name="connsiteY4" fmla="*/ 564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2">
                      <a:moveTo>
                        <a:pt x="12339" y="564"/>
                      </a:moveTo>
                      <a:cubicBezTo>
                        <a:pt x="17064" y="2358"/>
                        <a:pt x="19516" y="7621"/>
                        <a:pt x="17782" y="12406"/>
                      </a:cubicBezTo>
                      <a:cubicBezTo>
                        <a:pt x="16047" y="17190"/>
                        <a:pt x="10784" y="19583"/>
                        <a:pt x="6000" y="17848"/>
                      </a:cubicBezTo>
                      <a:cubicBezTo>
                        <a:pt x="1275" y="16054"/>
                        <a:pt x="-1177" y="10791"/>
                        <a:pt x="557" y="6006"/>
                      </a:cubicBezTo>
                      <a:cubicBezTo>
                        <a:pt x="2352" y="1222"/>
                        <a:pt x="7615" y="-1170"/>
                        <a:pt x="12339" y="564"/>
                      </a:cubicBezTo>
                      <a:close/>
                    </a:path>
                  </a:pathLst>
                </a:custGeom>
                <a:grpFill/>
                <a:ln w="5978" cap="flat">
                  <a:noFill/>
                  <a:prstDash val="solid"/>
                  <a:miter/>
                </a:ln>
              </p:spPr>
              <p:txBody>
                <a:bodyPr rtlCol="0" anchor="ctr"/>
                <a:lstStyle/>
                <a:p>
                  <a:endParaRPr lang="en-GB"/>
                </a:p>
              </p:txBody>
            </p:sp>
            <p:sp>
              <p:nvSpPr>
                <p:cNvPr id="1974" name="Vrije vorm: vorm 1973">
                  <a:extLst>
                    <a:ext uri="{FF2B5EF4-FFF2-40B4-BE49-F238E27FC236}">
                      <a16:creationId xmlns:a16="http://schemas.microsoft.com/office/drawing/2014/main" id="{53EBFE25-7F88-47C0-AE54-16E0C671C3B5}"/>
                    </a:ext>
                  </a:extLst>
                </p:cNvPr>
                <p:cNvSpPr/>
                <p:nvPr/>
              </p:nvSpPr>
              <p:spPr>
                <a:xfrm>
                  <a:off x="3680776" y="2632883"/>
                  <a:ext cx="18338" cy="18460"/>
                </a:xfrm>
                <a:custGeom>
                  <a:avLst/>
                  <a:gdLst>
                    <a:gd name="connsiteX0" fmla="*/ 12339 w 18338"/>
                    <a:gd name="connsiteY0" fmla="*/ 588 h 18460"/>
                    <a:gd name="connsiteX1" fmla="*/ 557 w 18338"/>
                    <a:gd name="connsiteY1" fmla="*/ 6031 h 18460"/>
                    <a:gd name="connsiteX2" fmla="*/ 6000 w 18338"/>
                    <a:gd name="connsiteY2" fmla="*/ 17872 h 18460"/>
                    <a:gd name="connsiteX3" fmla="*/ 17782 w 18338"/>
                    <a:gd name="connsiteY3" fmla="*/ 12430 h 18460"/>
                    <a:gd name="connsiteX4" fmla="*/ 12339 w 18338"/>
                    <a:gd name="connsiteY4" fmla="*/ 588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0">
                      <a:moveTo>
                        <a:pt x="12339" y="588"/>
                      </a:moveTo>
                      <a:cubicBezTo>
                        <a:pt x="7615" y="-1206"/>
                        <a:pt x="2352" y="1246"/>
                        <a:pt x="557" y="6031"/>
                      </a:cubicBezTo>
                      <a:cubicBezTo>
                        <a:pt x="-1177" y="10815"/>
                        <a:pt x="1275" y="16078"/>
                        <a:pt x="6000" y="17872"/>
                      </a:cubicBezTo>
                      <a:cubicBezTo>
                        <a:pt x="10724" y="19667"/>
                        <a:pt x="15988" y="17214"/>
                        <a:pt x="17782" y="12430"/>
                      </a:cubicBezTo>
                      <a:cubicBezTo>
                        <a:pt x="19516" y="7645"/>
                        <a:pt x="17064" y="2382"/>
                        <a:pt x="12339" y="588"/>
                      </a:cubicBezTo>
                      <a:close/>
                    </a:path>
                  </a:pathLst>
                </a:custGeom>
                <a:grpFill/>
                <a:ln w="5978" cap="flat">
                  <a:noFill/>
                  <a:prstDash val="solid"/>
                  <a:miter/>
                </a:ln>
              </p:spPr>
              <p:txBody>
                <a:bodyPr rtlCol="0" anchor="ctr"/>
                <a:lstStyle/>
                <a:p>
                  <a:endParaRPr lang="en-GB"/>
                </a:p>
              </p:txBody>
            </p:sp>
          </p:grpSp>
          <p:grpSp>
            <p:nvGrpSpPr>
              <p:cNvPr id="1144" name="Graphic 3">
                <a:extLst>
                  <a:ext uri="{FF2B5EF4-FFF2-40B4-BE49-F238E27FC236}">
                    <a16:creationId xmlns:a16="http://schemas.microsoft.com/office/drawing/2014/main" id="{1AE3B49B-EFB8-4730-B25B-AE573399B483}"/>
                  </a:ext>
                </a:extLst>
              </p:cNvPr>
              <p:cNvGrpSpPr/>
              <p:nvPr/>
            </p:nvGrpSpPr>
            <p:grpSpPr>
              <a:xfrm>
                <a:off x="4773200" y="5001098"/>
                <a:ext cx="124227" cy="162957"/>
                <a:chOff x="4773200" y="5001098"/>
                <a:chExt cx="124227" cy="162957"/>
              </a:xfrm>
              <a:grpFill/>
            </p:grpSpPr>
            <p:sp>
              <p:nvSpPr>
                <p:cNvPr id="1969" name="Vrije vorm: vorm 1968">
                  <a:extLst>
                    <a:ext uri="{FF2B5EF4-FFF2-40B4-BE49-F238E27FC236}">
                      <a16:creationId xmlns:a16="http://schemas.microsoft.com/office/drawing/2014/main" id="{AA794C73-D3A6-4C6E-AC62-C5841155959C}"/>
                    </a:ext>
                  </a:extLst>
                </p:cNvPr>
                <p:cNvSpPr/>
                <p:nvPr/>
              </p:nvSpPr>
              <p:spPr>
                <a:xfrm>
                  <a:off x="4780889" y="5009014"/>
                  <a:ext cx="108849" cy="147125"/>
                </a:xfrm>
                <a:custGeom>
                  <a:avLst/>
                  <a:gdLst>
                    <a:gd name="connsiteX0" fmla="*/ 108849 w 108849"/>
                    <a:gd name="connsiteY0" fmla="*/ 1854 h 147125"/>
                    <a:gd name="connsiteX1" fmla="*/ 2452 w 108849"/>
                    <a:gd name="connsiteY1" fmla="*/ 147126 h 147125"/>
                    <a:gd name="connsiteX2" fmla="*/ 0 w 108849"/>
                    <a:gd name="connsiteY2" fmla="*/ 145331 h 147125"/>
                    <a:gd name="connsiteX3" fmla="*/ 106397 w 108849"/>
                    <a:gd name="connsiteY3" fmla="*/ 0 h 147125"/>
                  </a:gdLst>
                  <a:ahLst/>
                  <a:cxnLst>
                    <a:cxn ang="0">
                      <a:pos x="connsiteX0" y="connsiteY0"/>
                    </a:cxn>
                    <a:cxn ang="0">
                      <a:pos x="connsiteX1" y="connsiteY1"/>
                    </a:cxn>
                    <a:cxn ang="0">
                      <a:pos x="connsiteX2" y="connsiteY2"/>
                    </a:cxn>
                    <a:cxn ang="0">
                      <a:pos x="connsiteX3" y="connsiteY3"/>
                    </a:cxn>
                  </a:cxnLst>
                  <a:rect l="l" t="t" r="r" b="b"/>
                  <a:pathLst>
                    <a:path w="108849" h="147125">
                      <a:moveTo>
                        <a:pt x="108849" y="1854"/>
                      </a:moveTo>
                      <a:lnTo>
                        <a:pt x="2452" y="147126"/>
                      </a:lnTo>
                      <a:lnTo>
                        <a:pt x="0" y="145331"/>
                      </a:lnTo>
                      <a:lnTo>
                        <a:pt x="106397" y="0"/>
                      </a:lnTo>
                      <a:close/>
                    </a:path>
                  </a:pathLst>
                </a:custGeom>
                <a:grpFill/>
                <a:ln w="5978" cap="flat">
                  <a:noFill/>
                  <a:prstDash val="solid"/>
                  <a:miter/>
                </a:ln>
              </p:spPr>
              <p:txBody>
                <a:bodyPr rtlCol="0" anchor="ctr"/>
                <a:lstStyle/>
                <a:p>
                  <a:endParaRPr lang="en-GB"/>
                </a:p>
              </p:txBody>
            </p:sp>
            <p:sp>
              <p:nvSpPr>
                <p:cNvPr id="1970" name="Vrije vorm: vorm 1969">
                  <a:extLst>
                    <a:ext uri="{FF2B5EF4-FFF2-40B4-BE49-F238E27FC236}">
                      <a16:creationId xmlns:a16="http://schemas.microsoft.com/office/drawing/2014/main" id="{B60A452D-46D4-4049-A5F1-03415336E261}"/>
                    </a:ext>
                  </a:extLst>
                </p:cNvPr>
                <p:cNvSpPr/>
                <p:nvPr/>
              </p:nvSpPr>
              <p:spPr>
                <a:xfrm>
                  <a:off x="4773200" y="5145652"/>
                  <a:ext cx="18326" cy="18402"/>
                </a:xfrm>
                <a:custGeom>
                  <a:avLst/>
                  <a:gdLst>
                    <a:gd name="connsiteX0" fmla="*/ 16541 w 18326"/>
                    <a:gd name="connsiteY0" fmla="*/ 14674 h 18402"/>
                    <a:gd name="connsiteX1" fmla="*/ 3742 w 18326"/>
                    <a:gd name="connsiteY1" fmla="*/ 16588 h 18402"/>
                    <a:gd name="connsiteX2" fmla="*/ 1768 w 18326"/>
                    <a:gd name="connsiteY2" fmla="*/ 3729 h 18402"/>
                    <a:gd name="connsiteX3" fmla="*/ 14567 w 18326"/>
                    <a:gd name="connsiteY3" fmla="*/ 1815 h 18402"/>
                    <a:gd name="connsiteX4" fmla="*/ 16541 w 18326"/>
                    <a:gd name="connsiteY4" fmla="*/ 14674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02">
                      <a:moveTo>
                        <a:pt x="16541" y="14674"/>
                      </a:moveTo>
                      <a:cubicBezTo>
                        <a:pt x="13550" y="18741"/>
                        <a:pt x="7809" y="19638"/>
                        <a:pt x="3742" y="16588"/>
                      </a:cubicBezTo>
                      <a:cubicBezTo>
                        <a:pt x="-325" y="13537"/>
                        <a:pt x="-1222" y="7796"/>
                        <a:pt x="1768" y="3729"/>
                      </a:cubicBezTo>
                      <a:cubicBezTo>
                        <a:pt x="4759" y="-338"/>
                        <a:pt x="10500" y="-1235"/>
                        <a:pt x="14567" y="1815"/>
                      </a:cubicBezTo>
                      <a:cubicBezTo>
                        <a:pt x="18694" y="4865"/>
                        <a:pt x="19531" y="10607"/>
                        <a:pt x="16541" y="14674"/>
                      </a:cubicBezTo>
                      <a:close/>
                    </a:path>
                  </a:pathLst>
                </a:custGeom>
                <a:grpFill/>
                <a:ln w="5978" cap="flat">
                  <a:noFill/>
                  <a:prstDash val="solid"/>
                  <a:miter/>
                </a:ln>
              </p:spPr>
              <p:txBody>
                <a:bodyPr rtlCol="0" anchor="ctr"/>
                <a:lstStyle/>
                <a:p>
                  <a:endParaRPr lang="en-GB"/>
                </a:p>
              </p:txBody>
            </p:sp>
            <p:sp>
              <p:nvSpPr>
                <p:cNvPr id="1971" name="Vrije vorm: vorm 1970">
                  <a:extLst>
                    <a:ext uri="{FF2B5EF4-FFF2-40B4-BE49-F238E27FC236}">
                      <a16:creationId xmlns:a16="http://schemas.microsoft.com/office/drawing/2014/main" id="{74EFA572-0582-44B4-8FE6-99079722E781}"/>
                    </a:ext>
                  </a:extLst>
                </p:cNvPr>
                <p:cNvSpPr/>
                <p:nvPr/>
              </p:nvSpPr>
              <p:spPr>
                <a:xfrm>
                  <a:off x="4879118" y="5001098"/>
                  <a:ext cx="18309" cy="18420"/>
                </a:xfrm>
                <a:custGeom>
                  <a:avLst/>
                  <a:gdLst>
                    <a:gd name="connsiteX0" fmla="*/ 16541 w 18309"/>
                    <a:gd name="connsiteY0" fmla="*/ 14674 h 18420"/>
                    <a:gd name="connsiteX1" fmla="*/ 14567 w 18309"/>
                    <a:gd name="connsiteY1" fmla="*/ 1815 h 18420"/>
                    <a:gd name="connsiteX2" fmla="*/ 1768 w 18309"/>
                    <a:gd name="connsiteY2" fmla="*/ 3729 h 18420"/>
                    <a:gd name="connsiteX3" fmla="*/ 3742 w 18309"/>
                    <a:gd name="connsiteY3" fmla="*/ 16588 h 18420"/>
                    <a:gd name="connsiteX4" fmla="*/ 16541 w 18309"/>
                    <a:gd name="connsiteY4" fmla="*/ 1467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0">
                      <a:moveTo>
                        <a:pt x="16541" y="14674"/>
                      </a:moveTo>
                      <a:cubicBezTo>
                        <a:pt x="19531" y="10607"/>
                        <a:pt x="18634" y="4806"/>
                        <a:pt x="14567" y="1815"/>
                      </a:cubicBezTo>
                      <a:cubicBezTo>
                        <a:pt x="10500" y="-1235"/>
                        <a:pt x="4759" y="-338"/>
                        <a:pt x="1768" y="3729"/>
                      </a:cubicBezTo>
                      <a:cubicBezTo>
                        <a:pt x="-1222" y="7796"/>
                        <a:pt x="-325" y="13598"/>
                        <a:pt x="3742" y="16588"/>
                      </a:cubicBezTo>
                      <a:cubicBezTo>
                        <a:pt x="7809" y="19638"/>
                        <a:pt x="13490" y="18801"/>
                        <a:pt x="16541" y="14674"/>
                      </a:cubicBezTo>
                      <a:close/>
                    </a:path>
                  </a:pathLst>
                </a:custGeom>
                <a:grpFill/>
                <a:ln w="5978" cap="flat">
                  <a:noFill/>
                  <a:prstDash val="solid"/>
                  <a:miter/>
                </a:ln>
              </p:spPr>
              <p:txBody>
                <a:bodyPr rtlCol="0" anchor="ctr"/>
                <a:lstStyle/>
                <a:p>
                  <a:endParaRPr lang="en-GB"/>
                </a:p>
              </p:txBody>
            </p:sp>
          </p:grpSp>
          <p:grpSp>
            <p:nvGrpSpPr>
              <p:cNvPr id="1145" name="Graphic 3">
                <a:extLst>
                  <a:ext uri="{FF2B5EF4-FFF2-40B4-BE49-F238E27FC236}">
                    <a16:creationId xmlns:a16="http://schemas.microsoft.com/office/drawing/2014/main" id="{85C8F51C-7B9E-40E1-81F5-6C6F633DA4D3}"/>
                  </a:ext>
                </a:extLst>
              </p:cNvPr>
              <p:cNvGrpSpPr/>
              <p:nvPr/>
            </p:nvGrpSpPr>
            <p:grpSpPr>
              <a:xfrm>
                <a:off x="4532947" y="4302789"/>
                <a:ext cx="117031" cy="80916"/>
                <a:chOff x="4532947" y="4302789"/>
                <a:chExt cx="117031" cy="80916"/>
              </a:xfrm>
              <a:grpFill/>
            </p:grpSpPr>
            <p:sp>
              <p:nvSpPr>
                <p:cNvPr id="1966" name="Vrije vorm: vorm 1965">
                  <a:extLst>
                    <a:ext uri="{FF2B5EF4-FFF2-40B4-BE49-F238E27FC236}">
                      <a16:creationId xmlns:a16="http://schemas.microsoft.com/office/drawing/2014/main" id="{94B11764-AC03-47C2-9369-E14568074E0B}"/>
                    </a:ext>
                  </a:extLst>
                </p:cNvPr>
                <p:cNvSpPr/>
                <p:nvPr/>
              </p:nvSpPr>
              <p:spPr>
                <a:xfrm>
                  <a:off x="4540882" y="4310466"/>
                  <a:ext cx="101134" cy="65548"/>
                </a:xfrm>
                <a:custGeom>
                  <a:avLst/>
                  <a:gdLst>
                    <a:gd name="connsiteX0" fmla="*/ 101134 w 101134"/>
                    <a:gd name="connsiteY0" fmla="*/ 2632 h 65548"/>
                    <a:gd name="connsiteX1" fmla="*/ 1615 w 101134"/>
                    <a:gd name="connsiteY1" fmla="*/ 65548 h 65548"/>
                    <a:gd name="connsiteX2" fmla="*/ 0 w 101134"/>
                    <a:gd name="connsiteY2" fmla="*/ 62977 h 65548"/>
                    <a:gd name="connsiteX3" fmla="*/ 99519 w 101134"/>
                    <a:gd name="connsiteY3" fmla="*/ 0 h 65548"/>
                  </a:gdLst>
                  <a:ahLst/>
                  <a:cxnLst>
                    <a:cxn ang="0">
                      <a:pos x="connsiteX0" y="connsiteY0"/>
                    </a:cxn>
                    <a:cxn ang="0">
                      <a:pos x="connsiteX1" y="connsiteY1"/>
                    </a:cxn>
                    <a:cxn ang="0">
                      <a:pos x="connsiteX2" y="connsiteY2"/>
                    </a:cxn>
                    <a:cxn ang="0">
                      <a:pos x="connsiteX3" y="connsiteY3"/>
                    </a:cxn>
                  </a:cxnLst>
                  <a:rect l="l" t="t" r="r" b="b"/>
                  <a:pathLst>
                    <a:path w="101134" h="65548">
                      <a:moveTo>
                        <a:pt x="101134" y="2632"/>
                      </a:moveTo>
                      <a:lnTo>
                        <a:pt x="1615" y="65548"/>
                      </a:lnTo>
                      <a:lnTo>
                        <a:pt x="0" y="62977"/>
                      </a:lnTo>
                      <a:lnTo>
                        <a:pt x="99519" y="0"/>
                      </a:lnTo>
                      <a:close/>
                    </a:path>
                  </a:pathLst>
                </a:custGeom>
                <a:grpFill/>
                <a:ln w="5978" cap="flat">
                  <a:noFill/>
                  <a:prstDash val="solid"/>
                  <a:miter/>
                </a:ln>
              </p:spPr>
              <p:txBody>
                <a:bodyPr rtlCol="0" anchor="ctr"/>
                <a:lstStyle/>
                <a:p>
                  <a:endParaRPr lang="en-GB"/>
                </a:p>
              </p:txBody>
            </p:sp>
            <p:sp>
              <p:nvSpPr>
                <p:cNvPr id="1967" name="Vrije vorm: vorm 1966">
                  <a:extLst>
                    <a:ext uri="{FF2B5EF4-FFF2-40B4-BE49-F238E27FC236}">
                      <a16:creationId xmlns:a16="http://schemas.microsoft.com/office/drawing/2014/main" id="{A99C530A-1554-4567-BA85-11C02F1D2FE5}"/>
                    </a:ext>
                  </a:extLst>
                </p:cNvPr>
                <p:cNvSpPr/>
                <p:nvPr/>
              </p:nvSpPr>
              <p:spPr>
                <a:xfrm>
                  <a:off x="4532947" y="4365273"/>
                  <a:ext cx="18304" cy="18432"/>
                </a:xfrm>
                <a:custGeom>
                  <a:avLst/>
                  <a:gdLst>
                    <a:gd name="connsiteX0" fmla="*/ 14036 w 18304"/>
                    <a:gd name="connsiteY0" fmla="*/ 17021 h 18432"/>
                    <a:gd name="connsiteX1" fmla="*/ 1417 w 18304"/>
                    <a:gd name="connsiteY1" fmla="*/ 14090 h 18432"/>
                    <a:gd name="connsiteX2" fmla="*/ 4228 w 18304"/>
                    <a:gd name="connsiteY2" fmla="*/ 1411 h 18432"/>
                    <a:gd name="connsiteX3" fmla="*/ 16847 w 18304"/>
                    <a:gd name="connsiteY3" fmla="*/ 4342 h 18432"/>
                    <a:gd name="connsiteX4" fmla="*/ 14036 w 18304"/>
                    <a:gd name="connsiteY4" fmla="*/ 17021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2">
                      <a:moveTo>
                        <a:pt x="14036" y="17021"/>
                      </a:moveTo>
                      <a:cubicBezTo>
                        <a:pt x="9790" y="19712"/>
                        <a:pt x="4108" y="18456"/>
                        <a:pt x="1417" y="14090"/>
                      </a:cubicBezTo>
                      <a:cubicBezTo>
                        <a:pt x="-1275" y="9784"/>
                        <a:pt x="-19" y="4103"/>
                        <a:pt x="4228" y="1411"/>
                      </a:cubicBezTo>
                      <a:cubicBezTo>
                        <a:pt x="8474" y="-1280"/>
                        <a:pt x="14156" y="-24"/>
                        <a:pt x="16847" y="4342"/>
                      </a:cubicBezTo>
                      <a:cubicBezTo>
                        <a:pt x="19598" y="8648"/>
                        <a:pt x="18342" y="14330"/>
                        <a:pt x="14036" y="17021"/>
                      </a:cubicBezTo>
                      <a:close/>
                    </a:path>
                  </a:pathLst>
                </a:custGeom>
                <a:grpFill/>
                <a:ln w="5978" cap="flat">
                  <a:noFill/>
                  <a:prstDash val="solid"/>
                  <a:miter/>
                </a:ln>
              </p:spPr>
              <p:txBody>
                <a:bodyPr rtlCol="0" anchor="ctr"/>
                <a:lstStyle/>
                <a:p>
                  <a:endParaRPr lang="en-GB"/>
                </a:p>
              </p:txBody>
            </p:sp>
            <p:sp>
              <p:nvSpPr>
                <p:cNvPr id="1968" name="Vrije vorm: vorm 1967">
                  <a:extLst>
                    <a:ext uri="{FF2B5EF4-FFF2-40B4-BE49-F238E27FC236}">
                      <a16:creationId xmlns:a16="http://schemas.microsoft.com/office/drawing/2014/main" id="{35BA9060-50C4-4B03-9F62-32F9604FC135}"/>
                    </a:ext>
                  </a:extLst>
                </p:cNvPr>
                <p:cNvSpPr/>
                <p:nvPr/>
              </p:nvSpPr>
              <p:spPr>
                <a:xfrm>
                  <a:off x="4631662" y="4302789"/>
                  <a:ext cx="18316" cy="18444"/>
                </a:xfrm>
                <a:custGeom>
                  <a:avLst/>
                  <a:gdLst>
                    <a:gd name="connsiteX0" fmla="*/ 14063 w 18316"/>
                    <a:gd name="connsiteY0" fmla="*/ 17007 h 18444"/>
                    <a:gd name="connsiteX1" fmla="*/ 16873 w 18316"/>
                    <a:gd name="connsiteY1" fmla="*/ 4327 h 18444"/>
                    <a:gd name="connsiteX2" fmla="*/ 4254 w 18316"/>
                    <a:gd name="connsiteY2" fmla="*/ 1397 h 18444"/>
                    <a:gd name="connsiteX3" fmla="*/ 1443 w 18316"/>
                    <a:gd name="connsiteY3" fmla="*/ 14076 h 18444"/>
                    <a:gd name="connsiteX4" fmla="*/ 14063 w 18316"/>
                    <a:gd name="connsiteY4" fmla="*/ 17007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14063" y="17007"/>
                      </a:moveTo>
                      <a:cubicBezTo>
                        <a:pt x="18309" y="14315"/>
                        <a:pt x="19625" y="8633"/>
                        <a:pt x="16873" y="4327"/>
                      </a:cubicBezTo>
                      <a:cubicBezTo>
                        <a:pt x="14182" y="21"/>
                        <a:pt x="8501" y="-1294"/>
                        <a:pt x="4254" y="1397"/>
                      </a:cubicBezTo>
                      <a:cubicBezTo>
                        <a:pt x="8" y="4088"/>
                        <a:pt x="-1308" y="9770"/>
                        <a:pt x="1443" y="14076"/>
                      </a:cubicBezTo>
                      <a:cubicBezTo>
                        <a:pt x="4134" y="18442"/>
                        <a:pt x="9756" y="19757"/>
                        <a:pt x="14063" y="17007"/>
                      </a:cubicBezTo>
                      <a:close/>
                    </a:path>
                  </a:pathLst>
                </a:custGeom>
                <a:grpFill/>
                <a:ln w="5978" cap="flat">
                  <a:noFill/>
                  <a:prstDash val="solid"/>
                  <a:miter/>
                </a:ln>
              </p:spPr>
              <p:txBody>
                <a:bodyPr rtlCol="0" anchor="ctr"/>
                <a:lstStyle/>
                <a:p>
                  <a:endParaRPr lang="en-GB"/>
                </a:p>
              </p:txBody>
            </p:sp>
          </p:grpSp>
          <p:grpSp>
            <p:nvGrpSpPr>
              <p:cNvPr id="1146" name="Graphic 3">
                <a:extLst>
                  <a:ext uri="{FF2B5EF4-FFF2-40B4-BE49-F238E27FC236}">
                    <a16:creationId xmlns:a16="http://schemas.microsoft.com/office/drawing/2014/main" id="{9EAEA98D-A2B8-4B01-8FD5-F7CC5899F30E}"/>
                  </a:ext>
                </a:extLst>
              </p:cNvPr>
              <p:cNvGrpSpPr/>
              <p:nvPr/>
            </p:nvGrpSpPr>
            <p:grpSpPr>
              <a:xfrm>
                <a:off x="4684350" y="4746997"/>
                <a:ext cx="99382" cy="103111"/>
                <a:chOff x="4684350" y="4746997"/>
                <a:chExt cx="99382" cy="103111"/>
              </a:xfrm>
              <a:grpFill/>
            </p:grpSpPr>
            <p:sp>
              <p:nvSpPr>
                <p:cNvPr id="1963" name="Vrije vorm: vorm 1962">
                  <a:extLst>
                    <a:ext uri="{FF2B5EF4-FFF2-40B4-BE49-F238E27FC236}">
                      <a16:creationId xmlns:a16="http://schemas.microsoft.com/office/drawing/2014/main" id="{44206D0F-B29F-448C-AE54-015AAE986651}"/>
                    </a:ext>
                  </a:extLst>
                </p:cNvPr>
                <p:cNvSpPr/>
                <p:nvPr/>
              </p:nvSpPr>
              <p:spPr>
                <a:xfrm>
                  <a:off x="4692135" y="4754833"/>
                  <a:ext cx="83849" cy="87497"/>
                </a:xfrm>
                <a:custGeom>
                  <a:avLst/>
                  <a:gdLst>
                    <a:gd name="connsiteX0" fmla="*/ 83849 w 83849"/>
                    <a:gd name="connsiteY0" fmla="*/ 2093 h 87497"/>
                    <a:gd name="connsiteX1" fmla="*/ 2213 w 83849"/>
                    <a:gd name="connsiteY1" fmla="*/ 87498 h 87497"/>
                    <a:gd name="connsiteX2" fmla="*/ 0 w 83849"/>
                    <a:gd name="connsiteY2" fmla="*/ 85345 h 87497"/>
                    <a:gd name="connsiteX3" fmla="*/ 81637 w 83849"/>
                    <a:gd name="connsiteY3" fmla="*/ 0 h 87497"/>
                  </a:gdLst>
                  <a:ahLst/>
                  <a:cxnLst>
                    <a:cxn ang="0">
                      <a:pos x="connsiteX0" y="connsiteY0"/>
                    </a:cxn>
                    <a:cxn ang="0">
                      <a:pos x="connsiteX1" y="connsiteY1"/>
                    </a:cxn>
                    <a:cxn ang="0">
                      <a:pos x="connsiteX2" y="connsiteY2"/>
                    </a:cxn>
                    <a:cxn ang="0">
                      <a:pos x="connsiteX3" y="connsiteY3"/>
                    </a:cxn>
                  </a:cxnLst>
                  <a:rect l="l" t="t" r="r" b="b"/>
                  <a:pathLst>
                    <a:path w="83849" h="87497">
                      <a:moveTo>
                        <a:pt x="83849" y="2093"/>
                      </a:moveTo>
                      <a:lnTo>
                        <a:pt x="2213" y="87498"/>
                      </a:lnTo>
                      <a:lnTo>
                        <a:pt x="0" y="85345"/>
                      </a:lnTo>
                      <a:lnTo>
                        <a:pt x="81637" y="0"/>
                      </a:lnTo>
                      <a:close/>
                    </a:path>
                  </a:pathLst>
                </a:custGeom>
                <a:grpFill/>
                <a:ln w="5978" cap="flat">
                  <a:noFill/>
                  <a:prstDash val="solid"/>
                  <a:miter/>
                </a:ln>
              </p:spPr>
              <p:txBody>
                <a:bodyPr rtlCol="0" anchor="ctr"/>
                <a:lstStyle/>
                <a:p>
                  <a:endParaRPr lang="en-GB"/>
                </a:p>
              </p:txBody>
            </p:sp>
            <p:sp>
              <p:nvSpPr>
                <p:cNvPr id="1964" name="Vrije vorm: vorm 1963">
                  <a:extLst>
                    <a:ext uri="{FF2B5EF4-FFF2-40B4-BE49-F238E27FC236}">
                      <a16:creationId xmlns:a16="http://schemas.microsoft.com/office/drawing/2014/main" id="{5F97C3EE-1EE5-4469-BAC9-5379C49A44ED}"/>
                    </a:ext>
                  </a:extLst>
                </p:cNvPr>
                <p:cNvSpPr/>
                <p:nvPr/>
              </p:nvSpPr>
              <p:spPr>
                <a:xfrm>
                  <a:off x="4684350" y="4831684"/>
                  <a:ext cx="18343" cy="18423"/>
                </a:xfrm>
                <a:custGeom>
                  <a:avLst/>
                  <a:gdLst>
                    <a:gd name="connsiteX0" fmla="*/ 15799 w 18343"/>
                    <a:gd name="connsiteY0" fmla="*/ 15611 h 18423"/>
                    <a:gd name="connsiteX1" fmla="*/ 2821 w 18343"/>
                    <a:gd name="connsiteY1" fmla="*/ 15851 h 18423"/>
                    <a:gd name="connsiteX2" fmla="*/ 2522 w 18343"/>
                    <a:gd name="connsiteY2" fmla="*/ 2813 h 18423"/>
                    <a:gd name="connsiteX3" fmla="*/ 15500 w 18343"/>
                    <a:gd name="connsiteY3" fmla="*/ 2573 h 18423"/>
                    <a:gd name="connsiteX4" fmla="*/ 15799 w 18343"/>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3">
                      <a:moveTo>
                        <a:pt x="15799" y="15611"/>
                      </a:moveTo>
                      <a:cubicBezTo>
                        <a:pt x="12270" y="19260"/>
                        <a:pt x="6469" y="19379"/>
                        <a:pt x="2821" y="15851"/>
                      </a:cubicBezTo>
                      <a:cubicBezTo>
                        <a:pt x="-827" y="12322"/>
                        <a:pt x="-947" y="6461"/>
                        <a:pt x="2522" y="2813"/>
                      </a:cubicBezTo>
                      <a:cubicBezTo>
                        <a:pt x="6050" y="-836"/>
                        <a:pt x="11852" y="-955"/>
                        <a:pt x="15500" y="2573"/>
                      </a:cubicBezTo>
                      <a:cubicBezTo>
                        <a:pt x="19148" y="6102"/>
                        <a:pt x="19328" y="11963"/>
                        <a:pt x="15799" y="15611"/>
                      </a:cubicBezTo>
                      <a:close/>
                    </a:path>
                  </a:pathLst>
                </a:custGeom>
                <a:grpFill/>
                <a:ln w="5978" cap="flat">
                  <a:noFill/>
                  <a:prstDash val="solid"/>
                  <a:miter/>
                </a:ln>
              </p:spPr>
              <p:txBody>
                <a:bodyPr rtlCol="0" anchor="ctr"/>
                <a:lstStyle/>
                <a:p>
                  <a:endParaRPr lang="en-GB"/>
                </a:p>
              </p:txBody>
            </p:sp>
            <p:sp>
              <p:nvSpPr>
                <p:cNvPr id="1965" name="Vrije vorm: vorm 1964">
                  <a:extLst>
                    <a:ext uri="{FF2B5EF4-FFF2-40B4-BE49-F238E27FC236}">
                      <a16:creationId xmlns:a16="http://schemas.microsoft.com/office/drawing/2014/main" id="{631757B7-41A4-4947-96B0-384766790A03}"/>
                    </a:ext>
                  </a:extLst>
                </p:cNvPr>
                <p:cNvSpPr/>
                <p:nvPr/>
              </p:nvSpPr>
              <p:spPr>
                <a:xfrm>
                  <a:off x="4765366" y="4746997"/>
                  <a:ext cx="18366" cy="18423"/>
                </a:xfrm>
                <a:custGeom>
                  <a:avLst/>
                  <a:gdLst>
                    <a:gd name="connsiteX0" fmla="*/ 15822 w 18366"/>
                    <a:gd name="connsiteY0" fmla="*/ 15611 h 18423"/>
                    <a:gd name="connsiteX1" fmla="*/ 15523 w 18366"/>
                    <a:gd name="connsiteY1" fmla="*/ 2573 h 18423"/>
                    <a:gd name="connsiteX2" fmla="*/ 2545 w 18366"/>
                    <a:gd name="connsiteY2" fmla="*/ 2813 h 18423"/>
                    <a:gd name="connsiteX3" fmla="*/ 2844 w 18366"/>
                    <a:gd name="connsiteY3" fmla="*/ 15851 h 18423"/>
                    <a:gd name="connsiteX4" fmla="*/ 15822 w 18366"/>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3">
                      <a:moveTo>
                        <a:pt x="15822" y="15611"/>
                      </a:moveTo>
                      <a:cubicBezTo>
                        <a:pt x="19351" y="11963"/>
                        <a:pt x="19171" y="6102"/>
                        <a:pt x="15523" y="2573"/>
                      </a:cubicBezTo>
                      <a:cubicBezTo>
                        <a:pt x="11875" y="-955"/>
                        <a:pt x="6073" y="-836"/>
                        <a:pt x="2545" y="2813"/>
                      </a:cubicBezTo>
                      <a:cubicBezTo>
                        <a:pt x="-984" y="6461"/>
                        <a:pt x="-804" y="12322"/>
                        <a:pt x="2844" y="15851"/>
                      </a:cubicBezTo>
                      <a:cubicBezTo>
                        <a:pt x="6492" y="19379"/>
                        <a:pt x="12293" y="19260"/>
                        <a:pt x="15822" y="15611"/>
                      </a:cubicBezTo>
                      <a:close/>
                    </a:path>
                  </a:pathLst>
                </a:custGeom>
                <a:grpFill/>
                <a:ln w="5978" cap="flat">
                  <a:noFill/>
                  <a:prstDash val="solid"/>
                  <a:miter/>
                </a:ln>
              </p:spPr>
              <p:txBody>
                <a:bodyPr rtlCol="0" anchor="ctr"/>
                <a:lstStyle/>
                <a:p>
                  <a:endParaRPr lang="en-GB"/>
                </a:p>
              </p:txBody>
            </p:sp>
          </p:grpSp>
          <p:grpSp>
            <p:nvGrpSpPr>
              <p:cNvPr id="1147" name="Graphic 3">
                <a:extLst>
                  <a:ext uri="{FF2B5EF4-FFF2-40B4-BE49-F238E27FC236}">
                    <a16:creationId xmlns:a16="http://schemas.microsoft.com/office/drawing/2014/main" id="{BADEBC13-7168-4137-A281-1D036614286E}"/>
                  </a:ext>
                </a:extLst>
              </p:cNvPr>
              <p:cNvGrpSpPr/>
              <p:nvPr/>
            </p:nvGrpSpPr>
            <p:grpSpPr>
              <a:xfrm>
                <a:off x="3957432" y="3096107"/>
                <a:ext cx="438809" cy="111685"/>
                <a:chOff x="3957432" y="3096107"/>
                <a:chExt cx="438809" cy="111685"/>
              </a:xfrm>
              <a:grpFill/>
            </p:grpSpPr>
            <p:sp>
              <p:nvSpPr>
                <p:cNvPr id="1960" name="Vrije vorm: vorm 1959">
                  <a:extLst>
                    <a:ext uri="{FF2B5EF4-FFF2-40B4-BE49-F238E27FC236}">
                      <a16:creationId xmlns:a16="http://schemas.microsoft.com/office/drawing/2014/main" id="{1213B4CC-192C-4018-94D7-4DC5B0BED942}"/>
                    </a:ext>
                  </a:extLst>
                </p:cNvPr>
                <p:cNvSpPr/>
                <p:nvPr/>
              </p:nvSpPr>
              <p:spPr>
                <a:xfrm>
                  <a:off x="3965836" y="3103676"/>
                  <a:ext cx="421999" cy="96469"/>
                </a:xfrm>
                <a:custGeom>
                  <a:avLst/>
                  <a:gdLst>
                    <a:gd name="connsiteX0" fmla="*/ 422000 w 421999"/>
                    <a:gd name="connsiteY0" fmla="*/ 93479 h 96469"/>
                    <a:gd name="connsiteX1" fmla="*/ 421401 w 421999"/>
                    <a:gd name="connsiteY1" fmla="*/ 96469 h 96469"/>
                    <a:gd name="connsiteX2" fmla="*/ 0 w 421999"/>
                    <a:gd name="connsiteY2" fmla="*/ 3050 h 96469"/>
                    <a:gd name="connsiteX3" fmla="*/ 658 w 421999"/>
                    <a:gd name="connsiteY3" fmla="*/ 0 h 96469"/>
                  </a:gdLst>
                  <a:ahLst/>
                  <a:cxnLst>
                    <a:cxn ang="0">
                      <a:pos x="connsiteX0" y="connsiteY0"/>
                    </a:cxn>
                    <a:cxn ang="0">
                      <a:pos x="connsiteX1" y="connsiteY1"/>
                    </a:cxn>
                    <a:cxn ang="0">
                      <a:pos x="connsiteX2" y="connsiteY2"/>
                    </a:cxn>
                    <a:cxn ang="0">
                      <a:pos x="connsiteX3" y="connsiteY3"/>
                    </a:cxn>
                  </a:cxnLst>
                  <a:rect l="l" t="t" r="r" b="b"/>
                  <a:pathLst>
                    <a:path w="421999" h="96469">
                      <a:moveTo>
                        <a:pt x="422000" y="93479"/>
                      </a:moveTo>
                      <a:lnTo>
                        <a:pt x="421401" y="96469"/>
                      </a:lnTo>
                      <a:lnTo>
                        <a:pt x="0" y="3050"/>
                      </a:lnTo>
                      <a:lnTo>
                        <a:pt x="658" y="0"/>
                      </a:lnTo>
                      <a:close/>
                    </a:path>
                  </a:pathLst>
                </a:custGeom>
                <a:grpFill/>
                <a:ln w="5978" cap="flat">
                  <a:noFill/>
                  <a:prstDash val="solid"/>
                  <a:miter/>
                </a:ln>
              </p:spPr>
              <p:txBody>
                <a:bodyPr rtlCol="0" anchor="ctr"/>
                <a:lstStyle/>
                <a:p>
                  <a:endParaRPr lang="en-GB"/>
                </a:p>
              </p:txBody>
            </p:sp>
            <p:sp>
              <p:nvSpPr>
                <p:cNvPr id="1961" name="Vrije vorm: vorm 1960">
                  <a:extLst>
                    <a:ext uri="{FF2B5EF4-FFF2-40B4-BE49-F238E27FC236}">
                      <a16:creationId xmlns:a16="http://schemas.microsoft.com/office/drawing/2014/main" id="{64427227-1DEF-45FB-A212-86762FF45F1E}"/>
                    </a:ext>
                  </a:extLst>
                </p:cNvPr>
                <p:cNvSpPr/>
                <p:nvPr/>
              </p:nvSpPr>
              <p:spPr>
                <a:xfrm>
                  <a:off x="4377934" y="3189346"/>
                  <a:ext cx="18308" cy="18445"/>
                </a:xfrm>
                <a:custGeom>
                  <a:avLst/>
                  <a:gdLst>
                    <a:gd name="connsiteX0" fmla="*/ 11098 w 18308"/>
                    <a:gd name="connsiteY0" fmla="*/ 213 h 18445"/>
                    <a:gd name="connsiteX1" fmla="*/ 18095 w 18308"/>
                    <a:gd name="connsiteY1" fmla="*/ 11217 h 18445"/>
                    <a:gd name="connsiteX2" fmla="*/ 7210 w 18308"/>
                    <a:gd name="connsiteY2" fmla="*/ 18215 h 18445"/>
                    <a:gd name="connsiteX3" fmla="*/ 213 w 18308"/>
                    <a:gd name="connsiteY3" fmla="*/ 7210 h 18445"/>
                    <a:gd name="connsiteX4" fmla="*/ 11098 w 18308"/>
                    <a:gd name="connsiteY4" fmla="*/ 213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5">
                      <a:moveTo>
                        <a:pt x="11098" y="213"/>
                      </a:moveTo>
                      <a:cubicBezTo>
                        <a:pt x="16062" y="1289"/>
                        <a:pt x="19172" y="6253"/>
                        <a:pt x="18095" y="11217"/>
                      </a:cubicBezTo>
                      <a:cubicBezTo>
                        <a:pt x="17019" y="16181"/>
                        <a:pt x="12115" y="19351"/>
                        <a:pt x="7210" y="18215"/>
                      </a:cubicBezTo>
                      <a:cubicBezTo>
                        <a:pt x="2246" y="17138"/>
                        <a:pt x="-864" y="12174"/>
                        <a:pt x="213" y="7210"/>
                      </a:cubicBezTo>
                      <a:cubicBezTo>
                        <a:pt x="1289" y="2246"/>
                        <a:pt x="6134" y="-864"/>
                        <a:pt x="11098" y="213"/>
                      </a:cubicBezTo>
                      <a:close/>
                    </a:path>
                  </a:pathLst>
                </a:custGeom>
                <a:grpFill/>
                <a:ln w="5978" cap="flat">
                  <a:noFill/>
                  <a:prstDash val="solid"/>
                  <a:miter/>
                </a:ln>
              </p:spPr>
              <p:txBody>
                <a:bodyPr rtlCol="0" anchor="ctr"/>
                <a:lstStyle/>
                <a:p>
                  <a:endParaRPr lang="en-GB"/>
                </a:p>
              </p:txBody>
            </p:sp>
            <p:sp>
              <p:nvSpPr>
                <p:cNvPr id="1962" name="Vrije vorm: vorm 1961">
                  <a:extLst>
                    <a:ext uri="{FF2B5EF4-FFF2-40B4-BE49-F238E27FC236}">
                      <a16:creationId xmlns:a16="http://schemas.microsoft.com/office/drawing/2014/main" id="{4B602BB3-B49E-4416-AEC0-2E799BD64980}"/>
                    </a:ext>
                  </a:extLst>
                </p:cNvPr>
                <p:cNvSpPr/>
                <p:nvPr/>
              </p:nvSpPr>
              <p:spPr>
                <a:xfrm>
                  <a:off x="3957432" y="3096107"/>
                  <a:ext cx="18323" cy="18427"/>
                </a:xfrm>
                <a:custGeom>
                  <a:avLst/>
                  <a:gdLst>
                    <a:gd name="connsiteX0" fmla="*/ 11095 w 18323"/>
                    <a:gd name="connsiteY0" fmla="*/ 213 h 18427"/>
                    <a:gd name="connsiteX1" fmla="*/ 210 w 18323"/>
                    <a:gd name="connsiteY1" fmla="*/ 7210 h 18427"/>
                    <a:gd name="connsiteX2" fmla="*/ 7208 w 18323"/>
                    <a:gd name="connsiteY2" fmla="*/ 18215 h 18427"/>
                    <a:gd name="connsiteX3" fmla="*/ 18093 w 18323"/>
                    <a:gd name="connsiteY3" fmla="*/ 11217 h 18427"/>
                    <a:gd name="connsiteX4" fmla="*/ 11095 w 18323"/>
                    <a:gd name="connsiteY4" fmla="*/ 213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7">
                      <a:moveTo>
                        <a:pt x="11095" y="213"/>
                      </a:moveTo>
                      <a:cubicBezTo>
                        <a:pt x="6131" y="-864"/>
                        <a:pt x="1287" y="2246"/>
                        <a:pt x="210" y="7210"/>
                      </a:cubicBezTo>
                      <a:cubicBezTo>
                        <a:pt x="-867" y="12174"/>
                        <a:pt x="2303" y="17079"/>
                        <a:pt x="7208" y="18215"/>
                      </a:cubicBezTo>
                      <a:cubicBezTo>
                        <a:pt x="12172" y="19291"/>
                        <a:pt x="17016" y="16181"/>
                        <a:pt x="18093" y="11217"/>
                      </a:cubicBezTo>
                      <a:cubicBezTo>
                        <a:pt x="19229" y="6194"/>
                        <a:pt x="16059" y="1289"/>
                        <a:pt x="11095" y="213"/>
                      </a:cubicBezTo>
                      <a:close/>
                    </a:path>
                  </a:pathLst>
                </a:custGeom>
                <a:grpFill/>
                <a:ln w="5978" cap="flat">
                  <a:noFill/>
                  <a:prstDash val="solid"/>
                  <a:miter/>
                </a:ln>
              </p:spPr>
              <p:txBody>
                <a:bodyPr rtlCol="0" anchor="ctr"/>
                <a:lstStyle/>
                <a:p>
                  <a:endParaRPr lang="en-GB"/>
                </a:p>
              </p:txBody>
            </p:sp>
          </p:grpSp>
          <p:grpSp>
            <p:nvGrpSpPr>
              <p:cNvPr id="1148" name="Graphic 3">
                <a:extLst>
                  <a:ext uri="{FF2B5EF4-FFF2-40B4-BE49-F238E27FC236}">
                    <a16:creationId xmlns:a16="http://schemas.microsoft.com/office/drawing/2014/main" id="{3F831A72-2D28-41B4-B4A1-05229A019D91}"/>
                  </a:ext>
                </a:extLst>
              </p:cNvPr>
              <p:cNvGrpSpPr/>
              <p:nvPr/>
            </p:nvGrpSpPr>
            <p:grpSpPr>
              <a:xfrm>
                <a:off x="3632644" y="2566868"/>
                <a:ext cx="812014" cy="327931"/>
                <a:chOff x="3632644" y="2566868"/>
                <a:chExt cx="812014" cy="327931"/>
              </a:xfrm>
              <a:grpFill/>
            </p:grpSpPr>
            <p:sp>
              <p:nvSpPr>
                <p:cNvPr id="1957" name="Vrije vorm: vorm 1956">
                  <a:extLst>
                    <a:ext uri="{FF2B5EF4-FFF2-40B4-BE49-F238E27FC236}">
                      <a16:creationId xmlns:a16="http://schemas.microsoft.com/office/drawing/2014/main" id="{64342625-59C0-4D92-9CC7-1D8002A541E4}"/>
                    </a:ext>
                  </a:extLst>
                </p:cNvPr>
                <p:cNvSpPr/>
                <p:nvPr/>
              </p:nvSpPr>
              <p:spPr>
                <a:xfrm>
                  <a:off x="3640844" y="2574502"/>
                  <a:ext cx="795615" cy="312672"/>
                </a:xfrm>
                <a:custGeom>
                  <a:avLst/>
                  <a:gdLst>
                    <a:gd name="connsiteX0" fmla="*/ 795616 w 795615"/>
                    <a:gd name="connsiteY0" fmla="*/ 309861 h 312672"/>
                    <a:gd name="connsiteX1" fmla="*/ 794539 w 795615"/>
                    <a:gd name="connsiteY1" fmla="*/ 312672 h 312672"/>
                    <a:gd name="connsiteX2" fmla="*/ 0 w 795615"/>
                    <a:gd name="connsiteY2" fmla="*/ 2871 h 312672"/>
                    <a:gd name="connsiteX3" fmla="*/ 1076 w 795615"/>
                    <a:gd name="connsiteY3" fmla="*/ 0 h 312672"/>
                  </a:gdLst>
                  <a:ahLst/>
                  <a:cxnLst>
                    <a:cxn ang="0">
                      <a:pos x="connsiteX0" y="connsiteY0"/>
                    </a:cxn>
                    <a:cxn ang="0">
                      <a:pos x="connsiteX1" y="connsiteY1"/>
                    </a:cxn>
                    <a:cxn ang="0">
                      <a:pos x="connsiteX2" y="connsiteY2"/>
                    </a:cxn>
                    <a:cxn ang="0">
                      <a:pos x="connsiteX3" y="connsiteY3"/>
                    </a:cxn>
                  </a:cxnLst>
                  <a:rect l="l" t="t" r="r" b="b"/>
                  <a:pathLst>
                    <a:path w="795615" h="312672">
                      <a:moveTo>
                        <a:pt x="795616" y="309861"/>
                      </a:moveTo>
                      <a:lnTo>
                        <a:pt x="794539" y="312672"/>
                      </a:lnTo>
                      <a:lnTo>
                        <a:pt x="0" y="2871"/>
                      </a:lnTo>
                      <a:lnTo>
                        <a:pt x="1076" y="0"/>
                      </a:lnTo>
                      <a:close/>
                    </a:path>
                  </a:pathLst>
                </a:custGeom>
                <a:grpFill/>
                <a:ln w="5978" cap="flat">
                  <a:noFill/>
                  <a:prstDash val="solid"/>
                  <a:miter/>
                </a:ln>
              </p:spPr>
              <p:txBody>
                <a:bodyPr rtlCol="0" anchor="ctr"/>
                <a:lstStyle/>
                <a:p>
                  <a:endParaRPr lang="en-GB"/>
                </a:p>
              </p:txBody>
            </p:sp>
            <p:sp>
              <p:nvSpPr>
                <p:cNvPr id="1958" name="Vrije vorm: vorm 1957">
                  <a:extLst>
                    <a:ext uri="{FF2B5EF4-FFF2-40B4-BE49-F238E27FC236}">
                      <a16:creationId xmlns:a16="http://schemas.microsoft.com/office/drawing/2014/main" id="{1796F25B-2FE6-4F48-BDAA-56D73EB0C664}"/>
                    </a:ext>
                  </a:extLst>
                </p:cNvPr>
                <p:cNvSpPr/>
                <p:nvPr/>
              </p:nvSpPr>
              <p:spPr>
                <a:xfrm>
                  <a:off x="4426346" y="2876378"/>
                  <a:ext cx="18313" cy="18421"/>
                </a:xfrm>
                <a:custGeom>
                  <a:avLst/>
                  <a:gdLst>
                    <a:gd name="connsiteX0" fmla="*/ 12446 w 18313"/>
                    <a:gd name="connsiteY0" fmla="*/ 629 h 18421"/>
                    <a:gd name="connsiteX1" fmla="*/ 17709 w 18313"/>
                    <a:gd name="connsiteY1" fmla="*/ 12530 h 18421"/>
                    <a:gd name="connsiteX2" fmla="*/ 5867 w 18313"/>
                    <a:gd name="connsiteY2" fmla="*/ 17793 h 18421"/>
                    <a:gd name="connsiteX3" fmla="*/ 604 w 18313"/>
                    <a:gd name="connsiteY3" fmla="*/ 5892 h 18421"/>
                    <a:gd name="connsiteX4" fmla="*/ 12446 w 18313"/>
                    <a:gd name="connsiteY4" fmla="*/ 62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1">
                      <a:moveTo>
                        <a:pt x="12446" y="629"/>
                      </a:moveTo>
                      <a:cubicBezTo>
                        <a:pt x="17171" y="2483"/>
                        <a:pt x="19503" y="7806"/>
                        <a:pt x="17709" y="12530"/>
                      </a:cubicBezTo>
                      <a:cubicBezTo>
                        <a:pt x="15915" y="17255"/>
                        <a:pt x="10592" y="19647"/>
                        <a:pt x="5867" y="17793"/>
                      </a:cubicBezTo>
                      <a:cubicBezTo>
                        <a:pt x="1143" y="15939"/>
                        <a:pt x="-1190" y="10617"/>
                        <a:pt x="604" y="5892"/>
                      </a:cubicBezTo>
                      <a:cubicBezTo>
                        <a:pt x="2398" y="1167"/>
                        <a:pt x="7721" y="-1225"/>
                        <a:pt x="12446" y="629"/>
                      </a:cubicBezTo>
                      <a:close/>
                    </a:path>
                  </a:pathLst>
                </a:custGeom>
                <a:grpFill/>
                <a:ln w="5978" cap="flat">
                  <a:noFill/>
                  <a:prstDash val="solid"/>
                  <a:miter/>
                </a:ln>
              </p:spPr>
              <p:txBody>
                <a:bodyPr rtlCol="0" anchor="ctr"/>
                <a:lstStyle/>
                <a:p>
                  <a:endParaRPr lang="en-GB"/>
                </a:p>
              </p:txBody>
            </p:sp>
            <p:sp>
              <p:nvSpPr>
                <p:cNvPr id="1959" name="Vrije vorm: vorm 1958">
                  <a:extLst>
                    <a:ext uri="{FF2B5EF4-FFF2-40B4-BE49-F238E27FC236}">
                      <a16:creationId xmlns:a16="http://schemas.microsoft.com/office/drawing/2014/main" id="{6AD6E18B-CA83-4228-AD25-F0CB3DCD6B37}"/>
                    </a:ext>
                  </a:extLst>
                </p:cNvPr>
                <p:cNvSpPr/>
                <p:nvPr/>
              </p:nvSpPr>
              <p:spPr>
                <a:xfrm>
                  <a:off x="3632644" y="2566868"/>
                  <a:ext cx="18337" cy="18436"/>
                </a:xfrm>
                <a:custGeom>
                  <a:avLst/>
                  <a:gdLst>
                    <a:gd name="connsiteX0" fmla="*/ 12446 w 18337"/>
                    <a:gd name="connsiteY0" fmla="*/ 636 h 18436"/>
                    <a:gd name="connsiteX1" fmla="*/ 604 w 18337"/>
                    <a:gd name="connsiteY1" fmla="*/ 5899 h 18436"/>
                    <a:gd name="connsiteX2" fmla="*/ 5867 w 18337"/>
                    <a:gd name="connsiteY2" fmla="*/ 17801 h 18436"/>
                    <a:gd name="connsiteX3" fmla="*/ 17709 w 18337"/>
                    <a:gd name="connsiteY3" fmla="*/ 12538 h 18436"/>
                    <a:gd name="connsiteX4" fmla="*/ 12446 w 18337"/>
                    <a:gd name="connsiteY4" fmla="*/ 63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2446" y="636"/>
                      </a:moveTo>
                      <a:cubicBezTo>
                        <a:pt x="7721" y="-1218"/>
                        <a:pt x="2398" y="1115"/>
                        <a:pt x="604" y="5899"/>
                      </a:cubicBezTo>
                      <a:cubicBezTo>
                        <a:pt x="-1190" y="10624"/>
                        <a:pt x="1143" y="16007"/>
                        <a:pt x="5867" y="17801"/>
                      </a:cubicBezTo>
                      <a:cubicBezTo>
                        <a:pt x="10592" y="19655"/>
                        <a:pt x="15915" y="17322"/>
                        <a:pt x="17709" y="12538"/>
                      </a:cubicBezTo>
                      <a:cubicBezTo>
                        <a:pt x="19563" y="7813"/>
                        <a:pt x="17171" y="2490"/>
                        <a:pt x="12446" y="636"/>
                      </a:cubicBezTo>
                      <a:close/>
                    </a:path>
                  </a:pathLst>
                </a:custGeom>
                <a:grpFill/>
                <a:ln w="5978" cap="flat">
                  <a:noFill/>
                  <a:prstDash val="solid"/>
                  <a:miter/>
                </a:ln>
              </p:spPr>
              <p:txBody>
                <a:bodyPr rtlCol="0" anchor="ctr"/>
                <a:lstStyle/>
                <a:p>
                  <a:endParaRPr lang="en-GB"/>
                </a:p>
              </p:txBody>
            </p:sp>
          </p:grpSp>
          <p:grpSp>
            <p:nvGrpSpPr>
              <p:cNvPr id="1149" name="Graphic 3">
                <a:extLst>
                  <a:ext uri="{FF2B5EF4-FFF2-40B4-BE49-F238E27FC236}">
                    <a16:creationId xmlns:a16="http://schemas.microsoft.com/office/drawing/2014/main" id="{734D208F-D4E8-499F-A55B-261A58679DBC}"/>
                  </a:ext>
                </a:extLst>
              </p:cNvPr>
              <p:cNvGrpSpPr/>
              <p:nvPr/>
            </p:nvGrpSpPr>
            <p:grpSpPr>
              <a:xfrm>
                <a:off x="4569342" y="4660296"/>
                <a:ext cx="340240" cy="311081"/>
                <a:chOff x="4569342" y="4660296"/>
                <a:chExt cx="340240" cy="311081"/>
              </a:xfrm>
              <a:grpFill/>
            </p:grpSpPr>
            <p:sp>
              <p:nvSpPr>
                <p:cNvPr id="1954" name="Vrije vorm: vorm 1953">
                  <a:extLst>
                    <a:ext uri="{FF2B5EF4-FFF2-40B4-BE49-F238E27FC236}">
                      <a16:creationId xmlns:a16="http://schemas.microsoft.com/office/drawing/2014/main" id="{032B3D88-A8A0-49F7-840A-CA536D612BB0}"/>
                    </a:ext>
                  </a:extLst>
                </p:cNvPr>
                <p:cNvSpPr/>
                <p:nvPr/>
              </p:nvSpPr>
              <p:spPr>
                <a:xfrm>
                  <a:off x="4577126" y="4668053"/>
                  <a:ext cx="324693" cy="295567"/>
                </a:xfrm>
                <a:custGeom>
                  <a:avLst/>
                  <a:gdLst>
                    <a:gd name="connsiteX0" fmla="*/ 324694 w 324693"/>
                    <a:gd name="connsiteY0" fmla="*/ 2273 h 295567"/>
                    <a:gd name="connsiteX1" fmla="*/ 2034 w 324693"/>
                    <a:gd name="connsiteY1" fmla="*/ 295567 h 295567"/>
                    <a:gd name="connsiteX2" fmla="*/ 0 w 324693"/>
                    <a:gd name="connsiteY2" fmla="*/ 293294 h 295567"/>
                    <a:gd name="connsiteX3" fmla="*/ 322600 w 324693"/>
                    <a:gd name="connsiteY3" fmla="*/ 0 h 295567"/>
                  </a:gdLst>
                  <a:ahLst/>
                  <a:cxnLst>
                    <a:cxn ang="0">
                      <a:pos x="connsiteX0" y="connsiteY0"/>
                    </a:cxn>
                    <a:cxn ang="0">
                      <a:pos x="connsiteX1" y="connsiteY1"/>
                    </a:cxn>
                    <a:cxn ang="0">
                      <a:pos x="connsiteX2" y="connsiteY2"/>
                    </a:cxn>
                    <a:cxn ang="0">
                      <a:pos x="connsiteX3" y="connsiteY3"/>
                    </a:cxn>
                  </a:cxnLst>
                  <a:rect l="l" t="t" r="r" b="b"/>
                  <a:pathLst>
                    <a:path w="324693" h="295567">
                      <a:moveTo>
                        <a:pt x="324694" y="2273"/>
                      </a:moveTo>
                      <a:lnTo>
                        <a:pt x="2034" y="295567"/>
                      </a:lnTo>
                      <a:lnTo>
                        <a:pt x="0" y="293294"/>
                      </a:lnTo>
                      <a:lnTo>
                        <a:pt x="322600" y="0"/>
                      </a:lnTo>
                      <a:close/>
                    </a:path>
                  </a:pathLst>
                </a:custGeom>
                <a:grpFill/>
                <a:ln w="5978" cap="flat">
                  <a:noFill/>
                  <a:prstDash val="solid"/>
                  <a:miter/>
                </a:ln>
              </p:spPr>
              <p:txBody>
                <a:bodyPr rtlCol="0" anchor="ctr"/>
                <a:lstStyle/>
                <a:p>
                  <a:endParaRPr lang="en-GB"/>
                </a:p>
              </p:txBody>
            </p:sp>
            <p:sp>
              <p:nvSpPr>
                <p:cNvPr id="1955" name="Vrije vorm: vorm 1954">
                  <a:extLst>
                    <a:ext uri="{FF2B5EF4-FFF2-40B4-BE49-F238E27FC236}">
                      <a16:creationId xmlns:a16="http://schemas.microsoft.com/office/drawing/2014/main" id="{3565E929-EE9F-475A-BAA6-51974B1B4CC5}"/>
                    </a:ext>
                  </a:extLst>
                </p:cNvPr>
                <p:cNvSpPr/>
                <p:nvPr/>
              </p:nvSpPr>
              <p:spPr>
                <a:xfrm>
                  <a:off x="4891284" y="4660296"/>
                  <a:ext cx="18298" cy="18444"/>
                </a:xfrm>
                <a:custGeom>
                  <a:avLst/>
                  <a:gdLst>
                    <a:gd name="connsiteX0" fmla="*/ 3000 w 18298"/>
                    <a:gd name="connsiteY0" fmla="*/ 2374 h 18444"/>
                    <a:gd name="connsiteX1" fmla="*/ 15918 w 18298"/>
                    <a:gd name="connsiteY1" fmla="*/ 3032 h 18444"/>
                    <a:gd name="connsiteX2" fmla="*/ 15320 w 18298"/>
                    <a:gd name="connsiteY2" fmla="*/ 16070 h 18444"/>
                    <a:gd name="connsiteX3" fmla="*/ 2401 w 18298"/>
                    <a:gd name="connsiteY3" fmla="*/ 15412 h 18444"/>
                    <a:gd name="connsiteX4" fmla="*/ 3000 w 18298"/>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44">
                      <a:moveTo>
                        <a:pt x="3000" y="2374"/>
                      </a:moveTo>
                      <a:cubicBezTo>
                        <a:pt x="6768" y="-1035"/>
                        <a:pt x="12569" y="-736"/>
                        <a:pt x="15918" y="3032"/>
                      </a:cubicBezTo>
                      <a:cubicBezTo>
                        <a:pt x="19327" y="6800"/>
                        <a:pt x="19028" y="12661"/>
                        <a:pt x="15320" y="16070"/>
                      </a:cubicBezTo>
                      <a:cubicBezTo>
                        <a:pt x="11552" y="19479"/>
                        <a:pt x="5751" y="19180"/>
                        <a:pt x="2401" y="15412"/>
                      </a:cubicBezTo>
                      <a:cubicBezTo>
                        <a:pt x="-1008" y="11585"/>
                        <a:pt x="-768" y="5783"/>
                        <a:pt x="3000" y="2374"/>
                      </a:cubicBezTo>
                      <a:close/>
                    </a:path>
                  </a:pathLst>
                </a:custGeom>
                <a:grpFill/>
                <a:ln w="5978" cap="flat">
                  <a:noFill/>
                  <a:prstDash val="solid"/>
                  <a:miter/>
                </a:ln>
              </p:spPr>
              <p:txBody>
                <a:bodyPr rtlCol="0" anchor="ctr"/>
                <a:lstStyle/>
                <a:p>
                  <a:endParaRPr lang="en-GB"/>
                </a:p>
              </p:txBody>
            </p:sp>
            <p:sp>
              <p:nvSpPr>
                <p:cNvPr id="1956" name="Vrije vorm: vorm 1955">
                  <a:extLst>
                    <a:ext uri="{FF2B5EF4-FFF2-40B4-BE49-F238E27FC236}">
                      <a16:creationId xmlns:a16="http://schemas.microsoft.com/office/drawing/2014/main" id="{23C371BC-49D5-4F6C-928A-271EA650CE7D}"/>
                    </a:ext>
                  </a:extLst>
                </p:cNvPr>
                <p:cNvSpPr/>
                <p:nvPr/>
              </p:nvSpPr>
              <p:spPr>
                <a:xfrm>
                  <a:off x="4569342" y="4952933"/>
                  <a:ext cx="18319" cy="18444"/>
                </a:xfrm>
                <a:custGeom>
                  <a:avLst/>
                  <a:gdLst>
                    <a:gd name="connsiteX0" fmla="*/ 2999 w 18319"/>
                    <a:gd name="connsiteY0" fmla="*/ 2374 h 18444"/>
                    <a:gd name="connsiteX1" fmla="*/ 2402 w 18319"/>
                    <a:gd name="connsiteY1" fmla="*/ 15412 h 18444"/>
                    <a:gd name="connsiteX2" fmla="*/ 15320 w 18319"/>
                    <a:gd name="connsiteY2" fmla="*/ 16070 h 18444"/>
                    <a:gd name="connsiteX3" fmla="*/ 15918 w 18319"/>
                    <a:gd name="connsiteY3" fmla="*/ 3032 h 18444"/>
                    <a:gd name="connsiteX4" fmla="*/ 2999 w 18319"/>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2999" y="2374"/>
                      </a:moveTo>
                      <a:cubicBezTo>
                        <a:pt x="-768" y="5783"/>
                        <a:pt x="-1008" y="11585"/>
                        <a:pt x="2402" y="15412"/>
                      </a:cubicBezTo>
                      <a:cubicBezTo>
                        <a:pt x="5811" y="19180"/>
                        <a:pt x="11612" y="19479"/>
                        <a:pt x="15320" y="16070"/>
                      </a:cubicBezTo>
                      <a:cubicBezTo>
                        <a:pt x="19088" y="12661"/>
                        <a:pt x="19327" y="6860"/>
                        <a:pt x="15918" y="3032"/>
                      </a:cubicBezTo>
                      <a:cubicBezTo>
                        <a:pt x="12509" y="-736"/>
                        <a:pt x="6707" y="-1035"/>
                        <a:pt x="2999" y="2374"/>
                      </a:cubicBezTo>
                      <a:close/>
                    </a:path>
                  </a:pathLst>
                </a:custGeom>
                <a:grpFill/>
                <a:ln w="5978" cap="flat">
                  <a:noFill/>
                  <a:prstDash val="solid"/>
                  <a:miter/>
                </a:ln>
              </p:spPr>
              <p:txBody>
                <a:bodyPr rtlCol="0" anchor="ctr"/>
                <a:lstStyle/>
                <a:p>
                  <a:endParaRPr lang="en-GB"/>
                </a:p>
              </p:txBody>
            </p:sp>
          </p:grpSp>
          <p:grpSp>
            <p:nvGrpSpPr>
              <p:cNvPr id="1150" name="Graphic 3">
                <a:extLst>
                  <a:ext uri="{FF2B5EF4-FFF2-40B4-BE49-F238E27FC236}">
                    <a16:creationId xmlns:a16="http://schemas.microsoft.com/office/drawing/2014/main" id="{AD177E1D-E794-44D3-A931-4100E0D991A6}"/>
                  </a:ext>
                </a:extLst>
              </p:cNvPr>
              <p:cNvGrpSpPr/>
              <p:nvPr/>
            </p:nvGrpSpPr>
            <p:grpSpPr>
              <a:xfrm>
                <a:off x="4233636" y="3505743"/>
                <a:ext cx="132565" cy="25031"/>
                <a:chOff x="4233636" y="3505743"/>
                <a:chExt cx="132565" cy="25031"/>
              </a:xfrm>
              <a:grpFill/>
            </p:grpSpPr>
            <p:sp>
              <p:nvSpPr>
                <p:cNvPr id="1951" name="Vrije vorm: vorm 1950">
                  <a:extLst>
                    <a:ext uri="{FF2B5EF4-FFF2-40B4-BE49-F238E27FC236}">
                      <a16:creationId xmlns:a16="http://schemas.microsoft.com/office/drawing/2014/main" id="{AE4B1B80-C7EB-492E-84EE-9DEFC302CBBE}"/>
                    </a:ext>
                  </a:extLst>
                </p:cNvPr>
                <p:cNvSpPr/>
                <p:nvPr/>
              </p:nvSpPr>
              <p:spPr>
                <a:xfrm>
                  <a:off x="4242205" y="3513415"/>
                  <a:ext cx="115368" cy="9688"/>
                </a:xfrm>
                <a:custGeom>
                  <a:avLst/>
                  <a:gdLst>
                    <a:gd name="connsiteX0" fmla="*/ 115189 w 115368"/>
                    <a:gd name="connsiteY0" fmla="*/ 0 h 9688"/>
                    <a:gd name="connsiteX1" fmla="*/ 115368 w 115368"/>
                    <a:gd name="connsiteY1" fmla="*/ 3050 h 9688"/>
                    <a:gd name="connsiteX2" fmla="*/ 239 w 115368"/>
                    <a:gd name="connsiteY2" fmla="*/ 9689 h 9688"/>
                    <a:gd name="connsiteX3" fmla="*/ 0 w 115368"/>
                    <a:gd name="connsiteY3" fmla="*/ 6639 h 9688"/>
                  </a:gdLst>
                  <a:ahLst/>
                  <a:cxnLst>
                    <a:cxn ang="0">
                      <a:pos x="connsiteX0" y="connsiteY0"/>
                    </a:cxn>
                    <a:cxn ang="0">
                      <a:pos x="connsiteX1" y="connsiteY1"/>
                    </a:cxn>
                    <a:cxn ang="0">
                      <a:pos x="connsiteX2" y="connsiteY2"/>
                    </a:cxn>
                    <a:cxn ang="0">
                      <a:pos x="connsiteX3" y="connsiteY3"/>
                    </a:cxn>
                  </a:cxnLst>
                  <a:rect l="l" t="t" r="r" b="b"/>
                  <a:pathLst>
                    <a:path w="115368" h="9688">
                      <a:moveTo>
                        <a:pt x="115189" y="0"/>
                      </a:moveTo>
                      <a:lnTo>
                        <a:pt x="115368" y="3050"/>
                      </a:lnTo>
                      <a:lnTo>
                        <a:pt x="239" y="9689"/>
                      </a:lnTo>
                      <a:lnTo>
                        <a:pt x="0" y="6639"/>
                      </a:lnTo>
                      <a:close/>
                    </a:path>
                  </a:pathLst>
                </a:custGeom>
                <a:grpFill/>
                <a:ln w="5978" cap="flat">
                  <a:noFill/>
                  <a:prstDash val="solid"/>
                  <a:miter/>
                </a:ln>
              </p:spPr>
              <p:txBody>
                <a:bodyPr rtlCol="0" anchor="ctr"/>
                <a:lstStyle/>
                <a:p>
                  <a:endParaRPr lang="en-GB"/>
                </a:p>
              </p:txBody>
            </p:sp>
            <p:sp>
              <p:nvSpPr>
                <p:cNvPr id="1952" name="Vrije vorm: vorm 1951">
                  <a:extLst>
                    <a:ext uri="{FF2B5EF4-FFF2-40B4-BE49-F238E27FC236}">
                      <a16:creationId xmlns:a16="http://schemas.microsoft.com/office/drawing/2014/main" id="{6F7D6528-98E5-4A75-9083-8F6F713C477F}"/>
                    </a:ext>
                  </a:extLst>
                </p:cNvPr>
                <p:cNvSpPr/>
                <p:nvPr/>
              </p:nvSpPr>
              <p:spPr>
                <a:xfrm>
                  <a:off x="4233636" y="3512322"/>
                  <a:ext cx="18333" cy="18452"/>
                </a:xfrm>
                <a:custGeom>
                  <a:avLst/>
                  <a:gdLst>
                    <a:gd name="connsiteX0" fmla="*/ 9705 w 18333"/>
                    <a:gd name="connsiteY0" fmla="*/ 18437 h 18452"/>
                    <a:gd name="connsiteX1" fmla="*/ 16 w 18333"/>
                    <a:gd name="connsiteY1" fmla="*/ 9765 h 18452"/>
                    <a:gd name="connsiteX2" fmla="*/ 8629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9" y="16"/>
                      </a:cubicBezTo>
                      <a:cubicBezTo>
                        <a:pt x="13653" y="-283"/>
                        <a:pt x="18018" y="3605"/>
                        <a:pt x="18317" y="8688"/>
                      </a:cubicBezTo>
                      <a:cubicBezTo>
                        <a:pt x="18616" y="13772"/>
                        <a:pt x="14789" y="18138"/>
                        <a:pt x="9705" y="18437"/>
                      </a:cubicBezTo>
                      <a:close/>
                    </a:path>
                  </a:pathLst>
                </a:custGeom>
                <a:grpFill/>
                <a:ln w="5978" cap="flat">
                  <a:noFill/>
                  <a:prstDash val="solid"/>
                  <a:miter/>
                </a:ln>
              </p:spPr>
              <p:txBody>
                <a:bodyPr rtlCol="0" anchor="ctr"/>
                <a:lstStyle/>
                <a:p>
                  <a:endParaRPr lang="en-GB"/>
                </a:p>
              </p:txBody>
            </p:sp>
            <p:sp>
              <p:nvSpPr>
                <p:cNvPr id="1953" name="Vrije vorm: vorm 1952">
                  <a:extLst>
                    <a:ext uri="{FF2B5EF4-FFF2-40B4-BE49-F238E27FC236}">
                      <a16:creationId xmlns:a16="http://schemas.microsoft.com/office/drawing/2014/main" id="{34FDE3E0-DE07-4327-8533-D46173DFBAD1}"/>
                    </a:ext>
                  </a:extLst>
                </p:cNvPr>
                <p:cNvSpPr/>
                <p:nvPr/>
              </p:nvSpPr>
              <p:spPr>
                <a:xfrm>
                  <a:off x="4347869" y="3505743"/>
                  <a:ext cx="18333" cy="18452"/>
                </a:xfrm>
                <a:custGeom>
                  <a:avLst/>
                  <a:gdLst>
                    <a:gd name="connsiteX0" fmla="*/ 9705 w 18333"/>
                    <a:gd name="connsiteY0" fmla="*/ 18437 h 18452"/>
                    <a:gd name="connsiteX1" fmla="*/ 18317 w 18333"/>
                    <a:gd name="connsiteY1" fmla="*/ 8688 h 18452"/>
                    <a:gd name="connsiteX2" fmla="*/ 8628 w 18333"/>
                    <a:gd name="connsiteY2" fmla="*/ 16 h 18452"/>
                    <a:gd name="connsiteX3" fmla="*/ 16 w 18333"/>
                    <a:gd name="connsiteY3" fmla="*/ 9765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14729" y="18138"/>
                        <a:pt x="18616" y="13772"/>
                        <a:pt x="18317" y="8688"/>
                      </a:cubicBezTo>
                      <a:cubicBezTo>
                        <a:pt x="18018" y="3605"/>
                        <a:pt x="13652" y="-283"/>
                        <a:pt x="8628" y="16"/>
                      </a:cubicBezTo>
                      <a:cubicBezTo>
                        <a:pt x="3604" y="315"/>
                        <a:pt x="-283"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1151" name="Graphic 3">
                <a:extLst>
                  <a:ext uri="{FF2B5EF4-FFF2-40B4-BE49-F238E27FC236}">
                    <a16:creationId xmlns:a16="http://schemas.microsoft.com/office/drawing/2014/main" id="{39271BCA-4D95-4989-B35A-D42AE8831F21}"/>
                  </a:ext>
                </a:extLst>
              </p:cNvPr>
              <p:cNvGrpSpPr/>
              <p:nvPr/>
            </p:nvGrpSpPr>
            <p:grpSpPr>
              <a:xfrm>
                <a:off x="3906811" y="3047399"/>
                <a:ext cx="492983" cy="129120"/>
                <a:chOff x="3906811" y="3047399"/>
                <a:chExt cx="492983" cy="129120"/>
              </a:xfrm>
              <a:grpFill/>
            </p:grpSpPr>
            <p:sp>
              <p:nvSpPr>
                <p:cNvPr id="1948" name="Vrije vorm: vorm 1947">
                  <a:extLst>
                    <a:ext uri="{FF2B5EF4-FFF2-40B4-BE49-F238E27FC236}">
                      <a16:creationId xmlns:a16="http://schemas.microsoft.com/office/drawing/2014/main" id="{7BF2C89D-0188-416E-B4A8-A5A1CA188877}"/>
                    </a:ext>
                  </a:extLst>
                </p:cNvPr>
                <p:cNvSpPr/>
                <p:nvPr/>
              </p:nvSpPr>
              <p:spPr>
                <a:xfrm>
                  <a:off x="3915179" y="3054993"/>
                  <a:ext cx="476244" cy="113932"/>
                </a:xfrm>
                <a:custGeom>
                  <a:avLst/>
                  <a:gdLst>
                    <a:gd name="connsiteX0" fmla="*/ 476245 w 476244"/>
                    <a:gd name="connsiteY0" fmla="*/ 110942 h 113932"/>
                    <a:gd name="connsiteX1" fmla="*/ 475587 w 476244"/>
                    <a:gd name="connsiteY1" fmla="*/ 113933 h 113932"/>
                    <a:gd name="connsiteX2" fmla="*/ 0 w 476244"/>
                    <a:gd name="connsiteY2" fmla="*/ 2990 h 113932"/>
                    <a:gd name="connsiteX3" fmla="*/ 658 w 476244"/>
                    <a:gd name="connsiteY3" fmla="*/ 0 h 113932"/>
                  </a:gdLst>
                  <a:ahLst/>
                  <a:cxnLst>
                    <a:cxn ang="0">
                      <a:pos x="connsiteX0" y="connsiteY0"/>
                    </a:cxn>
                    <a:cxn ang="0">
                      <a:pos x="connsiteX1" y="connsiteY1"/>
                    </a:cxn>
                    <a:cxn ang="0">
                      <a:pos x="connsiteX2" y="connsiteY2"/>
                    </a:cxn>
                    <a:cxn ang="0">
                      <a:pos x="connsiteX3" y="connsiteY3"/>
                    </a:cxn>
                  </a:cxnLst>
                  <a:rect l="l" t="t" r="r" b="b"/>
                  <a:pathLst>
                    <a:path w="476244" h="113932">
                      <a:moveTo>
                        <a:pt x="476245" y="110942"/>
                      </a:moveTo>
                      <a:lnTo>
                        <a:pt x="475587" y="113933"/>
                      </a:lnTo>
                      <a:lnTo>
                        <a:pt x="0" y="2990"/>
                      </a:lnTo>
                      <a:lnTo>
                        <a:pt x="658" y="0"/>
                      </a:lnTo>
                      <a:close/>
                    </a:path>
                  </a:pathLst>
                </a:custGeom>
                <a:grpFill/>
                <a:ln w="5978" cap="flat">
                  <a:noFill/>
                  <a:prstDash val="solid"/>
                  <a:miter/>
                </a:ln>
              </p:spPr>
              <p:txBody>
                <a:bodyPr rtlCol="0" anchor="ctr"/>
                <a:lstStyle/>
                <a:p>
                  <a:endParaRPr lang="en-GB"/>
                </a:p>
              </p:txBody>
            </p:sp>
            <p:sp>
              <p:nvSpPr>
                <p:cNvPr id="1949" name="Vrije vorm: vorm 1948">
                  <a:extLst>
                    <a:ext uri="{FF2B5EF4-FFF2-40B4-BE49-F238E27FC236}">
                      <a16:creationId xmlns:a16="http://schemas.microsoft.com/office/drawing/2014/main" id="{F60AC7C6-60DC-4836-9724-5E76A39E3EEC}"/>
                    </a:ext>
                  </a:extLst>
                </p:cNvPr>
                <p:cNvSpPr/>
                <p:nvPr/>
              </p:nvSpPr>
              <p:spPr>
                <a:xfrm>
                  <a:off x="4381498" y="3158105"/>
                  <a:ext cx="18297" cy="18413"/>
                </a:xfrm>
                <a:custGeom>
                  <a:avLst/>
                  <a:gdLst>
                    <a:gd name="connsiteX0" fmla="*/ 11182 w 18297"/>
                    <a:gd name="connsiteY0" fmla="*/ 234 h 18413"/>
                    <a:gd name="connsiteX1" fmla="*/ 18060 w 18297"/>
                    <a:gd name="connsiteY1" fmla="*/ 11299 h 18413"/>
                    <a:gd name="connsiteX2" fmla="*/ 7115 w 18297"/>
                    <a:gd name="connsiteY2" fmla="*/ 18176 h 18413"/>
                    <a:gd name="connsiteX3" fmla="*/ 237 w 18297"/>
                    <a:gd name="connsiteY3" fmla="*/ 7112 h 18413"/>
                    <a:gd name="connsiteX4" fmla="*/ 11182 w 18297"/>
                    <a:gd name="connsiteY4" fmla="*/ 23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1182" y="234"/>
                      </a:moveTo>
                      <a:cubicBezTo>
                        <a:pt x="16146" y="1371"/>
                        <a:pt x="19196" y="6335"/>
                        <a:pt x="18060" y="11299"/>
                      </a:cubicBezTo>
                      <a:cubicBezTo>
                        <a:pt x="16923" y="16263"/>
                        <a:pt x="12019" y="19313"/>
                        <a:pt x="7115" y="18176"/>
                      </a:cubicBezTo>
                      <a:cubicBezTo>
                        <a:pt x="2151" y="17040"/>
                        <a:pt x="-899" y="12076"/>
                        <a:pt x="237" y="7112"/>
                      </a:cubicBezTo>
                      <a:cubicBezTo>
                        <a:pt x="1374" y="2208"/>
                        <a:pt x="6278" y="-902"/>
                        <a:pt x="11182" y="234"/>
                      </a:cubicBezTo>
                      <a:close/>
                    </a:path>
                  </a:pathLst>
                </a:custGeom>
                <a:grpFill/>
                <a:ln w="5978" cap="flat">
                  <a:noFill/>
                  <a:prstDash val="solid"/>
                  <a:miter/>
                </a:ln>
              </p:spPr>
              <p:txBody>
                <a:bodyPr rtlCol="0" anchor="ctr"/>
                <a:lstStyle/>
                <a:p>
                  <a:endParaRPr lang="en-GB"/>
                </a:p>
              </p:txBody>
            </p:sp>
            <p:sp>
              <p:nvSpPr>
                <p:cNvPr id="1950" name="Vrije vorm: vorm 1949">
                  <a:extLst>
                    <a:ext uri="{FF2B5EF4-FFF2-40B4-BE49-F238E27FC236}">
                      <a16:creationId xmlns:a16="http://schemas.microsoft.com/office/drawing/2014/main" id="{B4C0995E-4722-46C8-AE86-3CB954912956}"/>
                    </a:ext>
                  </a:extLst>
                </p:cNvPr>
                <p:cNvSpPr/>
                <p:nvPr/>
              </p:nvSpPr>
              <p:spPr>
                <a:xfrm>
                  <a:off x="3906811" y="3047399"/>
                  <a:ext cx="18329" cy="18416"/>
                </a:xfrm>
                <a:custGeom>
                  <a:avLst/>
                  <a:gdLst>
                    <a:gd name="connsiteX0" fmla="*/ 11179 w 18329"/>
                    <a:gd name="connsiteY0" fmla="*/ 237 h 18416"/>
                    <a:gd name="connsiteX1" fmla="*/ 234 w 18329"/>
                    <a:gd name="connsiteY1" fmla="*/ 7115 h 18416"/>
                    <a:gd name="connsiteX2" fmla="*/ 7112 w 18329"/>
                    <a:gd name="connsiteY2" fmla="*/ 18180 h 18416"/>
                    <a:gd name="connsiteX3" fmla="*/ 18117 w 18329"/>
                    <a:gd name="connsiteY3" fmla="*/ 11302 h 18416"/>
                    <a:gd name="connsiteX4" fmla="*/ 11179 w 18329"/>
                    <a:gd name="connsiteY4" fmla="*/ 23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6">
                      <a:moveTo>
                        <a:pt x="11179" y="237"/>
                      </a:moveTo>
                      <a:cubicBezTo>
                        <a:pt x="6215" y="-899"/>
                        <a:pt x="1311" y="2151"/>
                        <a:pt x="234" y="7115"/>
                      </a:cubicBezTo>
                      <a:cubicBezTo>
                        <a:pt x="-902" y="12079"/>
                        <a:pt x="2208" y="17043"/>
                        <a:pt x="7112" y="18180"/>
                      </a:cubicBezTo>
                      <a:cubicBezTo>
                        <a:pt x="12076" y="19316"/>
                        <a:pt x="16980" y="16266"/>
                        <a:pt x="18117" y="11302"/>
                      </a:cubicBezTo>
                      <a:cubicBezTo>
                        <a:pt x="19193" y="6338"/>
                        <a:pt x="16083" y="1374"/>
                        <a:pt x="11179" y="237"/>
                      </a:cubicBezTo>
                      <a:close/>
                    </a:path>
                  </a:pathLst>
                </a:custGeom>
                <a:grpFill/>
                <a:ln w="5978" cap="flat">
                  <a:noFill/>
                  <a:prstDash val="solid"/>
                  <a:miter/>
                </a:ln>
              </p:spPr>
              <p:txBody>
                <a:bodyPr rtlCol="0" anchor="ctr"/>
                <a:lstStyle/>
                <a:p>
                  <a:endParaRPr lang="en-GB"/>
                </a:p>
              </p:txBody>
            </p:sp>
          </p:grpSp>
          <p:grpSp>
            <p:nvGrpSpPr>
              <p:cNvPr id="1152" name="Graphic 3">
                <a:extLst>
                  <a:ext uri="{FF2B5EF4-FFF2-40B4-BE49-F238E27FC236}">
                    <a16:creationId xmlns:a16="http://schemas.microsoft.com/office/drawing/2014/main" id="{D50604B7-58CF-4F67-A580-A35D29A32B95}"/>
                  </a:ext>
                </a:extLst>
              </p:cNvPr>
              <p:cNvGrpSpPr/>
              <p:nvPr/>
            </p:nvGrpSpPr>
            <p:grpSpPr>
              <a:xfrm>
                <a:off x="4435754" y="4024668"/>
                <a:ext cx="68692" cy="38353"/>
                <a:chOff x="4435754" y="4024668"/>
                <a:chExt cx="68692" cy="38353"/>
              </a:xfrm>
              <a:grpFill/>
            </p:grpSpPr>
            <p:sp>
              <p:nvSpPr>
                <p:cNvPr id="1945" name="Vrije vorm: vorm 1944">
                  <a:extLst>
                    <a:ext uri="{FF2B5EF4-FFF2-40B4-BE49-F238E27FC236}">
                      <a16:creationId xmlns:a16="http://schemas.microsoft.com/office/drawing/2014/main" id="{99B6F208-D345-41E9-BCDA-3F95701D8EA8}"/>
                    </a:ext>
                  </a:extLst>
                </p:cNvPr>
                <p:cNvSpPr/>
                <p:nvPr/>
              </p:nvSpPr>
              <p:spPr>
                <a:xfrm>
                  <a:off x="4443875" y="4032302"/>
                  <a:ext cx="52391" cy="23085"/>
                </a:xfrm>
                <a:custGeom>
                  <a:avLst/>
                  <a:gdLst>
                    <a:gd name="connsiteX0" fmla="*/ 52391 w 52391"/>
                    <a:gd name="connsiteY0" fmla="*/ 2811 h 23085"/>
                    <a:gd name="connsiteX1" fmla="*/ 1136 w 52391"/>
                    <a:gd name="connsiteY1" fmla="*/ 23085 h 23085"/>
                    <a:gd name="connsiteX2" fmla="*/ 0 w 52391"/>
                    <a:gd name="connsiteY2" fmla="*/ 20275 h 23085"/>
                    <a:gd name="connsiteX3" fmla="*/ 51255 w 52391"/>
                    <a:gd name="connsiteY3" fmla="*/ 0 h 23085"/>
                  </a:gdLst>
                  <a:ahLst/>
                  <a:cxnLst>
                    <a:cxn ang="0">
                      <a:pos x="connsiteX0" y="connsiteY0"/>
                    </a:cxn>
                    <a:cxn ang="0">
                      <a:pos x="connsiteX1" y="connsiteY1"/>
                    </a:cxn>
                    <a:cxn ang="0">
                      <a:pos x="connsiteX2" y="connsiteY2"/>
                    </a:cxn>
                    <a:cxn ang="0">
                      <a:pos x="connsiteX3" y="connsiteY3"/>
                    </a:cxn>
                  </a:cxnLst>
                  <a:rect l="l" t="t" r="r" b="b"/>
                  <a:pathLst>
                    <a:path w="52391" h="23085">
                      <a:moveTo>
                        <a:pt x="52391" y="2811"/>
                      </a:moveTo>
                      <a:lnTo>
                        <a:pt x="1136" y="23085"/>
                      </a:lnTo>
                      <a:lnTo>
                        <a:pt x="0" y="20275"/>
                      </a:lnTo>
                      <a:lnTo>
                        <a:pt x="51255" y="0"/>
                      </a:lnTo>
                      <a:close/>
                    </a:path>
                  </a:pathLst>
                </a:custGeom>
                <a:grpFill/>
                <a:ln w="5978" cap="flat">
                  <a:noFill/>
                  <a:prstDash val="solid"/>
                  <a:miter/>
                </a:ln>
              </p:spPr>
              <p:txBody>
                <a:bodyPr rtlCol="0" anchor="ctr"/>
                <a:lstStyle/>
                <a:p>
                  <a:endParaRPr lang="en-GB"/>
                </a:p>
              </p:txBody>
            </p:sp>
            <p:sp>
              <p:nvSpPr>
                <p:cNvPr id="1946" name="Vrije vorm: vorm 1945">
                  <a:extLst>
                    <a:ext uri="{FF2B5EF4-FFF2-40B4-BE49-F238E27FC236}">
                      <a16:creationId xmlns:a16="http://schemas.microsoft.com/office/drawing/2014/main" id="{3D63F089-BF0A-4B9E-B041-99526DEECBF0}"/>
                    </a:ext>
                  </a:extLst>
                </p:cNvPr>
                <p:cNvSpPr/>
                <p:nvPr/>
              </p:nvSpPr>
              <p:spPr>
                <a:xfrm>
                  <a:off x="4435754" y="4044584"/>
                  <a:ext cx="18327" cy="18438"/>
                </a:xfrm>
                <a:custGeom>
                  <a:avLst/>
                  <a:gdLst>
                    <a:gd name="connsiteX0" fmla="*/ 12547 w 18327"/>
                    <a:gd name="connsiteY0" fmla="*/ 17801 h 18438"/>
                    <a:gd name="connsiteX1" fmla="*/ 645 w 18327"/>
                    <a:gd name="connsiteY1" fmla="*/ 12598 h 18438"/>
                    <a:gd name="connsiteX2" fmla="*/ 5788 w 18327"/>
                    <a:gd name="connsiteY2" fmla="*/ 637 h 18438"/>
                    <a:gd name="connsiteX3" fmla="*/ 17690 w 18327"/>
                    <a:gd name="connsiteY3" fmla="*/ 5840 h 18438"/>
                    <a:gd name="connsiteX4" fmla="*/ 12547 w 18327"/>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8">
                      <a:moveTo>
                        <a:pt x="12547" y="17801"/>
                      </a:moveTo>
                      <a:cubicBezTo>
                        <a:pt x="7822" y="19655"/>
                        <a:pt x="2499" y="17323"/>
                        <a:pt x="645" y="12598"/>
                      </a:cubicBezTo>
                      <a:cubicBezTo>
                        <a:pt x="-1209" y="7874"/>
                        <a:pt x="1064" y="2491"/>
                        <a:pt x="5788" y="637"/>
                      </a:cubicBezTo>
                      <a:cubicBezTo>
                        <a:pt x="10513" y="-1217"/>
                        <a:pt x="15836" y="1115"/>
                        <a:pt x="17690" y="5840"/>
                      </a:cubicBezTo>
                      <a:cubicBezTo>
                        <a:pt x="19544" y="10565"/>
                        <a:pt x="17211" y="15947"/>
                        <a:pt x="12547" y="17801"/>
                      </a:cubicBezTo>
                      <a:close/>
                    </a:path>
                  </a:pathLst>
                </a:custGeom>
                <a:grpFill/>
                <a:ln w="5978" cap="flat">
                  <a:noFill/>
                  <a:prstDash val="solid"/>
                  <a:miter/>
                </a:ln>
              </p:spPr>
              <p:txBody>
                <a:bodyPr rtlCol="0" anchor="ctr"/>
                <a:lstStyle/>
                <a:p>
                  <a:endParaRPr lang="en-GB"/>
                </a:p>
              </p:txBody>
            </p:sp>
            <p:sp>
              <p:nvSpPr>
                <p:cNvPr id="1947" name="Vrije vorm: vorm 1946">
                  <a:extLst>
                    <a:ext uri="{FF2B5EF4-FFF2-40B4-BE49-F238E27FC236}">
                      <a16:creationId xmlns:a16="http://schemas.microsoft.com/office/drawing/2014/main" id="{E65A98C5-1F8F-4D55-A739-1D929E61C37E}"/>
                    </a:ext>
                  </a:extLst>
                </p:cNvPr>
                <p:cNvSpPr/>
                <p:nvPr/>
              </p:nvSpPr>
              <p:spPr>
                <a:xfrm>
                  <a:off x="4486112" y="4024668"/>
                  <a:ext cx="18335" cy="18438"/>
                </a:xfrm>
                <a:custGeom>
                  <a:avLst/>
                  <a:gdLst>
                    <a:gd name="connsiteX0" fmla="*/ 12547 w 18335"/>
                    <a:gd name="connsiteY0" fmla="*/ 17801 h 18438"/>
                    <a:gd name="connsiteX1" fmla="*/ 17690 w 18335"/>
                    <a:gd name="connsiteY1" fmla="*/ 5840 h 18438"/>
                    <a:gd name="connsiteX2" fmla="*/ 5788 w 18335"/>
                    <a:gd name="connsiteY2" fmla="*/ 637 h 18438"/>
                    <a:gd name="connsiteX3" fmla="*/ 645 w 18335"/>
                    <a:gd name="connsiteY3" fmla="*/ 12598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17272" y="15947"/>
                        <a:pt x="19544" y="10565"/>
                        <a:pt x="17690" y="5840"/>
                      </a:cubicBezTo>
                      <a:cubicBezTo>
                        <a:pt x="15836" y="1115"/>
                        <a:pt x="10513" y="-1217"/>
                        <a:pt x="5788" y="637"/>
                      </a:cubicBezTo>
                      <a:cubicBezTo>
                        <a:pt x="1064" y="2491"/>
                        <a:pt x="-1209" y="7873"/>
                        <a:pt x="645" y="12598"/>
                      </a:cubicBezTo>
                      <a:cubicBezTo>
                        <a:pt x="2499" y="17323"/>
                        <a:pt x="7822" y="19655"/>
                        <a:pt x="12547" y="17801"/>
                      </a:cubicBezTo>
                      <a:close/>
                    </a:path>
                  </a:pathLst>
                </a:custGeom>
                <a:grpFill/>
                <a:ln w="5978" cap="flat">
                  <a:noFill/>
                  <a:prstDash val="solid"/>
                  <a:miter/>
                </a:ln>
              </p:spPr>
              <p:txBody>
                <a:bodyPr rtlCol="0" anchor="ctr"/>
                <a:lstStyle/>
                <a:p>
                  <a:endParaRPr lang="en-GB"/>
                </a:p>
              </p:txBody>
            </p:sp>
          </p:grpSp>
          <p:grpSp>
            <p:nvGrpSpPr>
              <p:cNvPr id="1153" name="Graphic 3">
                <a:extLst>
                  <a:ext uri="{FF2B5EF4-FFF2-40B4-BE49-F238E27FC236}">
                    <a16:creationId xmlns:a16="http://schemas.microsoft.com/office/drawing/2014/main" id="{52B0F26A-331F-4167-B045-ACA33E49E6E1}"/>
                  </a:ext>
                </a:extLst>
              </p:cNvPr>
              <p:cNvGrpSpPr/>
              <p:nvPr/>
            </p:nvGrpSpPr>
            <p:grpSpPr>
              <a:xfrm>
                <a:off x="4132458" y="3374600"/>
                <a:ext cx="233309" cy="22131"/>
                <a:chOff x="4132458" y="3374600"/>
                <a:chExt cx="233309" cy="22131"/>
              </a:xfrm>
              <a:grpFill/>
            </p:grpSpPr>
            <p:sp>
              <p:nvSpPr>
                <p:cNvPr id="1942" name="Vrije vorm: vorm 1941">
                  <a:extLst>
                    <a:ext uri="{FF2B5EF4-FFF2-40B4-BE49-F238E27FC236}">
                      <a16:creationId xmlns:a16="http://schemas.microsoft.com/office/drawing/2014/main" id="{B9555D09-967C-4311-A471-8C08844077B4}"/>
                    </a:ext>
                  </a:extLst>
                </p:cNvPr>
                <p:cNvSpPr/>
                <p:nvPr/>
              </p:nvSpPr>
              <p:spPr>
                <a:xfrm>
                  <a:off x="4141131" y="3382258"/>
                  <a:ext cx="216023" cy="6817"/>
                </a:xfrm>
                <a:custGeom>
                  <a:avLst/>
                  <a:gdLst>
                    <a:gd name="connsiteX0" fmla="*/ 216024 w 216023"/>
                    <a:gd name="connsiteY0" fmla="*/ 3768 h 6817"/>
                    <a:gd name="connsiteX1" fmla="*/ 215964 w 216023"/>
                    <a:gd name="connsiteY1" fmla="*/ 6818 h 6817"/>
                    <a:gd name="connsiteX2" fmla="*/ 0 w 216023"/>
                    <a:gd name="connsiteY2" fmla="*/ 3050 h 6817"/>
                    <a:gd name="connsiteX3" fmla="*/ 60 w 216023"/>
                    <a:gd name="connsiteY3" fmla="*/ 0 h 6817"/>
                  </a:gdLst>
                  <a:ahLst/>
                  <a:cxnLst>
                    <a:cxn ang="0">
                      <a:pos x="connsiteX0" y="connsiteY0"/>
                    </a:cxn>
                    <a:cxn ang="0">
                      <a:pos x="connsiteX1" y="connsiteY1"/>
                    </a:cxn>
                    <a:cxn ang="0">
                      <a:pos x="connsiteX2" y="connsiteY2"/>
                    </a:cxn>
                    <a:cxn ang="0">
                      <a:pos x="connsiteX3" y="connsiteY3"/>
                    </a:cxn>
                  </a:cxnLst>
                  <a:rect l="l" t="t" r="r" b="b"/>
                  <a:pathLst>
                    <a:path w="216023" h="6817">
                      <a:moveTo>
                        <a:pt x="216024" y="3768"/>
                      </a:moveTo>
                      <a:lnTo>
                        <a:pt x="215964" y="6818"/>
                      </a:lnTo>
                      <a:lnTo>
                        <a:pt x="0" y="3050"/>
                      </a:lnTo>
                      <a:lnTo>
                        <a:pt x="60" y="0"/>
                      </a:lnTo>
                      <a:close/>
                    </a:path>
                  </a:pathLst>
                </a:custGeom>
                <a:grpFill/>
                <a:ln w="5978" cap="flat">
                  <a:noFill/>
                  <a:prstDash val="solid"/>
                  <a:miter/>
                </a:ln>
              </p:spPr>
              <p:txBody>
                <a:bodyPr rtlCol="0" anchor="ctr"/>
                <a:lstStyle/>
                <a:p>
                  <a:endParaRPr lang="en-GB"/>
                </a:p>
              </p:txBody>
            </p:sp>
            <p:sp>
              <p:nvSpPr>
                <p:cNvPr id="1943" name="Vrije vorm: vorm 1942">
                  <a:extLst>
                    <a:ext uri="{FF2B5EF4-FFF2-40B4-BE49-F238E27FC236}">
                      <a16:creationId xmlns:a16="http://schemas.microsoft.com/office/drawing/2014/main" id="{6A82B533-8D15-41AB-806B-053B313CFFDB}"/>
                    </a:ext>
                  </a:extLst>
                </p:cNvPr>
                <p:cNvSpPr/>
                <p:nvPr/>
              </p:nvSpPr>
              <p:spPr>
                <a:xfrm>
                  <a:off x="4132458" y="3374600"/>
                  <a:ext cx="18302" cy="18423"/>
                </a:xfrm>
                <a:custGeom>
                  <a:avLst/>
                  <a:gdLst>
                    <a:gd name="connsiteX0" fmla="*/ 9032 w 18302"/>
                    <a:gd name="connsiteY0" fmla="*/ 18423 h 18423"/>
                    <a:gd name="connsiteX1" fmla="*/ 1 w 18302"/>
                    <a:gd name="connsiteY1" fmla="*/ 9033 h 18423"/>
                    <a:gd name="connsiteX2" fmla="*/ 9271 w 18302"/>
                    <a:gd name="connsiteY2" fmla="*/ 3 h 18423"/>
                    <a:gd name="connsiteX3" fmla="*/ 18302 w 18302"/>
                    <a:gd name="connsiteY3" fmla="*/ 9392 h 18423"/>
                    <a:gd name="connsiteX4" fmla="*/ 9032 w 18302"/>
                    <a:gd name="connsiteY4" fmla="*/ 18423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3">
                      <a:moveTo>
                        <a:pt x="9032" y="18423"/>
                      </a:moveTo>
                      <a:cubicBezTo>
                        <a:pt x="3948" y="18363"/>
                        <a:pt x="-59" y="14117"/>
                        <a:pt x="1" y="9033"/>
                      </a:cubicBezTo>
                      <a:cubicBezTo>
                        <a:pt x="61" y="3950"/>
                        <a:pt x="4247" y="-117"/>
                        <a:pt x="9271" y="3"/>
                      </a:cubicBezTo>
                      <a:cubicBezTo>
                        <a:pt x="14295" y="122"/>
                        <a:pt x="18362" y="4309"/>
                        <a:pt x="18302" y="9392"/>
                      </a:cubicBezTo>
                      <a:cubicBezTo>
                        <a:pt x="18242" y="14416"/>
                        <a:pt x="14115" y="18483"/>
                        <a:pt x="9032" y="18423"/>
                      </a:cubicBezTo>
                      <a:close/>
                    </a:path>
                  </a:pathLst>
                </a:custGeom>
                <a:grpFill/>
                <a:ln w="5978" cap="flat">
                  <a:noFill/>
                  <a:prstDash val="solid"/>
                  <a:miter/>
                </a:ln>
              </p:spPr>
              <p:txBody>
                <a:bodyPr rtlCol="0" anchor="ctr"/>
                <a:lstStyle/>
                <a:p>
                  <a:endParaRPr lang="en-GB"/>
                </a:p>
              </p:txBody>
            </p:sp>
            <p:sp>
              <p:nvSpPr>
                <p:cNvPr id="1944" name="Vrije vorm: vorm 1943">
                  <a:extLst>
                    <a:ext uri="{FF2B5EF4-FFF2-40B4-BE49-F238E27FC236}">
                      <a16:creationId xmlns:a16="http://schemas.microsoft.com/office/drawing/2014/main" id="{C6EC9DD3-6D2D-43A6-86DD-030EDC788B7F}"/>
                    </a:ext>
                  </a:extLst>
                </p:cNvPr>
                <p:cNvSpPr/>
                <p:nvPr/>
              </p:nvSpPr>
              <p:spPr>
                <a:xfrm>
                  <a:off x="4347465" y="3378310"/>
                  <a:ext cx="18302" cy="18421"/>
                </a:xfrm>
                <a:custGeom>
                  <a:avLst/>
                  <a:gdLst>
                    <a:gd name="connsiteX0" fmla="*/ 9031 w 18302"/>
                    <a:gd name="connsiteY0" fmla="*/ 18421 h 18421"/>
                    <a:gd name="connsiteX1" fmla="*/ 18302 w 18302"/>
                    <a:gd name="connsiteY1" fmla="*/ 9390 h 18421"/>
                    <a:gd name="connsiteX2" fmla="*/ 9271 w 18302"/>
                    <a:gd name="connsiteY2" fmla="*/ 1 h 18421"/>
                    <a:gd name="connsiteX3" fmla="*/ 1 w 18302"/>
                    <a:gd name="connsiteY3" fmla="*/ 9032 h 18421"/>
                    <a:gd name="connsiteX4" fmla="*/ 9031 w 18302"/>
                    <a:gd name="connsiteY4" fmla="*/ 184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1" y="18421"/>
                      </a:moveTo>
                      <a:cubicBezTo>
                        <a:pt x="14115" y="18481"/>
                        <a:pt x="18242" y="14474"/>
                        <a:pt x="18302" y="9390"/>
                      </a:cubicBezTo>
                      <a:cubicBezTo>
                        <a:pt x="18362" y="4307"/>
                        <a:pt x="14294" y="120"/>
                        <a:pt x="9271" y="1"/>
                      </a:cubicBezTo>
                      <a:cubicBezTo>
                        <a:pt x="4187" y="-59"/>
                        <a:pt x="60" y="3948"/>
                        <a:pt x="1" y="9032"/>
                      </a:cubicBezTo>
                      <a:cubicBezTo>
                        <a:pt x="-59" y="14175"/>
                        <a:pt x="4008" y="18362"/>
                        <a:pt x="9031" y="18421"/>
                      </a:cubicBezTo>
                      <a:close/>
                    </a:path>
                  </a:pathLst>
                </a:custGeom>
                <a:grpFill/>
                <a:ln w="5978" cap="flat">
                  <a:noFill/>
                  <a:prstDash val="solid"/>
                  <a:miter/>
                </a:ln>
              </p:spPr>
              <p:txBody>
                <a:bodyPr rtlCol="0" anchor="ctr"/>
                <a:lstStyle/>
                <a:p>
                  <a:endParaRPr lang="en-GB"/>
                </a:p>
              </p:txBody>
            </p:sp>
          </p:grpSp>
          <p:grpSp>
            <p:nvGrpSpPr>
              <p:cNvPr id="1154" name="Graphic 3">
                <a:extLst>
                  <a:ext uri="{FF2B5EF4-FFF2-40B4-BE49-F238E27FC236}">
                    <a16:creationId xmlns:a16="http://schemas.microsoft.com/office/drawing/2014/main" id="{8258E7D2-A1CB-4668-92F9-48D21B36319B}"/>
                  </a:ext>
                </a:extLst>
              </p:cNvPr>
              <p:cNvGrpSpPr/>
              <p:nvPr/>
            </p:nvGrpSpPr>
            <p:grpSpPr>
              <a:xfrm>
                <a:off x="4441777" y="4055564"/>
                <a:ext cx="70462" cy="40129"/>
                <a:chOff x="4441777" y="4055564"/>
                <a:chExt cx="70462" cy="40129"/>
              </a:xfrm>
              <a:grpFill/>
            </p:grpSpPr>
            <p:sp>
              <p:nvSpPr>
                <p:cNvPr id="1939" name="Vrije vorm: vorm 1938">
                  <a:extLst>
                    <a:ext uri="{FF2B5EF4-FFF2-40B4-BE49-F238E27FC236}">
                      <a16:creationId xmlns:a16="http://schemas.microsoft.com/office/drawing/2014/main" id="{8612771A-FDDC-4A4A-A9F6-2EC8E75B0FA1}"/>
                    </a:ext>
                  </a:extLst>
                </p:cNvPr>
                <p:cNvSpPr/>
                <p:nvPr/>
              </p:nvSpPr>
              <p:spPr>
                <a:xfrm>
                  <a:off x="4449775" y="4063238"/>
                  <a:ext cx="54047" cy="24884"/>
                </a:xfrm>
                <a:custGeom>
                  <a:avLst/>
                  <a:gdLst>
                    <a:gd name="connsiteX0" fmla="*/ 0 w 54047"/>
                    <a:gd name="connsiteY0" fmla="*/ 22070 h 24884"/>
                    <a:gd name="connsiteX1" fmla="*/ 52872 w 54047"/>
                    <a:gd name="connsiteY1" fmla="*/ 0 h 24884"/>
                    <a:gd name="connsiteX2" fmla="*/ 54047 w 54047"/>
                    <a:gd name="connsiteY2" fmla="*/ 2815 h 24884"/>
                    <a:gd name="connsiteX3" fmla="*/ 1175 w 54047"/>
                    <a:gd name="connsiteY3" fmla="*/ 24885 h 24884"/>
                  </a:gdLst>
                  <a:ahLst/>
                  <a:cxnLst>
                    <a:cxn ang="0">
                      <a:pos x="connsiteX0" y="connsiteY0"/>
                    </a:cxn>
                    <a:cxn ang="0">
                      <a:pos x="connsiteX1" y="connsiteY1"/>
                    </a:cxn>
                    <a:cxn ang="0">
                      <a:pos x="connsiteX2" y="connsiteY2"/>
                    </a:cxn>
                    <a:cxn ang="0">
                      <a:pos x="connsiteX3" y="connsiteY3"/>
                    </a:cxn>
                  </a:cxnLst>
                  <a:rect l="l" t="t" r="r" b="b"/>
                  <a:pathLst>
                    <a:path w="54047" h="24884">
                      <a:moveTo>
                        <a:pt x="0" y="22070"/>
                      </a:moveTo>
                      <a:lnTo>
                        <a:pt x="52872" y="0"/>
                      </a:lnTo>
                      <a:lnTo>
                        <a:pt x="54047" y="2815"/>
                      </a:lnTo>
                      <a:lnTo>
                        <a:pt x="1175" y="24885"/>
                      </a:lnTo>
                      <a:close/>
                    </a:path>
                  </a:pathLst>
                </a:custGeom>
                <a:grpFill/>
                <a:ln w="5978" cap="flat">
                  <a:noFill/>
                  <a:prstDash val="solid"/>
                  <a:miter/>
                </a:ln>
              </p:spPr>
              <p:txBody>
                <a:bodyPr rtlCol="0" anchor="ctr"/>
                <a:lstStyle/>
                <a:p>
                  <a:endParaRPr lang="en-GB"/>
                </a:p>
              </p:txBody>
            </p:sp>
            <p:sp>
              <p:nvSpPr>
                <p:cNvPr id="1940" name="Vrije vorm: vorm 1939">
                  <a:extLst>
                    <a:ext uri="{FF2B5EF4-FFF2-40B4-BE49-F238E27FC236}">
                      <a16:creationId xmlns:a16="http://schemas.microsoft.com/office/drawing/2014/main" id="{6A5677F9-4997-4C23-849B-86FF68A45B78}"/>
                    </a:ext>
                  </a:extLst>
                </p:cNvPr>
                <p:cNvSpPr/>
                <p:nvPr/>
              </p:nvSpPr>
              <p:spPr>
                <a:xfrm>
                  <a:off x="4441777" y="4077282"/>
                  <a:ext cx="18370" cy="18411"/>
                </a:xfrm>
                <a:custGeom>
                  <a:avLst/>
                  <a:gdLst>
                    <a:gd name="connsiteX0" fmla="*/ 12744 w 18370"/>
                    <a:gd name="connsiteY0" fmla="*/ 17698 h 18411"/>
                    <a:gd name="connsiteX1" fmla="*/ 722 w 18370"/>
                    <a:gd name="connsiteY1" fmla="*/ 12734 h 18411"/>
                    <a:gd name="connsiteX2" fmla="*/ 5626 w 18370"/>
                    <a:gd name="connsiteY2" fmla="*/ 713 h 18411"/>
                    <a:gd name="connsiteX3" fmla="*/ 17648 w 18370"/>
                    <a:gd name="connsiteY3" fmla="*/ 5677 h 18411"/>
                    <a:gd name="connsiteX4" fmla="*/ 12744 w 18370"/>
                    <a:gd name="connsiteY4" fmla="*/ 1769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1">
                      <a:moveTo>
                        <a:pt x="12744" y="17698"/>
                      </a:moveTo>
                      <a:cubicBezTo>
                        <a:pt x="8079" y="19672"/>
                        <a:pt x="2696" y="17399"/>
                        <a:pt x="722" y="12734"/>
                      </a:cubicBezTo>
                      <a:cubicBezTo>
                        <a:pt x="-1251" y="8010"/>
                        <a:pt x="962" y="2627"/>
                        <a:pt x="5626" y="713"/>
                      </a:cubicBezTo>
                      <a:cubicBezTo>
                        <a:pt x="10292" y="-1260"/>
                        <a:pt x="15674" y="1012"/>
                        <a:pt x="17648" y="5677"/>
                      </a:cubicBezTo>
                      <a:cubicBezTo>
                        <a:pt x="19622" y="10342"/>
                        <a:pt x="17409" y="15725"/>
                        <a:pt x="12744" y="17698"/>
                      </a:cubicBezTo>
                      <a:close/>
                    </a:path>
                  </a:pathLst>
                </a:custGeom>
                <a:grpFill/>
                <a:ln w="5978" cap="flat">
                  <a:noFill/>
                  <a:prstDash val="solid"/>
                  <a:miter/>
                </a:ln>
              </p:spPr>
              <p:txBody>
                <a:bodyPr rtlCol="0" anchor="ctr"/>
                <a:lstStyle/>
                <a:p>
                  <a:endParaRPr lang="en-GB"/>
                </a:p>
              </p:txBody>
            </p:sp>
            <p:sp>
              <p:nvSpPr>
                <p:cNvPr id="1941" name="Vrije vorm: vorm 1940">
                  <a:extLst>
                    <a:ext uri="{FF2B5EF4-FFF2-40B4-BE49-F238E27FC236}">
                      <a16:creationId xmlns:a16="http://schemas.microsoft.com/office/drawing/2014/main" id="{509C4B30-9446-4404-AD2C-DF93EB9CC53C}"/>
                    </a:ext>
                  </a:extLst>
                </p:cNvPr>
                <p:cNvSpPr/>
                <p:nvPr/>
              </p:nvSpPr>
              <p:spPr>
                <a:xfrm>
                  <a:off x="4493869" y="4055564"/>
                  <a:ext cx="18370" cy="18394"/>
                </a:xfrm>
                <a:custGeom>
                  <a:avLst/>
                  <a:gdLst>
                    <a:gd name="connsiteX0" fmla="*/ 12744 w 18370"/>
                    <a:gd name="connsiteY0" fmla="*/ 17707 h 18394"/>
                    <a:gd name="connsiteX1" fmla="*/ 17648 w 18370"/>
                    <a:gd name="connsiteY1" fmla="*/ 5685 h 18394"/>
                    <a:gd name="connsiteX2" fmla="*/ 5627 w 18370"/>
                    <a:gd name="connsiteY2" fmla="*/ 722 h 18394"/>
                    <a:gd name="connsiteX3" fmla="*/ 722 w 18370"/>
                    <a:gd name="connsiteY3" fmla="*/ 12743 h 18394"/>
                    <a:gd name="connsiteX4" fmla="*/ 12744 w 18370"/>
                    <a:gd name="connsiteY4" fmla="*/ 17707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394">
                      <a:moveTo>
                        <a:pt x="12744" y="17707"/>
                      </a:moveTo>
                      <a:cubicBezTo>
                        <a:pt x="17409" y="15733"/>
                        <a:pt x="19621" y="10350"/>
                        <a:pt x="17648" y="5685"/>
                      </a:cubicBezTo>
                      <a:cubicBezTo>
                        <a:pt x="15674" y="961"/>
                        <a:pt x="10291" y="-1252"/>
                        <a:pt x="5627" y="722"/>
                      </a:cubicBezTo>
                      <a:cubicBezTo>
                        <a:pt x="962" y="2695"/>
                        <a:pt x="-1251" y="8078"/>
                        <a:pt x="722" y="12743"/>
                      </a:cubicBezTo>
                      <a:cubicBezTo>
                        <a:pt x="2696" y="17408"/>
                        <a:pt x="8079" y="19620"/>
                        <a:pt x="12744" y="17707"/>
                      </a:cubicBezTo>
                      <a:close/>
                    </a:path>
                  </a:pathLst>
                </a:custGeom>
                <a:grpFill/>
                <a:ln w="5978" cap="flat">
                  <a:noFill/>
                  <a:prstDash val="solid"/>
                  <a:miter/>
                </a:ln>
              </p:spPr>
              <p:txBody>
                <a:bodyPr rtlCol="0" anchor="ctr"/>
                <a:lstStyle/>
                <a:p>
                  <a:endParaRPr lang="en-GB"/>
                </a:p>
              </p:txBody>
            </p:sp>
          </p:grpSp>
          <p:grpSp>
            <p:nvGrpSpPr>
              <p:cNvPr id="1155" name="Graphic 3">
                <a:extLst>
                  <a:ext uri="{FF2B5EF4-FFF2-40B4-BE49-F238E27FC236}">
                    <a16:creationId xmlns:a16="http://schemas.microsoft.com/office/drawing/2014/main" id="{C77A5BBB-1AC6-446B-9A15-C985C9D2078B}"/>
                  </a:ext>
                </a:extLst>
              </p:cNvPr>
              <p:cNvGrpSpPr/>
              <p:nvPr/>
            </p:nvGrpSpPr>
            <p:grpSpPr>
              <a:xfrm>
                <a:off x="4487932" y="4274742"/>
                <a:ext cx="147886" cy="96968"/>
                <a:chOff x="4487932" y="4274742"/>
                <a:chExt cx="147886" cy="96968"/>
              </a:xfrm>
              <a:grpFill/>
            </p:grpSpPr>
            <p:sp>
              <p:nvSpPr>
                <p:cNvPr id="1936" name="Vrije vorm: vorm 1935">
                  <a:extLst>
                    <a:ext uri="{FF2B5EF4-FFF2-40B4-BE49-F238E27FC236}">
                      <a16:creationId xmlns:a16="http://schemas.microsoft.com/office/drawing/2014/main" id="{B2D5DC25-1094-49D2-A8A7-E5E1BDF62F99}"/>
                    </a:ext>
                  </a:extLst>
                </p:cNvPr>
                <p:cNvSpPr/>
                <p:nvPr/>
              </p:nvSpPr>
              <p:spPr>
                <a:xfrm>
                  <a:off x="4495908" y="4282356"/>
                  <a:ext cx="131934" cy="81696"/>
                </a:xfrm>
                <a:custGeom>
                  <a:avLst/>
                  <a:gdLst>
                    <a:gd name="connsiteX0" fmla="*/ 131935 w 131934"/>
                    <a:gd name="connsiteY0" fmla="*/ 2632 h 81696"/>
                    <a:gd name="connsiteX1" fmla="*/ 1615 w 131934"/>
                    <a:gd name="connsiteY1" fmla="*/ 81696 h 81696"/>
                    <a:gd name="connsiteX2" fmla="*/ 0 w 131934"/>
                    <a:gd name="connsiteY2" fmla="*/ 79065 h 81696"/>
                    <a:gd name="connsiteX3" fmla="*/ 130380 w 131934"/>
                    <a:gd name="connsiteY3" fmla="*/ 0 h 81696"/>
                  </a:gdLst>
                  <a:ahLst/>
                  <a:cxnLst>
                    <a:cxn ang="0">
                      <a:pos x="connsiteX0" y="connsiteY0"/>
                    </a:cxn>
                    <a:cxn ang="0">
                      <a:pos x="connsiteX1" y="connsiteY1"/>
                    </a:cxn>
                    <a:cxn ang="0">
                      <a:pos x="connsiteX2" y="connsiteY2"/>
                    </a:cxn>
                    <a:cxn ang="0">
                      <a:pos x="connsiteX3" y="connsiteY3"/>
                    </a:cxn>
                  </a:cxnLst>
                  <a:rect l="l" t="t" r="r" b="b"/>
                  <a:pathLst>
                    <a:path w="131934" h="81696">
                      <a:moveTo>
                        <a:pt x="131935" y="2632"/>
                      </a:moveTo>
                      <a:lnTo>
                        <a:pt x="1615" y="81696"/>
                      </a:lnTo>
                      <a:lnTo>
                        <a:pt x="0" y="79065"/>
                      </a:lnTo>
                      <a:lnTo>
                        <a:pt x="130380" y="0"/>
                      </a:lnTo>
                      <a:close/>
                    </a:path>
                  </a:pathLst>
                </a:custGeom>
                <a:grpFill/>
                <a:ln w="5978" cap="flat">
                  <a:noFill/>
                  <a:prstDash val="solid"/>
                  <a:miter/>
                </a:ln>
              </p:spPr>
              <p:txBody>
                <a:bodyPr rtlCol="0" anchor="ctr"/>
                <a:lstStyle/>
                <a:p>
                  <a:endParaRPr lang="en-GB"/>
                </a:p>
              </p:txBody>
            </p:sp>
            <p:sp>
              <p:nvSpPr>
                <p:cNvPr id="1937" name="Vrije vorm: vorm 1936">
                  <a:extLst>
                    <a:ext uri="{FF2B5EF4-FFF2-40B4-BE49-F238E27FC236}">
                      <a16:creationId xmlns:a16="http://schemas.microsoft.com/office/drawing/2014/main" id="{4BFD401D-C8DD-4FD7-8C59-8175809E024C}"/>
                    </a:ext>
                  </a:extLst>
                </p:cNvPr>
                <p:cNvSpPr/>
                <p:nvPr/>
              </p:nvSpPr>
              <p:spPr>
                <a:xfrm>
                  <a:off x="4487932" y="4353283"/>
                  <a:ext cx="18343" cy="18428"/>
                </a:xfrm>
                <a:custGeom>
                  <a:avLst/>
                  <a:gdLst>
                    <a:gd name="connsiteX0" fmla="*/ 13957 w 18343"/>
                    <a:gd name="connsiteY0" fmla="*/ 17110 h 18428"/>
                    <a:gd name="connsiteX1" fmla="*/ 1337 w 18343"/>
                    <a:gd name="connsiteY1" fmla="*/ 13940 h 18428"/>
                    <a:gd name="connsiteX2" fmla="*/ 4387 w 18343"/>
                    <a:gd name="connsiteY2" fmla="*/ 1321 h 18428"/>
                    <a:gd name="connsiteX3" fmla="*/ 17006 w 18343"/>
                    <a:gd name="connsiteY3" fmla="*/ 4431 h 18428"/>
                    <a:gd name="connsiteX4" fmla="*/ 13957 w 18343"/>
                    <a:gd name="connsiteY4" fmla="*/ 17110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8">
                      <a:moveTo>
                        <a:pt x="13957" y="17110"/>
                      </a:moveTo>
                      <a:cubicBezTo>
                        <a:pt x="9650" y="19741"/>
                        <a:pt x="3968" y="18306"/>
                        <a:pt x="1337" y="13940"/>
                      </a:cubicBezTo>
                      <a:cubicBezTo>
                        <a:pt x="-1295" y="9574"/>
                        <a:pt x="81" y="3892"/>
                        <a:pt x="4387" y="1321"/>
                      </a:cubicBezTo>
                      <a:cubicBezTo>
                        <a:pt x="8693" y="-1311"/>
                        <a:pt x="14375" y="125"/>
                        <a:pt x="17006" y="4431"/>
                      </a:cubicBezTo>
                      <a:cubicBezTo>
                        <a:pt x="19638" y="8856"/>
                        <a:pt x="18263" y="14478"/>
                        <a:pt x="13957" y="17110"/>
                      </a:cubicBezTo>
                      <a:close/>
                    </a:path>
                  </a:pathLst>
                </a:custGeom>
                <a:grpFill/>
                <a:ln w="5978" cap="flat">
                  <a:noFill/>
                  <a:prstDash val="solid"/>
                  <a:miter/>
                </a:ln>
              </p:spPr>
              <p:txBody>
                <a:bodyPr rtlCol="0" anchor="ctr"/>
                <a:lstStyle/>
                <a:p>
                  <a:endParaRPr lang="en-GB"/>
                </a:p>
              </p:txBody>
            </p:sp>
            <p:sp>
              <p:nvSpPr>
                <p:cNvPr id="1938" name="Vrije vorm: vorm 1937">
                  <a:extLst>
                    <a:ext uri="{FF2B5EF4-FFF2-40B4-BE49-F238E27FC236}">
                      <a16:creationId xmlns:a16="http://schemas.microsoft.com/office/drawing/2014/main" id="{8419D73D-05E4-4395-A03A-493C0605CFE1}"/>
                    </a:ext>
                  </a:extLst>
                </p:cNvPr>
                <p:cNvSpPr/>
                <p:nvPr/>
              </p:nvSpPr>
              <p:spPr>
                <a:xfrm>
                  <a:off x="4617474" y="4274742"/>
                  <a:ext cx="18343" cy="18384"/>
                </a:xfrm>
                <a:custGeom>
                  <a:avLst/>
                  <a:gdLst>
                    <a:gd name="connsiteX0" fmla="*/ 13956 w 18343"/>
                    <a:gd name="connsiteY0" fmla="*/ 17064 h 18384"/>
                    <a:gd name="connsiteX1" fmla="*/ 17007 w 18343"/>
                    <a:gd name="connsiteY1" fmla="*/ 4444 h 18384"/>
                    <a:gd name="connsiteX2" fmla="*/ 4387 w 18343"/>
                    <a:gd name="connsiteY2" fmla="*/ 1335 h 18384"/>
                    <a:gd name="connsiteX3" fmla="*/ 1337 w 18343"/>
                    <a:gd name="connsiteY3" fmla="*/ 13954 h 18384"/>
                    <a:gd name="connsiteX4" fmla="*/ 13956 w 18343"/>
                    <a:gd name="connsiteY4" fmla="*/ 17064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84">
                      <a:moveTo>
                        <a:pt x="13956" y="17064"/>
                      </a:moveTo>
                      <a:cubicBezTo>
                        <a:pt x="18262" y="14432"/>
                        <a:pt x="19638" y="8751"/>
                        <a:pt x="17007" y="4444"/>
                      </a:cubicBezTo>
                      <a:cubicBezTo>
                        <a:pt x="14375" y="79"/>
                        <a:pt x="8753" y="-1297"/>
                        <a:pt x="4387" y="1335"/>
                      </a:cubicBezTo>
                      <a:cubicBezTo>
                        <a:pt x="81" y="3966"/>
                        <a:pt x="-1294" y="9648"/>
                        <a:pt x="1337" y="13954"/>
                      </a:cubicBezTo>
                      <a:cubicBezTo>
                        <a:pt x="3969" y="18260"/>
                        <a:pt x="9650" y="19695"/>
                        <a:pt x="13956" y="17064"/>
                      </a:cubicBezTo>
                      <a:close/>
                    </a:path>
                  </a:pathLst>
                </a:custGeom>
                <a:grpFill/>
                <a:ln w="5978" cap="flat">
                  <a:noFill/>
                  <a:prstDash val="solid"/>
                  <a:miter/>
                </a:ln>
              </p:spPr>
              <p:txBody>
                <a:bodyPr rtlCol="0" anchor="ctr"/>
                <a:lstStyle/>
                <a:p>
                  <a:endParaRPr lang="en-GB"/>
                </a:p>
              </p:txBody>
            </p:sp>
          </p:grpSp>
          <p:grpSp>
            <p:nvGrpSpPr>
              <p:cNvPr id="1156" name="Graphic 3">
                <a:extLst>
                  <a:ext uri="{FF2B5EF4-FFF2-40B4-BE49-F238E27FC236}">
                    <a16:creationId xmlns:a16="http://schemas.microsoft.com/office/drawing/2014/main" id="{84E0E4D3-4DAD-40C3-A48C-B62493A5A6C1}"/>
                  </a:ext>
                </a:extLst>
              </p:cNvPr>
              <p:cNvGrpSpPr/>
              <p:nvPr/>
            </p:nvGrpSpPr>
            <p:grpSpPr>
              <a:xfrm>
                <a:off x="4656422" y="4727322"/>
                <a:ext cx="98001" cy="98622"/>
                <a:chOff x="4656422" y="4727322"/>
                <a:chExt cx="98001" cy="98622"/>
              </a:xfrm>
              <a:grpFill/>
            </p:grpSpPr>
            <p:sp>
              <p:nvSpPr>
                <p:cNvPr id="1933" name="Vrije vorm: vorm 1932">
                  <a:extLst>
                    <a:ext uri="{FF2B5EF4-FFF2-40B4-BE49-F238E27FC236}">
                      <a16:creationId xmlns:a16="http://schemas.microsoft.com/office/drawing/2014/main" id="{B3E3DEFB-CC30-439C-B2BD-6650442D5797}"/>
                    </a:ext>
                  </a:extLst>
                </p:cNvPr>
                <p:cNvSpPr/>
                <p:nvPr/>
              </p:nvSpPr>
              <p:spPr>
                <a:xfrm>
                  <a:off x="4664205" y="4735097"/>
                  <a:ext cx="82414" cy="83071"/>
                </a:xfrm>
                <a:custGeom>
                  <a:avLst/>
                  <a:gdLst>
                    <a:gd name="connsiteX0" fmla="*/ 82415 w 82414"/>
                    <a:gd name="connsiteY0" fmla="*/ 2153 h 83071"/>
                    <a:gd name="connsiteX1" fmla="*/ 2153 w 82414"/>
                    <a:gd name="connsiteY1" fmla="*/ 83072 h 83071"/>
                    <a:gd name="connsiteX2" fmla="*/ 0 w 82414"/>
                    <a:gd name="connsiteY2" fmla="*/ 80859 h 83071"/>
                    <a:gd name="connsiteX3" fmla="*/ 80262 w 82414"/>
                    <a:gd name="connsiteY3" fmla="*/ 0 h 83071"/>
                  </a:gdLst>
                  <a:ahLst/>
                  <a:cxnLst>
                    <a:cxn ang="0">
                      <a:pos x="connsiteX0" y="connsiteY0"/>
                    </a:cxn>
                    <a:cxn ang="0">
                      <a:pos x="connsiteX1" y="connsiteY1"/>
                    </a:cxn>
                    <a:cxn ang="0">
                      <a:pos x="connsiteX2" y="connsiteY2"/>
                    </a:cxn>
                    <a:cxn ang="0">
                      <a:pos x="connsiteX3" y="connsiteY3"/>
                    </a:cxn>
                  </a:cxnLst>
                  <a:rect l="l" t="t" r="r" b="b"/>
                  <a:pathLst>
                    <a:path w="82414" h="83071">
                      <a:moveTo>
                        <a:pt x="82415" y="2153"/>
                      </a:moveTo>
                      <a:lnTo>
                        <a:pt x="2153" y="83072"/>
                      </a:lnTo>
                      <a:lnTo>
                        <a:pt x="0" y="80859"/>
                      </a:lnTo>
                      <a:lnTo>
                        <a:pt x="80262" y="0"/>
                      </a:lnTo>
                      <a:close/>
                    </a:path>
                  </a:pathLst>
                </a:custGeom>
                <a:grpFill/>
                <a:ln w="5978" cap="flat">
                  <a:noFill/>
                  <a:prstDash val="solid"/>
                  <a:miter/>
                </a:ln>
              </p:spPr>
              <p:txBody>
                <a:bodyPr rtlCol="0" anchor="ctr"/>
                <a:lstStyle/>
                <a:p>
                  <a:endParaRPr lang="en-GB"/>
                </a:p>
              </p:txBody>
            </p:sp>
            <p:sp>
              <p:nvSpPr>
                <p:cNvPr id="1934" name="Vrije vorm: vorm 1933">
                  <a:extLst>
                    <a:ext uri="{FF2B5EF4-FFF2-40B4-BE49-F238E27FC236}">
                      <a16:creationId xmlns:a16="http://schemas.microsoft.com/office/drawing/2014/main" id="{CF8B178F-8703-4FD3-8C3B-16099695E6DF}"/>
                    </a:ext>
                  </a:extLst>
                </p:cNvPr>
                <p:cNvSpPr/>
                <p:nvPr/>
              </p:nvSpPr>
              <p:spPr>
                <a:xfrm>
                  <a:off x="4656422" y="4807523"/>
                  <a:ext cx="18338" cy="18420"/>
                </a:xfrm>
                <a:custGeom>
                  <a:avLst/>
                  <a:gdLst>
                    <a:gd name="connsiteX0" fmla="*/ 15677 w 18338"/>
                    <a:gd name="connsiteY0" fmla="*/ 15729 h 18420"/>
                    <a:gd name="connsiteX1" fmla="*/ 2699 w 18338"/>
                    <a:gd name="connsiteY1" fmla="*/ 15729 h 18420"/>
                    <a:gd name="connsiteX2" fmla="*/ 2639 w 18338"/>
                    <a:gd name="connsiteY2" fmla="*/ 2691 h 18420"/>
                    <a:gd name="connsiteX3" fmla="*/ 15617 w 18338"/>
                    <a:gd name="connsiteY3" fmla="*/ 2691 h 18420"/>
                    <a:gd name="connsiteX4" fmla="*/ 15677 w 18338"/>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0">
                      <a:moveTo>
                        <a:pt x="15677" y="15729"/>
                      </a:moveTo>
                      <a:cubicBezTo>
                        <a:pt x="12089" y="19318"/>
                        <a:pt x="6287" y="19318"/>
                        <a:pt x="2699" y="15729"/>
                      </a:cubicBezTo>
                      <a:cubicBezTo>
                        <a:pt x="-890" y="12141"/>
                        <a:pt x="-890" y="6280"/>
                        <a:pt x="2639" y="2691"/>
                      </a:cubicBezTo>
                      <a:cubicBezTo>
                        <a:pt x="6227" y="-897"/>
                        <a:pt x="12029" y="-897"/>
                        <a:pt x="15617" y="2691"/>
                      </a:cubicBezTo>
                      <a:cubicBezTo>
                        <a:pt x="19206" y="6280"/>
                        <a:pt x="19266" y="12141"/>
                        <a:pt x="15677" y="15729"/>
                      </a:cubicBezTo>
                      <a:close/>
                    </a:path>
                  </a:pathLst>
                </a:custGeom>
                <a:grpFill/>
                <a:ln w="5978" cap="flat">
                  <a:noFill/>
                  <a:prstDash val="solid"/>
                  <a:miter/>
                </a:ln>
              </p:spPr>
              <p:txBody>
                <a:bodyPr rtlCol="0" anchor="ctr"/>
                <a:lstStyle/>
                <a:p>
                  <a:endParaRPr lang="en-GB"/>
                </a:p>
              </p:txBody>
            </p:sp>
            <p:sp>
              <p:nvSpPr>
                <p:cNvPr id="1935" name="Vrije vorm: vorm 1934">
                  <a:extLst>
                    <a:ext uri="{FF2B5EF4-FFF2-40B4-BE49-F238E27FC236}">
                      <a16:creationId xmlns:a16="http://schemas.microsoft.com/office/drawing/2014/main" id="{A7E2B4AA-C37E-48A2-B70E-FBEE6D4C7488}"/>
                    </a:ext>
                  </a:extLst>
                </p:cNvPr>
                <p:cNvSpPr/>
                <p:nvPr/>
              </p:nvSpPr>
              <p:spPr>
                <a:xfrm>
                  <a:off x="4736063" y="4727322"/>
                  <a:ext cx="18361" cy="18420"/>
                </a:xfrm>
                <a:custGeom>
                  <a:avLst/>
                  <a:gdLst>
                    <a:gd name="connsiteX0" fmla="*/ 15700 w 18361"/>
                    <a:gd name="connsiteY0" fmla="*/ 15729 h 18420"/>
                    <a:gd name="connsiteX1" fmla="*/ 15640 w 18361"/>
                    <a:gd name="connsiteY1" fmla="*/ 2691 h 18420"/>
                    <a:gd name="connsiteX2" fmla="*/ 2662 w 18361"/>
                    <a:gd name="connsiteY2" fmla="*/ 2691 h 18420"/>
                    <a:gd name="connsiteX3" fmla="*/ 2721 w 18361"/>
                    <a:gd name="connsiteY3" fmla="*/ 15729 h 18420"/>
                    <a:gd name="connsiteX4" fmla="*/ 15700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700" y="15729"/>
                      </a:moveTo>
                      <a:cubicBezTo>
                        <a:pt x="19288" y="12141"/>
                        <a:pt x="19228" y="6280"/>
                        <a:pt x="15640" y="2691"/>
                      </a:cubicBezTo>
                      <a:cubicBezTo>
                        <a:pt x="12051" y="-897"/>
                        <a:pt x="6250" y="-897"/>
                        <a:pt x="2662" y="2691"/>
                      </a:cubicBezTo>
                      <a:cubicBezTo>
                        <a:pt x="-927" y="6280"/>
                        <a:pt x="-867" y="12141"/>
                        <a:pt x="2721" y="15729"/>
                      </a:cubicBezTo>
                      <a:cubicBezTo>
                        <a:pt x="6310" y="19318"/>
                        <a:pt x="12111" y="19318"/>
                        <a:pt x="15700" y="15729"/>
                      </a:cubicBezTo>
                      <a:close/>
                    </a:path>
                  </a:pathLst>
                </a:custGeom>
                <a:grpFill/>
                <a:ln w="5978" cap="flat">
                  <a:noFill/>
                  <a:prstDash val="solid"/>
                  <a:miter/>
                </a:ln>
              </p:spPr>
              <p:txBody>
                <a:bodyPr rtlCol="0" anchor="ctr"/>
                <a:lstStyle/>
                <a:p>
                  <a:endParaRPr lang="en-GB"/>
                </a:p>
              </p:txBody>
            </p:sp>
          </p:grpSp>
          <p:grpSp>
            <p:nvGrpSpPr>
              <p:cNvPr id="1157" name="Graphic 3">
                <a:extLst>
                  <a:ext uri="{FF2B5EF4-FFF2-40B4-BE49-F238E27FC236}">
                    <a16:creationId xmlns:a16="http://schemas.microsoft.com/office/drawing/2014/main" id="{4244CFAD-32D8-4706-8AD2-8BE73AC8D03F}"/>
                  </a:ext>
                </a:extLst>
              </p:cNvPr>
              <p:cNvGrpSpPr/>
              <p:nvPr/>
            </p:nvGrpSpPr>
            <p:grpSpPr>
              <a:xfrm>
                <a:off x="4437894" y="4084405"/>
                <a:ext cx="86959" cy="48661"/>
                <a:chOff x="4437894" y="4084405"/>
                <a:chExt cx="86959" cy="48661"/>
              </a:xfrm>
              <a:grpFill/>
            </p:grpSpPr>
            <p:sp>
              <p:nvSpPr>
                <p:cNvPr id="1930" name="Vrije vorm: vorm 1929">
                  <a:extLst>
                    <a:ext uri="{FF2B5EF4-FFF2-40B4-BE49-F238E27FC236}">
                      <a16:creationId xmlns:a16="http://schemas.microsoft.com/office/drawing/2014/main" id="{4D868BD2-8517-4AD8-9D0C-7E1655EE706D}"/>
                    </a:ext>
                  </a:extLst>
                </p:cNvPr>
                <p:cNvSpPr/>
                <p:nvPr/>
              </p:nvSpPr>
              <p:spPr>
                <a:xfrm>
                  <a:off x="4446028" y="4092050"/>
                  <a:ext cx="70692" cy="33372"/>
                </a:xfrm>
                <a:custGeom>
                  <a:avLst/>
                  <a:gdLst>
                    <a:gd name="connsiteX0" fmla="*/ 70692 w 70692"/>
                    <a:gd name="connsiteY0" fmla="*/ 2811 h 33372"/>
                    <a:gd name="connsiteX1" fmla="*/ 1196 w 70692"/>
                    <a:gd name="connsiteY1" fmla="*/ 33373 h 33372"/>
                    <a:gd name="connsiteX2" fmla="*/ 0 w 70692"/>
                    <a:gd name="connsiteY2" fmla="*/ 30561 h 33372"/>
                    <a:gd name="connsiteX3" fmla="*/ 69496 w 70692"/>
                    <a:gd name="connsiteY3" fmla="*/ 0 h 33372"/>
                  </a:gdLst>
                  <a:ahLst/>
                  <a:cxnLst>
                    <a:cxn ang="0">
                      <a:pos x="connsiteX0" y="connsiteY0"/>
                    </a:cxn>
                    <a:cxn ang="0">
                      <a:pos x="connsiteX1" y="connsiteY1"/>
                    </a:cxn>
                    <a:cxn ang="0">
                      <a:pos x="connsiteX2" y="connsiteY2"/>
                    </a:cxn>
                    <a:cxn ang="0">
                      <a:pos x="connsiteX3" y="connsiteY3"/>
                    </a:cxn>
                  </a:cxnLst>
                  <a:rect l="l" t="t" r="r" b="b"/>
                  <a:pathLst>
                    <a:path w="70692" h="33372">
                      <a:moveTo>
                        <a:pt x="70692" y="2811"/>
                      </a:moveTo>
                      <a:lnTo>
                        <a:pt x="1196" y="33373"/>
                      </a:lnTo>
                      <a:lnTo>
                        <a:pt x="0" y="30561"/>
                      </a:lnTo>
                      <a:lnTo>
                        <a:pt x="69496" y="0"/>
                      </a:lnTo>
                      <a:close/>
                    </a:path>
                  </a:pathLst>
                </a:custGeom>
                <a:grpFill/>
                <a:ln w="5978" cap="flat">
                  <a:noFill/>
                  <a:prstDash val="solid"/>
                  <a:miter/>
                </a:ln>
              </p:spPr>
              <p:txBody>
                <a:bodyPr rtlCol="0" anchor="ctr"/>
                <a:lstStyle/>
                <a:p>
                  <a:endParaRPr lang="en-GB"/>
                </a:p>
              </p:txBody>
            </p:sp>
            <p:sp>
              <p:nvSpPr>
                <p:cNvPr id="1931" name="Vrije vorm: vorm 1930">
                  <a:extLst>
                    <a:ext uri="{FF2B5EF4-FFF2-40B4-BE49-F238E27FC236}">
                      <a16:creationId xmlns:a16="http://schemas.microsoft.com/office/drawing/2014/main" id="{64E0BA1F-0881-4878-B782-9952E25F09AA}"/>
                    </a:ext>
                  </a:extLst>
                </p:cNvPr>
                <p:cNvSpPr/>
                <p:nvPr/>
              </p:nvSpPr>
              <p:spPr>
                <a:xfrm>
                  <a:off x="4437894" y="4114608"/>
                  <a:ext cx="18301" cy="18458"/>
                </a:xfrm>
                <a:custGeom>
                  <a:avLst/>
                  <a:gdLst>
                    <a:gd name="connsiteX0" fmla="*/ 12859 w 18301"/>
                    <a:gd name="connsiteY0" fmla="*/ 17692 h 18458"/>
                    <a:gd name="connsiteX1" fmla="*/ 778 w 18301"/>
                    <a:gd name="connsiteY1" fmla="*/ 12907 h 18458"/>
                    <a:gd name="connsiteX2" fmla="*/ 5442 w 18301"/>
                    <a:gd name="connsiteY2" fmla="*/ 767 h 18458"/>
                    <a:gd name="connsiteX3" fmla="*/ 17524 w 18301"/>
                    <a:gd name="connsiteY3" fmla="*/ 5551 h 18458"/>
                    <a:gd name="connsiteX4" fmla="*/ 12859 w 18301"/>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58">
                      <a:moveTo>
                        <a:pt x="12859" y="17692"/>
                      </a:moveTo>
                      <a:cubicBezTo>
                        <a:pt x="8254" y="19726"/>
                        <a:pt x="2811" y="17573"/>
                        <a:pt x="778" y="12907"/>
                      </a:cubicBezTo>
                      <a:cubicBezTo>
                        <a:pt x="-1256" y="8243"/>
                        <a:pt x="837" y="2800"/>
                        <a:pt x="5442" y="767"/>
                      </a:cubicBezTo>
                      <a:cubicBezTo>
                        <a:pt x="10048" y="-1267"/>
                        <a:pt x="15490" y="886"/>
                        <a:pt x="17524" y="5551"/>
                      </a:cubicBezTo>
                      <a:cubicBezTo>
                        <a:pt x="19557" y="10216"/>
                        <a:pt x="17464" y="15659"/>
                        <a:pt x="12859" y="17692"/>
                      </a:cubicBezTo>
                      <a:close/>
                    </a:path>
                  </a:pathLst>
                </a:custGeom>
                <a:grpFill/>
                <a:ln w="5978" cap="flat">
                  <a:noFill/>
                  <a:prstDash val="solid"/>
                  <a:miter/>
                </a:ln>
              </p:spPr>
              <p:txBody>
                <a:bodyPr rtlCol="0" anchor="ctr"/>
                <a:lstStyle/>
                <a:p>
                  <a:endParaRPr lang="en-GB"/>
                </a:p>
              </p:txBody>
            </p:sp>
            <p:sp>
              <p:nvSpPr>
                <p:cNvPr id="1932" name="Vrije vorm: vorm 1931">
                  <a:extLst>
                    <a:ext uri="{FF2B5EF4-FFF2-40B4-BE49-F238E27FC236}">
                      <a16:creationId xmlns:a16="http://schemas.microsoft.com/office/drawing/2014/main" id="{928811B1-6655-4D7F-A1C0-9171BDC66BA5}"/>
                    </a:ext>
                  </a:extLst>
                </p:cNvPr>
                <p:cNvSpPr/>
                <p:nvPr/>
              </p:nvSpPr>
              <p:spPr>
                <a:xfrm>
                  <a:off x="4506553" y="4084405"/>
                  <a:ext cx="18301" cy="18467"/>
                </a:xfrm>
                <a:custGeom>
                  <a:avLst/>
                  <a:gdLst>
                    <a:gd name="connsiteX0" fmla="*/ 12859 w 18301"/>
                    <a:gd name="connsiteY0" fmla="*/ 17692 h 18467"/>
                    <a:gd name="connsiteX1" fmla="*/ 17524 w 18301"/>
                    <a:gd name="connsiteY1" fmla="*/ 5551 h 18467"/>
                    <a:gd name="connsiteX2" fmla="*/ 5442 w 18301"/>
                    <a:gd name="connsiteY2" fmla="*/ 767 h 18467"/>
                    <a:gd name="connsiteX3" fmla="*/ 778 w 18301"/>
                    <a:gd name="connsiteY3" fmla="*/ 12908 h 18467"/>
                    <a:gd name="connsiteX4" fmla="*/ 12859 w 18301"/>
                    <a:gd name="connsiteY4" fmla="*/ 1769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7">
                      <a:moveTo>
                        <a:pt x="12859" y="17692"/>
                      </a:moveTo>
                      <a:cubicBezTo>
                        <a:pt x="17464" y="15659"/>
                        <a:pt x="19557" y="10216"/>
                        <a:pt x="17524" y="5551"/>
                      </a:cubicBezTo>
                      <a:cubicBezTo>
                        <a:pt x="15490" y="886"/>
                        <a:pt x="10048" y="-1267"/>
                        <a:pt x="5442" y="767"/>
                      </a:cubicBezTo>
                      <a:cubicBezTo>
                        <a:pt x="838" y="2800"/>
                        <a:pt x="-1256" y="8242"/>
                        <a:pt x="778" y="12908"/>
                      </a:cubicBezTo>
                      <a:cubicBezTo>
                        <a:pt x="2811" y="17632"/>
                        <a:pt x="8194" y="19726"/>
                        <a:pt x="12859" y="17692"/>
                      </a:cubicBezTo>
                      <a:close/>
                    </a:path>
                  </a:pathLst>
                </a:custGeom>
                <a:grpFill/>
                <a:ln w="5978" cap="flat">
                  <a:noFill/>
                  <a:prstDash val="solid"/>
                  <a:miter/>
                </a:ln>
              </p:spPr>
              <p:txBody>
                <a:bodyPr rtlCol="0" anchor="ctr"/>
                <a:lstStyle/>
                <a:p>
                  <a:endParaRPr lang="en-GB"/>
                </a:p>
              </p:txBody>
            </p:sp>
          </p:grpSp>
          <p:grpSp>
            <p:nvGrpSpPr>
              <p:cNvPr id="1158" name="Graphic 3">
                <a:extLst>
                  <a:ext uri="{FF2B5EF4-FFF2-40B4-BE49-F238E27FC236}">
                    <a16:creationId xmlns:a16="http://schemas.microsoft.com/office/drawing/2014/main" id="{9A75918F-875F-4086-B1D2-FEECA8B3BA26}"/>
                  </a:ext>
                </a:extLst>
              </p:cNvPr>
              <p:cNvGrpSpPr/>
              <p:nvPr/>
            </p:nvGrpSpPr>
            <p:grpSpPr>
              <a:xfrm>
                <a:off x="4411283" y="3992804"/>
                <a:ext cx="88478" cy="44691"/>
                <a:chOff x="4411283" y="3992804"/>
                <a:chExt cx="88478" cy="44691"/>
              </a:xfrm>
              <a:grpFill/>
            </p:grpSpPr>
            <p:sp>
              <p:nvSpPr>
                <p:cNvPr id="1927" name="Vrije vorm: vorm 1926">
                  <a:extLst>
                    <a:ext uri="{FF2B5EF4-FFF2-40B4-BE49-F238E27FC236}">
                      <a16:creationId xmlns:a16="http://schemas.microsoft.com/office/drawing/2014/main" id="{3E6D13E6-FBDE-417C-B4FF-4E2281CB446A}"/>
                    </a:ext>
                  </a:extLst>
                </p:cNvPr>
                <p:cNvSpPr/>
                <p:nvPr/>
              </p:nvSpPr>
              <p:spPr>
                <a:xfrm>
                  <a:off x="4419659" y="4000242"/>
                  <a:ext cx="72103" cy="29414"/>
                </a:xfrm>
                <a:custGeom>
                  <a:avLst/>
                  <a:gdLst>
                    <a:gd name="connsiteX0" fmla="*/ 0 w 72103"/>
                    <a:gd name="connsiteY0" fmla="*/ 26558 h 29414"/>
                    <a:gd name="connsiteX1" fmla="*/ 71035 w 72103"/>
                    <a:gd name="connsiteY1" fmla="*/ 0 h 29414"/>
                    <a:gd name="connsiteX2" fmla="*/ 72103 w 72103"/>
                    <a:gd name="connsiteY2" fmla="*/ 2857 h 29414"/>
                    <a:gd name="connsiteX3" fmla="*/ 1068 w 72103"/>
                    <a:gd name="connsiteY3" fmla="*/ 29415 h 29414"/>
                  </a:gdLst>
                  <a:ahLst/>
                  <a:cxnLst>
                    <a:cxn ang="0">
                      <a:pos x="connsiteX0" y="connsiteY0"/>
                    </a:cxn>
                    <a:cxn ang="0">
                      <a:pos x="connsiteX1" y="connsiteY1"/>
                    </a:cxn>
                    <a:cxn ang="0">
                      <a:pos x="connsiteX2" y="connsiteY2"/>
                    </a:cxn>
                    <a:cxn ang="0">
                      <a:pos x="connsiteX3" y="connsiteY3"/>
                    </a:cxn>
                  </a:cxnLst>
                  <a:rect l="l" t="t" r="r" b="b"/>
                  <a:pathLst>
                    <a:path w="72103" h="29414">
                      <a:moveTo>
                        <a:pt x="0" y="26558"/>
                      </a:moveTo>
                      <a:lnTo>
                        <a:pt x="71035" y="0"/>
                      </a:lnTo>
                      <a:lnTo>
                        <a:pt x="72103" y="2857"/>
                      </a:lnTo>
                      <a:lnTo>
                        <a:pt x="1068" y="29415"/>
                      </a:lnTo>
                      <a:close/>
                    </a:path>
                  </a:pathLst>
                </a:custGeom>
                <a:grpFill/>
                <a:ln w="5978" cap="flat">
                  <a:noFill/>
                  <a:prstDash val="solid"/>
                  <a:miter/>
                </a:ln>
              </p:spPr>
              <p:txBody>
                <a:bodyPr rtlCol="0" anchor="ctr"/>
                <a:lstStyle/>
                <a:p>
                  <a:endParaRPr lang="en-GB"/>
                </a:p>
              </p:txBody>
            </p:sp>
            <p:sp>
              <p:nvSpPr>
                <p:cNvPr id="1928" name="Vrije vorm: vorm 1927">
                  <a:extLst>
                    <a:ext uri="{FF2B5EF4-FFF2-40B4-BE49-F238E27FC236}">
                      <a16:creationId xmlns:a16="http://schemas.microsoft.com/office/drawing/2014/main" id="{19F7DBB9-EE6E-447F-A6E0-5FBC4A74B0B0}"/>
                    </a:ext>
                  </a:extLst>
                </p:cNvPr>
                <p:cNvSpPr/>
                <p:nvPr/>
              </p:nvSpPr>
              <p:spPr>
                <a:xfrm>
                  <a:off x="4411283" y="4019035"/>
                  <a:ext cx="18349" cy="18460"/>
                </a:xfrm>
                <a:custGeom>
                  <a:avLst/>
                  <a:gdLst>
                    <a:gd name="connsiteX0" fmla="*/ 12378 w 18349"/>
                    <a:gd name="connsiteY0" fmla="*/ 17872 h 18460"/>
                    <a:gd name="connsiteX1" fmla="*/ 596 w 18349"/>
                    <a:gd name="connsiteY1" fmla="*/ 12430 h 18460"/>
                    <a:gd name="connsiteX2" fmla="*/ 5978 w 18349"/>
                    <a:gd name="connsiteY2" fmla="*/ 588 h 18460"/>
                    <a:gd name="connsiteX3" fmla="*/ 17760 w 18349"/>
                    <a:gd name="connsiteY3" fmla="*/ 6030 h 18460"/>
                    <a:gd name="connsiteX4" fmla="*/ 12378 w 18349"/>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0">
                      <a:moveTo>
                        <a:pt x="12378" y="17872"/>
                      </a:moveTo>
                      <a:cubicBezTo>
                        <a:pt x="7653" y="19667"/>
                        <a:pt x="2330" y="17214"/>
                        <a:pt x="596" y="12430"/>
                      </a:cubicBezTo>
                      <a:cubicBezTo>
                        <a:pt x="-1198" y="7645"/>
                        <a:pt x="1194" y="2382"/>
                        <a:pt x="5978" y="588"/>
                      </a:cubicBezTo>
                      <a:cubicBezTo>
                        <a:pt x="10703" y="-1206"/>
                        <a:pt x="16026" y="1246"/>
                        <a:pt x="17760" y="6030"/>
                      </a:cubicBezTo>
                      <a:cubicBezTo>
                        <a:pt x="19555" y="10755"/>
                        <a:pt x="17103" y="16078"/>
                        <a:pt x="12378" y="17872"/>
                      </a:cubicBezTo>
                      <a:close/>
                    </a:path>
                  </a:pathLst>
                </a:custGeom>
                <a:grpFill/>
                <a:ln w="5978" cap="flat">
                  <a:noFill/>
                  <a:prstDash val="solid"/>
                  <a:miter/>
                </a:ln>
              </p:spPr>
              <p:txBody>
                <a:bodyPr rtlCol="0" anchor="ctr"/>
                <a:lstStyle/>
                <a:p>
                  <a:endParaRPr lang="en-GB"/>
                </a:p>
              </p:txBody>
            </p:sp>
            <p:sp>
              <p:nvSpPr>
                <p:cNvPr id="1929" name="Vrije vorm: vorm 1928">
                  <a:extLst>
                    <a:ext uri="{FF2B5EF4-FFF2-40B4-BE49-F238E27FC236}">
                      <a16:creationId xmlns:a16="http://schemas.microsoft.com/office/drawing/2014/main" id="{04C94F67-C3F5-47B8-AEB8-2F5933C1D5BD}"/>
                    </a:ext>
                  </a:extLst>
                </p:cNvPr>
                <p:cNvSpPr/>
                <p:nvPr/>
              </p:nvSpPr>
              <p:spPr>
                <a:xfrm>
                  <a:off x="4481468" y="3992804"/>
                  <a:ext cx="18293" cy="18436"/>
                </a:xfrm>
                <a:custGeom>
                  <a:avLst/>
                  <a:gdLst>
                    <a:gd name="connsiteX0" fmla="*/ 12347 w 18293"/>
                    <a:gd name="connsiteY0" fmla="*/ 17848 h 18436"/>
                    <a:gd name="connsiteX1" fmla="*/ 17729 w 18293"/>
                    <a:gd name="connsiteY1" fmla="*/ 6006 h 18436"/>
                    <a:gd name="connsiteX2" fmla="*/ 5947 w 18293"/>
                    <a:gd name="connsiteY2" fmla="*/ 564 h 18436"/>
                    <a:gd name="connsiteX3" fmla="*/ 565 w 18293"/>
                    <a:gd name="connsiteY3" fmla="*/ 12406 h 18436"/>
                    <a:gd name="connsiteX4" fmla="*/ 12347 w 18293"/>
                    <a:gd name="connsiteY4" fmla="*/ 17848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36">
                      <a:moveTo>
                        <a:pt x="12347" y="17848"/>
                      </a:moveTo>
                      <a:cubicBezTo>
                        <a:pt x="17071" y="16054"/>
                        <a:pt x="19464" y="10791"/>
                        <a:pt x="17729" y="6006"/>
                      </a:cubicBezTo>
                      <a:cubicBezTo>
                        <a:pt x="15935" y="1222"/>
                        <a:pt x="10672" y="-1170"/>
                        <a:pt x="5947" y="564"/>
                      </a:cubicBezTo>
                      <a:cubicBezTo>
                        <a:pt x="1223" y="2358"/>
                        <a:pt x="-1170" y="7621"/>
                        <a:pt x="565" y="12406"/>
                      </a:cubicBezTo>
                      <a:cubicBezTo>
                        <a:pt x="2359" y="17191"/>
                        <a:pt x="7622" y="19642"/>
                        <a:pt x="12347" y="17848"/>
                      </a:cubicBezTo>
                      <a:close/>
                    </a:path>
                  </a:pathLst>
                </a:custGeom>
                <a:grpFill/>
                <a:ln w="5978" cap="flat">
                  <a:noFill/>
                  <a:prstDash val="solid"/>
                  <a:miter/>
                </a:ln>
              </p:spPr>
              <p:txBody>
                <a:bodyPr rtlCol="0" anchor="ctr"/>
                <a:lstStyle/>
                <a:p>
                  <a:endParaRPr lang="en-GB"/>
                </a:p>
              </p:txBody>
            </p:sp>
          </p:grpSp>
          <p:grpSp>
            <p:nvGrpSpPr>
              <p:cNvPr id="1159" name="Graphic 3">
                <a:extLst>
                  <a:ext uri="{FF2B5EF4-FFF2-40B4-BE49-F238E27FC236}">
                    <a16:creationId xmlns:a16="http://schemas.microsoft.com/office/drawing/2014/main" id="{819B25AF-FF74-4C12-9F8B-A8538B911AEF}"/>
                  </a:ext>
                </a:extLst>
              </p:cNvPr>
              <p:cNvGrpSpPr/>
              <p:nvPr/>
            </p:nvGrpSpPr>
            <p:grpSpPr>
              <a:xfrm>
                <a:off x="4536440" y="4566940"/>
                <a:ext cx="286177" cy="219107"/>
                <a:chOff x="4536440" y="4566940"/>
                <a:chExt cx="286177" cy="219107"/>
              </a:xfrm>
              <a:grpFill/>
            </p:grpSpPr>
            <p:sp>
              <p:nvSpPr>
                <p:cNvPr id="1924" name="Vrije vorm: vorm 1923">
                  <a:extLst>
                    <a:ext uri="{FF2B5EF4-FFF2-40B4-BE49-F238E27FC236}">
                      <a16:creationId xmlns:a16="http://schemas.microsoft.com/office/drawing/2014/main" id="{DC41B673-A54F-4B37-A20E-5ED7F1A5B19F}"/>
                    </a:ext>
                  </a:extLst>
                </p:cNvPr>
                <p:cNvSpPr/>
                <p:nvPr/>
              </p:nvSpPr>
              <p:spPr>
                <a:xfrm>
                  <a:off x="4544351" y="4574694"/>
                  <a:ext cx="270328" cy="203643"/>
                </a:xfrm>
                <a:custGeom>
                  <a:avLst/>
                  <a:gdLst>
                    <a:gd name="connsiteX0" fmla="*/ 270329 w 270328"/>
                    <a:gd name="connsiteY0" fmla="*/ 2452 h 203643"/>
                    <a:gd name="connsiteX1" fmla="*/ 1794 w 270328"/>
                    <a:gd name="connsiteY1" fmla="*/ 203643 h 203643"/>
                    <a:gd name="connsiteX2" fmla="*/ 0 w 270328"/>
                    <a:gd name="connsiteY2" fmla="*/ 201192 h 203643"/>
                    <a:gd name="connsiteX3" fmla="*/ 268475 w 270328"/>
                    <a:gd name="connsiteY3" fmla="*/ 0 h 203643"/>
                  </a:gdLst>
                  <a:ahLst/>
                  <a:cxnLst>
                    <a:cxn ang="0">
                      <a:pos x="connsiteX0" y="connsiteY0"/>
                    </a:cxn>
                    <a:cxn ang="0">
                      <a:pos x="connsiteX1" y="connsiteY1"/>
                    </a:cxn>
                    <a:cxn ang="0">
                      <a:pos x="connsiteX2" y="connsiteY2"/>
                    </a:cxn>
                    <a:cxn ang="0">
                      <a:pos x="connsiteX3" y="connsiteY3"/>
                    </a:cxn>
                  </a:cxnLst>
                  <a:rect l="l" t="t" r="r" b="b"/>
                  <a:pathLst>
                    <a:path w="270328" h="203643">
                      <a:moveTo>
                        <a:pt x="270329" y="2452"/>
                      </a:moveTo>
                      <a:lnTo>
                        <a:pt x="1794" y="203643"/>
                      </a:lnTo>
                      <a:lnTo>
                        <a:pt x="0" y="201192"/>
                      </a:lnTo>
                      <a:lnTo>
                        <a:pt x="268475" y="0"/>
                      </a:lnTo>
                      <a:close/>
                    </a:path>
                  </a:pathLst>
                </a:custGeom>
                <a:grpFill/>
                <a:ln w="5978" cap="flat">
                  <a:noFill/>
                  <a:prstDash val="solid"/>
                  <a:miter/>
                </a:ln>
              </p:spPr>
              <p:txBody>
                <a:bodyPr rtlCol="0" anchor="ctr"/>
                <a:lstStyle/>
                <a:p>
                  <a:endParaRPr lang="en-GB"/>
                </a:p>
              </p:txBody>
            </p:sp>
            <p:sp>
              <p:nvSpPr>
                <p:cNvPr id="1925" name="Vrije vorm: vorm 1924">
                  <a:extLst>
                    <a:ext uri="{FF2B5EF4-FFF2-40B4-BE49-F238E27FC236}">
                      <a16:creationId xmlns:a16="http://schemas.microsoft.com/office/drawing/2014/main" id="{4FE4CD5F-05F0-4231-922E-B909BFD4C364}"/>
                    </a:ext>
                  </a:extLst>
                </p:cNvPr>
                <p:cNvSpPr/>
                <p:nvPr/>
              </p:nvSpPr>
              <p:spPr>
                <a:xfrm>
                  <a:off x="4804244" y="4566940"/>
                  <a:ext cx="18373" cy="18497"/>
                </a:xfrm>
                <a:custGeom>
                  <a:avLst/>
                  <a:gdLst>
                    <a:gd name="connsiteX0" fmla="*/ 3678 w 18373"/>
                    <a:gd name="connsiteY0" fmla="*/ 1833 h 18497"/>
                    <a:gd name="connsiteX1" fmla="*/ 16537 w 18373"/>
                    <a:gd name="connsiteY1" fmla="*/ 3747 h 18497"/>
                    <a:gd name="connsiteX2" fmla="*/ 14683 w 18373"/>
                    <a:gd name="connsiteY2" fmla="*/ 16665 h 18497"/>
                    <a:gd name="connsiteX3" fmla="*/ 1884 w 18373"/>
                    <a:gd name="connsiteY3" fmla="*/ 14751 h 18497"/>
                    <a:gd name="connsiteX4" fmla="*/ 3678 w 18373"/>
                    <a:gd name="connsiteY4" fmla="*/ 1833 h 18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97">
                      <a:moveTo>
                        <a:pt x="3678" y="1833"/>
                      </a:moveTo>
                      <a:cubicBezTo>
                        <a:pt x="7745" y="-1217"/>
                        <a:pt x="13487" y="-380"/>
                        <a:pt x="16537" y="3747"/>
                      </a:cubicBezTo>
                      <a:cubicBezTo>
                        <a:pt x="19587" y="7813"/>
                        <a:pt x="18750" y="13615"/>
                        <a:pt x="14683" y="16665"/>
                      </a:cubicBezTo>
                      <a:cubicBezTo>
                        <a:pt x="10616" y="19715"/>
                        <a:pt x="4875" y="18878"/>
                        <a:pt x="1884" y="14751"/>
                      </a:cubicBezTo>
                      <a:cubicBezTo>
                        <a:pt x="-1226" y="10684"/>
                        <a:pt x="-389" y="4883"/>
                        <a:pt x="3678" y="1833"/>
                      </a:cubicBezTo>
                      <a:close/>
                    </a:path>
                  </a:pathLst>
                </a:custGeom>
                <a:grpFill/>
                <a:ln w="5978" cap="flat">
                  <a:noFill/>
                  <a:prstDash val="solid"/>
                  <a:miter/>
                </a:ln>
              </p:spPr>
              <p:txBody>
                <a:bodyPr rtlCol="0" anchor="ctr"/>
                <a:lstStyle/>
                <a:p>
                  <a:endParaRPr lang="en-GB"/>
                </a:p>
              </p:txBody>
            </p:sp>
            <p:sp>
              <p:nvSpPr>
                <p:cNvPr id="1926" name="Vrije vorm: vorm 1925">
                  <a:extLst>
                    <a:ext uri="{FF2B5EF4-FFF2-40B4-BE49-F238E27FC236}">
                      <a16:creationId xmlns:a16="http://schemas.microsoft.com/office/drawing/2014/main" id="{DE5FB697-92D5-418B-8BED-755E33B2949A}"/>
                    </a:ext>
                  </a:extLst>
                </p:cNvPr>
                <p:cNvSpPr/>
                <p:nvPr/>
              </p:nvSpPr>
              <p:spPr>
                <a:xfrm>
                  <a:off x="4536440" y="4767653"/>
                  <a:ext cx="18334" cy="18394"/>
                </a:xfrm>
                <a:custGeom>
                  <a:avLst/>
                  <a:gdLst>
                    <a:gd name="connsiteX0" fmla="*/ 3665 w 18334"/>
                    <a:gd name="connsiteY0" fmla="*/ 1833 h 18394"/>
                    <a:gd name="connsiteX1" fmla="*/ 1811 w 18334"/>
                    <a:gd name="connsiteY1" fmla="*/ 14691 h 18394"/>
                    <a:gd name="connsiteX2" fmla="*/ 14670 w 18334"/>
                    <a:gd name="connsiteY2" fmla="*/ 16605 h 18394"/>
                    <a:gd name="connsiteX3" fmla="*/ 16524 w 18334"/>
                    <a:gd name="connsiteY3" fmla="*/ 3747 h 18394"/>
                    <a:gd name="connsiteX4" fmla="*/ 3665 w 18334"/>
                    <a:gd name="connsiteY4" fmla="*/ 1833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94">
                      <a:moveTo>
                        <a:pt x="3665" y="1833"/>
                      </a:moveTo>
                      <a:cubicBezTo>
                        <a:pt x="-402" y="4883"/>
                        <a:pt x="-1179" y="10624"/>
                        <a:pt x="1811" y="14691"/>
                      </a:cubicBezTo>
                      <a:cubicBezTo>
                        <a:pt x="4861" y="18758"/>
                        <a:pt x="10603" y="19595"/>
                        <a:pt x="14670" y="16605"/>
                      </a:cubicBezTo>
                      <a:cubicBezTo>
                        <a:pt x="18737" y="13555"/>
                        <a:pt x="19514" y="7813"/>
                        <a:pt x="16524" y="3747"/>
                      </a:cubicBezTo>
                      <a:cubicBezTo>
                        <a:pt x="13474" y="-380"/>
                        <a:pt x="7732" y="-1217"/>
                        <a:pt x="3665" y="1833"/>
                      </a:cubicBezTo>
                      <a:close/>
                    </a:path>
                  </a:pathLst>
                </a:custGeom>
                <a:grpFill/>
                <a:ln w="5978" cap="flat">
                  <a:noFill/>
                  <a:prstDash val="solid"/>
                  <a:miter/>
                </a:ln>
              </p:spPr>
              <p:txBody>
                <a:bodyPr rtlCol="0" anchor="ctr"/>
                <a:lstStyle/>
                <a:p>
                  <a:endParaRPr lang="en-GB"/>
                </a:p>
              </p:txBody>
            </p:sp>
          </p:grpSp>
          <p:grpSp>
            <p:nvGrpSpPr>
              <p:cNvPr id="1160" name="Graphic 3">
                <a:extLst>
                  <a:ext uri="{FF2B5EF4-FFF2-40B4-BE49-F238E27FC236}">
                    <a16:creationId xmlns:a16="http://schemas.microsoft.com/office/drawing/2014/main" id="{3175BCFC-2FDF-4A03-8233-3F939D42E408}"/>
                  </a:ext>
                </a:extLst>
              </p:cNvPr>
              <p:cNvGrpSpPr/>
              <p:nvPr/>
            </p:nvGrpSpPr>
            <p:grpSpPr>
              <a:xfrm>
                <a:off x="3879630" y="3000963"/>
                <a:ext cx="523058" cy="144146"/>
                <a:chOff x="3879630" y="3000963"/>
                <a:chExt cx="523058" cy="144146"/>
              </a:xfrm>
              <a:grpFill/>
            </p:grpSpPr>
            <p:sp>
              <p:nvSpPr>
                <p:cNvPr id="1921" name="Vrije vorm: vorm 1920">
                  <a:extLst>
                    <a:ext uri="{FF2B5EF4-FFF2-40B4-BE49-F238E27FC236}">
                      <a16:creationId xmlns:a16="http://schemas.microsoft.com/office/drawing/2014/main" id="{FCC1BE66-5661-4A54-88BB-C30594294E27}"/>
                    </a:ext>
                  </a:extLst>
                </p:cNvPr>
                <p:cNvSpPr/>
                <p:nvPr/>
              </p:nvSpPr>
              <p:spPr>
                <a:xfrm>
                  <a:off x="3887967" y="3008582"/>
                  <a:ext cx="506327" cy="128944"/>
                </a:xfrm>
                <a:custGeom>
                  <a:avLst/>
                  <a:gdLst>
                    <a:gd name="connsiteX0" fmla="*/ 506328 w 506327"/>
                    <a:gd name="connsiteY0" fmla="*/ 125954 h 128944"/>
                    <a:gd name="connsiteX1" fmla="*/ 505610 w 506327"/>
                    <a:gd name="connsiteY1" fmla="*/ 128944 h 128944"/>
                    <a:gd name="connsiteX2" fmla="*/ 0 w 506327"/>
                    <a:gd name="connsiteY2" fmla="*/ 2931 h 128944"/>
                    <a:gd name="connsiteX3" fmla="*/ 718 w 506327"/>
                    <a:gd name="connsiteY3" fmla="*/ 0 h 128944"/>
                  </a:gdLst>
                  <a:ahLst/>
                  <a:cxnLst>
                    <a:cxn ang="0">
                      <a:pos x="connsiteX0" y="connsiteY0"/>
                    </a:cxn>
                    <a:cxn ang="0">
                      <a:pos x="connsiteX1" y="connsiteY1"/>
                    </a:cxn>
                    <a:cxn ang="0">
                      <a:pos x="connsiteX2" y="connsiteY2"/>
                    </a:cxn>
                    <a:cxn ang="0">
                      <a:pos x="connsiteX3" y="connsiteY3"/>
                    </a:cxn>
                  </a:cxnLst>
                  <a:rect l="l" t="t" r="r" b="b"/>
                  <a:pathLst>
                    <a:path w="506327" h="128944">
                      <a:moveTo>
                        <a:pt x="506328" y="125954"/>
                      </a:moveTo>
                      <a:lnTo>
                        <a:pt x="505610" y="128944"/>
                      </a:lnTo>
                      <a:lnTo>
                        <a:pt x="0" y="2931"/>
                      </a:lnTo>
                      <a:lnTo>
                        <a:pt x="718" y="0"/>
                      </a:lnTo>
                      <a:close/>
                    </a:path>
                  </a:pathLst>
                </a:custGeom>
                <a:grpFill/>
                <a:ln w="5978" cap="flat">
                  <a:noFill/>
                  <a:prstDash val="solid"/>
                  <a:miter/>
                </a:ln>
              </p:spPr>
              <p:txBody>
                <a:bodyPr rtlCol="0" anchor="ctr"/>
                <a:lstStyle/>
                <a:p>
                  <a:endParaRPr lang="en-GB"/>
                </a:p>
              </p:txBody>
            </p:sp>
            <p:sp>
              <p:nvSpPr>
                <p:cNvPr id="1922" name="Vrije vorm: vorm 1921">
                  <a:extLst>
                    <a:ext uri="{FF2B5EF4-FFF2-40B4-BE49-F238E27FC236}">
                      <a16:creationId xmlns:a16="http://schemas.microsoft.com/office/drawing/2014/main" id="{0E327450-D315-4949-A32E-1E2277D7F35F}"/>
                    </a:ext>
                  </a:extLst>
                </p:cNvPr>
                <p:cNvSpPr/>
                <p:nvPr/>
              </p:nvSpPr>
              <p:spPr>
                <a:xfrm>
                  <a:off x="4384346" y="3126677"/>
                  <a:ext cx="18342" cy="18432"/>
                </a:xfrm>
                <a:custGeom>
                  <a:avLst/>
                  <a:gdLst>
                    <a:gd name="connsiteX0" fmla="*/ 11324 w 18342"/>
                    <a:gd name="connsiteY0" fmla="*/ 263 h 18432"/>
                    <a:gd name="connsiteX1" fmla="*/ 18083 w 18342"/>
                    <a:gd name="connsiteY1" fmla="*/ 11447 h 18432"/>
                    <a:gd name="connsiteX2" fmla="*/ 7018 w 18342"/>
                    <a:gd name="connsiteY2" fmla="*/ 18146 h 18432"/>
                    <a:gd name="connsiteX3" fmla="*/ 260 w 18342"/>
                    <a:gd name="connsiteY3" fmla="*/ 6962 h 18432"/>
                    <a:gd name="connsiteX4" fmla="*/ 11324 w 18342"/>
                    <a:gd name="connsiteY4" fmla="*/ 263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32">
                      <a:moveTo>
                        <a:pt x="11324" y="263"/>
                      </a:moveTo>
                      <a:cubicBezTo>
                        <a:pt x="16229" y="1460"/>
                        <a:pt x="19279" y="6483"/>
                        <a:pt x="18083" y="11447"/>
                      </a:cubicBezTo>
                      <a:cubicBezTo>
                        <a:pt x="16886" y="16411"/>
                        <a:pt x="11922" y="19402"/>
                        <a:pt x="7018" y="18146"/>
                      </a:cubicBezTo>
                      <a:cubicBezTo>
                        <a:pt x="2114" y="16950"/>
                        <a:pt x="-936" y="11926"/>
                        <a:pt x="260" y="6962"/>
                      </a:cubicBezTo>
                      <a:cubicBezTo>
                        <a:pt x="1456" y="2058"/>
                        <a:pt x="6420" y="-933"/>
                        <a:pt x="11324" y="263"/>
                      </a:cubicBezTo>
                      <a:close/>
                    </a:path>
                  </a:pathLst>
                </a:custGeom>
                <a:grpFill/>
                <a:ln w="5978" cap="flat">
                  <a:noFill/>
                  <a:prstDash val="solid"/>
                  <a:miter/>
                </a:ln>
              </p:spPr>
              <p:txBody>
                <a:bodyPr rtlCol="0" anchor="ctr"/>
                <a:lstStyle/>
                <a:p>
                  <a:endParaRPr lang="en-GB"/>
                </a:p>
              </p:txBody>
            </p:sp>
            <p:sp>
              <p:nvSpPr>
                <p:cNvPr id="1923" name="Vrije vorm: vorm 1922">
                  <a:extLst>
                    <a:ext uri="{FF2B5EF4-FFF2-40B4-BE49-F238E27FC236}">
                      <a16:creationId xmlns:a16="http://schemas.microsoft.com/office/drawing/2014/main" id="{31CE7252-3E43-4C9C-9FB1-D25D8992314D}"/>
                    </a:ext>
                  </a:extLst>
                </p:cNvPr>
                <p:cNvSpPr/>
                <p:nvPr/>
              </p:nvSpPr>
              <p:spPr>
                <a:xfrm>
                  <a:off x="3879630" y="3000963"/>
                  <a:ext cx="18345" cy="18409"/>
                </a:xfrm>
                <a:custGeom>
                  <a:avLst/>
                  <a:gdLst>
                    <a:gd name="connsiteX0" fmla="*/ 11327 w 18345"/>
                    <a:gd name="connsiteY0" fmla="*/ 263 h 18409"/>
                    <a:gd name="connsiteX1" fmla="*/ 263 w 18345"/>
                    <a:gd name="connsiteY1" fmla="*/ 6962 h 18409"/>
                    <a:gd name="connsiteX2" fmla="*/ 7021 w 18345"/>
                    <a:gd name="connsiteY2" fmla="*/ 18146 h 18409"/>
                    <a:gd name="connsiteX3" fmla="*/ 18086 w 18345"/>
                    <a:gd name="connsiteY3" fmla="*/ 11447 h 18409"/>
                    <a:gd name="connsiteX4" fmla="*/ 11327 w 18345"/>
                    <a:gd name="connsiteY4" fmla="*/ 26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9">
                      <a:moveTo>
                        <a:pt x="11327" y="263"/>
                      </a:moveTo>
                      <a:cubicBezTo>
                        <a:pt x="6423" y="-933"/>
                        <a:pt x="1459" y="2058"/>
                        <a:pt x="263" y="6962"/>
                      </a:cubicBezTo>
                      <a:cubicBezTo>
                        <a:pt x="-933" y="11926"/>
                        <a:pt x="2057" y="16890"/>
                        <a:pt x="7021" y="18146"/>
                      </a:cubicBezTo>
                      <a:cubicBezTo>
                        <a:pt x="11925" y="19342"/>
                        <a:pt x="16889" y="16351"/>
                        <a:pt x="18086" y="11447"/>
                      </a:cubicBezTo>
                      <a:cubicBezTo>
                        <a:pt x="19282" y="6483"/>
                        <a:pt x="16232" y="1459"/>
                        <a:pt x="11327" y="263"/>
                      </a:cubicBezTo>
                      <a:close/>
                    </a:path>
                  </a:pathLst>
                </a:custGeom>
                <a:grpFill/>
                <a:ln w="5978" cap="flat">
                  <a:noFill/>
                  <a:prstDash val="solid"/>
                  <a:miter/>
                </a:ln>
              </p:spPr>
              <p:txBody>
                <a:bodyPr rtlCol="0" anchor="ctr"/>
                <a:lstStyle/>
                <a:p>
                  <a:endParaRPr lang="en-GB"/>
                </a:p>
              </p:txBody>
            </p:sp>
          </p:grpSp>
          <p:grpSp>
            <p:nvGrpSpPr>
              <p:cNvPr id="1161" name="Graphic 3">
                <a:extLst>
                  <a:ext uri="{FF2B5EF4-FFF2-40B4-BE49-F238E27FC236}">
                    <a16:creationId xmlns:a16="http://schemas.microsoft.com/office/drawing/2014/main" id="{6BE109F7-45D2-4728-87A8-006DC2407FEC}"/>
                  </a:ext>
                </a:extLst>
              </p:cNvPr>
              <p:cNvGrpSpPr/>
              <p:nvPr/>
            </p:nvGrpSpPr>
            <p:grpSpPr>
              <a:xfrm>
                <a:off x="4527869" y="4463243"/>
                <a:ext cx="222373" cy="182293"/>
                <a:chOff x="4527869" y="4463243"/>
                <a:chExt cx="222373" cy="182293"/>
              </a:xfrm>
              <a:grpFill/>
            </p:grpSpPr>
            <p:sp>
              <p:nvSpPr>
                <p:cNvPr id="1918" name="Vrije vorm: vorm 1917">
                  <a:extLst>
                    <a:ext uri="{FF2B5EF4-FFF2-40B4-BE49-F238E27FC236}">
                      <a16:creationId xmlns:a16="http://schemas.microsoft.com/office/drawing/2014/main" id="{1334E85C-6EA6-4D33-8D85-EFF1194C0EB9}"/>
                    </a:ext>
                  </a:extLst>
                </p:cNvPr>
                <p:cNvSpPr/>
                <p:nvPr/>
              </p:nvSpPr>
              <p:spPr>
                <a:xfrm>
                  <a:off x="4535739" y="4470988"/>
                  <a:ext cx="206633" cy="166802"/>
                </a:xfrm>
                <a:custGeom>
                  <a:avLst/>
                  <a:gdLst>
                    <a:gd name="connsiteX0" fmla="*/ 206634 w 206633"/>
                    <a:gd name="connsiteY0" fmla="*/ 2392 h 166802"/>
                    <a:gd name="connsiteX1" fmla="*/ 1854 w 206633"/>
                    <a:gd name="connsiteY1" fmla="*/ 166802 h 166802"/>
                    <a:gd name="connsiteX2" fmla="*/ 0 w 206633"/>
                    <a:gd name="connsiteY2" fmla="*/ 164410 h 166802"/>
                    <a:gd name="connsiteX3" fmla="*/ 204720 w 206633"/>
                    <a:gd name="connsiteY3" fmla="*/ 0 h 166802"/>
                  </a:gdLst>
                  <a:ahLst/>
                  <a:cxnLst>
                    <a:cxn ang="0">
                      <a:pos x="connsiteX0" y="connsiteY0"/>
                    </a:cxn>
                    <a:cxn ang="0">
                      <a:pos x="connsiteX1" y="connsiteY1"/>
                    </a:cxn>
                    <a:cxn ang="0">
                      <a:pos x="connsiteX2" y="connsiteY2"/>
                    </a:cxn>
                    <a:cxn ang="0">
                      <a:pos x="connsiteX3" y="connsiteY3"/>
                    </a:cxn>
                  </a:cxnLst>
                  <a:rect l="l" t="t" r="r" b="b"/>
                  <a:pathLst>
                    <a:path w="206633" h="166802">
                      <a:moveTo>
                        <a:pt x="206634" y="2392"/>
                      </a:moveTo>
                      <a:lnTo>
                        <a:pt x="1854" y="166802"/>
                      </a:lnTo>
                      <a:lnTo>
                        <a:pt x="0" y="164410"/>
                      </a:lnTo>
                      <a:lnTo>
                        <a:pt x="204720" y="0"/>
                      </a:lnTo>
                      <a:close/>
                    </a:path>
                  </a:pathLst>
                </a:custGeom>
                <a:grpFill/>
                <a:ln w="5978" cap="flat">
                  <a:noFill/>
                  <a:prstDash val="solid"/>
                  <a:miter/>
                </a:ln>
              </p:spPr>
              <p:txBody>
                <a:bodyPr rtlCol="0" anchor="ctr"/>
                <a:lstStyle/>
                <a:p>
                  <a:endParaRPr lang="en-GB"/>
                </a:p>
              </p:txBody>
            </p:sp>
            <p:sp>
              <p:nvSpPr>
                <p:cNvPr id="1919" name="Vrije vorm: vorm 1918">
                  <a:extLst>
                    <a:ext uri="{FF2B5EF4-FFF2-40B4-BE49-F238E27FC236}">
                      <a16:creationId xmlns:a16="http://schemas.microsoft.com/office/drawing/2014/main" id="{5D7DB39C-BDE9-4763-BC67-103AEBDB5349}"/>
                    </a:ext>
                  </a:extLst>
                </p:cNvPr>
                <p:cNvSpPr/>
                <p:nvPr/>
              </p:nvSpPr>
              <p:spPr>
                <a:xfrm>
                  <a:off x="4527869" y="4627114"/>
                  <a:ext cx="18311" cy="18421"/>
                </a:xfrm>
                <a:custGeom>
                  <a:avLst/>
                  <a:gdLst>
                    <a:gd name="connsiteX0" fmla="*/ 14867 w 18311"/>
                    <a:gd name="connsiteY0" fmla="*/ 16418 h 18421"/>
                    <a:gd name="connsiteX1" fmla="*/ 2009 w 18311"/>
                    <a:gd name="connsiteY1" fmla="*/ 14923 h 18421"/>
                    <a:gd name="connsiteX2" fmla="*/ 3444 w 18311"/>
                    <a:gd name="connsiteY2" fmla="*/ 2004 h 18421"/>
                    <a:gd name="connsiteX3" fmla="*/ 16303 w 18311"/>
                    <a:gd name="connsiteY3" fmla="*/ 3499 h 18421"/>
                    <a:gd name="connsiteX4" fmla="*/ 14867 w 18311"/>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14867" y="16418"/>
                      </a:moveTo>
                      <a:cubicBezTo>
                        <a:pt x="10920" y="19587"/>
                        <a:pt x="5178" y="18930"/>
                        <a:pt x="2009" y="14923"/>
                      </a:cubicBezTo>
                      <a:cubicBezTo>
                        <a:pt x="-1161" y="10915"/>
                        <a:pt x="-503" y="5174"/>
                        <a:pt x="3444" y="2004"/>
                      </a:cubicBezTo>
                      <a:cubicBezTo>
                        <a:pt x="7391" y="-1166"/>
                        <a:pt x="13133" y="-508"/>
                        <a:pt x="16303" y="3499"/>
                      </a:cubicBezTo>
                      <a:cubicBezTo>
                        <a:pt x="19472" y="7447"/>
                        <a:pt x="18815" y="13248"/>
                        <a:pt x="14867" y="16418"/>
                      </a:cubicBezTo>
                      <a:close/>
                    </a:path>
                  </a:pathLst>
                </a:custGeom>
                <a:grpFill/>
                <a:ln w="5978" cap="flat">
                  <a:noFill/>
                  <a:prstDash val="solid"/>
                  <a:miter/>
                </a:ln>
              </p:spPr>
              <p:txBody>
                <a:bodyPr rtlCol="0" anchor="ctr"/>
                <a:lstStyle/>
                <a:p>
                  <a:endParaRPr lang="en-GB"/>
                </a:p>
              </p:txBody>
            </p:sp>
            <p:sp>
              <p:nvSpPr>
                <p:cNvPr id="1920" name="Vrije vorm: vorm 1919">
                  <a:extLst>
                    <a:ext uri="{FF2B5EF4-FFF2-40B4-BE49-F238E27FC236}">
                      <a16:creationId xmlns:a16="http://schemas.microsoft.com/office/drawing/2014/main" id="{17C544A8-937C-495F-AFE4-7566C774DE49}"/>
                    </a:ext>
                  </a:extLst>
                </p:cNvPr>
                <p:cNvSpPr/>
                <p:nvPr/>
              </p:nvSpPr>
              <p:spPr>
                <a:xfrm>
                  <a:off x="4731931" y="4463243"/>
                  <a:ext cx="18311" cy="18421"/>
                </a:xfrm>
                <a:custGeom>
                  <a:avLst/>
                  <a:gdLst>
                    <a:gd name="connsiteX0" fmla="*/ 14867 w 18311"/>
                    <a:gd name="connsiteY0" fmla="*/ 16418 h 18421"/>
                    <a:gd name="connsiteX1" fmla="*/ 16303 w 18311"/>
                    <a:gd name="connsiteY1" fmla="*/ 3499 h 18421"/>
                    <a:gd name="connsiteX2" fmla="*/ 3444 w 18311"/>
                    <a:gd name="connsiteY2" fmla="*/ 2004 h 18421"/>
                    <a:gd name="connsiteX3" fmla="*/ 2009 w 18311"/>
                    <a:gd name="connsiteY3" fmla="*/ 14922 h 18421"/>
                    <a:gd name="connsiteX4" fmla="*/ 14867 w 18311"/>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14867" y="16418"/>
                      </a:moveTo>
                      <a:cubicBezTo>
                        <a:pt x="18815" y="13248"/>
                        <a:pt x="19472" y="7447"/>
                        <a:pt x="16303" y="3499"/>
                      </a:cubicBezTo>
                      <a:cubicBezTo>
                        <a:pt x="13133" y="-508"/>
                        <a:pt x="7391" y="-1166"/>
                        <a:pt x="3444" y="2004"/>
                      </a:cubicBezTo>
                      <a:cubicBezTo>
                        <a:pt x="-503" y="5174"/>
                        <a:pt x="-1161" y="10975"/>
                        <a:pt x="2009" y="14922"/>
                      </a:cubicBezTo>
                      <a:cubicBezTo>
                        <a:pt x="5178" y="18929"/>
                        <a:pt x="10920" y="19588"/>
                        <a:pt x="14867" y="16418"/>
                      </a:cubicBezTo>
                      <a:close/>
                    </a:path>
                  </a:pathLst>
                </a:custGeom>
                <a:grpFill/>
                <a:ln w="5978" cap="flat">
                  <a:noFill/>
                  <a:prstDash val="solid"/>
                  <a:miter/>
                </a:ln>
              </p:spPr>
              <p:txBody>
                <a:bodyPr rtlCol="0" anchor="ctr"/>
                <a:lstStyle/>
                <a:p>
                  <a:endParaRPr lang="en-GB"/>
                </a:p>
              </p:txBody>
            </p:sp>
          </p:grpSp>
          <p:grpSp>
            <p:nvGrpSpPr>
              <p:cNvPr id="1162" name="Graphic 3">
                <a:extLst>
                  <a:ext uri="{FF2B5EF4-FFF2-40B4-BE49-F238E27FC236}">
                    <a16:creationId xmlns:a16="http://schemas.microsoft.com/office/drawing/2014/main" id="{CBCC45E8-F158-4D19-8339-C1328B882AF3}"/>
                  </a:ext>
                </a:extLst>
              </p:cNvPr>
              <p:cNvGrpSpPr/>
              <p:nvPr/>
            </p:nvGrpSpPr>
            <p:grpSpPr>
              <a:xfrm>
                <a:off x="4519568" y="4396525"/>
                <a:ext cx="161106" cy="120414"/>
                <a:chOff x="4519568" y="4396525"/>
                <a:chExt cx="161106" cy="120414"/>
              </a:xfrm>
              <a:grpFill/>
            </p:grpSpPr>
            <p:sp>
              <p:nvSpPr>
                <p:cNvPr id="1915" name="Vrije vorm: vorm 1914">
                  <a:extLst>
                    <a:ext uri="{FF2B5EF4-FFF2-40B4-BE49-F238E27FC236}">
                      <a16:creationId xmlns:a16="http://schemas.microsoft.com/office/drawing/2014/main" id="{B845CA56-DC25-4250-B1F8-BB8A95FD9C26}"/>
                    </a:ext>
                  </a:extLst>
                </p:cNvPr>
                <p:cNvSpPr/>
                <p:nvPr/>
              </p:nvSpPr>
              <p:spPr>
                <a:xfrm>
                  <a:off x="4527486" y="4404243"/>
                  <a:ext cx="145271" cy="105021"/>
                </a:xfrm>
                <a:custGeom>
                  <a:avLst/>
                  <a:gdLst>
                    <a:gd name="connsiteX0" fmla="*/ 145272 w 145271"/>
                    <a:gd name="connsiteY0" fmla="*/ 2452 h 105021"/>
                    <a:gd name="connsiteX1" fmla="*/ 1794 w 145271"/>
                    <a:gd name="connsiteY1" fmla="*/ 105021 h 105021"/>
                    <a:gd name="connsiteX2" fmla="*/ 0 w 145271"/>
                    <a:gd name="connsiteY2" fmla="*/ 102510 h 105021"/>
                    <a:gd name="connsiteX3" fmla="*/ 143537 w 145271"/>
                    <a:gd name="connsiteY3" fmla="*/ 0 h 105021"/>
                  </a:gdLst>
                  <a:ahLst/>
                  <a:cxnLst>
                    <a:cxn ang="0">
                      <a:pos x="connsiteX0" y="connsiteY0"/>
                    </a:cxn>
                    <a:cxn ang="0">
                      <a:pos x="connsiteX1" y="connsiteY1"/>
                    </a:cxn>
                    <a:cxn ang="0">
                      <a:pos x="connsiteX2" y="connsiteY2"/>
                    </a:cxn>
                    <a:cxn ang="0">
                      <a:pos x="connsiteX3" y="connsiteY3"/>
                    </a:cxn>
                  </a:cxnLst>
                  <a:rect l="l" t="t" r="r" b="b"/>
                  <a:pathLst>
                    <a:path w="145271" h="105021">
                      <a:moveTo>
                        <a:pt x="145272" y="2452"/>
                      </a:moveTo>
                      <a:lnTo>
                        <a:pt x="1794" y="105021"/>
                      </a:lnTo>
                      <a:lnTo>
                        <a:pt x="0" y="102510"/>
                      </a:lnTo>
                      <a:lnTo>
                        <a:pt x="143537" y="0"/>
                      </a:lnTo>
                      <a:close/>
                    </a:path>
                  </a:pathLst>
                </a:custGeom>
                <a:grpFill/>
                <a:ln w="5978" cap="flat">
                  <a:noFill/>
                  <a:prstDash val="solid"/>
                  <a:miter/>
                </a:ln>
              </p:spPr>
              <p:txBody>
                <a:bodyPr rtlCol="0" anchor="ctr"/>
                <a:lstStyle/>
                <a:p>
                  <a:endParaRPr lang="en-GB"/>
                </a:p>
              </p:txBody>
            </p:sp>
            <p:sp>
              <p:nvSpPr>
                <p:cNvPr id="1916" name="Vrije vorm: vorm 1915">
                  <a:extLst>
                    <a:ext uri="{FF2B5EF4-FFF2-40B4-BE49-F238E27FC236}">
                      <a16:creationId xmlns:a16="http://schemas.microsoft.com/office/drawing/2014/main" id="{DDF10E02-57CA-4DF4-BB12-FD655575D051}"/>
                    </a:ext>
                  </a:extLst>
                </p:cNvPr>
                <p:cNvSpPr/>
                <p:nvPr/>
              </p:nvSpPr>
              <p:spPr>
                <a:xfrm>
                  <a:off x="4519568" y="4498480"/>
                  <a:ext cx="18346" cy="18459"/>
                </a:xfrm>
                <a:custGeom>
                  <a:avLst/>
                  <a:gdLst>
                    <a:gd name="connsiteX0" fmla="*/ 14496 w 18346"/>
                    <a:gd name="connsiteY0" fmla="*/ 16765 h 18459"/>
                    <a:gd name="connsiteX1" fmla="*/ 1697 w 18346"/>
                    <a:gd name="connsiteY1" fmla="*/ 14553 h 18459"/>
                    <a:gd name="connsiteX2" fmla="*/ 3850 w 18346"/>
                    <a:gd name="connsiteY2" fmla="*/ 1694 h 18459"/>
                    <a:gd name="connsiteX3" fmla="*/ 16649 w 18346"/>
                    <a:gd name="connsiteY3" fmla="*/ 3907 h 18459"/>
                    <a:gd name="connsiteX4" fmla="*/ 14496 w 18346"/>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9">
                      <a:moveTo>
                        <a:pt x="14496" y="16765"/>
                      </a:moveTo>
                      <a:cubicBezTo>
                        <a:pt x="10369" y="19696"/>
                        <a:pt x="4628" y="18739"/>
                        <a:pt x="1697" y="14553"/>
                      </a:cubicBezTo>
                      <a:cubicBezTo>
                        <a:pt x="-1233" y="10426"/>
                        <a:pt x="-276" y="4624"/>
                        <a:pt x="3850" y="1694"/>
                      </a:cubicBezTo>
                      <a:cubicBezTo>
                        <a:pt x="7977" y="-1237"/>
                        <a:pt x="13719" y="-280"/>
                        <a:pt x="16649" y="3907"/>
                      </a:cubicBezTo>
                      <a:cubicBezTo>
                        <a:pt x="19580" y="8093"/>
                        <a:pt x="18623" y="13835"/>
                        <a:pt x="14496" y="16765"/>
                      </a:cubicBezTo>
                      <a:close/>
                    </a:path>
                  </a:pathLst>
                </a:custGeom>
                <a:grpFill/>
                <a:ln w="5978" cap="flat">
                  <a:noFill/>
                  <a:prstDash val="solid"/>
                  <a:miter/>
                </a:ln>
              </p:spPr>
              <p:txBody>
                <a:bodyPr rtlCol="0" anchor="ctr"/>
                <a:lstStyle/>
                <a:p>
                  <a:endParaRPr lang="en-GB"/>
                </a:p>
              </p:txBody>
            </p:sp>
            <p:sp>
              <p:nvSpPr>
                <p:cNvPr id="1917" name="Vrije vorm: vorm 1916">
                  <a:extLst>
                    <a:ext uri="{FF2B5EF4-FFF2-40B4-BE49-F238E27FC236}">
                      <a16:creationId xmlns:a16="http://schemas.microsoft.com/office/drawing/2014/main" id="{7D98A986-7B43-4642-89F2-549851E42822}"/>
                    </a:ext>
                  </a:extLst>
                </p:cNvPr>
                <p:cNvSpPr/>
                <p:nvPr/>
              </p:nvSpPr>
              <p:spPr>
                <a:xfrm>
                  <a:off x="4662328" y="4396525"/>
                  <a:ext cx="18346" cy="18426"/>
                </a:xfrm>
                <a:custGeom>
                  <a:avLst/>
                  <a:gdLst>
                    <a:gd name="connsiteX0" fmla="*/ 14496 w 18346"/>
                    <a:gd name="connsiteY0" fmla="*/ 16749 h 18426"/>
                    <a:gd name="connsiteX1" fmla="*/ 16649 w 18346"/>
                    <a:gd name="connsiteY1" fmla="*/ 3890 h 18426"/>
                    <a:gd name="connsiteX2" fmla="*/ 3850 w 18346"/>
                    <a:gd name="connsiteY2" fmla="*/ 1677 h 18426"/>
                    <a:gd name="connsiteX3" fmla="*/ 1697 w 18346"/>
                    <a:gd name="connsiteY3" fmla="*/ 14536 h 18426"/>
                    <a:gd name="connsiteX4" fmla="*/ 14496 w 18346"/>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6">
                      <a:moveTo>
                        <a:pt x="14496" y="16749"/>
                      </a:moveTo>
                      <a:cubicBezTo>
                        <a:pt x="18623" y="13818"/>
                        <a:pt x="19580" y="8077"/>
                        <a:pt x="16649" y="3890"/>
                      </a:cubicBezTo>
                      <a:cubicBezTo>
                        <a:pt x="13719" y="-237"/>
                        <a:pt x="7977" y="-1253"/>
                        <a:pt x="3850" y="1677"/>
                      </a:cubicBezTo>
                      <a:cubicBezTo>
                        <a:pt x="-276" y="4608"/>
                        <a:pt x="-1233" y="10349"/>
                        <a:pt x="1697" y="14536"/>
                      </a:cubicBezTo>
                      <a:cubicBezTo>
                        <a:pt x="4688" y="18663"/>
                        <a:pt x="10429" y="19679"/>
                        <a:pt x="14496" y="16749"/>
                      </a:cubicBezTo>
                      <a:close/>
                    </a:path>
                  </a:pathLst>
                </a:custGeom>
                <a:grpFill/>
                <a:ln w="5978" cap="flat">
                  <a:noFill/>
                  <a:prstDash val="solid"/>
                  <a:miter/>
                </a:ln>
              </p:spPr>
              <p:txBody>
                <a:bodyPr rtlCol="0" anchor="ctr"/>
                <a:lstStyle/>
                <a:p>
                  <a:endParaRPr lang="en-GB"/>
                </a:p>
              </p:txBody>
            </p:sp>
          </p:grpSp>
          <p:grpSp>
            <p:nvGrpSpPr>
              <p:cNvPr id="1163" name="Graphic 3">
                <a:extLst>
                  <a:ext uri="{FF2B5EF4-FFF2-40B4-BE49-F238E27FC236}">
                    <a16:creationId xmlns:a16="http://schemas.microsoft.com/office/drawing/2014/main" id="{53CDB60F-9D5A-4916-B686-4CF0AFB49E53}"/>
                  </a:ext>
                </a:extLst>
              </p:cNvPr>
              <p:cNvGrpSpPr/>
              <p:nvPr/>
            </p:nvGrpSpPr>
            <p:grpSpPr>
              <a:xfrm>
                <a:off x="4072751" y="2920761"/>
                <a:ext cx="21990" cy="19305"/>
                <a:chOff x="4072751" y="2920761"/>
                <a:chExt cx="21990" cy="19305"/>
              </a:xfrm>
              <a:grpFill/>
            </p:grpSpPr>
            <p:sp>
              <p:nvSpPr>
                <p:cNvPr id="1913" name="Vrije vorm: vorm 1912">
                  <a:extLst>
                    <a:ext uri="{FF2B5EF4-FFF2-40B4-BE49-F238E27FC236}">
                      <a16:creationId xmlns:a16="http://schemas.microsoft.com/office/drawing/2014/main" id="{874359A0-93B8-4038-B0D1-40DC31C0FB64}"/>
                    </a:ext>
                  </a:extLst>
                </p:cNvPr>
                <p:cNvSpPr/>
                <p:nvPr/>
              </p:nvSpPr>
              <p:spPr>
                <a:xfrm>
                  <a:off x="4072751" y="2920761"/>
                  <a:ext cx="18342" cy="18408"/>
                </a:xfrm>
                <a:custGeom>
                  <a:avLst/>
                  <a:gdLst>
                    <a:gd name="connsiteX0" fmla="*/ 11324 w 18342"/>
                    <a:gd name="connsiteY0" fmla="*/ 263 h 18408"/>
                    <a:gd name="connsiteX1" fmla="*/ 18082 w 18342"/>
                    <a:gd name="connsiteY1" fmla="*/ 11387 h 18408"/>
                    <a:gd name="connsiteX2" fmla="*/ 7018 w 18342"/>
                    <a:gd name="connsiteY2" fmla="*/ 18145 h 18408"/>
                    <a:gd name="connsiteX3" fmla="*/ 260 w 18342"/>
                    <a:gd name="connsiteY3" fmla="*/ 7021 h 18408"/>
                    <a:gd name="connsiteX4" fmla="*/ 11324 w 18342"/>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11324" y="263"/>
                      </a:moveTo>
                      <a:cubicBezTo>
                        <a:pt x="16228" y="1459"/>
                        <a:pt x="19279" y="6483"/>
                        <a:pt x="18082" y="11387"/>
                      </a:cubicBezTo>
                      <a:cubicBezTo>
                        <a:pt x="16886" y="16351"/>
                        <a:pt x="11922" y="19342"/>
                        <a:pt x="7018" y="18145"/>
                      </a:cubicBezTo>
                      <a:cubicBezTo>
                        <a:pt x="2114" y="16949"/>
                        <a:pt x="-936" y="11925"/>
                        <a:pt x="260" y="7021"/>
                      </a:cubicBezTo>
                      <a:cubicBezTo>
                        <a:pt x="1456" y="2057"/>
                        <a:pt x="6420" y="-933"/>
                        <a:pt x="11324" y="263"/>
                      </a:cubicBezTo>
                      <a:close/>
                    </a:path>
                  </a:pathLst>
                </a:custGeom>
                <a:grpFill/>
                <a:ln w="5978" cap="flat">
                  <a:noFill/>
                  <a:prstDash val="solid"/>
                  <a:miter/>
                </a:ln>
              </p:spPr>
              <p:txBody>
                <a:bodyPr rtlCol="0" anchor="ctr"/>
                <a:lstStyle/>
                <a:p>
                  <a:endParaRPr lang="en-GB"/>
                </a:p>
              </p:txBody>
            </p:sp>
            <p:sp>
              <p:nvSpPr>
                <p:cNvPr id="1914" name="Vrije vorm: vorm 1913">
                  <a:extLst>
                    <a:ext uri="{FF2B5EF4-FFF2-40B4-BE49-F238E27FC236}">
                      <a16:creationId xmlns:a16="http://schemas.microsoft.com/office/drawing/2014/main" id="{C62BFDFC-71FE-4D12-900F-74E4359CF5E5}"/>
                    </a:ext>
                  </a:extLst>
                </p:cNvPr>
                <p:cNvSpPr/>
                <p:nvPr/>
              </p:nvSpPr>
              <p:spPr>
                <a:xfrm>
                  <a:off x="4076399" y="2921658"/>
                  <a:ext cx="18342" cy="18408"/>
                </a:xfrm>
                <a:custGeom>
                  <a:avLst/>
                  <a:gdLst>
                    <a:gd name="connsiteX0" fmla="*/ 11324 w 18342"/>
                    <a:gd name="connsiteY0" fmla="*/ 263 h 18408"/>
                    <a:gd name="connsiteX1" fmla="*/ 260 w 18342"/>
                    <a:gd name="connsiteY1" fmla="*/ 7021 h 18408"/>
                    <a:gd name="connsiteX2" fmla="*/ 7018 w 18342"/>
                    <a:gd name="connsiteY2" fmla="*/ 18145 h 18408"/>
                    <a:gd name="connsiteX3" fmla="*/ 18082 w 18342"/>
                    <a:gd name="connsiteY3" fmla="*/ 11387 h 18408"/>
                    <a:gd name="connsiteX4" fmla="*/ 11324 w 18342"/>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11324" y="263"/>
                      </a:moveTo>
                      <a:cubicBezTo>
                        <a:pt x="6420" y="-933"/>
                        <a:pt x="1456" y="2057"/>
                        <a:pt x="260" y="7021"/>
                      </a:cubicBezTo>
                      <a:cubicBezTo>
                        <a:pt x="-936" y="11985"/>
                        <a:pt x="2114" y="16949"/>
                        <a:pt x="7018" y="18145"/>
                      </a:cubicBezTo>
                      <a:cubicBezTo>
                        <a:pt x="11922" y="19342"/>
                        <a:pt x="16886" y="16351"/>
                        <a:pt x="18082" y="11387"/>
                      </a:cubicBezTo>
                      <a:cubicBezTo>
                        <a:pt x="19279" y="6483"/>
                        <a:pt x="16228" y="1459"/>
                        <a:pt x="11324" y="263"/>
                      </a:cubicBezTo>
                      <a:close/>
                    </a:path>
                  </a:pathLst>
                </a:custGeom>
                <a:grpFill/>
                <a:ln w="5978" cap="flat">
                  <a:noFill/>
                  <a:prstDash val="solid"/>
                  <a:miter/>
                </a:ln>
              </p:spPr>
              <p:txBody>
                <a:bodyPr rtlCol="0" anchor="ctr"/>
                <a:lstStyle/>
                <a:p>
                  <a:endParaRPr lang="en-GB"/>
                </a:p>
              </p:txBody>
            </p:sp>
          </p:grpSp>
          <p:grpSp>
            <p:nvGrpSpPr>
              <p:cNvPr id="1164" name="Graphic 3">
                <a:extLst>
                  <a:ext uri="{FF2B5EF4-FFF2-40B4-BE49-F238E27FC236}">
                    <a16:creationId xmlns:a16="http://schemas.microsoft.com/office/drawing/2014/main" id="{8589B969-58BE-4EA1-B22B-9041882184D4}"/>
                  </a:ext>
                </a:extLst>
              </p:cNvPr>
              <p:cNvGrpSpPr/>
              <p:nvPr/>
            </p:nvGrpSpPr>
            <p:grpSpPr>
              <a:xfrm>
                <a:off x="4540292" y="4649665"/>
                <a:ext cx="335324" cy="294185"/>
                <a:chOff x="4540292" y="4649665"/>
                <a:chExt cx="335324" cy="294185"/>
              </a:xfrm>
              <a:grpFill/>
            </p:grpSpPr>
            <p:sp>
              <p:nvSpPr>
                <p:cNvPr id="1910" name="Vrije vorm: vorm 1909">
                  <a:extLst>
                    <a:ext uri="{FF2B5EF4-FFF2-40B4-BE49-F238E27FC236}">
                      <a16:creationId xmlns:a16="http://schemas.microsoft.com/office/drawing/2014/main" id="{78B301FF-135A-491A-BBC6-F0802C6FFE8E}"/>
                    </a:ext>
                  </a:extLst>
                </p:cNvPr>
                <p:cNvSpPr/>
                <p:nvPr/>
              </p:nvSpPr>
              <p:spPr>
                <a:xfrm>
                  <a:off x="4548119" y="4657467"/>
                  <a:ext cx="319669" cy="278701"/>
                </a:xfrm>
                <a:custGeom>
                  <a:avLst/>
                  <a:gdLst>
                    <a:gd name="connsiteX0" fmla="*/ 319670 w 319669"/>
                    <a:gd name="connsiteY0" fmla="*/ 2273 h 278701"/>
                    <a:gd name="connsiteX1" fmla="*/ 1974 w 319669"/>
                    <a:gd name="connsiteY1" fmla="*/ 278702 h 278701"/>
                    <a:gd name="connsiteX2" fmla="*/ 0 w 319669"/>
                    <a:gd name="connsiteY2" fmla="*/ 276369 h 278701"/>
                    <a:gd name="connsiteX3" fmla="*/ 317696 w 319669"/>
                    <a:gd name="connsiteY3" fmla="*/ 0 h 278701"/>
                  </a:gdLst>
                  <a:ahLst/>
                  <a:cxnLst>
                    <a:cxn ang="0">
                      <a:pos x="connsiteX0" y="connsiteY0"/>
                    </a:cxn>
                    <a:cxn ang="0">
                      <a:pos x="connsiteX1" y="connsiteY1"/>
                    </a:cxn>
                    <a:cxn ang="0">
                      <a:pos x="connsiteX2" y="connsiteY2"/>
                    </a:cxn>
                    <a:cxn ang="0">
                      <a:pos x="connsiteX3" y="connsiteY3"/>
                    </a:cxn>
                  </a:cxnLst>
                  <a:rect l="l" t="t" r="r" b="b"/>
                  <a:pathLst>
                    <a:path w="319669" h="278701">
                      <a:moveTo>
                        <a:pt x="319670" y="2273"/>
                      </a:moveTo>
                      <a:lnTo>
                        <a:pt x="1974" y="278702"/>
                      </a:lnTo>
                      <a:lnTo>
                        <a:pt x="0" y="276369"/>
                      </a:lnTo>
                      <a:lnTo>
                        <a:pt x="317696" y="0"/>
                      </a:lnTo>
                      <a:close/>
                    </a:path>
                  </a:pathLst>
                </a:custGeom>
                <a:grpFill/>
                <a:ln w="5978" cap="flat">
                  <a:noFill/>
                  <a:prstDash val="solid"/>
                  <a:miter/>
                </a:ln>
              </p:spPr>
              <p:txBody>
                <a:bodyPr rtlCol="0" anchor="ctr"/>
                <a:lstStyle/>
                <a:p>
                  <a:endParaRPr lang="en-GB"/>
                </a:p>
              </p:txBody>
            </p:sp>
            <p:sp>
              <p:nvSpPr>
                <p:cNvPr id="1911" name="Vrije vorm: vorm 1910">
                  <a:extLst>
                    <a:ext uri="{FF2B5EF4-FFF2-40B4-BE49-F238E27FC236}">
                      <a16:creationId xmlns:a16="http://schemas.microsoft.com/office/drawing/2014/main" id="{B287F0D3-9151-4B43-A8DB-49D1488CF957}"/>
                    </a:ext>
                  </a:extLst>
                </p:cNvPr>
                <p:cNvSpPr/>
                <p:nvPr/>
              </p:nvSpPr>
              <p:spPr>
                <a:xfrm>
                  <a:off x="4857270" y="4649665"/>
                  <a:ext cx="18346" cy="18414"/>
                </a:xfrm>
                <a:custGeom>
                  <a:avLst/>
                  <a:gdLst>
                    <a:gd name="connsiteX0" fmla="*/ 3162 w 18346"/>
                    <a:gd name="connsiteY0" fmla="*/ 2240 h 18414"/>
                    <a:gd name="connsiteX1" fmla="*/ 16081 w 18346"/>
                    <a:gd name="connsiteY1" fmla="*/ 3197 h 18414"/>
                    <a:gd name="connsiteX2" fmla="*/ 15184 w 18346"/>
                    <a:gd name="connsiteY2" fmla="*/ 16175 h 18414"/>
                    <a:gd name="connsiteX3" fmla="*/ 2265 w 18346"/>
                    <a:gd name="connsiteY3" fmla="*/ 15218 h 18414"/>
                    <a:gd name="connsiteX4" fmla="*/ 3162 w 18346"/>
                    <a:gd name="connsiteY4" fmla="*/ 2240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4">
                      <a:moveTo>
                        <a:pt x="3162" y="2240"/>
                      </a:moveTo>
                      <a:cubicBezTo>
                        <a:pt x="6990" y="-1110"/>
                        <a:pt x="12791" y="-631"/>
                        <a:pt x="16081" y="3197"/>
                      </a:cubicBezTo>
                      <a:cubicBezTo>
                        <a:pt x="19430" y="7024"/>
                        <a:pt x="19011" y="12886"/>
                        <a:pt x="15184" y="16175"/>
                      </a:cubicBezTo>
                      <a:cubicBezTo>
                        <a:pt x="11356" y="19524"/>
                        <a:pt x="5555" y="19045"/>
                        <a:pt x="2265" y="15218"/>
                      </a:cubicBezTo>
                      <a:cubicBezTo>
                        <a:pt x="-1084" y="11390"/>
                        <a:pt x="-665" y="5589"/>
                        <a:pt x="3162" y="2240"/>
                      </a:cubicBezTo>
                      <a:close/>
                    </a:path>
                  </a:pathLst>
                </a:custGeom>
                <a:grpFill/>
                <a:ln w="5978" cap="flat">
                  <a:noFill/>
                  <a:prstDash val="solid"/>
                  <a:miter/>
                </a:ln>
              </p:spPr>
              <p:txBody>
                <a:bodyPr rtlCol="0" anchor="ctr"/>
                <a:lstStyle/>
                <a:p>
                  <a:endParaRPr lang="en-GB"/>
                </a:p>
              </p:txBody>
            </p:sp>
            <p:sp>
              <p:nvSpPr>
                <p:cNvPr id="1912" name="Vrije vorm: vorm 1911">
                  <a:extLst>
                    <a:ext uri="{FF2B5EF4-FFF2-40B4-BE49-F238E27FC236}">
                      <a16:creationId xmlns:a16="http://schemas.microsoft.com/office/drawing/2014/main" id="{DB86D5CE-4D45-4052-83CD-1D40B8056475}"/>
                    </a:ext>
                  </a:extLst>
                </p:cNvPr>
                <p:cNvSpPr/>
                <p:nvPr/>
              </p:nvSpPr>
              <p:spPr>
                <a:xfrm>
                  <a:off x="4540292" y="4925461"/>
                  <a:ext cx="18346" cy="18390"/>
                </a:xfrm>
                <a:custGeom>
                  <a:avLst/>
                  <a:gdLst>
                    <a:gd name="connsiteX0" fmla="*/ 3162 w 18346"/>
                    <a:gd name="connsiteY0" fmla="*/ 2216 h 18390"/>
                    <a:gd name="connsiteX1" fmla="*/ 2265 w 18346"/>
                    <a:gd name="connsiteY1" fmla="*/ 15194 h 18390"/>
                    <a:gd name="connsiteX2" fmla="*/ 15184 w 18346"/>
                    <a:gd name="connsiteY2" fmla="*/ 16150 h 18390"/>
                    <a:gd name="connsiteX3" fmla="*/ 16081 w 18346"/>
                    <a:gd name="connsiteY3" fmla="*/ 3172 h 18390"/>
                    <a:gd name="connsiteX4" fmla="*/ 3162 w 18346"/>
                    <a:gd name="connsiteY4" fmla="*/ 2216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0">
                      <a:moveTo>
                        <a:pt x="3162" y="2216"/>
                      </a:moveTo>
                      <a:cubicBezTo>
                        <a:pt x="-665" y="5565"/>
                        <a:pt x="-1084" y="11366"/>
                        <a:pt x="2265" y="15194"/>
                      </a:cubicBezTo>
                      <a:cubicBezTo>
                        <a:pt x="5615" y="19021"/>
                        <a:pt x="11356" y="19500"/>
                        <a:pt x="15184" y="16150"/>
                      </a:cubicBezTo>
                      <a:cubicBezTo>
                        <a:pt x="19011" y="12801"/>
                        <a:pt x="19430" y="7000"/>
                        <a:pt x="16081" y="3172"/>
                      </a:cubicBezTo>
                      <a:cubicBezTo>
                        <a:pt x="12732" y="-655"/>
                        <a:pt x="6990" y="-1074"/>
                        <a:pt x="3162" y="2216"/>
                      </a:cubicBezTo>
                      <a:close/>
                    </a:path>
                  </a:pathLst>
                </a:custGeom>
                <a:grpFill/>
                <a:ln w="5978" cap="flat">
                  <a:noFill/>
                  <a:prstDash val="solid"/>
                  <a:miter/>
                </a:ln>
              </p:spPr>
              <p:txBody>
                <a:bodyPr rtlCol="0" anchor="ctr"/>
                <a:lstStyle/>
                <a:p>
                  <a:endParaRPr lang="en-GB"/>
                </a:p>
              </p:txBody>
            </p:sp>
          </p:grpSp>
          <p:grpSp>
            <p:nvGrpSpPr>
              <p:cNvPr id="1165" name="Graphic 3">
                <a:extLst>
                  <a:ext uri="{FF2B5EF4-FFF2-40B4-BE49-F238E27FC236}">
                    <a16:creationId xmlns:a16="http://schemas.microsoft.com/office/drawing/2014/main" id="{F3346500-3377-42D4-8473-018A1CAC1D27}"/>
                  </a:ext>
                </a:extLst>
              </p:cNvPr>
              <p:cNvGrpSpPr/>
              <p:nvPr/>
            </p:nvGrpSpPr>
            <p:grpSpPr>
              <a:xfrm>
                <a:off x="4503340" y="4484405"/>
                <a:ext cx="269158" cy="181999"/>
                <a:chOff x="4503340" y="4484405"/>
                <a:chExt cx="269158" cy="181999"/>
              </a:xfrm>
              <a:grpFill/>
            </p:grpSpPr>
            <p:sp>
              <p:nvSpPr>
                <p:cNvPr id="1907" name="Vrije vorm: vorm 1906">
                  <a:extLst>
                    <a:ext uri="{FF2B5EF4-FFF2-40B4-BE49-F238E27FC236}">
                      <a16:creationId xmlns:a16="http://schemas.microsoft.com/office/drawing/2014/main" id="{9009B307-6F2A-432D-8EB4-568CDBC23CAD}"/>
                    </a:ext>
                  </a:extLst>
                </p:cNvPr>
                <p:cNvSpPr/>
                <p:nvPr/>
              </p:nvSpPr>
              <p:spPr>
                <a:xfrm>
                  <a:off x="4511278" y="4492040"/>
                  <a:ext cx="253283" cy="166682"/>
                </a:xfrm>
                <a:custGeom>
                  <a:avLst/>
                  <a:gdLst>
                    <a:gd name="connsiteX0" fmla="*/ 253284 w 253283"/>
                    <a:gd name="connsiteY0" fmla="*/ 2572 h 166682"/>
                    <a:gd name="connsiteX1" fmla="*/ 1675 w 253283"/>
                    <a:gd name="connsiteY1" fmla="*/ 166683 h 166682"/>
                    <a:gd name="connsiteX2" fmla="*/ 0 w 253283"/>
                    <a:gd name="connsiteY2" fmla="*/ 164111 h 166682"/>
                    <a:gd name="connsiteX3" fmla="*/ 251609 w 253283"/>
                    <a:gd name="connsiteY3" fmla="*/ 0 h 166682"/>
                  </a:gdLst>
                  <a:ahLst/>
                  <a:cxnLst>
                    <a:cxn ang="0">
                      <a:pos x="connsiteX0" y="connsiteY0"/>
                    </a:cxn>
                    <a:cxn ang="0">
                      <a:pos x="connsiteX1" y="connsiteY1"/>
                    </a:cxn>
                    <a:cxn ang="0">
                      <a:pos x="connsiteX2" y="connsiteY2"/>
                    </a:cxn>
                    <a:cxn ang="0">
                      <a:pos x="connsiteX3" y="connsiteY3"/>
                    </a:cxn>
                  </a:cxnLst>
                  <a:rect l="l" t="t" r="r" b="b"/>
                  <a:pathLst>
                    <a:path w="253283" h="166682">
                      <a:moveTo>
                        <a:pt x="253284" y="2572"/>
                      </a:moveTo>
                      <a:lnTo>
                        <a:pt x="1675" y="166683"/>
                      </a:lnTo>
                      <a:lnTo>
                        <a:pt x="0" y="164111"/>
                      </a:lnTo>
                      <a:lnTo>
                        <a:pt x="251609" y="0"/>
                      </a:lnTo>
                      <a:close/>
                    </a:path>
                  </a:pathLst>
                </a:custGeom>
                <a:grpFill/>
                <a:ln w="5978" cap="flat">
                  <a:noFill/>
                  <a:prstDash val="solid"/>
                  <a:miter/>
                </a:ln>
              </p:spPr>
              <p:txBody>
                <a:bodyPr rtlCol="0" anchor="ctr"/>
                <a:lstStyle/>
                <a:p>
                  <a:endParaRPr lang="en-GB"/>
                </a:p>
              </p:txBody>
            </p:sp>
            <p:sp>
              <p:nvSpPr>
                <p:cNvPr id="1908" name="Vrije vorm: vorm 1907">
                  <a:extLst>
                    <a:ext uri="{FF2B5EF4-FFF2-40B4-BE49-F238E27FC236}">
                      <a16:creationId xmlns:a16="http://schemas.microsoft.com/office/drawing/2014/main" id="{F910B58B-60C1-4B70-A2BF-09C7530E992D}"/>
                    </a:ext>
                  </a:extLst>
                </p:cNvPr>
                <p:cNvSpPr/>
                <p:nvPr/>
              </p:nvSpPr>
              <p:spPr>
                <a:xfrm>
                  <a:off x="4754172" y="4484405"/>
                  <a:ext cx="18327" cy="18441"/>
                </a:xfrm>
                <a:custGeom>
                  <a:avLst/>
                  <a:gdLst>
                    <a:gd name="connsiteX0" fmla="*/ 4170 w 18327"/>
                    <a:gd name="connsiteY0" fmla="*/ 1475 h 18441"/>
                    <a:gd name="connsiteX1" fmla="*/ 16849 w 18327"/>
                    <a:gd name="connsiteY1" fmla="*/ 4227 h 18441"/>
                    <a:gd name="connsiteX2" fmla="*/ 14158 w 18327"/>
                    <a:gd name="connsiteY2" fmla="*/ 16966 h 18441"/>
                    <a:gd name="connsiteX3" fmla="*/ 1479 w 18327"/>
                    <a:gd name="connsiteY3" fmla="*/ 14214 h 18441"/>
                    <a:gd name="connsiteX4" fmla="*/ 4170 w 18327"/>
                    <a:gd name="connsiteY4" fmla="*/ 147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4170" y="1475"/>
                      </a:moveTo>
                      <a:cubicBezTo>
                        <a:pt x="8416" y="-1275"/>
                        <a:pt x="14098" y="-79"/>
                        <a:pt x="16849" y="4227"/>
                      </a:cubicBezTo>
                      <a:cubicBezTo>
                        <a:pt x="19600" y="8473"/>
                        <a:pt x="18404" y="14214"/>
                        <a:pt x="14158" y="16966"/>
                      </a:cubicBezTo>
                      <a:cubicBezTo>
                        <a:pt x="9911" y="19717"/>
                        <a:pt x="4229" y="18521"/>
                        <a:pt x="1479" y="14214"/>
                      </a:cubicBezTo>
                      <a:cubicBezTo>
                        <a:pt x="-1273" y="9908"/>
                        <a:pt x="-76" y="4227"/>
                        <a:pt x="4170" y="1475"/>
                      </a:cubicBezTo>
                      <a:close/>
                    </a:path>
                  </a:pathLst>
                </a:custGeom>
                <a:grpFill/>
                <a:ln w="5978" cap="flat">
                  <a:noFill/>
                  <a:prstDash val="solid"/>
                  <a:miter/>
                </a:ln>
              </p:spPr>
              <p:txBody>
                <a:bodyPr rtlCol="0" anchor="ctr"/>
                <a:lstStyle/>
                <a:p>
                  <a:endParaRPr lang="en-GB"/>
                </a:p>
              </p:txBody>
            </p:sp>
            <p:sp>
              <p:nvSpPr>
                <p:cNvPr id="1909" name="Vrije vorm: vorm 1908">
                  <a:extLst>
                    <a:ext uri="{FF2B5EF4-FFF2-40B4-BE49-F238E27FC236}">
                      <a16:creationId xmlns:a16="http://schemas.microsoft.com/office/drawing/2014/main" id="{8F41CBD3-3E30-4E43-9226-DAEE00B6ECE6}"/>
                    </a:ext>
                  </a:extLst>
                </p:cNvPr>
                <p:cNvSpPr/>
                <p:nvPr/>
              </p:nvSpPr>
              <p:spPr>
                <a:xfrm>
                  <a:off x="4503340" y="4647977"/>
                  <a:ext cx="18327" cy="18426"/>
                </a:xfrm>
                <a:custGeom>
                  <a:avLst/>
                  <a:gdLst>
                    <a:gd name="connsiteX0" fmla="*/ 4170 w 18327"/>
                    <a:gd name="connsiteY0" fmla="*/ 1476 h 18426"/>
                    <a:gd name="connsiteX1" fmla="*/ 1479 w 18327"/>
                    <a:gd name="connsiteY1" fmla="*/ 14215 h 18426"/>
                    <a:gd name="connsiteX2" fmla="*/ 14158 w 18327"/>
                    <a:gd name="connsiteY2" fmla="*/ 16966 h 18426"/>
                    <a:gd name="connsiteX3" fmla="*/ 16849 w 18327"/>
                    <a:gd name="connsiteY3" fmla="*/ 4227 h 18426"/>
                    <a:gd name="connsiteX4" fmla="*/ 4170 w 18327"/>
                    <a:gd name="connsiteY4" fmla="*/ 1476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6">
                      <a:moveTo>
                        <a:pt x="4170" y="1476"/>
                      </a:moveTo>
                      <a:cubicBezTo>
                        <a:pt x="-76" y="4227"/>
                        <a:pt x="-1273" y="9968"/>
                        <a:pt x="1479" y="14215"/>
                      </a:cubicBezTo>
                      <a:cubicBezTo>
                        <a:pt x="4229" y="18461"/>
                        <a:pt x="9911" y="19717"/>
                        <a:pt x="14158" y="16966"/>
                      </a:cubicBezTo>
                      <a:cubicBezTo>
                        <a:pt x="18404" y="14215"/>
                        <a:pt x="19600" y="8473"/>
                        <a:pt x="16849" y="4227"/>
                      </a:cubicBezTo>
                      <a:cubicBezTo>
                        <a:pt x="14098" y="-79"/>
                        <a:pt x="8416" y="-1276"/>
                        <a:pt x="4170" y="1476"/>
                      </a:cubicBezTo>
                      <a:close/>
                    </a:path>
                  </a:pathLst>
                </a:custGeom>
                <a:grpFill/>
                <a:ln w="5978" cap="flat">
                  <a:noFill/>
                  <a:prstDash val="solid"/>
                  <a:miter/>
                </a:ln>
              </p:spPr>
              <p:txBody>
                <a:bodyPr rtlCol="0" anchor="ctr"/>
                <a:lstStyle/>
                <a:p>
                  <a:endParaRPr lang="en-GB"/>
                </a:p>
              </p:txBody>
            </p:sp>
          </p:grpSp>
          <p:grpSp>
            <p:nvGrpSpPr>
              <p:cNvPr id="1166" name="Graphic 3">
                <a:extLst>
                  <a:ext uri="{FF2B5EF4-FFF2-40B4-BE49-F238E27FC236}">
                    <a16:creationId xmlns:a16="http://schemas.microsoft.com/office/drawing/2014/main" id="{F5B2D996-ED83-4B8C-A03C-84E5EF0C8015}"/>
                  </a:ext>
                </a:extLst>
              </p:cNvPr>
              <p:cNvGrpSpPr/>
              <p:nvPr/>
            </p:nvGrpSpPr>
            <p:grpSpPr>
              <a:xfrm>
                <a:off x="3967623" y="3057137"/>
                <a:ext cx="322673" cy="69752"/>
                <a:chOff x="3967623" y="3057137"/>
                <a:chExt cx="322673" cy="69752"/>
              </a:xfrm>
              <a:grpFill/>
            </p:grpSpPr>
            <p:sp>
              <p:nvSpPr>
                <p:cNvPr id="1904" name="Vrije vorm: vorm 1903">
                  <a:extLst>
                    <a:ext uri="{FF2B5EF4-FFF2-40B4-BE49-F238E27FC236}">
                      <a16:creationId xmlns:a16="http://schemas.microsoft.com/office/drawing/2014/main" id="{DE846730-975A-4B68-B2B1-B1F93ED3C825}"/>
                    </a:ext>
                  </a:extLst>
                </p:cNvPr>
                <p:cNvSpPr/>
                <p:nvPr/>
              </p:nvSpPr>
              <p:spPr>
                <a:xfrm>
                  <a:off x="3976063" y="3064681"/>
                  <a:ext cx="305734" cy="54544"/>
                </a:xfrm>
                <a:custGeom>
                  <a:avLst/>
                  <a:gdLst>
                    <a:gd name="connsiteX0" fmla="*/ 305735 w 305734"/>
                    <a:gd name="connsiteY0" fmla="*/ 51554 h 54544"/>
                    <a:gd name="connsiteX1" fmla="*/ 305256 w 305734"/>
                    <a:gd name="connsiteY1" fmla="*/ 54544 h 54544"/>
                    <a:gd name="connsiteX2" fmla="*/ 0 w 305734"/>
                    <a:gd name="connsiteY2" fmla="*/ 3050 h 54544"/>
                    <a:gd name="connsiteX3" fmla="*/ 538 w 305734"/>
                    <a:gd name="connsiteY3" fmla="*/ 0 h 54544"/>
                  </a:gdLst>
                  <a:ahLst/>
                  <a:cxnLst>
                    <a:cxn ang="0">
                      <a:pos x="connsiteX0" y="connsiteY0"/>
                    </a:cxn>
                    <a:cxn ang="0">
                      <a:pos x="connsiteX1" y="connsiteY1"/>
                    </a:cxn>
                    <a:cxn ang="0">
                      <a:pos x="connsiteX2" y="connsiteY2"/>
                    </a:cxn>
                    <a:cxn ang="0">
                      <a:pos x="connsiteX3" y="connsiteY3"/>
                    </a:cxn>
                  </a:cxnLst>
                  <a:rect l="l" t="t" r="r" b="b"/>
                  <a:pathLst>
                    <a:path w="305734" h="54544">
                      <a:moveTo>
                        <a:pt x="305735" y="51554"/>
                      </a:moveTo>
                      <a:lnTo>
                        <a:pt x="305256" y="54544"/>
                      </a:lnTo>
                      <a:lnTo>
                        <a:pt x="0" y="3050"/>
                      </a:lnTo>
                      <a:lnTo>
                        <a:pt x="538" y="0"/>
                      </a:lnTo>
                      <a:close/>
                    </a:path>
                  </a:pathLst>
                </a:custGeom>
                <a:grpFill/>
                <a:ln w="5978" cap="flat">
                  <a:noFill/>
                  <a:prstDash val="solid"/>
                  <a:miter/>
                </a:ln>
              </p:spPr>
              <p:txBody>
                <a:bodyPr rtlCol="0" anchor="ctr"/>
                <a:lstStyle/>
                <a:p>
                  <a:endParaRPr lang="en-GB"/>
                </a:p>
              </p:txBody>
            </p:sp>
            <p:sp>
              <p:nvSpPr>
                <p:cNvPr id="1905" name="Vrije vorm: vorm 1904">
                  <a:extLst>
                    <a:ext uri="{FF2B5EF4-FFF2-40B4-BE49-F238E27FC236}">
                      <a16:creationId xmlns:a16="http://schemas.microsoft.com/office/drawing/2014/main" id="{985078EC-F3C3-4C9B-8F6B-6955081F4D44}"/>
                    </a:ext>
                  </a:extLst>
                </p:cNvPr>
                <p:cNvSpPr/>
                <p:nvPr/>
              </p:nvSpPr>
              <p:spPr>
                <a:xfrm>
                  <a:off x="3967623" y="3057137"/>
                  <a:ext cx="18314" cy="18376"/>
                </a:xfrm>
                <a:custGeom>
                  <a:avLst/>
                  <a:gdLst>
                    <a:gd name="connsiteX0" fmla="*/ 7662 w 18314"/>
                    <a:gd name="connsiteY0" fmla="*/ 18250 h 18376"/>
                    <a:gd name="connsiteX1" fmla="*/ 126 w 18314"/>
                    <a:gd name="connsiteY1" fmla="*/ 7664 h 18376"/>
                    <a:gd name="connsiteX2" fmla="*/ 10653 w 18314"/>
                    <a:gd name="connsiteY2" fmla="*/ 128 h 18376"/>
                    <a:gd name="connsiteX3" fmla="*/ 18188 w 18314"/>
                    <a:gd name="connsiteY3" fmla="*/ 10714 h 18376"/>
                    <a:gd name="connsiteX4" fmla="*/ 7662 w 18314"/>
                    <a:gd name="connsiteY4" fmla="*/ 18250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76">
                      <a:moveTo>
                        <a:pt x="7662" y="18250"/>
                      </a:moveTo>
                      <a:cubicBezTo>
                        <a:pt x="2698" y="17412"/>
                        <a:pt x="-711" y="12628"/>
                        <a:pt x="126" y="7664"/>
                      </a:cubicBezTo>
                      <a:cubicBezTo>
                        <a:pt x="964" y="2640"/>
                        <a:pt x="5629" y="-709"/>
                        <a:pt x="10653" y="128"/>
                      </a:cubicBezTo>
                      <a:cubicBezTo>
                        <a:pt x="15617" y="965"/>
                        <a:pt x="19026" y="5750"/>
                        <a:pt x="18188" y="10714"/>
                      </a:cubicBezTo>
                      <a:cubicBezTo>
                        <a:pt x="17411" y="15678"/>
                        <a:pt x="12686" y="19087"/>
                        <a:pt x="7662" y="18250"/>
                      </a:cubicBezTo>
                      <a:close/>
                    </a:path>
                  </a:pathLst>
                </a:custGeom>
                <a:grpFill/>
                <a:ln w="5978" cap="flat">
                  <a:noFill/>
                  <a:prstDash val="solid"/>
                  <a:miter/>
                </a:ln>
              </p:spPr>
              <p:txBody>
                <a:bodyPr rtlCol="0" anchor="ctr"/>
                <a:lstStyle/>
                <a:p>
                  <a:endParaRPr lang="en-GB"/>
                </a:p>
              </p:txBody>
            </p:sp>
            <p:sp>
              <p:nvSpPr>
                <p:cNvPr id="1906" name="Vrije vorm: vorm 1905">
                  <a:extLst>
                    <a:ext uri="{FF2B5EF4-FFF2-40B4-BE49-F238E27FC236}">
                      <a16:creationId xmlns:a16="http://schemas.microsoft.com/office/drawing/2014/main" id="{01B99765-78A7-4821-830E-063B1254003B}"/>
                    </a:ext>
                  </a:extLst>
                </p:cNvPr>
                <p:cNvSpPr/>
                <p:nvPr/>
              </p:nvSpPr>
              <p:spPr>
                <a:xfrm>
                  <a:off x="4271981" y="3108511"/>
                  <a:ext cx="18316" cy="18378"/>
                </a:xfrm>
                <a:custGeom>
                  <a:avLst/>
                  <a:gdLst>
                    <a:gd name="connsiteX0" fmla="*/ 7664 w 18316"/>
                    <a:gd name="connsiteY0" fmla="*/ 18250 h 18378"/>
                    <a:gd name="connsiteX1" fmla="*/ 18190 w 18316"/>
                    <a:gd name="connsiteY1" fmla="*/ 10714 h 18378"/>
                    <a:gd name="connsiteX2" fmla="*/ 10654 w 18316"/>
                    <a:gd name="connsiteY2" fmla="*/ 128 h 18378"/>
                    <a:gd name="connsiteX3" fmla="*/ 128 w 18316"/>
                    <a:gd name="connsiteY3" fmla="*/ 7664 h 18378"/>
                    <a:gd name="connsiteX4" fmla="*/ 7664 w 18316"/>
                    <a:gd name="connsiteY4" fmla="*/ 18250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78">
                      <a:moveTo>
                        <a:pt x="7664" y="18250"/>
                      </a:moveTo>
                      <a:cubicBezTo>
                        <a:pt x="12688" y="19087"/>
                        <a:pt x="17353" y="15738"/>
                        <a:pt x="18190" y="10714"/>
                      </a:cubicBezTo>
                      <a:cubicBezTo>
                        <a:pt x="19028" y="5690"/>
                        <a:pt x="15618" y="965"/>
                        <a:pt x="10654" y="128"/>
                      </a:cubicBezTo>
                      <a:cubicBezTo>
                        <a:pt x="5690" y="-709"/>
                        <a:pt x="966" y="2640"/>
                        <a:pt x="128" y="7664"/>
                      </a:cubicBezTo>
                      <a:cubicBezTo>
                        <a:pt x="-709" y="12628"/>
                        <a:pt x="2640" y="17353"/>
                        <a:pt x="7664" y="18250"/>
                      </a:cubicBezTo>
                      <a:close/>
                    </a:path>
                  </a:pathLst>
                </a:custGeom>
                <a:grpFill/>
                <a:ln w="5978" cap="flat">
                  <a:noFill/>
                  <a:prstDash val="solid"/>
                  <a:miter/>
                </a:ln>
              </p:spPr>
              <p:txBody>
                <a:bodyPr rtlCol="0" anchor="ctr"/>
                <a:lstStyle/>
                <a:p>
                  <a:endParaRPr lang="en-GB"/>
                </a:p>
              </p:txBody>
            </p:sp>
          </p:grpSp>
          <p:grpSp>
            <p:nvGrpSpPr>
              <p:cNvPr id="1167" name="Graphic 3">
                <a:extLst>
                  <a:ext uri="{FF2B5EF4-FFF2-40B4-BE49-F238E27FC236}">
                    <a16:creationId xmlns:a16="http://schemas.microsoft.com/office/drawing/2014/main" id="{2230DC31-3305-4A49-8060-7BCA7C6122BE}"/>
                  </a:ext>
                </a:extLst>
              </p:cNvPr>
              <p:cNvGrpSpPr/>
              <p:nvPr/>
            </p:nvGrpSpPr>
            <p:grpSpPr>
              <a:xfrm>
                <a:off x="4532373" y="4630142"/>
                <a:ext cx="317251" cy="265787"/>
                <a:chOff x="4532373" y="4630142"/>
                <a:chExt cx="317251" cy="265787"/>
              </a:xfrm>
              <a:grpFill/>
            </p:grpSpPr>
            <p:sp>
              <p:nvSpPr>
                <p:cNvPr id="1901" name="Vrije vorm: vorm 1900">
                  <a:extLst>
                    <a:ext uri="{FF2B5EF4-FFF2-40B4-BE49-F238E27FC236}">
                      <a16:creationId xmlns:a16="http://schemas.microsoft.com/office/drawing/2014/main" id="{26B82250-29D5-4D57-BC64-75508F234CFE}"/>
                    </a:ext>
                  </a:extLst>
                </p:cNvPr>
                <p:cNvSpPr/>
                <p:nvPr/>
              </p:nvSpPr>
              <p:spPr>
                <a:xfrm>
                  <a:off x="4540165" y="4637910"/>
                  <a:ext cx="301607" cy="250293"/>
                </a:xfrm>
                <a:custGeom>
                  <a:avLst/>
                  <a:gdLst>
                    <a:gd name="connsiteX0" fmla="*/ 301608 w 301607"/>
                    <a:gd name="connsiteY0" fmla="*/ 2332 h 250293"/>
                    <a:gd name="connsiteX1" fmla="*/ 1974 w 301607"/>
                    <a:gd name="connsiteY1" fmla="*/ 250293 h 250293"/>
                    <a:gd name="connsiteX2" fmla="*/ 0 w 301607"/>
                    <a:gd name="connsiteY2" fmla="*/ 247901 h 250293"/>
                    <a:gd name="connsiteX3" fmla="*/ 299634 w 301607"/>
                    <a:gd name="connsiteY3" fmla="*/ 0 h 250293"/>
                  </a:gdLst>
                  <a:ahLst/>
                  <a:cxnLst>
                    <a:cxn ang="0">
                      <a:pos x="connsiteX0" y="connsiteY0"/>
                    </a:cxn>
                    <a:cxn ang="0">
                      <a:pos x="connsiteX1" y="connsiteY1"/>
                    </a:cxn>
                    <a:cxn ang="0">
                      <a:pos x="connsiteX2" y="connsiteY2"/>
                    </a:cxn>
                    <a:cxn ang="0">
                      <a:pos x="connsiteX3" y="connsiteY3"/>
                    </a:cxn>
                  </a:cxnLst>
                  <a:rect l="l" t="t" r="r" b="b"/>
                  <a:pathLst>
                    <a:path w="301607" h="250293">
                      <a:moveTo>
                        <a:pt x="301608" y="2332"/>
                      </a:moveTo>
                      <a:lnTo>
                        <a:pt x="1974" y="250293"/>
                      </a:lnTo>
                      <a:lnTo>
                        <a:pt x="0" y="247901"/>
                      </a:lnTo>
                      <a:lnTo>
                        <a:pt x="299634" y="0"/>
                      </a:lnTo>
                      <a:close/>
                    </a:path>
                  </a:pathLst>
                </a:custGeom>
                <a:grpFill/>
                <a:ln w="5978" cap="flat">
                  <a:noFill/>
                  <a:prstDash val="solid"/>
                  <a:miter/>
                </a:ln>
              </p:spPr>
              <p:txBody>
                <a:bodyPr rtlCol="0" anchor="ctr"/>
                <a:lstStyle/>
                <a:p>
                  <a:endParaRPr lang="en-GB"/>
                </a:p>
              </p:txBody>
            </p:sp>
            <p:sp>
              <p:nvSpPr>
                <p:cNvPr id="1902" name="Vrije vorm: vorm 1901">
                  <a:extLst>
                    <a:ext uri="{FF2B5EF4-FFF2-40B4-BE49-F238E27FC236}">
                      <a16:creationId xmlns:a16="http://schemas.microsoft.com/office/drawing/2014/main" id="{5F147587-9C4B-426D-B2EE-966497F762BA}"/>
                    </a:ext>
                  </a:extLst>
                </p:cNvPr>
                <p:cNvSpPr/>
                <p:nvPr/>
              </p:nvSpPr>
              <p:spPr>
                <a:xfrm>
                  <a:off x="4831289" y="4630142"/>
                  <a:ext cx="18335" cy="18406"/>
                </a:xfrm>
                <a:custGeom>
                  <a:avLst/>
                  <a:gdLst>
                    <a:gd name="connsiteX0" fmla="*/ 3306 w 18335"/>
                    <a:gd name="connsiteY0" fmla="*/ 2086 h 18406"/>
                    <a:gd name="connsiteX1" fmla="*/ 16225 w 18335"/>
                    <a:gd name="connsiteY1" fmla="*/ 3342 h 18406"/>
                    <a:gd name="connsiteX2" fmla="*/ 15029 w 18335"/>
                    <a:gd name="connsiteY2" fmla="*/ 16320 h 18406"/>
                    <a:gd name="connsiteX3" fmla="*/ 2111 w 18335"/>
                    <a:gd name="connsiteY3" fmla="*/ 15064 h 18406"/>
                    <a:gd name="connsiteX4" fmla="*/ 3306 w 18335"/>
                    <a:gd name="connsiteY4" fmla="*/ 20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06">
                      <a:moveTo>
                        <a:pt x="3306" y="2086"/>
                      </a:moveTo>
                      <a:cubicBezTo>
                        <a:pt x="7194" y="-1143"/>
                        <a:pt x="12995" y="-546"/>
                        <a:pt x="16225" y="3342"/>
                      </a:cubicBezTo>
                      <a:cubicBezTo>
                        <a:pt x="19454" y="7289"/>
                        <a:pt x="18916" y="13090"/>
                        <a:pt x="15029" y="16320"/>
                      </a:cubicBezTo>
                      <a:cubicBezTo>
                        <a:pt x="11141" y="19550"/>
                        <a:pt x="5340" y="18952"/>
                        <a:pt x="2111" y="15064"/>
                      </a:cubicBezTo>
                      <a:cubicBezTo>
                        <a:pt x="-1119" y="11117"/>
                        <a:pt x="-581" y="5315"/>
                        <a:pt x="3306" y="2086"/>
                      </a:cubicBezTo>
                      <a:close/>
                    </a:path>
                  </a:pathLst>
                </a:custGeom>
                <a:grpFill/>
                <a:ln w="5978" cap="flat">
                  <a:noFill/>
                  <a:prstDash val="solid"/>
                  <a:miter/>
                </a:ln>
              </p:spPr>
              <p:txBody>
                <a:bodyPr rtlCol="0" anchor="ctr"/>
                <a:lstStyle/>
                <a:p>
                  <a:endParaRPr lang="en-GB"/>
                </a:p>
              </p:txBody>
            </p:sp>
            <p:sp>
              <p:nvSpPr>
                <p:cNvPr id="1903" name="Vrije vorm: vorm 1902">
                  <a:extLst>
                    <a:ext uri="{FF2B5EF4-FFF2-40B4-BE49-F238E27FC236}">
                      <a16:creationId xmlns:a16="http://schemas.microsoft.com/office/drawing/2014/main" id="{52386A68-177E-4AE2-94DF-6F7DFB404368}"/>
                    </a:ext>
                  </a:extLst>
                </p:cNvPr>
                <p:cNvSpPr/>
                <p:nvPr/>
              </p:nvSpPr>
              <p:spPr>
                <a:xfrm>
                  <a:off x="4532373" y="4877505"/>
                  <a:ext cx="18335" cy="18425"/>
                </a:xfrm>
                <a:custGeom>
                  <a:avLst/>
                  <a:gdLst>
                    <a:gd name="connsiteX0" fmla="*/ 3306 w 18335"/>
                    <a:gd name="connsiteY0" fmla="*/ 2086 h 18425"/>
                    <a:gd name="connsiteX1" fmla="*/ 2110 w 18335"/>
                    <a:gd name="connsiteY1" fmla="*/ 15064 h 18425"/>
                    <a:gd name="connsiteX2" fmla="*/ 15029 w 18335"/>
                    <a:gd name="connsiteY2" fmla="*/ 16320 h 18425"/>
                    <a:gd name="connsiteX3" fmla="*/ 16225 w 18335"/>
                    <a:gd name="connsiteY3" fmla="*/ 3342 h 18425"/>
                    <a:gd name="connsiteX4" fmla="*/ 3306 w 18335"/>
                    <a:gd name="connsiteY4" fmla="*/ 2086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5">
                      <a:moveTo>
                        <a:pt x="3306" y="2086"/>
                      </a:moveTo>
                      <a:cubicBezTo>
                        <a:pt x="-581" y="5316"/>
                        <a:pt x="-1119" y="11117"/>
                        <a:pt x="2110" y="15064"/>
                      </a:cubicBezTo>
                      <a:cubicBezTo>
                        <a:pt x="5340" y="19012"/>
                        <a:pt x="11141" y="19550"/>
                        <a:pt x="15029" y="16320"/>
                      </a:cubicBezTo>
                      <a:cubicBezTo>
                        <a:pt x="18916" y="13091"/>
                        <a:pt x="19454" y="7289"/>
                        <a:pt x="16225" y="3342"/>
                      </a:cubicBezTo>
                      <a:cubicBezTo>
                        <a:pt x="12935" y="-546"/>
                        <a:pt x="7194" y="-1143"/>
                        <a:pt x="3306" y="2086"/>
                      </a:cubicBezTo>
                      <a:close/>
                    </a:path>
                  </a:pathLst>
                </a:custGeom>
                <a:grpFill/>
                <a:ln w="5978" cap="flat">
                  <a:noFill/>
                  <a:prstDash val="solid"/>
                  <a:miter/>
                </a:ln>
              </p:spPr>
              <p:txBody>
                <a:bodyPr rtlCol="0" anchor="ctr"/>
                <a:lstStyle/>
                <a:p>
                  <a:endParaRPr lang="en-GB"/>
                </a:p>
              </p:txBody>
            </p:sp>
          </p:grpSp>
          <p:grpSp>
            <p:nvGrpSpPr>
              <p:cNvPr id="1168" name="Graphic 3">
                <a:extLst>
                  <a:ext uri="{FF2B5EF4-FFF2-40B4-BE49-F238E27FC236}">
                    <a16:creationId xmlns:a16="http://schemas.microsoft.com/office/drawing/2014/main" id="{D2219FBE-3F4C-4C64-8CEB-9AC405BE02CC}"/>
                  </a:ext>
                </a:extLst>
              </p:cNvPr>
              <p:cNvGrpSpPr/>
              <p:nvPr/>
            </p:nvGrpSpPr>
            <p:grpSpPr>
              <a:xfrm>
                <a:off x="4524173" y="4607030"/>
                <a:ext cx="302809" cy="242496"/>
                <a:chOff x="4524173" y="4607030"/>
                <a:chExt cx="302809" cy="242496"/>
              </a:xfrm>
              <a:grpFill/>
            </p:grpSpPr>
            <p:sp>
              <p:nvSpPr>
                <p:cNvPr id="1898" name="Vrije vorm: vorm 1897">
                  <a:extLst>
                    <a:ext uri="{FF2B5EF4-FFF2-40B4-BE49-F238E27FC236}">
                      <a16:creationId xmlns:a16="http://schemas.microsoft.com/office/drawing/2014/main" id="{7A7CC5FD-A9A1-456B-A3E3-C88EE345FC33}"/>
                    </a:ext>
                  </a:extLst>
                </p:cNvPr>
                <p:cNvSpPr/>
                <p:nvPr/>
              </p:nvSpPr>
              <p:spPr>
                <a:xfrm>
                  <a:off x="4532091" y="4614765"/>
                  <a:ext cx="287074" cy="227027"/>
                </a:xfrm>
                <a:custGeom>
                  <a:avLst/>
                  <a:gdLst>
                    <a:gd name="connsiteX0" fmla="*/ 287075 w 287074"/>
                    <a:gd name="connsiteY0" fmla="*/ 2392 h 227027"/>
                    <a:gd name="connsiteX1" fmla="*/ 1854 w 287074"/>
                    <a:gd name="connsiteY1" fmla="*/ 227028 h 227027"/>
                    <a:gd name="connsiteX2" fmla="*/ 0 w 287074"/>
                    <a:gd name="connsiteY2" fmla="*/ 224636 h 227027"/>
                    <a:gd name="connsiteX3" fmla="*/ 285161 w 287074"/>
                    <a:gd name="connsiteY3" fmla="*/ 0 h 227027"/>
                  </a:gdLst>
                  <a:ahLst/>
                  <a:cxnLst>
                    <a:cxn ang="0">
                      <a:pos x="connsiteX0" y="connsiteY0"/>
                    </a:cxn>
                    <a:cxn ang="0">
                      <a:pos x="connsiteX1" y="connsiteY1"/>
                    </a:cxn>
                    <a:cxn ang="0">
                      <a:pos x="connsiteX2" y="connsiteY2"/>
                    </a:cxn>
                    <a:cxn ang="0">
                      <a:pos x="connsiteX3" y="connsiteY3"/>
                    </a:cxn>
                  </a:cxnLst>
                  <a:rect l="l" t="t" r="r" b="b"/>
                  <a:pathLst>
                    <a:path w="287074" h="227027">
                      <a:moveTo>
                        <a:pt x="287075" y="2392"/>
                      </a:moveTo>
                      <a:lnTo>
                        <a:pt x="1854" y="227028"/>
                      </a:lnTo>
                      <a:lnTo>
                        <a:pt x="0" y="224636"/>
                      </a:lnTo>
                      <a:lnTo>
                        <a:pt x="285161" y="0"/>
                      </a:lnTo>
                      <a:close/>
                    </a:path>
                  </a:pathLst>
                </a:custGeom>
                <a:grpFill/>
                <a:ln w="5978" cap="flat">
                  <a:noFill/>
                  <a:prstDash val="solid"/>
                  <a:miter/>
                </a:ln>
              </p:spPr>
              <p:txBody>
                <a:bodyPr rtlCol="0" anchor="ctr"/>
                <a:lstStyle/>
                <a:p>
                  <a:endParaRPr lang="en-GB"/>
                </a:p>
              </p:txBody>
            </p:sp>
            <p:sp>
              <p:nvSpPr>
                <p:cNvPr id="1899" name="Vrije vorm: vorm 1898">
                  <a:extLst>
                    <a:ext uri="{FF2B5EF4-FFF2-40B4-BE49-F238E27FC236}">
                      <a16:creationId xmlns:a16="http://schemas.microsoft.com/office/drawing/2014/main" id="{0A026359-FBC6-4540-BA9F-6FDC09102E47}"/>
                    </a:ext>
                  </a:extLst>
                </p:cNvPr>
                <p:cNvSpPr/>
                <p:nvPr/>
              </p:nvSpPr>
              <p:spPr>
                <a:xfrm>
                  <a:off x="4808676" y="4607030"/>
                  <a:ext cx="18306" cy="18398"/>
                </a:xfrm>
                <a:custGeom>
                  <a:avLst/>
                  <a:gdLst>
                    <a:gd name="connsiteX0" fmla="*/ 3492 w 18306"/>
                    <a:gd name="connsiteY0" fmla="*/ 1933 h 18398"/>
                    <a:gd name="connsiteX1" fmla="*/ 16351 w 18306"/>
                    <a:gd name="connsiteY1" fmla="*/ 3548 h 18398"/>
                    <a:gd name="connsiteX2" fmla="*/ 14796 w 18306"/>
                    <a:gd name="connsiteY2" fmla="*/ 16466 h 18398"/>
                    <a:gd name="connsiteX3" fmla="*/ 1937 w 18306"/>
                    <a:gd name="connsiteY3" fmla="*/ 14851 h 18398"/>
                    <a:gd name="connsiteX4" fmla="*/ 3492 w 18306"/>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8">
                      <a:moveTo>
                        <a:pt x="3492" y="1933"/>
                      </a:moveTo>
                      <a:cubicBezTo>
                        <a:pt x="7440" y="-1177"/>
                        <a:pt x="13241" y="-459"/>
                        <a:pt x="16351" y="3548"/>
                      </a:cubicBezTo>
                      <a:cubicBezTo>
                        <a:pt x="19461" y="7555"/>
                        <a:pt x="18803" y="13356"/>
                        <a:pt x="14796" y="16466"/>
                      </a:cubicBezTo>
                      <a:cubicBezTo>
                        <a:pt x="10849" y="19576"/>
                        <a:pt x="5047" y="18858"/>
                        <a:pt x="1937" y="14851"/>
                      </a:cubicBezTo>
                      <a:cubicBezTo>
                        <a:pt x="-1173" y="10904"/>
                        <a:pt x="-455" y="5103"/>
                        <a:pt x="3492" y="1933"/>
                      </a:cubicBezTo>
                      <a:close/>
                    </a:path>
                  </a:pathLst>
                </a:custGeom>
                <a:grpFill/>
                <a:ln w="5978" cap="flat">
                  <a:noFill/>
                  <a:prstDash val="solid"/>
                  <a:miter/>
                </a:ln>
              </p:spPr>
              <p:txBody>
                <a:bodyPr rtlCol="0" anchor="ctr"/>
                <a:lstStyle/>
                <a:p>
                  <a:endParaRPr lang="en-GB"/>
                </a:p>
              </p:txBody>
            </p:sp>
            <p:sp>
              <p:nvSpPr>
                <p:cNvPr id="1900" name="Vrije vorm: vorm 1899">
                  <a:extLst>
                    <a:ext uri="{FF2B5EF4-FFF2-40B4-BE49-F238E27FC236}">
                      <a16:creationId xmlns:a16="http://schemas.microsoft.com/office/drawing/2014/main" id="{330F7288-C152-4D98-AC14-4726C6C4D33B}"/>
                    </a:ext>
                  </a:extLst>
                </p:cNvPr>
                <p:cNvSpPr/>
                <p:nvPr/>
              </p:nvSpPr>
              <p:spPr>
                <a:xfrm>
                  <a:off x="4524173" y="4831128"/>
                  <a:ext cx="18288" cy="18398"/>
                </a:xfrm>
                <a:custGeom>
                  <a:avLst/>
                  <a:gdLst>
                    <a:gd name="connsiteX0" fmla="*/ 3492 w 18288"/>
                    <a:gd name="connsiteY0" fmla="*/ 1933 h 18398"/>
                    <a:gd name="connsiteX1" fmla="*/ 1937 w 18288"/>
                    <a:gd name="connsiteY1" fmla="*/ 14851 h 18398"/>
                    <a:gd name="connsiteX2" fmla="*/ 14796 w 18288"/>
                    <a:gd name="connsiteY2" fmla="*/ 16466 h 18398"/>
                    <a:gd name="connsiteX3" fmla="*/ 16351 w 18288"/>
                    <a:gd name="connsiteY3" fmla="*/ 3548 h 18398"/>
                    <a:gd name="connsiteX4" fmla="*/ 3492 w 1828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98">
                      <a:moveTo>
                        <a:pt x="3492" y="1933"/>
                      </a:moveTo>
                      <a:cubicBezTo>
                        <a:pt x="-455" y="5043"/>
                        <a:pt x="-1173" y="10844"/>
                        <a:pt x="1937" y="14851"/>
                      </a:cubicBezTo>
                      <a:cubicBezTo>
                        <a:pt x="5047" y="18858"/>
                        <a:pt x="10849" y="19576"/>
                        <a:pt x="14796" y="16466"/>
                      </a:cubicBezTo>
                      <a:cubicBezTo>
                        <a:pt x="18743" y="13356"/>
                        <a:pt x="19461" y="7555"/>
                        <a:pt x="16351" y="3548"/>
                      </a:cubicBezTo>
                      <a:cubicBezTo>
                        <a:pt x="13241" y="-459"/>
                        <a:pt x="7499" y="-1177"/>
                        <a:pt x="3492" y="1933"/>
                      </a:cubicBezTo>
                      <a:close/>
                    </a:path>
                  </a:pathLst>
                </a:custGeom>
                <a:grpFill/>
                <a:ln w="5978" cap="flat">
                  <a:noFill/>
                  <a:prstDash val="solid"/>
                  <a:miter/>
                </a:ln>
              </p:spPr>
              <p:txBody>
                <a:bodyPr rtlCol="0" anchor="ctr"/>
                <a:lstStyle/>
                <a:p>
                  <a:endParaRPr lang="en-GB"/>
                </a:p>
              </p:txBody>
            </p:sp>
          </p:grpSp>
          <p:grpSp>
            <p:nvGrpSpPr>
              <p:cNvPr id="1169" name="Graphic 3">
                <a:extLst>
                  <a:ext uri="{FF2B5EF4-FFF2-40B4-BE49-F238E27FC236}">
                    <a16:creationId xmlns:a16="http://schemas.microsoft.com/office/drawing/2014/main" id="{DA159983-E29C-4126-ABBD-0C1B4299D760}"/>
                  </a:ext>
                </a:extLst>
              </p:cNvPr>
              <p:cNvGrpSpPr/>
              <p:nvPr/>
            </p:nvGrpSpPr>
            <p:grpSpPr>
              <a:xfrm>
                <a:off x="3856861" y="2551769"/>
                <a:ext cx="213404" cy="94718"/>
                <a:chOff x="3856861" y="2551769"/>
                <a:chExt cx="213404" cy="94718"/>
              </a:xfrm>
              <a:grpFill/>
            </p:grpSpPr>
            <p:sp>
              <p:nvSpPr>
                <p:cNvPr id="1895" name="Vrije vorm: vorm 1894">
                  <a:extLst>
                    <a:ext uri="{FF2B5EF4-FFF2-40B4-BE49-F238E27FC236}">
                      <a16:creationId xmlns:a16="http://schemas.microsoft.com/office/drawing/2014/main" id="{1FC118C5-5481-479F-B782-84F6E4B5377A}"/>
                    </a:ext>
                  </a:extLst>
                </p:cNvPr>
                <p:cNvSpPr/>
                <p:nvPr/>
              </p:nvSpPr>
              <p:spPr>
                <a:xfrm>
                  <a:off x="3865061" y="2559370"/>
                  <a:ext cx="197005" cy="79483"/>
                </a:xfrm>
                <a:custGeom>
                  <a:avLst/>
                  <a:gdLst>
                    <a:gd name="connsiteX0" fmla="*/ 197005 w 197005"/>
                    <a:gd name="connsiteY0" fmla="*/ 76613 h 79483"/>
                    <a:gd name="connsiteX1" fmla="*/ 195929 w 197005"/>
                    <a:gd name="connsiteY1" fmla="*/ 79484 h 79483"/>
                    <a:gd name="connsiteX2" fmla="*/ 0 w 197005"/>
                    <a:gd name="connsiteY2" fmla="*/ 2871 h 79483"/>
                    <a:gd name="connsiteX3" fmla="*/ 1076 w 197005"/>
                    <a:gd name="connsiteY3" fmla="*/ 0 h 79483"/>
                  </a:gdLst>
                  <a:ahLst/>
                  <a:cxnLst>
                    <a:cxn ang="0">
                      <a:pos x="connsiteX0" y="connsiteY0"/>
                    </a:cxn>
                    <a:cxn ang="0">
                      <a:pos x="connsiteX1" y="connsiteY1"/>
                    </a:cxn>
                    <a:cxn ang="0">
                      <a:pos x="connsiteX2" y="connsiteY2"/>
                    </a:cxn>
                    <a:cxn ang="0">
                      <a:pos x="connsiteX3" y="connsiteY3"/>
                    </a:cxn>
                  </a:cxnLst>
                  <a:rect l="l" t="t" r="r" b="b"/>
                  <a:pathLst>
                    <a:path w="197005" h="79483">
                      <a:moveTo>
                        <a:pt x="197005" y="76613"/>
                      </a:moveTo>
                      <a:lnTo>
                        <a:pt x="195929" y="79484"/>
                      </a:lnTo>
                      <a:lnTo>
                        <a:pt x="0" y="2871"/>
                      </a:lnTo>
                      <a:lnTo>
                        <a:pt x="1076" y="0"/>
                      </a:lnTo>
                      <a:close/>
                    </a:path>
                  </a:pathLst>
                </a:custGeom>
                <a:grpFill/>
                <a:ln w="5978" cap="flat">
                  <a:noFill/>
                  <a:prstDash val="solid"/>
                  <a:miter/>
                </a:ln>
              </p:spPr>
              <p:txBody>
                <a:bodyPr rtlCol="0" anchor="ctr"/>
                <a:lstStyle/>
                <a:p>
                  <a:endParaRPr lang="en-GB"/>
                </a:p>
              </p:txBody>
            </p:sp>
            <p:sp>
              <p:nvSpPr>
                <p:cNvPr id="1896" name="Vrije vorm: vorm 1895">
                  <a:extLst>
                    <a:ext uri="{FF2B5EF4-FFF2-40B4-BE49-F238E27FC236}">
                      <a16:creationId xmlns:a16="http://schemas.microsoft.com/office/drawing/2014/main" id="{BE9E3786-2771-4CF7-BCFF-C06360CC39CD}"/>
                    </a:ext>
                  </a:extLst>
                </p:cNvPr>
                <p:cNvSpPr/>
                <p:nvPr/>
              </p:nvSpPr>
              <p:spPr>
                <a:xfrm>
                  <a:off x="3856861" y="2551769"/>
                  <a:ext cx="18313" cy="18404"/>
                </a:xfrm>
                <a:custGeom>
                  <a:avLst/>
                  <a:gdLst>
                    <a:gd name="connsiteX0" fmla="*/ 5867 w 18313"/>
                    <a:gd name="connsiteY0" fmla="*/ 17769 h 18404"/>
                    <a:gd name="connsiteX1" fmla="*/ 604 w 18313"/>
                    <a:gd name="connsiteY1" fmla="*/ 5867 h 18404"/>
                    <a:gd name="connsiteX2" fmla="*/ 12446 w 18313"/>
                    <a:gd name="connsiteY2" fmla="*/ 604 h 18404"/>
                    <a:gd name="connsiteX3" fmla="*/ 17709 w 18313"/>
                    <a:gd name="connsiteY3" fmla="*/ 12506 h 18404"/>
                    <a:gd name="connsiteX4" fmla="*/ 5867 w 18313"/>
                    <a:gd name="connsiteY4" fmla="*/ 1776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5867" y="17769"/>
                      </a:moveTo>
                      <a:cubicBezTo>
                        <a:pt x="1142" y="15915"/>
                        <a:pt x="-1190" y="10592"/>
                        <a:pt x="604" y="5867"/>
                      </a:cubicBezTo>
                      <a:cubicBezTo>
                        <a:pt x="2399" y="1142"/>
                        <a:pt x="7721" y="-1190"/>
                        <a:pt x="12446" y="604"/>
                      </a:cubicBezTo>
                      <a:cubicBezTo>
                        <a:pt x="17171" y="2458"/>
                        <a:pt x="19503" y="7781"/>
                        <a:pt x="17709" y="12506"/>
                      </a:cubicBezTo>
                      <a:cubicBezTo>
                        <a:pt x="15855" y="17290"/>
                        <a:pt x="10592" y="19623"/>
                        <a:pt x="5867" y="17769"/>
                      </a:cubicBezTo>
                      <a:close/>
                    </a:path>
                  </a:pathLst>
                </a:custGeom>
                <a:grpFill/>
                <a:ln w="5978" cap="flat">
                  <a:noFill/>
                  <a:prstDash val="solid"/>
                  <a:miter/>
                </a:ln>
              </p:spPr>
              <p:txBody>
                <a:bodyPr rtlCol="0" anchor="ctr"/>
                <a:lstStyle/>
                <a:p>
                  <a:endParaRPr lang="en-GB"/>
                </a:p>
              </p:txBody>
            </p:sp>
            <p:sp>
              <p:nvSpPr>
                <p:cNvPr id="1897" name="Vrije vorm: vorm 1896">
                  <a:extLst>
                    <a:ext uri="{FF2B5EF4-FFF2-40B4-BE49-F238E27FC236}">
                      <a16:creationId xmlns:a16="http://schemas.microsoft.com/office/drawing/2014/main" id="{285FAEE5-4807-4D5E-AE3D-097BF5A1BED9}"/>
                    </a:ext>
                  </a:extLst>
                </p:cNvPr>
                <p:cNvSpPr/>
                <p:nvPr/>
              </p:nvSpPr>
              <p:spPr>
                <a:xfrm>
                  <a:off x="4051952" y="2628051"/>
                  <a:ext cx="18313" cy="18436"/>
                </a:xfrm>
                <a:custGeom>
                  <a:avLst/>
                  <a:gdLst>
                    <a:gd name="connsiteX0" fmla="*/ 5867 w 18313"/>
                    <a:gd name="connsiteY0" fmla="*/ 17801 h 18436"/>
                    <a:gd name="connsiteX1" fmla="*/ 17709 w 18313"/>
                    <a:gd name="connsiteY1" fmla="*/ 12538 h 18436"/>
                    <a:gd name="connsiteX2" fmla="*/ 12446 w 18313"/>
                    <a:gd name="connsiteY2" fmla="*/ 636 h 18436"/>
                    <a:gd name="connsiteX3" fmla="*/ 604 w 18313"/>
                    <a:gd name="connsiteY3" fmla="*/ 5899 h 18436"/>
                    <a:gd name="connsiteX4" fmla="*/ 5867 w 18313"/>
                    <a:gd name="connsiteY4" fmla="*/ 178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6">
                      <a:moveTo>
                        <a:pt x="5867" y="17801"/>
                      </a:moveTo>
                      <a:cubicBezTo>
                        <a:pt x="10592" y="19655"/>
                        <a:pt x="15915" y="17322"/>
                        <a:pt x="17709" y="12538"/>
                      </a:cubicBezTo>
                      <a:cubicBezTo>
                        <a:pt x="19503" y="7813"/>
                        <a:pt x="17171" y="2430"/>
                        <a:pt x="12446" y="636"/>
                      </a:cubicBezTo>
                      <a:cubicBezTo>
                        <a:pt x="7721" y="-1218"/>
                        <a:pt x="2399" y="1114"/>
                        <a:pt x="604" y="5899"/>
                      </a:cubicBezTo>
                      <a:cubicBezTo>
                        <a:pt x="-1190" y="10564"/>
                        <a:pt x="1142" y="15947"/>
                        <a:pt x="5867" y="17801"/>
                      </a:cubicBezTo>
                      <a:close/>
                    </a:path>
                  </a:pathLst>
                </a:custGeom>
                <a:grpFill/>
                <a:ln w="5978" cap="flat">
                  <a:noFill/>
                  <a:prstDash val="solid"/>
                  <a:miter/>
                </a:ln>
              </p:spPr>
              <p:txBody>
                <a:bodyPr rtlCol="0" anchor="ctr"/>
                <a:lstStyle/>
                <a:p>
                  <a:endParaRPr lang="en-GB"/>
                </a:p>
              </p:txBody>
            </p:sp>
          </p:grpSp>
          <p:grpSp>
            <p:nvGrpSpPr>
              <p:cNvPr id="1170" name="Graphic 3">
                <a:extLst>
                  <a:ext uri="{FF2B5EF4-FFF2-40B4-BE49-F238E27FC236}">
                    <a16:creationId xmlns:a16="http://schemas.microsoft.com/office/drawing/2014/main" id="{B618CE63-CD3F-4BE2-BF65-92D24625A79C}"/>
                  </a:ext>
                </a:extLst>
              </p:cNvPr>
              <p:cNvGrpSpPr/>
              <p:nvPr/>
            </p:nvGrpSpPr>
            <p:grpSpPr>
              <a:xfrm>
                <a:off x="4417476" y="4140291"/>
                <a:ext cx="136767" cy="75880"/>
                <a:chOff x="4417476" y="4140291"/>
                <a:chExt cx="136767" cy="75880"/>
              </a:xfrm>
              <a:grpFill/>
            </p:grpSpPr>
            <p:sp>
              <p:nvSpPr>
                <p:cNvPr id="1892" name="Vrije vorm: vorm 1891">
                  <a:extLst>
                    <a:ext uri="{FF2B5EF4-FFF2-40B4-BE49-F238E27FC236}">
                      <a16:creationId xmlns:a16="http://schemas.microsoft.com/office/drawing/2014/main" id="{7BD59605-7D94-4B06-9A23-F821EC592DE8}"/>
                    </a:ext>
                  </a:extLst>
                </p:cNvPr>
                <p:cNvSpPr/>
                <p:nvPr/>
              </p:nvSpPr>
              <p:spPr>
                <a:xfrm>
                  <a:off x="4425574" y="4147969"/>
                  <a:ext cx="120571" cy="60584"/>
                </a:xfrm>
                <a:custGeom>
                  <a:avLst/>
                  <a:gdLst>
                    <a:gd name="connsiteX0" fmla="*/ 120571 w 120571"/>
                    <a:gd name="connsiteY0" fmla="*/ 2751 h 60584"/>
                    <a:gd name="connsiteX1" fmla="*/ 1375 w 120571"/>
                    <a:gd name="connsiteY1" fmla="*/ 60585 h 60584"/>
                    <a:gd name="connsiteX2" fmla="*/ 0 w 120571"/>
                    <a:gd name="connsiteY2" fmla="*/ 57834 h 60584"/>
                    <a:gd name="connsiteX3" fmla="*/ 119256 w 120571"/>
                    <a:gd name="connsiteY3" fmla="*/ 0 h 60584"/>
                  </a:gdLst>
                  <a:ahLst/>
                  <a:cxnLst>
                    <a:cxn ang="0">
                      <a:pos x="connsiteX0" y="connsiteY0"/>
                    </a:cxn>
                    <a:cxn ang="0">
                      <a:pos x="connsiteX1" y="connsiteY1"/>
                    </a:cxn>
                    <a:cxn ang="0">
                      <a:pos x="connsiteX2" y="connsiteY2"/>
                    </a:cxn>
                    <a:cxn ang="0">
                      <a:pos x="connsiteX3" y="connsiteY3"/>
                    </a:cxn>
                  </a:cxnLst>
                  <a:rect l="l" t="t" r="r" b="b"/>
                  <a:pathLst>
                    <a:path w="120571" h="60584">
                      <a:moveTo>
                        <a:pt x="120571" y="2751"/>
                      </a:moveTo>
                      <a:lnTo>
                        <a:pt x="1375" y="60585"/>
                      </a:lnTo>
                      <a:lnTo>
                        <a:pt x="0" y="57834"/>
                      </a:lnTo>
                      <a:lnTo>
                        <a:pt x="119256" y="0"/>
                      </a:lnTo>
                      <a:close/>
                    </a:path>
                  </a:pathLst>
                </a:custGeom>
                <a:grpFill/>
                <a:ln w="5978" cap="flat">
                  <a:noFill/>
                  <a:prstDash val="solid"/>
                  <a:miter/>
                </a:ln>
              </p:spPr>
              <p:txBody>
                <a:bodyPr rtlCol="0" anchor="ctr"/>
                <a:lstStyle/>
                <a:p>
                  <a:endParaRPr lang="en-GB"/>
                </a:p>
              </p:txBody>
            </p:sp>
            <p:sp>
              <p:nvSpPr>
                <p:cNvPr id="1893" name="Vrije vorm: vorm 1892">
                  <a:extLst>
                    <a:ext uri="{FF2B5EF4-FFF2-40B4-BE49-F238E27FC236}">
                      <a16:creationId xmlns:a16="http://schemas.microsoft.com/office/drawing/2014/main" id="{F31FBE68-F5D0-4623-91FA-1D77CA36B0D8}"/>
                    </a:ext>
                  </a:extLst>
                </p:cNvPr>
                <p:cNvSpPr/>
                <p:nvPr/>
              </p:nvSpPr>
              <p:spPr>
                <a:xfrm>
                  <a:off x="4417476" y="4197706"/>
                  <a:ext cx="18359" cy="18465"/>
                </a:xfrm>
                <a:custGeom>
                  <a:avLst/>
                  <a:gdLst>
                    <a:gd name="connsiteX0" fmla="*/ 13181 w 18359"/>
                    <a:gd name="connsiteY0" fmla="*/ 17546 h 18465"/>
                    <a:gd name="connsiteX1" fmla="*/ 921 w 18359"/>
                    <a:gd name="connsiteY1" fmla="*/ 13240 h 18465"/>
                    <a:gd name="connsiteX2" fmla="*/ 5168 w 18359"/>
                    <a:gd name="connsiteY2" fmla="*/ 920 h 18465"/>
                    <a:gd name="connsiteX3" fmla="*/ 17428 w 18359"/>
                    <a:gd name="connsiteY3" fmla="*/ 5226 h 18465"/>
                    <a:gd name="connsiteX4" fmla="*/ 13181 w 18359"/>
                    <a:gd name="connsiteY4" fmla="*/ 17546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65">
                      <a:moveTo>
                        <a:pt x="13181" y="17546"/>
                      </a:moveTo>
                      <a:cubicBezTo>
                        <a:pt x="8636" y="19759"/>
                        <a:pt x="3134" y="17845"/>
                        <a:pt x="921" y="13240"/>
                      </a:cubicBezTo>
                      <a:cubicBezTo>
                        <a:pt x="-1292" y="8635"/>
                        <a:pt x="622" y="3133"/>
                        <a:pt x="5168" y="920"/>
                      </a:cubicBezTo>
                      <a:cubicBezTo>
                        <a:pt x="9713" y="-1293"/>
                        <a:pt x="15215" y="621"/>
                        <a:pt x="17428" y="5226"/>
                      </a:cubicBezTo>
                      <a:cubicBezTo>
                        <a:pt x="19641" y="9831"/>
                        <a:pt x="17787" y="15333"/>
                        <a:pt x="13181" y="17546"/>
                      </a:cubicBezTo>
                      <a:close/>
                    </a:path>
                  </a:pathLst>
                </a:custGeom>
                <a:grpFill/>
                <a:ln w="5978" cap="flat">
                  <a:noFill/>
                  <a:prstDash val="solid"/>
                  <a:miter/>
                </a:ln>
              </p:spPr>
              <p:txBody>
                <a:bodyPr rtlCol="0" anchor="ctr"/>
                <a:lstStyle/>
                <a:p>
                  <a:endParaRPr lang="en-GB"/>
                </a:p>
              </p:txBody>
            </p:sp>
            <p:sp>
              <p:nvSpPr>
                <p:cNvPr id="1894" name="Vrije vorm: vorm 1893">
                  <a:extLst>
                    <a:ext uri="{FF2B5EF4-FFF2-40B4-BE49-F238E27FC236}">
                      <a16:creationId xmlns:a16="http://schemas.microsoft.com/office/drawing/2014/main" id="{C6BBF988-EFB2-4E08-B193-72969FB77686}"/>
                    </a:ext>
                  </a:extLst>
                </p:cNvPr>
                <p:cNvSpPr/>
                <p:nvPr/>
              </p:nvSpPr>
              <p:spPr>
                <a:xfrm>
                  <a:off x="4535895" y="4140291"/>
                  <a:ext cx="18349" cy="18455"/>
                </a:xfrm>
                <a:custGeom>
                  <a:avLst/>
                  <a:gdLst>
                    <a:gd name="connsiteX0" fmla="*/ 13181 w 18349"/>
                    <a:gd name="connsiteY0" fmla="*/ 17546 h 18455"/>
                    <a:gd name="connsiteX1" fmla="*/ 17428 w 18349"/>
                    <a:gd name="connsiteY1" fmla="*/ 5226 h 18455"/>
                    <a:gd name="connsiteX2" fmla="*/ 5168 w 18349"/>
                    <a:gd name="connsiteY2" fmla="*/ 920 h 18455"/>
                    <a:gd name="connsiteX3" fmla="*/ 921 w 18349"/>
                    <a:gd name="connsiteY3" fmla="*/ 13240 h 18455"/>
                    <a:gd name="connsiteX4" fmla="*/ 13181 w 18349"/>
                    <a:gd name="connsiteY4" fmla="*/ 17546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5">
                      <a:moveTo>
                        <a:pt x="13181" y="17546"/>
                      </a:moveTo>
                      <a:cubicBezTo>
                        <a:pt x="17727" y="15333"/>
                        <a:pt x="19641" y="9831"/>
                        <a:pt x="17428" y="5226"/>
                      </a:cubicBezTo>
                      <a:cubicBezTo>
                        <a:pt x="15215" y="621"/>
                        <a:pt x="9713" y="-1293"/>
                        <a:pt x="5168" y="920"/>
                      </a:cubicBezTo>
                      <a:cubicBezTo>
                        <a:pt x="622" y="3133"/>
                        <a:pt x="-1292" y="8635"/>
                        <a:pt x="921" y="13240"/>
                      </a:cubicBezTo>
                      <a:cubicBezTo>
                        <a:pt x="3194" y="17785"/>
                        <a:pt x="8636" y="19759"/>
                        <a:pt x="13181" y="17546"/>
                      </a:cubicBezTo>
                      <a:close/>
                    </a:path>
                  </a:pathLst>
                </a:custGeom>
                <a:grpFill/>
                <a:ln w="5978" cap="flat">
                  <a:noFill/>
                  <a:prstDash val="solid"/>
                  <a:miter/>
                </a:ln>
              </p:spPr>
              <p:txBody>
                <a:bodyPr rtlCol="0" anchor="ctr"/>
                <a:lstStyle/>
                <a:p>
                  <a:endParaRPr lang="en-GB"/>
                </a:p>
              </p:txBody>
            </p:sp>
          </p:grpSp>
          <p:grpSp>
            <p:nvGrpSpPr>
              <p:cNvPr id="1171" name="Graphic 3">
                <a:extLst>
                  <a:ext uri="{FF2B5EF4-FFF2-40B4-BE49-F238E27FC236}">
                    <a16:creationId xmlns:a16="http://schemas.microsoft.com/office/drawing/2014/main" id="{0E0466D4-A392-4168-B555-B29E8E67A1EE}"/>
                  </a:ext>
                </a:extLst>
              </p:cNvPr>
              <p:cNvGrpSpPr/>
              <p:nvPr/>
            </p:nvGrpSpPr>
            <p:grpSpPr>
              <a:xfrm>
                <a:off x="3795400" y="2762186"/>
                <a:ext cx="498344" cy="156076"/>
                <a:chOff x="3795400" y="2762186"/>
                <a:chExt cx="498344" cy="156076"/>
              </a:xfrm>
              <a:grpFill/>
            </p:grpSpPr>
            <p:sp>
              <p:nvSpPr>
                <p:cNvPr id="1889" name="Vrije vorm: vorm 1888">
                  <a:extLst>
                    <a:ext uri="{FF2B5EF4-FFF2-40B4-BE49-F238E27FC236}">
                      <a16:creationId xmlns:a16="http://schemas.microsoft.com/office/drawing/2014/main" id="{1FECD315-29F4-4890-9214-C1418D32640B}"/>
                    </a:ext>
                  </a:extLst>
                </p:cNvPr>
                <p:cNvSpPr/>
                <p:nvPr/>
              </p:nvSpPr>
              <p:spPr>
                <a:xfrm>
                  <a:off x="3803699" y="2769772"/>
                  <a:ext cx="481687" cy="140905"/>
                </a:xfrm>
                <a:custGeom>
                  <a:avLst/>
                  <a:gdLst>
                    <a:gd name="connsiteX0" fmla="*/ 481688 w 481687"/>
                    <a:gd name="connsiteY0" fmla="*/ 137975 h 140905"/>
                    <a:gd name="connsiteX1" fmla="*/ 480850 w 481687"/>
                    <a:gd name="connsiteY1" fmla="*/ 140906 h 140905"/>
                    <a:gd name="connsiteX2" fmla="*/ 0 w 481687"/>
                    <a:gd name="connsiteY2" fmla="*/ 2930 h 140905"/>
                    <a:gd name="connsiteX3" fmla="*/ 837 w 481687"/>
                    <a:gd name="connsiteY3" fmla="*/ 0 h 140905"/>
                  </a:gdLst>
                  <a:ahLst/>
                  <a:cxnLst>
                    <a:cxn ang="0">
                      <a:pos x="connsiteX0" y="connsiteY0"/>
                    </a:cxn>
                    <a:cxn ang="0">
                      <a:pos x="connsiteX1" y="connsiteY1"/>
                    </a:cxn>
                    <a:cxn ang="0">
                      <a:pos x="connsiteX2" y="connsiteY2"/>
                    </a:cxn>
                    <a:cxn ang="0">
                      <a:pos x="connsiteX3" y="connsiteY3"/>
                    </a:cxn>
                  </a:cxnLst>
                  <a:rect l="l" t="t" r="r" b="b"/>
                  <a:pathLst>
                    <a:path w="481687" h="140905">
                      <a:moveTo>
                        <a:pt x="481688" y="137975"/>
                      </a:moveTo>
                      <a:lnTo>
                        <a:pt x="480850" y="140906"/>
                      </a:lnTo>
                      <a:lnTo>
                        <a:pt x="0" y="2930"/>
                      </a:lnTo>
                      <a:lnTo>
                        <a:pt x="837" y="0"/>
                      </a:lnTo>
                      <a:close/>
                    </a:path>
                  </a:pathLst>
                </a:custGeom>
                <a:grpFill/>
                <a:ln w="5978" cap="flat">
                  <a:noFill/>
                  <a:prstDash val="solid"/>
                  <a:miter/>
                </a:ln>
              </p:spPr>
              <p:txBody>
                <a:bodyPr rtlCol="0" anchor="ctr"/>
                <a:lstStyle/>
                <a:p>
                  <a:endParaRPr lang="en-GB"/>
                </a:p>
              </p:txBody>
            </p:sp>
            <p:sp>
              <p:nvSpPr>
                <p:cNvPr id="1890" name="Vrije vorm: vorm 1889">
                  <a:extLst>
                    <a:ext uri="{FF2B5EF4-FFF2-40B4-BE49-F238E27FC236}">
                      <a16:creationId xmlns:a16="http://schemas.microsoft.com/office/drawing/2014/main" id="{5DFDA528-008D-42A5-B3B7-9D05092537E5}"/>
                    </a:ext>
                  </a:extLst>
                </p:cNvPr>
                <p:cNvSpPr/>
                <p:nvPr/>
              </p:nvSpPr>
              <p:spPr>
                <a:xfrm>
                  <a:off x="3795400" y="2762186"/>
                  <a:ext cx="18332" cy="18400"/>
                </a:xfrm>
                <a:custGeom>
                  <a:avLst/>
                  <a:gdLst>
                    <a:gd name="connsiteX0" fmla="*/ 6684 w 18332"/>
                    <a:gd name="connsiteY0" fmla="*/ 18052 h 18400"/>
                    <a:gd name="connsiteX1" fmla="*/ 345 w 18332"/>
                    <a:gd name="connsiteY1" fmla="*/ 6688 h 18400"/>
                    <a:gd name="connsiteX2" fmla="*/ 11648 w 18332"/>
                    <a:gd name="connsiteY2" fmla="*/ 349 h 18400"/>
                    <a:gd name="connsiteX3" fmla="*/ 17987 w 18332"/>
                    <a:gd name="connsiteY3" fmla="*/ 11712 h 18400"/>
                    <a:gd name="connsiteX4" fmla="*/ 6684 w 18332"/>
                    <a:gd name="connsiteY4" fmla="*/ 18052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00">
                      <a:moveTo>
                        <a:pt x="6684" y="18052"/>
                      </a:moveTo>
                      <a:cubicBezTo>
                        <a:pt x="1840" y="16676"/>
                        <a:pt x="-1031" y="11533"/>
                        <a:pt x="345" y="6688"/>
                      </a:cubicBezTo>
                      <a:cubicBezTo>
                        <a:pt x="1720" y="1784"/>
                        <a:pt x="6804" y="-1027"/>
                        <a:pt x="11648" y="349"/>
                      </a:cubicBezTo>
                      <a:cubicBezTo>
                        <a:pt x="16492" y="1724"/>
                        <a:pt x="19363" y="6868"/>
                        <a:pt x="17987" y="11712"/>
                      </a:cubicBezTo>
                      <a:cubicBezTo>
                        <a:pt x="16612" y="16616"/>
                        <a:pt x="11529" y="19427"/>
                        <a:pt x="6684" y="18052"/>
                      </a:cubicBezTo>
                      <a:close/>
                    </a:path>
                  </a:pathLst>
                </a:custGeom>
                <a:grpFill/>
                <a:ln w="5978" cap="flat">
                  <a:noFill/>
                  <a:prstDash val="solid"/>
                  <a:miter/>
                </a:ln>
              </p:spPr>
              <p:txBody>
                <a:bodyPr rtlCol="0" anchor="ctr"/>
                <a:lstStyle/>
                <a:p>
                  <a:endParaRPr lang="en-GB"/>
                </a:p>
              </p:txBody>
            </p:sp>
            <p:sp>
              <p:nvSpPr>
                <p:cNvPr id="1891" name="Vrije vorm: vorm 1890">
                  <a:extLst>
                    <a:ext uri="{FF2B5EF4-FFF2-40B4-BE49-F238E27FC236}">
                      <a16:creationId xmlns:a16="http://schemas.microsoft.com/office/drawing/2014/main" id="{4BF65412-CE8A-4651-B54B-A0388D36529B}"/>
                    </a:ext>
                  </a:extLst>
                </p:cNvPr>
                <p:cNvSpPr/>
                <p:nvPr/>
              </p:nvSpPr>
              <p:spPr>
                <a:xfrm>
                  <a:off x="4275408" y="2899863"/>
                  <a:ext cx="18336" cy="18400"/>
                </a:xfrm>
                <a:custGeom>
                  <a:avLst/>
                  <a:gdLst>
                    <a:gd name="connsiteX0" fmla="*/ 6689 w 18336"/>
                    <a:gd name="connsiteY0" fmla="*/ 18052 h 18400"/>
                    <a:gd name="connsiteX1" fmla="*/ 17992 w 18336"/>
                    <a:gd name="connsiteY1" fmla="*/ 11712 h 18400"/>
                    <a:gd name="connsiteX2" fmla="*/ 11652 w 18336"/>
                    <a:gd name="connsiteY2" fmla="*/ 349 h 18400"/>
                    <a:gd name="connsiteX3" fmla="*/ 349 w 18336"/>
                    <a:gd name="connsiteY3" fmla="*/ 6688 h 18400"/>
                    <a:gd name="connsiteX4" fmla="*/ 6689 w 18336"/>
                    <a:gd name="connsiteY4" fmla="*/ 18052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00">
                      <a:moveTo>
                        <a:pt x="6689" y="18052"/>
                      </a:moveTo>
                      <a:cubicBezTo>
                        <a:pt x="11533" y="19427"/>
                        <a:pt x="16617" y="16616"/>
                        <a:pt x="17992" y="11712"/>
                      </a:cubicBezTo>
                      <a:cubicBezTo>
                        <a:pt x="19368" y="6808"/>
                        <a:pt x="16497" y="1725"/>
                        <a:pt x="11652" y="349"/>
                      </a:cubicBezTo>
                      <a:cubicBezTo>
                        <a:pt x="6808" y="-1027"/>
                        <a:pt x="1725" y="1784"/>
                        <a:pt x="349" y="6688"/>
                      </a:cubicBezTo>
                      <a:cubicBezTo>
                        <a:pt x="-1027" y="11593"/>
                        <a:pt x="1784" y="16676"/>
                        <a:pt x="6689" y="18052"/>
                      </a:cubicBezTo>
                      <a:close/>
                    </a:path>
                  </a:pathLst>
                </a:custGeom>
                <a:grpFill/>
                <a:ln w="5978" cap="flat">
                  <a:noFill/>
                  <a:prstDash val="solid"/>
                  <a:miter/>
                </a:ln>
              </p:spPr>
              <p:txBody>
                <a:bodyPr rtlCol="0" anchor="ctr"/>
                <a:lstStyle/>
                <a:p>
                  <a:endParaRPr lang="en-GB"/>
                </a:p>
              </p:txBody>
            </p:sp>
          </p:grpSp>
          <p:grpSp>
            <p:nvGrpSpPr>
              <p:cNvPr id="1172" name="Graphic 3">
                <a:extLst>
                  <a:ext uri="{FF2B5EF4-FFF2-40B4-BE49-F238E27FC236}">
                    <a16:creationId xmlns:a16="http://schemas.microsoft.com/office/drawing/2014/main" id="{AE76C629-95F4-4F50-8154-FAF86A7D1C84}"/>
                  </a:ext>
                </a:extLst>
              </p:cNvPr>
              <p:cNvGrpSpPr/>
              <p:nvPr/>
            </p:nvGrpSpPr>
            <p:grpSpPr>
              <a:xfrm>
                <a:off x="4426927" y="4112637"/>
                <a:ext cx="112218" cy="61763"/>
                <a:chOff x="4426927" y="4112637"/>
                <a:chExt cx="112218" cy="61763"/>
              </a:xfrm>
              <a:grpFill/>
            </p:grpSpPr>
            <p:sp>
              <p:nvSpPr>
                <p:cNvPr id="1886" name="Vrije vorm: vorm 1885">
                  <a:extLst>
                    <a:ext uri="{FF2B5EF4-FFF2-40B4-BE49-F238E27FC236}">
                      <a16:creationId xmlns:a16="http://schemas.microsoft.com/office/drawing/2014/main" id="{6BD4C79D-6285-4ABF-9666-7CC9C8888714}"/>
                    </a:ext>
                  </a:extLst>
                </p:cNvPr>
                <p:cNvSpPr/>
                <p:nvPr/>
              </p:nvSpPr>
              <p:spPr>
                <a:xfrm>
                  <a:off x="4434762" y="4120198"/>
                  <a:ext cx="95956" cy="46524"/>
                </a:xfrm>
                <a:custGeom>
                  <a:avLst/>
                  <a:gdLst>
                    <a:gd name="connsiteX0" fmla="*/ 0 w 95956"/>
                    <a:gd name="connsiteY0" fmla="*/ 43755 h 46524"/>
                    <a:gd name="connsiteX1" fmla="*/ 94677 w 95956"/>
                    <a:gd name="connsiteY1" fmla="*/ 0 h 46524"/>
                    <a:gd name="connsiteX2" fmla="*/ 95956 w 95956"/>
                    <a:gd name="connsiteY2" fmla="*/ 2768 h 46524"/>
                    <a:gd name="connsiteX3" fmla="*/ 1280 w 95956"/>
                    <a:gd name="connsiteY3" fmla="*/ 46524 h 46524"/>
                  </a:gdLst>
                  <a:ahLst/>
                  <a:cxnLst>
                    <a:cxn ang="0">
                      <a:pos x="connsiteX0" y="connsiteY0"/>
                    </a:cxn>
                    <a:cxn ang="0">
                      <a:pos x="connsiteX1" y="connsiteY1"/>
                    </a:cxn>
                    <a:cxn ang="0">
                      <a:pos x="connsiteX2" y="connsiteY2"/>
                    </a:cxn>
                    <a:cxn ang="0">
                      <a:pos x="connsiteX3" y="connsiteY3"/>
                    </a:cxn>
                  </a:cxnLst>
                  <a:rect l="l" t="t" r="r" b="b"/>
                  <a:pathLst>
                    <a:path w="95956" h="46524">
                      <a:moveTo>
                        <a:pt x="0" y="43755"/>
                      </a:moveTo>
                      <a:lnTo>
                        <a:pt x="94677" y="0"/>
                      </a:lnTo>
                      <a:lnTo>
                        <a:pt x="95956" y="2768"/>
                      </a:lnTo>
                      <a:lnTo>
                        <a:pt x="1280" y="46524"/>
                      </a:lnTo>
                      <a:close/>
                    </a:path>
                  </a:pathLst>
                </a:custGeom>
                <a:grpFill/>
                <a:ln w="5978" cap="flat">
                  <a:noFill/>
                  <a:prstDash val="solid"/>
                  <a:miter/>
                </a:ln>
              </p:spPr>
              <p:txBody>
                <a:bodyPr rtlCol="0" anchor="ctr"/>
                <a:lstStyle/>
                <a:p>
                  <a:endParaRPr lang="en-GB"/>
                </a:p>
              </p:txBody>
            </p:sp>
            <p:sp>
              <p:nvSpPr>
                <p:cNvPr id="1887" name="Vrije vorm: vorm 1886">
                  <a:extLst>
                    <a:ext uri="{FF2B5EF4-FFF2-40B4-BE49-F238E27FC236}">
                      <a16:creationId xmlns:a16="http://schemas.microsoft.com/office/drawing/2014/main" id="{EE95DE44-9189-4BE6-B417-DAF49D9FC6AD}"/>
                    </a:ext>
                  </a:extLst>
                </p:cNvPr>
                <p:cNvSpPr/>
                <p:nvPr/>
              </p:nvSpPr>
              <p:spPr>
                <a:xfrm>
                  <a:off x="4426927" y="4155988"/>
                  <a:ext cx="18320" cy="18412"/>
                </a:xfrm>
                <a:custGeom>
                  <a:avLst/>
                  <a:gdLst>
                    <a:gd name="connsiteX0" fmla="*/ 13001 w 18320"/>
                    <a:gd name="connsiteY0" fmla="*/ 17579 h 18412"/>
                    <a:gd name="connsiteX1" fmla="*/ 860 w 18320"/>
                    <a:gd name="connsiteY1" fmla="*/ 13034 h 18412"/>
                    <a:gd name="connsiteX2" fmla="*/ 5346 w 18320"/>
                    <a:gd name="connsiteY2" fmla="*/ 833 h 18412"/>
                    <a:gd name="connsiteX3" fmla="*/ 17486 w 18320"/>
                    <a:gd name="connsiteY3" fmla="*/ 5379 h 18412"/>
                    <a:gd name="connsiteX4" fmla="*/ 13001 w 18320"/>
                    <a:gd name="connsiteY4" fmla="*/ 17579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2">
                      <a:moveTo>
                        <a:pt x="13001" y="17579"/>
                      </a:moveTo>
                      <a:cubicBezTo>
                        <a:pt x="8396" y="19672"/>
                        <a:pt x="2953" y="17699"/>
                        <a:pt x="860" y="13034"/>
                      </a:cubicBezTo>
                      <a:cubicBezTo>
                        <a:pt x="-1293" y="8429"/>
                        <a:pt x="740" y="2926"/>
                        <a:pt x="5346" y="833"/>
                      </a:cubicBezTo>
                      <a:cubicBezTo>
                        <a:pt x="9951" y="-1260"/>
                        <a:pt x="15393" y="714"/>
                        <a:pt x="17486" y="5379"/>
                      </a:cubicBezTo>
                      <a:cubicBezTo>
                        <a:pt x="19580" y="9984"/>
                        <a:pt x="17606" y="15486"/>
                        <a:pt x="13001" y="17579"/>
                      </a:cubicBezTo>
                      <a:close/>
                    </a:path>
                  </a:pathLst>
                </a:custGeom>
                <a:grpFill/>
                <a:ln w="5978" cap="flat">
                  <a:noFill/>
                  <a:prstDash val="solid"/>
                  <a:miter/>
                </a:ln>
              </p:spPr>
              <p:txBody>
                <a:bodyPr rtlCol="0" anchor="ctr"/>
                <a:lstStyle/>
                <a:p>
                  <a:endParaRPr lang="en-GB"/>
                </a:p>
              </p:txBody>
            </p:sp>
            <p:sp>
              <p:nvSpPr>
                <p:cNvPr id="1888" name="Vrije vorm: vorm 1887">
                  <a:extLst>
                    <a:ext uri="{FF2B5EF4-FFF2-40B4-BE49-F238E27FC236}">
                      <a16:creationId xmlns:a16="http://schemas.microsoft.com/office/drawing/2014/main" id="{7414F832-4EB1-4AA9-9854-EABD2D545285}"/>
                    </a:ext>
                  </a:extLst>
                </p:cNvPr>
                <p:cNvSpPr/>
                <p:nvPr/>
              </p:nvSpPr>
              <p:spPr>
                <a:xfrm>
                  <a:off x="4520850" y="4112637"/>
                  <a:ext cx="18295" cy="18402"/>
                </a:xfrm>
                <a:custGeom>
                  <a:avLst/>
                  <a:gdLst>
                    <a:gd name="connsiteX0" fmla="*/ 12975 w 18295"/>
                    <a:gd name="connsiteY0" fmla="*/ 17570 h 18402"/>
                    <a:gd name="connsiteX1" fmla="*/ 17461 w 18295"/>
                    <a:gd name="connsiteY1" fmla="*/ 5369 h 18402"/>
                    <a:gd name="connsiteX2" fmla="*/ 5320 w 18295"/>
                    <a:gd name="connsiteY2" fmla="*/ 824 h 18402"/>
                    <a:gd name="connsiteX3" fmla="*/ 834 w 18295"/>
                    <a:gd name="connsiteY3" fmla="*/ 13024 h 18402"/>
                    <a:gd name="connsiteX4" fmla="*/ 12975 w 18295"/>
                    <a:gd name="connsiteY4" fmla="*/ 1757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02">
                      <a:moveTo>
                        <a:pt x="12975" y="17570"/>
                      </a:moveTo>
                      <a:cubicBezTo>
                        <a:pt x="17580" y="15477"/>
                        <a:pt x="19554" y="9974"/>
                        <a:pt x="17461" y="5369"/>
                      </a:cubicBezTo>
                      <a:cubicBezTo>
                        <a:pt x="15308" y="764"/>
                        <a:pt x="9865" y="-1270"/>
                        <a:pt x="5320" y="824"/>
                      </a:cubicBezTo>
                      <a:cubicBezTo>
                        <a:pt x="715" y="2917"/>
                        <a:pt x="-1259" y="8419"/>
                        <a:pt x="834" y="13024"/>
                      </a:cubicBezTo>
                      <a:cubicBezTo>
                        <a:pt x="2928" y="17690"/>
                        <a:pt x="8370" y="19663"/>
                        <a:pt x="12975" y="17570"/>
                      </a:cubicBezTo>
                      <a:close/>
                    </a:path>
                  </a:pathLst>
                </a:custGeom>
                <a:grpFill/>
                <a:ln w="5978" cap="flat">
                  <a:noFill/>
                  <a:prstDash val="solid"/>
                  <a:miter/>
                </a:ln>
              </p:spPr>
              <p:txBody>
                <a:bodyPr rtlCol="0" anchor="ctr"/>
                <a:lstStyle/>
                <a:p>
                  <a:endParaRPr lang="en-GB"/>
                </a:p>
              </p:txBody>
            </p:sp>
          </p:grpSp>
          <p:grpSp>
            <p:nvGrpSpPr>
              <p:cNvPr id="1173" name="Graphic 3">
                <a:extLst>
                  <a:ext uri="{FF2B5EF4-FFF2-40B4-BE49-F238E27FC236}">
                    <a16:creationId xmlns:a16="http://schemas.microsoft.com/office/drawing/2014/main" id="{A7811900-F879-4BBD-9C2F-FA6B7422D785}"/>
                  </a:ext>
                </a:extLst>
              </p:cNvPr>
              <p:cNvGrpSpPr/>
              <p:nvPr/>
            </p:nvGrpSpPr>
            <p:grpSpPr>
              <a:xfrm>
                <a:off x="4445127" y="4249041"/>
                <a:ext cx="172492" cy="108062"/>
                <a:chOff x="4445127" y="4249041"/>
                <a:chExt cx="172492" cy="108062"/>
              </a:xfrm>
              <a:grpFill/>
            </p:grpSpPr>
            <p:sp>
              <p:nvSpPr>
                <p:cNvPr id="1883" name="Vrije vorm: vorm 1882">
                  <a:extLst>
                    <a:ext uri="{FF2B5EF4-FFF2-40B4-BE49-F238E27FC236}">
                      <a16:creationId xmlns:a16="http://schemas.microsoft.com/office/drawing/2014/main" id="{6C605A47-2764-4545-B213-912936857A15}"/>
                    </a:ext>
                  </a:extLst>
                </p:cNvPr>
                <p:cNvSpPr/>
                <p:nvPr/>
              </p:nvSpPr>
              <p:spPr>
                <a:xfrm>
                  <a:off x="4453145" y="4256699"/>
                  <a:ext cx="156455" cy="92701"/>
                </a:xfrm>
                <a:custGeom>
                  <a:avLst/>
                  <a:gdLst>
                    <a:gd name="connsiteX0" fmla="*/ 156456 w 156455"/>
                    <a:gd name="connsiteY0" fmla="*/ 2632 h 92701"/>
                    <a:gd name="connsiteX1" fmla="*/ 1555 w 156455"/>
                    <a:gd name="connsiteY1" fmla="*/ 92701 h 92701"/>
                    <a:gd name="connsiteX2" fmla="*/ 0 w 156455"/>
                    <a:gd name="connsiteY2" fmla="*/ 90070 h 92701"/>
                    <a:gd name="connsiteX3" fmla="*/ 154901 w 156455"/>
                    <a:gd name="connsiteY3" fmla="*/ 0 h 92701"/>
                  </a:gdLst>
                  <a:ahLst/>
                  <a:cxnLst>
                    <a:cxn ang="0">
                      <a:pos x="connsiteX0" y="connsiteY0"/>
                    </a:cxn>
                    <a:cxn ang="0">
                      <a:pos x="connsiteX1" y="connsiteY1"/>
                    </a:cxn>
                    <a:cxn ang="0">
                      <a:pos x="connsiteX2" y="connsiteY2"/>
                    </a:cxn>
                    <a:cxn ang="0">
                      <a:pos x="connsiteX3" y="connsiteY3"/>
                    </a:cxn>
                  </a:cxnLst>
                  <a:rect l="l" t="t" r="r" b="b"/>
                  <a:pathLst>
                    <a:path w="156455" h="92701">
                      <a:moveTo>
                        <a:pt x="156456" y="2632"/>
                      </a:moveTo>
                      <a:lnTo>
                        <a:pt x="1555" y="92701"/>
                      </a:lnTo>
                      <a:lnTo>
                        <a:pt x="0" y="90070"/>
                      </a:lnTo>
                      <a:lnTo>
                        <a:pt x="154901" y="0"/>
                      </a:lnTo>
                      <a:close/>
                    </a:path>
                  </a:pathLst>
                </a:custGeom>
                <a:grpFill/>
                <a:ln w="5978" cap="flat">
                  <a:noFill/>
                  <a:prstDash val="solid"/>
                  <a:miter/>
                </a:ln>
              </p:spPr>
              <p:txBody>
                <a:bodyPr rtlCol="0" anchor="ctr"/>
                <a:lstStyle/>
                <a:p>
                  <a:endParaRPr lang="en-GB"/>
                </a:p>
              </p:txBody>
            </p:sp>
            <p:sp>
              <p:nvSpPr>
                <p:cNvPr id="1884" name="Vrije vorm: vorm 1883">
                  <a:extLst>
                    <a:ext uri="{FF2B5EF4-FFF2-40B4-BE49-F238E27FC236}">
                      <a16:creationId xmlns:a16="http://schemas.microsoft.com/office/drawing/2014/main" id="{16440726-BA39-48CE-89BF-EC8D3856D7A1}"/>
                    </a:ext>
                  </a:extLst>
                </p:cNvPr>
                <p:cNvSpPr/>
                <p:nvPr/>
              </p:nvSpPr>
              <p:spPr>
                <a:xfrm>
                  <a:off x="4445127" y="4338706"/>
                  <a:ext cx="18369" cy="18398"/>
                </a:xfrm>
                <a:custGeom>
                  <a:avLst/>
                  <a:gdLst>
                    <a:gd name="connsiteX0" fmla="*/ 13820 w 18369"/>
                    <a:gd name="connsiteY0" fmla="*/ 17154 h 18398"/>
                    <a:gd name="connsiteX1" fmla="*/ 1260 w 18369"/>
                    <a:gd name="connsiteY1" fmla="*/ 13804 h 18398"/>
                    <a:gd name="connsiteX2" fmla="*/ 4550 w 18369"/>
                    <a:gd name="connsiteY2" fmla="*/ 1245 h 18398"/>
                    <a:gd name="connsiteX3" fmla="*/ 17109 w 18369"/>
                    <a:gd name="connsiteY3" fmla="*/ 4594 h 18398"/>
                    <a:gd name="connsiteX4" fmla="*/ 13820 w 18369"/>
                    <a:gd name="connsiteY4" fmla="*/ 1715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8">
                      <a:moveTo>
                        <a:pt x="13820" y="17154"/>
                      </a:moveTo>
                      <a:cubicBezTo>
                        <a:pt x="9454" y="19725"/>
                        <a:pt x="3832" y="18171"/>
                        <a:pt x="1260" y="13804"/>
                      </a:cubicBezTo>
                      <a:cubicBezTo>
                        <a:pt x="-1311" y="9379"/>
                        <a:pt x="184" y="3757"/>
                        <a:pt x="4550" y="1245"/>
                      </a:cubicBezTo>
                      <a:cubicBezTo>
                        <a:pt x="8916" y="-1327"/>
                        <a:pt x="14537" y="228"/>
                        <a:pt x="17109" y="4594"/>
                      </a:cubicBezTo>
                      <a:cubicBezTo>
                        <a:pt x="19681" y="8960"/>
                        <a:pt x="18186" y="14582"/>
                        <a:pt x="13820" y="17154"/>
                      </a:cubicBezTo>
                      <a:close/>
                    </a:path>
                  </a:pathLst>
                </a:custGeom>
                <a:grpFill/>
                <a:ln w="5978" cap="flat">
                  <a:noFill/>
                  <a:prstDash val="solid"/>
                  <a:miter/>
                </a:ln>
              </p:spPr>
              <p:txBody>
                <a:bodyPr rtlCol="0" anchor="ctr"/>
                <a:lstStyle/>
                <a:p>
                  <a:endParaRPr lang="en-GB"/>
                </a:p>
              </p:txBody>
            </p:sp>
            <p:sp>
              <p:nvSpPr>
                <p:cNvPr id="1885" name="Vrije vorm: vorm 1884">
                  <a:extLst>
                    <a:ext uri="{FF2B5EF4-FFF2-40B4-BE49-F238E27FC236}">
                      <a16:creationId xmlns:a16="http://schemas.microsoft.com/office/drawing/2014/main" id="{7B0DEB89-294D-4E5F-BF7A-D50202BAD171}"/>
                    </a:ext>
                  </a:extLst>
                </p:cNvPr>
                <p:cNvSpPr/>
                <p:nvPr/>
              </p:nvSpPr>
              <p:spPr>
                <a:xfrm>
                  <a:off x="4599250" y="4249041"/>
                  <a:ext cx="18369" cy="18411"/>
                </a:xfrm>
                <a:custGeom>
                  <a:avLst/>
                  <a:gdLst>
                    <a:gd name="connsiteX0" fmla="*/ 13820 w 18369"/>
                    <a:gd name="connsiteY0" fmla="*/ 17167 h 18411"/>
                    <a:gd name="connsiteX1" fmla="*/ 17109 w 18369"/>
                    <a:gd name="connsiteY1" fmla="*/ 4607 h 18411"/>
                    <a:gd name="connsiteX2" fmla="*/ 4550 w 18369"/>
                    <a:gd name="connsiteY2" fmla="*/ 1258 h 18411"/>
                    <a:gd name="connsiteX3" fmla="*/ 1260 w 18369"/>
                    <a:gd name="connsiteY3" fmla="*/ 13818 h 18411"/>
                    <a:gd name="connsiteX4" fmla="*/ 13820 w 18369"/>
                    <a:gd name="connsiteY4" fmla="*/ 17167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1">
                      <a:moveTo>
                        <a:pt x="13820" y="17167"/>
                      </a:moveTo>
                      <a:cubicBezTo>
                        <a:pt x="18186" y="14595"/>
                        <a:pt x="19681" y="8973"/>
                        <a:pt x="17109" y="4607"/>
                      </a:cubicBezTo>
                      <a:cubicBezTo>
                        <a:pt x="14537" y="182"/>
                        <a:pt x="8975" y="-1313"/>
                        <a:pt x="4550" y="1258"/>
                      </a:cubicBezTo>
                      <a:cubicBezTo>
                        <a:pt x="184" y="3830"/>
                        <a:pt x="-1311" y="9452"/>
                        <a:pt x="1260" y="13818"/>
                      </a:cubicBezTo>
                      <a:cubicBezTo>
                        <a:pt x="3832" y="18183"/>
                        <a:pt x="9454" y="19738"/>
                        <a:pt x="13820" y="17167"/>
                      </a:cubicBezTo>
                      <a:close/>
                    </a:path>
                  </a:pathLst>
                </a:custGeom>
                <a:grpFill/>
                <a:ln w="5978" cap="flat">
                  <a:noFill/>
                  <a:prstDash val="solid"/>
                  <a:miter/>
                </a:ln>
              </p:spPr>
              <p:txBody>
                <a:bodyPr rtlCol="0" anchor="ctr"/>
                <a:lstStyle/>
                <a:p>
                  <a:endParaRPr lang="en-GB"/>
                </a:p>
              </p:txBody>
            </p:sp>
          </p:grpSp>
          <p:grpSp>
            <p:nvGrpSpPr>
              <p:cNvPr id="1174" name="Graphic 3">
                <a:extLst>
                  <a:ext uri="{FF2B5EF4-FFF2-40B4-BE49-F238E27FC236}">
                    <a16:creationId xmlns:a16="http://schemas.microsoft.com/office/drawing/2014/main" id="{D9537A2C-F7ED-4489-83B1-8D842A74A75E}"/>
                  </a:ext>
                </a:extLst>
              </p:cNvPr>
              <p:cNvGrpSpPr/>
              <p:nvPr/>
            </p:nvGrpSpPr>
            <p:grpSpPr>
              <a:xfrm>
                <a:off x="4352234" y="3884861"/>
                <a:ext cx="70126" cy="33460"/>
                <a:chOff x="4352234" y="3884861"/>
                <a:chExt cx="70126" cy="33460"/>
              </a:xfrm>
              <a:grpFill/>
            </p:grpSpPr>
            <p:sp>
              <p:nvSpPr>
                <p:cNvPr id="1880" name="Vrije vorm: vorm 1879">
                  <a:extLst>
                    <a:ext uri="{FF2B5EF4-FFF2-40B4-BE49-F238E27FC236}">
                      <a16:creationId xmlns:a16="http://schemas.microsoft.com/office/drawing/2014/main" id="{13B39F84-C7C4-43B3-BA5D-279C79D8FDDB}"/>
                    </a:ext>
                  </a:extLst>
                </p:cNvPr>
                <p:cNvSpPr/>
                <p:nvPr/>
              </p:nvSpPr>
              <p:spPr>
                <a:xfrm>
                  <a:off x="4360504" y="3892473"/>
                  <a:ext cx="53527" cy="18241"/>
                </a:xfrm>
                <a:custGeom>
                  <a:avLst/>
                  <a:gdLst>
                    <a:gd name="connsiteX0" fmla="*/ 52690 w 53527"/>
                    <a:gd name="connsiteY0" fmla="*/ 0 h 18241"/>
                    <a:gd name="connsiteX1" fmla="*/ 53528 w 53527"/>
                    <a:gd name="connsiteY1" fmla="*/ 2930 h 18241"/>
                    <a:gd name="connsiteX2" fmla="*/ 897 w 53527"/>
                    <a:gd name="connsiteY2" fmla="*/ 18241 h 18241"/>
                    <a:gd name="connsiteX3" fmla="*/ 0 w 53527"/>
                    <a:gd name="connsiteY3" fmla="*/ 15311 h 18241"/>
                  </a:gdLst>
                  <a:ahLst/>
                  <a:cxnLst>
                    <a:cxn ang="0">
                      <a:pos x="connsiteX0" y="connsiteY0"/>
                    </a:cxn>
                    <a:cxn ang="0">
                      <a:pos x="connsiteX1" y="connsiteY1"/>
                    </a:cxn>
                    <a:cxn ang="0">
                      <a:pos x="connsiteX2" y="connsiteY2"/>
                    </a:cxn>
                    <a:cxn ang="0">
                      <a:pos x="connsiteX3" y="connsiteY3"/>
                    </a:cxn>
                  </a:cxnLst>
                  <a:rect l="l" t="t" r="r" b="b"/>
                  <a:pathLst>
                    <a:path w="53527" h="18241">
                      <a:moveTo>
                        <a:pt x="52690" y="0"/>
                      </a:moveTo>
                      <a:lnTo>
                        <a:pt x="53528" y="2930"/>
                      </a:lnTo>
                      <a:lnTo>
                        <a:pt x="897" y="18241"/>
                      </a:lnTo>
                      <a:lnTo>
                        <a:pt x="0" y="15311"/>
                      </a:lnTo>
                      <a:close/>
                    </a:path>
                  </a:pathLst>
                </a:custGeom>
                <a:grpFill/>
                <a:ln w="5978" cap="flat">
                  <a:noFill/>
                  <a:prstDash val="solid"/>
                  <a:miter/>
                </a:ln>
              </p:spPr>
              <p:txBody>
                <a:bodyPr rtlCol="0" anchor="ctr"/>
                <a:lstStyle/>
                <a:p>
                  <a:endParaRPr lang="en-GB"/>
                </a:p>
              </p:txBody>
            </p:sp>
            <p:sp>
              <p:nvSpPr>
                <p:cNvPr id="1881" name="Vrije vorm: vorm 1880">
                  <a:extLst>
                    <a:ext uri="{FF2B5EF4-FFF2-40B4-BE49-F238E27FC236}">
                      <a16:creationId xmlns:a16="http://schemas.microsoft.com/office/drawing/2014/main" id="{2AB0054C-5726-4A0D-9536-F11948D710E1}"/>
                    </a:ext>
                  </a:extLst>
                </p:cNvPr>
                <p:cNvSpPr/>
                <p:nvPr/>
              </p:nvSpPr>
              <p:spPr>
                <a:xfrm>
                  <a:off x="4352234" y="3899877"/>
                  <a:ext cx="18334" cy="18443"/>
                </a:xfrm>
                <a:custGeom>
                  <a:avLst/>
                  <a:gdLst>
                    <a:gd name="connsiteX0" fmla="*/ 11738 w 18334"/>
                    <a:gd name="connsiteY0" fmla="*/ 18073 h 18443"/>
                    <a:gd name="connsiteX1" fmla="*/ 375 w 18334"/>
                    <a:gd name="connsiteY1" fmla="*/ 11794 h 18443"/>
                    <a:gd name="connsiteX2" fmla="*/ 6595 w 18334"/>
                    <a:gd name="connsiteY2" fmla="*/ 370 h 18443"/>
                    <a:gd name="connsiteX3" fmla="*/ 17959 w 18334"/>
                    <a:gd name="connsiteY3" fmla="*/ 6650 h 18443"/>
                    <a:gd name="connsiteX4" fmla="*/ 11738 w 18334"/>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3">
                      <a:moveTo>
                        <a:pt x="11738" y="18073"/>
                      </a:moveTo>
                      <a:cubicBezTo>
                        <a:pt x="6894" y="19509"/>
                        <a:pt x="1811" y="16638"/>
                        <a:pt x="375" y="11794"/>
                      </a:cubicBezTo>
                      <a:cubicBezTo>
                        <a:pt x="-1060" y="6890"/>
                        <a:pt x="1751" y="1806"/>
                        <a:pt x="6595" y="370"/>
                      </a:cubicBezTo>
                      <a:cubicBezTo>
                        <a:pt x="11440" y="-1065"/>
                        <a:pt x="16523" y="1806"/>
                        <a:pt x="17959" y="6650"/>
                      </a:cubicBezTo>
                      <a:cubicBezTo>
                        <a:pt x="19394" y="11554"/>
                        <a:pt x="16583" y="16698"/>
                        <a:pt x="11738" y="18073"/>
                      </a:cubicBezTo>
                      <a:close/>
                    </a:path>
                  </a:pathLst>
                </a:custGeom>
                <a:grpFill/>
                <a:ln w="5978" cap="flat">
                  <a:noFill/>
                  <a:prstDash val="solid"/>
                  <a:miter/>
                </a:ln>
              </p:spPr>
              <p:txBody>
                <a:bodyPr rtlCol="0" anchor="ctr"/>
                <a:lstStyle/>
                <a:p>
                  <a:endParaRPr lang="en-GB"/>
                </a:p>
              </p:txBody>
            </p:sp>
            <p:sp>
              <p:nvSpPr>
                <p:cNvPr id="1882" name="Vrije vorm: vorm 1881">
                  <a:extLst>
                    <a:ext uri="{FF2B5EF4-FFF2-40B4-BE49-F238E27FC236}">
                      <a16:creationId xmlns:a16="http://schemas.microsoft.com/office/drawing/2014/main" id="{3863959C-058C-40AF-BED2-781C866DB920}"/>
                    </a:ext>
                  </a:extLst>
                </p:cNvPr>
                <p:cNvSpPr/>
                <p:nvPr/>
              </p:nvSpPr>
              <p:spPr>
                <a:xfrm>
                  <a:off x="4404027" y="3884861"/>
                  <a:ext cx="18333" cy="18427"/>
                </a:xfrm>
                <a:custGeom>
                  <a:avLst/>
                  <a:gdLst>
                    <a:gd name="connsiteX0" fmla="*/ 11739 w 18333"/>
                    <a:gd name="connsiteY0" fmla="*/ 18078 h 18427"/>
                    <a:gd name="connsiteX1" fmla="*/ 17959 w 18333"/>
                    <a:gd name="connsiteY1" fmla="*/ 6655 h 18427"/>
                    <a:gd name="connsiteX2" fmla="*/ 6595 w 18333"/>
                    <a:gd name="connsiteY2" fmla="*/ 375 h 18427"/>
                    <a:gd name="connsiteX3" fmla="*/ 375 w 18333"/>
                    <a:gd name="connsiteY3" fmla="*/ 11798 h 18427"/>
                    <a:gd name="connsiteX4" fmla="*/ 11739 w 18333"/>
                    <a:gd name="connsiteY4" fmla="*/ 1807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27">
                      <a:moveTo>
                        <a:pt x="11739" y="18078"/>
                      </a:moveTo>
                      <a:cubicBezTo>
                        <a:pt x="16583" y="16643"/>
                        <a:pt x="19394" y="11559"/>
                        <a:pt x="17959" y="6655"/>
                      </a:cubicBezTo>
                      <a:cubicBezTo>
                        <a:pt x="16523" y="1751"/>
                        <a:pt x="11440" y="-1060"/>
                        <a:pt x="6595" y="375"/>
                      </a:cubicBezTo>
                      <a:cubicBezTo>
                        <a:pt x="1751" y="1810"/>
                        <a:pt x="-1060" y="6894"/>
                        <a:pt x="375" y="11798"/>
                      </a:cubicBezTo>
                      <a:cubicBezTo>
                        <a:pt x="1751" y="16643"/>
                        <a:pt x="6894" y="19453"/>
                        <a:pt x="11739" y="18078"/>
                      </a:cubicBezTo>
                      <a:close/>
                    </a:path>
                  </a:pathLst>
                </a:custGeom>
                <a:grpFill/>
                <a:ln w="5978" cap="flat">
                  <a:noFill/>
                  <a:prstDash val="solid"/>
                  <a:miter/>
                </a:ln>
              </p:spPr>
              <p:txBody>
                <a:bodyPr rtlCol="0" anchor="ctr"/>
                <a:lstStyle/>
                <a:p>
                  <a:endParaRPr lang="en-GB"/>
                </a:p>
              </p:txBody>
            </p:sp>
          </p:grpSp>
          <p:grpSp>
            <p:nvGrpSpPr>
              <p:cNvPr id="1175" name="Graphic 3">
                <a:extLst>
                  <a:ext uri="{FF2B5EF4-FFF2-40B4-BE49-F238E27FC236}">
                    <a16:creationId xmlns:a16="http://schemas.microsoft.com/office/drawing/2014/main" id="{8C24FA87-E4A1-4753-B502-56CBCD942761}"/>
                  </a:ext>
                </a:extLst>
              </p:cNvPr>
              <p:cNvGrpSpPr/>
              <p:nvPr/>
            </p:nvGrpSpPr>
            <p:grpSpPr>
              <a:xfrm>
                <a:off x="4546750" y="4416615"/>
                <a:ext cx="48345" cy="39053"/>
                <a:chOff x="4546750" y="4416615"/>
                <a:chExt cx="48345" cy="39053"/>
              </a:xfrm>
              <a:grpFill/>
            </p:grpSpPr>
            <p:sp>
              <p:nvSpPr>
                <p:cNvPr id="1877" name="Vrije vorm: vorm 1876">
                  <a:extLst>
                    <a:ext uri="{FF2B5EF4-FFF2-40B4-BE49-F238E27FC236}">
                      <a16:creationId xmlns:a16="http://schemas.microsoft.com/office/drawing/2014/main" id="{B33484DF-AA93-4C78-AC64-A7E99982F3BC}"/>
                    </a:ext>
                  </a:extLst>
                </p:cNvPr>
                <p:cNvSpPr/>
                <p:nvPr/>
              </p:nvSpPr>
              <p:spPr>
                <a:xfrm>
                  <a:off x="4554698" y="4424279"/>
                  <a:ext cx="32475" cy="23683"/>
                </a:xfrm>
                <a:custGeom>
                  <a:avLst/>
                  <a:gdLst>
                    <a:gd name="connsiteX0" fmla="*/ 32475 w 32475"/>
                    <a:gd name="connsiteY0" fmla="*/ 2572 h 23683"/>
                    <a:gd name="connsiteX1" fmla="*/ 1675 w 32475"/>
                    <a:gd name="connsiteY1" fmla="*/ 23684 h 23683"/>
                    <a:gd name="connsiteX2" fmla="*/ 0 w 32475"/>
                    <a:gd name="connsiteY2" fmla="*/ 21172 h 23683"/>
                    <a:gd name="connsiteX3" fmla="*/ 30741 w 32475"/>
                    <a:gd name="connsiteY3" fmla="*/ 0 h 23683"/>
                  </a:gdLst>
                  <a:ahLst/>
                  <a:cxnLst>
                    <a:cxn ang="0">
                      <a:pos x="connsiteX0" y="connsiteY0"/>
                    </a:cxn>
                    <a:cxn ang="0">
                      <a:pos x="connsiteX1" y="connsiteY1"/>
                    </a:cxn>
                    <a:cxn ang="0">
                      <a:pos x="connsiteX2" y="connsiteY2"/>
                    </a:cxn>
                    <a:cxn ang="0">
                      <a:pos x="connsiteX3" y="connsiteY3"/>
                    </a:cxn>
                  </a:cxnLst>
                  <a:rect l="l" t="t" r="r" b="b"/>
                  <a:pathLst>
                    <a:path w="32475" h="23683">
                      <a:moveTo>
                        <a:pt x="32475" y="2572"/>
                      </a:moveTo>
                      <a:lnTo>
                        <a:pt x="1675" y="23684"/>
                      </a:lnTo>
                      <a:lnTo>
                        <a:pt x="0" y="21172"/>
                      </a:lnTo>
                      <a:lnTo>
                        <a:pt x="30741" y="0"/>
                      </a:lnTo>
                      <a:close/>
                    </a:path>
                  </a:pathLst>
                </a:custGeom>
                <a:grpFill/>
                <a:ln w="5978" cap="flat">
                  <a:noFill/>
                  <a:prstDash val="solid"/>
                  <a:miter/>
                </a:ln>
              </p:spPr>
              <p:txBody>
                <a:bodyPr rtlCol="0" anchor="ctr"/>
                <a:lstStyle/>
                <a:p>
                  <a:endParaRPr lang="en-GB"/>
                </a:p>
              </p:txBody>
            </p:sp>
            <p:sp>
              <p:nvSpPr>
                <p:cNvPr id="1878" name="Vrije vorm: vorm 1877">
                  <a:extLst>
                    <a:ext uri="{FF2B5EF4-FFF2-40B4-BE49-F238E27FC236}">
                      <a16:creationId xmlns:a16="http://schemas.microsoft.com/office/drawing/2014/main" id="{DF0F83BB-22CE-455C-A898-0A3F2460D7B7}"/>
                    </a:ext>
                  </a:extLst>
                </p:cNvPr>
                <p:cNvSpPr/>
                <p:nvPr/>
              </p:nvSpPr>
              <p:spPr>
                <a:xfrm>
                  <a:off x="4546750" y="4437206"/>
                  <a:ext cx="18348" cy="18461"/>
                </a:xfrm>
                <a:custGeom>
                  <a:avLst/>
                  <a:gdLst>
                    <a:gd name="connsiteX0" fmla="*/ 14348 w 18348"/>
                    <a:gd name="connsiteY0" fmla="*/ 16856 h 18461"/>
                    <a:gd name="connsiteX1" fmla="*/ 1609 w 18348"/>
                    <a:gd name="connsiteY1" fmla="*/ 14404 h 18461"/>
                    <a:gd name="connsiteX2" fmla="*/ 4001 w 18348"/>
                    <a:gd name="connsiteY2" fmla="*/ 1605 h 18461"/>
                    <a:gd name="connsiteX3" fmla="*/ 16740 w 18348"/>
                    <a:gd name="connsiteY3" fmla="*/ 4058 h 18461"/>
                    <a:gd name="connsiteX4" fmla="*/ 14348 w 18348"/>
                    <a:gd name="connsiteY4" fmla="*/ 1685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61">
                      <a:moveTo>
                        <a:pt x="14348" y="16856"/>
                      </a:moveTo>
                      <a:cubicBezTo>
                        <a:pt x="10161" y="19727"/>
                        <a:pt x="4480" y="18651"/>
                        <a:pt x="1609" y="14404"/>
                      </a:cubicBezTo>
                      <a:cubicBezTo>
                        <a:pt x="-1262" y="10218"/>
                        <a:pt x="-186" y="4476"/>
                        <a:pt x="4001" y="1605"/>
                      </a:cubicBezTo>
                      <a:cubicBezTo>
                        <a:pt x="8188" y="-1265"/>
                        <a:pt x="13869" y="-189"/>
                        <a:pt x="16740" y="4058"/>
                      </a:cubicBezTo>
                      <a:cubicBezTo>
                        <a:pt x="19611" y="8244"/>
                        <a:pt x="18534" y="13985"/>
                        <a:pt x="14348" y="16856"/>
                      </a:cubicBezTo>
                      <a:close/>
                    </a:path>
                  </a:pathLst>
                </a:custGeom>
                <a:grpFill/>
                <a:ln w="5978" cap="flat">
                  <a:noFill/>
                  <a:prstDash val="solid"/>
                  <a:miter/>
                </a:ln>
              </p:spPr>
              <p:txBody>
                <a:bodyPr rtlCol="0" anchor="ctr"/>
                <a:lstStyle/>
                <a:p>
                  <a:endParaRPr lang="en-GB"/>
                </a:p>
              </p:txBody>
            </p:sp>
            <p:sp>
              <p:nvSpPr>
                <p:cNvPr id="1879" name="Vrije vorm: vorm 1878">
                  <a:extLst>
                    <a:ext uri="{FF2B5EF4-FFF2-40B4-BE49-F238E27FC236}">
                      <a16:creationId xmlns:a16="http://schemas.microsoft.com/office/drawing/2014/main" id="{2B8EE90E-E1ED-45EC-AB03-656EA8187DEA}"/>
                    </a:ext>
                  </a:extLst>
                </p:cNvPr>
                <p:cNvSpPr/>
                <p:nvPr/>
              </p:nvSpPr>
              <p:spPr>
                <a:xfrm>
                  <a:off x="4576813" y="4416615"/>
                  <a:ext cx="18281" cy="18419"/>
                </a:xfrm>
                <a:custGeom>
                  <a:avLst/>
                  <a:gdLst>
                    <a:gd name="connsiteX0" fmla="*/ 14307 w 18281"/>
                    <a:gd name="connsiteY0" fmla="*/ 16814 h 18419"/>
                    <a:gd name="connsiteX1" fmla="*/ 16699 w 18281"/>
                    <a:gd name="connsiteY1" fmla="*/ 4015 h 18419"/>
                    <a:gd name="connsiteX2" fmla="*/ 3960 w 18281"/>
                    <a:gd name="connsiteY2" fmla="*/ 1563 h 18419"/>
                    <a:gd name="connsiteX3" fmla="*/ 1628 w 18281"/>
                    <a:gd name="connsiteY3" fmla="*/ 14362 h 18419"/>
                    <a:gd name="connsiteX4" fmla="*/ 14307 w 18281"/>
                    <a:gd name="connsiteY4" fmla="*/ 1681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19">
                      <a:moveTo>
                        <a:pt x="14307" y="16814"/>
                      </a:moveTo>
                      <a:cubicBezTo>
                        <a:pt x="18494" y="13943"/>
                        <a:pt x="19510" y="8202"/>
                        <a:pt x="16699" y="4015"/>
                      </a:cubicBezTo>
                      <a:cubicBezTo>
                        <a:pt x="13829" y="-171"/>
                        <a:pt x="8147" y="-1248"/>
                        <a:pt x="3960" y="1563"/>
                      </a:cubicBezTo>
                      <a:cubicBezTo>
                        <a:pt x="-226" y="4434"/>
                        <a:pt x="-1243" y="10176"/>
                        <a:pt x="1628" y="14362"/>
                      </a:cubicBezTo>
                      <a:cubicBezTo>
                        <a:pt x="4439" y="18608"/>
                        <a:pt x="10121" y="19685"/>
                        <a:pt x="14307" y="16814"/>
                      </a:cubicBezTo>
                      <a:close/>
                    </a:path>
                  </a:pathLst>
                </a:custGeom>
                <a:grpFill/>
                <a:ln w="5978" cap="flat">
                  <a:noFill/>
                  <a:prstDash val="solid"/>
                  <a:miter/>
                </a:ln>
              </p:spPr>
              <p:txBody>
                <a:bodyPr rtlCol="0" anchor="ctr"/>
                <a:lstStyle/>
                <a:p>
                  <a:endParaRPr lang="en-GB"/>
                </a:p>
              </p:txBody>
            </p:sp>
          </p:grpSp>
          <p:grpSp>
            <p:nvGrpSpPr>
              <p:cNvPr id="1176" name="Graphic 3">
                <a:extLst>
                  <a:ext uri="{FF2B5EF4-FFF2-40B4-BE49-F238E27FC236}">
                    <a16:creationId xmlns:a16="http://schemas.microsoft.com/office/drawing/2014/main" id="{9EB95F6A-953B-4D54-BDEA-44D3299D27D4}"/>
                  </a:ext>
                </a:extLst>
              </p:cNvPr>
              <p:cNvGrpSpPr/>
              <p:nvPr/>
            </p:nvGrpSpPr>
            <p:grpSpPr>
              <a:xfrm>
                <a:off x="4424354" y="4222779"/>
                <a:ext cx="175940" cy="106117"/>
                <a:chOff x="4424354" y="4222779"/>
                <a:chExt cx="175940" cy="106117"/>
              </a:xfrm>
              <a:grpFill/>
            </p:grpSpPr>
            <p:sp>
              <p:nvSpPr>
                <p:cNvPr id="1874" name="Vrije vorm: vorm 1873">
                  <a:extLst>
                    <a:ext uri="{FF2B5EF4-FFF2-40B4-BE49-F238E27FC236}">
                      <a16:creationId xmlns:a16="http://schemas.microsoft.com/office/drawing/2014/main" id="{D9A3D267-3D29-4C37-9BD4-19BEABBBD69D}"/>
                    </a:ext>
                  </a:extLst>
                </p:cNvPr>
                <p:cNvSpPr/>
                <p:nvPr/>
              </p:nvSpPr>
              <p:spPr>
                <a:xfrm>
                  <a:off x="4432392" y="4230384"/>
                  <a:ext cx="159924" cy="90847"/>
                </a:xfrm>
                <a:custGeom>
                  <a:avLst/>
                  <a:gdLst>
                    <a:gd name="connsiteX0" fmla="*/ 159925 w 159924"/>
                    <a:gd name="connsiteY0" fmla="*/ 2691 h 90847"/>
                    <a:gd name="connsiteX1" fmla="*/ 1436 w 159924"/>
                    <a:gd name="connsiteY1" fmla="*/ 90847 h 90847"/>
                    <a:gd name="connsiteX2" fmla="*/ 0 w 159924"/>
                    <a:gd name="connsiteY2" fmla="*/ 88216 h 90847"/>
                    <a:gd name="connsiteX3" fmla="*/ 158430 w 159924"/>
                    <a:gd name="connsiteY3" fmla="*/ 0 h 90847"/>
                  </a:gdLst>
                  <a:ahLst/>
                  <a:cxnLst>
                    <a:cxn ang="0">
                      <a:pos x="connsiteX0" y="connsiteY0"/>
                    </a:cxn>
                    <a:cxn ang="0">
                      <a:pos x="connsiteX1" y="connsiteY1"/>
                    </a:cxn>
                    <a:cxn ang="0">
                      <a:pos x="connsiteX2" y="connsiteY2"/>
                    </a:cxn>
                    <a:cxn ang="0">
                      <a:pos x="connsiteX3" y="connsiteY3"/>
                    </a:cxn>
                  </a:cxnLst>
                  <a:rect l="l" t="t" r="r" b="b"/>
                  <a:pathLst>
                    <a:path w="159924" h="90847">
                      <a:moveTo>
                        <a:pt x="159925" y="2691"/>
                      </a:moveTo>
                      <a:lnTo>
                        <a:pt x="1436" y="90847"/>
                      </a:lnTo>
                      <a:lnTo>
                        <a:pt x="0" y="88216"/>
                      </a:lnTo>
                      <a:lnTo>
                        <a:pt x="158430" y="0"/>
                      </a:lnTo>
                      <a:close/>
                    </a:path>
                  </a:pathLst>
                </a:custGeom>
                <a:grpFill/>
                <a:ln w="5978" cap="flat">
                  <a:noFill/>
                  <a:prstDash val="solid"/>
                  <a:miter/>
                </a:ln>
              </p:spPr>
              <p:txBody>
                <a:bodyPr rtlCol="0" anchor="ctr"/>
                <a:lstStyle/>
                <a:p>
                  <a:endParaRPr lang="en-GB"/>
                </a:p>
              </p:txBody>
            </p:sp>
            <p:sp>
              <p:nvSpPr>
                <p:cNvPr id="1875" name="Vrije vorm: vorm 1874">
                  <a:extLst>
                    <a:ext uri="{FF2B5EF4-FFF2-40B4-BE49-F238E27FC236}">
                      <a16:creationId xmlns:a16="http://schemas.microsoft.com/office/drawing/2014/main" id="{68D5BF48-DE08-4D95-AA8D-B43A799598E6}"/>
                    </a:ext>
                  </a:extLst>
                </p:cNvPr>
                <p:cNvSpPr/>
                <p:nvPr/>
              </p:nvSpPr>
              <p:spPr>
                <a:xfrm>
                  <a:off x="4424354" y="4310516"/>
                  <a:ext cx="18315" cy="18379"/>
                </a:xfrm>
                <a:custGeom>
                  <a:avLst/>
                  <a:gdLst>
                    <a:gd name="connsiteX0" fmla="*/ 13600 w 18315"/>
                    <a:gd name="connsiteY0" fmla="*/ 17234 h 18379"/>
                    <a:gd name="connsiteX1" fmla="*/ 1160 w 18315"/>
                    <a:gd name="connsiteY1" fmla="*/ 13646 h 18379"/>
                    <a:gd name="connsiteX2" fmla="*/ 4689 w 18315"/>
                    <a:gd name="connsiteY2" fmla="*/ 1146 h 18379"/>
                    <a:gd name="connsiteX3" fmla="*/ 17129 w 18315"/>
                    <a:gd name="connsiteY3" fmla="*/ 4734 h 18379"/>
                    <a:gd name="connsiteX4" fmla="*/ 13600 w 18315"/>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79">
                      <a:moveTo>
                        <a:pt x="13600" y="17234"/>
                      </a:moveTo>
                      <a:cubicBezTo>
                        <a:pt x="9174" y="19686"/>
                        <a:pt x="3612" y="18071"/>
                        <a:pt x="1160" y="13646"/>
                      </a:cubicBezTo>
                      <a:cubicBezTo>
                        <a:pt x="-1292" y="9220"/>
                        <a:pt x="263" y="3598"/>
                        <a:pt x="4689" y="1146"/>
                      </a:cubicBezTo>
                      <a:cubicBezTo>
                        <a:pt x="9115" y="-1306"/>
                        <a:pt x="14677" y="309"/>
                        <a:pt x="17129" y="4734"/>
                      </a:cubicBezTo>
                      <a:cubicBezTo>
                        <a:pt x="19641" y="9160"/>
                        <a:pt x="18026" y="14782"/>
                        <a:pt x="13600" y="17234"/>
                      </a:cubicBezTo>
                      <a:close/>
                    </a:path>
                  </a:pathLst>
                </a:custGeom>
                <a:grpFill/>
                <a:ln w="5978" cap="flat">
                  <a:noFill/>
                  <a:prstDash val="solid"/>
                  <a:miter/>
                </a:ln>
              </p:spPr>
              <p:txBody>
                <a:bodyPr rtlCol="0" anchor="ctr"/>
                <a:lstStyle/>
                <a:p>
                  <a:endParaRPr lang="en-GB"/>
                </a:p>
              </p:txBody>
            </p:sp>
            <p:sp>
              <p:nvSpPr>
                <p:cNvPr id="1876" name="Vrije vorm: vorm 1875">
                  <a:extLst>
                    <a:ext uri="{FF2B5EF4-FFF2-40B4-BE49-F238E27FC236}">
                      <a16:creationId xmlns:a16="http://schemas.microsoft.com/office/drawing/2014/main" id="{EF4D2239-084F-4E74-AE75-366B5644FF16}"/>
                    </a:ext>
                  </a:extLst>
                </p:cNvPr>
                <p:cNvSpPr/>
                <p:nvPr/>
              </p:nvSpPr>
              <p:spPr>
                <a:xfrm>
                  <a:off x="4582006" y="4222779"/>
                  <a:ext cx="18289" cy="18380"/>
                </a:xfrm>
                <a:custGeom>
                  <a:avLst/>
                  <a:gdLst>
                    <a:gd name="connsiteX0" fmla="*/ 13600 w 18289"/>
                    <a:gd name="connsiteY0" fmla="*/ 17234 h 18380"/>
                    <a:gd name="connsiteX1" fmla="*/ 17129 w 18289"/>
                    <a:gd name="connsiteY1" fmla="*/ 4735 h 18380"/>
                    <a:gd name="connsiteX2" fmla="*/ 4689 w 18289"/>
                    <a:gd name="connsiteY2" fmla="*/ 1146 h 18380"/>
                    <a:gd name="connsiteX3" fmla="*/ 1160 w 18289"/>
                    <a:gd name="connsiteY3" fmla="*/ 13646 h 18380"/>
                    <a:gd name="connsiteX4" fmla="*/ 13600 w 18289"/>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80">
                      <a:moveTo>
                        <a:pt x="13600" y="17234"/>
                      </a:moveTo>
                      <a:cubicBezTo>
                        <a:pt x="18026" y="14782"/>
                        <a:pt x="19581" y="9160"/>
                        <a:pt x="17129" y="4735"/>
                      </a:cubicBezTo>
                      <a:cubicBezTo>
                        <a:pt x="14677" y="308"/>
                        <a:pt x="9055" y="-1306"/>
                        <a:pt x="4689" y="1146"/>
                      </a:cubicBezTo>
                      <a:cubicBezTo>
                        <a:pt x="263" y="3598"/>
                        <a:pt x="-1292" y="9220"/>
                        <a:pt x="1160" y="13646"/>
                      </a:cubicBezTo>
                      <a:cubicBezTo>
                        <a:pt x="3613" y="18071"/>
                        <a:pt x="9175" y="19686"/>
                        <a:pt x="13600" y="17234"/>
                      </a:cubicBezTo>
                      <a:close/>
                    </a:path>
                  </a:pathLst>
                </a:custGeom>
                <a:grpFill/>
                <a:ln w="5978" cap="flat">
                  <a:noFill/>
                  <a:prstDash val="solid"/>
                  <a:miter/>
                </a:ln>
              </p:spPr>
              <p:txBody>
                <a:bodyPr rtlCol="0" anchor="ctr"/>
                <a:lstStyle/>
                <a:p>
                  <a:endParaRPr lang="en-GB"/>
                </a:p>
              </p:txBody>
            </p:sp>
          </p:grpSp>
          <p:grpSp>
            <p:nvGrpSpPr>
              <p:cNvPr id="1177" name="Graphic 3">
                <a:extLst>
                  <a:ext uri="{FF2B5EF4-FFF2-40B4-BE49-F238E27FC236}">
                    <a16:creationId xmlns:a16="http://schemas.microsoft.com/office/drawing/2014/main" id="{732B34A1-837D-4614-9CCD-9A25BA486074}"/>
                  </a:ext>
                </a:extLst>
              </p:cNvPr>
              <p:cNvGrpSpPr/>
              <p:nvPr/>
            </p:nvGrpSpPr>
            <p:grpSpPr>
              <a:xfrm>
                <a:off x="4153082" y="3474116"/>
                <a:ext cx="206351" cy="25728"/>
                <a:chOff x="4153082" y="3474116"/>
                <a:chExt cx="206351" cy="25728"/>
              </a:xfrm>
              <a:grpFill/>
            </p:grpSpPr>
            <p:sp>
              <p:nvSpPr>
                <p:cNvPr id="1871" name="Vrije vorm: vorm 1870">
                  <a:extLst>
                    <a:ext uri="{FF2B5EF4-FFF2-40B4-BE49-F238E27FC236}">
                      <a16:creationId xmlns:a16="http://schemas.microsoft.com/office/drawing/2014/main" id="{95280375-FBF8-4EB9-A5E1-11CF4099FD2D}"/>
                    </a:ext>
                  </a:extLst>
                </p:cNvPr>
                <p:cNvSpPr/>
                <p:nvPr/>
              </p:nvSpPr>
              <p:spPr>
                <a:xfrm>
                  <a:off x="4161764" y="3481777"/>
                  <a:ext cx="188991" cy="10406"/>
                </a:xfrm>
                <a:custGeom>
                  <a:avLst/>
                  <a:gdLst>
                    <a:gd name="connsiteX0" fmla="*/ 188871 w 188991"/>
                    <a:gd name="connsiteY0" fmla="*/ 0 h 10406"/>
                    <a:gd name="connsiteX1" fmla="*/ 188991 w 188991"/>
                    <a:gd name="connsiteY1" fmla="*/ 3050 h 10406"/>
                    <a:gd name="connsiteX2" fmla="*/ 120 w 188991"/>
                    <a:gd name="connsiteY2" fmla="*/ 10407 h 10406"/>
                    <a:gd name="connsiteX3" fmla="*/ 0 w 188991"/>
                    <a:gd name="connsiteY3" fmla="*/ 7356 h 10406"/>
                  </a:gdLst>
                  <a:ahLst/>
                  <a:cxnLst>
                    <a:cxn ang="0">
                      <a:pos x="connsiteX0" y="connsiteY0"/>
                    </a:cxn>
                    <a:cxn ang="0">
                      <a:pos x="connsiteX1" y="connsiteY1"/>
                    </a:cxn>
                    <a:cxn ang="0">
                      <a:pos x="connsiteX2" y="connsiteY2"/>
                    </a:cxn>
                    <a:cxn ang="0">
                      <a:pos x="connsiteX3" y="connsiteY3"/>
                    </a:cxn>
                  </a:cxnLst>
                  <a:rect l="l" t="t" r="r" b="b"/>
                  <a:pathLst>
                    <a:path w="188991" h="10406">
                      <a:moveTo>
                        <a:pt x="188871" y="0"/>
                      </a:moveTo>
                      <a:lnTo>
                        <a:pt x="188991" y="3050"/>
                      </a:lnTo>
                      <a:lnTo>
                        <a:pt x="120" y="10407"/>
                      </a:lnTo>
                      <a:lnTo>
                        <a:pt x="0" y="7356"/>
                      </a:lnTo>
                      <a:close/>
                    </a:path>
                  </a:pathLst>
                </a:custGeom>
                <a:grpFill/>
                <a:ln w="5978" cap="flat">
                  <a:noFill/>
                  <a:prstDash val="solid"/>
                  <a:miter/>
                </a:ln>
              </p:spPr>
              <p:txBody>
                <a:bodyPr rtlCol="0" anchor="ctr"/>
                <a:lstStyle/>
                <a:p>
                  <a:endParaRPr lang="en-GB"/>
                </a:p>
              </p:txBody>
            </p:sp>
            <p:sp>
              <p:nvSpPr>
                <p:cNvPr id="1872" name="Vrije vorm: vorm 1871">
                  <a:extLst>
                    <a:ext uri="{FF2B5EF4-FFF2-40B4-BE49-F238E27FC236}">
                      <a16:creationId xmlns:a16="http://schemas.microsoft.com/office/drawing/2014/main" id="{3474663A-73EB-4B83-A0BF-67B157DD4055}"/>
                    </a:ext>
                  </a:extLst>
                </p:cNvPr>
                <p:cNvSpPr/>
                <p:nvPr/>
              </p:nvSpPr>
              <p:spPr>
                <a:xfrm>
                  <a:off x="4153082" y="3481412"/>
                  <a:ext cx="18377" cy="18432"/>
                </a:xfrm>
                <a:custGeom>
                  <a:avLst/>
                  <a:gdLst>
                    <a:gd name="connsiteX0" fmla="*/ 9579 w 18377"/>
                    <a:gd name="connsiteY0" fmla="*/ 18427 h 18432"/>
                    <a:gd name="connsiteX1" fmla="*/ 10 w 18377"/>
                    <a:gd name="connsiteY1" fmla="*/ 9575 h 18432"/>
                    <a:gd name="connsiteX2" fmla="*/ 8802 w 18377"/>
                    <a:gd name="connsiteY2" fmla="*/ 6 h 18432"/>
                    <a:gd name="connsiteX3" fmla="*/ 18371 w 18377"/>
                    <a:gd name="connsiteY3" fmla="*/ 8857 h 18432"/>
                    <a:gd name="connsiteX4" fmla="*/ 9579 w 18377"/>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32">
                      <a:moveTo>
                        <a:pt x="9579" y="18427"/>
                      </a:moveTo>
                      <a:cubicBezTo>
                        <a:pt x="4496" y="18606"/>
                        <a:pt x="249" y="14659"/>
                        <a:pt x="10" y="9575"/>
                      </a:cubicBezTo>
                      <a:cubicBezTo>
                        <a:pt x="-229" y="4491"/>
                        <a:pt x="3718" y="185"/>
                        <a:pt x="8802" y="6"/>
                      </a:cubicBezTo>
                      <a:cubicBezTo>
                        <a:pt x="13886" y="-174"/>
                        <a:pt x="18132" y="3774"/>
                        <a:pt x="18371" y="8857"/>
                      </a:cubicBezTo>
                      <a:cubicBezTo>
                        <a:pt x="18550" y="13941"/>
                        <a:pt x="14603" y="18247"/>
                        <a:pt x="9579" y="18427"/>
                      </a:cubicBezTo>
                      <a:close/>
                    </a:path>
                  </a:pathLst>
                </a:custGeom>
                <a:grpFill/>
                <a:ln w="5978" cap="flat">
                  <a:noFill/>
                  <a:prstDash val="solid"/>
                  <a:miter/>
                </a:ln>
              </p:spPr>
              <p:txBody>
                <a:bodyPr rtlCol="0" anchor="ctr"/>
                <a:lstStyle/>
                <a:p>
                  <a:endParaRPr lang="en-GB"/>
                </a:p>
              </p:txBody>
            </p:sp>
            <p:sp>
              <p:nvSpPr>
                <p:cNvPr id="1873" name="Vrije vorm: vorm 1872">
                  <a:extLst>
                    <a:ext uri="{FF2B5EF4-FFF2-40B4-BE49-F238E27FC236}">
                      <a16:creationId xmlns:a16="http://schemas.microsoft.com/office/drawing/2014/main" id="{1E3E9BBF-F263-4FC1-A547-E58D41AF0644}"/>
                    </a:ext>
                  </a:extLst>
                </p:cNvPr>
                <p:cNvSpPr/>
                <p:nvPr/>
              </p:nvSpPr>
              <p:spPr>
                <a:xfrm>
                  <a:off x="4341061" y="3474116"/>
                  <a:ext cx="18372" cy="18432"/>
                </a:xfrm>
                <a:custGeom>
                  <a:avLst/>
                  <a:gdLst>
                    <a:gd name="connsiteX0" fmla="*/ 9575 w 18372"/>
                    <a:gd name="connsiteY0" fmla="*/ 18427 h 18432"/>
                    <a:gd name="connsiteX1" fmla="*/ 18367 w 18372"/>
                    <a:gd name="connsiteY1" fmla="*/ 8857 h 18432"/>
                    <a:gd name="connsiteX2" fmla="*/ 8797 w 18372"/>
                    <a:gd name="connsiteY2" fmla="*/ 6 h 18432"/>
                    <a:gd name="connsiteX3" fmla="*/ 6 w 18372"/>
                    <a:gd name="connsiteY3" fmla="*/ 9575 h 18432"/>
                    <a:gd name="connsiteX4" fmla="*/ 9575 w 1837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9575" y="18427"/>
                      </a:moveTo>
                      <a:cubicBezTo>
                        <a:pt x="14659" y="18247"/>
                        <a:pt x="18546" y="13941"/>
                        <a:pt x="18367" y="8857"/>
                      </a:cubicBezTo>
                      <a:cubicBezTo>
                        <a:pt x="18127" y="3774"/>
                        <a:pt x="13881" y="-174"/>
                        <a:pt x="8797" y="6"/>
                      </a:cubicBezTo>
                      <a:cubicBezTo>
                        <a:pt x="3714" y="185"/>
                        <a:pt x="-174" y="4491"/>
                        <a:pt x="6" y="9575"/>
                      </a:cubicBezTo>
                      <a:cubicBezTo>
                        <a:pt x="245" y="14659"/>
                        <a:pt x="4492" y="18606"/>
                        <a:pt x="9575" y="18427"/>
                      </a:cubicBezTo>
                      <a:close/>
                    </a:path>
                  </a:pathLst>
                </a:custGeom>
                <a:grpFill/>
                <a:ln w="5978" cap="flat">
                  <a:noFill/>
                  <a:prstDash val="solid"/>
                  <a:miter/>
                </a:ln>
              </p:spPr>
              <p:txBody>
                <a:bodyPr rtlCol="0" anchor="ctr"/>
                <a:lstStyle/>
                <a:p>
                  <a:endParaRPr lang="en-GB"/>
                </a:p>
              </p:txBody>
            </p:sp>
          </p:grpSp>
          <p:grpSp>
            <p:nvGrpSpPr>
              <p:cNvPr id="1178" name="Graphic 3">
                <a:extLst>
                  <a:ext uri="{FF2B5EF4-FFF2-40B4-BE49-F238E27FC236}">
                    <a16:creationId xmlns:a16="http://schemas.microsoft.com/office/drawing/2014/main" id="{2841D07F-A681-4A33-B66E-982D94D00045}"/>
                  </a:ext>
                </a:extLst>
              </p:cNvPr>
              <p:cNvGrpSpPr/>
              <p:nvPr/>
            </p:nvGrpSpPr>
            <p:grpSpPr>
              <a:xfrm>
                <a:off x="4107340" y="3410188"/>
                <a:ext cx="236896" cy="18719"/>
                <a:chOff x="4107340" y="3410188"/>
                <a:chExt cx="236896" cy="18719"/>
              </a:xfrm>
              <a:grpFill/>
            </p:grpSpPr>
            <p:sp>
              <p:nvSpPr>
                <p:cNvPr id="1868" name="Vrije vorm: vorm 1867">
                  <a:extLst>
                    <a:ext uri="{FF2B5EF4-FFF2-40B4-BE49-F238E27FC236}">
                      <a16:creationId xmlns:a16="http://schemas.microsoft.com/office/drawing/2014/main" id="{95A0391A-88BB-45A5-A59F-7153C17E1A6A}"/>
                    </a:ext>
                  </a:extLst>
                </p:cNvPr>
                <p:cNvSpPr/>
                <p:nvPr/>
              </p:nvSpPr>
              <p:spPr>
                <a:xfrm>
                  <a:off x="4116012" y="3417843"/>
                  <a:ext cx="219552" cy="3409"/>
                </a:xfrm>
                <a:custGeom>
                  <a:avLst/>
                  <a:gdLst>
                    <a:gd name="connsiteX0" fmla="*/ 219493 w 219552"/>
                    <a:gd name="connsiteY0" fmla="*/ 0 h 3409"/>
                    <a:gd name="connsiteX1" fmla="*/ 219552 w 219552"/>
                    <a:gd name="connsiteY1" fmla="*/ 3110 h 3409"/>
                    <a:gd name="connsiteX2" fmla="*/ 60 w 219552"/>
                    <a:gd name="connsiteY2" fmla="*/ 3409 h 3409"/>
                    <a:gd name="connsiteX3" fmla="*/ 0 w 219552"/>
                    <a:gd name="connsiteY3" fmla="*/ 299 h 3409"/>
                  </a:gdLst>
                  <a:ahLst/>
                  <a:cxnLst>
                    <a:cxn ang="0">
                      <a:pos x="connsiteX0" y="connsiteY0"/>
                    </a:cxn>
                    <a:cxn ang="0">
                      <a:pos x="connsiteX1" y="connsiteY1"/>
                    </a:cxn>
                    <a:cxn ang="0">
                      <a:pos x="connsiteX2" y="connsiteY2"/>
                    </a:cxn>
                    <a:cxn ang="0">
                      <a:pos x="connsiteX3" y="connsiteY3"/>
                    </a:cxn>
                  </a:cxnLst>
                  <a:rect l="l" t="t" r="r" b="b"/>
                  <a:pathLst>
                    <a:path w="219552" h="3409">
                      <a:moveTo>
                        <a:pt x="219493" y="0"/>
                      </a:moveTo>
                      <a:lnTo>
                        <a:pt x="219552" y="3110"/>
                      </a:lnTo>
                      <a:lnTo>
                        <a:pt x="60" y="3409"/>
                      </a:lnTo>
                      <a:lnTo>
                        <a:pt x="0" y="299"/>
                      </a:lnTo>
                      <a:close/>
                    </a:path>
                  </a:pathLst>
                </a:custGeom>
                <a:grpFill/>
                <a:ln w="5978" cap="flat">
                  <a:noFill/>
                  <a:prstDash val="solid"/>
                  <a:miter/>
                </a:ln>
              </p:spPr>
              <p:txBody>
                <a:bodyPr rtlCol="0" anchor="ctr"/>
                <a:lstStyle/>
                <a:p>
                  <a:endParaRPr lang="en-GB"/>
                </a:p>
              </p:txBody>
            </p:sp>
            <p:sp>
              <p:nvSpPr>
                <p:cNvPr id="1869" name="Vrije vorm: vorm 1868">
                  <a:extLst>
                    <a:ext uri="{FF2B5EF4-FFF2-40B4-BE49-F238E27FC236}">
                      <a16:creationId xmlns:a16="http://schemas.microsoft.com/office/drawing/2014/main" id="{ED17A29A-F508-4520-9B92-38BE4BE2F863}"/>
                    </a:ext>
                  </a:extLst>
                </p:cNvPr>
                <p:cNvSpPr/>
                <p:nvPr/>
              </p:nvSpPr>
              <p:spPr>
                <a:xfrm>
                  <a:off x="4107340" y="3410487"/>
                  <a:ext cx="18301" cy="18420"/>
                </a:xfrm>
                <a:custGeom>
                  <a:avLst/>
                  <a:gdLst>
                    <a:gd name="connsiteX0" fmla="*/ 9210 w 18301"/>
                    <a:gd name="connsiteY0" fmla="*/ 18421 h 18420"/>
                    <a:gd name="connsiteX1" fmla="*/ 0 w 18301"/>
                    <a:gd name="connsiteY1" fmla="*/ 9210 h 18420"/>
                    <a:gd name="connsiteX2" fmla="*/ 9091 w 18301"/>
                    <a:gd name="connsiteY2" fmla="*/ 0 h 18420"/>
                    <a:gd name="connsiteX3" fmla="*/ 18301 w 18301"/>
                    <a:gd name="connsiteY3" fmla="*/ 9210 h 18420"/>
                    <a:gd name="connsiteX4" fmla="*/ 9210 w 18301"/>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0">
                      <a:moveTo>
                        <a:pt x="9210" y="18421"/>
                      </a:moveTo>
                      <a:cubicBezTo>
                        <a:pt x="4127" y="18421"/>
                        <a:pt x="0" y="14294"/>
                        <a:pt x="0" y="9210"/>
                      </a:cubicBezTo>
                      <a:cubicBezTo>
                        <a:pt x="0" y="4127"/>
                        <a:pt x="4067" y="0"/>
                        <a:pt x="9091" y="0"/>
                      </a:cubicBezTo>
                      <a:cubicBezTo>
                        <a:pt x="14174" y="0"/>
                        <a:pt x="18301" y="4127"/>
                        <a:pt x="18301" y="9210"/>
                      </a:cubicBezTo>
                      <a:cubicBezTo>
                        <a:pt x="18361" y="14294"/>
                        <a:pt x="14294" y="18421"/>
                        <a:pt x="9210" y="18421"/>
                      </a:cubicBezTo>
                      <a:close/>
                    </a:path>
                  </a:pathLst>
                </a:custGeom>
                <a:grpFill/>
                <a:ln w="5978" cap="flat">
                  <a:noFill/>
                  <a:prstDash val="solid"/>
                  <a:miter/>
                </a:ln>
              </p:spPr>
              <p:txBody>
                <a:bodyPr rtlCol="0" anchor="ctr"/>
                <a:lstStyle/>
                <a:p>
                  <a:endParaRPr lang="en-GB"/>
                </a:p>
              </p:txBody>
            </p:sp>
            <p:sp>
              <p:nvSpPr>
                <p:cNvPr id="1870" name="Vrije vorm: vorm 1869">
                  <a:extLst>
                    <a:ext uri="{FF2B5EF4-FFF2-40B4-BE49-F238E27FC236}">
                      <a16:creationId xmlns:a16="http://schemas.microsoft.com/office/drawing/2014/main" id="{3382DEA4-84F5-446C-ACB0-733823C2B7B3}"/>
                    </a:ext>
                  </a:extLst>
                </p:cNvPr>
                <p:cNvSpPr/>
                <p:nvPr/>
              </p:nvSpPr>
              <p:spPr>
                <a:xfrm>
                  <a:off x="4325935" y="3410188"/>
                  <a:ext cx="18302" cy="18420"/>
                </a:xfrm>
                <a:custGeom>
                  <a:avLst/>
                  <a:gdLst>
                    <a:gd name="connsiteX0" fmla="*/ 9211 w 18302"/>
                    <a:gd name="connsiteY0" fmla="*/ 18421 h 18420"/>
                    <a:gd name="connsiteX1" fmla="*/ 18302 w 18302"/>
                    <a:gd name="connsiteY1" fmla="*/ 9210 h 18420"/>
                    <a:gd name="connsiteX2" fmla="*/ 9091 w 18302"/>
                    <a:gd name="connsiteY2" fmla="*/ 0 h 18420"/>
                    <a:gd name="connsiteX3" fmla="*/ 1 w 18302"/>
                    <a:gd name="connsiteY3" fmla="*/ 9210 h 18420"/>
                    <a:gd name="connsiteX4" fmla="*/ 9211 w 18302"/>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211" y="18421"/>
                      </a:moveTo>
                      <a:cubicBezTo>
                        <a:pt x="14295" y="18421"/>
                        <a:pt x="18362" y="14294"/>
                        <a:pt x="18302" y="9210"/>
                      </a:cubicBezTo>
                      <a:cubicBezTo>
                        <a:pt x="18302" y="4127"/>
                        <a:pt x="14175" y="0"/>
                        <a:pt x="9091" y="0"/>
                      </a:cubicBezTo>
                      <a:cubicBezTo>
                        <a:pt x="4008" y="0"/>
                        <a:pt x="-59" y="4127"/>
                        <a:pt x="1" y="9210"/>
                      </a:cubicBezTo>
                      <a:cubicBezTo>
                        <a:pt x="1" y="14294"/>
                        <a:pt x="4127" y="18421"/>
                        <a:pt x="9211" y="18421"/>
                      </a:cubicBezTo>
                      <a:close/>
                    </a:path>
                  </a:pathLst>
                </a:custGeom>
                <a:grpFill/>
                <a:ln w="5978" cap="flat">
                  <a:noFill/>
                  <a:prstDash val="solid"/>
                  <a:miter/>
                </a:ln>
              </p:spPr>
              <p:txBody>
                <a:bodyPr rtlCol="0" anchor="ctr"/>
                <a:lstStyle/>
                <a:p>
                  <a:endParaRPr lang="en-GB"/>
                </a:p>
              </p:txBody>
            </p:sp>
          </p:grpSp>
          <p:grpSp>
            <p:nvGrpSpPr>
              <p:cNvPr id="1179" name="Graphic 3">
                <a:extLst>
                  <a:ext uri="{FF2B5EF4-FFF2-40B4-BE49-F238E27FC236}">
                    <a16:creationId xmlns:a16="http://schemas.microsoft.com/office/drawing/2014/main" id="{A5528184-7306-41E3-B838-1A58093089EB}"/>
                  </a:ext>
                </a:extLst>
              </p:cNvPr>
              <p:cNvGrpSpPr/>
              <p:nvPr/>
            </p:nvGrpSpPr>
            <p:grpSpPr>
              <a:xfrm>
                <a:off x="4773200" y="5108691"/>
                <a:ext cx="45401" cy="55363"/>
                <a:chOff x="4773200" y="5108691"/>
                <a:chExt cx="45401" cy="55363"/>
              </a:xfrm>
              <a:grpFill/>
            </p:grpSpPr>
            <p:sp>
              <p:nvSpPr>
                <p:cNvPr id="1865" name="Vrije vorm: vorm 1864">
                  <a:extLst>
                    <a:ext uri="{FF2B5EF4-FFF2-40B4-BE49-F238E27FC236}">
                      <a16:creationId xmlns:a16="http://schemas.microsoft.com/office/drawing/2014/main" id="{A896A170-356A-4CA9-B43A-C89DC7520F1A}"/>
                    </a:ext>
                  </a:extLst>
                </p:cNvPr>
                <p:cNvSpPr/>
                <p:nvPr/>
              </p:nvSpPr>
              <p:spPr>
                <a:xfrm>
                  <a:off x="4780889" y="5116607"/>
                  <a:ext cx="30083" cy="39532"/>
                </a:xfrm>
                <a:custGeom>
                  <a:avLst/>
                  <a:gdLst>
                    <a:gd name="connsiteX0" fmla="*/ 30083 w 30083"/>
                    <a:gd name="connsiteY0" fmla="*/ 1854 h 39532"/>
                    <a:gd name="connsiteX1" fmla="*/ 2452 w 30083"/>
                    <a:gd name="connsiteY1" fmla="*/ 39532 h 39532"/>
                    <a:gd name="connsiteX2" fmla="*/ 0 w 30083"/>
                    <a:gd name="connsiteY2" fmla="*/ 37738 h 39532"/>
                    <a:gd name="connsiteX3" fmla="*/ 27631 w 30083"/>
                    <a:gd name="connsiteY3" fmla="*/ 0 h 39532"/>
                  </a:gdLst>
                  <a:ahLst/>
                  <a:cxnLst>
                    <a:cxn ang="0">
                      <a:pos x="connsiteX0" y="connsiteY0"/>
                    </a:cxn>
                    <a:cxn ang="0">
                      <a:pos x="connsiteX1" y="connsiteY1"/>
                    </a:cxn>
                    <a:cxn ang="0">
                      <a:pos x="connsiteX2" y="connsiteY2"/>
                    </a:cxn>
                    <a:cxn ang="0">
                      <a:pos x="connsiteX3" y="connsiteY3"/>
                    </a:cxn>
                  </a:cxnLst>
                  <a:rect l="l" t="t" r="r" b="b"/>
                  <a:pathLst>
                    <a:path w="30083" h="39532">
                      <a:moveTo>
                        <a:pt x="30083" y="1854"/>
                      </a:moveTo>
                      <a:lnTo>
                        <a:pt x="2452" y="39532"/>
                      </a:lnTo>
                      <a:lnTo>
                        <a:pt x="0" y="37738"/>
                      </a:lnTo>
                      <a:lnTo>
                        <a:pt x="27631" y="0"/>
                      </a:lnTo>
                      <a:close/>
                    </a:path>
                  </a:pathLst>
                </a:custGeom>
                <a:grpFill/>
                <a:ln w="5978" cap="flat">
                  <a:noFill/>
                  <a:prstDash val="solid"/>
                  <a:miter/>
                </a:ln>
              </p:spPr>
              <p:txBody>
                <a:bodyPr rtlCol="0" anchor="ctr"/>
                <a:lstStyle/>
                <a:p>
                  <a:endParaRPr lang="en-GB"/>
                </a:p>
              </p:txBody>
            </p:sp>
            <p:sp>
              <p:nvSpPr>
                <p:cNvPr id="1866" name="Vrije vorm: vorm 1865">
                  <a:extLst>
                    <a:ext uri="{FF2B5EF4-FFF2-40B4-BE49-F238E27FC236}">
                      <a16:creationId xmlns:a16="http://schemas.microsoft.com/office/drawing/2014/main" id="{75206C8E-E477-4CF2-9267-7FB08BDF0E1D}"/>
                    </a:ext>
                  </a:extLst>
                </p:cNvPr>
                <p:cNvSpPr/>
                <p:nvPr/>
              </p:nvSpPr>
              <p:spPr>
                <a:xfrm>
                  <a:off x="4800292" y="5108691"/>
                  <a:ext cx="18309" cy="18403"/>
                </a:xfrm>
                <a:custGeom>
                  <a:avLst/>
                  <a:gdLst>
                    <a:gd name="connsiteX0" fmla="*/ 1768 w 18309"/>
                    <a:gd name="connsiteY0" fmla="*/ 3729 h 18403"/>
                    <a:gd name="connsiteX1" fmla="*/ 14567 w 18309"/>
                    <a:gd name="connsiteY1" fmla="*/ 1815 h 18403"/>
                    <a:gd name="connsiteX2" fmla="*/ 16541 w 18309"/>
                    <a:gd name="connsiteY2" fmla="*/ 14674 h 18403"/>
                    <a:gd name="connsiteX3" fmla="*/ 3742 w 18309"/>
                    <a:gd name="connsiteY3" fmla="*/ 16588 h 18403"/>
                    <a:gd name="connsiteX4" fmla="*/ 1768 w 18309"/>
                    <a:gd name="connsiteY4" fmla="*/ 372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3">
                      <a:moveTo>
                        <a:pt x="1768" y="3729"/>
                      </a:moveTo>
                      <a:cubicBezTo>
                        <a:pt x="4759" y="-338"/>
                        <a:pt x="10500" y="-1235"/>
                        <a:pt x="14567" y="1815"/>
                      </a:cubicBezTo>
                      <a:cubicBezTo>
                        <a:pt x="18634" y="4865"/>
                        <a:pt x="19531" y="10607"/>
                        <a:pt x="16541" y="14674"/>
                      </a:cubicBezTo>
                      <a:cubicBezTo>
                        <a:pt x="13551" y="18741"/>
                        <a:pt x="7809" y="19638"/>
                        <a:pt x="3742" y="16588"/>
                      </a:cubicBezTo>
                      <a:cubicBezTo>
                        <a:pt x="-325" y="13597"/>
                        <a:pt x="-1222" y="7796"/>
                        <a:pt x="1768" y="3729"/>
                      </a:cubicBezTo>
                      <a:close/>
                    </a:path>
                  </a:pathLst>
                </a:custGeom>
                <a:grpFill/>
                <a:ln w="5978" cap="flat">
                  <a:noFill/>
                  <a:prstDash val="solid"/>
                  <a:miter/>
                </a:ln>
              </p:spPr>
              <p:txBody>
                <a:bodyPr rtlCol="0" anchor="ctr"/>
                <a:lstStyle/>
                <a:p>
                  <a:endParaRPr lang="en-GB"/>
                </a:p>
              </p:txBody>
            </p:sp>
            <p:sp>
              <p:nvSpPr>
                <p:cNvPr id="1867" name="Vrije vorm: vorm 1866">
                  <a:extLst>
                    <a:ext uri="{FF2B5EF4-FFF2-40B4-BE49-F238E27FC236}">
                      <a16:creationId xmlns:a16="http://schemas.microsoft.com/office/drawing/2014/main" id="{E02ABD53-829F-4D81-A176-9BF23E291B03}"/>
                    </a:ext>
                  </a:extLst>
                </p:cNvPr>
                <p:cNvSpPr/>
                <p:nvPr/>
              </p:nvSpPr>
              <p:spPr>
                <a:xfrm>
                  <a:off x="4773200" y="5145652"/>
                  <a:ext cx="18309" cy="18402"/>
                </a:xfrm>
                <a:custGeom>
                  <a:avLst/>
                  <a:gdLst>
                    <a:gd name="connsiteX0" fmla="*/ 1768 w 18309"/>
                    <a:gd name="connsiteY0" fmla="*/ 3729 h 18402"/>
                    <a:gd name="connsiteX1" fmla="*/ 3742 w 18309"/>
                    <a:gd name="connsiteY1" fmla="*/ 16588 h 18402"/>
                    <a:gd name="connsiteX2" fmla="*/ 16541 w 18309"/>
                    <a:gd name="connsiteY2" fmla="*/ 14674 h 18402"/>
                    <a:gd name="connsiteX3" fmla="*/ 14567 w 18309"/>
                    <a:gd name="connsiteY3" fmla="*/ 1815 h 18402"/>
                    <a:gd name="connsiteX4" fmla="*/ 1768 w 18309"/>
                    <a:gd name="connsiteY4" fmla="*/ 3729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2">
                      <a:moveTo>
                        <a:pt x="1768" y="3729"/>
                      </a:moveTo>
                      <a:cubicBezTo>
                        <a:pt x="-1222" y="7796"/>
                        <a:pt x="-325" y="13597"/>
                        <a:pt x="3742" y="16588"/>
                      </a:cubicBezTo>
                      <a:cubicBezTo>
                        <a:pt x="7809" y="19638"/>
                        <a:pt x="13550" y="18741"/>
                        <a:pt x="16541" y="14674"/>
                      </a:cubicBezTo>
                      <a:cubicBezTo>
                        <a:pt x="19531" y="10607"/>
                        <a:pt x="18634" y="4806"/>
                        <a:pt x="14567" y="1815"/>
                      </a:cubicBezTo>
                      <a:cubicBezTo>
                        <a:pt x="10500" y="-1235"/>
                        <a:pt x="4759" y="-338"/>
                        <a:pt x="1768" y="3729"/>
                      </a:cubicBezTo>
                      <a:close/>
                    </a:path>
                  </a:pathLst>
                </a:custGeom>
                <a:grpFill/>
                <a:ln w="5978" cap="flat">
                  <a:noFill/>
                  <a:prstDash val="solid"/>
                  <a:miter/>
                </a:ln>
              </p:spPr>
              <p:txBody>
                <a:bodyPr rtlCol="0" anchor="ctr"/>
                <a:lstStyle/>
                <a:p>
                  <a:endParaRPr lang="en-GB"/>
                </a:p>
              </p:txBody>
            </p:sp>
          </p:grpSp>
          <p:grpSp>
            <p:nvGrpSpPr>
              <p:cNvPr id="1180" name="Graphic 3">
                <a:extLst>
                  <a:ext uri="{FF2B5EF4-FFF2-40B4-BE49-F238E27FC236}">
                    <a16:creationId xmlns:a16="http://schemas.microsoft.com/office/drawing/2014/main" id="{D8005A5B-34FE-483B-AE74-67C43AABB644}"/>
                  </a:ext>
                </a:extLst>
              </p:cNvPr>
              <p:cNvGrpSpPr/>
              <p:nvPr/>
            </p:nvGrpSpPr>
            <p:grpSpPr>
              <a:xfrm>
                <a:off x="4201426" y="3660312"/>
                <a:ext cx="208230" cy="47345"/>
                <a:chOff x="4201426" y="3660312"/>
                <a:chExt cx="208230" cy="47345"/>
              </a:xfrm>
              <a:grpFill/>
            </p:grpSpPr>
            <p:sp>
              <p:nvSpPr>
                <p:cNvPr id="1862" name="Vrije vorm: vorm 1861">
                  <a:extLst>
                    <a:ext uri="{FF2B5EF4-FFF2-40B4-BE49-F238E27FC236}">
                      <a16:creationId xmlns:a16="http://schemas.microsoft.com/office/drawing/2014/main" id="{0AB75996-E48B-4B11-8065-AE303C2AAEAE}"/>
                    </a:ext>
                  </a:extLst>
                </p:cNvPr>
                <p:cNvSpPr/>
                <p:nvPr/>
              </p:nvSpPr>
              <p:spPr>
                <a:xfrm>
                  <a:off x="4209909" y="3667897"/>
                  <a:ext cx="191203" cy="32116"/>
                </a:xfrm>
                <a:custGeom>
                  <a:avLst/>
                  <a:gdLst>
                    <a:gd name="connsiteX0" fmla="*/ 190785 w 191203"/>
                    <a:gd name="connsiteY0" fmla="*/ 0 h 32116"/>
                    <a:gd name="connsiteX1" fmla="*/ 191204 w 191203"/>
                    <a:gd name="connsiteY1" fmla="*/ 2990 h 32116"/>
                    <a:gd name="connsiteX2" fmla="*/ 478 w 191203"/>
                    <a:gd name="connsiteY2" fmla="*/ 32116 h 32116"/>
                    <a:gd name="connsiteX3" fmla="*/ 0 w 191203"/>
                    <a:gd name="connsiteY3" fmla="*/ 29066 h 32116"/>
                  </a:gdLst>
                  <a:ahLst/>
                  <a:cxnLst>
                    <a:cxn ang="0">
                      <a:pos x="connsiteX0" y="connsiteY0"/>
                    </a:cxn>
                    <a:cxn ang="0">
                      <a:pos x="connsiteX1" y="connsiteY1"/>
                    </a:cxn>
                    <a:cxn ang="0">
                      <a:pos x="connsiteX2" y="connsiteY2"/>
                    </a:cxn>
                    <a:cxn ang="0">
                      <a:pos x="connsiteX3" y="connsiteY3"/>
                    </a:cxn>
                  </a:cxnLst>
                  <a:rect l="l" t="t" r="r" b="b"/>
                  <a:pathLst>
                    <a:path w="191203" h="32116">
                      <a:moveTo>
                        <a:pt x="190785" y="0"/>
                      </a:moveTo>
                      <a:lnTo>
                        <a:pt x="191204" y="2990"/>
                      </a:lnTo>
                      <a:lnTo>
                        <a:pt x="478" y="32116"/>
                      </a:lnTo>
                      <a:lnTo>
                        <a:pt x="0" y="29066"/>
                      </a:lnTo>
                      <a:close/>
                    </a:path>
                  </a:pathLst>
                </a:custGeom>
                <a:grpFill/>
                <a:ln w="5978" cap="flat">
                  <a:noFill/>
                  <a:prstDash val="solid"/>
                  <a:miter/>
                </a:ln>
              </p:spPr>
              <p:txBody>
                <a:bodyPr rtlCol="0" anchor="ctr"/>
                <a:lstStyle/>
                <a:p>
                  <a:endParaRPr lang="en-GB"/>
                </a:p>
              </p:txBody>
            </p:sp>
            <p:sp>
              <p:nvSpPr>
                <p:cNvPr id="1863" name="Vrije vorm: vorm 1862">
                  <a:extLst>
                    <a:ext uri="{FF2B5EF4-FFF2-40B4-BE49-F238E27FC236}">
                      <a16:creationId xmlns:a16="http://schemas.microsoft.com/office/drawing/2014/main" id="{B0DFC1F0-8E8D-41D6-B0B5-CD21AF3FD0EF}"/>
                    </a:ext>
                  </a:extLst>
                </p:cNvPr>
                <p:cNvSpPr/>
                <p:nvPr/>
              </p:nvSpPr>
              <p:spPr>
                <a:xfrm>
                  <a:off x="4201426" y="3689259"/>
                  <a:ext cx="18342" cy="18399"/>
                </a:xfrm>
                <a:custGeom>
                  <a:avLst/>
                  <a:gdLst>
                    <a:gd name="connsiteX0" fmla="*/ 10577 w 18342"/>
                    <a:gd name="connsiteY0" fmla="*/ 18290 h 18399"/>
                    <a:gd name="connsiteX1" fmla="*/ 110 w 18342"/>
                    <a:gd name="connsiteY1" fmla="*/ 10575 h 18399"/>
                    <a:gd name="connsiteX2" fmla="*/ 7766 w 18342"/>
                    <a:gd name="connsiteY2" fmla="*/ 109 h 18399"/>
                    <a:gd name="connsiteX3" fmla="*/ 18232 w 18342"/>
                    <a:gd name="connsiteY3" fmla="*/ 7824 h 18399"/>
                    <a:gd name="connsiteX4" fmla="*/ 10577 w 18342"/>
                    <a:gd name="connsiteY4" fmla="*/ 1829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9">
                      <a:moveTo>
                        <a:pt x="10577" y="18290"/>
                      </a:moveTo>
                      <a:cubicBezTo>
                        <a:pt x="5553" y="19068"/>
                        <a:pt x="888" y="15599"/>
                        <a:pt x="110" y="10575"/>
                      </a:cubicBezTo>
                      <a:cubicBezTo>
                        <a:pt x="-667" y="5551"/>
                        <a:pt x="2742" y="827"/>
                        <a:pt x="7766" y="109"/>
                      </a:cubicBezTo>
                      <a:cubicBezTo>
                        <a:pt x="12790" y="-669"/>
                        <a:pt x="17455" y="2800"/>
                        <a:pt x="18232" y="7824"/>
                      </a:cubicBezTo>
                      <a:cubicBezTo>
                        <a:pt x="19009" y="12848"/>
                        <a:pt x="15601" y="17513"/>
                        <a:pt x="10577" y="18290"/>
                      </a:cubicBezTo>
                      <a:close/>
                    </a:path>
                  </a:pathLst>
                </a:custGeom>
                <a:grpFill/>
                <a:ln w="5978" cap="flat">
                  <a:noFill/>
                  <a:prstDash val="solid"/>
                  <a:miter/>
                </a:ln>
              </p:spPr>
              <p:txBody>
                <a:bodyPr rtlCol="0" anchor="ctr"/>
                <a:lstStyle/>
                <a:p>
                  <a:endParaRPr lang="en-GB"/>
                </a:p>
              </p:txBody>
            </p:sp>
            <p:sp>
              <p:nvSpPr>
                <p:cNvPr id="1864" name="Vrije vorm: vorm 1863">
                  <a:extLst>
                    <a:ext uri="{FF2B5EF4-FFF2-40B4-BE49-F238E27FC236}">
                      <a16:creationId xmlns:a16="http://schemas.microsoft.com/office/drawing/2014/main" id="{A191AA21-BB49-4088-99BC-73D4206F1100}"/>
                    </a:ext>
                  </a:extLst>
                </p:cNvPr>
                <p:cNvSpPr/>
                <p:nvPr/>
              </p:nvSpPr>
              <p:spPr>
                <a:xfrm>
                  <a:off x="4391314" y="3660312"/>
                  <a:ext cx="18342" cy="18384"/>
                </a:xfrm>
                <a:custGeom>
                  <a:avLst/>
                  <a:gdLst>
                    <a:gd name="connsiteX0" fmla="*/ 10577 w 18342"/>
                    <a:gd name="connsiteY0" fmla="*/ 18290 h 18384"/>
                    <a:gd name="connsiteX1" fmla="*/ 18232 w 18342"/>
                    <a:gd name="connsiteY1" fmla="*/ 7824 h 18384"/>
                    <a:gd name="connsiteX2" fmla="*/ 7766 w 18342"/>
                    <a:gd name="connsiteY2" fmla="*/ 109 h 18384"/>
                    <a:gd name="connsiteX3" fmla="*/ 110 w 18342"/>
                    <a:gd name="connsiteY3" fmla="*/ 10575 h 18384"/>
                    <a:gd name="connsiteX4" fmla="*/ 10577 w 18342"/>
                    <a:gd name="connsiteY4" fmla="*/ 18290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84">
                      <a:moveTo>
                        <a:pt x="10577" y="18290"/>
                      </a:moveTo>
                      <a:cubicBezTo>
                        <a:pt x="15601" y="17513"/>
                        <a:pt x="19009" y="12848"/>
                        <a:pt x="18232" y="7824"/>
                      </a:cubicBezTo>
                      <a:cubicBezTo>
                        <a:pt x="17455" y="2800"/>
                        <a:pt x="12790" y="-669"/>
                        <a:pt x="7766" y="109"/>
                      </a:cubicBezTo>
                      <a:cubicBezTo>
                        <a:pt x="2742" y="886"/>
                        <a:pt x="-667" y="5551"/>
                        <a:pt x="110" y="10575"/>
                      </a:cubicBezTo>
                      <a:cubicBezTo>
                        <a:pt x="888" y="15539"/>
                        <a:pt x="5553" y="19008"/>
                        <a:pt x="10577" y="18290"/>
                      </a:cubicBezTo>
                      <a:close/>
                    </a:path>
                  </a:pathLst>
                </a:custGeom>
                <a:grpFill/>
                <a:ln w="5978" cap="flat">
                  <a:noFill/>
                  <a:prstDash val="solid"/>
                  <a:miter/>
                </a:ln>
              </p:spPr>
              <p:txBody>
                <a:bodyPr rtlCol="0" anchor="ctr"/>
                <a:lstStyle/>
                <a:p>
                  <a:endParaRPr lang="en-GB"/>
                </a:p>
              </p:txBody>
            </p:sp>
          </p:grpSp>
          <p:grpSp>
            <p:nvGrpSpPr>
              <p:cNvPr id="1181" name="Graphic 3">
                <a:extLst>
                  <a:ext uri="{FF2B5EF4-FFF2-40B4-BE49-F238E27FC236}">
                    <a16:creationId xmlns:a16="http://schemas.microsoft.com/office/drawing/2014/main" id="{05EDE7E0-0EAE-4433-A287-7B8A03349C75}"/>
                  </a:ext>
                </a:extLst>
              </p:cNvPr>
              <p:cNvGrpSpPr/>
              <p:nvPr/>
            </p:nvGrpSpPr>
            <p:grpSpPr>
              <a:xfrm>
                <a:off x="4356928" y="3968125"/>
                <a:ext cx="118572" cy="53751"/>
                <a:chOff x="4356928" y="3968125"/>
                <a:chExt cx="118572" cy="53751"/>
              </a:xfrm>
              <a:grpFill/>
            </p:grpSpPr>
            <p:sp>
              <p:nvSpPr>
                <p:cNvPr id="1859" name="Vrije vorm: vorm 1858">
                  <a:extLst>
                    <a:ext uri="{FF2B5EF4-FFF2-40B4-BE49-F238E27FC236}">
                      <a16:creationId xmlns:a16="http://schemas.microsoft.com/office/drawing/2014/main" id="{636F3E64-491B-4AE2-8BE3-CB41827FFF09}"/>
                    </a:ext>
                  </a:extLst>
                </p:cNvPr>
                <p:cNvSpPr/>
                <p:nvPr/>
              </p:nvSpPr>
              <p:spPr>
                <a:xfrm>
                  <a:off x="4365401" y="3975647"/>
                  <a:ext cx="102090" cy="38522"/>
                </a:xfrm>
                <a:custGeom>
                  <a:avLst/>
                  <a:gdLst>
                    <a:gd name="connsiteX0" fmla="*/ 0 w 102090"/>
                    <a:gd name="connsiteY0" fmla="*/ 35646 h 38522"/>
                    <a:gd name="connsiteX1" fmla="*/ 101076 w 102090"/>
                    <a:gd name="connsiteY1" fmla="*/ 0 h 38522"/>
                    <a:gd name="connsiteX2" fmla="*/ 102091 w 102090"/>
                    <a:gd name="connsiteY2" fmla="*/ 2877 h 38522"/>
                    <a:gd name="connsiteX3" fmla="*/ 1015 w 102090"/>
                    <a:gd name="connsiteY3" fmla="*/ 38523 h 38522"/>
                  </a:gdLst>
                  <a:ahLst/>
                  <a:cxnLst>
                    <a:cxn ang="0">
                      <a:pos x="connsiteX0" y="connsiteY0"/>
                    </a:cxn>
                    <a:cxn ang="0">
                      <a:pos x="connsiteX1" y="connsiteY1"/>
                    </a:cxn>
                    <a:cxn ang="0">
                      <a:pos x="connsiteX2" y="connsiteY2"/>
                    </a:cxn>
                    <a:cxn ang="0">
                      <a:pos x="connsiteX3" y="connsiteY3"/>
                    </a:cxn>
                  </a:cxnLst>
                  <a:rect l="l" t="t" r="r" b="b"/>
                  <a:pathLst>
                    <a:path w="102090" h="38522">
                      <a:moveTo>
                        <a:pt x="0" y="35646"/>
                      </a:moveTo>
                      <a:lnTo>
                        <a:pt x="101076" y="0"/>
                      </a:lnTo>
                      <a:lnTo>
                        <a:pt x="102091" y="2877"/>
                      </a:lnTo>
                      <a:lnTo>
                        <a:pt x="1015" y="38523"/>
                      </a:lnTo>
                      <a:close/>
                    </a:path>
                  </a:pathLst>
                </a:custGeom>
                <a:grpFill/>
                <a:ln w="5978" cap="flat">
                  <a:noFill/>
                  <a:prstDash val="solid"/>
                  <a:miter/>
                </a:ln>
              </p:spPr>
              <p:txBody>
                <a:bodyPr rtlCol="0" anchor="ctr"/>
                <a:lstStyle/>
                <a:p>
                  <a:endParaRPr lang="en-GB"/>
                </a:p>
              </p:txBody>
            </p:sp>
            <p:sp>
              <p:nvSpPr>
                <p:cNvPr id="1860" name="Vrije vorm: vorm 1859">
                  <a:extLst>
                    <a:ext uri="{FF2B5EF4-FFF2-40B4-BE49-F238E27FC236}">
                      <a16:creationId xmlns:a16="http://schemas.microsoft.com/office/drawing/2014/main" id="{7E4B323C-DFAE-4101-9C69-5D827BBCF32C}"/>
                    </a:ext>
                  </a:extLst>
                </p:cNvPr>
                <p:cNvSpPr/>
                <p:nvPr/>
              </p:nvSpPr>
              <p:spPr>
                <a:xfrm>
                  <a:off x="4356928" y="4003495"/>
                  <a:ext cx="18359" cy="18381"/>
                </a:xfrm>
                <a:custGeom>
                  <a:avLst/>
                  <a:gdLst>
                    <a:gd name="connsiteX0" fmla="*/ 12248 w 18359"/>
                    <a:gd name="connsiteY0" fmla="*/ 17863 h 18381"/>
                    <a:gd name="connsiteX1" fmla="*/ 526 w 18359"/>
                    <a:gd name="connsiteY1" fmla="*/ 12241 h 18381"/>
                    <a:gd name="connsiteX2" fmla="*/ 6088 w 18359"/>
                    <a:gd name="connsiteY2" fmla="*/ 519 h 18381"/>
                    <a:gd name="connsiteX3" fmla="*/ 17810 w 18359"/>
                    <a:gd name="connsiteY3" fmla="*/ 6141 h 18381"/>
                    <a:gd name="connsiteX4" fmla="*/ 12248 w 18359"/>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81">
                      <a:moveTo>
                        <a:pt x="12248" y="17863"/>
                      </a:moveTo>
                      <a:cubicBezTo>
                        <a:pt x="7463" y="19538"/>
                        <a:pt x="2260" y="17025"/>
                        <a:pt x="526" y="12241"/>
                      </a:cubicBezTo>
                      <a:cubicBezTo>
                        <a:pt x="-1149" y="7456"/>
                        <a:pt x="1303" y="2193"/>
                        <a:pt x="6088" y="519"/>
                      </a:cubicBezTo>
                      <a:cubicBezTo>
                        <a:pt x="10872" y="-1156"/>
                        <a:pt x="16076" y="1356"/>
                        <a:pt x="17810" y="6141"/>
                      </a:cubicBezTo>
                      <a:cubicBezTo>
                        <a:pt x="19544" y="10925"/>
                        <a:pt x="17033" y="16188"/>
                        <a:pt x="12248" y="17863"/>
                      </a:cubicBezTo>
                      <a:close/>
                    </a:path>
                  </a:pathLst>
                </a:custGeom>
                <a:grpFill/>
                <a:ln w="5978" cap="flat">
                  <a:noFill/>
                  <a:prstDash val="solid"/>
                  <a:miter/>
                </a:ln>
              </p:spPr>
              <p:txBody>
                <a:bodyPr rtlCol="0" anchor="ctr"/>
                <a:lstStyle/>
                <a:p>
                  <a:endParaRPr lang="en-GB"/>
                </a:p>
              </p:txBody>
            </p:sp>
            <p:sp>
              <p:nvSpPr>
                <p:cNvPr id="1861" name="Vrije vorm: vorm 1860">
                  <a:extLst>
                    <a:ext uri="{FF2B5EF4-FFF2-40B4-BE49-F238E27FC236}">
                      <a16:creationId xmlns:a16="http://schemas.microsoft.com/office/drawing/2014/main" id="{60F3601B-3299-4F0A-AC18-65D271C10D4A}"/>
                    </a:ext>
                  </a:extLst>
                </p:cNvPr>
                <p:cNvSpPr/>
                <p:nvPr/>
              </p:nvSpPr>
              <p:spPr>
                <a:xfrm>
                  <a:off x="4457165" y="3968125"/>
                  <a:ext cx="18335" cy="18428"/>
                </a:xfrm>
                <a:custGeom>
                  <a:avLst/>
                  <a:gdLst>
                    <a:gd name="connsiteX0" fmla="*/ 12248 w 18335"/>
                    <a:gd name="connsiteY0" fmla="*/ 17887 h 18428"/>
                    <a:gd name="connsiteX1" fmla="*/ 17810 w 18335"/>
                    <a:gd name="connsiteY1" fmla="*/ 6164 h 18428"/>
                    <a:gd name="connsiteX2" fmla="*/ 6088 w 18335"/>
                    <a:gd name="connsiteY2" fmla="*/ 542 h 18428"/>
                    <a:gd name="connsiteX3" fmla="*/ 526 w 18335"/>
                    <a:gd name="connsiteY3" fmla="*/ 12265 h 18428"/>
                    <a:gd name="connsiteX4" fmla="*/ 12248 w 18335"/>
                    <a:gd name="connsiteY4" fmla="*/ 1788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8">
                      <a:moveTo>
                        <a:pt x="12248" y="17887"/>
                      </a:moveTo>
                      <a:cubicBezTo>
                        <a:pt x="17033" y="16212"/>
                        <a:pt x="19485" y="10949"/>
                        <a:pt x="17810" y="6164"/>
                      </a:cubicBezTo>
                      <a:cubicBezTo>
                        <a:pt x="16135" y="1380"/>
                        <a:pt x="10872" y="-1192"/>
                        <a:pt x="6088" y="542"/>
                      </a:cubicBezTo>
                      <a:cubicBezTo>
                        <a:pt x="1303" y="2217"/>
                        <a:pt x="-1149" y="7480"/>
                        <a:pt x="526" y="12265"/>
                      </a:cubicBezTo>
                      <a:cubicBezTo>
                        <a:pt x="2260" y="17049"/>
                        <a:pt x="7463" y="19621"/>
                        <a:pt x="12248" y="17887"/>
                      </a:cubicBezTo>
                      <a:close/>
                    </a:path>
                  </a:pathLst>
                </a:custGeom>
                <a:grpFill/>
                <a:ln w="5978" cap="flat">
                  <a:noFill/>
                  <a:prstDash val="solid"/>
                  <a:miter/>
                </a:ln>
              </p:spPr>
              <p:txBody>
                <a:bodyPr rtlCol="0" anchor="ctr"/>
                <a:lstStyle/>
                <a:p>
                  <a:endParaRPr lang="en-GB"/>
                </a:p>
              </p:txBody>
            </p:sp>
          </p:grpSp>
          <p:grpSp>
            <p:nvGrpSpPr>
              <p:cNvPr id="1182" name="Graphic 3">
                <a:extLst>
                  <a:ext uri="{FF2B5EF4-FFF2-40B4-BE49-F238E27FC236}">
                    <a16:creationId xmlns:a16="http://schemas.microsoft.com/office/drawing/2014/main" id="{8FC5A48B-3AEF-47E4-B53D-F92181DC5D6F}"/>
                  </a:ext>
                </a:extLst>
              </p:cNvPr>
              <p:cNvGrpSpPr/>
              <p:nvPr/>
            </p:nvGrpSpPr>
            <p:grpSpPr>
              <a:xfrm>
                <a:off x="4771815" y="5163588"/>
                <a:ext cx="151936" cy="224093"/>
                <a:chOff x="4771815" y="5163588"/>
                <a:chExt cx="151936" cy="224093"/>
              </a:xfrm>
              <a:grpFill/>
            </p:grpSpPr>
            <p:sp>
              <p:nvSpPr>
                <p:cNvPr id="1856" name="Vrije vorm: vorm 1855">
                  <a:extLst>
                    <a:ext uri="{FF2B5EF4-FFF2-40B4-BE49-F238E27FC236}">
                      <a16:creationId xmlns:a16="http://schemas.microsoft.com/office/drawing/2014/main" id="{4303DCD2-013E-4815-9300-2D4CE95B10E7}"/>
                    </a:ext>
                  </a:extLst>
                </p:cNvPr>
                <p:cNvSpPr/>
                <p:nvPr/>
              </p:nvSpPr>
              <p:spPr>
                <a:xfrm>
                  <a:off x="4779454" y="5171570"/>
                  <a:ext cx="136659" cy="208129"/>
                </a:xfrm>
                <a:custGeom>
                  <a:avLst/>
                  <a:gdLst>
                    <a:gd name="connsiteX0" fmla="*/ 136659 w 136659"/>
                    <a:gd name="connsiteY0" fmla="*/ 1675 h 208129"/>
                    <a:gd name="connsiteX1" fmla="*/ 2572 w 136659"/>
                    <a:gd name="connsiteY1" fmla="*/ 208129 h 208129"/>
                    <a:gd name="connsiteX2" fmla="*/ 0 w 136659"/>
                    <a:gd name="connsiteY2" fmla="*/ 206455 h 208129"/>
                    <a:gd name="connsiteX3" fmla="*/ 134148 w 136659"/>
                    <a:gd name="connsiteY3" fmla="*/ 0 h 208129"/>
                  </a:gdLst>
                  <a:ahLst/>
                  <a:cxnLst>
                    <a:cxn ang="0">
                      <a:pos x="connsiteX0" y="connsiteY0"/>
                    </a:cxn>
                    <a:cxn ang="0">
                      <a:pos x="connsiteX1" y="connsiteY1"/>
                    </a:cxn>
                    <a:cxn ang="0">
                      <a:pos x="connsiteX2" y="connsiteY2"/>
                    </a:cxn>
                    <a:cxn ang="0">
                      <a:pos x="connsiteX3" y="connsiteY3"/>
                    </a:cxn>
                  </a:cxnLst>
                  <a:rect l="l" t="t" r="r" b="b"/>
                  <a:pathLst>
                    <a:path w="136659" h="208129">
                      <a:moveTo>
                        <a:pt x="136659" y="1675"/>
                      </a:moveTo>
                      <a:lnTo>
                        <a:pt x="2572" y="208129"/>
                      </a:lnTo>
                      <a:lnTo>
                        <a:pt x="0" y="206455"/>
                      </a:lnTo>
                      <a:lnTo>
                        <a:pt x="134148" y="0"/>
                      </a:lnTo>
                      <a:close/>
                    </a:path>
                  </a:pathLst>
                </a:custGeom>
                <a:grpFill/>
                <a:ln w="5978" cap="flat">
                  <a:noFill/>
                  <a:prstDash val="solid"/>
                  <a:miter/>
                </a:ln>
              </p:spPr>
              <p:txBody>
                <a:bodyPr rtlCol="0" anchor="ctr"/>
                <a:lstStyle/>
                <a:p>
                  <a:endParaRPr lang="en-GB"/>
                </a:p>
              </p:txBody>
            </p:sp>
            <p:sp>
              <p:nvSpPr>
                <p:cNvPr id="1857" name="Vrije vorm: vorm 1856">
                  <a:extLst>
                    <a:ext uri="{FF2B5EF4-FFF2-40B4-BE49-F238E27FC236}">
                      <a16:creationId xmlns:a16="http://schemas.microsoft.com/office/drawing/2014/main" id="{E546A011-F945-4F16-9BA3-ED755B156911}"/>
                    </a:ext>
                  </a:extLst>
                </p:cNvPr>
                <p:cNvSpPr/>
                <p:nvPr/>
              </p:nvSpPr>
              <p:spPr>
                <a:xfrm>
                  <a:off x="4771815" y="5369265"/>
                  <a:ext cx="18327" cy="18416"/>
                </a:xfrm>
                <a:custGeom>
                  <a:avLst/>
                  <a:gdLst>
                    <a:gd name="connsiteX0" fmla="*/ 16849 w 18327"/>
                    <a:gd name="connsiteY0" fmla="*/ 14262 h 18416"/>
                    <a:gd name="connsiteX1" fmla="*/ 4170 w 18327"/>
                    <a:gd name="connsiteY1" fmla="*/ 16893 h 18416"/>
                    <a:gd name="connsiteX2" fmla="*/ 1478 w 18327"/>
                    <a:gd name="connsiteY2" fmla="*/ 4154 h 18416"/>
                    <a:gd name="connsiteX3" fmla="*/ 14158 w 18327"/>
                    <a:gd name="connsiteY3" fmla="*/ 152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4098" y="18508"/>
                        <a:pt x="8416" y="19704"/>
                        <a:pt x="4170" y="16893"/>
                      </a:cubicBezTo>
                      <a:cubicBezTo>
                        <a:pt x="-76" y="14082"/>
                        <a:pt x="-1273" y="8401"/>
                        <a:pt x="1478" y="4154"/>
                      </a:cubicBezTo>
                      <a:cubicBezTo>
                        <a:pt x="4230" y="-92"/>
                        <a:pt x="9911" y="-1288"/>
                        <a:pt x="14158" y="1523"/>
                      </a:cubicBezTo>
                      <a:cubicBezTo>
                        <a:pt x="18404" y="4274"/>
                        <a:pt x="19600" y="10015"/>
                        <a:pt x="16849" y="14262"/>
                      </a:cubicBezTo>
                      <a:close/>
                    </a:path>
                  </a:pathLst>
                </a:custGeom>
                <a:grpFill/>
                <a:ln w="5978" cap="flat">
                  <a:noFill/>
                  <a:prstDash val="solid"/>
                  <a:miter/>
                </a:ln>
              </p:spPr>
              <p:txBody>
                <a:bodyPr rtlCol="0" anchor="ctr"/>
                <a:lstStyle/>
                <a:p>
                  <a:endParaRPr lang="en-GB"/>
                </a:p>
              </p:txBody>
            </p:sp>
            <p:sp>
              <p:nvSpPr>
                <p:cNvPr id="1858" name="Vrije vorm: vorm 1857">
                  <a:extLst>
                    <a:ext uri="{FF2B5EF4-FFF2-40B4-BE49-F238E27FC236}">
                      <a16:creationId xmlns:a16="http://schemas.microsoft.com/office/drawing/2014/main" id="{AFDD858E-1049-4D88-B4F6-BBCCAD82C54D}"/>
                    </a:ext>
                  </a:extLst>
                </p:cNvPr>
                <p:cNvSpPr/>
                <p:nvPr/>
              </p:nvSpPr>
              <p:spPr>
                <a:xfrm>
                  <a:off x="4905424" y="5163588"/>
                  <a:ext cx="18327" cy="18416"/>
                </a:xfrm>
                <a:custGeom>
                  <a:avLst/>
                  <a:gdLst>
                    <a:gd name="connsiteX0" fmla="*/ 16849 w 18327"/>
                    <a:gd name="connsiteY0" fmla="*/ 14262 h 18416"/>
                    <a:gd name="connsiteX1" fmla="*/ 14158 w 18327"/>
                    <a:gd name="connsiteY1" fmla="*/ 1523 h 18416"/>
                    <a:gd name="connsiteX2" fmla="*/ 1479 w 18327"/>
                    <a:gd name="connsiteY2" fmla="*/ 4154 h 18416"/>
                    <a:gd name="connsiteX3" fmla="*/ 4170 w 18327"/>
                    <a:gd name="connsiteY3" fmla="*/ 1689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9600" y="10016"/>
                        <a:pt x="18404" y="4274"/>
                        <a:pt x="14158" y="1523"/>
                      </a:cubicBezTo>
                      <a:cubicBezTo>
                        <a:pt x="9911" y="-1288"/>
                        <a:pt x="4230" y="-92"/>
                        <a:pt x="1479" y="4154"/>
                      </a:cubicBezTo>
                      <a:cubicBezTo>
                        <a:pt x="-1273" y="8401"/>
                        <a:pt x="-76" y="14142"/>
                        <a:pt x="4170" y="16893"/>
                      </a:cubicBezTo>
                      <a:cubicBezTo>
                        <a:pt x="8416" y="19705"/>
                        <a:pt x="14098" y="18508"/>
                        <a:pt x="16849" y="14262"/>
                      </a:cubicBezTo>
                      <a:close/>
                    </a:path>
                  </a:pathLst>
                </a:custGeom>
                <a:grpFill/>
                <a:ln w="5978" cap="flat">
                  <a:noFill/>
                  <a:prstDash val="solid"/>
                  <a:miter/>
                </a:ln>
              </p:spPr>
              <p:txBody>
                <a:bodyPr rtlCol="0" anchor="ctr"/>
                <a:lstStyle/>
                <a:p>
                  <a:endParaRPr lang="en-GB"/>
                </a:p>
              </p:txBody>
            </p:sp>
          </p:grpSp>
          <p:grpSp>
            <p:nvGrpSpPr>
              <p:cNvPr id="1183" name="Graphic 3">
                <a:extLst>
                  <a:ext uri="{FF2B5EF4-FFF2-40B4-BE49-F238E27FC236}">
                    <a16:creationId xmlns:a16="http://schemas.microsoft.com/office/drawing/2014/main" id="{4EAF7C25-1D86-45E9-86FE-EB591FEA876C}"/>
                  </a:ext>
                </a:extLst>
              </p:cNvPr>
              <p:cNvGrpSpPr/>
              <p:nvPr/>
            </p:nvGrpSpPr>
            <p:grpSpPr>
              <a:xfrm>
                <a:off x="4399949" y="4167739"/>
                <a:ext cx="169908" cy="95445"/>
                <a:chOff x="4399949" y="4167739"/>
                <a:chExt cx="169908" cy="95445"/>
              </a:xfrm>
              <a:grpFill/>
            </p:grpSpPr>
            <p:sp>
              <p:nvSpPr>
                <p:cNvPr id="1853" name="Vrije vorm: vorm 1852">
                  <a:extLst>
                    <a:ext uri="{FF2B5EF4-FFF2-40B4-BE49-F238E27FC236}">
                      <a16:creationId xmlns:a16="http://schemas.microsoft.com/office/drawing/2014/main" id="{2B17E944-59E3-44AC-8DE4-A6D5AE898AC3}"/>
                    </a:ext>
                  </a:extLst>
                </p:cNvPr>
                <p:cNvSpPr/>
                <p:nvPr/>
              </p:nvSpPr>
              <p:spPr>
                <a:xfrm>
                  <a:off x="4407991" y="4175361"/>
                  <a:ext cx="153824" cy="80201"/>
                </a:xfrm>
                <a:custGeom>
                  <a:avLst/>
                  <a:gdLst>
                    <a:gd name="connsiteX0" fmla="*/ 153824 w 153824"/>
                    <a:gd name="connsiteY0" fmla="*/ 2751 h 80201"/>
                    <a:gd name="connsiteX1" fmla="*/ 1375 w 153824"/>
                    <a:gd name="connsiteY1" fmla="*/ 80202 h 80201"/>
                    <a:gd name="connsiteX2" fmla="*/ 0 w 153824"/>
                    <a:gd name="connsiteY2" fmla="*/ 77450 h 80201"/>
                    <a:gd name="connsiteX3" fmla="*/ 152389 w 153824"/>
                    <a:gd name="connsiteY3" fmla="*/ 0 h 80201"/>
                  </a:gdLst>
                  <a:ahLst/>
                  <a:cxnLst>
                    <a:cxn ang="0">
                      <a:pos x="connsiteX0" y="connsiteY0"/>
                    </a:cxn>
                    <a:cxn ang="0">
                      <a:pos x="connsiteX1" y="connsiteY1"/>
                    </a:cxn>
                    <a:cxn ang="0">
                      <a:pos x="connsiteX2" y="connsiteY2"/>
                    </a:cxn>
                    <a:cxn ang="0">
                      <a:pos x="connsiteX3" y="connsiteY3"/>
                    </a:cxn>
                  </a:cxnLst>
                  <a:rect l="l" t="t" r="r" b="b"/>
                  <a:pathLst>
                    <a:path w="153824" h="80201">
                      <a:moveTo>
                        <a:pt x="153824" y="2751"/>
                      </a:moveTo>
                      <a:lnTo>
                        <a:pt x="1375" y="80202"/>
                      </a:lnTo>
                      <a:lnTo>
                        <a:pt x="0" y="77450"/>
                      </a:lnTo>
                      <a:lnTo>
                        <a:pt x="152389" y="0"/>
                      </a:lnTo>
                      <a:close/>
                    </a:path>
                  </a:pathLst>
                </a:custGeom>
                <a:grpFill/>
                <a:ln w="5978" cap="flat">
                  <a:noFill/>
                  <a:prstDash val="solid"/>
                  <a:miter/>
                </a:ln>
              </p:spPr>
              <p:txBody>
                <a:bodyPr rtlCol="0" anchor="ctr"/>
                <a:lstStyle/>
                <a:p>
                  <a:endParaRPr lang="en-GB"/>
                </a:p>
              </p:txBody>
            </p:sp>
            <p:sp>
              <p:nvSpPr>
                <p:cNvPr id="1854" name="Vrije vorm: vorm 1853">
                  <a:extLst>
                    <a:ext uri="{FF2B5EF4-FFF2-40B4-BE49-F238E27FC236}">
                      <a16:creationId xmlns:a16="http://schemas.microsoft.com/office/drawing/2014/main" id="{FB1FEDAD-C105-4457-B6CC-A9840DED8501}"/>
                    </a:ext>
                  </a:extLst>
                </p:cNvPr>
                <p:cNvSpPr/>
                <p:nvPr/>
              </p:nvSpPr>
              <p:spPr>
                <a:xfrm>
                  <a:off x="4399949" y="4244771"/>
                  <a:ext cx="18297" cy="18413"/>
                </a:xfrm>
                <a:custGeom>
                  <a:avLst/>
                  <a:gdLst>
                    <a:gd name="connsiteX0" fmla="*/ 13305 w 18297"/>
                    <a:gd name="connsiteY0" fmla="*/ 17430 h 18413"/>
                    <a:gd name="connsiteX1" fmla="*/ 985 w 18297"/>
                    <a:gd name="connsiteY1" fmla="*/ 13364 h 18413"/>
                    <a:gd name="connsiteX2" fmla="*/ 4992 w 18297"/>
                    <a:gd name="connsiteY2" fmla="*/ 983 h 18413"/>
                    <a:gd name="connsiteX3" fmla="*/ 17312 w 18297"/>
                    <a:gd name="connsiteY3" fmla="*/ 5050 h 18413"/>
                    <a:gd name="connsiteX4" fmla="*/ 13305 w 18297"/>
                    <a:gd name="connsiteY4" fmla="*/ 17430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3305" y="17430"/>
                      </a:moveTo>
                      <a:cubicBezTo>
                        <a:pt x="8820" y="19703"/>
                        <a:pt x="3258" y="17909"/>
                        <a:pt x="985" y="13364"/>
                      </a:cubicBezTo>
                      <a:cubicBezTo>
                        <a:pt x="-1288" y="8818"/>
                        <a:pt x="506" y="3256"/>
                        <a:pt x="4992" y="983"/>
                      </a:cubicBezTo>
                      <a:cubicBezTo>
                        <a:pt x="9477" y="-1289"/>
                        <a:pt x="15039" y="505"/>
                        <a:pt x="17312" y="5050"/>
                      </a:cubicBezTo>
                      <a:cubicBezTo>
                        <a:pt x="19585" y="9596"/>
                        <a:pt x="17791" y="15158"/>
                        <a:pt x="13305" y="17430"/>
                      </a:cubicBezTo>
                      <a:close/>
                    </a:path>
                  </a:pathLst>
                </a:custGeom>
                <a:grpFill/>
                <a:ln w="5978" cap="flat">
                  <a:noFill/>
                  <a:prstDash val="solid"/>
                  <a:miter/>
                </a:ln>
              </p:spPr>
              <p:txBody>
                <a:bodyPr rtlCol="0" anchor="ctr"/>
                <a:lstStyle/>
                <a:p>
                  <a:endParaRPr lang="en-GB"/>
                </a:p>
              </p:txBody>
            </p:sp>
            <p:sp>
              <p:nvSpPr>
                <p:cNvPr id="1855" name="Vrije vorm: vorm 1854">
                  <a:extLst>
                    <a:ext uri="{FF2B5EF4-FFF2-40B4-BE49-F238E27FC236}">
                      <a16:creationId xmlns:a16="http://schemas.microsoft.com/office/drawing/2014/main" id="{A9ADFC09-2A96-4430-8673-EDBFEBA78D09}"/>
                    </a:ext>
                  </a:extLst>
                </p:cNvPr>
                <p:cNvSpPr/>
                <p:nvPr/>
              </p:nvSpPr>
              <p:spPr>
                <a:xfrm>
                  <a:off x="4551560" y="4167739"/>
                  <a:ext cx="18297" cy="18402"/>
                </a:xfrm>
                <a:custGeom>
                  <a:avLst/>
                  <a:gdLst>
                    <a:gd name="connsiteX0" fmla="*/ 13305 w 18297"/>
                    <a:gd name="connsiteY0" fmla="*/ 17430 h 18402"/>
                    <a:gd name="connsiteX1" fmla="*/ 17312 w 18297"/>
                    <a:gd name="connsiteY1" fmla="*/ 5050 h 18402"/>
                    <a:gd name="connsiteX2" fmla="*/ 4992 w 18297"/>
                    <a:gd name="connsiteY2" fmla="*/ 983 h 18402"/>
                    <a:gd name="connsiteX3" fmla="*/ 985 w 18297"/>
                    <a:gd name="connsiteY3" fmla="*/ 13364 h 18402"/>
                    <a:gd name="connsiteX4" fmla="*/ 13305 w 18297"/>
                    <a:gd name="connsiteY4" fmla="*/ 1743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2">
                      <a:moveTo>
                        <a:pt x="13305" y="17430"/>
                      </a:moveTo>
                      <a:cubicBezTo>
                        <a:pt x="17791" y="15158"/>
                        <a:pt x="19585" y="9596"/>
                        <a:pt x="17312" y="5050"/>
                      </a:cubicBezTo>
                      <a:cubicBezTo>
                        <a:pt x="15039" y="505"/>
                        <a:pt x="9477" y="-1289"/>
                        <a:pt x="4992" y="983"/>
                      </a:cubicBezTo>
                      <a:cubicBezTo>
                        <a:pt x="506" y="3256"/>
                        <a:pt x="-1288" y="8818"/>
                        <a:pt x="985" y="13364"/>
                      </a:cubicBezTo>
                      <a:cubicBezTo>
                        <a:pt x="3258" y="17849"/>
                        <a:pt x="8760" y="19703"/>
                        <a:pt x="13305" y="17430"/>
                      </a:cubicBezTo>
                      <a:close/>
                    </a:path>
                  </a:pathLst>
                </a:custGeom>
                <a:grpFill/>
                <a:ln w="5978" cap="flat">
                  <a:noFill/>
                  <a:prstDash val="solid"/>
                  <a:miter/>
                </a:ln>
              </p:spPr>
              <p:txBody>
                <a:bodyPr rtlCol="0" anchor="ctr"/>
                <a:lstStyle/>
                <a:p>
                  <a:endParaRPr lang="en-GB"/>
                </a:p>
              </p:txBody>
            </p:sp>
          </p:grpSp>
          <p:grpSp>
            <p:nvGrpSpPr>
              <p:cNvPr id="1184" name="Graphic 3">
                <a:extLst>
                  <a:ext uri="{FF2B5EF4-FFF2-40B4-BE49-F238E27FC236}">
                    <a16:creationId xmlns:a16="http://schemas.microsoft.com/office/drawing/2014/main" id="{6B9245F0-3734-44B2-8391-20690223722F}"/>
                  </a:ext>
                </a:extLst>
              </p:cNvPr>
              <p:cNvGrpSpPr/>
              <p:nvPr/>
            </p:nvGrpSpPr>
            <p:grpSpPr>
              <a:xfrm>
                <a:off x="3876253" y="2829025"/>
                <a:ext cx="318994" cy="98653"/>
                <a:chOff x="3876253" y="2829025"/>
                <a:chExt cx="318994" cy="98653"/>
              </a:xfrm>
              <a:grpFill/>
            </p:grpSpPr>
            <p:sp>
              <p:nvSpPr>
                <p:cNvPr id="1850" name="Vrije vorm: vorm 1849">
                  <a:extLst>
                    <a:ext uri="{FF2B5EF4-FFF2-40B4-BE49-F238E27FC236}">
                      <a16:creationId xmlns:a16="http://schemas.microsoft.com/office/drawing/2014/main" id="{883B58AD-D953-426D-B645-7224ACFE91B6}"/>
                    </a:ext>
                  </a:extLst>
                </p:cNvPr>
                <p:cNvSpPr/>
                <p:nvPr/>
              </p:nvSpPr>
              <p:spPr>
                <a:xfrm>
                  <a:off x="3884618" y="2836636"/>
                  <a:ext cx="302325" cy="83371"/>
                </a:xfrm>
                <a:custGeom>
                  <a:avLst/>
                  <a:gdLst>
                    <a:gd name="connsiteX0" fmla="*/ 302325 w 302325"/>
                    <a:gd name="connsiteY0" fmla="*/ 80441 h 83371"/>
                    <a:gd name="connsiteX1" fmla="*/ 301548 w 302325"/>
                    <a:gd name="connsiteY1" fmla="*/ 83371 h 83371"/>
                    <a:gd name="connsiteX2" fmla="*/ 0 w 302325"/>
                    <a:gd name="connsiteY2" fmla="*/ 2931 h 83371"/>
                    <a:gd name="connsiteX3" fmla="*/ 718 w 302325"/>
                    <a:gd name="connsiteY3" fmla="*/ 0 h 83371"/>
                  </a:gdLst>
                  <a:ahLst/>
                  <a:cxnLst>
                    <a:cxn ang="0">
                      <a:pos x="connsiteX0" y="connsiteY0"/>
                    </a:cxn>
                    <a:cxn ang="0">
                      <a:pos x="connsiteX1" y="connsiteY1"/>
                    </a:cxn>
                    <a:cxn ang="0">
                      <a:pos x="connsiteX2" y="connsiteY2"/>
                    </a:cxn>
                    <a:cxn ang="0">
                      <a:pos x="connsiteX3" y="connsiteY3"/>
                    </a:cxn>
                  </a:cxnLst>
                  <a:rect l="l" t="t" r="r" b="b"/>
                  <a:pathLst>
                    <a:path w="302325" h="83371">
                      <a:moveTo>
                        <a:pt x="302325" y="80441"/>
                      </a:moveTo>
                      <a:lnTo>
                        <a:pt x="301548" y="83371"/>
                      </a:lnTo>
                      <a:lnTo>
                        <a:pt x="0" y="2931"/>
                      </a:lnTo>
                      <a:lnTo>
                        <a:pt x="718" y="0"/>
                      </a:lnTo>
                      <a:close/>
                    </a:path>
                  </a:pathLst>
                </a:custGeom>
                <a:grpFill/>
                <a:ln w="5978" cap="flat">
                  <a:noFill/>
                  <a:prstDash val="solid"/>
                  <a:miter/>
                </a:ln>
              </p:spPr>
              <p:txBody>
                <a:bodyPr rtlCol="0" anchor="ctr"/>
                <a:lstStyle/>
                <a:p>
                  <a:endParaRPr lang="en-GB"/>
                </a:p>
              </p:txBody>
            </p:sp>
            <p:sp>
              <p:nvSpPr>
                <p:cNvPr id="1851" name="Vrije vorm: vorm 1850">
                  <a:extLst>
                    <a:ext uri="{FF2B5EF4-FFF2-40B4-BE49-F238E27FC236}">
                      <a16:creationId xmlns:a16="http://schemas.microsoft.com/office/drawing/2014/main" id="{73479935-BE10-47F5-8EFE-4D3AF416CE3A}"/>
                    </a:ext>
                  </a:extLst>
                </p:cNvPr>
                <p:cNvSpPr/>
                <p:nvPr/>
              </p:nvSpPr>
              <p:spPr>
                <a:xfrm>
                  <a:off x="3876253" y="2829025"/>
                  <a:ext cx="18343" cy="18392"/>
                </a:xfrm>
                <a:custGeom>
                  <a:avLst/>
                  <a:gdLst>
                    <a:gd name="connsiteX0" fmla="*/ 6869 w 18343"/>
                    <a:gd name="connsiteY0" fmla="*/ 18078 h 18392"/>
                    <a:gd name="connsiteX1" fmla="*/ 290 w 18343"/>
                    <a:gd name="connsiteY1" fmla="*/ 6834 h 18392"/>
                    <a:gd name="connsiteX2" fmla="*/ 11475 w 18343"/>
                    <a:gd name="connsiteY2" fmla="*/ 315 h 18392"/>
                    <a:gd name="connsiteX3" fmla="*/ 18053 w 18343"/>
                    <a:gd name="connsiteY3" fmla="*/ 11559 h 18392"/>
                    <a:gd name="connsiteX4" fmla="*/ 6869 w 18343"/>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6869" y="18078"/>
                      </a:moveTo>
                      <a:cubicBezTo>
                        <a:pt x="1965" y="16762"/>
                        <a:pt x="-965" y="11738"/>
                        <a:pt x="290" y="6834"/>
                      </a:cubicBezTo>
                      <a:cubicBezTo>
                        <a:pt x="1547" y="1930"/>
                        <a:pt x="6571" y="-1001"/>
                        <a:pt x="11475" y="315"/>
                      </a:cubicBezTo>
                      <a:cubicBezTo>
                        <a:pt x="16379" y="1631"/>
                        <a:pt x="19309" y="6654"/>
                        <a:pt x="18053" y="11559"/>
                      </a:cubicBezTo>
                      <a:cubicBezTo>
                        <a:pt x="16737" y="16463"/>
                        <a:pt x="11774" y="19393"/>
                        <a:pt x="6869" y="18078"/>
                      </a:cubicBezTo>
                      <a:close/>
                    </a:path>
                  </a:pathLst>
                </a:custGeom>
                <a:grpFill/>
                <a:ln w="5978" cap="flat">
                  <a:noFill/>
                  <a:prstDash val="solid"/>
                  <a:miter/>
                </a:ln>
              </p:spPr>
              <p:txBody>
                <a:bodyPr rtlCol="0" anchor="ctr"/>
                <a:lstStyle/>
                <a:p>
                  <a:endParaRPr lang="en-GB"/>
                </a:p>
              </p:txBody>
            </p:sp>
            <p:sp>
              <p:nvSpPr>
                <p:cNvPr id="1852" name="Vrije vorm: vorm 1851">
                  <a:extLst>
                    <a:ext uri="{FF2B5EF4-FFF2-40B4-BE49-F238E27FC236}">
                      <a16:creationId xmlns:a16="http://schemas.microsoft.com/office/drawing/2014/main" id="{64A94667-A336-4A61-8FD4-8FA989B082A0}"/>
                    </a:ext>
                  </a:extLst>
                </p:cNvPr>
                <p:cNvSpPr/>
                <p:nvPr/>
              </p:nvSpPr>
              <p:spPr>
                <a:xfrm>
                  <a:off x="4176904" y="2909287"/>
                  <a:ext cx="18343" cy="18392"/>
                </a:xfrm>
                <a:custGeom>
                  <a:avLst/>
                  <a:gdLst>
                    <a:gd name="connsiteX0" fmla="*/ 6869 w 18343"/>
                    <a:gd name="connsiteY0" fmla="*/ 18078 h 18392"/>
                    <a:gd name="connsiteX1" fmla="*/ 18053 w 18343"/>
                    <a:gd name="connsiteY1" fmla="*/ 11559 h 18392"/>
                    <a:gd name="connsiteX2" fmla="*/ 11474 w 18343"/>
                    <a:gd name="connsiteY2" fmla="*/ 315 h 18392"/>
                    <a:gd name="connsiteX3" fmla="*/ 290 w 18343"/>
                    <a:gd name="connsiteY3" fmla="*/ 6834 h 18392"/>
                    <a:gd name="connsiteX4" fmla="*/ 6869 w 18343"/>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6869" y="18078"/>
                      </a:moveTo>
                      <a:cubicBezTo>
                        <a:pt x="11773" y="19393"/>
                        <a:pt x="16797" y="16463"/>
                        <a:pt x="18053" y="11559"/>
                      </a:cubicBezTo>
                      <a:cubicBezTo>
                        <a:pt x="19309" y="6654"/>
                        <a:pt x="16379" y="1571"/>
                        <a:pt x="11474" y="315"/>
                      </a:cubicBezTo>
                      <a:cubicBezTo>
                        <a:pt x="6570" y="-1001"/>
                        <a:pt x="1547" y="1930"/>
                        <a:pt x="290" y="6834"/>
                      </a:cubicBezTo>
                      <a:cubicBezTo>
                        <a:pt x="-965" y="11678"/>
                        <a:pt x="1965" y="16762"/>
                        <a:pt x="6869" y="18078"/>
                      </a:cubicBezTo>
                      <a:close/>
                    </a:path>
                  </a:pathLst>
                </a:custGeom>
                <a:grpFill/>
                <a:ln w="5978" cap="flat">
                  <a:noFill/>
                  <a:prstDash val="solid"/>
                  <a:miter/>
                </a:ln>
              </p:spPr>
              <p:txBody>
                <a:bodyPr rtlCol="0" anchor="ctr"/>
                <a:lstStyle/>
                <a:p>
                  <a:endParaRPr lang="en-GB"/>
                </a:p>
              </p:txBody>
            </p:sp>
          </p:grpSp>
          <p:grpSp>
            <p:nvGrpSpPr>
              <p:cNvPr id="1185" name="Graphic 3">
                <a:extLst>
                  <a:ext uri="{FF2B5EF4-FFF2-40B4-BE49-F238E27FC236}">
                    <a16:creationId xmlns:a16="http://schemas.microsoft.com/office/drawing/2014/main" id="{969F94E6-FA2C-41C8-BC91-14930E2FF257}"/>
                  </a:ext>
                </a:extLst>
              </p:cNvPr>
              <p:cNvGrpSpPr/>
              <p:nvPr/>
            </p:nvGrpSpPr>
            <p:grpSpPr>
              <a:xfrm>
                <a:off x="4167381" y="3599604"/>
                <a:ext cx="219921" cy="41504"/>
                <a:chOff x="4167381" y="3599604"/>
                <a:chExt cx="219921" cy="41504"/>
              </a:xfrm>
              <a:grpFill/>
            </p:grpSpPr>
            <p:sp>
              <p:nvSpPr>
                <p:cNvPr id="1847" name="Vrije vorm: vorm 1846">
                  <a:extLst>
                    <a:ext uri="{FF2B5EF4-FFF2-40B4-BE49-F238E27FC236}">
                      <a16:creationId xmlns:a16="http://schemas.microsoft.com/office/drawing/2014/main" id="{DD50133B-4A89-4B0E-99DF-7DC50EE2CDE2}"/>
                    </a:ext>
                  </a:extLst>
                </p:cNvPr>
                <p:cNvSpPr/>
                <p:nvPr/>
              </p:nvSpPr>
              <p:spPr>
                <a:xfrm>
                  <a:off x="4175879" y="3607252"/>
                  <a:ext cx="202925" cy="26195"/>
                </a:xfrm>
                <a:custGeom>
                  <a:avLst/>
                  <a:gdLst>
                    <a:gd name="connsiteX0" fmla="*/ 202567 w 202925"/>
                    <a:gd name="connsiteY0" fmla="*/ 0 h 26195"/>
                    <a:gd name="connsiteX1" fmla="*/ 202926 w 202925"/>
                    <a:gd name="connsiteY1" fmla="*/ 3050 h 26195"/>
                    <a:gd name="connsiteX2" fmla="*/ 359 w 202925"/>
                    <a:gd name="connsiteY2" fmla="*/ 26196 h 26195"/>
                    <a:gd name="connsiteX3" fmla="*/ 0 w 202925"/>
                    <a:gd name="connsiteY3" fmla="*/ 23145 h 26195"/>
                  </a:gdLst>
                  <a:ahLst/>
                  <a:cxnLst>
                    <a:cxn ang="0">
                      <a:pos x="connsiteX0" y="connsiteY0"/>
                    </a:cxn>
                    <a:cxn ang="0">
                      <a:pos x="connsiteX1" y="connsiteY1"/>
                    </a:cxn>
                    <a:cxn ang="0">
                      <a:pos x="connsiteX2" y="connsiteY2"/>
                    </a:cxn>
                    <a:cxn ang="0">
                      <a:pos x="connsiteX3" y="connsiteY3"/>
                    </a:cxn>
                  </a:cxnLst>
                  <a:rect l="l" t="t" r="r" b="b"/>
                  <a:pathLst>
                    <a:path w="202925" h="26195">
                      <a:moveTo>
                        <a:pt x="202567" y="0"/>
                      </a:moveTo>
                      <a:lnTo>
                        <a:pt x="202926" y="3050"/>
                      </a:lnTo>
                      <a:lnTo>
                        <a:pt x="359" y="26196"/>
                      </a:lnTo>
                      <a:lnTo>
                        <a:pt x="0" y="23145"/>
                      </a:lnTo>
                      <a:close/>
                    </a:path>
                  </a:pathLst>
                </a:custGeom>
                <a:grpFill/>
                <a:ln w="5978" cap="flat">
                  <a:noFill/>
                  <a:prstDash val="solid"/>
                  <a:miter/>
                </a:ln>
              </p:spPr>
              <p:txBody>
                <a:bodyPr rtlCol="0" anchor="ctr"/>
                <a:lstStyle/>
                <a:p>
                  <a:endParaRPr lang="en-GB"/>
                </a:p>
              </p:txBody>
            </p:sp>
            <p:sp>
              <p:nvSpPr>
                <p:cNvPr id="1848" name="Vrije vorm: vorm 1847">
                  <a:extLst>
                    <a:ext uri="{FF2B5EF4-FFF2-40B4-BE49-F238E27FC236}">
                      <a16:creationId xmlns:a16="http://schemas.microsoft.com/office/drawing/2014/main" id="{849AE9E5-B024-4465-8D9B-A476F9201D9A}"/>
                    </a:ext>
                  </a:extLst>
                </p:cNvPr>
                <p:cNvSpPr/>
                <p:nvPr/>
              </p:nvSpPr>
              <p:spPr>
                <a:xfrm>
                  <a:off x="4167381" y="3622678"/>
                  <a:ext cx="18311" cy="18429"/>
                </a:xfrm>
                <a:custGeom>
                  <a:avLst/>
                  <a:gdLst>
                    <a:gd name="connsiteX0" fmla="*/ 10232 w 18311"/>
                    <a:gd name="connsiteY0" fmla="*/ 18365 h 18429"/>
                    <a:gd name="connsiteX1" fmla="*/ 65 w 18311"/>
                    <a:gd name="connsiteY1" fmla="*/ 10231 h 18429"/>
                    <a:gd name="connsiteX2" fmla="*/ 8079 w 18311"/>
                    <a:gd name="connsiteY2" fmla="*/ 64 h 18429"/>
                    <a:gd name="connsiteX3" fmla="*/ 18247 w 18311"/>
                    <a:gd name="connsiteY3" fmla="*/ 8198 h 18429"/>
                    <a:gd name="connsiteX4" fmla="*/ 10232 w 18311"/>
                    <a:gd name="connsiteY4" fmla="*/ 1836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9">
                      <a:moveTo>
                        <a:pt x="10232" y="18365"/>
                      </a:moveTo>
                      <a:cubicBezTo>
                        <a:pt x="5208" y="18963"/>
                        <a:pt x="663" y="15315"/>
                        <a:pt x="65" y="10231"/>
                      </a:cubicBezTo>
                      <a:cubicBezTo>
                        <a:pt x="-533" y="5148"/>
                        <a:pt x="3055" y="602"/>
                        <a:pt x="8079" y="64"/>
                      </a:cubicBezTo>
                      <a:cubicBezTo>
                        <a:pt x="13103" y="-534"/>
                        <a:pt x="17648" y="3114"/>
                        <a:pt x="18247" y="8198"/>
                      </a:cubicBezTo>
                      <a:cubicBezTo>
                        <a:pt x="18845" y="13222"/>
                        <a:pt x="15256" y="17767"/>
                        <a:pt x="10232" y="18365"/>
                      </a:cubicBezTo>
                      <a:close/>
                    </a:path>
                  </a:pathLst>
                </a:custGeom>
                <a:grpFill/>
                <a:ln w="5978" cap="flat">
                  <a:noFill/>
                  <a:prstDash val="solid"/>
                  <a:miter/>
                </a:ln>
              </p:spPr>
              <p:txBody>
                <a:bodyPr rtlCol="0" anchor="ctr"/>
                <a:lstStyle/>
                <a:p>
                  <a:endParaRPr lang="en-GB"/>
                </a:p>
              </p:txBody>
            </p:sp>
            <p:sp>
              <p:nvSpPr>
                <p:cNvPr id="1849" name="Vrije vorm: vorm 1848">
                  <a:extLst>
                    <a:ext uri="{FF2B5EF4-FFF2-40B4-BE49-F238E27FC236}">
                      <a16:creationId xmlns:a16="http://schemas.microsoft.com/office/drawing/2014/main" id="{3D58D110-2C08-4C82-A877-BC932C9EC613}"/>
                    </a:ext>
                  </a:extLst>
                </p:cNvPr>
                <p:cNvSpPr/>
                <p:nvPr/>
              </p:nvSpPr>
              <p:spPr>
                <a:xfrm>
                  <a:off x="4368991" y="3599604"/>
                  <a:ext cx="18311" cy="18418"/>
                </a:xfrm>
                <a:custGeom>
                  <a:avLst/>
                  <a:gdLst>
                    <a:gd name="connsiteX0" fmla="*/ 10232 w 18311"/>
                    <a:gd name="connsiteY0" fmla="*/ 18354 h 18418"/>
                    <a:gd name="connsiteX1" fmla="*/ 18246 w 18311"/>
                    <a:gd name="connsiteY1" fmla="*/ 8187 h 18418"/>
                    <a:gd name="connsiteX2" fmla="*/ 8079 w 18311"/>
                    <a:gd name="connsiteY2" fmla="*/ 53 h 18418"/>
                    <a:gd name="connsiteX3" fmla="*/ 65 w 18311"/>
                    <a:gd name="connsiteY3" fmla="*/ 10221 h 18418"/>
                    <a:gd name="connsiteX4" fmla="*/ 10232 w 18311"/>
                    <a:gd name="connsiteY4" fmla="*/ 18354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0232" y="18354"/>
                      </a:moveTo>
                      <a:cubicBezTo>
                        <a:pt x="15256" y="17756"/>
                        <a:pt x="18845" y="13211"/>
                        <a:pt x="18246" y="8187"/>
                      </a:cubicBezTo>
                      <a:cubicBezTo>
                        <a:pt x="17648" y="3103"/>
                        <a:pt x="13103" y="-485"/>
                        <a:pt x="8079" y="53"/>
                      </a:cubicBezTo>
                      <a:cubicBezTo>
                        <a:pt x="3056" y="651"/>
                        <a:pt x="-533" y="5197"/>
                        <a:pt x="65" y="10221"/>
                      </a:cubicBezTo>
                      <a:cubicBezTo>
                        <a:pt x="663" y="15304"/>
                        <a:pt x="5208" y="18953"/>
                        <a:pt x="10232" y="18354"/>
                      </a:cubicBezTo>
                      <a:close/>
                    </a:path>
                  </a:pathLst>
                </a:custGeom>
                <a:grpFill/>
                <a:ln w="5978" cap="flat">
                  <a:noFill/>
                  <a:prstDash val="solid"/>
                  <a:miter/>
                </a:ln>
              </p:spPr>
              <p:txBody>
                <a:bodyPr rtlCol="0" anchor="ctr"/>
                <a:lstStyle/>
                <a:p>
                  <a:endParaRPr lang="en-GB"/>
                </a:p>
              </p:txBody>
            </p:sp>
          </p:grpSp>
          <p:grpSp>
            <p:nvGrpSpPr>
              <p:cNvPr id="1186" name="Graphic 3">
                <a:extLst>
                  <a:ext uri="{FF2B5EF4-FFF2-40B4-BE49-F238E27FC236}">
                    <a16:creationId xmlns:a16="http://schemas.microsoft.com/office/drawing/2014/main" id="{AF136CC4-42DE-42D5-82EB-A3A848D8AF85}"/>
                  </a:ext>
                </a:extLst>
              </p:cNvPr>
              <p:cNvGrpSpPr/>
              <p:nvPr/>
            </p:nvGrpSpPr>
            <p:grpSpPr>
              <a:xfrm>
                <a:off x="4013976" y="3335231"/>
                <a:ext cx="351916" cy="60548"/>
                <a:chOff x="4013976" y="3335231"/>
                <a:chExt cx="351916" cy="60548"/>
              </a:xfrm>
              <a:grpFill/>
            </p:grpSpPr>
            <p:sp>
              <p:nvSpPr>
                <p:cNvPr id="1844" name="Vrije vorm: vorm 1843">
                  <a:extLst>
                    <a:ext uri="{FF2B5EF4-FFF2-40B4-BE49-F238E27FC236}">
                      <a16:creationId xmlns:a16="http://schemas.microsoft.com/office/drawing/2014/main" id="{48D12B2C-1C9A-47C6-98B4-C66A39F96EF0}"/>
                    </a:ext>
                  </a:extLst>
                </p:cNvPr>
                <p:cNvSpPr/>
                <p:nvPr/>
              </p:nvSpPr>
              <p:spPr>
                <a:xfrm>
                  <a:off x="4022533" y="3342845"/>
                  <a:ext cx="334800" cy="45273"/>
                </a:xfrm>
                <a:custGeom>
                  <a:avLst/>
                  <a:gdLst>
                    <a:gd name="connsiteX0" fmla="*/ 334801 w 334800"/>
                    <a:gd name="connsiteY0" fmla="*/ 42224 h 45273"/>
                    <a:gd name="connsiteX1" fmla="*/ 334442 w 334800"/>
                    <a:gd name="connsiteY1" fmla="*/ 45274 h 45273"/>
                    <a:gd name="connsiteX2" fmla="*/ 0 w 334800"/>
                    <a:gd name="connsiteY2" fmla="*/ 3050 h 45273"/>
                    <a:gd name="connsiteX3" fmla="*/ 359 w 334800"/>
                    <a:gd name="connsiteY3" fmla="*/ 0 h 45273"/>
                  </a:gdLst>
                  <a:ahLst/>
                  <a:cxnLst>
                    <a:cxn ang="0">
                      <a:pos x="connsiteX0" y="connsiteY0"/>
                    </a:cxn>
                    <a:cxn ang="0">
                      <a:pos x="connsiteX1" y="connsiteY1"/>
                    </a:cxn>
                    <a:cxn ang="0">
                      <a:pos x="connsiteX2" y="connsiteY2"/>
                    </a:cxn>
                    <a:cxn ang="0">
                      <a:pos x="connsiteX3" y="connsiteY3"/>
                    </a:cxn>
                  </a:cxnLst>
                  <a:rect l="l" t="t" r="r" b="b"/>
                  <a:pathLst>
                    <a:path w="334800" h="45273">
                      <a:moveTo>
                        <a:pt x="334801" y="42224"/>
                      </a:moveTo>
                      <a:lnTo>
                        <a:pt x="334442" y="45274"/>
                      </a:lnTo>
                      <a:lnTo>
                        <a:pt x="0" y="3050"/>
                      </a:lnTo>
                      <a:lnTo>
                        <a:pt x="359" y="0"/>
                      </a:lnTo>
                      <a:close/>
                    </a:path>
                  </a:pathLst>
                </a:custGeom>
                <a:grpFill/>
                <a:ln w="5978" cap="flat">
                  <a:noFill/>
                  <a:prstDash val="solid"/>
                  <a:miter/>
                </a:ln>
              </p:spPr>
              <p:txBody>
                <a:bodyPr rtlCol="0" anchor="ctr"/>
                <a:lstStyle/>
                <a:p>
                  <a:endParaRPr lang="en-GB"/>
                </a:p>
              </p:txBody>
            </p:sp>
            <p:sp>
              <p:nvSpPr>
                <p:cNvPr id="1845" name="Vrije vorm: vorm 1844">
                  <a:extLst>
                    <a:ext uri="{FF2B5EF4-FFF2-40B4-BE49-F238E27FC236}">
                      <a16:creationId xmlns:a16="http://schemas.microsoft.com/office/drawing/2014/main" id="{04AAF20C-04DE-404A-915F-D37BE8366129}"/>
                    </a:ext>
                  </a:extLst>
                </p:cNvPr>
                <p:cNvSpPr/>
                <p:nvPr/>
              </p:nvSpPr>
              <p:spPr>
                <a:xfrm>
                  <a:off x="4347520" y="3377336"/>
                  <a:ext cx="18371" cy="18443"/>
                </a:xfrm>
                <a:custGeom>
                  <a:avLst/>
                  <a:gdLst>
                    <a:gd name="connsiteX0" fmla="*/ 10292 w 18371"/>
                    <a:gd name="connsiteY0" fmla="*/ 78 h 18443"/>
                    <a:gd name="connsiteX1" fmla="*/ 18307 w 18371"/>
                    <a:gd name="connsiteY1" fmla="*/ 10365 h 18443"/>
                    <a:gd name="connsiteX2" fmla="*/ 8079 w 18371"/>
                    <a:gd name="connsiteY2" fmla="*/ 18379 h 18443"/>
                    <a:gd name="connsiteX3" fmla="*/ 65 w 18371"/>
                    <a:gd name="connsiteY3" fmla="*/ 8092 h 18443"/>
                    <a:gd name="connsiteX4" fmla="*/ 10292 w 18371"/>
                    <a:gd name="connsiteY4" fmla="*/ 78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3">
                      <a:moveTo>
                        <a:pt x="10292" y="78"/>
                      </a:moveTo>
                      <a:cubicBezTo>
                        <a:pt x="15316" y="736"/>
                        <a:pt x="18905" y="5341"/>
                        <a:pt x="18307" y="10365"/>
                      </a:cubicBezTo>
                      <a:cubicBezTo>
                        <a:pt x="17708" y="15388"/>
                        <a:pt x="13103" y="18977"/>
                        <a:pt x="8079" y="18379"/>
                      </a:cubicBezTo>
                      <a:cubicBezTo>
                        <a:pt x="3055" y="17721"/>
                        <a:pt x="-533" y="13116"/>
                        <a:pt x="65" y="8092"/>
                      </a:cubicBezTo>
                      <a:cubicBezTo>
                        <a:pt x="723" y="3008"/>
                        <a:pt x="5268" y="-580"/>
                        <a:pt x="10292" y="78"/>
                      </a:cubicBezTo>
                      <a:close/>
                    </a:path>
                  </a:pathLst>
                </a:custGeom>
                <a:grpFill/>
                <a:ln w="5978" cap="flat">
                  <a:noFill/>
                  <a:prstDash val="solid"/>
                  <a:miter/>
                </a:ln>
              </p:spPr>
              <p:txBody>
                <a:bodyPr rtlCol="0" anchor="ctr"/>
                <a:lstStyle/>
                <a:p>
                  <a:endParaRPr lang="en-GB"/>
                </a:p>
              </p:txBody>
            </p:sp>
            <p:sp>
              <p:nvSpPr>
                <p:cNvPr id="1846" name="Vrije vorm: vorm 1845">
                  <a:extLst>
                    <a:ext uri="{FF2B5EF4-FFF2-40B4-BE49-F238E27FC236}">
                      <a16:creationId xmlns:a16="http://schemas.microsoft.com/office/drawing/2014/main" id="{B5840756-0F59-44BA-A6AC-4DC9A1A35CA9}"/>
                    </a:ext>
                  </a:extLst>
                </p:cNvPr>
                <p:cNvSpPr/>
                <p:nvPr/>
              </p:nvSpPr>
              <p:spPr>
                <a:xfrm>
                  <a:off x="4013976" y="3335231"/>
                  <a:ext cx="18371" cy="18456"/>
                </a:xfrm>
                <a:custGeom>
                  <a:avLst/>
                  <a:gdLst>
                    <a:gd name="connsiteX0" fmla="*/ 10292 w 18371"/>
                    <a:gd name="connsiteY0" fmla="*/ 78 h 18456"/>
                    <a:gd name="connsiteX1" fmla="*/ 65 w 18371"/>
                    <a:gd name="connsiteY1" fmla="*/ 8092 h 18456"/>
                    <a:gd name="connsiteX2" fmla="*/ 8079 w 18371"/>
                    <a:gd name="connsiteY2" fmla="*/ 18379 h 18456"/>
                    <a:gd name="connsiteX3" fmla="*/ 18306 w 18371"/>
                    <a:gd name="connsiteY3" fmla="*/ 10365 h 18456"/>
                    <a:gd name="connsiteX4" fmla="*/ 10292 w 18371"/>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6">
                      <a:moveTo>
                        <a:pt x="10292" y="78"/>
                      </a:moveTo>
                      <a:cubicBezTo>
                        <a:pt x="5268" y="-580"/>
                        <a:pt x="723" y="3008"/>
                        <a:pt x="65" y="8092"/>
                      </a:cubicBezTo>
                      <a:cubicBezTo>
                        <a:pt x="-533" y="13116"/>
                        <a:pt x="3056" y="17721"/>
                        <a:pt x="8079" y="18379"/>
                      </a:cubicBezTo>
                      <a:cubicBezTo>
                        <a:pt x="13103" y="19037"/>
                        <a:pt x="17648" y="15448"/>
                        <a:pt x="18306" y="10365"/>
                      </a:cubicBezTo>
                      <a:cubicBezTo>
                        <a:pt x="18904" y="5341"/>
                        <a:pt x="15316" y="736"/>
                        <a:pt x="10292" y="78"/>
                      </a:cubicBezTo>
                      <a:close/>
                    </a:path>
                  </a:pathLst>
                </a:custGeom>
                <a:grpFill/>
                <a:ln w="5978" cap="flat">
                  <a:noFill/>
                  <a:prstDash val="solid"/>
                  <a:miter/>
                </a:ln>
              </p:spPr>
              <p:txBody>
                <a:bodyPr rtlCol="0" anchor="ctr"/>
                <a:lstStyle/>
                <a:p>
                  <a:endParaRPr lang="en-GB"/>
                </a:p>
              </p:txBody>
            </p:sp>
          </p:grpSp>
          <p:grpSp>
            <p:nvGrpSpPr>
              <p:cNvPr id="1187" name="Graphic 3">
                <a:extLst>
                  <a:ext uri="{FF2B5EF4-FFF2-40B4-BE49-F238E27FC236}">
                    <a16:creationId xmlns:a16="http://schemas.microsoft.com/office/drawing/2014/main" id="{B5446334-5F98-4CB3-8F88-1C0DD7FB7F6C}"/>
                  </a:ext>
                </a:extLst>
              </p:cNvPr>
              <p:cNvGrpSpPr/>
              <p:nvPr/>
            </p:nvGrpSpPr>
            <p:grpSpPr>
              <a:xfrm>
                <a:off x="4158451" y="3553634"/>
                <a:ext cx="204416" cy="33315"/>
                <a:chOff x="4158451" y="3553634"/>
                <a:chExt cx="204416" cy="33315"/>
              </a:xfrm>
              <a:grpFill/>
            </p:grpSpPr>
            <p:sp>
              <p:nvSpPr>
                <p:cNvPr id="1841" name="Vrije vorm: vorm 1840">
                  <a:extLst>
                    <a:ext uri="{FF2B5EF4-FFF2-40B4-BE49-F238E27FC236}">
                      <a16:creationId xmlns:a16="http://schemas.microsoft.com/office/drawing/2014/main" id="{8DEB3D24-4415-4B6C-9B91-F20909C595A1}"/>
                    </a:ext>
                  </a:extLst>
                </p:cNvPr>
                <p:cNvSpPr/>
                <p:nvPr/>
              </p:nvSpPr>
              <p:spPr>
                <a:xfrm>
                  <a:off x="4167027" y="3561321"/>
                  <a:ext cx="187256" cy="18001"/>
                </a:xfrm>
                <a:custGeom>
                  <a:avLst/>
                  <a:gdLst>
                    <a:gd name="connsiteX0" fmla="*/ 187256 w 187256"/>
                    <a:gd name="connsiteY0" fmla="*/ 14952 h 18001"/>
                    <a:gd name="connsiteX1" fmla="*/ 187077 w 187256"/>
                    <a:gd name="connsiteY1" fmla="*/ 18002 h 18001"/>
                    <a:gd name="connsiteX2" fmla="*/ 0 w 187256"/>
                    <a:gd name="connsiteY2" fmla="*/ 3050 h 18001"/>
                    <a:gd name="connsiteX3" fmla="*/ 239 w 187256"/>
                    <a:gd name="connsiteY3" fmla="*/ 0 h 18001"/>
                  </a:gdLst>
                  <a:ahLst/>
                  <a:cxnLst>
                    <a:cxn ang="0">
                      <a:pos x="connsiteX0" y="connsiteY0"/>
                    </a:cxn>
                    <a:cxn ang="0">
                      <a:pos x="connsiteX1" y="connsiteY1"/>
                    </a:cxn>
                    <a:cxn ang="0">
                      <a:pos x="connsiteX2" y="connsiteY2"/>
                    </a:cxn>
                    <a:cxn ang="0">
                      <a:pos x="connsiteX3" y="connsiteY3"/>
                    </a:cxn>
                  </a:cxnLst>
                  <a:rect l="l" t="t" r="r" b="b"/>
                  <a:pathLst>
                    <a:path w="187256" h="18001">
                      <a:moveTo>
                        <a:pt x="187256" y="14952"/>
                      </a:moveTo>
                      <a:lnTo>
                        <a:pt x="187077" y="18002"/>
                      </a:lnTo>
                      <a:lnTo>
                        <a:pt x="0" y="3050"/>
                      </a:lnTo>
                      <a:lnTo>
                        <a:pt x="239" y="0"/>
                      </a:lnTo>
                      <a:close/>
                    </a:path>
                  </a:pathLst>
                </a:custGeom>
                <a:grpFill/>
                <a:ln w="5978" cap="flat">
                  <a:noFill/>
                  <a:prstDash val="solid"/>
                  <a:miter/>
                </a:ln>
              </p:spPr>
              <p:txBody>
                <a:bodyPr rtlCol="0" anchor="ctr"/>
                <a:lstStyle/>
                <a:p>
                  <a:endParaRPr lang="en-GB"/>
                </a:p>
              </p:txBody>
            </p:sp>
            <p:sp>
              <p:nvSpPr>
                <p:cNvPr id="1842" name="Vrije vorm: vorm 1841">
                  <a:extLst>
                    <a:ext uri="{FF2B5EF4-FFF2-40B4-BE49-F238E27FC236}">
                      <a16:creationId xmlns:a16="http://schemas.microsoft.com/office/drawing/2014/main" id="{03307F03-D522-4B53-BE43-87536C0E02F5}"/>
                    </a:ext>
                  </a:extLst>
                </p:cNvPr>
                <p:cNvSpPr/>
                <p:nvPr/>
              </p:nvSpPr>
              <p:spPr>
                <a:xfrm>
                  <a:off x="4344564" y="3568526"/>
                  <a:ext cx="18304" cy="18423"/>
                </a:xfrm>
                <a:custGeom>
                  <a:avLst/>
                  <a:gdLst>
                    <a:gd name="connsiteX0" fmla="*/ 9840 w 18304"/>
                    <a:gd name="connsiteY0" fmla="*/ 31 h 18423"/>
                    <a:gd name="connsiteX1" fmla="*/ 18273 w 18304"/>
                    <a:gd name="connsiteY1" fmla="*/ 9959 h 18423"/>
                    <a:gd name="connsiteX2" fmla="*/ 8464 w 18304"/>
                    <a:gd name="connsiteY2" fmla="*/ 18392 h 18423"/>
                    <a:gd name="connsiteX3" fmla="*/ 31 w 18304"/>
                    <a:gd name="connsiteY3" fmla="*/ 8464 h 18423"/>
                    <a:gd name="connsiteX4" fmla="*/ 9840 w 18304"/>
                    <a:gd name="connsiteY4" fmla="*/ 3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3">
                      <a:moveTo>
                        <a:pt x="9840" y="31"/>
                      </a:moveTo>
                      <a:cubicBezTo>
                        <a:pt x="14864" y="450"/>
                        <a:pt x="18691" y="4876"/>
                        <a:pt x="18273" y="9959"/>
                      </a:cubicBezTo>
                      <a:cubicBezTo>
                        <a:pt x="17914" y="15043"/>
                        <a:pt x="13488" y="18811"/>
                        <a:pt x="8464" y="18392"/>
                      </a:cubicBezTo>
                      <a:cubicBezTo>
                        <a:pt x="3440" y="17974"/>
                        <a:pt x="-387" y="13548"/>
                        <a:pt x="31" y="8464"/>
                      </a:cubicBezTo>
                      <a:cubicBezTo>
                        <a:pt x="390" y="3440"/>
                        <a:pt x="4816" y="-387"/>
                        <a:pt x="9840" y="31"/>
                      </a:cubicBezTo>
                      <a:close/>
                    </a:path>
                  </a:pathLst>
                </a:custGeom>
                <a:grpFill/>
                <a:ln w="5978" cap="flat">
                  <a:noFill/>
                  <a:prstDash val="solid"/>
                  <a:miter/>
                </a:ln>
              </p:spPr>
              <p:txBody>
                <a:bodyPr rtlCol="0" anchor="ctr"/>
                <a:lstStyle/>
                <a:p>
                  <a:endParaRPr lang="en-GB"/>
                </a:p>
              </p:txBody>
            </p:sp>
            <p:sp>
              <p:nvSpPr>
                <p:cNvPr id="1843" name="Vrije vorm: vorm 1842">
                  <a:extLst>
                    <a:ext uri="{FF2B5EF4-FFF2-40B4-BE49-F238E27FC236}">
                      <a16:creationId xmlns:a16="http://schemas.microsoft.com/office/drawing/2014/main" id="{EE35F93E-6710-4D7B-A629-5898823705BA}"/>
                    </a:ext>
                  </a:extLst>
                </p:cNvPr>
                <p:cNvSpPr/>
                <p:nvPr/>
              </p:nvSpPr>
              <p:spPr>
                <a:xfrm>
                  <a:off x="4158451" y="3553634"/>
                  <a:ext cx="18296" cy="18423"/>
                </a:xfrm>
                <a:custGeom>
                  <a:avLst/>
                  <a:gdLst>
                    <a:gd name="connsiteX0" fmla="*/ 9832 w 18296"/>
                    <a:gd name="connsiteY0" fmla="*/ 31 h 18423"/>
                    <a:gd name="connsiteX1" fmla="*/ 24 w 18296"/>
                    <a:gd name="connsiteY1" fmla="*/ 8464 h 18423"/>
                    <a:gd name="connsiteX2" fmla="*/ 8457 w 18296"/>
                    <a:gd name="connsiteY2" fmla="*/ 18392 h 18423"/>
                    <a:gd name="connsiteX3" fmla="*/ 18265 w 18296"/>
                    <a:gd name="connsiteY3" fmla="*/ 9959 h 18423"/>
                    <a:gd name="connsiteX4" fmla="*/ 9832 w 18296"/>
                    <a:gd name="connsiteY4" fmla="*/ 3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23">
                      <a:moveTo>
                        <a:pt x="9832" y="31"/>
                      </a:moveTo>
                      <a:cubicBezTo>
                        <a:pt x="4808" y="-387"/>
                        <a:pt x="382" y="3440"/>
                        <a:pt x="24" y="8464"/>
                      </a:cubicBezTo>
                      <a:cubicBezTo>
                        <a:pt x="-335" y="13548"/>
                        <a:pt x="3433" y="17974"/>
                        <a:pt x="8457" y="18392"/>
                      </a:cubicBezTo>
                      <a:cubicBezTo>
                        <a:pt x="13480" y="18811"/>
                        <a:pt x="17906" y="14983"/>
                        <a:pt x="18265" y="9959"/>
                      </a:cubicBezTo>
                      <a:cubicBezTo>
                        <a:pt x="18683" y="4876"/>
                        <a:pt x="14916" y="450"/>
                        <a:pt x="9832" y="31"/>
                      </a:cubicBezTo>
                      <a:close/>
                    </a:path>
                  </a:pathLst>
                </a:custGeom>
                <a:grpFill/>
                <a:ln w="5978" cap="flat">
                  <a:noFill/>
                  <a:prstDash val="solid"/>
                  <a:miter/>
                </a:ln>
              </p:spPr>
              <p:txBody>
                <a:bodyPr rtlCol="0" anchor="ctr"/>
                <a:lstStyle/>
                <a:p>
                  <a:endParaRPr lang="en-GB"/>
                </a:p>
              </p:txBody>
            </p:sp>
          </p:grpSp>
          <p:grpSp>
            <p:nvGrpSpPr>
              <p:cNvPr id="1188" name="Graphic 3">
                <a:extLst>
                  <a:ext uri="{FF2B5EF4-FFF2-40B4-BE49-F238E27FC236}">
                    <a16:creationId xmlns:a16="http://schemas.microsoft.com/office/drawing/2014/main" id="{1DCAEE36-D3AD-41ED-9E3D-313A9229EEE4}"/>
                  </a:ext>
                </a:extLst>
              </p:cNvPr>
              <p:cNvGrpSpPr/>
              <p:nvPr/>
            </p:nvGrpSpPr>
            <p:grpSpPr>
              <a:xfrm>
                <a:off x="4607679" y="4639358"/>
                <a:ext cx="35765" cy="33541"/>
                <a:chOff x="4607679" y="4639358"/>
                <a:chExt cx="35765" cy="33541"/>
              </a:xfrm>
              <a:grpFill/>
            </p:grpSpPr>
            <p:sp>
              <p:nvSpPr>
                <p:cNvPr id="1838" name="Vrije vorm: vorm 1837">
                  <a:extLst>
                    <a:ext uri="{FF2B5EF4-FFF2-40B4-BE49-F238E27FC236}">
                      <a16:creationId xmlns:a16="http://schemas.microsoft.com/office/drawing/2014/main" id="{785E5D79-ED65-41D9-8E3A-51CD05A30666}"/>
                    </a:ext>
                  </a:extLst>
                </p:cNvPr>
                <p:cNvSpPr/>
                <p:nvPr/>
              </p:nvSpPr>
              <p:spPr>
                <a:xfrm>
                  <a:off x="4615462" y="4647120"/>
                  <a:ext cx="20155" cy="18061"/>
                </a:xfrm>
                <a:custGeom>
                  <a:avLst/>
                  <a:gdLst>
                    <a:gd name="connsiteX0" fmla="*/ 20155 w 20155"/>
                    <a:gd name="connsiteY0" fmla="*/ 2333 h 18061"/>
                    <a:gd name="connsiteX1" fmla="*/ 2033 w 20155"/>
                    <a:gd name="connsiteY1" fmla="*/ 18062 h 18061"/>
                    <a:gd name="connsiteX2" fmla="*/ 0 w 20155"/>
                    <a:gd name="connsiteY2" fmla="*/ 15729 h 18061"/>
                    <a:gd name="connsiteX3" fmla="*/ 18181 w 20155"/>
                    <a:gd name="connsiteY3" fmla="*/ 0 h 18061"/>
                  </a:gdLst>
                  <a:ahLst/>
                  <a:cxnLst>
                    <a:cxn ang="0">
                      <a:pos x="connsiteX0" y="connsiteY0"/>
                    </a:cxn>
                    <a:cxn ang="0">
                      <a:pos x="connsiteX1" y="connsiteY1"/>
                    </a:cxn>
                    <a:cxn ang="0">
                      <a:pos x="connsiteX2" y="connsiteY2"/>
                    </a:cxn>
                    <a:cxn ang="0">
                      <a:pos x="connsiteX3" y="connsiteY3"/>
                    </a:cxn>
                  </a:cxnLst>
                  <a:rect l="l" t="t" r="r" b="b"/>
                  <a:pathLst>
                    <a:path w="20155" h="18061">
                      <a:moveTo>
                        <a:pt x="20155" y="2333"/>
                      </a:moveTo>
                      <a:lnTo>
                        <a:pt x="2033" y="18062"/>
                      </a:lnTo>
                      <a:lnTo>
                        <a:pt x="0" y="15729"/>
                      </a:lnTo>
                      <a:lnTo>
                        <a:pt x="18181" y="0"/>
                      </a:lnTo>
                      <a:close/>
                    </a:path>
                  </a:pathLst>
                </a:custGeom>
                <a:grpFill/>
                <a:ln w="5978" cap="flat">
                  <a:noFill/>
                  <a:prstDash val="solid"/>
                  <a:miter/>
                </a:ln>
              </p:spPr>
              <p:txBody>
                <a:bodyPr rtlCol="0" anchor="ctr"/>
                <a:lstStyle/>
                <a:p>
                  <a:endParaRPr lang="en-GB"/>
                </a:p>
              </p:txBody>
            </p:sp>
            <p:sp>
              <p:nvSpPr>
                <p:cNvPr id="1839" name="Vrije vorm: vorm 1838">
                  <a:extLst>
                    <a:ext uri="{FF2B5EF4-FFF2-40B4-BE49-F238E27FC236}">
                      <a16:creationId xmlns:a16="http://schemas.microsoft.com/office/drawing/2014/main" id="{7E7ABA5D-16C7-4AD2-832F-AB78A2227239}"/>
                    </a:ext>
                  </a:extLst>
                </p:cNvPr>
                <p:cNvSpPr/>
                <p:nvPr/>
              </p:nvSpPr>
              <p:spPr>
                <a:xfrm>
                  <a:off x="4607679" y="4654534"/>
                  <a:ext cx="18301" cy="18365"/>
                </a:xfrm>
                <a:custGeom>
                  <a:avLst/>
                  <a:gdLst>
                    <a:gd name="connsiteX0" fmla="*/ 15139 w 18301"/>
                    <a:gd name="connsiteY0" fmla="*/ 16150 h 18365"/>
                    <a:gd name="connsiteX1" fmla="*/ 2221 w 18301"/>
                    <a:gd name="connsiteY1" fmla="*/ 15194 h 18365"/>
                    <a:gd name="connsiteX2" fmla="*/ 3118 w 18301"/>
                    <a:gd name="connsiteY2" fmla="*/ 2215 h 18365"/>
                    <a:gd name="connsiteX3" fmla="*/ 16037 w 18301"/>
                    <a:gd name="connsiteY3" fmla="*/ 3172 h 18365"/>
                    <a:gd name="connsiteX4" fmla="*/ 15139 w 18301"/>
                    <a:gd name="connsiteY4" fmla="*/ 1615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65">
                      <a:moveTo>
                        <a:pt x="15139" y="16150"/>
                      </a:moveTo>
                      <a:cubicBezTo>
                        <a:pt x="11312" y="19440"/>
                        <a:pt x="5510" y="19021"/>
                        <a:pt x="2221" y="15194"/>
                      </a:cubicBezTo>
                      <a:cubicBezTo>
                        <a:pt x="-1069" y="11306"/>
                        <a:pt x="-650" y="5505"/>
                        <a:pt x="3118" y="2215"/>
                      </a:cubicBezTo>
                      <a:cubicBezTo>
                        <a:pt x="6946" y="-1074"/>
                        <a:pt x="12747" y="-655"/>
                        <a:pt x="16037" y="3172"/>
                      </a:cubicBezTo>
                      <a:cubicBezTo>
                        <a:pt x="19386" y="7000"/>
                        <a:pt x="18967" y="12861"/>
                        <a:pt x="15139" y="16150"/>
                      </a:cubicBezTo>
                      <a:close/>
                    </a:path>
                  </a:pathLst>
                </a:custGeom>
                <a:grpFill/>
                <a:ln w="5978" cap="flat">
                  <a:noFill/>
                  <a:prstDash val="solid"/>
                  <a:miter/>
                </a:ln>
              </p:spPr>
              <p:txBody>
                <a:bodyPr rtlCol="0" anchor="ctr"/>
                <a:lstStyle/>
                <a:p>
                  <a:endParaRPr lang="en-GB"/>
                </a:p>
              </p:txBody>
            </p:sp>
            <p:sp>
              <p:nvSpPr>
                <p:cNvPr id="1840" name="Vrije vorm: vorm 1839">
                  <a:extLst>
                    <a:ext uri="{FF2B5EF4-FFF2-40B4-BE49-F238E27FC236}">
                      <a16:creationId xmlns:a16="http://schemas.microsoft.com/office/drawing/2014/main" id="{30E00CB7-64D8-4831-8F8A-6376B12669FC}"/>
                    </a:ext>
                  </a:extLst>
                </p:cNvPr>
                <p:cNvSpPr/>
                <p:nvPr/>
              </p:nvSpPr>
              <p:spPr>
                <a:xfrm>
                  <a:off x="4625098" y="4639358"/>
                  <a:ext cx="18346" cy="18434"/>
                </a:xfrm>
                <a:custGeom>
                  <a:avLst/>
                  <a:gdLst>
                    <a:gd name="connsiteX0" fmla="*/ 15184 w 18346"/>
                    <a:gd name="connsiteY0" fmla="*/ 16195 h 18434"/>
                    <a:gd name="connsiteX1" fmla="*/ 16081 w 18346"/>
                    <a:gd name="connsiteY1" fmla="*/ 3217 h 18434"/>
                    <a:gd name="connsiteX2" fmla="*/ 3162 w 18346"/>
                    <a:gd name="connsiteY2" fmla="*/ 2260 h 18434"/>
                    <a:gd name="connsiteX3" fmla="*/ 2265 w 18346"/>
                    <a:gd name="connsiteY3" fmla="*/ 15238 h 18434"/>
                    <a:gd name="connsiteX4" fmla="*/ 15184 w 18346"/>
                    <a:gd name="connsiteY4" fmla="*/ 1619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4">
                      <a:moveTo>
                        <a:pt x="15184" y="16195"/>
                      </a:moveTo>
                      <a:cubicBezTo>
                        <a:pt x="19011" y="12905"/>
                        <a:pt x="19430" y="7044"/>
                        <a:pt x="16081" y="3217"/>
                      </a:cubicBezTo>
                      <a:cubicBezTo>
                        <a:pt x="12791" y="-671"/>
                        <a:pt x="6990" y="-1089"/>
                        <a:pt x="3162" y="2260"/>
                      </a:cubicBezTo>
                      <a:cubicBezTo>
                        <a:pt x="-665" y="5549"/>
                        <a:pt x="-1084" y="11410"/>
                        <a:pt x="2265" y="15238"/>
                      </a:cubicBezTo>
                      <a:cubicBezTo>
                        <a:pt x="5555" y="19066"/>
                        <a:pt x="11356" y="19544"/>
                        <a:pt x="15184" y="16195"/>
                      </a:cubicBezTo>
                      <a:close/>
                    </a:path>
                  </a:pathLst>
                </a:custGeom>
                <a:grpFill/>
                <a:ln w="5978" cap="flat">
                  <a:noFill/>
                  <a:prstDash val="solid"/>
                  <a:miter/>
                </a:ln>
              </p:spPr>
              <p:txBody>
                <a:bodyPr rtlCol="0" anchor="ctr"/>
                <a:lstStyle/>
                <a:p>
                  <a:endParaRPr lang="en-GB"/>
                </a:p>
              </p:txBody>
            </p:sp>
          </p:grpSp>
          <p:grpSp>
            <p:nvGrpSpPr>
              <p:cNvPr id="1189" name="Graphic 3">
                <a:extLst>
                  <a:ext uri="{FF2B5EF4-FFF2-40B4-BE49-F238E27FC236}">
                    <a16:creationId xmlns:a16="http://schemas.microsoft.com/office/drawing/2014/main" id="{BD0711AA-8466-4DCD-8688-43FA278E5564}"/>
                  </a:ext>
                </a:extLst>
              </p:cNvPr>
              <p:cNvGrpSpPr/>
              <p:nvPr/>
            </p:nvGrpSpPr>
            <p:grpSpPr>
              <a:xfrm>
                <a:off x="4175939" y="3658567"/>
                <a:ext cx="233606" cy="18719"/>
                <a:chOff x="4175939" y="3658567"/>
                <a:chExt cx="233606" cy="18719"/>
              </a:xfrm>
              <a:grpFill/>
            </p:grpSpPr>
            <p:sp>
              <p:nvSpPr>
                <p:cNvPr id="1835" name="Vrije vorm: vorm 1834">
                  <a:extLst>
                    <a:ext uri="{FF2B5EF4-FFF2-40B4-BE49-F238E27FC236}">
                      <a16:creationId xmlns:a16="http://schemas.microsoft.com/office/drawing/2014/main" id="{11A7E815-91A4-4F8E-92E9-5815E85E7592}"/>
                    </a:ext>
                  </a:extLst>
                </p:cNvPr>
                <p:cNvSpPr/>
                <p:nvPr/>
              </p:nvSpPr>
              <p:spPr>
                <a:xfrm>
                  <a:off x="4184671" y="3666222"/>
                  <a:ext cx="216143" cy="3409"/>
                </a:xfrm>
                <a:custGeom>
                  <a:avLst/>
                  <a:gdLst>
                    <a:gd name="connsiteX0" fmla="*/ 216143 w 216143"/>
                    <a:gd name="connsiteY0" fmla="*/ 299 h 3409"/>
                    <a:gd name="connsiteX1" fmla="*/ 216143 w 216143"/>
                    <a:gd name="connsiteY1" fmla="*/ 3409 h 3409"/>
                    <a:gd name="connsiteX2" fmla="*/ 0 w 216143"/>
                    <a:gd name="connsiteY2" fmla="*/ 3050 h 3409"/>
                    <a:gd name="connsiteX3" fmla="*/ 0 w 216143"/>
                    <a:gd name="connsiteY3" fmla="*/ 0 h 3409"/>
                  </a:gdLst>
                  <a:ahLst/>
                  <a:cxnLst>
                    <a:cxn ang="0">
                      <a:pos x="connsiteX0" y="connsiteY0"/>
                    </a:cxn>
                    <a:cxn ang="0">
                      <a:pos x="connsiteX1" y="connsiteY1"/>
                    </a:cxn>
                    <a:cxn ang="0">
                      <a:pos x="connsiteX2" y="connsiteY2"/>
                    </a:cxn>
                    <a:cxn ang="0">
                      <a:pos x="connsiteX3" y="connsiteY3"/>
                    </a:cxn>
                  </a:cxnLst>
                  <a:rect l="l" t="t" r="r" b="b"/>
                  <a:pathLst>
                    <a:path w="216143" h="3409">
                      <a:moveTo>
                        <a:pt x="216143" y="299"/>
                      </a:moveTo>
                      <a:lnTo>
                        <a:pt x="216143" y="3409"/>
                      </a:lnTo>
                      <a:lnTo>
                        <a:pt x="0" y="3050"/>
                      </a:lnTo>
                      <a:lnTo>
                        <a:pt x="0" y="0"/>
                      </a:lnTo>
                      <a:close/>
                    </a:path>
                  </a:pathLst>
                </a:custGeom>
                <a:grpFill/>
                <a:ln w="5978" cap="flat">
                  <a:noFill/>
                  <a:prstDash val="solid"/>
                  <a:miter/>
                </a:ln>
              </p:spPr>
              <p:txBody>
                <a:bodyPr rtlCol="0" anchor="ctr"/>
                <a:lstStyle/>
                <a:p>
                  <a:endParaRPr lang="en-GB"/>
                </a:p>
              </p:txBody>
            </p:sp>
            <p:sp>
              <p:nvSpPr>
                <p:cNvPr id="1836" name="Vrije vorm: vorm 1835">
                  <a:extLst>
                    <a:ext uri="{FF2B5EF4-FFF2-40B4-BE49-F238E27FC236}">
                      <a16:creationId xmlns:a16="http://schemas.microsoft.com/office/drawing/2014/main" id="{442C0B65-BAC5-43C1-A67B-9918D254190A}"/>
                    </a:ext>
                  </a:extLst>
                </p:cNvPr>
                <p:cNvSpPr/>
                <p:nvPr/>
              </p:nvSpPr>
              <p:spPr>
                <a:xfrm>
                  <a:off x="4391185" y="3658866"/>
                  <a:ext cx="18360" cy="18420"/>
                </a:xfrm>
                <a:custGeom>
                  <a:avLst/>
                  <a:gdLst>
                    <a:gd name="connsiteX0" fmla="*/ 9150 w 18360"/>
                    <a:gd name="connsiteY0" fmla="*/ 0 h 18420"/>
                    <a:gd name="connsiteX1" fmla="*/ 18361 w 18360"/>
                    <a:gd name="connsiteY1" fmla="*/ 9210 h 18420"/>
                    <a:gd name="connsiteX2" fmla="*/ 9210 w 18360"/>
                    <a:gd name="connsiteY2" fmla="*/ 18421 h 18420"/>
                    <a:gd name="connsiteX3" fmla="*/ 0 w 18360"/>
                    <a:gd name="connsiteY3" fmla="*/ 9210 h 18420"/>
                    <a:gd name="connsiteX4" fmla="*/ 9150 w 18360"/>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9150" y="0"/>
                      </a:moveTo>
                      <a:cubicBezTo>
                        <a:pt x="14234" y="0"/>
                        <a:pt x="18301" y="4127"/>
                        <a:pt x="18361" y="9210"/>
                      </a:cubicBezTo>
                      <a:cubicBezTo>
                        <a:pt x="18361" y="14294"/>
                        <a:pt x="14294" y="18421"/>
                        <a:pt x="9210" y="18421"/>
                      </a:cubicBezTo>
                      <a:cubicBezTo>
                        <a:pt x="4127" y="18421"/>
                        <a:pt x="60" y="14294"/>
                        <a:pt x="0" y="9210"/>
                      </a:cubicBezTo>
                      <a:cubicBezTo>
                        <a:pt x="0" y="4127"/>
                        <a:pt x="4067" y="0"/>
                        <a:pt x="9150" y="0"/>
                      </a:cubicBezTo>
                      <a:close/>
                    </a:path>
                  </a:pathLst>
                </a:custGeom>
                <a:grpFill/>
                <a:ln w="5978" cap="flat">
                  <a:noFill/>
                  <a:prstDash val="solid"/>
                  <a:miter/>
                </a:ln>
              </p:spPr>
              <p:txBody>
                <a:bodyPr rtlCol="0" anchor="ctr"/>
                <a:lstStyle/>
                <a:p>
                  <a:endParaRPr lang="en-GB"/>
                </a:p>
              </p:txBody>
            </p:sp>
            <p:sp>
              <p:nvSpPr>
                <p:cNvPr id="1837" name="Vrije vorm: vorm 1836">
                  <a:extLst>
                    <a:ext uri="{FF2B5EF4-FFF2-40B4-BE49-F238E27FC236}">
                      <a16:creationId xmlns:a16="http://schemas.microsoft.com/office/drawing/2014/main" id="{D398AF19-92E7-4CD2-AB10-7058B8866547}"/>
                    </a:ext>
                  </a:extLst>
                </p:cNvPr>
                <p:cNvSpPr/>
                <p:nvPr/>
              </p:nvSpPr>
              <p:spPr>
                <a:xfrm>
                  <a:off x="4175939" y="3658567"/>
                  <a:ext cx="18360" cy="18420"/>
                </a:xfrm>
                <a:custGeom>
                  <a:avLst/>
                  <a:gdLst>
                    <a:gd name="connsiteX0" fmla="*/ 9150 w 18360"/>
                    <a:gd name="connsiteY0" fmla="*/ 0 h 18420"/>
                    <a:gd name="connsiteX1" fmla="*/ 0 w 18360"/>
                    <a:gd name="connsiteY1" fmla="*/ 9210 h 18420"/>
                    <a:gd name="connsiteX2" fmla="*/ 9210 w 18360"/>
                    <a:gd name="connsiteY2" fmla="*/ 18421 h 18420"/>
                    <a:gd name="connsiteX3" fmla="*/ 18360 w 18360"/>
                    <a:gd name="connsiteY3" fmla="*/ 9210 h 18420"/>
                    <a:gd name="connsiteX4" fmla="*/ 9150 w 18360"/>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9150" y="0"/>
                      </a:moveTo>
                      <a:cubicBezTo>
                        <a:pt x="4067" y="0"/>
                        <a:pt x="0" y="4127"/>
                        <a:pt x="0" y="9210"/>
                      </a:cubicBezTo>
                      <a:cubicBezTo>
                        <a:pt x="0" y="14294"/>
                        <a:pt x="4126" y="18421"/>
                        <a:pt x="9210" y="18421"/>
                      </a:cubicBezTo>
                      <a:cubicBezTo>
                        <a:pt x="14294" y="18421"/>
                        <a:pt x="18360" y="14294"/>
                        <a:pt x="18360" y="9210"/>
                      </a:cubicBezTo>
                      <a:cubicBezTo>
                        <a:pt x="18301" y="4127"/>
                        <a:pt x="14234" y="0"/>
                        <a:pt x="9150" y="0"/>
                      </a:cubicBezTo>
                      <a:close/>
                    </a:path>
                  </a:pathLst>
                </a:custGeom>
                <a:grpFill/>
                <a:ln w="5978" cap="flat">
                  <a:noFill/>
                  <a:prstDash val="solid"/>
                  <a:miter/>
                </a:ln>
              </p:spPr>
              <p:txBody>
                <a:bodyPr rtlCol="0" anchor="ctr"/>
                <a:lstStyle/>
                <a:p>
                  <a:endParaRPr lang="en-GB"/>
                </a:p>
              </p:txBody>
            </p:sp>
          </p:grpSp>
          <p:grpSp>
            <p:nvGrpSpPr>
              <p:cNvPr id="1190" name="Graphic 3">
                <a:extLst>
                  <a:ext uri="{FF2B5EF4-FFF2-40B4-BE49-F238E27FC236}">
                    <a16:creationId xmlns:a16="http://schemas.microsoft.com/office/drawing/2014/main" id="{1A8A0745-C058-48B3-89CE-1F2DF16986EA}"/>
                  </a:ext>
                </a:extLst>
              </p:cNvPr>
              <p:cNvGrpSpPr/>
              <p:nvPr/>
            </p:nvGrpSpPr>
            <p:grpSpPr>
              <a:xfrm>
                <a:off x="4208329" y="3690974"/>
                <a:ext cx="207924" cy="50973"/>
                <a:chOff x="4208329" y="3690974"/>
                <a:chExt cx="207924" cy="50973"/>
              </a:xfrm>
              <a:grpFill/>
            </p:grpSpPr>
            <p:sp>
              <p:nvSpPr>
                <p:cNvPr id="1832" name="Vrije vorm: vorm 1831">
                  <a:extLst>
                    <a:ext uri="{FF2B5EF4-FFF2-40B4-BE49-F238E27FC236}">
                      <a16:creationId xmlns:a16="http://schemas.microsoft.com/office/drawing/2014/main" id="{A3615EF9-81C7-4E7B-BE07-0A16E67AA76B}"/>
                    </a:ext>
                  </a:extLst>
                </p:cNvPr>
                <p:cNvSpPr/>
                <p:nvPr/>
              </p:nvSpPr>
              <p:spPr>
                <a:xfrm>
                  <a:off x="4216787" y="3698578"/>
                  <a:ext cx="191024" cy="35764"/>
                </a:xfrm>
                <a:custGeom>
                  <a:avLst/>
                  <a:gdLst>
                    <a:gd name="connsiteX0" fmla="*/ 190486 w 191024"/>
                    <a:gd name="connsiteY0" fmla="*/ 0 h 35764"/>
                    <a:gd name="connsiteX1" fmla="*/ 191024 w 191024"/>
                    <a:gd name="connsiteY1" fmla="*/ 3050 h 35764"/>
                    <a:gd name="connsiteX2" fmla="*/ 538 w 191024"/>
                    <a:gd name="connsiteY2" fmla="*/ 35765 h 35764"/>
                    <a:gd name="connsiteX3" fmla="*/ 0 w 191024"/>
                    <a:gd name="connsiteY3" fmla="*/ 32774 h 35764"/>
                  </a:gdLst>
                  <a:ahLst/>
                  <a:cxnLst>
                    <a:cxn ang="0">
                      <a:pos x="connsiteX0" y="connsiteY0"/>
                    </a:cxn>
                    <a:cxn ang="0">
                      <a:pos x="connsiteX1" y="connsiteY1"/>
                    </a:cxn>
                    <a:cxn ang="0">
                      <a:pos x="connsiteX2" y="connsiteY2"/>
                    </a:cxn>
                    <a:cxn ang="0">
                      <a:pos x="connsiteX3" y="connsiteY3"/>
                    </a:cxn>
                  </a:cxnLst>
                  <a:rect l="l" t="t" r="r" b="b"/>
                  <a:pathLst>
                    <a:path w="191024" h="35764">
                      <a:moveTo>
                        <a:pt x="190486" y="0"/>
                      </a:moveTo>
                      <a:lnTo>
                        <a:pt x="191024" y="3050"/>
                      </a:lnTo>
                      <a:lnTo>
                        <a:pt x="538" y="35765"/>
                      </a:lnTo>
                      <a:lnTo>
                        <a:pt x="0" y="32774"/>
                      </a:lnTo>
                      <a:close/>
                    </a:path>
                  </a:pathLst>
                </a:custGeom>
                <a:grpFill/>
                <a:ln w="5978" cap="flat">
                  <a:noFill/>
                  <a:prstDash val="solid"/>
                  <a:miter/>
                </a:ln>
              </p:spPr>
              <p:txBody>
                <a:bodyPr rtlCol="0" anchor="ctr"/>
                <a:lstStyle/>
                <a:p>
                  <a:endParaRPr lang="en-GB"/>
                </a:p>
              </p:txBody>
            </p:sp>
            <p:sp>
              <p:nvSpPr>
                <p:cNvPr id="1833" name="Vrije vorm: vorm 1832">
                  <a:extLst>
                    <a:ext uri="{FF2B5EF4-FFF2-40B4-BE49-F238E27FC236}">
                      <a16:creationId xmlns:a16="http://schemas.microsoft.com/office/drawing/2014/main" id="{8E5073F4-0B0C-47F0-ADA6-94F6494B6F78}"/>
                    </a:ext>
                  </a:extLst>
                </p:cNvPr>
                <p:cNvSpPr/>
                <p:nvPr/>
              </p:nvSpPr>
              <p:spPr>
                <a:xfrm>
                  <a:off x="4208329" y="3723509"/>
                  <a:ext cx="18352" cy="18437"/>
                </a:xfrm>
                <a:custGeom>
                  <a:avLst/>
                  <a:gdLst>
                    <a:gd name="connsiteX0" fmla="*/ 10731 w 18352"/>
                    <a:gd name="connsiteY0" fmla="*/ 18310 h 18437"/>
                    <a:gd name="connsiteX1" fmla="*/ 145 w 18352"/>
                    <a:gd name="connsiteY1" fmla="*/ 10774 h 18437"/>
                    <a:gd name="connsiteX2" fmla="*/ 7621 w 18352"/>
                    <a:gd name="connsiteY2" fmla="*/ 128 h 18437"/>
                    <a:gd name="connsiteX3" fmla="*/ 18207 w 18352"/>
                    <a:gd name="connsiteY3" fmla="*/ 7664 h 18437"/>
                    <a:gd name="connsiteX4" fmla="*/ 10731 w 18352"/>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37">
                      <a:moveTo>
                        <a:pt x="10731" y="18310"/>
                      </a:moveTo>
                      <a:cubicBezTo>
                        <a:pt x="5767" y="19147"/>
                        <a:pt x="983" y="15798"/>
                        <a:pt x="145" y="10774"/>
                      </a:cubicBezTo>
                      <a:cubicBezTo>
                        <a:pt x="-752" y="5750"/>
                        <a:pt x="2598" y="1025"/>
                        <a:pt x="7621" y="128"/>
                      </a:cubicBezTo>
                      <a:cubicBezTo>
                        <a:pt x="12585" y="-709"/>
                        <a:pt x="17370" y="2640"/>
                        <a:pt x="18207" y="7664"/>
                      </a:cubicBezTo>
                      <a:cubicBezTo>
                        <a:pt x="19104" y="12748"/>
                        <a:pt x="15755" y="17472"/>
                        <a:pt x="10731" y="18310"/>
                      </a:cubicBezTo>
                      <a:close/>
                    </a:path>
                  </a:pathLst>
                </a:custGeom>
                <a:grpFill/>
                <a:ln w="5978" cap="flat">
                  <a:noFill/>
                  <a:prstDash val="solid"/>
                  <a:miter/>
                </a:ln>
              </p:spPr>
              <p:txBody>
                <a:bodyPr rtlCol="0" anchor="ctr"/>
                <a:lstStyle/>
                <a:p>
                  <a:endParaRPr lang="en-GB"/>
                </a:p>
              </p:txBody>
            </p:sp>
            <p:sp>
              <p:nvSpPr>
                <p:cNvPr id="1834" name="Vrije vorm: vorm 1833">
                  <a:extLst>
                    <a:ext uri="{FF2B5EF4-FFF2-40B4-BE49-F238E27FC236}">
                      <a16:creationId xmlns:a16="http://schemas.microsoft.com/office/drawing/2014/main" id="{C6AEA108-C1CB-426A-8B69-E387005983E9}"/>
                    </a:ext>
                  </a:extLst>
                </p:cNvPr>
                <p:cNvSpPr/>
                <p:nvPr/>
              </p:nvSpPr>
              <p:spPr>
                <a:xfrm>
                  <a:off x="4397935" y="3690974"/>
                  <a:ext cx="18318" cy="18437"/>
                </a:xfrm>
                <a:custGeom>
                  <a:avLst/>
                  <a:gdLst>
                    <a:gd name="connsiteX0" fmla="*/ 10714 w 18318"/>
                    <a:gd name="connsiteY0" fmla="*/ 18310 h 18437"/>
                    <a:gd name="connsiteX1" fmla="*/ 18190 w 18318"/>
                    <a:gd name="connsiteY1" fmla="*/ 7664 h 18437"/>
                    <a:gd name="connsiteX2" fmla="*/ 7604 w 18318"/>
                    <a:gd name="connsiteY2" fmla="*/ 128 h 18437"/>
                    <a:gd name="connsiteX3" fmla="*/ 128 w 18318"/>
                    <a:gd name="connsiteY3" fmla="*/ 10774 h 18437"/>
                    <a:gd name="connsiteX4" fmla="*/ 10714 w 18318"/>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7">
                      <a:moveTo>
                        <a:pt x="10714" y="18310"/>
                      </a:moveTo>
                      <a:cubicBezTo>
                        <a:pt x="15678" y="17472"/>
                        <a:pt x="19028" y="12688"/>
                        <a:pt x="18190" y="7664"/>
                      </a:cubicBezTo>
                      <a:cubicBezTo>
                        <a:pt x="17293" y="2640"/>
                        <a:pt x="12568" y="-709"/>
                        <a:pt x="7604" y="128"/>
                      </a:cubicBezTo>
                      <a:cubicBezTo>
                        <a:pt x="2640" y="966"/>
                        <a:pt x="-709" y="5750"/>
                        <a:pt x="128" y="10774"/>
                      </a:cubicBezTo>
                      <a:cubicBezTo>
                        <a:pt x="1025" y="15798"/>
                        <a:pt x="5750" y="19147"/>
                        <a:pt x="10714" y="18310"/>
                      </a:cubicBezTo>
                      <a:close/>
                    </a:path>
                  </a:pathLst>
                </a:custGeom>
                <a:grpFill/>
                <a:ln w="5978" cap="flat">
                  <a:noFill/>
                  <a:prstDash val="solid"/>
                  <a:miter/>
                </a:ln>
              </p:spPr>
              <p:txBody>
                <a:bodyPr rtlCol="0" anchor="ctr"/>
                <a:lstStyle/>
                <a:p>
                  <a:endParaRPr lang="en-GB"/>
                </a:p>
              </p:txBody>
            </p:sp>
          </p:grpSp>
          <p:grpSp>
            <p:nvGrpSpPr>
              <p:cNvPr id="1191" name="Graphic 3">
                <a:extLst>
                  <a:ext uri="{FF2B5EF4-FFF2-40B4-BE49-F238E27FC236}">
                    <a16:creationId xmlns:a16="http://schemas.microsoft.com/office/drawing/2014/main" id="{4A641080-A9C3-4708-A3AE-F99C684C71B8}"/>
                  </a:ext>
                </a:extLst>
              </p:cNvPr>
              <p:cNvGrpSpPr/>
              <p:nvPr/>
            </p:nvGrpSpPr>
            <p:grpSpPr>
              <a:xfrm>
                <a:off x="4403791" y="4195397"/>
                <a:ext cx="181003" cy="105020"/>
                <a:chOff x="4403791" y="4195397"/>
                <a:chExt cx="181003" cy="105020"/>
              </a:xfrm>
              <a:grpFill/>
            </p:grpSpPr>
            <p:sp>
              <p:nvSpPr>
                <p:cNvPr id="1829" name="Vrije vorm: vorm 1828">
                  <a:extLst>
                    <a:ext uri="{FF2B5EF4-FFF2-40B4-BE49-F238E27FC236}">
                      <a16:creationId xmlns:a16="http://schemas.microsoft.com/office/drawing/2014/main" id="{586D5651-3767-4836-B915-3A9BE55F58A4}"/>
                    </a:ext>
                  </a:extLst>
                </p:cNvPr>
                <p:cNvSpPr/>
                <p:nvPr/>
              </p:nvSpPr>
              <p:spPr>
                <a:xfrm>
                  <a:off x="4411818" y="4203052"/>
                  <a:ext cx="164948" cy="89710"/>
                </a:xfrm>
                <a:custGeom>
                  <a:avLst/>
                  <a:gdLst>
                    <a:gd name="connsiteX0" fmla="*/ 164948 w 164948"/>
                    <a:gd name="connsiteY0" fmla="*/ 2691 h 89710"/>
                    <a:gd name="connsiteX1" fmla="*/ 1436 w 164948"/>
                    <a:gd name="connsiteY1" fmla="*/ 89711 h 89710"/>
                    <a:gd name="connsiteX2" fmla="*/ 0 w 164948"/>
                    <a:gd name="connsiteY2" fmla="*/ 87019 h 89710"/>
                    <a:gd name="connsiteX3" fmla="*/ 163513 w 164948"/>
                    <a:gd name="connsiteY3" fmla="*/ 0 h 89710"/>
                  </a:gdLst>
                  <a:ahLst/>
                  <a:cxnLst>
                    <a:cxn ang="0">
                      <a:pos x="connsiteX0" y="connsiteY0"/>
                    </a:cxn>
                    <a:cxn ang="0">
                      <a:pos x="connsiteX1" y="connsiteY1"/>
                    </a:cxn>
                    <a:cxn ang="0">
                      <a:pos x="connsiteX2" y="connsiteY2"/>
                    </a:cxn>
                    <a:cxn ang="0">
                      <a:pos x="connsiteX3" y="connsiteY3"/>
                    </a:cxn>
                  </a:cxnLst>
                  <a:rect l="l" t="t" r="r" b="b"/>
                  <a:pathLst>
                    <a:path w="164948" h="89710">
                      <a:moveTo>
                        <a:pt x="164948" y="2691"/>
                      </a:moveTo>
                      <a:lnTo>
                        <a:pt x="1436" y="89711"/>
                      </a:lnTo>
                      <a:lnTo>
                        <a:pt x="0" y="87019"/>
                      </a:lnTo>
                      <a:lnTo>
                        <a:pt x="163513" y="0"/>
                      </a:lnTo>
                      <a:close/>
                    </a:path>
                  </a:pathLst>
                </a:custGeom>
                <a:grpFill/>
                <a:ln w="5978" cap="flat">
                  <a:noFill/>
                  <a:prstDash val="solid"/>
                  <a:miter/>
                </a:ln>
              </p:spPr>
              <p:txBody>
                <a:bodyPr rtlCol="0" anchor="ctr"/>
                <a:lstStyle/>
                <a:p>
                  <a:endParaRPr lang="en-GB"/>
                </a:p>
              </p:txBody>
            </p:sp>
            <p:sp>
              <p:nvSpPr>
                <p:cNvPr id="1830" name="Vrije vorm: vorm 1829">
                  <a:extLst>
                    <a:ext uri="{FF2B5EF4-FFF2-40B4-BE49-F238E27FC236}">
                      <a16:creationId xmlns:a16="http://schemas.microsoft.com/office/drawing/2014/main" id="{4681B98F-7C1D-4128-AE0B-C0710C643563}"/>
                    </a:ext>
                  </a:extLst>
                </p:cNvPr>
                <p:cNvSpPr/>
                <p:nvPr/>
              </p:nvSpPr>
              <p:spPr>
                <a:xfrm>
                  <a:off x="4403791" y="4281998"/>
                  <a:ext cx="18315" cy="18420"/>
                </a:xfrm>
                <a:custGeom>
                  <a:avLst/>
                  <a:gdLst>
                    <a:gd name="connsiteX0" fmla="*/ 13470 w 18315"/>
                    <a:gd name="connsiteY0" fmla="*/ 17344 h 18420"/>
                    <a:gd name="connsiteX1" fmla="*/ 1090 w 18315"/>
                    <a:gd name="connsiteY1" fmla="*/ 13516 h 18420"/>
                    <a:gd name="connsiteX2" fmla="*/ 4858 w 18315"/>
                    <a:gd name="connsiteY2" fmla="*/ 1076 h 18420"/>
                    <a:gd name="connsiteX3" fmla="*/ 17238 w 18315"/>
                    <a:gd name="connsiteY3" fmla="*/ 4904 h 18420"/>
                    <a:gd name="connsiteX4" fmla="*/ 13470 w 18315"/>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0">
                      <a:moveTo>
                        <a:pt x="13470" y="17344"/>
                      </a:moveTo>
                      <a:cubicBezTo>
                        <a:pt x="8984" y="19736"/>
                        <a:pt x="3422" y="18002"/>
                        <a:pt x="1090" y="13516"/>
                      </a:cubicBezTo>
                      <a:cubicBezTo>
                        <a:pt x="-1303" y="9031"/>
                        <a:pt x="372" y="3469"/>
                        <a:pt x="4858" y="1076"/>
                      </a:cubicBezTo>
                      <a:cubicBezTo>
                        <a:pt x="9343" y="-1316"/>
                        <a:pt x="14845" y="419"/>
                        <a:pt x="17238" y="4904"/>
                      </a:cubicBezTo>
                      <a:cubicBezTo>
                        <a:pt x="19630" y="9390"/>
                        <a:pt x="17896" y="14952"/>
                        <a:pt x="13470" y="17344"/>
                      </a:cubicBezTo>
                      <a:close/>
                    </a:path>
                  </a:pathLst>
                </a:custGeom>
                <a:grpFill/>
                <a:ln w="5978" cap="flat">
                  <a:noFill/>
                  <a:prstDash val="solid"/>
                  <a:miter/>
                </a:ln>
              </p:spPr>
              <p:txBody>
                <a:bodyPr rtlCol="0" anchor="ctr"/>
                <a:lstStyle/>
                <a:p>
                  <a:endParaRPr lang="en-GB"/>
                </a:p>
              </p:txBody>
            </p:sp>
            <p:sp>
              <p:nvSpPr>
                <p:cNvPr id="1831" name="Vrije vorm: vorm 1830">
                  <a:extLst>
                    <a:ext uri="{FF2B5EF4-FFF2-40B4-BE49-F238E27FC236}">
                      <a16:creationId xmlns:a16="http://schemas.microsoft.com/office/drawing/2014/main" id="{46DA8BC1-BBA9-4ABF-844D-154C566844F5}"/>
                    </a:ext>
                  </a:extLst>
                </p:cNvPr>
                <p:cNvSpPr/>
                <p:nvPr/>
              </p:nvSpPr>
              <p:spPr>
                <a:xfrm>
                  <a:off x="4566467" y="4195397"/>
                  <a:ext cx="18327" cy="18420"/>
                </a:xfrm>
                <a:custGeom>
                  <a:avLst/>
                  <a:gdLst>
                    <a:gd name="connsiteX0" fmla="*/ 13470 w 18327"/>
                    <a:gd name="connsiteY0" fmla="*/ 17344 h 18420"/>
                    <a:gd name="connsiteX1" fmla="*/ 17238 w 18327"/>
                    <a:gd name="connsiteY1" fmla="*/ 4904 h 18420"/>
                    <a:gd name="connsiteX2" fmla="*/ 4858 w 18327"/>
                    <a:gd name="connsiteY2" fmla="*/ 1076 h 18420"/>
                    <a:gd name="connsiteX3" fmla="*/ 1090 w 18327"/>
                    <a:gd name="connsiteY3" fmla="*/ 13516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17956" y="14952"/>
                        <a:pt x="19630" y="9389"/>
                        <a:pt x="17238" y="4904"/>
                      </a:cubicBezTo>
                      <a:cubicBezTo>
                        <a:pt x="14845" y="418"/>
                        <a:pt x="9283" y="-1316"/>
                        <a:pt x="4858" y="1076"/>
                      </a:cubicBezTo>
                      <a:cubicBezTo>
                        <a:pt x="372" y="3469"/>
                        <a:pt x="-1303" y="9031"/>
                        <a:pt x="1090" y="13516"/>
                      </a:cubicBezTo>
                      <a:cubicBezTo>
                        <a:pt x="3482" y="18002"/>
                        <a:pt x="9044" y="19736"/>
                        <a:pt x="13470" y="17344"/>
                      </a:cubicBezTo>
                      <a:close/>
                    </a:path>
                  </a:pathLst>
                </a:custGeom>
                <a:grpFill/>
                <a:ln w="5978" cap="flat">
                  <a:noFill/>
                  <a:prstDash val="solid"/>
                  <a:miter/>
                </a:ln>
              </p:spPr>
              <p:txBody>
                <a:bodyPr rtlCol="0" anchor="ctr"/>
                <a:lstStyle/>
                <a:p>
                  <a:endParaRPr lang="en-GB"/>
                </a:p>
              </p:txBody>
            </p:sp>
          </p:grpSp>
          <p:grpSp>
            <p:nvGrpSpPr>
              <p:cNvPr id="1192" name="Graphic 3">
                <a:extLst>
                  <a:ext uri="{FF2B5EF4-FFF2-40B4-BE49-F238E27FC236}">
                    <a16:creationId xmlns:a16="http://schemas.microsoft.com/office/drawing/2014/main" id="{6FBA8911-1D1D-459C-AF52-45F385654F01}"/>
                  </a:ext>
                </a:extLst>
              </p:cNvPr>
              <p:cNvGrpSpPr/>
              <p:nvPr/>
            </p:nvGrpSpPr>
            <p:grpSpPr>
              <a:xfrm>
                <a:off x="4149462" y="3570130"/>
                <a:ext cx="213426" cy="37044"/>
                <a:chOff x="4149462" y="3570130"/>
                <a:chExt cx="213426" cy="37044"/>
              </a:xfrm>
              <a:grpFill/>
            </p:grpSpPr>
            <p:sp>
              <p:nvSpPr>
                <p:cNvPr id="1826" name="Vrije vorm: vorm 1825">
                  <a:extLst>
                    <a:ext uri="{FF2B5EF4-FFF2-40B4-BE49-F238E27FC236}">
                      <a16:creationId xmlns:a16="http://schemas.microsoft.com/office/drawing/2014/main" id="{8068E21F-0276-4130-9355-3D4D54C15C71}"/>
                    </a:ext>
                  </a:extLst>
                </p:cNvPr>
                <p:cNvSpPr/>
                <p:nvPr/>
              </p:nvSpPr>
              <p:spPr>
                <a:xfrm>
                  <a:off x="4158056" y="3577767"/>
                  <a:ext cx="196287" cy="21769"/>
                </a:xfrm>
                <a:custGeom>
                  <a:avLst/>
                  <a:gdLst>
                    <a:gd name="connsiteX0" fmla="*/ 195988 w 196287"/>
                    <a:gd name="connsiteY0" fmla="*/ 0 h 21769"/>
                    <a:gd name="connsiteX1" fmla="*/ 196287 w 196287"/>
                    <a:gd name="connsiteY1" fmla="*/ 3050 h 21769"/>
                    <a:gd name="connsiteX2" fmla="*/ 299 w 196287"/>
                    <a:gd name="connsiteY2" fmla="*/ 21770 h 21769"/>
                    <a:gd name="connsiteX3" fmla="*/ 0 w 196287"/>
                    <a:gd name="connsiteY3" fmla="*/ 18720 h 21769"/>
                  </a:gdLst>
                  <a:ahLst/>
                  <a:cxnLst>
                    <a:cxn ang="0">
                      <a:pos x="connsiteX0" y="connsiteY0"/>
                    </a:cxn>
                    <a:cxn ang="0">
                      <a:pos x="connsiteX1" y="connsiteY1"/>
                    </a:cxn>
                    <a:cxn ang="0">
                      <a:pos x="connsiteX2" y="connsiteY2"/>
                    </a:cxn>
                    <a:cxn ang="0">
                      <a:pos x="connsiteX3" y="connsiteY3"/>
                    </a:cxn>
                  </a:cxnLst>
                  <a:rect l="l" t="t" r="r" b="b"/>
                  <a:pathLst>
                    <a:path w="196287" h="21769">
                      <a:moveTo>
                        <a:pt x="195988" y="0"/>
                      </a:moveTo>
                      <a:lnTo>
                        <a:pt x="196287" y="3050"/>
                      </a:lnTo>
                      <a:lnTo>
                        <a:pt x="299" y="21770"/>
                      </a:lnTo>
                      <a:lnTo>
                        <a:pt x="0" y="18720"/>
                      </a:lnTo>
                      <a:close/>
                    </a:path>
                  </a:pathLst>
                </a:custGeom>
                <a:grpFill/>
                <a:ln w="5978" cap="flat">
                  <a:noFill/>
                  <a:prstDash val="solid"/>
                  <a:miter/>
                </a:ln>
              </p:spPr>
              <p:txBody>
                <a:bodyPr rtlCol="0" anchor="ctr"/>
                <a:lstStyle/>
                <a:p>
                  <a:endParaRPr lang="en-GB"/>
                </a:p>
              </p:txBody>
            </p:sp>
            <p:sp>
              <p:nvSpPr>
                <p:cNvPr id="1827" name="Vrije vorm: vorm 1826">
                  <a:extLst>
                    <a:ext uri="{FF2B5EF4-FFF2-40B4-BE49-F238E27FC236}">
                      <a16:creationId xmlns:a16="http://schemas.microsoft.com/office/drawing/2014/main" id="{7E2F6212-DB23-4C46-B453-F78E64F1DFBA}"/>
                    </a:ext>
                  </a:extLst>
                </p:cNvPr>
                <p:cNvSpPr/>
                <p:nvPr/>
              </p:nvSpPr>
              <p:spPr>
                <a:xfrm>
                  <a:off x="4149462" y="3588730"/>
                  <a:ext cx="18335" cy="18443"/>
                </a:xfrm>
                <a:custGeom>
                  <a:avLst/>
                  <a:gdLst>
                    <a:gd name="connsiteX0" fmla="*/ 10090 w 18335"/>
                    <a:gd name="connsiteY0" fmla="*/ 18402 h 18443"/>
                    <a:gd name="connsiteX1" fmla="*/ 42 w 18335"/>
                    <a:gd name="connsiteY1" fmla="*/ 10089 h 18443"/>
                    <a:gd name="connsiteX2" fmla="*/ 8236 w 18335"/>
                    <a:gd name="connsiteY2" fmla="*/ 42 h 18443"/>
                    <a:gd name="connsiteX3" fmla="*/ 18283 w 18335"/>
                    <a:gd name="connsiteY3" fmla="*/ 8355 h 18443"/>
                    <a:gd name="connsiteX4" fmla="*/ 10090 w 1833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3">
                      <a:moveTo>
                        <a:pt x="10090" y="18402"/>
                      </a:moveTo>
                      <a:cubicBezTo>
                        <a:pt x="5066" y="18881"/>
                        <a:pt x="581" y="15173"/>
                        <a:pt x="42" y="10089"/>
                      </a:cubicBezTo>
                      <a:cubicBezTo>
                        <a:pt x="-436" y="5005"/>
                        <a:pt x="3212" y="520"/>
                        <a:pt x="8236" y="42"/>
                      </a:cubicBezTo>
                      <a:cubicBezTo>
                        <a:pt x="13260" y="-437"/>
                        <a:pt x="17745" y="3271"/>
                        <a:pt x="18283" y="8355"/>
                      </a:cubicBezTo>
                      <a:cubicBezTo>
                        <a:pt x="18822" y="13438"/>
                        <a:pt x="15114" y="17924"/>
                        <a:pt x="10090" y="18402"/>
                      </a:cubicBezTo>
                      <a:close/>
                    </a:path>
                  </a:pathLst>
                </a:custGeom>
                <a:grpFill/>
                <a:ln w="5978" cap="flat">
                  <a:noFill/>
                  <a:prstDash val="solid"/>
                  <a:miter/>
                </a:ln>
              </p:spPr>
              <p:txBody>
                <a:bodyPr rtlCol="0" anchor="ctr"/>
                <a:lstStyle/>
                <a:p>
                  <a:endParaRPr lang="en-GB"/>
                </a:p>
              </p:txBody>
            </p:sp>
            <p:sp>
              <p:nvSpPr>
                <p:cNvPr id="1828" name="Vrije vorm: vorm 1827">
                  <a:extLst>
                    <a:ext uri="{FF2B5EF4-FFF2-40B4-BE49-F238E27FC236}">
                      <a16:creationId xmlns:a16="http://schemas.microsoft.com/office/drawing/2014/main" id="{9E5DCCED-F915-4586-AF44-3FC310C9EBA8}"/>
                    </a:ext>
                  </a:extLst>
                </p:cNvPr>
                <p:cNvSpPr/>
                <p:nvPr/>
              </p:nvSpPr>
              <p:spPr>
                <a:xfrm>
                  <a:off x="4344543" y="3570130"/>
                  <a:ext cx="18345" cy="18443"/>
                </a:xfrm>
                <a:custGeom>
                  <a:avLst/>
                  <a:gdLst>
                    <a:gd name="connsiteX0" fmla="*/ 10099 w 18345"/>
                    <a:gd name="connsiteY0" fmla="*/ 18402 h 18443"/>
                    <a:gd name="connsiteX1" fmla="*/ 18293 w 18345"/>
                    <a:gd name="connsiteY1" fmla="*/ 8355 h 18443"/>
                    <a:gd name="connsiteX2" fmla="*/ 8245 w 18345"/>
                    <a:gd name="connsiteY2" fmla="*/ 42 h 18443"/>
                    <a:gd name="connsiteX3" fmla="*/ 52 w 18345"/>
                    <a:gd name="connsiteY3" fmla="*/ 10089 h 18443"/>
                    <a:gd name="connsiteX4" fmla="*/ 10099 w 1834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3">
                      <a:moveTo>
                        <a:pt x="10099" y="18402"/>
                      </a:moveTo>
                      <a:cubicBezTo>
                        <a:pt x="15123" y="17924"/>
                        <a:pt x="18831" y="13438"/>
                        <a:pt x="18293" y="8355"/>
                      </a:cubicBezTo>
                      <a:cubicBezTo>
                        <a:pt x="17815" y="3271"/>
                        <a:pt x="13329" y="-437"/>
                        <a:pt x="8245" y="42"/>
                      </a:cubicBezTo>
                      <a:cubicBezTo>
                        <a:pt x="3222" y="520"/>
                        <a:pt x="-486" y="5006"/>
                        <a:pt x="52" y="10089"/>
                      </a:cubicBezTo>
                      <a:cubicBezTo>
                        <a:pt x="590" y="15173"/>
                        <a:pt x="5076" y="18881"/>
                        <a:pt x="10099" y="18402"/>
                      </a:cubicBezTo>
                      <a:close/>
                    </a:path>
                  </a:pathLst>
                </a:custGeom>
                <a:grpFill/>
                <a:ln w="5978" cap="flat">
                  <a:noFill/>
                  <a:prstDash val="solid"/>
                  <a:miter/>
                </a:ln>
              </p:spPr>
              <p:txBody>
                <a:bodyPr rtlCol="0" anchor="ctr"/>
                <a:lstStyle/>
                <a:p>
                  <a:endParaRPr lang="en-GB"/>
                </a:p>
              </p:txBody>
            </p:sp>
          </p:grpSp>
          <p:grpSp>
            <p:nvGrpSpPr>
              <p:cNvPr id="1193" name="Graphic 3">
                <a:extLst>
                  <a:ext uri="{FF2B5EF4-FFF2-40B4-BE49-F238E27FC236}">
                    <a16:creationId xmlns:a16="http://schemas.microsoft.com/office/drawing/2014/main" id="{3369F084-9B20-485A-A63C-DCF5266CFB54}"/>
                  </a:ext>
                </a:extLst>
              </p:cNvPr>
              <p:cNvGrpSpPr/>
              <p:nvPr/>
            </p:nvGrpSpPr>
            <p:grpSpPr>
              <a:xfrm>
                <a:off x="4176397" y="3630486"/>
                <a:ext cx="219186" cy="45205"/>
                <a:chOff x="4176397" y="3630486"/>
                <a:chExt cx="219186" cy="45205"/>
              </a:xfrm>
              <a:grpFill/>
            </p:grpSpPr>
            <p:sp>
              <p:nvSpPr>
                <p:cNvPr id="1823" name="Vrije vorm: vorm 1822">
                  <a:extLst>
                    <a:ext uri="{FF2B5EF4-FFF2-40B4-BE49-F238E27FC236}">
                      <a16:creationId xmlns:a16="http://schemas.microsoft.com/office/drawing/2014/main" id="{8768564B-F646-4721-83DD-407EA7B07843}"/>
                    </a:ext>
                  </a:extLst>
                </p:cNvPr>
                <p:cNvSpPr/>
                <p:nvPr/>
              </p:nvSpPr>
              <p:spPr>
                <a:xfrm>
                  <a:off x="4184910" y="3638113"/>
                  <a:ext cx="202208" cy="29903"/>
                </a:xfrm>
                <a:custGeom>
                  <a:avLst/>
                  <a:gdLst>
                    <a:gd name="connsiteX0" fmla="*/ 201790 w 202208"/>
                    <a:gd name="connsiteY0" fmla="*/ 0 h 29903"/>
                    <a:gd name="connsiteX1" fmla="*/ 202208 w 202208"/>
                    <a:gd name="connsiteY1" fmla="*/ 2990 h 29903"/>
                    <a:gd name="connsiteX2" fmla="*/ 418 w 202208"/>
                    <a:gd name="connsiteY2" fmla="*/ 29904 h 29903"/>
                    <a:gd name="connsiteX3" fmla="*/ 0 w 202208"/>
                    <a:gd name="connsiteY3" fmla="*/ 26913 h 29903"/>
                  </a:gdLst>
                  <a:ahLst/>
                  <a:cxnLst>
                    <a:cxn ang="0">
                      <a:pos x="connsiteX0" y="connsiteY0"/>
                    </a:cxn>
                    <a:cxn ang="0">
                      <a:pos x="connsiteX1" y="connsiteY1"/>
                    </a:cxn>
                    <a:cxn ang="0">
                      <a:pos x="connsiteX2" y="connsiteY2"/>
                    </a:cxn>
                    <a:cxn ang="0">
                      <a:pos x="connsiteX3" y="connsiteY3"/>
                    </a:cxn>
                  </a:cxnLst>
                  <a:rect l="l" t="t" r="r" b="b"/>
                  <a:pathLst>
                    <a:path w="202208" h="29903">
                      <a:moveTo>
                        <a:pt x="201790" y="0"/>
                      </a:moveTo>
                      <a:lnTo>
                        <a:pt x="202208" y="2990"/>
                      </a:lnTo>
                      <a:lnTo>
                        <a:pt x="418" y="29904"/>
                      </a:lnTo>
                      <a:lnTo>
                        <a:pt x="0" y="26913"/>
                      </a:lnTo>
                      <a:close/>
                    </a:path>
                  </a:pathLst>
                </a:custGeom>
                <a:grpFill/>
                <a:ln w="5978" cap="flat">
                  <a:noFill/>
                  <a:prstDash val="solid"/>
                  <a:miter/>
                </a:ln>
              </p:spPr>
              <p:txBody>
                <a:bodyPr rtlCol="0" anchor="ctr"/>
                <a:lstStyle/>
                <a:p>
                  <a:endParaRPr lang="en-GB"/>
                </a:p>
              </p:txBody>
            </p:sp>
            <p:sp>
              <p:nvSpPr>
                <p:cNvPr id="1824" name="Vrije vorm: vorm 1823">
                  <a:extLst>
                    <a:ext uri="{FF2B5EF4-FFF2-40B4-BE49-F238E27FC236}">
                      <a16:creationId xmlns:a16="http://schemas.microsoft.com/office/drawing/2014/main" id="{BC1F8105-226E-4551-BD4F-A68BA42CF48C}"/>
                    </a:ext>
                  </a:extLst>
                </p:cNvPr>
                <p:cNvSpPr/>
                <p:nvPr/>
              </p:nvSpPr>
              <p:spPr>
                <a:xfrm>
                  <a:off x="4176397" y="3657292"/>
                  <a:ext cx="18340" cy="18398"/>
                </a:xfrm>
                <a:custGeom>
                  <a:avLst/>
                  <a:gdLst>
                    <a:gd name="connsiteX0" fmla="*/ 10427 w 18340"/>
                    <a:gd name="connsiteY0" fmla="*/ 18320 h 18398"/>
                    <a:gd name="connsiteX1" fmla="*/ 80 w 18340"/>
                    <a:gd name="connsiteY1" fmla="*/ 10425 h 18398"/>
                    <a:gd name="connsiteX2" fmla="*/ 7915 w 18340"/>
                    <a:gd name="connsiteY2" fmla="*/ 79 h 18398"/>
                    <a:gd name="connsiteX3" fmla="*/ 18261 w 18340"/>
                    <a:gd name="connsiteY3" fmla="*/ 7974 h 18398"/>
                    <a:gd name="connsiteX4" fmla="*/ 10427 w 18340"/>
                    <a:gd name="connsiteY4" fmla="*/ 1832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8">
                      <a:moveTo>
                        <a:pt x="10427" y="18320"/>
                      </a:moveTo>
                      <a:cubicBezTo>
                        <a:pt x="5403" y="18978"/>
                        <a:pt x="798" y="15449"/>
                        <a:pt x="80" y="10425"/>
                      </a:cubicBezTo>
                      <a:cubicBezTo>
                        <a:pt x="-578" y="5402"/>
                        <a:pt x="2891" y="737"/>
                        <a:pt x="7915" y="79"/>
                      </a:cubicBezTo>
                      <a:cubicBezTo>
                        <a:pt x="12939" y="-579"/>
                        <a:pt x="17544" y="2950"/>
                        <a:pt x="18261" y="7974"/>
                      </a:cubicBezTo>
                      <a:cubicBezTo>
                        <a:pt x="18919" y="12997"/>
                        <a:pt x="15391" y="17602"/>
                        <a:pt x="10427" y="18320"/>
                      </a:cubicBezTo>
                      <a:close/>
                    </a:path>
                  </a:pathLst>
                </a:custGeom>
                <a:grpFill/>
                <a:ln w="5978" cap="flat">
                  <a:noFill/>
                  <a:prstDash val="solid"/>
                  <a:miter/>
                </a:ln>
              </p:spPr>
              <p:txBody>
                <a:bodyPr rtlCol="0" anchor="ctr"/>
                <a:lstStyle/>
                <a:p>
                  <a:endParaRPr lang="en-GB"/>
                </a:p>
              </p:txBody>
            </p:sp>
            <p:sp>
              <p:nvSpPr>
                <p:cNvPr id="1825" name="Vrije vorm: vorm 1824">
                  <a:extLst>
                    <a:ext uri="{FF2B5EF4-FFF2-40B4-BE49-F238E27FC236}">
                      <a16:creationId xmlns:a16="http://schemas.microsoft.com/office/drawing/2014/main" id="{EC6FE7DB-67EC-4AAF-911E-106E381EABC6}"/>
                    </a:ext>
                  </a:extLst>
                </p:cNvPr>
                <p:cNvSpPr/>
                <p:nvPr/>
              </p:nvSpPr>
              <p:spPr>
                <a:xfrm>
                  <a:off x="4377217" y="3630486"/>
                  <a:ext cx="18366" cy="18411"/>
                </a:xfrm>
                <a:custGeom>
                  <a:avLst/>
                  <a:gdLst>
                    <a:gd name="connsiteX0" fmla="*/ 10439 w 18366"/>
                    <a:gd name="connsiteY0" fmla="*/ 18333 h 18411"/>
                    <a:gd name="connsiteX1" fmla="*/ 18274 w 18366"/>
                    <a:gd name="connsiteY1" fmla="*/ 7986 h 18411"/>
                    <a:gd name="connsiteX2" fmla="*/ 7927 w 18366"/>
                    <a:gd name="connsiteY2" fmla="*/ 91 h 18411"/>
                    <a:gd name="connsiteX3" fmla="*/ 93 w 18366"/>
                    <a:gd name="connsiteY3" fmla="*/ 10438 h 18411"/>
                    <a:gd name="connsiteX4" fmla="*/ 10439 w 18366"/>
                    <a:gd name="connsiteY4" fmla="*/ 1833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11">
                      <a:moveTo>
                        <a:pt x="10439" y="18333"/>
                      </a:moveTo>
                      <a:cubicBezTo>
                        <a:pt x="15463" y="17675"/>
                        <a:pt x="18992" y="13010"/>
                        <a:pt x="18274" y="7986"/>
                      </a:cubicBezTo>
                      <a:cubicBezTo>
                        <a:pt x="17616" y="2962"/>
                        <a:pt x="12951" y="-626"/>
                        <a:pt x="7927" y="91"/>
                      </a:cubicBezTo>
                      <a:cubicBezTo>
                        <a:pt x="2903" y="749"/>
                        <a:pt x="-625" y="5414"/>
                        <a:pt x="93" y="10438"/>
                      </a:cubicBezTo>
                      <a:cubicBezTo>
                        <a:pt x="810" y="15462"/>
                        <a:pt x="5416" y="18991"/>
                        <a:pt x="10439" y="18333"/>
                      </a:cubicBezTo>
                      <a:close/>
                    </a:path>
                  </a:pathLst>
                </a:custGeom>
                <a:grpFill/>
                <a:ln w="5978" cap="flat">
                  <a:noFill/>
                  <a:prstDash val="solid"/>
                  <a:miter/>
                </a:ln>
              </p:spPr>
              <p:txBody>
                <a:bodyPr rtlCol="0" anchor="ctr"/>
                <a:lstStyle/>
                <a:p>
                  <a:endParaRPr lang="en-GB"/>
                </a:p>
              </p:txBody>
            </p:sp>
          </p:grpSp>
          <p:grpSp>
            <p:nvGrpSpPr>
              <p:cNvPr id="1194" name="Graphic 3">
                <a:extLst>
                  <a:ext uri="{FF2B5EF4-FFF2-40B4-BE49-F238E27FC236}">
                    <a16:creationId xmlns:a16="http://schemas.microsoft.com/office/drawing/2014/main" id="{73A76EDA-A506-4075-B59D-1C543F8C204E}"/>
                  </a:ext>
                </a:extLst>
              </p:cNvPr>
              <p:cNvGrpSpPr/>
              <p:nvPr/>
            </p:nvGrpSpPr>
            <p:grpSpPr>
              <a:xfrm>
                <a:off x="4027801" y="2949558"/>
                <a:ext cx="38066" cy="22836"/>
                <a:chOff x="4027801" y="2949558"/>
                <a:chExt cx="38066" cy="22836"/>
              </a:xfrm>
              <a:grpFill/>
            </p:grpSpPr>
            <p:sp>
              <p:nvSpPr>
                <p:cNvPr id="1820" name="Vrije vorm: vorm 1819">
                  <a:extLst>
                    <a:ext uri="{FF2B5EF4-FFF2-40B4-BE49-F238E27FC236}">
                      <a16:creationId xmlns:a16="http://schemas.microsoft.com/office/drawing/2014/main" id="{15D29CCB-2BC5-4ED8-B7EF-C68EBD865230}"/>
                    </a:ext>
                  </a:extLst>
                </p:cNvPr>
                <p:cNvSpPr/>
                <p:nvPr/>
              </p:nvSpPr>
              <p:spPr>
                <a:xfrm>
                  <a:off x="4036169" y="2957148"/>
                  <a:ext cx="21291" cy="7655"/>
                </a:xfrm>
                <a:custGeom>
                  <a:avLst/>
                  <a:gdLst>
                    <a:gd name="connsiteX0" fmla="*/ 21291 w 21291"/>
                    <a:gd name="connsiteY0" fmla="*/ 4665 h 7655"/>
                    <a:gd name="connsiteX1" fmla="*/ 20634 w 21291"/>
                    <a:gd name="connsiteY1" fmla="*/ 7655 h 7655"/>
                    <a:gd name="connsiteX2" fmla="*/ 0 w 21291"/>
                    <a:gd name="connsiteY2" fmla="*/ 2990 h 7655"/>
                    <a:gd name="connsiteX3" fmla="*/ 658 w 21291"/>
                    <a:gd name="connsiteY3" fmla="*/ 0 h 7655"/>
                  </a:gdLst>
                  <a:ahLst/>
                  <a:cxnLst>
                    <a:cxn ang="0">
                      <a:pos x="connsiteX0" y="connsiteY0"/>
                    </a:cxn>
                    <a:cxn ang="0">
                      <a:pos x="connsiteX1" y="connsiteY1"/>
                    </a:cxn>
                    <a:cxn ang="0">
                      <a:pos x="connsiteX2" y="connsiteY2"/>
                    </a:cxn>
                    <a:cxn ang="0">
                      <a:pos x="connsiteX3" y="connsiteY3"/>
                    </a:cxn>
                  </a:cxnLst>
                  <a:rect l="l" t="t" r="r" b="b"/>
                  <a:pathLst>
                    <a:path w="21291" h="7655">
                      <a:moveTo>
                        <a:pt x="21291" y="4665"/>
                      </a:moveTo>
                      <a:lnTo>
                        <a:pt x="20634" y="7655"/>
                      </a:lnTo>
                      <a:lnTo>
                        <a:pt x="0" y="2990"/>
                      </a:lnTo>
                      <a:lnTo>
                        <a:pt x="658" y="0"/>
                      </a:lnTo>
                      <a:close/>
                    </a:path>
                  </a:pathLst>
                </a:custGeom>
                <a:grpFill/>
                <a:ln w="5978" cap="flat">
                  <a:noFill/>
                  <a:prstDash val="solid"/>
                  <a:miter/>
                </a:ln>
              </p:spPr>
              <p:txBody>
                <a:bodyPr rtlCol="0" anchor="ctr"/>
                <a:lstStyle/>
                <a:p>
                  <a:endParaRPr lang="en-GB"/>
                </a:p>
              </p:txBody>
            </p:sp>
            <p:sp>
              <p:nvSpPr>
                <p:cNvPr id="1821" name="Vrije vorm: vorm 1820">
                  <a:extLst>
                    <a:ext uri="{FF2B5EF4-FFF2-40B4-BE49-F238E27FC236}">
                      <a16:creationId xmlns:a16="http://schemas.microsoft.com/office/drawing/2014/main" id="{3D29352A-5E34-4D16-8645-397151082C22}"/>
                    </a:ext>
                  </a:extLst>
                </p:cNvPr>
                <p:cNvSpPr/>
                <p:nvPr/>
              </p:nvSpPr>
              <p:spPr>
                <a:xfrm>
                  <a:off x="4027801" y="2949558"/>
                  <a:ext cx="18350" cy="18389"/>
                </a:xfrm>
                <a:custGeom>
                  <a:avLst/>
                  <a:gdLst>
                    <a:gd name="connsiteX0" fmla="*/ 7172 w 18350"/>
                    <a:gd name="connsiteY0" fmla="*/ 18176 h 18389"/>
                    <a:gd name="connsiteX1" fmla="*/ 234 w 18350"/>
                    <a:gd name="connsiteY1" fmla="*/ 7172 h 18389"/>
                    <a:gd name="connsiteX2" fmla="*/ 11179 w 18350"/>
                    <a:gd name="connsiteY2" fmla="*/ 234 h 18389"/>
                    <a:gd name="connsiteX3" fmla="*/ 18116 w 18350"/>
                    <a:gd name="connsiteY3" fmla="*/ 11239 h 18389"/>
                    <a:gd name="connsiteX4" fmla="*/ 7172 w 18350"/>
                    <a:gd name="connsiteY4" fmla="*/ 18176 h 18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89">
                      <a:moveTo>
                        <a:pt x="7172" y="18176"/>
                      </a:moveTo>
                      <a:cubicBezTo>
                        <a:pt x="2208" y="17040"/>
                        <a:pt x="-902" y="12136"/>
                        <a:pt x="234" y="7172"/>
                      </a:cubicBezTo>
                      <a:cubicBezTo>
                        <a:pt x="1311" y="2208"/>
                        <a:pt x="6215" y="-902"/>
                        <a:pt x="11179" y="234"/>
                      </a:cubicBezTo>
                      <a:cubicBezTo>
                        <a:pt x="16143" y="1371"/>
                        <a:pt x="19253" y="6275"/>
                        <a:pt x="18116" y="11239"/>
                      </a:cubicBezTo>
                      <a:cubicBezTo>
                        <a:pt x="16980" y="16143"/>
                        <a:pt x="12076" y="19253"/>
                        <a:pt x="7172" y="18176"/>
                      </a:cubicBezTo>
                      <a:close/>
                    </a:path>
                  </a:pathLst>
                </a:custGeom>
                <a:grpFill/>
                <a:ln w="5978" cap="flat">
                  <a:noFill/>
                  <a:prstDash val="solid"/>
                  <a:miter/>
                </a:ln>
              </p:spPr>
              <p:txBody>
                <a:bodyPr rtlCol="0" anchor="ctr"/>
                <a:lstStyle/>
                <a:p>
                  <a:endParaRPr lang="en-GB"/>
                </a:p>
              </p:txBody>
            </p:sp>
            <p:sp>
              <p:nvSpPr>
                <p:cNvPr id="1822" name="Vrije vorm: vorm 1821">
                  <a:extLst>
                    <a:ext uri="{FF2B5EF4-FFF2-40B4-BE49-F238E27FC236}">
                      <a16:creationId xmlns:a16="http://schemas.microsoft.com/office/drawing/2014/main" id="{687B750C-D083-47EA-9407-0E26F1186D5F}"/>
                    </a:ext>
                  </a:extLst>
                </p:cNvPr>
                <p:cNvSpPr/>
                <p:nvPr/>
              </p:nvSpPr>
              <p:spPr>
                <a:xfrm>
                  <a:off x="4047538" y="2953983"/>
                  <a:ext cx="18329" cy="18410"/>
                </a:xfrm>
                <a:custGeom>
                  <a:avLst/>
                  <a:gdLst>
                    <a:gd name="connsiteX0" fmla="*/ 7172 w 18329"/>
                    <a:gd name="connsiteY0" fmla="*/ 18176 h 18410"/>
                    <a:gd name="connsiteX1" fmla="*/ 18117 w 18329"/>
                    <a:gd name="connsiteY1" fmla="*/ 11239 h 18410"/>
                    <a:gd name="connsiteX2" fmla="*/ 11179 w 18329"/>
                    <a:gd name="connsiteY2" fmla="*/ 234 h 18410"/>
                    <a:gd name="connsiteX3" fmla="*/ 234 w 18329"/>
                    <a:gd name="connsiteY3" fmla="*/ 7172 h 18410"/>
                    <a:gd name="connsiteX4" fmla="*/ 7172 w 18329"/>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0">
                      <a:moveTo>
                        <a:pt x="7172" y="18176"/>
                      </a:moveTo>
                      <a:cubicBezTo>
                        <a:pt x="12136" y="19313"/>
                        <a:pt x="16980" y="16203"/>
                        <a:pt x="18117" y="11239"/>
                      </a:cubicBezTo>
                      <a:cubicBezTo>
                        <a:pt x="19193" y="6275"/>
                        <a:pt x="16083" y="1371"/>
                        <a:pt x="11179" y="234"/>
                      </a:cubicBezTo>
                      <a:cubicBezTo>
                        <a:pt x="6215" y="-902"/>
                        <a:pt x="1370" y="2208"/>
                        <a:pt x="234" y="7172"/>
                      </a:cubicBezTo>
                      <a:cubicBezTo>
                        <a:pt x="-902" y="12136"/>
                        <a:pt x="2208" y="17100"/>
                        <a:pt x="7172" y="18176"/>
                      </a:cubicBezTo>
                      <a:close/>
                    </a:path>
                  </a:pathLst>
                </a:custGeom>
                <a:grpFill/>
                <a:ln w="5978" cap="flat">
                  <a:noFill/>
                  <a:prstDash val="solid"/>
                  <a:miter/>
                </a:ln>
              </p:spPr>
              <p:txBody>
                <a:bodyPr rtlCol="0" anchor="ctr"/>
                <a:lstStyle/>
                <a:p>
                  <a:endParaRPr lang="en-GB"/>
                </a:p>
              </p:txBody>
            </p:sp>
          </p:grpSp>
          <p:grpSp>
            <p:nvGrpSpPr>
              <p:cNvPr id="1195" name="Graphic 3">
                <a:extLst>
                  <a:ext uri="{FF2B5EF4-FFF2-40B4-BE49-F238E27FC236}">
                    <a16:creationId xmlns:a16="http://schemas.microsoft.com/office/drawing/2014/main" id="{DC315261-7F83-4F56-9940-CCEB12A8D7B4}"/>
                  </a:ext>
                </a:extLst>
              </p:cNvPr>
              <p:cNvGrpSpPr/>
              <p:nvPr/>
            </p:nvGrpSpPr>
            <p:grpSpPr>
              <a:xfrm>
                <a:off x="4612284" y="4726303"/>
                <a:ext cx="93159" cy="91029"/>
                <a:chOff x="4612284" y="4726303"/>
                <a:chExt cx="93159" cy="91029"/>
              </a:xfrm>
              <a:grpFill/>
            </p:grpSpPr>
            <p:sp>
              <p:nvSpPr>
                <p:cNvPr id="1817" name="Vrije vorm: vorm 1816">
                  <a:extLst>
                    <a:ext uri="{FF2B5EF4-FFF2-40B4-BE49-F238E27FC236}">
                      <a16:creationId xmlns:a16="http://schemas.microsoft.com/office/drawing/2014/main" id="{5FDF7D8A-A2CC-4E19-AC0C-DB597D13D3DD}"/>
                    </a:ext>
                  </a:extLst>
                </p:cNvPr>
                <p:cNvSpPr/>
                <p:nvPr/>
              </p:nvSpPr>
              <p:spPr>
                <a:xfrm>
                  <a:off x="4620067" y="4734080"/>
                  <a:ext cx="77570" cy="75477"/>
                </a:xfrm>
                <a:custGeom>
                  <a:avLst/>
                  <a:gdLst>
                    <a:gd name="connsiteX0" fmla="*/ 77570 w 77570"/>
                    <a:gd name="connsiteY0" fmla="*/ 2213 h 75477"/>
                    <a:gd name="connsiteX1" fmla="*/ 2153 w 77570"/>
                    <a:gd name="connsiteY1" fmla="*/ 75477 h 75477"/>
                    <a:gd name="connsiteX2" fmla="*/ 0 w 77570"/>
                    <a:gd name="connsiteY2" fmla="*/ 73264 h 75477"/>
                    <a:gd name="connsiteX3" fmla="*/ 75477 w 77570"/>
                    <a:gd name="connsiteY3" fmla="*/ 0 h 75477"/>
                  </a:gdLst>
                  <a:ahLst/>
                  <a:cxnLst>
                    <a:cxn ang="0">
                      <a:pos x="connsiteX0" y="connsiteY0"/>
                    </a:cxn>
                    <a:cxn ang="0">
                      <a:pos x="connsiteX1" y="connsiteY1"/>
                    </a:cxn>
                    <a:cxn ang="0">
                      <a:pos x="connsiteX2" y="connsiteY2"/>
                    </a:cxn>
                    <a:cxn ang="0">
                      <a:pos x="connsiteX3" y="connsiteY3"/>
                    </a:cxn>
                  </a:cxnLst>
                  <a:rect l="l" t="t" r="r" b="b"/>
                  <a:pathLst>
                    <a:path w="77570" h="75477">
                      <a:moveTo>
                        <a:pt x="77570" y="2213"/>
                      </a:moveTo>
                      <a:lnTo>
                        <a:pt x="2153" y="75477"/>
                      </a:lnTo>
                      <a:lnTo>
                        <a:pt x="0" y="73264"/>
                      </a:lnTo>
                      <a:lnTo>
                        <a:pt x="75477" y="0"/>
                      </a:lnTo>
                      <a:close/>
                    </a:path>
                  </a:pathLst>
                </a:custGeom>
                <a:grpFill/>
                <a:ln w="5978" cap="flat">
                  <a:noFill/>
                  <a:prstDash val="solid"/>
                  <a:miter/>
                </a:ln>
              </p:spPr>
              <p:txBody>
                <a:bodyPr rtlCol="0" anchor="ctr"/>
                <a:lstStyle/>
                <a:p>
                  <a:endParaRPr lang="en-GB"/>
                </a:p>
              </p:txBody>
            </p:sp>
            <p:sp>
              <p:nvSpPr>
                <p:cNvPr id="1818" name="Vrije vorm: vorm 1817">
                  <a:extLst>
                    <a:ext uri="{FF2B5EF4-FFF2-40B4-BE49-F238E27FC236}">
                      <a16:creationId xmlns:a16="http://schemas.microsoft.com/office/drawing/2014/main" id="{9372DF61-541A-4340-8B68-916FF687BCDF}"/>
                    </a:ext>
                  </a:extLst>
                </p:cNvPr>
                <p:cNvSpPr/>
                <p:nvPr/>
              </p:nvSpPr>
              <p:spPr>
                <a:xfrm>
                  <a:off x="4612284" y="4798909"/>
                  <a:ext cx="18363" cy="18423"/>
                </a:xfrm>
                <a:custGeom>
                  <a:avLst/>
                  <a:gdLst>
                    <a:gd name="connsiteX0" fmla="*/ 15559 w 18363"/>
                    <a:gd name="connsiteY0" fmla="*/ 15851 h 18423"/>
                    <a:gd name="connsiteX1" fmla="*/ 2580 w 18363"/>
                    <a:gd name="connsiteY1" fmla="*/ 15611 h 18423"/>
                    <a:gd name="connsiteX2" fmla="*/ 2760 w 18363"/>
                    <a:gd name="connsiteY2" fmla="*/ 2573 h 18423"/>
                    <a:gd name="connsiteX3" fmla="*/ 15738 w 18363"/>
                    <a:gd name="connsiteY3" fmla="*/ 2812 h 18423"/>
                    <a:gd name="connsiteX4" fmla="*/ 15559 w 18363"/>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3">
                      <a:moveTo>
                        <a:pt x="15559" y="15851"/>
                      </a:moveTo>
                      <a:cubicBezTo>
                        <a:pt x="11910" y="19379"/>
                        <a:pt x="6109" y="19259"/>
                        <a:pt x="2580" y="15611"/>
                      </a:cubicBezTo>
                      <a:cubicBezTo>
                        <a:pt x="-948" y="11963"/>
                        <a:pt x="-829" y="6102"/>
                        <a:pt x="2760" y="2573"/>
                      </a:cubicBezTo>
                      <a:cubicBezTo>
                        <a:pt x="6408" y="-955"/>
                        <a:pt x="12210" y="-836"/>
                        <a:pt x="15738" y="2812"/>
                      </a:cubicBezTo>
                      <a:cubicBezTo>
                        <a:pt x="19326" y="6461"/>
                        <a:pt x="19207" y="12322"/>
                        <a:pt x="15559" y="15851"/>
                      </a:cubicBezTo>
                      <a:close/>
                    </a:path>
                  </a:pathLst>
                </a:custGeom>
                <a:grpFill/>
                <a:ln w="5978" cap="flat">
                  <a:noFill/>
                  <a:prstDash val="solid"/>
                  <a:miter/>
                </a:ln>
              </p:spPr>
              <p:txBody>
                <a:bodyPr rtlCol="0" anchor="ctr"/>
                <a:lstStyle/>
                <a:p>
                  <a:endParaRPr lang="en-GB"/>
                </a:p>
              </p:txBody>
            </p:sp>
            <p:sp>
              <p:nvSpPr>
                <p:cNvPr id="1819" name="Vrije vorm: vorm 1818">
                  <a:extLst>
                    <a:ext uri="{FF2B5EF4-FFF2-40B4-BE49-F238E27FC236}">
                      <a16:creationId xmlns:a16="http://schemas.microsoft.com/office/drawing/2014/main" id="{E6C764B1-91FA-4651-B81A-77A4D3337FD9}"/>
                    </a:ext>
                  </a:extLst>
                </p:cNvPr>
                <p:cNvSpPr/>
                <p:nvPr/>
              </p:nvSpPr>
              <p:spPr>
                <a:xfrm>
                  <a:off x="4687081" y="4726303"/>
                  <a:ext cx="18362" cy="18423"/>
                </a:xfrm>
                <a:custGeom>
                  <a:avLst/>
                  <a:gdLst>
                    <a:gd name="connsiteX0" fmla="*/ 15580 w 18362"/>
                    <a:gd name="connsiteY0" fmla="*/ 15851 h 18423"/>
                    <a:gd name="connsiteX1" fmla="*/ 15760 w 18362"/>
                    <a:gd name="connsiteY1" fmla="*/ 2813 h 18423"/>
                    <a:gd name="connsiteX2" fmla="*/ 2782 w 18362"/>
                    <a:gd name="connsiteY2" fmla="*/ 2573 h 18423"/>
                    <a:gd name="connsiteX3" fmla="*/ 2602 w 18362"/>
                    <a:gd name="connsiteY3" fmla="*/ 15611 h 18423"/>
                    <a:gd name="connsiteX4" fmla="*/ 15580 w 18362"/>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3">
                      <a:moveTo>
                        <a:pt x="15580" y="15851"/>
                      </a:moveTo>
                      <a:cubicBezTo>
                        <a:pt x="19229" y="12322"/>
                        <a:pt x="19288" y="6461"/>
                        <a:pt x="15760" y="2813"/>
                      </a:cubicBezTo>
                      <a:cubicBezTo>
                        <a:pt x="12231" y="-836"/>
                        <a:pt x="6430" y="-955"/>
                        <a:pt x="2782" y="2573"/>
                      </a:cubicBezTo>
                      <a:cubicBezTo>
                        <a:pt x="-867" y="6102"/>
                        <a:pt x="-926" y="11903"/>
                        <a:pt x="2602" y="15611"/>
                      </a:cubicBezTo>
                      <a:cubicBezTo>
                        <a:pt x="6131" y="19260"/>
                        <a:pt x="11932" y="19379"/>
                        <a:pt x="15580" y="15851"/>
                      </a:cubicBezTo>
                      <a:close/>
                    </a:path>
                  </a:pathLst>
                </a:custGeom>
                <a:grpFill/>
                <a:ln w="5978" cap="flat">
                  <a:noFill/>
                  <a:prstDash val="solid"/>
                  <a:miter/>
                </a:ln>
              </p:spPr>
              <p:txBody>
                <a:bodyPr rtlCol="0" anchor="ctr"/>
                <a:lstStyle/>
                <a:p>
                  <a:endParaRPr lang="en-GB"/>
                </a:p>
              </p:txBody>
            </p:sp>
          </p:grpSp>
          <p:grpSp>
            <p:nvGrpSpPr>
              <p:cNvPr id="1196" name="Graphic 3">
                <a:extLst>
                  <a:ext uri="{FF2B5EF4-FFF2-40B4-BE49-F238E27FC236}">
                    <a16:creationId xmlns:a16="http://schemas.microsoft.com/office/drawing/2014/main" id="{648FC33F-1FC2-447F-A81A-9FC16543FCB5}"/>
                  </a:ext>
                </a:extLst>
              </p:cNvPr>
              <p:cNvGrpSpPr/>
              <p:nvPr/>
            </p:nvGrpSpPr>
            <p:grpSpPr>
              <a:xfrm>
                <a:off x="4070436" y="3442242"/>
                <a:ext cx="282474" cy="23748"/>
                <a:chOff x="4070436" y="3442242"/>
                <a:chExt cx="282474" cy="23748"/>
              </a:xfrm>
              <a:grpFill/>
            </p:grpSpPr>
            <p:sp>
              <p:nvSpPr>
                <p:cNvPr id="1814" name="Vrije vorm: vorm 1813">
                  <a:extLst>
                    <a:ext uri="{FF2B5EF4-FFF2-40B4-BE49-F238E27FC236}">
                      <a16:creationId xmlns:a16="http://schemas.microsoft.com/office/drawing/2014/main" id="{392D66F5-063F-4AD9-B519-F60D9B3D94FC}"/>
                    </a:ext>
                  </a:extLst>
                </p:cNvPr>
                <p:cNvSpPr/>
                <p:nvPr/>
              </p:nvSpPr>
              <p:spPr>
                <a:xfrm>
                  <a:off x="4079111" y="3449960"/>
                  <a:ext cx="265125" cy="8372"/>
                </a:xfrm>
                <a:custGeom>
                  <a:avLst/>
                  <a:gdLst>
                    <a:gd name="connsiteX0" fmla="*/ 265006 w 265125"/>
                    <a:gd name="connsiteY0" fmla="*/ 0 h 8372"/>
                    <a:gd name="connsiteX1" fmla="*/ 265125 w 265125"/>
                    <a:gd name="connsiteY1" fmla="*/ 3050 h 8372"/>
                    <a:gd name="connsiteX2" fmla="*/ 60 w 265125"/>
                    <a:gd name="connsiteY2" fmla="*/ 8373 h 8372"/>
                    <a:gd name="connsiteX3" fmla="*/ 0 w 265125"/>
                    <a:gd name="connsiteY3" fmla="*/ 5323 h 8372"/>
                  </a:gdLst>
                  <a:ahLst/>
                  <a:cxnLst>
                    <a:cxn ang="0">
                      <a:pos x="connsiteX0" y="connsiteY0"/>
                    </a:cxn>
                    <a:cxn ang="0">
                      <a:pos x="connsiteX1" y="connsiteY1"/>
                    </a:cxn>
                    <a:cxn ang="0">
                      <a:pos x="connsiteX2" y="connsiteY2"/>
                    </a:cxn>
                    <a:cxn ang="0">
                      <a:pos x="connsiteX3" y="connsiteY3"/>
                    </a:cxn>
                  </a:cxnLst>
                  <a:rect l="l" t="t" r="r" b="b"/>
                  <a:pathLst>
                    <a:path w="265125" h="8372">
                      <a:moveTo>
                        <a:pt x="265006" y="0"/>
                      </a:moveTo>
                      <a:lnTo>
                        <a:pt x="265125" y="3050"/>
                      </a:lnTo>
                      <a:lnTo>
                        <a:pt x="60" y="8373"/>
                      </a:lnTo>
                      <a:lnTo>
                        <a:pt x="0" y="5323"/>
                      </a:lnTo>
                      <a:close/>
                    </a:path>
                  </a:pathLst>
                </a:custGeom>
                <a:grpFill/>
                <a:ln w="5978" cap="flat">
                  <a:noFill/>
                  <a:prstDash val="solid"/>
                  <a:miter/>
                </a:ln>
              </p:spPr>
              <p:txBody>
                <a:bodyPr rtlCol="0" anchor="ctr"/>
                <a:lstStyle/>
                <a:p>
                  <a:endParaRPr lang="en-GB"/>
                </a:p>
              </p:txBody>
            </p:sp>
            <p:sp>
              <p:nvSpPr>
                <p:cNvPr id="1815" name="Vrije vorm: vorm 1814">
                  <a:extLst>
                    <a:ext uri="{FF2B5EF4-FFF2-40B4-BE49-F238E27FC236}">
                      <a16:creationId xmlns:a16="http://schemas.microsoft.com/office/drawing/2014/main" id="{46EFBA0D-D2AC-4A84-A27D-D7E80159F480}"/>
                    </a:ext>
                  </a:extLst>
                </p:cNvPr>
                <p:cNvSpPr/>
                <p:nvPr/>
              </p:nvSpPr>
              <p:spPr>
                <a:xfrm>
                  <a:off x="4070436" y="3447565"/>
                  <a:ext cx="18364" cy="18425"/>
                </a:xfrm>
                <a:custGeom>
                  <a:avLst/>
                  <a:gdLst>
                    <a:gd name="connsiteX0" fmla="*/ 9392 w 18364"/>
                    <a:gd name="connsiteY0" fmla="*/ 18423 h 18425"/>
                    <a:gd name="connsiteX1" fmla="*/ 3 w 18364"/>
                    <a:gd name="connsiteY1" fmla="*/ 9392 h 18425"/>
                    <a:gd name="connsiteX2" fmla="*/ 8974 w 18364"/>
                    <a:gd name="connsiteY2" fmla="*/ 3 h 18425"/>
                    <a:gd name="connsiteX3" fmla="*/ 18363 w 18364"/>
                    <a:gd name="connsiteY3" fmla="*/ 9034 h 18425"/>
                    <a:gd name="connsiteX4" fmla="*/ 9392 w 18364"/>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5">
                      <a:moveTo>
                        <a:pt x="9392" y="18423"/>
                      </a:moveTo>
                      <a:cubicBezTo>
                        <a:pt x="4309" y="18543"/>
                        <a:pt x="122" y="14476"/>
                        <a:pt x="3" y="9392"/>
                      </a:cubicBezTo>
                      <a:cubicBezTo>
                        <a:pt x="-117" y="4309"/>
                        <a:pt x="3890" y="122"/>
                        <a:pt x="8974" y="3"/>
                      </a:cubicBezTo>
                      <a:cubicBezTo>
                        <a:pt x="14057" y="-117"/>
                        <a:pt x="18244" y="3950"/>
                        <a:pt x="18363" y="9034"/>
                      </a:cubicBezTo>
                      <a:cubicBezTo>
                        <a:pt x="18423" y="14117"/>
                        <a:pt x="14416" y="18304"/>
                        <a:pt x="9392" y="18423"/>
                      </a:cubicBezTo>
                      <a:close/>
                    </a:path>
                  </a:pathLst>
                </a:custGeom>
                <a:grpFill/>
                <a:ln w="5978" cap="flat">
                  <a:noFill/>
                  <a:prstDash val="solid"/>
                  <a:miter/>
                </a:ln>
              </p:spPr>
              <p:txBody>
                <a:bodyPr rtlCol="0" anchor="ctr"/>
                <a:lstStyle/>
                <a:p>
                  <a:endParaRPr lang="en-GB"/>
                </a:p>
              </p:txBody>
            </p:sp>
            <p:sp>
              <p:nvSpPr>
                <p:cNvPr id="1816" name="Vrije vorm: vorm 1815">
                  <a:extLst>
                    <a:ext uri="{FF2B5EF4-FFF2-40B4-BE49-F238E27FC236}">
                      <a16:creationId xmlns:a16="http://schemas.microsoft.com/office/drawing/2014/main" id="{923802F5-44A5-4D2B-AABE-95C1E0E45DC7}"/>
                    </a:ext>
                  </a:extLst>
                </p:cNvPr>
                <p:cNvSpPr/>
                <p:nvPr/>
              </p:nvSpPr>
              <p:spPr>
                <a:xfrm>
                  <a:off x="4334545" y="3442242"/>
                  <a:ext cx="18366" cy="18425"/>
                </a:xfrm>
                <a:custGeom>
                  <a:avLst/>
                  <a:gdLst>
                    <a:gd name="connsiteX0" fmla="*/ 9392 w 18366"/>
                    <a:gd name="connsiteY0" fmla="*/ 18423 h 18425"/>
                    <a:gd name="connsiteX1" fmla="*/ 18363 w 18366"/>
                    <a:gd name="connsiteY1" fmla="*/ 9034 h 18425"/>
                    <a:gd name="connsiteX2" fmla="*/ 8974 w 18366"/>
                    <a:gd name="connsiteY2" fmla="*/ 3 h 18425"/>
                    <a:gd name="connsiteX3" fmla="*/ 3 w 18366"/>
                    <a:gd name="connsiteY3" fmla="*/ 9392 h 18425"/>
                    <a:gd name="connsiteX4" fmla="*/ 9392 w 18366"/>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2" y="18423"/>
                      </a:moveTo>
                      <a:cubicBezTo>
                        <a:pt x="14476" y="18304"/>
                        <a:pt x="18483" y="14117"/>
                        <a:pt x="18363" y="9034"/>
                      </a:cubicBezTo>
                      <a:cubicBezTo>
                        <a:pt x="18244" y="3950"/>
                        <a:pt x="14058" y="-117"/>
                        <a:pt x="8974" y="3"/>
                      </a:cubicBezTo>
                      <a:cubicBezTo>
                        <a:pt x="3890" y="122"/>
                        <a:pt x="-117" y="4309"/>
                        <a:pt x="3" y="9392"/>
                      </a:cubicBezTo>
                      <a:cubicBezTo>
                        <a:pt x="122" y="14476"/>
                        <a:pt x="4369" y="18543"/>
                        <a:pt x="9392" y="18423"/>
                      </a:cubicBezTo>
                      <a:close/>
                    </a:path>
                  </a:pathLst>
                </a:custGeom>
                <a:grpFill/>
                <a:ln w="5978" cap="flat">
                  <a:noFill/>
                  <a:prstDash val="solid"/>
                  <a:miter/>
                </a:ln>
              </p:spPr>
              <p:txBody>
                <a:bodyPr rtlCol="0" anchor="ctr"/>
                <a:lstStyle/>
                <a:p>
                  <a:endParaRPr lang="en-GB"/>
                </a:p>
              </p:txBody>
            </p:sp>
          </p:grpSp>
          <p:grpSp>
            <p:nvGrpSpPr>
              <p:cNvPr id="1197" name="Graphic 3">
                <a:extLst>
                  <a:ext uri="{FF2B5EF4-FFF2-40B4-BE49-F238E27FC236}">
                    <a16:creationId xmlns:a16="http://schemas.microsoft.com/office/drawing/2014/main" id="{3A127E9C-AD07-44E9-A04D-DFC16B2ED420}"/>
                  </a:ext>
                </a:extLst>
              </p:cNvPr>
              <p:cNvGrpSpPr/>
              <p:nvPr/>
            </p:nvGrpSpPr>
            <p:grpSpPr>
              <a:xfrm>
                <a:off x="4433961" y="4377498"/>
                <a:ext cx="215614" cy="113151"/>
                <a:chOff x="4433961" y="4377498"/>
                <a:chExt cx="215614" cy="113151"/>
              </a:xfrm>
              <a:grpFill/>
            </p:grpSpPr>
            <p:sp>
              <p:nvSpPr>
                <p:cNvPr id="1811" name="Vrije vorm: vorm 1810">
                  <a:extLst>
                    <a:ext uri="{FF2B5EF4-FFF2-40B4-BE49-F238E27FC236}">
                      <a16:creationId xmlns:a16="http://schemas.microsoft.com/office/drawing/2014/main" id="{8193CD22-37B0-4D76-AF11-2687A3E7FBA8}"/>
                    </a:ext>
                  </a:extLst>
                </p:cNvPr>
                <p:cNvSpPr/>
                <p:nvPr/>
              </p:nvSpPr>
              <p:spPr>
                <a:xfrm>
                  <a:off x="4442021" y="4385165"/>
                  <a:ext cx="199456" cy="97844"/>
                </a:xfrm>
                <a:custGeom>
                  <a:avLst/>
                  <a:gdLst>
                    <a:gd name="connsiteX0" fmla="*/ 199457 w 199456"/>
                    <a:gd name="connsiteY0" fmla="*/ 2751 h 97844"/>
                    <a:gd name="connsiteX1" fmla="*/ 1375 w 199456"/>
                    <a:gd name="connsiteY1" fmla="*/ 97845 h 97844"/>
                    <a:gd name="connsiteX2" fmla="*/ 0 w 199456"/>
                    <a:gd name="connsiteY2" fmla="*/ 95093 h 97844"/>
                    <a:gd name="connsiteX3" fmla="*/ 198141 w 199456"/>
                    <a:gd name="connsiteY3" fmla="*/ 0 h 97844"/>
                  </a:gdLst>
                  <a:ahLst/>
                  <a:cxnLst>
                    <a:cxn ang="0">
                      <a:pos x="connsiteX0" y="connsiteY0"/>
                    </a:cxn>
                    <a:cxn ang="0">
                      <a:pos x="connsiteX1" y="connsiteY1"/>
                    </a:cxn>
                    <a:cxn ang="0">
                      <a:pos x="connsiteX2" y="connsiteY2"/>
                    </a:cxn>
                    <a:cxn ang="0">
                      <a:pos x="connsiteX3" y="connsiteY3"/>
                    </a:cxn>
                  </a:cxnLst>
                  <a:rect l="l" t="t" r="r" b="b"/>
                  <a:pathLst>
                    <a:path w="199456" h="97844">
                      <a:moveTo>
                        <a:pt x="199457" y="2751"/>
                      </a:moveTo>
                      <a:lnTo>
                        <a:pt x="1375" y="97845"/>
                      </a:lnTo>
                      <a:lnTo>
                        <a:pt x="0" y="95093"/>
                      </a:lnTo>
                      <a:lnTo>
                        <a:pt x="198141" y="0"/>
                      </a:lnTo>
                      <a:close/>
                    </a:path>
                  </a:pathLst>
                </a:custGeom>
                <a:grpFill/>
                <a:ln w="5978" cap="flat">
                  <a:noFill/>
                  <a:prstDash val="solid"/>
                  <a:miter/>
                </a:ln>
              </p:spPr>
              <p:txBody>
                <a:bodyPr rtlCol="0" anchor="ctr"/>
                <a:lstStyle/>
                <a:p>
                  <a:endParaRPr lang="en-GB"/>
                </a:p>
              </p:txBody>
            </p:sp>
            <p:sp>
              <p:nvSpPr>
                <p:cNvPr id="1812" name="Vrije vorm: vorm 1811">
                  <a:extLst>
                    <a:ext uri="{FF2B5EF4-FFF2-40B4-BE49-F238E27FC236}">
                      <a16:creationId xmlns:a16="http://schemas.microsoft.com/office/drawing/2014/main" id="{B1DF3A1A-6BB4-4890-97BC-BEBF5EADC603}"/>
                    </a:ext>
                  </a:extLst>
                </p:cNvPr>
                <p:cNvSpPr/>
                <p:nvPr/>
              </p:nvSpPr>
              <p:spPr>
                <a:xfrm>
                  <a:off x="4631205" y="4377498"/>
                  <a:ext cx="18369" cy="18442"/>
                </a:xfrm>
                <a:custGeom>
                  <a:avLst/>
                  <a:gdLst>
                    <a:gd name="connsiteX0" fmla="*/ 5190 w 18369"/>
                    <a:gd name="connsiteY0" fmla="*/ 908 h 18442"/>
                    <a:gd name="connsiteX1" fmla="*/ 17450 w 18369"/>
                    <a:gd name="connsiteY1" fmla="*/ 5274 h 18442"/>
                    <a:gd name="connsiteX2" fmla="*/ 13144 w 18369"/>
                    <a:gd name="connsiteY2" fmla="*/ 17534 h 18442"/>
                    <a:gd name="connsiteX3" fmla="*/ 884 w 18369"/>
                    <a:gd name="connsiteY3" fmla="*/ 13169 h 18442"/>
                    <a:gd name="connsiteX4" fmla="*/ 5190 w 18369"/>
                    <a:gd name="connsiteY4" fmla="*/ 908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2">
                      <a:moveTo>
                        <a:pt x="5190" y="908"/>
                      </a:moveTo>
                      <a:cubicBezTo>
                        <a:pt x="9735" y="-1305"/>
                        <a:pt x="15237" y="669"/>
                        <a:pt x="17450" y="5274"/>
                      </a:cubicBezTo>
                      <a:cubicBezTo>
                        <a:pt x="19663" y="9879"/>
                        <a:pt x="17749" y="15382"/>
                        <a:pt x="13144" y="17534"/>
                      </a:cubicBezTo>
                      <a:cubicBezTo>
                        <a:pt x="8599" y="19748"/>
                        <a:pt x="3096" y="17774"/>
                        <a:pt x="884" y="13169"/>
                      </a:cubicBezTo>
                      <a:cubicBezTo>
                        <a:pt x="-1269" y="8623"/>
                        <a:pt x="644" y="3121"/>
                        <a:pt x="5190" y="908"/>
                      </a:cubicBezTo>
                      <a:close/>
                    </a:path>
                  </a:pathLst>
                </a:custGeom>
                <a:grpFill/>
                <a:ln w="5978" cap="flat">
                  <a:noFill/>
                  <a:prstDash val="solid"/>
                  <a:miter/>
                </a:ln>
              </p:spPr>
              <p:txBody>
                <a:bodyPr rtlCol="0" anchor="ctr"/>
                <a:lstStyle/>
                <a:p>
                  <a:endParaRPr lang="en-GB"/>
                </a:p>
              </p:txBody>
            </p:sp>
            <p:sp>
              <p:nvSpPr>
                <p:cNvPr id="1813" name="Vrije vorm: vorm 1812">
                  <a:extLst>
                    <a:ext uri="{FF2B5EF4-FFF2-40B4-BE49-F238E27FC236}">
                      <a16:creationId xmlns:a16="http://schemas.microsoft.com/office/drawing/2014/main" id="{9DC42BAC-A0A9-4B61-9B1B-44256F8EB311}"/>
                    </a:ext>
                  </a:extLst>
                </p:cNvPr>
                <p:cNvSpPr/>
                <p:nvPr/>
              </p:nvSpPr>
              <p:spPr>
                <a:xfrm>
                  <a:off x="4433961" y="4472233"/>
                  <a:ext cx="18333" cy="18416"/>
                </a:xfrm>
                <a:custGeom>
                  <a:avLst/>
                  <a:gdLst>
                    <a:gd name="connsiteX0" fmla="*/ 5189 w 18333"/>
                    <a:gd name="connsiteY0" fmla="*/ 908 h 18416"/>
                    <a:gd name="connsiteX1" fmla="*/ 884 w 18333"/>
                    <a:gd name="connsiteY1" fmla="*/ 13169 h 18416"/>
                    <a:gd name="connsiteX2" fmla="*/ 13144 w 18333"/>
                    <a:gd name="connsiteY2" fmla="*/ 17535 h 18416"/>
                    <a:gd name="connsiteX3" fmla="*/ 17450 w 18333"/>
                    <a:gd name="connsiteY3" fmla="*/ 5274 h 18416"/>
                    <a:gd name="connsiteX4" fmla="*/ 5189 w 18333"/>
                    <a:gd name="connsiteY4" fmla="*/ 90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5189" y="908"/>
                      </a:moveTo>
                      <a:cubicBezTo>
                        <a:pt x="644" y="3121"/>
                        <a:pt x="-1269" y="8623"/>
                        <a:pt x="884" y="13169"/>
                      </a:cubicBezTo>
                      <a:cubicBezTo>
                        <a:pt x="3096" y="17774"/>
                        <a:pt x="8539" y="19688"/>
                        <a:pt x="13144" y="17535"/>
                      </a:cubicBezTo>
                      <a:cubicBezTo>
                        <a:pt x="17689" y="15322"/>
                        <a:pt x="19603" y="9820"/>
                        <a:pt x="17450" y="5274"/>
                      </a:cubicBezTo>
                      <a:cubicBezTo>
                        <a:pt x="15237" y="669"/>
                        <a:pt x="9735" y="-1305"/>
                        <a:pt x="5189" y="908"/>
                      </a:cubicBezTo>
                      <a:close/>
                    </a:path>
                  </a:pathLst>
                </a:custGeom>
                <a:grpFill/>
                <a:ln w="5978" cap="flat">
                  <a:noFill/>
                  <a:prstDash val="solid"/>
                  <a:miter/>
                </a:ln>
              </p:spPr>
              <p:txBody>
                <a:bodyPr rtlCol="0" anchor="ctr"/>
                <a:lstStyle/>
                <a:p>
                  <a:endParaRPr lang="en-GB"/>
                </a:p>
              </p:txBody>
            </p:sp>
          </p:grpSp>
          <p:grpSp>
            <p:nvGrpSpPr>
              <p:cNvPr id="1198" name="Graphic 3">
                <a:extLst>
                  <a:ext uri="{FF2B5EF4-FFF2-40B4-BE49-F238E27FC236}">
                    <a16:creationId xmlns:a16="http://schemas.microsoft.com/office/drawing/2014/main" id="{99322741-A17E-43E0-9334-D0E4B7CAD233}"/>
                  </a:ext>
                </a:extLst>
              </p:cNvPr>
              <p:cNvGrpSpPr/>
              <p:nvPr/>
            </p:nvGrpSpPr>
            <p:grpSpPr>
              <a:xfrm>
                <a:off x="4665468" y="4915817"/>
                <a:ext cx="158793" cy="189144"/>
                <a:chOff x="4665468" y="4915817"/>
                <a:chExt cx="158793" cy="189144"/>
              </a:xfrm>
              <a:grpFill/>
            </p:grpSpPr>
            <p:sp>
              <p:nvSpPr>
                <p:cNvPr id="1808" name="Vrije vorm: vorm 1807">
                  <a:extLst>
                    <a:ext uri="{FF2B5EF4-FFF2-40B4-BE49-F238E27FC236}">
                      <a16:creationId xmlns:a16="http://schemas.microsoft.com/office/drawing/2014/main" id="{AF312BF2-B526-4314-8526-073100E28E5F}"/>
                    </a:ext>
                  </a:extLst>
                </p:cNvPr>
                <p:cNvSpPr/>
                <p:nvPr/>
              </p:nvSpPr>
              <p:spPr>
                <a:xfrm>
                  <a:off x="4673176" y="4923669"/>
                  <a:ext cx="143358" cy="173440"/>
                </a:xfrm>
                <a:custGeom>
                  <a:avLst/>
                  <a:gdLst>
                    <a:gd name="connsiteX0" fmla="*/ 143358 w 143358"/>
                    <a:gd name="connsiteY0" fmla="*/ 1974 h 173440"/>
                    <a:gd name="connsiteX1" fmla="*/ 2392 w 143358"/>
                    <a:gd name="connsiteY1" fmla="*/ 173441 h 173440"/>
                    <a:gd name="connsiteX2" fmla="*/ 0 w 143358"/>
                    <a:gd name="connsiteY2" fmla="*/ 171468 h 173440"/>
                    <a:gd name="connsiteX3" fmla="*/ 141026 w 143358"/>
                    <a:gd name="connsiteY3" fmla="*/ 0 h 173440"/>
                  </a:gdLst>
                  <a:ahLst/>
                  <a:cxnLst>
                    <a:cxn ang="0">
                      <a:pos x="connsiteX0" y="connsiteY0"/>
                    </a:cxn>
                    <a:cxn ang="0">
                      <a:pos x="connsiteX1" y="connsiteY1"/>
                    </a:cxn>
                    <a:cxn ang="0">
                      <a:pos x="connsiteX2" y="connsiteY2"/>
                    </a:cxn>
                    <a:cxn ang="0">
                      <a:pos x="connsiteX3" y="connsiteY3"/>
                    </a:cxn>
                  </a:cxnLst>
                  <a:rect l="l" t="t" r="r" b="b"/>
                  <a:pathLst>
                    <a:path w="143358" h="173440">
                      <a:moveTo>
                        <a:pt x="143358" y="1974"/>
                      </a:moveTo>
                      <a:lnTo>
                        <a:pt x="2392" y="173441"/>
                      </a:lnTo>
                      <a:lnTo>
                        <a:pt x="0" y="171468"/>
                      </a:lnTo>
                      <a:lnTo>
                        <a:pt x="141026" y="0"/>
                      </a:lnTo>
                      <a:close/>
                    </a:path>
                  </a:pathLst>
                </a:custGeom>
                <a:grpFill/>
                <a:ln w="5978" cap="flat">
                  <a:noFill/>
                  <a:prstDash val="solid"/>
                  <a:miter/>
                </a:ln>
              </p:spPr>
              <p:txBody>
                <a:bodyPr rtlCol="0" anchor="ctr"/>
                <a:lstStyle/>
                <a:p>
                  <a:endParaRPr lang="en-GB"/>
                </a:p>
              </p:txBody>
            </p:sp>
            <p:sp>
              <p:nvSpPr>
                <p:cNvPr id="1809" name="Vrije vorm: vorm 1808">
                  <a:extLst>
                    <a:ext uri="{FF2B5EF4-FFF2-40B4-BE49-F238E27FC236}">
                      <a16:creationId xmlns:a16="http://schemas.microsoft.com/office/drawing/2014/main" id="{7FA8C545-D6F4-4FA7-98B4-474D115F58F8}"/>
                    </a:ext>
                  </a:extLst>
                </p:cNvPr>
                <p:cNvSpPr/>
                <p:nvPr/>
              </p:nvSpPr>
              <p:spPr>
                <a:xfrm>
                  <a:off x="4665468" y="5086567"/>
                  <a:ext cx="18365" cy="18395"/>
                </a:xfrm>
                <a:custGeom>
                  <a:avLst/>
                  <a:gdLst>
                    <a:gd name="connsiteX0" fmla="*/ 16260 w 18365"/>
                    <a:gd name="connsiteY0" fmla="*/ 15089 h 18395"/>
                    <a:gd name="connsiteX1" fmla="*/ 3342 w 18365"/>
                    <a:gd name="connsiteY1" fmla="*/ 16285 h 18395"/>
                    <a:gd name="connsiteX2" fmla="*/ 2086 w 18365"/>
                    <a:gd name="connsiteY2" fmla="*/ 3307 h 18395"/>
                    <a:gd name="connsiteX3" fmla="*/ 15005 w 18365"/>
                    <a:gd name="connsiteY3" fmla="*/ 2110 h 18395"/>
                    <a:gd name="connsiteX4" fmla="*/ 16260 w 18365"/>
                    <a:gd name="connsiteY4" fmla="*/ 15089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5">
                      <a:moveTo>
                        <a:pt x="16260" y="15089"/>
                      </a:moveTo>
                      <a:cubicBezTo>
                        <a:pt x="13031" y="18976"/>
                        <a:pt x="7289" y="19514"/>
                        <a:pt x="3342" y="16285"/>
                      </a:cubicBezTo>
                      <a:cubicBezTo>
                        <a:pt x="-546" y="13055"/>
                        <a:pt x="-1143" y="7254"/>
                        <a:pt x="2086" y="3307"/>
                      </a:cubicBezTo>
                      <a:cubicBezTo>
                        <a:pt x="5316" y="-581"/>
                        <a:pt x="11057" y="-1119"/>
                        <a:pt x="15005" y="2110"/>
                      </a:cubicBezTo>
                      <a:cubicBezTo>
                        <a:pt x="18952" y="5340"/>
                        <a:pt x="19490" y="11141"/>
                        <a:pt x="16260" y="15089"/>
                      </a:cubicBezTo>
                      <a:close/>
                    </a:path>
                  </a:pathLst>
                </a:custGeom>
                <a:grpFill/>
                <a:ln w="5978" cap="flat">
                  <a:noFill/>
                  <a:prstDash val="solid"/>
                  <a:miter/>
                </a:ln>
              </p:spPr>
              <p:txBody>
                <a:bodyPr rtlCol="0" anchor="ctr"/>
                <a:lstStyle/>
                <a:p>
                  <a:endParaRPr lang="en-GB"/>
                </a:p>
              </p:txBody>
            </p:sp>
            <p:sp>
              <p:nvSpPr>
                <p:cNvPr id="1810" name="Vrije vorm: vorm 1809">
                  <a:extLst>
                    <a:ext uri="{FF2B5EF4-FFF2-40B4-BE49-F238E27FC236}">
                      <a16:creationId xmlns:a16="http://schemas.microsoft.com/office/drawing/2014/main" id="{59BA733C-81BA-4A13-9B2A-4512ECC36816}"/>
                    </a:ext>
                  </a:extLst>
                </p:cNvPr>
                <p:cNvSpPr/>
                <p:nvPr/>
              </p:nvSpPr>
              <p:spPr>
                <a:xfrm>
                  <a:off x="4805896" y="4915817"/>
                  <a:ext cx="18365" cy="18394"/>
                </a:xfrm>
                <a:custGeom>
                  <a:avLst/>
                  <a:gdLst>
                    <a:gd name="connsiteX0" fmla="*/ 16260 w 18365"/>
                    <a:gd name="connsiteY0" fmla="*/ 15089 h 18394"/>
                    <a:gd name="connsiteX1" fmla="*/ 15004 w 18365"/>
                    <a:gd name="connsiteY1" fmla="*/ 2111 h 18394"/>
                    <a:gd name="connsiteX2" fmla="*/ 2086 w 18365"/>
                    <a:gd name="connsiteY2" fmla="*/ 3306 h 18394"/>
                    <a:gd name="connsiteX3" fmla="*/ 3342 w 18365"/>
                    <a:gd name="connsiteY3" fmla="*/ 16285 h 18394"/>
                    <a:gd name="connsiteX4" fmla="*/ 16260 w 18365"/>
                    <a:gd name="connsiteY4" fmla="*/ 1508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4">
                      <a:moveTo>
                        <a:pt x="16260" y="15089"/>
                      </a:moveTo>
                      <a:cubicBezTo>
                        <a:pt x="19490" y="11201"/>
                        <a:pt x="18952" y="5340"/>
                        <a:pt x="15004" y="2111"/>
                      </a:cubicBezTo>
                      <a:cubicBezTo>
                        <a:pt x="11117" y="-1119"/>
                        <a:pt x="5316" y="-581"/>
                        <a:pt x="2086" y="3306"/>
                      </a:cubicBezTo>
                      <a:cubicBezTo>
                        <a:pt x="-1144" y="7194"/>
                        <a:pt x="-545" y="13055"/>
                        <a:pt x="3342" y="16285"/>
                      </a:cubicBezTo>
                      <a:cubicBezTo>
                        <a:pt x="7289" y="19514"/>
                        <a:pt x="13031" y="18976"/>
                        <a:pt x="16260" y="15089"/>
                      </a:cubicBezTo>
                      <a:close/>
                    </a:path>
                  </a:pathLst>
                </a:custGeom>
                <a:grpFill/>
                <a:ln w="5978" cap="flat">
                  <a:noFill/>
                  <a:prstDash val="solid"/>
                  <a:miter/>
                </a:ln>
              </p:spPr>
              <p:txBody>
                <a:bodyPr rtlCol="0" anchor="ctr"/>
                <a:lstStyle/>
                <a:p>
                  <a:endParaRPr lang="en-GB"/>
                </a:p>
              </p:txBody>
            </p:sp>
          </p:grpSp>
          <p:grpSp>
            <p:nvGrpSpPr>
              <p:cNvPr id="1199" name="Graphic 3">
                <a:extLst>
                  <a:ext uri="{FF2B5EF4-FFF2-40B4-BE49-F238E27FC236}">
                    <a16:creationId xmlns:a16="http://schemas.microsoft.com/office/drawing/2014/main" id="{28B26DA7-91A3-4546-99AC-3A9527F5FCA6}"/>
                  </a:ext>
                </a:extLst>
              </p:cNvPr>
              <p:cNvGrpSpPr/>
              <p:nvPr/>
            </p:nvGrpSpPr>
            <p:grpSpPr>
              <a:xfrm>
                <a:off x="4066775" y="3299229"/>
                <a:ext cx="177653" cy="27124"/>
                <a:chOff x="4066775" y="3299229"/>
                <a:chExt cx="177653" cy="27124"/>
              </a:xfrm>
              <a:grpFill/>
            </p:grpSpPr>
            <p:sp>
              <p:nvSpPr>
                <p:cNvPr id="1805" name="Vrije vorm: vorm 1804">
                  <a:extLst>
                    <a:ext uri="{FF2B5EF4-FFF2-40B4-BE49-F238E27FC236}">
                      <a16:creationId xmlns:a16="http://schemas.microsoft.com/office/drawing/2014/main" id="{961EBB4D-92F2-4C79-A559-C4187447ABBD}"/>
                    </a:ext>
                  </a:extLst>
                </p:cNvPr>
                <p:cNvSpPr/>
                <p:nvPr/>
              </p:nvSpPr>
              <p:spPr>
                <a:xfrm>
                  <a:off x="4075403" y="3306841"/>
                  <a:ext cx="160403" cy="11841"/>
                </a:xfrm>
                <a:custGeom>
                  <a:avLst/>
                  <a:gdLst>
                    <a:gd name="connsiteX0" fmla="*/ 160403 w 160403"/>
                    <a:gd name="connsiteY0" fmla="*/ 8792 h 11841"/>
                    <a:gd name="connsiteX1" fmla="*/ 160224 w 160403"/>
                    <a:gd name="connsiteY1" fmla="*/ 11842 h 11841"/>
                    <a:gd name="connsiteX2" fmla="*/ 0 w 160403"/>
                    <a:gd name="connsiteY2" fmla="*/ 3050 h 11841"/>
                    <a:gd name="connsiteX3" fmla="*/ 120 w 160403"/>
                    <a:gd name="connsiteY3" fmla="*/ 0 h 11841"/>
                  </a:gdLst>
                  <a:ahLst/>
                  <a:cxnLst>
                    <a:cxn ang="0">
                      <a:pos x="connsiteX0" y="connsiteY0"/>
                    </a:cxn>
                    <a:cxn ang="0">
                      <a:pos x="connsiteX1" y="connsiteY1"/>
                    </a:cxn>
                    <a:cxn ang="0">
                      <a:pos x="connsiteX2" y="connsiteY2"/>
                    </a:cxn>
                    <a:cxn ang="0">
                      <a:pos x="connsiteX3" y="connsiteY3"/>
                    </a:cxn>
                  </a:cxnLst>
                  <a:rect l="l" t="t" r="r" b="b"/>
                  <a:pathLst>
                    <a:path w="160403" h="11841">
                      <a:moveTo>
                        <a:pt x="160403" y="8792"/>
                      </a:moveTo>
                      <a:lnTo>
                        <a:pt x="160224" y="11842"/>
                      </a:lnTo>
                      <a:lnTo>
                        <a:pt x="0" y="3050"/>
                      </a:lnTo>
                      <a:lnTo>
                        <a:pt x="120" y="0"/>
                      </a:lnTo>
                      <a:close/>
                    </a:path>
                  </a:pathLst>
                </a:custGeom>
                <a:grpFill/>
                <a:ln w="5978" cap="flat">
                  <a:noFill/>
                  <a:prstDash val="solid"/>
                  <a:miter/>
                </a:ln>
              </p:spPr>
              <p:txBody>
                <a:bodyPr rtlCol="0" anchor="ctr"/>
                <a:lstStyle/>
                <a:p>
                  <a:endParaRPr lang="en-GB"/>
                </a:p>
              </p:txBody>
            </p:sp>
            <p:sp>
              <p:nvSpPr>
                <p:cNvPr id="1806" name="Vrije vorm: vorm 1805">
                  <a:extLst>
                    <a:ext uri="{FF2B5EF4-FFF2-40B4-BE49-F238E27FC236}">
                      <a16:creationId xmlns:a16="http://schemas.microsoft.com/office/drawing/2014/main" id="{489328FE-3ACC-41CE-B16D-AB1E3D45734E}"/>
                    </a:ext>
                  </a:extLst>
                </p:cNvPr>
                <p:cNvSpPr/>
                <p:nvPr/>
              </p:nvSpPr>
              <p:spPr>
                <a:xfrm>
                  <a:off x="4066775" y="3299229"/>
                  <a:ext cx="18333" cy="18387"/>
                </a:xfrm>
                <a:custGeom>
                  <a:avLst/>
                  <a:gdLst>
                    <a:gd name="connsiteX0" fmla="*/ 8688 w 18333"/>
                    <a:gd name="connsiteY0" fmla="*/ 18377 h 18387"/>
                    <a:gd name="connsiteX1" fmla="*/ 16 w 18333"/>
                    <a:gd name="connsiteY1" fmla="*/ 8688 h 18387"/>
                    <a:gd name="connsiteX2" fmla="*/ 9645 w 18333"/>
                    <a:gd name="connsiteY2" fmla="*/ 16 h 18387"/>
                    <a:gd name="connsiteX3" fmla="*/ 18317 w 18333"/>
                    <a:gd name="connsiteY3" fmla="*/ 9705 h 18387"/>
                    <a:gd name="connsiteX4" fmla="*/ 8688 w 18333"/>
                    <a:gd name="connsiteY4" fmla="*/ 18377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87">
                      <a:moveTo>
                        <a:pt x="8688" y="18377"/>
                      </a:moveTo>
                      <a:cubicBezTo>
                        <a:pt x="3604" y="18078"/>
                        <a:pt x="-283" y="13772"/>
                        <a:pt x="16" y="8688"/>
                      </a:cubicBezTo>
                      <a:cubicBezTo>
                        <a:pt x="255" y="3605"/>
                        <a:pt x="4561" y="-283"/>
                        <a:pt x="9645" y="16"/>
                      </a:cubicBezTo>
                      <a:cubicBezTo>
                        <a:pt x="14729" y="315"/>
                        <a:pt x="18616" y="4621"/>
                        <a:pt x="18317" y="9705"/>
                      </a:cubicBezTo>
                      <a:cubicBezTo>
                        <a:pt x="18018" y="14789"/>
                        <a:pt x="13772" y="18616"/>
                        <a:pt x="8688" y="18377"/>
                      </a:cubicBezTo>
                      <a:close/>
                    </a:path>
                  </a:pathLst>
                </a:custGeom>
                <a:grpFill/>
                <a:ln w="5978" cap="flat">
                  <a:noFill/>
                  <a:prstDash val="solid"/>
                  <a:miter/>
                </a:ln>
              </p:spPr>
              <p:txBody>
                <a:bodyPr rtlCol="0" anchor="ctr"/>
                <a:lstStyle/>
                <a:p>
                  <a:endParaRPr lang="en-GB"/>
                </a:p>
              </p:txBody>
            </p:sp>
            <p:sp>
              <p:nvSpPr>
                <p:cNvPr id="1807" name="Vrije vorm: vorm 1806">
                  <a:extLst>
                    <a:ext uri="{FF2B5EF4-FFF2-40B4-BE49-F238E27FC236}">
                      <a16:creationId xmlns:a16="http://schemas.microsoft.com/office/drawing/2014/main" id="{196E3297-EA40-47B5-9F9F-20DF1DFF353A}"/>
                    </a:ext>
                  </a:extLst>
                </p:cNvPr>
                <p:cNvSpPr/>
                <p:nvPr/>
              </p:nvSpPr>
              <p:spPr>
                <a:xfrm>
                  <a:off x="4226101" y="3307961"/>
                  <a:ext cx="18327" cy="18393"/>
                </a:xfrm>
                <a:custGeom>
                  <a:avLst/>
                  <a:gdLst>
                    <a:gd name="connsiteX0" fmla="*/ 8688 w 18327"/>
                    <a:gd name="connsiteY0" fmla="*/ 18377 h 18393"/>
                    <a:gd name="connsiteX1" fmla="*/ 18317 w 18327"/>
                    <a:gd name="connsiteY1" fmla="*/ 9705 h 18393"/>
                    <a:gd name="connsiteX2" fmla="*/ 9645 w 18327"/>
                    <a:gd name="connsiteY2" fmla="*/ 16 h 18393"/>
                    <a:gd name="connsiteX3" fmla="*/ 16 w 18327"/>
                    <a:gd name="connsiteY3" fmla="*/ 8688 h 18393"/>
                    <a:gd name="connsiteX4" fmla="*/ 8688 w 18327"/>
                    <a:gd name="connsiteY4" fmla="*/ 18377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3">
                      <a:moveTo>
                        <a:pt x="8688" y="18377"/>
                      </a:moveTo>
                      <a:cubicBezTo>
                        <a:pt x="13772" y="18676"/>
                        <a:pt x="18078" y="14789"/>
                        <a:pt x="18317" y="9705"/>
                      </a:cubicBezTo>
                      <a:cubicBezTo>
                        <a:pt x="18557" y="4621"/>
                        <a:pt x="14669" y="255"/>
                        <a:pt x="9645" y="16"/>
                      </a:cubicBezTo>
                      <a:cubicBezTo>
                        <a:pt x="4562" y="-283"/>
                        <a:pt x="256" y="3605"/>
                        <a:pt x="16" y="8688"/>
                      </a:cubicBezTo>
                      <a:cubicBezTo>
                        <a:pt x="-283" y="13772"/>
                        <a:pt x="3605" y="18078"/>
                        <a:pt x="8688" y="18377"/>
                      </a:cubicBezTo>
                      <a:close/>
                    </a:path>
                  </a:pathLst>
                </a:custGeom>
                <a:grpFill/>
                <a:ln w="5978" cap="flat">
                  <a:noFill/>
                  <a:prstDash val="solid"/>
                  <a:miter/>
                </a:ln>
              </p:spPr>
              <p:txBody>
                <a:bodyPr rtlCol="0" anchor="ctr"/>
                <a:lstStyle/>
                <a:p>
                  <a:endParaRPr lang="en-GB"/>
                </a:p>
              </p:txBody>
            </p:sp>
          </p:grpSp>
          <p:grpSp>
            <p:nvGrpSpPr>
              <p:cNvPr id="1200" name="Graphic 3">
                <a:extLst>
                  <a:ext uri="{FF2B5EF4-FFF2-40B4-BE49-F238E27FC236}">
                    <a16:creationId xmlns:a16="http://schemas.microsoft.com/office/drawing/2014/main" id="{F449CF72-42AF-47F2-9061-9B0AF90014BA}"/>
                  </a:ext>
                </a:extLst>
              </p:cNvPr>
              <p:cNvGrpSpPr/>
              <p:nvPr/>
            </p:nvGrpSpPr>
            <p:grpSpPr>
              <a:xfrm>
                <a:off x="4193295" y="3722770"/>
                <a:ext cx="223655" cy="57670"/>
                <a:chOff x="4193295" y="3722770"/>
                <a:chExt cx="223655" cy="57670"/>
              </a:xfrm>
              <a:grpFill/>
            </p:grpSpPr>
            <p:sp>
              <p:nvSpPr>
                <p:cNvPr id="1802" name="Vrije vorm: vorm 1801">
                  <a:extLst>
                    <a:ext uri="{FF2B5EF4-FFF2-40B4-BE49-F238E27FC236}">
                      <a16:creationId xmlns:a16="http://schemas.microsoft.com/office/drawing/2014/main" id="{EE62EF17-EB0B-4D08-86FA-7A891412EE72}"/>
                    </a:ext>
                  </a:extLst>
                </p:cNvPr>
                <p:cNvSpPr/>
                <p:nvPr/>
              </p:nvSpPr>
              <p:spPr>
                <a:xfrm>
                  <a:off x="4201716" y="3730395"/>
                  <a:ext cx="206813" cy="42463"/>
                </a:xfrm>
                <a:custGeom>
                  <a:avLst/>
                  <a:gdLst>
                    <a:gd name="connsiteX0" fmla="*/ 206215 w 206813"/>
                    <a:gd name="connsiteY0" fmla="*/ 0 h 42463"/>
                    <a:gd name="connsiteX1" fmla="*/ 206813 w 206813"/>
                    <a:gd name="connsiteY1" fmla="*/ 3050 h 42463"/>
                    <a:gd name="connsiteX2" fmla="*/ 598 w 206813"/>
                    <a:gd name="connsiteY2" fmla="*/ 42463 h 42463"/>
                    <a:gd name="connsiteX3" fmla="*/ 0 w 206813"/>
                    <a:gd name="connsiteY3" fmla="*/ 39413 h 42463"/>
                  </a:gdLst>
                  <a:ahLst/>
                  <a:cxnLst>
                    <a:cxn ang="0">
                      <a:pos x="connsiteX0" y="connsiteY0"/>
                    </a:cxn>
                    <a:cxn ang="0">
                      <a:pos x="connsiteX1" y="connsiteY1"/>
                    </a:cxn>
                    <a:cxn ang="0">
                      <a:pos x="connsiteX2" y="connsiteY2"/>
                    </a:cxn>
                    <a:cxn ang="0">
                      <a:pos x="connsiteX3" y="connsiteY3"/>
                    </a:cxn>
                  </a:cxnLst>
                  <a:rect l="l" t="t" r="r" b="b"/>
                  <a:pathLst>
                    <a:path w="206813" h="42463">
                      <a:moveTo>
                        <a:pt x="206215" y="0"/>
                      </a:moveTo>
                      <a:lnTo>
                        <a:pt x="206813" y="3050"/>
                      </a:lnTo>
                      <a:lnTo>
                        <a:pt x="598" y="42463"/>
                      </a:lnTo>
                      <a:lnTo>
                        <a:pt x="0" y="39413"/>
                      </a:lnTo>
                      <a:close/>
                    </a:path>
                  </a:pathLst>
                </a:custGeom>
                <a:grpFill/>
                <a:ln w="5978" cap="flat">
                  <a:noFill/>
                  <a:prstDash val="solid"/>
                  <a:miter/>
                </a:ln>
              </p:spPr>
              <p:txBody>
                <a:bodyPr rtlCol="0" anchor="ctr"/>
                <a:lstStyle/>
                <a:p>
                  <a:endParaRPr lang="en-GB"/>
                </a:p>
              </p:txBody>
            </p:sp>
            <p:sp>
              <p:nvSpPr>
                <p:cNvPr id="1803" name="Vrije vorm: vorm 1802">
                  <a:extLst>
                    <a:ext uri="{FF2B5EF4-FFF2-40B4-BE49-F238E27FC236}">
                      <a16:creationId xmlns:a16="http://schemas.microsoft.com/office/drawing/2014/main" id="{624A7453-5A94-4B8B-AF25-56C1FB431C86}"/>
                    </a:ext>
                  </a:extLst>
                </p:cNvPr>
                <p:cNvSpPr/>
                <p:nvPr/>
              </p:nvSpPr>
              <p:spPr>
                <a:xfrm>
                  <a:off x="4193295" y="3761988"/>
                  <a:ext cx="18337" cy="18452"/>
                </a:xfrm>
                <a:custGeom>
                  <a:avLst/>
                  <a:gdLst>
                    <a:gd name="connsiteX0" fmla="*/ 10933 w 18337"/>
                    <a:gd name="connsiteY0" fmla="*/ 18287 h 18452"/>
                    <a:gd name="connsiteX1" fmla="*/ 168 w 18337"/>
                    <a:gd name="connsiteY1" fmla="*/ 10931 h 18452"/>
                    <a:gd name="connsiteX2" fmla="*/ 7404 w 18337"/>
                    <a:gd name="connsiteY2" fmla="*/ 166 h 18452"/>
                    <a:gd name="connsiteX3" fmla="*/ 18170 w 18337"/>
                    <a:gd name="connsiteY3" fmla="*/ 7522 h 18452"/>
                    <a:gd name="connsiteX4" fmla="*/ 10933 w 18337"/>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2">
                      <a:moveTo>
                        <a:pt x="10933" y="18287"/>
                      </a:moveTo>
                      <a:cubicBezTo>
                        <a:pt x="5969" y="19244"/>
                        <a:pt x="1125" y="15955"/>
                        <a:pt x="168" y="10931"/>
                      </a:cubicBezTo>
                      <a:cubicBezTo>
                        <a:pt x="-789" y="5907"/>
                        <a:pt x="2441" y="1122"/>
                        <a:pt x="7404" y="166"/>
                      </a:cubicBezTo>
                      <a:cubicBezTo>
                        <a:pt x="12368" y="-791"/>
                        <a:pt x="17213" y="2498"/>
                        <a:pt x="18170" y="7522"/>
                      </a:cubicBezTo>
                      <a:cubicBezTo>
                        <a:pt x="19127" y="12546"/>
                        <a:pt x="15897" y="17330"/>
                        <a:pt x="10933" y="18287"/>
                      </a:cubicBezTo>
                      <a:close/>
                    </a:path>
                  </a:pathLst>
                </a:custGeom>
                <a:grpFill/>
                <a:ln w="5978" cap="flat">
                  <a:noFill/>
                  <a:prstDash val="solid"/>
                  <a:miter/>
                </a:ln>
              </p:spPr>
              <p:txBody>
                <a:bodyPr rtlCol="0" anchor="ctr"/>
                <a:lstStyle/>
                <a:p>
                  <a:endParaRPr lang="en-GB"/>
                </a:p>
              </p:txBody>
            </p:sp>
            <p:sp>
              <p:nvSpPr>
                <p:cNvPr id="1804" name="Vrije vorm: vorm 1803">
                  <a:extLst>
                    <a:ext uri="{FF2B5EF4-FFF2-40B4-BE49-F238E27FC236}">
                      <a16:creationId xmlns:a16="http://schemas.microsoft.com/office/drawing/2014/main" id="{B133E09E-67CF-457E-8EB1-850E0AB705A8}"/>
                    </a:ext>
                  </a:extLst>
                </p:cNvPr>
                <p:cNvSpPr/>
                <p:nvPr/>
              </p:nvSpPr>
              <p:spPr>
                <a:xfrm>
                  <a:off x="4398613" y="3722770"/>
                  <a:ext cx="18337" cy="18436"/>
                </a:xfrm>
                <a:custGeom>
                  <a:avLst/>
                  <a:gdLst>
                    <a:gd name="connsiteX0" fmla="*/ 10933 w 18337"/>
                    <a:gd name="connsiteY0" fmla="*/ 18271 h 18436"/>
                    <a:gd name="connsiteX1" fmla="*/ 18170 w 18337"/>
                    <a:gd name="connsiteY1" fmla="*/ 7506 h 18436"/>
                    <a:gd name="connsiteX2" fmla="*/ 7405 w 18337"/>
                    <a:gd name="connsiteY2" fmla="*/ 149 h 18436"/>
                    <a:gd name="connsiteX3" fmla="*/ 168 w 18337"/>
                    <a:gd name="connsiteY3" fmla="*/ 10915 h 18436"/>
                    <a:gd name="connsiteX4" fmla="*/ 10933 w 18337"/>
                    <a:gd name="connsiteY4" fmla="*/ 1827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0933" y="18271"/>
                      </a:moveTo>
                      <a:cubicBezTo>
                        <a:pt x="15897" y="17314"/>
                        <a:pt x="19127" y="12470"/>
                        <a:pt x="18170" y="7506"/>
                      </a:cubicBezTo>
                      <a:cubicBezTo>
                        <a:pt x="17213" y="2482"/>
                        <a:pt x="12369" y="-748"/>
                        <a:pt x="7405" y="149"/>
                      </a:cubicBezTo>
                      <a:cubicBezTo>
                        <a:pt x="2441" y="1106"/>
                        <a:pt x="-789" y="5951"/>
                        <a:pt x="168" y="10915"/>
                      </a:cubicBezTo>
                      <a:cubicBezTo>
                        <a:pt x="1125" y="15939"/>
                        <a:pt x="5969" y="19228"/>
                        <a:pt x="10933" y="18271"/>
                      </a:cubicBezTo>
                      <a:close/>
                    </a:path>
                  </a:pathLst>
                </a:custGeom>
                <a:grpFill/>
                <a:ln w="5978" cap="flat">
                  <a:noFill/>
                  <a:prstDash val="solid"/>
                  <a:miter/>
                </a:ln>
              </p:spPr>
              <p:txBody>
                <a:bodyPr rtlCol="0" anchor="ctr"/>
                <a:lstStyle/>
                <a:p>
                  <a:endParaRPr lang="en-GB"/>
                </a:p>
              </p:txBody>
            </p:sp>
          </p:grpSp>
          <p:grpSp>
            <p:nvGrpSpPr>
              <p:cNvPr id="1201" name="Graphic 3">
                <a:extLst>
                  <a:ext uri="{FF2B5EF4-FFF2-40B4-BE49-F238E27FC236}">
                    <a16:creationId xmlns:a16="http://schemas.microsoft.com/office/drawing/2014/main" id="{F8822AE8-220E-4212-AC72-67EB4F86B231}"/>
                  </a:ext>
                </a:extLst>
              </p:cNvPr>
              <p:cNvGrpSpPr/>
              <p:nvPr/>
            </p:nvGrpSpPr>
            <p:grpSpPr>
              <a:xfrm>
                <a:off x="4428149" y="4439981"/>
                <a:ext cx="300498" cy="236496"/>
                <a:chOff x="4428149" y="4439981"/>
                <a:chExt cx="300498" cy="236496"/>
              </a:xfrm>
              <a:grpFill/>
            </p:grpSpPr>
            <p:sp>
              <p:nvSpPr>
                <p:cNvPr id="1799" name="Vrije vorm: vorm 1798">
                  <a:extLst>
                    <a:ext uri="{FF2B5EF4-FFF2-40B4-BE49-F238E27FC236}">
                      <a16:creationId xmlns:a16="http://schemas.microsoft.com/office/drawing/2014/main" id="{43E193DF-9D72-4031-A306-BD43A61BBD4F}"/>
                    </a:ext>
                  </a:extLst>
                </p:cNvPr>
                <p:cNvSpPr/>
                <p:nvPr/>
              </p:nvSpPr>
              <p:spPr>
                <a:xfrm>
                  <a:off x="4436041" y="4447723"/>
                  <a:ext cx="284742" cy="221047"/>
                </a:xfrm>
                <a:custGeom>
                  <a:avLst/>
                  <a:gdLst>
                    <a:gd name="connsiteX0" fmla="*/ 284742 w 284742"/>
                    <a:gd name="connsiteY0" fmla="*/ 2452 h 221047"/>
                    <a:gd name="connsiteX1" fmla="*/ 1854 w 284742"/>
                    <a:gd name="connsiteY1" fmla="*/ 221047 h 221047"/>
                    <a:gd name="connsiteX2" fmla="*/ 0 w 284742"/>
                    <a:gd name="connsiteY2" fmla="*/ 218595 h 221047"/>
                    <a:gd name="connsiteX3" fmla="*/ 282888 w 284742"/>
                    <a:gd name="connsiteY3" fmla="*/ 0 h 221047"/>
                  </a:gdLst>
                  <a:ahLst/>
                  <a:cxnLst>
                    <a:cxn ang="0">
                      <a:pos x="connsiteX0" y="connsiteY0"/>
                    </a:cxn>
                    <a:cxn ang="0">
                      <a:pos x="connsiteX1" y="connsiteY1"/>
                    </a:cxn>
                    <a:cxn ang="0">
                      <a:pos x="connsiteX2" y="connsiteY2"/>
                    </a:cxn>
                    <a:cxn ang="0">
                      <a:pos x="connsiteX3" y="connsiteY3"/>
                    </a:cxn>
                  </a:cxnLst>
                  <a:rect l="l" t="t" r="r" b="b"/>
                  <a:pathLst>
                    <a:path w="284742" h="221047">
                      <a:moveTo>
                        <a:pt x="284742" y="2452"/>
                      </a:moveTo>
                      <a:lnTo>
                        <a:pt x="1854" y="221047"/>
                      </a:lnTo>
                      <a:lnTo>
                        <a:pt x="0" y="218595"/>
                      </a:lnTo>
                      <a:lnTo>
                        <a:pt x="282888" y="0"/>
                      </a:lnTo>
                      <a:close/>
                    </a:path>
                  </a:pathLst>
                </a:custGeom>
                <a:grpFill/>
                <a:ln w="5978" cap="flat">
                  <a:noFill/>
                  <a:prstDash val="solid"/>
                  <a:miter/>
                </a:ln>
              </p:spPr>
              <p:txBody>
                <a:bodyPr rtlCol="0" anchor="ctr"/>
                <a:lstStyle/>
                <a:p>
                  <a:endParaRPr lang="en-GB"/>
                </a:p>
              </p:txBody>
            </p:sp>
            <p:sp>
              <p:nvSpPr>
                <p:cNvPr id="1800" name="Vrije vorm: vorm 1799">
                  <a:extLst>
                    <a:ext uri="{FF2B5EF4-FFF2-40B4-BE49-F238E27FC236}">
                      <a16:creationId xmlns:a16="http://schemas.microsoft.com/office/drawing/2014/main" id="{783EEF08-597A-4603-B40A-E54606555096}"/>
                    </a:ext>
                  </a:extLst>
                </p:cNvPr>
                <p:cNvSpPr/>
                <p:nvPr/>
              </p:nvSpPr>
              <p:spPr>
                <a:xfrm>
                  <a:off x="4428149" y="4658013"/>
                  <a:ext cx="18328" cy="18465"/>
                </a:xfrm>
                <a:custGeom>
                  <a:avLst/>
                  <a:gdLst>
                    <a:gd name="connsiteX0" fmla="*/ 14769 w 18328"/>
                    <a:gd name="connsiteY0" fmla="*/ 16559 h 18465"/>
                    <a:gd name="connsiteX1" fmla="*/ 1910 w 18328"/>
                    <a:gd name="connsiteY1" fmla="*/ 14824 h 18465"/>
                    <a:gd name="connsiteX2" fmla="*/ 3585 w 18328"/>
                    <a:gd name="connsiteY2" fmla="*/ 1906 h 18465"/>
                    <a:gd name="connsiteX3" fmla="*/ 16444 w 18328"/>
                    <a:gd name="connsiteY3" fmla="*/ 3641 h 18465"/>
                    <a:gd name="connsiteX4" fmla="*/ 14769 w 18328"/>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65">
                      <a:moveTo>
                        <a:pt x="14769" y="16559"/>
                      </a:moveTo>
                      <a:cubicBezTo>
                        <a:pt x="10762" y="19669"/>
                        <a:pt x="5020" y="18891"/>
                        <a:pt x="1910" y="14824"/>
                      </a:cubicBezTo>
                      <a:cubicBezTo>
                        <a:pt x="-1200" y="10817"/>
                        <a:pt x="-422" y="5016"/>
                        <a:pt x="3585" y="1906"/>
                      </a:cubicBezTo>
                      <a:cubicBezTo>
                        <a:pt x="7592" y="-1204"/>
                        <a:pt x="13333" y="-426"/>
                        <a:pt x="16444" y="3641"/>
                      </a:cubicBezTo>
                      <a:cubicBezTo>
                        <a:pt x="19494" y="7707"/>
                        <a:pt x="18776" y="13509"/>
                        <a:pt x="14769" y="16559"/>
                      </a:cubicBezTo>
                      <a:close/>
                    </a:path>
                  </a:pathLst>
                </a:custGeom>
                <a:grpFill/>
                <a:ln w="5978" cap="flat">
                  <a:noFill/>
                  <a:prstDash val="solid"/>
                  <a:miter/>
                </a:ln>
              </p:spPr>
              <p:txBody>
                <a:bodyPr rtlCol="0" anchor="ctr"/>
                <a:lstStyle/>
                <a:p>
                  <a:endParaRPr lang="en-GB"/>
                </a:p>
              </p:txBody>
            </p:sp>
            <p:sp>
              <p:nvSpPr>
                <p:cNvPr id="1801" name="Vrije vorm: vorm 1800">
                  <a:extLst>
                    <a:ext uri="{FF2B5EF4-FFF2-40B4-BE49-F238E27FC236}">
                      <a16:creationId xmlns:a16="http://schemas.microsoft.com/office/drawing/2014/main" id="{BD07302A-D7CE-4D16-B509-5DE4807BB9D7}"/>
                    </a:ext>
                  </a:extLst>
                </p:cNvPr>
                <p:cNvSpPr/>
                <p:nvPr/>
              </p:nvSpPr>
              <p:spPr>
                <a:xfrm>
                  <a:off x="4710345" y="4439981"/>
                  <a:ext cx="18303" cy="18439"/>
                </a:xfrm>
                <a:custGeom>
                  <a:avLst/>
                  <a:gdLst>
                    <a:gd name="connsiteX0" fmla="*/ 14743 w 18303"/>
                    <a:gd name="connsiteY0" fmla="*/ 16534 h 18439"/>
                    <a:gd name="connsiteX1" fmla="*/ 16418 w 18303"/>
                    <a:gd name="connsiteY1" fmla="*/ 3615 h 18439"/>
                    <a:gd name="connsiteX2" fmla="*/ 3559 w 18303"/>
                    <a:gd name="connsiteY2" fmla="*/ 1881 h 18439"/>
                    <a:gd name="connsiteX3" fmla="*/ 1885 w 18303"/>
                    <a:gd name="connsiteY3" fmla="*/ 14799 h 18439"/>
                    <a:gd name="connsiteX4" fmla="*/ 14743 w 18303"/>
                    <a:gd name="connsiteY4" fmla="*/ 165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39">
                      <a:moveTo>
                        <a:pt x="14743" y="16534"/>
                      </a:moveTo>
                      <a:cubicBezTo>
                        <a:pt x="18751" y="13423"/>
                        <a:pt x="19468" y="7682"/>
                        <a:pt x="16418" y="3615"/>
                      </a:cubicBezTo>
                      <a:cubicBezTo>
                        <a:pt x="13308" y="-452"/>
                        <a:pt x="7567" y="-1170"/>
                        <a:pt x="3559" y="1881"/>
                      </a:cubicBezTo>
                      <a:cubicBezTo>
                        <a:pt x="-448" y="4991"/>
                        <a:pt x="-1165" y="10732"/>
                        <a:pt x="1885" y="14799"/>
                      </a:cubicBezTo>
                      <a:cubicBezTo>
                        <a:pt x="4995" y="18866"/>
                        <a:pt x="10736" y="19644"/>
                        <a:pt x="14743" y="16534"/>
                      </a:cubicBezTo>
                      <a:close/>
                    </a:path>
                  </a:pathLst>
                </a:custGeom>
                <a:grpFill/>
                <a:ln w="5978" cap="flat">
                  <a:noFill/>
                  <a:prstDash val="solid"/>
                  <a:miter/>
                </a:ln>
              </p:spPr>
              <p:txBody>
                <a:bodyPr rtlCol="0" anchor="ctr"/>
                <a:lstStyle/>
                <a:p>
                  <a:endParaRPr lang="en-GB"/>
                </a:p>
              </p:txBody>
            </p:sp>
          </p:grpSp>
          <p:grpSp>
            <p:nvGrpSpPr>
              <p:cNvPr id="1202" name="Graphic 3">
                <a:extLst>
                  <a:ext uri="{FF2B5EF4-FFF2-40B4-BE49-F238E27FC236}">
                    <a16:creationId xmlns:a16="http://schemas.microsoft.com/office/drawing/2014/main" id="{9A554C96-2677-40B9-A594-F77CEECF3792}"/>
                  </a:ext>
                </a:extLst>
              </p:cNvPr>
              <p:cNvGrpSpPr/>
              <p:nvPr/>
            </p:nvGrpSpPr>
            <p:grpSpPr>
              <a:xfrm>
                <a:off x="4397341" y="4084331"/>
                <a:ext cx="45941" cy="29902"/>
                <a:chOff x="4397341" y="4084331"/>
                <a:chExt cx="45941" cy="29902"/>
              </a:xfrm>
              <a:grpFill/>
            </p:grpSpPr>
            <p:sp>
              <p:nvSpPr>
                <p:cNvPr id="1796" name="Vrije vorm: vorm 1795">
                  <a:extLst>
                    <a:ext uri="{FF2B5EF4-FFF2-40B4-BE49-F238E27FC236}">
                      <a16:creationId xmlns:a16="http://schemas.microsoft.com/office/drawing/2014/main" id="{F0914659-599E-44D1-966B-2252F0D14072}"/>
                    </a:ext>
                  </a:extLst>
                </p:cNvPr>
                <p:cNvSpPr/>
                <p:nvPr/>
              </p:nvSpPr>
              <p:spPr>
                <a:xfrm>
                  <a:off x="4405677" y="4091841"/>
                  <a:ext cx="29600" cy="14676"/>
                </a:xfrm>
                <a:custGeom>
                  <a:avLst/>
                  <a:gdLst>
                    <a:gd name="connsiteX0" fmla="*/ 0 w 29600"/>
                    <a:gd name="connsiteY0" fmla="*/ 11861 h 14676"/>
                    <a:gd name="connsiteX1" fmla="*/ 28426 w 29600"/>
                    <a:gd name="connsiteY1" fmla="*/ 0 h 14676"/>
                    <a:gd name="connsiteX2" fmla="*/ 29601 w 29600"/>
                    <a:gd name="connsiteY2" fmla="*/ 2815 h 14676"/>
                    <a:gd name="connsiteX3" fmla="*/ 1175 w 29600"/>
                    <a:gd name="connsiteY3" fmla="*/ 14676 h 14676"/>
                  </a:gdLst>
                  <a:ahLst/>
                  <a:cxnLst>
                    <a:cxn ang="0">
                      <a:pos x="connsiteX0" y="connsiteY0"/>
                    </a:cxn>
                    <a:cxn ang="0">
                      <a:pos x="connsiteX1" y="connsiteY1"/>
                    </a:cxn>
                    <a:cxn ang="0">
                      <a:pos x="connsiteX2" y="connsiteY2"/>
                    </a:cxn>
                    <a:cxn ang="0">
                      <a:pos x="connsiteX3" y="connsiteY3"/>
                    </a:cxn>
                  </a:cxnLst>
                  <a:rect l="l" t="t" r="r" b="b"/>
                  <a:pathLst>
                    <a:path w="29600" h="14676">
                      <a:moveTo>
                        <a:pt x="0" y="11861"/>
                      </a:moveTo>
                      <a:lnTo>
                        <a:pt x="28426" y="0"/>
                      </a:lnTo>
                      <a:lnTo>
                        <a:pt x="29601" y="2815"/>
                      </a:lnTo>
                      <a:lnTo>
                        <a:pt x="1175" y="14676"/>
                      </a:lnTo>
                      <a:close/>
                    </a:path>
                  </a:pathLst>
                </a:custGeom>
                <a:grpFill/>
                <a:ln w="5978" cap="flat">
                  <a:noFill/>
                  <a:prstDash val="solid"/>
                  <a:miter/>
                </a:ln>
              </p:spPr>
              <p:txBody>
                <a:bodyPr rtlCol="0" anchor="ctr"/>
                <a:lstStyle/>
                <a:p>
                  <a:endParaRPr lang="en-GB"/>
                </a:p>
              </p:txBody>
            </p:sp>
            <p:sp>
              <p:nvSpPr>
                <p:cNvPr id="1797" name="Vrije vorm: vorm 1796">
                  <a:extLst>
                    <a:ext uri="{FF2B5EF4-FFF2-40B4-BE49-F238E27FC236}">
                      <a16:creationId xmlns:a16="http://schemas.microsoft.com/office/drawing/2014/main" id="{FF6E9AFE-1F03-4F6B-9D34-A8E97A75E625}"/>
                    </a:ext>
                  </a:extLst>
                </p:cNvPr>
                <p:cNvSpPr/>
                <p:nvPr/>
              </p:nvSpPr>
              <p:spPr>
                <a:xfrm>
                  <a:off x="4397341" y="4095822"/>
                  <a:ext cx="18370" cy="18411"/>
                </a:xfrm>
                <a:custGeom>
                  <a:avLst/>
                  <a:gdLst>
                    <a:gd name="connsiteX0" fmla="*/ 12744 w 18370"/>
                    <a:gd name="connsiteY0" fmla="*/ 17699 h 18411"/>
                    <a:gd name="connsiteX1" fmla="*/ 722 w 18370"/>
                    <a:gd name="connsiteY1" fmla="*/ 12735 h 18411"/>
                    <a:gd name="connsiteX2" fmla="*/ 5626 w 18370"/>
                    <a:gd name="connsiteY2" fmla="*/ 713 h 18411"/>
                    <a:gd name="connsiteX3" fmla="*/ 17648 w 18370"/>
                    <a:gd name="connsiteY3" fmla="*/ 5677 h 18411"/>
                    <a:gd name="connsiteX4" fmla="*/ 12744 w 18370"/>
                    <a:gd name="connsiteY4" fmla="*/ 17699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1">
                      <a:moveTo>
                        <a:pt x="12744" y="17699"/>
                      </a:moveTo>
                      <a:cubicBezTo>
                        <a:pt x="8079" y="19672"/>
                        <a:pt x="2696" y="17399"/>
                        <a:pt x="722" y="12735"/>
                      </a:cubicBezTo>
                      <a:cubicBezTo>
                        <a:pt x="-1251" y="8010"/>
                        <a:pt x="962" y="2627"/>
                        <a:pt x="5626" y="713"/>
                      </a:cubicBezTo>
                      <a:cubicBezTo>
                        <a:pt x="10292" y="-1260"/>
                        <a:pt x="15674" y="1012"/>
                        <a:pt x="17648" y="5677"/>
                      </a:cubicBezTo>
                      <a:cubicBezTo>
                        <a:pt x="19622" y="10402"/>
                        <a:pt x="17409" y="15785"/>
                        <a:pt x="12744" y="17699"/>
                      </a:cubicBezTo>
                      <a:close/>
                    </a:path>
                  </a:pathLst>
                </a:custGeom>
                <a:grpFill/>
                <a:ln w="5978" cap="flat">
                  <a:noFill/>
                  <a:prstDash val="solid"/>
                  <a:miter/>
                </a:ln>
              </p:spPr>
              <p:txBody>
                <a:bodyPr rtlCol="0" anchor="ctr"/>
                <a:lstStyle/>
                <a:p>
                  <a:endParaRPr lang="en-GB"/>
                </a:p>
              </p:txBody>
            </p:sp>
            <p:sp>
              <p:nvSpPr>
                <p:cNvPr id="1798" name="Vrije vorm: vorm 1797">
                  <a:extLst>
                    <a:ext uri="{FF2B5EF4-FFF2-40B4-BE49-F238E27FC236}">
                      <a16:creationId xmlns:a16="http://schemas.microsoft.com/office/drawing/2014/main" id="{4C63A9C0-50E4-478F-8E90-E099E0E744E8}"/>
                    </a:ext>
                  </a:extLst>
                </p:cNvPr>
                <p:cNvSpPr/>
                <p:nvPr/>
              </p:nvSpPr>
              <p:spPr>
                <a:xfrm>
                  <a:off x="4424912" y="4084331"/>
                  <a:ext cx="18370" cy="18419"/>
                </a:xfrm>
                <a:custGeom>
                  <a:avLst/>
                  <a:gdLst>
                    <a:gd name="connsiteX0" fmla="*/ 12743 w 18370"/>
                    <a:gd name="connsiteY0" fmla="*/ 17707 h 18419"/>
                    <a:gd name="connsiteX1" fmla="*/ 17648 w 18370"/>
                    <a:gd name="connsiteY1" fmla="*/ 5685 h 18419"/>
                    <a:gd name="connsiteX2" fmla="*/ 5626 w 18370"/>
                    <a:gd name="connsiteY2" fmla="*/ 722 h 18419"/>
                    <a:gd name="connsiteX3" fmla="*/ 722 w 18370"/>
                    <a:gd name="connsiteY3" fmla="*/ 12743 h 18419"/>
                    <a:gd name="connsiteX4" fmla="*/ 12743 w 18370"/>
                    <a:gd name="connsiteY4" fmla="*/ 1770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9">
                      <a:moveTo>
                        <a:pt x="12743" y="17707"/>
                      </a:moveTo>
                      <a:cubicBezTo>
                        <a:pt x="17409" y="15733"/>
                        <a:pt x="19621" y="10350"/>
                        <a:pt x="17648" y="5685"/>
                      </a:cubicBezTo>
                      <a:cubicBezTo>
                        <a:pt x="15674" y="961"/>
                        <a:pt x="10291" y="-1252"/>
                        <a:pt x="5626" y="722"/>
                      </a:cubicBezTo>
                      <a:cubicBezTo>
                        <a:pt x="962" y="2695"/>
                        <a:pt x="-1251" y="8078"/>
                        <a:pt x="722" y="12743"/>
                      </a:cubicBezTo>
                      <a:cubicBezTo>
                        <a:pt x="2696" y="17408"/>
                        <a:pt x="8079" y="19680"/>
                        <a:pt x="12743" y="17707"/>
                      </a:cubicBezTo>
                      <a:close/>
                    </a:path>
                  </a:pathLst>
                </a:custGeom>
                <a:grpFill/>
                <a:ln w="5978" cap="flat">
                  <a:noFill/>
                  <a:prstDash val="solid"/>
                  <a:miter/>
                </a:ln>
              </p:spPr>
              <p:txBody>
                <a:bodyPr rtlCol="0" anchor="ctr"/>
                <a:lstStyle/>
                <a:p>
                  <a:endParaRPr lang="en-GB"/>
                </a:p>
              </p:txBody>
            </p:sp>
          </p:grpSp>
          <p:grpSp>
            <p:nvGrpSpPr>
              <p:cNvPr id="1203" name="Graphic 3">
                <a:extLst>
                  <a:ext uri="{FF2B5EF4-FFF2-40B4-BE49-F238E27FC236}">
                    <a16:creationId xmlns:a16="http://schemas.microsoft.com/office/drawing/2014/main" id="{33DE314B-CEB5-461E-9DD6-B07B6E788694}"/>
                  </a:ext>
                </a:extLst>
              </p:cNvPr>
              <p:cNvGrpSpPr/>
              <p:nvPr/>
            </p:nvGrpSpPr>
            <p:grpSpPr>
              <a:xfrm>
                <a:off x="4432610" y="4417845"/>
                <a:ext cx="272857" cy="207616"/>
                <a:chOff x="4432610" y="4417845"/>
                <a:chExt cx="272857" cy="207616"/>
              </a:xfrm>
              <a:grpFill/>
            </p:grpSpPr>
            <p:sp>
              <p:nvSpPr>
                <p:cNvPr id="1793" name="Vrije vorm: vorm 1792">
                  <a:extLst>
                    <a:ext uri="{FF2B5EF4-FFF2-40B4-BE49-F238E27FC236}">
                      <a16:creationId xmlns:a16="http://schemas.microsoft.com/office/drawing/2014/main" id="{935FF8FE-8151-40F1-86BB-1B999C746CF4}"/>
                    </a:ext>
                  </a:extLst>
                </p:cNvPr>
                <p:cNvSpPr/>
                <p:nvPr/>
              </p:nvSpPr>
              <p:spPr>
                <a:xfrm>
                  <a:off x="4440466" y="4425535"/>
                  <a:ext cx="257111" cy="192220"/>
                </a:xfrm>
                <a:custGeom>
                  <a:avLst/>
                  <a:gdLst>
                    <a:gd name="connsiteX0" fmla="*/ 257111 w 257111"/>
                    <a:gd name="connsiteY0" fmla="*/ 2452 h 192220"/>
                    <a:gd name="connsiteX1" fmla="*/ 1794 w 257111"/>
                    <a:gd name="connsiteY1" fmla="*/ 192220 h 192220"/>
                    <a:gd name="connsiteX2" fmla="*/ 0 w 257111"/>
                    <a:gd name="connsiteY2" fmla="*/ 189768 h 192220"/>
                    <a:gd name="connsiteX3" fmla="*/ 255317 w 257111"/>
                    <a:gd name="connsiteY3" fmla="*/ 0 h 192220"/>
                  </a:gdLst>
                  <a:ahLst/>
                  <a:cxnLst>
                    <a:cxn ang="0">
                      <a:pos x="connsiteX0" y="connsiteY0"/>
                    </a:cxn>
                    <a:cxn ang="0">
                      <a:pos x="connsiteX1" y="connsiteY1"/>
                    </a:cxn>
                    <a:cxn ang="0">
                      <a:pos x="connsiteX2" y="connsiteY2"/>
                    </a:cxn>
                    <a:cxn ang="0">
                      <a:pos x="connsiteX3" y="connsiteY3"/>
                    </a:cxn>
                  </a:cxnLst>
                  <a:rect l="l" t="t" r="r" b="b"/>
                  <a:pathLst>
                    <a:path w="257111" h="192220">
                      <a:moveTo>
                        <a:pt x="257111" y="2452"/>
                      </a:moveTo>
                      <a:lnTo>
                        <a:pt x="1794" y="192220"/>
                      </a:lnTo>
                      <a:lnTo>
                        <a:pt x="0" y="189768"/>
                      </a:lnTo>
                      <a:lnTo>
                        <a:pt x="255317" y="0"/>
                      </a:lnTo>
                      <a:close/>
                    </a:path>
                  </a:pathLst>
                </a:custGeom>
                <a:grpFill/>
                <a:ln w="5978" cap="flat">
                  <a:noFill/>
                  <a:prstDash val="solid"/>
                  <a:miter/>
                </a:ln>
              </p:spPr>
              <p:txBody>
                <a:bodyPr rtlCol="0" anchor="ctr"/>
                <a:lstStyle/>
                <a:p>
                  <a:endParaRPr lang="en-GB"/>
                </a:p>
              </p:txBody>
            </p:sp>
            <p:sp>
              <p:nvSpPr>
                <p:cNvPr id="1794" name="Vrije vorm: vorm 1793">
                  <a:extLst>
                    <a:ext uri="{FF2B5EF4-FFF2-40B4-BE49-F238E27FC236}">
                      <a16:creationId xmlns:a16="http://schemas.microsoft.com/office/drawing/2014/main" id="{DC680C93-34DE-4ED3-AD0B-FD0C663AE3AE}"/>
                    </a:ext>
                  </a:extLst>
                </p:cNvPr>
                <p:cNvSpPr/>
                <p:nvPr/>
              </p:nvSpPr>
              <p:spPr>
                <a:xfrm>
                  <a:off x="4432610" y="4607058"/>
                  <a:ext cx="18300" cy="18403"/>
                </a:xfrm>
                <a:custGeom>
                  <a:avLst/>
                  <a:gdLst>
                    <a:gd name="connsiteX0" fmla="*/ 14614 w 18300"/>
                    <a:gd name="connsiteY0" fmla="*/ 16618 h 18403"/>
                    <a:gd name="connsiteX1" fmla="*/ 1815 w 18300"/>
                    <a:gd name="connsiteY1" fmla="*/ 14644 h 18403"/>
                    <a:gd name="connsiteX2" fmla="*/ 3729 w 18300"/>
                    <a:gd name="connsiteY2" fmla="*/ 1786 h 18403"/>
                    <a:gd name="connsiteX3" fmla="*/ 16528 w 18300"/>
                    <a:gd name="connsiteY3" fmla="*/ 3759 h 18403"/>
                    <a:gd name="connsiteX4" fmla="*/ 14614 w 18300"/>
                    <a:gd name="connsiteY4" fmla="*/ 16618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03">
                      <a:moveTo>
                        <a:pt x="14614" y="16618"/>
                      </a:moveTo>
                      <a:cubicBezTo>
                        <a:pt x="10547" y="19608"/>
                        <a:pt x="4806" y="18771"/>
                        <a:pt x="1815" y="14644"/>
                      </a:cubicBezTo>
                      <a:cubicBezTo>
                        <a:pt x="-1235" y="10577"/>
                        <a:pt x="-338" y="4776"/>
                        <a:pt x="3729" y="1786"/>
                      </a:cubicBezTo>
                      <a:cubicBezTo>
                        <a:pt x="7796" y="-1205"/>
                        <a:pt x="13538" y="-367"/>
                        <a:pt x="16528" y="3759"/>
                      </a:cubicBezTo>
                      <a:cubicBezTo>
                        <a:pt x="19518" y="7826"/>
                        <a:pt x="18621" y="13568"/>
                        <a:pt x="14614" y="16618"/>
                      </a:cubicBezTo>
                      <a:close/>
                    </a:path>
                  </a:pathLst>
                </a:custGeom>
                <a:grpFill/>
                <a:ln w="5978" cap="flat">
                  <a:noFill/>
                  <a:prstDash val="solid"/>
                  <a:miter/>
                </a:ln>
              </p:spPr>
              <p:txBody>
                <a:bodyPr rtlCol="0" anchor="ctr"/>
                <a:lstStyle/>
                <a:p>
                  <a:endParaRPr lang="en-GB"/>
                </a:p>
              </p:txBody>
            </p:sp>
            <p:sp>
              <p:nvSpPr>
                <p:cNvPr id="1795" name="Vrije vorm: vorm 1794">
                  <a:extLst>
                    <a:ext uri="{FF2B5EF4-FFF2-40B4-BE49-F238E27FC236}">
                      <a16:creationId xmlns:a16="http://schemas.microsoft.com/office/drawing/2014/main" id="{131FDC44-A1FB-43F2-AC03-CC288B1D0CB9}"/>
                    </a:ext>
                  </a:extLst>
                </p:cNvPr>
                <p:cNvSpPr/>
                <p:nvPr/>
              </p:nvSpPr>
              <p:spPr>
                <a:xfrm>
                  <a:off x="4687176" y="4417845"/>
                  <a:ext cx="18291" cy="18386"/>
                </a:xfrm>
                <a:custGeom>
                  <a:avLst/>
                  <a:gdLst>
                    <a:gd name="connsiteX0" fmla="*/ 14588 w 18291"/>
                    <a:gd name="connsiteY0" fmla="*/ 16601 h 18386"/>
                    <a:gd name="connsiteX1" fmla="*/ 16502 w 18291"/>
                    <a:gd name="connsiteY1" fmla="*/ 3742 h 18386"/>
                    <a:gd name="connsiteX2" fmla="*/ 3703 w 18291"/>
                    <a:gd name="connsiteY2" fmla="*/ 1768 h 18386"/>
                    <a:gd name="connsiteX3" fmla="*/ 1790 w 18291"/>
                    <a:gd name="connsiteY3" fmla="*/ 14627 h 18386"/>
                    <a:gd name="connsiteX4" fmla="*/ 14588 w 18291"/>
                    <a:gd name="connsiteY4" fmla="*/ 16601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386">
                      <a:moveTo>
                        <a:pt x="14588" y="16601"/>
                      </a:moveTo>
                      <a:cubicBezTo>
                        <a:pt x="18655" y="13550"/>
                        <a:pt x="19493" y="7809"/>
                        <a:pt x="16502" y="3742"/>
                      </a:cubicBezTo>
                      <a:cubicBezTo>
                        <a:pt x="13512" y="-325"/>
                        <a:pt x="7710" y="-1222"/>
                        <a:pt x="3703" y="1768"/>
                      </a:cubicBezTo>
                      <a:cubicBezTo>
                        <a:pt x="-363" y="4819"/>
                        <a:pt x="-1201" y="10560"/>
                        <a:pt x="1790" y="14627"/>
                      </a:cubicBezTo>
                      <a:cubicBezTo>
                        <a:pt x="4780" y="18754"/>
                        <a:pt x="10522" y="19591"/>
                        <a:pt x="14588" y="16601"/>
                      </a:cubicBezTo>
                      <a:close/>
                    </a:path>
                  </a:pathLst>
                </a:custGeom>
                <a:grpFill/>
                <a:ln w="5978" cap="flat">
                  <a:noFill/>
                  <a:prstDash val="solid"/>
                  <a:miter/>
                </a:ln>
              </p:spPr>
              <p:txBody>
                <a:bodyPr rtlCol="0" anchor="ctr"/>
                <a:lstStyle/>
                <a:p>
                  <a:endParaRPr lang="en-GB"/>
                </a:p>
              </p:txBody>
            </p:sp>
          </p:grpSp>
          <p:grpSp>
            <p:nvGrpSpPr>
              <p:cNvPr id="1204" name="Graphic 3">
                <a:extLst>
                  <a:ext uri="{FF2B5EF4-FFF2-40B4-BE49-F238E27FC236}">
                    <a16:creationId xmlns:a16="http://schemas.microsoft.com/office/drawing/2014/main" id="{69CC8B86-B7E3-4287-9D54-CA8092DEBAF4}"/>
                  </a:ext>
                </a:extLst>
              </p:cNvPr>
              <p:cNvGrpSpPr/>
              <p:nvPr/>
            </p:nvGrpSpPr>
            <p:grpSpPr>
              <a:xfrm>
                <a:off x="4388506" y="4051342"/>
                <a:ext cx="48538" cy="30340"/>
                <a:chOff x="4388506" y="4051342"/>
                <a:chExt cx="48538" cy="30340"/>
              </a:xfrm>
              <a:grpFill/>
            </p:grpSpPr>
            <p:sp>
              <p:nvSpPr>
                <p:cNvPr id="1790" name="Vrije vorm: vorm 1789">
                  <a:extLst>
                    <a:ext uri="{FF2B5EF4-FFF2-40B4-BE49-F238E27FC236}">
                      <a16:creationId xmlns:a16="http://schemas.microsoft.com/office/drawing/2014/main" id="{107BAFA0-6F18-4965-B6EC-DE700456382E}"/>
                    </a:ext>
                  </a:extLst>
                </p:cNvPr>
                <p:cNvSpPr/>
                <p:nvPr/>
              </p:nvSpPr>
              <p:spPr>
                <a:xfrm>
                  <a:off x="4396687" y="4058976"/>
                  <a:ext cx="32176" cy="15071"/>
                </a:xfrm>
                <a:custGeom>
                  <a:avLst/>
                  <a:gdLst>
                    <a:gd name="connsiteX0" fmla="*/ 32176 w 32176"/>
                    <a:gd name="connsiteY0" fmla="*/ 2811 h 15071"/>
                    <a:gd name="connsiteX1" fmla="*/ 1136 w 32176"/>
                    <a:gd name="connsiteY1" fmla="*/ 15071 h 15071"/>
                    <a:gd name="connsiteX2" fmla="*/ 0 w 32176"/>
                    <a:gd name="connsiteY2" fmla="*/ 12201 h 15071"/>
                    <a:gd name="connsiteX3" fmla="*/ 31040 w 32176"/>
                    <a:gd name="connsiteY3" fmla="*/ 0 h 15071"/>
                  </a:gdLst>
                  <a:ahLst/>
                  <a:cxnLst>
                    <a:cxn ang="0">
                      <a:pos x="connsiteX0" y="connsiteY0"/>
                    </a:cxn>
                    <a:cxn ang="0">
                      <a:pos x="connsiteX1" y="connsiteY1"/>
                    </a:cxn>
                    <a:cxn ang="0">
                      <a:pos x="connsiteX2" y="connsiteY2"/>
                    </a:cxn>
                    <a:cxn ang="0">
                      <a:pos x="connsiteX3" y="connsiteY3"/>
                    </a:cxn>
                  </a:cxnLst>
                  <a:rect l="l" t="t" r="r" b="b"/>
                  <a:pathLst>
                    <a:path w="32176" h="15071">
                      <a:moveTo>
                        <a:pt x="32176" y="2811"/>
                      </a:moveTo>
                      <a:lnTo>
                        <a:pt x="1136" y="15071"/>
                      </a:lnTo>
                      <a:lnTo>
                        <a:pt x="0" y="12201"/>
                      </a:lnTo>
                      <a:lnTo>
                        <a:pt x="31040" y="0"/>
                      </a:lnTo>
                      <a:close/>
                    </a:path>
                  </a:pathLst>
                </a:custGeom>
                <a:grpFill/>
                <a:ln w="5978" cap="flat">
                  <a:noFill/>
                  <a:prstDash val="solid"/>
                  <a:miter/>
                </a:ln>
              </p:spPr>
              <p:txBody>
                <a:bodyPr rtlCol="0" anchor="ctr"/>
                <a:lstStyle/>
                <a:p>
                  <a:endParaRPr lang="en-GB"/>
                </a:p>
              </p:txBody>
            </p:sp>
            <p:sp>
              <p:nvSpPr>
                <p:cNvPr id="1791" name="Vrije vorm: vorm 1790">
                  <a:extLst>
                    <a:ext uri="{FF2B5EF4-FFF2-40B4-BE49-F238E27FC236}">
                      <a16:creationId xmlns:a16="http://schemas.microsoft.com/office/drawing/2014/main" id="{5F4AC2C2-169F-4061-BCBC-0A67A8CE915D}"/>
                    </a:ext>
                  </a:extLst>
                </p:cNvPr>
                <p:cNvSpPr/>
                <p:nvPr/>
              </p:nvSpPr>
              <p:spPr>
                <a:xfrm>
                  <a:off x="4388506" y="4063244"/>
                  <a:ext cx="18335" cy="18438"/>
                </a:xfrm>
                <a:custGeom>
                  <a:avLst/>
                  <a:gdLst>
                    <a:gd name="connsiteX0" fmla="*/ 12547 w 18335"/>
                    <a:gd name="connsiteY0" fmla="*/ 17801 h 18438"/>
                    <a:gd name="connsiteX1" fmla="*/ 645 w 18335"/>
                    <a:gd name="connsiteY1" fmla="*/ 12598 h 18438"/>
                    <a:gd name="connsiteX2" fmla="*/ 5788 w 18335"/>
                    <a:gd name="connsiteY2" fmla="*/ 637 h 18438"/>
                    <a:gd name="connsiteX3" fmla="*/ 17690 w 18335"/>
                    <a:gd name="connsiteY3" fmla="*/ 5840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7822" y="19656"/>
                        <a:pt x="2499" y="17323"/>
                        <a:pt x="645" y="12598"/>
                      </a:cubicBezTo>
                      <a:cubicBezTo>
                        <a:pt x="-1209" y="7874"/>
                        <a:pt x="1064" y="2491"/>
                        <a:pt x="5788" y="637"/>
                      </a:cubicBezTo>
                      <a:cubicBezTo>
                        <a:pt x="10513" y="-1217"/>
                        <a:pt x="15836" y="1115"/>
                        <a:pt x="17690" y="5840"/>
                      </a:cubicBezTo>
                      <a:cubicBezTo>
                        <a:pt x="19544" y="10565"/>
                        <a:pt x="17272" y="15947"/>
                        <a:pt x="12547" y="17801"/>
                      </a:cubicBezTo>
                      <a:close/>
                    </a:path>
                  </a:pathLst>
                </a:custGeom>
                <a:grpFill/>
                <a:ln w="5978" cap="flat">
                  <a:noFill/>
                  <a:prstDash val="solid"/>
                  <a:miter/>
                </a:ln>
              </p:spPr>
              <p:txBody>
                <a:bodyPr rtlCol="0" anchor="ctr"/>
                <a:lstStyle/>
                <a:p>
                  <a:endParaRPr lang="en-GB"/>
                </a:p>
              </p:txBody>
            </p:sp>
            <p:sp>
              <p:nvSpPr>
                <p:cNvPr id="1792" name="Vrije vorm: vorm 1791">
                  <a:extLst>
                    <a:ext uri="{FF2B5EF4-FFF2-40B4-BE49-F238E27FC236}">
                      <a16:creationId xmlns:a16="http://schemas.microsoft.com/office/drawing/2014/main" id="{F52CD520-8DD2-468D-BF9C-63D75F95DFFC}"/>
                    </a:ext>
                  </a:extLst>
                </p:cNvPr>
                <p:cNvSpPr/>
                <p:nvPr/>
              </p:nvSpPr>
              <p:spPr>
                <a:xfrm>
                  <a:off x="4418709" y="4051342"/>
                  <a:ext cx="18335" cy="18438"/>
                </a:xfrm>
                <a:custGeom>
                  <a:avLst/>
                  <a:gdLst>
                    <a:gd name="connsiteX0" fmla="*/ 12547 w 18335"/>
                    <a:gd name="connsiteY0" fmla="*/ 17801 h 18438"/>
                    <a:gd name="connsiteX1" fmla="*/ 17690 w 18335"/>
                    <a:gd name="connsiteY1" fmla="*/ 5840 h 18438"/>
                    <a:gd name="connsiteX2" fmla="*/ 5789 w 18335"/>
                    <a:gd name="connsiteY2" fmla="*/ 637 h 18438"/>
                    <a:gd name="connsiteX3" fmla="*/ 645 w 18335"/>
                    <a:gd name="connsiteY3" fmla="*/ 12598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17272" y="15947"/>
                        <a:pt x="19544" y="10565"/>
                        <a:pt x="17690" y="5840"/>
                      </a:cubicBezTo>
                      <a:cubicBezTo>
                        <a:pt x="15836" y="1115"/>
                        <a:pt x="10513" y="-1217"/>
                        <a:pt x="5789" y="637"/>
                      </a:cubicBezTo>
                      <a:cubicBezTo>
                        <a:pt x="1064" y="2491"/>
                        <a:pt x="-1209" y="7874"/>
                        <a:pt x="645" y="12598"/>
                      </a:cubicBezTo>
                      <a:cubicBezTo>
                        <a:pt x="2499" y="17323"/>
                        <a:pt x="7822" y="19655"/>
                        <a:pt x="12547" y="17801"/>
                      </a:cubicBezTo>
                      <a:close/>
                    </a:path>
                  </a:pathLst>
                </a:custGeom>
                <a:grpFill/>
                <a:ln w="5978" cap="flat">
                  <a:noFill/>
                  <a:prstDash val="solid"/>
                  <a:miter/>
                </a:ln>
              </p:spPr>
              <p:txBody>
                <a:bodyPr rtlCol="0" anchor="ctr"/>
                <a:lstStyle/>
                <a:p>
                  <a:endParaRPr lang="en-GB"/>
                </a:p>
              </p:txBody>
            </p:sp>
          </p:grpSp>
          <p:grpSp>
            <p:nvGrpSpPr>
              <p:cNvPr id="1205" name="Graphic 3">
                <a:extLst>
                  <a:ext uri="{FF2B5EF4-FFF2-40B4-BE49-F238E27FC236}">
                    <a16:creationId xmlns:a16="http://schemas.microsoft.com/office/drawing/2014/main" id="{3E7D185E-B44B-4C85-8843-08EEE6F58F5A}"/>
                  </a:ext>
                </a:extLst>
              </p:cNvPr>
              <p:cNvGrpSpPr/>
              <p:nvPr/>
            </p:nvGrpSpPr>
            <p:grpSpPr>
              <a:xfrm>
                <a:off x="4319063" y="3916467"/>
                <a:ext cx="109583" cy="46811"/>
                <a:chOff x="4319063" y="3916467"/>
                <a:chExt cx="109583" cy="46811"/>
              </a:xfrm>
              <a:grpFill/>
            </p:grpSpPr>
            <p:sp>
              <p:nvSpPr>
                <p:cNvPr id="1787" name="Vrije vorm: vorm 1786">
                  <a:extLst>
                    <a:ext uri="{FF2B5EF4-FFF2-40B4-BE49-F238E27FC236}">
                      <a16:creationId xmlns:a16="http://schemas.microsoft.com/office/drawing/2014/main" id="{857DBAB0-CED8-4F7F-A494-CF6B9F167C31}"/>
                    </a:ext>
                  </a:extLst>
                </p:cNvPr>
                <p:cNvSpPr/>
                <p:nvPr/>
              </p:nvSpPr>
              <p:spPr>
                <a:xfrm>
                  <a:off x="4327282" y="3923983"/>
                  <a:ext cx="93006" cy="31611"/>
                </a:xfrm>
                <a:custGeom>
                  <a:avLst/>
                  <a:gdLst>
                    <a:gd name="connsiteX0" fmla="*/ 0 w 93006"/>
                    <a:gd name="connsiteY0" fmla="*/ 28699 h 31611"/>
                    <a:gd name="connsiteX1" fmla="*/ 92099 w 93006"/>
                    <a:gd name="connsiteY1" fmla="*/ 0 h 31611"/>
                    <a:gd name="connsiteX2" fmla="*/ 93006 w 93006"/>
                    <a:gd name="connsiteY2" fmla="*/ 2912 h 31611"/>
                    <a:gd name="connsiteX3" fmla="*/ 907 w 93006"/>
                    <a:gd name="connsiteY3" fmla="*/ 31612 h 31611"/>
                  </a:gdLst>
                  <a:ahLst/>
                  <a:cxnLst>
                    <a:cxn ang="0">
                      <a:pos x="connsiteX0" y="connsiteY0"/>
                    </a:cxn>
                    <a:cxn ang="0">
                      <a:pos x="connsiteX1" y="connsiteY1"/>
                    </a:cxn>
                    <a:cxn ang="0">
                      <a:pos x="connsiteX2" y="connsiteY2"/>
                    </a:cxn>
                    <a:cxn ang="0">
                      <a:pos x="connsiteX3" y="connsiteY3"/>
                    </a:cxn>
                  </a:cxnLst>
                  <a:rect l="l" t="t" r="r" b="b"/>
                  <a:pathLst>
                    <a:path w="93006" h="31611">
                      <a:moveTo>
                        <a:pt x="0" y="28699"/>
                      </a:moveTo>
                      <a:lnTo>
                        <a:pt x="92099" y="0"/>
                      </a:lnTo>
                      <a:lnTo>
                        <a:pt x="93006" y="2912"/>
                      </a:lnTo>
                      <a:lnTo>
                        <a:pt x="907" y="31612"/>
                      </a:lnTo>
                      <a:close/>
                    </a:path>
                  </a:pathLst>
                </a:custGeom>
                <a:grpFill/>
                <a:ln w="5978" cap="flat">
                  <a:noFill/>
                  <a:prstDash val="solid"/>
                  <a:miter/>
                </a:ln>
              </p:spPr>
              <p:txBody>
                <a:bodyPr rtlCol="0" anchor="ctr"/>
                <a:lstStyle/>
                <a:p>
                  <a:endParaRPr lang="en-GB"/>
                </a:p>
              </p:txBody>
            </p:sp>
            <p:sp>
              <p:nvSpPr>
                <p:cNvPr id="1788" name="Vrije vorm: vorm 1787">
                  <a:extLst>
                    <a:ext uri="{FF2B5EF4-FFF2-40B4-BE49-F238E27FC236}">
                      <a16:creationId xmlns:a16="http://schemas.microsoft.com/office/drawing/2014/main" id="{A05D3D5B-12BF-41DB-9403-2FE106FBEF76}"/>
                    </a:ext>
                  </a:extLst>
                </p:cNvPr>
                <p:cNvSpPr/>
                <p:nvPr/>
              </p:nvSpPr>
              <p:spPr>
                <a:xfrm>
                  <a:off x="4319063" y="3944811"/>
                  <a:ext cx="18317" cy="18468"/>
                </a:xfrm>
                <a:custGeom>
                  <a:avLst/>
                  <a:gdLst>
                    <a:gd name="connsiteX0" fmla="*/ 11896 w 18317"/>
                    <a:gd name="connsiteY0" fmla="*/ 18056 h 18468"/>
                    <a:gd name="connsiteX1" fmla="*/ 413 w 18317"/>
                    <a:gd name="connsiteY1" fmla="*/ 11955 h 18468"/>
                    <a:gd name="connsiteX2" fmla="*/ 6394 w 18317"/>
                    <a:gd name="connsiteY2" fmla="*/ 413 h 18468"/>
                    <a:gd name="connsiteX3" fmla="*/ 17877 w 18317"/>
                    <a:gd name="connsiteY3" fmla="*/ 6513 h 18468"/>
                    <a:gd name="connsiteX4" fmla="*/ 11896 w 18317"/>
                    <a:gd name="connsiteY4" fmla="*/ 1805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68">
                      <a:moveTo>
                        <a:pt x="11896" y="18056"/>
                      </a:moveTo>
                      <a:cubicBezTo>
                        <a:pt x="7052" y="19551"/>
                        <a:pt x="1908" y="16859"/>
                        <a:pt x="413" y="11955"/>
                      </a:cubicBezTo>
                      <a:cubicBezTo>
                        <a:pt x="-1082" y="7111"/>
                        <a:pt x="1609" y="1908"/>
                        <a:pt x="6394" y="413"/>
                      </a:cubicBezTo>
                      <a:cubicBezTo>
                        <a:pt x="11238" y="-1083"/>
                        <a:pt x="16382" y="1609"/>
                        <a:pt x="17877" y="6513"/>
                      </a:cubicBezTo>
                      <a:cubicBezTo>
                        <a:pt x="19432" y="11417"/>
                        <a:pt x="16741" y="16561"/>
                        <a:pt x="11896" y="18056"/>
                      </a:cubicBezTo>
                      <a:close/>
                    </a:path>
                  </a:pathLst>
                </a:custGeom>
                <a:grpFill/>
                <a:ln w="5978" cap="flat">
                  <a:noFill/>
                  <a:prstDash val="solid"/>
                  <a:miter/>
                </a:ln>
              </p:spPr>
              <p:txBody>
                <a:bodyPr rtlCol="0" anchor="ctr"/>
                <a:lstStyle/>
                <a:p>
                  <a:endParaRPr lang="en-GB"/>
                </a:p>
              </p:txBody>
            </p:sp>
            <p:sp>
              <p:nvSpPr>
                <p:cNvPr id="1789" name="Vrije vorm: vorm 1788">
                  <a:extLst>
                    <a:ext uri="{FF2B5EF4-FFF2-40B4-BE49-F238E27FC236}">
                      <a16:creationId xmlns:a16="http://schemas.microsoft.com/office/drawing/2014/main" id="{D92B3EEA-D905-42AD-A3D9-992AEDA92E31}"/>
                    </a:ext>
                  </a:extLst>
                </p:cNvPr>
                <p:cNvSpPr/>
                <p:nvPr/>
              </p:nvSpPr>
              <p:spPr>
                <a:xfrm>
                  <a:off x="4410301" y="3916467"/>
                  <a:ext cx="18345" cy="18457"/>
                </a:xfrm>
                <a:custGeom>
                  <a:avLst/>
                  <a:gdLst>
                    <a:gd name="connsiteX0" fmla="*/ 11924 w 18345"/>
                    <a:gd name="connsiteY0" fmla="*/ 18050 h 18457"/>
                    <a:gd name="connsiteX1" fmla="*/ 17905 w 18345"/>
                    <a:gd name="connsiteY1" fmla="*/ 6508 h 18457"/>
                    <a:gd name="connsiteX2" fmla="*/ 6421 w 18345"/>
                    <a:gd name="connsiteY2" fmla="*/ 407 h 18457"/>
                    <a:gd name="connsiteX3" fmla="*/ 441 w 18345"/>
                    <a:gd name="connsiteY3" fmla="*/ 11950 h 18457"/>
                    <a:gd name="connsiteX4" fmla="*/ 11924 w 18345"/>
                    <a:gd name="connsiteY4" fmla="*/ 1805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57">
                      <a:moveTo>
                        <a:pt x="11924" y="18050"/>
                      </a:moveTo>
                      <a:cubicBezTo>
                        <a:pt x="16768" y="16555"/>
                        <a:pt x="19459" y="11412"/>
                        <a:pt x="17905" y="6508"/>
                      </a:cubicBezTo>
                      <a:cubicBezTo>
                        <a:pt x="16410" y="1663"/>
                        <a:pt x="11266" y="-1088"/>
                        <a:pt x="6421" y="407"/>
                      </a:cubicBezTo>
                      <a:cubicBezTo>
                        <a:pt x="1577" y="1903"/>
                        <a:pt x="-1114" y="7046"/>
                        <a:pt x="441" y="11950"/>
                      </a:cubicBezTo>
                      <a:cubicBezTo>
                        <a:pt x="1936" y="16795"/>
                        <a:pt x="7080" y="19546"/>
                        <a:pt x="11924" y="18050"/>
                      </a:cubicBezTo>
                      <a:close/>
                    </a:path>
                  </a:pathLst>
                </a:custGeom>
                <a:grpFill/>
                <a:ln w="5978" cap="flat">
                  <a:noFill/>
                  <a:prstDash val="solid"/>
                  <a:miter/>
                </a:ln>
              </p:spPr>
              <p:txBody>
                <a:bodyPr rtlCol="0" anchor="ctr"/>
                <a:lstStyle/>
                <a:p>
                  <a:endParaRPr lang="en-GB"/>
                </a:p>
              </p:txBody>
            </p:sp>
          </p:grpSp>
          <p:grpSp>
            <p:nvGrpSpPr>
              <p:cNvPr id="1206" name="Graphic 3">
                <a:extLst>
                  <a:ext uri="{FF2B5EF4-FFF2-40B4-BE49-F238E27FC236}">
                    <a16:creationId xmlns:a16="http://schemas.microsoft.com/office/drawing/2014/main" id="{1A8A356D-B983-4D52-90D0-08554E3C19C1}"/>
                  </a:ext>
                </a:extLst>
              </p:cNvPr>
              <p:cNvGrpSpPr/>
              <p:nvPr/>
            </p:nvGrpSpPr>
            <p:grpSpPr>
              <a:xfrm>
                <a:off x="3953661" y="3094850"/>
                <a:ext cx="290551" cy="59171"/>
                <a:chOff x="3953661" y="3094850"/>
                <a:chExt cx="290551" cy="59171"/>
              </a:xfrm>
              <a:grpFill/>
            </p:grpSpPr>
            <p:sp>
              <p:nvSpPr>
                <p:cNvPr id="1784" name="Vrije vorm: vorm 1783">
                  <a:extLst>
                    <a:ext uri="{FF2B5EF4-FFF2-40B4-BE49-F238E27FC236}">
                      <a16:creationId xmlns:a16="http://schemas.microsoft.com/office/drawing/2014/main" id="{CC7660B3-22C6-4C9E-9B32-4F4762F476B1}"/>
                    </a:ext>
                  </a:extLst>
                </p:cNvPr>
                <p:cNvSpPr/>
                <p:nvPr/>
              </p:nvSpPr>
              <p:spPr>
                <a:xfrm>
                  <a:off x="3962128" y="3102480"/>
                  <a:ext cx="273558" cy="43898"/>
                </a:xfrm>
                <a:custGeom>
                  <a:avLst/>
                  <a:gdLst>
                    <a:gd name="connsiteX0" fmla="*/ 273558 w 273558"/>
                    <a:gd name="connsiteY0" fmla="*/ 40848 h 43898"/>
                    <a:gd name="connsiteX1" fmla="*/ 273140 w 273558"/>
                    <a:gd name="connsiteY1" fmla="*/ 43898 h 43898"/>
                    <a:gd name="connsiteX2" fmla="*/ 0 w 273558"/>
                    <a:gd name="connsiteY2" fmla="*/ 3050 h 43898"/>
                    <a:gd name="connsiteX3" fmla="*/ 478 w 273558"/>
                    <a:gd name="connsiteY3" fmla="*/ 0 h 43898"/>
                  </a:gdLst>
                  <a:ahLst/>
                  <a:cxnLst>
                    <a:cxn ang="0">
                      <a:pos x="connsiteX0" y="connsiteY0"/>
                    </a:cxn>
                    <a:cxn ang="0">
                      <a:pos x="connsiteX1" y="connsiteY1"/>
                    </a:cxn>
                    <a:cxn ang="0">
                      <a:pos x="connsiteX2" y="connsiteY2"/>
                    </a:cxn>
                    <a:cxn ang="0">
                      <a:pos x="connsiteX3" y="connsiteY3"/>
                    </a:cxn>
                  </a:cxnLst>
                  <a:rect l="l" t="t" r="r" b="b"/>
                  <a:pathLst>
                    <a:path w="273558" h="43898">
                      <a:moveTo>
                        <a:pt x="273558" y="40848"/>
                      </a:moveTo>
                      <a:lnTo>
                        <a:pt x="273140" y="43898"/>
                      </a:lnTo>
                      <a:lnTo>
                        <a:pt x="0" y="3050"/>
                      </a:lnTo>
                      <a:lnTo>
                        <a:pt x="478" y="0"/>
                      </a:lnTo>
                      <a:close/>
                    </a:path>
                  </a:pathLst>
                </a:custGeom>
                <a:grpFill/>
                <a:ln w="5978" cap="flat">
                  <a:noFill/>
                  <a:prstDash val="solid"/>
                  <a:miter/>
                </a:ln>
              </p:spPr>
              <p:txBody>
                <a:bodyPr rtlCol="0" anchor="ctr"/>
                <a:lstStyle/>
                <a:p>
                  <a:endParaRPr lang="en-GB"/>
                </a:p>
              </p:txBody>
            </p:sp>
            <p:sp>
              <p:nvSpPr>
                <p:cNvPr id="1785" name="Vrije vorm: vorm 1784">
                  <a:extLst>
                    <a:ext uri="{FF2B5EF4-FFF2-40B4-BE49-F238E27FC236}">
                      <a16:creationId xmlns:a16="http://schemas.microsoft.com/office/drawing/2014/main" id="{FCC82D01-DB84-4366-9EAB-404FC956791A}"/>
                    </a:ext>
                  </a:extLst>
                </p:cNvPr>
                <p:cNvSpPr/>
                <p:nvPr/>
              </p:nvSpPr>
              <p:spPr>
                <a:xfrm>
                  <a:off x="3953661" y="3094850"/>
                  <a:ext cx="18369" cy="18444"/>
                </a:xfrm>
                <a:custGeom>
                  <a:avLst/>
                  <a:gdLst>
                    <a:gd name="connsiteX0" fmla="*/ 7869 w 18369"/>
                    <a:gd name="connsiteY0" fmla="*/ 18335 h 18444"/>
                    <a:gd name="connsiteX1" fmla="*/ 94 w 18369"/>
                    <a:gd name="connsiteY1" fmla="*/ 7869 h 18444"/>
                    <a:gd name="connsiteX2" fmla="*/ 10500 w 18369"/>
                    <a:gd name="connsiteY2" fmla="*/ 94 h 18444"/>
                    <a:gd name="connsiteX3" fmla="*/ 18275 w 18369"/>
                    <a:gd name="connsiteY3" fmla="*/ 10560 h 18444"/>
                    <a:gd name="connsiteX4" fmla="*/ 7869 w 18369"/>
                    <a:gd name="connsiteY4" fmla="*/ 1833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4">
                      <a:moveTo>
                        <a:pt x="7869" y="18335"/>
                      </a:moveTo>
                      <a:cubicBezTo>
                        <a:pt x="2845" y="17558"/>
                        <a:pt x="-624" y="12893"/>
                        <a:pt x="94" y="7869"/>
                      </a:cubicBezTo>
                      <a:cubicBezTo>
                        <a:pt x="812" y="2845"/>
                        <a:pt x="5477" y="-624"/>
                        <a:pt x="10500" y="94"/>
                      </a:cubicBezTo>
                      <a:cubicBezTo>
                        <a:pt x="15524" y="872"/>
                        <a:pt x="18993" y="5536"/>
                        <a:pt x="18275" y="10560"/>
                      </a:cubicBezTo>
                      <a:cubicBezTo>
                        <a:pt x="17498" y="15644"/>
                        <a:pt x="12833" y="19113"/>
                        <a:pt x="7869" y="18335"/>
                      </a:cubicBezTo>
                      <a:close/>
                    </a:path>
                  </a:pathLst>
                </a:custGeom>
                <a:grpFill/>
                <a:ln w="5978" cap="flat">
                  <a:noFill/>
                  <a:prstDash val="solid"/>
                  <a:miter/>
                </a:ln>
              </p:spPr>
              <p:txBody>
                <a:bodyPr rtlCol="0" anchor="ctr"/>
                <a:lstStyle/>
                <a:p>
                  <a:endParaRPr lang="en-GB"/>
                </a:p>
              </p:txBody>
            </p:sp>
            <p:sp>
              <p:nvSpPr>
                <p:cNvPr id="1786" name="Vrije vorm: vorm 1785">
                  <a:extLst>
                    <a:ext uri="{FF2B5EF4-FFF2-40B4-BE49-F238E27FC236}">
                      <a16:creationId xmlns:a16="http://schemas.microsoft.com/office/drawing/2014/main" id="{49F99326-FCB8-4E6D-A4E4-E486A572EDC6}"/>
                    </a:ext>
                  </a:extLst>
                </p:cNvPr>
                <p:cNvSpPr/>
                <p:nvPr/>
              </p:nvSpPr>
              <p:spPr>
                <a:xfrm>
                  <a:off x="4225844" y="3135565"/>
                  <a:ext cx="18369" cy="18456"/>
                </a:xfrm>
                <a:custGeom>
                  <a:avLst/>
                  <a:gdLst>
                    <a:gd name="connsiteX0" fmla="*/ 7869 w 18369"/>
                    <a:gd name="connsiteY0" fmla="*/ 18349 h 18456"/>
                    <a:gd name="connsiteX1" fmla="*/ 18275 w 18369"/>
                    <a:gd name="connsiteY1" fmla="*/ 10574 h 18456"/>
                    <a:gd name="connsiteX2" fmla="*/ 10500 w 18369"/>
                    <a:gd name="connsiteY2" fmla="*/ 107 h 18456"/>
                    <a:gd name="connsiteX3" fmla="*/ 94 w 18369"/>
                    <a:gd name="connsiteY3" fmla="*/ 7883 h 18456"/>
                    <a:gd name="connsiteX4" fmla="*/ 7869 w 18369"/>
                    <a:gd name="connsiteY4" fmla="*/ 1834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56">
                      <a:moveTo>
                        <a:pt x="7869" y="18349"/>
                      </a:moveTo>
                      <a:cubicBezTo>
                        <a:pt x="12893" y="19126"/>
                        <a:pt x="17558" y="15598"/>
                        <a:pt x="18275" y="10574"/>
                      </a:cubicBezTo>
                      <a:cubicBezTo>
                        <a:pt x="18993" y="5550"/>
                        <a:pt x="15524" y="825"/>
                        <a:pt x="10500" y="107"/>
                      </a:cubicBezTo>
                      <a:cubicBezTo>
                        <a:pt x="5476" y="-670"/>
                        <a:pt x="872" y="2859"/>
                        <a:pt x="94" y="7883"/>
                      </a:cubicBezTo>
                      <a:cubicBezTo>
                        <a:pt x="-624" y="12906"/>
                        <a:pt x="2845" y="17571"/>
                        <a:pt x="7869" y="18349"/>
                      </a:cubicBezTo>
                      <a:close/>
                    </a:path>
                  </a:pathLst>
                </a:custGeom>
                <a:grpFill/>
                <a:ln w="5978" cap="flat">
                  <a:noFill/>
                  <a:prstDash val="solid"/>
                  <a:miter/>
                </a:ln>
              </p:spPr>
              <p:txBody>
                <a:bodyPr rtlCol="0" anchor="ctr"/>
                <a:lstStyle/>
                <a:p>
                  <a:endParaRPr lang="en-GB"/>
                </a:p>
              </p:txBody>
            </p:sp>
          </p:grpSp>
          <p:grpSp>
            <p:nvGrpSpPr>
              <p:cNvPr id="1207" name="Graphic 3">
                <a:extLst>
                  <a:ext uri="{FF2B5EF4-FFF2-40B4-BE49-F238E27FC236}">
                    <a16:creationId xmlns:a16="http://schemas.microsoft.com/office/drawing/2014/main" id="{21B2E138-ACCD-4D85-901B-0703ADC073C5}"/>
                  </a:ext>
                </a:extLst>
              </p:cNvPr>
              <p:cNvGrpSpPr/>
              <p:nvPr/>
            </p:nvGrpSpPr>
            <p:grpSpPr>
              <a:xfrm>
                <a:off x="4417158" y="4462515"/>
                <a:ext cx="332554" cy="223385"/>
                <a:chOff x="4417158" y="4462515"/>
                <a:chExt cx="332554" cy="223385"/>
              </a:xfrm>
              <a:grpFill/>
            </p:grpSpPr>
            <p:sp>
              <p:nvSpPr>
                <p:cNvPr id="1781" name="Vrije vorm: vorm 1780">
                  <a:extLst>
                    <a:ext uri="{FF2B5EF4-FFF2-40B4-BE49-F238E27FC236}">
                      <a16:creationId xmlns:a16="http://schemas.microsoft.com/office/drawing/2014/main" id="{6F2F9481-9605-41EB-B479-40F74B0D8443}"/>
                    </a:ext>
                  </a:extLst>
                </p:cNvPr>
                <p:cNvSpPr/>
                <p:nvPr/>
              </p:nvSpPr>
              <p:spPr>
                <a:xfrm>
                  <a:off x="4425156" y="4470211"/>
                  <a:ext cx="316619" cy="208009"/>
                </a:xfrm>
                <a:custGeom>
                  <a:avLst/>
                  <a:gdLst>
                    <a:gd name="connsiteX0" fmla="*/ 316619 w 316619"/>
                    <a:gd name="connsiteY0" fmla="*/ 2572 h 208009"/>
                    <a:gd name="connsiteX1" fmla="*/ 1674 w 316619"/>
                    <a:gd name="connsiteY1" fmla="*/ 208010 h 208009"/>
                    <a:gd name="connsiteX2" fmla="*/ 0 w 316619"/>
                    <a:gd name="connsiteY2" fmla="*/ 205438 h 208009"/>
                    <a:gd name="connsiteX3" fmla="*/ 314945 w 316619"/>
                    <a:gd name="connsiteY3" fmla="*/ 0 h 208009"/>
                  </a:gdLst>
                  <a:ahLst/>
                  <a:cxnLst>
                    <a:cxn ang="0">
                      <a:pos x="connsiteX0" y="connsiteY0"/>
                    </a:cxn>
                    <a:cxn ang="0">
                      <a:pos x="connsiteX1" y="connsiteY1"/>
                    </a:cxn>
                    <a:cxn ang="0">
                      <a:pos x="connsiteX2" y="connsiteY2"/>
                    </a:cxn>
                    <a:cxn ang="0">
                      <a:pos x="connsiteX3" y="connsiteY3"/>
                    </a:cxn>
                  </a:cxnLst>
                  <a:rect l="l" t="t" r="r" b="b"/>
                  <a:pathLst>
                    <a:path w="316619" h="208009">
                      <a:moveTo>
                        <a:pt x="316619" y="2572"/>
                      </a:moveTo>
                      <a:lnTo>
                        <a:pt x="1674" y="208010"/>
                      </a:lnTo>
                      <a:lnTo>
                        <a:pt x="0" y="205438"/>
                      </a:lnTo>
                      <a:lnTo>
                        <a:pt x="314945" y="0"/>
                      </a:lnTo>
                      <a:close/>
                    </a:path>
                  </a:pathLst>
                </a:custGeom>
                <a:grpFill/>
                <a:ln w="5978" cap="flat">
                  <a:noFill/>
                  <a:prstDash val="solid"/>
                  <a:miter/>
                </a:ln>
              </p:spPr>
              <p:txBody>
                <a:bodyPr rtlCol="0" anchor="ctr"/>
                <a:lstStyle/>
                <a:p>
                  <a:endParaRPr lang="en-GB"/>
                </a:p>
              </p:txBody>
            </p:sp>
            <p:sp>
              <p:nvSpPr>
                <p:cNvPr id="1782" name="Vrije vorm: vorm 1781">
                  <a:extLst>
                    <a:ext uri="{FF2B5EF4-FFF2-40B4-BE49-F238E27FC236}">
                      <a16:creationId xmlns:a16="http://schemas.microsoft.com/office/drawing/2014/main" id="{2F32F607-65CF-48EF-8E29-92BE27B62BD3}"/>
                    </a:ext>
                  </a:extLst>
                </p:cNvPr>
                <p:cNvSpPr/>
                <p:nvPr/>
              </p:nvSpPr>
              <p:spPr>
                <a:xfrm>
                  <a:off x="4731385" y="4462515"/>
                  <a:ext cx="18327" cy="18441"/>
                </a:xfrm>
                <a:custGeom>
                  <a:avLst/>
                  <a:gdLst>
                    <a:gd name="connsiteX0" fmla="*/ 4170 w 18327"/>
                    <a:gd name="connsiteY0" fmla="*/ 1476 h 18441"/>
                    <a:gd name="connsiteX1" fmla="*/ 16849 w 18327"/>
                    <a:gd name="connsiteY1" fmla="*/ 4227 h 18441"/>
                    <a:gd name="connsiteX2" fmla="*/ 14158 w 18327"/>
                    <a:gd name="connsiteY2" fmla="*/ 16966 h 18441"/>
                    <a:gd name="connsiteX3" fmla="*/ 1479 w 18327"/>
                    <a:gd name="connsiteY3" fmla="*/ 14215 h 18441"/>
                    <a:gd name="connsiteX4" fmla="*/ 4170 w 18327"/>
                    <a:gd name="connsiteY4" fmla="*/ 147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4170" y="1476"/>
                      </a:moveTo>
                      <a:cubicBezTo>
                        <a:pt x="8416" y="-1276"/>
                        <a:pt x="14098" y="-79"/>
                        <a:pt x="16849" y="4227"/>
                      </a:cubicBezTo>
                      <a:cubicBezTo>
                        <a:pt x="19600" y="8473"/>
                        <a:pt x="18404" y="14215"/>
                        <a:pt x="14158" y="16966"/>
                      </a:cubicBezTo>
                      <a:cubicBezTo>
                        <a:pt x="9911" y="19717"/>
                        <a:pt x="4229" y="18521"/>
                        <a:pt x="1479" y="14215"/>
                      </a:cubicBezTo>
                      <a:cubicBezTo>
                        <a:pt x="-1273" y="9968"/>
                        <a:pt x="-76" y="4227"/>
                        <a:pt x="4170" y="1476"/>
                      </a:cubicBezTo>
                      <a:close/>
                    </a:path>
                  </a:pathLst>
                </a:custGeom>
                <a:grpFill/>
                <a:ln w="5978" cap="flat">
                  <a:noFill/>
                  <a:prstDash val="solid"/>
                  <a:miter/>
                </a:ln>
              </p:spPr>
              <p:txBody>
                <a:bodyPr rtlCol="0" anchor="ctr"/>
                <a:lstStyle/>
                <a:p>
                  <a:endParaRPr lang="en-GB"/>
                </a:p>
              </p:txBody>
            </p:sp>
            <p:sp>
              <p:nvSpPr>
                <p:cNvPr id="1783" name="Vrije vorm: vorm 1782">
                  <a:extLst>
                    <a:ext uri="{FF2B5EF4-FFF2-40B4-BE49-F238E27FC236}">
                      <a16:creationId xmlns:a16="http://schemas.microsoft.com/office/drawing/2014/main" id="{FCECF171-77C5-42F0-AAAD-43AF417DB12A}"/>
                    </a:ext>
                  </a:extLst>
                </p:cNvPr>
                <p:cNvSpPr/>
                <p:nvPr/>
              </p:nvSpPr>
              <p:spPr>
                <a:xfrm>
                  <a:off x="4417158" y="4667448"/>
                  <a:ext cx="18327" cy="18452"/>
                </a:xfrm>
                <a:custGeom>
                  <a:avLst/>
                  <a:gdLst>
                    <a:gd name="connsiteX0" fmla="*/ 4170 w 18327"/>
                    <a:gd name="connsiteY0" fmla="*/ 1502 h 18452"/>
                    <a:gd name="connsiteX1" fmla="*/ 1478 w 18327"/>
                    <a:gd name="connsiteY1" fmla="*/ 14241 h 18452"/>
                    <a:gd name="connsiteX2" fmla="*/ 14158 w 18327"/>
                    <a:gd name="connsiteY2" fmla="*/ 16992 h 18452"/>
                    <a:gd name="connsiteX3" fmla="*/ 16849 w 18327"/>
                    <a:gd name="connsiteY3" fmla="*/ 4253 h 18452"/>
                    <a:gd name="connsiteX4" fmla="*/ 4170 w 18327"/>
                    <a:gd name="connsiteY4" fmla="*/ 1502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52">
                      <a:moveTo>
                        <a:pt x="4170" y="1502"/>
                      </a:moveTo>
                      <a:cubicBezTo>
                        <a:pt x="-77" y="4253"/>
                        <a:pt x="-1272" y="9995"/>
                        <a:pt x="1478" y="14241"/>
                      </a:cubicBezTo>
                      <a:cubicBezTo>
                        <a:pt x="4230" y="18487"/>
                        <a:pt x="9911" y="19743"/>
                        <a:pt x="14158" y="16992"/>
                      </a:cubicBezTo>
                      <a:cubicBezTo>
                        <a:pt x="18404" y="14241"/>
                        <a:pt x="19600" y="8500"/>
                        <a:pt x="16849" y="4253"/>
                      </a:cubicBezTo>
                      <a:cubicBezTo>
                        <a:pt x="14098" y="-53"/>
                        <a:pt x="8416" y="-1309"/>
                        <a:pt x="4170" y="1502"/>
                      </a:cubicBezTo>
                      <a:close/>
                    </a:path>
                  </a:pathLst>
                </a:custGeom>
                <a:grpFill/>
                <a:ln w="5978" cap="flat">
                  <a:noFill/>
                  <a:prstDash val="solid"/>
                  <a:miter/>
                </a:ln>
              </p:spPr>
              <p:txBody>
                <a:bodyPr rtlCol="0" anchor="ctr"/>
                <a:lstStyle/>
                <a:p>
                  <a:endParaRPr lang="en-GB"/>
                </a:p>
              </p:txBody>
            </p:sp>
          </p:grpSp>
          <p:grpSp>
            <p:nvGrpSpPr>
              <p:cNvPr id="1208" name="Graphic 3">
                <a:extLst>
                  <a:ext uri="{FF2B5EF4-FFF2-40B4-BE49-F238E27FC236}">
                    <a16:creationId xmlns:a16="http://schemas.microsoft.com/office/drawing/2014/main" id="{89A39173-8D32-426B-8798-F71E2136819F}"/>
                  </a:ext>
                </a:extLst>
              </p:cNvPr>
              <p:cNvGrpSpPr/>
              <p:nvPr/>
            </p:nvGrpSpPr>
            <p:grpSpPr>
              <a:xfrm>
                <a:off x="4302852" y="3942833"/>
                <a:ext cx="148616" cy="61595"/>
                <a:chOff x="4302852" y="3942833"/>
                <a:chExt cx="148616" cy="61595"/>
              </a:xfrm>
              <a:grpFill/>
            </p:grpSpPr>
            <p:sp>
              <p:nvSpPr>
                <p:cNvPr id="1778" name="Vrije vorm: vorm 1777">
                  <a:extLst>
                    <a:ext uri="{FF2B5EF4-FFF2-40B4-BE49-F238E27FC236}">
                      <a16:creationId xmlns:a16="http://schemas.microsoft.com/office/drawing/2014/main" id="{C6856043-9153-4E95-A430-2267C345C7AC}"/>
                    </a:ext>
                  </a:extLst>
                </p:cNvPr>
                <p:cNvSpPr/>
                <p:nvPr/>
              </p:nvSpPr>
              <p:spPr>
                <a:xfrm>
                  <a:off x="4311235" y="3950260"/>
                  <a:ext cx="132057" cy="46495"/>
                </a:xfrm>
                <a:custGeom>
                  <a:avLst/>
                  <a:gdLst>
                    <a:gd name="connsiteX0" fmla="*/ 0 w 132057"/>
                    <a:gd name="connsiteY0" fmla="*/ 43602 h 46495"/>
                    <a:gd name="connsiteX1" fmla="*/ 131095 w 132057"/>
                    <a:gd name="connsiteY1" fmla="*/ 0 h 46495"/>
                    <a:gd name="connsiteX2" fmla="*/ 132058 w 132057"/>
                    <a:gd name="connsiteY2" fmla="*/ 2894 h 46495"/>
                    <a:gd name="connsiteX3" fmla="*/ 963 w 132057"/>
                    <a:gd name="connsiteY3" fmla="*/ 46496 h 46495"/>
                  </a:gdLst>
                  <a:ahLst/>
                  <a:cxnLst>
                    <a:cxn ang="0">
                      <a:pos x="connsiteX0" y="connsiteY0"/>
                    </a:cxn>
                    <a:cxn ang="0">
                      <a:pos x="connsiteX1" y="connsiteY1"/>
                    </a:cxn>
                    <a:cxn ang="0">
                      <a:pos x="connsiteX2" y="connsiteY2"/>
                    </a:cxn>
                    <a:cxn ang="0">
                      <a:pos x="connsiteX3" y="connsiteY3"/>
                    </a:cxn>
                  </a:cxnLst>
                  <a:rect l="l" t="t" r="r" b="b"/>
                  <a:pathLst>
                    <a:path w="132057" h="46495">
                      <a:moveTo>
                        <a:pt x="0" y="43602"/>
                      </a:moveTo>
                      <a:lnTo>
                        <a:pt x="131095" y="0"/>
                      </a:lnTo>
                      <a:lnTo>
                        <a:pt x="132058" y="2894"/>
                      </a:lnTo>
                      <a:lnTo>
                        <a:pt x="963" y="46496"/>
                      </a:lnTo>
                      <a:close/>
                    </a:path>
                  </a:pathLst>
                </a:custGeom>
                <a:grpFill/>
                <a:ln w="5978" cap="flat">
                  <a:noFill/>
                  <a:prstDash val="solid"/>
                  <a:miter/>
                </a:ln>
              </p:spPr>
              <p:txBody>
                <a:bodyPr rtlCol="0" anchor="ctr"/>
                <a:lstStyle/>
                <a:p>
                  <a:endParaRPr lang="en-GB"/>
                </a:p>
              </p:txBody>
            </p:sp>
            <p:sp>
              <p:nvSpPr>
                <p:cNvPr id="1779" name="Vrije vorm: vorm 1778">
                  <a:extLst>
                    <a:ext uri="{FF2B5EF4-FFF2-40B4-BE49-F238E27FC236}">
                      <a16:creationId xmlns:a16="http://schemas.microsoft.com/office/drawing/2014/main" id="{C5521527-F430-4758-A89C-6F85894D63EC}"/>
                    </a:ext>
                  </a:extLst>
                </p:cNvPr>
                <p:cNvSpPr/>
                <p:nvPr/>
              </p:nvSpPr>
              <p:spPr>
                <a:xfrm>
                  <a:off x="4302852" y="3986014"/>
                  <a:ext cx="18361" cy="18414"/>
                </a:xfrm>
                <a:custGeom>
                  <a:avLst/>
                  <a:gdLst>
                    <a:gd name="connsiteX0" fmla="*/ 12079 w 18361"/>
                    <a:gd name="connsiteY0" fmla="*/ 17939 h 18414"/>
                    <a:gd name="connsiteX1" fmla="*/ 476 w 18361"/>
                    <a:gd name="connsiteY1" fmla="*/ 12078 h 18414"/>
                    <a:gd name="connsiteX2" fmla="*/ 6277 w 18361"/>
                    <a:gd name="connsiteY2" fmla="*/ 475 h 18414"/>
                    <a:gd name="connsiteX3" fmla="*/ 17880 w 18361"/>
                    <a:gd name="connsiteY3" fmla="*/ 6337 h 18414"/>
                    <a:gd name="connsiteX4" fmla="*/ 12079 w 18361"/>
                    <a:gd name="connsiteY4" fmla="*/ 17939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4">
                      <a:moveTo>
                        <a:pt x="12079" y="17939"/>
                      </a:moveTo>
                      <a:cubicBezTo>
                        <a:pt x="7294" y="19554"/>
                        <a:pt x="2091" y="16922"/>
                        <a:pt x="476" y="12078"/>
                      </a:cubicBezTo>
                      <a:cubicBezTo>
                        <a:pt x="-1139" y="7234"/>
                        <a:pt x="1493" y="2031"/>
                        <a:pt x="6277" y="475"/>
                      </a:cubicBezTo>
                      <a:cubicBezTo>
                        <a:pt x="11062" y="-1139"/>
                        <a:pt x="16265" y="1492"/>
                        <a:pt x="17880" y="6337"/>
                      </a:cubicBezTo>
                      <a:cubicBezTo>
                        <a:pt x="19495" y="11121"/>
                        <a:pt x="16923" y="16325"/>
                        <a:pt x="12079" y="17939"/>
                      </a:cubicBezTo>
                      <a:close/>
                    </a:path>
                  </a:pathLst>
                </a:custGeom>
                <a:grpFill/>
                <a:ln w="5978" cap="flat">
                  <a:noFill/>
                  <a:prstDash val="solid"/>
                  <a:miter/>
                </a:ln>
              </p:spPr>
              <p:txBody>
                <a:bodyPr rtlCol="0" anchor="ctr"/>
                <a:lstStyle/>
                <a:p>
                  <a:endParaRPr lang="en-GB"/>
                </a:p>
              </p:txBody>
            </p:sp>
            <p:sp>
              <p:nvSpPr>
                <p:cNvPr id="1780" name="Vrije vorm: vorm 1779">
                  <a:extLst>
                    <a:ext uri="{FF2B5EF4-FFF2-40B4-BE49-F238E27FC236}">
                      <a16:creationId xmlns:a16="http://schemas.microsoft.com/office/drawing/2014/main" id="{AD1E6434-AADF-41A5-9A1F-49B3299C7A01}"/>
                    </a:ext>
                  </a:extLst>
                </p:cNvPr>
                <p:cNvSpPr/>
                <p:nvPr/>
              </p:nvSpPr>
              <p:spPr>
                <a:xfrm>
                  <a:off x="4433112" y="3942833"/>
                  <a:ext cx="18355" cy="18386"/>
                </a:xfrm>
                <a:custGeom>
                  <a:avLst/>
                  <a:gdLst>
                    <a:gd name="connsiteX0" fmla="*/ 12079 w 18355"/>
                    <a:gd name="connsiteY0" fmla="*/ 17939 h 18386"/>
                    <a:gd name="connsiteX1" fmla="*/ 17880 w 18355"/>
                    <a:gd name="connsiteY1" fmla="*/ 6337 h 18386"/>
                    <a:gd name="connsiteX2" fmla="*/ 6277 w 18355"/>
                    <a:gd name="connsiteY2" fmla="*/ 476 h 18386"/>
                    <a:gd name="connsiteX3" fmla="*/ 476 w 18355"/>
                    <a:gd name="connsiteY3" fmla="*/ 12138 h 18386"/>
                    <a:gd name="connsiteX4" fmla="*/ 12079 w 18355"/>
                    <a:gd name="connsiteY4" fmla="*/ 17939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386">
                      <a:moveTo>
                        <a:pt x="12079" y="17939"/>
                      </a:moveTo>
                      <a:cubicBezTo>
                        <a:pt x="16863" y="16325"/>
                        <a:pt x="19495" y="11121"/>
                        <a:pt x="17880" y="6337"/>
                      </a:cubicBezTo>
                      <a:cubicBezTo>
                        <a:pt x="16265" y="1492"/>
                        <a:pt x="11062" y="-1139"/>
                        <a:pt x="6277" y="476"/>
                      </a:cubicBezTo>
                      <a:cubicBezTo>
                        <a:pt x="1493" y="2091"/>
                        <a:pt x="-1139" y="7294"/>
                        <a:pt x="476" y="12138"/>
                      </a:cubicBezTo>
                      <a:cubicBezTo>
                        <a:pt x="2091" y="16863"/>
                        <a:pt x="7294" y="19494"/>
                        <a:pt x="12079" y="17939"/>
                      </a:cubicBezTo>
                      <a:close/>
                    </a:path>
                  </a:pathLst>
                </a:custGeom>
                <a:grpFill/>
                <a:ln w="5978" cap="flat">
                  <a:noFill/>
                  <a:prstDash val="solid"/>
                  <a:miter/>
                </a:ln>
              </p:spPr>
              <p:txBody>
                <a:bodyPr rtlCol="0" anchor="ctr"/>
                <a:lstStyle/>
                <a:p>
                  <a:endParaRPr lang="en-GB"/>
                </a:p>
              </p:txBody>
            </p:sp>
          </p:grpSp>
          <p:grpSp>
            <p:nvGrpSpPr>
              <p:cNvPr id="1209" name="Graphic 3">
                <a:extLst>
                  <a:ext uri="{FF2B5EF4-FFF2-40B4-BE49-F238E27FC236}">
                    <a16:creationId xmlns:a16="http://schemas.microsoft.com/office/drawing/2014/main" id="{8BBCEB52-A47A-4DDE-A9CD-6A2E251EAF96}"/>
                  </a:ext>
                </a:extLst>
              </p:cNvPr>
              <p:cNvGrpSpPr/>
              <p:nvPr/>
            </p:nvGrpSpPr>
            <p:grpSpPr>
              <a:xfrm>
                <a:off x="4376774" y="4025459"/>
                <a:ext cx="35669" cy="24895"/>
                <a:chOff x="4376774" y="4025459"/>
                <a:chExt cx="35669" cy="24895"/>
              </a:xfrm>
              <a:grpFill/>
            </p:grpSpPr>
            <p:sp>
              <p:nvSpPr>
                <p:cNvPr id="1775" name="Vrije vorm: vorm 1774">
                  <a:extLst>
                    <a:ext uri="{FF2B5EF4-FFF2-40B4-BE49-F238E27FC236}">
                      <a16:creationId xmlns:a16="http://schemas.microsoft.com/office/drawing/2014/main" id="{13A1FE6A-AA2C-4D1F-AE87-92F4691BDEFE}"/>
                    </a:ext>
                  </a:extLst>
                </p:cNvPr>
                <p:cNvSpPr/>
                <p:nvPr/>
              </p:nvSpPr>
              <p:spPr>
                <a:xfrm>
                  <a:off x="4385127" y="4033009"/>
                  <a:ext cx="19275" cy="9664"/>
                </a:xfrm>
                <a:custGeom>
                  <a:avLst/>
                  <a:gdLst>
                    <a:gd name="connsiteX0" fmla="*/ 0 w 19275"/>
                    <a:gd name="connsiteY0" fmla="*/ 6807 h 9664"/>
                    <a:gd name="connsiteX1" fmla="*/ 18207 w 19275"/>
                    <a:gd name="connsiteY1" fmla="*/ 0 h 9664"/>
                    <a:gd name="connsiteX2" fmla="*/ 19275 w 19275"/>
                    <a:gd name="connsiteY2" fmla="*/ 2857 h 9664"/>
                    <a:gd name="connsiteX3" fmla="*/ 1068 w 19275"/>
                    <a:gd name="connsiteY3" fmla="*/ 9664 h 9664"/>
                  </a:gdLst>
                  <a:ahLst/>
                  <a:cxnLst>
                    <a:cxn ang="0">
                      <a:pos x="connsiteX0" y="connsiteY0"/>
                    </a:cxn>
                    <a:cxn ang="0">
                      <a:pos x="connsiteX1" y="connsiteY1"/>
                    </a:cxn>
                    <a:cxn ang="0">
                      <a:pos x="connsiteX2" y="connsiteY2"/>
                    </a:cxn>
                    <a:cxn ang="0">
                      <a:pos x="connsiteX3" y="connsiteY3"/>
                    </a:cxn>
                  </a:cxnLst>
                  <a:rect l="l" t="t" r="r" b="b"/>
                  <a:pathLst>
                    <a:path w="19275" h="9664">
                      <a:moveTo>
                        <a:pt x="0" y="6807"/>
                      </a:moveTo>
                      <a:lnTo>
                        <a:pt x="18207" y="0"/>
                      </a:lnTo>
                      <a:lnTo>
                        <a:pt x="19275" y="2857"/>
                      </a:lnTo>
                      <a:lnTo>
                        <a:pt x="1068" y="9664"/>
                      </a:lnTo>
                      <a:close/>
                    </a:path>
                  </a:pathLst>
                </a:custGeom>
                <a:grpFill/>
                <a:ln w="5978" cap="flat">
                  <a:noFill/>
                  <a:prstDash val="solid"/>
                  <a:miter/>
                </a:ln>
              </p:spPr>
              <p:txBody>
                <a:bodyPr rtlCol="0" anchor="ctr"/>
                <a:lstStyle/>
                <a:p>
                  <a:endParaRPr lang="en-GB"/>
                </a:p>
              </p:txBody>
            </p:sp>
            <p:sp>
              <p:nvSpPr>
                <p:cNvPr id="1776" name="Vrije vorm: vorm 1775">
                  <a:extLst>
                    <a:ext uri="{FF2B5EF4-FFF2-40B4-BE49-F238E27FC236}">
                      <a16:creationId xmlns:a16="http://schemas.microsoft.com/office/drawing/2014/main" id="{5CFBA3DD-C279-46D3-A49A-134437F20DF2}"/>
                    </a:ext>
                  </a:extLst>
                </p:cNvPr>
                <p:cNvSpPr/>
                <p:nvPr/>
              </p:nvSpPr>
              <p:spPr>
                <a:xfrm>
                  <a:off x="4376774" y="4031894"/>
                  <a:ext cx="18349" cy="18460"/>
                </a:xfrm>
                <a:custGeom>
                  <a:avLst/>
                  <a:gdLst>
                    <a:gd name="connsiteX0" fmla="*/ 12378 w 18349"/>
                    <a:gd name="connsiteY0" fmla="*/ 17872 h 18460"/>
                    <a:gd name="connsiteX1" fmla="*/ 596 w 18349"/>
                    <a:gd name="connsiteY1" fmla="*/ 12430 h 18460"/>
                    <a:gd name="connsiteX2" fmla="*/ 5978 w 18349"/>
                    <a:gd name="connsiteY2" fmla="*/ 588 h 18460"/>
                    <a:gd name="connsiteX3" fmla="*/ 17760 w 18349"/>
                    <a:gd name="connsiteY3" fmla="*/ 6031 h 18460"/>
                    <a:gd name="connsiteX4" fmla="*/ 12378 w 18349"/>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0">
                      <a:moveTo>
                        <a:pt x="12378" y="17872"/>
                      </a:moveTo>
                      <a:cubicBezTo>
                        <a:pt x="7653" y="19667"/>
                        <a:pt x="2330" y="17215"/>
                        <a:pt x="596" y="12430"/>
                      </a:cubicBezTo>
                      <a:cubicBezTo>
                        <a:pt x="-1199" y="7646"/>
                        <a:pt x="1194" y="2383"/>
                        <a:pt x="5978" y="588"/>
                      </a:cubicBezTo>
                      <a:cubicBezTo>
                        <a:pt x="10703" y="-1206"/>
                        <a:pt x="16026" y="1246"/>
                        <a:pt x="17760" y="6031"/>
                      </a:cubicBezTo>
                      <a:cubicBezTo>
                        <a:pt x="19555" y="10815"/>
                        <a:pt x="17102" y="16138"/>
                        <a:pt x="12378" y="17872"/>
                      </a:cubicBezTo>
                      <a:close/>
                    </a:path>
                  </a:pathLst>
                </a:custGeom>
                <a:grpFill/>
                <a:ln w="5978" cap="flat">
                  <a:noFill/>
                  <a:prstDash val="solid"/>
                  <a:miter/>
                </a:ln>
              </p:spPr>
              <p:txBody>
                <a:bodyPr rtlCol="0" anchor="ctr"/>
                <a:lstStyle/>
                <a:p>
                  <a:endParaRPr lang="en-GB"/>
                </a:p>
              </p:txBody>
            </p:sp>
            <p:sp>
              <p:nvSpPr>
                <p:cNvPr id="1777" name="Vrije vorm: vorm 1776">
                  <a:extLst>
                    <a:ext uri="{FF2B5EF4-FFF2-40B4-BE49-F238E27FC236}">
                      <a16:creationId xmlns:a16="http://schemas.microsoft.com/office/drawing/2014/main" id="{DAD0EF83-61D5-41CA-88A4-D5166FF90820}"/>
                    </a:ext>
                  </a:extLst>
                </p:cNvPr>
                <p:cNvSpPr/>
                <p:nvPr/>
              </p:nvSpPr>
              <p:spPr>
                <a:xfrm>
                  <a:off x="4394149" y="4025459"/>
                  <a:ext cx="18293" cy="18412"/>
                </a:xfrm>
                <a:custGeom>
                  <a:avLst/>
                  <a:gdLst>
                    <a:gd name="connsiteX0" fmla="*/ 12347 w 18293"/>
                    <a:gd name="connsiteY0" fmla="*/ 17848 h 18412"/>
                    <a:gd name="connsiteX1" fmla="*/ 17729 w 18293"/>
                    <a:gd name="connsiteY1" fmla="*/ 6006 h 18412"/>
                    <a:gd name="connsiteX2" fmla="*/ 5947 w 18293"/>
                    <a:gd name="connsiteY2" fmla="*/ 564 h 18412"/>
                    <a:gd name="connsiteX3" fmla="*/ 565 w 18293"/>
                    <a:gd name="connsiteY3" fmla="*/ 12406 h 18412"/>
                    <a:gd name="connsiteX4" fmla="*/ 12347 w 18293"/>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12">
                      <a:moveTo>
                        <a:pt x="12347" y="17848"/>
                      </a:moveTo>
                      <a:cubicBezTo>
                        <a:pt x="17071" y="16054"/>
                        <a:pt x="19464" y="10791"/>
                        <a:pt x="17729" y="6006"/>
                      </a:cubicBezTo>
                      <a:cubicBezTo>
                        <a:pt x="15935" y="1222"/>
                        <a:pt x="10672" y="-1171"/>
                        <a:pt x="5947" y="564"/>
                      </a:cubicBezTo>
                      <a:cubicBezTo>
                        <a:pt x="1222" y="2298"/>
                        <a:pt x="-1170" y="7621"/>
                        <a:pt x="565" y="12406"/>
                      </a:cubicBezTo>
                      <a:cubicBezTo>
                        <a:pt x="2359" y="17190"/>
                        <a:pt x="7622" y="19583"/>
                        <a:pt x="12347" y="17848"/>
                      </a:cubicBezTo>
                      <a:close/>
                    </a:path>
                  </a:pathLst>
                </a:custGeom>
                <a:grpFill/>
                <a:ln w="5978" cap="flat">
                  <a:noFill/>
                  <a:prstDash val="solid"/>
                  <a:miter/>
                </a:ln>
              </p:spPr>
              <p:txBody>
                <a:bodyPr rtlCol="0" anchor="ctr"/>
                <a:lstStyle/>
                <a:p>
                  <a:endParaRPr lang="en-GB"/>
                </a:p>
              </p:txBody>
            </p:sp>
          </p:grpSp>
          <p:grpSp>
            <p:nvGrpSpPr>
              <p:cNvPr id="1210" name="Graphic 3">
                <a:extLst>
                  <a:ext uri="{FF2B5EF4-FFF2-40B4-BE49-F238E27FC236}">
                    <a16:creationId xmlns:a16="http://schemas.microsoft.com/office/drawing/2014/main" id="{94B5FB70-3E93-4089-88B8-B5D92FFC2F3F}"/>
                  </a:ext>
                </a:extLst>
              </p:cNvPr>
              <p:cNvGrpSpPr/>
              <p:nvPr/>
            </p:nvGrpSpPr>
            <p:grpSpPr>
              <a:xfrm>
                <a:off x="3992589" y="3217806"/>
                <a:ext cx="268787" cy="41528"/>
                <a:chOff x="3992589" y="3217806"/>
                <a:chExt cx="268787" cy="41528"/>
              </a:xfrm>
              <a:grpFill/>
            </p:grpSpPr>
            <p:sp>
              <p:nvSpPr>
                <p:cNvPr id="1772" name="Vrije vorm: vorm 1771">
                  <a:extLst>
                    <a:ext uri="{FF2B5EF4-FFF2-40B4-BE49-F238E27FC236}">
                      <a16:creationId xmlns:a16="http://schemas.microsoft.com/office/drawing/2014/main" id="{7FF116A1-97A5-4D64-9874-16C005A9EBCB}"/>
                    </a:ext>
                  </a:extLst>
                </p:cNvPr>
                <p:cNvSpPr/>
                <p:nvPr/>
              </p:nvSpPr>
              <p:spPr>
                <a:xfrm>
                  <a:off x="4001122" y="3225383"/>
                  <a:ext cx="251728" cy="26315"/>
                </a:xfrm>
                <a:custGeom>
                  <a:avLst/>
                  <a:gdLst>
                    <a:gd name="connsiteX0" fmla="*/ 251729 w 251728"/>
                    <a:gd name="connsiteY0" fmla="*/ 23265 h 26315"/>
                    <a:gd name="connsiteX1" fmla="*/ 251430 w 251728"/>
                    <a:gd name="connsiteY1" fmla="*/ 26315 h 26315"/>
                    <a:gd name="connsiteX2" fmla="*/ 0 w 251728"/>
                    <a:gd name="connsiteY2" fmla="*/ 3050 h 26315"/>
                    <a:gd name="connsiteX3" fmla="*/ 299 w 251728"/>
                    <a:gd name="connsiteY3" fmla="*/ 0 h 26315"/>
                  </a:gdLst>
                  <a:ahLst/>
                  <a:cxnLst>
                    <a:cxn ang="0">
                      <a:pos x="connsiteX0" y="connsiteY0"/>
                    </a:cxn>
                    <a:cxn ang="0">
                      <a:pos x="connsiteX1" y="connsiteY1"/>
                    </a:cxn>
                    <a:cxn ang="0">
                      <a:pos x="connsiteX2" y="connsiteY2"/>
                    </a:cxn>
                    <a:cxn ang="0">
                      <a:pos x="connsiteX3" y="connsiteY3"/>
                    </a:cxn>
                  </a:cxnLst>
                  <a:rect l="l" t="t" r="r" b="b"/>
                  <a:pathLst>
                    <a:path w="251728" h="26315">
                      <a:moveTo>
                        <a:pt x="251729" y="23265"/>
                      </a:moveTo>
                      <a:lnTo>
                        <a:pt x="251430" y="26315"/>
                      </a:lnTo>
                      <a:lnTo>
                        <a:pt x="0" y="3050"/>
                      </a:lnTo>
                      <a:lnTo>
                        <a:pt x="299" y="0"/>
                      </a:lnTo>
                      <a:close/>
                    </a:path>
                  </a:pathLst>
                </a:custGeom>
                <a:grpFill/>
                <a:ln w="5978" cap="flat">
                  <a:noFill/>
                  <a:prstDash val="solid"/>
                  <a:miter/>
                </a:ln>
              </p:spPr>
              <p:txBody>
                <a:bodyPr rtlCol="0" anchor="ctr"/>
                <a:lstStyle/>
                <a:p>
                  <a:endParaRPr lang="en-GB"/>
                </a:p>
              </p:txBody>
            </p:sp>
            <p:sp>
              <p:nvSpPr>
                <p:cNvPr id="1773" name="Vrije vorm: vorm 1772">
                  <a:extLst>
                    <a:ext uri="{FF2B5EF4-FFF2-40B4-BE49-F238E27FC236}">
                      <a16:creationId xmlns:a16="http://schemas.microsoft.com/office/drawing/2014/main" id="{206B8ABC-489B-437C-A3FF-B01457A9580B}"/>
                    </a:ext>
                  </a:extLst>
                </p:cNvPr>
                <p:cNvSpPr/>
                <p:nvPr/>
              </p:nvSpPr>
              <p:spPr>
                <a:xfrm>
                  <a:off x="3992589" y="3217806"/>
                  <a:ext cx="18323" cy="18383"/>
                </a:xfrm>
                <a:custGeom>
                  <a:avLst/>
                  <a:gdLst>
                    <a:gd name="connsiteX0" fmla="*/ 8354 w 18323"/>
                    <a:gd name="connsiteY0" fmla="*/ 18343 h 18383"/>
                    <a:gd name="connsiteX1" fmla="*/ 41 w 18323"/>
                    <a:gd name="connsiteY1" fmla="*/ 8355 h 18383"/>
                    <a:gd name="connsiteX2" fmla="*/ 9969 w 18323"/>
                    <a:gd name="connsiteY2" fmla="*/ 42 h 18383"/>
                    <a:gd name="connsiteX3" fmla="*/ 18282 w 18323"/>
                    <a:gd name="connsiteY3" fmla="*/ 10089 h 18383"/>
                    <a:gd name="connsiteX4" fmla="*/ 8354 w 18323"/>
                    <a:gd name="connsiteY4" fmla="*/ 18343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83">
                      <a:moveTo>
                        <a:pt x="8354" y="18343"/>
                      </a:moveTo>
                      <a:cubicBezTo>
                        <a:pt x="3330" y="17864"/>
                        <a:pt x="-438" y="13378"/>
                        <a:pt x="41" y="8355"/>
                      </a:cubicBezTo>
                      <a:cubicBezTo>
                        <a:pt x="460" y="3271"/>
                        <a:pt x="4945" y="-437"/>
                        <a:pt x="9969" y="42"/>
                      </a:cubicBezTo>
                      <a:cubicBezTo>
                        <a:pt x="14993" y="520"/>
                        <a:pt x="18761" y="5005"/>
                        <a:pt x="18282" y="10089"/>
                      </a:cubicBezTo>
                      <a:cubicBezTo>
                        <a:pt x="17804" y="15053"/>
                        <a:pt x="13378" y="18821"/>
                        <a:pt x="8354" y="18343"/>
                      </a:cubicBezTo>
                      <a:close/>
                    </a:path>
                  </a:pathLst>
                </a:custGeom>
                <a:grpFill/>
                <a:ln w="5978" cap="flat">
                  <a:noFill/>
                  <a:prstDash val="solid"/>
                  <a:miter/>
                </a:ln>
              </p:spPr>
              <p:txBody>
                <a:bodyPr rtlCol="0" anchor="ctr"/>
                <a:lstStyle/>
                <a:p>
                  <a:endParaRPr lang="en-GB"/>
                </a:p>
              </p:txBody>
            </p:sp>
            <p:sp>
              <p:nvSpPr>
                <p:cNvPr id="1774" name="Vrije vorm: vorm 1773">
                  <a:extLst>
                    <a:ext uri="{FF2B5EF4-FFF2-40B4-BE49-F238E27FC236}">
                      <a16:creationId xmlns:a16="http://schemas.microsoft.com/office/drawing/2014/main" id="{8A75CF13-28CE-4D5D-ABD0-D6AB66F7ED0D}"/>
                    </a:ext>
                  </a:extLst>
                </p:cNvPr>
                <p:cNvSpPr/>
                <p:nvPr/>
              </p:nvSpPr>
              <p:spPr>
                <a:xfrm>
                  <a:off x="4243070" y="3240892"/>
                  <a:ext cx="18305" cy="18442"/>
                </a:xfrm>
                <a:custGeom>
                  <a:avLst/>
                  <a:gdLst>
                    <a:gd name="connsiteX0" fmla="*/ 8346 w 18305"/>
                    <a:gd name="connsiteY0" fmla="*/ 18402 h 18442"/>
                    <a:gd name="connsiteX1" fmla="*/ 18273 w 18305"/>
                    <a:gd name="connsiteY1" fmla="*/ 10089 h 18442"/>
                    <a:gd name="connsiteX2" fmla="*/ 9960 w 18305"/>
                    <a:gd name="connsiteY2" fmla="*/ 41 h 18442"/>
                    <a:gd name="connsiteX3" fmla="*/ 32 w 18305"/>
                    <a:gd name="connsiteY3" fmla="*/ 8354 h 18442"/>
                    <a:gd name="connsiteX4" fmla="*/ 8346 w 18305"/>
                    <a:gd name="connsiteY4" fmla="*/ 18402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42">
                      <a:moveTo>
                        <a:pt x="8346" y="18402"/>
                      </a:moveTo>
                      <a:cubicBezTo>
                        <a:pt x="13369" y="18880"/>
                        <a:pt x="17855" y="15112"/>
                        <a:pt x="18273" y="10089"/>
                      </a:cubicBezTo>
                      <a:cubicBezTo>
                        <a:pt x="18692" y="5005"/>
                        <a:pt x="14984" y="519"/>
                        <a:pt x="9960" y="41"/>
                      </a:cubicBezTo>
                      <a:cubicBezTo>
                        <a:pt x="4936" y="-437"/>
                        <a:pt x="451" y="3330"/>
                        <a:pt x="32" y="8354"/>
                      </a:cubicBezTo>
                      <a:cubicBezTo>
                        <a:pt x="-386" y="13498"/>
                        <a:pt x="3322" y="17983"/>
                        <a:pt x="8346" y="18402"/>
                      </a:cubicBezTo>
                      <a:close/>
                    </a:path>
                  </a:pathLst>
                </a:custGeom>
                <a:grpFill/>
                <a:ln w="5978" cap="flat">
                  <a:noFill/>
                  <a:prstDash val="solid"/>
                  <a:miter/>
                </a:ln>
              </p:spPr>
              <p:txBody>
                <a:bodyPr rtlCol="0" anchor="ctr"/>
                <a:lstStyle/>
                <a:p>
                  <a:endParaRPr lang="en-GB"/>
                </a:p>
              </p:txBody>
            </p:sp>
          </p:grpSp>
          <p:grpSp>
            <p:nvGrpSpPr>
              <p:cNvPr id="1211" name="Graphic 3">
                <a:extLst>
                  <a:ext uri="{FF2B5EF4-FFF2-40B4-BE49-F238E27FC236}">
                    <a16:creationId xmlns:a16="http://schemas.microsoft.com/office/drawing/2014/main" id="{5905F9A5-A746-436C-AA5C-089A0DB807D2}"/>
                  </a:ext>
                </a:extLst>
              </p:cNvPr>
              <p:cNvGrpSpPr/>
              <p:nvPr/>
            </p:nvGrpSpPr>
            <p:grpSpPr>
              <a:xfrm>
                <a:off x="3928930" y="3292242"/>
                <a:ext cx="453708" cy="72437"/>
                <a:chOff x="3928930" y="3292242"/>
                <a:chExt cx="453708" cy="72437"/>
              </a:xfrm>
              <a:grpFill/>
            </p:grpSpPr>
            <p:sp>
              <p:nvSpPr>
                <p:cNvPr id="1769" name="Vrije vorm: vorm 1768">
                  <a:extLst>
                    <a:ext uri="{FF2B5EF4-FFF2-40B4-BE49-F238E27FC236}">
                      <a16:creationId xmlns:a16="http://schemas.microsoft.com/office/drawing/2014/main" id="{3688DA49-0195-4D3F-94F9-335FA51E4B98}"/>
                    </a:ext>
                  </a:extLst>
                </p:cNvPr>
                <p:cNvSpPr/>
                <p:nvPr/>
              </p:nvSpPr>
              <p:spPr>
                <a:xfrm>
                  <a:off x="3937428" y="3299843"/>
                  <a:ext cx="436652" cy="57235"/>
                </a:xfrm>
                <a:custGeom>
                  <a:avLst/>
                  <a:gdLst>
                    <a:gd name="connsiteX0" fmla="*/ 436652 w 436652"/>
                    <a:gd name="connsiteY0" fmla="*/ 54185 h 57235"/>
                    <a:gd name="connsiteX1" fmla="*/ 436293 w 436652"/>
                    <a:gd name="connsiteY1" fmla="*/ 57236 h 57235"/>
                    <a:gd name="connsiteX2" fmla="*/ 0 w 436652"/>
                    <a:gd name="connsiteY2" fmla="*/ 3050 h 57235"/>
                    <a:gd name="connsiteX3" fmla="*/ 359 w 436652"/>
                    <a:gd name="connsiteY3" fmla="*/ 0 h 57235"/>
                  </a:gdLst>
                  <a:ahLst/>
                  <a:cxnLst>
                    <a:cxn ang="0">
                      <a:pos x="connsiteX0" y="connsiteY0"/>
                    </a:cxn>
                    <a:cxn ang="0">
                      <a:pos x="connsiteX1" y="connsiteY1"/>
                    </a:cxn>
                    <a:cxn ang="0">
                      <a:pos x="connsiteX2" y="connsiteY2"/>
                    </a:cxn>
                    <a:cxn ang="0">
                      <a:pos x="connsiteX3" y="connsiteY3"/>
                    </a:cxn>
                  </a:cxnLst>
                  <a:rect l="l" t="t" r="r" b="b"/>
                  <a:pathLst>
                    <a:path w="436652" h="57235">
                      <a:moveTo>
                        <a:pt x="436652" y="54185"/>
                      </a:moveTo>
                      <a:lnTo>
                        <a:pt x="436293" y="57236"/>
                      </a:lnTo>
                      <a:lnTo>
                        <a:pt x="0" y="3050"/>
                      </a:lnTo>
                      <a:lnTo>
                        <a:pt x="359" y="0"/>
                      </a:lnTo>
                      <a:close/>
                    </a:path>
                  </a:pathLst>
                </a:custGeom>
                <a:grpFill/>
                <a:ln w="5978" cap="flat">
                  <a:noFill/>
                  <a:prstDash val="solid"/>
                  <a:miter/>
                </a:ln>
              </p:spPr>
              <p:txBody>
                <a:bodyPr rtlCol="0" anchor="ctr"/>
                <a:lstStyle/>
                <a:p>
                  <a:endParaRPr lang="en-GB"/>
                </a:p>
              </p:txBody>
            </p:sp>
            <p:sp>
              <p:nvSpPr>
                <p:cNvPr id="1770" name="Vrije vorm: vorm 1769">
                  <a:extLst>
                    <a:ext uri="{FF2B5EF4-FFF2-40B4-BE49-F238E27FC236}">
                      <a16:creationId xmlns:a16="http://schemas.microsoft.com/office/drawing/2014/main" id="{C1AB665A-9F7F-4DB3-A848-79D0E10DB329}"/>
                    </a:ext>
                  </a:extLst>
                </p:cNvPr>
                <p:cNvSpPr/>
                <p:nvPr/>
              </p:nvSpPr>
              <p:spPr>
                <a:xfrm>
                  <a:off x="4364326" y="3346248"/>
                  <a:ext cx="18311" cy="18431"/>
                </a:xfrm>
                <a:custGeom>
                  <a:avLst/>
                  <a:gdLst>
                    <a:gd name="connsiteX0" fmla="*/ 10232 w 18311"/>
                    <a:gd name="connsiteY0" fmla="*/ 65 h 18431"/>
                    <a:gd name="connsiteX1" fmla="*/ 18247 w 18311"/>
                    <a:gd name="connsiteY1" fmla="*/ 10352 h 18431"/>
                    <a:gd name="connsiteX2" fmla="*/ 8079 w 18311"/>
                    <a:gd name="connsiteY2" fmla="*/ 18366 h 18431"/>
                    <a:gd name="connsiteX3" fmla="*/ 65 w 18311"/>
                    <a:gd name="connsiteY3" fmla="*/ 8079 h 18431"/>
                    <a:gd name="connsiteX4" fmla="*/ 10232 w 18311"/>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10232" y="65"/>
                      </a:moveTo>
                      <a:cubicBezTo>
                        <a:pt x="15256" y="663"/>
                        <a:pt x="18845" y="5268"/>
                        <a:pt x="18247" y="10352"/>
                      </a:cubicBezTo>
                      <a:cubicBezTo>
                        <a:pt x="17648" y="15376"/>
                        <a:pt x="13103" y="18964"/>
                        <a:pt x="8079" y="18366"/>
                      </a:cubicBezTo>
                      <a:cubicBezTo>
                        <a:pt x="3055" y="17768"/>
                        <a:pt x="-533" y="13163"/>
                        <a:pt x="65" y="8079"/>
                      </a:cubicBezTo>
                      <a:cubicBezTo>
                        <a:pt x="663" y="3055"/>
                        <a:pt x="5209" y="-533"/>
                        <a:pt x="10232" y="65"/>
                      </a:cubicBezTo>
                      <a:close/>
                    </a:path>
                  </a:pathLst>
                </a:custGeom>
                <a:grpFill/>
                <a:ln w="5978" cap="flat">
                  <a:noFill/>
                  <a:prstDash val="solid"/>
                  <a:miter/>
                </a:ln>
              </p:spPr>
              <p:txBody>
                <a:bodyPr rtlCol="0" anchor="ctr"/>
                <a:lstStyle/>
                <a:p>
                  <a:endParaRPr lang="en-GB"/>
                </a:p>
              </p:txBody>
            </p:sp>
            <p:sp>
              <p:nvSpPr>
                <p:cNvPr id="1771" name="Vrije vorm: vorm 1770">
                  <a:extLst>
                    <a:ext uri="{FF2B5EF4-FFF2-40B4-BE49-F238E27FC236}">
                      <a16:creationId xmlns:a16="http://schemas.microsoft.com/office/drawing/2014/main" id="{3E56188E-2402-4104-915B-F37D6410F203}"/>
                    </a:ext>
                  </a:extLst>
                </p:cNvPr>
                <p:cNvSpPr/>
                <p:nvPr/>
              </p:nvSpPr>
              <p:spPr>
                <a:xfrm>
                  <a:off x="3928930" y="3292242"/>
                  <a:ext cx="18311" cy="18431"/>
                </a:xfrm>
                <a:custGeom>
                  <a:avLst/>
                  <a:gdLst>
                    <a:gd name="connsiteX0" fmla="*/ 10232 w 18311"/>
                    <a:gd name="connsiteY0" fmla="*/ 65 h 18431"/>
                    <a:gd name="connsiteX1" fmla="*/ 65 w 18311"/>
                    <a:gd name="connsiteY1" fmla="*/ 8079 h 18431"/>
                    <a:gd name="connsiteX2" fmla="*/ 8079 w 18311"/>
                    <a:gd name="connsiteY2" fmla="*/ 18366 h 18431"/>
                    <a:gd name="connsiteX3" fmla="*/ 18247 w 18311"/>
                    <a:gd name="connsiteY3" fmla="*/ 10352 h 18431"/>
                    <a:gd name="connsiteX4" fmla="*/ 10232 w 18311"/>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10232" y="65"/>
                      </a:moveTo>
                      <a:cubicBezTo>
                        <a:pt x="5208" y="-533"/>
                        <a:pt x="663" y="3055"/>
                        <a:pt x="65" y="8079"/>
                      </a:cubicBezTo>
                      <a:cubicBezTo>
                        <a:pt x="-533" y="13103"/>
                        <a:pt x="3055" y="17708"/>
                        <a:pt x="8079" y="18366"/>
                      </a:cubicBezTo>
                      <a:cubicBezTo>
                        <a:pt x="13103" y="18964"/>
                        <a:pt x="17648" y="15376"/>
                        <a:pt x="18247" y="10352"/>
                      </a:cubicBezTo>
                      <a:cubicBezTo>
                        <a:pt x="18845" y="5268"/>
                        <a:pt x="15256" y="663"/>
                        <a:pt x="10232" y="65"/>
                      </a:cubicBezTo>
                      <a:close/>
                    </a:path>
                  </a:pathLst>
                </a:custGeom>
                <a:grpFill/>
                <a:ln w="5978" cap="flat">
                  <a:noFill/>
                  <a:prstDash val="solid"/>
                  <a:miter/>
                </a:ln>
              </p:spPr>
              <p:txBody>
                <a:bodyPr rtlCol="0" anchor="ctr"/>
                <a:lstStyle/>
                <a:p>
                  <a:endParaRPr lang="en-GB"/>
                </a:p>
              </p:txBody>
            </p:sp>
          </p:grpSp>
          <p:grpSp>
            <p:nvGrpSpPr>
              <p:cNvPr id="1212" name="Graphic 3">
                <a:extLst>
                  <a:ext uri="{FF2B5EF4-FFF2-40B4-BE49-F238E27FC236}">
                    <a16:creationId xmlns:a16="http://schemas.microsoft.com/office/drawing/2014/main" id="{C5BDEE7B-6847-423F-B0A4-BC476CF65EEF}"/>
                  </a:ext>
                </a:extLst>
              </p:cNvPr>
              <p:cNvGrpSpPr/>
              <p:nvPr/>
            </p:nvGrpSpPr>
            <p:grpSpPr>
              <a:xfrm>
                <a:off x="4556769" y="4601067"/>
                <a:ext cx="77538" cy="67834"/>
                <a:chOff x="4556769" y="4601067"/>
                <a:chExt cx="77538" cy="67834"/>
              </a:xfrm>
              <a:grpFill/>
            </p:grpSpPr>
            <p:sp>
              <p:nvSpPr>
                <p:cNvPr id="1766" name="Vrije vorm: vorm 1765">
                  <a:extLst>
                    <a:ext uri="{FF2B5EF4-FFF2-40B4-BE49-F238E27FC236}">
                      <a16:creationId xmlns:a16="http://schemas.microsoft.com/office/drawing/2014/main" id="{D7DEA7D6-ABEA-4274-9876-58E94C16185D}"/>
                    </a:ext>
                  </a:extLst>
                </p:cNvPr>
                <p:cNvSpPr/>
                <p:nvPr/>
              </p:nvSpPr>
              <p:spPr>
                <a:xfrm>
                  <a:off x="4564626" y="4608844"/>
                  <a:ext cx="61840" cy="52331"/>
                </a:xfrm>
                <a:custGeom>
                  <a:avLst/>
                  <a:gdLst>
                    <a:gd name="connsiteX0" fmla="*/ 61840 w 61840"/>
                    <a:gd name="connsiteY0" fmla="*/ 2333 h 52331"/>
                    <a:gd name="connsiteX1" fmla="*/ 1914 w 61840"/>
                    <a:gd name="connsiteY1" fmla="*/ 52331 h 52331"/>
                    <a:gd name="connsiteX2" fmla="*/ 0 w 61840"/>
                    <a:gd name="connsiteY2" fmla="*/ 49999 h 52331"/>
                    <a:gd name="connsiteX3" fmla="*/ 59867 w 61840"/>
                    <a:gd name="connsiteY3" fmla="*/ 0 h 52331"/>
                  </a:gdLst>
                  <a:ahLst/>
                  <a:cxnLst>
                    <a:cxn ang="0">
                      <a:pos x="connsiteX0" y="connsiteY0"/>
                    </a:cxn>
                    <a:cxn ang="0">
                      <a:pos x="connsiteX1" y="connsiteY1"/>
                    </a:cxn>
                    <a:cxn ang="0">
                      <a:pos x="connsiteX2" y="connsiteY2"/>
                    </a:cxn>
                    <a:cxn ang="0">
                      <a:pos x="connsiteX3" y="connsiteY3"/>
                    </a:cxn>
                  </a:cxnLst>
                  <a:rect l="l" t="t" r="r" b="b"/>
                  <a:pathLst>
                    <a:path w="61840" h="52331">
                      <a:moveTo>
                        <a:pt x="61840" y="2333"/>
                      </a:moveTo>
                      <a:lnTo>
                        <a:pt x="1914" y="52331"/>
                      </a:lnTo>
                      <a:lnTo>
                        <a:pt x="0" y="49999"/>
                      </a:lnTo>
                      <a:lnTo>
                        <a:pt x="59867" y="0"/>
                      </a:lnTo>
                      <a:close/>
                    </a:path>
                  </a:pathLst>
                </a:custGeom>
                <a:grpFill/>
                <a:ln w="5978" cap="flat">
                  <a:noFill/>
                  <a:prstDash val="solid"/>
                  <a:miter/>
                </a:ln>
              </p:spPr>
              <p:txBody>
                <a:bodyPr rtlCol="0" anchor="ctr"/>
                <a:lstStyle/>
                <a:p>
                  <a:endParaRPr lang="en-GB"/>
                </a:p>
              </p:txBody>
            </p:sp>
            <p:sp>
              <p:nvSpPr>
                <p:cNvPr id="1767" name="Vrije vorm: vorm 1766">
                  <a:extLst>
                    <a:ext uri="{FF2B5EF4-FFF2-40B4-BE49-F238E27FC236}">
                      <a16:creationId xmlns:a16="http://schemas.microsoft.com/office/drawing/2014/main" id="{9DD62FD1-FB92-4DD4-9E8E-A6A73B9FE7C8}"/>
                    </a:ext>
                  </a:extLst>
                </p:cNvPr>
                <p:cNvSpPr/>
                <p:nvPr/>
              </p:nvSpPr>
              <p:spPr>
                <a:xfrm>
                  <a:off x="4556769" y="4650453"/>
                  <a:ext cx="18329" cy="18449"/>
                </a:xfrm>
                <a:custGeom>
                  <a:avLst/>
                  <a:gdLst>
                    <a:gd name="connsiteX0" fmla="*/ 15034 w 18329"/>
                    <a:gd name="connsiteY0" fmla="*/ 16344 h 18449"/>
                    <a:gd name="connsiteX1" fmla="*/ 2115 w 18329"/>
                    <a:gd name="connsiteY1" fmla="*/ 15089 h 18449"/>
                    <a:gd name="connsiteX2" fmla="*/ 3252 w 18329"/>
                    <a:gd name="connsiteY2" fmla="*/ 2111 h 18449"/>
                    <a:gd name="connsiteX3" fmla="*/ 16170 w 18329"/>
                    <a:gd name="connsiteY3" fmla="*/ 3306 h 18449"/>
                    <a:gd name="connsiteX4" fmla="*/ 15034 w 18329"/>
                    <a:gd name="connsiteY4" fmla="*/ 16344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15034" y="16344"/>
                      </a:moveTo>
                      <a:cubicBezTo>
                        <a:pt x="11146" y="19574"/>
                        <a:pt x="5345" y="19036"/>
                        <a:pt x="2115" y="15089"/>
                      </a:cubicBezTo>
                      <a:cubicBezTo>
                        <a:pt x="-1114" y="11141"/>
                        <a:pt x="-576" y="5340"/>
                        <a:pt x="3252" y="2111"/>
                      </a:cubicBezTo>
                      <a:cubicBezTo>
                        <a:pt x="7139" y="-1119"/>
                        <a:pt x="12941" y="-581"/>
                        <a:pt x="16170" y="3306"/>
                      </a:cubicBezTo>
                      <a:cubicBezTo>
                        <a:pt x="19460" y="7314"/>
                        <a:pt x="18921" y="13115"/>
                        <a:pt x="15034" y="16344"/>
                      </a:cubicBezTo>
                      <a:close/>
                    </a:path>
                  </a:pathLst>
                </a:custGeom>
                <a:grpFill/>
                <a:ln w="5978" cap="flat">
                  <a:noFill/>
                  <a:prstDash val="solid"/>
                  <a:miter/>
                </a:ln>
              </p:spPr>
              <p:txBody>
                <a:bodyPr rtlCol="0" anchor="ctr"/>
                <a:lstStyle/>
                <a:p>
                  <a:endParaRPr lang="en-GB"/>
                </a:p>
              </p:txBody>
            </p:sp>
            <p:sp>
              <p:nvSpPr>
                <p:cNvPr id="1768" name="Vrije vorm: vorm 1767">
                  <a:extLst>
                    <a:ext uri="{FF2B5EF4-FFF2-40B4-BE49-F238E27FC236}">
                      <a16:creationId xmlns:a16="http://schemas.microsoft.com/office/drawing/2014/main" id="{31F0AA8F-9625-439D-B52D-44F2251E50E7}"/>
                    </a:ext>
                  </a:extLst>
                </p:cNvPr>
                <p:cNvSpPr/>
                <p:nvPr/>
              </p:nvSpPr>
              <p:spPr>
                <a:xfrm>
                  <a:off x="4615923" y="4601067"/>
                  <a:ext cx="18384" cy="18439"/>
                </a:xfrm>
                <a:custGeom>
                  <a:avLst/>
                  <a:gdLst>
                    <a:gd name="connsiteX0" fmla="*/ 15089 w 18384"/>
                    <a:gd name="connsiteY0" fmla="*/ 16329 h 18439"/>
                    <a:gd name="connsiteX1" fmla="*/ 16225 w 18384"/>
                    <a:gd name="connsiteY1" fmla="*/ 3351 h 18439"/>
                    <a:gd name="connsiteX2" fmla="*/ 3307 w 18384"/>
                    <a:gd name="connsiteY2" fmla="*/ 2155 h 18439"/>
                    <a:gd name="connsiteX3" fmla="*/ 2110 w 18384"/>
                    <a:gd name="connsiteY3" fmla="*/ 15133 h 18439"/>
                    <a:gd name="connsiteX4" fmla="*/ 15089 w 18384"/>
                    <a:gd name="connsiteY4" fmla="*/ 16329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39">
                      <a:moveTo>
                        <a:pt x="15089" y="16329"/>
                      </a:moveTo>
                      <a:cubicBezTo>
                        <a:pt x="18976" y="13099"/>
                        <a:pt x="19514" y="7298"/>
                        <a:pt x="16225" y="3351"/>
                      </a:cubicBezTo>
                      <a:cubicBezTo>
                        <a:pt x="12995" y="-597"/>
                        <a:pt x="7194" y="-1135"/>
                        <a:pt x="3307" y="2155"/>
                      </a:cubicBezTo>
                      <a:cubicBezTo>
                        <a:pt x="-581" y="5384"/>
                        <a:pt x="-1119" y="11185"/>
                        <a:pt x="2110" y="15133"/>
                      </a:cubicBezTo>
                      <a:cubicBezTo>
                        <a:pt x="5400" y="19020"/>
                        <a:pt x="11201" y="19558"/>
                        <a:pt x="15089" y="16329"/>
                      </a:cubicBezTo>
                      <a:close/>
                    </a:path>
                  </a:pathLst>
                </a:custGeom>
                <a:grpFill/>
                <a:ln w="5978" cap="flat">
                  <a:noFill/>
                  <a:prstDash val="solid"/>
                  <a:miter/>
                </a:ln>
              </p:spPr>
              <p:txBody>
                <a:bodyPr rtlCol="0" anchor="ctr"/>
                <a:lstStyle/>
                <a:p>
                  <a:endParaRPr lang="en-GB"/>
                </a:p>
              </p:txBody>
            </p:sp>
          </p:grpSp>
          <p:grpSp>
            <p:nvGrpSpPr>
              <p:cNvPr id="1213" name="Graphic 3">
                <a:extLst>
                  <a:ext uri="{FF2B5EF4-FFF2-40B4-BE49-F238E27FC236}">
                    <a16:creationId xmlns:a16="http://schemas.microsoft.com/office/drawing/2014/main" id="{E9D9A757-B5C9-4534-85CD-5BE58E194905}"/>
                  </a:ext>
                </a:extLst>
              </p:cNvPr>
              <p:cNvGrpSpPr/>
              <p:nvPr/>
            </p:nvGrpSpPr>
            <p:grpSpPr>
              <a:xfrm>
                <a:off x="4026117" y="3373641"/>
                <a:ext cx="318183" cy="53895"/>
                <a:chOff x="4026117" y="3373641"/>
                <a:chExt cx="318183" cy="53895"/>
              </a:xfrm>
              <a:grpFill/>
            </p:grpSpPr>
            <p:sp>
              <p:nvSpPr>
                <p:cNvPr id="1763" name="Vrije vorm: vorm 1762">
                  <a:extLst>
                    <a:ext uri="{FF2B5EF4-FFF2-40B4-BE49-F238E27FC236}">
                      <a16:creationId xmlns:a16="http://schemas.microsoft.com/office/drawing/2014/main" id="{8F630CD5-4687-496E-B7CE-61BDD5A14D40}"/>
                    </a:ext>
                  </a:extLst>
                </p:cNvPr>
                <p:cNvSpPr/>
                <p:nvPr/>
              </p:nvSpPr>
              <p:spPr>
                <a:xfrm>
                  <a:off x="4034674" y="3381301"/>
                  <a:ext cx="301069" cy="38575"/>
                </a:xfrm>
                <a:custGeom>
                  <a:avLst/>
                  <a:gdLst>
                    <a:gd name="connsiteX0" fmla="*/ 301070 w 301069"/>
                    <a:gd name="connsiteY0" fmla="*/ 35526 h 38575"/>
                    <a:gd name="connsiteX1" fmla="*/ 300771 w 301069"/>
                    <a:gd name="connsiteY1" fmla="*/ 38576 h 38575"/>
                    <a:gd name="connsiteX2" fmla="*/ 0 w 301069"/>
                    <a:gd name="connsiteY2" fmla="*/ 3050 h 38575"/>
                    <a:gd name="connsiteX3" fmla="*/ 359 w 301069"/>
                    <a:gd name="connsiteY3" fmla="*/ 0 h 38575"/>
                  </a:gdLst>
                  <a:ahLst/>
                  <a:cxnLst>
                    <a:cxn ang="0">
                      <a:pos x="connsiteX0" y="connsiteY0"/>
                    </a:cxn>
                    <a:cxn ang="0">
                      <a:pos x="connsiteX1" y="connsiteY1"/>
                    </a:cxn>
                    <a:cxn ang="0">
                      <a:pos x="connsiteX2" y="connsiteY2"/>
                    </a:cxn>
                    <a:cxn ang="0">
                      <a:pos x="connsiteX3" y="connsiteY3"/>
                    </a:cxn>
                  </a:cxnLst>
                  <a:rect l="l" t="t" r="r" b="b"/>
                  <a:pathLst>
                    <a:path w="301069" h="38575">
                      <a:moveTo>
                        <a:pt x="301070" y="35526"/>
                      </a:moveTo>
                      <a:lnTo>
                        <a:pt x="300771" y="38576"/>
                      </a:lnTo>
                      <a:lnTo>
                        <a:pt x="0" y="3050"/>
                      </a:lnTo>
                      <a:lnTo>
                        <a:pt x="359" y="0"/>
                      </a:lnTo>
                      <a:close/>
                    </a:path>
                  </a:pathLst>
                </a:custGeom>
                <a:grpFill/>
                <a:ln w="5978" cap="flat">
                  <a:noFill/>
                  <a:prstDash val="solid"/>
                  <a:miter/>
                </a:ln>
              </p:spPr>
              <p:txBody>
                <a:bodyPr rtlCol="0" anchor="ctr"/>
                <a:lstStyle/>
                <a:p>
                  <a:endParaRPr lang="en-GB"/>
                </a:p>
              </p:txBody>
            </p:sp>
            <p:sp>
              <p:nvSpPr>
                <p:cNvPr id="1764" name="Vrije vorm: vorm 1763">
                  <a:extLst>
                    <a:ext uri="{FF2B5EF4-FFF2-40B4-BE49-F238E27FC236}">
                      <a16:creationId xmlns:a16="http://schemas.microsoft.com/office/drawing/2014/main" id="{C2456EDC-6D83-497E-BAC9-46FAA6024C56}"/>
                    </a:ext>
                  </a:extLst>
                </p:cNvPr>
                <p:cNvSpPr/>
                <p:nvPr/>
              </p:nvSpPr>
              <p:spPr>
                <a:xfrm>
                  <a:off x="4325931" y="3409106"/>
                  <a:ext cx="18369" cy="18430"/>
                </a:xfrm>
                <a:custGeom>
                  <a:avLst/>
                  <a:gdLst>
                    <a:gd name="connsiteX0" fmla="*/ 10231 w 18369"/>
                    <a:gd name="connsiteY0" fmla="*/ 65 h 18430"/>
                    <a:gd name="connsiteX1" fmla="*/ 18305 w 18369"/>
                    <a:gd name="connsiteY1" fmla="*/ 10292 h 18430"/>
                    <a:gd name="connsiteX2" fmla="*/ 8138 w 18369"/>
                    <a:gd name="connsiteY2" fmla="*/ 18366 h 18430"/>
                    <a:gd name="connsiteX3" fmla="*/ 64 w 18369"/>
                    <a:gd name="connsiteY3" fmla="*/ 8139 h 18430"/>
                    <a:gd name="connsiteX4" fmla="*/ 10231 w 18369"/>
                    <a:gd name="connsiteY4" fmla="*/ 65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30">
                      <a:moveTo>
                        <a:pt x="10231" y="65"/>
                      </a:moveTo>
                      <a:cubicBezTo>
                        <a:pt x="15255" y="663"/>
                        <a:pt x="18904" y="5268"/>
                        <a:pt x="18305" y="10292"/>
                      </a:cubicBezTo>
                      <a:cubicBezTo>
                        <a:pt x="17707" y="15316"/>
                        <a:pt x="13222" y="18964"/>
                        <a:pt x="8138" y="18366"/>
                      </a:cubicBezTo>
                      <a:cubicBezTo>
                        <a:pt x="3114" y="17768"/>
                        <a:pt x="-534" y="13223"/>
                        <a:pt x="64" y="8139"/>
                      </a:cubicBezTo>
                      <a:cubicBezTo>
                        <a:pt x="662" y="3055"/>
                        <a:pt x="5208" y="-533"/>
                        <a:pt x="10231" y="65"/>
                      </a:cubicBezTo>
                      <a:close/>
                    </a:path>
                  </a:pathLst>
                </a:custGeom>
                <a:grpFill/>
                <a:ln w="5978" cap="flat">
                  <a:noFill/>
                  <a:prstDash val="solid"/>
                  <a:miter/>
                </a:ln>
              </p:spPr>
              <p:txBody>
                <a:bodyPr rtlCol="0" anchor="ctr"/>
                <a:lstStyle/>
                <a:p>
                  <a:endParaRPr lang="en-GB"/>
                </a:p>
              </p:txBody>
            </p:sp>
            <p:sp>
              <p:nvSpPr>
                <p:cNvPr id="1765" name="Vrije vorm: vorm 1764">
                  <a:extLst>
                    <a:ext uri="{FF2B5EF4-FFF2-40B4-BE49-F238E27FC236}">
                      <a16:creationId xmlns:a16="http://schemas.microsoft.com/office/drawing/2014/main" id="{A5EFC606-68C6-4522-A3EF-2DA7C81064E2}"/>
                    </a:ext>
                  </a:extLst>
                </p:cNvPr>
                <p:cNvSpPr/>
                <p:nvPr/>
              </p:nvSpPr>
              <p:spPr>
                <a:xfrm>
                  <a:off x="4026117" y="3373641"/>
                  <a:ext cx="18358" cy="18430"/>
                </a:xfrm>
                <a:custGeom>
                  <a:avLst/>
                  <a:gdLst>
                    <a:gd name="connsiteX0" fmla="*/ 10231 w 18358"/>
                    <a:gd name="connsiteY0" fmla="*/ 64 h 18430"/>
                    <a:gd name="connsiteX1" fmla="*/ 64 w 18358"/>
                    <a:gd name="connsiteY1" fmla="*/ 8138 h 18430"/>
                    <a:gd name="connsiteX2" fmla="*/ 8138 w 18358"/>
                    <a:gd name="connsiteY2" fmla="*/ 18365 h 18430"/>
                    <a:gd name="connsiteX3" fmla="*/ 18305 w 18358"/>
                    <a:gd name="connsiteY3" fmla="*/ 10291 h 18430"/>
                    <a:gd name="connsiteX4" fmla="*/ 10231 w 18358"/>
                    <a:gd name="connsiteY4" fmla="*/ 64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30">
                      <a:moveTo>
                        <a:pt x="10231" y="64"/>
                      </a:moveTo>
                      <a:cubicBezTo>
                        <a:pt x="5208" y="-534"/>
                        <a:pt x="662" y="3114"/>
                        <a:pt x="64" y="8138"/>
                      </a:cubicBezTo>
                      <a:cubicBezTo>
                        <a:pt x="-534" y="13162"/>
                        <a:pt x="3114" y="17767"/>
                        <a:pt x="8138" y="18365"/>
                      </a:cubicBezTo>
                      <a:cubicBezTo>
                        <a:pt x="13162" y="18963"/>
                        <a:pt x="17707" y="15375"/>
                        <a:pt x="18305" y="10291"/>
                      </a:cubicBezTo>
                      <a:cubicBezTo>
                        <a:pt x="18844" y="5267"/>
                        <a:pt x="15255" y="662"/>
                        <a:pt x="10231" y="64"/>
                      </a:cubicBezTo>
                      <a:close/>
                    </a:path>
                  </a:pathLst>
                </a:custGeom>
                <a:grpFill/>
                <a:ln w="5978" cap="flat">
                  <a:noFill/>
                  <a:prstDash val="solid"/>
                  <a:miter/>
                </a:ln>
              </p:spPr>
              <p:txBody>
                <a:bodyPr rtlCol="0" anchor="ctr"/>
                <a:lstStyle/>
                <a:p>
                  <a:endParaRPr lang="en-GB"/>
                </a:p>
              </p:txBody>
            </p:sp>
          </p:grpSp>
          <p:grpSp>
            <p:nvGrpSpPr>
              <p:cNvPr id="1214" name="Graphic 3">
                <a:extLst>
                  <a:ext uri="{FF2B5EF4-FFF2-40B4-BE49-F238E27FC236}">
                    <a16:creationId xmlns:a16="http://schemas.microsoft.com/office/drawing/2014/main" id="{725E7F47-1435-41FD-A8DB-C0366E140891}"/>
                  </a:ext>
                </a:extLst>
              </p:cNvPr>
              <p:cNvGrpSpPr/>
              <p:nvPr/>
            </p:nvGrpSpPr>
            <p:grpSpPr>
              <a:xfrm>
                <a:off x="4254446" y="3854300"/>
                <a:ext cx="157931" cy="56190"/>
                <a:chOff x="4254446" y="3854300"/>
                <a:chExt cx="157931" cy="56190"/>
              </a:xfrm>
              <a:grpFill/>
            </p:grpSpPr>
            <p:sp>
              <p:nvSpPr>
                <p:cNvPr id="1760" name="Vrije vorm: vorm 1759">
                  <a:extLst>
                    <a:ext uri="{FF2B5EF4-FFF2-40B4-BE49-F238E27FC236}">
                      <a16:creationId xmlns:a16="http://schemas.microsoft.com/office/drawing/2014/main" id="{D757D6F0-493D-43D8-BBF1-C79DB31F8241}"/>
                    </a:ext>
                  </a:extLst>
                </p:cNvPr>
                <p:cNvSpPr/>
                <p:nvPr/>
              </p:nvSpPr>
              <p:spPr>
                <a:xfrm>
                  <a:off x="4263078" y="3861841"/>
                  <a:ext cx="141232" cy="41082"/>
                </a:xfrm>
                <a:custGeom>
                  <a:avLst/>
                  <a:gdLst>
                    <a:gd name="connsiteX0" fmla="*/ 0 w 141232"/>
                    <a:gd name="connsiteY0" fmla="*/ 38138 h 41082"/>
                    <a:gd name="connsiteX1" fmla="*/ 140433 w 141232"/>
                    <a:gd name="connsiteY1" fmla="*/ 0 h 41082"/>
                    <a:gd name="connsiteX2" fmla="*/ 141232 w 141232"/>
                    <a:gd name="connsiteY2" fmla="*/ 2944 h 41082"/>
                    <a:gd name="connsiteX3" fmla="*/ 799 w 141232"/>
                    <a:gd name="connsiteY3" fmla="*/ 41082 h 41082"/>
                  </a:gdLst>
                  <a:ahLst/>
                  <a:cxnLst>
                    <a:cxn ang="0">
                      <a:pos x="connsiteX0" y="connsiteY0"/>
                    </a:cxn>
                    <a:cxn ang="0">
                      <a:pos x="connsiteX1" y="connsiteY1"/>
                    </a:cxn>
                    <a:cxn ang="0">
                      <a:pos x="connsiteX2" y="connsiteY2"/>
                    </a:cxn>
                    <a:cxn ang="0">
                      <a:pos x="connsiteX3" y="connsiteY3"/>
                    </a:cxn>
                  </a:cxnLst>
                  <a:rect l="l" t="t" r="r" b="b"/>
                  <a:pathLst>
                    <a:path w="141232" h="41082">
                      <a:moveTo>
                        <a:pt x="0" y="38138"/>
                      </a:moveTo>
                      <a:lnTo>
                        <a:pt x="140433" y="0"/>
                      </a:lnTo>
                      <a:lnTo>
                        <a:pt x="141232" y="2944"/>
                      </a:lnTo>
                      <a:lnTo>
                        <a:pt x="799" y="41082"/>
                      </a:lnTo>
                      <a:close/>
                    </a:path>
                  </a:pathLst>
                </a:custGeom>
                <a:grpFill/>
                <a:ln w="5978" cap="flat">
                  <a:noFill/>
                  <a:prstDash val="solid"/>
                  <a:miter/>
                </a:ln>
              </p:spPr>
              <p:txBody>
                <a:bodyPr rtlCol="0" anchor="ctr"/>
                <a:lstStyle/>
                <a:p>
                  <a:endParaRPr lang="en-GB"/>
                </a:p>
              </p:txBody>
            </p:sp>
            <p:sp>
              <p:nvSpPr>
                <p:cNvPr id="1761" name="Vrije vorm: vorm 1760">
                  <a:extLst>
                    <a:ext uri="{FF2B5EF4-FFF2-40B4-BE49-F238E27FC236}">
                      <a16:creationId xmlns:a16="http://schemas.microsoft.com/office/drawing/2014/main" id="{BE0606FC-4F91-425C-9BA2-6EB65C8DB0FD}"/>
                    </a:ext>
                  </a:extLst>
                </p:cNvPr>
                <p:cNvSpPr/>
                <p:nvPr/>
              </p:nvSpPr>
              <p:spPr>
                <a:xfrm>
                  <a:off x="4254446" y="3892039"/>
                  <a:ext cx="18336" cy="18452"/>
                </a:xfrm>
                <a:custGeom>
                  <a:avLst/>
                  <a:gdLst>
                    <a:gd name="connsiteX0" fmla="*/ 11563 w 18336"/>
                    <a:gd name="connsiteY0" fmla="*/ 18138 h 18452"/>
                    <a:gd name="connsiteX1" fmla="*/ 319 w 18336"/>
                    <a:gd name="connsiteY1" fmla="*/ 11618 h 18452"/>
                    <a:gd name="connsiteX2" fmla="*/ 6778 w 18336"/>
                    <a:gd name="connsiteY2" fmla="*/ 315 h 18452"/>
                    <a:gd name="connsiteX3" fmla="*/ 18022 w 18336"/>
                    <a:gd name="connsiteY3" fmla="*/ 6834 h 18452"/>
                    <a:gd name="connsiteX4" fmla="*/ 11563 w 18336"/>
                    <a:gd name="connsiteY4" fmla="*/ 1813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2">
                      <a:moveTo>
                        <a:pt x="11563" y="18138"/>
                      </a:moveTo>
                      <a:cubicBezTo>
                        <a:pt x="6659" y="19453"/>
                        <a:pt x="1635" y="16523"/>
                        <a:pt x="319" y="11618"/>
                      </a:cubicBezTo>
                      <a:cubicBezTo>
                        <a:pt x="-997" y="6714"/>
                        <a:pt x="1874" y="1631"/>
                        <a:pt x="6778" y="315"/>
                      </a:cubicBezTo>
                      <a:cubicBezTo>
                        <a:pt x="11682" y="-1001"/>
                        <a:pt x="16706" y="1930"/>
                        <a:pt x="18022" y="6834"/>
                      </a:cubicBezTo>
                      <a:cubicBezTo>
                        <a:pt x="19338" y="11738"/>
                        <a:pt x="16407" y="16822"/>
                        <a:pt x="11563" y="18138"/>
                      </a:cubicBezTo>
                      <a:close/>
                    </a:path>
                  </a:pathLst>
                </a:custGeom>
                <a:grpFill/>
                <a:ln w="5978" cap="flat">
                  <a:noFill/>
                  <a:prstDash val="solid"/>
                  <a:miter/>
                </a:ln>
              </p:spPr>
              <p:txBody>
                <a:bodyPr rtlCol="0" anchor="ctr"/>
                <a:lstStyle/>
                <a:p>
                  <a:endParaRPr lang="en-GB"/>
                </a:p>
              </p:txBody>
            </p:sp>
            <p:sp>
              <p:nvSpPr>
                <p:cNvPr id="1762" name="Vrije vorm: vorm 1761">
                  <a:extLst>
                    <a:ext uri="{FF2B5EF4-FFF2-40B4-BE49-F238E27FC236}">
                      <a16:creationId xmlns:a16="http://schemas.microsoft.com/office/drawing/2014/main" id="{1036D939-FB55-437C-8504-E0FD031B46BA}"/>
                    </a:ext>
                  </a:extLst>
                </p:cNvPr>
                <p:cNvSpPr/>
                <p:nvPr/>
              </p:nvSpPr>
              <p:spPr>
                <a:xfrm>
                  <a:off x="4394036" y="3854300"/>
                  <a:ext cx="18341" cy="18452"/>
                </a:xfrm>
                <a:custGeom>
                  <a:avLst/>
                  <a:gdLst>
                    <a:gd name="connsiteX0" fmla="*/ 11563 w 18341"/>
                    <a:gd name="connsiteY0" fmla="*/ 18138 h 18452"/>
                    <a:gd name="connsiteX1" fmla="*/ 18022 w 18341"/>
                    <a:gd name="connsiteY1" fmla="*/ 6834 h 18452"/>
                    <a:gd name="connsiteX2" fmla="*/ 6778 w 18341"/>
                    <a:gd name="connsiteY2" fmla="*/ 315 h 18452"/>
                    <a:gd name="connsiteX3" fmla="*/ 319 w 18341"/>
                    <a:gd name="connsiteY3" fmla="*/ 11618 h 18452"/>
                    <a:gd name="connsiteX4" fmla="*/ 11563 w 18341"/>
                    <a:gd name="connsiteY4" fmla="*/ 1813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2">
                      <a:moveTo>
                        <a:pt x="11563" y="18138"/>
                      </a:moveTo>
                      <a:cubicBezTo>
                        <a:pt x="16467" y="16822"/>
                        <a:pt x="19338" y="11738"/>
                        <a:pt x="18022" y="6834"/>
                      </a:cubicBezTo>
                      <a:cubicBezTo>
                        <a:pt x="16706" y="1930"/>
                        <a:pt x="11623" y="-1001"/>
                        <a:pt x="6778" y="315"/>
                      </a:cubicBezTo>
                      <a:cubicBezTo>
                        <a:pt x="1874" y="1631"/>
                        <a:pt x="-997" y="6714"/>
                        <a:pt x="319" y="11618"/>
                      </a:cubicBezTo>
                      <a:cubicBezTo>
                        <a:pt x="1635" y="16523"/>
                        <a:pt x="6659" y="19453"/>
                        <a:pt x="11563" y="18138"/>
                      </a:cubicBezTo>
                      <a:close/>
                    </a:path>
                  </a:pathLst>
                </a:custGeom>
                <a:grpFill/>
                <a:ln w="5978" cap="flat">
                  <a:noFill/>
                  <a:prstDash val="solid"/>
                  <a:miter/>
                </a:ln>
              </p:spPr>
              <p:txBody>
                <a:bodyPr rtlCol="0" anchor="ctr"/>
                <a:lstStyle/>
                <a:p>
                  <a:endParaRPr lang="en-GB"/>
                </a:p>
              </p:txBody>
            </p:sp>
          </p:grpSp>
          <p:grpSp>
            <p:nvGrpSpPr>
              <p:cNvPr id="1215" name="Graphic 3">
                <a:extLst>
                  <a:ext uri="{FF2B5EF4-FFF2-40B4-BE49-F238E27FC236}">
                    <a16:creationId xmlns:a16="http://schemas.microsoft.com/office/drawing/2014/main" id="{D0880CBB-162B-4F56-A388-92C0BC70828F}"/>
                  </a:ext>
                </a:extLst>
              </p:cNvPr>
              <p:cNvGrpSpPr/>
              <p:nvPr/>
            </p:nvGrpSpPr>
            <p:grpSpPr>
              <a:xfrm>
                <a:off x="3993982" y="3256571"/>
                <a:ext cx="272050" cy="37135"/>
                <a:chOff x="3993982" y="3256571"/>
                <a:chExt cx="272050" cy="37135"/>
              </a:xfrm>
              <a:grpFill/>
            </p:grpSpPr>
            <p:sp>
              <p:nvSpPr>
                <p:cNvPr id="1757" name="Vrije vorm: vorm 1756">
                  <a:extLst>
                    <a:ext uri="{FF2B5EF4-FFF2-40B4-BE49-F238E27FC236}">
                      <a16:creationId xmlns:a16="http://schemas.microsoft.com/office/drawing/2014/main" id="{68BCA874-560B-4C3D-A5D4-10D2F25E7872}"/>
                    </a:ext>
                  </a:extLst>
                </p:cNvPr>
                <p:cNvSpPr/>
                <p:nvPr/>
              </p:nvSpPr>
              <p:spPr>
                <a:xfrm>
                  <a:off x="4002617" y="3264198"/>
                  <a:ext cx="254838" cy="21829"/>
                </a:xfrm>
                <a:custGeom>
                  <a:avLst/>
                  <a:gdLst>
                    <a:gd name="connsiteX0" fmla="*/ 254838 w 254838"/>
                    <a:gd name="connsiteY0" fmla="*/ 18779 h 21829"/>
                    <a:gd name="connsiteX1" fmla="*/ 254659 w 254838"/>
                    <a:gd name="connsiteY1" fmla="*/ 21830 h 21829"/>
                    <a:gd name="connsiteX2" fmla="*/ 0 w 254838"/>
                    <a:gd name="connsiteY2" fmla="*/ 3050 h 21829"/>
                    <a:gd name="connsiteX3" fmla="*/ 180 w 254838"/>
                    <a:gd name="connsiteY3" fmla="*/ 0 h 21829"/>
                  </a:gdLst>
                  <a:ahLst/>
                  <a:cxnLst>
                    <a:cxn ang="0">
                      <a:pos x="connsiteX0" y="connsiteY0"/>
                    </a:cxn>
                    <a:cxn ang="0">
                      <a:pos x="connsiteX1" y="connsiteY1"/>
                    </a:cxn>
                    <a:cxn ang="0">
                      <a:pos x="connsiteX2" y="connsiteY2"/>
                    </a:cxn>
                    <a:cxn ang="0">
                      <a:pos x="connsiteX3" y="connsiteY3"/>
                    </a:cxn>
                  </a:cxnLst>
                  <a:rect l="l" t="t" r="r" b="b"/>
                  <a:pathLst>
                    <a:path w="254838" h="21829">
                      <a:moveTo>
                        <a:pt x="254838" y="18779"/>
                      </a:moveTo>
                      <a:lnTo>
                        <a:pt x="254659" y="21830"/>
                      </a:lnTo>
                      <a:lnTo>
                        <a:pt x="0" y="3050"/>
                      </a:lnTo>
                      <a:lnTo>
                        <a:pt x="180" y="0"/>
                      </a:lnTo>
                      <a:close/>
                    </a:path>
                  </a:pathLst>
                </a:custGeom>
                <a:grpFill/>
                <a:ln w="5978" cap="flat">
                  <a:noFill/>
                  <a:prstDash val="solid"/>
                  <a:miter/>
                </a:ln>
              </p:spPr>
              <p:txBody>
                <a:bodyPr rtlCol="0" anchor="ctr"/>
                <a:lstStyle/>
                <a:p>
                  <a:endParaRPr lang="en-GB"/>
                </a:p>
              </p:txBody>
            </p:sp>
            <p:sp>
              <p:nvSpPr>
                <p:cNvPr id="1758" name="Vrije vorm: vorm 1757">
                  <a:extLst>
                    <a:ext uri="{FF2B5EF4-FFF2-40B4-BE49-F238E27FC236}">
                      <a16:creationId xmlns:a16="http://schemas.microsoft.com/office/drawing/2014/main" id="{89EA880E-6B72-49B2-A16E-7F04E3C2587C}"/>
                    </a:ext>
                  </a:extLst>
                </p:cNvPr>
                <p:cNvSpPr/>
                <p:nvPr/>
              </p:nvSpPr>
              <p:spPr>
                <a:xfrm>
                  <a:off x="3993982" y="3256571"/>
                  <a:ext cx="18287" cy="18415"/>
                </a:xfrm>
                <a:custGeom>
                  <a:avLst/>
                  <a:gdLst>
                    <a:gd name="connsiteX0" fmla="*/ 8516 w 18287"/>
                    <a:gd name="connsiteY0" fmla="*/ 18392 h 18415"/>
                    <a:gd name="connsiteX1" fmla="*/ 23 w 18287"/>
                    <a:gd name="connsiteY1" fmla="*/ 8524 h 18415"/>
                    <a:gd name="connsiteX2" fmla="*/ 9772 w 18287"/>
                    <a:gd name="connsiteY2" fmla="*/ 31 h 18415"/>
                    <a:gd name="connsiteX3" fmla="*/ 18264 w 18287"/>
                    <a:gd name="connsiteY3" fmla="*/ 9899 h 18415"/>
                    <a:gd name="connsiteX4" fmla="*/ 8516 w 18287"/>
                    <a:gd name="connsiteY4" fmla="*/ 18392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5">
                      <a:moveTo>
                        <a:pt x="8516" y="18392"/>
                      </a:moveTo>
                      <a:cubicBezTo>
                        <a:pt x="3492" y="18033"/>
                        <a:pt x="-336" y="13608"/>
                        <a:pt x="23" y="8524"/>
                      </a:cubicBezTo>
                      <a:cubicBezTo>
                        <a:pt x="382" y="3440"/>
                        <a:pt x="4748" y="-387"/>
                        <a:pt x="9772" y="31"/>
                      </a:cubicBezTo>
                      <a:cubicBezTo>
                        <a:pt x="14796" y="390"/>
                        <a:pt x="18623" y="4816"/>
                        <a:pt x="18264" y="9899"/>
                      </a:cubicBezTo>
                      <a:cubicBezTo>
                        <a:pt x="17965" y="14983"/>
                        <a:pt x="13600" y="18751"/>
                        <a:pt x="8516" y="18392"/>
                      </a:cubicBezTo>
                      <a:close/>
                    </a:path>
                  </a:pathLst>
                </a:custGeom>
                <a:grpFill/>
                <a:ln w="5978" cap="flat">
                  <a:noFill/>
                  <a:prstDash val="solid"/>
                  <a:miter/>
                </a:ln>
              </p:spPr>
              <p:txBody>
                <a:bodyPr rtlCol="0" anchor="ctr"/>
                <a:lstStyle/>
                <a:p>
                  <a:endParaRPr lang="en-GB"/>
                </a:p>
              </p:txBody>
            </p:sp>
            <p:sp>
              <p:nvSpPr>
                <p:cNvPr id="1759" name="Vrije vorm: vorm 1758">
                  <a:extLst>
                    <a:ext uri="{FF2B5EF4-FFF2-40B4-BE49-F238E27FC236}">
                      <a16:creationId xmlns:a16="http://schemas.microsoft.com/office/drawing/2014/main" id="{BE72037D-8B61-4016-8DD0-28697A72CC9F}"/>
                    </a:ext>
                  </a:extLst>
                </p:cNvPr>
                <p:cNvSpPr/>
                <p:nvPr/>
              </p:nvSpPr>
              <p:spPr>
                <a:xfrm>
                  <a:off x="4247744" y="3275299"/>
                  <a:ext cx="18288" cy="18407"/>
                </a:xfrm>
                <a:custGeom>
                  <a:avLst/>
                  <a:gdLst>
                    <a:gd name="connsiteX0" fmla="*/ 8516 w 18288"/>
                    <a:gd name="connsiteY0" fmla="*/ 18384 h 18407"/>
                    <a:gd name="connsiteX1" fmla="*/ 18265 w 18288"/>
                    <a:gd name="connsiteY1" fmla="*/ 9891 h 18407"/>
                    <a:gd name="connsiteX2" fmla="*/ 9772 w 18288"/>
                    <a:gd name="connsiteY2" fmla="*/ 23 h 18407"/>
                    <a:gd name="connsiteX3" fmla="*/ 23 w 18288"/>
                    <a:gd name="connsiteY3" fmla="*/ 8516 h 18407"/>
                    <a:gd name="connsiteX4" fmla="*/ 8516 w 18288"/>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07">
                      <a:moveTo>
                        <a:pt x="8516" y="18384"/>
                      </a:moveTo>
                      <a:cubicBezTo>
                        <a:pt x="13540" y="18743"/>
                        <a:pt x="17965" y="14915"/>
                        <a:pt x="18265" y="9891"/>
                      </a:cubicBezTo>
                      <a:cubicBezTo>
                        <a:pt x="18624" y="4808"/>
                        <a:pt x="14796" y="382"/>
                        <a:pt x="9772" y="23"/>
                      </a:cubicBezTo>
                      <a:cubicBezTo>
                        <a:pt x="4748" y="-336"/>
                        <a:pt x="323" y="3492"/>
                        <a:pt x="23" y="8516"/>
                      </a:cubicBezTo>
                      <a:cubicBezTo>
                        <a:pt x="-336" y="13599"/>
                        <a:pt x="3492" y="18025"/>
                        <a:pt x="8516" y="18384"/>
                      </a:cubicBezTo>
                      <a:close/>
                    </a:path>
                  </a:pathLst>
                </a:custGeom>
                <a:grpFill/>
                <a:ln w="5978" cap="flat">
                  <a:noFill/>
                  <a:prstDash val="solid"/>
                  <a:miter/>
                </a:ln>
              </p:spPr>
              <p:txBody>
                <a:bodyPr rtlCol="0" anchor="ctr"/>
                <a:lstStyle/>
                <a:p>
                  <a:endParaRPr lang="en-GB"/>
                </a:p>
              </p:txBody>
            </p:sp>
          </p:grpSp>
          <p:grpSp>
            <p:nvGrpSpPr>
              <p:cNvPr id="1216" name="Graphic 3">
                <a:extLst>
                  <a:ext uri="{FF2B5EF4-FFF2-40B4-BE49-F238E27FC236}">
                    <a16:creationId xmlns:a16="http://schemas.microsoft.com/office/drawing/2014/main" id="{D47A1C72-54CB-4861-A897-809F76E3D440}"/>
                  </a:ext>
                </a:extLst>
              </p:cNvPr>
              <p:cNvGrpSpPr/>
              <p:nvPr/>
            </p:nvGrpSpPr>
            <p:grpSpPr>
              <a:xfrm>
                <a:off x="4706241" y="5125824"/>
                <a:ext cx="195851" cy="280842"/>
                <a:chOff x="4706241" y="5125824"/>
                <a:chExt cx="195851" cy="280842"/>
              </a:xfrm>
              <a:grpFill/>
            </p:grpSpPr>
            <p:sp>
              <p:nvSpPr>
                <p:cNvPr id="1754" name="Vrije vorm: vorm 1753">
                  <a:extLst>
                    <a:ext uri="{FF2B5EF4-FFF2-40B4-BE49-F238E27FC236}">
                      <a16:creationId xmlns:a16="http://schemas.microsoft.com/office/drawing/2014/main" id="{F48592EC-7914-4932-9BB0-0828B35448BC}"/>
                    </a:ext>
                  </a:extLst>
                </p:cNvPr>
                <p:cNvSpPr/>
                <p:nvPr/>
              </p:nvSpPr>
              <p:spPr>
                <a:xfrm>
                  <a:off x="4713845" y="5133772"/>
                  <a:ext cx="180617" cy="264945"/>
                </a:xfrm>
                <a:custGeom>
                  <a:avLst/>
                  <a:gdLst>
                    <a:gd name="connsiteX0" fmla="*/ 180618 w 180617"/>
                    <a:gd name="connsiteY0" fmla="*/ 1735 h 264945"/>
                    <a:gd name="connsiteX1" fmla="*/ 2572 w 180617"/>
                    <a:gd name="connsiteY1" fmla="*/ 264946 h 264945"/>
                    <a:gd name="connsiteX2" fmla="*/ 0 w 180617"/>
                    <a:gd name="connsiteY2" fmla="*/ 263212 h 264945"/>
                    <a:gd name="connsiteX3" fmla="*/ 178106 w 180617"/>
                    <a:gd name="connsiteY3" fmla="*/ 0 h 264945"/>
                  </a:gdLst>
                  <a:ahLst/>
                  <a:cxnLst>
                    <a:cxn ang="0">
                      <a:pos x="connsiteX0" y="connsiteY0"/>
                    </a:cxn>
                    <a:cxn ang="0">
                      <a:pos x="connsiteX1" y="connsiteY1"/>
                    </a:cxn>
                    <a:cxn ang="0">
                      <a:pos x="connsiteX2" y="connsiteY2"/>
                    </a:cxn>
                    <a:cxn ang="0">
                      <a:pos x="connsiteX3" y="connsiteY3"/>
                    </a:cxn>
                  </a:cxnLst>
                  <a:rect l="l" t="t" r="r" b="b"/>
                  <a:pathLst>
                    <a:path w="180617" h="264945">
                      <a:moveTo>
                        <a:pt x="180618" y="1735"/>
                      </a:moveTo>
                      <a:lnTo>
                        <a:pt x="2572" y="264946"/>
                      </a:lnTo>
                      <a:lnTo>
                        <a:pt x="0" y="263212"/>
                      </a:lnTo>
                      <a:lnTo>
                        <a:pt x="178106" y="0"/>
                      </a:lnTo>
                      <a:close/>
                    </a:path>
                  </a:pathLst>
                </a:custGeom>
                <a:grpFill/>
                <a:ln w="5978" cap="flat">
                  <a:noFill/>
                  <a:prstDash val="solid"/>
                  <a:miter/>
                </a:ln>
              </p:spPr>
              <p:txBody>
                <a:bodyPr rtlCol="0" anchor="ctr"/>
                <a:lstStyle/>
                <a:p>
                  <a:endParaRPr lang="en-GB"/>
                </a:p>
              </p:txBody>
            </p:sp>
            <p:sp>
              <p:nvSpPr>
                <p:cNvPr id="1755" name="Vrije vorm: vorm 1754">
                  <a:extLst>
                    <a:ext uri="{FF2B5EF4-FFF2-40B4-BE49-F238E27FC236}">
                      <a16:creationId xmlns:a16="http://schemas.microsoft.com/office/drawing/2014/main" id="{94CE0399-63AA-4712-91FD-BB63A105BBBB}"/>
                    </a:ext>
                  </a:extLst>
                </p:cNvPr>
                <p:cNvSpPr/>
                <p:nvPr/>
              </p:nvSpPr>
              <p:spPr>
                <a:xfrm>
                  <a:off x="4706241" y="5388258"/>
                  <a:ext cx="18317" cy="18408"/>
                </a:xfrm>
                <a:custGeom>
                  <a:avLst/>
                  <a:gdLst>
                    <a:gd name="connsiteX0" fmla="*/ 16754 w 18317"/>
                    <a:gd name="connsiteY0" fmla="*/ 14407 h 18408"/>
                    <a:gd name="connsiteX1" fmla="*/ 4015 w 18317"/>
                    <a:gd name="connsiteY1" fmla="*/ 16799 h 18408"/>
                    <a:gd name="connsiteX2" fmla="*/ 1563 w 18317"/>
                    <a:gd name="connsiteY2" fmla="*/ 4001 h 18408"/>
                    <a:gd name="connsiteX3" fmla="*/ 14302 w 18317"/>
                    <a:gd name="connsiteY3" fmla="*/ 1609 h 18408"/>
                    <a:gd name="connsiteX4" fmla="*/ 16754 w 1831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08">
                      <a:moveTo>
                        <a:pt x="16754" y="14407"/>
                      </a:moveTo>
                      <a:cubicBezTo>
                        <a:pt x="13884" y="18594"/>
                        <a:pt x="8202" y="19670"/>
                        <a:pt x="4015" y="16799"/>
                      </a:cubicBezTo>
                      <a:cubicBezTo>
                        <a:pt x="-171" y="13929"/>
                        <a:pt x="-1248" y="8187"/>
                        <a:pt x="1563" y="4001"/>
                      </a:cubicBezTo>
                      <a:cubicBezTo>
                        <a:pt x="4374" y="-186"/>
                        <a:pt x="10116" y="-1262"/>
                        <a:pt x="14302" y="1609"/>
                      </a:cubicBezTo>
                      <a:cubicBezTo>
                        <a:pt x="18489" y="4479"/>
                        <a:pt x="19565" y="10221"/>
                        <a:pt x="16754" y="14407"/>
                      </a:cubicBezTo>
                      <a:close/>
                    </a:path>
                  </a:pathLst>
                </a:custGeom>
                <a:grpFill/>
                <a:ln w="5978" cap="flat">
                  <a:noFill/>
                  <a:prstDash val="solid"/>
                  <a:miter/>
                </a:ln>
              </p:spPr>
              <p:txBody>
                <a:bodyPr rtlCol="0" anchor="ctr"/>
                <a:lstStyle/>
                <a:p>
                  <a:endParaRPr lang="en-GB"/>
                </a:p>
              </p:txBody>
            </p:sp>
            <p:sp>
              <p:nvSpPr>
                <p:cNvPr id="1756" name="Vrije vorm: vorm 1755">
                  <a:extLst>
                    <a:ext uri="{FF2B5EF4-FFF2-40B4-BE49-F238E27FC236}">
                      <a16:creationId xmlns:a16="http://schemas.microsoft.com/office/drawing/2014/main" id="{904E26BC-E750-4580-A534-18D07FB5C513}"/>
                    </a:ext>
                  </a:extLst>
                </p:cNvPr>
                <p:cNvSpPr/>
                <p:nvPr/>
              </p:nvSpPr>
              <p:spPr>
                <a:xfrm>
                  <a:off x="4883749" y="5125824"/>
                  <a:ext cx="18343" cy="18408"/>
                </a:xfrm>
                <a:custGeom>
                  <a:avLst/>
                  <a:gdLst>
                    <a:gd name="connsiteX0" fmla="*/ 16754 w 18343"/>
                    <a:gd name="connsiteY0" fmla="*/ 14407 h 18408"/>
                    <a:gd name="connsiteX1" fmla="*/ 14302 w 18343"/>
                    <a:gd name="connsiteY1" fmla="*/ 1609 h 18408"/>
                    <a:gd name="connsiteX2" fmla="*/ 1563 w 18343"/>
                    <a:gd name="connsiteY2" fmla="*/ 4001 h 18408"/>
                    <a:gd name="connsiteX3" fmla="*/ 4015 w 18343"/>
                    <a:gd name="connsiteY3" fmla="*/ 16799 h 18408"/>
                    <a:gd name="connsiteX4" fmla="*/ 16754 w 18343"/>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6754" y="14407"/>
                      </a:moveTo>
                      <a:cubicBezTo>
                        <a:pt x="19625" y="10221"/>
                        <a:pt x="18489" y="4479"/>
                        <a:pt x="14302" y="1609"/>
                      </a:cubicBezTo>
                      <a:cubicBezTo>
                        <a:pt x="10116" y="-1262"/>
                        <a:pt x="4434" y="-186"/>
                        <a:pt x="1563" y="4001"/>
                      </a:cubicBezTo>
                      <a:cubicBezTo>
                        <a:pt x="-1248" y="8188"/>
                        <a:pt x="-171" y="13929"/>
                        <a:pt x="4015" y="16799"/>
                      </a:cubicBezTo>
                      <a:cubicBezTo>
                        <a:pt x="8202" y="19670"/>
                        <a:pt x="13944" y="18594"/>
                        <a:pt x="16754" y="14407"/>
                      </a:cubicBezTo>
                      <a:close/>
                    </a:path>
                  </a:pathLst>
                </a:custGeom>
                <a:grpFill/>
                <a:ln w="5978" cap="flat">
                  <a:noFill/>
                  <a:prstDash val="solid"/>
                  <a:miter/>
                </a:ln>
              </p:spPr>
              <p:txBody>
                <a:bodyPr rtlCol="0" anchor="ctr"/>
                <a:lstStyle/>
                <a:p>
                  <a:endParaRPr lang="en-GB"/>
                </a:p>
              </p:txBody>
            </p:sp>
          </p:grpSp>
          <p:grpSp>
            <p:nvGrpSpPr>
              <p:cNvPr id="1217" name="Graphic 3">
                <a:extLst>
                  <a:ext uri="{FF2B5EF4-FFF2-40B4-BE49-F238E27FC236}">
                    <a16:creationId xmlns:a16="http://schemas.microsoft.com/office/drawing/2014/main" id="{A1894874-4F10-4AE1-AF87-33FF2C31563A}"/>
                  </a:ext>
                </a:extLst>
              </p:cNvPr>
              <p:cNvGrpSpPr/>
              <p:nvPr/>
            </p:nvGrpSpPr>
            <p:grpSpPr>
              <a:xfrm>
                <a:off x="4403266" y="4121964"/>
                <a:ext cx="36209" cy="26293"/>
                <a:chOff x="4403266" y="4121964"/>
                <a:chExt cx="36209" cy="26293"/>
              </a:xfrm>
              <a:grpFill/>
            </p:grpSpPr>
            <p:sp>
              <p:nvSpPr>
                <p:cNvPr id="1751" name="Vrije vorm: vorm 1750">
                  <a:extLst>
                    <a:ext uri="{FF2B5EF4-FFF2-40B4-BE49-F238E27FC236}">
                      <a16:creationId xmlns:a16="http://schemas.microsoft.com/office/drawing/2014/main" id="{7E63281C-F5FD-46F9-BE99-0CE14469AEB3}"/>
                    </a:ext>
                  </a:extLst>
                </p:cNvPr>
                <p:cNvSpPr/>
                <p:nvPr/>
              </p:nvSpPr>
              <p:spPr>
                <a:xfrm>
                  <a:off x="4411400" y="4129609"/>
                  <a:ext cx="19915" cy="11064"/>
                </a:xfrm>
                <a:custGeom>
                  <a:avLst/>
                  <a:gdLst>
                    <a:gd name="connsiteX0" fmla="*/ 19916 w 19915"/>
                    <a:gd name="connsiteY0" fmla="*/ 2811 h 11064"/>
                    <a:gd name="connsiteX1" fmla="*/ 1196 w 19915"/>
                    <a:gd name="connsiteY1" fmla="*/ 11064 h 11064"/>
                    <a:gd name="connsiteX2" fmla="*/ 0 w 19915"/>
                    <a:gd name="connsiteY2" fmla="*/ 8253 h 11064"/>
                    <a:gd name="connsiteX3" fmla="*/ 18660 w 19915"/>
                    <a:gd name="connsiteY3" fmla="*/ 0 h 11064"/>
                  </a:gdLst>
                  <a:ahLst/>
                  <a:cxnLst>
                    <a:cxn ang="0">
                      <a:pos x="connsiteX0" y="connsiteY0"/>
                    </a:cxn>
                    <a:cxn ang="0">
                      <a:pos x="connsiteX1" y="connsiteY1"/>
                    </a:cxn>
                    <a:cxn ang="0">
                      <a:pos x="connsiteX2" y="connsiteY2"/>
                    </a:cxn>
                    <a:cxn ang="0">
                      <a:pos x="connsiteX3" y="connsiteY3"/>
                    </a:cxn>
                  </a:cxnLst>
                  <a:rect l="l" t="t" r="r" b="b"/>
                  <a:pathLst>
                    <a:path w="19915" h="11064">
                      <a:moveTo>
                        <a:pt x="19916" y="2811"/>
                      </a:moveTo>
                      <a:lnTo>
                        <a:pt x="1196" y="11064"/>
                      </a:lnTo>
                      <a:lnTo>
                        <a:pt x="0" y="8253"/>
                      </a:lnTo>
                      <a:lnTo>
                        <a:pt x="18660" y="0"/>
                      </a:lnTo>
                      <a:close/>
                    </a:path>
                  </a:pathLst>
                </a:custGeom>
                <a:grpFill/>
                <a:ln w="5978" cap="flat">
                  <a:noFill/>
                  <a:prstDash val="solid"/>
                  <a:miter/>
                </a:ln>
              </p:spPr>
              <p:txBody>
                <a:bodyPr rtlCol="0" anchor="ctr"/>
                <a:lstStyle/>
                <a:p>
                  <a:endParaRPr lang="en-GB"/>
                </a:p>
              </p:txBody>
            </p:sp>
            <p:sp>
              <p:nvSpPr>
                <p:cNvPr id="1752" name="Vrije vorm: vorm 1751">
                  <a:extLst>
                    <a:ext uri="{FF2B5EF4-FFF2-40B4-BE49-F238E27FC236}">
                      <a16:creationId xmlns:a16="http://schemas.microsoft.com/office/drawing/2014/main" id="{68106B23-2BC3-4F87-B5A5-3259FECCE2A7}"/>
                    </a:ext>
                  </a:extLst>
                </p:cNvPr>
                <p:cNvSpPr/>
                <p:nvPr/>
              </p:nvSpPr>
              <p:spPr>
                <a:xfrm>
                  <a:off x="4403266" y="4129799"/>
                  <a:ext cx="18301" cy="18458"/>
                </a:xfrm>
                <a:custGeom>
                  <a:avLst/>
                  <a:gdLst>
                    <a:gd name="connsiteX0" fmla="*/ 12859 w 18301"/>
                    <a:gd name="connsiteY0" fmla="*/ 17692 h 18458"/>
                    <a:gd name="connsiteX1" fmla="*/ 777 w 18301"/>
                    <a:gd name="connsiteY1" fmla="*/ 12908 h 18458"/>
                    <a:gd name="connsiteX2" fmla="*/ 5443 w 18301"/>
                    <a:gd name="connsiteY2" fmla="*/ 767 h 18458"/>
                    <a:gd name="connsiteX3" fmla="*/ 17523 w 18301"/>
                    <a:gd name="connsiteY3" fmla="*/ 5551 h 18458"/>
                    <a:gd name="connsiteX4" fmla="*/ 12859 w 18301"/>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58">
                      <a:moveTo>
                        <a:pt x="12859" y="17692"/>
                      </a:moveTo>
                      <a:cubicBezTo>
                        <a:pt x="8253" y="19726"/>
                        <a:pt x="2811" y="17573"/>
                        <a:pt x="777" y="12908"/>
                      </a:cubicBezTo>
                      <a:cubicBezTo>
                        <a:pt x="-1256" y="8243"/>
                        <a:pt x="837" y="2800"/>
                        <a:pt x="5443" y="767"/>
                      </a:cubicBezTo>
                      <a:cubicBezTo>
                        <a:pt x="10048" y="-1267"/>
                        <a:pt x="15490" y="886"/>
                        <a:pt x="17523" y="5551"/>
                      </a:cubicBezTo>
                      <a:cubicBezTo>
                        <a:pt x="19557" y="10216"/>
                        <a:pt x="17464" y="15659"/>
                        <a:pt x="12859" y="17692"/>
                      </a:cubicBezTo>
                      <a:close/>
                    </a:path>
                  </a:pathLst>
                </a:custGeom>
                <a:grpFill/>
                <a:ln w="5978" cap="flat">
                  <a:noFill/>
                  <a:prstDash val="solid"/>
                  <a:miter/>
                </a:ln>
              </p:spPr>
              <p:txBody>
                <a:bodyPr rtlCol="0" anchor="ctr"/>
                <a:lstStyle/>
                <a:p>
                  <a:endParaRPr lang="en-GB"/>
                </a:p>
              </p:txBody>
            </p:sp>
            <p:sp>
              <p:nvSpPr>
                <p:cNvPr id="1753" name="Vrije vorm: vorm 1752">
                  <a:extLst>
                    <a:ext uri="{FF2B5EF4-FFF2-40B4-BE49-F238E27FC236}">
                      <a16:creationId xmlns:a16="http://schemas.microsoft.com/office/drawing/2014/main" id="{DA03FF34-8DF9-4AFA-BA59-D3C79C5D4696}"/>
                    </a:ext>
                  </a:extLst>
                </p:cNvPr>
                <p:cNvSpPr/>
                <p:nvPr/>
              </p:nvSpPr>
              <p:spPr>
                <a:xfrm>
                  <a:off x="4421148" y="4121964"/>
                  <a:ext cx="18326" cy="18458"/>
                </a:xfrm>
                <a:custGeom>
                  <a:avLst/>
                  <a:gdLst>
                    <a:gd name="connsiteX0" fmla="*/ 12859 w 18326"/>
                    <a:gd name="connsiteY0" fmla="*/ 17692 h 18458"/>
                    <a:gd name="connsiteX1" fmla="*/ 17524 w 18326"/>
                    <a:gd name="connsiteY1" fmla="*/ 5551 h 18458"/>
                    <a:gd name="connsiteX2" fmla="*/ 5443 w 18326"/>
                    <a:gd name="connsiteY2" fmla="*/ 767 h 18458"/>
                    <a:gd name="connsiteX3" fmla="*/ 777 w 18326"/>
                    <a:gd name="connsiteY3" fmla="*/ 12907 h 18458"/>
                    <a:gd name="connsiteX4" fmla="*/ 12859 w 18326"/>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8">
                      <a:moveTo>
                        <a:pt x="12859" y="17692"/>
                      </a:moveTo>
                      <a:cubicBezTo>
                        <a:pt x="17464" y="15659"/>
                        <a:pt x="19617" y="10216"/>
                        <a:pt x="17524" y="5551"/>
                      </a:cubicBezTo>
                      <a:cubicBezTo>
                        <a:pt x="15490" y="886"/>
                        <a:pt x="10048" y="-1267"/>
                        <a:pt x="5443" y="767"/>
                      </a:cubicBezTo>
                      <a:cubicBezTo>
                        <a:pt x="837" y="2800"/>
                        <a:pt x="-1256" y="8243"/>
                        <a:pt x="777" y="12907"/>
                      </a:cubicBezTo>
                      <a:cubicBezTo>
                        <a:pt x="2811" y="17573"/>
                        <a:pt x="8194" y="19726"/>
                        <a:pt x="12859" y="17692"/>
                      </a:cubicBezTo>
                      <a:close/>
                    </a:path>
                  </a:pathLst>
                </a:custGeom>
                <a:grpFill/>
                <a:ln w="5978" cap="flat">
                  <a:noFill/>
                  <a:prstDash val="solid"/>
                  <a:miter/>
                </a:ln>
              </p:spPr>
              <p:txBody>
                <a:bodyPr rtlCol="0" anchor="ctr"/>
                <a:lstStyle/>
                <a:p>
                  <a:endParaRPr lang="en-GB"/>
                </a:p>
              </p:txBody>
            </p:sp>
          </p:grpSp>
          <p:grpSp>
            <p:nvGrpSpPr>
              <p:cNvPr id="1218" name="Graphic 3">
                <a:extLst>
                  <a:ext uri="{FF2B5EF4-FFF2-40B4-BE49-F238E27FC236}">
                    <a16:creationId xmlns:a16="http://schemas.microsoft.com/office/drawing/2014/main" id="{1754E72C-31EA-4763-AAF0-330D81D460CF}"/>
                  </a:ext>
                </a:extLst>
              </p:cNvPr>
              <p:cNvGrpSpPr/>
              <p:nvPr/>
            </p:nvGrpSpPr>
            <p:grpSpPr>
              <a:xfrm>
                <a:off x="4094236" y="3337337"/>
                <a:ext cx="97318" cy="21243"/>
                <a:chOff x="4094236" y="3337337"/>
                <a:chExt cx="97318" cy="21243"/>
              </a:xfrm>
              <a:grpFill/>
            </p:grpSpPr>
            <p:sp>
              <p:nvSpPr>
                <p:cNvPr id="1748" name="Vrije vorm: vorm 1747">
                  <a:extLst>
                    <a:ext uri="{FF2B5EF4-FFF2-40B4-BE49-F238E27FC236}">
                      <a16:creationId xmlns:a16="http://schemas.microsoft.com/office/drawing/2014/main" id="{162B1966-1625-470B-917F-ECCA0A0D022B}"/>
                    </a:ext>
                  </a:extLst>
                </p:cNvPr>
                <p:cNvSpPr/>
                <p:nvPr/>
              </p:nvSpPr>
              <p:spPr>
                <a:xfrm>
                  <a:off x="4102854" y="3344998"/>
                  <a:ext cx="80081" cy="5921"/>
                </a:xfrm>
                <a:custGeom>
                  <a:avLst/>
                  <a:gdLst>
                    <a:gd name="connsiteX0" fmla="*/ 80082 w 80081"/>
                    <a:gd name="connsiteY0" fmla="*/ 2871 h 5921"/>
                    <a:gd name="connsiteX1" fmla="*/ 79962 w 80081"/>
                    <a:gd name="connsiteY1" fmla="*/ 5921 h 5921"/>
                    <a:gd name="connsiteX2" fmla="*/ 0 w 80081"/>
                    <a:gd name="connsiteY2" fmla="*/ 3050 h 5921"/>
                    <a:gd name="connsiteX3" fmla="*/ 120 w 80081"/>
                    <a:gd name="connsiteY3" fmla="*/ 0 h 5921"/>
                  </a:gdLst>
                  <a:ahLst/>
                  <a:cxnLst>
                    <a:cxn ang="0">
                      <a:pos x="connsiteX0" y="connsiteY0"/>
                    </a:cxn>
                    <a:cxn ang="0">
                      <a:pos x="connsiteX1" y="connsiteY1"/>
                    </a:cxn>
                    <a:cxn ang="0">
                      <a:pos x="connsiteX2" y="connsiteY2"/>
                    </a:cxn>
                    <a:cxn ang="0">
                      <a:pos x="connsiteX3" y="connsiteY3"/>
                    </a:cxn>
                  </a:cxnLst>
                  <a:rect l="l" t="t" r="r" b="b"/>
                  <a:pathLst>
                    <a:path w="80081" h="5921">
                      <a:moveTo>
                        <a:pt x="80082" y="2871"/>
                      </a:moveTo>
                      <a:lnTo>
                        <a:pt x="79962" y="5921"/>
                      </a:lnTo>
                      <a:lnTo>
                        <a:pt x="0" y="3050"/>
                      </a:lnTo>
                      <a:lnTo>
                        <a:pt x="120" y="0"/>
                      </a:lnTo>
                      <a:close/>
                    </a:path>
                  </a:pathLst>
                </a:custGeom>
                <a:grpFill/>
                <a:ln w="5978" cap="flat">
                  <a:noFill/>
                  <a:prstDash val="solid"/>
                  <a:miter/>
                </a:ln>
              </p:spPr>
              <p:txBody>
                <a:bodyPr rtlCol="0" anchor="ctr"/>
                <a:lstStyle/>
                <a:p>
                  <a:endParaRPr lang="en-GB"/>
                </a:p>
              </p:txBody>
            </p:sp>
            <p:sp>
              <p:nvSpPr>
                <p:cNvPr id="1749" name="Vrije vorm: vorm 1748">
                  <a:extLst>
                    <a:ext uri="{FF2B5EF4-FFF2-40B4-BE49-F238E27FC236}">
                      <a16:creationId xmlns:a16="http://schemas.microsoft.com/office/drawing/2014/main" id="{D617F073-0295-480E-AAAE-1DF9E0638071}"/>
                    </a:ext>
                  </a:extLst>
                </p:cNvPr>
                <p:cNvSpPr/>
                <p:nvPr/>
              </p:nvSpPr>
              <p:spPr>
                <a:xfrm>
                  <a:off x="4094236" y="3337337"/>
                  <a:ext cx="18312" cy="18376"/>
                </a:xfrm>
                <a:custGeom>
                  <a:avLst/>
                  <a:gdLst>
                    <a:gd name="connsiteX0" fmla="*/ 8857 w 18312"/>
                    <a:gd name="connsiteY0" fmla="*/ 18367 h 18376"/>
                    <a:gd name="connsiteX1" fmla="*/ 6 w 18312"/>
                    <a:gd name="connsiteY1" fmla="*/ 8857 h 18376"/>
                    <a:gd name="connsiteX2" fmla="*/ 9456 w 18312"/>
                    <a:gd name="connsiteY2" fmla="*/ 6 h 18376"/>
                    <a:gd name="connsiteX3" fmla="*/ 18307 w 18312"/>
                    <a:gd name="connsiteY3" fmla="*/ 9515 h 18376"/>
                    <a:gd name="connsiteX4" fmla="*/ 8857 w 18312"/>
                    <a:gd name="connsiteY4" fmla="*/ 18367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6">
                      <a:moveTo>
                        <a:pt x="8857" y="18367"/>
                      </a:moveTo>
                      <a:cubicBezTo>
                        <a:pt x="3774" y="18187"/>
                        <a:pt x="-173" y="13941"/>
                        <a:pt x="6" y="8857"/>
                      </a:cubicBezTo>
                      <a:cubicBezTo>
                        <a:pt x="185" y="3774"/>
                        <a:pt x="4372" y="-174"/>
                        <a:pt x="9456" y="6"/>
                      </a:cubicBezTo>
                      <a:cubicBezTo>
                        <a:pt x="14539" y="185"/>
                        <a:pt x="18486" y="4432"/>
                        <a:pt x="18307" y="9515"/>
                      </a:cubicBezTo>
                      <a:cubicBezTo>
                        <a:pt x="18128" y="14599"/>
                        <a:pt x="13881" y="18606"/>
                        <a:pt x="8857" y="18367"/>
                      </a:cubicBezTo>
                      <a:close/>
                    </a:path>
                  </a:pathLst>
                </a:custGeom>
                <a:grpFill/>
                <a:ln w="5978" cap="flat">
                  <a:noFill/>
                  <a:prstDash val="solid"/>
                  <a:miter/>
                </a:ln>
              </p:spPr>
              <p:txBody>
                <a:bodyPr rtlCol="0" anchor="ctr"/>
                <a:lstStyle/>
                <a:p>
                  <a:endParaRPr lang="en-GB"/>
                </a:p>
              </p:txBody>
            </p:sp>
            <p:sp>
              <p:nvSpPr>
                <p:cNvPr id="1750" name="Vrije vorm: vorm 1749">
                  <a:extLst>
                    <a:ext uri="{FF2B5EF4-FFF2-40B4-BE49-F238E27FC236}">
                      <a16:creationId xmlns:a16="http://schemas.microsoft.com/office/drawing/2014/main" id="{24F9A9AD-00FF-4A0E-ADF1-CED9237FEA3C}"/>
                    </a:ext>
                  </a:extLst>
                </p:cNvPr>
                <p:cNvSpPr/>
                <p:nvPr/>
              </p:nvSpPr>
              <p:spPr>
                <a:xfrm>
                  <a:off x="4173242" y="3340207"/>
                  <a:ext cx="18312" cy="18372"/>
                </a:xfrm>
                <a:custGeom>
                  <a:avLst/>
                  <a:gdLst>
                    <a:gd name="connsiteX0" fmla="*/ 8857 w 18312"/>
                    <a:gd name="connsiteY0" fmla="*/ 18367 h 18372"/>
                    <a:gd name="connsiteX1" fmla="*/ 18307 w 18312"/>
                    <a:gd name="connsiteY1" fmla="*/ 9515 h 18372"/>
                    <a:gd name="connsiteX2" fmla="*/ 9455 w 18312"/>
                    <a:gd name="connsiteY2" fmla="*/ 6 h 18372"/>
                    <a:gd name="connsiteX3" fmla="*/ 6 w 18312"/>
                    <a:gd name="connsiteY3" fmla="*/ 8857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13941" y="18546"/>
                        <a:pt x="18127" y="14599"/>
                        <a:pt x="18307" y="9515"/>
                      </a:cubicBezTo>
                      <a:cubicBezTo>
                        <a:pt x="18486" y="4432"/>
                        <a:pt x="14479" y="185"/>
                        <a:pt x="9455" y="6"/>
                      </a:cubicBezTo>
                      <a:cubicBezTo>
                        <a:pt x="4372" y="-174"/>
                        <a:pt x="185" y="3774"/>
                        <a:pt x="6" y="8857"/>
                      </a:cubicBezTo>
                      <a:cubicBezTo>
                        <a:pt x="-174" y="13941"/>
                        <a:pt x="3833" y="18187"/>
                        <a:pt x="8857" y="18367"/>
                      </a:cubicBezTo>
                      <a:close/>
                    </a:path>
                  </a:pathLst>
                </a:custGeom>
                <a:grpFill/>
                <a:ln w="5978" cap="flat">
                  <a:noFill/>
                  <a:prstDash val="solid"/>
                  <a:miter/>
                </a:ln>
              </p:spPr>
              <p:txBody>
                <a:bodyPr rtlCol="0" anchor="ctr"/>
                <a:lstStyle/>
                <a:p>
                  <a:endParaRPr lang="en-GB"/>
                </a:p>
              </p:txBody>
            </p:sp>
          </p:grpSp>
          <p:grpSp>
            <p:nvGrpSpPr>
              <p:cNvPr id="1219" name="Graphic 3">
                <a:extLst>
                  <a:ext uri="{FF2B5EF4-FFF2-40B4-BE49-F238E27FC236}">
                    <a16:creationId xmlns:a16="http://schemas.microsoft.com/office/drawing/2014/main" id="{D438C9B6-6CE7-467E-8C85-617568C71383}"/>
                  </a:ext>
                </a:extLst>
              </p:cNvPr>
              <p:cNvGrpSpPr/>
              <p:nvPr/>
            </p:nvGrpSpPr>
            <p:grpSpPr>
              <a:xfrm>
                <a:off x="4185118" y="3755307"/>
                <a:ext cx="230318" cy="63015"/>
                <a:chOff x="4185118" y="3755307"/>
                <a:chExt cx="230318" cy="63015"/>
              </a:xfrm>
              <a:grpFill/>
            </p:grpSpPr>
            <p:sp>
              <p:nvSpPr>
                <p:cNvPr id="1745" name="Vrije vorm: vorm 1744">
                  <a:extLst>
                    <a:ext uri="{FF2B5EF4-FFF2-40B4-BE49-F238E27FC236}">
                      <a16:creationId xmlns:a16="http://schemas.microsoft.com/office/drawing/2014/main" id="{C64FE792-F3C0-4E33-B0CE-9DA8BE5CC28A}"/>
                    </a:ext>
                  </a:extLst>
                </p:cNvPr>
                <p:cNvSpPr/>
                <p:nvPr/>
              </p:nvSpPr>
              <p:spPr>
                <a:xfrm>
                  <a:off x="4193521" y="3762926"/>
                  <a:ext cx="213450" cy="47945"/>
                </a:xfrm>
                <a:custGeom>
                  <a:avLst/>
                  <a:gdLst>
                    <a:gd name="connsiteX0" fmla="*/ 0 w 213450"/>
                    <a:gd name="connsiteY0" fmla="*/ 44961 h 47945"/>
                    <a:gd name="connsiteX1" fmla="*/ 212821 w 213450"/>
                    <a:gd name="connsiteY1" fmla="*/ 0 h 47945"/>
                    <a:gd name="connsiteX2" fmla="*/ 213451 w 213450"/>
                    <a:gd name="connsiteY2" fmla="*/ 2984 h 47945"/>
                    <a:gd name="connsiteX3" fmla="*/ 631 w 213450"/>
                    <a:gd name="connsiteY3" fmla="*/ 47945 h 47945"/>
                  </a:gdLst>
                  <a:ahLst/>
                  <a:cxnLst>
                    <a:cxn ang="0">
                      <a:pos x="connsiteX0" y="connsiteY0"/>
                    </a:cxn>
                    <a:cxn ang="0">
                      <a:pos x="connsiteX1" y="connsiteY1"/>
                    </a:cxn>
                    <a:cxn ang="0">
                      <a:pos x="connsiteX2" y="connsiteY2"/>
                    </a:cxn>
                    <a:cxn ang="0">
                      <a:pos x="connsiteX3" y="connsiteY3"/>
                    </a:cxn>
                  </a:cxnLst>
                  <a:rect l="l" t="t" r="r" b="b"/>
                  <a:pathLst>
                    <a:path w="213450" h="47945">
                      <a:moveTo>
                        <a:pt x="0" y="44961"/>
                      </a:moveTo>
                      <a:lnTo>
                        <a:pt x="212821" y="0"/>
                      </a:lnTo>
                      <a:lnTo>
                        <a:pt x="213451" y="2984"/>
                      </a:lnTo>
                      <a:lnTo>
                        <a:pt x="631" y="47945"/>
                      </a:lnTo>
                      <a:close/>
                    </a:path>
                  </a:pathLst>
                </a:custGeom>
                <a:grpFill/>
                <a:ln w="5978" cap="flat">
                  <a:noFill/>
                  <a:prstDash val="solid"/>
                  <a:miter/>
                </a:ln>
              </p:spPr>
              <p:txBody>
                <a:bodyPr rtlCol="0" anchor="ctr"/>
                <a:lstStyle/>
                <a:p>
                  <a:endParaRPr lang="en-GB"/>
                </a:p>
              </p:txBody>
            </p:sp>
            <p:sp>
              <p:nvSpPr>
                <p:cNvPr id="1746" name="Vrije vorm: vorm 1745">
                  <a:extLst>
                    <a:ext uri="{FF2B5EF4-FFF2-40B4-BE49-F238E27FC236}">
                      <a16:creationId xmlns:a16="http://schemas.microsoft.com/office/drawing/2014/main" id="{553198C2-9477-429B-8F52-6758A5F1D8AF}"/>
                    </a:ext>
                  </a:extLst>
                </p:cNvPr>
                <p:cNvSpPr/>
                <p:nvPr/>
              </p:nvSpPr>
              <p:spPr>
                <a:xfrm>
                  <a:off x="4185118" y="3799941"/>
                  <a:ext cx="18362" cy="18381"/>
                </a:xfrm>
                <a:custGeom>
                  <a:avLst/>
                  <a:gdLst>
                    <a:gd name="connsiteX0" fmla="*/ 11095 w 18362"/>
                    <a:gd name="connsiteY0" fmla="*/ 18192 h 18381"/>
                    <a:gd name="connsiteX1" fmla="*/ 210 w 18362"/>
                    <a:gd name="connsiteY1" fmla="*/ 11075 h 18381"/>
                    <a:gd name="connsiteX2" fmla="*/ 7268 w 18362"/>
                    <a:gd name="connsiteY2" fmla="*/ 190 h 18381"/>
                    <a:gd name="connsiteX3" fmla="*/ 18152 w 18362"/>
                    <a:gd name="connsiteY3" fmla="*/ 7307 h 18381"/>
                    <a:gd name="connsiteX4" fmla="*/ 11095 w 18362"/>
                    <a:gd name="connsiteY4" fmla="*/ 18192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381">
                      <a:moveTo>
                        <a:pt x="11095" y="18192"/>
                      </a:moveTo>
                      <a:cubicBezTo>
                        <a:pt x="6131" y="19208"/>
                        <a:pt x="1287" y="16039"/>
                        <a:pt x="210" y="11075"/>
                      </a:cubicBezTo>
                      <a:cubicBezTo>
                        <a:pt x="-867" y="6111"/>
                        <a:pt x="2303" y="1206"/>
                        <a:pt x="7268" y="190"/>
                      </a:cubicBezTo>
                      <a:cubicBezTo>
                        <a:pt x="12231" y="-827"/>
                        <a:pt x="17076" y="2343"/>
                        <a:pt x="18152" y="7307"/>
                      </a:cubicBezTo>
                      <a:cubicBezTo>
                        <a:pt x="19229" y="12271"/>
                        <a:pt x="16059" y="17175"/>
                        <a:pt x="11095" y="18192"/>
                      </a:cubicBezTo>
                      <a:close/>
                    </a:path>
                  </a:pathLst>
                </a:custGeom>
                <a:grpFill/>
                <a:ln w="5978" cap="flat">
                  <a:noFill/>
                  <a:prstDash val="solid"/>
                  <a:miter/>
                </a:ln>
              </p:spPr>
              <p:txBody>
                <a:bodyPr rtlCol="0" anchor="ctr"/>
                <a:lstStyle/>
                <a:p>
                  <a:endParaRPr lang="en-GB"/>
                </a:p>
              </p:txBody>
            </p:sp>
            <p:sp>
              <p:nvSpPr>
                <p:cNvPr id="1747" name="Vrije vorm: vorm 1746">
                  <a:extLst>
                    <a:ext uri="{FF2B5EF4-FFF2-40B4-BE49-F238E27FC236}">
                      <a16:creationId xmlns:a16="http://schemas.microsoft.com/office/drawing/2014/main" id="{F365BD54-4BB4-4DB0-9A1C-5B4F79F354C4}"/>
                    </a:ext>
                  </a:extLst>
                </p:cNvPr>
                <p:cNvSpPr/>
                <p:nvPr/>
              </p:nvSpPr>
              <p:spPr>
                <a:xfrm>
                  <a:off x="4397075" y="3755307"/>
                  <a:ext cx="18362" cy="18398"/>
                </a:xfrm>
                <a:custGeom>
                  <a:avLst/>
                  <a:gdLst>
                    <a:gd name="connsiteX0" fmla="*/ 11095 w 18362"/>
                    <a:gd name="connsiteY0" fmla="*/ 18209 h 18398"/>
                    <a:gd name="connsiteX1" fmla="*/ 18152 w 18362"/>
                    <a:gd name="connsiteY1" fmla="*/ 7324 h 18398"/>
                    <a:gd name="connsiteX2" fmla="*/ 7267 w 18362"/>
                    <a:gd name="connsiteY2" fmla="*/ 207 h 18398"/>
                    <a:gd name="connsiteX3" fmla="*/ 210 w 18362"/>
                    <a:gd name="connsiteY3" fmla="*/ 11092 h 18398"/>
                    <a:gd name="connsiteX4" fmla="*/ 11095 w 18362"/>
                    <a:gd name="connsiteY4" fmla="*/ 1820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398">
                      <a:moveTo>
                        <a:pt x="11095" y="18209"/>
                      </a:moveTo>
                      <a:cubicBezTo>
                        <a:pt x="16059" y="17192"/>
                        <a:pt x="19229" y="12288"/>
                        <a:pt x="18152" y="7324"/>
                      </a:cubicBezTo>
                      <a:cubicBezTo>
                        <a:pt x="17076" y="2360"/>
                        <a:pt x="12231" y="-869"/>
                        <a:pt x="7267" y="207"/>
                      </a:cubicBezTo>
                      <a:cubicBezTo>
                        <a:pt x="2303" y="1224"/>
                        <a:pt x="-867" y="6128"/>
                        <a:pt x="210" y="11092"/>
                      </a:cubicBezTo>
                      <a:cubicBezTo>
                        <a:pt x="1286" y="16056"/>
                        <a:pt x="6131" y="19226"/>
                        <a:pt x="11095" y="18209"/>
                      </a:cubicBezTo>
                      <a:close/>
                    </a:path>
                  </a:pathLst>
                </a:custGeom>
                <a:grpFill/>
                <a:ln w="5978" cap="flat">
                  <a:noFill/>
                  <a:prstDash val="solid"/>
                  <a:miter/>
                </a:ln>
              </p:spPr>
              <p:txBody>
                <a:bodyPr rtlCol="0" anchor="ctr"/>
                <a:lstStyle/>
                <a:p>
                  <a:endParaRPr lang="en-GB"/>
                </a:p>
              </p:txBody>
            </p:sp>
          </p:grpSp>
          <p:grpSp>
            <p:nvGrpSpPr>
              <p:cNvPr id="1220" name="Graphic 3">
                <a:extLst>
                  <a:ext uri="{FF2B5EF4-FFF2-40B4-BE49-F238E27FC236}">
                    <a16:creationId xmlns:a16="http://schemas.microsoft.com/office/drawing/2014/main" id="{A3BF9386-D852-424B-910E-FDD19FE04B20}"/>
                  </a:ext>
                </a:extLst>
              </p:cNvPr>
              <p:cNvGrpSpPr/>
              <p:nvPr/>
            </p:nvGrpSpPr>
            <p:grpSpPr>
              <a:xfrm>
                <a:off x="4592634" y="4706195"/>
                <a:ext cx="29269" cy="28199"/>
                <a:chOff x="4592634" y="4706195"/>
                <a:chExt cx="29269" cy="28199"/>
              </a:xfrm>
              <a:grpFill/>
            </p:grpSpPr>
            <p:sp>
              <p:nvSpPr>
                <p:cNvPr id="1742" name="Vrije vorm: vorm 1741">
                  <a:extLst>
                    <a:ext uri="{FF2B5EF4-FFF2-40B4-BE49-F238E27FC236}">
                      <a16:creationId xmlns:a16="http://schemas.microsoft.com/office/drawing/2014/main" id="{444C083D-1622-4ACC-95BD-824AB2AD93AB}"/>
                    </a:ext>
                  </a:extLst>
                </p:cNvPr>
                <p:cNvSpPr/>
                <p:nvPr/>
              </p:nvSpPr>
              <p:spPr>
                <a:xfrm>
                  <a:off x="4600451" y="4713865"/>
                  <a:ext cx="13635" cy="12798"/>
                </a:xfrm>
                <a:custGeom>
                  <a:avLst/>
                  <a:gdLst>
                    <a:gd name="connsiteX0" fmla="*/ 13636 w 13635"/>
                    <a:gd name="connsiteY0" fmla="*/ 2332 h 12798"/>
                    <a:gd name="connsiteX1" fmla="*/ 2033 w 13635"/>
                    <a:gd name="connsiteY1" fmla="*/ 12798 h 12798"/>
                    <a:gd name="connsiteX2" fmla="*/ 0 w 13635"/>
                    <a:gd name="connsiteY2" fmla="*/ 10466 h 12798"/>
                    <a:gd name="connsiteX3" fmla="*/ 11603 w 13635"/>
                    <a:gd name="connsiteY3" fmla="*/ 0 h 12798"/>
                  </a:gdLst>
                  <a:ahLst/>
                  <a:cxnLst>
                    <a:cxn ang="0">
                      <a:pos x="connsiteX0" y="connsiteY0"/>
                    </a:cxn>
                    <a:cxn ang="0">
                      <a:pos x="connsiteX1" y="connsiteY1"/>
                    </a:cxn>
                    <a:cxn ang="0">
                      <a:pos x="connsiteX2" y="connsiteY2"/>
                    </a:cxn>
                    <a:cxn ang="0">
                      <a:pos x="connsiteX3" y="connsiteY3"/>
                    </a:cxn>
                  </a:cxnLst>
                  <a:rect l="l" t="t" r="r" b="b"/>
                  <a:pathLst>
                    <a:path w="13635" h="12798">
                      <a:moveTo>
                        <a:pt x="13636" y="2332"/>
                      </a:moveTo>
                      <a:lnTo>
                        <a:pt x="2033" y="12798"/>
                      </a:lnTo>
                      <a:lnTo>
                        <a:pt x="0" y="10466"/>
                      </a:lnTo>
                      <a:lnTo>
                        <a:pt x="11603" y="0"/>
                      </a:lnTo>
                      <a:close/>
                    </a:path>
                  </a:pathLst>
                </a:custGeom>
                <a:grpFill/>
                <a:ln w="5978" cap="flat">
                  <a:noFill/>
                  <a:prstDash val="solid"/>
                  <a:miter/>
                </a:ln>
              </p:spPr>
              <p:txBody>
                <a:bodyPr rtlCol="0" anchor="ctr"/>
                <a:lstStyle/>
                <a:p>
                  <a:endParaRPr lang="en-GB"/>
                </a:p>
              </p:txBody>
            </p:sp>
            <p:sp>
              <p:nvSpPr>
                <p:cNvPr id="1743" name="Vrije vorm: vorm 1742">
                  <a:extLst>
                    <a:ext uri="{FF2B5EF4-FFF2-40B4-BE49-F238E27FC236}">
                      <a16:creationId xmlns:a16="http://schemas.microsoft.com/office/drawing/2014/main" id="{44AF294D-BE5A-4467-ADF0-43B7B653D27D}"/>
                    </a:ext>
                  </a:extLst>
                </p:cNvPr>
                <p:cNvSpPr/>
                <p:nvPr/>
              </p:nvSpPr>
              <p:spPr>
                <a:xfrm>
                  <a:off x="4592634" y="4716003"/>
                  <a:ext cx="18324" cy="18391"/>
                </a:xfrm>
                <a:custGeom>
                  <a:avLst/>
                  <a:gdLst>
                    <a:gd name="connsiteX0" fmla="*/ 15293 w 18324"/>
                    <a:gd name="connsiteY0" fmla="*/ 16043 h 18391"/>
                    <a:gd name="connsiteX1" fmla="*/ 2374 w 18324"/>
                    <a:gd name="connsiteY1" fmla="*/ 15326 h 18391"/>
                    <a:gd name="connsiteX2" fmla="*/ 3032 w 18324"/>
                    <a:gd name="connsiteY2" fmla="*/ 2348 h 18391"/>
                    <a:gd name="connsiteX3" fmla="*/ 15950 w 18324"/>
                    <a:gd name="connsiteY3" fmla="*/ 3065 h 18391"/>
                    <a:gd name="connsiteX4" fmla="*/ 15293 w 18324"/>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1">
                      <a:moveTo>
                        <a:pt x="15293" y="16043"/>
                      </a:moveTo>
                      <a:cubicBezTo>
                        <a:pt x="11525" y="19452"/>
                        <a:pt x="5723" y="19094"/>
                        <a:pt x="2374" y="15326"/>
                      </a:cubicBezTo>
                      <a:cubicBezTo>
                        <a:pt x="-1035" y="11558"/>
                        <a:pt x="-736" y="5697"/>
                        <a:pt x="3032" y="2348"/>
                      </a:cubicBezTo>
                      <a:cubicBezTo>
                        <a:pt x="6800" y="-1061"/>
                        <a:pt x="12601" y="-703"/>
                        <a:pt x="15950" y="3065"/>
                      </a:cubicBezTo>
                      <a:cubicBezTo>
                        <a:pt x="19360" y="6833"/>
                        <a:pt x="19061" y="12694"/>
                        <a:pt x="15293" y="16043"/>
                      </a:cubicBezTo>
                      <a:close/>
                    </a:path>
                  </a:pathLst>
                </a:custGeom>
                <a:grpFill/>
                <a:ln w="5978" cap="flat">
                  <a:noFill/>
                  <a:prstDash val="solid"/>
                  <a:miter/>
                </a:ln>
              </p:spPr>
              <p:txBody>
                <a:bodyPr rtlCol="0" anchor="ctr"/>
                <a:lstStyle/>
                <a:p>
                  <a:endParaRPr lang="en-GB"/>
                </a:p>
              </p:txBody>
            </p:sp>
            <p:sp>
              <p:nvSpPr>
                <p:cNvPr id="1744" name="Vrije vorm: vorm 1743">
                  <a:extLst>
                    <a:ext uri="{FF2B5EF4-FFF2-40B4-BE49-F238E27FC236}">
                      <a16:creationId xmlns:a16="http://schemas.microsoft.com/office/drawing/2014/main" id="{C9E77231-D780-4E07-B7D9-55627EFF71B4}"/>
                    </a:ext>
                  </a:extLst>
                </p:cNvPr>
                <p:cNvSpPr/>
                <p:nvPr/>
              </p:nvSpPr>
              <p:spPr>
                <a:xfrm>
                  <a:off x="4603578" y="4706195"/>
                  <a:ext cx="18325" cy="18367"/>
                </a:xfrm>
                <a:custGeom>
                  <a:avLst/>
                  <a:gdLst>
                    <a:gd name="connsiteX0" fmla="*/ 15293 w 18325"/>
                    <a:gd name="connsiteY0" fmla="*/ 16043 h 18367"/>
                    <a:gd name="connsiteX1" fmla="*/ 15951 w 18325"/>
                    <a:gd name="connsiteY1" fmla="*/ 3065 h 18367"/>
                    <a:gd name="connsiteX2" fmla="*/ 3032 w 18325"/>
                    <a:gd name="connsiteY2" fmla="*/ 2348 h 18367"/>
                    <a:gd name="connsiteX3" fmla="*/ 2374 w 18325"/>
                    <a:gd name="connsiteY3" fmla="*/ 15326 h 18367"/>
                    <a:gd name="connsiteX4" fmla="*/ 15293 w 18325"/>
                    <a:gd name="connsiteY4" fmla="*/ 1604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67">
                      <a:moveTo>
                        <a:pt x="15293" y="16043"/>
                      </a:moveTo>
                      <a:cubicBezTo>
                        <a:pt x="19060" y="12634"/>
                        <a:pt x="19360" y="6833"/>
                        <a:pt x="15951" y="3065"/>
                      </a:cubicBezTo>
                      <a:cubicBezTo>
                        <a:pt x="12542" y="-703"/>
                        <a:pt x="6800" y="-1061"/>
                        <a:pt x="3032" y="2348"/>
                      </a:cubicBezTo>
                      <a:cubicBezTo>
                        <a:pt x="-736" y="5757"/>
                        <a:pt x="-1035" y="11558"/>
                        <a:pt x="2374" y="15326"/>
                      </a:cubicBezTo>
                      <a:cubicBezTo>
                        <a:pt x="5783" y="19094"/>
                        <a:pt x="11525" y="19393"/>
                        <a:pt x="15293" y="16043"/>
                      </a:cubicBezTo>
                      <a:close/>
                    </a:path>
                  </a:pathLst>
                </a:custGeom>
                <a:grpFill/>
                <a:ln w="5978" cap="flat">
                  <a:noFill/>
                  <a:prstDash val="solid"/>
                  <a:miter/>
                </a:ln>
              </p:spPr>
              <p:txBody>
                <a:bodyPr rtlCol="0" anchor="ctr"/>
                <a:lstStyle/>
                <a:p>
                  <a:endParaRPr lang="en-GB"/>
                </a:p>
              </p:txBody>
            </p:sp>
          </p:grpSp>
          <p:grpSp>
            <p:nvGrpSpPr>
              <p:cNvPr id="1221" name="Graphic 3">
                <a:extLst>
                  <a:ext uri="{FF2B5EF4-FFF2-40B4-BE49-F238E27FC236}">
                    <a16:creationId xmlns:a16="http://schemas.microsoft.com/office/drawing/2014/main" id="{ED4C1E9D-2364-470D-9BDC-8C9124565EB6}"/>
                  </a:ext>
                </a:extLst>
              </p:cNvPr>
              <p:cNvGrpSpPr/>
              <p:nvPr/>
            </p:nvGrpSpPr>
            <p:grpSpPr>
              <a:xfrm>
                <a:off x="4255868" y="3991543"/>
                <a:ext cx="243542" cy="67224"/>
                <a:chOff x="4255868" y="3991543"/>
                <a:chExt cx="243542" cy="67224"/>
              </a:xfrm>
              <a:grpFill/>
            </p:grpSpPr>
            <p:sp>
              <p:nvSpPr>
                <p:cNvPr id="1739" name="Vrije vorm: vorm 1738">
                  <a:extLst>
                    <a:ext uri="{FF2B5EF4-FFF2-40B4-BE49-F238E27FC236}">
                      <a16:creationId xmlns:a16="http://schemas.microsoft.com/office/drawing/2014/main" id="{8232C7B2-51FB-4731-9787-356B8EB627B0}"/>
                    </a:ext>
                  </a:extLst>
                </p:cNvPr>
                <p:cNvSpPr/>
                <p:nvPr/>
              </p:nvSpPr>
              <p:spPr>
                <a:xfrm>
                  <a:off x="4264585" y="3999138"/>
                  <a:ext cx="226729" cy="52046"/>
                </a:xfrm>
                <a:custGeom>
                  <a:avLst/>
                  <a:gdLst>
                    <a:gd name="connsiteX0" fmla="*/ 0 w 226729"/>
                    <a:gd name="connsiteY0" fmla="*/ 49066 h 52046"/>
                    <a:gd name="connsiteX1" fmla="*/ 226083 w 226729"/>
                    <a:gd name="connsiteY1" fmla="*/ 0 h 52046"/>
                    <a:gd name="connsiteX2" fmla="*/ 226730 w 226729"/>
                    <a:gd name="connsiteY2" fmla="*/ 2981 h 52046"/>
                    <a:gd name="connsiteX3" fmla="*/ 647 w 226729"/>
                    <a:gd name="connsiteY3" fmla="*/ 52047 h 52046"/>
                  </a:gdLst>
                  <a:ahLst/>
                  <a:cxnLst>
                    <a:cxn ang="0">
                      <a:pos x="connsiteX0" y="connsiteY0"/>
                    </a:cxn>
                    <a:cxn ang="0">
                      <a:pos x="connsiteX1" y="connsiteY1"/>
                    </a:cxn>
                    <a:cxn ang="0">
                      <a:pos x="connsiteX2" y="connsiteY2"/>
                    </a:cxn>
                    <a:cxn ang="0">
                      <a:pos x="connsiteX3" y="connsiteY3"/>
                    </a:cxn>
                  </a:cxnLst>
                  <a:rect l="l" t="t" r="r" b="b"/>
                  <a:pathLst>
                    <a:path w="226729" h="52046">
                      <a:moveTo>
                        <a:pt x="0" y="49066"/>
                      </a:moveTo>
                      <a:lnTo>
                        <a:pt x="226083" y="0"/>
                      </a:lnTo>
                      <a:lnTo>
                        <a:pt x="226730" y="2981"/>
                      </a:lnTo>
                      <a:lnTo>
                        <a:pt x="647" y="52047"/>
                      </a:lnTo>
                      <a:close/>
                    </a:path>
                  </a:pathLst>
                </a:custGeom>
                <a:grpFill/>
                <a:ln w="5978" cap="flat">
                  <a:noFill/>
                  <a:prstDash val="solid"/>
                  <a:miter/>
                </a:ln>
              </p:spPr>
              <p:txBody>
                <a:bodyPr rtlCol="0" anchor="ctr"/>
                <a:lstStyle/>
                <a:p>
                  <a:endParaRPr lang="en-GB"/>
                </a:p>
              </p:txBody>
            </p:sp>
            <p:sp>
              <p:nvSpPr>
                <p:cNvPr id="1740" name="Vrije vorm: vorm 1739">
                  <a:extLst>
                    <a:ext uri="{FF2B5EF4-FFF2-40B4-BE49-F238E27FC236}">
                      <a16:creationId xmlns:a16="http://schemas.microsoft.com/office/drawing/2014/main" id="{A4EBED21-ADCA-4613-B3D0-7F513A7A2920}"/>
                    </a:ext>
                  </a:extLst>
                </p:cNvPr>
                <p:cNvSpPr/>
                <p:nvPr/>
              </p:nvSpPr>
              <p:spPr>
                <a:xfrm>
                  <a:off x="4481045" y="3991543"/>
                  <a:ext cx="18365" cy="18421"/>
                </a:xfrm>
                <a:custGeom>
                  <a:avLst/>
                  <a:gdLst>
                    <a:gd name="connsiteX0" fmla="*/ 7207 w 18365"/>
                    <a:gd name="connsiteY0" fmla="*/ 210 h 18421"/>
                    <a:gd name="connsiteX1" fmla="*/ 18152 w 18365"/>
                    <a:gd name="connsiteY1" fmla="*/ 7267 h 18421"/>
                    <a:gd name="connsiteX2" fmla="*/ 11155 w 18365"/>
                    <a:gd name="connsiteY2" fmla="*/ 18212 h 18421"/>
                    <a:gd name="connsiteX3" fmla="*/ 210 w 18365"/>
                    <a:gd name="connsiteY3" fmla="*/ 11155 h 18421"/>
                    <a:gd name="connsiteX4" fmla="*/ 7207 w 18365"/>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1">
                      <a:moveTo>
                        <a:pt x="7207" y="210"/>
                      </a:moveTo>
                      <a:cubicBezTo>
                        <a:pt x="12172" y="-867"/>
                        <a:pt x="17016" y="2303"/>
                        <a:pt x="18152" y="7267"/>
                      </a:cubicBezTo>
                      <a:cubicBezTo>
                        <a:pt x="19229" y="12231"/>
                        <a:pt x="16119" y="17136"/>
                        <a:pt x="11155" y="18212"/>
                      </a:cubicBezTo>
                      <a:cubicBezTo>
                        <a:pt x="6191" y="19288"/>
                        <a:pt x="1346" y="16119"/>
                        <a:pt x="210" y="11155"/>
                      </a:cubicBezTo>
                      <a:cubicBezTo>
                        <a:pt x="-866" y="6191"/>
                        <a:pt x="2303" y="1286"/>
                        <a:pt x="7207" y="210"/>
                      </a:cubicBezTo>
                      <a:close/>
                    </a:path>
                  </a:pathLst>
                </a:custGeom>
                <a:grpFill/>
                <a:ln w="5978" cap="flat">
                  <a:noFill/>
                  <a:prstDash val="solid"/>
                  <a:miter/>
                </a:ln>
              </p:spPr>
              <p:txBody>
                <a:bodyPr rtlCol="0" anchor="ctr"/>
                <a:lstStyle/>
                <a:p>
                  <a:endParaRPr lang="en-GB"/>
                </a:p>
              </p:txBody>
            </p:sp>
            <p:sp>
              <p:nvSpPr>
                <p:cNvPr id="1741" name="Vrije vorm: vorm 1740">
                  <a:extLst>
                    <a:ext uri="{FF2B5EF4-FFF2-40B4-BE49-F238E27FC236}">
                      <a16:creationId xmlns:a16="http://schemas.microsoft.com/office/drawing/2014/main" id="{85E3BD56-AA21-4495-98E8-CD126E4A14A6}"/>
                    </a:ext>
                  </a:extLst>
                </p:cNvPr>
                <p:cNvSpPr/>
                <p:nvPr/>
              </p:nvSpPr>
              <p:spPr>
                <a:xfrm>
                  <a:off x="4255868" y="4040346"/>
                  <a:ext cx="18367" cy="18421"/>
                </a:xfrm>
                <a:custGeom>
                  <a:avLst/>
                  <a:gdLst>
                    <a:gd name="connsiteX0" fmla="*/ 7210 w 18367"/>
                    <a:gd name="connsiteY0" fmla="*/ 210 h 18421"/>
                    <a:gd name="connsiteX1" fmla="*/ 213 w 18367"/>
                    <a:gd name="connsiteY1" fmla="*/ 11155 h 18421"/>
                    <a:gd name="connsiteX2" fmla="*/ 11158 w 18367"/>
                    <a:gd name="connsiteY2" fmla="*/ 18212 h 18421"/>
                    <a:gd name="connsiteX3" fmla="*/ 18155 w 18367"/>
                    <a:gd name="connsiteY3" fmla="*/ 7267 h 18421"/>
                    <a:gd name="connsiteX4" fmla="*/ 7210 w 18367"/>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21">
                      <a:moveTo>
                        <a:pt x="7210" y="210"/>
                      </a:moveTo>
                      <a:cubicBezTo>
                        <a:pt x="2246" y="1286"/>
                        <a:pt x="-864" y="6191"/>
                        <a:pt x="213" y="11155"/>
                      </a:cubicBezTo>
                      <a:cubicBezTo>
                        <a:pt x="1289" y="16119"/>
                        <a:pt x="6194" y="19288"/>
                        <a:pt x="11158" y="18212"/>
                      </a:cubicBezTo>
                      <a:cubicBezTo>
                        <a:pt x="16122" y="17136"/>
                        <a:pt x="19231" y="12231"/>
                        <a:pt x="18155" y="7267"/>
                      </a:cubicBezTo>
                      <a:cubicBezTo>
                        <a:pt x="17079" y="2303"/>
                        <a:pt x="12174" y="-867"/>
                        <a:pt x="7210" y="210"/>
                      </a:cubicBezTo>
                      <a:close/>
                    </a:path>
                  </a:pathLst>
                </a:custGeom>
                <a:grpFill/>
                <a:ln w="5978" cap="flat">
                  <a:noFill/>
                  <a:prstDash val="solid"/>
                  <a:miter/>
                </a:ln>
              </p:spPr>
              <p:txBody>
                <a:bodyPr rtlCol="0" anchor="ctr"/>
                <a:lstStyle/>
                <a:p>
                  <a:endParaRPr lang="en-GB"/>
                </a:p>
              </p:txBody>
            </p:sp>
          </p:grpSp>
          <p:grpSp>
            <p:nvGrpSpPr>
              <p:cNvPr id="1222" name="Graphic 3">
                <a:extLst>
                  <a:ext uri="{FF2B5EF4-FFF2-40B4-BE49-F238E27FC236}">
                    <a16:creationId xmlns:a16="http://schemas.microsoft.com/office/drawing/2014/main" id="{ACF899F5-03AC-42D4-8871-12C6F19502D4}"/>
                  </a:ext>
                </a:extLst>
              </p:cNvPr>
              <p:cNvGrpSpPr/>
              <p:nvPr/>
            </p:nvGrpSpPr>
            <p:grpSpPr>
              <a:xfrm>
                <a:off x="4162100" y="3753943"/>
                <a:ext cx="253150" cy="33644"/>
                <a:chOff x="4162100" y="3753943"/>
                <a:chExt cx="253150" cy="33644"/>
              </a:xfrm>
              <a:grpFill/>
            </p:grpSpPr>
            <p:sp>
              <p:nvSpPr>
                <p:cNvPr id="1736" name="Vrije vorm: vorm 1735">
                  <a:extLst>
                    <a:ext uri="{FF2B5EF4-FFF2-40B4-BE49-F238E27FC236}">
                      <a16:creationId xmlns:a16="http://schemas.microsoft.com/office/drawing/2014/main" id="{7380596D-1F95-4DD3-B25A-49C262FA56DE}"/>
                    </a:ext>
                  </a:extLst>
                </p:cNvPr>
                <p:cNvSpPr/>
                <p:nvPr/>
              </p:nvSpPr>
              <p:spPr>
                <a:xfrm>
                  <a:off x="4170676" y="3761615"/>
                  <a:ext cx="235939" cy="18300"/>
                </a:xfrm>
                <a:custGeom>
                  <a:avLst/>
                  <a:gdLst>
                    <a:gd name="connsiteX0" fmla="*/ 235760 w 235939"/>
                    <a:gd name="connsiteY0" fmla="*/ 0 h 18300"/>
                    <a:gd name="connsiteX1" fmla="*/ 235939 w 235939"/>
                    <a:gd name="connsiteY1" fmla="*/ 3050 h 18300"/>
                    <a:gd name="connsiteX2" fmla="*/ 239 w 235939"/>
                    <a:gd name="connsiteY2" fmla="*/ 18301 h 18300"/>
                    <a:gd name="connsiteX3" fmla="*/ 0 w 235939"/>
                    <a:gd name="connsiteY3" fmla="*/ 15251 h 18300"/>
                  </a:gdLst>
                  <a:ahLst/>
                  <a:cxnLst>
                    <a:cxn ang="0">
                      <a:pos x="connsiteX0" y="connsiteY0"/>
                    </a:cxn>
                    <a:cxn ang="0">
                      <a:pos x="connsiteX1" y="connsiteY1"/>
                    </a:cxn>
                    <a:cxn ang="0">
                      <a:pos x="connsiteX2" y="connsiteY2"/>
                    </a:cxn>
                    <a:cxn ang="0">
                      <a:pos x="connsiteX3" y="connsiteY3"/>
                    </a:cxn>
                  </a:cxnLst>
                  <a:rect l="l" t="t" r="r" b="b"/>
                  <a:pathLst>
                    <a:path w="235939" h="18300">
                      <a:moveTo>
                        <a:pt x="235760" y="0"/>
                      </a:moveTo>
                      <a:lnTo>
                        <a:pt x="235939" y="3050"/>
                      </a:lnTo>
                      <a:lnTo>
                        <a:pt x="239" y="18301"/>
                      </a:lnTo>
                      <a:lnTo>
                        <a:pt x="0" y="15251"/>
                      </a:lnTo>
                      <a:close/>
                    </a:path>
                  </a:pathLst>
                </a:custGeom>
                <a:grpFill/>
                <a:ln w="5978" cap="flat">
                  <a:noFill/>
                  <a:prstDash val="solid"/>
                  <a:miter/>
                </a:ln>
              </p:spPr>
              <p:txBody>
                <a:bodyPr rtlCol="0" anchor="ctr"/>
                <a:lstStyle/>
                <a:p>
                  <a:endParaRPr lang="en-GB"/>
                </a:p>
              </p:txBody>
            </p:sp>
            <p:sp>
              <p:nvSpPr>
                <p:cNvPr id="1737" name="Vrije vorm: vorm 1736">
                  <a:extLst>
                    <a:ext uri="{FF2B5EF4-FFF2-40B4-BE49-F238E27FC236}">
                      <a16:creationId xmlns:a16="http://schemas.microsoft.com/office/drawing/2014/main" id="{9E7FA744-5B7F-4C70-9E1C-4B9A92DA17B4}"/>
                    </a:ext>
                  </a:extLst>
                </p:cNvPr>
                <p:cNvSpPr/>
                <p:nvPr/>
              </p:nvSpPr>
              <p:spPr>
                <a:xfrm>
                  <a:off x="4396955" y="3753943"/>
                  <a:ext cx="18295" cy="18453"/>
                </a:xfrm>
                <a:custGeom>
                  <a:avLst/>
                  <a:gdLst>
                    <a:gd name="connsiteX0" fmla="*/ 8524 w 18295"/>
                    <a:gd name="connsiteY0" fmla="*/ 16 h 18453"/>
                    <a:gd name="connsiteX1" fmla="*/ 18272 w 18295"/>
                    <a:gd name="connsiteY1" fmla="*/ 8629 h 18453"/>
                    <a:gd name="connsiteX2" fmla="*/ 9780 w 18295"/>
                    <a:gd name="connsiteY2" fmla="*/ 18437 h 18453"/>
                    <a:gd name="connsiteX3" fmla="*/ 31 w 18295"/>
                    <a:gd name="connsiteY3" fmla="*/ 9825 h 18453"/>
                    <a:gd name="connsiteX4" fmla="*/ 8524 w 18295"/>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53">
                      <a:moveTo>
                        <a:pt x="8524" y="16"/>
                      </a:moveTo>
                      <a:cubicBezTo>
                        <a:pt x="13548" y="-283"/>
                        <a:pt x="17973" y="3545"/>
                        <a:pt x="18272" y="8629"/>
                      </a:cubicBezTo>
                      <a:cubicBezTo>
                        <a:pt x="18631" y="13712"/>
                        <a:pt x="14804" y="18078"/>
                        <a:pt x="9780" y="18437"/>
                      </a:cubicBezTo>
                      <a:cubicBezTo>
                        <a:pt x="4756" y="18736"/>
                        <a:pt x="330" y="14908"/>
                        <a:pt x="31" y="9825"/>
                      </a:cubicBezTo>
                      <a:cubicBezTo>
                        <a:pt x="-387" y="4741"/>
                        <a:pt x="3440" y="375"/>
                        <a:pt x="8524" y="16"/>
                      </a:cubicBezTo>
                      <a:close/>
                    </a:path>
                  </a:pathLst>
                </a:custGeom>
                <a:grpFill/>
                <a:ln w="5978" cap="flat">
                  <a:noFill/>
                  <a:prstDash val="solid"/>
                  <a:miter/>
                </a:ln>
              </p:spPr>
              <p:txBody>
                <a:bodyPr rtlCol="0" anchor="ctr"/>
                <a:lstStyle/>
                <a:p>
                  <a:endParaRPr lang="en-GB"/>
                </a:p>
              </p:txBody>
            </p:sp>
            <p:sp>
              <p:nvSpPr>
                <p:cNvPr id="1738" name="Vrije vorm: vorm 1737">
                  <a:extLst>
                    <a:ext uri="{FF2B5EF4-FFF2-40B4-BE49-F238E27FC236}">
                      <a16:creationId xmlns:a16="http://schemas.microsoft.com/office/drawing/2014/main" id="{CC4C1A17-57B4-4D78-8E20-FF0E769F9F75}"/>
                    </a:ext>
                  </a:extLst>
                </p:cNvPr>
                <p:cNvSpPr/>
                <p:nvPr/>
              </p:nvSpPr>
              <p:spPr>
                <a:xfrm>
                  <a:off x="4162100" y="3769134"/>
                  <a:ext cx="18288" cy="18453"/>
                </a:xfrm>
                <a:custGeom>
                  <a:avLst/>
                  <a:gdLst>
                    <a:gd name="connsiteX0" fmla="*/ 8516 w 18288"/>
                    <a:gd name="connsiteY0" fmla="*/ 16 h 18453"/>
                    <a:gd name="connsiteX1" fmla="*/ 23 w 18288"/>
                    <a:gd name="connsiteY1" fmla="*/ 9825 h 18453"/>
                    <a:gd name="connsiteX2" fmla="*/ 9772 w 18288"/>
                    <a:gd name="connsiteY2" fmla="*/ 18437 h 18453"/>
                    <a:gd name="connsiteX3" fmla="*/ 18265 w 18288"/>
                    <a:gd name="connsiteY3" fmla="*/ 8629 h 18453"/>
                    <a:gd name="connsiteX4" fmla="*/ 8516 w 18288"/>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8516" y="16"/>
                      </a:moveTo>
                      <a:cubicBezTo>
                        <a:pt x="3492" y="315"/>
                        <a:pt x="-336" y="4741"/>
                        <a:pt x="23" y="9825"/>
                      </a:cubicBezTo>
                      <a:cubicBezTo>
                        <a:pt x="383" y="14908"/>
                        <a:pt x="4748" y="18736"/>
                        <a:pt x="9772" y="18437"/>
                      </a:cubicBezTo>
                      <a:cubicBezTo>
                        <a:pt x="14796" y="18138"/>
                        <a:pt x="18624" y="13712"/>
                        <a:pt x="18265" y="8629"/>
                      </a:cubicBezTo>
                      <a:cubicBezTo>
                        <a:pt x="17965" y="3545"/>
                        <a:pt x="13600" y="-283"/>
                        <a:pt x="8516" y="16"/>
                      </a:cubicBezTo>
                      <a:close/>
                    </a:path>
                  </a:pathLst>
                </a:custGeom>
                <a:grpFill/>
                <a:ln w="5978" cap="flat">
                  <a:noFill/>
                  <a:prstDash val="solid"/>
                  <a:miter/>
                </a:ln>
              </p:spPr>
              <p:txBody>
                <a:bodyPr rtlCol="0" anchor="ctr"/>
                <a:lstStyle/>
                <a:p>
                  <a:endParaRPr lang="en-GB"/>
                </a:p>
              </p:txBody>
            </p:sp>
          </p:grpSp>
          <p:grpSp>
            <p:nvGrpSpPr>
              <p:cNvPr id="1223" name="Graphic 3">
                <a:extLst>
                  <a:ext uri="{FF2B5EF4-FFF2-40B4-BE49-F238E27FC236}">
                    <a16:creationId xmlns:a16="http://schemas.microsoft.com/office/drawing/2014/main" id="{DC2C0E9F-16F1-4204-AA87-75A5A74AC71B}"/>
                  </a:ext>
                </a:extLst>
              </p:cNvPr>
              <p:cNvGrpSpPr/>
              <p:nvPr/>
            </p:nvGrpSpPr>
            <p:grpSpPr>
              <a:xfrm>
                <a:off x="4135725" y="3721588"/>
                <a:ext cx="281133" cy="33943"/>
                <a:chOff x="4135725" y="3721588"/>
                <a:chExt cx="281133" cy="33943"/>
              </a:xfrm>
              <a:grpFill/>
            </p:grpSpPr>
            <p:sp>
              <p:nvSpPr>
                <p:cNvPr id="1733" name="Vrije vorm: vorm 1732">
                  <a:extLst>
                    <a:ext uri="{FF2B5EF4-FFF2-40B4-BE49-F238E27FC236}">
                      <a16:creationId xmlns:a16="http://schemas.microsoft.com/office/drawing/2014/main" id="{4F3FFE1B-6B4A-4581-A98D-4316F74FE90A}"/>
                    </a:ext>
                  </a:extLst>
                </p:cNvPr>
                <p:cNvSpPr/>
                <p:nvPr/>
              </p:nvSpPr>
              <p:spPr>
                <a:xfrm>
                  <a:off x="4144301" y="3729259"/>
                  <a:ext cx="263869" cy="18600"/>
                </a:xfrm>
                <a:custGeom>
                  <a:avLst/>
                  <a:gdLst>
                    <a:gd name="connsiteX0" fmla="*/ 263690 w 263869"/>
                    <a:gd name="connsiteY0" fmla="*/ 0 h 18600"/>
                    <a:gd name="connsiteX1" fmla="*/ 263869 w 263869"/>
                    <a:gd name="connsiteY1" fmla="*/ 3050 h 18600"/>
                    <a:gd name="connsiteX2" fmla="*/ 239 w 263869"/>
                    <a:gd name="connsiteY2" fmla="*/ 18600 h 18600"/>
                    <a:gd name="connsiteX3" fmla="*/ 0 w 263869"/>
                    <a:gd name="connsiteY3" fmla="*/ 15490 h 18600"/>
                  </a:gdLst>
                  <a:ahLst/>
                  <a:cxnLst>
                    <a:cxn ang="0">
                      <a:pos x="connsiteX0" y="connsiteY0"/>
                    </a:cxn>
                    <a:cxn ang="0">
                      <a:pos x="connsiteX1" y="connsiteY1"/>
                    </a:cxn>
                    <a:cxn ang="0">
                      <a:pos x="connsiteX2" y="connsiteY2"/>
                    </a:cxn>
                    <a:cxn ang="0">
                      <a:pos x="connsiteX3" y="connsiteY3"/>
                    </a:cxn>
                  </a:cxnLst>
                  <a:rect l="l" t="t" r="r" b="b"/>
                  <a:pathLst>
                    <a:path w="263869" h="18600">
                      <a:moveTo>
                        <a:pt x="263690" y="0"/>
                      </a:moveTo>
                      <a:lnTo>
                        <a:pt x="263869" y="3050"/>
                      </a:lnTo>
                      <a:lnTo>
                        <a:pt x="239" y="18600"/>
                      </a:lnTo>
                      <a:lnTo>
                        <a:pt x="0" y="15490"/>
                      </a:lnTo>
                      <a:close/>
                    </a:path>
                  </a:pathLst>
                </a:custGeom>
                <a:grpFill/>
                <a:ln w="5978" cap="flat">
                  <a:noFill/>
                  <a:prstDash val="solid"/>
                  <a:miter/>
                </a:ln>
              </p:spPr>
              <p:txBody>
                <a:bodyPr rtlCol="0" anchor="ctr"/>
                <a:lstStyle/>
                <a:p>
                  <a:endParaRPr lang="en-GB"/>
                </a:p>
              </p:txBody>
            </p:sp>
            <p:sp>
              <p:nvSpPr>
                <p:cNvPr id="1734" name="Vrije vorm: vorm 1733">
                  <a:extLst>
                    <a:ext uri="{FF2B5EF4-FFF2-40B4-BE49-F238E27FC236}">
                      <a16:creationId xmlns:a16="http://schemas.microsoft.com/office/drawing/2014/main" id="{15DD8F7D-63A4-4E4E-AF87-4BFAE5063975}"/>
                    </a:ext>
                  </a:extLst>
                </p:cNvPr>
                <p:cNvSpPr/>
                <p:nvPr/>
              </p:nvSpPr>
              <p:spPr>
                <a:xfrm>
                  <a:off x="4398584" y="3721588"/>
                  <a:ext cx="18274" cy="18453"/>
                </a:xfrm>
                <a:custGeom>
                  <a:avLst/>
                  <a:gdLst>
                    <a:gd name="connsiteX0" fmla="*/ 8509 w 18274"/>
                    <a:gd name="connsiteY0" fmla="*/ 16 h 18453"/>
                    <a:gd name="connsiteX1" fmla="*/ 18258 w 18274"/>
                    <a:gd name="connsiteY1" fmla="*/ 8688 h 18453"/>
                    <a:gd name="connsiteX2" fmla="*/ 9706 w 18274"/>
                    <a:gd name="connsiteY2" fmla="*/ 18437 h 18453"/>
                    <a:gd name="connsiteX3" fmla="*/ 17 w 18274"/>
                    <a:gd name="connsiteY3" fmla="*/ 9765 h 18453"/>
                    <a:gd name="connsiteX4" fmla="*/ 8509 w 18274"/>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53">
                      <a:moveTo>
                        <a:pt x="8509" y="16"/>
                      </a:moveTo>
                      <a:cubicBezTo>
                        <a:pt x="13533" y="-283"/>
                        <a:pt x="17899" y="3605"/>
                        <a:pt x="18258" y="8688"/>
                      </a:cubicBezTo>
                      <a:cubicBezTo>
                        <a:pt x="18557" y="13772"/>
                        <a:pt x="14729" y="18138"/>
                        <a:pt x="9706" y="18437"/>
                      </a:cubicBezTo>
                      <a:cubicBezTo>
                        <a:pt x="4682" y="18736"/>
                        <a:pt x="316" y="14848"/>
                        <a:pt x="17" y="9765"/>
                      </a:cubicBezTo>
                      <a:cubicBezTo>
                        <a:pt x="-282" y="4681"/>
                        <a:pt x="3426" y="315"/>
                        <a:pt x="8509" y="16"/>
                      </a:cubicBezTo>
                      <a:close/>
                    </a:path>
                  </a:pathLst>
                </a:custGeom>
                <a:grpFill/>
                <a:ln w="5978" cap="flat">
                  <a:noFill/>
                  <a:prstDash val="solid"/>
                  <a:miter/>
                </a:ln>
              </p:spPr>
              <p:txBody>
                <a:bodyPr rtlCol="0" anchor="ctr"/>
                <a:lstStyle/>
                <a:p>
                  <a:endParaRPr lang="en-GB"/>
                </a:p>
              </p:txBody>
            </p:sp>
            <p:sp>
              <p:nvSpPr>
                <p:cNvPr id="1735" name="Vrije vorm: vorm 1734">
                  <a:extLst>
                    <a:ext uri="{FF2B5EF4-FFF2-40B4-BE49-F238E27FC236}">
                      <a16:creationId xmlns:a16="http://schemas.microsoft.com/office/drawing/2014/main" id="{F7D1B80E-9E5B-4102-AB78-906DCD0FB69A}"/>
                    </a:ext>
                  </a:extLst>
                </p:cNvPr>
                <p:cNvSpPr/>
                <p:nvPr/>
              </p:nvSpPr>
              <p:spPr>
                <a:xfrm>
                  <a:off x="4135725" y="3737078"/>
                  <a:ext cx="18346" cy="18453"/>
                </a:xfrm>
                <a:custGeom>
                  <a:avLst/>
                  <a:gdLst>
                    <a:gd name="connsiteX0" fmla="*/ 8575 w 18346"/>
                    <a:gd name="connsiteY0" fmla="*/ 16 h 18453"/>
                    <a:gd name="connsiteX1" fmla="*/ 23 w 18346"/>
                    <a:gd name="connsiteY1" fmla="*/ 9765 h 18453"/>
                    <a:gd name="connsiteX2" fmla="*/ 9772 w 18346"/>
                    <a:gd name="connsiteY2" fmla="*/ 18437 h 18453"/>
                    <a:gd name="connsiteX3" fmla="*/ 18324 w 18346"/>
                    <a:gd name="connsiteY3" fmla="*/ 8688 h 18453"/>
                    <a:gd name="connsiteX4" fmla="*/ 8575 w 18346"/>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3">
                      <a:moveTo>
                        <a:pt x="8575" y="16"/>
                      </a:moveTo>
                      <a:cubicBezTo>
                        <a:pt x="3552" y="315"/>
                        <a:pt x="-336" y="4681"/>
                        <a:pt x="23" y="9765"/>
                      </a:cubicBezTo>
                      <a:cubicBezTo>
                        <a:pt x="322" y="14848"/>
                        <a:pt x="4688" y="18736"/>
                        <a:pt x="9772" y="18437"/>
                      </a:cubicBezTo>
                      <a:cubicBezTo>
                        <a:pt x="14796" y="18138"/>
                        <a:pt x="18683" y="13772"/>
                        <a:pt x="18324" y="8688"/>
                      </a:cubicBezTo>
                      <a:cubicBezTo>
                        <a:pt x="17965" y="3605"/>
                        <a:pt x="13599" y="-283"/>
                        <a:pt x="8575" y="16"/>
                      </a:cubicBezTo>
                      <a:close/>
                    </a:path>
                  </a:pathLst>
                </a:custGeom>
                <a:grpFill/>
                <a:ln w="5978" cap="flat">
                  <a:noFill/>
                  <a:prstDash val="solid"/>
                  <a:miter/>
                </a:ln>
              </p:spPr>
              <p:txBody>
                <a:bodyPr rtlCol="0" anchor="ctr"/>
                <a:lstStyle/>
                <a:p>
                  <a:endParaRPr lang="en-GB"/>
                </a:p>
              </p:txBody>
            </p:sp>
          </p:grpSp>
          <p:grpSp>
            <p:nvGrpSpPr>
              <p:cNvPr id="1224" name="Graphic 3">
                <a:extLst>
                  <a:ext uri="{FF2B5EF4-FFF2-40B4-BE49-F238E27FC236}">
                    <a16:creationId xmlns:a16="http://schemas.microsoft.com/office/drawing/2014/main" id="{888E2DF5-DBEB-405A-9545-93CB52391F79}"/>
                  </a:ext>
                </a:extLst>
              </p:cNvPr>
              <p:cNvGrpSpPr/>
              <p:nvPr/>
            </p:nvGrpSpPr>
            <p:grpSpPr>
              <a:xfrm>
                <a:off x="4196465" y="3818265"/>
                <a:ext cx="227601" cy="70823"/>
                <a:chOff x="4196465" y="3818265"/>
                <a:chExt cx="227601" cy="70823"/>
              </a:xfrm>
              <a:grpFill/>
            </p:grpSpPr>
            <p:sp>
              <p:nvSpPr>
                <p:cNvPr id="1730" name="Vrije vorm: vorm 1729">
                  <a:extLst>
                    <a:ext uri="{FF2B5EF4-FFF2-40B4-BE49-F238E27FC236}">
                      <a16:creationId xmlns:a16="http://schemas.microsoft.com/office/drawing/2014/main" id="{CEE81CA6-F631-4C0F-BA7F-272559DC5BAB}"/>
                    </a:ext>
                  </a:extLst>
                </p:cNvPr>
                <p:cNvSpPr/>
                <p:nvPr/>
              </p:nvSpPr>
              <p:spPr>
                <a:xfrm>
                  <a:off x="4204647" y="3825993"/>
                  <a:ext cx="210864" cy="55597"/>
                </a:xfrm>
                <a:custGeom>
                  <a:avLst/>
                  <a:gdLst>
                    <a:gd name="connsiteX0" fmla="*/ 0 w 210864"/>
                    <a:gd name="connsiteY0" fmla="*/ 52639 h 55597"/>
                    <a:gd name="connsiteX1" fmla="*/ 210123 w 210864"/>
                    <a:gd name="connsiteY1" fmla="*/ 0 h 55597"/>
                    <a:gd name="connsiteX2" fmla="*/ 210864 w 210864"/>
                    <a:gd name="connsiteY2" fmla="*/ 2959 h 55597"/>
                    <a:gd name="connsiteX3" fmla="*/ 741 w 210864"/>
                    <a:gd name="connsiteY3" fmla="*/ 55598 h 55597"/>
                  </a:gdLst>
                  <a:ahLst/>
                  <a:cxnLst>
                    <a:cxn ang="0">
                      <a:pos x="connsiteX0" y="connsiteY0"/>
                    </a:cxn>
                    <a:cxn ang="0">
                      <a:pos x="connsiteX1" y="connsiteY1"/>
                    </a:cxn>
                    <a:cxn ang="0">
                      <a:pos x="connsiteX2" y="connsiteY2"/>
                    </a:cxn>
                    <a:cxn ang="0">
                      <a:pos x="connsiteX3" y="connsiteY3"/>
                    </a:cxn>
                  </a:cxnLst>
                  <a:rect l="l" t="t" r="r" b="b"/>
                  <a:pathLst>
                    <a:path w="210864" h="55597">
                      <a:moveTo>
                        <a:pt x="0" y="52639"/>
                      </a:moveTo>
                      <a:lnTo>
                        <a:pt x="210123" y="0"/>
                      </a:lnTo>
                      <a:lnTo>
                        <a:pt x="210864" y="2959"/>
                      </a:lnTo>
                      <a:lnTo>
                        <a:pt x="741" y="55598"/>
                      </a:lnTo>
                      <a:close/>
                    </a:path>
                  </a:pathLst>
                </a:custGeom>
                <a:grpFill/>
                <a:ln w="5978" cap="flat">
                  <a:noFill/>
                  <a:prstDash val="solid"/>
                  <a:miter/>
                </a:ln>
              </p:spPr>
              <p:txBody>
                <a:bodyPr rtlCol="0" anchor="ctr"/>
                <a:lstStyle/>
                <a:p>
                  <a:endParaRPr lang="en-GB"/>
                </a:p>
              </p:txBody>
            </p:sp>
            <p:sp>
              <p:nvSpPr>
                <p:cNvPr id="1731" name="Vrije vorm: vorm 1730">
                  <a:extLst>
                    <a:ext uri="{FF2B5EF4-FFF2-40B4-BE49-F238E27FC236}">
                      <a16:creationId xmlns:a16="http://schemas.microsoft.com/office/drawing/2014/main" id="{73CF495B-607B-4341-B8E2-84C8D7EE6461}"/>
                    </a:ext>
                  </a:extLst>
                </p:cNvPr>
                <p:cNvSpPr/>
                <p:nvPr/>
              </p:nvSpPr>
              <p:spPr>
                <a:xfrm>
                  <a:off x="4196465" y="3870660"/>
                  <a:ext cx="18335" cy="18428"/>
                </a:xfrm>
                <a:custGeom>
                  <a:avLst/>
                  <a:gdLst>
                    <a:gd name="connsiteX0" fmla="*/ 11411 w 18335"/>
                    <a:gd name="connsiteY0" fmla="*/ 18165 h 18428"/>
                    <a:gd name="connsiteX1" fmla="*/ 287 w 18335"/>
                    <a:gd name="connsiteY1" fmla="*/ 11467 h 18428"/>
                    <a:gd name="connsiteX2" fmla="*/ 6925 w 18335"/>
                    <a:gd name="connsiteY2" fmla="*/ 283 h 18428"/>
                    <a:gd name="connsiteX3" fmla="*/ 18049 w 18335"/>
                    <a:gd name="connsiteY3" fmla="*/ 6981 h 18428"/>
                    <a:gd name="connsiteX4" fmla="*/ 11411 w 18335"/>
                    <a:gd name="connsiteY4" fmla="*/ 1816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8">
                      <a:moveTo>
                        <a:pt x="11411" y="18165"/>
                      </a:moveTo>
                      <a:cubicBezTo>
                        <a:pt x="6507" y="19361"/>
                        <a:pt x="1542" y="16371"/>
                        <a:pt x="287" y="11467"/>
                      </a:cubicBezTo>
                      <a:cubicBezTo>
                        <a:pt x="-969" y="6563"/>
                        <a:pt x="2021" y="1539"/>
                        <a:pt x="6925" y="283"/>
                      </a:cubicBezTo>
                      <a:cubicBezTo>
                        <a:pt x="11829" y="-973"/>
                        <a:pt x="16794" y="2077"/>
                        <a:pt x="18049" y="6981"/>
                      </a:cubicBezTo>
                      <a:cubicBezTo>
                        <a:pt x="19305" y="11945"/>
                        <a:pt x="16315" y="16909"/>
                        <a:pt x="11411" y="18165"/>
                      </a:cubicBezTo>
                      <a:close/>
                    </a:path>
                  </a:pathLst>
                </a:custGeom>
                <a:grpFill/>
                <a:ln w="5978" cap="flat">
                  <a:noFill/>
                  <a:prstDash val="solid"/>
                  <a:miter/>
                </a:ln>
              </p:spPr>
              <p:txBody>
                <a:bodyPr rtlCol="0" anchor="ctr"/>
                <a:lstStyle/>
                <a:p>
                  <a:endParaRPr lang="en-GB"/>
                </a:p>
              </p:txBody>
            </p:sp>
            <p:sp>
              <p:nvSpPr>
                <p:cNvPr id="1732" name="Vrije vorm: vorm 1731">
                  <a:extLst>
                    <a:ext uri="{FF2B5EF4-FFF2-40B4-BE49-F238E27FC236}">
                      <a16:creationId xmlns:a16="http://schemas.microsoft.com/office/drawing/2014/main" id="{6EB70C18-2C03-43B7-9A77-E749F5013854}"/>
                    </a:ext>
                  </a:extLst>
                </p:cNvPr>
                <p:cNvSpPr/>
                <p:nvPr/>
              </p:nvSpPr>
              <p:spPr>
                <a:xfrm>
                  <a:off x="4405731" y="3818265"/>
                  <a:ext cx="18335" cy="18451"/>
                </a:xfrm>
                <a:custGeom>
                  <a:avLst/>
                  <a:gdLst>
                    <a:gd name="connsiteX0" fmla="*/ 11411 w 18335"/>
                    <a:gd name="connsiteY0" fmla="*/ 18169 h 18451"/>
                    <a:gd name="connsiteX1" fmla="*/ 18049 w 18335"/>
                    <a:gd name="connsiteY1" fmla="*/ 6985 h 18451"/>
                    <a:gd name="connsiteX2" fmla="*/ 6925 w 18335"/>
                    <a:gd name="connsiteY2" fmla="*/ 286 h 18451"/>
                    <a:gd name="connsiteX3" fmla="*/ 287 w 18335"/>
                    <a:gd name="connsiteY3" fmla="*/ 11470 h 18451"/>
                    <a:gd name="connsiteX4" fmla="*/ 11411 w 18335"/>
                    <a:gd name="connsiteY4" fmla="*/ 18169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1">
                      <a:moveTo>
                        <a:pt x="11411" y="18169"/>
                      </a:moveTo>
                      <a:cubicBezTo>
                        <a:pt x="16315" y="16973"/>
                        <a:pt x="19305" y="11949"/>
                        <a:pt x="18049" y="6985"/>
                      </a:cubicBezTo>
                      <a:cubicBezTo>
                        <a:pt x="16794" y="2021"/>
                        <a:pt x="11829" y="-970"/>
                        <a:pt x="6925" y="286"/>
                      </a:cubicBezTo>
                      <a:cubicBezTo>
                        <a:pt x="2021" y="1483"/>
                        <a:pt x="-969" y="6506"/>
                        <a:pt x="287" y="11470"/>
                      </a:cubicBezTo>
                      <a:cubicBezTo>
                        <a:pt x="1543" y="16375"/>
                        <a:pt x="6507" y="19425"/>
                        <a:pt x="11411" y="18169"/>
                      </a:cubicBezTo>
                      <a:close/>
                    </a:path>
                  </a:pathLst>
                </a:custGeom>
                <a:grpFill/>
                <a:ln w="5978" cap="flat">
                  <a:noFill/>
                  <a:prstDash val="solid"/>
                  <a:miter/>
                </a:ln>
              </p:spPr>
              <p:txBody>
                <a:bodyPr rtlCol="0" anchor="ctr"/>
                <a:lstStyle/>
                <a:p>
                  <a:endParaRPr lang="en-GB"/>
                </a:p>
              </p:txBody>
            </p:sp>
          </p:grpSp>
          <p:grpSp>
            <p:nvGrpSpPr>
              <p:cNvPr id="1225" name="Graphic 3">
                <a:extLst>
                  <a:ext uri="{FF2B5EF4-FFF2-40B4-BE49-F238E27FC236}">
                    <a16:creationId xmlns:a16="http://schemas.microsoft.com/office/drawing/2014/main" id="{D7F1B46C-AD9B-4001-A76B-F99DE0A1EA3D}"/>
                  </a:ext>
                </a:extLst>
              </p:cNvPr>
              <p:cNvGrpSpPr/>
              <p:nvPr/>
            </p:nvGrpSpPr>
            <p:grpSpPr>
              <a:xfrm>
                <a:off x="3843213" y="3245939"/>
                <a:ext cx="549892" cy="87892"/>
                <a:chOff x="3843213" y="3245939"/>
                <a:chExt cx="549892" cy="87892"/>
              </a:xfrm>
              <a:grpFill/>
            </p:grpSpPr>
            <p:sp>
              <p:nvSpPr>
                <p:cNvPr id="1727" name="Vrije vorm: vorm 1726">
                  <a:extLst>
                    <a:ext uri="{FF2B5EF4-FFF2-40B4-BE49-F238E27FC236}">
                      <a16:creationId xmlns:a16="http://schemas.microsoft.com/office/drawing/2014/main" id="{6E7AE51E-19D4-4D99-A3B9-83444A469C42}"/>
                    </a:ext>
                  </a:extLst>
                </p:cNvPr>
                <p:cNvSpPr/>
                <p:nvPr/>
              </p:nvSpPr>
              <p:spPr>
                <a:xfrm>
                  <a:off x="3851724" y="3253612"/>
                  <a:ext cx="532882" cy="72546"/>
                </a:xfrm>
                <a:custGeom>
                  <a:avLst/>
                  <a:gdLst>
                    <a:gd name="connsiteX0" fmla="*/ 532882 w 532882"/>
                    <a:gd name="connsiteY0" fmla="*/ 69556 h 72546"/>
                    <a:gd name="connsiteX1" fmla="*/ 532464 w 532882"/>
                    <a:gd name="connsiteY1" fmla="*/ 72546 h 72546"/>
                    <a:gd name="connsiteX2" fmla="*/ 0 w 532882"/>
                    <a:gd name="connsiteY2" fmla="*/ 3050 h 72546"/>
                    <a:gd name="connsiteX3" fmla="*/ 359 w 532882"/>
                    <a:gd name="connsiteY3" fmla="*/ 0 h 72546"/>
                  </a:gdLst>
                  <a:ahLst/>
                  <a:cxnLst>
                    <a:cxn ang="0">
                      <a:pos x="connsiteX0" y="connsiteY0"/>
                    </a:cxn>
                    <a:cxn ang="0">
                      <a:pos x="connsiteX1" y="connsiteY1"/>
                    </a:cxn>
                    <a:cxn ang="0">
                      <a:pos x="connsiteX2" y="connsiteY2"/>
                    </a:cxn>
                    <a:cxn ang="0">
                      <a:pos x="connsiteX3" y="connsiteY3"/>
                    </a:cxn>
                  </a:cxnLst>
                  <a:rect l="l" t="t" r="r" b="b"/>
                  <a:pathLst>
                    <a:path w="532882" h="72546">
                      <a:moveTo>
                        <a:pt x="532882" y="69556"/>
                      </a:moveTo>
                      <a:lnTo>
                        <a:pt x="532464" y="72546"/>
                      </a:lnTo>
                      <a:lnTo>
                        <a:pt x="0" y="3050"/>
                      </a:lnTo>
                      <a:lnTo>
                        <a:pt x="359" y="0"/>
                      </a:lnTo>
                      <a:close/>
                    </a:path>
                  </a:pathLst>
                </a:custGeom>
                <a:grpFill/>
                <a:ln w="5978" cap="flat">
                  <a:noFill/>
                  <a:prstDash val="solid"/>
                  <a:miter/>
                </a:ln>
              </p:spPr>
              <p:txBody>
                <a:bodyPr rtlCol="0" anchor="ctr"/>
                <a:lstStyle/>
                <a:p>
                  <a:endParaRPr lang="en-GB"/>
                </a:p>
              </p:txBody>
            </p:sp>
            <p:sp>
              <p:nvSpPr>
                <p:cNvPr id="1728" name="Vrije vorm: vorm 1727">
                  <a:extLst>
                    <a:ext uri="{FF2B5EF4-FFF2-40B4-BE49-F238E27FC236}">
                      <a16:creationId xmlns:a16="http://schemas.microsoft.com/office/drawing/2014/main" id="{815F8D66-9F33-4F77-87B7-476A861DC7A0}"/>
                    </a:ext>
                  </a:extLst>
                </p:cNvPr>
                <p:cNvSpPr/>
                <p:nvPr/>
              </p:nvSpPr>
              <p:spPr>
                <a:xfrm>
                  <a:off x="4374792" y="3315375"/>
                  <a:ext cx="18313" cy="18456"/>
                </a:xfrm>
                <a:custGeom>
                  <a:avLst/>
                  <a:gdLst>
                    <a:gd name="connsiteX0" fmla="*/ 10293 w 18313"/>
                    <a:gd name="connsiteY0" fmla="*/ 78 h 18456"/>
                    <a:gd name="connsiteX1" fmla="*/ 18248 w 18313"/>
                    <a:gd name="connsiteY1" fmla="*/ 10424 h 18456"/>
                    <a:gd name="connsiteX2" fmla="*/ 8020 w 18313"/>
                    <a:gd name="connsiteY2" fmla="*/ 18379 h 18456"/>
                    <a:gd name="connsiteX3" fmla="*/ 66 w 18313"/>
                    <a:gd name="connsiteY3" fmla="*/ 8032 h 18456"/>
                    <a:gd name="connsiteX4" fmla="*/ 10293 w 18313"/>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56">
                      <a:moveTo>
                        <a:pt x="10293" y="78"/>
                      </a:moveTo>
                      <a:cubicBezTo>
                        <a:pt x="15317" y="736"/>
                        <a:pt x="18846" y="5341"/>
                        <a:pt x="18248" y="10424"/>
                      </a:cubicBezTo>
                      <a:cubicBezTo>
                        <a:pt x="17589" y="15448"/>
                        <a:pt x="13044" y="19037"/>
                        <a:pt x="8020" y="18379"/>
                      </a:cubicBezTo>
                      <a:cubicBezTo>
                        <a:pt x="2997" y="17721"/>
                        <a:pt x="-532" y="13116"/>
                        <a:pt x="66" y="8032"/>
                      </a:cubicBezTo>
                      <a:cubicBezTo>
                        <a:pt x="664" y="3008"/>
                        <a:pt x="5269" y="-580"/>
                        <a:pt x="10293" y="78"/>
                      </a:cubicBezTo>
                      <a:close/>
                    </a:path>
                  </a:pathLst>
                </a:custGeom>
                <a:grpFill/>
                <a:ln w="5978" cap="flat">
                  <a:noFill/>
                  <a:prstDash val="solid"/>
                  <a:miter/>
                </a:ln>
              </p:spPr>
              <p:txBody>
                <a:bodyPr rtlCol="0" anchor="ctr"/>
                <a:lstStyle/>
                <a:p>
                  <a:endParaRPr lang="en-GB"/>
                </a:p>
              </p:txBody>
            </p:sp>
            <p:sp>
              <p:nvSpPr>
                <p:cNvPr id="1729" name="Vrije vorm: vorm 1728">
                  <a:extLst>
                    <a:ext uri="{FF2B5EF4-FFF2-40B4-BE49-F238E27FC236}">
                      <a16:creationId xmlns:a16="http://schemas.microsoft.com/office/drawing/2014/main" id="{02A7CC4D-E3F2-4961-9E6A-1E41D70D4729}"/>
                    </a:ext>
                  </a:extLst>
                </p:cNvPr>
                <p:cNvSpPr/>
                <p:nvPr/>
              </p:nvSpPr>
              <p:spPr>
                <a:xfrm>
                  <a:off x="3843213" y="3245939"/>
                  <a:ext cx="18325" cy="18456"/>
                </a:xfrm>
                <a:custGeom>
                  <a:avLst/>
                  <a:gdLst>
                    <a:gd name="connsiteX0" fmla="*/ 10305 w 18325"/>
                    <a:gd name="connsiteY0" fmla="*/ 78 h 18456"/>
                    <a:gd name="connsiteX1" fmla="*/ 78 w 18325"/>
                    <a:gd name="connsiteY1" fmla="*/ 8032 h 18456"/>
                    <a:gd name="connsiteX2" fmla="*/ 8032 w 18325"/>
                    <a:gd name="connsiteY2" fmla="*/ 18379 h 18456"/>
                    <a:gd name="connsiteX3" fmla="*/ 18259 w 18325"/>
                    <a:gd name="connsiteY3" fmla="*/ 10424 h 18456"/>
                    <a:gd name="connsiteX4" fmla="*/ 10305 w 18325"/>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6">
                      <a:moveTo>
                        <a:pt x="10305" y="78"/>
                      </a:moveTo>
                      <a:cubicBezTo>
                        <a:pt x="5281" y="-580"/>
                        <a:pt x="676" y="3008"/>
                        <a:pt x="78" y="8032"/>
                      </a:cubicBezTo>
                      <a:cubicBezTo>
                        <a:pt x="-580" y="13056"/>
                        <a:pt x="3009" y="17721"/>
                        <a:pt x="8032" y="18379"/>
                      </a:cubicBezTo>
                      <a:cubicBezTo>
                        <a:pt x="13056" y="19037"/>
                        <a:pt x="17661" y="15448"/>
                        <a:pt x="18259" y="10424"/>
                      </a:cubicBezTo>
                      <a:cubicBezTo>
                        <a:pt x="18857" y="5401"/>
                        <a:pt x="15329" y="736"/>
                        <a:pt x="10305" y="78"/>
                      </a:cubicBezTo>
                      <a:close/>
                    </a:path>
                  </a:pathLst>
                </a:custGeom>
                <a:grpFill/>
                <a:ln w="5978" cap="flat">
                  <a:noFill/>
                  <a:prstDash val="solid"/>
                  <a:miter/>
                </a:ln>
              </p:spPr>
              <p:txBody>
                <a:bodyPr rtlCol="0" anchor="ctr"/>
                <a:lstStyle/>
                <a:p>
                  <a:endParaRPr lang="en-GB"/>
                </a:p>
              </p:txBody>
            </p:sp>
          </p:grpSp>
          <p:grpSp>
            <p:nvGrpSpPr>
              <p:cNvPr id="1226" name="Graphic 3">
                <a:extLst>
                  <a:ext uri="{FF2B5EF4-FFF2-40B4-BE49-F238E27FC236}">
                    <a16:creationId xmlns:a16="http://schemas.microsoft.com/office/drawing/2014/main" id="{13A1727C-EFDC-44ED-986D-2228F5D4DABA}"/>
                  </a:ext>
                </a:extLst>
              </p:cNvPr>
              <p:cNvGrpSpPr/>
              <p:nvPr/>
            </p:nvGrpSpPr>
            <p:grpSpPr>
              <a:xfrm>
                <a:off x="4246166" y="3966770"/>
                <a:ext cx="228974" cy="57803"/>
                <a:chOff x="4246166" y="3966770"/>
                <a:chExt cx="228974" cy="57803"/>
              </a:xfrm>
              <a:grpFill/>
            </p:grpSpPr>
            <p:sp>
              <p:nvSpPr>
                <p:cNvPr id="1724" name="Vrije vorm: vorm 1723">
                  <a:extLst>
                    <a:ext uri="{FF2B5EF4-FFF2-40B4-BE49-F238E27FC236}">
                      <a16:creationId xmlns:a16="http://schemas.microsoft.com/office/drawing/2014/main" id="{AB397E65-E556-4572-93EB-018DA65A7357}"/>
                    </a:ext>
                  </a:extLst>
                </p:cNvPr>
                <p:cNvSpPr/>
                <p:nvPr/>
              </p:nvSpPr>
              <p:spPr>
                <a:xfrm>
                  <a:off x="4254585" y="3974409"/>
                  <a:ext cx="212136" cy="42522"/>
                </a:xfrm>
                <a:custGeom>
                  <a:avLst/>
                  <a:gdLst>
                    <a:gd name="connsiteX0" fmla="*/ 211538 w 212136"/>
                    <a:gd name="connsiteY0" fmla="*/ 0 h 42522"/>
                    <a:gd name="connsiteX1" fmla="*/ 212136 w 212136"/>
                    <a:gd name="connsiteY1" fmla="*/ 2990 h 42522"/>
                    <a:gd name="connsiteX2" fmla="*/ 598 w 212136"/>
                    <a:gd name="connsiteY2" fmla="*/ 42523 h 42522"/>
                    <a:gd name="connsiteX3" fmla="*/ 0 w 212136"/>
                    <a:gd name="connsiteY3" fmla="*/ 39473 h 42522"/>
                  </a:gdLst>
                  <a:ahLst/>
                  <a:cxnLst>
                    <a:cxn ang="0">
                      <a:pos x="connsiteX0" y="connsiteY0"/>
                    </a:cxn>
                    <a:cxn ang="0">
                      <a:pos x="connsiteX1" y="connsiteY1"/>
                    </a:cxn>
                    <a:cxn ang="0">
                      <a:pos x="connsiteX2" y="connsiteY2"/>
                    </a:cxn>
                    <a:cxn ang="0">
                      <a:pos x="connsiteX3" y="connsiteY3"/>
                    </a:cxn>
                  </a:cxnLst>
                  <a:rect l="l" t="t" r="r" b="b"/>
                  <a:pathLst>
                    <a:path w="212136" h="42522">
                      <a:moveTo>
                        <a:pt x="211538" y="0"/>
                      </a:moveTo>
                      <a:lnTo>
                        <a:pt x="212136" y="2990"/>
                      </a:lnTo>
                      <a:lnTo>
                        <a:pt x="598" y="42523"/>
                      </a:lnTo>
                      <a:lnTo>
                        <a:pt x="0" y="39473"/>
                      </a:lnTo>
                      <a:close/>
                    </a:path>
                  </a:pathLst>
                </a:custGeom>
                <a:grpFill/>
                <a:ln w="5978" cap="flat">
                  <a:noFill/>
                  <a:prstDash val="solid"/>
                  <a:miter/>
                </a:ln>
              </p:spPr>
              <p:txBody>
                <a:bodyPr rtlCol="0" anchor="ctr"/>
                <a:lstStyle/>
                <a:p>
                  <a:endParaRPr lang="en-GB"/>
                </a:p>
              </p:txBody>
            </p:sp>
            <p:sp>
              <p:nvSpPr>
                <p:cNvPr id="1725" name="Vrije vorm: vorm 1724">
                  <a:extLst>
                    <a:ext uri="{FF2B5EF4-FFF2-40B4-BE49-F238E27FC236}">
                      <a16:creationId xmlns:a16="http://schemas.microsoft.com/office/drawing/2014/main" id="{E3FC3527-866F-4CDC-BA79-44F98D37FCD4}"/>
                    </a:ext>
                  </a:extLst>
                </p:cNvPr>
                <p:cNvSpPr/>
                <p:nvPr/>
              </p:nvSpPr>
              <p:spPr>
                <a:xfrm>
                  <a:off x="4456807" y="3966770"/>
                  <a:ext cx="18333" cy="18448"/>
                </a:xfrm>
                <a:custGeom>
                  <a:avLst/>
                  <a:gdLst>
                    <a:gd name="connsiteX0" fmla="*/ 7462 w 18333"/>
                    <a:gd name="connsiteY0" fmla="*/ 163 h 18448"/>
                    <a:gd name="connsiteX1" fmla="*/ 18168 w 18333"/>
                    <a:gd name="connsiteY1" fmla="*/ 7520 h 18448"/>
                    <a:gd name="connsiteX2" fmla="*/ 10871 w 18333"/>
                    <a:gd name="connsiteY2" fmla="*/ 18285 h 18448"/>
                    <a:gd name="connsiteX3" fmla="*/ 166 w 18333"/>
                    <a:gd name="connsiteY3" fmla="*/ 10929 h 18448"/>
                    <a:gd name="connsiteX4" fmla="*/ 7462 w 18333"/>
                    <a:gd name="connsiteY4" fmla="*/ 163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8">
                      <a:moveTo>
                        <a:pt x="7462" y="163"/>
                      </a:moveTo>
                      <a:cubicBezTo>
                        <a:pt x="12426" y="-794"/>
                        <a:pt x="17211" y="2556"/>
                        <a:pt x="18168" y="7520"/>
                      </a:cubicBezTo>
                      <a:cubicBezTo>
                        <a:pt x="19124" y="12544"/>
                        <a:pt x="15835" y="17328"/>
                        <a:pt x="10871" y="18285"/>
                      </a:cubicBezTo>
                      <a:cubicBezTo>
                        <a:pt x="5907" y="19242"/>
                        <a:pt x="1122" y="15893"/>
                        <a:pt x="166" y="10929"/>
                      </a:cubicBezTo>
                      <a:cubicBezTo>
                        <a:pt x="-791" y="5905"/>
                        <a:pt x="2498" y="1060"/>
                        <a:pt x="7462" y="163"/>
                      </a:cubicBezTo>
                      <a:close/>
                    </a:path>
                  </a:pathLst>
                </a:custGeom>
                <a:grpFill/>
                <a:ln w="5978" cap="flat">
                  <a:noFill/>
                  <a:prstDash val="solid"/>
                  <a:miter/>
                </a:ln>
              </p:spPr>
              <p:txBody>
                <a:bodyPr rtlCol="0" anchor="ctr"/>
                <a:lstStyle/>
                <a:p>
                  <a:endParaRPr lang="en-GB"/>
                </a:p>
              </p:txBody>
            </p:sp>
            <p:sp>
              <p:nvSpPr>
                <p:cNvPr id="1726" name="Vrije vorm: vorm 1725">
                  <a:extLst>
                    <a:ext uri="{FF2B5EF4-FFF2-40B4-BE49-F238E27FC236}">
                      <a16:creationId xmlns:a16="http://schemas.microsoft.com/office/drawing/2014/main" id="{0A429D9A-1DA4-4278-B2BA-E04911F22C5B}"/>
                    </a:ext>
                  </a:extLst>
                </p:cNvPr>
                <p:cNvSpPr/>
                <p:nvPr/>
              </p:nvSpPr>
              <p:spPr>
                <a:xfrm>
                  <a:off x="4246166" y="4006120"/>
                  <a:ext cx="18333" cy="18452"/>
                </a:xfrm>
                <a:custGeom>
                  <a:avLst/>
                  <a:gdLst>
                    <a:gd name="connsiteX0" fmla="*/ 7462 w 18333"/>
                    <a:gd name="connsiteY0" fmla="*/ 165 h 18452"/>
                    <a:gd name="connsiteX1" fmla="*/ 166 w 18333"/>
                    <a:gd name="connsiteY1" fmla="*/ 10931 h 18452"/>
                    <a:gd name="connsiteX2" fmla="*/ 10871 w 18333"/>
                    <a:gd name="connsiteY2" fmla="*/ 18287 h 18452"/>
                    <a:gd name="connsiteX3" fmla="*/ 18168 w 18333"/>
                    <a:gd name="connsiteY3" fmla="*/ 7522 h 18452"/>
                    <a:gd name="connsiteX4" fmla="*/ 7462 w 18333"/>
                    <a:gd name="connsiteY4" fmla="*/ 1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7462" y="165"/>
                      </a:moveTo>
                      <a:cubicBezTo>
                        <a:pt x="2498" y="1123"/>
                        <a:pt x="-791" y="5907"/>
                        <a:pt x="166" y="10931"/>
                      </a:cubicBezTo>
                      <a:cubicBezTo>
                        <a:pt x="1123" y="15955"/>
                        <a:pt x="5907" y="19244"/>
                        <a:pt x="10871" y="18287"/>
                      </a:cubicBezTo>
                      <a:cubicBezTo>
                        <a:pt x="15835" y="17330"/>
                        <a:pt x="19124" y="12546"/>
                        <a:pt x="18168" y="7522"/>
                      </a:cubicBezTo>
                      <a:cubicBezTo>
                        <a:pt x="17211" y="2498"/>
                        <a:pt x="12426" y="-791"/>
                        <a:pt x="7462" y="165"/>
                      </a:cubicBezTo>
                      <a:close/>
                    </a:path>
                  </a:pathLst>
                </a:custGeom>
                <a:grpFill/>
                <a:ln w="5978" cap="flat">
                  <a:noFill/>
                  <a:prstDash val="solid"/>
                  <a:miter/>
                </a:ln>
              </p:spPr>
              <p:txBody>
                <a:bodyPr rtlCol="0" anchor="ctr"/>
                <a:lstStyle/>
                <a:p>
                  <a:endParaRPr lang="en-GB"/>
                </a:p>
              </p:txBody>
            </p:sp>
          </p:grpSp>
          <p:grpSp>
            <p:nvGrpSpPr>
              <p:cNvPr id="1227" name="Graphic 3">
                <a:extLst>
                  <a:ext uri="{FF2B5EF4-FFF2-40B4-BE49-F238E27FC236}">
                    <a16:creationId xmlns:a16="http://schemas.microsoft.com/office/drawing/2014/main" id="{433DE681-0490-4854-9DC3-BCAE4A21B38E}"/>
                  </a:ext>
                </a:extLst>
              </p:cNvPr>
              <p:cNvGrpSpPr/>
              <p:nvPr/>
            </p:nvGrpSpPr>
            <p:grpSpPr>
              <a:xfrm>
                <a:off x="4589732" y="4734133"/>
                <a:ext cx="55429" cy="53062"/>
                <a:chOff x="4589732" y="4734133"/>
                <a:chExt cx="55429" cy="53062"/>
              </a:xfrm>
              <a:grpFill/>
            </p:grpSpPr>
            <p:sp>
              <p:nvSpPr>
                <p:cNvPr id="1721" name="Vrije vorm: vorm 1720">
                  <a:extLst>
                    <a:ext uri="{FF2B5EF4-FFF2-40B4-BE49-F238E27FC236}">
                      <a16:creationId xmlns:a16="http://schemas.microsoft.com/office/drawing/2014/main" id="{3F50C63B-B6EF-40DB-9E77-38CBF7D0C45C}"/>
                    </a:ext>
                  </a:extLst>
                </p:cNvPr>
                <p:cNvSpPr/>
                <p:nvPr/>
              </p:nvSpPr>
              <p:spPr>
                <a:xfrm>
                  <a:off x="4597520" y="4741855"/>
                  <a:ext cx="39891" cy="37558"/>
                </a:xfrm>
                <a:custGeom>
                  <a:avLst/>
                  <a:gdLst>
                    <a:gd name="connsiteX0" fmla="*/ 39891 w 39891"/>
                    <a:gd name="connsiteY0" fmla="*/ 2273 h 37558"/>
                    <a:gd name="connsiteX1" fmla="*/ 2093 w 39891"/>
                    <a:gd name="connsiteY1" fmla="*/ 37559 h 37558"/>
                    <a:gd name="connsiteX2" fmla="*/ 0 w 39891"/>
                    <a:gd name="connsiteY2" fmla="*/ 35346 h 37558"/>
                    <a:gd name="connsiteX3" fmla="*/ 37798 w 39891"/>
                    <a:gd name="connsiteY3" fmla="*/ 0 h 37558"/>
                  </a:gdLst>
                  <a:ahLst/>
                  <a:cxnLst>
                    <a:cxn ang="0">
                      <a:pos x="connsiteX0" y="connsiteY0"/>
                    </a:cxn>
                    <a:cxn ang="0">
                      <a:pos x="connsiteX1" y="connsiteY1"/>
                    </a:cxn>
                    <a:cxn ang="0">
                      <a:pos x="connsiteX2" y="connsiteY2"/>
                    </a:cxn>
                    <a:cxn ang="0">
                      <a:pos x="connsiteX3" y="connsiteY3"/>
                    </a:cxn>
                  </a:cxnLst>
                  <a:rect l="l" t="t" r="r" b="b"/>
                  <a:pathLst>
                    <a:path w="39891" h="37558">
                      <a:moveTo>
                        <a:pt x="39891" y="2273"/>
                      </a:moveTo>
                      <a:lnTo>
                        <a:pt x="2093" y="37559"/>
                      </a:lnTo>
                      <a:lnTo>
                        <a:pt x="0" y="35346"/>
                      </a:lnTo>
                      <a:lnTo>
                        <a:pt x="37798" y="0"/>
                      </a:lnTo>
                      <a:close/>
                    </a:path>
                  </a:pathLst>
                </a:custGeom>
                <a:grpFill/>
                <a:ln w="5978" cap="flat">
                  <a:noFill/>
                  <a:prstDash val="solid"/>
                  <a:miter/>
                </a:ln>
              </p:spPr>
              <p:txBody>
                <a:bodyPr rtlCol="0" anchor="ctr"/>
                <a:lstStyle/>
                <a:p>
                  <a:endParaRPr lang="en-GB"/>
                </a:p>
              </p:txBody>
            </p:sp>
            <p:sp>
              <p:nvSpPr>
                <p:cNvPr id="1722" name="Vrije vorm: vorm 1721">
                  <a:extLst>
                    <a:ext uri="{FF2B5EF4-FFF2-40B4-BE49-F238E27FC236}">
                      <a16:creationId xmlns:a16="http://schemas.microsoft.com/office/drawing/2014/main" id="{75CCD27E-BF91-4B60-A7FD-551327E93523}"/>
                    </a:ext>
                  </a:extLst>
                </p:cNvPr>
                <p:cNvSpPr/>
                <p:nvPr/>
              </p:nvSpPr>
              <p:spPr>
                <a:xfrm>
                  <a:off x="4589732" y="4768762"/>
                  <a:ext cx="18348" cy="18434"/>
                </a:xfrm>
                <a:custGeom>
                  <a:avLst/>
                  <a:gdLst>
                    <a:gd name="connsiteX0" fmla="*/ 15443 w 18348"/>
                    <a:gd name="connsiteY0" fmla="*/ 15975 h 18434"/>
                    <a:gd name="connsiteX1" fmla="*/ 2465 w 18348"/>
                    <a:gd name="connsiteY1" fmla="*/ 15497 h 18434"/>
                    <a:gd name="connsiteX2" fmla="*/ 2884 w 18348"/>
                    <a:gd name="connsiteY2" fmla="*/ 2459 h 18434"/>
                    <a:gd name="connsiteX3" fmla="*/ 15862 w 18348"/>
                    <a:gd name="connsiteY3" fmla="*/ 2937 h 18434"/>
                    <a:gd name="connsiteX4" fmla="*/ 15443 w 18348"/>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4">
                      <a:moveTo>
                        <a:pt x="15443" y="15975"/>
                      </a:moveTo>
                      <a:cubicBezTo>
                        <a:pt x="11735" y="19444"/>
                        <a:pt x="5934" y="19205"/>
                        <a:pt x="2465" y="15497"/>
                      </a:cubicBezTo>
                      <a:cubicBezTo>
                        <a:pt x="-1004" y="11789"/>
                        <a:pt x="-764" y="5928"/>
                        <a:pt x="2884" y="2459"/>
                      </a:cubicBezTo>
                      <a:cubicBezTo>
                        <a:pt x="6592" y="-1010"/>
                        <a:pt x="12393" y="-771"/>
                        <a:pt x="15862" y="2937"/>
                      </a:cubicBezTo>
                      <a:cubicBezTo>
                        <a:pt x="19331" y="6645"/>
                        <a:pt x="19151" y="12566"/>
                        <a:pt x="15443" y="15975"/>
                      </a:cubicBezTo>
                      <a:close/>
                    </a:path>
                  </a:pathLst>
                </a:custGeom>
                <a:grpFill/>
                <a:ln w="5978" cap="flat">
                  <a:noFill/>
                  <a:prstDash val="solid"/>
                  <a:miter/>
                </a:ln>
              </p:spPr>
              <p:txBody>
                <a:bodyPr rtlCol="0" anchor="ctr"/>
                <a:lstStyle/>
                <a:p>
                  <a:endParaRPr lang="en-GB"/>
                </a:p>
              </p:txBody>
            </p:sp>
            <p:sp>
              <p:nvSpPr>
                <p:cNvPr id="1723" name="Vrije vorm: vorm 1722">
                  <a:extLst>
                    <a:ext uri="{FF2B5EF4-FFF2-40B4-BE49-F238E27FC236}">
                      <a16:creationId xmlns:a16="http://schemas.microsoft.com/office/drawing/2014/main" id="{55657A47-3F72-415C-B92C-F6BCEF23F933}"/>
                    </a:ext>
                  </a:extLst>
                </p:cNvPr>
                <p:cNvSpPr/>
                <p:nvPr/>
              </p:nvSpPr>
              <p:spPr>
                <a:xfrm>
                  <a:off x="4626791" y="4734133"/>
                  <a:ext cx="18370" cy="18410"/>
                </a:xfrm>
                <a:custGeom>
                  <a:avLst/>
                  <a:gdLst>
                    <a:gd name="connsiteX0" fmla="*/ 15465 w 18370"/>
                    <a:gd name="connsiteY0" fmla="*/ 15975 h 18410"/>
                    <a:gd name="connsiteX1" fmla="*/ 15883 w 18370"/>
                    <a:gd name="connsiteY1" fmla="*/ 2937 h 18410"/>
                    <a:gd name="connsiteX2" fmla="*/ 2905 w 18370"/>
                    <a:gd name="connsiteY2" fmla="*/ 2459 h 18410"/>
                    <a:gd name="connsiteX3" fmla="*/ 2487 w 18370"/>
                    <a:gd name="connsiteY3" fmla="*/ 15497 h 18410"/>
                    <a:gd name="connsiteX4" fmla="*/ 15465 w 18370"/>
                    <a:gd name="connsiteY4" fmla="*/ 15975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0">
                      <a:moveTo>
                        <a:pt x="15465" y="15975"/>
                      </a:moveTo>
                      <a:cubicBezTo>
                        <a:pt x="19173" y="12507"/>
                        <a:pt x="19352" y="6705"/>
                        <a:pt x="15883" y="2937"/>
                      </a:cubicBezTo>
                      <a:cubicBezTo>
                        <a:pt x="12415" y="-771"/>
                        <a:pt x="6613" y="-1010"/>
                        <a:pt x="2905" y="2459"/>
                      </a:cubicBezTo>
                      <a:cubicBezTo>
                        <a:pt x="-803" y="5928"/>
                        <a:pt x="-982" y="11729"/>
                        <a:pt x="2487" y="15497"/>
                      </a:cubicBezTo>
                      <a:cubicBezTo>
                        <a:pt x="6015" y="19205"/>
                        <a:pt x="11817" y="19384"/>
                        <a:pt x="15465" y="15975"/>
                      </a:cubicBezTo>
                      <a:close/>
                    </a:path>
                  </a:pathLst>
                </a:custGeom>
                <a:grpFill/>
                <a:ln w="5978" cap="flat">
                  <a:noFill/>
                  <a:prstDash val="solid"/>
                  <a:miter/>
                </a:ln>
              </p:spPr>
              <p:txBody>
                <a:bodyPr rtlCol="0" anchor="ctr"/>
                <a:lstStyle/>
                <a:p>
                  <a:endParaRPr lang="en-GB"/>
                </a:p>
              </p:txBody>
            </p:sp>
          </p:grpSp>
          <p:grpSp>
            <p:nvGrpSpPr>
              <p:cNvPr id="1228" name="Graphic 3">
                <a:extLst>
                  <a:ext uri="{FF2B5EF4-FFF2-40B4-BE49-F238E27FC236}">
                    <a16:creationId xmlns:a16="http://schemas.microsoft.com/office/drawing/2014/main" id="{1407A50F-9CFE-4919-85EA-0B2A44636AA9}"/>
                  </a:ext>
                </a:extLst>
              </p:cNvPr>
              <p:cNvGrpSpPr/>
              <p:nvPr/>
            </p:nvGrpSpPr>
            <p:grpSpPr>
              <a:xfrm>
                <a:off x="4121384" y="3689836"/>
                <a:ext cx="294751" cy="31000"/>
                <a:chOff x="4121384" y="3689836"/>
                <a:chExt cx="294751" cy="31000"/>
              </a:xfrm>
              <a:grpFill/>
            </p:grpSpPr>
            <p:sp>
              <p:nvSpPr>
                <p:cNvPr id="1718" name="Vrije vorm: vorm 1717">
                  <a:extLst>
                    <a:ext uri="{FF2B5EF4-FFF2-40B4-BE49-F238E27FC236}">
                      <a16:creationId xmlns:a16="http://schemas.microsoft.com/office/drawing/2014/main" id="{E7BE299F-4AD0-4ED9-9496-BDA7754A3721}"/>
                    </a:ext>
                  </a:extLst>
                </p:cNvPr>
                <p:cNvSpPr/>
                <p:nvPr/>
              </p:nvSpPr>
              <p:spPr>
                <a:xfrm>
                  <a:off x="4130067" y="3697501"/>
                  <a:ext cx="277445" cy="15669"/>
                </a:xfrm>
                <a:custGeom>
                  <a:avLst/>
                  <a:gdLst>
                    <a:gd name="connsiteX0" fmla="*/ 277266 w 277445"/>
                    <a:gd name="connsiteY0" fmla="*/ 0 h 15669"/>
                    <a:gd name="connsiteX1" fmla="*/ 277446 w 277445"/>
                    <a:gd name="connsiteY1" fmla="*/ 3050 h 15669"/>
                    <a:gd name="connsiteX2" fmla="*/ 120 w 277445"/>
                    <a:gd name="connsiteY2" fmla="*/ 15669 h 15669"/>
                    <a:gd name="connsiteX3" fmla="*/ 0 w 277445"/>
                    <a:gd name="connsiteY3" fmla="*/ 12619 h 15669"/>
                  </a:gdLst>
                  <a:ahLst/>
                  <a:cxnLst>
                    <a:cxn ang="0">
                      <a:pos x="connsiteX0" y="connsiteY0"/>
                    </a:cxn>
                    <a:cxn ang="0">
                      <a:pos x="connsiteX1" y="connsiteY1"/>
                    </a:cxn>
                    <a:cxn ang="0">
                      <a:pos x="connsiteX2" y="connsiteY2"/>
                    </a:cxn>
                    <a:cxn ang="0">
                      <a:pos x="connsiteX3" y="connsiteY3"/>
                    </a:cxn>
                  </a:cxnLst>
                  <a:rect l="l" t="t" r="r" b="b"/>
                  <a:pathLst>
                    <a:path w="277445" h="15669">
                      <a:moveTo>
                        <a:pt x="277266" y="0"/>
                      </a:moveTo>
                      <a:lnTo>
                        <a:pt x="277446" y="3050"/>
                      </a:lnTo>
                      <a:lnTo>
                        <a:pt x="120" y="15669"/>
                      </a:lnTo>
                      <a:lnTo>
                        <a:pt x="0" y="12619"/>
                      </a:lnTo>
                      <a:close/>
                    </a:path>
                  </a:pathLst>
                </a:custGeom>
                <a:grpFill/>
                <a:ln w="5978" cap="flat">
                  <a:noFill/>
                  <a:prstDash val="solid"/>
                  <a:miter/>
                </a:ln>
              </p:spPr>
              <p:txBody>
                <a:bodyPr rtlCol="0" anchor="ctr"/>
                <a:lstStyle/>
                <a:p>
                  <a:endParaRPr lang="en-GB"/>
                </a:p>
              </p:txBody>
            </p:sp>
            <p:sp>
              <p:nvSpPr>
                <p:cNvPr id="1719" name="Vrije vorm: vorm 1718">
                  <a:extLst>
                    <a:ext uri="{FF2B5EF4-FFF2-40B4-BE49-F238E27FC236}">
                      <a16:creationId xmlns:a16="http://schemas.microsoft.com/office/drawing/2014/main" id="{C4C54FAA-9937-4BAC-B333-7E0AD5D50C3A}"/>
                    </a:ext>
                  </a:extLst>
                </p:cNvPr>
                <p:cNvSpPr/>
                <p:nvPr/>
              </p:nvSpPr>
              <p:spPr>
                <a:xfrm>
                  <a:off x="4397758" y="3689836"/>
                  <a:ext cx="18377" cy="18441"/>
                </a:xfrm>
                <a:custGeom>
                  <a:avLst/>
                  <a:gdLst>
                    <a:gd name="connsiteX0" fmla="*/ 8738 w 18377"/>
                    <a:gd name="connsiteY0" fmla="*/ 10 h 18441"/>
                    <a:gd name="connsiteX1" fmla="*/ 18367 w 18377"/>
                    <a:gd name="connsiteY1" fmla="*/ 8802 h 18441"/>
                    <a:gd name="connsiteX2" fmla="*/ 9635 w 18377"/>
                    <a:gd name="connsiteY2" fmla="*/ 18431 h 18441"/>
                    <a:gd name="connsiteX3" fmla="*/ 6 w 18377"/>
                    <a:gd name="connsiteY3" fmla="*/ 9639 h 18441"/>
                    <a:gd name="connsiteX4" fmla="*/ 8738 w 18377"/>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41">
                      <a:moveTo>
                        <a:pt x="8738" y="10"/>
                      </a:moveTo>
                      <a:cubicBezTo>
                        <a:pt x="13821" y="-229"/>
                        <a:pt x="18068" y="3718"/>
                        <a:pt x="18367" y="8802"/>
                      </a:cubicBezTo>
                      <a:cubicBezTo>
                        <a:pt x="18606" y="13886"/>
                        <a:pt x="14719" y="18192"/>
                        <a:pt x="9635" y="18431"/>
                      </a:cubicBezTo>
                      <a:cubicBezTo>
                        <a:pt x="4551" y="18670"/>
                        <a:pt x="305" y="14723"/>
                        <a:pt x="6" y="9639"/>
                      </a:cubicBezTo>
                      <a:cubicBezTo>
                        <a:pt x="-173" y="4556"/>
                        <a:pt x="3714" y="250"/>
                        <a:pt x="8738" y="10"/>
                      </a:cubicBezTo>
                      <a:close/>
                    </a:path>
                  </a:pathLst>
                </a:custGeom>
                <a:grpFill/>
                <a:ln w="5978" cap="flat">
                  <a:noFill/>
                  <a:prstDash val="solid"/>
                  <a:miter/>
                </a:ln>
              </p:spPr>
              <p:txBody>
                <a:bodyPr rtlCol="0" anchor="ctr"/>
                <a:lstStyle/>
                <a:p>
                  <a:endParaRPr lang="en-GB"/>
                </a:p>
              </p:txBody>
            </p:sp>
            <p:sp>
              <p:nvSpPr>
                <p:cNvPr id="1720" name="Vrije vorm: vorm 1719">
                  <a:extLst>
                    <a:ext uri="{FF2B5EF4-FFF2-40B4-BE49-F238E27FC236}">
                      <a16:creationId xmlns:a16="http://schemas.microsoft.com/office/drawing/2014/main" id="{297E44C2-62CA-406B-8C14-47F40FFE943B}"/>
                    </a:ext>
                  </a:extLst>
                </p:cNvPr>
                <p:cNvSpPr/>
                <p:nvPr/>
              </p:nvSpPr>
              <p:spPr>
                <a:xfrm>
                  <a:off x="4121384" y="3702395"/>
                  <a:ext cx="18381" cy="18441"/>
                </a:xfrm>
                <a:custGeom>
                  <a:avLst/>
                  <a:gdLst>
                    <a:gd name="connsiteX0" fmla="*/ 8742 w 18381"/>
                    <a:gd name="connsiteY0" fmla="*/ 10 h 18441"/>
                    <a:gd name="connsiteX1" fmla="*/ 10 w 18381"/>
                    <a:gd name="connsiteY1" fmla="*/ 9639 h 18441"/>
                    <a:gd name="connsiteX2" fmla="*/ 9640 w 18381"/>
                    <a:gd name="connsiteY2" fmla="*/ 18431 h 18441"/>
                    <a:gd name="connsiteX3" fmla="*/ 18371 w 18381"/>
                    <a:gd name="connsiteY3" fmla="*/ 8802 h 18441"/>
                    <a:gd name="connsiteX4" fmla="*/ 8742 w 1838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1">
                      <a:moveTo>
                        <a:pt x="8742" y="10"/>
                      </a:moveTo>
                      <a:cubicBezTo>
                        <a:pt x="3659" y="250"/>
                        <a:pt x="-229" y="4556"/>
                        <a:pt x="10" y="9639"/>
                      </a:cubicBezTo>
                      <a:cubicBezTo>
                        <a:pt x="250" y="14723"/>
                        <a:pt x="4556" y="18670"/>
                        <a:pt x="9640" y="18431"/>
                      </a:cubicBezTo>
                      <a:cubicBezTo>
                        <a:pt x="14663" y="18192"/>
                        <a:pt x="18611" y="13886"/>
                        <a:pt x="18371" y="8802"/>
                      </a:cubicBezTo>
                      <a:cubicBezTo>
                        <a:pt x="18132" y="3718"/>
                        <a:pt x="13826" y="-229"/>
                        <a:pt x="8742" y="10"/>
                      </a:cubicBezTo>
                      <a:close/>
                    </a:path>
                  </a:pathLst>
                </a:custGeom>
                <a:grpFill/>
                <a:ln w="5978" cap="flat">
                  <a:noFill/>
                  <a:prstDash val="solid"/>
                  <a:miter/>
                </a:ln>
              </p:spPr>
              <p:txBody>
                <a:bodyPr rtlCol="0" anchor="ctr"/>
                <a:lstStyle/>
                <a:p>
                  <a:endParaRPr lang="en-GB"/>
                </a:p>
              </p:txBody>
            </p:sp>
          </p:grpSp>
          <p:grpSp>
            <p:nvGrpSpPr>
              <p:cNvPr id="1229" name="Graphic 3">
                <a:extLst>
                  <a:ext uri="{FF2B5EF4-FFF2-40B4-BE49-F238E27FC236}">
                    <a16:creationId xmlns:a16="http://schemas.microsoft.com/office/drawing/2014/main" id="{C236026F-7780-4A0A-885E-60BB737D276A}"/>
                  </a:ext>
                </a:extLst>
              </p:cNvPr>
              <p:cNvGrpSpPr/>
              <p:nvPr/>
            </p:nvGrpSpPr>
            <p:grpSpPr>
              <a:xfrm>
                <a:off x="4348113" y="4003472"/>
                <a:ext cx="27234" cy="21574"/>
                <a:chOff x="4348113" y="4003472"/>
                <a:chExt cx="27234" cy="21574"/>
              </a:xfrm>
              <a:grpFill/>
            </p:grpSpPr>
            <p:sp>
              <p:nvSpPr>
                <p:cNvPr id="1716" name="Vrije vorm: vorm 1715">
                  <a:extLst>
                    <a:ext uri="{FF2B5EF4-FFF2-40B4-BE49-F238E27FC236}">
                      <a16:creationId xmlns:a16="http://schemas.microsoft.com/office/drawing/2014/main" id="{949E9F19-5F6E-4408-96BD-0BD91EEBAD58}"/>
                    </a:ext>
                  </a:extLst>
                </p:cNvPr>
                <p:cNvSpPr/>
                <p:nvPr/>
              </p:nvSpPr>
              <p:spPr>
                <a:xfrm>
                  <a:off x="4348113" y="4006605"/>
                  <a:ext cx="18359" cy="18440"/>
                </a:xfrm>
                <a:custGeom>
                  <a:avLst/>
                  <a:gdLst>
                    <a:gd name="connsiteX0" fmla="*/ 6112 w 18359"/>
                    <a:gd name="connsiteY0" fmla="*/ 518 h 18440"/>
                    <a:gd name="connsiteX1" fmla="*/ 17834 w 18359"/>
                    <a:gd name="connsiteY1" fmla="*/ 6200 h 18440"/>
                    <a:gd name="connsiteX2" fmla="*/ 12272 w 18359"/>
                    <a:gd name="connsiteY2" fmla="*/ 17922 h 18440"/>
                    <a:gd name="connsiteX3" fmla="*/ 549 w 18359"/>
                    <a:gd name="connsiteY3" fmla="*/ 12241 h 18440"/>
                    <a:gd name="connsiteX4" fmla="*/ 6112 w 18359"/>
                    <a:gd name="connsiteY4" fmla="*/ 518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40">
                      <a:moveTo>
                        <a:pt x="6112" y="518"/>
                      </a:moveTo>
                      <a:cubicBezTo>
                        <a:pt x="10896" y="-1156"/>
                        <a:pt x="16099" y="1356"/>
                        <a:pt x="17834" y="6200"/>
                      </a:cubicBezTo>
                      <a:cubicBezTo>
                        <a:pt x="19509" y="10984"/>
                        <a:pt x="17056" y="16248"/>
                        <a:pt x="12272" y="17922"/>
                      </a:cubicBezTo>
                      <a:cubicBezTo>
                        <a:pt x="7487" y="19597"/>
                        <a:pt x="2284" y="17085"/>
                        <a:pt x="549" y="12241"/>
                      </a:cubicBezTo>
                      <a:cubicBezTo>
                        <a:pt x="-1185" y="7456"/>
                        <a:pt x="1327" y="2193"/>
                        <a:pt x="6112" y="518"/>
                      </a:cubicBezTo>
                      <a:close/>
                    </a:path>
                  </a:pathLst>
                </a:custGeom>
                <a:grpFill/>
                <a:ln w="5978" cap="flat">
                  <a:noFill/>
                  <a:prstDash val="solid"/>
                  <a:miter/>
                </a:ln>
              </p:spPr>
              <p:txBody>
                <a:bodyPr rtlCol="0" anchor="ctr"/>
                <a:lstStyle/>
                <a:p>
                  <a:endParaRPr lang="en-GB"/>
                </a:p>
              </p:txBody>
            </p:sp>
            <p:sp>
              <p:nvSpPr>
                <p:cNvPr id="1717" name="Vrije vorm: vorm 1716">
                  <a:extLst>
                    <a:ext uri="{FF2B5EF4-FFF2-40B4-BE49-F238E27FC236}">
                      <a16:creationId xmlns:a16="http://schemas.microsoft.com/office/drawing/2014/main" id="{E552274C-7E35-4CA4-8492-4FC6D31C7AF1}"/>
                    </a:ext>
                  </a:extLst>
                </p:cNvPr>
                <p:cNvSpPr/>
                <p:nvPr/>
              </p:nvSpPr>
              <p:spPr>
                <a:xfrm>
                  <a:off x="4356964" y="4003472"/>
                  <a:ext cx="18383" cy="18457"/>
                </a:xfrm>
                <a:custGeom>
                  <a:avLst/>
                  <a:gdLst>
                    <a:gd name="connsiteX0" fmla="*/ 6112 w 18383"/>
                    <a:gd name="connsiteY0" fmla="*/ 542 h 18457"/>
                    <a:gd name="connsiteX1" fmla="*/ 550 w 18383"/>
                    <a:gd name="connsiteY1" fmla="*/ 12264 h 18457"/>
                    <a:gd name="connsiteX2" fmla="*/ 12272 w 18383"/>
                    <a:gd name="connsiteY2" fmla="*/ 17946 h 18457"/>
                    <a:gd name="connsiteX3" fmla="*/ 17834 w 18383"/>
                    <a:gd name="connsiteY3" fmla="*/ 6223 h 18457"/>
                    <a:gd name="connsiteX4" fmla="*/ 6112 w 18383"/>
                    <a:gd name="connsiteY4" fmla="*/ 54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57">
                      <a:moveTo>
                        <a:pt x="6112" y="542"/>
                      </a:moveTo>
                      <a:cubicBezTo>
                        <a:pt x="1327" y="2216"/>
                        <a:pt x="-1185" y="7479"/>
                        <a:pt x="550" y="12264"/>
                      </a:cubicBezTo>
                      <a:cubicBezTo>
                        <a:pt x="2224" y="17048"/>
                        <a:pt x="7487" y="19620"/>
                        <a:pt x="12272" y="17946"/>
                      </a:cubicBezTo>
                      <a:cubicBezTo>
                        <a:pt x="17056" y="16271"/>
                        <a:pt x="19568" y="11008"/>
                        <a:pt x="17834" y="6223"/>
                      </a:cubicBezTo>
                      <a:cubicBezTo>
                        <a:pt x="16099" y="1379"/>
                        <a:pt x="10896" y="-1193"/>
                        <a:pt x="6112" y="542"/>
                      </a:cubicBezTo>
                      <a:close/>
                    </a:path>
                  </a:pathLst>
                </a:custGeom>
                <a:grpFill/>
                <a:ln w="5978" cap="flat">
                  <a:noFill/>
                  <a:prstDash val="solid"/>
                  <a:miter/>
                </a:ln>
              </p:spPr>
              <p:txBody>
                <a:bodyPr rtlCol="0" anchor="ctr"/>
                <a:lstStyle/>
                <a:p>
                  <a:endParaRPr lang="en-GB"/>
                </a:p>
              </p:txBody>
            </p:sp>
          </p:grpSp>
          <p:grpSp>
            <p:nvGrpSpPr>
              <p:cNvPr id="1230" name="Graphic 3">
                <a:extLst>
                  <a:ext uri="{FF2B5EF4-FFF2-40B4-BE49-F238E27FC236}">
                    <a16:creationId xmlns:a16="http://schemas.microsoft.com/office/drawing/2014/main" id="{DF38735B-C407-43D4-AB4A-030B83545D11}"/>
                  </a:ext>
                </a:extLst>
              </p:cNvPr>
              <p:cNvGrpSpPr/>
              <p:nvPr/>
            </p:nvGrpSpPr>
            <p:grpSpPr>
              <a:xfrm>
                <a:off x="4017021" y="3487568"/>
                <a:ext cx="349175" cy="35606"/>
                <a:chOff x="4017021" y="3487568"/>
                <a:chExt cx="349175" cy="35606"/>
              </a:xfrm>
              <a:grpFill/>
            </p:grpSpPr>
            <p:sp>
              <p:nvSpPr>
                <p:cNvPr id="1713" name="Vrije vorm: vorm 1712">
                  <a:extLst>
                    <a:ext uri="{FF2B5EF4-FFF2-40B4-BE49-F238E27FC236}">
                      <a16:creationId xmlns:a16="http://schemas.microsoft.com/office/drawing/2014/main" id="{2CE050F5-FD5B-41B4-A25B-81965ECB637B}"/>
                    </a:ext>
                  </a:extLst>
                </p:cNvPr>
                <p:cNvSpPr/>
                <p:nvPr/>
              </p:nvSpPr>
              <p:spPr>
                <a:xfrm>
                  <a:off x="4025643" y="3495233"/>
                  <a:ext cx="331870" cy="20274"/>
                </a:xfrm>
                <a:custGeom>
                  <a:avLst/>
                  <a:gdLst>
                    <a:gd name="connsiteX0" fmla="*/ 331870 w 331870"/>
                    <a:gd name="connsiteY0" fmla="*/ 17225 h 20274"/>
                    <a:gd name="connsiteX1" fmla="*/ 331751 w 331870"/>
                    <a:gd name="connsiteY1" fmla="*/ 20275 h 20274"/>
                    <a:gd name="connsiteX2" fmla="*/ 0 w 331870"/>
                    <a:gd name="connsiteY2" fmla="*/ 3050 h 20274"/>
                    <a:gd name="connsiteX3" fmla="*/ 119 w 331870"/>
                    <a:gd name="connsiteY3" fmla="*/ 0 h 20274"/>
                  </a:gdLst>
                  <a:ahLst/>
                  <a:cxnLst>
                    <a:cxn ang="0">
                      <a:pos x="connsiteX0" y="connsiteY0"/>
                    </a:cxn>
                    <a:cxn ang="0">
                      <a:pos x="connsiteX1" y="connsiteY1"/>
                    </a:cxn>
                    <a:cxn ang="0">
                      <a:pos x="connsiteX2" y="connsiteY2"/>
                    </a:cxn>
                    <a:cxn ang="0">
                      <a:pos x="connsiteX3" y="connsiteY3"/>
                    </a:cxn>
                  </a:cxnLst>
                  <a:rect l="l" t="t" r="r" b="b"/>
                  <a:pathLst>
                    <a:path w="331870" h="20274">
                      <a:moveTo>
                        <a:pt x="331870" y="17225"/>
                      </a:moveTo>
                      <a:lnTo>
                        <a:pt x="331751" y="20275"/>
                      </a:lnTo>
                      <a:lnTo>
                        <a:pt x="0" y="3050"/>
                      </a:lnTo>
                      <a:lnTo>
                        <a:pt x="119" y="0"/>
                      </a:lnTo>
                      <a:close/>
                    </a:path>
                  </a:pathLst>
                </a:custGeom>
                <a:grpFill/>
                <a:ln w="5978" cap="flat">
                  <a:noFill/>
                  <a:prstDash val="solid"/>
                  <a:miter/>
                </a:ln>
              </p:spPr>
              <p:txBody>
                <a:bodyPr rtlCol="0" anchor="ctr"/>
                <a:lstStyle/>
                <a:p>
                  <a:endParaRPr lang="en-GB"/>
                </a:p>
              </p:txBody>
            </p:sp>
            <p:sp>
              <p:nvSpPr>
                <p:cNvPr id="1714" name="Vrije vorm: vorm 1713">
                  <a:extLst>
                    <a:ext uri="{FF2B5EF4-FFF2-40B4-BE49-F238E27FC236}">
                      <a16:creationId xmlns:a16="http://schemas.microsoft.com/office/drawing/2014/main" id="{87D3761B-9EBD-4637-9EBB-77E9B2B2334C}"/>
                    </a:ext>
                  </a:extLst>
                </p:cNvPr>
                <p:cNvSpPr/>
                <p:nvPr/>
              </p:nvSpPr>
              <p:spPr>
                <a:xfrm>
                  <a:off x="4347874" y="3504732"/>
                  <a:ext cx="18321" cy="18441"/>
                </a:xfrm>
                <a:custGeom>
                  <a:avLst/>
                  <a:gdLst>
                    <a:gd name="connsiteX0" fmla="*/ 9580 w 18321"/>
                    <a:gd name="connsiteY0" fmla="*/ 10 h 18441"/>
                    <a:gd name="connsiteX1" fmla="*/ 18311 w 18321"/>
                    <a:gd name="connsiteY1" fmla="*/ 9699 h 18441"/>
                    <a:gd name="connsiteX2" fmla="*/ 8742 w 18321"/>
                    <a:gd name="connsiteY2" fmla="*/ 18431 h 18441"/>
                    <a:gd name="connsiteX3" fmla="*/ 10 w 18321"/>
                    <a:gd name="connsiteY3" fmla="*/ 8742 h 18441"/>
                    <a:gd name="connsiteX4" fmla="*/ 9580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80" y="10"/>
                      </a:moveTo>
                      <a:cubicBezTo>
                        <a:pt x="14603" y="250"/>
                        <a:pt x="18551" y="4616"/>
                        <a:pt x="18311" y="9699"/>
                      </a:cubicBezTo>
                      <a:cubicBezTo>
                        <a:pt x="18072" y="14783"/>
                        <a:pt x="13766" y="18670"/>
                        <a:pt x="8742" y="18431"/>
                      </a:cubicBezTo>
                      <a:cubicBezTo>
                        <a:pt x="3659" y="18192"/>
                        <a:pt x="-229" y="13826"/>
                        <a:pt x="10" y="8742"/>
                      </a:cubicBezTo>
                      <a:cubicBezTo>
                        <a:pt x="250" y="3659"/>
                        <a:pt x="4496" y="-229"/>
                        <a:pt x="9580" y="10"/>
                      </a:cubicBezTo>
                      <a:close/>
                    </a:path>
                  </a:pathLst>
                </a:custGeom>
                <a:grpFill/>
                <a:ln w="5978" cap="flat">
                  <a:noFill/>
                  <a:prstDash val="solid"/>
                  <a:miter/>
                </a:ln>
              </p:spPr>
              <p:txBody>
                <a:bodyPr rtlCol="0" anchor="ctr"/>
                <a:lstStyle/>
                <a:p>
                  <a:endParaRPr lang="en-GB"/>
                </a:p>
              </p:txBody>
            </p:sp>
            <p:sp>
              <p:nvSpPr>
                <p:cNvPr id="1715" name="Vrije vorm: vorm 1714">
                  <a:extLst>
                    <a:ext uri="{FF2B5EF4-FFF2-40B4-BE49-F238E27FC236}">
                      <a16:creationId xmlns:a16="http://schemas.microsoft.com/office/drawing/2014/main" id="{4DCFAE39-CC4F-4DEE-AD7A-C99B536D2D9F}"/>
                    </a:ext>
                  </a:extLst>
                </p:cNvPr>
                <p:cNvSpPr/>
                <p:nvPr/>
              </p:nvSpPr>
              <p:spPr>
                <a:xfrm>
                  <a:off x="4017021" y="3487568"/>
                  <a:ext cx="18321" cy="18441"/>
                </a:xfrm>
                <a:custGeom>
                  <a:avLst/>
                  <a:gdLst>
                    <a:gd name="connsiteX0" fmla="*/ 9580 w 18321"/>
                    <a:gd name="connsiteY0" fmla="*/ 10 h 18441"/>
                    <a:gd name="connsiteX1" fmla="*/ 10 w 18321"/>
                    <a:gd name="connsiteY1" fmla="*/ 8742 h 18441"/>
                    <a:gd name="connsiteX2" fmla="*/ 8742 w 18321"/>
                    <a:gd name="connsiteY2" fmla="*/ 18431 h 18441"/>
                    <a:gd name="connsiteX3" fmla="*/ 18311 w 18321"/>
                    <a:gd name="connsiteY3" fmla="*/ 9699 h 18441"/>
                    <a:gd name="connsiteX4" fmla="*/ 9580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80" y="10"/>
                      </a:moveTo>
                      <a:cubicBezTo>
                        <a:pt x="4496" y="-229"/>
                        <a:pt x="250" y="3659"/>
                        <a:pt x="10" y="8742"/>
                      </a:cubicBezTo>
                      <a:cubicBezTo>
                        <a:pt x="-229" y="13826"/>
                        <a:pt x="3659" y="18132"/>
                        <a:pt x="8742" y="18431"/>
                      </a:cubicBezTo>
                      <a:cubicBezTo>
                        <a:pt x="13826" y="18670"/>
                        <a:pt x="18072" y="14783"/>
                        <a:pt x="18311" y="9699"/>
                      </a:cubicBezTo>
                      <a:cubicBezTo>
                        <a:pt x="18551" y="4616"/>
                        <a:pt x="14663" y="250"/>
                        <a:pt x="9580" y="10"/>
                      </a:cubicBezTo>
                      <a:close/>
                    </a:path>
                  </a:pathLst>
                </a:custGeom>
                <a:grpFill/>
                <a:ln w="5978" cap="flat">
                  <a:noFill/>
                  <a:prstDash val="solid"/>
                  <a:miter/>
                </a:ln>
              </p:spPr>
              <p:txBody>
                <a:bodyPr rtlCol="0" anchor="ctr"/>
                <a:lstStyle/>
                <a:p>
                  <a:endParaRPr lang="en-GB"/>
                </a:p>
              </p:txBody>
            </p:sp>
          </p:grpSp>
          <p:grpSp>
            <p:nvGrpSpPr>
              <p:cNvPr id="1231" name="Graphic 3">
                <a:extLst>
                  <a:ext uri="{FF2B5EF4-FFF2-40B4-BE49-F238E27FC236}">
                    <a16:creationId xmlns:a16="http://schemas.microsoft.com/office/drawing/2014/main" id="{D20615E2-A495-4D11-854A-D5CF976B01D6}"/>
                  </a:ext>
                </a:extLst>
              </p:cNvPr>
              <p:cNvGrpSpPr/>
              <p:nvPr/>
            </p:nvGrpSpPr>
            <p:grpSpPr>
              <a:xfrm>
                <a:off x="4564564" y="4666511"/>
                <a:ext cx="47551" cy="43768"/>
                <a:chOff x="4564564" y="4666511"/>
                <a:chExt cx="47551" cy="43768"/>
              </a:xfrm>
              <a:grpFill/>
            </p:grpSpPr>
            <p:sp>
              <p:nvSpPr>
                <p:cNvPr id="1710" name="Vrije vorm: vorm 1709">
                  <a:extLst>
                    <a:ext uri="{FF2B5EF4-FFF2-40B4-BE49-F238E27FC236}">
                      <a16:creationId xmlns:a16="http://schemas.microsoft.com/office/drawing/2014/main" id="{9588FA08-66EF-48B0-8A37-C0CB8F4CF553}"/>
                    </a:ext>
                  </a:extLst>
                </p:cNvPr>
                <p:cNvSpPr/>
                <p:nvPr/>
              </p:nvSpPr>
              <p:spPr>
                <a:xfrm>
                  <a:off x="4572341" y="4674273"/>
                  <a:ext cx="31996" cy="28289"/>
                </a:xfrm>
                <a:custGeom>
                  <a:avLst/>
                  <a:gdLst>
                    <a:gd name="connsiteX0" fmla="*/ 31997 w 31996"/>
                    <a:gd name="connsiteY0" fmla="*/ 2273 h 28289"/>
                    <a:gd name="connsiteX1" fmla="*/ 2034 w 31996"/>
                    <a:gd name="connsiteY1" fmla="*/ 28289 h 28289"/>
                    <a:gd name="connsiteX2" fmla="*/ 0 w 31996"/>
                    <a:gd name="connsiteY2" fmla="*/ 25956 h 28289"/>
                    <a:gd name="connsiteX3" fmla="*/ 29963 w 31996"/>
                    <a:gd name="connsiteY3" fmla="*/ 0 h 28289"/>
                  </a:gdLst>
                  <a:ahLst/>
                  <a:cxnLst>
                    <a:cxn ang="0">
                      <a:pos x="connsiteX0" y="connsiteY0"/>
                    </a:cxn>
                    <a:cxn ang="0">
                      <a:pos x="connsiteX1" y="connsiteY1"/>
                    </a:cxn>
                    <a:cxn ang="0">
                      <a:pos x="connsiteX2" y="connsiteY2"/>
                    </a:cxn>
                    <a:cxn ang="0">
                      <a:pos x="connsiteX3" y="connsiteY3"/>
                    </a:cxn>
                  </a:cxnLst>
                  <a:rect l="l" t="t" r="r" b="b"/>
                  <a:pathLst>
                    <a:path w="31996" h="28289">
                      <a:moveTo>
                        <a:pt x="31997" y="2273"/>
                      </a:moveTo>
                      <a:lnTo>
                        <a:pt x="2034" y="28289"/>
                      </a:lnTo>
                      <a:lnTo>
                        <a:pt x="0" y="25956"/>
                      </a:lnTo>
                      <a:lnTo>
                        <a:pt x="29963" y="0"/>
                      </a:lnTo>
                      <a:close/>
                    </a:path>
                  </a:pathLst>
                </a:custGeom>
                <a:grpFill/>
                <a:ln w="5978" cap="flat">
                  <a:noFill/>
                  <a:prstDash val="solid"/>
                  <a:miter/>
                </a:ln>
              </p:spPr>
              <p:txBody>
                <a:bodyPr rtlCol="0" anchor="ctr"/>
                <a:lstStyle/>
                <a:p>
                  <a:endParaRPr lang="en-GB"/>
                </a:p>
              </p:txBody>
            </p:sp>
            <p:sp>
              <p:nvSpPr>
                <p:cNvPr id="1711" name="Vrije vorm: vorm 1710">
                  <a:extLst>
                    <a:ext uri="{FF2B5EF4-FFF2-40B4-BE49-F238E27FC236}">
                      <a16:creationId xmlns:a16="http://schemas.microsoft.com/office/drawing/2014/main" id="{2939480B-D846-4052-B518-0090748A9380}"/>
                    </a:ext>
                  </a:extLst>
                </p:cNvPr>
                <p:cNvSpPr/>
                <p:nvPr/>
              </p:nvSpPr>
              <p:spPr>
                <a:xfrm>
                  <a:off x="4564564" y="4691914"/>
                  <a:ext cx="18305" cy="18365"/>
                </a:xfrm>
                <a:custGeom>
                  <a:avLst/>
                  <a:gdLst>
                    <a:gd name="connsiteX0" fmla="*/ 15133 w 18305"/>
                    <a:gd name="connsiteY0" fmla="*/ 16150 h 18365"/>
                    <a:gd name="connsiteX1" fmla="*/ 2215 w 18305"/>
                    <a:gd name="connsiteY1" fmla="*/ 15194 h 18365"/>
                    <a:gd name="connsiteX2" fmla="*/ 3172 w 18305"/>
                    <a:gd name="connsiteY2" fmla="*/ 2215 h 18365"/>
                    <a:gd name="connsiteX3" fmla="*/ 16091 w 18305"/>
                    <a:gd name="connsiteY3" fmla="*/ 3172 h 18365"/>
                    <a:gd name="connsiteX4" fmla="*/ 15133 w 18305"/>
                    <a:gd name="connsiteY4" fmla="*/ 1615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365">
                      <a:moveTo>
                        <a:pt x="15133" y="16150"/>
                      </a:moveTo>
                      <a:cubicBezTo>
                        <a:pt x="11306" y="19440"/>
                        <a:pt x="5505" y="19021"/>
                        <a:pt x="2215" y="15194"/>
                      </a:cubicBezTo>
                      <a:cubicBezTo>
                        <a:pt x="-1074" y="11306"/>
                        <a:pt x="-655" y="5505"/>
                        <a:pt x="3172" y="2215"/>
                      </a:cubicBezTo>
                      <a:cubicBezTo>
                        <a:pt x="7000" y="-1074"/>
                        <a:pt x="12801" y="-655"/>
                        <a:pt x="16091" y="3172"/>
                      </a:cubicBezTo>
                      <a:cubicBezTo>
                        <a:pt x="19380" y="7000"/>
                        <a:pt x="18961" y="12861"/>
                        <a:pt x="15133" y="16150"/>
                      </a:cubicBezTo>
                      <a:close/>
                    </a:path>
                  </a:pathLst>
                </a:custGeom>
                <a:grpFill/>
                <a:ln w="5978" cap="flat">
                  <a:noFill/>
                  <a:prstDash val="solid"/>
                  <a:miter/>
                </a:ln>
              </p:spPr>
              <p:txBody>
                <a:bodyPr rtlCol="0" anchor="ctr"/>
                <a:lstStyle/>
                <a:p>
                  <a:endParaRPr lang="en-GB"/>
                </a:p>
              </p:txBody>
            </p:sp>
            <p:sp>
              <p:nvSpPr>
                <p:cNvPr id="1712" name="Vrije vorm: vorm 1711">
                  <a:extLst>
                    <a:ext uri="{FF2B5EF4-FFF2-40B4-BE49-F238E27FC236}">
                      <a16:creationId xmlns:a16="http://schemas.microsoft.com/office/drawing/2014/main" id="{18731D44-9F5A-4397-823A-F49DBCB9CC6D}"/>
                    </a:ext>
                  </a:extLst>
                </p:cNvPr>
                <p:cNvSpPr/>
                <p:nvPr/>
              </p:nvSpPr>
              <p:spPr>
                <a:xfrm>
                  <a:off x="4593819" y="4666511"/>
                  <a:ext cx="18296" cy="18410"/>
                </a:xfrm>
                <a:custGeom>
                  <a:avLst/>
                  <a:gdLst>
                    <a:gd name="connsiteX0" fmla="*/ 15124 w 18296"/>
                    <a:gd name="connsiteY0" fmla="*/ 16195 h 18410"/>
                    <a:gd name="connsiteX1" fmla="*/ 16081 w 18296"/>
                    <a:gd name="connsiteY1" fmla="*/ 3217 h 18410"/>
                    <a:gd name="connsiteX2" fmla="*/ 3163 w 18296"/>
                    <a:gd name="connsiteY2" fmla="*/ 2260 h 18410"/>
                    <a:gd name="connsiteX3" fmla="*/ 2266 w 18296"/>
                    <a:gd name="connsiteY3" fmla="*/ 15238 h 18410"/>
                    <a:gd name="connsiteX4" fmla="*/ 15124 w 18296"/>
                    <a:gd name="connsiteY4" fmla="*/ 16195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0">
                      <a:moveTo>
                        <a:pt x="15124" y="16195"/>
                      </a:moveTo>
                      <a:cubicBezTo>
                        <a:pt x="18952" y="12906"/>
                        <a:pt x="19370" y="7044"/>
                        <a:pt x="16081" y="3217"/>
                      </a:cubicBezTo>
                      <a:cubicBezTo>
                        <a:pt x="12791" y="-671"/>
                        <a:pt x="6990" y="-1089"/>
                        <a:pt x="3163" y="2260"/>
                      </a:cubicBezTo>
                      <a:cubicBezTo>
                        <a:pt x="-665" y="5549"/>
                        <a:pt x="-1084" y="11410"/>
                        <a:pt x="2266" y="15238"/>
                      </a:cubicBezTo>
                      <a:cubicBezTo>
                        <a:pt x="5555" y="19066"/>
                        <a:pt x="11296" y="19484"/>
                        <a:pt x="15124" y="16195"/>
                      </a:cubicBezTo>
                      <a:close/>
                    </a:path>
                  </a:pathLst>
                </a:custGeom>
                <a:grpFill/>
                <a:ln w="5978" cap="flat">
                  <a:noFill/>
                  <a:prstDash val="solid"/>
                  <a:miter/>
                </a:ln>
              </p:spPr>
              <p:txBody>
                <a:bodyPr rtlCol="0" anchor="ctr"/>
                <a:lstStyle/>
                <a:p>
                  <a:endParaRPr lang="en-GB"/>
                </a:p>
              </p:txBody>
            </p:sp>
          </p:grpSp>
          <p:grpSp>
            <p:nvGrpSpPr>
              <p:cNvPr id="1232" name="Graphic 3">
                <a:extLst>
                  <a:ext uri="{FF2B5EF4-FFF2-40B4-BE49-F238E27FC236}">
                    <a16:creationId xmlns:a16="http://schemas.microsoft.com/office/drawing/2014/main" id="{BA6319E4-8967-4001-A039-D8A544EC6727}"/>
                  </a:ext>
                </a:extLst>
              </p:cNvPr>
              <p:cNvGrpSpPr/>
              <p:nvPr/>
            </p:nvGrpSpPr>
            <p:grpSpPr>
              <a:xfrm>
                <a:off x="4239287" y="4023487"/>
                <a:ext cx="264781" cy="79412"/>
                <a:chOff x="4239287" y="4023487"/>
                <a:chExt cx="264781" cy="79412"/>
              </a:xfrm>
              <a:grpFill/>
            </p:grpSpPr>
            <p:sp>
              <p:nvSpPr>
                <p:cNvPr id="1707" name="Vrije vorm: vorm 1706">
                  <a:extLst>
                    <a:ext uri="{FF2B5EF4-FFF2-40B4-BE49-F238E27FC236}">
                      <a16:creationId xmlns:a16="http://schemas.microsoft.com/office/drawing/2014/main" id="{48D87F57-207D-4FB5-93D3-EA0F887A8735}"/>
                    </a:ext>
                  </a:extLst>
                </p:cNvPr>
                <p:cNvSpPr/>
                <p:nvPr/>
              </p:nvSpPr>
              <p:spPr>
                <a:xfrm>
                  <a:off x="4247554" y="4030997"/>
                  <a:ext cx="247997" cy="64361"/>
                </a:xfrm>
                <a:custGeom>
                  <a:avLst/>
                  <a:gdLst>
                    <a:gd name="connsiteX0" fmla="*/ 0 w 247997"/>
                    <a:gd name="connsiteY0" fmla="*/ 61402 h 64361"/>
                    <a:gd name="connsiteX1" fmla="*/ 247263 w 247997"/>
                    <a:gd name="connsiteY1" fmla="*/ 0 h 64361"/>
                    <a:gd name="connsiteX2" fmla="*/ 247998 w 247997"/>
                    <a:gd name="connsiteY2" fmla="*/ 2960 h 64361"/>
                    <a:gd name="connsiteX3" fmla="*/ 735 w 247997"/>
                    <a:gd name="connsiteY3" fmla="*/ 64362 h 64361"/>
                  </a:gdLst>
                  <a:ahLst/>
                  <a:cxnLst>
                    <a:cxn ang="0">
                      <a:pos x="connsiteX0" y="connsiteY0"/>
                    </a:cxn>
                    <a:cxn ang="0">
                      <a:pos x="connsiteX1" y="connsiteY1"/>
                    </a:cxn>
                    <a:cxn ang="0">
                      <a:pos x="connsiteX2" y="connsiteY2"/>
                    </a:cxn>
                    <a:cxn ang="0">
                      <a:pos x="connsiteX3" y="connsiteY3"/>
                    </a:cxn>
                  </a:cxnLst>
                  <a:rect l="l" t="t" r="r" b="b"/>
                  <a:pathLst>
                    <a:path w="247997" h="64361">
                      <a:moveTo>
                        <a:pt x="0" y="61402"/>
                      </a:moveTo>
                      <a:lnTo>
                        <a:pt x="247263" y="0"/>
                      </a:lnTo>
                      <a:lnTo>
                        <a:pt x="247998" y="2960"/>
                      </a:lnTo>
                      <a:lnTo>
                        <a:pt x="735" y="64362"/>
                      </a:lnTo>
                      <a:close/>
                    </a:path>
                  </a:pathLst>
                </a:custGeom>
                <a:grpFill/>
                <a:ln w="5978" cap="flat">
                  <a:noFill/>
                  <a:prstDash val="solid"/>
                  <a:miter/>
                </a:ln>
              </p:spPr>
              <p:txBody>
                <a:bodyPr rtlCol="0" anchor="ctr"/>
                <a:lstStyle/>
                <a:p>
                  <a:endParaRPr lang="en-GB"/>
                </a:p>
              </p:txBody>
            </p:sp>
            <p:sp>
              <p:nvSpPr>
                <p:cNvPr id="1708" name="Vrije vorm: vorm 1707">
                  <a:extLst>
                    <a:ext uri="{FF2B5EF4-FFF2-40B4-BE49-F238E27FC236}">
                      <a16:creationId xmlns:a16="http://schemas.microsoft.com/office/drawing/2014/main" id="{C78B5FEB-854A-42E2-8B0A-0766844BDB06}"/>
                    </a:ext>
                  </a:extLst>
                </p:cNvPr>
                <p:cNvSpPr/>
                <p:nvPr/>
              </p:nvSpPr>
              <p:spPr>
                <a:xfrm>
                  <a:off x="4485753" y="4023487"/>
                  <a:ext cx="18316" cy="18408"/>
                </a:xfrm>
                <a:custGeom>
                  <a:avLst/>
                  <a:gdLst>
                    <a:gd name="connsiteX0" fmla="*/ 6925 w 18316"/>
                    <a:gd name="connsiteY0" fmla="*/ 263 h 18408"/>
                    <a:gd name="connsiteX1" fmla="*/ 18049 w 18316"/>
                    <a:gd name="connsiteY1" fmla="*/ 7021 h 18408"/>
                    <a:gd name="connsiteX2" fmla="*/ 11411 w 18316"/>
                    <a:gd name="connsiteY2" fmla="*/ 18145 h 18408"/>
                    <a:gd name="connsiteX3" fmla="*/ 287 w 18316"/>
                    <a:gd name="connsiteY3" fmla="*/ 11387 h 18408"/>
                    <a:gd name="connsiteX4" fmla="*/ 6925 w 18316"/>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8">
                      <a:moveTo>
                        <a:pt x="6925" y="263"/>
                      </a:moveTo>
                      <a:cubicBezTo>
                        <a:pt x="11829" y="-933"/>
                        <a:pt x="16794" y="2057"/>
                        <a:pt x="18049" y="7021"/>
                      </a:cubicBezTo>
                      <a:cubicBezTo>
                        <a:pt x="19245" y="11985"/>
                        <a:pt x="16315" y="16949"/>
                        <a:pt x="11411" y="18145"/>
                      </a:cubicBezTo>
                      <a:cubicBezTo>
                        <a:pt x="6507" y="19342"/>
                        <a:pt x="1543" y="16351"/>
                        <a:pt x="287" y="11387"/>
                      </a:cubicBezTo>
                      <a:cubicBezTo>
                        <a:pt x="-969" y="6483"/>
                        <a:pt x="2021" y="1519"/>
                        <a:pt x="6925" y="263"/>
                      </a:cubicBezTo>
                      <a:close/>
                    </a:path>
                  </a:pathLst>
                </a:custGeom>
                <a:grpFill/>
                <a:ln w="5978" cap="flat">
                  <a:noFill/>
                  <a:prstDash val="solid"/>
                  <a:miter/>
                </a:ln>
              </p:spPr>
              <p:txBody>
                <a:bodyPr rtlCol="0" anchor="ctr"/>
                <a:lstStyle/>
                <a:p>
                  <a:endParaRPr lang="en-GB"/>
                </a:p>
              </p:txBody>
            </p:sp>
            <p:sp>
              <p:nvSpPr>
                <p:cNvPr id="1709" name="Vrije vorm: vorm 1708">
                  <a:extLst>
                    <a:ext uri="{FF2B5EF4-FFF2-40B4-BE49-F238E27FC236}">
                      <a16:creationId xmlns:a16="http://schemas.microsoft.com/office/drawing/2014/main" id="{45B78C61-9B50-45D7-92E5-6DE05B554616}"/>
                    </a:ext>
                  </a:extLst>
                </p:cNvPr>
                <p:cNvSpPr/>
                <p:nvPr/>
              </p:nvSpPr>
              <p:spPr>
                <a:xfrm>
                  <a:off x="4239287" y="4084490"/>
                  <a:ext cx="18336" cy="18408"/>
                </a:xfrm>
                <a:custGeom>
                  <a:avLst/>
                  <a:gdLst>
                    <a:gd name="connsiteX0" fmla="*/ 6925 w 18336"/>
                    <a:gd name="connsiteY0" fmla="*/ 263 h 18408"/>
                    <a:gd name="connsiteX1" fmla="*/ 287 w 18336"/>
                    <a:gd name="connsiteY1" fmla="*/ 11387 h 18408"/>
                    <a:gd name="connsiteX2" fmla="*/ 11411 w 18336"/>
                    <a:gd name="connsiteY2" fmla="*/ 18145 h 18408"/>
                    <a:gd name="connsiteX3" fmla="*/ 18049 w 18336"/>
                    <a:gd name="connsiteY3" fmla="*/ 7021 h 18408"/>
                    <a:gd name="connsiteX4" fmla="*/ 6925 w 18336"/>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08">
                      <a:moveTo>
                        <a:pt x="6925" y="263"/>
                      </a:moveTo>
                      <a:cubicBezTo>
                        <a:pt x="2021" y="1459"/>
                        <a:pt x="-969" y="6483"/>
                        <a:pt x="287" y="11387"/>
                      </a:cubicBezTo>
                      <a:cubicBezTo>
                        <a:pt x="1543" y="16351"/>
                        <a:pt x="6507" y="19342"/>
                        <a:pt x="11411" y="18145"/>
                      </a:cubicBezTo>
                      <a:cubicBezTo>
                        <a:pt x="16315" y="16949"/>
                        <a:pt x="19305" y="11925"/>
                        <a:pt x="18049" y="7021"/>
                      </a:cubicBezTo>
                      <a:cubicBezTo>
                        <a:pt x="16853" y="2057"/>
                        <a:pt x="11829" y="-933"/>
                        <a:pt x="6925" y="263"/>
                      </a:cubicBezTo>
                      <a:close/>
                    </a:path>
                  </a:pathLst>
                </a:custGeom>
                <a:grpFill/>
                <a:ln w="5978" cap="flat">
                  <a:noFill/>
                  <a:prstDash val="solid"/>
                  <a:miter/>
                </a:ln>
              </p:spPr>
              <p:txBody>
                <a:bodyPr rtlCol="0" anchor="ctr"/>
                <a:lstStyle/>
                <a:p>
                  <a:endParaRPr lang="en-GB"/>
                </a:p>
              </p:txBody>
            </p:sp>
          </p:grpSp>
          <p:grpSp>
            <p:nvGrpSpPr>
              <p:cNvPr id="1233" name="Graphic 3">
                <a:extLst>
                  <a:ext uri="{FF2B5EF4-FFF2-40B4-BE49-F238E27FC236}">
                    <a16:creationId xmlns:a16="http://schemas.microsoft.com/office/drawing/2014/main" id="{AD6671E1-40D6-47D7-AE83-4BC77917F9D4}"/>
                  </a:ext>
                </a:extLst>
              </p:cNvPr>
              <p:cNvGrpSpPr/>
              <p:nvPr/>
            </p:nvGrpSpPr>
            <p:grpSpPr>
              <a:xfrm>
                <a:off x="3774195" y="2567992"/>
                <a:ext cx="226586" cy="95408"/>
                <a:chOff x="3774195" y="2567992"/>
                <a:chExt cx="226586" cy="95408"/>
              </a:xfrm>
              <a:grpFill/>
            </p:grpSpPr>
            <p:sp>
              <p:nvSpPr>
                <p:cNvPr id="1704" name="Vrije vorm: vorm 1703">
                  <a:extLst>
                    <a:ext uri="{FF2B5EF4-FFF2-40B4-BE49-F238E27FC236}">
                      <a16:creationId xmlns:a16="http://schemas.microsoft.com/office/drawing/2014/main" id="{0ED74BCE-C7A5-4296-8A3E-F7DAB5FC0E2B}"/>
                    </a:ext>
                  </a:extLst>
                </p:cNvPr>
                <p:cNvSpPr/>
                <p:nvPr/>
              </p:nvSpPr>
              <p:spPr>
                <a:xfrm>
                  <a:off x="3782467" y="2575578"/>
                  <a:ext cx="210162" cy="80201"/>
                </a:xfrm>
                <a:custGeom>
                  <a:avLst/>
                  <a:gdLst>
                    <a:gd name="connsiteX0" fmla="*/ 210163 w 210162"/>
                    <a:gd name="connsiteY0" fmla="*/ 77331 h 80201"/>
                    <a:gd name="connsiteX1" fmla="*/ 209086 w 210162"/>
                    <a:gd name="connsiteY1" fmla="*/ 80201 h 80201"/>
                    <a:gd name="connsiteX2" fmla="*/ 0 w 210162"/>
                    <a:gd name="connsiteY2" fmla="*/ 2871 h 80201"/>
                    <a:gd name="connsiteX3" fmla="*/ 1017 w 210162"/>
                    <a:gd name="connsiteY3" fmla="*/ 0 h 80201"/>
                  </a:gdLst>
                  <a:ahLst/>
                  <a:cxnLst>
                    <a:cxn ang="0">
                      <a:pos x="connsiteX0" y="connsiteY0"/>
                    </a:cxn>
                    <a:cxn ang="0">
                      <a:pos x="connsiteX1" y="connsiteY1"/>
                    </a:cxn>
                    <a:cxn ang="0">
                      <a:pos x="connsiteX2" y="connsiteY2"/>
                    </a:cxn>
                    <a:cxn ang="0">
                      <a:pos x="connsiteX3" y="connsiteY3"/>
                    </a:cxn>
                  </a:cxnLst>
                  <a:rect l="l" t="t" r="r" b="b"/>
                  <a:pathLst>
                    <a:path w="210162" h="80201">
                      <a:moveTo>
                        <a:pt x="210163" y="77331"/>
                      </a:moveTo>
                      <a:lnTo>
                        <a:pt x="209086" y="80201"/>
                      </a:lnTo>
                      <a:lnTo>
                        <a:pt x="0" y="2871"/>
                      </a:lnTo>
                      <a:lnTo>
                        <a:pt x="1017" y="0"/>
                      </a:lnTo>
                      <a:close/>
                    </a:path>
                  </a:pathLst>
                </a:custGeom>
                <a:grpFill/>
                <a:ln w="5978" cap="flat">
                  <a:noFill/>
                  <a:prstDash val="solid"/>
                  <a:miter/>
                </a:ln>
              </p:spPr>
              <p:txBody>
                <a:bodyPr rtlCol="0" anchor="ctr"/>
                <a:lstStyle/>
                <a:p>
                  <a:endParaRPr lang="en-GB"/>
                </a:p>
              </p:txBody>
            </p:sp>
            <p:sp>
              <p:nvSpPr>
                <p:cNvPr id="1705" name="Vrije vorm: vorm 1704">
                  <a:extLst>
                    <a:ext uri="{FF2B5EF4-FFF2-40B4-BE49-F238E27FC236}">
                      <a16:creationId xmlns:a16="http://schemas.microsoft.com/office/drawing/2014/main" id="{BADBDEFA-240E-42E9-B169-2811FCF1E6A4}"/>
                    </a:ext>
                  </a:extLst>
                </p:cNvPr>
                <p:cNvSpPr/>
                <p:nvPr/>
              </p:nvSpPr>
              <p:spPr>
                <a:xfrm>
                  <a:off x="3774195" y="2567992"/>
                  <a:ext cx="18337" cy="18429"/>
                </a:xfrm>
                <a:custGeom>
                  <a:avLst/>
                  <a:gdLst>
                    <a:gd name="connsiteX0" fmla="*/ 6059 w 18337"/>
                    <a:gd name="connsiteY0" fmla="*/ 17872 h 18429"/>
                    <a:gd name="connsiteX1" fmla="*/ 557 w 18337"/>
                    <a:gd name="connsiteY1" fmla="*/ 6031 h 18429"/>
                    <a:gd name="connsiteX2" fmla="*/ 12279 w 18337"/>
                    <a:gd name="connsiteY2" fmla="*/ 588 h 18429"/>
                    <a:gd name="connsiteX3" fmla="*/ 17781 w 18337"/>
                    <a:gd name="connsiteY3" fmla="*/ 12430 h 18429"/>
                    <a:gd name="connsiteX4" fmla="*/ 6059 w 18337"/>
                    <a:gd name="connsiteY4" fmla="*/ 1787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29">
                      <a:moveTo>
                        <a:pt x="6059" y="17872"/>
                      </a:moveTo>
                      <a:cubicBezTo>
                        <a:pt x="1274" y="16138"/>
                        <a:pt x="-1178" y="10815"/>
                        <a:pt x="557" y="6031"/>
                      </a:cubicBezTo>
                      <a:cubicBezTo>
                        <a:pt x="2291" y="1246"/>
                        <a:pt x="7554" y="-1206"/>
                        <a:pt x="12279" y="588"/>
                      </a:cubicBezTo>
                      <a:cubicBezTo>
                        <a:pt x="17064" y="2322"/>
                        <a:pt x="19516" y="7645"/>
                        <a:pt x="17781" y="12430"/>
                      </a:cubicBezTo>
                      <a:cubicBezTo>
                        <a:pt x="16106" y="17155"/>
                        <a:pt x="10843" y="19607"/>
                        <a:pt x="6059" y="17872"/>
                      </a:cubicBezTo>
                      <a:close/>
                    </a:path>
                  </a:pathLst>
                </a:custGeom>
                <a:grpFill/>
                <a:ln w="5978" cap="flat">
                  <a:noFill/>
                  <a:prstDash val="solid"/>
                  <a:miter/>
                </a:ln>
              </p:spPr>
              <p:txBody>
                <a:bodyPr rtlCol="0" anchor="ctr"/>
                <a:lstStyle/>
                <a:p>
                  <a:endParaRPr lang="en-GB"/>
                </a:p>
              </p:txBody>
            </p:sp>
            <p:sp>
              <p:nvSpPr>
                <p:cNvPr id="1706" name="Vrije vorm: vorm 1705">
                  <a:extLst>
                    <a:ext uri="{FF2B5EF4-FFF2-40B4-BE49-F238E27FC236}">
                      <a16:creationId xmlns:a16="http://schemas.microsoft.com/office/drawing/2014/main" id="{9873F962-6517-4AD3-82A3-0BE49BC56C9B}"/>
                    </a:ext>
                  </a:extLst>
                </p:cNvPr>
                <p:cNvSpPr/>
                <p:nvPr/>
              </p:nvSpPr>
              <p:spPr>
                <a:xfrm>
                  <a:off x="3982474" y="2644988"/>
                  <a:ext cx="18307" cy="18412"/>
                </a:xfrm>
                <a:custGeom>
                  <a:avLst/>
                  <a:gdLst>
                    <a:gd name="connsiteX0" fmla="*/ 6029 w 18307"/>
                    <a:gd name="connsiteY0" fmla="*/ 17848 h 18412"/>
                    <a:gd name="connsiteX1" fmla="*/ 17751 w 18307"/>
                    <a:gd name="connsiteY1" fmla="*/ 12406 h 18412"/>
                    <a:gd name="connsiteX2" fmla="*/ 12248 w 18307"/>
                    <a:gd name="connsiteY2" fmla="*/ 564 h 18412"/>
                    <a:gd name="connsiteX3" fmla="*/ 526 w 18307"/>
                    <a:gd name="connsiteY3" fmla="*/ 6006 h 18412"/>
                    <a:gd name="connsiteX4" fmla="*/ 6029 w 18307"/>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12">
                      <a:moveTo>
                        <a:pt x="6029" y="17848"/>
                      </a:moveTo>
                      <a:cubicBezTo>
                        <a:pt x="10813" y="19583"/>
                        <a:pt x="16016" y="17190"/>
                        <a:pt x="17751" y="12406"/>
                      </a:cubicBezTo>
                      <a:cubicBezTo>
                        <a:pt x="19485" y="7621"/>
                        <a:pt x="17033" y="2358"/>
                        <a:pt x="12248" y="564"/>
                      </a:cubicBezTo>
                      <a:cubicBezTo>
                        <a:pt x="7464" y="-1170"/>
                        <a:pt x="2261" y="1222"/>
                        <a:pt x="526" y="6006"/>
                      </a:cubicBezTo>
                      <a:cubicBezTo>
                        <a:pt x="-1148" y="10791"/>
                        <a:pt x="1304" y="16114"/>
                        <a:pt x="6029" y="17848"/>
                      </a:cubicBezTo>
                      <a:close/>
                    </a:path>
                  </a:pathLst>
                </a:custGeom>
                <a:grpFill/>
                <a:ln w="5978" cap="flat">
                  <a:noFill/>
                  <a:prstDash val="solid"/>
                  <a:miter/>
                </a:ln>
              </p:spPr>
              <p:txBody>
                <a:bodyPr rtlCol="0" anchor="ctr"/>
                <a:lstStyle/>
                <a:p>
                  <a:endParaRPr lang="en-GB"/>
                </a:p>
              </p:txBody>
            </p:sp>
          </p:grpSp>
          <p:grpSp>
            <p:nvGrpSpPr>
              <p:cNvPr id="1234" name="Graphic 3">
                <a:extLst>
                  <a:ext uri="{FF2B5EF4-FFF2-40B4-BE49-F238E27FC236}">
                    <a16:creationId xmlns:a16="http://schemas.microsoft.com/office/drawing/2014/main" id="{1C157453-3830-4855-94BC-B3C3EE265801}"/>
                  </a:ext>
                </a:extLst>
              </p:cNvPr>
              <p:cNvGrpSpPr/>
              <p:nvPr/>
            </p:nvGrpSpPr>
            <p:grpSpPr>
              <a:xfrm>
                <a:off x="4724907" y="5172205"/>
                <a:ext cx="97192" cy="130331"/>
                <a:chOff x="4724907" y="5172205"/>
                <a:chExt cx="97192" cy="130331"/>
              </a:xfrm>
              <a:grpFill/>
            </p:grpSpPr>
            <p:sp>
              <p:nvSpPr>
                <p:cNvPr id="1701" name="Vrije vorm: vorm 1700">
                  <a:extLst>
                    <a:ext uri="{FF2B5EF4-FFF2-40B4-BE49-F238E27FC236}">
                      <a16:creationId xmlns:a16="http://schemas.microsoft.com/office/drawing/2014/main" id="{82C7A046-7201-4783-8F68-AD354B04EAFE}"/>
                    </a:ext>
                  </a:extLst>
                </p:cNvPr>
                <p:cNvSpPr/>
                <p:nvPr/>
              </p:nvSpPr>
              <p:spPr>
                <a:xfrm>
                  <a:off x="4732624" y="5180122"/>
                  <a:ext cx="81816" cy="114471"/>
                </a:xfrm>
                <a:custGeom>
                  <a:avLst/>
                  <a:gdLst>
                    <a:gd name="connsiteX0" fmla="*/ 81816 w 81816"/>
                    <a:gd name="connsiteY0" fmla="*/ 1794 h 114471"/>
                    <a:gd name="connsiteX1" fmla="*/ 2452 w 81816"/>
                    <a:gd name="connsiteY1" fmla="*/ 114471 h 114471"/>
                    <a:gd name="connsiteX2" fmla="*/ 0 w 81816"/>
                    <a:gd name="connsiteY2" fmla="*/ 112677 h 114471"/>
                    <a:gd name="connsiteX3" fmla="*/ 79304 w 81816"/>
                    <a:gd name="connsiteY3" fmla="*/ 0 h 114471"/>
                  </a:gdLst>
                  <a:ahLst/>
                  <a:cxnLst>
                    <a:cxn ang="0">
                      <a:pos x="connsiteX0" y="connsiteY0"/>
                    </a:cxn>
                    <a:cxn ang="0">
                      <a:pos x="connsiteX1" y="connsiteY1"/>
                    </a:cxn>
                    <a:cxn ang="0">
                      <a:pos x="connsiteX2" y="connsiteY2"/>
                    </a:cxn>
                    <a:cxn ang="0">
                      <a:pos x="connsiteX3" y="connsiteY3"/>
                    </a:cxn>
                  </a:cxnLst>
                  <a:rect l="l" t="t" r="r" b="b"/>
                  <a:pathLst>
                    <a:path w="81816" h="114471">
                      <a:moveTo>
                        <a:pt x="81816" y="1794"/>
                      </a:moveTo>
                      <a:lnTo>
                        <a:pt x="2452" y="114471"/>
                      </a:lnTo>
                      <a:lnTo>
                        <a:pt x="0" y="112677"/>
                      </a:lnTo>
                      <a:lnTo>
                        <a:pt x="79304" y="0"/>
                      </a:lnTo>
                      <a:close/>
                    </a:path>
                  </a:pathLst>
                </a:custGeom>
                <a:grpFill/>
                <a:ln w="5978" cap="flat">
                  <a:noFill/>
                  <a:prstDash val="solid"/>
                  <a:miter/>
                </a:ln>
              </p:spPr>
              <p:txBody>
                <a:bodyPr rtlCol="0" anchor="ctr"/>
                <a:lstStyle/>
                <a:p>
                  <a:endParaRPr lang="en-GB"/>
                </a:p>
              </p:txBody>
            </p:sp>
            <p:sp>
              <p:nvSpPr>
                <p:cNvPr id="1702" name="Vrije vorm: vorm 1701">
                  <a:extLst>
                    <a:ext uri="{FF2B5EF4-FFF2-40B4-BE49-F238E27FC236}">
                      <a16:creationId xmlns:a16="http://schemas.microsoft.com/office/drawing/2014/main" id="{987D902E-9F74-4ED8-A039-F535307568F1}"/>
                    </a:ext>
                  </a:extLst>
                </p:cNvPr>
                <p:cNvSpPr/>
                <p:nvPr/>
              </p:nvSpPr>
              <p:spPr>
                <a:xfrm>
                  <a:off x="4724907" y="5284104"/>
                  <a:ext cx="18366" cy="18432"/>
                </a:xfrm>
                <a:custGeom>
                  <a:avLst/>
                  <a:gdLst>
                    <a:gd name="connsiteX0" fmla="*/ 16689 w 18366"/>
                    <a:gd name="connsiteY0" fmla="*/ 14556 h 18432"/>
                    <a:gd name="connsiteX1" fmla="*/ 3890 w 18366"/>
                    <a:gd name="connsiteY1" fmla="*/ 16709 h 18432"/>
                    <a:gd name="connsiteX2" fmla="*/ 1677 w 18366"/>
                    <a:gd name="connsiteY2" fmla="*/ 3851 h 18432"/>
                    <a:gd name="connsiteX3" fmla="*/ 14476 w 18366"/>
                    <a:gd name="connsiteY3" fmla="*/ 1697 h 18432"/>
                    <a:gd name="connsiteX4" fmla="*/ 16689 w 18366"/>
                    <a:gd name="connsiteY4" fmla="*/ 1455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32">
                      <a:moveTo>
                        <a:pt x="16689" y="14556"/>
                      </a:moveTo>
                      <a:cubicBezTo>
                        <a:pt x="13758" y="18683"/>
                        <a:pt x="8077" y="19699"/>
                        <a:pt x="3890" y="16709"/>
                      </a:cubicBezTo>
                      <a:cubicBezTo>
                        <a:pt x="-236" y="13779"/>
                        <a:pt x="-1253" y="7977"/>
                        <a:pt x="1677" y="3851"/>
                      </a:cubicBezTo>
                      <a:cubicBezTo>
                        <a:pt x="4608" y="-276"/>
                        <a:pt x="10290" y="-1233"/>
                        <a:pt x="14476" y="1697"/>
                      </a:cubicBezTo>
                      <a:cubicBezTo>
                        <a:pt x="18603" y="4688"/>
                        <a:pt x="19619" y="10429"/>
                        <a:pt x="16689" y="14556"/>
                      </a:cubicBezTo>
                      <a:close/>
                    </a:path>
                  </a:pathLst>
                </a:custGeom>
                <a:grpFill/>
                <a:ln w="5978" cap="flat">
                  <a:noFill/>
                  <a:prstDash val="solid"/>
                  <a:miter/>
                </a:ln>
              </p:spPr>
              <p:txBody>
                <a:bodyPr rtlCol="0" anchor="ctr"/>
                <a:lstStyle/>
                <a:p>
                  <a:endParaRPr lang="en-GB"/>
                </a:p>
              </p:txBody>
            </p:sp>
            <p:sp>
              <p:nvSpPr>
                <p:cNvPr id="1703" name="Vrije vorm: vorm 1702">
                  <a:extLst>
                    <a:ext uri="{FF2B5EF4-FFF2-40B4-BE49-F238E27FC236}">
                      <a16:creationId xmlns:a16="http://schemas.microsoft.com/office/drawing/2014/main" id="{7C1A3A6B-A3AC-4126-94EA-37A07A0B97A4}"/>
                    </a:ext>
                  </a:extLst>
                </p:cNvPr>
                <p:cNvSpPr/>
                <p:nvPr/>
              </p:nvSpPr>
              <p:spPr>
                <a:xfrm>
                  <a:off x="4803733" y="5172205"/>
                  <a:ext cx="18366" cy="18406"/>
                </a:xfrm>
                <a:custGeom>
                  <a:avLst/>
                  <a:gdLst>
                    <a:gd name="connsiteX0" fmla="*/ 16689 w 18366"/>
                    <a:gd name="connsiteY0" fmla="*/ 14556 h 18406"/>
                    <a:gd name="connsiteX1" fmla="*/ 14476 w 18366"/>
                    <a:gd name="connsiteY1" fmla="*/ 1697 h 18406"/>
                    <a:gd name="connsiteX2" fmla="*/ 1678 w 18366"/>
                    <a:gd name="connsiteY2" fmla="*/ 3850 h 18406"/>
                    <a:gd name="connsiteX3" fmla="*/ 3890 w 18366"/>
                    <a:gd name="connsiteY3" fmla="*/ 16709 h 18406"/>
                    <a:gd name="connsiteX4" fmla="*/ 16689 w 18366"/>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6689" y="14556"/>
                      </a:moveTo>
                      <a:cubicBezTo>
                        <a:pt x="19620" y="10429"/>
                        <a:pt x="18603" y="4688"/>
                        <a:pt x="14476" y="1697"/>
                      </a:cubicBezTo>
                      <a:cubicBezTo>
                        <a:pt x="10349" y="-1233"/>
                        <a:pt x="4608" y="-276"/>
                        <a:pt x="1678" y="3850"/>
                      </a:cubicBezTo>
                      <a:cubicBezTo>
                        <a:pt x="-1253" y="7977"/>
                        <a:pt x="-236" y="13719"/>
                        <a:pt x="3890" y="16709"/>
                      </a:cubicBezTo>
                      <a:cubicBezTo>
                        <a:pt x="8017" y="19640"/>
                        <a:pt x="13758" y="18683"/>
                        <a:pt x="16689" y="14556"/>
                      </a:cubicBezTo>
                      <a:close/>
                    </a:path>
                  </a:pathLst>
                </a:custGeom>
                <a:grpFill/>
                <a:ln w="5978" cap="flat">
                  <a:noFill/>
                  <a:prstDash val="solid"/>
                  <a:miter/>
                </a:ln>
              </p:spPr>
              <p:txBody>
                <a:bodyPr rtlCol="0" anchor="ctr"/>
                <a:lstStyle/>
                <a:p>
                  <a:endParaRPr lang="en-GB"/>
                </a:p>
              </p:txBody>
            </p:sp>
          </p:grpSp>
          <p:grpSp>
            <p:nvGrpSpPr>
              <p:cNvPr id="1235" name="Graphic 3">
                <a:extLst>
                  <a:ext uri="{FF2B5EF4-FFF2-40B4-BE49-F238E27FC236}">
                    <a16:creationId xmlns:a16="http://schemas.microsoft.com/office/drawing/2014/main" id="{F1CC5B7F-3F92-44D8-8AD7-83D7F19C7AC8}"/>
                  </a:ext>
                </a:extLst>
              </p:cNvPr>
              <p:cNvGrpSpPr/>
              <p:nvPr/>
            </p:nvGrpSpPr>
            <p:grpSpPr>
              <a:xfrm>
                <a:off x="3939573" y="2970717"/>
                <a:ext cx="119629" cy="39430"/>
                <a:chOff x="3939573" y="2970717"/>
                <a:chExt cx="119629" cy="39430"/>
              </a:xfrm>
              <a:grpFill/>
            </p:grpSpPr>
            <p:sp>
              <p:nvSpPr>
                <p:cNvPr id="1698" name="Vrije vorm: vorm 1697">
                  <a:extLst>
                    <a:ext uri="{FF2B5EF4-FFF2-40B4-BE49-F238E27FC236}">
                      <a16:creationId xmlns:a16="http://schemas.microsoft.com/office/drawing/2014/main" id="{843F556A-ACF7-402D-AC01-468D60A9CCDF}"/>
                    </a:ext>
                  </a:extLst>
                </p:cNvPr>
                <p:cNvSpPr/>
                <p:nvPr/>
              </p:nvSpPr>
              <p:spPr>
                <a:xfrm>
                  <a:off x="3948013" y="2978380"/>
                  <a:ext cx="102748" cy="24162"/>
                </a:xfrm>
                <a:custGeom>
                  <a:avLst/>
                  <a:gdLst>
                    <a:gd name="connsiteX0" fmla="*/ 102749 w 102748"/>
                    <a:gd name="connsiteY0" fmla="*/ 21172 h 24162"/>
                    <a:gd name="connsiteX1" fmla="*/ 102151 w 102748"/>
                    <a:gd name="connsiteY1" fmla="*/ 24162 h 24162"/>
                    <a:gd name="connsiteX2" fmla="*/ 0 w 102748"/>
                    <a:gd name="connsiteY2" fmla="*/ 2990 h 24162"/>
                    <a:gd name="connsiteX3" fmla="*/ 598 w 102748"/>
                    <a:gd name="connsiteY3" fmla="*/ 0 h 24162"/>
                  </a:gdLst>
                  <a:ahLst/>
                  <a:cxnLst>
                    <a:cxn ang="0">
                      <a:pos x="connsiteX0" y="connsiteY0"/>
                    </a:cxn>
                    <a:cxn ang="0">
                      <a:pos x="connsiteX1" y="connsiteY1"/>
                    </a:cxn>
                    <a:cxn ang="0">
                      <a:pos x="connsiteX2" y="connsiteY2"/>
                    </a:cxn>
                    <a:cxn ang="0">
                      <a:pos x="connsiteX3" y="connsiteY3"/>
                    </a:cxn>
                  </a:cxnLst>
                  <a:rect l="l" t="t" r="r" b="b"/>
                  <a:pathLst>
                    <a:path w="102748" h="24162">
                      <a:moveTo>
                        <a:pt x="102749" y="21172"/>
                      </a:moveTo>
                      <a:lnTo>
                        <a:pt x="102151" y="24162"/>
                      </a:lnTo>
                      <a:lnTo>
                        <a:pt x="0" y="2990"/>
                      </a:lnTo>
                      <a:lnTo>
                        <a:pt x="598" y="0"/>
                      </a:lnTo>
                      <a:close/>
                    </a:path>
                  </a:pathLst>
                </a:custGeom>
                <a:grpFill/>
                <a:ln w="5978" cap="flat">
                  <a:noFill/>
                  <a:prstDash val="solid"/>
                  <a:miter/>
                </a:ln>
              </p:spPr>
              <p:txBody>
                <a:bodyPr rtlCol="0" anchor="ctr"/>
                <a:lstStyle/>
                <a:p>
                  <a:endParaRPr lang="en-GB"/>
                </a:p>
              </p:txBody>
            </p:sp>
            <p:sp>
              <p:nvSpPr>
                <p:cNvPr id="1699" name="Vrije vorm: vorm 1698">
                  <a:extLst>
                    <a:ext uri="{FF2B5EF4-FFF2-40B4-BE49-F238E27FC236}">
                      <a16:creationId xmlns:a16="http://schemas.microsoft.com/office/drawing/2014/main" id="{AC17A862-46E8-4FBB-B238-EA1D7BB7A896}"/>
                    </a:ext>
                  </a:extLst>
                </p:cNvPr>
                <p:cNvSpPr/>
                <p:nvPr/>
              </p:nvSpPr>
              <p:spPr>
                <a:xfrm>
                  <a:off x="3939573" y="2970717"/>
                  <a:ext cx="18376" cy="18438"/>
                </a:xfrm>
                <a:custGeom>
                  <a:avLst/>
                  <a:gdLst>
                    <a:gd name="connsiteX0" fmla="*/ 7364 w 18376"/>
                    <a:gd name="connsiteY0" fmla="*/ 18249 h 18438"/>
                    <a:gd name="connsiteX1" fmla="*/ 187 w 18376"/>
                    <a:gd name="connsiteY1" fmla="*/ 7364 h 18438"/>
                    <a:gd name="connsiteX2" fmla="*/ 11012 w 18376"/>
                    <a:gd name="connsiteY2" fmla="*/ 187 h 18438"/>
                    <a:gd name="connsiteX3" fmla="*/ 18189 w 18376"/>
                    <a:gd name="connsiteY3" fmla="*/ 11072 h 18438"/>
                    <a:gd name="connsiteX4" fmla="*/ 7364 w 18376"/>
                    <a:gd name="connsiteY4" fmla="*/ 1824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7364" y="18249"/>
                      </a:moveTo>
                      <a:cubicBezTo>
                        <a:pt x="2400" y="17232"/>
                        <a:pt x="-830" y="12328"/>
                        <a:pt x="187" y="7364"/>
                      </a:cubicBezTo>
                      <a:cubicBezTo>
                        <a:pt x="1204" y="2400"/>
                        <a:pt x="6048" y="-830"/>
                        <a:pt x="11012" y="187"/>
                      </a:cubicBezTo>
                      <a:cubicBezTo>
                        <a:pt x="15976" y="1204"/>
                        <a:pt x="19206" y="6108"/>
                        <a:pt x="18189" y="11072"/>
                      </a:cubicBezTo>
                      <a:cubicBezTo>
                        <a:pt x="17173" y="16096"/>
                        <a:pt x="12328" y="19266"/>
                        <a:pt x="7364" y="18249"/>
                      </a:cubicBezTo>
                      <a:close/>
                    </a:path>
                  </a:pathLst>
                </a:custGeom>
                <a:grpFill/>
                <a:ln w="5978" cap="flat">
                  <a:noFill/>
                  <a:prstDash val="solid"/>
                  <a:miter/>
                </a:ln>
              </p:spPr>
              <p:txBody>
                <a:bodyPr rtlCol="0" anchor="ctr"/>
                <a:lstStyle/>
                <a:p>
                  <a:endParaRPr lang="en-GB"/>
                </a:p>
              </p:txBody>
            </p:sp>
            <p:sp>
              <p:nvSpPr>
                <p:cNvPr id="1700" name="Vrije vorm: vorm 1699">
                  <a:extLst>
                    <a:ext uri="{FF2B5EF4-FFF2-40B4-BE49-F238E27FC236}">
                      <a16:creationId xmlns:a16="http://schemas.microsoft.com/office/drawing/2014/main" id="{8BC79C66-73E4-4373-8C67-F168A1131D78}"/>
                    </a:ext>
                  </a:extLst>
                </p:cNvPr>
                <p:cNvSpPr/>
                <p:nvPr/>
              </p:nvSpPr>
              <p:spPr>
                <a:xfrm>
                  <a:off x="4040846" y="2991706"/>
                  <a:ext cx="18357" cy="18441"/>
                </a:xfrm>
                <a:custGeom>
                  <a:avLst/>
                  <a:gdLst>
                    <a:gd name="connsiteX0" fmla="*/ 7345 w 18357"/>
                    <a:gd name="connsiteY0" fmla="*/ 18251 h 18441"/>
                    <a:gd name="connsiteX1" fmla="*/ 18170 w 18357"/>
                    <a:gd name="connsiteY1" fmla="*/ 11075 h 18441"/>
                    <a:gd name="connsiteX2" fmla="*/ 10993 w 18357"/>
                    <a:gd name="connsiteY2" fmla="*/ 190 h 18441"/>
                    <a:gd name="connsiteX3" fmla="*/ 168 w 18357"/>
                    <a:gd name="connsiteY3" fmla="*/ 7366 h 18441"/>
                    <a:gd name="connsiteX4" fmla="*/ 7345 w 18357"/>
                    <a:gd name="connsiteY4" fmla="*/ 1825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1">
                      <a:moveTo>
                        <a:pt x="7345" y="18251"/>
                      </a:moveTo>
                      <a:cubicBezTo>
                        <a:pt x="12309" y="19268"/>
                        <a:pt x="17153" y="16098"/>
                        <a:pt x="18170" y="11075"/>
                      </a:cubicBezTo>
                      <a:cubicBezTo>
                        <a:pt x="19187" y="6111"/>
                        <a:pt x="15957" y="1206"/>
                        <a:pt x="10993" y="190"/>
                      </a:cubicBezTo>
                      <a:cubicBezTo>
                        <a:pt x="6029" y="-827"/>
                        <a:pt x="1185" y="2343"/>
                        <a:pt x="168" y="7366"/>
                      </a:cubicBezTo>
                      <a:cubicBezTo>
                        <a:pt x="-789" y="12390"/>
                        <a:pt x="2441" y="17235"/>
                        <a:pt x="7345" y="18251"/>
                      </a:cubicBezTo>
                      <a:close/>
                    </a:path>
                  </a:pathLst>
                </a:custGeom>
                <a:grpFill/>
                <a:ln w="5978" cap="flat">
                  <a:noFill/>
                  <a:prstDash val="solid"/>
                  <a:miter/>
                </a:ln>
              </p:spPr>
              <p:txBody>
                <a:bodyPr rtlCol="0" anchor="ctr"/>
                <a:lstStyle/>
                <a:p>
                  <a:endParaRPr lang="en-GB"/>
                </a:p>
              </p:txBody>
            </p:sp>
          </p:grpSp>
          <p:grpSp>
            <p:nvGrpSpPr>
              <p:cNvPr id="1236" name="Graphic 3">
                <a:extLst>
                  <a:ext uri="{FF2B5EF4-FFF2-40B4-BE49-F238E27FC236}">
                    <a16:creationId xmlns:a16="http://schemas.microsoft.com/office/drawing/2014/main" id="{E17517E4-538B-454E-9E77-9397431969A6}"/>
                  </a:ext>
                </a:extLst>
              </p:cNvPr>
              <p:cNvGrpSpPr/>
              <p:nvPr/>
            </p:nvGrpSpPr>
            <p:grpSpPr>
              <a:xfrm>
                <a:off x="4527869" y="4590931"/>
                <a:ext cx="63346" cy="54604"/>
                <a:chOff x="4527869" y="4590931"/>
                <a:chExt cx="63346" cy="54604"/>
              </a:xfrm>
              <a:grpFill/>
            </p:grpSpPr>
            <p:sp>
              <p:nvSpPr>
                <p:cNvPr id="1695" name="Vrije vorm: vorm 1694">
                  <a:extLst>
                    <a:ext uri="{FF2B5EF4-FFF2-40B4-BE49-F238E27FC236}">
                      <a16:creationId xmlns:a16="http://schemas.microsoft.com/office/drawing/2014/main" id="{D0581C00-723C-48B9-B23A-8984AC0F0494}"/>
                    </a:ext>
                  </a:extLst>
                </p:cNvPr>
                <p:cNvSpPr/>
                <p:nvPr/>
              </p:nvSpPr>
              <p:spPr>
                <a:xfrm>
                  <a:off x="4535739" y="4598677"/>
                  <a:ext cx="47666" cy="39113"/>
                </a:xfrm>
                <a:custGeom>
                  <a:avLst/>
                  <a:gdLst>
                    <a:gd name="connsiteX0" fmla="*/ 47666 w 47666"/>
                    <a:gd name="connsiteY0" fmla="*/ 2392 h 39113"/>
                    <a:gd name="connsiteX1" fmla="*/ 1854 w 47666"/>
                    <a:gd name="connsiteY1" fmla="*/ 39114 h 39113"/>
                    <a:gd name="connsiteX2" fmla="*/ 0 w 47666"/>
                    <a:gd name="connsiteY2" fmla="*/ 36721 h 39113"/>
                    <a:gd name="connsiteX3" fmla="*/ 45753 w 47666"/>
                    <a:gd name="connsiteY3" fmla="*/ 0 h 39113"/>
                  </a:gdLst>
                  <a:ahLst/>
                  <a:cxnLst>
                    <a:cxn ang="0">
                      <a:pos x="connsiteX0" y="connsiteY0"/>
                    </a:cxn>
                    <a:cxn ang="0">
                      <a:pos x="connsiteX1" y="connsiteY1"/>
                    </a:cxn>
                    <a:cxn ang="0">
                      <a:pos x="connsiteX2" y="connsiteY2"/>
                    </a:cxn>
                    <a:cxn ang="0">
                      <a:pos x="connsiteX3" y="connsiteY3"/>
                    </a:cxn>
                  </a:cxnLst>
                  <a:rect l="l" t="t" r="r" b="b"/>
                  <a:pathLst>
                    <a:path w="47666" h="39113">
                      <a:moveTo>
                        <a:pt x="47666" y="2392"/>
                      </a:moveTo>
                      <a:lnTo>
                        <a:pt x="1854" y="39114"/>
                      </a:lnTo>
                      <a:lnTo>
                        <a:pt x="0" y="36721"/>
                      </a:lnTo>
                      <a:lnTo>
                        <a:pt x="45753" y="0"/>
                      </a:lnTo>
                      <a:close/>
                    </a:path>
                  </a:pathLst>
                </a:custGeom>
                <a:grpFill/>
                <a:ln w="5978" cap="flat">
                  <a:noFill/>
                  <a:prstDash val="solid"/>
                  <a:miter/>
                </a:ln>
              </p:spPr>
              <p:txBody>
                <a:bodyPr rtlCol="0" anchor="ctr"/>
                <a:lstStyle/>
                <a:p>
                  <a:endParaRPr lang="en-GB"/>
                </a:p>
              </p:txBody>
            </p:sp>
            <p:sp>
              <p:nvSpPr>
                <p:cNvPr id="1696" name="Vrije vorm: vorm 1695">
                  <a:extLst>
                    <a:ext uri="{FF2B5EF4-FFF2-40B4-BE49-F238E27FC236}">
                      <a16:creationId xmlns:a16="http://schemas.microsoft.com/office/drawing/2014/main" id="{8831816B-ACD3-441B-9A9E-C2565D855152}"/>
                    </a:ext>
                  </a:extLst>
                </p:cNvPr>
                <p:cNvSpPr/>
                <p:nvPr/>
              </p:nvSpPr>
              <p:spPr>
                <a:xfrm>
                  <a:off x="4572904" y="4590931"/>
                  <a:ext cx="18311" cy="18421"/>
                </a:xfrm>
                <a:custGeom>
                  <a:avLst/>
                  <a:gdLst>
                    <a:gd name="connsiteX0" fmla="*/ 3444 w 18311"/>
                    <a:gd name="connsiteY0" fmla="*/ 2004 h 18421"/>
                    <a:gd name="connsiteX1" fmla="*/ 16303 w 18311"/>
                    <a:gd name="connsiteY1" fmla="*/ 3499 h 18421"/>
                    <a:gd name="connsiteX2" fmla="*/ 14867 w 18311"/>
                    <a:gd name="connsiteY2" fmla="*/ 16417 h 18421"/>
                    <a:gd name="connsiteX3" fmla="*/ 2009 w 18311"/>
                    <a:gd name="connsiteY3" fmla="*/ 14922 h 18421"/>
                    <a:gd name="connsiteX4" fmla="*/ 3444 w 18311"/>
                    <a:gd name="connsiteY4" fmla="*/ 2004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3444" y="2004"/>
                      </a:moveTo>
                      <a:cubicBezTo>
                        <a:pt x="7391" y="-1166"/>
                        <a:pt x="13133" y="-508"/>
                        <a:pt x="16303" y="3499"/>
                      </a:cubicBezTo>
                      <a:cubicBezTo>
                        <a:pt x="19472" y="7506"/>
                        <a:pt x="18814" y="13248"/>
                        <a:pt x="14867" y="16417"/>
                      </a:cubicBezTo>
                      <a:cubicBezTo>
                        <a:pt x="10920" y="19587"/>
                        <a:pt x="5179" y="18930"/>
                        <a:pt x="2009" y="14922"/>
                      </a:cubicBezTo>
                      <a:cubicBezTo>
                        <a:pt x="-1161" y="10975"/>
                        <a:pt x="-503" y="5174"/>
                        <a:pt x="3444" y="2004"/>
                      </a:cubicBezTo>
                      <a:close/>
                    </a:path>
                  </a:pathLst>
                </a:custGeom>
                <a:grpFill/>
                <a:ln w="5978" cap="flat">
                  <a:noFill/>
                  <a:prstDash val="solid"/>
                  <a:miter/>
                </a:ln>
              </p:spPr>
              <p:txBody>
                <a:bodyPr rtlCol="0" anchor="ctr"/>
                <a:lstStyle/>
                <a:p>
                  <a:endParaRPr lang="en-GB"/>
                </a:p>
              </p:txBody>
            </p:sp>
            <p:sp>
              <p:nvSpPr>
                <p:cNvPr id="1697" name="Vrije vorm: vorm 1696">
                  <a:extLst>
                    <a:ext uri="{FF2B5EF4-FFF2-40B4-BE49-F238E27FC236}">
                      <a16:creationId xmlns:a16="http://schemas.microsoft.com/office/drawing/2014/main" id="{0521785E-405B-4C49-938F-F1C79EFC852E}"/>
                    </a:ext>
                  </a:extLst>
                </p:cNvPr>
                <p:cNvSpPr/>
                <p:nvPr/>
              </p:nvSpPr>
              <p:spPr>
                <a:xfrm>
                  <a:off x="4527869" y="4627114"/>
                  <a:ext cx="18311" cy="18421"/>
                </a:xfrm>
                <a:custGeom>
                  <a:avLst/>
                  <a:gdLst>
                    <a:gd name="connsiteX0" fmla="*/ 3444 w 18311"/>
                    <a:gd name="connsiteY0" fmla="*/ 2004 h 18421"/>
                    <a:gd name="connsiteX1" fmla="*/ 2009 w 18311"/>
                    <a:gd name="connsiteY1" fmla="*/ 14923 h 18421"/>
                    <a:gd name="connsiteX2" fmla="*/ 14867 w 18311"/>
                    <a:gd name="connsiteY2" fmla="*/ 16418 h 18421"/>
                    <a:gd name="connsiteX3" fmla="*/ 16303 w 18311"/>
                    <a:gd name="connsiteY3" fmla="*/ 3499 h 18421"/>
                    <a:gd name="connsiteX4" fmla="*/ 3444 w 18311"/>
                    <a:gd name="connsiteY4" fmla="*/ 2004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3444" y="2004"/>
                      </a:moveTo>
                      <a:cubicBezTo>
                        <a:pt x="-503" y="5174"/>
                        <a:pt x="-1161" y="10975"/>
                        <a:pt x="2009" y="14923"/>
                      </a:cubicBezTo>
                      <a:cubicBezTo>
                        <a:pt x="5178" y="18930"/>
                        <a:pt x="10920" y="19587"/>
                        <a:pt x="14867" y="16418"/>
                      </a:cubicBezTo>
                      <a:cubicBezTo>
                        <a:pt x="18815" y="13248"/>
                        <a:pt x="19472" y="7447"/>
                        <a:pt x="16303" y="3499"/>
                      </a:cubicBezTo>
                      <a:cubicBezTo>
                        <a:pt x="13133" y="-508"/>
                        <a:pt x="7391" y="-1166"/>
                        <a:pt x="3444" y="2004"/>
                      </a:cubicBezTo>
                      <a:close/>
                    </a:path>
                  </a:pathLst>
                </a:custGeom>
                <a:grpFill/>
                <a:ln w="5978" cap="flat">
                  <a:noFill/>
                  <a:prstDash val="solid"/>
                  <a:miter/>
                </a:ln>
              </p:spPr>
              <p:txBody>
                <a:bodyPr rtlCol="0" anchor="ctr"/>
                <a:lstStyle/>
                <a:p>
                  <a:endParaRPr lang="en-GB"/>
                </a:p>
              </p:txBody>
            </p:sp>
          </p:grpSp>
          <p:grpSp>
            <p:nvGrpSpPr>
              <p:cNvPr id="1237" name="Graphic 3">
                <a:extLst>
                  <a:ext uri="{FF2B5EF4-FFF2-40B4-BE49-F238E27FC236}">
                    <a16:creationId xmlns:a16="http://schemas.microsoft.com/office/drawing/2014/main" id="{C04B8E81-FE51-4E6E-B4BE-D3D0CBF85A13}"/>
                  </a:ext>
                </a:extLst>
              </p:cNvPr>
              <p:cNvGrpSpPr/>
              <p:nvPr/>
            </p:nvGrpSpPr>
            <p:grpSpPr>
              <a:xfrm>
                <a:off x="4386019" y="4163712"/>
                <a:ext cx="42602" cy="29586"/>
                <a:chOff x="4386019" y="4163712"/>
                <a:chExt cx="42602" cy="29586"/>
              </a:xfrm>
              <a:grpFill/>
            </p:grpSpPr>
            <p:sp>
              <p:nvSpPr>
                <p:cNvPr id="1692" name="Vrije vorm: vorm 1691">
                  <a:extLst>
                    <a:ext uri="{FF2B5EF4-FFF2-40B4-BE49-F238E27FC236}">
                      <a16:creationId xmlns:a16="http://schemas.microsoft.com/office/drawing/2014/main" id="{8007E7C7-8BEF-4DEA-8091-C4C472B97247}"/>
                    </a:ext>
                  </a:extLst>
                </p:cNvPr>
                <p:cNvSpPr/>
                <p:nvPr/>
              </p:nvSpPr>
              <p:spPr>
                <a:xfrm>
                  <a:off x="4394048" y="4171457"/>
                  <a:ext cx="26362" cy="14357"/>
                </a:xfrm>
                <a:custGeom>
                  <a:avLst/>
                  <a:gdLst>
                    <a:gd name="connsiteX0" fmla="*/ 0 w 26362"/>
                    <a:gd name="connsiteY0" fmla="*/ 11588 h 14357"/>
                    <a:gd name="connsiteX1" fmla="*/ 25083 w 26362"/>
                    <a:gd name="connsiteY1" fmla="*/ 0 h 14357"/>
                    <a:gd name="connsiteX2" fmla="*/ 26363 w 26362"/>
                    <a:gd name="connsiteY2" fmla="*/ 2769 h 14357"/>
                    <a:gd name="connsiteX3" fmla="*/ 1279 w 26362"/>
                    <a:gd name="connsiteY3" fmla="*/ 14357 h 14357"/>
                  </a:gdLst>
                  <a:ahLst/>
                  <a:cxnLst>
                    <a:cxn ang="0">
                      <a:pos x="connsiteX0" y="connsiteY0"/>
                    </a:cxn>
                    <a:cxn ang="0">
                      <a:pos x="connsiteX1" y="connsiteY1"/>
                    </a:cxn>
                    <a:cxn ang="0">
                      <a:pos x="connsiteX2" y="connsiteY2"/>
                    </a:cxn>
                    <a:cxn ang="0">
                      <a:pos x="connsiteX3" y="connsiteY3"/>
                    </a:cxn>
                  </a:cxnLst>
                  <a:rect l="l" t="t" r="r" b="b"/>
                  <a:pathLst>
                    <a:path w="26362" h="14357">
                      <a:moveTo>
                        <a:pt x="0" y="11588"/>
                      </a:moveTo>
                      <a:lnTo>
                        <a:pt x="25083" y="0"/>
                      </a:lnTo>
                      <a:lnTo>
                        <a:pt x="26363" y="2769"/>
                      </a:lnTo>
                      <a:lnTo>
                        <a:pt x="1279" y="14357"/>
                      </a:lnTo>
                      <a:close/>
                    </a:path>
                  </a:pathLst>
                </a:custGeom>
                <a:grpFill/>
                <a:ln w="5978" cap="flat">
                  <a:noFill/>
                  <a:prstDash val="solid"/>
                  <a:miter/>
                </a:ln>
              </p:spPr>
              <p:txBody>
                <a:bodyPr rtlCol="0" anchor="ctr"/>
                <a:lstStyle/>
                <a:p>
                  <a:endParaRPr lang="en-GB"/>
                </a:p>
              </p:txBody>
            </p:sp>
            <p:sp>
              <p:nvSpPr>
                <p:cNvPr id="1693" name="Vrije vorm: vorm 1692">
                  <a:extLst>
                    <a:ext uri="{FF2B5EF4-FFF2-40B4-BE49-F238E27FC236}">
                      <a16:creationId xmlns:a16="http://schemas.microsoft.com/office/drawing/2014/main" id="{875DE5E3-9F19-4A2B-AFAF-8CF51460BE7F}"/>
                    </a:ext>
                  </a:extLst>
                </p:cNvPr>
                <p:cNvSpPr/>
                <p:nvPr/>
              </p:nvSpPr>
              <p:spPr>
                <a:xfrm>
                  <a:off x="4386019" y="4174887"/>
                  <a:ext cx="18320" cy="18412"/>
                </a:xfrm>
                <a:custGeom>
                  <a:avLst/>
                  <a:gdLst>
                    <a:gd name="connsiteX0" fmla="*/ 13001 w 18320"/>
                    <a:gd name="connsiteY0" fmla="*/ 17579 h 18412"/>
                    <a:gd name="connsiteX1" fmla="*/ 860 w 18320"/>
                    <a:gd name="connsiteY1" fmla="*/ 13034 h 18412"/>
                    <a:gd name="connsiteX2" fmla="*/ 5346 w 18320"/>
                    <a:gd name="connsiteY2" fmla="*/ 833 h 18412"/>
                    <a:gd name="connsiteX3" fmla="*/ 17487 w 18320"/>
                    <a:gd name="connsiteY3" fmla="*/ 5378 h 18412"/>
                    <a:gd name="connsiteX4" fmla="*/ 13001 w 18320"/>
                    <a:gd name="connsiteY4" fmla="*/ 17579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2">
                      <a:moveTo>
                        <a:pt x="13001" y="17579"/>
                      </a:moveTo>
                      <a:cubicBezTo>
                        <a:pt x="8396" y="19672"/>
                        <a:pt x="2954" y="17699"/>
                        <a:pt x="860" y="13034"/>
                      </a:cubicBezTo>
                      <a:cubicBezTo>
                        <a:pt x="-1293" y="8429"/>
                        <a:pt x="741" y="2927"/>
                        <a:pt x="5346" y="833"/>
                      </a:cubicBezTo>
                      <a:cubicBezTo>
                        <a:pt x="9951" y="-1260"/>
                        <a:pt x="15393" y="714"/>
                        <a:pt x="17487" y="5378"/>
                      </a:cubicBezTo>
                      <a:cubicBezTo>
                        <a:pt x="19580" y="9984"/>
                        <a:pt x="17606" y="15486"/>
                        <a:pt x="13001" y="17579"/>
                      </a:cubicBezTo>
                      <a:close/>
                    </a:path>
                  </a:pathLst>
                </a:custGeom>
                <a:grpFill/>
                <a:ln w="5978" cap="flat">
                  <a:noFill/>
                  <a:prstDash val="solid"/>
                  <a:miter/>
                </a:ln>
              </p:spPr>
              <p:txBody>
                <a:bodyPr rtlCol="0" anchor="ctr"/>
                <a:lstStyle/>
                <a:p>
                  <a:endParaRPr lang="en-GB"/>
                </a:p>
              </p:txBody>
            </p:sp>
            <p:sp>
              <p:nvSpPr>
                <p:cNvPr id="1694" name="Vrije vorm: vorm 1693">
                  <a:extLst>
                    <a:ext uri="{FF2B5EF4-FFF2-40B4-BE49-F238E27FC236}">
                      <a16:creationId xmlns:a16="http://schemas.microsoft.com/office/drawing/2014/main" id="{0505AA78-C1A1-4792-8C00-9B46DC90814C}"/>
                    </a:ext>
                  </a:extLst>
                </p:cNvPr>
                <p:cNvSpPr/>
                <p:nvPr/>
              </p:nvSpPr>
              <p:spPr>
                <a:xfrm>
                  <a:off x="4410326" y="4163712"/>
                  <a:ext cx="18295" cy="18393"/>
                </a:xfrm>
                <a:custGeom>
                  <a:avLst/>
                  <a:gdLst>
                    <a:gd name="connsiteX0" fmla="*/ 12975 w 18295"/>
                    <a:gd name="connsiteY0" fmla="*/ 17570 h 18393"/>
                    <a:gd name="connsiteX1" fmla="*/ 17461 w 18295"/>
                    <a:gd name="connsiteY1" fmla="*/ 5369 h 18393"/>
                    <a:gd name="connsiteX2" fmla="*/ 5320 w 18295"/>
                    <a:gd name="connsiteY2" fmla="*/ 824 h 18393"/>
                    <a:gd name="connsiteX3" fmla="*/ 834 w 18295"/>
                    <a:gd name="connsiteY3" fmla="*/ 13024 h 18393"/>
                    <a:gd name="connsiteX4" fmla="*/ 12975 w 18295"/>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393">
                      <a:moveTo>
                        <a:pt x="12975" y="17570"/>
                      </a:moveTo>
                      <a:cubicBezTo>
                        <a:pt x="17580" y="15477"/>
                        <a:pt x="19554" y="9974"/>
                        <a:pt x="17461" y="5369"/>
                      </a:cubicBezTo>
                      <a:cubicBezTo>
                        <a:pt x="15308" y="764"/>
                        <a:pt x="9865" y="-1269"/>
                        <a:pt x="5320" y="824"/>
                      </a:cubicBezTo>
                      <a:cubicBezTo>
                        <a:pt x="715" y="2917"/>
                        <a:pt x="-1259" y="8419"/>
                        <a:pt x="834" y="13024"/>
                      </a:cubicBezTo>
                      <a:cubicBezTo>
                        <a:pt x="2928" y="17629"/>
                        <a:pt x="8370" y="19663"/>
                        <a:pt x="12975" y="17570"/>
                      </a:cubicBezTo>
                      <a:close/>
                    </a:path>
                  </a:pathLst>
                </a:custGeom>
                <a:grpFill/>
                <a:ln w="5978" cap="flat">
                  <a:noFill/>
                  <a:prstDash val="solid"/>
                  <a:miter/>
                </a:ln>
              </p:spPr>
              <p:txBody>
                <a:bodyPr rtlCol="0" anchor="ctr"/>
                <a:lstStyle/>
                <a:p>
                  <a:endParaRPr lang="en-GB"/>
                </a:p>
              </p:txBody>
            </p:sp>
          </p:grpSp>
          <p:grpSp>
            <p:nvGrpSpPr>
              <p:cNvPr id="1238" name="Graphic 3">
                <a:extLst>
                  <a:ext uri="{FF2B5EF4-FFF2-40B4-BE49-F238E27FC236}">
                    <a16:creationId xmlns:a16="http://schemas.microsoft.com/office/drawing/2014/main" id="{4A2C7345-2E5A-4D98-B5C6-DE8EB216786A}"/>
                  </a:ext>
                </a:extLst>
              </p:cNvPr>
              <p:cNvGrpSpPr/>
              <p:nvPr/>
            </p:nvGrpSpPr>
            <p:grpSpPr>
              <a:xfrm>
                <a:off x="4207970" y="3941491"/>
                <a:ext cx="243168" cy="57584"/>
                <a:chOff x="4207970" y="3941491"/>
                <a:chExt cx="243168" cy="57584"/>
              </a:xfrm>
              <a:grpFill/>
            </p:grpSpPr>
            <p:sp>
              <p:nvSpPr>
                <p:cNvPr id="1689" name="Vrije vorm: vorm 1688">
                  <a:extLst>
                    <a:ext uri="{FF2B5EF4-FFF2-40B4-BE49-F238E27FC236}">
                      <a16:creationId xmlns:a16="http://schemas.microsoft.com/office/drawing/2014/main" id="{7CF5B1CD-0FC9-48BE-8941-B29D100DDAD4}"/>
                    </a:ext>
                  </a:extLst>
                </p:cNvPr>
                <p:cNvSpPr/>
                <p:nvPr/>
              </p:nvSpPr>
              <p:spPr>
                <a:xfrm>
                  <a:off x="4216368" y="3949110"/>
                  <a:ext cx="226310" cy="42343"/>
                </a:xfrm>
                <a:custGeom>
                  <a:avLst/>
                  <a:gdLst>
                    <a:gd name="connsiteX0" fmla="*/ 225772 w 226310"/>
                    <a:gd name="connsiteY0" fmla="*/ 0 h 42343"/>
                    <a:gd name="connsiteX1" fmla="*/ 226311 w 226310"/>
                    <a:gd name="connsiteY1" fmla="*/ 2990 h 42343"/>
                    <a:gd name="connsiteX2" fmla="*/ 538 w 226310"/>
                    <a:gd name="connsiteY2" fmla="*/ 42344 h 42343"/>
                    <a:gd name="connsiteX3" fmla="*/ 0 w 226310"/>
                    <a:gd name="connsiteY3" fmla="*/ 39353 h 42343"/>
                  </a:gdLst>
                  <a:ahLst/>
                  <a:cxnLst>
                    <a:cxn ang="0">
                      <a:pos x="connsiteX0" y="connsiteY0"/>
                    </a:cxn>
                    <a:cxn ang="0">
                      <a:pos x="connsiteX1" y="connsiteY1"/>
                    </a:cxn>
                    <a:cxn ang="0">
                      <a:pos x="connsiteX2" y="connsiteY2"/>
                    </a:cxn>
                    <a:cxn ang="0">
                      <a:pos x="connsiteX3" y="connsiteY3"/>
                    </a:cxn>
                  </a:cxnLst>
                  <a:rect l="l" t="t" r="r" b="b"/>
                  <a:pathLst>
                    <a:path w="226310" h="42343">
                      <a:moveTo>
                        <a:pt x="225772" y="0"/>
                      </a:moveTo>
                      <a:lnTo>
                        <a:pt x="226311" y="2990"/>
                      </a:lnTo>
                      <a:lnTo>
                        <a:pt x="538" y="42344"/>
                      </a:lnTo>
                      <a:lnTo>
                        <a:pt x="0" y="39353"/>
                      </a:lnTo>
                      <a:close/>
                    </a:path>
                  </a:pathLst>
                </a:custGeom>
                <a:grpFill/>
                <a:ln w="5978" cap="flat">
                  <a:noFill/>
                  <a:prstDash val="solid"/>
                  <a:miter/>
                </a:ln>
              </p:spPr>
              <p:txBody>
                <a:bodyPr rtlCol="0" anchor="ctr"/>
                <a:lstStyle/>
                <a:p>
                  <a:endParaRPr lang="en-GB"/>
                </a:p>
              </p:txBody>
            </p:sp>
            <p:sp>
              <p:nvSpPr>
                <p:cNvPr id="1690" name="Vrije vorm: vorm 1689">
                  <a:extLst>
                    <a:ext uri="{FF2B5EF4-FFF2-40B4-BE49-F238E27FC236}">
                      <a16:creationId xmlns:a16="http://schemas.microsoft.com/office/drawing/2014/main" id="{96C90191-7B79-471A-84C3-E203D05537AC}"/>
                    </a:ext>
                  </a:extLst>
                </p:cNvPr>
                <p:cNvSpPr/>
                <p:nvPr/>
              </p:nvSpPr>
              <p:spPr>
                <a:xfrm>
                  <a:off x="4432785" y="3941491"/>
                  <a:ext cx="18352" cy="18453"/>
                </a:xfrm>
                <a:custGeom>
                  <a:avLst/>
                  <a:gdLst>
                    <a:gd name="connsiteX0" fmla="*/ 7561 w 18352"/>
                    <a:gd name="connsiteY0" fmla="*/ 143 h 18453"/>
                    <a:gd name="connsiteX1" fmla="*/ 18207 w 18352"/>
                    <a:gd name="connsiteY1" fmla="*/ 7679 h 18453"/>
                    <a:gd name="connsiteX2" fmla="*/ 10791 w 18352"/>
                    <a:gd name="connsiteY2" fmla="*/ 18325 h 18453"/>
                    <a:gd name="connsiteX3" fmla="*/ 145 w 18352"/>
                    <a:gd name="connsiteY3" fmla="*/ 10849 h 18453"/>
                    <a:gd name="connsiteX4" fmla="*/ 7561 w 18352"/>
                    <a:gd name="connsiteY4" fmla="*/ 143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53">
                      <a:moveTo>
                        <a:pt x="7561" y="143"/>
                      </a:moveTo>
                      <a:cubicBezTo>
                        <a:pt x="12526" y="-754"/>
                        <a:pt x="17310" y="2655"/>
                        <a:pt x="18207" y="7679"/>
                      </a:cubicBezTo>
                      <a:cubicBezTo>
                        <a:pt x="19104" y="12703"/>
                        <a:pt x="15755" y="17488"/>
                        <a:pt x="10791" y="18325"/>
                      </a:cubicBezTo>
                      <a:cubicBezTo>
                        <a:pt x="5827" y="19162"/>
                        <a:pt x="1043" y="15813"/>
                        <a:pt x="145" y="10849"/>
                      </a:cubicBezTo>
                      <a:cubicBezTo>
                        <a:pt x="-752" y="5765"/>
                        <a:pt x="2597" y="981"/>
                        <a:pt x="7561" y="143"/>
                      </a:cubicBezTo>
                      <a:close/>
                    </a:path>
                  </a:pathLst>
                </a:custGeom>
                <a:grpFill/>
                <a:ln w="5978" cap="flat">
                  <a:noFill/>
                  <a:prstDash val="solid"/>
                  <a:miter/>
                </a:ln>
              </p:spPr>
              <p:txBody>
                <a:bodyPr rtlCol="0" anchor="ctr"/>
                <a:lstStyle/>
                <a:p>
                  <a:endParaRPr lang="en-GB"/>
                </a:p>
              </p:txBody>
            </p:sp>
            <p:sp>
              <p:nvSpPr>
                <p:cNvPr id="1691" name="Vrije vorm: vorm 1690">
                  <a:extLst>
                    <a:ext uri="{FF2B5EF4-FFF2-40B4-BE49-F238E27FC236}">
                      <a16:creationId xmlns:a16="http://schemas.microsoft.com/office/drawing/2014/main" id="{B2C50ABD-EB89-48A1-A588-854F6C5317C2}"/>
                    </a:ext>
                  </a:extLst>
                </p:cNvPr>
                <p:cNvSpPr/>
                <p:nvPr/>
              </p:nvSpPr>
              <p:spPr>
                <a:xfrm>
                  <a:off x="4207970" y="3980665"/>
                  <a:ext cx="18354" cy="18410"/>
                </a:xfrm>
                <a:custGeom>
                  <a:avLst/>
                  <a:gdLst>
                    <a:gd name="connsiteX0" fmla="*/ 7562 w 18354"/>
                    <a:gd name="connsiteY0" fmla="*/ 143 h 18410"/>
                    <a:gd name="connsiteX1" fmla="*/ 145 w 18354"/>
                    <a:gd name="connsiteY1" fmla="*/ 10789 h 18410"/>
                    <a:gd name="connsiteX2" fmla="*/ 10791 w 18354"/>
                    <a:gd name="connsiteY2" fmla="*/ 18265 h 18410"/>
                    <a:gd name="connsiteX3" fmla="*/ 18207 w 18354"/>
                    <a:gd name="connsiteY3" fmla="*/ 7619 h 18410"/>
                    <a:gd name="connsiteX4" fmla="*/ 7562 w 18354"/>
                    <a:gd name="connsiteY4" fmla="*/ 143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0">
                      <a:moveTo>
                        <a:pt x="7562" y="143"/>
                      </a:moveTo>
                      <a:cubicBezTo>
                        <a:pt x="2598" y="1040"/>
                        <a:pt x="-752" y="5765"/>
                        <a:pt x="145" y="10789"/>
                      </a:cubicBezTo>
                      <a:cubicBezTo>
                        <a:pt x="1043" y="15813"/>
                        <a:pt x="5767" y="19162"/>
                        <a:pt x="10791" y="18265"/>
                      </a:cubicBezTo>
                      <a:cubicBezTo>
                        <a:pt x="15815" y="17368"/>
                        <a:pt x="19105" y="12643"/>
                        <a:pt x="18207" y="7619"/>
                      </a:cubicBezTo>
                      <a:cubicBezTo>
                        <a:pt x="17250" y="2655"/>
                        <a:pt x="12525" y="-754"/>
                        <a:pt x="7562" y="143"/>
                      </a:cubicBezTo>
                      <a:close/>
                    </a:path>
                  </a:pathLst>
                </a:custGeom>
                <a:grpFill/>
                <a:ln w="5978" cap="flat">
                  <a:noFill/>
                  <a:prstDash val="solid"/>
                  <a:miter/>
                </a:ln>
              </p:spPr>
              <p:txBody>
                <a:bodyPr rtlCol="0" anchor="ctr"/>
                <a:lstStyle/>
                <a:p>
                  <a:endParaRPr lang="en-GB"/>
                </a:p>
              </p:txBody>
            </p:sp>
          </p:grpSp>
          <p:grpSp>
            <p:nvGrpSpPr>
              <p:cNvPr id="1239" name="Graphic 3">
                <a:extLst>
                  <a:ext uri="{FF2B5EF4-FFF2-40B4-BE49-F238E27FC236}">
                    <a16:creationId xmlns:a16="http://schemas.microsoft.com/office/drawing/2014/main" id="{3279BD11-AD60-4DBC-9530-7B1C6C7ADBF5}"/>
                  </a:ext>
                </a:extLst>
              </p:cNvPr>
              <p:cNvGrpSpPr/>
              <p:nvPr/>
            </p:nvGrpSpPr>
            <p:grpSpPr>
              <a:xfrm>
                <a:off x="4496180" y="4509202"/>
                <a:ext cx="26843" cy="24483"/>
                <a:chOff x="4496180" y="4509202"/>
                <a:chExt cx="26843" cy="24483"/>
              </a:xfrm>
              <a:grpFill/>
            </p:grpSpPr>
            <p:sp>
              <p:nvSpPr>
                <p:cNvPr id="1686" name="Vrije vorm: vorm 1685">
                  <a:extLst>
                    <a:ext uri="{FF2B5EF4-FFF2-40B4-BE49-F238E27FC236}">
                      <a16:creationId xmlns:a16="http://schemas.microsoft.com/office/drawing/2014/main" id="{EDB43558-6AB5-49F8-AB7D-C5AAE84EBD6A}"/>
                    </a:ext>
                  </a:extLst>
                </p:cNvPr>
                <p:cNvSpPr/>
                <p:nvPr/>
              </p:nvSpPr>
              <p:spPr>
                <a:xfrm>
                  <a:off x="4504101" y="4516920"/>
                  <a:ext cx="11004" cy="9030"/>
                </a:xfrm>
                <a:custGeom>
                  <a:avLst/>
                  <a:gdLst>
                    <a:gd name="connsiteX0" fmla="*/ 11004 w 11004"/>
                    <a:gd name="connsiteY0" fmla="*/ 2452 h 9030"/>
                    <a:gd name="connsiteX1" fmla="*/ 1794 w 11004"/>
                    <a:gd name="connsiteY1" fmla="*/ 9031 h 9030"/>
                    <a:gd name="connsiteX2" fmla="*/ 0 w 11004"/>
                    <a:gd name="connsiteY2" fmla="*/ 6579 h 9030"/>
                    <a:gd name="connsiteX3" fmla="*/ 9210 w 11004"/>
                    <a:gd name="connsiteY3" fmla="*/ 0 h 9030"/>
                  </a:gdLst>
                  <a:ahLst/>
                  <a:cxnLst>
                    <a:cxn ang="0">
                      <a:pos x="connsiteX0" y="connsiteY0"/>
                    </a:cxn>
                    <a:cxn ang="0">
                      <a:pos x="connsiteX1" y="connsiteY1"/>
                    </a:cxn>
                    <a:cxn ang="0">
                      <a:pos x="connsiteX2" y="connsiteY2"/>
                    </a:cxn>
                    <a:cxn ang="0">
                      <a:pos x="connsiteX3" y="connsiteY3"/>
                    </a:cxn>
                  </a:cxnLst>
                  <a:rect l="l" t="t" r="r" b="b"/>
                  <a:pathLst>
                    <a:path w="11004" h="9030">
                      <a:moveTo>
                        <a:pt x="11004" y="2452"/>
                      </a:moveTo>
                      <a:lnTo>
                        <a:pt x="1794" y="9031"/>
                      </a:lnTo>
                      <a:lnTo>
                        <a:pt x="0" y="6579"/>
                      </a:lnTo>
                      <a:lnTo>
                        <a:pt x="9210" y="0"/>
                      </a:lnTo>
                      <a:close/>
                    </a:path>
                  </a:pathLst>
                </a:custGeom>
                <a:grpFill/>
                <a:ln w="5978" cap="flat">
                  <a:noFill/>
                  <a:prstDash val="solid"/>
                  <a:miter/>
                </a:ln>
              </p:spPr>
              <p:txBody>
                <a:bodyPr rtlCol="0" anchor="ctr"/>
                <a:lstStyle/>
                <a:p>
                  <a:endParaRPr lang="en-GB"/>
                </a:p>
              </p:txBody>
            </p:sp>
            <p:sp>
              <p:nvSpPr>
                <p:cNvPr id="1687" name="Vrije vorm: vorm 1686">
                  <a:extLst>
                    <a:ext uri="{FF2B5EF4-FFF2-40B4-BE49-F238E27FC236}">
                      <a16:creationId xmlns:a16="http://schemas.microsoft.com/office/drawing/2014/main" id="{47795F2A-8712-4001-9293-11BCC51FCF9F}"/>
                    </a:ext>
                  </a:extLst>
                </p:cNvPr>
                <p:cNvSpPr/>
                <p:nvPr/>
              </p:nvSpPr>
              <p:spPr>
                <a:xfrm>
                  <a:off x="4496180" y="4515226"/>
                  <a:ext cx="18336" cy="18459"/>
                </a:xfrm>
                <a:custGeom>
                  <a:avLst/>
                  <a:gdLst>
                    <a:gd name="connsiteX0" fmla="*/ 14500 w 18336"/>
                    <a:gd name="connsiteY0" fmla="*/ 16765 h 18459"/>
                    <a:gd name="connsiteX1" fmla="*/ 1701 w 18336"/>
                    <a:gd name="connsiteY1" fmla="*/ 14553 h 18459"/>
                    <a:gd name="connsiteX2" fmla="*/ 3794 w 18336"/>
                    <a:gd name="connsiteY2" fmla="*/ 1694 h 18459"/>
                    <a:gd name="connsiteX3" fmla="*/ 16593 w 18336"/>
                    <a:gd name="connsiteY3" fmla="*/ 3907 h 18459"/>
                    <a:gd name="connsiteX4" fmla="*/ 14500 w 18336"/>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9">
                      <a:moveTo>
                        <a:pt x="14500" y="16765"/>
                      </a:moveTo>
                      <a:cubicBezTo>
                        <a:pt x="10373" y="19696"/>
                        <a:pt x="4631" y="18739"/>
                        <a:pt x="1701" y="14553"/>
                      </a:cubicBezTo>
                      <a:cubicBezTo>
                        <a:pt x="-1230" y="10426"/>
                        <a:pt x="-272" y="4625"/>
                        <a:pt x="3794" y="1694"/>
                      </a:cubicBezTo>
                      <a:cubicBezTo>
                        <a:pt x="7921" y="-1237"/>
                        <a:pt x="13662" y="-280"/>
                        <a:pt x="16593" y="3907"/>
                      </a:cubicBezTo>
                      <a:cubicBezTo>
                        <a:pt x="19583" y="8033"/>
                        <a:pt x="18627" y="13835"/>
                        <a:pt x="14500" y="16765"/>
                      </a:cubicBezTo>
                      <a:close/>
                    </a:path>
                  </a:pathLst>
                </a:custGeom>
                <a:grpFill/>
                <a:ln w="5978" cap="flat">
                  <a:noFill/>
                  <a:prstDash val="solid"/>
                  <a:miter/>
                </a:ln>
              </p:spPr>
              <p:txBody>
                <a:bodyPr rtlCol="0" anchor="ctr"/>
                <a:lstStyle/>
                <a:p>
                  <a:endParaRPr lang="en-GB"/>
                </a:p>
              </p:txBody>
            </p:sp>
            <p:sp>
              <p:nvSpPr>
                <p:cNvPr id="1688" name="Vrije vorm: vorm 1687">
                  <a:extLst>
                    <a:ext uri="{FF2B5EF4-FFF2-40B4-BE49-F238E27FC236}">
                      <a16:creationId xmlns:a16="http://schemas.microsoft.com/office/drawing/2014/main" id="{DE6E6E36-CC12-4587-87D2-E22236EA4F8D}"/>
                    </a:ext>
                  </a:extLst>
                </p:cNvPr>
                <p:cNvSpPr/>
                <p:nvPr/>
              </p:nvSpPr>
              <p:spPr>
                <a:xfrm>
                  <a:off x="4504676" y="4509202"/>
                  <a:ext cx="18346" cy="18426"/>
                </a:xfrm>
                <a:custGeom>
                  <a:avLst/>
                  <a:gdLst>
                    <a:gd name="connsiteX0" fmla="*/ 14496 w 18346"/>
                    <a:gd name="connsiteY0" fmla="*/ 16749 h 18426"/>
                    <a:gd name="connsiteX1" fmla="*/ 16649 w 18346"/>
                    <a:gd name="connsiteY1" fmla="*/ 3890 h 18426"/>
                    <a:gd name="connsiteX2" fmla="*/ 3851 w 18346"/>
                    <a:gd name="connsiteY2" fmla="*/ 1678 h 18426"/>
                    <a:gd name="connsiteX3" fmla="*/ 1698 w 18346"/>
                    <a:gd name="connsiteY3" fmla="*/ 14536 h 18426"/>
                    <a:gd name="connsiteX4" fmla="*/ 14496 w 18346"/>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6">
                      <a:moveTo>
                        <a:pt x="14496" y="16749"/>
                      </a:moveTo>
                      <a:cubicBezTo>
                        <a:pt x="18623" y="13818"/>
                        <a:pt x="19580" y="8077"/>
                        <a:pt x="16649" y="3890"/>
                      </a:cubicBezTo>
                      <a:cubicBezTo>
                        <a:pt x="13719" y="-236"/>
                        <a:pt x="7977" y="-1253"/>
                        <a:pt x="3851" y="1678"/>
                      </a:cubicBezTo>
                      <a:cubicBezTo>
                        <a:pt x="-276" y="4608"/>
                        <a:pt x="-1233" y="10349"/>
                        <a:pt x="1698" y="14536"/>
                      </a:cubicBezTo>
                      <a:cubicBezTo>
                        <a:pt x="4688" y="18663"/>
                        <a:pt x="10369" y="19679"/>
                        <a:pt x="14496" y="16749"/>
                      </a:cubicBezTo>
                      <a:close/>
                    </a:path>
                  </a:pathLst>
                </a:custGeom>
                <a:grpFill/>
                <a:ln w="5978" cap="flat">
                  <a:noFill/>
                  <a:prstDash val="solid"/>
                  <a:miter/>
                </a:ln>
              </p:spPr>
              <p:txBody>
                <a:bodyPr rtlCol="0" anchor="ctr"/>
                <a:lstStyle/>
                <a:p>
                  <a:endParaRPr lang="en-GB"/>
                </a:p>
              </p:txBody>
            </p:sp>
          </p:grpSp>
          <p:grpSp>
            <p:nvGrpSpPr>
              <p:cNvPr id="1240" name="Graphic 3">
                <a:extLst>
                  <a:ext uri="{FF2B5EF4-FFF2-40B4-BE49-F238E27FC236}">
                    <a16:creationId xmlns:a16="http://schemas.microsoft.com/office/drawing/2014/main" id="{4B6470F3-9083-43DA-B554-DEBD69441E6D}"/>
                  </a:ext>
                </a:extLst>
              </p:cNvPr>
              <p:cNvGrpSpPr/>
              <p:nvPr/>
            </p:nvGrpSpPr>
            <p:grpSpPr>
              <a:xfrm>
                <a:off x="3938720" y="3411420"/>
                <a:ext cx="414211" cy="48371"/>
                <a:chOff x="3938720" y="3411420"/>
                <a:chExt cx="414211" cy="48371"/>
              </a:xfrm>
              <a:grpFill/>
            </p:grpSpPr>
            <p:sp>
              <p:nvSpPr>
                <p:cNvPr id="1683" name="Vrije vorm: vorm 1682">
                  <a:extLst>
                    <a:ext uri="{FF2B5EF4-FFF2-40B4-BE49-F238E27FC236}">
                      <a16:creationId xmlns:a16="http://schemas.microsoft.com/office/drawing/2014/main" id="{BC80D60C-891A-4C20-89A3-572A277C8040}"/>
                    </a:ext>
                  </a:extLst>
                </p:cNvPr>
                <p:cNvSpPr/>
                <p:nvPr/>
              </p:nvSpPr>
              <p:spPr>
                <a:xfrm>
                  <a:off x="3947356" y="3419039"/>
                  <a:ext cx="396940" cy="33133"/>
                </a:xfrm>
                <a:custGeom>
                  <a:avLst/>
                  <a:gdLst>
                    <a:gd name="connsiteX0" fmla="*/ 396941 w 396940"/>
                    <a:gd name="connsiteY0" fmla="*/ 30083 h 33133"/>
                    <a:gd name="connsiteX1" fmla="*/ 396761 w 396940"/>
                    <a:gd name="connsiteY1" fmla="*/ 33133 h 33133"/>
                    <a:gd name="connsiteX2" fmla="*/ 0 w 396940"/>
                    <a:gd name="connsiteY2" fmla="*/ 3110 h 33133"/>
                    <a:gd name="connsiteX3" fmla="*/ 180 w 396940"/>
                    <a:gd name="connsiteY3" fmla="*/ 0 h 33133"/>
                  </a:gdLst>
                  <a:ahLst/>
                  <a:cxnLst>
                    <a:cxn ang="0">
                      <a:pos x="connsiteX0" y="connsiteY0"/>
                    </a:cxn>
                    <a:cxn ang="0">
                      <a:pos x="connsiteX1" y="connsiteY1"/>
                    </a:cxn>
                    <a:cxn ang="0">
                      <a:pos x="connsiteX2" y="connsiteY2"/>
                    </a:cxn>
                    <a:cxn ang="0">
                      <a:pos x="connsiteX3" y="connsiteY3"/>
                    </a:cxn>
                  </a:cxnLst>
                  <a:rect l="l" t="t" r="r" b="b"/>
                  <a:pathLst>
                    <a:path w="396940" h="33133">
                      <a:moveTo>
                        <a:pt x="396941" y="30083"/>
                      </a:moveTo>
                      <a:lnTo>
                        <a:pt x="396761" y="33133"/>
                      </a:lnTo>
                      <a:lnTo>
                        <a:pt x="0" y="3110"/>
                      </a:lnTo>
                      <a:lnTo>
                        <a:pt x="180" y="0"/>
                      </a:lnTo>
                      <a:close/>
                    </a:path>
                  </a:pathLst>
                </a:custGeom>
                <a:grpFill/>
                <a:ln w="5978" cap="flat">
                  <a:noFill/>
                  <a:prstDash val="solid"/>
                  <a:miter/>
                </a:ln>
              </p:spPr>
              <p:txBody>
                <a:bodyPr rtlCol="0" anchor="ctr"/>
                <a:lstStyle/>
                <a:p>
                  <a:endParaRPr lang="en-GB"/>
                </a:p>
              </p:txBody>
            </p:sp>
            <p:sp>
              <p:nvSpPr>
                <p:cNvPr id="1684" name="Vrije vorm: vorm 1683">
                  <a:extLst>
                    <a:ext uri="{FF2B5EF4-FFF2-40B4-BE49-F238E27FC236}">
                      <a16:creationId xmlns:a16="http://schemas.microsoft.com/office/drawing/2014/main" id="{FE676BE5-7473-439F-BBA9-699028A8E43D}"/>
                    </a:ext>
                  </a:extLst>
                </p:cNvPr>
                <p:cNvSpPr/>
                <p:nvPr/>
              </p:nvSpPr>
              <p:spPr>
                <a:xfrm>
                  <a:off x="4334584" y="3441383"/>
                  <a:ext cx="18347" cy="18408"/>
                </a:xfrm>
                <a:custGeom>
                  <a:avLst/>
                  <a:gdLst>
                    <a:gd name="connsiteX0" fmla="*/ 9832 w 18347"/>
                    <a:gd name="connsiteY0" fmla="*/ 24 h 18408"/>
                    <a:gd name="connsiteX1" fmla="*/ 18324 w 18347"/>
                    <a:gd name="connsiteY1" fmla="*/ 9892 h 18408"/>
                    <a:gd name="connsiteX2" fmla="*/ 8516 w 18347"/>
                    <a:gd name="connsiteY2" fmla="*/ 18384 h 18408"/>
                    <a:gd name="connsiteX3" fmla="*/ 23 w 18347"/>
                    <a:gd name="connsiteY3" fmla="*/ 8516 h 18408"/>
                    <a:gd name="connsiteX4" fmla="*/ 9832 w 18347"/>
                    <a:gd name="connsiteY4" fmla="*/ 2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8">
                      <a:moveTo>
                        <a:pt x="9832" y="24"/>
                      </a:moveTo>
                      <a:cubicBezTo>
                        <a:pt x="14855" y="382"/>
                        <a:pt x="18683" y="4808"/>
                        <a:pt x="18324" y="9892"/>
                      </a:cubicBezTo>
                      <a:cubicBezTo>
                        <a:pt x="17965" y="14975"/>
                        <a:pt x="13600" y="18743"/>
                        <a:pt x="8516" y="18384"/>
                      </a:cubicBezTo>
                      <a:cubicBezTo>
                        <a:pt x="3492" y="18026"/>
                        <a:pt x="-336" y="13600"/>
                        <a:pt x="23" y="8516"/>
                      </a:cubicBezTo>
                      <a:cubicBezTo>
                        <a:pt x="382" y="3433"/>
                        <a:pt x="4748" y="-335"/>
                        <a:pt x="9832" y="24"/>
                      </a:cubicBezTo>
                      <a:close/>
                    </a:path>
                  </a:pathLst>
                </a:custGeom>
                <a:grpFill/>
                <a:ln w="5978" cap="flat">
                  <a:noFill/>
                  <a:prstDash val="solid"/>
                  <a:miter/>
                </a:ln>
              </p:spPr>
              <p:txBody>
                <a:bodyPr rtlCol="0" anchor="ctr"/>
                <a:lstStyle/>
                <a:p>
                  <a:endParaRPr lang="en-GB"/>
                </a:p>
              </p:txBody>
            </p:sp>
            <p:sp>
              <p:nvSpPr>
                <p:cNvPr id="1685" name="Vrije vorm: vorm 1684">
                  <a:extLst>
                    <a:ext uri="{FF2B5EF4-FFF2-40B4-BE49-F238E27FC236}">
                      <a16:creationId xmlns:a16="http://schemas.microsoft.com/office/drawing/2014/main" id="{F747A794-52EF-4C32-9A9B-C97C24121438}"/>
                    </a:ext>
                  </a:extLst>
                </p:cNvPr>
                <p:cNvSpPr/>
                <p:nvPr/>
              </p:nvSpPr>
              <p:spPr>
                <a:xfrm>
                  <a:off x="3938720" y="3411420"/>
                  <a:ext cx="18347" cy="18407"/>
                </a:xfrm>
                <a:custGeom>
                  <a:avLst/>
                  <a:gdLst>
                    <a:gd name="connsiteX0" fmla="*/ 9832 w 18347"/>
                    <a:gd name="connsiteY0" fmla="*/ 24 h 18407"/>
                    <a:gd name="connsiteX1" fmla="*/ 23 w 18347"/>
                    <a:gd name="connsiteY1" fmla="*/ 8516 h 18407"/>
                    <a:gd name="connsiteX2" fmla="*/ 8516 w 18347"/>
                    <a:gd name="connsiteY2" fmla="*/ 18384 h 18407"/>
                    <a:gd name="connsiteX3" fmla="*/ 18324 w 18347"/>
                    <a:gd name="connsiteY3" fmla="*/ 9892 h 18407"/>
                    <a:gd name="connsiteX4" fmla="*/ 9832 w 18347"/>
                    <a:gd name="connsiteY4" fmla="*/ 2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9832" y="24"/>
                      </a:moveTo>
                      <a:cubicBezTo>
                        <a:pt x="4808" y="-335"/>
                        <a:pt x="382" y="3433"/>
                        <a:pt x="23" y="8516"/>
                      </a:cubicBezTo>
                      <a:cubicBezTo>
                        <a:pt x="-336" y="13600"/>
                        <a:pt x="3492" y="18025"/>
                        <a:pt x="8516" y="18384"/>
                      </a:cubicBezTo>
                      <a:cubicBezTo>
                        <a:pt x="13540" y="18743"/>
                        <a:pt x="17965" y="14975"/>
                        <a:pt x="18324" y="9892"/>
                      </a:cubicBezTo>
                      <a:cubicBezTo>
                        <a:pt x="18683" y="4808"/>
                        <a:pt x="14915" y="382"/>
                        <a:pt x="9832" y="24"/>
                      </a:cubicBezTo>
                      <a:close/>
                    </a:path>
                  </a:pathLst>
                </a:custGeom>
                <a:grpFill/>
                <a:ln w="5978" cap="flat">
                  <a:noFill/>
                  <a:prstDash val="solid"/>
                  <a:miter/>
                </a:ln>
              </p:spPr>
              <p:txBody>
                <a:bodyPr rtlCol="0" anchor="ctr"/>
                <a:lstStyle/>
                <a:p>
                  <a:endParaRPr lang="en-GB"/>
                </a:p>
              </p:txBody>
            </p:sp>
          </p:grpSp>
          <p:grpSp>
            <p:nvGrpSpPr>
              <p:cNvPr id="1241" name="Graphic 3">
                <a:extLst>
                  <a:ext uri="{FF2B5EF4-FFF2-40B4-BE49-F238E27FC236}">
                    <a16:creationId xmlns:a16="http://schemas.microsoft.com/office/drawing/2014/main" id="{A6C2577A-D742-40F2-9D32-C6D5B7530082}"/>
                  </a:ext>
                </a:extLst>
              </p:cNvPr>
              <p:cNvGrpSpPr/>
              <p:nvPr/>
            </p:nvGrpSpPr>
            <p:grpSpPr>
              <a:xfrm>
                <a:off x="4591993" y="4913726"/>
                <a:ext cx="136469" cy="151701"/>
                <a:chOff x="4591993" y="4913726"/>
                <a:chExt cx="136469" cy="151701"/>
              </a:xfrm>
              <a:grpFill/>
            </p:grpSpPr>
            <p:sp>
              <p:nvSpPr>
                <p:cNvPr id="1680" name="Vrije vorm: vorm 1679">
                  <a:extLst>
                    <a:ext uri="{FF2B5EF4-FFF2-40B4-BE49-F238E27FC236}">
                      <a16:creationId xmlns:a16="http://schemas.microsoft.com/office/drawing/2014/main" id="{897E57C6-6210-4655-91C3-92BEB92451F2}"/>
                    </a:ext>
                  </a:extLst>
                </p:cNvPr>
                <p:cNvSpPr/>
                <p:nvPr/>
              </p:nvSpPr>
              <p:spPr>
                <a:xfrm>
                  <a:off x="4599673" y="4921576"/>
                  <a:ext cx="121109" cy="136001"/>
                </a:xfrm>
                <a:custGeom>
                  <a:avLst/>
                  <a:gdLst>
                    <a:gd name="connsiteX0" fmla="*/ 121110 w 121109"/>
                    <a:gd name="connsiteY0" fmla="*/ 2033 h 136001"/>
                    <a:gd name="connsiteX1" fmla="*/ 2273 w 121109"/>
                    <a:gd name="connsiteY1" fmla="*/ 136002 h 136001"/>
                    <a:gd name="connsiteX2" fmla="*/ 0 w 121109"/>
                    <a:gd name="connsiteY2" fmla="*/ 133908 h 136001"/>
                    <a:gd name="connsiteX3" fmla="*/ 118777 w 121109"/>
                    <a:gd name="connsiteY3" fmla="*/ 0 h 136001"/>
                  </a:gdLst>
                  <a:ahLst/>
                  <a:cxnLst>
                    <a:cxn ang="0">
                      <a:pos x="connsiteX0" y="connsiteY0"/>
                    </a:cxn>
                    <a:cxn ang="0">
                      <a:pos x="connsiteX1" y="connsiteY1"/>
                    </a:cxn>
                    <a:cxn ang="0">
                      <a:pos x="connsiteX2" y="connsiteY2"/>
                    </a:cxn>
                    <a:cxn ang="0">
                      <a:pos x="connsiteX3" y="connsiteY3"/>
                    </a:cxn>
                  </a:cxnLst>
                  <a:rect l="l" t="t" r="r" b="b"/>
                  <a:pathLst>
                    <a:path w="121109" h="136001">
                      <a:moveTo>
                        <a:pt x="121110" y="2033"/>
                      </a:moveTo>
                      <a:lnTo>
                        <a:pt x="2273" y="136002"/>
                      </a:lnTo>
                      <a:lnTo>
                        <a:pt x="0" y="133908"/>
                      </a:lnTo>
                      <a:lnTo>
                        <a:pt x="118777" y="0"/>
                      </a:lnTo>
                      <a:close/>
                    </a:path>
                  </a:pathLst>
                </a:custGeom>
                <a:grpFill/>
                <a:ln w="5978" cap="flat">
                  <a:noFill/>
                  <a:prstDash val="solid"/>
                  <a:miter/>
                </a:ln>
              </p:spPr>
              <p:txBody>
                <a:bodyPr rtlCol="0" anchor="ctr"/>
                <a:lstStyle/>
                <a:p>
                  <a:endParaRPr lang="en-GB"/>
                </a:p>
              </p:txBody>
            </p:sp>
            <p:sp>
              <p:nvSpPr>
                <p:cNvPr id="1681" name="Vrije vorm: vorm 1680">
                  <a:extLst>
                    <a:ext uri="{FF2B5EF4-FFF2-40B4-BE49-F238E27FC236}">
                      <a16:creationId xmlns:a16="http://schemas.microsoft.com/office/drawing/2014/main" id="{B6D417DD-344A-4A54-B17B-4AD8D569C584}"/>
                    </a:ext>
                  </a:extLst>
                </p:cNvPr>
                <p:cNvSpPr/>
                <p:nvPr/>
              </p:nvSpPr>
              <p:spPr>
                <a:xfrm>
                  <a:off x="4591993" y="5046976"/>
                  <a:ext cx="18290" cy="18450"/>
                </a:xfrm>
                <a:custGeom>
                  <a:avLst/>
                  <a:gdLst>
                    <a:gd name="connsiteX0" fmla="*/ 15993 w 18290"/>
                    <a:gd name="connsiteY0" fmla="*/ 15386 h 18450"/>
                    <a:gd name="connsiteX1" fmla="*/ 3075 w 18290"/>
                    <a:gd name="connsiteY1" fmla="*/ 16103 h 18450"/>
                    <a:gd name="connsiteX2" fmla="*/ 2297 w 18290"/>
                    <a:gd name="connsiteY2" fmla="*/ 3065 h 18450"/>
                    <a:gd name="connsiteX3" fmla="*/ 15216 w 18290"/>
                    <a:gd name="connsiteY3" fmla="*/ 2348 h 18450"/>
                    <a:gd name="connsiteX4" fmla="*/ 15993 w 18290"/>
                    <a:gd name="connsiteY4" fmla="*/ 1538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50">
                      <a:moveTo>
                        <a:pt x="15993" y="15386"/>
                      </a:moveTo>
                      <a:cubicBezTo>
                        <a:pt x="12644" y="19153"/>
                        <a:pt x="6843" y="19512"/>
                        <a:pt x="3075" y="16103"/>
                      </a:cubicBezTo>
                      <a:cubicBezTo>
                        <a:pt x="-693" y="12694"/>
                        <a:pt x="-1052" y="6893"/>
                        <a:pt x="2297" y="3065"/>
                      </a:cubicBezTo>
                      <a:cubicBezTo>
                        <a:pt x="5646" y="-703"/>
                        <a:pt x="11448" y="-1061"/>
                        <a:pt x="15216" y="2348"/>
                      </a:cubicBezTo>
                      <a:cubicBezTo>
                        <a:pt x="18984" y="5757"/>
                        <a:pt x="19342" y="11558"/>
                        <a:pt x="15993" y="15386"/>
                      </a:cubicBezTo>
                      <a:close/>
                    </a:path>
                  </a:pathLst>
                </a:custGeom>
                <a:grpFill/>
                <a:ln w="5978" cap="flat">
                  <a:noFill/>
                  <a:prstDash val="solid"/>
                  <a:miter/>
                </a:ln>
              </p:spPr>
              <p:txBody>
                <a:bodyPr rtlCol="0" anchor="ctr"/>
                <a:lstStyle/>
                <a:p>
                  <a:endParaRPr lang="en-GB"/>
                </a:p>
              </p:txBody>
            </p:sp>
            <p:sp>
              <p:nvSpPr>
                <p:cNvPr id="1682" name="Vrije vorm: vorm 1681">
                  <a:extLst>
                    <a:ext uri="{FF2B5EF4-FFF2-40B4-BE49-F238E27FC236}">
                      <a16:creationId xmlns:a16="http://schemas.microsoft.com/office/drawing/2014/main" id="{1197A5E1-1B33-44E6-B065-FB014451578E}"/>
                    </a:ext>
                  </a:extLst>
                </p:cNvPr>
                <p:cNvSpPr/>
                <p:nvPr/>
              </p:nvSpPr>
              <p:spPr>
                <a:xfrm>
                  <a:off x="4710172" y="4913726"/>
                  <a:ext cx="18290" cy="18426"/>
                </a:xfrm>
                <a:custGeom>
                  <a:avLst/>
                  <a:gdLst>
                    <a:gd name="connsiteX0" fmla="*/ 15993 w 18290"/>
                    <a:gd name="connsiteY0" fmla="*/ 15386 h 18426"/>
                    <a:gd name="connsiteX1" fmla="*/ 15216 w 18290"/>
                    <a:gd name="connsiteY1" fmla="*/ 2348 h 18426"/>
                    <a:gd name="connsiteX2" fmla="*/ 2297 w 18290"/>
                    <a:gd name="connsiteY2" fmla="*/ 3065 h 18426"/>
                    <a:gd name="connsiteX3" fmla="*/ 3075 w 18290"/>
                    <a:gd name="connsiteY3" fmla="*/ 16103 h 18426"/>
                    <a:gd name="connsiteX4" fmla="*/ 15993 w 18290"/>
                    <a:gd name="connsiteY4" fmla="*/ 15386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26">
                      <a:moveTo>
                        <a:pt x="15993" y="15386"/>
                      </a:moveTo>
                      <a:cubicBezTo>
                        <a:pt x="19342" y="11618"/>
                        <a:pt x="18984" y="5756"/>
                        <a:pt x="15216" y="2348"/>
                      </a:cubicBezTo>
                      <a:cubicBezTo>
                        <a:pt x="11448" y="-1061"/>
                        <a:pt x="5646" y="-703"/>
                        <a:pt x="2297" y="3065"/>
                      </a:cubicBezTo>
                      <a:cubicBezTo>
                        <a:pt x="-1052" y="6833"/>
                        <a:pt x="-693" y="12694"/>
                        <a:pt x="3075" y="16103"/>
                      </a:cubicBezTo>
                      <a:cubicBezTo>
                        <a:pt x="6843" y="19452"/>
                        <a:pt x="12644" y="19153"/>
                        <a:pt x="15993" y="15386"/>
                      </a:cubicBezTo>
                      <a:close/>
                    </a:path>
                  </a:pathLst>
                </a:custGeom>
                <a:grpFill/>
                <a:ln w="5978" cap="flat">
                  <a:noFill/>
                  <a:prstDash val="solid"/>
                  <a:miter/>
                </a:ln>
              </p:spPr>
              <p:txBody>
                <a:bodyPr rtlCol="0" anchor="ctr"/>
                <a:lstStyle/>
                <a:p>
                  <a:endParaRPr lang="en-GB"/>
                </a:p>
              </p:txBody>
            </p:sp>
          </p:grpSp>
          <p:grpSp>
            <p:nvGrpSpPr>
              <p:cNvPr id="1242" name="Graphic 3">
                <a:extLst>
                  <a:ext uri="{FF2B5EF4-FFF2-40B4-BE49-F238E27FC236}">
                    <a16:creationId xmlns:a16="http://schemas.microsoft.com/office/drawing/2014/main" id="{EF7BFB51-C122-45CC-A6B9-5887C5E1DA81}"/>
                  </a:ext>
                </a:extLst>
              </p:cNvPr>
              <p:cNvGrpSpPr/>
              <p:nvPr/>
            </p:nvGrpSpPr>
            <p:grpSpPr>
              <a:xfrm>
                <a:off x="4302852" y="3976026"/>
                <a:ext cx="48319" cy="28402"/>
                <a:chOff x="4302852" y="3976026"/>
                <a:chExt cx="48319" cy="28402"/>
              </a:xfrm>
              <a:grpFill/>
            </p:grpSpPr>
            <p:sp>
              <p:nvSpPr>
                <p:cNvPr id="1677" name="Vrije vorm: vorm 1676">
                  <a:extLst>
                    <a:ext uri="{FF2B5EF4-FFF2-40B4-BE49-F238E27FC236}">
                      <a16:creationId xmlns:a16="http://schemas.microsoft.com/office/drawing/2014/main" id="{22A13521-C374-45EB-9B32-551B71CDADFE}"/>
                    </a:ext>
                  </a:extLst>
                </p:cNvPr>
                <p:cNvSpPr/>
                <p:nvPr/>
              </p:nvSpPr>
              <p:spPr>
                <a:xfrm>
                  <a:off x="4311271" y="3983852"/>
                  <a:ext cx="31781" cy="13137"/>
                </a:xfrm>
                <a:custGeom>
                  <a:avLst/>
                  <a:gdLst>
                    <a:gd name="connsiteX0" fmla="*/ 0 w 31781"/>
                    <a:gd name="connsiteY0" fmla="*/ 10243 h 13137"/>
                    <a:gd name="connsiteX1" fmla="*/ 30819 w 31781"/>
                    <a:gd name="connsiteY1" fmla="*/ 0 h 13137"/>
                    <a:gd name="connsiteX2" fmla="*/ 31781 w 31781"/>
                    <a:gd name="connsiteY2" fmla="*/ 2895 h 13137"/>
                    <a:gd name="connsiteX3" fmla="*/ 962 w 31781"/>
                    <a:gd name="connsiteY3" fmla="*/ 13138 h 13137"/>
                  </a:gdLst>
                  <a:ahLst/>
                  <a:cxnLst>
                    <a:cxn ang="0">
                      <a:pos x="connsiteX0" y="connsiteY0"/>
                    </a:cxn>
                    <a:cxn ang="0">
                      <a:pos x="connsiteX1" y="connsiteY1"/>
                    </a:cxn>
                    <a:cxn ang="0">
                      <a:pos x="connsiteX2" y="connsiteY2"/>
                    </a:cxn>
                    <a:cxn ang="0">
                      <a:pos x="connsiteX3" y="connsiteY3"/>
                    </a:cxn>
                  </a:cxnLst>
                  <a:rect l="l" t="t" r="r" b="b"/>
                  <a:pathLst>
                    <a:path w="31781" h="13137">
                      <a:moveTo>
                        <a:pt x="0" y="10243"/>
                      </a:moveTo>
                      <a:lnTo>
                        <a:pt x="30819" y="0"/>
                      </a:lnTo>
                      <a:lnTo>
                        <a:pt x="31781" y="2895"/>
                      </a:lnTo>
                      <a:lnTo>
                        <a:pt x="962" y="13138"/>
                      </a:lnTo>
                      <a:close/>
                    </a:path>
                  </a:pathLst>
                </a:custGeom>
                <a:grpFill/>
                <a:ln w="5978" cap="flat">
                  <a:noFill/>
                  <a:prstDash val="solid"/>
                  <a:miter/>
                </a:ln>
              </p:spPr>
              <p:txBody>
                <a:bodyPr rtlCol="0" anchor="ctr"/>
                <a:lstStyle/>
                <a:p>
                  <a:endParaRPr lang="en-GB"/>
                </a:p>
              </p:txBody>
            </p:sp>
            <p:sp>
              <p:nvSpPr>
                <p:cNvPr id="1678" name="Vrije vorm: vorm 1677">
                  <a:extLst>
                    <a:ext uri="{FF2B5EF4-FFF2-40B4-BE49-F238E27FC236}">
                      <a16:creationId xmlns:a16="http://schemas.microsoft.com/office/drawing/2014/main" id="{11FFCE8B-FE31-4545-BC05-952B5A3688F8}"/>
                    </a:ext>
                  </a:extLst>
                </p:cNvPr>
                <p:cNvSpPr/>
                <p:nvPr/>
              </p:nvSpPr>
              <p:spPr>
                <a:xfrm>
                  <a:off x="4332839" y="3976026"/>
                  <a:ext cx="18333" cy="18474"/>
                </a:xfrm>
                <a:custGeom>
                  <a:avLst/>
                  <a:gdLst>
                    <a:gd name="connsiteX0" fmla="*/ 6254 w 18333"/>
                    <a:gd name="connsiteY0" fmla="*/ 476 h 18474"/>
                    <a:gd name="connsiteX1" fmla="*/ 17857 w 18333"/>
                    <a:gd name="connsiteY1" fmla="*/ 6337 h 18474"/>
                    <a:gd name="connsiteX2" fmla="*/ 12056 w 18333"/>
                    <a:gd name="connsiteY2" fmla="*/ 17999 h 18474"/>
                    <a:gd name="connsiteX3" fmla="*/ 453 w 18333"/>
                    <a:gd name="connsiteY3" fmla="*/ 12138 h 18474"/>
                    <a:gd name="connsiteX4" fmla="*/ 6254 w 18333"/>
                    <a:gd name="connsiteY4" fmla="*/ 476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74">
                      <a:moveTo>
                        <a:pt x="6254" y="476"/>
                      </a:moveTo>
                      <a:cubicBezTo>
                        <a:pt x="11039" y="-1139"/>
                        <a:pt x="16242" y="1492"/>
                        <a:pt x="17857" y="6337"/>
                      </a:cubicBezTo>
                      <a:cubicBezTo>
                        <a:pt x="19472" y="11181"/>
                        <a:pt x="16840" y="16385"/>
                        <a:pt x="12056" y="17999"/>
                      </a:cubicBezTo>
                      <a:cubicBezTo>
                        <a:pt x="7271" y="19614"/>
                        <a:pt x="2068" y="16982"/>
                        <a:pt x="453" y="12138"/>
                      </a:cubicBezTo>
                      <a:cubicBezTo>
                        <a:pt x="-1102" y="7294"/>
                        <a:pt x="1470" y="2091"/>
                        <a:pt x="6254" y="476"/>
                      </a:cubicBezTo>
                      <a:close/>
                    </a:path>
                  </a:pathLst>
                </a:custGeom>
                <a:grpFill/>
                <a:ln w="5978" cap="flat">
                  <a:noFill/>
                  <a:prstDash val="solid"/>
                  <a:miter/>
                </a:ln>
              </p:spPr>
              <p:txBody>
                <a:bodyPr rtlCol="0" anchor="ctr"/>
                <a:lstStyle/>
                <a:p>
                  <a:endParaRPr lang="en-GB"/>
                </a:p>
              </p:txBody>
            </p:sp>
            <p:sp>
              <p:nvSpPr>
                <p:cNvPr id="1679" name="Vrije vorm: vorm 1678">
                  <a:extLst>
                    <a:ext uri="{FF2B5EF4-FFF2-40B4-BE49-F238E27FC236}">
                      <a16:creationId xmlns:a16="http://schemas.microsoft.com/office/drawing/2014/main" id="{6562D332-1BD1-4286-BC93-4AE7AF87C612}"/>
                    </a:ext>
                  </a:extLst>
                </p:cNvPr>
                <p:cNvSpPr/>
                <p:nvPr/>
              </p:nvSpPr>
              <p:spPr>
                <a:xfrm>
                  <a:off x="4302852" y="3985983"/>
                  <a:ext cx="18355" cy="18446"/>
                </a:xfrm>
                <a:custGeom>
                  <a:avLst/>
                  <a:gdLst>
                    <a:gd name="connsiteX0" fmla="*/ 6277 w 18355"/>
                    <a:gd name="connsiteY0" fmla="*/ 447 h 18446"/>
                    <a:gd name="connsiteX1" fmla="*/ 476 w 18355"/>
                    <a:gd name="connsiteY1" fmla="*/ 12109 h 18446"/>
                    <a:gd name="connsiteX2" fmla="*/ 12079 w 18355"/>
                    <a:gd name="connsiteY2" fmla="*/ 17971 h 18446"/>
                    <a:gd name="connsiteX3" fmla="*/ 17880 w 18355"/>
                    <a:gd name="connsiteY3" fmla="*/ 6308 h 18446"/>
                    <a:gd name="connsiteX4" fmla="*/ 6277 w 18355"/>
                    <a:gd name="connsiteY4" fmla="*/ 447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46">
                      <a:moveTo>
                        <a:pt x="6277" y="447"/>
                      </a:moveTo>
                      <a:cubicBezTo>
                        <a:pt x="1493" y="2062"/>
                        <a:pt x="-1139" y="7265"/>
                        <a:pt x="476" y="12109"/>
                      </a:cubicBezTo>
                      <a:cubicBezTo>
                        <a:pt x="2091" y="16954"/>
                        <a:pt x="7294" y="19585"/>
                        <a:pt x="12079" y="17971"/>
                      </a:cubicBezTo>
                      <a:cubicBezTo>
                        <a:pt x="16863" y="16356"/>
                        <a:pt x="19495" y="11153"/>
                        <a:pt x="17880" y="6308"/>
                      </a:cubicBezTo>
                      <a:cubicBezTo>
                        <a:pt x="16265" y="1524"/>
                        <a:pt x="11062" y="-1108"/>
                        <a:pt x="6277" y="447"/>
                      </a:cubicBezTo>
                      <a:close/>
                    </a:path>
                  </a:pathLst>
                </a:custGeom>
                <a:grpFill/>
                <a:ln w="5978" cap="flat">
                  <a:noFill/>
                  <a:prstDash val="solid"/>
                  <a:miter/>
                </a:ln>
              </p:spPr>
              <p:txBody>
                <a:bodyPr rtlCol="0" anchor="ctr"/>
                <a:lstStyle/>
                <a:p>
                  <a:endParaRPr lang="en-GB"/>
                </a:p>
              </p:txBody>
            </p:sp>
          </p:grpSp>
          <p:grpSp>
            <p:nvGrpSpPr>
              <p:cNvPr id="1243" name="Graphic 3">
                <a:extLst>
                  <a:ext uri="{FF2B5EF4-FFF2-40B4-BE49-F238E27FC236}">
                    <a16:creationId xmlns:a16="http://schemas.microsoft.com/office/drawing/2014/main" id="{3841AF03-3936-4505-88F4-7959F8410DE3}"/>
                  </a:ext>
                </a:extLst>
              </p:cNvPr>
              <p:cNvGrpSpPr/>
              <p:nvPr/>
            </p:nvGrpSpPr>
            <p:grpSpPr>
              <a:xfrm>
                <a:off x="4584347" y="4874321"/>
                <a:ext cx="129214" cy="138766"/>
                <a:chOff x="4584347" y="4874321"/>
                <a:chExt cx="129214" cy="138766"/>
              </a:xfrm>
              <a:grpFill/>
            </p:grpSpPr>
            <p:sp>
              <p:nvSpPr>
                <p:cNvPr id="1674" name="Vrije vorm: vorm 1673">
                  <a:extLst>
                    <a:ext uri="{FF2B5EF4-FFF2-40B4-BE49-F238E27FC236}">
                      <a16:creationId xmlns:a16="http://schemas.microsoft.com/office/drawing/2014/main" id="{E81416B9-0856-46AC-98B0-67745078BFA2}"/>
                    </a:ext>
                  </a:extLst>
                </p:cNvPr>
                <p:cNvSpPr/>
                <p:nvPr/>
              </p:nvSpPr>
              <p:spPr>
                <a:xfrm>
                  <a:off x="4592137" y="4882163"/>
                  <a:ext cx="113693" cy="123143"/>
                </a:xfrm>
                <a:custGeom>
                  <a:avLst/>
                  <a:gdLst>
                    <a:gd name="connsiteX0" fmla="*/ 113694 w 113693"/>
                    <a:gd name="connsiteY0" fmla="*/ 2093 h 123143"/>
                    <a:gd name="connsiteX1" fmla="*/ 2213 w 113693"/>
                    <a:gd name="connsiteY1" fmla="*/ 123143 h 123143"/>
                    <a:gd name="connsiteX2" fmla="*/ 0 w 113693"/>
                    <a:gd name="connsiteY2" fmla="*/ 121050 h 123143"/>
                    <a:gd name="connsiteX3" fmla="*/ 111421 w 113693"/>
                    <a:gd name="connsiteY3" fmla="*/ 0 h 123143"/>
                  </a:gdLst>
                  <a:ahLst/>
                  <a:cxnLst>
                    <a:cxn ang="0">
                      <a:pos x="connsiteX0" y="connsiteY0"/>
                    </a:cxn>
                    <a:cxn ang="0">
                      <a:pos x="connsiteX1" y="connsiteY1"/>
                    </a:cxn>
                    <a:cxn ang="0">
                      <a:pos x="connsiteX2" y="connsiteY2"/>
                    </a:cxn>
                    <a:cxn ang="0">
                      <a:pos x="connsiteX3" y="connsiteY3"/>
                    </a:cxn>
                  </a:cxnLst>
                  <a:rect l="l" t="t" r="r" b="b"/>
                  <a:pathLst>
                    <a:path w="113693" h="123143">
                      <a:moveTo>
                        <a:pt x="113694" y="2093"/>
                      </a:moveTo>
                      <a:lnTo>
                        <a:pt x="2213" y="123143"/>
                      </a:lnTo>
                      <a:lnTo>
                        <a:pt x="0" y="121050"/>
                      </a:lnTo>
                      <a:lnTo>
                        <a:pt x="111421" y="0"/>
                      </a:lnTo>
                      <a:close/>
                    </a:path>
                  </a:pathLst>
                </a:custGeom>
                <a:grpFill/>
                <a:ln w="5978" cap="flat">
                  <a:noFill/>
                  <a:prstDash val="solid"/>
                  <a:miter/>
                </a:ln>
              </p:spPr>
              <p:txBody>
                <a:bodyPr rtlCol="0" anchor="ctr"/>
                <a:lstStyle/>
                <a:p>
                  <a:endParaRPr lang="en-GB"/>
                </a:p>
              </p:txBody>
            </p:sp>
            <p:sp>
              <p:nvSpPr>
                <p:cNvPr id="1675" name="Vrije vorm: vorm 1674">
                  <a:extLst>
                    <a:ext uri="{FF2B5EF4-FFF2-40B4-BE49-F238E27FC236}">
                      <a16:creationId xmlns:a16="http://schemas.microsoft.com/office/drawing/2014/main" id="{65C1BAFC-A532-4C9C-A31D-ECC8820A8F87}"/>
                    </a:ext>
                  </a:extLst>
                </p:cNvPr>
                <p:cNvSpPr/>
                <p:nvPr/>
              </p:nvSpPr>
              <p:spPr>
                <a:xfrm>
                  <a:off x="4584347" y="4994653"/>
                  <a:ext cx="18376" cy="18434"/>
                </a:xfrm>
                <a:custGeom>
                  <a:avLst/>
                  <a:gdLst>
                    <a:gd name="connsiteX0" fmla="*/ 15924 w 18376"/>
                    <a:gd name="connsiteY0" fmla="*/ 15497 h 18434"/>
                    <a:gd name="connsiteX1" fmla="*/ 2946 w 18376"/>
                    <a:gd name="connsiteY1" fmla="*/ 15975 h 18434"/>
                    <a:gd name="connsiteX2" fmla="*/ 2408 w 18376"/>
                    <a:gd name="connsiteY2" fmla="*/ 2937 h 18434"/>
                    <a:gd name="connsiteX3" fmla="*/ 15386 w 18376"/>
                    <a:gd name="connsiteY3" fmla="*/ 2459 h 18434"/>
                    <a:gd name="connsiteX4" fmla="*/ 15924 w 18376"/>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4">
                      <a:moveTo>
                        <a:pt x="15924" y="15497"/>
                      </a:moveTo>
                      <a:cubicBezTo>
                        <a:pt x="12515" y="19205"/>
                        <a:pt x="6714" y="19444"/>
                        <a:pt x="2946" y="15975"/>
                      </a:cubicBezTo>
                      <a:cubicBezTo>
                        <a:pt x="-762" y="12507"/>
                        <a:pt x="-1001" y="6705"/>
                        <a:pt x="2408" y="2937"/>
                      </a:cubicBezTo>
                      <a:cubicBezTo>
                        <a:pt x="5817" y="-771"/>
                        <a:pt x="11618" y="-1010"/>
                        <a:pt x="15386" y="2459"/>
                      </a:cubicBezTo>
                      <a:cubicBezTo>
                        <a:pt x="19154" y="5987"/>
                        <a:pt x="19393" y="11789"/>
                        <a:pt x="15924" y="15497"/>
                      </a:cubicBezTo>
                      <a:close/>
                    </a:path>
                  </a:pathLst>
                </a:custGeom>
                <a:grpFill/>
                <a:ln w="5978" cap="flat">
                  <a:noFill/>
                  <a:prstDash val="solid"/>
                  <a:miter/>
                </a:ln>
              </p:spPr>
              <p:txBody>
                <a:bodyPr rtlCol="0" anchor="ctr"/>
                <a:lstStyle/>
                <a:p>
                  <a:endParaRPr lang="en-GB"/>
                </a:p>
              </p:txBody>
            </p:sp>
            <p:sp>
              <p:nvSpPr>
                <p:cNvPr id="1676" name="Vrije vorm: vorm 1675">
                  <a:extLst>
                    <a:ext uri="{FF2B5EF4-FFF2-40B4-BE49-F238E27FC236}">
                      <a16:creationId xmlns:a16="http://schemas.microsoft.com/office/drawing/2014/main" id="{B829B371-F2F6-48F0-9118-63E464E895F9}"/>
                    </a:ext>
                  </a:extLst>
                </p:cNvPr>
                <p:cNvSpPr/>
                <p:nvPr/>
              </p:nvSpPr>
              <p:spPr>
                <a:xfrm>
                  <a:off x="4695229" y="4874321"/>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7" y="-771"/>
                        <a:pt x="2408" y="2937"/>
                      </a:cubicBezTo>
                      <a:cubicBezTo>
                        <a:pt x="-1001" y="6645"/>
                        <a:pt x="-762" y="12507"/>
                        <a:pt x="2946" y="15975"/>
                      </a:cubicBezTo>
                      <a:cubicBezTo>
                        <a:pt x="6654" y="19444"/>
                        <a:pt x="12455" y="19205"/>
                        <a:pt x="15924" y="15497"/>
                      </a:cubicBezTo>
                      <a:close/>
                    </a:path>
                  </a:pathLst>
                </a:custGeom>
                <a:grpFill/>
                <a:ln w="5978" cap="flat">
                  <a:noFill/>
                  <a:prstDash val="solid"/>
                  <a:miter/>
                </a:ln>
              </p:spPr>
              <p:txBody>
                <a:bodyPr rtlCol="0" anchor="ctr"/>
                <a:lstStyle/>
                <a:p>
                  <a:endParaRPr lang="en-GB"/>
                </a:p>
              </p:txBody>
            </p:sp>
          </p:grpSp>
          <p:grpSp>
            <p:nvGrpSpPr>
              <p:cNvPr id="1244" name="Graphic 3">
                <a:extLst>
                  <a:ext uri="{FF2B5EF4-FFF2-40B4-BE49-F238E27FC236}">
                    <a16:creationId xmlns:a16="http://schemas.microsoft.com/office/drawing/2014/main" id="{2CB3753D-FF08-46BE-952B-E600E9B6BF3D}"/>
                  </a:ext>
                </a:extLst>
              </p:cNvPr>
              <p:cNvGrpSpPr/>
              <p:nvPr/>
            </p:nvGrpSpPr>
            <p:grpSpPr>
              <a:xfrm>
                <a:off x="3856562" y="3122078"/>
                <a:ext cx="372862" cy="64747"/>
                <a:chOff x="3856562" y="3122078"/>
                <a:chExt cx="372862" cy="64747"/>
              </a:xfrm>
              <a:grpFill/>
            </p:grpSpPr>
            <p:sp>
              <p:nvSpPr>
                <p:cNvPr id="1671" name="Vrije vorm: vorm 1670">
                  <a:extLst>
                    <a:ext uri="{FF2B5EF4-FFF2-40B4-BE49-F238E27FC236}">
                      <a16:creationId xmlns:a16="http://schemas.microsoft.com/office/drawing/2014/main" id="{E6CF3742-EACE-45E2-B230-870E9D5CD3A7}"/>
                    </a:ext>
                  </a:extLst>
                </p:cNvPr>
                <p:cNvSpPr/>
                <p:nvPr/>
              </p:nvSpPr>
              <p:spPr>
                <a:xfrm>
                  <a:off x="3865061" y="3129752"/>
                  <a:ext cx="355793" cy="49400"/>
                </a:xfrm>
                <a:custGeom>
                  <a:avLst/>
                  <a:gdLst>
                    <a:gd name="connsiteX0" fmla="*/ 355793 w 355793"/>
                    <a:gd name="connsiteY0" fmla="*/ 46410 h 49400"/>
                    <a:gd name="connsiteX1" fmla="*/ 355434 w 355793"/>
                    <a:gd name="connsiteY1" fmla="*/ 49401 h 49400"/>
                    <a:gd name="connsiteX2" fmla="*/ 0 w 355793"/>
                    <a:gd name="connsiteY2" fmla="*/ 3050 h 49400"/>
                    <a:gd name="connsiteX3" fmla="*/ 359 w 355793"/>
                    <a:gd name="connsiteY3" fmla="*/ 0 h 49400"/>
                  </a:gdLst>
                  <a:ahLst/>
                  <a:cxnLst>
                    <a:cxn ang="0">
                      <a:pos x="connsiteX0" y="connsiteY0"/>
                    </a:cxn>
                    <a:cxn ang="0">
                      <a:pos x="connsiteX1" y="connsiteY1"/>
                    </a:cxn>
                    <a:cxn ang="0">
                      <a:pos x="connsiteX2" y="connsiteY2"/>
                    </a:cxn>
                    <a:cxn ang="0">
                      <a:pos x="connsiteX3" y="connsiteY3"/>
                    </a:cxn>
                  </a:cxnLst>
                  <a:rect l="l" t="t" r="r" b="b"/>
                  <a:pathLst>
                    <a:path w="355793" h="49400">
                      <a:moveTo>
                        <a:pt x="355793" y="46410"/>
                      </a:moveTo>
                      <a:lnTo>
                        <a:pt x="355434" y="49401"/>
                      </a:lnTo>
                      <a:lnTo>
                        <a:pt x="0" y="3050"/>
                      </a:lnTo>
                      <a:lnTo>
                        <a:pt x="359" y="0"/>
                      </a:lnTo>
                      <a:close/>
                    </a:path>
                  </a:pathLst>
                </a:custGeom>
                <a:grpFill/>
                <a:ln w="5978" cap="flat">
                  <a:noFill/>
                  <a:prstDash val="solid"/>
                  <a:miter/>
                </a:ln>
              </p:spPr>
              <p:txBody>
                <a:bodyPr rtlCol="0" anchor="ctr"/>
                <a:lstStyle/>
                <a:p>
                  <a:endParaRPr lang="en-GB"/>
                </a:p>
              </p:txBody>
            </p:sp>
            <p:sp>
              <p:nvSpPr>
                <p:cNvPr id="1672" name="Vrije vorm: vorm 1671">
                  <a:extLst>
                    <a:ext uri="{FF2B5EF4-FFF2-40B4-BE49-F238E27FC236}">
                      <a16:creationId xmlns:a16="http://schemas.microsoft.com/office/drawing/2014/main" id="{C644C4B1-AAA5-4484-AD4D-89DED1637C35}"/>
                    </a:ext>
                  </a:extLst>
                </p:cNvPr>
                <p:cNvSpPr/>
                <p:nvPr/>
              </p:nvSpPr>
              <p:spPr>
                <a:xfrm>
                  <a:off x="3856562" y="3122078"/>
                  <a:ext cx="18325" cy="18457"/>
                </a:xfrm>
                <a:custGeom>
                  <a:avLst/>
                  <a:gdLst>
                    <a:gd name="connsiteX0" fmla="*/ 8020 w 18325"/>
                    <a:gd name="connsiteY0" fmla="*/ 18379 h 18457"/>
                    <a:gd name="connsiteX1" fmla="*/ 66 w 18325"/>
                    <a:gd name="connsiteY1" fmla="*/ 8032 h 18457"/>
                    <a:gd name="connsiteX2" fmla="*/ 10293 w 18325"/>
                    <a:gd name="connsiteY2" fmla="*/ 78 h 18457"/>
                    <a:gd name="connsiteX3" fmla="*/ 18247 w 18325"/>
                    <a:gd name="connsiteY3" fmla="*/ 10424 h 18457"/>
                    <a:gd name="connsiteX4" fmla="*/ 8020 w 18325"/>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7">
                      <a:moveTo>
                        <a:pt x="8020" y="18379"/>
                      </a:moveTo>
                      <a:cubicBezTo>
                        <a:pt x="2997" y="17721"/>
                        <a:pt x="-532" y="13116"/>
                        <a:pt x="66" y="8032"/>
                      </a:cubicBezTo>
                      <a:cubicBezTo>
                        <a:pt x="724" y="3008"/>
                        <a:pt x="5269" y="-580"/>
                        <a:pt x="10293" y="78"/>
                      </a:cubicBezTo>
                      <a:cubicBezTo>
                        <a:pt x="15317" y="736"/>
                        <a:pt x="18905" y="5341"/>
                        <a:pt x="18247" y="10424"/>
                      </a:cubicBezTo>
                      <a:cubicBezTo>
                        <a:pt x="17590" y="15508"/>
                        <a:pt x="13044" y="19037"/>
                        <a:pt x="8020" y="18379"/>
                      </a:cubicBezTo>
                      <a:close/>
                    </a:path>
                  </a:pathLst>
                </a:custGeom>
                <a:grpFill/>
                <a:ln w="5978" cap="flat">
                  <a:noFill/>
                  <a:prstDash val="solid"/>
                  <a:miter/>
                </a:ln>
              </p:spPr>
              <p:txBody>
                <a:bodyPr rtlCol="0" anchor="ctr"/>
                <a:lstStyle/>
                <a:p>
                  <a:endParaRPr lang="en-GB"/>
                </a:p>
              </p:txBody>
            </p:sp>
            <p:sp>
              <p:nvSpPr>
                <p:cNvPr id="1673" name="Vrije vorm: vorm 1672">
                  <a:extLst>
                    <a:ext uri="{FF2B5EF4-FFF2-40B4-BE49-F238E27FC236}">
                      <a16:creationId xmlns:a16="http://schemas.microsoft.com/office/drawing/2014/main" id="{595DEEA8-01BE-4334-9440-D45939C66B8F}"/>
                    </a:ext>
                  </a:extLst>
                </p:cNvPr>
                <p:cNvSpPr/>
                <p:nvPr/>
              </p:nvSpPr>
              <p:spPr>
                <a:xfrm>
                  <a:off x="4211087" y="3168369"/>
                  <a:ext cx="18337" cy="18456"/>
                </a:xfrm>
                <a:custGeom>
                  <a:avLst/>
                  <a:gdLst>
                    <a:gd name="connsiteX0" fmla="*/ 8032 w 18337"/>
                    <a:gd name="connsiteY0" fmla="*/ 18379 h 18456"/>
                    <a:gd name="connsiteX1" fmla="*/ 18259 w 18337"/>
                    <a:gd name="connsiteY1" fmla="*/ 10424 h 18456"/>
                    <a:gd name="connsiteX2" fmla="*/ 10305 w 18337"/>
                    <a:gd name="connsiteY2" fmla="*/ 78 h 18456"/>
                    <a:gd name="connsiteX3" fmla="*/ 78 w 18337"/>
                    <a:gd name="connsiteY3" fmla="*/ 8032 h 18456"/>
                    <a:gd name="connsiteX4" fmla="*/ 8032 w 18337"/>
                    <a:gd name="connsiteY4" fmla="*/ 1837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6">
                      <a:moveTo>
                        <a:pt x="8032" y="18379"/>
                      </a:moveTo>
                      <a:cubicBezTo>
                        <a:pt x="13056" y="19037"/>
                        <a:pt x="17661" y="15448"/>
                        <a:pt x="18259" y="10424"/>
                      </a:cubicBezTo>
                      <a:cubicBezTo>
                        <a:pt x="18917" y="5401"/>
                        <a:pt x="15329" y="736"/>
                        <a:pt x="10305" y="78"/>
                      </a:cubicBezTo>
                      <a:cubicBezTo>
                        <a:pt x="5281" y="-580"/>
                        <a:pt x="676" y="3008"/>
                        <a:pt x="78" y="8032"/>
                      </a:cubicBezTo>
                      <a:cubicBezTo>
                        <a:pt x="-580" y="13116"/>
                        <a:pt x="3008" y="17721"/>
                        <a:pt x="8032" y="18379"/>
                      </a:cubicBezTo>
                      <a:close/>
                    </a:path>
                  </a:pathLst>
                </a:custGeom>
                <a:grpFill/>
                <a:ln w="5978" cap="flat">
                  <a:noFill/>
                  <a:prstDash val="solid"/>
                  <a:miter/>
                </a:ln>
              </p:spPr>
              <p:txBody>
                <a:bodyPr rtlCol="0" anchor="ctr"/>
                <a:lstStyle/>
                <a:p>
                  <a:endParaRPr lang="en-GB"/>
                </a:p>
              </p:txBody>
            </p:sp>
          </p:grpSp>
          <p:grpSp>
            <p:nvGrpSpPr>
              <p:cNvPr id="1245" name="Graphic 3">
                <a:extLst>
                  <a:ext uri="{FF2B5EF4-FFF2-40B4-BE49-F238E27FC236}">
                    <a16:creationId xmlns:a16="http://schemas.microsoft.com/office/drawing/2014/main" id="{E7536705-852D-4599-9A68-B3CC5C9F7A85}"/>
                  </a:ext>
                </a:extLst>
              </p:cNvPr>
              <p:cNvGrpSpPr/>
              <p:nvPr/>
            </p:nvGrpSpPr>
            <p:grpSpPr>
              <a:xfrm>
                <a:off x="4502870" y="4590942"/>
                <a:ext cx="88405" cy="74753"/>
                <a:chOff x="4502870" y="4590942"/>
                <a:chExt cx="88405" cy="74753"/>
              </a:xfrm>
              <a:grpFill/>
            </p:grpSpPr>
            <p:sp>
              <p:nvSpPr>
                <p:cNvPr id="1668" name="Vrije vorm: vorm 1667">
                  <a:extLst>
                    <a:ext uri="{FF2B5EF4-FFF2-40B4-BE49-F238E27FC236}">
                      <a16:creationId xmlns:a16="http://schemas.microsoft.com/office/drawing/2014/main" id="{A543670F-F779-4E1D-A6F2-8E269253590C}"/>
                    </a:ext>
                  </a:extLst>
                </p:cNvPr>
                <p:cNvSpPr/>
                <p:nvPr/>
              </p:nvSpPr>
              <p:spPr>
                <a:xfrm>
                  <a:off x="4510680" y="4598677"/>
                  <a:ext cx="72725" cy="59268"/>
                </a:xfrm>
                <a:custGeom>
                  <a:avLst/>
                  <a:gdLst>
                    <a:gd name="connsiteX0" fmla="*/ 72725 w 72725"/>
                    <a:gd name="connsiteY0" fmla="*/ 2392 h 59268"/>
                    <a:gd name="connsiteX1" fmla="*/ 1914 w 72725"/>
                    <a:gd name="connsiteY1" fmla="*/ 59269 h 59268"/>
                    <a:gd name="connsiteX2" fmla="*/ 0 w 72725"/>
                    <a:gd name="connsiteY2" fmla="*/ 56877 h 59268"/>
                    <a:gd name="connsiteX3" fmla="*/ 70812 w 72725"/>
                    <a:gd name="connsiteY3" fmla="*/ 0 h 59268"/>
                  </a:gdLst>
                  <a:ahLst/>
                  <a:cxnLst>
                    <a:cxn ang="0">
                      <a:pos x="connsiteX0" y="connsiteY0"/>
                    </a:cxn>
                    <a:cxn ang="0">
                      <a:pos x="connsiteX1" y="connsiteY1"/>
                    </a:cxn>
                    <a:cxn ang="0">
                      <a:pos x="connsiteX2" y="connsiteY2"/>
                    </a:cxn>
                    <a:cxn ang="0">
                      <a:pos x="connsiteX3" y="connsiteY3"/>
                    </a:cxn>
                  </a:cxnLst>
                  <a:rect l="l" t="t" r="r" b="b"/>
                  <a:pathLst>
                    <a:path w="72725" h="59268">
                      <a:moveTo>
                        <a:pt x="72725" y="2392"/>
                      </a:moveTo>
                      <a:lnTo>
                        <a:pt x="1914" y="59269"/>
                      </a:lnTo>
                      <a:lnTo>
                        <a:pt x="0" y="56877"/>
                      </a:lnTo>
                      <a:lnTo>
                        <a:pt x="70812" y="0"/>
                      </a:lnTo>
                      <a:close/>
                    </a:path>
                  </a:pathLst>
                </a:custGeom>
                <a:grpFill/>
                <a:ln w="5978" cap="flat">
                  <a:noFill/>
                  <a:prstDash val="solid"/>
                  <a:miter/>
                </a:ln>
              </p:spPr>
              <p:txBody>
                <a:bodyPr rtlCol="0" anchor="ctr"/>
                <a:lstStyle/>
                <a:p>
                  <a:endParaRPr lang="en-GB"/>
                </a:p>
              </p:txBody>
            </p:sp>
            <p:sp>
              <p:nvSpPr>
                <p:cNvPr id="1669" name="Vrije vorm: vorm 1668">
                  <a:extLst>
                    <a:ext uri="{FF2B5EF4-FFF2-40B4-BE49-F238E27FC236}">
                      <a16:creationId xmlns:a16="http://schemas.microsoft.com/office/drawing/2014/main" id="{B7EC524D-D2BA-4464-B293-7346666C7CD1}"/>
                    </a:ext>
                  </a:extLst>
                </p:cNvPr>
                <p:cNvSpPr/>
                <p:nvPr/>
              </p:nvSpPr>
              <p:spPr>
                <a:xfrm>
                  <a:off x="4502870" y="4647329"/>
                  <a:ext cx="18286" cy="18366"/>
                </a:xfrm>
                <a:custGeom>
                  <a:avLst/>
                  <a:gdLst>
                    <a:gd name="connsiteX0" fmla="*/ 14867 w 18286"/>
                    <a:gd name="connsiteY0" fmla="*/ 16358 h 18366"/>
                    <a:gd name="connsiteX1" fmla="*/ 2009 w 18286"/>
                    <a:gd name="connsiteY1" fmla="*/ 14923 h 18366"/>
                    <a:gd name="connsiteX2" fmla="*/ 3444 w 18286"/>
                    <a:gd name="connsiteY2" fmla="*/ 2004 h 18366"/>
                    <a:gd name="connsiteX3" fmla="*/ 16303 w 18286"/>
                    <a:gd name="connsiteY3" fmla="*/ 3499 h 18366"/>
                    <a:gd name="connsiteX4" fmla="*/ 14867 w 18286"/>
                    <a:gd name="connsiteY4" fmla="*/ 16358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366">
                      <a:moveTo>
                        <a:pt x="14867" y="16358"/>
                      </a:moveTo>
                      <a:cubicBezTo>
                        <a:pt x="10920" y="19527"/>
                        <a:pt x="5178" y="18870"/>
                        <a:pt x="2009" y="14923"/>
                      </a:cubicBezTo>
                      <a:cubicBezTo>
                        <a:pt x="-1161" y="10915"/>
                        <a:pt x="-503" y="5174"/>
                        <a:pt x="3444" y="2004"/>
                      </a:cubicBezTo>
                      <a:cubicBezTo>
                        <a:pt x="7391" y="-1166"/>
                        <a:pt x="13133" y="-508"/>
                        <a:pt x="16303" y="3499"/>
                      </a:cubicBezTo>
                      <a:cubicBezTo>
                        <a:pt x="19413" y="7387"/>
                        <a:pt x="18815" y="13188"/>
                        <a:pt x="14867" y="16358"/>
                      </a:cubicBezTo>
                      <a:close/>
                    </a:path>
                  </a:pathLst>
                </a:custGeom>
                <a:grpFill/>
                <a:ln w="5978" cap="flat">
                  <a:noFill/>
                  <a:prstDash val="solid"/>
                  <a:miter/>
                </a:ln>
              </p:spPr>
              <p:txBody>
                <a:bodyPr rtlCol="0" anchor="ctr"/>
                <a:lstStyle/>
                <a:p>
                  <a:endParaRPr lang="en-GB"/>
                </a:p>
              </p:txBody>
            </p:sp>
            <p:sp>
              <p:nvSpPr>
                <p:cNvPr id="1670" name="Vrije vorm: vorm 1669">
                  <a:extLst>
                    <a:ext uri="{FF2B5EF4-FFF2-40B4-BE49-F238E27FC236}">
                      <a16:creationId xmlns:a16="http://schemas.microsoft.com/office/drawing/2014/main" id="{B33C6BA6-7336-4A44-9E3C-C3359CA88110}"/>
                    </a:ext>
                  </a:extLst>
                </p:cNvPr>
                <p:cNvSpPr/>
                <p:nvPr/>
              </p:nvSpPr>
              <p:spPr>
                <a:xfrm>
                  <a:off x="4572964" y="4590942"/>
                  <a:ext cx="18311" cy="18414"/>
                </a:xfrm>
                <a:custGeom>
                  <a:avLst/>
                  <a:gdLst>
                    <a:gd name="connsiteX0" fmla="*/ 14867 w 18311"/>
                    <a:gd name="connsiteY0" fmla="*/ 16406 h 18414"/>
                    <a:gd name="connsiteX1" fmla="*/ 16303 w 18311"/>
                    <a:gd name="connsiteY1" fmla="*/ 3488 h 18414"/>
                    <a:gd name="connsiteX2" fmla="*/ 3444 w 18311"/>
                    <a:gd name="connsiteY2" fmla="*/ 2053 h 18414"/>
                    <a:gd name="connsiteX3" fmla="*/ 2009 w 18311"/>
                    <a:gd name="connsiteY3" fmla="*/ 14971 h 18414"/>
                    <a:gd name="connsiteX4" fmla="*/ 14867 w 18311"/>
                    <a:gd name="connsiteY4" fmla="*/ 16406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4">
                      <a:moveTo>
                        <a:pt x="14867" y="16406"/>
                      </a:moveTo>
                      <a:cubicBezTo>
                        <a:pt x="18815" y="13236"/>
                        <a:pt x="19472" y="7435"/>
                        <a:pt x="16303" y="3488"/>
                      </a:cubicBezTo>
                      <a:cubicBezTo>
                        <a:pt x="13133" y="-519"/>
                        <a:pt x="7392" y="-1177"/>
                        <a:pt x="3444" y="2053"/>
                      </a:cubicBezTo>
                      <a:cubicBezTo>
                        <a:pt x="-503" y="5222"/>
                        <a:pt x="-1161" y="11024"/>
                        <a:pt x="2009" y="14971"/>
                      </a:cubicBezTo>
                      <a:cubicBezTo>
                        <a:pt x="5119" y="18918"/>
                        <a:pt x="10920" y="19576"/>
                        <a:pt x="14867" y="16406"/>
                      </a:cubicBezTo>
                      <a:close/>
                    </a:path>
                  </a:pathLst>
                </a:custGeom>
                <a:grpFill/>
                <a:ln w="5978" cap="flat">
                  <a:noFill/>
                  <a:prstDash val="solid"/>
                  <a:miter/>
                </a:ln>
              </p:spPr>
              <p:txBody>
                <a:bodyPr rtlCol="0" anchor="ctr"/>
                <a:lstStyle/>
                <a:p>
                  <a:endParaRPr lang="en-GB"/>
                </a:p>
              </p:txBody>
            </p:sp>
          </p:grpSp>
          <p:grpSp>
            <p:nvGrpSpPr>
              <p:cNvPr id="1246" name="Graphic 3">
                <a:extLst>
                  <a:ext uri="{FF2B5EF4-FFF2-40B4-BE49-F238E27FC236}">
                    <a16:creationId xmlns:a16="http://schemas.microsoft.com/office/drawing/2014/main" id="{C7165824-3CFD-4A45-B939-287E8A696844}"/>
                  </a:ext>
                </a:extLst>
              </p:cNvPr>
              <p:cNvGrpSpPr/>
              <p:nvPr/>
            </p:nvGrpSpPr>
            <p:grpSpPr>
              <a:xfrm>
                <a:off x="4357483" y="4367179"/>
                <a:ext cx="251880" cy="172432"/>
                <a:chOff x="4357483" y="4367179"/>
                <a:chExt cx="251880" cy="172432"/>
              </a:xfrm>
              <a:grpFill/>
            </p:grpSpPr>
            <p:sp>
              <p:nvSpPr>
                <p:cNvPr id="1665" name="Vrije vorm: vorm 1664">
                  <a:extLst>
                    <a:ext uri="{FF2B5EF4-FFF2-40B4-BE49-F238E27FC236}">
                      <a16:creationId xmlns:a16="http://schemas.microsoft.com/office/drawing/2014/main" id="{8E2C6405-7EA9-4920-A293-B6536FEAEC46}"/>
                    </a:ext>
                  </a:extLst>
                </p:cNvPr>
                <p:cNvSpPr/>
                <p:nvPr/>
              </p:nvSpPr>
              <p:spPr>
                <a:xfrm>
                  <a:off x="4365408" y="4374878"/>
                  <a:ext cx="235999" cy="157053"/>
                </a:xfrm>
                <a:custGeom>
                  <a:avLst/>
                  <a:gdLst>
                    <a:gd name="connsiteX0" fmla="*/ 235999 w 235999"/>
                    <a:gd name="connsiteY0" fmla="*/ 2572 h 157053"/>
                    <a:gd name="connsiteX1" fmla="*/ 1674 w 235999"/>
                    <a:gd name="connsiteY1" fmla="*/ 157054 h 157053"/>
                    <a:gd name="connsiteX2" fmla="*/ 0 w 235999"/>
                    <a:gd name="connsiteY2" fmla="*/ 154482 h 157053"/>
                    <a:gd name="connsiteX3" fmla="*/ 234325 w 235999"/>
                    <a:gd name="connsiteY3" fmla="*/ 0 h 157053"/>
                  </a:gdLst>
                  <a:ahLst/>
                  <a:cxnLst>
                    <a:cxn ang="0">
                      <a:pos x="connsiteX0" y="connsiteY0"/>
                    </a:cxn>
                    <a:cxn ang="0">
                      <a:pos x="connsiteX1" y="connsiteY1"/>
                    </a:cxn>
                    <a:cxn ang="0">
                      <a:pos x="connsiteX2" y="connsiteY2"/>
                    </a:cxn>
                    <a:cxn ang="0">
                      <a:pos x="connsiteX3" y="connsiteY3"/>
                    </a:cxn>
                  </a:cxnLst>
                  <a:rect l="l" t="t" r="r" b="b"/>
                  <a:pathLst>
                    <a:path w="235999" h="157053">
                      <a:moveTo>
                        <a:pt x="235999" y="2572"/>
                      </a:moveTo>
                      <a:lnTo>
                        <a:pt x="1674" y="157054"/>
                      </a:lnTo>
                      <a:lnTo>
                        <a:pt x="0" y="154482"/>
                      </a:lnTo>
                      <a:lnTo>
                        <a:pt x="234325" y="0"/>
                      </a:lnTo>
                      <a:close/>
                    </a:path>
                  </a:pathLst>
                </a:custGeom>
                <a:grpFill/>
                <a:ln w="5978" cap="flat">
                  <a:noFill/>
                  <a:prstDash val="solid"/>
                  <a:miter/>
                </a:ln>
              </p:spPr>
              <p:txBody>
                <a:bodyPr rtlCol="0" anchor="ctr"/>
                <a:lstStyle/>
                <a:p>
                  <a:endParaRPr lang="en-GB"/>
                </a:p>
              </p:txBody>
            </p:sp>
            <p:sp>
              <p:nvSpPr>
                <p:cNvPr id="1666" name="Vrije vorm: vorm 1665">
                  <a:extLst>
                    <a:ext uri="{FF2B5EF4-FFF2-40B4-BE49-F238E27FC236}">
                      <a16:creationId xmlns:a16="http://schemas.microsoft.com/office/drawing/2014/main" id="{50178776-3D2C-4408-A878-BDF3533D11BD}"/>
                    </a:ext>
                  </a:extLst>
                </p:cNvPr>
                <p:cNvSpPr/>
                <p:nvPr/>
              </p:nvSpPr>
              <p:spPr>
                <a:xfrm>
                  <a:off x="4357483" y="4521142"/>
                  <a:ext cx="18318" cy="18470"/>
                </a:xfrm>
                <a:custGeom>
                  <a:avLst/>
                  <a:gdLst>
                    <a:gd name="connsiteX0" fmla="*/ 14205 w 18318"/>
                    <a:gd name="connsiteY0" fmla="*/ 16950 h 18470"/>
                    <a:gd name="connsiteX1" fmla="*/ 1526 w 18318"/>
                    <a:gd name="connsiteY1" fmla="*/ 14259 h 18470"/>
                    <a:gd name="connsiteX2" fmla="*/ 4098 w 18318"/>
                    <a:gd name="connsiteY2" fmla="*/ 1520 h 18470"/>
                    <a:gd name="connsiteX3" fmla="*/ 16777 w 18318"/>
                    <a:gd name="connsiteY3" fmla="*/ 4211 h 18470"/>
                    <a:gd name="connsiteX4" fmla="*/ 14205 w 18318"/>
                    <a:gd name="connsiteY4" fmla="*/ 16950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0">
                      <a:moveTo>
                        <a:pt x="14205" y="16950"/>
                      </a:moveTo>
                      <a:cubicBezTo>
                        <a:pt x="9959" y="19761"/>
                        <a:pt x="4277" y="18565"/>
                        <a:pt x="1526" y="14259"/>
                      </a:cubicBezTo>
                      <a:cubicBezTo>
                        <a:pt x="-1285" y="10013"/>
                        <a:pt x="-89" y="4271"/>
                        <a:pt x="4098" y="1520"/>
                      </a:cubicBezTo>
                      <a:cubicBezTo>
                        <a:pt x="8344" y="-1291"/>
                        <a:pt x="14026" y="-95"/>
                        <a:pt x="16777" y="4211"/>
                      </a:cubicBezTo>
                      <a:cubicBezTo>
                        <a:pt x="19588" y="8458"/>
                        <a:pt x="18451" y="14199"/>
                        <a:pt x="14205" y="16950"/>
                      </a:cubicBezTo>
                      <a:close/>
                    </a:path>
                  </a:pathLst>
                </a:custGeom>
                <a:grpFill/>
                <a:ln w="5978" cap="flat">
                  <a:noFill/>
                  <a:prstDash val="solid"/>
                  <a:miter/>
                </a:ln>
              </p:spPr>
              <p:txBody>
                <a:bodyPr rtlCol="0" anchor="ctr"/>
                <a:lstStyle/>
                <a:p>
                  <a:endParaRPr lang="en-GB"/>
                </a:p>
              </p:txBody>
            </p:sp>
            <p:sp>
              <p:nvSpPr>
                <p:cNvPr id="1667" name="Vrije vorm: vorm 1666">
                  <a:extLst>
                    <a:ext uri="{FF2B5EF4-FFF2-40B4-BE49-F238E27FC236}">
                      <a16:creationId xmlns:a16="http://schemas.microsoft.com/office/drawing/2014/main" id="{8ED0E724-0049-4D69-BD01-D2B9B4C31A3B}"/>
                    </a:ext>
                  </a:extLst>
                </p:cNvPr>
                <p:cNvSpPr/>
                <p:nvPr/>
              </p:nvSpPr>
              <p:spPr>
                <a:xfrm>
                  <a:off x="4591074" y="4367179"/>
                  <a:ext cx="18289" cy="18428"/>
                </a:xfrm>
                <a:custGeom>
                  <a:avLst/>
                  <a:gdLst>
                    <a:gd name="connsiteX0" fmla="*/ 14161 w 18289"/>
                    <a:gd name="connsiteY0" fmla="*/ 16909 h 18428"/>
                    <a:gd name="connsiteX1" fmla="*/ 16792 w 18289"/>
                    <a:gd name="connsiteY1" fmla="*/ 4170 h 18428"/>
                    <a:gd name="connsiteX2" fmla="*/ 4113 w 18289"/>
                    <a:gd name="connsiteY2" fmla="*/ 1479 h 18428"/>
                    <a:gd name="connsiteX3" fmla="*/ 1542 w 18289"/>
                    <a:gd name="connsiteY3" fmla="*/ 14218 h 18428"/>
                    <a:gd name="connsiteX4" fmla="*/ 14161 w 18289"/>
                    <a:gd name="connsiteY4" fmla="*/ 16909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28">
                      <a:moveTo>
                        <a:pt x="14161" y="16909"/>
                      </a:moveTo>
                      <a:cubicBezTo>
                        <a:pt x="18407" y="14098"/>
                        <a:pt x="19544" y="8416"/>
                        <a:pt x="16792" y="4170"/>
                      </a:cubicBezTo>
                      <a:cubicBezTo>
                        <a:pt x="13982" y="-76"/>
                        <a:pt x="8300" y="-1273"/>
                        <a:pt x="4113" y="1479"/>
                      </a:cubicBezTo>
                      <a:cubicBezTo>
                        <a:pt x="-133" y="4290"/>
                        <a:pt x="-1270" y="9971"/>
                        <a:pt x="1542" y="14218"/>
                      </a:cubicBezTo>
                      <a:cubicBezTo>
                        <a:pt x="4233" y="18523"/>
                        <a:pt x="9974" y="19720"/>
                        <a:pt x="14161" y="16909"/>
                      </a:cubicBezTo>
                      <a:close/>
                    </a:path>
                  </a:pathLst>
                </a:custGeom>
                <a:grpFill/>
                <a:ln w="5978" cap="flat">
                  <a:noFill/>
                  <a:prstDash val="solid"/>
                  <a:miter/>
                </a:ln>
              </p:spPr>
              <p:txBody>
                <a:bodyPr rtlCol="0" anchor="ctr"/>
                <a:lstStyle/>
                <a:p>
                  <a:endParaRPr lang="en-GB"/>
                </a:p>
              </p:txBody>
            </p:sp>
          </p:grpSp>
          <p:grpSp>
            <p:nvGrpSpPr>
              <p:cNvPr id="1247" name="Graphic 3">
                <a:extLst>
                  <a:ext uri="{FF2B5EF4-FFF2-40B4-BE49-F238E27FC236}">
                    <a16:creationId xmlns:a16="http://schemas.microsoft.com/office/drawing/2014/main" id="{76407262-9E00-416D-AEAE-036239C1060A}"/>
                  </a:ext>
                </a:extLst>
              </p:cNvPr>
              <p:cNvGrpSpPr/>
              <p:nvPr/>
            </p:nvGrpSpPr>
            <p:grpSpPr>
              <a:xfrm>
                <a:off x="4295759" y="4334390"/>
                <a:ext cx="361687" cy="200252"/>
                <a:chOff x="4295759" y="4334390"/>
                <a:chExt cx="361687" cy="200252"/>
              </a:xfrm>
              <a:grpFill/>
            </p:grpSpPr>
            <p:sp>
              <p:nvSpPr>
                <p:cNvPr id="1662" name="Vrije vorm: vorm 1661">
                  <a:extLst>
                    <a:ext uri="{FF2B5EF4-FFF2-40B4-BE49-F238E27FC236}">
                      <a16:creationId xmlns:a16="http://schemas.microsoft.com/office/drawing/2014/main" id="{F1AD7A78-5AE3-4728-B9D5-F36BE6C01AA7}"/>
                    </a:ext>
                  </a:extLst>
                </p:cNvPr>
                <p:cNvSpPr/>
                <p:nvPr/>
              </p:nvSpPr>
              <p:spPr>
                <a:xfrm>
                  <a:off x="4303807" y="4342104"/>
                  <a:ext cx="345566" cy="184864"/>
                </a:xfrm>
                <a:custGeom>
                  <a:avLst/>
                  <a:gdLst>
                    <a:gd name="connsiteX0" fmla="*/ 345566 w 345566"/>
                    <a:gd name="connsiteY0" fmla="*/ 2691 h 184864"/>
                    <a:gd name="connsiteX1" fmla="*/ 1436 w 345566"/>
                    <a:gd name="connsiteY1" fmla="*/ 184864 h 184864"/>
                    <a:gd name="connsiteX2" fmla="*/ 0 w 345566"/>
                    <a:gd name="connsiteY2" fmla="*/ 182173 h 184864"/>
                    <a:gd name="connsiteX3" fmla="*/ 344131 w 345566"/>
                    <a:gd name="connsiteY3" fmla="*/ 0 h 184864"/>
                  </a:gdLst>
                  <a:ahLst/>
                  <a:cxnLst>
                    <a:cxn ang="0">
                      <a:pos x="connsiteX0" y="connsiteY0"/>
                    </a:cxn>
                    <a:cxn ang="0">
                      <a:pos x="connsiteX1" y="connsiteY1"/>
                    </a:cxn>
                    <a:cxn ang="0">
                      <a:pos x="connsiteX2" y="connsiteY2"/>
                    </a:cxn>
                    <a:cxn ang="0">
                      <a:pos x="connsiteX3" y="connsiteY3"/>
                    </a:cxn>
                  </a:cxnLst>
                  <a:rect l="l" t="t" r="r" b="b"/>
                  <a:pathLst>
                    <a:path w="345566" h="184864">
                      <a:moveTo>
                        <a:pt x="345566" y="2691"/>
                      </a:moveTo>
                      <a:lnTo>
                        <a:pt x="1436" y="184864"/>
                      </a:lnTo>
                      <a:lnTo>
                        <a:pt x="0" y="182173"/>
                      </a:lnTo>
                      <a:lnTo>
                        <a:pt x="344131" y="0"/>
                      </a:lnTo>
                      <a:close/>
                    </a:path>
                  </a:pathLst>
                </a:custGeom>
                <a:grpFill/>
                <a:ln w="5978" cap="flat">
                  <a:noFill/>
                  <a:prstDash val="solid"/>
                  <a:miter/>
                </a:ln>
              </p:spPr>
              <p:txBody>
                <a:bodyPr rtlCol="0" anchor="ctr"/>
                <a:lstStyle/>
                <a:p>
                  <a:endParaRPr lang="en-GB"/>
                </a:p>
              </p:txBody>
            </p:sp>
            <p:sp>
              <p:nvSpPr>
                <p:cNvPr id="1663" name="Vrije vorm: vorm 1662">
                  <a:extLst>
                    <a:ext uri="{FF2B5EF4-FFF2-40B4-BE49-F238E27FC236}">
                      <a16:creationId xmlns:a16="http://schemas.microsoft.com/office/drawing/2014/main" id="{C4FD3455-8B5A-40CA-960B-A920E3FE60D0}"/>
                    </a:ext>
                  </a:extLst>
                </p:cNvPr>
                <p:cNvSpPr/>
                <p:nvPr/>
              </p:nvSpPr>
              <p:spPr>
                <a:xfrm>
                  <a:off x="4639113" y="4334390"/>
                  <a:ext cx="18333" cy="18476"/>
                </a:xfrm>
                <a:custGeom>
                  <a:avLst/>
                  <a:gdLst>
                    <a:gd name="connsiteX0" fmla="*/ 4877 w 18333"/>
                    <a:gd name="connsiteY0" fmla="*/ 1075 h 18476"/>
                    <a:gd name="connsiteX1" fmla="*/ 17258 w 18333"/>
                    <a:gd name="connsiteY1" fmla="*/ 4962 h 18476"/>
                    <a:gd name="connsiteX2" fmla="*/ 13430 w 18333"/>
                    <a:gd name="connsiteY2" fmla="*/ 17402 h 18476"/>
                    <a:gd name="connsiteX3" fmla="*/ 1050 w 18333"/>
                    <a:gd name="connsiteY3" fmla="*/ 13515 h 18476"/>
                    <a:gd name="connsiteX4" fmla="*/ 4877 w 18333"/>
                    <a:gd name="connsiteY4" fmla="*/ 1075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76">
                      <a:moveTo>
                        <a:pt x="4877" y="1075"/>
                      </a:moveTo>
                      <a:cubicBezTo>
                        <a:pt x="9363" y="-1318"/>
                        <a:pt x="14865" y="417"/>
                        <a:pt x="17258" y="4962"/>
                      </a:cubicBezTo>
                      <a:cubicBezTo>
                        <a:pt x="19650" y="9447"/>
                        <a:pt x="17915" y="15010"/>
                        <a:pt x="13430" y="17402"/>
                      </a:cubicBezTo>
                      <a:cubicBezTo>
                        <a:pt x="8944" y="19794"/>
                        <a:pt x="3382" y="18060"/>
                        <a:pt x="1050" y="13515"/>
                      </a:cubicBezTo>
                      <a:cubicBezTo>
                        <a:pt x="-1283" y="9029"/>
                        <a:pt x="392" y="3467"/>
                        <a:pt x="4877" y="1075"/>
                      </a:cubicBezTo>
                      <a:close/>
                    </a:path>
                  </a:pathLst>
                </a:custGeom>
                <a:grpFill/>
                <a:ln w="5978" cap="flat">
                  <a:noFill/>
                  <a:prstDash val="solid"/>
                  <a:miter/>
                </a:ln>
              </p:spPr>
              <p:txBody>
                <a:bodyPr rtlCol="0" anchor="ctr"/>
                <a:lstStyle/>
                <a:p>
                  <a:endParaRPr lang="en-GB"/>
                </a:p>
              </p:txBody>
            </p:sp>
            <p:sp>
              <p:nvSpPr>
                <p:cNvPr id="1664" name="Vrije vorm: vorm 1663">
                  <a:extLst>
                    <a:ext uri="{FF2B5EF4-FFF2-40B4-BE49-F238E27FC236}">
                      <a16:creationId xmlns:a16="http://schemas.microsoft.com/office/drawing/2014/main" id="{F5AE33DD-B177-4C16-B44D-CC3777218C3F}"/>
                    </a:ext>
                  </a:extLst>
                </p:cNvPr>
                <p:cNvSpPr/>
                <p:nvPr/>
              </p:nvSpPr>
              <p:spPr>
                <a:xfrm>
                  <a:off x="4295759" y="4516204"/>
                  <a:ext cx="18307" cy="18438"/>
                </a:xfrm>
                <a:custGeom>
                  <a:avLst/>
                  <a:gdLst>
                    <a:gd name="connsiteX0" fmla="*/ 4878 w 18307"/>
                    <a:gd name="connsiteY0" fmla="*/ 1075 h 18438"/>
                    <a:gd name="connsiteX1" fmla="*/ 1050 w 18307"/>
                    <a:gd name="connsiteY1" fmla="*/ 13515 h 18438"/>
                    <a:gd name="connsiteX2" fmla="*/ 13430 w 18307"/>
                    <a:gd name="connsiteY2" fmla="*/ 17402 h 18438"/>
                    <a:gd name="connsiteX3" fmla="*/ 17258 w 18307"/>
                    <a:gd name="connsiteY3" fmla="*/ 4962 h 18438"/>
                    <a:gd name="connsiteX4" fmla="*/ 4878 w 18307"/>
                    <a:gd name="connsiteY4" fmla="*/ 1075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4878" y="1075"/>
                      </a:moveTo>
                      <a:cubicBezTo>
                        <a:pt x="392" y="3467"/>
                        <a:pt x="-1283" y="9029"/>
                        <a:pt x="1050" y="13515"/>
                      </a:cubicBezTo>
                      <a:cubicBezTo>
                        <a:pt x="3442" y="18000"/>
                        <a:pt x="8944" y="19735"/>
                        <a:pt x="13430" y="17402"/>
                      </a:cubicBezTo>
                      <a:cubicBezTo>
                        <a:pt x="17916" y="15010"/>
                        <a:pt x="19590" y="9448"/>
                        <a:pt x="17258" y="4962"/>
                      </a:cubicBezTo>
                      <a:cubicBezTo>
                        <a:pt x="14925" y="417"/>
                        <a:pt x="9363" y="-1318"/>
                        <a:pt x="4878" y="1075"/>
                      </a:cubicBezTo>
                      <a:close/>
                    </a:path>
                  </a:pathLst>
                </a:custGeom>
                <a:grpFill/>
                <a:ln w="5978" cap="flat">
                  <a:noFill/>
                  <a:prstDash val="solid"/>
                  <a:miter/>
                </a:ln>
              </p:spPr>
              <p:txBody>
                <a:bodyPr rtlCol="0" anchor="ctr"/>
                <a:lstStyle/>
                <a:p>
                  <a:endParaRPr lang="en-GB"/>
                </a:p>
              </p:txBody>
            </p:sp>
          </p:grpSp>
          <p:grpSp>
            <p:nvGrpSpPr>
              <p:cNvPr id="1248" name="Graphic 3">
                <a:extLst>
                  <a:ext uri="{FF2B5EF4-FFF2-40B4-BE49-F238E27FC236}">
                    <a16:creationId xmlns:a16="http://schemas.microsoft.com/office/drawing/2014/main" id="{E05A9B76-9259-4E2A-B03F-3F793E4259D6}"/>
                  </a:ext>
                </a:extLst>
              </p:cNvPr>
              <p:cNvGrpSpPr/>
              <p:nvPr/>
            </p:nvGrpSpPr>
            <p:grpSpPr>
              <a:xfrm>
                <a:off x="3940707" y="3450840"/>
                <a:ext cx="418677" cy="40820"/>
                <a:chOff x="3940707" y="3450840"/>
                <a:chExt cx="418677" cy="40820"/>
              </a:xfrm>
              <a:grpFill/>
            </p:grpSpPr>
            <p:sp>
              <p:nvSpPr>
                <p:cNvPr id="1659" name="Vrije vorm: vorm 1658">
                  <a:extLst>
                    <a:ext uri="{FF2B5EF4-FFF2-40B4-BE49-F238E27FC236}">
                      <a16:creationId xmlns:a16="http://schemas.microsoft.com/office/drawing/2014/main" id="{EB5E5192-05D0-44F8-A50F-377586798201}"/>
                    </a:ext>
                  </a:extLst>
                </p:cNvPr>
                <p:cNvSpPr/>
                <p:nvPr/>
              </p:nvSpPr>
              <p:spPr>
                <a:xfrm>
                  <a:off x="3949329" y="3458512"/>
                  <a:ext cx="401426" cy="25477"/>
                </a:xfrm>
                <a:custGeom>
                  <a:avLst/>
                  <a:gdLst>
                    <a:gd name="connsiteX0" fmla="*/ 401426 w 401426"/>
                    <a:gd name="connsiteY0" fmla="*/ 22428 h 25477"/>
                    <a:gd name="connsiteX1" fmla="*/ 401306 w 401426"/>
                    <a:gd name="connsiteY1" fmla="*/ 25478 h 25477"/>
                    <a:gd name="connsiteX2" fmla="*/ 0 w 401426"/>
                    <a:gd name="connsiteY2" fmla="*/ 3050 h 25477"/>
                    <a:gd name="connsiteX3" fmla="*/ 179 w 401426"/>
                    <a:gd name="connsiteY3" fmla="*/ 0 h 25477"/>
                  </a:gdLst>
                  <a:ahLst/>
                  <a:cxnLst>
                    <a:cxn ang="0">
                      <a:pos x="connsiteX0" y="connsiteY0"/>
                    </a:cxn>
                    <a:cxn ang="0">
                      <a:pos x="connsiteX1" y="connsiteY1"/>
                    </a:cxn>
                    <a:cxn ang="0">
                      <a:pos x="connsiteX2" y="connsiteY2"/>
                    </a:cxn>
                    <a:cxn ang="0">
                      <a:pos x="connsiteX3" y="connsiteY3"/>
                    </a:cxn>
                  </a:cxnLst>
                  <a:rect l="l" t="t" r="r" b="b"/>
                  <a:pathLst>
                    <a:path w="401426" h="25477">
                      <a:moveTo>
                        <a:pt x="401426" y="22428"/>
                      </a:moveTo>
                      <a:lnTo>
                        <a:pt x="401306" y="25478"/>
                      </a:lnTo>
                      <a:lnTo>
                        <a:pt x="0" y="3050"/>
                      </a:lnTo>
                      <a:lnTo>
                        <a:pt x="179" y="0"/>
                      </a:lnTo>
                      <a:close/>
                    </a:path>
                  </a:pathLst>
                </a:custGeom>
                <a:grpFill/>
                <a:ln w="5978" cap="flat">
                  <a:noFill/>
                  <a:prstDash val="solid"/>
                  <a:miter/>
                </a:ln>
              </p:spPr>
              <p:txBody>
                <a:bodyPr rtlCol="0" anchor="ctr"/>
                <a:lstStyle/>
                <a:p>
                  <a:endParaRPr lang="en-GB"/>
                </a:p>
              </p:txBody>
            </p:sp>
            <p:sp>
              <p:nvSpPr>
                <p:cNvPr id="1660" name="Vrije vorm: vorm 1659">
                  <a:extLst>
                    <a:ext uri="{FF2B5EF4-FFF2-40B4-BE49-F238E27FC236}">
                      <a16:creationId xmlns:a16="http://schemas.microsoft.com/office/drawing/2014/main" id="{A068B3CF-D847-4EDF-AD83-30B219B7C7BA}"/>
                    </a:ext>
                  </a:extLst>
                </p:cNvPr>
                <p:cNvSpPr/>
                <p:nvPr/>
              </p:nvSpPr>
              <p:spPr>
                <a:xfrm>
                  <a:off x="4341051" y="3473268"/>
                  <a:ext cx="18333" cy="18393"/>
                </a:xfrm>
                <a:custGeom>
                  <a:avLst/>
                  <a:gdLst>
                    <a:gd name="connsiteX0" fmla="*/ 9645 w 18333"/>
                    <a:gd name="connsiteY0" fmla="*/ 16 h 18393"/>
                    <a:gd name="connsiteX1" fmla="*/ 18317 w 18333"/>
                    <a:gd name="connsiteY1" fmla="*/ 9705 h 18393"/>
                    <a:gd name="connsiteX2" fmla="*/ 8688 w 18333"/>
                    <a:gd name="connsiteY2" fmla="*/ 18377 h 18393"/>
                    <a:gd name="connsiteX3" fmla="*/ 16 w 18333"/>
                    <a:gd name="connsiteY3" fmla="*/ 8688 h 18393"/>
                    <a:gd name="connsiteX4" fmla="*/ 9645 w 18333"/>
                    <a:gd name="connsiteY4" fmla="*/ 16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9645" y="16"/>
                      </a:moveTo>
                      <a:cubicBezTo>
                        <a:pt x="14728" y="315"/>
                        <a:pt x="18616" y="4621"/>
                        <a:pt x="18317" y="9705"/>
                      </a:cubicBezTo>
                      <a:cubicBezTo>
                        <a:pt x="18078" y="14789"/>
                        <a:pt x="13772" y="18676"/>
                        <a:pt x="8688" y="18377"/>
                      </a:cubicBezTo>
                      <a:cubicBezTo>
                        <a:pt x="3604" y="18078"/>
                        <a:pt x="-283" y="13772"/>
                        <a:pt x="16" y="8688"/>
                      </a:cubicBezTo>
                      <a:cubicBezTo>
                        <a:pt x="315" y="3605"/>
                        <a:pt x="4621" y="-283"/>
                        <a:pt x="9645" y="16"/>
                      </a:cubicBezTo>
                      <a:close/>
                    </a:path>
                  </a:pathLst>
                </a:custGeom>
                <a:grpFill/>
                <a:ln w="5978" cap="flat">
                  <a:noFill/>
                  <a:prstDash val="solid"/>
                  <a:miter/>
                </a:ln>
              </p:spPr>
              <p:txBody>
                <a:bodyPr rtlCol="0" anchor="ctr"/>
                <a:lstStyle/>
                <a:p>
                  <a:endParaRPr lang="en-GB"/>
                </a:p>
              </p:txBody>
            </p:sp>
            <p:sp>
              <p:nvSpPr>
                <p:cNvPr id="1661" name="Vrije vorm: vorm 1660">
                  <a:extLst>
                    <a:ext uri="{FF2B5EF4-FFF2-40B4-BE49-F238E27FC236}">
                      <a16:creationId xmlns:a16="http://schemas.microsoft.com/office/drawing/2014/main" id="{11541360-7A3E-4E29-8BFA-B34B4CDEE8E0}"/>
                    </a:ext>
                  </a:extLst>
                </p:cNvPr>
                <p:cNvSpPr/>
                <p:nvPr/>
              </p:nvSpPr>
              <p:spPr>
                <a:xfrm>
                  <a:off x="3940707" y="3450840"/>
                  <a:ext cx="18321" cy="18393"/>
                </a:xfrm>
                <a:custGeom>
                  <a:avLst/>
                  <a:gdLst>
                    <a:gd name="connsiteX0" fmla="*/ 9639 w 18321"/>
                    <a:gd name="connsiteY0" fmla="*/ 16 h 18393"/>
                    <a:gd name="connsiteX1" fmla="*/ 10 w 18321"/>
                    <a:gd name="connsiteY1" fmla="*/ 8688 h 18393"/>
                    <a:gd name="connsiteX2" fmla="*/ 8683 w 18321"/>
                    <a:gd name="connsiteY2" fmla="*/ 18377 h 18393"/>
                    <a:gd name="connsiteX3" fmla="*/ 18311 w 18321"/>
                    <a:gd name="connsiteY3" fmla="*/ 9705 h 18393"/>
                    <a:gd name="connsiteX4" fmla="*/ 9639 w 18321"/>
                    <a:gd name="connsiteY4" fmla="*/ 16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93">
                      <a:moveTo>
                        <a:pt x="9639" y="16"/>
                      </a:moveTo>
                      <a:cubicBezTo>
                        <a:pt x="4556" y="-283"/>
                        <a:pt x="250" y="3605"/>
                        <a:pt x="10" y="8688"/>
                      </a:cubicBezTo>
                      <a:cubicBezTo>
                        <a:pt x="-229" y="13772"/>
                        <a:pt x="3659" y="18138"/>
                        <a:pt x="8683" y="18377"/>
                      </a:cubicBezTo>
                      <a:cubicBezTo>
                        <a:pt x="13766" y="18676"/>
                        <a:pt x="18072" y="14789"/>
                        <a:pt x="18311" y="9705"/>
                      </a:cubicBezTo>
                      <a:cubicBezTo>
                        <a:pt x="18551" y="4681"/>
                        <a:pt x="14663" y="315"/>
                        <a:pt x="9639" y="16"/>
                      </a:cubicBezTo>
                      <a:close/>
                    </a:path>
                  </a:pathLst>
                </a:custGeom>
                <a:grpFill/>
                <a:ln w="5978" cap="flat">
                  <a:noFill/>
                  <a:prstDash val="solid"/>
                  <a:miter/>
                </a:ln>
              </p:spPr>
              <p:txBody>
                <a:bodyPr rtlCol="0" anchor="ctr"/>
                <a:lstStyle/>
                <a:p>
                  <a:endParaRPr lang="en-GB"/>
                </a:p>
              </p:txBody>
            </p:sp>
          </p:grpSp>
          <p:grpSp>
            <p:nvGrpSpPr>
              <p:cNvPr id="1249" name="Graphic 3">
                <a:extLst>
                  <a:ext uri="{FF2B5EF4-FFF2-40B4-BE49-F238E27FC236}">
                    <a16:creationId xmlns:a16="http://schemas.microsoft.com/office/drawing/2014/main" id="{2AC5FB96-29DA-48FD-807D-EA2327339AA3}"/>
                  </a:ext>
                </a:extLst>
              </p:cNvPr>
              <p:cNvGrpSpPr/>
              <p:nvPr/>
            </p:nvGrpSpPr>
            <p:grpSpPr>
              <a:xfrm>
                <a:off x="4300702" y="3950258"/>
                <a:ext cx="19214" cy="18762"/>
                <a:chOff x="4300702" y="3950258"/>
                <a:chExt cx="19214" cy="18762"/>
              </a:xfrm>
              <a:grpFill/>
            </p:grpSpPr>
            <p:sp>
              <p:nvSpPr>
                <p:cNvPr id="1656" name="Vrije vorm: vorm 1655">
                  <a:extLst>
                    <a:ext uri="{FF2B5EF4-FFF2-40B4-BE49-F238E27FC236}">
                      <a16:creationId xmlns:a16="http://schemas.microsoft.com/office/drawing/2014/main" id="{3B1DA4ED-D919-4B5B-99AA-16B09DAD1970}"/>
                    </a:ext>
                  </a:extLst>
                </p:cNvPr>
                <p:cNvSpPr/>
                <p:nvPr/>
              </p:nvSpPr>
              <p:spPr>
                <a:xfrm>
                  <a:off x="4308924" y="3957962"/>
                  <a:ext cx="2672" cy="3461"/>
                </a:xfrm>
                <a:custGeom>
                  <a:avLst/>
                  <a:gdLst>
                    <a:gd name="connsiteX0" fmla="*/ 0 w 2672"/>
                    <a:gd name="connsiteY0" fmla="*/ 547 h 3461"/>
                    <a:gd name="connsiteX1" fmla="*/ 1771 w 2672"/>
                    <a:gd name="connsiteY1" fmla="*/ 0 h 3461"/>
                    <a:gd name="connsiteX2" fmla="*/ 2672 w 2672"/>
                    <a:gd name="connsiteY2" fmla="*/ 2914 h 3461"/>
                    <a:gd name="connsiteX3" fmla="*/ 901 w 2672"/>
                    <a:gd name="connsiteY3" fmla="*/ 3462 h 3461"/>
                  </a:gdLst>
                  <a:ahLst/>
                  <a:cxnLst>
                    <a:cxn ang="0">
                      <a:pos x="connsiteX0" y="connsiteY0"/>
                    </a:cxn>
                    <a:cxn ang="0">
                      <a:pos x="connsiteX1" y="connsiteY1"/>
                    </a:cxn>
                    <a:cxn ang="0">
                      <a:pos x="connsiteX2" y="connsiteY2"/>
                    </a:cxn>
                    <a:cxn ang="0">
                      <a:pos x="connsiteX3" y="connsiteY3"/>
                    </a:cxn>
                  </a:cxnLst>
                  <a:rect l="l" t="t" r="r" b="b"/>
                  <a:pathLst>
                    <a:path w="2672" h="3461">
                      <a:moveTo>
                        <a:pt x="0" y="547"/>
                      </a:moveTo>
                      <a:lnTo>
                        <a:pt x="1771" y="0"/>
                      </a:lnTo>
                      <a:lnTo>
                        <a:pt x="2672" y="2914"/>
                      </a:lnTo>
                      <a:lnTo>
                        <a:pt x="901" y="3462"/>
                      </a:lnTo>
                      <a:close/>
                    </a:path>
                  </a:pathLst>
                </a:custGeom>
                <a:grpFill/>
                <a:ln w="5978" cap="flat">
                  <a:noFill/>
                  <a:prstDash val="solid"/>
                  <a:miter/>
                </a:ln>
              </p:spPr>
              <p:txBody>
                <a:bodyPr rtlCol="0" anchor="ctr"/>
                <a:lstStyle/>
                <a:p>
                  <a:endParaRPr lang="en-GB"/>
                </a:p>
              </p:txBody>
            </p:sp>
            <p:sp>
              <p:nvSpPr>
                <p:cNvPr id="1657" name="Vrije vorm: vorm 1656">
                  <a:extLst>
                    <a:ext uri="{FF2B5EF4-FFF2-40B4-BE49-F238E27FC236}">
                      <a16:creationId xmlns:a16="http://schemas.microsoft.com/office/drawing/2014/main" id="{31888BF5-F2FD-456B-9A5D-A459DD197404}"/>
                    </a:ext>
                  </a:extLst>
                </p:cNvPr>
                <p:cNvSpPr/>
                <p:nvPr/>
              </p:nvSpPr>
              <p:spPr>
                <a:xfrm>
                  <a:off x="4300702" y="3950552"/>
                  <a:ext cx="18290" cy="18468"/>
                </a:xfrm>
                <a:custGeom>
                  <a:avLst/>
                  <a:gdLst>
                    <a:gd name="connsiteX0" fmla="*/ 11896 w 18290"/>
                    <a:gd name="connsiteY0" fmla="*/ 18056 h 18468"/>
                    <a:gd name="connsiteX1" fmla="*/ 413 w 18290"/>
                    <a:gd name="connsiteY1" fmla="*/ 11956 h 18468"/>
                    <a:gd name="connsiteX2" fmla="*/ 6394 w 18290"/>
                    <a:gd name="connsiteY2" fmla="*/ 413 h 18468"/>
                    <a:gd name="connsiteX3" fmla="*/ 17877 w 18290"/>
                    <a:gd name="connsiteY3" fmla="*/ 6513 h 18468"/>
                    <a:gd name="connsiteX4" fmla="*/ 11896 w 18290"/>
                    <a:gd name="connsiteY4" fmla="*/ 1805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68">
                      <a:moveTo>
                        <a:pt x="11896" y="18056"/>
                      </a:moveTo>
                      <a:cubicBezTo>
                        <a:pt x="7052" y="19551"/>
                        <a:pt x="1908" y="16859"/>
                        <a:pt x="413" y="11956"/>
                      </a:cubicBezTo>
                      <a:cubicBezTo>
                        <a:pt x="-1082" y="7111"/>
                        <a:pt x="1609" y="1908"/>
                        <a:pt x="6394" y="413"/>
                      </a:cubicBezTo>
                      <a:cubicBezTo>
                        <a:pt x="11238" y="-1083"/>
                        <a:pt x="16382" y="1609"/>
                        <a:pt x="17877" y="6513"/>
                      </a:cubicBezTo>
                      <a:cubicBezTo>
                        <a:pt x="19372" y="11417"/>
                        <a:pt x="16681" y="16561"/>
                        <a:pt x="11896" y="18056"/>
                      </a:cubicBezTo>
                      <a:close/>
                    </a:path>
                  </a:pathLst>
                </a:custGeom>
                <a:grpFill/>
                <a:ln w="5978" cap="flat">
                  <a:noFill/>
                  <a:prstDash val="solid"/>
                  <a:miter/>
                </a:ln>
              </p:spPr>
              <p:txBody>
                <a:bodyPr rtlCol="0" anchor="ctr"/>
                <a:lstStyle/>
                <a:p>
                  <a:endParaRPr lang="en-GB"/>
                </a:p>
              </p:txBody>
            </p:sp>
            <p:sp>
              <p:nvSpPr>
                <p:cNvPr id="1658" name="Vrije vorm: vorm 1657">
                  <a:extLst>
                    <a:ext uri="{FF2B5EF4-FFF2-40B4-BE49-F238E27FC236}">
                      <a16:creationId xmlns:a16="http://schemas.microsoft.com/office/drawing/2014/main" id="{DC8B5A73-DF12-46B3-B656-2FC3393B082A}"/>
                    </a:ext>
                  </a:extLst>
                </p:cNvPr>
                <p:cNvSpPr/>
                <p:nvPr/>
              </p:nvSpPr>
              <p:spPr>
                <a:xfrm>
                  <a:off x="4301571" y="3950258"/>
                  <a:ext cx="18345" cy="18463"/>
                </a:xfrm>
                <a:custGeom>
                  <a:avLst/>
                  <a:gdLst>
                    <a:gd name="connsiteX0" fmla="*/ 11924 w 18345"/>
                    <a:gd name="connsiteY0" fmla="*/ 18051 h 18463"/>
                    <a:gd name="connsiteX1" fmla="*/ 17905 w 18345"/>
                    <a:gd name="connsiteY1" fmla="*/ 6508 h 18463"/>
                    <a:gd name="connsiteX2" fmla="*/ 6422 w 18345"/>
                    <a:gd name="connsiteY2" fmla="*/ 407 h 18463"/>
                    <a:gd name="connsiteX3" fmla="*/ 441 w 18345"/>
                    <a:gd name="connsiteY3" fmla="*/ 11950 h 18463"/>
                    <a:gd name="connsiteX4" fmla="*/ 11924 w 18345"/>
                    <a:gd name="connsiteY4" fmla="*/ 180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3">
                      <a:moveTo>
                        <a:pt x="11924" y="18051"/>
                      </a:moveTo>
                      <a:cubicBezTo>
                        <a:pt x="16769" y="16555"/>
                        <a:pt x="19460" y="11412"/>
                        <a:pt x="17905" y="6508"/>
                      </a:cubicBezTo>
                      <a:cubicBezTo>
                        <a:pt x="16410" y="1664"/>
                        <a:pt x="11266" y="-1088"/>
                        <a:pt x="6422" y="407"/>
                      </a:cubicBezTo>
                      <a:cubicBezTo>
                        <a:pt x="1577" y="1903"/>
                        <a:pt x="-1114" y="7046"/>
                        <a:pt x="441" y="11950"/>
                      </a:cubicBezTo>
                      <a:cubicBezTo>
                        <a:pt x="1936" y="16854"/>
                        <a:pt x="7079" y="19546"/>
                        <a:pt x="11924" y="18051"/>
                      </a:cubicBezTo>
                      <a:close/>
                    </a:path>
                  </a:pathLst>
                </a:custGeom>
                <a:grpFill/>
                <a:ln w="5978" cap="flat">
                  <a:noFill/>
                  <a:prstDash val="solid"/>
                  <a:miter/>
                </a:ln>
              </p:spPr>
              <p:txBody>
                <a:bodyPr rtlCol="0" anchor="ctr"/>
                <a:lstStyle/>
                <a:p>
                  <a:endParaRPr lang="en-GB"/>
                </a:p>
              </p:txBody>
            </p:sp>
          </p:grpSp>
          <p:grpSp>
            <p:nvGrpSpPr>
              <p:cNvPr id="1250" name="Graphic 3">
                <a:extLst>
                  <a:ext uri="{FF2B5EF4-FFF2-40B4-BE49-F238E27FC236}">
                    <a16:creationId xmlns:a16="http://schemas.microsoft.com/office/drawing/2014/main" id="{979D0051-DCC1-4EF5-B3D8-314902AAA8CF}"/>
                  </a:ext>
                </a:extLst>
              </p:cNvPr>
              <p:cNvGrpSpPr/>
              <p:nvPr/>
            </p:nvGrpSpPr>
            <p:grpSpPr>
              <a:xfrm>
                <a:off x="4568863" y="4844961"/>
                <a:ext cx="121152" cy="125957"/>
                <a:chOff x="4568863" y="4844961"/>
                <a:chExt cx="121152" cy="125957"/>
              </a:xfrm>
              <a:grpFill/>
            </p:grpSpPr>
            <p:sp>
              <p:nvSpPr>
                <p:cNvPr id="1653" name="Vrije vorm: vorm 1652">
                  <a:extLst>
                    <a:ext uri="{FF2B5EF4-FFF2-40B4-BE49-F238E27FC236}">
                      <a16:creationId xmlns:a16="http://schemas.microsoft.com/office/drawing/2014/main" id="{5E751E80-C606-4BAC-9E1B-444D72B98567}"/>
                    </a:ext>
                  </a:extLst>
                </p:cNvPr>
                <p:cNvSpPr/>
                <p:nvPr/>
              </p:nvSpPr>
              <p:spPr>
                <a:xfrm>
                  <a:off x="4576647" y="4852797"/>
                  <a:ext cx="105619" cy="110284"/>
                </a:xfrm>
                <a:custGeom>
                  <a:avLst/>
                  <a:gdLst>
                    <a:gd name="connsiteX0" fmla="*/ 105619 w 105619"/>
                    <a:gd name="connsiteY0" fmla="*/ 2093 h 110284"/>
                    <a:gd name="connsiteX1" fmla="*/ 2153 w 105619"/>
                    <a:gd name="connsiteY1" fmla="*/ 110285 h 110284"/>
                    <a:gd name="connsiteX2" fmla="*/ 0 w 105619"/>
                    <a:gd name="connsiteY2" fmla="*/ 108191 h 110284"/>
                    <a:gd name="connsiteX3" fmla="*/ 103466 w 105619"/>
                    <a:gd name="connsiteY3" fmla="*/ 0 h 110284"/>
                  </a:gdLst>
                  <a:ahLst/>
                  <a:cxnLst>
                    <a:cxn ang="0">
                      <a:pos x="connsiteX0" y="connsiteY0"/>
                    </a:cxn>
                    <a:cxn ang="0">
                      <a:pos x="connsiteX1" y="connsiteY1"/>
                    </a:cxn>
                    <a:cxn ang="0">
                      <a:pos x="connsiteX2" y="connsiteY2"/>
                    </a:cxn>
                    <a:cxn ang="0">
                      <a:pos x="connsiteX3" y="connsiteY3"/>
                    </a:cxn>
                  </a:cxnLst>
                  <a:rect l="l" t="t" r="r" b="b"/>
                  <a:pathLst>
                    <a:path w="105619" h="110284">
                      <a:moveTo>
                        <a:pt x="105619" y="2093"/>
                      </a:moveTo>
                      <a:lnTo>
                        <a:pt x="2153" y="110285"/>
                      </a:lnTo>
                      <a:lnTo>
                        <a:pt x="0" y="108191"/>
                      </a:lnTo>
                      <a:lnTo>
                        <a:pt x="103466" y="0"/>
                      </a:lnTo>
                      <a:close/>
                    </a:path>
                  </a:pathLst>
                </a:custGeom>
                <a:grpFill/>
                <a:ln w="5978" cap="flat">
                  <a:noFill/>
                  <a:prstDash val="solid"/>
                  <a:miter/>
                </a:ln>
              </p:spPr>
              <p:txBody>
                <a:bodyPr rtlCol="0" anchor="ctr"/>
                <a:lstStyle/>
                <a:p>
                  <a:endParaRPr lang="en-GB"/>
                </a:p>
              </p:txBody>
            </p:sp>
            <p:sp>
              <p:nvSpPr>
                <p:cNvPr id="1654" name="Vrije vorm: vorm 1653">
                  <a:extLst>
                    <a:ext uri="{FF2B5EF4-FFF2-40B4-BE49-F238E27FC236}">
                      <a16:creationId xmlns:a16="http://schemas.microsoft.com/office/drawing/2014/main" id="{B8315E28-5307-44ED-B762-77E003E647EE}"/>
                    </a:ext>
                  </a:extLst>
                </p:cNvPr>
                <p:cNvSpPr/>
                <p:nvPr/>
              </p:nvSpPr>
              <p:spPr>
                <a:xfrm>
                  <a:off x="4568863" y="4952494"/>
                  <a:ext cx="18365" cy="18423"/>
                </a:xfrm>
                <a:custGeom>
                  <a:avLst/>
                  <a:gdLst>
                    <a:gd name="connsiteX0" fmla="*/ 15799 w 18365"/>
                    <a:gd name="connsiteY0" fmla="*/ 15611 h 18423"/>
                    <a:gd name="connsiteX1" fmla="*/ 2821 w 18365"/>
                    <a:gd name="connsiteY1" fmla="*/ 15851 h 18423"/>
                    <a:gd name="connsiteX2" fmla="*/ 2522 w 18365"/>
                    <a:gd name="connsiteY2" fmla="*/ 2813 h 18423"/>
                    <a:gd name="connsiteX3" fmla="*/ 15500 w 18365"/>
                    <a:gd name="connsiteY3" fmla="*/ 2573 h 18423"/>
                    <a:gd name="connsiteX4" fmla="*/ 15799 w 18365"/>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3">
                      <a:moveTo>
                        <a:pt x="15799" y="15611"/>
                      </a:moveTo>
                      <a:cubicBezTo>
                        <a:pt x="12270" y="19260"/>
                        <a:pt x="6469" y="19379"/>
                        <a:pt x="2821" y="15851"/>
                      </a:cubicBezTo>
                      <a:cubicBezTo>
                        <a:pt x="-827" y="12322"/>
                        <a:pt x="-947" y="6461"/>
                        <a:pt x="2522" y="2813"/>
                      </a:cubicBezTo>
                      <a:cubicBezTo>
                        <a:pt x="6050" y="-836"/>
                        <a:pt x="11852" y="-955"/>
                        <a:pt x="15500" y="2573"/>
                      </a:cubicBezTo>
                      <a:cubicBezTo>
                        <a:pt x="19208" y="6102"/>
                        <a:pt x="19328" y="11963"/>
                        <a:pt x="15799" y="15611"/>
                      </a:cubicBezTo>
                      <a:close/>
                    </a:path>
                  </a:pathLst>
                </a:custGeom>
                <a:grpFill/>
                <a:ln w="5978" cap="flat">
                  <a:noFill/>
                  <a:prstDash val="solid"/>
                  <a:miter/>
                </a:ln>
              </p:spPr>
              <p:txBody>
                <a:bodyPr rtlCol="0" anchor="ctr"/>
                <a:lstStyle/>
                <a:p>
                  <a:endParaRPr lang="en-GB"/>
                </a:p>
              </p:txBody>
            </p:sp>
            <p:sp>
              <p:nvSpPr>
                <p:cNvPr id="1655" name="Vrije vorm: vorm 1654">
                  <a:extLst>
                    <a:ext uri="{FF2B5EF4-FFF2-40B4-BE49-F238E27FC236}">
                      <a16:creationId xmlns:a16="http://schemas.microsoft.com/office/drawing/2014/main" id="{4477EA34-7226-47B5-9C9C-6B4D8F421482}"/>
                    </a:ext>
                  </a:extLst>
                </p:cNvPr>
                <p:cNvSpPr/>
                <p:nvPr/>
              </p:nvSpPr>
              <p:spPr>
                <a:xfrm>
                  <a:off x="4671648" y="4844961"/>
                  <a:ext cx="18366" cy="18423"/>
                </a:xfrm>
                <a:custGeom>
                  <a:avLst/>
                  <a:gdLst>
                    <a:gd name="connsiteX0" fmla="*/ 15822 w 18366"/>
                    <a:gd name="connsiteY0" fmla="*/ 15611 h 18423"/>
                    <a:gd name="connsiteX1" fmla="*/ 15523 w 18366"/>
                    <a:gd name="connsiteY1" fmla="*/ 2573 h 18423"/>
                    <a:gd name="connsiteX2" fmla="*/ 2545 w 18366"/>
                    <a:gd name="connsiteY2" fmla="*/ 2813 h 18423"/>
                    <a:gd name="connsiteX3" fmla="*/ 2844 w 18366"/>
                    <a:gd name="connsiteY3" fmla="*/ 15851 h 18423"/>
                    <a:gd name="connsiteX4" fmla="*/ 15822 w 18366"/>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3">
                      <a:moveTo>
                        <a:pt x="15822" y="15611"/>
                      </a:moveTo>
                      <a:cubicBezTo>
                        <a:pt x="19351" y="11963"/>
                        <a:pt x="19171" y="6102"/>
                        <a:pt x="15523" y="2573"/>
                      </a:cubicBezTo>
                      <a:cubicBezTo>
                        <a:pt x="11875" y="-955"/>
                        <a:pt x="6073" y="-836"/>
                        <a:pt x="2545" y="2813"/>
                      </a:cubicBezTo>
                      <a:cubicBezTo>
                        <a:pt x="-984" y="6461"/>
                        <a:pt x="-804" y="12322"/>
                        <a:pt x="2844" y="15851"/>
                      </a:cubicBezTo>
                      <a:cubicBezTo>
                        <a:pt x="6552" y="19379"/>
                        <a:pt x="12353" y="19260"/>
                        <a:pt x="15822" y="15611"/>
                      </a:cubicBezTo>
                      <a:close/>
                    </a:path>
                  </a:pathLst>
                </a:custGeom>
                <a:grpFill/>
                <a:ln w="5978" cap="flat">
                  <a:noFill/>
                  <a:prstDash val="solid"/>
                  <a:miter/>
                </a:ln>
              </p:spPr>
              <p:txBody>
                <a:bodyPr rtlCol="0" anchor="ctr"/>
                <a:lstStyle/>
                <a:p>
                  <a:endParaRPr lang="en-GB"/>
                </a:p>
              </p:txBody>
            </p:sp>
          </p:grpSp>
          <p:grpSp>
            <p:nvGrpSpPr>
              <p:cNvPr id="1251" name="Graphic 3">
                <a:extLst>
                  <a:ext uri="{FF2B5EF4-FFF2-40B4-BE49-F238E27FC236}">
                    <a16:creationId xmlns:a16="http://schemas.microsoft.com/office/drawing/2014/main" id="{FAAFA211-780C-4416-A407-B89FCD2F51B4}"/>
                  </a:ext>
                </a:extLst>
              </p:cNvPr>
              <p:cNvGrpSpPr/>
              <p:nvPr/>
            </p:nvGrpSpPr>
            <p:grpSpPr>
              <a:xfrm>
                <a:off x="4160801" y="3915253"/>
                <a:ext cx="267533" cy="59820"/>
                <a:chOff x="4160801" y="3915253"/>
                <a:chExt cx="267533" cy="59820"/>
              </a:xfrm>
              <a:grpFill/>
            </p:grpSpPr>
            <p:sp>
              <p:nvSpPr>
                <p:cNvPr id="1650" name="Vrije vorm: vorm 1649">
                  <a:extLst>
                    <a:ext uri="{FF2B5EF4-FFF2-40B4-BE49-F238E27FC236}">
                      <a16:creationId xmlns:a16="http://schemas.microsoft.com/office/drawing/2014/main" id="{64241DE2-B5AD-452C-BD64-BF5DFD89B449}"/>
                    </a:ext>
                  </a:extLst>
                </p:cNvPr>
                <p:cNvSpPr/>
                <p:nvPr/>
              </p:nvSpPr>
              <p:spPr>
                <a:xfrm>
                  <a:off x="4169300" y="3922915"/>
                  <a:ext cx="250592" cy="44496"/>
                </a:xfrm>
                <a:custGeom>
                  <a:avLst/>
                  <a:gdLst>
                    <a:gd name="connsiteX0" fmla="*/ 250054 w 250592"/>
                    <a:gd name="connsiteY0" fmla="*/ 0 h 44496"/>
                    <a:gd name="connsiteX1" fmla="*/ 250592 w 250592"/>
                    <a:gd name="connsiteY1" fmla="*/ 2990 h 44496"/>
                    <a:gd name="connsiteX2" fmla="*/ 538 w 250592"/>
                    <a:gd name="connsiteY2" fmla="*/ 44496 h 44496"/>
                    <a:gd name="connsiteX3" fmla="*/ 0 w 250592"/>
                    <a:gd name="connsiteY3" fmla="*/ 41506 h 44496"/>
                  </a:gdLst>
                  <a:ahLst/>
                  <a:cxnLst>
                    <a:cxn ang="0">
                      <a:pos x="connsiteX0" y="connsiteY0"/>
                    </a:cxn>
                    <a:cxn ang="0">
                      <a:pos x="connsiteX1" y="connsiteY1"/>
                    </a:cxn>
                    <a:cxn ang="0">
                      <a:pos x="connsiteX2" y="connsiteY2"/>
                    </a:cxn>
                    <a:cxn ang="0">
                      <a:pos x="connsiteX3" y="connsiteY3"/>
                    </a:cxn>
                  </a:cxnLst>
                  <a:rect l="l" t="t" r="r" b="b"/>
                  <a:pathLst>
                    <a:path w="250592" h="44496">
                      <a:moveTo>
                        <a:pt x="250054" y="0"/>
                      </a:moveTo>
                      <a:lnTo>
                        <a:pt x="250592" y="2990"/>
                      </a:lnTo>
                      <a:lnTo>
                        <a:pt x="538" y="44496"/>
                      </a:lnTo>
                      <a:lnTo>
                        <a:pt x="0" y="41506"/>
                      </a:lnTo>
                      <a:close/>
                    </a:path>
                  </a:pathLst>
                </a:custGeom>
                <a:grpFill/>
                <a:ln w="5978" cap="flat">
                  <a:noFill/>
                  <a:prstDash val="solid"/>
                  <a:miter/>
                </a:ln>
              </p:spPr>
              <p:txBody>
                <a:bodyPr rtlCol="0" anchor="ctr"/>
                <a:lstStyle/>
                <a:p>
                  <a:endParaRPr lang="en-GB"/>
                </a:p>
              </p:txBody>
            </p:sp>
            <p:sp>
              <p:nvSpPr>
                <p:cNvPr id="1651" name="Vrije vorm: vorm 1650">
                  <a:extLst>
                    <a:ext uri="{FF2B5EF4-FFF2-40B4-BE49-F238E27FC236}">
                      <a16:creationId xmlns:a16="http://schemas.microsoft.com/office/drawing/2014/main" id="{E42A4339-63BE-4507-9CE9-084D0A633754}"/>
                    </a:ext>
                  </a:extLst>
                </p:cNvPr>
                <p:cNvSpPr/>
                <p:nvPr/>
              </p:nvSpPr>
              <p:spPr>
                <a:xfrm>
                  <a:off x="4409972" y="3915253"/>
                  <a:ext cx="18361" cy="18434"/>
                </a:xfrm>
                <a:custGeom>
                  <a:avLst/>
                  <a:gdLst>
                    <a:gd name="connsiteX0" fmla="*/ 7648 w 18361"/>
                    <a:gd name="connsiteY0" fmla="*/ 126 h 18434"/>
                    <a:gd name="connsiteX1" fmla="*/ 18234 w 18361"/>
                    <a:gd name="connsiteY1" fmla="*/ 7722 h 18434"/>
                    <a:gd name="connsiteX2" fmla="*/ 10698 w 18361"/>
                    <a:gd name="connsiteY2" fmla="*/ 18308 h 18434"/>
                    <a:gd name="connsiteX3" fmla="*/ 112 w 18361"/>
                    <a:gd name="connsiteY3" fmla="*/ 10712 h 18434"/>
                    <a:gd name="connsiteX4" fmla="*/ 7648 w 18361"/>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34">
                      <a:moveTo>
                        <a:pt x="7648" y="126"/>
                      </a:moveTo>
                      <a:cubicBezTo>
                        <a:pt x="12612" y="-711"/>
                        <a:pt x="17396" y="2698"/>
                        <a:pt x="18234" y="7722"/>
                      </a:cubicBezTo>
                      <a:cubicBezTo>
                        <a:pt x="19071" y="12746"/>
                        <a:pt x="15722" y="17470"/>
                        <a:pt x="10698" y="18308"/>
                      </a:cubicBezTo>
                      <a:cubicBezTo>
                        <a:pt x="5734" y="19145"/>
                        <a:pt x="949" y="15736"/>
                        <a:pt x="112" y="10712"/>
                      </a:cubicBezTo>
                      <a:cubicBezTo>
                        <a:pt x="-665" y="5689"/>
                        <a:pt x="2684" y="964"/>
                        <a:pt x="7648" y="126"/>
                      </a:cubicBezTo>
                      <a:close/>
                    </a:path>
                  </a:pathLst>
                </a:custGeom>
                <a:grpFill/>
                <a:ln w="5978" cap="flat">
                  <a:noFill/>
                  <a:prstDash val="solid"/>
                  <a:miter/>
                </a:ln>
              </p:spPr>
              <p:txBody>
                <a:bodyPr rtlCol="0" anchor="ctr"/>
                <a:lstStyle/>
                <a:p>
                  <a:endParaRPr lang="en-GB"/>
                </a:p>
              </p:txBody>
            </p:sp>
            <p:sp>
              <p:nvSpPr>
                <p:cNvPr id="1652" name="Vrije vorm: vorm 1651">
                  <a:extLst>
                    <a:ext uri="{FF2B5EF4-FFF2-40B4-BE49-F238E27FC236}">
                      <a16:creationId xmlns:a16="http://schemas.microsoft.com/office/drawing/2014/main" id="{E33C8CA1-E10B-45E6-AC37-D90F45960D55}"/>
                    </a:ext>
                  </a:extLst>
                </p:cNvPr>
                <p:cNvSpPr/>
                <p:nvPr/>
              </p:nvSpPr>
              <p:spPr>
                <a:xfrm>
                  <a:off x="4160801" y="3956639"/>
                  <a:ext cx="18374" cy="18434"/>
                </a:xfrm>
                <a:custGeom>
                  <a:avLst/>
                  <a:gdLst>
                    <a:gd name="connsiteX0" fmla="*/ 7662 w 18374"/>
                    <a:gd name="connsiteY0" fmla="*/ 126 h 18434"/>
                    <a:gd name="connsiteX1" fmla="*/ 127 w 18374"/>
                    <a:gd name="connsiteY1" fmla="*/ 10712 h 18434"/>
                    <a:gd name="connsiteX2" fmla="*/ 10712 w 18374"/>
                    <a:gd name="connsiteY2" fmla="*/ 18308 h 18434"/>
                    <a:gd name="connsiteX3" fmla="*/ 18248 w 18374"/>
                    <a:gd name="connsiteY3" fmla="*/ 7722 h 18434"/>
                    <a:gd name="connsiteX4" fmla="*/ 7662 w 18374"/>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34">
                      <a:moveTo>
                        <a:pt x="7662" y="126"/>
                      </a:moveTo>
                      <a:cubicBezTo>
                        <a:pt x="2698" y="964"/>
                        <a:pt x="-711" y="5689"/>
                        <a:pt x="127" y="10712"/>
                      </a:cubicBezTo>
                      <a:cubicBezTo>
                        <a:pt x="964" y="15736"/>
                        <a:pt x="5689" y="19145"/>
                        <a:pt x="10712" y="18308"/>
                      </a:cubicBezTo>
                      <a:cubicBezTo>
                        <a:pt x="15676" y="17471"/>
                        <a:pt x="19085" y="12746"/>
                        <a:pt x="18248" y="7722"/>
                      </a:cubicBezTo>
                      <a:cubicBezTo>
                        <a:pt x="17411" y="2698"/>
                        <a:pt x="12686" y="-711"/>
                        <a:pt x="7662" y="126"/>
                      </a:cubicBezTo>
                      <a:close/>
                    </a:path>
                  </a:pathLst>
                </a:custGeom>
                <a:grpFill/>
                <a:ln w="5978" cap="flat">
                  <a:noFill/>
                  <a:prstDash val="solid"/>
                  <a:miter/>
                </a:ln>
              </p:spPr>
              <p:txBody>
                <a:bodyPr rtlCol="0" anchor="ctr"/>
                <a:lstStyle/>
                <a:p>
                  <a:endParaRPr lang="en-GB"/>
                </a:p>
              </p:txBody>
            </p:sp>
          </p:grpSp>
          <p:grpSp>
            <p:nvGrpSpPr>
              <p:cNvPr id="1252" name="Graphic 3">
                <a:extLst>
                  <a:ext uri="{FF2B5EF4-FFF2-40B4-BE49-F238E27FC236}">
                    <a16:creationId xmlns:a16="http://schemas.microsoft.com/office/drawing/2014/main" id="{2203FFD1-0F48-476C-9A30-0C0CE6432237}"/>
                  </a:ext>
                </a:extLst>
              </p:cNvPr>
              <p:cNvGrpSpPr/>
              <p:nvPr/>
            </p:nvGrpSpPr>
            <p:grpSpPr>
              <a:xfrm>
                <a:off x="4298539" y="4395808"/>
                <a:ext cx="381698" cy="231159"/>
                <a:chOff x="4298539" y="4395808"/>
                <a:chExt cx="381698" cy="231159"/>
              </a:xfrm>
              <a:grpFill/>
            </p:grpSpPr>
            <p:sp>
              <p:nvSpPr>
                <p:cNvPr id="1647" name="Vrije vorm: vorm 1646">
                  <a:extLst>
                    <a:ext uri="{FF2B5EF4-FFF2-40B4-BE49-F238E27FC236}">
                      <a16:creationId xmlns:a16="http://schemas.microsoft.com/office/drawing/2014/main" id="{64743BD2-E2DC-466F-A10C-F1A8607594C3}"/>
                    </a:ext>
                  </a:extLst>
                </p:cNvPr>
                <p:cNvSpPr/>
                <p:nvPr/>
              </p:nvSpPr>
              <p:spPr>
                <a:xfrm>
                  <a:off x="4306558" y="4403466"/>
                  <a:ext cx="365661" cy="215784"/>
                </a:xfrm>
                <a:custGeom>
                  <a:avLst/>
                  <a:gdLst>
                    <a:gd name="connsiteX0" fmla="*/ 365661 w 365661"/>
                    <a:gd name="connsiteY0" fmla="*/ 2632 h 215784"/>
                    <a:gd name="connsiteX1" fmla="*/ 1495 w 365661"/>
                    <a:gd name="connsiteY1" fmla="*/ 215785 h 215784"/>
                    <a:gd name="connsiteX2" fmla="*/ 0 w 365661"/>
                    <a:gd name="connsiteY2" fmla="*/ 213093 h 215784"/>
                    <a:gd name="connsiteX3" fmla="*/ 364166 w 365661"/>
                    <a:gd name="connsiteY3" fmla="*/ 0 h 215784"/>
                  </a:gdLst>
                  <a:ahLst/>
                  <a:cxnLst>
                    <a:cxn ang="0">
                      <a:pos x="connsiteX0" y="connsiteY0"/>
                    </a:cxn>
                    <a:cxn ang="0">
                      <a:pos x="connsiteX1" y="connsiteY1"/>
                    </a:cxn>
                    <a:cxn ang="0">
                      <a:pos x="connsiteX2" y="connsiteY2"/>
                    </a:cxn>
                    <a:cxn ang="0">
                      <a:pos x="connsiteX3" y="connsiteY3"/>
                    </a:cxn>
                  </a:cxnLst>
                  <a:rect l="l" t="t" r="r" b="b"/>
                  <a:pathLst>
                    <a:path w="365661" h="215784">
                      <a:moveTo>
                        <a:pt x="365661" y="2632"/>
                      </a:moveTo>
                      <a:lnTo>
                        <a:pt x="1495" y="215785"/>
                      </a:lnTo>
                      <a:lnTo>
                        <a:pt x="0" y="213093"/>
                      </a:lnTo>
                      <a:lnTo>
                        <a:pt x="364166" y="0"/>
                      </a:lnTo>
                      <a:close/>
                    </a:path>
                  </a:pathLst>
                </a:custGeom>
                <a:grpFill/>
                <a:ln w="5978" cap="flat">
                  <a:noFill/>
                  <a:prstDash val="solid"/>
                  <a:miter/>
                </a:ln>
              </p:spPr>
              <p:txBody>
                <a:bodyPr rtlCol="0" anchor="ctr"/>
                <a:lstStyle/>
                <a:p>
                  <a:endParaRPr lang="en-GB"/>
                </a:p>
              </p:txBody>
            </p:sp>
            <p:sp>
              <p:nvSpPr>
                <p:cNvPr id="1648" name="Vrije vorm: vorm 1647">
                  <a:extLst>
                    <a:ext uri="{FF2B5EF4-FFF2-40B4-BE49-F238E27FC236}">
                      <a16:creationId xmlns:a16="http://schemas.microsoft.com/office/drawing/2014/main" id="{0C9A4F10-8C4A-43A3-8FE1-7B5A903A5625}"/>
                    </a:ext>
                  </a:extLst>
                </p:cNvPr>
                <p:cNvSpPr/>
                <p:nvPr/>
              </p:nvSpPr>
              <p:spPr>
                <a:xfrm>
                  <a:off x="4661895" y="4395808"/>
                  <a:ext cx="18343" cy="18484"/>
                </a:xfrm>
                <a:custGeom>
                  <a:avLst/>
                  <a:gdLst>
                    <a:gd name="connsiteX0" fmla="*/ 4523 w 18343"/>
                    <a:gd name="connsiteY0" fmla="*/ 1258 h 18484"/>
                    <a:gd name="connsiteX1" fmla="*/ 17083 w 18343"/>
                    <a:gd name="connsiteY1" fmla="*/ 4607 h 18484"/>
                    <a:gd name="connsiteX2" fmla="*/ 13793 w 18343"/>
                    <a:gd name="connsiteY2" fmla="*/ 17227 h 18484"/>
                    <a:gd name="connsiteX3" fmla="*/ 1234 w 18343"/>
                    <a:gd name="connsiteY3" fmla="*/ 13877 h 18484"/>
                    <a:gd name="connsiteX4" fmla="*/ 4523 w 18343"/>
                    <a:gd name="connsiteY4" fmla="*/ 125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4523" y="1258"/>
                      </a:moveTo>
                      <a:cubicBezTo>
                        <a:pt x="8889" y="-1313"/>
                        <a:pt x="14511" y="182"/>
                        <a:pt x="17083" y="4607"/>
                      </a:cubicBezTo>
                      <a:cubicBezTo>
                        <a:pt x="19654" y="9033"/>
                        <a:pt x="18159" y="14655"/>
                        <a:pt x="13793" y="17227"/>
                      </a:cubicBezTo>
                      <a:cubicBezTo>
                        <a:pt x="9427" y="19798"/>
                        <a:pt x="3805" y="18303"/>
                        <a:pt x="1234" y="13877"/>
                      </a:cubicBezTo>
                      <a:cubicBezTo>
                        <a:pt x="-1278" y="9452"/>
                        <a:pt x="157" y="3830"/>
                        <a:pt x="4523" y="1258"/>
                      </a:cubicBezTo>
                      <a:close/>
                    </a:path>
                  </a:pathLst>
                </a:custGeom>
                <a:grpFill/>
                <a:ln w="5978" cap="flat">
                  <a:noFill/>
                  <a:prstDash val="solid"/>
                  <a:miter/>
                </a:ln>
              </p:spPr>
              <p:txBody>
                <a:bodyPr rtlCol="0" anchor="ctr"/>
                <a:lstStyle/>
                <a:p>
                  <a:endParaRPr lang="en-GB"/>
                </a:p>
              </p:txBody>
            </p:sp>
            <p:sp>
              <p:nvSpPr>
                <p:cNvPr id="1649" name="Vrije vorm: vorm 1648">
                  <a:extLst>
                    <a:ext uri="{FF2B5EF4-FFF2-40B4-BE49-F238E27FC236}">
                      <a16:creationId xmlns:a16="http://schemas.microsoft.com/office/drawing/2014/main" id="{D2DFF84A-D034-410F-9C0F-076751B86DDE}"/>
                    </a:ext>
                  </a:extLst>
                </p:cNvPr>
                <p:cNvSpPr/>
                <p:nvPr/>
              </p:nvSpPr>
              <p:spPr>
                <a:xfrm>
                  <a:off x="4298539" y="4608483"/>
                  <a:ext cx="18343" cy="18484"/>
                </a:xfrm>
                <a:custGeom>
                  <a:avLst/>
                  <a:gdLst>
                    <a:gd name="connsiteX0" fmla="*/ 4550 w 18343"/>
                    <a:gd name="connsiteY0" fmla="*/ 1258 h 18484"/>
                    <a:gd name="connsiteX1" fmla="*/ 1260 w 18343"/>
                    <a:gd name="connsiteY1" fmla="*/ 13877 h 18484"/>
                    <a:gd name="connsiteX2" fmla="*/ 13820 w 18343"/>
                    <a:gd name="connsiteY2" fmla="*/ 17227 h 18484"/>
                    <a:gd name="connsiteX3" fmla="*/ 17109 w 18343"/>
                    <a:gd name="connsiteY3" fmla="*/ 4607 h 18484"/>
                    <a:gd name="connsiteX4" fmla="*/ 4550 w 18343"/>
                    <a:gd name="connsiteY4" fmla="*/ 125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4550" y="1258"/>
                      </a:moveTo>
                      <a:cubicBezTo>
                        <a:pt x="184" y="3830"/>
                        <a:pt x="-1311" y="9452"/>
                        <a:pt x="1260" y="13877"/>
                      </a:cubicBezTo>
                      <a:cubicBezTo>
                        <a:pt x="3832" y="18303"/>
                        <a:pt x="9454" y="19798"/>
                        <a:pt x="13820" y="17227"/>
                      </a:cubicBezTo>
                      <a:cubicBezTo>
                        <a:pt x="18186" y="14655"/>
                        <a:pt x="19621" y="9033"/>
                        <a:pt x="17109" y="4607"/>
                      </a:cubicBezTo>
                      <a:cubicBezTo>
                        <a:pt x="14538" y="182"/>
                        <a:pt x="8916" y="-1313"/>
                        <a:pt x="4550" y="1258"/>
                      </a:cubicBezTo>
                      <a:close/>
                    </a:path>
                  </a:pathLst>
                </a:custGeom>
                <a:grpFill/>
                <a:ln w="5978" cap="flat">
                  <a:noFill/>
                  <a:prstDash val="solid"/>
                  <a:miter/>
                </a:ln>
              </p:spPr>
              <p:txBody>
                <a:bodyPr rtlCol="0" anchor="ctr"/>
                <a:lstStyle/>
                <a:p>
                  <a:endParaRPr lang="en-GB"/>
                </a:p>
              </p:txBody>
            </p:sp>
          </p:grpSp>
          <p:grpSp>
            <p:nvGrpSpPr>
              <p:cNvPr id="1253" name="Graphic 3">
                <a:extLst>
                  <a:ext uri="{FF2B5EF4-FFF2-40B4-BE49-F238E27FC236}">
                    <a16:creationId xmlns:a16="http://schemas.microsoft.com/office/drawing/2014/main" id="{D16793A5-ACCD-41ED-A7D5-E614E230A0D3}"/>
                  </a:ext>
                </a:extLst>
              </p:cNvPr>
              <p:cNvGrpSpPr/>
              <p:nvPr/>
            </p:nvGrpSpPr>
            <p:grpSpPr>
              <a:xfrm>
                <a:off x="4352466" y="4205720"/>
                <a:ext cx="66912" cy="42030"/>
                <a:chOff x="4352466" y="4205720"/>
                <a:chExt cx="66912" cy="42030"/>
              </a:xfrm>
              <a:grpFill/>
            </p:grpSpPr>
            <p:sp>
              <p:nvSpPr>
                <p:cNvPr id="1644" name="Vrije vorm: vorm 1643">
                  <a:extLst>
                    <a:ext uri="{FF2B5EF4-FFF2-40B4-BE49-F238E27FC236}">
                      <a16:creationId xmlns:a16="http://schemas.microsoft.com/office/drawing/2014/main" id="{81CFB5CD-36E8-4852-AC94-B5FBBEF3E083}"/>
                    </a:ext>
                  </a:extLst>
                </p:cNvPr>
                <p:cNvSpPr/>
                <p:nvPr/>
              </p:nvSpPr>
              <p:spPr>
                <a:xfrm>
                  <a:off x="4360564" y="4213398"/>
                  <a:ext cx="50716" cy="26674"/>
                </a:xfrm>
                <a:custGeom>
                  <a:avLst/>
                  <a:gdLst>
                    <a:gd name="connsiteX0" fmla="*/ 50716 w 50716"/>
                    <a:gd name="connsiteY0" fmla="*/ 2751 h 26674"/>
                    <a:gd name="connsiteX1" fmla="*/ 1316 w 50716"/>
                    <a:gd name="connsiteY1" fmla="*/ 26674 h 26674"/>
                    <a:gd name="connsiteX2" fmla="*/ 0 w 50716"/>
                    <a:gd name="connsiteY2" fmla="*/ 23923 h 26674"/>
                    <a:gd name="connsiteX3" fmla="*/ 49400 w 50716"/>
                    <a:gd name="connsiteY3" fmla="*/ 0 h 26674"/>
                  </a:gdLst>
                  <a:ahLst/>
                  <a:cxnLst>
                    <a:cxn ang="0">
                      <a:pos x="connsiteX0" y="connsiteY0"/>
                    </a:cxn>
                    <a:cxn ang="0">
                      <a:pos x="connsiteX1" y="connsiteY1"/>
                    </a:cxn>
                    <a:cxn ang="0">
                      <a:pos x="connsiteX2" y="connsiteY2"/>
                    </a:cxn>
                    <a:cxn ang="0">
                      <a:pos x="connsiteX3" y="connsiteY3"/>
                    </a:cxn>
                  </a:cxnLst>
                  <a:rect l="l" t="t" r="r" b="b"/>
                  <a:pathLst>
                    <a:path w="50716" h="26674">
                      <a:moveTo>
                        <a:pt x="50716" y="2751"/>
                      </a:moveTo>
                      <a:lnTo>
                        <a:pt x="1316" y="26674"/>
                      </a:lnTo>
                      <a:lnTo>
                        <a:pt x="0" y="23923"/>
                      </a:lnTo>
                      <a:lnTo>
                        <a:pt x="49400" y="0"/>
                      </a:lnTo>
                      <a:close/>
                    </a:path>
                  </a:pathLst>
                </a:custGeom>
                <a:grpFill/>
                <a:ln w="5978" cap="flat">
                  <a:noFill/>
                  <a:prstDash val="solid"/>
                  <a:miter/>
                </a:ln>
              </p:spPr>
              <p:txBody>
                <a:bodyPr rtlCol="0" anchor="ctr"/>
                <a:lstStyle/>
                <a:p>
                  <a:endParaRPr lang="en-GB"/>
                </a:p>
              </p:txBody>
            </p:sp>
            <p:sp>
              <p:nvSpPr>
                <p:cNvPr id="1645" name="Vrije vorm: vorm 1644">
                  <a:extLst>
                    <a:ext uri="{FF2B5EF4-FFF2-40B4-BE49-F238E27FC236}">
                      <a16:creationId xmlns:a16="http://schemas.microsoft.com/office/drawing/2014/main" id="{8F9DDD95-7C28-4719-997E-FD17EE464632}"/>
                    </a:ext>
                  </a:extLst>
                </p:cNvPr>
                <p:cNvSpPr/>
                <p:nvPr/>
              </p:nvSpPr>
              <p:spPr>
                <a:xfrm>
                  <a:off x="4352466" y="4229284"/>
                  <a:ext cx="18349" cy="18466"/>
                </a:xfrm>
                <a:custGeom>
                  <a:avLst/>
                  <a:gdLst>
                    <a:gd name="connsiteX0" fmla="*/ 13181 w 18349"/>
                    <a:gd name="connsiteY0" fmla="*/ 17546 h 18466"/>
                    <a:gd name="connsiteX1" fmla="*/ 921 w 18349"/>
                    <a:gd name="connsiteY1" fmla="*/ 13240 h 18466"/>
                    <a:gd name="connsiteX2" fmla="*/ 5167 w 18349"/>
                    <a:gd name="connsiteY2" fmla="*/ 920 h 18466"/>
                    <a:gd name="connsiteX3" fmla="*/ 17428 w 18349"/>
                    <a:gd name="connsiteY3" fmla="*/ 5226 h 18466"/>
                    <a:gd name="connsiteX4" fmla="*/ 13181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1" y="17546"/>
                      </a:moveTo>
                      <a:cubicBezTo>
                        <a:pt x="8636" y="19759"/>
                        <a:pt x="3134" y="17845"/>
                        <a:pt x="921" y="13240"/>
                      </a:cubicBezTo>
                      <a:cubicBezTo>
                        <a:pt x="-1292" y="8635"/>
                        <a:pt x="622" y="3133"/>
                        <a:pt x="5167" y="920"/>
                      </a:cubicBezTo>
                      <a:cubicBezTo>
                        <a:pt x="9713" y="-1293"/>
                        <a:pt x="15215" y="621"/>
                        <a:pt x="17428" y="5226"/>
                      </a:cubicBezTo>
                      <a:cubicBezTo>
                        <a:pt x="19641" y="9831"/>
                        <a:pt x="17727" y="15333"/>
                        <a:pt x="13181" y="17546"/>
                      </a:cubicBezTo>
                      <a:close/>
                    </a:path>
                  </a:pathLst>
                </a:custGeom>
                <a:grpFill/>
                <a:ln w="5978" cap="flat">
                  <a:noFill/>
                  <a:prstDash val="solid"/>
                  <a:miter/>
                </a:ln>
              </p:spPr>
              <p:txBody>
                <a:bodyPr rtlCol="0" anchor="ctr"/>
                <a:lstStyle/>
                <a:p>
                  <a:endParaRPr lang="en-GB"/>
                </a:p>
              </p:txBody>
            </p:sp>
            <p:sp>
              <p:nvSpPr>
                <p:cNvPr id="1646" name="Vrije vorm: vorm 1645">
                  <a:extLst>
                    <a:ext uri="{FF2B5EF4-FFF2-40B4-BE49-F238E27FC236}">
                      <a16:creationId xmlns:a16="http://schemas.microsoft.com/office/drawing/2014/main" id="{7F8415FC-4181-4F0D-B4FE-EED42BC45AD3}"/>
                    </a:ext>
                  </a:extLst>
                </p:cNvPr>
                <p:cNvSpPr/>
                <p:nvPr/>
              </p:nvSpPr>
              <p:spPr>
                <a:xfrm>
                  <a:off x="4401029" y="4205720"/>
                  <a:ext cx="18349" cy="18466"/>
                </a:xfrm>
                <a:custGeom>
                  <a:avLst/>
                  <a:gdLst>
                    <a:gd name="connsiteX0" fmla="*/ 13181 w 18349"/>
                    <a:gd name="connsiteY0" fmla="*/ 17546 h 18466"/>
                    <a:gd name="connsiteX1" fmla="*/ 17428 w 18349"/>
                    <a:gd name="connsiteY1" fmla="*/ 5226 h 18466"/>
                    <a:gd name="connsiteX2" fmla="*/ 5168 w 18349"/>
                    <a:gd name="connsiteY2" fmla="*/ 920 h 18466"/>
                    <a:gd name="connsiteX3" fmla="*/ 921 w 18349"/>
                    <a:gd name="connsiteY3" fmla="*/ 13240 h 18466"/>
                    <a:gd name="connsiteX4" fmla="*/ 13181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1" y="17546"/>
                      </a:moveTo>
                      <a:cubicBezTo>
                        <a:pt x="17727" y="15333"/>
                        <a:pt x="19641" y="9831"/>
                        <a:pt x="17428" y="5226"/>
                      </a:cubicBezTo>
                      <a:cubicBezTo>
                        <a:pt x="15215" y="621"/>
                        <a:pt x="9713" y="-1293"/>
                        <a:pt x="5168" y="920"/>
                      </a:cubicBezTo>
                      <a:cubicBezTo>
                        <a:pt x="622" y="3133"/>
                        <a:pt x="-1292" y="8635"/>
                        <a:pt x="921" y="13240"/>
                      </a:cubicBezTo>
                      <a:cubicBezTo>
                        <a:pt x="3134" y="17845"/>
                        <a:pt x="8636" y="19759"/>
                        <a:pt x="13181" y="17546"/>
                      </a:cubicBezTo>
                      <a:close/>
                    </a:path>
                  </a:pathLst>
                </a:custGeom>
                <a:grpFill/>
                <a:ln w="5978" cap="flat">
                  <a:noFill/>
                  <a:prstDash val="solid"/>
                  <a:miter/>
                </a:ln>
              </p:spPr>
              <p:txBody>
                <a:bodyPr rtlCol="0" anchor="ctr"/>
                <a:lstStyle/>
                <a:p>
                  <a:endParaRPr lang="en-GB"/>
                </a:p>
              </p:txBody>
            </p:sp>
          </p:grpSp>
          <p:grpSp>
            <p:nvGrpSpPr>
              <p:cNvPr id="1254" name="Graphic 3">
                <a:extLst>
                  <a:ext uri="{FF2B5EF4-FFF2-40B4-BE49-F238E27FC236}">
                    <a16:creationId xmlns:a16="http://schemas.microsoft.com/office/drawing/2014/main" id="{4C16B91C-43CC-46E3-BF51-F2F05870CDCE}"/>
                  </a:ext>
                </a:extLst>
              </p:cNvPr>
              <p:cNvGrpSpPr/>
              <p:nvPr/>
            </p:nvGrpSpPr>
            <p:grpSpPr>
              <a:xfrm>
                <a:off x="4535957" y="4728264"/>
                <a:ext cx="61365" cy="57145"/>
                <a:chOff x="4535957" y="4728264"/>
                <a:chExt cx="61365" cy="57145"/>
              </a:xfrm>
              <a:grpFill/>
            </p:grpSpPr>
            <p:sp>
              <p:nvSpPr>
                <p:cNvPr id="1641" name="Vrije vorm: vorm 1640">
                  <a:extLst>
                    <a:ext uri="{FF2B5EF4-FFF2-40B4-BE49-F238E27FC236}">
                      <a16:creationId xmlns:a16="http://schemas.microsoft.com/office/drawing/2014/main" id="{D1454B45-034E-43EB-9493-3ABE3AEA4F95}"/>
                    </a:ext>
                  </a:extLst>
                </p:cNvPr>
                <p:cNvSpPr/>
                <p:nvPr/>
              </p:nvSpPr>
              <p:spPr>
                <a:xfrm>
                  <a:off x="4543753" y="4735994"/>
                  <a:ext cx="45752" cy="41685"/>
                </a:xfrm>
                <a:custGeom>
                  <a:avLst/>
                  <a:gdLst>
                    <a:gd name="connsiteX0" fmla="*/ 45752 w 45752"/>
                    <a:gd name="connsiteY0" fmla="*/ 2273 h 41685"/>
                    <a:gd name="connsiteX1" fmla="*/ 2033 w 45752"/>
                    <a:gd name="connsiteY1" fmla="*/ 41686 h 41685"/>
                    <a:gd name="connsiteX2" fmla="*/ 0 w 45752"/>
                    <a:gd name="connsiteY2" fmla="*/ 39413 h 41685"/>
                    <a:gd name="connsiteX3" fmla="*/ 43719 w 45752"/>
                    <a:gd name="connsiteY3" fmla="*/ 0 h 41685"/>
                  </a:gdLst>
                  <a:ahLst/>
                  <a:cxnLst>
                    <a:cxn ang="0">
                      <a:pos x="connsiteX0" y="connsiteY0"/>
                    </a:cxn>
                    <a:cxn ang="0">
                      <a:pos x="connsiteX1" y="connsiteY1"/>
                    </a:cxn>
                    <a:cxn ang="0">
                      <a:pos x="connsiteX2" y="connsiteY2"/>
                    </a:cxn>
                    <a:cxn ang="0">
                      <a:pos x="connsiteX3" y="connsiteY3"/>
                    </a:cxn>
                  </a:cxnLst>
                  <a:rect l="l" t="t" r="r" b="b"/>
                  <a:pathLst>
                    <a:path w="45752" h="41685">
                      <a:moveTo>
                        <a:pt x="45752" y="2273"/>
                      </a:moveTo>
                      <a:lnTo>
                        <a:pt x="2033" y="41686"/>
                      </a:lnTo>
                      <a:lnTo>
                        <a:pt x="0" y="39413"/>
                      </a:lnTo>
                      <a:lnTo>
                        <a:pt x="43719" y="0"/>
                      </a:lnTo>
                      <a:close/>
                    </a:path>
                  </a:pathLst>
                </a:custGeom>
                <a:grpFill/>
                <a:ln w="5978" cap="flat">
                  <a:noFill/>
                  <a:prstDash val="solid"/>
                  <a:miter/>
                </a:ln>
              </p:spPr>
              <p:txBody>
                <a:bodyPr rtlCol="0" anchor="ctr"/>
                <a:lstStyle/>
                <a:p>
                  <a:endParaRPr lang="en-GB"/>
                </a:p>
              </p:txBody>
            </p:sp>
            <p:sp>
              <p:nvSpPr>
                <p:cNvPr id="1642" name="Vrije vorm: vorm 1641">
                  <a:extLst>
                    <a:ext uri="{FF2B5EF4-FFF2-40B4-BE49-F238E27FC236}">
                      <a16:creationId xmlns:a16="http://schemas.microsoft.com/office/drawing/2014/main" id="{616BC339-F3E9-4B33-8FAF-86F252511FCE}"/>
                    </a:ext>
                  </a:extLst>
                </p:cNvPr>
                <p:cNvSpPr/>
                <p:nvPr/>
              </p:nvSpPr>
              <p:spPr>
                <a:xfrm>
                  <a:off x="4535957" y="4767019"/>
                  <a:ext cx="18304" cy="18391"/>
                </a:xfrm>
                <a:custGeom>
                  <a:avLst/>
                  <a:gdLst>
                    <a:gd name="connsiteX0" fmla="*/ 15272 w 18304"/>
                    <a:gd name="connsiteY0" fmla="*/ 16043 h 18391"/>
                    <a:gd name="connsiteX1" fmla="*/ 2354 w 18304"/>
                    <a:gd name="connsiteY1" fmla="*/ 15326 h 18391"/>
                    <a:gd name="connsiteX2" fmla="*/ 3011 w 18304"/>
                    <a:gd name="connsiteY2" fmla="*/ 2348 h 18391"/>
                    <a:gd name="connsiteX3" fmla="*/ 15930 w 18304"/>
                    <a:gd name="connsiteY3" fmla="*/ 3065 h 18391"/>
                    <a:gd name="connsiteX4" fmla="*/ 15272 w 18304"/>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391">
                      <a:moveTo>
                        <a:pt x="15272" y="16043"/>
                      </a:moveTo>
                      <a:cubicBezTo>
                        <a:pt x="11504" y="19452"/>
                        <a:pt x="5703" y="19094"/>
                        <a:pt x="2354" y="15326"/>
                      </a:cubicBezTo>
                      <a:cubicBezTo>
                        <a:pt x="-1055" y="11558"/>
                        <a:pt x="-697" y="5697"/>
                        <a:pt x="3011" y="2348"/>
                      </a:cubicBezTo>
                      <a:cubicBezTo>
                        <a:pt x="6779" y="-1061"/>
                        <a:pt x="12581" y="-703"/>
                        <a:pt x="15930" y="3065"/>
                      </a:cubicBezTo>
                      <a:cubicBezTo>
                        <a:pt x="19339" y="6833"/>
                        <a:pt x="19040" y="12694"/>
                        <a:pt x="15272" y="16043"/>
                      </a:cubicBezTo>
                      <a:close/>
                    </a:path>
                  </a:pathLst>
                </a:custGeom>
                <a:grpFill/>
                <a:ln w="5978" cap="flat">
                  <a:noFill/>
                  <a:prstDash val="solid"/>
                  <a:miter/>
                </a:ln>
              </p:spPr>
              <p:txBody>
                <a:bodyPr rtlCol="0" anchor="ctr"/>
                <a:lstStyle/>
                <a:p>
                  <a:endParaRPr lang="en-GB"/>
                </a:p>
              </p:txBody>
            </p:sp>
            <p:sp>
              <p:nvSpPr>
                <p:cNvPr id="1643" name="Vrije vorm: vorm 1642">
                  <a:extLst>
                    <a:ext uri="{FF2B5EF4-FFF2-40B4-BE49-F238E27FC236}">
                      <a16:creationId xmlns:a16="http://schemas.microsoft.com/office/drawing/2014/main" id="{AD98C96A-B3E2-4A52-BC7F-E03D8F90DC52}"/>
                    </a:ext>
                  </a:extLst>
                </p:cNvPr>
                <p:cNvSpPr/>
                <p:nvPr/>
              </p:nvSpPr>
              <p:spPr>
                <a:xfrm>
                  <a:off x="4578998" y="4728264"/>
                  <a:ext cx="18324" cy="18411"/>
                </a:xfrm>
                <a:custGeom>
                  <a:avLst/>
                  <a:gdLst>
                    <a:gd name="connsiteX0" fmla="*/ 15293 w 18324"/>
                    <a:gd name="connsiteY0" fmla="*/ 16043 h 18411"/>
                    <a:gd name="connsiteX1" fmla="*/ 15951 w 18324"/>
                    <a:gd name="connsiteY1" fmla="*/ 3065 h 18411"/>
                    <a:gd name="connsiteX2" fmla="*/ 3032 w 18324"/>
                    <a:gd name="connsiteY2" fmla="*/ 2348 h 18411"/>
                    <a:gd name="connsiteX3" fmla="*/ 2374 w 18324"/>
                    <a:gd name="connsiteY3" fmla="*/ 15326 h 18411"/>
                    <a:gd name="connsiteX4" fmla="*/ 15293 w 18324"/>
                    <a:gd name="connsiteY4" fmla="*/ 1604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11">
                      <a:moveTo>
                        <a:pt x="15293" y="16043"/>
                      </a:moveTo>
                      <a:cubicBezTo>
                        <a:pt x="19060" y="12634"/>
                        <a:pt x="19359" y="6833"/>
                        <a:pt x="15951" y="3065"/>
                      </a:cubicBezTo>
                      <a:cubicBezTo>
                        <a:pt x="12542" y="-703"/>
                        <a:pt x="6800" y="-1061"/>
                        <a:pt x="3032" y="2348"/>
                      </a:cubicBezTo>
                      <a:cubicBezTo>
                        <a:pt x="-736" y="5757"/>
                        <a:pt x="-1035" y="11558"/>
                        <a:pt x="2374" y="15326"/>
                      </a:cubicBezTo>
                      <a:cubicBezTo>
                        <a:pt x="5724" y="19153"/>
                        <a:pt x="11525" y="19452"/>
                        <a:pt x="15293" y="16043"/>
                      </a:cubicBezTo>
                      <a:close/>
                    </a:path>
                  </a:pathLst>
                </a:custGeom>
                <a:grpFill/>
                <a:ln w="5978" cap="flat">
                  <a:noFill/>
                  <a:prstDash val="solid"/>
                  <a:miter/>
                </a:ln>
              </p:spPr>
              <p:txBody>
                <a:bodyPr rtlCol="0" anchor="ctr"/>
                <a:lstStyle/>
                <a:p>
                  <a:endParaRPr lang="en-GB"/>
                </a:p>
              </p:txBody>
            </p:sp>
          </p:grpSp>
          <p:grpSp>
            <p:nvGrpSpPr>
              <p:cNvPr id="1255" name="Graphic 3">
                <a:extLst>
                  <a:ext uri="{FF2B5EF4-FFF2-40B4-BE49-F238E27FC236}">
                    <a16:creationId xmlns:a16="http://schemas.microsoft.com/office/drawing/2014/main" id="{505C6B7A-426E-4125-873C-6A1458299C81}"/>
                  </a:ext>
                </a:extLst>
              </p:cNvPr>
              <p:cNvGrpSpPr/>
              <p:nvPr/>
            </p:nvGrpSpPr>
            <p:grpSpPr>
              <a:xfrm>
                <a:off x="4093770" y="3786263"/>
                <a:ext cx="323196" cy="52268"/>
                <a:chOff x="4093770" y="3786263"/>
                <a:chExt cx="323196" cy="52268"/>
              </a:xfrm>
              <a:grpFill/>
            </p:grpSpPr>
            <p:sp>
              <p:nvSpPr>
                <p:cNvPr id="1638" name="Vrije vorm: vorm 1637">
                  <a:extLst>
                    <a:ext uri="{FF2B5EF4-FFF2-40B4-BE49-F238E27FC236}">
                      <a16:creationId xmlns:a16="http://schemas.microsoft.com/office/drawing/2014/main" id="{C910D9EC-81F6-4B89-AB29-D21992689E5A}"/>
                    </a:ext>
                  </a:extLst>
                </p:cNvPr>
                <p:cNvSpPr/>
                <p:nvPr/>
              </p:nvSpPr>
              <p:spPr>
                <a:xfrm>
                  <a:off x="4102316" y="3793911"/>
                  <a:ext cx="306093" cy="36960"/>
                </a:xfrm>
                <a:custGeom>
                  <a:avLst/>
                  <a:gdLst>
                    <a:gd name="connsiteX0" fmla="*/ 305735 w 306093"/>
                    <a:gd name="connsiteY0" fmla="*/ 0 h 36960"/>
                    <a:gd name="connsiteX1" fmla="*/ 306094 w 306093"/>
                    <a:gd name="connsiteY1" fmla="*/ 3050 h 36960"/>
                    <a:gd name="connsiteX2" fmla="*/ 359 w 306093"/>
                    <a:gd name="connsiteY2" fmla="*/ 36961 h 36960"/>
                    <a:gd name="connsiteX3" fmla="*/ 0 w 306093"/>
                    <a:gd name="connsiteY3" fmla="*/ 33911 h 36960"/>
                  </a:gdLst>
                  <a:ahLst/>
                  <a:cxnLst>
                    <a:cxn ang="0">
                      <a:pos x="connsiteX0" y="connsiteY0"/>
                    </a:cxn>
                    <a:cxn ang="0">
                      <a:pos x="connsiteX1" y="connsiteY1"/>
                    </a:cxn>
                    <a:cxn ang="0">
                      <a:pos x="connsiteX2" y="connsiteY2"/>
                    </a:cxn>
                    <a:cxn ang="0">
                      <a:pos x="connsiteX3" y="connsiteY3"/>
                    </a:cxn>
                  </a:cxnLst>
                  <a:rect l="l" t="t" r="r" b="b"/>
                  <a:pathLst>
                    <a:path w="306093" h="36960">
                      <a:moveTo>
                        <a:pt x="305735" y="0"/>
                      </a:moveTo>
                      <a:lnTo>
                        <a:pt x="306094" y="3050"/>
                      </a:lnTo>
                      <a:lnTo>
                        <a:pt x="359" y="36961"/>
                      </a:lnTo>
                      <a:lnTo>
                        <a:pt x="0" y="33911"/>
                      </a:lnTo>
                      <a:close/>
                    </a:path>
                  </a:pathLst>
                </a:custGeom>
                <a:grpFill/>
                <a:ln w="5978" cap="flat">
                  <a:noFill/>
                  <a:prstDash val="solid"/>
                  <a:miter/>
                </a:ln>
              </p:spPr>
              <p:txBody>
                <a:bodyPr rtlCol="0" anchor="ctr"/>
                <a:lstStyle/>
                <a:p>
                  <a:endParaRPr lang="en-GB"/>
                </a:p>
              </p:txBody>
            </p:sp>
            <p:sp>
              <p:nvSpPr>
                <p:cNvPr id="1639" name="Vrije vorm: vorm 1638">
                  <a:extLst>
                    <a:ext uri="{FF2B5EF4-FFF2-40B4-BE49-F238E27FC236}">
                      <a16:creationId xmlns:a16="http://schemas.microsoft.com/office/drawing/2014/main" id="{849E695B-0A91-4703-BC51-B9F13D294871}"/>
                    </a:ext>
                  </a:extLst>
                </p:cNvPr>
                <p:cNvSpPr/>
                <p:nvPr/>
              </p:nvSpPr>
              <p:spPr>
                <a:xfrm>
                  <a:off x="4398597" y="3786263"/>
                  <a:ext cx="18369" cy="18406"/>
                </a:xfrm>
                <a:custGeom>
                  <a:avLst/>
                  <a:gdLst>
                    <a:gd name="connsiteX0" fmla="*/ 8138 w 18369"/>
                    <a:gd name="connsiteY0" fmla="*/ 53 h 18406"/>
                    <a:gd name="connsiteX1" fmla="*/ 18305 w 18369"/>
                    <a:gd name="connsiteY1" fmla="*/ 8186 h 18406"/>
                    <a:gd name="connsiteX2" fmla="*/ 10231 w 18369"/>
                    <a:gd name="connsiteY2" fmla="*/ 18354 h 18406"/>
                    <a:gd name="connsiteX3" fmla="*/ 64 w 18369"/>
                    <a:gd name="connsiteY3" fmla="*/ 10220 h 18406"/>
                    <a:gd name="connsiteX4" fmla="*/ 8138 w 18369"/>
                    <a:gd name="connsiteY4" fmla="*/ 5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6">
                      <a:moveTo>
                        <a:pt x="8138" y="53"/>
                      </a:moveTo>
                      <a:cubicBezTo>
                        <a:pt x="13162" y="-486"/>
                        <a:pt x="17707" y="3163"/>
                        <a:pt x="18305" y="8186"/>
                      </a:cubicBezTo>
                      <a:cubicBezTo>
                        <a:pt x="18903" y="13270"/>
                        <a:pt x="15255" y="17815"/>
                        <a:pt x="10231" y="18354"/>
                      </a:cubicBezTo>
                      <a:cubicBezTo>
                        <a:pt x="5208" y="18892"/>
                        <a:pt x="662" y="15244"/>
                        <a:pt x="64" y="10220"/>
                      </a:cubicBezTo>
                      <a:cubicBezTo>
                        <a:pt x="-534" y="5196"/>
                        <a:pt x="3114" y="651"/>
                        <a:pt x="8138" y="53"/>
                      </a:cubicBezTo>
                      <a:close/>
                    </a:path>
                  </a:pathLst>
                </a:custGeom>
                <a:grpFill/>
                <a:ln w="5978" cap="flat">
                  <a:noFill/>
                  <a:prstDash val="solid"/>
                  <a:miter/>
                </a:ln>
              </p:spPr>
              <p:txBody>
                <a:bodyPr rtlCol="0" anchor="ctr"/>
                <a:lstStyle/>
                <a:p>
                  <a:endParaRPr lang="en-GB"/>
                </a:p>
              </p:txBody>
            </p:sp>
            <p:sp>
              <p:nvSpPr>
                <p:cNvPr id="1640" name="Vrije vorm: vorm 1639">
                  <a:extLst>
                    <a:ext uri="{FF2B5EF4-FFF2-40B4-BE49-F238E27FC236}">
                      <a16:creationId xmlns:a16="http://schemas.microsoft.com/office/drawing/2014/main" id="{11A11B4B-2081-430F-9708-E89A2089FE77}"/>
                    </a:ext>
                  </a:extLst>
                </p:cNvPr>
                <p:cNvSpPr/>
                <p:nvPr/>
              </p:nvSpPr>
              <p:spPr>
                <a:xfrm>
                  <a:off x="4093770" y="3820102"/>
                  <a:ext cx="18347" cy="18429"/>
                </a:xfrm>
                <a:custGeom>
                  <a:avLst/>
                  <a:gdLst>
                    <a:gd name="connsiteX0" fmla="*/ 8128 w 18347"/>
                    <a:gd name="connsiteY0" fmla="*/ 64 h 18429"/>
                    <a:gd name="connsiteX1" fmla="*/ 53 w 18347"/>
                    <a:gd name="connsiteY1" fmla="*/ 10231 h 18429"/>
                    <a:gd name="connsiteX2" fmla="*/ 10221 w 18347"/>
                    <a:gd name="connsiteY2" fmla="*/ 18365 h 18429"/>
                    <a:gd name="connsiteX3" fmla="*/ 18295 w 18347"/>
                    <a:gd name="connsiteY3" fmla="*/ 8198 h 18429"/>
                    <a:gd name="connsiteX4" fmla="*/ 8128 w 18347"/>
                    <a:gd name="connsiteY4" fmla="*/ 6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29">
                      <a:moveTo>
                        <a:pt x="8128" y="64"/>
                      </a:moveTo>
                      <a:cubicBezTo>
                        <a:pt x="3104" y="603"/>
                        <a:pt x="-485" y="5148"/>
                        <a:pt x="53" y="10231"/>
                      </a:cubicBezTo>
                      <a:cubicBezTo>
                        <a:pt x="592" y="15315"/>
                        <a:pt x="5197" y="18963"/>
                        <a:pt x="10221" y="18365"/>
                      </a:cubicBezTo>
                      <a:cubicBezTo>
                        <a:pt x="15245" y="17827"/>
                        <a:pt x="18833" y="13282"/>
                        <a:pt x="18295" y="8198"/>
                      </a:cubicBezTo>
                      <a:cubicBezTo>
                        <a:pt x="17697" y="3114"/>
                        <a:pt x="13151" y="-534"/>
                        <a:pt x="8128" y="64"/>
                      </a:cubicBezTo>
                      <a:close/>
                    </a:path>
                  </a:pathLst>
                </a:custGeom>
                <a:grpFill/>
                <a:ln w="5978" cap="flat">
                  <a:noFill/>
                  <a:prstDash val="solid"/>
                  <a:miter/>
                </a:ln>
              </p:spPr>
              <p:txBody>
                <a:bodyPr rtlCol="0" anchor="ctr"/>
                <a:lstStyle/>
                <a:p>
                  <a:endParaRPr lang="en-GB"/>
                </a:p>
              </p:txBody>
            </p:sp>
          </p:grpSp>
          <p:grpSp>
            <p:nvGrpSpPr>
              <p:cNvPr id="1256" name="Graphic 3">
                <a:extLst>
                  <a:ext uri="{FF2B5EF4-FFF2-40B4-BE49-F238E27FC236}">
                    <a16:creationId xmlns:a16="http://schemas.microsoft.com/office/drawing/2014/main" id="{54F9396C-B43D-4D33-AEE5-24B4547D8304}"/>
                  </a:ext>
                </a:extLst>
              </p:cNvPr>
              <p:cNvGrpSpPr/>
              <p:nvPr/>
            </p:nvGrpSpPr>
            <p:grpSpPr>
              <a:xfrm>
                <a:off x="4594014" y="4954742"/>
                <a:ext cx="148933" cy="171401"/>
                <a:chOff x="4594014" y="4954742"/>
                <a:chExt cx="148933" cy="171401"/>
              </a:xfrm>
              <a:grpFill/>
            </p:grpSpPr>
            <p:sp>
              <p:nvSpPr>
                <p:cNvPr id="1635" name="Vrije vorm: vorm 1634">
                  <a:extLst>
                    <a:ext uri="{FF2B5EF4-FFF2-40B4-BE49-F238E27FC236}">
                      <a16:creationId xmlns:a16="http://schemas.microsoft.com/office/drawing/2014/main" id="{D30AE4CA-446C-428E-930E-4A00F2735142}"/>
                    </a:ext>
                  </a:extLst>
                </p:cNvPr>
                <p:cNvSpPr/>
                <p:nvPr/>
              </p:nvSpPr>
              <p:spPr>
                <a:xfrm>
                  <a:off x="4601706" y="4962603"/>
                  <a:ext cx="133549" cy="155678"/>
                </a:xfrm>
                <a:custGeom>
                  <a:avLst/>
                  <a:gdLst>
                    <a:gd name="connsiteX0" fmla="*/ 133550 w 133549"/>
                    <a:gd name="connsiteY0" fmla="*/ 2034 h 155678"/>
                    <a:gd name="connsiteX1" fmla="*/ 2273 w 133549"/>
                    <a:gd name="connsiteY1" fmla="*/ 155678 h 155678"/>
                    <a:gd name="connsiteX2" fmla="*/ 0 w 133549"/>
                    <a:gd name="connsiteY2" fmla="*/ 153645 h 155678"/>
                    <a:gd name="connsiteX3" fmla="*/ 131217 w 133549"/>
                    <a:gd name="connsiteY3" fmla="*/ 0 h 155678"/>
                  </a:gdLst>
                  <a:ahLst/>
                  <a:cxnLst>
                    <a:cxn ang="0">
                      <a:pos x="connsiteX0" y="connsiteY0"/>
                    </a:cxn>
                    <a:cxn ang="0">
                      <a:pos x="connsiteX1" y="connsiteY1"/>
                    </a:cxn>
                    <a:cxn ang="0">
                      <a:pos x="connsiteX2" y="connsiteY2"/>
                    </a:cxn>
                    <a:cxn ang="0">
                      <a:pos x="connsiteX3" y="connsiteY3"/>
                    </a:cxn>
                  </a:cxnLst>
                  <a:rect l="l" t="t" r="r" b="b"/>
                  <a:pathLst>
                    <a:path w="133549" h="155678">
                      <a:moveTo>
                        <a:pt x="133550" y="2034"/>
                      </a:moveTo>
                      <a:lnTo>
                        <a:pt x="2273" y="155678"/>
                      </a:lnTo>
                      <a:lnTo>
                        <a:pt x="0" y="153645"/>
                      </a:lnTo>
                      <a:lnTo>
                        <a:pt x="131217" y="0"/>
                      </a:lnTo>
                      <a:close/>
                    </a:path>
                  </a:pathLst>
                </a:custGeom>
                <a:grpFill/>
                <a:ln w="5978" cap="flat">
                  <a:noFill/>
                  <a:prstDash val="solid"/>
                  <a:miter/>
                </a:ln>
              </p:spPr>
              <p:txBody>
                <a:bodyPr rtlCol="0" anchor="ctr"/>
                <a:lstStyle/>
                <a:p>
                  <a:endParaRPr lang="en-GB"/>
                </a:p>
              </p:txBody>
            </p:sp>
            <p:sp>
              <p:nvSpPr>
                <p:cNvPr id="1636" name="Vrije vorm: vorm 1635">
                  <a:extLst>
                    <a:ext uri="{FF2B5EF4-FFF2-40B4-BE49-F238E27FC236}">
                      <a16:creationId xmlns:a16="http://schemas.microsoft.com/office/drawing/2014/main" id="{7815637B-02E5-4750-81C0-B3F898F30DF7}"/>
                    </a:ext>
                  </a:extLst>
                </p:cNvPr>
                <p:cNvSpPr/>
                <p:nvPr/>
              </p:nvSpPr>
              <p:spPr>
                <a:xfrm>
                  <a:off x="4594014" y="5107729"/>
                  <a:ext cx="18314" cy="18414"/>
                </a:xfrm>
                <a:custGeom>
                  <a:avLst/>
                  <a:gdLst>
                    <a:gd name="connsiteX0" fmla="*/ 16125 w 18314"/>
                    <a:gd name="connsiteY0" fmla="*/ 15218 h 18414"/>
                    <a:gd name="connsiteX1" fmla="*/ 3206 w 18314"/>
                    <a:gd name="connsiteY1" fmla="*/ 16175 h 18414"/>
                    <a:gd name="connsiteX2" fmla="*/ 2190 w 18314"/>
                    <a:gd name="connsiteY2" fmla="*/ 3196 h 18414"/>
                    <a:gd name="connsiteX3" fmla="*/ 15108 w 18314"/>
                    <a:gd name="connsiteY3" fmla="*/ 2240 h 18414"/>
                    <a:gd name="connsiteX4" fmla="*/ 16125 w 18314"/>
                    <a:gd name="connsiteY4" fmla="*/ 1521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14">
                      <a:moveTo>
                        <a:pt x="16125" y="15218"/>
                      </a:moveTo>
                      <a:cubicBezTo>
                        <a:pt x="12836" y="19046"/>
                        <a:pt x="7034" y="19524"/>
                        <a:pt x="3206" y="16175"/>
                      </a:cubicBezTo>
                      <a:cubicBezTo>
                        <a:pt x="-621" y="12826"/>
                        <a:pt x="-1099" y="7024"/>
                        <a:pt x="2190" y="3196"/>
                      </a:cubicBezTo>
                      <a:cubicBezTo>
                        <a:pt x="5479" y="-631"/>
                        <a:pt x="11281" y="-1109"/>
                        <a:pt x="15108" y="2240"/>
                      </a:cubicBezTo>
                      <a:cubicBezTo>
                        <a:pt x="18936" y="5529"/>
                        <a:pt x="19414" y="11331"/>
                        <a:pt x="16125" y="15218"/>
                      </a:cubicBezTo>
                      <a:close/>
                    </a:path>
                  </a:pathLst>
                </a:custGeom>
                <a:grpFill/>
                <a:ln w="5978" cap="flat">
                  <a:noFill/>
                  <a:prstDash val="solid"/>
                  <a:miter/>
                </a:ln>
              </p:spPr>
              <p:txBody>
                <a:bodyPr rtlCol="0" anchor="ctr"/>
                <a:lstStyle/>
                <a:p>
                  <a:endParaRPr lang="en-GB"/>
                </a:p>
              </p:txBody>
            </p:sp>
            <p:sp>
              <p:nvSpPr>
                <p:cNvPr id="1637" name="Vrije vorm: vorm 1636">
                  <a:extLst>
                    <a:ext uri="{FF2B5EF4-FFF2-40B4-BE49-F238E27FC236}">
                      <a16:creationId xmlns:a16="http://schemas.microsoft.com/office/drawing/2014/main" id="{46D02758-BC6C-4AA3-B779-344FF3C5793B}"/>
                    </a:ext>
                  </a:extLst>
                </p:cNvPr>
                <p:cNvSpPr/>
                <p:nvPr/>
              </p:nvSpPr>
              <p:spPr>
                <a:xfrm>
                  <a:off x="4724633" y="4954742"/>
                  <a:ext cx="18314" cy="18434"/>
                </a:xfrm>
                <a:custGeom>
                  <a:avLst/>
                  <a:gdLst>
                    <a:gd name="connsiteX0" fmla="*/ 16125 w 18314"/>
                    <a:gd name="connsiteY0" fmla="*/ 15218 h 18434"/>
                    <a:gd name="connsiteX1" fmla="*/ 15108 w 18314"/>
                    <a:gd name="connsiteY1" fmla="*/ 2240 h 18434"/>
                    <a:gd name="connsiteX2" fmla="*/ 2190 w 18314"/>
                    <a:gd name="connsiteY2" fmla="*/ 3197 h 18434"/>
                    <a:gd name="connsiteX3" fmla="*/ 3207 w 18314"/>
                    <a:gd name="connsiteY3" fmla="*/ 16175 h 18434"/>
                    <a:gd name="connsiteX4" fmla="*/ 16125 w 18314"/>
                    <a:gd name="connsiteY4" fmla="*/ 15218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34">
                      <a:moveTo>
                        <a:pt x="16125" y="15218"/>
                      </a:moveTo>
                      <a:cubicBezTo>
                        <a:pt x="19414" y="11390"/>
                        <a:pt x="18936" y="5529"/>
                        <a:pt x="15108" y="2240"/>
                      </a:cubicBezTo>
                      <a:cubicBezTo>
                        <a:pt x="11280" y="-1110"/>
                        <a:pt x="5479" y="-631"/>
                        <a:pt x="2190" y="3197"/>
                      </a:cubicBezTo>
                      <a:cubicBezTo>
                        <a:pt x="-1099" y="7024"/>
                        <a:pt x="-621" y="12886"/>
                        <a:pt x="3207" y="16175"/>
                      </a:cubicBezTo>
                      <a:cubicBezTo>
                        <a:pt x="7034" y="19524"/>
                        <a:pt x="12835" y="19105"/>
                        <a:pt x="16125" y="15218"/>
                      </a:cubicBezTo>
                      <a:close/>
                    </a:path>
                  </a:pathLst>
                </a:custGeom>
                <a:grpFill/>
                <a:ln w="5978" cap="flat">
                  <a:noFill/>
                  <a:prstDash val="solid"/>
                  <a:miter/>
                </a:ln>
              </p:spPr>
              <p:txBody>
                <a:bodyPr rtlCol="0" anchor="ctr"/>
                <a:lstStyle/>
                <a:p>
                  <a:endParaRPr lang="en-GB"/>
                </a:p>
              </p:txBody>
            </p:sp>
          </p:grpSp>
          <p:grpSp>
            <p:nvGrpSpPr>
              <p:cNvPr id="1257" name="Graphic 3">
                <a:extLst>
                  <a:ext uri="{FF2B5EF4-FFF2-40B4-BE49-F238E27FC236}">
                    <a16:creationId xmlns:a16="http://schemas.microsoft.com/office/drawing/2014/main" id="{2FE260E5-3BBC-4C10-807F-D8679FAE3884}"/>
                  </a:ext>
                </a:extLst>
              </p:cNvPr>
              <p:cNvGrpSpPr/>
              <p:nvPr/>
            </p:nvGrpSpPr>
            <p:grpSpPr>
              <a:xfrm>
                <a:off x="4199527" y="3689199"/>
                <a:ext cx="20241" cy="18698"/>
                <a:chOff x="4199527" y="3689199"/>
                <a:chExt cx="20241" cy="18698"/>
              </a:xfrm>
              <a:grpFill/>
            </p:grpSpPr>
            <p:sp>
              <p:nvSpPr>
                <p:cNvPr id="1633" name="Vrije vorm: vorm 1632">
                  <a:extLst>
                    <a:ext uri="{FF2B5EF4-FFF2-40B4-BE49-F238E27FC236}">
                      <a16:creationId xmlns:a16="http://schemas.microsoft.com/office/drawing/2014/main" id="{4A20C804-C5BA-4E62-B9DE-7FF00B317B11}"/>
                    </a:ext>
                  </a:extLst>
                </p:cNvPr>
                <p:cNvSpPr/>
                <p:nvPr/>
              </p:nvSpPr>
              <p:spPr>
                <a:xfrm>
                  <a:off x="4199527" y="3689498"/>
                  <a:ext cx="18327" cy="18399"/>
                </a:xfrm>
                <a:custGeom>
                  <a:avLst/>
                  <a:gdLst>
                    <a:gd name="connsiteX0" fmla="*/ 7751 w 18327"/>
                    <a:gd name="connsiteY0" fmla="*/ 109 h 18399"/>
                    <a:gd name="connsiteX1" fmla="*/ 18217 w 18327"/>
                    <a:gd name="connsiteY1" fmla="*/ 7824 h 18399"/>
                    <a:gd name="connsiteX2" fmla="*/ 10562 w 18327"/>
                    <a:gd name="connsiteY2" fmla="*/ 18290 h 18399"/>
                    <a:gd name="connsiteX3" fmla="*/ 95 w 18327"/>
                    <a:gd name="connsiteY3" fmla="*/ 10575 h 18399"/>
                    <a:gd name="connsiteX4" fmla="*/ 7751 w 18327"/>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9">
                      <a:moveTo>
                        <a:pt x="7751" y="109"/>
                      </a:moveTo>
                      <a:cubicBezTo>
                        <a:pt x="12774" y="-668"/>
                        <a:pt x="17440" y="2800"/>
                        <a:pt x="18217" y="7824"/>
                      </a:cubicBezTo>
                      <a:cubicBezTo>
                        <a:pt x="18995" y="12848"/>
                        <a:pt x="15586" y="17573"/>
                        <a:pt x="10562" y="18290"/>
                      </a:cubicBezTo>
                      <a:cubicBezTo>
                        <a:pt x="5538" y="19068"/>
                        <a:pt x="873" y="15599"/>
                        <a:pt x="95" y="10575"/>
                      </a:cubicBezTo>
                      <a:cubicBezTo>
                        <a:pt x="-622" y="5551"/>
                        <a:pt x="2787" y="886"/>
                        <a:pt x="7751" y="109"/>
                      </a:cubicBezTo>
                      <a:close/>
                    </a:path>
                  </a:pathLst>
                </a:custGeom>
                <a:grpFill/>
                <a:ln w="5978" cap="flat">
                  <a:noFill/>
                  <a:prstDash val="solid"/>
                  <a:miter/>
                </a:ln>
              </p:spPr>
              <p:txBody>
                <a:bodyPr rtlCol="0" anchor="ctr"/>
                <a:lstStyle/>
                <a:p>
                  <a:endParaRPr lang="en-GB"/>
                </a:p>
              </p:txBody>
            </p:sp>
            <p:sp>
              <p:nvSpPr>
                <p:cNvPr id="1634" name="Vrije vorm: vorm 1633">
                  <a:extLst>
                    <a:ext uri="{FF2B5EF4-FFF2-40B4-BE49-F238E27FC236}">
                      <a16:creationId xmlns:a16="http://schemas.microsoft.com/office/drawing/2014/main" id="{A4F4BBC4-5444-48F5-93DD-F99C59352DAA}"/>
                    </a:ext>
                  </a:extLst>
                </p:cNvPr>
                <p:cNvSpPr/>
                <p:nvPr/>
              </p:nvSpPr>
              <p:spPr>
                <a:xfrm>
                  <a:off x="4201426" y="3689199"/>
                  <a:ext cx="18342" cy="18399"/>
                </a:xfrm>
                <a:custGeom>
                  <a:avLst/>
                  <a:gdLst>
                    <a:gd name="connsiteX0" fmla="*/ 7766 w 18342"/>
                    <a:gd name="connsiteY0" fmla="*/ 109 h 18399"/>
                    <a:gd name="connsiteX1" fmla="*/ 110 w 18342"/>
                    <a:gd name="connsiteY1" fmla="*/ 10575 h 18399"/>
                    <a:gd name="connsiteX2" fmla="*/ 10577 w 18342"/>
                    <a:gd name="connsiteY2" fmla="*/ 18290 h 18399"/>
                    <a:gd name="connsiteX3" fmla="*/ 18232 w 18342"/>
                    <a:gd name="connsiteY3" fmla="*/ 7824 h 18399"/>
                    <a:gd name="connsiteX4" fmla="*/ 7766 w 18342"/>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9">
                      <a:moveTo>
                        <a:pt x="7766" y="109"/>
                      </a:moveTo>
                      <a:cubicBezTo>
                        <a:pt x="2742" y="886"/>
                        <a:pt x="-667" y="5551"/>
                        <a:pt x="110" y="10575"/>
                      </a:cubicBezTo>
                      <a:cubicBezTo>
                        <a:pt x="888" y="15599"/>
                        <a:pt x="5553" y="19068"/>
                        <a:pt x="10577" y="18290"/>
                      </a:cubicBezTo>
                      <a:cubicBezTo>
                        <a:pt x="15601" y="17513"/>
                        <a:pt x="19009" y="12848"/>
                        <a:pt x="18232" y="7824"/>
                      </a:cubicBezTo>
                      <a:cubicBezTo>
                        <a:pt x="17455" y="2800"/>
                        <a:pt x="12790" y="-669"/>
                        <a:pt x="7766" y="109"/>
                      </a:cubicBezTo>
                      <a:close/>
                    </a:path>
                  </a:pathLst>
                </a:custGeom>
                <a:grpFill/>
                <a:ln w="5978" cap="flat">
                  <a:noFill/>
                  <a:prstDash val="solid"/>
                  <a:miter/>
                </a:ln>
              </p:spPr>
              <p:txBody>
                <a:bodyPr rtlCol="0" anchor="ctr"/>
                <a:lstStyle/>
                <a:p>
                  <a:endParaRPr lang="en-GB"/>
                </a:p>
              </p:txBody>
            </p:sp>
          </p:grpSp>
          <p:grpSp>
            <p:nvGrpSpPr>
              <p:cNvPr id="1258" name="Graphic 3">
                <a:extLst>
                  <a:ext uri="{FF2B5EF4-FFF2-40B4-BE49-F238E27FC236}">
                    <a16:creationId xmlns:a16="http://schemas.microsoft.com/office/drawing/2014/main" id="{A6F9701D-F411-4694-9BD5-A1C664B5F709}"/>
                  </a:ext>
                </a:extLst>
              </p:cNvPr>
              <p:cNvGrpSpPr/>
              <p:nvPr/>
            </p:nvGrpSpPr>
            <p:grpSpPr>
              <a:xfrm>
                <a:off x="4255555" y="4006641"/>
                <a:ext cx="110857" cy="51000"/>
                <a:chOff x="4255555" y="4006641"/>
                <a:chExt cx="110857" cy="51000"/>
              </a:xfrm>
              <a:grpFill/>
            </p:grpSpPr>
            <p:sp>
              <p:nvSpPr>
                <p:cNvPr id="1630" name="Vrije vorm: vorm 1629">
                  <a:extLst>
                    <a:ext uri="{FF2B5EF4-FFF2-40B4-BE49-F238E27FC236}">
                      <a16:creationId xmlns:a16="http://schemas.microsoft.com/office/drawing/2014/main" id="{052CD467-C9D0-43A1-A7CE-E5CA1EA44814}"/>
                    </a:ext>
                  </a:extLst>
                </p:cNvPr>
                <p:cNvSpPr/>
                <p:nvPr/>
              </p:nvSpPr>
              <p:spPr>
                <a:xfrm>
                  <a:off x="4263908" y="4014229"/>
                  <a:ext cx="94419" cy="35817"/>
                </a:xfrm>
                <a:custGeom>
                  <a:avLst/>
                  <a:gdLst>
                    <a:gd name="connsiteX0" fmla="*/ 0 w 94419"/>
                    <a:gd name="connsiteY0" fmla="*/ 32941 h 35817"/>
                    <a:gd name="connsiteX1" fmla="*/ 93405 w 94419"/>
                    <a:gd name="connsiteY1" fmla="*/ 0 h 35817"/>
                    <a:gd name="connsiteX2" fmla="*/ 94420 w 94419"/>
                    <a:gd name="connsiteY2" fmla="*/ 2877 h 35817"/>
                    <a:gd name="connsiteX3" fmla="*/ 1015 w 94419"/>
                    <a:gd name="connsiteY3" fmla="*/ 35818 h 35817"/>
                  </a:gdLst>
                  <a:ahLst/>
                  <a:cxnLst>
                    <a:cxn ang="0">
                      <a:pos x="connsiteX0" y="connsiteY0"/>
                    </a:cxn>
                    <a:cxn ang="0">
                      <a:pos x="connsiteX1" y="connsiteY1"/>
                    </a:cxn>
                    <a:cxn ang="0">
                      <a:pos x="connsiteX2" y="connsiteY2"/>
                    </a:cxn>
                    <a:cxn ang="0">
                      <a:pos x="connsiteX3" y="connsiteY3"/>
                    </a:cxn>
                  </a:cxnLst>
                  <a:rect l="l" t="t" r="r" b="b"/>
                  <a:pathLst>
                    <a:path w="94419" h="35817">
                      <a:moveTo>
                        <a:pt x="0" y="32941"/>
                      </a:moveTo>
                      <a:lnTo>
                        <a:pt x="93405" y="0"/>
                      </a:lnTo>
                      <a:lnTo>
                        <a:pt x="94420" y="2877"/>
                      </a:lnTo>
                      <a:lnTo>
                        <a:pt x="1015" y="35818"/>
                      </a:lnTo>
                      <a:close/>
                    </a:path>
                  </a:pathLst>
                </a:custGeom>
                <a:grpFill/>
                <a:ln w="5978" cap="flat">
                  <a:noFill/>
                  <a:prstDash val="solid"/>
                  <a:miter/>
                </a:ln>
              </p:spPr>
              <p:txBody>
                <a:bodyPr rtlCol="0" anchor="ctr"/>
                <a:lstStyle/>
                <a:p>
                  <a:endParaRPr lang="en-GB"/>
                </a:p>
              </p:txBody>
            </p:sp>
            <p:sp>
              <p:nvSpPr>
                <p:cNvPr id="1631" name="Vrije vorm: vorm 1630">
                  <a:extLst>
                    <a:ext uri="{FF2B5EF4-FFF2-40B4-BE49-F238E27FC236}">
                      <a16:creationId xmlns:a16="http://schemas.microsoft.com/office/drawing/2014/main" id="{FBACB6B6-9DF7-4DA2-83F0-313A07B58A5F}"/>
                    </a:ext>
                  </a:extLst>
                </p:cNvPr>
                <p:cNvSpPr/>
                <p:nvPr/>
              </p:nvSpPr>
              <p:spPr>
                <a:xfrm>
                  <a:off x="4255555" y="4039259"/>
                  <a:ext cx="18335" cy="18381"/>
                </a:xfrm>
                <a:custGeom>
                  <a:avLst/>
                  <a:gdLst>
                    <a:gd name="connsiteX0" fmla="*/ 12248 w 18335"/>
                    <a:gd name="connsiteY0" fmla="*/ 17863 h 18381"/>
                    <a:gd name="connsiteX1" fmla="*/ 526 w 18335"/>
                    <a:gd name="connsiteY1" fmla="*/ 12241 h 18381"/>
                    <a:gd name="connsiteX2" fmla="*/ 6088 w 18335"/>
                    <a:gd name="connsiteY2" fmla="*/ 519 h 18381"/>
                    <a:gd name="connsiteX3" fmla="*/ 17810 w 18335"/>
                    <a:gd name="connsiteY3" fmla="*/ 6141 h 18381"/>
                    <a:gd name="connsiteX4" fmla="*/ 12248 w 18335"/>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81">
                      <a:moveTo>
                        <a:pt x="12248" y="17863"/>
                      </a:moveTo>
                      <a:cubicBezTo>
                        <a:pt x="7464" y="19538"/>
                        <a:pt x="2260" y="17026"/>
                        <a:pt x="526" y="12241"/>
                      </a:cubicBezTo>
                      <a:cubicBezTo>
                        <a:pt x="-1149" y="7456"/>
                        <a:pt x="1303" y="2193"/>
                        <a:pt x="6088" y="519"/>
                      </a:cubicBezTo>
                      <a:cubicBezTo>
                        <a:pt x="10872" y="-1156"/>
                        <a:pt x="16076" y="1356"/>
                        <a:pt x="17810" y="6141"/>
                      </a:cubicBezTo>
                      <a:cubicBezTo>
                        <a:pt x="19484" y="10925"/>
                        <a:pt x="17033" y="16188"/>
                        <a:pt x="12248" y="17863"/>
                      </a:cubicBezTo>
                      <a:close/>
                    </a:path>
                  </a:pathLst>
                </a:custGeom>
                <a:grpFill/>
                <a:ln w="5978" cap="flat">
                  <a:noFill/>
                  <a:prstDash val="solid"/>
                  <a:miter/>
                </a:ln>
              </p:spPr>
              <p:txBody>
                <a:bodyPr rtlCol="0" anchor="ctr"/>
                <a:lstStyle/>
                <a:p>
                  <a:endParaRPr lang="en-GB"/>
                </a:p>
              </p:txBody>
            </p:sp>
            <p:sp>
              <p:nvSpPr>
                <p:cNvPr id="1632" name="Vrije vorm: vorm 1631">
                  <a:extLst>
                    <a:ext uri="{FF2B5EF4-FFF2-40B4-BE49-F238E27FC236}">
                      <a16:creationId xmlns:a16="http://schemas.microsoft.com/office/drawing/2014/main" id="{75AFEE8D-551D-4D85-A976-58266C55BC2F}"/>
                    </a:ext>
                  </a:extLst>
                </p:cNvPr>
                <p:cNvSpPr/>
                <p:nvPr/>
              </p:nvSpPr>
              <p:spPr>
                <a:xfrm>
                  <a:off x="4348077" y="4006641"/>
                  <a:ext cx="18335" cy="18399"/>
                </a:xfrm>
                <a:custGeom>
                  <a:avLst/>
                  <a:gdLst>
                    <a:gd name="connsiteX0" fmla="*/ 12248 w 18335"/>
                    <a:gd name="connsiteY0" fmla="*/ 17887 h 18399"/>
                    <a:gd name="connsiteX1" fmla="*/ 17810 w 18335"/>
                    <a:gd name="connsiteY1" fmla="*/ 6164 h 18399"/>
                    <a:gd name="connsiteX2" fmla="*/ 6088 w 18335"/>
                    <a:gd name="connsiteY2" fmla="*/ 542 h 18399"/>
                    <a:gd name="connsiteX3" fmla="*/ 526 w 18335"/>
                    <a:gd name="connsiteY3" fmla="*/ 12265 h 18399"/>
                    <a:gd name="connsiteX4" fmla="*/ 12248 w 18335"/>
                    <a:gd name="connsiteY4" fmla="*/ 17887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9">
                      <a:moveTo>
                        <a:pt x="12248" y="17887"/>
                      </a:moveTo>
                      <a:cubicBezTo>
                        <a:pt x="17032" y="16212"/>
                        <a:pt x="19485" y="10949"/>
                        <a:pt x="17810" y="6164"/>
                      </a:cubicBezTo>
                      <a:cubicBezTo>
                        <a:pt x="16135" y="1380"/>
                        <a:pt x="10872" y="-1192"/>
                        <a:pt x="6088" y="542"/>
                      </a:cubicBezTo>
                      <a:cubicBezTo>
                        <a:pt x="1303" y="2217"/>
                        <a:pt x="-1149" y="7480"/>
                        <a:pt x="526" y="12265"/>
                      </a:cubicBezTo>
                      <a:cubicBezTo>
                        <a:pt x="2260" y="16989"/>
                        <a:pt x="7463" y="19561"/>
                        <a:pt x="12248" y="17887"/>
                      </a:cubicBezTo>
                      <a:close/>
                    </a:path>
                  </a:pathLst>
                </a:custGeom>
                <a:grpFill/>
                <a:ln w="5978" cap="flat">
                  <a:noFill/>
                  <a:prstDash val="solid"/>
                  <a:miter/>
                </a:ln>
              </p:spPr>
              <p:txBody>
                <a:bodyPr rtlCol="0" anchor="ctr"/>
                <a:lstStyle/>
                <a:p>
                  <a:endParaRPr lang="en-GB"/>
                </a:p>
              </p:txBody>
            </p:sp>
          </p:grpSp>
          <p:grpSp>
            <p:nvGrpSpPr>
              <p:cNvPr id="1259" name="Graphic 3">
                <a:extLst>
                  <a:ext uri="{FF2B5EF4-FFF2-40B4-BE49-F238E27FC236}">
                    <a16:creationId xmlns:a16="http://schemas.microsoft.com/office/drawing/2014/main" id="{302B346F-7761-4721-8B07-BAF62DA5992B}"/>
                  </a:ext>
                </a:extLst>
              </p:cNvPr>
              <p:cNvGrpSpPr/>
              <p:nvPr/>
            </p:nvGrpSpPr>
            <p:grpSpPr>
              <a:xfrm>
                <a:off x="4175798" y="4054594"/>
                <a:ext cx="336099" cy="112089"/>
                <a:chOff x="4175798" y="4054594"/>
                <a:chExt cx="336099" cy="112089"/>
              </a:xfrm>
              <a:grpFill/>
            </p:grpSpPr>
            <p:sp>
              <p:nvSpPr>
                <p:cNvPr id="1627" name="Vrije vorm: vorm 1626">
                  <a:extLst>
                    <a:ext uri="{FF2B5EF4-FFF2-40B4-BE49-F238E27FC236}">
                      <a16:creationId xmlns:a16="http://schemas.microsoft.com/office/drawing/2014/main" id="{FE817063-6DAE-4FD7-9BF8-CD7399DAE397}"/>
                    </a:ext>
                  </a:extLst>
                </p:cNvPr>
                <p:cNvSpPr/>
                <p:nvPr/>
              </p:nvSpPr>
              <p:spPr>
                <a:xfrm>
                  <a:off x="4184315" y="4061821"/>
                  <a:ext cx="319375" cy="97443"/>
                </a:xfrm>
                <a:custGeom>
                  <a:avLst/>
                  <a:gdLst>
                    <a:gd name="connsiteX0" fmla="*/ 0 w 319375"/>
                    <a:gd name="connsiteY0" fmla="*/ 94519 h 97443"/>
                    <a:gd name="connsiteX1" fmla="*/ 318508 w 319375"/>
                    <a:gd name="connsiteY1" fmla="*/ 0 h 97443"/>
                    <a:gd name="connsiteX2" fmla="*/ 319376 w 319375"/>
                    <a:gd name="connsiteY2" fmla="*/ 2924 h 97443"/>
                    <a:gd name="connsiteX3" fmla="*/ 868 w 319375"/>
                    <a:gd name="connsiteY3" fmla="*/ 97443 h 97443"/>
                  </a:gdLst>
                  <a:ahLst/>
                  <a:cxnLst>
                    <a:cxn ang="0">
                      <a:pos x="connsiteX0" y="connsiteY0"/>
                    </a:cxn>
                    <a:cxn ang="0">
                      <a:pos x="connsiteX1" y="connsiteY1"/>
                    </a:cxn>
                    <a:cxn ang="0">
                      <a:pos x="connsiteX2" y="connsiteY2"/>
                    </a:cxn>
                    <a:cxn ang="0">
                      <a:pos x="connsiteX3" y="connsiteY3"/>
                    </a:cxn>
                  </a:cxnLst>
                  <a:rect l="l" t="t" r="r" b="b"/>
                  <a:pathLst>
                    <a:path w="319375" h="97443">
                      <a:moveTo>
                        <a:pt x="0" y="94519"/>
                      </a:moveTo>
                      <a:lnTo>
                        <a:pt x="318508" y="0"/>
                      </a:lnTo>
                      <a:lnTo>
                        <a:pt x="319376" y="2924"/>
                      </a:lnTo>
                      <a:lnTo>
                        <a:pt x="868" y="97443"/>
                      </a:lnTo>
                      <a:close/>
                    </a:path>
                  </a:pathLst>
                </a:custGeom>
                <a:grpFill/>
                <a:ln w="5978" cap="flat">
                  <a:noFill/>
                  <a:prstDash val="solid"/>
                  <a:miter/>
                </a:ln>
              </p:spPr>
              <p:txBody>
                <a:bodyPr rtlCol="0" anchor="ctr"/>
                <a:lstStyle/>
                <a:p>
                  <a:endParaRPr lang="en-GB"/>
                </a:p>
              </p:txBody>
            </p:sp>
            <p:sp>
              <p:nvSpPr>
                <p:cNvPr id="1628" name="Vrije vorm: vorm 1627">
                  <a:extLst>
                    <a:ext uri="{FF2B5EF4-FFF2-40B4-BE49-F238E27FC236}">
                      <a16:creationId xmlns:a16="http://schemas.microsoft.com/office/drawing/2014/main" id="{8D5084E2-7D2B-4CE0-89CB-F1403A4AF42F}"/>
                    </a:ext>
                  </a:extLst>
                </p:cNvPr>
                <p:cNvSpPr/>
                <p:nvPr/>
              </p:nvSpPr>
              <p:spPr>
                <a:xfrm>
                  <a:off x="4493554" y="4054594"/>
                  <a:ext cx="18344" cy="18453"/>
                </a:xfrm>
                <a:custGeom>
                  <a:avLst/>
                  <a:gdLst>
                    <a:gd name="connsiteX0" fmla="*/ 6540 w 18344"/>
                    <a:gd name="connsiteY0" fmla="*/ 375 h 18453"/>
                    <a:gd name="connsiteX1" fmla="*/ 17964 w 18344"/>
                    <a:gd name="connsiteY1" fmla="*/ 6655 h 18453"/>
                    <a:gd name="connsiteX2" fmla="*/ 11803 w 18344"/>
                    <a:gd name="connsiteY2" fmla="*/ 18078 h 18453"/>
                    <a:gd name="connsiteX3" fmla="*/ 380 w 18344"/>
                    <a:gd name="connsiteY3" fmla="*/ 11798 h 18453"/>
                    <a:gd name="connsiteX4" fmla="*/ 6540 w 18344"/>
                    <a:gd name="connsiteY4" fmla="*/ 37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53">
                      <a:moveTo>
                        <a:pt x="6540" y="375"/>
                      </a:moveTo>
                      <a:cubicBezTo>
                        <a:pt x="11385" y="-1060"/>
                        <a:pt x="16469" y="1751"/>
                        <a:pt x="17964" y="6655"/>
                      </a:cubicBezTo>
                      <a:cubicBezTo>
                        <a:pt x="19399" y="11559"/>
                        <a:pt x="16648" y="16643"/>
                        <a:pt x="11803" y="18078"/>
                      </a:cubicBezTo>
                      <a:cubicBezTo>
                        <a:pt x="6959" y="19513"/>
                        <a:pt x="1876" y="16703"/>
                        <a:pt x="380" y="11798"/>
                      </a:cubicBezTo>
                      <a:cubicBezTo>
                        <a:pt x="-1055" y="6894"/>
                        <a:pt x="1696" y="1810"/>
                        <a:pt x="6540" y="375"/>
                      </a:cubicBezTo>
                      <a:close/>
                    </a:path>
                  </a:pathLst>
                </a:custGeom>
                <a:grpFill/>
                <a:ln w="5978" cap="flat">
                  <a:noFill/>
                  <a:prstDash val="solid"/>
                  <a:miter/>
                </a:ln>
              </p:spPr>
              <p:txBody>
                <a:bodyPr rtlCol="0" anchor="ctr"/>
                <a:lstStyle/>
                <a:p>
                  <a:endParaRPr lang="en-GB"/>
                </a:p>
              </p:txBody>
            </p:sp>
            <p:sp>
              <p:nvSpPr>
                <p:cNvPr id="1629" name="Vrije vorm: vorm 1628">
                  <a:extLst>
                    <a:ext uri="{FF2B5EF4-FFF2-40B4-BE49-F238E27FC236}">
                      <a16:creationId xmlns:a16="http://schemas.microsoft.com/office/drawing/2014/main" id="{2348507F-B43C-48A0-97E8-E316811647BE}"/>
                    </a:ext>
                  </a:extLst>
                </p:cNvPr>
                <p:cNvSpPr/>
                <p:nvPr/>
              </p:nvSpPr>
              <p:spPr>
                <a:xfrm>
                  <a:off x="4175798" y="4148252"/>
                  <a:ext cx="18344" cy="18431"/>
                </a:xfrm>
                <a:custGeom>
                  <a:avLst/>
                  <a:gdLst>
                    <a:gd name="connsiteX0" fmla="*/ 6540 w 18344"/>
                    <a:gd name="connsiteY0" fmla="*/ 375 h 18431"/>
                    <a:gd name="connsiteX1" fmla="*/ 380 w 18344"/>
                    <a:gd name="connsiteY1" fmla="*/ 11798 h 18431"/>
                    <a:gd name="connsiteX2" fmla="*/ 11803 w 18344"/>
                    <a:gd name="connsiteY2" fmla="*/ 18078 h 18431"/>
                    <a:gd name="connsiteX3" fmla="*/ 17964 w 18344"/>
                    <a:gd name="connsiteY3" fmla="*/ 6655 h 18431"/>
                    <a:gd name="connsiteX4" fmla="*/ 6540 w 18344"/>
                    <a:gd name="connsiteY4" fmla="*/ 37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31">
                      <a:moveTo>
                        <a:pt x="6540" y="375"/>
                      </a:moveTo>
                      <a:cubicBezTo>
                        <a:pt x="1696" y="1810"/>
                        <a:pt x="-1055" y="6894"/>
                        <a:pt x="380" y="11798"/>
                      </a:cubicBezTo>
                      <a:cubicBezTo>
                        <a:pt x="1816" y="16702"/>
                        <a:pt x="6899" y="19454"/>
                        <a:pt x="11803" y="18078"/>
                      </a:cubicBezTo>
                      <a:cubicBezTo>
                        <a:pt x="16648" y="16642"/>
                        <a:pt x="19399" y="11559"/>
                        <a:pt x="17964" y="6655"/>
                      </a:cubicBezTo>
                      <a:cubicBezTo>
                        <a:pt x="16469" y="1750"/>
                        <a:pt x="11385" y="-1060"/>
                        <a:pt x="6540" y="375"/>
                      </a:cubicBezTo>
                      <a:close/>
                    </a:path>
                  </a:pathLst>
                </a:custGeom>
                <a:grpFill/>
                <a:ln w="5978" cap="flat">
                  <a:noFill/>
                  <a:prstDash val="solid"/>
                  <a:miter/>
                </a:ln>
              </p:spPr>
              <p:txBody>
                <a:bodyPr rtlCol="0" anchor="ctr"/>
                <a:lstStyle/>
                <a:p>
                  <a:endParaRPr lang="en-GB"/>
                </a:p>
              </p:txBody>
            </p:sp>
          </p:grpSp>
          <p:grpSp>
            <p:nvGrpSpPr>
              <p:cNvPr id="1260" name="Graphic 3">
                <a:extLst>
                  <a:ext uri="{FF2B5EF4-FFF2-40B4-BE49-F238E27FC236}">
                    <a16:creationId xmlns:a16="http://schemas.microsoft.com/office/drawing/2014/main" id="{A7157620-8FA6-40D0-BF63-7CB1855DD328}"/>
                  </a:ext>
                </a:extLst>
              </p:cNvPr>
              <p:cNvGrpSpPr/>
              <p:nvPr/>
            </p:nvGrpSpPr>
            <p:grpSpPr>
              <a:xfrm>
                <a:off x="4212166" y="3905016"/>
                <a:ext cx="140819" cy="53973"/>
                <a:chOff x="4212166" y="3905016"/>
                <a:chExt cx="140819" cy="53973"/>
              </a:xfrm>
              <a:grpFill/>
            </p:grpSpPr>
            <p:sp>
              <p:nvSpPr>
                <p:cNvPr id="1624" name="Vrije vorm: vorm 1623">
                  <a:extLst>
                    <a:ext uri="{FF2B5EF4-FFF2-40B4-BE49-F238E27FC236}">
                      <a16:creationId xmlns:a16="http://schemas.microsoft.com/office/drawing/2014/main" id="{9AF5B119-1466-44FF-9ED1-1E7672058150}"/>
                    </a:ext>
                  </a:extLst>
                </p:cNvPr>
                <p:cNvSpPr/>
                <p:nvPr/>
              </p:nvSpPr>
              <p:spPr>
                <a:xfrm>
                  <a:off x="4220495" y="3912628"/>
                  <a:ext cx="124159" cy="38754"/>
                </a:xfrm>
                <a:custGeom>
                  <a:avLst/>
                  <a:gdLst>
                    <a:gd name="connsiteX0" fmla="*/ 123322 w 124159"/>
                    <a:gd name="connsiteY0" fmla="*/ 0 h 38754"/>
                    <a:gd name="connsiteX1" fmla="*/ 124160 w 124159"/>
                    <a:gd name="connsiteY1" fmla="*/ 2930 h 38754"/>
                    <a:gd name="connsiteX2" fmla="*/ 837 w 124159"/>
                    <a:gd name="connsiteY2" fmla="*/ 38755 h 38754"/>
                    <a:gd name="connsiteX3" fmla="*/ 0 w 124159"/>
                    <a:gd name="connsiteY3" fmla="*/ 35824 h 38754"/>
                  </a:gdLst>
                  <a:ahLst/>
                  <a:cxnLst>
                    <a:cxn ang="0">
                      <a:pos x="connsiteX0" y="connsiteY0"/>
                    </a:cxn>
                    <a:cxn ang="0">
                      <a:pos x="connsiteX1" y="connsiteY1"/>
                    </a:cxn>
                    <a:cxn ang="0">
                      <a:pos x="connsiteX2" y="connsiteY2"/>
                    </a:cxn>
                    <a:cxn ang="0">
                      <a:pos x="connsiteX3" y="connsiteY3"/>
                    </a:cxn>
                  </a:cxnLst>
                  <a:rect l="l" t="t" r="r" b="b"/>
                  <a:pathLst>
                    <a:path w="124159" h="38754">
                      <a:moveTo>
                        <a:pt x="123322" y="0"/>
                      </a:moveTo>
                      <a:lnTo>
                        <a:pt x="124160" y="2930"/>
                      </a:lnTo>
                      <a:lnTo>
                        <a:pt x="837" y="38755"/>
                      </a:lnTo>
                      <a:lnTo>
                        <a:pt x="0" y="35824"/>
                      </a:lnTo>
                      <a:close/>
                    </a:path>
                  </a:pathLst>
                </a:custGeom>
                <a:grpFill/>
                <a:ln w="5978" cap="flat">
                  <a:noFill/>
                  <a:prstDash val="solid"/>
                  <a:miter/>
                </a:ln>
              </p:spPr>
              <p:txBody>
                <a:bodyPr rtlCol="0" anchor="ctr"/>
                <a:lstStyle/>
                <a:p>
                  <a:endParaRPr lang="en-GB"/>
                </a:p>
              </p:txBody>
            </p:sp>
            <p:sp>
              <p:nvSpPr>
                <p:cNvPr id="1625" name="Vrije vorm: vorm 1624">
                  <a:extLst>
                    <a:ext uri="{FF2B5EF4-FFF2-40B4-BE49-F238E27FC236}">
                      <a16:creationId xmlns:a16="http://schemas.microsoft.com/office/drawing/2014/main" id="{40FDCEAE-DB7B-498F-BFF1-24E34E91187B}"/>
                    </a:ext>
                  </a:extLst>
                </p:cNvPr>
                <p:cNvSpPr/>
                <p:nvPr/>
              </p:nvSpPr>
              <p:spPr>
                <a:xfrm>
                  <a:off x="4212166" y="3940546"/>
                  <a:ext cx="18338" cy="18443"/>
                </a:xfrm>
                <a:custGeom>
                  <a:avLst/>
                  <a:gdLst>
                    <a:gd name="connsiteX0" fmla="*/ 11739 w 18338"/>
                    <a:gd name="connsiteY0" fmla="*/ 18073 h 18443"/>
                    <a:gd name="connsiteX1" fmla="*/ 375 w 18338"/>
                    <a:gd name="connsiteY1" fmla="*/ 11794 h 18443"/>
                    <a:gd name="connsiteX2" fmla="*/ 6595 w 18338"/>
                    <a:gd name="connsiteY2" fmla="*/ 370 h 18443"/>
                    <a:gd name="connsiteX3" fmla="*/ 17959 w 18338"/>
                    <a:gd name="connsiteY3" fmla="*/ 6650 h 18443"/>
                    <a:gd name="connsiteX4" fmla="*/ 11739 w 18338"/>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43">
                      <a:moveTo>
                        <a:pt x="11739" y="18073"/>
                      </a:moveTo>
                      <a:cubicBezTo>
                        <a:pt x="6894" y="19509"/>
                        <a:pt x="1811" y="16638"/>
                        <a:pt x="375" y="11794"/>
                      </a:cubicBezTo>
                      <a:cubicBezTo>
                        <a:pt x="-1060" y="6890"/>
                        <a:pt x="1751" y="1806"/>
                        <a:pt x="6595" y="370"/>
                      </a:cubicBezTo>
                      <a:cubicBezTo>
                        <a:pt x="11440" y="-1065"/>
                        <a:pt x="16523" y="1806"/>
                        <a:pt x="17959" y="6650"/>
                      </a:cubicBezTo>
                      <a:cubicBezTo>
                        <a:pt x="19394" y="11554"/>
                        <a:pt x="16643" y="16698"/>
                        <a:pt x="11739" y="18073"/>
                      </a:cubicBezTo>
                      <a:close/>
                    </a:path>
                  </a:pathLst>
                </a:custGeom>
                <a:grpFill/>
                <a:ln w="5978" cap="flat">
                  <a:noFill/>
                  <a:prstDash val="solid"/>
                  <a:miter/>
                </a:ln>
              </p:spPr>
              <p:txBody>
                <a:bodyPr rtlCol="0" anchor="ctr"/>
                <a:lstStyle/>
                <a:p>
                  <a:endParaRPr lang="en-GB"/>
                </a:p>
              </p:txBody>
            </p:sp>
            <p:sp>
              <p:nvSpPr>
                <p:cNvPr id="1626" name="Vrije vorm: vorm 1625">
                  <a:extLst>
                    <a:ext uri="{FF2B5EF4-FFF2-40B4-BE49-F238E27FC236}">
                      <a16:creationId xmlns:a16="http://schemas.microsoft.com/office/drawing/2014/main" id="{CF7086A3-82DB-44C9-BE37-98C4E5C321DF}"/>
                    </a:ext>
                  </a:extLst>
                </p:cNvPr>
                <p:cNvSpPr/>
                <p:nvPr/>
              </p:nvSpPr>
              <p:spPr>
                <a:xfrm>
                  <a:off x="4334651" y="3905016"/>
                  <a:ext cx="18334" cy="18427"/>
                </a:xfrm>
                <a:custGeom>
                  <a:avLst/>
                  <a:gdLst>
                    <a:gd name="connsiteX0" fmla="*/ 11739 w 18334"/>
                    <a:gd name="connsiteY0" fmla="*/ 18078 h 18427"/>
                    <a:gd name="connsiteX1" fmla="*/ 17959 w 18334"/>
                    <a:gd name="connsiteY1" fmla="*/ 6655 h 18427"/>
                    <a:gd name="connsiteX2" fmla="*/ 6595 w 18334"/>
                    <a:gd name="connsiteY2" fmla="*/ 375 h 18427"/>
                    <a:gd name="connsiteX3" fmla="*/ 375 w 18334"/>
                    <a:gd name="connsiteY3" fmla="*/ 11798 h 18427"/>
                    <a:gd name="connsiteX4" fmla="*/ 11739 w 18334"/>
                    <a:gd name="connsiteY4" fmla="*/ 1807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7">
                      <a:moveTo>
                        <a:pt x="11739" y="18078"/>
                      </a:moveTo>
                      <a:cubicBezTo>
                        <a:pt x="16583" y="16643"/>
                        <a:pt x="19394" y="11559"/>
                        <a:pt x="17959" y="6655"/>
                      </a:cubicBezTo>
                      <a:cubicBezTo>
                        <a:pt x="16523" y="1751"/>
                        <a:pt x="11440" y="-1060"/>
                        <a:pt x="6595" y="375"/>
                      </a:cubicBezTo>
                      <a:cubicBezTo>
                        <a:pt x="1751" y="1811"/>
                        <a:pt x="-1060" y="6894"/>
                        <a:pt x="375" y="11798"/>
                      </a:cubicBezTo>
                      <a:cubicBezTo>
                        <a:pt x="1811" y="16643"/>
                        <a:pt x="6894" y="19453"/>
                        <a:pt x="11739" y="18078"/>
                      </a:cubicBezTo>
                      <a:close/>
                    </a:path>
                  </a:pathLst>
                </a:custGeom>
                <a:grpFill/>
                <a:ln w="5978" cap="flat">
                  <a:noFill/>
                  <a:prstDash val="solid"/>
                  <a:miter/>
                </a:ln>
              </p:spPr>
              <p:txBody>
                <a:bodyPr rtlCol="0" anchor="ctr"/>
                <a:lstStyle/>
                <a:p>
                  <a:endParaRPr lang="en-GB"/>
                </a:p>
              </p:txBody>
            </p:sp>
          </p:grpSp>
          <p:grpSp>
            <p:nvGrpSpPr>
              <p:cNvPr id="1261" name="Graphic 3">
                <a:extLst>
                  <a:ext uri="{FF2B5EF4-FFF2-40B4-BE49-F238E27FC236}">
                    <a16:creationId xmlns:a16="http://schemas.microsoft.com/office/drawing/2014/main" id="{0F59E4FA-F493-4CFF-BABA-F042D1D10EA4}"/>
                  </a:ext>
                </a:extLst>
              </p:cNvPr>
              <p:cNvGrpSpPr/>
              <p:nvPr/>
            </p:nvGrpSpPr>
            <p:grpSpPr>
              <a:xfrm>
                <a:off x="4095201" y="3787277"/>
                <a:ext cx="321897" cy="88384"/>
                <a:chOff x="4095201" y="3787277"/>
                <a:chExt cx="321897" cy="88384"/>
              </a:xfrm>
              <a:grpFill/>
            </p:grpSpPr>
            <p:sp>
              <p:nvSpPr>
                <p:cNvPr id="1621" name="Vrije vorm: vorm 1620">
                  <a:extLst>
                    <a:ext uri="{FF2B5EF4-FFF2-40B4-BE49-F238E27FC236}">
                      <a16:creationId xmlns:a16="http://schemas.microsoft.com/office/drawing/2014/main" id="{0C5CC9B4-75A5-4BA6-9AD3-E4364D1AF656}"/>
                    </a:ext>
                  </a:extLst>
                </p:cNvPr>
                <p:cNvSpPr/>
                <p:nvPr/>
              </p:nvSpPr>
              <p:spPr>
                <a:xfrm>
                  <a:off x="4103572" y="3794927"/>
                  <a:ext cx="305136" cy="73144"/>
                </a:xfrm>
                <a:custGeom>
                  <a:avLst/>
                  <a:gdLst>
                    <a:gd name="connsiteX0" fmla="*/ 304479 w 305136"/>
                    <a:gd name="connsiteY0" fmla="*/ 0 h 73144"/>
                    <a:gd name="connsiteX1" fmla="*/ 305137 w 305136"/>
                    <a:gd name="connsiteY1" fmla="*/ 2990 h 73144"/>
                    <a:gd name="connsiteX2" fmla="*/ 718 w 305136"/>
                    <a:gd name="connsiteY2" fmla="*/ 73144 h 73144"/>
                    <a:gd name="connsiteX3" fmla="*/ 0 w 305136"/>
                    <a:gd name="connsiteY3" fmla="*/ 70154 h 73144"/>
                  </a:gdLst>
                  <a:ahLst/>
                  <a:cxnLst>
                    <a:cxn ang="0">
                      <a:pos x="connsiteX0" y="connsiteY0"/>
                    </a:cxn>
                    <a:cxn ang="0">
                      <a:pos x="connsiteX1" y="connsiteY1"/>
                    </a:cxn>
                    <a:cxn ang="0">
                      <a:pos x="connsiteX2" y="connsiteY2"/>
                    </a:cxn>
                    <a:cxn ang="0">
                      <a:pos x="connsiteX3" y="connsiteY3"/>
                    </a:cxn>
                  </a:cxnLst>
                  <a:rect l="l" t="t" r="r" b="b"/>
                  <a:pathLst>
                    <a:path w="305136" h="73144">
                      <a:moveTo>
                        <a:pt x="304479" y="0"/>
                      </a:moveTo>
                      <a:lnTo>
                        <a:pt x="305137" y="2990"/>
                      </a:lnTo>
                      <a:lnTo>
                        <a:pt x="718" y="73144"/>
                      </a:lnTo>
                      <a:lnTo>
                        <a:pt x="0" y="70154"/>
                      </a:lnTo>
                      <a:close/>
                    </a:path>
                  </a:pathLst>
                </a:custGeom>
                <a:grpFill/>
                <a:ln w="5978" cap="flat">
                  <a:noFill/>
                  <a:prstDash val="solid"/>
                  <a:miter/>
                </a:ln>
              </p:spPr>
              <p:txBody>
                <a:bodyPr rtlCol="0" anchor="ctr"/>
                <a:lstStyle/>
                <a:p>
                  <a:endParaRPr lang="en-GB"/>
                </a:p>
              </p:txBody>
            </p:sp>
            <p:sp>
              <p:nvSpPr>
                <p:cNvPr id="1622" name="Vrije vorm: vorm 1621">
                  <a:extLst>
                    <a:ext uri="{FF2B5EF4-FFF2-40B4-BE49-F238E27FC236}">
                      <a16:creationId xmlns:a16="http://schemas.microsoft.com/office/drawing/2014/main" id="{1301BC63-99A9-45EB-9D96-B66E25CC0D92}"/>
                    </a:ext>
                  </a:extLst>
                </p:cNvPr>
                <p:cNvSpPr/>
                <p:nvPr/>
              </p:nvSpPr>
              <p:spPr>
                <a:xfrm>
                  <a:off x="4095201" y="3857192"/>
                  <a:ext cx="18319" cy="18470"/>
                </a:xfrm>
                <a:custGeom>
                  <a:avLst/>
                  <a:gdLst>
                    <a:gd name="connsiteX0" fmla="*/ 11242 w 18319"/>
                    <a:gd name="connsiteY0" fmla="*/ 18236 h 18470"/>
                    <a:gd name="connsiteX1" fmla="*/ 238 w 18319"/>
                    <a:gd name="connsiteY1" fmla="*/ 11298 h 18470"/>
                    <a:gd name="connsiteX2" fmla="*/ 7056 w 18319"/>
                    <a:gd name="connsiteY2" fmla="*/ 234 h 18470"/>
                    <a:gd name="connsiteX3" fmla="*/ 18060 w 18319"/>
                    <a:gd name="connsiteY3" fmla="*/ 7172 h 18470"/>
                    <a:gd name="connsiteX4" fmla="*/ 11242 w 18319"/>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1242" y="18236"/>
                      </a:moveTo>
                      <a:cubicBezTo>
                        <a:pt x="6338" y="19373"/>
                        <a:pt x="1374" y="16262"/>
                        <a:pt x="238" y="11298"/>
                      </a:cubicBezTo>
                      <a:cubicBezTo>
                        <a:pt x="-899" y="6334"/>
                        <a:pt x="2151" y="1371"/>
                        <a:pt x="7056" y="234"/>
                      </a:cubicBezTo>
                      <a:cubicBezTo>
                        <a:pt x="11960" y="-902"/>
                        <a:pt x="16924" y="2208"/>
                        <a:pt x="18060" y="7172"/>
                      </a:cubicBezTo>
                      <a:cubicBezTo>
                        <a:pt x="19256" y="12196"/>
                        <a:pt x="16206" y="17159"/>
                        <a:pt x="11242" y="18236"/>
                      </a:cubicBezTo>
                      <a:close/>
                    </a:path>
                  </a:pathLst>
                </a:custGeom>
                <a:grpFill/>
                <a:ln w="5978" cap="flat">
                  <a:noFill/>
                  <a:prstDash val="solid"/>
                  <a:miter/>
                </a:ln>
              </p:spPr>
              <p:txBody>
                <a:bodyPr rtlCol="0" anchor="ctr"/>
                <a:lstStyle/>
                <a:p>
                  <a:endParaRPr lang="en-GB"/>
                </a:p>
              </p:txBody>
            </p:sp>
            <p:sp>
              <p:nvSpPr>
                <p:cNvPr id="1623" name="Vrije vorm: vorm 1622">
                  <a:extLst>
                    <a:ext uri="{FF2B5EF4-FFF2-40B4-BE49-F238E27FC236}">
                      <a16:creationId xmlns:a16="http://schemas.microsoft.com/office/drawing/2014/main" id="{3D129AAE-273C-47A8-A304-E5D1F50CB2EF}"/>
                    </a:ext>
                  </a:extLst>
                </p:cNvPr>
                <p:cNvSpPr/>
                <p:nvPr/>
              </p:nvSpPr>
              <p:spPr>
                <a:xfrm>
                  <a:off x="4398764" y="3787277"/>
                  <a:ext cx="18335" cy="18470"/>
                </a:xfrm>
                <a:custGeom>
                  <a:avLst/>
                  <a:gdLst>
                    <a:gd name="connsiteX0" fmla="*/ 11261 w 18335"/>
                    <a:gd name="connsiteY0" fmla="*/ 18236 h 18470"/>
                    <a:gd name="connsiteX1" fmla="*/ 18079 w 18335"/>
                    <a:gd name="connsiteY1" fmla="*/ 7172 h 18470"/>
                    <a:gd name="connsiteX2" fmla="*/ 7074 w 18335"/>
                    <a:gd name="connsiteY2" fmla="*/ 234 h 18470"/>
                    <a:gd name="connsiteX3" fmla="*/ 256 w 18335"/>
                    <a:gd name="connsiteY3" fmla="*/ 11298 h 18470"/>
                    <a:gd name="connsiteX4" fmla="*/ 11261 w 18335"/>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70">
                      <a:moveTo>
                        <a:pt x="11261" y="18236"/>
                      </a:moveTo>
                      <a:cubicBezTo>
                        <a:pt x="16165" y="17100"/>
                        <a:pt x="19275" y="12136"/>
                        <a:pt x="18079" y="7172"/>
                      </a:cubicBezTo>
                      <a:cubicBezTo>
                        <a:pt x="16942" y="2208"/>
                        <a:pt x="11978" y="-902"/>
                        <a:pt x="7074" y="234"/>
                      </a:cubicBezTo>
                      <a:cubicBezTo>
                        <a:pt x="2170" y="1370"/>
                        <a:pt x="-940" y="6334"/>
                        <a:pt x="256" y="11298"/>
                      </a:cubicBezTo>
                      <a:cubicBezTo>
                        <a:pt x="1393" y="16262"/>
                        <a:pt x="6297" y="19373"/>
                        <a:pt x="11261" y="18236"/>
                      </a:cubicBezTo>
                      <a:close/>
                    </a:path>
                  </a:pathLst>
                </a:custGeom>
                <a:grpFill/>
                <a:ln w="5978" cap="flat">
                  <a:noFill/>
                  <a:prstDash val="solid"/>
                  <a:miter/>
                </a:ln>
              </p:spPr>
              <p:txBody>
                <a:bodyPr rtlCol="0" anchor="ctr"/>
                <a:lstStyle/>
                <a:p>
                  <a:endParaRPr lang="en-GB"/>
                </a:p>
              </p:txBody>
            </p:sp>
          </p:grpSp>
          <p:grpSp>
            <p:nvGrpSpPr>
              <p:cNvPr id="1262" name="Graphic 3">
                <a:extLst>
                  <a:ext uri="{FF2B5EF4-FFF2-40B4-BE49-F238E27FC236}">
                    <a16:creationId xmlns:a16="http://schemas.microsoft.com/office/drawing/2014/main" id="{CF461B5D-C7C1-4F1C-8CDD-AD3C5C0223FC}"/>
                  </a:ext>
                </a:extLst>
              </p:cNvPr>
              <p:cNvGrpSpPr/>
              <p:nvPr/>
            </p:nvGrpSpPr>
            <p:grpSpPr>
              <a:xfrm>
                <a:off x="4539798" y="4820561"/>
                <a:ext cx="122044" cy="122844"/>
                <a:chOff x="4539798" y="4820561"/>
                <a:chExt cx="122044" cy="122844"/>
              </a:xfrm>
              <a:grpFill/>
            </p:grpSpPr>
            <p:sp>
              <p:nvSpPr>
                <p:cNvPr id="1618" name="Vrije vorm: vorm 1617">
                  <a:extLst>
                    <a:ext uri="{FF2B5EF4-FFF2-40B4-BE49-F238E27FC236}">
                      <a16:creationId xmlns:a16="http://schemas.microsoft.com/office/drawing/2014/main" id="{651C5AB8-0539-4367-BFF3-E0E98F71E45F}"/>
                    </a:ext>
                  </a:extLst>
                </p:cNvPr>
                <p:cNvSpPr/>
                <p:nvPr/>
              </p:nvSpPr>
              <p:spPr>
                <a:xfrm>
                  <a:off x="4547581" y="4828336"/>
                  <a:ext cx="106516" cy="107234"/>
                </a:xfrm>
                <a:custGeom>
                  <a:avLst/>
                  <a:gdLst>
                    <a:gd name="connsiteX0" fmla="*/ 106517 w 106516"/>
                    <a:gd name="connsiteY0" fmla="*/ 2153 h 107234"/>
                    <a:gd name="connsiteX1" fmla="*/ 2153 w 106516"/>
                    <a:gd name="connsiteY1" fmla="*/ 107234 h 107234"/>
                    <a:gd name="connsiteX2" fmla="*/ 0 w 106516"/>
                    <a:gd name="connsiteY2" fmla="*/ 105081 h 107234"/>
                    <a:gd name="connsiteX3" fmla="*/ 104364 w 106516"/>
                    <a:gd name="connsiteY3" fmla="*/ 0 h 107234"/>
                  </a:gdLst>
                  <a:ahLst/>
                  <a:cxnLst>
                    <a:cxn ang="0">
                      <a:pos x="connsiteX0" y="connsiteY0"/>
                    </a:cxn>
                    <a:cxn ang="0">
                      <a:pos x="connsiteX1" y="connsiteY1"/>
                    </a:cxn>
                    <a:cxn ang="0">
                      <a:pos x="connsiteX2" y="connsiteY2"/>
                    </a:cxn>
                    <a:cxn ang="0">
                      <a:pos x="connsiteX3" y="connsiteY3"/>
                    </a:cxn>
                  </a:cxnLst>
                  <a:rect l="l" t="t" r="r" b="b"/>
                  <a:pathLst>
                    <a:path w="106516" h="107234">
                      <a:moveTo>
                        <a:pt x="106517" y="2153"/>
                      </a:moveTo>
                      <a:lnTo>
                        <a:pt x="2153" y="107234"/>
                      </a:lnTo>
                      <a:lnTo>
                        <a:pt x="0" y="105081"/>
                      </a:lnTo>
                      <a:lnTo>
                        <a:pt x="104364" y="0"/>
                      </a:lnTo>
                      <a:close/>
                    </a:path>
                  </a:pathLst>
                </a:custGeom>
                <a:grpFill/>
                <a:ln w="5978" cap="flat">
                  <a:noFill/>
                  <a:prstDash val="solid"/>
                  <a:miter/>
                </a:ln>
              </p:spPr>
              <p:txBody>
                <a:bodyPr rtlCol="0" anchor="ctr"/>
                <a:lstStyle/>
                <a:p>
                  <a:endParaRPr lang="en-GB"/>
                </a:p>
              </p:txBody>
            </p:sp>
            <p:sp>
              <p:nvSpPr>
                <p:cNvPr id="1619" name="Vrije vorm: vorm 1618">
                  <a:extLst>
                    <a:ext uri="{FF2B5EF4-FFF2-40B4-BE49-F238E27FC236}">
                      <a16:creationId xmlns:a16="http://schemas.microsoft.com/office/drawing/2014/main" id="{BBA7C3BE-6DB3-4C49-8F40-C66DC761B5CA}"/>
                    </a:ext>
                  </a:extLst>
                </p:cNvPr>
                <p:cNvSpPr/>
                <p:nvPr/>
              </p:nvSpPr>
              <p:spPr>
                <a:xfrm>
                  <a:off x="4539798" y="4924985"/>
                  <a:ext cx="18361" cy="18420"/>
                </a:xfrm>
                <a:custGeom>
                  <a:avLst/>
                  <a:gdLst>
                    <a:gd name="connsiteX0" fmla="*/ 15677 w 18361"/>
                    <a:gd name="connsiteY0" fmla="*/ 15729 h 18420"/>
                    <a:gd name="connsiteX1" fmla="*/ 2699 w 18361"/>
                    <a:gd name="connsiteY1" fmla="*/ 15729 h 18420"/>
                    <a:gd name="connsiteX2" fmla="*/ 2639 w 18361"/>
                    <a:gd name="connsiteY2" fmla="*/ 2691 h 18420"/>
                    <a:gd name="connsiteX3" fmla="*/ 15617 w 18361"/>
                    <a:gd name="connsiteY3" fmla="*/ 2691 h 18420"/>
                    <a:gd name="connsiteX4" fmla="*/ 15677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677" y="15729"/>
                      </a:moveTo>
                      <a:cubicBezTo>
                        <a:pt x="12089" y="19318"/>
                        <a:pt x="6287" y="19318"/>
                        <a:pt x="2699" y="15729"/>
                      </a:cubicBezTo>
                      <a:cubicBezTo>
                        <a:pt x="-890" y="12141"/>
                        <a:pt x="-890" y="6280"/>
                        <a:pt x="2639" y="2691"/>
                      </a:cubicBezTo>
                      <a:cubicBezTo>
                        <a:pt x="6227" y="-897"/>
                        <a:pt x="12029" y="-897"/>
                        <a:pt x="15617" y="2691"/>
                      </a:cubicBezTo>
                      <a:cubicBezTo>
                        <a:pt x="19266" y="6280"/>
                        <a:pt x="19266" y="12141"/>
                        <a:pt x="15677" y="15729"/>
                      </a:cubicBezTo>
                      <a:close/>
                    </a:path>
                  </a:pathLst>
                </a:custGeom>
                <a:grpFill/>
                <a:ln w="5978" cap="flat">
                  <a:noFill/>
                  <a:prstDash val="solid"/>
                  <a:miter/>
                </a:ln>
              </p:spPr>
              <p:txBody>
                <a:bodyPr rtlCol="0" anchor="ctr"/>
                <a:lstStyle/>
                <a:p>
                  <a:endParaRPr lang="en-GB"/>
                </a:p>
              </p:txBody>
            </p:sp>
            <p:sp>
              <p:nvSpPr>
                <p:cNvPr id="1620" name="Vrije vorm: vorm 1619">
                  <a:extLst>
                    <a:ext uri="{FF2B5EF4-FFF2-40B4-BE49-F238E27FC236}">
                      <a16:creationId xmlns:a16="http://schemas.microsoft.com/office/drawing/2014/main" id="{5FED2E6D-9016-4E21-9874-DE12DE286F8D}"/>
                    </a:ext>
                  </a:extLst>
                </p:cNvPr>
                <p:cNvSpPr/>
                <p:nvPr/>
              </p:nvSpPr>
              <p:spPr>
                <a:xfrm>
                  <a:off x="4643482" y="4820561"/>
                  <a:ext cx="18361" cy="18420"/>
                </a:xfrm>
                <a:custGeom>
                  <a:avLst/>
                  <a:gdLst>
                    <a:gd name="connsiteX0" fmla="*/ 15700 w 18361"/>
                    <a:gd name="connsiteY0" fmla="*/ 15729 h 18420"/>
                    <a:gd name="connsiteX1" fmla="*/ 15640 w 18361"/>
                    <a:gd name="connsiteY1" fmla="*/ 2691 h 18420"/>
                    <a:gd name="connsiteX2" fmla="*/ 2662 w 18361"/>
                    <a:gd name="connsiteY2" fmla="*/ 2691 h 18420"/>
                    <a:gd name="connsiteX3" fmla="*/ 2721 w 18361"/>
                    <a:gd name="connsiteY3" fmla="*/ 15729 h 18420"/>
                    <a:gd name="connsiteX4" fmla="*/ 15700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700" y="15729"/>
                      </a:moveTo>
                      <a:cubicBezTo>
                        <a:pt x="19288" y="12141"/>
                        <a:pt x="19228" y="6280"/>
                        <a:pt x="15640" y="2691"/>
                      </a:cubicBezTo>
                      <a:cubicBezTo>
                        <a:pt x="12051" y="-897"/>
                        <a:pt x="6250" y="-897"/>
                        <a:pt x="2662" y="2691"/>
                      </a:cubicBezTo>
                      <a:cubicBezTo>
                        <a:pt x="-927" y="6280"/>
                        <a:pt x="-867" y="12141"/>
                        <a:pt x="2721" y="15729"/>
                      </a:cubicBezTo>
                      <a:cubicBezTo>
                        <a:pt x="6310" y="19318"/>
                        <a:pt x="12111" y="19318"/>
                        <a:pt x="15700" y="15729"/>
                      </a:cubicBezTo>
                      <a:close/>
                    </a:path>
                  </a:pathLst>
                </a:custGeom>
                <a:grpFill/>
                <a:ln w="5978" cap="flat">
                  <a:noFill/>
                  <a:prstDash val="solid"/>
                  <a:miter/>
                </a:ln>
              </p:spPr>
              <p:txBody>
                <a:bodyPr rtlCol="0" anchor="ctr"/>
                <a:lstStyle/>
                <a:p>
                  <a:endParaRPr lang="en-GB"/>
                </a:p>
              </p:txBody>
            </p:sp>
          </p:grpSp>
          <p:grpSp>
            <p:nvGrpSpPr>
              <p:cNvPr id="1263" name="Graphic 3">
                <a:extLst>
                  <a:ext uri="{FF2B5EF4-FFF2-40B4-BE49-F238E27FC236}">
                    <a16:creationId xmlns:a16="http://schemas.microsoft.com/office/drawing/2014/main" id="{D5D8C8D3-B284-4864-9389-BFC9FD7491CC}"/>
                  </a:ext>
                </a:extLst>
              </p:cNvPr>
              <p:cNvGrpSpPr/>
              <p:nvPr/>
            </p:nvGrpSpPr>
            <p:grpSpPr>
              <a:xfrm>
                <a:off x="4245856" y="3976026"/>
                <a:ext cx="105375" cy="47301"/>
                <a:chOff x="4245856" y="3976026"/>
                <a:chExt cx="105375" cy="47301"/>
              </a:xfrm>
              <a:grpFill/>
            </p:grpSpPr>
            <p:sp>
              <p:nvSpPr>
                <p:cNvPr id="1615" name="Vrije vorm: vorm 1614">
                  <a:extLst>
                    <a:ext uri="{FF2B5EF4-FFF2-40B4-BE49-F238E27FC236}">
                      <a16:creationId xmlns:a16="http://schemas.microsoft.com/office/drawing/2014/main" id="{1CCE38BC-667F-45AA-A0D3-69024FF557A2}"/>
                    </a:ext>
                  </a:extLst>
                </p:cNvPr>
                <p:cNvSpPr/>
                <p:nvPr/>
              </p:nvSpPr>
              <p:spPr>
                <a:xfrm>
                  <a:off x="4254190" y="3983836"/>
                  <a:ext cx="88821" cy="32094"/>
                </a:xfrm>
                <a:custGeom>
                  <a:avLst/>
                  <a:gdLst>
                    <a:gd name="connsiteX0" fmla="*/ 0 w 88821"/>
                    <a:gd name="connsiteY0" fmla="*/ 29200 h 32094"/>
                    <a:gd name="connsiteX1" fmla="*/ 87860 w 88821"/>
                    <a:gd name="connsiteY1" fmla="*/ 0 h 32094"/>
                    <a:gd name="connsiteX2" fmla="*/ 88822 w 88821"/>
                    <a:gd name="connsiteY2" fmla="*/ 2895 h 32094"/>
                    <a:gd name="connsiteX3" fmla="*/ 962 w 88821"/>
                    <a:gd name="connsiteY3" fmla="*/ 32095 h 32094"/>
                  </a:gdLst>
                  <a:ahLst/>
                  <a:cxnLst>
                    <a:cxn ang="0">
                      <a:pos x="connsiteX0" y="connsiteY0"/>
                    </a:cxn>
                    <a:cxn ang="0">
                      <a:pos x="connsiteX1" y="connsiteY1"/>
                    </a:cxn>
                    <a:cxn ang="0">
                      <a:pos x="connsiteX2" y="connsiteY2"/>
                    </a:cxn>
                    <a:cxn ang="0">
                      <a:pos x="connsiteX3" y="connsiteY3"/>
                    </a:cxn>
                  </a:cxnLst>
                  <a:rect l="l" t="t" r="r" b="b"/>
                  <a:pathLst>
                    <a:path w="88821" h="32094">
                      <a:moveTo>
                        <a:pt x="0" y="29200"/>
                      </a:moveTo>
                      <a:lnTo>
                        <a:pt x="87860" y="0"/>
                      </a:lnTo>
                      <a:lnTo>
                        <a:pt x="88822" y="2895"/>
                      </a:lnTo>
                      <a:lnTo>
                        <a:pt x="962" y="32095"/>
                      </a:lnTo>
                      <a:close/>
                    </a:path>
                  </a:pathLst>
                </a:custGeom>
                <a:grpFill/>
                <a:ln w="5978" cap="flat">
                  <a:noFill/>
                  <a:prstDash val="solid"/>
                  <a:miter/>
                </a:ln>
              </p:spPr>
              <p:txBody>
                <a:bodyPr rtlCol="0" anchor="ctr"/>
                <a:lstStyle/>
                <a:p>
                  <a:endParaRPr lang="en-GB"/>
                </a:p>
              </p:txBody>
            </p:sp>
            <p:sp>
              <p:nvSpPr>
                <p:cNvPr id="1616" name="Vrije vorm: vorm 1615">
                  <a:extLst>
                    <a:ext uri="{FF2B5EF4-FFF2-40B4-BE49-F238E27FC236}">
                      <a16:creationId xmlns:a16="http://schemas.microsoft.com/office/drawing/2014/main" id="{D9A385B5-7847-48B8-A16B-C0F7524DAAA2}"/>
                    </a:ext>
                  </a:extLst>
                </p:cNvPr>
                <p:cNvSpPr/>
                <p:nvPr/>
              </p:nvSpPr>
              <p:spPr>
                <a:xfrm>
                  <a:off x="4245856" y="4004854"/>
                  <a:ext cx="18333" cy="18474"/>
                </a:xfrm>
                <a:custGeom>
                  <a:avLst/>
                  <a:gdLst>
                    <a:gd name="connsiteX0" fmla="*/ 12079 w 18333"/>
                    <a:gd name="connsiteY0" fmla="*/ 17999 h 18474"/>
                    <a:gd name="connsiteX1" fmla="*/ 476 w 18333"/>
                    <a:gd name="connsiteY1" fmla="*/ 12138 h 18474"/>
                    <a:gd name="connsiteX2" fmla="*/ 6277 w 18333"/>
                    <a:gd name="connsiteY2" fmla="*/ 476 h 18474"/>
                    <a:gd name="connsiteX3" fmla="*/ 17880 w 18333"/>
                    <a:gd name="connsiteY3" fmla="*/ 6337 h 18474"/>
                    <a:gd name="connsiteX4" fmla="*/ 12079 w 18333"/>
                    <a:gd name="connsiteY4" fmla="*/ 17999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74">
                      <a:moveTo>
                        <a:pt x="12079" y="17999"/>
                      </a:moveTo>
                      <a:cubicBezTo>
                        <a:pt x="7294" y="19614"/>
                        <a:pt x="2091" y="16982"/>
                        <a:pt x="476" y="12138"/>
                      </a:cubicBezTo>
                      <a:cubicBezTo>
                        <a:pt x="-1139" y="7294"/>
                        <a:pt x="1493" y="2091"/>
                        <a:pt x="6277" y="476"/>
                      </a:cubicBezTo>
                      <a:cubicBezTo>
                        <a:pt x="11062" y="-1139"/>
                        <a:pt x="16265" y="1492"/>
                        <a:pt x="17880" y="6337"/>
                      </a:cubicBezTo>
                      <a:cubicBezTo>
                        <a:pt x="19435" y="11241"/>
                        <a:pt x="16863" y="16444"/>
                        <a:pt x="12079" y="17999"/>
                      </a:cubicBezTo>
                      <a:close/>
                    </a:path>
                  </a:pathLst>
                </a:custGeom>
                <a:grpFill/>
                <a:ln w="5978" cap="flat">
                  <a:noFill/>
                  <a:prstDash val="solid"/>
                  <a:miter/>
                </a:ln>
              </p:spPr>
              <p:txBody>
                <a:bodyPr rtlCol="0" anchor="ctr"/>
                <a:lstStyle/>
                <a:p>
                  <a:endParaRPr lang="en-GB"/>
                </a:p>
              </p:txBody>
            </p:sp>
            <p:sp>
              <p:nvSpPr>
                <p:cNvPr id="1617" name="Vrije vorm: vorm 1616">
                  <a:extLst>
                    <a:ext uri="{FF2B5EF4-FFF2-40B4-BE49-F238E27FC236}">
                      <a16:creationId xmlns:a16="http://schemas.microsoft.com/office/drawing/2014/main" id="{A15AAD3B-4A01-4DA5-8201-D15C794AD82B}"/>
                    </a:ext>
                  </a:extLst>
                </p:cNvPr>
                <p:cNvSpPr/>
                <p:nvPr/>
              </p:nvSpPr>
              <p:spPr>
                <a:xfrm>
                  <a:off x="4332875" y="3976026"/>
                  <a:ext cx="18356" cy="18446"/>
                </a:xfrm>
                <a:custGeom>
                  <a:avLst/>
                  <a:gdLst>
                    <a:gd name="connsiteX0" fmla="*/ 12079 w 18356"/>
                    <a:gd name="connsiteY0" fmla="*/ 17999 h 18446"/>
                    <a:gd name="connsiteX1" fmla="*/ 17880 w 18356"/>
                    <a:gd name="connsiteY1" fmla="*/ 6337 h 18446"/>
                    <a:gd name="connsiteX2" fmla="*/ 6277 w 18356"/>
                    <a:gd name="connsiteY2" fmla="*/ 476 h 18446"/>
                    <a:gd name="connsiteX3" fmla="*/ 476 w 18356"/>
                    <a:gd name="connsiteY3" fmla="*/ 12138 h 18446"/>
                    <a:gd name="connsiteX4" fmla="*/ 12079 w 18356"/>
                    <a:gd name="connsiteY4" fmla="*/ 17999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46">
                      <a:moveTo>
                        <a:pt x="12079" y="17999"/>
                      </a:moveTo>
                      <a:cubicBezTo>
                        <a:pt x="16863" y="16385"/>
                        <a:pt x="19495" y="11181"/>
                        <a:pt x="17880" y="6337"/>
                      </a:cubicBezTo>
                      <a:cubicBezTo>
                        <a:pt x="16265" y="1492"/>
                        <a:pt x="11062" y="-1139"/>
                        <a:pt x="6277" y="476"/>
                      </a:cubicBezTo>
                      <a:cubicBezTo>
                        <a:pt x="1493" y="2091"/>
                        <a:pt x="-1139" y="7294"/>
                        <a:pt x="476" y="12138"/>
                      </a:cubicBezTo>
                      <a:cubicBezTo>
                        <a:pt x="2031" y="16923"/>
                        <a:pt x="7234" y="19554"/>
                        <a:pt x="12079" y="17999"/>
                      </a:cubicBezTo>
                      <a:close/>
                    </a:path>
                  </a:pathLst>
                </a:custGeom>
                <a:grpFill/>
                <a:ln w="5978" cap="flat">
                  <a:noFill/>
                  <a:prstDash val="solid"/>
                  <a:miter/>
                </a:ln>
              </p:spPr>
              <p:txBody>
                <a:bodyPr rtlCol="0" anchor="ctr"/>
                <a:lstStyle/>
                <a:p>
                  <a:endParaRPr lang="en-GB"/>
                </a:p>
              </p:txBody>
            </p:sp>
          </p:grpSp>
          <p:grpSp>
            <p:nvGrpSpPr>
              <p:cNvPr id="1264" name="Graphic 3">
                <a:extLst>
                  <a:ext uri="{FF2B5EF4-FFF2-40B4-BE49-F238E27FC236}">
                    <a16:creationId xmlns:a16="http://schemas.microsoft.com/office/drawing/2014/main" id="{068FCB9E-A8A1-4181-8C01-D4445C94B22E}"/>
                  </a:ext>
                </a:extLst>
              </p:cNvPr>
              <p:cNvGrpSpPr/>
              <p:nvPr/>
            </p:nvGrpSpPr>
            <p:grpSpPr>
              <a:xfrm>
                <a:off x="4190284" y="3725004"/>
                <a:ext cx="27827" cy="20067"/>
                <a:chOff x="4190284" y="3725004"/>
                <a:chExt cx="27827" cy="20067"/>
              </a:xfrm>
              <a:grpFill/>
            </p:grpSpPr>
            <p:sp>
              <p:nvSpPr>
                <p:cNvPr id="1613" name="Vrije vorm: vorm 1612">
                  <a:extLst>
                    <a:ext uri="{FF2B5EF4-FFF2-40B4-BE49-F238E27FC236}">
                      <a16:creationId xmlns:a16="http://schemas.microsoft.com/office/drawing/2014/main" id="{02CF6068-D33D-47A0-BD8C-A42821A0277F}"/>
                    </a:ext>
                  </a:extLst>
                </p:cNvPr>
                <p:cNvSpPr/>
                <p:nvPr/>
              </p:nvSpPr>
              <p:spPr>
                <a:xfrm>
                  <a:off x="4199776" y="3725004"/>
                  <a:ext cx="18335" cy="18437"/>
                </a:xfrm>
                <a:custGeom>
                  <a:avLst/>
                  <a:gdLst>
                    <a:gd name="connsiteX0" fmla="*/ 10731 w 18335"/>
                    <a:gd name="connsiteY0" fmla="*/ 18310 h 18437"/>
                    <a:gd name="connsiteX1" fmla="*/ 145 w 18335"/>
                    <a:gd name="connsiteY1" fmla="*/ 10774 h 18437"/>
                    <a:gd name="connsiteX2" fmla="*/ 7621 w 18335"/>
                    <a:gd name="connsiteY2" fmla="*/ 128 h 18437"/>
                    <a:gd name="connsiteX3" fmla="*/ 18207 w 18335"/>
                    <a:gd name="connsiteY3" fmla="*/ 7664 h 18437"/>
                    <a:gd name="connsiteX4" fmla="*/ 10731 w 18335"/>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7">
                      <a:moveTo>
                        <a:pt x="10731" y="18310"/>
                      </a:moveTo>
                      <a:cubicBezTo>
                        <a:pt x="5767" y="19147"/>
                        <a:pt x="983" y="15798"/>
                        <a:pt x="145" y="10774"/>
                      </a:cubicBezTo>
                      <a:cubicBezTo>
                        <a:pt x="-752" y="5750"/>
                        <a:pt x="2598" y="1025"/>
                        <a:pt x="7621" y="128"/>
                      </a:cubicBezTo>
                      <a:cubicBezTo>
                        <a:pt x="12585" y="-709"/>
                        <a:pt x="17370" y="2640"/>
                        <a:pt x="18207" y="7664"/>
                      </a:cubicBezTo>
                      <a:cubicBezTo>
                        <a:pt x="19045" y="12688"/>
                        <a:pt x="15695" y="17472"/>
                        <a:pt x="10731" y="18310"/>
                      </a:cubicBezTo>
                      <a:close/>
                    </a:path>
                  </a:pathLst>
                </a:custGeom>
                <a:grpFill/>
                <a:ln w="5978" cap="flat">
                  <a:noFill/>
                  <a:prstDash val="solid"/>
                  <a:miter/>
                </a:ln>
              </p:spPr>
              <p:txBody>
                <a:bodyPr rtlCol="0" anchor="ctr"/>
                <a:lstStyle/>
                <a:p>
                  <a:endParaRPr lang="en-GB"/>
                </a:p>
              </p:txBody>
            </p:sp>
            <p:sp>
              <p:nvSpPr>
                <p:cNvPr id="1614" name="Vrije vorm: vorm 1613">
                  <a:extLst>
                    <a:ext uri="{FF2B5EF4-FFF2-40B4-BE49-F238E27FC236}">
                      <a16:creationId xmlns:a16="http://schemas.microsoft.com/office/drawing/2014/main" id="{CB3444F0-5B69-480D-83FD-E913F0D99750}"/>
                    </a:ext>
                  </a:extLst>
                </p:cNvPr>
                <p:cNvSpPr/>
                <p:nvPr/>
              </p:nvSpPr>
              <p:spPr>
                <a:xfrm>
                  <a:off x="4190284" y="3726619"/>
                  <a:ext cx="18318" cy="18452"/>
                </a:xfrm>
                <a:custGeom>
                  <a:avLst/>
                  <a:gdLst>
                    <a:gd name="connsiteX0" fmla="*/ 10714 w 18318"/>
                    <a:gd name="connsiteY0" fmla="*/ 18310 h 18452"/>
                    <a:gd name="connsiteX1" fmla="*/ 18190 w 18318"/>
                    <a:gd name="connsiteY1" fmla="*/ 7664 h 18452"/>
                    <a:gd name="connsiteX2" fmla="*/ 7604 w 18318"/>
                    <a:gd name="connsiteY2" fmla="*/ 128 h 18452"/>
                    <a:gd name="connsiteX3" fmla="*/ 128 w 18318"/>
                    <a:gd name="connsiteY3" fmla="*/ 10774 h 18452"/>
                    <a:gd name="connsiteX4" fmla="*/ 10714 w 18318"/>
                    <a:gd name="connsiteY4" fmla="*/ 18310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52">
                      <a:moveTo>
                        <a:pt x="10714" y="18310"/>
                      </a:moveTo>
                      <a:cubicBezTo>
                        <a:pt x="15678" y="17472"/>
                        <a:pt x="19027" y="12688"/>
                        <a:pt x="18190" y="7664"/>
                      </a:cubicBezTo>
                      <a:cubicBezTo>
                        <a:pt x="17293" y="2640"/>
                        <a:pt x="12568" y="-709"/>
                        <a:pt x="7604" y="128"/>
                      </a:cubicBezTo>
                      <a:cubicBezTo>
                        <a:pt x="2640" y="965"/>
                        <a:pt x="-709" y="5750"/>
                        <a:pt x="128" y="10774"/>
                      </a:cubicBezTo>
                      <a:cubicBezTo>
                        <a:pt x="1025" y="15798"/>
                        <a:pt x="5750" y="19207"/>
                        <a:pt x="10714" y="18310"/>
                      </a:cubicBezTo>
                      <a:close/>
                    </a:path>
                  </a:pathLst>
                </a:custGeom>
                <a:grpFill/>
                <a:ln w="5978" cap="flat">
                  <a:noFill/>
                  <a:prstDash val="solid"/>
                  <a:miter/>
                </a:ln>
              </p:spPr>
              <p:txBody>
                <a:bodyPr rtlCol="0" anchor="ctr"/>
                <a:lstStyle/>
                <a:p>
                  <a:endParaRPr lang="en-GB"/>
                </a:p>
              </p:txBody>
            </p:sp>
          </p:grpSp>
          <p:grpSp>
            <p:nvGrpSpPr>
              <p:cNvPr id="1265" name="Graphic 3">
                <a:extLst>
                  <a:ext uri="{FF2B5EF4-FFF2-40B4-BE49-F238E27FC236}">
                    <a16:creationId xmlns:a16="http://schemas.microsoft.com/office/drawing/2014/main" id="{2C8462DD-63F8-4E33-8B09-83025634CB7F}"/>
                  </a:ext>
                </a:extLst>
              </p:cNvPr>
              <p:cNvGrpSpPr/>
              <p:nvPr/>
            </p:nvGrpSpPr>
            <p:grpSpPr>
              <a:xfrm>
                <a:off x="3786601" y="3155954"/>
                <a:ext cx="469891" cy="68764"/>
                <a:chOff x="3786601" y="3155954"/>
                <a:chExt cx="469891" cy="68764"/>
              </a:xfrm>
              <a:grpFill/>
            </p:grpSpPr>
            <p:sp>
              <p:nvSpPr>
                <p:cNvPr id="1610" name="Vrije vorm: vorm 1609">
                  <a:extLst>
                    <a:ext uri="{FF2B5EF4-FFF2-40B4-BE49-F238E27FC236}">
                      <a16:creationId xmlns:a16="http://schemas.microsoft.com/office/drawing/2014/main" id="{1D71E5E4-CBB3-4C93-BE4E-FF6A053F5301}"/>
                    </a:ext>
                  </a:extLst>
                </p:cNvPr>
                <p:cNvSpPr/>
                <p:nvPr/>
              </p:nvSpPr>
              <p:spPr>
                <a:xfrm>
                  <a:off x="3795146" y="3163543"/>
                  <a:ext cx="452800" cy="53527"/>
                </a:xfrm>
                <a:custGeom>
                  <a:avLst/>
                  <a:gdLst>
                    <a:gd name="connsiteX0" fmla="*/ 452801 w 452800"/>
                    <a:gd name="connsiteY0" fmla="*/ 50477 h 53527"/>
                    <a:gd name="connsiteX1" fmla="*/ 452442 w 452800"/>
                    <a:gd name="connsiteY1" fmla="*/ 53528 h 53527"/>
                    <a:gd name="connsiteX2" fmla="*/ 0 w 452800"/>
                    <a:gd name="connsiteY2" fmla="*/ 3050 h 53527"/>
                    <a:gd name="connsiteX3" fmla="*/ 299 w 452800"/>
                    <a:gd name="connsiteY3" fmla="*/ 0 h 53527"/>
                  </a:gdLst>
                  <a:ahLst/>
                  <a:cxnLst>
                    <a:cxn ang="0">
                      <a:pos x="connsiteX0" y="connsiteY0"/>
                    </a:cxn>
                    <a:cxn ang="0">
                      <a:pos x="connsiteX1" y="connsiteY1"/>
                    </a:cxn>
                    <a:cxn ang="0">
                      <a:pos x="connsiteX2" y="connsiteY2"/>
                    </a:cxn>
                    <a:cxn ang="0">
                      <a:pos x="connsiteX3" y="connsiteY3"/>
                    </a:cxn>
                  </a:cxnLst>
                  <a:rect l="l" t="t" r="r" b="b"/>
                  <a:pathLst>
                    <a:path w="452800" h="53527">
                      <a:moveTo>
                        <a:pt x="452801" y="50477"/>
                      </a:moveTo>
                      <a:lnTo>
                        <a:pt x="452442" y="53528"/>
                      </a:lnTo>
                      <a:lnTo>
                        <a:pt x="0" y="3050"/>
                      </a:lnTo>
                      <a:lnTo>
                        <a:pt x="299" y="0"/>
                      </a:lnTo>
                      <a:close/>
                    </a:path>
                  </a:pathLst>
                </a:custGeom>
                <a:grpFill/>
                <a:ln w="5978" cap="flat">
                  <a:noFill/>
                  <a:prstDash val="solid"/>
                  <a:miter/>
                </a:ln>
              </p:spPr>
              <p:txBody>
                <a:bodyPr rtlCol="0" anchor="ctr"/>
                <a:lstStyle/>
                <a:p>
                  <a:endParaRPr lang="en-GB"/>
                </a:p>
              </p:txBody>
            </p:sp>
            <p:sp>
              <p:nvSpPr>
                <p:cNvPr id="1611" name="Vrije vorm: vorm 1610">
                  <a:extLst>
                    <a:ext uri="{FF2B5EF4-FFF2-40B4-BE49-F238E27FC236}">
                      <a16:creationId xmlns:a16="http://schemas.microsoft.com/office/drawing/2014/main" id="{99CEBBF9-647E-4197-A398-9365A6B2DA60}"/>
                    </a:ext>
                  </a:extLst>
                </p:cNvPr>
                <p:cNvSpPr/>
                <p:nvPr/>
              </p:nvSpPr>
              <p:spPr>
                <a:xfrm>
                  <a:off x="3786601" y="3155954"/>
                  <a:ext cx="18346" cy="18407"/>
                </a:xfrm>
                <a:custGeom>
                  <a:avLst/>
                  <a:gdLst>
                    <a:gd name="connsiteX0" fmla="*/ 8186 w 18346"/>
                    <a:gd name="connsiteY0" fmla="*/ 18354 h 18407"/>
                    <a:gd name="connsiteX1" fmla="*/ 53 w 18346"/>
                    <a:gd name="connsiteY1" fmla="*/ 8187 h 18407"/>
                    <a:gd name="connsiteX2" fmla="*/ 10160 w 18346"/>
                    <a:gd name="connsiteY2" fmla="*/ 53 h 18407"/>
                    <a:gd name="connsiteX3" fmla="*/ 18294 w 18346"/>
                    <a:gd name="connsiteY3" fmla="*/ 10221 h 18407"/>
                    <a:gd name="connsiteX4" fmla="*/ 8186 w 18346"/>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7">
                      <a:moveTo>
                        <a:pt x="8186" y="18354"/>
                      </a:moveTo>
                      <a:cubicBezTo>
                        <a:pt x="3163" y="17816"/>
                        <a:pt x="-486" y="13211"/>
                        <a:pt x="53" y="8187"/>
                      </a:cubicBezTo>
                      <a:cubicBezTo>
                        <a:pt x="591" y="3104"/>
                        <a:pt x="5136" y="-485"/>
                        <a:pt x="10160" y="53"/>
                      </a:cubicBezTo>
                      <a:cubicBezTo>
                        <a:pt x="15184" y="592"/>
                        <a:pt x="18832" y="5197"/>
                        <a:pt x="18294" y="10221"/>
                      </a:cubicBezTo>
                      <a:cubicBezTo>
                        <a:pt x="17696" y="15244"/>
                        <a:pt x="13210" y="18893"/>
                        <a:pt x="8186" y="18354"/>
                      </a:cubicBezTo>
                      <a:close/>
                    </a:path>
                  </a:pathLst>
                </a:custGeom>
                <a:grpFill/>
                <a:ln w="5978" cap="flat">
                  <a:noFill/>
                  <a:prstDash val="solid"/>
                  <a:miter/>
                </a:ln>
              </p:spPr>
              <p:txBody>
                <a:bodyPr rtlCol="0" anchor="ctr"/>
                <a:lstStyle/>
                <a:p>
                  <a:endParaRPr lang="en-GB"/>
                </a:p>
              </p:txBody>
            </p:sp>
            <p:sp>
              <p:nvSpPr>
                <p:cNvPr id="1612" name="Vrije vorm: vorm 1611">
                  <a:extLst>
                    <a:ext uri="{FF2B5EF4-FFF2-40B4-BE49-F238E27FC236}">
                      <a16:creationId xmlns:a16="http://schemas.microsoft.com/office/drawing/2014/main" id="{C7930187-F838-4751-8D5A-4AEA3A634EFF}"/>
                    </a:ext>
                  </a:extLst>
                </p:cNvPr>
                <p:cNvSpPr/>
                <p:nvPr/>
              </p:nvSpPr>
              <p:spPr>
                <a:xfrm>
                  <a:off x="4238145" y="3206312"/>
                  <a:ext cx="18346" cy="18406"/>
                </a:xfrm>
                <a:custGeom>
                  <a:avLst/>
                  <a:gdLst>
                    <a:gd name="connsiteX0" fmla="*/ 8186 w 18346"/>
                    <a:gd name="connsiteY0" fmla="*/ 18354 h 18406"/>
                    <a:gd name="connsiteX1" fmla="*/ 18294 w 18346"/>
                    <a:gd name="connsiteY1" fmla="*/ 10220 h 18406"/>
                    <a:gd name="connsiteX2" fmla="*/ 10160 w 18346"/>
                    <a:gd name="connsiteY2" fmla="*/ 53 h 18406"/>
                    <a:gd name="connsiteX3" fmla="*/ 53 w 18346"/>
                    <a:gd name="connsiteY3" fmla="*/ 8186 h 18406"/>
                    <a:gd name="connsiteX4" fmla="*/ 8186 w 18346"/>
                    <a:gd name="connsiteY4" fmla="*/ 18354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6">
                      <a:moveTo>
                        <a:pt x="8186" y="18354"/>
                      </a:moveTo>
                      <a:cubicBezTo>
                        <a:pt x="13210" y="18892"/>
                        <a:pt x="17756" y="15244"/>
                        <a:pt x="18294" y="10220"/>
                      </a:cubicBezTo>
                      <a:cubicBezTo>
                        <a:pt x="18832" y="5136"/>
                        <a:pt x="15184" y="591"/>
                        <a:pt x="10160" y="53"/>
                      </a:cubicBezTo>
                      <a:cubicBezTo>
                        <a:pt x="5136" y="-486"/>
                        <a:pt x="591" y="3163"/>
                        <a:pt x="53" y="8186"/>
                      </a:cubicBezTo>
                      <a:cubicBezTo>
                        <a:pt x="-486" y="13210"/>
                        <a:pt x="3163" y="17756"/>
                        <a:pt x="8186" y="18354"/>
                      </a:cubicBezTo>
                      <a:close/>
                    </a:path>
                  </a:pathLst>
                </a:custGeom>
                <a:grpFill/>
                <a:ln w="5978" cap="flat">
                  <a:noFill/>
                  <a:prstDash val="solid"/>
                  <a:miter/>
                </a:ln>
              </p:spPr>
              <p:txBody>
                <a:bodyPr rtlCol="0" anchor="ctr"/>
                <a:lstStyle/>
                <a:p>
                  <a:endParaRPr lang="en-GB"/>
                </a:p>
              </p:txBody>
            </p:sp>
          </p:grpSp>
          <p:grpSp>
            <p:nvGrpSpPr>
              <p:cNvPr id="1266" name="Graphic 3">
                <a:extLst>
                  <a:ext uri="{FF2B5EF4-FFF2-40B4-BE49-F238E27FC236}">
                    <a16:creationId xmlns:a16="http://schemas.microsoft.com/office/drawing/2014/main" id="{A9E5E038-8AA2-4010-BE47-20F8AD54AF00}"/>
                  </a:ext>
                </a:extLst>
              </p:cNvPr>
              <p:cNvGrpSpPr/>
              <p:nvPr/>
            </p:nvGrpSpPr>
            <p:grpSpPr>
              <a:xfrm>
                <a:off x="3992538" y="3217747"/>
                <a:ext cx="81770" cy="24244"/>
                <a:chOff x="3992538" y="3217747"/>
                <a:chExt cx="81770" cy="24244"/>
              </a:xfrm>
              <a:grpFill/>
            </p:grpSpPr>
            <p:sp>
              <p:nvSpPr>
                <p:cNvPr id="1607" name="Vrije vorm: vorm 1606">
                  <a:extLst>
                    <a:ext uri="{FF2B5EF4-FFF2-40B4-BE49-F238E27FC236}">
                      <a16:creationId xmlns:a16="http://schemas.microsoft.com/office/drawing/2014/main" id="{ED375D7A-D5D0-4D22-B6CE-3E53BAA376FE}"/>
                    </a:ext>
                  </a:extLst>
                </p:cNvPr>
                <p:cNvSpPr/>
                <p:nvPr/>
              </p:nvSpPr>
              <p:spPr>
                <a:xfrm>
                  <a:off x="4001122" y="3225383"/>
                  <a:ext cx="64651" cy="9030"/>
                </a:xfrm>
                <a:custGeom>
                  <a:avLst/>
                  <a:gdLst>
                    <a:gd name="connsiteX0" fmla="*/ 64652 w 64651"/>
                    <a:gd name="connsiteY0" fmla="*/ 5981 h 9030"/>
                    <a:gd name="connsiteX1" fmla="*/ 64353 w 64651"/>
                    <a:gd name="connsiteY1" fmla="*/ 9031 h 9030"/>
                    <a:gd name="connsiteX2" fmla="*/ 0 w 64651"/>
                    <a:gd name="connsiteY2" fmla="*/ 3050 h 9030"/>
                    <a:gd name="connsiteX3" fmla="*/ 299 w 64651"/>
                    <a:gd name="connsiteY3" fmla="*/ 0 h 9030"/>
                  </a:gdLst>
                  <a:ahLst/>
                  <a:cxnLst>
                    <a:cxn ang="0">
                      <a:pos x="connsiteX0" y="connsiteY0"/>
                    </a:cxn>
                    <a:cxn ang="0">
                      <a:pos x="connsiteX1" y="connsiteY1"/>
                    </a:cxn>
                    <a:cxn ang="0">
                      <a:pos x="connsiteX2" y="connsiteY2"/>
                    </a:cxn>
                    <a:cxn ang="0">
                      <a:pos x="connsiteX3" y="connsiteY3"/>
                    </a:cxn>
                  </a:cxnLst>
                  <a:rect l="l" t="t" r="r" b="b"/>
                  <a:pathLst>
                    <a:path w="64651" h="9030">
                      <a:moveTo>
                        <a:pt x="64652" y="5981"/>
                      </a:moveTo>
                      <a:lnTo>
                        <a:pt x="64353" y="9031"/>
                      </a:lnTo>
                      <a:lnTo>
                        <a:pt x="0" y="3050"/>
                      </a:lnTo>
                      <a:lnTo>
                        <a:pt x="299" y="0"/>
                      </a:lnTo>
                      <a:close/>
                    </a:path>
                  </a:pathLst>
                </a:custGeom>
                <a:grpFill/>
                <a:ln w="5978" cap="flat">
                  <a:noFill/>
                  <a:prstDash val="solid"/>
                  <a:miter/>
                </a:ln>
              </p:spPr>
              <p:txBody>
                <a:bodyPr rtlCol="0" anchor="ctr"/>
                <a:lstStyle/>
                <a:p>
                  <a:endParaRPr lang="en-GB"/>
                </a:p>
              </p:txBody>
            </p:sp>
            <p:sp>
              <p:nvSpPr>
                <p:cNvPr id="1608" name="Vrije vorm: vorm 1607">
                  <a:extLst>
                    <a:ext uri="{FF2B5EF4-FFF2-40B4-BE49-F238E27FC236}">
                      <a16:creationId xmlns:a16="http://schemas.microsoft.com/office/drawing/2014/main" id="{C49E3434-C12B-4C4A-8567-48E3E4E23F5A}"/>
                    </a:ext>
                  </a:extLst>
                </p:cNvPr>
                <p:cNvSpPr/>
                <p:nvPr/>
              </p:nvSpPr>
              <p:spPr>
                <a:xfrm>
                  <a:off x="4055984" y="3223608"/>
                  <a:ext cx="18323" cy="18383"/>
                </a:xfrm>
                <a:custGeom>
                  <a:avLst/>
                  <a:gdLst>
                    <a:gd name="connsiteX0" fmla="*/ 9969 w 18323"/>
                    <a:gd name="connsiteY0" fmla="*/ 41 h 18383"/>
                    <a:gd name="connsiteX1" fmla="*/ 18282 w 18323"/>
                    <a:gd name="connsiteY1" fmla="*/ 10029 h 18383"/>
                    <a:gd name="connsiteX2" fmla="*/ 8354 w 18323"/>
                    <a:gd name="connsiteY2" fmla="*/ 18342 h 18383"/>
                    <a:gd name="connsiteX3" fmla="*/ 41 w 18323"/>
                    <a:gd name="connsiteY3" fmla="*/ 8354 h 18383"/>
                    <a:gd name="connsiteX4" fmla="*/ 9969 w 18323"/>
                    <a:gd name="connsiteY4" fmla="*/ 41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83">
                      <a:moveTo>
                        <a:pt x="9969" y="41"/>
                      </a:moveTo>
                      <a:cubicBezTo>
                        <a:pt x="14993" y="520"/>
                        <a:pt x="18761" y="5005"/>
                        <a:pt x="18282" y="10029"/>
                      </a:cubicBezTo>
                      <a:cubicBezTo>
                        <a:pt x="17864" y="15113"/>
                        <a:pt x="13378" y="18821"/>
                        <a:pt x="8354" y="18342"/>
                      </a:cubicBezTo>
                      <a:cubicBezTo>
                        <a:pt x="3331" y="17864"/>
                        <a:pt x="-437" y="13378"/>
                        <a:pt x="41" y="8354"/>
                      </a:cubicBezTo>
                      <a:cubicBezTo>
                        <a:pt x="460" y="3330"/>
                        <a:pt x="4945" y="-437"/>
                        <a:pt x="9969" y="41"/>
                      </a:cubicBezTo>
                      <a:close/>
                    </a:path>
                  </a:pathLst>
                </a:custGeom>
                <a:grpFill/>
                <a:ln w="5978" cap="flat">
                  <a:noFill/>
                  <a:prstDash val="solid"/>
                  <a:miter/>
                </a:ln>
              </p:spPr>
              <p:txBody>
                <a:bodyPr rtlCol="0" anchor="ctr"/>
                <a:lstStyle/>
                <a:p>
                  <a:endParaRPr lang="en-GB"/>
                </a:p>
              </p:txBody>
            </p:sp>
            <p:sp>
              <p:nvSpPr>
                <p:cNvPr id="1609" name="Vrije vorm: vorm 1608">
                  <a:extLst>
                    <a:ext uri="{FF2B5EF4-FFF2-40B4-BE49-F238E27FC236}">
                      <a16:creationId xmlns:a16="http://schemas.microsoft.com/office/drawing/2014/main" id="{7BDB10E1-697B-4730-91EB-787A445AD7B9}"/>
                    </a:ext>
                  </a:extLst>
                </p:cNvPr>
                <p:cNvSpPr/>
                <p:nvPr/>
              </p:nvSpPr>
              <p:spPr>
                <a:xfrm>
                  <a:off x="3992538" y="3217747"/>
                  <a:ext cx="18314" cy="18382"/>
                </a:xfrm>
                <a:custGeom>
                  <a:avLst/>
                  <a:gdLst>
                    <a:gd name="connsiteX0" fmla="*/ 9960 w 18314"/>
                    <a:gd name="connsiteY0" fmla="*/ 41 h 18382"/>
                    <a:gd name="connsiteX1" fmla="*/ 32 w 18314"/>
                    <a:gd name="connsiteY1" fmla="*/ 8354 h 18382"/>
                    <a:gd name="connsiteX2" fmla="*/ 8346 w 18314"/>
                    <a:gd name="connsiteY2" fmla="*/ 18342 h 18382"/>
                    <a:gd name="connsiteX3" fmla="*/ 18273 w 18314"/>
                    <a:gd name="connsiteY3" fmla="*/ 10029 h 18382"/>
                    <a:gd name="connsiteX4" fmla="*/ 9960 w 18314"/>
                    <a:gd name="connsiteY4" fmla="*/ 41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82">
                      <a:moveTo>
                        <a:pt x="9960" y="41"/>
                      </a:moveTo>
                      <a:cubicBezTo>
                        <a:pt x="4936" y="-438"/>
                        <a:pt x="451" y="3330"/>
                        <a:pt x="32" y="8354"/>
                      </a:cubicBezTo>
                      <a:cubicBezTo>
                        <a:pt x="-386" y="13438"/>
                        <a:pt x="3322" y="17923"/>
                        <a:pt x="8346" y="18342"/>
                      </a:cubicBezTo>
                      <a:cubicBezTo>
                        <a:pt x="13369" y="18820"/>
                        <a:pt x="17855" y="15053"/>
                        <a:pt x="18273" y="10029"/>
                      </a:cubicBezTo>
                      <a:cubicBezTo>
                        <a:pt x="18752" y="5005"/>
                        <a:pt x="15044" y="519"/>
                        <a:pt x="9960" y="41"/>
                      </a:cubicBezTo>
                      <a:close/>
                    </a:path>
                  </a:pathLst>
                </a:custGeom>
                <a:grpFill/>
                <a:ln w="5978" cap="flat">
                  <a:noFill/>
                  <a:prstDash val="solid"/>
                  <a:miter/>
                </a:ln>
              </p:spPr>
              <p:txBody>
                <a:bodyPr rtlCol="0" anchor="ctr"/>
                <a:lstStyle/>
                <a:p>
                  <a:endParaRPr lang="en-GB"/>
                </a:p>
              </p:txBody>
            </p:sp>
          </p:grpSp>
          <p:grpSp>
            <p:nvGrpSpPr>
              <p:cNvPr id="1267" name="Graphic 3">
                <a:extLst>
                  <a:ext uri="{FF2B5EF4-FFF2-40B4-BE49-F238E27FC236}">
                    <a16:creationId xmlns:a16="http://schemas.microsoft.com/office/drawing/2014/main" id="{EB427DFA-20E9-43E2-B254-282C7E74EBA9}"/>
                  </a:ext>
                </a:extLst>
              </p:cNvPr>
              <p:cNvGrpSpPr/>
              <p:nvPr/>
            </p:nvGrpSpPr>
            <p:grpSpPr>
              <a:xfrm>
                <a:off x="4238978" y="4038377"/>
                <a:ext cx="138956" cy="63530"/>
                <a:chOff x="4238978" y="4038377"/>
                <a:chExt cx="138956" cy="63530"/>
              </a:xfrm>
              <a:grpFill/>
            </p:grpSpPr>
            <p:sp>
              <p:nvSpPr>
                <p:cNvPr id="1604" name="Vrije vorm: vorm 1603">
                  <a:extLst>
                    <a:ext uri="{FF2B5EF4-FFF2-40B4-BE49-F238E27FC236}">
                      <a16:creationId xmlns:a16="http://schemas.microsoft.com/office/drawing/2014/main" id="{90DF5013-A811-46C0-8C43-28BE97EF93B5}"/>
                    </a:ext>
                  </a:extLst>
                </p:cNvPr>
                <p:cNvSpPr/>
                <p:nvPr/>
              </p:nvSpPr>
              <p:spPr>
                <a:xfrm>
                  <a:off x="4247469" y="4045983"/>
                  <a:ext cx="122578" cy="48298"/>
                </a:xfrm>
                <a:custGeom>
                  <a:avLst/>
                  <a:gdLst>
                    <a:gd name="connsiteX0" fmla="*/ 0 w 122578"/>
                    <a:gd name="connsiteY0" fmla="*/ 45442 h 48298"/>
                    <a:gd name="connsiteX1" fmla="*/ 121511 w 122578"/>
                    <a:gd name="connsiteY1" fmla="*/ 0 h 48298"/>
                    <a:gd name="connsiteX2" fmla="*/ 122579 w 122578"/>
                    <a:gd name="connsiteY2" fmla="*/ 2857 h 48298"/>
                    <a:gd name="connsiteX3" fmla="*/ 1069 w 122578"/>
                    <a:gd name="connsiteY3" fmla="*/ 48299 h 48298"/>
                  </a:gdLst>
                  <a:ahLst/>
                  <a:cxnLst>
                    <a:cxn ang="0">
                      <a:pos x="connsiteX0" y="connsiteY0"/>
                    </a:cxn>
                    <a:cxn ang="0">
                      <a:pos x="connsiteX1" y="connsiteY1"/>
                    </a:cxn>
                    <a:cxn ang="0">
                      <a:pos x="connsiteX2" y="connsiteY2"/>
                    </a:cxn>
                    <a:cxn ang="0">
                      <a:pos x="connsiteX3" y="connsiteY3"/>
                    </a:cxn>
                  </a:cxnLst>
                  <a:rect l="l" t="t" r="r" b="b"/>
                  <a:pathLst>
                    <a:path w="122578" h="48298">
                      <a:moveTo>
                        <a:pt x="0" y="45442"/>
                      </a:moveTo>
                      <a:lnTo>
                        <a:pt x="121511" y="0"/>
                      </a:lnTo>
                      <a:lnTo>
                        <a:pt x="122579" y="2857"/>
                      </a:lnTo>
                      <a:lnTo>
                        <a:pt x="1069" y="48299"/>
                      </a:lnTo>
                      <a:close/>
                    </a:path>
                  </a:pathLst>
                </a:custGeom>
                <a:grpFill/>
                <a:ln w="5978" cap="flat">
                  <a:noFill/>
                  <a:prstDash val="solid"/>
                  <a:miter/>
                </a:ln>
              </p:spPr>
              <p:txBody>
                <a:bodyPr rtlCol="0" anchor="ctr"/>
                <a:lstStyle/>
                <a:p>
                  <a:endParaRPr lang="en-GB"/>
                </a:p>
              </p:txBody>
            </p:sp>
            <p:sp>
              <p:nvSpPr>
                <p:cNvPr id="1605" name="Vrije vorm: vorm 1604">
                  <a:extLst>
                    <a:ext uri="{FF2B5EF4-FFF2-40B4-BE49-F238E27FC236}">
                      <a16:creationId xmlns:a16="http://schemas.microsoft.com/office/drawing/2014/main" id="{CD5923D0-7DBB-4AB7-8195-4A1E7A3E0BAA}"/>
                    </a:ext>
                  </a:extLst>
                </p:cNvPr>
                <p:cNvSpPr/>
                <p:nvPr/>
              </p:nvSpPr>
              <p:spPr>
                <a:xfrm>
                  <a:off x="4238978" y="4083447"/>
                  <a:ext cx="18325" cy="18460"/>
                </a:xfrm>
                <a:custGeom>
                  <a:avLst/>
                  <a:gdLst>
                    <a:gd name="connsiteX0" fmla="*/ 12378 w 18325"/>
                    <a:gd name="connsiteY0" fmla="*/ 17872 h 18460"/>
                    <a:gd name="connsiteX1" fmla="*/ 596 w 18325"/>
                    <a:gd name="connsiteY1" fmla="*/ 12430 h 18460"/>
                    <a:gd name="connsiteX2" fmla="*/ 5978 w 18325"/>
                    <a:gd name="connsiteY2" fmla="*/ 588 h 18460"/>
                    <a:gd name="connsiteX3" fmla="*/ 17760 w 18325"/>
                    <a:gd name="connsiteY3" fmla="*/ 6031 h 18460"/>
                    <a:gd name="connsiteX4" fmla="*/ 12378 w 18325"/>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0">
                      <a:moveTo>
                        <a:pt x="12378" y="17872"/>
                      </a:moveTo>
                      <a:cubicBezTo>
                        <a:pt x="7653" y="19667"/>
                        <a:pt x="2330" y="17215"/>
                        <a:pt x="596" y="12430"/>
                      </a:cubicBezTo>
                      <a:cubicBezTo>
                        <a:pt x="-1198" y="7646"/>
                        <a:pt x="1194" y="2383"/>
                        <a:pt x="5978" y="588"/>
                      </a:cubicBezTo>
                      <a:cubicBezTo>
                        <a:pt x="10703" y="-1206"/>
                        <a:pt x="16026" y="1246"/>
                        <a:pt x="17760" y="6031"/>
                      </a:cubicBezTo>
                      <a:cubicBezTo>
                        <a:pt x="19495" y="10815"/>
                        <a:pt x="17103" y="16078"/>
                        <a:pt x="12378" y="17872"/>
                      </a:cubicBezTo>
                      <a:close/>
                    </a:path>
                  </a:pathLst>
                </a:custGeom>
                <a:grpFill/>
                <a:ln w="5978" cap="flat">
                  <a:noFill/>
                  <a:prstDash val="solid"/>
                  <a:miter/>
                </a:ln>
              </p:spPr>
              <p:txBody>
                <a:bodyPr rtlCol="0" anchor="ctr"/>
                <a:lstStyle/>
                <a:p>
                  <a:endParaRPr lang="en-GB"/>
                </a:p>
              </p:txBody>
            </p:sp>
            <p:sp>
              <p:nvSpPr>
                <p:cNvPr id="1606" name="Vrije vorm: vorm 1605">
                  <a:extLst>
                    <a:ext uri="{FF2B5EF4-FFF2-40B4-BE49-F238E27FC236}">
                      <a16:creationId xmlns:a16="http://schemas.microsoft.com/office/drawing/2014/main" id="{D42C539E-6C2E-4578-97C5-FD3EB609F07D}"/>
                    </a:ext>
                  </a:extLst>
                </p:cNvPr>
                <p:cNvSpPr/>
                <p:nvPr/>
              </p:nvSpPr>
              <p:spPr>
                <a:xfrm>
                  <a:off x="4359640" y="4038377"/>
                  <a:ext cx="18293" cy="18412"/>
                </a:xfrm>
                <a:custGeom>
                  <a:avLst/>
                  <a:gdLst>
                    <a:gd name="connsiteX0" fmla="*/ 12347 w 18293"/>
                    <a:gd name="connsiteY0" fmla="*/ 17848 h 18412"/>
                    <a:gd name="connsiteX1" fmla="*/ 17729 w 18293"/>
                    <a:gd name="connsiteY1" fmla="*/ 6007 h 18412"/>
                    <a:gd name="connsiteX2" fmla="*/ 5947 w 18293"/>
                    <a:gd name="connsiteY2" fmla="*/ 564 h 18412"/>
                    <a:gd name="connsiteX3" fmla="*/ 565 w 18293"/>
                    <a:gd name="connsiteY3" fmla="*/ 12406 h 18412"/>
                    <a:gd name="connsiteX4" fmla="*/ 12347 w 18293"/>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12">
                      <a:moveTo>
                        <a:pt x="12347" y="17848"/>
                      </a:moveTo>
                      <a:cubicBezTo>
                        <a:pt x="17071" y="16054"/>
                        <a:pt x="19464" y="10791"/>
                        <a:pt x="17729" y="6007"/>
                      </a:cubicBezTo>
                      <a:cubicBezTo>
                        <a:pt x="15935" y="1222"/>
                        <a:pt x="10672" y="-1170"/>
                        <a:pt x="5947" y="564"/>
                      </a:cubicBezTo>
                      <a:cubicBezTo>
                        <a:pt x="1223" y="2358"/>
                        <a:pt x="-1170" y="7621"/>
                        <a:pt x="565" y="12406"/>
                      </a:cubicBezTo>
                      <a:cubicBezTo>
                        <a:pt x="2359" y="17191"/>
                        <a:pt x="7622" y="19583"/>
                        <a:pt x="12347" y="17848"/>
                      </a:cubicBezTo>
                      <a:close/>
                    </a:path>
                  </a:pathLst>
                </a:custGeom>
                <a:grpFill/>
                <a:ln w="5978" cap="flat">
                  <a:noFill/>
                  <a:prstDash val="solid"/>
                  <a:miter/>
                </a:ln>
              </p:spPr>
              <p:txBody>
                <a:bodyPr rtlCol="0" anchor="ctr"/>
                <a:lstStyle/>
                <a:p>
                  <a:endParaRPr lang="en-GB"/>
                </a:p>
              </p:txBody>
            </p:sp>
          </p:grpSp>
          <p:grpSp>
            <p:nvGrpSpPr>
              <p:cNvPr id="1268" name="Graphic 3">
                <a:extLst>
                  <a:ext uri="{FF2B5EF4-FFF2-40B4-BE49-F238E27FC236}">
                    <a16:creationId xmlns:a16="http://schemas.microsoft.com/office/drawing/2014/main" id="{97D4100F-3002-445E-8539-2989062FB7FC}"/>
                  </a:ext>
                </a:extLst>
              </p:cNvPr>
              <p:cNvGrpSpPr/>
              <p:nvPr/>
            </p:nvGrpSpPr>
            <p:grpSpPr>
              <a:xfrm>
                <a:off x="4092380" y="3883852"/>
                <a:ext cx="329734" cy="71307"/>
                <a:chOff x="4092380" y="3883852"/>
                <a:chExt cx="329734" cy="71307"/>
              </a:xfrm>
              <a:grpFill/>
            </p:grpSpPr>
            <p:sp>
              <p:nvSpPr>
                <p:cNvPr id="1601" name="Vrije vorm: vorm 1600">
                  <a:extLst>
                    <a:ext uri="{FF2B5EF4-FFF2-40B4-BE49-F238E27FC236}">
                      <a16:creationId xmlns:a16="http://schemas.microsoft.com/office/drawing/2014/main" id="{29CE97BB-ECA7-4CDD-816F-FB0CA1E35DE3}"/>
                    </a:ext>
                  </a:extLst>
                </p:cNvPr>
                <p:cNvSpPr/>
                <p:nvPr/>
              </p:nvSpPr>
              <p:spPr>
                <a:xfrm>
                  <a:off x="4100821" y="3891456"/>
                  <a:ext cx="312851" cy="56099"/>
                </a:xfrm>
                <a:custGeom>
                  <a:avLst/>
                  <a:gdLst>
                    <a:gd name="connsiteX0" fmla="*/ 312314 w 312851"/>
                    <a:gd name="connsiteY0" fmla="*/ 0 h 56099"/>
                    <a:gd name="connsiteX1" fmla="*/ 312852 w 312851"/>
                    <a:gd name="connsiteY1" fmla="*/ 2990 h 56099"/>
                    <a:gd name="connsiteX2" fmla="*/ 538 w 312851"/>
                    <a:gd name="connsiteY2" fmla="*/ 56099 h 56099"/>
                    <a:gd name="connsiteX3" fmla="*/ 0 w 312851"/>
                    <a:gd name="connsiteY3" fmla="*/ 53049 h 56099"/>
                  </a:gdLst>
                  <a:ahLst/>
                  <a:cxnLst>
                    <a:cxn ang="0">
                      <a:pos x="connsiteX0" y="connsiteY0"/>
                    </a:cxn>
                    <a:cxn ang="0">
                      <a:pos x="connsiteX1" y="connsiteY1"/>
                    </a:cxn>
                    <a:cxn ang="0">
                      <a:pos x="connsiteX2" y="connsiteY2"/>
                    </a:cxn>
                    <a:cxn ang="0">
                      <a:pos x="connsiteX3" y="connsiteY3"/>
                    </a:cxn>
                  </a:cxnLst>
                  <a:rect l="l" t="t" r="r" b="b"/>
                  <a:pathLst>
                    <a:path w="312851" h="56099">
                      <a:moveTo>
                        <a:pt x="312314" y="0"/>
                      </a:moveTo>
                      <a:lnTo>
                        <a:pt x="312852" y="2990"/>
                      </a:lnTo>
                      <a:lnTo>
                        <a:pt x="538" y="56099"/>
                      </a:lnTo>
                      <a:lnTo>
                        <a:pt x="0" y="53049"/>
                      </a:lnTo>
                      <a:close/>
                    </a:path>
                  </a:pathLst>
                </a:custGeom>
                <a:grpFill/>
                <a:ln w="5978" cap="flat">
                  <a:noFill/>
                  <a:prstDash val="solid"/>
                  <a:miter/>
                </a:ln>
              </p:spPr>
              <p:txBody>
                <a:bodyPr rtlCol="0" anchor="ctr"/>
                <a:lstStyle/>
                <a:p>
                  <a:endParaRPr lang="en-GB"/>
                </a:p>
              </p:txBody>
            </p:sp>
            <p:sp>
              <p:nvSpPr>
                <p:cNvPr id="1602" name="Vrije vorm: vorm 1601">
                  <a:extLst>
                    <a:ext uri="{FF2B5EF4-FFF2-40B4-BE49-F238E27FC236}">
                      <a16:creationId xmlns:a16="http://schemas.microsoft.com/office/drawing/2014/main" id="{4162D0CE-39C5-4DDB-B616-0A2878DD129C}"/>
                    </a:ext>
                  </a:extLst>
                </p:cNvPr>
                <p:cNvSpPr/>
                <p:nvPr/>
              </p:nvSpPr>
              <p:spPr>
                <a:xfrm>
                  <a:off x="4403779" y="3883852"/>
                  <a:ext cx="18335" cy="18437"/>
                </a:xfrm>
                <a:custGeom>
                  <a:avLst/>
                  <a:gdLst>
                    <a:gd name="connsiteX0" fmla="*/ 7621 w 18335"/>
                    <a:gd name="connsiteY0" fmla="*/ 128 h 18437"/>
                    <a:gd name="connsiteX1" fmla="*/ 18207 w 18335"/>
                    <a:gd name="connsiteY1" fmla="*/ 7664 h 18437"/>
                    <a:gd name="connsiteX2" fmla="*/ 10731 w 18335"/>
                    <a:gd name="connsiteY2" fmla="*/ 18310 h 18437"/>
                    <a:gd name="connsiteX3" fmla="*/ 145 w 18335"/>
                    <a:gd name="connsiteY3" fmla="*/ 10774 h 18437"/>
                    <a:gd name="connsiteX4" fmla="*/ 7621 w 18335"/>
                    <a:gd name="connsiteY4" fmla="*/ 128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7">
                      <a:moveTo>
                        <a:pt x="7621" y="128"/>
                      </a:moveTo>
                      <a:cubicBezTo>
                        <a:pt x="12585" y="-709"/>
                        <a:pt x="17370" y="2640"/>
                        <a:pt x="18207" y="7664"/>
                      </a:cubicBezTo>
                      <a:cubicBezTo>
                        <a:pt x="19044" y="12688"/>
                        <a:pt x="15695" y="17412"/>
                        <a:pt x="10731" y="18310"/>
                      </a:cubicBezTo>
                      <a:cubicBezTo>
                        <a:pt x="5767" y="19147"/>
                        <a:pt x="982" y="15798"/>
                        <a:pt x="145" y="10774"/>
                      </a:cubicBezTo>
                      <a:cubicBezTo>
                        <a:pt x="-752" y="5690"/>
                        <a:pt x="2597" y="965"/>
                        <a:pt x="7621" y="128"/>
                      </a:cubicBezTo>
                      <a:close/>
                    </a:path>
                  </a:pathLst>
                </a:custGeom>
                <a:grpFill/>
                <a:ln w="5978" cap="flat">
                  <a:noFill/>
                  <a:prstDash val="solid"/>
                  <a:miter/>
                </a:ln>
              </p:spPr>
              <p:txBody>
                <a:bodyPr rtlCol="0" anchor="ctr"/>
                <a:lstStyle/>
                <a:p>
                  <a:endParaRPr lang="en-GB"/>
                </a:p>
              </p:txBody>
            </p:sp>
            <p:sp>
              <p:nvSpPr>
                <p:cNvPr id="1603" name="Vrije vorm: vorm 1602">
                  <a:extLst>
                    <a:ext uri="{FF2B5EF4-FFF2-40B4-BE49-F238E27FC236}">
                      <a16:creationId xmlns:a16="http://schemas.microsoft.com/office/drawing/2014/main" id="{88355621-6DA1-4456-98C3-9F5C4FF04470}"/>
                    </a:ext>
                  </a:extLst>
                </p:cNvPr>
                <p:cNvSpPr/>
                <p:nvPr/>
              </p:nvSpPr>
              <p:spPr>
                <a:xfrm>
                  <a:off x="4092380" y="3936723"/>
                  <a:ext cx="18318" cy="18436"/>
                </a:xfrm>
                <a:custGeom>
                  <a:avLst/>
                  <a:gdLst>
                    <a:gd name="connsiteX0" fmla="*/ 7604 w 18318"/>
                    <a:gd name="connsiteY0" fmla="*/ 127 h 18436"/>
                    <a:gd name="connsiteX1" fmla="*/ 128 w 18318"/>
                    <a:gd name="connsiteY1" fmla="*/ 10772 h 18436"/>
                    <a:gd name="connsiteX2" fmla="*/ 10714 w 18318"/>
                    <a:gd name="connsiteY2" fmla="*/ 18308 h 18436"/>
                    <a:gd name="connsiteX3" fmla="*/ 18190 w 18318"/>
                    <a:gd name="connsiteY3" fmla="*/ 7662 h 18436"/>
                    <a:gd name="connsiteX4" fmla="*/ 7604 w 18318"/>
                    <a:gd name="connsiteY4" fmla="*/ 127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6">
                      <a:moveTo>
                        <a:pt x="7604" y="127"/>
                      </a:moveTo>
                      <a:cubicBezTo>
                        <a:pt x="2640" y="964"/>
                        <a:pt x="-709" y="5748"/>
                        <a:pt x="128" y="10772"/>
                      </a:cubicBezTo>
                      <a:cubicBezTo>
                        <a:pt x="965" y="15796"/>
                        <a:pt x="5750" y="19145"/>
                        <a:pt x="10714" y="18308"/>
                      </a:cubicBezTo>
                      <a:cubicBezTo>
                        <a:pt x="15678" y="17471"/>
                        <a:pt x="19027" y="12686"/>
                        <a:pt x="18190" y="7662"/>
                      </a:cubicBezTo>
                      <a:cubicBezTo>
                        <a:pt x="17353" y="2698"/>
                        <a:pt x="12628" y="-711"/>
                        <a:pt x="7604" y="127"/>
                      </a:cubicBezTo>
                      <a:close/>
                    </a:path>
                  </a:pathLst>
                </a:custGeom>
                <a:grpFill/>
                <a:ln w="5978" cap="flat">
                  <a:noFill/>
                  <a:prstDash val="solid"/>
                  <a:miter/>
                </a:ln>
              </p:spPr>
              <p:txBody>
                <a:bodyPr rtlCol="0" anchor="ctr"/>
                <a:lstStyle/>
                <a:p>
                  <a:endParaRPr lang="en-GB"/>
                </a:p>
              </p:txBody>
            </p:sp>
          </p:grpSp>
          <p:grpSp>
            <p:nvGrpSpPr>
              <p:cNvPr id="1269" name="Graphic 3">
                <a:extLst>
                  <a:ext uri="{FF2B5EF4-FFF2-40B4-BE49-F238E27FC236}">
                    <a16:creationId xmlns:a16="http://schemas.microsoft.com/office/drawing/2014/main" id="{C562CE92-9C0A-4651-BB7C-D403B0434BC5}"/>
                  </a:ext>
                </a:extLst>
              </p:cNvPr>
              <p:cNvGrpSpPr/>
              <p:nvPr/>
            </p:nvGrpSpPr>
            <p:grpSpPr>
              <a:xfrm>
                <a:off x="4247721" y="4439442"/>
                <a:ext cx="480508" cy="324031"/>
                <a:chOff x="4247721" y="4439442"/>
                <a:chExt cx="480508" cy="324031"/>
              </a:xfrm>
              <a:grpFill/>
            </p:grpSpPr>
            <p:sp>
              <p:nvSpPr>
                <p:cNvPr id="1598" name="Vrije vorm: vorm 1597">
                  <a:extLst>
                    <a:ext uri="{FF2B5EF4-FFF2-40B4-BE49-F238E27FC236}">
                      <a16:creationId xmlns:a16="http://schemas.microsoft.com/office/drawing/2014/main" id="{D030CE30-1429-49FB-9B73-5C7A3FEDD6D5}"/>
                    </a:ext>
                  </a:extLst>
                </p:cNvPr>
                <p:cNvSpPr/>
                <p:nvPr/>
              </p:nvSpPr>
              <p:spPr>
                <a:xfrm>
                  <a:off x="4255662" y="4447125"/>
                  <a:ext cx="464642" cy="308664"/>
                </a:xfrm>
                <a:custGeom>
                  <a:avLst/>
                  <a:gdLst>
                    <a:gd name="connsiteX0" fmla="*/ 464642 w 464642"/>
                    <a:gd name="connsiteY0" fmla="*/ 2572 h 308664"/>
                    <a:gd name="connsiteX1" fmla="*/ 1675 w 464642"/>
                    <a:gd name="connsiteY1" fmla="*/ 308665 h 308664"/>
                    <a:gd name="connsiteX2" fmla="*/ 0 w 464642"/>
                    <a:gd name="connsiteY2" fmla="*/ 306093 h 308664"/>
                    <a:gd name="connsiteX3" fmla="*/ 462968 w 464642"/>
                    <a:gd name="connsiteY3" fmla="*/ 0 h 308664"/>
                  </a:gdLst>
                  <a:ahLst/>
                  <a:cxnLst>
                    <a:cxn ang="0">
                      <a:pos x="connsiteX0" y="connsiteY0"/>
                    </a:cxn>
                    <a:cxn ang="0">
                      <a:pos x="connsiteX1" y="connsiteY1"/>
                    </a:cxn>
                    <a:cxn ang="0">
                      <a:pos x="connsiteX2" y="connsiteY2"/>
                    </a:cxn>
                    <a:cxn ang="0">
                      <a:pos x="connsiteX3" y="connsiteY3"/>
                    </a:cxn>
                  </a:cxnLst>
                  <a:rect l="l" t="t" r="r" b="b"/>
                  <a:pathLst>
                    <a:path w="464642" h="308664">
                      <a:moveTo>
                        <a:pt x="464642" y="2572"/>
                      </a:moveTo>
                      <a:lnTo>
                        <a:pt x="1675" y="308665"/>
                      </a:lnTo>
                      <a:lnTo>
                        <a:pt x="0" y="306093"/>
                      </a:lnTo>
                      <a:lnTo>
                        <a:pt x="462968" y="0"/>
                      </a:lnTo>
                      <a:close/>
                    </a:path>
                  </a:pathLst>
                </a:custGeom>
                <a:grpFill/>
                <a:ln w="5978" cap="flat">
                  <a:noFill/>
                  <a:prstDash val="solid"/>
                  <a:miter/>
                </a:ln>
              </p:spPr>
              <p:txBody>
                <a:bodyPr rtlCol="0" anchor="ctr"/>
                <a:lstStyle/>
                <a:p>
                  <a:endParaRPr lang="en-GB"/>
                </a:p>
              </p:txBody>
            </p:sp>
            <p:sp>
              <p:nvSpPr>
                <p:cNvPr id="1599" name="Vrije vorm: vorm 1598">
                  <a:extLst>
                    <a:ext uri="{FF2B5EF4-FFF2-40B4-BE49-F238E27FC236}">
                      <a16:creationId xmlns:a16="http://schemas.microsoft.com/office/drawing/2014/main" id="{59A03612-30C6-467C-81F9-C3C51E438005}"/>
                    </a:ext>
                  </a:extLst>
                </p:cNvPr>
                <p:cNvSpPr/>
                <p:nvPr/>
              </p:nvSpPr>
              <p:spPr>
                <a:xfrm>
                  <a:off x="4709911" y="4439442"/>
                  <a:ext cx="18318" cy="18416"/>
                </a:xfrm>
                <a:custGeom>
                  <a:avLst/>
                  <a:gdLst>
                    <a:gd name="connsiteX0" fmla="*/ 4113 w 18318"/>
                    <a:gd name="connsiteY0" fmla="*/ 1523 h 18416"/>
                    <a:gd name="connsiteX1" fmla="*/ 16792 w 18318"/>
                    <a:gd name="connsiteY1" fmla="*/ 4155 h 18416"/>
                    <a:gd name="connsiteX2" fmla="*/ 14221 w 18318"/>
                    <a:gd name="connsiteY2" fmla="*/ 16893 h 18416"/>
                    <a:gd name="connsiteX3" fmla="*/ 1542 w 18318"/>
                    <a:gd name="connsiteY3" fmla="*/ 14262 h 18416"/>
                    <a:gd name="connsiteX4" fmla="*/ 4113 w 18318"/>
                    <a:gd name="connsiteY4" fmla="*/ 152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6">
                      <a:moveTo>
                        <a:pt x="4113" y="1523"/>
                      </a:moveTo>
                      <a:cubicBezTo>
                        <a:pt x="8360" y="-1288"/>
                        <a:pt x="14041" y="-92"/>
                        <a:pt x="16792" y="4155"/>
                      </a:cubicBezTo>
                      <a:cubicBezTo>
                        <a:pt x="19603" y="8401"/>
                        <a:pt x="18407" y="14142"/>
                        <a:pt x="14221" y="16893"/>
                      </a:cubicBezTo>
                      <a:cubicBezTo>
                        <a:pt x="9974" y="19704"/>
                        <a:pt x="4293" y="18508"/>
                        <a:pt x="1542" y="14262"/>
                      </a:cubicBezTo>
                      <a:cubicBezTo>
                        <a:pt x="-1270" y="10016"/>
                        <a:pt x="-133" y="4334"/>
                        <a:pt x="4113" y="1523"/>
                      </a:cubicBezTo>
                      <a:close/>
                    </a:path>
                  </a:pathLst>
                </a:custGeom>
                <a:grpFill/>
                <a:ln w="5978" cap="flat">
                  <a:noFill/>
                  <a:prstDash val="solid"/>
                  <a:miter/>
                </a:ln>
              </p:spPr>
              <p:txBody>
                <a:bodyPr rtlCol="0" anchor="ctr"/>
                <a:lstStyle/>
                <a:p>
                  <a:endParaRPr lang="en-GB"/>
                </a:p>
              </p:txBody>
            </p:sp>
            <p:sp>
              <p:nvSpPr>
                <p:cNvPr id="1600" name="Vrije vorm: vorm 1599">
                  <a:extLst>
                    <a:ext uri="{FF2B5EF4-FFF2-40B4-BE49-F238E27FC236}">
                      <a16:creationId xmlns:a16="http://schemas.microsoft.com/office/drawing/2014/main" id="{13CF7CAE-5620-4119-AA4B-B0D2522874E8}"/>
                    </a:ext>
                  </a:extLst>
                </p:cNvPr>
                <p:cNvSpPr/>
                <p:nvPr/>
              </p:nvSpPr>
              <p:spPr>
                <a:xfrm>
                  <a:off x="4247721" y="4745057"/>
                  <a:ext cx="18333" cy="18416"/>
                </a:xfrm>
                <a:custGeom>
                  <a:avLst/>
                  <a:gdLst>
                    <a:gd name="connsiteX0" fmla="*/ 4113 w 18333"/>
                    <a:gd name="connsiteY0" fmla="*/ 1523 h 18416"/>
                    <a:gd name="connsiteX1" fmla="*/ 1541 w 18333"/>
                    <a:gd name="connsiteY1" fmla="*/ 14262 h 18416"/>
                    <a:gd name="connsiteX2" fmla="*/ 14220 w 18333"/>
                    <a:gd name="connsiteY2" fmla="*/ 16893 h 18416"/>
                    <a:gd name="connsiteX3" fmla="*/ 16792 w 18333"/>
                    <a:gd name="connsiteY3" fmla="*/ 4154 h 18416"/>
                    <a:gd name="connsiteX4" fmla="*/ 4113 w 18333"/>
                    <a:gd name="connsiteY4" fmla="*/ 152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4113" y="1523"/>
                      </a:moveTo>
                      <a:cubicBezTo>
                        <a:pt x="-133" y="4334"/>
                        <a:pt x="-1269" y="10015"/>
                        <a:pt x="1541" y="14262"/>
                      </a:cubicBezTo>
                      <a:cubicBezTo>
                        <a:pt x="4352" y="18508"/>
                        <a:pt x="10034" y="19704"/>
                        <a:pt x="14220" y="16893"/>
                      </a:cubicBezTo>
                      <a:cubicBezTo>
                        <a:pt x="18467" y="14082"/>
                        <a:pt x="19603" y="8401"/>
                        <a:pt x="16792" y="4154"/>
                      </a:cubicBezTo>
                      <a:cubicBezTo>
                        <a:pt x="13981" y="-92"/>
                        <a:pt x="8300" y="-1288"/>
                        <a:pt x="4113" y="1523"/>
                      </a:cubicBezTo>
                      <a:close/>
                    </a:path>
                  </a:pathLst>
                </a:custGeom>
                <a:grpFill/>
                <a:ln w="5978" cap="flat">
                  <a:noFill/>
                  <a:prstDash val="solid"/>
                  <a:miter/>
                </a:ln>
              </p:spPr>
              <p:txBody>
                <a:bodyPr rtlCol="0" anchor="ctr"/>
                <a:lstStyle/>
                <a:p>
                  <a:endParaRPr lang="en-GB"/>
                </a:p>
              </p:txBody>
            </p:sp>
          </p:grpSp>
          <p:grpSp>
            <p:nvGrpSpPr>
              <p:cNvPr id="1270" name="Graphic 3">
                <a:extLst>
                  <a:ext uri="{FF2B5EF4-FFF2-40B4-BE49-F238E27FC236}">
                    <a16:creationId xmlns:a16="http://schemas.microsoft.com/office/drawing/2014/main" id="{24091D4C-5B1F-4424-8F1C-5482B861E38A}"/>
                  </a:ext>
                </a:extLst>
              </p:cNvPr>
              <p:cNvGrpSpPr/>
              <p:nvPr/>
            </p:nvGrpSpPr>
            <p:grpSpPr>
              <a:xfrm>
                <a:off x="4523645" y="4781321"/>
                <a:ext cx="71038" cy="67655"/>
                <a:chOff x="4523645" y="4781321"/>
                <a:chExt cx="71038" cy="67655"/>
              </a:xfrm>
              <a:grpFill/>
            </p:grpSpPr>
            <p:sp>
              <p:nvSpPr>
                <p:cNvPr id="1595" name="Vrije vorm: vorm 1594">
                  <a:extLst>
                    <a:ext uri="{FF2B5EF4-FFF2-40B4-BE49-F238E27FC236}">
                      <a16:creationId xmlns:a16="http://schemas.microsoft.com/office/drawing/2014/main" id="{E8104690-31BE-4BDC-A5D2-9593E916C8CC}"/>
                    </a:ext>
                  </a:extLst>
                </p:cNvPr>
                <p:cNvSpPr/>
                <p:nvPr/>
              </p:nvSpPr>
              <p:spPr>
                <a:xfrm>
                  <a:off x="4531493" y="4789103"/>
                  <a:ext cx="55381" cy="52092"/>
                </a:xfrm>
                <a:custGeom>
                  <a:avLst/>
                  <a:gdLst>
                    <a:gd name="connsiteX0" fmla="*/ 55382 w 55381"/>
                    <a:gd name="connsiteY0" fmla="*/ 2213 h 52092"/>
                    <a:gd name="connsiteX1" fmla="*/ 2093 w 55381"/>
                    <a:gd name="connsiteY1" fmla="*/ 52092 h 52092"/>
                    <a:gd name="connsiteX2" fmla="*/ 0 w 55381"/>
                    <a:gd name="connsiteY2" fmla="*/ 49820 h 52092"/>
                    <a:gd name="connsiteX3" fmla="*/ 53348 w 55381"/>
                    <a:gd name="connsiteY3" fmla="*/ 0 h 52092"/>
                  </a:gdLst>
                  <a:ahLst/>
                  <a:cxnLst>
                    <a:cxn ang="0">
                      <a:pos x="connsiteX0" y="connsiteY0"/>
                    </a:cxn>
                    <a:cxn ang="0">
                      <a:pos x="connsiteX1" y="connsiteY1"/>
                    </a:cxn>
                    <a:cxn ang="0">
                      <a:pos x="connsiteX2" y="connsiteY2"/>
                    </a:cxn>
                    <a:cxn ang="0">
                      <a:pos x="connsiteX3" y="connsiteY3"/>
                    </a:cxn>
                  </a:cxnLst>
                  <a:rect l="l" t="t" r="r" b="b"/>
                  <a:pathLst>
                    <a:path w="55381" h="52092">
                      <a:moveTo>
                        <a:pt x="55382" y="2213"/>
                      </a:moveTo>
                      <a:lnTo>
                        <a:pt x="2093" y="52092"/>
                      </a:lnTo>
                      <a:lnTo>
                        <a:pt x="0" y="49820"/>
                      </a:lnTo>
                      <a:lnTo>
                        <a:pt x="53348" y="0"/>
                      </a:lnTo>
                      <a:close/>
                    </a:path>
                  </a:pathLst>
                </a:custGeom>
                <a:grpFill/>
                <a:ln w="5978" cap="flat">
                  <a:noFill/>
                  <a:prstDash val="solid"/>
                  <a:miter/>
                </a:ln>
              </p:spPr>
              <p:txBody>
                <a:bodyPr rtlCol="0" anchor="ctr"/>
                <a:lstStyle/>
                <a:p>
                  <a:endParaRPr lang="en-GB"/>
                </a:p>
              </p:txBody>
            </p:sp>
            <p:sp>
              <p:nvSpPr>
                <p:cNvPr id="1596" name="Vrije vorm: vorm 1595">
                  <a:extLst>
                    <a:ext uri="{FF2B5EF4-FFF2-40B4-BE49-F238E27FC236}">
                      <a16:creationId xmlns:a16="http://schemas.microsoft.com/office/drawing/2014/main" id="{B1BD736B-5E86-4A5E-B2C3-7C39E5712B5E}"/>
                    </a:ext>
                  </a:extLst>
                </p:cNvPr>
                <p:cNvSpPr/>
                <p:nvPr/>
              </p:nvSpPr>
              <p:spPr>
                <a:xfrm>
                  <a:off x="4523645" y="4830542"/>
                  <a:ext cx="18372" cy="18434"/>
                </a:xfrm>
                <a:custGeom>
                  <a:avLst/>
                  <a:gdLst>
                    <a:gd name="connsiteX0" fmla="*/ 15443 w 18372"/>
                    <a:gd name="connsiteY0" fmla="*/ 15975 h 18434"/>
                    <a:gd name="connsiteX1" fmla="*/ 2465 w 18372"/>
                    <a:gd name="connsiteY1" fmla="*/ 15497 h 18434"/>
                    <a:gd name="connsiteX2" fmla="*/ 2884 w 18372"/>
                    <a:gd name="connsiteY2" fmla="*/ 2459 h 18434"/>
                    <a:gd name="connsiteX3" fmla="*/ 15862 w 18372"/>
                    <a:gd name="connsiteY3" fmla="*/ 2937 h 18434"/>
                    <a:gd name="connsiteX4" fmla="*/ 15443 w 18372"/>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4">
                      <a:moveTo>
                        <a:pt x="15443" y="15975"/>
                      </a:moveTo>
                      <a:cubicBezTo>
                        <a:pt x="11735" y="19444"/>
                        <a:pt x="5934" y="19205"/>
                        <a:pt x="2465" y="15497"/>
                      </a:cubicBezTo>
                      <a:cubicBezTo>
                        <a:pt x="-1004" y="11789"/>
                        <a:pt x="-764" y="5928"/>
                        <a:pt x="2884" y="2459"/>
                      </a:cubicBezTo>
                      <a:cubicBezTo>
                        <a:pt x="6592" y="-1010"/>
                        <a:pt x="12393" y="-771"/>
                        <a:pt x="15862" y="2937"/>
                      </a:cubicBezTo>
                      <a:cubicBezTo>
                        <a:pt x="19391" y="6646"/>
                        <a:pt x="19151" y="12507"/>
                        <a:pt x="15443" y="15975"/>
                      </a:cubicBezTo>
                      <a:close/>
                    </a:path>
                  </a:pathLst>
                </a:custGeom>
                <a:grpFill/>
                <a:ln w="5978" cap="flat">
                  <a:noFill/>
                  <a:prstDash val="solid"/>
                  <a:miter/>
                </a:ln>
              </p:spPr>
              <p:txBody>
                <a:bodyPr rtlCol="0" anchor="ctr"/>
                <a:lstStyle/>
                <a:p>
                  <a:endParaRPr lang="en-GB"/>
                </a:p>
              </p:txBody>
            </p:sp>
            <p:sp>
              <p:nvSpPr>
                <p:cNvPr id="1597" name="Vrije vorm: vorm 1596">
                  <a:extLst>
                    <a:ext uri="{FF2B5EF4-FFF2-40B4-BE49-F238E27FC236}">
                      <a16:creationId xmlns:a16="http://schemas.microsoft.com/office/drawing/2014/main" id="{4B03742C-CB48-43DE-B444-7EC0EDAAC2AB}"/>
                    </a:ext>
                  </a:extLst>
                </p:cNvPr>
                <p:cNvSpPr/>
                <p:nvPr/>
              </p:nvSpPr>
              <p:spPr>
                <a:xfrm>
                  <a:off x="4576314" y="4781321"/>
                  <a:ext cx="18370" cy="18410"/>
                </a:xfrm>
                <a:custGeom>
                  <a:avLst/>
                  <a:gdLst>
                    <a:gd name="connsiteX0" fmla="*/ 15465 w 18370"/>
                    <a:gd name="connsiteY0" fmla="*/ 15975 h 18410"/>
                    <a:gd name="connsiteX1" fmla="*/ 15883 w 18370"/>
                    <a:gd name="connsiteY1" fmla="*/ 2937 h 18410"/>
                    <a:gd name="connsiteX2" fmla="*/ 2905 w 18370"/>
                    <a:gd name="connsiteY2" fmla="*/ 2459 h 18410"/>
                    <a:gd name="connsiteX3" fmla="*/ 2487 w 18370"/>
                    <a:gd name="connsiteY3" fmla="*/ 15497 h 18410"/>
                    <a:gd name="connsiteX4" fmla="*/ 15465 w 18370"/>
                    <a:gd name="connsiteY4" fmla="*/ 15975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0">
                      <a:moveTo>
                        <a:pt x="15465" y="15975"/>
                      </a:moveTo>
                      <a:cubicBezTo>
                        <a:pt x="19173" y="12507"/>
                        <a:pt x="19352" y="6705"/>
                        <a:pt x="15883" y="2937"/>
                      </a:cubicBezTo>
                      <a:cubicBezTo>
                        <a:pt x="12415" y="-771"/>
                        <a:pt x="6613" y="-1010"/>
                        <a:pt x="2905" y="2459"/>
                      </a:cubicBezTo>
                      <a:cubicBezTo>
                        <a:pt x="-803" y="5928"/>
                        <a:pt x="-982" y="11729"/>
                        <a:pt x="2487" y="15497"/>
                      </a:cubicBezTo>
                      <a:cubicBezTo>
                        <a:pt x="5955" y="19205"/>
                        <a:pt x="11757" y="19384"/>
                        <a:pt x="15465" y="15975"/>
                      </a:cubicBezTo>
                      <a:close/>
                    </a:path>
                  </a:pathLst>
                </a:custGeom>
                <a:grpFill/>
                <a:ln w="5978" cap="flat">
                  <a:noFill/>
                  <a:prstDash val="solid"/>
                  <a:miter/>
                </a:ln>
              </p:spPr>
              <p:txBody>
                <a:bodyPr rtlCol="0" anchor="ctr"/>
                <a:lstStyle/>
                <a:p>
                  <a:endParaRPr lang="en-GB"/>
                </a:p>
              </p:txBody>
            </p:sp>
          </p:grpSp>
          <p:grpSp>
            <p:nvGrpSpPr>
              <p:cNvPr id="1271" name="Graphic 3">
                <a:extLst>
                  <a:ext uri="{FF2B5EF4-FFF2-40B4-BE49-F238E27FC236}">
                    <a16:creationId xmlns:a16="http://schemas.microsoft.com/office/drawing/2014/main" id="{F0DB174A-2012-4D22-937C-602B2CFCC864}"/>
                  </a:ext>
                </a:extLst>
              </p:cNvPr>
              <p:cNvGrpSpPr/>
              <p:nvPr/>
            </p:nvGrpSpPr>
            <p:grpSpPr>
              <a:xfrm>
                <a:off x="4531843" y="4811648"/>
                <a:ext cx="85623" cy="83733"/>
                <a:chOff x="4531843" y="4811648"/>
                <a:chExt cx="85623" cy="83733"/>
              </a:xfrm>
              <a:grpFill/>
            </p:grpSpPr>
            <p:sp>
              <p:nvSpPr>
                <p:cNvPr id="1592" name="Vrije vorm: vorm 1591">
                  <a:extLst>
                    <a:ext uri="{FF2B5EF4-FFF2-40B4-BE49-F238E27FC236}">
                      <a16:creationId xmlns:a16="http://schemas.microsoft.com/office/drawing/2014/main" id="{237F41E2-16E6-4051-9D87-ABEB663A10DF}"/>
                    </a:ext>
                  </a:extLst>
                </p:cNvPr>
                <p:cNvSpPr/>
                <p:nvPr/>
              </p:nvSpPr>
              <p:spPr>
                <a:xfrm>
                  <a:off x="4539627" y="4819425"/>
                  <a:ext cx="70093" cy="68180"/>
                </a:xfrm>
                <a:custGeom>
                  <a:avLst/>
                  <a:gdLst>
                    <a:gd name="connsiteX0" fmla="*/ 70094 w 70093"/>
                    <a:gd name="connsiteY0" fmla="*/ 2213 h 68180"/>
                    <a:gd name="connsiteX1" fmla="*/ 2093 w 70093"/>
                    <a:gd name="connsiteY1" fmla="*/ 68180 h 68180"/>
                    <a:gd name="connsiteX2" fmla="*/ 0 w 70093"/>
                    <a:gd name="connsiteY2" fmla="*/ 65968 h 68180"/>
                    <a:gd name="connsiteX3" fmla="*/ 67941 w 70093"/>
                    <a:gd name="connsiteY3" fmla="*/ 0 h 68180"/>
                  </a:gdLst>
                  <a:ahLst/>
                  <a:cxnLst>
                    <a:cxn ang="0">
                      <a:pos x="connsiteX0" y="connsiteY0"/>
                    </a:cxn>
                    <a:cxn ang="0">
                      <a:pos x="connsiteX1" y="connsiteY1"/>
                    </a:cxn>
                    <a:cxn ang="0">
                      <a:pos x="connsiteX2" y="connsiteY2"/>
                    </a:cxn>
                    <a:cxn ang="0">
                      <a:pos x="connsiteX3" y="connsiteY3"/>
                    </a:cxn>
                  </a:cxnLst>
                  <a:rect l="l" t="t" r="r" b="b"/>
                  <a:pathLst>
                    <a:path w="70093" h="68180">
                      <a:moveTo>
                        <a:pt x="70094" y="2213"/>
                      </a:moveTo>
                      <a:lnTo>
                        <a:pt x="2093" y="68180"/>
                      </a:lnTo>
                      <a:lnTo>
                        <a:pt x="0" y="65968"/>
                      </a:lnTo>
                      <a:lnTo>
                        <a:pt x="67941" y="0"/>
                      </a:lnTo>
                      <a:close/>
                    </a:path>
                  </a:pathLst>
                </a:custGeom>
                <a:grpFill/>
                <a:ln w="5978" cap="flat">
                  <a:noFill/>
                  <a:prstDash val="solid"/>
                  <a:miter/>
                </a:ln>
              </p:spPr>
              <p:txBody>
                <a:bodyPr rtlCol="0" anchor="ctr"/>
                <a:lstStyle/>
                <a:p>
                  <a:endParaRPr lang="en-GB"/>
                </a:p>
              </p:txBody>
            </p:sp>
            <p:sp>
              <p:nvSpPr>
                <p:cNvPr id="1593" name="Vrije vorm: vorm 1592">
                  <a:extLst>
                    <a:ext uri="{FF2B5EF4-FFF2-40B4-BE49-F238E27FC236}">
                      <a16:creationId xmlns:a16="http://schemas.microsoft.com/office/drawing/2014/main" id="{A6E14C4F-F6E7-4557-A678-73CB2F73C13C}"/>
                    </a:ext>
                  </a:extLst>
                </p:cNvPr>
                <p:cNvSpPr/>
                <p:nvPr/>
              </p:nvSpPr>
              <p:spPr>
                <a:xfrm>
                  <a:off x="4531843" y="4876958"/>
                  <a:ext cx="18340" cy="18423"/>
                </a:xfrm>
                <a:custGeom>
                  <a:avLst/>
                  <a:gdLst>
                    <a:gd name="connsiteX0" fmla="*/ 15559 w 18340"/>
                    <a:gd name="connsiteY0" fmla="*/ 15851 h 18423"/>
                    <a:gd name="connsiteX1" fmla="*/ 2580 w 18340"/>
                    <a:gd name="connsiteY1" fmla="*/ 15611 h 18423"/>
                    <a:gd name="connsiteX2" fmla="*/ 2760 w 18340"/>
                    <a:gd name="connsiteY2" fmla="*/ 2573 h 18423"/>
                    <a:gd name="connsiteX3" fmla="*/ 15738 w 18340"/>
                    <a:gd name="connsiteY3" fmla="*/ 2813 h 18423"/>
                    <a:gd name="connsiteX4" fmla="*/ 15559 w 18340"/>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3">
                      <a:moveTo>
                        <a:pt x="15559" y="15851"/>
                      </a:moveTo>
                      <a:cubicBezTo>
                        <a:pt x="11910" y="19379"/>
                        <a:pt x="6109" y="19260"/>
                        <a:pt x="2580" y="15611"/>
                      </a:cubicBezTo>
                      <a:cubicBezTo>
                        <a:pt x="-948" y="11963"/>
                        <a:pt x="-829" y="6102"/>
                        <a:pt x="2760" y="2573"/>
                      </a:cubicBezTo>
                      <a:cubicBezTo>
                        <a:pt x="6408" y="-955"/>
                        <a:pt x="12209" y="-836"/>
                        <a:pt x="15738" y="2813"/>
                      </a:cubicBezTo>
                      <a:cubicBezTo>
                        <a:pt x="19267" y="6521"/>
                        <a:pt x="19207" y="12322"/>
                        <a:pt x="15559" y="15851"/>
                      </a:cubicBezTo>
                      <a:close/>
                    </a:path>
                  </a:pathLst>
                </a:custGeom>
                <a:grpFill/>
                <a:ln w="5978" cap="flat">
                  <a:noFill/>
                  <a:prstDash val="solid"/>
                  <a:miter/>
                </a:ln>
              </p:spPr>
              <p:txBody>
                <a:bodyPr rtlCol="0" anchor="ctr"/>
                <a:lstStyle/>
                <a:p>
                  <a:endParaRPr lang="en-GB"/>
                </a:p>
              </p:txBody>
            </p:sp>
            <p:sp>
              <p:nvSpPr>
                <p:cNvPr id="1594" name="Vrije vorm: vorm 1593">
                  <a:extLst>
                    <a:ext uri="{FF2B5EF4-FFF2-40B4-BE49-F238E27FC236}">
                      <a16:creationId xmlns:a16="http://schemas.microsoft.com/office/drawing/2014/main" id="{525E4654-BF9E-4052-99AD-6702D3391D67}"/>
                    </a:ext>
                  </a:extLst>
                </p:cNvPr>
                <p:cNvSpPr/>
                <p:nvPr/>
              </p:nvSpPr>
              <p:spPr>
                <a:xfrm>
                  <a:off x="4599104" y="4811648"/>
                  <a:ext cx="18362" cy="18424"/>
                </a:xfrm>
                <a:custGeom>
                  <a:avLst/>
                  <a:gdLst>
                    <a:gd name="connsiteX0" fmla="*/ 15581 w 18362"/>
                    <a:gd name="connsiteY0" fmla="*/ 15851 h 18424"/>
                    <a:gd name="connsiteX1" fmla="*/ 15760 w 18362"/>
                    <a:gd name="connsiteY1" fmla="*/ 2813 h 18424"/>
                    <a:gd name="connsiteX2" fmla="*/ 2782 w 18362"/>
                    <a:gd name="connsiteY2" fmla="*/ 2573 h 18424"/>
                    <a:gd name="connsiteX3" fmla="*/ 2602 w 18362"/>
                    <a:gd name="connsiteY3" fmla="*/ 15611 h 18424"/>
                    <a:gd name="connsiteX4" fmla="*/ 15581 w 18362"/>
                    <a:gd name="connsiteY4" fmla="*/ 15851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15581" y="15851"/>
                      </a:moveTo>
                      <a:cubicBezTo>
                        <a:pt x="19229" y="12322"/>
                        <a:pt x="19289" y="6461"/>
                        <a:pt x="15760" y="2813"/>
                      </a:cubicBezTo>
                      <a:cubicBezTo>
                        <a:pt x="12231" y="-836"/>
                        <a:pt x="6430" y="-955"/>
                        <a:pt x="2782" y="2573"/>
                      </a:cubicBezTo>
                      <a:cubicBezTo>
                        <a:pt x="-866" y="6102"/>
                        <a:pt x="-926" y="11903"/>
                        <a:pt x="2602" y="15611"/>
                      </a:cubicBezTo>
                      <a:cubicBezTo>
                        <a:pt x="6131" y="19260"/>
                        <a:pt x="11932" y="19379"/>
                        <a:pt x="15581" y="15851"/>
                      </a:cubicBezTo>
                      <a:close/>
                    </a:path>
                  </a:pathLst>
                </a:custGeom>
                <a:grpFill/>
                <a:ln w="5978" cap="flat">
                  <a:noFill/>
                  <a:prstDash val="solid"/>
                  <a:miter/>
                </a:ln>
              </p:spPr>
              <p:txBody>
                <a:bodyPr rtlCol="0" anchor="ctr"/>
                <a:lstStyle/>
                <a:p>
                  <a:endParaRPr lang="en-GB"/>
                </a:p>
              </p:txBody>
            </p:sp>
          </p:grpSp>
          <p:grpSp>
            <p:nvGrpSpPr>
              <p:cNvPr id="1272" name="Graphic 3">
                <a:extLst>
                  <a:ext uri="{FF2B5EF4-FFF2-40B4-BE49-F238E27FC236}">
                    <a16:creationId xmlns:a16="http://schemas.microsoft.com/office/drawing/2014/main" id="{34C74F9A-FFF7-4849-98ED-C103D7F8C97D}"/>
                  </a:ext>
                </a:extLst>
              </p:cNvPr>
              <p:cNvGrpSpPr/>
              <p:nvPr/>
            </p:nvGrpSpPr>
            <p:grpSpPr>
              <a:xfrm>
                <a:off x="4014094" y="3334466"/>
                <a:ext cx="80153" cy="20585"/>
                <a:chOff x="4014094" y="3334466"/>
                <a:chExt cx="80153" cy="20585"/>
              </a:xfrm>
              <a:grpFill/>
            </p:grpSpPr>
            <p:sp>
              <p:nvSpPr>
                <p:cNvPr id="1589" name="Vrije vorm: vorm 1588">
                  <a:extLst>
                    <a:ext uri="{FF2B5EF4-FFF2-40B4-BE49-F238E27FC236}">
                      <a16:creationId xmlns:a16="http://schemas.microsoft.com/office/drawing/2014/main" id="{090A50CA-EC53-485D-BCFF-35281C8232EE}"/>
                    </a:ext>
                  </a:extLst>
                </p:cNvPr>
                <p:cNvSpPr/>
                <p:nvPr/>
              </p:nvSpPr>
              <p:spPr>
                <a:xfrm>
                  <a:off x="4022713" y="3342067"/>
                  <a:ext cx="62857" cy="5322"/>
                </a:xfrm>
                <a:custGeom>
                  <a:avLst/>
                  <a:gdLst>
                    <a:gd name="connsiteX0" fmla="*/ 62857 w 62857"/>
                    <a:gd name="connsiteY0" fmla="*/ 2273 h 5322"/>
                    <a:gd name="connsiteX1" fmla="*/ 62738 w 62857"/>
                    <a:gd name="connsiteY1" fmla="*/ 5323 h 5322"/>
                    <a:gd name="connsiteX2" fmla="*/ 0 w 62857"/>
                    <a:gd name="connsiteY2" fmla="*/ 3050 h 5322"/>
                    <a:gd name="connsiteX3" fmla="*/ 120 w 62857"/>
                    <a:gd name="connsiteY3" fmla="*/ 0 h 5322"/>
                  </a:gdLst>
                  <a:ahLst/>
                  <a:cxnLst>
                    <a:cxn ang="0">
                      <a:pos x="connsiteX0" y="connsiteY0"/>
                    </a:cxn>
                    <a:cxn ang="0">
                      <a:pos x="connsiteX1" y="connsiteY1"/>
                    </a:cxn>
                    <a:cxn ang="0">
                      <a:pos x="connsiteX2" y="connsiteY2"/>
                    </a:cxn>
                    <a:cxn ang="0">
                      <a:pos x="connsiteX3" y="connsiteY3"/>
                    </a:cxn>
                  </a:cxnLst>
                  <a:rect l="l" t="t" r="r" b="b"/>
                  <a:pathLst>
                    <a:path w="62857" h="5322">
                      <a:moveTo>
                        <a:pt x="62857" y="2273"/>
                      </a:moveTo>
                      <a:lnTo>
                        <a:pt x="62738" y="5323"/>
                      </a:lnTo>
                      <a:lnTo>
                        <a:pt x="0" y="3050"/>
                      </a:lnTo>
                      <a:lnTo>
                        <a:pt x="120" y="0"/>
                      </a:lnTo>
                      <a:close/>
                    </a:path>
                  </a:pathLst>
                </a:custGeom>
                <a:grpFill/>
                <a:ln w="5978" cap="flat">
                  <a:noFill/>
                  <a:prstDash val="solid"/>
                  <a:miter/>
                </a:ln>
              </p:spPr>
              <p:txBody>
                <a:bodyPr rtlCol="0" anchor="ctr"/>
                <a:lstStyle/>
                <a:p>
                  <a:endParaRPr lang="en-GB"/>
                </a:p>
              </p:txBody>
            </p:sp>
            <p:sp>
              <p:nvSpPr>
                <p:cNvPr id="1590" name="Vrije vorm: vorm 1589">
                  <a:extLst>
                    <a:ext uri="{FF2B5EF4-FFF2-40B4-BE49-F238E27FC236}">
                      <a16:creationId xmlns:a16="http://schemas.microsoft.com/office/drawing/2014/main" id="{4E7FBD1F-3030-45F8-984E-45DDE0F81BB8}"/>
                    </a:ext>
                  </a:extLst>
                </p:cNvPr>
                <p:cNvSpPr/>
                <p:nvPr/>
              </p:nvSpPr>
              <p:spPr>
                <a:xfrm>
                  <a:off x="4014094" y="3334466"/>
                  <a:ext cx="18313" cy="18372"/>
                </a:xfrm>
                <a:custGeom>
                  <a:avLst/>
                  <a:gdLst>
                    <a:gd name="connsiteX0" fmla="*/ 8858 w 18313"/>
                    <a:gd name="connsiteY0" fmla="*/ 18367 h 18372"/>
                    <a:gd name="connsiteX1" fmla="*/ 6 w 18313"/>
                    <a:gd name="connsiteY1" fmla="*/ 8857 h 18372"/>
                    <a:gd name="connsiteX2" fmla="*/ 9456 w 18313"/>
                    <a:gd name="connsiteY2" fmla="*/ 6 h 18372"/>
                    <a:gd name="connsiteX3" fmla="*/ 18307 w 18313"/>
                    <a:gd name="connsiteY3" fmla="*/ 9515 h 18372"/>
                    <a:gd name="connsiteX4" fmla="*/ 8858 w 18313"/>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72">
                      <a:moveTo>
                        <a:pt x="8858" y="18367"/>
                      </a:moveTo>
                      <a:cubicBezTo>
                        <a:pt x="3774" y="18187"/>
                        <a:pt x="-173" y="13941"/>
                        <a:pt x="6" y="8857"/>
                      </a:cubicBezTo>
                      <a:cubicBezTo>
                        <a:pt x="185" y="3774"/>
                        <a:pt x="4372" y="-174"/>
                        <a:pt x="9456" y="6"/>
                      </a:cubicBezTo>
                      <a:cubicBezTo>
                        <a:pt x="14539" y="185"/>
                        <a:pt x="18486" y="4432"/>
                        <a:pt x="18307" y="9515"/>
                      </a:cubicBezTo>
                      <a:cubicBezTo>
                        <a:pt x="18128" y="14599"/>
                        <a:pt x="13941" y="18546"/>
                        <a:pt x="8858" y="18367"/>
                      </a:cubicBezTo>
                      <a:close/>
                    </a:path>
                  </a:pathLst>
                </a:custGeom>
                <a:grpFill/>
                <a:ln w="5978" cap="flat">
                  <a:noFill/>
                  <a:prstDash val="solid"/>
                  <a:miter/>
                </a:ln>
              </p:spPr>
              <p:txBody>
                <a:bodyPr rtlCol="0" anchor="ctr"/>
                <a:lstStyle/>
                <a:p>
                  <a:endParaRPr lang="en-GB"/>
                </a:p>
              </p:txBody>
            </p:sp>
            <p:sp>
              <p:nvSpPr>
                <p:cNvPr id="1591" name="Vrije vorm: vorm 1590">
                  <a:extLst>
                    <a:ext uri="{FF2B5EF4-FFF2-40B4-BE49-F238E27FC236}">
                      <a16:creationId xmlns:a16="http://schemas.microsoft.com/office/drawing/2014/main" id="{51683B66-AD8D-4609-A713-020D154789E3}"/>
                    </a:ext>
                  </a:extLst>
                </p:cNvPr>
                <p:cNvSpPr/>
                <p:nvPr/>
              </p:nvSpPr>
              <p:spPr>
                <a:xfrm>
                  <a:off x="4075935" y="3336679"/>
                  <a:ext cx="18312" cy="18372"/>
                </a:xfrm>
                <a:custGeom>
                  <a:avLst/>
                  <a:gdLst>
                    <a:gd name="connsiteX0" fmla="*/ 8857 w 18312"/>
                    <a:gd name="connsiteY0" fmla="*/ 18367 h 18372"/>
                    <a:gd name="connsiteX1" fmla="*/ 18307 w 18312"/>
                    <a:gd name="connsiteY1" fmla="*/ 9515 h 18372"/>
                    <a:gd name="connsiteX2" fmla="*/ 9456 w 18312"/>
                    <a:gd name="connsiteY2" fmla="*/ 6 h 18372"/>
                    <a:gd name="connsiteX3" fmla="*/ 6 w 18312"/>
                    <a:gd name="connsiteY3" fmla="*/ 8857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13941" y="18546"/>
                        <a:pt x="18128" y="14599"/>
                        <a:pt x="18307" y="9515"/>
                      </a:cubicBezTo>
                      <a:cubicBezTo>
                        <a:pt x="18486" y="4432"/>
                        <a:pt x="14479" y="185"/>
                        <a:pt x="9456" y="6"/>
                      </a:cubicBezTo>
                      <a:cubicBezTo>
                        <a:pt x="4372" y="-174"/>
                        <a:pt x="185" y="3774"/>
                        <a:pt x="6" y="8857"/>
                      </a:cubicBezTo>
                      <a:cubicBezTo>
                        <a:pt x="-173" y="13941"/>
                        <a:pt x="3774" y="18187"/>
                        <a:pt x="8857" y="18367"/>
                      </a:cubicBezTo>
                      <a:close/>
                    </a:path>
                  </a:pathLst>
                </a:custGeom>
                <a:grpFill/>
                <a:ln w="5978" cap="flat">
                  <a:noFill/>
                  <a:prstDash val="solid"/>
                  <a:miter/>
                </a:ln>
              </p:spPr>
              <p:txBody>
                <a:bodyPr rtlCol="0" anchor="ctr"/>
                <a:lstStyle/>
                <a:p>
                  <a:endParaRPr lang="en-GB"/>
                </a:p>
              </p:txBody>
            </p:sp>
          </p:grpSp>
          <p:grpSp>
            <p:nvGrpSpPr>
              <p:cNvPr id="1273" name="Graphic 3">
                <a:extLst>
                  <a:ext uri="{FF2B5EF4-FFF2-40B4-BE49-F238E27FC236}">
                    <a16:creationId xmlns:a16="http://schemas.microsoft.com/office/drawing/2014/main" id="{28F78164-ACC1-4744-905B-9D546D4FB072}"/>
                  </a:ext>
                </a:extLst>
              </p:cNvPr>
              <p:cNvGrpSpPr/>
              <p:nvPr/>
            </p:nvGrpSpPr>
            <p:grpSpPr>
              <a:xfrm>
                <a:off x="3879746" y="3000403"/>
                <a:ext cx="129657" cy="39385"/>
                <a:chOff x="3879746" y="3000403"/>
                <a:chExt cx="129657" cy="39385"/>
              </a:xfrm>
              <a:grpFill/>
            </p:grpSpPr>
            <p:sp>
              <p:nvSpPr>
                <p:cNvPr id="1586" name="Vrije vorm: vorm 1585">
                  <a:extLst>
                    <a:ext uri="{FF2B5EF4-FFF2-40B4-BE49-F238E27FC236}">
                      <a16:creationId xmlns:a16="http://schemas.microsoft.com/office/drawing/2014/main" id="{52DAF6D9-48B4-4F51-884A-1020E28D9C68}"/>
                    </a:ext>
                  </a:extLst>
                </p:cNvPr>
                <p:cNvSpPr/>
                <p:nvPr/>
              </p:nvSpPr>
              <p:spPr>
                <a:xfrm>
                  <a:off x="3888206" y="3008044"/>
                  <a:ext cx="112796" cy="24102"/>
                </a:xfrm>
                <a:custGeom>
                  <a:avLst/>
                  <a:gdLst>
                    <a:gd name="connsiteX0" fmla="*/ 112797 w 112796"/>
                    <a:gd name="connsiteY0" fmla="*/ 21112 h 24102"/>
                    <a:gd name="connsiteX1" fmla="*/ 112258 w 112796"/>
                    <a:gd name="connsiteY1" fmla="*/ 24102 h 24102"/>
                    <a:gd name="connsiteX2" fmla="*/ 0 w 112796"/>
                    <a:gd name="connsiteY2" fmla="*/ 2990 h 24102"/>
                    <a:gd name="connsiteX3" fmla="*/ 538 w 112796"/>
                    <a:gd name="connsiteY3" fmla="*/ 0 h 24102"/>
                  </a:gdLst>
                  <a:ahLst/>
                  <a:cxnLst>
                    <a:cxn ang="0">
                      <a:pos x="connsiteX0" y="connsiteY0"/>
                    </a:cxn>
                    <a:cxn ang="0">
                      <a:pos x="connsiteX1" y="connsiteY1"/>
                    </a:cxn>
                    <a:cxn ang="0">
                      <a:pos x="connsiteX2" y="connsiteY2"/>
                    </a:cxn>
                    <a:cxn ang="0">
                      <a:pos x="connsiteX3" y="connsiteY3"/>
                    </a:cxn>
                  </a:cxnLst>
                  <a:rect l="l" t="t" r="r" b="b"/>
                  <a:pathLst>
                    <a:path w="112796" h="24102">
                      <a:moveTo>
                        <a:pt x="112797" y="21112"/>
                      </a:moveTo>
                      <a:lnTo>
                        <a:pt x="112258" y="24102"/>
                      </a:lnTo>
                      <a:lnTo>
                        <a:pt x="0" y="2990"/>
                      </a:lnTo>
                      <a:lnTo>
                        <a:pt x="538" y="0"/>
                      </a:lnTo>
                      <a:close/>
                    </a:path>
                  </a:pathLst>
                </a:custGeom>
                <a:grpFill/>
                <a:ln w="5978" cap="flat">
                  <a:noFill/>
                  <a:prstDash val="solid"/>
                  <a:miter/>
                </a:ln>
              </p:spPr>
              <p:txBody>
                <a:bodyPr rtlCol="0" anchor="ctr"/>
                <a:lstStyle/>
                <a:p>
                  <a:endParaRPr lang="en-GB"/>
                </a:p>
              </p:txBody>
            </p:sp>
            <p:sp>
              <p:nvSpPr>
                <p:cNvPr id="1587" name="Vrije vorm: vorm 1586">
                  <a:extLst>
                    <a:ext uri="{FF2B5EF4-FFF2-40B4-BE49-F238E27FC236}">
                      <a16:creationId xmlns:a16="http://schemas.microsoft.com/office/drawing/2014/main" id="{18C89B5F-FB82-4ADF-BE20-9668DFBC94E5}"/>
                    </a:ext>
                  </a:extLst>
                </p:cNvPr>
                <p:cNvSpPr/>
                <p:nvPr/>
              </p:nvSpPr>
              <p:spPr>
                <a:xfrm>
                  <a:off x="3879746" y="3000403"/>
                  <a:ext cx="18296" cy="18452"/>
                </a:xfrm>
                <a:custGeom>
                  <a:avLst/>
                  <a:gdLst>
                    <a:gd name="connsiteX0" fmla="*/ 7504 w 18296"/>
                    <a:gd name="connsiteY0" fmla="*/ 18287 h 18452"/>
                    <a:gd name="connsiteX1" fmla="*/ 147 w 18296"/>
                    <a:gd name="connsiteY1" fmla="*/ 7522 h 18452"/>
                    <a:gd name="connsiteX2" fmla="*/ 10793 w 18296"/>
                    <a:gd name="connsiteY2" fmla="*/ 166 h 18452"/>
                    <a:gd name="connsiteX3" fmla="*/ 18149 w 18296"/>
                    <a:gd name="connsiteY3" fmla="*/ 10931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2540" y="17330"/>
                        <a:pt x="-750" y="12546"/>
                        <a:pt x="147" y="7522"/>
                      </a:cubicBezTo>
                      <a:cubicBezTo>
                        <a:pt x="1044" y="2498"/>
                        <a:pt x="5829" y="-791"/>
                        <a:pt x="10793" y="166"/>
                      </a:cubicBezTo>
                      <a:cubicBezTo>
                        <a:pt x="15757" y="1122"/>
                        <a:pt x="19046" y="5907"/>
                        <a:pt x="18149" y="10931"/>
                      </a:cubicBezTo>
                      <a:cubicBezTo>
                        <a:pt x="17252" y="15955"/>
                        <a:pt x="12468" y="19244"/>
                        <a:pt x="7504" y="18287"/>
                      </a:cubicBezTo>
                      <a:close/>
                    </a:path>
                  </a:pathLst>
                </a:custGeom>
                <a:grpFill/>
                <a:ln w="5978" cap="flat">
                  <a:noFill/>
                  <a:prstDash val="solid"/>
                  <a:miter/>
                </a:ln>
              </p:spPr>
              <p:txBody>
                <a:bodyPr rtlCol="0" anchor="ctr"/>
                <a:lstStyle/>
                <a:p>
                  <a:endParaRPr lang="en-GB"/>
                </a:p>
              </p:txBody>
            </p:sp>
            <p:sp>
              <p:nvSpPr>
                <p:cNvPr id="1588" name="Vrije vorm: vorm 1587">
                  <a:extLst>
                    <a:ext uri="{FF2B5EF4-FFF2-40B4-BE49-F238E27FC236}">
                      <a16:creationId xmlns:a16="http://schemas.microsoft.com/office/drawing/2014/main" id="{509A1533-4A44-449F-A9A5-038772B5ED11}"/>
                    </a:ext>
                  </a:extLst>
                </p:cNvPr>
                <p:cNvSpPr/>
                <p:nvPr/>
              </p:nvSpPr>
              <p:spPr>
                <a:xfrm>
                  <a:off x="3991107" y="3021335"/>
                  <a:ext cx="18296" cy="18452"/>
                </a:xfrm>
                <a:custGeom>
                  <a:avLst/>
                  <a:gdLst>
                    <a:gd name="connsiteX0" fmla="*/ 7504 w 18296"/>
                    <a:gd name="connsiteY0" fmla="*/ 18287 h 18452"/>
                    <a:gd name="connsiteX1" fmla="*/ 18149 w 18296"/>
                    <a:gd name="connsiteY1" fmla="*/ 10931 h 18452"/>
                    <a:gd name="connsiteX2" fmla="*/ 10793 w 18296"/>
                    <a:gd name="connsiteY2" fmla="*/ 166 h 18452"/>
                    <a:gd name="connsiteX3" fmla="*/ 147 w 18296"/>
                    <a:gd name="connsiteY3" fmla="*/ 7522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12468" y="19244"/>
                        <a:pt x="17252" y="15955"/>
                        <a:pt x="18149" y="10931"/>
                      </a:cubicBezTo>
                      <a:cubicBezTo>
                        <a:pt x="19046" y="5907"/>
                        <a:pt x="15757" y="1122"/>
                        <a:pt x="10793" y="166"/>
                      </a:cubicBezTo>
                      <a:cubicBezTo>
                        <a:pt x="5829" y="-791"/>
                        <a:pt x="1044" y="2498"/>
                        <a:pt x="147" y="7522"/>
                      </a:cubicBezTo>
                      <a:cubicBezTo>
                        <a:pt x="-750" y="12546"/>
                        <a:pt x="2540" y="17390"/>
                        <a:pt x="7504" y="18287"/>
                      </a:cubicBezTo>
                      <a:close/>
                    </a:path>
                  </a:pathLst>
                </a:custGeom>
                <a:grpFill/>
                <a:ln w="5978" cap="flat">
                  <a:noFill/>
                  <a:prstDash val="solid"/>
                  <a:miter/>
                </a:ln>
              </p:spPr>
              <p:txBody>
                <a:bodyPr rtlCol="0" anchor="ctr"/>
                <a:lstStyle/>
                <a:p>
                  <a:endParaRPr lang="en-GB"/>
                </a:p>
              </p:txBody>
            </p:sp>
          </p:grpSp>
          <p:grpSp>
            <p:nvGrpSpPr>
              <p:cNvPr id="1274" name="Graphic 3">
                <a:extLst>
                  <a:ext uri="{FF2B5EF4-FFF2-40B4-BE49-F238E27FC236}">
                    <a16:creationId xmlns:a16="http://schemas.microsoft.com/office/drawing/2014/main" id="{38185200-6A79-4F07-9E19-2AD1DD0674B4}"/>
                  </a:ext>
                </a:extLst>
              </p:cNvPr>
              <p:cNvGrpSpPr/>
              <p:nvPr/>
            </p:nvGrpSpPr>
            <p:grpSpPr>
              <a:xfrm>
                <a:off x="4183965" y="3762047"/>
                <a:ext cx="27727" cy="20246"/>
                <a:chOff x="4183965" y="3762047"/>
                <a:chExt cx="27727" cy="20246"/>
              </a:xfrm>
              <a:grpFill/>
            </p:grpSpPr>
            <p:sp>
              <p:nvSpPr>
                <p:cNvPr id="1584" name="Vrije vorm: vorm 1583">
                  <a:extLst>
                    <a:ext uri="{FF2B5EF4-FFF2-40B4-BE49-F238E27FC236}">
                      <a16:creationId xmlns:a16="http://schemas.microsoft.com/office/drawing/2014/main" id="{4AC23A2E-E691-4CE0-A366-5491F41E5FCF}"/>
                    </a:ext>
                  </a:extLst>
                </p:cNvPr>
                <p:cNvSpPr/>
                <p:nvPr/>
              </p:nvSpPr>
              <p:spPr>
                <a:xfrm>
                  <a:off x="4183965" y="3763842"/>
                  <a:ext cx="18337" cy="18452"/>
                </a:xfrm>
                <a:custGeom>
                  <a:avLst/>
                  <a:gdLst>
                    <a:gd name="connsiteX0" fmla="*/ 7404 w 18337"/>
                    <a:gd name="connsiteY0" fmla="*/ 166 h 18452"/>
                    <a:gd name="connsiteX1" fmla="*/ 18170 w 18337"/>
                    <a:gd name="connsiteY1" fmla="*/ 7522 h 18452"/>
                    <a:gd name="connsiteX2" fmla="*/ 10933 w 18337"/>
                    <a:gd name="connsiteY2" fmla="*/ 18287 h 18452"/>
                    <a:gd name="connsiteX3" fmla="*/ 168 w 18337"/>
                    <a:gd name="connsiteY3" fmla="*/ 10931 h 18452"/>
                    <a:gd name="connsiteX4" fmla="*/ 7404 w 18337"/>
                    <a:gd name="connsiteY4" fmla="*/ 166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2">
                      <a:moveTo>
                        <a:pt x="7404" y="166"/>
                      </a:moveTo>
                      <a:cubicBezTo>
                        <a:pt x="12368" y="-791"/>
                        <a:pt x="17213" y="2498"/>
                        <a:pt x="18170" y="7522"/>
                      </a:cubicBezTo>
                      <a:cubicBezTo>
                        <a:pt x="19127" y="12546"/>
                        <a:pt x="15897" y="17330"/>
                        <a:pt x="10933" y="18287"/>
                      </a:cubicBezTo>
                      <a:cubicBezTo>
                        <a:pt x="5969" y="19244"/>
                        <a:pt x="1125" y="15955"/>
                        <a:pt x="168" y="10931"/>
                      </a:cubicBezTo>
                      <a:cubicBezTo>
                        <a:pt x="-789" y="5907"/>
                        <a:pt x="2441" y="1063"/>
                        <a:pt x="7404" y="166"/>
                      </a:cubicBezTo>
                      <a:close/>
                    </a:path>
                  </a:pathLst>
                </a:custGeom>
                <a:grpFill/>
                <a:ln w="5978" cap="flat">
                  <a:noFill/>
                  <a:prstDash val="solid"/>
                  <a:miter/>
                </a:ln>
              </p:spPr>
              <p:txBody>
                <a:bodyPr rtlCol="0" anchor="ctr"/>
                <a:lstStyle/>
                <a:p>
                  <a:endParaRPr lang="en-GB"/>
                </a:p>
              </p:txBody>
            </p:sp>
            <p:sp>
              <p:nvSpPr>
                <p:cNvPr id="1585" name="Vrije vorm: vorm 1584">
                  <a:extLst>
                    <a:ext uri="{FF2B5EF4-FFF2-40B4-BE49-F238E27FC236}">
                      <a16:creationId xmlns:a16="http://schemas.microsoft.com/office/drawing/2014/main" id="{DCADD65C-F177-4E20-A7DA-220B91A57293}"/>
                    </a:ext>
                  </a:extLst>
                </p:cNvPr>
                <p:cNvSpPr/>
                <p:nvPr/>
              </p:nvSpPr>
              <p:spPr>
                <a:xfrm>
                  <a:off x="4193354" y="3762047"/>
                  <a:ext cx="18337" cy="18436"/>
                </a:xfrm>
                <a:custGeom>
                  <a:avLst/>
                  <a:gdLst>
                    <a:gd name="connsiteX0" fmla="*/ 7405 w 18337"/>
                    <a:gd name="connsiteY0" fmla="*/ 166 h 18436"/>
                    <a:gd name="connsiteX1" fmla="*/ 168 w 18337"/>
                    <a:gd name="connsiteY1" fmla="*/ 10931 h 18436"/>
                    <a:gd name="connsiteX2" fmla="*/ 10933 w 18337"/>
                    <a:gd name="connsiteY2" fmla="*/ 18287 h 18436"/>
                    <a:gd name="connsiteX3" fmla="*/ 18170 w 18337"/>
                    <a:gd name="connsiteY3" fmla="*/ 7522 h 18436"/>
                    <a:gd name="connsiteX4" fmla="*/ 7405 w 18337"/>
                    <a:gd name="connsiteY4" fmla="*/ 16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7405" y="166"/>
                      </a:moveTo>
                      <a:cubicBezTo>
                        <a:pt x="2441" y="1122"/>
                        <a:pt x="-789" y="5907"/>
                        <a:pt x="168" y="10931"/>
                      </a:cubicBezTo>
                      <a:cubicBezTo>
                        <a:pt x="1125" y="15955"/>
                        <a:pt x="5969" y="19184"/>
                        <a:pt x="10933" y="18287"/>
                      </a:cubicBezTo>
                      <a:cubicBezTo>
                        <a:pt x="15897" y="17330"/>
                        <a:pt x="19127" y="12486"/>
                        <a:pt x="18170" y="7522"/>
                      </a:cubicBezTo>
                      <a:cubicBezTo>
                        <a:pt x="17153" y="2498"/>
                        <a:pt x="12369" y="-791"/>
                        <a:pt x="7405" y="166"/>
                      </a:cubicBezTo>
                      <a:close/>
                    </a:path>
                  </a:pathLst>
                </a:custGeom>
                <a:grpFill/>
                <a:ln w="5978" cap="flat">
                  <a:noFill/>
                  <a:prstDash val="solid"/>
                  <a:miter/>
                </a:ln>
              </p:spPr>
              <p:txBody>
                <a:bodyPr rtlCol="0" anchor="ctr"/>
                <a:lstStyle/>
                <a:p>
                  <a:endParaRPr lang="en-GB"/>
                </a:p>
              </p:txBody>
            </p:sp>
          </p:grpSp>
          <p:grpSp>
            <p:nvGrpSpPr>
              <p:cNvPr id="1275" name="Graphic 3">
                <a:extLst>
                  <a:ext uri="{FF2B5EF4-FFF2-40B4-BE49-F238E27FC236}">
                    <a16:creationId xmlns:a16="http://schemas.microsoft.com/office/drawing/2014/main" id="{F51CD9D0-09D9-441E-8E08-67C3A3C17EA0}"/>
                  </a:ext>
                </a:extLst>
              </p:cNvPr>
              <p:cNvGrpSpPr/>
              <p:nvPr/>
            </p:nvGrpSpPr>
            <p:grpSpPr>
              <a:xfrm>
                <a:off x="4005847" y="3372387"/>
                <a:ext cx="126613" cy="20277"/>
                <a:chOff x="4005847" y="3372387"/>
                <a:chExt cx="126613" cy="20277"/>
              </a:xfrm>
              <a:grpFill/>
            </p:grpSpPr>
            <p:sp>
              <p:nvSpPr>
                <p:cNvPr id="1581" name="Vrije vorm: vorm 1580">
                  <a:extLst>
                    <a:ext uri="{FF2B5EF4-FFF2-40B4-BE49-F238E27FC236}">
                      <a16:creationId xmlns:a16="http://schemas.microsoft.com/office/drawing/2014/main" id="{499B61A3-19C1-40AA-89AC-D165CAA1CA22}"/>
                    </a:ext>
                  </a:extLst>
                </p:cNvPr>
                <p:cNvSpPr/>
                <p:nvPr/>
              </p:nvSpPr>
              <p:spPr>
                <a:xfrm>
                  <a:off x="4014519" y="3380045"/>
                  <a:ext cx="109267" cy="4963"/>
                </a:xfrm>
                <a:custGeom>
                  <a:avLst/>
                  <a:gdLst>
                    <a:gd name="connsiteX0" fmla="*/ 109268 w 109267"/>
                    <a:gd name="connsiteY0" fmla="*/ 1914 h 4963"/>
                    <a:gd name="connsiteX1" fmla="*/ 109208 w 109267"/>
                    <a:gd name="connsiteY1" fmla="*/ 4964 h 4963"/>
                    <a:gd name="connsiteX2" fmla="*/ 0 w 109267"/>
                    <a:gd name="connsiteY2" fmla="*/ 3050 h 4963"/>
                    <a:gd name="connsiteX3" fmla="*/ 60 w 109267"/>
                    <a:gd name="connsiteY3" fmla="*/ 0 h 4963"/>
                  </a:gdLst>
                  <a:ahLst/>
                  <a:cxnLst>
                    <a:cxn ang="0">
                      <a:pos x="connsiteX0" y="connsiteY0"/>
                    </a:cxn>
                    <a:cxn ang="0">
                      <a:pos x="connsiteX1" y="connsiteY1"/>
                    </a:cxn>
                    <a:cxn ang="0">
                      <a:pos x="connsiteX2" y="connsiteY2"/>
                    </a:cxn>
                    <a:cxn ang="0">
                      <a:pos x="connsiteX3" y="connsiteY3"/>
                    </a:cxn>
                  </a:cxnLst>
                  <a:rect l="l" t="t" r="r" b="b"/>
                  <a:pathLst>
                    <a:path w="109267" h="4963">
                      <a:moveTo>
                        <a:pt x="109268" y="1914"/>
                      </a:moveTo>
                      <a:lnTo>
                        <a:pt x="109208" y="4964"/>
                      </a:lnTo>
                      <a:lnTo>
                        <a:pt x="0" y="3050"/>
                      </a:lnTo>
                      <a:lnTo>
                        <a:pt x="60" y="0"/>
                      </a:lnTo>
                      <a:close/>
                    </a:path>
                  </a:pathLst>
                </a:custGeom>
                <a:grpFill/>
                <a:ln w="5978" cap="flat">
                  <a:noFill/>
                  <a:prstDash val="solid"/>
                  <a:miter/>
                </a:ln>
              </p:spPr>
              <p:txBody>
                <a:bodyPr rtlCol="0" anchor="ctr"/>
                <a:lstStyle/>
                <a:p>
                  <a:endParaRPr lang="en-GB"/>
                </a:p>
              </p:txBody>
            </p:sp>
            <p:sp>
              <p:nvSpPr>
                <p:cNvPr id="1582" name="Vrije vorm: vorm 1581">
                  <a:extLst>
                    <a:ext uri="{FF2B5EF4-FFF2-40B4-BE49-F238E27FC236}">
                      <a16:creationId xmlns:a16="http://schemas.microsoft.com/office/drawing/2014/main" id="{C232E198-72C2-401B-BCBC-FC14B00BA024}"/>
                    </a:ext>
                  </a:extLst>
                </p:cNvPr>
                <p:cNvSpPr/>
                <p:nvPr/>
              </p:nvSpPr>
              <p:spPr>
                <a:xfrm>
                  <a:off x="4005847" y="3372387"/>
                  <a:ext cx="18302" cy="18423"/>
                </a:xfrm>
                <a:custGeom>
                  <a:avLst/>
                  <a:gdLst>
                    <a:gd name="connsiteX0" fmla="*/ 9031 w 18302"/>
                    <a:gd name="connsiteY0" fmla="*/ 18423 h 18423"/>
                    <a:gd name="connsiteX1" fmla="*/ 1 w 18302"/>
                    <a:gd name="connsiteY1" fmla="*/ 9033 h 18423"/>
                    <a:gd name="connsiteX2" fmla="*/ 9271 w 18302"/>
                    <a:gd name="connsiteY2" fmla="*/ 3 h 18423"/>
                    <a:gd name="connsiteX3" fmla="*/ 18302 w 18302"/>
                    <a:gd name="connsiteY3" fmla="*/ 9392 h 18423"/>
                    <a:gd name="connsiteX4" fmla="*/ 9031 w 18302"/>
                    <a:gd name="connsiteY4" fmla="*/ 18423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3">
                      <a:moveTo>
                        <a:pt x="9031" y="18423"/>
                      </a:moveTo>
                      <a:cubicBezTo>
                        <a:pt x="3948" y="18363"/>
                        <a:pt x="-59" y="14117"/>
                        <a:pt x="1" y="9033"/>
                      </a:cubicBezTo>
                      <a:cubicBezTo>
                        <a:pt x="60" y="3950"/>
                        <a:pt x="4247" y="-117"/>
                        <a:pt x="9271" y="3"/>
                      </a:cubicBezTo>
                      <a:cubicBezTo>
                        <a:pt x="14294" y="122"/>
                        <a:pt x="18361" y="4309"/>
                        <a:pt x="18302" y="9392"/>
                      </a:cubicBezTo>
                      <a:cubicBezTo>
                        <a:pt x="18242" y="14476"/>
                        <a:pt x="14115" y="18483"/>
                        <a:pt x="9031" y="18423"/>
                      </a:cubicBezTo>
                      <a:close/>
                    </a:path>
                  </a:pathLst>
                </a:custGeom>
                <a:grpFill/>
                <a:ln w="5978" cap="flat">
                  <a:noFill/>
                  <a:prstDash val="solid"/>
                  <a:miter/>
                </a:ln>
              </p:spPr>
              <p:txBody>
                <a:bodyPr rtlCol="0" anchor="ctr"/>
                <a:lstStyle/>
                <a:p>
                  <a:endParaRPr lang="en-GB"/>
                </a:p>
              </p:txBody>
            </p:sp>
            <p:sp>
              <p:nvSpPr>
                <p:cNvPr id="1583" name="Vrije vorm: vorm 1582">
                  <a:extLst>
                    <a:ext uri="{FF2B5EF4-FFF2-40B4-BE49-F238E27FC236}">
                      <a16:creationId xmlns:a16="http://schemas.microsoft.com/office/drawing/2014/main" id="{63521EBE-7F16-4483-B845-D870F7127523}"/>
                    </a:ext>
                  </a:extLst>
                </p:cNvPr>
                <p:cNvSpPr/>
                <p:nvPr/>
              </p:nvSpPr>
              <p:spPr>
                <a:xfrm>
                  <a:off x="4114157" y="3374243"/>
                  <a:ext cx="18302" cy="18421"/>
                </a:xfrm>
                <a:custGeom>
                  <a:avLst/>
                  <a:gdLst>
                    <a:gd name="connsiteX0" fmla="*/ 9032 w 18302"/>
                    <a:gd name="connsiteY0" fmla="*/ 18421 h 18421"/>
                    <a:gd name="connsiteX1" fmla="*/ 18302 w 18302"/>
                    <a:gd name="connsiteY1" fmla="*/ 9390 h 18421"/>
                    <a:gd name="connsiteX2" fmla="*/ 9271 w 18302"/>
                    <a:gd name="connsiteY2" fmla="*/ 1 h 18421"/>
                    <a:gd name="connsiteX3" fmla="*/ 1 w 18302"/>
                    <a:gd name="connsiteY3" fmla="*/ 9031 h 18421"/>
                    <a:gd name="connsiteX4" fmla="*/ 9032 w 18302"/>
                    <a:gd name="connsiteY4" fmla="*/ 184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2" y="18421"/>
                      </a:moveTo>
                      <a:cubicBezTo>
                        <a:pt x="14115" y="18481"/>
                        <a:pt x="18242" y="14474"/>
                        <a:pt x="18302" y="9390"/>
                      </a:cubicBezTo>
                      <a:cubicBezTo>
                        <a:pt x="18362" y="4307"/>
                        <a:pt x="14295" y="120"/>
                        <a:pt x="9271" y="1"/>
                      </a:cubicBezTo>
                      <a:cubicBezTo>
                        <a:pt x="4187" y="-59"/>
                        <a:pt x="61" y="3948"/>
                        <a:pt x="1" y="9031"/>
                      </a:cubicBezTo>
                      <a:cubicBezTo>
                        <a:pt x="-59" y="14175"/>
                        <a:pt x="3948" y="18361"/>
                        <a:pt x="9032" y="18421"/>
                      </a:cubicBezTo>
                      <a:close/>
                    </a:path>
                  </a:pathLst>
                </a:custGeom>
                <a:grpFill/>
                <a:ln w="5978" cap="flat">
                  <a:noFill/>
                  <a:prstDash val="solid"/>
                  <a:miter/>
                </a:ln>
              </p:spPr>
              <p:txBody>
                <a:bodyPr rtlCol="0" anchor="ctr"/>
                <a:lstStyle/>
                <a:p>
                  <a:endParaRPr lang="en-GB"/>
                </a:p>
              </p:txBody>
            </p:sp>
          </p:grpSp>
          <p:grpSp>
            <p:nvGrpSpPr>
              <p:cNvPr id="1276" name="Graphic 3">
                <a:extLst>
                  <a:ext uri="{FF2B5EF4-FFF2-40B4-BE49-F238E27FC236}">
                    <a16:creationId xmlns:a16="http://schemas.microsoft.com/office/drawing/2014/main" id="{786AE312-C725-461F-838E-0DA058F96916}"/>
                  </a:ext>
                </a:extLst>
              </p:cNvPr>
              <p:cNvGrpSpPr/>
              <p:nvPr/>
            </p:nvGrpSpPr>
            <p:grpSpPr>
              <a:xfrm>
                <a:off x="4015246" y="3817426"/>
                <a:ext cx="408644" cy="77369"/>
                <a:chOff x="4015246" y="3817426"/>
                <a:chExt cx="408644" cy="77369"/>
              </a:xfrm>
              <a:grpFill/>
            </p:grpSpPr>
            <p:sp>
              <p:nvSpPr>
                <p:cNvPr id="1578" name="Vrije vorm: vorm 1577">
                  <a:extLst>
                    <a:ext uri="{FF2B5EF4-FFF2-40B4-BE49-F238E27FC236}">
                      <a16:creationId xmlns:a16="http://schemas.microsoft.com/office/drawing/2014/main" id="{FEA96873-2D76-44DD-A2AD-A9B360E5C23E}"/>
                    </a:ext>
                  </a:extLst>
                </p:cNvPr>
                <p:cNvSpPr/>
                <p:nvPr/>
              </p:nvSpPr>
              <p:spPr>
                <a:xfrm>
                  <a:off x="4023730" y="3825070"/>
                  <a:ext cx="391677" cy="62139"/>
                </a:xfrm>
                <a:custGeom>
                  <a:avLst/>
                  <a:gdLst>
                    <a:gd name="connsiteX0" fmla="*/ 391199 w 391677"/>
                    <a:gd name="connsiteY0" fmla="*/ 0 h 62139"/>
                    <a:gd name="connsiteX1" fmla="*/ 391677 w 391677"/>
                    <a:gd name="connsiteY1" fmla="*/ 2990 h 62139"/>
                    <a:gd name="connsiteX2" fmla="*/ 478 w 391677"/>
                    <a:gd name="connsiteY2" fmla="*/ 62140 h 62139"/>
                    <a:gd name="connsiteX3" fmla="*/ 0 w 391677"/>
                    <a:gd name="connsiteY3" fmla="*/ 59090 h 62139"/>
                  </a:gdLst>
                  <a:ahLst/>
                  <a:cxnLst>
                    <a:cxn ang="0">
                      <a:pos x="connsiteX0" y="connsiteY0"/>
                    </a:cxn>
                    <a:cxn ang="0">
                      <a:pos x="connsiteX1" y="connsiteY1"/>
                    </a:cxn>
                    <a:cxn ang="0">
                      <a:pos x="connsiteX2" y="connsiteY2"/>
                    </a:cxn>
                    <a:cxn ang="0">
                      <a:pos x="connsiteX3" y="connsiteY3"/>
                    </a:cxn>
                  </a:cxnLst>
                  <a:rect l="l" t="t" r="r" b="b"/>
                  <a:pathLst>
                    <a:path w="391677" h="62139">
                      <a:moveTo>
                        <a:pt x="391199" y="0"/>
                      </a:moveTo>
                      <a:lnTo>
                        <a:pt x="391677" y="2990"/>
                      </a:lnTo>
                      <a:lnTo>
                        <a:pt x="478" y="62140"/>
                      </a:lnTo>
                      <a:lnTo>
                        <a:pt x="0" y="59090"/>
                      </a:lnTo>
                      <a:close/>
                    </a:path>
                  </a:pathLst>
                </a:custGeom>
                <a:grpFill/>
                <a:ln w="5978" cap="flat">
                  <a:noFill/>
                  <a:prstDash val="solid"/>
                  <a:miter/>
                </a:ln>
              </p:spPr>
              <p:txBody>
                <a:bodyPr rtlCol="0" anchor="ctr"/>
                <a:lstStyle/>
                <a:p>
                  <a:endParaRPr lang="en-GB"/>
                </a:p>
              </p:txBody>
            </p:sp>
            <p:sp>
              <p:nvSpPr>
                <p:cNvPr id="1579" name="Vrije vorm: vorm 1578">
                  <a:extLst>
                    <a:ext uri="{FF2B5EF4-FFF2-40B4-BE49-F238E27FC236}">
                      <a16:creationId xmlns:a16="http://schemas.microsoft.com/office/drawing/2014/main" id="{5447B4E3-3475-45F7-8B7C-8138DE9DE767}"/>
                    </a:ext>
                  </a:extLst>
                </p:cNvPr>
                <p:cNvSpPr/>
                <p:nvPr/>
              </p:nvSpPr>
              <p:spPr>
                <a:xfrm>
                  <a:off x="4405549" y="3817426"/>
                  <a:ext cx="18340" cy="18399"/>
                </a:xfrm>
                <a:custGeom>
                  <a:avLst/>
                  <a:gdLst>
                    <a:gd name="connsiteX0" fmla="*/ 7764 w 18340"/>
                    <a:gd name="connsiteY0" fmla="*/ 109 h 18399"/>
                    <a:gd name="connsiteX1" fmla="*/ 18230 w 18340"/>
                    <a:gd name="connsiteY1" fmla="*/ 7824 h 18399"/>
                    <a:gd name="connsiteX2" fmla="*/ 10575 w 18340"/>
                    <a:gd name="connsiteY2" fmla="*/ 18290 h 18399"/>
                    <a:gd name="connsiteX3" fmla="*/ 109 w 18340"/>
                    <a:gd name="connsiteY3" fmla="*/ 10575 h 18399"/>
                    <a:gd name="connsiteX4" fmla="*/ 7764 w 18340"/>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9">
                      <a:moveTo>
                        <a:pt x="7764" y="109"/>
                      </a:moveTo>
                      <a:cubicBezTo>
                        <a:pt x="12788" y="-668"/>
                        <a:pt x="17453" y="2800"/>
                        <a:pt x="18230" y="7824"/>
                      </a:cubicBezTo>
                      <a:cubicBezTo>
                        <a:pt x="19008" y="12848"/>
                        <a:pt x="15599" y="17573"/>
                        <a:pt x="10575" y="18290"/>
                      </a:cubicBezTo>
                      <a:cubicBezTo>
                        <a:pt x="5551" y="19068"/>
                        <a:pt x="887" y="15599"/>
                        <a:pt x="109" y="10575"/>
                      </a:cubicBezTo>
                      <a:cubicBezTo>
                        <a:pt x="-669" y="5552"/>
                        <a:pt x="2800" y="886"/>
                        <a:pt x="7764" y="109"/>
                      </a:cubicBezTo>
                      <a:close/>
                    </a:path>
                  </a:pathLst>
                </a:custGeom>
                <a:grpFill/>
                <a:ln w="5978" cap="flat">
                  <a:noFill/>
                  <a:prstDash val="solid"/>
                  <a:miter/>
                </a:ln>
              </p:spPr>
              <p:txBody>
                <a:bodyPr rtlCol="0" anchor="ctr"/>
                <a:lstStyle/>
                <a:p>
                  <a:endParaRPr lang="en-GB"/>
                </a:p>
              </p:txBody>
            </p:sp>
            <p:sp>
              <p:nvSpPr>
                <p:cNvPr id="1580" name="Vrije vorm: vorm 1579">
                  <a:extLst>
                    <a:ext uri="{FF2B5EF4-FFF2-40B4-BE49-F238E27FC236}">
                      <a16:creationId xmlns:a16="http://schemas.microsoft.com/office/drawing/2014/main" id="{F35C4A3C-7560-45B9-999E-BDE199C4905F}"/>
                    </a:ext>
                  </a:extLst>
                </p:cNvPr>
                <p:cNvSpPr/>
                <p:nvPr/>
              </p:nvSpPr>
              <p:spPr>
                <a:xfrm>
                  <a:off x="4015246" y="3876396"/>
                  <a:ext cx="18342" cy="18399"/>
                </a:xfrm>
                <a:custGeom>
                  <a:avLst/>
                  <a:gdLst>
                    <a:gd name="connsiteX0" fmla="*/ 7766 w 18342"/>
                    <a:gd name="connsiteY0" fmla="*/ 109 h 18399"/>
                    <a:gd name="connsiteX1" fmla="*/ 110 w 18342"/>
                    <a:gd name="connsiteY1" fmla="*/ 10575 h 18399"/>
                    <a:gd name="connsiteX2" fmla="*/ 10577 w 18342"/>
                    <a:gd name="connsiteY2" fmla="*/ 18290 h 18399"/>
                    <a:gd name="connsiteX3" fmla="*/ 18232 w 18342"/>
                    <a:gd name="connsiteY3" fmla="*/ 7824 h 18399"/>
                    <a:gd name="connsiteX4" fmla="*/ 7766 w 18342"/>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9">
                      <a:moveTo>
                        <a:pt x="7766" y="109"/>
                      </a:moveTo>
                      <a:cubicBezTo>
                        <a:pt x="2742" y="886"/>
                        <a:pt x="-667" y="5551"/>
                        <a:pt x="110" y="10575"/>
                      </a:cubicBezTo>
                      <a:cubicBezTo>
                        <a:pt x="888" y="15599"/>
                        <a:pt x="5553" y="19068"/>
                        <a:pt x="10577" y="18290"/>
                      </a:cubicBezTo>
                      <a:cubicBezTo>
                        <a:pt x="15601" y="17513"/>
                        <a:pt x="19010" y="12848"/>
                        <a:pt x="18232" y="7824"/>
                      </a:cubicBezTo>
                      <a:cubicBezTo>
                        <a:pt x="17455" y="2800"/>
                        <a:pt x="12790" y="-669"/>
                        <a:pt x="7766" y="109"/>
                      </a:cubicBezTo>
                      <a:close/>
                    </a:path>
                  </a:pathLst>
                </a:custGeom>
                <a:grpFill/>
                <a:ln w="5978" cap="flat">
                  <a:noFill/>
                  <a:prstDash val="solid"/>
                  <a:miter/>
                </a:ln>
              </p:spPr>
              <p:txBody>
                <a:bodyPr rtlCol="0" anchor="ctr"/>
                <a:lstStyle/>
                <a:p>
                  <a:endParaRPr lang="en-GB"/>
                </a:p>
              </p:txBody>
            </p:sp>
          </p:grpSp>
          <p:grpSp>
            <p:nvGrpSpPr>
              <p:cNvPr id="1277" name="Graphic 3">
                <a:extLst>
                  <a:ext uri="{FF2B5EF4-FFF2-40B4-BE49-F238E27FC236}">
                    <a16:creationId xmlns:a16="http://schemas.microsoft.com/office/drawing/2014/main" id="{428020DA-694F-4275-ADC6-9B9EC97145E8}"/>
                  </a:ext>
                </a:extLst>
              </p:cNvPr>
              <p:cNvGrpSpPr/>
              <p:nvPr/>
            </p:nvGrpSpPr>
            <p:grpSpPr>
              <a:xfrm>
                <a:off x="4121344" y="3689558"/>
                <a:ext cx="96570" cy="30300"/>
                <a:chOff x="4121344" y="3689558"/>
                <a:chExt cx="96570" cy="30300"/>
              </a:xfrm>
              <a:grpFill/>
            </p:grpSpPr>
            <p:sp>
              <p:nvSpPr>
                <p:cNvPr id="1575" name="Vrije vorm: vorm 1574">
                  <a:extLst>
                    <a:ext uri="{FF2B5EF4-FFF2-40B4-BE49-F238E27FC236}">
                      <a16:creationId xmlns:a16="http://schemas.microsoft.com/office/drawing/2014/main" id="{61D9492F-3931-4CDF-B66D-7DDCE73CC63A}"/>
                    </a:ext>
                  </a:extLst>
                </p:cNvPr>
                <p:cNvSpPr/>
                <p:nvPr/>
              </p:nvSpPr>
              <p:spPr>
                <a:xfrm>
                  <a:off x="4129828" y="3697143"/>
                  <a:ext cx="79543" cy="15071"/>
                </a:xfrm>
                <a:custGeom>
                  <a:avLst/>
                  <a:gdLst>
                    <a:gd name="connsiteX0" fmla="*/ 79125 w 79543"/>
                    <a:gd name="connsiteY0" fmla="*/ 0 h 15071"/>
                    <a:gd name="connsiteX1" fmla="*/ 79544 w 79543"/>
                    <a:gd name="connsiteY1" fmla="*/ 3050 h 15071"/>
                    <a:gd name="connsiteX2" fmla="*/ 479 w 79543"/>
                    <a:gd name="connsiteY2" fmla="*/ 15071 h 15071"/>
                    <a:gd name="connsiteX3" fmla="*/ 0 w 79543"/>
                    <a:gd name="connsiteY3" fmla="*/ 12081 h 15071"/>
                  </a:gdLst>
                  <a:ahLst/>
                  <a:cxnLst>
                    <a:cxn ang="0">
                      <a:pos x="connsiteX0" y="connsiteY0"/>
                    </a:cxn>
                    <a:cxn ang="0">
                      <a:pos x="connsiteX1" y="connsiteY1"/>
                    </a:cxn>
                    <a:cxn ang="0">
                      <a:pos x="connsiteX2" y="connsiteY2"/>
                    </a:cxn>
                    <a:cxn ang="0">
                      <a:pos x="connsiteX3" y="connsiteY3"/>
                    </a:cxn>
                  </a:cxnLst>
                  <a:rect l="l" t="t" r="r" b="b"/>
                  <a:pathLst>
                    <a:path w="79543" h="15071">
                      <a:moveTo>
                        <a:pt x="79125" y="0"/>
                      </a:moveTo>
                      <a:lnTo>
                        <a:pt x="79544" y="3050"/>
                      </a:lnTo>
                      <a:lnTo>
                        <a:pt x="479" y="15071"/>
                      </a:lnTo>
                      <a:lnTo>
                        <a:pt x="0" y="12081"/>
                      </a:lnTo>
                      <a:close/>
                    </a:path>
                  </a:pathLst>
                </a:custGeom>
                <a:grpFill/>
                <a:ln w="5978" cap="flat">
                  <a:noFill/>
                  <a:prstDash val="solid"/>
                  <a:miter/>
                </a:ln>
              </p:spPr>
              <p:txBody>
                <a:bodyPr rtlCol="0" anchor="ctr"/>
                <a:lstStyle/>
                <a:p>
                  <a:endParaRPr lang="en-GB"/>
                </a:p>
              </p:txBody>
            </p:sp>
            <p:sp>
              <p:nvSpPr>
                <p:cNvPr id="1576" name="Vrije vorm: vorm 1575">
                  <a:extLst>
                    <a:ext uri="{FF2B5EF4-FFF2-40B4-BE49-F238E27FC236}">
                      <a16:creationId xmlns:a16="http://schemas.microsoft.com/office/drawing/2014/main" id="{243DA4AC-B051-416F-A7E5-9291E7469063}"/>
                    </a:ext>
                  </a:extLst>
                </p:cNvPr>
                <p:cNvSpPr/>
                <p:nvPr/>
              </p:nvSpPr>
              <p:spPr>
                <a:xfrm>
                  <a:off x="4121344" y="3701459"/>
                  <a:ext cx="18341" cy="18399"/>
                </a:xfrm>
                <a:custGeom>
                  <a:avLst/>
                  <a:gdLst>
                    <a:gd name="connsiteX0" fmla="*/ 10577 w 18341"/>
                    <a:gd name="connsiteY0" fmla="*/ 18290 h 18399"/>
                    <a:gd name="connsiteX1" fmla="*/ 110 w 18341"/>
                    <a:gd name="connsiteY1" fmla="*/ 10575 h 18399"/>
                    <a:gd name="connsiteX2" fmla="*/ 7766 w 18341"/>
                    <a:gd name="connsiteY2" fmla="*/ 109 h 18399"/>
                    <a:gd name="connsiteX3" fmla="*/ 18232 w 18341"/>
                    <a:gd name="connsiteY3" fmla="*/ 7824 h 18399"/>
                    <a:gd name="connsiteX4" fmla="*/ 10577 w 18341"/>
                    <a:gd name="connsiteY4" fmla="*/ 1829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9">
                      <a:moveTo>
                        <a:pt x="10577" y="18290"/>
                      </a:moveTo>
                      <a:cubicBezTo>
                        <a:pt x="5553" y="19068"/>
                        <a:pt x="888" y="15599"/>
                        <a:pt x="110" y="10575"/>
                      </a:cubicBezTo>
                      <a:cubicBezTo>
                        <a:pt x="-667" y="5551"/>
                        <a:pt x="2742" y="827"/>
                        <a:pt x="7766" y="109"/>
                      </a:cubicBezTo>
                      <a:cubicBezTo>
                        <a:pt x="12790" y="-668"/>
                        <a:pt x="17455" y="2800"/>
                        <a:pt x="18232" y="7824"/>
                      </a:cubicBezTo>
                      <a:cubicBezTo>
                        <a:pt x="19010" y="12848"/>
                        <a:pt x="15541" y="17513"/>
                        <a:pt x="10577" y="18290"/>
                      </a:cubicBezTo>
                      <a:close/>
                    </a:path>
                  </a:pathLst>
                </a:custGeom>
                <a:grpFill/>
                <a:ln w="5978" cap="flat">
                  <a:noFill/>
                  <a:prstDash val="solid"/>
                  <a:miter/>
                </a:ln>
              </p:spPr>
              <p:txBody>
                <a:bodyPr rtlCol="0" anchor="ctr"/>
                <a:lstStyle/>
                <a:p>
                  <a:endParaRPr lang="en-GB"/>
                </a:p>
              </p:txBody>
            </p:sp>
            <p:sp>
              <p:nvSpPr>
                <p:cNvPr id="1577" name="Vrije vorm: vorm 1576">
                  <a:extLst>
                    <a:ext uri="{FF2B5EF4-FFF2-40B4-BE49-F238E27FC236}">
                      <a16:creationId xmlns:a16="http://schemas.microsoft.com/office/drawing/2014/main" id="{C9891A63-B4E2-4164-87EB-3000B6056C46}"/>
                    </a:ext>
                  </a:extLst>
                </p:cNvPr>
                <p:cNvSpPr/>
                <p:nvPr/>
              </p:nvSpPr>
              <p:spPr>
                <a:xfrm>
                  <a:off x="4199572" y="3689558"/>
                  <a:ext cx="18342" cy="18385"/>
                </a:xfrm>
                <a:custGeom>
                  <a:avLst/>
                  <a:gdLst>
                    <a:gd name="connsiteX0" fmla="*/ 10577 w 18342"/>
                    <a:gd name="connsiteY0" fmla="*/ 18290 h 18385"/>
                    <a:gd name="connsiteX1" fmla="*/ 18232 w 18342"/>
                    <a:gd name="connsiteY1" fmla="*/ 7824 h 18385"/>
                    <a:gd name="connsiteX2" fmla="*/ 7766 w 18342"/>
                    <a:gd name="connsiteY2" fmla="*/ 109 h 18385"/>
                    <a:gd name="connsiteX3" fmla="*/ 110 w 18342"/>
                    <a:gd name="connsiteY3" fmla="*/ 10575 h 18385"/>
                    <a:gd name="connsiteX4" fmla="*/ 10577 w 18342"/>
                    <a:gd name="connsiteY4" fmla="*/ 18290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85">
                      <a:moveTo>
                        <a:pt x="10577" y="18290"/>
                      </a:moveTo>
                      <a:cubicBezTo>
                        <a:pt x="15601" y="17513"/>
                        <a:pt x="19009" y="12848"/>
                        <a:pt x="18232" y="7824"/>
                      </a:cubicBezTo>
                      <a:cubicBezTo>
                        <a:pt x="17455" y="2800"/>
                        <a:pt x="12790" y="-669"/>
                        <a:pt x="7766" y="109"/>
                      </a:cubicBezTo>
                      <a:cubicBezTo>
                        <a:pt x="2742" y="886"/>
                        <a:pt x="-667" y="5551"/>
                        <a:pt x="110" y="10575"/>
                      </a:cubicBezTo>
                      <a:cubicBezTo>
                        <a:pt x="888" y="15599"/>
                        <a:pt x="5553" y="19008"/>
                        <a:pt x="10577" y="18290"/>
                      </a:cubicBezTo>
                      <a:close/>
                    </a:path>
                  </a:pathLst>
                </a:custGeom>
                <a:grpFill/>
                <a:ln w="5978" cap="flat">
                  <a:noFill/>
                  <a:prstDash val="solid"/>
                  <a:miter/>
                </a:ln>
              </p:spPr>
              <p:txBody>
                <a:bodyPr rtlCol="0" anchor="ctr"/>
                <a:lstStyle/>
                <a:p>
                  <a:endParaRPr lang="en-GB"/>
                </a:p>
              </p:txBody>
            </p:sp>
          </p:grpSp>
          <p:grpSp>
            <p:nvGrpSpPr>
              <p:cNvPr id="1278" name="Graphic 3">
                <a:extLst>
                  <a:ext uri="{FF2B5EF4-FFF2-40B4-BE49-F238E27FC236}">
                    <a16:creationId xmlns:a16="http://schemas.microsoft.com/office/drawing/2014/main" id="{44B74EBE-109A-4B14-99D0-CBD8B444941B}"/>
                  </a:ext>
                </a:extLst>
              </p:cNvPr>
              <p:cNvGrpSpPr/>
              <p:nvPr/>
            </p:nvGrpSpPr>
            <p:grpSpPr>
              <a:xfrm>
                <a:off x="3786541" y="3155954"/>
                <a:ext cx="412057" cy="62256"/>
                <a:chOff x="3786541" y="3155954"/>
                <a:chExt cx="412057" cy="62256"/>
              </a:xfrm>
              <a:grpFill/>
            </p:grpSpPr>
            <p:sp>
              <p:nvSpPr>
                <p:cNvPr id="1572" name="Vrije vorm: vorm 1571">
                  <a:extLst>
                    <a:ext uri="{FF2B5EF4-FFF2-40B4-BE49-F238E27FC236}">
                      <a16:creationId xmlns:a16="http://schemas.microsoft.com/office/drawing/2014/main" id="{135F63B6-0C67-492C-BA2A-6E663C48A456}"/>
                    </a:ext>
                  </a:extLst>
                </p:cNvPr>
                <p:cNvSpPr/>
                <p:nvPr/>
              </p:nvSpPr>
              <p:spPr>
                <a:xfrm>
                  <a:off x="3795146" y="3163543"/>
                  <a:ext cx="394907" cy="47068"/>
                </a:xfrm>
                <a:custGeom>
                  <a:avLst/>
                  <a:gdLst>
                    <a:gd name="connsiteX0" fmla="*/ 394907 w 394907"/>
                    <a:gd name="connsiteY0" fmla="*/ 44018 h 47068"/>
                    <a:gd name="connsiteX1" fmla="*/ 394548 w 394907"/>
                    <a:gd name="connsiteY1" fmla="*/ 47068 h 47068"/>
                    <a:gd name="connsiteX2" fmla="*/ 0 w 394907"/>
                    <a:gd name="connsiteY2" fmla="*/ 3050 h 47068"/>
                    <a:gd name="connsiteX3" fmla="*/ 299 w 394907"/>
                    <a:gd name="connsiteY3" fmla="*/ 0 h 47068"/>
                  </a:gdLst>
                  <a:ahLst/>
                  <a:cxnLst>
                    <a:cxn ang="0">
                      <a:pos x="connsiteX0" y="connsiteY0"/>
                    </a:cxn>
                    <a:cxn ang="0">
                      <a:pos x="connsiteX1" y="connsiteY1"/>
                    </a:cxn>
                    <a:cxn ang="0">
                      <a:pos x="connsiteX2" y="connsiteY2"/>
                    </a:cxn>
                    <a:cxn ang="0">
                      <a:pos x="connsiteX3" y="connsiteY3"/>
                    </a:cxn>
                  </a:cxnLst>
                  <a:rect l="l" t="t" r="r" b="b"/>
                  <a:pathLst>
                    <a:path w="394907" h="47068">
                      <a:moveTo>
                        <a:pt x="394907" y="44018"/>
                      </a:moveTo>
                      <a:lnTo>
                        <a:pt x="394548" y="47068"/>
                      </a:lnTo>
                      <a:lnTo>
                        <a:pt x="0" y="3050"/>
                      </a:lnTo>
                      <a:lnTo>
                        <a:pt x="299" y="0"/>
                      </a:lnTo>
                      <a:close/>
                    </a:path>
                  </a:pathLst>
                </a:custGeom>
                <a:grpFill/>
                <a:ln w="5978" cap="flat">
                  <a:noFill/>
                  <a:prstDash val="solid"/>
                  <a:miter/>
                </a:ln>
              </p:spPr>
              <p:txBody>
                <a:bodyPr rtlCol="0" anchor="ctr"/>
                <a:lstStyle/>
                <a:p>
                  <a:endParaRPr lang="en-GB"/>
                </a:p>
              </p:txBody>
            </p:sp>
            <p:sp>
              <p:nvSpPr>
                <p:cNvPr id="1573" name="Vrije vorm: vorm 1572">
                  <a:extLst>
                    <a:ext uri="{FF2B5EF4-FFF2-40B4-BE49-F238E27FC236}">
                      <a16:creationId xmlns:a16="http://schemas.microsoft.com/office/drawing/2014/main" id="{AD09AE65-A7EC-42CA-8377-404697F12E42}"/>
                    </a:ext>
                  </a:extLst>
                </p:cNvPr>
                <p:cNvSpPr/>
                <p:nvPr/>
              </p:nvSpPr>
              <p:spPr>
                <a:xfrm>
                  <a:off x="4180252" y="3199793"/>
                  <a:ext cx="18346" cy="18417"/>
                </a:xfrm>
                <a:custGeom>
                  <a:avLst/>
                  <a:gdLst>
                    <a:gd name="connsiteX0" fmla="*/ 10160 w 18346"/>
                    <a:gd name="connsiteY0" fmla="*/ 53 h 18417"/>
                    <a:gd name="connsiteX1" fmla="*/ 18294 w 18346"/>
                    <a:gd name="connsiteY1" fmla="*/ 10220 h 18417"/>
                    <a:gd name="connsiteX2" fmla="*/ 8186 w 18346"/>
                    <a:gd name="connsiteY2" fmla="*/ 18354 h 18417"/>
                    <a:gd name="connsiteX3" fmla="*/ 53 w 18346"/>
                    <a:gd name="connsiteY3" fmla="*/ 8186 h 18417"/>
                    <a:gd name="connsiteX4" fmla="*/ 10160 w 18346"/>
                    <a:gd name="connsiteY4" fmla="*/ 53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7">
                      <a:moveTo>
                        <a:pt x="10160" y="53"/>
                      </a:moveTo>
                      <a:cubicBezTo>
                        <a:pt x="15184" y="591"/>
                        <a:pt x="18832" y="5196"/>
                        <a:pt x="18294" y="10220"/>
                      </a:cubicBezTo>
                      <a:cubicBezTo>
                        <a:pt x="17755" y="15303"/>
                        <a:pt x="13210" y="18952"/>
                        <a:pt x="8186" y="18354"/>
                      </a:cubicBezTo>
                      <a:cubicBezTo>
                        <a:pt x="3163" y="17815"/>
                        <a:pt x="-486" y="13210"/>
                        <a:pt x="53" y="8186"/>
                      </a:cubicBezTo>
                      <a:cubicBezTo>
                        <a:pt x="591" y="3163"/>
                        <a:pt x="5136" y="-486"/>
                        <a:pt x="10160" y="53"/>
                      </a:cubicBezTo>
                      <a:close/>
                    </a:path>
                  </a:pathLst>
                </a:custGeom>
                <a:grpFill/>
                <a:ln w="5978" cap="flat">
                  <a:noFill/>
                  <a:prstDash val="solid"/>
                  <a:miter/>
                </a:ln>
              </p:spPr>
              <p:txBody>
                <a:bodyPr rtlCol="0" anchor="ctr"/>
                <a:lstStyle/>
                <a:p>
                  <a:endParaRPr lang="en-GB"/>
                </a:p>
              </p:txBody>
            </p:sp>
            <p:sp>
              <p:nvSpPr>
                <p:cNvPr id="1574" name="Vrije vorm: vorm 1573">
                  <a:extLst>
                    <a:ext uri="{FF2B5EF4-FFF2-40B4-BE49-F238E27FC236}">
                      <a16:creationId xmlns:a16="http://schemas.microsoft.com/office/drawing/2014/main" id="{18D169E5-2104-473C-B3FD-6F3800A9A069}"/>
                    </a:ext>
                  </a:extLst>
                </p:cNvPr>
                <p:cNvSpPr/>
                <p:nvPr/>
              </p:nvSpPr>
              <p:spPr>
                <a:xfrm>
                  <a:off x="3786541" y="3155954"/>
                  <a:ext cx="18346" cy="18406"/>
                </a:xfrm>
                <a:custGeom>
                  <a:avLst/>
                  <a:gdLst>
                    <a:gd name="connsiteX0" fmla="*/ 10160 w 18346"/>
                    <a:gd name="connsiteY0" fmla="*/ 53 h 18406"/>
                    <a:gd name="connsiteX1" fmla="*/ 53 w 18346"/>
                    <a:gd name="connsiteY1" fmla="*/ 8187 h 18406"/>
                    <a:gd name="connsiteX2" fmla="*/ 8186 w 18346"/>
                    <a:gd name="connsiteY2" fmla="*/ 18354 h 18406"/>
                    <a:gd name="connsiteX3" fmla="*/ 18294 w 18346"/>
                    <a:gd name="connsiteY3" fmla="*/ 10220 h 18406"/>
                    <a:gd name="connsiteX4" fmla="*/ 10160 w 18346"/>
                    <a:gd name="connsiteY4" fmla="*/ 5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6">
                      <a:moveTo>
                        <a:pt x="10160" y="53"/>
                      </a:moveTo>
                      <a:cubicBezTo>
                        <a:pt x="5136" y="-486"/>
                        <a:pt x="591" y="3163"/>
                        <a:pt x="53" y="8187"/>
                      </a:cubicBezTo>
                      <a:cubicBezTo>
                        <a:pt x="-485" y="13270"/>
                        <a:pt x="3163" y="17815"/>
                        <a:pt x="8186" y="18354"/>
                      </a:cubicBezTo>
                      <a:cubicBezTo>
                        <a:pt x="13210" y="18892"/>
                        <a:pt x="17756" y="15244"/>
                        <a:pt x="18294" y="10220"/>
                      </a:cubicBezTo>
                      <a:cubicBezTo>
                        <a:pt x="18832" y="5136"/>
                        <a:pt x="15184" y="591"/>
                        <a:pt x="10160" y="53"/>
                      </a:cubicBezTo>
                      <a:close/>
                    </a:path>
                  </a:pathLst>
                </a:custGeom>
                <a:grpFill/>
                <a:ln w="5978" cap="flat">
                  <a:noFill/>
                  <a:prstDash val="solid"/>
                  <a:miter/>
                </a:ln>
              </p:spPr>
              <p:txBody>
                <a:bodyPr rtlCol="0" anchor="ctr"/>
                <a:lstStyle/>
                <a:p>
                  <a:endParaRPr lang="en-GB"/>
                </a:p>
              </p:txBody>
            </p:sp>
          </p:grpSp>
          <p:grpSp>
            <p:nvGrpSpPr>
              <p:cNvPr id="1279" name="Graphic 3">
                <a:extLst>
                  <a:ext uri="{FF2B5EF4-FFF2-40B4-BE49-F238E27FC236}">
                    <a16:creationId xmlns:a16="http://schemas.microsoft.com/office/drawing/2014/main" id="{B9435091-6FA4-4A01-9253-B630958003A8}"/>
                  </a:ext>
                </a:extLst>
              </p:cNvPr>
              <p:cNvGrpSpPr/>
              <p:nvPr/>
            </p:nvGrpSpPr>
            <p:grpSpPr>
              <a:xfrm>
                <a:off x="4428175" y="4600777"/>
                <a:ext cx="92429" cy="75734"/>
                <a:chOff x="4428175" y="4600777"/>
                <a:chExt cx="92429" cy="75734"/>
              </a:xfrm>
              <a:grpFill/>
            </p:grpSpPr>
            <p:sp>
              <p:nvSpPr>
                <p:cNvPr id="1569" name="Vrije vorm: vorm 1568">
                  <a:extLst>
                    <a:ext uri="{FF2B5EF4-FFF2-40B4-BE49-F238E27FC236}">
                      <a16:creationId xmlns:a16="http://schemas.microsoft.com/office/drawing/2014/main" id="{FF02790C-B8B6-4907-B256-9AB55F30DB54}"/>
                    </a:ext>
                  </a:extLst>
                </p:cNvPr>
                <p:cNvSpPr/>
                <p:nvPr/>
              </p:nvSpPr>
              <p:spPr>
                <a:xfrm>
                  <a:off x="4436041" y="4608545"/>
                  <a:ext cx="76672" cy="60225"/>
                </a:xfrm>
                <a:custGeom>
                  <a:avLst/>
                  <a:gdLst>
                    <a:gd name="connsiteX0" fmla="*/ 76673 w 76672"/>
                    <a:gd name="connsiteY0" fmla="*/ 2392 h 60225"/>
                    <a:gd name="connsiteX1" fmla="*/ 1854 w 76672"/>
                    <a:gd name="connsiteY1" fmla="*/ 60226 h 60225"/>
                    <a:gd name="connsiteX2" fmla="*/ 0 w 76672"/>
                    <a:gd name="connsiteY2" fmla="*/ 57774 h 60225"/>
                    <a:gd name="connsiteX3" fmla="*/ 74819 w 76672"/>
                    <a:gd name="connsiteY3" fmla="*/ 0 h 60225"/>
                  </a:gdLst>
                  <a:ahLst/>
                  <a:cxnLst>
                    <a:cxn ang="0">
                      <a:pos x="connsiteX0" y="connsiteY0"/>
                    </a:cxn>
                    <a:cxn ang="0">
                      <a:pos x="connsiteX1" y="connsiteY1"/>
                    </a:cxn>
                    <a:cxn ang="0">
                      <a:pos x="connsiteX2" y="connsiteY2"/>
                    </a:cxn>
                    <a:cxn ang="0">
                      <a:pos x="connsiteX3" y="connsiteY3"/>
                    </a:cxn>
                  </a:cxnLst>
                  <a:rect l="l" t="t" r="r" b="b"/>
                  <a:pathLst>
                    <a:path w="76672" h="60225">
                      <a:moveTo>
                        <a:pt x="76673" y="2392"/>
                      </a:moveTo>
                      <a:lnTo>
                        <a:pt x="1854" y="60226"/>
                      </a:lnTo>
                      <a:lnTo>
                        <a:pt x="0" y="57774"/>
                      </a:lnTo>
                      <a:lnTo>
                        <a:pt x="74819" y="0"/>
                      </a:lnTo>
                      <a:close/>
                    </a:path>
                  </a:pathLst>
                </a:custGeom>
                <a:grpFill/>
                <a:ln w="5978" cap="flat">
                  <a:noFill/>
                  <a:prstDash val="solid"/>
                  <a:miter/>
                </a:ln>
              </p:spPr>
              <p:txBody>
                <a:bodyPr rtlCol="0" anchor="ctr"/>
                <a:lstStyle/>
                <a:p>
                  <a:endParaRPr lang="en-GB"/>
                </a:p>
              </p:txBody>
            </p:sp>
            <p:sp>
              <p:nvSpPr>
                <p:cNvPr id="1570" name="Vrije vorm: vorm 1569">
                  <a:extLst>
                    <a:ext uri="{FF2B5EF4-FFF2-40B4-BE49-F238E27FC236}">
                      <a16:creationId xmlns:a16="http://schemas.microsoft.com/office/drawing/2014/main" id="{C7CEDB8F-F9FF-40C9-BFC4-51BAD367EBED}"/>
                    </a:ext>
                  </a:extLst>
                </p:cNvPr>
                <p:cNvSpPr/>
                <p:nvPr/>
              </p:nvSpPr>
              <p:spPr>
                <a:xfrm>
                  <a:off x="4502251" y="4600777"/>
                  <a:ext cx="18353" cy="18465"/>
                </a:xfrm>
                <a:custGeom>
                  <a:avLst/>
                  <a:gdLst>
                    <a:gd name="connsiteX0" fmla="*/ 3585 w 18353"/>
                    <a:gd name="connsiteY0" fmla="*/ 1906 h 18465"/>
                    <a:gd name="connsiteX1" fmla="*/ 16444 w 18353"/>
                    <a:gd name="connsiteY1" fmla="*/ 3641 h 18465"/>
                    <a:gd name="connsiteX2" fmla="*/ 14769 w 18353"/>
                    <a:gd name="connsiteY2" fmla="*/ 16559 h 18465"/>
                    <a:gd name="connsiteX3" fmla="*/ 1910 w 18353"/>
                    <a:gd name="connsiteY3" fmla="*/ 14824 h 18465"/>
                    <a:gd name="connsiteX4" fmla="*/ 3585 w 18353"/>
                    <a:gd name="connsiteY4" fmla="*/ 1906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65">
                      <a:moveTo>
                        <a:pt x="3585" y="1906"/>
                      </a:moveTo>
                      <a:cubicBezTo>
                        <a:pt x="7592" y="-1204"/>
                        <a:pt x="13334" y="-426"/>
                        <a:pt x="16444" y="3641"/>
                      </a:cubicBezTo>
                      <a:cubicBezTo>
                        <a:pt x="19553" y="7648"/>
                        <a:pt x="18776" y="13449"/>
                        <a:pt x="14769" y="16559"/>
                      </a:cubicBezTo>
                      <a:cubicBezTo>
                        <a:pt x="10762" y="19669"/>
                        <a:pt x="5020" y="18892"/>
                        <a:pt x="1910" y="14824"/>
                      </a:cubicBezTo>
                      <a:cubicBezTo>
                        <a:pt x="-1200" y="10817"/>
                        <a:pt x="-422" y="5016"/>
                        <a:pt x="3585" y="1906"/>
                      </a:cubicBezTo>
                      <a:close/>
                    </a:path>
                  </a:pathLst>
                </a:custGeom>
                <a:grpFill/>
                <a:ln w="5978" cap="flat">
                  <a:noFill/>
                  <a:prstDash val="solid"/>
                  <a:miter/>
                </a:ln>
              </p:spPr>
              <p:txBody>
                <a:bodyPr rtlCol="0" anchor="ctr"/>
                <a:lstStyle/>
                <a:p>
                  <a:endParaRPr lang="en-GB"/>
                </a:p>
              </p:txBody>
            </p:sp>
            <p:sp>
              <p:nvSpPr>
                <p:cNvPr id="1571" name="Vrije vorm: vorm 1570">
                  <a:extLst>
                    <a:ext uri="{FF2B5EF4-FFF2-40B4-BE49-F238E27FC236}">
                      <a16:creationId xmlns:a16="http://schemas.microsoft.com/office/drawing/2014/main" id="{0816DC2E-1F00-4C27-BEFA-897C83D13941}"/>
                    </a:ext>
                  </a:extLst>
                </p:cNvPr>
                <p:cNvSpPr/>
                <p:nvPr/>
              </p:nvSpPr>
              <p:spPr>
                <a:xfrm>
                  <a:off x="4428175" y="4658073"/>
                  <a:ext cx="18303" cy="18439"/>
                </a:xfrm>
                <a:custGeom>
                  <a:avLst/>
                  <a:gdLst>
                    <a:gd name="connsiteX0" fmla="*/ 3559 w 18303"/>
                    <a:gd name="connsiteY0" fmla="*/ 1906 h 18439"/>
                    <a:gd name="connsiteX1" fmla="*/ 1885 w 18303"/>
                    <a:gd name="connsiteY1" fmla="*/ 14824 h 18439"/>
                    <a:gd name="connsiteX2" fmla="*/ 14743 w 18303"/>
                    <a:gd name="connsiteY2" fmla="*/ 16559 h 18439"/>
                    <a:gd name="connsiteX3" fmla="*/ 16418 w 18303"/>
                    <a:gd name="connsiteY3" fmla="*/ 3641 h 18439"/>
                    <a:gd name="connsiteX4" fmla="*/ 3559 w 18303"/>
                    <a:gd name="connsiteY4" fmla="*/ 1906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39">
                      <a:moveTo>
                        <a:pt x="3559" y="1906"/>
                      </a:moveTo>
                      <a:cubicBezTo>
                        <a:pt x="-448" y="5016"/>
                        <a:pt x="-1165" y="10758"/>
                        <a:pt x="1885" y="14824"/>
                      </a:cubicBezTo>
                      <a:cubicBezTo>
                        <a:pt x="4995" y="18891"/>
                        <a:pt x="10736" y="19609"/>
                        <a:pt x="14743" y="16559"/>
                      </a:cubicBezTo>
                      <a:cubicBezTo>
                        <a:pt x="18751" y="13449"/>
                        <a:pt x="19468" y="7707"/>
                        <a:pt x="16418" y="3641"/>
                      </a:cubicBezTo>
                      <a:cubicBezTo>
                        <a:pt x="13308" y="-426"/>
                        <a:pt x="7566" y="-1204"/>
                        <a:pt x="3559" y="1906"/>
                      </a:cubicBezTo>
                      <a:close/>
                    </a:path>
                  </a:pathLst>
                </a:custGeom>
                <a:grpFill/>
                <a:ln w="5978" cap="flat">
                  <a:noFill/>
                  <a:prstDash val="solid"/>
                  <a:miter/>
                </a:ln>
              </p:spPr>
              <p:txBody>
                <a:bodyPr rtlCol="0" anchor="ctr"/>
                <a:lstStyle/>
                <a:p>
                  <a:endParaRPr lang="en-GB"/>
                </a:p>
              </p:txBody>
            </p:sp>
          </p:grpSp>
          <p:grpSp>
            <p:nvGrpSpPr>
              <p:cNvPr id="1280" name="Graphic 3">
                <a:extLst>
                  <a:ext uri="{FF2B5EF4-FFF2-40B4-BE49-F238E27FC236}">
                    <a16:creationId xmlns:a16="http://schemas.microsoft.com/office/drawing/2014/main" id="{34E1AA77-154E-40B8-9E68-6690A8CEF9B2}"/>
                  </a:ext>
                </a:extLst>
              </p:cNvPr>
              <p:cNvGrpSpPr/>
              <p:nvPr/>
            </p:nvGrpSpPr>
            <p:grpSpPr>
              <a:xfrm>
                <a:off x="4205323" y="4417303"/>
                <a:ext cx="499771" cy="324830"/>
                <a:chOff x="4205323" y="4417303"/>
                <a:chExt cx="499771" cy="324830"/>
              </a:xfrm>
              <a:grpFill/>
            </p:grpSpPr>
            <p:sp>
              <p:nvSpPr>
                <p:cNvPr id="1566" name="Vrije vorm: vorm 1565">
                  <a:extLst>
                    <a:ext uri="{FF2B5EF4-FFF2-40B4-BE49-F238E27FC236}">
                      <a16:creationId xmlns:a16="http://schemas.microsoft.com/office/drawing/2014/main" id="{C76FCA43-23DA-4CDB-811D-2595A0BA3E6A}"/>
                    </a:ext>
                  </a:extLst>
                </p:cNvPr>
                <p:cNvSpPr/>
                <p:nvPr/>
              </p:nvSpPr>
              <p:spPr>
                <a:xfrm>
                  <a:off x="4213259" y="4424936"/>
                  <a:ext cx="483900" cy="309562"/>
                </a:xfrm>
                <a:custGeom>
                  <a:avLst/>
                  <a:gdLst>
                    <a:gd name="connsiteX0" fmla="*/ 483900 w 483900"/>
                    <a:gd name="connsiteY0" fmla="*/ 2572 h 309562"/>
                    <a:gd name="connsiteX1" fmla="*/ 1615 w 483900"/>
                    <a:gd name="connsiteY1" fmla="*/ 309562 h 309562"/>
                    <a:gd name="connsiteX2" fmla="*/ 0 w 483900"/>
                    <a:gd name="connsiteY2" fmla="*/ 306931 h 309562"/>
                    <a:gd name="connsiteX3" fmla="*/ 482226 w 483900"/>
                    <a:gd name="connsiteY3" fmla="*/ 0 h 309562"/>
                  </a:gdLst>
                  <a:ahLst/>
                  <a:cxnLst>
                    <a:cxn ang="0">
                      <a:pos x="connsiteX0" y="connsiteY0"/>
                    </a:cxn>
                    <a:cxn ang="0">
                      <a:pos x="connsiteX1" y="connsiteY1"/>
                    </a:cxn>
                    <a:cxn ang="0">
                      <a:pos x="connsiteX2" y="connsiteY2"/>
                    </a:cxn>
                    <a:cxn ang="0">
                      <a:pos x="connsiteX3" y="connsiteY3"/>
                    </a:cxn>
                  </a:cxnLst>
                  <a:rect l="l" t="t" r="r" b="b"/>
                  <a:pathLst>
                    <a:path w="483900" h="309562">
                      <a:moveTo>
                        <a:pt x="483900" y="2572"/>
                      </a:moveTo>
                      <a:lnTo>
                        <a:pt x="1615" y="309562"/>
                      </a:lnTo>
                      <a:lnTo>
                        <a:pt x="0" y="306931"/>
                      </a:lnTo>
                      <a:lnTo>
                        <a:pt x="482226" y="0"/>
                      </a:lnTo>
                      <a:close/>
                    </a:path>
                  </a:pathLst>
                </a:custGeom>
                <a:grpFill/>
                <a:ln w="5978" cap="flat">
                  <a:noFill/>
                  <a:prstDash val="solid"/>
                  <a:miter/>
                </a:ln>
              </p:spPr>
              <p:txBody>
                <a:bodyPr rtlCol="0" anchor="ctr"/>
                <a:lstStyle/>
                <a:p>
                  <a:endParaRPr lang="en-GB"/>
                </a:p>
              </p:txBody>
            </p:sp>
            <p:sp>
              <p:nvSpPr>
                <p:cNvPr id="1567" name="Vrije vorm: vorm 1566">
                  <a:extLst>
                    <a:ext uri="{FF2B5EF4-FFF2-40B4-BE49-F238E27FC236}">
                      <a16:creationId xmlns:a16="http://schemas.microsoft.com/office/drawing/2014/main" id="{0A38960D-EF72-4F99-BC62-DB8E5CD90189}"/>
                    </a:ext>
                  </a:extLst>
                </p:cNvPr>
                <p:cNvSpPr/>
                <p:nvPr/>
              </p:nvSpPr>
              <p:spPr>
                <a:xfrm>
                  <a:off x="4686771" y="4417303"/>
                  <a:ext cx="18323" cy="18437"/>
                </a:xfrm>
                <a:custGeom>
                  <a:avLst/>
                  <a:gdLst>
                    <a:gd name="connsiteX0" fmla="*/ 4228 w 18323"/>
                    <a:gd name="connsiteY0" fmla="*/ 1414 h 18437"/>
                    <a:gd name="connsiteX1" fmla="*/ 16907 w 18323"/>
                    <a:gd name="connsiteY1" fmla="*/ 4285 h 18437"/>
                    <a:gd name="connsiteX2" fmla="*/ 14096 w 18323"/>
                    <a:gd name="connsiteY2" fmla="*/ 17024 h 18437"/>
                    <a:gd name="connsiteX3" fmla="*/ 1417 w 18323"/>
                    <a:gd name="connsiteY3" fmla="*/ 14153 h 18437"/>
                    <a:gd name="connsiteX4" fmla="*/ 4228 w 18323"/>
                    <a:gd name="connsiteY4" fmla="*/ 141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7">
                      <a:moveTo>
                        <a:pt x="4228" y="1414"/>
                      </a:moveTo>
                      <a:cubicBezTo>
                        <a:pt x="8474" y="-1277"/>
                        <a:pt x="14156" y="-21"/>
                        <a:pt x="16907" y="4285"/>
                      </a:cubicBezTo>
                      <a:cubicBezTo>
                        <a:pt x="19598" y="8591"/>
                        <a:pt x="18342" y="14273"/>
                        <a:pt x="14096" y="17024"/>
                      </a:cubicBezTo>
                      <a:cubicBezTo>
                        <a:pt x="9850" y="19715"/>
                        <a:pt x="4168" y="18459"/>
                        <a:pt x="1417" y="14153"/>
                      </a:cubicBezTo>
                      <a:cubicBezTo>
                        <a:pt x="-1275" y="9787"/>
                        <a:pt x="-19" y="4105"/>
                        <a:pt x="4228" y="1414"/>
                      </a:cubicBezTo>
                      <a:close/>
                    </a:path>
                  </a:pathLst>
                </a:custGeom>
                <a:grpFill/>
                <a:ln w="5978" cap="flat">
                  <a:noFill/>
                  <a:prstDash val="solid"/>
                  <a:miter/>
                </a:ln>
              </p:spPr>
              <p:txBody>
                <a:bodyPr rtlCol="0" anchor="ctr"/>
                <a:lstStyle/>
                <a:p>
                  <a:endParaRPr lang="en-GB"/>
                </a:p>
              </p:txBody>
            </p:sp>
            <p:sp>
              <p:nvSpPr>
                <p:cNvPr id="1568" name="Vrije vorm: vorm 1567">
                  <a:extLst>
                    <a:ext uri="{FF2B5EF4-FFF2-40B4-BE49-F238E27FC236}">
                      <a16:creationId xmlns:a16="http://schemas.microsoft.com/office/drawing/2014/main" id="{E344B305-F151-4C47-8959-A7EB35BC70B6}"/>
                    </a:ext>
                  </a:extLst>
                </p:cNvPr>
                <p:cNvSpPr/>
                <p:nvPr/>
              </p:nvSpPr>
              <p:spPr>
                <a:xfrm>
                  <a:off x="4205323" y="4723726"/>
                  <a:ext cx="18323" cy="18407"/>
                </a:xfrm>
                <a:custGeom>
                  <a:avLst/>
                  <a:gdLst>
                    <a:gd name="connsiteX0" fmla="*/ 4228 w 18323"/>
                    <a:gd name="connsiteY0" fmla="*/ 1443 h 18407"/>
                    <a:gd name="connsiteX1" fmla="*/ 1417 w 18323"/>
                    <a:gd name="connsiteY1" fmla="*/ 14122 h 18407"/>
                    <a:gd name="connsiteX2" fmla="*/ 14096 w 18323"/>
                    <a:gd name="connsiteY2" fmla="*/ 16993 h 18407"/>
                    <a:gd name="connsiteX3" fmla="*/ 16907 w 18323"/>
                    <a:gd name="connsiteY3" fmla="*/ 4254 h 18407"/>
                    <a:gd name="connsiteX4" fmla="*/ 4228 w 18323"/>
                    <a:gd name="connsiteY4" fmla="*/ 144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07">
                      <a:moveTo>
                        <a:pt x="4228" y="1443"/>
                      </a:moveTo>
                      <a:cubicBezTo>
                        <a:pt x="-19" y="4134"/>
                        <a:pt x="-1275" y="9876"/>
                        <a:pt x="1417" y="14122"/>
                      </a:cubicBezTo>
                      <a:cubicBezTo>
                        <a:pt x="4108" y="18428"/>
                        <a:pt x="9790" y="19684"/>
                        <a:pt x="14096" y="16993"/>
                      </a:cubicBezTo>
                      <a:cubicBezTo>
                        <a:pt x="18342" y="14302"/>
                        <a:pt x="19598" y="8560"/>
                        <a:pt x="16907" y="4254"/>
                      </a:cubicBezTo>
                      <a:cubicBezTo>
                        <a:pt x="14156" y="8"/>
                        <a:pt x="8474" y="-1308"/>
                        <a:pt x="4228" y="1443"/>
                      </a:cubicBezTo>
                      <a:close/>
                    </a:path>
                  </a:pathLst>
                </a:custGeom>
                <a:grpFill/>
                <a:ln w="5978" cap="flat">
                  <a:noFill/>
                  <a:prstDash val="solid"/>
                  <a:miter/>
                </a:ln>
              </p:spPr>
              <p:txBody>
                <a:bodyPr rtlCol="0" anchor="ctr"/>
                <a:lstStyle/>
                <a:p>
                  <a:endParaRPr lang="en-GB"/>
                </a:p>
              </p:txBody>
            </p:sp>
          </p:grpSp>
          <p:grpSp>
            <p:nvGrpSpPr>
              <p:cNvPr id="1281" name="Graphic 3">
                <a:extLst>
                  <a:ext uri="{FF2B5EF4-FFF2-40B4-BE49-F238E27FC236}">
                    <a16:creationId xmlns:a16="http://schemas.microsoft.com/office/drawing/2014/main" id="{D9EAC009-1DEB-4AD2-86E3-58E140601DCC}"/>
                  </a:ext>
                </a:extLst>
              </p:cNvPr>
              <p:cNvGrpSpPr/>
              <p:nvPr/>
            </p:nvGrpSpPr>
            <p:grpSpPr>
              <a:xfrm>
                <a:off x="4416786" y="4600803"/>
                <a:ext cx="103792" cy="84466"/>
                <a:chOff x="4416786" y="4600803"/>
                <a:chExt cx="103792" cy="84466"/>
              </a:xfrm>
              <a:grpFill/>
            </p:grpSpPr>
            <p:sp>
              <p:nvSpPr>
                <p:cNvPr id="1563" name="Vrije vorm: vorm 1562">
                  <a:extLst>
                    <a:ext uri="{FF2B5EF4-FFF2-40B4-BE49-F238E27FC236}">
                      <a16:creationId xmlns:a16="http://schemas.microsoft.com/office/drawing/2014/main" id="{CFDCABD1-DA43-4FAC-90AD-0870A9C3FB45}"/>
                    </a:ext>
                  </a:extLst>
                </p:cNvPr>
                <p:cNvSpPr/>
                <p:nvPr/>
              </p:nvSpPr>
              <p:spPr>
                <a:xfrm>
                  <a:off x="4424677" y="4608545"/>
                  <a:ext cx="88036" cy="69017"/>
                </a:xfrm>
                <a:custGeom>
                  <a:avLst/>
                  <a:gdLst>
                    <a:gd name="connsiteX0" fmla="*/ 88036 w 88036"/>
                    <a:gd name="connsiteY0" fmla="*/ 2392 h 69017"/>
                    <a:gd name="connsiteX1" fmla="*/ 1854 w 88036"/>
                    <a:gd name="connsiteY1" fmla="*/ 69018 h 69017"/>
                    <a:gd name="connsiteX2" fmla="*/ 0 w 88036"/>
                    <a:gd name="connsiteY2" fmla="*/ 66565 h 69017"/>
                    <a:gd name="connsiteX3" fmla="*/ 86182 w 88036"/>
                    <a:gd name="connsiteY3" fmla="*/ 0 h 69017"/>
                  </a:gdLst>
                  <a:ahLst/>
                  <a:cxnLst>
                    <a:cxn ang="0">
                      <a:pos x="connsiteX0" y="connsiteY0"/>
                    </a:cxn>
                    <a:cxn ang="0">
                      <a:pos x="connsiteX1" y="connsiteY1"/>
                    </a:cxn>
                    <a:cxn ang="0">
                      <a:pos x="connsiteX2" y="connsiteY2"/>
                    </a:cxn>
                    <a:cxn ang="0">
                      <a:pos x="connsiteX3" y="connsiteY3"/>
                    </a:cxn>
                  </a:cxnLst>
                  <a:rect l="l" t="t" r="r" b="b"/>
                  <a:pathLst>
                    <a:path w="88036" h="69017">
                      <a:moveTo>
                        <a:pt x="88036" y="2392"/>
                      </a:moveTo>
                      <a:lnTo>
                        <a:pt x="1854" y="69018"/>
                      </a:lnTo>
                      <a:lnTo>
                        <a:pt x="0" y="66565"/>
                      </a:lnTo>
                      <a:lnTo>
                        <a:pt x="86182" y="0"/>
                      </a:lnTo>
                      <a:close/>
                    </a:path>
                  </a:pathLst>
                </a:custGeom>
                <a:grpFill/>
                <a:ln w="5978" cap="flat">
                  <a:noFill/>
                  <a:prstDash val="solid"/>
                  <a:miter/>
                </a:ln>
              </p:spPr>
              <p:txBody>
                <a:bodyPr rtlCol="0" anchor="ctr"/>
                <a:lstStyle/>
                <a:p>
                  <a:endParaRPr lang="en-GB"/>
                </a:p>
              </p:txBody>
            </p:sp>
            <p:sp>
              <p:nvSpPr>
                <p:cNvPr id="1564" name="Vrije vorm: vorm 1563">
                  <a:extLst>
                    <a:ext uri="{FF2B5EF4-FFF2-40B4-BE49-F238E27FC236}">
                      <a16:creationId xmlns:a16="http://schemas.microsoft.com/office/drawing/2014/main" id="{CE887F9F-849E-400B-BA22-28BDA80F7DA4}"/>
                    </a:ext>
                  </a:extLst>
                </p:cNvPr>
                <p:cNvSpPr/>
                <p:nvPr/>
              </p:nvSpPr>
              <p:spPr>
                <a:xfrm>
                  <a:off x="4416786" y="4666805"/>
                  <a:ext cx="18328" cy="18465"/>
                </a:xfrm>
                <a:custGeom>
                  <a:avLst/>
                  <a:gdLst>
                    <a:gd name="connsiteX0" fmla="*/ 14769 w 18328"/>
                    <a:gd name="connsiteY0" fmla="*/ 16559 h 18465"/>
                    <a:gd name="connsiteX1" fmla="*/ 1910 w 18328"/>
                    <a:gd name="connsiteY1" fmla="*/ 14825 h 18465"/>
                    <a:gd name="connsiteX2" fmla="*/ 3585 w 18328"/>
                    <a:gd name="connsiteY2" fmla="*/ 1906 h 18465"/>
                    <a:gd name="connsiteX3" fmla="*/ 16444 w 18328"/>
                    <a:gd name="connsiteY3" fmla="*/ 3641 h 18465"/>
                    <a:gd name="connsiteX4" fmla="*/ 14769 w 18328"/>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65">
                      <a:moveTo>
                        <a:pt x="14769" y="16559"/>
                      </a:moveTo>
                      <a:cubicBezTo>
                        <a:pt x="10762" y="19669"/>
                        <a:pt x="5021" y="18891"/>
                        <a:pt x="1910" y="14825"/>
                      </a:cubicBezTo>
                      <a:cubicBezTo>
                        <a:pt x="-1200" y="10758"/>
                        <a:pt x="-422" y="5016"/>
                        <a:pt x="3585" y="1906"/>
                      </a:cubicBezTo>
                      <a:cubicBezTo>
                        <a:pt x="7592" y="-1204"/>
                        <a:pt x="13334" y="-426"/>
                        <a:pt x="16444" y="3641"/>
                      </a:cubicBezTo>
                      <a:cubicBezTo>
                        <a:pt x="19494" y="7707"/>
                        <a:pt x="18776" y="13509"/>
                        <a:pt x="14769" y="16559"/>
                      </a:cubicBezTo>
                      <a:close/>
                    </a:path>
                  </a:pathLst>
                </a:custGeom>
                <a:grpFill/>
                <a:ln w="5978" cap="flat">
                  <a:noFill/>
                  <a:prstDash val="solid"/>
                  <a:miter/>
                </a:ln>
              </p:spPr>
              <p:txBody>
                <a:bodyPr rtlCol="0" anchor="ctr"/>
                <a:lstStyle/>
                <a:p>
                  <a:endParaRPr lang="en-GB"/>
                </a:p>
              </p:txBody>
            </p:sp>
            <p:sp>
              <p:nvSpPr>
                <p:cNvPr id="1565" name="Vrije vorm: vorm 1564">
                  <a:extLst>
                    <a:ext uri="{FF2B5EF4-FFF2-40B4-BE49-F238E27FC236}">
                      <a16:creationId xmlns:a16="http://schemas.microsoft.com/office/drawing/2014/main" id="{96D38472-A82C-4F80-BA16-3292CF4690BA}"/>
                    </a:ext>
                  </a:extLst>
                </p:cNvPr>
                <p:cNvSpPr/>
                <p:nvPr/>
              </p:nvSpPr>
              <p:spPr>
                <a:xfrm>
                  <a:off x="4502276" y="4600803"/>
                  <a:ext cx="18302" cy="18439"/>
                </a:xfrm>
                <a:custGeom>
                  <a:avLst/>
                  <a:gdLst>
                    <a:gd name="connsiteX0" fmla="*/ 14743 w 18302"/>
                    <a:gd name="connsiteY0" fmla="*/ 16534 h 18439"/>
                    <a:gd name="connsiteX1" fmla="*/ 16418 w 18302"/>
                    <a:gd name="connsiteY1" fmla="*/ 3615 h 18439"/>
                    <a:gd name="connsiteX2" fmla="*/ 3559 w 18302"/>
                    <a:gd name="connsiteY2" fmla="*/ 1881 h 18439"/>
                    <a:gd name="connsiteX3" fmla="*/ 1885 w 18302"/>
                    <a:gd name="connsiteY3" fmla="*/ 14799 h 18439"/>
                    <a:gd name="connsiteX4" fmla="*/ 14743 w 18302"/>
                    <a:gd name="connsiteY4" fmla="*/ 165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39">
                      <a:moveTo>
                        <a:pt x="14743" y="16534"/>
                      </a:moveTo>
                      <a:cubicBezTo>
                        <a:pt x="18750" y="13423"/>
                        <a:pt x="19468" y="7682"/>
                        <a:pt x="16418" y="3615"/>
                      </a:cubicBezTo>
                      <a:cubicBezTo>
                        <a:pt x="13308" y="-452"/>
                        <a:pt x="7566" y="-1170"/>
                        <a:pt x="3559" y="1881"/>
                      </a:cubicBezTo>
                      <a:cubicBezTo>
                        <a:pt x="-448" y="4991"/>
                        <a:pt x="-1165" y="10732"/>
                        <a:pt x="1885" y="14799"/>
                      </a:cubicBezTo>
                      <a:cubicBezTo>
                        <a:pt x="4995" y="18866"/>
                        <a:pt x="10736" y="19643"/>
                        <a:pt x="14743" y="16534"/>
                      </a:cubicBezTo>
                      <a:close/>
                    </a:path>
                  </a:pathLst>
                </a:custGeom>
                <a:grpFill/>
                <a:ln w="5978" cap="flat">
                  <a:noFill/>
                  <a:prstDash val="solid"/>
                  <a:miter/>
                </a:ln>
              </p:spPr>
              <p:txBody>
                <a:bodyPr rtlCol="0" anchor="ctr"/>
                <a:lstStyle/>
                <a:p>
                  <a:endParaRPr lang="en-GB"/>
                </a:p>
              </p:txBody>
            </p:sp>
          </p:grpSp>
          <p:grpSp>
            <p:nvGrpSpPr>
              <p:cNvPr id="1282" name="Graphic 3">
                <a:extLst>
                  <a:ext uri="{FF2B5EF4-FFF2-40B4-BE49-F238E27FC236}">
                    <a16:creationId xmlns:a16="http://schemas.microsoft.com/office/drawing/2014/main" id="{8D88358D-1DD1-4748-945E-FD77ACC471DD}"/>
                  </a:ext>
                </a:extLst>
              </p:cNvPr>
              <p:cNvGrpSpPr/>
              <p:nvPr/>
            </p:nvGrpSpPr>
            <p:grpSpPr>
              <a:xfrm>
                <a:off x="4135603" y="3728114"/>
                <a:ext cx="64446" cy="26332"/>
                <a:chOff x="4135603" y="3728114"/>
                <a:chExt cx="64446" cy="26332"/>
              </a:xfrm>
              <a:grpFill/>
            </p:grpSpPr>
            <p:sp>
              <p:nvSpPr>
                <p:cNvPr id="1560" name="Vrije vorm: vorm 1559">
                  <a:extLst>
                    <a:ext uri="{FF2B5EF4-FFF2-40B4-BE49-F238E27FC236}">
                      <a16:creationId xmlns:a16="http://schemas.microsoft.com/office/drawing/2014/main" id="{42EB1BC7-A70F-464C-8F0A-36BE12F5EC91}"/>
                    </a:ext>
                  </a:extLst>
                </p:cNvPr>
                <p:cNvSpPr/>
                <p:nvPr/>
              </p:nvSpPr>
              <p:spPr>
                <a:xfrm>
                  <a:off x="4144062" y="3735778"/>
                  <a:ext cx="47486" cy="11064"/>
                </a:xfrm>
                <a:custGeom>
                  <a:avLst/>
                  <a:gdLst>
                    <a:gd name="connsiteX0" fmla="*/ 46949 w 47486"/>
                    <a:gd name="connsiteY0" fmla="*/ 0 h 11064"/>
                    <a:gd name="connsiteX1" fmla="*/ 47487 w 47486"/>
                    <a:gd name="connsiteY1" fmla="*/ 2990 h 11064"/>
                    <a:gd name="connsiteX2" fmla="*/ 479 w 47486"/>
                    <a:gd name="connsiteY2" fmla="*/ 11064 h 11064"/>
                    <a:gd name="connsiteX3" fmla="*/ 0 w 47486"/>
                    <a:gd name="connsiteY3" fmla="*/ 8074 h 11064"/>
                  </a:gdLst>
                  <a:ahLst/>
                  <a:cxnLst>
                    <a:cxn ang="0">
                      <a:pos x="connsiteX0" y="connsiteY0"/>
                    </a:cxn>
                    <a:cxn ang="0">
                      <a:pos x="connsiteX1" y="connsiteY1"/>
                    </a:cxn>
                    <a:cxn ang="0">
                      <a:pos x="connsiteX2" y="connsiteY2"/>
                    </a:cxn>
                    <a:cxn ang="0">
                      <a:pos x="connsiteX3" y="connsiteY3"/>
                    </a:cxn>
                  </a:cxnLst>
                  <a:rect l="l" t="t" r="r" b="b"/>
                  <a:pathLst>
                    <a:path w="47486" h="11064">
                      <a:moveTo>
                        <a:pt x="46949" y="0"/>
                      </a:moveTo>
                      <a:lnTo>
                        <a:pt x="47487" y="2990"/>
                      </a:lnTo>
                      <a:lnTo>
                        <a:pt x="479" y="11064"/>
                      </a:lnTo>
                      <a:lnTo>
                        <a:pt x="0" y="8074"/>
                      </a:lnTo>
                      <a:close/>
                    </a:path>
                  </a:pathLst>
                </a:custGeom>
                <a:grpFill/>
                <a:ln w="5978" cap="flat">
                  <a:noFill/>
                  <a:prstDash val="solid"/>
                  <a:miter/>
                </a:ln>
              </p:spPr>
              <p:txBody>
                <a:bodyPr rtlCol="0" anchor="ctr"/>
                <a:lstStyle/>
                <a:p>
                  <a:endParaRPr lang="en-GB"/>
                </a:p>
              </p:txBody>
            </p:sp>
            <p:sp>
              <p:nvSpPr>
                <p:cNvPr id="1561" name="Vrije vorm: vorm 1560">
                  <a:extLst>
                    <a:ext uri="{FF2B5EF4-FFF2-40B4-BE49-F238E27FC236}">
                      <a16:creationId xmlns:a16="http://schemas.microsoft.com/office/drawing/2014/main" id="{7D824C09-8A87-43C6-B751-703F5C1C5AB7}"/>
                    </a:ext>
                  </a:extLst>
                </p:cNvPr>
                <p:cNvSpPr/>
                <p:nvPr/>
              </p:nvSpPr>
              <p:spPr>
                <a:xfrm>
                  <a:off x="4135603" y="3736009"/>
                  <a:ext cx="18335" cy="18437"/>
                </a:xfrm>
                <a:custGeom>
                  <a:avLst/>
                  <a:gdLst>
                    <a:gd name="connsiteX0" fmla="*/ 10731 w 18335"/>
                    <a:gd name="connsiteY0" fmla="*/ 18310 h 18437"/>
                    <a:gd name="connsiteX1" fmla="*/ 145 w 18335"/>
                    <a:gd name="connsiteY1" fmla="*/ 10774 h 18437"/>
                    <a:gd name="connsiteX2" fmla="*/ 7621 w 18335"/>
                    <a:gd name="connsiteY2" fmla="*/ 128 h 18437"/>
                    <a:gd name="connsiteX3" fmla="*/ 18207 w 18335"/>
                    <a:gd name="connsiteY3" fmla="*/ 7664 h 18437"/>
                    <a:gd name="connsiteX4" fmla="*/ 10731 w 18335"/>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7">
                      <a:moveTo>
                        <a:pt x="10731" y="18310"/>
                      </a:moveTo>
                      <a:cubicBezTo>
                        <a:pt x="5767" y="19147"/>
                        <a:pt x="983" y="15798"/>
                        <a:pt x="145" y="10774"/>
                      </a:cubicBezTo>
                      <a:cubicBezTo>
                        <a:pt x="-752" y="5750"/>
                        <a:pt x="2597" y="1025"/>
                        <a:pt x="7621" y="128"/>
                      </a:cubicBezTo>
                      <a:cubicBezTo>
                        <a:pt x="12585" y="-709"/>
                        <a:pt x="17370" y="2640"/>
                        <a:pt x="18207" y="7664"/>
                      </a:cubicBezTo>
                      <a:cubicBezTo>
                        <a:pt x="19044" y="12688"/>
                        <a:pt x="15695" y="17472"/>
                        <a:pt x="10731" y="18310"/>
                      </a:cubicBezTo>
                      <a:close/>
                    </a:path>
                  </a:pathLst>
                </a:custGeom>
                <a:grpFill/>
                <a:ln w="5978" cap="flat">
                  <a:noFill/>
                  <a:prstDash val="solid"/>
                  <a:miter/>
                </a:ln>
              </p:spPr>
              <p:txBody>
                <a:bodyPr rtlCol="0" anchor="ctr"/>
                <a:lstStyle/>
                <a:p>
                  <a:endParaRPr lang="en-GB"/>
                </a:p>
              </p:txBody>
            </p:sp>
            <p:sp>
              <p:nvSpPr>
                <p:cNvPr id="1562" name="Vrije vorm: vorm 1561">
                  <a:extLst>
                    <a:ext uri="{FF2B5EF4-FFF2-40B4-BE49-F238E27FC236}">
                      <a16:creationId xmlns:a16="http://schemas.microsoft.com/office/drawing/2014/main" id="{4B857FE9-861C-486C-9EB9-3424EB68DE65}"/>
                    </a:ext>
                  </a:extLst>
                </p:cNvPr>
                <p:cNvSpPr/>
                <p:nvPr/>
              </p:nvSpPr>
              <p:spPr>
                <a:xfrm>
                  <a:off x="4181732" y="3728114"/>
                  <a:ext cx="18318" cy="18437"/>
                </a:xfrm>
                <a:custGeom>
                  <a:avLst/>
                  <a:gdLst>
                    <a:gd name="connsiteX0" fmla="*/ 10714 w 18318"/>
                    <a:gd name="connsiteY0" fmla="*/ 18310 h 18437"/>
                    <a:gd name="connsiteX1" fmla="*/ 18190 w 18318"/>
                    <a:gd name="connsiteY1" fmla="*/ 7664 h 18437"/>
                    <a:gd name="connsiteX2" fmla="*/ 7604 w 18318"/>
                    <a:gd name="connsiteY2" fmla="*/ 128 h 18437"/>
                    <a:gd name="connsiteX3" fmla="*/ 128 w 18318"/>
                    <a:gd name="connsiteY3" fmla="*/ 10774 h 18437"/>
                    <a:gd name="connsiteX4" fmla="*/ 10714 w 18318"/>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7">
                      <a:moveTo>
                        <a:pt x="10714" y="18310"/>
                      </a:moveTo>
                      <a:cubicBezTo>
                        <a:pt x="15678" y="17472"/>
                        <a:pt x="19027" y="12688"/>
                        <a:pt x="18190" y="7664"/>
                      </a:cubicBezTo>
                      <a:cubicBezTo>
                        <a:pt x="17293" y="2640"/>
                        <a:pt x="12568" y="-709"/>
                        <a:pt x="7604" y="128"/>
                      </a:cubicBezTo>
                      <a:cubicBezTo>
                        <a:pt x="2640" y="965"/>
                        <a:pt x="-709" y="5750"/>
                        <a:pt x="128" y="10774"/>
                      </a:cubicBezTo>
                      <a:cubicBezTo>
                        <a:pt x="965" y="15798"/>
                        <a:pt x="5690" y="19147"/>
                        <a:pt x="10714" y="18310"/>
                      </a:cubicBezTo>
                      <a:close/>
                    </a:path>
                  </a:pathLst>
                </a:custGeom>
                <a:grpFill/>
                <a:ln w="5978" cap="flat">
                  <a:noFill/>
                  <a:prstDash val="solid"/>
                  <a:miter/>
                </a:ln>
              </p:spPr>
              <p:txBody>
                <a:bodyPr rtlCol="0" anchor="ctr"/>
                <a:lstStyle/>
                <a:p>
                  <a:endParaRPr lang="en-GB"/>
                </a:p>
              </p:txBody>
            </p:sp>
          </p:grpSp>
          <p:grpSp>
            <p:nvGrpSpPr>
              <p:cNvPr id="1283" name="Graphic 3">
                <a:extLst>
                  <a:ext uri="{FF2B5EF4-FFF2-40B4-BE49-F238E27FC236}">
                    <a16:creationId xmlns:a16="http://schemas.microsoft.com/office/drawing/2014/main" id="{0AD31975-8904-466A-958C-25B8C26FE231}"/>
                  </a:ext>
                </a:extLst>
              </p:cNvPr>
              <p:cNvGrpSpPr/>
              <p:nvPr/>
            </p:nvGrpSpPr>
            <p:grpSpPr>
              <a:xfrm>
                <a:off x="3906919" y="3046850"/>
                <a:ext cx="60957" cy="25614"/>
                <a:chOff x="3906919" y="3046850"/>
                <a:chExt cx="60957" cy="25614"/>
              </a:xfrm>
              <a:grpFill/>
            </p:grpSpPr>
            <p:sp>
              <p:nvSpPr>
                <p:cNvPr id="1557" name="Vrije vorm: vorm 1556">
                  <a:extLst>
                    <a:ext uri="{FF2B5EF4-FFF2-40B4-BE49-F238E27FC236}">
                      <a16:creationId xmlns:a16="http://schemas.microsoft.com/office/drawing/2014/main" id="{29A48236-479C-4376-B43F-CF66B5517478}"/>
                    </a:ext>
                  </a:extLst>
                </p:cNvPr>
                <p:cNvSpPr/>
                <p:nvPr/>
              </p:nvSpPr>
              <p:spPr>
                <a:xfrm>
                  <a:off x="3915359" y="3054454"/>
                  <a:ext cx="44018" cy="10346"/>
                </a:xfrm>
                <a:custGeom>
                  <a:avLst/>
                  <a:gdLst>
                    <a:gd name="connsiteX0" fmla="*/ 44018 w 44018"/>
                    <a:gd name="connsiteY0" fmla="*/ 7356 h 10346"/>
                    <a:gd name="connsiteX1" fmla="*/ 43539 w 44018"/>
                    <a:gd name="connsiteY1" fmla="*/ 10347 h 10346"/>
                    <a:gd name="connsiteX2" fmla="*/ 0 w 44018"/>
                    <a:gd name="connsiteY2" fmla="*/ 3050 h 10346"/>
                    <a:gd name="connsiteX3" fmla="*/ 478 w 44018"/>
                    <a:gd name="connsiteY3" fmla="*/ 0 h 10346"/>
                  </a:gdLst>
                  <a:ahLst/>
                  <a:cxnLst>
                    <a:cxn ang="0">
                      <a:pos x="connsiteX0" y="connsiteY0"/>
                    </a:cxn>
                    <a:cxn ang="0">
                      <a:pos x="connsiteX1" y="connsiteY1"/>
                    </a:cxn>
                    <a:cxn ang="0">
                      <a:pos x="connsiteX2" y="connsiteY2"/>
                    </a:cxn>
                    <a:cxn ang="0">
                      <a:pos x="connsiteX3" y="connsiteY3"/>
                    </a:cxn>
                  </a:cxnLst>
                  <a:rect l="l" t="t" r="r" b="b"/>
                  <a:pathLst>
                    <a:path w="44018" h="10346">
                      <a:moveTo>
                        <a:pt x="44018" y="7356"/>
                      </a:moveTo>
                      <a:lnTo>
                        <a:pt x="43539" y="10347"/>
                      </a:lnTo>
                      <a:lnTo>
                        <a:pt x="0" y="3050"/>
                      </a:lnTo>
                      <a:lnTo>
                        <a:pt x="478" y="0"/>
                      </a:lnTo>
                      <a:close/>
                    </a:path>
                  </a:pathLst>
                </a:custGeom>
                <a:grpFill/>
                <a:ln w="5978" cap="flat">
                  <a:noFill/>
                  <a:prstDash val="solid"/>
                  <a:miter/>
                </a:ln>
              </p:spPr>
              <p:txBody>
                <a:bodyPr rtlCol="0" anchor="ctr"/>
                <a:lstStyle/>
                <a:p>
                  <a:endParaRPr lang="en-GB"/>
                </a:p>
              </p:txBody>
            </p:sp>
            <p:sp>
              <p:nvSpPr>
                <p:cNvPr id="1558" name="Vrije vorm: vorm 1557">
                  <a:extLst>
                    <a:ext uri="{FF2B5EF4-FFF2-40B4-BE49-F238E27FC236}">
                      <a16:creationId xmlns:a16="http://schemas.microsoft.com/office/drawing/2014/main" id="{E4A9B04D-06EC-4E54-A6F8-048074C466FA}"/>
                    </a:ext>
                  </a:extLst>
                </p:cNvPr>
                <p:cNvSpPr/>
                <p:nvPr/>
              </p:nvSpPr>
              <p:spPr>
                <a:xfrm>
                  <a:off x="3906919" y="3046850"/>
                  <a:ext cx="18316" cy="18393"/>
                </a:xfrm>
                <a:custGeom>
                  <a:avLst/>
                  <a:gdLst>
                    <a:gd name="connsiteX0" fmla="*/ 7662 w 18316"/>
                    <a:gd name="connsiteY0" fmla="*/ 18250 h 18393"/>
                    <a:gd name="connsiteX1" fmla="*/ 127 w 18316"/>
                    <a:gd name="connsiteY1" fmla="*/ 7664 h 18393"/>
                    <a:gd name="connsiteX2" fmla="*/ 10653 w 18316"/>
                    <a:gd name="connsiteY2" fmla="*/ 128 h 18393"/>
                    <a:gd name="connsiteX3" fmla="*/ 18188 w 18316"/>
                    <a:gd name="connsiteY3" fmla="*/ 10714 h 18393"/>
                    <a:gd name="connsiteX4" fmla="*/ 7662 w 18316"/>
                    <a:gd name="connsiteY4" fmla="*/ 1825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3">
                      <a:moveTo>
                        <a:pt x="7662" y="18250"/>
                      </a:moveTo>
                      <a:cubicBezTo>
                        <a:pt x="2698" y="17412"/>
                        <a:pt x="-711" y="12628"/>
                        <a:pt x="127" y="7664"/>
                      </a:cubicBezTo>
                      <a:cubicBezTo>
                        <a:pt x="964" y="2640"/>
                        <a:pt x="5629" y="-709"/>
                        <a:pt x="10653" y="128"/>
                      </a:cubicBezTo>
                      <a:cubicBezTo>
                        <a:pt x="15676" y="965"/>
                        <a:pt x="19025" y="5750"/>
                        <a:pt x="18188" y="10714"/>
                      </a:cubicBezTo>
                      <a:cubicBezTo>
                        <a:pt x="17351" y="15738"/>
                        <a:pt x="12626" y="19147"/>
                        <a:pt x="7662" y="18250"/>
                      </a:cubicBezTo>
                      <a:close/>
                    </a:path>
                  </a:pathLst>
                </a:custGeom>
                <a:grpFill/>
                <a:ln w="5978" cap="flat">
                  <a:noFill/>
                  <a:prstDash val="solid"/>
                  <a:miter/>
                </a:ln>
              </p:spPr>
              <p:txBody>
                <a:bodyPr rtlCol="0" anchor="ctr"/>
                <a:lstStyle/>
                <a:p>
                  <a:endParaRPr lang="en-GB"/>
                </a:p>
              </p:txBody>
            </p:sp>
            <p:sp>
              <p:nvSpPr>
                <p:cNvPr id="1559" name="Vrije vorm: vorm 1558">
                  <a:extLst>
                    <a:ext uri="{FF2B5EF4-FFF2-40B4-BE49-F238E27FC236}">
                      <a16:creationId xmlns:a16="http://schemas.microsoft.com/office/drawing/2014/main" id="{32220EDA-6EC7-41EA-9CDA-94AD3B7FF325}"/>
                    </a:ext>
                  </a:extLst>
                </p:cNvPr>
                <p:cNvSpPr/>
                <p:nvPr/>
              </p:nvSpPr>
              <p:spPr>
                <a:xfrm>
                  <a:off x="3949560" y="3054087"/>
                  <a:ext cx="18316" cy="18378"/>
                </a:xfrm>
                <a:custGeom>
                  <a:avLst/>
                  <a:gdLst>
                    <a:gd name="connsiteX0" fmla="*/ 7664 w 18316"/>
                    <a:gd name="connsiteY0" fmla="*/ 18250 h 18378"/>
                    <a:gd name="connsiteX1" fmla="*/ 18190 w 18316"/>
                    <a:gd name="connsiteY1" fmla="*/ 10714 h 18378"/>
                    <a:gd name="connsiteX2" fmla="*/ 10654 w 18316"/>
                    <a:gd name="connsiteY2" fmla="*/ 128 h 18378"/>
                    <a:gd name="connsiteX3" fmla="*/ 128 w 18316"/>
                    <a:gd name="connsiteY3" fmla="*/ 7664 h 18378"/>
                    <a:gd name="connsiteX4" fmla="*/ 7664 w 18316"/>
                    <a:gd name="connsiteY4" fmla="*/ 18250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78">
                      <a:moveTo>
                        <a:pt x="7664" y="18250"/>
                      </a:moveTo>
                      <a:cubicBezTo>
                        <a:pt x="12688" y="19087"/>
                        <a:pt x="17353" y="15738"/>
                        <a:pt x="18190" y="10714"/>
                      </a:cubicBezTo>
                      <a:cubicBezTo>
                        <a:pt x="19027" y="5690"/>
                        <a:pt x="15618" y="966"/>
                        <a:pt x="10654" y="128"/>
                      </a:cubicBezTo>
                      <a:cubicBezTo>
                        <a:pt x="5690" y="-709"/>
                        <a:pt x="966" y="2640"/>
                        <a:pt x="128" y="7664"/>
                      </a:cubicBezTo>
                      <a:cubicBezTo>
                        <a:pt x="-709" y="12628"/>
                        <a:pt x="2640" y="17413"/>
                        <a:pt x="7664" y="18250"/>
                      </a:cubicBezTo>
                      <a:close/>
                    </a:path>
                  </a:pathLst>
                </a:custGeom>
                <a:grpFill/>
                <a:ln w="5978" cap="flat">
                  <a:noFill/>
                  <a:prstDash val="solid"/>
                  <a:miter/>
                </a:ln>
              </p:spPr>
              <p:txBody>
                <a:bodyPr rtlCol="0" anchor="ctr"/>
                <a:lstStyle/>
                <a:p>
                  <a:endParaRPr lang="en-GB"/>
                </a:p>
              </p:txBody>
            </p:sp>
          </p:grpSp>
          <p:grpSp>
            <p:nvGrpSpPr>
              <p:cNvPr id="1284" name="Graphic 3">
                <a:extLst>
                  <a:ext uri="{FF2B5EF4-FFF2-40B4-BE49-F238E27FC236}">
                    <a16:creationId xmlns:a16="http://schemas.microsoft.com/office/drawing/2014/main" id="{68F48D6B-9820-407F-8A99-F46215C821EA}"/>
                  </a:ext>
                </a:extLst>
              </p:cNvPr>
              <p:cNvGrpSpPr/>
              <p:nvPr/>
            </p:nvGrpSpPr>
            <p:grpSpPr>
              <a:xfrm>
                <a:off x="3939427" y="3092757"/>
                <a:ext cx="32589" cy="20522"/>
                <a:chOff x="3939427" y="3092757"/>
                <a:chExt cx="32589" cy="20522"/>
              </a:xfrm>
              <a:grpFill/>
            </p:grpSpPr>
            <p:sp>
              <p:nvSpPr>
                <p:cNvPr id="1555" name="Vrije vorm: vorm 1554">
                  <a:extLst>
                    <a:ext uri="{FF2B5EF4-FFF2-40B4-BE49-F238E27FC236}">
                      <a16:creationId xmlns:a16="http://schemas.microsoft.com/office/drawing/2014/main" id="{2D3F5A97-7471-469A-AE22-D3EDCB996C7F}"/>
                    </a:ext>
                  </a:extLst>
                </p:cNvPr>
                <p:cNvSpPr/>
                <p:nvPr/>
              </p:nvSpPr>
              <p:spPr>
                <a:xfrm>
                  <a:off x="3939427" y="3092757"/>
                  <a:ext cx="18309" cy="18429"/>
                </a:xfrm>
                <a:custGeom>
                  <a:avLst/>
                  <a:gdLst>
                    <a:gd name="connsiteX0" fmla="*/ 10441 w 18309"/>
                    <a:gd name="connsiteY0" fmla="*/ 94 h 18429"/>
                    <a:gd name="connsiteX1" fmla="*/ 18216 w 18309"/>
                    <a:gd name="connsiteY1" fmla="*/ 10560 h 18429"/>
                    <a:gd name="connsiteX2" fmla="*/ 7869 w 18309"/>
                    <a:gd name="connsiteY2" fmla="*/ 18335 h 18429"/>
                    <a:gd name="connsiteX3" fmla="*/ 94 w 18309"/>
                    <a:gd name="connsiteY3" fmla="*/ 7869 h 18429"/>
                    <a:gd name="connsiteX4" fmla="*/ 10441 w 18309"/>
                    <a:gd name="connsiteY4" fmla="*/ 9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9">
                      <a:moveTo>
                        <a:pt x="10441" y="94"/>
                      </a:moveTo>
                      <a:cubicBezTo>
                        <a:pt x="15464" y="812"/>
                        <a:pt x="18933" y="5536"/>
                        <a:pt x="18216" y="10560"/>
                      </a:cubicBezTo>
                      <a:cubicBezTo>
                        <a:pt x="17498" y="15584"/>
                        <a:pt x="12833" y="19053"/>
                        <a:pt x="7869" y="18335"/>
                      </a:cubicBezTo>
                      <a:cubicBezTo>
                        <a:pt x="2845" y="17618"/>
                        <a:pt x="-624" y="12893"/>
                        <a:pt x="94" y="7869"/>
                      </a:cubicBezTo>
                      <a:cubicBezTo>
                        <a:pt x="812" y="2845"/>
                        <a:pt x="5477" y="-624"/>
                        <a:pt x="10441" y="94"/>
                      </a:cubicBezTo>
                      <a:close/>
                    </a:path>
                  </a:pathLst>
                </a:custGeom>
                <a:grpFill/>
                <a:ln w="5978" cap="flat">
                  <a:noFill/>
                  <a:prstDash val="solid"/>
                  <a:miter/>
                </a:ln>
              </p:spPr>
              <p:txBody>
                <a:bodyPr rtlCol="0" anchor="ctr"/>
                <a:lstStyle/>
                <a:p>
                  <a:endParaRPr lang="en-GB"/>
                </a:p>
              </p:txBody>
            </p:sp>
            <p:sp>
              <p:nvSpPr>
                <p:cNvPr id="1556" name="Vrije vorm: vorm 1555">
                  <a:extLst>
                    <a:ext uri="{FF2B5EF4-FFF2-40B4-BE49-F238E27FC236}">
                      <a16:creationId xmlns:a16="http://schemas.microsoft.com/office/drawing/2014/main" id="{8255004E-6D3F-41EF-84B5-DA1DF7A341E1}"/>
                    </a:ext>
                  </a:extLst>
                </p:cNvPr>
                <p:cNvSpPr/>
                <p:nvPr/>
              </p:nvSpPr>
              <p:spPr>
                <a:xfrm>
                  <a:off x="3953661" y="3094850"/>
                  <a:ext cx="18355" cy="18429"/>
                </a:xfrm>
                <a:custGeom>
                  <a:avLst/>
                  <a:gdLst>
                    <a:gd name="connsiteX0" fmla="*/ 10500 w 18355"/>
                    <a:gd name="connsiteY0" fmla="*/ 94 h 18429"/>
                    <a:gd name="connsiteX1" fmla="*/ 94 w 18355"/>
                    <a:gd name="connsiteY1" fmla="*/ 7869 h 18429"/>
                    <a:gd name="connsiteX2" fmla="*/ 7869 w 18355"/>
                    <a:gd name="connsiteY2" fmla="*/ 18335 h 18429"/>
                    <a:gd name="connsiteX3" fmla="*/ 18275 w 18355"/>
                    <a:gd name="connsiteY3" fmla="*/ 10560 h 18429"/>
                    <a:gd name="connsiteX4" fmla="*/ 10500 w 18355"/>
                    <a:gd name="connsiteY4" fmla="*/ 9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9">
                      <a:moveTo>
                        <a:pt x="10500" y="94"/>
                      </a:moveTo>
                      <a:cubicBezTo>
                        <a:pt x="5477" y="-624"/>
                        <a:pt x="872" y="2845"/>
                        <a:pt x="94" y="7869"/>
                      </a:cubicBezTo>
                      <a:cubicBezTo>
                        <a:pt x="-624" y="12893"/>
                        <a:pt x="2845" y="17558"/>
                        <a:pt x="7869" y="18335"/>
                      </a:cubicBezTo>
                      <a:cubicBezTo>
                        <a:pt x="12893" y="19053"/>
                        <a:pt x="17498" y="15584"/>
                        <a:pt x="18275" y="10560"/>
                      </a:cubicBezTo>
                      <a:cubicBezTo>
                        <a:pt x="18933" y="5536"/>
                        <a:pt x="15464" y="872"/>
                        <a:pt x="10500" y="94"/>
                      </a:cubicBezTo>
                      <a:close/>
                    </a:path>
                  </a:pathLst>
                </a:custGeom>
                <a:grpFill/>
                <a:ln w="5978" cap="flat">
                  <a:noFill/>
                  <a:prstDash val="solid"/>
                  <a:miter/>
                </a:ln>
              </p:spPr>
              <p:txBody>
                <a:bodyPr rtlCol="0" anchor="ctr"/>
                <a:lstStyle/>
                <a:p>
                  <a:endParaRPr lang="en-GB"/>
                </a:p>
              </p:txBody>
            </p:sp>
          </p:grpSp>
          <p:grpSp>
            <p:nvGrpSpPr>
              <p:cNvPr id="1285" name="Graphic 3">
                <a:extLst>
                  <a:ext uri="{FF2B5EF4-FFF2-40B4-BE49-F238E27FC236}">
                    <a16:creationId xmlns:a16="http://schemas.microsoft.com/office/drawing/2014/main" id="{A5DFE19C-7B55-41F9-847C-76079CD68526}"/>
                  </a:ext>
                </a:extLst>
              </p:cNvPr>
              <p:cNvGrpSpPr/>
              <p:nvPr/>
            </p:nvGrpSpPr>
            <p:grpSpPr>
              <a:xfrm>
                <a:off x="4161896" y="3763798"/>
                <a:ext cx="40406" cy="22682"/>
                <a:chOff x="4161896" y="3763798"/>
                <a:chExt cx="40406" cy="22682"/>
              </a:xfrm>
              <a:grpFill/>
            </p:grpSpPr>
            <p:sp>
              <p:nvSpPr>
                <p:cNvPr id="1552" name="Vrije vorm: vorm 1551">
                  <a:extLst>
                    <a:ext uri="{FF2B5EF4-FFF2-40B4-BE49-F238E27FC236}">
                      <a16:creationId xmlns:a16="http://schemas.microsoft.com/office/drawing/2014/main" id="{08C78346-10D5-47E6-B3D3-1A7B37572979}"/>
                    </a:ext>
                  </a:extLst>
                </p:cNvPr>
                <p:cNvSpPr/>
                <p:nvPr/>
              </p:nvSpPr>
              <p:spPr>
                <a:xfrm>
                  <a:off x="4170377" y="3771423"/>
                  <a:ext cx="23504" cy="7416"/>
                </a:xfrm>
                <a:custGeom>
                  <a:avLst/>
                  <a:gdLst>
                    <a:gd name="connsiteX0" fmla="*/ 22906 w 23504"/>
                    <a:gd name="connsiteY0" fmla="*/ 0 h 7416"/>
                    <a:gd name="connsiteX1" fmla="*/ 23505 w 23504"/>
                    <a:gd name="connsiteY1" fmla="*/ 3050 h 7416"/>
                    <a:gd name="connsiteX2" fmla="*/ 598 w 23504"/>
                    <a:gd name="connsiteY2" fmla="*/ 7416 h 7416"/>
                    <a:gd name="connsiteX3" fmla="*/ 0 w 23504"/>
                    <a:gd name="connsiteY3" fmla="*/ 4426 h 7416"/>
                  </a:gdLst>
                  <a:ahLst/>
                  <a:cxnLst>
                    <a:cxn ang="0">
                      <a:pos x="connsiteX0" y="connsiteY0"/>
                    </a:cxn>
                    <a:cxn ang="0">
                      <a:pos x="connsiteX1" y="connsiteY1"/>
                    </a:cxn>
                    <a:cxn ang="0">
                      <a:pos x="connsiteX2" y="connsiteY2"/>
                    </a:cxn>
                    <a:cxn ang="0">
                      <a:pos x="connsiteX3" y="connsiteY3"/>
                    </a:cxn>
                  </a:cxnLst>
                  <a:rect l="l" t="t" r="r" b="b"/>
                  <a:pathLst>
                    <a:path w="23504" h="7416">
                      <a:moveTo>
                        <a:pt x="22906" y="0"/>
                      </a:moveTo>
                      <a:lnTo>
                        <a:pt x="23505" y="3050"/>
                      </a:lnTo>
                      <a:lnTo>
                        <a:pt x="598" y="7416"/>
                      </a:lnTo>
                      <a:lnTo>
                        <a:pt x="0" y="4426"/>
                      </a:lnTo>
                      <a:close/>
                    </a:path>
                  </a:pathLst>
                </a:custGeom>
                <a:grpFill/>
                <a:ln w="5978" cap="flat">
                  <a:noFill/>
                  <a:prstDash val="solid"/>
                  <a:miter/>
                </a:ln>
              </p:spPr>
              <p:txBody>
                <a:bodyPr rtlCol="0" anchor="ctr"/>
                <a:lstStyle/>
                <a:p>
                  <a:endParaRPr lang="en-GB"/>
                </a:p>
              </p:txBody>
            </p:sp>
            <p:sp>
              <p:nvSpPr>
                <p:cNvPr id="1553" name="Vrije vorm: vorm 1552">
                  <a:extLst>
                    <a:ext uri="{FF2B5EF4-FFF2-40B4-BE49-F238E27FC236}">
                      <a16:creationId xmlns:a16="http://schemas.microsoft.com/office/drawing/2014/main" id="{74BA2835-268D-4551-B8AD-624160B49EF0}"/>
                    </a:ext>
                  </a:extLst>
                </p:cNvPr>
                <p:cNvSpPr/>
                <p:nvPr/>
              </p:nvSpPr>
              <p:spPr>
                <a:xfrm>
                  <a:off x="4161896" y="3768028"/>
                  <a:ext cx="18339" cy="18452"/>
                </a:xfrm>
                <a:custGeom>
                  <a:avLst/>
                  <a:gdLst>
                    <a:gd name="connsiteX0" fmla="*/ 10933 w 18339"/>
                    <a:gd name="connsiteY0" fmla="*/ 18287 h 18452"/>
                    <a:gd name="connsiteX1" fmla="*/ 168 w 18339"/>
                    <a:gd name="connsiteY1" fmla="*/ 10931 h 18452"/>
                    <a:gd name="connsiteX2" fmla="*/ 7404 w 18339"/>
                    <a:gd name="connsiteY2" fmla="*/ 166 h 18452"/>
                    <a:gd name="connsiteX3" fmla="*/ 18170 w 18339"/>
                    <a:gd name="connsiteY3" fmla="*/ 7522 h 18452"/>
                    <a:gd name="connsiteX4" fmla="*/ 10933 w 18339"/>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2">
                      <a:moveTo>
                        <a:pt x="10933" y="18287"/>
                      </a:moveTo>
                      <a:cubicBezTo>
                        <a:pt x="5969" y="19244"/>
                        <a:pt x="1125" y="15955"/>
                        <a:pt x="168" y="10931"/>
                      </a:cubicBezTo>
                      <a:cubicBezTo>
                        <a:pt x="-789" y="5907"/>
                        <a:pt x="2441" y="1122"/>
                        <a:pt x="7404" y="166"/>
                      </a:cubicBezTo>
                      <a:cubicBezTo>
                        <a:pt x="12368" y="-791"/>
                        <a:pt x="17213" y="2498"/>
                        <a:pt x="18170" y="7522"/>
                      </a:cubicBezTo>
                      <a:cubicBezTo>
                        <a:pt x="19127" y="12546"/>
                        <a:pt x="15957" y="17330"/>
                        <a:pt x="10933" y="18287"/>
                      </a:cubicBezTo>
                      <a:close/>
                    </a:path>
                  </a:pathLst>
                </a:custGeom>
                <a:grpFill/>
                <a:ln w="5978" cap="flat">
                  <a:noFill/>
                  <a:prstDash val="solid"/>
                  <a:miter/>
                </a:ln>
              </p:spPr>
              <p:txBody>
                <a:bodyPr rtlCol="0" anchor="ctr"/>
                <a:lstStyle/>
                <a:p>
                  <a:endParaRPr lang="en-GB"/>
                </a:p>
              </p:txBody>
            </p:sp>
            <p:sp>
              <p:nvSpPr>
                <p:cNvPr id="1554" name="Vrije vorm: vorm 1553">
                  <a:extLst>
                    <a:ext uri="{FF2B5EF4-FFF2-40B4-BE49-F238E27FC236}">
                      <a16:creationId xmlns:a16="http://schemas.microsoft.com/office/drawing/2014/main" id="{BAFBE64A-2D45-47A4-AC9A-B0814496D984}"/>
                    </a:ext>
                  </a:extLst>
                </p:cNvPr>
                <p:cNvSpPr/>
                <p:nvPr/>
              </p:nvSpPr>
              <p:spPr>
                <a:xfrm>
                  <a:off x="4183965" y="3763798"/>
                  <a:ext cx="18337" cy="18436"/>
                </a:xfrm>
                <a:custGeom>
                  <a:avLst/>
                  <a:gdLst>
                    <a:gd name="connsiteX0" fmla="*/ 10933 w 18337"/>
                    <a:gd name="connsiteY0" fmla="*/ 18271 h 18436"/>
                    <a:gd name="connsiteX1" fmla="*/ 18170 w 18337"/>
                    <a:gd name="connsiteY1" fmla="*/ 7506 h 18436"/>
                    <a:gd name="connsiteX2" fmla="*/ 7404 w 18337"/>
                    <a:gd name="connsiteY2" fmla="*/ 149 h 18436"/>
                    <a:gd name="connsiteX3" fmla="*/ 168 w 18337"/>
                    <a:gd name="connsiteY3" fmla="*/ 10915 h 18436"/>
                    <a:gd name="connsiteX4" fmla="*/ 10933 w 18337"/>
                    <a:gd name="connsiteY4" fmla="*/ 1827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0933" y="18271"/>
                      </a:moveTo>
                      <a:cubicBezTo>
                        <a:pt x="15897" y="17314"/>
                        <a:pt x="19127" y="12470"/>
                        <a:pt x="18170" y="7506"/>
                      </a:cubicBezTo>
                      <a:cubicBezTo>
                        <a:pt x="17213" y="2482"/>
                        <a:pt x="12368" y="-748"/>
                        <a:pt x="7404" y="149"/>
                      </a:cubicBezTo>
                      <a:cubicBezTo>
                        <a:pt x="2441" y="1106"/>
                        <a:pt x="-789" y="5951"/>
                        <a:pt x="168" y="10915"/>
                      </a:cubicBezTo>
                      <a:cubicBezTo>
                        <a:pt x="1125" y="15938"/>
                        <a:pt x="5969" y="19228"/>
                        <a:pt x="10933" y="18271"/>
                      </a:cubicBezTo>
                      <a:close/>
                    </a:path>
                  </a:pathLst>
                </a:custGeom>
                <a:grpFill/>
                <a:ln w="5978" cap="flat">
                  <a:noFill/>
                  <a:prstDash val="solid"/>
                  <a:miter/>
                </a:ln>
              </p:spPr>
              <p:txBody>
                <a:bodyPr rtlCol="0" anchor="ctr"/>
                <a:lstStyle/>
                <a:p>
                  <a:endParaRPr lang="en-GB"/>
                </a:p>
              </p:txBody>
            </p:sp>
          </p:grpSp>
          <p:grpSp>
            <p:nvGrpSpPr>
              <p:cNvPr id="1286" name="Graphic 3">
                <a:extLst>
                  <a:ext uri="{FF2B5EF4-FFF2-40B4-BE49-F238E27FC236}">
                    <a16:creationId xmlns:a16="http://schemas.microsoft.com/office/drawing/2014/main" id="{9DCA356A-39A8-419C-A3AE-783D18BD6481}"/>
                  </a:ext>
                </a:extLst>
              </p:cNvPr>
              <p:cNvGrpSpPr/>
              <p:nvPr/>
            </p:nvGrpSpPr>
            <p:grpSpPr>
              <a:xfrm>
                <a:off x="4185118" y="3799923"/>
                <a:ext cx="18421" cy="18416"/>
                <a:chOff x="4185118" y="3799923"/>
                <a:chExt cx="18421" cy="18416"/>
              </a:xfrm>
              <a:grpFill/>
            </p:grpSpPr>
            <p:sp>
              <p:nvSpPr>
                <p:cNvPr id="1549" name="Vrije vorm: vorm 1548">
                  <a:extLst>
                    <a:ext uri="{FF2B5EF4-FFF2-40B4-BE49-F238E27FC236}">
                      <a16:creationId xmlns:a16="http://schemas.microsoft.com/office/drawing/2014/main" id="{9C5518EC-5809-4705-9623-021963F200F4}"/>
                    </a:ext>
                  </a:extLst>
                </p:cNvPr>
                <p:cNvSpPr/>
                <p:nvPr/>
              </p:nvSpPr>
              <p:spPr>
                <a:xfrm>
                  <a:off x="4193582" y="3807547"/>
                  <a:ext cx="1555" cy="3169"/>
                </a:xfrm>
                <a:custGeom>
                  <a:avLst/>
                  <a:gdLst>
                    <a:gd name="connsiteX0" fmla="*/ 897 w 1555"/>
                    <a:gd name="connsiteY0" fmla="*/ 0 h 3169"/>
                    <a:gd name="connsiteX1" fmla="*/ 1555 w 1555"/>
                    <a:gd name="connsiteY1" fmla="*/ 2990 h 3169"/>
                    <a:gd name="connsiteX2" fmla="*/ 598 w 1555"/>
                    <a:gd name="connsiteY2" fmla="*/ 3170 h 3169"/>
                    <a:gd name="connsiteX3" fmla="*/ 0 w 1555"/>
                    <a:gd name="connsiteY3" fmla="*/ 180 h 3169"/>
                  </a:gdLst>
                  <a:ahLst/>
                  <a:cxnLst>
                    <a:cxn ang="0">
                      <a:pos x="connsiteX0" y="connsiteY0"/>
                    </a:cxn>
                    <a:cxn ang="0">
                      <a:pos x="connsiteX1" y="connsiteY1"/>
                    </a:cxn>
                    <a:cxn ang="0">
                      <a:pos x="connsiteX2" y="connsiteY2"/>
                    </a:cxn>
                    <a:cxn ang="0">
                      <a:pos x="connsiteX3" y="connsiteY3"/>
                    </a:cxn>
                  </a:cxnLst>
                  <a:rect l="l" t="t" r="r" b="b"/>
                  <a:pathLst>
                    <a:path w="1555" h="3169">
                      <a:moveTo>
                        <a:pt x="897" y="0"/>
                      </a:moveTo>
                      <a:lnTo>
                        <a:pt x="1555" y="2990"/>
                      </a:lnTo>
                      <a:lnTo>
                        <a:pt x="598" y="3170"/>
                      </a:lnTo>
                      <a:lnTo>
                        <a:pt x="0" y="180"/>
                      </a:lnTo>
                      <a:close/>
                    </a:path>
                  </a:pathLst>
                </a:custGeom>
                <a:grpFill/>
                <a:ln w="5978" cap="flat">
                  <a:noFill/>
                  <a:prstDash val="solid"/>
                  <a:miter/>
                </a:ln>
              </p:spPr>
              <p:txBody>
                <a:bodyPr rtlCol="0" anchor="ctr"/>
                <a:lstStyle/>
                <a:p>
                  <a:endParaRPr lang="en-GB"/>
                </a:p>
              </p:txBody>
            </p:sp>
            <p:sp>
              <p:nvSpPr>
                <p:cNvPr id="1550" name="Vrije vorm: vorm 1549">
                  <a:extLst>
                    <a:ext uri="{FF2B5EF4-FFF2-40B4-BE49-F238E27FC236}">
                      <a16:creationId xmlns:a16="http://schemas.microsoft.com/office/drawing/2014/main" id="{B53A47B2-0F6E-4046-81CA-623F61A02A40}"/>
                    </a:ext>
                  </a:extLst>
                </p:cNvPr>
                <p:cNvSpPr/>
                <p:nvPr/>
              </p:nvSpPr>
              <p:spPr>
                <a:xfrm>
                  <a:off x="4185199" y="3799941"/>
                  <a:ext cx="18341" cy="18381"/>
                </a:xfrm>
                <a:custGeom>
                  <a:avLst/>
                  <a:gdLst>
                    <a:gd name="connsiteX0" fmla="*/ 7247 w 18341"/>
                    <a:gd name="connsiteY0" fmla="*/ 190 h 18381"/>
                    <a:gd name="connsiteX1" fmla="*/ 18132 w 18341"/>
                    <a:gd name="connsiteY1" fmla="*/ 7307 h 18381"/>
                    <a:gd name="connsiteX2" fmla="*/ 11075 w 18341"/>
                    <a:gd name="connsiteY2" fmla="*/ 18192 h 18381"/>
                    <a:gd name="connsiteX3" fmla="*/ 190 w 18341"/>
                    <a:gd name="connsiteY3" fmla="*/ 11075 h 18381"/>
                    <a:gd name="connsiteX4" fmla="*/ 7247 w 18341"/>
                    <a:gd name="connsiteY4" fmla="*/ 190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1">
                      <a:moveTo>
                        <a:pt x="7247" y="190"/>
                      </a:moveTo>
                      <a:cubicBezTo>
                        <a:pt x="12211" y="-827"/>
                        <a:pt x="17055" y="2343"/>
                        <a:pt x="18132" y="7307"/>
                      </a:cubicBezTo>
                      <a:cubicBezTo>
                        <a:pt x="19208" y="12271"/>
                        <a:pt x="16039" y="17175"/>
                        <a:pt x="11075" y="18192"/>
                      </a:cubicBezTo>
                      <a:cubicBezTo>
                        <a:pt x="6111" y="19208"/>
                        <a:pt x="1266" y="16039"/>
                        <a:pt x="190" y="11075"/>
                      </a:cubicBezTo>
                      <a:cubicBezTo>
                        <a:pt x="-827" y="6111"/>
                        <a:pt x="2343" y="1206"/>
                        <a:pt x="7247" y="190"/>
                      </a:cubicBezTo>
                      <a:close/>
                    </a:path>
                  </a:pathLst>
                </a:custGeom>
                <a:grpFill/>
                <a:ln w="5978" cap="flat">
                  <a:noFill/>
                  <a:prstDash val="solid"/>
                  <a:miter/>
                </a:ln>
              </p:spPr>
              <p:txBody>
                <a:bodyPr rtlCol="0" anchor="ctr"/>
                <a:lstStyle/>
                <a:p>
                  <a:endParaRPr lang="en-GB"/>
                </a:p>
              </p:txBody>
            </p:sp>
            <p:sp>
              <p:nvSpPr>
                <p:cNvPr id="1551" name="Vrije vorm: vorm 1550">
                  <a:extLst>
                    <a:ext uri="{FF2B5EF4-FFF2-40B4-BE49-F238E27FC236}">
                      <a16:creationId xmlns:a16="http://schemas.microsoft.com/office/drawing/2014/main" id="{D6675653-EF21-4F6F-8529-3A0BEEED5F48}"/>
                    </a:ext>
                  </a:extLst>
                </p:cNvPr>
                <p:cNvSpPr/>
                <p:nvPr/>
              </p:nvSpPr>
              <p:spPr>
                <a:xfrm>
                  <a:off x="4185118" y="3799923"/>
                  <a:ext cx="18362" cy="18416"/>
                </a:xfrm>
                <a:custGeom>
                  <a:avLst/>
                  <a:gdLst>
                    <a:gd name="connsiteX0" fmla="*/ 7268 w 18362"/>
                    <a:gd name="connsiteY0" fmla="*/ 207 h 18416"/>
                    <a:gd name="connsiteX1" fmla="*/ 210 w 18362"/>
                    <a:gd name="connsiteY1" fmla="*/ 11092 h 18416"/>
                    <a:gd name="connsiteX2" fmla="*/ 11095 w 18362"/>
                    <a:gd name="connsiteY2" fmla="*/ 18209 h 18416"/>
                    <a:gd name="connsiteX3" fmla="*/ 18152 w 18362"/>
                    <a:gd name="connsiteY3" fmla="*/ 7324 h 18416"/>
                    <a:gd name="connsiteX4" fmla="*/ 7268 w 18362"/>
                    <a:gd name="connsiteY4" fmla="*/ 20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16">
                      <a:moveTo>
                        <a:pt x="7268" y="207"/>
                      </a:moveTo>
                      <a:cubicBezTo>
                        <a:pt x="2303" y="1224"/>
                        <a:pt x="-867" y="6128"/>
                        <a:pt x="210" y="11092"/>
                      </a:cubicBezTo>
                      <a:cubicBezTo>
                        <a:pt x="1287" y="16056"/>
                        <a:pt x="6131" y="19286"/>
                        <a:pt x="11095" y="18209"/>
                      </a:cubicBezTo>
                      <a:cubicBezTo>
                        <a:pt x="16059" y="17193"/>
                        <a:pt x="19229" y="12288"/>
                        <a:pt x="18152" y="7324"/>
                      </a:cubicBezTo>
                      <a:cubicBezTo>
                        <a:pt x="17136" y="2360"/>
                        <a:pt x="12231" y="-869"/>
                        <a:pt x="7268" y="207"/>
                      </a:cubicBezTo>
                      <a:close/>
                    </a:path>
                  </a:pathLst>
                </a:custGeom>
                <a:grpFill/>
                <a:ln w="5978" cap="flat">
                  <a:noFill/>
                  <a:prstDash val="solid"/>
                  <a:miter/>
                </a:ln>
              </p:spPr>
              <p:txBody>
                <a:bodyPr rtlCol="0" anchor="ctr"/>
                <a:lstStyle/>
                <a:p>
                  <a:endParaRPr lang="en-GB"/>
                </a:p>
              </p:txBody>
            </p:sp>
          </p:grpSp>
          <p:grpSp>
            <p:nvGrpSpPr>
              <p:cNvPr id="1287" name="Graphic 3">
                <a:extLst>
                  <a:ext uri="{FF2B5EF4-FFF2-40B4-BE49-F238E27FC236}">
                    <a16:creationId xmlns:a16="http://schemas.microsoft.com/office/drawing/2014/main" id="{BB5A302C-6409-4FB9-8C99-2F4DFB5A01BE}"/>
                  </a:ext>
                </a:extLst>
              </p:cNvPr>
              <p:cNvGrpSpPr/>
              <p:nvPr/>
            </p:nvGrpSpPr>
            <p:grpSpPr>
              <a:xfrm>
                <a:off x="4023719" y="3482130"/>
                <a:ext cx="129438" cy="22738"/>
                <a:chOff x="4023719" y="3482130"/>
                <a:chExt cx="129438" cy="22738"/>
              </a:xfrm>
              <a:grpFill/>
            </p:grpSpPr>
            <p:sp>
              <p:nvSpPr>
                <p:cNvPr id="1546" name="Vrije vorm: vorm 1545">
                  <a:extLst>
                    <a:ext uri="{FF2B5EF4-FFF2-40B4-BE49-F238E27FC236}">
                      <a16:creationId xmlns:a16="http://schemas.microsoft.com/office/drawing/2014/main" id="{3844503F-11A9-4304-91E8-B08F0E75FCC2}"/>
                    </a:ext>
                  </a:extLst>
                </p:cNvPr>
                <p:cNvSpPr/>
                <p:nvPr/>
              </p:nvSpPr>
              <p:spPr>
                <a:xfrm>
                  <a:off x="4032402" y="3489791"/>
                  <a:ext cx="112078" cy="7416"/>
                </a:xfrm>
                <a:custGeom>
                  <a:avLst/>
                  <a:gdLst>
                    <a:gd name="connsiteX0" fmla="*/ 111959 w 112078"/>
                    <a:gd name="connsiteY0" fmla="*/ 0 h 7416"/>
                    <a:gd name="connsiteX1" fmla="*/ 112079 w 112078"/>
                    <a:gd name="connsiteY1" fmla="*/ 3050 h 7416"/>
                    <a:gd name="connsiteX2" fmla="*/ 119 w 112078"/>
                    <a:gd name="connsiteY2" fmla="*/ 7416 h 7416"/>
                    <a:gd name="connsiteX3" fmla="*/ 0 w 112078"/>
                    <a:gd name="connsiteY3" fmla="*/ 4366 h 7416"/>
                  </a:gdLst>
                  <a:ahLst/>
                  <a:cxnLst>
                    <a:cxn ang="0">
                      <a:pos x="connsiteX0" y="connsiteY0"/>
                    </a:cxn>
                    <a:cxn ang="0">
                      <a:pos x="connsiteX1" y="connsiteY1"/>
                    </a:cxn>
                    <a:cxn ang="0">
                      <a:pos x="connsiteX2" y="connsiteY2"/>
                    </a:cxn>
                    <a:cxn ang="0">
                      <a:pos x="connsiteX3" y="connsiteY3"/>
                    </a:cxn>
                  </a:cxnLst>
                  <a:rect l="l" t="t" r="r" b="b"/>
                  <a:pathLst>
                    <a:path w="112078" h="7416">
                      <a:moveTo>
                        <a:pt x="111959" y="0"/>
                      </a:moveTo>
                      <a:lnTo>
                        <a:pt x="112079" y="3050"/>
                      </a:lnTo>
                      <a:lnTo>
                        <a:pt x="119" y="7416"/>
                      </a:lnTo>
                      <a:lnTo>
                        <a:pt x="0" y="4366"/>
                      </a:lnTo>
                      <a:close/>
                    </a:path>
                  </a:pathLst>
                </a:custGeom>
                <a:grpFill/>
                <a:ln w="5978" cap="flat">
                  <a:noFill/>
                  <a:prstDash val="solid"/>
                  <a:miter/>
                </a:ln>
              </p:spPr>
              <p:txBody>
                <a:bodyPr rtlCol="0" anchor="ctr"/>
                <a:lstStyle/>
                <a:p>
                  <a:endParaRPr lang="en-GB"/>
                </a:p>
              </p:txBody>
            </p:sp>
            <p:sp>
              <p:nvSpPr>
                <p:cNvPr id="1547" name="Vrije vorm: vorm 1546">
                  <a:extLst>
                    <a:ext uri="{FF2B5EF4-FFF2-40B4-BE49-F238E27FC236}">
                      <a16:creationId xmlns:a16="http://schemas.microsoft.com/office/drawing/2014/main" id="{5A1B45D8-92BF-44DD-A199-EDFCDDBDC3E6}"/>
                    </a:ext>
                  </a:extLst>
                </p:cNvPr>
                <p:cNvSpPr/>
                <p:nvPr/>
              </p:nvSpPr>
              <p:spPr>
                <a:xfrm>
                  <a:off x="4023719" y="3486436"/>
                  <a:ext cx="18377" cy="18432"/>
                </a:xfrm>
                <a:custGeom>
                  <a:avLst/>
                  <a:gdLst>
                    <a:gd name="connsiteX0" fmla="*/ 9579 w 18377"/>
                    <a:gd name="connsiteY0" fmla="*/ 18427 h 18432"/>
                    <a:gd name="connsiteX1" fmla="*/ 10 w 18377"/>
                    <a:gd name="connsiteY1" fmla="*/ 9575 h 18432"/>
                    <a:gd name="connsiteX2" fmla="*/ 8802 w 18377"/>
                    <a:gd name="connsiteY2" fmla="*/ 6 h 18432"/>
                    <a:gd name="connsiteX3" fmla="*/ 18371 w 18377"/>
                    <a:gd name="connsiteY3" fmla="*/ 8857 h 18432"/>
                    <a:gd name="connsiteX4" fmla="*/ 9579 w 18377"/>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32">
                      <a:moveTo>
                        <a:pt x="9579" y="18427"/>
                      </a:moveTo>
                      <a:cubicBezTo>
                        <a:pt x="4496" y="18606"/>
                        <a:pt x="249" y="14659"/>
                        <a:pt x="10" y="9575"/>
                      </a:cubicBezTo>
                      <a:cubicBezTo>
                        <a:pt x="-229" y="4491"/>
                        <a:pt x="3718" y="185"/>
                        <a:pt x="8802" y="6"/>
                      </a:cubicBezTo>
                      <a:cubicBezTo>
                        <a:pt x="13886" y="-174"/>
                        <a:pt x="18132" y="3774"/>
                        <a:pt x="18371" y="8857"/>
                      </a:cubicBezTo>
                      <a:cubicBezTo>
                        <a:pt x="18550" y="13941"/>
                        <a:pt x="14663" y="18247"/>
                        <a:pt x="9579" y="18427"/>
                      </a:cubicBezTo>
                      <a:close/>
                    </a:path>
                  </a:pathLst>
                </a:custGeom>
                <a:grpFill/>
                <a:ln w="5978" cap="flat">
                  <a:noFill/>
                  <a:prstDash val="solid"/>
                  <a:miter/>
                </a:ln>
              </p:spPr>
              <p:txBody>
                <a:bodyPr rtlCol="0" anchor="ctr"/>
                <a:lstStyle/>
                <a:p>
                  <a:endParaRPr lang="en-GB"/>
                </a:p>
              </p:txBody>
            </p:sp>
            <p:sp>
              <p:nvSpPr>
                <p:cNvPr id="1548" name="Vrije vorm: vorm 1547">
                  <a:extLst>
                    <a:ext uri="{FF2B5EF4-FFF2-40B4-BE49-F238E27FC236}">
                      <a16:creationId xmlns:a16="http://schemas.microsoft.com/office/drawing/2014/main" id="{41C1B038-0092-4447-B95B-2F754655EB97}"/>
                    </a:ext>
                  </a:extLst>
                </p:cNvPr>
                <p:cNvSpPr/>
                <p:nvPr/>
              </p:nvSpPr>
              <p:spPr>
                <a:xfrm>
                  <a:off x="4134786" y="3482130"/>
                  <a:ext cx="18372" cy="18432"/>
                </a:xfrm>
                <a:custGeom>
                  <a:avLst/>
                  <a:gdLst>
                    <a:gd name="connsiteX0" fmla="*/ 9575 w 18372"/>
                    <a:gd name="connsiteY0" fmla="*/ 18427 h 18432"/>
                    <a:gd name="connsiteX1" fmla="*/ 18366 w 18372"/>
                    <a:gd name="connsiteY1" fmla="*/ 8857 h 18432"/>
                    <a:gd name="connsiteX2" fmla="*/ 8797 w 18372"/>
                    <a:gd name="connsiteY2" fmla="*/ 6 h 18432"/>
                    <a:gd name="connsiteX3" fmla="*/ 6 w 18372"/>
                    <a:gd name="connsiteY3" fmla="*/ 9575 h 18432"/>
                    <a:gd name="connsiteX4" fmla="*/ 9575 w 1837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9575" y="18427"/>
                      </a:moveTo>
                      <a:cubicBezTo>
                        <a:pt x="14658" y="18247"/>
                        <a:pt x="18546" y="13941"/>
                        <a:pt x="18366" y="8857"/>
                      </a:cubicBezTo>
                      <a:cubicBezTo>
                        <a:pt x="18127" y="3774"/>
                        <a:pt x="13881" y="-174"/>
                        <a:pt x="8797" y="6"/>
                      </a:cubicBezTo>
                      <a:cubicBezTo>
                        <a:pt x="3714" y="185"/>
                        <a:pt x="-174" y="4491"/>
                        <a:pt x="6" y="9575"/>
                      </a:cubicBezTo>
                      <a:cubicBezTo>
                        <a:pt x="245" y="14659"/>
                        <a:pt x="4492" y="18606"/>
                        <a:pt x="9575" y="18427"/>
                      </a:cubicBezTo>
                      <a:close/>
                    </a:path>
                  </a:pathLst>
                </a:custGeom>
                <a:grpFill/>
                <a:ln w="5978" cap="flat">
                  <a:noFill/>
                  <a:prstDash val="solid"/>
                  <a:miter/>
                </a:ln>
              </p:spPr>
              <p:txBody>
                <a:bodyPr rtlCol="0" anchor="ctr"/>
                <a:lstStyle/>
                <a:p>
                  <a:endParaRPr lang="en-GB"/>
                </a:p>
              </p:txBody>
            </p:sp>
          </p:grpSp>
          <p:grpSp>
            <p:nvGrpSpPr>
              <p:cNvPr id="1288" name="Graphic 3">
                <a:extLst>
                  <a:ext uri="{FF2B5EF4-FFF2-40B4-BE49-F238E27FC236}">
                    <a16:creationId xmlns:a16="http://schemas.microsoft.com/office/drawing/2014/main" id="{16374AE6-7BF4-4B73-A4A1-908D2247D5DD}"/>
                  </a:ext>
                </a:extLst>
              </p:cNvPr>
              <p:cNvGrpSpPr/>
              <p:nvPr/>
            </p:nvGrpSpPr>
            <p:grpSpPr>
              <a:xfrm>
                <a:off x="4207642" y="3955999"/>
                <a:ext cx="93854" cy="41967"/>
                <a:chOff x="4207642" y="3955999"/>
                <a:chExt cx="93854" cy="41967"/>
              </a:xfrm>
              <a:grpFill/>
            </p:grpSpPr>
            <p:sp>
              <p:nvSpPr>
                <p:cNvPr id="1543" name="Vrije vorm: vorm 1542">
                  <a:extLst>
                    <a:ext uri="{FF2B5EF4-FFF2-40B4-BE49-F238E27FC236}">
                      <a16:creationId xmlns:a16="http://schemas.microsoft.com/office/drawing/2014/main" id="{EFA4FD40-105D-4AB5-A482-6272A1708D99}"/>
                    </a:ext>
                  </a:extLst>
                </p:cNvPr>
                <p:cNvSpPr/>
                <p:nvPr/>
              </p:nvSpPr>
              <p:spPr>
                <a:xfrm>
                  <a:off x="4215900" y="3963403"/>
                  <a:ext cx="77304" cy="26718"/>
                </a:xfrm>
                <a:custGeom>
                  <a:avLst/>
                  <a:gdLst>
                    <a:gd name="connsiteX0" fmla="*/ 0 w 77304"/>
                    <a:gd name="connsiteY0" fmla="*/ 23807 h 26718"/>
                    <a:gd name="connsiteX1" fmla="*/ 76397 w 77304"/>
                    <a:gd name="connsiteY1" fmla="*/ 0 h 26718"/>
                    <a:gd name="connsiteX2" fmla="*/ 77304 w 77304"/>
                    <a:gd name="connsiteY2" fmla="*/ 2912 h 26718"/>
                    <a:gd name="connsiteX3" fmla="*/ 907 w 77304"/>
                    <a:gd name="connsiteY3" fmla="*/ 26719 h 26718"/>
                  </a:gdLst>
                  <a:ahLst/>
                  <a:cxnLst>
                    <a:cxn ang="0">
                      <a:pos x="connsiteX0" y="connsiteY0"/>
                    </a:cxn>
                    <a:cxn ang="0">
                      <a:pos x="connsiteX1" y="connsiteY1"/>
                    </a:cxn>
                    <a:cxn ang="0">
                      <a:pos x="connsiteX2" y="connsiteY2"/>
                    </a:cxn>
                    <a:cxn ang="0">
                      <a:pos x="connsiteX3" y="connsiteY3"/>
                    </a:cxn>
                  </a:cxnLst>
                  <a:rect l="l" t="t" r="r" b="b"/>
                  <a:pathLst>
                    <a:path w="77304" h="26718">
                      <a:moveTo>
                        <a:pt x="0" y="23807"/>
                      </a:moveTo>
                      <a:lnTo>
                        <a:pt x="76397" y="0"/>
                      </a:lnTo>
                      <a:lnTo>
                        <a:pt x="77304" y="2912"/>
                      </a:lnTo>
                      <a:lnTo>
                        <a:pt x="907" y="26719"/>
                      </a:lnTo>
                      <a:close/>
                    </a:path>
                  </a:pathLst>
                </a:custGeom>
                <a:grpFill/>
                <a:ln w="5978" cap="flat">
                  <a:noFill/>
                  <a:prstDash val="solid"/>
                  <a:miter/>
                </a:ln>
              </p:spPr>
              <p:txBody>
                <a:bodyPr rtlCol="0" anchor="ctr"/>
                <a:lstStyle/>
                <a:p>
                  <a:endParaRPr lang="en-GB"/>
                </a:p>
              </p:txBody>
            </p:sp>
            <p:sp>
              <p:nvSpPr>
                <p:cNvPr id="1544" name="Vrije vorm: vorm 1543">
                  <a:extLst>
                    <a:ext uri="{FF2B5EF4-FFF2-40B4-BE49-F238E27FC236}">
                      <a16:creationId xmlns:a16="http://schemas.microsoft.com/office/drawing/2014/main" id="{D8249B15-A15D-40DD-9ABA-853CC450977C}"/>
                    </a:ext>
                  </a:extLst>
                </p:cNvPr>
                <p:cNvSpPr/>
                <p:nvPr/>
              </p:nvSpPr>
              <p:spPr>
                <a:xfrm>
                  <a:off x="4207642" y="3979499"/>
                  <a:ext cx="18317" cy="18468"/>
                </a:xfrm>
                <a:custGeom>
                  <a:avLst/>
                  <a:gdLst>
                    <a:gd name="connsiteX0" fmla="*/ 11896 w 18317"/>
                    <a:gd name="connsiteY0" fmla="*/ 18056 h 18468"/>
                    <a:gd name="connsiteX1" fmla="*/ 413 w 18317"/>
                    <a:gd name="connsiteY1" fmla="*/ 11955 h 18468"/>
                    <a:gd name="connsiteX2" fmla="*/ 6394 w 18317"/>
                    <a:gd name="connsiteY2" fmla="*/ 413 h 18468"/>
                    <a:gd name="connsiteX3" fmla="*/ 17877 w 18317"/>
                    <a:gd name="connsiteY3" fmla="*/ 6513 h 18468"/>
                    <a:gd name="connsiteX4" fmla="*/ 11896 w 18317"/>
                    <a:gd name="connsiteY4" fmla="*/ 1805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68">
                      <a:moveTo>
                        <a:pt x="11896" y="18056"/>
                      </a:moveTo>
                      <a:cubicBezTo>
                        <a:pt x="7052" y="19551"/>
                        <a:pt x="1908" y="16859"/>
                        <a:pt x="413" y="11955"/>
                      </a:cubicBezTo>
                      <a:cubicBezTo>
                        <a:pt x="-1082" y="7111"/>
                        <a:pt x="1609" y="1908"/>
                        <a:pt x="6394" y="413"/>
                      </a:cubicBezTo>
                      <a:cubicBezTo>
                        <a:pt x="11238" y="-1083"/>
                        <a:pt x="16382" y="1609"/>
                        <a:pt x="17877" y="6513"/>
                      </a:cubicBezTo>
                      <a:cubicBezTo>
                        <a:pt x="19432" y="11357"/>
                        <a:pt x="16741" y="16561"/>
                        <a:pt x="11896" y="18056"/>
                      </a:cubicBezTo>
                      <a:close/>
                    </a:path>
                  </a:pathLst>
                </a:custGeom>
                <a:grpFill/>
                <a:ln w="5978" cap="flat">
                  <a:noFill/>
                  <a:prstDash val="solid"/>
                  <a:miter/>
                </a:ln>
              </p:spPr>
              <p:txBody>
                <a:bodyPr rtlCol="0" anchor="ctr"/>
                <a:lstStyle/>
                <a:p>
                  <a:endParaRPr lang="en-GB"/>
                </a:p>
              </p:txBody>
            </p:sp>
            <p:sp>
              <p:nvSpPr>
                <p:cNvPr id="1545" name="Vrije vorm: vorm 1544">
                  <a:extLst>
                    <a:ext uri="{FF2B5EF4-FFF2-40B4-BE49-F238E27FC236}">
                      <a16:creationId xmlns:a16="http://schemas.microsoft.com/office/drawing/2014/main" id="{F65AF3F6-31A5-41B0-B09B-63BDAA252301}"/>
                    </a:ext>
                  </a:extLst>
                </p:cNvPr>
                <p:cNvSpPr/>
                <p:nvPr/>
              </p:nvSpPr>
              <p:spPr>
                <a:xfrm>
                  <a:off x="4283151" y="3955999"/>
                  <a:ext cx="18345" cy="18463"/>
                </a:xfrm>
                <a:custGeom>
                  <a:avLst/>
                  <a:gdLst>
                    <a:gd name="connsiteX0" fmla="*/ 11924 w 18345"/>
                    <a:gd name="connsiteY0" fmla="*/ 18051 h 18463"/>
                    <a:gd name="connsiteX1" fmla="*/ 17905 w 18345"/>
                    <a:gd name="connsiteY1" fmla="*/ 6508 h 18463"/>
                    <a:gd name="connsiteX2" fmla="*/ 6422 w 18345"/>
                    <a:gd name="connsiteY2" fmla="*/ 407 h 18463"/>
                    <a:gd name="connsiteX3" fmla="*/ 441 w 18345"/>
                    <a:gd name="connsiteY3" fmla="*/ 11950 h 18463"/>
                    <a:gd name="connsiteX4" fmla="*/ 11924 w 18345"/>
                    <a:gd name="connsiteY4" fmla="*/ 180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3">
                      <a:moveTo>
                        <a:pt x="11924" y="18051"/>
                      </a:moveTo>
                      <a:cubicBezTo>
                        <a:pt x="16768" y="16555"/>
                        <a:pt x="19460" y="11412"/>
                        <a:pt x="17905" y="6508"/>
                      </a:cubicBezTo>
                      <a:cubicBezTo>
                        <a:pt x="16409" y="1664"/>
                        <a:pt x="11266" y="-1088"/>
                        <a:pt x="6422" y="407"/>
                      </a:cubicBezTo>
                      <a:cubicBezTo>
                        <a:pt x="1577" y="1903"/>
                        <a:pt x="-1114" y="7046"/>
                        <a:pt x="441" y="11950"/>
                      </a:cubicBezTo>
                      <a:cubicBezTo>
                        <a:pt x="1936" y="16854"/>
                        <a:pt x="7079" y="19546"/>
                        <a:pt x="11924" y="18051"/>
                      </a:cubicBezTo>
                      <a:close/>
                    </a:path>
                  </a:pathLst>
                </a:custGeom>
                <a:grpFill/>
                <a:ln w="5978" cap="flat">
                  <a:noFill/>
                  <a:prstDash val="solid"/>
                  <a:miter/>
                </a:ln>
              </p:spPr>
              <p:txBody>
                <a:bodyPr rtlCol="0" anchor="ctr"/>
                <a:lstStyle/>
                <a:p>
                  <a:endParaRPr lang="en-GB"/>
                </a:p>
              </p:txBody>
            </p:sp>
          </p:grpSp>
          <p:grpSp>
            <p:nvGrpSpPr>
              <p:cNvPr id="1289" name="Graphic 3">
                <a:extLst>
                  <a:ext uri="{FF2B5EF4-FFF2-40B4-BE49-F238E27FC236}">
                    <a16:creationId xmlns:a16="http://schemas.microsoft.com/office/drawing/2014/main" id="{C69DF2E9-64D2-435C-B4E2-3A95BF502565}"/>
                  </a:ext>
                </a:extLst>
              </p:cNvPr>
              <p:cNvGrpSpPr/>
              <p:nvPr/>
            </p:nvGrpSpPr>
            <p:grpSpPr>
              <a:xfrm>
                <a:off x="3856550" y="3122138"/>
                <a:ext cx="206897" cy="43037"/>
                <a:chOff x="3856550" y="3122138"/>
                <a:chExt cx="206897" cy="43037"/>
              </a:xfrm>
              <a:grpFill/>
            </p:grpSpPr>
            <p:sp>
              <p:nvSpPr>
                <p:cNvPr id="1540" name="Vrije vorm: vorm 1539">
                  <a:extLst>
                    <a:ext uri="{FF2B5EF4-FFF2-40B4-BE49-F238E27FC236}">
                      <a16:creationId xmlns:a16="http://schemas.microsoft.com/office/drawing/2014/main" id="{8BBF30DC-9BA7-4C53-86D4-6FC84AA9FD6D}"/>
                    </a:ext>
                  </a:extLst>
                </p:cNvPr>
                <p:cNvSpPr/>
                <p:nvPr/>
              </p:nvSpPr>
              <p:spPr>
                <a:xfrm>
                  <a:off x="3865061" y="3129752"/>
                  <a:ext cx="189887" cy="27810"/>
                </a:xfrm>
                <a:custGeom>
                  <a:avLst/>
                  <a:gdLst>
                    <a:gd name="connsiteX0" fmla="*/ 189888 w 189887"/>
                    <a:gd name="connsiteY0" fmla="*/ 24760 h 27810"/>
                    <a:gd name="connsiteX1" fmla="*/ 189529 w 189887"/>
                    <a:gd name="connsiteY1" fmla="*/ 27810 h 27810"/>
                    <a:gd name="connsiteX2" fmla="*/ 0 w 189887"/>
                    <a:gd name="connsiteY2" fmla="*/ 3050 h 27810"/>
                    <a:gd name="connsiteX3" fmla="*/ 359 w 189887"/>
                    <a:gd name="connsiteY3" fmla="*/ 0 h 27810"/>
                  </a:gdLst>
                  <a:ahLst/>
                  <a:cxnLst>
                    <a:cxn ang="0">
                      <a:pos x="connsiteX0" y="connsiteY0"/>
                    </a:cxn>
                    <a:cxn ang="0">
                      <a:pos x="connsiteX1" y="connsiteY1"/>
                    </a:cxn>
                    <a:cxn ang="0">
                      <a:pos x="connsiteX2" y="connsiteY2"/>
                    </a:cxn>
                    <a:cxn ang="0">
                      <a:pos x="connsiteX3" y="connsiteY3"/>
                    </a:cxn>
                  </a:cxnLst>
                  <a:rect l="l" t="t" r="r" b="b"/>
                  <a:pathLst>
                    <a:path w="189887" h="27810">
                      <a:moveTo>
                        <a:pt x="189888" y="24760"/>
                      </a:moveTo>
                      <a:lnTo>
                        <a:pt x="189529" y="27810"/>
                      </a:lnTo>
                      <a:lnTo>
                        <a:pt x="0" y="3050"/>
                      </a:lnTo>
                      <a:lnTo>
                        <a:pt x="359" y="0"/>
                      </a:lnTo>
                      <a:close/>
                    </a:path>
                  </a:pathLst>
                </a:custGeom>
                <a:grpFill/>
                <a:ln w="5978" cap="flat">
                  <a:noFill/>
                  <a:prstDash val="solid"/>
                  <a:miter/>
                </a:ln>
              </p:spPr>
              <p:txBody>
                <a:bodyPr rtlCol="0" anchor="ctr"/>
                <a:lstStyle/>
                <a:p>
                  <a:endParaRPr lang="en-GB"/>
                </a:p>
              </p:txBody>
            </p:sp>
            <p:sp>
              <p:nvSpPr>
                <p:cNvPr id="1541" name="Vrije vorm: vorm 1540">
                  <a:extLst>
                    <a:ext uri="{FF2B5EF4-FFF2-40B4-BE49-F238E27FC236}">
                      <a16:creationId xmlns:a16="http://schemas.microsoft.com/office/drawing/2014/main" id="{AF86B4C4-B7ED-4E80-940D-4B59551F3004}"/>
                    </a:ext>
                  </a:extLst>
                </p:cNvPr>
                <p:cNvSpPr/>
                <p:nvPr/>
              </p:nvSpPr>
              <p:spPr>
                <a:xfrm>
                  <a:off x="4045134" y="3146719"/>
                  <a:ext cx="18313" cy="18456"/>
                </a:xfrm>
                <a:custGeom>
                  <a:avLst/>
                  <a:gdLst>
                    <a:gd name="connsiteX0" fmla="*/ 10293 w 18313"/>
                    <a:gd name="connsiteY0" fmla="*/ 78 h 18456"/>
                    <a:gd name="connsiteX1" fmla="*/ 18248 w 18313"/>
                    <a:gd name="connsiteY1" fmla="*/ 10424 h 18456"/>
                    <a:gd name="connsiteX2" fmla="*/ 8020 w 18313"/>
                    <a:gd name="connsiteY2" fmla="*/ 18379 h 18456"/>
                    <a:gd name="connsiteX3" fmla="*/ 66 w 18313"/>
                    <a:gd name="connsiteY3" fmla="*/ 8032 h 18456"/>
                    <a:gd name="connsiteX4" fmla="*/ 10293 w 18313"/>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56">
                      <a:moveTo>
                        <a:pt x="10293" y="78"/>
                      </a:moveTo>
                      <a:cubicBezTo>
                        <a:pt x="15317" y="736"/>
                        <a:pt x="18846" y="5341"/>
                        <a:pt x="18248" y="10424"/>
                      </a:cubicBezTo>
                      <a:cubicBezTo>
                        <a:pt x="17589" y="15448"/>
                        <a:pt x="13044" y="19037"/>
                        <a:pt x="8020" y="18379"/>
                      </a:cubicBezTo>
                      <a:cubicBezTo>
                        <a:pt x="2997" y="17721"/>
                        <a:pt x="-532" y="13116"/>
                        <a:pt x="66" y="8032"/>
                      </a:cubicBezTo>
                      <a:cubicBezTo>
                        <a:pt x="724" y="3008"/>
                        <a:pt x="5269" y="-580"/>
                        <a:pt x="10293" y="78"/>
                      </a:cubicBezTo>
                      <a:close/>
                    </a:path>
                  </a:pathLst>
                </a:custGeom>
                <a:grpFill/>
                <a:ln w="5978" cap="flat">
                  <a:noFill/>
                  <a:prstDash val="solid"/>
                  <a:miter/>
                </a:ln>
              </p:spPr>
              <p:txBody>
                <a:bodyPr rtlCol="0" anchor="ctr"/>
                <a:lstStyle/>
                <a:p>
                  <a:endParaRPr lang="en-GB"/>
                </a:p>
              </p:txBody>
            </p:sp>
            <p:sp>
              <p:nvSpPr>
                <p:cNvPr id="1542" name="Vrije vorm: vorm 1541">
                  <a:extLst>
                    <a:ext uri="{FF2B5EF4-FFF2-40B4-BE49-F238E27FC236}">
                      <a16:creationId xmlns:a16="http://schemas.microsoft.com/office/drawing/2014/main" id="{D9485F20-7097-4DE4-B366-224EE9FEDC7D}"/>
                    </a:ext>
                  </a:extLst>
                </p:cNvPr>
                <p:cNvSpPr/>
                <p:nvPr/>
              </p:nvSpPr>
              <p:spPr>
                <a:xfrm>
                  <a:off x="3856550" y="3122138"/>
                  <a:ext cx="18325" cy="18456"/>
                </a:xfrm>
                <a:custGeom>
                  <a:avLst/>
                  <a:gdLst>
                    <a:gd name="connsiteX0" fmla="*/ 10305 w 18325"/>
                    <a:gd name="connsiteY0" fmla="*/ 78 h 18456"/>
                    <a:gd name="connsiteX1" fmla="*/ 78 w 18325"/>
                    <a:gd name="connsiteY1" fmla="*/ 8032 h 18456"/>
                    <a:gd name="connsiteX2" fmla="*/ 8032 w 18325"/>
                    <a:gd name="connsiteY2" fmla="*/ 18379 h 18456"/>
                    <a:gd name="connsiteX3" fmla="*/ 18259 w 18325"/>
                    <a:gd name="connsiteY3" fmla="*/ 10424 h 18456"/>
                    <a:gd name="connsiteX4" fmla="*/ 10305 w 18325"/>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6">
                      <a:moveTo>
                        <a:pt x="10305" y="78"/>
                      </a:moveTo>
                      <a:cubicBezTo>
                        <a:pt x="5281" y="-580"/>
                        <a:pt x="676" y="3008"/>
                        <a:pt x="78" y="8032"/>
                      </a:cubicBezTo>
                      <a:cubicBezTo>
                        <a:pt x="-580" y="13056"/>
                        <a:pt x="3008" y="17721"/>
                        <a:pt x="8032" y="18379"/>
                      </a:cubicBezTo>
                      <a:cubicBezTo>
                        <a:pt x="13056" y="19037"/>
                        <a:pt x="17661" y="15448"/>
                        <a:pt x="18259" y="10424"/>
                      </a:cubicBezTo>
                      <a:cubicBezTo>
                        <a:pt x="18857" y="5401"/>
                        <a:pt x="15329" y="736"/>
                        <a:pt x="10305" y="78"/>
                      </a:cubicBezTo>
                      <a:close/>
                    </a:path>
                  </a:pathLst>
                </a:custGeom>
                <a:grpFill/>
                <a:ln w="5978" cap="flat">
                  <a:noFill/>
                  <a:prstDash val="solid"/>
                  <a:miter/>
                </a:ln>
              </p:spPr>
              <p:txBody>
                <a:bodyPr rtlCol="0" anchor="ctr"/>
                <a:lstStyle/>
                <a:p>
                  <a:endParaRPr lang="en-GB"/>
                </a:p>
              </p:txBody>
            </p:sp>
          </p:grpSp>
          <p:grpSp>
            <p:nvGrpSpPr>
              <p:cNvPr id="1290" name="Graphic 3">
                <a:extLst>
                  <a:ext uri="{FF2B5EF4-FFF2-40B4-BE49-F238E27FC236}">
                    <a16:creationId xmlns:a16="http://schemas.microsoft.com/office/drawing/2014/main" id="{C993AFD4-AE22-4537-A0B5-9620033DA23B}"/>
                  </a:ext>
                </a:extLst>
              </p:cNvPr>
              <p:cNvGrpSpPr/>
              <p:nvPr/>
            </p:nvGrpSpPr>
            <p:grpSpPr>
              <a:xfrm>
                <a:off x="4432576" y="4589030"/>
                <a:ext cx="42539" cy="36414"/>
                <a:chOff x="4432576" y="4589030"/>
                <a:chExt cx="42539" cy="36414"/>
              </a:xfrm>
              <a:grpFill/>
            </p:grpSpPr>
            <p:sp>
              <p:nvSpPr>
                <p:cNvPr id="1537" name="Vrije vorm: vorm 1536">
                  <a:extLst>
                    <a:ext uri="{FF2B5EF4-FFF2-40B4-BE49-F238E27FC236}">
                      <a16:creationId xmlns:a16="http://schemas.microsoft.com/office/drawing/2014/main" id="{D5C47392-9555-4A8C-BA55-2ECFF16A273E}"/>
                    </a:ext>
                  </a:extLst>
                </p:cNvPr>
                <p:cNvSpPr/>
                <p:nvPr/>
              </p:nvSpPr>
              <p:spPr>
                <a:xfrm>
                  <a:off x="4440466" y="4596703"/>
                  <a:ext cx="26793" cy="21052"/>
                </a:xfrm>
                <a:custGeom>
                  <a:avLst/>
                  <a:gdLst>
                    <a:gd name="connsiteX0" fmla="*/ 26794 w 26793"/>
                    <a:gd name="connsiteY0" fmla="*/ 2512 h 21052"/>
                    <a:gd name="connsiteX1" fmla="*/ 1794 w 26793"/>
                    <a:gd name="connsiteY1" fmla="*/ 21052 h 21052"/>
                    <a:gd name="connsiteX2" fmla="*/ 0 w 26793"/>
                    <a:gd name="connsiteY2" fmla="*/ 18600 h 21052"/>
                    <a:gd name="connsiteX3" fmla="*/ 24940 w 26793"/>
                    <a:gd name="connsiteY3" fmla="*/ 0 h 21052"/>
                  </a:gdLst>
                  <a:ahLst/>
                  <a:cxnLst>
                    <a:cxn ang="0">
                      <a:pos x="connsiteX0" y="connsiteY0"/>
                    </a:cxn>
                    <a:cxn ang="0">
                      <a:pos x="connsiteX1" y="connsiteY1"/>
                    </a:cxn>
                    <a:cxn ang="0">
                      <a:pos x="connsiteX2" y="connsiteY2"/>
                    </a:cxn>
                    <a:cxn ang="0">
                      <a:pos x="connsiteX3" y="connsiteY3"/>
                    </a:cxn>
                  </a:cxnLst>
                  <a:rect l="l" t="t" r="r" b="b"/>
                  <a:pathLst>
                    <a:path w="26793" h="21052">
                      <a:moveTo>
                        <a:pt x="26794" y="2512"/>
                      </a:moveTo>
                      <a:lnTo>
                        <a:pt x="1794" y="21052"/>
                      </a:lnTo>
                      <a:lnTo>
                        <a:pt x="0" y="18600"/>
                      </a:lnTo>
                      <a:lnTo>
                        <a:pt x="24940" y="0"/>
                      </a:lnTo>
                      <a:close/>
                    </a:path>
                  </a:pathLst>
                </a:custGeom>
                <a:grpFill/>
                <a:ln w="5978" cap="flat">
                  <a:noFill/>
                  <a:prstDash val="solid"/>
                  <a:miter/>
                </a:ln>
              </p:spPr>
              <p:txBody>
                <a:bodyPr rtlCol="0" anchor="ctr"/>
                <a:lstStyle/>
                <a:p>
                  <a:endParaRPr lang="en-GB"/>
                </a:p>
              </p:txBody>
            </p:sp>
            <p:sp>
              <p:nvSpPr>
                <p:cNvPr id="1538" name="Vrije vorm: vorm 1537">
                  <a:extLst>
                    <a:ext uri="{FF2B5EF4-FFF2-40B4-BE49-F238E27FC236}">
                      <a16:creationId xmlns:a16="http://schemas.microsoft.com/office/drawing/2014/main" id="{DDA65295-F4EA-4795-A3F8-213D74A3AF01}"/>
                    </a:ext>
                  </a:extLst>
                </p:cNvPr>
                <p:cNvSpPr/>
                <p:nvPr/>
              </p:nvSpPr>
              <p:spPr>
                <a:xfrm>
                  <a:off x="4456798" y="4589030"/>
                  <a:ext cx="18317" cy="18429"/>
                </a:xfrm>
                <a:custGeom>
                  <a:avLst/>
                  <a:gdLst>
                    <a:gd name="connsiteX0" fmla="*/ 3703 w 18317"/>
                    <a:gd name="connsiteY0" fmla="*/ 1812 h 18429"/>
                    <a:gd name="connsiteX1" fmla="*/ 16502 w 18317"/>
                    <a:gd name="connsiteY1" fmla="*/ 3785 h 18429"/>
                    <a:gd name="connsiteX2" fmla="*/ 14588 w 18317"/>
                    <a:gd name="connsiteY2" fmla="*/ 16644 h 18429"/>
                    <a:gd name="connsiteX3" fmla="*/ 1790 w 18317"/>
                    <a:gd name="connsiteY3" fmla="*/ 14670 h 18429"/>
                    <a:gd name="connsiteX4" fmla="*/ 3703 w 18317"/>
                    <a:gd name="connsiteY4" fmla="*/ 181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29">
                      <a:moveTo>
                        <a:pt x="3703" y="1812"/>
                      </a:moveTo>
                      <a:cubicBezTo>
                        <a:pt x="7770" y="-1239"/>
                        <a:pt x="13512" y="-342"/>
                        <a:pt x="16502" y="3785"/>
                      </a:cubicBezTo>
                      <a:cubicBezTo>
                        <a:pt x="19552" y="7852"/>
                        <a:pt x="18655" y="13653"/>
                        <a:pt x="14588" y="16644"/>
                      </a:cubicBezTo>
                      <a:cubicBezTo>
                        <a:pt x="10522" y="19634"/>
                        <a:pt x="4780" y="18797"/>
                        <a:pt x="1790" y="14670"/>
                      </a:cubicBezTo>
                      <a:cubicBezTo>
                        <a:pt x="-1201" y="10543"/>
                        <a:pt x="-363" y="4802"/>
                        <a:pt x="3703" y="1812"/>
                      </a:cubicBezTo>
                      <a:close/>
                    </a:path>
                  </a:pathLst>
                </a:custGeom>
                <a:grpFill/>
                <a:ln w="5978" cap="flat">
                  <a:noFill/>
                  <a:prstDash val="solid"/>
                  <a:miter/>
                </a:ln>
              </p:spPr>
              <p:txBody>
                <a:bodyPr rtlCol="0" anchor="ctr"/>
                <a:lstStyle/>
                <a:p>
                  <a:endParaRPr lang="en-GB"/>
                </a:p>
              </p:txBody>
            </p:sp>
            <p:sp>
              <p:nvSpPr>
                <p:cNvPr id="1539" name="Vrije vorm: vorm 1538">
                  <a:extLst>
                    <a:ext uri="{FF2B5EF4-FFF2-40B4-BE49-F238E27FC236}">
                      <a16:creationId xmlns:a16="http://schemas.microsoft.com/office/drawing/2014/main" id="{BB6AB54D-4977-4999-B689-55D16046D8F8}"/>
                    </a:ext>
                  </a:extLst>
                </p:cNvPr>
                <p:cNvSpPr/>
                <p:nvPr/>
              </p:nvSpPr>
              <p:spPr>
                <a:xfrm>
                  <a:off x="4432576" y="4607032"/>
                  <a:ext cx="18291" cy="18412"/>
                </a:xfrm>
                <a:custGeom>
                  <a:avLst/>
                  <a:gdLst>
                    <a:gd name="connsiteX0" fmla="*/ 3703 w 18291"/>
                    <a:gd name="connsiteY0" fmla="*/ 1811 h 18412"/>
                    <a:gd name="connsiteX1" fmla="*/ 1790 w 18291"/>
                    <a:gd name="connsiteY1" fmla="*/ 14670 h 18412"/>
                    <a:gd name="connsiteX2" fmla="*/ 14588 w 18291"/>
                    <a:gd name="connsiteY2" fmla="*/ 16644 h 18412"/>
                    <a:gd name="connsiteX3" fmla="*/ 16502 w 18291"/>
                    <a:gd name="connsiteY3" fmla="*/ 3785 h 18412"/>
                    <a:gd name="connsiteX4" fmla="*/ 3703 w 18291"/>
                    <a:gd name="connsiteY4" fmla="*/ 181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12">
                      <a:moveTo>
                        <a:pt x="3703" y="1811"/>
                      </a:moveTo>
                      <a:cubicBezTo>
                        <a:pt x="-363" y="4802"/>
                        <a:pt x="-1201" y="10603"/>
                        <a:pt x="1790" y="14670"/>
                      </a:cubicBezTo>
                      <a:cubicBezTo>
                        <a:pt x="4780" y="18737"/>
                        <a:pt x="10522" y="19634"/>
                        <a:pt x="14588" y="16644"/>
                      </a:cubicBezTo>
                      <a:cubicBezTo>
                        <a:pt x="18655" y="13593"/>
                        <a:pt x="19493" y="7852"/>
                        <a:pt x="16502" y="3785"/>
                      </a:cubicBezTo>
                      <a:cubicBezTo>
                        <a:pt x="13512" y="-342"/>
                        <a:pt x="7770" y="-1239"/>
                        <a:pt x="3703" y="1811"/>
                      </a:cubicBezTo>
                      <a:close/>
                    </a:path>
                  </a:pathLst>
                </a:custGeom>
                <a:grpFill/>
                <a:ln w="5978" cap="flat">
                  <a:noFill/>
                  <a:prstDash val="solid"/>
                  <a:miter/>
                </a:ln>
              </p:spPr>
              <p:txBody>
                <a:bodyPr rtlCol="0" anchor="ctr"/>
                <a:lstStyle/>
                <a:p>
                  <a:endParaRPr lang="en-GB"/>
                </a:p>
              </p:txBody>
            </p:sp>
          </p:grpSp>
          <p:grpSp>
            <p:nvGrpSpPr>
              <p:cNvPr id="1291" name="Graphic 3">
                <a:extLst>
                  <a:ext uri="{FF2B5EF4-FFF2-40B4-BE49-F238E27FC236}">
                    <a16:creationId xmlns:a16="http://schemas.microsoft.com/office/drawing/2014/main" id="{EC96EA97-5A53-4DC2-A0BB-C2F604B5C7E0}"/>
                  </a:ext>
                </a:extLst>
              </p:cNvPr>
              <p:cNvGrpSpPr/>
              <p:nvPr/>
            </p:nvGrpSpPr>
            <p:grpSpPr>
              <a:xfrm>
                <a:off x="4013479" y="3853412"/>
                <a:ext cx="398647" cy="82188"/>
                <a:chOff x="4013479" y="3853412"/>
                <a:chExt cx="398647" cy="82188"/>
              </a:xfrm>
              <a:grpFill/>
            </p:grpSpPr>
            <p:sp>
              <p:nvSpPr>
                <p:cNvPr id="1534" name="Vrije vorm: vorm 1533">
                  <a:extLst>
                    <a:ext uri="{FF2B5EF4-FFF2-40B4-BE49-F238E27FC236}">
                      <a16:creationId xmlns:a16="http://schemas.microsoft.com/office/drawing/2014/main" id="{199F89B3-0DFE-4957-831B-E23136306ED8}"/>
                    </a:ext>
                  </a:extLst>
                </p:cNvPr>
                <p:cNvSpPr/>
                <p:nvPr/>
              </p:nvSpPr>
              <p:spPr>
                <a:xfrm>
                  <a:off x="4021935" y="3861074"/>
                  <a:ext cx="381749" cy="66924"/>
                </a:xfrm>
                <a:custGeom>
                  <a:avLst/>
                  <a:gdLst>
                    <a:gd name="connsiteX0" fmla="*/ 381211 w 381749"/>
                    <a:gd name="connsiteY0" fmla="*/ 0 h 66924"/>
                    <a:gd name="connsiteX1" fmla="*/ 381749 w 381749"/>
                    <a:gd name="connsiteY1" fmla="*/ 2990 h 66924"/>
                    <a:gd name="connsiteX2" fmla="*/ 538 w 381749"/>
                    <a:gd name="connsiteY2" fmla="*/ 66924 h 66924"/>
                    <a:gd name="connsiteX3" fmla="*/ 0 w 381749"/>
                    <a:gd name="connsiteY3" fmla="*/ 63874 h 66924"/>
                  </a:gdLst>
                  <a:ahLst/>
                  <a:cxnLst>
                    <a:cxn ang="0">
                      <a:pos x="connsiteX0" y="connsiteY0"/>
                    </a:cxn>
                    <a:cxn ang="0">
                      <a:pos x="connsiteX1" y="connsiteY1"/>
                    </a:cxn>
                    <a:cxn ang="0">
                      <a:pos x="connsiteX2" y="connsiteY2"/>
                    </a:cxn>
                    <a:cxn ang="0">
                      <a:pos x="connsiteX3" y="connsiteY3"/>
                    </a:cxn>
                  </a:cxnLst>
                  <a:rect l="l" t="t" r="r" b="b"/>
                  <a:pathLst>
                    <a:path w="381749" h="66924">
                      <a:moveTo>
                        <a:pt x="381211" y="0"/>
                      </a:moveTo>
                      <a:lnTo>
                        <a:pt x="381749" y="2990"/>
                      </a:lnTo>
                      <a:lnTo>
                        <a:pt x="538" y="66924"/>
                      </a:lnTo>
                      <a:lnTo>
                        <a:pt x="0" y="63874"/>
                      </a:lnTo>
                      <a:close/>
                    </a:path>
                  </a:pathLst>
                </a:custGeom>
                <a:grpFill/>
                <a:ln w="5978" cap="flat">
                  <a:noFill/>
                  <a:prstDash val="solid"/>
                  <a:miter/>
                </a:ln>
              </p:spPr>
              <p:txBody>
                <a:bodyPr rtlCol="0" anchor="ctr"/>
                <a:lstStyle/>
                <a:p>
                  <a:endParaRPr lang="en-GB"/>
                </a:p>
              </p:txBody>
            </p:sp>
            <p:sp>
              <p:nvSpPr>
                <p:cNvPr id="1535" name="Vrije vorm: vorm 1534">
                  <a:extLst>
                    <a:ext uri="{FF2B5EF4-FFF2-40B4-BE49-F238E27FC236}">
                      <a16:creationId xmlns:a16="http://schemas.microsoft.com/office/drawing/2014/main" id="{0196356C-630C-45C7-9C44-FF06A5CD79D1}"/>
                    </a:ext>
                  </a:extLst>
                </p:cNvPr>
                <p:cNvSpPr/>
                <p:nvPr/>
              </p:nvSpPr>
              <p:spPr>
                <a:xfrm>
                  <a:off x="4393808" y="3853412"/>
                  <a:ext cx="18318" cy="18434"/>
                </a:xfrm>
                <a:custGeom>
                  <a:avLst/>
                  <a:gdLst>
                    <a:gd name="connsiteX0" fmla="*/ 7604 w 18318"/>
                    <a:gd name="connsiteY0" fmla="*/ 126 h 18434"/>
                    <a:gd name="connsiteX1" fmla="*/ 18190 w 18318"/>
                    <a:gd name="connsiteY1" fmla="*/ 7722 h 18434"/>
                    <a:gd name="connsiteX2" fmla="*/ 10714 w 18318"/>
                    <a:gd name="connsiteY2" fmla="*/ 18308 h 18434"/>
                    <a:gd name="connsiteX3" fmla="*/ 128 w 18318"/>
                    <a:gd name="connsiteY3" fmla="*/ 10712 h 18434"/>
                    <a:gd name="connsiteX4" fmla="*/ 7604 w 18318"/>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7604" y="126"/>
                      </a:moveTo>
                      <a:cubicBezTo>
                        <a:pt x="12568" y="-711"/>
                        <a:pt x="17353" y="2698"/>
                        <a:pt x="18190" y="7722"/>
                      </a:cubicBezTo>
                      <a:cubicBezTo>
                        <a:pt x="19028" y="12746"/>
                        <a:pt x="15678" y="17471"/>
                        <a:pt x="10714" y="18308"/>
                      </a:cubicBezTo>
                      <a:cubicBezTo>
                        <a:pt x="5750" y="19145"/>
                        <a:pt x="966" y="15736"/>
                        <a:pt x="128" y="10712"/>
                      </a:cubicBezTo>
                      <a:cubicBezTo>
                        <a:pt x="-709" y="5748"/>
                        <a:pt x="2640" y="964"/>
                        <a:pt x="7604" y="126"/>
                      </a:cubicBezTo>
                      <a:close/>
                    </a:path>
                  </a:pathLst>
                </a:custGeom>
                <a:grpFill/>
                <a:ln w="5978" cap="flat">
                  <a:noFill/>
                  <a:prstDash val="solid"/>
                  <a:miter/>
                </a:ln>
              </p:spPr>
              <p:txBody>
                <a:bodyPr rtlCol="0" anchor="ctr"/>
                <a:lstStyle/>
                <a:p>
                  <a:endParaRPr lang="en-GB"/>
                </a:p>
              </p:txBody>
            </p:sp>
            <p:sp>
              <p:nvSpPr>
                <p:cNvPr id="1536" name="Vrije vorm: vorm 1535">
                  <a:extLst>
                    <a:ext uri="{FF2B5EF4-FFF2-40B4-BE49-F238E27FC236}">
                      <a16:creationId xmlns:a16="http://schemas.microsoft.com/office/drawing/2014/main" id="{D579B832-D438-4DC3-9B32-DA2F191D2046}"/>
                    </a:ext>
                  </a:extLst>
                </p:cNvPr>
                <p:cNvSpPr/>
                <p:nvPr/>
              </p:nvSpPr>
              <p:spPr>
                <a:xfrm>
                  <a:off x="4013479" y="3917167"/>
                  <a:ext cx="18348" cy="18434"/>
                </a:xfrm>
                <a:custGeom>
                  <a:avLst/>
                  <a:gdLst>
                    <a:gd name="connsiteX0" fmla="*/ 7619 w 18348"/>
                    <a:gd name="connsiteY0" fmla="*/ 126 h 18434"/>
                    <a:gd name="connsiteX1" fmla="*/ 143 w 18348"/>
                    <a:gd name="connsiteY1" fmla="*/ 10712 h 18434"/>
                    <a:gd name="connsiteX2" fmla="*/ 10729 w 18348"/>
                    <a:gd name="connsiteY2" fmla="*/ 18308 h 18434"/>
                    <a:gd name="connsiteX3" fmla="*/ 18205 w 18348"/>
                    <a:gd name="connsiteY3" fmla="*/ 7722 h 18434"/>
                    <a:gd name="connsiteX4" fmla="*/ 7619 w 18348"/>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4">
                      <a:moveTo>
                        <a:pt x="7619" y="126"/>
                      </a:moveTo>
                      <a:cubicBezTo>
                        <a:pt x="2655" y="964"/>
                        <a:pt x="-754" y="5689"/>
                        <a:pt x="143" y="10712"/>
                      </a:cubicBezTo>
                      <a:cubicBezTo>
                        <a:pt x="981" y="15736"/>
                        <a:pt x="5706" y="19145"/>
                        <a:pt x="10729" y="18308"/>
                      </a:cubicBezTo>
                      <a:cubicBezTo>
                        <a:pt x="15693" y="17470"/>
                        <a:pt x="19102" y="12746"/>
                        <a:pt x="18205" y="7722"/>
                      </a:cubicBezTo>
                      <a:cubicBezTo>
                        <a:pt x="17368" y="2698"/>
                        <a:pt x="12583" y="-711"/>
                        <a:pt x="7619" y="126"/>
                      </a:cubicBezTo>
                      <a:close/>
                    </a:path>
                  </a:pathLst>
                </a:custGeom>
                <a:grpFill/>
                <a:ln w="5978" cap="flat">
                  <a:noFill/>
                  <a:prstDash val="solid"/>
                  <a:miter/>
                </a:ln>
              </p:spPr>
              <p:txBody>
                <a:bodyPr rtlCol="0" anchor="ctr"/>
                <a:lstStyle/>
                <a:p>
                  <a:endParaRPr lang="en-GB"/>
                </a:p>
              </p:txBody>
            </p:sp>
          </p:grpSp>
          <p:grpSp>
            <p:nvGrpSpPr>
              <p:cNvPr id="1292" name="Graphic 3">
                <a:extLst>
                  <a:ext uri="{FF2B5EF4-FFF2-40B4-BE49-F238E27FC236}">
                    <a16:creationId xmlns:a16="http://schemas.microsoft.com/office/drawing/2014/main" id="{5219D3DB-F553-40DF-BA59-5636AA858C77}"/>
                  </a:ext>
                </a:extLst>
              </p:cNvPr>
              <p:cNvGrpSpPr/>
              <p:nvPr/>
            </p:nvGrpSpPr>
            <p:grpSpPr>
              <a:xfrm>
                <a:off x="3947997" y="3513399"/>
                <a:ext cx="285671" cy="33823"/>
                <a:chOff x="3947997" y="3513399"/>
                <a:chExt cx="285671" cy="33823"/>
              </a:xfrm>
              <a:grpFill/>
            </p:grpSpPr>
            <p:sp>
              <p:nvSpPr>
                <p:cNvPr id="1531" name="Vrije vorm: vorm 1530">
                  <a:extLst>
                    <a:ext uri="{FF2B5EF4-FFF2-40B4-BE49-F238E27FC236}">
                      <a16:creationId xmlns:a16="http://schemas.microsoft.com/office/drawing/2014/main" id="{D38BF93C-F741-4EE7-9F2C-51D090972393}"/>
                    </a:ext>
                  </a:extLst>
                </p:cNvPr>
                <p:cNvSpPr/>
                <p:nvPr/>
              </p:nvSpPr>
              <p:spPr>
                <a:xfrm>
                  <a:off x="3956566" y="3521070"/>
                  <a:ext cx="268474" cy="18540"/>
                </a:xfrm>
                <a:custGeom>
                  <a:avLst/>
                  <a:gdLst>
                    <a:gd name="connsiteX0" fmla="*/ 268295 w 268474"/>
                    <a:gd name="connsiteY0" fmla="*/ 0 h 18540"/>
                    <a:gd name="connsiteX1" fmla="*/ 268475 w 268474"/>
                    <a:gd name="connsiteY1" fmla="*/ 3050 h 18540"/>
                    <a:gd name="connsiteX2" fmla="*/ 180 w 268474"/>
                    <a:gd name="connsiteY2" fmla="*/ 18540 h 18540"/>
                    <a:gd name="connsiteX3" fmla="*/ 0 w 268474"/>
                    <a:gd name="connsiteY3" fmla="*/ 15430 h 18540"/>
                  </a:gdLst>
                  <a:ahLst/>
                  <a:cxnLst>
                    <a:cxn ang="0">
                      <a:pos x="connsiteX0" y="connsiteY0"/>
                    </a:cxn>
                    <a:cxn ang="0">
                      <a:pos x="connsiteX1" y="connsiteY1"/>
                    </a:cxn>
                    <a:cxn ang="0">
                      <a:pos x="connsiteX2" y="connsiteY2"/>
                    </a:cxn>
                    <a:cxn ang="0">
                      <a:pos x="connsiteX3" y="connsiteY3"/>
                    </a:cxn>
                  </a:cxnLst>
                  <a:rect l="l" t="t" r="r" b="b"/>
                  <a:pathLst>
                    <a:path w="268474" h="18540">
                      <a:moveTo>
                        <a:pt x="268295" y="0"/>
                      </a:moveTo>
                      <a:lnTo>
                        <a:pt x="268475" y="3050"/>
                      </a:lnTo>
                      <a:lnTo>
                        <a:pt x="180" y="18540"/>
                      </a:lnTo>
                      <a:lnTo>
                        <a:pt x="0" y="15430"/>
                      </a:lnTo>
                      <a:close/>
                    </a:path>
                  </a:pathLst>
                </a:custGeom>
                <a:grpFill/>
                <a:ln w="5978" cap="flat">
                  <a:noFill/>
                  <a:prstDash val="solid"/>
                  <a:miter/>
                </a:ln>
              </p:spPr>
              <p:txBody>
                <a:bodyPr rtlCol="0" anchor="ctr"/>
                <a:lstStyle/>
                <a:p>
                  <a:endParaRPr lang="en-GB"/>
                </a:p>
              </p:txBody>
            </p:sp>
            <p:sp>
              <p:nvSpPr>
                <p:cNvPr id="1532" name="Vrije vorm: vorm 1531">
                  <a:extLst>
                    <a:ext uri="{FF2B5EF4-FFF2-40B4-BE49-F238E27FC236}">
                      <a16:creationId xmlns:a16="http://schemas.microsoft.com/office/drawing/2014/main" id="{C841B681-B5B2-474E-91F8-8581AEAAD74C}"/>
                    </a:ext>
                  </a:extLst>
                </p:cNvPr>
                <p:cNvSpPr/>
                <p:nvPr/>
              </p:nvSpPr>
              <p:spPr>
                <a:xfrm>
                  <a:off x="3947997" y="3528769"/>
                  <a:ext cx="18333" cy="18452"/>
                </a:xfrm>
                <a:custGeom>
                  <a:avLst/>
                  <a:gdLst>
                    <a:gd name="connsiteX0" fmla="*/ 9705 w 18333"/>
                    <a:gd name="connsiteY0" fmla="*/ 18437 h 18452"/>
                    <a:gd name="connsiteX1" fmla="*/ 16 w 18333"/>
                    <a:gd name="connsiteY1" fmla="*/ 9765 h 18452"/>
                    <a:gd name="connsiteX2" fmla="*/ 8629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9" y="16"/>
                      </a:cubicBezTo>
                      <a:cubicBezTo>
                        <a:pt x="13653" y="-283"/>
                        <a:pt x="18018" y="3605"/>
                        <a:pt x="18317" y="8688"/>
                      </a:cubicBezTo>
                      <a:cubicBezTo>
                        <a:pt x="18617" y="13832"/>
                        <a:pt x="14729" y="18198"/>
                        <a:pt x="9705" y="18437"/>
                      </a:cubicBezTo>
                      <a:close/>
                    </a:path>
                  </a:pathLst>
                </a:custGeom>
                <a:grpFill/>
                <a:ln w="5978" cap="flat">
                  <a:noFill/>
                  <a:prstDash val="solid"/>
                  <a:miter/>
                </a:ln>
              </p:spPr>
              <p:txBody>
                <a:bodyPr rtlCol="0" anchor="ctr"/>
                <a:lstStyle/>
                <a:p>
                  <a:endParaRPr lang="en-GB"/>
                </a:p>
              </p:txBody>
            </p:sp>
            <p:sp>
              <p:nvSpPr>
                <p:cNvPr id="1533" name="Vrije vorm: vorm 1532">
                  <a:extLst>
                    <a:ext uri="{FF2B5EF4-FFF2-40B4-BE49-F238E27FC236}">
                      <a16:creationId xmlns:a16="http://schemas.microsoft.com/office/drawing/2014/main" id="{175A6E3F-858A-4E69-AC85-99352634CB97}"/>
                    </a:ext>
                  </a:extLst>
                </p:cNvPr>
                <p:cNvSpPr/>
                <p:nvPr/>
              </p:nvSpPr>
              <p:spPr>
                <a:xfrm>
                  <a:off x="4215336" y="3513399"/>
                  <a:ext cx="18333" cy="18453"/>
                </a:xfrm>
                <a:custGeom>
                  <a:avLst/>
                  <a:gdLst>
                    <a:gd name="connsiteX0" fmla="*/ 9705 w 18333"/>
                    <a:gd name="connsiteY0" fmla="*/ 18437 h 18453"/>
                    <a:gd name="connsiteX1" fmla="*/ 18317 w 18333"/>
                    <a:gd name="connsiteY1" fmla="*/ 8688 h 18453"/>
                    <a:gd name="connsiteX2" fmla="*/ 8628 w 18333"/>
                    <a:gd name="connsiteY2" fmla="*/ 16 h 18453"/>
                    <a:gd name="connsiteX3" fmla="*/ 16 w 18333"/>
                    <a:gd name="connsiteY3" fmla="*/ 9765 h 18453"/>
                    <a:gd name="connsiteX4" fmla="*/ 9705 w 18333"/>
                    <a:gd name="connsiteY4" fmla="*/ 18437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8437"/>
                      </a:moveTo>
                      <a:cubicBezTo>
                        <a:pt x="14729" y="18138"/>
                        <a:pt x="18616" y="13772"/>
                        <a:pt x="18317" y="8688"/>
                      </a:cubicBezTo>
                      <a:cubicBezTo>
                        <a:pt x="18018" y="3605"/>
                        <a:pt x="13652" y="-283"/>
                        <a:pt x="8628" y="16"/>
                      </a:cubicBezTo>
                      <a:cubicBezTo>
                        <a:pt x="3604" y="315"/>
                        <a:pt x="-283"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1293" name="Graphic 3">
                <a:extLst>
                  <a:ext uri="{FF2B5EF4-FFF2-40B4-BE49-F238E27FC236}">
                    <a16:creationId xmlns:a16="http://schemas.microsoft.com/office/drawing/2014/main" id="{727BFF1F-BC15-4DD1-97A5-C65BA6568289}"/>
                  </a:ext>
                </a:extLst>
              </p:cNvPr>
              <p:cNvGrpSpPr/>
              <p:nvPr/>
            </p:nvGrpSpPr>
            <p:grpSpPr>
              <a:xfrm>
                <a:off x="4090083" y="3659744"/>
                <a:ext cx="85936" cy="27442"/>
                <a:chOff x="4090083" y="3659744"/>
                <a:chExt cx="85936" cy="27442"/>
              </a:xfrm>
              <a:grpFill/>
            </p:grpSpPr>
            <p:sp>
              <p:nvSpPr>
                <p:cNvPr id="1528" name="Vrije vorm: vorm 1527">
                  <a:extLst>
                    <a:ext uri="{FF2B5EF4-FFF2-40B4-BE49-F238E27FC236}">
                      <a16:creationId xmlns:a16="http://schemas.microsoft.com/office/drawing/2014/main" id="{3BE62985-66A3-4711-B953-20C542802B70}"/>
                    </a:ext>
                  </a:extLst>
                </p:cNvPr>
                <p:cNvSpPr/>
                <p:nvPr/>
              </p:nvSpPr>
              <p:spPr>
                <a:xfrm>
                  <a:off x="4098608" y="3667359"/>
                  <a:ext cx="68898" cy="12200"/>
                </a:xfrm>
                <a:custGeom>
                  <a:avLst/>
                  <a:gdLst>
                    <a:gd name="connsiteX0" fmla="*/ 68479 w 68898"/>
                    <a:gd name="connsiteY0" fmla="*/ 0 h 12200"/>
                    <a:gd name="connsiteX1" fmla="*/ 68898 w 68898"/>
                    <a:gd name="connsiteY1" fmla="*/ 3050 h 12200"/>
                    <a:gd name="connsiteX2" fmla="*/ 419 w 68898"/>
                    <a:gd name="connsiteY2" fmla="*/ 12201 h 12200"/>
                    <a:gd name="connsiteX3" fmla="*/ 0 w 68898"/>
                    <a:gd name="connsiteY3" fmla="*/ 9150 h 12200"/>
                  </a:gdLst>
                  <a:ahLst/>
                  <a:cxnLst>
                    <a:cxn ang="0">
                      <a:pos x="connsiteX0" y="connsiteY0"/>
                    </a:cxn>
                    <a:cxn ang="0">
                      <a:pos x="connsiteX1" y="connsiteY1"/>
                    </a:cxn>
                    <a:cxn ang="0">
                      <a:pos x="connsiteX2" y="connsiteY2"/>
                    </a:cxn>
                    <a:cxn ang="0">
                      <a:pos x="connsiteX3" y="connsiteY3"/>
                    </a:cxn>
                  </a:cxnLst>
                  <a:rect l="l" t="t" r="r" b="b"/>
                  <a:pathLst>
                    <a:path w="68898" h="12200">
                      <a:moveTo>
                        <a:pt x="68479" y="0"/>
                      </a:moveTo>
                      <a:lnTo>
                        <a:pt x="68898" y="3050"/>
                      </a:lnTo>
                      <a:lnTo>
                        <a:pt x="419" y="12201"/>
                      </a:lnTo>
                      <a:lnTo>
                        <a:pt x="0" y="9150"/>
                      </a:lnTo>
                      <a:close/>
                    </a:path>
                  </a:pathLst>
                </a:custGeom>
                <a:grpFill/>
                <a:ln w="5978" cap="flat">
                  <a:noFill/>
                  <a:prstDash val="solid"/>
                  <a:miter/>
                </a:ln>
              </p:spPr>
              <p:txBody>
                <a:bodyPr rtlCol="0" anchor="ctr"/>
                <a:lstStyle/>
                <a:p>
                  <a:endParaRPr lang="en-GB"/>
                </a:p>
              </p:txBody>
            </p:sp>
            <p:sp>
              <p:nvSpPr>
                <p:cNvPr id="1529" name="Vrije vorm: vorm 1528">
                  <a:extLst>
                    <a:ext uri="{FF2B5EF4-FFF2-40B4-BE49-F238E27FC236}">
                      <a16:creationId xmlns:a16="http://schemas.microsoft.com/office/drawing/2014/main" id="{DEBB7980-CF62-44EE-9A07-AA491BC8F6A3}"/>
                    </a:ext>
                  </a:extLst>
                </p:cNvPr>
                <p:cNvSpPr/>
                <p:nvPr/>
              </p:nvSpPr>
              <p:spPr>
                <a:xfrm>
                  <a:off x="4157678" y="3659744"/>
                  <a:ext cx="18340" cy="18398"/>
                </a:xfrm>
                <a:custGeom>
                  <a:avLst/>
                  <a:gdLst>
                    <a:gd name="connsiteX0" fmla="*/ 7914 w 18340"/>
                    <a:gd name="connsiteY0" fmla="*/ 79 h 18398"/>
                    <a:gd name="connsiteX1" fmla="*/ 18261 w 18340"/>
                    <a:gd name="connsiteY1" fmla="*/ 7973 h 18398"/>
                    <a:gd name="connsiteX2" fmla="*/ 10425 w 18340"/>
                    <a:gd name="connsiteY2" fmla="*/ 18320 h 18398"/>
                    <a:gd name="connsiteX3" fmla="*/ 79 w 18340"/>
                    <a:gd name="connsiteY3" fmla="*/ 10425 h 18398"/>
                    <a:gd name="connsiteX4" fmla="*/ 7914 w 18340"/>
                    <a:gd name="connsiteY4" fmla="*/ 7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8">
                      <a:moveTo>
                        <a:pt x="7914" y="79"/>
                      </a:moveTo>
                      <a:cubicBezTo>
                        <a:pt x="12938" y="-579"/>
                        <a:pt x="17543" y="2950"/>
                        <a:pt x="18261" y="7973"/>
                      </a:cubicBezTo>
                      <a:cubicBezTo>
                        <a:pt x="18918" y="12997"/>
                        <a:pt x="15449" y="17662"/>
                        <a:pt x="10425" y="18320"/>
                      </a:cubicBezTo>
                      <a:cubicBezTo>
                        <a:pt x="5402" y="18978"/>
                        <a:pt x="797" y="15449"/>
                        <a:pt x="79" y="10425"/>
                      </a:cubicBezTo>
                      <a:cubicBezTo>
                        <a:pt x="-579" y="5402"/>
                        <a:pt x="2950" y="737"/>
                        <a:pt x="7914" y="79"/>
                      </a:cubicBezTo>
                      <a:close/>
                    </a:path>
                  </a:pathLst>
                </a:custGeom>
                <a:grpFill/>
                <a:ln w="5978" cap="flat">
                  <a:noFill/>
                  <a:prstDash val="solid"/>
                  <a:miter/>
                </a:ln>
              </p:spPr>
              <p:txBody>
                <a:bodyPr rtlCol="0" anchor="ctr"/>
                <a:lstStyle/>
                <a:p>
                  <a:endParaRPr lang="en-GB"/>
                </a:p>
              </p:txBody>
            </p:sp>
            <p:sp>
              <p:nvSpPr>
                <p:cNvPr id="1530" name="Vrije vorm: vorm 1529">
                  <a:extLst>
                    <a:ext uri="{FF2B5EF4-FFF2-40B4-BE49-F238E27FC236}">
                      <a16:creationId xmlns:a16="http://schemas.microsoft.com/office/drawing/2014/main" id="{A4A0C6B4-49B0-48EE-B200-AB3CE67984F5}"/>
                    </a:ext>
                  </a:extLst>
                </p:cNvPr>
                <p:cNvSpPr/>
                <p:nvPr/>
              </p:nvSpPr>
              <p:spPr>
                <a:xfrm>
                  <a:off x="4090083" y="3668775"/>
                  <a:ext cx="18366" cy="18411"/>
                </a:xfrm>
                <a:custGeom>
                  <a:avLst/>
                  <a:gdLst>
                    <a:gd name="connsiteX0" fmla="*/ 7927 w 18366"/>
                    <a:gd name="connsiteY0" fmla="*/ 79 h 18411"/>
                    <a:gd name="connsiteX1" fmla="*/ 93 w 18366"/>
                    <a:gd name="connsiteY1" fmla="*/ 10426 h 18411"/>
                    <a:gd name="connsiteX2" fmla="*/ 10439 w 18366"/>
                    <a:gd name="connsiteY2" fmla="*/ 18320 h 18411"/>
                    <a:gd name="connsiteX3" fmla="*/ 18274 w 18366"/>
                    <a:gd name="connsiteY3" fmla="*/ 7973 h 18411"/>
                    <a:gd name="connsiteX4" fmla="*/ 7927 w 18366"/>
                    <a:gd name="connsiteY4" fmla="*/ 79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11">
                      <a:moveTo>
                        <a:pt x="7927" y="79"/>
                      </a:moveTo>
                      <a:cubicBezTo>
                        <a:pt x="2903" y="737"/>
                        <a:pt x="-625" y="5402"/>
                        <a:pt x="93" y="10426"/>
                      </a:cubicBezTo>
                      <a:cubicBezTo>
                        <a:pt x="750" y="15449"/>
                        <a:pt x="5416" y="19038"/>
                        <a:pt x="10439" y="18320"/>
                      </a:cubicBezTo>
                      <a:cubicBezTo>
                        <a:pt x="15463" y="17662"/>
                        <a:pt x="18992" y="12997"/>
                        <a:pt x="18274" y="7973"/>
                      </a:cubicBezTo>
                      <a:cubicBezTo>
                        <a:pt x="17556" y="2950"/>
                        <a:pt x="12951" y="-579"/>
                        <a:pt x="7927" y="79"/>
                      </a:cubicBezTo>
                      <a:close/>
                    </a:path>
                  </a:pathLst>
                </a:custGeom>
                <a:grpFill/>
                <a:ln w="5978" cap="flat">
                  <a:noFill/>
                  <a:prstDash val="solid"/>
                  <a:miter/>
                </a:ln>
              </p:spPr>
              <p:txBody>
                <a:bodyPr rtlCol="0" anchor="ctr"/>
                <a:lstStyle/>
                <a:p>
                  <a:endParaRPr lang="en-GB"/>
                </a:p>
              </p:txBody>
            </p:sp>
          </p:grpSp>
          <p:grpSp>
            <p:nvGrpSpPr>
              <p:cNvPr id="1294" name="Graphic 3">
                <a:extLst>
                  <a:ext uri="{FF2B5EF4-FFF2-40B4-BE49-F238E27FC236}">
                    <a16:creationId xmlns:a16="http://schemas.microsoft.com/office/drawing/2014/main" id="{3C132173-BB11-43F9-9DA2-AA6F1120E875}"/>
                  </a:ext>
                </a:extLst>
              </p:cNvPr>
              <p:cNvGrpSpPr/>
              <p:nvPr/>
            </p:nvGrpSpPr>
            <p:grpSpPr>
              <a:xfrm>
                <a:off x="4090095" y="3659672"/>
                <a:ext cx="86474" cy="27502"/>
                <a:chOff x="4090095" y="3659672"/>
                <a:chExt cx="86474" cy="27502"/>
              </a:xfrm>
              <a:grpFill/>
            </p:grpSpPr>
            <p:sp>
              <p:nvSpPr>
                <p:cNvPr id="1525" name="Vrije vorm: vorm 1524">
                  <a:extLst>
                    <a:ext uri="{FF2B5EF4-FFF2-40B4-BE49-F238E27FC236}">
                      <a16:creationId xmlns:a16="http://schemas.microsoft.com/office/drawing/2014/main" id="{F7ED148A-0700-43E2-8880-7271DD4E1282}"/>
                    </a:ext>
                  </a:extLst>
                </p:cNvPr>
                <p:cNvSpPr/>
                <p:nvPr/>
              </p:nvSpPr>
              <p:spPr>
                <a:xfrm>
                  <a:off x="4098608" y="3667299"/>
                  <a:ext cx="69436" cy="12260"/>
                </a:xfrm>
                <a:custGeom>
                  <a:avLst/>
                  <a:gdLst>
                    <a:gd name="connsiteX0" fmla="*/ 69018 w 69436"/>
                    <a:gd name="connsiteY0" fmla="*/ 0 h 12260"/>
                    <a:gd name="connsiteX1" fmla="*/ 69436 w 69436"/>
                    <a:gd name="connsiteY1" fmla="*/ 3050 h 12260"/>
                    <a:gd name="connsiteX2" fmla="*/ 419 w 69436"/>
                    <a:gd name="connsiteY2" fmla="*/ 12260 h 12260"/>
                    <a:gd name="connsiteX3" fmla="*/ 0 w 69436"/>
                    <a:gd name="connsiteY3" fmla="*/ 9210 h 12260"/>
                  </a:gdLst>
                  <a:ahLst/>
                  <a:cxnLst>
                    <a:cxn ang="0">
                      <a:pos x="connsiteX0" y="connsiteY0"/>
                    </a:cxn>
                    <a:cxn ang="0">
                      <a:pos x="connsiteX1" y="connsiteY1"/>
                    </a:cxn>
                    <a:cxn ang="0">
                      <a:pos x="connsiteX2" y="connsiteY2"/>
                    </a:cxn>
                    <a:cxn ang="0">
                      <a:pos x="connsiteX3" y="connsiteY3"/>
                    </a:cxn>
                  </a:cxnLst>
                  <a:rect l="l" t="t" r="r" b="b"/>
                  <a:pathLst>
                    <a:path w="69436" h="12260">
                      <a:moveTo>
                        <a:pt x="69018" y="0"/>
                      </a:moveTo>
                      <a:lnTo>
                        <a:pt x="69436" y="3050"/>
                      </a:lnTo>
                      <a:lnTo>
                        <a:pt x="419" y="12260"/>
                      </a:lnTo>
                      <a:lnTo>
                        <a:pt x="0" y="9210"/>
                      </a:lnTo>
                      <a:close/>
                    </a:path>
                  </a:pathLst>
                </a:custGeom>
                <a:grpFill/>
                <a:ln w="5978" cap="flat">
                  <a:noFill/>
                  <a:prstDash val="solid"/>
                  <a:miter/>
                </a:ln>
              </p:spPr>
              <p:txBody>
                <a:bodyPr rtlCol="0" anchor="ctr"/>
                <a:lstStyle/>
                <a:p>
                  <a:endParaRPr lang="en-GB"/>
                </a:p>
              </p:txBody>
            </p:sp>
            <p:sp>
              <p:nvSpPr>
                <p:cNvPr id="1526" name="Vrije vorm: vorm 1525">
                  <a:extLst>
                    <a:ext uri="{FF2B5EF4-FFF2-40B4-BE49-F238E27FC236}">
                      <a16:creationId xmlns:a16="http://schemas.microsoft.com/office/drawing/2014/main" id="{2C4DE275-6946-4B1B-9626-4E7227BE1AD1}"/>
                    </a:ext>
                  </a:extLst>
                </p:cNvPr>
                <p:cNvSpPr/>
                <p:nvPr/>
              </p:nvSpPr>
              <p:spPr>
                <a:xfrm>
                  <a:off x="4090095" y="3668775"/>
                  <a:ext cx="18341" cy="18399"/>
                </a:xfrm>
                <a:custGeom>
                  <a:avLst/>
                  <a:gdLst>
                    <a:gd name="connsiteX0" fmla="*/ 10427 w 18341"/>
                    <a:gd name="connsiteY0" fmla="*/ 18320 h 18399"/>
                    <a:gd name="connsiteX1" fmla="*/ 80 w 18341"/>
                    <a:gd name="connsiteY1" fmla="*/ 10426 h 18399"/>
                    <a:gd name="connsiteX2" fmla="*/ 7915 w 18341"/>
                    <a:gd name="connsiteY2" fmla="*/ 79 h 18399"/>
                    <a:gd name="connsiteX3" fmla="*/ 18261 w 18341"/>
                    <a:gd name="connsiteY3" fmla="*/ 7973 h 18399"/>
                    <a:gd name="connsiteX4" fmla="*/ 10427 w 18341"/>
                    <a:gd name="connsiteY4" fmla="*/ 1832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9">
                      <a:moveTo>
                        <a:pt x="10427" y="18320"/>
                      </a:moveTo>
                      <a:cubicBezTo>
                        <a:pt x="5403" y="18978"/>
                        <a:pt x="798" y="15449"/>
                        <a:pt x="80" y="10426"/>
                      </a:cubicBezTo>
                      <a:cubicBezTo>
                        <a:pt x="-578" y="5402"/>
                        <a:pt x="2891" y="737"/>
                        <a:pt x="7915" y="79"/>
                      </a:cubicBezTo>
                      <a:cubicBezTo>
                        <a:pt x="12939" y="-579"/>
                        <a:pt x="17544" y="2950"/>
                        <a:pt x="18261" y="7973"/>
                      </a:cubicBezTo>
                      <a:cubicBezTo>
                        <a:pt x="18919" y="13057"/>
                        <a:pt x="15450" y="17662"/>
                        <a:pt x="10427" y="18320"/>
                      </a:cubicBezTo>
                      <a:close/>
                    </a:path>
                  </a:pathLst>
                </a:custGeom>
                <a:grpFill/>
                <a:ln w="5978" cap="flat">
                  <a:noFill/>
                  <a:prstDash val="solid"/>
                  <a:miter/>
                </a:ln>
              </p:spPr>
              <p:txBody>
                <a:bodyPr rtlCol="0" anchor="ctr"/>
                <a:lstStyle/>
                <a:p>
                  <a:endParaRPr lang="en-GB"/>
                </a:p>
              </p:txBody>
            </p:sp>
            <p:sp>
              <p:nvSpPr>
                <p:cNvPr id="1527" name="Vrije vorm: vorm 1526">
                  <a:extLst>
                    <a:ext uri="{FF2B5EF4-FFF2-40B4-BE49-F238E27FC236}">
                      <a16:creationId xmlns:a16="http://schemas.microsoft.com/office/drawing/2014/main" id="{C0175461-EC17-4038-90EF-DC00112861F4}"/>
                    </a:ext>
                  </a:extLst>
                </p:cNvPr>
                <p:cNvSpPr/>
                <p:nvPr/>
              </p:nvSpPr>
              <p:spPr>
                <a:xfrm>
                  <a:off x="4158203" y="3659672"/>
                  <a:ext cx="18366" cy="18411"/>
                </a:xfrm>
                <a:custGeom>
                  <a:avLst/>
                  <a:gdLst>
                    <a:gd name="connsiteX0" fmla="*/ 10439 w 18366"/>
                    <a:gd name="connsiteY0" fmla="*/ 18333 h 18411"/>
                    <a:gd name="connsiteX1" fmla="*/ 18274 w 18366"/>
                    <a:gd name="connsiteY1" fmla="*/ 7986 h 18411"/>
                    <a:gd name="connsiteX2" fmla="*/ 7927 w 18366"/>
                    <a:gd name="connsiteY2" fmla="*/ 91 h 18411"/>
                    <a:gd name="connsiteX3" fmla="*/ 93 w 18366"/>
                    <a:gd name="connsiteY3" fmla="*/ 10438 h 18411"/>
                    <a:gd name="connsiteX4" fmla="*/ 10439 w 18366"/>
                    <a:gd name="connsiteY4" fmla="*/ 1833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11">
                      <a:moveTo>
                        <a:pt x="10439" y="18333"/>
                      </a:moveTo>
                      <a:cubicBezTo>
                        <a:pt x="15463" y="17675"/>
                        <a:pt x="18992" y="13010"/>
                        <a:pt x="18274" y="7986"/>
                      </a:cubicBezTo>
                      <a:cubicBezTo>
                        <a:pt x="17616" y="2962"/>
                        <a:pt x="12951" y="-626"/>
                        <a:pt x="7927" y="91"/>
                      </a:cubicBezTo>
                      <a:cubicBezTo>
                        <a:pt x="2903" y="749"/>
                        <a:pt x="-625" y="5414"/>
                        <a:pt x="93" y="10438"/>
                      </a:cubicBezTo>
                      <a:cubicBezTo>
                        <a:pt x="810" y="15462"/>
                        <a:pt x="5415" y="18991"/>
                        <a:pt x="10439" y="18333"/>
                      </a:cubicBezTo>
                      <a:close/>
                    </a:path>
                  </a:pathLst>
                </a:custGeom>
                <a:grpFill/>
                <a:ln w="5978" cap="flat">
                  <a:noFill/>
                  <a:prstDash val="solid"/>
                  <a:miter/>
                </a:ln>
              </p:spPr>
              <p:txBody>
                <a:bodyPr rtlCol="0" anchor="ctr"/>
                <a:lstStyle/>
                <a:p>
                  <a:endParaRPr lang="en-GB"/>
                </a:p>
              </p:txBody>
            </p:sp>
          </p:grpSp>
          <p:grpSp>
            <p:nvGrpSpPr>
              <p:cNvPr id="1295" name="Graphic 3">
                <a:extLst>
                  <a:ext uri="{FF2B5EF4-FFF2-40B4-BE49-F238E27FC236}">
                    <a16:creationId xmlns:a16="http://schemas.microsoft.com/office/drawing/2014/main" id="{47330A7F-904B-4B2C-9011-AF4C2474D254}"/>
                  </a:ext>
                </a:extLst>
              </p:cNvPr>
              <p:cNvGrpSpPr/>
              <p:nvPr/>
            </p:nvGrpSpPr>
            <p:grpSpPr>
              <a:xfrm>
                <a:off x="4298191" y="4447595"/>
                <a:ext cx="251809" cy="178762"/>
                <a:chOff x="4298191" y="4447595"/>
                <a:chExt cx="251809" cy="178762"/>
              </a:xfrm>
              <a:grpFill/>
            </p:grpSpPr>
            <p:sp>
              <p:nvSpPr>
                <p:cNvPr id="1522" name="Vrije vorm: vorm 1521">
                  <a:extLst>
                    <a:ext uri="{FF2B5EF4-FFF2-40B4-BE49-F238E27FC236}">
                      <a16:creationId xmlns:a16="http://schemas.microsoft.com/office/drawing/2014/main" id="{61138B3A-87CD-4FE8-8540-A960D786FE48}"/>
                    </a:ext>
                  </a:extLst>
                </p:cNvPr>
                <p:cNvSpPr/>
                <p:nvPr/>
              </p:nvSpPr>
              <p:spPr>
                <a:xfrm>
                  <a:off x="4306079" y="4455319"/>
                  <a:ext cx="235939" cy="163333"/>
                </a:xfrm>
                <a:custGeom>
                  <a:avLst/>
                  <a:gdLst>
                    <a:gd name="connsiteX0" fmla="*/ 235940 w 235939"/>
                    <a:gd name="connsiteY0" fmla="*/ 2512 h 163333"/>
                    <a:gd name="connsiteX1" fmla="*/ 1735 w 235939"/>
                    <a:gd name="connsiteY1" fmla="*/ 163333 h 163333"/>
                    <a:gd name="connsiteX2" fmla="*/ 0 w 235939"/>
                    <a:gd name="connsiteY2" fmla="*/ 160822 h 163333"/>
                    <a:gd name="connsiteX3" fmla="*/ 234265 w 235939"/>
                    <a:gd name="connsiteY3" fmla="*/ 0 h 163333"/>
                  </a:gdLst>
                  <a:ahLst/>
                  <a:cxnLst>
                    <a:cxn ang="0">
                      <a:pos x="connsiteX0" y="connsiteY0"/>
                    </a:cxn>
                    <a:cxn ang="0">
                      <a:pos x="connsiteX1" y="connsiteY1"/>
                    </a:cxn>
                    <a:cxn ang="0">
                      <a:pos x="connsiteX2" y="connsiteY2"/>
                    </a:cxn>
                    <a:cxn ang="0">
                      <a:pos x="connsiteX3" y="connsiteY3"/>
                    </a:cxn>
                  </a:cxnLst>
                  <a:rect l="l" t="t" r="r" b="b"/>
                  <a:pathLst>
                    <a:path w="235939" h="163333">
                      <a:moveTo>
                        <a:pt x="235940" y="2512"/>
                      </a:moveTo>
                      <a:lnTo>
                        <a:pt x="1735" y="163333"/>
                      </a:lnTo>
                      <a:lnTo>
                        <a:pt x="0" y="160822"/>
                      </a:lnTo>
                      <a:lnTo>
                        <a:pt x="234265" y="0"/>
                      </a:lnTo>
                      <a:close/>
                    </a:path>
                  </a:pathLst>
                </a:custGeom>
                <a:grpFill/>
                <a:ln w="5978" cap="flat">
                  <a:noFill/>
                  <a:prstDash val="solid"/>
                  <a:miter/>
                </a:ln>
              </p:spPr>
              <p:txBody>
                <a:bodyPr rtlCol="0" anchor="ctr"/>
                <a:lstStyle/>
                <a:p>
                  <a:endParaRPr lang="en-GB"/>
                </a:p>
              </p:txBody>
            </p:sp>
            <p:sp>
              <p:nvSpPr>
                <p:cNvPr id="1523" name="Vrije vorm: vorm 1522">
                  <a:extLst>
                    <a:ext uri="{FF2B5EF4-FFF2-40B4-BE49-F238E27FC236}">
                      <a16:creationId xmlns:a16="http://schemas.microsoft.com/office/drawing/2014/main" id="{91F29781-3B18-40FD-8FF0-C917F32B8D3E}"/>
                    </a:ext>
                  </a:extLst>
                </p:cNvPr>
                <p:cNvSpPr/>
                <p:nvPr/>
              </p:nvSpPr>
              <p:spPr>
                <a:xfrm>
                  <a:off x="4298191" y="4607896"/>
                  <a:ext cx="18322" cy="18461"/>
                </a:xfrm>
                <a:custGeom>
                  <a:avLst/>
                  <a:gdLst>
                    <a:gd name="connsiteX0" fmla="*/ 14348 w 18322"/>
                    <a:gd name="connsiteY0" fmla="*/ 16856 h 18461"/>
                    <a:gd name="connsiteX1" fmla="*/ 1609 w 18322"/>
                    <a:gd name="connsiteY1" fmla="*/ 14404 h 18461"/>
                    <a:gd name="connsiteX2" fmla="*/ 4001 w 18322"/>
                    <a:gd name="connsiteY2" fmla="*/ 1606 h 18461"/>
                    <a:gd name="connsiteX3" fmla="*/ 16740 w 18322"/>
                    <a:gd name="connsiteY3" fmla="*/ 4057 h 18461"/>
                    <a:gd name="connsiteX4" fmla="*/ 14348 w 18322"/>
                    <a:gd name="connsiteY4" fmla="*/ 1685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61">
                      <a:moveTo>
                        <a:pt x="14348" y="16856"/>
                      </a:moveTo>
                      <a:cubicBezTo>
                        <a:pt x="10161" y="19727"/>
                        <a:pt x="4479" y="18650"/>
                        <a:pt x="1609" y="14404"/>
                      </a:cubicBezTo>
                      <a:cubicBezTo>
                        <a:pt x="-1262" y="10218"/>
                        <a:pt x="-186" y="4476"/>
                        <a:pt x="4001" y="1606"/>
                      </a:cubicBezTo>
                      <a:cubicBezTo>
                        <a:pt x="8188" y="-1265"/>
                        <a:pt x="13869" y="-189"/>
                        <a:pt x="16740" y="4057"/>
                      </a:cubicBezTo>
                      <a:cubicBezTo>
                        <a:pt x="19551" y="8244"/>
                        <a:pt x="18534" y="13986"/>
                        <a:pt x="14348" y="16856"/>
                      </a:cubicBezTo>
                      <a:close/>
                    </a:path>
                  </a:pathLst>
                </a:custGeom>
                <a:grpFill/>
                <a:ln w="5978" cap="flat">
                  <a:noFill/>
                  <a:prstDash val="solid"/>
                  <a:miter/>
                </a:ln>
              </p:spPr>
              <p:txBody>
                <a:bodyPr rtlCol="0" anchor="ctr"/>
                <a:lstStyle/>
                <a:p>
                  <a:endParaRPr lang="en-GB"/>
                </a:p>
              </p:txBody>
            </p:sp>
            <p:sp>
              <p:nvSpPr>
                <p:cNvPr id="1524" name="Vrije vorm: vorm 1523">
                  <a:extLst>
                    <a:ext uri="{FF2B5EF4-FFF2-40B4-BE49-F238E27FC236}">
                      <a16:creationId xmlns:a16="http://schemas.microsoft.com/office/drawing/2014/main" id="{61ABEA2A-CC70-4020-A12B-6BE2E9BC53EE}"/>
                    </a:ext>
                  </a:extLst>
                </p:cNvPr>
                <p:cNvSpPr/>
                <p:nvPr/>
              </p:nvSpPr>
              <p:spPr>
                <a:xfrm>
                  <a:off x="4531705" y="4447595"/>
                  <a:ext cx="18296" cy="18419"/>
                </a:xfrm>
                <a:custGeom>
                  <a:avLst/>
                  <a:gdLst>
                    <a:gd name="connsiteX0" fmla="*/ 14321 w 18296"/>
                    <a:gd name="connsiteY0" fmla="*/ 16814 h 18419"/>
                    <a:gd name="connsiteX1" fmla="*/ 16714 w 18296"/>
                    <a:gd name="connsiteY1" fmla="*/ 4015 h 18419"/>
                    <a:gd name="connsiteX2" fmla="*/ 3975 w 18296"/>
                    <a:gd name="connsiteY2" fmla="*/ 1563 h 18419"/>
                    <a:gd name="connsiteX3" fmla="*/ 1583 w 18296"/>
                    <a:gd name="connsiteY3" fmla="*/ 14362 h 18419"/>
                    <a:gd name="connsiteX4" fmla="*/ 14321 w 18296"/>
                    <a:gd name="connsiteY4" fmla="*/ 1681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9">
                      <a:moveTo>
                        <a:pt x="14321" y="16814"/>
                      </a:moveTo>
                      <a:cubicBezTo>
                        <a:pt x="18508" y="13944"/>
                        <a:pt x="19525" y="8202"/>
                        <a:pt x="16714" y="4015"/>
                      </a:cubicBezTo>
                      <a:cubicBezTo>
                        <a:pt x="13843" y="-171"/>
                        <a:pt x="8161" y="-1248"/>
                        <a:pt x="3975" y="1563"/>
                      </a:cubicBezTo>
                      <a:cubicBezTo>
                        <a:pt x="-212" y="4434"/>
                        <a:pt x="-1229" y="10176"/>
                        <a:pt x="1583" y="14362"/>
                      </a:cubicBezTo>
                      <a:cubicBezTo>
                        <a:pt x="4393" y="18608"/>
                        <a:pt x="10135" y="19685"/>
                        <a:pt x="14321" y="16814"/>
                      </a:cubicBezTo>
                      <a:close/>
                    </a:path>
                  </a:pathLst>
                </a:custGeom>
                <a:grpFill/>
                <a:ln w="5978" cap="flat">
                  <a:noFill/>
                  <a:prstDash val="solid"/>
                  <a:miter/>
                </a:ln>
              </p:spPr>
              <p:txBody>
                <a:bodyPr rtlCol="0" anchor="ctr"/>
                <a:lstStyle/>
                <a:p>
                  <a:endParaRPr lang="en-GB"/>
                </a:p>
              </p:txBody>
            </p:sp>
          </p:grpSp>
          <p:grpSp>
            <p:nvGrpSpPr>
              <p:cNvPr id="1296" name="Graphic 3">
                <a:extLst>
                  <a:ext uri="{FF2B5EF4-FFF2-40B4-BE49-F238E27FC236}">
                    <a16:creationId xmlns:a16="http://schemas.microsoft.com/office/drawing/2014/main" id="{693F3083-C028-42E9-9D1D-66C1DF448C07}"/>
                  </a:ext>
                </a:extLst>
              </p:cNvPr>
              <p:cNvGrpSpPr/>
              <p:nvPr/>
            </p:nvGrpSpPr>
            <p:grpSpPr>
              <a:xfrm>
                <a:off x="3802263" y="3536979"/>
                <a:ext cx="565178" cy="19198"/>
                <a:chOff x="3802263" y="3536979"/>
                <a:chExt cx="565178" cy="19198"/>
              </a:xfrm>
              <a:grpFill/>
            </p:grpSpPr>
            <p:sp>
              <p:nvSpPr>
                <p:cNvPr id="1519" name="Vrije vorm: vorm 1518">
                  <a:extLst>
                    <a:ext uri="{FF2B5EF4-FFF2-40B4-BE49-F238E27FC236}">
                      <a16:creationId xmlns:a16="http://schemas.microsoft.com/office/drawing/2014/main" id="{05436849-A8B2-40AF-9FA8-15B571E8F7B2}"/>
                    </a:ext>
                  </a:extLst>
                </p:cNvPr>
                <p:cNvSpPr/>
                <p:nvPr/>
              </p:nvSpPr>
              <p:spPr>
                <a:xfrm>
                  <a:off x="3810935" y="3544634"/>
                  <a:ext cx="547834" cy="3827"/>
                </a:xfrm>
                <a:custGeom>
                  <a:avLst/>
                  <a:gdLst>
                    <a:gd name="connsiteX0" fmla="*/ 547775 w 547834"/>
                    <a:gd name="connsiteY0" fmla="*/ 0 h 3827"/>
                    <a:gd name="connsiteX1" fmla="*/ 547834 w 547834"/>
                    <a:gd name="connsiteY1" fmla="*/ 3050 h 3827"/>
                    <a:gd name="connsiteX2" fmla="*/ 60 w 547834"/>
                    <a:gd name="connsiteY2" fmla="*/ 3828 h 3827"/>
                    <a:gd name="connsiteX3" fmla="*/ 0 w 547834"/>
                    <a:gd name="connsiteY3" fmla="*/ 778 h 3827"/>
                  </a:gdLst>
                  <a:ahLst/>
                  <a:cxnLst>
                    <a:cxn ang="0">
                      <a:pos x="connsiteX0" y="connsiteY0"/>
                    </a:cxn>
                    <a:cxn ang="0">
                      <a:pos x="connsiteX1" y="connsiteY1"/>
                    </a:cxn>
                    <a:cxn ang="0">
                      <a:pos x="connsiteX2" y="connsiteY2"/>
                    </a:cxn>
                    <a:cxn ang="0">
                      <a:pos x="connsiteX3" y="connsiteY3"/>
                    </a:cxn>
                  </a:cxnLst>
                  <a:rect l="l" t="t" r="r" b="b"/>
                  <a:pathLst>
                    <a:path w="547834" h="3827">
                      <a:moveTo>
                        <a:pt x="547775" y="0"/>
                      </a:moveTo>
                      <a:lnTo>
                        <a:pt x="547834" y="3050"/>
                      </a:lnTo>
                      <a:lnTo>
                        <a:pt x="60" y="3828"/>
                      </a:lnTo>
                      <a:lnTo>
                        <a:pt x="0" y="778"/>
                      </a:lnTo>
                      <a:close/>
                    </a:path>
                  </a:pathLst>
                </a:custGeom>
                <a:grpFill/>
                <a:ln w="5978" cap="flat">
                  <a:noFill/>
                  <a:prstDash val="solid"/>
                  <a:miter/>
                </a:ln>
              </p:spPr>
              <p:txBody>
                <a:bodyPr rtlCol="0" anchor="ctr"/>
                <a:lstStyle/>
                <a:p>
                  <a:endParaRPr lang="en-GB"/>
                </a:p>
              </p:txBody>
            </p:sp>
            <p:sp>
              <p:nvSpPr>
                <p:cNvPr id="1520" name="Vrije vorm: vorm 1519">
                  <a:extLst>
                    <a:ext uri="{FF2B5EF4-FFF2-40B4-BE49-F238E27FC236}">
                      <a16:creationId xmlns:a16="http://schemas.microsoft.com/office/drawing/2014/main" id="{4E4C3E0A-0E67-4801-BD26-4BB375E6B4F2}"/>
                    </a:ext>
                  </a:extLst>
                </p:cNvPr>
                <p:cNvSpPr/>
                <p:nvPr/>
              </p:nvSpPr>
              <p:spPr>
                <a:xfrm>
                  <a:off x="4349140" y="3536979"/>
                  <a:ext cx="18301" cy="18420"/>
                </a:xfrm>
                <a:custGeom>
                  <a:avLst/>
                  <a:gdLst>
                    <a:gd name="connsiteX0" fmla="*/ 9091 w 18301"/>
                    <a:gd name="connsiteY0" fmla="*/ 0 h 18420"/>
                    <a:gd name="connsiteX1" fmla="*/ 18302 w 18301"/>
                    <a:gd name="connsiteY1" fmla="*/ 9210 h 18420"/>
                    <a:gd name="connsiteX2" fmla="*/ 9211 w 18301"/>
                    <a:gd name="connsiteY2" fmla="*/ 18421 h 18420"/>
                    <a:gd name="connsiteX3" fmla="*/ 1 w 18301"/>
                    <a:gd name="connsiteY3" fmla="*/ 9210 h 18420"/>
                    <a:gd name="connsiteX4" fmla="*/ 9091 w 18301"/>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0">
                      <a:moveTo>
                        <a:pt x="9091" y="0"/>
                      </a:moveTo>
                      <a:cubicBezTo>
                        <a:pt x="14175" y="0"/>
                        <a:pt x="18302" y="4127"/>
                        <a:pt x="18302" y="9210"/>
                      </a:cubicBezTo>
                      <a:cubicBezTo>
                        <a:pt x="18302" y="14294"/>
                        <a:pt x="14235" y="18421"/>
                        <a:pt x="9211" y="18421"/>
                      </a:cubicBezTo>
                      <a:cubicBezTo>
                        <a:pt x="4127" y="18421"/>
                        <a:pt x="1" y="14294"/>
                        <a:pt x="1" y="9210"/>
                      </a:cubicBezTo>
                      <a:cubicBezTo>
                        <a:pt x="-59" y="4127"/>
                        <a:pt x="4008" y="0"/>
                        <a:pt x="9091" y="0"/>
                      </a:cubicBezTo>
                      <a:close/>
                    </a:path>
                  </a:pathLst>
                </a:custGeom>
                <a:grpFill/>
                <a:ln w="5978" cap="flat">
                  <a:noFill/>
                  <a:prstDash val="solid"/>
                  <a:miter/>
                </a:ln>
              </p:spPr>
              <p:txBody>
                <a:bodyPr rtlCol="0" anchor="ctr"/>
                <a:lstStyle/>
                <a:p>
                  <a:endParaRPr lang="en-GB"/>
                </a:p>
              </p:txBody>
            </p:sp>
            <p:sp>
              <p:nvSpPr>
                <p:cNvPr id="1521" name="Vrije vorm: vorm 1520">
                  <a:extLst>
                    <a:ext uri="{FF2B5EF4-FFF2-40B4-BE49-F238E27FC236}">
                      <a16:creationId xmlns:a16="http://schemas.microsoft.com/office/drawing/2014/main" id="{90AA1CF5-7D1A-4AA2-BF3C-223531DEDA4E}"/>
                    </a:ext>
                  </a:extLst>
                </p:cNvPr>
                <p:cNvSpPr/>
                <p:nvPr/>
              </p:nvSpPr>
              <p:spPr>
                <a:xfrm>
                  <a:off x="3802263" y="3537756"/>
                  <a:ext cx="18302" cy="18420"/>
                </a:xfrm>
                <a:custGeom>
                  <a:avLst/>
                  <a:gdLst>
                    <a:gd name="connsiteX0" fmla="*/ 9091 w 18302"/>
                    <a:gd name="connsiteY0" fmla="*/ 0 h 18420"/>
                    <a:gd name="connsiteX1" fmla="*/ 1 w 18302"/>
                    <a:gd name="connsiteY1" fmla="*/ 9210 h 18420"/>
                    <a:gd name="connsiteX2" fmla="*/ 9211 w 18302"/>
                    <a:gd name="connsiteY2" fmla="*/ 18421 h 18420"/>
                    <a:gd name="connsiteX3" fmla="*/ 18302 w 18302"/>
                    <a:gd name="connsiteY3" fmla="*/ 9210 h 18420"/>
                    <a:gd name="connsiteX4" fmla="*/ 9091 w 18302"/>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091" y="0"/>
                      </a:moveTo>
                      <a:cubicBezTo>
                        <a:pt x="4008" y="0"/>
                        <a:pt x="-59" y="4127"/>
                        <a:pt x="1" y="9210"/>
                      </a:cubicBezTo>
                      <a:cubicBezTo>
                        <a:pt x="1" y="14294"/>
                        <a:pt x="4127" y="18421"/>
                        <a:pt x="9211" y="18421"/>
                      </a:cubicBezTo>
                      <a:cubicBezTo>
                        <a:pt x="14295" y="18421"/>
                        <a:pt x="18362" y="14294"/>
                        <a:pt x="18302" y="9210"/>
                      </a:cubicBezTo>
                      <a:cubicBezTo>
                        <a:pt x="18242" y="4127"/>
                        <a:pt x="14175" y="0"/>
                        <a:pt x="9091" y="0"/>
                      </a:cubicBezTo>
                      <a:close/>
                    </a:path>
                  </a:pathLst>
                </a:custGeom>
                <a:grpFill/>
                <a:ln w="5978" cap="flat">
                  <a:noFill/>
                  <a:prstDash val="solid"/>
                  <a:miter/>
                </a:ln>
              </p:spPr>
              <p:txBody>
                <a:bodyPr rtlCol="0" anchor="ctr"/>
                <a:lstStyle/>
                <a:p>
                  <a:endParaRPr lang="en-GB"/>
                </a:p>
              </p:txBody>
            </p:sp>
          </p:grpSp>
          <p:grpSp>
            <p:nvGrpSpPr>
              <p:cNvPr id="1297" name="Graphic 3">
                <a:extLst>
                  <a:ext uri="{FF2B5EF4-FFF2-40B4-BE49-F238E27FC236}">
                    <a16:creationId xmlns:a16="http://schemas.microsoft.com/office/drawing/2014/main" id="{92306D04-303B-43AA-AE46-80282D414C1E}"/>
                  </a:ext>
                </a:extLst>
              </p:cNvPr>
              <p:cNvGrpSpPr/>
              <p:nvPr/>
            </p:nvGrpSpPr>
            <p:grpSpPr>
              <a:xfrm>
                <a:off x="4045856" y="3447923"/>
                <a:ext cx="24585" cy="18545"/>
                <a:chOff x="4045856" y="3447923"/>
                <a:chExt cx="24585" cy="18545"/>
              </a:xfrm>
              <a:grpFill/>
            </p:grpSpPr>
            <p:sp>
              <p:nvSpPr>
                <p:cNvPr id="1516" name="Vrije vorm: vorm 1515">
                  <a:extLst>
                    <a:ext uri="{FF2B5EF4-FFF2-40B4-BE49-F238E27FC236}">
                      <a16:creationId xmlns:a16="http://schemas.microsoft.com/office/drawing/2014/main" id="{503A2479-4AFB-4B0B-9DE9-6A08B673EBE5}"/>
                    </a:ext>
                  </a:extLst>
                </p:cNvPr>
                <p:cNvSpPr/>
                <p:nvPr/>
              </p:nvSpPr>
              <p:spPr>
                <a:xfrm>
                  <a:off x="4054530" y="3455581"/>
                  <a:ext cx="7236" cy="3229"/>
                </a:xfrm>
                <a:custGeom>
                  <a:avLst/>
                  <a:gdLst>
                    <a:gd name="connsiteX0" fmla="*/ 7177 w 7236"/>
                    <a:gd name="connsiteY0" fmla="*/ 0 h 3229"/>
                    <a:gd name="connsiteX1" fmla="*/ 7237 w 7236"/>
                    <a:gd name="connsiteY1" fmla="*/ 3110 h 3229"/>
                    <a:gd name="connsiteX2" fmla="*/ 60 w 7236"/>
                    <a:gd name="connsiteY2" fmla="*/ 3229 h 3229"/>
                    <a:gd name="connsiteX3" fmla="*/ 0 w 7236"/>
                    <a:gd name="connsiteY3" fmla="*/ 179 h 3229"/>
                  </a:gdLst>
                  <a:ahLst/>
                  <a:cxnLst>
                    <a:cxn ang="0">
                      <a:pos x="connsiteX0" y="connsiteY0"/>
                    </a:cxn>
                    <a:cxn ang="0">
                      <a:pos x="connsiteX1" y="connsiteY1"/>
                    </a:cxn>
                    <a:cxn ang="0">
                      <a:pos x="connsiteX2" y="connsiteY2"/>
                    </a:cxn>
                    <a:cxn ang="0">
                      <a:pos x="connsiteX3" y="connsiteY3"/>
                    </a:cxn>
                  </a:cxnLst>
                  <a:rect l="l" t="t" r="r" b="b"/>
                  <a:pathLst>
                    <a:path w="7236" h="3229">
                      <a:moveTo>
                        <a:pt x="7177" y="0"/>
                      </a:moveTo>
                      <a:lnTo>
                        <a:pt x="7237" y="3110"/>
                      </a:lnTo>
                      <a:lnTo>
                        <a:pt x="60" y="3229"/>
                      </a:lnTo>
                      <a:lnTo>
                        <a:pt x="0" y="179"/>
                      </a:lnTo>
                      <a:close/>
                    </a:path>
                  </a:pathLst>
                </a:custGeom>
                <a:grpFill/>
                <a:ln w="5978" cap="flat">
                  <a:noFill/>
                  <a:prstDash val="solid"/>
                  <a:miter/>
                </a:ln>
              </p:spPr>
              <p:txBody>
                <a:bodyPr rtlCol="0" anchor="ctr"/>
                <a:lstStyle/>
                <a:p>
                  <a:endParaRPr lang="en-GB"/>
                </a:p>
              </p:txBody>
            </p:sp>
            <p:sp>
              <p:nvSpPr>
                <p:cNvPr id="1517" name="Vrije vorm: vorm 1516">
                  <a:extLst>
                    <a:ext uri="{FF2B5EF4-FFF2-40B4-BE49-F238E27FC236}">
                      <a16:creationId xmlns:a16="http://schemas.microsoft.com/office/drawing/2014/main" id="{F3FA59FD-F12D-462C-86C5-135F639BAC3F}"/>
                    </a:ext>
                  </a:extLst>
                </p:cNvPr>
                <p:cNvSpPr/>
                <p:nvPr/>
              </p:nvSpPr>
              <p:spPr>
                <a:xfrm>
                  <a:off x="4045856" y="3448043"/>
                  <a:ext cx="18363" cy="18425"/>
                </a:xfrm>
                <a:custGeom>
                  <a:avLst/>
                  <a:gdLst>
                    <a:gd name="connsiteX0" fmla="*/ 9392 w 18363"/>
                    <a:gd name="connsiteY0" fmla="*/ 18423 h 18425"/>
                    <a:gd name="connsiteX1" fmla="*/ 3 w 18363"/>
                    <a:gd name="connsiteY1" fmla="*/ 9392 h 18425"/>
                    <a:gd name="connsiteX2" fmla="*/ 8974 w 18363"/>
                    <a:gd name="connsiteY2" fmla="*/ 3 h 18425"/>
                    <a:gd name="connsiteX3" fmla="*/ 18363 w 18363"/>
                    <a:gd name="connsiteY3" fmla="*/ 9034 h 18425"/>
                    <a:gd name="connsiteX4" fmla="*/ 9392 w 18363"/>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5">
                      <a:moveTo>
                        <a:pt x="9392" y="18423"/>
                      </a:moveTo>
                      <a:cubicBezTo>
                        <a:pt x="4309" y="18543"/>
                        <a:pt x="122" y="14476"/>
                        <a:pt x="3" y="9392"/>
                      </a:cubicBezTo>
                      <a:cubicBezTo>
                        <a:pt x="-117" y="4309"/>
                        <a:pt x="3890" y="122"/>
                        <a:pt x="8974" y="3"/>
                      </a:cubicBezTo>
                      <a:cubicBezTo>
                        <a:pt x="14057" y="-117"/>
                        <a:pt x="18244" y="3950"/>
                        <a:pt x="18363" y="9034"/>
                      </a:cubicBezTo>
                      <a:cubicBezTo>
                        <a:pt x="18423" y="14117"/>
                        <a:pt x="14416" y="18363"/>
                        <a:pt x="9392" y="18423"/>
                      </a:cubicBezTo>
                      <a:close/>
                    </a:path>
                  </a:pathLst>
                </a:custGeom>
                <a:grpFill/>
                <a:ln w="5978" cap="flat">
                  <a:noFill/>
                  <a:prstDash val="solid"/>
                  <a:miter/>
                </a:ln>
              </p:spPr>
              <p:txBody>
                <a:bodyPr rtlCol="0" anchor="ctr"/>
                <a:lstStyle/>
                <a:p>
                  <a:endParaRPr lang="en-GB"/>
                </a:p>
              </p:txBody>
            </p:sp>
            <p:sp>
              <p:nvSpPr>
                <p:cNvPr id="1518" name="Vrije vorm: vorm 1517">
                  <a:extLst>
                    <a:ext uri="{FF2B5EF4-FFF2-40B4-BE49-F238E27FC236}">
                      <a16:creationId xmlns:a16="http://schemas.microsoft.com/office/drawing/2014/main" id="{335F0E3B-7A24-45DD-8006-2C5620E616F8}"/>
                    </a:ext>
                  </a:extLst>
                </p:cNvPr>
                <p:cNvSpPr/>
                <p:nvPr/>
              </p:nvSpPr>
              <p:spPr>
                <a:xfrm>
                  <a:off x="4052076" y="3447923"/>
                  <a:ext cx="18366" cy="18425"/>
                </a:xfrm>
                <a:custGeom>
                  <a:avLst/>
                  <a:gdLst>
                    <a:gd name="connsiteX0" fmla="*/ 9392 w 18366"/>
                    <a:gd name="connsiteY0" fmla="*/ 18423 h 18425"/>
                    <a:gd name="connsiteX1" fmla="*/ 18363 w 18366"/>
                    <a:gd name="connsiteY1" fmla="*/ 9034 h 18425"/>
                    <a:gd name="connsiteX2" fmla="*/ 8974 w 18366"/>
                    <a:gd name="connsiteY2" fmla="*/ 3 h 18425"/>
                    <a:gd name="connsiteX3" fmla="*/ 3 w 18366"/>
                    <a:gd name="connsiteY3" fmla="*/ 9392 h 18425"/>
                    <a:gd name="connsiteX4" fmla="*/ 9392 w 18366"/>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2" y="18423"/>
                      </a:moveTo>
                      <a:cubicBezTo>
                        <a:pt x="14476" y="18304"/>
                        <a:pt x="18483" y="14117"/>
                        <a:pt x="18363" y="9034"/>
                      </a:cubicBezTo>
                      <a:cubicBezTo>
                        <a:pt x="18244" y="3950"/>
                        <a:pt x="14057" y="-117"/>
                        <a:pt x="8974" y="3"/>
                      </a:cubicBezTo>
                      <a:cubicBezTo>
                        <a:pt x="3890" y="122"/>
                        <a:pt x="-117" y="4309"/>
                        <a:pt x="3" y="9392"/>
                      </a:cubicBezTo>
                      <a:cubicBezTo>
                        <a:pt x="182" y="14476"/>
                        <a:pt x="4368" y="18543"/>
                        <a:pt x="9392" y="18423"/>
                      </a:cubicBezTo>
                      <a:close/>
                    </a:path>
                  </a:pathLst>
                </a:custGeom>
                <a:grpFill/>
                <a:ln w="5978" cap="flat">
                  <a:noFill/>
                  <a:prstDash val="solid"/>
                  <a:miter/>
                </a:ln>
              </p:spPr>
              <p:txBody>
                <a:bodyPr rtlCol="0" anchor="ctr"/>
                <a:lstStyle/>
                <a:p>
                  <a:endParaRPr lang="en-GB"/>
                </a:p>
              </p:txBody>
            </p:sp>
          </p:grpSp>
          <p:grpSp>
            <p:nvGrpSpPr>
              <p:cNvPr id="1298" name="Graphic 3">
                <a:extLst>
                  <a:ext uri="{FF2B5EF4-FFF2-40B4-BE49-F238E27FC236}">
                    <a16:creationId xmlns:a16="http://schemas.microsoft.com/office/drawing/2014/main" id="{70387BE4-6EEE-4E4F-AEC9-201086C88AC4}"/>
                  </a:ext>
                </a:extLst>
              </p:cNvPr>
              <p:cNvGrpSpPr/>
              <p:nvPr/>
            </p:nvGrpSpPr>
            <p:grpSpPr>
              <a:xfrm>
                <a:off x="3680886" y="2632546"/>
                <a:ext cx="229895" cy="87793"/>
                <a:chOff x="3680886" y="2632546"/>
                <a:chExt cx="229895" cy="87793"/>
              </a:xfrm>
              <a:grpFill/>
            </p:grpSpPr>
            <p:sp>
              <p:nvSpPr>
                <p:cNvPr id="1513" name="Vrije vorm: vorm 1512">
                  <a:extLst>
                    <a:ext uri="{FF2B5EF4-FFF2-40B4-BE49-F238E27FC236}">
                      <a16:creationId xmlns:a16="http://schemas.microsoft.com/office/drawing/2014/main" id="{FFAC0CCD-6C68-4541-86CB-5A18B868B600}"/>
                    </a:ext>
                  </a:extLst>
                </p:cNvPr>
                <p:cNvSpPr/>
                <p:nvPr/>
              </p:nvSpPr>
              <p:spPr>
                <a:xfrm>
                  <a:off x="3689168" y="2640170"/>
                  <a:ext cx="213332" cy="72546"/>
                </a:xfrm>
                <a:custGeom>
                  <a:avLst/>
                  <a:gdLst>
                    <a:gd name="connsiteX0" fmla="*/ 213332 w 213332"/>
                    <a:gd name="connsiteY0" fmla="*/ 69616 h 72546"/>
                    <a:gd name="connsiteX1" fmla="*/ 212376 w 213332"/>
                    <a:gd name="connsiteY1" fmla="*/ 72546 h 72546"/>
                    <a:gd name="connsiteX2" fmla="*/ 0 w 213332"/>
                    <a:gd name="connsiteY2" fmla="*/ 2931 h 72546"/>
                    <a:gd name="connsiteX3" fmla="*/ 897 w 213332"/>
                    <a:gd name="connsiteY3" fmla="*/ 0 h 72546"/>
                  </a:gdLst>
                  <a:ahLst/>
                  <a:cxnLst>
                    <a:cxn ang="0">
                      <a:pos x="connsiteX0" y="connsiteY0"/>
                    </a:cxn>
                    <a:cxn ang="0">
                      <a:pos x="connsiteX1" y="connsiteY1"/>
                    </a:cxn>
                    <a:cxn ang="0">
                      <a:pos x="connsiteX2" y="connsiteY2"/>
                    </a:cxn>
                    <a:cxn ang="0">
                      <a:pos x="connsiteX3" y="connsiteY3"/>
                    </a:cxn>
                  </a:cxnLst>
                  <a:rect l="l" t="t" r="r" b="b"/>
                  <a:pathLst>
                    <a:path w="213332" h="72546">
                      <a:moveTo>
                        <a:pt x="213332" y="69616"/>
                      </a:moveTo>
                      <a:lnTo>
                        <a:pt x="212376" y="72546"/>
                      </a:lnTo>
                      <a:lnTo>
                        <a:pt x="0" y="2931"/>
                      </a:lnTo>
                      <a:lnTo>
                        <a:pt x="897" y="0"/>
                      </a:lnTo>
                      <a:close/>
                    </a:path>
                  </a:pathLst>
                </a:custGeom>
                <a:grpFill/>
                <a:ln w="5978" cap="flat">
                  <a:noFill/>
                  <a:prstDash val="solid"/>
                  <a:miter/>
                </a:ln>
              </p:spPr>
              <p:txBody>
                <a:bodyPr rtlCol="0" anchor="ctr"/>
                <a:lstStyle/>
                <a:p>
                  <a:endParaRPr lang="en-GB"/>
                </a:p>
              </p:txBody>
            </p:sp>
            <p:sp>
              <p:nvSpPr>
                <p:cNvPr id="1514" name="Vrije vorm: vorm 1513">
                  <a:extLst>
                    <a:ext uri="{FF2B5EF4-FFF2-40B4-BE49-F238E27FC236}">
                      <a16:creationId xmlns:a16="http://schemas.microsoft.com/office/drawing/2014/main" id="{D0804835-6A3D-4A5A-A3E2-7DEA86C5A89A}"/>
                    </a:ext>
                  </a:extLst>
                </p:cNvPr>
                <p:cNvSpPr/>
                <p:nvPr/>
              </p:nvSpPr>
              <p:spPr>
                <a:xfrm>
                  <a:off x="3680886" y="2632546"/>
                  <a:ext cx="18357" cy="18439"/>
                </a:xfrm>
                <a:custGeom>
                  <a:avLst/>
                  <a:gdLst>
                    <a:gd name="connsiteX0" fmla="*/ 6368 w 18357"/>
                    <a:gd name="connsiteY0" fmla="*/ 17970 h 18439"/>
                    <a:gd name="connsiteX1" fmla="*/ 447 w 18357"/>
                    <a:gd name="connsiteY1" fmla="*/ 6368 h 18439"/>
                    <a:gd name="connsiteX2" fmla="*/ 11990 w 18357"/>
                    <a:gd name="connsiteY2" fmla="*/ 447 h 18439"/>
                    <a:gd name="connsiteX3" fmla="*/ 17910 w 18357"/>
                    <a:gd name="connsiteY3" fmla="*/ 12049 h 18439"/>
                    <a:gd name="connsiteX4" fmla="*/ 6368 w 18357"/>
                    <a:gd name="connsiteY4" fmla="*/ 1797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39">
                      <a:moveTo>
                        <a:pt x="6368" y="17970"/>
                      </a:moveTo>
                      <a:cubicBezTo>
                        <a:pt x="1523" y="16415"/>
                        <a:pt x="-1108" y="11212"/>
                        <a:pt x="447" y="6368"/>
                      </a:cubicBezTo>
                      <a:cubicBezTo>
                        <a:pt x="2002" y="1523"/>
                        <a:pt x="7145" y="-1108"/>
                        <a:pt x="11990" y="447"/>
                      </a:cubicBezTo>
                      <a:cubicBezTo>
                        <a:pt x="16834" y="2002"/>
                        <a:pt x="19466" y="7205"/>
                        <a:pt x="17910" y="12049"/>
                      </a:cubicBezTo>
                      <a:cubicBezTo>
                        <a:pt x="16355" y="16894"/>
                        <a:pt x="11152" y="19585"/>
                        <a:pt x="6368" y="17970"/>
                      </a:cubicBezTo>
                      <a:close/>
                    </a:path>
                  </a:pathLst>
                </a:custGeom>
                <a:grpFill/>
                <a:ln w="5978" cap="flat">
                  <a:noFill/>
                  <a:prstDash val="solid"/>
                  <a:miter/>
                </a:ln>
              </p:spPr>
              <p:txBody>
                <a:bodyPr rtlCol="0" anchor="ctr"/>
                <a:lstStyle/>
                <a:p>
                  <a:endParaRPr lang="en-GB"/>
                </a:p>
              </p:txBody>
            </p:sp>
            <p:sp>
              <p:nvSpPr>
                <p:cNvPr id="1515" name="Vrije vorm: vorm 1514">
                  <a:extLst>
                    <a:ext uri="{FF2B5EF4-FFF2-40B4-BE49-F238E27FC236}">
                      <a16:creationId xmlns:a16="http://schemas.microsoft.com/office/drawing/2014/main" id="{34F133A9-5717-4F27-BB50-F77285B6BC21}"/>
                    </a:ext>
                  </a:extLst>
                </p:cNvPr>
                <p:cNvSpPr/>
                <p:nvPr/>
              </p:nvSpPr>
              <p:spPr>
                <a:xfrm>
                  <a:off x="3892425" y="2701923"/>
                  <a:ext cx="18357" cy="18416"/>
                </a:xfrm>
                <a:custGeom>
                  <a:avLst/>
                  <a:gdLst>
                    <a:gd name="connsiteX0" fmla="*/ 6368 w 18357"/>
                    <a:gd name="connsiteY0" fmla="*/ 17970 h 18416"/>
                    <a:gd name="connsiteX1" fmla="*/ 17910 w 18357"/>
                    <a:gd name="connsiteY1" fmla="*/ 12049 h 18416"/>
                    <a:gd name="connsiteX2" fmla="*/ 11990 w 18357"/>
                    <a:gd name="connsiteY2" fmla="*/ 447 h 18416"/>
                    <a:gd name="connsiteX3" fmla="*/ 447 w 18357"/>
                    <a:gd name="connsiteY3" fmla="*/ 6368 h 18416"/>
                    <a:gd name="connsiteX4" fmla="*/ 6368 w 18357"/>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6368" y="17970"/>
                      </a:moveTo>
                      <a:cubicBezTo>
                        <a:pt x="11212" y="19525"/>
                        <a:pt x="16355" y="16894"/>
                        <a:pt x="17910" y="12049"/>
                      </a:cubicBezTo>
                      <a:cubicBezTo>
                        <a:pt x="19465" y="7205"/>
                        <a:pt x="16834" y="2002"/>
                        <a:pt x="11990" y="447"/>
                      </a:cubicBezTo>
                      <a:cubicBezTo>
                        <a:pt x="7145" y="-1108"/>
                        <a:pt x="2002" y="1523"/>
                        <a:pt x="447" y="6368"/>
                      </a:cubicBezTo>
                      <a:cubicBezTo>
                        <a:pt x="-1108" y="11152"/>
                        <a:pt x="1523" y="16355"/>
                        <a:pt x="6368" y="17970"/>
                      </a:cubicBezTo>
                      <a:close/>
                    </a:path>
                  </a:pathLst>
                </a:custGeom>
                <a:grpFill/>
                <a:ln w="5978" cap="flat">
                  <a:noFill/>
                  <a:prstDash val="solid"/>
                  <a:miter/>
                </a:ln>
              </p:spPr>
              <p:txBody>
                <a:bodyPr rtlCol="0" anchor="ctr"/>
                <a:lstStyle/>
                <a:p>
                  <a:endParaRPr lang="en-GB"/>
                </a:p>
              </p:txBody>
            </p:sp>
          </p:grpSp>
          <p:grpSp>
            <p:nvGrpSpPr>
              <p:cNvPr id="1299" name="Graphic 3">
                <a:extLst>
                  <a:ext uri="{FF2B5EF4-FFF2-40B4-BE49-F238E27FC236}">
                    <a16:creationId xmlns:a16="http://schemas.microsoft.com/office/drawing/2014/main" id="{971B954A-1F45-44D5-971C-AFF1387CD046}"/>
                  </a:ext>
                </a:extLst>
              </p:cNvPr>
              <p:cNvGrpSpPr/>
              <p:nvPr/>
            </p:nvGrpSpPr>
            <p:grpSpPr>
              <a:xfrm>
                <a:off x="4175533" y="4070002"/>
                <a:ext cx="214323" cy="95888"/>
                <a:chOff x="4175533" y="4070002"/>
                <a:chExt cx="214323" cy="95888"/>
              </a:xfrm>
              <a:grpFill/>
            </p:grpSpPr>
            <p:sp>
              <p:nvSpPr>
                <p:cNvPr id="1510" name="Vrije vorm: vorm 1509">
                  <a:extLst>
                    <a:ext uri="{FF2B5EF4-FFF2-40B4-BE49-F238E27FC236}">
                      <a16:creationId xmlns:a16="http://schemas.microsoft.com/office/drawing/2014/main" id="{22DEDEAD-A223-4321-8EE6-7E51FCDF9EA1}"/>
                    </a:ext>
                  </a:extLst>
                </p:cNvPr>
                <p:cNvSpPr/>
                <p:nvPr/>
              </p:nvSpPr>
              <p:spPr>
                <a:xfrm>
                  <a:off x="4183728" y="4077402"/>
                  <a:ext cx="197942" cy="80684"/>
                </a:xfrm>
                <a:custGeom>
                  <a:avLst/>
                  <a:gdLst>
                    <a:gd name="connsiteX0" fmla="*/ 0 w 197942"/>
                    <a:gd name="connsiteY0" fmla="*/ 77848 h 80684"/>
                    <a:gd name="connsiteX1" fmla="*/ 196821 w 197942"/>
                    <a:gd name="connsiteY1" fmla="*/ 0 h 80684"/>
                    <a:gd name="connsiteX2" fmla="*/ 197942 w 197942"/>
                    <a:gd name="connsiteY2" fmla="*/ 2836 h 80684"/>
                    <a:gd name="connsiteX3" fmla="*/ 1122 w 197942"/>
                    <a:gd name="connsiteY3" fmla="*/ 80684 h 80684"/>
                  </a:gdLst>
                  <a:ahLst/>
                  <a:cxnLst>
                    <a:cxn ang="0">
                      <a:pos x="connsiteX0" y="connsiteY0"/>
                    </a:cxn>
                    <a:cxn ang="0">
                      <a:pos x="connsiteX1" y="connsiteY1"/>
                    </a:cxn>
                    <a:cxn ang="0">
                      <a:pos x="connsiteX2" y="connsiteY2"/>
                    </a:cxn>
                    <a:cxn ang="0">
                      <a:pos x="connsiteX3" y="connsiteY3"/>
                    </a:cxn>
                  </a:cxnLst>
                  <a:rect l="l" t="t" r="r" b="b"/>
                  <a:pathLst>
                    <a:path w="197942" h="80684">
                      <a:moveTo>
                        <a:pt x="0" y="77848"/>
                      </a:moveTo>
                      <a:lnTo>
                        <a:pt x="196821" y="0"/>
                      </a:lnTo>
                      <a:lnTo>
                        <a:pt x="197942" y="2836"/>
                      </a:lnTo>
                      <a:lnTo>
                        <a:pt x="1122" y="80684"/>
                      </a:lnTo>
                      <a:close/>
                    </a:path>
                  </a:pathLst>
                </a:custGeom>
                <a:grpFill/>
                <a:ln w="5978" cap="flat">
                  <a:noFill/>
                  <a:prstDash val="solid"/>
                  <a:miter/>
                </a:ln>
              </p:spPr>
              <p:txBody>
                <a:bodyPr rtlCol="0" anchor="ctr"/>
                <a:lstStyle/>
                <a:p>
                  <a:endParaRPr lang="en-GB"/>
                </a:p>
              </p:txBody>
            </p:sp>
            <p:sp>
              <p:nvSpPr>
                <p:cNvPr id="1511" name="Vrije vorm: vorm 1510">
                  <a:extLst>
                    <a:ext uri="{FF2B5EF4-FFF2-40B4-BE49-F238E27FC236}">
                      <a16:creationId xmlns:a16="http://schemas.microsoft.com/office/drawing/2014/main" id="{47BA97DC-4142-4AE3-8DA8-A885465B04B0}"/>
                    </a:ext>
                  </a:extLst>
                </p:cNvPr>
                <p:cNvSpPr/>
                <p:nvPr/>
              </p:nvSpPr>
              <p:spPr>
                <a:xfrm>
                  <a:off x="4175533" y="4147452"/>
                  <a:ext cx="18327" cy="18438"/>
                </a:xfrm>
                <a:custGeom>
                  <a:avLst/>
                  <a:gdLst>
                    <a:gd name="connsiteX0" fmla="*/ 12547 w 18327"/>
                    <a:gd name="connsiteY0" fmla="*/ 17801 h 18438"/>
                    <a:gd name="connsiteX1" fmla="*/ 645 w 18327"/>
                    <a:gd name="connsiteY1" fmla="*/ 12598 h 18438"/>
                    <a:gd name="connsiteX2" fmla="*/ 5788 w 18327"/>
                    <a:gd name="connsiteY2" fmla="*/ 637 h 18438"/>
                    <a:gd name="connsiteX3" fmla="*/ 17690 w 18327"/>
                    <a:gd name="connsiteY3" fmla="*/ 5840 h 18438"/>
                    <a:gd name="connsiteX4" fmla="*/ 12547 w 18327"/>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8">
                      <a:moveTo>
                        <a:pt x="12547" y="17801"/>
                      </a:moveTo>
                      <a:cubicBezTo>
                        <a:pt x="7822" y="19655"/>
                        <a:pt x="2499" y="17323"/>
                        <a:pt x="645" y="12598"/>
                      </a:cubicBezTo>
                      <a:cubicBezTo>
                        <a:pt x="-1209" y="7874"/>
                        <a:pt x="1064" y="2491"/>
                        <a:pt x="5788" y="637"/>
                      </a:cubicBezTo>
                      <a:cubicBezTo>
                        <a:pt x="10513" y="-1217"/>
                        <a:pt x="15836" y="1115"/>
                        <a:pt x="17690" y="5840"/>
                      </a:cubicBezTo>
                      <a:cubicBezTo>
                        <a:pt x="19544" y="10624"/>
                        <a:pt x="17212" y="15947"/>
                        <a:pt x="12547" y="17801"/>
                      </a:cubicBezTo>
                      <a:close/>
                    </a:path>
                  </a:pathLst>
                </a:custGeom>
                <a:grpFill/>
                <a:ln w="5978" cap="flat">
                  <a:noFill/>
                  <a:prstDash val="solid"/>
                  <a:miter/>
                </a:ln>
              </p:spPr>
              <p:txBody>
                <a:bodyPr rtlCol="0" anchor="ctr"/>
                <a:lstStyle/>
                <a:p>
                  <a:endParaRPr lang="en-GB"/>
                </a:p>
              </p:txBody>
            </p:sp>
            <p:sp>
              <p:nvSpPr>
                <p:cNvPr id="1512" name="Vrije vorm: vorm 1511">
                  <a:extLst>
                    <a:ext uri="{FF2B5EF4-FFF2-40B4-BE49-F238E27FC236}">
                      <a16:creationId xmlns:a16="http://schemas.microsoft.com/office/drawing/2014/main" id="{2FAC80EC-5B47-4CEA-A03B-80F0BDFEA412}"/>
                    </a:ext>
                  </a:extLst>
                </p:cNvPr>
                <p:cNvSpPr/>
                <p:nvPr/>
              </p:nvSpPr>
              <p:spPr>
                <a:xfrm>
                  <a:off x="4371521" y="4070002"/>
                  <a:ext cx="18335" cy="18438"/>
                </a:xfrm>
                <a:custGeom>
                  <a:avLst/>
                  <a:gdLst>
                    <a:gd name="connsiteX0" fmla="*/ 12547 w 18335"/>
                    <a:gd name="connsiteY0" fmla="*/ 17801 h 18438"/>
                    <a:gd name="connsiteX1" fmla="*/ 17690 w 18335"/>
                    <a:gd name="connsiteY1" fmla="*/ 5840 h 18438"/>
                    <a:gd name="connsiteX2" fmla="*/ 5789 w 18335"/>
                    <a:gd name="connsiteY2" fmla="*/ 637 h 18438"/>
                    <a:gd name="connsiteX3" fmla="*/ 645 w 18335"/>
                    <a:gd name="connsiteY3" fmla="*/ 12598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17271" y="15947"/>
                        <a:pt x="19544" y="10565"/>
                        <a:pt x="17690" y="5840"/>
                      </a:cubicBezTo>
                      <a:cubicBezTo>
                        <a:pt x="15836" y="1115"/>
                        <a:pt x="10513" y="-1217"/>
                        <a:pt x="5789" y="637"/>
                      </a:cubicBezTo>
                      <a:cubicBezTo>
                        <a:pt x="1064" y="2491"/>
                        <a:pt x="-1209" y="7874"/>
                        <a:pt x="645" y="12598"/>
                      </a:cubicBezTo>
                      <a:cubicBezTo>
                        <a:pt x="2499" y="17323"/>
                        <a:pt x="7822" y="19655"/>
                        <a:pt x="12547" y="17801"/>
                      </a:cubicBezTo>
                      <a:close/>
                    </a:path>
                  </a:pathLst>
                </a:custGeom>
                <a:grpFill/>
                <a:ln w="5978" cap="flat">
                  <a:noFill/>
                  <a:prstDash val="solid"/>
                  <a:miter/>
                </a:ln>
              </p:spPr>
              <p:txBody>
                <a:bodyPr rtlCol="0" anchor="ctr"/>
                <a:lstStyle/>
                <a:p>
                  <a:endParaRPr lang="en-GB"/>
                </a:p>
              </p:txBody>
            </p:sp>
          </p:grpSp>
          <p:grpSp>
            <p:nvGrpSpPr>
              <p:cNvPr id="1300" name="Graphic 3">
                <a:extLst>
                  <a:ext uri="{FF2B5EF4-FFF2-40B4-BE49-F238E27FC236}">
                    <a16:creationId xmlns:a16="http://schemas.microsoft.com/office/drawing/2014/main" id="{7AF626E9-223A-4737-AA4D-3E0F26028776}"/>
                  </a:ext>
                </a:extLst>
              </p:cNvPr>
              <p:cNvGrpSpPr/>
              <p:nvPr/>
            </p:nvGrpSpPr>
            <p:grpSpPr>
              <a:xfrm>
                <a:off x="4154209" y="3896763"/>
                <a:ext cx="100840" cy="40820"/>
                <a:chOff x="4154209" y="3896763"/>
                <a:chExt cx="100840" cy="40820"/>
              </a:xfrm>
              <a:grpFill/>
            </p:grpSpPr>
            <p:sp>
              <p:nvSpPr>
                <p:cNvPr id="1507" name="Vrije vorm: vorm 1506">
                  <a:extLst>
                    <a:ext uri="{FF2B5EF4-FFF2-40B4-BE49-F238E27FC236}">
                      <a16:creationId xmlns:a16="http://schemas.microsoft.com/office/drawing/2014/main" id="{3391C583-119D-4CC8-B9D8-159FC995258D}"/>
                    </a:ext>
                  </a:extLst>
                </p:cNvPr>
                <p:cNvSpPr/>
                <p:nvPr/>
              </p:nvSpPr>
              <p:spPr>
                <a:xfrm>
                  <a:off x="4162596" y="3904438"/>
                  <a:ext cx="84219" cy="25517"/>
                </a:xfrm>
                <a:custGeom>
                  <a:avLst/>
                  <a:gdLst>
                    <a:gd name="connsiteX0" fmla="*/ 0 w 84219"/>
                    <a:gd name="connsiteY0" fmla="*/ 22573 h 25517"/>
                    <a:gd name="connsiteX1" fmla="*/ 83423 w 84219"/>
                    <a:gd name="connsiteY1" fmla="*/ 0 h 25517"/>
                    <a:gd name="connsiteX2" fmla="*/ 84219 w 84219"/>
                    <a:gd name="connsiteY2" fmla="*/ 2944 h 25517"/>
                    <a:gd name="connsiteX3" fmla="*/ 797 w 84219"/>
                    <a:gd name="connsiteY3" fmla="*/ 25518 h 25517"/>
                  </a:gdLst>
                  <a:ahLst/>
                  <a:cxnLst>
                    <a:cxn ang="0">
                      <a:pos x="connsiteX0" y="connsiteY0"/>
                    </a:cxn>
                    <a:cxn ang="0">
                      <a:pos x="connsiteX1" y="connsiteY1"/>
                    </a:cxn>
                    <a:cxn ang="0">
                      <a:pos x="connsiteX2" y="connsiteY2"/>
                    </a:cxn>
                    <a:cxn ang="0">
                      <a:pos x="connsiteX3" y="connsiteY3"/>
                    </a:cxn>
                  </a:cxnLst>
                  <a:rect l="l" t="t" r="r" b="b"/>
                  <a:pathLst>
                    <a:path w="84219" h="25517">
                      <a:moveTo>
                        <a:pt x="0" y="22573"/>
                      </a:moveTo>
                      <a:lnTo>
                        <a:pt x="83423" y="0"/>
                      </a:lnTo>
                      <a:lnTo>
                        <a:pt x="84219" y="2944"/>
                      </a:lnTo>
                      <a:lnTo>
                        <a:pt x="797" y="25518"/>
                      </a:lnTo>
                      <a:close/>
                    </a:path>
                  </a:pathLst>
                </a:custGeom>
                <a:grpFill/>
                <a:ln w="5978" cap="flat">
                  <a:noFill/>
                  <a:prstDash val="solid"/>
                  <a:miter/>
                </a:ln>
              </p:spPr>
              <p:txBody>
                <a:bodyPr rtlCol="0" anchor="ctr"/>
                <a:lstStyle/>
                <a:p>
                  <a:endParaRPr lang="en-GB"/>
                </a:p>
              </p:txBody>
            </p:sp>
            <p:sp>
              <p:nvSpPr>
                <p:cNvPr id="1508" name="Vrije vorm: vorm 1507">
                  <a:extLst>
                    <a:ext uri="{FF2B5EF4-FFF2-40B4-BE49-F238E27FC236}">
                      <a16:creationId xmlns:a16="http://schemas.microsoft.com/office/drawing/2014/main" id="{3126E5A4-1940-4017-BAB7-E62E2D00AB86}"/>
                    </a:ext>
                  </a:extLst>
                </p:cNvPr>
                <p:cNvSpPr/>
                <p:nvPr/>
              </p:nvSpPr>
              <p:spPr>
                <a:xfrm>
                  <a:off x="4154209" y="3919131"/>
                  <a:ext cx="18340" cy="18452"/>
                </a:xfrm>
                <a:custGeom>
                  <a:avLst/>
                  <a:gdLst>
                    <a:gd name="connsiteX0" fmla="*/ 11563 w 18340"/>
                    <a:gd name="connsiteY0" fmla="*/ 18137 h 18452"/>
                    <a:gd name="connsiteX1" fmla="*/ 319 w 18340"/>
                    <a:gd name="connsiteY1" fmla="*/ 11619 h 18452"/>
                    <a:gd name="connsiteX2" fmla="*/ 6778 w 18340"/>
                    <a:gd name="connsiteY2" fmla="*/ 315 h 18452"/>
                    <a:gd name="connsiteX3" fmla="*/ 18022 w 18340"/>
                    <a:gd name="connsiteY3" fmla="*/ 6834 h 18452"/>
                    <a:gd name="connsiteX4" fmla="*/ 11563 w 18340"/>
                    <a:gd name="connsiteY4" fmla="*/ 181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52">
                      <a:moveTo>
                        <a:pt x="11563" y="18137"/>
                      </a:moveTo>
                      <a:cubicBezTo>
                        <a:pt x="6659" y="19453"/>
                        <a:pt x="1635" y="16522"/>
                        <a:pt x="319" y="11619"/>
                      </a:cubicBezTo>
                      <a:cubicBezTo>
                        <a:pt x="-997" y="6714"/>
                        <a:pt x="1874" y="1630"/>
                        <a:pt x="6778" y="315"/>
                      </a:cubicBezTo>
                      <a:cubicBezTo>
                        <a:pt x="11682" y="-1001"/>
                        <a:pt x="16706" y="1929"/>
                        <a:pt x="18022" y="6834"/>
                      </a:cubicBezTo>
                      <a:cubicBezTo>
                        <a:pt x="19338" y="11738"/>
                        <a:pt x="16467" y="16762"/>
                        <a:pt x="11563" y="18137"/>
                      </a:cubicBezTo>
                      <a:close/>
                    </a:path>
                  </a:pathLst>
                </a:custGeom>
                <a:grpFill/>
                <a:ln w="5978" cap="flat">
                  <a:noFill/>
                  <a:prstDash val="solid"/>
                  <a:miter/>
                </a:ln>
              </p:spPr>
              <p:txBody>
                <a:bodyPr rtlCol="0" anchor="ctr"/>
                <a:lstStyle/>
                <a:p>
                  <a:endParaRPr lang="en-GB"/>
                </a:p>
              </p:txBody>
            </p:sp>
            <p:sp>
              <p:nvSpPr>
                <p:cNvPr id="1509" name="Vrije vorm: vorm 1508">
                  <a:extLst>
                    <a:ext uri="{FF2B5EF4-FFF2-40B4-BE49-F238E27FC236}">
                      <a16:creationId xmlns:a16="http://schemas.microsoft.com/office/drawing/2014/main" id="{A296BE71-873B-49C4-97A0-8923B37B6B65}"/>
                    </a:ext>
                  </a:extLst>
                </p:cNvPr>
                <p:cNvSpPr/>
                <p:nvPr/>
              </p:nvSpPr>
              <p:spPr>
                <a:xfrm>
                  <a:off x="4236718" y="3896763"/>
                  <a:ext cx="18331" cy="18476"/>
                </a:xfrm>
                <a:custGeom>
                  <a:avLst/>
                  <a:gdLst>
                    <a:gd name="connsiteX0" fmla="*/ 11588 w 18331"/>
                    <a:gd name="connsiteY0" fmla="*/ 18137 h 18476"/>
                    <a:gd name="connsiteX1" fmla="*/ 17987 w 18331"/>
                    <a:gd name="connsiteY1" fmla="*/ 6834 h 18476"/>
                    <a:gd name="connsiteX2" fmla="*/ 6744 w 18331"/>
                    <a:gd name="connsiteY2" fmla="*/ 315 h 18476"/>
                    <a:gd name="connsiteX3" fmla="*/ 344 w 18331"/>
                    <a:gd name="connsiteY3" fmla="*/ 11618 h 18476"/>
                    <a:gd name="connsiteX4" fmla="*/ 11588 w 18331"/>
                    <a:gd name="connsiteY4" fmla="*/ 18137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76">
                      <a:moveTo>
                        <a:pt x="11588" y="18137"/>
                      </a:moveTo>
                      <a:cubicBezTo>
                        <a:pt x="16492" y="16821"/>
                        <a:pt x="19363" y="11738"/>
                        <a:pt x="17987" y="6834"/>
                      </a:cubicBezTo>
                      <a:cubicBezTo>
                        <a:pt x="16671" y="1929"/>
                        <a:pt x="11588" y="-1001"/>
                        <a:pt x="6744" y="315"/>
                      </a:cubicBezTo>
                      <a:cubicBezTo>
                        <a:pt x="1839" y="1630"/>
                        <a:pt x="-1031" y="6714"/>
                        <a:pt x="344" y="11618"/>
                      </a:cubicBezTo>
                      <a:cubicBezTo>
                        <a:pt x="1660" y="16582"/>
                        <a:pt x="6744" y="19513"/>
                        <a:pt x="11588" y="18137"/>
                      </a:cubicBezTo>
                      <a:close/>
                    </a:path>
                  </a:pathLst>
                </a:custGeom>
                <a:grpFill/>
                <a:ln w="5978" cap="flat">
                  <a:noFill/>
                  <a:prstDash val="solid"/>
                  <a:miter/>
                </a:ln>
              </p:spPr>
              <p:txBody>
                <a:bodyPr rtlCol="0" anchor="ctr"/>
                <a:lstStyle/>
                <a:p>
                  <a:endParaRPr lang="en-GB"/>
                </a:p>
              </p:txBody>
            </p:sp>
          </p:grpSp>
          <p:grpSp>
            <p:nvGrpSpPr>
              <p:cNvPr id="1301" name="Graphic 3">
                <a:extLst>
                  <a:ext uri="{FF2B5EF4-FFF2-40B4-BE49-F238E27FC236}">
                    <a16:creationId xmlns:a16="http://schemas.microsoft.com/office/drawing/2014/main" id="{6D3FB10D-D9E3-4EF8-95B3-B939FA409220}"/>
                  </a:ext>
                </a:extLst>
              </p:cNvPr>
              <p:cNvGrpSpPr/>
              <p:nvPr/>
            </p:nvGrpSpPr>
            <p:grpSpPr>
              <a:xfrm>
                <a:off x="3928979" y="3291634"/>
                <a:ext cx="137822" cy="24971"/>
                <a:chOff x="3928979" y="3291634"/>
                <a:chExt cx="137822" cy="24971"/>
              </a:xfrm>
              <a:grpFill/>
            </p:grpSpPr>
            <p:sp>
              <p:nvSpPr>
                <p:cNvPr id="1504" name="Vrije vorm: vorm 1503">
                  <a:extLst>
                    <a:ext uri="{FF2B5EF4-FFF2-40B4-BE49-F238E27FC236}">
                      <a16:creationId xmlns:a16="http://schemas.microsoft.com/office/drawing/2014/main" id="{B4F9145E-0238-47B5-A1B6-4B4D6DA4DC0B}"/>
                    </a:ext>
                  </a:extLst>
                </p:cNvPr>
                <p:cNvSpPr/>
                <p:nvPr/>
              </p:nvSpPr>
              <p:spPr>
                <a:xfrm>
                  <a:off x="3937607" y="3299245"/>
                  <a:ext cx="120571" cy="9688"/>
                </a:xfrm>
                <a:custGeom>
                  <a:avLst/>
                  <a:gdLst>
                    <a:gd name="connsiteX0" fmla="*/ 120572 w 120571"/>
                    <a:gd name="connsiteY0" fmla="*/ 6639 h 9688"/>
                    <a:gd name="connsiteX1" fmla="*/ 120392 w 120571"/>
                    <a:gd name="connsiteY1" fmla="*/ 9689 h 9688"/>
                    <a:gd name="connsiteX2" fmla="*/ 0 w 120571"/>
                    <a:gd name="connsiteY2" fmla="*/ 3050 h 9688"/>
                    <a:gd name="connsiteX3" fmla="*/ 120 w 120571"/>
                    <a:gd name="connsiteY3" fmla="*/ 0 h 9688"/>
                  </a:gdLst>
                  <a:ahLst/>
                  <a:cxnLst>
                    <a:cxn ang="0">
                      <a:pos x="connsiteX0" y="connsiteY0"/>
                    </a:cxn>
                    <a:cxn ang="0">
                      <a:pos x="connsiteX1" y="connsiteY1"/>
                    </a:cxn>
                    <a:cxn ang="0">
                      <a:pos x="connsiteX2" y="connsiteY2"/>
                    </a:cxn>
                    <a:cxn ang="0">
                      <a:pos x="connsiteX3" y="connsiteY3"/>
                    </a:cxn>
                  </a:cxnLst>
                  <a:rect l="l" t="t" r="r" b="b"/>
                  <a:pathLst>
                    <a:path w="120571" h="9688">
                      <a:moveTo>
                        <a:pt x="120572" y="6639"/>
                      </a:moveTo>
                      <a:lnTo>
                        <a:pt x="120392" y="9689"/>
                      </a:lnTo>
                      <a:lnTo>
                        <a:pt x="0" y="3050"/>
                      </a:lnTo>
                      <a:lnTo>
                        <a:pt x="120" y="0"/>
                      </a:lnTo>
                      <a:close/>
                    </a:path>
                  </a:pathLst>
                </a:custGeom>
                <a:grpFill/>
                <a:ln w="5978" cap="flat">
                  <a:noFill/>
                  <a:prstDash val="solid"/>
                  <a:miter/>
                </a:ln>
              </p:spPr>
              <p:txBody>
                <a:bodyPr rtlCol="0" anchor="ctr"/>
                <a:lstStyle/>
                <a:p>
                  <a:endParaRPr lang="en-GB"/>
                </a:p>
              </p:txBody>
            </p:sp>
            <p:sp>
              <p:nvSpPr>
                <p:cNvPr id="1505" name="Vrije vorm: vorm 1504">
                  <a:extLst>
                    <a:ext uri="{FF2B5EF4-FFF2-40B4-BE49-F238E27FC236}">
                      <a16:creationId xmlns:a16="http://schemas.microsoft.com/office/drawing/2014/main" id="{F429AFCD-0D3D-4193-988C-54431F6DC8A3}"/>
                    </a:ext>
                  </a:extLst>
                </p:cNvPr>
                <p:cNvSpPr/>
                <p:nvPr/>
              </p:nvSpPr>
              <p:spPr>
                <a:xfrm>
                  <a:off x="3928979" y="3291634"/>
                  <a:ext cx="18333" cy="18393"/>
                </a:xfrm>
                <a:custGeom>
                  <a:avLst/>
                  <a:gdLst>
                    <a:gd name="connsiteX0" fmla="*/ 8688 w 18333"/>
                    <a:gd name="connsiteY0" fmla="*/ 18377 h 18393"/>
                    <a:gd name="connsiteX1" fmla="*/ 16 w 18333"/>
                    <a:gd name="connsiteY1" fmla="*/ 8688 h 18393"/>
                    <a:gd name="connsiteX2" fmla="*/ 9645 w 18333"/>
                    <a:gd name="connsiteY2" fmla="*/ 16 h 18393"/>
                    <a:gd name="connsiteX3" fmla="*/ 18317 w 18333"/>
                    <a:gd name="connsiteY3" fmla="*/ 9705 h 18393"/>
                    <a:gd name="connsiteX4" fmla="*/ 8688 w 18333"/>
                    <a:gd name="connsiteY4" fmla="*/ 18377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8688" y="18377"/>
                      </a:moveTo>
                      <a:cubicBezTo>
                        <a:pt x="3605" y="18078"/>
                        <a:pt x="-283" y="13772"/>
                        <a:pt x="16" y="8688"/>
                      </a:cubicBezTo>
                      <a:cubicBezTo>
                        <a:pt x="256" y="3604"/>
                        <a:pt x="4562" y="-283"/>
                        <a:pt x="9645" y="16"/>
                      </a:cubicBezTo>
                      <a:cubicBezTo>
                        <a:pt x="14729" y="315"/>
                        <a:pt x="18616" y="4621"/>
                        <a:pt x="18317" y="9705"/>
                      </a:cubicBezTo>
                      <a:cubicBezTo>
                        <a:pt x="18078" y="14789"/>
                        <a:pt x="13772" y="18676"/>
                        <a:pt x="8688" y="18377"/>
                      </a:cubicBezTo>
                      <a:close/>
                    </a:path>
                  </a:pathLst>
                </a:custGeom>
                <a:grpFill/>
                <a:ln w="5978" cap="flat">
                  <a:noFill/>
                  <a:prstDash val="solid"/>
                  <a:miter/>
                </a:ln>
              </p:spPr>
              <p:txBody>
                <a:bodyPr rtlCol="0" anchor="ctr"/>
                <a:lstStyle/>
                <a:p>
                  <a:endParaRPr lang="en-GB"/>
                </a:p>
              </p:txBody>
            </p:sp>
            <p:sp>
              <p:nvSpPr>
                <p:cNvPr id="1506" name="Vrije vorm: vorm 1505">
                  <a:extLst>
                    <a:ext uri="{FF2B5EF4-FFF2-40B4-BE49-F238E27FC236}">
                      <a16:creationId xmlns:a16="http://schemas.microsoft.com/office/drawing/2014/main" id="{17ACCFA0-DE99-4500-AC97-1B6663E661A7}"/>
                    </a:ext>
                  </a:extLst>
                </p:cNvPr>
                <p:cNvSpPr/>
                <p:nvPr/>
              </p:nvSpPr>
              <p:spPr>
                <a:xfrm>
                  <a:off x="4048473" y="3298212"/>
                  <a:ext cx="18327" cy="18393"/>
                </a:xfrm>
                <a:custGeom>
                  <a:avLst/>
                  <a:gdLst>
                    <a:gd name="connsiteX0" fmla="*/ 8688 w 18327"/>
                    <a:gd name="connsiteY0" fmla="*/ 18377 h 18393"/>
                    <a:gd name="connsiteX1" fmla="*/ 18318 w 18327"/>
                    <a:gd name="connsiteY1" fmla="*/ 9705 h 18393"/>
                    <a:gd name="connsiteX2" fmla="*/ 9645 w 18327"/>
                    <a:gd name="connsiteY2" fmla="*/ 16 h 18393"/>
                    <a:gd name="connsiteX3" fmla="*/ 16 w 18327"/>
                    <a:gd name="connsiteY3" fmla="*/ 8688 h 18393"/>
                    <a:gd name="connsiteX4" fmla="*/ 8688 w 18327"/>
                    <a:gd name="connsiteY4" fmla="*/ 18377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3">
                      <a:moveTo>
                        <a:pt x="8688" y="18377"/>
                      </a:moveTo>
                      <a:cubicBezTo>
                        <a:pt x="13772" y="18676"/>
                        <a:pt x="18078" y="14789"/>
                        <a:pt x="18318" y="9705"/>
                      </a:cubicBezTo>
                      <a:cubicBezTo>
                        <a:pt x="18557" y="4621"/>
                        <a:pt x="14669" y="255"/>
                        <a:pt x="9645" y="16"/>
                      </a:cubicBezTo>
                      <a:cubicBezTo>
                        <a:pt x="4562" y="-283"/>
                        <a:pt x="256" y="3605"/>
                        <a:pt x="16" y="8688"/>
                      </a:cubicBezTo>
                      <a:cubicBezTo>
                        <a:pt x="-283" y="13772"/>
                        <a:pt x="3605" y="18078"/>
                        <a:pt x="8688" y="18377"/>
                      </a:cubicBezTo>
                      <a:close/>
                    </a:path>
                  </a:pathLst>
                </a:custGeom>
                <a:grpFill/>
                <a:ln w="5978" cap="flat">
                  <a:noFill/>
                  <a:prstDash val="solid"/>
                  <a:miter/>
                </a:ln>
              </p:spPr>
              <p:txBody>
                <a:bodyPr rtlCol="0" anchor="ctr"/>
                <a:lstStyle/>
                <a:p>
                  <a:endParaRPr lang="en-GB"/>
                </a:p>
              </p:txBody>
            </p:sp>
          </p:grpSp>
          <p:grpSp>
            <p:nvGrpSpPr>
              <p:cNvPr id="1302" name="Graphic 3">
                <a:extLst>
                  <a:ext uri="{FF2B5EF4-FFF2-40B4-BE49-F238E27FC236}">
                    <a16:creationId xmlns:a16="http://schemas.microsoft.com/office/drawing/2014/main" id="{B3FB0EB8-930B-49D9-BB5E-894D295CA47A}"/>
                  </a:ext>
                </a:extLst>
              </p:cNvPr>
              <p:cNvGrpSpPr/>
              <p:nvPr/>
            </p:nvGrpSpPr>
            <p:grpSpPr>
              <a:xfrm>
                <a:off x="3632736" y="2566573"/>
                <a:ext cx="251652" cy="99706"/>
                <a:chOff x="3632736" y="2566573"/>
                <a:chExt cx="251652" cy="99706"/>
              </a:xfrm>
              <a:grpFill/>
            </p:grpSpPr>
            <p:sp>
              <p:nvSpPr>
                <p:cNvPr id="1501" name="Vrije vorm: vorm 1500">
                  <a:extLst>
                    <a:ext uri="{FF2B5EF4-FFF2-40B4-BE49-F238E27FC236}">
                      <a16:creationId xmlns:a16="http://schemas.microsoft.com/office/drawing/2014/main" id="{8EE2E0B2-5CC4-429A-A511-D5908D4E83CA}"/>
                    </a:ext>
                  </a:extLst>
                </p:cNvPr>
                <p:cNvSpPr/>
                <p:nvPr/>
              </p:nvSpPr>
              <p:spPr>
                <a:xfrm>
                  <a:off x="3641023" y="2574143"/>
                  <a:ext cx="235102" cy="84567"/>
                </a:xfrm>
                <a:custGeom>
                  <a:avLst/>
                  <a:gdLst>
                    <a:gd name="connsiteX0" fmla="*/ 235102 w 235102"/>
                    <a:gd name="connsiteY0" fmla="*/ 81637 h 84567"/>
                    <a:gd name="connsiteX1" fmla="*/ 234145 w 235102"/>
                    <a:gd name="connsiteY1" fmla="*/ 84567 h 84567"/>
                    <a:gd name="connsiteX2" fmla="*/ 0 w 235102"/>
                    <a:gd name="connsiteY2" fmla="*/ 2930 h 84567"/>
                    <a:gd name="connsiteX3" fmla="*/ 957 w 235102"/>
                    <a:gd name="connsiteY3" fmla="*/ 0 h 84567"/>
                  </a:gdLst>
                  <a:ahLst/>
                  <a:cxnLst>
                    <a:cxn ang="0">
                      <a:pos x="connsiteX0" y="connsiteY0"/>
                    </a:cxn>
                    <a:cxn ang="0">
                      <a:pos x="connsiteX1" y="connsiteY1"/>
                    </a:cxn>
                    <a:cxn ang="0">
                      <a:pos x="connsiteX2" y="connsiteY2"/>
                    </a:cxn>
                    <a:cxn ang="0">
                      <a:pos x="connsiteX3" y="connsiteY3"/>
                    </a:cxn>
                  </a:cxnLst>
                  <a:rect l="l" t="t" r="r" b="b"/>
                  <a:pathLst>
                    <a:path w="235102" h="84567">
                      <a:moveTo>
                        <a:pt x="235102" y="81637"/>
                      </a:moveTo>
                      <a:lnTo>
                        <a:pt x="234145" y="84567"/>
                      </a:lnTo>
                      <a:lnTo>
                        <a:pt x="0" y="2930"/>
                      </a:lnTo>
                      <a:lnTo>
                        <a:pt x="957" y="0"/>
                      </a:lnTo>
                      <a:close/>
                    </a:path>
                  </a:pathLst>
                </a:custGeom>
                <a:grpFill/>
                <a:ln w="5978" cap="flat">
                  <a:noFill/>
                  <a:prstDash val="solid"/>
                  <a:miter/>
                </a:ln>
              </p:spPr>
              <p:txBody>
                <a:bodyPr rtlCol="0" anchor="ctr"/>
                <a:lstStyle/>
                <a:p>
                  <a:endParaRPr lang="en-GB"/>
                </a:p>
              </p:txBody>
            </p:sp>
            <p:sp>
              <p:nvSpPr>
                <p:cNvPr id="1502" name="Vrije vorm: vorm 1501">
                  <a:extLst>
                    <a:ext uri="{FF2B5EF4-FFF2-40B4-BE49-F238E27FC236}">
                      <a16:creationId xmlns:a16="http://schemas.microsoft.com/office/drawing/2014/main" id="{C2AECA2C-E8E2-485C-B8EC-604043425025}"/>
                    </a:ext>
                  </a:extLst>
                </p:cNvPr>
                <p:cNvSpPr/>
                <p:nvPr/>
              </p:nvSpPr>
              <p:spPr>
                <a:xfrm>
                  <a:off x="3632736" y="2566573"/>
                  <a:ext cx="18368" cy="18428"/>
                </a:xfrm>
                <a:custGeom>
                  <a:avLst/>
                  <a:gdLst>
                    <a:gd name="connsiteX0" fmla="*/ 6194 w 18368"/>
                    <a:gd name="connsiteY0" fmla="*/ 17916 h 18428"/>
                    <a:gd name="connsiteX1" fmla="*/ 512 w 18368"/>
                    <a:gd name="connsiteY1" fmla="*/ 6194 h 18428"/>
                    <a:gd name="connsiteX2" fmla="*/ 12174 w 18368"/>
                    <a:gd name="connsiteY2" fmla="*/ 512 h 18428"/>
                    <a:gd name="connsiteX3" fmla="*/ 17856 w 18368"/>
                    <a:gd name="connsiteY3" fmla="*/ 12234 h 18428"/>
                    <a:gd name="connsiteX4" fmla="*/ 6194 w 18368"/>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6194" y="17916"/>
                      </a:moveTo>
                      <a:cubicBezTo>
                        <a:pt x="1409" y="16241"/>
                        <a:pt x="-1162" y="10978"/>
                        <a:pt x="512" y="6194"/>
                      </a:cubicBezTo>
                      <a:cubicBezTo>
                        <a:pt x="2127" y="1409"/>
                        <a:pt x="7390" y="-1162"/>
                        <a:pt x="12174" y="512"/>
                      </a:cubicBezTo>
                      <a:cubicBezTo>
                        <a:pt x="16959" y="2187"/>
                        <a:pt x="19531" y="7450"/>
                        <a:pt x="17856" y="12234"/>
                      </a:cubicBezTo>
                      <a:cubicBezTo>
                        <a:pt x="16241" y="17019"/>
                        <a:pt x="11038" y="19591"/>
                        <a:pt x="6194" y="17916"/>
                      </a:cubicBezTo>
                      <a:close/>
                    </a:path>
                  </a:pathLst>
                </a:custGeom>
                <a:grpFill/>
                <a:ln w="5978" cap="flat">
                  <a:noFill/>
                  <a:prstDash val="solid"/>
                  <a:miter/>
                </a:ln>
              </p:spPr>
              <p:txBody>
                <a:bodyPr rtlCol="0" anchor="ctr"/>
                <a:lstStyle/>
                <a:p>
                  <a:endParaRPr lang="en-GB"/>
                </a:p>
              </p:txBody>
            </p:sp>
            <p:sp>
              <p:nvSpPr>
                <p:cNvPr id="1503" name="Vrije vorm: vorm 1502">
                  <a:extLst>
                    <a:ext uri="{FF2B5EF4-FFF2-40B4-BE49-F238E27FC236}">
                      <a16:creationId xmlns:a16="http://schemas.microsoft.com/office/drawing/2014/main" id="{D08BB6E4-0DAF-4EFC-8295-B73170E8E353}"/>
                    </a:ext>
                  </a:extLst>
                </p:cNvPr>
                <p:cNvSpPr/>
                <p:nvPr/>
              </p:nvSpPr>
              <p:spPr>
                <a:xfrm>
                  <a:off x="3866044" y="2647851"/>
                  <a:ext cx="18344" cy="18427"/>
                </a:xfrm>
                <a:custGeom>
                  <a:avLst/>
                  <a:gdLst>
                    <a:gd name="connsiteX0" fmla="*/ 6194 w 18344"/>
                    <a:gd name="connsiteY0" fmla="*/ 17916 h 18427"/>
                    <a:gd name="connsiteX1" fmla="*/ 17856 w 18344"/>
                    <a:gd name="connsiteY1" fmla="*/ 12234 h 18427"/>
                    <a:gd name="connsiteX2" fmla="*/ 12175 w 18344"/>
                    <a:gd name="connsiteY2" fmla="*/ 512 h 18427"/>
                    <a:gd name="connsiteX3" fmla="*/ 512 w 18344"/>
                    <a:gd name="connsiteY3" fmla="*/ 6194 h 18427"/>
                    <a:gd name="connsiteX4" fmla="*/ 6194 w 18344"/>
                    <a:gd name="connsiteY4" fmla="*/ 1791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7">
                      <a:moveTo>
                        <a:pt x="6194" y="17916"/>
                      </a:moveTo>
                      <a:cubicBezTo>
                        <a:pt x="10978" y="19590"/>
                        <a:pt x="16181" y="17019"/>
                        <a:pt x="17856" y="12234"/>
                      </a:cubicBezTo>
                      <a:cubicBezTo>
                        <a:pt x="19471" y="7450"/>
                        <a:pt x="16959" y="2187"/>
                        <a:pt x="12175" y="512"/>
                      </a:cubicBezTo>
                      <a:cubicBezTo>
                        <a:pt x="7390" y="-1162"/>
                        <a:pt x="2187" y="1409"/>
                        <a:pt x="512" y="6194"/>
                      </a:cubicBezTo>
                      <a:cubicBezTo>
                        <a:pt x="-1162" y="11038"/>
                        <a:pt x="1409" y="16301"/>
                        <a:pt x="6194" y="17916"/>
                      </a:cubicBezTo>
                      <a:close/>
                    </a:path>
                  </a:pathLst>
                </a:custGeom>
                <a:grpFill/>
                <a:ln w="5978" cap="flat">
                  <a:noFill/>
                  <a:prstDash val="solid"/>
                  <a:miter/>
                </a:ln>
              </p:spPr>
              <p:txBody>
                <a:bodyPr rtlCol="0" anchor="ctr"/>
                <a:lstStyle/>
                <a:p>
                  <a:endParaRPr lang="en-GB"/>
                </a:p>
              </p:txBody>
            </p:sp>
          </p:grpSp>
          <p:grpSp>
            <p:nvGrpSpPr>
              <p:cNvPr id="1303" name="Graphic 3">
                <a:extLst>
                  <a:ext uri="{FF2B5EF4-FFF2-40B4-BE49-F238E27FC236}">
                    <a16:creationId xmlns:a16="http://schemas.microsoft.com/office/drawing/2014/main" id="{75DC20AF-8304-4502-9B87-9A433F9C2386}"/>
                  </a:ext>
                </a:extLst>
              </p:cNvPr>
              <p:cNvGrpSpPr/>
              <p:nvPr/>
            </p:nvGrpSpPr>
            <p:grpSpPr>
              <a:xfrm>
                <a:off x="4038761" y="4083763"/>
                <a:ext cx="485835" cy="180685"/>
                <a:chOff x="4038761" y="4083763"/>
                <a:chExt cx="485835" cy="180685"/>
              </a:xfrm>
              <a:grpFill/>
            </p:grpSpPr>
            <p:sp>
              <p:nvSpPr>
                <p:cNvPr id="1498" name="Vrije vorm: vorm 1497">
                  <a:extLst>
                    <a:ext uri="{FF2B5EF4-FFF2-40B4-BE49-F238E27FC236}">
                      <a16:creationId xmlns:a16="http://schemas.microsoft.com/office/drawing/2014/main" id="{73CB06AB-F5EC-438A-8E98-DBC487737497}"/>
                    </a:ext>
                  </a:extLst>
                </p:cNvPr>
                <p:cNvSpPr/>
                <p:nvPr/>
              </p:nvSpPr>
              <p:spPr>
                <a:xfrm>
                  <a:off x="4046858" y="4091558"/>
                  <a:ext cx="469384" cy="165454"/>
                </a:xfrm>
                <a:custGeom>
                  <a:avLst/>
                  <a:gdLst>
                    <a:gd name="connsiteX0" fmla="*/ 0 w 469384"/>
                    <a:gd name="connsiteY0" fmla="*/ 162574 h 165454"/>
                    <a:gd name="connsiteX1" fmla="*/ 468384 w 469384"/>
                    <a:gd name="connsiteY1" fmla="*/ 0 h 165454"/>
                    <a:gd name="connsiteX2" fmla="*/ 469384 w 469384"/>
                    <a:gd name="connsiteY2" fmla="*/ 2882 h 165454"/>
                    <a:gd name="connsiteX3" fmla="*/ 1000 w 469384"/>
                    <a:gd name="connsiteY3" fmla="*/ 165455 h 165454"/>
                  </a:gdLst>
                  <a:ahLst/>
                  <a:cxnLst>
                    <a:cxn ang="0">
                      <a:pos x="connsiteX0" y="connsiteY0"/>
                    </a:cxn>
                    <a:cxn ang="0">
                      <a:pos x="connsiteX1" y="connsiteY1"/>
                    </a:cxn>
                    <a:cxn ang="0">
                      <a:pos x="connsiteX2" y="connsiteY2"/>
                    </a:cxn>
                    <a:cxn ang="0">
                      <a:pos x="connsiteX3" y="connsiteY3"/>
                    </a:cxn>
                  </a:cxnLst>
                  <a:rect l="l" t="t" r="r" b="b"/>
                  <a:pathLst>
                    <a:path w="469384" h="165454">
                      <a:moveTo>
                        <a:pt x="0" y="162574"/>
                      </a:moveTo>
                      <a:lnTo>
                        <a:pt x="468384" y="0"/>
                      </a:lnTo>
                      <a:lnTo>
                        <a:pt x="469384" y="2882"/>
                      </a:lnTo>
                      <a:lnTo>
                        <a:pt x="1000" y="165455"/>
                      </a:lnTo>
                      <a:close/>
                    </a:path>
                  </a:pathLst>
                </a:custGeom>
                <a:grpFill/>
                <a:ln w="5978" cap="flat">
                  <a:noFill/>
                  <a:prstDash val="solid"/>
                  <a:miter/>
                </a:ln>
              </p:spPr>
              <p:txBody>
                <a:bodyPr rtlCol="0" anchor="ctr"/>
                <a:lstStyle/>
                <a:p>
                  <a:endParaRPr lang="en-GB"/>
                </a:p>
              </p:txBody>
            </p:sp>
            <p:sp>
              <p:nvSpPr>
                <p:cNvPr id="1499" name="Vrije vorm: vorm 1498">
                  <a:extLst>
                    <a:ext uri="{FF2B5EF4-FFF2-40B4-BE49-F238E27FC236}">
                      <a16:creationId xmlns:a16="http://schemas.microsoft.com/office/drawing/2014/main" id="{78D1E19C-9C60-4746-8708-688EA32AA183}"/>
                    </a:ext>
                  </a:extLst>
                </p:cNvPr>
                <p:cNvSpPr/>
                <p:nvPr/>
              </p:nvSpPr>
              <p:spPr>
                <a:xfrm>
                  <a:off x="4506274" y="4083763"/>
                  <a:ext cx="18322" cy="18428"/>
                </a:xfrm>
                <a:custGeom>
                  <a:avLst/>
                  <a:gdLst>
                    <a:gd name="connsiteX0" fmla="*/ 6141 w 18322"/>
                    <a:gd name="connsiteY0" fmla="*/ 512 h 18428"/>
                    <a:gd name="connsiteX1" fmla="*/ 17803 w 18322"/>
                    <a:gd name="connsiteY1" fmla="*/ 6194 h 18428"/>
                    <a:gd name="connsiteX2" fmla="*/ 12181 w 18322"/>
                    <a:gd name="connsiteY2" fmla="*/ 17916 h 18428"/>
                    <a:gd name="connsiteX3" fmla="*/ 519 w 18322"/>
                    <a:gd name="connsiteY3" fmla="*/ 12234 h 18428"/>
                    <a:gd name="connsiteX4" fmla="*/ 6141 w 18322"/>
                    <a:gd name="connsiteY4" fmla="*/ 512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6141" y="512"/>
                      </a:moveTo>
                      <a:cubicBezTo>
                        <a:pt x="10926" y="-1163"/>
                        <a:pt x="16129" y="1409"/>
                        <a:pt x="17803" y="6194"/>
                      </a:cubicBezTo>
                      <a:cubicBezTo>
                        <a:pt x="19478" y="10978"/>
                        <a:pt x="16966" y="16242"/>
                        <a:pt x="12181" y="17916"/>
                      </a:cubicBezTo>
                      <a:cubicBezTo>
                        <a:pt x="7397" y="19591"/>
                        <a:pt x="2194" y="17019"/>
                        <a:pt x="519" y="12234"/>
                      </a:cubicBezTo>
                      <a:cubicBezTo>
                        <a:pt x="-1156" y="7390"/>
                        <a:pt x="1356" y="2187"/>
                        <a:pt x="6141" y="512"/>
                      </a:cubicBezTo>
                      <a:close/>
                    </a:path>
                  </a:pathLst>
                </a:custGeom>
                <a:grpFill/>
                <a:ln w="5978" cap="flat">
                  <a:noFill/>
                  <a:prstDash val="solid"/>
                  <a:miter/>
                </a:ln>
              </p:spPr>
              <p:txBody>
                <a:bodyPr rtlCol="0" anchor="ctr"/>
                <a:lstStyle/>
                <a:p>
                  <a:endParaRPr lang="en-GB"/>
                </a:p>
              </p:txBody>
            </p:sp>
            <p:sp>
              <p:nvSpPr>
                <p:cNvPr id="1500" name="Vrije vorm: vorm 1499">
                  <a:extLst>
                    <a:ext uri="{FF2B5EF4-FFF2-40B4-BE49-F238E27FC236}">
                      <a16:creationId xmlns:a16="http://schemas.microsoft.com/office/drawing/2014/main" id="{42875B5A-17B1-48DF-82E1-8A33CFBBB03D}"/>
                    </a:ext>
                  </a:extLst>
                </p:cNvPr>
                <p:cNvSpPr/>
                <p:nvPr/>
              </p:nvSpPr>
              <p:spPr>
                <a:xfrm>
                  <a:off x="4038761" y="4246043"/>
                  <a:ext cx="18321" cy="18404"/>
                </a:xfrm>
                <a:custGeom>
                  <a:avLst/>
                  <a:gdLst>
                    <a:gd name="connsiteX0" fmla="*/ 6141 w 18321"/>
                    <a:gd name="connsiteY0" fmla="*/ 489 h 18404"/>
                    <a:gd name="connsiteX1" fmla="*/ 519 w 18321"/>
                    <a:gd name="connsiteY1" fmla="*/ 12211 h 18404"/>
                    <a:gd name="connsiteX2" fmla="*/ 12181 w 18321"/>
                    <a:gd name="connsiteY2" fmla="*/ 17893 h 18404"/>
                    <a:gd name="connsiteX3" fmla="*/ 17803 w 18321"/>
                    <a:gd name="connsiteY3" fmla="*/ 6171 h 18404"/>
                    <a:gd name="connsiteX4" fmla="*/ 6141 w 18321"/>
                    <a:gd name="connsiteY4" fmla="*/ 48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04">
                      <a:moveTo>
                        <a:pt x="6141" y="489"/>
                      </a:moveTo>
                      <a:cubicBezTo>
                        <a:pt x="1356" y="2163"/>
                        <a:pt x="-1156" y="7366"/>
                        <a:pt x="519" y="12211"/>
                      </a:cubicBezTo>
                      <a:cubicBezTo>
                        <a:pt x="2194" y="16996"/>
                        <a:pt x="7397" y="19567"/>
                        <a:pt x="12181" y="17893"/>
                      </a:cubicBezTo>
                      <a:cubicBezTo>
                        <a:pt x="16966" y="16218"/>
                        <a:pt x="19478" y="11015"/>
                        <a:pt x="17803" y="6171"/>
                      </a:cubicBezTo>
                      <a:cubicBezTo>
                        <a:pt x="16188" y="1386"/>
                        <a:pt x="10925" y="-1126"/>
                        <a:pt x="6141" y="489"/>
                      </a:cubicBezTo>
                      <a:close/>
                    </a:path>
                  </a:pathLst>
                </a:custGeom>
                <a:grpFill/>
                <a:ln w="5978" cap="flat">
                  <a:noFill/>
                  <a:prstDash val="solid"/>
                  <a:miter/>
                </a:ln>
              </p:spPr>
              <p:txBody>
                <a:bodyPr rtlCol="0" anchor="ctr"/>
                <a:lstStyle/>
                <a:p>
                  <a:endParaRPr lang="en-GB"/>
                </a:p>
              </p:txBody>
            </p:sp>
          </p:grpSp>
          <p:grpSp>
            <p:nvGrpSpPr>
              <p:cNvPr id="1304" name="Graphic 3">
                <a:extLst>
                  <a:ext uri="{FF2B5EF4-FFF2-40B4-BE49-F238E27FC236}">
                    <a16:creationId xmlns:a16="http://schemas.microsoft.com/office/drawing/2014/main" id="{F6C9A389-CCE9-42A8-BD18-F1CDCF098645}"/>
                  </a:ext>
                </a:extLst>
              </p:cNvPr>
              <p:cNvGrpSpPr/>
              <p:nvPr/>
            </p:nvGrpSpPr>
            <p:grpSpPr>
              <a:xfrm>
                <a:off x="4249175" y="4253084"/>
                <a:ext cx="152743" cy="86773"/>
                <a:chOff x="4249175" y="4253084"/>
                <a:chExt cx="152743" cy="86773"/>
              </a:xfrm>
              <a:grpFill/>
            </p:grpSpPr>
            <p:sp>
              <p:nvSpPr>
                <p:cNvPr id="1495" name="Vrije vorm: vorm 1494">
                  <a:extLst>
                    <a:ext uri="{FF2B5EF4-FFF2-40B4-BE49-F238E27FC236}">
                      <a16:creationId xmlns:a16="http://schemas.microsoft.com/office/drawing/2014/main" id="{6FD1E801-A606-454F-B031-FF5920FCB536}"/>
                    </a:ext>
                  </a:extLst>
                </p:cNvPr>
                <p:cNvSpPr/>
                <p:nvPr/>
              </p:nvSpPr>
              <p:spPr>
                <a:xfrm>
                  <a:off x="4257217" y="4260706"/>
                  <a:ext cx="136659" cy="71529"/>
                </a:xfrm>
                <a:custGeom>
                  <a:avLst/>
                  <a:gdLst>
                    <a:gd name="connsiteX0" fmla="*/ 136659 w 136659"/>
                    <a:gd name="connsiteY0" fmla="*/ 2751 h 71529"/>
                    <a:gd name="connsiteX1" fmla="*/ 1375 w 136659"/>
                    <a:gd name="connsiteY1" fmla="*/ 71529 h 71529"/>
                    <a:gd name="connsiteX2" fmla="*/ 0 w 136659"/>
                    <a:gd name="connsiteY2" fmla="*/ 68838 h 71529"/>
                    <a:gd name="connsiteX3" fmla="*/ 135284 w 136659"/>
                    <a:gd name="connsiteY3" fmla="*/ 0 h 71529"/>
                  </a:gdLst>
                  <a:ahLst/>
                  <a:cxnLst>
                    <a:cxn ang="0">
                      <a:pos x="connsiteX0" y="connsiteY0"/>
                    </a:cxn>
                    <a:cxn ang="0">
                      <a:pos x="connsiteX1" y="connsiteY1"/>
                    </a:cxn>
                    <a:cxn ang="0">
                      <a:pos x="connsiteX2" y="connsiteY2"/>
                    </a:cxn>
                    <a:cxn ang="0">
                      <a:pos x="connsiteX3" y="connsiteY3"/>
                    </a:cxn>
                  </a:cxnLst>
                  <a:rect l="l" t="t" r="r" b="b"/>
                  <a:pathLst>
                    <a:path w="136659" h="71529">
                      <a:moveTo>
                        <a:pt x="136659" y="2751"/>
                      </a:moveTo>
                      <a:lnTo>
                        <a:pt x="1375" y="71529"/>
                      </a:lnTo>
                      <a:lnTo>
                        <a:pt x="0" y="68838"/>
                      </a:lnTo>
                      <a:lnTo>
                        <a:pt x="135284" y="0"/>
                      </a:lnTo>
                      <a:close/>
                    </a:path>
                  </a:pathLst>
                </a:custGeom>
                <a:grpFill/>
                <a:ln w="5978" cap="flat">
                  <a:noFill/>
                  <a:prstDash val="solid"/>
                  <a:miter/>
                </a:ln>
              </p:spPr>
              <p:txBody>
                <a:bodyPr rtlCol="0" anchor="ctr"/>
                <a:lstStyle/>
                <a:p>
                  <a:endParaRPr lang="en-GB"/>
                </a:p>
              </p:txBody>
            </p:sp>
            <p:sp>
              <p:nvSpPr>
                <p:cNvPr id="1496" name="Vrije vorm: vorm 1495">
                  <a:extLst>
                    <a:ext uri="{FF2B5EF4-FFF2-40B4-BE49-F238E27FC236}">
                      <a16:creationId xmlns:a16="http://schemas.microsoft.com/office/drawing/2014/main" id="{7654FBA4-FB1C-4B51-B214-DA4056F98150}"/>
                    </a:ext>
                  </a:extLst>
                </p:cNvPr>
                <p:cNvSpPr/>
                <p:nvPr/>
              </p:nvSpPr>
              <p:spPr>
                <a:xfrm>
                  <a:off x="4249175" y="4321444"/>
                  <a:ext cx="18297" cy="18413"/>
                </a:xfrm>
                <a:custGeom>
                  <a:avLst/>
                  <a:gdLst>
                    <a:gd name="connsiteX0" fmla="*/ 13305 w 18297"/>
                    <a:gd name="connsiteY0" fmla="*/ 17430 h 18413"/>
                    <a:gd name="connsiteX1" fmla="*/ 985 w 18297"/>
                    <a:gd name="connsiteY1" fmla="*/ 13364 h 18413"/>
                    <a:gd name="connsiteX2" fmla="*/ 4992 w 18297"/>
                    <a:gd name="connsiteY2" fmla="*/ 983 h 18413"/>
                    <a:gd name="connsiteX3" fmla="*/ 17312 w 18297"/>
                    <a:gd name="connsiteY3" fmla="*/ 5050 h 18413"/>
                    <a:gd name="connsiteX4" fmla="*/ 13305 w 18297"/>
                    <a:gd name="connsiteY4" fmla="*/ 17430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3305" y="17430"/>
                      </a:moveTo>
                      <a:cubicBezTo>
                        <a:pt x="8820" y="19703"/>
                        <a:pt x="3258" y="17909"/>
                        <a:pt x="985" y="13364"/>
                      </a:cubicBezTo>
                      <a:cubicBezTo>
                        <a:pt x="-1288" y="8818"/>
                        <a:pt x="506" y="3256"/>
                        <a:pt x="4992" y="983"/>
                      </a:cubicBezTo>
                      <a:cubicBezTo>
                        <a:pt x="9477" y="-1289"/>
                        <a:pt x="15039" y="505"/>
                        <a:pt x="17312" y="5050"/>
                      </a:cubicBezTo>
                      <a:cubicBezTo>
                        <a:pt x="19585" y="9596"/>
                        <a:pt x="17791" y="15158"/>
                        <a:pt x="13305" y="17430"/>
                      </a:cubicBezTo>
                      <a:close/>
                    </a:path>
                  </a:pathLst>
                </a:custGeom>
                <a:grpFill/>
                <a:ln w="5978" cap="flat">
                  <a:noFill/>
                  <a:prstDash val="solid"/>
                  <a:miter/>
                </a:ln>
              </p:spPr>
              <p:txBody>
                <a:bodyPr rtlCol="0" anchor="ctr"/>
                <a:lstStyle/>
                <a:p>
                  <a:endParaRPr lang="en-GB"/>
                </a:p>
              </p:txBody>
            </p:sp>
            <p:sp>
              <p:nvSpPr>
                <p:cNvPr id="1497" name="Vrije vorm: vorm 1496">
                  <a:extLst>
                    <a:ext uri="{FF2B5EF4-FFF2-40B4-BE49-F238E27FC236}">
                      <a16:creationId xmlns:a16="http://schemas.microsoft.com/office/drawing/2014/main" id="{B69ED71B-E1B7-4F00-821D-C7074C5E044E}"/>
                    </a:ext>
                  </a:extLst>
                </p:cNvPr>
                <p:cNvSpPr/>
                <p:nvPr/>
              </p:nvSpPr>
              <p:spPr>
                <a:xfrm>
                  <a:off x="4383621" y="4253084"/>
                  <a:ext cx="18297" cy="18439"/>
                </a:xfrm>
                <a:custGeom>
                  <a:avLst/>
                  <a:gdLst>
                    <a:gd name="connsiteX0" fmla="*/ 13305 w 18297"/>
                    <a:gd name="connsiteY0" fmla="*/ 17430 h 18439"/>
                    <a:gd name="connsiteX1" fmla="*/ 17312 w 18297"/>
                    <a:gd name="connsiteY1" fmla="*/ 5050 h 18439"/>
                    <a:gd name="connsiteX2" fmla="*/ 4992 w 18297"/>
                    <a:gd name="connsiteY2" fmla="*/ 983 h 18439"/>
                    <a:gd name="connsiteX3" fmla="*/ 985 w 18297"/>
                    <a:gd name="connsiteY3" fmla="*/ 13363 h 18439"/>
                    <a:gd name="connsiteX4" fmla="*/ 13305 w 18297"/>
                    <a:gd name="connsiteY4" fmla="*/ 1743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9">
                      <a:moveTo>
                        <a:pt x="13305" y="17430"/>
                      </a:moveTo>
                      <a:cubicBezTo>
                        <a:pt x="17791" y="15158"/>
                        <a:pt x="19585" y="9596"/>
                        <a:pt x="17312" y="5050"/>
                      </a:cubicBezTo>
                      <a:cubicBezTo>
                        <a:pt x="15040" y="505"/>
                        <a:pt x="9478" y="-1289"/>
                        <a:pt x="4992" y="983"/>
                      </a:cubicBezTo>
                      <a:cubicBezTo>
                        <a:pt x="507" y="3256"/>
                        <a:pt x="-1288" y="8818"/>
                        <a:pt x="985" y="13363"/>
                      </a:cubicBezTo>
                      <a:cubicBezTo>
                        <a:pt x="3258" y="17909"/>
                        <a:pt x="8820" y="19763"/>
                        <a:pt x="13305" y="17430"/>
                      </a:cubicBezTo>
                      <a:close/>
                    </a:path>
                  </a:pathLst>
                </a:custGeom>
                <a:grpFill/>
                <a:ln w="5978" cap="flat">
                  <a:noFill/>
                  <a:prstDash val="solid"/>
                  <a:miter/>
                </a:ln>
              </p:spPr>
              <p:txBody>
                <a:bodyPr rtlCol="0" anchor="ctr"/>
                <a:lstStyle/>
                <a:p>
                  <a:endParaRPr lang="en-GB"/>
                </a:p>
              </p:txBody>
            </p:sp>
          </p:grpSp>
          <p:grpSp>
            <p:nvGrpSpPr>
              <p:cNvPr id="1305" name="Graphic 3">
                <a:extLst>
                  <a:ext uri="{FF2B5EF4-FFF2-40B4-BE49-F238E27FC236}">
                    <a16:creationId xmlns:a16="http://schemas.microsoft.com/office/drawing/2014/main" id="{27418BFD-AD7F-466B-AA13-837AB376A9B8}"/>
                  </a:ext>
                </a:extLst>
              </p:cNvPr>
              <p:cNvGrpSpPr/>
              <p:nvPr/>
            </p:nvGrpSpPr>
            <p:grpSpPr>
              <a:xfrm>
                <a:off x="4357467" y="4481250"/>
                <a:ext cx="78902" cy="58380"/>
                <a:chOff x="4357467" y="4481250"/>
                <a:chExt cx="78902" cy="58380"/>
              </a:xfrm>
              <a:grpFill/>
            </p:grpSpPr>
            <p:sp>
              <p:nvSpPr>
                <p:cNvPr id="1492" name="Vrije vorm: vorm 1491">
                  <a:extLst>
                    <a:ext uri="{FF2B5EF4-FFF2-40B4-BE49-F238E27FC236}">
                      <a16:creationId xmlns:a16="http://schemas.microsoft.com/office/drawing/2014/main" id="{05D586B8-CCC3-4BB3-8281-07DC4EF7C7A4}"/>
                    </a:ext>
                  </a:extLst>
                </p:cNvPr>
                <p:cNvSpPr/>
                <p:nvPr/>
              </p:nvSpPr>
              <p:spPr>
                <a:xfrm>
                  <a:off x="4365408" y="4488930"/>
                  <a:ext cx="63036" cy="43001"/>
                </a:xfrm>
                <a:custGeom>
                  <a:avLst/>
                  <a:gdLst>
                    <a:gd name="connsiteX0" fmla="*/ 63037 w 63036"/>
                    <a:gd name="connsiteY0" fmla="*/ 2572 h 43001"/>
                    <a:gd name="connsiteX1" fmla="*/ 1674 w 63036"/>
                    <a:gd name="connsiteY1" fmla="*/ 43001 h 43001"/>
                    <a:gd name="connsiteX2" fmla="*/ 0 w 63036"/>
                    <a:gd name="connsiteY2" fmla="*/ 40430 h 43001"/>
                    <a:gd name="connsiteX3" fmla="*/ 61362 w 63036"/>
                    <a:gd name="connsiteY3" fmla="*/ 0 h 43001"/>
                  </a:gdLst>
                  <a:ahLst/>
                  <a:cxnLst>
                    <a:cxn ang="0">
                      <a:pos x="connsiteX0" y="connsiteY0"/>
                    </a:cxn>
                    <a:cxn ang="0">
                      <a:pos x="connsiteX1" y="connsiteY1"/>
                    </a:cxn>
                    <a:cxn ang="0">
                      <a:pos x="connsiteX2" y="connsiteY2"/>
                    </a:cxn>
                    <a:cxn ang="0">
                      <a:pos x="connsiteX3" y="connsiteY3"/>
                    </a:cxn>
                  </a:cxnLst>
                  <a:rect l="l" t="t" r="r" b="b"/>
                  <a:pathLst>
                    <a:path w="63036" h="43001">
                      <a:moveTo>
                        <a:pt x="63037" y="2572"/>
                      </a:moveTo>
                      <a:lnTo>
                        <a:pt x="1674" y="43001"/>
                      </a:lnTo>
                      <a:lnTo>
                        <a:pt x="0" y="40430"/>
                      </a:lnTo>
                      <a:lnTo>
                        <a:pt x="61362" y="0"/>
                      </a:lnTo>
                      <a:close/>
                    </a:path>
                  </a:pathLst>
                </a:custGeom>
                <a:grpFill/>
                <a:ln w="5978" cap="flat">
                  <a:noFill/>
                  <a:prstDash val="solid"/>
                  <a:miter/>
                </a:ln>
              </p:spPr>
              <p:txBody>
                <a:bodyPr rtlCol="0" anchor="ctr"/>
                <a:lstStyle/>
                <a:p>
                  <a:endParaRPr lang="en-GB"/>
                </a:p>
              </p:txBody>
            </p:sp>
            <p:sp>
              <p:nvSpPr>
                <p:cNvPr id="1493" name="Vrije vorm: vorm 1492">
                  <a:extLst>
                    <a:ext uri="{FF2B5EF4-FFF2-40B4-BE49-F238E27FC236}">
                      <a16:creationId xmlns:a16="http://schemas.microsoft.com/office/drawing/2014/main" id="{1D0120BA-FD6C-49A7-86B2-205866C53B88}"/>
                    </a:ext>
                  </a:extLst>
                </p:cNvPr>
                <p:cNvSpPr/>
                <p:nvPr/>
              </p:nvSpPr>
              <p:spPr>
                <a:xfrm>
                  <a:off x="4418052" y="4481250"/>
                  <a:ext cx="18318" cy="18470"/>
                </a:xfrm>
                <a:custGeom>
                  <a:avLst/>
                  <a:gdLst>
                    <a:gd name="connsiteX0" fmla="*/ 4113 w 18318"/>
                    <a:gd name="connsiteY0" fmla="*/ 1520 h 18470"/>
                    <a:gd name="connsiteX1" fmla="*/ 16792 w 18318"/>
                    <a:gd name="connsiteY1" fmla="*/ 4212 h 18470"/>
                    <a:gd name="connsiteX2" fmla="*/ 14221 w 18318"/>
                    <a:gd name="connsiteY2" fmla="*/ 16950 h 18470"/>
                    <a:gd name="connsiteX3" fmla="*/ 1542 w 18318"/>
                    <a:gd name="connsiteY3" fmla="*/ 14259 h 18470"/>
                    <a:gd name="connsiteX4" fmla="*/ 4113 w 18318"/>
                    <a:gd name="connsiteY4" fmla="*/ 1520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0">
                      <a:moveTo>
                        <a:pt x="4113" y="1520"/>
                      </a:moveTo>
                      <a:cubicBezTo>
                        <a:pt x="8359" y="-1291"/>
                        <a:pt x="14041" y="-95"/>
                        <a:pt x="16792" y="4212"/>
                      </a:cubicBezTo>
                      <a:cubicBezTo>
                        <a:pt x="19603" y="8458"/>
                        <a:pt x="18407" y="14199"/>
                        <a:pt x="14221" y="16950"/>
                      </a:cubicBezTo>
                      <a:cubicBezTo>
                        <a:pt x="9974" y="19761"/>
                        <a:pt x="4292" y="18565"/>
                        <a:pt x="1542" y="14259"/>
                      </a:cubicBezTo>
                      <a:cubicBezTo>
                        <a:pt x="-1270" y="10013"/>
                        <a:pt x="-133" y="4271"/>
                        <a:pt x="4113" y="1520"/>
                      </a:cubicBezTo>
                      <a:close/>
                    </a:path>
                  </a:pathLst>
                </a:custGeom>
                <a:grpFill/>
                <a:ln w="5978" cap="flat">
                  <a:noFill/>
                  <a:prstDash val="solid"/>
                  <a:miter/>
                </a:ln>
              </p:spPr>
              <p:txBody>
                <a:bodyPr rtlCol="0" anchor="ctr"/>
                <a:lstStyle/>
                <a:p>
                  <a:endParaRPr lang="en-GB"/>
                </a:p>
              </p:txBody>
            </p:sp>
            <p:sp>
              <p:nvSpPr>
                <p:cNvPr id="1494" name="Vrije vorm: vorm 1493">
                  <a:extLst>
                    <a:ext uri="{FF2B5EF4-FFF2-40B4-BE49-F238E27FC236}">
                      <a16:creationId xmlns:a16="http://schemas.microsoft.com/office/drawing/2014/main" id="{979957E5-5F75-4508-995B-3118BBA349DA}"/>
                    </a:ext>
                  </a:extLst>
                </p:cNvPr>
                <p:cNvSpPr/>
                <p:nvPr/>
              </p:nvSpPr>
              <p:spPr>
                <a:xfrm>
                  <a:off x="4357467" y="4521201"/>
                  <a:ext cx="18348" cy="18428"/>
                </a:xfrm>
                <a:custGeom>
                  <a:avLst/>
                  <a:gdLst>
                    <a:gd name="connsiteX0" fmla="*/ 4113 w 18348"/>
                    <a:gd name="connsiteY0" fmla="*/ 1520 h 18428"/>
                    <a:gd name="connsiteX1" fmla="*/ 1542 w 18348"/>
                    <a:gd name="connsiteY1" fmla="*/ 14259 h 18428"/>
                    <a:gd name="connsiteX2" fmla="*/ 14221 w 18348"/>
                    <a:gd name="connsiteY2" fmla="*/ 16951 h 18428"/>
                    <a:gd name="connsiteX3" fmla="*/ 16852 w 18348"/>
                    <a:gd name="connsiteY3" fmla="*/ 4212 h 18428"/>
                    <a:gd name="connsiteX4" fmla="*/ 4113 w 18348"/>
                    <a:gd name="connsiteY4" fmla="*/ 1520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8">
                      <a:moveTo>
                        <a:pt x="4113" y="1520"/>
                      </a:moveTo>
                      <a:cubicBezTo>
                        <a:pt x="-133" y="4331"/>
                        <a:pt x="-1270" y="10013"/>
                        <a:pt x="1542" y="14259"/>
                      </a:cubicBezTo>
                      <a:cubicBezTo>
                        <a:pt x="4352" y="18505"/>
                        <a:pt x="10034" y="19701"/>
                        <a:pt x="14221" y="16951"/>
                      </a:cubicBezTo>
                      <a:cubicBezTo>
                        <a:pt x="18467" y="14139"/>
                        <a:pt x="19603" y="8458"/>
                        <a:pt x="16852" y="4212"/>
                      </a:cubicBezTo>
                      <a:cubicBezTo>
                        <a:pt x="14041" y="-95"/>
                        <a:pt x="8360" y="-1291"/>
                        <a:pt x="4113" y="1520"/>
                      </a:cubicBezTo>
                      <a:close/>
                    </a:path>
                  </a:pathLst>
                </a:custGeom>
                <a:grpFill/>
                <a:ln w="5978" cap="flat">
                  <a:noFill/>
                  <a:prstDash val="solid"/>
                  <a:miter/>
                </a:ln>
              </p:spPr>
              <p:txBody>
                <a:bodyPr rtlCol="0" anchor="ctr"/>
                <a:lstStyle/>
                <a:p>
                  <a:endParaRPr lang="en-GB"/>
                </a:p>
              </p:txBody>
            </p:sp>
          </p:grpSp>
          <p:grpSp>
            <p:nvGrpSpPr>
              <p:cNvPr id="1306" name="Graphic 3">
                <a:extLst>
                  <a:ext uri="{FF2B5EF4-FFF2-40B4-BE49-F238E27FC236}">
                    <a16:creationId xmlns:a16="http://schemas.microsoft.com/office/drawing/2014/main" id="{DF31E1B4-8A04-4767-9E05-0EBC8A8AFB1F}"/>
                  </a:ext>
                </a:extLst>
              </p:cNvPr>
              <p:cNvGrpSpPr/>
              <p:nvPr/>
            </p:nvGrpSpPr>
            <p:grpSpPr>
              <a:xfrm>
                <a:off x="3949688" y="3410487"/>
                <a:ext cx="157652" cy="18659"/>
                <a:chOff x="3949688" y="3410487"/>
                <a:chExt cx="157652" cy="18659"/>
              </a:xfrm>
              <a:grpFill/>
            </p:grpSpPr>
            <p:sp>
              <p:nvSpPr>
                <p:cNvPr id="1489" name="Vrije vorm: vorm 1488">
                  <a:extLst>
                    <a:ext uri="{FF2B5EF4-FFF2-40B4-BE49-F238E27FC236}">
                      <a16:creationId xmlns:a16="http://schemas.microsoft.com/office/drawing/2014/main" id="{A11CBD49-AE32-4B7B-8854-0A98FFFF0B32}"/>
                    </a:ext>
                  </a:extLst>
                </p:cNvPr>
                <p:cNvSpPr/>
                <p:nvPr/>
              </p:nvSpPr>
              <p:spPr>
                <a:xfrm>
                  <a:off x="3958420" y="3418202"/>
                  <a:ext cx="140248" cy="3229"/>
                </a:xfrm>
                <a:custGeom>
                  <a:avLst/>
                  <a:gdLst>
                    <a:gd name="connsiteX0" fmla="*/ 140188 w 140248"/>
                    <a:gd name="connsiteY0" fmla="*/ 0 h 3229"/>
                    <a:gd name="connsiteX1" fmla="*/ 140248 w 140248"/>
                    <a:gd name="connsiteY1" fmla="*/ 3050 h 3229"/>
                    <a:gd name="connsiteX2" fmla="*/ 0 w 140248"/>
                    <a:gd name="connsiteY2" fmla="*/ 3229 h 3229"/>
                    <a:gd name="connsiteX3" fmla="*/ 0 w 140248"/>
                    <a:gd name="connsiteY3" fmla="*/ 179 h 3229"/>
                  </a:gdLst>
                  <a:ahLst/>
                  <a:cxnLst>
                    <a:cxn ang="0">
                      <a:pos x="connsiteX0" y="connsiteY0"/>
                    </a:cxn>
                    <a:cxn ang="0">
                      <a:pos x="connsiteX1" y="connsiteY1"/>
                    </a:cxn>
                    <a:cxn ang="0">
                      <a:pos x="connsiteX2" y="connsiteY2"/>
                    </a:cxn>
                    <a:cxn ang="0">
                      <a:pos x="connsiteX3" y="connsiteY3"/>
                    </a:cxn>
                  </a:cxnLst>
                  <a:rect l="l" t="t" r="r" b="b"/>
                  <a:pathLst>
                    <a:path w="140248" h="3229">
                      <a:moveTo>
                        <a:pt x="140188" y="0"/>
                      </a:moveTo>
                      <a:lnTo>
                        <a:pt x="140248" y="3050"/>
                      </a:lnTo>
                      <a:lnTo>
                        <a:pt x="0" y="3229"/>
                      </a:lnTo>
                      <a:lnTo>
                        <a:pt x="0" y="179"/>
                      </a:lnTo>
                      <a:close/>
                    </a:path>
                  </a:pathLst>
                </a:custGeom>
                <a:grpFill/>
                <a:ln w="5978" cap="flat">
                  <a:noFill/>
                  <a:prstDash val="solid"/>
                  <a:miter/>
                </a:ln>
              </p:spPr>
              <p:txBody>
                <a:bodyPr rtlCol="0" anchor="ctr"/>
                <a:lstStyle/>
                <a:p>
                  <a:endParaRPr lang="en-GB"/>
                </a:p>
              </p:txBody>
            </p:sp>
            <p:sp>
              <p:nvSpPr>
                <p:cNvPr id="1490" name="Vrije vorm: vorm 1489">
                  <a:extLst>
                    <a:ext uri="{FF2B5EF4-FFF2-40B4-BE49-F238E27FC236}">
                      <a16:creationId xmlns:a16="http://schemas.microsoft.com/office/drawing/2014/main" id="{BA87ACFD-A40E-4DF4-9A61-47BE124717B4}"/>
                    </a:ext>
                  </a:extLst>
                </p:cNvPr>
                <p:cNvSpPr/>
                <p:nvPr/>
              </p:nvSpPr>
              <p:spPr>
                <a:xfrm>
                  <a:off x="3949688" y="3410726"/>
                  <a:ext cx="18300" cy="18420"/>
                </a:xfrm>
                <a:custGeom>
                  <a:avLst/>
                  <a:gdLst>
                    <a:gd name="connsiteX0" fmla="*/ 9210 w 18300"/>
                    <a:gd name="connsiteY0" fmla="*/ 18421 h 18420"/>
                    <a:gd name="connsiteX1" fmla="*/ 0 w 18300"/>
                    <a:gd name="connsiteY1" fmla="*/ 9210 h 18420"/>
                    <a:gd name="connsiteX2" fmla="*/ 9090 w 18300"/>
                    <a:gd name="connsiteY2" fmla="*/ 0 h 18420"/>
                    <a:gd name="connsiteX3" fmla="*/ 18301 w 18300"/>
                    <a:gd name="connsiteY3" fmla="*/ 9210 h 18420"/>
                    <a:gd name="connsiteX4" fmla="*/ 9210 w 18300"/>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20">
                      <a:moveTo>
                        <a:pt x="9210" y="18421"/>
                      </a:moveTo>
                      <a:cubicBezTo>
                        <a:pt x="4127" y="18421"/>
                        <a:pt x="0" y="14294"/>
                        <a:pt x="0" y="9210"/>
                      </a:cubicBezTo>
                      <a:cubicBezTo>
                        <a:pt x="0" y="4127"/>
                        <a:pt x="4067" y="0"/>
                        <a:pt x="9090" y="0"/>
                      </a:cubicBezTo>
                      <a:cubicBezTo>
                        <a:pt x="14174" y="0"/>
                        <a:pt x="18301" y="4127"/>
                        <a:pt x="18301" y="9210"/>
                      </a:cubicBezTo>
                      <a:cubicBezTo>
                        <a:pt x="18301" y="14294"/>
                        <a:pt x="14294" y="18421"/>
                        <a:pt x="9210" y="18421"/>
                      </a:cubicBezTo>
                      <a:close/>
                    </a:path>
                  </a:pathLst>
                </a:custGeom>
                <a:grpFill/>
                <a:ln w="5978" cap="flat">
                  <a:noFill/>
                  <a:prstDash val="solid"/>
                  <a:miter/>
                </a:ln>
              </p:spPr>
              <p:txBody>
                <a:bodyPr rtlCol="0" anchor="ctr"/>
                <a:lstStyle/>
                <a:p>
                  <a:endParaRPr lang="en-GB"/>
                </a:p>
              </p:txBody>
            </p:sp>
            <p:sp>
              <p:nvSpPr>
                <p:cNvPr id="1491" name="Vrije vorm: vorm 1490">
                  <a:extLst>
                    <a:ext uri="{FF2B5EF4-FFF2-40B4-BE49-F238E27FC236}">
                      <a16:creationId xmlns:a16="http://schemas.microsoft.com/office/drawing/2014/main" id="{F6BF7325-E4B0-4DE9-B2E5-4345055FF338}"/>
                    </a:ext>
                  </a:extLst>
                </p:cNvPr>
                <p:cNvSpPr/>
                <p:nvPr/>
              </p:nvSpPr>
              <p:spPr>
                <a:xfrm>
                  <a:off x="4089038" y="3410487"/>
                  <a:ext cx="18302" cy="18420"/>
                </a:xfrm>
                <a:custGeom>
                  <a:avLst/>
                  <a:gdLst>
                    <a:gd name="connsiteX0" fmla="*/ 9211 w 18302"/>
                    <a:gd name="connsiteY0" fmla="*/ 18421 h 18420"/>
                    <a:gd name="connsiteX1" fmla="*/ 18302 w 18302"/>
                    <a:gd name="connsiteY1" fmla="*/ 9210 h 18420"/>
                    <a:gd name="connsiteX2" fmla="*/ 9091 w 18302"/>
                    <a:gd name="connsiteY2" fmla="*/ 0 h 18420"/>
                    <a:gd name="connsiteX3" fmla="*/ 1 w 18302"/>
                    <a:gd name="connsiteY3" fmla="*/ 9210 h 18420"/>
                    <a:gd name="connsiteX4" fmla="*/ 9211 w 18302"/>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211" y="18421"/>
                      </a:moveTo>
                      <a:cubicBezTo>
                        <a:pt x="14295" y="18421"/>
                        <a:pt x="18362" y="14294"/>
                        <a:pt x="18302" y="9210"/>
                      </a:cubicBezTo>
                      <a:cubicBezTo>
                        <a:pt x="18302" y="4127"/>
                        <a:pt x="14175" y="0"/>
                        <a:pt x="9091" y="0"/>
                      </a:cubicBezTo>
                      <a:cubicBezTo>
                        <a:pt x="4008" y="0"/>
                        <a:pt x="-59" y="4127"/>
                        <a:pt x="1" y="9210"/>
                      </a:cubicBezTo>
                      <a:cubicBezTo>
                        <a:pt x="1" y="14354"/>
                        <a:pt x="4127" y="18421"/>
                        <a:pt x="9211" y="18421"/>
                      </a:cubicBezTo>
                      <a:close/>
                    </a:path>
                  </a:pathLst>
                </a:custGeom>
                <a:grpFill/>
                <a:ln w="5978" cap="flat">
                  <a:noFill/>
                  <a:prstDash val="solid"/>
                  <a:miter/>
                </a:ln>
              </p:spPr>
              <p:txBody>
                <a:bodyPr rtlCol="0" anchor="ctr"/>
                <a:lstStyle/>
                <a:p>
                  <a:endParaRPr lang="en-GB"/>
                </a:p>
              </p:txBody>
            </p:sp>
          </p:grpSp>
          <p:grpSp>
            <p:nvGrpSpPr>
              <p:cNvPr id="1307" name="Graphic 3">
                <a:extLst>
                  <a:ext uri="{FF2B5EF4-FFF2-40B4-BE49-F238E27FC236}">
                    <a16:creationId xmlns:a16="http://schemas.microsoft.com/office/drawing/2014/main" id="{421C8D6A-A86D-4E72-96DA-64FC68F21ED6}"/>
                  </a:ext>
                </a:extLst>
              </p:cNvPr>
              <p:cNvGrpSpPr/>
              <p:nvPr/>
            </p:nvGrpSpPr>
            <p:grpSpPr>
              <a:xfrm>
                <a:off x="4156633" y="3875082"/>
                <a:ext cx="40404" cy="23953"/>
                <a:chOff x="4156633" y="3875082"/>
                <a:chExt cx="40404" cy="23953"/>
              </a:xfrm>
              <a:grpFill/>
            </p:grpSpPr>
            <p:sp>
              <p:nvSpPr>
                <p:cNvPr id="1486" name="Vrije vorm: vorm 1485">
                  <a:extLst>
                    <a:ext uri="{FF2B5EF4-FFF2-40B4-BE49-F238E27FC236}">
                      <a16:creationId xmlns:a16="http://schemas.microsoft.com/office/drawing/2014/main" id="{34C6333D-03E2-4E78-B151-50DEE1B84739}"/>
                    </a:ext>
                  </a:extLst>
                </p:cNvPr>
                <p:cNvSpPr/>
                <p:nvPr/>
              </p:nvSpPr>
              <p:spPr>
                <a:xfrm>
                  <a:off x="4164994" y="3882724"/>
                  <a:ext cx="23683" cy="8731"/>
                </a:xfrm>
                <a:custGeom>
                  <a:avLst/>
                  <a:gdLst>
                    <a:gd name="connsiteX0" fmla="*/ 22906 w 23683"/>
                    <a:gd name="connsiteY0" fmla="*/ 0 h 8731"/>
                    <a:gd name="connsiteX1" fmla="*/ 23683 w 23683"/>
                    <a:gd name="connsiteY1" fmla="*/ 2930 h 8731"/>
                    <a:gd name="connsiteX2" fmla="*/ 718 w 23683"/>
                    <a:gd name="connsiteY2" fmla="*/ 8732 h 8731"/>
                    <a:gd name="connsiteX3" fmla="*/ 0 w 23683"/>
                    <a:gd name="connsiteY3" fmla="*/ 5742 h 8731"/>
                  </a:gdLst>
                  <a:ahLst/>
                  <a:cxnLst>
                    <a:cxn ang="0">
                      <a:pos x="connsiteX0" y="connsiteY0"/>
                    </a:cxn>
                    <a:cxn ang="0">
                      <a:pos x="connsiteX1" y="connsiteY1"/>
                    </a:cxn>
                    <a:cxn ang="0">
                      <a:pos x="connsiteX2" y="connsiteY2"/>
                    </a:cxn>
                    <a:cxn ang="0">
                      <a:pos x="connsiteX3" y="connsiteY3"/>
                    </a:cxn>
                  </a:cxnLst>
                  <a:rect l="l" t="t" r="r" b="b"/>
                  <a:pathLst>
                    <a:path w="23683" h="8731">
                      <a:moveTo>
                        <a:pt x="22906" y="0"/>
                      </a:moveTo>
                      <a:lnTo>
                        <a:pt x="23683" y="2930"/>
                      </a:lnTo>
                      <a:lnTo>
                        <a:pt x="718" y="8732"/>
                      </a:lnTo>
                      <a:lnTo>
                        <a:pt x="0" y="5742"/>
                      </a:lnTo>
                      <a:close/>
                    </a:path>
                  </a:pathLst>
                </a:custGeom>
                <a:grpFill/>
                <a:ln w="5978" cap="flat">
                  <a:noFill/>
                  <a:prstDash val="solid"/>
                  <a:miter/>
                </a:ln>
              </p:spPr>
              <p:txBody>
                <a:bodyPr rtlCol="0" anchor="ctr"/>
                <a:lstStyle/>
                <a:p>
                  <a:endParaRPr lang="en-GB"/>
                </a:p>
              </p:txBody>
            </p:sp>
            <p:sp>
              <p:nvSpPr>
                <p:cNvPr id="1487" name="Vrije vorm: vorm 1486">
                  <a:extLst>
                    <a:ext uri="{FF2B5EF4-FFF2-40B4-BE49-F238E27FC236}">
                      <a16:creationId xmlns:a16="http://schemas.microsoft.com/office/drawing/2014/main" id="{56FC74ED-5675-4E1B-AF60-43C0519A027A}"/>
                    </a:ext>
                  </a:extLst>
                </p:cNvPr>
                <p:cNvSpPr/>
                <p:nvPr/>
              </p:nvSpPr>
              <p:spPr>
                <a:xfrm>
                  <a:off x="4156633" y="3880587"/>
                  <a:ext cx="18336" cy="18448"/>
                </a:xfrm>
                <a:custGeom>
                  <a:avLst/>
                  <a:gdLst>
                    <a:gd name="connsiteX0" fmla="*/ 11411 w 18336"/>
                    <a:gd name="connsiteY0" fmla="*/ 18165 h 18448"/>
                    <a:gd name="connsiteX1" fmla="*/ 287 w 18336"/>
                    <a:gd name="connsiteY1" fmla="*/ 11467 h 18448"/>
                    <a:gd name="connsiteX2" fmla="*/ 6925 w 18336"/>
                    <a:gd name="connsiteY2" fmla="*/ 283 h 18448"/>
                    <a:gd name="connsiteX3" fmla="*/ 18049 w 18336"/>
                    <a:gd name="connsiteY3" fmla="*/ 6981 h 18448"/>
                    <a:gd name="connsiteX4" fmla="*/ 11411 w 18336"/>
                    <a:gd name="connsiteY4" fmla="*/ 18165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48">
                      <a:moveTo>
                        <a:pt x="11411" y="18165"/>
                      </a:moveTo>
                      <a:cubicBezTo>
                        <a:pt x="6507" y="19421"/>
                        <a:pt x="1543" y="16371"/>
                        <a:pt x="287" y="11467"/>
                      </a:cubicBezTo>
                      <a:cubicBezTo>
                        <a:pt x="-969" y="6503"/>
                        <a:pt x="2021" y="1539"/>
                        <a:pt x="6925" y="283"/>
                      </a:cubicBezTo>
                      <a:cubicBezTo>
                        <a:pt x="11830" y="-973"/>
                        <a:pt x="16793" y="2077"/>
                        <a:pt x="18049" y="6981"/>
                      </a:cubicBezTo>
                      <a:cubicBezTo>
                        <a:pt x="19306" y="11945"/>
                        <a:pt x="16315" y="16969"/>
                        <a:pt x="11411" y="18165"/>
                      </a:cubicBezTo>
                      <a:close/>
                    </a:path>
                  </a:pathLst>
                </a:custGeom>
                <a:grpFill/>
                <a:ln w="5978" cap="flat">
                  <a:noFill/>
                  <a:prstDash val="solid"/>
                  <a:miter/>
                </a:ln>
              </p:spPr>
              <p:txBody>
                <a:bodyPr rtlCol="0" anchor="ctr"/>
                <a:lstStyle/>
                <a:p>
                  <a:endParaRPr lang="en-GB"/>
                </a:p>
              </p:txBody>
            </p:sp>
            <p:sp>
              <p:nvSpPr>
                <p:cNvPr id="1488" name="Vrije vorm: vorm 1487">
                  <a:extLst>
                    <a:ext uri="{FF2B5EF4-FFF2-40B4-BE49-F238E27FC236}">
                      <a16:creationId xmlns:a16="http://schemas.microsoft.com/office/drawing/2014/main" id="{2B284193-6FE5-4E54-AADF-171CDBBEE53F}"/>
                    </a:ext>
                  </a:extLst>
                </p:cNvPr>
                <p:cNvSpPr/>
                <p:nvPr/>
              </p:nvSpPr>
              <p:spPr>
                <a:xfrm>
                  <a:off x="4178702" y="3875082"/>
                  <a:ext cx="18336" cy="18451"/>
                </a:xfrm>
                <a:custGeom>
                  <a:avLst/>
                  <a:gdLst>
                    <a:gd name="connsiteX0" fmla="*/ 11411 w 18336"/>
                    <a:gd name="connsiteY0" fmla="*/ 18169 h 18451"/>
                    <a:gd name="connsiteX1" fmla="*/ 18049 w 18336"/>
                    <a:gd name="connsiteY1" fmla="*/ 6985 h 18451"/>
                    <a:gd name="connsiteX2" fmla="*/ 6925 w 18336"/>
                    <a:gd name="connsiteY2" fmla="*/ 286 h 18451"/>
                    <a:gd name="connsiteX3" fmla="*/ 287 w 18336"/>
                    <a:gd name="connsiteY3" fmla="*/ 11470 h 18451"/>
                    <a:gd name="connsiteX4" fmla="*/ 11411 w 18336"/>
                    <a:gd name="connsiteY4" fmla="*/ 18169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1">
                      <a:moveTo>
                        <a:pt x="11411" y="18169"/>
                      </a:moveTo>
                      <a:cubicBezTo>
                        <a:pt x="16315" y="16913"/>
                        <a:pt x="19305" y="11949"/>
                        <a:pt x="18049" y="6985"/>
                      </a:cubicBezTo>
                      <a:cubicBezTo>
                        <a:pt x="16793" y="2021"/>
                        <a:pt x="11829" y="-970"/>
                        <a:pt x="6925" y="286"/>
                      </a:cubicBezTo>
                      <a:cubicBezTo>
                        <a:pt x="2021" y="1542"/>
                        <a:pt x="-969" y="6506"/>
                        <a:pt x="287" y="11470"/>
                      </a:cubicBezTo>
                      <a:cubicBezTo>
                        <a:pt x="1483" y="16375"/>
                        <a:pt x="6507" y="19425"/>
                        <a:pt x="11411" y="18169"/>
                      </a:cubicBezTo>
                      <a:close/>
                    </a:path>
                  </a:pathLst>
                </a:custGeom>
                <a:grpFill/>
                <a:ln w="5978" cap="flat">
                  <a:noFill/>
                  <a:prstDash val="solid"/>
                  <a:miter/>
                </a:ln>
              </p:spPr>
              <p:txBody>
                <a:bodyPr rtlCol="0" anchor="ctr"/>
                <a:lstStyle/>
                <a:p>
                  <a:endParaRPr lang="en-GB"/>
                </a:p>
              </p:txBody>
            </p:sp>
          </p:grpSp>
          <p:grpSp>
            <p:nvGrpSpPr>
              <p:cNvPr id="1308" name="Graphic 3">
                <a:extLst>
                  <a:ext uri="{FF2B5EF4-FFF2-40B4-BE49-F238E27FC236}">
                    <a16:creationId xmlns:a16="http://schemas.microsoft.com/office/drawing/2014/main" id="{452FADEA-73DB-4190-964C-1941D0623698}"/>
                  </a:ext>
                </a:extLst>
              </p:cNvPr>
              <p:cNvGrpSpPr/>
              <p:nvPr/>
            </p:nvGrpSpPr>
            <p:grpSpPr>
              <a:xfrm>
                <a:off x="4005847" y="3372389"/>
                <a:ext cx="20335" cy="18483"/>
                <a:chOff x="4005847" y="3372389"/>
                <a:chExt cx="20335" cy="18483"/>
              </a:xfrm>
              <a:grpFill/>
            </p:grpSpPr>
            <p:sp>
              <p:nvSpPr>
                <p:cNvPr id="1483" name="Vrije vorm: vorm 1482">
                  <a:extLst>
                    <a:ext uri="{FF2B5EF4-FFF2-40B4-BE49-F238E27FC236}">
                      <a16:creationId xmlns:a16="http://schemas.microsoft.com/office/drawing/2014/main" id="{CCC56544-544C-4125-84B5-223FC70DCBE2}"/>
                    </a:ext>
                  </a:extLst>
                </p:cNvPr>
                <p:cNvSpPr/>
                <p:nvPr/>
              </p:nvSpPr>
              <p:spPr>
                <a:xfrm>
                  <a:off x="4014519" y="3380045"/>
                  <a:ext cx="2990" cy="3109"/>
                </a:xfrm>
                <a:custGeom>
                  <a:avLst/>
                  <a:gdLst>
                    <a:gd name="connsiteX0" fmla="*/ 2990 w 2990"/>
                    <a:gd name="connsiteY0" fmla="*/ 60 h 3109"/>
                    <a:gd name="connsiteX1" fmla="*/ 2931 w 2990"/>
                    <a:gd name="connsiteY1" fmla="*/ 3110 h 3109"/>
                    <a:gd name="connsiteX2" fmla="*/ 0 w 2990"/>
                    <a:gd name="connsiteY2" fmla="*/ 3050 h 3109"/>
                    <a:gd name="connsiteX3" fmla="*/ 60 w 2990"/>
                    <a:gd name="connsiteY3" fmla="*/ 0 h 3109"/>
                  </a:gdLst>
                  <a:ahLst/>
                  <a:cxnLst>
                    <a:cxn ang="0">
                      <a:pos x="connsiteX0" y="connsiteY0"/>
                    </a:cxn>
                    <a:cxn ang="0">
                      <a:pos x="connsiteX1" y="connsiteY1"/>
                    </a:cxn>
                    <a:cxn ang="0">
                      <a:pos x="connsiteX2" y="connsiteY2"/>
                    </a:cxn>
                    <a:cxn ang="0">
                      <a:pos x="connsiteX3" y="connsiteY3"/>
                    </a:cxn>
                  </a:cxnLst>
                  <a:rect l="l" t="t" r="r" b="b"/>
                  <a:pathLst>
                    <a:path w="2990" h="3109">
                      <a:moveTo>
                        <a:pt x="2990" y="60"/>
                      </a:moveTo>
                      <a:lnTo>
                        <a:pt x="2931" y="3110"/>
                      </a:lnTo>
                      <a:lnTo>
                        <a:pt x="0" y="3050"/>
                      </a:lnTo>
                      <a:lnTo>
                        <a:pt x="60" y="0"/>
                      </a:lnTo>
                      <a:close/>
                    </a:path>
                  </a:pathLst>
                </a:custGeom>
                <a:grpFill/>
                <a:ln w="5978" cap="flat">
                  <a:noFill/>
                  <a:prstDash val="solid"/>
                  <a:miter/>
                </a:ln>
              </p:spPr>
              <p:txBody>
                <a:bodyPr rtlCol="0" anchor="ctr"/>
                <a:lstStyle/>
                <a:p>
                  <a:endParaRPr lang="en-GB"/>
                </a:p>
              </p:txBody>
            </p:sp>
            <p:sp>
              <p:nvSpPr>
                <p:cNvPr id="1484" name="Vrije vorm: vorm 1483">
                  <a:extLst>
                    <a:ext uri="{FF2B5EF4-FFF2-40B4-BE49-F238E27FC236}">
                      <a16:creationId xmlns:a16="http://schemas.microsoft.com/office/drawing/2014/main" id="{9C75D19E-986E-4739-9F27-2858529FA48C}"/>
                    </a:ext>
                  </a:extLst>
                </p:cNvPr>
                <p:cNvSpPr/>
                <p:nvPr/>
              </p:nvSpPr>
              <p:spPr>
                <a:xfrm>
                  <a:off x="4007880" y="3372447"/>
                  <a:ext cx="18302" cy="18425"/>
                </a:xfrm>
                <a:custGeom>
                  <a:avLst/>
                  <a:gdLst>
                    <a:gd name="connsiteX0" fmla="*/ 9271 w 18302"/>
                    <a:gd name="connsiteY0" fmla="*/ 3 h 18425"/>
                    <a:gd name="connsiteX1" fmla="*/ 18302 w 18302"/>
                    <a:gd name="connsiteY1" fmla="*/ 9392 h 18425"/>
                    <a:gd name="connsiteX2" fmla="*/ 9032 w 18302"/>
                    <a:gd name="connsiteY2" fmla="*/ 18423 h 18425"/>
                    <a:gd name="connsiteX3" fmla="*/ 1 w 18302"/>
                    <a:gd name="connsiteY3" fmla="*/ 9034 h 18425"/>
                    <a:gd name="connsiteX4" fmla="*/ 9271 w 18302"/>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5">
                      <a:moveTo>
                        <a:pt x="9271" y="3"/>
                      </a:moveTo>
                      <a:cubicBezTo>
                        <a:pt x="14355" y="62"/>
                        <a:pt x="18362" y="4309"/>
                        <a:pt x="18302" y="9392"/>
                      </a:cubicBezTo>
                      <a:cubicBezTo>
                        <a:pt x="18242" y="14476"/>
                        <a:pt x="14056" y="18543"/>
                        <a:pt x="9032" y="18423"/>
                      </a:cubicBezTo>
                      <a:cubicBezTo>
                        <a:pt x="3948" y="18363"/>
                        <a:pt x="-59" y="14117"/>
                        <a:pt x="1" y="9034"/>
                      </a:cubicBezTo>
                      <a:cubicBezTo>
                        <a:pt x="61" y="3950"/>
                        <a:pt x="4187" y="-117"/>
                        <a:pt x="9271" y="3"/>
                      </a:cubicBezTo>
                      <a:close/>
                    </a:path>
                  </a:pathLst>
                </a:custGeom>
                <a:grpFill/>
                <a:ln w="5978" cap="flat">
                  <a:noFill/>
                  <a:prstDash val="solid"/>
                  <a:miter/>
                </a:ln>
              </p:spPr>
              <p:txBody>
                <a:bodyPr rtlCol="0" anchor="ctr"/>
                <a:lstStyle/>
                <a:p>
                  <a:endParaRPr lang="en-GB"/>
                </a:p>
              </p:txBody>
            </p:sp>
            <p:sp>
              <p:nvSpPr>
                <p:cNvPr id="1485" name="Vrije vorm: vorm 1484">
                  <a:extLst>
                    <a:ext uri="{FF2B5EF4-FFF2-40B4-BE49-F238E27FC236}">
                      <a16:creationId xmlns:a16="http://schemas.microsoft.com/office/drawing/2014/main" id="{51DFD4B0-D7BE-4654-85BF-57BAC84BD3D5}"/>
                    </a:ext>
                  </a:extLst>
                </p:cNvPr>
                <p:cNvSpPr/>
                <p:nvPr/>
              </p:nvSpPr>
              <p:spPr>
                <a:xfrm>
                  <a:off x="4005847" y="3372389"/>
                  <a:ext cx="18302" cy="18421"/>
                </a:xfrm>
                <a:custGeom>
                  <a:avLst/>
                  <a:gdLst>
                    <a:gd name="connsiteX0" fmla="*/ 9271 w 18302"/>
                    <a:gd name="connsiteY0" fmla="*/ 1 h 18421"/>
                    <a:gd name="connsiteX1" fmla="*/ 1 w 18302"/>
                    <a:gd name="connsiteY1" fmla="*/ 9031 h 18421"/>
                    <a:gd name="connsiteX2" fmla="*/ 9031 w 18302"/>
                    <a:gd name="connsiteY2" fmla="*/ 18421 h 18421"/>
                    <a:gd name="connsiteX3" fmla="*/ 18302 w 18302"/>
                    <a:gd name="connsiteY3" fmla="*/ 9390 h 18421"/>
                    <a:gd name="connsiteX4" fmla="*/ 9271 w 18302"/>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271" y="1"/>
                      </a:moveTo>
                      <a:cubicBezTo>
                        <a:pt x="4187" y="-59"/>
                        <a:pt x="60" y="3948"/>
                        <a:pt x="1" y="9031"/>
                      </a:cubicBezTo>
                      <a:cubicBezTo>
                        <a:pt x="-59" y="14115"/>
                        <a:pt x="4008" y="18302"/>
                        <a:pt x="9031" y="18421"/>
                      </a:cubicBezTo>
                      <a:cubicBezTo>
                        <a:pt x="14115" y="18481"/>
                        <a:pt x="18242" y="14474"/>
                        <a:pt x="18302" y="9390"/>
                      </a:cubicBezTo>
                      <a:cubicBezTo>
                        <a:pt x="18361" y="4307"/>
                        <a:pt x="14354" y="60"/>
                        <a:pt x="9271" y="1"/>
                      </a:cubicBezTo>
                      <a:close/>
                    </a:path>
                  </a:pathLst>
                </a:custGeom>
                <a:grpFill/>
                <a:ln w="5978" cap="flat">
                  <a:noFill/>
                  <a:prstDash val="solid"/>
                  <a:miter/>
                </a:ln>
              </p:spPr>
              <p:txBody>
                <a:bodyPr rtlCol="0" anchor="ctr"/>
                <a:lstStyle/>
                <a:p>
                  <a:endParaRPr lang="en-GB"/>
                </a:p>
              </p:txBody>
            </p:sp>
          </p:grpSp>
          <p:grpSp>
            <p:nvGrpSpPr>
              <p:cNvPr id="1309" name="Graphic 3">
                <a:extLst>
                  <a:ext uri="{FF2B5EF4-FFF2-40B4-BE49-F238E27FC236}">
                    <a16:creationId xmlns:a16="http://schemas.microsoft.com/office/drawing/2014/main" id="{15A4646F-C2C7-446E-8353-2FEC1D663D85}"/>
                  </a:ext>
                </a:extLst>
              </p:cNvPr>
              <p:cNvGrpSpPr/>
              <p:nvPr/>
            </p:nvGrpSpPr>
            <p:grpSpPr>
              <a:xfrm>
                <a:off x="4218421" y="4375096"/>
                <a:ext cx="317341" cy="207647"/>
                <a:chOff x="4218421" y="4375096"/>
                <a:chExt cx="317341" cy="207647"/>
              </a:xfrm>
              <a:grpFill/>
            </p:grpSpPr>
            <p:sp>
              <p:nvSpPr>
                <p:cNvPr id="1480" name="Vrije vorm: vorm 1479">
                  <a:extLst>
                    <a:ext uri="{FF2B5EF4-FFF2-40B4-BE49-F238E27FC236}">
                      <a16:creationId xmlns:a16="http://schemas.microsoft.com/office/drawing/2014/main" id="{FC90113C-CAD5-4418-86EC-1B5C5341BFC5}"/>
                    </a:ext>
                  </a:extLst>
                </p:cNvPr>
                <p:cNvSpPr/>
                <p:nvPr/>
              </p:nvSpPr>
              <p:spPr>
                <a:xfrm>
                  <a:off x="4226356" y="4382772"/>
                  <a:ext cx="301488" cy="192340"/>
                </a:xfrm>
                <a:custGeom>
                  <a:avLst/>
                  <a:gdLst>
                    <a:gd name="connsiteX0" fmla="*/ 301488 w 301488"/>
                    <a:gd name="connsiteY0" fmla="*/ 2572 h 192340"/>
                    <a:gd name="connsiteX1" fmla="*/ 1615 w 301488"/>
                    <a:gd name="connsiteY1" fmla="*/ 192340 h 192340"/>
                    <a:gd name="connsiteX2" fmla="*/ 0 w 301488"/>
                    <a:gd name="connsiteY2" fmla="*/ 189709 h 192340"/>
                    <a:gd name="connsiteX3" fmla="*/ 299814 w 301488"/>
                    <a:gd name="connsiteY3" fmla="*/ 0 h 192340"/>
                  </a:gdLst>
                  <a:ahLst/>
                  <a:cxnLst>
                    <a:cxn ang="0">
                      <a:pos x="connsiteX0" y="connsiteY0"/>
                    </a:cxn>
                    <a:cxn ang="0">
                      <a:pos x="connsiteX1" y="connsiteY1"/>
                    </a:cxn>
                    <a:cxn ang="0">
                      <a:pos x="connsiteX2" y="connsiteY2"/>
                    </a:cxn>
                    <a:cxn ang="0">
                      <a:pos x="connsiteX3" y="connsiteY3"/>
                    </a:cxn>
                  </a:cxnLst>
                  <a:rect l="l" t="t" r="r" b="b"/>
                  <a:pathLst>
                    <a:path w="301488" h="192340">
                      <a:moveTo>
                        <a:pt x="301488" y="2572"/>
                      </a:moveTo>
                      <a:lnTo>
                        <a:pt x="1615" y="192340"/>
                      </a:lnTo>
                      <a:lnTo>
                        <a:pt x="0" y="189709"/>
                      </a:lnTo>
                      <a:lnTo>
                        <a:pt x="299814" y="0"/>
                      </a:lnTo>
                      <a:close/>
                    </a:path>
                  </a:pathLst>
                </a:custGeom>
                <a:grpFill/>
                <a:ln w="5978" cap="flat">
                  <a:noFill/>
                  <a:prstDash val="solid"/>
                  <a:miter/>
                </a:ln>
              </p:spPr>
              <p:txBody>
                <a:bodyPr rtlCol="0" anchor="ctr"/>
                <a:lstStyle/>
                <a:p>
                  <a:endParaRPr lang="en-GB"/>
                </a:p>
              </p:txBody>
            </p:sp>
            <p:sp>
              <p:nvSpPr>
                <p:cNvPr id="1481" name="Vrije vorm: vorm 1480">
                  <a:extLst>
                    <a:ext uri="{FF2B5EF4-FFF2-40B4-BE49-F238E27FC236}">
                      <a16:creationId xmlns:a16="http://schemas.microsoft.com/office/drawing/2014/main" id="{0D80D6D0-1ECE-4A86-B4B8-E8C565A6D227}"/>
                    </a:ext>
                  </a:extLst>
                </p:cNvPr>
                <p:cNvSpPr/>
                <p:nvPr/>
              </p:nvSpPr>
              <p:spPr>
                <a:xfrm>
                  <a:off x="4218421" y="4564326"/>
                  <a:ext cx="18263" cy="18417"/>
                </a:xfrm>
                <a:custGeom>
                  <a:avLst/>
                  <a:gdLst>
                    <a:gd name="connsiteX0" fmla="*/ 14036 w 18263"/>
                    <a:gd name="connsiteY0" fmla="*/ 17007 h 18417"/>
                    <a:gd name="connsiteX1" fmla="*/ 1417 w 18263"/>
                    <a:gd name="connsiteY1" fmla="*/ 14076 h 18417"/>
                    <a:gd name="connsiteX2" fmla="*/ 4228 w 18263"/>
                    <a:gd name="connsiteY2" fmla="*/ 1397 h 18417"/>
                    <a:gd name="connsiteX3" fmla="*/ 16847 w 18263"/>
                    <a:gd name="connsiteY3" fmla="*/ 4327 h 18417"/>
                    <a:gd name="connsiteX4" fmla="*/ 14036 w 18263"/>
                    <a:gd name="connsiteY4" fmla="*/ 1700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3" h="18417">
                      <a:moveTo>
                        <a:pt x="14036" y="17007"/>
                      </a:moveTo>
                      <a:cubicBezTo>
                        <a:pt x="9730" y="19698"/>
                        <a:pt x="4108" y="18442"/>
                        <a:pt x="1417" y="14076"/>
                      </a:cubicBezTo>
                      <a:cubicBezTo>
                        <a:pt x="-1275" y="9770"/>
                        <a:pt x="-19" y="4088"/>
                        <a:pt x="4228" y="1397"/>
                      </a:cubicBezTo>
                      <a:cubicBezTo>
                        <a:pt x="8474" y="-1294"/>
                        <a:pt x="14156" y="21"/>
                        <a:pt x="16847" y="4327"/>
                      </a:cubicBezTo>
                      <a:cubicBezTo>
                        <a:pt x="19538" y="8633"/>
                        <a:pt x="18282" y="14315"/>
                        <a:pt x="14036" y="17007"/>
                      </a:cubicBezTo>
                      <a:close/>
                    </a:path>
                  </a:pathLst>
                </a:custGeom>
                <a:grpFill/>
                <a:ln w="5978" cap="flat">
                  <a:noFill/>
                  <a:prstDash val="solid"/>
                  <a:miter/>
                </a:ln>
              </p:spPr>
              <p:txBody>
                <a:bodyPr rtlCol="0" anchor="ctr"/>
                <a:lstStyle/>
                <a:p>
                  <a:endParaRPr lang="en-GB"/>
                </a:p>
              </p:txBody>
            </p:sp>
            <p:sp>
              <p:nvSpPr>
                <p:cNvPr id="1482" name="Vrije vorm: vorm 1481">
                  <a:extLst>
                    <a:ext uri="{FF2B5EF4-FFF2-40B4-BE49-F238E27FC236}">
                      <a16:creationId xmlns:a16="http://schemas.microsoft.com/office/drawing/2014/main" id="{5473AF7A-92AC-4C28-B542-53E003A45421}"/>
                    </a:ext>
                  </a:extLst>
                </p:cNvPr>
                <p:cNvSpPr/>
                <p:nvPr/>
              </p:nvSpPr>
              <p:spPr>
                <a:xfrm>
                  <a:off x="4517430" y="4375096"/>
                  <a:ext cx="18331" cy="18403"/>
                </a:xfrm>
                <a:custGeom>
                  <a:avLst/>
                  <a:gdLst>
                    <a:gd name="connsiteX0" fmla="*/ 14062 w 18331"/>
                    <a:gd name="connsiteY0" fmla="*/ 17007 h 18403"/>
                    <a:gd name="connsiteX1" fmla="*/ 16874 w 18331"/>
                    <a:gd name="connsiteY1" fmla="*/ 4327 h 18403"/>
                    <a:gd name="connsiteX2" fmla="*/ 4254 w 18331"/>
                    <a:gd name="connsiteY2" fmla="*/ 1397 h 18403"/>
                    <a:gd name="connsiteX3" fmla="*/ 1443 w 18331"/>
                    <a:gd name="connsiteY3" fmla="*/ 14076 h 18403"/>
                    <a:gd name="connsiteX4" fmla="*/ 14062 w 18331"/>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03">
                      <a:moveTo>
                        <a:pt x="14062" y="17007"/>
                      </a:moveTo>
                      <a:cubicBezTo>
                        <a:pt x="18369" y="14315"/>
                        <a:pt x="19625" y="8634"/>
                        <a:pt x="16874" y="4327"/>
                      </a:cubicBezTo>
                      <a:cubicBezTo>
                        <a:pt x="14182" y="21"/>
                        <a:pt x="8500" y="-1294"/>
                        <a:pt x="4254" y="1397"/>
                      </a:cubicBezTo>
                      <a:cubicBezTo>
                        <a:pt x="8" y="4088"/>
                        <a:pt x="-1308" y="9770"/>
                        <a:pt x="1443" y="14076"/>
                      </a:cubicBezTo>
                      <a:cubicBezTo>
                        <a:pt x="4135" y="18382"/>
                        <a:pt x="9816" y="19698"/>
                        <a:pt x="14062" y="17007"/>
                      </a:cubicBezTo>
                      <a:close/>
                    </a:path>
                  </a:pathLst>
                </a:custGeom>
                <a:grpFill/>
                <a:ln w="5978" cap="flat">
                  <a:noFill/>
                  <a:prstDash val="solid"/>
                  <a:miter/>
                </a:ln>
              </p:spPr>
              <p:txBody>
                <a:bodyPr rtlCol="0" anchor="ctr"/>
                <a:lstStyle/>
                <a:p>
                  <a:endParaRPr lang="en-GB"/>
                </a:p>
              </p:txBody>
            </p:sp>
          </p:grpSp>
          <p:grpSp>
            <p:nvGrpSpPr>
              <p:cNvPr id="1310" name="Graphic 3">
                <a:extLst>
                  <a:ext uri="{FF2B5EF4-FFF2-40B4-BE49-F238E27FC236}">
                    <a16:creationId xmlns:a16="http://schemas.microsoft.com/office/drawing/2014/main" id="{3E8E41D2-9976-499A-B935-EDAF075CD36F}"/>
                  </a:ext>
                </a:extLst>
              </p:cNvPr>
              <p:cNvGrpSpPr/>
              <p:nvPr/>
            </p:nvGrpSpPr>
            <p:grpSpPr>
              <a:xfrm>
                <a:off x="4093614" y="3799923"/>
                <a:ext cx="109926" cy="37716"/>
                <a:chOff x="4093614" y="3799923"/>
                <a:chExt cx="109926" cy="37716"/>
              </a:xfrm>
              <a:grpFill/>
            </p:grpSpPr>
            <p:sp>
              <p:nvSpPr>
                <p:cNvPr id="1477" name="Vrije vorm: vorm 1476">
                  <a:extLst>
                    <a:ext uri="{FF2B5EF4-FFF2-40B4-BE49-F238E27FC236}">
                      <a16:creationId xmlns:a16="http://schemas.microsoft.com/office/drawing/2014/main" id="{DF3970DE-0554-4A6E-AA61-9B733EBAA6C6}"/>
                    </a:ext>
                  </a:extLst>
                </p:cNvPr>
                <p:cNvSpPr/>
                <p:nvPr/>
              </p:nvSpPr>
              <p:spPr>
                <a:xfrm>
                  <a:off x="4102077" y="3807547"/>
                  <a:ext cx="93060" cy="22487"/>
                </a:xfrm>
                <a:custGeom>
                  <a:avLst/>
                  <a:gdLst>
                    <a:gd name="connsiteX0" fmla="*/ 92402 w 93060"/>
                    <a:gd name="connsiteY0" fmla="*/ 0 h 22487"/>
                    <a:gd name="connsiteX1" fmla="*/ 93060 w 93060"/>
                    <a:gd name="connsiteY1" fmla="*/ 2990 h 22487"/>
                    <a:gd name="connsiteX2" fmla="*/ 598 w 93060"/>
                    <a:gd name="connsiteY2" fmla="*/ 22488 h 22487"/>
                    <a:gd name="connsiteX3" fmla="*/ 0 w 93060"/>
                    <a:gd name="connsiteY3" fmla="*/ 19497 h 22487"/>
                  </a:gdLst>
                  <a:ahLst/>
                  <a:cxnLst>
                    <a:cxn ang="0">
                      <a:pos x="connsiteX0" y="connsiteY0"/>
                    </a:cxn>
                    <a:cxn ang="0">
                      <a:pos x="connsiteX1" y="connsiteY1"/>
                    </a:cxn>
                    <a:cxn ang="0">
                      <a:pos x="connsiteX2" y="connsiteY2"/>
                    </a:cxn>
                    <a:cxn ang="0">
                      <a:pos x="connsiteX3" y="connsiteY3"/>
                    </a:cxn>
                  </a:cxnLst>
                  <a:rect l="l" t="t" r="r" b="b"/>
                  <a:pathLst>
                    <a:path w="93060" h="22487">
                      <a:moveTo>
                        <a:pt x="92402" y="0"/>
                      </a:moveTo>
                      <a:lnTo>
                        <a:pt x="93060" y="2990"/>
                      </a:lnTo>
                      <a:lnTo>
                        <a:pt x="598" y="22488"/>
                      </a:lnTo>
                      <a:lnTo>
                        <a:pt x="0" y="19497"/>
                      </a:lnTo>
                      <a:close/>
                    </a:path>
                  </a:pathLst>
                </a:custGeom>
                <a:grpFill/>
                <a:ln w="5978" cap="flat">
                  <a:noFill/>
                  <a:prstDash val="solid"/>
                  <a:miter/>
                </a:ln>
              </p:spPr>
              <p:txBody>
                <a:bodyPr rtlCol="0" anchor="ctr"/>
                <a:lstStyle/>
                <a:p>
                  <a:endParaRPr lang="en-GB"/>
                </a:p>
              </p:txBody>
            </p:sp>
            <p:sp>
              <p:nvSpPr>
                <p:cNvPr id="1478" name="Vrije vorm: vorm 1477">
                  <a:extLst>
                    <a:ext uri="{FF2B5EF4-FFF2-40B4-BE49-F238E27FC236}">
                      <a16:creationId xmlns:a16="http://schemas.microsoft.com/office/drawing/2014/main" id="{8DBA7A79-77AC-4701-8D64-5D8C89012D4A}"/>
                    </a:ext>
                  </a:extLst>
                </p:cNvPr>
                <p:cNvSpPr/>
                <p:nvPr/>
              </p:nvSpPr>
              <p:spPr>
                <a:xfrm>
                  <a:off x="4093614" y="3819259"/>
                  <a:ext cx="18362" cy="18381"/>
                </a:xfrm>
                <a:custGeom>
                  <a:avLst/>
                  <a:gdLst>
                    <a:gd name="connsiteX0" fmla="*/ 11095 w 18362"/>
                    <a:gd name="connsiteY0" fmla="*/ 18192 h 18381"/>
                    <a:gd name="connsiteX1" fmla="*/ 210 w 18362"/>
                    <a:gd name="connsiteY1" fmla="*/ 11075 h 18381"/>
                    <a:gd name="connsiteX2" fmla="*/ 7267 w 18362"/>
                    <a:gd name="connsiteY2" fmla="*/ 190 h 18381"/>
                    <a:gd name="connsiteX3" fmla="*/ 18152 w 18362"/>
                    <a:gd name="connsiteY3" fmla="*/ 7307 h 18381"/>
                    <a:gd name="connsiteX4" fmla="*/ 11095 w 18362"/>
                    <a:gd name="connsiteY4" fmla="*/ 18192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381">
                      <a:moveTo>
                        <a:pt x="11095" y="18192"/>
                      </a:moveTo>
                      <a:cubicBezTo>
                        <a:pt x="6131" y="19208"/>
                        <a:pt x="1286" y="16039"/>
                        <a:pt x="210" y="11075"/>
                      </a:cubicBezTo>
                      <a:cubicBezTo>
                        <a:pt x="-867" y="6111"/>
                        <a:pt x="2303" y="1207"/>
                        <a:pt x="7267" y="190"/>
                      </a:cubicBezTo>
                      <a:cubicBezTo>
                        <a:pt x="12231" y="-827"/>
                        <a:pt x="17076" y="2343"/>
                        <a:pt x="18152" y="7307"/>
                      </a:cubicBezTo>
                      <a:cubicBezTo>
                        <a:pt x="19229" y="12271"/>
                        <a:pt x="16059" y="17115"/>
                        <a:pt x="11095" y="18192"/>
                      </a:cubicBezTo>
                      <a:close/>
                    </a:path>
                  </a:pathLst>
                </a:custGeom>
                <a:grpFill/>
                <a:ln w="5978" cap="flat">
                  <a:noFill/>
                  <a:prstDash val="solid"/>
                  <a:miter/>
                </a:ln>
              </p:spPr>
              <p:txBody>
                <a:bodyPr rtlCol="0" anchor="ctr"/>
                <a:lstStyle/>
                <a:p>
                  <a:endParaRPr lang="en-GB"/>
                </a:p>
              </p:txBody>
            </p:sp>
            <p:sp>
              <p:nvSpPr>
                <p:cNvPr id="1479" name="Vrije vorm: vorm 1478">
                  <a:extLst>
                    <a:ext uri="{FF2B5EF4-FFF2-40B4-BE49-F238E27FC236}">
                      <a16:creationId xmlns:a16="http://schemas.microsoft.com/office/drawing/2014/main" id="{B78E4061-16EF-49B6-8A21-2FB337BF3380}"/>
                    </a:ext>
                  </a:extLst>
                </p:cNvPr>
                <p:cNvSpPr/>
                <p:nvPr/>
              </p:nvSpPr>
              <p:spPr>
                <a:xfrm>
                  <a:off x="4185178" y="3799923"/>
                  <a:ext cx="18362" cy="18416"/>
                </a:xfrm>
                <a:custGeom>
                  <a:avLst/>
                  <a:gdLst>
                    <a:gd name="connsiteX0" fmla="*/ 11095 w 18362"/>
                    <a:gd name="connsiteY0" fmla="*/ 18209 h 18416"/>
                    <a:gd name="connsiteX1" fmla="*/ 18152 w 18362"/>
                    <a:gd name="connsiteY1" fmla="*/ 7324 h 18416"/>
                    <a:gd name="connsiteX2" fmla="*/ 7267 w 18362"/>
                    <a:gd name="connsiteY2" fmla="*/ 207 h 18416"/>
                    <a:gd name="connsiteX3" fmla="*/ 210 w 18362"/>
                    <a:gd name="connsiteY3" fmla="*/ 11092 h 18416"/>
                    <a:gd name="connsiteX4" fmla="*/ 11095 w 18362"/>
                    <a:gd name="connsiteY4" fmla="*/ 18209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16">
                      <a:moveTo>
                        <a:pt x="11095" y="18209"/>
                      </a:moveTo>
                      <a:cubicBezTo>
                        <a:pt x="16059" y="17193"/>
                        <a:pt x="19229" y="12288"/>
                        <a:pt x="18152" y="7324"/>
                      </a:cubicBezTo>
                      <a:cubicBezTo>
                        <a:pt x="17076" y="2360"/>
                        <a:pt x="12231" y="-869"/>
                        <a:pt x="7267" y="207"/>
                      </a:cubicBezTo>
                      <a:cubicBezTo>
                        <a:pt x="2303" y="1224"/>
                        <a:pt x="-867" y="6128"/>
                        <a:pt x="210" y="11092"/>
                      </a:cubicBezTo>
                      <a:cubicBezTo>
                        <a:pt x="1286" y="16056"/>
                        <a:pt x="6191" y="19286"/>
                        <a:pt x="11095" y="18209"/>
                      </a:cubicBezTo>
                      <a:close/>
                    </a:path>
                  </a:pathLst>
                </a:custGeom>
                <a:grpFill/>
                <a:ln w="5978" cap="flat">
                  <a:noFill/>
                  <a:prstDash val="solid"/>
                  <a:miter/>
                </a:ln>
              </p:spPr>
              <p:txBody>
                <a:bodyPr rtlCol="0" anchor="ctr"/>
                <a:lstStyle/>
                <a:p>
                  <a:endParaRPr lang="en-GB"/>
                </a:p>
              </p:txBody>
            </p:sp>
          </p:grpSp>
          <p:grpSp>
            <p:nvGrpSpPr>
              <p:cNvPr id="1311" name="Graphic 3">
                <a:extLst>
                  <a:ext uri="{FF2B5EF4-FFF2-40B4-BE49-F238E27FC236}">
                    <a16:creationId xmlns:a16="http://schemas.microsoft.com/office/drawing/2014/main" id="{C4373846-0ADC-4228-BC71-A6AA92E4FE26}"/>
                  </a:ext>
                </a:extLst>
              </p:cNvPr>
              <p:cNvGrpSpPr/>
              <p:nvPr/>
            </p:nvGrpSpPr>
            <p:grpSpPr>
              <a:xfrm>
                <a:off x="4160612" y="3945685"/>
                <a:ext cx="52304" cy="28316"/>
                <a:chOff x="4160612" y="3945685"/>
                <a:chExt cx="52304" cy="28316"/>
              </a:xfrm>
              <a:grpFill/>
            </p:grpSpPr>
            <p:sp>
              <p:nvSpPr>
                <p:cNvPr id="1474" name="Vrije vorm: vorm 1473">
                  <a:extLst>
                    <a:ext uri="{FF2B5EF4-FFF2-40B4-BE49-F238E27FC236}">
                      <a16:creationId xmlns:a16="http://schemas.microsoft.com/office/drawing/2014/main" id="{F04B6AA3-C65F-4DAB-A2A7-54640702D21B}"/>
                    </a:ext>
                  </a:extLst>
                </p:cNvPr>
                <p:cNvSpPr/>
                <p:nvPr/>
              </p:nvSpPr>
              <p:spPr>
                <a:xfrm>
                  <a:off x="4168881" y="3953297"/>
                  <a:ext cx="35764" cy="13097"/>
                </a:xfrm>
                <a:custGeom>
                  <a:avLst/>
                  <a:gdLst>
                    <a:gd name="connsiteX0" fmla="*/ 34868 w 35764"/>
                    <a:gd name="connsiteY0" fmla="*/ 0 h 13097"/>
                    <a:gd name="connsiteX1" fmla="*/ 35765 w 35764"/>
                    <a:gd name="connsiteY1" fmla="*/ 2930 h 13097"/>
                    <a:gd name="connsiteX2" fmla="*/ 897 w 35764"/>
                    <a:gd name="connsiteY2" fmla="*/ 13098 h 13097"/>
                    <a:gd name="connsiteX3" fmla="*/ 0 w 35764"/>
                    <a:gd name="connsiteY3" fmla="*/ 10107 h 13097"/>
                  </a:gdLst>
                  <a:ahLst/>
                  <a:cxnLst>
                    <a:cxn ang="0">
                      <a:pos x="connsiteX0" y="connsiteY0"/>
                    </a:cxn>
                    <a:cxn ang="0">
                      <a:pos x="connsiteX1" y="connsiteY1"/>
                    </a:cxn>
                    <a:cxn ang="0">
                      <a:pos x="connsiteX2" y="connsiteY2"/>
                    </a:cxn>
                    <a:cxn ang="0">
                      <a:pos x="connsiteX3" y="connsiteY3"/>
                    </a:cxn>
                  </a:cxnLst>
                  <a:rect l="l" t="t" r="r" b="b"/>
                  <a:pathLst>
                    <a:path w="35764" h="13097">
                      <a:moveTo>
                        <a:pt x="34868" y="0"/>
                      </a:moveTo>
                      <a:lnTo>
                        <a:pt x="35765" y="2930"/>
                      </a:lnTo>
                      <a:lnTo>
                        <a:pt x="897" y="13098"/>
                      </a:lnTo>
                      <a:lnTo>
                        <a:pt x="0" y="10107"/>
                      </a:lnTo>
                      <a:close/>
                    </a:path>
                  </a:pathLst>
                </a:custGeom>
                <a:grpFill/>
                <a:ln w="5978" cap="flat">
                  <a:noFill/>
                  <a:prstDash val="solid"/>
                  <a:miter/>
                </a:ln>
              </p:spPr>
              <p:txBody>
                <a:bodyPr rtlCol="0" anchor="ctr"/>
                <a:lstStyle/>
                <a:p>
                  <a:endParaRPr lang="en-GB"/>
                </a:p>
              </p:txBody>
            </p:sp>
            <p:sp>
              <p:nvSpPr>
                <p:cNvPr id="1475" name="Vrije vorm: vorm 1474">
                  <a:extLst>
                    <a:ext uri="{FF2B5EF4-FFF2-40B4-BE49-F238E27FC236}">
                      <a16:creationId xmlns:a16="http://schemas.microsoft.com/office/drawing/2014/main" id="{56A75A8D-3FFD-4D71-9F85-D7F432669329}"/>
                    </a:ext>
                  </a:extLst>
                </p:cNvPr>
                <p:cNvSpPr/>
                <p:nvPr/>
              </p:nvSpPr>
              <p:spPr>
                <a:xfrm>
                  <a:off x="4160612" y="3955558"/>
                  <a:ext cx="18333" cy="18443"/>
                </a:xfrm>
                <a:custGeom>
                  <a:avLst/>
                  <a:gdLst>
                    <a:gd name="connsiteX0" fmla="*/ 11739 w 18333"/>
                    <a:gd name="connsiteY0" fmla="*/ 18073 h 18443"/>
                    <a:gd name="connsiteX1" fmla="*/ 375 w 18333"/>
                    <a:gd name="connsiteY1" fmla="*/ 11794 h 18443"/>
                    <a:gd name="connsiteX2" fmla="*/ 6595 w 18333"/>
                    <a:gd name="connsiteY2" fmla="*/ 370 h 18443"/>
                    <a:gd name="connsiteX3" fmla="*/ 17958 w 18333"/>
                    <a:gd name="connsiteY3" fmla="*/ 6650 h 18443"/>
                    <a:gd name="connsiteX4" fmla="*/ 11739 w 18333"/>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3">
                      <a:moveTo>
                        <a:pt x="11739" y="18073"/>
                      </a:moveTo>
                      <a:cubicBezTo>
                        <a:pt x="6894" y="19509"/>
                        <a:pt x="1811" y="16638"/>
                        <a:pt x="375" y="11794"/>
                      </a:cubicBezTo>
                      <a:cubicBezTo>
                        <a:pt x="-1060" y="6890"/>
                        <a:pt x="1751" y="1806"/>
                        <a:pt x="6595" y="370"/>
                      </a:cubicBezTo>
                      <a:cubicBezTo>
                        <a:pt x="11440" y="-1065"/>
                        <a:pt x="16523" y="1806"/>
                        <a:pt x="17958" y="6650"/>
                      </a:cubicBezTo>
                      <a:cubicBezTo>
                        <a:pt x="19394" y="11554"/>
                        <a:pt x="16583" y="16638"/>
                        <a:pt x="11739" y="18073"/>
                      </a:cubicBezTo>
                      <a:close/>
                    </a:path>
                  </a:pathLst>
                </a:custGeom>
                <a:grpFill/>
                <a:ln w="5978" cap="flat">
                  <a:noFill/>
                  <a:prstDash val="solid"/>
                  <a:miter/>
                </a:ln>
              </p:spPr>
              <p:txBody>
                <a:bodyPr rtlCol="0" anchor="ctr"/>
                <a:lstStyle/>
                <a:p>
                  <a:endParaRPr lang="en-GB"/>
                </a:p>
              </p:txBody>
            </p:sp>
            <p:sp>
              <p:nvSpPr>
                <p:cNvPr id="1476" name="Vrije vorm: vorm 1475">
                  <a:extLst>
                    <a:ext uri="{FF2B5EF4-FFF2-40B4-BE49-F238E27FC236}">
                      <a16:creationId xmlns:a16="http://schemas.microsoft.com/office/drawing/2014/main" id="{4C79DC66-382B-4B55-91D1-0FCD5A091512}"/>
                    </a:ext>
                  </a:extLst>
                </p:cNvPr>
                <p:cNvSpPr/>
                <p:nvPr/>
              </p:nvSpPr>
              <p:spPr>
                <a:xfrm>
                  <a:off x="4194582" y="3945685"/>
                  <a:ext cx="18334" cy="18448"/>
                </a:xfrm>
                <a:custGeom>
                  <a:avLst/>
                  <a:gdLst>
                    <a:gd name="connsiteX0" fmla="*/ 11739 w 18334"/>
                    <a:gd name="connsiteY0" fmla="*/ 18078 h 18448"/>
                    <a:gd name="connsiteX1" fmla="*/ 17959 w 18334"/>
                    <a:gd name="connsiteY1" fmla="*/ 6655 h 18448"/>
                    <a:gd name="connsiteX2" fmla="*/ 6595 w 18334"/>
                    <a:gd name="connsiteY2" fmla="*/ 375 h 18448"/>
                    <a:gd name="connsiteX3" fmla="*/ 375 w 18334"/>
                    <a:gd name="connsiteY3" fmla="*/ 11798 h 18448"/>
                    <a:gd name="connsiteX4" fmla="*/ 11739 w 18334"/>
                    <a:gd name="connsiteY4" fmla="*/ 180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8">
                      <a:moveTo>
                        <a:pt x="11739" y="18078"/>
                      </a:moveTo>
                      <a:cubicBezTo>
                        <a:pt x="16583" y="16643"/>
                        <a:pt x="19394" y="11559"/>
                        <a:pt x="17959" y="6655"/>
                      </a:cubicBezTo>
                      <a:cubicBezTo>
                        <a:pt x="16523" y="1751"/>
                        <a:pt x="11440" y="-1061"/>
                        <a:pt x="6595" y="375"/>
                      </a:cubicBezTo>
                      <a:cubicBezTo>
                        <a:pt x="1751" y="1810"/>
                        <a:pt x="-1060" y="6894"/>
                        <a:pt x="375" y="11798"/>
                      </a:cubicBezTo>
                      <a:cubicBezTo>
                        <a:pt x="1811" y="16643"/>
                        <a:pt x="6894" y="19513"/>
                        <a:pt x="11739" y="18078"/>
                      </a:cubicBezTo>
                      <a:close/>
                    </a:path>
                  </a:pathLst>
                </a:custGeom>
                <a:grpFill/>
                <a:ln w="5978" cap="flat">
                  <a:noFill/>
                  <a:prstDash val="solid"/>
                  <a:miter/>
                </a:ln>
              </p:spPr>
              <p:txBody>
                <a:bodyPr rtlCol="0" anchor="ctr"/>
                <a:lstStyle/>
                <a:p>
                  <a:endParaRPr lang="en-GB"/>
                </a:p>
              </p:txBody>
            </p:sp>
          </p:grpSp>
          <p:grpSp>
            <p:nvGrpSpPr>
              <p:cNvPr id="1312" name="Graphic 3">
                <a:extLst>
                  <a:ext uri="{FF2B5EF4-FFF2-40B4-BE49-F238E27FC236}">
                    <a16:creationId xmlns:a16="http://schemas.microsoft.com/office/drawing/2014/main" id="{EE5686FE-0AF0-4865-B000-B175D5C4193E}"/>
                  </a:ext>
                </a:extLst>
              </p:cNvPr>
              <p:cNvGrpSpPr/>
              <p:nvPr/>
            </p:nvGrpSpPr>
            <p:grpSpPr>
              <a:xfrm>
                <a:off x="4005423" y="3486675"/>
                <a:ext cx="29919" cy="18910"/>
                <a:chOff x="4005423" y="3486675"/>
                <a:chExt cx="29919" cy="18910"/>
              </a:xfrm>
              <a:grpFill/>
            </p:grpSpPr>
            <p:sp>
              <p:nvSpPr>
                <p:cNvPr id="1472" name="Vrije vorm: vorm 1471">
                  <a:extLst>
                    <a:ext uri="{FF2B5EF4-FFF2-40B4-BE49-F238E27FC236}">
                      <a16:creationId xmlns:a16="http://schemas.microsoft.com/office/drawing/2014/main" id="{3866A140-6ECE-497D-A430-C71F6D05E05C}"/>
                    </a:ext>
                  </a:extLst>
                </p:cNvPr>
                <p:cNvSpPr/>
                <p:nvPr/>
              </p:nvSpPr>
              <p:spPr>
                <a:xfrm>
                  <a:off x="4016961" y="3486675"/>
                  <a:ext cx="18381" cy="18432"/>
                </a:xfrm>
                <a:custGeom>
                  <a:avLst/>
                  <a:gdLst>
                    <a:gd name="connsiteX0" fmla="*/ 9579 w 18381"/>
                    <a:gd name="connsiteY0" fmla="*/ 18427 h 18432"/>
                    <a:gd name="connsiteX1" fmla="*/ 10 w 18381"/>
                    <a:gd name="connsiteY1" fmla="*/ 9575 h 18432"/>
                    <a:gd name="connsiteX2" fmla="*/ 8802 w 18381"/>
                    <a:gd name="connsiteY2" fmla="*/ 6 h 18432"/>
                    <a:gd name="connsiteX3" fmla="*/ 18371 w 18381"/>
                    <a:gd name="connsiteY3" fmla="*/ 8857 h 18432"/>
                    <a:gd name="connsiteX4" fmla="*/ 9579 w 18381"/>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32">
                      <a:moveTo>
                        <a:pt x="9579" y="18427"/>
                      </a:moveTo>
                      <a:cubicBezTo>
                        <a:pt x="4496" y="18606"/>
                        <a:pt x="249" y="14659"/>
                        <a:pt x="10" y="9575"/>
                      </a:cubicBezTo>
                      <a:cubicBezTo>
                        <a:pt x="-229" y="4491"/>
                        <a:pt x="3718" y="185"/>
                        <a:pt x="8802" y="6"/>
                      </a:cubicBezTo>
                      <a:cubicBezTo>
                        <a:pt x="13886" y="-174"/>
                        <a:pt x="18132" y="3774"/>
                        <a:pt x="18371" y="8857"/>
                      </a:cubicBezTo>
                      <a:cubicBezTo>
                        <a:pt x="18610" y="14001"/>
                        <a:pt x="14663" y="18247"/>
                        <a:pt x="9579" y="18427"/>
                      </a:cubicBezTo>
                      <a:close/>
                    </a:path>
                  </a:pathLst>
                </a:custGeom>
                <a:grpFill/>
                <a:ln w="5978" cap="flat">
                  <a:noFill/>
                  <a:prstDash val="solid"/>
                  <a:miter/>
                </a:ln>
              </p:spPr>
              <p:txBody>
                <a:bodyPr rtlCol="0" anchor="ctr"/>
                <a:lstStyle/>
                <a:p>
                  <a:endParaRPr lang="en-GB"/>
                </a:p>
              </p:txBody>
            </p:sp>
            <p:sp>
              <p:nvSpPr>
                <p:cNvPr id="1473" name="Vrije vorm: vorm 1472">
                  <a:extLst>
                    <a:ext uri="{FF2B5EF4-FFF2-40B4-BE49-F238E27FC236}">
                      <a16:creationId xmlns:a16="http://schemas.microsoft.com/office/drawing/2014/main" id="{876E8388-B244-4F18-BF84-FC2B2D452C31}"/>
                    </a:ext>
                  </a:extLst>
                </p:cNvPr>
                <p:cNvSpPr/>
                <p:nvPr/>
              </p:nvSpPr>
              <p:spPr>
                <a:xfrm>
                  <a:off x="4005423" y="3487154"/>
                  <a:ext cx="18372" cy="18432"/>
                </a:xfrm>
                <a:custGeom>
                  <a:avLst/>
                  <a:gdLst>
                    <a:gd name="connsiteX0" fmla="*/ 9575 w 18372"/>
                    <a:gd name="connsiteY0" fmla="*/ 18426 h 18432"/>
                    <a:gd name="connsiteX1" fmla="*/ 18367 w 18372"/>
                    <a:gd name="connsiteY1" fmla="*/ 8857 h 18432"/>
                    <a:gd name="connsiteX2" fmla="*/ 8797 w 18372"/>
                    <a:gd name="connsiteY2" fmla="*/ 6 h 18432"/>
                    <a:gd name="connsiteX3" fmla="*/ 6 w 18372"/>
                    <a:gd name="connsiteY3" fmla="*/ 9575 h 18432"/>
                    <a:gd name="connsiteX4" fmla="*/ 9575 w 18372"/>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9575" y="18426"/>
                      </a:moveTo>
                      <a:cubicBezTo>
                        <a:pt x="14658" y="18247"/>
                        <a:pt x="18546" y="13941"/>
                        <a:pt x="18367" y="8857"/>
                      </a:cubicBezTo>
                      <a:cubicBezTo>
                        <a:pt x="18127" y="3774"/>
                        <a:pt x="13881" y="-174"/>
                        <a:pt x="8797" y="6"/>
                      </a:cubicBezTo>
                      <a:cubicBezTo>
                        <a:pt x="3714" y="185"/>
                        <a:pt x="-174" y="4491"/>
                        <a:pt x="6" y="9575"/>
                      </a:cubicBezTo>
                      <a:cubicBezTo>
                        <a:pt x="245" y="14659"/>
                        <a:pt x="4551" y="18606"/>
                        <a:pt x="9575" y="18426"/>
                      </a:cubicBezTo>
                      <a:close/>
                    </a:path>
                  </a:pathLst>
                </a:custGeom>
                <a:grpFill/>
                <a:ln w="5978" cap="flat">
                  <a:noFill/>
                  <a:prstDash val="solid"/>
                  <a:miter/>
                </a:ln>
              </p:spPr>
              <p:txBody>
                <a:bodyPr rtlCol="0" anchor="ctr"/>
                <a:lstStyle/>
                <a:p>
                  <a:endParaRPr lang="en-GB"/>
                </a:p>
              </p:txBody>
            </p:sp>
          </p:grpSp>
          <p:grpSp>
            <p:nvGrpSpPr>
              <p:cNvPr id="1313" name="Graphic 3">
                <a:extLst>
                  <a:ext uri="{FF2B5EF4-FFF2-40B4-BE49-F238E27FC236}">
                    <a16:creationId xmlns:a16="http://schemas.microsoft.com/office/drawing/2014/main" id="{0C20A418-C41F-4BEB-A00A-2A3A96D8610C}"/>
                  </a:ext>
                </a:extLst>
              </p:cNvPr>
              <p:cNvGrpSpPr/>
              <p:nvPr/>
            </p:nvGrpSpPr>
            <p:grpSpPr>
              <a:xfrm>
                <a:off x="4095242" y="3842539"/>
                <a:ext cx="82070" cy="33182"/>
                <a:chOff x="4095242" y="3842539"/>
                <a:chExt cx="82070" cy="33182"/>
              </a:xfrm>
              <a:grpFill/>
            </p:grpSpPr>
            <p:sp>
              <p:nvSpPr>
                <p:cNvPr id="1469" name="Vrije vorm: vorm 1468">
                  <a:extLst>
                    <a:ext uri="{FF2B5EF4-FFF2-40B4-BE49-F238E27FC236}">
                      <a16:creationId xmlns:a16="http://schemas.microsoft.com/office/drawing/2014/main" id="{F130233D-011A-4B94-AAC1-BD2D0062FABF}"/>
                    </a:ext>
                  </a:extLst>
                </p:cNvPr>
                <p:cNvSpPr/>
                <p:nvPr/>
              </p:nvSpPr>
              <p:spPr>
                <a:xfrm>
                  <a:off x="4103572" y="3850189"/>
                  <a:ext cx="65369" cy="17882"/>
                </a:xfrm>
                <a:custGeom>
                  <a:avLst/>
                  <a:gdLst>
                    <a:gd name="connsiteX0" fmla="*/ 64711 w 65369"/>
                    <a:gd name="connsiteY0" fmla="*/ 0 h 17882"/>
                    <a:gd name="connsiteX1" fmla="*/ 65369 w 65369"/>
                    <a:gd name="connsiteY1" fmla="*/ 2990 h 17882"/>
                    <a:gd name="connsiteX2" fmla="*/ 718 w 65369"/>
                    <a:gd name="connsiteY2" fmla="*/ 17882 h 17882"/>
                    <a:gd name="connsiteX3" fmla="*/ 0 w 65369"/>
                    <a:gd name="connsiteY3" fmla="*/ 14892 h 17882"/>
                  </a:gdLst>
                  <a:ahLst/>
                  <a:cxnLst>
                    <a:cxn ang="0">
                      <a:pos x="connsiteX0" y="connsiteY0"/>
                    </a:cxn>
                    <a:cxn ang="0">
                      <a:pos x="connsiteX1" y="connsiteY1"/>
                    </a:cxn>
                    <a:cxn ang="0">
                      <a:pos x="connsiteX2" y="connsiteY2"/>
                    </a:cxn>
                    <a:cxn ang="0">
                      <a:pos x="connsiteX3" y="connsiteY3"/>
                    </a:cxn>
                  </a:cxnLst>
                  <a:rect l="l" t="t" r="r" b="b"/>
                  <a:pathLst>
                    <a:path w="65369" h="17882">
                      <a:moveTo>
                        <a:pt x="64711" y="0"/>
                      </a:moveTo>
                      <a:lnTo>
                        <a:pt x="65369" y="2990"/>
                      </a:lnTo>
                      <a:lnTo>
                        <a:pt x="718" y="17882"/>
                      </a:lnTo>
                      <a:lnTo>
                        <a:pt x="0" y="14892"/>
                      </a:lnTo>
                      <a:close/>
                    </a:path>
                  </a:pathLst>
                </a:custGeom>
                <a:grpFill/>
                <a:ln w="5978" cap="flat">
                  <a:noFill/>
                  <a:prstDash val="solid"/>
                  <a:miter/>
                </a:ln>
              </p:spPr>
              <p:txBody>
                <a:bodyPr rtlCol="0" anchor="ctr"/>
                <a:lstStyle/>
                <a:p>
                  <a:endParaRPr lang="en-GB"/>
                </a:p>
              </p:txBody>
            </p:sp>
            <p:sp>
              <p:nvSpPr>
                <p:cNvPr id="1470" name="Vrije vorm: vorm 1469">
                  <a:extLst>
                    <a:ext uri="{FF2B5EF4-FFF2-40B4-BE49-F238E27FC236}">
                      <a16:creationId xmlns:a16="http://schemas.microsoft.com/office/drawing/2014/main" id="{6E3A6566-0706-4163-BED4-8847A1DF7447}"/>
                    </a:ext>
                  </a:extLst>
                </p:cNvPr>
                <p:cNvSpPr/>
                <p:nvPr/>
              </p:nvSpPr>
              <p:spPr>
                <a:xfrm>
                  <a:off x="4159015" y="3842539"/>
                  <a:ext cx="18297" cy="18470"/>
                </a:xfrm>
                <a:custGeom>
                  <a:avLst/>
                  <a:gdLst>
                    <a:gd name="connsiteX0" fmla="*/ 7056 w 18297"/>
                    <a:gd name="connsiteY0" fmla="*/ 234 h 18470"/>
                    <a:gd name="connsiteX1" fmla="*/ 18060 w 18297"/>
                    <a:gd name="connsiteY1" fmla="*/ 7172 h 18470"/>
                    <a:gd name="connsiteX2" fmla="*/ 11242 w 18297"/>
                    <a:gd name="connsiteY2" fmla="*/ 18236 h 18470"/>
                    <a:gd name="connsiteX3" fmla="*/ 238 w 18297"/>
                    <a:gd name="connsiteY3" fmla="*/ 11298 h 18470"/>
                    <a:gd name="connsiteX4" fmla="*/ 7056 w 18297"/>
                    <a:gd name="connsiteY4" fmla="*/ 234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70">
                      <a:moveTo>
                        <a:pt x="7056" y="234"/>
                      </a:moveTo>
                      <a:cubicBezTo>
                        <a:pt x="11960" y="-902"/>
                        <a:pt x="16924" y="2208"/>
                        <a:pt x="18060" y="7172"/>
                      </a:cubicBezTo>
                      <a:cubicBezTo>
                        <a:pt x="19196" y="12136"/>
                        <a:pt x="16146" y="17100"/>
                        <a:pt x="11242" y="18236"/>
                      </a:cubicBezTo>
                      <a:cubicBezTo>
                        <a:pt x="6338" y="19373"/>
                        <a:pt x="1374" y="16262"/>
                        <a:pt x="238" y="11298"/>
                      </a:cubicBezTo>
                      <a:cubicBezTo>
                        <a:pt x="-899" y="6335"/>
                        <a:pt x="2151" y="1371"/>
                        <a:pt x="7056" y="234"/>
                      </a:cubicBezTo>
                      <a:close/>
                    </a:path>
                  </a:pathLst>
                </a:custGeom>
                <a:grpFill/>
                <a:ln w="5978" cap="flat">
                  <a:noFill/>
                  <a:prstDash val="solid"/>
                  <a:miter/>
                </a:ln>
              </p:spPr>
              <p:txBody>
                <a:bodyPr rtlCol="0" anchor="ctr"/>
                <a:lstStyle/>
                <a:p>
                  <a:endParaRPr lang="en-GB"/>
                </a:p>
              </p:txBody>
            </p:sp>
            <p:sp>
              <p:nvSpPr>
                <p:cNvPr id="1471" name="Vrije vorm: vorm 1470">
                  <a:extLst>
                    <a:ext uri="{FF2B5EF4-FFF2-40B4-BE49-F238E27FC236}">
                      <a16:creationId xmlns:a16="http://schemas.microsoft.com/office/drawing/2014/main" id="{476B8A61-0CED-4C3B-81E5-21418F917989}"/>
                    </a:ext>
                  </a:extLst>
                </p:cNvPr>
                <p:cNvSpPr/>
                <p:nvPr/>
              </p:nvSpPr>
              <p:spPr>
                <a:xfrm>
                  <a:off x="4095242" y="3857252"/>
                  <a:ext cx="18335" cy="18469"/>
                </a:xfrm>
                <a:custGeom>
                  <a:avLst/>
                  <a:gdLst>
                    <a:gd name="connsiteX0" fmla="*/ 7074 w 18335"/>
                    <a:gd name="connsiteY0" fmla="*/ 234 h 18469"/>
                    <a:gd name="connsiteX1" fmla="*/ 256 w 18335"/>
                    <a:gd name="connsiteY1" fmla="*/ 11298 h 18469"/>
                    <a:gd name="connsiteX2" fmla="*/ 11261 w 18335"/>
                    <a:gd name="connsiteY2" fmla="*/ 18236 h 18469"/>
                    <a:gd name="connsiteX3" fmla="*/ 18079 w 18335"/>
                    <a:gd name="connsiteY3" fmla="*/ 7172 h 18469"/>
                    <a:gd name="connsiteX4" fmla="*/ 7074 w 18335"/>
                    <a:gd name="connsiteY4" fmla="*/ 234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69">
                      <a:moveTo>
                        <a:pt x="7074" y="234"/>
                      </a:moveTo>
                      <a:cubicBezTo>
                        <a:pt x="2170" y="1371"/>
                        <a:pt x="-940" y="6334"/>
                        <a:pt x="256" y="11298"/>
                      </a:cubicBezTo>
                      <a:cubicBezTo>
                        <a:pt x="1393" y="16262"/>
                        <a:pt x="6356" y="19372"/>
                        <a:pt x="11261" y="18236"/>
                      </a:cubicBezTo>
                      <a:cubicBezTo>
                        <a:pt x="16165" y="17099"/>
                        <a:pt x="19275" y="12136"/>
                        <a:pt x="18079" y="7172"/>
                      </a:cubicBezTo>
                      <a:cubicBezTo>
                        <a:pt x="16883" y="2208"/>
                        <a:pt x="11978" y="-902"/>
                        <a:pt x="7074" y="234"/>
                      </a:cubicBezTo>
                      <a:close/>
                    </a:path>
                  </a:pathLst>
                </a:custGeom>
                <a:grpFill/>
                <a:ln w="5978" cap="flat">
                  <a:noFill/>
                  <a:prstDash val="solid"/>
                  <a:miter/>
                </a:ln>
              </p:spPr>
              <p:txBody>
                <a:bodyPr rtlCol="0" anchor="ctr"/>
                <a:lstStyle/>
                <a:p>
                  <a:endParaRPr lang="en-GB"/>
                </a:p>
              </p:txBody>
            </p:sp>
          </p:grpSp>
          <p:grpSp>
            <p:nvGrpSpPr>
              <p:cNvPr id="1314" name="Graphic 3">
                <a:extLst>
                  <a:ext uri="{FF2B5EF4-FFF2-40B4-BE49-F238E27FC236}">
                    <a16:creationId xmlns:a16="http://schemas.microsoft.com/office/drawing/2014/main" id="{35AC99EE-F3E6-4993-B64F-E56D3F05EFC8}"/>
                  </a:ext>
                </a:extLst>
              </p:cNvPr>
              <p:cNvGrpSpPr/>
              <p:nvPr/>
            </p:nvGrpSpPr>
            <p:grpSpPr>
              <a:xfrm>
                <a:off x="3940715" y="3448402"/>
                <a:ext cx="105146" cy="20220"/>
                <a:chOff x="3940715" y="3448402"/>
                <a:chExt cx="105146" cy="20220"/>
              </a:xfrm>
              <a:grpFill/>
            </p:grpSpPr>
            <p:sp>
              <p:nvSpPr>
                <p:cNvPr id="1466" name="Vrije vorm: vorm 1465">
                  <a:extLst>
                    <a:ext uri="{FF2B5EF4-FFF2-40B4-BE49-F238E27FC236}">
                      <a16:creationId xmlns:a16="http://schemas.microsoft.com/office/drawing/2014/main" id="{1C750F34-712C-4921-A6A8-AE50979E0228}"/>
                    </a:ext>
                  </a:extLst>
                </p:cNvPr>
                <p:cNvSpPr/>
                <p:nvPr/>
              </p:nvSpPr>
              <p:spPr>
                <a:xfrm>
                  <a:off x="3949389" y="3456120"/>
                  <a:ext cx="87796" cy="4784"/>
                </a:xfrm>
                <a:custGeom>
                  <a:avLst/>
                  <a:gdLst>
                    <a:gd name="connsiteX0" fmla="*/ 87737 w 87796"/>
                    <a:gd name="connsiteY0" fmla="*/ 0 h 4784"/>
                    <a:gd name="connsiteX1" fmla="*/ 87797 w 87796"/>
                    <a:gd name="connsiteY1" fmla="*/ 3050 h 4784"/>
                    <a:gd name="connsiteX2" fmla="*/ 60 w 87796"/>
                    <a:gd name="connsiteY2" fmla="*/ 4785 h 4784"/>
                    <a:gd name="connsiteX3" fmla="*/ 0 w 87796"/>
                    <a:gd name="connsiteY3" fmla="*/ 1734 h 4784"/>
                  </a:gdLst>
                  <a:ahLst/>
                  <a:cxnLst>
                    <a:cxn ang="0">
                      <a:pos x="connsiteX0" y="connsiteY0"/>
                    </a:cxn>
                    <a:cxn ang="0">
                      <a:pos x="connsiteX1" y="connsiteY1"/>
                    </a:cxn>
                    <a:cxn ang="0">
                      <a:pos x="connsiteX2" y="connsiteY2"/>
                    </a:cxn>
                    <a:cxn ang="0">
                      <a:pos x="connsiteX3" y="connsiteY3"/>
                    </a:cxn>
                  </a:cxnLst>
                  <a:rect l="l" t="t" r="r" b="b"/>
                  <a:pathLst>
                    <a:path w="87796" h="4784">
                      <a:moveTo>
                        <a:pt x="87737" y="0"/>
                      </a:moveTo>
                      <a:lnTo>
                        <a:pt x="87797" y="3050"/>
                      </a:lnTo>
                      <a:lnTo>
                        <a:pt x="60" y="4785"/>
                      </a:lnTo>
                      <a:lnTo>
                        <a:pt x="0" y="1734"/>
                      </a:lnTo>
                      <a:close/>
                    </a:path>
                  </a:pathLst>
                </a:custGeom>
                <a:grpFill/>
                <a:ln w="5978" cap="flat">
                  <a:noFill/>
                  <a:prstDash val="solid"/>
                  <a:miter/>
                </a:ln>
              </p:spPr>
              <p:txBody>
                <a:bodyPr rtlCol="0" anchor="ctr"/>
                <a:lstStyle/>
                <a:p>
                  <a:endParaRPr lang="en-GB"/>
                </a:p>
              </p:txBody>
            </p:sp>
            <p:sp>
              <p:nvSpPr>
                <p:cNvPr id="1467" name="Vrije vorm: vorm 1466">
                  <a:extLst>
                    <a:ext uri="{FF2B5EF4-FFF2-40B4-BE49-F238E27FC236}">
                      <a16:creationId xmlns:a16="http://schemas.microsoft.com/office/drawing/2014/main" id="{09A87711-F834-4178-A08F-0CAAAACD7E89}"/>
                    </a:ext>
                  </a:extLst>
                </p:cNvPr>
                <p:cNvSpPr/>
                <p:nvPr/>
              </p:nvSpPr>
              <p:spPr>
                <a:xfrm>
                  <a:off x="3940715" y="3450196"/>
                  <a:ext cx="18364" cy="18425"/>
                </a:xfrm>
                <a:custGeom>
                  <a:avLst/>
                  <a:gdLst>
                    <a:gd name="connsiteX0" fmla="*/ 9392 w 18364"/>
                    <a:gd name="connsiteY0" fmla="*/ 18423 h 18425"/>
                    <a:gd name="connsiteX1" fmla="*/ 3 w 18364"/>
                    <a:gd name="connsiteY1" fmla="*/ 9392 h 18425"/>
                    <a:gd name="connsiteX2" fmla="*/ 8974 w 18364"/>
                    <a:gd name="connsiteY2" fmla="*/ 3 h 18425"/>
                    <a:gd name="connsiteX3" fmla="*/ 18363 w 18364"/>
                    <a:gd name="connsiteY3" fmla="*/ 9034 h 18425"/>
                    <a:gd name="connsiteX4" fmla="*/ 9392 w 18364"/>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5">
                      <a:moveTo>
                        <a:pt x="9392" y="18423"/>
                      </a:moveTo>
                      <a:cubicBezTo>
                        <a:pt x="4309" y="18543"/>
                        <a:pt x="122" y="14476"/>
                        <a:pt x="3" y="9392"/>
                      </a:cubicBezTo>
                      <a:cubicBezTo>
                        <a:pt x="-117" y="4309"/>
                        <a:pt x="3890" y="122"/>
                        <a:pt x="8974" y="3"/>
                      </a:cubicBezTo>
                      <a:cubicBezTo>
                        <a:pt x="14057" y="-117"/>
                        <a:pt x="18244" y="3950"/>
                        <a:pt x="18363" y="9034"/>
                      </a:cubicBezTo>
                      <a:cubicBezTo>
                        <a:pt x="18423" y="14117"/>
                        <a:pt x="14416" y="18304"/>
                        <a:pt x="9392" y="18423"/>
                      </a:cubicBezTo>
                      <a:close/>
                    </a:path>
                  </a:pathLst>
                </a:custGeom>
                <a:grpFill/>
                <a:ln w="5978" cap="flat">
                  <a:noFill/>
                  <a:prstDash val="solid"/>
                  <a:miter/>
                </a:ln>
              </p:spPr>
              <p:txBody>
                <a:bodyPr rtlCol="0" anchor="ctr"/>
                <a:lstStyle/>
                <a:p>
                  <a:endParaRPr lang="en-GB"/>
                </a:p>
              </p:txBody>
            </p:sp>
            <p:sp>
              <p:nvSpPr>
                <p:cNvPr id="1468" name="Vrije vorm: vorm 1467">
                  <a:extLst>
                    <a:ext uri="{FF2B5EF4-FFF2-40B4-BE49-F238E27FC236}">
                      <a16:creationId xmlns:a16="http://schemas.microsoft.com/office/drawing/2014/main" id="{FF069F0C-EFAD-4103-A015-17B5CC9DD1FB}"/>
                    </a:ext>
                  </a:extLst>
                </p:cNvPr>
                <p:cNvSpPr/>
                <p:nvPr/>
              </p:nvSpPr>
              <p:spPr>
                <a:xfrm>
                  <a:off x="4027551" y="3448402"/>
                  <a:ext cx="18309" cy="18425"/>
                </a:xfrm>
                <a:custGeom>
                  <a:avLst/>
                  <a:gdLst>
                    <a:gd name="connsiteX0" fmla="*/ 9336 w 18309"/>
                    <a:gd name="connsiteY0" fmla="*/ 18423 h 18425"/>
                    <a:gd name="connsiteX1" fmla="*/ 18307 w 18309"/>
                    <a:gd name="connsiteY1" fmla="*/ 9034 h 18425"/>
                    <a:gd name="connsiteX2" fmla="*/ 8917 w 18309"/>
                    <a:gd name="connsiteY2" fmla="*/ 3 h 18425"/>
                    <a:gd name="connsiteX3" fmla="*/ 6 w 18309"/>
                    <a:gd name="connsiteY3" fmla="*/ 9392 h 18425"/>
                    <a:gd name="connsiteX4" fmla="*/ 9336 w 18309"/>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5">
                      <a:moveTo>
                        <a:pt x="9336" y="18423"/>
                      </a:moveTo>
                      <a:cubicBezTo>
                        <a:pt x="14420" y="18304"/>
                        <a:pt x="18427" y="14117"/>
                        <a:pt x="18307" y="9034"/>
                      </a:cubicBezTo>
                      <a:cubicBezTo>
                        <a:pt x="18187" y="3950"/>
                        <a:pt x="14001" y="-117"/>
                        <a:pt x="8917" y="3"/>
                      </a:cubicBezTo>
                      <a:cubicBezTo>
                        <a:pt x="3834" y="122"/>
                        <a:pt x="-173" y="4309"/>
                        <a:pt x="6" y="9392"/>
                      </a:cubicBezTo>
                      <a:cubicBezTo>
                        <a:pt x="126" y="14536"/>
                        <a:pt x="4312" y="18543"/>
                        <a:pt x="9336" y="18423"/>
                      </a:cubicBezTo>
                      <a:close/>
                    </a:path>
                  </a:pathLst>
                </a:custGeom>
                <a:grpFill/>
                <a:ln w="5978" cap="flat">
                  <a:noFill/>
                  <a:prstDash val="solid"/>
                  <a:miter/>
                </a:ln>
              </p:spPr>
              <p:txBody>
                <a:bodyPr rtlCol="0" anchor="ctr"/>
                <a:lstStyle/>
                <a:p>
                  <a:endParaRPr lang="en-GB"/>
                </a:p>
              </p:txBody>
            </p:sp>
          </p:grpSp>
          <p:grpSp>
            <p:nvGrpSpPr>
              <p:cNvPr id="1315" name="Graphic 3">
                <a:extLst>
                  <a:ext uri="{FF2B5EF4-FFF2-40B4-BE49-F238E27FC236}">
                    <a16:creationId xmlns:a16="http://schemas.microsoft.com/office/drawing/2014/main" id="{C452F1B5-6EEF-4B4E-B917-8189676B77BF}"/>
                  </a:ext>
                </a:extLst>
              </p:cNvPr>
              <p:cNvGrpSpPr/>
              <p:nvPr/>
            </p:nvGrpSpPr>
            <p:grpSpPr>
              <a:xfrm>
                <a:off x="3843268" y="3245447"/>
                <a:ext cx="153379" cy="30683"/>
                <a:chOff x="3843268" y="3245447"/>
                <a:chExt cx="153379" cy="30683"/>
              </a:xfrm>
              <a:grpFill/>
            </p:grpSpPr>
            <p:sp>
              <p:nvSpPr>
                <p:cNvPr id="1463" name="Vrije vorm: vorm 1462">
                  <a:extLst>
                    <a:ext uri="{FF2B5EF4-FFF2-40B4-BE49-F238E27FC236}">
                      <a16:creationId xmlns:a16="http://schemas.microsoft.com/office/drawing/2014/main" id="{3C36FC84-4180-41B8-9030-C5FFCFED4A3D}"/>
                    </a:ext>
                  </a:extLst>
                </p:cNvPr>
                <p:cNvSpPr/>
                <p:nvPr/>
              </p:nvSpPr>
              <p:spPr>
                <a:xfrm>
                  <a:off x="3851844" y="3253134"/>
                  <a:ext cx="133609" cy="12858"/>
                </a:xfrm>
                <a:custGeom>
                  <a:avLst/>
                  <a:gdLst>
                    <a:gd name="connsiteX0" fmla="*/ 133609 w 133609"/>
                    <a:gd name="connsiteY0" fmla="*/ 9808 h 12858"/>
                    <a:gd name="connsiteX1" fmla="*/ 133370 w 133609"/>
                    <a:gd name="connsiteY1" fmla="*/ 12859 h 12858"/>
                    <a:gd name="connsiteX2" fmla="*/ 0 w 133609"/>
                    <a:gd name="connsiteY2" fmla="*/ 3050 h 12858"/>
                    <a:gd name="connsiteX3" fmla="*/ 239 w 133609"/>
                    <a:gd name="connsiteY3" fmla="*/ 0 h 12858"/>
                  </a:gdLst>
                  <a:ahLst/>
                  <a:cxnLst>
                    <a:cxn ang="0">
                      <a:pos x="connsiteX0" y="connsiteY0"/>
                    </a:cxn>
                    <a:cxn ang="0">
                      <a:pos x="connsiteX1" y="connsiteY1"/>
                    </a:cxn>
                    <a:cxn ang="0">
                      <a:pos x="connsiteX2" y="connsiteY2"/>
                    </a:cxn>
                    <a:cxn ang="0">
                      <a:pos x="connsiteX3" y="connsiteY3"/>
                    </a:cxn>
                  </a:cxnLst>
                  <a:rect l="l" t="t" r="r" b="b"/>
                  <a:pathLst>
                    <a:path w="133609" h="12858">
                      <a:moveTo>
                        <a:pt x="133609" y="9808"/>
                      </a:moveTo>
                      <a:lnTo>
                        <a:pt x="133370" y="12859"/>
                      </a:lnTo>
                      <a:lnTo>
                        <a:pt x="0" y="3050"/>
                      </a:lnTo>
                      <a:lnTo>
                        <a:pt x="239" y="0"/>
                      </a:lnTo>
                      <a:close/>
                    </a:path>
                  </a:pathLst>
                </a:custGeom>
                <a:grpFill/>
                <a:ln w="5978" cap="flat">
                  <a:noFill/>
                  <a:prstDash val="solid"/>
                  <a:miter/>
                </a:ln>
              </p:spPr>
              <p:txBody>
                <a:bodyPr rtlCol="0" anchor="ctr"/>
                <a:lstStyle/>
                <a:p>
                  <a:endParaRPr lang="en-GB"/>
                </a:p>
              </p:txBody>
            </p:sp>
            <p:sp>
              <p:nvSpPr>
                <p:cNvPr id="1464" name="Vrije vorm: vorm 1463">
                  <a:extLst>
                    <a:ext uri="{FF2B5EF4-FFF2-40B4-BE49-F238E27FC236}">
                      <a16:creationId xmlns:a16="http://schemas.microsoft.com/office/drawing/2014/main" id="{2F2FD6B3-F1F0-4FDE-90EE-5E0247462CDC}"/>
                    </a:ext>
                  </a:extLst>
                </p:cNvPr>
                <p:cNvSpPr/>
                <p:nvPr/>
              </p:nvSpPr>
              <p:spPr>
                <a:xfrm>
                  <a:off x="3843268" y="3245447"/>
                  <a:ext cx="18288" cy="18423"/>
                </a:xfrm>
                <a:custGeom>
                  <a:avLst/>
                  <a:gdLst>
                    <a:gd name="connsiteX0" fmla="*/ 8516 w 18288"/>
                    <a:gd name="connsiteY0" fmla="*/ 18392 h 18423"/>
                    <a:gd name="connsiteX1" fmla="*/ 23 w 18288"/>
                    <a:gd name="connsiteY1" fmla="*/ 8524 h 18423"/>
                    <a:gd name="connsiteX2" fmla="*/ 9772 w 18288"/>
                    <a:gd name="connsiteY2" fmla="*/ 31 h 18423"/>
                    <a:gd name="connsiteX3" fmla="*/ 18265 w 18288"/>
                    <a:gd name="connsiteY3" fmla="*/ 9899 h 18423"/>
                    <a:gd name="connsiteX4" fmla="*/ 8516 w 18288"/>
                    <a:gd name="connsiteY4" fmla="*/ 183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3">
                      <a:moveTo>
                        <a:pt x="8516" y="18392"/>
                      </a:moveTo>
                      <a:cubicBezTo>
                        <a:pt x="3492" y="18033"/>
                        <a:pt x="-336" y="13608"/>
                        <a:pt x="23" y="8524"/>
                      </a:cubicBezTo>
                      <a:cubicBezTo>
                        <a:pt x="382" y="3440"/>
                        <a:pt x="4748" y="-387"/>
                        <a:pt x="9772" y="31"/>
                      </a:cubicBezTo>
                      <a:cubicBezTo>
                        <a:pt x="14796" y="390"/>
                        <a:pt x="18624" y="4816"/>
                        <a:pt x="18265" y="9899"/>
                      </a:cubicBezTo>
                      <a:cubicBezTo>
                        <a:pt x="17965" y="14983"/>
                        <a:pt x="13540" y="18811"/>
                        <a:pt x="8516" y="18392"/>
                      </a:cubicBezTo>
                      <a:close/>
                    </a:path>
                  </a:pathLst>
                </a:custGeom>
                <a:grpFill/>
                <a:ln w="5978" cap="flat">
                  <a:noFill/>
                  <a:prstDash val="solid"/>
                  <a:miter/>
                </a:ln>
              </p:spPr>
              <p:txBody>
                <a:bodyPr rtlCol="0" anchor="ctr"/>
                <a:lstStyle/>
                <a:p>
                  <a:endParaRPr lang="en-GB"/>
                </a:p>
              </p:txBody>
            </p:sp>
            <p:sp>
              <p:nvSpPr>
                <p:cNvPr id="1465" name="Vrije vorm: vorm 1464">
                  <a:extLst>
                    <a:ext uri="{FF2B5EF4-FFF2-40B4-BE49-F238E27FC236}">
                      <a16:creationId xmlns:a16="http://schemas.microsoft.com/office/drawing/2014/main" id="{7A957181-BE76-4E20-BB77-3336C02E7978}"/>
                    </a:ext>
                  </a:extLst>
                </p:cNvPr>
                <p:cNvSpPr/>
                <p:nvPr/>
              </p:nvSpPr>
              <p:spPr>
                <a:xfrm>
                  <a:off x="3973422" y="3252830"/>
                  <a:ext cx="23225" cy="23300"/>
                </a:xfrm>
                <a:custGeom>
                  <a:avLst/>
                  <a:gdLst>
                    <a:gd name="connsiteX0" fmla="*/ 20285 w 23225"/>
                    <a:gd name="connsiteY0" fmla="*/ 8729 h 23300"/>
                    <a:gd name="connsiteX1" fmla="*/ 14553 w 23225"/>
                    <a:gd name="connsiteY1" fmla="*/ 20379 h 23300"/>
                    <a:gd name="connsiteX2" fmla="*/ 2940 w 23225"/>
                    <a:gd name="connsiteY2" fmla="*/ 14572 h 23300"/>
                    <a:gd name="connsiteX3" fmla="*/ 8672 w 23225"/>
                    <a:gd name="connsiteY3" fmla="*/ 2922 h 23300"/>
                    <a:gd name="connsiteX4" fmla="*/ 20285 w 23225"/>
                    <a:gd name="connsiteY4" fmla="*/ 8729 h 2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25" h="23300">
                      <a:moveTo>
                        <a:pt x="20285" y="8729"/>
                      </a:moveTo>
                      <a:cubicBezTo>
                        <a:pt x="21909" y="13549"/>
                        <a:pt x="19343" y="18765"/>
                        <a:pt x="14553" y="20379"/>
                      </a:cubicBezTo>
                      <a:cubicBezTo>
                        <a:pt x="9764" y="21993"/>
                        <a:pt x="4565" y="19393"/>
                        <a:pt x="2940" y="14572"/>
                      </a:cubicBezTo>
                      <a:cubicBezTo>
                        <a:pt x="1316" y="9752"/>
                        <a:pt x="3882" y="4535"/>
                        <a:pt x="8672" y="2922"/>
                      </a:cubicBezTo>
                      <a:cubicBezTo>
                        <a:pt x="13461" y="1308"/>
                        <a:pt x="18660" y="3908"/>
                        <a:pt x="20285" y="8729"/>
                      </a:cubicBezTo>
                      <a:close/>
                    </a:path>
                  </a:pathLst>
                </a:custGeom>
                <a:grpFill/>
                <a:ln w="5978" cap="flat">
                  <a:noFill/>
                  <a:prstDash val="solid"/>
                  <a:miter/>
                </a:ln>
              </p:spPr>
              <p:txBody>
                <a:bodyPr rtlCol="0" anchor="ctr"/>
                <a:lstStyle/>
                <a:p>
                  <a:endParaRPr lang="en-GB"/>
                </a:p>
              </p:txBody>
            </p:sp>
          </p:grpSp>
          <p:grpSp>
            <p:nvGrpSpPr>
              <p:cNvPr id="1316" name="Graphic 3">
                <a:extLst>
                  <a:ext uri="{FF2B5EF4-FFF2-40B4-BE49-F238E27FC236}">
                    <a16:creationId xmlns:a16="http://schemas.microsoft.com/office/drawing/2014/main" id="{1E753BA2-A2E4-44C3-A82F-7B3B27107E58}"/>
                  </a:ext>
                </a:extLst>
              </p:cNvPr>
              <p:cNvGrpSpPr/>
              <p:nvPr/>
            </p:nvGrpSpPr>
            <p:grpSpPr>
              <a:xfrm>
                <a:off x="3722748" y="3541022"/>
                <a:ext cx="601066" cy="62964"/>
                <a:chOff x="3722748" y="3541022"/>
                <a:chExt cx="601066" cy="62964"/>
              </a:xfrm>
              <a:grpFill/>
            </p:grpSpPr>
            <p:sp>
              <p:nvSpPr>
                <p:cNvPr id="1460" name="Vrije vorm: vorm 1459">
                  <a:extLst>
                    <a:ext uri="{FF2B5EF4-FFF2-40B4-BE49-F238E27FC236}">
                      <a16:creationId xmlns:a16="http://schemas.microsoft.com/office/drawing/2014/main" id="{26E0A25E-46D8-424B-BB3E-9F5CC24A9498}"/>
                    </a:ext>
                  </a:extLst>
                </p:cNvPr>
                <p:cNvSpPr/>
                <p:nvPr/>
              </p:nvSpPr>
              <p:spPr>
                <a:xfrm>
                  <a:off x="3731332" y="3548641"/>
                  <a:ext cx="583957" cy="47726"/>
                </a:xfrm>
                <a:custGeom>
                  <a:avLst/>
                  <a:gdLst>
                    <a:gd name="connsiteX0" fmla="*/ 583659 w 583957"/>
                    <a:gd name="connsiteY0" fmla="*/ 0 h 47726"/>
                    <a:gd name="connsiteX1" fmla="*/ 583958 w 583957"/>
                    <a:gd name="connsiteY1" fmla="*/ 3050 h 47726"/>
                    <a:gd name="connsiteX2" fmla="*/ 239 w 583957"/>
                    <a:gd name="connsiteY2" fmla="*/ 47726 h 47726"/>
                    <a:gd name="connsiteX3" fmla="*/ 0 w 583957"/>
                    <a:gd name="connsiteY3" fmla="*/ 44676 h 47726"/>
                  </a:gdLst>
                  <a:ahLst/>
                  <a:cxnLst>
                    <a:cxn ang="0">
                      <a:pos x="connsiteX0" y="connsiteY0"/>
                    </a:cxn>
                    <a:cxn ang="0">
                      <a:pos x="connsiteX1" y="connsiteY1"/>
                    </a:cxn>
                    <a:cxn ang="0">
                      <a:pos x="connsiteX2" y="connsiteY2"/>
                    </a:cxn>
                    <a:cxn ang="0">
                      <a:pos x="connsiteX3" y="connsiteY3"/>
                    </a:cxn>
                  </a:cxnLst>
                  <a:rect l="l" t="t" r="r" b="b"/>
                  <a:pathLst>
                    <a:path w="583957" h="47726">
                      <a:moveTo>
                        <a:pt x="583659" y="0"/>
                      </a:moveTo>
                      <a:lnTo>
                        <a:pt x="583958" y="3050"/>
                      </a:lnTo>
                      <a:lnTo>
                        <a:pt x="239" y="47726"/>
                      </a:lnTo>
                      <a:lnTo>
                        <a:pt x="0" y="44676"/>
                      </a:lnTo>
                      <a:close/>
                    </a:path>
                  </a:pathLst>
                </a:custGeom>
                <a:grpFill/>
                <a:ln w="5978" cap="flat">
                  <a:noFill/>
                  <a:prstDash val="solid"/>
                  <a:miter/>
                </a:ln>
              </p:spPr>
              <p:txBody>
                <a:bodyPr rtlCol="0" anchor="ctr"/>
                <a:lstStyle/>
                <a:p>
                  <a:endParaRPr lang="en-GB"/>
                </a:p>
              </p:txBody>
            </p:sp>
            <p:sp>
              <p:nvSpPr>
                <p:cNvPr id="1461" name="Vrije vorm: vorm 1460">
                  <a:extLst>
                    <a:ext uri="{FF2B5EF4-FFF2-40B4-BE49-F238E27FC236}">
                      <a16:creationId xmlns:a16="http://schemas.microsoft.com/office/drawing/2014/main" id="{08D90C8D-3093-4564-AC2F-24ABCEB30AD9}"/>
                    </a:ext>
                  </a:extLst>
                </p:cNvPr>
                <p:cNvSpPr/>
                <p:nvPr/>
              </p:nvSpPr>
              <p:spPr>
                <a:xfrm>
                  <a:off x="3722748" y="3585579"/>
                  <a:ext cx="18304" cy="18408"/>
                </a:xfrm>
                <a:custGeom>
                  <a:avLst/>
                  <a:gdLst>
                    <a:gd name="connsiteX0" fmla="*/ 9900 w 18304"/>
                    <a:gd name="connsiteY0" fmla="*/ 18384 h 18408"/>
                    <a:gd name="connsiteX1" fmla="*/ 32 w 18304"/>
                    <a:gd name="connsiteY1" fmla="*/ 9892 h 18408"/>
                    <a:gd name="connsiteX2" fmla="*/ 8405 w 18304"/>
                    <a:gd name="connsiteY2" fmla="*/ 24 h 18408"/>
                    <a:gd name="connsiteX3" fmla="*/ 18273 w 18304"/>
                    <a:gd name="connsiteY3" fmla="*/ 8516 h 18408"/>
                    <a:gd name="connsiteX4" fmla="*/ 9900 w 18304"/>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08">
                      <a:moveTo>
                        <a:pt x="9900" y="18384"/>
                      </a:moveTo>
                      <a:cubicBezTo>
                        <a:pt x="4876" y="18743"/>
                        <a:pt x="450" y="14975"/>
                        <a:pt x="32" y="9892"/>
                      </a:cubicBezTo>
                      <a:cubicBezTo>
                        <a:pt x="-387" y="4808"/>
                        <a:pt x="3381" y="382"/>
                        <a:pt x="8405" y="24"/>
                      </a:cubicBezTo>
                      <a:cubicBezTo>
                        <a:pt x="13429" y="-335"/>
                        <a:pt x="17854" y="3433"/>
                        <a:pt x="18273" y="8516"/>
                      </a:cubicBezTo>
                      <a:cubicBezTo>
                        <a:pt x="18692" y="13600"/>
                        <a:pt x="14924" y="18026"/>
                        <a:pt x="9900" y="18384"/>
                      </a:cubicBezTo>
                      <a:close/>
                    </a:path>
                  </a:pathLst>
                </a:custGeom>
                <a:grpFill/>
                <a:ln w="5978" cap="flat">
                  <a:noFill/>
                  <a:prstDash val="solid"/>
                  <a:miter/>
                </a:ln>
              </p:spPr>
              <p:txBody>
                <a:bodyPr rtlCol="0" anchor="ctr"/>
                <a:lstStyle/>
                <a:p>
                  <a:endParaRPr lang="en-GB"/>
                </a:p>
              </p:txBody>
            </p:sp>
            <p:sp>
              <p:nvSpPr>
                <p:cNvPr id="1462" name="Vrije vorm: vorm 1461">
                  <a:extLst>
                    <a:ext uri="{FF2B5EF4-FFF2-40B4-BE49-F238E27FC236}">
                      <a16:creationId xmlns:a16="http://schemas.microsoft.com/office/drawing/2014/main" id="{D950EAFD-09F0-4F9A-A91C-E01FAC83E552}"/>
                    </a:ext>
                  </a:extLst>
                </p:cNvPr>
                <p:cNvSpPr/>
                <p:nvPr/>
              </p:nvSpPr>
              <p:spPr>
                <a:xfrm>
                  <a:off x="4305509" y="3541022"/>
                  <a:ext cx="18304" cy="18408"/>
                </a:xfrm>
                <a:custGeom>
                  <a:avLst/>
                  <a:gdLst>
                    <a:gd name="connsiteX0" fmla="*/ 9900 w 18304"/>
                    <a:gd name="connsiteY0" fmla="*/ 18384 h 18408"/>
                    <a:gd name="connsiteX1" fmla="*/ 18273 w 18304"/>
                    <a:gd name="connsiteY1" fmla="*/ 8516 h 18408"/>
                    <a:gd name="connsiteX2" fmla="*/ 8405 w 18304"/>
                    <a:gd name="connsiteY2" fmla="*/ 24 h 18408"/>
                    <a:gd name="connsiteX3" fmla="*/ 32 w 18304"/>
                    <a:gd name="connsiteY3" fmla="*/ 9892 h 18408"/>
                    <a:gd name="connsiteX4" fmla="*/ 9900 w 18304"/>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08">
                      <a:moveTo>
                        <a:pt x="9900" y="18384"/>
                      </a:moveTo>
                      <a:cubicBezTo>
                        <a:pt x="14924" y="18026"/>
                        <a:pt x="18692" y="13600"/>
                        <a:pt x="18273" y="8516"/>
                      </a:cubicBezTo>
                      <a:cubicBezTo>
                        <a:pt x="17854" y="3433"/>
                        <a:pt x="13429" y="-335"/>
                        <a:pt x="8405" y="24"/>
                      </a:cubicBezTo>
                      <a:cubicBezTo>
                        <a:pt x="3381" y="382"/>
                        <a:pt x="-387" y="4808"/>
                        <a:pt x="32" y="9892"/>
                      </a:cubicBezTo>
                      <a:cubicBezTo>
                        <a:pt x="450" y="14975"/>
                        <a:pt x="4876" y="18743"/>
                        <a:pt x="9900" y="18384"/>
                      </a:cubicBezTo>
                      <a:close/>
                    </a:path>
                  </a:pathLst>
                </a:custGeom>
                <a:grpFill/>
                <a:ln w="5978" cap="flat">
                  <a:noFill/>
                  <a:prstDash val="solid"/>
                  <a:miter/>
                </a:ln>
              </p:spPr>
              <p:txBody>
                <a:bodyPr rtlCol="0" anchor="ctr"/>
                <a:lstStyle/>
                <a:p>
                  <a:endParaRPr lang="en-GB"/>
                </a:p>
              </p:txBody>
            </p:sp>
          </p:grpSp>
          <p:grpSp>
            <p:nvGrpSpPr>
              <p:cNvPr id="1317" name="Graphic 3">
                <a:extLst>
                  <a:ext uri="{FF2B5EF4-FFF2-40B4-BE49-F238E27FC236}">
                    <a16:creationId xmlns:a16="http://schemas.microsoft.com/office/drawing/2014/main" id="{012069B6-7AE0-4403-9916-0AA7173E2F7B}"/>
                  </a:ext>
                </a:extLst>
              </p:cNvPr>
              <p:cNvGrpSpPr/>
              <p:nvPr/>
            </p:nvGrpSpPr>
            <p:grpSpPr>
              <a:xfrm>
                <a:off x="4013373" y="4302338"/>
                <a:ext cx="636308" cy="357847"/>
                <a:chOff x="4013373" y="4302338"/>
                <a:chExt cx="636308" cy="357847"/>
              </a:xfrm>
              <a:grpFill/>
            </p:grpSpPr>
            <p:sp>
              <p:nvSpPr>
                <p:cNvPr id="1457" name="Vrije vorm: vorm 1456">
                  <a:extLst>
                    <a:ext uri="{FF2B5EF4-FFF2-40B4-BE49-F238E27FC236}">
                      <a16:creationId xmlns:a16="http://schemas.microsoft.com/office/drawing/2014/main" id="{F60F5101-FF6A-420D-9832-29B52BD02D28}"/>
                    </a:ext>
                  </a:extLst>
                </p:cNvPr>
                <p:cNvSpPr/>
                <p:nvPr/>
              </p:nvSpPr>
              <p:spPr>
                <a:xfrm>
                  <a:off x="4021397" y="4309987"/>
                  <a:ext cx="620260" cy="342575"/>
                </a:xfrm>
                <a:custGeom>
                  <a:avLst/>
                  <a:gdLst>
                    <a:gd name="connsiteX0" fmla="*/ 620261 w 620260"/>
                    <a:gd name="connsiteY0" fmla="*/ 2691 h 342575"/>
                    <a:gd name="connsiteX1" fmla="*/ 1435 w 620260"/>
                    <a:gd name="connsiteY1" fmla="*/ 342576 h 342575"/>
                    <a:gd name="connsiteX2" fmla="*/ 0 w 620260"/>
                    <a:gd name="connsiteY2" fmla="*/ 339885 h 342575"/>
                    <a:gd name="connsiteX3" fmla="*/ 618825 w 620260"/>
                    <a:gd name="connsiteY3" fmla="*/ 0 h 342575"/>
                  </a:gdLst>
                  <a:ahLst/>
                  <a:cxnLst>
                    <a:cxn ang="0">
                      <a:pos x="connsiteX0" y="connsiteY0"/>
                    </a:cxn>
                    <a:cxn ang="0">
                      <a:pos x="connsiteX1" y="connsiteY1"/>
                    </a:cxn>
                    <a:cxn ang="0">
                      <a:pos x="connsiteX2" y="connsiteY2"/>
                    </a:cxn>
                    <a:cxn ang="0">
                      <a:pos x="connsiteX3" y="connsiteY3"/>
                    </a:cxn>
                  </a:cxnLst>
                  <a:rect l="l" t="t" r="r" b="b"/>
                  <a:pathLst>
                    <a:path w="620260" h="342575">
                      <a:moveTo>
                        <a:pt x="620261" y="2691"/>
                      </a:moveTo>
                      <a:lnTo>
                        <a:pt x="1435" y="342576"/>
                      </a:lnTo>
                      <a:lnTo>
                        <a:pt x="0" y="339885"/>
                      </a:lnTo>
                      <a:lnTo>
                        <a:pt x="618825" y="0"/>
                      </a:lnTo>
                      <a:close/>
                    </a:path>
                  </a:pathLst>
                </a:custGeom>
                <a:grpFill/>
                <a:ln w="5978" cap="flat">
                  <a:noFill/>
                  <a:prstDash val="solid"/>
                  <a:miter/>
                </a:ln>
              </p:spPr>
              <p:txBody>
                <a:bodyPr rtlCol="0" anchor="ctr"/>
                <a:lstStyle/>
                <a:p>
                  <a:endParaRPr lang="en-GB"/>
                </a:p>
              </p:txBody>
            </p:sp>
            <p:sp>
              <p:nvSpPr>
                <p:cNvPr id="1458" name="Vrije vorm: vorm 1457">
                  <a:extLst>
                    <a:ext uri="{FF2B5EF4-FFF2-40B4-BE49-F238E27FC236}">
                      <a16:creationId xmlns:a16="http://schemas.microsoft.com/office/drawing/2014/main" id="{31113E1F-03A4-4DE3-AAEE-78BE59B5C0B7}"/>
                    </a:ext>
                  </a:extLst>
                </p:cNvPr>
                <p:cNvSpPr/>
                <p:nvPr/>
              </p:nvSpPr>
              <p:spPr>
                <a:xfrm>
                  <a:off x="4631361" y="4302338"/>
                  <a:ext cx="18320" cy="18467"/>
                </a:xfrm>
                <a:custGeom>
                  <a:avLst/>
                  <a:gdLst>
                    <a:gd name="connsiteX0" fmla="*/ 4734 w 18320"/>
                    <a:gd name="connsiteY0" fmla="*/ 1130 h 18467"/>
                    <a:gd name="connsiteX1" fmla="*/ 17174 w 18320"/>
                    <a:gd name="connsiteY1" fmla="*/ 4838 h 18467"/>
                    <a:gd name="connsiteX2" fmla="*/ 13586 w 18320"/>
                    <a:gd name="connsiteY2" fmla="*/ 17338 h 18467"/>
                    <a:gd name="connsiteX3" fmla="*/ 1146 w 18320"/>
                    <a:gd name="connsiteY3" fmla="*/ 13630 h 18467"/>
                    <a:gd name="connsiteX4" fmla="*/ 4734 w 18320"/>
                    <a:gd name="connsiteY4" fmla="*/ 11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67">
                      <a:moveTo>
                        <a:pt x="4734" y="1130"/>
                      </a:moveTo>
                      <a:cubicBezTo>
                        <a:pt x="9160" y="-1322"/>
                        <a:pt x="14722" y="353"/>
                        <a:pt x="17174" y="4838"/>
                      </a:cubicBezTo>
                      <a:cubicBezTo>
                        <a:pt x="19626" y="9324"/>
                        <a:pt x="18012" y="14886"/>
                        <a:pt x="13586" y="17338"/>
                      </a:cubicBezTo>
                      <a:cubicBezTo>
                        <a:pt x="9160" y="19790"/>
                        <a:pt x="3598" y="18115"/>
                        <a:pt x="1146" y="13630"/>
                      </a:cubicBezTo>
                      <a:cubicBezTo>
                        <a:pt x="-1306" y="9144"/>
                        <a:pt x="308" y="3522"/>
                        <a:pt x="4734" y="1130"/>
                      </a:cubicBezTo>
                      <a:close/>
                    </a:path>
                  </a:pathLst>
                </a:custGeom>
                <a:grpFill/>
                <a:ln w="5978" cap="flat">
                  <a:noFill/>
                  <a:prstDash val="solid"/>
                  <a:miter/>
                </a:ln>
              </p:spPr>
              <p:txBody>
                <a:bodyPr rtlCol="0" anchor="ctr"/>
                <a:lstStyle/>
                <a:p>
                  <a:endParaRPr lang="en-GB"/>
                </a:p>
              </p:txBody>
            </p:sp>
            <p:sp>
              <p:nvSpPr>
                <p:cNvPr id="1459" name="Vrije vorm: vorm 1458">
                  <a:extLst>
                    <a:ext uri="{FF2B5EF4-FFF2-40B4-BE49-F238E27FC236}">
                      <a16:creationId xmlns:a16="http://schemas.microsoft.com/office/drawing/2014/main" id="{A2BFFC9E-CEEB-499C-A22E-B4A42ABBDC47}"/>
                    </a:ext>
                  </a:extLst>
                </p:cNvPr>
                <p:cNvSpPr/>
                <p:nvPr/>
              </p:nvSpPr>
              <p:spPr>
                <a:xfrm>
                  <a:off x="4013373" y="4641771"/>
                  <a:ext cx="18320" cy="18414"/>
                </a:xfrm>
                <a:custGeom>
                  <a:avLst/>
                  <a:gdLst>
                    <a:gd name="connsiteX0" fmla="*/ 4734 w 18320"/>
                    <a:gd name="connsiteY0" fmla="*/ 1103 h 18414"/>
                    <a:gd name="connsiteX1" fmla="*/ 1146 w 18320"/>
                    <a:gd name="connsiteY1" fmla="*/ 13603 h 18414"/>
                    <a:gd name="connsiteX2" fmla="*/ 13586 w 18320"/>
                    <a:gd name="connsiteY2" fmla="*/ 17311 h 18414"/>
                    <a:gd name="connsiteX3" fmla="*/ 17174 w 18320"/>
                    <a:gd name="connsiteY3" fmla="*/ 4812 h 18414"/>
                    <a:gd name="connsiteX4" fmla="*/ 4734 w 18320"/>
                    <a:gd name="connsiteY4" fmla="*/ 11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4">
                      <a:moveTo>
                        <a:pt x="4734" y="1103"/>
                      </a:moveTo>
                      <a:cubicBezTo>
                        <a:pt x="309" y="3556"/>
                        <a:pt x="-1306" y="9118"/>
                        <a:pt x="1146" y="13603"/>
                      </a:cubicBezTo>
                      <a:cubicBezTo>
                        <a:pt x="3598" y="18089"/>
                        <a:pt x="9160" y="19704"/>
                        <a:pt x="13586" y="17311"/>
                      </a:cubicBezTo>
                      <a:cubicBezTo>
                        <a:pt x="18011" y="14859"/>
                        <a:pt x="19626" y="9297"/>
                        <a:pt x="17174" y="4812"/>
                      </a:cubicBezTo>
                      <a:cubicBezTo>
                        <a:pt x="14722" y="326"/>
                        <a:pt x="9160" y="-1289"/>
                        <a:pt x="4734" y="1103"/>
                      </a:cubicBezTo>
                      <a:close/>
                    </a:path>
                  </a:pathLst>
                </a:custGeom>
                <a:grpFill/>
                <a:ln w="5978" cap="flat">
                  <a:noFill/>
                  <a:prstDash val="solid"/>
                  <a:miter/>
                </a:ln>
              </p:spPr>
              <p:txBody>
                <a:bodyPr rtlCol="0" anchor="ctr"/>
                <a:lstStyle/>
                <a:p>
                  <a:endParaRPr lang="en-GB"/>
                </a:p>
              </p:txBody>
            </p:sp>
          </p:grpSp>
          <p:grpSp>
            <p:nvGrpSpPr>
              <p:cNvPr id="1318" name="Graphic 3">
                <a:extLst>
                  <a:ext uri="{FF2B5EF4-FFF2-40B4-BE49-F238E27FC236}">
                    <a16:creationId xmlns:a16="http://schemas.microsoft.com/office/drawing/2014/main" id="{C55BADDB-9643-436E-BBDB-8B2402BE478A}"/>
                  </a:ext>
                </a:extLst>
              </p:cNvPr>
              <p:cNvGrpSpPr/>
              <p:nvPr/>
            </p:nvGrpSpPr>
            <p:grpSpPr>
              <a:xfrm>
                <a:off x="3972640" y="4167154"/>
                <a:ext cx="596905" cy="265322"/>
                <a:chOff x="3972640" y="4167154"/>
                <a:chExt cx="596905" cy="265322"/>
              </a:xfrm>
              <a:grpFill/>
            </p:grpSpPr>
            <p:sp>
              <p:nvSpPr>
                <p:cNvPr id="1454" name="Vrije vorm: vorm 1453">
                  <a:extLst>
                    <a:ext uri="{FF2B5EF4-FFF2-40B4-BE49-F238E27FC236}">
                      <a16:creationId xmlns:a16="http://schemas.microsoft.com/office/drawing/2014/main" id="{8C55C603-30A5-4093-BC4F-5FD07D521E46}"/>
                    </a:ext>
                  </a:extLst>
                </p:cNvPr>
                <p:cNvSpPr/>
                <p:nvPr/>
              </p:nvSpPr>
              <p:spPr>
                <a:xfrm>
                  <a:off x="3981008" y="4174703"/>
                  <a:ext cx="580679" cy="250084"/>
                </a:xfrm>
                <a:custGeom>
                  <a:avLst/>
                  <a:gdLst>
                    <a:gd name="connsiteX0" fmla="*/ 0 w 580679"/>
                    <a:gd name="connsiteY0" fmla="*/ 247278 h 250084"/>
                    <a:gd name="connsiteX1" fmla="*/ 579483 w 580679"/>
                    <a:gd name="connsiteY1" fmla="*/ 0 h 250084"/>
                    <a:gd name="connsiteX2" fmla="*/ 580680 w 580679"/>
                    <a:gd name="connsiteY2" fmla="*/ 2805 h 250084"/>
                    <a:gd name="connsiteX3" fmla="*/ 1197 w 580679"/>
                    <a:gd name="connsiteY3" fmla="*/ 250084 h 250084"/>
                  </a:gdLst>
                  <a:ahLst/>
                  <a:cxnLst>
                    <a:cxn ang="0">
                      <a:pos x="connsiteX0" y="connsiteY0"/>
                    </a:cxn>
                    <a:cxn ang="0">
                      <a:pos x="connsiteX1" y="connsiteY1"/>
                    </a:cxn>
                    <a:cxn ang="0">
                      <a:pos x="connsiteX2" y="connsiteY2"/>
                    </a:cxn>
                    <a:cxn ang="0">
                      <a:pos x="connsiteX3" y="connsiteY3"/>
                    </a:cxn>
                  </a:cxnLst>
                  <a:rect l="l" t="t" r="r" b="b"/>
                  <a:pathLst>
                    <a:path w="580679" h="250084">
                      <a:moveTo>
                        <a:pt x="0" y="247278"/>
                      </a:moveTo>
                      <a:lnTo>
                        <a:pt x="579483" y="0"/>
                      </a:lnTo>
                      <a:lnTo>
                        <a:pt x="580680" y="2805"/>
                      </a:lnTo>
                      <a:lnTo>
                        <a:pt x="1197" y="250084"/>
                      </a:lnTo>
                      <a:close/>
                    </a:path>
                  </a:pathLst>
                </a:custGeom>
                <a:grpFill/>
                <a:ln w="5978" cap="flat">
                  <a:noFill/>
                  <a:prstDash val="solid"/>
                  <a:miter/>
                </a:ln>
              </p:spPr>
              <p:txBody>
                <a:bodyPr rtlCol="0" anchor="ctr"/>
                <a:lstStyle/>
                <a:p>
                  <a:endParaRPr lang="en-GB"/>
                </a:p>
              </p:txBody>
            </p:sp>
            <p:sp>
              <p:nvSpPr>
                <p:cNvPr id="1455" name="Vrije vorm: vorm 1454">
                  <a:extLst>
                    <a:ext uri="{FF2B5EF4-FFF2-40B4-BE49-F238E27FC236}">
                      <a16:creationId xmlns:a16="http://schemas.microsoft.com/office/drawing/2014/main" id="{EBDFD1F9-134B-4E6E-94D3-C678FC83F2F0}"/>
                    </a:ext>
                  </a:extLst>
                </p:cNvPr>
                <p:cNvSpPr/>
                <p:nvPr/>
              </p:nvSpPr>
              <p:spPr>
                <a:xfrm>
                  <a:off x="4551274" y="4167154"/>
                  <a:ext cx="18271" cy="18446"/>
                </a:xfrm>
                <a:custGeom>
                  <a:avLst/>
                  <a:gdLst>
                    <a:gd name="connsiteX0" fmla="*/ 5517 w 18271"/>
                    <a:gd name="connsiteY0" fmla="*/ 731 h 18446"/>
                    <a:gd name="connsiteX1" fmla="*/ 17538 w 18271"/>
                    <a:gd name="connsiteY1" fmla="*/ 5635 h 18446"/>
                    <a:gd name="connsiteX2" fmla="*/ 12754 w 18271"/>
                    <a:gd name="connsiteY2" fmla="*/ 17716 h 18446"/>
                    <a:gd name="connsiteX3" fmla="*/ 733 w 18271"/>
                    <a:gd name="connsiteY3" fmla="*/ 12812 h 18446"/>
                    <a:gd name="connsiteX4" fmla="*/ 5517 w 18271"/>
                    <a:gd name="connsiteY4" fmla="*/ 731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1" h="18446">
                      <a:moveTo>
                        <a:pt x="5517" y="731"/>
                      </a:moveTo>
                      <a:cubicBezTo>
                        <a:pt x="10182" y="-1243"/>
                        <a:pt x="15565" y="910"/>
                        <a:pt x="17538" y="5635"/>
                      </a:cubicBezTo>
                      <a:cubicBezTo>
                        <a:pt x="19512" y="10300"/>
                        <a:pt x="17359" y="15742"/>
                        <a:pt x="12754" y="17716"/>
                      </a:cubicBezTo>
                      <a:cubicBezTo>
                        <a:pt x="8149" y="19690"/>
                        <a:pt x="2706" y="17537"/>
                        <a:pt x="733" y="12812"/>
                      </a:cubicBezTo>
                      <a:cubicBezTo>
                        <a:pt x="-1241" y="8147"/>
                        <a:pt x="912" y="2705"/>
                        <a:pt x="5517" y="731"/>
                      </a:cubicBezTo>
                      <a:close/>
                    </a:path>
                  </a:pathLst>
                </a:custGeom>
                <a:grpFill/>
                <a:ln w="5978" cap="flat">
                  <a:noFill/>
                  <a:prstDash val="solid"/>
                  <a:miter/>
                </a:ln>
              </p:spPr>
              <p:txBody>
                <a:bodyPr rtlCol="0" anchor="ctr"/>
                <a:lstStyle/>
                <a:p>
                  <a:endParaRPr lang="en-GB"/>
                </a:p>
              </p:txBody>
            </p:sp>
            <p:sp>
              <p:nvSpPr>
                <p:cNvPr id="1456" name="Vrije vorm: vorm 1455">
                  <a:extLst>
                    <a:ext uri="{FF2B5EF4-FFF2-40B4-BE49-F238E27FC236}">
                      <a16:creationId xmlns:a16="http://schemas.microsoft.com/office/drawing/2014/main" id="{8918BBCF-0EB4-430C-A0A1-0D12DA9117D2}"/>
                    </a:ext>
                  </a:extLst>
                </p:cNvPr>
                <p:cNvSpPr/>
                <p:nvPr/>
              </p:nvSpPr>
              <p:spPr>
                <a:xfrm>
                  <a:off x="3972640" y="4414039"/>
                  <a:ext cx="18304" cy="18438"/>
                </a:xfrm>
                <a:custGeom>
                  <a:avLst/>
                  <a:gdLst>
                    <a:gd name="connsiteX0" fmla="*/ 5576 w 18304"/>
                    <a:gd name="connsiteY0" fmla="*/ 731 h 18438"/>
                    <a:gd name="connsiteX1" fmla="*/ 732 w 18304"/>
                    <a:gd name="connsiteY1" fmla="*/ 12812 h 18438"/>
                    <a:gd name="connsiteX2" fmla="*/ 12753 w 18304"/>
                    <a:gd name="connsiteY2" fmla="*/ 17716 h 18438"/>
                    <a:gd name="connsiteX3" fmla="*/ 17537 w 18304"/>
                    <a:gd name="connsiteY3" fmla="*/ 5635 h 18438"/>
                    <a:gd name="connsiteX4" fmla="*/ 5576 w 18304"/>
                    <a:gd name="connsiteY4" fmla="*/ 73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8">
                      <a:moveTo>
                        <a:pt x="5576" y="731"/>
                      </a:moveTo>
                      <a:cubicBezTo>
                        <a:pt x="911" y="2704"/>
                        <a:pt x="-1242" y="8147"/>
                        <a:pt x="732" y="12812"/>
                      </a:cubicBezTo>
                      <a:cubicBezTo>
                        <a:pt x="2705" y="17477"/>
                        <a:pt x="8088" y="19690"/>
                        <a:pt x="12753" y="17716"/>
                      </a:cubicBezTo>
                      <a:cubicBezTo>
                        <a:pt x="17418" y="15743"/>
                        <a:pt x="19571" y="10300"/>
                        <a:pt x="17537" y="5635"/>
                      </a:cubicBezTo>
                      <a:cubicBezTo>
                        <a:pt x="15624" y="910"/>
                        <a:pt x="10181" y="-1243"/>
                        <a:pt x="5576" y="731"/>
                      </a:cubicBezTo>
                      <a:close/>
                    </a:path>
                  </a:pathLst>
                </a:custGeom>
                <a:grpFill/>
                <a:ln w="5978" cap="flat">
                  <a:noFill/>
                  <a:prstDash val="solid"/>
                  <a:miter/>
                </a:ln>
              </p:spPr>
              <p:txBody>
                <a:bodyPr rtlCol="0" anchor="ctr"/>
                <a:lstStyle/>
                <a:p>
                  <a:endParaRPr lang="en-GB"/>
                </a:p>
              </p:txBody>
            </p:sp>
          </p:grpSp>
          <p:grpSp>
            <p:nvGrpSpPr>
              <p:cNvPr id="1319" name="Graphic 3">
                <a:extLst>
                  <a:ext uri="{FF2B5EF4-FFF2-40B4-BE49-F238E27FC236}">
                    <a16:creationId xmlns:a16="http://schemas.microsoft.com/office/drawing/2014/main" id="{2184640F-D89A-41C6-A157-DFB4DFBF75FC}"/>
                  </a:ext>
                </a:extLst>
              </p:cNvPr>
              <p:cNvGrpSpPr/>
              <p:nvPr/>
            </p:nvGrpSpPr>
            <p:grpSpPr>
              <a:xfrm>
                <a:off x="3996610" y="4248493"/>
                <a:ext cx="620721" cy="318940"/>
                <a:chOff x="3996610" y="4248493"/>
                <a:chExt cx="620721" cy="318940"/>
              </a:xfrm>
              <a:grpFill/>
            </p:grpSpPr>
            <p:sp>
              <p:nvSpPr>
                <p:cNvPr id="1451" name="Vrije vorm: vorm 1450">
                  <a:extLst>
                    <a:ext uri="{FF2B5EF4-FFF2-40B4-BE49-F238E27FC236}">
                      <a16:creationId xmlns:a16="http://schemas.microsoft.com/office/drawing/2014/main" id="{52D89957-8826-4E4B-A211-380CB807C19A}"/>
                    </a:ext>
                  </a:extLst>
                </p:cNvPr>
                <p:cNvSpPr/>
                <p:nvPr/>
              </p:nvSpPr>
              <p:spPr>
                <a:xfrm>
                  <a:off x="4004711" y="4256161"/>
                  <a:ext cx="604531" cy="303641"/>
                </a:xfrm>
                <a:custGeom>
                  <a:avLst/>
                  <a:gdLst>
                    <a:gd name="connsiteX0" fmla="*/ 604531 w 604531"/>
                    <a:gd name="connsiteY0" fmla="*/ 2751 h 303641"/>
                    <a:gd name="connsiteX1" fmla="*/ 1316 w 604531"/>
                    <a:gd name="connsiteY1" fmla="*/ 303641 h 303641"/>
                    <a:gd name="connsiteX2" fmla="*/ 0 w 604531"/>
                    <a:gd name="connsiteY2" fmla="*/ 300890 h 303641"/>
                    <a:gd name="connsiteX3" fmla="*/ 603216 w 604531"/>
                    <a:gd name="connsiteY3" fmla="*/ 0 h 303641"/>
                  </a:gdLst>
                  <a:ahLst/>
                  <a:cxnLst>
                    <a:cxn ang="0">
                      <a:pos x="connsiteX0" y="connsiteY0"/>
                    </a:cxn>
                    <a:cxn ang="0">
                      <a:pos x="connsiteX1" y="connsiteY1"/>
                    </a:cxn>
                    <a:cxn ang="0">
                      <a:pos x="connsiteX2" y="connsiteY2"/>
                    </a:cxn>
                    <a:cxn ang="0">
                      <a:pos x="connsiteX3" y="connsiteY3"/>
                    </a:cxn>
                  </a:cxnLst>
                  <a:rect l="l" t="t" r="r" b="b"/>
                  <a:pathLst>
                    <a:path w="604531" h="303641">
                      <a:moveTo>
                        <a:pt x="604531" y="2751"/>
                      </a:moveTo>
                      <a:lnTo>
                        <a:pt x="1316" y="303641"/>
                      </a:lnTo>
                      <a:lnTo>
                        <a:pt x="0" y="300890"/>
                      </a:lnTo>
                      <a:lnTo>
                        <a:pt x="603216" y="0"/>
                      </a:lnTo>
                      <a:close/>
                    </a:path>
                  </a:pathLst>
                </a:custGeom>
                <a:grpFill/>
                <a:ln w="5978" cap="flat">
                  <a:noFill/>
                  <a:prstDash val="solid"/>
                  <a:miter/>
                </a:ln>
              </p:spPr>
              <p:txBody>
                <a:bodyPr rtlCol="0" anchor="ctr"/>
                <a:lstStyle/>
                <a:p>
                  <a:endParaRPr lang="en-GB"/>
                </a:p>
              </p:txBody>
            </p:sp>
            <p:sp>
              <p:nvSpPr>
                <p:cNvPr id="1452" name="Vrije vorm: vorm 1451">
                  <a:extLst>
                    <a:ext uri="{FF2B5EF4-FFF2-40B4-BE49-F238E27FC236}">
                      <a16:creationId xmlns:a16="http://schemas.microsoft.com/office/drawing/2014/main" id="{09630746-6F32-4A53-B44A-9F16DBB4E4DE}"/>
                    </a:ext>
                  </a:extLst>
                </p:cNvPr>
                <p:cNvSpPr/>
                <p:nvPr/>
              </p:nvSpPr>
              <p:spPr>
                <a:xfrm>
                  <a:off x="4598999" y="4248493"/>
                  <a:ext cx="18332" cy="18446"/>
                </a:xfrm>
                <a:custGeom>
                  <a:avLst/>
                  <a:gdLst>
                    <a:gd name="connsiteX0" fmla="*/ 5039 w 18332"/>
                    <a:gd name="connsiteY0" fmla="*/ 970 h 18446"/>
                    <a:gd name="connsiteX1" fmla="*/ 17360 w 18332"/>
                    <a:gd name="connsiteY1" fmla="*/ 5156 h 18446"/>
                    <a:gd name="connsiteX2" fmla="*/ 13293 w 18332"/>
                    <a:gd name="connsiteY2" fmla="*/ 17476 h 18446"/>
                    <a:gd name="connsiteX3" fmla="*/ 973 w 18332"/>
                    <a:gd name="connsiteY3" fmla="*/ 13290 h 18446"/>
                    <a:gd name="connsiteX4" fmla="*/ 5039 w 18332"/>
                    <a:gd name="connsiteY4" fmla="*/ 970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46">
                      <a:moveTo>
                        <a:pt x="5039" y="970"/>
                      </a:moveTo>
                      <a:cubicBezTo>
                        <a:pt x="9585" y="-1303"/>
                        <a:pt x="15087" y="551"/>
                        <a:pt x="17360" y="5156"/>
                      </a:cubicBezTo>
                      <a:cubicBezTo>
                        <a:pt x="19632" y="9702"/>
                        <a:pt x="17778" y="15264"/>
                        <a:pt x="13293" y="17476"/>
                      </a:cubicBezTo>
                      <a:cubicBezTo>
                        <a:pt x="8747" y="19749"/>
                        <a:pt x="3245" y="17895"/>
                        <a:pt x="973" y="13290"/>
                      </a:cubicBezTo>
                      <a:cubicBezTo>
                        <a:pt x="-1300" y="8744"/>
                        <a:pt x="554" y="3242"/>
                        <a:pt x="5039" y="970"/>
                      </a:cubicBezTo>
                      <a:close/>
                    </a:path>
                  </a:pathLst>
                </a:custGeom>
                <a:grpFill/>
                <a:ln w="5978" cap="flat">
                  <a:noFill/>
                  <a:prstDash val="solid"/>
                  <a:miter/>
                </a:ln>
              </p:spPr>
              <p:txBody>
                <a:bodyPr rtlCol="0" anchor="ctr"/>
                <a:lstStyle/>
                <a:p>
                  <a:endParaRPr lang="en-GB"/>
                </a:p>
              </p:txBody>
            </p:sp>
            <p:sp>
              <p:nvSpPr>
                <p:cNvPr id="1453" name="Vrije vorm: vorm 1452">
                  <a:extLst>
                    <a:ext uri="{FF2B5EF4-FFF2-40B4-BE49-F238E27FC236}">
                      <a16:creationId xmlns:a16="http://schemas.microsoft.com/office/drawing/2014/main" id="{EC57D074-5728-4C2A-B9CD-7A51307FEA60}"/>
                    </a:ext>
                  </a:extLst>
                </p:cNvPr>
                <p:cNvSpPr/>
                <p:nvPr/>
              </p:nvSpPr>
              <p:spPr>
                <a:xfrm>
                  <a:off x="3996610" y="4549024"/>
                  <a:ext cx="18353" cy="18409"/>
                </a:xfrm>
                <a:custGeom>
                  <a:avLst/>
                  <a:gdLst>
                    <a:gd name="connsiteX0" fmla="*/ 5050 w 18353"/>
                    <a:gd name="connsiteY0" fmla="*/ 970 h 18409"/>
                    <a:gd name="connsiteX1" fmla="*/ 983 w 18353"/>
                    <a:gd name="connsiteY1" fmla="*/ 13290 h 18409"/>
                    <a:gd name="connsiteX2" fmla="*/ 13304 w 18353"/>
                    <a:gd name="connsiteY2" fmla="*/ 17476 h 18409"/>
                    <a:gd name="connsiteX3" fmla="*/ 17371 w 18353"/>
                    <a:gd name="connsiteY3" fmla="*/ 5156 h 18409"/>
                    <a:gd name="connsiteX4" fmla="*/ 5050 w 18353"/>
                    <a:gd name="connsiteY4" fmla="*/ 970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9">
                      <a:moveTo>
                        <a:pt x="5050" y="970"/>
                      </a:moveTo>
                      <a:cubicBezTo>
                        <a:pt x="505" y="3242"/>
                        <a:pt x="-1289" y="8744"/>
                        <a:pt x="983" y="13290"/>
                      </a:cubicBezTo>
                      <a:cubicBezTo>
                        <a:pt x="3256" y="17835"/>
                        <a:pt x="8758" y="19689"/>
                        <a:pt x="13304" y="17476"/>
                      </a:cubicBezTo>
                      <a:cubicBezTo>
                        <a:pt x="17849" y="15204"/>
                        <a:pt x="19643" y="9702"/>
                        <a:pt x="17371" y="5156"/>
                      </a:cubicBezTo>
                      <a:cubicBezTo>
                        <a:pt x="15098" y="551"/>
                        <a:pt x="9596" y="-1303"/>
                        <a:pt x="5050" y="970"/>
                      </a:cubicBezTo>
                      <a:close/>
                    </a:path>
                  </a:pathLst>
                </a:custGeom>
                <a:grpFill/>
                <a:ln w="5978" cap="flat">
                  <a:noFill/>
                  <a:prstDash val="solid"/>
                  <a:miter/>
                </a:ln>
              </p:spPr>
              <p:txBody>
                <a:bodyPr rtlCol="0" anchor="ctr"/>
                <a:lstStyle/>
                <a:p>
                  <a:endParaRPr lang="en-GB"/>
                </a:p>
              </p:txBody>
            </p:sp>
          </p:grpSp>
          <p:grpSp>
            <p:nvGrpSpPr>
              <p:cNvPr id="1320" name="Graphic 3">
                <a:extLst>
                  <a:ext uri="{FF2B5EF4-FFF2-40B4-BE49-F238E27FC236}">
                    <a16:creationId xmlns:a16="http://schemas.microsoft.com/office/drawing/2014/main" id="{496B980F-744D-403F-9236-3F6727BD5FE1}"/>
                  </a:ext>
                </a:extLst>
              </p:cNvPr>
              <p:cNvGrpSpPr/>
              <p:nvPr/>
            </p:nvGrpSpPr>
            <p:grpSpPr>
              <a:xfrm>
                <a:off x="4158940" y="4290610"/>
                <a:ext cx="246970" cy="140127"/>
                <a:chOff x="4158940" y="4290610"/>
                <a:chExt cx="246970" cy="140127"/>
              </a:xfrm>
              <a:grpFill/>
            </p:grpSpPr>
            <p:sp>
              <p:nvSpPr>
                <p:cNvPr id="1448" name="Vrije vorm: vorm 1447">
                  <a:extLst>
                    <a:ext uri="{FF2B5EF4-FFF2-40B4-BE49-F238E27FC236}">
                      <a16:creationId xmlns:a16="http://schemas.microsoft.com/office/drawing/2014/main" id="{B29D2809-A228-4A18-86BF-815A73E1B347}"/>
                    </a:ext>
                  </a:extLst>
                </p:cNvPr>
                <p:cNvSpPr/>
                <p:nvPr/>
              </p:nvSpPr>
              <p:spPr>
                <a:xfrm>
                  <a:off x="4166968" y="4298205"/>
                  <a:ext cx="230915" cy="124877"/>
                </a:xfrm>
                <a:custGeom>
                  <a:avLst/>
                  <a:gdLst>
                    <a:gd name="connsiteX0" fmla="*/ 230916 w 230915"/>
                    <a:gd name="connsiteY0" fmla="*/ 2751 h 124877"/>
                    <a:gd name="connsiteX1" fmla="*/ 1435 w 230915"/>
                    <a:gd name="connsiteY1" fmla="*/ 124877 h 124877"/>
                    <a:gd name="connsiteX2" fmla="*/ 0 w 230915"/>
                    <a:gd name="connsiteY2" fmla="*/ 122186 h 124877"/>
                    <a:gd name="connsiteX3" fmla="*/ 229480 w 230915"/>
                    <a:gd name="connsiteY3" fmla="*/ 0 h 124877"/>
                  </a:gdLst>
                  <a:ahLst/>
                  <a:cxnLst>
                    <a:cxn ang="0">
                      <a:pos x="connsiteX0" y="connsiteY0"/>
                    </a:cxn>
                    <a:cxn ang="0">
                      <a:pos x="connsiteX1" y="connsiteY1"/>
                    </a:cxn>
                    <a:cxn ang="0">
                      <a:pos x="connsiteX2" y="connsiteY2"/>
                    </a:cxn>
                    <a:cxn ang="0">
                      <a:pos x="connsiteX3" y="connsiteY3"/>
                    </a:cxn>
                  </a:cxnLst>
                  <a:rect l="l" t="t" r="r" b="b"/>
                  <a:pathLst>
                    <a:path w="230915" h="124877">
                      <a:moveTo>
                        <a:pt x="230916" y="2751"/>
                      </a:moveTo>
                      <a:lnTo>
                        <a:pt x="1435" y="124877"/>
                      </a:lnTo>
                      <a:lnTo>
                        <a:pt x="0" y="122186"/>
                      </a:lnTo>
                      <a:lnTo>
                        <a:pt x="229480" y="0"/>
                      </a:lnTo>
                      <a:close/>
                    </a:path>
                  </a:pathLst>
                </a:custGeom>
                <a:grpFill/>
                <a:ln w="5978" cap="flat">
                  <a:noFill/>
                  <a:prstDash val="solid"/>
                  <a:miter/>
                </a:ln>
              </p:spPr>
              <p:txBody>
                <a:bodyPr rtlCol="0" anchor="ctr"/>
                <a:lstStyle/>
                <a:p>
                  <a:endParaRPr lang="en-GB"/>
                </a:p>
              </p:txBody>
            </p:sp>
            <p:sp>
              <p:nvSpPr>
                <p:cNvPr id="1449" name="Vrije vorm: vorm 1448">
                  <a:extLst>
                    <a:ext uri="{FF2B5EF4-FFF2-40B4-BE49-F238E27FC236}">
                      <a16:creationId xmlns:a16="http://schemas.microsoft.com/office/drawing/2014/main" id="{8C23D171-7FE0-4942-B30E-CD034081E026}"/>
                    </a:ext>
                  </a:extLst>
                </p:cNvPr>
                <p:cNvSpPr/>
                <p:nvPr/>
              </p:nvSpPr>
              <p:spPr>
                <a:xfrm>
                  <a:off x="4158940" y="4412317"/>
                  <a:ext cx="18327" cy="18420"/>
                </a:xfrm>
                <a:custGeom>
                  <a:avLst/>
                  <a:gdLst>
                    <a:gd name="connsiteX0" fmla="*/ 13470 w 18327"/>
                    <a:gd name="connsiteY0" fmla="*/ 17344 h 18420"/>
                    <a:gd name="connsiteX1" fmla="*/ 1090 w 18327"/>
                    <a:gd name="connsiteY1" fmla="*/ 13516 h 18420"/>
                    <a:gd name="connsiteX2" fmla="*/ 4858 w 18327"/>
                    <a:gd name="connsiteY2" fmla="*/ 1076 h 18420"/>
                    <a:gd name="connsiteX3" fmla="*/ 17238 w 18327"/>
                    <a:gd name="connsiteY3" fmla="*/ 4904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8984" y="19736"/>
                        <a:pt x="3482" y="18002"/>
                        <a:pt x="1090" y="13516"/>
                      </a:cubicBezTo>
                      <a:cubicBezTo>
                        <a:pt x="-1303" y="9031"/>
                        <a:pt x="372" y="3469"/>
                        <a:pt x="4858" y="1076"/>
                      </a:cubicBezTo>
                      <a:cubicBezTo>
                        <a:pt x="9343" y="-1316"/>
                        <a:pt x="14845" y="418"/>
                        <a:pt x="17238" y="4904"/>
                      </a:cubicBezTo>
                      <a:cubicBezTo>
                        <a:pt x="19630" y="9389"/>
                        <a:pt x="17956" y="15011"/>
                        <a:pt x="13470" y="17344"/>
                      </a:cubicBezTo>
                      <a:close/>
                    </a:path>
                  </a:pathLst>
                </a:custGeom>
                <a:grpFill/>
                <a:ln w="5978" cap="flat">
                  <a:noFill/>
                  <a:prstDash val="solid"/>
                  <a:miter/>
                </a:ln>
              </p:spPr>
              <p:txBody>
                <a:bodyPr rtlCol="0" anchor="ctr"/>
                <a:lstStyle/>
                <a:p>
                  <a:endParaRPr lang="en-GB"/>
                </a:p>
              </p:txBody>
            </p:sp>
            <p:sp>
              <p:nvSpPr>
                <p:cNvPr id="1450" name="Vrije vorm: vorm 1449">
                  <a:extLst>
                    <a:ext uri="{FF2B5EF4-FFF2-40B4-BE49-F238E27FC236}">
                      <a16:creationId xmlns:a16="http://schemas.microsoft.com/office/drawing/2014/main" id="{74D1CCA4-CB57-4916-A1E4-6E02D8E0A64A}"/>
                    </a:ext>
                  </a:extLst>
                </p:cNvPr>
                <p:cNvSpPr/>
                <p:nvPr/>
              </p:nvSpPr>
              <p:spPr>
                <a:xfrm>
                  <a:off x="4387583" y="4290610"/>
                  <a:ext cx="18327" cy="18420"/>
                </a:xfrm>
                <a:custGeom>
                  <a:avLst/>
                  <a:gdLst>
                    <a:gd name="connsiteX0" fmla="*/ 13470 w 18327"/>
                    <a:gd name="connsiteY0" fmla="*/ 17344 h 18420"/>
                    <a:gd name="connsiteX1" fmla="*/ 17238 w 18327"/>
                    <a:gd name="connsiteY1" fmla="*/ 4904 h 18420"/>
                    <a:gd name="connsiteX2" fmla="*/ 4858 w 18327"/>
                    <a:gd name="connsiteY2" fmla="*/ 1076 h 18420"/>
                    <a:gd name="connsiteX3" fmla="*/ 1090 w 18327"/>
                    <a:gd name="connsiteY3" fmla="*/ 13516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17955" y="14952"/>
                        <a:pt x="19630" y="9390"/>
                        <a:pt x="17238" y="4904"/>
                      </a:cubicBezTo>
                      <a:cubicBezTo>
                        <a:pt x="14846" y="419"/>
                        <a:pt x="9283" y="-1316"/>
                        <a:pt x="4858" y="1076"/>
                      </a:cubicBezTo>
                      <a:cubicBezTo>
                        <a:pt x="372" y="3469"/>
                        <a:pt x="-1302" y="9031"/>
                        <a:pt x="1090" y="13516"/>
                      </a:cubicBezTo>
                      <a:cubicBezTo>
                        <a:pt x="3482" y="18002"/>
                        <a:pt x="9044" y="19736"/>
                        <a:pt x="13470" y="17344"/>
                      </a:cubicBezTo>
                      <a:close/>
                    </a:path>
                  </a:pathLst>
                </a:custGeom>
                <a:grpFill/>
                <a:ln w="5978" cap="flat">
                  <a:noFill/>
                  <a:prstDash val="solid"/>
                  <a:miter/>
                </a:ln>
              </p:spPr>
              <p:txBody>
                <a:bodyPr rtlCol="0" anchor="ctr"/>
                <a:lstStyle/>
                <a:p>
                  <a:endParaRPr lang="en-GB"/>
                </a:p>
              </p:txBody>
            </p:sp>
          </p:grpSp>
          <p:grpSp>
            <p:nvGrpSpPr>
              <p:cNvPr id="1321" name="Graphic 3">
                <a:extLst>
                  <a:ext uri="{FF2B5EF4-FFF2-40B4-BE49-F238E27FC236}">
                    <a16:creationId xmlns:a16="http://schemas.microsoft.com/office/drawing/2014/main" id="{F2523EA7-3E05-49DE-B67A-03047038546B}"/>
                  </a:ext>
                </a:extLst>
              </p:cNvPr>
              <p:cNvGrpSpPr/>
              <p:nvPr/>
            </p:nvGrpSpPr>
            <p:grpSpPr>
              <a:xfrm>
                <a:off x="4038557" y="4102871"/>
                <a:ext cx="360228" cy="161120"/>
                <a:chOff x="4038557" y="4102871"/>
                <a:chExt cx="360228" cy="161120"/>
              </a:xfrm>
              <a:grpFill/>
            </p:grpSpPr>
            <p:sp>
              <p:nvSpPr>
                <p:cNvPr id="1445" name="Vrije vorm: vorm 1444">
                  <a:extLst>
                    <a:ext uri="{FF2B5EF4-FFF2-40B4-BE49-F238E27FC236}">
                      <a16:creationId xmlns:a16="http://schemas.microsoft.com/office/drawing/2014/main" id="{D6B4AFA6-8CED-47F4-9D07-2D11801D2577}"/>
                    </a:ext>
                  </a:extLst>
                </p:cNvPr>
                <p:cNvSpPr/>
                <p:nvPr/>
              </p:nvSpPr>
              <p:spPr>
                <a:xfrm>
                  <a:off x="4046811" y="4110593"/>
                  <a:ext cx="343887" cy="145819"/>
                </a:xfrm>
                <a:custGeom>
                  <a:avLst/>
                  <a:gdLst>
                    <a:gd name="connsiteX0" fmla="*/ 0 w 343887"/>
                    <a:gd name="connsiteY0" fmla="*/ 143004 h 145819"/>
                    <a:gd name="connsiteX1" fmla="*/ 342713 w 343887"/>
                    <a:gd name="connsiteY1" fmla="*/ 0 h 145819"/>
                    <a:gd name="connsiteX2" fmla="*/ 343887 w 343887"/>
                    <a:gd name="connsiteY2" fmla="*/ 2815 h 145819"/>
                    <a:gd name="connsiteX3" fmla="*/ 1175 w 343887"/>
                    <a:gd name="connsiteY3" fmla="*/ 145819 h 145819"/>
                  </a:gdLst>
                  <a:ahLst/>
                  <a:cxnLst>
                    <a:cxn ang="0">
                      <a:pos x="connsiteX0" y="connsiteY0"/>
                    </a:cxn>
                    <a:cxn ang="0">
                      <a:pos x="connsiteX1" y="connsiteY1"/>
                    </a:cxn>
                    <a:cxn ang="0">
                      <a:pos x="connsiteX2" y="connsiteY2"/>
                    </a:cxn>
                    <a:cxn ang="0">
                      <a:pos x="connsiteX3" y="connsiteY3"/>
                    </a:cxn>
                  </a:cxnLst>
                  <a:rect l="l" t="t" r="r" b="b"/>
                  <a:pathLst>
                    <a:path w="343887" h="145819">
                      <a:moveTo>
                        <a:pt x="0" y="143004"/>
                      </a:moveTo>
                      <a:lnTo>
                        <a:pt x="342713" y="0"/>
                      </a:lnTo>
                      <a:lnTo>
                        <a:pt x="343887" y="2815"/>
                      </a:lnTo>
                      <a:lnTo>
                        <a:pt x="1175" y="145819"/>
                      </a:lnTo>
                      <a:close/>
                    </a:path>
                  </a:pathLst>
                </a:custGeom>
                <a:grpFill/>
                <a:ln w="5978" cap="flat">
                  <a:noFill/>
                  <a:prstDash val="solid"/>
                  <a:miter/>
                </a:ln>
              </p:spPr>
              <p:txBody>
                <a:bodyPr rtlCol="0" anchor="ctr"/>
                <a:lstStyle/>
                <a:p>
                  <a:endParaRPr lang="en-GB"/>
                </a:p>
              </p:txBody>
            </p:sp>
            <p:sp>
              <p:nvSpPr>
                <p:cNvPr id="1446" name="Vrije vorm: vorm 1445">
                  <a:extLst>
                    <a:ext uri="{FF2B5EF4-FFF2-40B4-BE49-F238E27FC236}">
                      <a16:creationId xmlns:a16="http://schemas.microsoft.com/office/drawing/2014/main" id="{E8DF26DF-4EEE-498A-B4C7-704CC3F7F6BF}"/>
                    </a:ext>
                  </a:extLst>
                </p:cNvPr>
                <p:cNvSpPr/>
                <p:nvPr/>
              </p:nvSpPr>
              <p:spPr>
                <a:xfrm>
                  <a:off x="4038557" y="4245579"/>
                  <a:ext cx="18370" cy="18411"/>
                </a:xfrm>
                <a:custGeom>
                  <a:avLst/>
                  <a:gdLst>
                    <a:gd name="connsiteX0" fmla="*/ 12744 w 18370"/>
                    <a:gd name="connsiteY0" fmla="*/ 17698 h 18411"/>
                    <a:gd name="connsiteX1" fmla="*/ 722 w 18370"/>
                    <a:gd name="connsiteY1" fmla="*/ 12734 h 18411"/>
                    <a:gd name="connsiteX2" fmla="*/ 5627 w 18370"/>
                    <a:gd name="connsiteY2" fmla="*/ 713 h 18411"/>
                    <a:gd name="connsiteX3" fmla="*/ 17648 w 18370"/>
                    <a:gd name="connsiteY3" fmla="*/ 5677 h 18411"/>
                    <a:gd name="connsiteX4" fmla="*/ 12744 w 18370"/>
                    <a:gd name="connsiteY4" fmla="*/ 1769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1">
                      <a:moveTo>
                        <a:pt x="12744" y="17698"/>
                      </a:moveTo>
                      <a:cubicBezTo>
                        <a:pt x="8079" y="19672"/>
                        <a:pt x="2696" y="17400"/>
                        <a:pt x="722" y="12734"/>
                      </a:cubicBezTo>
                      <a:cubicBezTo>
                        <a:pt x="-1251" y="8010"/>
                        <a:pt x="962" y="2627"/>
                        <a:pt x="5627" y="713"/>
                      </a:cubicBezTo>
                      <a:cubicBezTo>
                        <a:pt x="10292" y="-1260"/>
                        <a:pt x="15674" y="1012"/>
                        <a:pt x="17648" y="5677"/>
                      </a:cubicBezTo>
                      <a:cubicBezTo>
                        <a:pt x="19622" y="10342"/>
                        <a:pt x="17409" y="15725"/>
                        <a:pt x="12744" y="17698"/>
                      </a:cubicBezTo>
                      <a:close/>
                    </a:path>
                  </a:pathLst>
                </a:custGeom>
                <a:grpFill/>
                <a:ln w="5978" cap="flat">
                  <a:noFill/>
                  <a:prstDash val="solid"/>
                  <a:miter/>
                </a:ln>
              </p:spPr>
              <p:txBody>
                <a:bodyPr rtlCol="0" anchor="ctr"/>
                <a:lstStyle/>
                <a:p>
                  <a:endParaRPr lang="en-GB"/>
                </a:p>
              </p:txBody>
            </p:sp>
            <p:sp>
              <p:nvSpPr>
                <p:cNvPr id="1447" name="Vrije vorm: vorm 1446">
                  <a:extLst>
                    <a:ext uri="{FF2B5EF4-FFF2-40B4-BE49-F238E27FC236}">
                      <a16:creationId xmlns:a16="http://schemas.microsoft.com/office/drawing/2014/main" id="{BDCFE8E9-8661-4818-A1F5-9021D2BDC73B}"/>
                    </a:ext>
                  </a:extLst>
                </p:cNvPr>
                <p:cNvSpPr/>
                <p:nvPr/>
              </p:nvSpPr>
              <p:spPr>
                <a:xfrm>
                  <a:off x="4380415" y="4102871"/>
                  <a:ext cx="18370" cy="18428"/>
                </a:xfrm>
                <a:custGeom>
                  <a:avLst/>
                  <a:gdLst>
                    <a:gd name="connsiteX0" fmla="*/ 12743 w 18370"/>
                    <a:gd name="connsiteY0" fmla="*/ 17707 h 18428"/>
                    <a:gd name="connsiteX1" fmla="*/ 17648 w 18370"/>
                    <a:gd name="connsiteY1" fmla="*/ 5686 h 18428"/>
                    <a:gd name="connsiteX2" fmla="*/ 5626 w 18370"/>
                    <a:gd name="connsiteY2" fmla="*/ 721 h 18428"/>
                    <a:gd name="connsiteX3" fmla="*/ 722 w 18370"/>
                    <a:gd name="connsiteY3" fmla="*/ 12743 h 18428"/>
                    <a:gd name="connsiteX4" fmla="*/ 12743 w 18370"/>
                    <a:gd name="connsiteY4" fmla="*/ 1770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8">
                      <a:moveTo>
                        <a:pt x="12743" y="17707"/>
                      </a:moveTo>
                      <a:cubicBezTo>
                        <a:pt x="17409" y="15733"/>
                        <a:pt x="19621" y="10350"/>
                        <a:pt x="17648" y="5686"/>
                      </a:cubicBezTo>
                      <a:cubicBezTo>
                        <a:pt x="15674" y="961"/>
                        <a:pt x="10291" y="-1252"/>
                        <a:pt x="5626" y="721"/>
                      </a:cubicBezTo>
                      <a:cubicBezTo>
                        <a:pt x="962" y="2695"/>
                        <a:pt x="-1251" y="8078"/>
                        <a:pt x="722" y="12743"/>
                      </a:cubicBezTo>
                      <a:cubicBezTo>
                        <a:pt x="2696" y="17467"/>
                        <a:pt x="8079" y="19680"/>
                        <a:pt x="12743" y="17707"/>
                      </a:cubicBezTo>
                      <a:close/>
                    </a:path>
                  </a:pathLst>
                </a:custGeom>
                <a:grpFill/>
                <a:ln w="5978" cap="flat">
                  <a:noFill/>
                  <a:prstDash val="solid"/>
                  <a:miter/>
                </a:ln>
              </p:spPr>
              <p:txBody>
                <a:bodyPr rtlCol="0" anchor="ctr"/>
                <a:lstStyle/>
                <a:p>
                  <a:endParaRPr lang="en-GB"/>
                </a:p>
              </p:txBody>
            </p:sp>
          </p:grpSp>
          <p:grpSp>
            <p:nvGrpSpPr>
              <p:cNvPr id="1322" name="Graphic 3">
                <a:extLst>
                  <a:ext uri="{FF2B5EF4-FFF2-40B4-BE49-F238E27FC236}">
                    <a16:creationId xmlns:a16="http://schemas.microsoft.com/office/drawing/2014/main" id="{009D2A1E-01EB-437A-8033-668C8E031E67}"/>
                  </a:ext>
                </a:extLst>
              </p:cNvPr>
              <p:cNvGrpSpPr/>
              <p:nvPr/>
            </p:nvGrpSpPr>
            <p:grpSpPr>
              <a:xfrm>
                <a:off x="3966448" y="4194824"/>
                <a:ext cx="618080" cy="289331"/>
                <a:chOff x="3966448" y="4194824"/>
                <a:chExt cx="618080" cy="289331"/>
              </a:xfrm>
              <a:grpFill/>
            </p:grpSpPr>
            <p:sp>
              <p:nvSpPr>
                <p:cNvPr id="1442" name="Vrije vorm: vorm 1441">
                  <a:extLst>
                    <a:ext uri="{FF2B5EF4-FFF2-40B4-BE49-F238E27FC236}">
                      <a16:creationId xmlns:a16="http://schemas.microsoft.com/office/drawing/2014/main" id="{05E4DDDB-B86F-47E1-8176-78BCE92C96CD}"/>
                    </a:ext>
                  </a:extLst>
                </p:cNvPr>
                <p:cNvSpPr/>
                <p:nvPr/>
              </p:nvSpPr>
              <p:spPr>
                <a:xfrm>
                  <a:off x="3974568" y="4202454"/>
                  <a:ext cx="601840" cy="274036"/>
                </a:xfrm>
                <a:custGeom>
                  <a:avLst/>
                  <a:gdLst>
                    <a:gd name="connsiteX0" fmla="*/ 601840 w 601840"/>
                    <a:gd name="connsiteY0" fmla="*/ 2811 h 274036"/>
                    <a:gd name="connsiteX1" fmla="*/ 1256 w 601840"/>
                    <a:gd name="connsiteY1" fmla="*/ 274037 h 274036"/>
                    <a:gd name="connsiteX2" fmla="*/ 0 w 601840"/>
                    <a:gd name="connsiteY2" fmla="*/ 271226 h 274036"/>
                    <a:gd name="connsiteX3" fmla="*/ 600584 w 601840"/>
                    <a:gd name="connsiteY3" fmla="*/ 0 h 274036"/>
                  </a:gdLst>
                  <a:ahLst/>
                  <a:cxnLst>
                    <a:cxn ang="0">
                      <a:pos x="connsiteX0" y="connsiteY0"/>
                    </a:cxn>
                    <a:cxn ang="0">
                      <a:pos x="connsiteX1" y="connsiteY1"/>
                    </a:cxn>
                    <a:cxn ang="0">
                      <a:pos x="connsiteX2" y="connsiteY2"/>
                    </a:cxn>
                    <a:cxn ang="0">
                      <a:pos x="connsiteX3" y="connsiteY3"/>
                    </a:cxn>
                  </a:cxnLst>
                  <a:rect l="l" t="t" r="r" b="b"/>
                  <a:pathLst>
                    <a:path w="601840" h="274036">
                      <a:moveTo>
                        <a:pt x="601840" y="2811"/>
                      </a:moveTo>
                      <a:lnTo>
                        <a:pt x="1256" y="274037"/>
                      </a:lnTo>
                      <a:lnTo>
                        <a:pt x="0" y="271226"/>
                      </a:lnTo>
                      <a:lnTo>
                        <a:pt x="600584" y="0"/>
                      </a:lnTo>
                      <a:close/>
                    </a:path>
                  </a:pathLst>
                </a:custGeom>
                <a:grpFill/>
                <a:ln w="5978" cap="flat">
                  <a:noFill/>
                  <a:prstDash val="solid"/>
                  <a:miter/>
                </a:ln>
              </p:spPr>
              <p:txBody>
                <a:bodyPr rtlCol="0" anchor="ctr"/>
                <a:lstStyle/>
                <a:p>
                  <a:endParaRPr lang="en-GB"/>
                </a:p>
              </p:txBody>
            </p:sp>
            <p:sp>
              <p:nvSpPr>
                <p:cNvPr id="1443" name="Vrije vorm: vorm 1442">
                  <a:extLst>
                    <a:ext uri="{FF2B5EF4-FFF2-40B4-BE49-F238E27FC236}">
                      <a16:creationId xmlns:a16="http://schemas.microsoft.com/office/drawing/2014/main" id="{C02A9334-6319-4208-9F9F-D2FCFFC4DEC6}"/>
                    </a:ext>
                  </a:extLst>
                </p:cNvPr>
                <p:cNvSpPr/>
                <p:nvPr/>
              </p:nvSpPr>
              <p:spPr>
                <a:xfrm>
                  <a:off x="4566195" y="4194824"/>
                  <a:ext cx="18333" cy="18490"/>
                </a:xfrm>
                <a:custGeom>
                  <a:avLst/>
                  <a:gdLst>
                    <a:gd name="connsiteX0" fmla="*/ 5369 w 18333"/>
                    <a:gd name="connsiteY0" fmla="*/ 812 h 18490"/>
                    <a:gd name="connsiteX1" fmla="*/ 17510 w 18333"/>
                    <a:gd name="connsiteY1" fmla="*/ 5477 h 18490"/>
                    <a:gd name="connsiteX2" fmla="*/ 12965 w 18333"/>
                    <a:gd name="connsiteY2" fmla="*/ 17678 h 18490"/>
                    <a:gd name="connsiteX3" fmla="*/ 824 w 18333"/>
                    <a:gd name="connsiteY3" fmla="*/ 13013 h 18490"/>
                    <a:gd name="connsiteX4" fmla="*/ 5369 w 18333"/>
                    <a:gd name="connsiteY4" fmla="*/ 812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90">
                      <a:moveTo>
                        <a:pt x="5369" y="812"/>
                      </a:moveTo>
                      <a:cubicBezTo>
                        <a:pt x="9974" y="-1281"/>
                        <a:pt x="15417" y="812"/>
                        <a:pt x="17510" y="5477"/>
                      </a:cubicBezTo>
                      <a:cubicBezTo>
                        <a:pt x="19603" y="10142"/>
                        <a:pt x="17570" y="15584"/>
                        <a:pt x="12965" y="17678"/>
                      </a:cubicBezTo>
                      <a:cubicBezTo>
                        <a:pt x="8359" y="19771"/>
                        <a:pt x="2917" y="17678"/>
                        <a:pt x="824" y="13013"/>
                      </a:cubicBezTo>
                      <a:cubicBezTo>
                        <a:pt x="-1269" y="8348"/>
                        <a:pt x="764" y="2905"/>
                        <a:pt x="5369" y="812"/>
                      </a:cubicBezTo>
                      <a:close/>
                    </a:path>
                  </a:pathLst>
                </a:custGeom>
                <a:grpFill/>
                <a:ln w="5978" cap="flat">
                  <a:noFill/>
                  <a:prstDash val="solid"/>
                  <a:miter/>
                </a:ln>
              </p:spPr>
              <p:txBody>
                <a:bodyPr rtlCol="0" anchor="ctr"/>
                <a:lstStyle/>
                <a:p>
                  <a:endParaRPr lang="en-GB"/>
                </a:p>
              </p:txBody>
            </p:sp>
            <p:sp>
              <p:nvSpPr>
                <p:cNvPr id="1444" name="Vrije vorm: vorm 1443">
                  <a:extLst>
                    <a:ext uri="{FF2B5EF4-FFF2-40B4-BE49-F238E27FC236}">
                      <a16:creationId xmlns:a16="http://schemas.microsoft.com/office/drawing/2014/main" id="{CA05B747-1AA8-465C-818D-1003721315C6}"/>
                    </a:ext>
                  </a:extLst>
                </p:cNvPr>
                <p:cNvSpPr/>
                <p:nvPr/>
              </p:nvSpPr>
              <p:spPr>
                <a:xfrm>
                  <a:off x="3966448" y="4465690"/>
                  <a:ext cx="18333" cy="18464"/>
                </a:xfrm>
                <a:custGeom>
                  <a:avLst/>
                  <a:gdLst>
                    <a:gd name="connsiteX0" fmla="*/ 5369 w 18333"/>
                    <a:gd name="connsiteY0" fmla="*/ 812 h 18464"/>
                    <a:gd name="connsiteX1" fmla="*/ 824 w 18333"/>
                    <a:gd name="connsiteY1" fmla="*/ 13013 h 18464"/>
                    <a:gd name="connsiteX2" fmla="*/ 12965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6"/>
                        <a:pt x="-1270" y="8348"/>
                        <a:pt x="824" y="13013"/>
                      </a:cubicBezTo>
                      <a:cubicBezTo>
                        <a:pt x="2917" y="17678"/>
                        <a:pt x="8360" y="19711"/>
                        <a:pt x="12965" y="17678"/>
                      </a:cubicBezTo>
                      <a:cubicBezTo>
                        <a:pt x="17570" y="15585"/>
                        <a:pt x="19603"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323" name="Graphic 3">
                <a:extLst>
                  <a:ext uri="{FF2B5EF4-FFF2-40B4-BE49-F238E27FC236}">
                    <a16:creationId xmlns:a16="http://schemas.microsoft.com/office/drawing/2014/main" id="{2A29B141-4D16-4BF4-8DBB-B41598EC3080}"/>
                  </a:ext>
                </a:extLst>
              </p:cNvPr>
              <p:cNvGrpSpPr/>
              <p:nvPr/>
            </p:nvGrpSpPr>
            <p:grpSpPr>
              <a:xfrm>
                <a:off x="3698654" y="3629896"/>
                <a:ext cx="696860" cy="65176"/>
                <a:chOff x="3698654" y="3629896"/>
                <a:chExt cx="696860" cy="65176"/>
              </a:xfrm>
              <a:grpFill/>
            </p:grpSpPr>
            <p:sp>
              <p:nvSpPr>
                <p:cNvPr id="1439" name="Vrije vorm: vorm 1438">
                  <a:extLst>
                    <a:ext uri="{FF2B5EF4-FFF2-40B4-BE49-F238E27FC236}">
                      <a16:creationId xmlns:a16="http://schemas.microsoft.com/office/drawing/2014/main" id="{88A156FF-8196-4AB6-B459-3DD766E33EE1}"/>
                    </a:ext>
                  </a:extLst>
                </p:cNvPr>
                <p:cNvSpPr/>
                <p:nvPr/>
              </p:nvSpPr>
              <p:spPr>
                <a:xfrm>
                  <a:off x="3707290" y="3637515"/>
                  <a:ext cx="679649" cy="49939"/>
                </a:xfrm>
                <a:custGeom>
                  <a:avLst/>
                  <a:gdLst>
                    <a:gd name="connsiteX0" fmla="*/ 679410 w 679649"/>
                    <a:gd name="connsiteY0" fmla="*/ 0 h 49939"/>
                    <a:gd name="connsiteX1" fmla="*/ 679649 w 679649"/>
                    <a:gd name="connsiteY1" fmla="*/ 3050 h 49939"/>
                    <a:gd name="connsiteX2" fmla="*/ 179 w 679649"/>
                    <a:gd name="connsiteY2" fmla="*/ 49939 h 49939"/>
                    <a:gd name="connsiteX3" fmla="*/ 0 w 679649"/>
                    <a:gd name="connsiteY3" fmla="*/ 46889 h 49939"/>
                  </a:gdLst>
                  <a:ahLst/>
                  <a:cxnLst>
                    <a:cxn ang="0">
                      <a:pos x="connsiteX0" y="connsiteY0"/>
                    </a:cxn>
                    <a:cxn ang="0">
                      <a:pos x="connsiteX1" y="connsiteY1"/>
                    </a:cxn>
                    <a:cxn ang="0">
                      <a:pos x="connsiteX2" y="connsiteY2"/>
                    </a:cxn>
                    <a:cxn ang="0">
                      <a:pos x="connsiteX3" y="connsiteY3"/>
                    </a:cxn>
                  </a:cxnLst>
                  <a:rect l="l" t="t" r="r" b="b"/>
                  <a:pathLst>
                    <a:path w="679649" h="49939">
                      <a:moveTo>
                        <a:pt x="679410" y="0"/>
                      </a:moveTo>
                      <a:lnTo>
                        <a:pt x="679649" y="3050"/>
                      </a:lnTo>
                      <a:lnTo>
                        <a:pt x="179" y="49939"/>
                      </a:lnTo>
                      <a:lnTo>
                        <a:pt x="0" y="46889"/>
                      </a:lnTo>
                      <a:close/>
                    </a:path>
                  </a:pathLst>
                </a:custGeom>
                <a:grpFill/>
                <a:ln w="5978" cap="flat">
                  <a:noFill/>
                  <a:prstDash val="solid"/>
                  <a:miter/>
                </a:ln>
              </p:spPr>
              <p:txBody>
                <a:bodyPr rtlCol="0" anchor="ctr"/>
                <a:lstStyle/>
                <a:p>
                  <a:endParaRPr lang="en-GB"/>
                </a:p>
              </p:txBody>
            </p:sp>
            <p:sp>
              <p:nvSpPr>
                <p:cNvPr id="1440" name="Vrije vorm: vorm 1439">
                  <a:extLst>
                    <a:ext uri="{FF2B5EF4-FFF2-40B4-BE49-F238E27FC236}">
                      <a16:creationId xmlns:a16="http://schemas.microsoft.com/office/drawing/2014/main" id="{B28741F1-B2A6-42D2-89BD-0EE2441FB3D9}"/>
                    </a:ext>
                  </a:extLst>
                </p:cNvPr>
                <p:cNvSpPr/>
                <p:nvPr/>
              </p:nvSpPr>
              <p:spPr>
                <a:xfrm>
                  <a:off x="4377173" y="3629896"/>
                  <a:ext cx="18341" cy="18407"/>
                </a:xfrm>
                <a:custGeom>
                  <a:avLst/>
                  <a:gdLst>
                    <a:gd name="connsiteX0" fmla="*/ 8509 w 18341"/>
                    <a:gd name="connsiteY0" fmla="*/ 23 h 18407"/>
                    <a:gd name="connsiteX1" fmla="*/ 18318 w 18341"/>
                    <a:gd name="connsiteY1" fmla="*/ 8576 h 18407"/>
                    <a:gd name="connsiteX2" fmla="*/ 9825 w 18341"/>
                    <a:gd name="connsiteY2" fmla="*/ 18384 h 18407"/>
                    <a:gd name="connsiteX3" fmla="*/ 17 w 18341"/>
                    <a:gd name="connsiteY3" fmla="*/ 9832 h 18407"/>
                    <a:gd name="connsiteX4" fmla="*/ 8509 w 18341"/>
                    <a:gd name="connsiteY4" fmla="*/ 2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7">
                      <a:moveTo>
                        <a:pt x="8509" y="23"/>
                      </a:moveTo>
                      <a:cubicBezTo>
                        <a:pt x="13533" y="-336"/>
                        <a:pt x="17959" y="3492"/>
                        <a:pt x="18318" y="8576"/>
                      </a:cubicBezTo>
                      <a:cubicBezTo>
                        <a:pt x="18676" y="13659"/>
                        <a:pt x="14909" y="18025"/>
                        <a:pt x="9825" y="18384"/>
                      </a:cubicBezTo>
                      <a:cubicBezTo>
                        <a:pt x="4801" y="18743"/>
                        <a:pt x="375" y="14915"/>
                        <a:pt x="17" y="9832"/>
                      </a:cubicBezTo>
                      <a:cubicBezTo>
                        <a:pt x="-282" y="4748"/>
                        <a:pt x="3486" y="322"/>
                        <a:pt x="8509" y="23"/>
                      </a:cubicBezTo>
                      <a:close/>
                    </a:path>
                  </a:pathLst>
                </a:custGeom>
                <a:grpFill/>
                <a:ln w="5978" cap="flat">
                  <a:noFill/>
                  <a:prstDash val="solid"/>
                  <a:miter/>
                </a:ln>
              </p:spPr>
              <p:txBody>
                <a:bodyPr rtlCol="0" anchor="ctr"/>
                <a:lstStyle/>
                <a:p>
                  <a:endParaRPr lang="en-GB"/>
                </a:p>
              </p:txBody>
            </p:sp>
            <p:sp>
              <p:nvSpPr>
                <p:cNvPr id="1441" name="Vrije vorm: vorm 1440">
                  <a:extLst>
                    <a:ext uri="{FF2B5EF4-FFF2-40B4-BE49-F238E27FC236}">
                      <a16:creationId xmlns:a16="http://schemas.microsoft.com/office/drawing/2014/main" id="{8758B337-F34C-48EB-A1B7-B49816DF0C3B}"/>
                    </a:ext>
                  </a:extLst>
                </p:cNvPr>
                <p:cNvSpPr/>
                <p:nvPr/>
              </p:nvSpPr>
              <p:spPr>
                <a:xfrm>
                  <a:off x="3698654" y="3676672"/>
                  <a:ext cx="18347" cy="18400"/>
                </a:xfrm>
                <a:custGeom>
                  <a:avLst/>
                  <a:gdLst>
                    <a:gd name="connsiteX0" fmla="*/ 8516 w 18347"/>
                    <a:gd name="connsiteY0" fmla="*/ 16 h 18400"/>
                    <a:gd name="connsiteX1" fmla="*/ 23 w 18347"/>
                    <a:gd name="connsiteY1" fmla="*/ 9825 h 18400"/>
                    <a:gd name="connsiteX2" fmla="*/ 9832 w 18347"/>
                    <a:gd name="connsiteY2" fmla="*/ 18377 h 18400"/>
                    <a:gd name="connsiteX3" fmla="*/ 18324 w 18347"/>
                    <a:gd name="connsiteY3" fmla="*/ 8569 h 18400"/>
                    <a:gd name="connsiteX4" fmla="*/ 8516 w 18347"/>
                    <a:gd name="connsiteY4" fmla="*/ 1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8516" y="16"/>
                      </a:moveTo>
                      <a:cubicBezTo>
                        <a:pt x="3492" y="375"/>
                        <a:pt x="-336" y="4741"/>
                        <a:pt x="23" y="9825"/>
                      </a:cubicBezTo>
                      <a:cubicBezTo>
                        <a:pt x="382" y="14909"/>
                        <a:pt x="4808" y="18736"/>
                        <a:pt x="9832" y="18377"/>
                      </a:cubicBezTo>
                      <a:cubicBezTo>
                        <a:pt x="14855" y="18018"/>
                        <a:pt x="18683" y="13653"/>
                        <a:pt x="18324" y="8569"/>
                      </a:cubicBezTo>
                      <a:cubicBezTo>
                        <a:pt x="17965" y="3545"/>
                        <a:pt x="13599" y="-283"/>
                        <a:pt x="8516" y="16"/>
                      </a:cubicBezTo>
                      <a:close/>
                    </a:path>
                  </a:pathLst>
                </a:custGeom>
                <a:grpFill/>
                <a:ln w="5978" cap="flat">
                  <a:noFill/>
                  <a:prstDash val="solid"/>
                  <a:miter/>
                </a:ln>
              </p:spPr>
              <p:txBody>
                <a:bodyPr rtlCol="0" anchor="ctr"/>
                <a:lstStyle/>
                <a:p>
                  <a:endParaRPr lang="en-GB"/>
                </a:p>
              </p:txBody>
            </p:sp>
          </p:grpSp>
          <p:grpSp>
            <p:nvGrpSpPr>
              <p:cNvPr id="1324" name="Graphic 3">
                <a:extLst>
                  <a:ext uri="{FF2B5EF4-FFF2-40B4-BE49-F238E27FC236}">
                    <a16:creationId xmlns:a16="http://schemas.microsoft.com/office/drawing/2014/main" id="{F44EC259-7399-4C4C-BC37-FEF0A217FA73}"/>
                  </a:ext>
                </a:extLst>
              </p:cNvPr>
              <p:cNvGrpSpPr/>
              <p:nvPr/>
            </p:nvGrpSpPr>
            <p:grpSpPr>
              <a:xfrm>
                <a:off x="4147985" y="4319427"/>
                <a:ext cx="278689" cy="163292"/>
                <a:chOff x="4147985" y="4319427"/>
                <a:chExt cx="278689" cy="163292"/>
              </a:xfrm>
              <a:grpFill/>
            </p:grpSpPr>
            <p:sp>
              <p:nvSpPr>
                <p:cNvPr id="1436" name="Vrije vorm: vorm 1435">
                  <a:extLst>
                    <a:ext uri="{FF2B5EF4-FFF2-40B4-BE49-F238E27FC236}">
                      <a16:creationId xmlns:a16="http://schemas.microsoft.com/office/drawing/2014/main" id="{79DF14A5-24EE-4345-964D-AD0321C4A68B}"/>
                    </a:ext>
                  </a:extLst>
                </p:cNvPr>
                <p:cNvSpPr/>
                <p:nvPr/>
              </p:nvSpPr>
              <p:spPr>
                <a:xfrm>
                  <a:off x="4156023" y="4327032"/>
                  <a:ext cx="262613" cy="148082"/>
                </a:xfrm>
                <a:custGeom>
                  <a:avLst/>
                  <a:gdLst>
                    <a:gd name="connsiteX0" fmla="*/ 262613 w 262613"/>
                    <a:gd name="connsiteY0" fmla="*/ 2691 h 148082"/>
                    <a:gd name="connsiteX1" fmla="*/ 1435 w 262613"/>
                    <a:gd name="connsiteY1" fmla="*/ 148083 h 148082"/>
                    <a:gd name="connsiteX2" fmla="*/ 0 w 262613"/>
                    <a:gd name="connsiteY2" fmla="*/ 145391 h 148082"/>
                    <a:gd name="connsiteX3" fmla="*/ 261118 w 262613"/>
                    <a:gd name="connsiteY3" fmla="*/ 0 h 148082"/>
                  </a:gdLst>
                  <a:ahLst/>
                  <a:cxnLst>
                    <a:cxn ang="0">
                      <a:pos x="connsiteX0" y="connsiteY0"/>
                    </a:cxn>
                    <a:cxn ang="0">
                      <a:pos x="connsiteX1" y="connsiteY1"/>
                    </a:cxn>
                    <a:cxn ang="0">
                      <a:pos x="connsiteX2" y="connsiteY2"/>
                    </a:cxn>
                    <a:cxn ang="0">
                      <a:pos x="connsiteX3" y="connsiteY3"/>
                    </a:cxn>
                  </a:cxnLst>
                  <a:rect l="l" t="t" r="r" b="b"/>
                  <a:pathLst>
                    <a:path w="262613" h="148082">
                      <a:moveTo>
                        <a:pt x="262613" y="2691"/>
                      </a:moveTo>
                      <a:lnTo>
                        <a:pt x="1435" y="148083"/>
                      </a:lnTo>
                      <a:lnTo>
                        <a:pt x="0" y="145391"/>
                      </a:lnTo>
                      <a:lnTo>
                        <a:pt x="261118" y="0"/>
                      </a:lnTo>
                      <a:close/>
                    </a:path>
                  </a:pathLst>
                </a:custGeom>
                <a:grpFill/>
                <a:ln w="5978" cap="flat">
                  <a:noFill/>
                  <a:prstDash val="solid"/>
                  <a:miter/>
                </a:ln>
              </p:spPr>
              <p:txBody>
                <a:bodyPr rtlCol="0" anchor="ctr"/>
                <a:lstStyle/>
                <a:p>
                  <a:endParaRPr lang="en-GB"/>
                </a:p>
              </p:txBody>
            </p:sp>
            <p:sp>
              <p:nvSpPr>
                <p:cNvPr id="1437" name="Vrije vorm: vorm 1436">
                  <a:extLst>
                    <a:ext uri="{FF2B5EF4-FFF2-40B4-BE49-F238E27FC236}">
                      <a16:creationId xmlns:a16="http://schemas.microsoft.com/office/drawing/2014/main" id="{CB53A5C8-FC14-4201-A5CA-9D6ABEC1EE32}"/>
                    </a:ext>
                  </a:extLst>
                </p:cNvPr>
                <p:cNvSpPr/>
                <p:nvPr/>
              </p:nvSpPr>
              <p:spPr>
                <a:xfrm>
                  <a:off x="4147985" y="4464340"/>
                  <a:ext cx="18315" cy="18379"/>
                </a:xfrm>
                <a:custGeom>
                  <a:avLst/>
                  <a:gdLst>
                    <a:gd name="connsiteX0" fmla="*/ 13600 w 18315"/>
                    <a:gd name="connsiteY0" fmla="*/ 17234 h 18379"/>
                    <a:gd name="connsiteX1" fmla="*/ 1160 w 18315"/>
                    <a:gd name="connsiteY1" fmla="*/ 13646 h 18379"/>
                    <a:gd name="connsiteX2" fmla="*/ 4689 w 18315"/>
                    <a:gd name="connsiteY2" fmla="*/ 1146 h 18379"/>
                    <a:gd name="connsiteX3" fmla="*/ 17129 w 18315"/>
                    <a:gd name="connsiteY3" fmla="*/ 4734 h 18379"/>
                    <a:gd name="connsiteX4" fmla="*/ 13600 w 18315"/>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79">
                      <a:moveTo>
                        <a:pt x="13600" y="17234"/>
                      </a:moveTo>
                      <a:cubicBezTo>
                        <a:pt x="9174" y="19686"/>
                        <a:pt x="3612" y="18071"/>
                        <a:pt x="1160" y="13646"/>
                      </a:cubicBezTo>
                      <a:cubicBezTo>
                        <a:pt x="-1292" y="9220"/>
                        <a:pt x="263" y="3598"/>
                        <a:pt x="4689" y="1146"/>
                      </a:cubicBezTo>
                      <a:cubicBezTo>
                        <a:pt x="9115" y="-1306"/>
                        <a:pt x="14677" y="308"/>
                        <a:pt x="17129" y="4734"/>
                      </a:cubicBezTo>
                      <a:cubicBezTo>
                        <a:pt x="19641" y="9160"/>
                        <a:pt x="18026" y="14782"/>
                        <a:pt x="13600" y="17234"/>
                      </a:cubicBezTo>
                      <a:close/>
                    </a:path>
                  </a:pathLst>
                </a:custGeom>
                <a:grpFill/>
                <a:ln w="5978" cap="flat">
                  <a:noFill/>
                  <a:prstDash val="solid"/>
                  <a:miter/>
                </a:ln>
              </p:spPr>
              <p:txBody>
                <a:bodyPr rtlCol="0" anchor="ctr"/>
                <a:lstStyle/>
                <a:p>
                  <a:endParaRPr lang="en-GB"/>
                </a:p>
              </p:txBody>
            </p:sp>
            <p:sp>
              <p:nvSpPr>
                <p:cNvPr id="1438" name="Vrije vorm: vorm 1437">
                  <a:extLst>
                    <a:ext uri="{FF2B5EF4-FFF2-40B4-BE49-F238E27FC236}">
                      <a16:creationId xmlns:a16="http://schemas.microsoft.com/office/drawing/2014/main" id="{F1FE1F89-B15A-4A43-8919-3DCF4395F1BB}"/>
                    </a:ext>
                  </a:extLst>
                </p:cNvPr>
                <p:cNvSpPr/>
                <p:nvPr/>
              </p:nvSpPr>
              <p:spPr>
                <a:xfrm>
                  <a:off x="4408386" y="4319427"/>
                  <a:ext cx="18288" cy="18379"/>
                </a:xfrm>
                <a:custGeom>
                  <a:avLst/>
                  <a:gdLst>
                    <a:gd name="connsiteX0" fmla="*/ 13600 w 18288"/>
                    <a:gd name="connsiteY0" fmla="*/ 17234 h 18379"/>
                    <a:gd name="connsiteX1" fmla="*/ 17129 w 18288"/>
                    <a:gd name="connsiteY1" fmla="*/ 4734 h 18379"/>
                    <a:gd name="connsiteX2" fmla="*/ 4689 w 18288"/>
                    <a:gd name="connsiteY2" fmla="*/ 1146 h 18379"/>
                    <a:gd name="connsiteX3" fmla="*/ 1160 w 18288"/>
                    <a:gd name="connsiteY3" fmla="*/ 13646 h 18379"/>
                    <a:gd name="connsiteX4" fmla="*/ 13600 w 18288"/>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79">
                      <a:moveTo>
                        <a:pt x="13600" y="17234"/>
                      </a:moveTo>
                      <a:cubicBezTo>
                        <a:pt x="18026" y="14782"/>
                        <a:pt x="19581" y="9160"/>
                        <a:pt x="17129" y="4734"/>
                      </a:cubicBezTo>
                      <a:cubicBezTo>
                        <a:pt x="14677" y="309"/>
                        <a:pt x="9055" y="-1306"/>
                        <a:pt x="4689" y="1146"/>
                      </a:cubicBezTo>
                      <a:cubicBezTo>
                        <a:pt x="263" y="3598"/>
                        <a:pt x="-1292" y="9220"/>
                        <a:pt x="1160" y="13646"/>
                      </a:cubicBezTo>
                      <a:cubicBezTo>
                        <a:pt x="3552" y="18071"/>
                        <a:pt x="9174" y="19686"/>
                        <a:pt x="13600" y="17234"/>
                      </a:cubicBezTo>
                      <a:close/>
                    </a:path>
                  </a:pathLst>
                </a:custGeom>
                <a:grpFill/>
                <a:ln w="5978" cap="flat">
                  <a:noFill/>
                  <a:prstDash val="solid"/>
                  <a:miter/>
                </a:ln>
              </p:spPr>
              <p:txBody>
                <a:bodyPr rtlCol="0" anchor="ctr"/>
                <a:lstStyle/>
                <a:p>
                  <a:endParaRPr lang="en-GB"/>
                </a:p>
              </p:txBody>
            </p:sp>
          </p:grpSp>
          <p:grpSp>
            <p:nvGrpSpPr>
              <p:cNvPr id="1325" name="Graphic 3">
                <a:extLst>
                  <a:ext uri="{FF2B5EF4-FFF2-40B4-BE49-F238E27FC236}">
                    <a16:creationId xmlns:a16="http://schemas.microsoft.com/office/drawing/2014/main" id="{47442E73-B5BE-4A14-878F-DB0A389A28AA}"/>
                  </a:ext>
                </a:extLst>
              </p:cNvPr>
              <p:cNvGrpSpPr/>
              <p:nvPr/>
            </p:nvGrpSpPr>
            <p:grpSpPr>
              <a:xfrm>
                <a:off x="4092189" y="3923856"/>
                <a:ext cx="62658" cy="30473"/>
                <a:chOff x="4092189" y="3923856"/>
                <a:chExt cx="62658" cy="30473"/>
              </a:xfrm>
              <a:grpFill/>
            </p:grpSpPr>
            <p:sp>
              <p:nvSpPr>
                <p:cNvPr id="1433" name="Vrije vorm: vorm 1432">
                  <a:extLst>
                    <a:ext uri="{FF2B5EF4-FFF2-40B4-BE49-F238E27FC236}">
                      <a16:creationId xmlns:a16="http://schemas.microsoft.com/office/drawing/2014/main" id="{3904DC68-C3C9-4EA0-988F-EBA953D8F108}"/>
                    </a:ext>
                  </a:extLst>
                </p:cNvPr>
                <p:cNvSpPr/>
                <p:nvPr/>
              </p:nvSpPr>
              <p:spPr>
                <a:xfrm>
                  <a:off x="4100499" y="3931314"/>
                  <a:ext cx="45993" cy="15203"/>
                </a:xfrm>
                <a:custGeom>
                  <a:avLst/>
                  <a:gdLst>
                    <a:gd name="connsiteX0" fmla="*/ 0 w 45993"/>
                    <a:gd name="connsiteY0" fmla="*/ 12260 h 15203"/>
                    <a:gd name="connsiteX1" fmla="*/ 45195 w 45993"/>
                    <a:gd name="connsiteY1" fmla="*/ 0 h 15203"/>
                    <a:gd name="connsiteX2" fmla="*/ 45993 w 45993"/>
                    <a:gd name="connsiteY2" fmla="*/ 2944 h 15203"/>
                    <a:gd name="connsiteX3" fmla="*/ 798 w 45993"/>
                    <a:gd name="connsiteY3" fmla="*/ 15204 h 15203"/>
                  </a:gdLst>
                  <a:ahLst/>
                  <a:cxnLst>
                    <a:cxn ang="0">
                      <a:pos x="connsiteX0" y="connsiteY0"/>
                    </a:cxn>
                    <a:cxn ang="0">
                      <a:pos x="connsiteX1" y="connsiteY1"/>
                    </a:cxn>
                    <a:cxn ang="0">
                      <a:pos x="connsiteX2" y="connsiteY2"/>
                    </a:cxn>
                    <a:cxn ang="0">
                      <a:pos x="connsiteX3" y="connsiteY3"/>
                    </a:cxn>
                  </a:cxnLst>
                  <a:rect l="l" t="t" r="r" b="b"/>
                  <a:pathLst>
                    <a:path w="45993" h="15203">
                      <a:moveTo>
                        <a:pt x="0" y="12260"/>
                      </a:moveTo>
                      <a:lnTo>
                        <a:pt x="45195" y="0"/>
                      </a:lnTo>
                      <a:lnTo>
                        <a:pt x="45993" y="2944"/>
                      </a:lnTo>
                      <a:lnTo>
                        <a:pt x="798" y="15204"/>
                      </a:lnTo>
                      <a:close/>
                    </a:path>
                  </a:pathLst>
                </a:custGeom>
                <a:grpFill/>
                <a:ln w="5978" cap="flat">
                  <a:noFill/>
                  <a:prstDash val="solid"/>
                  <a:miter/>
                </a:ln>
              </p:spPr>
              <p:txBody>
                <a:bodyPr rtlCol="0" anchor="ctr"/>
                <a:lstStyle/>
                <a:p>
                  <a:endParaRPr lang="en-GB"/>
                </a:p>
              </p:txBody>
            </p:sp>
            <p:sp>
              <p:nvSpPr>
                <p:cNvPr id="1434" name="Vrije vorm: vorm 1433">
                  <a:extLst>
                    <a:ext uri="{FF2B5EF4-FFF2-40B4-BE49-F238E27FC236}">
                      <a16:creationId xmlns:a16="http://schemas.microsoft.com/office/drawing/2014/main" id="{3125C934-0C72-433D-8FB1-9A1873792BF9}"/>
                    </a:ext>
                  </a:extLst>
                </p:cNvPr>
                <p:cNvSpPr/>
                <p:nvPr/>
              </p:nvSpPr>
              <p:spPr>
                <a:xfrm>
                  <a:off x="4092189" y="3935877"/>
                  <a:ext cx="18340" cy="18452"/>
                </a:xfrm>
                <a:custGeom>
                  <a:avLst/>
                  <a:gdLst>
                    <a:gd name="connsiteX0" fmla="*/ 11563 w 18340"/>
                    <a:gd name="connsiteY0" fmla="*/ 18137 h 18452"/>
                    <a:gd name="connsiteX1" fmla="*/ 319 w 18340"/>
                    <a:gd name="connsiteY1" fmla="*/ 11618 h 18452"/>
                    <a:gd name="connsiteX2" fmla="*/ 6778 w 18340"/>
                    <a:gd name="connsiteY2" fmla="*/ 315 h 18452"/>
                    <a:gd name="connsiteX3" fmla="*/ 18022 w 18340"/>
                    <a:gd name="connsiteY3" fmla="*/ 6834 h 18452"/>
                    <a:gd name="connsiteX4" fmla="*/ 11563 w 18340"/>
                    <a:gd name="connsiteY4" fmla="*/ 181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52">
                      <a:moveTo>
                        <a:pt x="11563" y="18137"/>
                      </a:moveTo>
                      <a:cubicBezTo>
                        <a:pt x="6659" y="19453"/>
                        <a:pt x="1635" y="16523"/>
                        <a:pt x="319" y="11618"/>
                      </a:cubicBezTo>
                      <a:cubicBezTo>
                        <a:pt x="-997" y="6714"/>
                        <a:pt x="1874" y="1630"/>
                        <a:pt x="6778" y="315"/>
                      </a:cubicBezTo>
                      <a:cubicBezTo>
                        <a:pt x="11682" y="-1001"/>
                        <a:pt x="16706" y="1930"/>
                        <a:pt x="18022" y="6834"/>
                      </a:cubicBezTo>
                      <a:cubicBezTo>
                        <a:pt x="19338" y="11738"/>
                        <a:pt x="16467" y="16822"/>
                        <a:pt x="11563" y="18137"/>
                      </a:cubicBezTo>
                      <a:close/>
                    </a:path>
                  </a:pathLst>
                </a:custGeom>
                <a:grpFill/>
                <a:ln w="5978" cap="flat">
                  <a:noFill/>
                  <a:prstDash val="solid"/>
                  <a:miter/>
                </a:ln>
              </p:spPr>
              <p:txBody>
                <a:bodyPr rtlCol="0" anchor="ctr"/>
                <a:lstStyle/>
                <a:p>
                  <a:endParaRPr lang="en-GB"/>
                </a:p>
              </p:txBody>
            </p:sp>
            <p:sp>
              <p:nvSpPr>
                <p:cNvPr id="1435" name="Vrije vorm: vorm 1434">
                  <a:extLst>
                    <a:ext uri="{FF2B5EF4-FFF2-40B4-BE49-F238E27FC236}">
                      <a16:creationId xmlns:a16="http://schemas.microsoft.com/office/drawing/2014/main" id="{E6A06F5D-52CF-40BA-AE83-31804B036319}"/>
                    </a:ext>
                  </a:extLst>
                </p:cNvPr>
                <p:cNvSpPr/>
                <p:nvPr/>
              </p:nvSpPr>
              <p:spPr>
                <a:xfrm>
                  <a:off x="4136506" y="3923856"/>
                  <a:ext cx="18341" cy="18456"/>
                </a:xfrm>
                <a:custGeom>
                  <a:avLst/>
                  <a:gdLst>
                    <a:gd name="connsiteX0" fmla="*/ 11563 w 18341"/>
                    <a:gd name="connsiteY0" fmla="*/ 18137 h 18456"/>
                    <a:gd name="connsiteX1" fmla="*/ 18022 w 18341"/>
                    <a:gd name="connsiteY1" fmla="*/ 6834 h 18456"/>
                    <a:gd name="connsiteX2" fmla="*/ 6778 w 18341"/>
                    <a:gd name="connsiteY2" fmla="*/ 315 h 18456"/>
                    <a:gd name="connsiteX3" fmla="*/ 319 w 18341"/>
                    <a:gd name="connsiteY3" fmla="*/ 11618 h 18456"/>
                    <a:gd name="connsiteX4" fmla="*/ 11563 w 18341"/>
                    <a:gd name="connsiteY4" fmla="*/ 1813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6">
                      <a:moveTo>
                        <a:pt x="11563" y="18137"/>
                      </a:moveTo>
                      <a:cubicBezTo>
                        <a:pt x="16467" y="16822"/>
                        <a:pt x="19338" y="11738"/>
                        <a:pt x="18022" y="6834"/>
                      </a:cubicBezTo>
                      <a:cubicBezTo>
                        <a:pt x="16706" y="1930"/>
                        <a:pt x="11623" y="-1001"/>
                        <a:pt x="6778" y="315"/>
                      </a:cubicBezTo>
                      <a:cubicBezTo>
                        <a:pt x="1874" y="1631"/>
                        <a:pt x="-997" y="6714"/>
                        <a:pt x="319" y="11618"/>
                      </a:cubicBezTo>
                      <a:cubicBezTo>
                        <a:pt x="1694" y="16582"/>
                        <a:pt x="6718" y="19453"/>
                        <a:pt x="11563" y="18137"/>
                      </a:cubicBezTo>
                      <a:close/>
                    </a:path>
                  </a:pathLst>
                </a:custGeom>
                <a:grpFill/>
                <a:ln w="5978" cap="flat">
                  <a:noFill/>
                  <a:prstDash val="solid"/>
                  <a:miter/>
                </a:ln>
              </p:spPr>
              <p:txBody>
                <a:bodyPr rtlCol="0" anchor="ctr"/>
                <a:lstStyle/>
                <a:p>
                  <a:endParaRPr lang="en-GB"/>
                </a:p>
              </p:txBody>
            </p:sp>
          </p:grpSp>
          <p:grpSp>
            <p:nvGrpSpPr>
              <p:cNvPr id="1326" name="Graphic 3">
                <a:extLst>
                  <a:ext uri="{FF2B5EF4-FFF2-40B4-BE49-F238E27FC236}">
                    <a16:creationId xmlns:a16="http://schemas.microsoft.com/office/drawing/2014/main" id="{E068733F-1236-4560-9ACB-307F2F86ACA2}"/>
                  </a:ext>
                </a:extLst>
              </p:cNvPr>
              <p:cNvGrpSpPr/>
              <p:nvPr/>
            </p:nvGrpSpPr>
            <p:grpSpPr>
              <a:xfrm>
                <a:off x="3931387" y="3410726"/>
                <a:ext cx="25658" cy="18420"/>
                <a:chOff x="3931387" y="3410726"/>
                <a:chExt cx="25658" cy="18420"/>
              </a:xfrm>
              <a:grpFill/>
            </p:grpSpPr>
            <p:sp>
              <p:nvSpPr>
                <p:cNvPr id="1431" name="Vrije vorm: vorm 1430">
                  <a:extLst>
                    <a:ext uri="{FF2B5EF4-FFF2-40B4-BE49-F238E27FC236}">
                      <a16:creationId xmlns:a16="http://schemas.microsoft.com/office/drawing/2014/main" id="{3416D82D-F919-46A3-B904-B7AE70DA5519}"/>
                    </a:ext>
                  </a:extLst>
                </p:cNvPr>
                <p:cNvSpPr/>
                <p:nvPr/>
              </p:nvSpPr>
              <p:spPr>
                <a:xfrm>
                  <a:off x="3938743" y="3410726"/>
                  <a:ext cx="18301" cy="18420"/>
                </a:xfrm>
                <a:custGeom>
                  <a:avLst/>
                  <a:gdLst>
                    <a:gd name="connsiteX0" fmla="*/ 9210 w 18301"/>
                    <a:gd name="connsiteY0" fmla="*/ 18421 h 18420"/>
                    <a:gd name="connsiteX1" fmla="*/ 0 w 18301"/>
                    <a:gd name="connsiteY1" fmla="*/ 9210 h 18420"/>
                    <a:gd name="connsiteX2" fmla="*/ 9091 w 18301"/>
                    <a:gd name="connsiteY2" fmla="*/ 0 h 18420"/>
                    <a:gd name="connsiteX3" fmla="*/ 18301 w 18301"/>
                    <a:gd name="connsiteY3" fmla="*/ 9210 h 18420"/>
                    <a:gd name="connsiteX4" fmla="*/ 9210 w 18301"/>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0">
                      <a:moveTo>
                        <a:pt x="9210" y="18421"/>
                      </a:moveTo>
                      <a:cubicBezTo>
                        <a:pt x="4127" y="18421"/>
                        <a:pt x="0" y="14294"/>
                        <a:pt x="0" y="9210"/>
                      </a:cubicBezTo>
                      <a:cubicBezTo>
                        <a:pt x="0" y="4127"/>
                        <a:pt x="4067" y="0"/>
                        <a:pt x="9091" y="0"/>
                      </a:cubicBezTo>
                      <a:cubicBezTo>
                        <a:pt x="14174" y="0"/>
                        <a:pt x="18301" y="4127"/>
                        <a:pt x="18301" y="9210"/>
                      </a:cubicBezTo>
                      <a:cubicBezTo>
                        <a:pt x="18361" y="14294"/>
                        <a:pt x="14294" y="18421"/>
                        <a:pt x="9210" y="18421"/>
                      </a:cubicBezTo>
                      <a:close/>
                    </a:path>
                  </a:pathLst>
                </a:custGeom>
                <a:grpFill/>
                <a:ln w="5978" cap="flat">
                  <a:noFill/>
                  <a:prstDash val="solid"/>
                  <a:miter/>
                </a:ln>
              </p:spPr>
              <p:txBody>
                <a:bodyPr rtlCol="0" anchor="ctr"/>
                <a:lstStyle/>
                <a:p>
                  <a:endParaRPr lang="en-GB"/>
                </a:p>
              </p:txBody>
            </p:sp>
            <p:sp>
              <p:nvSpPr>
                <p:cNvPr id="1432" name="Vrije vorm: vorm 1431">
                  <a:extLst>
                    <a:ext uri="{FF2B5EF4-FFF2-40B4-BE49-F238E27FC236}">
                      <a16:creationId xmlns:a16="http://schemas.microsoft.com/office/drawing/2014/main" id="{6C4C577E-1766-4335-8D00-5FECBFFBF314}"/>
                    </a:ext>
                  </a:extLst>
                </p:cNvPr>
                <p:cNvSpPr/>
                <p:nvPr/>
              </p:nvSpPr>
              <p:spPr>
                <a:xfrm>
                  <a:off x="3931387" y="3410726"/>
                  <a:ext cx="18302" cy="18420"/>
                </a:xfrm>
                <a:custGeom>
                  <a:avLst/>
                  <a:gdLst>
                    <a:gd name="connsiteX0" fmla="*/ 9211 w 18302"/>
                    <a:gd name="connsiteY0" fmla="*/ 18421 h 18420"/>
                    <a:gd name="connsiteX1" fmla="*/ 18302 w 18302"/>
                    <a:gd name="connsiteY1" fmla="*/ 9210 h 18420"/>
                    <a:gd name="connsiteX2" fmla="*/ 9091 w 18302"/>
                    <a:gd name="connsiteY2" fmla="*/ 0 h 18420"/>
                    <a:gd name="connsiteX3" fmla="*/ 1 w 18302"/>
                    <a:gd name="connsiteY3" fmla="*/ 9210 h 18420"/>
                    <a:gd name="connsiteX4" fmla="*/ 9211 w 18302"/>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211" y="18421"/>
                      </a:moveTo>
                      <a:cubicBezTo>
                        <a:pt x="14295" y="18421"/>
                        <a:pt x="18362" y="14294"/>
                        <a:pt x="18302" y="9210"/>
                      </a:cubicBezTo>
                      <a:cubicBezTo>
                        <a:pt x="18302" y="4127"/>
                        <a:pt x="14175" y="0"/>
                        <a:pt x="9091" y="0"/>
                      </a:cubicBezTo>
                      <a:cubicBezTo>
                        <a:pt x="4008" y="0"/>
                        <a:pt x="-59" y="4127"/>
                        <a:pt x="1" y="9210"/>
                      </a:cubicBezTo>
                      <a:cubicBezTo>
                        <a:pt x="1" y="14294"/>
                        <a:pt x="4127" y="18421"/>
                        <a:pt x="9211" y="18421"/>
                      </a:cubicBezTo>
                      <a:close/>
                    </a:path>
                  </a:pathLst>
                </a:custGeom>
                <a:grpFill/>
                <a:ln w="5978" cap="flat">
                  <a:noFill/>
                  <a:prstDash val="solid"/>
                  <a:miter/>
                </a:ln>
              </p:spPr>
              <p:txBody>
                <a:bodyPr rtlCol="0" anchor="ctr"/>
                <a:lstStyle/>
                <a:p>
                  <a:endParaRPr lang="en-GB"/>
                </a:p>
              </p:txBody>
            </p:sp>
          </p:grpSp>
          <p:grpSp>
            <p:nvGrpSpPr>
              <p:cNvPr id="1327" name="Graphic 3">
                <a:extLst>
                  <a:ext uri="{FF2B5EF4-FFF2-40B4-BE49-F238E27FC236}">
                    <a16:creationId xmlns:a16="http://schemas.microsoft.com/office/drawing/2014/main" id="{BE6D8FAE-64D5-4732-B8EC-70A426B7F558}"/>
                  </a:ext>
                </a:extLst>
              </p:cNvPr>
              <p:cNvGrpSpPr/>
              <p:nvPr/>
            </p:nvGrpSpPr>
            <p:grpSpPr>
              <a:xfrm>
                <a:off x="4205042" y="4525888"/>
                <a:ext cx="294596" cy="215866"/>
                <a:chOff x="4205042" y="4525888"/>
                <a:chExt cx="294596" cy="215866"/>
              </a:xfrm>
              <a:grpFill/>
            </p:grpSpPr>
            <p:sp>
              <p:nvSpPr>
                <p:cNvPr id="1428" name="Vrije vorm: vorm 1427">
                  <a:extLst>
                    <a:ext uri="{FF2B5EF4-FFF2-40B4-BE49-F238E27FC236}">
                      <a16:creationId xmlns:a16="http://schemas.microsoft.com/office/drawing/2014/main" id="{055867D4-21CA-41B9-927B-B81D45A7D433}"/>
                    </a:ext>
                  </a:extLst>
                </p:cNvPr>
                <p:cNvSpPr/>
                <p:nvPr/>
              </p:nvSpPr>
              <p:spPr>
                <a:xfrm>
                  <a:off x="4212959" y="4533606"/>
                  <a:ext cx="278761" cy="200473"/>
                </a:xfrm>
                <a:custGeom>
                  <a:avLst/>
                  <a:gdLst>
                    <a:gd name="connsiteX0" fmla="*/ 278762 w 278761"/>
                    <a:gd name="connsiteY0" fmla="*/ 2512 h 200473"/>
                    <a:gd name="connsiteX1" fmla="*/ 1735 w 278761"/>
                    <a:gd name="connsiteY1" fmla="*/ 200474 h 200473"/>
                    <a:gd name="connsiteX2" fmla="*/ 0 w 278761"/>
                    <a:gd name="connsiteY2" fmla="*/ 197962 h 200473"/>
                    <a:gd name="connsiteX3" fmla="*/ 276968 w 278761"/>
                    <a:gd name="connsiteY3" fmla="*/ 0 h 200473"/>
                  </a:gdLst>
                  <a:ahLst/>
                  <a:cxnLst>
                    <a:cxn ang="0">
                      <a:pos x="connsiteX0" y="connsiteY0"/>
                    </a:cxn>
                    <a:cxn ang="0">
                      <a:pos x="connsiteX1" y="connsiteY1"/>
                    </a:cxn>
                    <a:cxn ang="0">
                      <a:pos x="connsiteX2" y="connsiteY2"/>
                    </a:cxn>
                    <a:cxn ang="0">
                      <a:pos x="connsiteX3" y="connsiteY3"/>
                    </a:cxn>
                  </a:cxnLst>
                  <a:rect l="l" t="t" r="r" b="b"/>
                  <a:pathLst>
                    <a:path w="278761" h="200473">
                      <a:moveTo>
                        <a:pt x="278762" y="2512"/>
                      </a:moveTo>
                      <a:lnTo>
                        <a:pt x="1735" y="200474"/>
                      </a:lnTo>
                      <a:lnTo>
                        <a:pt x="0" y="197962"/>
                      </a:lnTo>
                      <a:lnTo>
                        <a:pt x="276968" y="0"/>
                      </a:lnTo>
                      <a:close/>
                    </a:path>
                  </a:pathLst>
                </a:custGeom>
                <a:grpFill/>
                <a:ln w="5978" cap="flat">
                  <a:noFill/>
                  <a:prstDash val="solid"/>
                  <a:miter/>
                </a:ln>
              </p:spPr>
              <p:txBody>
                <a:bodyPr rtlCol="0" anchor="ctr"/>
                <a:lstStyle/>
                <a:p>
                  <a:endParaRPr lang="en-GB"/>
                </a:p>
              </p:txBody>
            </p:sp>
            <p:sp>
              <p:nvSpPr>
                <p:cNvPr id="1429" name="Vrije vorm: vorm 1428">
                  <a:extLst>
                    <a:ext uri="{FF2B5EF4-FFF2-40B4-BE49-F238E27FC236}">
                      <a16:creationId xmlns:a16="http://schemas.microsoft.com/office/drawing/2014/main" id="{DCF0931C-AA03-4471-AC96-2C7A88978FF7}"/>
                    </a:ext>
                  </a:extLst>
                </p:cNvPr>
                <p:cNvSpPr/>
                <p:nvPr/>
              </p:nvSpPr>
              <p:spPr>
                <a:xfrm>
                  <a:off x="4205042" y="4723296"/>
                  <a:ext cx="18320" cy="18459"/>
                </a:xfrm>
                <a:custGeom>
                  <a:avLst/>
                  <a:gdLst>
                    <a:gd name="connsiteX0" fmla="*/ 14496 w 18320"/>
                    <a:gd name="connsiteY0" fmla="*/ 16765 h 18459"/>
                    <a:gd name="connsiteX1" fmla="*/ 1697 w 18320"/>
                    <a:gd name="connsiteY1" fmla="*/ 14552 h 18459"/>
                    <a:gd name="connsiteX2" fmla="*/ 3850 w 18320"/>
                    <a:gd name="connsiteY2" fmla="*/ 1694 h 18459"/>
                    <a:gd name="connsiteX3" fmla="*/ 16649 w 18320"/>
                    <a:gd name="connsiteY3" fmla="*/ 3907 h 18459"/>
                    <a:gd name="connsiteX4" fmla="*/ 14496 w 18320"/>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59">
                      <a:moveTo>
                        <a:pt x="14496" y="16765"/>
                      </a:moveTo>
                      <a:cubicBezTo>
                        <a:pt x="10370" y="19696"/>
                        <a:pt x="4628" y="18739"/>
                        <a:pt x="1697" y="14552"/>
                      </a:cubicBezTo>
                      <a:cubicBezTo>
                        <a:pt x="-1233" y="10426"/>
                        <a:pt x="-276" y="4624"/>
                        <a:pt x="3850" y="1694"/>
                      </a:cubicBezTo>
                      <a:cubicBezTo>
                        <a:pt x="7977" y="-1237"/>
                        <a:pt x="13719" y="-280"/>
                        <a:pt x="16649" y="3907"/>
                      </a:cubicBezTo>
                      <a:cubicBezTo>
                        <a:pt x="19520" y="8093"/>
                        <a:pt x="18623" y="13835"/>
                        <a:pt x="14496" y="16765"/>
                      </a:cubicBezTo>
                      <a:close/>
                    </a:path>
                  </a:pathLst>
                </a:custGeom>
                <a:grpFill/>
                <a:ln w="5978" cap="flat">
                  <a:noFill/>
                  <a:prstDash val="solid"/>
                  <a:miter/>
                </a:ln>
              </p:spPr>
              <p:txBody>
                <a:bodyPr rtlCol="0" anchor="ctr"/>
                <a:lstStyle/>
                <a:p>
                  <a:endParaRPr lang="en-GB"/>
                </a:p>
              </p:txBody>
            </p:sp>
            <p:sp>
              <p:nvSpPr>
                <p:cNvPr id="1430" name="Vrije vorm: vorm 1429">
                  <a:extLst>
                    <a:ext uri="{FF2B5EF4-FFF2-40B4-BE49-F238E27FC236}">
                      <a16:creationId xmlns:a16="http://schemas.microsoft.com/office/drawing/2014/main" id="{CBC9F85D-09B0-40D4-B798-AF12D0D9B1F5}"/>
                    </a:ext>
                  </a:extLst>
                </p:cNvPr>
                <p:cNvSpPr/>
                <p:nvPr/>
              </p:nvSpPr>
              <p:spPr>
                <a:xfrm>
                  <a:off x="4481292" y="4525888"/>
                  <a:ext cx="18346" cy="18442"/>
                </a:xfrm>
                <a:custGeom>
                  <a:avLst/>
                  <a:gdLst>
                    <a:gd name="connsiteX0" fmla="*/ 14496 w 18346"/>
                    <a:gd name="connsiteY0" fmla="*/ 16749 h 18442"/>
                    <a:gd name="connsiteX1" fmla="*/ 16649 w 18346"/>
                    <a:gd name="connsiteY1" fmla="*/ 3890 h 18442"/>
                    <a:gd name="connsiteX2" fmla="*/ 3850 w 18346"/>
                    <a:gd name="connsiteY2" fmla="*/ 1677 h 18442"/>
                    <a:gd name="connsiteX3" fmla="*/ 1697 w 18346"/>
                    <a:gd name="connsiteY3" fmla="*/ 14536 h 18442"/>
                    <a:gd name="connsiteX4" fmla="*/ 14496 w 18346"/>
                    <a:gd name="connsiteY4" fmla="*/ 167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2">
                      <a:moveTo>
                        <a:pt x="14496" y="16749"/>
                      </a:moveTo>
                      <a:cubicBezTo>
                        <a:pt x="18623" y="13818"/>
                        <a:pt x="19580" y="8077"/>
                        <a:pt x="16649" y="3890"/>
                      </a:cubicBezTo>
                      <a:cubicBezTo>
                        <a:pt x="13719" y="-237"/>
                        <a:pt x="7977" y="-1253"/>
                        <a:pt x="3850" y="1677"/>
                      </a:cubicBezTo>
                      <a:cubicBezTo>
                        <a:pt x="-276" y="4608"/>
                        <a:pt x="-1233" y="10349"/>
                        <a:pt x="1697" y="14536"/>
                      </a:cubicBezTo>
                      <a:cubicBezTo>
                        <a:pt x="4688" y="18722"/>
                        <a:pt x="10370" y="19679"/>
                        <a:pt x="14496" y="16749"/>
                      </a:cubicBezTo>
                      <a:close/>
                    </a:path>
                  </a:pathLst>
                </a:custGeom>
                <a:grpFill/>
                <a:ln w="5978" cap="flat">
                  <a:noFill/>
                  <a:prstDash val="solid"/>
                  <a:miter/>
                </a:ln>
              </p:spPr>
              <p:txBody>
                <a:bodyPr rtlCol="0" anchor="ctr"/>
                <a:lstStyle/>
                <a:p>
                  <a:endParaRPr lang="en-GB"/>
                </a:p>
              </p:txBody>
            </p:sp>
          </p:grpSp>
          <p:grpSp>
            <p:nvGrpSpPr>
              <p:cNvPr id="1328" name="Graphic 3">
                <a:extLst>
                  <a:ext uri="{FF2B5EF4-FFF2-40B4-BE49-F238E27FC236}">
                    <a16:creationId xmlns:a16="http://schemas.microsoft.com/office/drawing/2014/main" id="{73F89389-D074-4896-8658-ACFA1630BD48}"/>
                  </a:ext>
                </a:extLst>
              </p:cNvPr>
              <p:cNvGrpSpPr/>
              <p:nvPr/>
            </p:nvGrpSpPr>
            <p:grpSpPr>
              <a:xfrm>
                <a:off x="3907742" y="4139755"/>
                <a:ext cx="646268" cy="275034"/>
                <a:chOff x="3907742" y="4139755"/>
                <a:chExt cx="646268" cy="275034"/>
              </a:xfrm>
              <a:grpFill/>
            </p:grpSpPr>
            <p:sp>
              <p:nvSpPr>
                <p:cNvPr id="1425" name="Vrije vorm: vorm 1424">
                  <a:extLst>
                    <a:ext uri="{FF2B5EF4-FFF2-40B4-BE49-F238E27FC236}">
                      <a16:creationId xmlns:a16="http://schemas.microsoft.com/office/drawing/2014/main" id="{CCEEF305-AB2A-415C-810D-1CC99536DA51}"/>
                    </a:ext>
                  </a:extLst>
                </p:cNvPr>
                <p:cNvSpPr/>
                <p:nvPr/>
              </p:nvSpPr>
              <p:spPr>
                <a:xfrm>
                  <a:off x="3915738" y="4147508"/>
                  <a:ext cx="629917" cy="259708"/>
                </a:xfrm>
                <a:custGeom>
                  <a:avLst/>
                  <a:gdLst>
                    <a:gd name="connsiteX0" fmla="*/ 0 w 629917"/>
                    <a:gd name="connsiteY0" fmla="*/ 256885 h 259708"/>
                    <a:gd name="connsiteX1" fmla="*/ 628764 w 629917"/>
                    <a:gd name="connsiteY1" fmla="*/ 0 h 259708"/>
                    <a:gd name="connsiteX2" fmla="*/ 629917 w 629917"/>
                    <a:gd name="connsiteY2" fmla="*/ 2824 h 259708"/>
                    <a:gd name="connsiteX3" fmla="*/ 1154 w 629917"/>
                    <a:gd name="connsiteY3" fmla="*/ 259709 h 259708"/>
                  </a:gdLst>
                  <a:ahLst/>
                  <a:cxnLst>
                    <a:cxn ang="0">
                      <a:pos x="connsiteX0" y="connsiteY0"/>
                    </a:cxn>
                    <a:cxn ang="0">
                      <a:pos x="connsiteX1" y="connsiteY1"/>
                    </a:cxn>
                    <a:cxn ang="0">
                      <a:pos x="connsiteX2" y="connsiteY2"/>
                    </a:cxn>
                    <a:cxn ang="0">
                      <a:pos x="connsiteX3" y="connsiteY3"/>
                    </a:cxn>
                  </a:cxnLst>
                  <a:rect l="l" t="t" r="r" b="b"/>
                  <a:pathLst>
                    <a:path w="629917" h="259708">
                      <a:moveTo>
                        <a:pt x="0" y="256885"/>
                      </a:moveTo>
                      <a:lnTo>
                        <a:pt x="628764" y="0"/>
                      </a:lnTo>
                      <a:lnTo>
                        <a:pt x="629917" y="2824"/>
                      </a:lnTo>
                      <a:lnTo>
                        <a:pt x="1154" y="259709"/>
                      </a:lnTo>
                      <a:close/>
                    </a:path>
                  </a:pathLst>
                </a:custGeom>
                <a:grpFill/>
                <a:ln w="5978" cap="flat">
                  <a:noFill/>
                  <a:prstDash val="solid"/>
                  <a:miter/>
                </a:ln>
              </p:spPr>
              <p:txBody>
                <a:bodyPr rtlCol="0" anchor="ctr"/>
                <a:lstStyle/>
                <a:p>
                  <a:endParaRPr lang="en-GB"/>
                </a:p>
              </p:txBody>
            </p:sp>
            <p:sp>
              <p:nvSpPr>
                <p:cNvPr id="1426" name="Vrije vorm: vorm 1425">
                  <a:extLst>
                    <a:ext uri="{FF2B5EF4-FFF2-40B4-BE49-F238E27FC236}">
                      <a16:creationId xmlns:a16="http://schemas.microsoft.com/office/drawing/2014/main" id="{054BBF11-BAA3-453A-A28C-8545EB05B7C6}"/>
                    </a:ext>
                  </a:extLst>
                </p:cNvPr>
                <p:cNvSpPr/>
                <p:nvPr/>
              </p:nvSpPr>
              <p:spPr>
                <a:xfrm>
                  <a:off x="4535683" y="4139755"/>
                  <a:ext cx="18327" cy="18461"/>
                </a:xfrm>
                <a:custGeom>
                  <a:avLst/>
                  <a:gdLst>
                    <a:gd name="connsiteX0" fmla="*/ 5678 w 18327"/>
                    <a:gd name="connsiteY0" fmla="*/ 679 h 18461"/>
                    <a:gd name="connsiteX1" fmla="*/ 17640 w 18327"/>
                    <a:gd name="connsiteY1" fmla="*/ 5762 h 18461"/>
                    <a:gd name="connsiteX2" fmla="*/ 12616 w 18327"/>
                    <a:gd name="connsiteY2" fmla="*/ 17783 h 18461"/>
                    <a:gd name="connsiteX3" fmla="*/ 654 w 18327"/>
                    <a:gd name="connsiteY3" fmla="*/ 12699 h 18461"/>
                    <a:gd name="connsiteX4" fmla="*/ 5678 w 18327"/>
                    <a:gd name="connsiteY4" fmla="*/ 679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1">
                      <a:moveTo>
                        <a:pt x="5678" y="679"/>
                      </a:moveTo>
                      <a:cubicBezTo>
                        <a:pt x="10343" y="-1235"/>
                        <a:pt x="15726" y="1037"/>
                        <a:pt x="17640" y="5762"/>
                      </a:cubicBezTo>
                      <a:cubicBezTo>
                        <a:pt x="19554" y="10487"/>
                        <a:pt x="17341" y="15869"/>
                        <a:pt x="12616" y="17783"/>
                      </a:cubicBezTo>
                      <a:cubicBezTo>
                        <a:pt x="7951" y="19697"/>
                        <a:pt x="2568" y="17424"/>
                        <a:pt x="654" y="12699"/>
                      </a:cubicBezTo>
                      <a:cubicBezTo>
                        <a:pt x="-1200" y="7975"/>
                        <a:pt x="1013" y="2592"/>
                        <a:pt x="5678" y="679"/>
                      </a:cubicBezTo>
                      <a:close/>
                    </a:path>
                  </a:pathLst>
                </a:custGeom>
                <a:grpFill/>
                <a:ln w="5978" cap="flat">
                  <a:noFill/>
                  <a:prstDash val="solid"/>
                  <a:miter/>
                </a:ln>
              </p:spPr>
              <p:txBody>
                <a:bodyPr rtlCol="0" anchor="ctr"/>
                <a:lstStyle/>
                <a:p>
                  <a:endParaRPr lang="en-GB"/>
                </a:p>
              </p:txBody>
            </p:sp>
            <p:sp>
              <p:nvSpPr>
                <p:cNvPr id="1427" name="Vrije vorm: vorm 1426">
                  <a:extLst>
                    <a:ext uri="{FF2B5EF4-FFF2-40B4-BE49-F238E27FC236}">
                      <a16:creationId xmlns:a16="http://schemas.microsoft.com/office/drawing/2014/main" id="{69822D34-0FBD-4C36-B246-AEFAFFBE78A9}"/>
                    </a:ext>
                  </a:extLst>
                </p:cNvPr>
                <p:cNvSpPr/>
                <p:nvPr/>
              </p:nvSpPr>
              <p:spPr>
                <a:xfrm>
                  <a:off x="3907742" y="4396328"/>
                  <a:ext cx="18344" cy="18461"/>
                </a:xfrm>
                <a:custGeom>
                  <a:avLst/>
                  <a:gdLst>
                    <a:gd name="connsiteX0" fmla="*/ 5703 w 18344"/>
                    <a:gd name="connsiteY0" fmla="*/ 679 h 18461"/>
                    <a:gd name="connsiteX1" fmla="*/ 679 w 18344"/>
                    <a:gd name="connsiteY1" fmla="*/ 12700 h 18461"/>
                    <a:gd name="connsiteX2" fmla="*/ 12641 w 18344"/>
                    <a:gd name="connsiteY2" fmla="*/ 17783 h 18461"/>
                    <a:gd name="connsiteX3" fmla="*/ 17665 w 18344"/>
                    <a:gd name="connsiteY3" fmla="*/ 5762 h 18461"/>
                    <a:gd name="connsiteX4" fmla="*/ 5703 w 18344"/>
                    <a:gd name="connsiteY4" fmla="*/ 679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61">
                      <a:moveTo>
                        <a:pt x="5703" y="679"/>
                      </a:moveTo>
                      <a:cubicBezTo>
                        <a:pt x="1038" y="2592"/>
                        <a:pt x="-1235" y="7975"/>
                        <a:pt x="679" y="12700"/>
                      </a:cubicBezTo>
                      <a:cubicBezTo>
                        <a:pt x="2593" y="17424"/>
                        <a:pt x="7976" y="19697"/>
                        <a:pt x="12641" y="17783"/>
                      </a:cubicBezTo>
                      <a:cubicBezTo>
                        <a:pt x="17306" y="15870"/>
                        <a:pt x="19579" y="10487"/>
                        <a:pt x="17665" y="5762"/>
                      </a:cubicBezTo>
                      <a:cubicBezTo>
                        <a:pt x="15751" y="1037"/>
                        <a:pt x="10368" y="-1235"/>
                        <a:pt x="5703" y="679"/>
                      </a:cubicBezTo>
                      <a:close/>
                    </a:path>
                  </a:pathLst>
                </a:custGeom>
                <a:grpFill/>
                <a:ln w="5978" cap="flat">
                  <a:noFill/>
                  <a:prstDash val="solid"/>
                  <a:miter/>
                </a:ln>
              </p:spPr>
              <p:txBody>
                <a:bodyPr rtlCol="0" anchor="ctr"/>
                <a:lstStyle/>
                <a:p>
                  <a:endParaRPr lang="en-GB"/>
                </a:p>
              </p:txBody>
            </p:sp>
          </p:grpSp>
          <p:grpSp>
            <p:nvGrpSpPr>
              <p:cNvPr id="1329" name="Graphic 3">
                <a:extLst>
                  <a:ext uri="{FF2B5EF4-FFF2-40B4-BE49-F238E27FC236}">
                    <a16:creationId xmlns:a16="http://schemas.microsoft.com/office/drawing/2014/main" id="{B855CA34-AC8D-4CDA-93E6-101040A0721B}"/>
                  </a:ext>
                </a:extLst>
              </p:cNvPr>
              <p:cNvGrpSpPr/>
              <p:nvPr/>
            </p:nvGrpSpPr>
            <p:grpSpPr>
              <a:xfrm>
                <a:off x="4015119" y="3842539"/>
                <a:ext cx="162212" cy="51603"/>
                <a:chOff x="4015119" y="3842539"/>
                <a:chExt cx="162212" cy="51603"/>
              </a:xfrm>
              <a:grpFill/>
            </p:grpSpPr>
            <p:sp>
              <p:nvSpPr>
                <p:cNvPr id="1422" name="Vrije vorm: vorm 1421">
                  <a:extLst>
                    <a:ext uri="{FF2B5EF4-FFF2-40B4-BE49-F238E27FC236}">
                      <a16:creationId xmlns:a16="http://schemas.microsoft.com/office/drawing/2014/main" id="{84B8EBC6-B320-4960-A4DE-06633C668B44}"/>
                    </a:ext>
                  </a:extLst>
                </p:cNvPr>
                <p:cNvSpPr/>
                <p:nvPr/>
              </p:nvSpPr>
              <p:spPr>
                <a:xfrm>
                  <a:off x="4023532" y="3849874"/>
                  <a:ext cx="145416" cy="36486"/>
                </a:xfrm>
                <a:custGeom>
                  <a:avLst/>
                  <a:gdLst>
                    <a:gd name="connsiteX0" fmla="*/ 0 w 145416"/>
                    <a:gd name="connsiteY0" fmla="*/ 33515 h 36486"/>
                    <a:gd name="connsiteX1" fmla="*/ 144729 w 145416"/>
                    <a:gd name="connsiteY1" fmla="*/ 0 h 36486"/>
                    <a:gd name="connsiteX2" fmla="*/ 145417 w 145416"/>
                    <a:gd name="connsiteY2" fmla="*/ 2972 h 36486"/>
                    <a:gd name="connsiteX3" fmla="*/ 688 w 145416"/>
                    <a:gd name="connsiteY3" fmla="*/ 36487 h 36486"/>
                  </a:gdLst>
                  <a:ahLst/>
                  <a:cxnLst>
                    <a:cxn ang="0">
                      <a:pos x="connsiteX0" y="connsiteY0"/>
                    </a:cxn>
                    <a:cxn ang="0">
                      <a:pos x="connsiteX1" y="connsiteY1"/>
                    </a:cxn>
                    <a:cxn ang="0">
                      <a:pos x="connsiteX2" y="connsiteY2"/>
                    </a:cxn>
                    <a:cxn ang="0">
                      <a:pos x="connsiteX3" y="connsiteY3"/>
                    </a:cxn>
                  </a:cxnLst>
                  <a:rect l="l" t="t" r="r" b="b"/>
                  <a:pathLst>
                    <a:path w="145416" h="36486">
                      <a:moveTo>
                        <a:pt x="0" y="33515"/>
                      </a:moveTo>
                      <a:lnTo>
                        <a:pt x="144729" y="0"/>
                      </a:lnTo>
                      <a:lnTo>
                        <a:pt x="145417" y="2972"/>
                      </a:lnTo>
                      <a:lnTo>
                        <a:pt x="688" y="36487"/>
                      </a:lnTo>
                      <a:close/>
                    </a:path>
                  </a:pathLst>
                </a:custGeom>
                <a:grpFill/>
                <a:ln w="5978" cap="flat">
                  <a:noFill/>
                  <a:prstDash val="solid"/>
                  <a:miter/>
                </a:ln>
              </p:spPr>
              <p:txBody>
                <a:bodyPr rtlCol="0" anchor="ctr"/>
                <a:lstStyle/>
                <a:p>
                  <a:endParaRPr lang="en-GB"/>
                </a:p>
              </p:txBody>
            </p:sp>
            <p:sp>
              <p:nvSpPr>
                <p:cNvPr id="1423" name="Vrije vorm: vorm 1422">
                  <a:extLst>
                    <a:ext uri="{FF2B5EF4-FFF2-40B4-BE49-F238E27FC236}">
                      <a16:creationId xmlns:a16="http://schemas.microsoft.com/office/drawing/2014/main" id="{CEC32515-888C-4EAE-8A52-DABAF7744502}"/>
                    </a:ext>
                  </a:extLst>
                </p:cNvPr>
                <p:cNvSpPr/>
                <p:nvPr/>
              </p:nvSpPr>
              <p:spPr>
                <a:xfrm>
                  <a:off x="4015119" y="3875672"/>
                  <a:ext cx="18319" cy="18470"/>
                </a:xfrm>
                <a:custGeom>
                  <a:avLst/>
                  <a:gdLst>
                    <a:gd name="connsiteX0" fmla="*/ 11242 w 18319"/>
                    <a:gd name="connsiteY0" fmla="*/ 18236 h 18470"/>
                    <a:gd name="connsiteX1" fmla="*/ 238 w 18319"/>
                    <a:gd name="connsiteY1" fmla="*/ 11299 h 18470"/>
                    <a:gd name="connsiteX2" fmla="*/ 7056 w 18319"/>
                    <a:gd name="connsiteY2" fmla="*/ 234 h 18470"/>
                    <a:gd name="connsiteX3" fmla="*/ 18060 w 18319"/>
                    <a:gd name="connsiteY3" fmla="*/ 7172 h 18470"/>
                    <a:gd name="connsiteX4" fmla="*/ 11242 w 18319"/>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1242" y="18236"/>
                      </a:moveTo>
                      <a:cubicBezTo>
                        <a:pt x="6338" y="19373"/>
                        <a:pt x="1374" y="16262"/>
                        <a:pt x="238" y="11299"/>
                      </a:cubicBezTo>
                      <a:cubicBezTo>
                        <a:pt x="-899" y="6335"/>
                        <a:pt x="2151" y="1370"/>
                        <a:pt x="7056" y="234"/>
                      </a:cubicBezTo>
                      <a:cubicBezTo>
                        <a:pt x="11960" y="-902"/>
                        <a:pt x="16924" y="2208"/>
                        <a:pt x="18060" y="7172"/>
                      </a:cubicBezTo>
                      <a:cubicBezTo>
                        <a:pt x="19256" y="12136"/>
                        <a:pt x="16206" y="17100"/>
                        <a:pt x="11242" y="18236"/>
                      </a:cubicBezTo>
                      <a:close/>
                    </a:path>
                  </a:pathLst>
                </a:custGeom>
                <a:grpFill/>
                <a:ln w="5978" cap="flat">
                  <a:noFill/>
                  <a:prstDash val="solid"/>
                  <a:miter/>
                </a:ln>
              </p:spPr>
              <p:txBody>
                <a:bodyPr rtlCol="0" anchor="ctr"/>
                <a:lstStyle/>
                <a:p>
                  <a:endParaRPr lang="en-GB"/>
                </a:p>
              </p:txBody>
            </p:sp>
            <p:sp>
              <p:nvSpPr>
                <p:cNvPr id="1424" name="Vrije vorm: vorm 1423">
                  <a:extLst>
                    <a:ext uri="{FF2B5EF4-FFF2-40B4-BE49-F238E27FC236}">
                      <a16:creationId xmlns:a16="http://schemas.microsoft.com/office/drawing/2014/main" id="{1C66B30F-1FA2-41B7-95B7-A05BCE5C3276}"/>
                    </a:ext>
                  </a:extLst>
                </p:cNvPr>
                <p:cNvSpPr/>
                <p:nvPr/>
              </p:nvSpPr>
              <p:spPr>
                <a:xfrm>
                  <a:off x="4158996" y="3842539"/>
                  <a:ext cx="18335" cy="18470"/>
                </a:xfrm>
                <a:custGeom>
                  <a:avLst/>
                  <a:gdLst>
                    <a:gd name="connsiteX0" fmla="*/ 11261 w 18335"/>
                    <a:gd name="connsiteY0" fmla="*/ 18236 h 18470"/>
                    <a:gd name="connsiteX1" fmla="*/ 18079 w 18335"/>
                    <a:gd name="connsiteY1" fmla="*/ 7172 h 18470"/>
                    <a:gd name="connsiteX2" fmla="*/ 7075 w 18335"/>
                    <a:gd name="connsiteY2" fmla="*/ 234 h 18470"/>
                    <a:gd name="connsiteX3" fmla="*/ 256 w 18335"/>
                    <a:gd name="connsiteY3" fmla="*/ 11298 h 18470"/>
                    <a:gd name="connsiteX4" fmla="*/ 11261 w 18335"/>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70">
                      <a:moveTo>
                        <a:pt x="11261" y="18236"/>
                      </a:moveTo>
                      <a:cubicBezTo>
                        <a:pt x="16165" y="17100"/>
                        <a:pt x="19275" y="12136"/>
                        <a:pt x="18079" y="7172"/>
                      </a:cubicBezTo>
                      <a:cubicBezTo>
                        <a:pt x="16943" y="2208"/>
                        <a:pt x="11979" y="-902"/>
                        <a:pt x="7075" y="234"/>
                      </a:cubicBezTo>
                      <a:cubicBezTo>
                        <a:pt x="2170" y="1371"/>
                        <a:pt x="-940" y="6335"/>
                        <a:pt x="256" y="11298"/>
                      </a:cubicBezTo>
                      <a:cubicBezTo>
                        <a:pt x="1393" y="16262"/>
                        <a:pt x="6357" y="19373"/>
                        <a:pt x="11261" y="18236"/>
                      </a:cubicBezTo>
                      <a:close/>
                    </a:path>
                  </a:pathLst>
                </a:custGeom>
                <a:grpFill/>
                <a:ln w="5978" cap="flat">
                  <a:noFill/>
                  <a:prstDash val="solid"/>
                  <a:miter/>
                </a:ln>
              </p:spPr>
              <p:txBody>
                <a:bodyPr rtlCol="0" anchor="ctr"/>
                <a:lstStyle/>
                <a:p>
                  <a:endParaRPr lang="en-GB"/>
                </a:p>
              </p:txBody>
            </p:sp>
          </p:grpSp>
          <p:grpSp>
            <p:nvGrpSpPr>
              <p:cNvPr id="1330" name="Graphic 3">
                <a:extLst>
                  <a:ext uri="{FF2B5EF4-FFF2-40B4-BE49-F238E27FC236}">
                    <a16:creationId xmlns:a16="http://schemas.microsoft.com/office/drawing/2014/main" id="{A083868B-3E7C-4F77-B936-3D746FA94128}"/>
                  </a:ext>
                </a:extLst>
              </p:cNvPr>
              <p:cNvGrpSpPr/>
              <p:nvPr/>
            </p:nvGrpSpPr>
            <p:grpSpPr>
              <a:xfrm>
                <a:off x="4247473" y="4589073"/>
                <a:ext cx="227676" cy="174004"/>
                <a:chOff x="4247473" y="4589073"/>
                <a:chExt cx="227676" cy="174004"/>
              </a:xfrm>
              <a:grpFill/>
            </p:grpSpPr>
            <p:sp>
              <p:nvSpPr>
                <p:cNvPr id="1419" name="Vrije vorm: vorm 1418">
                  <a:extLst>
                    <a:ext uri="{FF2B5EF4-FFF2-40B4-BE49-F238E27FC236}">
                      <a16:creationId xmlns:a16="http://schemas.microsoft.com/office/drawing/2014/main" id="{A6424927-6EB0-4021-81A3-566CA4A61FEC}"/>
                    </a:ext>
                  </a:extLst>
                </p:cNvPr>
                <p:cNvSpPr/>
                <p:nvPr/>
              </p:nvSpPr>
              <p:spPr>
                <a:xfrm>
                  <a:off x="4255303" y="4596703"/>
                  <a:ext cx="211956" cy="158668"/>
                </a:xfrm>
                <a:custGeom>
                  <a:avLst/>
                  <a:gdLst>
                    <a:gd name="connsiteX0" fmla="*/ 211957 w 211956"/>
                    <a:gd name="connsiteY0" fmla="*/ 2512 h 158668"/>
                    <a:gd name="connsiteX1" fmla="*/ 1794 w 211956"/>
                    <a:gd name="connsiteY1" fmla="*/ 158668 h 158668"/>
                    <a:gd name="connsiteX2" fmla="*/ 0 w 211956"/>
                    <a:gd name="connsiteY2" fmla="*/ 156216 h 158668"/>
                    <a:gd name="connsiteX3" fmla="*/ 210103 w 211956"/>
                    <a:gd name="connsiteY3" fmla="*/ 0 h 158668"/>
                  </a:gdLst>
                  <a:ahLst/>
                  <a:cxnLst>
                    <a:cxn ang="0">
                      <a:pos x="connsiteX0" y="connsiteY0"/>
                    </a:cxn>
                    <a:cxn ang="0">
                      <a:pos x="connsiteX1" y="connsiteY1"/>
                    </a:cxn>
                    <a:cxn ang="0">
                      <a:pos x="connsiteX2" y="connsiteY2"/>
                    </a:cxn>
                    <a:cxn ang="0">
                      <a:pos x="connsiteX3" y="connsiteY3"/>
                    </a:cxn>
                  </a:cxnLst>
                  <a:rect l="l" t="t" r="r" b="b"/>
                  <a:pathLst>
                    <a:path w="211956" h="158668">
                      <a:moveTo>
                        <a:pt x="211957" y="2512"/>
                      </a:moveTo>
                      <a:lnTo>
                        <a:pt x="1794" y="158668"/>
                      </a:lnTo>
                      <a:lnTo>
                        <a:pt x="0" y="156216"/>
                      </a:lnTo>
                      <a:lnTo>
                        <a:pt x="210103" y="0"/>
                      </a:lnTo>
                      <a:close/>
                    </a:path>
                  </a:pathLst>
                </a:custGeom>
                <a:grpFill/>
                <a:ln w="5978" cap="flat">
                  <a:noFill/>
                  <a:prstDash val="solid"/>
                  <a:miter/>
                </a:ln>
              </p:spPr>
              <p:txBody>
                <a:bodyPr rtlCol="0" anchor="ctr"/>
                <a:lstStyle/>
                <a:p>
                  <a:endParaRPr lang="en-GB"/>
                </a:p>
              </p:txBody>
            </p:sp>
            <p:sp>
              <p:nvSpPr>
                <p:cNvPr id="1420" name="Vrije vorm: vorm 1419">
                  <a:extLst>
                    <a:ext uri="{FF2B5EF4-FFF2-40B4-BE49-F238E27FC236}">
                      <a16:creationId xmlns:a16="http://schemas.microsoft.com/office/drawing/2014/main" id="{3E8A19E7-386C-46FB-97FE-0E60A6225DC1}"/>
                    </a:ext>
                  </a:extLst>
                </p:cNvPr>
                <p:cNvSpPr/>
                <p:nvPr/>
              </p:nvSpPr>
              <p:spPr>
                <a:xfrm>
                  <a:off x="4247473" y="4744649"/>
                  <a:ext cx="18291" cy="18429"/>
                </a:xfrm>
                <a:custGeom>
                  <a:avLst/>
                  <a:gdLst>
                    <a:gd name="connsiteX0" fmla="*/ 14588 w 18291"/>
                    <a:gd name="connsiteY0" fmla="*/ 16644 h 18429"/>
                    <a:gd name="connsiteX1" fmla="*/ 1790 w 18291"/>
                    <a:gd name="connsiteY1" fmla="*/ 14670 h 18429"/>
                    <a:gd name="connsiteX2" fmla="*/ 3703 w 18291"/>
                    <a:gd name="connsiteY2" fmla="*/ 1811 h 18429"/>
                    <a:gd name="connsiteX3" fmla="*/ 16502 w 18291"/>
                    <a:gd name="connsiteY3" fmla="*/ 3785 h 18429"/>
                    <a:gd name="connsiteX4" fmla="*/ 14588 w 18291"/>
                    <a:gd name="connsiteY4" fmla="*/ 1664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29">
                      <a:moveTo>
                        <a:pt x="14588" y="16644"/>
                      </a:moveTo>
                      <a:cubicBezTo>
                        <a:pt x="10522" y="19634"/>
                        <a:pt x="4780" y="18797"/>
                        <a:pt x="1790" y="14670"/>
                      </a:cubicBezTo>
                      <a:cubicBezTo>
                        <a:pt x="-1201" y="10603"/>
                        <a:pt x="-363" y="4802"/>
                        <a:pt x="3703" y="1811"/>
                      </a:cubicBezTo>
                      <a:cubicBezTo>
                        <a:pt x="7770" y="-1239"/>
                        <a:pt x="13512" y="-342"/>
                        <a:pt x="16502" y="3785"/>
                      </a:cubicBezTo>
                      <a:cubicBezTo>
                        <a:pt x="19493" y="7852"/>
                        <a:pt x="18655" y="13594"/>
                        <a:pt x="14588" y="16644"/>
                      </a:cubicBezTo>
                      <a:close/>
                    </a:path>
                  </a:pathLst>
                </a:custGeom>
                <a:grpFill/>
                <a:ln w="5978" cap="flat">
                  <a:noFill/>
                  <a:prstDash val="solid"/>
                  <a:miter/>
                </a:ln>
              </p:spPr>
              <p:txBody>
                <a:bodyPr rtlCol="0" anchor="ctr"/>
                <a:lstStyle/>
                <a:p>
                  <a:endParaRPr lang="en-GB"/>
                </a:p>
              </p:txBody>
            </p:sp>
            <p:sp>
              <p:nvSpPr>
                <p:cNvPr id="1421" name="Vrije vorm: vorm 1420">
                  <a:extLst>
                    <a:ext uri="{FF2B5EF4-FFF2-40B4-BE49-F238E27FC236}">
                      <a16:creationId xmlns:a16="http://schemas.microsoft.com/office/drawing/2014/main" id="{B2B617D0-49B7-4304-A7EF-B4860E2B6E2C}"/>
                    </a:ext>
                  </a:extLst>
                </p:cNvPr>
                <p:cNvSpPr/>
                <p:nvPr/>
              </p:nvSpPr>
              <p:spPr>
                <a:xfrm>
                  <a:off x="4456858" y="4589073"/>
                  <a:ext cx="18291" cy="18368"/>
                </a:xfrm>
                <a:custGeom>
                  <a:avLst/>
                  <a:gdLst>
                    <a:gd name="connsiteX0" fmla="*/ 14588 w 18291"/>
                    <a:gd name="connsiteY0" fmla="*/ 16601 h 18368"/>
                    <a:gd name="connsiteX1" fmla="*/ 16502 w 18291"/>
                    <a:gd name="connsiteY1" fmla="*/ 3742 h 18368"/>
                    <a:gd name="connsiteX2" fmla="*/ 3703 w 18291"/>
                    <a:gd name="connsiteY2" fmla="*/ 1768 h 18368"/>
                    <a:gd name="connsiteX3" fmla="*/ 1790 w 18291"/>
                    <a:gd name="connsiteY3" fmla="*/ 14627 h 18368"/>
                    <a:gd name="connsiteX4" fmla="*/ 14588 w 18291"/>
                    <a:gd name="connsiteY4" fmla="*/ 16601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368">
                      <a:moveTo>
                        <a:pt x="14588" y="16601"/>
                      </a:moveTo>
                      <a:cubicBezTo>
                        <a:pt x="18655" y="13610"/>
                        <a:pt x="19493" y="7809"/>
                        <a:pt x="16502" y="3742"/>
                      </a:cubicBezTo>
                      <a:cubicBezTo>
                        <a:pt x="13512" y="-325"/>
                        <a:pt x="7770" y="-1222"/>
                        <a:pt x="3703" y="1768"/>
                      </a:cubicBezTo>
                      <a:cubicBezTo>
                        <a:pt x="-363" y="4759"/>
                        <a:pt x="-1201" y="10560"/>
                        <a:pt x="1790" y="14627"/>
                      </a:cubicBezTo>
                      <a:cubicBezTo>
                        <a:pt x="4780" y="18694"/>
                        <a:pt x="10522" y="19591"/>
                        <a:pt x="14588" y="16601"/>
                      </a:cubicBezTo>
                      <a:close/>
                    </a:path>
                  </a:pathLst>
                </a:custGeom>
                <a:grpFill/>
                <a:ln w="5978" cap="flat">
                  <a:noFill/>
                  <a:prstDash val="solid"/>
                  <a:miter/>
                </a:ln>
              </p:spPr>
              <p:txBody>
                <a:bodyPr rtlCol="0" anchor="ctr"/>
                <a:lstStyle/>
                <a:p>
                  <a:endParaRPr lang="en-GB"/>
                </a:p>
              </p:txBody>
            </p:sp>
          </p:grpSp>
          <p:grpSp>
            <p:nvGrpSpPr>
              <p:cNvPr id="1331" name="Graphic 3">
                <a:extLst>
                  <a:ext uri="{FF2B5EF4-FFF2-40B4-BE49-F238E27FC236}">
                    <a16:creationId xmlns:a16="http://schemas.microsoft.com/office/drawing/2014/main" id="{A93A166C-9CF4-45DC-8E07-7A8CFE4E09F0}"/>
                  </a:ext>
                </a:extLst>
              </p:cNvPr>
              <p:cNvGrpSpPr/>
              <p:nvPr/>
            </p:nvGrpSpPr>
            <p:grpSpPr>
              <a:xfrm>
                <a:off x="4118460" y="4347903"/>
                <a:ext cx="329187" cy="199089"/>
                <a:chOff x="4118460" y="4347903"/>
                <a:chExt cx="329187" cy="199089"/>
              </a:xfrm>
              <a:grpFill/>
            </p:grpSpPr>
            <p:sp>
              <p:nvSpPr>
                <p:cNvPr id="1416" name="Vrije vorm: vorm 1415">
                  <a:extLst>
                    <a:ext uri="{FF2B5EF4-FFF2-40B4-BE49-F238E27FC236}">
                      <a16:creationId xmlns:a16="http://schemas.microsoft.com/office/drawing/2014/main" id="{BCDD27BF-5927-45E1-B414-C8892250BAB8}"/>
                    </a:ext>
                  </a:extLst>
                </p:cNvPr>
                <p:cNvSpPr/>
                <p:nvPr/>
              </p:nvSpPr>
              <p:spPr>
                <a:xfrm>
                  <a:off x="4126538" y="4355500"/>
                  <a:ext cx="313090" cy="183847"/>
                </a:xfrm>
                <a:custGeom>
                  <a:avLst/>
                  <a:gdLst>
                    <a:gd name="connsiteX0" fmla="*/ 313091 w 313090"/>
                    <a:gd name="connsiteY0" fmla="*/ 2691 h 183847"/>
                    <a:gd name="connsiteX1" fmla="*/ 1495 w 313090"/>
                    <a:gd name="connsiteY1" fmla="*/ 183847 h 183847"/>
                    <a:gd name="connsiteX2" fmla="*/ 0 w 313090"/>
                    <a:gd name="connsiteY2" fmla="*/ 181216 h 183847"/>
                    <a:gd name="connsiteX3" fmla="*/ 311596 w 313090"/>
                    <a:gd name="connsiteY3" fmla="*/ 0 h 183847"/>
                  </a:gdLst>
                  <a:ahLst/>
                  <a:cxnLst>
                    <a:cxn ang="0">
                      <a:pos x="connsiteX0" y="connsiteY0"/>
                    </a:cxn>
                    <a:cxn ang="0">
                      <a:pos x="connsiteX1" y="connsiteY1"/>
                    </a:cxn>
                    <a:cxn ang="0">
                      <a:pos x="connsiteX2" y="connsiteY2"/>
                    </a:cxn>
                    <a:cxn ang="0">
                      <a:pos x="connsiteX3" y="connsiteY3"/>
                    </a:cxn>
                  </a:cxnLst>
                  <a:rect l="l" t="t" r="r" b="b"/>
                  <a:pathLst>
                    <a:path w="313090" h="183847">
                      <a:moveTo>
                        <a:pt x="313091" y="2691"/>
                      </a:moveTo>
                      <a:lnTo>
                        <a:pt x="1495" y="183847"/>
                      </a:lnTo>
                      <a:lnTo>
                        <a:pt x="0" y="181216"/>
                      </a:lnTo>
                      <a:lnTo>
                        <a:pt x="311596" y="0"/>
                      </a:lnTo>
                      <a:close/>
                    </a:path>
                  </a:pathLst>
                </a:custGeom>
                <a:grpFill/>
                <a:ln w="5978" cap="flat">
                  <a:noFill/>
                  <a:prstDash val="solid"/>
                  <a:miter/>
                </a:ln>
              </p:spPr>
              <p:txBody>
                <a:bodyPr rtlCol="0" anchor="ctr"/>
                <a:lstStyle/>
                <a:p>
                  <a:endParaRPr lang="en-GB"/>
                </a:p>
              </p:txBody>
            </p:sp>
            <p:sp>
              <p:nvSpPr>
                <p:cNvPr id="1417" name="Vrije vorm: vorm 1416">
                  <a:extLst>
                    <a:ext uri="{FF2B5EF4-FFF2-40B4-BE49-F238E27FC236}">
                      <a16:creationId xmlns:a16="http://schemas.microsoft.com/office/drawing/2014/main" id="{36567516-5905-4776-A751-1197838BE4FB}"/>
                    </a:ext>
                  </a:extLst>
                </p:cNvPr>
                <p:cNvSpPr/>
                <p:nvPr/>
              </p:nvSpPr>
              <p:spPr>
                <a:xfrm>
                  <a:off x="4118460" y="4528593"/>
                  <a:ext cx="18369" cy="18398"/>
                </a:xfrm>
                <a:custGeom>
                  <a:avLst/>
                  <a:gdLst>
                    <a:gd name="connsiteX0" fmla="*/ 13820 w 18369"/>
                    <a:gd name="connsiteY0" fmla="*/ 17154 h 18398"/>
                    <a:gd name="connsiteX1" fmla="*/ 1260 w 18369"/>
                    <a:gd name="connsiteY1" fmla="*/ 13804 h 18398"/>
                    <a:gd name="connsiteX2" fmla="*/ 4550 w 18369"/>
                    <a:gd name="connsiteY2" fmla="*/ 1245 h 18398"/>
                    <a:gd name="connsiteX3" fmla="*/ 17109 w 18369"/>
                    <a:gd name="connsiteY3" fmla="*/ 4594 h 18398"/>
                    <a:gd name="connsiteX4" fmla="*/ 13820 w 18369"/>
                    <a:gd name="connsiteY4" fmla="*/ 1715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8">
                      <a:moveTo>
                        <a:pt x="13820" y="17154"/>
                      </a:moveTo>
                      <a:cubicBezTo>
                        <a:pt x="9454" y="19725"/>
                        <a:pt x="3832" y="18171"/>
                        <a:pt x="1260" y="13804"/>
                      </a:cubicBezTo>
                      <a:cubicBezTo>
                        <a:pt x="-1311" y="9379"/>
                        <a:pt x="184" y="3757"/>
                        <a:pt x="4550" y="1245"/>
                      </a:cubicBezTo>
                      <a:cubicBezTo>
                        <a:pt x="8915" y="-1327"/>
                        <a:pt x="14537" y="228"/>
                        <a:pt x="17109" y="4594"/>
                      </a:cubicBezTo>
                      <a:cubicBezTo>
                        <a:pt x="19681" y="9020"/>
                        <a:pt x="18186" y="14642"/>
                        <a:pt x="13820" y="17154"/>
                      </a:cubicBezTo>
                      <a:close/>
                    </a:path>
                  </a:pathLst>
                </a:custGeom>
                <a:grpFill/>
                <a:ln w="5978" cap="flat">
                  <a:noFill/>
                  <a:prstDash val="solid"/>
                  <a:miter/>
                </a:ln>
              </p:spPr>
              <p:txBody>
                <a:bodyPr rtlCol="0" anchor="ctr"/>
                <a:lstStyle/>
                <a:p>
                  <a:endParaRPr lang="en-GB"/>
                </a:p>
              </p:txBody>
            </p:sp>
            <p:sp>
              <p:nvSpPr>
                <p:cNvPr id="1418" name="Vrije vorm: vorm 1417">
                  <a:extLst>
                    <a:ext uri="{FF2B5EF4-FFF2-40B4-BE49-F238E27FC236}">
                      <a16:creationId xmlns:a16="http://schemas.microsoft.com/office/drawing/2014/main" id="{507542BB-9495-4576-8726-A4F9D8E0AAD3}"/>
                    </a:ext>
                  </a:extLst>
                </p:cNvPr>
                <p:cNvSpPr/>
                <p:nvPr/>
              </p:nvSpPr>
              <p:spPr>
                <a:xfrm>
                  <a:off x="4429278" y="4347903"/>
                  <a:ext cx="18369" cy="18385"/>
                </a:xfrm>
                <a:custGeom>
                  <a:avLst/>
                  <a:gdLst>
                    <a:gd name="connsiteX0" fmla="*/ 13820 w 18369"/>
                    <a:gd name="connsiteY0" fmla="*/ 17167 h 18385"/>
                    <a:gd name="connsiteX1" fmla="*/ 17109 w 18369"/>
                    <a:gd name="connsiteY1" fmla="*/ 4607 h 18385"/>
                    <a:gd name="connsiteX2" fmla="*/ 4550 w 18369"/>
                    <a:gd name="connsiteY2" fmla="*/ 1258 h 18385"/>
                    <a:gd name="connsiteX3" fmla="*/ 1260 w 18369"/>
                    <a:gd name="connsiteY3" fmla="*/ 13818 h 18385"/>
                    <a:gd name="connsiteX4" fmla="*/ 13820 w 18369"/>
                    <a:gd name="connsiteY4" fmla="*/ 17167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85">
                      <a:moveTo>
                        <a:pt x="13820" y="17167"/>
                      </a:moveTo>
                      <a:cubicBezTo>
                        <a:pt x="18186" y="14595"/>
                        <a:pt x="19681" y="8974"/>
                        <a:pt x="17109" y="4607"/>
                      </a:cubicBezTo>
                      <a:cubicBezTo>
                        <a:pt x="14538" y="182"/>
                        <a:pt x="8976" y="-1313"/>
                        <a:pt x="4550" y="1258"/>
                      </a:cubicBezTo>
                      <a:cubicBezTo>
                        <a:pt x="184" y="3830"/>
                        <a:pt x="-1311" y="9452"/>
                        <a:pt x="1260" y="13818"/>
                      </a:cubicBezTo>
                      <a:cubicBezTo>
                        <a:pt x="3832" y="18184"/>
                        <a:pt x="9454" y="19679"/>
                        <a:pt x="13820" y="17167"/>
                      </a:cubicBezTo>
                      <a:close/>
                    </a:path>
                  </a:pathLst>
                </a:custGeom>
                <a:grpFill/>
                <a:ln w="5978" cap="flat">
                  <a:noFill/>
                  <a:prstDash val="solid"/>
                  <a:miter/>
                </a:ln>
              </p:spPr>
              <p:txBody>
                <a:bodyPr rtlCol="0" anchor="ctr"/>
                <a:lstStyle/>
                <a:p>
                  <a:endParaRPr lang="en-GB"/>
                </a:p>
              </p:txBody>
            </p:sp>
          </p:grpSp>
          <p:grpSp>
            <p:nvGrpSpPr>
              <p:cNvPr id="1332" name="Graphic 3">
                <a:extLst>
                  <a:ext uri="{FF2B5EF4-FFF2-40B4-BE49-F238E27FC236}">
                    <a16:creationId xmlns:a16="http://schemas.microsoft.com/office/drawing/2014/main" id="{B4FA2658-1D98-4E30-B06B-49A7C260F9F1}"/>
                  </a:ext>
                </a:extLst>
              </p:cNvPr>
              <p:cNvGrpSpPr/>
              <p:nvPr/>
            </p:nvGrpSpPr>
            <p:grpSpPr>
              <a:xfrm>
                <a:off x="4013335" y="3885069"/>
                <a:ext cx="143871" cy="49830"/>
                <a:chOff x="4013335" y="3885069"/>
                <a:chExt cx="143871" cy="49830"/>
              </a:xfrm>
              <a:grpFill/>
            </p:grpSpPr>
            <p:sp>
              <p:nvSpPr>
                <p:cNvPr id="1413" name="Vrije vorm: vorm 1412">
                  <a:extLst>
                    <a:ext uri="{FF2B5EF4-FFF2-40B4-BE49-F238E27FC236}">
                      <a16:creationId xmlns:a16="http://schemas.microsoft.com/office/drawing/2014/main" id="{8A605970-396D-42DD-87CB-23671E5F6FF1}"/>
                    </a:ext>
                  </a:extLst>
                </p:cNvPr>
                <p:cNvSpPr/>
                <p:nvPr/>
              </p:nvSpPr>
              <p:spPr>
                <a:xfrm>
                  <a:off x="4021714" y="3892769"/>
                  <a:ext cx="127152" cy="34652"/>
                </a:xfrm>
                <a:custGeom>
                  <a:avLst/>
                  <a:gdLst>
                    <a:gd name="connsiteX0" fmla="*/ 0 w 127152"/>
                    <a:gd name="connsiteY0" fmla="*/ 31694 h 34652"/>
                    <a:gd name="connsiteX1" fmla="*/ 126410 w 127152"/>
                    <a:gd name="connsiteY1" fmla="*/ 0 h 34652"/>
                    <a:gd name="connsiteX2" fmla="*/ 127152 w 127152"/>
                    <a:gd name="connsiteY2" fmla="*/ 2959 h 34652"/>
                    <a:gd name="connsiteX3" fmla="*/ 742 w 127152"/>
                    <a:gd name="connsiteY3" fmla="*/ 34652 h 34652"/>
                  </a:gdLst>
                  <a:ahLst/>
                  <a:cxnLst>
                    <a:cxn ang="0">
                      <a:pos x="connsiteX0" y="connsiteY0"/>
                    </a:cxn>
                    <a:cxn ang="0">
                      <a:pos x="connsiteX1" y="connsiteY1"/>
                    </a:cxn>
                    <a:cxn ang="0">
                      <a:pos x="connsiteX2" y="connsiteY2"/>
                    </a:cxn>
                    <a:cxn ang="0">
                      <a:pos x="connsiteX3" y="connsiteY3"/>
                    </a:cxn>
                  </a:cxnLst>
                  <a:rect l="l" t="t" r="r" b="b"/>
                  <a:pathLst>
                    <a:path w="127152" h="34652">
                      <a:moveTo>
                        <a:pt x="0" y="31694"/>
                      </a:moveTo>
                      <a:lnTo>
                        <a:pt x="126410" y="0"/>
                      </a:lnTo>
                      <a:lnTo>
                        <a:pt x="127152" y="2959"/>
                      </a:lnTo>
                      <a:lnTo>
                        <a:pt x="742" y="34652"/>
                      </a:lnTo>
                      <a:close/>
                    </a:path>
                  </a:pathLst>
                </a:custGeom>
                <a:grpFill/>
                <a:ln w="5978" cap="flat">
                  <a:noFill/>
                  <a:prstDash val="solid"/>
                  <a:miter/>
                </a:ln>
              </p:spPr>
              <p:txBody>
                <a:bodyPr rtlCol="0" anchor="ctr"/>
                <a:lstStyle/>
                <a:p>
                  <a:endParaRPr lang="en-GB"/>
                </a:p>
              </p:txBody>
            </p:sp>
            <p:sp>
              <p:nvSpPr>
                <p:cNvPr id="1414" name="Vrije vorm: vorm 1413">
                  <a:extLst>
                    <a:ext uri="{FF2B5EF4-FFF2-40B4-BE49-F238E27FC236}">
                      <a16:creationId xmlns:a16="http://schemas.microsoft.com/office/drawing/2014/main" id="{6206A9C7-CB30-4A7B-80D1-2F619486BD42}"/>
                    </a:ext>
                  </a:extLst>
                </p:cNvPr>
                <p:cNvSpPr/>
                <p:nvPr/>
              </p:nvSpPr>
              <p:spPr>
                <a:xfrm>
                  <a:off x="4013335" y="3916472"/>
                  <a:ext cx="18335" cy="18428"/>
                </a:xfrm>
                <a:custGeom>
                  <a:avLst/>
                  <a:gdLst>
                    <a:gd name="connsiteX0" fmla="*/ 11411 w 18335"/>
                    <a:gd name="connsiteY0" fmla="*/ 18165 h 18428"/>
                    <a:gd name="connsiteX1" fmla="*/ 287 w 18335"/>
                    <a:gd name="connsiteY1" fmla="*/ 11467 h 18428"/>
                    <a:gd name="connsiteX2" fmla="*/ 6925 w 18335"/>
                    <a:gd name="connsiteY2" fmla="*/ 283 h 18428"/>
                    <a:gd name="connsiteX3" fmla="*/ 18049 w 18335"/>
                    <a:gd name="connsiteY3" fmla="*/ 6981 h 18428"/>
                    <a:gd name="connsiteX4" fmla="*/ 11411 w 18335"/>
                    <a:gd name="connsiteY4" fmla="*/ 1816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8">
                      <a:moveTo>
                        <a:pt x="11411" y="18165"/>
                      </a:moveTo>
                      <a:cubicBezTo>
                        <a:pt x="6507" y="19361"/>
                        <a:pt x="1542" y="16371"/>
                        <a:pt x="287" y="11467"/>
                      </a:cubicBezTo>
                      <a:cubicBezTo>
                        <a:pt x="-969" y="6503"/>
                        <a:pt x="2021" y="1539"/>
                        <a:pt x="6925" y="283"/>
                      </a:cubicBezTo>
                      <a:cubicBezTo>
                        <a:pt x="11829" y="-973"/>
                        <a:pt x="16794" y="2077"/>
                        <a:pt x="18049" y="6981"/>
                      </a:cubicBezTo>
                      <a:cubicBezTo>
                        <a:pt x="19305" y="11945"/>
                        <a:pt x="16315" y="16909"/>
                        <a:pt x="11411" y="18165"/>
                      </a:cubicBezTo>
                      <a:close/>
                    </a:path>
                  </a:pathLst>
                </a:custGeom>
                <a:grpFill/>
                <a:ln w="5978" cap="flat">
                  <a:noFill/>
                  <a:prstDash val="solid"/>
                  <a:miter/>
                </a:ln>
              </p:spPr>
              <p:txBody>
                <a:bodyPr rtlCol="0" anchor="ctr"/>
                <a:lstStyle/>
                <a:p>
                  <a:endParaRPr lang="en-GB"/>
                </a:p>
              </p:txBody>
            </p:sp>
            <p:sp>
              <p:nvSpPr>
                <p:cNvPr id="1415" name="Vrije vorm: vorm 1414">
                  <a:extLst>
                    <a:ext uri="{FF2B5EF4-FFF2-40B4-BE49-F238E27FC236}">
                      <a16:creationId xmlns:a16="http://schemas.microsoft.com/office/drawing/2014/main" id="{2E24C2B1-A391-40C8-95AE-A828EBF5FD6A}"/>
                    </a:ext>
                  </a:extLst>
                </p:cNvPr>
                <p:cNvSpPr/>
                <p:nvPr/>
              </p:nvSpPr>
              <p:spPr>
                <a:xfrm>
                  <a:off x="4138871" y="3885069"/>
                  <a:ext cx="18335" cy="18432"/>
                </a:xfrm>
                <a:custGeom>
                  <a:avLst/>
                  <a:gdLst>
                    <a:gd name="connsiteX0" fmla="*/ 11411 w 18335"/>
                    <a:gd name="connsiteY0" fmla="*/ 18169 h 18432"/>
                    <a:gd name="connsiteX1" fmla="*/ 18049 w 18335"/>
                    <a:gd name="connsiteY1" fmla="*/ 6985 h 18432"/>
                    <a:gd name="connsiteX2" fmla="*/ 6925 w 18335"/>
                    <a:gd name="connsiteY2" fmla="*/ 286 h 18432"/>
                    <a:gd name="connsiteX3" fmla="*/ 287 w 18335"/>
                    <a:gd name="connsiteY3" fmla="*/ 11470 h 18432"/>
                    <a:gd name="connsiteX4" fmla="*/ 11411 w 18335"/>
                    <a:gd name="connsiteY4" fmla="*/ 18169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2">
                      <a:moveTo>
                        <a:pt x="11411" y="18169"/>
                      </a:moveTo>
                      <a:cubicBezTo>
                        <a:pt x="16315" y="16973"/>
                        <a:pt x="19305" y="11949"/>
                        <a:pt x="18049" y="6985"/>
                      </a:cubicBezTo>
                      <a:cubicBezTo>
                        <a:pt x="16794" y="2021"/>
                        <a:pt x="11829" y="-970"/>
                        <a:pt x="6925" y="286"/>
                      </a:cubicBezTo>
                      <a:cubicBezTo>
                        <a:pt x="2021" y="1483"/>
                        <a:pt x="-969" y="6506"/>
                        <a:pt x="287" y="11470"/>
                      </a:cubicBezTo>
                      <a:cubicBezTo>
                        <a:pt x="1483" y="16375"/>
                        <a:pt x="6507" y="19365"/>
                        <a:pt x="11411" y="18169"/>
                      </a:cubicBezTo>
                      <a:close/>
                    </a:path>
                  </a:pathLst>
                </a:custGeom>
                <a:grpFill/>
                <a:ln w="5978" cap="flat">
                  <a:noFill/>
                  <a:prstDash val="solid"/>
                  <a:miter/>
                </a:ln>
              </p:spPr>
              <p:txBody>
                <a:bodyPr rtlCol="0" anchor="ctr"/>
                <a:lstStyle/>
                <a:p>
                  <a:endParaRPr lang="en-GB"/>
                </a:p>
              </p:txBody>
            </p:sp>
          </p:grpSp>
          <p:grpSp>
            <p:nvGrpSpPr>
              <p:cNvPr id="1333" name="Graphic 3">
                <a:extLst>
                  <a:ext uri="{FF2B5EF4-FFF2-40B4-BE49-F238E27FC236}">
                    <a16:creationId xmlns:a16="http://schemas.microsoft.com/office/drawing/2014/main" id="{6E8AA8F8-5FB9-4F44-9980-574C442F239A}"/>
                  </a:ext>
                </a:extLst>
              </p:cNvPr>
              <p:cNvGrpSpPr/>
              <p:nvPr/>
            </p:nvGrpSpPr>
            <p:grpSpPr>
              <a:xfrm>
                <a:off x="4061387" y="4362838"/>
                <a:ext cx="429219" cy="267718"/>
                <a:chOff x="4061387" y="4362838"/>
                <a:chExt cx="429219" cy="267718"/>
              </a:xfrm>
              <a:grpFill/>
            </p:grpSpPr>
            <p:sp>
              <p:nvSpPr>
                <p:cNvPr id="1410" name="Vrije vorm: vorm 1409">
                  <a:extLst>
                    <a:ext uri="{FF2B5EF4-FFF2-40B4-BE49-F238E27FC236}">
                      <a16:creationId xmlns:a16="http://schemas.microsoft.com/office/drawing/2014/main" id="{AD78B29D-14BA-49F0-8701-3842E7A68581}"/>
                    </a:ext>
                  </a:extLst>
                </p:cNvPr>
                <p:cNvSpPr/>
                <p:nvPr/>
              </p:nvSpPr>
              <p:spPr>
                <a:xfrm>
                  <a:off x="4069363" y="4370452"/>
                  <a:ext cx="413267" cy="252446"/>
                </a:xfrm>
                <a:custGeom>
                  <a:avLst/>
                  <a:gdLst>
                    <a:gd name="connsiteX0" fmla="*/ 413268 w 413267"/>
                    <a:gd name="connsiteY0" fmla="*/ 2632 h 252446"/>
                    <a:gd name="connsiteX1" fmla="*/ 1615 w 413267"/>
                    <a:gd name="connsiteY1" fmla="*/ 252446 h 252446"/>
                    <a:gd name="connsiteX2" fmla="*/ 0 w 413267"/>
                    <a:gd name="connsiteY2" fmla="*/ 249815 h 252446"/>
                    <a:gd name="connsiteX3" fmla="*/ 411653 w 413267"/>
                    <a:gd name="connsiteY3" fmla="*/ 0 h 252446"/>
                  </a:gdLst>
                  <a:ahLst/>
                  <a:cxnLst>
                    <a:cxn ang="0">
                      <a:pos x="connsiteX0" y="connsiteY0"/>
                    </a:cxn>
                    <a:cxn ang="0">
                      <a:pos x="connsiteX1" y="connsiteY1"/>
                    </a:cxn>
                    <a:cxn ang="0">
                      <a:pos x="connsiteX2" y="connsiteY2"/>
                    </a:cxn>
                    <a:cxn ang="0">
                      <a:pos x="connsiteX3" y="connsiteY3"/>
                    </a:cxn>
                  </a:cxnLst>
                  <a:rect l="l" t="t" r="r" b="b"/>
                  <a:pathLst>
                    <a:path w="413267" h="252446">
                      <a:moveTo>
                        <a:pt x="413268" y="2632"/>
                      </a:moveTo>
                      <a:lnTo>
                        <a:pt x="1615" y="252446"/>
                      </a:lnTo>
                      <a:lnTo>
                        <a:pt x="0" y="249815"/>
                      </a:lnTo>
                      <a:lnTo>
                        <a:pt x="411653" y="0"/>
                      </a:lnTo>
                      <a:close/>
                    </a:path>
                  </a:pathLst>
                </a:custGeom>
                <a:grpFill/>
                <a:ln w="5978" cap="flat">
                  <a:noFill/>
                  <a:prstDash val="solid"/>
                  <a:miter/>
                </a:ln>
              </p:spPr>
              <p:txBody>
                <a:bodyPr rtlCol="0" anchor="ctr"/>
                <a:lstStyle/>
                <a:p>
                  <a:endParaRPr lang="en-GB"/>
                </a:p>
              </p:txBody>
            </p:sp>
            <p:sp>
              <p:nvSpPr>
                <p:cNvPr id="1411" name="Vrije vorm: vorm 1410">
                  <a:extLst>
                    <a:ext uri="{FF2B5EF4-FFF2-40B4-BE49-F238E27FC236}">
                      <a16:creationId xmlns:a16="http://schemas.microsoft.com/office/drawing/2014/main" id="{C555A7FF-7798-456E-90F8-2B9FEC1B3C04}"/>
                    </a:ext>
                  </a:extLst>
                </p:cNvPr>
                <p:cNvSpPr/>
                <p:nvPr/>
              </p:nvSpPr>
              <p:spPr>
                <a:xfrm>
                  <a:off x="4061387" y="4612130"/>
                  <a:ext cx="18343" cy="18426"/>
                </a:xfrm>
                <a:custGeom>
                  <a:avLst/>
                  <a:gdLst>
                    <a:gd name="connsiteX0" fmla="*/ 13957 w 18343"/>
                    <a:gd name="connsiteY0" fmla="*/ 17108 h 18426"/>
                    <a:gd name="connsiteX1" fmla="*/ 1337 w 18343"/>
                    <a:gd name="connsiteY1" fmla="*/ 13938 h 18426"/>
                    <a:gd name="connsiteX2" fmla="*/ 4387 w 18343"/>
                    <a:gd name="connsiteY2" fmla="*/ 1318 h 18426"/>
                    <a:gd name="connsiteX3" fmla="*/ 17006 w 18343"/>
                    <a:gd name="connsiteY3" fmla="*/ 4488 h 18426"/>
                    <a:gd name="connsiteX4" fmla="*/ 13957 w 18343"/>
                    <a:gd name="connsiteY4" fmla="*/ 1710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6">
                      <a:moveTo>
                        <a:pt x="13957" y="17108"/>
                      </a:moveTo>
                      <a:cubicBezTo>
                        <a:pt x="9650" y="19739"/>
                        <a:pt x="3968" y="18304"/>
                        <a:pt x="1337" y="13938"/>
                      </a:cubicBezTo>
                      <a:cubicBezTo>
                        <a:pt x="-1295" y="9572"/>
                        <a:pt x="81" y="3890"/>
                        <a:pt x="4387" y="1318"/>
                      </a:cubicBezTo>
                      <a:cubicBezTo>
                        <a:pt x="8693" y="-1313"/>
                        <a:pt x="14375" y="122"/>
                        <a:pt x="17006" y="4488"/>
                      </a:cubicBezTo>
                      <a:cubicBezTo>
                        <a:pt x="19638" y="8854"/>
                        <a:pt x="18263" y="14476"/>
                        <a:pt x="13957" y="17108"/>
                      </a:cubicBezTo>
                      <a:close/>
                    </a:path>
                  </a:pathLst>
                </a:custGeom>
                <a:grpFill/>
                <a:ln w="5978" cap="flat">
                  <a:noFill/>
                  <a:prstDash val="solid"/>
                  <a:miter/>
                </a:ln>
              </p:spPr>
              <p:txBody>
                <a:bodyPr rtlCol="0" anchor="ctr"/>
                <a:lstStyle/>
                <a:p>
                  <a:endParaRPr lang="en-GB"/>
                </a:p>
              </p:txBody>
            </p:sp>
            <p:sp>
              <p:nvSpPr>
                <p:cNvPr id="1412" name="Vrije vorm: vorm 1411">
                  <a:extLst>
                    <a:ext uri="{FF2B5EF4-FFF2-40B4-BE49-F238E27FC236}">
                      <a16:creationId xmlns:a16="http://schemas.microsoft.com/office/drawing/2014/main" id="{63A60CDD-424B-4859-87C7-67A38DBEBDE6}"/>
                    </a:ext>
                  </a:extLst>
                </p:cNvPr>
                <p:cNvSpPr/>
                <p:nvPr/>
              </p:nvSpPr>
              <p:spPr>
                <a:xfrm>
                  <a:off x="4472262" y="4362838"/>
                  <a:ext cx="18343" cy="18398"/>
                </a:xfrm>
                <a:custGeom>
                  <a:avLst/>
                  <a:gdLst>
                    <a:gd name="connsiteX0" fmla="*/ 13956 w 18343"/>
                    <a:gd name="connsiteY0" fmla="*/ 17064 h 18398"/>
                    <a:gd name="connsiteX1" fmla="*/ 17006 w 18343"/>
                    <a:gd name="connsiteY1" fmla="*/ 4445 h 18398"/>
                    <a:gd name="connsiteX2" fmla="*/ 4387 w 18343"/>
                    <a:gd name="connsiteY2" fmla="*/ 1335 h 18398"/>
                    <a:gd name="connsiteX3" fmla="*/ 1337 w 18343"/>
                    <a:gd name="connsiteY3" fmla="*/ 13954 h 18398"/>
                    <a:gd name="connsiteX4" fmla="*/ 13956 w 18343"/>
                    <a:gd name="connsiteY4" fmla="*/ 1706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8">
                      <a:moveTo>
                        <a:pt x="13956" y="17064"/>
                      </a:moveTo>
                      <a:cubicBezTo>
                        <a:pt x="18263" y="14432"/>
                        <a:pt x="19638" y="8751"/>
                        <a:pt x="17006" y="4445"/>
                      </a:cubicBezTo>
                      <a:cubicBezTo>
                        <a:pt x="14375" y="79"/>
                        <a:pt x="8753" y="-1297"/>
                        <a:pt x="4387" y="1335"/>
                      </a:cubicBezTo>
                      <a:cubicBezTo>
                        <a:pt x="81" y="3966"/>
                        <a:pt x="-1295" y="9648"/>
                        <a:pt x="1337" y="13954"/>
                      </a:cubicBezTo>
                      <a:cubicBezTo>
                        <a:pt x="3968" y="18320"/>
                        <a:pt x="9590" y="19695"/>
                        <a:pt x="13956" y="17064"/>
                      </a:cubicBezTo>
                      <a:close/>
                    </a:path>
                  </a:pathLst>
                </a:custGeom>
                <a:grpFill/>
                <a:ln w="5978" cap="flat">
                  <a:noFill/>
                  <a:prstDash val="solid"/>
                  <a:miter/>
                </a:ln>
              </p:spPr>
              <p:txBody>
                <a:bodyPr rtlCol="0" anchor="ctr"/>
                <a:lstStyle/>
                <a:p>
                  <a:endParaRPr lang="en-GB"/>
                </a:p>
              </p:txBody>
            </p:sp>
          </p:grpSp>
          <p:grpSp>
            <p:nvGrpSpPr>
              <p:cNvPr id="1334" name="Graphic 3">
                <a:extLst>
                  <a:ext uri="{FF2B5EF4-FFF2-40B4-BE49-F238E27FC236}">
                    <a16:creationId xmlns:a16="http://schemas.microsoft.com/office/drawing/2014/main" id="{93053662-723F-4BF2-AF63-F01DF5B9B018}"/>
                  </a:ext>
                </a:extLst>
              </p:cNvPr>
              <p:cNvGrpSpPr/>
              <p:nvPr/>
            </p:nvGrpSpPr>
            <p:grpSpPr>
              <a:xfrm>
                <a:off x="3803233" y="4112106"/>
                <a:ext cx="735655" cy="300217"/>
                <a:chOff x="3803233" y="4112106"/>
                <a:chExt cx="735655" cy="300217"/>
              </a:xfrm>
              <a:grpFill/>
            </p:grpSpPr>
            <p:sp>
              <p:nvSpPr>
                <p:cNvPr id="1407" name="Vrije vorm: vorm 1406">
                  <a:extLst>
                    <a:ext uri="{FF2B5EF4-FFF2-40B4-BE49-F238E27FC236}">
                      <a16:creationId xmlns:a16="http://schemas.microsoft.com/office/drawing/2014/main" id="{006E5FF0-71E7-4777-AB57-22085E971574}"/>
                    </a:ext>
                  </a:extLst>
                </p:cNvPr>
                <p:cNvSpPr/>
                <p:nvPr/>
              </p:nvSpPr>
              <p:spPr>
                <a:xfrm>
                  <a:off x="3811414" y="4119740"/>
                  <a:ext cx="719301" cy="285041"/>
                </a:xfrm>
                <a:custGeom>
                  <a:avLst/>
                  <a:gdLst>
                    <a:gd name="connsiteX0" fmla="*/ 719301 w 719301"/>
                    <a:gd name="connsiteY0" fmla="*/ 2871 h 285041"/>
                    <a:gd name="connsiteX1" fmla="*/ 1136 w 719301"/>
                    <a:gd name="connsiteY1" fmla="*/ 285041 h 285041"/>
                    <a:gd name="connsiteX2" fmla="*/ 0 w 719301"/>
                    <a:gd name="connsiteY2" fmla="*/ 282170 h 285041"/>
                    <a:gd name="connsiteX3" fmla="*/ 718165 w 719301"/>
                    <a:gd name="connsiteY3" fmla="*/ 0 h 285041"/>
                  </a:gdLst>
                  <a:ahLst/>
                  <a:cxnLst>
                    <a:cxn ang="0">
                      <a:pos x="connsiteX0" y="connsiteY0"/>
                    </a:cxn>
                    <a:cxn ang="0">
                      <a:pos x="connsiteX1" y="connsiteY1"/>
                    </a:cxn>
                    <a:cxn ang="0">
                      <a:pos x="connsiteX2" y="connsiteY2"/>
                    </a:cxn>
                    <a:cxn ang="0">
                      <a:pos x="connsiteX3" y="connsiteY3"/>
                    </a:cxn>
                  </a:cxnLst>
                  <a:rect l="l" t="t" r="r" b="b"/>
                  <a:pathLst>
                    <a:path w="719301" h="285041">
                      <a:moveTo>
                        <a:pt x="719301" y="2871"/>
                      </a:moveTo>
                      <a:lnTo>
                        <a:pt x="1136" y="285041"/>
                      </a:lnTo>
                      <a:lnTo>
                        <a:pt x="0" y="282170"/>
                      </a:lnTo>
                      <a:lnTo>
                        <a:pt x="718165" y="0"/>
                      </a:lnTo>
                      <a:close/>
                    </a:path>
                  </a:pathLst>
                </a:custGeom>
                <a:grpFill/>
                <a:ln w="5978" cap="flat">
                  <a:noFill/>
                  <a:prstDash val="solid"/>
                  <a:miter/>
                </a:ln>
              </p:spPr>
              <p:txBody>
                <a:bodyPr rtlCol="0" anchor="ctr"/>
                <a:lstStyle/>
                <a:p>
                  <a:endParaRPr lang="en-GB"/>
                </a:p>
              </p:txBody>
            </p:sp>
            <p:sp>
              <p:nvSpPr>
                <p:cNvPr id="1408" name="Vrije vorm: vorm 1407">
                  <a:extLst>
                    <a:ext uri="{FF2B5EF4-FFF2-40B4-BE49-F238E27FC236}">
                      <a16:creationId xmlns:a16="http://schemas.microsoft.com/office/drawing/2014/main" id="{049B8434-E486-446E-B99B-0B44D238C69D}"/>
                    </a:ext>
                  </a:extLst>
                </p:cNvPr>
                <p:cNvSpPr/>
                <p:nvPr/>
              </p:nvSpPr>
              <p:spPr>
                <a:xfrm>
                  <a:off x="4520568" y="4112106"/>
                  <a:ext cx="18320" cy="18437"/>
                </a:xfrm>
                <a:custGeom>
                  <a:avLst/>
                  <a:gdLst>
                    <a:gd name="connsiteX0" fmla="*/ 5781 w 18320"/>
                    <a:gd name="connsiteY0" fmla="*/ 637 h 18437"/>
                    <a:gd name="connsiteX1" fmla="*/ 17682 w 18320"/>
                    <a:gd name="connsiteY1" fmla="*/ 5840 h 18437"/>
                    <a:gd name="connsiteX2" fmla="*/ 12539 w 18320"/>
                    <a:gd name="connsiteY2" fmla="*/ 17801 h 18437"/>
                    <a:gd name="connsiteX3" fmla="*/ 638 w 18320"/>
                    <a:gd name="connsiteY3" fmla="*/ 12538 h 18437"/>
                    <a:gd name="connsiteX4" fmla="*/ 5781 w 18320"/>
                    <a:gd name="connsiteY4" fmla="*/ 637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7">
                      <a:moveTo>
                        <a:pt x="5781" y="637"/>
                      </a:moveTo>
                      <a:cubicBezTo>
                        <a:pt x="10506" y="-1217"/>
                        <a:pt x="15828" y="1115"/>
                        <a:pt x="17682" y="5840"/>
                      </a:cubicBezTo>
                      <a:cubicBezTo>
                        <a:pt x="19536" y="10565"/>
                        <a:pt x="17204" y="15947"/>
                        <a:pt x="12539" y="17801"/>
                      </a:cubicBezTo>
                      <a:cubicBezTo>
                        <a:pt x="7814" y="19655"/>
                        <a:pt x="2492" y="17323"/>
                        <a:pt x="638" y="12538"/>
                      </a:cubicBezTo>
                      <a:cubicBezTo>
                        <a:pt x="-1216" y="7813"/>
                        <a:pt x="1116" y="2491"/>
                        <a:pt x="5781" y="637"/>
                      </a:cubicBezTo>
                      <a:close/>
                    </a:path>
                  </a:pathLst>
                </a:custGeom>
                <a:grpFill/>
                <a:ln w="5978" cap="flat">
                  <a:noFill/>
                  <a:prstDash val="solid"/>
                  <a:miter/>
                </a:ln>
              </p:spPr>
              <p:txBody>
                <a:bodyPr rtlCol="0" anchor="ctr"/>
                <a:lstStyle/>
                <a:p>
                  <a:endParaRPr lang="en-GB"/>
                </a:p>
              </p:txBody>
            </p:sp>
            <p:sp>
              <p:nvSpPr>
                <p:cNvPr id="1409" name="Vrije vorm: vorm 1408">
                  <a:extLst>
                    <a:ext uri="{FF2B5EF4-FFF2-40B4-BE49-F238E27FC236}">
                      <a16:creationId xmlns:a16="http://schemas.microsoft.com/office/drawing/2014/main" id="{D7AEE0FB-B42D-4C0A-965F-BA3B69924430}"/>
                    </a:ext>
                  </a:extLst>
                </p:cNvPr>
                <p:cNvSpPr/>
                <p:nvPr/>
              </p:nvSpPr>
              <p:spPr>
                <a:xfrm>
                  <a:off x="3803233" y="4393950"/>
                  <a:ext cx="18335" cy="18373"/>
                </a:xfrm>
                <a:custGeom>
                  <a:avLst/>
                  <a:gdLst>
                    <a:gd name="connsiteX0" fmla="*/ 5788 w 18335"/>
                    <a:gd name="connsiteY0" fmla="*/ 605 h 18373"/>
                    <a:gd name="connsiteX1" fmla="*/ 645 w 18335"/>
                    <a:gd name="connsiteY1" fmla="*/ 12507 h 18373"/>
                    <a:gd name="connsiteX2" fmla="*/ 12547 w 18335"/>
                    <a:gd name="connsiteY2" fmla="*/ 17770 h 18373"/>
                    <a:gd name="connsiteX3" fmla="*/ 17690 w 18335"/>
                    <a:gd name="connsiteY3" fmla="*/ 5808 h 18373"/>
                    <a:gd name="connsiteX4" fmla="*/ 5788 w 18335"/>
                    <a:gd name="connsiteY4" fmla="*/ 605 h 18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73">
                      <a:moveTo>
                        <a:pt x="5788" y="605"/>
                      </a:moveTo>
                      <a:cubicBezTo>
                        <a:pt x="1064" y="2459"/>
                        <a:pt x="-1209" y="7782"/>
                        <a:pt x="645" y="12507"/>
                      </a:cubicBezTo>
                      <a:cubicBezTo>
                        <a:pt x="2499" y="17231"/>
                        <a:pt x="7822" y="19564"/>
                        <a:pt x="12547" y="17770"/>
                      </a:cubicBezTo>
                      <a:cubicBezTo>
                        <a:pt x="17271" y="15916"/>
                        <a:pt x="19544" y="10593"/>
                        <a:pt x="17690" y="5808"/>
                      </a:cubicBezTo>
                      <a:cubicBezTo>
                        <a:pt x="15836" y="1143"/>
                        <a:pt x="10513" y="-1189"/>
                        <a:pt x="5788" y="605"/>
                      </a:cubicBezTo>
                      <a:close/>
                    </a:path>
                  </a:pathLst>
                </a:custGeom>
                <a:grpFill/>
                <a:ln w="5978" cap="flat">
                  <a:noFill/>
                  <a:prstDash val="solid"/>
                  <a:miter/>
                </a:ln>
              </p:spPr>
              <p:txBody>
                <a:bodyPr rtlCol="0" anchor="ctr"/>
                <a:lstStyle/>
                <a:p>
                  <a:endParaRPr lang="en-GB"/>
                </a:p>
              </p:txBody>
            </p:sp>
          </p:grpSp>
          <p:grpSp>
            <p:nvGrpSpPr>
              <p:cNvPr id="1335" name="Graphic 3">
                <a:extLst>
                  <a:ext uri="{FF2B5EF4-FFF2-40B4-BE49-F238E27FC236}">
                    <a16:creationId xmlns:a16="http://schemas.microsoft.com/office/drawing/2014/main" id="{02DE9764-9CE3-497F-98E6-F7327F19433D}"/>
                  </a:ext>
                </a:extLst>
              </p:cNvPr>
              <p:cNvGrpSpPr/>
              <p:nvPr/>
            </p:nvGrpSpPr>
            <p:grpSpPr>
              <a:xfrm>
                <a:off x="3775943" y="3624782"/>
                <a:ext cx="391508" cy="61061"/>
                <a:chOff x="3775943" y="3624782"/>
                <a:chExt cx="391508" cy="61061"/>
              </a:xfrm>
              <a:grpFill/>
            </p:grpSpPr>
            <p:sp>
              <p:nvSpPr>
                <p:cNvPr id="1404" name="Vrije vorm: vorm 1403">
                  <a:extLst>
                    <a:ext uri="{FF2B5EF4-FFF2-40B4-BE49-F238E27FC236}">
                      <a16:creationId xmlns:a16="http://schemas.microsoft.com/office/drawing/2014/main" id="{A827C2A6-2CD2-4177-9B8C-7E15DA5B4D63}"/>
                    </a:ext>
                  </a:extLst>
                </p:cNvPr>
                <p:cNvSpPr/>
                <p:nvPr/>
              </p:nvSpPr>
              <p:spPr>
                <a:xfrm>
                  <a:off x="3784441" y="3632372"/>
                  <a:ext cx="374512" cy="45872"/>
                </a:xfrm>
                <a:custGeom>
                  <a:avLst/>
                  <a:gdLst>
                    <a:gd name="connsiteX0" fmla="*/ 374154 w 374512"/>
                    <a:gd name="connsiteY0" fmla="*/ 0 h 45872"/>
                    <a:gd name="connsiteX1" fmla="*/ 374513 w 374512"/>
                    <a:gd name="connsiteY1" fmla="*/ 3050 h 45872"/>
                    <a:gd name="connsiteX2" fmla="*/ 359 w 374512"/>
                    <a:gd name="connsiteY2" fmla="*/ 45872 h 45872"/>
                    <a:gd name="connsiteX3" fmla="*/ 0 w 374512"/>
                    <a:gd name="connsiteY3" fmla="*/ 42822 h 45872"/>
                  </a:gdLst>
                  <a:ahLst/>
                  <a:cxnLst>
                    <a:cxn ang="0">
                      <a:pos x="connsiteX0" y="connsiteY0"/>
                    </a:cxn>
                    <a:cxn ang="0">
                      <a:pos x="connsiteX1" y="connsiteY1"/>
                    </a:cxn>
                    <a:cxn ang="0">
                      <a:pos x="connsiteX2" y="connsiteY2"/>
                    </a:cxn>
                    <a:cxn ang="0">
                      <a:pos x="connsiteX3" y="connsiteY3"/>
                    </a:cxn>
                  </a:cxnLst>
                  <a:rect l="l" t="t" r="r" b="b"/>
                  <a:pathLst>
                    <a:path w="374512" h="45872">
                      <a:moveTo>
                        <a:pt x="374154" y="0"/>
                      </a:moveTo>
                      <a:lnTo>
                        <a:pt x="374513" y="3050"/>
                      </a:lnTo>
                      <a:lnTo>
                        <a:pt x="359" y="45872"/>
                      </a:lnTo>
                      <a:lnTo>
                        <a:pt x="0" y="42822"/>
                      </a:lnTo>
                      <a:close/>
                    </a:path>
                  </a:pathLst>
                </a:custGeom>
                <a:grpFill/>
                <a:ln w="5978" cap="flat">
                  <a:noFill/>
                  <a:prstDash val="solid"/>
                  <a:miter/>
                </a:ln>
              </p:spPr>
              <p:txBody>
                <a:bodyPr rtlCol="0" anchor="ctr"/>
                <a:lstStyle/>
                <a:p>
                  <a:endParaRPr lang="en-GB"/>
                </a:p>
              </p:txBody>
            </p:sp>
            <p:sp>
              <p:nvSpPr>
                <p:cNvPr id="1405" name="Vrije vorm: vorm 1404">
                  <a:extLst>
                    <a:ext uri="{FF2B5EF4-FFF2-40B4-BE49-F238E27FC236}">
                      <a16:creationId xmlns:a16="http://schemas.microsoft.com/office/drawing/2014/main" id="{89FE28E6-5824-4ED6-B925-A115DFAE4E2D}"/>
                    </a:ext>
                  </a:extLst>
                </p:cNvPr>
                <p:cNvSpPr/>
                <p:nvPr/>
              </p:nvSpPr>
              <p:spPr>
                <a:xfrm>
                  <a:off x="3775943" y="3667414"/>
                  <a:ext cx="18311" cy="18429"/>
                </a:xfrm>
                <a:custGeom>
                  <a:avLst/>
                  <a:gdLst>
                    <a:gd name="connsiteX0" fmla="*/ 10232 w 18311"/>
                    <a:gd name="connsiteY0" fmla="*/ 18365 h 18429"/>
                    <a:gd name="connsiteX1" fmla="*/ 65 w 18311"/>
                    <a:gd name="connsiteY1" fmla="*/ 10231 h 18429"/>
                    <a:gd name="connsiteX2" fmla="*/ 8079 w 18311"/>
                    <a:gd name="connsiteY2" fmla="*/ 64 h 18429"/>
                    <a:gd name="connsiteX3" fmla="*/ 18247 w 18311"/>
                    <a:gd name="connsiteY3" fmla="*/ 8198 h 18429"/>
                    <a:gd name="connsiteX4" fmla="*/ 10232 w 18311"/>
                    <a:gd name="connsiteY4" fmla="*/ 1836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9">
                      <a:moveTo>
                        <a:pt x="10232" y="18365"/>
                      </a:moveTo>
                      <a:cubicBezTo>
                        <a:pt x="5209" y="18963"/>
                        <a:pt x="663" y="15315"/>
                        <a:pt x="65" y="10231"/>
                      </a:cubicBezTo>
                      <a:cubicBezTo>
                        <a:pt x="-533" y="5148"/>
                        <a:pt x="3055" y="602"/>
                        <a:pt x="8079" y="64"/>
                      </a:cubicBezTo>
                      <a:cubicBezTo>
                        <a:pt x="13103" y="-534"/>
                        <a:pt x="17648" y="3114"/>
                        <a:pt x="18247" y="8198"/>
                      </a:cubicBezTo>
                      <a:cubicBezTo>
                        <a:pt x="18845" y="13222"/>
                        <a:pt x="15256" y="17827"/>
                        <a:pt x="10232" y="18365"/>
                      </a:cubicBezTo>
                      <a:close/>
                    </a:path>
                  </a:pathLst>
                </a:custGeom>
                <a:grpFill/>
                <a:ln w="5978" cap="flat">
                  <a:noFill/>
                  <a:prstDash val="solid"/>
                  <a:miter/>
                </a:ln>
              </p:spPr>
              <p:txBody>
                <a:bodyPr rtlCol="0" anchor="ctr"/>
                <a:lstStyle/>
                <a:p>
                  <a:endParaRPr lang="en-GB"/>
                </a:p>
              </p:txBody>
            </p:sp>
            <p:sp>
              <p:nvSpPr>
                <p:cNvPr id="1406" name="Vrije vorm: vorm 1405">
                  <a:extLst>
                    <a:ext uri="{FF2B5EF4-FFF2-40B4-BE49-F238E27FC236}">
                      <a16:creationId xmlns:a16="http://schemas.microsoft.com/office/drawing/2014/main" id="{8D8ECC94-00FF-42A9-8C8D-D3875D6CC93C}"/>
                    </a:ext>
                  </a:extLst>
                </p:cNvPr>
                <p:cNvSpPr/>
                <p:nvPr/>
              </p:nvSpPr>
              <p:spPr>
                <a:xfrm>
                  <a:off x="4149140" y="3624782"/>
                  <a:ext cx="18311" cy="18407"/>
                </a:xfrm>
                <a:custGeom>
                  <a:avLst/>
                  <a:gdLst>
                    <a:gd name="connsiteX0" fmla="*/ 10232 w 18311"/>
                    <a:gd name="connsiteY0" fmla="*/ 18354 h 18407"/>
                    <a:gd name="connsiteX1" fmla="*/ 18246 w 18311"/>
                    <a:gd name="connsiteY1" fmla="*/ 8187 h 18407"/>
                    <a:gd name="connsiteX2" fmla="*/ 8079 w 18311"/>
                    <a:gd name="connsiteY2" fmla="*/ 53 h 18407"/>
                    <a:gd name="connsiteX3" fmla="*/ 65 w 18311"/>
                    <a:gd name="connsiteY3" fmla="*/ 10221 h 18407"/>
                    <a:gd name="connsiteX4" fmla="*/ 10232 w 18311"/>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7">
                      <a:moveTo>
                        <a:pt x="10232" y="18354"/>
                      </a:moveTo>
                      <a:cubicBezTo>
                        <a:pt x="15256" y="17756"/>
                        <a:pt x="18845" y="13211"/>
                        <a:pt x="18246" y="8187"/>
                      </a:cubicBezTo>
                      <a:cubicBezTo>
                        <a:pt x="17648" y="3104"/>
                        <a:pt x="13103" y="-485"/>
                        <a:pt x="8079" y="53"/>
                      </a:cubicBezTo>
                      <a:cubicBezTo>
                        <a:pt x="3055" y="652"/>
                        <a:pt x="-533" y="5197"/>
                        <a:pt x="65" y="10221"/>
                      </a:cubicBezTo>
                      <a:cubicBezTo>
                        <a:pt x="663" y="15304"/>
                        <a:pt x="5208" y="18893"/>
                        <a:pt x="10232" y="18354"/>
                      </a:cubicBezTo>
                      <a:close/>
                    </a:path>
                  </a:pathLst>
                </a:custGeom>
                <a:grpFill/>
                <a:ln w="5978" cap="flat">
                  <a:noFill/>
                  <a:prstDash val="solid"/>
                  <a:miter/>
                </a:ln>
              </p:spPr>
              <p:txBody>
                <a:bodyPr rtlCol="0" anchor="ctr"/>
                <a:lstStyle/>
                <a:p>
                  <a:endParaRPr lang="en-GB"/>
                </a:p>
              </p:txBody>
            </p:sp>
          </p:grpSp>
          <p:grpSp>
            <p:nvGrpSpPr>
              <p:cNvPr id="1336" name="Graphic 3">
                <a:extLst>
                  <a:ext uri="{FF2B5EF4-FFF2-40B4-BE49-F238E27FC236}">
                    <a16:creationId xmlns:a16="http://schemas.microsoft.com/office/drawing/2014/main" id="{BAEEA806-F062-4A8E-BC3E-F873E844E0B8}"/>
                  </a:ext>
                </a:extLst>
              </p:cNvPr>
              <p:cNvGrpSpPr/>
              <p:nvPr/>
            </p:nvGrpSpPr>
            <p:grpSpPr>
              <a:xfrm>
                <a:off x="3722748" y="3553642"/>
                <a:ext cx="435759" cy="50345"/>
                <a:chOff x="3722748" y="3553642"/>
                <a:chExt cx="435759" cy="50345"/>
              </a:xfrm>
              <a:grpFill/>
            </p:grpSpPr>
            <p:sp>
              <p:nvSpPr>
                <p:cNvPr id="1401" name="Vrije vorm: vorm 1400">
                  <a:extLst>
                    <a:ext uri="{FF2B5EF4-FFF2-40B4-BE49-F238E27FC236}">
                      <a16:creationId xmlns:a16="http://schemas.microsoft.com/office/drawing/2014/main" id="{371F48E5-8E49-43FB-8CBD-B2197A811214}"/>
                    </a:ext>
                  </a:extLst>
                </p:cNvPr>
                <p:cNvSpPr/>
                <p:nvPr/>
              </p:nvSpPr>
              <p:spPr>
                <a:xfrm>
                  <a:off x="3731332" y="3561261"/>
                  <a:ext cx="418590" cy="35106"/>
                </a:xfrm>
                <a:custGeom>
                  <a:avLst/>
                  <a:gdLst>
                    <a:gd name="connsiteX0" fmla="*/ 418352 w 418590"/>
                    <a:gd name="connsiteY0" fmla="*/ 0 h 35106"/>
                    <a:gd name="connsiteX1" fmla="*/ 418591 w 418590"/>
                    <a:gd name="connsiteY1" fmla="*/ 3050 h 35106"/>
                    <a:gd name="connsiteX2" fmla="*/ 239 w 418590"/>
                    <a:gd name="connsiteY2" fmla="*/ 35107 h 35106"/>
                    <a:gd name="connsiteX3" fmla="*/ 0 w 418590"/>
                    <a:gd name="connsiteY3" fmla="*/ 32057 h 35106"/>
                  </a:gdLst>
                  <a:ahLst/>
                  <a:cxnLst>
                    <a:cxn ang="0">
                      <a:pos x="connsiteX0" y="connsiteY0"/>
                    </a:cxn>
                    <a:cxn ang="0">
                      <a:pos x="connsiteX1" y="connsiteY1"/>
                    </a:cxn>
                    <a:cxn ang="0">
                      <a:pos x="connsiteX2" y="connsiteY2"/>
                    </a:cxn>
                    <a:cxn ang="0">
                      <a:pos x="connsiteX3" y="connsiteY3"/>
                    </a:cxn>
                  </a:cxnLst>
                  <a:rect l="l" t="t" r="r" b="b"/>
                  <a:pathLst>
                    <a:path w="418590" h="35106">
                      <a:moveTo>
                        <a:pt x="418352" y="0"/>
                      </a:moveTo>
                      <a:lnTo>
                        <a:pt x="418591" y="3050"/>
                      </a:lnTo>
                      <a:lnTo>
                        <a:pt x="239" y="35107"/>
                      </a:lnTo>
                      <a:lnTo>
                        <a:pt x="0" y="32057"/>
                      </a:lnTo>
                      <a:close/>
                    </a:path>
                  </a:pathLst>
                </a:custGeom>
                <a:grpFill/>
                <a:ln w="5978" cap="flat">
                  <a:noFill/>
                  <a:prstDash val="solid"/>
                  <a:miter/>
                </a:ln>
              </p:spPr>
              <p:txBody>
                <a:bodyPr rtlCol="0" anchor="ctr"/>
                <a:lstStyle/>
                <a:p>
                  <a:endParaRPr lang="en-GB"/>
                </a:p>
              </p:txBody>
            </p:sp>
            <p:sp>
              <p:nvSpPr>
                <p:cNvPr id="1402" name="Vrije vorm: vorm 1401">
                  <a:extLst>
                    <a:ext uri="{FF2B5EF4-FFF2-40B4-BE49-F238E27FC236}">
                      <a16:creationId xmlns:a16="http://schemas.microsoft.com/office/drawing/2014/main" id="{4FBD069C-D54F-47DD-95A5-35D7FB8C6869}"/>
                    </a:ext>
                  </a:extLst>
                </p:cNvPr>
                <p:cNvSpPr/>
                <p:nvPr/>
              </p:nvSpPr>
              <p:spPr>
                <a:xfrm>
                  <a:off x="4140202" y="3553642"/>
                  <a:ext cx="18304" cy="18407"/>
                </a:xfrm>
                <a:custGeom>
                  <a:avLst/>
                  <a:gdLst>
                    <a:gd name="connsiteX0" fmla="*/ 8405 w 18304"/>
                    <a:gd name="connsiteY0" fmla="*/ 24 h 18407"/>
                    <a:gd name="connsiteX1" fmla="*/ 18273 w 18304"/>
                    <a:gd name="connsiteY1" fmla="*/ 8516 h 18407"/>
                    <a:gd name="connsiteX2" fmla="*/ 9900 w 18304"/>
                    <a:gd name="connsiteY2" fmla="*/ 18384 h 18407"/>
                    <a:gd name="connsiteX3" fmla="*/ 32 w 18304"/>
                    <a:gd name="connsiteY3" fmla="*/ 9892 h 18407"/>
                    <a:gd name="connsiteX4" fmla="*/ 8405 w 18304"/>
                    <a:gd name="connsiteY4" fmla="*/ 2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07">
                      <a:moveTo>
                        <a:pt x="8405" y="24"/>
                      </a:moveTo>
                      <a:cubicBezTo>
                        <a:pt x="13429" y="-335"/>
                        <a:pt x="17854" y="3433"/>
                        <a:pt x="18273" y="8516"/>
                      </a:cubicBezTo>
                      <a:cubicBezTo>
                        <a:pt x="18692" y="13600"/>
                        <a:pt x="14924" y="18025"/>
                        <a:pt x="9900" y="18384"/>
                      </a:cubicBezTo>
                      <a:cubicBezTo>
                        <a:pt x="4876" y="18743"/>
                        <a:pt x="450" y="14975"/>
                        <a:pt x="32" y="9892"/>
                      </a:cubicBezTo>
                      <a:cubicBezTo>
                        <a:pt x="-387" y="4808"/>
                        <a:pt x="3381" y="382"/>
                        <a:pt x="8405" y="24"/>
                      </a:cubicBezTo>
                      <a:close/>
                    </a:path>
                  </a:pathLst>
                </a:custGeom>
                <a:grpFill/>
                <a:ln w="5978" cap="flat">
                  <a:noFill/>
                  <a:prstDash val="solid"/>
                  <a:miter/>
                </a:ln>
              </p:spPr>
              <p:txBody>
                <a:bodyPr rtlCol="0" anchor="ctr"/>
                <a:lstStyle/>
                <a:p>
                  <a:endParaRPr lang="en-GB"/>
                </a:p>
              </p:txBody>
            </p:sp>
            <p:sp>
              <p:nvSpPr>
                <p:cNvPr id="1403" name="Vrije vorm: vorm 1402">
                  <a:extLst>
                    <a:ext uri="{FF2B5EF4-FFF2-40B4-BE49-F238E27FC236}">
                      <a16:creationId xmlns:a16="http://schemas.microsoft.com/office/drawing/2014/main" id="{64475095-3EF4-4737-9BC2-59C68579D9CB}"/>
                    </a:ext>
                  </a:extLst>
                </p:cNvPr>
                <p:cNvSpPr/>
                <p:nvPr/>
              </p:nvSpPr>
              <p:spPr>
                <a:xfrm>
                  <a:off x="3722748" y="3585579"/>
                  <a:ext cx="18356" cy="18408"/>
                </a:xfrm>
                <a:custGeom>
                  <a:avLst/>
                  <a:gdLst>
                    <a:gd name="connsiteX0" fmla="*/ 8405 w 18356"/>
                    <a:gd name="connsiteY0" fmla="*/ 24 h 18408"/>
                    <a:gd name="connsiteX1" fmla="*/ 32 w 18356"/>
                    <a:gd name="connsiteY1" fmla="*/ 9892 h 18408"/>
                    <a:gd name="connsiteX2" fmla="*/ 9900 w 18356"/>
                    <a:gd name="connsiteY2" fmla="*/ 18384 h 18408"/>
                    <a:gd name="connsiteX3" fmla="*/ 18333 w 18356"/>
                    <a:gd name="connsiteY3" fmla="*/ 8516 h 18408"/>
                    <a:gd name="connsiteX4" fmla="*/ 8405 w 18356"/>
                    <a:gd name="connsiteY4" fmla="*/ 2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8">
                      <a:moveTo>
                        <a:pt x="8405" y="24"/>
                      </a:moveTo>
                      <a:cubicBezTo>
                        <a:pt x="3381" y="382"/>
                        <a:pt x="-387" y="4808"/>
                        <a:pt x="32" y="9892"/>
                      </a:cubicBezTo>
                      <a:cubicBezTo>
                        <a:pt x="450" y="14975"/>
                        <a:pt x="4876" y="18743"/>
                        <a:pt x="9900" y="18384"/>
                      </a:cubicBezTo>
                      <a:cubicBezTo>
                        <a:pt x="14924" y="18026"/>
                        <a:pt x="18692" y="13600"/>
                        <a:pt x="18333" y="8516"/>
                      </a:cubicBezTo>
                      <a:cubicBezTo>
                        <a:pt x="17854" y="3433"/>
                        <a:pt x="13429" y="-335"/>
                        <a:pt x="8405" y="24"/>
                      </a:cubicBezTo>
                      <a:close/>
                    </a:path>
                  </a:pathLst>
                </a:custGeom>
                <a:grpFill/>
                <a:ln w="5978" cap="flat">
                  <a:noFill/>
                  <a:prstDash val="solid"/>
                  <a:miter/>
                </a:ln>
              </p:spPr>
              <p:txBody>
                <a:bodyPr rtlCol="0" anchor="ctr"/>
                <a:lstStyle/>
                <a:p>
                  <a:endParaRPr lang="en-GB"/>
                </a:p>
              </p:txBody>
            </p:sp>
          </p:grpSp>
          <p:grpSp>
            <p:nvGrpSpPr>
              <p:cNvPr id="1337" name="Graphic 3">
                <a:extLst>
                  <a:ext uri="{FF2B5EF4-FFF2-40B4-BE49-F238E27FC236}">
                    <a16:creationId xmlns:a16="http://schemas.microsoft.com/office/drawing/2014/main" id="{2F6F7F82-5784-41DE-B7D3-726ABC1F8EE4}"/>
                  </a:ext>
                </a:extLst>
              </p:cNvPr>
              <p:cNvGrpSpPr/>
              <p:nvPr/>
            </p:nvGrpSpPr>
            <p:grpSpPr>
              <a:xfrm>
                <a:off x="3517139" y="3599103"/>
                <a:ext cx="870174" cy="68750"/>
                <a:chOff x="3517139" y="3599103"/>
                <a:chExt cx="870174" cy="68750"/>
              </a:xfrm>
              <a:grpFill/>
            </p:grpSpPr>
            <p:sp>
              <p:nvSpPr>
                <p:cNvPr id="1398" name="Vrije vorm: vorm 1397">
                  <a:extLst>
                    <a:ext uri="{FF2B5EF4-FFF2-40B4-BE49-F238E27FC236}">
                      <a16:creationId xmlns:a16="http://schemas.microsoft.com/office/drawing/2014/main" id="{1C0DE8A2-0529-44B7-AF39-95CF4E674F8B}"/>
                    </a:ext>
                  </a:extLst>
                </p:cNvPr>
                <p:cNvSpPr/>
                <p:nvPr/>
              </p:nvSpPr>
              <p:spPr>
                <a:xfrm>
                  <a:off x="3525775" y="3606774"/>
                  <a:ext cx="852910" cy="53407"/>
                </a:xfrm>
                <a:custGeom>
                  <a:avLst/>
                  <a:gdLst>
                    <a:gd name="connsiteX0" fmla="*/ 852732 w 852910"/>
                    <a:gd name="connsiteY0" fmla="*/ 0 h 53407"/>
                    <a:gd name="connsiteX1" fmla="*/ 852911 w 852910"/>
                    <a:gd name="connsiteY1" fmla="*/ 3050 h 53407"/>
                    <a:gd name="connsiteX2" fmla="*/ 179 w 852910"/>
                    <a:gd name="connsiteY2" fmla="*/ 53408 h 53407"/>
                    <a:gd name="connsiteX3" fmla="*/ 0 w 852910"/>
                    <a:gd name="connsiteY3" fmla="*/ 50358 h 53407"/>
                  </a:gdLst>
                  <a:ahLst/>
                  <a:cxnLst>
                    <a:cxn ang="0">
                      <a:pos x="connsiteX0" y="connsiteY0"/>
                    </a:cxn>
                    <a:cxn ang="0">
                      <a:pos x="connsiteX1" y="connsiteY1"/>
                    </a:cxn>
                    <a:cxn ang="0">
                      <a:pos x="connsiteX2" y="connsiteY2"/>
                    </a:cxn>
                    <a:cxn ang="0">
                      <a:pos x="connsiteX3" y="connsiteY3"/>
                    </a:cxn>
                  </a:cxnLst>
                  <a:rect l="l" t="t" r="r" b="b"/>
                  <a:pathLst>
                    <a:path w="852910" h="53407">
                      <a:moveTo>
                        <a:pt x="852732" y="0"/>
                      </a:moveTo>
                      <a:lnTo>
                        <a:pt x="852911" y="3050"/>
                      </a:lnTo>
                      <a:lnTo>
                        <a:pt x="179" y="53408"/>
                      </a:lnTo>
                      <a:lnTo>
                        <a:pt x="0" y="50358"/>
                      </a:lnTo>
                      <a:close/>
                    </a:path>
                  </a:pathLst>
                </a:custGeom>
                <a:grpFill/>
                <a:ln w="5978" cap="flat">
                  <a:noFill/>
                  <a:prstDash val="solid"/>
                  <a:miter/>
                </a:ln>
              </p:spPr>
              <p:txBody>
                <a:bodyPr rtlCol="0" anchor="ctr"/>
                <a:lstStyle/>
                <a:p>
                  <a:endParaRPr lang="en-GB"/>
                </a:p>
              </p:txBody>
            </p:sp>
            <p:sp>
              <p:nvSpPr>
                <p:cNvPr id="1399" name="Vrije vorm: vorm 1398">
                  <a:extLst>
                    <a:ext uri="{FF2B5EF4-FFF2-40B4-BE49-F238E27FC236}">
                      <a16:creationId xmlns:a16="http://schemas.microsoft.com/office/drawing/2014/main" id="{0D24D3CA-535B-4259-9A5B-FC02883068F4}"/>
                    </a:ext>
                  </a:extLst>
                </p:cNvPr>
                <p:cNvSpPr/>
                <p:nvPr/>
              </p:nvSpPr>
              <p:spPr>
                <a:xfrm>
                  <a:off x="4368980" y="3599103"/>
                  <a:ext cx="18333" cy="18452"/>
                </a:xfrm>
                <a:custGeom>
                  <a:avLst/>
                  <a:gdLst>
                    <a:gd name="connsiteX0" fmla="*/ 8569 w 18333"/>
                    <a:gd name="connsiteY0" fmla="*/ 16 h 18452"/>
                    <a:gd name="connsiteX1" fmla="*/ 18317 w 18333"/>
                    <a:gd name="connsiteY1" fmla="*/ 8688 h 18452"/>
                    <a:gd name="connsiteX2" fmla="*/ 9765 w 18333"/>
                    <a:gd name="connsiteY2" fmla="*/ 18437 h 18452"/>
                    <a:gd name="connsiteX3" fmla="*/ 16 w 18333"/>
                    <a:gd name="connsiteY3" fmla="*/ 9765 h 18452"/>
                    <a:gd name="connsiteX4" fmla="*/ 8569 w 18333"/>
                    <a:gd name="connsiteY4" fmla="*/ 16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8569" y="16"/>
                      </a:moveTo>
                      <a:cubicBezTo>
                        <a:pt x="13593" y="-283"/>
                        <a:pt x="17959" y="3604"/>
                        <a:pt x="18317" y="8688"/>
                      </a:cubicBezTo>
                      <a:cubicBezTo>
                        <a:pt x="18616" y="13772"/>
                        <a:pt x="14789" y="18138"/>
                        <a:pt x="9765" y="18437"/>
                      </a:cubicBezTo>
                      <a:cubicBezTo>
                        <a:pt x="4741" y="18736"/>
                        <a:pt x="375" y="14848"/>
                        <a:pt x="16" y="9765"/>
                      </a:cubicBezTo>
                      <a:cubicBezTo>
                        <a:pt x="-283" y="4681"/>
                        <a:pt x="3545" y="315"/>
                        <a:pt x="8569" y="16"/>
                      </a:cubicBezTo>
                      <a:close/>
                    </a:path>
                  </a:pathLst>
                </a:custGeom>
                <a:grpFill/>
                <a:ln w="5978" cap="flat">
                  <a:noFill/>
                  <a:prstDash val="solid"/>
                  <a:miter/>
                </a:ln>
              </p:spPr>
              <p:txBody>
                <a:bodyPr rtlCol="0" anchor="ctr"/>
                <a:lstStyle/>
                <a:p>
                  <a:endParaRPr lang="en-GB"/>
                </a:p>
              </p:txBody>
            </p:sp>
            <p:sp>
              <p:nvSpPr>
                <p:cNvPr id="1400" name="Vrije vorm: vorm 1399">
                  <a:extLst>
                    <a:ext uri="{FF2B5EF4-FFF2-40B4-BE49-F238E27FC236}">
                      <a16:creationId xmlns:a16="http://schemas.microsoft.com/office/drawing/2014/main" id="{18648CB7-C416-4A30-96EE-B7C69F358292}"/>
                    </a:ext>
                  </a:extLst>
                </p:cNvPr>
                <p:cNvSpPr/>
                <p:nvPr/>
              </p:nvSpPr>
              <p:spPr>
                <a:xfrm>
                  <a:off x="3517139" y="3649400"/>
                  <a:ext cx="18346" cy="18453"/>
                </a:xfrm>
                <a:custGeom>
                  <a:avLst/>
                  <a:gdLst>
                    <a:gd name="connsiteX0" fmla="*/ 8575 w 18346"/>
                    <a:gd name="connsiteY0" fmla="*/ 16 h 18453"/>
                    <a:gd name="connsiteX1" fmla="*/ 23 w 18346"/>
                    <a:gd name="connsiteY1" fmla="*/ 9765 h 18453"/>
                    <a:gd name="connsiteX2" fmla="*/ 9772 w 18346"/>
                    <a:gd name="connsiteY2" fmla="*/ 18437 h 18453"/>
                    <a:gd name="connsiteX3" fmla="*/ 18324 w 18346"/>
                    <a:gd name="connsiteY3" fmla="*/ 8688 h 18453"/>
                    <a:gd name="connsiteX4" fmla="*/ 8575 w 18346"/>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3">
                      <a:moveTo>
                        <a:pt x="8575" y="16"/>
                      </a:moveTo>
                      <a:cubicBezTo>
                        <a:pt x="3552" y="315"/>
                        <a:pt x="-336" y="4681"/>
                        <a:pt x="23" y="9765"/>
                      </a:cubicBezTo>
                      <a:cubicBezTo>
                        <a:pt x="322" y="14848"/>
                        <a:pt x="4688" y="18736"/>
                        <a:pt x="9772" y="18437"/>
                      </a:cubicBezTo>
                      <a:cubicBezTo>
                        <a:pt x="14795" y="18138"/>
                        <a:pt x="18683" y="13772"/>
                        <a:pt x="18324" y="8688"/>
                      </a:cubicBezTo>
                      <a:cubicBezTo>
                        <a:pt x="17965" y="3605"/>
                        <a:pt x="13659" y="-283"/>
                        <a:pt x="8575" y="16"/>
                      </a:cubicBezTo>
                      <a:close/>
                    </a:path>
                  </a:pathLst>
                </a:custGeom>
                <a:grpFill/>
                <a:ln w="5978" cap="flat">
                  <a:noFill/>
                  <a:prstDash val="solid"/>
                  <a:miter/>
                </a:ln>
              </p:spPr>
              <p:txBody>
                <a:bodyPr rtlCol="0" anchor="ctr"/>
                <a:lstStyle/>
                <a:p>
                  <a:endParaRPr lang="en-GB"/>
                </a:p>
              </p:txBody>
            </p:sp>
          </p:grpSp>
          <p:grpSp>
            <p:nvGrpSpPr>
              <p:cNvPr id="1338" name="Graphic 3">
                <a:extLst>
                  <a:ext uri="{FF2B5EF4-FFF2-40B4-BE49-F238E27FC236}">
                    <a16:creationId xmlns:a16="http://schemas.microsoft.com/office/drawing/2014/main" id="{B08372E1-3003-4BBE-8D42-8B8112C7C1A6}"/>
                  </a:ext>
                </a:extLst>
              </p:cNvPr>
              <p:cNvGrpSpPr/>
              <p:nvPr/>
            </p:nvGrpSpPr>
            <p:grpSpPr>
              <a:xfrm>
                <a:off x="4218394" y="4525391"/>
                <a:ext cx="79831" cy="57397"/>
                <a:chOff x="4218394" y="4525391"/>
                <a:chExt cx="79831" cy="57397"/>
              </a:xfrm>
              <a:grpFill/>
            </p:grpSpPr>
            <p:sp>
              <p:nvSpPr>
                <p:cNvPr id="1395" name="Vrije vorm: vorm 1394">
                  <a:extLst>
                    <a:ext uri="{FF2B5EF4-FFF2-40B4-BE49-F238E27FC236}">
                      <a16:creationId xmlns:a16="http://schemas.microsoft.com/office/drawing/2014/main" id="{0CBAF84C-8FCD-4287-AF3E-FE198CA07E1E}"/>
                    </a:ext>
                  </a:extLst>
                </p:cNvPr>
                <p:cNvSpPr/>
                <p:nvPr/>
              </p:nvSpPr>
              <p:spPr>
                <a:xfrm>
                  <a:off x="4226356" y="4533068"/>
                  <a:ext cx="63933" cy="42044"/>
                </a:xfrm>
                <a:custGeom>
                  <a:avLst/>
                  <a:gdLst>
                    <a:gd name="connsiteX0" fmla="*/ 63934 w 63933"/>
                    <a:gd name="connsiteY0" fmla="*/ 2572 h 42044"/>
                    <a:gd name="connsiteX1" fmla="*/ 1615 w 63933"/>
                    <a:gd name="connsiteY1" fmla="*/ 42045 h 42044"/>
                    <a:gd name="connsiteX2" fmla="*/ 0 w 63933"/>
                    <a:gd name="connsiteY2" fmla="*/ 39413 h 42044"/>
                    <a:gd name="connsiteX3" fmla="*/ 62319 w 63933"/>
                    <a:gd name="connsiteY3" fmla="*/ 0 h 42044"/>
                  </a:gdLst>
                  <a:ahLst/>
                  <a:cxnLst>
                    <a:cxn ang="0">
                      <a:pos x="connsiteX0" y="connsiteY0"/>
                    </a:cxn>
                    <a:cxn ang="0">
                      <a:pos x="connsiteX1" y="connsiteY1"/>
                    </a:cxn>
                    <a:cxn ang="0">
                      <a:pos x="connsiteX2" y="connsiteY2"/>
                    </a:cxn>
                    <a:cxn ang="0">
                      <a:pos x="connsiteX3" y="connsiteY3"/>
                    </a:cxn>
                  </a:cxnLst>
                  <a:rect l="l" t="t" r="r" b="b"/>
                  <a:pathLst>
                    <a:path w="63933" h="42044">
                      <a:moveTo>
                        <a:pt x="63934" y="2572"/>
                      </a:moveTo>
                      <a:lnTo>
                        <a:pt x="1615" y="42045"/>
                      </a:lnTo>
                      <a:lnTo>
                        <a:pt x="0" y="39413"/>
                      </a:lnTo>
                      <a:lnTo>
                        <a:pt x="62319" y="0"/>
                      </a:lnTo>
                      <a:close/>
                    </a:path>
                  </a:pathLst>
                </a:custGeom>
                <a:grpFill/>
                <a:ln w="5978" cap="flat">
                  <a:noFill/>
                  <a:prstDash val="solid"/>
                  <a:miter/>
                </a:ln>
              </p:spPr>
              <p:txBody>
                <a:bodyPr rtlCol="0" anchor="ctr"/>
                <a:lstStyle/>
                <a:p>
                  <a:endParaRPr lang="en-GB"/>
                </a:p>
              </p:txBody>
            </p:sp>
            <p:sp>
              <p:nvSpPr>
                <p:cNvPr id="1396" name="Vrije vorm: vorm 1395">
                  <a:extLst>
                    <a:ext uri="{FF2B5EF4-FFF2-40B4-BE49-F238E27FC236}">
                      <a16:creationId xmlns:a16="http://schemas.microsoft.com/office/drawing/2014/main" id="{89FDDFC6-997B-48D7-94A0-40FA5413C056}"/>
                    </a:ext>
                  </a:extLst>
                </p:cNvPr>
                <p:cNvSpPr/>
                <p:nvPr/>
              </p:nvSpPr>
              <p:spPr>
                <a:xfrm>
                  <a:off x="4279936" y="4525391"/>
                  <a:ext cx="18290" cy="18417"/>
                </a:xfrm>
                <a:custGeom>
                  <a:avLst/>
                  <a:gdLst>
                    <a:gd name="connsiteX0" fmla="*/ 4254 w 18290"/>
                    <a:gd name="connsiteY0" fmla="*/ 1397 h 18417"/>
                    <a:gd name="connsiteX1" fmla="*/ 16873 w 18290"/>
                    <a:gd name="connsiteY1" fmla="*/ 4327 h 18417"/>
                    <a:gd name="connsiteX2" fmla="*/ 14063 w 18290"/>
                    <a:gd name="connsiteY2" fmla="*/ 17007 h 18417"/>
                    <a:gd name="connsiteX3" fmla="*/ 1443 w 18290"/>
                    <a:gd name="connsiteY3" fmla="*/ 14076 h 18417"/>
                    <a:gd name="connsiteX4" fmla="*/ 4254 w 18290"/>
                    <a:gd name="connsiteY4" fmla="*/ 139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17">
                      <a:moveTo>
                        <a:pt x="4254" y="1397"/>
                      </a:moveTo>
                      <a:cubicBezTo>
                        <a:pt x="8501" y="-1294"/>
                        <a:pt x="14182" y="21"/>
                        <a:pt x="16873" y="4327"/>
                      </a:cubicBezTo>
                      <a:cubicBezTo>
                        <a:pt x="19565" y="8634"/>
                        <a:pt x="18309" y="14315"/>
                        <a:pt x="14063" y="17007"/>
                      </a:cubicBezTo>
                      <a:cubicBezTo>
                        <a:pt x="9816" y="19698"/>
                        <a:pt x="4134" y="18442"/>
                        <a:pt x="1443" y="14076"/>
                      </a:cubicBezTo>
                      <a:cubicBezTo>
                        <a:pt x="-1308" y="9770"/>
                        <a:pt x="8" y="4088"/>
                        <a:pt x="4254" y="1397"/>
                      </a:cubicBezTo>
                      <a:close/>
                    </a:path>
                  </a:pathLst>
                </a:custGeom>
                <a:grpFill/>
                <a:ln w="5978" cap="flat">
                  <a:noFill/>
                  <a:prstDash val="solid"/>
                  <a:miter/>
                </a:ln>
              </p:spPr>
              <p:txBody>
                <a:bodyPr rtlCol="0" anchor="ctr"/>
                <a:lstStyle/>
                <a:p>
                  <a:endParaRPr lang="en-GB"/>
                </a:p>
              </p:txBody>
            </p:sp>
            <p:sp>
              <p:nvSpPr>
                <p:cNvPr id="1397" name="Vrije vorm: vorm 1396">
                  <a:extLst>
                    <a:ext uri="{FF2B5EF4-FFF2-40B4-BE49-F238E27FC236}">
                      <a16:creationId xmlns:a16="http://schemas.microsoft.com/office/drawing/2014/main" id="{B5305C9E-0E9E-436B-BCBE-63472A2EA1E5}"/>
                    </a:ext>
                  </a:extLst>
                </p:cNvPr>
                <p:cNvSpPr/>
                <p:nvPr/>
              </p:nvSpPr>
              <p:spPr>
                <a:xfrm>
                  <a:off x="4218394" y="4564345"/>
                  <a:ext cx="18316" cy="18444"/>
                </a:xfrm>
                <a:custGeom>
                  <a:avLst/>
                  <a:gdLst>
                    <a:gd name="connsiteX0" fmla="*/ 4254 w 18316"/>
                    <a:gd name="connsiteY0" fmla="*/ 1438 h 18444"/>
                    <a:gd name="connsiteX1" fmla="*/ 1443 w 18316"/>
                    <a:gd name="connsiteY1" fmla="*/ 14117 h 18444"/>
                    <a:gd name="connsiteX2" fmla="*/ 14062 w 18316"/>
                    <a:gd name="connsiteY2" fmla="*/ 17048 h 18444"/>
                    <a:gd name="connsiteX3" fmla="*/ 16874 w 18316"/>
                    <a:gd name="connsiteY3" fmla="*/ 4368 h 18444"/>
                    <a:gd name="connsiteX4" fmla="*/ 4254 w 18316"/>
                    <a:gd name="connsiteY4" fmla="*/ 143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4254" y="1438"/>
                      </a:moveTo>
                      <a:cubicBezTo>
                        <a:pt x="8" y="4129"/>
                        <a:pt x="-1308" y="9811"/>
                        <a:pt x="1443" y="14117"/>
                      </a:cubicBezTo>
                      <a:cubicBezTo>
                        <a:pt x="4135" y="18423"/>
                        <a:pt x="9816" y="19739"/>
                        <a:pt x="14062" y="17048"/>
                      </a:cubicBezTo>
                      <a:cubicBezTo>
                        <a:pt x="18309" y="14356"/>
                        <a:pt x="19625" y="8674"/>
                        <a:pt x="16874" y="4368"/>
                      </a:cubicBezTo>
                      <a:cubicBezTo>
                        <a:pt x="14182" y="3"/>
                        <a:pt x="8500" y="-1313"/>
                        <a:pt x="4254" y="1438"/>
                      </a:cubicBezTo>
                      <a:close/>
                    </a:path>
                  </a:pathLst>
                </a:custGeom>
                <a:grpFill/>
                <a:ln w="5978" cap="flat">
                  <a:noFill/>
                  <a:prstDash val="solid"/>
                  <a:miter/>
                </a:ln>
              </p:spPr>
              <p:txBody>
                <a:bodyPr rtlCol="0" anchor="ctr"/>
                <a:lstStyle/>
                <a:p>
                  <a:endParaRPr lang="en-GB"/>
                </a:p>
              </p:txBody>
            </p:sp>
          </p:grpSp>
          <p:grpSp>
            <p:nvGrpSpPr>
              <p:cNvPr id="1339" name="Graphic 3">
                <a:extLst>
                  <a:ext uri="{FF2B5EF4-FFF2-40B4-BE49-F238E27FC236}">
                    <a16:creationId xmlns:a16="http://schemas.microsoft.com/office/drawing/2014/main" id="{1724166D-BDEA-411B-886D-0913A1DC00D0}"/>
                  </a:ext>
                </a:extLst>
              </p:cNvPr>
              <p:cNvGrpSpPr/>
              <p:nvPr/>
            </p:nvGrpSpPr>
            <p:grpSpPr>
              <a:xfrm>
                <a:off x="3812463" y="4274269"/>
                <a:ext cx="823168" cy="451032"/>
                <a:chOff x="3812463" y="4274269"/>
                <a:chExt cx="823168" cy="451032"/>
              </a:xfrm>
              <a:grpFill/>
            </p:grpSpPr>
            <p:sp>
              <p:nvSpPr>
                <p:cNvPr id="1392" name="Vrije vorm: vorm 1391">
                  <a:extLst>
                    <a:ext uri="{FF2B5EF4-FFF2-40B4-BE49-F238E27FC236}">
                      <a16:creationId xmlns:a16="http://schemas.microsoft.com/office/drawing/2014/main" id="{D5ED55B8-57DA-4DA9-9FC8-D1485FA16296}"/>
                    </a:ext>
                  </a:extLst>
                </p:cNvPr>
                <p:cNvSpPr/>
                <p:nvPr/>
              </p:nvSpPr>
              <p:spPr>
                <a:xfrm>
                  <a:off x="3820445" y="4281878"/>
                  <a:ext cx="807098" cy="435815"/>
                </a:xfrm>
                <a:custGeom>
                  <a:avLst/>
                  <a:gdLst>
                    <a:gd name="connsiteX0" fmla="*/ 807098 w 807098"/>
                    <a:gd name="connsiteY0" fmla="*/ 2751 h 435815"/>
                    <a:gd name="connsiteX1" fmla="*/ 1495 w 807098"/>
                    <a:gd name="connsiteY1" fmla="*/ 435815 h 435815"/>
                    <a:gd name="connsiteX2" fmla="*/ 0 w 807098"/>
                    <a:gd name="connsiteY2" fmla="*/ 433124 h 435815"/>
                    <a:gd name="connsiteX3" fmla="*/ 805663 w 807098"/>
                    <a:gd name="connsiteY3" fmla="*/ 0 h 435815"/>
                  </a:gdLst>
                  <a:ahLst/>
                  <a:cxnLst>
                    <a:cxn ang="0">
                      <a:pos x="connsiteX0" y="connsiteY0"/>
                    </a:cxn>
                    <a:cxn ang="0">
                      <a:pos x="connsiteX1" y="connsiteY1"/>
                    </a:cxn>
                    <a:cxn ang="0">
                      <a:pos x="connsiteX2" y="connsiteY2"/>
                    </a:cxn>
                    <a:cxn ang="0">
                      <a:pos x="connsiteX3" y="connsiteY3"/>
                    </a:cxn>
                  </a:cxnLst>
                  <a:rect l="l" t="t" r="r" b="b"/>
                  <a:pathLst>
                    <a:path w="807098" h="435815">
                      <a:moveTo>
                        <a:pt x="807098" y="2751"/>
                      </a:moveTo>
                      <a:lnTo>
                        <a:pt x="1495" y="435815"/>
                      </a:lnTo>
                      <a:lnTo>
                        <a:pt x="0" y="433124"/>
                      </a:lnTo>
                      <a:lnTo>
                        <a:pt x="805663" y="0"/>
                      </a:lnTo>
                      <a:close/>
                    </a:path>
                  </a:pathLst>
                </a:custGeom>
                <a:grpFill/>
                <a:ln w="5978" cap="flat">
                  <a:noFill/>
                  <a:prstDash val="solid"/>
                  <a:miter/>
                </a:ln>
              </p:spPr>
              <p:txBody>
                <a:bodyPr rtlCol="0" anchor="ctr"/>
                <a:lstStyle/>
                <a:p>
                  <a:endParaRPr lang="en-GB"/>
                </a:p>
              </p:txBody>
            </p:sp>
            <p:sp>
              <p:nvSpPr>
                <p:cNvPr id="1393" name="Vrije vorm: vorm 1392">
                  <a:extLst>
                    <a:ext uri="{FF2B5EF4-FFF2-40B4-BE49-F238E27FC236}">
                      <a16:creationId xmlns:a16="http://schemas.microsoft.com/office/drawing/2014/main" id="{2AF3B805-0662-457F-A912-BF451C8A6741}"/>
                    </a:ext>
                  </a:extLst>
                </p:cNvPr>
                <p:cNvSpPr/>
                <p:nvPr/>
              </p:nvSpPr>
              <p:spPr>
                <a:xfrm>
                  <a:off x="4617263" y="4274269"/>
                  <a:ext cx="18369" cy="18387"/>
                </a:xfrm>
                <a:custGeom>
                  <a:avLst/>
                  <a:gdLst>
                    <a:gd name="connsiteX0" fmla="*/ 4838 w 18369"/>
                    <a:gd name="connsiteY0" fmla="*/ 1090 h 18387"/>
                    <a:gd name="connsiteX1" fmla="*/ 17278 w 18369"/>
                    <a:gd name="connsiteY1" fmla="*/ 4858 h 18387"/>
                    <a:gd name="connsiteX2" fmla="*/ 13570 w 18369"/>
                    <a:gd name="connsiteY2" fmla="*/ 17297 h 18387"/>
                    <a:gd name="connsiteX3" fmla="*/ 1130 w 18369"/>
                    <a:gd name="connsiteY3" fmla="*/ 13529 h 18387"/>
                    <a:gd name="connsiteX4" fmla="*/ 4838 w 18369"/>
                    <a:gd name="connsiteY4" fmla="*/ 109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87">
                      <a:moveTo>
                        <a:pt x="4838" y="1090"/>
                      </a:moveTo>
                      <a:cubicBezTo>
                        <a:pt x="9264" y="-1303"/>
                        <a:pt x="14826" y="372"/>
                        <a:pt x="17278" y="4858"/>
                      </a:cubicBezTo>
                      <a:cubicBezTo>
                        <a:pt x="19670" y="9343"/>
                        <a:pt x="17996" y="14905"/>
                        <a:pt x="13570" y="17297"/>
                      </a:cubicBezTo>
                      <a:cubicBezTo>
                        <a:pt x="9144" y="19690"/>
                        <a:pt x="3582" y="18015"/>
                        <a:pt x="1130" y="13529"/>
                      </a:cubicBezTo>
                      <a:cubicBezTo>
                        <a:pt x="-1322" y="9044"/>
                        <a:pt x="353" y="3482"/>
                        <a:pt x="4838" y="1090"/>
                      </a:cubicBezTo>
                      <a:close/>
                    </a:path>
                  </a:pathLst>
                </a:custGeom>
                <a:grpFill/>
                <a:ln w="5978" cap="flat">
                  <a:noFill/>
                  <a:prstDash val="solid"/>
                  <a:miter/>
                </a:ln>
              </p:spPr>
              <p:txBody>
                <a:bodyPr rtlCol="0" anchor="ctr"/>
                <a:lstStyle/>
                <a:p>
                  <a:endParaRPr lang="en-GB"/>
                </a:p>
              </p:txBody>
            </p:sp>
            <p:sp>
              <p:nvSpPr>
                <p:cNvPr id="1394" name="Vrije vorm: vorm 1393">
                  <a:extLst>
                    <a:ext uri="{FF2B5EF4-FFF2-40B4-BE49-F238E27FC236}">
                      <a16:creationId xmlns:a16="http://schemas.microsoft.com/office/drawing/2014/main" id="{53EA235D-E4BC-496C-91EC-33C5C01B5FFE}"/>
                    </a:ext>
                  </a:extLst>
                </p:cNvPr>
                <p:cNvSpPr/>
                <p:nvPr/>
              </p:nvSpPr>
              <p:spPr>
                <a:xfrm>
                  <a:off x="3812463" y="4706914"/>
                  <a:ext cx="18343" cy="18387"/>
                </a:xfrm>
                <a:custGeom>
                  <a:avLst/>
                  <a:gdLst>
                    <a:gd name="connsiteX0" fmla="*/ 4812 w 18343"/>
                    <a:gd name="connsiteY0" fmla="*/ 1090 h 18387"/>
                    <a:gd name="connsiteX1" fmla="*/ 1104 w 18343"/>
                    <a:gd name="connsiteY1" fmla="*/ 13530 h 18387"/>
                    <a:gd name="connsiteX2" fmla="*/ 13544 w 18343"/>
                    <a:gd name="connsiteY2" fmla="*/ 17298 h 18387"/>
                    <a:gd name="connsiteX3" fmla="*/ 17252 w 18343"/>
                    <a:gd name="connsiteY3" fmla="*/ 4858 h 18387"/>
                    <a:gd name="connsiteX4" fmla="*/ 4812 w 18343"/>
                    <a:gd name="connsiteY4" fmla="*/ 109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87">
                      <a:moveTo>
                        <a:pt x="4812" y="1090"/>
                      </a:moveTo>
                      <a:cubicBezTo>
                        <a:pt x="326" y="3482"/>
                        <a:pt x="-1289" y="9044"/>
                        <a:pt x="1104" y="13530"/>
                      </a:cubicBezTo>
                      <a:cubicBezTo>
                        <a:pt x="3496" y="18015"/>
                        <a:pt x="9058" y="19690"/>
                        <a:pt x="13544" y="17298"/>
                      </a:cubicBezTo>
                      <a:cubicBezTo>
                        <a:pt x="17969" y="14905"/>
                        <a:pt x="19644" y="9343"/>
                        <a:pt x="17252" y="4858"/>
                      </a:cubicBezTo>
                      <a:cubicBezTo>
                        <a:pt x="14799" y="372"/>
                        <a:pt x="9237" y="-1302"/>
                        <a:pt x="4812" y="1090"/>
                      </a:cubicBezTo>
                      <a:close/>
                    </a:path>
                  </a:pathLst>
                </a:custGeom>
                <a:grpFill/>
                <a:ln w="5978" cap="flat">
                  <a:noFill/>
                  <a:prstDash val="solid"/>
                  <a:miter/>
                </a:ln>
              </p:spPr>
              <p:txBody>
                <a:bodyPr rtlCol="0" anchor="ctr"/>
                <a:lstStyle/>
                <a:p>
                  <a:endParaRPr lang="en-GB"/>
                </a:p>
              </p:txBody>
            </p:sp>
          </p:grpSp>
          <p:grpSp>
            <p:nvGrpSpPr>
              <p:cNvPr id="1340" name="Graphic 3">
                <a:extLst>
                  <a:ext uri="{FF2B5EF4-FFF2-40B4-BE49-F238E27FC236}">
                    <a16:creationId xmlns:a16="http://schemas.microsoft.com/office/drawing/2014/main" id="{264951FD-3156-49A6-9C89-3670DDA3BF12}"/>
                  </a:ext>
                </a:extLst>
              </p:cNvPr>
              <p:cNvGrpSpPr/>
              <p:nvPr/>
            </p:nvGrpSpPr>
            <p:grpSpPr>
              <a:xfrm>
                <a:off x="3799656" y="4222286"/>
                <a:ext cx="800471" cy="400075"/>
                <a:chOff x="3799656" y="4222286"/>
                <a:chExt cx="800471" cy="400075"/>
              </a:xfrm>
              <a:grpFill/>
            </p:grpSpPr>
            <p:sp>
              <p:nvSpPr>
                <p:cNvPr id="1389" name="Vrije vorm: vorm 1388">
                  <a:extLst>
                    <a:ext uri="{FF2B5EF4-FFF2-40B4-BE49-F238E27FC236}">
                      <a16:creationId xmlns:a16="http://schemas.microsoft.com/office/drawing/2014/main" id="{704B461C-3AA2-435C-AB16-D31B66F1C425}"/>
                    </a:ext>
                  </a:extLst>
                </p:cNvPr>
                <p:cNvSpPr/>
                <p:nvPr/>
              </p:nvSpPr>
              <p:spPr>
                <a:xfrm>
                  <a:off x="3807765" y="4229905"/>
                  <a:ext cx="784252" cy="384799"/>
                </a:xfrm>
                <a:custGeom>
                  <a:avLst/>
                  <a:gdLst>
                    <a:gd name="connsiteX0" fmla="*/ 784252 w 784252"/>
                    <a:gd name="connsiteY0" fmla="*/ 2751 h 384799"/>
                    <a:gd name="connsiteX1" fmla="*/ 1316 w 784252"/>
                    <a:gd name="connsiteY1" fmla="*/ 384800 h 384799"/>
                    <a:gd name="connsiteX2" fmla="*/ 0 w 784252"/>
                    <a:gd name="connsiteY2" fmla="*/ 382049 h 384799"/>
                    <a:gd name="connsiteX3" fmla="*/ 782937 w 784252"/>
                    <a:gd name="connsiteY3" fmla="*/ 0 h 384799"/>
                  </a:gdLst>
                  <a:ahLst/>
                  <a:cxnLst>
                    <a:cxn ang="0">
                      <a:pos x="connsiteX0" y="connsiteY0"/>
                    </a:cxn>
                    <a:cxn ang="0">
                      <a:pos x="connsiteX1" y="connsiteY1"/>
                    </a:cxn>
                    <a:cxn ang="0">
                      <a:pos x="connsiteX2" y="connsiteY2"/>
                    </a:cxn>
                    <a:cxn ang="0">
                      <a:pos x="connsiteX3" y="connsiteY3"/>
                    </a:cxn>
                  </a:cxnLst>
                  <a:rect l="l" t="t" r="r" b="b"/>
                  <a:pathLst>
                    <a:path w="784252" h="384799">
                      <a:moveTo>
                        <a:pt x="784252" y="2751"/>
                      </a:moveTo>
                      <a:lnTo>
                        <a:pt x="1316" y="384800"/>
                      </a:lnTo>
                      <a:lnTo>
                        <a:pt x="0" y="382049"/>
                      </a:lnTo>
                      <a:lnTo>
                        <a:pt x="782937" y="0"/>
                      </a:lnTo>
                      <a:close/>
                    </a:path>
                  </a:pathLst>
                </a:custGeom>
                <a:grpFill/>
                <a:ln w="5978" cap="flat">
                  <a:noFill/>
                  <a:prstDash val="solid"/>
                  <a:miter/>
                </a:ln>
              </p:spPr>
              <p:txBody>
                <a:bodyPr rtlCol="0" anchor="ctr"/>
                <a:lstStyle/>
                <a:p>
                  <a:endParaRPr lang="en-GB"/>
                </a:p>
              </p:txBody>
            </p:sp>
            <p:sp>
              <p:nvSpPr>
                <p:cNvPr id="1390" name="Vrije vorm: vorm 1389">
                  <a:extLst>
                    <a:ext uri="{FF2B5EF4-FFF2-40B4-BE49-F238E27FC236}">
                      <a16:creationId xmlns:a16="http://schemas.microsoft.com/office/drawing/2014/main" id="{0A679FF3-EAB2-4378-B2BC-104E9540194F}"/>
                    </a:ext>
                  </a:extLst>
                </p:cNvPr>
                <p:cNvSpPr/>
                <p:nvPr/>
              </p:nvSpPr>
              <p:spPr>
                <a:xfrm>
                  <a:off x="4581788" y="4222286"/>
                  <a:ext cx="18338" cy="18408"/>
                </a:xfrm>
                <a:custGeom>
                  <a:avLst/>
                  <a:gdLst>
                    <a:gd name="connsiteX0" fmla="*/ 5146 w 18338"/>
                    <a:gd name="connsiteY0" fmla="*/ 921 h 18408"/>
                    <a:gd name="connsiteX1" fmla="*/ 17406 w 18338"/>
                    <a:gd name="connsiteY1" fmla="*/ 5168 h 18408"/>
                    <a:gd name="connsiteX2" fmla="*/ 13219 w 18338"/>
                    <a:gd name="connsiteY2" fmla="*/ 17488 h 18408"/>
                    <a:gd name="connsiteX3" fmla="*/ 959 w 18338"/>
                    <a:gd name="connsiteY3" fmla="*/ 13241 h 18408"/>
                    <a:gd name="connsiteX4" fmla="*/ 5146 w 18338"/>
                    <a:gd name="connsiteY4" fmla="*/ 9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8">
                      <a:moveTo>
                        <a:pt x="5146" y="921"/>
                      </a:moveTo>
                      <a:cubicBezTo>
                        <a:pt x="9691" y="-1292"/>
                        <a:pt x="15193" y="622"/>
                        <a:pt x="17406" y="5168"/>
                      </a:cubicBezTo>
                      <a:cubicBezTo>
                        <a:pt x="19619" y="9772"/>
                        <a:pt x="17765" y="15275"/>
                        <a:pt x="13219" y="17488"/>
                      </a:cubicBezTo>
                      <a:cubicBezTo>
                        <a:pt x="8674" y="19701"/>
                        <a:pt x="3172" y="17787"/>
                        <a:pt x="959" y="13241"/>
                      </a:cubicBezTo>
                      <a:cubicBezTo>
                        <a:pt x="-1314" y="8636"/>
                        <a:pt x="600" y="3134"/>
                        <a:pt x="5146" y="921"/>
                      </a:cubicBezTo>
                      <a:close/>
                    </a:path>
                  </a:pathLst>
                </a:custGeom>
                <a:grpFill/>
                <a:ln w="5978" cap="flat">
                  <a:noFill/>
                  <a:prstDash val="solid"/>
                  <a:miter/>
                </a:ln>
              </p:spPr>
              <p:txBody>
                <a:bodyPr rtlCol="0" anchor="ctr"/>
                <a:lstStyle/>
                <a:p>
                  <a:endParaRPr lang="en-GB"/>
                </a:p>
              </p:txBody>
            </p:sp>
            <p:sp>
              <p:nvSpPr>
                <p:cNvPr id="1391" name="Vrije vorm: vorm 1390">
                  <a:extLst>
                    <a:ext uri="{FF2B5EF4-FFF2-40B4-BE49-F238E27FC236}">
                      <a16:creationId xmlns:a16="http://schemas.microsoft.com/office/drawing/2014/main" id="{9E4D0CE1-5918-4AD0-984B-7C742A23DA69}"/>
                    </a:ext>
                  </a:extLst>
                </p:cNvPr>
                <p:cNvSpPr/>
                <p:nvPr/>
              </p:nvSpPr>
              <p:spPr>
                <a:xfrm>
                  <a:off x="3799656" y="4603916"/>
                  <a:ext cx="18312" cy="18445"/>
                </a:xfrm>
                <a:custGeom>
                  <a:avLst/>
                  <a:gdLst>
                    <a:gd name="connsiteX0" fmla="*/ 5119 w 18312"/>
                    <a:gd name="connsiteY0" fmla="*/ 921 h 18445"/>
                    <a:gd name="connsiteX1" fmla="*/ 933 w 18312"/>
                    <a:gd name="connsiteY1" fmla="*/ 13241 h 18445"/>
                    <a:gd name="connsiteX2" fmla="*/ 13193 w 18312"/>
                    <a:gd name="connsiteY2" fmla="*/ 17488 h 18445"/>
                    <a:gd name="connsiteX3" fmla="*/ 17380 w 18312"/>
                    <a:gd name="connsiteY3" fmla="*/ 5168 h 18445"/>
                    <a:gd name="connsiteX4" fmla="*/ 5119 w 18312"/>
                    <a:gd name="connsiteY4" fmla="*/ 92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5">
                      <a:moveTo>
                        <a:pt x="5119" y="921"/>
                      </a:moveTo>
                      <a:cubicBezTo>
                        <a:pt x="574" y="3134"/>
                        <a:pt x="-1280" y="8636"/>
                        <a:pt x="933" y="13241"/>
                      </a:cubicBezTo>
                      <a:cubicBezTo>
                        <a:pt x="3146" y="17847"/>
                        <a:pt x="8648" y="19760"/>
                        <a:pt x="13193" y="17488"/>
                      </a:cubicBezTo>
                      <a:cubicBezTo>
                        <a:pt x="17739" y="15275"/>
                        <a:pt x="19593" y="9773"/>
                        <a:pt x="17380" y="5168"/>
                      </a:cubicBezTo>
                      <a:cubicBezTo>
                        <a:pt x="15167" y="622"/>
                        <a:pt x="9664" y="-1292"/>
                        <a:pt x="5119" y="921"/>
                      </a:cubicBezTo>
                      <a:close/>
                    </a:path>
                  </a:pathLst>
                </a:custGeom>
                <a:grpFill/>
                <a:ln w="5978" cap="flat">
                  <a:noFill/>
                  <a:prstDash val="solid"/>
                  <a:miter/>
                </a:ln>
              </p:spPr>
              <p:txBody>
                <a:bodyPr rtlCol="0" anchor="ctr"/>
                <a:lstStyle/>
                <a:p>
                  <a:endParaRPr lang="en-GB"/>
                </a:p>
              </p:txBody>
            </p:sp>
          </p:grpSp>
          <p:grpSp>
            <p:nvGrpSpPr>
              <p:cNvPr id="1341" name="Graphic 3">
                <a:extLst>
                  <a:ext uri="{FF2B5EF4-FFF2-40B4-BE49-F238E27FC236}">
                    <a16:creationId xmlns:a16="http://schemas.microsoft.com/office/drawing/2014/main" id="{5F4567C8-994B-4F2D-8112-0D6D873DEF51}"/>
                  </a:ext>
                </a:extLst>
              </p:cNvPr>
              <p:cNvGrpSpPr/>
              <p:nvPr/>
            </p:nvGrpSpPr>
            <p:grpSpPr>
              <a:xfrm>
                <a:off x="3693551" y="3590465"/>
                <a:ext cx="456004" cy="60189"/>
                <a:chOff x="3693551" y="3590465"/>
                <a:chExt cx="456004" cy="60189"/>
              </a:xfrm>
              <a:grpFill/>
            </p:grpSpPr>
            <p:sp>
              <p:nvSpPr>
                <p:cNvPr id="1386" name="Vrije vorm: vorm 1385">
                  <a:extLst>
                    <a:ext uri="{FF2B5EF4-FFF2-40B4-BE49-F238E27FC236}">
                      <a16:creationId xmlns:a16="http://schemas.microsoft.com/office/drawing/2014/main" id="{9D1F968E-0FDA-416E-A8C7-27F540D30D57}"/>
                    </a:ext>
                  </a:extLst>
                </p:cNvPr>
                <p:cNvSpPr/>
                <p:nvPr/>
              </p:nvSpPr>
              <p:spPr>
                <a:xfrm>
                  <a:off x="3702146" y="3598162"/>
                  <a:ext cx="438865" cy="44855"/>
                </a:xfrm>
                <a:custGeom>
                  <a:avLst/>
                  <a:gdLst>
                    <a:gd name="connsiteX0" fmla="*/ 438566 w 438865"/>
                    <a:gd name="connsiteY0" fmla="*/ 0 h 44855"/>
                    <a:gd name="connsiteX1" fmla="*/ 438865 w 438865"/>
                    <a:gd name="connsiteY1" fmla="*/ 3050 h 44855"/>
                    <a:gd name="connsiteX2" fmla="*/ 299 w 438865"/>
                    <a:gd name="connsiteY2" fmla="*/ 44855 h 44855"/>
                    <a:gd name="connsiteX3" fmla="*/ 0 w 438865"/>
                    <a:gd name="connsiteY3" fmla="*/ 41805 h 44855"/>
                  </a:gdLst>
                  <a:ahLst/>
                  <a:cxnLst>
                    <a:cxn ang="0">
                      <a:pos x="connsiteX0" y="connsiteY0"/>
                    </a:cxn>
                    <a:cxn ang="0">
                      <a:pos x="connsiteX1" y="connsiteY1"/>
                    </a:cxn>
                    <a:cxn ang="0">
                      <a:pos x="connsiteX2" y="connsiteY2"/>
                    </a:cxn>
                    <a:cxn ang="0">
                      <a:pos x="connsiteX3" y="connsiteY3"/>
                    </a:cxn>
                  </a:cxnLst>
                  <a:rect l="l" t="t" r="r" b="b"/>
                  <a:pathLst>
                    <a:path w="438865" h="44855">
                      <a:moveTo>
                        <a:pt x="438566" y="0"/>
                      </a:moveTo>
                      <a:lnTo>
                        <a:pt x="438865" y="3050"/>
                      </a:lnTo>
                      <a:lnTo>
                        <a:pt x="299" y="44855"/>
                      </a:lnTo>
                      <a:lnTo>
                        <a:pt x="0" y="41805"/>
                      </a:lnTo>
                      <a:close/>
                    </a:path>
                  </a:pathLst>
                </a:custGeom>
                <a:grpFill/>
                <a:ln w="5978" cap="flat">
                  <a:noFill/>
                  <a:prstDash val="solid"/>
                  <a:miter/>
                </a:ln>
              </p:spPr>
              <p:txBody>
                <a:bodyPr rtlCol="0" anchor="ctr"/>
                <a:lstStyle/>
                <a:p>
                  <a:endParaRPr lang="en-GB"/>
                </a:p>
              </p:txBody>
            </p:sp>
            <p:sp>
              <p:nvSpPr>
                <p:cNvPr id="1387" name="Vrije vorm: vorm 1386">
                  <a:extLst>
                    <a:ext uri="{FF2B5EF4-FFF2-40B4-BE49-F238E27FC236}">
                      <a16:creationId xmlns:a16="http://schemas.microsoft.com/office/drawing/2014/main" id="{0FF98A0C-5F3C-4800-AD72-AFA13DBD276F}"/>
                    </a:ext>
                  </a:extLst>
                </p:cNvPr>
                <p:cNvSpPr/>
                <p:nvPr/>
              </p:nvSpPr>
              <p:spPr>
                <a:xfrm>
                  <a:off x="3693551" y="3632210"/>
                  <a:ext cx="18335" cy="18443"/>
                </a:xfrm>
                <a:custGeom>
                  <a:avLst/>
                  <a:gdLst>
                    <a:gd name="connsiteX0" fmla="*/ 10090 w 18335"/>
                    <a:gd name="connsiteY0" fmla="*/ 18402 h 18443"/>
                    <a:gd name="connsiteX1" fmla="*/ 42 w 18335"/>
                    <a:gd name="connsiteY1" fmla="*/ 10089 h 18443"/>
                    <a:gd name="connsiteX2" fmla="*/ 8236 w 18335"/>
                    <a:gd name="connsiteY2" fmla="*/ 42 h 18443"/>
                    <a:gd name="connsiteX3" fmla="*/ 18283 w 18335"/>
                    <a:gd name="connsiteY3" fmla="*/ 8355 h 18443"/>
                    <a:gd name="connsiteX4" fmla="*/ 10090 w 1833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3">
                      <a:moveTo>
                        <a:pt x="10090" y="18402"/>
                      </a:moveTo>
                      <a:cubicBezTo>
                        <a:pt x="5066" y="18881"/>
                        <a:pt x="580" y="15173"/>
                        <a:pt x="42" y="10089"/>
                      </a:cubicBezTo>
                      <a:cubicBezTo>
                        <a:pt x="-436" y="5006"/>
                        <a:pt x="3212" y="520"/>
                        <a:pt x="8236" y="42"/>
                      </a:cubicBezTo>
                      <a:cubicBezTo>
                        <a:pt x="13260" y="-437"/>
                        <a:pt x="17745" y="3271"/>
                        <a:pt x="18283" y="8355"/>
                      </a:cubicBezTo>
                      <a:cubicBezTo>
                        <a:pt x="18822" y="13438"/>
                        <a:pt x="15173" y="17924"/>
                        <a:pt x="10090" y="18402"/>
                      </a:cubicBezTo>
                      <a:close/>
                    </a:path>
                  </a:pathLst>
                </a:custGeom>
                <a:grpFill/>
                <a:ln w="5978" cap="flat">
                  <a:noFill/>
                  <a:prstDash val="solid"/>
                  <a:miter/>
                </a:ln>
              </p:spPr>
              <p:txBody>
                <a:bodyPr rtlCol="0" anchor="ctr"/>
                <a:lstStyle/>
                <a:p>
                  <a:endParaRPr lang="en-GB"/>
                </a:p>
              </p:txBody>
            </p:sp>
            <p:sp>
              <p:nvSpPr>
                <p:cNvPr id="1388" name="Vrije vorm: vorm 1387">
                  <a:extLst>
                    <a:ext uri="{FF2B5EF4-FFF2-40B4-BE49-F238E27FC236}">
                      <a16:creationId xmlns:a16="http://schemas.microsoft.com/office/drawing/2014/main" id="{F689D623-664B-49B9-8922-DAAC1BB88E16}"/>
                    </a:ext>
                  </a:extLst>
                </p:cNvPr>
                <p:cNvSpPr/>
                <p:nvPr/>
              </p:nvSpPr>
              <p:spPr>
                <a:xfrm>
                  <a:off x="4131211" y="3590465"/>
                  <a:ext cx="18345" cy="18443"/>
                </a:xfrm>
                <a:custGeom>
                  <a:avLst/>
                  <a:gdLst>
                    <a:gd name="connsiteX0" fmla="*/ 10100 w 18345"/>
                    <a:gd name="connsiteY0" fmla="*/ 18402 h 18443"/>
                    <a:gd name="connsiteX1" fmla="*/ 18293 w 18345"/>
                    <a:gd name="connsiteY1" fmla="*/ 8355 h 18443"/>
                    <a:gd name="connsiteX2" fmla="*/ 8246 w 18345"/>
                    <a:gd name="connsiteY2" fmla="*/ 42 h 18443"/>
                    <a:gd name="connsiteX3" fmla="*/ 52 w 18345"/>
                    <a:gd name="connsiteY3" fmla="*/ 10089 h 18443"/>
                    <a:gd name="connsiteX4" fmla="*/ 10100 w 1834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3">
                      <a:moveTo>
                        <a:pt x="10100" y="18402"/>
                      </a:moveTo>
                      <a:cubicBezTo>
                        <a:pt x="15124" y="17924"/>
                        <a:pt x="18832" y="13438"/>
                        <a:pt x="18293" y="8355"/>
                      </a:cubicBezTo>
                      <a:cubicBezTo>
                        <a:pt x="17815" y="3271"/>
                        <a:pt x="13329" y="-437"/>
                        <a:pt x="8246" y="42"/>
                      </a:cubicBezTo>
                      <a:cubicBezTo>
                        <a:pt x="3222" y="520"/>
                        <a:pt x="-486" y="5005"/>
                        <a:pt x="52" y="10089"/>
                      </a:cubicBezTo>
                      <a:cubicBezTo>
                        <a:pt x="590" y="15173"/>
                        <a:pt x="5076" y="18881"/>
                        <a:pt x="10100" y="18402"/>
                      </a:cubicBezTo>
                      <a:close/>
                    </a:path>
                  </a:pathLst>
                </a:custGeom>
                <a:grpFill/>
                <a:ln w="5978" cap="flat">
                  <a:noFill/>
                  <a:prstDash val="solid"/>
                  <a:miter/>
                </a:ln>
              </p:spPr>
              <p:txBody>
                <a:bodyPr rtlCol="0" anchor="ctr"/>
                <a:lstStyle/>
                <a:p>
                  <a:endParaRPr lang="en-GB"/>
                </a:p>
              </p:txBody>
            </p:sp>
          </p:grpSp>
          <p:grpSp>
            <p:nvGrpSpPr>
              <p:cNvPr id="1342" name="Graphic 3">
                <a:extLst>
                  <a:ext uri="{FF2B5EF4-FFF2-40B4-BE49-F238E27FC236}">
                    <a16:creationId xmlns:a16="http://schemas.microsoft.com/office/drawing/2014/main" id="{BFA9B9F8-4415-40CB-BC90-6AAE6D5F42C1}"/>
                  </a:ext>
                </a:extLst>
              </p:cNvPr>
              <p:cNvGrpSpPr/>
              <p:nvPr/>
            </p:nvGrpSpPr>
            <p:grpSpPr>
              <a:xfrm>
                <a:off x="3972451" y="4237239"/>
                <a:ext cx="381857" cy="194837"/>
                <a:chOff x="3972451" y="4237239"/>
                <a:chExt cx="381857" cy="194837"/>
              </a:xfrm>
              <a:grpFill/>
            </p:grpSpPr>
            <p:sp>
              <p:nvSpPr>
                <p:cNvPr id="1383" name="Vrije vorm: vorm 1382">
                  <a:extLst>
                    <a:ext uri="{FF2B5EF4-FFF2-40B4-BE49-F238E27FC236}">
                      <a16:creationId xmlns:a16="http://schemas.microsoft.com/office/drawing/2014/main" id="{27AE7227-71EA-4EF6-94E3-B36EE4C81F5C}"/>
                    </a:ext>
                  </a:extLst>
                </p:cNvPr>
                <p:cNvSpPr/>
                <p:nvPr/>
              </p:nvSpPr>
              <p:spPr>
                <a:xfrm>
                  <a:off x="3980549" y="4244917"/>
                  <a:ext cx="365661" cy="179541"/>
                </a:xfrm>
                <a:custGeom>
                  <a:avLst/>
                  <a:gdLst>
                    <a:gd name="connsiteX0" fmla="*/ 365661 w 365661"/>
                    <a:gd name="connsiteY0" fmla="*/ 2751 h 179541"/>
                    <a:gd name="connsiteX1" fmla="*/ 1316 w 365661"/>
                    <a:gd name="connsiteY1" fmla="*/ 179541 h 179541"/>
                    <a:gd name="connsiteX2" fmla="*/ 0 w 365661"/>
                    <a:gd name="connsiteY2" fmla="*/ 176730 h 179541"/>
                    <a:gd name="connsiteX3" fmla="*/ 364346 w 365661"/>
                    <a:gd name="connsiteY3" fmla="*/ 0 h 179541"/>
                  </a:gdLst>
                  <a:ahLst/>
                  <a:cxnLst>
                    <a:cxn ang="0">
                      <a:pos x="connsiteX0" y="connsiteY0"/>
                    </a:cxn>
                    <a:cxn ang="0">
                      <a:pos x="connsiteX1" y="connsiteY1"/>
                    </a:cxn>
                    <a:cxn ang="0">
                      <a:pos x="connsiteX2" y="connsiteY2"/>
                    </a:cxn>
                    <a:cxn ang="0">
                      <a:pos x="connsiteX3" y="connsiteY3"/>
                    </a:cxn>
                  </a:cxnLst>
                  <a:rect l="l" t="t" r="r" b="b"/>
                  <a:pathLst>
                    <a:path w="365661" h="179541">
                      <a:moveTo>
                        <a:pt x="365661" y="2751"/>
                      </a:moveTo>
                      <a:lnTo>
                        <a:pt x="1316" y="179541"/>
                      </a:lnTo>
                      <a:lnTo>
                        <a:pt x="0" y="176730"/>
                      </a:lnTo>
                      <a:lnTo>
                        <a:pt x="364346" y="0"/>
                      </a:lnTo>
                      <a:close/>
                    </a:path>
                  </a:pathLst>
                </a:custGeom>
                <a:grpFill/>
                <a:ln w="5978" cap="flat">
                  <a:noFill/>
                  <a:prstDash val="solid"/>
                  <a:miter/>
                </a:ln>
              </p:spPr>
              <p:txBody>
                <a:bodyPr rtlCol="0" anchor="ctr"/>
                <a:lstStyle/>
                <a:p>
                  <a:endParaRPr lang="en-GB"/>
                </a:p>
              </p:txBody>
            </p:sp>
            <p:sp>
              <p:nvSpPr>
                <p:cNvPr id="1384" name="Vrije vorm: vorm 1383">
                  <a:extLst>
                    <a:ext uri="{FF2B5EF4-FFF2-40B4-BE49-F238E27FC236}">
                      <a16:creationId xmlns:a16="http://schemas.microsoft.com/office/drawing/2014/main" id="{F637925F-4B73-482A-AFB3-9433DA57262E}"/>
                    </a:ext>
                  </a:extLst>
                </p:cNvPr>
                <p:cNvSpPr/>
                <p:nvPr/>
              </p:nvSpPr>
              <p:spPr>
                <a:xfrm>
                  <a:off x="3972451" y="4413610"/>
                  <a:ext cx="18349" cy="18466"/>
                </a:xfrm>
                <a:custGeom>
                  <a:avLst/>
                  <a:gdLst>
                    <a:gd name="connsiteX0" fmla="*/ 13182 w 18349"/>
                    <a:gd name="connsiteY0" fmla="*/ 17546 h 18466"/>
                    <a:gd name="connsiteX1" fmla="*/ 921 w 18349"/>
                    <a:gd name="connsiteY1" fmla="*/ 13240 h 18466"/>
                    <a:gd name="connsiteX2" fmla="*/ 5168 w 18349"/>
                    <a:gd name="connsiteY2" fmla="*/ 920 h 18466"/>
                    <a:gd name="connsiteX3" fmla="*/ 17428 w 18349"/>
                    <a:gd name="connsiteY3" fmla="*/ 5226 h 18466"/>
                    <a:gd name="connsiteX4" fmla="*/ 13182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2" y="17546"/>
                      </a:moveTo>
                      <a:cubicBezTo>
                        <a:pt x="8636" y="19759"/>
                        <a:pt x="3134" y="17845"/>
                        <a:pt x="921" y="13240"/>
                      </a:cubicBezTo>
                      <a:cubicBezTo>
                        <a:pt x="-1292" y="8635"/>
                        <a:pt x="622" y="3133"/>
                        <a:pt x="5168" y="920"/>
                      </a:cubicBezTo>
                      <a:cubicBezTo>
                        <a:pt x="9713" y="-1293"/>
                        <a:pt x="15215" y="621"/>
                        <a:pt x="17428" y="5226"/>
                      </a:cubicBezTo>
                      <a:cubicBezTo>
                        <a:pt x="19641" y="9831"/>
                        <a:pt x="17727" y="15333"/>
                        <a:pt x="13182" y="17546"/>
                      </a:cubicBezTo>
                      <a:close/>
                    </a:path>
                  </a:pathLst>
                </a:custGeom>
                <a:grpFill/>
                <a:ln w="5978" cap="flat">
                  <a:noFill/>
                  <a:prstDash val="solid"/>
                  <a:miter/>
                </a:ln>
              </p:spPr>
              <p:txBody>
                <a:bodyPr rtlCol="0" anchor="ctr"/>
                <a:lstStyle/>
                <a:p>
                  <a:endParaRPr lang="en-GB"/>
                </a:p>
              </p:txBody>
            </p:sp>
            <p:sp>
              <p:nvSpPr>
                <p:cNvPr id="1385" name="Vrije vorm: vorm 1384">
                  <a:extLst>
                    <a:ext uri="{FF2B5EF4-FFF2-40B4-BE49-F238E27FC236}">
                      <a16:creationId xmlns:a16="http://schemas.microsoft.com/office/drawing/2014/main" id="{4877F76D-1C2B-4011-B704-9E9C69398F2E}"/>
                    </a:ext>
                  </a:extLst>
                </p:cNvPr>
                <p:cNvSpPr/>
                <p:nvPr/>
              </p:nvSpPr>
              <p:spPr>
                <a:xfrm>
                  <a:off x="4335959" y="4237239"/>
                  <a:ext cx="18349" cy="18466"/>
                </a:xfrm>
                <a:custGeom>
                  <a:avLst/>
                  <a:gdLst>
                    <a:gd name="connsiteX0" fmla="*/ 13181 w 18349"/>
                    <a:gd name="connsiteY0" fmla="*/ 17546 h 18466"/>
                    <a:gd name="connsiteX1" fmla="*/ 17428 w 18349"/>
                    <a:gd name="connsiteY1" fmla="*/ 5226 h 18466"/>
                    <a:gd name="connsiteX2" fmla="*/ 5168 w 18349"/>
                    <a:gd name="connsiteY2" fmla="*/ 920 h 18466"/>
                    <a:gd name="connsiteX3" fmla="*/ 921 w 18349"/>
                    <a:gd name="connsiteY3" fmla="*/ 13240 h 18466"/>
                    <a:gd name="connsiteX4" fmla="*/ 13181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1" y="17546"/>
                      </a:moveTo>
                      <a:cubicBezTo>
                        <a:pt x="17727" y="15333"/>
                        <a:pt x="19641" y="9831"/>
                        <a:pt x="17428" y="5226"/>
                      </a:cubicBezTo>
                      <a:cubicBezTo>
                        <a:pt x="15215" y="621"/>
                        <a:pt x="9713" y="-1293"/>
                        <a:pt x="5168" y="920"/>
                      </a:cubicBezTo>
                      <a:cubicBezTo>
                        <a:pt x="622" y="3133"/>
                        <a:pt x="-1292" y="8635"/>
                        <a:pt x="921" y="13240"/>
                      </a:cubicBezTo>
                      <a:cubicBezTo>
                        <a:pt x="3194" y="17845"/>
                        <a:pt x="8636" y="19759"/>
                        <a:pt x="13181" y="17546"/>
                      </a:cubicBezTo>
                      <a:close/>
                    </a:path>
                  </a:pathLst>
                </a:custGeom>
                <a:grpFill/>
                <a:ln w="5978" cap="flat">
                  <a:noFill/>
                  <a:prstDash val="solid"/>
                  <a:miter/>
                </a:ln>
              </p:spPr>
              <p:txBody>
                <a:bodyPr rtlCol="0" anchor="ctr"/>
                <a:lstStyle/>
                <a:p>
                  <a:endParaRPr lang="en-GB"/>
                </a:p>
              </p:txBody>
            </p:sp>
          </p:grpSp>
          <p:grpSp>
            <p:nvGrpSpPr>
              <p:cNvPr id="1343" name="Graphic 3">
                <a:extLst>
                  <a:ext uri="{FF2B5EF4-FFF2-40B4-BE49-F238E27FC236}">
                    <a16:creationId xmlns:a16="http://schemas.microsoft.com/office/drawing/2014/main" id="{1033401F-0577-4C33-9456-23E7BA879CE5}"/>
                  </a:ext>
                </a:extLst>
              </p:cNvPr>
              <p:cNvGrpSpPr/>
              <p:nvPr/>
            </p:nvGrpSpPr>
            <p:grpSpPr>
              <a:xfrm>
                <a:off x="3907561" y="4182611"/>
                <a:ext cx="480152" cy="231795"/>
                <a:chOff x="3907561" y="4182611"/>
                <a:chExt cx="480152" cy="231795"/>
              </a:xfrm>
              <a:grpFill/>
            </p:grpSpPr>
            <p:sp>
              <p:nvSpPr>
                <p:cNvPr id="1380" name="Vrije vorm: vorm 1379">
                  <a:extLst>
                    <a:ext uri="{FF2B5EF4-FFF2-40B4-BE49-F238E27FC236}">
                      <a16:creationId xmlns:a16="http://schemas.microsoft.com/office/drawing/2014/main" id="{A99E467C-4D16-43C8-B028-F3E3644182BD}"/>
                    </a:ext>
                  </a:extLst>
                </p:cNvPr>
                <p:cNvSpPr/>
                <p:nvPr/>
              </p:nvSpPr>
              <p:spPr>
                <a:xfrm>
                  <a:off x="3915931" y="4190201"/>
                  <a:ext cx="463910" cy="216553"/>
                </a:xfrm>
                <a:custGeom>
                  <a:avLst/>
                  <a:gdLst>
                    <a:gd name="connsiteX0" fmla="*/ 0 w 463910"/>
                    <a:gd name="connsiteY0" fmla="*/ 213784 h 216553"/>
                    <a:gd name="connsiteX1" fmla="*/ 462631 w 463910"/>
                    <a:gd name="connsiteY1" fmla="*/ 0 h 216553"/>
                    <a:gd name="connsiteX2" fmla="*/ 463910 w 463910"/>
                    <a:gd name="connsiteY2" fmla="*/ 2769 h 216553"/>
                    <a:gd name="connsiteX3" fmla="*/ 1280 w 463910"/>
                    <a:gd name="connsiteY3" fmla="*/ 216553 h 216553"/>
                  </a:gdLst>
                  <a:ahLst/>
                  <a:cxnLst>
                    <a:cxn ang="0">
                      <a:pos x="connsiteX0" y="connsiteY0"/>
                    </a:cxn>
                    <a:cxn ang="0">
                      <a:pos x="connsiteX1" y="connsiteY1"/>
                    </a:cxn>
                    <a:cxn ang="0">
                      <a:pos x="connsiteX2" y="connsiteY2"/>
                    </a:cxn>
                    <a:cxn ang="0">
                      <a:pos x="connsiteX3" y="connsiteY3"/>
                    </a:cxn>
                  </a:cxnLst>
                  <a:rect l="l" t="t" r="r" b="b"/>
                  <a:pathLst>
                    <a:path w="463910" h="216553">
                      <a:moveTo>
                        <a:pt x="0" y="213784"/>
                      </a:moveTo>
                      <a:lnTo>
                        <a:pt x="462631" y="0"/>
                      </a:lnTo>
                      <a:lnTo>
                        <a:pt x="463910" y="2769"/>
                      </a:lnTo>
                      <a:lnTo>
                        <a:pt x="1280" y="216553"/>
                      </a:lnTo>
                      <a:close/>
                    </a:path>
                  </a:pathLst>
                </a:custGeom>
                <a:grpFill/>
                <a:ln w="5978" cap="flat">
                  <a:noFill/>
                  <a:prstDash val="solid"/>
                  <a:miter/>
                </a:ln>
              </p:spPr>
              <p:txBody>
                <a:bodyPr rtlCol="0" anchor="ctr"/>
                <a:lstStyle/>
                <a:p>
                  <a:endParaRPr lang="en-GB"/>
                </a:p>
              </p:txBody>
            </p:sp>
            <p:sp>
              <p:nvSpPr>
                <p:cNvPr id="1381" name="Vrije vorm: vorm 1380">
                  <a:extLst>
                    <a:ext uri="{FF2B5EF4-FFF2-40B4-BE49-F238E27FC236}">
                      <a16:creationId xmlns:a16="http://schemas.microsoft.com/office/drawing/2014/main" id="{F156B81F-A3A4-4B04-8EFB-612C6CB5CB58}"/>
                    </a:ext>
                  </a:extLst>
                </p:cNvPr>
                <p:cNvSpPr/>
                <p:nvPr/>
              </p:nvSpPr>
              <p:spPr>
                <a:xfrm>
                  <a:off x="3907561" y="4395994"/>
                  <a:ext cx="18357" cy="18412"/>
                </a:xfrm>
                <a:custGeom>
                  <a:avLst/>
                  <a:gdLst>
                    <a:gd name="connsiteX0" fmla="*/ 13061 w 18357"/>
                    <a:gd name="connsiteY0" fmla="*/ 17579 h 18412"/>
                    <a:gd name="connsiteX1" fmla="*/ 860 w 18357"/>
                    <a:gd name="connsiteY1" fmla="*/ 13034 h 18412"/>
                    <a:gd name="connsiteX2" fmla="*/ 5346 w 18357"/>
                    <a:gd name="connsiteY2" fmla="*/ 833 h 18412"/>
                    <a:gd name="connsiteX3" fmla="*/ 17487 w 18357"/>
                    <a:gd name="connsiteY3" fmla="*/ 5379 h 18412"/>
                    <a:gd name="connsiteX4" fmla="*/ 13061 w 18357"/>
                    <a:gd name="connsiteY4" fmla="*/ 17579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2">
                      <a:moveTo>
                        <a:pt x="13061" y="17579"/>
                      </a:moveTo>
                      <a:cubicBezTo>
                        <a:pt x="8456" y="19672"/>
                        <a:pt x="3013" y="17699"/>
                        <a:pt x="860" y="13034"/>
                      </a:cubicBezTo>
                      <a:cubicBezTo>
                        <a:pt x="-1293" y="8429"/>
                        <a:pt x="741" y="2926"/>
                        <a:pt x="5346" y="833"/>
                      </a:cubicBezTo>
                      <a:cubicBezTo>
                        <a:pt x="9951" y="-1260"/>
                        <a:pt x="15393" y="714"/>
                        <a:pt x="17487" y="5379"/>
                      </a:cubicBezTo>
                      <a:cubicBezTo>
                        <a:pt x="19640" y="9984"/>
                        <a:pt x="17666" y="15426"/>
                        <a:pt x="13061" y="17579"/>
                      </a:cubicBezTo>
                      <a:close/>
                    </a:path>
                  </a:pathLst>
                </a:custGeom>
                <a:grpFill/>
                <a:ln w="5978" cap="flat">
                  <a:noFill/>
                  <a:prstDash val="solid"/>
                  <a:miter/>
                </a:ln>
              </p:spPr>
              <p:txBody>
                <a:bodyPr rtlCol="0" anchor="ctr"/>
                <a:lstStyle/>
                <a:p>
                  <a:endParaRPr lang="en-GB"/>
                </a:p>
              </p:txBody>
            </p:sp>
            <p:sp>
              <p:nvSpPr>
                <p:cNvPr id="1382" name="Vrije vorm: vorm 1381">
                  <a:extLst>
                    <a:ext uri="{FF2B5EF4-FFF2-40B4-BE49-F238E27FC236}">
                      <a16:creationId xmlns:a16="http://schemas.microsoft.com/office/drawing/2014/main" id="{31CBF3A8-B7FF-4BD6-B5D8-704D6C47640E}"/>
                    </a:ext>
                  </a:extLst>
                </p:cNvPr>
                <p:cNvSpPr/>
                <p:nvPr/>
              </p:nvSpPr>
              <p:spPr>
                <a:xfrm>
                  <a:off x="4369418" y="4182611"/>
                  <a:ext cx="18295" cy="18393"/>
                </a:xfrm>
                <a:custGeom>
                  <a:avLst/>
                  <a:gdLst>
                    <a:gd name="connsiteX0" fmla="*/ 12975 w 18295"/>
                    <a:gd name="connsiteY0" fmla="*/ 17570 h 18393"/>
                    <a:gd name="connsiteX1" fmla="*/ 17461 w 18295"/>
                    <a:gd name="connsiteY1" fmla="*/ 5369 h 18393"/>
                    <a:gd name="connsiteX2" fmla="*/ 5320 w 18295"/>
                    <a:gd name="connsiteY2" fmla="*/ 824 h 18393"/>
                    <a:gd name="connsiteX3" fmla="*/ 834 w 18295"/>
                    <a:gd name="connsiteY3" fmla="*/ 13024 h 18393"/>
                    <a:gd name="connsiteX4" fmla="*/ 12975 w 18295"/>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393">
                      <a:moveTo>
                        <a:pt x="12975" y="17570"/>
                      </a:moveTo>
                      <a:cubicBezTo>
                        <a:pt x="17580" y="15476"/>
                        <a:pt x="19554" y="9974"/>
                        <a:pt x="17461" y="5369"/>
                      </a:cubicBezTo>
                      <a:cubicBezTo>
                        <a:pt x="15308" y="764"/>
                        <a:pt x="9865" y="-1270"/>
                        <a:pt x="5320" y="824"/>
                      </a:cubicBezTo>
                      <a:cubicBezTo>
                        <a:pt x="715" y="2917"/>
                        <a:pt x="-1259" y="8419"/>
                        <a:pt x="834" y="13024"/>
                      </a:cubicBezTo>
                      <a:cubicBezTo>
                        <a:pt x="2928" y="17630"/>
                        <a:pt x="8370" y="19663"/>
                        <a:pt x="12975" y="17570"/>
                      </a:cubicBezTo>
                      <a:close/>
                    </a:path>
                  </a:pathLst>
                </a:custGeom>
                <a:grpFill/>
                <a:ln w="5978" cap="flat">
                  <a:noFill/>
                  <a:prstDash val="solid"/>
                  <a:miter/>
                </a:ln>
              </p:spPr>
              <p:txBody>
                <a:bodyPr rtlCol="0" anchor="ctr"/>
                <a:lstStyle/>
                <a:p>
                  <a:endParaRPr lang="en-GB"/>
                </a:p>
              </p:txBody>
            </p:sp>
          </p:grpSp>
          <p:grpSp>
            <p:nvGrpSpPr>
              <p:cNvPr id="1344" name="Graphic 3">
                <a:extLst>
                  <a:ext uri="{FF2B5EF4-FFF2-40B4-BE49-F238E27FC236}">
                    <a16:creationId xmlns:a16="http://schemas.microsoft.com/office/drawing/2014/main" id="{EAF699AD-CC0A-46E6-8812-A6D84B623AE3}"/>
                  </a:ext>
                </a:extLst>
              </p:cNvPr>
              <p:cNvGrpSpPr/>
              <p:nvPr/>
            </p:nvGrpSpPr>
            <p:grpSpPr>
              <a:xfrm>
                <a:off x="3802247" y="3529846"/>
                <a:ext cx="145782" cy="25809"/>
                <a:chOff x="3802247" y="3529846"/>
                <a:chExt cx="145782" cy="25809"/>
              </a:xfrm>
              <a:grpFill/>
            </p:grpSpPr>
            <p:sp>
              <p:nvSpPr>
                <p:cNvPr id="1377" name="Vrije vorm: vorm 1376">
                  <a:extLst>
                    <a:ext uri="{FF2B5EF4-FFF2-40B4-BE49-F238E27FC236}">
                      <a16:creationId xmlns:a16="http://schemas.microsoft.com/office/drawing/2014/main" id="{CB6B4B94-3DD8-4180-8FBC-F0513EEA977B}"/>
                    </a:ext>
                  </a:extLst>
                </p:cNvPr>
                <p:cNvSpPr/>
                <p:nvPr/>
              </p:nvSpPr>
              <p:spPr>
                <a:xfrm>
                  <a:off x="3810876" y="3537517"/>
                  <a:ext cx="128525" cy="10466"/>
                </a:xfrm>
                <a:custGeom>
                  <a:avLst/>
                  <a:gdLst>
                    <a:gd name="connsiteX0" fmla="*/ 128346 w 128525"/>
                    <a:gd name="connsiteY0" fmla="*/ 0 h 10466"/>
                    <a:gd name="connsiteX1" fmla="*/ 128526 w 128525"/>
                    <a:gd name="connsiteY1" fmla="*/ 3050 h 10466"/>
                    <a:gd name="connsiteX2" fmla="*/ 180 w 128525"/>
                    <a:gd name="connsiteY2" fmla="*/ 10466 h 10466"/>
                    <a:gd name="connsiteX3" fmla="*/ 0 w 128525"/>
                    <a:gd name="connsiteY3" fmla="*/ 7416 h 10466"/>
                  </a:gdLst>
                  <a:ahLst/>
                  <a:cxnLst>
                    <a:cxn ang="0">
                      <a:pos x="connsiteX0" y="connsiteY0"/>
                    </a:cxn>
                    <a:cxn ang="0">
                      <a:pos x="connsiteX1" y="connsiteY1"/>
                    </a:cxn>
                    <a:cxn ang="0">
                      <a:pos x="connsiteX2" y="connsiteY2"/>
                    </a:cxn>
                    <a:cxn ang="0">
                      <a:pos x="connsiteX3" y="connsiteY3"/>
                    </a:cxn>
                  </a:cxnLst>
                  <a:rect l="l" t="t" r="r" b="b"/>
                  <a:pathLst>
                    <a:path w="128525" h="10466">
                      <a:moveTo>
                        <a:pt x="128346" y="0"/>
                      </a:moveTo>
                      <a:lnTo>
                        <a:pt x="128526" y="3050"/>
                      </a:lnTo>
                      <a:lnTo>
                        <a:pt x="180" y="10466"/>
                      </a:lnTo>
                      <a:lnTo>
                        <a:pt x="0" y="7416"/>
                      </a:lnTo>
                      <a:close/>
                    </a:path>
                  </a:pathLst>
                </a:custGeom>
                <a:grpFill/>
                <a:ln w="5978" cap="flat">
                  <a:noFill/>
                  <a:prstDash val="solid"/>
                  <a:miter/>
                </a:ln>
              </p:spPr>
              <p:txBody>
                <a:bodyPr rtlCol="0" anchor="ctr"/>
                <a:lstStyle/>
                <a:p>
                  <a:endParaRPr lang="en-GB"/>
                </a:p>
              </p:txBody>
            </p:sp>
            <p:sp>
              <p:nvSpPr>
                <p:cNvPr id="1378" name="Vrije vorm: vorm 1377">
                  <a:extLst>
                    <a:ext uri="{FF2B5EF4-FFF2-40B4-BE49-F238E27FC236}">
                      <a16:creationId xmlns:a16="http://schemas.microsoft.com/office/drawing/2014/main" id="{BB929F01-6CD3-48EA-9E88-B6F6A74370C0}"/>
                    </a:ext>
                  </a:extLst>
                </p:cNvPr>
                <p:cNvSpPr/>
                <p:nvPr/>
              </p:nvSpPr>
              <p:spPr>
                <a:xfrm>
                  <a:off x="3802247" y="3537202"/>
                  <a:ext cx="18333" cy="18452"/>
                </a:xfrm>
                <a:custGeom>
                  <a:avLst/>
                  <a:gdLst>
                    <a:gd name="connsiteX0" fmla="*/ 9705 w 18333"/>
                    <a:gd name="connsiteY0" fmla="*/ 18437 h 18452"/>
                    <a:gd name="connsiteX1" fmla="*/ 16 w 18333"/>
                    <a:gd name="connsiteY1" fmla="*/ 9765 h 18452"/>
                    <a:gd name="connsiteX2" fmla="*/ 8629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9" y="16"/>
                      </a:cubicBezTo>
                      <a:cubicBezTo>
                        <a:pt x="13653" y="-283"/>
                        <a:pt x="18018" y="3605"/>
                        <a:pt x="18317" y="8688"/>
                      </a:cubicBezTo>
                      <a:cubicBezTo>
                        <a:pt x="18616" y="13772"/>
                        <a:pt x="14789" y="18138"/>
                        <a:pt x="9705" y="18437"/>
                      </a:cubicBezTo>
                      <a:close/>
                    </a:path>
                  </a:pathLst>
                </a:custGeom>
                <a:grpFill/>
                <a:ln w="5978" cap="flat">
                  <a:noFill/>
                  <a:prstDash val="solid"/>
                  <a:miter/>
                </a:ln>
              </p:spPr>
              <p:txBody>
                <a:bodyPr rtlCol="0" anchor="ctr"/>
                <a:lstStyle/>
                <a:p>
                  <a:endParaRPr lang="en-GB"/>
                </a:p>
              </p:txBody>
            </p:sp>
            <p:sp>
              <p:nvSpPr>
                <p:cNvPr id="1379" name="Vrije vorm: vorm 1378">
                  <a:extLst>
                    <a:ext uri="{FF2B5EF4-FFF2-40B4-BE49-F238E27FC236}">
                      <a16:creationId xmlns:a16="http://schemas.microsoft.com/office/drawing/2014/main" id="{BAD8892C-A1BD-4935-AB5D-4F9EB51003B5}"/>
                    </a:ext>
                  </a:extLst>
                </p:cNvPr>
                <p:cNvSpPr/>
                <p:nvPr/>
              </p:nvSpPr>
              <p:spPr>
                <a:xfrm>
                  <a:off x="3929696" y="3529846"/>
                  <a:ext cx="18333" cy="18453"/>
                </a:xfrm>
                <a:custGeom>
                  <a:avLst/>
                  <a:gdLst>
                    <a:gd name="connsiteX0" fmla="*/ 9705 w 18333"/>
                    <a:gd name="connsiteY0" fmla="*/ 18437 h 18453"/>
                    <a:gd name="connsiteX1" fmla="*/ 18317 w 18333"/>
                    <a:gd name="connsiteY1" fmla="*/ 8688 h 18453"/>
                    <a:gd name="connsiteX2" fmla="*/ 8628 w 18333"/>
                    <a:gd name="connsiteY2" fmla="*/ 16 h 18453"/>
                    <a:gd name="connsiteX3" fmla="*/ 16 w 18333"/>
                    <a:gd name="connsiteY3" fmla="*/ 9765 h 18453"/>
                    <a:gd name="connsiteX4" fmla="*/ 9705 w 18333"/>
                    <a:gd name="connsiteY4" fmla="*/ 18437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8437"/>
                      </a:moveTo>
                      <a:cubicBezTo>
                        <a:pt x="14729" y="18138"/>
                        <a:pt x="18616" y="13772"/>
                        <a:pt x="18317" y="8688"/>
                      </a:cubicBezTo>
                      <a:cubicBezTo>
                        <a:pt x="18018" y="3605"/>
                        <a:pt x="13652" y="-283"/>
                        <a:pt x="8628" y="16"/>
                      </a:cubicBezTo>
                      <a:cubicBezTo>
                        <a:pt x="3605" y="315"/>
                        <a:pt x="-283"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1345" name="Graphic 3">
                <a:extLst>
                  <a:ext uri="{FF2B5EF4-FFF2-40B4-BE49-F238E27FC236}">
                    <a16:creationId xmlns:a16="http://schemas.microsoft.com/office/drawing/2014/main" id="{C6BE8850-4553-4139-8B9D-76FA97CE559F}"/>
                  </a:ext>
                </a:extLst>
              </p:cNvPr>
              <p:cNvGrpSpPr/>
              <p:nvPr/>
            </p:nvGrpSpPr>
            <p:grpSpPr>
              <a:xfrm>
                <a:off x="3803101" y="4137155"/>
                <a:ext cx="601660" cy="274852"/>
                <a:chOff x="3803101" y="4137155"/>
                <a:chExt cx="601660" cy="274852"/>
              </a:xfrm>
              <a:grpFill/>
            </p:grpSpPr>
            <p:sp>
              <p:nvSpPr>
                <p:cNvPr id="1374" name="Vrije vorm: vorm 1373">
                  <a:extLst>
                    <a:ext uri="{FF2B5EF4-FFF2-40B4-BE49-F238E27FC236}">
                      <a16:creationId xmlns:a16="http://schemas.microsoft.com/office/drawing/2014/main" id="{5FEF0A7D-2137-4DE9-99E7-EE6E086CB7B2}"/>
                    </a:ext>
                  </a:extLst>
                </p:cNvPr>
                <p:cNvSpPr/>
                <p:nvPr/>
              </p:nvSpPr>
              <p:spPr>
                <a:xfrm>
                  <a:off x="3811234" y="4144860"/>
                  <a:ext cx="585452" cy="259563"/>
                </a:xfrm>
                <a:custGeom>
                  <a:avLst/>
                  <a:gdLst>
                    <a:gd name="connsiteX0" fmla="*/ 585453 w 585452"/>
                    <a:gd name="connsiteY0" fmla="*/ 2811 h 259563"/>
                    <a:gd name="connsiteX1" fmla="*/ 1256 w 585452"/>
                    <a:gd name="connsiteY1" fmla="*/ 259563 h 259563"/>
                    <a:gd name="connsiteX2" fmla="*/ 0 w 585452"/>
                    <a:gd name="connsiteY2" fmla="*/ 256752 h 259563"/>
                    <a:gd name="connsiteX3" fmla="*/ 584197 w 585452"/>
                    <a:gd name="connsiteY3" fmla="*/ 0 h 259563"/>
                  </a:gdLst>
                  <a:ahLst/>
                  <a:cxnLst>
                    <a:cxn ang="0">
                      <a:pos x="connsiteX0" y="connsiteY0"/>
                    </a:cxn>
                    <a:cxn ang="0">
                      <a:pos x="connsiteX1" y="connsiteY1"/>
                    </a:cxn>
                    <a:cxn ang="0">
                      <a:pos x="connsiteX2" y="connsiteY2"/>
                    </a:cxn>
                    <a:cxn ang="0">
                      <a:pos x="connsiteX3" y="connsiteY3"/>
                    </a:cxn>
                  </a:cxnLst>
                  <a:rect l="l" t="t" r="r" b="b"/>
                  <a:pathLst>
                    <a:path w="585452" h="259563">
                      <a:moveTo>
                        <a:pt x="585453" y="2811"/>
                      </a:moveTo>
                      <a:lnTo>
                        <a:pt x="1256" y="259563"/>
                      </a:lnTo>
                      <a:lnTo>
                        <a:pt x="0" y="256752"/>
                      </a:lnTo>
                      <a:lnTo>
                        <a:pt x="584197" y="0"/>
                      </a:lnTo>
                      <a:close/>
                    </a:path>
                  </a:pathLst>
                </a:custGeom>
                <a:grpFill/>
                <a:ln w="5978" cap="flat">
                  <a:noFill/>
                  <a:prstDash val="solid"/>
                  <a:miter/>
                </a:ln>
              </p:spPr>
              <p:txBody>
                <a:bodyPr rtlCol="0" anchor="ctr"/>
                <a:lstStyle/>
                <a:p>
                  <a:endParaRPr lang="en-GB"/>
                </a:p>
              </p:txBody>
            </p:sp>
            <p:sp>
              <p:nvSpPr>
                <p:cNvPr id="1375" name="Vrije vorm: vorm 1374">
                  <a:extLst>
                    <a:ext uri="{FF2B5EF4-FFF2-40B4-BE49-F238E27FC236}">
                      <a16:creationId xmlns:a16="http://schemas.microsoft.com/office/drawing/2014/main" id="{94A501AF-0189-45B5-9045-54DB0AE18E6D}"/>
                    </a:ext>
                  </a:extLst>
                </p:cNvPr>
                <p:cNvSpPr/>
                <p:nvPr/>
              </p:nvSpPr>
              <p:spPr>
                <a:xfrm>
                  <a:off x="3803101" y="4393549"/>
                  <a:ext cx="18335" cy="18458"/>
                </a:xfrm>
                <a:custGeom>
                  <a:avLst/>
                  <a:gdLst>
                    <a:gd name="connsiteX0" fmla="*/ 12859 w 18335"/>
                    <a:gd name="connsiteY0" fmla="*/ 17692 h 18458"/>
                    <a:gd name="connsiteX1" fmla="*/ 778 w 18335"/>
                    <a:gd name="connsiteY1" fmla="*/ 12908 h 18458"/>
                    <a:gd name="connsiteX2" fmla="*/ 5442 w 18335"/>
                    <a:gd name="connsiteY2" fmla="*/ 767 h 18458"/>
                    <a:gd name="connsiteX3" fmla="*/ 17524 w 18335"/>
                    <a:gd name="connsiteY3" fmla="*/ 5551 h 18458"/>
                    <a:gd name="connsiteX4" fmla="*/ 12859 w 1833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8">
                      <a:moveTo>
                        <a:pt x="12859" y="17692"/>
                      </a:moveTo>
                      <a:cubicBezTo>
                        <a:pt x="8254" y="19726"/>
                        <a:pt x="2811" y="17572"/>
                        <a:pt x="778" y="12908"/>
                      </a:cubicBezTo>
                      <a:cubicBezTo>
                        <a:pt x="-1256" y="8242"/>
                        <a:pt x="838" y="2800"/>
                        <a:pt x="5442" y="767"/>
                      </a:cubicBezTo>
                      <a:cubicBezTo>
                        <a:pt x="10048" y="-1267"/>
                        <a:pt x="15490" y="886"/>
                        <a:pt x="17524" y="5551"/>
                      </a:cubicBezTo>
                      <a:cubicBezTo>
                        <a:pt x="19617" y="10276"/>
                        <a:pt x="17524" y="15718"/>
                        <a:pt x="12859" y="17692"/>
                      </a:cubicBezTo>
                      <a:close/>
                    </a:path>
                  </a:pathLst>
                </a:custGeom>
                <a:grpFill/>
                <a:ln w="5978" cap="flat">
                  <a:noFill/>
                  <a:prstDash val="solid"/>
                  <a:miter/>
                </a:ln>
              </p:spPr>
              <p:txBody>
                <a:bodyPr rtlCol="0" anchor="ctr"/>
                <a:lstStyle/>
                <a:p>
                  <a:endParaRPr lang="en-GB"/>
                </a:p>
              </p:txBody>
            </p:sp>
            <p:sp>
              <p:nvSpPr>
                <p:cNvPr id="1376" name="Vrije vorm: vorm 1375">
                  <a:extLst>
                    <a:ext uri="{FF2B5EF4-FFF2-40B4-BE49-F238E27FC236}">
                      <a16:creationId xmlns:a16="http://schemas.microsoft.com/office/drawing/2014/main" id="{609E7264-93D7-4BCC-8E9C-13D95F38B791}"/>
                    </a:ext>
                  </a:extLst>
                </p:cNvPr>
                <p:cNvSpPr/>
                <p:nvPr/>
              </p:nvSpPr>
              <p:spPr>
                <a:xfrm>
                  <a:off x="4386460" y="4137155"/>
                  <a:ext cx="18301" cy="18467"/>
                </a:xfrm>
                <a:custGeom>
                  <a:avLst/>
                  <a:gdLst>
                    <a:gd name="connsiteX0" fmla="*/ 12859 w 18301"/>
                    <a:gd name="connsiteY0" fmla="*/ 17692 h 18467"/>
                    <a:gd name="connsiteX1" fmla="*/ 17523 w 18301"/>
                    <a:gd name="connsiteY1" fmla="*/ 5551 h 18467"/>
                    <a:gd name="connsiteX2" fmla="*/ 5443 w 18301"/>
                    <a:gd name="connsiteY2" fmla="*/ 767 h 18467"/>
                    <a:gd name="connsiteX3" fmla="*/ 777 w 18301"/>
                    <a:gd name="connsiteY3" fmla="*/ 12908 h 18467"/>
                    <a:gd name="connsiteX4" fmla="*/ 12859 w 18301"/>
                    <a:gd name="connsiteY4" fmla="*/ 1769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7">
                      <a:moveTo>
                        <a:pt x="12859" y="17692"/>
                      </a:moveTo>
                      <a:cubicBezTo>
                        <a:pt x="17464" y="15659"/>
                        <a:pt x="19557" y="10216"/>
                        <a:pt x="17523" y="5551"/>
                      </a:cubicBezTo>
                      <a:cubicBezTo>
                        <a:pt x="15490" y="886"/>
                        <a:pt x="10048" y="-1267"/>
                        <a:pt x="5443" y="767"/>
                      </a:cubicBezTo>
                      <a:cubicBezTo>
                        <a:pt x="837" y="2800"/>
                        <a:pt x="-1256" y="8242"/>
                        <a:pt x="777" y="12908"/>
                      </a:cubicBezTo>
                      <a:cubicBezTo>
                        <a:pt x="2871" y="17632"/>
                        <a:pt x="8253" y="19726"/>
                        <a:pt x="12859" y="17692"/>
                      </a:cubicBezTo>
                      <a:close/>
                    </a:path>
                  </a:pathLst>
                </a:custGeom>
                <a:grpFill/>
                <a:ln w="5978" cap="flat">
                  <a:noFill/>
                  <a:prstDash val="solid"/>
                  <a:miter/>
                </a:ln>
              </p:spPr>
              <p:txBody>
                <a:bodyPr rtlCol="0" anchor="ctr"/>
                <a:lstStyle/>
                <a:p>
                  <a:endParaRPr lang="en-GB"/>
                </a:p>
              </p:txBody>
            </p:sp>
          </p:grpSp>
          <p:grpSp>
            <p:nvGrpSpPr>
              <p:cNvPr id="1346" name="Graphic 3">
                <a:extLst>
                  <a:ext uri="{FF2B5EF4-FFF2-40B4-BE49-F238E27FC236}">
                    <a16:creationId xmlns:a16="http://schemas.microsoft.com/office/drawing/2014/main" id="{9A5119B6-2528-4EBD-ADB5-3C8734496086}"/>
                  </a:ext>
                </a:extLst>
              </p:cNvPr>
              <p:cNvGrpSpPr/>
              <p:nvPr/>
            </p:nvGrpSpPr>
            <p:grpSpPr>
              <a:xfrm>
                <a:off x="3966287" y="4329757"/>
                <a:ext cx="284857" cy="153936"/>
                <a:chOff x="3966287" y="4329757"/>
                <a:chExt cx="284857" cy="153936"/>
              </a:xfrm>
              <a:grpFill/>
            </p:grpSpPr>
            <p:sp>
              <p:nvSpPr>
                <p:cNvPr id="1371" name="Vrije vorm: vorm 1370">
                  <a:extLst>
                    <a:ext uri="{FF2B5EF4-FFF2-40B4-BE49-F238E27FC236}">
                      <a16:creationId xmlns:a16="http://schemas.microsoft.com/office/drawing/2014/main" id="{D738350A-6941-4CF7-A223-735F667C10E9}"/>
                    </a:ext>
                  </a:extLst>
                </p:cNvPr>
                <p:cNvSpPr/>
                <p:nvPr/>
              </p:nvSpPr>
              <p:spPr>
                <a:xfrm>
                  <a:off x="3974329" y="4337379"/>
                  <a:ext cx="268713" cy="138692"/>
                </a:xfrm>
                <a:custGeom>
                  <a:avLst/>
                  <a:gdLst>
                    <a:gd name="connsiteX0" fmla="*/ 268714 w 268713"/>
                    <a:gd name="connsiteY0" fmla="*/ 2751 h 138692"/>
                    <a:gd name="connsiteX1" fmla="*/ 1375 w 268713"/>
                    <a:gd name="connsiteY1" fmla="*/ 138693 h 138692"/>
                    <a:gd name="connsiteX2" fmla="*/ 0 w 268713"/>
                    <a:gd name="connsiteY2" fmla="*/ 135942 h 138692"/>
                    <a:gd name="connsiteX3" fmla="*/ 267338 w 268713"/>
                    <a:gd name="connsiteY3" fmla="*/ 0 h 138692"/>
                  </a:gdLst>
                  <a:ahLst/>
                  <a:cxnLst>
                    <a:cxn ang="0">
                      <a:pos x="connsiteX0" y="connsiteY0"/>
                    </a:cxn>
                    <a:cxn ang="0">
                      <a:pos x="connsiteX1" y="connsiteY1"/>
                    </a:cxn>
                    <a:cxn ang="0">
                      <a:pos x="connsiteX2" y="connsiteY2"/>
                    </a:cxn>
                    <a:cxn ang="0">
                      <a:pos x="connsiteX3" y="connsiteY3"/>
                    </a:cxn>
                  </a:cxnLst>
                  <a:rect l="l" t="t" r="r" b="b"/>
                  <a:pathLst>
                    <a:path w="268713" h="138692">
                      <a:moveTo>
                        <a:pt x="268714" y="2751"/>
                      </a:moveTo>
                      <a:lnTo>
                        <a:pt x="1375" y="138693"/>
                      </a:lnTo>
                      <a:lnTo>
                        <a:pt x="0" y="135942"/>
                      </a:lnTo>
                      <a:lnTo>
                        <a:pt x="267338" y="0"/>
                      </a:lnTo>
                      <a:close/>
                    </a:path>
                  </a:pathLst>
                </a:custGeom>
                <a:grpFill/>
                <a:ln w="5978" cap="flat">
                  <a:noFill/>
                  <a:prstDash val="solid"/>
                  <a:miter/>
                </a:ln>
              </p:spPr>
              <p:txBody>
                <a:bodyPr rtlCol="0" anchor="ctr"/>
                <a:lstStyle/>
                <a:p>
                  <a:endParaRPr lang="en-GB"/>
                </a:p>
              </p:txBody>
            </p:sp>
            <p:sp>
              <p:nvSpPr>
                <p:cNvPr id="1372" name="Vrije vorm: vorm 1371">
                  <a:extLst>
                    <a:ext uri="{FF2B5EF4-FFF2-40B4-BE49-F238E27FC236}">
                      <a16:creationId xmlns:a16="http://schemas.microsoft.com/office/drawing/2014/main" id="{FC495A61-3BA3-441F-8341-C096987E66E3}"/>
                    </a:ext>
                  </a:extLst>
                </p:cNvPr>
                <p:cNvSpPr/>
                <p:nvPr/>
              </p:nvSpPr>
              <p:spPr>
                <a:xfrm>
                  <a:off x="3966287" y="4465280"/>
                  <a:ext cx="18297" cy="18413"/>
                </a:xfrm>
                <a:custGeom>
                  <a:avLst/>
                  <a:gdLst>
                    <a:gd name="connsiteX0" fmla="*/ 13305 w 18297"/>
                    <a:gd name="connsiteY0" fmla="*/ 17430 h 18413"/>
                    <a:gd name="connsiteX1" fmla="*/ 985 w 18297"/>
                    <a:gd name="connsiteY1" fmla="*/ 13364 h 18413"/>
                    <a:gd name="connsiteX2" fmla="*/ 4992 w 18297"/>
                    <a:gd name="connsiteY2" fmla="*/ 983 h 18413"/>
                    <a:gd name="connsiteX3" fmla="*/ 17312 w 18297"/>
                    <a:gd name="connsiteY3" fmla="*/ 5050 h 18413"/>
                    <a:gd name="connsiteX4" fmla="*/ 13305 w 18297"/>
                    <a:gd name="connsiteY4" fmla="*/ 17430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3305" y="17430"/>
                      </a:moveTo>
                      <a:cubicBezTo>
                        <a:pt x="8820" y="19703"/>
                        <a:pt x="3258" y="17909"/>
                        <a:pt x="985" y="13364"/>
                      </a:cubicBezTo>
                      <a:cubicBezTo>
                        <a:pt x="-1288" y="8818"/>
                        <a:pt x="506" y="3256"/>
                        <a:pt x="4992" y="983"/>
                      </a:cubicBezTo>
                      <a:cubicBezTo>
                        <a:pt x="9477" y="-1289"/>
                        <a:pt x="15039" y="505"/>
                        <a:pt x="17312" y="5050"/>
                      </a:cubicBezTo>
                      <a:cubicBezTo>
                        <a:pt x="19585" y="9596"/>
                        <a:pt x="17791" y="15158"/>
                        <a:pt x="13305" y="17430"/>
                      </a:cubicBezTo>
                      <a:close/>
                    </a:path>
                  </a:pathLst>
                </a:custGeom>
                <a:grpFill/>
                <a:ln w="5978" cap="flat">
                  <a:noFill/>
                  <a:prstDash val="solid"/>
                  <a:miter/>
                </a:ln>
              </p:spPr>
              <p:txBody>
                <a:bodyPr rtlCol="0" anchor="ctr"/>
                <a:lstStyle/>
                <a:p>
                  <a:endParaRPr lang="en-GB"/>
                </a:p>
              </p:txBody>
            </p:sp>
            <p:sp>
              <p:nvSpPr>
                <p:cNvPr id="1373" name="Vrije vorm: vorm 1372">
                  <a:extLst>
                    <a:ext uri="{FF2B5EF4-FFF2-40B4-BE49-F238E27FC236}">
                      <a16:creationId xmlns:a16="http://schemas.microsoft.com/office/drawing/2014/main" id="{14B90EE0-341E-4553-B5A6-A84ED87879A1}"/>
                    </a:ext>
                  </a:extLst>
                </p:cNvPr>
                <p:cNvSpPr/>
                <p:nvPr/>
              </p:nvSpPr>
              <p:spPr>
                <a:xfrm>
                  <a:off x="4232847" y="4329757"/>
                  <a:ext cx="18297" cy="18439"/>
                </a:xfrm>
                <a:custGeom>
                  <a:avLst/>
                  <a:gdLst>
                    <a:gd name="connsiteX0" fmla="*/ 13305 w 18297"/>
                    <a:gd name="connsiteY0" fmla="*/ 17430 h 18439"/>
                    <a:gd name="connsiteX1" fmla="*/ 17312 w 18297"/>
                    <a:gd name="connsiteY1" fmla="*/ 5050 h 18439"/>
                    <a:gd name="connsiteX2" fmla="*/ 4992 w 18297"/>
                    <a:gd name="connsiteY2" fmla="*/ 983 h 18439"/>
                    <a:gd name="connsiteX3" fmla="*/ 985 w 18297"/>
                    <a:gd name="connsiteY3" fmla="*/ 13363 h 18439"/>
                    <a:gd name="connsiteX4" fmla="*/ 13305 w 18297"/>
                    <a:gd name="connsiteY4" fmla="*/ 1743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9">
                      <a:moveTo>
                        <a:pt x="13305" y="17430"/>
                      </a:moveTo>
                      <a:cubicBezTo>
                        <a:pt x="17791" y="15158"/>
                        <a:pt x="19585" y="9595"/>
                        <a:pt x="17312" y="5050"/>
                      </a:cubicBezTo>
                      <a:cubicBezTo>
                        <a:pt x="15039" y="505"/>
                        <a:pt x="9477" y="-1289"/>
                        <a:pt x="4992" y="983"/>
                      </a:cubicBezTo>
                      <a:cubicBezTo>
                        <a:pt x="506" y="3256"/>
                        <a:pt x="-1288" y="8818"/>
                        <a:pt x="985" y="13363"/>
                      </a:cubicBezTo>
                      <a:cubicBezTo>
                        <a:pt x="3258" y="17909"/>
                        <a:pt x="8760" y="19763"/>
                        <a:pt x="13305" y="17430"/>
                      </a:cubicBezTo>
                      <a:close/>
                    </a:path>
                  </a:pathLst>
                </a:custGeom>
                <a:grpFill/>
                <a:ln w="5978" cap="flat">
                  <a:noFill/>
                  <a:prstDash val="solid"/>
                  <a:miter/>
                </a:ln>
              </p:spPr>
              <p:txBody>
                <a:bodyPr rtlCol="0" anchor="ctr"/>
                <a:lstStyle/>
                <a:p>
                  <a:endParaRPr lang="en-GB"/>
                </a:p>
              </p:txBody>
            </p:sp>
          </p:grpSp>
          <p:grpSp>
            <p:nvGrpSpPr>
              <p:cNvPr id="1347" name="Graphic 3">
                <a:extLst>
                  <a:ext uri="{FF2B5EF4-FFF2-40B4-BE49-F238E27FC236}">
                    <a16:creationId xmlns:a16="http://schemas.microsoft.com/office/drawing/2014/main" id="{53302D82-434B-4001-A819-9ACE8C476591}"/>
                  </a:ext>
                </a:extLst>
              </p:cNvPr>
              <p:cNvGrpSpPr/>
              <p:nvPr/>
            </p:nvGrpSpPr>
            <p:grpSpPr>
              <a:xfrm>
                <a:off x="3996433" y="4473251"/>
                <a:ext cx="153872" cy="93856"/>
                <a:chOff x="3996433" y="4473251"/>
                <a:chExt cx="153872" cy="93856"/>
              </a:xfrm>
              <a:grpFill/>
            </p:grpSpPr>
            <p:sp>
              <p:nvSpPr>
                <p:cNvPr id="1368" name="Vrije vorm: vorm 1367">
                  <a:extLst>
                    <a:ext uri="{FF2B5EF4-FFF2-40B4-BE49-F238E27FC236}">
                      <a16:creationId xmlns:a16="http://schemas.microsoft.com/office/drawing/2014/main" id="{7C871CE8-BEAF-492B-9D09-106CA4657976}"/>
                    </a:ext>
                  </a:extLst>
                </p:cNvPr>
                <p:cNvSpPr/>
                <p:nvPr/>
              </p:nvSpPr>
              <p:spPr>
                <a:xfrm>
                  <a:off x="4004471" y="4480856"/>
                  <a:ext cx="137796" cy="78586"/>
                </a:xfrm>
                <a:custGeom>
                  <a:avLst/>
                  <a:gdLst>
                    <a:gd name="connsiteX0" fmla="*/ 137796 w 137796"/>
                    <a:gd name="connsiteY0" fmla="*/ 2691 h 78586"/>
                    <a:gd name="connsiteX1" fmla="*/ 1435 w 137796"/>
                    <a:gd name="connsiteY1" fmla="*/ 78587 h 78586"/>
                    <a:gd name="connsiteX2" fmla="*/ 0 w 137796"/>
                    <a:gd name="connsiteY2" fmla="*/ 75895 h 78586"/>
                    <a:gd name="connsiteX3" fmla="*/ 136301 w 137796"/>
                    <a:gd name="connsiteY3" fmla="*/ 0 h 78586"/>
                  </a:gdLst>
                  <a:ahLst/>
                  <a:cxnLst>
                    <a:cxn ang="0">
                      <a:pos x="connsiteX0" y="connsiteY0"/>
                    </a:cxn>
                    <a:cxn ang="0">
                      <a:pos x="connsiteX1" y="connsiteY1"/>
                    </a:cxn>
                    <a:cxn ang="0">
                      <a:pos x="connsiteX2" y="connsiteY2"/>
                    </a:cxn>
                    <a:cxn ang="0">
                      <a:pos x="connsiteX3" y="connsiteY3"/>
                    </a:cxn>
                  </a:cxnLst>
                  <a:rect l="l" t="t" r="r" b="b"/>
                  <a:pathLst>
                    <a:path w="137796" h="78586">
                      <a:moveTo>
                        <a:pt x="137796" y="2691"/>
                      </a:moveTo>
                      <a:lnTo>
                        <a:pt x="1435" y="78587"/>
                      </a:lnTo>
                      <a:lnTo>
                        <a:pt x="0" y="75895"/>
                      </a:lnTo>
                      <a:lnTo>
                        <a:pt x="136301" y="0"/>
                      </a:lnTo>
                      <a:close/>
                    </a:path>
                  </a:pathLst>
                </a:custGeom>
                <a:grpFill/>
                <a:ln w="5978" cap="flat">
                  <a:noFill/>
                  <a:prstDash val="solid"/>
                  <a:miter/>
                </a:ln>
              </p:spPr>
              <p:txBody>
                <a:bodyPr rtlCol="0" anchor="ctr"/>
                <a:lstStyle/>
                <a:p>
                  <a:endParaRPr lang="en-GB"/>
                </a:p>
              </p:txBody>
            </p:sp>
            <p:sp>
              <p:nvSpPr>
                <p:cNvPr id="1369" name="Vrije vorm: vorm 1368">
                  <a:extLst>
                    <a:ext uri="{FF2B5EF4-FFF2-40B4-BE49-F238E27FC236}">
                      <a16:creationId xmlns:a16="http://schemas.microsoft.com/office/drawing/2014/main" id="{2AB11EB0-E706-477A-8713-F63A37794557}"/>
                    </a:ext>
                  </a:extLst>
                </p:cNvPr>
                <p:cNvSpPr/>
                <p:nvPr/>
              </p:nvSpPr>
              <p:spPr>
                <a:xfrm>
                  <a:off x="3996433" y="4548728"/>
                  <a:ext cx="18315" cy="18380"/>
                </a:xfrm>
                <a:custGeom>
                  <a:avLst/>
                  <a:gdLst>
                    <a:gd name="connsiteX0" fmla="*/ 13600 w 18315"/>
                    <a:gd name="connsiteY0" fmla="*/ 17234 h 18380"/>
                    <a:gd name="connsiteX1" fmla="*/ 1160 w 18315"/>
                    <a:gd name="connsiteY1" fmla="*/ 13646 h 18380"/>
                    <a:gd name="connsiteX2" fmla="*/ 4689 w 18315"/>
                    <a:gd name="connsiteY2" fmla="*/ 1146 h 18380"/>
                    <a:gd name="connsiteX3" fmla="*/ 17129 w 18315"/>
                    <a:gd name="connsiteY3" fmla="*/ 4735 h 18380"/>
                    <a:gd name="connsiteX4" fmla="*/ 13600 w 18315"/>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80">
                      <a:moveTo>
                        <a:pt x="13600" y="17234"/>
                      </a:moveTo>
                      <a:cubicBezTo>
                        <a:pt x="9174" y="19686"/>
                        <a:pt x="3612" y="18071"/>
                        <a:pt x="1160" y="13646"/>
                      </a:cubicBezTo>
                      <a:cubicBezTo>
                        <a:pt x="-1292" y="9220"/>
                        <a:pt x="263" y="3598"/>
                        <a:pt x="4689" y="1146"/>
                      </a:cubicBezTo>
                      <a:cubicBezTo>
                        <a:pt x="9115" y="-1306"/>
                        <a:pt x="14677" y="308"/>
                        <a:pt x="17129" y="4735"/>
                      </a:cubicBezTo>
                      <a:cubicBezTo>
                        <a:pt x="19641" y="9160"/>
                        <a:pt x="18026" y="14782"/>
                        <a:pt x="13600" y="17234"/>
                      </a:cubicBezTo>
                      <a:close/>
                    </a:path>
                  </a:pathLst>
                </a:custGeom>
                <a:grpFill/>
                <a:ln w="5978" cap="flat">
                  <a:noFill/>
                  <a:prstDash val="solid"/>
                  <a:miter/>
                </a:ln>
              </p:spPr>
              <p:txBody>
                <a:bodyPr rtlCol="0" anchor="ctr"/>
                <a:lstStyle/>
                <a:p>
                  <a:endParaRPr lang="en-GB"/>
                </a:p>
              </p:txBody>
            </p:sp>
            <p:sp>
              <p:nvSpPr>
                <p:cNvPr id="1370" name="Vrije vorm: vorm 1369">
                  <a:extLst>
                    <a:ext uri="{FF2B5EF4-FFF2-40B4-BE49-F238E27FC236}">
                      <a16:creationId xmlns:a16="http://schemas.microsoft.com/office/drawing/2014/main" id="{3703446C-9E7B-49CF-9D8A-4D83F294268E}"/>
                    </a:ext>
                  </a:extLst>
                </p:cNvPr>
                <p:cNvSpPr/>
                <p:nvPr/>
              </p:nvSpPr>
              <p:spPr>
                <a:xfrm>
                  <a:off x="4132016" y="4473251"/>
                  <a:ext cx="18289" cy="18380"/>
                </a:xfrm>
                <a:custGeom>
                  <a:avLst/>
                  <a:gdLst>
                    <a:gd name="connsiteX0" fmla="*/ 13600 w 18289"/>
                    <a:gd name="connsiteY0" fmla="*/ 17234 h 18380"/>
                    <a:gd name="connsiteX1" fmla="*/ 17129 w 18289"/>
                    <a:gd name="connsiteY1" fmla="*/ 4735 h 18380"/>
                    <a:gd name="connsiteX2" fmla="*/ 4689 w 18289"/>
                    <a:gd name="connsiteY2" fmla="*/ 1146 h 18380"/>
                    <a:gd name="connsiteX3" fmla="*/ 1160 w 18289"/>
                    <a:gd name="connsiteY3" fmla="*/ 13646 h 18380"/>
                    <a:gd name="connsiteX4" fmla="*/ 13600 w 18289"/>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80">
                      <a:moveTo>
                        <a:pt x="13600" y="17234"/>
                      </a:moveTo>
                      <a:cubicBezTo>
                        <a:pt x="18026" y="14782"/>
                        <a:pt x="19581" y="9160"/>
                        <a:pt x="17129" y="4735"/>
                      </a:cubicBezTo>
                      <a:cubicBezTo>
                        <a:pt x="14677" y="308"/>
                        <a:pt x="9055" y="-1306"/>
                        <a:pt x="4689" y="1146"/>
                      </a:cubicBezTo>
                      <a:cubicBezTo>
                        <a:pt x="263" y="3598"/>
                        <a:pt x="-1292" y="9220"/>
                        <a:pt x="1160" y="13646"/>
                      </a:cubicBezTo>
                      <a:cubicBezTo>
                        <a:pt x="3553" y="18071"/>
                        <a:pt x="9174" y="19686"/>
                        <a:pt x="13600" y="17234"/>
                      </a:cubicBezTo>
                      <a:close/>
                    </a:path>
                  </a:pathLst>
                </a:custGeom>
                <a:grpFill/>
                <a:ln w="5978" cap="flat">
                  <a:noFill/>
                  <a:prstDash val="solid"/>
                  <a:miter/>
                </a:ln>
              </p:spPr>
              <p:txBody>
                <a:bodyPr rtlCol="0" anchor="ctr"/>
                <a:lstStyle/>
                <a:p>
                  <a:endParaRPr lang="en-GB"/>
                </a:p>
              </p:txBody>
            </p:sp>
          </p:grpSp>
          <p:grpSp>
            <p:nvGrpSpPr>
              <p:cNvPr id="1348" name="Graphic 3">
                <a:extLst>
                  <a:ext uri="{FF2B5EF4-FFF2-40B4-BE49-F238E27FC236}">
                    <a16:creationId xmlns:a16="http://schemas.microsoft.com/office/drawing/2014/main" id="{00A9C155-BEC0-4F63-8F3F-D4B70772D99B}"/>
                  </a:ext>
                </a:extLst>
              </p:cNvPr>
              <p:cNvGrpSpPr/>
              <p:nvPr/>
            </p:nvGrpSpPr>
            <p:grpSpPr>
              <a:xfrm>
                <a:off x="3698672" y="3669518"/>
                <a:ext cx="77341" cy="25176"/>
                <a:chOff x="3698672" y="3669518"/>
                <a:chExt cx="77341" cy="25176"/>
              </a:xfrm>
              <a:grpFill/>
            </p:grpSpPr>
            <p:sp>
              <p:nvSpPr>
                <p:cNvPr id="1365" name="Vrije vorm: vorm 1364">
                  <a:extLst>
                    <a:ext uri="{FF2B5EF4-FFF2-40B4-BE49-F238E27FC236}">
                      <a16:creationId xmlns:a16="http://schemas.microsoft.com/office/drawing/2014/main" id="{62976C33-13E0-4697-9998-83311C39B9C6}"/>
                    </a:ext>
                  </a:extLst>
                </p:cNvPr>
                <p:cNvSpPr/>
                <p:nvPr/>
              </p:nvSpPr>
              <p:spPr>
                <a:xfrm>
                  <a:off x="3707170" y="3677167"/>
                  <a:ext cx="60345" cy="9868"/>
                </a:xfrm>
                <a:custGeom>
                  <a:avLst/>
                  <a:gdLst>
                    <a:gd name="connsiteX0" fmla="*/ 59987 w 60345"/>
                    <a:gd name="connsiteY0" fmla="*/ 0 h 9868"/>
                    <a:gd name="connsiteX1" fmla="*/ 60345 w 60345"/>
                    <a:gd name="connsiteY1" fmla="*/ 3050 h 9868"/>
                    <a:gd name="connsiteX2" fmla="*/ 359 w 60345"/>
                    <a:gd name="connsiteY2" fmla="*/ 9868 h 9868"/>
                    <a:gd name="connsiteX3" fmla="*/ 0 w 60345"/>
                    <a:gd name="connsiteY3" fmla="*/ 6878 h 9868"/>
                  </a:gdLst>
                  <a:ahLst/>
                  <a:cxnLst>
                    <a:cxn ang="0">
                      <a:pos x="connsiteX0" y="connsiteY0"/>
                    </a:cxn>
                    <a:cxn ang="0">
                      <a:pos x="connsiteX1" y="connsiteY1"/>
                    </a:cxn>
                    <a:cxn ang="0">
                      <a:pos x="connsiteX2" y="connsiteY2"/>
                    </a:cxn>
                    <a:cxn ang="0">
                      <a:pos x="connsiteX3" y="connsiteY3"/>
                    </a:cxn>
                  </a:cxnLst>
                  <a:rect l="l" t="t" r="r" b="b"/>
                  <a:pathLst>
                    <a:path w="60345" h="9868">
                      <a:moveTo>
                        <a:pt x="59987" y="0"/>
                      </a:moveTo>
                      <a:lnTo>
                        <a:pt x="60345" y="3050"/>
                      </a:lnTo>
                      <a:lnTo>
                        <a:pt x="359" y="9868"/>
                      </a:lnTo>
                      <a:lnTo>
                        <a:pt x="0" y="6878"/>
                      </a:lnTo>
                      <a:close/>
                    </a:path>
                  </a:pathLst>
                </a:custGeom>
                <a:grpFill/>
                <a:ln w="5978" cap="flat">
                  <a:noFill/>
                  <a:prstDash val="solid"/>
                  <a:miter/>
                </a:ln>
              </p:spPr>
              <p:txBody>
                <a:bodyPr rtlCol="0" anchor="ctr"/>
                <a:lstStyle/>
                <a:p>
                  <a:endParaRPr lang="en-GB"/>
                </a:p>
              </p:txBody>
            </p:sp>
            <p:sp>
              <p:nvSpPr>
                <p:cNvPr id="1366" name="Vrije vorm: vorm 1365">
                  <a:extLst>
                    <a:ext uri="{FF2B5EF4-FFF2-40B4-BE49-F238E27FC236}">
                      <a16:creationId xmlns:a16="http://schemas.microsoft.com/office/drawing/2014/main" id="{6C1C9C6A-E05A-4FE2-80DF-5DE4F366F788}"/>
                    </a:ext>
                  </a:extLst>
                </p:cNvPr>
                <p:cNvSpPr/>
                <p:nvPr/>
              </p:nvSpPr>
              <p:spPr>
                <a:xfrm>
                  <a:off x="3698672" y="3676265"/>
                  <a:ext cx="18311" cy="18429"/>
                </a:xfrm>
                <a:custGeom>
                  <a:avLst/>
                  <a:gdLst>
                    <a:gd name="connsiteX0" fmla="*/ 10232 w 18311"/>
                    <a:gd name="connsiteY0" fmla="*/ 18365 h 18429"/>
                    <a:gd name="connsiteX1" fmla="*/ 65 w 18311"/>
                    <a:gd name="connsiteY1" fmla="*/ 10231 h 18429"/>
                    <a:gd name="connsiteX2" fmla="*/ 8079 w 18311"/>
                    <a:gd name="connsiteY2" fmla="*/ 64 h 18429"/>
                    <a:gd name="connsiteX3" fmla="*/ 18247 w 18311"/>
                    <a:gd name="connsiteY3" fmla="*/ 8198 h 18429"/>
                    <a:gd name="connsiteX4" fmla="*/ 10232 w 18311"/>
                    <a:gd name="connsiteY4" fmla="*/ 1836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9">
                      <a:moveTo>
                        <a:pt x="10232" y="18365"/>
                      </a:moveTo>
                      <a:cubicBezTo>
                        <a:pt x="5209" y="18963"/>
                        <a:pt x="663" y="15315"/>
                        <a:pt x="65" y="10231"/>
                      </a:cubicBezTo>
                      <a:cubicBezTo>
                        <a:pt x="-533" y="5148"/>
                        <a:pt x="3055" y="603"/>
                        <a:pt x="8079" y="64"/>
                      </a:cubicBezTo>
                      <a:cubicBezTo>
                        <a:pt x="13103" y="-534"/>
                        <a:pt x="17648" y="3114"/>
                        <a:pt x="18247" y="8198"/>
                      </a:cubicBezTo>
                      <a:cubicBezTo>
                        <a:pt x="18845" y="13222"/>
                        <a:pt x="15256" y="17827"/>
                        <a:pt x="10232" y="18365"/>
                      </a:cubicBezTo>
                      <a:close/>
                    </a:path>
                  </a:pathLst>
                </a:custGeom>
                <a:grpFill/>
                <a:ln w="5978" cap="flat">
                  <a:noFill/>
                  <a:prstDash val="solid"/>
                  <a:miter/>
                </a:ln>
              </p:spPr>
              <p:txBody>
                <a:bodyPr rtlCol="0" anchor="ctr"/>
                <a:lstStyle/>
                <a:p>
                  <a:endParaRPr lang="en-GB"/>
                </a:p>
              </p:txBody>
            </p:sp>
            <p:sp>
              <p:nvSpPr>
                <p:cNvPr id="1367" name="Vrije vorm: vorm 1366">
                  <a:extLst>
                    <a:ext uri="{FF2B5EF4-FFF2-40B4-BE49-F238E27FC236}">
                      <a16:creationId xmlns:a16="http://schemas.microsoft.com/office/drawing/2014/main" id="{62A6DE1B-13ED-47AE-AB29-56AA602FD032}"/>
                    </a:ext>
                  </a:extLst>
                </p:cNvPr>
                <p:cNvSpPr/>
                <p:nvPr/>
              </p:nvSpPr>
              <p:spPr>
                <a:xfrm>
                  <a:off x="3757702" y="3669518"/>
                  <a:ext cx="18311" cy="18418"/>
                </a:xfrm>
                <a:custGeom>
                  <a:avLst/>
                  <a:gdLst>
                    <a:gd name="connsiteX0" fmla="*/ 10232 w 18311"/>
                    <a:gd name="connsiteY0" fmla="*/ 18354 h 18418"/>
                    <a:gd name="connsiteX1" fmla="*/ 18247 w 18311"/>
                    <a:gd name="connsiteY1" fmla="*/ 8187 h 18418"/>
                    <a:gd name="connsiteX2" fmla="*/ 8079 w 18311"/>
                    <a:gd name="connsiteY2" fmla="*/ 53 h 18418"/>
                    <a:gd name="connsiteX3" fmla="*/ 65 w 18311"/>
                    <a:gd name="connsiteY3" fmla="*/ 10221 h 18418"/>
                    <a:gd name="connsiteX4" fmla="*/ 10232 w 18311"/>
                    <a:gd name="connsiteY4" fmla="*/ 18354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0232" y="18354"/>
                      </a:moveTo>
                      <a:cubicBezTo>
                        <a:pt x="15256" y="17756"/>
                        <a:pt x="18845" y="13211"/>
                        <a:pt x="18247" y="8187"/>
                      </a:cubicBezTo>
                      <a:cubicBezTo>
                        <a:pt x="17648" y="3103"/>
                        <a:pt x="13103" y="-485"/>
                        <a:pt x="8079" y="53"/>
                      </a:cubicBezTo>
                      <a:cubicBezTo>
                        <a:pt x="3055" y="651"/>
                        <a:pt x="-533" y="5197"/>
                        <a:pt x="65" y="10221"/>
                      </a:cubicBezTo>
                      <a:cubicBezTo>
                        <a:pt x="663" y="15304"/>
                        <a:pt x="5209" y="18952"/>
                        <a:pt x="10232" y="18354"/>
                      </a:cubicBezTo>
                      <a:close/>
                    </a:path>
                  </a:pathLst>
                </a:custGeom>
                <a:grpFill/>
                <a:ln w="5978" cap="flat">
                  <a:noFill/>
                  <a:prstDash val="solid"/>
                  <a:miter/>
                </a:ln>
              </p:spPr>
              <p:txBody>
                <a:bodyPr rtlCol="0" anchor="ctr"/>
                <a:lstStyle/>
                <a:p>
                  <a:endParaRPr lang="en-GB"/>
                </a:p>
              </p:txBody>
            </p:sp>
          </p:grpSp>
          <p:grpSp>
            <p:nvGrpSpPr>
              <p:cNvPr id="1349" name="Graphic 3">
                <a:extLst>
                  <a:ext uri="{FF2B5EF4-FFF2-40B4-BE49-F238E27FC236}">
                    <a16:creationId xmlns:a16="http://schemas.microsoft.com/office/drawing/2014/main" id="{1994B3CF-48F0-4452-8030-67ECEA2C88DC}"/>
                  </a:ext>
                </a:extLst>
              </p:cNvPr>
              <p:cNvGrpSpPr/>
              <p:nvPr/>
            </p:nvGrpSpPr>
            <p:grpSpPr>
              <a:xfrm>
                <a:off x="4013122" y="4621684"/>
                <a:ext cx="50938" cy="38180"/>
                <a:chOff x="4013122" y="4621684"/>
                <a:chExt cx="50938" cy="38180"/>
              </a:xfrm>
              <a:grpFill/>
            </p:grpSpPr>
            <p:sp>
              <p:nvSpPr>
                <p:cNvPr id="1362" name="Vrije vorm: vorm 1361">
                  <a:extLst>
                    <a:ext uri="{FF2B5EF4-FFF2-40B4-BE49-F238E27FC236}">
                      <a16:creationId xmlns:a16="http://schemas.microsoft.com/office/drawing/2014/main" id="{3C16F43C-577C-4010-8CBA-73BB0B5F9043}"/>
                    </a:ext>
                  </a:extLst>
                </p:cNvPr>
                <p:cNvSpPr/>
                <p:nvPr/>
              </p:nvSpPr>
              <p:spPr>
                <a:xfrm>
                  <a:off x="4021098" y="4629298"/>
                  <a:ext cx="34987" cy="22905"/>
                </a:xfrm>
                <a:custGeom>
                  <a:avLst/>
                  <a:gdLst>
                    <a:gd name="connsiteX0" fmla="*/ 34987 w 34987"/>
                    <a:gd name="connsiteY0" fmla="*/ 2632 h 22905"/>
                    <a:gd name="connsiteX1" fmla="*/ 1615 w 34987"/>
                    <a:gd name="connsiteY1" fmla="*/ 22906 h 22905"/>
                    <a:gd name="connsiteX2" fmla="*/ 0 w 34987"/>
                    <a:gd name="connsiteY2" fmla="*/ 20275 h 22905"/>
                    <a:gd name="connsiteX3" fmla="*/ 33432 w 34987"/>
                    <a:gd name="connsiteY3" fmla="*/ 0 h 22905"/>
                  </a:gdLst>
                  <a:ahLst/>
                  <a:cxnLst>
                    <a:cxn ang="0">
                      <a:pos x="connsiteX0" y="connsiteY0"/>
                    </a:cxn>
                    <a:cxn ang="0">
                      <a:pos x="connsiteX1" y="connsiteY1"/>
                    </a:cxn>
                    <a:cxn ang="0">
                      <a:pos x="connsiteX2" y="connsiteY2"/>
                    </a:cxn>
                    <a:cxn ang="0">
                      <a:pos x="connsiteX3" y="connsiteY3"/>
                    </a:cxn>
                  </a:cxnLst>
                  <a:rect l="l" t="t" r="r" b="b"/>
                  <a:pathLst>
                    <a:path w="34987" h="22905">
                      <a:moveTo>
                        <a:pt x="34987" y="2632"/>
                      </a:moveTo>
                      <a:lnTo>
                        <a:pt x="1615" y="22906"/>
                      </a:lnTo>
                      <a:lnTo>
                        <a:pt x="0" y="20275"/>
                      </a:lnTo>
                      <a:lnTo>
                        <a:pt x="33432" y="0"/>
                      </a:lnTo>
                      <a:close/>
                    </a:path>
                  </a:pathLst>
                </a:custGeom>
                <a:grpFill/>
                <a:ln w="5978" cap="flat">
                  <a:noFill/>
                  <a:prstDash val="solid"/>
                  <a:miter/>
                </a:ln>
              </p:spPr>
              <p:txBody>
                <a:bodyPr rtlCol="0" anchor="ctr"/>
                <a:lstStyle/>
                <a:p>
                  <a:endParaRPr lang="en-GB"/>
                </a:p>
              </p:txBody>
            </p:sp>
            <p:sp>
              <p:nvSpPr>
                <p:cNvPr id="1363" name="Vrije vorm: vorm 1362">
                  <a:extLst>
                    <a:ext uri="{FF2B5EF4-FFF2-40B4-BE49-F238E27FC236}">
                      <a16:creationId xmlns:a16="http://schemas.microsoft.com/office/drawing/2014/main" id="{4570256D-5C9F-4689-9A44-BAA43F774893}"/>
                    </a:ext>
                  </a:extLst>
                </p:cNvPr>
                <p:cNvSpPr/>
                <p:nvPr/>
              </p:nvSpPr>
              <p:spPr>
                <a:xfrm>
                  <a:off x="4013122" y="4641494"/>
                  <a:ext cx="18343" cy="18370"/>
                </a:xfrm>
                <a:custGeom>
                  <a:avLst/>
                  <a:gdLst>
                    <a:gd name="connsiteX0" fmla="*/ 13956 w 18343"/>
                    <a:gd name="connsiteY0" fmla="*/ 17050 h 18370"/>
                    <a:gd name="connsiteX1" fmla="*/ 1337 w 18343"/>
                    <a:gd name="connsiteY1" fmla="*/ 13940 h 18370"/>
                    <a:gd name="connsiteX2" fmla="*/ 4387 w 18343"/>
                    <a:gd name="connsiteY2" fmla="*/ 1321 h 18370"/>
                    <a:gd name="connsiteX3" fmla="*/ 17007 w 18343"/>
                    <a:gd name="connsiteY3" fmla="*/ 4431 h 18370"/>
                    <a:gd name="connsiteX4" fmla="*/ 13956 w 18343"/>
                    <a:gd name="connsiteY4" fmla="*/ 17050 h 18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0">
                      <a:moveTo>
                        <a:pt x="13956" y="17050"/>
                      </a:moveTo>
                      <a:cubicBezTo>
                        <a:pt x="9650" y="19681"/>
                        <a:pt x="3968" y="18246"/>
                        <a:pt x="1337" y="13940"/>
                      </a:cubicBezTo>
                      <a:cubicBezTo>
                        <a:pt x="-1294" y="9574"/>
                        <a:pt x="81" y="3892"/>
                        <a:pt x="4387" y="1321"/>
                      </a:cubicBezTo>
                      <a:cubicBezTo>
                        <a:pt x="8693" y="-1311"/>
                        <a:pt x="14375" y="125"/>
                        <a:pt x="17007" y="4431"/>
                      </a:cubicBezTo>
                      <a:cubicBezTo>
                        <a:pt x="19638" y="8737"/>
                        <a:pt x="18262" y="14419"/>
                        <a:pt x="13956" y="17050"/>
                      </a:cubicBezTo>
                      <a:close/>
                    </a:path>
                  </a:pathLst>
                </a:custGeom>
                <a:grpFill/>
                <a:ln w="5978" cap="flat">
                  <a:noFill/>
                  <a:prstDash val="solid"/>
                  <a:miter/>
                </a:ln>
              </p:spPr>
              <p:txBody>
                <a:bodyPr rtlCol="0" anchor="ctr"/>
                <a:lstStyle/>
                <a:p>
                  <a:endParaRPr lang="en-GB"/>
                </a:p>
              </p:txBody>
            </p:sp>
            <p:sp>
              <p:nvSpPr>
                <p:cNvPr id="1364" name="Vrije vorm: vorm 1363">
                  <a:extLst>
                    <a:ext uri="{FF2B5EF4-FFF2-40B4-BE49-F238E27FC236}">
                      <a16:creationId xmlns:a16="http://schemas.microsoft.com/office/drawing/2014/main" id="{DB23CB57-C27B-46CA-B15C-47FA75563A7F}"/>
                    </a:ext>
                  </a:extLst>
                </p:cNvPr>
                <p:cNvSpPr/>
                <p:nvPr/>
              </p:nvSpPr>
              <p:spPr>
                <a:xfrm>
                  <a:off x="4045717" y="4621684"/>
                  <a:ext cx="18343" cy="18398"/>
                </a:xfrm>
                <a:custGeom>
                  <a:avLst/>
                  <a:gdLst>
                    <a:gd name="connsiteX0" fmla="*/ 13957 w 18343"/>
                    <a:gd name="connsiteY0" fmla="*/ 17064 h 18398"/>
                    <a:gd name="connsiteX1" fmla="*/ 17006 w 18343"/>
                    <a:gd name="connsiteY1" fmla="*/ 4444 h 18398"/>
                    <a:gd name="connsiteX2" fmla="*/ 4387 w 18343"/>
                    <a:gd name="connsiteY2" fmla="*/ 1335 h 18398"/>
                    <a:gd name="connsiteX3" fmla="*/ 1337 w 18343"/>
                    <a:gd name="connsiteY3" fmla="*/ 13954 h 18398"/>
                    <a:gd name="connsiteX4" fmla="*/ 13957 w 18343"/>
                    <a:gd name="connsiteY4" fmla="*/ 1706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8">
                      <a:moveTo>
                        <a:pt x="13957" y="17064"/>
                      </a:moveTo>
                      <a:cubicBezTo>
                        <a:pt x="18263" y="14432"/>
                        <a:pt x="19638" y="8751"/>
                        <a:pt x="17006" y="4444"/>
                      </a:cubicBezTo>
                      <a:cubicBezTo>
                        <a:pt x="14375" y="79"/>
                        <a:pt x="8753" y="-1297"/>
                        <a:pt x="4387" y="1335"/>
                      </a:cubicBezTo>
                      <a:cubicBezTo>
                        <a:pt x="81" y="3966"/>
                        <a:pt x="-1295" y="9648"/>
                        <a:pt x="1337" y="13954"/>
                      </a:cubicBezTo>
                      <a:cubicBezTo>
                        <a:pt x="3968" y="18320"/>
                        <a:pt x="9590" y="19695"/>
                        <a:pt x="13957" y="17064"/>
                      </a:cubicBezTo>
                      <a:close/>
                    </a:path>
                  </a:pathLst>
                </a:custGeom>
                <a:grpFill/>
                <a:ln w="5978" cap="flat">
                  <a:noFill/>
                  <a:prstDash val="solid"/>
                  <a:miter/>
                </a:ln>
              </p:spPr>
              <p:txBody>
                <a:bodyPr rtlCol="0" anchor="ctr"/>
                <a:lstStyle/>
                <a:p>
                  <a:endParaRPr lang="en-GB"/>
                </a:p>
              </p:txBody>
            </p:sp>
          </p:grpSp>
          <p:grpSp>
            <p:nvGrpSpPr>
              <p:cNvPr id="1350" name="Graphic 3">
                <a:extLst>
                  <a:ext uri="{FF2B5EF4-FFF2-40B4-BE49-F238E27FC236}">
                    <a16:creationId xmlns:a16="http://schemas.microsoft.com/office/drawing/2014/main" id="{B9589922-1AC8-4323-B3A0-4B6C8B204136}"/>
                  </a:ext>
                </a:extLst>
              </p:cNvPr>
              <p:cNvGrpSpPr/>
              <p:nvPr/>
            </p:nvGrpSpPr>
            <p:grpSpPr>
              <a:xfrm>
                <a:off x="3799499" y="4420930"/>
                <a:ext cx="361620" cy="201131"/>
                <a:chOff x="3799499" y="4420930"/>
                <a:chExt cx="361620" cy="201131"/>
              </a:xfrm>
              <a:grpFill/>
            </p:grpSpPr>
            <p:sp>
              <p:nvSpPr>
                <p:cNvPr id="1359" name="Vrije vorm: vorm 1358">
                  <a:extLst>
                    <a:ext uri="{FF2B5EF4-FFF2-40B4-BE49-F238E27FC236}">
                      <a16:creationId xmlns:a16="http://schemas.microsoft.com/office/drawing/2014/main" id="{2F9C95F6-821A-42E0-96A8-2D69685E4F80}"/>
                    </a:ext>
                  </a:extLst>
                </p:cNvPr>
                <p:cNvSpPr/>
                <p:nvPr/>
              </p:nvSpPr>
              <p:spPr>
                <a:xfrm>
                  <a:off x="3807586" y="4428585"/>
                  <a:ext cx="345446" cy="185821"/>
                </a:xfrm>
                <a:custGeom>
                  <a:avLst/>
                  <a:gdLst>
                    <a:gd name="connsiteX0" fmla="*/ 345447 w 345446"/>
                    <a:gd name="connsiteY0" fmla="*/ 2691 h 185821"/>
                    <a:gd name="connsiteX1" fmla="*/ 1435 w 345446"/>
                    <a:gd name="connsiteY1" fmla="*/ 185821 h 185821"/>
                    <a:gd name="connsiteX2" fmla="*/ 0 w 345446"/>
                    <a:gd name="connsiteY2" fmla="*/ 183130 h 185821"/>
                    <a:gd name="connsiteX3" fmla="*/ 344011 w 345446"/>
                    <a:gd name="connsiteY3" fmla="*/ 0 h 185821"/>
                  </a:gdLst>
                  <a:ahLst/>
                  <a:cxnLst>
                    <a:cxn ang="0">
                      <a:pos x="connsiteX0" y="connsiteY0"/>
                    </a:cxn>
                    <a:cxn ang="0">
                      <a:pos x="connsiteX1" y="connsiteY1"/>
                    </a:cxn>
                    <a:cxn ang="0">
                      <a:pos x="connsiteX2" y="connsiteY2"/>
                    </a:cxn>
                    <a:cxn ang="0">
                      <a:pos x="connsiteX3" y="connsiteY3"/>
                    </a:cxn>
                  </a:cxnLst>
                  <a:rect l="l" t="t" r="r" b="b"/>
                  <a:pathLst>
                    <a:path w="345446" h="185821">
                      <a:moveTo>
                        <a:pt x="345447" y="2691"/>
                      </a:moveTo>
                      <a:lnTo>
                        <a:pt x="1435" y="185821"/>
                      </a:lnTo>
                      <a:lnTo>
                        <a:pt x="0" y="183130"/>
                      </a:lnTo>
                      <a:lnTo>
                        <a:pt x="344011" y="0"/>
                      </a:lnTo>
                      <a:close/>
                    </a:path>
                  </a:pathLst>
                </a:custGeom>
                <a:grpFill/>
                <a:ln w="5978" cap="flat">
                  <a:noFill/>
                  <a:prstDash val="solid"/>
                  <a:miter/>
                </a:ln>
              </p:spPr>
              <p:txBody>
                <a:bodyPr rtlCol="0" anchor="ctr"/>
                <a:lstStyle/>
                <a:p>
                  <a:endParaRPr lang="en-GB"/>
                </a:p>
              </p:txBody>
            </p:sp>
            <p:sp>
              <p:nvSpPr>
                <p:cNvPr id="1360" name="Vrije vorm: vorm 1359">
                  <a:extLst>
                    <a:ext uri="{FF2B5EF4-FFF2-40B4-BE49-F238E27FC236}">
                      <a16:creationId xmlns:a16="http://schemas.microsoft.com/office/drawing/2014/main" id="{497D01A8-4441-40A3-8D81-849479D77826}"/>
                    </a:ext>
                  </a:extLst>
                </p:cNvPr>
                <p:cNvSpPr/>
                <p:nvPr/>
              </p:nvSpPr>
              <p:spPr>
                <a:xfrm>
                  <a:off x="3799499" y="4603641"/>
                  <a:ext cx="18327" cy="18420"/>
                </a:xfrm>
                <a:custGeom>
                  <a:avLst/>
                  <a:gdLst>
                    <a:gd name="connsiteX0" fmla="*/ 13470 w 18327"/>
                    <a:gd name="connsiteY0" fmla="*/ 17344 h 18420"/>
                    <a:gd name="connsiteX1" fmla="*/ 1090 w 18327"/>
                    <a:gd name="connsiteY1" fmla="*/ 13516 h 18420"/>
                    <a:gd name="connsiteX2" fmla="*/ 4858 w 18327"/>
                    <a:gd name="connsiteY2" fmla="*/ 1076 h 18420"/>
                    <a:gd name="connsiteX3" fmla="*/ 17237 w 18327"/>
                    <a:gd name="connsiteY3" fmla="*/ 4904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8984" y="19736"/>
                        <a:pt x="3482" y="18002"/>
                        <a:pt x="1090" y="13516"/>
                      </a:cubicBezTo>
                      <a:cubicBezTo>
                        <a:pt x="-1303" y="9031"/>
                        <a:pt x="372" y="3469"/>
                        <a:pt x="4858" y="1076"/>
                      </a:cubicBezTo>
                      <a:cubicBezTo>
                        <a:pt x="9343" y="-1316"/>
                        <a:pt x="14845" y="418"/>
                        <a:pt x="17237" y="4904"/>
                      </a:cubicBezTo>
                      <a:cubicBezTo>
                        <a:pt x="19630" y="9389"/>
                        <a:pt x="17956" y="14951"/>
                        <a:pt x="13470" y="17344"/>
                      </a:cubicBezTo>
                      <a:close/>
                    </a:path>
                  </a:pathLst>
                </a:custGeom>
                <a:grpFill/>
                <a:ln w="5978" cap="flat">
                  <a:noFill/>
                  <a:prstDash val="solid"/>
                  <a:miter/>
                </a:ln>
              </p:spPr>
              <p:txBody>
                <a:bodyPr rtlCol="0" anchor="ctr"/>
                <a:lstStyle/>
                <a:p>
                  <a:endParaRPr lang="en-GB"/>
                </a:p>
              </p:txBody>
            </p:sp>
            <p:sp>
              <p:nvSpPr>
                <p:cNvPr id="1361" name="Vrije vorm: vorm 1360">
                  <a:extLst>
                    <a:ext uri="{FF2B5EF4-FFF2-40B4-BE49-F238E27FC236}">
                      <a16:creationId xmlns:a16="http://schemas.microsoft.com/office/drawing/2014/main" id="{77698F67-9583-4F86-8EAD-EABCF8DC7128}"/>
                    </a:ext>
                  </a:extLst>
                </p:cNvPr>
                <p:cNvSpPr/>
                <p:nvPr/>
              </p:nvSpPr>
              <p:spPr>
                <a:xfrm>
                  <a:off x="4142792" y="4420930"/>
                  <a:ext cx="18327" cy="18420"/>
                </a:xfrm>
                <a:custGeom>
                  <a:avLst/>
                  <a:gdLst>
                    <a:gd name="connsiteX0" fmla="*/ 13470 w 18327"/>
                    <a:gd name="connsiteY0" fmla="*/ 17344 h 18420"/>
                    <a:gd name="connsiteX1" fmla="*/ 17238 w 18327"/>
                    <a:gd name="connsiteY1" fmla="*/ 4904 h 18420"/>
                    <a:gd name="connsiteX2" fmla="*/ 4858 w 18327"/>
                    <a:gd name="connsiteY2" fmla="*/ 1076 h 18420"/>
                    <a:gd name="connsiteX3" fmla="*/ 1090 w 18327"/>
                    <a:gd name="connsiteY3" fmla="*/ 13516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17955" y="14952"/>
                        <a:pt x="19630" y="9389"/>
                        <a:pt x="17238" y="4904"/>
                      </a:cubicBezTo>
                      <a:cubicBezTo>
                        <a:pt x="14845" y="418"/>
                        <a:pt x="9283" y="-1316"/>
                        <a:pt x="4858" y="1076"/>
                      </a:cubicBezTo>
                      <a:cubicBezTo>
                        <a:pt x="372" y="3469"/>
                        <a:pt x="-1302" y="9031"/>
                        <a:pt x="1090" y="13516"/>
                      </a:cubicBezTo>
                      <a:cubicBezTo>
                        <a:pt x="3422" y="18002"/>
                        <a:pt x="8984" y="19736"/>
                        <a:pt x="13470" y="17344"/>
                      </a:cubicBezTo>
                      <a:close/>
                    </a:path>
                  </a:pathLst>
                </a:custGeom>
                <a:grpFill/>
                <a:ln w="5978" cap="flat">
                  <a:noFill/>
                  <a:prstDash val="solid"/>
                  <a:miter/>
                </a:ln>
              </p:spPr>
              <p:txBody>
                <a:bodyPr rtlCol="0" anchor="ctr"/>
                <a:lstStyle/>
                <a:p>
                  <a:endParaRPr lang="en-GB"/>
                </a:p>
              </p:txBody>
            </p:sp>
          </p:grpSp>
          <p:grpSp>
            <p:nvGrpSpPr>
              <p:cNvPr id="1351" name="Graphic 3">
                <a:extLst>
                  <a:ext uri="{FF2B5EF4-FFF2-40B4-BE49-F238E27FC236}">
                    <a16:creationId xmlns:a16="http://schemas.microsoft.com/office/drawing/2014/main" id="{418FF9DF-766D-447B-A0FF-CA831B9E1A9F}"/>
                  </a:ext>
                </a:extLst>
              </p:cNvPr>
              <p:cNvGrpSpPr/>
              <p:nvPr/>
            </p:nvGrpSpPr>
            <p:grpSpPr>
              <a:xfrm>
                <a:off x="3812247" y="4537791"/>
                <a:ext cx="308793" cy="187307"/>
                <a:chOff x="3812247" y="4537791"/>
                <a:chExt cx="308793" cy="187307"/>
              </a:xfrm>
              <a:grpFill/>
            </p:grpSpPr>
            <p:sp>
              <p:nvSpPr>
                <p:cNvPr id="1356" name="Vrije vorm: vorm 1355">
                  <a:extLst>
                    <a:ext uri="{FF2B5EF4-FFF2-40B4-BE49-F238E27FC236}">
                      <a16:creationId xmlns:a16="http://schemas.microsoft.com/office/drawing/2014/main" id="{A33ECDAB-2984-451D-9435-10F7CE77C1CA}"/>
                    </a:ext>
                  </a:extLst>
                </p:cNvPr>
                <p:cNvSpPr/>
                <p:nvPr/>
              </p:nvSpPr>
              <p:spPr>
                <a:xfrm>
                  <a:off x="3820265" y="4545448"/>
                  <a:ext cx="292756" cy="171945"/>
                </a:xfrm>
                <a:custGeom>
                  <a:avLst/>
                  <a:gdLst>
                    <a:gd name="connsiteX0" fmla="*/ 292756 w 292756"/>
                    <a:gd name="connsiteY0" fmla="*/ 2632 h 171945"/>
                    <a:gd name="connsiteX1" fmla="*/ 1555 w 292756"/>
                    <a:gd name="connsiteY1" fmla="*/ 171946 h 171945"/>
                    <a:gd name="connsiteX2" fmla="*/ 0 w 292756"/>
                    <a:gd name="connsiteY2" fmla="*/ 169314 h 171945"/>
                    <a:gd name="connsiteX3" fmla="*/ 291201 w 292756"/>
                    <a:gd name="connsiteY3" fmla="*/ 0 h 171945"/>
                  </a:gdLst>
                  <a:ahLst/>
                  <a:cxnLst>
                    <a:cxn ang="0">
                      <a:pos x="connsiteX0" y="connsiteY0"/>
                    </a:cxn>
                    <a:cxn ang="0">
                      <a:pos x="connsiteX1" y="connsiteY1"/>
                    </a:cxn>
                    <a:cxn ang="0">
                      <a:pos x="connsiteX2" y="connsiteY2"/>
                    </a:cxn>
                    <a:cxn ang="0">
                      <a:pos x="connsiteX3" y="connsiteY3"/>
                    </a:cxn>
                  </a:cxnLst>
                  <a:rect l="l" t="t" r="r" b="b"/>
                  <a:pathLst>
                    <a:path w="292756" h="171945">
                      <a:moveTo>
                        <a:pt x="292756" y="2632"/>
                      </a:moveTo>
                      <a:lnTo>
                        <a:pt x="1555" y="171946"/>
                      </a:lnTo>
                      <a:lnTo>
                        <a:pt x="0" y="169314"/>
                      </a:lnTo>
                      <a:lnTo>
                        <a:pt x="291201" y="0"/>
                      </a:lnTo>
                      <a:close/>
                    </a:path>
                  </a:pathLst>
                </a:custGeom>
                <a:grpFill/>
                <a:ln w="5978" cap="flat">
                  <a:noFill/>
                  <a:prstDash val="solid"/>
                  <a:miter/>
                </a:ln>
              </p:spPr>
              <p:txBody>
                <a:bodyPr rtlCol="0" anchor="ctr"/>
                <a:lstStyle/>
                <a:p>
                  <a:endParaRPr lang="en-GB"/>
                </a:p>
              </p:txBody>
            </p:sp>
            <p:sp>
              <p:nvSpPr>
                <p:cNvPr id="1357" name="Vrije vorm: vorm 1356">
                  <a:extLst>
                    <a:ext uri="{FF2B5EF4-FFF2-40B4-BE49-F238E27FC236}">
                      <a16:creationId xmlns:a16="http://schemas.microsoft.com/office/drawing/2014/main" id="{E526379D-1999-4683-8DAE-FC8F2802BEC8}"/>
                    </a:ext>
                  </a:extLst>
                </p:cNvPr>
                <p:cNvSpPr/>
                <p:nvPr/>
              </p:nvSpPr>
              <p:spPr>
                <a:xfrm>
                  <a:off x="3812247" y="4706699"/>
                  <a:ext cx="18369" cy="18399"/>
                </a:xfrm>
                <a:custGeom>
                  <a:avLst/>
                  <a:gdLst>
                    <a:gd name="connsiteX0" fmla="*/ 13820 w 18369"/>
                    <a:gd name="connsiteY0" fmla="*/ 17154 h 18399"/>
                    <a:gd name="connsiteX1" fmla="*/ 1260 w 18369"/>
                    <a:gd name="connsiteY1" fmla="*/ 13805 h 18399"/>
                    <a:gd name="connsiteX2" fmla="*/ 4550 w 18369"/>
                    <a:gd name="connsiteY2" fmla="*/ 1245 h 18399"/>
                    <a:gd name="connsiteX3" fmla="*/ 17109 w 18369"/>
                    <a:gd name="connsiteY3" fmla="*/ 4594 h 18399"/>
                    <a:gd name="connsiteX4" fmla="*/ 13820 w 18369"/>
                    <a:gd name="connsiteY4" fmla="*/ 17154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9">
                      <a:moveTo>
                        <a:pt x="13820" y="17154"/>
                      </a:moveTo>
                      <a:cubicBezTo>
                        <a:pt x="9454" y="19726"/>
                        <a:pt x="3832" y="18171"/>
                        <a:pt x="1260" y="13805"/>
                      </a:cubicBezTo>
                      <a:cubicBezTo>
                        <a:pt x="-1311" y="9379"/>
                        <a:pt x="184" y="3757"/>
                        <a:pt x="4550" y="1245"/>
                      </a:cubicBezTo>
                      <a:cubicBezTo>
                        <a:pt x="8916" y="-1327"/>
                        <a:pt x="14538" y="228"/>
                        <a:pt x="17109" y="4594"/>
                      </a:cubicBezTo>
                      <a:cubicBezTo>
                        <a:pt x="19681" y="8960"/>
                        <a:pt x="18186" y="14582"/>
                        <a:pt x="13820" y="17154"/>
                      </a:cubicBezTo>
                      <a:close/>
                    </a:path>
                  </a:pathLst>
                </a:custGeom>
                <a:grpFill/>
                <a:ln w="5978" cap="flat">
                  <a:noFill/>
                  <a:prstDash val="solid"/>
                  <a:miter/>
                </a:ln>
              </p:spPr>
              <p:txBody>
                <a:bodyPr rtlCol="0" anchor="ctr"/>
                <a:lstStyle/>
                <a:p>
                  <a:endParaRPr lang="en-GB"/>
                </a:p>
              </p:txBody>
            </p:sp>
            <p:sp>
              <p:nvSpPr>
                <p:cNvPr id="1358" name="Vrije vorm: vorm 1357">
                  <a:extLst>
                    <a:ext uri="{FF2B5EF4-FFF2-40B4-BE49-F238E27FC236}">
                      <a16:creationId xmlns:a16="http://schemas.microsoft.com/office/drawing/2014/main" id="{202CDAE2-BC45-4446-B580-F0F110ECEED8}"/>
                    </a:ext>
                  </a:extLst>
                </p:cNvPr>
                <p:cNvSpPr/>
                <p:nvPr/>
              </p:nvSpPr>
              <p:spPr>
                <a:xfrm>
                  <a:off x="4102671" y="4537791"/>
                  <a:ext cx="18369" cy="18425"/>
                </a:xfrm>
                <a:custGeom>
                  <a:avLst/>
                  <a:gdLst>
                    <a:gd name="connsiteX0" fmla="*/ 13820 w 18369"/>
                    <a:gd name="connsiteY0" fmla="*/ 17167 h 18425"/>
                    <a:gd name="connsiteX1" fmla="*/ 17109 w 18369"/>
                    <a:gd name="connsiteY1" fmla="*/ 4607 h 18425"/>
                    <a:gd name="connsiteX2" fmla="*/ 4550 w 18369"/>
                    <a:gd name="connsiteY2" fmla="*/ 1258 h 18425"/>
                    <a:gd name="connsiteX3" fmla="*/ 1260 w 18369"/>
                    <a:gd name="connsiteY3" fmla="*/ 13818 h 18425"/>
                    <a:gd name="connsiteX4" fmla="*/ 13820 w 18369"/>
                    <a:gd name="connsiteY4" fmla="*/ 17167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25">
                      <a:moveTo>
                        <a:pt x="13820" y="17167"/>
                      </a:moveTo>
                      <a:cubicBezTo>
                        <a:pt x="18186" y="14595"/>
                        <a:pt x="19681" y="8974"/>
                        <a:pt x="17109" y="4607"/>
                      </a:cubicBezTo>
                      <a:cubicBezTo>
                        <a:pt x="14538" y="182"/>
                        <a:pt x="8976" y="-1313"/>
                        <a:pt x="4550" y="1258"/>
                      </a:cubicBezTo>
                      <a:cubicBezTo>
                        <a:pt x="184" y="3830"/>
                        <a:pt x="-1311" y="9452"/>
                        <a:pt x="1260" y="13818"/>
                      </a:cubicBezTo>
                      <a:cubicBezTo>
                        <a:pt x="3832" y="18244"/>
                        <a:pt x="9394" y="19739"/>
                        <a:pt x="13820" y="17167"/>
                      </a:cubicBezTo>
                      <a:close/>
                    </a:path>
                  </a:pathLst>
                </a:custGeom>
                <a:grpFill/>
                <a:ln w="5978" cap="flat">
                  <a:noFill/>
                  <a:prstDash val="solid"/>
                  <a:miter/>
                </a:ln>
              </p:spPr>
              <p:txBody>
                <a:bodyPr rtlCol="0" anchor="ctr"/>
                <a:lstStyle/>
                <a:p>
                  <a:endParaRPr lang="en-GB"/>
                </a:p>
              </p:txBody>
            </p:sp>
          </p:grpSp>
          <p:grpSp>
            <p:nvGrpSpPr>
              <p:cNvPr id="1352" name="Graphic 3">
                <a:extLst>
                  <a:ext uri="{FF2B5EF4-FFF2-40B4-BE49-F238E27FC236}">
                    <a16:creationId xmlns:a16="http://schemas.microsoft.com/office/drawing/2014/main" id="{03F47FAE-EBD5-4F49-88EB-473A9B0BE779}"/>
                  </a:ext>
                </a:extLst>
              </p:cNvPr>
              <p:cNvGrpSpPr/>
              <p:nvPr/>
            </p:nvGrpSpPr>
            <p:grpSpPr>
              <a:xfrm>
                <a:off x="8047141" y="4300144"/>
                <a:ext cx="174028" cy="87866"/>
                <a:chOff x="8047141" y="4300144"/>
                <a:chExt cx="174028" cy="87866"/>
              </a:xfrm>
              <a:grpFill/>
            </p:grpSpPr>
            <p:sp>
              <p:nvSpPr>
                <p:cNvPr id="1353" name="Vrije vorm: vorm 1352">
                  <a:extLst>
                    <a:ext uri="{FF2B5EF4-FFF2-40B4-BE49-F238E27FC236}">
                      <a16:creationId xmlns:a16="http://schemas.microsoft.com/office/drawing/2014/main" id="{64E1B8EA-F1CE-4D26-B19B-903BA50A73B7}"/>
                    </a:ext>
                  </a:extLst>
                </p:cNvPr>
                <p:cNvSpPr/>
                <p:nvPr/>
              </p:nvSpPr>
              <p:spPr>
                <a:xfrm>
                  <a:off x="8055275" y="4307774"/>
                  <a:ext cx="157711" cy="72606"/>
                </a:xfrm>
                <a:custGeom>
                  <a:avLst/>
                  <a:gdLst>
                    <a:gd name="connsiteX0" fmla="*/ 157712 w 157711"/>
                    <a:gd name="connsiteY0" fmla="*/ 69795 h 72606"/>
                    <a:gd name="connsiteX1" fmla="*/ 156515 w 157711"/>
                    <a:gd name="connsiteY1" fmla="*/ 72606 h 72606"/>
                    <a:gd name="connsiteX2" fmla="*/ 0 w 157711"/>
                    <a:gd name="connsiteY2" fmla="*/ 2811 h 72606"/>
                    <a:gd name="connsiteX3" fmla="*/ 1256 w 157711"/>
                    <a:gd name="connsiteY3" fmla="*/ 0 h 72606"/>
                  </a:gdLst>
                  <a:ahLst/>
                  <a:cxnLst>
                    <a:cxn ang="0">
                      <a:pos x="connsiteX0" y="connsiteY0"/>
                    </a:cxn>
                    <a:cxn ang="0">
                      <a:pos x="connsiteX1" y="connsiteY1"/>
                    </a:cxn>
                    <a:cxn ang="0">
                      <a:pos x="connsiteX2" y="connsiteY2"/>
                    </a:cxn>
                    <a:cxn ang="0">
                      <a:pos x="connsiteX3" y="connsiteY3"/>
                    </a:cxn>
                  </a:cxnLst>
                  <a:rect l="l" t="t" r="r" b="b"/>
                  <a:pathLst>
                    <a:path w="157711" h="72606">
                      <a:moveTo>
                        <a:pt x="157712" y="69795"/>
                      </a:moveTo>
                      <a:lnTo>
                        <a:pt x="156515" y="72606"/>
                      </a:lnTo>
                      <a:lnTo>
                        <a:pt x="0" y="2811"/>
                      </a:lnTo>
                      <a:lnTo>
                        <a:pt x="1256" y="0"/>
                      </a:lnTo>
                      <a:close/>
                    </a:path>
                  </a:pathLst>
                </a:custGeom>
                <a:grpFill/>
                <a:ln w="5978" cap="flat">
                  <a:noFill/>
                  <a:prstDash val="solid"/>
                  <a:miter/>
                </a:ln>
              </p:spPr>
              <p:txBody>
                <a:bodyPr rtlCol="0" anchor="ctr"/>
                <a:lstStyle/>
                <a:p>
                  <a:endParaRPr lang="en-GB"/>
                </a:p>
              </p:txBody>
            </p:sp>
            <p:sp>
              <p:nvSpPr>
                <p:cNvPr id="1354" name="Vrije vorm: vorm 1353">
                  <a:extLst>
                    <a:ext uri="{FF2B5EF4-FFF2-40B4-BE49-F238E27FC236}">
                      <a16:creationId xmlns:a16="http://schemas.microsoft.com/office/drawing/2014/main" id="{E08D1816-CD38-4449-9973-F9DED0DC9C56}"/>
                    </a:ext>
                  </a:extLst>
                </p:cNvPr>
                <p:cNvSpPr/>
                <p:nvPr/>
              </p:nvSpPr>
              <p:spPr>
                <a:xfrm>
                  <a:off x="8202829" y="4369580"/>
                  <a:ext cx="18341" cy="18430"/>
                </a:xfrm>
                <a:custGeom>
                  <a:avLst/>
                  <a:gdLst>
                    <a:gd name="connsiteX0" fmla="*/ 12849 w 18341"/>
                    <a:gd name="connsiteY0" fmla="*/ 812 h 18430"/>
                    <a:gd name="connsiteX1" fmla="*/ 17574 w 18341"/>
                    <a:gd name="connsiteY1" fmla="*/ 12953 h 18430"/>
                    <a:gd name="connsiteX2" fmla="*/ 5493 w 18341"/>
                    <a:gd name="connsiteY2" fmla="*/ 17618 h 18430"/>
                    <a:gd name="connsiteX3" fmla="*/ 768 w 18341"/>
                    <a:gd name="connsiteY3" fmla="*/ 5477 h 18430"/>
                    <a:gd name="connsiteX4" fmla="*/ 12849 w 1834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0">
                      <a:moveTo>
                        <a:pt x="12849" y="812"/>
                      </a:moveTo>
                      <a:cubicBezTo>
                        <a:pt x="17454" y="2906"/>
                        <a:pt x="19607" y="8348"/>
                        <a:pt x="17574" y="12953"/>
                      </a:cubicBezTo>
                      <a:cubicBezTo>
                        <a:pt x="15540" y="17618"/>
                        <a:pt x="10158" y="19711"/>
                        <a:pt x="5493" y="17618"/>
                      </a:cubicBezTo>
                      <a:cubicBezTo>
                        <a:pt x="887" y="15525"/>
                        <a:pt x="-1266" y="10083"/>
                        <a:pt x="768" y="5477"/>
                      </a:cubicBezTo>
                      <a:cubicBezTo>
                        <a:pt x="2802" y="812"/>
                        <a:pt x="8184" y="-1281"/>
                        <a:pt x="12849" y="812"/>
                      </a:cubicBezTo>
                      <a:close/>
                    </a:path>
                  </a:pathLst>
                </a:custGeom>
                <a:grpFill/>
                <a:ln w="5978" cap="flat">
                  <a:noFill/>
                  <a:prstDash val="solid"/>
                  <a:miter/>
                </a:ln>
              </p:spPr>
              <p:txBody>
                <a:bodyPr rtlCol="0" anchor="ctr"/>
                <a:lstStyle/>
                <a:p>
                  <a:endParaRPr lang="en-GB"/>
                </a:p>
              </p:txBody>
            </p:sp>
            <p:sp>
              <p:nvSpPr>
                <p:cNvPr id="1355" name="Vrije vorm: vorm 1354">
                  <a:extLst>
                    <a:ext uri="{FF2B5EF4-FFF2-40B4-BE49-F238E27FC236}">
                      <a16:creationId xmlns:a16="http://schemas.microsoft.com/office/drawing/2014/main" id="{B7F5F39E-FA40-4E2D-8A75-742697ABE0C3}"/>
                    </a:ext>
                  </a:extLst>
                </p:cNvPr>
                <p:cNvSpPr/>
                <p:nvPr/>
              </p:nvSpPr>
              <p:spPr>
                <a:xfrm>
                  <a:off x="8047141" y="4300144"/>
                  <a:ext cx="18359" cy="18421"/>
                </a:xfrm>
                <a:custGeom>
                  <a:avLst/>
                  <a:gdLst>
                    <a:gd name="connsiteX0" fmla="*/ 12858 w 18359"/>
                    <a:gd name="connsiteY0" fmla="*/ 812 h 18421"/>
                    <a:gd name="connsiteX1" fmla="*/ 776 w 18359"/>
                    <a:gd name="connsiteY1" fmla="*/ 5477 h 18421"/>
                    <a:gd name="connsiteX2" fmla="*/ 5501 w 18359"/>
                    <a:gd name="connsiteY2" fmla="*/ 17618 h 18421"/>
                    <a:gd name="connsiteX3" fmla="*/ 17583 w 18359"/>
                    <a:gd name="connsiteY3" fmla="*/ 12953 h 18421"/>
                    <a:gd name="connsiteX4" fmla="*/ 12858 w 18359"/>
                    <a:gd name="connsiteY4" fmla="*/ 81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21">
                      <a:moveTo>
                        <a:pt x="12858" y="812"/>
                      </a:moveTo>
                      <a:cubicBezTo>
                        <a:pt x="8252" y="-1281"/>
                        <a:pt x="2810" y="812"/>
                        <a:pt x="776" y="5477"/>
                      </a:cubicBezTo>
                      <a:cubicBezTo>
                        <a:pt x="-1257" y="10142"/>
                        <a:pt x="836" y="15585"/>
                        <a:pt x="5501" y="17618"/>
                      </a:cubicBezTo>
                      <a:cubicBezTo>
                        <a:pt x="10107" y="19711"/>
                        <a:pt x="15549" y="17558"/>
                        <a:pt x="17583" y="12953"/>
                      </a:cubicBezTo>
                      <a:cubicBezTo>
                        <a:pt x="19616" y="8348"/>
                        <a:pt x="17523" y="2906"/>
                        <a:pt x="12858" y="812"/>
                      </a:cubicBezTo>
                      <a:close/>
                    </a:path>
                  </a:pathLst>
                </a:custGeom>
                <a:grpFill/>
                <a:ln w="5978" cap="flat">
                  <a:noFill/>
                  <a:prstDash val="solid"/>
                  <a:miter/>
                </a:ln>
              </p:spPr>
              <p:txBody>
                <a:bodyPr rtlCol="0" anchor="ctr"/>
                <a:lstStyle/>
                <a:p>
                  <a:endParaRPr lang="en-GB"/>
                </a:p>
              </p:txBody>
            </p:sp>
          </p:grpSp>
        </p:grpSp>
        <p:grpSp>
          <p:nvGrpSpPr>
            <p:cNvPr id="5354" name="WERELD_1">
              <a:extLst>
                <a:ext uri="{FF2B5EF4-FFF2-40B4-BE49-F238E27FC236}">
                  <a16:creationId xmlns:a16="http://schemas.microsoft.com/office/drawing/2014/main" id="{251ABAD4-272E-4F63-8649-E4E88F597BBA}"/>
                </a:ext>
              </a:extLst>
            </p:cNvPr>
            <p:cNvGrpSpPr/>
            <p:nvPr userDrawn="1"/>
          </p:nvGrpSpPr>
          <p:grpSpPr>
            <a:xfrm>
              <a:off x="6399728" y="1548181"/>
              <a:ext cx="1497513" cy="1711622"/>
              <a:chOff x="6367634" y="1364661"/>
              <a:chExt cx="1497513" cy="1711622"/>
            </a:xfrm>
          </p:grpSpPr>
          <p:sp>
            <p:nvSpPr>
              <p:cNvPr id="5355" name="Vrije vorm: vorm 5354">
                <a:extLst>
                  <a:ext uri="{FF2B5EF4-FFF2-40B4-BE49-F238E27FC236}">
                    <a16:creationId xmlns:a16="http://schemas.microsoft.com/office/drawing/2014/main" id="{3CE3CFCA-496B-4C86-B10D-0D9C4AE78B6D}"/>
                  </a:ext>
                </a:extLst>
              </p:cNvPr>
              <p:cNvSpPr/>
              <p:nvPr/>
            </p:nvSpPr>
            <p:spPr>
              <a:xfrm>
                <a:off x="6998361" y="1364661"/>
                <a:ext cx="614938" cy="716071"/>
              </a:xfrm>
              <a:custGeom>
                <a:avLst/>
                <a:gdLst>
                  <a:gd name="connsiteX0" fmla="*/ 523912 w 614938"/>
                  <a:gd name="connsiteY0" fmla="*/ 436772 h 716071"/>
                  <a:gd name="connsiteX1" fmla="*/ 523912 w 614938"/>
                  <a:gd name="connsiteY1" fmla="*/ 436772 h 716071"/>
                  <a:gd name="connsiteX2" fmla="*/ 523912 w 614938"/>
                  <a:gd name="connsiteY2" fmla="*/ 436772 h 716071"/>
                  <a:gd name="connsiteX3" fmla="*/ 523972 w 614938"/>
                  <a:gd name="connsiteY3" fmla="*/ 436712 h 716071"/>
                  <a:gd name="connsiteX4" fmla="*/ 523972 w 614938"/>
                  <a:gd name="connsiteY4" fmla="*/ 436712 h 716071"/>
                  <a:gd name="connsiteX5" fmla="*/ 523972 w 614938"/>
                  <a:gd name="connsiteY5" fmla="*/ 436652 h 716071"/>
                  <a:gd name="connsiteX6" fmla="*/ 523972 w 614938"/>
                  <a:gd name="connsiteY6" fmla="*/ 436652 h 716071"/>
                  <a:gd name="connsiteX7" fmla="*/ 518888 w 614938"/>
                  <a:gd name="connsiteY7" fmla="*/ 420385 h 716071"/>
                  <a:gd name="connsiteX8" fmla="*/ 513744 w 614938"/>
                  <a:gd name="connsiteY8" fmla="*/ 403878 h 716071"/>
                  <a:gd name="connsiteX9" fmla="*/ 508541 w 614938"/>
                  <a:gd name="connsiteY9" fmla="*/ 387192 h 716071"/>
                  <a:gd name="connsiteX10" fmla="*/ 508541 w 614938"/>
                  <a:gd name="connsiteY10" fmla="*/ 387192 h 716071"/>
                  <a:gd name="connsiteX11" fmla="*/ 508541 w 614938"/>
                  <a:gd name="connsiteY11" fmla="*/ 387192 h 716071"/>
                  <a:gd name="connsiteX12" fmla="*/ 508541 w 614938"/>
                  <a:gd name="connsiteY12" fmla="*/ 387192 h 716071"/>
                  <a:gd name="connsiteX13" fmla="*/ 503278 w 614938"/>
                  <a:gd name="connsiteY13" fmla="*/ 370266 h 716071"/>
                  <a:gd name="connsiteX14" fmla="*/ 497895 w 614938"/>
                  <a:gd name="connsiteY14" fmla="*/ 353042 h 716071"/>
                  <a:gd name="connsiteX15" fmla="*/ 492453 w 614938"/>
                  <a:gd name="connsiteY15" fmla="*/ 335578 h 716071"/>
                  <a:gd name="connsiteX16" fmla="*/ 486951 w 614938"/>
                  <a:gd name="connsiteY16" fmla="*/ 317875 h 716071"/>
                  <a:gd name="connsiteX17" fmla="*/ 481329 w 614938"/>
                  <a:gd name="connsiteY17" fmla="*/ 299933 h 716071"/>
                  <a:gd name="connsiteX18" fmla="*/ 475647 w 614938"/>
                  <a:gd name="connsiteY18" fmla="*/ 281752 h 716071"/>
                  <a:gd name="connsiteX19" fmla="*/ 469906 w 614938"/>
                  <a:gd name="connsiteY19" fmla="*/ 263271 h 716071"/>
                  <a:gd name="connsiteX20" fmla="*/ 464045 w 614938"/>
                  <a:gd name="connsiteY20" fmla="*/ 244492 h 716071"/>
                  <a:gd name="connsiteX21" fmla="*/ 464045 w 614938"/>
                  <a:gd name="connsiteY21" fmla="*/ 244492 h 716071"/>
                  <a:gd name="connsiteX22" fmla="*/ 464045 w 614938"/>
                  <a:gd name="connsiteY22" fmla="*/ 244492 h 716071"/>
                  <a:gd name="connsiteX23" fmla="*/ 464045 w 614938"/>
                  <a:gd name="connsiteY23" fmla="*/ 244492 h 716071"/>
                  <a:gd name="connsiteX24" fmla="*/ 464045 w 614938"/>
                  <a:gd name="connsiteY24" fmla="*/ 244492 h 716071"/>
                  <a:gd name="connsiteX25" fmla="*/ 464045 w 614938"/>
                  <a:gd name="connsiteY25" fmla="*/ 244492 h 716071"/>
                  <a:gd name="connsiteX26" fmla="*/ 464045 w 614938"/>
                  <a:gd name="connsiteY26" fmla="*/ 244492 h 716071"/>
                  <a:gd name="connsiteX27" fmla="*/ 463566 w 614938"/>
                  <a:gd name="connsiteY27" fmla="*/ 243954 h 716071"/>
                  <a:gd name="connsiteX28" fmla="*/ 463566 w 614938"/>
                  <a:gd name="connsiteY28" fmla="*/ 243954 h 716071"/>
                  <a:gd name="connsiteX29" fmla="*/ 463566 w 614938"/>
                  <a:gd name="connsiteY29" fmla="*/ 243954 h 716071"/>
                  <a:gd name="connsiteX30" fmla="*/ 463506 w 614938"/>
                  <a:gd name="connsiteY30" fmla="*/ 243954 h 716071"/>
                  <a:gd name="connsiteX31" fmla="*/ 463506 w 614938"/>
                  <a:gd name="connsiteY31" fmla="*/ 243954 h 716071"/>
                  <a:gd name="connsiteX32" fmla="*/ 449033 w 614938"/>
                  <a:gd name="connsiteY32" fmla="*/ 238033 h 716071"/>
                  <a:gd name="connsiteX33" fmla="*/ 447478 w 614938"/>
                  <a:gd name="connsiteY33" fmla="*/ 233846 h 716071"/>
                  <a:gd name="connsiteX34" fmla="*/ 450827 w 614938"/>
                  <a:gd name="connsiteY34" fmla="*/ 231035 h 716071"/>
                  <a:gd name="connsiteX35" fmla="*/ 450827 w 614938"/>
                  <a:gd name="connsiteY35" fmla="*/ 231035 h 716071"/>
                  <a:gd name="connsiteX36" fmla="*/ 450827 w 614938"/>
                  <a:gd name="connsiteY36" fmla="*/ 231035 h 716071"/>
                  <a:gd name="connsiteX37" fmla="*/ 450827 w 614938"/>
                  <a:gd name="connsiteY37" fmla="*/ 231035 h 716071"/>
                  <a:gd name="connsiteX38" fmla="*/ 450827 w 614938"/>
                  <a:gd name="connsiteY38" fmla="*/ 231035 h 716071"/>
                  <a:gd name="connsiteX39" fmla="*/ 452921 w 614938"/>
                  <a:gd name="connsiteY39" fmla="*/ 227148 h 716071"/>
                  <a:gd name="connsiteX40" fmla="*/ 452921 w 614938"/>
                  <a:gd name="connsiteY40" fmla="*/ 227148 h 716071"/>
                  <a:gd name="connsiteX41" fmla="*/ 452921 w 614938"/>
                  <a:gd name="connsiteY41" fmla="*/ 227148 h 716071"/>
                  <a:gd name="connsiteX42" fmla="*/ 452921 w 614938"/>
                  <a:gd name="connsiteY42" fmla="*/ 227148 h 716071"/>
                  <a:gd name="connsiteX43" fmla="*/ 452921 w 614938"/>
                  <a:gd name="connsiteY43" fmla="*/ 227148 h 716071"/>
                  <a:gd name="connsiteX44" fmla="*/ 452921 w 614938"/>
                  <a:gd name="connsiteY44" fmla="*/ 227148 h 716071"/>
                  <a:gd name="connsiteX45" fmla="*/ 452921 w 614938"/>
                  <a:gd name="connsiteY45" fmla="*/ 227148 h 716071"/>
                  <a:gd name="connsiteX46" fmla="*/ 452921 w 614938"/>
                  <a:gd name="connsiteY46" fmla="*/ 227148 h 716071"/>
                  <a:gd name="connsiteX47" fmla="*/ 453279 w 614938"/>
                  <a:gd name="connsiteY47" fmla="*/ 224935 h 716071"/>
                  <a:gd name="connsiteX48" fmla="*/ 453279 w 614938"/>
                  <a:gd name="connsiteY48" fmla="*/ 224935 h 716071"/>
                  <a:gd name="connsiteX49" fmla="*/ 453279 w 614938"/>
                  <a:gd name="connsiteY49" fmla="*/ 224935 h 716071"/>
                  <a:gd name="connsiteX50" fmla="*/ 453579 w 614938"/>
                  <a:gd name="connsiteY50" fmla="*/ 222543 h 716071"/>
                  <a:gd name="connsiteX51" fmla="*/ 460037 w 614938"/>
                  <a:gd name="connsiteY51" fmla="*/ 213153 h 716071"/>
                  <a:gd name="connsiteX52" fmla="*/ 460037 w 614938"/>
                  <a:gd name="connsiteY52" fmla="*/ 213153 h 716071"/>
                  <a:gd name="connsiteX53" fmla="*/ 460037 w 614938"/>
                  <a:gd name="connsiteY53" fmla="*/ 213153 h 716071"/>
                  <a:gd name="connsiteX54" fmla="*/ 460037 w 614938"/>
                  <a:gd name="connsiteY54" fmla="*/ 213153 h 716071"/>
                  <a:gd name="connsiteX55" fmla="*/ 460037 w 614938"/>
                  <a:gd name="connsiteY55" fmla="*/ 213153 h 716071"/>
                  <a:gd name="connsiteX56" fmla="*/ 460337 w 614938"/>
                  <a:gd name="connsiteY56" fmla="*/ 212615 h 716071"/>
                  <a:gd name="connsiteX57" fmla="*/ 460337 w 614938"/>
                  <a:gd name="connsiteY57" fmla="*/ 212615 h 716071"/>
                  <a:gd name="connsiteX58" fmla="*/ 460337 w 614938"/>
                  <a:gd name="connsiteY58" fmla="*/ 212615 h 716071"/>
                  <a:gd name="connsiteX59" fmla="*/ 460456 w 614938"/>
                  <a:gd name="connsiteY59" fmla="*/ 212196 h 716071"/>
                  <a:gd name="connsiteX60" fmla="*/ 460456 w 614938"/>
                  <a:gd name="connsiteY60" fmla="*/ 212196 h 716071"/>
                  <a:gd name="connsiteX61" fmla="*/ 460456 w 614938"/>
                  <a:gd name="connsiteY61" fmla="*/ 212196 h 716071"/>
                  <a:gd name="connsiteX62" fmla="*/ 460397 w 614938"/>
                  <a:gd name="connsiteY62" fmla="*/ 211359 h 716071"/>
                  <a:gd name="connsiteX63" fmla="*/ 460397 w 614938"/>
                  <a:gd name="connsiteY63" fmla="*/ 211359 h 716071"/>
                  <a:gd name="connsiteX64" fmla="*/ 460397 w 614938"/>
                  <a:gd name="connsiteY64" fmla="*/ 211359 h 716071"/>
                  <a:gd name="connsiteX65" fmla="*/ 460397 w 614938"/>
                  <a:gd name="connsiteY65" fmla="*/ 211359 h 716071"/>
                  <a:gd name="connsiteX66" fmla="*/ 460397 w 614938"/>
                  <a:gd name="connsiteY66" fmla="*/ 211359 h 716071"/>
                  <a:gd name="connsiteX67" fmla="*/ 460217 w 614938"/>
                  <a:gd name="connsiteY67" fmla="*/ 210880 h 716071"/>
                  <a:gd name="connsiteX68" fmla="*/ 460217 w 614938"/>
                  <a:gd name="connsiteY68" fmla="*/ 210880 h 716071"/>
                  <a:gd name="connsiteX69" fmla="*/ 460217 w 614938"/>
                  <a:gd name="connsiteY69" fmla="*/ 210880 h 716071"/>
                  <a:gd name="connsiteX70" fmla="*/ 459499 w 614938"/>
                  <a:gd name="connsiteY70" fmla="*/ 209983 h 716071"/>
                  <a:gd name="connsiteX71" fmla="*/ 459499 w 614938"/>
                  <a:gd name="connsiteY71" fmla="*/ 209983 h 716071"/>
                  <a:gd name="connsiteX72" fmla="*/ 459499 w 614938"/>
                  <a:gd name="connsiteY72" fmla="*/ 209983 h 716071"/>
                  <a:gd name="connsiteX73" fmla="*/ 459499 w 614938"/>
                  <a:gd name="connsiteY73" fmla="*/ 209983 h 716071"/>
                  <a:gd name="connsiteX74" fmla="*/ 455014 w 614938"/>
                  <a:gd name="connsiteY74" fmla="*/ 205438 h 716071"/>
                  <a:gd name="connsiteX75" fmla="*/ 458124 w 614938"/>
                  <a:gd name="connsiteY75" fmla="*/ 207352 h 716071"/>
                  <a:gd name="connsiteX76" fmla="*/ 458124 w 614938"/>
                  <a:gd name="connsiteY76" fmla="*/ 207352 h 716071"/>
                  <a:gd name="connsiteX77" fmla="*/ 458184 w 614938"/>
                  <a:gd name="connsiteY77" fmla="*/ 207352 h 716071"/>
                  <a:gd name="connsiteX78" fmla="*/ 458184 w 614938"/>
                  <a:gd name="connsiteY78" fmla="*/ 207352 h 716071"/>
                  <a:gd name="connsiteX79" fmla="*/ 458184 w 614938"/>
                  <a:gd name="connsiteY79" fmla="*/ 207352 h 716071"/>
                  <a:gd name="connsiteX80" fmla="*/ 458243 w 614938"/>
                  <a:gd name="connsiteY80" fmla="*/ 207352 h 716071"/>
                  <a:gd name="connsiteX81" fmla="*/ 458243 w 614938"/>
                  <a:gd name="connsiteY81" fmla="*/ 207352 h 716071"/>
                  <a:gd name="connsiteX82" fmla="*/ 458243 w 614938"/>
                  <a:gd name="connsiteY82" fmla="*/ 207352 h 716071"/>
                  <a:gd name="connsiteX83" fmla="*/ 458243 w 614938"/>
                  <a:gd name="connsiteY83" fmla="*/ 207352 h 716071"/>
                  <a:gd name="connsiteX84" fmla="*/ 458243 w 614938"/>
                  <a:gd name="connsiteY84" fmla="*/ 207352 h 716071"/>
                  <a:gd name="connsiteX85" fmla="*/ 458243 w 614938"/>
                  <a:gd name="connsiteY85" fmla="*/ 207352 h 716071"/>
                  <a:gd name="connsiteX86" fmla="*/ 458243 w 614938"/>
                  <a:gd name="connsiteY86" fmla="*/ 207352 h 716071"/>
                  <a:gd name="connsiteX87" fmla="*/ 458243 w 614938"/>
                  <a:gd name="connsiteY87" fmla="*/ 207352 h 716071"/>
                  <a:gd name="connsiteX88" fmla="*/ 471999 w 614938"/>
                  <a:gd name="connsiteY88" fmla="*/ 189768 h 716071"/>
                  <a:gd name="connsiteX89" fmla="*/ 485815 w 614938"/>
                  <a:gd name="connsiteY89" fmla="*/ 172006 h 716071"/>
                  <a:gd name="connsiteX90" fmla="*/ 499750 w 614938"/>
                  <a:gd name="connsiteY90" fmla="*/ 154123 h 716071"/>
                  <a:gd name="connsiteX91" fmla="*/ 513804 w 614938"/>
                  <a:gd name="connsiteY91" fmla="*/ 136121 h 716071"/>
                  <a:gd name="connsiteX92" fmla="*/ 527919 w 614938"/>
                  <a:gd name="connsiteY92" fmla="*/ 118000 h 716071"/>
                  <a:gd name="connsiteX93" fmla="*/ 542153 w 614938"/>
                  <a:gd name="connsiteY93" fmla="*/ 99758 h 716071"/>
                  <a:gd name="connsiteX94" fmla="*/ 542153 w 614938"/>
                  <a:gd name="connsiteY94" fmla="*/ 99758 h 716071"/>
                  <a:gd name="connsiteX95" fmla="*/ 542153 w 614938"/>
                  <a:gd name="connsiteY95" fmla="*/ 99758 h 716071"/>
                  <a:gd name="connsiteX96" fmla="*/ 556507 w 614938"/>
                  <a:gd name="connsiteY96" fmla="*/ 81398 h 716071"/>
                  <a:gd name="connsiteX97" fmla="*/ 556507 w 614938"/>
                  <a:gd name="connsiteY97" fmla="*/ 81398 h 716071"/>
                  <a:gd name="connsiteX98" fmla="*/ 556507 w 614938"/>
                  <a:gd name="connsiteY98" fmla="*/ 81398 h 716071"/>
                  <a:gd name="connsiteX99" fmla="*/ 570980 w 614938"/>
                  <a:gd name="connsiteY99" fmla="*/ 62857 h 716071"/>
                  <a:gd name="connsiteX100" fmla="*/ 585513 w 614938"/>
                  <a:gd name="connsiteY100" fmla="*/ 44198 h 716071"/>
                  <a:gd name="connsiteX101" fmla="*/ 600166 w 614938"/>
                  <a:gd name="connsiteY101" fmla="*/ 25418 h 716071"/>
                  <a:gd name="connsiteX102" fmla="*/ 614938 w 614938"/>
                  <a:gd name="connsiteY102" fmla="*/ 6459 h 716071"/>
                  <a:gd name="connsiteX103" fmla="*/ 614938 w 614938"/>
                  <a:gd name="connsiteY103" fmla="*/ 6459 h 716071"/>
                  <a:gd name="connsiteX104" fmla="*/ 614938 w 614938"/>
                  <a:gd name="connsiteY104" fmla="*/ 6399 h 716071"/>
                  <a:gd name="connsiteX105" fmla="*/ 614938 w 614938"/>
                  <a:gd name="connsiteY105" fmla="*/ 6340 h 716071"/>
                  <a:gd name="connsiteX106" fmla="*/ 614938 w 614938"/>
                  <a:gd name="connsiteY106" fmla="*/ 6340 h 716071"/>
                  <a:gd name="connsiteX107" fmla="*/ 614938 w 614938"/>
                  <a:gd name="connsiteY107" fmla="*/ 6280 h 716071"/>
                  <a:gd name="connsiteX108" fmla="*/ 614938 w 614938"/>
                  <a:gd name="connsiteY108" fmla="*/ 6280 h 716071"/>
                  <a:gd name="connsiteX109" fmla="*/ 614938 w 614938"/>
                  <a:gd name="connsiteY109" fmla="*/ 6220 h 716071"/>
                  <a:gd name="connsiteX110" fmla="*/ 614938 w 614938"/>
                  <a:gd name="connsiteY110" fmla="*/ 6220 h 716071"/>
                  <a:gd name="connsiteX111" fmla="*/ 608060 w 614938"/>
                  <a:gd name="connsiteY111" fmla="*/ 359 h 716071"/>
                  <a:gd name="connsiteX112" fmla="*/ 608060 w 614938"/>
                  <a:gd name="connsiteY112" fmla="*/ 359 h 716071"/>
                  <a:gd name="connsiteX113" fmla="*/ 608060 w 614938"/>
                  <a:gd name="connsiteY113" fmla="*/ 359 h 716071"/>
                  <a:gd name="connsiteX114" fmla="*/ 608000 w 614938"/>
                  <a:gd name="connsiteY114" fmla="*/ 299 h 716071"/>
                  <a:gd name="connsiteX115" fmla="*/ 607462 w 614938"/>
                  <a:gd name="connsiteY115" fmla="*/ 60 h 716071"/>
                  <a:gd name="connsiteX116" fmla="*/ 607403 w 614938"/>
                  <a:gd name="connsiteY116" fmla="*/ 60 h 716071"/>
                  <a:gd name="connsiteX117" fmla="*/ 607283 w 614938"/>
                  <a:gd name="connsiteY117" fmla="*/ 120 h 716071"/>
                  <a:gd name="connsiteX118" fmla="*/ 607283 w 614938"/>
                  <a:gd name="connsiteY118" fmla="*/ 120 h 716071"/>
                  <a:gd name="connsiteX119" fmla="*/ 592271 w 614938"/>
                  <a:gd name="connsiteY119" fmla="*/ 17105 h 716071"/>
                  <a:gd name="connsiteX120" fmla="*/ 577379 w 614938"/>
                  <a:gd name="connsiteY120" fmla="*/ 33971 h 716071"/>
                  <a:gd name="connsiteX121" fmla="*/ 562547 w 614938"/>
                  <a:gd name="connsiteY121" fmla="*/ 50717 h 716071"/>
                  <a:gd name="connsiteX122" fmla="*/ 547835 w 614938"/>
                  <a:gd name="connsiteY122" fmla="*/ 67403 h 716071"/>
                  <a:gd name="connsiteX123" fmla="*/ 533182 w 614938"/>
                  <a:gd name="connsiteY123" fmla="*/ 83969 h 716071"/>
                  <a:gd name="connsiteX124" fmla="*/ 518649 w 614938"/>
                  <a:gd name="connsiteY124" fmla="*/ 100416 h 716071"/>
                  <a:gd name="connsiteX125" fmla="*/ 504175 w 614938"/>
                  <a:gd name="connsiteY125" fmla="*/ 116803 h 716071"/>
                  <a:gd name="connsiteX126" fmla="*/ 489761 w 614938"/>
                  <a:gd name="connsiteY126" fmla="*/ 133071 h 716071"/>
                  <a:gd name="connsiteX127" fmla="*/ 475467 w 614938"/>
                  <a:gd name="connsiteY127" fmla="*/ 149279 h 716071"/>
                  <a:gd name="connsiteX128" fmla="*/ 461233 w 614938"/>
                  <a:gd name="connsiteY128" fmla="*/ 165367 h 716071"/>
                  <a:gd name="connsiteX129" fmla="*/ 447119 w 614938"/>
                  <a:gd name="connsiteY129" fmla="*/ 181336 h 716071"/>
                  <a:gd name="connsiteX130" fmla="*/ 447119 w 614938"/>
                  <a:gd name="connsiteY130" fmla="*/ 181336 h 716071"/>
                  <a:gd name="connsiteX131" fmla="*/ 447119 w 614938"/>
                  <a:gd name="connsiteY131" fmla="*/ 181395 h 716071"/>
                  <a:gd name="connsiteX132" fmla="*/ 447119 w 614938"/>
                  <a:gd name="connsiteY132" fmla="*/ 181395 h 716071"/>
                  <a:gd name="connsiteX133" fmla="*/ 447119 w 614938"/>
                  <a:gd name="connsiteY133" fmla="*/ 181395 h 716071"/>
                  <a:gd name="connsiteX134" fmla="*/ 447119 w 614938"/>
                  <a:gd name="connsiteY134" fmla="*/ 181455 h 716071"/>
                  <a:gd name="connsiteX135" fmla="*/ 447119 w 614938"/>
                  <a:gd name="connsiteY135" fmla="*/ 181515 h 716071"/>
                  <a:gd name="connsiteX136" fmla="*/ 447119 w 614938"/>
                  <a:gd name="connsiteY136" fmla="*/ 181515 h 716071"/>
                  <a:gd name="connsiteX137" fmla="*/ 447119 w 614938"/>
                  <a:gd name="connsiteY137" fmla="*/ 181515 h 716071"/>
                  <a:gd name="connsiteX138" fmla="*/ 448614 w 614938"/>
                  <a:gd name="connsiteY138" fmla="*/ 198022 h 716071"/>
                  <a:gd name="connsiteX139" fmla="*/ 448196 w 614938"/>
                  <a:gd name="connsiteY139" fmla="*/ 198560 h 716071"/>
                  <a:gd name="connsiteX140" fmla="*/ 440301 w 614938"/>
                  <a:gd name="connsiteY140" fmla="*/ 190606 h 716071"/>
                  <a:gd name="connsiteX141" fmla="*/ 440301 w 614938"/>
                  <a:gd name="connsiteY141" fmla="*/ 190606 h 716071"/>
                  <a:gd name="connsiteX142" fmla="*/ 440301 w 614938"/>
                  <a:gd name="connsiteY142" fmla="*/ 190606 h 716071"/>
                  <a:gd name="connsiteX143" fmla="*/ 419668 w 614938"/>
                  <a:gd name="connsiteY143" fmla="*/ 173860 h 716071"/>
                  <a:gd name="connsiteX144" fmla="*/ 419668 w 614938"/>
                  <a:gd name="connsiteY144" fmla="*/ 173860 h 716071"/>
                  <a:gd name="connsiteX145" fmla="*/ 419668 w 614938"/>
                  <a:gd name="connsiteY145" fmla="*/ 173860 h 716071"/>
                  <a:gd name="connsiteX146" fmla="*/ 419668 w 614938"/>
                  <a:gd name="connsiteY146" fmla="*/ 173860 h 716071"/>
                  <a:gd name="connsiteX147" fmla="*/ 419668 w 614938"/>
                  <a:gd name="connsiteY147" fmla="*/ 173860 h 716071"/>
                  <a:gd name="connsiteX148" fmla="*/ 418651 w 614938"/>
                  <a:gd name="connsiteY148" fmla="*/ 173381 h 716071"/>
                  <a:gd name="connsiteX149" fmla="*/ 418651 w 614938"/>
                  <a:gd name="connsiteY149" fmla="*/ 173381 h 716071"/>
                  <a:gd name="connsiteX150" fmla="*/ 418651 w 614938"/>
                  <a:gd name="connsiteY150" fmla="*/ 173381 h 716071"/>
                  <a:gd name="connsiteX151" fmla="*/ 418651 w 614938"/>
                  <a:gd name="connsiteY151" fmla="*/ 173381 h 716071"/>
                  <a:gd name="connsiteX152" fmla="*/ 418651 w 614938"/>
                  <a:gd name="connsiteY152" fmla="*/ 173381 h 716071"/>
                  <a:gd name="connsiteX153" fmla="*/ 418292 w 614938"/>
                  <a:gd name="connsiteY153" fmla="*/ 173262 h 716071"/>
                  <a:gd name="connsiteX154" fmla="*/ 418232 w 614938"/>
                  <a:gd name="connsiteY154" fmla="*/ 173262 h 716071"/>
                  <a:gd name="connsiteX155" fmla="*/ 418172 w 614938"/>
                  <a:gd name="connsiteY155" fmla="*/ 173262 h 716071"/>
                  <a:gd name="connsiteX156" fmla="*/ 417275 w 614938"/>
                  <a:gd name="connsiteY156" fmla="*/ 173262 h 716071"/>
                  <a:gd name="connsiteX157" fmla="*/ 417275 w 614938"/>
                  <a:gd name="connsiteY157" fmla="*/ 173262 h 716071"/>
                  <a:gd name="connsiteX158" fmla="*/ 417275 w 614938"/>
                  <a:gd name="connsiteY158" fmla="*/ 173262 h 716071"/>
                  <a:gd name="connsiteX159" fmla="*/ 417215 w 614938"/>
                  <a:gd name="connsiteY159" fmla="*/ 173262 h 716071"/>
                  <a:gd name="connsiteX160" fmla="*/ 417215 w 614938"/>
                  <a:gd name="connsiteY160" fmla="*/ 173262 h 716071"/>
                  <a:gd name="connsiteX161" fmla="*/ 417215 w 614938"/>
                  <a:gd name="connsiteY161" fmla="*/ 173262 h 716071"/>
                  <a:gd name="connsiteX162" fmla="*/ 416319 w 614938"/>
                  <a:gd name="connsiteY162" fmla="*/ 173680 h 716071"/>
                  <a:gd name="connsiteX163" fmla="*/ 416319 w 614938"/>
                  <a:gd name="connsiteY163" fmla="*/ 173680 h 716071"/>
                  <a:gd name="connsiteX164" fmla="*/ 416319 w 614938"/>
                  <a:gd name="connsiteY164" fmla="*/ 173680 h 716071"/>
                  <a:gd name="connsiteX165" fmla="*/ 416319 w 614938"/>
                  <a:gd name="connsiteY165" fmla="*/ 173680 h 716071"/>
                  <a:gd name="connsiteX166" fmla="*/ 416319 w 614938"/>
                  <a:gd name="connsiteY166" fmla="*/ 173680 h 716071"/>
                  <a:gd name="connsiteX167" fmla="*/ 387671 w 614938"/>
                  <a:gd name="connsiteY167" fmla="*/ 194553 h 716071"/>
                  <a:gd name="connsiteX168" fmla="*/ 387671 w 614938"/>
                  <a:gd name="connsiteY168" fmla="*/ 194553 h 716071"/>
                  <a:gd name="connsiteX169" fmla="*/ 387671 w 614938"/>
                  <a:gd name="connsiteY169" fmla="*/ 194553 h 716071"/>
                  <a:gd name="connsiteX170" fmla="*/ 387013 w 614938"/>
                  <a:gd name="connsiteY170" fmla="*/ 195211 h 716071"/>
                  <a:gd name="connsiteX171" fmla="*/ 387013 w 614938"/>
                  <a:gd name="connsiteY171" fmla="*/ 195211 h 716071"/>
                  <a:gd name="connsiteX172" fmla="*/ 387013 w 614938"/>
                  <a:gd name="connsiteY172" fmla="*/ 195211 h 716071"/>
                  <a:gd name="connsiteX173" fmla="*/ 387013 w 614938"/>
                  <a:gd name="connsiteY173" fmla="*/ 195211 h 716071"/>
                  <a:gd name="connsiteX174" fmla="*/ 387013 w 614938"/>
                  <a:gd name="connsiteY174" fmla="*/ 195211 h 716071"/>
                  <a:gd name="connsiteX175" fmla="*/ 387013 w 614938"/>
                  <a:gd name="connsiteY175" fmla="*/ 195211 h 716071"/>
                  <a:gd name="connsiteX176" fmla="*/ 387013 w 614938"/>
                  <a:gd name="connsiteY176" fmla="*/ 195211 h 716071"/>
                  <a:gd name="connsiteX177" fmla="*/ 386953 w 614938"/>
                  <a:gd name="connsiteY177" fmla="*/ 195869 h 716071"/>
                  <a:gd name="connsiteX178" fmla="*/ 386953 w 614938"/>
                  <a:gd name="connsiteY178" fmla="*/ 195869 h 716071"/>
                  <a:gd name="connsiteX179" fmla="*/ 386953 w 614938"/>
                  <a:gd name="connsiteY179" fmla="*/ 195869 h 716071"/>
                  <a:gd name="connsiteX180" fmla="*/ 386953 w 614938"/>
                  <a:gd name="connsiteY180" fmla="*/ 196168 h 716071"/>
                  <a:gd name="connsiteX181" fmla="*/ 386953 w 614938"/>
                  <a:gd name="connsiteY181" fmla="*/ 196168 h 716071"/>
                  <a:gd name="connsiteX182" fmla="*/ 386953 w 614938"/>
                  <a:gd name="connsiteY182" fmla="*/ 196168 h 716071"/>
                  <a:gd name="connsiteX183" fmla="*/ 386953 w 614938"/>
                  <a:gd name="connsiteY183" fmla="*/ 196168 h 716071"/>
                  <a:gd name="connsiteX184" fmla="*/ 386953 w 614938"/>
                  <a:gd name="connsiteY184" fmla="*/ 196168 h 716071"/>
                  <a:gd name="connsiteX185" fmla="*/ 386953 w 614938"/>
                  <a:gd name="connsiteY185" fmla="*/ 196168 h 716071"/>
                  <a:gd name="connsiteX186" fmla="*/ 386953 w 614938"/>
                  <a:gd name="connsiteY186" fmla="*/ 196168 h 716071"/>
                  <a:gd name="connsiteX187" fmla="*/ 386953 w 614938"/>
                  <a:gd name="connsiteY187" fmla="*/ 196168 h 716071"/>
                  <a:gd name="connsiteX188" fmla="*/ 386953 w 614938"/>
                  <a:gd name="connsiteY188" fmla="*/ 196168 h 716071"/>
                  <a:gd name="connsiteX189" fmla="*/ 386953 w 614938"/>
                  <a:gd name="connsiteY189" fmla="*/ 196168 h 716071"/>
                  <a:gd name="connsiteX190" fmla="*/ 387611 w 614938"/>
                  <a:gd name="connsiteY190" fmla="*/ 196945 h 716071"/>
                  <a:gd name="connsiteX191" fmla="*/ 387611 w 614938"/>
                  <a:gd name="connsiteY191" fmla="*/ 196945 h 716071"/>
                  <a:gd name="connsiteX192" fmla="*/ 387611 w 614938"/>
                  <a:gd name="connsiteY192" fmla="*/ 196945 h 716071"/>
                  <a:gd name="connsiteX193" fmla="*/ 394249 w 614938"/>
                  <a:gd name="connsiteY193" fmla="*/ 204840 h 716071"/>
                  <a:gd name="connsiteX194" fmla="*/ 394010 w 614938"/>
                  <a:gd name="connsiteY194" fmla="*/ 204840 h 716071"/>
                  <a:gd name="connsiteX195" fmla="*/ 394010 w 614938"/>
                  <a:gd name="connsiteY195" fmla="*/ 204840 h 716071"/>
                  <a:gd name="connsiteX196" fmla="*/ 372061 w 614938"/>
                  <a:gd name="connsiteY196" fmla="*/ 202328 h 716071"/>
                  <a:gd name="connsiteX197" fmla="*/ 372061 w 614938"/>
                  <a:gd name="connsiteY197" fmla="*/ 202328 h 716071"/>
                  <a:gd name="connsiteX198" fmla="*/ 372061 w 614938"/>
                  <a:gd name="connsiteY198" fmla="*/ 202328 h 716071"/>
                  <a:gd name="connsiteX199" fmla="*/ 349932 w 614938"/>
                  <a:gd name="connsiteY199" fmla="*/ 199816 h 716071"/>
                  <a:gd name="connsiteX200" fmla="*/ 349932 w 614938"/>
                  <a:gd name="connsiteY200" fmla="*/ 199816 h 716071"/>
                  <a:gd name="connsiteX201" fmla="*/ 327564 w 614938"/>
                  <a:gd name="connsiteY201" fmla="*/ 197304 h 716071"/>
                  <a:gd name="connsiteX202" fmla="*/ 327564 w 614938"/>
                  <a:gd name="connsiteY202" fmla="*/ 197304 h 716071"/>
                  <a:gd name="connsiteX203" fmla="*/ 305017 w 614938"/>
                  <a:gd name="connsiteY203" fmla="*/ 194732 h 716071"/>
                  <a:gd name="connsiteX204" fmla="*/ 305017 w 614938"/>
                  <a:gd name="connsiteY204" fmla="*/ 194732 h 716071"/>
                  <a:gd name="connsiteX205" fmla="*/ 282291 w 614938"/>
                  <a:gd name="connsiteY205" fmla="*/ 192161 h 716071"/>
                  <a:gd name="connsiteX206" fmla="*/ 282291 w 614938"/>
                  <a:gd name="connsiteY206" fmla="*/ 192161 h 716071"/>
                  <a:gd name="connsiteX207" fmla="*/ 259325 w 614938"/>
                  <a:gd name="connsiteY207" fmla="*/ 189529 h 716071"/>
                  <a:gd name="connsiteX208" fmla="*/ 236179 w 614938"/>
                  <a:gd name="connsiteY208" fmla="*/ 186898 h 716071"/>
                  <a:gd name="connsiteX209" fmla="*/ 236179 w 614938"/>
                  <a:gd name="connsiteY209" fmla="*/ 186898 h 716071"/>
                  <a:gd name="connsiteX210" fmla="*/ 212795 w 614938"/>
                  <a:gd name="connsiteY210" fmla="*/ 184266 h 716071"/>
                  <a:gd name="connsiteX211" fmla="*/ 212795 w 614938"/>
                  <a:gd name="connsiteY211" fmla="*/ 184266 h 716071"/>
                  <a:gd name="connsiteX212" fmla="*/ 189170 w 614938"/>
                  <a:gd name="connsiteY212" fmla="*/ 181575 h 716071"/>
                  <a:gd name="connsiteX213" fmla="*/ 189170 w 614938"/>
                  <a:gd name="connsiteY213" fmla="*/ 181575 h 716071"/>
                  <a:gd name="connsiteX214" fmla="*/ 189170 w 614938"/>
                  <a:gd name="connsiteY214" fmla="*/ 181575 h 716071"/>
                  <a:gd name="connsiteX215" fmla="*/ 165367 w 614938"/>
                  <a:gd name="connsiteY215" fmla="*/ 178883 h 716071"/>
                  <a:gd name="connsiteX216" fmla="*/ 165367 w 614938"/>
                  <a:gd name="connsiteY216" fmla="*/ 178883 h 716071"/>
                  <a:gd name="connsiteX217" fmla="*/ 165367 w 614938"/>
                  <a:gd name="connsiteY217" fmla="*/ 178883 h 716071"/>
                  <a:gd name="connsiteX218" fmla="*/ 165367 w 614938"/>
                  <a:gd name="connsiteY218" fmla="*/ 178883 h 716071"/>
                  <a:gd name="connsiteX219" fmla="*/ 165367 w 614938"/>
                  <a:gd name="connsiteY219" fmla="*/ 178883 h 716071"/>
                  <a:gd name="connsiteX220" fmla="*/ 165307 w 614938"/>
                  <a:gd name="connsiteY220" fmla="*/ 178883 h 716071"/>
                  <a:gd name="connsiteX221" fmla="*/ 165247 w 614938"/>
                  <a:gd name="connsiteY221" fmla="*/ 178883 h 716071"/>
                  <a:gd name="connsiteX222" fmla="*/ 165247 w 614938"/>
                  <a:gd name="connsiteY222" fmla="*/ 178883 h 716071"/>
                  <a:gd name="connsiteX223" fmla="*/ 165247 w 614938"/>
                  <a:gd name="connsiteY223" fmla="*/ 178883 h 716071"/>
                  <a:gd name="connsiteX224" fmla="*/ 165247 w 614938"/>
                  <a:gd name="connsiteY224" fmla="*/ 178883 h 716071"/>
                  <a:gd name="connsiteX225" fmla="*/ 165247 w 614938"/>
                  <a:gd name="connsiteY225" fmla="*/ 178883 h 716071"/>
                  <a:gd name="connsiteX226" fmla="*/ 165247 w 614938"/>
                  <a:gd name="connsiteY226" fmla="*/ 178883 h 716071"/>
                  <a:gd name="connsiteX227" fmla="*/ 165247 w 614938"/>
                  <a:gd name="connsiteY227" fmla="*/ 178883 h 716071"/>
                  <a:gd name="connsiteX228" fmla="*/ 165247 w 614938"/>
                  <a:gd name="connsiteY228" fmla="*/ 178883 h 716071"/>
                  <a:gd name="connsiteX229" fmla="*/ 165247 w 614938"/>
                  <a:gd name="connsiteY229" fmla="*/ 178883 h 716071"/>
                  <a:gd name="connsiteX230" fmla="*/ 165247 w 614938"/>
                  <a:gd name="connsiteY230" fmla="*/ 178883 h 716071"/>
                  <a:gd name="connsiteX231" fmla="*/ 165247 w 614938"/>
                  <a:gd name="connsiteY231" fmla="*/ 178883 h 716071"/>
                  <a:gd name="connsiteX232" fmla="*/ 165247 w 614938"/>
                  <a:gd name="connsiteY232" fmla="*/ 178883 h 716071"/>
                  <a:gd name="connsiteX233" fmla="*/ 165247 w 614938"/>
                  <a:gd name="connsiteY233" fmla="*/ 178943 h 716071"/>
                  <a:gd name="connsiteX234" fmla="*/ 165247 w 614938"/>
                  <a:gd name="connsiteY234" fmla="*/ 178943 h 716071"/>
                  <a:gd name="connsiteX235" fmla="*/ 165247 w 614938"/>
                  <a:gd name="connsiteY235" fmla="*/ 178943 h 716071"/>
                  <a:gd name="connsiteX236" fmla="*/ 165247 w 614938"/>
                  <a:gd name="connsiteY236" fmla="*/ 178943 h 716071"/>
                  <a:gd name="connsiteX237" fmla="*/ 164769 w 614938"/>
                  <a:gd name="connsiteY237" fmla="*/ 187854 h 716071"/>
                  <a:gd name="connsiteX238" fmla="*/ 164769 w 614938"/>
                  <a:gd name="connsiteY238" fmla="*/ 187854 h 716071"/>
                  <a:gd name="connsiteX239" fmla="*/ 164769 w 614938"/>
                  <a:gd name="connsiteY239" fmla="*/ 187914 h 716071"/>
                  <a:gd name="connsiteX240" fmla="*/ 164889 w 614938"/>
                  <a:gd name="connsiteY240" fmla="*/ 188333 h 716071"/>
                  <a:gd name="connsiteX241" fmla="*/ 164889 w 614938"/>
                  <a:gd name="connsiteY241" fmla="*/ 188333 h 716071"/>
                  <a:gd name="connsiteX242" fmla="*/ 164889 w 614938"/>
                  <a:gd name="connsiteY242" fmla="*/ 188333 h 716071"/>
                  <a:gd name="connsiteX243" fmla="*/ 164949 w 614938"/>
                  <a:gd name="connsiteY243" fmla="*/ 188393 h 716071"/>
                  <a:gd name="connsiteX244" fmla="*/ 164949 w 614938"/>
                  <a:gd name="connsiteY244" fmla="*/ 188393 h 716071"/>
                  <a:gd name="connsiteX245" fmla="*/ 164949 w 614938"/>
                  <a:gd name="connsiteY245" fmla="*/ 188393 h 716071"/>
                  <a:gd name="connsiteX246" fmla="*/ 164949 w 614938"/>
                  <a:gd name="connsiteY246" fmla="*/ 188393 h 716071"/>
                  <a:gd name="connsiteX247" fmla="*/ 164949 w 614938"/>
                  <a:gd name="connsiteY247" fmla="*/ 188393 h 716071"/>
                  <a:gd name="connsiteX248" fmla="*/ 165009 w 614938"/>
                  <a:gd name="connsiteY248" fmla="*/ 188453 h 716071"/>
                  <a:gd name="connsiteX249" fmla="*/ 165009 w 614938"/>
                  <a:gd name="connsiteY249" fmla="*/ 188453 h 716071"/>
                  <a:gd name="connsiteX250" fmla="*/ 165009 w 614938"/>
                  <a:gd name="connsiteY250" fmla="*/ 188453 h 716071"/>
                  <a:gd name="connsiteX251" fmla="*/ 165009 w 614938"/>
                  <a:gd name="connsiteY251" fmla="*/ 188453 h 716071"/>
                  <a:gd name="connsiteX252" fmla="*/ 187496 w 614938"/>
                  <a:gd name="connsiteY252" fmla="*/ 192460 h 716071"/>
                  <a:gd name="connsiteX253" fmla="*/ 209744 w 614938"/>
                  <a:gd name="connsiteY253" fmla="*/ 196407 h 716071"/>
                  <a:gd name="connsiteX254" fmla="*/ 231753 w 614938"/>
                  <a:gd name="connsiteY254" fmla="*/ 200294 h 716071"/>
                  <a:gd name="connsiteX255" fmla="*/ 253583 w 614938"/>
                  <a:gd name="connsiteY255" fmla="*/ 204182 h 716071"/>
                  <a:gd name="connsiteX256" fmla="*/ 275173 w 614938"/>
                  <a:gd name="connsiteY256" fmla="*/ 208009 h 716071"/>
                  <a:gd name="connsiteX257" fmla="*/ 296585 w 614938"/>
                  <a:gd name="connsiteY257" fmla="*/ 211837 h 716071"/>
                  <a:gd name="connsiteX258" fmla="*/ 296585 w 614938"/>
                  <a:gd name="connsiteY258" fmla="*/ 211837 h 716071"/>
                  <a:gd name="connsiteX259" fmla="*/ 317816 w 614938"/>
                  <a:gd name="connsiteY259" fmla="*/ 215605 h 716071"/>
                  <a:gd name="connsiteX260" fmla="*/ 317816 w 614938"/>
                  <a:gd name="connsiteY260" fmla="*/ 215605 h 716071"/>
                  <a:gd name="connsiteX261" fmla="*/ 338808 w 614938"/>
                  <a:gd name="connsiteY261" fmla="*/ 219313 h 716071"/>
                  <a:gd name="connsiteX262" fmla="*/ 359621 w 614938"/>
                  <a:gd name="connsiteY262" fmla="*/ 223021 h 716071"/>
                  <a:gd name="connsiteX263" fmla="*/ 380255 w 614938"/>
                  <a:gd name="connsiteY263" fmla="*/ 226669 h 716071"/>
                  <a:gd name="connsiteX264" fmla="*/ 380255 w 614938"/>
                  <a:gd name="connsiteY264" fmla="*/ 226669 h 716071"/>
                  <a:gd name="connsiteX265" fmla="*/ 388389 w 614938"/>
                  <a:gd name="connsiteY265" fmla="*/ 228105 h 716071"/>
                  <a:gd name="connsiteX266" fmla="*/ 373855 w 614938"/>
                  <a:gd name="connsiteY266" fmla="*/ 245568 h 716071"/>
                  <a:gd name="connsiteX267" fmla="*/ 373855 w 614938"/>
                  <a:gd name="connsiteY267" fmla="*/ 245568 h 716071"/>
                  <a:gd name="connsiteX268" fmla="*/ 373855 w 614938"/>
                  <a:gd name="connsiteY268" fmla="*/ 245568 h 716071"/>
                  <a:gd name="connsiteX269" fmla="*/ 345686 w 614938"/>
                  <a:gd name="connsiteY269" fmla="*/ 279419 h 716071"/>
                  <a:gd name="connsiteX270" fmla="*/ 317876 w 614938"/>
                  <a:gd name="connsiteY270" fmla="*/ 312852 h 716071"/>
                  <a:gd name="connsiteX271" fmla="*/ 290424 w 614938"/>
                  <a:gd name="connsiteY271" fmla="*/ 345805 h 716071"/>
                  <a:gd name="connsiteX272" fmla="*/ 263331 w 614938"/>
                  <a:gd name="connsiteY272" fmla="*/ 378340 h 716071"/>
                  <a:gd name="connsiteX273" fmla="*/ 263331 w 614938"/>
                  <a:gd name="connsiteY273" fmla="*/ 378340 h 716071"/>
                  <a:gd name="connsiteX274" fmla="*/ 263331 w 614938"/>
                  <a:gd name="connsiteY274" fmla="*/ 378340 h 716071"/>
                  <a:gd name="connsiteX275" fmla="*/ 236598 w 614938"/>
                  <a:gd name="connsiteY275" fmla="*/ 410457 h 716071"/>
                  <a:gd name="connsiteX276" fmla="*/ 210223 w 614938"/>
                  <a:gd name="connsiteY276" fmla="*/ 442155 h 716071"/>
                  <a:gd name="connsiteX277" fmla="*/ 184207 w 614938"/>
                  <a:gd name="connsiteY277" fmla="*/ 473434 h 716071"/>
                  <a:gd name="connsiteX278" fmla="*/ 158489 w 614938"/>
                  <a:gd name="connsiteY278" fmla="*/ 504354 h 716071"/>
                  <a:gd name="connsiteX279" fmla="*/ 133131 w 614938"/>
                  <a:gd name="connsiteY279" fmla="*/ 534856 h 716071"/>
                  <a:gd name="connsiteX280" fmla="*/ 108072 w 614938"/>
                  <a:gd name="connsiteY280" fmla="*/ 564999 h 716071"/>
                  <a:gd name="connsiteX281" fmla="*/ 83312 w 614938"/>
                  <a:gd name="connsiteY281" fmla="*/ 594723 h 716071"/>
                  <a:gd name="connsiteX282" fmla="*/ 58851 w 614938"/>
                  <a:gd name="connsiteY282" fmla="*/ 624088 h 716071"/>
                  <a:gd name="connsiteX283" fmla="*/ 34688 w 614938"/>
                  <a:gd name="connsiteY283" fmla="*/ 653095 h 716071"/>
                  <a:gd name="connsiteX284" fmla="*/ 21770 w 614938"/>
                  <a:gd name="connsiteY284" fmla="*/ 664697 h 716071"/>
                  <a:gd name="connsiteX285" fmla="*/ 16148 w 614938"/>
                  <a:gd name="connsiteY285" fmla="*/ 662604 h 716071"/>
                  <a:gd name="connsiteX286" fmla="*/ 16148 w 614938"/>
                  <a:gd name="connsiteY286" fmla="*/ 662604 h 716071"/>
                  <a:gd name="connsiteX287" fmla="*/ 16148 w 614938"/>
                  <a:gd name="connsiteY287" fmla="*/ 662604 h 716071"/>
                  <a:gd name="connsiteX288" fmla="*/ 15191 w 614938"/>
                  <a:gd name="connsiteY288" fmla="*/ 662425 h 716071"/>
                  <a:gd name="connsiteX289" fmla="*/ 15191 w 614938"/>
                  <a:gd name="connsiteY289" fmla="*/ 662425 h 716071"/>
                  <a:gd name="connsiteX290" fmla="*/ 15191 w 614938"/>
                  <a:gd name="connsiteY290" fmla="*/ 662425 h 716071"/>
                  <a:gd name="connsiteX291" fmla="*/ 9151 w 614938"/>
                  <a:gd name="connsiteY291" fmla="*/ 661348 h 716071"/>
                  <a:gd name="connsiteX292" fmla="*/ 9151 w 614938"/>
                  <a:gd name="connsiteY292" fmla="*/ 661348 h 716071"/>
                  <a:gd name="connsiteX293" fmla="*/ 9151 w 614938"/>
                  <a:gd name="connsiteY293" fmla="*/ 661348 h 716071"/>
                  <a:gd name="connsiteX294" fmla="*/ 9151 w 614938"/>
                  <a:gd name="connsiteY294" fmla="*/ 661348 h 716071"/>
                  <a:gd name="connsiteX295" fmla="*/ 9151 w 614938"/>
                  <a:gd name="connsiteY295" fmla="*/ 661348 h 716071"/>
                  <a:gd name="connsiteX296" fmla="*/ 9151 w 614938"/>
                  <a:gd name="connsiteY296" fmla="*/ 661348 h 716071"/>
                  <a:gd name="connsiteX297" fmla="*/ 9091 w 614938"/>
                  <a:gd name="connsiteY297" fmla="*/ 661348 h 716071"/>
                  <a:gd name="connsiteX298" fmla="*/ 4605 w 614938"/>
                  <a:gd name="connsiteY298" fmla="*/ 662066 h 716071"/>
                  <a:gd name="connsiteX299" fmla="*/ 4605 w 614938"/>
                  <a:gd name="connsiteY299" fmla="*/ 662066 h 716071"/>
                  <a:gd name="connsiteX300" fmla="*/ 4605 w 614938"/>
                  <a:gd name="connsiteY300" fmla="*/ 662066 h 716071"/>
                  <a:gd name="connsiteX301" fmla="*/ 4605 w 614938"/>
                  <a:gd name="connsiteY301" fmla="*/ 662066 h 716071"/>
                  <a:gd name="connsiteX302" fmla="*/ 4605 w 614938"/>
                  <a:gd name="connsiteY302" fmla="*/ 662066 h 716071"/>
                  <a:gd name="connsiteX303" fmla="*/ 4605 w 614938"/>
                  <a:gd name="connsiteY303" fmla="*/ 662066 h 716071"/>
                  <a:gd name="connsiteX304" fmla="*/ 2034 w 614938"/>
                  <a:gd name="connsiteY304" fmla="*/ 664518 h 716071"/>
                  <a:gd name="connsiteX305" fmla="*/ 2034 w 614938"/>
                  <a:gd name="connsiteY305" fmla="*/ 664518 h 716071"/>
                  <a:gd name="connsiteX306" fmla="*/ 2034 w 614938"/>
                  <a:gd name="connsiteY306" fmla="*/ 664518 h 716071"/>
                  <a:gd name="connsiteX307" fmla="*/ 2034 w 614938"/>
                  <a:gd name="connsiteY307" fmla="*/ 664518 h 716071"/>
                  <a:gd name="connsiteX308" fmla="*/ 479 w 614938"/>
                  <a:gd name="connsiteY308" fmla="*/ 666492 h 716071"/>
                  <a:gd name="connsiteX309" fmla="*/ 479 w 614938"/>
                  <a:gd name="connsiteY309" fmla="*/ 666551 h 716071"/>
                  <a:gd name="connsiteX310" fmla="*/ 479 w 614938"/>
                  <a:gd name="connsiteY310" fmla="*/ 666551 h 716071"/>
                  <a:gd name="connsiteX311" fmla="*/ 479 w 614938"/>
                  <a:gd name="connsiteY311" fmla="*/ 666551 h 716071"/>
                  <a:gd name="connsiteX312" fmla="*/ 479 w 614938"/>
                  <a:gd name="connsiteY312" fmla="*/ 666551 h 716071"/>
                  <a:gd name="connsiteX313" fmla="*/ 0 w 614938"/>
                  <a:gd name="connsiteY313" fmla="*/ 670618 h 716071"/>
                  <a:gd name="connsiteX314" fmla="*/ 0 w 614938"/>
                  <a:gd name="connsiteY314" fmla="*/ 670618 h 716071"/>
                  <a:gd name="connsiteX315" fmla="*/ 0 w 614938"/>
                  <a:gd name="connsiteY315" fmla="*/ 670618 h 716071"/>
                  <a:gd name="connsiteX316" fmla="*/ 0 w 614938"/>
                  <a:gd name="connsiteY316" fmla="*/ 670618 h 716071"/>
                  <a:gd name="connsiteX317" fmla="*/ 0 w 614938"/>
                  <a:gd name="connsiteY317" fmla="*/ 670678 h 716071"/>
                  <a:gd name="connsiteX318" fmla="*/ 0 w 614938"/>
                  <a:gd name="connsiteY318" fmla="*/ 670678 h 716071"/>
                  <a:gd name="connsiteX319" fmla="*/ 1735 w 614938"/>
                  <a:gd name="connsiteY319" fmla="*/ 676121 h 716071"/>
                  <a:gd name="connsiteX320" fmla="*/ 1735 w 614938"/>
                  <a:gd name="connsiteY320" fmla="*/ 676121 h 716071"/>
                  <a:gd name="connsiteX321" fmla="*/ 1735 w 614938"/>
                  <a:gd name="connsiteY321" fmla="*/ 676121 h 716071"/>
                  <a:gd name="connsiteX322" fmla="*/ 5562 w 614938"/>
                  <a:gd name="connsiteY322" fmla="*/ 682520 h 716071"/>
                  <a:gd name="connsiteX323" fmla="*/ 5562 w 614938"/>
                  <a:gd name="connsiteY323" fmla="*/ 682520 h 716071"/>
                  <a:gd name="connsiteX324" fmla="*/ 5562 w 614938"/>
                  <a:gd name="connsiteY324" fmla="*/ 682520 h 716071"/>
                  <a:gd name="connsiteX325" fmla="*/ 5562 w 614938"/>
                  <a:gd name="connsiteY325" fmla="*/ 682520 h 716071"/>
                  <a:gd name="connsiteX326" fmla="*/ 11244 w 614938"/>
                  <a:gd name="connsiteY326" fmla="*/ 689458 h 716071"/>
                  <a:gd name="connsiteX327" fmla="*/ 11244 w 614938"/>
                  <a:gd name="connsiteY327" fmla="*/ 689458 h 716071"/>
                  <a:gd name="connsiteX328" fmla="*/ 11244 w 614938"/>
                  <a:gd name="connsiteY328" fmla="*/ 689458 h 716071"/>
                  <a:gd name="connsiteX329" fmla="*/ 18421 w 614938"/>
                  <a:gd name="connsiteY329" fmla="*/ 696455 h 716071"/>
                  <a:gd name="connsiteX330" fmla="*/ 18421 w 614938"/>
                  <a:gd name="connsiteY330" fmla="*/ 696455 h 716071"/>
                  <a:gd name="connsiteX331" fmla="*/ 18421 w 614938"/>
                  <a:gd name="connsiteY331" fmla="*/ 696455 h 716071"/>
                  <a:gd name="connsiteX332" fmla="*/ 18421 w 614938"/>
                  <a:gd name="connsiteY332" fmla="*/ 696455 h 716071"/>
                  <a:gd name="connsiteX333" fmla="*/ 18421 w 614938"/>
                  <a:gd name="connsiteY333" fmla="*/ 696455 h 716071"/>
                  <a:gd name="connsiteX334" fmla="*/ 18421 w 614938"/>
                  <a:gd name="connsiteY334" fmla="*/ 696455 h 716071"/>
                  <a:gd name="connsiteX335" fmla="*/ 18421 w 614938"/>
                  <a:gd name="connsiteY335" fmla="*/ 696455 h 716071"/>
                  <a:gd name="connsiteX336" fmla="*/ 18421 w 614938"/>
                  <a:gd name="connsiteY336" fmla="*/ 696455 h 716071"/>
                  <a:gd name="connsiteX337" fmla="*/ 26495 w 614938"/>
                  <a:gd name="connsiteY337" fmla="*/ 702974 h 716071"/>
                  <a:gd name="connsiteX338" fmla="*/ 26495 w 614938"/>
                  <a:gd name="connsiteY338" fmla="*/ 702974 h 716071"/>
                  <a:gd name="connsiteX339" fmla="*/ 26495 w 614938"/>
                  <a:gd name="connsiteY339" fmla="*/ 702974 h 716071"/>
                  <a:gd name="connsiteX340" fmla="*/ 26495 w 614938"/>
                  <a:gd name="connsiteY340" fmla="*/ 702974 h 716071"/>
                  <a:gd name="connsiteX341" fmla="*/ 26495 w 614938"/>
                  <a:gd name="connsiteY341" fmla="*/ 702974 h 716071"/>
                  <a:gd name="connsiteX342" fmla="*/ 26495 w 614938"/>
                  <a:gd name="connsiteY342" fmla="*/ 702974 h 716071"/>
                  <a:gd name="connsiteX343" fmla="*/ 34928 w 614938"/>
                  <a:gd name="connsiteY343" fmla="*/ 708536 h 716071"/>
                  <a:gd name="connsiteX344" fmla="*/ 34928 w 614938"/>
                  <a:gd name="connsiteY344" fmla="*/ 708536 h 716071"/>
                  <a:gd name="connsiteX345" fmla="*/ 34928 w 614938"/>
                  <a:gd name="connsiteY345" fmla="*/ 708536 h 716071"/>
                  <a:gd name="connsiteX346" fmla="*/ 43122 w 614938"/>
                  <a:gd name="connsiteY346" fmla="*/ 712723 h 716071"/>
                  <a:gd name="connsiteX347" fmla="*/ 43122 w 614938"/>
                  <a:gd name="connsiteY347" fmla="*/ 712723 h 716071"/>
                  <a:gd name="connsiteX348" fmla="*/ 43122 w 614938"/>
                  <a:gd name="connsiteY348" fmla="*/ 712723 h 716071"/>
                  <a:gd name="connsiteX349" fmla="*/ 43122 w 614938"/>
                  <a:gd name="connsiteY349" fmla="*/ 712723 h 716071"/>
                  <a:gd name="connsiteX350" fmla="*/ 50478 w 614938"/>
                  <a:gd name="connsiteY350" fmla="*/ 715294 h 716071"/>
                  <a:gd name="connsiteX351" fmla="*/ 50478 w 614938"/>
                  <a:gd name="connsiteY351" fmla="*/ 715294 h 716071"/>
                  <a:gd name="connsiteX352" fmla="*/ 50478 w 614938"/>
                  <a:gd name="connsiteY352" fmla="*/ 715294 h 716071"/>
                  <a:gd name="connsiteX353" fmla="*/ 56458 w 614938"/>
                  <a:gd name="connsiteY353" fmla="*/ 716072 h 716071"/>
                  <a:gd name="connsiteX354" fmla="*/ 56458 w 614938"/>
                  <a:gd name="connsiteY354" fmla="*/ 716072 h 716071"/>
                  <a:gd name="connsiteX355" fmla="*/ 56518 w 614938"/>
                  <a:gd name="connsiteY355" fmla="*/ 716072 h 716071"/>
                  <a:gd name="connsiteX356" fmla="*/ 56518 w 614938"/>
                  <a:gd name="connsiteY356" fmla="*/ 716072 h 716071"/>
                  <a:gd name="connsiteX357" fmla="*/ 56518 w 614938"/>
                  <a:gd name="connsiteY357" fmla="*/ 716072 h 716071"/>
                  <a:gd name="connsiteX358" fmla="*/ 60704 w 614938"/>
                  <a:gd name="connsiteY358" fmla="*/ 714995 h 716071"/>
                  <a:gd name="connsiteX359" fmla="*/ 60704 w 614938"/>
                  <a:gd name="connsiteY359" fmla="*/ 714995 h 716071"/>
                  <a:gd name="connsiteX360" fmla="*/ 60704 w 614938"/>
                  <a:gd name="connsiteY360" fmla="*/ 714995 h 716071"/>
                  <a:gd name="connsiteX361" fmla="*/ 60704 w 614938"/>
                  <a:gd name="connsiteY361" fmla="*/ 714995 h 716071"/>
                  <a:gd name="connsiteX362" fmla="*/ 60704 w 614938"/>
                  <a:gd name="connsiteY362" fmla="*/ 714995 h 716071"/>
                  <a:gd name="connsiteX363" fmla="*/ 62260 w 614938"/>
                  <a:gd name="connsiteY363" fmla="*/ 713081 h 716071"/>
                  <a:gd name="connsiteX364" fmla="*/ 62260 w 614938"/>
                  <a:gd name="connsiteY364" fmla="*/ 713081 h 716071"/>
                  <a:gd name="connsiteX365" fmla="*/ 62260 w 614938"/>
                  <a:gd name="connsiteY365" fmla="*/ 713081 h 716071"/>
                  <a:gd name="connsiteX366" fmla="*/ 64472 w 614938"/>
                  <a:gd name="connsiteY366" fmla="*/ 710330 h 716071"/>
                  <a:gd name="connsiteX367" fmla="*/ 64472 w 614938"/>
                  <a:gd name="connsiteY367" fmla="*/ 710330 h 716071"/>
                  <a:gd name="connsiteX368" fmla="*/ 64472 w 614938"/>
                  <a:gd name="connsiteY368" fmla="*/ 710330 h 716071"/>
                  <a:gd name="connsiteX369" fmla="*/ 64472 w 614938"/>
                  <a:gd name="connsiteY369" fmla="*/ 710270 h 716071"/>
                  <a:gd name="connsiteX370" fmla="*/ 64472 w 614938"/>
                  <a:gd name="connsiteY370" fmla="*/ 710270 h 716071"/>
                  <a:gd name="connsiteX371" fmla="*/ 64472 w 614938"/>
                  <a:gd name="connsiteY371" fmla="*/ 710270 h 716071"/>
                  <a:gd name="connsiteX372" fmla="*/ 64472 w 614938"/>
                  <a:gd name="connsiteY372" fmla="*/ 710270 h 716071"/>
                  <a:gd name="connsiteX373" fmla="*/ 64532 w 614938"/>
                  <a:gd name="connsiteY373" fmla="*/ 706024 h 716071"/>
                  <a:gd name="connsiteX374" fmla="*/ 64532 w 614938"/>
                  <a:gd name="connsiteY374" fmla="*/ 706024 h 716071"/>
                  <a:gd name="connsiteX375" fmla="*/ 64532 w 614938"/>
                  <a:gd name="connsiteY375" fmla="*/ 706024 h 716071"/>
                  <a:gd name="connsiteX376" fmla="*/ 64532 w 614938"/>
                  <a:gd name="connsiteY376" fmla="*/ 706024 h 716071"/>
                  <a:gd name="connsiteX377" fmla="*/ 64532 w 614938"/>
                  <a:gd name="connsiteY377" fmla="*/ 705964 h 716071"/>
                  <a:gd name="connsiteX378" fmla="*/ 64532 w 614938"/>
                  <a:gd name="connsiteY378" fmla="*/ 705964 h 716071"/>
                  <a:gd name="connsiteX379" fmla="*/ 62499 w 614938"/>
                  <a:gd name="connsiteY379" fmla="*/ 700522 h 716071"/>
                  <a:gd name="connsiteX380" fmla="*/ 62499 w 614938"/>
                  <a:gd name="connsiteY380" fmla="*/ 700522 h 716071"/>
                  <a:gd name="connsiteX381" fmla="*/ 62499 w 614938"/>
                  <a:gd name="connsiteY381" fmla="*/ 700522 h 716071"/>
                  <a:gd name="connsiteX382" fmla="*/ 62080 w 614938"/>
                  <a:gd name="connsiteY382" fmla="*/ 699565 h 716071"/>
                  <a:gd name="connsiteX383" fmla="*/ 62080 w 614938"/>
                  <a:gd name="connsiteY383" fmla="*/ 699565 h 716071"/>
                  <a:gd name="connsiteX384" fmla="*/ 62080 w 614938"/>
                  <a:gd name="connsiteY384" fmla="*/ 699565 h 716071"/>
                  <a:gd name="connsiteX385" fmla="*/ 58252 w 614938"/>
                  <a:gd name="connsiteY385" fmla="*/ 693465 h 716071"/>
                  <a:gd name="connsiteX386" fmla="*/ 58252 w 614938"/>
                  <a:gd name="connsiteY386" fmla="*/ 693465 h 716071"/>
                  <a:gd name="connsiteX387" fmla="*/ 58252 w 614938"/>
                  <a:gd name="connsiteY387" fmla="*/ 693465 h 716071"/>
                  <a:gd name="connsiteX388" fmla="*/ 67463 w 614938"/>
                  <a:gd name="connsiteY388" fmla="*/ 675881 h 716071"/>
                  <a:gd name="connsiteX389" fmla="*/ 90608 w 614938"/>
                  <a:gd name="connsiteY389" fmla="*/ 646456 h 716071"/>
                  <a:gd name="connsiteX390" fmla="*/ 114053 w 614938"/>
                  <a:gd name="connsiteY390" fmla="*/ 616672 h 716071"/>
                  <a:gd name="connsiteX391" fmla="*/ 137796 w 614938"/>
                  <a:gd name="connsiteY391" fmla="*/ 586470 h 716071"/>
                  <a:gd name="connsiteX392" fmla="*/ 161899 w 614938"/>
                  <a:gd name="connsiteY392" fmla="*/ 555908 h 716071"/>
                  <a:gd name="connsiteX393" fmla="*/ 186300 w 614938"/>
                  <a:gd name="connsiteY393" fmla="*/ 524928 h 716071"/>
                  <a:gd name="connsiteX394" fmla="*/ 211000 w 614938"/>
                  <a:gd name="connsiteY394" fmla="*/ 493529 h 716071"/>
                  <a:gd name="connsiteX395" fmla="*/ 236060 w 614938"/>
                  <a:gd name="connsiteY395" fmla="*/ 461712 h 716071"/>
                  <a:gd name="connsiteX396" fmla="*/ 261418 w 614938"/>
                  <a:gd name="connsiteY396" fmla="*/ 429476 h 716071"/>
                  <a:gd name="connsiteX397" fmla="*/ 287135 w 614938"/>
                  <a:gd name="connsiteY397" fmla="*/ 396821 h 716071"/>
                  <a:gd name="connsiteX398" fmla="*/ 313210 w 614938"/>
                  <a:gd name="connsiteY398" fmla="*/ 363748 h 716071"/>
                  <a:gd name="connsiteX399" fmla="*/ 339645 w 614938"/>
                  <a:gd name="connsiteY399" fmla="*/ 330196 h 716071"/>
                  <a:gd name="connsiteX400" fmla="*/ 366439 w 614938"/>
                  <a:gd name="connsiteY400" fmla="*/ 296165 h 716071"/>
                  <a:gd name="connsiteX401" fmla="*/ 393592 w 614938"/>
                  <a:gd name="connsiteY401" fmla="*/ 261716 h 716071"/>
                  <a:gd name="connsiteX402" fmla="*/ 418532 w 614938"/>
                  <a:gd name="connsiteY402" fmla="*/ 230019 h 716071"/>
                  <a:gd name="connsiteX403" fmla="*/ 435935 w 614938"/>
                  <a:gd name="connsiteY403" fmla="*/ 243655 h 716071"/>
                  <a:gd name="connsiteX404" fmla="*/ 435935 w 614938"/>
                  <a:gd name="connsiteY404" fmla="*/ 243655 h 716071"/>
                  <a:gd name="connsiteX405" fmla="*/ 435935 w 614938"/>
                  <a:gd name="connsiteY405" fmla="*/ 243655 h 716071"/>
                  <a:gd name="connsiteX406" fmla="*/ 437012 w 614938"/>
                  <a:gd name="connsiteY406" fmla="*/ 244253 h 716071"/>
                  <a:gd name="connsiteX407" fmla="*/ 437012 w 614938"/>
                  <a:gd name="connsiteY407" fmla="*/ 244253 h 716071"/>
                  <a:gd name="connsiteX408" fmla="*/ 437072 w 614938"/>
                  <a:gd name="connsiteY408" fmla="*/ 244253 h 716071"/>
                  <a:gd name="connsiteX409" fmla="*/ 437072 w 614938"/>
                  <a:gd name="connsiteY409" fmla="*/ 244253 h 716071"/>
                  <a:gd name="connsiteX410" fmla="*/ 437072 w 614938"/>
                  <a:gd name="connsiteY410" fmla="*/ 244253 h 716071"/>
                  <a:gd name="connsiteX411" fmla="*/ 437072 w 614938"/>
                  <a:gd name="connsiteY411" fmla="*/ 244253 h 716071"/>
                  <a:gd name="connsiteX412" fmla="*/ 437909 w 614938"/>
                  <a:gd name="connsiteY412" fmla="*/ 244193 h 716071"/>
                  <a:gd name="connsiteX413" fmla="*/ 444248 w 614938"/>
                  <a:gd name="connsiteY413" fmla="*/ 259922 h 716071"/>
                  <a:gd name="connsiteX414" fmla="*/ 451904 w 614938"/>
                  <a:gd name="connsiteY414" fmla="*/ 278941 h 716071"/>
                  <a:gd name="connsiteX415" fmla="*/ 459440 w 614938"/>
                  <a:gd name="connsiteY415" fmla="*/ 297661 h 716071"/>
                  <a:gd name="connsiteX416" fmla="*/ 466856 w 614938"/>
                  <a:gd name="connsiteY416" fmla="*/ 316081 h 716071"/>
                  <a:gd name="connsiteX417" fmla="*/ 474152 w 614938"/>
                  <a:gd name="connsiteY417" fmla="*/ 334263 h 716071"/>
                  <a:gd name="connsiteX418" fmla="*/ 474152 w 614938"/>
                  <a:gd name="connsiteY418" fmla="*/ 334263 h 716071"/>
                  <a:gd name="connsiteX419" fmla="*/ 481329 w 614938"/>
                  <a:gd name="connsiteY419" fmla="*/ 352145 h 716071"/>
                  <a:gd name="connsiteX420" fmla="*/ 481329 w 614938"/>
                  <a:gd name="connsiteY420" fmla="*/ 352145 h 716071"/>
                  <a:gd name="connsiteX421" fmla="*/ 488386 w 614938"/>
                  <a:gd name="connsiteY421" fmla="*/ 369728 h 716071"/>
                  <a:gd name="connsiteX422" fmla="*/ 488386 w 614938"/>
                  <a:gd name="connsiteY422" fmla="*/ 369728 h 716071"/>
                  <a:gd name="connsiteX423" fmla="*/ 495384 w 614938"/>
                  <a:gd name="connsiteY423" fmla="*/ 387072 h 716071"/>
                  <a:gd name="connsiteX424" fmla="*/ 495384 w 614938"/>
                  <a:gd name="connsiteY424" fmla="*/ 387072 h 716071"/>
                  <a:gd name="connsiteX425" fmla="*/ 502262 w 614938"/>
                  <a:gd name="connsiteY425" fmla="*/ 404177 h 716071"/>
                  <a:gd name="connsiteX426" fmla="*/ 502262 w 614938"/>
                  <a:gd name="connsiteY426" fmla="*/ 404177 h 716071"/>
                  <a:gd name="connsiteX427" fmla="*/ 509020 w 614938"/>
                  <a:gd name="connsiteY427" fmla="*/ 421043 h 716071"/>
                  <a:gd name="connsiteX428" fmla="*/ 509020 w 614938"/>
                  <a:gd name="connsiteY428" fmla="*/ 421043 h 716071"/>
                  <a:gd name="connsiteX429" fmla="*/ 515658 w 614938"/>
                  <a:gd name="connsiteY429" fmla="*/ 437669 h 716071"/>
                  <a:gd name="connsiteX430" fmla="*/ 515658 w 614938"/>
                  <a:gd name="connsiteY430" fmla="*/ 437669 h 716071"/>
                  <a:gd name="connsiteX431" fmla="*/ 515658 w 614938"/>
                  <a:gd name="connsiteY431" fmla="*/ 437669 h 716071"/>
                  <a:gd name="connsiteX432" fmla="*/ 517931 w 614938"/>
                  <a:gd name="connsiteY432" fmla="*/ 440779 h 716071"/>
                  <a:gd name="connsiteX433" fmla="*/ 517931 w 614938"/>
                  <a:gd name="connsiteY433" fmla="*/ 440779 h 716071"/>
                  <a:gd name="connsiteX434" fmla="*/ 517931 w 614938"/>
                  <a:gd name="connsiteY434" fmla="*/ 440779 h 716071"/>
                  <a:gd name="connsiteX435" fmla="*/ 517991 w 614938"/>
                  <a:gd name="connsiteY435" fmla="*/ 440839 h 716071"/>
                  <a:gd name="connsiteX436" fmla="*/ 517991 w 614938"/>
                  <a:gd name="connsiteY436" fmla="*/ 440839 h 716071"/>
                  <a:gd name="connsiteX437" fmla="*/ 517991 w 614938"/>
                  <a:gd name="connsiteY437" fmla="*/ 440839 h 716071"/>
                  <a:gd name="connsiteX438" fmla="*/ 517991 w 614938"/>
                  <a:gd name="connsiteY438" fmla="*/ 440839 h 716071"/>
                  <a:gd name="connsiteX439" fmla="*/ 518050 w 614938"/>
                  <a:gd name="connsiteY439" fmla="*/ 440899 h 716071"/>
                  <a:gd name="connsiteX440" fmla="*/ 518050 w 614938"/>
                  <a:gd name="connsiteY440" fmla="*/ 440899 h 716071"/>
                  <a:gd name="connsiteX441" fmla="*/ 518050 w 614938"/>
                  <a:gd name="connsiteY441" fmla="*/ 440899 h 716071"/>
                  <a:gd name="connsiteX442" fmla="*/ 518050 w 614938"/>
                  <a:gd name="connsiteY442" fmla="*/ 440899 h 716071"/>
                  <a:gd name="connsiteX443" fmla="*/ 518110 w 614938"/>
                  <a:gd name="connsiteY443" fmla="*/ 440899 h 716071"/>
                  <a:gd name="connsiteX444" fmla="*/ 518110 w 614938"/>
                  <a:gd name="connsiteY444" fmla="*/ 440899 h 716071"/>
                  <a:gd name="connsiteX445" fmla="*/ 518110 w 614938"/>
                  <a:gd name="connsiteY445" fmla="*/ 440899 h 716071"/>
                  <a:gd name="connsiteX446" fmla="*/ 518110 w 614938"/>
                  <a:gd name="connsiteY446" fmla="*/ 440899 h 716071"/>
                  <a:gd name="connsiteX447" fmla="*/ 518110 w 614938"/>
                  <a:gd name="connsiteY447" fmla="*/ 440899 h 716071"/>
                  <a:gd name="connsiteX448" fmla="*/ 518110 w 614938"/>
                  <a:gd name="connsiteY448" fmla="*/ 440899 h 716071"/>
                  <a:gd name="connsiteX449" fmla="*/ 518110 w 614938"/>
                  <a:gd name="connsiteY449" fmla="*/ 440899 h 716071"/>
                  <a:gd name="connsiteX450" fmla="*/ 523912 w 614938"/>
                  <a:gd name="connsiteY450" fmla="*/ 436772 h 716071"/>
                  <a:gd name="connsiteX451" fmla="*/ 523912 w 614938"/>
                  <a:gd name="connsiteY451" fmla="*/ 436772 h 716071"/>
                  <a:gd name="connsiteX452" fmla="*/ 523912 w 614938"/>
                  <a:gd name="connsiteY452" fmla="*/ 436772 h 716071"/>
                  <a:gd name="connsiteX453" fmla="*/ 516137 w 614938"/>
                  <a:gd name="connsiteY453" fmla="*/ 437430 h 716071"/>
                  <a:gd name="connsiteX454" fmla="*/ 509976 w 614938"/>
                  <a:gd name="connsiteY454" fmla="*/ 422179 h 716071"/>
                  <a:gd name="connsiteX455" fmla="*/ 511412 w 614938"/>
                  <a:gd name="connsiteY455" fmla="*/ 424093 h 716071"/>
                  <a:gd name="connsiteX456" fmla="*/ 517572 w 614938"/>
                  <a:gd name="connsiteY456" fmla="*/ 439404 h 716071"/>
                  <a:gd name="connsiteX457" fmla="*/ 516137 w 614938"/>
                  <a:gd name="connsiteY457" fmla="*/ 437430 h 716071"/>
                  <a:gd name="connsiteX458" fmla="*/ 380375 w 614938"/>
                  <a:gd name="connsiteY458" fmla="*/ 226191 h 716071"/>
                  <a:gd name="connsiteX459" fmla="*/ 395805 w 614938"/>
                  <a:gd name="connsiteY459" fmla="*/ 207172 h 716071"/>
                  <a:gd name="connsiteX460" fmla="*/ 417215 w 614938"/>
                  <a:gd name="connsiteY460" fmla="*/ 209624 h 716071"/>
                  <a:gd name="connsiteX461" fmla="*/ 400350 w 614938"/>
                  <a:gd name="connsiteY461" fmla="*/ 229779 h 716071"/>
                  <a:gd name="connsiteX462" fmla="*/ 380375 w 614938"/>
                  <a:gd name="connsiteY462" fmla="*/ 226191 h 716071"/>
                  <a:gd name="connsiteX463" fmla="*/ 419309 w 614938"/>
                  <a:gd name="connsiteY463" fmla="*/ 173620 h 716071"/>
                  <a:gd name="connsiteX464" fmla="*/ 436892 w 614938"/>
                  <a:gd name="connsiteY464" fmla="*/ 191682 h 716071"/>
                  <a:gd name="connsiteX465" fmla="*/ 436892 w 614938"/>
                  <a:gd name="connsiteY465" fmla="*/ 191682 h 716071"/>
                  <a:gd name="connsiteX466" fmla="*/ 419249 w 614938"/>
                  <a:gd name="connsiteY466" fmla="*/ 173620 h 716071"/>
                  <a:gd name="connsiteX467" fmla="*/ 419309 w 614938"/>
                  <a:gd name="connsiteY467" fmla="*/ 173620 h 716071"/>
                  <a:gd name="connsiteX468" fmla="*/ 448794 w 614938"/>
                  <a:gd name="connsiteY468" fmla="*/ 238571 h 716071"/>
                  <a:gd name="connsiteX469" fmla="*/ 442035 w 614938"/>
                  <a:gd name="connsiteY469" fmla="*/ 239648 h 716071"/>
                  <a:gd name="connsiteX470" fmla="*/ 440420 w 614938"/>
                  <a:gd name="connsiteY470" fmla="*/ 235401 h 716071"/>
                  <a:gd name="connsiteX471" fmla="*/ 440480 w 614938"/>
                  <a:gd name="connsiteY471" fmla="*/ 235401 h 716071"/>
                  <a:gd name="connsiteX472" fmla="*/ 440480 w 614938"/>
                  <a:gd name="connsiteY472" fmla="*/ 235401 h 716071"/>
                  <a:gd name="connsiteX473" fmla="*/ 440480 w 614938"/>
                  <a:gd name="connsiteY473" fmla="*/ 235401 h 716071"/>
                  <a:gd name="connsiteX474" fmla="*/ 442993 w 614938"/>
                  <a:gd name="connsiteY474" fmla="*/ 235222 h 716071"/>
                  <a:gd name="connsiteX475" fmla="*/ 442993 w 614938"/>
                  <a:gd name="connsiteY475" fmla="*/ 235222 h 716071"/>
                  <a:gd name="connsiteX476" fmla="*/ 442993 w 614938"/>
                  <a:gd name="connsiteY476" fmla="*/ 235222 h 716071"/>
                  <a:gd name="connsiteX477" fmla="*/ 442993 w 614938"/>
                  <a:gd name="connsiteY477" fmla="*/ 235222 h 716071"/>
                  <a:gd name="connsiteX478" fmla="*/ 446940 w 614938"/>
                  <a:gd name="connsiteY478" fmla="*/ 233906 h 716071"/>
                  <a:gd name="connsiteX479" fmla="*/ 448794 w 614938"/>
                  <a:gd name="connsiteY479" fmla="*/ 238571 h 716071"/>
                  <a:gd name="connsiteX480" fmla="*/ 511651 w 614938"/>
                  <a:gd name="connsiteY480" fmla="*/ 423674 h 716071"/>
                  <a:gd name="connsiteX481" fmla="*/ 505013 w 614938"/>
                  <a:gd name="connsiteY481" fmla="*/ 407108 h 716071"/>
                  <a:gd name="connsiteX482" fmla="*/ 513446 w 614938"/>
                  <a:gd name="connsiteY482" fmla="*/ 404117 h 716071"/>
                  <a:gd name="connsiteX483" fmla="*/ 518469 w 614938"/>
                  <a:gd name="connsiteY483" fmla="*/ 420265 h 716071"/>
                  <a:gd name="connsiteX484" fmla="*/ 511651 w 614938"/>
                  <a:gd name="connsiteY484" fmla="*/ 423674 h 716071"/>
                  <a:gd name="connsiteX485" fmla="*/ 504893 w 614938"/>
                  <a:gd name="connsiteY485" fmla="*/ 406809 h 716071"/>
                  <a:gd name="connsiteX486" fmla="*/ 498135 w 614938"/>
                  <a:gd name="connsiteY486" fmla="*/ 390003 h 716071"/>
                  <a:gd name="connsiteX487" fmla="*/ 508242 w 614938"/>
                  <a:gd name="connsiteY487" fmla="*/ 387431 h 716071"/>
                  <a:gd name="connsiteX488" fmla="*/ 513326 w 614938"/>
                  <a:gd name="connsiteY488" fmla="*/ 403818 h 716071"/>
                  <a:gd name="connsiteX489" fmla="*/ 504893 w 614938"/>
                  <a:gd name="connsiteY489" fmla="*/ 406809 h 716071"/>
                  <a:gd name="connsiteX490" fmla="*/ 498015 w 614938"/>
                  <a:gd name="connsiteY490" fmla="*/ 389644 h 716071"/>
                  <a:gd name="connsiteX491" fmla="*/ 491197 w 614938"/>
                  <a:gd name="connsiteY491" fmla="*/ 372599 h 716071"/>
                  <a:gd name="connsiteX492" fmla="*/ 502979 w 614938"/>
                  <a:gd name="connsiteY492" fmla="*/ 370446 h 716071"/>
                  <a:gd name="connsiteX493" fmla="*/ 508183 w 614938"/>
                  <a:gd name="connsiteY493" fmla="*/ 387072 h 716071"/>
                  <a:gd name="connsiteX494" fmla="*/ 498015 w 614938"/>
                  <a:gd name="connsiteY494" fmla="*/ 389644 h 716071"/>
                  <a:gd name="connsiteX495" fmla="*/ 491018 w 614938"/>
                  <a:gd name="connsiteY495" fmla="*/ 372240 h 716071"/>
                  <a:gd name="connsiteX496" fmla="*/ 484080 w 614938"/>
                  <a:gd name="connsiteY496" fmla="*/ 354896 h 716071"/>
                  <a:gd name="connsiteX497" fmla="*/ 497597 w 614938"/>
                  <a:gd name="connsiteY497" fmla="*/ 353221 h 716071"/>
                  <a:gd name="connsiteX498" fmla="*/ 502860 w 614938"/>
                  <a:gd name="connsiteY498" fmla="*/ 370087 h 716071"/>
                  <a:gd name="connsiteX499" fmla="*/ 491018 w 614938"/>
                  <a:gd name="connsiteY499" fmla="*/ 372240 h 716071"/>
                  <a:gd name="connsiteX500" fmla="*/ 483900 w 614938"/>
                  <a:gd name="connsiteY500" fmla="*/ 354597 h 716071"/>
                  <a:gd name="connsiteX501" fmla="*/ 476844 w 614938"/>
                  <a:gd name="connsiteY501" fmla="*/ 337014 h 716071"/>
                  <a:gd name="connsiteX502" fmla="*/ 492094 w 614938"/>
                  <a:gd name="connsiteY502" fmla="*/ 335817 h 716071"/>
                  <a:gd name="connsiteX503" fmla="*/ 497417 w 614938"/>
                  <a:gd name="connsiteY503" fmla="*/ 352922 h 716071"/>
                  <a:gd name="connsiteX504" fmla="*/ 483900 w 614938"/>
                  <a:gd name="connsiteY504" fmla="*/ 354597 h 716071"/>
                  <a:gd name="connsiteX505" fmla="*/ 476724 w 614938"/>
                  <a:gd name="connsiteY505" fmla="*/ 336655 h 716071"/>
                  <a:gd name="connsiteX506" fmla="*/ 469547 w 614938"/>
                  <a:gd name="connsiteY506" fmla="*/ 318772 h 716071"/>
                  <a:gd name="connsiteX507" fmla="*/ 486592 w 614938"/>
                  <a:gd name="connsiteY507" fmla="*/ 318115 h 716071"/>
                  <a:gd name="connsiteX508" fmla="*/ 491974 w 614938"/>
                  <a:gd name="connsiteY508" fmla="*/ 335459 h 716071"/>
                  <a:gd name="connsiteX509" fmla="*/ 476724 w 614938"/>
                  <a:gd name="connsiteY509" fmla="*/ 336655 h 716071"/>
                  <a:gd name="connsiteX510" fmla="*/ 469427 w 614938"/>
                  <a:gd name="connsiteY510" fmla="*/ 318414 h 716071"/>
                  <a:gd name="connsiteX511" fmla="*/ 462131 w 614938"/>
                  <a:gd name="connsiteY511" fmla="*/ 300292 h 716071"/>
                  <a:gd name="connsiteX512" fmla="*/ 480970 w 614938"/>
                  <a:gd name="connsiteY512" fmla="*/ 300172 h 716071"/>
                  <a:gd name="connsiteX513" fmla="*/ 486472 w 614938"/>
                  <a:gd name="connsiteY513" fmla="*/ 317756 h 716071"/>
                  <a:gd name="connsiteX514" fmla="*/ 469427 w 614938"/>
                  <a:gd name="connsiteY514" fmla="*/ 318414 h 716071"/>
                  <a:gd name="connsiteX515" fmla="*/ 462011 w 614938"/>
                  <a:gd name="connsiteY515" fmla="*/ 299933 h 716071"/>
                  <a:gd name="connsiteX516" fmla="*/ 454595 w 614938"/>
                  <a:gd name="connsiteY516" fmla="*/ 281513 h 716071"/>
                  <a:gd name="connsiteX517" fmla="*/ 475289 w 614938"/>
                  <a:gd name="connsiteY517" fmla="*/ 281931 h 716071"/>
                  <a:gd name="connsiteX518" fmla="*/ 480850 w 614938"/>
                  <a:gd name="connsiteY518" fmla="*/ 299814 h 716071"/>
                  <a:gd name="connsiteX519" fmla="*/ 462011 w 614938"/>
                  <a:gd name="connsiteY519" fmla="*/ 299933 h 716071"/>
                  <a:gd name="connsiteX520" fmla="*/ 454475 w 614938"/>
                  <a:gd name="connsiteY520" fmla="*/ 281154 h 716071"/>
                  <a:gd name="connsiteX521" fmla="*/ 446940 w 614938"/>
                  <a:gd name="connsiteY521" fmla="*/ 262434 h 716071"/>
                  <a:gd name="connsiteX522" fmla="*/ 469547 w 614938"/>
                  <a:gd name="connsiteY522" fmla="*/ 263451 h 716071"/>
                  <a:gd name="connsiteX523" fmla="*/ 475229 w 614938"/>
                  <a:gd name="connsiteY523" fmla="*/ 281572 h 716071"/>
                  <a:gd name="connsiteX524" fmla="*/ 454475 w 614938"/>
                  <a:gd name="connsiteY524" fmla="*/ 281154 h 716071"/>
                  <a:gd name="connsiteX525" fmla="*/ 446820 w 614938"/>
                  <a:gd name="connsiteY525" fmla="*/ 262075 h 716071"/>
                  <a:gd name="connsiteX526" fmla="*/ 439165 w 614938"/>
                  <a:gd name="connsiteY526" fmla="*/ 243057 h 716071"/>
                  <a:gd name="connsiteX527" fmla="*/ 463686 w 614938"/>
                  <a:gd name="connsiteY527" fmla="*/ 244731 h 716071"/>
                  <a:gd name="connsiteX528" fmla="*/ 469427 w 614938"/>
                  <a:gd name="connsiteY528" fmla="*/ 263092 h 716071"/>
                  <a:gd name="connsiteX529" fmla="*/ 446820 w 614938"/>
                  <a:gd name="connsiteY529" fmla="*/ 262075 h 716071"/>
                  <a:gd name="connsiteX530" fmla="*/ 436952 w 614938"/>
                  <a:gd name="connsiteY530" fmla="*/ 243595 h 716071"/>
                  <a:gd name="connsiteX531" fmla="*/ 437191 w 614938"/>
                  <a:gd name="connsiteY531" fmla="*/ 243415 h 716071"/>
                  <a:gd name="connsiteX532" fmla="*/ 437490 w 614938"/>
                  <a:gd name="connsiteY532" fmla="*/ 243655 h 716071"/>
                  <a:gd name="connsiteX533" fmla="*/ 437132 w 614938"/>
                  <a:gd name="connsiteY533" fmla="*/ 243714 h 716071"/>
                  <a:gd name="connsiteX534" fmla="*/ 436952 w 614938"/>
                  <a:gd name="connsiteY534" fmla="*/ 243595 h 716071"/>
                  <a:gd name="connsiteX535" fmla="*/ 437430 w 614938"/>
                  <a:gd name="connsiteY535" fmla="*/ 243176 h 716071"/>
                  <a:gd name="connsiteX536" fmla="*/ 437610 w 614938"/>
                  <a:gd name="connsiteY536" fmla="*/ 242937 h 716071"/>
                  <a:gd name="connsiteX537" fmla="*/ 437849 w 614938"/>
                  <a:gd name="connsiteY537" fmla="*/ 243475 h 716071"/>
                  <a:gd name="connsiteX538" fmla="*/ 437430 w 614938"/>
                  <a:gd name="connsiteY538" fmla="*/ 243176 h 716071"/>
                  <a:gd name="connsiteX539" fmla="*/ 436593 w 614938"/>
                  <a:gd name="connsiteY539" fmla="*/ 243356 h 716071"/>
                  <a:gd name="connsiteX540" fmla="*/ 410457 w 614938"/>
                  <a:gd name="connsiteY540" fmla="*/ 222842 h 716071"/>
                  <a:gd name="connsiteX541" fmla="*/ 410696 w 614938"/>
                  <a:gd name="connsiteY541" fmla="*/ 222662 h 716071"/>
                  <a:gd name="connsiteX542" fmla="*/ 436832 w 614938"/>
                  <a:gd name="connsiteY542" fmla="*/ 243236 h 716071"/>
                  <a:gd name="connsiteX543" fmla="*/ 436593 w 614938"/>
                  <a:gd name="connsiteY543" fmla="*/ 243356 h 716071"/>
                  <a:gd name="connsiteX544" fmla="*/ 392994 w 614938"/>
                  <a:gd name="connsiteY544" fmla="*/ 261776 h 716071"/>
                  <a:gd name="connsiteX545" fmla="*/ 366021 w 614938"/>
                  <a:gd name="connsiteY545" fmla="*/ 296046 h 716071"/>
                  <a:gd name="connsiteX546" fmla="*/ 365423 w 614938"/>
                  <a:gd name="connsiteY546" fmla="*/ 295866 h 716071"/>
                  <a:gd name="connsiteX547" fmla="*/ 392515 w 614938"/>
                  <a:gd name="connsiteY547" fmla="*/ 261537 h 716071"/>
                  <a:gd name="connsiteX548" fmla="*/ 392994 w 614938"/>
                  <a:gd name="connsiteY548" fmla="*/ 261776 h 716071"/>
                  <a:gd name="connsiteX549" fmla="*/ 56757 w 614938"/>
                  <a:gd name="connsiteY549" fmla="*/ 701359 h 716071"/>
                  <a:gd name="connsiteX550" fmla="*/ 56638 w 614938"/>
                  <a:gd name="connsiteY550" fmla="*/ 701000 h 716071"/>
                  <a:gd name="connsiteX551" fmla="*/ 56698 w 614938"/>
                  <a:gd name="connsiteY551" fmla="*/ 698847 h 716071"/>
                  <a:gd name="connsiteX552" fmla="*/ 56817 w 614938"/>
                  <a:gd name="connsiteY552" fmla="*/ 699146 h 716071"/>
                  <a:gd name="connsiteX553" fmla="*/ 56757 w 614938"/>
                  <a:gd name="connsiteY553" fmla="*/ 701359 h 716071"/>
                  <a:gd name="connsiteX554" fmla="*/ 13158 w 614938"/>
                  <a:gd name="connsiteY554" fmla="*/ 668645 h 716071"/>
                  <a:gd name="connsiteX555" fmla="*/ 13158 w 614938"/>
                  <a:gd name="connsiteY555" fmla="*/ 668645 h 716071"/>
                  <a:gd name="connsiteX556" fmla="*/ 13158 w 614938"/>
                  <a:gd name="connsiteY556" fmla="*/ 668645 h 716071"/>
                  <a:gd name="connsiteX557" fmla="*/ 13995 w 614938"/>
                  <a:gd name="connsiteY557" fmla="*/ 667807 h 716071"/>
                  <a:gd name="connsiteX558" fmla="*/ 14773 w 614938"/>
                  <a:gd name="connsiteY558" fmla="*/ 667927 h 716071"/>
                  <a:gd name="connsiteX559" fmla="*/ 13338 w 614938"/>
                  <a:gd name="connsiteY559" fmla="*/ 669362 h 716071"/>
                  <a:gd name="connsiteX560" fmla="*/ 12500 w 614938"/>
                  <a:gd name="connsiteY560" fmla="*/ 669303 h 716071"/>
                  <a:gd name="connsiteX561" fmla="*/ 13158 w 614938"/>
                  <a:gd name="connsiteY561" fmla="*/ 668645 h 716071"/>
                  <a:gd name="connsiteX562" fmla="*/ 18959 w 614938"/>
                  <a:gd name="connsiteY562" fmla="*/ 667867 h 716071"/>
                  <a:gd name="connsiteX563" fmla="*/ 18660 w 614938"/>
                  <a:gd name="connsiteY563" fmla="*/ 667568 h 716071"/>
                  <a:gd name="connsiteX564" fmla="*/ 19139 w 614938"/>
                  <a:gd name="connsiteY564" fmla="*/ 667628 h 716071"/>
                  <a:gd name="connsiteX565" fmla="*/ 18959 w 614938"/>
                  <a:gd name="connsiteY565" fmla="*/ 667867 h 716071"/>
                  <a:gd name="connsiteX566" fmla="*/ 18780 w 614938"/>
                  <a:gd name="connsiteY566" fmla="*/ 668047 h 716071"/>
                  <a:gd name="connsiteX567" fmla="*/ 17464 w 614938"/>
                  <a:gd name="connsiteY567" fmla="*/ 669602 h 716071"/>
                  <a:gd name="connsiteX568" fmla="*/ 15550 w 614938"/>
                  <a:gd name="connsiteY568" fmla="*/ 667927 h 716071"/>
                  <a:gd name="connsiteX569" fmla="*/ 18241 w 614938"/>
                  <a:gd name="connsiteY569" fmla="*/ 667449 h 716071"/>
                  <a:gd name="connsiteX570" fmla="*/ 18780 w 614938"/>
                  <a:gd name="connsiteY570" fmla="*/ 668047 h 716071"/>
                  <a:gd name="connsiteX571" fmla="*/ 13098 w 614938"/>
                  <a:gd name="connsiteY571" fmla="*/ 672532 h 716071"/>
                  <a:gd name="connsiteX572" fmla="*/ 14234 w 614938"/>
                  <a:gd name="connsiteY572" fmla="*/ 675941 h 716071"/>
                  <a:gd name="connsiteX573" fmla="*/ 13218 w 614938"/>
                  <a:gd name="connsiteY573" fmla="*/ 676061 h 716071"/>
                  <a:gd name="connsiteX574" fmla="*/ 12081 w 614938"/>
                  <a:gd name="connsiteY574" fmla="*/ 672532 h 716071"/>
                  <a:gd name="connsiteX575" fmla="*/ 13098 w 614938"/>
                  <a:gd name="connsiteY575" fmla="*/ 672532 h 716071"/>
                  <a:gd name="connsiteX576" fmla="*/ 392156 w 614938"/>
                  <a:gd name="connsiteY576" fmla="*/ 261417 h 716071"/>
                  <a:gd name="connsiteX577" fmla="*/ 365064 w 614938"/>
                  <a:gd name="connsiteY577" fmla="*/ 295807 h 716071"/>
                  <a:gd name="connsiteX578" fmla="*/ 363748 w 614938"/>
                  <a:gd name="connsiteY578" fmla="*/ 295149 h 716071"/>
                  <a:gd name="connsiteX579" fmla="*/ 390960 w 614938"/>
                  <a:gd name="connsiteY579" fmla="*/ 260759 h 716071"/>
                  <a:gd name="connsiteX580" fmla="*/ 392156 w 614938"/>
                  <a:gd name="connsiteY580" fmla="*/ 261417 h 716071"/>
                  <a:gd name="connsiteX581" fmla="*/ 49700 w 614938"/>
                  <a:gd name="connsiteY581" fmla="*/ 701120 h 716071"/>
                  <a:gd name="connsiteX582" fmla="*/ 49700 w 614938"/>
                  <a:gd name="connsiteY582" fmla="*/ 701120 h 716071"/>
                  <a:gd name="connsiteX583" fmla="*/ 49700 w 614938"/>
                  <a:gd name="connsiteY583" fmla="*/ 701120 h 716071"/>
                  <a:gd name="connsiteX584" fmla="*/ 49700 w 614938"/>
                  <a:gd name="connsiteY584" fmla="*/ 701180 h 716071"/>
                  <a:gd name="connsiteX585" fmla="*/ 49700 w 614938"/>
                  <a:gd name="connsiteY585" fmla="*/ 701240 h 716071"/>
                  <a:gd name="connsiteX586" fmla="*/ 49700 w 614938"/>
                  <a:gd name="connsiteY586" fmla="*/ 701299 h 716071"/>
                  <a:gd name="connsiteX587" fmla="*/ 49700 w 614938"/>
                  <a:gd name="connsiteY587" fmla="*/ 701359 h 716071"/>
                  <a:gd name="connsiteX588" fmla="*/ 49700 w 614938"/>
                  <a:gd name="connsiteY588" fmla="*/ 701359 h 716071"/>
                  <a:gd name="connsiteX589" fmla="*/ 51554 w 614938"/>
                  <a:gd name="connsiteY589" fmla="*/ 703333 h 716071"/>
                  <a:gd name="connsiteX590" fmla="*/ 47906 w 614938"/>
                  <a:gd name="connsiteY590" fmla="*/ 702795 h 716071"/>
                  <a:gd name="connsiteX591" fmla="*/ 46470 w 614938"/>
                  <a:gd name="connsiteY591" fmla="*/ 700761 h 716071"/>
                  <a:gd name="connsiteX592" fmla="*/ 59867 w 614938"/>
                  <a:gd name="connsiteY592" fmla="*/ 678752 h 716071"/>
                  <a:gd name="connsiteX593" fmla="*/ 62857 w 614938"/>
                  <a:gd name="connsiteY593" fmla="*/ 678692 h 716071"/>
                  <a:gd name="connsiteX594" fmla="*/ 49700 w 614938"/>
                  <a:gd name="connsiteY594" fmla="*/ 701120 h 716071"/>
                  <a:gd name="connsiteX595" fmla="*/ 49700 w 614938"/>
                  <a:gd name="connsiteY595" fmla="*/ 701120 h 716071"/>
                  <a:gd name="connsiteX596" fmla="*/ 11244 w 614938"/>
                  <a:gd name="connsiteY596" fmla="*/ 673429 h 716071"/>
                  <a:gd name="connsiteX597" fmla="*/ 11783 w 614938"/>
                  <a:gd name="connsiteY597" fmla="*/ 672771 h 716071"/>
                  <a:gd name="connsiteX598" fmla="*/ 12919 w 614938"/>
                  <a:gd name="connsiteY598" fmla="*/ 676180 h 716071"/>
                  <a:gd name="connsiteX599" fmla="*/ 12381 w 614938"/>
                  <a:gd name="connsiteY599" fmla="*/ 676838 h 716071"/>
                  <a:gd name="connsiteX600" fmla="*/ 11244 w 614938"/>
                  <a:gd name="connsiteY600" fmla="*/ 673429 h 716071"/>
                  <a:gd name="connsiteX601" fmla="*/ 14414 w 614938"/>
                  <a:gd name="connsiteY601" fmla="*/ 676240 h 716071"/>
                  <a:gd name="connsiteX602" fmla="*/ 16866 w 614938"/>
                  <a:gd name="connsiteY602" fmla="*/ 680307 h 716071"/>
                  <a:gd name="connsiteX603" fmla="*/ 15909 w 614938"/>
                  <a:gd name="connsiteY603" fmla="*/ 680546 h 716071"/>
                  <a:gd name="connsiteX604" fmla="*/ 13338 w 614938"/>
                  <a:gd name="connsiteY604" fmla="*/ 676360 h 716071"/>
                  <a:gd name="connsiteX605" fmla="*/ 14414 w 614938"/>
                  <a:gd name="connsiteY605" fmla="*/ 676240 h 716071"/>
                  <a:gd name="connsiteX606" fmla="*/ 390661 w 614938"/>
                  <a:gd name="connsiteY606" fmla="*/ 260520 h 716071"/>
                  <a:gd name="connsiteX607" fmla="*/ 363389 w 614938"/>
                  <a:gd name="connsiteY607" fmla="*/ 294909 h 716071"/>
                  <a:gd name="connsiteX608" fmla="*/ 361535 w 614938"/>
                  <a:gd name="connsiteY608" fmla="*/ 293773 h 716071"/>
                  <a:gd name="connsiteX609" fmla="*/ 388927 w 614938"/>
                  <a:gd name="connsiteY609" fmla="*/ 259384 h 716071"/>
                  <a:gd name="connsiteX610" fmla="*/ 390661 w 614938"/>
                  <a:gd name="connsiteY610" fmla="*/ 260520 h 716071"/>
                  <a:gd name="connsiteX611" fmla="*/ 46052 w 614938"/>
                  <a:gd name="connsiteY611" fmla="*/ 700582 h 716071"/>
                  <a:gd name="connsiteX612" fmla="*/ 46052 w 614938"/>
                  <a:gd name="connsiteY612" fmla="*/ 700582 h 716071"/>
                  <a:gd name="connsiteX613" fmla="*/ 46052 w 614938"/>
                  <a:gd name="connsiteY613" fmla="*/ 700582 h 716071"/>
                  <a:gd name="connsiteX614" fmla="*/ 46052 w 614938"/>
                  <a:gd name="connsiteY614" fmla="*/ 700641 h 716071"/>
                  <a:gd name="connsiteX615" fmla="*/ 46052 w 614938"/>
                  <a:gd name="connsiteY615" fmla="*/ 700641 h 716071"/>
                  <a:gd name="connsiteX616" fmla="*/ 46052 w 614938"/>
                  <a:gd name="connsiteY616" fmla="*/ 700701 h 716071"/>
                  <a:gd name="connsiteX617" fmla="*/ 46052 w 614938"/>
                  <a:gd name="connsiteY617" fmla="*/ 700701 h 716071"/>
                  <a:gd name="connsiteX618" fmla="*/ 47427 w 614938"/>
                  <a:gd name="connsiteY618" fmla="*/ 702555 h 716071"/>
                  <a:gd name="connsiteX619" fmla="*/ 42942 w 614938"/>
                  <a:gd name="connsiteY619" fmla="*/ 700941 h 716071"/>
                  <a:gd name="connsiteX620" fmla="*/ 42045 w 614938"/>
                  <a:gd name="connsiteY620" fmla="*/ 699146 h 716071"/>
                  <a:gd name="connsiteX621" fmla="*/ 55741 w 614938"/>
                  <a:gd name="connsiteY621" fmla="*/ 677795 h 716071"/>
                  <a:gd name="connsiteX622" fmla="*/ 59389 w 614938"/>
                  <a:gd name="connsiteY622" fmla="*/ 678632 h 716071"/>
                  <a:gd name="connsiteX623" fmla="*/ 46052 w 614938"/>
                  <a:gd name="connsiteY623" fmla="*/ 700582 h 716071"/>
                  <a:gd name="connsiteX624" fmla="*/ 46052 w 614938"/>
                  <a:gd name="connsiteY624" fmla="*/ 700582 h 716071"/>
                  <a:gd name="connsiteX625" fmla="*/ 46052 w 614938"/>
                  <a:gd name="connsiteY625" fmla="*/ 700582 h 716071"/>
                  <a:gd name="connsiteX626" fmla="*/ 52093 w 614938"/>
                  <a:gd name="connsiteY626" fmla="*/ 704649 h 716071"/>
                  <a:gd name="connsiteX627" fmla="*/ 48205 w 614938"/>
                  <a:gd name="connsiteY627" fmla="*/ 704110 h 716071"/>
                  <a:gd name="connsiteX628" fmla="*/ 48085 w 614938"/>
                  <a:gd name="connsiteY628" fmla="*/ 703094 h 716071"/>
                  <a:gd name="connsiteX629" fmla="*/ 51853 w 614938"/>
                  <a:gd name="connsiteY629" fmla="*/ 703632 h 716071"/>
                  <a:gd name="connsiteX630" fmla="*/ 52093 w 614938"/>
                  <a:gd name="connsiteY630" fmla="*/ 704649 h 716071"/>
                  <a:gd name="connsiteX631" fmla="*/ 38576 w 614938"/>
                  <a:gd name="connsiteY631" fmla="*/ 703213 h 716071"/>
                  <a:gd name="connsiteX632" fmla="*/ 37559 w 614938"/>
                  <a:gd name="connsiteY632" fmla="*/ 702496 h 716071"/>
                  <a:gd name="connsiteX633" fmla="*/ 37619 w 614938"/>
                  <a:gd name="connsiteY633" fmla="*/ 702077 h 716071"/>
                  <a:gd name="connsiteX634" fmla="*/ 38576 w 614938"/>
                  <a:gd name="connsiteY634" fmla="*/ 702974 h 716071"/>
                  <a:gd name="connsiteX635" fmla="*/ 38576 w 614938"/>
                  <a:gd name="connsiteY635" fmla="*/ 703213 h 716071"/>
                  <a:gd name="connsiteX636" fmla="*/ 15909 w 614938"/>
                  <a:gd name="connsiteY636" fmla="*/ 684793 h 716071"/>
                  <a:gd name="connsiteX637" fmla="*/ 16926 w 614938"/>
                  <a:gd name="connsiteY637" fmla="*/ 685510 h 716071"/>
                  <a:gd name="connsiteX638" fmla="*/ 16507 w 614938"/>
                  <a:gd name="connsiteY638" fmla="*/ 685690 h 716071"/>
                  <a:gd name="connsiteX639" fmla="*/ 15669 w 614938"/>
                  <a:gd name="connsiteY639" fmla="*/ 684912 h 716071"/>
                  <a:gd name="connsiteX640" fmla="*/ 15909 w 614938"/>
                  <a:gd name="connsiteY640" fmla="*/ 684793 h 716071"/>
                  <a:gd name="connsiteX641" fmla="*/ 18839 w 614938"/>
                  <a:gd name="connsiteY641" fmla="*/ 686826 h 716071"/>
                  <a:gd name="connsiteX642" fmla="*/ 18241 w 614938"/>
                  <a:gd name="connsiteY642" fmla="*/ 685750 h 716071"/>
                  <a:gd name="connsiteX643" fmla="*/ 18301 w 614938"/>
                  <a:gd name="connsiteY643" fmla="*/ 685750 h 716071"/>
                  <a:gd name="connsiteX644" fmla="*/ 18839 w 614938"/>
                  <a:gd name="connsiteY644" fmla="*/ 686826 h 716071"/>
                  <a:gd name="connsiteX645" fmla="*/ 18660 w 614938"/>
                  <a:gd name="connsiteY645" fmla="*/ 687125 h 716071"/>
                  <a:gd name="connsiteX646" fmla="*/ 18481 w 614938"/>
                  <a:gd name="connsiteY646" fmla="*/ 687125 h 716071"/>
                  <a:gd name="connsiteX647" fmla="*/ 17524 w 614938"/>
                  <a:gd name="connsiteY647" fmla="*/ 685750 h 716071"/>
                  <a:gd name="connsiteX648" fmla="*/ 17823 w 614938"/>
                  <a:gd name="connsiteY648" fmla="*/ 685690 h 716071"/>
                  <a:gd name="connsiteX649" fmla="*/ 18660 w 614938"/>
                  <a:gd name="connsiteY649" fmla="*/ 687125 h 716071"/>
                  <a:gd name="connsiteX650" fmla="*/ 18660 w 614938"/>
                  <a:gd name="connsiteY650" fmla="*/ 687484 h 716071"/>
                  <a:gd name="connsiteX651" fmla="*/ 18660 w 614938"/>
                  <a:gd name="connsiteY651" fmla="*/ 687604 h 716071"/>
                  <a:gd name="connsiteX652" fmla="*/ 18660 w 614938"/>
                  <a:gd name="connsiteY652" fmla="*/ 687484 h 716071"/>
                  <a:gd name="connsiteX653" fmla="*/ 18660 w 614938"/>
                  <a:gd name="connsiteY653" fmla="*/ 687484 h 716071"/>
                  <a:gd name="connsiteX654" fmla="*/ 17284 w 614938"/>
                  <a:gd name="connsiteY654" fmla="*/ 685809 h 716071"/>
                  <a:gd name="connsiteX655" fmla="*/ 18241 w 614938"/>
                  <a:gd name="connsiteY655" fmla="*/ 687245 h 716071"/>
                  <a:gd name="connsiteX656" fmla="*/ 18002 w 614938"/>
                  <a:gd name="connsiteY656" fmla="*/ 687364 h 716071"/>
                  <a:gd name="connsiteX657" fmla="*/ 16926 w 614938"/>
                  <a:gd name="connsiteY657" fmla="*/ 686049 h 716071"/>
                  <a:gd name="connsiteX658" fmla="*/ 17284 w 614938"/>
                  <a:gd name="connsiteY658" fmla="*/ 685809 h 716071"/>
                  <a:gd name="connsiteX659" fmla="*/ 18301 w 614938"/>
                  <a:gd name="connsiteY659" fmla="*/ 687604 h 716071"/>
                  <a:gd name="connsiteX660" fmla="*/ 18361 w 614938"/>
                  <a:gd name="connsiteY660" fmla="*/ 687962 h 716071"/>
                  <a:gd name="connsiteX661" fmla="*/ 18182 w 614938"/>
                  <a:gd name="connsiteY661" fmla="*/ 687663 h 716071"/>
                  <a:gd name="connsiteX662" fmla="*/ 18301 w 614938"/>
                  <a:gd name="connsiteY662" fmla="*/ 687604 h 716071"/>
                  <a:gd name="connsiteX663" fmla="*/ 17106 w 614938"/>
                  <a:gd name="connsiteY663" fmla="*/ 680666 h 716071"/>
                  <a:gd name="connsiteX664" fmla="*/ 20754 w 614938"/>
                  <a:gd name="connsiteY664" fmla="*/ 685092 h 716071"/>
                  <a:gd name="connsiteX665" fmla="*/ 19916 w 614938"/>
                  <a:gd name="connsiteY665" fmla="*/ 685510 h 716071"/>
                  <a:gd name="connsiteX666" fmla="*/ 16089 w 614938"/>
                  <a:gd name="connsiteY666" fmla="*/ 680905 h 716071"/>
                  <a:gd name="connsiteX667" fmla="*/ 17106 w 614938"/>
                  <a:gd name="connsiteY667" fmla="*/ 680666 h 716071"/>
                  <a:gd name="connsiteX668" fmla="*/ 22907 w 614938"/>
                  <a:gd name="connsiteY668" fmla="*/ 685391 h 716071"/>
                  <a:gd name="connsiteX669" fmla="*/ 22907 w 614938"/>
                  <a:gd name="connsiteY669" fmla="*/ 685391 h 716071"/>
                  <a:gd name="connsiteX670" fmla="*/ 22907 w 614938"/>
                  <a:gd name="connsiteY670" fmla="*/ 685391 h 716071"/>
                  <a:gd name="connsiteX671" fmla="*/ 22907 w 614938"/>
                  <a:gd name="connsiteY671" fmla="*/ 685391 h 716071"/>
                  <a:gd name="connsiteX672" fmla="*/ 22967 w 614938"/>
                  <a:gd name="connsiteY672" fmla="*/ 685391 h 716071"/>
                  <a:gd name="connsiteX673" fmla="*/ 22967 w 614938"/>
                  <a:gd name="connsiteY673" fmla="*/ 685391 h 716071"/>
                  <a:gd name="connsiteX674" fmla="*/ 22967 w 614938"/>
                  <a:gd name="connsiteY674" fmla="*/ 685391 h 716071"/>
                  <a:gd name="connsiteX675" fmla="*/ 39174 w 614938"/>
                  <a:gd name="connsiteY675" fmla="*/ 666492 h 716071"/>
                  <a:gd name="connsiteX676" fmla="*/ 42464 w 614938"/>
                  <a:gd name="connsiteY676" fmla="*/ 669901 h 716071"/>
                  <a:gd name="connsiteX677" fmla="*/ 26973 w 614938"/>
                  <a:gd name="connsiteY677" fmla="*/ 689278 h 716071"/>
                  <a:gd name="connsiteX678" fmla="*/ 25957 w 614938"/>
                  <a:gd name="connsiteY678" fmla="*/ 689816 h 716071"/>
                  <a:gd name="connsiteX679" fmla="*/ 21471 w 614938"/>
                  <a:gd name="connsiteY679" fmla="*/ 685450 h 716071"/>
                  <a:gd name="connsiteX680" fmla="*/ 22907 w 614938"/>
                  <a:gd name="connsiteY680" fmla="*/ 685391 h 716071"/>
                  <a:gd name="connsiteX681" fmla="*/ 388628 w 614938"/>
                  <a:gd name="connsiteY681" fmla="*/ 259145 h 716071"/>
                  <a:gd name="connsiteX682" fmla="*/ 361236 w 614938"/>
                  <a:gd name="connsiteY682" fmla="*/ 293534 h 716071"/>
                  <a:gd name="connsiteX683" fmla="*/ 359023 w 614938"/>
                  <a:gd name="connsiteY683" fmla="*/ 291979 h 716071"/>
                  <a:gd name="connsiteX684" fmla="*/ 386534 w 614938"/>
                  <a:gd name="connsiteY684" fmla="*/ 257590 h 716071"/>
                  <a:gd name="connsiteX685" fmla="*/ 388628 w 614938"/>
                  <a:gd name="connsiteY685" fmla="*/ 259145 h 716071"/>
                  <a:gd name="connsiteX686" fmla="*/ 41686 w 614938"/>
                  <a:gd name="connsiteY686" fmla="*/ 699027 h 716071"/>
                  <a:gd name="connsiteX687" fmla="*/ 41686 w 614938"/>
                  <a:gd name="connsiteY687" fmla="*/ 699027 h 716071"/>
                  <a:gd name="connsiteX688" fmla="*/ 41686 w 614938"/>
                  <a:gd name="connsiteY688" fmla="*/ 699027 h 716071"/>
                  <a:gd name="connsiteX689" fmla="*/ 41686 w 614938"/>
                  <a:gd name="connsiteY689" fmla="*/ 699087 h 716071"/>
                  <a:gd name="connsiteX690" fmla="*/ 41686 w 614938"/>
                  <a:gd name="connsiteY690" fmla="*/ 699146 h 716071"/>
                  <a:gd name="connsiteX691" fmla="*/ 41686 w 614938"/>
                  <a:gd name="connsiteY691" fmla="*/ 699146 h 716071"/>
                  <a:gd name="connsiteX692" fmla="*/ 42524 w 614938"/>
                  <a:gd name="connsiteY692" fmla="*/ 700761 h 716071"/>
                  <a:gd name="connsiteX693" fmla="*/ 37439 w 614938"/>
                  <a:gd name="connsiteY693" fmla="*/ 698130 h 716071"/>
                  <a:gd name="connsiteX694" fmla="*/ 37201 w 614938"/>
                  <a:gd name="connsiteY694" fmla="*/ 696694 h 716071"/>
                  <a:gd name="connsiteX695" fmla="*/ 51375 w 614938"/>
                  <a:gd name="connsiteY695" fmla="*/ 676001 h 716071"/>
                  <a:gd name="connsiteX696" fmla="*/ 55441 w 614938"/>
                  <a:gd name="connsiteY696" fmla="*/ 677735 h 716071"/>
                  <a:gd name="connsiteX697" fmla="*/ 41686 w 614938"/>
                  <a:gd name="connsiteY697" fmla="*/ 699027 h 716071"/>
                  <a:gd name="connsiteX698" fmla="*/ 41686 w 614938"/>
                  <a:gd name="connsiteY698" fmla="*/ 699027 h 716071"/>
                  <a:gd name="connsiteX699" fmla="*/ 27272 w 614938"/>
                  <a:gd name="connsiteY699" fmla="*/ 689517 h 716071"/>
                  <a:gd name="connsiteX700" fmla="*/ 27272 w 614938"/>
                  <a:gd name="connsiteY700" fmla="*/ 689517 h 716071"/>
                  <a:gd name="connsiteX701" fmla="*/ 27272 w 614938"/>
                  <a:gd name="connsiteY701" fmla="*/ 689517 h 716071"/>
                  <a:gd name="connsiteX702" fmla="*/ 42762 w 614938"/>
                  <a:gd name="connsiteY702" fmla="*/ 670080 h 716071"/>
                  <a:gd name="connsiteX703" fmla="*/ 46590 w 614938"/>
                  <a:gd name="connsiteY703" fmla="*/ 673130 h 716071"/>
                  <a:gd name="connsiteX704" fmla="*/ 31758 w 614938"/>
                  <a:gd name="connsiteY704" fmla="*/ 693106 h 716071"/>
                  <a:gd name="connsiteX705" fmla="*/ 31758 w 614938"/>
                  <a:gd name="connsiteY705" fmla="*/ 693106 h 716071"/>
                  <a:gd name="connsiteX706" fmla="*/ 31758 w 614938"/>
                  <a:gd name="connsiteY706" fmla="*/ 693106 h 716071"/>
                  <a:gd name="connsiteX707" fmla="*/ 31399 w 614938"/>
                  <a:gd name="connsiteY707" fmla="*/ 694123 h 716071"/>
                  <a:gd name="connsiteX708" fmla="*/ 26315 w 614938"/>
                  <a:gd name="connsiteY708" fmla="*/ 689996 h 716071"/>
                  <a:gd name="connsiteX709" fmla="*/ 27272 w 614938"/>
                  <a:gd name="connsiteY709" fmla="*/ 689517 h 716071"/>
                  <a:gd name="connsiteX710" fmla="*/ 331093 w 614938"/>
                  <a:gd name="connsiteY710" fmla="*/ 326248 h 716071"/>
                  <a:gd name="connsiteX711" fmla="*/ 304239 w 614938"/>
                  <a:gd name="connsiteY711" fmla="*/ 359740 h 716071"/>
                  <a:gd name="connsiteX712" fmla="*/ 301548 w 614938"/>
                  <a:gd name="connsiteY712" fmla="*/ 357767 h 716071"/>
                  <a:gd name="connsiteX713" fmla="*/ 328521 w 614938"/>
                  <a:gd name="connsiteY713" fmla="*/ 324335 h 716071"/>
                  <a:gd name="connsiteX714" fmla="*/ 331093 w 614938"/>
                  <a:gd name="connsiteY714" fmla="*/ 326248 h 716071"/>
                  <a:gd name="connsiteX715" fmla="*/ 47128 w 614938"/>
                  <a:gd name="connsiteY715" fmla="*/ 673070 h 716071"/>
                  <a:gd name="connsiteX716" fmla="*/ 70991 w 614938"/>
                  <a:gd name="connsiteY716" fmla="*/ 643526 h 716071"/>
                  <a:gd name="connsiteX717" fmla="*/ 74939 w 614938"/>
                  <a:gd name="connsiteY717" fmla="*/ 645978 h 716071"/>
                  <a:gd name="connsiteX718" fmla="*/ 51195 w 614938"/>
                  <a:gd name="connsiteY718" fmla="*/ 675582 h 716071"/>
                  <a:gd name="connsiteX719" fmla="*/ 47128 w 614938"/>
                  <a:gd name="connsiteY719" fmla="*/ 673070 h 716071"/>
                  <a:gd name="connsiteX720" fmla="*/ 71231 w 614938"/>
                  <a:gd name="connsiteY720" fmla="*/ 643227 h 716071"/>
                  <a:gd name="connsiteX721" fmla="*/ 95393 w 614938"/>
                  <a:gd name="connsiteY721" fmla="*/ 613323 h 716071"/>
                  <a:gd name="connsiteX722" fmla="*/ 99221 w 614938"/>
                  <a:gd name="connsiteY722" fmla="*/ 615715 h 716071"/>
                  <a:gd name="connsiteX723" fmla="*/ 75238 w 614938"/>
                  <a:gd name="connsiteY723" fmla="*/ 645679 h 716071"/>
                  <a:gd name="connsiteX724" fmla="*/ 71231 w 614938"/>
                  <a:gd name="connsiteY724" fmla="*/ 643227 h 716071"/>
                  <a:gd name="connsiteX725" fmla="*/ 95573 w 614938"/>
                  <a:gd name="connsiteY725" fmla="*/ 613024 h 716071"/>
                  <a:gd name="connsiteX726" fmla="*/ 120034 w 614938"/>
                  <a:gd name="connsiteY726" fmla="*/ 582762 h 716071"/>
                  <a:gd name="connsiteX727" fmla="*/ 123742 w 614938"/>
                  <a:gd name="connsiteY727" fmla="*/ 585094 h 716071"/>
                  <a:gd name="connsiteX728" fmla="*/ 99459 w 614938"/>
                  <a:gd name="connsiteY728" fmla="*/ 615416 h 716071"/>
                  <a:gd name="connsiteX729" fmla="*/ 95573 w 614938"/>
                  <a:gd name="connsiteY729" fmla="*/ 613024 h 716071"/>
                  <a:gd name="connsiteX730" fmla="*/ 120273 w 614938"/>
                  <a:gd name="connsiteY730" fmla="*/ 582462 h 716071"/>
                  <a:gd name="connsiteX731" fmla="*/ 145033 w 614938"/>
                  <a:gd name="connsiteY731" fmla="*/ 551781 h 716071"/>
                  <a:gd name="connsiteX732" fmla="*/ 148562 w 614938"/>
                  <a:gd name="connsiteY732" fmla="*/ 554114 h 716071"/>
                  <a:gd name="connsiteX733" fmla="*/ 123981 w 614938"/>
                  <a:gd name="connsiteY733" fmla="*/ 584795 h 716071"/>
                  <a:gd name="connsiteX734" fmla="*/ 120273 w 614938"/>
                  <a:gd name="connsiteY734" fmla="*/ 582462 h 716071"/>
                  <a:gd name="connsiteX735" fmla="*/ 145212 w 614938"/>
                  <a:gd name="connsiteY735" fmla="*/ 551542 h 716071"/>
                  <a:gd name="connsiteX736" fmla="*/ 170272 w 614938"/>
                  <a:gd name="connsiteY736" fmla="*/ 520502 h 716071"/>
                  <a:gd name="connsiteX737" fmla="*/ 173680 w 614938"/>
                  <a:gd name="connsiteY737" fmla="*/ 522775 h 716071"/>
                  <a:gd name="connsiteX738" fmla="*/ 148800 w 614938"/>
                  <a:gd name="connsiteY738" fmla="*/ 553875 h 716071"/>
                  <a:gd name="connsiteX739" fmla="*/ 145212 w 614938"/>
                  <a:gd name="connsiteY739" fmla="*/ 551542 h 716071"/>
                  <a:gd name="connsiteX740" fmla="*/ 170510 w 614938"/>
                  <a:gd name="connsiteY740" fmla="*/ 520203 h 716071"/>
                  <a:gd name="connsiteX741" fmla="*/ 195869 w 614938"/>
                  <a:gd name="connsiteY741" fmla="*/ 488804 h 716071"/>
                  <a:gd name="connsiteX742" fmla="*/ 199158 w 614938"/>
                  <a:gd name="connsiteY742" fmla="*/ 491017 h 716071"/>
                  <a:gd name="connsiteX743" fmla="*/ 173920 w 614938"/>
                  <a:gd name="connsiteY743" fmla="*/ 522476 h 716071"/>
                  <a:gd name="connsiteX744" fmla="*/ 170510 w 614938"/>
                  <a:gd name="connsiteY744" fmla="*/ 520203 h 716071"/>
                  <a:gd name="connsiteX745" fmla="*/ 196048 w 614938"/>
                  <a:gd name="connsiteY745" fmla="*/ 488505 h 716071"/>
                  <a:gd name="connsiteX746" fmla="*/ 221706 w 614938"/>
                  <a:gd name="connsiteY746" fmla="*/ 456688 h 716071"/>
                  <a:gd name="connsiteX747" fmla="*/ 224816 w 614938"/>
                  <a:gd name="connsiteY747" fmla="*/ 458841 h 716071"/>
                  <a:gd name="connsiteX748" fmla="*/ 199278 w 614938"/>
                  <a:gd name="connsiteY748" fmla="*/ 490718 h 716071"/>
                  <a:gd name="connsiteX749" fmla="*/ 196048 w 614938"/>
                  <a:gd name="connsiteY749" fmla="*/ 488505 h 716071"/>
                  <a:gd name="connsiteX750" fmla="*/ 221945 w 614938"/>
                  <a:gd name="connsiteY750" fmla="*/ 456449 h 716071"/>
                  <a:gd name="connsiteX751" fmla="*/ 247901 w 614938"/>
                  <a:gd name="connsiteY751" fmla="*/ 424272 h 716071"/>
                  <a:gd name="connsiteX752" fmla="*/ 250892 w 614938"/>
                  <a:gd name="connsiteY752" fmla="*/ 426366 h 716071"/>
                  <a:gd name="connsiteX753" fmla="*/ 225055 w 614938"/>
                  <a:gd name="connsiteY753" fmla="*/ 458602 h 716071"/>
                  <a:gd name="connsiteX754" fmla="*/ 221945 w 614938"/>
                  <a:gd name="connsiteY754" fmla="*/ 456449 h 716071"/>
                  <a:gd name="connsiteX755" fmla="*/ 248200 w 614938"/>
                  <a:gd name="connsiteY755" fmla="*/ 423973 h 716071"/>
                  <a:gd name="connsiteX756" fmla="*/ 274515 w 614938"/>
                  <a:gd name="connsiteY756" fmla="*/ 391378 h 716071"/>
                  <a:gd name="connsiteX757" fmla="*/ 277326 w 614938"/>
                  <a:gd name="connsiteY757" fmla="*/ 393412 h 716071"/>
                  <a:gd name="connsiteX758" fmla="*/ 251130 w 614938"/>
                  <a:gd name="connsiteY758" fmla="*/ 426067 h 716071"/>
                  <a:gd name="connsiteX759" fmla="*/ 248200 w 614938"/>
                  <a:gd name="connsiteY759" fmla="*/ 423973 h 716071"/>
                  <a:gd name="connsiteX760" fmla="*/ 274695 w 614938"/>
                  <a:gd name="connsiteY760" fmla="*/ 391079 h 716071"/>
                  <a:gd name="connsiteX761" fmla="*/ 301309 w 614938"/>
                  <a:gd name="connsiteY761" fmla="*/ 358066 h 716071"/>
                  <a:gd name="connsiteX762" fmla="*/ 304001 w 614938"/>
                  <a:gd name="connsiteY762" fmla="*/ 360039 h 716071"/>
                  <a:gd name="connsiteX763" fmla="*/ 277506 w 614938"/>
                  <a:gd name="connsiteY763" fmla="*/ 393113 h 716071"/>
                  <a:gd name="connsiteX764" fmla="*/ 274695 w 614938"/>
                  <a:gd name="connsiteY764" fmla="*/ 391079 h 716071"/>
                  <a:gd name="connsiteX765" fmla="*/ 301070 w 614938"/>
                  <a:gd name="connsiteY765" fmla="*/ 357827 h 716071"/>
                  <a:gd name="connsiteX766" fmla="*/ 274396 w 614938"/>
                  <a:gd name="connsiteY766" fmla="*/ 390840 h 716071"/>
                  <a:gd name="connsiteX767" fmla="*/ 271585 w 614938"/>
                  <a:gd name="connsiteY767" fmla="*/ 388567 h 716071"/>
                  <a:gd name="connsiteX768" fmla="*/ 298378 w 614938"/>
                  <a:gd name="connsiteY768" fmla="*/ 355614 h 716071"/>
                  <a:gd name="connsiteX769" fmla="*/ 301070 w 614938"/>
                  <a:gd name="connsiteY769" fmla="*/ 357827 h 716071"/>
                  <a:gd name="connsiteX770" fmla="*/ 274157 w 614938"/>
                  <a:gd name="connsiteY770" fmla="*/ 391139 h 716071"/>
                  <a:gd name="connsiteX771" fmla="*/ 247842 w 614938"/>
                  <a:gd name="connsiteY771" fmla="*/ 423734 h 716071"/>
                  <a:gd name="connsiteX772" fmla="*/ 244911 w 614938"/>
                  <a:gd name="connsiteY772" fmla="*/ 421342 h 716071"/>
                  <a:gd name="connsiteX773" fmla="*/ 271345 w 614938"/>
                  <a:gd name="connsiteY773" fmla="*/ 388807 h 716071"/>
                  <a:gd name="connsiteX774" fmla="*/ 274157 w 614938"/>
                  <a:gd name="connsiteY774" fmla="*/ 391139 h 716071"/>
                  <a:gd name="connsiteX775" fmla="*/ 247662 w 614938"/>
                  <a:gd name="connsiteY775" fmla="*/ 424033 h 716071"/>
                  <a:gd name="connsiteX776" fmla="*/ 221646 w 614938"/>
                  <a:gd name="connsiteY776" fmla="*/ 456209 h 716071"/>
                  <a:gd name="connsiteX777" fmla="*/ 218596 w 614938"/>
                  <a:gd name="connsiteY777" fmla="*/ 453757 h 716071"/>
                  <a:gd name="connsiteX778" fmla="*/ 244731 w 614938"/>
                  <a:gd name="connsiteY778" fmla="*/ 421641 h 716071"/>
                  <a:gd name="connsiteX779" fmla="*/ 247662 w 614938"/>
                  <a:gd name="connsiteY779" fmla="*/ 424033 h 716071"/>
                  <a:gd name="connsiteX780" fmla="*/ 221466 w 614938"/>
                  <a:gd name="connsiteY780" fmla="*/ 456508 h 716071"/>
                  <a:gd name="connsiteX781" fmla="*/ 195809 w 614938"/>
                  <a:gd name="connsiteY781" fmla="*/ 488326 h 716071"/>
                  <a:gd name="connsiteX782" fmla="*/ 192640 w 614938"/>
                  <a:gd name="connsiteY782" fmla="*/ 485754 h 716071"/>
                  <a:gd name="connsiteX783" fmla="*/ 218416 w 614938"/>
                  <a:gd name="connsiteY783" fmla="*/ 454056 h 716071"/>
                  <a:gd name="connsiteX784" fmla="*/ 221466 w 614938"/>
                  <a:gd name="connsiteY784" fmla="*/ 456508 h 716071"/>
                  <a:gd name="connsiteX785" fmla="*/ 195570 w 614938"/>
                  <a:gd name="connsiteY785" fmla="*/ 488565 h 716071"/>
                  <a:gd name="connsiteX786" fmla="*/ 170212 w 614938"/>
                  <a:gd name="connsiteY786" fmla="*/ 519964 h 716071"/>
                  <a:gd name="connsiteX787" fmla="*/ 166922 w 614938"/>
                  <a:gd name="connsiteY787" fmla="*/ 517332 h 716071"/>
                  <a:gd name="connsiteX788" fmla="*/ 192400 w 614938"/>
                  <a:gd name="connsiteY788" fmla="*/ 485993 h 716071"/>
                  <a:gd name="connsiteX789" fmla="*/ 195570 w 614938"/>
                  <a:gd name="connsiteY789" fmla="*/ 488565 h 716071"/>
                  <a:gd name="connsiteX790" fmla="*/ 169972 w 614938"/>
                  <a:gd name="connsiteY790" fmla="*/ 520263 h 716071"/>
                  <a:gd name="connsiteX791" fmla="*/ 144914 w 614938"/>
                  <a:gd name="connsiteY791" fmla="*/ 551303 h 716071"/>
                  <a:gd name="connsiteX792" fmla="*/ 141504 w 614938"/>
                  <a:gd name="connsiteY792" fmla="*/ 548612 h 716071"/>
                  <a:gd name="connsiteX793" fmla="*/ 166683 w 614938"/>
                  <a:gd name="connsiteY793" fmla="*/ 517631 h 716071"/>
                  <a:gd name="connsiteX794" fmla="*/ 169972 w 614938"/>
                  <a:gd name="connsiteY794" fmla="*/ 520263 h 716071"/>
                  <a:gd name="connsiteX795" fmla="*/ 144674 w 614938"/>
                  <a:gd name="connsiteY795" fmla="*/ 551602 h 716071"/>
                  <a:gd name="connsiteX796" fmla="*/ 119914 w 614938"/>
                  <a:gd name="connsiteY796" fmla="*/ 582283 h 716071"/>
                  <a:gd name="connsiteX797" fmla="*/ 116385 w 614938"/>
                  <a:gd name="connsiteY797" fmla="*/ 579472 h 716071"/>
                  <a:gd name="connsiteX798" fmla="*/ 141265 w 614938"/>
                  <a:gd name="connsiteY798" fmla="*/ 548911 h 716071"/>
                  <a:gd name="connsiteX799" fmla="*/ 144674 w 614938"/>
                  <a:gd name="connsiteY799" fmla="*/ 551602 h 716071"/>
                  <a:gd name="connsiteX800" fmla="*/ 119734 w 614938"/>
                  <a:gd name="connsiteY800" fmla="*/ 582522 h 716071"/>
                  <a:gd name="connsiteX801" fmla="*/ 95273 w 614938"/>
                  <a:gd name="connsiteY801" fmla="*/ 612785 h 716071"/>
                  <a:gd name="connsiteX802" fmla="*/ 91625 w 614938"/>
                  <a:gd name="connsiteY802" fmla="*/ 609914 h 716071"/>
                  <a:gd name="connsiteX803" fmla="*/ 116206 w 614938"/>
                  <a:gd name="connsiteY803" fmla="*/ 579711 h 716071"/>
                  <a:gd name="connsiteX804" fmla="*/ 119734 w 614938"/>
                  <a:gd name="connsiteY804" fmla="*/ 582522 h 716071"/>
                  <a:gd name="connsiteX805" fmla="*/ 95094 w 614938"/>
                  <a:gd name="connsiteY805" fmla="*/ 613084 h 716071"/>
                  <a:gd name="connsiteX806" fmla="*/ 70932 w 614938"/>
                  <a:gd name="connsiteY806" fmla="*/ 642987 h 716071"/>
                  <a:gd name="connsiteX807" fmla="*/ 67223 w 614938"/>
                  <a:gd name="connsiteY807" fmla="*/ 639997 h 716071"/>
                  <a:gd name="connsiteX808" fmla="*/ 91505 w 614938"/>
                  <a:gd name="connsiteY808" fmla="*/ 610153 h 716071"/>
                  <a:gd name="connsiteX809" fmla="*/ 95094 w 614938"/>
                  <a:gd name="connsiteY809" fmla="*/ 613084 h 716071"/>
                  <a:gd name="connsiteX810" fmla="*/ 70693 w 614938"/>
                  <a:gd name="connsiteY810" fmla="*/ 643286 h 716071"/>
                  <a:gd name="connsiteX811" fmla="*/ 46830 w 614938"/>
                  <a:gd name="connsiteY811" fmla="*/ 672891 h 716071"/>
                  <a:gd name="connsiteX812" fmla="*/ 43002 w 614938"/>
                  <a:gd name="connsiteY812" fmla="*/ 669841 h 716071"/>
                  <a:gd name="connsiteX813" fmla="*/ 66985 w 614938"/>
                  <a:gd name="connsiteY813" fmla="*/ 640356 h 716071"/>
                  <a:gd name="connsiteX814" fmla="*/ 70693 w 614938"/>
                  <a:gd name="connsiteY814" fmla="*/ 643286 h 716071"/>
                  <a:gd name="connsiteX815" fmla="*/ 31698 w 614938"/>
                  <a:gd name="connsiteY815" fmla="*/ 694422 h 716071"/>
                  <a:gd name="connsiteX816" fmla="*/ 32116 w 614938"/>
                  <a:gd name="connsiteY816" fmla="*/ 693405 h 716071"/>
                  <a:gd name="connsiteX817" fmla="*/ 46889 w 614938"/>
                  <a:gd name="connsiteY817" fmla="*/ 673369 h 716071"/>
                  <a:gd name="connsiteX818" fmla="*/ 51016 w 614938"/>
                  <a:gd name="connsiteY818" fmla="*/ 675822 h 716071"/>
                  <a:gd name="connsiteX819" fmla="*/ 36782 w 614938"/>
                  <a:gd name="connsiteY819" fmla="*/ 696455 h 716071"/>
                  <a:gd name="connsiteX820" fmla="*/ 36782 w 614938"/>
                  <a:gd name="connsiteY820" fmla="*/ 696455 h 716071"/>
                  <a:gd name="connsiteX821" fmla="*/ 36782 w 614938"/>
                  <a:gd name="connsiteY821" fmla="*/ 696455 h 716071"/>
                  <a:gd name="connsiteX822" fmla="*/ 36782 w 614938"/>
                  <a:gd name="connsiteY822" fmla="*/ 696515 h 716071"/>
                  <a:gd name="connsiteX823" fmla="*/ 36782 w 614938"/>
                  <a:gd name="connsiteY823" fmla="*/ 696515 h 716071"/>
                  <a:gd name="connsiteX824" fmla="*/ 37021 w 614938"/>
                  <a:gd name="connsiteY824" fmla="*/ 697890 h 716071"/>
                  <a:gd name="connsiteX825" fmla="*/ 31698 w 614938"/>
                  <a:gd name="connsiteY825" fmla="*/ 694422 h 716071"/>
                  <a:gd name="connsiteX826" fmla="*/ 51614 w 614938"/>
                  <a:gd name="connsiteY826" fmla="*/ 675702 h 716071"/>
                  <a:gd name="connsiteX827" fmla="*/ 75298 w 614938"/>
                  <a:gd name="connsiteY827" fmla="*/ 646097 h 716071"/>
                  <a:gd name="connsiteX828" fmla="*/ 79185 w 614938"/>
                  <a:gd name="connsiteY828" fmla="*/ 647832 h 716071"/>
                  <a:gd name="connsiteX829" fmla="*/ 55621 w 614938"/>
                  <a:gd name="connsiteY829" fmla="*/ 677436 h 716071"/>
                  <a:gd name="connsiteX830" fmla="*/ 51614 w 614938"/>
                  <a:gd name="connsiteY830" fmla="*/ 675702 h 716071"/>
                  <a:gd name="connsiteX831" fmla="*/ 75537 w 614938"/>
                  <a:gd name="connsiteY831" fmla="*/ 645858 h 716071"/>
                  <a:gd name="connsiteX832" fmla="*/ 99519 w 614938"/>
                  <a:gd name="connsiteY832" fmla="*/ 615895 h 716071"/>
                  <a:gd name="connsiteX833" fmla="*/ 103287 w 614938"/>
                  <a:gd name="connsiteY833" fmla="*/ 617629 h 716071"/>
                  <a:gd name="connsiteX834" fmla="*/ 79424 w 614938"/>
                  <a:gd name="connsiteY834" fmla="*/ 647593 h 716071"/>
                  <a:gd name="connsiteX835" fmla="*/ 75537 w 614938"/>
                  <a:gd name="connsiteY835" fmla="*/ 645858 h 716071"/>
                  <a:gd name="connsiteX836" fmla="*/ 99759 w 614938"/>
                  <a:gd name="connsiteY836" fmla="*/ 615596 h 716071"/>
                  <a:gd name="connsiteX837" fmla="*/ 124040 w 614938"/>
                  <a:gd name="connsiteY837" fmla="*/ 585273 h 716071"/>
                  <a:gd name="connsiteX838" fmla="*/ 127629 w 614938"/>
                  <a:gd name="connsiteY838" fmla="*/ 587008 h 716071"/>
                  <a:gd name="connsiteX839" fmla="*/ 103467 w 614938"/>
                  <a:gd name="connsiteY839" fmla="*/ 617330 h 716071"/>
                  <a:gd name="connsiteX840" fmla="*/ 99759 w 614938"/>
                  <a:gd name="connsiteY840" fmla="*/ 615596 h 716071"/>
                  <a:gd name="connsiteX841" fmla="*/ 124280 w 614938"/>
                  <a:gd name="connsiteY841" fmla="*/ 584974 h 716071"/>
                  <a:gd name="connsiteX842" fmla="*/ 148860 w 614938"/>
                  <a:gd name="connsiteY842" fmla="*/ 554293 h 716071"/>
                  <a:gd name="connsiteX843" fmla="*/ 152270 w 614938"/>
                  <a:gd name="connsiteY843" fmla="*/ 556028 h 716071"/>
                  <a:gd name="connsiteX844" fmla="*/ 127808 w 614938"/>
                  <a:gd name="connsiteY844" fmla="*/ 586709 h 716071"/>
                  <a:gd name="connsiteX845" fmla="*/ 124280 w 614938"/>
                  <a:gd name="connsiteY845" fmla="*/ 584974 h 716071"/>
                  <a:gd name="connsiteX846" fmla="*/ 149100 w 614938"/>
                  <a:gd name="connsiteY846" fmla="*/ 553994 h 716071"/>
                  <a:gd name="connsiteX847" fmla="*/ 173980 w 614938"/>
                  <a:gd name="connsiteY847" fmla="*/ 522954 h 716071"/>
                  <a:gd name="connsiteX848" fmla="*/ 177269 w 614938"/>
                  <a:gd name="connsiteY848" fmla="*/ 524689 h 716071"/>
                  <a:gd name="connsiteX849" fmla="*/ 152508 w 614938"/>
                  <a:gd name="connsiteY849" fmla="*/ 555789 h 716071"/>
                  <a:gd name="connsiteX850" fmla="*/ 149100 w 614938"/>
                  <a:gd name="connsiteY850" fmla="*/ 553994 h 716071"/>
                  <a:gd name="connsiteX851" fmla="*/ 174218 w 614938"/>
                  <a:gd name="connsiteY851" fmla="*/ 522655 h 716071"/>
                  <a:gd name="connsiteX852" fmla="*/ 199398 w 614938"/>
                  <a:gd name="connsiteY852" fmla="*/ 491197 h 716071"/>
                  <a:gd name="connsiteX853" fmla="*/ 202508 w 614938"/>
                  <a:gd name="connsiteY853" fmla="*/ 492931 h 716071"/>
                  <a:gd name="connsiteX854" fmla="*/ 177448 w 614938"/>
                  <a:gd name="connsiteY854" fmla="*/ 524390 h 716071"/>
                  <a:gd name="connsiteX855" fmla="*/ 174218 w 614938"/>
                  <a:gd name="connsiteY855" fmla="*/ 522655 h 716071"/>
                  <a:gd name="connsiteX856" fmla="*/ 199637 w 614938"/>
                  <a:gd name="connsiteY856" fmla="*/ 490898 h 716071"/>
                  <a:gd name="connsiteX857" fmla="*/ 225174 w 614938"/>
                  <a:gd name="connsiteY857" fmla="*/ 459020 h 716071"/>
                  <a:gd name="connsiteX858" fmla="*/ 228165 w 614938"/>
                  <a:gd name="connsiteY858" fmla="*/ 460695 h 716071"/>
                  <a:gd name="connsiteX859" fmla="*/ 202807 w 614938"/>
                  <a:gd name="connsiteY859" fmla="*/ 492572 h 716071"/>
                  <a:gd name="connsiteX860" fmla="*/ 199637 w 614938"/>
                  <a:gd name="connsiteY860" fmla="*/ 490898 h 716071"/>
                  <a:gd name="connsiteX861" fmla="*/ 225414 w 614938"/>
                  <a:gd name="connsiteY861" fmla="*/ 458781 h 716071"/>
                  <a:gd name="connsiteX862" fmla="*/ 251250 w 614938"/>
                  <a:gd name="connsiteY862" fmla="*/ 426545 h 716071"/>
                  <a:gd name="connsiteX863" fmla="*/ 254062 w 614938"/>
                  <a:gd name="connsiteY863" fmla="*/ 428220 h 716071"/>
                  <a:gd name="connsiteX864" fmla="*/ 228404 w 614938"/>
                  <a:gd name="connsiteY864" fmla="*/ 460456 h 716071"/>
                  <a:gd name="connsiteX865" fmla="*/ 225414 w 614938"/>
                  <a:gd name="connsiteY865" fmla="*/ 458781 h 716071"/>
                  <a:gd name="connsiteX866" fmla="*/ 251490 w 614938"/>
                  <a:gd name="connsiteY866" fmla="*/ 426246 h 716071"/>
                  <a:gd name="connsiteX867" fmla="*/ 277625 w 614938"/>
                  <a:gd name="connsiteY867" fmla="*/ 393591 h 716071"/>
                  <a:gd name="connsiteX868" fmla="*/ 280257 w 614938"/>
                  <a:gd name="connsiteY868" fmla="*/ 395266 h 716071"/>
                  <a:gd name="connsiteX869" fmla="*/ 254241 w 614938"/>
                  <a:gd name="connsiteY869" fmla="*/ 427921 h 716071"/>
                  <a:gd name="connsiteX870" fmla="*/ 251490 w 614938"/>
                  <a:gd name="connsiteY870" fmla="*/ 426246 h 716071"/>
                  <a:gd name="connsiteX871" fmla="*/ 277865 w 614938"/>
                  <a:gd name="connsiteY871" fmla="*/ 393352 h 716071"/>
                  <a:gd name="connsiteX872" fmla="*/ 304359 w 614938"/>
                  <a:gd name="connsiteY872" fmla="*/ 360279 h 716071"/>
                  <a:gd name="connsiteX873" fmla="*/ 306871 w 614938"/>
                  <a:gd name="connsiteY873" fmla="*/ 361893 h 716071"/>
                  <a:gd name="connsiteX874" fmla="*/ 280496 w 614938"/>
                  <a:gd name="connsiteY874" fmla="*/ 394967 h 716071"/>
                  <a:gd name="connsiteX875" fmla="*/ 277865 w 614938"/>
                  <a:gd name="connsiteY875" fmla="*/ 393352 h 716071"/>
                  <a:gd name="connsiteX876" fmla="*/ 304599 w 614938"/>
                  <a:gd name="connsiteY876" fmla="*/ 359980 h 716071"/>
                  <a:gd name="connsiteX877" fmla="*/ 331452 w 614938"/>
                  <a:gd name="connsiteY877" fmla="*/ 326488 h 716071"/>
                  <a:gd name="connsiteX878" fmla="*/ 333784 w 614938"/>
                  <a:gd name="connsiteY878" fmla="*/ 328102 h 716071"/>
                  <a:gd name="connsiteX879" fmla="*/ 307111 w 614938"/>
                  <a:gd name="connsiteY879" fmla="*/ 361654 h 716071"/>
                  <a:gd name="connsiteX880" fmla="*/ 304599 w 614938"/>
                  <a:gd name="connsiteY880" fmla="*/ 359980 h 716071"/>
                  <a:gd name="connsiteX881" fmla="*/ 331632 w 614938"/>
                  <a:gd name="connsiteY881" fmla="*/ 326189 h 716071"/>
                  <a:gd name="connsiteX882" fmla="*/ 358843 w 614938"/>
                  <a:gd name="connsiteY882" fmla="*/ 292278 h 716071"/>
                  <a:gd name="connsiteX883" fmla="*/ 361056 w 614938"/>
                  <a:gd name="connsiteY883" fmla="*/ 293833 h 716071"/>
                  <a:gd name="connsiteX884" fmla="*/ 334024 w 614938"/>
                  <a:gd name="connsiteY884" fmla="*/ 327803 h 716071"/>
                  <a:gd name="connsiteX885" fmla="*/ 331632 w 614938"/>
                  <a:gd name="connsiteY885" fmla="*/ 326189 h 716071"/>
                  <a:gd name="connsiteX886" fmla="*/ 358545 w 614938"/>
                  <a:gd name="connsiteY886" fmla="*/ 292039 h 716071"/>
                  <a:gd name="connsiteX887" fmla="*/ 331332 w 614938"/>
                  <a:gd name="connsiteY887" fmla="*/ 325949 h 716071"/>
                  <a:gd name="connsiteX888" fmla="*/ 328761 w 614938"/>
                  <a:gd name="connsiteY888" fmla="*/ 324036 h 716071"/>
                  <a:gd name="connsiteX889" fmla="*/ 356092 w 614938"/>
                  <a:gd name="connsiteY889" fmla="*/ 290185 h 716071"/>
                  <a:gd name="connsiteX890" fmla="*/ 358545 w 614938"/>
                  <a:gd name="connsiteY890" fmla="*/ 292039 h 716071"/>
                  <a:gd name="connsiteX891" fmla="*/ 328282 w 614938"/>
                  <a:gd name="connsiteY891" fmla="*/ 324095 h 716071"/>
                  <a:gd name="connsiteX892" fmla="*/ 301309 w 614938"/>
                  <a:gd name="connsiteY892" fmla="*/ 357528 h 716071"/>
                  <a:gd name="connsiteX893" fmla="*/ 298618 w 614938"/>
                  <a:gd name="connsiteY893" fmla="*/ 355315 h 716071"/>
                  <a:gd name="connsiteX894" fmla="*/ 325711 w 614938"/>
                  <a:gd name="connsiteY894" fmla="*/ 321942 h 716071"/>
                  <a:gd name="connsiteX895" fmla="*/ 328282 w 614938"/>
                  <a:gd name="connsiteY895" fmla="*/ 324095 h 716071"/>
                  <a:gd name="connsiteX896" fmla="*/ 325411 w 614938"/>
                  <a:gd name="connsiteY896" fmla="*/ 321763 h 716071"/>
                  <a:gd name="connsiteX897" fmla="*/ 298318 w 614938"/>
                  <a:gd name="connsiteY897" fmla="*/ 355135 h 716071"/>
                  <a:gd name="connsiteX898" fmla="*/ 295867 w 614938"/>
                  <a:gd name="connsiteY898" fmla="*/ 352922 h 716071"/>
                  <a:gd name="connsiteX899" fmla="*/ 323079 w 614938"/>
                  <a:gd name="connsiteY899" fmla="*/ 319670 h 716071"/>
                  <a:gd name="connsiteX900" fmla="*/ 325411 w 614938"/>
                  <a:gd name="connsiteY900" fmla="*/ 321763 h 716071"/>
                  <a:gd name="connsiteX901" fmla="*/ 298080 w 614938"/>
                  <a:gd name="connsiteY901" fmla="*/ 355374 h 716071"/>
                  <a:gd name="connsiteX902" fmla="*/ 271286 w 614938"/>
                  <a:gd name="connsiteY902" fmla="*/ 388328 h 716071"/>
                  <a:gd name="connsiteX903" fmla="*/ 268774 w 614938"/>
                  <a:gd name="connsiteY903" fmla="*/ 385996 h 716071"/>
                  <a:gd name="connsiteX904" fmla="*/ 295627 w 614938"/>
                  <a:gd name="connsiteY904" fmla="*/ 353162 h 716071"/>
                  <a:gd name="connsiteX905" fmla="*/ 298080 w 614938"/>
                  <a:gd name="connsiteY905" fmla="*/ 355374 h 716071"/>
                  <a:gd name="connsiteX906" fmla="*/ 271107 w 614938"/>
                  <a:gd name="connsiteY906" fmla="*/ 388567 h 716071"/>
                  <a:gd name="connsiteX907" fmla="*/ 244672 w 614938"/>
                  <a:gd name="connsiteY907" fmla="*/ 421103 h 716071"/>
                  <a:gd name="connsiteX908" fmla="*/ 242040 w 614938"/>
                  <a:gd name="connsiteY908" fmla="*/ 418651 h 716071"/>
                  <a:gd name="connsiteX909" fmla="*/ 268535 w 614938"/>
                  <a:gd name="connsiteY909" fmla="*/ 386235 h 716071"/>
                  <a:gd name="connsiteX910" fmla="*/ 271107 w 614938"/>
                  <a:gd name="connsiteY910" fmla="*/ 388567 h 716071"/>
                  <a:gd name="connsiteX911" fmla="*/ 244432 w 614938"/>
                  <a:gd name="connsiteY911" fmla="*/ 421402 h 716071"/>
                  <a:gd name="connsiteX912" fmla="*/ 218356 w 614938"/>
                  <a:gd name="connsiteY912" fmla="*/ 453518 h 716071"/>
                  <a:gd name="connsiteX913" fmla="*/ 215605 w 614938"/>
                  <a:gd name="connsiteY913" fmla="*/ 450946 h 716071"/>
                  <a:gd name="connsiteX914" fmla="*/ 241801 w 614938"/>
                  <a:gd name="connsiteY914" fmla="*/ 418950 h 716071"/>
                  <a:gd name="connsiteX915" fmla="*/ 244432 w 614938"/>
                  <a:gd name="connsiteY915" fmla="*/ 421402 h 716071"/>
                  <a:gd name="connsiteX916" fmla="*/ 218118 w 614938"/>
                  <a:gd name="connsiteY916" fmla="*/ 453757 h 716071"/>
                  <a:gd name="connsiteX917" fmla="*/ 192340 w 614938"/>
                  <a:gd name="connsiteY917" fmla="*/ 485455 h 716071"/>
                  <a:gd name="connsiteX918" fmla="*/ 189529 w 614938"/>
                  <a:gd name="connsiteY918" fmla="*/ 482764 h 716071"/>
                  <a:gd name="connsiteX919" fmla="*/ 215426 w 614938"/>
                  <a:gd name="connsiteY919" fmla="*/ 451186 h 716071"/>
                  <a:gd name="connsiteX920" fmla="*/ 218118 w 614938"/>
                  <a:gd name="connsiteY920" fmla="*/ 453757 h 716071"/>
                  <a:gd name="connsiteX921" fmla="*/ 192101 w 614938"/>
                  <a:gd name="connsiteY921" fmla="*/ 485754 h 716071"/>
                  <a:gd name="connsiteX922" fmla="*/ 166624 w 614938"/>
                  <a:gd name="connsiteY922" fmla="*/ 517093 h 716071"/>
                  <a:gd name="connsiteX923" fmla="*/ 163752 w 614938"/>
                  <a:gd name="connsiteY923" fmla="*/ 514282 h 716071"/>
                  <a:gd name="connsiteX924" fmla="*/ 189290 w 614938"/>
                  <a:gd name="connsiteY924" fmla="*/ 483063 h 716071"/>
                  <a:gd name="connsiteX925" fmla="*/ 192101 w 614938"/>
                  <a:gd name="connsiteY925" fmla="*/ 485754 h 716071"/>
                  <a:gd name="connsiteX926" fmla="*/ 166444 w 614938"/>
                  <a:gd name="connsiteY926" fmla="*/ 517392 h 716071"/>
                  <a:gd name="connsiteX927" fmla="*/ 141265 w 614938"/>
                  <a:gd name="connsiteY927" fmla="*/ 548372 h 716071"/>
                  <a:gd name="connsiteX928" fmla="*/ 138274 w 614938"/>
                  <a:gd name="connsiteY928" fmla="*/ 545442 h 716071"/>
                  <a:gd name="connsiteX929" fmla="*/ 163513 w 614938"/>
                  <a:gd name="connsiteY929" fmla="*/ 514581 h 716071"/>
                  <a:gd name="connsiteX930" fmla="*/ 166444 w 614938"/>
                  <a:gd name="connsiteY930" fmla="*/ 517392 h 716071"/>
                  <a:gd name="connsiteX931" fmla="*/ 141026 w 614938"/>
                  <a:gd name="connsiteY931" fmla="*/ 548612 h 716071"/>
                  <a:gd name="connsiteX932" fmla="*/ 116146 w 614938"/>
                  <a:gd name="connsiteY932" fmla="*/ 579173 h 716071"/>
                  <a:gd name="connsiteX933" fmla="*/ 113096 w 614938"/>
                  <a:gd name="connsiteY933" fmla="*/ 576123 h 716071"/>
                  <a:gd name="connsiteX934" fmla="*/ 138036 w 614938"/>
                  <a:gd name="connsiteY934" fmla="*/ 545681 h 716071"/>
                  <a:gd name="connsiteX935" fmla="*/ 141026 w 614938"/>
                  <a:gd name="connsiteY935" fmla="*/ 548612 h 716071"/>
                  <a:gd name="connsiteX936" fmla="*/ 115966 w 614938"/>
                  <a:gd name="connsiteY936" fmla="*/ 579472 h 716071"/>
                  <a:gd name="connsiteX937" fmla="*/ 91386 w 614938"/>
                  <a:gd name="connsiteY937" fmla="*/ 609675 h 716071"/>
                  <a:gd name="connsiteX938" fmla="*/ 88276 w 614938"/>
                  <a:gd name="connsiteY938" fmla="*/ 606505 h 716071"/>
                  <a:gd name="connsiteX939" fmla="*/ 112916 w 614938"/>
                  <a:gd name="connsiteY939" fmla="*/ 576422 h 716071"/>
                  <a:gd name="connsiteX940" fmla="*/ 115966 w 614938"/>
                  <a:gd name="connsiteY940" fmla="*/ 579472 h 716071"/>
                  <a:gd name="connsiteX941" fmla="*/ 91146 w 614938"/>
                  <a:gd name="connsiteY941" fmla="*/ 609974 h 716071"/>
                  <a:gd name="connsiteX942" fmla="*/ 66865 w 614938"/>
                  <a:gd name="connsiteY942" fmla="*/ 639818 h 716071"/>
                  <a:gd name="connsiteX943" fmla="*/ 63635 w 614938"/>
                  <a:gd name="connsiteY943" fmla="*/ 636528 h 716071"/>
                  <a:gd name="connsiteX944" fmla="*/ 87977 w 614938"/>
                  <a:gd name="connsiteY944" fmla="*/ 606804 h 716071"/>
                  <a:gd name="connsiteX945" fmla="*/ 91146 w 614938"/>
                  <a:gd name="connsiteY945" fmla="*/ 609974 h 716071"/>
                  <a:gd name="connsiteX946" fmla="*/ 66685 w 614938"/>
                  <a:gd name="connsiteY946" fmla="*/ 640117 h 716071"/>
                  <a:gd name="connsiteX947" fmla="*/ 42702 w 614938"/>
                  <a:gd name="connsiteY947" fmla="*/ 669602 h 716071"/>
                  <a:gd name="connsiteX948" fmla="*/ 39413 w 614938"/>
                  <a:gd name="connsiteY948" fmla="*/ 666252 h 716071"/>
                  <a:gd name="connsiteX949" fmla="*/ 63456 w 614938"/>
                  <a:gd name="connsiteY949" fmla="*/ 636887 h 716071"/>
                  <a:gd name="connsiteX950" fmla="*/ 66685 w 614938"/>
                  <a:gd name="connsiteY950" fmla="*/ 640117 h 716071"/>
                  <a:gd name="connsiteX951" fmla="*/ 21052 w 614938"/>
                  <a:gd name="connsiteY951" fmla="*/ 685450 h 716071"/>
                  <a:gd name="connsiteX952" fmla="*/ 25658 w 614938"/>
                  <a:gd name="connsiteY952" fmla="*/ 689936 h 716071"/>
                  <a:gd name="connsiteX953" fmla="*/ 25000 w 614938"/>
                  <a:gd name="connsiteY953" fmla="*/ 690534 h 716071"/>
                  <a:gd name="connsiteX954" fmla="*/ 20215 w 614938"/>
                  <a:gd name="connsiteY954" fmla="*/ 685869 h 716071"/>
                  <a:gd name="connsiteX955" fmla="*/ 21052 w 614938"/>
                  <a:gd name="connsiteY955" fmla="*/ 685450 h 716071"/>
                  <a:gd name="connsiteX956" fmla="*/ 26017 w 614938"/>
                  <a:gd name="connsiteY956" fmla="*/ 690235 h 716071"/>
                  <a:gd name="connsiteX957" fmla="*/ 31220 w 614938"/>
                  <a:gd name="connsiteY957" fmla="*/ 694422 h 716071"/>
                  <a:gd name="connsiteX958" fmla="*/ 30741 w 614938"/>
                  <a:gd name="connsiteY958" fmla="*/ 695139 h 716071"/>
                  <a:gd name="connsiteX959" fmla="*/ 25299 w 614938"/>
                  <a:gd name="connsiteY959" fmla="*/ 690773 h 716071"/>
                  <a:gd name="connsiteX960" fmla="*/ 26017 w 614938"/>
                  <a:gd name="connsiteY960" fmla="*/ 690235 h 716071"/>
                  <a:gd name="connsiteX961" fmla="*/ 31160 w 614938"/>
                  <a:gd name="connsiteY961" fmla="*/ 695379 h 716071"/>
                  <a:gd name="connsiteX962" fmla="*/ 31638 w 614938"/>
                  <a:gd name="connsiteY962" fmla="*/ 694661 h 716071"/>
                  <a:gd name="connsiteX963" fmla="*/ 37081 w 614938"/>
                  <a:gd name="connsiteY963" fmla="*/ 698249 h 716071"/>
                  <a:gd name="connsiteX964" fmla="*/ 36841 w 614938"/>
                  <a:gd name="connsiteY964" fmla="*/ 699087 h 716071"/>
                  <a:gd name="connsiteX965" fmla="*/ 31160 w 614938"/>
                  <a:gd name="connsiteY965" fmla="*/ 695379 h 716071"/>
                  <a:gd name="connsiteX966" fmla="*/ 35705 w 614938"/>
                  <a:gd name="connsiteY966" fmla="*/ 700941 h 716071"/>
                  <a:gd name="connsiteX967" fmla="*/ 35705 w 614938"/>
                  <a:gd name="connsiteY967" fmla="*/ 700821 h 716071"/>
                  <a:gd name="connsiteX968" fmla="*/ 37320 w 614938"/>
                  <a:gd name="connsiteY968" fmla="*/ 701299 h 716071"/>
                  <a:gd name="connsiteX969" fmla="*/ 37320 w 614938"/>
                  <a:gd name="connsiteY969" fmla="*/ 701598 h 716071"/>
                  <a:gd name="connsiteX970" fmla="*/ 35705 w 614938"/>
                  <a:gd name="connsiteY970" fmla="*/ 700941 h 716071"/>
                  <a:gd name="connsiteX971" fmla="*/ 36423 w 614938"/>
                  <a:gd name="connsiteY971" fmla="*/ 700701 h 716071"/>
                  <a:gd name="connsiteX972" fmla="*/ 37201 w 614938"/>
                  <a:gd name="connsiteY972" fmla="*/ 700881 h 716071"/>
                  <a:gd name="connsiteX973" fmla="*/ 37201 w 614938"/>
                  <a:gd name="connsiteY973" fmla="*/ 700941 h 716071"/>
                  <a:gd name="connsiteX974" fmla="*/ 36423 w 614938"/>
                  <a:gd name="connsiteY974" fmla="*/ 700701 h 716071"/>
                  <a:gd name="connsiteX975" fmla="*/ 35286 w 614938"/>
                  <a:gd name="connsiteY975" fmla="*/ 701240 h 716071"/>
                  <a:gd name="connsiteX976" fmla="*/ 35286 w 614938"/>
                  <a:gd name="connsiteY976" fmla="*/ 701359 h 716071"/>
                  <a:gd name="connsiteX977" fmla="*/ 34988 w 614938"/>
                  <a:gd name="connsiteY977" fmla="*/ 701240 h 716071"/>
                  <a:gd name="connsiteX978" fmla="*/ 35286 w 614938"/>
                  <a:gd name="connsiteY978" fmla="*/ 701240 h 716071"/>
                  <a:gd name="connsiteX979" fmla="*/ 35646 w 614938"/>
                  <a:gd name="connsiteY979" fmla="*/ 701539 h 716071"/>
                  <a:gd name="connsiteX980" fmla="*/ 35705 w 614938"/>
                  <a:gd name="connsiteY980" fmla="*/ 701299 h 716071"/>
                  <a:gd name="connsiteX981" fmla="*/ 37320 w 614938"/>
                  <a:gd name="connsiteY981" fmla="*/ 701897 h 716071"/>
                  <a:gd name="connsiteX982" fmla="*/ 37201 w 614938"/>
                  <a:gd name="connsiteY982" fmla="*/ 702316 h 716071"/>
                  <a:gd name="connsiteX983" fmla="*/ 35646 w 614938"/>
                  <a:gd name="connsiteY983" fmla="*/ 701539 h 716071"/>
                  <a:gd name="connsiteX984" fmla="*/ 37141 w 614938"/>
                  <a:gd name="connsiteY984" fmla="*/ 699326 h 716071"/>
                  <a:gd name="connsiteX985" fmla="*/ 37380 w 614938"/>
                  <a:gd name="connsiteY985" fmla="*/ 698489 h 716071"/>
                  <a:gd name="connsiteX986" fmla="*/ 42643 w 614938"/>
                  <a:gd name="connsiteY986" fmla="*/ 701240 h 716071"/>
                  <a:gd name="connsiteX987" fmla="*/ 42583 w 614938"/>
                  <a:gd name="connsiteY987" fmla="*/ 702197 h 716071"/>
                  <a:gd name="connsiteX988" fmla="*/ 37141 w 614938"/>
                  <a:gd name="connsiteY988" fmla="*/ 699326 h 716071"/>
                  <a:gd name="connsiteX989" fmla="*/ 42942 w 614938"/>
                  <a:gd name="connsiteY989" fmla="*/ 702316 h 716071"/>
                  <a:gd name="connsiteX990" fmla="*/ 43002 w 614938"/>
                  <a:gd name="connsiteY990" fmla="*/ 701359 h 716071"/>
                  <a:gd name="connsiteX991" fmla="*/ 47667 w 614938"/>
                  <a:gd name="connsiteY991" fmla="*/ 703034 h 716071"/>
                  <a:gd name="connsiteX992" fmla="*/ 47786 w 614938"/>
                  <a:gd name="connsiteY992" fmla="*/ 704051 h 716071"/>
                  <a:gd name="connsiteX993" fmla="*/ 42942 w 614938"/>
                  <a:gd name="connsiteY993" fmla="*/ 702316 h 716071"/>
                  <a:gd name="connsiteX994" fmla="*/ 56039 w 614938"/>
                  <a:gd name="connsiteY994" fmla="*/ 677556 h 716071"/>
                  <a:gd name="connsiteX995" fmla="*/ 79544 w 614938"/>
                  <a:gd name="connsiteY995" fmla="*/ 648011 h 716071"/>
                  <a:gd name="connsiteX996" fmla="*/ 83072 w 614938"/>
                  <a:gd name="connsiteY996" fmla="*/ 648908 h 716071"/>
                  <a:gd name="connsiteX997" fmla="*/ 59688 w 614938"/>
                  <a:gd name="connsiteY997" fmla="*/ 678393 h 716071"/>
                  <a:gd name="connsiteX998" fmla="*/ 56039 w 614938"/>
                  <a:gd name="connsiteY998" fmla="*/ 677556 h 716071"/>
                  <a:gd name="connsiteX999" fmla="*/ 79783 w 614938"/>
                  <a:gd name="connsiteY999" fmla="*/ 647652 h 716071"/>
                  <a:gd name="connsiteX1000" fmla="*/ 103587 w 614938"/>
                  <a:gd name="connsiteY1000" fmla="*/ 617749 h 716071"/>
                  <a:gd name="connsiteX1001" fmla="*/ 106935 w 614938"/>
                  <a:gd name="connsiteY1001" fmla="*/ 618706 h 716071"/>
                  <a:gd name="connsiteX1002" fmla="*/ 83252 w 614938"/>
                  <a:gd name="connsiteY1002" fmla="*/ 648609 h 716071"/>
                  <a:gd name="connsiteX1003" fmla="*/ 79783 w 614938"/>
                  <a:gd name="connsiteY1003" fmla="*/ 647652 h 716071"/>
                  <a:gd name="connsiteX1004" fmla="*/ 103885 w 614938"/>
                  <a:gd name="connsiteY1004" fmla="*/ 617450 h 716071"/>
                  <a:gd name="connsiteX1005" fmla="*/ 127988 w 614938"/>
                  <a:gd name="connsiteY1005" fmla="*/ 587127 h 716071"/>
                  <a:gd name="connsiteX1006" fmla="*/ 131158 w 614938"/>
                  <a:gd name="connsiteY1006" fmla="*/ 588084 h 716071"/>
                  <a:gd name="connsiteX1007" fmla="*/ 107175 w 614938"/>
                  <a:gd name="connsiteY1007" fmla="*/ 618347 h 716071"/>
                  <a:gd name="connsiteX1008" fmla="*/ 103885 w 614938"/>
                  <a:gd name="connsiteY1008" fmla="*/ 617450 h 716071"/>
                  <a:gd name="connsiteX1009" fmla="*/ 128227 w 614938"/>
                  <a:gd name="connsiteY1009" fmla="*/ 586828 h 716071"/>
                  <a:gd name="connsiteX1010" fmla="*/ 152628 w 614938"/>
                  <a:gd name="connsiteY1010" fmla="*/ 556147 h 716071"/>
                  <a:gd name="connsiteX1011" fmla="*/ 155678 w 614938"/>
                  <a:gd name="connsiteY1011" fmla="*/ 557164 h 716071"/>
                  <a:gd name="connsiteX1012" fmla="*/ 131397 w 614938"/>
                  <a:gd name="connsiteY1012" fmla="*/ 587785 h 716071"/>
                  <a:gd name="connsiteX1013" fmla="*/ 128227 w 614938"/>
                  <a:gd name="connsiteY1013" fmla="*/ 586828 h 716071"/>
                  <a:gd name="connsiteX1014" fmla="*/ 152868 w 614938"/>
                  <a:gd name="connsiteY1014" fmla="*/ 555908 h 716071"/>
                  <a:gd name="connsiteX1015" fmla="*/ 177568 w 614938"/>
                  <a:gd name="connsiteY1015" fmla="*/ 524868 h 716071"/>
                  <a:gd name="connsiteX1016" fmla="*/ 180439 w 614938"/>
                  <a:gd name="connsiteY1016" fmla="*/ 525945 h 716071"/>
                  <a:gd name="connsiteX1017" fmla="*/ 155858 w 614938"/>
                  <a:gd name="connsiteY1017" fmla="*/ 556985 h 716071"/>
                  <a:gd name="connsiteX1018" fmla="*/ 152868 w 614938"/>
                  <a:gd name="connsiteY1018" fmla="*/ 555908 h 716071"/>
                  <a:gd name="connsiteX1019" fmla="*/ 177867 w 614938"/>
                  <a:gd name="connsiteY1019" fmla="*/ 524509 h 716071"/>
                  <a:gd name="connsiteX1020" fmla="*/ 202926 w 614938"/>
                  <a:gd name="connsiteY1020" fmla="*/ 493051 h 716071"/>
                  <a:gd name="connsiteX1021" fmla="*/ 205617 w 614938"/>
                  <a:gd name="connsiteY1021" fmla="*/ 494127 h 716071"/>
                  <a:gd name="connsiteX1022" fmla="*/ 180738 w 614938"/>
                  <a:gd name="connsiteY1022" fmla="*/ 525526 h 716071"/>
                  <a:gd name="connsiteX1023" fmla="*/ 177867 w 614938"/>
                  <a:gd name="connsiteY1023" fmla="*/ 524509 h 716071"/>
                  <a:gd name="connsiteX1024" fmla="*/ 203106 w 614938"/>
                  <a:gd name="connsiteY1024" fmla="*/ 492811 h 716071"/>
                  <a:gd name="connsiteX1025" fmla="*/ 228464 w 614938"/>
                  <a:gd name="connsiteY1025" fmla="*/ 460994 h 716071"/>
                  <a:gd name="connsiteX1026" fmla="*/ 231035 w 614938"/>
                  <a:gd name="connsiteY1026" fmla="*/ 462130 h 716071"/>
                  <a:gd name="connsiteX1027" fmla="*/ 205857 w 614938"/>
                  <a:gd name="connsiteY1027" fmla="*/ 493948 h 716071"/>
                  <a:gd name="connsiteX1028" fmla="*/ 203106 w 614938"/>
                  <a:gd name="connsiteY1028" fmla="*/ 492811 h 716071"/>
                  <a:gd name="connsiteX1029" fmla="*/ 228703 w 614938"/>
                  <a:gd name="connsiteY1029" fmla="*/ 460635 h 716071"/>
                  <a:gd name="connsiteX1030" fmla="*/ 254360 w 614938"/>
                  <a:gd name="connsiteY1030" fmla="*/ 428399 h 716071"/>
                  <a:gd name="connsiteX1031" fmla="*/ 256753 w 614938"/>
                  <a:gd name="connsiteY1031" fmla="*/ 429535 h 716071"/>
                  <a:gd name="connsiteX1032" fmla="*/ 231215 w 614938"/>
                  <a:gd name="connsiteY1032" fmla="*/ 461772 h 716071"/>
                  <a:gd name="connsiteX1033" fmla="*/ 228703 w 614938"/>
                  <a:gd name="connsiteY1033" fmla="*/ 460635 h 716071"/>
                  <a:gd name="connsiteX1034" fmla="*/ 254600 w 614938"/>
                  <a:gd name="connsiteY1034" fmla="*/ 428100 h 716071"/>
                  <a:gd name="connsiteX1035" fmla="*/ 280616 w 614938"/>
                  <a:gd name="connsiteY1035" fmla="*/ 395445 h 716071"/>
                  <a:gd name="connsiteX1036" fmla="*/ 282888 w 614938"/>
                  <a:gd name="connsiteY1036" fmla="*/ 396582 h 716071"/>
                  <a:gd name="connsiteX1037" fmla="*/ 257052 w 614938"/>
                  <a:gd name="connsiteY1037" fmla="*/ 429236 h 716071"/>
                  <a:gd name="connsiteX1038" fmla="*/ 254600 w 614938"/>
                  <a:gd name="connsiteY1038" fmla="*/ 428100 h 716071"/>
                  <a:gd name="connsiteX1039" fmla="*/ 280855 w 614938"/>
                  <a:gd name="connsiteY1039" fmla="*/ 395146 h 716071"/>
                  <a:gd name="connsiteX1040" fmla="*/ 307171 w 614938"/>
                  <a:gd name="connsiteY1040" fmla="*/ 362073 h 716071"/>
                  <a:gd name="connsiteX1041" fmla="*/ 309264 w 614938"/>
                  <a:gd name="connsiteY1041" fmla="*/ 363209 h 716071"/>
                  <a:gd name="connsiteX1042" fmla="*/ 283068 w 614938"/>
                  <a:gd name="connsiteY1042" fmla="*/ 396283 h 716071"/>
                  <a:gd name="connsiteX1043" fmla="*/ 280855 w 614938"/>
                  <a:gd name="connsiteY1043" fmla="*/ 395146 h 716071"/>
                  <a:gd name="connsiteX1044" fmla="*/ 307409 w 614938"/>
                  <a:gd name="connsiteY1044" fmla="*/ 361774 h 716071"/>
                  <a:gd name="connsiteX1045" fmla="*/ 334084 w 614938"/>
                  <a:gd name="connsiteY1045" fmla="*/ 328282 h 716071"/>
                  <a:gd name="connsiteX1046" fmla="*/ 336057 w 614938"/>
                  <a:gd name="connsiteY1046" fmla="*/ 329418 h 716071"/>
                  <a:gd name="connsiteX1047" fmla="*/ 309502 w 614938"/>
                  <a:gd name="connsiteY1047" fmla="*/ 362910 h 716071"/>
                  <a:gd name="connsiteX1048" fmla="*/ 307409 w 614938"/>
                  <a:gd name="connsiteY1048" fmla="*/ 361774 h 716071"/>
                  <a:gd name="connsiteX1049" fmla="*/ 334323 w 614938"/>
                  <a:gd name="connsiteY1049" fmla="*/ 327983 h 716071"/>
                  <a:gd name="connsiteX1050" fmla="*/ 361356 w 614938"/>
                  <a:gd name="connsiteY1050" fmla="*/ 294012 h 716071"/>
                  <a:gd name="connsiteX1051" fmla="*/ 363210 w 614938"/>
                  <a:gd name="connsiteY1051" fmla="*/ 295149 h 716071"/>
                  <a:gd name="connsiteX1052" fmla="*/ 336297 w 614938"/>
                  <a:gd name="connsiteY1052" fmla="*/ 329119 h 716071"/>
                  <a:gd name="connsiteX1053" fmla="*/ 334323 w 614938"/>
                  <a:gd name="connsiteY1053" fmla="*/ 327983 h 716071"/>
                  <a:gd name="connsiteX1054" fmla="*/ 386774 w 614938"/>
                  <a:gd name="connsiteY1054" fmla="*/ 257350 h 716071"/>
                  <a:gd name="connsiteX1055" fmla="*/ 412610 w 614938"/>
                  <a:gd name="connsiteY1055" fmla="*/ 225114 h 716071"/>
                  <a:gd name="connsiteX1056" fmla="*/ 414524 w 614938"/>
                  <a:gd name="connsiteY1056" fmla="*/ 226610 h 716071"/>
                  <a:gd name="connsiteX1057" fmla="*/ 388867 w 614938"/>
                  <a:gd name="connsiteY1057" fmla="*/ 258846 h 716071"/>
                  <a:gd name="connsiteX1058" fmla="*/ 386774 w 614938"/>
                  <a:gd name="connsiteY1058" fmla="*/ 257350 h 716071"/>
                  <a:gd name="connsiteX1059" fmla="*/ 386295 w 614938"/>
                  <a:gd name="connsiteY1059" fmla="*/ 257410 h 716071"/>
                  <a:gd name="connsiteX1060" fmla="*/ 358783 w 614938"/>
                  <a:gd name="connsiteY1060" fmla="*/ 291799 h 716071"/>
                  <a:gd name="connsiteX1061" fmla="*/ 356392 w 614938"/>
                  <a:gd name="connsiteY1061" fmla="*/ 289945 h 716071"/>
                  <a:gd name="connsiteX1062" fmla="*/ 384083 w 614938"/>
                  <a:gd name="connsiteY1062" fmla="*/ 255676 h 716071"/>
                  <a:gd name="connsiteX1063" fmla="*/ 386295 w 614938"/>
                  <a:gd name="connsiteY1063" fmla="*/ 257410 h 716071"/>
                  <a:gd name="connsiteX1064" fmla="*/ 355793 w 614938"/>
                  <a:gd name="connsiteY1064" fmla="*/ 289945 h 716071"/>
                  <a:gd name="connsiteX1065" fmla="*/ 328462 w 614938"/>
                  <a:gd name="connsiteY1065" fmla="*/ 323796 h 716071"/>
                  <a:gd name="connsiteX1066" fmla="*/ 325890 w 614938"/>
                  <a:gd name="connsiteY1066" fmla="*/ 321703 h 716071"/>
                  <a:gd name="connsiteX1067" fmla="*/ 353342 w 614938"/>
                  <a:gd name="connsiteY1067" fmla="*/ 287912 h 716071"/>
                  <a:gd name="connsiteX1068" fmla="*/ 355793 w 614938"/>
                  <a:gd name="connsiteY1068" fmla="*/ 289945 h 716071"/>
                  <a:gd name="connsiteX1069" fmla="*/ 353102 w 614938"/>
                  <a:gd name="connsiteY1069" fmla="*/ 287733 h 716071"/>
                  <a:gd name="connsiteX1070" fmla="*/ 325651 w 614938"/>
                  <a:gd name="connsiteY1070" fmla="*/ 321524 h 716071"/>
                  <a:gd name="connsiteX1071" fmla="*/ 323318 w 614938"/>
                  <a:gd name="connsiteY1071" fmla="*/ 319430 h 716071"/>
                  <a:gd name="connsiteX1072" fmla="*/ 350889 w 614938"/>
                  <a:gd name="connsiteY1072" fmla="*/ 285759 h 716071"/>
                  <a:gd name="connsiteX1073" fmla="*/ 353102 w 614938"/>
                  <a:gd name="connsiteY1073" fmla="*/ 287733 h 716071"/>
                  <a:gd name="connsiteX1074" fmla="*/ 350590 w 614938"/>
                  <a:gd name="connsiteY1074" fmla="*/ 285460 h 716071"/>
                  <a:gd name="connsiteX1075" fmla="*/ 323019 w 614938"/>
                  <a:gd name="connsiteY1075" fmla="*/ 319131 h 716071"/>
                  <a:gd name="connsiteX1076" fmla="*/ 321046 w 614938"/>
                  <a:gd name="connsiteY1076" fmla="*/ 317158 h 716071"/>
                  <a:gd name="connsiteX1077" fmla="*/ 348676 w 614938"/>
                  <a:gd name="connsiteY1077" fmla="*/ 283606 h 716071"/>
                  <a:gd name="connsiteX1078" fmla="*/ 350590 w 614938"/>
                  <a:gd name="connsiteY1078" fmla="*/ 285460 h 716071"/>
                  <a:gd name="connsiteX1079" fmla="*/ 322780 w 614938"/>
                  <a:gd name="connsiteY1079" fmla="*/ 319430 h 716071"/>
                  <a:gd name="connsiteX1080" fmla="*/ 295568 w 614938"/>
                  <a:gd name="connsiteY1080" fmla="*/ 352683 h 716071"/>
                  <a:gd name="connsiteX1081" fmla="*/ 293534 w 614938"/>
                  <a:gd name="connsiteY1081" fmla="*/ 350590 h 716071"/>
                  <a:gd name="connsiteX1082" fmla="*/ 320806 w 614938"/>
                  <a:gd name="connsiteY1082" fmla="*/ 317516 h 716071"/>
                  <a:gd name="connsiteX1083" fmla="*/ 322780 w 614938"/>
                  <a:gd name="connsiteY1083" fmla="*/ 319430 h 716071"/>
                  <a:gd name="connsiteX1084" fmla="*/ 295388 w 614938"/>
                  <a:gd name="connsiteY1084" fmla="*/ 352922 h 716071"/>
                  <a:gd name="connsiteX1085" fmla="*/ 268535 w 614938"/>
                  <a:gd name="connsiteY1085" fmla="*/ 385757 h 716071"/>
                  <a:gd name="connsiteX1086" fmla="*/ 266441 w 614938"/>
                  <a:gd name="connsiteY1086" fmla="*/ 383544 h 716071"/>
                  <a:gd name="connsiteX1087" fmla="*/ 293355 w 614938"/>
                  <a:gd name="connsiteY1087" fmla="*/ 350889 h 716071"/>
                  <a:gd name="connsiteX1088" fmla="*/ 295388 w 614938"/>
                  <a:gd name="connsiteY1088" fmla="*/ 352922 h 716071"/>
                  <a:gd name="connsiteX1089" fmla="*/ 268296 w 614938"/>
                  <a:gd name="connsiteY1089" fmla="*/ 385996 h 716071"/>
                  <a:gd name="connsiteX1090" fmla="*/ 241801 w 614938"/>
                  <a:gd name="connsiteY1090" fmla="*/ 418411 h 716071"/>
                  <a:gd name="connsiteX1091" fmla="*/ 239648 w 614938"/>
                  <a:gd name="connsiteY1091" fmla="*/ 416079 h 716071"/>
                  <a:gd name="connsiteX1092" fmla="*/ 266202 w 614938"/>
                  <a:gd name="connsiteY1092" fmla="*/ 383843 h 716071"/>
                  <a:gd name="connsiteX1093" fmla="*/ 268296 w 614938"/>
                  <a:gd name="connsiteY1093" fmla="*/ 385996 h 716071"/>
                  <a:gd name="connsiteX1094" fmla="*/ 241561 w 614938"/>
                  <a:gd name="connsiteY1094" fmla="*/ 418651 h 716071"/>
                  <a:gd name="connsiteX1095" fmla="*/ 215366 w 614938"/>
                  <a:gd name="connsiteY1095" fmla="*/ 450647 h 716071"/>
                  <a:gd name="connsiteX1096" fmla="*/ 213153 w 614938"/>
                  <a:gd name="connsiteY1096" fmla="*/ 448195 h 716071"/>
                  <a:gd name="connsiteX1097" fmla="*/ 239408 w 614938"/>
                  <a:gd name="connsiteY1097" fmla="*/ 416318 h 716071"/>
                  <a:gd name="connsiteX1098" fmla="*/ 241561 w 614938"/>
                  <a:gd name="connsiteY1098" fmla="*/ 418651 h 716071"/>
                  <a:gd name="connsiteX1099" fmla="*/ 215127 w 614938"/>
                  <a:gd name="connsiteY1099" fmla="*/ 450946 h 716071"/>
                  <a:gd name="connsiteX1100" fmla="*/ 189290 w 614938"/>
                  <a:gd name="connsiteY1100" fmla="*/ 482525 h 716071"/>
                  <a:gd name="connsiteX1101" fmla="*/ 187017 w 614938"/>
                  <a:gd name="connsiteY1101" fmla="*/ 479893 h 716071"/>
                  <a:gd name="connsiteX1102" fmla="*/ 212914 w 614938"/>
                  <a:gd name="connsiteY1102" fmla="*/ 448434 h 716071"/>
                  <a:gd name="connsiteX1103" fmla="*/ 215127 w 614938"/>
                  <a:gd name="connsiteY1103" fmla="*/ 450946 h 716071"/>
                  <a:gd name="connsiteX1104" fmla="*/ 189051 w 614938"/>
                  <a:gd name="connsiteY1104" fmla="*/ 482824 h 716071"/>
                  <a:gd name="connsiteX1105" fmla="*/ 163513 w 614938"/>
                  <a:gd name="connsiteY1105" fmla="*/ 514043 h 716071"/>
                  <a:gd name="connsiteX1106" fmla="*/ 161241 w 614938"/>
                  <a:gd name="connsiteY1106" fmla="*/ 511292 h 716071"/>
                  <a:gd name="connsiteX1107" fmla="*/ 186838 w 614938"/>
                  <a:gd name="connsiteY1107" fmla="*/ 480192 h 716071"/>
                  <a:gd name="connsiteX1108" fmla="*/ 189051 w 614938"/>
                  <a:gd name="connsiteY1108" fmla="*/ 482824 h 716071"/>
                  <a:gd name="connsiteX1109" fmla="*/ 163274 w 614938"/>
                  <a:gd name="connsiteY1109" fmla="*/ 514282 h 716071"/>
                  <a:gd name="connsiteX1110" fmla="*/ 138036 w 614938"/>
                  <a:gd name="connsiteY1110" fmla="*/ 545083 h 716071"/>
                  <a:gd name="connsiteX1111" fmla="*/ 135703 w 614938"/>
                  <a:gd name="connsiteY1111" fmla="*/ 542212 h 716071"/>
                  <a:gd name="connsiteX1112" fmla="*/ 161001 w 614938"/>
                  <a:gd name="connsiteY1112" fmla="*/ 511531 h 716071"/>
                  <a:gd name="connsiteX1113" fmla="*/ 163274 w 614938"/>
                  <a:gd name="connsiteY1113" fmla="*/ 514282 h 716071"/>
                  <a:gd name="connsiteX1114" fmla="*/ 137796 w 614938"/>
                  <a:gd name="connsiteY1114" fmla="*/ 545442 h 716071"/>
                  <a:gd name="connsiteX1115" fmla="*/ 112856 w 614938"/>
                  <a:gd name="connsiteY1115" fmla="*/ 575884 h 716071"/>
                  <a:gd name="connsiteX1116" fmla="*/ 110464 w 614938"/>
                  <a:gd name="connsiteY1116" fmla="*/ 572834 h 716071"/>
                  <a:gd name="connsiteX1117" fmla="*/ 135464 w 614938"/>
                  <a:gd name="connsiteY1117" fmla="*/ 542511 h 716071"/>
                  <a:gd name="connsiteX1118" fmla="*/ 137796 w 614938"/>
                  <a:gd name="connsiteY1118" fmla="*/ 545442 h 716071"/>
                  <a:gd name="connsiteX1119" fmla="*/ 112617 w 614938"/>
                  <a:gd name="connsiteY1119" fmla="*/ 576183 h 716071"/>
                  <a:gd name="connsiteX1120" fmla="*/ 87977 w 614938"/>
                  <a:gd name="connsiteY1120" fmla="*/ 606266 h 716071"/>
                  <a:gd name="connsiteX1121" fmla="*/ 85584 w 614938"/>
                  <a:gd name="connsiteY1121" fmla="*/ 603096 h 716071"/>
                  <a:gd name="connsiteX1122" fmla="*/ 110225 w 614938"/>
                  <a:gd name="connsiteY1122" fmla="*/ 573133 h 716071"/>
                  <a:gd name="connsiteX1123" fmla="*/ 112617 w 614938"/>
                  <a:gd name="connsiteY1123" fmla="*/ 576183 h 716071"/>
                  <a:gd name="connsiteX1124" fmla="*/ 87797 w 614938"/>
                  <a:gd name="connsiteY1124" fmla="*/ 606505 h 716071"/>
                  <a:gd name="connsiteX1125" fmla="*/ 63456 w 614938"/>
                  <a:gd name="connsiteY1125" fmla="*/ 636229 h 716071"/>
                  <a:gd name="connsiteX1126" fmla="*/ 61004 w 614938"/>
                  <a:gd name="connsiteY1126" fmla="*/ 632940 h 716071"/>
                  <a:gd name="connsiteX1127" fmla="*/ 85345 w 614938"/>
                  <a:gd name="connsiteY1127" fmla="*/ 603335 h 716071"/>
                  <a:gd name="connsiteX1128" fmla="*/ 87797 w 614938"/>
                  <a:gd name="connsiteY1128" fmla="*/ 606505 h 716071"/>
                  <a:gd name="connsiteX1129" fmla="*/ 63217 w 614938"/>
                  <a:gd name="connsiteY1129" fmla="*/ 636528 h 716071"/>
                  <a:gd name="connsiteX1130" fmla="*/ 39174 w 614938"/>
                  <a:gd name="connsiteY1130" fmla="*/ 665894 h 716071"/>
                  <a:gd name="connsiteX1131" fmla="*/ 36662 w 614938"/>
                  <a:gd name="connsiteY1131" fmla="*/ 662425 h 716071"/>
                  <a:gd name="connsiteX1132" fmla="*/ 60764 w 614938"/>
                  <a:gd name="connsiteY1132" fmla="*/ 633179 h 716071"/>
                  <a:gd name="connsiteX1133" fmla="*/ 63217 w 614938"/>
                  <a:gd name="connsiteY1133" fmla="*/ 636528 h 716071"/>
                  <a:gd name="connsiteX1134" fmla="*/ 19437 w 614938"/>
                  <a:gd name="connsiteY1134" fmla="*/ 681264 h 716071"/>
                  <a:gd name="connsiteX1135" fmla="*/ 19437 w 614938"/>
                  <a:gd name="connsiteY1135" fmla="*/ 681264 h 716071"/>
                  <a:gd name="connsiteX1136" fmla="*/ 19437 w 614938"/>
                  <a:gd name="connsiteY1136" fmla="*/ 681264 h 716071"/>
                  <a:gd name="connsiteX1137" fmla="*/ 19497 w 614938"/>
                  <a:gd name="connsiteY1137" fmla="*/ 681264 h 716071"/>
                  <a:gd name="connsiteX1138" fmla="*/ 19497 w 614938"/>
                  <a:gd name="connsiteY1138" fmla="*/ 681264 h 716071"/>
                  <a:gd name="connsiteX1139" fmla="*/ 19497 w 614938"/>
                  <a:gd name="connsiteY1139" fmla="*/ 681264 h 716071"/>
                  <a:gd name="connsiteX1140" fmla="*/ 19497 w 614938"/>
                  <a:gd name="connsiteY1140" fmla="*/ 681264 h 716071"/>
                  <a:gd name="connsiteX1141" fmla="*/ 36363 w 614938"/>
                  <a:gd name="connsiteY1141" fmla="*/ 662784 h 716071"/>
                  <a:gd name="connsiteX1142" fmla="*/ 38875 w 614938"/>
                  <a:gd name="connsiteY1142" fmla="*/ 666252 h 716071"/>
                  <a:gd name="connsiteX1143" fmla="*/ 22667 w 614938"/>
                  <a:gd name="connsiteY1143" fmla="*/ 685092 h 716071"/>
                  <a:gd name="connsiteX1144" fmla="*/ 21052 w 614938"/>
                  <a:gd name="connsiteY1144" fmla="*/ 685092 h 716071"/>
                  <a:gd name="connsiteX1145" fmla="*/ 17524 w 614938"/>
                  <a:gd name="connsiteY1145" fmla="*/ 680786 h 716071"/>
                  <a:gd name="connsiteX1146" fmla="*/ 19437 w 614938"/>
                  <a:gd name="connsiteY1146" fmla="*/ 681264 h 716071"/>
                  <a:gd name="connsiteX1147" fmla="*/ 12560 w 614938"/>
                  <a:gd name="connsiteY1147" fmla="*/ 677317 h 716071"/>
                  <a:gd name="connsiteX1148" fmla="*/ 13158 w 614938"/>
                  <a:gd name="connsiteY1148" fmla="*/ 676599 h 716071"/>
                  <a:gd name="connsiteX1149" fmla="*/ 15729 w 614938"/>
                  <a:gd name="connsiteY1149" fmla="*/ 680786 h 716071"/>
                  <a:gd name="connsiteX1150" fmla="*/ 15131 w 614938"/>
                  <a:gd name="connsiteY1150" fmla="*/ 681503 h 716071"/>
                  <a:gd name="connsiteX1151" fmla="*/ 12560 w 614938"/>
                  <a:gd name="connsiteY1151" fmla="*/ 677317 h 716071"/>
                  <a:gd name="connsiteX1152" fmla="*/ 15311 w 614938"/>
                  <a:gd name="connsiteY1152" fmla="*/ 681862 h 716071"/>
                  <a:gd name="connsiteX1153" fmla="*/ 15909 w 614938"/>
                  <a:gd name="connsiteY1153" fmla="*/ 681085 h 716071"/>
                  <a:gd name="connsiteX1154" fmla="*/ 19737 w 614938"/>
                  <a:gd name="connsiteY1154" fmla="*/ 685690 h 716071"/>
                  <a:gd name="connsiteX1155" fmla="*/ 19139 w 614938"/>
                  <a:gd name="connsiteY1155" fmla="*/ 686467 h 716071"/>
                  <a:gd name="connsiteX1156" fmla="*/ 19139 w 614938"/>
                  <a:gd name="connsiteY1156" fmla="*/ 686467 h 716071"/>
                  <a:gd name="connsiteX1157" fmla="*/ 18899 w 614938"/>
                  <a:gd name="connsiteY1157" fmla="*/ 685929 h 716071"/>
                  <a:gd name="connsiteX1158" fmla="*/ 18899 w 614938"/>
                  <a:gd name="connsiteY1158" fmla="*/ 685929 h 716071"/>
                  <a:gd name="connsiteX1159" fmla="*/ 18899 w 614938"/>
                  <a:gd name="connsiteY1159" fmla="*/ 685929 h 716071"/>
                  <a:gd name="connsiteX1160" fmla="*/ 18899 w 614938"/>
                  <a:gd name="connsiteY1160" fmla="*/ 685929 h 716071"/>
                  <a:gd name="connsiteX1161" fmla="*/ 18899 w 614938"/>
                  <a:gd name="connsiteY1161" fmla="*/ 685869 h 716071"/>
                  <a:gd name="connsiteX1162" fmla="*/ 18660 w 614938"/>
                  <a:gd name="connsiteY1162" fmla="*/ 685570 h 716071"/>
                  <a:gd name="connsiteX1163" fmla="*/ 18660 w 614938"/>
                  <a:gd name="connsiteY1163" fmla="*/ 685570 h 716071"/>
                  <a:gd name="connsiteX1164" fmla="*/ 18660 w 614938"/>
                  <a:gd name="connsiteY1164" fmla="*/ 685570 h 716071"/>
                  <a:gd name="connsiteX1165" fmla="*/ 18660 w 614938"/>
                  <a:gd name="connsiteY1165" fmla="*/ 685570 h 716071"/>
                  <a:gd name="connsiteX1166" fmla="*/ 18660 w 614938"/>
                  <a:gd name="connsiteY1166" fmla="*/ 685570 h 716071"/>
                  <a:gd name="connsiteX1167" fmla="*/ 18660 w 614938"/>
                  <a:gd name="connsiteY1167" fmla="*/ 685570 h 716071"/>
                  <a:gd name="connsiteX1168" fmla="*/ 18660 w 614938"/>
                  <a:gd name="connsiteY1168" fmla="*/ 685570 h 716071"/>
                  <a:gd name="connsiteX1169" fmla="*/ 18660 w 614938"/>
                  <a:gd name="connsiteY1169" fmla="*/ 685570 h 716071"/>
                  <a:gd name="connsiteX1170" fmla="*/ 18660 w 614938"/>
                  <a:gd name="connsiteY1170" fmla="*/ 685570 h 716071"/>
                  <a:gd name="connsiteX1171" fmla="*/ 18301 w 614938"/>
                  <a:gd name="connsiteY1171" fmla="*/ 685331 h 716071"/>
                  <a:gd name="connsiteX1172" fmla="*/ 15311 w 614938"/>
                  <a:gd name="connsiteY1172" fmla="*/ 681862 h 716071"/>
                  <a:gd name="connsiteX1173" fmla="*/ 16387 w 614938"/>
                  <a:gd name="connsiteY1173" fmla="*/ 684673 h 716071"/>
                  <a:gd name="connsiteX1174" fmla="*/ 17464 w 614938"/>
                  <a:gd name="connsiteY1174" fmla="*/ 685331 h 716071"/>
                  <a:gd name="connsiteX1175" fmla="*/ 17284 w 614938"/>
                  <a:gd name="connsiteY1175" fmla="*/ 685391 h 716071"/>
                  <a:gd name="connsiteX1176" fmla="*/ 16328 w 614938"/>
                  <a:gd name="connsiteY1176" fmla="*/ 684673 h 716071"/>
                  <a:gd name="connsiteX1177" fmla="*/ 16387 w 614938"/>
                  <a:gd name="connsiteY1177" fmla="*/ 684673 h 716071"/>
                  <a:gd name="connsiteX1178" fmla="*/ 15431 w 614938"/>
                  <a:gd name="connsiteY1178" fmla="*/ 685032 h 716071"/>
                  <a:gd name="connsiteX1179" fmla="*/ 16328 w 614938"/>
                  <a:gd name="connsiteY1179" fmla="*/ 685809 h 716071"/>
                  <a:gd name="connsiteX1180" fmla="*/ 15909 w 614938"/>
                  <a:gd name="connsiteY1180" fmla="*/ 686049 h 716071"/>
                  <a:gd name="connsiteX1181" fmla="*/ 15191 w 614938"/>
                  <a:gd name="connsiteY1181" fmla="*/ 685151 h 716071"/>
                  <a:gd name="connsiteX1182" fmla="*/ 15431 w 614938"/>
                  <a:gd name="connsiteY1182" fmla="*/ 685032 h 716071"/>
                  <a:gd name="connsiteX1183" fmla="*/ 16567 w 614938"/>
                  <a:gd name="connsiteY1183" fmla="*/ 686108 h 716071"/>
                  <a:gd name="connsiteX1184" fmla="*/ 17644 w 614938"/>
                  <a:gd name="connsiteY1184" fmla="*/ 687424 h 716071"/>
                  <a:gd name="connsiteX1185" fmla="*/ 17404 w 614938"/>
                  <a:gd name="connsiteY1185" fmla="*/ 687604 h 716071"/>
                  <a:gd name="connsiteX1186" fmla="*/ 16148 w 614938"/>
                  <a:gd name="connsiteY1186" fmla="*/ 686348 h 716071"/>
                  <a:gd name="connsiteX1187" fmla="*/ 16567 w 614938"/>
                  <a:gd name="connsiteY1187" fmla="*/ 686108 h 716071"/>
                  <a:gd name="connsiteX1188" fmla="*/ 17882 w 614938"/>
                  <a:gd name="connsiteY1188" fmla="*/ 687783 h 716071"/>
                  <a:gd name="connsiteX1189" fmla="*/ 18122 w 614938"/>
                  <a:gd name="connsiteY1189" fmla="*/ 688202 h 716071"/>
                  <a:gd name="connsiteX1190" fmla="*/ 17703 w 614938"/>
                  <a:gd name="connsiteY1190" fmla="*/ 687903 h 716071"/>
                  <a:gd name="connsiteX1191" fmla="*/ 17882 w 614938"/>
                  <a:gd name="connsiteY1191" fmla="*/ 687783 h 716071"/>
                  <a:gd name="connsiteX1192" fmla="*/ 19437 w 614938"/>
                  <a:gd name="connsiteY1192" fmla="*/ 686826 h 716071"/>
                  <a:gd name="connsiteX1193" fmla="*/ 20036 w 614938"/>
                  <a:gd name="connsiteY1193" fmla="*/ 686049 h 716071"/>
                  <a:gd name="connsiteX1194" fmla="*/ 24820 w 614938"/>
                  <a:gd name="connsiteY1194" fmla="*/ 690714 h 716071"/>
                  <a:gd name="connsiteX1195" fmla="*/ 24222 w 614938"/>
                  <a:gd name="connsiteY1195" fmla="*/ 691491 h 716071"/>
                  <a:gd name="connsiteX1196" fmla="*/ 19437 w 614938"/>
                  <a:gd name="connsiteY1196" fmla="*/ 686826 h 716071"/>
                  <a:gd name="connsiteX1197" fmla="*/ 24581 w 614938"/>
                  <a:gd name="connsiteY1197" fmla="*/ 691790 h 716071"/>
                  <a:gd name="connsiteX1198" fmla="*/ 25179 w 614938"/>
                  <a:gd name="connsiteY1198" fmla="*/ 691013 h 716071"/>
                  <a:gd name="connsiteX1199" fmla="*/ 30621 w 614938"/>
                  <a:gd name="connsiteY1199" fmla="*/ 695379 h 716071"/>
                  <a:gd name="connsiteX1200" fmla="*/ 30023 w 614938"/>
                  <a:gd name="connsiteY1200" fmla="*/ 696156 h 716071"/>
                  <a:gd name="connsiteX1201" fmla="*/ 24581 w 614938"/>
                  <a:gd name="connsiteY1201" fmla="*/ 691790 h 716071"/>
                  <a:gd name="connsiteX1202" fmla="*/ 30980 w 614938"/>
                  <a:gd name="connsiteY1202" fmla="*/ 695618 h 716071"/>
                  <a:gd name="connsiteX1203" fmla="*/ 36662 w 614938"/>
                  <a:gd name="connsiteY1203" fmla="*/ 699386 h 716071"/>
                  <a:gd name="connsiteX1204" fmla="*/ 36064 w 614938"/>
                  <a:gd name="connsiteY1204" fmla="*/ 700163 h 716071"/>
                  <a:gd name="connsiteX1205" fmla="*/ 30383 w 614938"/>
                  <a:gd name="connsiteY1205" fmla="*/ 696455 h 716071"/>
                  <a:gd name="connsiteX1206" fmla="*/ 30980 w 614938"/>
                  <a:gd name="connsiteY1206" fmla="*/ 695618 h 716071"/>
                  <a:gd name="connsiteX1207" fmla="*/ 35167 w 614938"/>
                  <a:gd name="connsiteY1207" fmla="*/ 701658 h 716071"/>
                  <a:gd name="connsiteX1208" fmla="*/ 35107 w 614938"/>
                  <a:gd name="connsiteY1208" fmla="*/ 701838 h 716071"/>
                  <a:gd name="connsiteX1209" fmla="*/ 34748 w 614938"/>
                  <a:gd name="connsiteY1209" fmla="*/ 701539 h 716071"/>
                  <a:gd name="connsiteX1210" fmla="*/ 35167 w 614938"/>
                  <a:gd name="connsiteY1210" fmla="*/ 701658 h 716071"/>
                  <a:gd name="connsiteX1211" fmla="*/ 35406 w 614938"/>
                  <a:gd name="connsiteY1211" fmla="*/ 702077 h 716071"/>
                  <a:gd name="connsiteX1212" fmla="*/ 35526 w 614938"/>
                  <a:gd name="connsiteY1212" fmla="*/ 701778 h 716071"/>
                  <a:gd name="connsiteX1213" fmla="*/ 37081 w 614938"/>
                  <a:gd name="connsiteY1213" fmla="*/ 702555 h 716071"/>
                  <a:gd name="connsiteX1214" fmla="*/ 36901 w 614938"/>
                  <a:gd name="connsiteY1214" fmla="*/ 703034 h 716071"/>
                  <a:gd name="connsiteX1215" fmla="*/ 35406 w 614938"/>
                  <a:gd name="connsiteY1215" fmla="*/ 702077 h 716071"/>
                  <a:gd name="connsiteX1216" fmla="*/ 37261 w 614938"/>
                  <a:gd name="connsiteY1216" fmla="*/ 703273 h 716071"/>
                  <a:gd name="connsiteX1217" fmla="*/ 37439 w 614938"/>
                  <a:gd name="connsiteY1217" fmla="*/ 702854 h 716071"/>
                  <a:gd name="connsiteX1218" fmla="*/ 38456 w 614938"/>
                  <a:gd name="connsiteY1218" fmla="*/ 703572 h 716071"/>
                  <a:gd name="connsiteX1219" fmla="*/ 38337 w 614938"/>
                  <a:gd name="connsiteY1219" fmla="*/ 703871 h 716071"/>
                  <a:gd name="connsiteX1220" fmla="*/ 37261 w 614938"/>
                  <a:gd name="connsiteY1220" fmla="*/ 703273 h 716071"/>
                  <a:gd name="connsiteX1221" fmla="*/ 37679 w 614938"/>
                  <a:gd name="connsiteY1221" fmla="*/ 701778 h 716071"/>
                  <a:gd name="connsiteX1222" fmla="*/ 37679 w 614938"/>
                  <a:gd name="connsiteY1222" fmla="*/ 701598 h 716071"/>
                  <a:gd name="connsiteX1223" fmla="*/ 38636 w 614938"/>
                  <a:gd name="connsiteY1223" fmla="*/ 702555 h 716071"/>
                  <a:gd name="connsiteX1224" fmla="*/ 38636 w 614938"/>
                  <a:gd name="connsiteY1224" fmla="*/ 702615 h 716071"/>
                  <a:gd name="connsiteX1225" fmla="*/ 37679 w 614938"/>
                  <a:gd name="connsiteY1225" fmla="*/ 701778 h 716071"/>
                  <a:gd name="connsiteX1226" fmla="*/ 37439 w 614938"/>
                  <a:gd name="connsiteY1226" fmla="*/ 700641 h 716071"/>
                  <a:gd name="connsiteX1227" fmla="*/ 37439 w 614938"/>
                  <a:gd name="connsiteY1227" fmla="*/ 700641 h 716071"/>
                  <a:gd name="connsiteX1228" fmla="*/ 37439 w 614938"/>
                  <a:gd name="connsiteY1228" fmla="*/ 700641 h 716071"/>
                  <a:gd name="connsiteX1229" fmla="*/ 37439 w 614938"/>
                  <a:gd name="connsiteY1229" fmla="*/ 700641 h 716071"/>
                  <a:gd name="connsiteX1230" fmla="*/ 37439 w 614938"/>
                  <a:gd name="connsiteY1230" fmla="*/ 700641 h 716071"/>
                  <a:gd name="connsiteX1231" fmla="*/ 37380 w 614938"/>
                  <a:gd name="connsiteY1231" fmla="*/ 700582 h 716071"/>
                  <a:gd name="connsiteX1232" fmla="*/ 37380 w 614938"/>
                  <a:gd name="connsiteY1232" fmla="*/ 700582 h 716071"/>
                  <a:gd name="connsiteX1233" fmla="*/ 37380 w 614938"/>
                  <a:gd name="connsiteY1233" fmla="*/ 700582 h 716071"/>
                  <a:gd name="connsiteX1234" fmla="*/ 37081 w 614938"/>
                  <a:gd name="connsiteY1234" fmla="*/ 700402 h 716071"/>
                  <a:gd name="connsiteX1235" fmla="*/ 37021 w 614938"/>
                  <a:gd name="connsiteY1235" fmla="*/ 700402 h 716071"/>
                  <a:gd name="connsiteX1236" fmla="*/ 36961 w 614938"/>
                  <a:gd name="connsiteY1236" fmla="*/ 700402 h 716071"/>
                  <a:gd name="connsiteX1237" fmla="*/ 36423 w 614938"/>
                  <a:gd name="connsiteY1237" fmla="*/ 700283 h 716071"/>
                  <a:gd name="connsiteX1238" fmla="*/ 37021 w 614938"/>
                  <a:gd name="connsiteY1238" fmla="*/ 699565 h 716071"/>
                  <a:gd name="connsiteX1239" fmla="*/ 42464 w 614938"/>
                  <a:gd name="connsiteY1239" fmla="*/ 702376 h 716071"/>
                  <a:gd name="connsiteX1240" fmla="*/ 41865 w 614938"/>
                  <a:gd name="connsiteY1240" fmla="*/ 703153 h 716071"/>
                  <a:gd name="connsiteX1241" fmla="*/ 37799 w 614938"/>
                  <a:gd name="connsiteY1241" fmla="*/ 701060 h 716071"/>
                  <a:gd name="connsiteX1242" fmla="*/ 37439 w 614938"/>
                  <a:gd name="connsiteY1242" fmla="*/ 700641 h 716071"/>
                  <a:gd name="connsiteX1243" fmla="*/ 42882 w 614938"/>
                  <a:gd name="connsiteY1243" fmla="*/ 702615 h 716071"/>
                  <a:gd name="connsiteX1244" fmla="*/ 47727 w 614938"/>
                  <a:gd name="connsiteY1244" fmla="*/ 704350 h 716071"/>
                  <a:gd name="connsiteX1245" fmla="*/ 47128 w 614938"/>
                  <a:gd name="connsiteY1245" fmla="*/ 705067 h 716071"/>
                  <a:gd name="connsiteX1246" fmla="*/ 42284 w 614938"/>
                  <a:gd name="connsiteY1246" fmla="*/ 703333 h 716071"/>
                  <a:gd name="connsiteX1247" fmla="*/ 42882 w 614938"/>
                  <a:gd name="connsiteY1247" fmla="*/ 702615 h 716071"/>
                  <a:gd name="connsiteX1248" fmla="*/ 48145 w 614938"/>
                  <a:gd name="connsiteY1248" fmla="*/ 704469 h 716071"/>
                  <a:gd name="connsiteX1249" fmla="*/ 51913 w 614938"/>
                  <a:gd name="connsiteY1249" fmla="*/ 705007 h 716071"/>
                  <a:gd name="connsiteX1250" fmla="*/ 51375 w 614938"/>
                  <a:gd name="connsiteY1250" fmla="*/ 705665 h 716071"/>
                  <a:gd name="connsiteX1251" fmla="*/ 47607 w 614938"/>
                  <a:gd name="connsiteY1251" fmla="*/ 705127 h 716071"/>
                  <a:gd name="connsiteX1252" fmla="*/ 48145 w 614938"/>
                  <a:gd name="connsiteY1252" fmla="*/ 704469 h 716071"/>
                  <a:gd name="connsiteX1253" fmla="*/ 52451 w 614938"/>
                  <a:gd name="connsiteY1253" fmla="*/ 705007 h 716071"/>
                  <a:gd name="connsiteX1254" fmla="*/ 54843 w 614938"/>
                  <a:gd name="connsiteY1254" fmla="*/ 704469 h 716071"/>
                  <a:gd name="connsiteX1255" fmla="*/ 54425 w 614938"/>
                  <a:gd name="connsiteY1255" fmla="*/ 704948 h 716071"/>
                  <a:gd name="connsiteX1256" fmla="*/ 52033 w 614938"/>
                  <a:gd name="connsiteY1256" fmla="*/ 705486 h 716071"/>
                  <a:gd name="connsiteX1257" fmla="*/ 52451 w 614938"/>
                  <a:gd name="connsiteY1257" fmla="*/ 705007 h 716071"/>
                  <a:gd name="connsiteX1258" fmla="*/ 55382 w 614938"/>
                  <a:gd name="connsiteY1258" fmla="*/ 703751 h 716071"/>
                  <a:gd name="connsiteX1259" fmla="*/ 55083 w 614938"/>
                  <a:gd name="connsiteY1259" fmla="*/ 702914 h 716071"/>
                  <a:gd name="connsiteX1260" fmla="*/ 56399 w 614938"/>
                  <a:gd name="connsiteY1260" fmla="*/ 701359 h 716071"/>
                  <a:gd name="connsiteX1261" fmla="*/ 56698 w 614938"/>
                  <a:gd name="connsiteY1261" fmla="*/ 702137 h 716071"/>
                  <a:gd name="connsiteX1262" fmla="*/ 55382 w 614938"/>
                  <a:gd name="connsiteY1262" fmla="*/ 703751 h 716071"/>
                  <a:gd name="connsiteX1263" fmla="*/ 54066 w 614938"/>
                  <a:gd name="connsiteY1263" fmla="*/ 699027 h 716071"/>
                  <a:gd name="connsiteX1264" fmla="*/ 55262 w 614938"/>
                  <a:gd name="connsiteY1264" fmla="*/ 697472 h 716071"/>
                  <a:gd name="connsiteX1265" fmla="*/ 56399 w 614938"/>
                  <a:gd name="connsiteY1265" fmla="*/ 698130 h 716071"/>
                  <a:gd name="connsiteX1266" fmla="*/ 56339 w 614938"/>
                  <a:gd name="connsiteY1266" fmla="*/ 700641 h 716071"/>
                  <a:gd name="connsiteX1267" fmla="*/ 54066 w 614938"/>
                  <a:gd name="connsiteY1267" fmla="*/ 699027 h 716071"/>
                  <a:gd name="connsiteX1268" fmla="*/ 55382 w 614938"/>
                  <a:gd name="connsiteY1268" fmla="*/ 697233 h 716071"/>
                  <a:gd name="connsiteX1269" fmla="*/ 55801 w 614938"/>
                  <a:gd name="connsiteY1269" fmla="*/ 696634 h 716071"/>
                  <a:gd name="connsiteX1270" fmla="*/ 56159 w 614938"/>
                  <a:gd name="connsiteY1270" fmla="*/ 697711 h 716071"/>
                  <a:gd name="connsiteX1271" fmla="*/ 55382 w 614938"/>
                  <a:gd name="connsiteY1271" fmla="*/ 697233 h 716071"/>
                  <a:gd name="connsiteX1272" fmla="*/ 52691 w 614938"/>
                  <a:gd name="connsiteY1272" fmla="*/ 700641 h 716071"/>
                  <a:gd name="connsiteX1273" fmla="*/ 53827 w 614938"/>
                  <a:gd name="connsiteY1273" fmla="*/ 699206 h 716071"/>
                  <a:gd name="connsiteX1274" fmla="*/ 56219 w 614938"/>
                  <a:gd name="connsiteY1274" fmla="*/ 700941 h 716071"/>
                  <a:gd name="connsiteX1275" fmla="*/ 54843 w 614938"/>
                  <a:gd name="connsiteY1275" fmla="*/ 702555 h 716071"/>
                  <a:gd name="connsiteX1276" fmla="*/ 52691 w 614938"/>
                  <a:gd name="connsiteY1276" fmla="*/ 700641 h 716071"/>
                  <a:gd name="connsiteX1277" fmla="*/ 55143 w 614938"/>
                  <a:gd name="connsiteY1277" fmla="*/ 703991 h 716071"/>
                  <a:gd name="connsiteX1278" fmla="*/ 52451 w 614938"/>
                  <a:gd name="connsiteY1278" fmla="*/ 704589 h 716071"/>
                  <a:gd name="connsiteX1279" fmla="*/ 52212 w 614938"/>
                  <a:gd name="connsiteY1279" fmla="*/ 703572 h 716071"/>
                  <a:gd name="connsiteX1280" fmla="*/ 54843 w 614938"/>
                  <a:gd name="connsiteY1280" fmla="*/ 702974 h 716071"/>
                  <a:gd name="connsiteX1281" fmla="*/ 55143 w 614938"/>
                  <a:gd name="connsiteY1281" fmla="*/ 703991 h 716071"/>
                  <a:gd name="connsiteX1282" fmla="*/ 60166 w 614938"/>
                  <a:gd name="connsiteY1282" fmla="*/ 678393 h 716071"/>
                  <a:gd name="connsiteX1283" fmla="*/ 83491 w 614938"/>
                  <a:gd name="connsiteY1283" fmla="*/ 648968 h 716071"/>
                  <a:gd name="connsiteX1284" fmla="*/ 86302 w 614938"/>
                  <a:gd name="connsiteY1284" fmla="*/ 649028 h 716071"/>
                  <a:gd name="connsiteX1285" fmla="*/ 63157 w 614938"/>
                  <a:gd name="connsiteY1285" fmla="*/ 678393 h 716071"/>
                  <a:gd name="connsiteX1286" fmla="*/ 60166 w 614938"/>
                  <a:gd name="connsiteY1286" fmla="*/ 678393 h 716071"/>
                  <a:gd name="connsiteX1287" fmla="*/ 83790 w 614938"/>
                  <a:gd name="connsiteY1287" fmla="*/ 648609 h 716071"/>
                  <a:gd name="connsiteX1288" fmla="*/ 107414 w 614938"/>
                  <a:gd name="connsiteY1288" fmla="*/ 618765 h 716071"/>
                  <a:gd name="connsiteX1289" fmla="*/ 110105 w 614938"/>
                  <a:gd name="connsiteY1289" fmla="*/ 618885 h 716071"/>
                  <a:gd name="connsiteX1290" fmla="*/ 86661 w 614938"/>
                  <a:gd name="connsiteY1290" fmla="*/ 648609 h 716071"/>
                  <a:gd name="connsiteX1291" fmla="*/ 83790 w 614938"/>
                  <a:gd name="connsiteY1291" fmla="*/ 648609 h 716071"/>
                  <a:gd name="connsiteX1292" fmla="*/ 107653 w 614938"/>
                  <a:gd name="connsiteY1292" fmla="*/ 618466 h 716071"/>
                  <a:gd name="connsiteX1293" fmla="*/ 131576 w 614938"/>
                  <a:gd name="connsiteY1293" fmla="*/ 588264 h 716071"/>
                  <a:gd name="connsiteX1294" fmla="*/ 134088 w 614938"/>
                  <a:gd name="connsiteY1294" fmla="*/ 588443 h 716071"/>
                  <a:gd name="connsiteX1295" fmla="*/ 110345 w 614938"/>
                  <a:gd name="connsiteY1295" fmla="*/ 618586 h 716071"/>
                  <a:gd name="connsiteX1296" fmla="*/ 107653 w 614938"/>
                  <a:gd name="connsiteY1296" fmla="*/ 618466 h 716071"/>
                  <a:gd name="connsiteX1297" fmla="*/ 131875 w 614938"/>
                  <a:gd name="connsiteY1297" fmla="*/ 587905 h 716071"/>
                  <a:gd name="connsiteX1298" fmla="*/ 156097 w 614938"/>
                  <a:gd name="connsiteY1298" fmla="*/ 557343 h 716071"/>
                  <a:gd name="connsiteX1299" fmla="*/ 158489 w 614938"/>
                  <a:gd name="connsiteY1299" fmla="*/ 557643 h 716071"/>
                  <a:gd name="connsiteX1300" fmla="*/ 134387 w 614938"/>
                  <a:gd name="connsiteY1300" fmla="*/ 588144 h 716071"/>
                  <a:gd name="connsiteX1301" fmla="*/ 131875 w 614938"/>
                  <a:gd name="connsiteY1301" fmla="*/ 587905 h 716071"/>
                  <a:gd name="connsiteX1302" fmla="*/ 156336 w 614938"/>
                  <a:gd name="connsiteY1302" fmla="*/ 556985 h 716071"/>
                  <a:gd name="connsiteX1303" fmla="*/ 180857 w 614938"/>
                  <a:gd name="connsiteY1303" fmla="*/ 526004 h 716071"/>
                  <a:gd name="connsiteX1304" fmla="*/ 183071 w 614938"/>
                  <a:gd name="connsiteY1304" fmla="*/ 526363 h 716071"/>
                  <a:gd name="connsiteX1305" fmla="*/ 158669 w 614938"/>
                  <a:gd name="connsiteY1305" fmla="*/ 557284 h 716071"/>
                  <a:gd name="connsiteX1306" fmla="*/ 156336 w 614938"/>
                  <a:gd name="connsiteY1306" fmla="*/ 556985 h 716071"/>
                  <a:gd name="connsiteX1307" fmla="*/ 181156 w 614938"/>
                  <a:gd name="connsiteY1307" fmla="*/ 525646 h 716071"/>
                  <a:gd name="connsiteX1308" fmla="*/ 206036 w 614938"/>
                  <a:gd name="connsiteY1308" fmla="*/ 494247 h 716071"/>
                  <a:gd name="connsiteX1309" fmla="*/ 208129 w 614938"/>
                  <a:gd name="connsiteY1309" fmla="*/ 494666 h 716071"/>
                  <a:gd name="connsiteX1310" fmla="*/ 183429 w 614938"/>
                  <a:gd name="connsiteY1310" fmla="*/ 526004 h 716071"/>
                  <a:gd name="connsiteX1311" fmla="*/ 181156 w 614938"/>
                  <a:gd name="connsiteY1311" fmla="*/ 525646 h 716071"/>
                  <a:gd name="connsiteX1312" fmla="*/ 206216 w 614938"/>
                  <a:gd name="connsiteY1312" fmla="*/ 493948 h 716071"/>
                  <a:gd name="connsiteX1313" fmla="*/ 231395 w 614938"/>
                  <a:gd name="connsiteY1313" fmla="*/ 462190 h 716071"/>
                  <a:gd name="connsiteX1314" fmla="*/ 233368 w 614938"/>
                  <a:gd name="connsiteY1314" fmla="*/ 462669 h 716071"/>
                  <a:gd name="connsiteX1315" fmla="*/ 208309 w 614938"/>
                  <a:gd name="connsiteY1315" fmla="*/ 494426 h 716071"/>
                  <a:gd name="connsiteX1316" fmla="*/ 206216 w 614938"/>
                  <a:gd name="connsiteY1316" fmla="*/ 493948 h 716071"/>
                  <a:gd name="connsiteX1317" fmla="*/ 231634 w 614938"/>
                  <a:gd name="connsiteY1317" fmla="*/ 461891 h 716071"/>
                  <a:gd name="connsiteX1318" fmla="*/ 257111 w 614938"/>
                  <a:gd name="connsiteY1318" fmla="*/ 429715 h 716071"/>
                  <a:gd name="connsiteX1319" fmla="*/ 258906 w 614938"/>
                  <a:gd name="connsiteY1319" fmla="*/ 430253 h 716071"/>
                  <a:gd name="connsiteX1320" fmla="*/ 233548 w 614938"/>
                  <a:gd name="connsiteY1320" fmla="*/ 462429 h 716071"/>
                  <a:gd name="connsiteX1321" fmla="*/ 231634 w 614938"/>
                  <a:gd name="connsiteY1321" fmla="*/ 461891 h 716071"/>
                  <a:gd name="connsiteX1322" fmla="*/ 257411 w 614938"/>
                  <a:gd name="connsiteY1322" fmla="*/ 429356 h 716071"/>
                  <a:gd name="connsiteX1323" fmla="*/ 283248 w 614938"/>
                  <a:gd name="connsiteY1323" fmla="*/ 396761 h 716071"/>
                  <a:gd name="connsiteX1324" fmla="*/ 284922 w 614938"/>
                  <a:gd name="connsiteY1324" fmla="*/ 397299 h 716071"/>
                  <a:gd name="connsiteX1325" fmla="*/ 259205 w 614938"/>
                  <a:gd name="connsiteY1325" fmla="*/ 429894 h 716071"/>
                  <a:gd name="connsiteX1326" fmla="*/ 257411 w 614938"/>
                  <a:gd name="connsiteY1326" fmla="*/ 429356 h 716071"/>
                  <a:gd name="connsiteX1327" fmla="*/ 283486 w 614938"/>
                  <a:gd name="connsiteY1327" fmla="*/ 396462 h 716071"/>
                  <a:gd name="connsiteX1328" fmla="*/ 309682 w 614938"/>
                  <a:gd name="connsiteY1328" fmla="*/ 363389 h 716071"/>
                  <a:gd name="connsiteX1329" fmla="*/ 311237 w 614938"/>
                  <a:gd name="connsiteY1329" fmla="*/ 363987 h 716071"/>
                  <a:gd name="connsiteX1330" fmla="*/ 285221 w 614938"/>
                  <a:gd name="connsiteY1330" fmla="*/ 397000 h 716071"/>
                  <a:gd name="connsiteX1331" fmla="*/ 283486 w 614938"/>
                  <a:gd name="connsiteY1331" fmla="*/ 396462 h 716071"/>
                  <a:gd name="connsiteX1332" fmla="*/ 309862 w 614938"/>
                  <a:gd name="connsiteY1332" fmla="*/ 363090 h 716071"/>
                  <a:gd name="connsiteX1333" fmla="*/ 336356 w 614938"/>
                  <a:gd name="connsiteY1333" fmla="*/ 329598 h 716071"/>
                  <a:gd name="connsiteX1334" fmla="*/ 337792 w 614938"/>
                  <a:gd name="connsiteY1334" fmla="*/ 330255 h 716071"/>
                  <a:gd name="connsiteX1335" fmla="*/ 311417 w 614938"/>
                  <a:gd name="connsiteY1335" fmla="*/ 363688 h 716071"/>
                  <a:gd name="connsiteX1336" fmla="*/ 309862 w 614938"/>
                  <a:gd name="connsiteY1336" fmla="*/ 363090 h 716071"/>
                  <a:gd name="connsiteX1337" fmla="*/ 336655 w 614938"/>
                  <a:gd name="connsiteY1337" fmla="*/ 329299 h 716071"/>
                  <a:gd name="connsiteX1338" fmla="*/ 363508 w 614938"/>
                  <a:gd name="connsiteY1338" fmla="*/ 295388 h 716071"/>
                  <a:gd name="connsiteX1339" fmla="*/ 364824 w 614938"/>
                  <a:gd name="connsiteY1339" fmla="*/ 296046 h 716071"/>
                  <a:gd name="connsiteX1340" fmla="*/ 338090 w 614938"/>
                  <a:gd name="connsiteY1340" fmla="*/ 329956 h 716071"/>
                  <a:gd name="connsiteX1341" fmla="*/ 336655 w 614938"/>
                  <a:gd name="connsiteY1341" fmla="*/ 329299 h 716071"/>
                  <a:gd name="connsiteX1342" fmla="*/ 389166 w 614938"/>
                  <a:gd name="connsiteY1342" fmla="*/ 259085 h 716071"/>
                  <a:gd name="connsiteX1343" fmla="*/ 414824 w 614938"/>
                  <a:gd name="connsiteY1343" fmla="*/ 226849 h 716071"/>
                  <a:gd name="connsiteX1344" fmla="*/ 416319 w 614938"/>
                  <a:gd name="connsiteY1344" fmla="*/ 228045 h 716071"/>
                  <a:gd name="connsiteX1345" fmla="*/ 390841 w 614938"/>
                  <a:gd name="connsiteY1345" fmla="*/ 260221 h 716071"/>
                  <a:gd name="connsiteX1346" fmla="*/ 389166 w 614938"/>
                  <a:gd name="connsiteY1346" fmla="*/ 259085 h 716071"/>
                  <a:gd name="connsiteX1347" fmla="*/ 412311 w 614938"/>
                  <a:gd name="connsiteY1347" fmla="*/ 224875 h 716071"/>
                  <a:gd name="connsiteX1348" fmla="*/ 386474 w 614938"/>
                  <a:gd name="connsiteY1348" fmla="*/ 257111 h 716071"/>
                  <a:gd name="connsiteX1349" fmla="*/ 384202 w 614938"/>
                  <a:gd name="connsiteY1349" fmla="*/ 255317 h 716071"/>
                  <a:gd name="connsiteX1350" fmla="*/ 410158 w 614938"/>
                  <a:gd name="connsiteY1350" fmla="*/ 223201 h 716071"/>
                  <a:gd name="connsiteX1351" fmla="*/ 412311 w 614938"/>
                  <a:gd name="connsiteY1351" fmla="*/ 224875 h 716071"/>
                  <a:gd name="connsiteX1352" fmla="*/ 383723 w 614938"/>
                  <a:gd name="connsiteY1352" fmla="*/ 255377 h 716071"/>
                  <a:gd name="connsiteX1353" fmla="*/ 356033 w 614938"/>
                  <a:gd name="connsiteY1353" fmla="*/ 289706 h 716071"/>
                  <a:gd name="connsiteX1354" fmla="*/ 353580 w 614938"/>
                  <a:gd name="connsiteY1354" fmla="*/ 287733 h 716071"/>
                  <a:gd name="connsiteX1355" fmla="*/ 381391 w 614938"/>
                  <a:gd name="connsiteY1355" fmla="*/ 253523 h 716071"/>
                  <a:gd name="connsiteX1356" fmla="*/ 383723 w 614938"/>
                  <a:gd name="connsiteY1356" fmla="*/ 255377 h 716071"/>
                  <a:gd name="connsiteX1357" fmla="*/ 381152 w 614938"/>
                  <a:gd name="connsiteY1357" fmla="*/ 253224 h 716071"/>
                  <a:gd name="connsiteX1358" fmla="*/ 353342 w 614938"/>
                  <a:gd name="connsiteY1358" fmla="*/ 287433 h 716071"/>
                  <a:gd name="connsiteX1359" fmla="*/ 351069 w 614938"/>
                  <a:gd name="connsiteY1359" fmla="*/ 285460 h 716071"/>
                  <a:gd name="connsiteX1360" fmla="*/ 378998 w 614938"/>
                  <a:gd name="connsiteY1360" fmla="*/ 251370 h 716071"/>
                  <a:gd name="connsiteX1361" fmla="*/ 381152 w 614938"/>
                  <a:gd name="connsiteY1361" fmla="*/ 253224 h 716071"/>
                  <a:gd name="connsiteX1362" fmla="*/ 378700 w 614938"/>
                  <a:gd name="connsiteY1362" fmla="*/ 251131 h 716071"/>
                  <a:gd name="connsiteX1363" fmla="*/ 350770 w 614938"/>
                  <a:gd name="connsiteY1363" fmla="*/ 285221 h 716071"/>
                  <a:gd name="connsiteX1364" fmla="*/ 348856 w 614938"/>
                  <a:gd name="connsiteY1364" fmla="*/ 283367 h 716071"/>
                  <a:gd name="connsiteX1365" fmla="*/ 376845 w 614938"/>
                  <a:gd name="connsiteY1365" fmla="*/ 249396 h 716071"/>
                  <a:gd name="connsiteX1366" fmla="*/ 378700 w 614938"/>
                  <a:gd name="connsiteY1366" fmla="*/ 251131 h 716071"/>
                  <a:gd name="connsiteX1367" fmla="*/ 376607 w 614938"/>
                  <a:gd name="connsiteY1367" fmla="*/ 249157 h 716071"/>
                  <a:gd name="connsiteX1368" fmla="*/ 348617 w 614938"/>
                  <a:gd name="connsiteY1368" fmla="*/ 283127 h 716071"/>
                  <a:gd name="connsiteX1369" fmla="*/ 347241 w 614938"/>
                  <a:gd name="connsiteY1369" fmla="*/ 281632 h 716071"/>
                  <a:gd name="connsiteX1370" fmla="*/ 375230 w 614938"/>
                  <a:gd name="connsiteY1370" fmla="*/ 247781 h 716071"/>
                  <a:gd name="connsiteX1371" fmla="*/ 376607 w 614938"/>
                  <a:gd name="connsiteY1371" fmla="*/ 249157 h 716071"/>
                  <a:gd name="connsiteX1372" fmla="*/ 348437 w 614938"/>
                  <a:gd name="connsiteY1372" fmla="*/ 283367 h 716071"/>
                  <a:gd name="connsiteX1373" fmla="*/ 320806 w 614938"/>
                  <a:gd name="connsiteY1373" fmla="*/ 316859 h 716071"/>
                  <a:gd name="connsiteX1374" fmla="*/ 319371 w 614938"/>
                  <a:gd name="connsiteY1374" fmla="*/ 315244 h 716071"/>
                  <a:gd name="connsiteX1375" fmla="*/ 347002 w 614938"/>
                  <a:gd name="connsiteY1375" fmla="*/ 281871 h 716071"/>
                  <a:gd name="connsiteX1376" fmla="*/ 348437 w 614938"/>
                  <a:gd name="connsiteY1376" fmla="*/ 283367 h 716071"/>
                  <a:gd name="connsiteX1377" fmla="*/ 320567 w 614938"/>
                  <a:gd name="connsiteY1377" fmla="*/ 317158 h 716071"/>
                  <a:gd name="connsiteX1378" fmla="*/ 293295 w 614938"/>
                  <a:gd name="connsiteY1378" fmla="*/ 350231 h 716071"/>
                  <a:gd name="connsiteX1379" fmla="*/ 291860 w 614938"/>
                  <a:gd name="connsiteY1379" fmla="*/ 348437 h 716071"/>
                  <a:gd name="connsiteX1380" fmla="*/ 319132 w 614938"/>
                  <a:gd name="connsiteY1380" fmla="*/ 315483 h 716071"/>
                  <a:gd name="connsiteX1381" fmla="*/ 320567 w 614938"/>
                  <a:gd name="connsiteY1381" fmla="*/ 317158 h 716071"/>
                  <a:gd name="connsiteX1382" fmla="*/ 293115 w 614938"/>
                  <a:gd name="connsiteY1382" fmla="*/ 350530 h 716071"/>
                  <a:gd name="connsiteX1383" fmla="*/ 266202 w 614938"/>
                  <a:gd name="connsiteY1383" fmla="*/ 383185 h 716071"/>
                  <a:gd name="connsiteX1384" fmla="*/ 264707 w 614938"/>
                  <a:gd name="connsiteY1384" fmla="*/ 381271 h 716071"/>
                  <a:gd name="connsiteX1385" fmla="*/ 291620 w 614938"/>
                  <a:gd name="connsiteY1385" fmla="*/ 348736 h 716071"/>
                  <a:gd name="connsiteX1386" fmla="*/ 293115 w 614938"/>
                  <a:gd name="connsiteY1386" fmla="*/ 350530 h 716071"/>
                  <a:gd name="connsiteX1387" fmla="*/ 265963 w 614938"/>
                  <a:gd name="connsiteY1387" fmla="*/ 383484 h 716071"/>
                  <a:gd name="connsiteX1388" fmla="*/ 239408 w 614938"/>
                  <a:gd name="connsiteY1388" fmla="*/ 415720 h 716071"/>
                  <a:gd name="connsiteX1389" fmla="*/ 237913 w 614938"/>
                  <a:gd name="connsiteY1389" fmla="*/ 413686 h 716071"/>
                  <a:gd name="connsiteX1390" fmla="*/ 264468 w 614938"/>
                  <a:gd name="connsiteY1390" fmla="*/ 381570 h 716071"/>
                  <a:gd name="connsiteX1391" fmla="*/ 265963 w 614938"/>
                  <a:gd name="connsiteY1391" fmla="*/ 383484 h 716071"/>
                  <a:gd name="connsiteX1392" fmla="*/ 239169 w 614938"/>
                  <a:gd name="connsiteY1392" fmla="*/ 416019 h 716071"/>
                  <a:gd name="connsiteX1393" fmla="*/ 212914 w 614938"/>
                  <a:gd name="connsiteY1393" fmla="*/ 447836 h 716071"/>
                  <a:gd name="connsiteX1394" fmla="*/ 211419 w 614938"/>
                  <a:gd name="connsiteY1394" fmla="*/ 445624 h 716071"/>
                  <a:gd name="connsiteX1395" fmla="*/ 237674 w 614938"/>
                  <a:gd name="connsiteY1395" fmla="*/ 413926 h 716071"/>
                  <a:gd name="connsiteX1396" fmla="*/ 239169 w 614938"/>
                  <a:gd name="connsiteY1396" fmla="*/ 416019 h 716071"/>
                  <a:gd name="connsiteX1397" fmla="*/ 212675 w 614938"/>
                  <a:gd name="connsiteY1397" fmla="*/ 448136 h 716071"/>
                  <a:gd name="connsiteX1398" fmla="*/ 186779 w 614938"/>
                  <a:gd name="connsiteY1398" fmla="*/ 479594 h 716071"/>
                  <a:gd name="connsiteX1399" fmla="*/ 185283 w 614938"/>
                  <a:gd name="connsiteY1399" fmla="*/ 477262 h 716071"/>
                  <a:gd name="connsiteX1400" fmla="*/ 211180 w 614938"/>
                  <a:gd name="connsiteY1400" fmla="*/ 445982 h 716071"/>
                  <a:gd name="connsiteX1401" fmla="*/ 212675 w 614938"/>
                  <a:gd name="connsiteY1401" fmla="*/ 448136 h 716071"/>
                  <a:gd name="connsiteX1402" fmla="*/ 186539 w 614938"/>
                  <a:gd name="connsiteY1402" fmla="*/ 479893 h 716071"/>
                  <a:gd name="connsiteX1403" fmla="*/ 160941 w 614938"/>
                  <a:gd name="connsiteY1403" fmla="*/ 510933 h 716071"/>
                  <a:gd name="connsiteX1404" fmla="*/ 159386 w 614938"/>
                  <a:gd name="connsiteY1404" fmla="*/ 508481 h 716071"/>
                  <a:gd name="connsiteX1405" fmla="*/ 184984 w 614938"/>
                  <a:gd name="connsiteY1405" fmla="*/ 477561 h 716071"/>
                  <a:gd name="connsiteX1406" fmla="*/ 186539 w 614938"/>
                  <a:gd name="connsiteY1406" fmla="*/ 479893 h 716071"/>
                  <a:gd name="connsiteX1407" fmla="*/ 160762 w 614938"/>
                  <a:gd name="connsiteY1407" fmla="*/ 511232 h 716071"/>
                  <a:gd name="connsiteX1408" fmla="*/ 135523 w 614938"/>
                  <a:gd name="connsiteY1408" fmla="*/ 541913 h 716071"/>
                  <a:gd name="connsiteX1409" fmla="*/ 133968 w 614938"/>
                  <a:gd name="connsiteY1409" fmla="*/ 539282 h 716071"/>
                  <a:gd name="connsiteX1410" fmla="*/ 159207 w 614938"/>
                  <a:gd name="connsiteY1410" fmla="*/ 508780 h 716071"/>
                  <a:gd name="connsiteX1411" fmla="*/ 160762 w 614938"/>
                  <a:gd name="connsiteY1411" fmla="*/ 511232 h 716071"/>
                  <a:gd name="connsiteX1412" fmla="*/ 135225 w 614938"/>
                  <a:gd name="connsiteY1412" fmla="*/ 542212 h 716071"/>
                  <a:gd name="connsiteX1413" fmla="*/ 110285 w 614938"/>
                  <a:gd name="connsiteY1413" fmla="*/ 572534 h 716071"/>
                  <a:gd name="connsiteX1414" fmla="*/ 108730 w 614938"/>
                  <a:gd name="connsiteY1414" fmla="*/ 569783 h 716071"/>
                  <a:gd name="connsiteX1415" fmla="*/ 133670 w 614938"/>
                  <a:gd name="connsiteY1415" fmla="*/ 539640 h 716071"/>
                  <a:gd name="connsiteX1416" fmla="*/ 135225 w 614938"/>
                  <a:gd name="connsiteY1416" fmla="*/ 542212 h 716071"/>
                  <a:gd name="connsiteX1417" fmla="*/ 110045 w 614938"/>
                  <a:gd name="connsiteY1417" fmla="*/ 572834 h 716071"/>
                  <a:gd name="connsiteX1418" fmla="*/ 85405 w 614938"/>
                  <a:gd name="connsiteY1418" fmla="*/ 602737 h 716071"/>
                  <a:gd name="connsiteX1419" fmla="*/ 83850 w 614938"/>
                  <a:gd name="connsiteY1419" fmla="*/ 599807 h 716071"/>
                  <a:gd name="connsiteX1420" fmla="*/ 108490 w 614938"/>
                  <a:gd name="connsiteY1420" fmla="*/ 570023 h 716071"/>
                  <a:gd name="connsiteX1421" fmla="*/ 110045 w 614938"/>
                  <a:gd name="connsiteY1421" fmla="*/ 572834 h 716071"/>
                  <a:gd name="connsiteX1422" fmla="*/ 85106 w 614938"/>
                  <a:gd name="connsiteY1422" fmla="*/ 603036 h 716071"/>
                  <a:gd name="connsiteX1423" fmla="*/ 60764 w 614938"/>
                  <a:gd name="connsiteY1423" fmla="*/ 632581 h 716071"/>
                  <a:gd name="connsiteX1424" fmla="*/ 59209 w 614938"/>
                  <a:gd name="connsiteY1424" fmla="*/ 629471 h 716071"/>
                  <a:gd name="connsiteX1425" fmla="*/ 83551 w 614938"/>
                  <a:gd name="connsiteY1425" fmla="*/ 600046 h 716071"/>
                  <a:gd name="connsiteX1426" fmla="*/ 85106 w 614938"/>
                  <a:gd name="connsiteY1426" fmla="*/ 603036 h 716071"/>
                  <a:gd name="connsiteX1427" fmla="*/ 60525 w 614938"/>
                  <a:gd name="connsiteY1427" fmla="*/ 632880 h 716071"/>
                  <a:gd name="connsiteX1428" fmla="*/ 36483 w 614938"/>
                  <a:gd name="connsiteY1428" fmla="*/ 662066 h 716071"/>
                  <a:gd name="connsiteX1429" fmla="*/ 34988 w 614938"/>
                  <a:gd name="connsiteY1429" fmla="*/ 658836 h 716071"/>
                  <a:gd name="connsiteX1430" fmla="*/ 59030 w 614938"/>
                  <a:gd name="connsiteY1430" fmla="*/ 629770 h 716071"/>
                  <a:gd name="connsiteX1431" fmla="*/ 60525 w 614938"/>
                  <a:gd name="connsiteY1431" fmla="*/ 632880 h 716071"/>
                  <a:gd name="connsiteX1432" fmla="*/ 17046 w 614938"/>
                  <a:gd name="connsiteY1432" fmla="*/ 677376 h 716071"/>
                  <a:gd name="connsiteX1433" fmla="*/ 17046 w 614938"/>
                  <a:gd name="connsiteY1433" fmla="*/ 677376 h 716071"/>
                  <a:gd name="connsiteX1434" fmla="*/ 17106 w 614938"/>
                  <a:gd name="connsiteY1434" fmla="*/ 677376 h 716071"/>
                  <a:gd name="connsiteX1435" fmla="*/ 17165 w 614938"/>
                  <a:gd name="connsiteY1435" fmla="*/ 677376 h 716071"/>
                  <a:gd name="connsiteX1436" fmla="*/ 17165 w 614938"/>
                  <a:gd name="connsiteY1436" fmla="*/ 677376 h 716071"/>
                  <a:gd name="connsiteX1437" fmla="*/ 17225 w 614938"/>
                  <a:gd name="connsiteY1437" fmla="*/ 677317 h 716071"/>
                  <a:gd name="connsiteX1438" fmla="*/ 17225 w 614938"/>
                  <a:gd name="connsiteY1438" fmla="*/ 677317 h 716071"/>
                  <a:gd name="connsiteX1439" fmla="*/ 34688 w 614938"/>
                  <a:gd name="connsiteY1439" fmla="*/ 659075 h 716071"/>
                  <a:gd name="connsiteX1440" fmla="*/ 36184 w 614938"/>
                  <a:gd name="connsiteY1440" fmla="*/ 662305 h 716071"/>
                  <a:gd name="connsiteX1441" fmla="*/ 19258 w 614938"/>
                  <a:gd name="connsiteY1441" fmla="*/ 680786 h 716071"/>
                  <a:gd name="connsiteX1442" fmla="*/ 17225 w 614938"/>
                  <a:gd name="connsiteY1442" fmla="*/ 680247 h 716071"/>
                  <a:gd name="connsiteX1443" fmla="*/ 14833 w 614938"/>
                  <a:gd name="connsiteY1443" fmla="*/ 676360 h 716071"/>
                  <a:gd name="connsiteX1444" fmla="*/ 17046 w 614938"/>
                  <a:gd name="connsiteY1444" fmla="*/ 677376 h 716071"/>
                  <a:gd name="connsiteX1445" fmla="*/ 11603 w 614938"/>
                  <a:gd name="connsiteY1445" fmla="*/ 672233 h 716071"/>
                  <a:gd name="connsiteX1446" fmla="*/ 11244 w 614938"/>
                  <a:gd name="connsiteY1446" fmla="*/ 672652 h 716071"/>
                  <a:gd name="connsiteX1447" fmla="*/ 11423 w 614938"/>
                  <a:gd name="connsiteY1447" fmla="*/ 670499 h 716071"/>
                  <a:gd name="connsiteX1448" fmla="*/ 11783 w 614938"/>
                  <a:gd name="connsiteY1448" fmla="*/ 670080 h 716071"/>
                  <a:gd name="connsiteX1449" fmla="*/ 11603 w 614938"/>
                  <a:gd name="connsiteY1449" fmla="*/ 672233 h 716071"/>
                  <a:gd name="connsiteX1450" fmla="*/ 11125 w 614938"/>
                  <a:gd name="connsiteY1450" fmla="*/ 670439 h 716071"/>
                  <a:gd name="connsiteX1451" fmla="*/ 10885 w 614938"/>
                  <a:gd name="connsiteY1451" fmla="*/ 673070 h 716071"/>
                  <a:gd name="connsiteX1452" fmla="*/ 10108 w 614938"/>
                  <a:gd name="connsiteY1452" fmla="*/ 672592 h 716071"/>
                  <a:gd name="connsiteX1453" fmla="*/ 10228 w 614938"/>
                  <a:gd name="connsiteY1453" fmla="*/ 672233 h 716071"/>
                  <a:gd name="connsiteX1454" fmla="*/ 10228 w 614938"/>
                  <a:gd name="connsiteY1454" fmla="*/ 672233 h 716071"/>
                  <a:gd name="connsiteX1455" fmla="*/ 10228 w 614938"/>
                  <a:gd name="connsiteY1455" fmla="*/ 672233 h 716071"/>
                  <a:gd name="connsiteX1456" fmla="*/ 10228 w 614938"/>
                  <a:gd name="connsiteY1456" fmla="*/ 672233 h 716071"/>
                  <a:gd name="connsiteX1457" fmla="*/ 10228 w 614938"/>
                  <a:gd name="connsiteY1457" fmla="*/ 672233 h 716071"/>
                  <a:gd name="connsiteX1458" fmla="*/ 10228 w 614938"/>
                  <a:gd name="connsiteY1458" fmla="*/ 672233 h 716071"/>
                  <a:gd name="connsiteX1459" fmla="*/ 10048 w 614938"/>
                  <a:gd name="connsiteY1459" fmla="*/ 671515 h 716071"/>
                  <a:gd name="connsiteX1460" fmla="*/ 10048 w 614938"/>
                  <a:gd name="connsiteY1460" fmla="*/ 671515 h 716071"/>
                  <a:gd name="connsiteX1461" fmla="*/ 10048 w 614938"/>
                  <a:gd name="connsiteY1461" fmla="*/ 671515 h 716071"/>
                  <a:gd name="connsiteX1462" fmla="*/ 10048 w 614938"/>
                  <a:gd name="connsiteY1462" fmla="*/ 671456 h 716071"/>
                  <a:gd name="connsiteX1463" fmla="*/ 10048 w 614938"/>
                  <a:gd name="connsiteY1463" fmla="*/ 671456 h 716071"/>
                  <a:gd name="connsiteX1464" fmla="*/ 10048 w 614938"/>
                  <a:gd name="connsiteY1464" fmla="*/ 671456 h 716071"/>
                  <a:gd name="connsiteX1465" fmla="*/ 9510 w 614938"/>
                  <a:gd name="connsiteY1465" fmla="*/ 670738 h 716071"/>
                  <a:gd name="connsiteX1466" fmla="*/ 9510 w 614938"/>
                  <a:gd name="connsiteY1466" fmla="*/ 670738 h 716071"/>
                  <a:gd name="connsiteX1467" fmla="*/ 9510 w 614938"/>
                  <a:gd name="connsiteY1467" fmla="*/ 670738 h 716071"/>
                  <a:gd name="connsiteX1468" fmla="*/ 9510 w 614938"/>
                  <a:gd name="connsiteY1468" fmla="*/ 670738 h 716071"/>
                  <a:gd name="connsiteX1469" fmla="*/ 9510 w 614938"/>
                  <a:gd name="connsiteY1469" fmla="*/ 670738 h 716071"/>
                  <a:gd name="connsiteX1470" fmla="*/ 9510 w 614938"/>
                  <a:gd name="connsiteY1470" fmla="*/ 670738 h 716071"/>
                  <a:gd name="connsiteX1471" fmla="*/ 8852 w 614938"/>
                  <a:gd name="connsiteY1471" fmla="*/ 670020 h 716071"/>
                  <a:gd name="connsiteX1472" fmla="*/ 8852 w 614938"/>
                  <a:gd name="connsiteY1472" fmla="*/ 670020 h 716071"/>
                  <a:gd name="connsiteX1473" fmla="*/ 8852 w 614938"/>
                  <a:gd name="connsiteY1473" fmla="*/ 670020 h 716071"/>
                  <a:gd name="connsiteX1474" fmla="*/ 8253 w 614938"/>
                  <a:gd name="connsiteY1474" fmla="*/ 669602 h 716071"/>
                  <a:gd name="connsiteX1475" fmla="*/ 8253 w 614938"/>
                  <a:gd name="connsiteY1475" fmla="*/ 669602 h 716071"/>
                  <a:gd name="connsiteX1476" fmla="*/ 8194 w 614938"/>
                  <a:gd name="connsiteY1476" fmla="*/ 669602 h 716071"/>
                  <a:gd name="connsiteX1477" fmla="*/ 8194 w 614938"/>
                  <a:gd name="connsiteY1477" fmla="*/ 669602 h 716071"/>
                  <a:gd name="connsiteX1478" fmla="*/ 7536 w 614938"/>
                  <a:gd name="connsiteY1478" fmla="*/ 669303 h 716071"/>
                  <a:gd name="connsiteX1479" fmla="*/ 7536 w 614938"/>
                  <a:gd name="connsiteY1479" fmla="*/ 669303 h 716071"/>
                  <a:gd name="connsiteX1480" fmla="*/ 7476 w 614938"/>
                  <a:gd name="connsiteY1480" fmla="*/ 669303 h 716071"/>
                  <a:gd name="connsiteX1481" fmla="*/ 7476 w 614938"/>
                  <a:gd name="connsiteY1481" fmla="*/ 669303 h 716071"/>
                  <a:gd name="connsiteX1482" fmla="*/ 6758 w 614938"/>
                  <a:gd name="connsiteY1482" fmla="*/ 669183 h 716071"/>
                  <a:gd name="connsiteX1483" fmla="*/ 6758 w 614938"/>
                  <a:gd name="connsiteY1483" fmla="*/ 669183 h 716071"/>
                  <a:gd name="connsiteX1484" fmla="*/ 6698 w 614938"/>
                  <a:gd name="connsiteY1484" fmla="*/ 669183 h 716071"/>
                  <a:gd name="connsiteX1485" fmla="*/ 6698 w 614938"/>
                  <a:gd name="connsiteY1485" fmla="*/ 669183 h 716071"/>
                  <a:gd name="connsiteX1486" fmla="*/ 6100 w 614938"/>
                  <a:gd name="connsiteY1486" fmla="*/ 669303 h 716071"/>
                  <a:gd name="connsiteX1487" fmla="*/ 6100 w 614938"/>
                  <a:gd name="connsiteY1487" fmla="*/ 669303 h 716071"/>
                  <a:gd name="connsiteX1488" fmla="*/ 6100 w 614938"/>
                  <a:gd name="connsiteY1488" fmla="*/ 669303 h 716071"/>
                  <a:gd name="connsiteX1489" fmla="*/ 6100 w 614938"/>
                  <a:gd name="connsiteY1489" fmla="*/ 669303 h 716071"/>
                  <a:gd name="connsiteX1490" fmla="*/ 5802 w 614938"/>
                  <a:gd name="connsiteY1490" fmla="*/ 669542 h 716071"/>
                  <a:gd name="connsiteX1491" fmla="*/ 5802 w 614938"/>
                  <a:gd name="connsiteY1491" fmla="*/ 669661 h 716071"/>
                  <a:gd name="connsiteX1492" fmla="*/ 5742 w 614938"/>
                  <a:gd name="connsiteY1492" fmla="*/ 669721 h 716071"/>
                  <a:gd name="connsiteX1493" fmla="*/ 5323 w 614938"/>
                  <a:gd name="connsiteY1493" fmla="*/ 670020 h 716071"/>
                  <a:gd name="connsiteX1494" fmla="*/ 3290 w 614938"/>
                  <a:gd name="connsiteY1494" fmla="*/ 668824 h 716071"/>
                  <a:gd name="connsiteX1495" fmla="*/ 3708 w 614938"/>
                  <a:gd name="connsiteY1495" fmla="*/ 665236 h 716071"/>
                  <a:gd name="connsiteX1496" fmla="*/ 11125 w 614938"/>
                  <a:gd name="connsiteY1496" fmla="*/ 670439 h 716071"/>
                  <a:gd name="connsiteX1497" fmla="*/ 8493 w 614938"/>
                  <a:gd name="connsiteY1497" fmla="*/ 671635 h 716071"/>
                  <a:gd name="connsiteX1498" fmla="*/ 8672 w 614938"/>
                  <a:gd name="connsiteY1498" fmla="*/ 671755 h 716071"/>
                  <a:gd name="connsiteX1499" fmla="*/ 8253 w 614938"/>
                  <a:gd name="connsiteY1499" fmla="*/ 672054 h 716071"/>
                  <a:gd name="connsiteX1500" fmla="*/ 8493 w 614938"/>
                  <a:gd name="connsiteY1500" fmla="*/ 671635 h 716071"/>
                  <a:gd name="connsiteX1501" fmla="*/ 7895 w 614938"/>
                  <a:gd name="connsiteY1501" fmla="*/ 671874 h 716071"/>
                  <a:gd name="connsiteX1502" fmla="*/ 7895 w 614938"/>
                  <a:gd name="connsiteY1502" fmla="*/ 671276 h 716071"/>
                  <a:gd name="connsiteX1503" fmla="*/ 8134 w 614938"/>
                  <a:gd name="connsiteY1503" fmla="*/ 671396 h 716071"/>
                  <a:gd name="connsiteX1504" fmla="*/ 7895 w 614938"/>
                  <a:gd name="connsiteY1504" fmla="*/ 671874 h 716071"/>
                  <a:gd name="connsiteX1505" fmla="*/ 8613 w 614938"/>
                  <a:gd name="connsiteY1505" fmla="*/ 671336 h 716071"/>
                  <a:gd name="connsiteX1506" fmla="*/ 8732 w 614938"/>
                  <a:gd name="connsiteY1506" fmla="*/ 670319 h 716071"/>
                  <a:gd name="connsiteX1507" fmla="*/ 9151 w 614938"/>
                  <a:gd name="connsiteY1507" fmla="*/ 670678 h 716071"/>
                  <a:gd name="connsiteX1508" fmla="*/ 8852 w 614938"/>
                  <a:gd name="connsiteY1508" fmla="*/ 671575 h 716071"/>
                  <a:gd name="connsiteX1509" fmla="*/ 8613 w 614938"/>
                  <a:gd name="connsiteY1509" fmla="*/ 671336 h 716071"/>
                  <a:gd name="connsiteX1510" fmla="*/ 8194 w 614938"/>
                  <a:gd name="connsiteY1510" fmla="*/ 671097 h 716071"/>
                  <a:gd name="connsiteX1511" fmla="*/ 7835 w 614938"/>
                  <a:gd name="connsiteY1511" fmla="*/ 670917 h 716071"/>
                  <a:gd name="connsiteX1512" fmla="*/ 7775 w 614938"/>
                  <a:gd name="connsiteY1512" fmla="*/ 669781 h 716071"/>
                  <a:gd name="connsiteX1513" fmla="*/ 8313 w 614938"/>
                  <a:gd name="connsiteY1513" fmla="*/ 670020 h 716071"/>
                  <a:gd name="connsiteX1514" fmla="*/ 8194 w 614938"/>
                  <a:gd name="connsiteY1514" fmla="*/ 671097 h 716071"/>
                  <a:gd name="connsiteX1515" fmla="*/ 7476 w 614938"/>
                  <a:gd name="connsiteY1515" fmla="*/ 670858 h 716071"/>
                  <a:gd name="connsiteX1516" fmla="*/ 7117 w 614938"/>
                  <a:gd name="connsiteY1516" fmla="*/ 670798 h 716071"/>
                  <a:gd name="connsiteX1517" fmla="*/ 6818 w 614938"/>
                  <a:gd name="connsiteY1517" fmla="*/ 669661 h 716071"/>
                  <a:gd name="connsiteX1518" fmla="*/ 7416 w 614938"/>
                  <a:gd name="connsiteY1518" fmla="*/ 669781 h 716071"/>
                  <a:gd name="connsiteX1519" fmla="*/ 7476 w 614938"/>
                  <a:gd name="connsiteY1519" fmla="*/ 670858 h 716071"/>
                  <a:gd name="connsiteX1520" fmla="*/ 7476 w 614938"/>
                  <a:gd name="connsiteY1520" fmla="*/ 671216 h 716071"/>
                  <a:gd name="connsiteX1521" fmla="*/ 7476 w 614938"/>
                  <a:gd name="connsiteY1521" fmla="*/ 671814 h 716071"/>
                  <a:gd name="connsiteX1522" fmla="*/ 7237 w 614938"/>
                  <a:gd name="connsiteY1522" fmla="*/ 671157 h 716071"/>
                  <a:gd name="connsiteX1523" fmla="*/ 7476 w 614938"/>
                  <a:gd name="connsiteY1523" fmla="*/ 671216 h 716071"/>
                  <a:gd name="connsiteX1524" fmla="*/ 8971 w 614938"/>
                  <a:gd name="connsiteY1524" fmla="*/ 672054 h 716071"/>
                  <a:gd name="connsiteX1525" fmla="*/ 9091 w 614938"/>
                  <a:gd name="connsiteY1525" fmla="*/ 672173 h 716071"/>
                  <a:gd name="connsiteX1526" fmla="*/ 8672 w 614938"/>
                  <a:gd name="connsiteY1526" fmla="*/ 672293 h 716071"/>
                  <a:gd name="connsiteX1527" fmla="*/ 8971 w 614938"/>
                  <a:gd name="connsiteY1527" fmla="*/ 672054 h 716071"/>
                  <a:gd name="connsiteX1528" fmla="*/ 9510 w 614938"/>
                  <a:gd name="connsiteY1528" fmla="*/ 672413 h 716071"/>
                  <a:gd name="connsiteX1529" fmla="*/ 9510 w 614938"/>
                  <a:gd name="connsiteY1529" fmla="*/ 672413 h 716071"/>
                  <a:gd name="connsiteX1530" fmla="*/ 9808 w 614938"/>
                  <a:gd name="connsiteY1530" fmla="*/ 671874 h 716071"/>
                  <a:gd name="connsiteX1531" fmla="*/ 9808 w 614938"/>
                  <a:gd name="connsiteY1531" fmla="*/ 671994 h 716071"/>
                  <a:gd name="connsiteX1532" fmla="*/ 9510 w 614938"/>
                  <a:gd name="connsiteY1532" fmla="*/ 672413 h 716071"/>
                  <a:gd name="connsiteX1533" fmla="*/ 9689 w 614938"/>
                  <a:gd name="connsiteY1533" fmla="*/ 671336 h 716071"/>
                  <a:gd name="connsiteX1534" fmla="*/ 9270 w 614938"/>
                  <a:gd name="connsiteY1534" fmla="*/ 671994 h 716071"/>
                  <a:gd name="connsiteX1535" fmla="*/ 9151 w 614938"/>
                  <a:gd name="connsiteY1535" fmla="*/ 671814 h 716071"/>
                  <a:gd name="connsiteX1536" fmla="*/ 9450 w 614938"/>
                  <a:gd name="connsiteY1536" fmla="*/ 670977 h 716071"/>
                  <a:gd name="connsiteX1537" fmla="*/ 9689 w 614938"/>
                  <a:gd name="connsiteY1537" fmla="*/ 671336 h 716071"/>
                  <a:gd name="connsiteX1538" fmla="*/ 8015 w 614938"/>
                  <a:gd name="connsiteY1538" fmla="*/ 669602 h 716071"/>
                  <a:gd name="connsiteX1539" fmla="*/ 8015 w 614938"/>
                  <a:gd name="connsiteY1539" fmla="*/ 669602 h 716071"/>
                  <a:gd name="connsiteX1540" fmla="*/ 7715 w 614938"/>
                  <a:gd name="connsiteY1540" fmla="*/ 669482 h 716071"/>
                  <a:gd name="connsiteX1541" fmla="*/ 7715 w 614938"/>
                  <a:gd name="connsiteY1541" fmla="*/ 669482 h 716071"/>
                  <a:gd name="connsiteX1542" fmla="*/ 8015 w 614938"/>
                  <a:gd name="connsiteY1542" fmla="*/ 669602 h 716071"/>
                  <a:gd name="connsiteX1543" fmla="*/ 7297 w 614938"/>
                  <a:gd name="connsiteY1543" fmla="*/ 669303 h 716071"/>
                  <a:gd name="connsiteX1544" fmla="*/ 7297 w 614938"/>
                  <a:gd name="connsiteY1544" fmla="*/ 669362 h 716071"/>
                  <a:gd name="connsiteX1545" fmla="*/ 6818 w 614938"/>
                  <a:gd name="connsiteY1545" fmla="*/ 669303 h 716071"/>
                  <a:gd name="connsiteX1546" fmla="*/ 6818 w 614938"/>
                  <a:gd name="connsiteY1546" fmla="*/ 669243 h 716071"/>
                  <a:gd name="connsiteX1547" fmla="*/ 7297 w 614938"/>
                  <a:gd name="connsiteY1547" fmla="*/ 669303 h 716071"/>
                  <a:gd name="connsiteX1548" fmla="*/ 6460 w 614938"/>
                  <a:gd name="connsiteY1548" fmla="*/ 669661 h 716071"/>
                  <a:gd name="connsiteX1549" fmla="*/ 6758 w 614938"/>
                  <a:gd name="connsiteY1549" fmla="*/ 670798 h 716071"/>
                  <a:gd name="connsiteX1550" fmla="*/ 6460 w 614938"/>
                  <a:gd name="connsiteY1550" fmla="*/ 670858 h 716071"/>
                  <a:gd name="connsiteX1551" fmla="*/ 5981 w 614938"/>
                  <a:gd name="connsiteY1551" fmla="*/ 669721 h 716071"/>
                  <a:gd name="connsiteX1552" fmla="*/ 6460 w 614938"/>
                  <a:gd name="connsiteY1552" fmla="*/ 669661 h 716071"/>
                  <a:gd name="connsiteX1553" fmla="*/ 6878 w 614938"/>
                  <a:gd name="connsiteY1553" fmla="*/ 671157 h 716071"/>
                  <a:gd name="connsiteX1554" fmla="*/ 7117 w 614938"/>
                  <a:gd name="connsiteY1554" fmla="*/ 671755 h 716071"/>
                  <a:gd name="connsiteX1555" fmla="*/ 6639 w 614938"/>
                  <a:gd name="connsiteY1555" fmla="*/ 671157 h 716071"/>
                  <a:gd name="connsiteX1556" fmla="*/ 6878 w 614938"/>
                  <a:gd name="connsiteY1556" fmla="*/ 671157 h 716071"/>
                  <a:gd name="connsiteX1557" fmla="*/ 9211 w 614938"/>
                  <a:gd name="connsiteY1557" fmla="*/ 672532 h 716071"/>
                  <a:gd name="connsiteX1558" fmla="*/ 9211 w 614938"/>
                  <a:gd name="connsiteY1558" fmla="*/ 672652 h 716071"/>
                  <a:gd name="connsiteX1559" fmla="*/ 8852 w 614938"/>
                  <a:gd name="connsiteY1559" fmla="*/ 672592 h 716071"/>
                  <a:gd name="connsiteX1560" fmla="*/ 9211 w 614938"/>
                  <a:gd name="connsiteY1560" fmla="*/ 672532 h 716071"/>
                  <a:gd name="connsiteX1561" fmla="*/ 5203 w 614938"/>
                  <a:gd name="connsiteY1561" fmla="*/ 670080 h 716071"/>
                  <a:gd name="connsiteX1562" fmla="*/ 5203 w 614938"/>
                  <a:gd name="connsiteY1562" fmla="*/ 670080 h 716071"/>
                  <a:gd name="connsiteX1563" fmla="*/ 5203 w 614938"/>
                  <a:gd name="connsiteY1563" fmla="*/ 670080 h 716071"/>
                  <a:gd name="connsiteX1564" fmla="*/ 5263 w 614938"/>
                  <a:gd name="connsiteY1564" fmla="*/ 670140 h 716071"/>
                  <a:gd name="connsiteX1565" fmla="*/ 5323 w 614938"/>
                  <a:gd name="connsiteY1565" fmla="*/ 670140 h 716071"/>
                  <a:gd name="connsiteX1566" fmla="*/ 5323 w 614938"/>
                  <a:gd name="connsiteY1566" fmla="*/ 670140 h 716071"/>
                  <a:gd name="connsiteX1567" fmla="*/ 5383 w 614938"/>
                  <a:gd name="connsiteY1567" fmla="*/ 670140 h 716071"/>
                  <a:gd name="connsiteX1568" fmla="*/ 5383 w 614938"/>
                  <a:gd name="connsiteY1568" fmla="*/ 670140 h 716071"/>
                  <a:gd name="connsiteX1569" fmla="*/ 5383 w 614938"/>
                  <a:gd name="connsiteY1569" fmla="*/ 670140 h 716071"/>
                  <a:gd name="connsiteX1570" fmla="*/ 5682 w 614938"/>
                  <a:gd name="connsiteY1570" fmla="*/ 669960 h 716071"/>
                  <a:gd name="connsiteX1571" fmla="*/ 6160 w 614938"/>
                  <a:gd name="connsiteY1571" fmla="*/ 671037 h 716071"/>
                  <a:gd name="connsiteX1572" fmla="*/ 5921 w 614938"/>
                  <a:gd name="connsiteY1572" fmla="*/ 671216 h 716071"/>
                  <a:gd name="connsiteX1573" fmla="*/ 5921 w 614938"/>
                  <a:gd name="connsiteY1573" fmla="*/ 671456 h 716071"/>
                  <a:gd name="connsiteX1574" fmla="*/ 5921 w 614938"/>
                  <a:gd name="connsiteY1574" fmla="*/ 671456 h 716071"/>
                  <a:gd name="connsiteX1575" fmla="*/ 6160 w 614938"/>
                  <a:gd name="connsiteY1575" fmla="*/ 671515 h 716071"/>
                  <a:gd name="connsiteX1576" fmla="*/ 6340 w 614938"/>
                  <a:gd name="connsiteY1576" fmla="*/ 671396 h 716071"/>
                  <a:gd name="connsiteX1577" fmla="*/ 7177 w 614938"/>
                  <a:gd name="connsiteY1577" fmla="*/ 672413 h 716071"/>
                  <a:gd name="connsiteX1578" fmla="*/ 7237 w 614938"/>
                  <a:gd name="connsiteY1578" fmla="*/ 672472 h 716071"/>
                  <a:gd name="connsiteX1579" fmla="*/ 7357 w 614938"/>
                  <a:gd name="connsiteY1579" fmla="*/ 672532 h 716071"/>
                  <a:gd name="connsiteX1580" fmla="*/ 7357 w 614938"/>
                  <a:gd name="connsiteY1580" fmla="*/ 672532 h 716071"/>
                  <a:gd name="connsiteX1581" fmla="*/ 7416 w 614938"/>
                  <a:gd name="connsiteY1581" fmla="*/ 672652 h 716071"/>
                  <a:gd name="connsiteX1582" fmla="*/ 7476 w 614938"/>
                  <a:gd name="connsiteY1582" fmla="*/ 672712 h 716071"/>
                  <a:gd name="connsiteX1583" fmla="*/ 7476 w 614938"/>
                  <a:gd name="connsiteY1583" fmla="*/ 672712 h 716071"/>
                  <a:gd name="connsiteX1584" fmla="*/ 7536 w 614938"/>
                  <a:gd name="connsiteY1584" fmla="*/ 672771 h 716071"/>
                  <a:gd name="connsiteX1585" fmla="*/ 7536 w 614938"/>
                  <a:gd name="connsiteY1585" fmla="*/ 672771 h 716071"/>
                  <a:gd name="connsiteX1586" fmla="*/ 7536 w 614938"/>
                  <a:gd name="connsiteY1586" fmla="*/ 672771 h 716071"/>
                  <a:gd name="connsiteX1587" fmla="*/ 7596 w 614938"/>
                  <a:gd name="connsiteY1587" fmla="*/ 672831 h 716071"/>
                  <a:gd name="connsiteX1588" fmla="*/ 7715 w 614938"/>
                  <a:gd name="connsiteY1588" fmla="*/ 672891 h 716071"/>
                  <a:gd name="connsiteX1589" fmla="*/ 7895 w 614938"/>
                  <a:gd name="connsiteY1589" fmla="*/ 672951 h 716071"/>
                  <a:gd name="connsiteX1590" fmla="*/ 7895 w 614938"/>
                  <a:gd name="connsiteY1590" fmla="*/ 672951 h 716071"/>
                  <a:gd name="connsiteX1591" fmla="*/ 7895 w 614938"/>
                  <a:gd name="connsiteY1591" fmla="*/ 672951 h 716071"/>
                  <a:gd name="connsiteX1592" fmla="*/ 8015 w 614938"/>
                  <a:gd name="connsiteY1592" fmla="*/ 673011 h 716071"/>
                  <a:gd name="connsiteX1593" fmla="*/ 8971 w 614938"/>
                  <a:gd name="connsiteY1593" fmla="*/ 673070 h 716071"/>
                  <a:gd name="connsiteX1594" fmla="*/ 8971 w 614938"/>
                  <a:gd name="connsiteY1594" fmla="*/ 673130 h 716071"/>
                  <a:gd name="connsiteX1595" fmla="*/ 9031 w 614938"/>
                  <a:gd name="connsiteY1595" fmla="*/ 673369 h 716071"/>
                  <a:gd name="connsiteX1596" fmla="*/ 9091 w 614938"/>
                  <a:gd name="connsiteY1596" fmla="*/ 673369 h 716071"/>
                  <a:gd name="connsiteX1597" fmla="*/ 9330 w 614938"/>
                  <a:gd name="connsiteY1597" fmla="*/ 673369 h 716071"/>
                  <a:gd name="connsiteX1598" fmla="*/ 9450 w 614938"/>
                  <a:gd name="connsiteY1598" fmla="*/ 673070 h 716071"/>
                  <a:gd name="connsiteX1599" fmla="*/ 9630 w 614938"/>
                  <a:gd name="connsiteY1599" fmla="*/ 672831 h 716071"/>
                  <a:gd name="connsiteX1600" fmla="*/ 9630 w 614938"/>
                  <a:gd name="connsiteY1600" fmla="*/ 672831 h 716071"/>
                  <a:gd name="connsiteX1601" fmla="*/ 9630 w 614938"/>
                  <a:gd name="connsiteY1601" fmla="*/ 672831 h 716071"/>
                  <a:gd name="connsiteX1602" fmla="*/ 9630 w 614938"/>
                  <a:gd name="connsiteY1602" fmla="*/ 672831 h 716071"/>
                  <a:gd name="connsiteX1603" fmla="*/ 10706 w 614938"/>
                  <a:gd name="connsiteY1603" fmla="*/ 673489 h 716071"/>
                  <a:gd name="connsiteX1604" fmla="*/ 11842 w 614938"/>
                  <a:gd name="connsiteY1604" fmla="*/ 677018 h 716071"/>
                  <a:gd name="connsiteX1605" fmla="*/ 4605 w 614938"/>
                  <a:gd name="connsiteY1605" fmla="*/ 673788 h 716071"/>
                  <a:gd name="connsiteX1606" fmla="*/ 3050 w 614938"/>
                  <a:gd name="connsiteY1606" fmla="*/ 668944 h 716071"/>
                  <a:gd name="connsiteX1607" fmla="*/ 5203 w 614938"/>
                  <a:gd name="connsiteY1607" fmla="*/ 670080 h 716071"/>
                  <a:gd name="connsiteX1608" fmla="*/ 12201 w 614938"/>
                  <a:gd name="connsiteY1608" fmla="*/ 677317 h 716071"/>
                  <a:gd name="connsiteX1609" fmla="*/ 14773 w 614938"/>
                  <a:gd name="connsiteY1609" fmla="*/ 681563 h 716071"/>
                  <a:gd name="connsiteX1610" fmla="*/ 8493 w 614938"/>
                  <a:gd name="connsiteY1610" fmla="*/ 679888 h 716071"/>
                  <a:gd name="connsiteX1611" fmla="*/ 5024 w 614938"/>
                  <a:gd name="connsiteY1611" fmla="*/ 674147 h 716071"/>
                  <a:gd name="connsiteX1612" fmla="*/ 12201 w 614938"/>
                  <a:gd name="connsiteY1612" fmla="*/ 677317 h 716071"/>
                  <a:gd name="connsiteX1613" fmla="*/ 15012 w 614938"/>
                  <a:gd name="connsiteY1613" fmla="*/ 681982 h 716071"/>
                  <a:gd name="connsiteX1614" fmla="*/ 17404 w 614938"/>
                  <a:gd name="connsiteY1614" fmla="*/ 684852 h 716071"/>
                  <a:gd name="connsiteX1615" fmla="*/ 16746 w 614938"/>
                  <a:gd name="connsiteY1615" fmla="*/ 684494 h 716071"/>
                  <a:gd name="connsiteX1616" fmla="*/ 16746 w 614938"/>
                  <a:gd name="connsiteY1616" fmla="*/ 684494 h 716071"/>
                  <a:gd name="connsiteX1617" fmla="*/ 16686 w 614938"/>
                  <a:gd name="connsiteY1617" fmla="*/ 684494 h 716071"/>
                  <a:gd name="connsiteX1618" fmla="*/ 16627 w 614938"/>
                  <a:gd name="connsiteY1618" fmla="*/ 684494 h 716071"/>
                  <a:gd name="connsiteX1619" fmla="*/ 16627 w 614938"/>
                  <a:gd name="connsiteY1619" fmla="*/ 684494 h 716071"/>
                  <a:gd name="connsiteX1620" fmla="*/ 16268 w 614938"/>
                  <a:gd name="connsiteY1620" fmla="*/ 684434 h 716071"/>
                  <a:gd name="connsiteX1621" fmla="*/ 16268 w 614938"/>
                  <a:gd name="connsiteY1621" fmla="*/ 684434 h 716071"/>
                  <a:gd name="connsiteX1622" fmla="*/ 16208 w 614938"/>
                  <a:gd name="connsiteY1622" fmla="*/ 684434 h 716071"/>
                  <a:gd name="connsiteX1623" fmla="*/ 16208 w 614938"/>
                  <a:gd name="connsiteY1623" fmla="*/ 684434 h 716071"/>
                  <a:gd name="connsiteX1624" fmla="*/ 16208 w 614938"/>
                  <a:gd name="connsiteY1624" fmla="*/ 684434 h 716071"/>
                  <a:gd name="connsiteX1625" fmla="*/ 16208 w 614938"/>
                  <a:gd name="connsiteY1625" fmla="*/ 684434 h 716071"/>
                  <a:gd name="connsiteX1626" fmla="*/ 15729 w 614938"/>
                  <a:gd name="connsiteY1626" fmla="*/ 684494 h 716071"/>
                  <a:gd name="connsiteX1627" fmla="*/ 15729 w 614938"/>
                  <a:gd name="connsiteY1627" fmla="*/ 684494 h 716071"/>
                  <a:gd name="connsiteX1628" fmla="*/ 15729 w 614938"/>
                  <a:gd name="connsiteY1628" fmla="*/ 684494 h 716071"/>
                  <a:gd name="connsiteX1629" fmla="*/ 15012 w 614938"/>
                  <a:gd name="connsiteY1629" fmla="*/ 684793 h 716071"/>
                  <a:gd name="connsiteX1630" fmla="*/ 15012 w 614938"/>
                  <a:gd name="connsiteY1630" fmla="*/ 684793 h 716071"/>
                  <a:gd name="connsiteX1631" fmla="*/ 14952 w 614938"/>
                  <a:gd name="connsiteY1631" fmla="*/ 684793 h 716071"/>
                  <a:gd name="connsiteX1632" fmla="*/ 14892 w 614938"/>
                  <a:gd name="connsiteY1632" fmla="*/ 684852 h 716071"/>
                  <a:gd name="connsiteX1633" fmla="*/ 14833 w 614938"/>
                  <a:gd name="connsiteY1633" fmla="*/ 684912 h 716071"/>
                  <a:gd name="connsiteX1634" fmla="*/ 14713 w 614938"/>
                  <a:gd name="connsiteY1634" fmla="*/ 685032 h 716071"/>
                  <a:gd name="connsiteX1635" fmla="*/ 14414 w 614938"/>
                  <a:gd name="connsiteY1635" fmla="*/ 685331 h 716071"/>
                  <a:gd name="connsiteX1636" fmla="*/ 14474 w 614938"/>
                  <a:gd name="connsiteY1636" fmla="*/ 685570 h 716071"/>
                  <a:gd name="connsiteX1637" fmla="*/ 14474 w 614938"/>
                  <a:gd name="connsiteY1637" fmla="*/ 685570 h 716071"/>
                  <a:gd name="connsiteX1638" fmla="*/ 14713 w 614938"/>
                  <a:gd name="connsiteY1638" fmla="*/ 685630 h 716071"/>
                  <a:gd name="connsiteX1639" fmla="*/ 14833 w 614938"/>
                  <a:gd name="connsiteY1639" fmla="*/ 685510 h 716071"/>
                  <a:gd name="connsiteX1640" fmla="*/ 15550 w 614938"/>
                  <a:gd name="connsiteY1640" fmla="*/ 686407 h 716071"/>
                  <a:gd name="connsiteX1641" fmla="*/ 15251 w 614938"/>
                  <a:gd name="connsiteY1641" fmla="*/ 686706 h 716071"/>
                  <a:gd name="connsiteX1642" fmla="*/ 13936 w 614938"/>
                  <a:gd name="connsiteY1642" fmla="*/ 686706 h 716071"/>
                  <a:gd name="connsiteX1643" fmla="*/ 8792 w 614938"/>
                  <a:gd name="connsiteY1643" fmla="*/ 680427 h 716071"/>
                  <a:gd name="connsiteX1644" fmla="*/ 15012 w 614938"/>
                  <a:gd name="connsiteY1644" fmla="*/ 681982 h 716071"/>
                  <a:gd name="connsiteX1645" fmla="*/ 15550 w 614938"/>
                  <a:gd name="connsiteY1645" fmla="*/ 686946 h 716071"/>
                  <a:gd name="connsiteX1646" fmla="*/ 15550 w 614938"/>
                  <a:gd name="connsiteY1646" fmla="*/ 686946 h 716071"/>
                  <a:gd name="connsiteX1647" fmla="*/ 15550 w 614938"/>
                  <a:gd name="connsiteY1647" fmla="*/ 686946 h 716071"/>
                  <a:gd name="connsiteX1648" fmla="*/ 15610 w 614938"/>
                  <a:gd name="connsiteY1648" fmla="*/ 686946 h 716071"/>
                  <a:gd name="connsiteX1649" fmla="*/ 15610 w 614938"/>
                  <a:gd name="connsiteY1649" fmla="*/ 686946 h 716071"/>
                  <a:gd name="connsiteX1650" fmla="*/ 15909 w 614938"/>
                  <a:gd name="connsiteY1650" fmla="*/ 686647 h 716071"/>
                  <a:gd name="connsiteX1651" fmla="*/ 17165 w 614938"/>
                  <a:gd name="connsiteY1651" fmla="*/ 687903 h 716071"/>
                  <a:gd name="connsiteX1652" fmla="*/ 16986 w 614938"/>
                  <a:gd name="connsiteY1652" fmla="*/ 688082 h 716071"/>
                  <a:gd name="connsiteX1653" fmla="*/ 17046 w 614938"/>
                  <a:gd name="connsiteY1653" fmla="*/ 688321 h 716071"/>
                  <a:gd name="connsiteX1654" fmla="*/ 17046 w 614938"/>
                  <a:gd name="connsiteY1654" fmla="*/ 688321 h 716071"/>
                  <a:gd name="connsiteX1655" fmla="*/ 17284 w 614938"/>
                  <a:gd name="connsiteY1655" fmla="*/ 688381 h 716071"/>
                  <a:gd name="connsiteX1656" fmla="*/ 17464 w 614938"/>
                  <a:gd name="connsiteY1656" fmla="*/ 688202 h 716071"/>
                  <a:gd name="connsiteX1657" fmla="*/ 18241 w 614938"/>
                  <a:gd name="connsiteY1657" fmla="*/ 688800 h 716071"/>
                  <a:gd name="connsiteX1658" fmla="*/ 18421 w 614938"/>
                  <a:gd name="connsiteY1658" fmla="*/ 688860 h 716071"/>
                  <a:gd name="connsiteX1659" fmla="*/ 18421 w 614938"/>
                  <a:gd name="connsiteY1659" fmla="*/ 688860 h 716071"/>
                  <a:gd name="connsiteX1660" fmla="*/ 18601 w 614938"/>
                  <a:gd name="connsiteY1660" fmla="*/ 688919 h 716071"/>
                  <a:gd name="connsiteX1661" fmla="*/ 18660 w 614938"/>
                  <a:gd name="connsiteY1661" fmla="*/ 688919 h 716071"/>
                  <a:gd name="connsiteX1662" fmla="*/ 18720 w 614938"/>
                  <a:gd name="connsiteY1662" fmla="*/ 688919 h 716071"/>
                  <a:gd name="connsiteX1663" fmla="*/ 18780 w 614938"/>
                  <a:gd name="connsiteY1663" fmla="*/ 688919 h 716071"/>
                  <a:gd name="connsiteX1664" fmla="*/ 18839 w 614938"/>
                  <a:gd name="connsiteY1664" fmla="*/ 688919 h 716071"/>
                  <a:gd name="connsiteX1665" fmla="*/ 18899 w 614938"/>
                  <a:gd name="connsiteY1665" fmla="*/ 688860 h 716071"/>
                  <a:gd name="connsiteX1666" fmla="*/ 18899 w 614938"/>
                  <a:gd name="connsiteY1666" fmla="*/ 688860 h 716071"/>
                  <a:gd name="connsiteX1667" fmla="*/ 18959 w 614938"/>
                  <a:gd name="connsiteY1667" fmla="*/ 688800 h 716071"/>
                  <a:gd name="connsiteX1668" fmla="*/ 19258 w 614938"/>
                  <a:gd name="connsiteY1668" fmla="*/ 688441 h 716071"/>
                  <a:gd name="connsiteX1669" fmla="*/ 19377 w 614938"/>
                  <a:gd name="connsiteY1669" fmla="*/ 688381 h 716071"/>
                  <a:gd name="connsiteX1670" fmla="*/ 19557 w 614938"/>
                  <a:gd name="connsiteY1670" fmla="*/ 688082 h 716071"/>
                  <a:gd name="connsiteX1671" fmla="*/ 19557 w 614938"/>
                  <a:gd name="connsiteY1671" fmla="*/ 688082 h 716071"/>
                  <a:gd name="connsiteX1672" fmla="*/ 19557 w 614938"/>
                  <a:gd name="connsiteY1672" fmla="*/ 688022 h 716071"/>
                  <a:gd name="connsiteX1673" fmla="*/ 19557 w 614938"/>
                  <a:gd name="connsiteY1673" fmla="*/ 687723 h 716071"/>
                  <a:gd name="connsiteX1674" fmla="*/ 19557 w 614938"/>
                  <a:gd name="connsiteY1674" fmla="*/ 687723 h 716071"/>
                  <a:gd name="connsiteX1675" fmla="*/ 19557 w 614938"/>
                  <a:gd name="connsiteY1675" fmla="*/ 687723 h 716071"/>
                  <a:gd name="connsiteX1676" fmla="*/ 19557 w 614938"/>
                  <a:gd name="connsiteY1676" fmla="*/ 687723 h 716071"/>
                  <a:gd name="connsiteX1677" fmla="*/ 19557 w 614938"/>
                  <a:gd name="connsiteY1677" fmla="*/ 687663 h 716071"/>
                  <a:gd name="connsiteX1678" fmla="*/ 19557 w 614938"/>
                  <a:gd name="connsiteY1678" fmla="*/ 687663 h 716071"/>
                  <a:gd name="connsiteX1679" fmla="*/ 19557 w 614938"/>
                  <a:gd name="connsiteY1679" fmla="*/ 687663 h 716071"/>
                  <a:gd name="connsiteX1680" fmla="*/ 19557 w 614938"/>
                  <a:gd name="connsiteY1680" fmla="*/ 687663 h 716071"/>
                  <a:gd name="connsiteX1681" fmla="*/ 19557 w 614938"/>
                  <a:gd name="connsiteY1681" fmla="*/ 687663 h 716071"/>
                  <a:gd name="connsiteX1682" fmla="*/ 19557 w 614938"/>
                  <a:gd name="connsiteY1682" fmla="*/ 687663 h 716071"/>
                  <a:gd name="connsiteX1683" fmla="*/ 19437 w 614938"/>
                  <a:gd name="connsiteY1683" fmla="*/ 687364 h 716071"/>
                  <a:gd name="connsiteX1684" fmla="*/ 23983 w 614938"/>
                  <a:gd name="connsiteY1684" fmla="*/ 691790 h 716071"/>
                  <a:gd name="connsiteX1685" fmla="*/ 20814 w 614938"/>
                  <a:gd name="connsiteY1685" fmla="*/ 693405 h 716071"/>
                  <a:gd name="connsiteX1686" fmla="*/ 14294 w 614938"/>
                  <a:gd name="connsiteY1686" fmla="*/ 687065 h 716071"/>
                  <a:gd name="connsiteX1687" fmla="*/ 15550 w 614938"/>
                  <a:gd name="connsiteY1687" fmla="*/ 686946 h 716071"/>
                  <a:gd name="connsiteX1688" fmla="*/ 24342 w 614938"/>
                  <a:gd name="connsiteY1688" fmla="*/ 691969 h 716071"/>
                  <a:gd name="connsiteX1689" fmla="*/ 29844 w 614938"/>
                  <a:gd name="connsiteY1689" fmla="*/ 696395 h 716071"/>
                  <a:gd name="connsiteX1690" fmla="*/ 28588 w 614938"/>
                  <a:gd name="connsiteY1690" fmla="*/ 699565 h 716071"/>
                  <a:gd name="connsiteX1691" fmla="*/ 21172 w 614938"/>
                  <a:gd name="connsiteY1691" fmla="*/ 693584 h 716071"/>
                  <a:gd name="connsiteX1692" fmla="*/ 24342 w 614938"/>
                  <a:gd name="connsiteY1692" fmla="*/ 691969 h 716071"/>
                  <a:gd name="connsiteX1693" fmla="*/ 29007 w 614938"/>
                  <a:gd name="connsiteY1693" fmla="*/ 699804 h 716071"/>
                  <a:gd name="connsiteX1694" fmla="*/ 30263 w 614938"/>
                  <a:gd name="connsiteY1694" fmla="*/ 696634 h 716071"/>
                  <a:gd name="connsiteX1695" fmla="*/ 35466 w 614938"/>
                  <a:gd name="connsiteY1695" fmla="*/ 700103 h 716071"/>
                  <a:gd name="connsiteX1696" fmla="*/ 35167 w 614938"/>
                  <a:gd name="connsiteY1696" fmla="*/ 700043 h 716071"/>
                  <a:gd name="connsiteX1697" fmla="*/ 35167 w 614938"/>
                  <a:gd name="connsiteY1697" fmla="*/ 700043 h 716071"/>
                  <a:gd name="connsiteX1698" fmla="*/ 35167 w 614938"/>
                  <a:gd name="connsiteY1698" fmla="*/ 700043 h 716071"/>
                  <a:gd name="connsiteX1699" fmla="*/ 35167 w 614938"/>
                  <a:gd name="connsiteY1699" fmla="*/ 700043 h 716071"/>
                  <a:gd name="connsiteX1700" fmla="*/ 35167 w 614938"/>
                  <a:gd name="connsiteY1700" fmla="*/ 700043 h 716071"/>
                  <a:gd name="connsiteX1701" fmla="*/ 35107 w 614938"/>
                  <a:gd name="connsiteY1701" fmla="*/ 700043 h 716071"/>
                  <a:gd name="connsiteX1702" fmla="*/ 35107 w 614938"/>
                  <a:gd name="connsiteY1702" fmla="*/ 700043 h 716071"/>
                  <a:gd name="connsiteX1703" fmla="*/ 35107 w 614938"/>
                  <a:gd name="connsiteY1703" fmla="*/ 700043 h 716071"/>
                  <a:gd name="connsiteX1704" fmla="*/ 34808 w 614938"/>
                  <a:gd name="connsiteY1704" fmla="*/ 700163 h 716071"/>
                  <a:gd name="connsiteX1705" fmla="*/ 34808 w 614938"/>
                  <a:gd name="connsiteY1705" fmla="*/ 700163 h 716071"/>
                  <a:gd name="connsiteX1706" fmla="*/ 34808 w 614938"/>
                  <a:gd name="connsiteY1706" fmla="*/ 700163 h 716071"/>
                  <a:gd name="connsiteX1707" fmla="*/ 34569 w 614938"/>
                  <a:gd name="connsiteY1707" fmla="*/ 700402 h 716071"/>
                  <a:gd name="connsiteX1708" fmla="*/ 34569 w 614938"/>
                  <a:gd name="connsiteY1708" fmla="*/ 700462 h 716071"/>
                  <a:gd name="connsiteX1709" fmla="*/ 34210 w 614938"/>
                  <a:gd name="connsiteY1709" fmla="*/ 700821 h 716071"/>
                  <a:gd name="connsiteX1710" fmla="*/ 34210 w 614938"/>
                  <a:gd name="connsiteY1710" fmla="*/ 700881 h 716071"/>
                  <a:gd name="connsiteX1711" fmla="*/ 34210 w 614938"/>
                  <a:gd name="connsiteY1711" fmla="*/ 700881 h 716071"/>
                  <a:gd name="connsiteX1712" fmla="*/ 34150 w 614938"/>
                  <a:gd name="connsiteY1712" fmla="*/ 700941 h 716071"/>
                  <a:gd name="connsiteX1713" fmla="*/ 34150 w 614938"/>
                  <a:gd name="connsiteY1713" fmla="*/ 701000 h 716071"/>
                  <a:gd name="connsiteX1714" fmla="*/ 34150 w 614938"/>
                  <a:gd name="connsiteY1714" fmla="*/ 701060 h 716071"/>
                  <a:gd name="connsiteX1715" fmla="*/ 34150 w 614938"/>
                  <a:gd name="connsiteY1715" fmla="*/ 701120 h 716071"/>
                  <a:gd name="connsiteX1716" fmla="*/ 34150 w 614938"/>
                  <a:gd name="connsiteY1716" fmla="*/ 701120 h 716071"/>
                  <a:gd name="connsiteX1717" fmla="*/ 34210 w 614938"/>
                  <a:gd name="connsiteY1717" fmla="*/ 701240 h 716071"/>
                  <a:gd name="connsiteX1718" fmla="*/ 34210 w 614938"/>
                  <a:gd name="connsiteY1718" fmla="*/ 701240 h 716071"/>
                  <a:gd name="connsiteX1719" fmla="*/ 34329 w 614938"/>
                  <a:gd name="connsiteY1719" fmla="*/ 701419 h 716071"/>
                  <a:gd name="connsiteX1720" fmla="*/ 34329 w 614938"/>
                  <a:gd name="connsiteY1720" fmla="*/ 701419 h 716071"/>
                  <a:gd name="connsiteX1721" fmla="*/ 34988 w 614938"/>
                  <a:gd name="connsiteY1721" fmla="*/ 702017 h 716071"/>
                  <a:gd name="connsiteX1722" fmla="*/ 34868 w 614938"/>
                  <a:gd name="connsiteY1722" fmla="*/ 702256 h 716071"/>
                  <a:gd name="connsiteX1723" fmla="*/ 34928 w 614938"/>
                  <a:gd name="connsiteY1723" fmla="*/ 702496 h 716071"/>
                  <a:gd name="connsiteX1724" fmla="*/ 34928 w 614938"/>
                  <a:gd name="connsiteY1724" fmla="*/ 702496 h 716071"/>
                  <a:gd name="connsiteX1725" fmla="*/ 35167 w 614938"/>
                  <a:gd name="connsiteY1725" fmla="*/ 702496 h 716071"/>
                  <a:gd name="connsiteX1726" fmla="*/ 35286 w 614938"/>
                  <a:gd name="connsiteY1726" fmla="*/ 702256 h 716071"/>
                  <a:gd name="connsiteX1727" fmla="*/ 36782 w 614938"/>
                  <a:gd name="connsiteY1727" fmla="*/ 703213 h 716071"/>
                  <a:gd name="connsiteX1728" fmla="*/ 36543 w 614938"/>
                  <a:gd name="connsiteY1728" fmla="*/ 703572 h 716071"/>
                  <a:gd name="connsiteX1729" fmla="*/ 36543 w 614938"/>
                  <a:gd name="connsiteY1729" fmla="*/ 703572 h 716071"/>
                  <a:gd name="connsiteX1730" fmla="*/ 36543 w 614938"/>
                  <a:gd name="connsiteY1730" fmla="*/ 703572 h 716071"/>
                  <a:gd name="connsiteX1731" fmla="*/ 36543 w 614938"/>
                  <a:gd name="connsiteY1731" fmla="*/ 703632 h 716071"/>
                  <a:gd name="connsiteX1732" fmla="*/ 36543 w 614938"/>
                  <a:gd name="connsiteY1732" fmla="*/ 703632 h 716071"/>
                  <a:gd name="connsiteX1733" fmla="*/ 36722 w 614938"/>
                  <a:gd name="connsiteY1733" fmla="*/ 704708 h 716071"/>
                  <a:gd name="connsiteX1734" fmla="*/ 29007 w 614938"/>
                  <a:gd name="connsiteY1734" fmla="*/ 699804 h 716071"/>
                  <a:gd name="connsiteX1735" fmla="*/ 37081 w 614938"/>
                  <a:gd name="connsiteY1735" fmla="*/ 705127 h 716071"/>
                  <a:gd name="connsiteX1736" fmla="*/ 36901 w 614938"/>
                  <a:gd name="connsiteY1736" fmla="*/ 703931 h 716071"/>
                  <a:gd name="connsiteX1737" fmla="*/ 37141 w 614938"/>
                  <a:gd name="connsiteY1737" fmla="*/ 703572 h 716071"/>
                  <a:gd name="connsiteX1738" fmla="*/ 38217 w 614938"/>
                  <a:gd name="connsiteY1738" fmla="*/ 704110 h 716071"/>
                  <a:gd name="connsiteX1739" fmla="*/ 38097 w 614938"/>
                  <a:gd name="connsiteY1739" fmla="*/ 704290 h 716071"/>
                  <a:gd name="connsiteX1740" fmla="*/ 38157 w 614938"/>
                  <a:gd name="connsiteY1740" fmla="*/ 704529 h 716071"/>
                  <a:gd name="connsiteX1741" fmla="*/ 38157 w 614938"/>
                  <a:gd name="connsiteY1741" fmla="*/ 704529 h 716071"/>
                  <a:gd name="connsiteX1742" fmla="*/ 38397 w 614938"/>
                  <a:gd name="connsiteY1742" fmla="*/ 704529 h 716071"/>
                  <a:gd name="connsiteX1743" fmla="*/ 38576 w 614938"/>
                  <a:gd name="connsiteY1743" fmla="*/ 704230 h 716071"/>
                  <a:gd name="connsiteX1744" fmla="*/ 38756 w 614938"/>
                  <a:gd name="connsiteY1744" fmla="*/ 704110 h 716071"/>
                  <a:gd name="connsiteX1745" fmla="*/ 38815 w 614938"/>
                  <a:gd name="connsiteY1745" fmla="*/ 704051 h 716071"/>
                  <a:gd name="connsiteX1746" fmla="*/ 38875 w 614938"/>
                  <a:gd name="connsiteY1746" fmla="*/ 703931 h 716071"/>
                  <a:gd name="connsiteX1747" fmla="*/ 38875 w 614938"/>
                  <a:gd name="connsiteY1747" fmla="*/ 703871 h 716071"/>
                  <a:gd name="connsiteX1748" fmla="*/ 38935 w 614938"/>
                  <a:gd name="connsiteY1748" fmla="*/ 703034 h 716071"/>
                  <a:gd name="connsiteX1749" fmla="*/ 38935 w 614938"/>
                  <a:gd name="connsiteY1749" fmla="*/ 703034 h 716071"/>
                  <a:gd name="connsiteX1750" fmla="*/ 38935 w 614938"/>
                  <a:gd name="connsiteY1750" fmla="*/ 703034 h 716071"/>
                  <a:gd name="connsiteX1751" fmla="*/ 38935 w 614938"/>
                  <a:gd name="connsiteY1751" fmla="*/ 702555 h 716071"/>
                  <a:gd name="connsiteX1752" fmla="*/ 38935 w 614938"/>
                  <a:gd name="connsiteY1752" fmla="*/ 702555 h 716071"/>
                  <a:gd name="connsiteX1753" fmla="*/ 38935 w 614938"/>
                  <a:gd name="connsiteY1753" fmla="*/ 702496 h 716071"/>
                  <a:gd name="connsiteX1754" fmla="*/ 38935 w 614938"/>
                  <a:gd name="connsiteY1754" fmla="*/ 702496 h 716071"/>
                  <a:gd name="connsiteX1755" fmla="*/ 38935 w 614938"/>
                  <a:gd name="connsiteY1755" fmla="*/ 702496 h 716071"/>
                  <a:gd name="connsiteX1756" fmla="*/ 38935 w 614938"/>
                  <a:gd name="connsiteY1756" fmla="*/ 702496 h 716071"/>
                  <a:gd name="connsiteX1757" fmla="*/ 38815 w 614938"/>
                  <a:gd name="connsiteY1757" fmla="*/ 702197 h 716071"/>
                  <a:gd name="connsiteX1758" fmla="*/ 38815 w 614938"/>
                  <a:gd name="connsiteY1758" fmla="*/ 702197 h 716071"/>
                  <a:gd name="connsiteX1759" fmla="*/ 38815 w 614938"/>
                  <a:gd name="connsiteY1759" fmla="*/ 702137 h 716071"/>
                  <a:gd name="connsiteX1760" fmla="*/ 38815 w 614938"/>
                  <a:gd name="connsiteY1760" fmla="*/ 702077 h 716071"/>
                  <a:gd name="connsiteX1761" fmla="*/ 38815 w 614938"/>
                  <a:gd name="connsiteY1761" fmla="*/ 702077 h 716071"/>
                  <a:gd name="connsiteX1762" fmla="*/ 38397 w 614938"/>
                  <a:gd name="connsiteY1762" fmla="*/ 701598 h 716071"/>
                  <a:gd name="connsiteX1763" fmla="*/ 41865 w 614938"/>
                  <a:gd name="connsiteY1763" fmla="*/ 703393 h 716071"/>
                  <a:gd name="connsiteX1764" fmla="*/ 44557 w 614938"/>
                  <a:gd name="connsiteY1764" fmla="*/ 708835 h 716071"/>
                  <a:gd name="connsiteX1765" fmla="*/ 37081 w 614938"/>
                  <a:gd name="connsiteY1765" fmla="*/ 705127 h 716071"/>
                  <a:gd name="connsiteX1766" fmla="*/ 44975 w 614938"/>
                  <a:gd name="connsiteY1766" fmla="*/ 709134 h 716071"/>
                  <a:gd name="connsiteX1767" fmla="*/ 42284 w 614938"/>
                  <a:gd name="connsiteY1767" fmla="*/ 703632 h 716071"/>
                  <a:gd name="connsiteX1768" fmla="*/ 47128 w 614938"/>
                  <a:gd name="connsiteY1768" fmla="*/ 705366 h 716071"/>
                  <a:gd name="connsiteX1769" fmla="*/ 51554 w 614938"/>
                  <a:gd name="connsiteY1769" fmla="*/ 711467 h 716071"/>
                  <a:gd name="connsiteX1770" fmla="*/ 44975 w 614938"/>
                  <a:gd name="connsiteY1770" fmla="*/ 709134 h 716071"/>
                  <a:gd name="connsiteX1771" fmla="*/ 52033 w 614938"/>
                  <a:gd name="connsiteY1771" fmla="*/ 711646 h 716071"/>
                  <a:gd name="connsiteX1772" fmla="*/ 47547 w 614938"/>
                  <a:gd name="connsiteY1772" fmla="*/ 705486 h 716071"/>
                  <a:gd name="connsiteX1773" fmla="*/ 51435 w 614938"/>
                  <a:gd name="connsiteY1773" fmla="*/ 706024 h 716071"/>
                  <a:gd name="connsiteX1774" fmla="*/ 52212 w 614938"/>
                  <a:gd name="connsiteY1774" fmla="*/ 706861 h 716071"/>
                  <a:gd name="connsiteX1775" fmla="*/ 52033 w 614938"/>
                  <a:gd name="connsiteY1775" fmla="*/ 707041 h 716071"/>
                  <a:gd name="connsiteX1776" fmla="*/ 51733 w 614938"/>
                  <a:gd name="connsiteY1776" fmla="*/ 707220 h 716071"/>
                  <a:gd name="connsiteX1777" fmla="*/ 51733 w 614938"/>
                  <a:gd name="connsiteY1777" fmla="*/ 707460 h 716071"/>
                  <a:gd name="connsiteX1778" fmla="*/ 51793 w 614938"/>
                  <a:gd name="connsiteY1778" fmla="*/ 707460 h 716071"/>
                  <a:gd name="connsiteX1779" fmla="*/ 52033 w 614938"/>
                  <a:gd name="connsiteY1779" fmla="*/ 707519 h 716071"/>
                  <a:gd name="connsiteX1780" fmla="*/ 52093 w 614938"/>
                  <a:gd name="connsiteY1780" fmla="*/ 707460 h 716071"/>
                  <a:gd name="connsiteX1781" fmla="*/ 52331 w 614938"/>
                  <a:gd name="connsiteY1781" fmla="*/ 708357 h 716071"/>
                  <a:gd name="connsiteX1782" fmla="*/ 52451 w 614938"/>
                  <a:gd name="connsiteY1782" fmla="*/ 708476 h 716071"/>
                  <a:gd name="connsiteX1783" fmla="*/ 52511 w 614938"/>
                  <a:gd name="connsiteY1783" fmla="*/ 708476 h 716071"/>
                  <a:gd name="connsiteX1784" fmla="*/ 52571 w 614938"/>
                  <a:gd name="connsiteY1784" fmla="*/ 708656 h 716071"/>
                  <a:gd name="connsiteX1785" fmla="*/ 52631 w 614938"/>
                  <a:gd name="connsiteY1785" fmla="*/ 708775 h 716071"/>
                  <a:gd name="connsiteX1786" fmla="*/ 52631 w 614938"/>
                  <a:gd name="connsiteY1786" fmla="*/ 708835 h 716071"/>
                  <a:gd name="connsiteX1787" fmla="*/ 52631 w 614938"/>
                  <a:gd name="connsiteY1787" fmla="*/ 708835 h 716071"/>
                  <a:gd name="connsiteX1788" fmla="*/ 52631 w 614938"/>
                  <a:gd name="connsiteY1788" fmla="*/ 708835 h 716071"/>
                  <a:gd name="connsiteX1789" fmla="*/ 52691 w 614938"/>
                  <a:gd name="connsiteY1789" fmla="*/ 708895 h 716071"/>
                  <a:gd name="connsiteX1790" fmla="*/ 52750 w 614938"/>
                  <a:gd name="connsiteY1790" fmla="*/ 708895 h 716071"/>
                  <a:gd name="connsiteX1791" fmla="*/ 52810 w 614938"/>
                  <a:gd name="connsiteY1791" fmla="*/ 708955 h 716071"/>
                  <a:gd name="connsiteX1792" fmla="*/ 52930 w 614938"/>
                  <a:gd name="connsiteY1792" fmla="*/ 709015 h 716071"/>
                  <a:gd name="connsiteX1793" fmla="*/ 52930 w 614938"/>
                  <a:gd name="connsiteY1793" fmla="*/ 709015 h 716071"/>
                  <a:gd name="connsiteX1794" fmla="*/ 52990 w 614938"/>
                  <a:gd name="connsiteY1794" fmla="*/ 709134 h 716071"/>
                  <a:gd name="connsiteX1795" fmla="*/ 53049 w 614938"/>
                  <a:gd name="connsiteY1795" fmla="*/ 709194 h 716071"/>
                  <a:gd name="connsiteX1796" fmla="*/ 54246 w 614938"/>
                  <a:gd name="connsiteY1796" fmla="*/ 709732 h 716071"/>
                  <a:gd name="connsiteX1797" fmla="*/ 54186 w 614938"/>
                  <a:gd name="connsiteY1797" fmla="*/ 709912 h 716071"/>
                  <a:gd name="connsiteX1798" fmla="*/ 54246 w 614938"/>
                  <a:gd name="connsiteY1798" fmla="*/ 710151 h 716071"/>
                  <a:gd name="connsiteX1799" fmla="*/ 54305 w 614938"/>
                  <a:gd name="connsiteY1799" fmla="*/ 710151 h 716071"/>
                  <a:gd name="connsiteX1800" fmla="*/ 54544 w 614938"/>
                  <a:gd name="connsiteY1800" fmla="*/ 710151 h 716071"/>
                  <a:gd name="connsiteX1801" fmla="*/ 54664 w 614938"/>
                  <a:gd name="connsiteY1801" fmla="*/ 709912 h 716071"/>
                  <a:gd name="connsiteX1802" fmla="*/ 55860 w 614938"/>
                  <a:gd name="connsiteY1802" fmla="*/ 710151 h 716071"/>
                  <a:gd name="connsiteX1803" fmla="*/ 55741 w 614938"/>
                  <a:gd name="connsiteY1803" fmla="*/ 710450 h 716071"/>
                  <a:gd name="connsiteX1804" fmla="*/ 55741 w 614938"/>
                  <a:gd name="connsiteY1804" fmla="*/ 710450 h 716071"/>
                  <a:gd name="connsiteX1805" fmla="*/ 55741 w 614938"/>
                  <a:gd name="connsiteY1805" fmla="*/ 710450 h 716071"/>
                  <a:gd name="connsiteX1806" fmla="*/ 55741 w 614938"/>
                  <a:gd name="connsiteY1806" fmla="*/ 710510 h 716071"/>
                  <a:gd name="connsiteX1807" fmla="*/ 55741 w 614938"/>
                  <a:gd name="connsiteY1807" fmla="*/ 710510 h 716071"/>
                  <a:gd name="connsiteX1808" fmla="*/ 55741 w 614938"/>
                  <a:gd name="connsiteY1808" fmla="*/ 710570 h 716071"/>
                  <a:gd name="connsiteX1809" fmla="*/ 55741 w 614938"/>
                  <a:gd name="connsiteY1809" fmla="*/ 710570 h 716071"/>
                  <a:gd name="connsiteX1810" fmla="*/ 55741 w 614938"/>
                  <a:gd name="connsiteY1810" fmla="*/ 710629 h 716071"/>
                  <a:gd name="connsiteX1811" fmla="*/ 55741 w 614938"/>
                  <a:gd name="connsiteY1811" fmla="*/ 710629 h 716071"/>
                  <a:gd name="connsiteX1812" fmla="*/ 57236 w 614938"/>
                  <a:gd name="connsiteY1812" fmla="*/ 712244 h 716071"/>
                  <a:gd name="connsiteX1813" fmla="*/ 52033 w 614938"/>
                  <a:gd name="connsiteY1813" fmla="*/ 711646 h 716071"/>
                  <a:gd name="connsiteX1814" fmla="*/ 56399 w 614938"/>
                  <a:gd name="connsiteY1814" fmla="*/ 709613 h 716071"/>
                  <a:gd name="connsiteX1815" fmla="*/ 56399 w 614938"/>
                  <a:gd name="connsiteY1815" fmla="*/ 709613 h 716071"/>
                  <a:gd name="connsiteX1816" fmla="*/ 56339 w 614938"/>
                  <a:gd name="connsiteY1816" fmla="*/ 709433 h 716071"/>
                  <a:gd name="connsiteX1817" fmla="*/ 56399 w 614938"/>
                  <a:gd name="connsiteY1817" fmla="*/ 709433 h 716071"/>
                  <a:gd name="connsiteX1818" fmla="*/ 56399 w 614938"/>
                  <a:gd name="connsiteY1818" fmla="*/ 709613 h 716071"/>
                  <a:gd name="connsiteX1819" fmla="*/ 53229 w 614938"/>
                  <a:gd name="connsiteY1819" fmla="*/ 708117 h 716071"/>
                  <a:gd name="connsiteX1820" fmla="*/ 53408 w 614938"/>
                  <a:gd name="connsiteY1820" fmla="*/ 707699 h 716071"/>
                  <a:gd name="connsiteX1821" fmla="*/ 53588 w 614938"/>
                  <a:gd name="connsiteY1821" fmla="*/ 707818 h 716071"/>
                  <a:gd name="connsiteX1822" fmla="*/ 53229 w 614938"/>
                  <a:gd name="connsiteY1822" fmla="*/ 708117 h 716071"/>
                  <a:gd name="connsiteX1823" fmla="*/ 53886 w 614938"/>
                  <a:gd name="connsiteY1823" fmla="*/ 708177 h 716071"/>
                  <a:gd name="connsiteX1824" fmla="*/ 54006 w 614938"/>
                  <a:gd name="connsiteY1824" fmla="*/ 708357 h 716071"/>
                  <a:gd name="connsiteX1825" fmla="*/ 53468 w 614938"/>
                  <a:gd name="connsiteY1825" fmla="*/ 708476 h 716071"/>
                  <a:gd name="connsiteX1826" fmla="*/ 53886 w 614938"/>
                  <a:gd name="connsiteY1826" fmla="*/ 708177 h 716071"/>
                  <a:gd name="connsiteX1827" fmla="*/ 54186 w 614938"/>
                  <a:gd name="connsiteY1827" fmla="*/ 708715 h 716071"/>
                  <a:gd name="connsiteX1828" fmla="*/ 54246 w 614938"/>
                  <a:gd name="connsiteY1828" fmla="*/ 708955 h 716071"/>
                  <a:gd name="connsiteX1829" fmla="*/ 53588 w 614938"/>
                  <a:gd name="connsiteY1829" fmla="*/ 708835 h 716071"/>
                  <a:gd name="connsiteX1830" fmla="*/ 54186 w 614938"/>
                  <a:gd name="connsiteY1830" fmla="*/ 708715 h 716071"/>
                  <a:gd name="connsiteX1831" fmla="*/ 54664 w 614938"/>
                  <a:gd name="connsiteY1831" fmla="*/ 708955 h 716071"/>
                  <a:gd name="connsiteX1832" fmla="*/ 54544 w 614938"/>
                  <a:gd name="connsiteY1832" fmla="*/ 708656 h 716071"/>
                  <a:gd name="connsiteX1833" fmla="*/ 55741 w 614938"/>
                  <a:gd name="connsiteY1833" fmla="*/ 708536 h 716071"/>
                  <a:gd name="connsiteX1834" fmla="*/ 55920 w 614938"/>
                  <a:gd name="connsiteY1834" fmla="*/ 709074 h 716071"/>
                  <a:gd name="connsiteX1835" fmla="*/ 54664 w 614938"/>
                  <a:gd name="connsiteY1835" fmla="*/ 708955 h 716071"/>
                  <a:gd name="connsiteX1836" fmla="*/ 54365 w 614938"/>
                  <a:gd name="connsiteY1836" fmla="*/ 708297 h 716071"/>
                  <a:gd name="connsiteX1837" fmla="*/ 54186 w 614938"/>
                  <a:gd name="connsiteY1837" fmla="*/ 707998 h 716071"/>
                  <a:gd name="connsiteX1838" fmla="*/ 55203 w 614938"/>
                  <a:gd name="connsiteY1838" fmla="*/ 707699 h 716071"/>
                  <a:gd name="connsiteX1839" fmla="*/ 55561 w 614938"/>
                  <a:gd name="connsiteY1839" fmla="*/ 708177 h 716071"/>
                  <a:gd name="connsiteX1840" fmla="*/ 54365 w 614938"/>
                  <a:gd name="connsiteY1840" fmla="*/ 708297 h 716071"/>
                  <a:gd name="connsiteX1841" fmla="*/ 54843 w 614938"/>
                  <a:gd name="connsiteY1841" fmla="*/ 707400 h 716071"/>
                  <a:gd name="connsiteX1842" fmla="*/ 53827 w 614938"/>
                  <a:gd name="connsiteY1842" fmla="*/ 707699 h 716071"/>
                  <a:gd name="connsiteX1843" fmla="*/ 53588 w 614938"/>
                  <a:gd name="connsiteY1843" fmla="*/ 707519 h 716071"/>
                  <a:gd name="connsiteX1844" fmla="*/ 54425 w 614938"/>
                  <a:gd name="connsiteY1844" fmla="*/ 707041 h 716071"/>
                  <a:gd name="connsiteX1845" fmla="*/ 54843 w 614938"/>
                  <a:gd name="connsiteY1845" fmla="*/ 707400 h 716071"/>
                  <a:gd name="connsiteX1846" fmla="*/ 53049 w 614938"/>
                  <a:gd name="connsiteY1846" fmla="*/ 707519 h 716071"/>
                  <a:gd name="connsiteX1847" fmla="*/ 52870 w 614938"/>
                  <a:gd name="connsiteY1847" fmla="*/ 707878 h 716071"/>
                  <a:gd name="connsiteX1848" fmla="*/ 52870 w 614938"/>
                  <a:gd name="connsiteY1848" fmla="*/ 707460 h 716071"/>
                  <a:gd name="connsiteX1849" fmla="*/ 53049 w 614938"/>
                  <a:gd name="connsiteY1849" fmla="*/ 707519 h 716071"/>
                  <a:gd name="connsiteX1850" fmla="*/ 52511 w 614938"/>
                  <a:gd name="connsiteY1850" fmla="*/ 707400 h 716071"/>
                  <a:gd name="connsiteX1851" fmla="*/ 52511 w 614938"/>
                  <a:gd name="connsiteY1851" fmla="*/ 707699 h 716071"/>
                  <a:gd name="connsiteX1852" fmla="*/ 52391 w 614938"/>
                  <a:gd name="connsiteY1852" fmla="*/ 707400 h 716071"/>
                  <a:gd name="connsiteX1853" fmla="*/ 52511 w 614938"/>
                  <a:gd name="connsiteY1853" fmla="*/ 707400 h 716071"/>
                  <a:gd name="connsiteX1854" fmla="*/ 54365 w 614938"/>
                  <a:gd name="connsiteY1854" fmla="*/ 709254 h 716071"/>
                  <a:gd name="connsiteX1855" fmla="*/ 54365 w 614938"/>
                  <a:gd name="connsiteY1855" fmla="*/ 709433 h 716071"/>
                  <a:gd name="connsiteX1856" fmla="*/ 53708 w 614938"/>
                  <a:gd name="connsiteY1856" fmla="*/ 709134 h 716071"/>
                  <a:gd name="connsiteX1857" fmla="*/ 54365 w 614938"/>
                  <a:gd name="connsiteY1857" fmla="*/ 709254 h 716071"/>
                  <a:gd name="connsiteX1858" fmla="*/ 54724 w 614938"/>
                  <a:gd name="connsiteY1858" fmla="*/ 709613 h 716071"/>
                  <a:gd name="connsiteX1859" fmla="*/ 54724 w 614938"/>
                  <a:gd name="connsiteY1859" fmla="*/ 709314 h 716071"/>
                  <a:gd name="connsiteX1860" fmla="*/ 55980 w 614938"/>
                  <a:gd name="connsiteY1860" fmla="*/ 709373 h 716071"/>
                  <a:gd name="connsiteX1861" fmla="*/ 55980 w 614938"/>
                  <a:gd name="connsiteY1861" fmla="*/ 709852 h 716071"/>
                  <a:gd name="connsiteX1862" fmla="*/ 54724 w 614938"/>
                  <a:gd name="connsiteY1862" fmla="*/ 709613 h 716071"/>
                  <a:gd name="connsiteX1863" fmla="*/ 56219 w 614938"/>
                  <a:gd name="connsiteY1863" fmla="*/ 709015 h 716071"/>
                  <a:gd name="connsiteX1864" fmla="*/ 56039 w 614938"/>
                  <a:gd name="connsiteY1864" fmla="*/ 708536 h 716071"/>
                  <a:gd name="connsiteX1865" fmla="*/ 56159 w 614938"/>
                  <a:gd name="connsiteY1865" fmla="*/ 708596 h 716071"/>
                  <a:gd name="connsiteX1866" fmla="*/ 56279 w 614938"/>
                  <a:gd name="connsiteY1866" fmla="*/ 708955 h 716071"/>
                  <a:gd name="connsiteX1867" fmla="*/ 56219 w 614938"/>
                  <a:gd name="connsiteY1867" fmla="*/ 709015 h 716071"/>
                  <a:gd name="connsiteX1868" fmla="*/ 55860 w 614938"/>
                  <a:gd name="connsiteY1868" fmla="*/ 708177 h 716071"/>
                  <a:gd name="connsiteX1869" fmla="*/ 55681 w 614938"/>
                  <a:gd name="connsiteY1869" fmla="*/ 707938 h 716071"/>
                  <a:gd name="connsiteX1870" fmla="*/ 55801 w 614938"/>
                  <a:gd name="connsiteY1870" fmla="*/ 707998 h 716071"/>
                  <a:gd name="connsiteX1871" fmla="*/ 55980 w 614938"/>
                  <a:gd name="connsiteY1871" fmla="*/ 708237 h 716071"/>
                  <a:gd name="connsiteX1872" fmla="*/ 55860 w 614938"/>
                  <a:gd name="connsiteY1872" fmla="*/ 708177 h 716071"/>
                  <a:gd name="connsiteX1873" fmla="*/ 53229 w 614938"/>
                  <a:gd name="connsiteY1873" fmla="*/ 707220 h 716071"/>
                  <a:gd name="connsiteX1874" fmla="*/ 53109 w 614938"/>
                  <a:gd name="connsiteY1874" fmla="*/ 707161 h 716071"/>
                  <a:gd name="connsiteX1875" fmla="*/ 53708 w 614938"/>
                  <a:gd name="connsiteY1875" fmla="*/ 706682 h 716071"/>
                  <a:gd name="connsiteX1876" fmla="*/ 54006 w 614938"/>
                  <a:gd name="connsiteY1876" fmla="*/ 706802 h 716071"/>
                  <a:gd name="connsiteX1877" fmla="*/ 53229 w 614938"/>
                  <a:gd name="connsiteY1877" fmla="*/ 707220 h 716071"/>
                  <a:gd name="connsiteX1878" fmla="*/ 52870 w 614938"/>
                  <a:gd name="connsiteY1878" fmla="*/ 706802 h 716071"/>
                  <a:gd name="connsiteX1879" fmla="*/ 52990 w 614938"/>
                  <a:gd name="connsiteY1879" fmla="*/ 706682 h 716071"/>
                  <a:gd name="connsiteX1880" fmla="*/ 53049 w 614938"/>
                  <a:gd name="connsiteY1880" fmla="*/ 706682 h 716071"/>
                  <a:gd name="connsiteX1881" fmla="*/ 52870 w 614938"/>
                  <a:gd name="connsiteY1881" fmla="*/ 706802 h 716071"/>
                  <a:gd name="connsiteX1882" fmla="*/ 57774 w 614938"/>
                  <a:gd name="connsiteY1882" fmla="*/ 712364 h 716071"/>
                  <a:gd name="connsiteX1883" fmla="*/ 56219 w 614938"/>
                  <a:gd name="connsiteY1883" fmla="*/ 710689 h 716071"/>
                  <a:gd name="connsiteX1884" fmla="*/ 56399 w 614938"/>
                  <a:gd name="connsiteY1884" fmla="*/ 710270 h 716071"/>
                  <a:gd name="connsiteX1885" fmla="*/ 56458 w 614938"/>
                  <a:gd name="connsiteY1885" fmla="*/ 710211 h 716071"/>
                  <a:gd name="connsiteX1886" fmla="*/ 56698 w 614938"/>
                  <a:gd name="connsiteY1886" fmla="*/ 710211 h 716071"/>
                  <a:gd name="connsiteX1887" fmla="*/ 56817 w 614938"/>
                  <a:gd name="connsiteY1887" fmla="*/ 709852 h 716071"/>
                  <a:gd name="connsiteX1888" fmla="*/ 56817 w 614938"/>
                  <a:gd name="connsiteY1888" fmla="*/ 709852 h 716071"/>
                  <a:gd name="connsiteX1889" fmla="*/ 56817 w 614938"/>
                  <a:gd name="connsiteY1889" fmla="*/ 709852 h 716071"/>
                  <a:gd name="connsiteX1890" fmla="*/ 56817 w 614938"/>
                  <a:gd name="connsiteY1890" fmla="*/ 709852 h 716071"/>
                  <a:gd name="connsiteX1891" fmla="*/ 56757 w 614938"/>
                  <a:gd name="connsiteY1891" fmla="*/ 709254 h 716071"/>
                  <a:gd name="connsiteX1892" fmla="*/ 56757 w 614938"/>
                  <a:gd name="connsiteY1892" fmla="*/ 709254 h 716071"/>
                  <a:gd name="connsiteX1893" fmla="*/ 56757 w 614938"/>
                  <a:gd name="connsiteY1893" fmla="*/ 709254 h 716071"/>
                  <a:gd name="connsiteX1894" fmla="*/ 56757 w 614938"/>
                  <a:gd name="connsiteY1894" fmla="*/ 709254 h 716071"/>
                  <a:gd name="connsiteX1895" fmla="*/ 56518 w 614938"/>
                  <a:gd name="connsiteY1895" fmla="*/ 708596 h 716071"/>
                  <a:gd name="connsiteX1896" fmla="*/ 56518 w 614938"/>
                  <a:gd name="connsiteY1896" fmla="*/ 708596 h 716071"/>
                  <a:gd name="connsiteX1897" fmla="*/ 56518 w 614938"/>
                  <a:gd name="connsiteY1897" fmla="*/ 708596 h 716071"/>
                  <a:gd name="connsiteX1898" fmla="*/ 56518 w 614938"/>
                  <a:gd name="connsiteY1898" fmla="*/ 708596 h 716071"/>
                  <a:gd name="connsiteX1899" fmla="*/ 56099 w 614938"/>
                  <a:gd name="connsiteY1899" fmla="*/ 707998 h 716071"/>
                  <a:gd name="connsiteX1900" fmla="*/ 56099 w 614938"/>
                  <a:gd name="connsiteY1900" fmla="*/ 707998 h 716071"/>
                  <a:gd name="connsiteX1901" fmla="*/ 56039 w 614938"/>
                  <a:gd name="connsiteY1901" fmla="*/ 707938 h 716071"/>
                  <a:gd name="connsiteX1902" fmla="*/ 56039 w 614938"/>
                  <a:gd name="connsiteY1902" fmla="*/ 707938 h 716071"/>
                  <a:gd name="connsiteX1903" fmla="*/ 55501 w 614938"/>
                  <a:gd name="connsiteY1903" fmla="*/ 707460 h 716071"/>
                  <a:gd name="connsiteX1904" fmla="*/ 55501 w 614938"/>
                  <a:gd name="connsiteY1904" fmla="*/ 707460 h 716071"/>
                  <a:gd name="connsiteX1905" fmla="*/ 55501 w 614938"/>
                  <a:gd name="connsiteY1905" fmla="*/ 707460 h 716071"/>
                  <a:gd name="connsiteX1906" fmla="*/ 54604 w 614938"/>
                  <a:gd name="connsiteY1906" fmla="*/ 706921 h 716071"/>
                  <a:gd name="connsiteX1907" fmla="*/ 54604 w 614938"/>
                  <a:gd name="connsiteY1907" fmla="*/ 706921 h 716071"/>
                  <a:gd name="connsiteX1908" fmla="*/ 54604 w 614938"/>
                  <a:gd name="connsiteY1908" fmla="*/ 706921 h 716071"/>
                  <a:gd name="connsiteX1909" fmla="*/ 54604 w 614938"/>
                  <a:gd name="connsiteY1909" fmla="*/ 706921 h 716071"/>
                  <a:gd name="connsiteX1910" fmla="*/ 53767 w 614938"/>
                  <a:gd name="connsiteY1910" fmla="*/ 706562 h 716071"/>
                  <a:gd name="connsiteX1911" fmla="*/ 53767 w 614938"/>
                  <a:gd name="connsiteY1911" fmla="*/ 706562 h 716071"/>
                  <a:gd name="connsiteX1912" fmla="*/ 53767 w 614938"/>
                  <a:gd name="connsiteY1912" fmla="*/ 706562 h 716071"/>
                  <a:gd name="connsiteX1913" fmla="*/ 53708 w 614938"/>
                  <a:gd name="connsiteY1913" fmla="*/ 706562 h 716071"/>
                  <a:gd name="connsiteX1914" fmla="*/ 53708 w 614938"/>
                  <a:gd name="connsiteY1914" fmla="*/ 706562 h 716071"/>
                  <a:gd name="connsiteX1915" fmla="*/ 53708 w 614938"/>
                  <a:gd name="connsiteY1915" fmla="*/ 706562 h 716071"/>
                  <a:gd name="connsiteX1916" fmla="*/ 52990 w 614938"/>
                  <a:gd name="connsiteY1916" fmla="*/ 706562 h 716071"/>
                  <a:gd name="connsiteX1917" fmla="*/ 52990 w 614938"/>
                  <a:gd name="connsiteY1917" fmla="*/ 706562 h 716071"/>
                  <a:gd name="connsiteX1918" fmla="*/ 52990 w 614938"/>
                  <a:gd name="connsiteY1918" fmla="*/ 706562 h 716071"/>
                  <a:gd name="connsiteX1919" fmla="*/ 52990 w 614938"/>
                  <a:gd name="connsiteY1919" fmla="*/ 706562 h 716071"/>
                  <a:gd name="connsiteX1920" fmla="*/ 52990 w 614938"/>
                  <a:gd name="connsiteY1920" fmla="*/ 706562 h 716071"/>
                  <a:gd name="connsiteX1921" fmla="*/ 52990 w 614938"/>
                  <a:gd name="connsiteY1921" fmla="*/ 706562 h 716071"/>
                  <a:gd name="connsiteX1922" fmla="*/ 52691 w 614938"/>
                  <a:gd name="connsiteY1922" fmla="*/ 706802 h 716071"/>
                  <a:gd name="connsiteX1923" fmla="*/ 52093 w 614938"/>
                  <a:gd name="connsiteY1923" fmla="*/ 706204 h 716071"/>
                  <a:gd name="connsiteX1924" fmla="*/ 54843 w 614938"/>
                  <a:gd name="connsiteY1924" fmla="*/ 705546 h 716071"/>
                  <a:gd name="connsiteX1925" fmla="*/ 61781 w 614938"/>
                  <a:gd name="connsiteY1925" fmla="*/ 711646 h 716071"/>
                  <a:gd name="connsiteX1926" fmla="*/ 57774 w 614938"/>
                  <a:gd name="connsiteY1926" fmla="*/ 712364 h 716071"/>
                  <a:gd name="connsiteX1927" fmla="*/ 54784 w 614938"/>
                  <a:gd name="connsiteY1927" fmla="*/ 705187 h 716071"/>
                  <a:gd name="connsiteX1928" fmla="*/ 56219 w 614938"/>
                  <a:gd name="connsiteY1928" fmla="*/ 703452 h 716071"/>
                  <a:gd name="connsiteX1929" fmla="*/ 63695 w 614938"/>
                  <a:gd name="connsiteY1929" fmla="*/ 708895 h 716071"/>
                  <a:gd name="connsiteX1930" fmla="*/ 61781 w 614938"/>
                  <a:gd name="connsiteY1930" fmla="*/ 711347 h 716071"/>
                  <a:gd name="connsiteX1931" fmla="*/ 54784 w 614938"/>
                  <a:gd name="connsiteY1931" fmla="*/ 705187 h 716071"/>
                  <a:gd name="connsiteX1932" fmla="*/ 52271 w 614938"/>
                  <a:gd name="connsiteY1932" fmla="*/ 700522 h 716071"/>
                  <a:gd name="connsiteX1933" fmla="*/ 52271 w 614938"/>
                  <a:gd name="connsiteY1933" fmla="*/ 700522 h 716071"/>
                  <a:gd name="connsiteX1934" fmla="*/ 52271 w 614938"/>
                  <a:gd name="connsiteY1934" fmla="*/ 700522 h 716071"/>
                  <a:gd name="connsiteX1935" fmla="*/ 52271 w 614938"/>
                  <a:gd name="connsiteY1935" fmla="*/ 700582 h 716071"/>
                  <a:gd name="connsiteX1936" fmla="*/ 52271 w 614938"/>
                  <a:gd name="connsiteY1936" fmla="*/ 700641 h 716071"/>
                  <a:gd name="connsiteX1937" fmla="*/ 52271 w 614938"/>
                  <a:gd name="connsiteY1937" fmla="*/ 700701 h 716071"/>
                  <a:gd name="connsiteX1938" fmla="*/ 52331 w 614938"/>
                  <a:gd name="connsiteY1938" fmla="*/ 700761 h 716071"/>
                  <a:gd name="connsiteX1939" fmla="*/ 52331 w 614938"/>
                  <a:gd name="connsiteY1939" fmla="*/ 700761 h 716071"/>
                  <a:gd name="connsiteX1940" fmla="*/ 54544 w 614938"/>
                  <a:gd name="connsiteY1940" fmla="*/ 702735 h 716071"/>
                  <a:gd name="connsiteX1941" fmla="*/ 51973 w 614938"/>
                  <a:gd name="connsiteY1941" fmla="*/ 703333 h 716071"/>
                  <a:gd name="connsiteX1942" fmla="*/ 50059 w 614938"/>
                  <a:gd name="connsiteY1942" fmla="*/ 701299 h 716071"/>
                  <a:gd name="connsiteX1943" fmla="*/ 63336 w 614938"/>
                  <a:gd name="connsiteY1943" fmla="*/ 678752 h 716071"/>
                  <a:gd name="connsiteX1944" fmla="*/ 65250 w 614938"/>
                  <a:gd name="connsiteY1944" fmla="*/ 678034 h 716071"/>
                  <a:gd name="connsiteX1945" fmla="*/ 52271 w 614938"/>
                  <a:gd name="connsiteY1945" fmla="*/ 700522 h 716071"/>
                  <a:gd name="connsiteX1946" fmla="*/ 52271 w 614938"/>
                  <a:gd name="connsiteY1946" fmla="*/ 700522 h 716071"/>
                  <a:gd name="connsiteX1947" fmla="*/ 63815 w 614938"/>
                  <a:gd name="connsiteY1947" fmla="*/ 678154 h 716071"/>
                  <a:gd name="connsiteX1948" fmla="*/ 86780 w 614938"/>
                  <a:gd name="connsiteY1948" fmla="*/ 649028 h 716071"/>
                  <a:gd name="connsiteX1949" fmla="*/ 88575 w 614938"/>
                  <a:gd name="connsiteY1949" fmla="*/ 648370 h 716071"/>
                  <a:gd name="connsiteX1950" fmla="*/ 65728 w 614938"/>
                  <a:gd name="connsiteY1950" fmla="*/ 677436 h 716071"/>
                  <a:gd name="connsiteX1951" fmla="*/ 63815 w 614938"/>
                  <a:gd name="connsiteY1951" fmla="*/ 678154 h 716071"/>
                  <a:gd name="connsiteX1952" fmla="*/ 87259 w 614938"/>
                  <a:gd name="connsiteY1952" fmla="*/ 648430 h 716071"/>
                  <a:gd name="connsiteX1953" fmla="*/ 110584 w 614938"/>
                  <a:gd name="connsiteY1953" fmla="*/ 618885 h 716071"/>
                  <a:gd name="connsiteX1954" fmla="*/ 112258 w 614938"/>
                  <a:gd name="connsiteY1954" fmla="*/ 618347 h 716071"/>
                  <a:gd name="connsiteX1955" fmla="*/ 89053 w 614938"/>
                  <a:gd name="connsiteY1955" fmla="*/ 647772 h 716071"/>
                  <a:gd name="connsiteX1956" fmla="*/ 87259 w 614938"/>
                  <a:gd name="connsiteY1956" fmla="*/ 648430 h 716071"/>
                  <a:gd name="connsiteX1957" fmla="*/ 110943 w 614938"/>
                  <a:gd name="connsiteY1957" fmla="*/ 618407 h 716071"/>
                  <a:gd name="connsiteX1958" fmla="*/ 134566 w 614938"/>
                  <a:gd name="connsiteY1958" fmla="*/ 588443 h 716071"/>
                  <a:gd name="connsiteX1959" fmla="*/ 136121 w 614938"/>
                  <a:gd name="connsiteY1959" fmla="*/ 588025 h 716071"/>
                  <a:gd name="connsiteX1960" fmla="*/ 112617 w 614938"/>
                  <a:gd name="connsiteY1960" fmla="*/ 617868 h 716071"/>
                  <a:gd name="connsiteX1961" fmla="*/ 110943 w 614938"/>
                  <a:gd name="connsiteY1961" fmla="*/ 618407 h 716071"/>
                  <a:gd name="connsiteX1962" fmla="*/ 134985 w 614938"/>
                  <a:gd name="connsiteY1962" fmla="*/ 587965 h 716071"/>
                  <a:gd name="connsiteX1963" fmla="*/ 158908 w 614938"/>
                  <a:gd name="connsiteY1963" fmla="*/ 557643 h 716071"/>
                  <a:gd name="connsiteX1964" fmla="*/ 160344 w 614938"/>
                  <a:gd name="connsiteY1964" fmla="*/ 557284 h 716071"/>
                  <a:gd name="connsiteX1965" fmla="*/ 136540 w 614938"/>
                  <a:gd name="connsiteY1965" fmla="*/ 587546 h 716071"/>
                  <a:gd name="connsiteX1966" fmla="*/ 134985 w 614938"/>
                  <a:gd name="connsiteY1966" fmla="*/ 587965 h 716071"/>
                  <a:gd name="connsiteX1967" fmla="*/ 159267 w 614938"/>
                  <a:gd name="connsiteY1967" fmla="*/ 557164 h 716071"/>
                  <a:gd name="connsiteX1968" fmla="*/ 183549 w 614938"/>
                  <a:gd name="connsiteY1968" fmla="*/ 526423 h 716071"/>
                  <a:gd name="connsiteX1969" fmla="*/ 184864 w 614938"/>
                  <a:gd name="connsiteY1969" fmla="*/ 526124 h 716071"/>
                  <a:gd name="connsiteX1970" fmla="*/ 160702 w 614938"/>
                  <a:gd name="connsiteY1970" fmla="*/ 556805 h 716071"/>
                  <a:gd name="connsiteX1971" fmla="*/ 159267 w 614938"/>
                  <a:gd name="connsiteY1971" fmla="*/ 557164 h 716071"/>
                  <a:gd name="connsiteX1972" fmla="*/ 183907 w 614938"/>
                  <a:gd name="connsiteY1972" fmla="*/ 525945 h 716071"/>
                  <a:gd name="connsiteX1973" fmla="*/ 208489 w 614938"/>
                  <a:gd name="connsiteY1973" fmla="*/ 494785 h 716071"/>
                  <a:gd name="connsiteX1974" fmla="*/ 209684 w 614938"/>
                  <a:gd name="connsiteY1974" fmla="*/ 494606 h 716071"/>
                  <a:gd name="connsiteX1975" fmla="*/ 185224 w 614938"/>
                  <a:gd name="connsiteY1975" fmla="*/ 525705 h 716071"/>
                  <a:gd name="connsiteX1976" fmla="*/ 183907 w 614938"/>
                  <a:gd name="connsiteY1976" fmla="*/ 525945 h 716071"/>
                  <a:gd name="connsiteX1977" fmla="*/ 208847 w 614938"/>
                  <a:gd name="connsiteY1977" fmla="*/ 494307 h 716071"/>
                  <a:gd name="connsiteX1978" fmla="*/ 233787 w 614938"/>
                  <a:gd name="connsiteY1978" fmla="*/ 462669 h 716071"/>
                  <a:gd name="connsiteX1979" fmla="*/ 234863 w 614938"/>
                  <a:gd name="connsiteY1979" fmla="*/ 462549 h 716071"/>
                  <a:gd name="connsiteX1980" fmla="*/ 210043 w 614938"/>
                  <a:gd name="connsiteY1980" fmla="*/ 494067 h 716071"/>
                  <a:gd name="connsiteX1981" fmla="*/ 208847 w 614938"/>
                  <a:gd name="connsiteY1981" fmla="*/ 494307 h 716071"/>
                  <a:gd name="connsiteX1982" fmla="*/ 234086 w 614938"/>
                  <a:gd name="connsiteY1982" fmla="*/ 462310 h 716071"/>
                  <a:gd name="connsiteX1983" fmla="*/ 259384 w 614938"/>
                  <a:gd name="connsiteY1983" fmla="*/ 430253 h 716071"/>
                  <a:gd name="connsiteX1984" fmla="*/ 260401 w 614938"/>
                  <a:gd name="connsiteY1984" fmla="*/ 430193 h 716071"/>
                  <a:gd name="connsiteX1985" fmla="*/ 235222 w 614938"/>
                  <a:gd name="connsiteY1985" fmla="*/ 462190 h 716071"/>
                  <a:gd name="connsiteX1986" fmla="*/ 234086 w 614938"/>
                  <a:gd name="connsiteY1986" fmla="*/ 462310 h 716071"/>
                  <a:gd name="connsiteX1987" fmla="*/ 259683 w 614938"/>
                  <a:gd name="connsiteY1987" fmla="*/ 429894 h 716071"/>
                  <a:gd name="connsiteX1988" fmla="*/ 285341 w 614938"/>
                  <a:gd name="connsiteY1988" fmla="*/ 397419 h 716071"/>
                  <a:gd name="connsiteX1989" fmla="*/ 286238 w 614938"/>
                  <a:gd name="connsiteY1989" fmla="*/ 397419 h 716071"/>
                  <a:gd name="connsiteX1990" fmla="*/ 260700 w 614938"/>
                  <a:gd name="connsiteY1990" fmla="*/ 429834 h 716071"/>
                  <a:gd name="connsiteX1991" fmla="*/ 259683 w 614938"/>
                  <a:gd name="connsiteY1991" fmla="*/ 429894 h 716071"/>
                  <a:gd name="connsiteX1992" fmla="*/ 285580 w 614938"/>
                  <a:gd name="connsiteY1992" fmla="*/ 397060 h 716071"/>
                  <a:gd name="connsiteX1993" fmla="*/ 311536 w 614938"/>
                  <a:gd name="connsiteY1993" fmla="*/ 364106 h 716071"/>
                  <a:gd name="connsiteX1994" fmla="*/ 312314 w 614938"/>
                  <a:gd name="connsiteY1994" fmla="*/ 364166 h 716071"/>
                  <a:gd name="connsiteX1995" fmla="*/ 286417 w 614938"/>
                  <a:gd name="connsiteY1995" fmla="*/ 397060 h 716071"/>
                  <a:gd name="connsiteX1996" fmla="*/ 285580 w 614938"/>
                  <a:gd name="connsiteY1996" fmla="*/ 397060 h 716071"/>
                  <a:gd name="connsiteX1997" fmla="*/ 311835 w 614938"/>
                  <a:gd name="connsiteY1997" fmla="*/ 363748 h 716071"/>
                  <a:gd name="connsiteX1998" fmla="*/ 338150 w 614938"/>
                  <a:gd name="connsiteY1998" fmla="*/ 330375 h 716071"/>
                  <a:gd name="connsiteX1999" fmla="*/ 338868 w 614938"/>
                  <a:gd name="connsiteY1999" fmla="*/ 330495 h 716071"/>
                  <a:gd name="connsiteX2000" fmla="*/ 312612 w 614938"/>
                  <a:gd name="connsiteY2000" fmla="*/ 363807 h 716071"/>
                  <a:gd name="connsiteX2001" fmla="*/ 311835 w 614938"/>
                  <a:gd name="connsiteY2001" fmla="*/ 363748 h 716071"/>
                  <a:gd name="connsiteX2002" fmla="*/ 338450 w 614938"/>
                  <a:gd name="connsiteY2002" fmla="*/ 330076 h 716071"/>
                  <a:gd name="connsiteX2003" fmla="*/ 365183 w 614938"/>
                  <a:gd name="connsiteY2003" fmla="*/ 296225 h 716071"/>
                  <a:gd name="connsiteX2004" fmla="*/ 365781 w 614938"/>
                  <a:gd name="connsiteY2004" fmla="*/ 296405 h 716071"/>
                  <a:gd name="connsiteX2005" fmla="*/ 339167 w 614938"/>
                  <a:gd name="connsiteY2005" fmla="*/ 330196 h 716071"/>
                  <a:gd name="connsiteX2006" fmla="*/ 338450 w 614938"/>
                  <a:gd name="connsiteY2006" fmla="*/ 330076 h 716071"/>
                  <a:gd name="connsiteX2007" fmla="*/ 391199 w 614938"/>
                  <a:gd name="connsiteY2007" fmla="*/ 260460 h 716071"/>
                  <a:gd name="connsiteX2008" fmla="*/ 416677 w 614938"/>
                  <a:gd name="connsiteY2008" fmla="*/ 228284 h 716071"/>
                  <a:gd name="connsiteX2009" fmla="*/ 417694 w 614938"/>
                  <a:gd name="connsiteY2009" fmla="*/ 229062 h 716071"/>
                  <a:gd name="connsiteX2010" fmla="*/ 392396 w 614938"/>
                  <a:gd name="connsiteY2010" fmla="*/ 261118 h 716071"/>
                  <a:gd name="connsiteX2011" fmla="*/ 391199 w 614938"/>
                  <a:gd name="connsiteY2011" fmla="*/ 260460 h 716071"/>
                  <a:gd name="connsiteX2012" fmla="*/ 409321 w 614938"/>
                  <a:gd name="connsiteY2012" fmla="*/ 223619 h 716071"/>
                  <a:gd name="connsiteX2013" fmla="*/ 383903 w 614938"/>
                  <a:gd name="connsiteY2013" fmla="*/ 255078 h 716071"/>
                  <a:gd name="connsiteX2014" fmla="*/ 381630 w 614938"/>
                  <a:gd name="connsiteY2014" fmla="*/ 253164 h 716071"/>
                  <a:gd name="connsiteX2015" fmla="*/ 400410 w 614938"/>
                  <a:gd name="connsiteY2015" fmla="*/ 230078 h 716071"/>
                  <a:gd name="connsiteX2016" fmla="*/ 400470 w 614938"/>
                  <a:gd name="connsiteY2016" fmla="*/ 230078 h 716071"/>
                  <a:gd name="connsiteX2017" fmla="*/ 400470 w 614938"/>
                  <a:gd name="connsiteY2017" fmla="*/ 230078 h 716071"/>
                  <a:gd name="connsiteX2018" fmla="*/ 400470 w 614938"/>
                  <a:gd name="connsiteY2018" fmla="*/ 230078 h 716071"/>
                  <a:gd name="connsiteX2019" fmla="*/ 400470 w 614938"/>
                  <a:gd name="connsiteY2019" fmla="*/ 230078 h 716071"/>
                  <a:gd name="connsiteX2020" fmla="*/ 400470 w 614938"/>
                  <a:gd name="connsiteY2020" fmla="*/ 230078 h 716071"/>
                  <a:gd name="connsiteX2021" fmla="*/ 400470 w 614938"/>
                  <a:gd name="connsiteY2021" fmla="*/ 230078 h 716071"/>
                  <a:gd name="connsiteX2022" fmla="*/ 400470 w 614938"/>
                  <a:gd name="connsiteY2022" fmla="*/ 230078 h 716071"/>
                  <a:gd name="connsiteX2023" fmla="*/ 400470 w 614938"/>
                  <a:gd name="connsiteY2023" fmla="*/ 230078 h 716071"/>
                  <a:gd name="connsiteX2024" fmla="*/ 400470 w 614938"/>
                  <a:gd name="connsiteY2024" fmla="*/ 230078 h 716071"/>
                  <a:gd name="connsiteX2025" fmla="*/ 400470 w 614938"/>
                  <a:gd name="connsiteY2025" fmla="*/ 230078 h 716071"/>
                  <a:gd name="connsiteX2026" fmla="*/ 409321 w 614938"/>
                  <a:gd name="connsiteY2026" fmla="*/ 223619 h 716071"/>
                  <a:gd name="connsiteX2027" fmla="*/ 399991 w 614938"/>
                  <a:gd name="connsiteY2027" fmla="*/ 230078 h 716071"/>
                  <a:gd name="connsiteX2028" fmla="*/ 381391 w 614938"/>
                  <a:gd name="connsiteY2028" fmla="*/ 252985 h 716071"/>
                  <a:gd name="connsiteX2029" fmla="*/ 379238 w 614938"/>
                  <a:gd name="connsiteY2029" fmla="*/ 251131 h 716071"/>
                  <a:gd name="connsiteX2030" fmla="*/ 396881 w 614938"/>
                  <a:gd name="connsiteY2030" fmla="*/ 229540 h 716071"/>
                  <a:gd name="connsiteX2031" fmla="*/ 399991 w 614938"/>
                  <a:gd name="connsiteY2031" fmla="*/ 230078 h 716071"/>
                  <a:gd name="connsiteX2032" fmla="*/ 396462 w 614938"/>
                  <a:gd name="connsiteY2032" fmla="*/ 229420 h 716071"/>
                  <a:gd name="connsiteX2033" fmla="*/ 378939 w 614938"/>
                  <a:gd name="connsiteY2033" fmla="*/ 250831 h 716071"/>
                  <a:gd name="connsiteX2034" fmla="*/ 377145 w 614938"/>
                  <a:gd name="connsiteY2034" fmla="*/ 249157 h 716071"/>
                  <a:gd name="connsiteX2035" fmla="*/ 393771 w 614938"/>
                  <a:gd name="connsiteY2035" fmla="*/ 229002 h 716071"/>
                  <a:gd name="connsiteX2036" fmla="*/ 396462 w 614938"/>
                  <a:gd name="connsiteY2036" fmla="*/ 229420 h 716071"/>
                  <a:gd name="connsiteX2037" fmla="*/ 393292 w 614938"/>
                  <a:gd name="connsiteY2037" fmla="*/ 228882 h 716071"/>
                  <a:gd name="connsiteX2038" fmla="*/ 376845 w 614938"/>
                  <a:gd name="connsiteY2038" fmla="*/ 248858 h 716071"/>
                  <a:gd name="connsiteX2039" fmla="*/ 375470 w 614938"/>
                  <a:gd name="connsiteY2039" fmla="*/ 247482 h 716071"/>
                  <a:gd name="connsiteX2040" fmla="*/ 391199 w 614938"/>
                  <a:gd name="connsiteY2040" fmla="*/ 228523 h 716071"/>
                  <a:gd name="connsiteX2041" fmla="*/ 393292 w 614938"/>
                  <a:gd name="connsiteY2041" fmla="*/ 228882 h 716071"/>
                  <a:gd name="connsiteX2042" fmla="*/ 374992 w 614938"/>
                  <a:gd name="connsiteY2042" fmla="*/ 247482 h 716071"/>
                  <a:gd name="connsiteX2043" fmla="*/ 347002 w 614938"/>
                  <a:gd name="connsiteY2043" fmla="*/ 281273 h 716071"/>
                  <a:gd name="connsiteX2044" fmla="*/ 346224 w 614938"/>
                  <a:gd name="connsiteY2044" fmla="*/ 280197 h 716071"/>
                  <a:gd name="connsiteX2045" fmla="*/ 374214 w 614938"/>
                  <a:gd name="connsiteY2045" fmla="*/ 246525 h 716071"/>
                  <a:gd name="connsiteX2046" fmla="*/ 374992 w 614938"/>
                  <a:gd name="connsiteY2046" fmla="*/ 247482 h 716071"/>
                  <a:gd name="connsiteX2047" fmla="*/ 346763 w 614938"/>
                  <a:gd name="connsiteY2047" fmla="*/ 281572 h 716071"/>
                  <a:gd name="connsiteX2048" fmla="*/ 319132 w 614938"/>
                  <a:gd name="connsiteY2048" fmla="*/ 314945 h 716071"/>
                  <a:gd name="connsiteX2049" fmla="*/ 318354 w 614938"/>
                  <a:gd name="connsiteY2049" fmla="*/ 313749 h 716071"/>
                  <a:gd name="connsiteX2050" fmla="*/ 345985 w 614938"/>
                  <a:gd name="connsiteY2050" fmla="*/ 280496 h 716071"/>
                  <a:gd name="connsiteX2051" fmla="*/ 346763 w 614938"/>
                  <a:gd name="connsiteY2051" fmla="*/ 281572 h 716071"/>
                  <a:gd name="connsiteX2052" fmla="*/ 318893 w 614938"/>
                  <a:gd name="connsiteY2052" fmla="*/ 315244 h 716071"/>
                  <a:gd name="connsiteX2053" fmla="*/ 291620 w 614938"/>
                  <a:gd name="connsiteY2053" fmla="*/ 348198 h 716071"/>
                  <a:gd name="connsiteX2054" fmla="*/ 290843 w 614938"/>
                  <a:gd name="connsiteY2054" fmla="*/ 346882 h 716071"/>
                  <a:gd name="connsiteX2055" fmla="*/ 318115 w 614938"/>
                  <a:gd name="connsiteY2055" fmla="*/ 314048 h 716071"/>
                  <a:gd name="connsiteX2056" fmla="*/ 318893 w 614938"/>
                  <a:gd name="connsiteY2056" fmla="*/ 315244 h 716071"/>
                  <a:gd name="connsiteX2057" fmla="*/ 291441 w 614938"/>
                  <a:gd name="connsiteY2057" fmla="*/ 348437 h 716071"/>
                  <a:gd name="connsiteX2058" fmla="*/ 264528 w 614938"/>
                  <a:gd name="connsiteY2058" fmla="*/ 380972 h 716071"/>
                  <a:gd name="connsiteX2059" fmla="*/ 263750 w 614938"/>
                  <a:gd name="connsiteY2059" fmla="*/ 379537 h 716071"/>
                  <a:gd name="connsiteX2060" fmla="*/ 290664 w 614938"/>
                  <a:gd name="connsiteY2060" fmla="*/ 347181 h 716071"/>
                  <a:gd name="connsiteX2061" fmla="*/ 291441 w 614938"/>
                  <a:gd name="connsiteY2061" fmla="*/ 348437 h 716071"/>
                  <a:gd name="connsiteX2062" fmla="*/ 264289 w 614938"/>
                  <a:gd name="connsiteY2062" fmla="*/ 381271 h 716071"/>
                  <a:gd name="connsiteX2063" fmla="*/ 237734 w 614938"/>
                  <a:gd name="connsiteY2063" fmla="*/ 413328 h 716071"/>
                  <a:gd name="connsiteX2064" fmla="*/ 236956 w 614938"/>
                  <a:gd name="connsiteY2064" fmla="*/ 411773 h 716071"/>
                  <a:gd name="connsiteX2065" fmla="*/ 263511 w 614938"/>
                  <a:gd name="connsiteY2065" fmla="*/ 379836 h 716071"/>
                  <a:gd name="connsiteX2066" fmla="*/ 264289 w 614938"/>
                  <a:gd name="connsiteY2066" fmla="*/ 381271 h 716071"/>
                  <a:gd name="connsiteX2067" fmla="*/ 237435 w 614938"/>
                  <a:gd name="connsiteY2067" fmla="*/ 413627 h 716071"/>
                  <a:gd name="connsiteX2068" fmla="*/ 211240 w 614938"/>
                  <a:gd name="connsiteY2068" fmla="*/ 445325 h 716071"/>
                  <a:gd name="connsiteX2069" fmla="*/ 210522 w 614938"/>
                  <a:gd name="connsiteY2069" fmla="*/ 443650 h 716071"/>
                  <a:gd name="connsiteX2070" fmla="*/ 236717 w 614938"/>
                  <a:gd name="connsiteY2070" fmla="*/ 412132 h 716071"/>
                  <a:gd name="connsiteX2071" fmla="*/ 237435 w 614938"/>
                  <a:gd name="connsiteY2071" fmla="*/ 413627 h 716071"/>
                  <a:gd name="connsiteX2072" fmla="*/ 211000 w 614938"/>
                  <a:gd name="connsiteY2072" fmla="*/ 445624 h 716071"/>
                  <a:gd name="connsiteX2073" fmla="*/ 185104 w 614938"/>
                  <a:gd name="connsiteY2073" fmla="*/ 476903 h 716071"/>
                  <a:gd name="connsiteX2074" fmla="*/ 184386 w 614938"/>
                  <a:gd name="connsiteY2074" fmla="*/ 475049 h 716071"/>
                  <a:gd name="connsiteX2075" fmla="*/ 210223 w 614938"/>
                  <a:gd name="connsiteY2075" fmla="*/ 443949 h 716071"/>
                  <a:gd name="connsiteX2076" fmla="*/ 211000 w 614938"/>
                  <a:gd name="connsiteY2076" fmla="*/ 445624 h 716071"/>
                  <a:gd name="connsiteX2077" fmla="*/ 184864 w 614938"/>
                  <a:gd name="connsiteY2077" fmla="*/ 477202 h 716071"/>
                  <a:gd name="connsiteX2078" fmla="*/ 159327 w 614938"/>
                  <a:gd name="connsiteY2078" fmla="*/ 508062 h 716071"/>
                  <a:gd name="connsiteX2079" fmla="*/ 158669 w 614938"/>
                  <a:gd name="connsiteY2079" fmla="*/ 506089 h 716071"/>
                  <a:gd name="connsiteX2080" fmla="*/ 184207 w 614938"/>
                  <a:gd name="connsiteY2080" fmla="*/ 475348 h 716071"/>
                  <a:gd name="connsiteX2081" fmla="*/ 184864 w 614938"/>
                  <a:gd name="connsiteY2081" fmla="*/ 477202 h 716071"/>
                  <a:gd name="connsiteX2082" fmla="*/ 159028 w 614938"/>
                  <a:gd name="connsiteY2082" fmla="*/ 508421 h 716071"/>
                  <a:gd name="connsiteX2083" fmla="*/ 133789 w 614938"/>
                  <a:gd name="connsiteY2083" fmla="*/ 538923 h 716071"/>
                  <a:gd name="connsiteX2084" fmla="*/ 133131 w 614938"/>
                  <a:gd name="connsiteY2084" fmla="*/ 536830 h 716071"/>
                  <a:gd name="connsiteX2085" fmla="*/ 158310 w 614938"/>
                  <a:gd name="connsiteY2085" fmla="*/ 506507 h 716071"/>
                  <a:gd name="connsiteX2086" fmla="*/ 159028 w 614938"/>
                  <a:gd name="connsiteY2086" fmla="*/ 508421 h 716071"/>
                  <a:gd name="connsiteX2087" fmla="*/ 133490 w 614938"/>
                  <a:gd name="connsiteY2087" fmla="*/ 539222 h 716071"/>
                  <a:gd name="connsiteX2088" fmla="*/ 108610 w 614938"/>
                  <a:gd name="connsiteY2088" fmla="*/ 569305 h 716071"/>
                  <a:gd name="connsiteX2089" fmla="*/ 108012 w 614938"/>
                  <a:gd name="connsiteY2089" fmla="*/ 567032 h 716071"/>
                  <a:gd name="connsiteX2090" fmla="*/ 132892 w 614938"/>
                  <a:gd name="connsiteY2090" fmla="*/ 537069 h 716071"/>
                  <a:gd name="connsiteX2091" fmla="*/ 133490 w 614938"/>
                  <a:gd name="connsiteY2091" fmla="*/ 539222 h 716071"/>
                  <a:gd name="connsiteX2092" fmla="*/ 108312 w 614938"/>
                  <a:gd name="connsiteY2092" fmla="*/ 569664 h 716071"/>
                  <a:gd name="connsiteX2093" fmla="*/ 83730 w 614938"/>
                  <a:gd name="connsiteY2093" fmla="*/ 599388 h 716071"/>
                  <a:gd name="connsiteX2094" fmla="*/ 83192 w 614938"/>
                  <a:gd name="connsiteY2094" fmla="*/ 596996 h 716071"/>
                  <a:gd name="connsiteX2095" fmla="*/ 107773 w 614938"/>
                  <a:gd name="connsiteY2095" fmla="*/ 567451 h 716071"/>
                  <a:gd name="connsiteX2096" fmla="*/ 108312 w 614938"/>
                  <a:gd name="connsiteY2096" fmla="*/ 569664 h 716071"/>
                  <a:gd name="connsiteX2097" fmla="*/ 83432 w 614938"/>
                  <a:gd name="connsiteY2097" fmla="*/ 599747 h 716071"/>
                  <a:gd name="connsiteX2098" fmla="*/ 59149 w 614938"/>
                  <a:gd name="connsiteY2098" fmla="*/ 629112 h 716071"/>
                  <a:gd name="connsiteX2099" fmla="*/ 58611 w 614938"/>
                  <a:gd name="connsiteY2099" fmla="*/ 626540 h 716071"/>
                  <a:gd name="connsiteX2100" fmla="*/ 82834 w 614938"/>
                  <a:gd name="connsiteY2100" fmla="*/ 597354 h 716071"/>
                  <a:gd name="connsiteX2101" fmla="*/ 83432 w 614938"/>
                  <a:gd name="connsiteY2101" fmla="*/ 599747 h 716071"/>
                  <a:gd name="connsiteX2102" fmla="*/ 58851 w 614938"/>
                  <a:gd name="connsiteY2102" fmla="*/ 629411 h 716071"/>
                  <a:gd name="connsiteX2103" fmla="*/ 34868 w 614938"/>
                  <a:gd name="connsiteY2103" fmla="*/ 658358 h 716071"/>
                  <a:gd name="connsiteX2104" fmla="*/ 34389 w 614938"/>
                  <a:gd name="connsiteY2104" fmla="*/ 655607 h 716071"/>
                  <a:gd name="connsiteX2105" fmla="*/ 58312 w 614938"/>
                  <a:gd name="connsiteY2105" fmla="*/ 626780 h 716071"/>
                  <a:gd name="connsiteX2106" fmla="*/ 58851 w 614938"/>
                  <a:gd name="connsiteY2106" fmla="*/ 629411 h 716071"/>
                  <a:gd name="connsiteX2107" fmla="*/ 15909 w 614938"/>
                  <a:gd name="connsiteY2107" fmla="*/ 674147 h 716071"/>
                  <a:gd name="connsiteX2108" fmla="*/ 15909 w 614938"/>
                  <a:gd name="connsiteY2108" fmla="*/ 674147 h 716071"/>
                  <a:gd name="connsiteX2109" fmla="*/ 15909 w 614938"/>
                  <a:gd name="connsiteY2109" fmla="*/ 674147 h 716071"/>
                  <a:gd name="connsiteX2110" fmla="*/ 15969 w 614938"/>
                  <a:gd name="connsiteY2110" fmla="*/ 674207 h 716071"/>
                  <a:gd name="connsiteX2111" fmla="*/ 16029 w 614938"/>
                  <a:gd name="connsiteY2111" fmla="*/ 674207 h 716071"/>
                  <a:gd name="connsiteX2112" fmla="*/ 16089 w 614938"/>
                  <a:gd name="connsiteY2112" fmla="*/ 674207 h 716071"/>
                  <a:gd name="connsiteX2113" fmla="*/ 16089 w 614938"/>
                  <a:gd name="connsiteY2113" fmla="*/ 674207 h 716071"/>
                  <a:gd name="connsiteX2114" fmla="*/ 16089 w 614938"/>
                  <a:gd name="connsiteY2114" fmla="*/ 674207 h 716071"/>
                  <a:gd name="connsiteX2115" fmla="*/ 16089 w 614938"/>
                  <a:gd name="connsiteY2115" fmla="*/ 674207 h 716071"/>
                  <a:gd name="connsiteX2116" fmla="*/ 34031 w 614938"/>
                  <a:gd name="connsiteY2116" fmla="*/ 656085 h 716071"/>
                  <a:gd name="connsiteX2117" fmla="*/ 34509 w 614938"/>
                  <a:gd name="connsiteY2117" fmla="*/ 658836 h 716071"/>
                  <a:gd name="connsiteX2118" fmla="*/ 16926 w 614938"/>
                  <a:gd name="connsiteY2118" fmla="*/ 677078 h 716071"/>
                  <a:gd name="connsiteX2119" fmla="*/ 14593 w 614938"/>
                  <a:gd name="connsiteY2119" fmla="*/ 676001 h 716071"/>
                  <a:gd name="connsiteX2120" fmla="*/ 13516 w 614938"/>
                  <a:gd name="connsiteY2120" fmla="*/ 672712 h 716071"/>
                  <a:gd name="connsiteX2121" fmla="*/ 15909 w 614938"/>
                  <a:gd name="connsiteY2121" fmla="*/ 674147 h 716071"/>
                  <a:gd name="connsiteX2122" fmla="*/ 12021 w 614938"/>
                  <a:gd name="connsiteY2122" fmla="*/ 672173 h 716071"/>
                  <a:gd name="connsiteX2123" fmla="*/ 12261 w 614938"/>
                  <a:gd name="connsiteY2123" fmla="*/ 669602 h 716071"/>
                  <a:gd name="connsiteX2124" fmla="*/ 13278 w 614938"/>
                  <a:gd name="connsiteY2124" fmla="*/ 669721 h 716071"/>
                  <a:gd name="connsiteX2125" fmla="*/ 13038 w 614938"/>
                  <a:gd name="connsiteY2125" fmla="*/ 672233 h 716071"/>
                  <a:gd name="connsiteX2126" fmla="*/ 12021 w 614938"/>
                  <a:gd name="connsiteY2126" fmla="*/ 672173 h 716071"/>
                  <a:gd name="connsiteX2127" fmla="*/ 15251 w 614938"/>
                  <a:gd name="connsiteY2127" fmla="*/ 668047 h 716071"/>
                  <a:gd name="connsiteX2128" fmla="*/ 17284 w 614938"/>
                  <a:gd name="connsiteY2128" fmla="*/ 669841 h 716071"/>
                  <a:gd name="connsiteX2129" fmla="*/ 16089 w 614938"/>
                  <a:gd name="connsiteY2129" fmla="*/ 671276 h 716071"/>
                  <a:gd name="connsiteX2130" fmla="*/ 13756 w 614938"/>
                  <a:gd name="connsiteY2130" fmla="*/ 669542 h 716071"/>
                  <a:gd name="connsiteX2131" fmla="*/ 15251 w 614938"/>
                  <a:gd name="connsiteY2131" fmla="*/ 668047 h 716071"/>
                  <a:gd name="connsiteX2132" fmla="*/ 17165 w 614938"/>
                  <a:gd name="connsiteY2132" fmla="*/ 667269 h 716071"/>
                  <a:gd name="connsiteX2133" fmla="*/ 17284 w 614938"/>
                  <a:gd name="connsiteY2133" fmla="*/ 667269 h 716071"/>
                  <a:gd name="connsiteX2134" fmla="*/ 15131 w 614938"/>
                  <a:gd name="connsiteY2134" fmla="*/ 667628 h 716071"/>
                  <a:gd name="connsiteX2135" fmla="*/ 15012 w 614938"/>
                  <a:gd name="connsiteY2135" fmla="*/ 667628 h 716071"/>
                  <a:gd name="connsiteX2136" fmla="*/ 15729 w 614938"/>
                  <a:gd name="connsiteY2136" fmla="*/ 667508 h 716071"/>
                  <a:gd name="connsiteX2137" fmla="*/ 15729 w 614938"/>
                  <a:gd name="connsiteY2137" fmla="*/ 667508 h 716071"/>
                  <a:gd name="connsiteX2138" fmla="*/ 17165 w 614938"/>
                  <a:gd name="connsiteY2138" fmla="*/ 667269 h 716071"/>
                  <a:gd name="connsiteX2139" fmla="*/ 15909 w 614938"/>
                  <a:gd name="connsiteY2139" fmla="*/ 666133 h 716071"/>
                  <a:gd name="connsiteX2140" fmla="*/ 15789 w 614938"/>
                  <a:gd name="connsiteY2140" fmla="*/ 666193 h 716071"/>
                  <a:gd name="connsiteX2141" fmla="*/ 15789 w 614938"/>
                  <a:gd name="connsiteY2141" fmla="*/ 665894 h 716071"/>
                  <a:gd name="connsiteX2142" fmla="*/ 15909 w 614938"/>
                  <a:gd name="connsiteY2142" fmla="*/ 665894 h 716071"/>
                  <a:gd name="connsiteX2143" fmla="*/ 15909 w 614938"/>
                  <a:gd name="connsiteY2143" fmla="*/ 666133 h 716071"/>
                  <a:gd name="connsiteX2144" fmla="*/ 12739 w 614938"/>
                  <a:gd name="connsiteY2144" fmla="*/ 664578 h 716071"/>
                  <a:gd name="connsiteX2145" fmla="*/ 12919 w 614938"/>
                  <a:gd name="connsiteY2145" fmla="*/ 664219 h 716071"/>
                  <a:gd name="connsiteX2146" fmla="*/ 13038 w 614938"/>
                  <a:gd name="connsiteY2146" fmla="*/ 664339 h 716071"/>
                  <a:gd name="connsiteX2147" fmla="*/ 12739 w 614938"/>
                  <a:gd name="connsiteY2147" fmla="*/ 664578 h 716071"/>
                  <a:gd name="connsiteX2148" fmla="*/ 13338 w 614938"/>
                  <a:gd name="connsiteY2148" fmla="*/ 664638 h 716071"/>
                  <a:gd name="connsiteX2149" fmla="*/ 13457 w 614938"/>
                  <a:gd name="connsiteY2149" fmla="*/ 664817 h 716071"/>
                  <a:gd name="connsiteX2150" fmla="*/ 12978 w 614938"/>
                  <a:gd name="connsiteY2150" fmla="*/ 664937 h 716071"/>
                  <a:gd name="connsiteX2151" fmla="*/ 13338 w 614938"/>
                  <a:gd name="connsiteY2151" fmla="*/ 664638 h 716071"/>
                  <a:gd name="connsiteX2152" fmla="*/ 13636 w 614938"/>
                  <a:gd name="connsiteY2152" fmla="*/ 665176 h 716071"/>
                  <a:gd name="connsiteX2153" fmla="*/ 13696 w 614938"/>
                  <a:gd name="connsiteY2153" fmla="*/ 665415 h 716071"/>
                  <a:gd name="connsiteX2154" fmla="*/ 13098 w 614938"/>
                  <a:gd name="connsiteY2154" fmla="*/ 665295 h 716071"/>
                  <a:gd name="connsiteX2155" fmla="*/ 13636 w 614938"/>
                  <a:gd name="connsiteY2155" fmla="*/ 665176 h 716071"/>
                  <a:gd name="connsiteX2156" fmla="*/ 14115 w 614938"/>
                  <a:gd name="connsiteY2156" fmla="*/ 665415 h 716071"/>
                  <a:gd name="connsiteX2157" fmla="*/ 13995 w 614938"/>
                  <a:gd name="connsiteY2157" fmla="*/ 665116 h 716071"/>
                  <a:gd name="connsiteX2158" fmla="*/ 15191 w 614938"/>
                  <a:gd name="connsiteY2158" fmla="*/ 664996 h 716071"/>
                  <a:gd name="connsiteX2159" fmla="*/ 15371 w 614938"/>
                  <a:gd name="connsiteY2159" fmla="*/ 665535 h 716071"/>
                  <a:gd name="connsiteX2160" fmla="*/ 14115 w 614938"/>
                  <a:gd name="connsiteY2160" fmla="*/ 665415 h 716071"/>
                  <a:gd name="connsiteX2161" fmla="*/ 13816 w 614938"/>
                  <a:gd name="connsiteY2161" fmla="*/ 664757 h 716071"/>
                  <a:gd name="connsiteX2162" fmla="*/ 13636 w 614938"/>
                  <a:gd name="connsiteY2162" fmla="*/ 664458 h 716071"/>
                  <a:gd name="connsiteX2163" fmla="*/ 14713 w 614938"/>
                  <a:gd name="connsiteY2163" fmla="*/ 664159 h 716071"/>
                  <a:gd name="connsiteX2164" fmla="*/ 15012 w 614938"/>
                  <a:gd name="connsiteY2164" fmla="*/ 664638 h 716071"/>
                  <a:gd name="connsiteX2165" fmla="*/ 13816 w 614938"/>
                  <a:gd name="connsiteY2165" fmla="*/ 664757 h 716071"/>
                  <a:gd name="connsiteX2166" fmla="*/ 14354 w 614938"/>
                  <a:gd name="connsiteY2166" fmla="*/ 663920 h 716071"/>
                  <a:gd name="connsiteX2167" fmla="*/ 13338 w 614938"/>
                  <a:gd name="connsiteY2167" fmla="*/ 664219 h 716071"/>
                  <a:gd name="connsiteX2168" fmla="*/ 13158 w 614938"/>
                  <a:gd name="connsiteY2168" fmla="*/ 664039 h 716071"/>
                  <a:gd name="connsiteX2169" fmla="*/ 13995 w 614938"/>
                  <a:gd name="connsiteY2169" fmla="*/ 663621 h 716071"/>
                  <a:gd name="connsiteX2170" fmla="*/ 14354 w 614938"/>
                  <a:gd name="connsiteY2170" fmla="*/ 663920 h 716071"/>
                  <a:gd name="connsiteX2171" fmla="*/ 12560 w 614938"/>
                  <a:gd name="connsiteY2171" fmla="*/ 663980 h 716071"/>
                  <a:gd name="connsiteX2172" fmla="*/ 12440 w 614938"/>
                  <a:gd name="connsiteY2172" fmla="*/ 664279 h 716071"/>
                  <a:gd name="connsiteX2173" fmla="*/ 12440 w 614938"/>
                  <a:gd name="connsiteY2173" fmla="*/ 663920 h 716071"/>
                  <a:gd name="connsiteX2174" fmla="*/ 12560 w 614938"/>
                  <a:gd name="connsiteY2174" fmla="*/ 663980 h 716071"/>
                  <a:gd name="connsiteX2175" fmla="*/ 12021 w 614938"/>
                  <a:gd name="connsiteY2175" fmla="*/ 663860 h 716071"/>
                  <a:gd name="connsiteX2176" fmla="*/ 12021 w 614938"/>
                  <a:gd name="connsiteY2176" fmla="*/ 664159 h 716071"/>
                  <a:gd name="connsiteX2177" fmla="*/ 11961 w 614938"/>
                  <a:gd name="connsiteY2177" fmla="*/ 663860 h 716071"/>
                  <a:gd name="connsiteX2178" fmla="*/ 12021 w 614938"/>
                  <a:gd name="connsiteY2178" fmla="*/ 663860 h 716071"/>
                  <a:gd name="connsiteX2179" fmla="*/ 13816 w 614938"/>
                  <a:gd name="connsiteY2179" fmla="*/ 665714 h 716071"/>
                  <a:gd name="connsiteX2180" fmla="*/ 13816 w 614938"/>
                  <a:gd name="connsiteY2180" fmla="*/ 665894 h 716071"/>
                  <a:gd name="connsiteX2181" fmla="*/ 13218 w 614938"/>
                  <a:gd name="connsiteY2181" fmla="*/ 665595 h 716071"/>
                  <a:gd name="connsiteX2182" fmla="*/ 13816 w 614938"/>
                  <a:gd name="connsiteY2182" fmla="*/ 665714 h 716071"/>
                  <a:gd name="connsiteX2183" fmla="*/ 14174 w 614938"/>
                  <a:gd name="connsiteY2183" fmla="*/ 666073 h 716071"/>
                  <a:gd name="connsiteX2184" fmla="*/ 14174 w 614938"/>
                  <a:gd name="connsiteY2184" fmla="*/ 665774 h 716071"/>
                  <a:gd name="connsiteX2185" fmla="*/ 15431 w 614938"/>
                  <a:gd name="connsiteY2185" fmla="*/ 665894 h 716071"/>
                  <a:gd name="connsiteX2186" fmla="*/ 15431 w 614938"/>
                  <a:gd name="connsiteY2186" fmla="*/ 666372 h 716071"/>
                  <a:gd name="connsiteX2187" fmla="*/ 14174 w 614938"/>
                  <a:gd name="connsiteY2187" fmla="*/ 666073 h 716071"/>
                  <a:gd name="connsiteX2188" fmla="*/ 15729 w 614938"/>
                  <a:gd name="connsiteY2188" fmla="*/ 665535 h 716071"/>
                  <a:gd name="connsiteX2189" fmla="*/ 15550 w 614938"/>
                  <a:gd name="connsiteY2189" fmla="*/ 665116 h 716071"/>
                  <a:gd name="connsiteX2190" fmla="*/ 15729 w 614938"/>
                  <a:gd name="connsiteY2190" fmla="*/ 665176 h 716071"/>
                  <a:gd name="connsiteX2191" fmla="*/ 15849 w 614938"/>
                  <a:gd name="connsiteY2191" fmla="*/ 665535 h 716071"/>
                  <a:gd name="connsiteX2192" fmla="*/ 15729 w 614938"/>
                  <a:gd name="connsiteY2192" fmla="*/ 665535 h 716071"/>
                  <a:gd name="connsiteX2193" fmla="*/ 15371 w 614938"/>
                  <a:gd name="connsiteY2193" fmla="*/ 664697 h 716071"/>
                  <a:gd name="connsiteX2194" fmla="*/ 15191 w 614938"/>
                  <a:gd name="connsiteY2194" fmla="*/ 664458 h 716071"/>
                  <a:gd name="connsiteX2195" fmla="*/ 15311 w 614938"/>
                  <a:gd name="connsiteY2195" fmla="*/ 664518 h 716071"/>
                  <a:gd name="connsiteX2196" fmla="*/ 15431 w 614938"/>
                  <a:gd name="connsiteY2196" fmla="*/ 664697 h 716071"/>
                  <a:gd name="connsiteX2197" fmla="*/ 15371 w 614938"/>
                  <a:gd name="connsiteY2197" fmla="*/ 664697 h 716071"/>
                  <a:gd name="connsiteX2198" fmla="*/ 12739 w 614938"/>
                  <a:gd name="connsiteY2198" fmla="*/ 663740 h 716071"/>
                  <a:gd name="connsiteX2199" fmla="*/ 12620 w 614938"/>
                  <a:gd name="connsiteY2199" fmla="*/ 663681 h 716071"/>
                  <a:gd name="connsiteX2200" fmla="*/ 13218 w 614938"/>
                  <a:gd name="connsiteY2200" fmla="*/ 663262 h 716071"/>
                  <a:gd name="connsiteX2201" fmla="*/ 13516 w 614938"/>
                  <a:gd name="connsiteY2201" fmla="*/ 663382 h 716071"/>
                  <a:gd name="connsiteX2202" fmla="*/ 12739 w 614938"/>
                  <a:gd name="connsiteY2202" fmla="*/ 663740 h 716071"/>
                  <a:gd name="connsiteX2203" fmla="*/ 11783 w 614938"/>
                  <a:gd name="connsiteY2203" fmla="*/ 663382 h 716071"/>
                  <a:gd name="connsiteX2204" fmla="*/ 11603 w 614938"/>
                  <a:gd name="connsiteY2204" fmla="*/ 663561 h 716071"/>
                  <a:gd name="connsiteX2205" fmla="*/ 11304 w 614938"/>
                  <a:gd name="connsiteY2205" fmla="*/ 663740 h 716071"/>
                  <a:gd name="connsiteX2206" fmla="*/ 11304 w 614938"/>
                  <a:gd name="connsiteY2206" fmla="*/ 663980 h 716071"/>
                  <a:gd name="connsiteX2207" fmla="*/ 11304 w 614938"/>
                  <a:gd name="connsiteY2207" fmla="*/ 663980 h 716071"/>
                  <a:gd name="connsiteX2208" fmla="*/ 11543 w 614938"/>
                  <a:gd name="connsiteY2208" fmla="*/ 664039 h 716071"/>
                  <a:gd name="connsiteX2209" fmla="*/ 11603 w 614938"/>
                  <a:gd name="connsiteY2209" fmla="*/ 663980 h 716071"/>
                  <a:gd name="connsiteX2210" fmla="*/ 11842 w 614938"/>
                  <a:gd name="connsiteY2210" fmla="*/ 664817 h 716071"/>
                  <a:gd name="connsiteX2211" fmla="*/ 11961 w 614938"/>
                  <a:gd name="connsiteY2211" fmla="*/ 664937 h 716071"/>
                  <a:gd name="connsiteX2212" fmla="*/ 12021 w 614938"/>
                  <a:gd name="connsiteY2212" fmla="*/ 664937 h 716071"/>
                  <a:gd name="connsiteX2213" fmla="*/ 12081 w 614938"/>
                  <a:gd name="connsiteY2213" fmla="*/ 665056 h 716071"/>
                  <a:gd name="connsiteX2214" fmla="*/ 12141 w 614938"/>
                  <a:gd name="connsiteY2214" fmla="*/ 665176 h 716071"/>
                  <a:gd name="connsiteX2215" fmla="*/ 12141 w 614938"/>
                  <a:gd name="connsiteY2215" fmla="*/ 665176 h 716071"/>
                  <a:gd name="connsiteX2216" fmla="*/ 12141 w 614938"/>
                  <a:gd name="connsiteY2216" fmla="*/ 665236 h 716071"/>
                  <a:gd name="connsiteX2217" fmla="*/ 12141 w 614938"/>
                  <a:gd name="connsiteY2217" fmla="*/ 665236 h 716071"/>
                  <a:gd name="connsiteX2218" fmla="*/ 12141 w 614938"/>
                  <a:gd name="connsiteY2218" fmla="*/ 665236 h 716071"/>
                  <a:gd name="connsiteX2219" fmla="*/ 12201 w 614938"/>
                  <a:gd name="connsiteY2219" fmla="*/ 665295 h 716071"/>
                  <a:gd name="connsiteX2220" fmla="*/ 12261 w 614938"/>
                  <a:gd name="connsiteY2220" fmla="*/ 665295 h 716071"/>
                  <a:gd name="connsiteX2221" fmla="*/ 12321 w 614938"/>
                  <a:gd name="connsiteY2221" fmla="*/ 665355 h 716071"/>
                  <a:gd name="connsiteX2222" fmla="*/ 12440 w 614938"/>
                  <a:gd name="connsiteY2222" fmla="*/ 665415 h 716071"/>
                  <a:gd name="connsiteX2223" fmla="*/ 12440 w 614938"/>
                  <a:gd name="connsiteY2223" fmla="*/ 665415 h 716071"/>
                  <a:gd name="connsiteX2224" fmla="*/ 12500 w 614938"/>
                  <a:gd name="connsiteY2224" fmla="*/ 665535 h 716071"/>
                  <a:gd name="connsiteX2225" fmla="*/ 12560 w 614938"/>
                  <a:gd name="connsiteY2225" fmla="*/ 665595 h 716071"/>
                  <a:gd name="connsiteX2226" fmla="*/ 13696 w 614938"/>
                  <a:gd name="connsiteY2226" fmla="*/ 666133 h 716071"/>
                  <a:gd name="connsiteX2227" fmla="*/ 13636 w 614938"/>
                  <a:gd name="connsiteY2227" fmla="*/ 666312 h 716071"/>
                  <a:gd name="connsiteX2228" fmla="*/ 13696 w 614938"/>
                  <a:gd name="connsiteY2228" fmla="*/ 666551 h 716071"/>
                  <a:gd name="connsiteX2229" fmla="*/ 13756 w 614938"/>
                  <a:gd name="connsiteY2229" fmla="*/ 666551 h 716071"/>
                  <a:gd name="connsiteX2230" fmla="*/ 13995 w 614938"/>
                  <a:gd name="connsiteY2230" fmla="*/ 666551 h 716071"/>
                  <a:gd name="connsiteX2231" fmla="*/ 14115 w 614938"/>
                  <a:gd name="connsiteY2231" fmla="*/ 666312 h 716071"/>
                  <a:gd name="connsiteX2232" fmla="*/ 15371 w 614938"/>
                  <a:gd name="connsiteY2232" fmla="*/ 666611 h 716071"/>
                  <a:gd name="connsiteX2233" fmla="*/ 15251 w 614938"/>
                  <a:gd name="connsiteY2233" fmla="*/ 666910 h 716071"/>
                  <a:gd name="connsiteX2234" fmla="*/ 15251 w 614938"/>
                  <a:gd name="connsiteY2234" fmla="*/ 666910 h 716071"/>
                  <a:gd name="connsiteX2235" fmla="*/ 15251 w 614938"/>
                  <a:gd name="connsiteY2235" fmla="*/ 666910 h 716071"/>
                  <a:gd name="connsiteX2236" fmla="*/ 15251 w 614938"/>
                  <a:gd name="connsiteY2236" fmla="*/ 666970 h 716071"/>
                  <a:gd name="connsiteX2237" fmla="*/ 15251 w 614938"/>
                  <a:gd name="connsiteY2237" fmla="*/ 666970 h 716071"/>
                  <a:gd name="connsiteX2238" fmla="*/ 15251 w 614938"/>
                  <a:gd name="connsiteY2238" fmla="*/ 667030 h 716071"/>
                  <a:gd name="connsiteX2239" fmla="*/ 15251 w 614938"/>
                  <a:gd name="connsiteY2239" fmla="*/ 667030 h 716071"/>
                  <a:gd name="connsiteX2240" fmla="*/ 15251 w 614938"/>
                  <a:gd name="connsiteY2240" fmla="*/ 667090 h 716071"/>
                  <a:gd name="connsiteX2241" fmla="*/ 15251 w 614938"/>
                  <a:gd name="connsiteY2241" fmla="*/ 667090 h 716071"/>
                  <a:gd name="connsiteX2242" fmla="*/ 15251 w 614938"/>
                  <a:gd name="connsiteY2242" fmla="*/ 667090 h 716071"/>
                  <a:gd name="connsiteX2243" fmla="*/ 13756 w 614938"/>
                  <a:gd name="connsiteY2243" fmla="*/ 667329 h 716071"/>
                  <a:gd name="connsiteX2244" fmla="*/ 13756 w 614938"/>
                  <a:gd name="connsiteY2244" fmla="*/ 667329 h 716071"/>
                  <a:gd name="connsiteX2245" fmla="*/ 13756 w 614938"/>
                  <a:gd name="connsiteY2245" fmla="*/ 667329 h 716071"/>
                  <a:gd name="connsiteX2246" fmla="*/ 13756 w 614938"/>
                  <a:gd name="connsiteY2246" fmla="*/ 667329 h 716071"/>
                  <a:gd name="connsiteX2247" fmla="*/ 13756 w 614938"/>
                  <a:gd name="connsiteY2247" fmla="*/ 667329 h 716071"/>
                  <a:gd name="connsiteX2248" fmla="*/ 13756 w 614938"/>
                  <a:gd name="connsiteY2248" fmla="*/ 667329 h 716071"/>
                  <a:gd name="connsiteX2249" fmla="*/ 12978 w 614938"/>
                  <a:gd name="connsiteY2249" fmla="*/ 668106 h 716071"/>
                  <a:gd name="connsiteX2250" fmla="*/ 6280 w 614938"/>
                  <a:gd name="connsiteY2250" fmla="*/ 662185 h 716071"/>
                  <a:gd name="connsiteX2251" fmla="*/ 10228 w 614938"/>
                  <a:gd name="connsiteY2251" fmla="*/ 661587 h 716071"/>
                  <a:gd name="connsiteX2252" fmla="*/ 11783 w 614938"/>
                  <a:gd name="connsiteY2252" fmla="*/ 663382 h 716071"/>
                  <a:gd name="connsiteX2253" fmla="*/ 12739 w 614938"/>
                  <a:gd name="connsiteY2253" fmla="*/ 668465 h 716071"/>
                  <a:gd name="connsiteX2254" fmla="*/ 11902 w 614938"/>
                  <a:gd name="connsiteY2254" fmla="*/ 669243 h 716071"/>
                  <a:gd name="connsiteX2255" fmla="*/ 11902 w 614938"/>
                  <a:gd name="connsiteY2255" fmla="*/ 669243 h 716071"/>
                  <a:gd name="connsiteX2256" fmla="*/ 11902 w 614938"/>
                  <a:gd name="connsiteY2256" fmla="*/ 669243 h 716071"/>
                  <a:gd name="connsiteX2257" fmla="*/ 11902 w 614938"/>
                  <a:gd name="connsiteY2257" fmla="*/ 669243 h 716071"/>
                  <a:gd name="connsiteX2258" fmla="*/ 11184 w 614938"/>
                  <a:gd name="connsiteY2258" fmla="*/ 670140 h 716071"/>
                  <a:gd name="connsiteX2259" fmla="*/ 3649 w 614938"/>
                  <a:gd name="connsiteY2259" fmla="*/ 664638 h 716071"/>
                  <a:gd name="connsiteX2260" fmla="*/ 5921 w 614938"/>
                  <a:gd name="connsiteY2260" fmla="*/ 662485 h 716071"/>
                  <a:gd name="connsiteX2261" fmla="*/ 12739 w 614938"/>
                  <a:gd name="connsiteY2261" fmla="*/ 668465 h 716071"/>
                  <a:gd name="connsiteX2262" fmla="*/ 3170 w 614938"/>
                  <a:gd name="connsiteY2262" fmla="*/ 664757 h 716071"/>
                  <a:gd name="connsiteX2263" fmla="*/ 2752 w 614938"/>
                  <a:gd name="connsiteY2263" fmla="*/ 668346 h 716071"/>
                  <a:gd name="connsiteX2264" fmla="*/ 1735 w 614938"/>
                  <a:gd name="connsiteY2264" fmla="*/ 668346 h 716071"/>
                  <a:gd name="connsiteX2265" fmla="*/ 2154 w 614938"/>
                  <a:gd name="connsiteY2265" fmla="*/ 664638 h 716071"/>
                  <a:gd name="connsiteX2266" fmla="*/ 3170 w 614938"/>
                  <a:gd name="connsiteY2266" fmla="*/ 664757 h 716071"/>
                  <a:gd name="connsiteX2267" fmla="*/ 2871 w 614938"/>
                  <a:gd name="connsiteY2267" fmla="*/ 668704 h 716071"/>
                  <a:gd name="connsiteX2268" fmla="*/ 4486 w 614938"/>
                  <a:gd name="connsiteY2268" fmla="*/ 673609 h 716071"/>
                  <a:gd name="connsiteX2269" fmla="*/ 3469 w 614938"/>
                  <a:gd name="connsiteY2269" fmla="*/ 673728 h 716071"/>
                  <a:gd name="connsiteX2270" fmla="*/ 1854 w 614938"/>
                  <a:gd name="connsiteY2270" fmla="*/ 668704 h 716071"/>
                  <a:gd name="connsiteX2271" fmla="*/ 2871 w 614938"/>
                  <a:gd name="connsiteY2271" fmla="*/ 668704 h 716071"/>
                  <a:gd name="connsiteX2272" fmla="*/ 4605 w 614938"/>
                  <a:gd name="connsiteY2272" fmla="*/ 673968 h 716071"/>
                  <a:gd name="connsiteX2273" fmla="*/ 8134 w 614938"/>
                  <a:gd name="connsiteY2273" fmla="*/ 679829 h 716071"/>
                  <a:gd name="connsiteX2274" fmla="*/ 7177 w 614938"/>
                  <a:gd name="connsiteY2274" fmla="*/ 680068 h 716071"/>
                  <a:gd name="connsiteX2275" fmla="*/ 3529 w 614938"/>
                  <a:gd name="connsiteY2275" fmla="*/ 674027 h 716071"/>
                  <a:gd name="connsiteX2276" fmla="*/ 4605 w 614938"/>
                  <a:gd name="connsiteY2276" fmla="*/ 673968 h 716071"/>
                  <a:gd name="connsiteX2277" fmla="*/ 8373 w 614938"/>
                  <a:gd name="connsiteY2277" fmla="*/ 680187 h 716071"/>
                  <a:gd name="connsiteX2278" fmla="*/ 13636 w 614938"/>
                  <a:gd name="connsiteY2278" fmla="*/ 686587 h 716071"/>
                  <a:gd name="connsiteX2279" fmla="*/ 12799 w 614938"/>
                  <a:gd name="connsiteY2279" fmla="*/ 687005 h 716071"/>
                  <a:gd name="connsiteX2280" fmla="*/ 7357 w 614938"/>
                  <a:gd name="connsiteY2280" fmla="*/ 680427 h 716071"/>
                  <a:gd name="connsiteX2281" fmla="*/ 8373 w 614938"/>
                  <a:gd name="connsiteY2281" fmla="*/ 680187 h 716071"/>
                  <a:gd name="connsiteX2282" fmla="*/ 13995 w 614938"/>
                  <a:gd name="connsiteY2282" fmla="*/ 686946 h 716071"/>
                  <a:gd name="connsiteX2283" fmla="*/ 20634 w 614938"/>
                  <a:gd name="connsiteY2283" fmla="*/ 693465 h 716071"/>
                  <a:gd name="connsiteX2284" fmla="*/ 19976 w 614938"/>
                  <a:gd name="connsiteY2284" fmla="*/ 694063 h 716071"/>
                  <a:gd name="connsiteX2285" fmla="*/ 13158 w 614938"/>
                  <a:gd name="connsiteY2285" fmla="*/ 687424 h 716071"/>
                  <a:gd name="connsiteX2286" fmla="*/ 13995 w 614938"/>
                  <a:gd name="connsiteY2286" fmla="*/ 686946 h 716071"/>
                  <a:gd name="connsiteX2287" fmla="*/ 20933 w 614938"/>
                  <a:gd name="connsiteY2287" fmla="*/ 693704 h 716071"/>
                  <a:gd name="connsiteX2288" fmla="*/ 28468 w 614938"/>
                  <a:gd name="connsiteY2288" fmla="*/ 699744 h 716071"/>
                  <a:gd name="connsiteX2289" fmla="*/ 27990 w 614938"/>
                  <a:gd name="connsiteY2289" fmla="*/ 700462 h 716071"/>
                  <a:gd name="connsiteX2290" fmla="*/ 20275 w 614938"/>
                  <a:gd name="connsiteY2290" fmla="*/ 694242 h 716071"/>
                  <a:gd name="connsiteX2291" fmla="*/ 20933 w 614938"/>
                  <a:gd name="connsiteY2291" fmla="*/ 693704 h 716071"/>
                  <a:gd name="connsiteX2292" fmla="*/ 28408 w 614938"/>
                  <a:gd name="connsiteY2292" fmla="*/ 700761 h 716071"/>
                  <a:gd name="connsiteX2293" fmla="*/ 28887 w 614938"/>
                  <a:gd name="connsiteY2293" fmla="*/ 700043 h 716071"/>
                  <a:gd name="connsiteX2294" fmla="*/ 36782 w 614938"/>
                  <a:gd name="connsiteY2294" fmla="*/ 705247 h 716071"/>
                  <a:gd name="connsiteX2295" fmla="*/ 36543 w 614938"/>
                  <a:gd name="connsiteY2295" fmla="*/ 706084 h 716071"/>
                  <a:gd name="connsiteX2296" fmla="*/ 28408 w 614938"/>
                  <a:gd name="connsiteY2296" fmla="*/ 700761 h 716071"/>
                  <a:gd name="connsiteX2297" fmla="*/ 36841 w 614938"/>
                  <a:gd name="connsiteY2297" fmla="*/ 706323 h 716071"/>
                  <a:gd name="connsiteX2298" fmla="*/ 37081 w 614938"/>
                  <a:gd name="connsiteY2298" fmla="*/ 705486 h 716071"/>
                  <a:gd name="connsiteX2299" fmla="*/ 44677 w 614938"/>
                  <a:gd name="connsiteY2299" fmla="*/ 709373 h 716071"/>
                  <a:gd name="connsiteX2300" fmla="*/ 44617 w 614938"/>
                  <a:gd name="connsiteY2300" fmla="*/ 710330 h 716071"/>
                  <a:gd name="connsiteX2301" fmla="*/ 36841 w 614938"/>
                  <a:gd name="connsiteY2301" fmla="*/ 706323 h 716071"/>
                  <a:gd name="connsiteX2302" fmla="*/ 44975 w 614938"/>
                  <a:gd name="connsiteY2302" fmla="*/ 710450 h 716071"/>
                  <a:gd name="connsiteX2303" fmla="*/ 45035 w 614938"/>
                  <a:gd name="connsiteY2303" fmla="*/ 709493 h 716071"/>
                  <a:gd name="connsiteX2304" fmla="*/ 51793 w 614938"/>
                  <a:gd name="connsiteY2304" fmla="*/ 711885 h 716071"/>
                  <a:gd name="connsiteX2305" fmla="*/ 51913 w 614938"/>
                  <a:gd name="connsiteY2305" fmla="*/ 712902 h 716071"/>
                  <a:gd name="connsiteX2306" fmla="*/ 44975 w 614938"/>
                  <a:gd name="connsiteY2306" fmla="*/ 710450 h 716071"/>
                  <a:gd name="connsiteX2307" fmla="*/ 52271 w 614938"/>
                  <a:gd name="connsiteY2307" fmla="*/ 712962 h 716071"/>
                  <a:gd name="connsiteX2308" fmla="*/ 52152 w 614938"/>
                  <a:gd name="connsiteY2308" fmla="*/ 711945 h 716071"/>
                  <a:gd name="connsiteX2309" fmla="*/ 57594 w 614938"/>
                  <a:gd name="connsiteY2309" fmla="*/ 712663 h 716071"/>
                  <a:gd name="connsiteX2310" fmla="*/ 57834 w 614938"/>
                  <a:gd name="connsiteY2310" fmla="*/ 713680 h 716071"/>
                  <a:gd name="connsiteX2311" fmla="*/ 52271 w 614938"/>
                  <a:gd name="connsiteY2311" fmla="*/ 712962 h 716071"/>
                  <a:gd name="connsiteX2312" fmla="*/ 58193 w 614938"/>
                  <a:gd name="connsiteY2312" fmla="*/ 713680 h 716071"/>
                  <a:gd name="connsiteX2313" fmla="*/ 57954 w 614938"/>
                  <a:gd name="connsiteY2313" fmla="*/ 712663 h 716071"/>
                  <a:gd name="connsiteX2314" fmla="*/ 61721 w 614938"/>
                  <a:gd name="connsiteY2314" fmla="*/ 711766 h 716071"/>
                  <a:gd name="connsiteX2315" fmla="*/ 62020 w 614938"/>
                  <a:gd name="connsiteY2315" fmla="*/ 712723 h 716071"/>
                  <a:gd name="connsiteX2316" fmla="*/ 58193 w 614938"/>
                  <a:gd name="connsiteY2316" fmla="*/ 713680 h 716071"/>
                  <a:gd name="connsiteX2317" fmla="*/ 56399 w 614938"/>
                  <a:gd name="connsiteY2317" fmla="*/ 703213 h 716071"/>
                  <a:gd name="connsiteX2318" fmla="*/ 57056 w 614938"/>
                  <a:gd name="connsiteY2318" fmla="*/ 702376 h 716071"/>
                  <a:gd name="connsiteX2319" fmla="*/ 57056 w 614938"/>
                  <a:gd name="connsiteY2319" fmla="*/ 702376 h 716071"/>
                  <a:gd name="connsiteX2320" fmla="*/ 57056 w 614938"/>
                  <a:gd name="connsiteY2320" fmla="*/ 702376 h 716071"/>
                  <a:gd name="connsiteX2321" fmla="*/ 57056 w 614938"/>
                  <a:gd name="connsiteY2321" fmla="*/ 702376 h 716071"/>
                  <a:gd name="connsiteX2322" fmla="*/ 57056 w 614938"/>
                  <a:gd name="connsiteY2322" fmla="*/ 702376 h 716071"/>
                  <a:gd name="connsiteX2323" fmla="*/ 57056 w 614938"/>
                  <a:gd name="connsiteY2323" fmla="*/ 702376 h 716071"/>
                  <a:gd name="connsiteX2324" fmla="*/ 57056 w 614938"/>
                  <a:gd name="connsiteY2324" fmla="*/ 702376 h 716071"/>
                  <a:gd name="connsiteX2325" fmla="*/ 57056 w 614938"/>
                  <a:gd name="connsiteY2325" fmla="*/ 702376 h 716071"/>
                  <a:gd name="connsiteX2326" fmla="*/ 57056 w 614938"/>
                  <a:gd name="connsiteY2326" fmla="*/ 702376 h 716071"/>
                  <a:gd name="connsiteX2327" fmla="*/ 57116 w 614938"/>
                  <a:gd name="connsiteY2327" fmla="*/ 700941 h 716071"/>
                  <a:gd name="connsiteX2328" fmla="*/ 57296 w 614938"/>
                  <a:gd name="connsiteY2328" fmla="*/ 701060 h 716071"/>
                  <a:gd name="connsiteX2329" fmla="*/ 57296 w 614938"/>
                  <a:gd name="connsiteY2329" fmla="*/ 701060 h 716071"/>
                  <a:gd name="connsiteX2330" fmla="*/ 57356 w 614938"/>
                  <a:gd name="connsiteY2330" fmla="*/ 701060 h 716071"/>
                  <a:gd name="connsiteX2331" fmla="*/ 57356 w 614938"/>
                  <a:gd name="connsiteY2331" fmla="*/ 701060 h 716071"/>
                  <a:gd name="connsiteX2332" fmla="*/ 57416 w 614938"/>
                  <a:gd name="connsiteY2332" fmla="*/ 701060 h 716071"/>
                  <a:gd name="connsiteX2333" fmla="*/ 57416 w 614938"/>
                  <a:gd name="connsiteY2333" fmla="*/ 701060 h 716071"/>
                  <a:gd name="connsiteX2334" fmla="*/ 57475 w 614938"/>
                  <a:gd name="connsiteY2334" fmla="*/ 701060 h 716071"/>
                  <a:gd name="connsiteX2335" fmla="*/ 57774 w 614938"/>
                  <a:gd name="connsiteY2335" fmla="*/ 700881 h 716071"/>
                  <a:gd name="connsiteX2336" fmla="*/ 58252 w 614938"/>
                  <a:gd name="connsiteY2336" fmla="*/ 701957 h 716071"/>
                  <a:gd name="connsiteX2337" fmla="*/ 58013 w 614938"/>
                  <a:gd name="connsiteY2337" fmla="*/ 702137 h 716071"/>
                  <a:gd name="connsiteX2338" fmla="*/ 58013 w 614938"/>
                  <a:gd name="connsiteY2338" fmla="*/ 702376 h 716071"/>
                  <a:gd name="connsiteX2339" fmla="*/ 58013 w 614938"/>
                  <a:gd name="connsiteY2339" fmla="*/ 702376 h 716071"/>
                  <a:gd name="connsiteX2340" fmla="*/ 58252 w 614938"/>
                  <a:gd name="connsiteY2340" fmla="*/ 702436 h 716071"/>
                  <a:gd name="connsiteX2341" fmla="*/ 58432 w 614938"/>
                  <a:gd name="connsiteY2341" fmla="*/ 702316 h 716071"/>
                  <a:gd name="connsiteX2342" fmla="*/ 59209 w 614938"/>
                  <a:gd name="connsiteY2342" fmla="*/ 703333 h 716071"/>
                  <a:gd name="connsiteX2343" fmla="*/ 59269 w 614938"/>
                  <a:gd name="connsiteY2343" fmla="*/ 703393 h 716071"/>
                  <a:gd name="connsiteX2344" fmla="*/ 59389 w 614938"/>
                  <a:gd name="connsiteY2344" fmla="*/ 703452 h 716071"/>
                  <a:gd name="connsiteX2345" fmla="*/ 59389 w 614938"/>
                  <a:gd name="connsiteY2345" fmla="*/ 703452 h 716071"/>
                  <a:gd name="connsiteX2346" fmla="*/ 59449 w 614938"/>
                  <a:gd name="connsiteY2346" fmla="*/ 703572 h 716071"/>
                  <a:gd name="connsiteX2347" fmla="*/ 59509 w 614938"/>
                  <a:gd name="connsiteY2347" fmla="*/ 703632 h 716071"/>
                  <a:gd name="connsiteX2348" fmla="*/ 59509 w 614938"/>
                  <a:gd name="connsiteY2348" fmla="*/ 703632 h 716071"/>
                  <a:gd name="connsiteX2349" fmla="*/ 59568 w 614938"/>
                  <a:gd name="connsiteY2349" fmla="*/ 703692 h 716071"/>
                  <a:gd name="connsiteX2350" fmla="*/ 59568 w 614938"/>
                  <a:gd name="connsiteY2350" fmla="*/ 703692 h 716071"/>
                  <a:gd name="connsiteX2351" fmla="*/ 59568 w 614938"/>
                  <a:gd name="connsiteY2351" fmla="*/ 703692 h 716071"/>
                  <a:gd name="connsiteX2352" fmla="*/ 59628 w 614938"/>
                  <a:gd name="connsiteY2352" fmla="*/ 703692 h 716071"/>
                  <a:gd name="connsiteX2353" fmla="*/ 59747 w 614938"/>
                  <a:gd name="connsiteY2353" fmla="*/ 703751 h 716071"/>
                  <a:gd name="connsiteX2354" fmla="*/ 59927 w 614938"/>
                  <a:gd name="connsiteY2354" fmla="*/ 703811 h 716071"/>
                  <a:gd name="connsiteX2355" fmla="*/ 59927 w 614938"/>
                  <a:gd name="connsiteY2355" fmla="*/ 703811 h 716071"/>
                  <a:gd name="connsiteX2356" fmla="*/ 60107 w 614938"/>
                  <a:gd name="connsiteY2356" fmla="*/ 703871 h 716071"/>
                  <a:gd name="connsiteX2357" fmla="*/ 61004 w 614938"/>
                  <a:gd name="connsiteY2357" fmla="*/ 703931 h 716071"/>
                  <a:gd name="connsiteX2358" fmla="*/ 61004 w 614938"/>
                  <a:gd name="connsiteY2358" fmla="*/ 703991 h 716071"/>
                  <a:gd name="connsiteX2359" fmla="*/ 61064 w 614938"/>
                  <a:gd name="connsiteY2359" fmla="*/ 704230 h 716071"/>
                  <a:gd name="connsiteX2360" fmla="*/ 61124 w 614938"/>
                  <a:gd name="connsiteY2360" fmla="*/ 704230 h 716071"/>
                  <a:gd name="connsiteX2361" fmla="*/ 61362 w 614938"/>
                  <a:gd name="connsiteY2361" fmla="*/ 704230 h 716071"/>
                  <a:gd name="connsiteX2362" fmla="*/ 61482 w 614938"/>
                  <a:gd name="connsiteY2362" fmla="*/ 703931 h 716071"/>
                  <a:gd name="connsiteX2363" fmla="*/ 61662 w 614938"/>
                  <a:gd name="connsiteY2363" fmla="*/ 703692 h 716071"/>
                  <a:gd name="connsiteX2364" fmla="*/ 63695 w 614938"/>
                  <a:gd name="connsiteY2364" fmla="*/ 704888 h 716071"/>
                  <a:gd name="connsiteX2365" fmla="*/ 63635 w 614938"/>
                  <a:gd name="connsiteY2365" fmla="*/ 708656 h 716071"/>
                  <a:gd name="connsiteX2366" fmla="*/ 56399 w 614938"/>
                  <a:gd name="connsiteY2366" fmla="*/ 703213 h 716071"/>
                  <a:gd name="connsiteX2367" fmla="*/ 59987 w 614938"/>
                  <a:gd name="connsiteY2367" fmla="*/ 702735 h 716071"/>
                  <a:gd name="connsiteX2368" fmla="*/ 59987 w 614938"/>
                  <a:gd name="connsiteY2368" fmla="*/ 702197 h 716071"/>
                  <a:gd name="connsiteX2369" fmla="*/ 60226 w 614938"/>
                  <a:gd name="connsiteY2369" fmla="*/ 702316 h 716071"/>
                  <a:gd name="connsiteX2370" fmla="*/ 59987 w 614938"/>
                  <a:gd name="connsiteY2370" fmla="*/ 702735 h 716071"/>
                  <a:gd name="connsiteX2371" fmla="*/ 60585 w 614938"/>
                  <a:gd name="connsiteY2371" fmla="*/ 702496 h 716071"/>
                  <a:gd name="connsiteX2372" fmla="*/ 60764 w 614938"/>
                  <a:gd name="connsiteY2372" fmla="*/ 702615 h 716071"/>
                  <a:gd name="connsiteX2373" fmla="*/ 60406 w 614938"/>
                  <a:gd name="connsiteY2373" fmla="*/ 702854 h 716071"/>
                  <a:gd name="connsiteX2374" fmla="*/ 60585 w 614938"/>
                  <a:gd name="connsiteY2374" fmla="*/ 702496 h 716071"/>
                  <a:gd name="connsiteX2375" fmla="*/ 59628 w 614938"/>
                  <a:gd name="connsiteY2375" fmla="*/ 702675 h 716071"/>
                  <a:gd name="connsiteX2376" fmla="*/ 59389 w 614938"/>
                  <a:gd name="connsiteY2376" fmla="*/ 702077 h 716071"/>
                  <a:gd name="connsiteX2377" fmla="*/ 59628 w 614938"/>
                  <a:gd name="connsiteY2377" fmla="*/ 702137 h 716071"/>
                  <a:gd name="connsiteX2378" fmla="*/ 59628 w 614938"/>
                  <a:gd name="connsiteY2378" fmla="*/ 702675 h 716071"/>
                  <a:gd name="connsiteX2379" fmla="*/ 61004 w 614938"/>
                  <a:gd name="connsiteY2379" fmla="*/ 702974 h 716071"/>
                  <a:gd name="connsiteX2380" fmla="*/ 61064 w 614938"/>
                  <a:gd name="connsiteY2380" fmla="*/ 703094 h 716071"/>
                  <a:gd name="connsiteX2381" fmla="*/ 60704 w 614938"/>
                  <a:gd name="connsiteY2381" fmla="*/ 703153 h 716071"/>
                  <a:gd name="connsiteX2382" fmla="*/ 61004 w 614938"/>
                  <a:gd name="connsiteY2382" fmla="*/ 702974 h 716071"/>
                  <a:gd name="connsiteX2383" fmla="*/ 60645 w 614938"/>
                  <a:gd name="connsiteY2383" fmla="*/ 702256 h 716071"/>
                  <a:gd name="connsiteX2384" fmla="*/ 60764 w 614938"/>
                  <a:gd name="connsiteY2384" fmla="*/ 701240 h 716071"/>
                  <a:gd name="connsiteX2385" fmla="*/ 61183 w 614938"/>
                  <a:gd name="connsiteY2385" fmla="*/ 701539 h 716071"/>
                  <a:gd name="connsiteX2386" fmla="*/ 60944 w 614938"/>
                  <a:gd name="connsiteY2386" fmla="*/ 702436 h 716071"/>
                  <a:gd name="connsiteX2387" fmla="*/ 60645 w 614938"/>
                  <a:gd name="connsiteY2387" fmla="*/ 702256 h 716071"/>
                  <a:gd name="connsiteX2388" fmla="*/ 60286 w 614938"/>
                  <a:gd name="connsiteY2388" fmla="*/ 702017 h 716071"/>
                  <a:gd name="connsiteX2389" fmla="*/ 59987 w 614938"/>
                  <a:gd name="connsiteY2389" fmla="*/ 701897 h 716071"/>
                  <a:gd name="connsiteX2390" fmla="*/ 59867 w 614938"/>
                  <a:gd name="connsiteY2390" fmla="*/ 700761 h 716071"/>
                  <a:gd name="connsiteX2391" fmla="*/ 60406 w 614938"/>
                  <a:gd name="connsiteY2391" fmla="*/ 701000 h 716071"/>
                  <a:gd name="connsiteX2392" fmla="*/ 60286 w 614938"/>
                  <a:gd name="connsiteY2392" fmla="*/ 702017 h 716071"/>
                  <a:gd name="connsiteX2393" fmla="*/ 59628 w 614938"/>
                  <a:gd name="connsiteY2393" fmla="*/ 701778 h 716071"/>
                  <a:gd name="connsiteX2394" fmla="*/ 59269 w 614938"/>
                  <a:gd name="connsiteY2394" fmla="*/ 701718 h 716071"/>
                  <a:gd name="connsiteX2395" fmla="*/ 58911 w 614938"/>
                  <a:gd name="connsiteY2395" fmla="*/ 700582 h 716071"/>
                  <a:gd name="connsiteX2396" fmla="*/ 59449 w 614938"/>
                  <a:gd name="connsiteY2396" fmla="*/ 700641 h 716071"/>
                  <a:gd name="connsiteX2397" fmla="*/ 59628 w 614938"/>
                  <a:gd name="connsiteY2397" fmla="*/ 701778 h 716071"/>
                  <a:gd name="connsiteX2398" fmla="*/ 58492 w 614938"/>
                  <a:gd name="connsiteY2398" fmla="*/ 700223 h 716071"/>
                  <a:gd name="connsiteX2399" fmla="*/ 58252 w 614938"/>
                  <a:gd name="connsiteY2399" fmla="*/ 700283 h 716071"/>
                  <a:gd name="connsiteX2400" fmla="*/ 58252 w 614938"/>
                  <a:gd name="connsiteY2400" fmla="*/ 700283 h 716071"/>
                  <a:gd name="connsiteX2401" fmla="*/ 58492 w 614938"/>
                  <a:gd name="connsiteY2401" fmla="*/ 700223 h 716071"/>
                  <a:gd name="connsiteX2402" fmla="*/ 58492 w 614938"/>
                  <a:gd name="connsiteY2402" fmla="*/ 700223 h 716071"/>
                  <a:gd name="connsiteX2403" fmla="*/ 58552 w 614938"/>
                  <a:gd name="connsiteY2403" fmla="*/ 700582 h 716071"/>
                  <a:gd name="connsiteX2404" fmla="*/ 58911 w 614938"/>
                  <a:gd name="connsiteY2404" fmla="*/ 701718 h 716071"/>
                  <a:gd name="connsiteX2405" fmla="*/ 58611 w 614938"/>
                  <a:gd name="connsiteY2405" fmla="*/ 701778 h 716071"/>
                  <a:gd name="connsiteX2406" fmla="*/ 58073 w 614938"/>
                  <a:gd name="connsiteY2406" fmla="*/ 700641 h 716071"/>
                  <a:gd name="connsiteX2407" fmla="*/ 58552 w 614938"/>
                  <a:gd name="connsiteY2407" fmla="*/ 700582 h 716071"/>
                  <a:gd name="connsiteX2408" fmla="*/ 59030 w 614938"/>
                  <a:gd name="connsiteY2408" fmla="*/ 702077 h 716071"/>
                  <a:gd name="connsiteX2409" fmla="*/ 59269 w 614938"/>
                  <a:gd name="connsiteY2409" fmla="*/ 702675 h 716071"/>
                  <a:gd name="connsiteX2410" fmla="*/ 58851 w 614938"/>
                  <a:gd name="connsiteY2410" fmla="*/ 702137 h 716071"/>
                  <a:gd name="connsiteX2411" fmla="*/ 59030 w 614938"/>
                  <a:gd name="connsiteY2411" fmla="*/ 702077 h 716071"/>
                  <a:gd name="connsiteX2412" fmla="*/ 61243 w 614938"/>
                  <a:gd name="connsiteY2412" fmla="*/ 703452 h 716071"/>
                  <a:gd name="connsiteX2413" fmla="*/ 61243 w 614938"/>
                  <a:gd name="connsiteY2413" fmla="*/ 703572 h 716071"/>
                  <a:gd name="connsiteX2414" fmla="*/ 60944 w 614938"/>
                  <a:gd name="connsiteY2414" fmla="*/ 703572 h 716071"/>
                  <a:gd name="connsiteX2415" fmla="*/ 61243 w 614938"/>
                  <a:gd name="connsiteY2415" fmla="*/ 703452 h 716071"/>
                  <a:gd name="connsiteX2416" fmla="*/ 61841 w 614938"/>
                  <a:gd name="connsiteY2416" fmla="*/ 702854 h 716071"/>
                  <a:gd name="connsiteX2417" fmla="*/ 61721 w 614938"/>
                  <a:gd name="connsiteY2417" fmla="*/ 702974 h 716071"/>
                  <a:gd name="connsiteX2418" fmla="*/ 61841 w 614938"/>
                  <a:gd name="connsiteY2418" fmla="*/ 702854 h 716071"/>
                  <a:gd name="connsiteX2419" fmla="*/ 61841 w 614938"/>
                  <a:gd name="connsiteY2419" fmla="*/ 702854 h 716071"/>
                  <a:gd name="connsiteX2420" fmla="*/ 61662 w 614938"/>
                  <a:gd name="connsiteY2420" fmla="*/ 702197 h 716071"/>
                  <a:gd name="connsiteX2421" fmla="*/ 61302 w 614938"/>
                  <a:gd name="connsiteY2421" fmla="*/ 702854 h 716071"/>
                  <a:gd name="connsiteX2422" fmla="*/ 61183 w 614938"/>
                  <a:gd name="connsiteY2422" fmla="*/ 702735 h 716071"/>
                  <a:gd name="connsiteX2423" fmla="*/ 61422 w 614938"/>
                  <a:gd name="connsiteY2423" fmla="*/ 701957 h 716071"/>
                  <a:gd name="connsiteX2424" fmla="*/ 61662 w 614938"/>
                  <a:gd name="connsiteY2424" fmla="*/ 702197 h 716071"/>
                  <a:gd name="connsiteX2425" fmla="*/ 59987 w 614938"/>
                  <a:gd name="connsiteY2425" fmla="*/ 700462 h 716071"/>
                  <a:gd name="connsiteX2426" fmla="*/ 59987 w 614938"/>
                  <a:gd name="connsiteY2426" fmla="*/ 700462 h 716071"/>
                  <a:gd name="connsiteX2427" fmla="*/ 59747 w 614938"/>
                  <a:gd name="connsiteY2427" fmla="*/ 700402 h 716071"/>
                  <a:gd name="connsiteX2428" fmla="*/ 59747 w 614938"/>
                  <a:gd name="connsiteY2428" fmla="*/ 700343 h 716071"/>
                  <a:gd name="connsiteX2429" fmla="*/ 59987 w 614938"/>
                  <a:gd name="connsiteY2429" fmla="*/ 700462 h 716071"/>
                  <a:gd name="connsiteX2430" fmla="*/ 59329 w 614938"/>
                  <a:gd name="connsiteY2430" fmla="*/ 700223 h 716071"/>
                  <a:gd name="connsiteX2431" fmla="*/ 59389 w 614938"/>
                  <a:gd name="connsiteY2431" fmla="*/ 700343 h 716071"/>
                  <a:gd name="connsiteX2432" fmla="*/ 58911 w 614938"/>
                  <a:gd name="connsiteY2432" fmla="*/ 700283 h 716071"/>
                  <a:gd name="connsiteX2433" fmla="*/ 58911 w 614938"/>
                  <a:gd name="connsiteY2433" fmla="*/ 700223 h 716071"/>
                  <a:gd name="connsiteX2434" fmla="*/ 59329 w 614938"/>
                  <a:gd name="connsiteY2434" fmla="*/ 700223 h 716071"/>
                  <a:gd name="connsiteX2435" fmla="*/ 63755 w 614938"/>
                  <a:gd name="connsiteY2435" fmla="*/ 704409 h 716071"/>
                  <a:gd name="connsiteX2436" fmla="*/ 62080 w 614938"/>
                  <a:gd name="connsiteY2436" fmla="*/ 703393 h 716071"/>
                  <a:gd name="connsiteX2437" fmla="*/ 62200 w 614938"/>
                  <a:gd name="connsiteY2437" fmla="*/ 703034 h 716071"/>
                  <a:gd name="connsiteX2438" fmla="*/ 62200 w 614938"/>
                  <a:gd name="connsiteY2438" fmla="*/ 703034 h 716071"/>
                  <a:gd name="connsiteX2439" fmla="*/ 62200 w 614938"/>
                  <a:gd name="connsiteY2439" fmla="*/ 703034 h 716071"/>
                  <a:gd name="connsiteX2440" fmla="*/ 62200 w 614938"/>
                  <a:gd name="connsiteY2440" fmla="*/ 703034 h 716071"/>
                  <a:gd name="connsiteX2441" fmla="*/ 62200 w 614938"/>
                  <a:gd name="connsiteY2441" fmla="*/ 703034 h 716071"/>
                  <a:gd name="connsiteX2442" fmla="*/ 62200 w 614938"/>
                  <a:gd name="connsiteY2442" fmla="*/ 703034 h 716071"/>
                  <a:gd name="connsiteX2443" fmla="*/ 62080 w 614938"/>
                  <a:gd name="connsiteY2443" fmla="*/ 702316 h 716071"/>
                  <a:gd name="connsiteX2444" fmla="*/ 62080 w 614938"/>
                  <a:gd name="connsiteY2444" fmla="*/ 702316 h 716071"/>
                  <a:gd name="connsiteX2445" fmla="*/ 62080 w 614938"/>
                  <a:gd name="connsiteY2445" fmla="*/ 702316 h 716071"/>
                  <a:gd name="connsiteX2446" fmla="*/ 62080 w 614938"/>
                  <a:gd name="connsiteY2446" fmla="*/ 702316 h 716071"/>
                  <a:gd name="connsiteX2447" fmla="*/ 62080 w 614938"/>
                  <a:gd name="connsiteY2447" fmla="*/ 702316 h 716071"/>
                  <a:gd name="connsiteX2448" fmla="*/ 62080 w 614938"/>
                  <a:gd name="connsiteY2448" fmla="*/ 702316 h 716071"/>
                  <a:gd name="connsiteX2449" fmla="*/ 61602 w 614938"/>
                  <a:gd name="connsiteY2449" fmla="*/ 701598 h 716071"/>
                  <a:gd name="connsiteX2450" fmla="*/ 61602 w 614938"/>
                  <a:gd name="connsiteY2450" fmla="*/ 701598 h 716071"/>
                  <a:gd name="connsiteX2451" fmla="*/ 61602 w 614938"/>
                  <a:gd name="connsiteY2451" fmla="*/ 701598 h 716071"/>
                  <a:gd name="connsiteX2452" fmla="*/ 61602 w 614938"/>
                  <a:gd name="connsiteY2452" fmla="*/ 701598 h 716071"/>
                  <a:gd name="connsiteX2453" fmla="*/ 60884 w 614938"/>
                  <a:gd name="connsiteY2453" fmla="*/ 700821 h 716071"/>
                  <a:gd name="connsiteX2454" fmla="*/ 60884 w 614938"/>
                  <a:gd name="connsiteY2454" fmla="*/ 700821 h 716071"/>
                  <a:gd name="connsiteX2455" fmla="*/ 60884 w 614938"/>
                  <a:gd name="connsiteY2455" fmla="*/ 700821 h 716071"/>
                  <a:gd name="connsiteX2456" fmla="*/ 60346 w 614938"/>
                  <a:gd name="connsiteY2456" fmla="*/ 700402 h 716071"/>
                  <a:gd name="connsiteX2457" fmla="*/ 60346 w 614938"/>
                  <a:gd name="connsiteY2457" fmla="*/ 700402 h 716071"/>
                  <a:gd name="connsiteX2458" fmla="*/ 60346 w 614938"/>
                  <a:gd name="connsiteY2458" fmla="*/ 700402 h 716071"/>
                  <a:gd name="connsiteX2459" fmla="*/ 60346 w 614938"/>
                  <a:gd name="connsiteY2459" fmla="*/ 700402 h 716071"/>
                  <a:gd name="connsiteX2460" fmla="*/ 60286 w 614938"/>
                  <a:gd name="connsiteY2460" fmla="*/ 700402 h 716071"/>
                  <a:gd name="connsiteX2461" fmla="*/ 60286 w 614938"/>
                  <a:gd name="connsiteY2461" fmla="*/ 700402 h 716071"/>
                  <a:gd name="connsiteX2462" fmla="*/ 59628 w 614938"/>
                  <a:gd name="connsiteY2462" fmla="*/ 700103 h 716071"/>
                  <a:gd name="connsiteX2463" fmla="*/ 59628 w 614938"/>
                  <a:gd name="connsiteY2463" fmla="*/ 700103 h 716071"/>
                  <a:gd name="connsiteX2464" fmla="*/ 59628 w 614938"/>
                  <a:gd name="connsiteY2464" fmla="*/ 700103 h 716071"/>
                  <a:gd name="connsiteX2465" fmla="*/ 59628 w 614938"/>
                  <a:gd name="connsiteY2465" fmla="*/ 700103 h 716071"/>
                  <a:gd name="connsiteX2466" fmla="*/ 58971 w 614938"/>
                  <a:gd name="connsiteY2466" fmla="*/ 699984 h 716071"/>
                  <a:gd name="connsiteX2467" fmla="*/ 58971 w 614938"/>
                  <a:gd name="connsiteY2467" fmla="*/ 699984 h 716071"/>
                  <a:gd name="connsiteX2468" fmla="*/ 58971 w 614938"/>
                  <a:gd name="connsiteY2468" fmla="*/ 699984 h 716071"/>
                  <a:gd name="connsiteX2469" fmla="*/ 58971 w 614938"/>
                  <a:gd name="connsiteY2469" fmla="*/ 699984 h 716071"/>
                  <a:gd name="connsiteX2470" fmla="*/ 58372 w 614938"/>
                  <a:gd name="connsiteY2470" fmla="*/ 700103 h 716071"/>
                  <a:gd name="connsiteX2471" fmla="*/ 58372 w 614938"/>
                  <a:gd name="connsiteY2471" fmla="*/ 700103 h 716071"/>
                  <a:gd name="connsiteX2472" fmla="*/ 58372 w 614938"/>
                  <a:gd name="connsiteY2472" fmla="*/ 700103 h 716071"/>
                  <a:gd name="connsiteX2473" fmla="*/ 58372 w 614938"/>
                  <a:gd name="connsiteY2473" fmla="*/ 700103 h 716071"/>
                  <a:gd name="connsiteX2474" fmla="*/ 58073 w 614938"/>
                  <a:gd name="connsiteY2474" fmla="*/ 700343 h 716071"/>
                  <a:gd name="connsiteX2475" fmla="*/ 58073 w 614938"/>
                  <a:gd name="connsiteY2475" fmla="*/ 700582 h 716071"/>
                  <a:gd name="connsiteX2476" fmla="*/ 58073 w 614938"/>
                  <a:gd name="connsiteY2476" fmla="*/ 700641 h 716071"/>
                  <a:gd name="connsiteX2477" fmla="*/ 57714 w 614938"/>
                  <a:gd name="connsiteY2477" fmla="*/ 700881 h 716071"/>
                  <a:gd name="connsiteX2478" fmla="*/ 57594 w 614938"/>
                  <a:gd name="connsiteY2478" fmla="*/ 700821 h 716071"/>
                  <a:gd name="connsiteX2479" fmla="*/ 57654 w 614938"/>
                  <a:gd name="connsiteY2479" fmla="*/ 699565 h 716071"/>
                  <a:gd name="connsiteX2480" fmla="*/ 57654 w 614938"/>
                  <a:gd name="connsiteY2480" fmla="*/ 699565 h 716071"/>
                  <a:gd name="connsiteX2481" fmla="*/ 57654 w 614938"/>
                  <a:gd name="connsiteY2481" fmla="*/ 699505 h 716071"/>
                  <a:gd name="connsiteX2482" fmla="*/ 57654 w 614938"/>
                  <a:gd name="connsiteY2482" fmla="*/ 699505 h 716071"/>
                  <a:gd name="connsiteX2483" fmla="*/ 57654 w 614938"/>
                  <a:gd name="connsiteY2483" fmla="*/ 699505 h 716071"/>
                  <a:gd name="connsiteX2484" fmla="*/ 57654 w 614938"/>
                  <a:gd name="connsiteY2484" fmla="*/ 699505 h 716071"/>
                  <a:gd name="connsiteX2485" fmla="*/ 56877 w 614938"/>
                  <a:gd name="connsiteY2485" fmla="*/ 697472 h 716071"/>
                  <a:gd name="connsiteX2486" fmla="*/ 62379 w 614938"/>
                  <a:gd name="connsiteY2486" fmla="*/ 699924 h 716071"/>
                  <a:gd name="connsiteX2487" fmla="*/ 63755 w 614938"/>
                  <a:gd name="connsiteY2487" fmla="*/ 704409 h 716071"/>
                  <a:gd name="connsiteX2488" fmla="*/ 392694 w 614938"/>
                  <a:gd name="connsiteY2488" fmla="*/ 261298 h 716071"/>
                  <a:gd name="connsiteX2489" fmla="*/ 417933 w 614938"/>
                  <a:gd name="connsiteY2489" fmla="*/ 229301 h 716071"/>
                  <a:gd name="connsiteX2490" fmla="*/ 418352 w 614938"/>
                  <a:gd name="connsiteY2490" fmla="*/ 229600 h 716071"/>
                  <a:gd name="connsiteX2491" fmla="*/ 393292 w 614938"/>
                  <a:gd name="connsiteY2491" fmla="*/ 261477 h 716071"/>
                  <a:gd name="connsiteX2492" fmla="*/ 392694 w 614938"/>
                  <a:gd name="connsiteY2492" fmla="*/ 261298 h 716071"/>
                  <a:gd name="connsiteX2493" fmla="*/ 401606 w 614938"/>
                  <a:gd name="connsiteY2493" fmla="*/ 228882 h 716071"/>
                  <a:gd name="connsiteX2494" fmla="*/ 417275 w 614938"/>
                  <a:gd name="connsiteY2494" fmla="*/ 210103 h 716071"/>
                  <a:gd name="connsiteX2495" fmla="*/ 416797 w 614938"/>
                  <a:gd name="connsiteY2495" fmla="*/ 213033 h 716071"/>
                  <a:gd name="connsiteX2496" fmla="*/ 413986 w 614938"/>
                  <a:gd name="connsiteY2496" fmla="*/ 219732 h 716071"/>
                  <a:gd name="connsiteX2497" fmla="*/ 401606 w 614938"/>
                  <a:gd name="connsiteY2497" fmla="*/ 228882 h 716071"/>
                  <a:gd name="connsiteX2498" fmla="*/ 415720 w 614938"/>
                  <a:gd name="connsiteY2498" fmla="*/ 207112 h 716071"/>
                  <a:gd name="connsiteX2499" fmla="*/ 415720 w 614938"/>
                  <a:gd name="connsiteY2499" fmla="*/ 207112 h 716071"/>
                  <a:gd name="connsiteX2500" fmla="*/ 415720 w 614938"/>
                  <a:gd name="connsiteY2500" fmla="*/ 207112 h 716071"/>
                  <a:gd name="connsiteX2501" fmla="*/ 415600 w 614938"/>
                  <a:gd name="connsiteY2501" fmla="*/ 207053 h 716071"/>
                  <a:gd name="connsiteX2502" fmla="*/ 415600 w 614938"/>
                  <a:gd name="connsiteY2502" fmla="*/ 207053 h 716071"/>
                  <a:gd name="connsiteX2503" fmla="*/ 396881 w 614938"/>
                  <a:gd name="connsiteY2503" fmla="*/ 204959 h 716071"/>
                  <a:gd name="connsiteX2504" fmla="*/ 387910 w 614938"/>
                  <a:gd name="connsiteY2504" fmla="*/ 194433 h 716071"/>
                  <a:gd name="connsiteX2505" fmla="*/ 416259 w 614938"/>
                  <a:gd name="connsiteY2505" fmla="*/ 173800 h 716071"/>
                  <a:gd name="connsiteX2506" fmla="*/ 434500 w 614938"/>
                  <a:gd name="connsiteY2506" fmla="*/ 192639 h 716071"/>
                  <a:gd name="connsiteX2507" fmla="*/ 417634 w 614938"/>
                  <a:gd name="connsiteY2507" fmla="*/ 210222 h 716071"/>
                  <a:gd name="connsiteX2508" fmla="*/ 417754 w 614938"/>
                  <a:gd name="connsiteY2508" fmla="*/ 209565 h 716071"/>
                  <a:gd name="connsiteX2509" fmla="*/ 417754 w 614938"/>
                  <a:gd name="connsiteY2509" fmla="*/ 209565 h 716071"/>
                  <a:gd name="connsiteX2510" fmla="*/ 417754 w 614938"/>
                  <a:gd name="connsiteY2510" fmla="*/ 209565 h 716071"/>
                  <a:gd name="connsiteX2511" fmla="*/ 417754 w 614938"/>
                  <a:gd name="connsiteY2511" fmla="*/ 209565 h 716071"/>
                  <a:gd name="connsiteX2512" fmla="*/ 417754 w 614938"/>
                  <a:gd name="connsiteY2512" fmla="*/ 209565 h 716071"/>
                  <a:gd name="connsiteX2513" fmla="*/ 417754 w 614938"/>
                  <a:gd name="connsiteY2513" fmla="*/ 209565 h 716071"/>
                  <a:gd name="connsiteX2514" fmla="*/ 417754 w 614938"/>
                  <a:gd name="connsiteY2514" fmla="*/ 209565 h 716071"/>
                  <a:gd name="connsiteX2515" fmla="*/ 417754 w 614938"/>
                  <a:gd name="connsiteY2515" fmla="*/ 209565 h 716071"/>
                  <a:gd name="connsiteX2516" fmla="*/ 417754 w 614938"/>
                  <a:gd name="connsiteY2516" fmla="*/ 209565 h 716071"/>
                  <a:gd name="connsiteX2517" fmla="*/ 417754 w 614938"/>
                  <a:gd name="connsiteY2517" fmla="*/ 209565 h 716071"/>
                  <a:gd name="connsiteX2518" fmla="*/ 417754 w 614938"/>
                  <a:gd name="connsiteY2518" fmla="*/ 209565 h 716071"/>
                  <a:gd name="connsiteX2519" fmla="*/ 417754 w 614938"/>
                  <a:gd name="connsiteY2519" fmla="*/ 209565 h 716071"/>
                  <a:gd name="connsiteX2520" fmla="*/ 417754 w 614938"/>
                  <a:gd name="connsiteY2520" fmla="*/ 209565 h 716071"/>
                  <a:gd name="connsiteX2521" fmla="*/ 415720 w 614938"/>
                  <a:gd name="connsiteY2521" fmla="*/ 207112 h 716071"/>
                  <a:gd name="connsiteX2522" fmla="*/ 394609 w 614938"/>
                  <a:gd name="connsiteY2522" fmla="*/ 204660 h 716071"/>
                  <a:gd name="connsiteX2523" fmla="*/ 387073 w 614938"/>
                  <a:gd name="connsiteY2523" fmla="*/ 195749 h 716071"/>
                  <a:gd name="connsiteX2524" fmla="*/ 387073 w 614938"/>
                  <a:gd name="connsiteY2524" fmla="*/ 195510 h 716071"/>
                  <a:gd name="connsiteX2525" fmla="*/ 394788 w 614938"/>
                  <a:gd name="connsiteY2525" fmla="*/ 204660 h 716071"/>
                  <a:gd name="connsiteX2526" fmla="*/ 394609 w 614938"/>
                  <a:gd name="connsiteY2526" fmla="*/ 204660 h 716071"/>
                  <a:gd name="connsiteX2527" fmla="*/ 422778 w 614938"/>
                  <a:gd name="connsiteY2527" fmla="*/ 220928 h 716071"/>
                  <a:gd name="connsiteX2528" fmla="*/ 422718 w 614938"/>
                  <a:gd name="connsiteY2528" fmla="*/ 220808 h 716071"/>
                  <a:gd name="connsiteX2529" fmla="*/ 423376 w 614938"/>
                  <a:gd name="connsiteY2529" fmla="*/ 215485 h 716071"/>
                  <a:gd name="connsiteX2530" fmla="*/ 425230 w 614938"/>
                  <a:gd name="connsiteY2530" fmla="*/ 217100 h 716071"/>
                  <a:gd name="connsiteX2531" fmla="*/ 424691 w 614938"/>
                  <a:gd name="connsiteY2531" fmla="*/ 222363 h 716071"/>
                  <a:gd name="connsiteX2532" fmla="*/ 422778 w 614938"/>
                  <a:gd name="connsiteY2532" fmla="*/ 220928 h 716071"/>
                  <a:gd name="connsiteX2533" fmla="*/ 428998 w 614938"/>
                  <a:gd name="connsiteY2533" fmla="*/ 204301 h 716071"/>
                  <a:gd name="connsiteX2534" fmla="*/ 432287 w 614938"/>
                  <a:gd name="connsiteY2534" fmla="*/ 208249 h 716071"/>
                  <a:gd name="connsiteX2535" fmla="*/ 428101 w 614938"/>
                  <a:gd name="connsiteY2535" fmla="*/ 211777 h 716071"/>
                  <a:gd name="connsiteX2536" fmla="*/ 424393 w 614938"/>
                  <a:gd name="connsiteY2536" fmla="*/ 207950 h 716071"/>
                  <a:gd name="connsiteX2537" fmla="*/ 424333 w 614938"/>
                  <a:gd name="connsiteY2537" fmla="*/ 207950 h 716071"/>
                  <a:gd name="connsiteX2538" fmla="*/ 428998 w 614938"/>
                  <a:gd name="connsiteY2538" fmla="*/ 204301 h 716071"/>
                  <a:gd name="connsiteX2539" fmla="*/ 440780 w 614938"/>
                  <a:gd name="connsiteY2539" fmla="*/ 202687 h 716071"/>
                  <a:gd name="connsiteX2540" fmla="*/ 443291 w 614938"/>
                  <a:gd name="connsiteY2540" fmla="*/ 206634 h 716071"/>
                  <a:gd name="connsiteX2541" fmla="*/ 438088 w 614938"/>
                  <a:gd name="connsiteY2541" fmla="*/ 206275 h 716071"/>
                  <a:gd name="connsiteX2542" fmla="*/ 435217 w 614938"/>
                  <a:gd name="connsiteY2542" fmla="*/ 202328 h 716071"/>
                  <a:gd name="connsiteX2543" fmla="*/ 440780 w 614938"/>
                  <a:gd name="connsiteY2543" fmla="*/ 202687 h 716071"/>
                  <a:gd name="connsiteX2544" fmla="*/ 449213 w 614938"/>
                  <a:gd name="connsiteY2544" fmla="*/ 209505 h 716071"/>
                  <a:gd name="connsiteX2545" fmla="*/ 449272 w 614938"/>
                  <a:gd name="connsiteY2545" fmla="*/ 209744 h 716071"/>
                  <a:gd name="connsiteX2546" fmla="*/ 449272 w 614938"/>
                  <a:gd name="connsiteY2546" fmla="*/ 209744 h 716071"/>
                  <a:gd name="connsiteX2547" fmla="*/ 449511 w 614938"/>
                  <a:gd name="connsiteY2547" fmla="*/ 209744 h 716071"/>
                  <a:gd name="connsiteX2548" fmla="*/ 449571 w 614938"/>
                  <a:gd name="connsiteY2548" fmla="*/ 209684 h 716071"/>
                  <a:gd name="connsiteX2549" fmla="*/ 449871 w 614938"/>
                  <a:gd name="connsiteY2549" fmla="*/ 209983 h 716071"/>
                  <a:gd name="connsiteX2550" fmla="*/ 451006 w 614938"/>
                  <a:gd name="connsiteY2550" fmla="*/ 212017 h 716071"/>
                  <a:gd name="connsiteX2551" fmla="*/ 448794 w 614938"/>
                  <a:gd name="connsiteY2551" fmla="*/ 209325 h 716071"/>
                  <a:gd name="connsiteX2552" fmla="*/ 448196 w 614938"/>
                  <a:gd name="connsiteY2552" fmla="*/ 208309 h 716071"/>
                  <a:gd name="connsiteX2553" fmla="*/ 449272 w 614938"/>
                  <a:gd name="connsiteY2553" fmla="*/ 209385 h 716071"/>
                  <a:gd name="connsiteX2554" fmla="*/ 449213 w 614938"/>
                  <a:gd name="connsiteY2554" fmla="*/ 209505 h 716071"/>
                  <a:gd name="connsiteX2555" fmla="*/ 453519 w 614938"/>
                  <a:gd name="connsiteY2555" fmla="*/ 219074 h 716071"/>
                  <a:gd name="connsiteX2556" fmla="*/ 453159 w 614938"/>
                  <a:gd name="connsiteY2556" fmla="*/ 221705 h 716071"/>
                  <a:gd name="connsiteX2557" fmla="*/ 452203 w 614938"/>
                  <a:gd name="connsiteY2557" fmla="*/ 218416 h 716071"/>
                  <a:gd name="connsiteX2558" fmla="*/ 452322 w 614938"/>
                  <a:gd name="connsiteY2558" fmla="*/ 214887 h 716071"/>
                  <a:gd name="connsiteX2559" fmla="*/ 453519 w 614938"/>
                  <a:gd name="connsiteY2559" fmla="*/ 219074 h 716071"/>
                  <a:gd name="connsiteX2560" fmla="*/ 439225 w 614938"/>
                  <a:gd name="connsiteY2560" fmla="*/ 234564 h 716071"/>
                  <a:gd name="connsiteX2561" fmla="*/ 442275 w 614938"/>
                  <a:gd name="connsiteY2561" fmla="*/ 232112 h 716071"/>
                  <a:gd name="connsiteX2562" fmla="*/ 444248 w 614938"/>
                  <a:gd name="connsiteY2562" fmla="*/ 232231 h 716071"/>
                  <a:gd name="connsiteX2563" fmla="*/ 442933 w 614938"/>
                  <a:gd name="connsiteY2563" fmla="*/ 234803 h 716071"/>
                  <a:gd name="connsiteX2564" fmla="*/ 439225 w 614938"/>
                  <a:gd name="connsiteY2564" fmla="*/ 234564 h 716071"/>
                  <a:gd name="connsiteX2565" fmla="*/ 442454 w 614938"/>
                  <a:gd name="connsiteY2565" fmla="*/ 231753 h 716071"/>
                  <a:gd name="connsiteX2566" fmla="*/ 444488 w 614938"/>
                  <a:gd name="connsiteY2566" fmla="*/ 227626 h 716071"/>
                  <a:gd name="connsiteX2567" fmla="*/ 444368 w 614938"/>
                  <a:gd name="connsiteY2567" fmla="*/ 231873 h 716071"/>
                  <a:gd name="connsiteX2568" fmla="*/ 442454 w 614938"/>
                  <a:gd name="connsiteY2568" fmla="*/ 231753 h 716071"/>
                  <a:gd name="connsiteX2569" fmla="*/ 444308 w 614938"/>
                  <a:gd name="connsiteY2569" fmla="*/ 225832 h 716071"/>
                  <a:gd name="connsiteX2570" fmla="*/ 441437 w 614938"/>
                  <a:gd name="connsiteY2570" fmla="*/ 220928 h 716071"/>
                  <a:gd name="connsiteX2571" fmla="*/ 443291 w 614938"/>
                  <a:gd name="connsiteY2571" fmla="*/ 220330 h 716071"/>
                  <a:gd name="connsiteX2572" fmla="*/ 444308 w 614938"/>
                  <a:gd name="connsiteY2572" fmla="*/ 225832 h 716071"/>
                  <a:gd name="connsiteX2573" fmla="*/ 443710 w 614938"/>
                  <a:gd name="connsiteY2573" fmla="*/ 220210 h 716071"/>
                  <a:gd name="connsiteX2574" fmla="*/ 445624 w 614938"/>
                  <a:gd name="connsiteY2574" fmla="*/ 220330 h 716071"/>
                  <a:gd name="connsiteX2575" fmla="*/ 444667 w 614938"/>
                  <a:gd name="connsiteY2575" fmla="*/ 225712 h 716071"/>
                  <a:gd name="connsiteX2576" fmla="*/ 443710 w 614938"/>
                  <a:gd name="connsiteY2576" fmla="*/ 220210 h 716071"/>
                  <a:gd name="connsiteX2577" fmla="*/ 444009 w 614938"/>
                  <a:gd name="connsiteY2577" fmla="*/ 226012 h 716071"/>
                  <a:gd name="connsiteX2578" fmla="*/ 439583 w 614938"/>
                  <a:gd name="connsiteY2578" fmla="*/ 222363 h 716071"/>
                  <a:gd name="connsiteX2579" fmla="*/ 441138 w 614938"/>
                  <a:gd name="connsiteY2579" fmla="*/ 221048 h 716071"/>
                  <a:gd name="connsiteX2580" fmla="*/ 444009 w 614938"/>
                  <a:gd name="connsiteY2580" fmla="*/ 226012 h 716071"/>
                  <a:gd name="connsiteX2581" fmla="*/ 443770 w 614938"/>
                  <a:gd name="connsiteY2581" fmla="*/ 226310 h 716071"/>
                  <a:gd name="connsiteX2582" fmla="*/ 438447 w 614938"/>
                  <a:gd name="connsiteY2582" fmla="*/ 224397 h 716071"/>
                  <a:gd name="connsiteX2583" fmla="*/ 439404 w 614938"/>
                  <a:gd name="connsiteY2583" fmla="*/ 222662 h 716071"/>
                  <a:gd name="connsiteX2584" fmla="*/ 443770 w 614938"/>
                  <a:gd name="connsiteY2584" fmla="*/ 226310 h 716071"/>
                  <a:gd name="connsiteX2585" fmla="*/ 443650 w 614938"/>
                  <a:gd name="connsiteY2585" fmla="*/ 226610 h 716071"/>
                  <a:gd name="connsiteX2586" fmla="*/ 438148 w 614938"/>
                  <a:gd name="connsiteY2586" fmla="*/ 226669 h 716071"/>
                  <a:gd name="connsiteX2587" fmla="*/ 438387 w 614938"/>
                  <a:gd name="connsiteY2587" fmla="*/ 224756 h 716071"/>
                  <a:gd name="connsiteX2588" fmla="*/ 443650 w 614938"/>
                  <a:gd name="connsiteY2588" fmla="*/ 226610 h 716071"/>
                  <a:gd name="connsiteX2589" fmla="*/ 445026 w 614938"/>
                  <a:gd name="connsiteY2589" fmla="*/ 225832 h 716071"/>
                  <a:gd name="connsiteX2590" fmla="*/ 445983 w 614938"/>
                  <a:gd name="connsiteY2590" fmla="*/ 220509 h 716071"/>
                  <a:gd name="connsiteX2591" fmla="*/ 447658 w 614938"/>
                  <a:gd name="connsiteY2591" fmla="*/ 221346 h 716071"/>
                  <a:gd name="connsiteX2592" fmla="*/ 445026 w 614938"/>
                  <a:gd name="connsiteY2592" fmla="*/ 225832 h 716071"/>
                  <a:gd name="connsiteX2593" fmla="*/ 447956 w 614938"/>
                  <a:gd name="connsiteY2593" fmla="*/ 221586 h 716071"/>
                  <a:gd name="connsiteX2594" fmla="*/ 449153 w 614938"/>
                  <a:gd name="connsiteY2594" fmla="*/ 223021 h 716071"/>
                  <a:gd name="connsiteX2595" fmla="*/ 445325 w 614938"/>
                  <a:gd name="connsiteY2595" fmla="*/ 226071 h 716071"/>
                  <a:gd name="connsiteX2596" fmla="*/ 447956 w 614938"/>
                  <a:gd name="connsiteY2596" fmla="*/ 221586 h 716071"/>
                  <a:gd name="connsiteX2597" fmla="*/ 443650 w 614938"/>
                  <a:gd name="connsiteY2597" fmla="*/ 219851 h 716071"/>
                  <a:gd name="connsiteX2598" fmla="*/ 441437 w 614938"/>
                  <a:gd name="connsiteY2598" fmla="*/ 213033 h 716071"/>
                  <a:gd name="connsiteX2599" fmla="*/ 445385 w 614938"/>
                  <a:gd name="connsiteY2599" fmla="*/ 213332 h 716071"/>
                  <a:gd name="connsiteX2600" fmla="*/ 445743 w 614938"/>
                  <a:gd name="connsiteY2600" fmla="*/ 220031 h 716071"/>
                  <a:gd name="connsiteX2601" fmla="*/ 443650 w 614938"/>
                  <a:gd name="connsiteY2601" fmla="*/ 219851 h 716071"/>
                  <a:gd name="connsiteX2602" fmla="*/ 443291 w 614938"/>
                  <a:gd name="connsiteY2602" fmla="*/ 219911 h 716071"/>
                  <a:gd name="connsiteX2603" fmla="*/ 441318 w 614938"/>
                  <a:gd name="connsiteY2603" fmla="*/ 220569 h 716071"/>
                  <a:gd name="connsiteX2604" fmla="*/ 437251 w 614938"/>
                  <a:gd name="connsiteY2604" fmla="*/ 214349 h 716071"/>
                  <a:gd name="connsiteX2605" fmla="*/ 441078 w 614938"/>
                  <a:gd name="connsiteY2605" fmla="*/ 213093 h 716071"/>
                  <a:gd name="connsiteX2606" fmla="*/ 443291 w 614938"/>
                  <a:gd name="connsiteY2606" fmla="*/ 219911 h 716071"/>
                  <a:gd name="connsiteX2607" fmla="*/ 440959 w 614938"/>
                  <a:gd name="connsiteY2607" fmla="*/ 220748 h 716071"/>
                  <a:gd name="connsiteX2608" fmla="*/ 439344 w 614938"/>
                  <a:gd name="connsiteY2608" fmla="*/ 222124 h 716071"/>
                  <a:gd name="connsiteX2609" fmla="*/ 433782 w 614938"/>
                  <a:gd name="connsiteY2609" fmla="*/ 217160 h 716071"/>
                  <a:gd name="connsiteX2610" fmla="*/ 436892 w 614938"/>
                  <a:gd name="connsiteY2610" fmla="*/ 214528 h 716071"/>
                  <a:gd name="connsiteX2611" fmla="*/ 440959 w 614938"/>
                  <a:gd name="connsiteY2611" fmla="*/ 220748 h 716071"/>
                  <a:gd name="connsiteX2612" fmla="*/ 439105 w 614938"/>
                  <a:gd name="connsiteY2612" fmla="*/ 222423 h 716071"/>
                  <a:gd name="connsiteX2613" fmla="*/ 438088 w 614938"/>
                  <a:gd name="connsiteY2613" fmla="*/ 224277 h 716071"/>
                  <a:gd name="connsiteX2614" fmla="*/ 431629 w 614938"/>
                  <a:gd name="connsiteY2614" fmla="*/ 220988 h 716071"/>
                  <a:gd name="connsiteX2615" fmla="*/ 433543 w 614938"/>
                  <a:gd name="connsiteY2615" fmla="*/ 217459 h 716071"/>
                  <a:gd name="connsiteX2616" fmla="*/ 439105 w 614938"/>
                  <a:gd name="connsiteY2616" fmla="*/ 222423 h 716071"/>
                  <a:gd name="connsiteX2617" fmla="*/ 438028 w 614938"/>
                  <a:gd name="connsiteY2617" fmla="*/ 224576 h 716071"/>
                  <a:gd name="connsiteX2618" fmla="*/ 437789 w 614938"/>
                  <a:gd name="connsiteY2618" fmla="*/ 226610 h 716071"/>
                  <a:gd name="connsiteX2619" fmla="*/ 431151 w 614938"/>
                  <a:gd name="connsiteY2619" fmla="*/ 225234 h 716071"/>
                  <a:gd name="connsiteX2620" fmla="*/ 431569 w 614938"/>
                  <a:gd name="connsiteY2620" fmla="*/ 221287 h 716071"/>
                  <a:gd name="connsiteX2621" fmla="*/ 438028 w 614938"/>
                  <a:gd name="connsiteY2621" fmla="*/ 224576 h 716071"/>
                  <a:gd name="connsiteX2622" fmla="*/ 443650 w 614938"/>
                  <a:gd name="connsiteY2622" fmla="*/ 227028 h 716071"/>
                  <a:gd name="connsiteX2623" fmla="*/ 438687 w 614938"/>
                  <a:gd name="connsiteY2623" fmla="*/ 228882 h 716071"/>
                  <a:gd name="connsiteX2624" fmla="*/ 438148 w 614938"/>
                  <a:gd name="connsiteY2624" fmla="*/ 227088 h 716071"/>
                  <a:gd name="connsiteX2625" fmla="*/ 443650 w 614938"/>
                  <a:gd name="connsiteY2625" fmla="*/ 227028 h 716071"/>
                  <a:gd name="connsiteX2626" fmla="*/ 443830 w 614938"/>
                  <a:gd name="connsiteY2626" fmla="*/ 227327 h 716071"/>
                  <a:gd name="connsiteX2627" fmla="*/ 440122 w 614938"/>
                  <a:gd name="connsiteY2627" fmla="*/ 230617 h 716071"/>
                  <a:gd name="connsiteX2628" fmla="*/ 438925 w 614938"/>
                  <a:gd name="connsiteY2628" fmla="*/ 229181 h 716071"/>
                  <a:gd name="connsiteX2629" fmla="*/ 443830 w 614938"/>
                  <a:gd name="connsiteY2629" fmla="*/ 227327 h 716071"/>
                  <a:gd name="connsiteX2630" fmla="*/ 449332 w 614938"/>
                  <a:gd name="connsiteY2630" fmla="*/ 223380 h 716071"/>
                  <a:gd name="connsiteX2631" fmla="*/ 449871 w 614938"/>
                  <a:gd name="connsiteY2631" fmla="*/ 225174 h 716071"/>
                  <a:gd name="connsiteX2632" fmla="*/ 445564 w 614938"/>
                  <a:gd name="connsiteY2632" fmla="*/ 226370 h 716071"/>
                  <a:gd name="connsiteX2633" fmla="*/ 449332 w 614938"/>
                  <a:gd name="connsiteY2633" fmla="*/ 223380 h 716071"/>
                  <a:gd name="connsiteX2634" fmla="*/ 448136 w 614938"/>
                  <a:gd name="connsiteY2634" fmla="*/ 221227 h 716071"/>
                  <a:gd name="connsiteX2635" fmla="*/ 449451 w 614938"/>
                  <a:gd name="connsiteY2635" fmla="*/ 215545 h 716071"/>
                  <a:gd name="connsiteX2636" fmla="*/ 451844 w 614938"/>
                  <a:gd name="connsiteY2636" fmla="*/ 218476 h 716071"/>
                  <a:gd name="connsiteX2637" fmla="*/ 449392 w 614938"/>
                  <a:gd name="connsiteY2637" fmla="*/ 222782 h 716071"/>
                  <a:gd name="connsiteX2638" fmla="*/ 448136 w 614938"/>
                  <a:gd name="connsiteY2638" fmla="*/ 221227 h 716071"/>
                  <a:gd name="connsiteX2639" fmla="*/ 449511 w 614938"/>
                  <a:gd name="connsiteY2639" fmla="*/ 215067 h 716071"/>
                  <a:gd name="connsiteX2640" fmla="*/ 448913 w 614938"/>
                  <a:gd name="connsiteY2640" fmla="*/ 209983 h 716071"/>
                  <a:gd name="connsiteX2641" fmla="*/ 452023 w 614938"/>
                  <a:gd name="connsiteY2641" fmla="*/ 213751 h 716071"/>
                  <a:gd name="connsiteX2642" fmla="*/ 451904 w 614938"/>
                  <a:gd name="connsiteY2642" fmla="*/ 217938 h 716071"/>
                  <a:gd name="connsiteX2643" fmla="*/ 449511 w 614938"/>
                  <a:gd name="connsiteY2643" fmla="*/ 215067 h 716071"/>
                  <a:gd name="connsiteX2644" fmla="*/ 447837 w 614938"/>
                  <a:gd name="connsiteY2644" fmla="*/ 220988 h 716071"/>
                  <a:gd name="connsiteX2645" fmla="*/ 446043 w 614938"/>
                  <a:gd name="connsiteY2645" fmla="*/ 220091 h 716071"/>
                  <a:gd name="connsiteX2646" fmla="*/ 445684 w 614938"/>
                  <a:gd name="connsiteY2646" fmla="*/ 213452 h 716071"/>
                  <a:gd name="connsiteX2647" fmla="*/ 449093 w 614938"/>
                  <a:gd name="connsiteY2647" fmla="*/ 215186 h 716071"/>
                  <a:gd name="connsiteX2648" fmla="*/ 447837 w 614938"/>
                  <a:gd name="connsiteY2648" fmla="*/ 220988 h 716071"/>
                  <a:gd name="connsiteX2649" fmla="*/ 441258 w 614938"/>
                  <a:gd name="connsiteY2649" fmla="*/ 212674 h 716071"/>
                  <a:gd name="connsiteX2650" fmla="*/ 438327 w 614938"/>
                  <a:gd name="connsiteY2650" fmla="*/ 206634 h 716071"/>
                  <a:gd name="connsiteX2651" fmla="*/ 443531 w 614938"/>
                  <a:gd name="connsiteY2651" fmla="*/ 206993 h 716071"/>
                  <a:gd name="connsiteX2652" fmla="*/ 445265 w 614938"/>
                  <a:gd name="connsiteY2652" fmla="*/ 212973 h 716071"/>
                  <a:gd name="connsiteX2653" fmla="*/ 441258 w 614938"/>
                  <a:gd name="connsiteY2653" fmla="*/ 212674 h 716071"/>
                  <a:gd name="connsiteX2654" fmla="*/ 440899 w 614938"/>
                  <a:gd name="connsiteY2654" fmla="*/ 212734 h 716071"/>
                  <a:gd name="connsiteX2655" fmla="*/ 437012 w 614938"/>
                  <a:gd name="connsiteY2655" fmla="*/ 214050 h 716071"/>
                  <a:gd name="connsiteX2656" fmla="*/ 432825 w 614938"/>
                  <a:gd name="connsiteY2656" fmla="*/ 208368 h 716071"/>
                  <a:gd name="connsiteX2657" fmla="*/ 437909 w 614938"/>
                  <a:gd name="connsiteY2657" fmla="*/ 206694 h 716071"/>
                  <a:gd name="connsiteX2658" fmla="*/ 440899 w 614938"/>
                  <a:gd name="connsiteY2658" fmla="*/ 212734 h 716071"/>
                  <a:gd name="connsiteX2659" fmla="*/ 436653 w 614938"/>
                  <a:gd name="connsiteY2659" fmla="*/ 214229 h 716071"/>
                  <a:gd name="connsiteX2660" fmla="*/ 433483 w 614938"/>
                  <a:gd name="connsiteY2660" fmla="*/ 216921 h 716071"/>
                  <a:gd name="connsiteX2661" fmla="*/ 428339 w 614938"/>
                  <a:gd name="connsiteY2661" fmla="*/ 212017 h 716071"/>
                  <a:gd name="connsiteX2662" fmla="*/ 432466 w 614938"/>
                  <a:gd name="connsiteY2662" fmla="*/ 208548 h 716071"/>
                  <a:gd name="connsiteX2663" fmla="*/ 436653 w 614938"/>
                  <a:gd name="connsiteY2663" fmla="*/ 214229 h 716071"/>
                  <a:gd name="connsiteX2664" fmla="*/ 433244 w 614938"/>
                  <a:gd name="connsiteY2664" fmla="*/ 217160 h 716071"/>
                  <a:gd name="connsiteX2665" fmla="*/ 431271 w 614938"/>
                  <a:gd name="connsiteY2665" fmla="*/ 220808 h 716071"/>
                  <a:gd name="connsiteX2666" fmla="*/ 425529 w 614938"/>
                  <a:gd name="connsiteY2666" fmla="*/ 217040 h 716071"/>
                  <a:gd name="connsiteX2667" fmla="*/ 428041 w 614938"/>
                  <a:gd name="connsiteY2667" fmla="*/ 212316 h 716071"/>
                  <a:gd name="connsiteX2668" fmla="*/ 433244 w 614938"/>
                  <a:gd name="connsiteY2668" fmla="*/ 217160 h 716071"/>
                  <a:gd name="connsiteX2669" fmla="*/ 431211 w 614938"/>
                  <a:gd name="connsiteY2669" fmla="*/ 221167 h 716071"/>
                  <a:gd name="connsiteX2670" fmla="*/ 430792 w 614938"/>
                  <a:gd name="connsiteY2670" fmla="*/ 225174 h 716071"/>
                  <a:gd name="connsiteX2671" fmla="*/ 424990 w 614938"/>
                  <a:gd name="connsiteY2671" fmla="*/ 222662 h 716071"/>
                  <a:gd name="connsiteX2672" fmla="*/ 425529 w 614938"/>
                  <a:gd name="connsiteY2672" fmla="*/ 217399 h 716071"/>
                  <a:gd name="connsiteX2673" fmla="*/ 431211 w 614938"/>
                  <a:gd name="connsiteY2673" fmla="*/ 221167 h 716071"/>
                  <a:gd name="connsiteX2674" fmla="*/ 437789 w 614938"/>
                  <a:gd name="connsiteY2674" fmla="*/ 227028 h 716071"/>
                  <a:gd name="connsiteX2675" fmla="*/ 438387 w 614938"/>
                  <a:gd name="connsiteY2675" fmla="*/ 228942 h 716071"/>
                  <a:gd name="connsiteX2676" fmla="*/ 432287 w 614938"/>
                  <a:gd name="connsiteY2676" fmla="*/ 229361 h 716071"/>
                  <a:gd name="connsiteX2677" fmla="*/ 431211 w 614938"/>
                  <a:gd name="connsiteY2677" fmla="*/ 225653 h 716071"/>
                  <a:gd name="connsiteX2678" fmla="*/ 437789 w 614938"/>
                  <a:gd name="connsiteY2678" fmla="*/ 227028 h 716071"/>
                  <a:gd name="connsiteX2679" fmla="*/ 438507 w 614938"/>
                  <a:gd name="connsiteY2679" fmla="*/ 229301 h 716071"/>
                  <a:gd name="connsiteX2680" fmla="*/ 439763 w 614938"/>
                  <a:gd name="connsiteY2680" fmla="*/ 230796 h 716071"/>
                  <a:gd name="connsiteX2681" fmla="*/ 434919 w 614938"/>
                  <a:gd name="connsiteY2681" fmla="*/ 232590 h 716071"/>
                  <a:gd name="connsiteX2682" fmla="*/ 432466 w 614938"/>
                  <a:gd name="connsiteY2682" fmla="*/ 229720 h 716071"/>
                  <a:gd name="connsiteX2683" fmla="*/ 438507 w 614938"/>
                  <a:gd name="connsiteY2683" fmla="*/ 229301 h 716071"/>
                  <a:gd name="connsiteX2684" fmla="*/ 444129 w 614938"/>
                  <a:gd name="connsiteY2684" fmla="*/ 227566 h 716071"/>
                  <a:gd name="connsiteX2685" fmla="*/ 442095 w 614938"/>
                  <a:gd name="connsiteY2685" fmla="*/ 231693 h 716071"/>
                  <a:gd name="connsiteX2686" fmla="*/ 440420 w 614938"/>
                  <a:gd name="connsiteY2686" fmla="*/ 230856 h 716071"/>
                  <a:gd name="connsiteX2687" fmla="*/ 444129 w 614938"/>
                  <a:gd name="connsiteY2687" fmla="*/ 227566 h 716071"/>
                  <a:gd name="connsiteX2688" fmla="*/ 444727 w 614938"/>
                  <a:gd name="connsiteY2688" fmla="*/ 231813 h 716071"/>
                  <a:gd name="connsiteX2689" fmla="*/ 444846 w 614938"/>
                  <a:gd name="connsiteY2689" fmla="*/ 227566 h 716071"/>
                  <a:gd name="connsiteX2690" fmla="*/ 446581 w 614938"/>
                  <a:gd name="connsiteY2690" fmla="*/ 231215 h 716071"/>
                  <a:gd name="connsiteX2691" fmla="*/ 444727 w 614938"/>
                  <a:gd name="connsiteY2691" fmla="*/ 231813 h 716071"/>
                  <a:gd name="connsiteX2692" fmla="*/ 449871 w 614938"/>
                  <a:gd name="connsiteY2692" fmla="*/ 225533 h 716071"/>
                  <a:gd name="connsiteX2693" fmla="*/ 449631 w 614938"/>
                  <a:gd name="connsiteY2693" fmla="*/ 227447 h 716071"/>
                  <a:gd name="connsiteX2694" fmla="*/ 445504 w 614938"/>
                  <a:gd name="connsiteY2694" fmla="*/ 226789 h 716071"/>
                  <a:gd name="connsiteX2695" fmla="*/ 449871 w 614938"/>
                  <a:gd name="connsiteY2695" fmla="*/ 225533 h 716071"/>
                  <a:gd name="connsiteX2696" fmla="*/ 450169 w 614938"/>
                  <a:gd name="connsiteY2696" fmla="*/ 224995 h 716071"/>
                  <a:gd name="connsiteX2697" fmla="*/ 449631 w 614938"/>
                  <a:gd name="connsiteY2697" fmla="*/ 223081 h 716071"/>
                  <a:gd name="connsiteX2698" fmla="*/ 452023 w 614938"/>
                  <a:gd name="connsiteY2698" fmla="*/ 218894 h 716071"/>
                  <a:gd name="connsiteX2699" fmla="*/ 453040 w 614938"/>
                  <a:gd name="connsiteY2699" fmla="*/ 222483 h 716071"/>
                  <a:gd name="connsiteX2700" fmla="*/ 450169 w 614938"/>
                  <a:gd name="connsiteY2700" fmla="*/ 224995 h 716071"/>
                  <a:gd name="connsiteX2701" fmla="*/ 449093 w 614938"/>
                  <a:gd name="connsiteY2701" fmla="*/ 214828 h 716071"/>
                  <a:gd name="connsiteX2702" fmla="*/ 445624 w 614938"/>
                  <a:gd name="connsiteY2702" fmla="*/ 213093 h 716071"/>
                  <a:gd name="connsiteX2703" fmla="*/ 443950 w 614938"/>
                  <a:gd name="connsiteY2703" fmla="*/ 207232 h 716071"/>
                  <a:gd name="connsiteX2704" fmla="*/ 448494 w 614938"/>
                  <a:gd name="connsiteY2704" fmla="*/ 209565 h 716071"/>
                  <a:gd name="connsiteX2705" fmla="*/ 449093 w 614938"/>
                  <a:gd name="connsiteY2705" fmla="*/ 214828 h 716071"/>
                  <a:gd name="connsiteX2706" fmla="*/ 434799 w 614938"/>
                  <a:gd name="connsiteY2706" fmla="*/ 202328 h 716071"/>
                  <a:gd name="connsiteX2707" fmla="*/ 437729 w 614938"/>
                  <a:gd name="connsiteY2707" fmla="*/ 206335 h 716071"/>
                  <a:gd name="connsiteX2708" fmla="*/ 432586 w 614938"/>
                  <a:gd name="connsiteY2708" fmla="*/ 208009 h 716071"/>
                  <a:gd name="connsiteX2709" fmla="*/ 429296 w 614938"/>
                  <a:gd name="connsiteY2709" fmla="*/ 204062 h 716071"/>
                  <a:gd name="connsiteX2710" fmla="*/ 434799 w 614938"/>
                  <a:gd name="connsiteY2710" fmla="*/ 202328 h 716071"/>
                  <a:gd name="connsiteX2711" fmla="*/ 423795 w 614938"/>
                  <a:gd name="connsiteY2711" fmla="*/ 208309 h 716071"/>
                  <a:gd name="connsiteX2712" fmla="*/ 423256 w 614938"/>
                  <a:gd name="connsiteY2712" fmla="*/ 212973 h 716071"/>
                  <a:gd name="connsiteX2713" fmla="*/ 419787 w 614938"/>
                  <a:gd name="connsiteY2713" fmla="*/ 212495 h 716071"/>
                  <a:gd name="connsiteX2714" fmla="*/ 423795 w 614938"/>
                  <a:gd name="connsiteY2714" fmla="*/ 208309 h 716071"/>
                  <a:gd name="connsiteX2715" fmla="*/ 419309 w 614938"/>
                  <a:gd name="connsiteY2715" fmla="*/ 212435 h 716071"/>
                  <a:gd name="connsiteX2716" fmla="*/ 418292 w 614938"/>
                  <a:gd name="connsiteY2716" fmla="*/ 212316 h 716071"/>
                  <a:gd name="connsiteX2717" fmla="*/ 435995 w 614938"/>
                  <a:gd name="connsiteY2717" fmla="*/ 193895 h 716071"/>
                  <a:gd name="connsiteX2718" fmla="*/ 436653 w 614938"/>
                  <a:gd name="connsiteY2718" fmla="*/ 194433 h 716071"/>
                  <a:gd name="connsiteX2719" fmla="*/ 419309 w 614938"/>
                  <a:gd name="connsiteY2719" fmla="*/ 212435 h 716071"/>
                  <a:gd name="connsiteX2720" fmla="*/ 417395 w 614938"/>
                  <a:gd name="connsiteY2720" fmla="*/ 211897 h 716071"/>
                  <a:gd name="connsiteX2721" fmla="*/ 435337 w 614938"/>
                  <a:gd name="connsiteY2721" fmla="*/ 193237 h 716071"/>
                  <a:gd name="connsiteX2722" fmla="*/ 435756 w 614938"/>
                  <a:gd name="connsiteY2722" fmla="*/ 193596 h 716071"/>
                  <a:gd name="connsiteX2723" fmla="*/ 417873 w 614938"/>
                  <a:gd name="connsiteY2723" fmla="*/ 212196 h 716071"/>
                  <a:gd name="connsiteX2724" fmla="*/ 417395 w 614938"/>
                  <a:gd name="connsiteY2724" fmla="*/ 212136 h 716071"/>
                  <a:gd name="connsiteX2725" fmla="*/ 417395 w 614938"/>
                  <a:gd name="connsiteY2725" fmla="*/ 211897 h 716071"/>
                  <a:gd name="connsiteX2726" fmla="*/ 436234 w 614938"/>
                  <a:gd name="connsiteY2726" fmla="*/ 192519 h 716071"/>
                  <a:gd name="connsiteX2727" fmla="*/ 436593 w 614938"/>
                  <a:gd name="connsiteY2727" fmla="*/ 192818 h 716071"/>
                  <a:gd name="connsiteX2728" fmla="*/ 435995 w 614938"/>
                  <a:gd name="connsiteY2728" fmla="*/ 193357 h 716071"/>
                  <a:gd name="connsiteX2729" fmla="*/ 435576 w 614938"/>
                  <a:gd name="connsiteY2729" fmla="*/ 192998 h 716071"/>
                  <a:gd name="connsiteX2730" fmla="*/ 436234 w 614938"/>
                  <a:gd name="connsiteY2730" fmla="*/ 192519 h 716071"/>
                  <a:gd name="connsiteX2731" fmla="*/ 437430 w 614938"/>
                  <a:gd name="connsiteY2731" fmla="*/ 192639 h 716071"/>
                  <a:gd name="connsiteX2732" fmla="*/ 437729 w 614938"/>
                  <a:gd name="connsiteY2732" fmla="*/ 192878 h 716071"/>
                  <a:gd name="connsiteX2733" fmla="*/ 437550 w 614938"/>
                  <a:gd name="connsiteY2733" fmla="*/ 193237 h 716071"/>
                  <a:gd name="connsiteX2734" fmla="*/ 437072 w 614938"/>
                  <a:gd name="connsiteY2734" fmla="*/ 192878 h 716071"/>
                  <a:gd name="connsiteX2735" fmla="*/ 437430 w 614938"/>
                  <a:gd name="connsiteY2735" fmla="*/ 192639 h 716071"/>
                  <a:gd name="connsiteX2736" fmla="*/ 436832 w 614938"/>
                  <a:gd name="connsiteY2736" fmla="*/ 193058 h 716071"/>
                  <a:gd name="connsiteX2737" fmla="*/ 437370 w 614938"/>
                  <a:gd name="connsiteY2737" fmla="*/ 193536 h 716071"/>
                  <a:gd name="connsiteX2738" fmla="*/ 436832 w 614938"/>
                  <a:gd name="connsiteY2738" fmla="*/ 194134 h 716071"/>
                  <a:gd name="connsiteX2739" fmla="*/ 436234 w 614938"/>
                  <a:gd name="connsiteY2739" fmla="*/ 193596 h 716071"/>
                  <a:gd name="connsiteX2740" fmla="*/ 436832 w 614938"/>
                  <a:gd name="connsiteY2740" fmla="*/ 193058 h 716071"/>
                  <a:gd name="connsiteX2741" fmla="*/ 437012 w 614938"/>
                  <a:gd name="connsiteY2741" fmla="*/ 192280 h 716071"/>
                  <a:gd name="connsiteX2742" fmla="*/ 437132 w 614938"/>
                  <a:gd name="connsiteY2742" fmla="*/ 192400 h 716071"/>
                  <a:gd name="connsiteX2743" fmla="*/ 436832 w 614938"/>
                  <a:gd name="connsiteY2743" fmla="*/ 192639 h 716071"/>
                  <a:gd name="connsiteX2744" fmla="*/ 436593 w 614938"/>
                  <a:gd name="connsiteY2744" fmla="*/ 192400 h 716071"/>
                  <a:gd name="connsiteX2745" fmla="*/ 437012 w 614938"/>
                  <a:gd name="connsiteY2745" fmla="*/ 192280 h 716071"/>
                  <a:gd name="connsiteX2746" fmla="*/ 435756 w 614938"/>
                  <a:gd name="connsiteY2746" fmla="*/ 192101 h 716071"/>
                  <a:gd name="connsiteX2747" fmla="*/ 435935 w 614938"/>
                  <a:gd name="connsiteY2747" fmla="*/ 192280 h 716071"/>
                  <a:gd name="connsiteX2748" fmla="*/ 435277 w 614938"/>
                  <a:gd name="connsiteY2748" fmla="*/ 192818 h 716071"/>
                  <a:gd name="connsiteX2749" fmla="*/ 435098 w 614938"/>
                  <a:gd name="connsiteY2749" fmla="*/ 192639 h 716071"/>
                  <a:gd name="connsiteX2750" fmla="*/ 435756 w 614938"/>
                  <a:gd name="connsiteY2750" fmla="*/ 192101 h 716071"/>
                  <a:gd name="connsiteX2751" fmla="*/ 437191 w 614938"/>
                  <a:gd name="connsiteY2751" fmla="*/ 194373 h 716071"/>
                  <a:gd name="connsiteX2752" fmla="*/ 437729 w 614938"/>
                  <a:gd name="connsiteY2752" fmla="*/ 193775 h 716071"/>
                  <a:gd name="connsiteX2753" fmla="*/ 446103 w 614938"/>
                  <a:gd name="connsiteY2753" fmla="*/ 200534 h 716071"/>
                  <a:gd name="connsiteX2754" fmla="*/ 445564 w 614938"/>
                  <a:gd name="connsiteY2754" fmla="*/ 201132 h 716071"/>
                  <a:gd name="connsiteX2755" fmla="*/ 437191 w 614938"/>
                  <a:gd name="connsiteY2755" fmla="*/ 194373 h 716071"/>
                  <a:gd name="connsiteX2756" fmla="*/ 446281 w 614938"/>
                  <a:gd name="connsiteY2756" fmla="*/ 200235 h 716071"/>
                  <a:gd name="connsiteX2757" fmla="*/ 437849 w 614938"/>
                  <a:gd name="connsiteY2757" fmla="*/ 193417 h 716071"/>
                  <a:gd name="connsiteX2758" fmla="*/ 438028 w 614938"/>
                  <a:gd name="connsiteY2758" fmla="*/ 193058 h 716071"/>
                  <a:gd name="connsiteX2759" fmla="*/ 446521 w 614938"/>
                  <a:gd name="connsiteY2759" fmla="*/ 199936 h 716071"/>
                  <a:gd name="connsiteX2760" fmla="*/ 446281 w 614938"/>
                  <a:gd name="connsiteY2760" fmla="*/ 200235 h 716071"/>
                  <a:gd name="connsiteX2761" fmla="*/ 436234 w 614938"/>
                  <a:gd name="connsiteY2761" fmla="*/ 192101 h 716071"/>
                  <a:gd name="connsiteX2762" fmla="*/ 436234 w 614938"/>
                  <a:gd name="connsiteY2762" fmla="*/ 192101 h 716071"/>
                  <a:gd name="connsiteX2763" fmla="*/ 436533 w 614938"/>
                  <a:gd name="connsiteY2763" fmla="*/ 192041 h 716071"/>
                  <a:gd name="connsiteX2764" fmla="*/ 436234 w 614938"/>
                  <a:gd name="connsiteY2764" fmla="*/ 192101 h 716071"/>
                  <a:gd name="connsiteX2765" fmla="*/ 434859 w 614938"/>
                  <a:gd name="connsiteY2765" fmla="*/ 192340 h 716071"/>
                  <a:gd name="connsiteX2766" fmla="*/ 416677 w 614938"/>
                  <a:gd name="connsiteY2766" fmla="*/ 173561 h 716071"/>
                  <a:gd name="connsiteX2767" fmla="*/ 417395 w 614938"/>
                  <a:gd name="connsiteY2767" fmla="*/ 173202 h 716071"/>
                  <a:gd name="connsiteX2768" fmla="*/ 435576 w 614938"/>
                  <a:gd name="connsiteY2768" fmla="*/ 191802 h 716071"/>
                  <a:gd name="connsiteX2769" fmla="*/ 434859 w 614938"/>
                  <a:gd name="connsiteY2769" fmla="*/ 192340 h 716071"/>
                  <a:gd name="connsiteX2770" fmla="*/ 434799 w 614938"/>
                  <a:gd name="connsiteY2770" fmla="*/ 192818 h 716071"/>
                  <a:gd name="connsiteX2771" fmla="*/ 434979 w 614938"/>
                  <a:gd name="connsiteY2771" fmla="*/ 192998 h 716071"/>
                  <a:gd name="connsiteX2772" fmla="*/ 417455 w 614938"/>
                  <a:gd name="connsiteY2772" fmla="*/ 211239 h 716071"/>
                  <a:gd name="connsiteX2773" fmla="*/ 417515 w 614938"/>
                  <a:gd name="connsiteY2773" fmla="*/ 210761 h 716071"/>
                  <a:gd name="connsiteX2774" fmla="*/ 434799 w 614938"/>
                  <a:gd name="connsiteY2774" fmla="*/ 192818 h 716071"/>
                  <a:gd name="connsiteX2775" fmla="*/ 417215 w 614938"/>
                  <a:gd name="connsiteY2775" fmla="*/ 212914 h 716071"/>
                  <a:gd name="connsiteX2776" fmla="*/ 417275 w 614938"/>
                  <a:gd name="connsiteY2776" fmla="*/ 212495 h 716071"/>
                  <a:gd name="connsiteX2777" fmla="*/ 423196 w 614938"/>
                  <a:gd name="connsiteY2777" fmla="*/ 213273 h 716071"/>
                  <a:gd name="connsiteX2778" fmla="*/ 423136 w 614938"/>
                  <a:gd name="connsiteY2778" fmla="*/ 213691 h 716071"/>
                  <a:gd name="connsiteX2779" fmla="*/ 417215 w 614938"/>
                  <a:gd name="connsiteY2779" fmla="*/ 212914 h 716071"/>
                  <a:gd name="connsiteX2780" fmla="*/ 423615 w 614938"/>
                  <a:gd name="connsiteY2780" fmla="*/ 213213 h 716071"/>
                  <a:gd name="connsiteX2781" fmla="*/ 423615 w 614938"/>
                  <a:gd name="connsiteY2781" fmla="*/ 213213 h 716071"/>
                  <a:gd name="connsiteX2782" fmla="*/ 423615 w 614938"/>
                  <a:gd name="connsiteY2782" fmla="*/ 213213 h 716071"/>
                  <a:gd name="connsiteX2783" fmla="*/ 424213 w 614938"/>
                  <a:gd name="connsiteY2783" fmla="*/ 208249 h 716071"/>
                  <a:gd name="connsiteX2784" fmla="*/ 427861 w 614938"/>
                  <a:gd name="connsiteY2784" fmla="*/ 212017 h 716071"/>
                  <a:gd name="connsiteX2785" fmla="*/ 425290 w 614938"/>
                  <a:gd name="connsiteY2785" fmla="*/ 216801 h 716071"/>
                  <a:gd name="connsiteX2786" fmla="*/ 423376 w 614938"/>
                  <a:gd name="connsiteY2786" fmla="*/ 215067 h 716071"/>
                  <a:gd name="connsiteX2787" fmla="*/ 423615 w 614938"/>
                  <a:gd name="connsiteY2787" fmla="*/ 213213 h 716071"/>
                  <a:gd name="connsiteX2788" fmla="*/ 430792 w 614938"/>
                  <a:gd name="connsiteY2788" fmla="*/ 225533 h 716071"/>
                  <a:gd name="connsiteX2789" fmla="*/ 431928 w 614938"/>
                  <a:gd name="connsiteY2789" fmla="*/ 229301 h 716071"/>
                  <a:gd name="connsiteX2790" fmla="*/ 426546 w 614938"/>
                  <a:gd name="connsiteY2790" fmla="*/ 227985 h 716071"/>
                  <a:gd name="connsiteX2791" fmla="*/ 425050 w 614938"/>
                  <a:gd name="connsiteY2791" fmla="*/ 223081 h 716071"/>
                  <a:gd name="connsiteX2792" fmla="*/ 430792 w 614938"/>
                  <a:gd name="connsiteY2792" fmla="*/ 225533 h 716071"/>
                  <a:gd name="connsiteX2793" fmla="*/ 432047 w 614938"/>
                  <a:gd name="connsiteY2793" fmla="*/ 229720 h 716071"/>
                  <a:gd name="connsiteX2794" fmla="*/ 434440 w 614938"/>
                  <a:gd name="connsiteY2794" fmla="*/ 232590 h 716071"/>
                  <a:gd name="connsiteX2795" fmla="*/ 430014 w 614938"/>
                  <a:gd name="connsiteY2795" fmla="*/ 232172 h 716071"/>
                  <a:gd name="connsiteX2796" fmla="*/ 426844 w 614938"/>
                  <a:gd name="connsiteY2796" fmla="*/ 228404 h 716071"/>
                  <a:gd name="connsiteX2797" fmla="*/ 432047 w 614938"/>
                  <a:gd name="connsiteY2797" fmla="*/ 229720 h 716071"/>
                  <a:gd name="connsiteX2798" fmla="*/ 440062 w 614938"/>
                  <a:gd name="connsiteY2798" fmla="*/ 231095 h 716071"/>
                  <a:gd name="connsiteX2799" fmla="*/ 441796 w 614938"/>
                  <a:gd name="connsiteY2799" fmla="*/ 231992 h 716071"/>
                  <a:gd name="connsiteX2800" fmla="*/ 438627 w 614938"/>
                  <a:gd name="connsiteY2800" fmla="*/ 234564 h 716071"/>
                  <a:gd name="connsiteX2801" fmla="*/ 435277 w 614938"/>
                  <a:gd name="connsiteY2801" fmla="*/ 232889 h 716071"/>
                  <a:gd name="connsiteX2802" fmla="*/ 440062 w 614938"/>
                  <a:gd name="connsiteY2802" fmla="*/ 231095 h 716071"/>
                  <a:gd name="connsiteX2803" fmla="*/ 443411 w 614938"/>
                  <a:gd name="connsiteY2803" fmla="*/ 234684 h 716071"/>
                  <a:gd name="connsiteX2804" fmla="*/ 444667 w 614938"/>
                  <a:gd name="connsiteY2804" fmla="*/ 232231 h 716071"/>
                  <a:gd name="connsiteX2805" fmla="*/ 446641 w 614938"/>
                  <a:gd name="connsiteY2805" fmla="*/ 231574 h 716071"/>
                  <a:gd name="connsiteX2806" fmla="*/ 446999 w 614938"/>
                  <a:gd name="connsiteY2806" fmla="*/ 233487 h 716071"/>
                  <a:gd name="connsiteX2807" fmla="*/ 443411 w 614938"/>
                  <a:gd name="connsiteY2807" fmla="*/ 234684 h 716071"/>
                  <a:gd name="connsiteX2808" fmla="*/ 446880 w 614938"/>
                  <a:gd name="connsiteY2808" fmla="*/ 231035 h 716071"/>
                  <a:gd name="connsiteX2809" fmla="*/ 445145 w 614938"/>
                  <a:gd name="connsiteY2809" fmla="*/ 227387 h 716071"/>
                  <a:gd name="connsiteX2810" fmla="*/ 448375 w 614938"/>
                  <a:gd name="connsiteY2810" fmla="*/ 229779 h 716071"/>
                  <a:gd name="connsiteX2811" fmla="*/ 446880 w 614938"/>
                  <a:gd name="connsiteY2811" fmla="*/ 231035 h 716071"/>
                  <a:gd name="connsiteX2812" fmla="*/ 445385 w 614938"/>
                  <a:gd name="connsiteY2812" fmla="*/ 227088 h 716071"/>
                  <a:gd name="connsiteX2813" fmla="*/ 449511 w 614938"/>
                  <a:gd name="connsiteY2813" fmla="*/ 227746 h 716071"/>
                  <a:gd name="connsiteX2814" fmla="*/ 448554 w 614938"/>
                  <a:gd name="connsiteY2814" fmla="*/ 229480 h 716071"/>
                  <a:gd name="connsiteX2815" fmla="*/ 445385 w 614938"/>
                  <a:gd name="connsiteY2815" fmla="*/ 227088 h 716071"/>
                  <a:gd name="connsiteX2816" fmla="*/ 450049 w 614938"/>
                  <a:gd name="connsiteY2816" fmla="*/ 227387 h 716071"/>
                  <a:gd name="connsiteX2817" fmla="*/ 450289 w 614938"/>
                  <a:gd name="connsiteY2817" fmla="*/ 225354 h 716071"/>
                  <a:gd name="connsiteX2818" fmla="*/ 453040 w 614938"/>
                  <a:gd name="connsiteY2818" fmla="*/ 222961 h 716071"/>
                  <a:gd name="connsiteX2819" fmla="*/ 452861 w 614938"/>
                  <a:gd name="connsiteY2819" fmla="*/ 224756 h 716071"/>
                  <a:gd name="connsiteX2820" fmla="*/ 452861 w 614938"/>
                  <a:gd name="connsiteY2820" fmla="*/ 224756 h 716071"/>
                  <a:gd name="connsiteX2821" fmla="*/ 452621 w 614938"/>
                  <a:gd name="connsiteY2821" fmla="*/ 226669 h 716071"/>
                  <a:gd name="connsiteX2822" fmla="*/ 450049 w 614938"/>
                  <a:gd name="connsiteY2822" fmla="*/ 227387 h 716071"/>
                  <a:gd name="connsiteX2823" fmla="*/ 452322 w 614938"/>
                  <a:gd name="connsiteY2823" fmla="*/ 213631 h 716071"/>
                  <a:gd name="connsiteX2824" fmla="*/ 452322 w 614938"/>
                  <a:gd name="connsiteY2824" fmla="*/ 213631 h 716071"/>
                  <a:gd name="connsiteX2825" fmla="*/ 452322 w 614938"/>
                  <a:gd name="connsiteY2825" fmla="*/ 213631 h 716071"/>
                  <a:gd name="connsiteX2826" fmla="*/ 452322 w 614938"/>
                  <a:gd name="connsiteY2826" fmla="*/ 213631 h 716071"/>
                  <a:gd name="connsiteX2827" fmla="*/ 452322 w 614938"/>
                  <a:gd name="connsiteY2827" fmla="*/ 213631 h 716071"/>
                  <a:gd name="connsiteX2828" fmla="*/ 450109 w 614938"/>
                  <a:gd name="connsiteY2828" fmla="*/ 209744 h 716071"/>
                  <a:gd name="connsiteX2829" fmla="*/ 450049 w 614938"/>
                  <a:gd name="connsiteY2829" fmla="*/ 209684 h 716071"/>
                  <a:gd name="connsiteX2830" fmla="*/ 449691 w 614938"/>
                  <a:gd name="connsiteY2830" fmla="*/ 209325 h 716071"/>
                  <a:gd name="connsiteX2831" fmla="*/ 451844 w 614938"/>
                  <a:gd name="connsiteY2831" fmla="*/ 206694 h 716071"/>
                  <a:gd name="connsiteX2832" fmla="*/ 458363 w 614938"/>
                  <a:gd name="connsiteY2832" fmla="*/ 211957 h 716071"/>
                  <a:gd name="connsiteX2833" fmla="*/ 453757 w 614938"/>
                  <a:gd name="connsiteY2833" fmla="*/ 218715 h 716071"/>
                  <a:gd name="connsiteX2834" fmla="*/ 452322 w 614938"/>
                  <a:gd name="connsiteY2834" fmla="*/ 213631 h 716071"/>
                  <a:gd name="connsiteX2835" fmla="*/ 453100 w 614938"/>
                  <a:gd name="connsiteY2835" fmla="*/ 205258 h 716071"/>
                  <a:gd name="connsiteX2836" fmla="*/ 459260 w 614938"/>
                  <a:gd name="connsiteY2836" fmla="*/ 210222 h 716071"/>
                  <a:gd name="connsiteX2837" fmla="*/ 459140 w 614938"/>
                  <a:gd name="connsiteY2837" fmla="*/ 210581 h 716071"/>
                  <a:gd name="connsiteX2838" fmla="*/ 452861 w 614938"/>
                  <a:gd name="connsiteY2838" fmla="*/ 205498 h 716071"/>
                  <a:gd name="connsiteX2839" fmla="*/ 453100 w 614938"/>
                  <a:gd name="connsiteY2839" fmla="*/ 205258 h 716071"/>
                  <a:gd name="connsiteX2840" fmla="*/ 452681 w 614938"/>
                  <a:gd name="connsiteY2840" fmla="*/ 205856 h 716071"/>
                  <a:gd name="connsiteX2841" fmla="*/ 459080 w 614938"/>
                  <a:gd name="connsiteY2841" fmla="*/ 211000 h 716071"/>
                  <a:gd name="connsiteX2842" fmla="*/ 458662 w 614938"/>
                  <a:gd name="connsiteY2842" fmla="*/ 211718 h 716071"/>
                  <a:gd name="connsiteX2843" fmla="*/ 452143 w 614938"/>
                  <a:gd name="connsiteY2843" fmla="*/ 206455 h 716071"/>
                  <a:gd name="connsiteX2844" fmla="*/ 452681 w 614938"/>
                  <a:gd name="connsiteY2844" fmla="*/ 205856 h 716071"/>
                  <a:gd name="connsiteX2845" fmla="*/ 459499 w 614938"/>
                  <a:gd name="connsiteY2845" fmla="*/ 210940 h 716071"/>
                  <a:gd name="connsiteX2846" fmla="*/ 459559 w 614938"/>
                  <a:gd name="connsiteY2846" fmla="*/ 210581 h 716071"/>
                  <a:gd name="connsiteX2847" fmla="*/ 459978 w 614938"/>
                  <a:gd name="connsiteY2847" fmla="*/ 211060 h 716071"/>
                  <a:gd name="connsiteX2848" fmla="*/ 459918 w 614938"/>
                  <a:gd name="connsiteY2848" fmla="*/ 211359 h 716071"/>
                  <a:gd name="connsiteX2849" fmla="*/ 459499 w 614938"/>
                  <a:gd name="connsiteY2849" fmla="*/ 210940 h 716071"/>
                  <a:gd name="connsiteX2850" fmla="*/ 458961 w 614938"/>
                  <a:gd name="connsiteY2850" fmla="*/ 211957 h 716071"/>
                  <a:gd name="connsiteX2851" fmla="*/ 459380 w 614938"/>
                  <a:gd name="connsiteY2851" fmla="*/ 211299 h 716071"/>
                  <a:gd name="connsiteX2852" fmla="*/ 459858 w 614938"/>
                  <a:gd name="connsiteY2852" fmla="*/ 211777 h 716071"/>
                  <a:gd name="connsiteX2853" fmla="*/ 459499 w 614938"/>
                  <a:gd name="connsiteY2853" fmla="*/ 212375 h 716071"/>
                  <a:gd name="connsiteX2854" fmla="*/ 458961 w 614938"/>
                  <a:gd name="connsiteY2854" fmla="*/ 211957 h 716071"/>
                  <a:gd name="connsiteX2855" fmla="*/ 453579 w 614938"/>
                  <a:gd name="connsiteY2855" fmla="*/ 204122 h 716071"/>
                  <a:gd name="connsiteX2856" fmla="*/ 452442 w 614938"/>
                  <a:gd name="connsiteY2856" fmla="*/ 205498 h 716071"/>
                  <a:gd name="connsiteX2857" fmla="*/ 452442 w 614938"/>
                  <a:gd name="connsiteY2857" fmla="*/ 205498 h 716071"/>
                  <a:gd name="connsiteX2858" fmla="*/ 452442 w 614938"/>
                  <a:gd name="connsiteY2858" fmla="*/ 205498 h 716071"/>
                  <a:gd name="connsiteX2859" fmla="*/ 449451 w 614938"/>
                  <a:gd name="connsiteY2859" fmla="*/ 209146 h 716071"/>
                  <a:gd name="connsiteX2860" fmla="*/ 447418 w 614938"/>
                  <a:gd name="connsiteY2860" fmla="*/ 207112 h 716071"/>
                  <a:gd name="connsiteX2861" fmla="*/ 447358 w 614938"/>
                  <a:gd name="connsiteY2861" fmla="*/ 207053 h 716071"/>
                  <a:gd name="connsiteX2862" fmla="*/ 447298 w 614938"/>
                  <a:gd name="connsiteY2862" fmla="*/ 206993 h 716071"/>
                  <a:gd name="connsiteX2863" fmla="*/ 444488 w 614938"/>
                  <a:gd name="connsiteY2863" fmla="*/ 204959 h 716071"/>
                  <a:gd name="connsiteX2864" fmla="*/ 449511 w 614938"/>
                  <a:gd name="connsiteY2864" fmla="*/ 198799 h 716071"/>
                  <a:gd name="connsiteX2865" fmla="*/ 453579 w 614938"/>
                  <a:gd name="connsiteY2865" fmla="*/ 204122 h 716071"/>
                  <a:gd name="connsiteX2866" fmla="*/ 447179 w 614938"/>
                  <a:gd name="connsiteY2866" fmla="*/ 207232 h 716071"/>
                  <a:gd name="connsiteX2867" fmla="*/ 447179 w 614938"/>
                  <a:gd name="connsiteY2867" fmla="*/ 207232 h 716071"/>
                  <a:gd name="connsiteX2868" fmla="*/ 447179 w 614938"/>
                  <a:gd name="connsiteY2868" fmla="*/ 207232 h 716071"/>
                  <a:gd name="connsiteX2869" fmla="*/ 448196 w 614938"/>
                  <a:gd name="connsiteY2869" fmla="*/ 208966 h 716071"/>
                  <a:gd name="connsiteX2870" fmla="*/ 443830 w 614938"/>
                  <a:gd name="connsiteY2870" fmla="*/ 206694 h 716071"/>
                  <a:gd name="connsiteX2871" fmla="*/ 441617 w 614938"/>
                  <a:gd name="connsiteY2871" fmla="*/ 203225 h 716071"/>
                  <a:gd name="connsiteX2872" fmla="*/ 447179 w 614938"/>
                  <a:gd name="connsiteY2872" fmla="*/ 207232 h 716071"/>
                  <a:gd name="connsiteX2873" fmla="*/ 441018 w 614938"/>
                  <a:gd name="connsiteY2873" fmla="*/ 202388 h 716071"/>
                  <a:gd name="connsiteX2874" fmla="*/ 441018 w 614938"/>
                  <a:gd name="connsiteY2874" fmla="*/ 202388 h 716071"/>
                  <a:gd name="connsiteX2875" fmla="*/ 441018 w 614938"/>
                  <a:gd name="connsiteY2875" fmla="*/ 202388 h 716071"/>
                  <a:gd name="connsiteX2876" fmla="*/ 440959 w 614938"/>
                  <a:gd name="connsiteY2876" fmla="*/ 202328 h 716071"/>
                  <a:gd name="connsiteX2877" fmla="*/ 440959 w 614938"/>
                  <a:gd name="connsiteY2877" fmla="*/ 202328 h 716071"/>
                  <a:gd name="connsiteX2878" fmla="*/ 434919 w 614938"/>
                  <a:gd name="connsiteY2878" fmla="*/ 201909 h 716071"/>
                  <a:gd name="connsiteX2879" fmla="*/ 434859 w 614938"/>
                  <a:gd name="connsiteY2879" fmla="*/ 201909 h 716071"/>
                  <a:gd name="connsiteX2880" fmla="*/ 434859 w 614938"/>
                  <a:gd name="connsiteY2880" fmla="*/ 201909 h 716071"/>
                  <a:gd name="connsiteX2881" fmla="*/ 434859 w 614938"/>
                  <a:gd name="connsiteY2881" fmla="*/ 201909 h 716071"/>
                  <a:gd name="connsiteX2882" fmla="*/ 434859 w 614938"/>
                  <a:gd name="connsiteY2882" fmla="*/ 201909 h 716071"/>
                  <a:gd name="connsiteX2883" fmla="*/ 428998 w 614938"/>
                  <a:gd name="connsiteY2883" fmla="*/ 203823 h 716071"/>
                  <a:gd name="connsiteX2884" fmla="*/ 428998 w 614938"/>
                  <a:gd name="connsiteY2884" fmla="*/ 203823 h 716071"/>
                  <a:gd name="connsiteX2885" fmla="*/ 428938 w 614938"/>
                  <a:gd name="connsiteY2885" fmla="*/ 203823 h 716071"/>
                  <a:gd name="connsiteX2886" fmla="*/ 425768 w 614938"/>
                  <a:gd name="connsiteY2886" fmla="*/ 206275 h 716071"/>
                  <a:gd name="connsiteX2887" fmla="*/ 436952 w 614938"/>
                  <a:gd name="connsiteY2887" fmla="*/ 194613 h 716071"/>
                  <a:gd name="connsiteX2888" fmla="*/ 445325 w 614938"/>
                  <a:gd name="connsiteY2888" fmla="*/ 201371 h 716071"/>
                  <a:gd name="connsiteX2889" fmla="*/ 443232 w 614938"/>
                  <a:gd name="connsiteY2889" fmla="*/ 203943 h 716071"/>
                  <a:gd name="connsiteX2890" fmla="*/ 441018 w 614938"/>
                  <a:gd name="connsiteY2890" fmla="*/ 202388 h 716071"/>
                  <a:gd name="connsiteX2891" fmla="*/ 435875 w 614938"/>
                  <a:gd name="connsiteY2891" fmla="*/ 191682 h 716071"/>
                  <a:gd name="connsiteX2892" fmla="*/ 417814 w 614938"/>
                  <a:gd name="connsiteY2892" fmla="*/ 173202 h 716071"/>
                  <a:gd name="connsiteX2893" fmla="*/ 418352 w 614938"/>
                  <a:gd name="connsiteY2893" fmla="*/ 173202 h 716071"/>
                  <a:gd name="connsiteX2894" fmla="*/ 436414 w 614938"/>
                  <a:gd name="connsiteY2894" fmla="*/ 191682 h 716071"/>
                  <a:gd name="connsiteX2895" fmla="*/ 435875 w 614938"/>
                  <a:gd name="connsiteY2895" fmla="*/ 191682 h 716071"/>
                  <a:gd name="connsiteX2896" fmla="*/ 395386 w 614938"/>
                  <a:gd name="connsiteY2896" fmla="*/ 204780 h 716071"/>
                  <a:gd name="connsiteX2897" fmla="*/ 387192 w 614938"/>
                  <a:gd name="connsiteY2897" fmla="*/ 195091 h 716071"/>
                  <a:gd name="connsiteX2898" fmla="*/ 387671 w 614938"/>
                  <a:gd name="connsiteY2898" fmla="*/ 194613 h 716071"/>
                  <a:gd name="connsiteX2899" fmla="*/ 396402 w 614938"/>
                  <a:gd name="connsiteY2899" fmla="*/ 204899 h 716071"/>
                  <a:gd name="connsiteX2900" fmla="*/ 395386 w 614938"/>
                  <a:gd name="connsiteY2900" fmla="*/ 204780 h 716071"/>
                  <a:gd name="connsiteX2901" fmla="*/ 414404 w 614938"/>
                  <a:gd name="connsiteY2901" fmla="*/ 219672 h 716071"/>
                  <a:gd name="connsiteX2902" fmla="*/ 417096 w 614938"/>
                  <a:gd name="connsiteY2902" fmla="*/ 213273 h 716071"/>
                  <a:gd name="connsiteX2903" fmla="*/ 423076 w 614938"/>
                  <a:gd name="connsiteY2903" fmla="*/ 214110 h 716071"/>
                  <a:gd name="connsiteX2904" fmla="*/ 422957 w 614938"/>
                  <a:gd name="connsiteY2904" fmla="*/ 215127 h 716071"/>
                  <a:gd name="connsiteX2905" fmla="*/ 422957 w 614938"/>
                  <a:gd name="connsiteY2905" fmla="*/ 215127 h 716071"/>
                  <a:gd name="connsiteX2906" fmla="*/ 422299 w 614938"/>
                  <a:gd name="connsiteY2906" fmla="*/ 220748 h 716071"/>
                  <a:gd name="connsiteX2907" fmla="*/ 414404 w 614938"/>
                  <a:gd name="connsiteY2907" fmla="*/ 219672 h 716071"/>
                  <a:gd name="connsiteX2908" fmla="*/ 424571 w 614938"/>
                  <a:gd name="connsiteY2908" fmla="*/ 222842 h 716071"/>
                  <a:gd name="connsiteX2909" fmla="*/ 426007 w 614938"/>
                  <a:gd name="connsiteY2909" fmla="*/ 227626 h 716071"/>
                  <a:gd name="connsiteX2910" fmla="*/ 422598 w 614938"/>
                  <a:gd name="connsiteY2910" fmla="*/ 225174 h 716071"/>
                  <a:gd name="connsiteX2911" fmla="*/ 422658 w 614938"/>
                  <a:gd name="connsiteY2911" fmla="*/ 221346 h 716071"/>
                  <a:gd name="connsiteX2912" fmla="*/ 424571 w 614938"/>
                  <a:gd name="connsiteY2912" fmla="*/ 222842 h 716071"/>
                  <a:gd name="connsiteX2913" fmla="*/ 426246 w 614938"/>
                  <a:gd name="connsiteY2913" fmla="*/ 228224 h 716071"/>
                  <a:gd name="connsiteX2914" fmla="*/ 428938 w 614938"/>
                  <a:gd name="connsiteY2914" fmla="*/ 231454 h 716071"/>
                  <a:gd name="connsiteX2915" fmla="*/ 426366 w 614938"/>
                  <a:gd name="connsiteY2915" fmla="*/ 229660 h 716071"/>
                  <a:gd name="connsiteX2916" fmla="*/ 423495 w 614938"/>
                  <a:gd name="connsiteY2916" fmla="*/ 226251 h 716071"/>
                  <a:gd name="connsiteX2917" fmla="*/ 426246 w 614938"/>
                  <a:gd name="connsiteY2917" fmla="*/ 228224 h 716071"/>
                  <a:gd name="connsiteX2918" fmla="*/ 434859 w 614938"/>
                  <a:gd name="connsiteY2918" fmla="*/ 233009 h 716071"/>
                  <a:gd name="connsiteX2919" fmla="*/ 438028 w 614938"/>
                  <a:gd name="connsiteY2919" fmla="*/ 234564 h 716071"/>
                  <a:gd name="connsiteX2920" fmla="*/ 434979 w 614938"/>
                  <a:gd name="connsiteY2920" fmla="*/ 234624 h 716071"/>
                  <a:gd name="connsiteX2921" fmla="*/ 430911 w 614938"/>
                  <a:gd name="connsiteY2921" fmla="*/ 232590 h 716071"/>
                  <a:gd name="connsiteX2922" fmla="*/ 434859 w 614938"/>
                  <a:gd name="connsiteY2922" fmla="*/ 233009 h 716071"/>
                  <a:gd name="connsiteX2923" fmla="*/ 440062 w 614938"/>
                  <a:gd name="connsiteY2923" fmla="*/ 235341 h 716071"/>
                  <a:gd name="connsiteX2924" fmla="*/ 441437 w 614938"/>
                  <a:gd name="connsiteY2924" fmla="*/ 238990 h 716071"/>
                  <a:gd name="connsiteX2925" fmla="*/ 441258 w 614938"/>
                  <a:gd name="connsiteY2925" fmla="*/ 238810 h 716071"/>
                  <a:gd name="connsiteX2926" fmla="*/ 439942 w 614938"/>
                  <a:gd name="connsiteY2926" fmla="*/ 235341 h 716071"/>
                  <a:gd name="connsiteX2927" fmla="*/ 440062 w 614938"/>
                  <a:gd name="connsiteY2927" fmla="*/ 235341 h 716071"/>
                  <a:gd name="connsiteX2928" fmla="*/ 440899 w 614938"/>
                  <a:gd name="connsiteY2928" fmla="*/ 238810 h 716071"/>
                  <a:gd name="connsiteX2929" fmla="*/ 440420 w 614938"/>
                  <a:gd name="connsiteY2929" fmla="*/ 238990 h 716071"/>
                  <a:gd name="connsiteX2930" fmla="*/ 440780 w 614938"/>
                  <a:gd name="connsiteY2930" fmla="*/ 238511 h 716071"/>
                  <a:gd name="connsiteX2931" fmla="*/ 440899 w 614938"/>
                  <a:gd name="connsiteY2931" fmla="*/ 238810 h 716071"/>
                  <a:gd name="connsiteX2932" fmla="*/ 441078 w 614938"/>
                  <a:gd name="connsiteY2932" fmla="*/ 239109 h 716071"/>
                  <a:gd name="connsiteX2933" fmla="*/ 441677 w 614938"/>
                  <a:gd name="connsiteY2933" fmla="*/ 239827 h 716071"/>
                  <a:gd name="connsiteX2934" fmla="*/ 438865 w 614938"/>
                  <a:gd name="connsiteY2934" fmla="*/ 242578 h 716071"/>
                  <a:gd name="connsiteX2935" fmla="*/ 437132 w 614938"/>
                  <a:gd name="connsiteY2935" fmla="*/ 240545 h 716071"/>
                  <a:gd name="connsiteX2936" fmla="*/ 441078 w 614938"/>
                  <a:gd name="connsiteY2936" fmla="*/ 239109 h 716071"/>
                  <a:gd name="connsiteX2937" fmla="*/ 439285 w 614938"/>
                  <a:gd name="connsiteY2937" fmla="*/ 242698 h 716071"/>
                  <a:gd name="connsiteX2938" fmla="*/ 441976 w 614938"/>
                  <a:gd name="connsiteY2938" fmla="*/ 240066 h 716071"/>
                  <a:gd name="connsiteX2939" fmla="*/ 448973 w 614938"/>
                  <a:gd name="connsiteY2939" fmla="*/ 238990 h 716071"/>
                  <a:gd name="connsiteX2940" fmla="*/ 462609 w 614938"/>
                  <a:gd name="connsiteY2940" fmla="*/ 244313 h 716071"/>
                  <a:gd name="connsiteX2941" fmla="*/ 439285 w 614938"/>
                  <a:gd name="connsiteY2941" fmla="*/ 242698 h 716071"/>
                  <a:gd name="connsiteX2942" fmla="*/ 447358 w 614938"/>
                  <a:gd name="connsiteY2942" fmla="*/ 233308 h 716071"/>
                  <a:gd name="connsiteX2943" fmla="*/ 446999 w 614938"/>
                  <a:gd name="connsiteY2943" fmla="*/ 231454 h 716071"/>
                  <a:gd name="connsiteX2944" fmla="*/ 448674 w 614938"/>
                  <a:gd name="connsiteY2944" fmla="*/ 230019 h 716071"/>
                  <a:gd name="connsiteX2945" fmla="*/ 450289 w 614938"/>
                  <a:gd name="connsiteY2945" fmla="*/ 230856 h 716071"/>
                  <a:gd name="connsiteX2946" fmla="*/ 447358 w 614938"/>
                  <a:gd name="connsiteY2946" fmla="*/ 233308 h 716071"/>
                  <a:gd name="connsiteX2947" fmla="*/ 448913 w 614938"/>
                  <a:gd name="connsiteY2947" fmla="*/ 229720 h 716071"/>
                  <a:gd name="connsiteX2948" fmla="*/ 449930 w 614938"/>
                  <a:gd name="connsiteY2948" fmla="*/ 227806 h 716071"/>
                  <a:gd name="connsiteX2949" fmla="*/ 452382 w 614938"/>
                  <a:gd name="connsiteY2949" fmla="*/ 227148 h 716071"/>
                  <a:gd name="connsiteX2950" fmla="*/ 450528 w 614938"/>
                  <a:gd name="connsiteY2950" fmla="*/ 230497 h 716071"/>
                  <a:gd name="connsiteX2951" fmla="*/ 448913 w 614938"/>
                  <a:gd name="connsiteY2951" fmla="*/ 229720 h 716071"/>
                  <a:gd name="connsiteX2952" fmla="*/ 453877 w 614938"/>
                  <a:gd name="connsiteY2952" fmla="*/ 219313 h 716071"/>
                  <a:gd name="connsiteX2953" fmla="*/ 458722 w 614938"/>
                  <a:gd name="connsiteY2953" fmla="*/ 212196 h 716071"/>
                  <a:gd name="connsiteX2954" fmla="*/ 459200 w 614938"/>
                  <a:gd name="connsiteY2954" fmla="*/ 212615 h 716071"/>
                  <a:gd name="connsiteX2955" fmla="*/ 453698 w 614938"/>
                  <a:gd name="connsiteY2955" fmla="*/ 220689 h 716071"/>
                  <a:gd name="connsiteX2956" fmla="*/ 453877 w 614938"/>
                  <a:gd name="connsiteY2956" fmla="*/ 219313 h 716071"/>
                  <a:gd name="connsiteX2957" fmla="*/ 459738 w 614938"/>
                  <a:gd name="connsiteY2957" fmla="*/ 212555 h 716071"/>
                  <a:gd name="connsiteX2958" fmla="*/ 459918 w 614938"/>
                  <a:gd name="connsiteY2958" fmla="*/ 212196 h 716071"/>
                  <a:gd name="connsiteX2959" fmla="*/ 459918 w 614938"/>
                  <a:gd name="connsiteY2959" fmla="*/ 212196 h 716071"/>
                  <a:gd name="connsiteX2960" fmla="*/ 459738 w 614938"/>
                  <a:gd name="connsiteY2960" fmla="*/ 212555 h 716071"/>
                  <a:gd name="connsiteX2961" fmla="*/ 459738 w 614938"/>
                  <a:gd name="connsiteY2961" fmla="*/ 212555 h 716071"/>
                  <a:gd name="connsiteX2962" fmla="*/ 453519 w 614938"/>
                  <a:gd name="connsiteY2962" fmla="*/ 204780 h 716071"/>
                  <a:gd name="connsiteX2963" fmla="*/ 453817 w 614938"/>
                  <a:gd name="connsiteY2963" fmla="*/ 204421 h 716071"/>
                  <a:gd name="connsiteX2964" fmla="*/ 456927 w 614938"/>
                  <a:gd name="connsiteY2964" fmla="*/ 207591 h 716071"/>
                  <a:gd name="connsiteX2965" fmla="*/ 453519 w 614938"/>
                  <a:gd name="connsiteY2965" fmla="*/ 204780 h 716071"/>
                  <a:gd name="connsiteX2966" fmla="*/ 453937 w 614938"/>
                  <a:gd name="connsiteY2966" fmla="*/ 204002 h 716071"/>
                  <a:gd name="connsiteX2967" fmla="*/ 449751 w 614938"/>
                  <a:gd name="connsiteY2967" fmla="*/ 198381 h 716071"/>
                  <a:gd name="connsiteX2968" fmla="*/ 448016 w 614938"/>
                  <a:gd name="connsiteY2968" fmla="*/ 182711 h 716071"/>
                  <a:gd name="connsiteX2969" fmla="*/ 457825 w 614938"/>
                  <a:gd name="connsiteY2969" fmla="*/ 206335 h 716071"/>
                  <a:gd name="connsiteX2970" fmla="*/ 453937 w 614938"/>
                  <a:gd name="connsiteY2970" fmla="*/ 204002 h 716071"/>
                  <a:gd name="connsiteX2971" fmla="*/ 447538 w 614938"/>
                  <a:gd name="connsiteY2971" fmla="*/ 181575 h 716071"/>
                  <a:gd name="connsiteX2972" fmla="*/ 449332 w 614938"/>
                  <a:gd name="connsiteY2972" fmla="*/ 197962 h 716071"/>
                  <a:gd name="connsiteX2973" fmla="*/ 448913 w 614938"/>
                  <a:gd name="connsiteY2973" fmla="*/ 197543 h 716071"/>
                  <a:gd name="connsiteX2974" fmla="*/ 447478 w 614938"/>
                  <a:gd name="connsiteY2974" fmla="*/ 181515 h 716071"/>
                  <a:gd name="connsiteX2975" fmla="*/ 447538 w 614938"/>
                  <a:gd name="connsiteY2975" fmla="*/ 181575 h 716071"/>
                  <a:gd name="connsiteX2976" fmla="*/ 449332 w 614938"/>
                  <a:gd name="connsiteY2976" fmla="*/ 198440 h 716071"/>
                  <a:gd name="connsiteX2977" fmla="*/ 444248 w 614938"/>
                  <a:gd name="connsiteY2977" fmla="*/ 204660 h 716071"/>
                  <a:gd name="connsiteX2978" fmla="*/ 443590 w 614938"/>
                  <a:gd name="connsiteY2978" fmla="*/ 204182 h 716071"/>
                  <a:gd name="connsiteX2979" fmla="*/ 445803 w 614938"/>
                  <a:gd name="connsiteY2979" fmla="*/ 201491 h 716071"/>
                  <a:gd name="connsiteX2980" fmla="*/ 445803 w 614938"/>
                  <a:gd name="connsiteY2980" fmla="*/ 201491 h 716071"/>
                  <a:gd name="connsiteX2981" fmla="*/ 445803 w 614938"/>
                  <a:gd name="connsiteY2981" fmla="*/ 201491 h 716071"/>
                  <a:gd name="connsiteX2982" fmla="*/ 446521 w 614938"/>
                  <a:gd name="connsiteY2982" fmla="*/ 200593 h 716071"/>
                  <a:gd name="connsiteX2983" fmla="*/ 446521 w 614938"/>
                  <a:gd name="connsiteY2983" fmla="*/ 200593 h 716071"/>
                  <a:gd name="connsiteX2984" fmla="*/ 446521 w 614938"/>
                  <a:gd name="connsiteY2984" fmla="*/ 200593 h 716071"/>
                  <a:gd name="connsiteX2985" fmla="*/ 447179 w 614938"/>
                  <a:gd name="connsiteY2985" fmla="*/ 199816 h 716071"/>
                  <a:gd name="connsiteX2986" fmla="*/ 447179 w 614938"/>
                  <a:gd name="connsiteY2986" fmla="*/ 199816 h 716071"/>
                  <a:gd name="connsiteX2987" fmla="*/ 447179 w 614938"/>
                  <a:gd name="connsiteY2987" fmla="*/ 199816 h 716071"/>
                  <a:gd name="connsiteX2988" fmla="*/ 448794 w 614938"/>
                  <a:gd name="connsiteY2988" fmla="*/ 197842 h 716071"/>
                  <a:gd name="connsiteX2989" fmla="*/ 449332 w 614938"/>
                  <a:gd name="connsiteY2989" fmla="*/ 198440 h 716071"/>
                  <a:gd name="connsiteX2990" fmla="*/ 415541 w 614938"/>
                  <a:gd name="connsiteY2990" fmla="*/ 207411 h 716071"/>
                  <a:gd name="connsiteX2991" fmla="*/ 417155 w 614938"/>
                  <a:gd name="connsiteY2991" fmla="*/ 209265 h 716071"/>
                  <a:gd name="connsiteX2992" fmla="*/ 395805 w 614938"/>
                  <a:gd name="connsiteY2992" fmla="*/ 206873 h 716071"/>
                  <a:gd name="connsiteX2993" fmla="*/ 394249 w 614938"/>
                  <a:gd name="connsiteY2993" fmla="*/ 205019 h 716071"/>
                  <a:gd name="connsiteX2994" fmla="*/ 415541 w 614938"/>
                  <a:gd name="connsiteY2994" fmla="*/ 207411 h 716071"/>
                  <a:gd name="connsiteX2995" fmla="*/ 393771 w 614938"/>
                  <a:gd name="connsiteY2995" fmla="*/ 204959 h 716071"/>
                  <a:gd name="connsiteX2996" fmla="*/ 395326 w 614938"/>
                  <a:gd name="connsiteY2996" fmla="*/ 206813 h 716071"/>
                  <a:gd name="connsiteX2997" fmla="*/ 373795 w 614938"/>
                  <a:gd name="connsiteY2997" fmla="*/ 204361 h 716071"/>
                  <a:gd name="connsiteX2998" fmla="*/ 372360 w 614938"/>
                  <a:gd name="connsiteY2998" fmla="*/ 202567 h 716071"/>
                  <a:gd name="connsiteX2999" fmla="*/ 393771 w 614938"/>
                  <a:gd name="connsiteY2999" fmla="*/ 204959 h 716071"/>
                  <a:gd name="connsiteX3000" fmla="*/ 371822 w 614938"/>
                  <a:gd name="connsiteY3000" fmla="*/ 202447 h 716071"/>
                  <a:gd name="connsiteX3001" fmla="*/ 373257 w 614938"/>
                  <a:gd name="connsiteY3001" fmla="*/ 204301 h 716071"/>
                  <a:gd name="connsiteX3002" fmla="*/ 351487 w 614938"/>
                  <a:gd name="connsiteY3002" fmla="*/ 201849 h 716071"/>
                  <a:gd name="connsiteX3003" fmla="*/ 350112 w 614938"/>
                  <a:gd name="connsiteY3003" fmla="*/ 199995 h 716071"/>
                  <a:gd name="connsiteX3004" fmla="*/ 371822 w 614938"/>
                  <a:gd name="connsiteY3004" fmla="*/ 202447 h 716071"/>
                  <a:gd name="connsiteX3005" fmla="*/ 349693 w 614938"/>
                  <a:gd name="connsiteY3005" fmla="*/ 199936 h 716071"/>
                  <a:gd name="connsiteX3006" fmla="*/ 351069 w 614938"/>
                  <a:gd name="connsiteY3006" fmla="*/ 201790 h 716071"/>
                  <a:gd name="connsiteX3007" fmla="*/ 329119 w 614938"/>
                  <a:gd name="connsiteY3007" fmla="*/ 199278 h 716071"/>
                  <a:gd name="connsiteX3008" fmla="*/ 327864 w 614938"/>
                  <a:gd name="connsiteY3008" fmla="*/ 197483 h 716071"/>
                  <a:gd name="connsiteX3009" fmla="*/ 349693 w 614938"/>
                  <a:gd name="connsiteY3009" fmla="*/ 199936 h 716071"/>
                  <a:gd name="connsiteX3010" fmla="*/ 327326 w 614938"/>
                  <a:gd name="connsiteY3010" fmla="*/ 197424 h 716071"/>
                  <a:gd name="connsiteX3011" fmla="*/ 328581 w 614938"/>
                  <a:gd name="connsiteY3011" fmla="*/ 199218 h 716071"/>
                  <a:gd name="connsiteX3012" fmla="*/ 306393 w 614938"/>
                  <a:gd name="connsiteY3012" fmla="*/ 196706 h 716071"/>
                  <a:gd name="connsiteX3013" fmla="*/ 305196 w 614938"/>
                  <a:gd name="connsiteY3013" fmla="*/ 194912 h 716071"/>
                  <a:gd name="connsiteX3014" fmla="*/ 327326 w 614938"/>
                  <a:gd name="connsiteY3014" fmla="*/ 197424 h 716071"/>
                  <a:gd name="connsiteX3015" fmla="*/ 304778 w 614938"/>
                  <a:gd name="connsiteY3015" fmla="*/ 194852 h 716071"/>
                  <a:gd name="connsiteX3016" fmla="*/ 305974 w 614938"/>
                  <a:gd name="connsiteY3016" fmla="*/ 196646 h 716071"/>
                  <a:gd name="connsiteX3017" fmla="*/ 283546 w 614938"/>
                  <a:gd name="connsiteY3017" fmla="*/ 194134 h 716071"/>
                  <a:gd name="connsiteX3018" fmla="*/ 282470 w 614938"/>
                  <a:gd name="connsiteY3018" fmla="*/ 192340 h 716071"/>
                  <a:gd name="connsiteX3019" fmla="*/ 304778 w 614938"/>
                  <a:gd name="connsiteY3019" fmla="*/ 194852 h 716071"/>
                  <a:gd name="connsiteX3020" fmla="*/ 282051 w 614938"/>
                  <a:gd name="connsiteY3020" fmla="*/ 192280 h 716071"/>
                  <a:gd name="connsiteX3021" fmla="*/ 283128 w 614938"/>
                  <a:gd name="connsiteY3021" fmla="*/ 194074 h 716071"/>
                  <a:gd name="connsiteX3022" fmla="*/ 260521 w 614938"/>
                  <a:gd name="connsiteY3022" fmla="*/ 191503 h 716071"/>
                  <a:gd name="connsiteX3023" fmla="*/ 259564 w 614938"/>
                  <a:gd name="connsiteY3023" fmla="*/ 189708 h 716071"/>
                  <a:gd name="connsiteX3024" fmla="*/ 282051 w 614938"/>
                  <a:gd name="connsiteY3024" fmla="*/ 192280 h 716071"/>
                  <a:gd name="connsiteX3025" fmla="*/ 259085 w 614938"/>
                  <a:gd name="connsiteY3025" fmla="*/ 189649 h 716071"/>
                  <a:gd name="connsiteX3026" fmla="*/ 260042 w 614938"/>
                  <a:gd name="connsiteY3026" fmla="*/ 191443 h 716071"/>
                  <a:gd name="connsiteX3027" fmla="*/ 237196 w 614938"/>
                  <a:gd name="connsiteY3027" fmla="*/ 188871 h 716071"/>
                  <a:gd name="connsiteX3028" fmla="*/ 236298 w 614938"/>
                  <a:gd name="connsiteY3028" fmla="*/ 187077 h 716071"/>
                  <a:gd name="connsiteX3029" fmla="*/ 259085 w 614938"/>
                  <a:gd name="connsiteY3029" fmla="*/ 189649 h 716071"/>
                  <a:gd name="connsiteX3030" fmla="*/ 235880 w 614938"/>
                  <a:gd name="connsiteY3030" fmla="*/ 187017 h 716071"/>
                  <a:gd name="connsiteX3031" fmla="*/ 236777 w 614938"/>
                  <a:gd name="connsiteY3031" fmla="*/ 188811 h 716071"/>
                  <a:gd name="connsiteX3032" fmla="*/ 213692 w 614938"/>
                  <a:gd name="connsiteY3032" fmla="*/ 186180 h 716071"/>
                  <a:gd name="connsiteX3033" fmla="*/ 212914 w 614938"/>
                  <a:gd name="connsiteY3033" fmla="*/ 184386 h 716071"/>
                  <a:gd name="connsiteX3034" fmla="*/ 235880 w 614938"/>
                  <a:gd name="connsiteY3034" fmla="*/ 187017 h 716071"/>
                  <a:gd name="connsiteX3035" fmla="*/ 212495 w 614938"/>
                  <a:gd name="connsiteY3035" fmla="*/ 184386 h 716071"/>
                  <a:gd name="connsiteX3036" fmla="*/ 213273 w 614938"/>
                  <a:gd name="connsiteY3036" fmla="*/ 186180 h 716071"/>
                  <a:gd name="connsiteX3037" fmla="*/ 189948 w 614938"/>
                  <a:gd name="connsiteY3037" fmla="*/ 183548 h 716071"/>
                  <a:gd name="connsiteX3038" fmla="*/ 189290 w 614938"/>
                  <a:gd name="connsiteY3038" fmla="*/ 181754 h 716071"/>
                  <a:gd name="connsiteX3039" fmla="*/ 212495 w 614938"/>
                  <a:gd name="connsiteY3039" fmla="*/ 184386 h 716071"/>
                  <a:gd name="connsiteX3040" fmla="*/ 188872 w 614938"/>
                  <a:gd name="connsiteY3040" fmla="*/ 181694 h 716071"/>
                  <a:gd name="connsiteX3041" fmla="*/ 189529 w 614938"/>
                  <a:gd name="connsiteY3041" fmla="*/ 183489 h 716071"/>
                  <a:gd name="connsiteX3042" fmla="*/ 165965 w 614938"/>
                  <a:gd name="connsiteY3042" fmla="*/ 180797 h 716071"/>
                  <a:gd name="connsiteX3043" fmla="*/ 165427 w 614938"/>
                  <a:gd name="connsiteY3043" fmla="*/ 179003 h 716071"/>
                  <a:gd name="connsiteX3044" fmla="*/ 188872 w 614938"/>
                  <a:gd name="connsiteY3044" fmla="*/ 181694 h 716071"/>
                  <a:gd name="connsiteX3045" fmla="*/ 165666 w 614938"/>
                  <a:gd name="connsiteY3045" fmla="*/ 181036 h 716071"/>
                  <a:gd name="connsiteX3046" fmla="*/ 165009 w 614938"/>
                  <a:gd name="connsiteY3046" fmla="*/ 185701 h 716071"/>
                  <a:gd name="connsiteX3047" fmla="*/ 165307 w 614938"/>
                  <a:gd name="connsiteY3047" fmla="*/ 179840 h 716071"/>
                  <a:gd name="connsiteX3048" fmla="*/ 165666 w 614938"/>
                  <a:gd name="connsiteY3048" fmla="*/ 181036 h 716071"/>
                  <a:gd name="connsiteX3049" fmla="*/ 165069 w 614938"/>
                  <a:gd name="connsiteY3049" fmla="*/ 187974 h 716071"/>
                  <a:gd name="connsiteX3050" fmla="*/ 166025 w 614938"/>
                  <a:gd name="connsiteY3050" fmla="*/ 181216 h 716071"/>
                  <a:gd name="connsiteX3051" fmla="*/ 189589 w 614938"/>
                  <a:gd name="connsiteY3051" fmla="*/ 183907 h 716071"/>
                  <a:gd name="connsiteX3052" fmla="*/ 187197 w 614938"/>
                  <a:gd name="connsiteY3052" fmla="*/ 191921 h 716071"/>
                  <a:gd name="connsiteX3053" fmla="*/ 165069 w 614938"/>
                  <a:gd name="connsiteY3053" fmla="*/ 187974 h 716071"/>
                  <a:gd name="connsiteX3054" fmla="*/ 187556 w 614938"/>
                  <a:gd name="connsiteY3054" fmla="*/ 191981 h 716071"/>
                  <a:gd name="connsiteX3055" fmla="*/ 189948 w 614938"/>
                  <a:gd name="connsiteY3055" fmla="*/ 183907 h 716071"/>
                  <a:gd name="connsiteX3056" fmla="*/ 213273 w 614938"/>
                  <a:gd name="connsiteY3056" fmla="*/ 186539 h 716071"/>
                  <a:gd name="connsiteX3057" fmla="*/ 209445 w 614938"/>
                  <a:gd name="connsiteY3057" fmla="*/ 195869 h 716071"/>
                  <a:gd name="connsiteX3058" fmla="*/ 187556 w 614938"/>
                  <a:gd name="connsiteY3058" fmla="*/ 191981 h 716071"/>
                  <a:gd name="connsiteX3059" fmla="*/ 209804 w 614938"/>
                  <a:gd name="connsiteY3059" fmla="*/ 195928 h 716071"/>
                  <a:gd name="connsiteX3060" fmla="*/ 213692 w 614938"/>
                  <a:gd name="connsiteY3060" fmla="*/ 186598 h 716071"/>
                  <a:gd name="connsiteX3061" fmla="*/ 236777 w 614938"/>
                  <a:gd name="connsiteY3061" fmla="*/ 189230 h 716071"/>
                  <a:gd name="connsiteX3062" fmla="*/ 231454 w 614938"/>
                  <a:gd name="connsiteY3062" fmla="*/ 199816 h 716071"/>
                  <a:gd name="connsiteX3063" fmla="*/ 209804 w 614938"/>
                  <a:gd name="connsiteY3063" fmla="*/ 195928 h 716071"/>
                  <a:gd name="connsiteX3064" fmla="*/ 231873 w 614938"/>
                  <a:gd name="connsiteY3064" fmla="*/ 199816 h 716071"/>
                  <a:gd name="connsiteX3065" fmla="*/ 237196 w 614938"/>
                  <a:gd name="connsiteY3065" fmla="*/ 189230 h 716071"/>
                  <a:gd name="connsiteX3066" fmla="*/ 260102 w 614938"/>
                  <a:gd name="connsiteY3066" fmla="*/ 191802 h 716071"/>
                  <a:gd name="connsiteX3067" fmla="*/ 253344 w 614938"/>
                  <a:gd name="connsiteY3067" fmla="*/ 203584 h 716071"/>
                  <a:gd name="connsiteX3068" fmla="*/ 231873 w 614938"/>
                  <a:gd name="connsiteY3068" fmla="*/ 199816 h 716071"/>
                  <a:gd name="connsiteX3069" fmla="*/ 253703 w 614938"/>
                  <a:gd name="connsiteY3069" fmla="*/ 203703 h 716071"/>
                  <a:gd name="connsiteX3070" fmla="*/ 260461 w 614938"/>
                  <a:gd name="connsiteY3070" fmla="*/ 191862 h 716071"/>
                  <a:gd name="connsiteX3071" fmla="*/ 283128 w 614938"/>
                  <a:gd name="connsiteY3071" fmla="*/ 194433 h 716071"/>
                  <a:gd name="connsiteX3072" fmla="*/ 274934 w 614938"/>
                  <a:gd name="connsiteY3072" fmla="*/ 207471 h 716071"/>
                  <a:gd name="connsiteX3073" fmla="*/ 253703 w 614938"/>
                  <a:gd name="connsiteY3073" fmla="*/ 203703 h 716071"/>
                  <a:gd name="connsiteX3074" fmla="*/ 275293 w 614938"/>
                  <a:gd name="connsiteY3074" fmla="*/ 207531 h 716071"/>
                  <a:gd name="connsiteX3075" fmla="*/ 283546 w 614938"/>
                  <a:gd name="connsiteY3075" fmla="*/ 194493 h 716071"/>
                  <a:gd name="connsiteX3076" fmla="*/ 305974 w 614938"/>
                  <a:gd name="connsiteY3076" fmla="*/ 197005 h 716071"/>
                  <a:gd name="connsiteX3077" fmla="*/ 296285 w 614938"/>
                  <a:gd name="connsiteY3077" fmla="*/ 211239 h 716071"/>
                  <a:gd name="connsiteX3078" fmla="*/ 275293 w 614938"/>
                  <a:gd name="connsiteY3078" fmla="*/ 207531 h 716071"/>
                  <a:gd name="connsiteX3079" fmla="*/ 306393 w 614938"/>
                  <a:gd name="connsiteY3079" fmla="*/ 197065 h 716071"/>
                  <a:gd name="connsiteX3080" fmla="*/ 328641 w 614938"/>
                  <a:gd name="connsiteY3080" fmla="*/ 199577 h 716071"/>
                  <a:gd name="connsiteX3081" fmla="*/ 317517 w 614938"/>
                  <a:gd name="connsiteY3081" fmla="*/ 215007 h 716071"/>
                  <a:gd name="connsiteX3082" fmla="*/ 296704 w 614938"/>
                  <a:gd name="connsiteY3082" fmla="*/ 211299 h 716071"/>
                  <a:gd name="connsiteX3083" fmla="*/ 306393 w 614938"/>
                  <a:gd name="connsiteY3083" fmla="*/ 197065 h 716071"/>
                  <a:gd name="connsiteX3084" fmla="*/ 329059 w 614938"/>
                  <a:gd name="connsiteY3084" fmla="*/ 199637 h 716071"/>
                  <a:gd name="connsiteX3085" fmla="*/ 351069 w 614938"/>
                  <a:gd name="connsiteY3085" fmla="*/ 202148 h 716071"/>
                  <a:gd name="connsiteX3086" fmla="*/ 338509 w 614938"/>
                  <a:gd name="connsiteY3086" fmla="*/ 218775 h 716071"/>
                  <a:gd name="connsiteX3087" fmla="*/ 317935 w 614938"/>
                  <a:gd name="connsiteY3087" fmla="*/ 215127 h 716071"/>
                  <a:gd name="connsiteX3088" fmla="*/ 329059 w 614938"/>
                  <a:gd name="connsiteY3088" fmla="*/ 199637 h 716071"/>
                  <a:gd name="connsiteX3089" fmla="*/ 351547 w 614938"/>
                  <a:gd name="connsiteY3089" fmla="*/ 202208 h 716071"/>
                  <a:gd name="connsiteX3090" fmla="*/ 373377 w 614938"/>
                  <a:gd name="connsiteY3090" fmla="*/ 204660 h 716071"/>
                  <a:gd name="connsiteX3091" fmla="*/ 359382 w 614938"/>
                  <a:gd name="connsiteY3091" fmla="*/ 222483 h 716071"/>
                  <a:gd name="connsiteX3092" fmla="*/ 338988 w 614938"/>
                  <a:gd name="connsiteY3092" fmla="*/ 218835 h 716071"/>
                  <a:gd name="connsiteX3093" fmla="*/ 351547 w 614938"/>
                  <a:gd name="connsiteY3093" fmla="*/ 202208 h 716071"/>
                  <a:gd name="connsiteX3094" fmla="*/ 373795 w 614938"/>
                  <a:gd name="connsiteY3094" fmla="*/ 204720 h 716071"/>
                  <a:gd name="connsiteX3095" fmla="*/ 395386 w 614938"/>
                  <a:gd name="connsiteY3095" fmla="*/ 207172 h 716071"/>
                  <a:gd name="connsiteX3096" fmla="*/ 379955 w 614938"/>
                  <a:gd name="connsiteY3096" fmla="*/ 226191 h 716071"/>
                  <a:gd name="connsiteX3097" fmla="*/ 359741 w 614938"/>
                  <a:gd name="connsiteY3097" fmla="*/ 222602 h 716071"/>
                  <a:gd name="connsiteX3098" fmla="*/ 373795 w 614938"/>
                  <a:gd name="connsiteY3098" fmla="*/ 204720 h 716071"/>
                  <a:gd name="connsiteX3099" fmla="*/ 390781 w 614938"/>
                  <a:gd name="connsiteY3099" fmla="*/ 228404 h 716071"/>
                  <a:gd name="connsiteX3100" fmla="*/ 375230 w 614938"/>
                  <a:gd name="connsiteY3100" fmla="*/ 247183 h 716071"/>
                  <a:gd name="connsiteX3101" fmla="*/ 374454 w 614938"/>
                  <a:gd name="connsiteY3101" fmla="*/ 246226 h 716071"/>
                  <a:gd name="connsiteX3102" fmla="*/ 389465 w 614938"/>
                  <a:gd name="connsiteY3102" fmla="*/ 228164 h 716071"/>
                  <a:gd name="connsiteX3103" fmla="*/ 390781 w 614938"/>
                  <a:gd name="connsiteY3103" fmla="*/ 228404 h 716071"/>
                  <a:gd name="connsiteX3104" fmla="*/ 373975 w 614938"/>
                  <a:gd name="connsiteY3104" fmla="*/ 246226 h 716071"/>
                  <a:gd name="connsiteX3105" fmla="*/ 346045 w 614938"/>
                  <a:gd name="connsiteY3105" fmla="*/ 279898 h 716071"/>
                  <a:gd name="connsiteX3106" fmla="*/ 345866 w 614938"/>
                  <a:gd name="connsiteY3106" fmla="*/ 279419 h 716071"/>
                  <a:gd name="connsiteX3107" fmla="*/ 373795 w 614938"/>
                  <a:gd name="connsiteY3107" fmla="*/ 245867 h 716071"/>
                  <a:gd name="connsiteX3108" fmla="*/ 373975 w 614938"/>
                  <a:gd name="connsiteY3108" fmla="*/ 246226 h 716071"/>
                  <a:gd name="connsiteX3109" fmla="*/ 345806 w 614938"/>
                  <a:gd name="connsiteY3109" fmla="*/ 280197 h 716071"/>
                  <a:gd name="connsiteX3110" fmla="*/ 318235 w 614938"/>
                  <a:gd name="connsiteY3110" fmla="*/ 313390 h 716071"/>
                  <a:gd name="connsiteX3111" fmla="*/ 318055 w 614938"/>
                  <a:gd name="connsiteY3111" fmla="*/ 312852 h 716071"/>
                  <a:gd name="connsiteX3112" fmla="*/ 345566 w 614938"/>
                  <a:gd name="connsiteY3112" fmla="*/ 279778 h 716071"/>
                  <a:gd name="connsiteX3113" fmla="*/ 345806 w 614938"/>
                  <a:gd name="connsiteY3113" fmla="*/ 280197 h 716071"/>
                  <a:gd name="connsiteX3114" fmla="*/ 317935 w 614938"/>
                  <a:gd name="connsiteY3114" fmla="*/ 313689 h 716071"/>
                  <a:gd name="connsiteX3115" fmla="*/ 290724 w 614938"/>
                  <a:gd name="connsiteY3115" fmla="*/ 346403 h 716071"/>
                  <a:gd name="connsiteX3116" fmla="*/ 290604 w 614938"/>
                  <a:gd name="connsiteY3116" fmla="*/ 345805 h 716071"/>
                  <a:gd name="connsiteX3117" fmla="*/ 317756 w 614938"/>
                  <a:gd name="connsiteY3117" fmla="*/ 313151 h 716071"/>
                  <a:gd name="connsiteX3118" fmla="*/ 317935 w 614938"/>
                  <a:gd name="connsiteY3118" fmla="*/ 313689 h 716071"/>
                  <a:gd name="connsiteX3119" fmla="*/ 290484 w 614938"/>
                  <a:gd name="connsiteY3119" fmla="*/ 346822 h 716071"/>
                  <a:gd name="connsiteX3120" fmla="*/ 263691 w 614938"/>
                  <a:gd name="connsiteY3120" fmla="*/ 379118 h 716071"/>
                  <a:gd name="connsiteX3121" fmla="*/ 263571 w 614938"/>
                  <a:gd name="connsiteY3121" fmla="*/ 378400 h 716071"/>
                  <a:gd name="connsiteX3122" fmla="*/ 290364 w 614938"/>
                  <a:gd name="connsiteY3122" fmla="*/ 346224 h 716071"/>
                  <a:gd name="connsiteX3123" fmla="*/ 290484 w 614938"/>
                  <a:gd name="connsiteY3123" fmla="*/ 346822 h 716071"/>
                  <a:gd name="connsiteX3124" fmla="*/ 263331 w 614938"/>
                  <a:gd name="connsiteY3124" fmla="*/ 379477 h 716071"/>
                  <a:gd name="connsiteX3125" fmla="*/ 236897 w 614938"/>
                  <a:gd name="connsiteY3125" fmla="*/ 411294 h 716071"/>
                  <a:gd name="connsiteX3126" fmla="*/ 236837 w 614938"/>
                  <a:gd name="connsiteY3126" fmla="*/ 410457 h 716071"/>
                  <a:gd name="connsiteX3127" fmla="*/ 263212 w 614938"/>
                  <a:gd name="connsiteY3127" fmla="*/ 378699 h 716071"/>
                  <a:gd name="connsiteX3128" fmla="*/ 263331 w 614938"/>
                  <a:gd name="connsiteY3128" fmla="*/ 379477 h 716071"/>
                  <a:gd name="connsiteX3129" fmla="*/ 236538 w 614938"/>
                  <a:gd name="connsiteY3129" fmla="*/ 411713 h 716071"/>
                  <a:gd name="connsiteX3130" fmla="*/ 210462 w 614938"/>
                  <a:gd name="connsiteY3130" fmla="*/ 443112 h 716071"/>
                  <a:gd name="connsiteX3131" fmla="*/ 210462 w 614938"/>
                  <a:gd name="connsiteY3131" fmla="*/ 442215 h 716071"/>
                  <a:gd name="connsiteX3132" fmla="*/ 236478 w 614938"/>
                  <a:gd name="connsiteY3132" fmla="*/ 410935 h 716071"/>
                  <a:gd name="connsiteX3133" fmla="*/ 236538 w 614938"/>
                  <a:gd name="connsiteY3133" fmla="*/ 411713 h 716071"/>
                  <a:gd name="connsiteX3134" fmla="*/ 210103 w 614938"/>
                  <a:gd name="connsiteY3134" fmla="*/ 443530 h 716071"/>
                  <a:gd name="connsiteX3135" fmla="*/ 184386 w 614938"/>
                  <a:gd name="connsiteY3135" fmla="*/ 474510 h 716071"/>
                  <a:gd name="connsiteX3136" fmla="*/ 184446 w 614938"/>
                  <a:gd name="connsiteY3136" fmla="*/ 473494 h 716071"/>
                  <a:gd name="connsiteX3137" fmla="*/ 210103 w 614938"/>
                  <a:gd name="connsiteY3137" fmla="*/ 442633 h 716071"/>
                  <a:gd name="connsiteX3138" fmla="*/ 210103 w 614938"/>
                  <a:gd name="connsiteY3138" fmla="*/ 443530 h 716071"/>
                  <a:gd name="connsiteX3139" fmla="*/ 184027 w 614938"/>
                  <a:gd name="connsiteY3139" fmla="*/ 474989 h 716071"/>
                  <a:gd name="connsiteX3140" fmla="*/ 158669 w 614938"/>
                  <a:gd name="connsiteY3140" fmla="*/ 505550 h 716071"/>
                  <a:gd name="connsiteX3141" fmla="*/ 158788 w 614938"/>
                  <a:gd name="connsiteY3141" fmla="*/ 504414 h 716071"/>
                  <a:gd name="connsiteX3142" fmla="*/ 184087 w 614938"/>
                  <a:gd name="connsiteY3142" fmla="*/ 473972 h 716071"/>
                  <a:gd name="connsiteX3143" fmla="*/ 184027 w 614938"/>
                  <a:gd name="connsiteY3143" fmla="*/ 474989 h 716071"/>
                  <a:gd name="connsiteX3144" fmla="*/ 158250 w 614938"/>
                  <a:gd name="connsiteY3144" fmla="*/ 505969 h 716071"/>
                  <a:gd name="connsiteX3145" fmla="*/ 133251 w 614938"/>
                  <a:gd name="connsiteY3145" fmla="*/ 536112 h 716071"/>
                  <a:gd name="connsiteX3146" fmla="*/ 133430 w 614938"/>
                  <a:gd name="connsiteY3146" fmla="*/ 534856 h 716071"/>
                  <a:gd name="connsiteX3147" fmla="*/ 158370 w 614938"/>
                  <a:gd name="connsiteY3147" fmla="*/ 504833 h 716071"/>
                  <a:gd name="connsiteX3148" fmla="*/ 158250 w 614938"/>
                  <a:gd name="connsiteY3148" fmla="*/ 505969 h 716071"/>
                  <a:gd name="connsiteX3149" fmla="*/ 132772 w 614938"/>
                  <a:gd name="connsiteY3149" fmla="*/ 536650 h 716071"/>
                  <a:gd name="connsiteX3150" fmla="*/ 108072 w 614938"/>
                  <a:gd name="connsiteY3150" fmla="*/ 566374 h 716071"/>
                  <a:gd name="connsiteX3151" fmla="*/ 108312 w 614938"/>
                  <a:gd name="connsiteY3151" fmla="*/ 564999 h 716071"/>
                  <a:gd name="connsiteX3152" fmla="*/ 132952 w 614938"/>
                  <a:gd name="connsiteY3152" fmla="*/ 535394 h 716071"/>
                  <a:gd name="connsiteX3153" fmla="*/ 132772 w 614938"/>
                  <a:gd name="connsiteY3153" fmla="*/ 536650 h 716071"/>
                  <a:gd name="connsiteX3154" fmla="*/ 107593 w 614938"/>
                  <a:gd name="connsiteY3154" fmla="*/ 566913 h 716071"/>
                  <a:gd name="connsiteX3155" fmla="*/ 83252 w 614938"/>
                  <a:gd name="connsiteY3155" fmla="*/ 596218 h 716071"/>
                  <a:gd name="connsiteX3156" fmla="*/ 83551 w 614938"/>
                  <a:gd name="connsiteY3156" fmla="*/ 594723 h 716071"/>
                  <a:gd name="connsiteX3157" fmla="*/ 107833 w 614938"/>
                  <a:gd name="connsiteY3157" fmla="*/ 565537 h 716071"/>
                  <a:gd name="connsiteX3158" fmla="*/ 107593 w 614938"/>
                  <a:gd name="connsiteY3158" fmla="*/ 566913 h 716071"/>
                  <a:gd name="connsiteX3159" fmla="*/ 82774 w 614938"/>
                  <a:gd name="connsiteY3159" fmla="*/ 596816 h 716071"/>
                  <a:gd name="connsiteX3160" fmla="*/ 58731 w 614938"/>
                  <a:gd name="connsiteY3160" fmla="*/ 625763 h 716071"/>
                  <a:gd name="connsiteX3161" fmla="*/ 59090 w 614938"/>
                  <a:gd name="connsiteY3161" fmla="*/ 624088 h 716071"/>
                  <a:gd name="connsiteX3162" fmla="*/ 83072 w 614938"/>
                  <a:gd name="connsiteY3162" fmla="*/ 595321 h 716071"/>
                  <a:gd name="connsiteX3163" fmla="*/ 82774 w 614938"/>
                  <a:gd name="connsiteY3163" fmla="*/ 596816 h 716071"/>
                  <a:gd name="connsiteX3164" fmla="*/ 58252 w 614938"/>
                  <a:gd name="connsiteY3164" fmla="*/ 626361 h 716071"/>
                  <a:gd name="connsiteX3165" fmla="*/ 34569 w 614938"/>
                  <a:gd name="connsiteY3165" fmla="*/ 654889 h 716071"/>
                  <a:gd name="connsiteX3166" fmla="*/ 34988 w 614938"/>
                  <a:gd name="connsiteY3166" fmla="*/ 653095 h 716071"/>
                  <a:gd name="connsiteX3167" fmla="*/ 58611 w 614938"/>
                  <a:gd name="connsiteY3167" fmla="*/ 624686 h 716071"/>
                  <a:gd name="connsiteX3168" fmla="*/ 58252 w 614938"/>
                  <a:gd name="connsiteY3168" fmla="*/ 626361 h 716071"/>
                  <a:gd name="connsiteX3169" fmla="*/ 34031 w 614938"/>
                  <a:gd name="connsiteY3169" fmla="*/ 655487 h 716071"/>
                  <a:gd name="connsiteX3170" fmla="*/ 15909 w 614938"/>
                  <a:gd name="connsiteY3170" fmla="*/ 673728 h 716071"/>
                  <a:gd name="connsiteX3171" fmla="*/ 13457 w 614938"/>
                  <a:gd name="connsiteY3171" fmla="*/ 672293 h 716071"/>
                  <a:gd name="connsiteX3172" fmla="*/ 13696 w 614938"/>
                  <a:gd name="connsiteY3172" fmla="*/ 669841 h 716071"/>
                  <a:gd name="connsiteX3173" fmla="*/ 16148 w 614938"/>
                  <a:gd name="connsiteY3173" fmla="*/ 671635 h 716071"/>
                  <a:gd name="connsiteX3174" fmla="*/ 16148 w 614938"/>
                  <a:gd name="connsiteY3174" fmla="*/ 671635 h 716071"/>
                  <a:gd name="connsiteX3175" fmla="*/ 16208 w 614938"/>
                  <a:gd name="connsiteY3175" fmla="*/ 671635 h 716071"/>
                  <a:gd name="connsiteX3176" fmla="*/ 16268 w 614938"/>
                  <a:gd name="connsiteY3176" fmla="*/ 671635 h 716071"/>
                  <a:gd name="connsiteX3177" fmla="*/ 16328 w 614938"/>
                  <a:gd name="connsiteY3177" fmla="*/ 671635 h 716071"/>
                  <a:gd name="connsiteX3178" fmla="*/ 16387 w 614938"/>
                  <a:gd name="connsiteY3178" fmla="*/ 671635 h 716071"/>
                  <a:gd name="connsiteX3179" fmla="*/ 16387 w 614938"/>
                  <a:gd name="connsiteY3179" fmla="*/ 671635 h 716071"/>
                  <a:gd name="connsiteX3180" fmla="*/ 16387 w 614938"/>
                  <a:gd name="connsiteY3180" fmla="*/ 671635 h 716071"/>
                  <a:gd name="connsiteX3181" fmla="*/ 16387 w 614938"/>
                  <a:gd name="connsiteY3181" fmla="*/ 671635 h 716071"/>
                  <a:gd name="connsiteX3182" fmla="*/ 19737 w 614938"/>
                  <a:gd name="connsiteY3182" fmla="*/ 667628 h 716071"/>
                  <a:gd name="connsiteX3183" fmla="*/ 19737 w 614938"/>
                  <a:gd name="connsiteY3183" fmla="*/ 667628 h 716071"/>
                  <a:gd name="connsiteX3184" fmla="*/ 34509 w 614938"/>
                  <a:gd name="connsiteY3184" fmla="*/ 653693 h 716071"/>
                  <a:gd name="connsiteX3185" fmla="*/ 34031 w 614938"/>
                  <a:gd name="connsiteY3185" fmla="*/ 655487 h 716071"/>
                  <a:gd name="connsiteX3186" fmla="*/ 19377 w 614938"/>
                  <a:gd name="connsiteY3186" fmla="*/ 667329 h 716071"/>
                  <a:gd name="connsiteX3187" fmla="*/ 17046 w 614938"/>
                  <a:gd name="connsiteY3187" fmla="*/ 666910 h 716071"/>
                  <a:gd name="connsiteX3188" fmla="*/ 17046 w 614938"/>
                  <a:gd name="connsiteY3188" fmla="*/ 666910 h 716071"/>
                  <a:gd name="connsiteX3189" fmla="*/ 17046 w 614938"/>
                  <a:gd name="connsiteY3189" fmla="*/ 666910 h 716071"/>
                  <a:gd name="connsiteX3190" fmla="*/ 15729 w 614938"/>
                  <a:gd name="connsiteY3190" fmla="*/ 667149 h 716071"/>
                  <a:gd name="connsiteX3191" fmla="*/ 15729 w 614938"/>
                  <a:gd name="connsiteY3191" fmla="*/ 667149 h 716071"/>
                  <a:gd name="connsiteX3192" fmla="*/ 15909 w 614938"/>
                  <a:gd name="connsiteY3192" fmla="*/ 666731 h 716071"/>
                  <a:gd name="connsiteX3193" fmla="*/ 15969 w 614938"/>
                  <a:gd name="connsiteY3193" fmla="*/ 666731 h 716071"/>
                  <a:gd name="connsiteX3194" fmla="*/ 15969 w 614938"/>
                  <a:gd name="connsiteY3194" fmla="*/ 666731 h 716071"/>
                  <a:gd name="connsiteX3195" fmla="*/ 16029 w 614938"/>
                  <a:gd name="connsiteY3195" fmla="*/ 666731 h 716071"/>
                  <a:gd name="connsiteX3196" fmla="*/ 16268 w 614938"/>
                  <a:gd name="connsiteY3196" fmla="*/ 666731 h 716071"/>
                  <a:gd name="connsiteX3197" fmla="*/ 16387 w 614938"/>
                  <a:gd name="connsiteY3197" fmla="*/ 666372 h 716071"/>
                  <a:gd name="connsiteX3198" fmla="*/ 16387 w 614938"/>
                  <a:gd name="connsiteY3198" fmla="*/ 666372 h 716071"/>
                  <a:gd name="connsiteX3199" fmla="*/ 16387 w 614938"/>
                  <a:gd name="connsiteY3199" fmla="*/ 666372 h 716071"/>
                  <a:gd name="connsiteX3200" fmla="*/ 16387 w 614938"/>
                  <a:gd name="connsiteY3200" fmla="*/ 666372 h 716071"/>
                  <a:gd name="connsiteX3201" fmla="*/ 16387 w 614938"/>
                  <a:gd name="connsiteY3201" fmla="*/ 665774 h 716071"/>
                  <a:gd name="connsiteX3202" fmla="*/ 16387 w 614938"/>
                  <a:gd name="connsiteY3202" fmla="*/ 665774 h 716071"/>
                  <a:gd name="connsiteX3203" fmla="*/ 16387 w 614938"/>
                  <a:gd name="connsiteY3203" fmla="*/ 665774 h 716071"/>
                  <a:gd name="connsiteX3204" fmla="*/ 16387 w 614938"/>
                  <a:gd name="connsiteY3204" fmla="*/ 665774 h 716071"/>
                  <a:gd name="connsiteX3205" fmla="*/ 16148 w 614938"/>
                  <a:gd name="connsiteY3205" fmla="*/ 665116 h 716071"/>
                  <a:gd name="connsiteX3206" fmla="*/ 16148 w 614938"/>
                  <a:gd name="connsiteY3206" fmla="*/ 665116 h 716071"/>
                  <a:gd name="connsiteX3207" fmla="*/ 16148 w 614938"/>
                  <a:gd name="connsiteY3207" fmla="*/ 665056 h 716071"/>
                  <a:gd name="connsiteX3208" fmla="*/ 16148 w 614938"/>
                  <a:gd name="connsiteY3208" fmla="*/ 665056 h 716071"/>
                  <a:gd name="connsiteX3209" fmla="*/ 15729 w 614938"/>
                  <a:gd name="connsiteY3209" fmla="*/ 664458 h 716071"/>
                  <a:gd name="connsiteX3210" fmla="*/ 15729 w 614938"/>
                  <a:gd name="connsiteY3210" fmla="*/ 664458 h 716071"/>
                  <a:gd name="connsiteX3211" fmla="*/ 15669 w 614938"/>
                  <a:gd name="connsiteY3211" fmla="*/ 664398 h 716071"/>
                  <a:gd name="connsiteX3212" fmla="*/ 15669 w 614938"/>
                  <a:gd name="connsiteY3212" fmla="*/ 664398 h 716071"/>
                  <a:gd name="connsiteX3213" fmla="*/ 15131 w 614938"/>
                  <a:gd name="connsiteY3213" fmla="*/ 663980 h 716071"/>
                  <a:gd name="connsiteX3214" fmla="*/ 15131 w 614938"/>
                  <a:gd name="connsiteY3214" fmla="*/ 663980 h 716071"/>
                  <a:gd name="connsiteX3215" fmla="*/ 15131 w 614938"/>
                  <a:gd name="connsiteY3215" fmla="*/ 663980 h 716071"/>
                  <a:gd name="connsiteX3216" fmla="*/ 14174 w 614938"/>
                  <a:gd name="connsiteY3216" fmla="*/ 663382 h 716071"/>
                  <a:gd name="connsiteX3217" fmla="*/ 14174 w 614938"/>
                  <a:gd name="connsiteY3217" fmla="*/ 663382 h 716071"/>
                  <a:gd name="connsiteX3218" fmla="*/ 14174 w 614938"/>
                  <a:gd name="connsiteY3218" fmla="*/ 663382 h 716071"/>
                  <a:gd name="connsiteX3219" fmla="*/ 14174 w 614938"/>
                  <a:gd name="connsiteY3219" fmla="*/ 663382 h 716071"/>
                  <a:gd name="connsiteX3220" fmla="*/ 13397 w 614938"/>
                  <a:gd name="connsiteY3220" fmla="*/ 663083 h 716071"/>
                  <a:gd name="connsiteX3221" fmla="*/ 13397 w 614938"/>
                  <a:gd name="connsiteY3221" fmla="*/ 663083 h 716071"/>
                  <a:gd name="connsiteX3222" fmla="*/ 13397 w 614938"/>
                  <a:gd name="connsiteY3222" fmla="*/ 663083 h 716071"/>
                  <a:gd name="connsiteX3223" fmla="*/ 13338 w 614938"/>
                  <a:gd name="connsiteY3223" fmla="*/ 663083 h 716071"/>
                  <a:gd name="connsiteX3224" fmla="*/ 13338 w 614938"/>
                  <a:gd name="connsiteY3224" fmla="*/ 663083 h 716071"/>
                  <a:gd name="connsiteX3225" fmla="*/ 13338 w 614938"/>
                  <a:gd name="connsiteY3225" fmla="*/ 663083 h 716071"/>
                  <a:gd name="connsiteX3226" fmla="*/ 12620 w 614938"/>
                  <a:gd name="connsiteY3226" fmla="*/ 663083 h 716071"/>
                  <a:gd name="connsiteX3227" fmla="*/ 12620 w 614938"/>
                  <a:gd name="connsiteY3227" fmla="*/ 663083 h 716071"/>
                  <a:gd name="connsiteX3228" fmla="*/ 12620 w 614938"/>
                  <a:gd name="connsiteY3228" fmla="*/ 663083 h 716071"/>
                  <a:gd name="connsiteX3229" fmla="*/ 12620 w 614938"/>
                  <a:gd name="connsiteY3229" fmla="*/ 663083 h 716071"/>
                  <a:gd name="connsiteX3230" fmla="*/ 12620 w 614938"/>
                  <a:gd name="connsiteY3230" fmla="*/ 663083 h 716071"/>
                  <a:gd name="connsiteX3231" fmla="*/ 12620 w 614938"/>
                  <a:gd name="connsiteY3231" fmla="*/ 663083 h 716071"/>
                  <a:gd name="connsiteX3232" fmla="*/ 12321 w 614938"/>
                  <a:gd name="connsiteY3232" fmla="*/ 663322 h 716071"/>
                  <a:gd name="connsiteX3233" fmla="*/ 11005 w 614938"/>
                  <a:gd name="connsiteY3233" fmla="*/ 661946 h 716071"/>
                  <a:gd name="connsiteX3234" fmla="*/ 16387 w 614938"/>
                  <a:gd name="connsiteY3234" fmla="*/ 662903 h 716071"/>
                  <a:gd name="connsiteX3235" fmla="*/ 19377 w 614938"/>
                  <a:gd name="connsiteY3235" fmla="*/ 667329 h 716071"/>
                  <a:gd name="connsiteX3236" fmla="*/ 19377 w 614938"/>
                  <a:gd name="connsiteY3236" fmla="*/ 667329 h 716071"/>
                  <a:gd name="connsiteX3237" fmla="*/ 9151 w 614938"/>
                  <a:gd name="connsiteY3237" fmla="*/ 661468 h 716071"/>
                  <a:gd name="connsiteX3238" fmla="*/ 9270 w 614938"/>
                  <a:gd name="connsiteY3238" fmla="*/ 661468 h 716071"/>
                  <a:gd name="connsiteX3239" fmla="*/ 5862 w 614938"/>
                  <a:gd name="connsiteY3239" fmla="*/ 662006 h 716071"/>
                  <a:gd name="connsiteX3240" fmla="*/ 5742 w 614938"/>
                  <a:gd name="connsiteY3240" fmla="*/ 662006 h 716071"/>
                  <a:gd name="connsiteX3241" fmla="*/ 9151 w 614938"/>
                  <a:gd name="connsiteY3241" fmla="*/ 661468 h 716071"/>
                  <a:gd name="connsiteX3242" fmla="*/ 4725 w 614938"/>
                  <a:gd name="connsiteY3242" fmla="*/ 662185 h 716071"/>
                  <a:gd name="connsiteX3243" fmla="*/ 5503 w 614938"/>
                  <a:gd name="connsiteY3243" fmla="*/ 662305 h 716071"/>
                  <a:gd name="connsiteX3244" fmla="*/ 3290 w 614938"/>
                  <a:gd name="connsiteY3244" fmla="*/ 664398 h 716071"/>
                  <a:gd name="connsiteX3245" fmla="*/ 2452 w 614938"/>
                  <a:gd name="connsiteY3245" fmla="*/ 664339 h 716071"/>
                  <a:gd name="connsiteX3246" fmla="*/ 4725 w 614938"/>
                  <a:gd name="connsiteY3246" fmla="*/ 662185 h 716071"/>
                  <a:gd name="connsiteX3247" fmla="*/ 1735 w 614938"/>
                  <a:gd name="connsiteY3247" fmla="*/ 665176 h 716071"/>
                  <a:gd name="connsiteX3248" fmla="*/ 1376 w 614938"/>
                  <a:gd name="connsiteY3248" fmla="*/ 668405 h 716071"/>
                  <a:gd name="connsiteX3249" fmla="*/ 299 w 614938"/>
                  <a:gd name="connsiteY3249" fmla="*/ 669781 h 716071"/>
                  <a:gd name="connsiteX3250" fmla="*/ 659 w 614938"/>
                  <a:gd name="connsiteY3250" fmla="*/ 666492 h 716071"/>
                  <a:gd name="connsiteX3251" fmla="*/ 1735 w 614938"/>
                  <a:gd name="connsiteY3251" fmla="*/ 665176 h 716071"/>
                  <a:gd name="connsiteX3252" fmla="*/ 1495 w 614938"/>
                  <a:gd name="connsiteY3252" fmla="*/ 668944 h 716071"/>
                  <a:gd name="connsiteX3253" fmla="*/ 3110 w 614938"/>
                  <a:gd name="connsiteY3253" fmla="*/ 673848 h 716071"/>
                  <a:gd name="connsiteX3254" fmla="*/ 1795 w 614938"/>
                  <a:gd name="connsiteY3254" fmla="*/ 675522 h 716071"/>
                  <a:gd name="connsiteX3255" fmla="*/ 239 w 614938"/>
                  <a:gd name="connsiteY3255" fmla="*/ 670618 h 716071"/>
                  <a:gd name="connsiteX3256" fmla="*/ 1495 w 614938"/>
                  <a:gd name="connsiteY3256" fmla="*/ 668944 h 716071"/>
                  <a:gd name="connsiteX3257" fmla="*/ 3290 w 614938"/>
                  <a:gd name="connsiteY3257" fmla="*/ 674267 h 716071"/>
                  <a:gd name="connsiteX3258" fmla="*/ 6938 w 614938"/>
                  <a:gd name="connsiteY3258" fmla="*/ 680307 h 716071"/>
                  <a:gd name="connsiteX3259" fmla="*/ 5562 w 614938"/>
                  <a:gd name="connsiteY3259" fmla="*/ 682042 h 716071"/>
                  <a:gd name="connsiteX3260" fmla="*/ 1974 w 614938"/>
                  <a:gd name="connsiteY3260" fmla="*/ 676001 h 716071"/>
                  <a:gd name="connsiteX3261" fmla="*/ 3290 w 614938"/>
                  <a:gd name="connsiteY3261" fmla="*/ 674267 h 716071"/>
                  <a:gd name="connsiteX3262" fmla="*/ 7177 w 614938"/>
                  <a:gd name="connsiteY3262" fmla="*/ 680666 h 716071"/>
                  <a:gd name="connsiteX3263" fmla="*/ 12620 w 614938"/>
                  <a:gd name="connsiteY3263" fmla="*/ 687245 h 716071"/>
                  <a:gd name="connsiteX3264" fmla="*/ 11244 w 614938"/>
                  <a:gd name="connsiteY3264" fmla="*/ 688979 h 716071"/>
                  <a:gd name="connsiteX3265" fmla="*/ 5802 w 614938"/>
                  <a:gd name="connsiteY3265" fmla="*/ 682400 h 716071"/>
                  <a:gd name="connsiteX3266" fmla="*/ 7177 w 614938"/>
                  <a:gd name="connsiteY3266" fmla="*/ 680666 h 716071"/>
                  <a:gd name="connsiteX3267" fmla="*/ 12919 w 614938"/>
                  <a:gd name="connsiteY3267" fmla="*/ 687544 h 716071"/>
                  <a:gd name="connsiteX3268" fmla="*/ 19797 w 614938"/>
                  <a:gd name="connsiteY3268" fmla="*/ 694242 h 716071"/>
                  <a:gd name="connsiteX3269" fmla="*/ 18421 w 614938"/>
                  <a:gd name="connsiteY3269" fmla="*/ 695977 h 716071"/>
                  <a:gd name="connsiteX3270" fmla="*/ 11543 w 614938"/>
                  <a:gd name="connsiteY3270" fmla="*/ 689278 h 716071"/>
                  <a:gd name="connsiteX3271" fmla="*/ 12919 w 614938"/>
                  <a:gd name="connsiteY3271" fmla="*/ 687544 h 716071"/>
                  <a:gd name="connsiteX3272" fmla="*/ 20096 w 614938"/>
                  <a:gd name="connsiteY3272" fmla="*/ 694541 h 716071"/>
                  <a:gd name="connsiteX3273" fmla="*/ 27870 w 614938"/>
                  <a:gd name="connsiteY3273" fmla="*/ 700761 h 716071"/>
                  <a:gd name="connsiteX3274" fmla="*/ 26495 w 614938"/>
                  <a:gd name="connsiteY3274" fmla="*/ 702496 h 716071"/>
                  <a:gd name="connsiteX3275" fmla="*/ 18720 w 614938"/>
                  <a:gd name="connsiteY3275" fmla="*/ 696276 h 716071"/>
                  <a:gd name="connsiteX3276" fmla="*/ 20096 w 614938"/>
                  <a:gd name="connsiteY3276" fmla="*/ 694541 h 716071"/>
                  <a:gd name="connsiteX3277" fmla="*/ 28230 w 614938"/>
                  <a:gd name="connsiteY3277" fmla="*/ 701000 h 716071"/>
                  <a:gd name="connsiteX3278" fmla="*/ 36303 w 614938"/>
                  <a:gd name="connsiteY3278" fmla="*/ 706323 h 716071"/>
                  <a:gd name="connsiteX3279" fmla="*/ 34928 w 614938"/>
                  <a:gd name="connsiteY3279" fmla="*/ 708058 h 716071"/>
                  <a:gd name="connsiteX3280" fmla="*/ 26853 w 614938"/>
                  <a:gd name="connsiteY3280" fmla="*/ 702735 h 716071"/>
                  <a:gd name="connsiteX3281" fmla="*/ 28230 w 614938"/>
                  <a:gd name="connsiteY3281" fmla="*/ 701000 h 716071"/>
                  <a:gd name="connsiteX3282" fmla="*/ 36662 w 614938"/>
                  <a:gd name="connsiteY3282" fmla="*/ 706562 h 716071"/>
                  <a:gd name="connsiteX3283" fmla="*/ 44437 w 614938"/>
                  <a:gd name="connsiteY3283" fmla="*/ 710570 h 716071"/>
                  <a:gd name="connsiteX3284" fmla="*/ 43062 w 614938"/>
                  <a:gd name="connsiteY3284" fmla="*/ 712304 h 716071"/>
                  <a:gd name="connsiteX3285" fmla="*/ 35286 w 614938"/>
                  <a:gd name="connsiteY3285" fmla="*/ 708297 h 716071"/>
                  <a:gd name="connsiteX3286" fmla="*/ 36662 w 614938"/>
                  <a:gd name="connsiteY3286" fmla="*/ 706562 h 716071"/>
                  <a:gd name="connsiteX3287" fmla="*/ 44855 w 614938"/>
                  <a:gd name="connsiteY3287" fmla="*/ 710749 h 716071"/>
                  <a:gd name="connsiteX3288" fmla="*/ 51733 w 614938"/>
                  <a:gd name="connsiteY3288" fmla="*/ 713201 h 716071"/>
                  <a:gd name="connsiteX3289" fmla="*/ 50358 w 614938"/>
                  <a:gd name="connsiteY3289" fmla="*/ 714876 h 716071"/>
                  <a:gd name="connsiteX3290" fmla="*/ 43480 w 614938"/>
                  <a:gd name="connsiteY3290" fmla="*/ 712483 h 716071"/>
                  <a:gd name="connsiteX3291" fmla="*/ 44855 w 614938"/>
                  <a:gd name="connsiteY3291" fmla="*/ 710749 h 716071"/>
                  <a:gd name="connsiteX3292" fmla="*/ 52212 w 614938"/>
                  <a:gd name="connsiteY3292" fmla="*/ 713321 h 716071"/>
                  <a:gd name="connsiteX3293" fmla="*/ 57654 w 614938"/>
                  <a:gd name="connsiteY3293" fmla="*/ 714038 h 716071"/>
                  <a:gd name="connsiteX3294" fmla="*/ 56339 w 614938"/>
                  <a:gd name="connsiteY3294" fmla="*/ 715653 h 716071"/>
                  <a:gd name="connsiteX3295" fmla="*/ 50896 w 614938"/>
                  <a:gd name="connsiteY3295" fmla="*/ 714935 h 716071"/>
                  <a:gd name="connsiteX3296" fmla="*/ 52212 w 614938"/>
                  <a:gd name="connsiteY3296" fmla="*/ 713321 h 716071"/>
                  <a:gd name="connsiteX3297" fmla="*/ 58193 w 614938"/>
                  <a:gd name="connsiteY3297" fmla="*/ 714098 h 716071"/>
                  <a:gd name="connsiteX3298" fmla="*/ 61721 w 614938"/>
                  <a:gd name="connsiteY3298" fmla="*/ 713261 h 716071"/>
                  <a:gd name="connsiteX3299" fmla="*/ 60585 w 614938"/>
                  <a:gd name="connsiteY3299" fmla="*/ 714696 h 716071"/>
                  <a:gd name="connsiteX3300" fmla="*/ 57056 w 614938"/>
                  <a:gd name="connsiteY3300" fmla="*/ 715593 h 716071"/>
                  <a:gd name="connsiteX3301" fmla="*/ 58193 w 614938"/>
                  <a:gd name="connsiteY3301" fmla="*/ 714098 h 716071"/>
                  <a:gd name="connsiteX3302" fmla="*/ 62020 w 614938"/>
                  <a:gd name="connsiteY3302" fmla="*/ 711646 h 716071"/>
                  <a:gd name="connsiteX3303" fmla="*/ 63934 w 614938"/>
                  <a:gd name="connsiteY3303" fmla="*/ 709254 h 716071"/>
                  <a:gd name="connsiteX3304" fmla="*/ 64233 w 614938"/>
                  <a:gd name="connsiteY3304" fmla="*/ 710031 h 716071"/>
                  <a:gd name="connsiteX3305" fmla="*/ 62319 w 614938"/>
                  <a:gd name="connsiteY3305" fmla="*/ 712483 h 716071"/>
                  <a:gd name="connsiteX3306" fmla="*/ 62020 w 614938"/>
                  <a:gd name="connsiteY3306" fmla="*/ 711646 h 716071"/>
                  <a:gd name="connsiteX3307" fmla="*/ 64174 w 614938"/>
                  <a:gd name="connsiteY3307" fmla="*/ 708955 h 716071"/>
                  <a:gd name="connsiteX3308" fmla="*/ 64233 w 614938"/>
                  <a:gd name="connsiteY3308" fmla="*/ 705605 h 716071"/>
                  <a:gd name="connsiteX3309" fmla="*/ 64353 w 614938"/>
                  <a:gd name="connsiteY3309" fmla="*/ 705905 h 716071"/>
                  <a:gd name="connsiteX3310" fmla="*/ 64293 w 614938"/>
                  <a:gd name="connsiteY3310" fmla="*/ 709314 h 716071"/>
                  <a:gd name="connsiteX3311" fmla="*/ 64174 w 614938"/>
                  <a:gd name="connsiteY3311" fmla="*/ 708955 h 716071"/>
                  <a:gd name="connsiteX3312" fmla="*/ 56339 w 614938"/>
                  <a:gd name="connsiteY3312" fmla="*/ 696754 h 716071"/>
                  <a:gd name="connsiteX3313" fmla="*/ 56159 w 614938"/>
                  <a:gd name="connsiteY3313" fmla="*/ 696276 h 716071"/>
                  <a:gd name="connsiteX3314" fmla="*/ 58193 w 614938"/>
                  <a:gd name="connsiteY3314" fmla="*/ 693584 h 716071"/>
                  <a:gd name="connsiteX3315" fmla="*/ 61662 w 614938"/>
                  <a:gd name="connsiteY3315" fmla="*/ 699146 h 716071"/>
                  <a:gd name="connsiteX3316" fmla="*/ 56339 w 614938"/>
                  <a:gd name="connsiteY3316" fmla="*/ 696754 h 716071"/>
                  <a:gd name="connsiteX3317" fmla="*/ 438387 w 614938"/>
                  <a:gd name="connsiteY3317" fmla="*/ 243834 h 716071"/>
                  <a:gd name="connsiteX3318" fmla="*/ 438387 w 614938"/>
                  <a:gd name="connsiteY3318" fmla="*/ 243834 h 716071"/>
                  <a:gd name="connsiteX3319" fmla="*/ 438268 w 614938"/>
                  <a:gd name="connsiteY3319" fmla="*/ 243475 h 716071"/>
                  <a:gd name="connsiteX3320" fmla="*/ 438268 w 614938"/>
                  <a:gd name="connsiteY3320" fmla="*/ 243475 h 716071"/>
                  <a:gd name="connsiteX3321" fmla="*/ 437969 w 614938"/>
                  <a:gd name="connsiteY3321" fmla="*/ 242698 h 716071"/>
                  <a:gd name="connsiteX3322" fmla="*/ 437909 w 614938"/>
                  <a:gd name="connsiteY3322" fmla="*/ 242638 h 716071"/>
                  <a:gd name="connsiteX3323" fmla="*/ 437849 w 614938"/>
                  <a:gd name="connsiteY3323" fmla="*/ 242458 h 716071"/>
                  <a:gd name="connsiteX3324" fmla="*/ 437610 w 614938"/>
                  <a:gd name="connsiteY3324" fmla="*/ 242458 h 716071"/>
                  <a:gd name="connsiteX3325" fmla="*/ 437191 w 614938"/>
                  <a:gd name="connsiteY3325" fmla="*/ 242937 h 716071"/>
                  <a:gd name="connsiteX3326" fmla="*/ 411056 w 614938"/>
                  <a:gd name="connsiteY3326" fmla="*/ 222423 h 716071"/>
                  <a:gd name="connsiteX3327" fmla="*/ 411713 w 614938"/>
                  <a:gd name="connsiteY3327" fmla="*/ 221945 h 716071"/>
                  <a:gd name="connsiteX3328" fmla="*/ 437430 w 614938"/>
                  <a:gd name="connsiteY3328" fmla="*/ 242159 h 716071"/>
                  <a:gd name="connsiteX3329" fmla="*/ 437670 w 614938"/>
                  <a:gd name="connsiteY3329" fmla="*/ 242159 h 716071"/>
                  <a:gd name="connsiteX3330" fmla="*/ 437610 w 614938"/>
                  <a:gd name="connsiteY3330" fmla="*/ 241920 h 716071"/>
                  <a:gd name="connsiteX3331" fmla="*/ 411952 w 614938"/>
                  <a:gd name="connsiteY3331" fmla="*/ 221765 h 716071"/>
                  <a:gd name="connsiteX3332" fmla="*/ 414225 w 614938"/>
                  <a:gd name="connsiteY3332" fmla="*/ 220091 h 716071"/>
                  <a:gd name="connsiteX3333" fmla="*/ 422299 w 614938"/>
                  <a:gd name="connsiteY3333" fmla="*/ 221167 h 716071"/>
                  <a:gd name="connsiteX3334" fmla="*/ 422240 w 614938"/>
                  <a:gd name="connsiteY3334" fmla="*/ 225294 h 716071"/>
                  <a:gd name="connsiteX3335" fmla="*/ 422240 w 614938"/>
                  <a:gd name="connsiteY3335" fmla="*/ 225294 h 716071"/>
                  <a:gd name="connsiteX3336" fmla="*/ 422240 w 614938"/>
                  <a:gd name="connsiteY3336" fmla="*/ 225354 h 716071"/>
                  <a:gd name="connsiteX3337" fmla="*/ 422240 w 614938"/>
                  <a:gd name="connsiteY3337" fmla="*/ 225354 h 716071"/>
                  <a:gd name="connsiteX3338" fmla="*/ 422240 w 614938"/>
                  <a:gd name="connsiteY3338" fmla="*/ 225354 h 716071"/>
                  <a:gd name="connsiteX3339" fmla="*/ 426067 w 614938"/>
                  <a:gd name="connsiteY3339" fmla="*/ 229899 h 716071"/>
                  <a:gd name="connsiteX3340" fmla="*/ 426067 w 614938"/>
                  <a:gd name="connsiteY3340" fmla="*/ 229899 h 716071"/>
                  <a:gd name="connsiteX3341" fmla="*/ 426067 w 614938"/>
                  <a:gd name="connsiteY3341" fmla="*/ 229899 h 716071"/>
                  <a:gd name="connsiteX3342" fmla="*/ 429775 w 614938"/>
                  <a:gd name="connsiteY3342" fmla="*/ 232471 h 716071"/>
                  <a:gd name="connsiteX3343" fmla="*/ 429775 w 614938"/>
                  <a:gd name="connsiteY3343" fmla="*/ 232471 h 716071"/>
                  <a:gd name="connsiteX3344" fmla="*/ 429775 w 614938"/>
                  <a:gd name="connsiteY3344" fmla="*/ 232471 h 716071"/>
                  <a:gd name="connsiteX3345" fmla="*/ 434739 w 614938"/>
                  <a:gd name="connsiteY3345" fmla="*/ 234983 h 716071"/>
                  <a:gd name="connsiteX3346" fmla="*/ 434739 w 614938"/>
                  <a:gd name="connsiteY3346" fmla="*/ 234983 h 716071"/>
                  <a:gd name="connsiteX3347" fmla="*/ 434799 w 614938"/>
                  <a:gd name="connsiteY3347" fmla="*/ 234983 h 716071"/>
                  <a:gd name="connsiteX3348" fmla="*/ 434799 w 614938"/>
                  <a:gd name="connsiteY3348" fmla="*/ 234983 h 716071"/>
                  <a:gd name="connsiteX3349" fmla="*/ 434799 w 614938"/>
                  <a:gd name="connsiteY3349" fmla="*/ 234983 h 716071"/>
                  <a:gd name="connsiteX3350" fmla="*/ 439464 w 614938"/>
                  <a:gd name="connsiteY3350" fmla="*/ 235282 h 716071"/>
                  <a:gd name="connsiteX3351" fmla="*/ 440480 w 614938"/>
                  <a:gd name="connsiteY3351" fmla="*/ 238033 h 716071"/>
                  <a:gd name="connsiteX3352" fmla="*/ 439703 w 614938"/>
                  <a:gd name="connsiteY3352" fmla="*/ 239169 h 716071"/>
                  <a:gd name="connsiteX3353" fmla="*/ 436892 w 614938"/>
                  <a:gd name="connsiteY3353" fmla="*/ 240186 h 716071"/>
                  <a:gd name="connsiteX3354" fmla="*/ 436772 w 614938"/>
                  <a:gd name="connsiteY3354" fmla="*/ 240305 h 716071"/>
                  <a:gd name="connsiteX3355" fmla="*/ 436653 w 614938"/>
                  <a:gd name="connsiteY3355" fmla="*/ 240365 h 716071"/>
                  <a:gd name="connsiteX3356" fmla="*/ 436653 w 614938"/>
                  <a:gd name="connsiteY3356" fmla="*/ 240604 h 716071"/>
                  <a:gd name="connsiteX3357" fmla="*/ 438687 w 614938"/>
                  <a:gd name="connsiteY3357" fmla="*/ 242937 h 716071"/>
                  <a:gd name="connsiteX3358" fmla="*/ 446043 w 614938"/>
                  <a:gd name="connsiteY3358" fmla="*/ 261298 h 716071"/>
                  <a:gd name="connsiteX3359" fmla="*/ 444667 w 614938"/>
                  <a:gd name="connsiteY3359" fmla="*/ 259683 h 716071"/>
                  <a:gd name="connsiteX3360" fmla="*/ 438387 w 614938"/>
                  <a:gd name="connsiteY3360" fmla="*/ 243834 h 716071"/>
                  <a:gd name="connsiteX3361" fmla="*/ 446521 w 614938"/>
                  <a:gd name="connsiteY3361" fmla="*/ 262314 h 716071"/>
                  <a:gd name="connsiteX3362" fmla="*/ 453757 w 614938"/>
                  <a:gd name="connsiteY3362" fmla="*/ 280316 h 716071"/>
                  <a:gd name="connsiteX3363" fmla="*/ 452382 w 614938"/>
                  <a:gd name="connsiteY3363" fmla="*/ 278702 h 716071"/>
                  <a:gd name="connsiteX3364" fmla="*/ 445145 w 614938"/>
                  <a:gd name="connsiteY3364" fmla="*/ 260759 h 716071"/>
                  <a:gd name="connsiteX3365" fmla="*/ 446521 w 614938"/>
                  <a:gd name="connsiteY3365" fmla="*/ 262314 h 716071"/>
                  <a:gd name="connsiteX3366" fmla="*/ 454176 w 614938"/>
                  <a:gd name="connsiteY3366" fmla="*/ 281393 h 716071"/>
                  <a:gd name="connsiteX3367" fmla="*/ 461293 w 614938"/>
                  <a:gd name="connsiteY3367" fmla="*/ 299096 h 716071"/>
                  <a:gd name="connsiteX3368" fmla="*/ 459918 w 614938"/>
                  <a:gd name="connsiteY3368" fmla="*/ 297421 h 716071"/>
                  <a:gd name="connsiteX3369" fmla="*/ 452861 w 614938"/>
                  <a:gd name="connsiteY3369" fmla="*/ 279778 h 716071"/>
                  <a:gd name="connsiteX3370" fmla="*/ 454176 w 614938"/>
                  <a:gd name="connsiteY3370" fmla="*/ 281393 h 716071"/>
                  <a:gd name="connsiteX3371" fmla="*/ 461712 w 614938"/>
                  <a:gd name="connsiteY3371" fmla="*/ 300172 h 716071"/>
                  <a:gd name="connsiteX3372" fmla="*/ 468650 w 614938"/>
                  <a:gd name="connsiteY3372" fmla="*/ 317516 h 716071"/>
                  <a:gd name="connsiteX3373" fmla="*/ 467274 w 614938"/>
                  <a:gd name="connsiteY3373" fmla="*/ 315782 h 716071"/>
                  <a:gd name="connsiteX3374" fmla="*/ 460337 w 614938"/>
                  <a:gd name="connsiteY3374" fmla="*/ 298438 h 716071"/>
                  <a:gd name="connsiteX3375" fmla="*/ 461712 w 614938"/>
                  <a:gd name="connsiteY3375" fmla="*/ 300172 h 716071"/>
                  <a:gd name="connsiteX3376" fmla="*/ 469128 w 614938"/>
                  <a:gd name="connsiteY3376" fmla="*/ 318713 h 716071"/>
                  <a:gd name="connsiteX3377" fmla="*/ 475946 w 614938"/>
                  <a:gd name="connsiteY3377" fmla="*/ 335758 h 716071"/>
                  <a:gd name="connsiteX3378" fmla="*/ 474571 w 614938"/>
                  <a:gd name="connsiteY3378" fmla="*/ 334023 h 716071"/>
                  <a:gd name="connsiteX3379" fmla="*/ 467753 w 614938"/>
                  <a:gd name="connsiteY3379" fmla="*/ 317038 h 716071"/>
                  <a:gd name="connsiteX3380" fmla="*/ 469128 w 614938"/>
                  <a:gd name="connsiteY3380" fmla="*/ 318713 h 716071"/>
                  <a:gd name="connsiteX3381" fmla="*/ 476425 w 614938"/>
                  <a:gd name="connsiteY3381" fmla="*/ 336954 h 716071"/>
                  <a:gd name="connsiteX3382" fmla="*/ 483123 w 614938"/>
                  <a:gd name="connsiteY3382" fmla="*/ 353700 h 716071"/>
                  <a:gd name="connsiteX3383" fmla="*/ 481747 w 614938"/>
                  <a:gd name="connsiteY3383" fmla="*/ 351906 h 716071"/>
                  <a:gd name="connsiteX3384" fmla="*/ 475049 w 614938"/>
                  <a:gd name="connsiteY3384" fmla="*/ 335219 h 716071"/>
                  <a:gd name="connsiteX3385" fmla="*/ 476425 w 614938"/>
                  <a:gd name="connsiteY3385" fmla="*/ 336954 h 716071"/>
                  <a:gd name="connsiteX3386" fmla="*/ 483661 w 614938"/>
                  <a:gd name="connsiteY3386" fmla="*/ 354896 h 716071"/>
                  <a:gd name="connsiteX3387" fmla="*/ 490240 w 614938"/>
                  <a:gd name="connsiteY3387" fmla="*/ 371343 h 716071"/>
                  <a:gd name="connsiteX3388" fmla="*/ 488864 w 614938"/>
                  <a:gd name="connsiteY3388" fmla="*/ 369489 h 716071"/>
                  <a:gd name="connsiteX3389" fmla="*/ 482286 w 614938"/>
                  <a:gd name="connsiteY3389" fmla="*/ 353102 h 716071"/>
                  <a:gd name="connsiteX3390" fmla="*/ 483661 w 614938"/>
                  <a:gd name="connsiteY3390" fmla="*/ 354896 h 716071"/>
                  <a:gd name="connsiteX3391" fmla="*/ 490719 w 614938"/>
                  <a:gd name="connsiteY3391" fmla="*/ 372539 h 716071"/>
                  <a:gd name="connsiteX3392" fmla="*/ 497177 w 614938"/>
                  <a:gd name="connsiteY3392" fmla="*/ 388687 h 716071"/>
                  <a:gd name="connsiteX3393" fmla="*/ 495802 w 614938"/>
                  <a:gd name="connsiteY3393" fmla="*/ 386833 h 716071"/>
                  <a:gd name="connsiteX3394" fmla="*/ 489343 w 614938"/>
                  <a:gd name="connsiteY3394" fmla="*/ 370745 h 716071"/>
                  <a:gd name="connsiteX3395" fmla="*/ 490719 w 614938"/>
                  <a:gd name="connsiteY3395" fmla="*/ 372539 h 716071"/>
                  <a:gd name="connsiteX3396" fmla="*/ 497716 w 614938"/>
                  <a:gd name="connsiteY3396" fmla="*/ 390003 h 716071"/>
                  <a:gd name="connsiteX3397" fmla="*/ 504055 w 614938"/>
                  <a:gd name="connsiteY3397" fmla="*/ 405852 h 716071"/>
                  <a:gd name="connsiteX3398" fmla="*/ 502620 w 614938"/>
                  <a:gd name="connsiteY3398" fmla="*/ 403938 h 716071"/>
                  <a:gd name="connsiteX3399" fmla="*/ 496281 w 614938"/>
                  <a:gd name="connsiteY3399" fmla="*/ 388089 h 716071"/>
                  <a:gd name="connsiteX3400" fmla="*/ 497716 w 614938"/>
                  <a:gd name="connsiteY3400" fmla="*/ 390003 h 716071"/>
                  <a:gd name="connsiteX3401" fmla="*/ 504594 w 614938"/>
                  <a:gd name="connsiteY3401" fmla="*/ 407108 h 716071"/>
                  <a:gd name="connsiteX3402" fmla="*/ 510874 w 614938"/>
                  <a:gd name="connsiteY3402" fmla="*/ 422717 h 716071"/>
                  <a:gd name="connsiteX3403" fmla="*/ 509438 w 614938"/>
                  <a:gd name="connsiteY3403" fmla="*/ 420804 h 716071"/>
                  <a:gd name="connsiteX3404" fmla="*/ 503218 w 614938"/>
                  <a:gd name="connsiteY3404" fmla="*/ 405254 h 716071"/>
                  <a:gd name="connsiteX3405" fmla="*/ 504594 w 614938"/>
                  <a:gd name="connsiteY3405" fmla="*/ 407108 h 716071"/>
                  <a:gd name="connsiteX3406" fmla="*/ 518290 w 614938"/>
                  <a:gd name="connsiteY3406" fmla="*/ 440361 h 716071"/>
                  <a:gd name="connsiteX3407" fmla="*/ 511771 w 614938"/>
                  <a:gd name="connsiteY3407" fmla="*/ 424093 h 716071"/>
                  <a:gd name="connsiteX3408" fmla="*/ 518589 w 614938"/>
                  <a:gd name="connsiteY3408" fmla="*/ 420744 h 716071"/>
                  <a:gd name="connsiteX3409" fmla="*/ 523553 w 614938"/>
                  <a:gd name="connsiteY3409" fmla="*/ 436652 h 716071"/>
                  <a:gd name="connsiteX3410" fmla="*/ 518290 w 614938"/>
                  <a:gd name="connsiteY3410" fmla="*/ 440361 h 716071"/>
                  <a:gd name="connsiteX3411" fmla="*/ 460217 w 614938"/>
                  <a:gd name="connsiteY3411" fmla="*/ 242937 h 716071"/>
                  <a:gd name="connsiteX3412" fmla="*/ 449213 w 614938"/>
                  <a:gd name="connsiteY3412" fmla="*/ 238631 h 716071"/>
                  <a:gd name="connsiteX3413" fmla="*/ 449153 w 614938"/>
                  <a:gd name="connsiteY3413" fmla="*/ 238392 h 716071"/>
                  <a:gd name="connsiteX3414" fmla="*/ 460217 w 614938"/>
                  <a:gd name="connsiteY3414" fmla="*/ 242937 h 716071"/>
                  <a:gd name="connsiteX3415" fmla="*/ 453638 w 614938"/>
                  <a:gd name="connsiteY3415" fmla="*/ 221526 h 716071"/>
                  <a:gd name="connsiteX3416" fmla="*/ 453638 w 614938"/>
                  <a:gd name="connsiteY3416" fmla="*/ 221526 h 716071"/>
                  <a:gd name="connsiteX3417" fmla="*/ 459559 w 614938"/>
                  <a:gd name="connsiteY3417" fmla="*/ 212854 h 716071"/>
                  <a:gd name="connsiteX3418" fmla="*/ 459559 w 614938"/>
                  <a:gd name="connsiteY3418" fmla="*/ 212854 h 716071"/>
                  <a:gd name="connsiteX3419" fmla="*/ 453638 w 614938"/>
                  <a:gd name="connsiteY3419" fmla="*/ 221526 h 716071"/>
                  <a:gd name="connsiteX3420" fmla="*/ 458243 w 614938"/>
                  <a:gd name="connsiteY3420" fmla="*/ 206455 h 716071"/>
                  <a:gd name="connsiteX3421" fmla="*/ 447956 w 614938"/>
                  <a:gd name="connsiteY3421" fmla="*/ 181575 h 716071"/>
                  <a:gd name="connsiteX3422" fmla="*/ 461832 w 614938"/>
                  <a:gd name="connsiteY3422" fmla="*/ 165845 h 716071"/>
                  <a:gd name="connsiteX3423" fmla="*/ 471759 w 614938"/>
                  <a:gd name="connsiteY3423" fmla="*/ 189170 h 716071"/>
                  <a:gd name="connsiteX3424" fmla="*/ 458243 w 614938"/>
                  <a:gd name="connsiteY3424" fmla="*/ 206455 h 716071"/>
                  <a:gd name="connsiteX3425" fmla="*/ 475587 w 614938"/>
                  <a:gd name="connsiteY3425" fmla="*/ 149219 h 716071"/>
                  <a:gd name="connsiteX3426" fmla="*/ 475767 w 614938"/>
                  <a:gd name="connsiteY3426" fmla="*/ 149398 h 716071"/>
                  <a:gd name="connsiteX3427" fmla="*/ 461772 w 614938"/>
                  <a:gd name="connsiteY3427" fmla="*/ 165247 h 716071"/>
                  <a:gd name="connsiteX3428" fmla="*/ 461592 w 614938"/>
                  <a:gd name="connsiteY3428" fmla="*/ 165068 h 716071"/>
                  <a:gd name="connsiteX3429" fmla="*/ 475587 w 614938"/>
                  <a:gd name="connsiteY3429" fmla="*/ 149219 h 716071"/>
                  <a:gd name="connsiteX3430" fmla="*/ 471939 w 614938"/>
                  <a:gd name="connsiteY3430" fmla="*/ 188811 h 716071"/>
                  <a:gd name="connsiteX3431" fmla="*/ 462011 w 614938"/>
                  <a:gd name="connsiteY3431" fmla="*/ 165487 h 716071"/>
                  <a:gd name="connsiteX3432" fmla="*/ 476006 w 614938"/>
                  <a:gd name="connsiteY3432" fmla="*/ 149697 h 716071"/>
                  <a:gd name="connsiteX3433" fmla="*/ 485515 w 614938"/>
                  <a:gd name="connsiteY3433" fmla="*/ 171407 h 716071"/>
                  <a:gd name="connsiteX3434" fmla="*/ 471939 w 614938"/>
                  <a:gd name="connsiteY3434" fmla="*/ 188811 h 716071"/>
                  <a:gd name="connsiteX3435" fmla="*/ 485815 w 614938"/>
                  <a:gd name="connsiteY3435" fmla="*/ 171108 h 716071"/>
                  <a:gd name="connsiteX3436" fmla="*/ 476305 w 614938"/>
                  <a:gd name="connsiteY3436" fmla="*/ 149398 h 716071"/>
                  <a:gd name="connsiteX3437" fmla="*/ 490359 w 614938"/>
                  <a:gd name="connsiteY3437" fmla="*/ 133490 h 716071"/>
                  <a:gd name="connsiteX3438" fmla="*/ 499510 w 614938"/>
                  <a:gd name="connsiteY3438" fmla="*/ 153525 h 716071"/>
                  <a:gd name="connsiteX3439" fmla="*/ 485815 w 614938"/>
                  <a:gd name="connsiteY3439" fmla="*/ 171108 h 716071"/>
                  <a:gd name="connsiteX3440" fmla="*/ 541914 w 614938"/>
                  <a:gd name="connsiteY3440" fmla="*/ 99160 h 716071"/>
                  <a:gd name="connsiteX3441" fmla="*/ 527919 w 614938"/>
                  <a:gd name="connsiteY3441" fmla="*/ 117103 h 716071"/>
                  <a:gd name="connsiteX3442" fmla="*/ 519545 w 614938"/>
                  <a:gd name="connsiteY3442" fmla="*/ 100476 h 716071"/>
                  <a:gd name="connsiteX3443" fmla="*/ 533839 w 614938"/>
                  <a:gd name="connsiteY3443" fmla="*/ 84268 h 716071"/>
                  <a:gd name="connsiteX3444" fmla="*/ 541914 w 614938"/>
                  <a:gd name="connsiteY3444" fmla="*/ 99160 h 716071"/>
                  <a:gd name="connsiteX3445" fmla="*/ 527680 w 614938"/>
                  <a:gd name="connsiteY3445" fmla="*/ 117402 h 716071"/>
                  <a:gd name="connsiteX3446" fmla="*/ 513804 w 614938"/>
                  <a:gd name="connsiteY3446" fmla="*/ 135224 h 716071"/>
                  <a:gd name="connsiteX3447" fmla="*/ 505072 w 614938"/>
                  <a:gd name="connsiteY3447" fmla="*/ 116863 h 716071"/>
                  <a:gd name="connsiteX3448" fmla="*/ 519307 w 614938"/>
                  <a:gd name="connsiteY3448" fmla="*/ 100775 h 716071"/>
                  <a:gd name="connsiteX3449" fmla="*/ 527680 w 614938"/>
                  <a:gd name="connsiteY3449" fmla="*/ 117402 h 716071"/>
                  <a:gd name="connsiteX3450" fmla="*/ 513505 w 614938"/>
                  <a:gd name="connsiteY3450" fmla="*/ 135523 h 716071"/>
                  <a:gd name="connsiteX3451" fmla="*/ 499690 w 614938"/>
                  <a:gd name="connsiteY3451" fmla="*/ 153166 h 716071"/>
                  <a:gd name="connsiteX3452" fmla="*/ 490539 w 614938"/>
                  <a:gd name="connsiteY3452" fmla="*/ 133131 h 716071"/>
                  <a:gd name="connsiteX3453" fmla="*/ 504713 w 614938"/>
                  <a:gd name="connsiteY3453" fmla="*/ 117103 h 716071"/>
                  <a:gd name="connsiteX3454" fmla="*/ 513505 w 614938"/>
                  <a:gd name="connsiteY3454" fmla="*/ 135523 h 716071"/>
                  <a:gd name="connsiteX3455" fmla="*/ 542153 w 614938"/>
                  <a:gd name="connsiteY3455" fmla="*/ 98861 h 716071"/>
                  <a:gd name="connsiteX3456" fmla="*/ 534079 w 614938"/>
                  <a:gd name="connsiteY3456" fmla="*/ 83969 h 716071"/>
                  <a:gd name="connsiteX3457" fmla="*/ 548493 w 614938"/>
                  <a:gd name="connsiteY3457" fmla="*/ 67642 h 716071"/>
                  <a:gd name="connsiteX3458" fmla="*/ 556267 w 614938"/>
                  <a:gd name="connsiteY3458" fmla="*/ 80740 h 716071"/>
                  <a:gd name="connsiteX3459" fmla="*/ 542153 w 614938"/>
                  <a:gd name="connsiteY3459" fmla="*/ 98861 h 716071"/>
                  <a:gd name="connsiteX3460" fmla="*/ 556507 w 614938"/>
                  <a:gd name="connsiteY3460" fmla="*/ 80501 h 716071"/>
                  <a:gd name="connsiteX3461" fmla="*/ 548791 w 614938"/>
                  <a:gd name="connsiteY3461" fmla="*/ 67403 h 716071"/>
                  <a:gd name="connsiteX3462" fmla="*/ 563325 w 614938"/>
                  <a:gd name="connsiteY3462" fmla="*/ 51016 h 716071"/>
                  <a:gd name="connsiteX3463" fmla="*/ 570741 w 614938"/>
                  <a:gd name="connsiteY3463" fmla="*/ 62319 h 716071"/>
                  <a:gd name="connsiteX3464" fmla="*/ 556507 w 614938"/>
                  <a:gd name="connsiteY3464" fmla="*/ 80501 h 716071"/>
                  <a:gd name="connsiteX3465" fmla="*/ 570920 w 614938"/>
                  <a:gd name="connsiteY3465" fmla="*/ 61960 h 716071"/>
                  <a:gd name="connsiteX3466" fmla="*/ 563504 w 614938"/>
                  <a:gd name="connsiteY3466" fmla="*/ 50717 h 716071"/>
                  <a:gd name="connsiteX3467" fmla="*/ 578097 w 614938"/>
                  <a:gd name="connsiteY3467" fmla="*/ 34210 h 716071"/>
                  <a:gd name="connsiteX3468" fmla="*/ 585274 w 614938"/>
                  <a:gd name="connsiteY3468" fmla="*/ 43659 h 716071"/>
                  <a:gd name="connsiteX3469" fmla="*/ 570920 w 614938"/>
                  <a:gd name="connsiteY3469" fmla="*/ 61960 h 716071"/>
                  <a:gd name="connsiteX3470" fmla="*/ 585453 w 614938"/>
                  <a:gd name="connsiteY3470" fmla="*/ 43360 h 716071"/>
                  <a:gd name="connsiteX3471" fmla="*/ 578336 w 614938"/>
                  <a:gd name="connsiteY3471" fmla="*/ 33971 h 716071"/>
                  <a:gd name="connsiteX3472" fmla="*/ 593049 w 614938"/>
                  <a:gd name="connsiteY3472" fmla="*/ 17344 h 716071"/>
                  <a:gd name="connsiteX3473" fmla="*/ 599927 w 614938"/>
                  <a:gd name="connsiteY3473" fmla="*/ 24880 h 716071"/>
                  <a:gd name="connsiteX3474" fmla="*/ 585453 w 614938"/>
                  <a:gd name="connsiteY3474" fmla="*/ 43360 h 716071"/>
                  <a:gd name="connsiteX3475" fmla="*/ 600106 w 614938"/>
                  <a:gd name="connsiteY3475" fmla="*/ 24581 h 716071"/>
                  <a:gd name="connsiteX3476" fmla="*/ 593228 w 614938"/>
                  <a:gd name="connsiteY3476" fmla="*/ 17045 h 716071"/>
                  <a:gd name="connsiteX3477" fmla="*/ 608000 w 614938"/>
                  <a:gd name="connsiteY3477" fmla="*/ 299 h 716071"/>
                  <a:gd name="connsiteX3478" fmla="*/ 614579 w 614938"/>
                  <a:gd name="connsiteY3478" fmla="*/ 5921 h 716071"/>
                  <a:gd name="connsiteX3479" fmla="*/ 600106 w 614938"/>
                  <a:gd name="connsiteY3479" fmla="*/ 24581 h 716071"/>
                  <a:gd name="connsiteX3480" fmla="*/ 607522 w 614938"/>
                  <a:gd name="connsiteY3480" fmla="*/ 0 h 716071"/>
                  <a:gd name="connsiteX3481" fmla="*/ 607761 w 614938"/>
                  <a:gd name="connsiteY3481" fmla="*/ 60 h 716071"/>
                  <a:gd name="connsiteX3482" fmla="*/ 592989 w 614938"/>
                  <a:gd name="connsiteY3482" fmla="*/ 16746 h 716071"/>
                  <a:gd name="connsiteX3483" fmla="*/ 592750 w 614938"/>
                  <a:gd name="connsiteY3483" fmla="*/ 16686 h 716071"/>
                  <a:gd name="connsiteX3484" fmla="*/ 607522 w 614938"/>
                  <a:gd name="connsiteY3484" fmla="*/ 0 h 716071"/>
                  <a:gd name="connsiteX3485" fmla="*/ 592511 w 614938"/>
                  <a:gd name="connsiteY3485" fmla="*/ 16985 h 716071"/>
                  <a:gd name="connsiteX3486" fmla="*/ 592750 w 614938"/>
                  <a:gd name="connsiteY3486" fmla="*/ 17045 h 716071"/>
                  <a:gd name="connsiteX3487" fmla="*/ 578097 w 614938"/>
                  <a:gd name="connsiteY3487" fmla="*/ 33671 h 716071"/>
                  <a:gd name="connsiteX3488" fmla="*/ 577857 w 614938"/>
                  <a:gd name="connsiteY3488" fmla="*/ 33552 h 716071"/>
                  <a:gd name="connsiteX3489" fmla="*/ 592511 w 614938"/>
                  <a:gd name="connsiteY3489" fmla="*/ 16985 h 716071"/>
                  <a:gd name="connsiteX3490" fmla="*/ 577559 w 614938"/>
                  <a:gd name="connsiteY3490" fmla="*/ 33851 h 716071"/>
                  <a:gd name="connsiteX3491" fmla="*/ 577798 w 614938"/>
                  <a:gd name="connsiteY3491" fmla="*/ 33971 h 716071"/>
                  <a:gd name="connsiteX3492" fmla="*/ 563205 w 614938"/>
                  <a:gd name="connsiteY3492" fmla="*/ 50477 h 716071"/>
                  <a:gd name="connsiteX3493" fmla="*/ 562965 w 614938"/>
                  <a:gd name="connsiteY3493" fmla="*/ 50358 h 716071"/>
                  <a:gd name="connsiteX3494" fmla="*/ 577559 w 614938"/>
                  <a:gd name="connsiteY3494" fmla="*/ 33851 h 716071"/>
                  <a:gd name="connsiteX3495" fmla="*/ 562727 w 614938"/>
                  <a:gd name="connsiteY3495" fmla="*/ 50657 h 716071"/>
                  <a:gd name="connsiteX3496" fmla="*/ 562965 w 614938"/>
                  <a:gd name="connsiteY3496" fmla="*/ 50776 h 716071"/>
                  <a:gd name="connsiteX3497" fmla="*/ 548493 w 614938"/>
                  <a:gd name="connsiteY3497" fmla="*/ 67164 h 716071"/>
                  <a:gd name="connsiteX3498" fmla="*/ 548253 w 614938"/>
                  <a:gd name="connsiteY3498" fmla="*/ 67044 h 716071"/>
                  <a:gd name="connsiteX3499" fmla="*/ 562727 w 614938"/>
                  <a:gd name="connsiteY3499" fmla="*/ 50657 h 716071"/>
                  <a:gd name="connsiteX3500" fmla="*/ 548014 w 614938"/>
                  <a:gd name="connsiteY3500" fmla="*/ 67283 h 716071"/>
                  <a:gd name="connsiteX3501" fmla="*/ 548253 w 614938"/>
                  <a:gd name="connsiteY3501" fmla="*/ 67403 h 716071"/>
                  <a:gd name="connsiteX3502" fmla="*/ 533839 w 614938"/>
                  <a:gd name="connsiteY3502" fmla="*/ 83730 h 716071"/>
                  <a:gd name="connsiteX3503" fmla="*/ 533601 w 614938"/>
                  <a:gd name="connsiteY3503" fmla="*/ 83611 h 716071"/>
                  <a:gd name="connsiteX3504" fmla="*/ 548014 w 614938"/>
                  <a:gd name="connsiteY3504" fmla="*/ 67283 h 716071"/>
                  <a:gd name="connsiteX3505" fmla="*/ 533361 w 614938"/>
                  <a:gd name="connsiteY3505" fmla="*/ 83910 h 716071"/>
                  <a:gd name="connsiteX3506" fmla="*/ 533601 w 614938"/>
                  <a:gd name="connsiteY3506" fmla="*/ 84029 h 716071"/>
                  <a:gd name="connsiteX3507" fmla="*/ 519247 w 614938"/>
                  <a:gd name="connsiteY3507" fmla="*/ 100237 h 716071"/>
                  <a:gd name="connsiteX3508" fmla="*/ 519067 w 614938"/>
                  <a:gd name="connsiteY3508" fmla="*/ 100117 h 716071"/>
                  <a:gd name="connsiteX3509" fmla="*/ 533361 w 614938"/>
                  <a:gd name="connsiteY3509" fmla="*/ 83910 h 716071"/>
                  <a:gd name="connsiteX3510" fmla="*/ 518768 w 614938"/>
                  <a:gd name="connsiteY3510" fmla="*/ 100356 h 716071"/>
                  <a:gd name="connsiteX3511" fmla="*/ 518947 w 614938"/>
                  <a:gd name="connsiteY3511" fmla="*/ 100476 h 716071"/>
                  <a:gd name="connsiteX3512" fmla="*/ 504713 w 614938"/>
                  <a:gd name="connsiteY3512" fmla="*/ 116564 h 716071"/>
                  <a:gd name="connsiteX3513" fmla="*/ 504534 w 614938"/>
                  <a:gd name="connsiteY3513" fmla="*/ 116445 h 716071"/>
                  <a:gd name="connsiteX3514" fmla="*/ 518768 w 614938"/>
                  <a:gd name="connsiteY3514" fmla="*/ 100356 h 716071"/>
                  <a:gd name="connsiteX3515" fmla="*/ 504295 w 614938"/>
                  <a:gd name="connsiteY3515" fmla="*/ 116744 h 716071"/>
                  <a:gd name="connsiteX3516" fmla="*/ 504475 w 614938"/>
                  <a:gd name="connsiteY3516" fmla="*/ 116863 h 716071"/>
                  <a:gd name="connsiteX3517" fmla="*/ 490300 w 614938"/>
                  <a:gd name="connsiteY3517" fmla="*/ 132892 h 716071"/>
                  <a:gd name="connsiteX3518" fmla="*/ 490121 w 614938"/>
                  <a:gd name="connsiteY3518" fmla="*/ 132712 h 716071"/>
                  <a:gd name="connsiteX3519" fmla="*/ 504295 w 614938"/>
                  <a:gd name="connsiteY3519" fmla="*/ 116744 h 716071"/>
                  <a:gd name="connsiteX3520" fmla="*/ 489941 w 614938"/>
                  <a:gd name="connsiteY3520" fmla="*/ 133011 h 716071"/>
                  <a:gd name="connsiteX3521" fmla="*/ 490121 w 614938"/>
                  <a:gd name="connsiteY3521" fmla="*/ 133191 h 716071"/>
                  <a:gd name="connsiteX3522" fmla="*/ 476066 w 614938"/>
                  <a:gd name="connsiteY3522" fmla="*/ 149099 h 716071"/>
                  <a:gd name="connsiteX3523" fmla="*/ 475886 w 614938"/>
                  <a:gd name="connsiteY3523" fmla="*/ 148920 h 716071"/>
                  <a:gd name="connsiteX3524" fmla="*/ 489941 w 614938"/>
                  <a:gd name="connsiteY3524" fmla="*/ 133011 h 716071"/>
                  <a:gd name="connsiteX3525" fmla="*/ 461413 w 614938"/>
                  <a:gd name="connsiteY3525" fmla="*/ 165307 h 716071"/>
                  <a:gd name="connsiteX3526" fmla="*/ 461592 w 614938"/>
                  <a:gd name="connsiteY3526" fmla="*/ 165487 h 716071"/>
                  <a:gd name="connsiteX3527" fmla="*/ 447658 w 614938"/>
                  <a:gd name="connsiteY3527" fmla="*/ 181216 h 716071"/>
                  <a:gd name="connsiteX3528" fmla="*/ 447478 w 614938"/>
                  <a:gd name="connsiteY3528" fmla="*/ 181036 h 716071"/>
                  <a:gd name="connsiteX3529" fmla="*/ 461413 w 614938"/>
                  <a:gd name="connsiteY3529" fmla="*/ 165307 h 716071"/>
                  <a:gd name="connsiteX3530" fmla="*/ 446940 w 614938"/>
                  <a:gd name="connsiteY3530" fmla="*/ 199457 h 716071"/>
                  <a:gd name="connsiteX3531" fmla="*/ 437969 w 614938"/>
                  <a:gd name="connsiteY3531" fmla="*/ 192161 h 716071"/>
                  <a:gd name="connsiteX3532" fmla="*/ 421701 w 614938"/>
                  <a:gd name="connsiteY3532" fmla="*/ 175474 h 716071"/>
                  <a:gd name="connsiteX3533" fmla="*/ 440002 w 614938"/>
                  <a:gd name="connsiteY3533" fmla="*/ 190247 h 716071"/>
                  <a:gd name="connsiteX3534" fmla="*/ 447896 w 614938"/>
                  <a:gd name="connsiteY3534" fmla="*/ 198261 h 716071"/>
                  <a:gd name="connsiteX3535" fmla="*/ 446940 w 614938"/>
                  <a:gd name="connsiteY3535" fmla="*/ 199457 h 716071"/>
                  <a:gd name="connsiteX3536" fmla="*/ 389046 w 614938"/>
                  <a:gd name="connsiteY3536" fmla="*/ 228105 h 716071"/>
                  <a:gd name="connsiteX3537" fmla="*/ 374274 w 614938"/>
                  <a:gd name="connsiteY3537" fmla="*/ 245927 h 716071"/>
                  <a:gd name="connsiteX3538" fmla="*/ 374094 w 614938"/>
                  <a:gd name="connsiteY3538" fmla="*/ 245568 h 716071"/>
                  <a:gd name="connsiteX3539" fmla="*/ 388687 w 614938"/>
                  <a:gd name="connsiteY3539" fmla="*/ 228045 h 716071"/>
                  <a:gd name="connsiteX3540" fmla="*/ 389046 w 614938"/>
                  <a:gd name="connsiteY3540" fmla="*/ 228105 h 716071"/>
                  <a:gd name="connsiteX3541" fmla="*/ 19617 w 614938"/>
                  <a:gd name="connsiteY3541" fmla="*/ 667090 h 716071"/>
                  <a:gd name="connsiteX3542" fmla="*/ 16567 w 614938"/>
                  <a:gd name="connsiteY3542" fmla="*/ 662903 h 716071"/>
                  <a:gd name="connsiteX3543" fmla="*/ 21531 w 614938"/>
                  <a:gd name="connsiteY3543" fmla="*/ 664757 h 716071"/>
                  <a:gd name="connsiteX3544" fmla="*/ 19617 w 614938"/>
                  <a:gd name="connsiteY3544" fmla="*/ 667090 h 716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Lst>
                <a:rect l="l" t="t" r="r" b="b"/>
                <a:pathLst>
                  <a:path w="614938" h="716071">
                    <a:moveTo>
                      <a:pt x="523912" y="436772"/>
                    </a:moveTo>
                    <a:cubicBezTo>
                      <a:pt x="523912" y="436772"/>
                      <a:pt x="523972" y="436772"/>
                      <a:pt x="523912" y="436772"/>
                    </a:cubicBezTo>
                    <a:cubicBezTo>
                      <a:pt x="523972" y="436772"/>
                      <a:pt x="523972" y="436772"/>
                      <a:pt x="523912" y="436772"/>
                    </a:cubicBezTo>
                    <a:cubicBezTo>
                      <a:pt x="523972" y="436712"/>
                      <a:pt x="523972" y="436712"/>
                      <a:pt x="523972" y="436712"/>
                    </a:cubicBezTo>
                    <a:cubicBezTo>
                      <a:pt x="523972" y="436712"/>
                      <a:pt x="523972" y="436712"/>
                      <a:pt x="523972" y="436712"/>
                    </a:cubicBezTo>
                    <a:cubicBezTo>
                      <a:pt x="523972" y="436712"/>
                      <a:pt x="523972" y="436712"/>
                      <a:pt x="523972" y="436652"/>
                    </a:cubicBezTo>
                    <a:cubicBezTo>
                      <a:pt x="523972" y="436652"/>
                      <a:pt x="523972" y="436652"/>
                      <a:pt x="523972" y="436652"/>
                    </a:cubicBezTo>
                    <a:lnTo>
                      <a:pt x="518888" y="420385"/>
                    </a:lnTo>
                    <a:lnTo>
                      <a:pt x="513744" y="403878"/>
                    </a:lnTo>
                    <a:lnTo>
                      <a:pt x="508541" y="387192"/>
                    </a:lnTo>
                    <a:lnTo>
                      <a:pt x="508541" y="387192"/>
                    </a:lnTo>
                    <a:cubicBezTo>
                      <a:pt x="508541" y="387192"/>
                      <a:pt x="508541" y="387192"/>
                      <a:pt x="508541" y="387192"/>
                    </a:cubicBezTo>
                    <a:lnTo>
                      <a:pt x="508541" y="387192"/>
                    </a:lnTo>
                    <a:lnTo>
                      <a:pt x="503278" y="370266"/>
                    </a:lnTo>
                    <a:lnTo>
                      <a:pt x="497895" y="353042"/>
                    </a:lnTo>
                    <a:lnTo>
                      <a:pt x="492453" y="335578"/>
                    </a:lnTo>
                    <a:lnTo>
                      <a:pt x="486951" y="317875"/>
                    </a:lnTo>
                    <a:lnTo>
                      <a:pt x="481329" y="299933"/>
                    </a:lnTo>
                    <a:lnTo>
                      <a:pt x="475647" y="281752"/>
                    </a:lnTo>
                    <a:lnTo>
                      <a:pt x="469906" y="263271"/>
                    </a:lnTo>
                    <a:lnTo>
                      <a:pt x="464045" y="244492"/>
                    </a:lnTo>
                    <a:cubicBezTo>
                      <a:pt x="464045" y="244492"/>
                      <a:pt x="464045" y="244492"/>
                      <a:pt x="464045" y="244492"/>
                    </a:cubicBezTo>
                    <a:cubicBezTo>
                      <a:pt x="464045" y="244492"/>
                      <a:pt x="464045" y="244492"/>
                      <a:pt x="464045" y="244492"/>
                    </a:cubicBezTo>
                    <a:cubicBezTo>
                      <a:pt x="464045" y="244492"/>
                      <a:pt x="464045" y="244492"/>
                      <a:pt x="464045" y="244492"/>
                    </a:cubicBezTo>
                    <a:cubicBezTo>
                      <a:pt x="464045" y="244492"/>
                      <a:pt x="464045" y="244492"/>
                      <a:pt x="464045" y="244492"/>
                    </a:cubicBezTo>
                    <a:cubicBezTo>
                      <a:pt x="464045" y="244492"/>
                      <a:pt x="464045" y="244492"/>
                      <a:pt x="464045" y="244492"/>
                    </a:cubicBezTo>
                    <a:cubicBezTo>
                      <a:pt x="464045" y="244492"/>
                      <a:pt x="464045" y="244492"/>
                      <a:pt x="464045" y="244492"/>
                    </a:cubicBezTo>
                    <a:lnTo>
                      <a:pt x="463566" y="243954"/>
                    </a:lnTo>
                    <a:cubicBezTo>
                      <a:pt x="463566" y="243954"/>
                      <a:pt x="463566" y="243954"/>
                      <a:pt x="463566" y="243954"/>
                    </a:cubicBezTo>
                    <a:cubicBezTo>
                      <a:pt x="463566" y="243954"/>
                      <a:pt x="463566" y="243954"/>
                      <a:pt x="463566" y="243954"/>
                    </a:cubicBezTo>
                    <a:cubicBezTo>
                      <a:pt x="463566" y="243954"/>
                      <a:pt x="463566" y="243954"/>
                      <a:pt x="463506" y="243954"/>
                    </a:cubicBezTo>
                    <a:cubicBezTo>
                      <a:pt x="463506" y="243954"/>
                      <a:pt x="463506" y="243954"/>
                      <a:pt x="463506" y="243954"/>
                    </a:cubicBezTo>
                    <a:lnTo>
                      <a:pt x="449033" y="238033"/>
                    </a:lnTo>
                    <a:lnTo>
                      <a:pt x="447478" y="233846"/>
                    </a:lnTo>
                    <a:lnTo>
                      <a:pt x="450827" y="231035"/>
                    </a:lnTo>
                    <a:cubicBezTo>
                      <a:pt x="450827" y="231035"/>
                      <a:pt x="450827" y="231035"/>
                      <a:pt x="450827" y="231035"/>
                    </a:cubicBezTo>
                    <a:cubicBezTo>
                      <a:pt x="450827" y="231035"/>
                      <a:pt x="450827" y="231035"/>
                      <a:pt x="450827" y="231035"/>
                    </a:cubicBezTo>
                    <a:cubicBezTo>
                      <a:pt x="450827" y="231035"/>
                      <a:pt x="450827" y="231035"/>
                      <a:pt x="450827" y="231035"/>
                    </a:cubicBezTo>
                    <a:cubicBezTo>
                      <a:pt x="450827" y="231035"/>
                      <a:pt x="450827" y="231035"/>
                      <a:pt x="450827" y="231035"/>
                    </a:cubicBezTo>
                    <a:lnTo>
                      <a:pt x="452921" y="227148"/>
                    </a:lnTo>
                    <a:cubicBezTo>
                      <a:pt x="452921" y="227148"/>
                      <a:pt x="452921" y="227148"/>
                      <a:pt x="452921" y="227148"/>
                    </a:cubicBezTo>
                    <a:lnTo>
                      <a:pt x="452921" y="227148"/>
                    </a:lnTo>
                    <a:lnTo>
                      <a:pt x="452921" y="227148"/>
                    </a:lnTo>
                    <a:lnTo>
                      <a:pt x="452921" y="227148"/>
                    </a:lnTo>
                    <a:cubicBezTo>
                      <a:pt x="452921" y="227148"/>
                      <a:pt x="452921" y="227148"/>
                      <a:pt x="452921" y="227148"/>
                    </a:cubicBezTo>
                    <a:cubicBezTo>
                      <a:pt x="452921" y="227148"/>
                      <a:pt x="452921" y="227148"/>
                      <a:pt x="452921" y="227148"/>
                    </a:cubicBezTo>
                    <a:cubicBezTo>
                      <a:pt x="452921" y="227148"/>
                      <a:pt x="452921" y="227148"/>
                      <a:pt x="452921" y="227148"/>
                    </a:cubicBezTo>
                    <a:lnTo>
                      <a:pt x="453279" y="224935"/>
                    </a:lnTo>
                    <a:cubicBezTo>
                      <a:pt x="453279" y="224935"/>
                      <a:pt x="453279" y="224935"/>
                      <a:pt x="453279" y="224935"/>
                    </a:cubicBezTo>
                    <a:cubicBezTo>
                      <a:pt x="453279" y="224935"/>
                      <a:pt x="453279" y="224935"/>
                      <a:pt x="453279" y="224935"/>
                    </a:cubicBezTo>
                    <a:lnTo>
                      <a:pt x="453579" y="222543"/>
                    </a:lnTo>
                    <a:lnTo>
                      <a:pt x="460037" y="213153"/>
                    </a:lnTo>
                    <a:cubicBezTo>
                      <a:pt x="460037" y="213153"/>
                      <a:pt x="460037" y="213153"/>
                      <a:pt x="460037" y="213153"/>
                    </a:cubicBezTo>
                    <a:cubicBezTo>
                      <a:pt x="460037" y="213153"/>
                      <a:pt x="460037" y="213153"/>
                      <a:pt x="460037" y="213153"/>
                    </a:cubicBezTo>
                    <a:cubicBezTo>
                      <a:pt x="460037" y="213153"/>
                      <a:pt x="460037" y="213153"/>
                      <a:pt x="460037" y="213153"/>
                    </a:cubicBezTo>
                    <a:cubicBezTo>
                      <a:pt x="460037" y="213153"/>
                      <a:pt x="460037" y="213153"/>
                      <a:pt x="460037" y="213153"/>
                    </a:cubicBezTo>
                    <a:lnTo>
                      <a:pt x="460337" y="212615"/>
                    </a:lnTo>
                    <a:cubicBezTo>
                      <a:pt x="460337" y="212615"/>
                      <a:pt x="460337" y="212615"/>
                      <a:pt x="460337" y="212615"/>
                    </a:cubicBezTo>
                    <a:cubicBezTo>
                      <a:pt x="460337" y="212615"/>
                      <a:pt x="460337" y="212615"/>
                      <a:pt x="460337" y="212615"/>
                    </a:cubicBezTo>
                    <a:lnTo>
                      <a:pt x="460456" y="212196"/>
                    </a:lnTo>
                    <a:cubicBezTo>
                      <a:pt x="460456" y="212196"/>
                      <a:pt x="460456" y="212196"/>
                      <a:pt x="460456" y="212196"/>
                    </a:cubicBezTo>
                    <a:cubicBezTo>
                      <a:pt x="460456" y="212196"/>
                      <a:pt x="460456" y="212196"/>
                      <a:pt x="460456" y="212196"/>
                    </a:cubicBezTo>
                    <a:lnTo>
                      <a:pt x="460397" y="211359"/>
                    </a:lnTo>
                    <a:cubicBezTo>
                      <a:pt x="460397" y="211359"/>
                      <a:pt x="460397" y="211359"/>
                      <a:pt x="460397" y="211359"/>
                    </a:cubicBezTo>
                    <a:cubicBezTo>
                      <a:pt x="460397" y="211359"/>
                      <a:pt x="460397" y="211359"/>
                      <a:pt x="460397" y="211359"/>
                    </a:cubicBezTo>
                    <a:cubicBezTo>
                      <a:pt x="460397" y="211359"/>
                      <a:pt x="460397" y="211359"/>
                      <a:pt x="460397" y="211359"/>
                    </a:cubicBezTo>
                    <a:cubicBezTo>
                      <a:pt x="460397" y="211359"/>
                      <a:pt x="460397" y="211359"/>
                      <a:pt x="460397" y="211359"/>
                    </a:cubicBezTo>
                    <a:lnTo>
                      <a:pt x="460217" y="210880"/>
                    </a:lnTo>
                    <a:cubicBezTo>
                      <a:pt x="460217" y="210880"/>
                      <a:pt x="460217" y="210880"/>
                      <a:pt x="460217" y="210880"/>
                    </a:cubicBezTo>
                    <a:cubicBezTo>
                      <a:pt x="460217" y="210880"/>
                      <a:pt x="460217" y="210880"/>
                      <a:pt x="460217" y="210880"/>
                    </a:cubicBezTo>
                    <a:lnTo>
                      <a:pt x="459499" y="209983"/>
                    </a:lnTo>
                    <a:cubicBezTo>
                      <a:pt x="459499" y="209983"/>
                      <a:pt x="459499" y="209983"/>
                      <a:pt x="459499" y="209983"/>
                    </a:cubicBezTo>
                    <a:cubicBezTo>
                      <a:pt x="459499" y="209983"/>
                      <a:pt x="459499" y="209983"/>
                      <a:pt x="459499" y="209983"/>
                    </a:cubicBezTo>
                    <a:cubicBezTo>
                      <a:pt x="459499" y="209983"/>
                      <a:pt x="459499" y="209983"/>
                      <a:pt x="459499" y="209983"/>
                    </a:cubicBezTo>
                    <a:lnTo>
                      <a:pt x="455014" y="205438"/>
                    </a:lnTo>
                    <a:lnTo>
                      <a:pt x="458124" y="207352"/>
                    </a:lnTo>
                    <a:cubicBezTo>
                      <a:pt x="458124" y="207352"/>
                      <a:pt x="458124" y="207352"/>
                      <a:pt x="458124" y="207352"/>
                    </a:cubicBezTo>
                    <a:cubicBezTo>
                      <a:pt x="458124" y="207352"/>
                      <a:pt x="458124" y="207352"/>
                      <a:pt x="458184" y="207352"/>
                    </a:cubicBezTo>
                    <a:cubicBezTo>
                      <a:pt x="458184" y="207352"/>
                      <a:pt x="458184" y="207352"/>
                      <a:pt x="458184" y="207352"/>
                    </a:cubicBezTo>
                    <a:cubicBezTo>
                      <a:pt x="458184" y="207352"/>
                      <a:pt x="458184" y="207352"/>
                      <a:pt x="458184" y="207352"/>
                    </a:cubicBezTo>
                    <a:cubicBezTo>
                      <a:pt x="458184" y="207352"/>
                      <a:pt x="458184" y="207352"/>
                      <a:pt x="458243" y="207352"/>
                    </a:cubicBezTo>
                    <a:cubicBezTo>
                      <a:pt x="458243" y="207352"/>
                      <a:pt x="458243" y="207352"/>
                      <a:pt x="458243" y="207352"/>
                    </a:cubicBezTo>
                    <a:cubicBezTo>
                      <a:pt x="458243" y="207352"/>
                      <a:pt x="458243" y="207352"/>
                      <a:pt x="458243" y="207352"/>
                    </a:cubicBezTo>
                    <a:cubicBezTo>
                      <a:pt x="458243" y="207352"/>
                      <a:pt x="458243" y="207352"/>
                      <a:pt x="458243" y="207352"/>
                    </a:cubicBezTo>
                    <a:cubicBezTo>
                      <a:pt x="458243" y="207352"/>
                      <a:pt x="458243" y="207352"/>
                      <a:pt x="458243" y="207352"/>
                    </a:cubicBezTo>
                    <a:cubicBezTo>
                      <a:pt x="458243" y="207352"/>
                      <a:pt x="458243" y="207352"/>
                      <a:pt x="458243" y="207352"/>
                    </a:cubicBezTo>
                    <a:cubicBezTo>
                      <a:pt x="458243" y="207352"/>
                      <a:pt x="458243" y="207352"/>
                      <a:pt x="458243" y="207352"/>
                    </a:cubicBezTo>
                    <a:cubicBezTo>
                      <a:pt x="458243" y="207352"/>
                      <a:pt x="458243" y="207352"/>
                      <a:pt x="458243" y="207352"/>
                    </a:cubicBezTo>
                    <a:lnTo>
                      <a:pt x="471999" y="189768"/>
                    </a:lnTo>
                    <a:lnTo>
                      <a:pt x="485815" y="172006"/>
                    </a:lnTo>
                    <a:lnTo>
                      <a:pt x="499750" y="154123"/>
                    </a:lnTo>
                    <a:lnTo>
                      <a:pt x="513804" y="136121"/>
                    </a:lnTo>
                    <a:lnTo>
                      <a:pt x="527919" y="118000"/>
                    </a:lnTo>
                    <a:lnTo>
                      <a:pt x="542153" y="99758"/>
                    </a:lnTo>
                    <a:cubicBezTo>
                      <a:pt x="542153" y="99758"/>
                      <a:pt x="542153" y="99758"/>
                      <a:pt x="542153" y="99758"/>
                    </a:cubicBezTo>
                    <a:lnTo>
                      <a:pt x="542153" y="99758"/>
                    </a:lnTo>
                    <a:lnTo>
                      <a:pt x="556507" y="81398"/>
                    </a:lnTo>
                    <a:lnTo>
                      <a:pt x="556507" y="81398"/>
                    </a:lnTo>
                    <a:lnTo>
                      <a:pt x="556507" y="81398"/>
                    </a:lnTo>
                    <a:lnTo>
                      <a:pt x="570980" y="62857"/>
                    </a:lnTo>
                    <a:lnTo>
                      <a:pt x="585513" y="44198"/>
                    </a:lnTo>
                    <a:lnTo>
                      <a:pt x="600166" y="25418"/>
                    </a:lnTo>
                    <a:lnTo>
                      <a:pt x="614938" y="6459"/>
                    </a:lnTo>
                    <a:cubicBezTo>
                      <a:pt x="614938" y="6459"/>
                      <a:pt x="614938" y="6459"/>
                      <a:pt x="614938" y="6459"/>
                    </a:cubicBezTo>
                    <a:cubicBezTo>
                      <a:pt x="614938" y="6459"/>
                      <a:pt x="614938" y="6459"/>
                      <a:pt x="614938" y="6399"/>
                    </a:cubicBezTo>
                    <a:cubicBezTo>
                      <a:pt x="614938" y="6399"/>
                      <a:pt x="614938" y="6399"/>
                      <a:pt x="614938" y="6340"/>
                    </a:cubicBezTo>
                    <a:cubicBezTo>
                      <a:pt x="614938" y="6340"/>
                      <a:pt x="614938" y="6340"/>
                      <a:pt x="614938" y="6340"/>
                    </a:cubicBezTo>
                    <a:cubicBezTo>
                      <a:pt x="614938" y="6340"/>
                      <a:pt x="614938" y="6280"/>
                      <a:pt x="614938" y="6280"/>
                    </a:cubicBezTo>
                    <a:cubicBezTo>
                      <a:pt x="614938" y="6280"/>
                      <a:pt x="614938" y="6280"/>
                      <a:pt x="614938" y="6280"/>
                    </a:cubicBezTo>
                    <a:cubicBezTo>
                      <a:pt x="614938" y="6280"/>
                      <a:pt x="614938" y="6280"/>
                      <a:pt x="614938" y="6220"/>
                    </a:cubicBezTo>
                    <a:cubicBezTo>
                      <a:pt x="614938" y="6220"/>
                      <a:pt x="614938" y="6220"/>
                      <a:pt x="614938" y="6220"/>
                    </a:cubicBezTo>
                    <a:lnTo>
                      <a:pt x="608060" y="359"/>
                    </a:lnTo>
                    <a:cubicBezTo>
                      <a:pt x="608060" y="359"/>
                      <a:pt x="608060" y="359"/>
                      <a:pt x="608060" y="359"/>
                    </a:cubicBezTo>
                    <a:cubicBezTo>
                      <a:pt x="608060" y="359"/>
                      <a:pt x="608060" y="359"/>
                      <a:pt x="608060" y="359"/>
                    </a:cubicBezTo>
                    <a:cubicBezTo>
                      <a:pt x="608060" y="359"/>
                      <a:pt x="608000" y="359"/>
                      <a:pt x="608000" y="299"/>
                    </a:cubicBezTo>
                    <a:lnTo>
                      <a:pt x="607462" y="60"/>
                    </a:lnTo>
                    <a:cubicBezTo>
                      <a:pt x="607462" y="60"/>
                      <a:pt x="607403" y="60"/>
                      <a:pt x="607403" y="60"/>
                    </a:cubicBezTo>
                    <a:cubicBezTo>
                      <a:pt x="607343" y="60"/>
                      <a:pt x="607283" y="60"/>
                      <a:pt x="607283" y="120"/>
                    </a:cubicBezTo>
                    <a:cubicBezTo>
                      <a:pt x="607283" y="120"/>
                      <a:pt x="607283" y="120"/>
                      <a:pt x="607283" y="120"/>
                    </a:cubicBezTo>
                    <a:lnTo>
                      <a:pt x="592271" y="17105"/>
                    </a:lnTo>
                    <a:lnTo>
                      <a:pt x="577379" y="33971"/>
                    </a:lnTo>
                    <a:lnTo>
                      <a:pt x="562547" y="50717"/>
                    </a:lnTo>
                    <a:lnTo>
                      <a:pt x="547835" y="67403"/>
                    </a:lnTo>
                    <a:lnTo>
                      <a:pt x="533182" y="83969"/>
                    </a:lnTo>
                    <a:lnTo>
                      <a:pt x="518649" y="100416"/>
                    </a:lnTo>
                    <a:lnTo>
                      <a:pt x="504175" y="116803"/>
                    </a:lnTo>
                    <a:lnTo>
                      <a:pt x="489761" y="133071"/>
                    </a:lnTo>
                    <a:lnTo>
                      <a:pt x="475467" y="149279"/>
                    </a:lnTo>
                    <a:lnTo>
                      <a:pt x="461233" y="165367"/>
                    </a:lnTo>
                    <a:lnTo>
                      <a:pt x="447119" y="181336"/>
                    </a:lnTo>
                    <a:cubicBezTo>
                      <a:pt x="447119" y="181336"/>
                      <a:pt x="447119" y="181336"/>
                      <a:pt x="447119" y="181336"/>
                    </a:cubicBezTo>
                    <a:cubicBezTo>
                      <a:pt x="447119" y="181336"/>
                      <a:pt x="447119" y="181336"/>
                      <a:pt x="447119" y="181395"/>
                    </a:cubicBezTo>
                    <a:cubicBezTo>
                      <a:pt x="447119" y="181395"/>
                      <a:pt x="447119" y="181395"/>
                      <a:pt x="447119" y="181395"/>
                    </a:cubicBezTo>
                    <a:cubicBezTo>
                      <a:pt x="447119" y="181395"/>
                      <a:pt x="447119" y="181395"/>
                      <a:pt x="447119" y="181395"/>
                    </a:cubicBezTo>
                    <a:cubicBezTo>
                      <a:pt x="447119" y="181395"/>
                      <a:pt x="447119" y="181395"/>
                      <a:pt x="447119" y="181455"/>
                    </a:cubicBezTo>
                    <a:cubicBezTo>
                      <a:pt x="447119" y="181455"/>
                      <a:pt x="447119" y="181455"/>
                      <a:pt x="447119" y="181515"/>
                    </a:cubicBezTo>
                    <a:cubicBezTo>
                      <a:pt x="447119" y="181515"/>
                      <a:pt x="447119" y="181515"/>
                      <a:pt x="447119" y="181515"/>
                    </a:cubicBezTo>
                    <a:cubicBezTo>
                      <a:pt x="447119" y="181515"/>
                      <a:pt x="447119" y="181515"/>
                      <a:pt x="447119" y="181515"/>
                    </a:cubicBezTo>
                    <a:lnTo>
                      <a:pt x="448614" y="198022"/>
                    </a:lnTo>
                    <a:lnTo>
                      <a:pt x="448196" y="198560"/>
                    </a:lnTo>
                    <a:lnTo>
                      <a:pt x="440301" y="190606"/>
                    </a:lnTo>
                    <a:cubicBezTo>
                      <a:pt x="440301" y="190606"/>
                      <a:pt x="440301" y="190606"/>
                      <a:pt x="440301" y="190606"/>
                    </a:cubicBezTo>
                    <a:cubicBezTo>
                      <a:pt x="440301" y="190606"/>
                      <a:pt x="440301" y="190606"/>
                      <a:pt x="440301" y="190606"/>
                    </a:cubicBezTo>
                    <a:lnTo>
                      <a:pt x="419668" y="173860"/>
                    </a:lnTo>
                    <a:cubicBezTo>
                      <a:pt x="419668" y="173860"/>
                      <a:pt x="419668" y="173860"/>
                      <a:pt x="419668" y="173860"/>
                    </a:cubicBezTo>
                    <a:cubicBezTo>
                      <a:pt x="419668" y="173860"/>
                      <a:pt x="419668" y="173860"/>
                      <a:pt x="419668" y="173860"/>
                    </a:cubicBezTo>
                    <a:lnTo>
                      <a:pt x="419668" y="173860"/>
                    </a:lnTo>
                    <a:cubicBezTo>
                      <a:pt x="419668" y="173860"/>
                      <a:pt x="419668" y="173860"/>
                      <a:pt x="419668" y="173860"/>
                    </a:cubicBezTo>
                    <a:lnTo>
                      <a:pt x="418651" y="173381"/>
                    </a:lnTo>
                    <a:cubicBezTo>
                      <a:pt x="418651" y="173381"/>
                      <a:pt x="418651" y="173381"/>
                      <a:pt x="418651" y="173381"/>
                    </a:cubicBezTo>
                    <a:cubicBezTo>
                      <a:pt x="418651" y="173381"/>
                      <a:pt x="418651" y="173381"/>
                      <a:pt x="418651" y="173381"/>
                    </a:cubicBezTo>
                    <a:cubicBezTo>
                      <a:pt x="418651" y="173381"/>
                      <a:pt x="418651" y="173381"/>
                      <a:pt x="418651" y="173381"/>
                    </a:cubicBezTo>
                    <a:lnTo>
                      <a:pt x="418651" y="173381"/>
                    </a:lnTo>
                    <a:lnTo>
                      <a:pt x="418292" y="173262"/>
                    </a:lnTo>
                    <a:cubicBezTo>
                      <a:pt x="418292" y="173262"/>
                      <a:pt x="418292" y="173262"/>
                      <a:pt x="418232" y="173262"/>
                    </a:cubicBezTo>
                    <a:cubicBezTo>
                      <a:pt x="418232" y="173262"/>
                      <a:pt x="418232" y="173262"/>
                      <a:pt x="418172" y="173262"/>
                    </a:cubicBezTo>
                    <a:lnTo>
                      <a:pt x="417275" y="173262"/>
                    </a:lnTo>
                    <a:cubicBezTo>
                      <a:pt x="417275" y="173262"/>
                      <a:pt x="417275" y="173262"/>
                      <a:pt x="417275" y="173262"/>
                    </a:cubicBezTo>
                    <a:cubicBezTo>
                      <a:pt x="417275" y="173262"/>
                      <a:pt x="417275" y="173262"/>
                      <a:pt x="417275" y="173262"/>
                    </a:cubicBezTo>
                    <a:cubicBezTo>
                      <a:pt x="417275" y="173262"/>
                      <a:pt x="417275" y="173262"/>
                      <a:pt x="417215" y="173262"/>
                    </a:cubicBezTo>
                    <a:cubicBezTo>
                      <a:pt x="417215" y="173262"/>
                      <a:pt x="417215" y="173262"/>
                      <a:pt x="417215" y="173262"/>
                    </a:cubicBezTo>
                    <a:cubicBezTo>
                      <a:pt x="417215" y="173262"/>
                      <a:pt x="417215" y="173262"/>
                      <a:pt x="417215" y="173262"/>
                    </a:cubicBezTo>
                    <a:lnTo>
                      <a:pt x="416319" y="173680"/>
                    </a:lnTo>
                    <a:cubicBezTo>
                      <a:pt x="416319" y="173680"/>
                      <a:pt x="416319" y="173680"/>
                      <a:pt x="416319" y="173680"/>
                    </a:cubicBezTo>
                    <a:cubicBezTo>
                      <a:pt x="416319" y="173680"/>
                      <a:pt x="416319" y="173680"/>
                      <a:pt x="416319" y="173680"/>
                    </a:cubicBezTo>
                    <a:cubicBezTo>
                      <a:pt x="416319" y="173680"/>
                      <a:pt x="416319" y="173680"/>
                      <a:pt x="416319" y="173680"/>
                    </a:cubicBezTo>
                    <a:cubicBezTo>
                      <a:pt x="416319" y="173680"/>
                      <a:pt x="416319" y="173680"/>
                      <a:pt x="416319" y="173680"/>
                    </a:cubicBezTo>
                    <a:lnTo>
                      <a:pt x="387671" y="194553"/>
                    </a:lnTo>
                    <a:cubicBezTo>
                      <a:pt x="387671" y="194553"/>
                      <a:pt x="387671" y="194553"/>
                      <a:pt x="387671" y="194553"/>
                    </a:cubicBezTo>
                    <a:cubicBezTo>
                      <a:pt x="387671" y="194553"/>
                      <a:pt x="387671" y="194553"/>
                      <a:pt x="387671" y="194553"/>
                    </a:cubicBezTo>
                    <a:lnTo>
                      <a:pt x="387013" y="195211"/>
                    </a:lnTo>
                    <a:cubicBezTo>
                      <a:pt x="387013" y="195211"/>
                      <a:pt x="387013" y="195211"/>
                      <a:pt x="387013" y="195211"/>
                    </a:cubicBezTo>
                    <a:cubicBezTo>
                      <a:pt x="387013" y="195211"/>
                      <a:pt x="387013" y="195211"/>
                      <a:pt x="387013" y="195211"/>
                    </a:cubicBezTo>
                    <a:cubicBezTo>
                      <a:pt x="387013" y="195211"/>
                      <a:pt x="387013" y="195211"/>
                      <a:pt x="387013" y="195211"/>
                    </a:cubicBezTo>
                    <a:cubicBezTo>
                      <a:pt x="387013" y="195211"/>
                      <a:pt x="387013" y="195211"/>
                      <a:pt x="387013" y="195211"/>
                    </a:cubicBezTo>
                    <a:cubicBezTo>
                      <a:pt x="387013" y="195211"/>
                      <a:pt x="387013" y="195211"/>
                      <a:pt x="387013" y="195211"/>
                    </a:cubicBezTo>
                    <a:cubicBezTo>
                      <a:pt x="387013" y="195211"/>
                      <a:pt x="387013" y="195211"/>
                      <a:pt x="387013" y="195211"/>
                    </a:cubicBezTo>
                    <a:lnTo>
                      <a:pt x="386953" y="195869"/>
                    </a:lnTo>
                    <a:cubicBezTo>
                      <a:pt x="386953" y="195869"/>
                      <a:pt x="386953" y="195869"/>
                      <a:pt x="386953" y="195869"/>
                    </a:cubicBezTo>
                    <a:cubicBezTo>
                      <a:pt x="386953" y="195869"/>
                      <a:pt x="386953" y="195869"/>
                      <a:pt x="386953" y="195869"/>
                    </a:cubicBezTo>
                    <a:lnTo>
                      <a:pt x="386953" y="196168"/>
                    </a:lnTo>
                    <a:cubicBezTo>
                      <a:pt x="386953" y="196168"/>
                      <a:pt x="386953" y="196168"/>
                      <a:pt x="386953" y="196168"/>
                    </a:cubicBezTo>
                    <a:cubicBezTo>
                      <a:pt x="386953" y="196168"/>
                      <a:pt x="386953" y="196168"/>
                      <a:pt x="386953" y="196168"/>
                    </a:cubicBezTo>
                    <a:cubicBezTo>
                      <a:pt x="386953" y="196168"/>
                      <a:pt x="386953" y="196168"/>
                      <a:pt x="386953" y="196168"/>
                    </a:cubicBezTo>
                    <a:cubicBezTo>
                      <a:pt x="386953" y="196168"/>
                      <a:pt x="386953" y="196168"/>
                      <a:pt x="386953" y="196168"/>
                    </a:cubicBezTo>
                    <a:cubicBezTo>
                      <a:pt x="386953" y="196168"/>
                      <a:pt x="386953" y="196168"/>
                      <a:pt x="386953" y="196168"/>
                    </a:cubicBezTo>
                    <a:cubicBezTo>
                      <a:pt x="386953" y="196168"/>
                      <a:pt x="386953" y="196168"/>
                      <a:pt x="386953" y="196168"/>
                    </a:cubicBezTo>
                    <a:lnTo>
                      <a:pt x="386953" y="196168"/>
                    </a:lnTo>
                    <a:lnTo>
                      <a:pt x="386953" y="196168"/>
                    </a:lnTo>
                    <a:lnTo>
                      <a:pt x="386953" y="196168"/>
                    </a:lnTo>
                    <a:lnTo>
                      <a:pt x="387611" y="196945"/>
                    </a:lnTo>
                    <a:lnTo>
                      <a:pt x="387611" y="196945"/>
                    </a:lnTo>
                    <a:lnTo>
                      <a:pt x="387611" y="196945"/>
                    </a:lnTo>
                    <a:lnTo>
                      <a:pt x="394249" y="204840"/>
                    </a:lnTo>
                    <a:lnTo>
                      <a:pt x="394010" y="204840"/>
                    </a:lnTo>
                    <a:lnTo>
                      <a:pt x="394010" y="204840"/>
                    </a:lnTo>
                    <a:lnTo>
                      <a:pt x="372061" y="202328"/>
                    </a:lnTo>
                    <a:lnTo>
                      <a:pt x="372061" y="202328"/>
                    </a:lnTo>
                    <a:lnTo>
                      <a:pt x="372061" y="202328"/>
                    </a:lnTo>
                    <a:lnTo>
                      <a:pt x="349932" y="199816"/>
                    </a:lnTo>
                    <a:lnTo>
                      <a:pt x="349932" y="199816"/>
                    </a:lnTo>
                    <a:lnTo>
                      <a:pt x="327564" y="197304"/>
                    </a:lnTo>
                    <a:lnTo>
                      <a:pt x="327564" y="197304"/>
                    </a:lnTo>
                    <a:lnTo>
                      <a:pt x="305017" y="194732"/>
                    </a:lnTo>
                    <a:lnTo>
                      <a:pt x="305017" y="194732"/>
                    </a:lnTo>
                    <a:lnTo>
                      <a:pt x="282291" y="192161"/>
                    </a:lnTo>
                    <a:lnTo>
                      <a:pt x="282291" y="192161"/>
                    </a:lnTo>
                    <a:lnTo>
                      <a:pt x="259325" y="189529"/>
                    </a:lnTo>
                    <a:lnTo>
                      <a:pt x="236179" y="186898"/>
                    </a:lnTo>
                    <a:lnTo>
                      <a:pt x="236179" y="186898"/>
                    </a:lnTo>
                    <a:lnTo>
                      <a:pt x="212795" y="184266"/>
                    </a:lnTo>
                    <a:lnTo>
                      <a:pt x="212795" y="184266"/>
                    </a:lnTo>
                    <a:lnTo>
                      <a:pt x="189170" y="181575"/>
                    </a:lnTo>
                    <a:lnTo>
                      <a:pt x="189170" y="181575"/>
                    </a:lnTo>
                    <a:cubicBezTo>
                      <a:pt x="189170" y="181575"/>
                      <a:pt x="189170" y="181575"/>
                      <a:pt x="189170" y="181575"/>
                    </a:cubicBezTo>
                    <a:lnTo>
                      <a:pt x="165367" y="178883"/>
                    </a:lnTo>
                    <a:cubicBezTo>
                      <a:pt x="165367" y="178883"/>
                      <a:pt x="165367" y="178883"/>
                      <a:pt x="165367" y="178883"/>
                    </a:cubicBezTo>
                    <a:lnTo>
                      <a:pt x="165367" y="178883"/>
                    </a:lnTo>
                    <a:cubicBezTo>
                      <a:pt x="165367" y="178883"/>
                      <a:pt x="165367" y="178883"/>
                      <a:pt x="165367" y="178883"/>
                    </a:cubicBezTo>
                    <a:cubicBezTo>
                      <a:pt x="165367" y="178883"/>
                      <a:pt x="165367" y="178883"/>
                      <a:pt x="165367" y="178883"/>
                    </a:cubicBezTo>
                    <a:cubicBezTo>
                      <a:pt x="165367" y="178883"/>
                      <a:pt x="165367" y="178883"/>
                      <a:pt x="165307" y="178883"/>
                    </a:cubicBezTo>
                    <a:cubicBezTo>
                      <a:pt x="165307" y="178883"/>
                      <a:pt x="165307" y="178883"/>
                      <a:pt x="165247" y="178883"/>
                    </a:cubicBezTo>
                    <a:cubicBezTo>
                      <a:pt x="165247" y="178883"/>
                      <a:pt x="165247" y="178883"/>
                      <a:pt x="165247" y="178883"/>
                    </a:cubicBezTo>
                    <a:cubicBezTo>
                      <a:pt x="165247" y="178883"/>
                      <a:pt x="165247" y="178883"/>
                      <a:pt x="165247" y="178883"/>
                    </a:cubicBezTo>
                    <a:cubicBezTo>
                      <a:pt x="165247" y="178883"/>
                      <a:pt x="165247" y="178883"/>
                      <a:pt x="165247" y="178883"/>
                    </a:cubicBezTo>
                    <a:cubicBezTo>
                      <a:pt x="165247" y="178883"/>
                      <a:pt x="165247" y="178883"/>
                      <a:pt x="165247" y="178883"/>
                    </a:cubicBezTo>
                    <a:cubicBezTo>
                      <a:pt x="165247" y="178883"/>
                      <a:pt x="165247" y="178883"/>
                      <a:pt x="165247" y="178883"/>
                    </a:cubicBezTo>
                    <a:cubicBezTo>
                      <a:pt x="165247" y="178883"/>
                      <a:pt x="165247" y="178883"/>
                      <a:pt x="165247" y="178883"/>
                    </a:cubicBezTo>
                    <a:cubicBezTo>
                      <a:pt x="165247" y="178883"/>
                      <a:pt x="165247" y="178883"/>
                      <a:pt x="165247" y="178883"/>
                    </a:cubicBezTo>
                    <a:lnTo>
                      <a:pt x="165247" y="178883"/>
                    </a:lnTo>
                    <a:cubicBezTo>
                      <a:pt x="165247" y="178883"/>
                      <a:pt x="165247" y="178883"/>
                      <a:pt x="165247" y="178883"/>
                    </a:cubicBezTo>
                    <a:cubicBezTo>
                      <a:pt x="165247" y="178883"/>
                      <a:pt x="165247" y="178883"/>
                      <a:pt x="165247" y="178883"/>
                    </a:cubicBezTo>
                    <a:cubicBezTo>
                      <a:pt x="165247" y="178883"/>
                      <a:pt x="165247" y="178883"/>
                      <a:pt x="165247" y="178883"/>
                    </a:cubicBezTo>
                    <a:cubicBezTo>
                      <a:pt x="165247" y="178883"/>
                      <a:pt x="165247" y="178883"/>
                      <a:pt x="165247" y="178943"/>
                    </a:cubicBezTo>
                    <a:cubicBezTo>
                      <a:pt x="165247" y="178943"/>
                      <a:pt x="165247" y="178943"/>
                      <a:pt x="165247" y="178943"/>
                    </a:cubicBezTo>
                    <a:cubicBezTo>
                      <a:pt x="165247" y="178943"/>
                      <a:pt x="165247" y="178943"/>
                      <a:pt x="165247" y="178943"/>
                    </a:cubicBezTo>
                    <a:cubicBezTo>
                      <a:pt x="165247" y="178943"/>
                      <a:pt x="165247" y="178943"/>
                      <a:pt x="165247" y="178943"/>
                    </a:cubicBezTo>
                    <a:lnTo>
                      <a:pt x="164769" y="187854"/>
                    </a:lnTo>
                    <a:cubicBezTo>
                      <a:pt x="164769" y="187854"/>
                      <a:pt x="164769" y="187854"/>
                      <a:pt x="164769" y="187854"/>
                    </a:cubicBezTo>
                    <a:cubicBezTo>
                      <a:pt x="164769" y="187854"/>
                      <a:pt x="164769" y="187914"/>
                      <a:pt x="164769" y="187914"/>
                    </a:cubicBezTo>
                    <a:lnTo>
                      <a:pt x="164889" y="188333"/>
                    </a:lnTo>
                    <a:cubicBezTo>
                      <a:pt x="164889" y="188333"/>
                      <a:pt x="164889" y="188333"/>
                      <a:pt x="164889" y="188333"/>
                    </a:cubicBezTo>
                    <a:cubicBezTo>
                      <a:pt x="164889" y="188333"/>
                      <a:pt x="164889" y="188333"/>
                      <a:pt x="164889" y="188333"/>
                    </a:cubicBezTo>
                    <a:cubicBezTo>
                      <a:pt x="164889" y="188333"/>
                      <a:pt x="164949" y="188393"/>
                      <a:pt x="164949" y="188393"/>
                    </a:cubicBezTo>
                    <a:cubicBezTo>
                      <a:pt x="164949" y="188393"/>
                      <a:pt x="164949" y="188393"/>
                      <a:pt x="164949" y="188393"/>
                    </a:cubicBezTo>
                    <a:lnTo>
                      <a:pt x="164949" y="188393"/>
                    </a:lnTo>
                    <a:lnTo>
                      <a:pt x="164949" y="188393"/>
                    </a:lnTo>
                    <a:cubicBezTo>
                      <a:pt x="164949" y="188393"/>
                      <a:pt x="164949" y="188393"/>
                      <a:pt x="164949" y="188393"/>
                    </a:cubicBezTo>
                    <a:cubicBezTo>
                      <a:pt x="164949" y="188393"/>
                      <a:pt x="165009" y="188453"/>
                      <a:pt x="165009" y="188453"/>
                    </a:cubicBezTo>
                    <a:cubicBezTo>
                      <a:pt x="165009" y="188453"/>
                      <a:pt x="165009" y="188453"/>
                      <a:pt x="165009" y="188453"/>
                    </a:cubicBezTo>
                    <a:lnTo>
                      <a:pt x="165009" y="188453"/>
                    </a:lnTo>
                    <a:lnTo>
                      <a:pt x="165009" y="188453"/>
                    </a:lnTo>
                    <a:lnTo>
                      <a:pt x="187496" y="192460"/>
                    </a:lnTo>
                    <a:lnTo>
                      <a:pt x="209744" y="196407"/>
                    </a:lnTo>
                    <a:lnTo>
                      <a:pt x="231753" y="200294"/>
                    </a:lnTo>
                    <a:lnTo>
                      <a:pt x="253583" y="204182"/>
                    </a:lnTo>
                    <a:lnTo>
                      <a:pt x="275173" y="208009"/>
                    </a:lnTo>
                    <a:lnTo>
                      <a:pt x="296585" y="211837"/>
                    </a:lnTo>
                    <a:lnTo>
                      <a:pt x="296585" y="211837"/>
                    </a:lnTo>
                    <a:lnTo>
                      <a:pt x="317816" y="215605"/>
                    </a:lnTo>
                    <a:lnTo>
                      <a:pt x="317816" y="215605"/>
                    </a:lnTo>
                    <a:lnTo>
                      <a:pt x="338808" y="219313"/>
                    </a:lnTo>
                    <a:lnTo>
                      <a:pt x="359621" y="223021"/>
                    </a:lnTo>
                    <a:lnTo>
                      <a:pt x="380255" y="226669"/>
                    </a:lnTo>
                    <a:cubicBezTo>
                      <a:pt x="380255" y="226669"/>
                      <a:pt x="380255" y="226669"/>
                      <a:pt x="380255" y="226669"/>
                    </a:cubicBezTo>
                    <a:lnTo>
                      <a:pt x="388389" y="228105"/>
                    </a:lnTo>
                    <a:lnTo>
                      <a:pt x="373855" y="245568"/>
                    </a:lnTo>
                    <a:lnTo>
                      <a:pt x="373855" y="245568"/>
                    </a:lnTo>
                    <a:lnTo>
                      <a:pt x="373855" y="245568"/>
                    </a:lnTo>
                    <a:lnTo>
                      <a:pt x="345686" y="279419"/>
                    </a:lnTo>
                    <a:lnTo>
                      <a:pt x="317876" y="312852"/>
                    </a:lnTo>
                    <a:lnTo>
                      <a:pt x="290424" y="345805"/>
                    </a:lnTo>
                    <a:lnTo>
                      <a:pt x="263331" y="378340"/>
                    </a:lnTo>
                    <a:lnTo>
                      <a:pt x="263331" y="378340"/>
                    </a:lnTo>
                    <a:lnTo>
                      <a:pt x="263331" y="378340"/>
                    </a:lnTo>
                    <a:lnTo>
                      <a:pt x="236598" y="410457"/>
                    </a:lnTo>
                    <a:lnTo>
                      <a:pt x="210223" y="442155"/>
                    </a:lnTo>
                    <a:lnTo>
                      <a:pt x="184207" y="473434"/>
                    </a:lnTo>
                    <a:lnTo>
                      <a:pt x="158489" y="504354"/>
                    </a:lnTo>
                    <a:lnTo>
                      <a:pt x="133131" y="534856"/>
                    </a:lnTo>
                    <a:lnTo>
                      <a:pt x="108072" y="564999"/>
                    </a:lnTo>
                    <a:lnTo>
                      <a:pt x="83312" y="594723"/>
                    </a:lnTo>
                    <a:lnTo>
                      <a:pt x="58851" y="624088"/>
                    </a:lnTo>
                    <a:lnTo>
                      <a:pt x="34688" y="653095"/>
                    </a:lnTo>
                    <a:lnTo>
                      <a:pt x="21770" y="664697"/>
                    </a:lnTo>
                    <a:lnTo>
                      <a:pt x="16148" y="662604"/>
                    </a:lnTo>
                    <a:cubicBezTo>
                      <a:pt x="16148" y="662604"/>
                      <a:pt x="16148" y="662604"/>
                      <a:pt x="16148" y="662604"/>
                    </a:cubicBezTo>
                    <a:cubicBezTo>
                      <a:pt x="16148" y="662604"/>
                      <a:pt x="16148" y="662604"/>
                      <a:pt x="16148" y="662604"/>
                    </a:cubicBezTo>
                    <a:lnTo>
                      <a:pt x="15191" y="662425"/>
                    </a:lnTo>
                    <a:cubicBezTo>
                      <a:pt x="15191" y="662425"/>
                      <a:pt x="15191" y="662425"/>
                      <a:pt x="15191" y="662425"/>
                    </a:cubicBezTo>
                    <a:cubicBezTo>
                      <a:pt x="15191" y="662425"/>
                      <a:pt x="15191" y="662425"/>
                      <a:pt x="15191" y="662425"/>
                    </a:cubicBezTo>
                    <a:lnTo>
                      <a:pt x="9151" y="661348"/>
                    </a:lnTo>
                    <a:lnTo>
                      <a:pt x="9151" y="661348"/>
                    </a:lnTo>
                    <a:cubicBezTo>
                      <a:pt x="9151" y="661348"/>
                      <a:pt x="9151" y="661348"/>
                      <a:pt x="9151" y="661348"/>
                    </a:cubicBezTo>
                    <a:lnTo>
                      <a:pt x="9151" y="661348"/>
                    </a:lnTo>
                    <a:cubicBezTo>
                      <a:pt x="9151" y="661348"/>
                      <a:pt x="9151" y="661348"/>
                      <a:pt x="9151" y="661348"/>
                    </a:cubicBezTo>
                    <a:lnTo>
                      <a:pt x="9151" y="661348"/>
                    </a:lnTo>
                    <a:cubicBezTo>
                      <a:pt x="9151" y="661348"/>
                      <a:pt x="9151" y="661348"/>
                      <a:pt x="9091" y="661348"/>
                    </a:cubicBezTo>
                    <a:lnTo>
                      <a:pt x="4605" y="662066"/>
                    </a:lnTo>
                    <a:cubicBezTo>
                      <a:pt x="4605" y="662066"/>
                      <a:pt x="4605" y="662066"/>
                      <a:pt x="4605" y="662066"/>
                    </a:cubicBezTo>
                    <a:cubicBezTo>
                      <a:pt x="4605" y="662066"/>
                      <a:pt x="4605" y="662066"/>
                      <a:pt x="4605" y="662066"/>
                    </a:cubicBezTo>
                    <a:cubicBezTo>
                      <a:pt x="4605" y="662066"/>
                      <a:pt x="4605" y="662066"/>
                      <a:pt x="4605" y="662066"/>
                    </a:cubicBezTo>
                    <a:cubicBezTo>
                      <a:pt x="4605" y="662066"/>
                      <a:pt x="4605" y="662066"/>
                      <a:pt x="4605" y="662066"/>
                    </a:cubicBezTo>
                    <a:cubicBezTo>
                      <a:pt x="4605" y="662066"/>
                      <a:pt x="4605" y="662066"/>
                      <a:pt x="4605" y="662066"/>
                    </a:cubicBezTo>
                    <a:lnTo>
                      <a:pt x="2034" y="664518"/>
                    </a:lnTo>
                    <a:cubicBezTo>
                      <a:pt x="2034" y="664518"/>
                      <a:pt x="2034" y="664518"/>
                      <a:pt x="2034" y="664518"/>
                    </a:cubicBezTo>
                    <a:cubicBezTo>
                      <a:pt x="2034" y="664518"/>
                      <a:pt x="2034" y="664518"/>
                      <a:pt x="2034" y="664518"/>
                    </a:cubicBezTo>
                    <a:cubicBezTo>
                      <a:pt x="2034" y="664518"/>
                      <a:pt x="2034" y="664518"/>
                      <a:pt x="2034" y="664518"/>
                    </a:cubicBezTo>
                    <a:lnTo>
                      <a:pt x="479" y="666492"/>
                    </a:lnTo>
                    <a:cubicBezTo>
                      <a:pt x="479" y="666492"/>
                      <a:pt x="479" y="666551"/>
                      <a:pt x="479" y="666551"/>
                    </a:cubicBezTo>
                    <a:cubicBezTo>
                      <a:pt x="479" y="666551"/>
                      <a:pt x="479" y="666551"/>
                      <a:pt x="479" y="666551"/>
                    </a:cubicBezTo>
                    <a:lnTo>
                      <a:pt x="479" y="666551"/>
                    </a:lnTo>
                    <a:cubicBezTo>
                      <a:pt x="479" y="666551"/>
                      <a:pt x="479" y="666551"/>
                      <a:pt x="479" y="666551"/>
                    </a:cubicBezTo>
                    <a:lnTo>
                      <a:pt x="0" y="670618"/>
                    </a:lnTo>
                    <a:cubicBezTo>
                      <a:pt x="0" y="670618"/>
                      <a:pt x="0" y="670618"/>
                      <a:pt x="0" y="670618"/>
                    </a:cubicBezTo>
                    <a:lnTo>
                      <a:pt x="0" y="670618"/>
                    </a:lnTo>
                    <a:lnTo>
                      <a:pt x="0" y="670618"/>
                    </a:lnTo>
                    <a:cubicBezTo>
                      <a:pt x="0" y="670618"/>
                      <a:pt x="0" y="670678"/>
                      <a:pt x="0" y="670678"/>
                    </a:cubicBezTo>
                    <a:cubicBezTo>
                      <a:pt x="0" y="670678"/>
                      <a:pt x="0" y="670678"/>
                      <a:pt x="0" y="670678"/>
                    </a:cubicBezTo>
                    <a:lnTo>
                      <a:pt x="1735" y="676121"/>
                    </a:lnTo>
                    <a:cubicBezTo>
                      <a:pt x="1735" y="676121"/>
                      <a:pt x="1735" y="676121"/>
                      <a:pt x="1735" y="676121"/>
                    </a:cubicBezTo>
                    <a:cubicBezTo>
                      <a:pt x="1735" y="676121"/>
                      <a:pt x="1735" y="676121"/>
                      <a:pt x="1735" y="676121"/>
                    </a:cubicBezTo>
                    <a:lnTo>
                      <a:pt x="5562" y="682520"/>
                    </a:lnTo>
                    <a:cubicBezTo>
                      <a:pt x="5562" y="682520"/>
                      <a:pt x="5562" y="682520"/>
                      <a:pt x="5562" y="682520"/>
                    </a:cubicBezTo>
                    <a:cubicBezTo>
                      <a:pt x="5562" y="682520"/>
                      <a:pt x="5562" y="682520"/>
                      <a:pt x="5562" y="682520"/>
                    </a:cubicBezTo>
                    <a:cubicBezTo>
                      <a:pt x="5562" y="682520"/>
                      <a:pt x="5562" y="682520"/>
                      <a:pt x="5562" y="682520"/>
                    </a:cubicBezTo>
                    <a:lnTo>
                      <a:pt x="11244" y="689458"/>
                    </a:lnTo>
                    <a:cubicBezTo>
                      <a:pt x="11244" y="689458"/>
                      <a:pt x="11244" y="689458"/>
                      <a:pt x="11244" y="689458"/>
                    </a:cubicBezTo>
                    <a:cubicBezTo>
                      <a:pt x="11244" y="689458"/>
                      <a:pt x="11244" y="689458"/>
                      <a:pt x="11244" y="689458"/>
                    </a:cubicBezTo>
                    <a:lnTo>
                      <a:pt x="18421" y="696455"/>
                    </a:lnTo>
                    <a:cubicBezTo>
                      <a:pt x="18421" y="696455"/>
                      <a:pt x="18421" y="696455"/>
                      <a:pt x="18421" y="696455"/>
                    </a:cubicBezTo>
                    <a:lnTo>
                      <a:pt x="18421" y="696455"/>
                    </a:lnTo>
                    <a:lnTo>
                      <a:pt x="18421" y="696455"/>
                    </a:lnTo>
                    <a:lnTo>
                      <a:pt x="18421" y="696455"/>
                    </a:lnTo>
                    <a:lnTo>
                      <a:pt x="18421" y="696455"/>
                    </a:lnTo>
                    <a:lnTo>
                      <a:pt x="18421" y="696455"/>
                    </a:lnTo>
                    <a:lnTo>
                      <a:pt x="18421" y="696455"/>
                    </a:lnTo>
                    <a:lnTo>
                      <a:pt x="26495" y="702974"/>
                    </a:lnTo>
                    <a:cubicBezTo>
                      <a:pt x="26495" y="702974"/>
                      <a:pt x="26495" y="702974"/>
                      <a:pt x="26495" y="702974"/>
                    </a:cubicBezTo>
                    <a:lnTo>
                      <a:pt x="26495" y="702974"/>
                    </a:lnTo>
                    <a:lnTo>
                      <a:pt x="26495" y="702974"/>
                    </a:lnTo>
                    <a:lnTo>
                      <a:pt x="26495" y="702974"/>
                    </a:lnTo>
                    <a:cubicBezTo>
                      <a:pt x="26495" y="702974"/>
                      <a:pt x="26495" y="702974"/>
                      <a:pt x="26495" y="702974"/>
                    </a:cubicBezTo>
                    <a:lnTo>
                      <a:pt x="34928" y="708536"/>
                    </a:lnTo>
                    <a:cubicBezTo>
                      <a:pt x="34928" y="708536"/>
                      <a:pt x="34928" y="708536"/>
                      <a:pt x="34928" y="708536"/>
                    </a:cubicBezTo>
                    <a:cubicBezTo>
                      <a:pt x="34928" y="708536"/>
                      <a:pt x="34928" y="708536"/>
                      <a:pt x="34928" y="708536"/>
                    </a:cubicBezTo>
                    <a:lnTo>
                      <a:pt x="43122" y="712723"/>
                    </a:lnTo>
                    <a:cubicBezTo>
                      <a:pt x="43122" y="712723"/>
                      <a:pt x="43122" y="712723"/>
                      <a:pt x="43122" y="712723"/>
                    </a:cubicBezTo>
                    <a:cubicBezTo>
                      <a:pt x="43122" y="712723"/>
                      <a:pt x="43122" y="712723"/>
                      <a:pt x="43122" y="712723"/>
                    </a:cubicBezTo>
                    <a:cubicBezTo>
                      <a:pt x="43122" y="712723"/>
                      <a:pt x="43122" y="712723"/>
                      <a:pt x="43122" y="712723"/>
                    </a:cubicBezTo>
                    <a:lnTo>
                      <a:pt x="50478" y="715294"/>
                    </a:lnTo>
                    <a:cubicBezTo>
                      <a:pt x="50478" y="715294"/>
                      <a:pt x="50478" y="715294"/>
                      <a:pt x="50478" y="715294"/>
                    </a:cubicBezTo>
                    <a:cubicBezTo>
                      <a:pt x="50478" y="715294"/>
                      <a:pt x="50478" y="715294"/>
                      <a:pt x="50478" y="715294"/>
                    </a:cubicBezTo>
                    <a:lnTo>
                      <a:pt x="56458" y="716072"/>
                    </a:lnTo>
                    <a:cubicBezTo>
                      <a:pt x="56458" y="716072"/>
                      <a:pt x="56458" y="716072"/>
                      <a:pt x="56458" y="716072"/>
                    </a:cubicBezTo>
                    <a:cubicBezTo>
                      <a:pt x="56458" y="716072"/>
                      <a:pt x="56518" y="716072"/>
                      <a:pt x="56518" y="716072"/>
                    </a:cubicBezTo>
                    <a:cubicBezTo>
                      <a:pt x="56518" y="716072"/>
                      <a:pt x="56518" y="716072"/>
                      <a:pt x="56518" y="716072"/>
                    </a:cubicBezTo>
                    <a:cubicBezTo>
                      <a:pt x="56518" y="716072"/>
                      <a:pt x="56518" y="716072"/>
                      <a:pt x="56518" y="716072"/>
                    </a:cubicBezTo>
                    <a:lnTo>
                      <a:pt x="60704" y="714995"/>
                    </a:lnTo>
                    <a:cubicBezTo>
                      <a:pt x="60704" y="714995"/>
                      <a:pt x="60704" y="714995"/>
                      <a:pt x="60704" y="714995"/>
                    </a:cubicBezTo>
                    <a:cubicBezTo>
                      <a:pt x="60704" y="714995"/>
                      <a:pt x="60704" y="714995"/>
                      <a:pt x="60704" y="714995"/>
                    </a:cubicBezTo>
                    <a:cubicBezTo>
                      <a:pt x="60704" y="714995"/>
                      <a:pt x="60704" y="714995"/>
                      <a:pt x="60704" y="714995"/>
                    </a:cubicBezTo>
                    <a:cubicBezTo>
                      <a:pt x="60704" y="714995"/>
                      <a:pt x="60704" y="714995"/>
                      <a:pt x="60704" y="714995"/>
                    </a:cubicBezTo>
                    <a:lnTo>
                      <a:pt x="62260" y="713081"/>
                    </a:lnTo>
                    <a:cubicBezTo>
                      <a:pt x="62260" y="713081"/>
                      <a:pt x="62260" y="713081"/>
                      <a:pt x="62260" y="713081"/>
                    </a:cubicBezTo>
                    <a:lnTo>
                      <a:pt x="62260" y="713081"/>
                    </a:lnTo>
                    <a:lnTo>
                      <a:pt x="64472" y="710330"/>
                    </a:lnTo>
                    <a:cubicBezTo>
                      <a:pt x="64472" y="710330"/>
                      <a:pt x="64472" y="710330"/>
                      <a:pt x="64472" y="710330"/>
                    </a:cubicBezTo>
                    <a:cubicBezTo>
                      <a:pt x="64472" y="710330"/>
                      <a:pt x="64472" y="710330"/>
                      <a:pt x="64472" y="710330"/>
                    </a:cubicBezTo>
                    <a:cubicBezTo>
                      <a:pt x="64472" y="710330"/>
                      <a:pt x="64472" y="710330"/>
                      <a:pt x="64472" y="710270"/>
                    </a:cubicBezTo>
                    <a:cubicBezTo>
                      <a:pt x="64472" y="710270"/>
                      <a:pt x="64472" y="710270"/>
                      <a:pt x="64472" y="710270"/>
                    </a:cubicBezTo>
                    <a:cubicBezTo>
                      <a:pt x="64472" y="710270"/>
                      <a:pt x="64472" y="710270"/>
                      <a:pt x="64472" y="710270"/>
                    </a:cubicBezTo>
                    <a:lnTo>
                      <a:pt x="64472" y="710270"/>
                    </a:lnTo>
                    <a:lnTo>
                      <a:pt x="64532" y="706024"/>
                    </a:lnTo>
                    <a:cubicBezTo>
                      <a:pt x="64532" y="706024"/>
                      <a:pt x="64532" y="706024"/>
                      <a:pt x="64532" y="706024"/>
                    </a:cubicBezTo>
                    <a:lnTo>
                      <a:pt x="64532" y="706024"/>
                    </a:lnTo>
                    <a:cubicBezTo>
                      <a:pt x="64532" y="706024"/>
                      <a:pt x="64532" y="706024"/>
                      <a:pt x="64532" y="706024"/>
                    </a:cubicBezTo>
                    <a:cubicBezTo>
                      <a:pt x="64532" y="706024"/>
                      <a:pt x="64532" y="706024"/>
                      <a:pt x="64532" y="705964"/>
                    </a:cubicBezTo>
                    <a:cubicBezTo>
                      <a:pt x="64532" y="705964"/>
                      <a:pt x="64532" y="705964"/>
                      <a:pt x="64532" y="705964"/>
                    </a:cubicBezTo>
                    <a:lnTo>
                      <a:pt x="62499" y="700522"/>
                    </a:lnTo>
                    <a:cubicBezTo>
                      <a:pt x="62499" y="700522"/>
                      <a:pt x="62499" y="700522"/>
                      <a:pt x="62499" y="700522"/>
                    </a:cubicBezTo>
                    <a:cubicBezTo>
                      <a:pt x="62499" y="700522"/>
                      <a:pt x="62499" y="700522"/>
                      <a:pt x="62499" y="700522"/>
                    </a:cubicBezTo>
                    <a:lnTo>
                      <a:pt x="62080" y="699565"/>
                    </a:lnTo>
                    <a:cubicBezTo>
                      <a:pt x="62080" y="699565"/>
                      <a:pt x="62080" y="699565"/>
                      <a:pt x="62080" y="699565"/>
                    </a:cubicBezTo>
                    <a:cubicBezTo>
                      <a:pt x="62080" y="699565"/>
                      <a:pt x="62080" y="699565"/>
                      <a:pt x="62080" y="699565"/>
                    </a:cubicBezTo>
                    <a:lnTo>
                      <a:pt x="58252" y="693465"/>
                    </a:lnTo>
                    <a:cubicBezTo>
                      <a:pt x="58252" y="693465"/>
                      <a:pt x="58252" y="693465"/>
                      <a:pt x="58252" y="693465"/>
                    </a:cubicBezTo>
                    <a:cubicBezTo>
                      <a:pt x="58252" y="693465"/>
                      <a:pt x="58252" y="693465"/>
                      <a:pt x="58252" y="693465"/>
                    </a:cubicBezTo>
                    <a:lnTo>
                      <a:pt x="67463" y="675881"/>
                    </a:lnTo>
                    <a:lnTo>
                      <a:pt x="90608" y="646456"/>
                    </a:lnTo>
                    <a:lnTo>
                      <a:pt x="114053" y="616672"/>
                    </a:lnTo>
                    <a:lnTo>
                      <a:pt x="137796" y="586470"/>
                    </a:lnTo>
                    <a:lnTo>
                      <a:pt x="161899" y="555908"/>
                    </a:lnTo>
                    <a:lnTo>
                      <a:pt x="186300" y="524928"/>
                    </a:lnTo>
                    <a:lnTo>
                      <a:pt x="211000" y="493529"/>
                    </a:lnTo>
                    <a:lnTo>
                      <a:pt x="236060" y="461712"/>
                    </a:lnTo>
                    <a:lnTo>
                      <a:pt x="261418" y="429476"/>
                    </a:lnTo>
                    <a:lnTo>
                      <a:pt x="287135" y="396821"/>
                    </a:lnTo>
                    <a:lnTo>
                      <a:pt x="313210" y="363748"/>
                    </a:lnTo>
                    <a:lnTo>
                      <a:pt x="339645" y="330196"/>
                    </a:lnTo>
                    <a:lnTo>
                      <a:pt x="366439" y="296165"/>
                    </a:lnTo>
                    <a:lnTo>
                      <a:pt x="393592" y="261716"/>
                    </a:lnTo>
                    <a:lnTo>
                      <a:pt x="418532" y="230019"/>
                    </a:lnTo>
                    <a:lnTo>
                      <a:pt x="435935" y="243655"/>
                    </a:lnTo>
                    <a:cubicBezTo>
                      <a:pt x="435935" y="243655"/>
                      <a:pt x="435935" y="243655"/>
                      <a:pt x="435935" y="243655"/>
                    </a:cubicBezTo>
                    <a:cubicBezTo>
                      <a:pt x="435935" y="243655"/>
                      <a:pt x="435935" y="243655"/>
                      <a:pt x="435935" y="243655"/>
                    </a:cubicBezTo>
                    <a:lnTo>
                      <a:pt x="437012" y="244253"/>
                    </a:lnTo>
                    <a:cubicBezTo>
                      <a:pt x="437012" y="244253"/>
                      <a:pt x="437012" y="244253"/>
                      <a:pt x="437012" y="244253"/>
                    </a:cubicBezTo>
                    <a:cubicBezTo>
                      <a:pt x="437012" y="244253"/>
                      <a:pt x="437012" y="244253"/>
                      <a:pt x="437072" y="244253"/>
                    </a:cubicBezTo>
                    <a:cubicBezTo>
                      <a:pt x="437072" y="244253"/>
                      <a:pt x="437072" y="244253"/>
                      <a:pt x="437072" y="244253"/>
                    </a:cubicBezTo>
                    <a:cubicBezTo>
                      <a:pt x="437072" y="244253"/>
                      <a:pt x="437072" y="244253"/>
                      <a:pt x="437072" y="244253"/>
                    </a:cubicBezTo>
                    <a:cubicBezTo>
                      <a:pt x="437072" y="244253"/>
                      <a:pt x="437072" y="244253"/>
                      <a:pt x="437072" y="244253"/>
                    </a:cubicBezTo>
                    <a:lnTo>
                      <a:pt x="437909" y="244193"/>
                    </a:lnTo>
                    <a:lnTo>
                      <a:pt x="444248" y="259922"/>
                    </a:lnTo>
                    <a:lnTo>
                      <a:pt x="451904" y="278941"/>
                    </a:lnTo>
                    <a:lnTo>
                      <a:pt x="459440" y="297661"/>
                    </a:lnTo>
                    <a:lnTo>
                      <a:pt x="466856" y="316081"/>
                    </a:lnTo>
                    <a:lnTo>
                      <a:pt x="474152" y="334263"/>
                    </a:lnTo>
                    <a:lnTo>
                      <a:pt x="474152" y="334263"/>
                    </a:lnTo>
                    <a:lnTo>
                      <a:pt x="481329" y="352145"/>
                    </a:lnTo>
                    <a:cubicBezTo>
                      <a:pt x="481329" y="352145"/>
                      <a:pt x="481329" y="352145"/>
                      <a:pt x="481329" y="352145"/>
                    </a:cubicBezTo>
                    <a:lnTo>
                      <a:pt x="488386" y="369728"/>
                    </a:lnTo>
                    <a:lnTo>
                      <a:pt x="488386" y="369728"/>
                    </a:lnTo>
                    <a:lnTo>
                      <a:pt x="495384" y="387072"/>
                    </a:lnTo>
                    <a:lnTo>
                      <a:pt x="495384" y="387072"/>
                    </a:lnTo>
                    <a:lnTo>
                      <a:pt x="502262" y="404177"/>
                    </a:lnTo>
                    <a:lnTo>
                      <a:pt x="502262" y="404177"/>
                    </a:lnTo>
                    <a:lnTo>
                      <a:pt x="509020" y="421043"/>
                    </a:lnTo>
                    <a:cubicBezTo>
                      <a:pt x="509020" y="421043"/>
                      <a:pt x="509020" y="421043"/>
                      <a:pt x="509020" y="421043"/>
                    </a:cubicBezTo>
                    <a:lnTo>
                      <a:pt x="515658" y="437669"/>
                    </a:lnTo>
                    <a:cubicBezTo>
                      <a:pt x="515658" y="437669"/>
                      <a:pt x="515658" y="437669"/>
                      <a:pt x="515658" y="437669"/>
                    </a:cubicBezTo>
                    <a:cubicBezTo>
                      <a:pt x="515658" y="437669"/>
                      <a:pt x="515658" y="437669"/>
                      <a:pt x="515658" y="437669"/>
                    </a:cubicBezTo>
                    <a:lnTo>
                      <a:pt x="517931" y="440779"/>
                    </a:lnTo>
                    <a:lnTo>
                      <a:pt x="517931" y="440779"/>
                    </a:lnTo>
                    <a:lnTo>
                      <a:pt x="517931" y="440779"/>
                    </a:lnTo>
                    <a:cubicBezTo>
                      <a:pt x="517931" y="440779"/>
                      <a:pt x="517931" y="440779"/>
                      <a:pt x="517991" y="440839"/>
                    </a:cubicBezTo>
                    <a:lnTo>
                      <a:pt x="517991" y="440839"/>
                    </a:lnTo>
                    <a:lnTo>
                      <a:pt x="517991" y="440839"/>
                    </a:lnTo>
                    <a:lnTo>
                      <a:pt x="517991" y="440839"/>
                    </a:lnTo>
                    <a:cubicBezTo>
                      <a:pt x="517991" y="440839"/>
                      <a:pt x="518050" y="440839"/>
                      <a:pt x="518050" y="440899"/>
                    </a:cubicBezTo>
                    <a:cubicBezTo>
                      <a:pt x="518050" y="440899"/>
                      <a:pt x="518050" y="440899"/>
                      <a:pt x="518050" y="440899"/>
                    </a:cubicBezTo>
                    <a:cubicBezTo>
                      <a:pt x="518050" y="440899"/>
                      <a:pt x="518050" y="440899"/>
                      <a:pt x="518050" y="440899"/>
                    </a:cubicBezTo>
                    <a:cubicBezTo>
                      <a:pt x="518050" y="440899"/>
                      <a:pt x="518050" y="440899"/>
                      <a:pt x="518050" y="440899"/>
                    </a:cubicBezTo>
                    <a:cubicBezTo>
                      <a:pt x="518050" y="440899"/>
                      <a:pt x="518110" y="440899"/>
                      <a:pt x="518110" y="440899"/>
                    </a:cubicBezTo>
                    <a:cubicBezTo>
                      <a:pt x="518110" y="440899"/>
                      <a:pt x="518110" y="440899"/>
                      <a:pt x="518110" y="440899"/>
                    </a:cubicBezTo>
                    <a:cubicBezTo>
                      <a:pt x="518110" y="440899"/>
                      <a:pt x="518110" y="440899"/>
                      <a:pt x="518110" y="440899"/>
                    </a:cubicBezTo>
                    <a:cubicBezTo>
                      <a:pt x="518110" y="440899"/>
                      <a:pt x="518110" y="440899"/>
                      <a:pt x="518110" y="440899"/>
                    </a:cubicBezTo>
                    <a:lnTo>
                      <a:pt x="518110" y="440899"/>
                    </a:lnTo>
                    <a:cubicBezTo>
                      <a:pt x="518110" y="440899"/>
                      <a:pt x="518110" y="440899"/>
                      <a:pt x="518110" y="440899"/>
                    </a:cubicBezTo>
                    <a:cubicBezTo>
                      <a:pt x="518110" y="440899"/>
                      <a:pt x="518110" y="440899"/>
                      <a:pt x="518110" y="440899"/>
                    </a:cubicBezTo>
                    <a:lnTo>
                      <a:pt x="523912" y="436772"/>
                    </a:lnTo>
                    <a:cubicBezTo>
                      <a:pt x="523912" y="436832"/>
                      <a:pt x="523912" y="436832"/>
                      <a:pt x="523912" y="436772"/>
                    </a:cubicBezTo>
                    <a:cubicBezTo>
                      <a:pt x="523912" y="436832"/>
                      <a:pt x="523912" y="436772"/>
                      <a:pt x="523912" y="436772"/>
                    </a:cubicBezTo>
                    <a:close/>
                    <a:moveTo>
                      <a:pt x="516137" y="437430"/>
                    </a:moveTo>
                    <a:lnTo>
                      <a:pt x="509976" y="422179"/>
                    </a:lnTo>
                    <a:lnTo>
                      <a:pt x="511412" y="424093"/>
                    </a:lnTo>
                    <a:lnTo>
                      <a:pt x="517572" y="439404"/>
                    </a:lnTo>
                    <a:lnTo>
                      <a:pt x="516137" y="437430"/>
                    </a:lnTo>
                    <a:close/>
                    <a:moveTo>
                      <a:pt x="380375" y="226191"/>
                    </a:moveTo>
                    <a:lnTo>
                      <a:pt x="395805" y="207172"/>
                    </a:lnTo>
                    <a:lnTo>
                      <a:pt x="417215" y="209624"/>
                    </a:lnTo>
                    <a:lnTo>
                      <a:pt x="400350" y="229779"/>
                    </a:lnTo>
                    <a:lnTo>
                      <a:pt x="380375" y="226191"/>
                    </a:lnTo>
                    <a:close/>
                    <a:moveTo>
                      <a:pt x="419309" y="173620"/>
                    </a:moveTo>
                    <a:lnTo>
                      <a:pt x="436892" y="191682"/>
                    </a:lnTo>
                    <a:lnTo>
                      <a:pt x="436892" y="191682"/>
                    </a:lnTo>
                    <a:lnTo>
                      <a:pt x="419249" y="173620"/>
                    </a:lnTo>
                    <a:lnTo>
                      <a:pt x="419309" y="173620"/>
                    </a:lnTo>
                    <a:close/>
                    <a:moveTo>
                      <a:pt x="448794" y="238571"/>
                    </a:moveTo>
                    <a:lnTo>
                      <a:pt x="442035" y="239648"/>
                    </a:lnTo>
                    <a:lnTo>
                      <a:pt x="440420" y="235401"/>
                    </a:lnTo>
                    <a:lnTo>
                      <a:pt x="440480" y="235401"/>
                    </a:lnTo>
                    <a:cubicBezTo>
                      <a:pt x="440480" y="235401"/>
                      <a:pt x="440480" y="235401"/>
                      <a:pt x="440480" y="235401"/>
                    </a:cubicBezTo>
                    <a:cubicBezTo>
                      <a:pt x="440480" y="235401"/>
                      <a:pt x="440480" y="235401"/>
                      <a:pt x="440480" y="235401"/>
                    </a:cubicBezTo>
                    <a:lnTo>
                      <a:pt x="442993" y="235222"/>
                    </a:lnTo>
                    <a:cubicBezTo>
                      <a:pt x="442993" y="235222"/>
                      <a:pt x="442993" y="235222"/>
                      <a:pt x="442993" y="235222"/>
                    </a:cubicBezTo>
                    <a:cubicBezTo>
                      <a:pt x="442993" y="235222"/>
                      <a:pt x="442993" y="235222"/>
                      <a:pt x="442993" y="235222"/>
                    </a:cubicBezTo>
                    <a:cubicBezTo>
                      <a:pt x="442993" y="235222"/>
                      <a:pt x="442993" y="235222"/>
                      <a:pt x="442993" y="235222"/>
                    </a:cubicBezTo>
                    <a:lnTo>
                      <a:pt x="446940" y="233906"/>
                    </a:lnTo>
                    <a:lnTo>
                      <a:pt x="448794" y="238571"/>
                    </a:lnTo>
                    <a:close/>
                    <a:moveTo>
                      <a:pt x="511651" y="423674"/>
                    </a:moveTo>
                    <a:lnTo>
                      <a:pt x="505013" y="407108"/>
                    </a:lnTo>
                    <a:lnTo>
                      <a:pt x="513446" y="404117"/>
                    </a:lnTo>
                    <a:lnTo>
                      <a:pt x="518469" y="420265"/>
                    </a:lnTo>
                    <a:lnTo>
                      <a:pt x="511651" y="423674"/>
                    </a:lnTo>
                    <a:close/>
                    <a:moveTo>
                      <a:pt x="504893" y="406809"/>
                    </a:moveTo>
                    <a:lnTo>
                      <a:pt x="498135" y="390003"/>
                    </a:lnTo>
                    <a:lnTo>
                      <a:pt x="508242" y="387431"/>
                    </a:lnTo>
                    <a:lnTo>
                      <a:pt x="513326" y="403818"/>
                    </a:lnTo>
                    <a:lnTo>
                      <a:pt x="504893" y="406809"/>
                    </a:lnTo>
                    <a:close/>
                    <a:moveTo>
                      <a:pt x="498015" y="389644"/>
                    </a:moveTo>
                    <a:lnTo>
                      <a:pt x="491197" y="372599"/>
                    </a:lnTo>
                    <a:lnTo>
                      <a:pt x="502979" y="370446"/>
                    </a:lnTo>
                    <a:lnTo>
                      <a:pt x="508183" y="387072"/>
                    </a:lnTo>
                    <a:lnTo>
                      <a:pt x="498015" y="389644"/>
                    </a:lnTo>
                    <a:close/>
                    <a:moveTo>
                      <a:pt x="491018" y="372240"/>
                    </a:moveTo>
                    <a:lnTo>
                      <a:pt x="484080" y="354896"/>
                    </a:lnTo>
                    <a:lnTo>
                      <a:pt x="497597" y="353221"/>
                    </a:lnTo>
                    <a:lnTo>
                      <a:pt x="502860" y="370087"/>
                    </a:lnTo>
                    <a:lnTo>
                      <a:pt x="491018" y="372240"/>
                    </a:lnTo>
                    <a:close/>
                    <a:moveTo>
                      <a:pt x="483900" y="354597"/>
                    </a:moveTo>
                    <a:lnTo>
                      <a:pt x="476844" y="337014"/>
                    </a:lnTo>
                    <a:lnTo>
                      <a:pt x="492094" y="335817"/>
                    </a:lnTo>
                    <a:lnTo>
                      <a:pt x="497417" y="352922"/>
                    </a:lnTo>
                    <a:lnTo>
                      <a:pt x="483900" y="354597"/>
                    </a:lnTo>
                    <a:close/>
                    <a:moveTo>
                      <a:pt x="476724" y="336655"/>
                    </a:moveTo>
                    <a:lnTo>
                      <a:pt x="469547" y="318772"/>
                    </a:lnTo>
                    <a:lnTo>
                      <a:pt x="486592" y="318115"/>
                    </a:lnTo>
                    <a:lnTo>
                      <a:pt x="491974" y="335459"/>
                    </a:lnTo>
                    <a:lnTo>
                      <a:pt x="476724" y="336655"/>
                    </a:lnTo>
                    <a:close/>
                    <a:moveTo>
                      <a:pt x="469427" y="318414"/>
                    </a:moveTo>
                    <a:lnTo>
                      <a:pt x="462131" y="300292"/>
                    </a:lnTo>
                    <a:lnTo>
                      <a:pt x="480970" y="300172"/>
                    </a:lnTo>
                    <a:lnTo>
                      <a:pt x="486472" y="317756"/>
                    </a:lnTo>
                    <a:lnTo>
                      <a:pt x="469427" y="318414"/>
                    </a:lnTo>
                    <a:close/>
                    <a:moveTo>
                      <a:pt x="462011" y="299933"/>
                    </a:moveTo>
                    <a:lnTo>
                      <a:pt x="454595" y="281513"/>
                    </a:lnTo>
                    <a:lnTo>
                      <a:pt x="475289" y="281931"/>
                    </a:lnTo>
                    <a:lnTo>
                      <a:pt x="480850" y="299814"/>
                    </a:lnTo>
                    <a:lnTo>
                      <a:pt x="462011" y="299933"/>
                    </a:lnTo>
                    <a:close/>
                    <a:moveTo>
                      <a:pt x="454475" y="281154"/>
                    </a:moveTo>
                    <a:lnTo>
                      <a:pt x="446940" y="262434"/>
                    </a:lnTo>
                    <a:lnTo>
                      <a:pt x="469547" y="263451"/>
                    </a:lnTo>
                    <a:lnTo>
                      <a:pt x="475229" y="281572"/>
                    </a:lnTo>
                    <a:lnTo>
                      <a:pt x="454475" y="281154"/>
                    </a:lnTo>
                    <a:close/>
                    <a:moveTo>
                      <a:pt x="446820" y="262075"/>
                    </a:moveTo>
                    <a:lnTo>
                      <a:pt x="439165" y="243057"/>
                    </a:lnTo>
                    <a:lnTo>
                      <a:pt x="463686" y="244731"/>
                    </a:lnTo>
                    <a:lnTo>
                      <a:pt x="469427" y="263092"/>
                    </a:lnTo>
                    <a:lnTo>
                      <a:pt x="446820" y="262075"/>
                    </a:lnTo>
                    <a:close/>
                    <a:moveTo>
                      <a:pt x="436952" y="243595"/>
                    </a:moveTo>
                    <a:lnTo>
                      <a:pt x="437191" y="243415"/>
                    </a:lnTo>
                    <a:lnTo>
                      <a:pt x="437490" y="243655"/>
                    </a:lnTo>
                    <a:lnTo>
                      <a:pt x="437132" y="243714"/>
                    </a:lnTo>
                    <a:lnTo>
                      <a:pt x="436952" y="243595"/>
                    </a:lnTo>
                    <a:close/>
                    <a:moveTo>
                      <a:pt x="437430" y="243176"/>
                    </a:moveTo>
                    <a:lnTo>
                      <a:pt x="437610" y="242937"/>
                    </a:lnTo>
                    <a:lnTo>
                      <a:pt x="437849" y="243475"/>
                    </a:lnTo>
                    <a:lnTo>
                      <a:pt x="437430" y="243176"/>
                    </a:lnTo>
                    <a:close/>
                    <a:moveTo>
                      <a:pt x="436593" y="243356"/>
                    </a:moveTo>
                    <a:lnTo>
                      <a:pt x="410457" y="222842"/>
                    </a:lnTo>
                    <a:lnTo>
                      <a:pt x="410696" y="222662"/>
                    </a:lnTo>
                    <a:lnTo>
                      <a:pt x="436832" y="243236"/>
                    </a:lnTo>
                    <a:lnTo>
                      <a:pt x="436593" y="243356"/>
                    </a:lnTo>
                    <a:close/>
                    <a:moveTo>
                      <a:pt x="392994" y="261776"/>
                    </a:moveTo>
                    <a:lnTo>
                      <a:pt x="366021" y="296046"/>
                    </a:lnTo>
                    <a:lnTo>
                      <a:pt x="365423" y="295866"/>
                    </a:lnTo>
                    <a:lnTo>
                      <a:pt x="392515" y="261537"/>
                    </a:lnTo>
                    <a:lnTo>
                      <a:pt x="392994" y="261776"/>
                    </a:lnTo>
                    <a:close/>
                    <a:moveTo>
                      <a:pt x="56757" y="701359"/>
                    </a:moveTo>
                    <a:lnTo>
                      <a:pt x="56638" y="701000"/>
                    </a:lnTo>
                    <a:lnTo>
                      <a:pt x="56698" y="698847"/>
                    </a:lnTo>
                    <a:lnTo>
                      <a:pt x="56817" y="699146"/>
                    </a:lnTo>
                    <a:lnTo>
                      <a:pt x="56757" y="701359"/>
                    </a:lnTo>
                    <a:close/>
                    <a:moveTo>
                      <a:pt x="13158" y="668645"/>
                    </a:moveTo>
                    <a:cubicBezTo>
                      <a:pt x="13158" y="668645"/>
                      <a:pt x="13158" y="668645"/>
                      <a:pt x="13158" y="668645"/>
                    </a:cubicBezTo>
                    <a:cubicBezTo>
                      <a:pt x="13158" y="668645"/>
                      <a:pt x="13158" y="668645"/>
                      <a:pt x="13158" y="668645"/>
                    </a:cubicBezTo>
                    <a:lnTo>
                      <a:pt x="13995" y="667807"/>
                    </a:lnTo>
                    <a:lnTo>
                      <a:pt x="14773" y="667927"/>
                    </a:lnTo>
                    <a:lnTo>
                      <a:pt x="13338" y="669362"/>
                    </a:lnTo>
                    <a:lnTo>
                      <a:pt x="12500" y="669303"/>
                    </a:lnTo>
                    <a:lnTo>
                      <a:pt x="13158" y="668645"/>
                    </a:lnTo>
                    <a:close/>
                    <a:moveTo>
                      <a:pt x="18959" y="667867"/>
                    </a:moveTo>
                    <a:lnTo>
                      <a:pt x="18660" y="667568"/>
                    </a:lnTo>
                    <a:lnTo>
                      <a:pt x="19139" y="667628"/>
                    </a:lnTo>
                    <a:lnTo>
                      <a:pt x="18959" y="667867"/>
                    </a:lnTo>
                    <a:close/>
                    <a:moveTo>
                      <a:pt x="18780" y="668047"/>
                    </a:moveTo>
                    <a:lnTo>
                      <a:pt x="17464" y="669602"/>
                    </a:lnTo>
                    <a:lnTo>
                      <a:pt x="15550" y="667927"/>
                    </a:lnTo>
                    <a:lnTo>
                      <a:pt x="18241" y="667449"/>
                    </a:lnTo>
                    <a:lnTo>
                      <a:pt x="18780" y="668047"/>
                    </a:lnTo>
                    <a:close/>
                    <a:moveTo>
                      <a:pt x="13098" y="672532"/>
                    </a:moveTo>
                    <a:lnTo>
                      <a:pt x="14234" y="675941"/>
                    </a:lnTo>
                    <a:lnTo>
                      <a:pt x="13218" y="676061"/>
                    </a:lnTo>
                    <a:lnTo>
                      <a:pt x="12081" y="672532"/>
                    </a:lnTo>
                    <a:lnTo>
                      <a:pt x="13098" y="672532"/>
                    </a:lnTo>
                    <a:close/>
                    <a:moveTo>
                      <a:pt x="392156" y="261417"/>
                    </a:moveTo>
                    <a:lnTo>
                      <a:pt x="365064" y="295807"/>
                    </a:lnTo>
                    <a:lnTo>
                      <a:pt x="363748" y="295149"/>
                    </a:lnTo>
                    <a:lnTo>
                      <a:pt x="390960" y="260759"/>
                    </a:lnTo>
                    <a:lnTo>
                      <a:pt x="392156" y="261417"/>
                    </a:lnTo>
                    <a:close/>
                    <a:moveTo>
                      <a:pt x="49700" y="701120"/>
                    </a:moveTo>
                    <a:cubicBezTo>
                      <a:pt x="49700" y="701120"/>
                      <a:pt x="49700" y="701120"/>
                      <a:pt x="49700" y="701120"/>
                    </a:cubicBezTo>
                    <a:cubicBezTo>
                      <a:pt x="49700" y="701120"/>
                      <a:pt x="49700" y="701120"/>
                      <a:pt x="49700" y="701120"/>
                    </a:cubicBezTo>
                    <a:cubicBezTo>
                      <a:pt x="49700" y="701180"/>
                      <a:pt x="49700" y="701180"/>
                      <a:pt x="49700" y="701180"/>
                    </a:cubicBezTo>
                    <a:cubicBezTo>
                      <a:pt x="49700" y="701180"/>
                      <a:pt x="49700" y="701180"/>
                      <a:pt x="49700" y="701240"/>
                    </a:cubicBezTo>
                    <a:cubicBezTo>
                      <a:pt x="49700" y="701240"/>
                      <a:pt x="49700" y="701240"/>
                      <a:pt x="49700" y="701299"/>
                    </a:cubicBezTo>
                    <a:cubicBezTo>
                      <a:pt x="49700" y="701299"/>
                      <a:pt x="49700" y="701299"/>
                      <a:pt x="49700" y="701359"/>
                    </a:cubicBezTo>
                    <a:cubicBezTo>
                      <a:pt x="49700" y="701359"/>
                      <a:pt x="49700" y="701359"/>
                      <a:pt x="49700" y="701359"/>
                    </a:cubicBezTo>
                    <a:lnTo>
                      <a:pt x="51554" y="703333"/>
                    </a:lnTo>
                    <a:lnTo>
                      <a:pt x="47906" y="702795"/>
                    </a:lnTo>
                    <a:lnTo>
                      <a:pt x="46470" y="700761"/>
                    </a:lnTo>
                    <a:lnTo>
                      <a:pt x="59867" y="678752"/>
                    </a:lnTo>
                    <a:lnTo>
                      <a:pt x="62857" y="678692"/>
                    </a:lnTo>
                    <a:lnTo>
                      <a:pt x="49700" y="701120"/>
                    </a:lnTo>
                    <a:cubicBezTo>
                      <a:pt x="49700" y="701060"/>
                      <a:pt x="49700" y="701060"/>
                      <a:pt x="49700" y="701120"/>
                    </a:cubicBezTo>
                    <a:close/>
                    <a:moveTo>
                      <a:pt x="11244" y="673429"/>
                    </a:moveTo>
                    <a:lnTo>
                      <a:pt x="11783" y="672771"/>
                    </a:lnTo>
                    <a:lnTo>
                      <a:pt x="12919" y="676180"/>
                    </a:lnTo>
                    <a:lnTo>
                      <a:pt x="12381" y="676838"/>
                    </a:lnTo>
                    <a:lnTo>
                      <a:pt x="11244" y="673429"/>
                    </a:lnTo>
                    <a:close/>
                    <a:moveTo>
                      <a:pt x="14414" y="676240"/>
                    </a:moveTo>
                    <a:lnTo>
                      <a:pt x="16866" y="680307"/>
                    </a:lnTo>
                    <a:lnTo>
                      <a:pt x="15909" y="680546"/>
                    </a:lnTo>
                    <a:lnTo>
                      <a:pt x="13338" y="676360"/>
                    </a:lnTo>
                    <a:lnTo>
                      <a:pt x="14414" y="676240"/>
                    </a:lnTo>
                    <a:close/>
                    <a:moveTo>
                      <a:pt x="390661" y="260520"/>
                    </a:moveTo>
                    <a:lnTo>
                      <a:pt x="363389" y="294909"/>
                    </a:lnTo>
                    <a:lnTo>
                      <a:pt x="361535" y="293773"/>
                    </a:lnTo>
                    <a:lnTo>
                      <a:pt x="388927" y="259384"/>
                    </a:lnTo>
                    <a:lnTo>
                      <a:pt x="390661" y="260520"/>
                    </a:lnTo>
                    <a:close/>
                    <a:moveTo>
                      <a:pt x="46052" y="700582"/>
                    </a:moveTo>
                    <a:cubicBezTo>
                      <a:pt x="46052" y="700582"/>
                      <a:pt x="46052" y="700641"/>
                      <a:pt x="46052" y="700582"/>
                    </a:cubicBezTo>
                    <a:cubicBezTo>
                      <a:pt x="46052" y="700641"/>
                      <a:pt x="46052" y="700641"/>
                      <a:pt x="46052" y="700582"/>
                    </a:cubicBezTo>
                    <a:cubicBezTo>
                      <a:pt x="46052" y="700641"/>
                      <a:pt x="46052" y="700641"/>
                      <a:pt x="46052" y="700641"/>
                    </a:cubicBezTo>
                    <a:cubicBezTo>
                      <a:pt x="46052" y="700641"/>
                      <a:pt x="46052" y="700641"/>
                      <a:pt x="46052" y="700641"/>
                    </a:cubicBezTo>
                    <a:cubicBezTo>
                      <a:pt x="46052" y="700641"/>
                      <a:pt x="46052" y="700701"/>
                      <a:pt x="46052" y="700701"/>
                    </a:cubicBezTo>
                    <a:cubicBezTo>
                      <a:pt x="46052" y="700701"/>
                      <a:pt x="46052" y="700701"/>
                      <a:pt x="46052" y="700701"/>
                    </a:cubicBezTo>
                    <a:lnTo>
                      <a:pt x="47427" y="702555"/>
                    </a:lnTo>
                    <a:lnTo>
                      <a:pt x="42942" y="700941"/>
                    </a:lnTo>
                    <a:lnTo>
                      <a:pt x="42045" y="699146"/>
                    </a:lnTo>
                    <a:lnTo>
                      <a:pt x="55741" y="677795"/>
                    </a:lnTo>
                    <a:lnTo>
                      <a:pt x="59389" y="678632"/>
                    </a:lnTo>
                    <a:lnTo>
                      <a:pt x="46052" y="700582"/>
                    </a:lnTo>
                    <a:cubicBezTo>
                      <a:pt x="46112" y="700582"/>
                      <a:pt x="46112" y="700582"/>
                      <a:pt x="46052" y="700582"/>
                    </a:cubicBezTo>
                    <a:cubicBezTo>
                      <a:pt x="46112" y="700582"/>
                      <a:pt x="46112" y="700582"/>
                      <a:pt x="46052" y="700582"/>
                    </a:cubicBezTo>
                    <a:close/>
                    <a:moveTo>
                      <a:pt x="52093" y="704649"/>
                    </a:moveTo>
                    <a:lnTo>
                      <a:pt x="48205" y="704110"/>
                    </a:lnTo>
                    <a:lnTo>
                      <a:pt x="48085" y="703094"/>
                    </a:lnTo>
                    <a:lnTo>
                      <a:pt x="51853" y="703632"/>
                    </a:lnTo>
                    <a:lnTo>
                      <a:pt x="52093" y="704649"/>
                    </a:lnTo>
                    <a:close/>
                    <a:moveTo>
                      <a:pt x="38576" y="703213"/>
                    </a:moveTo>
                    <a:lnTo>
                      <a:pt x="37559" y="702496"/>
                    </a:lnTo>
                    <a:lnTo>
                      <a:pt x="37619" y="702077"/>
                    </a:lnTo>
                    <a:lnTo>
                      <a:pt x="38576" y="702974"/>
                    </a:lnTo>
                    <a:lnTo>
                      <a:pt x="38576" y="703213"/>
                    </a:lnTo>
                    <a:close/>
                    <a:moveTo>
                      <a:pt x="15909" y="684793"/>
                    </a:moveTo>
                    <a:lnTo>
                      <a:pt x="16926" y="685510"/>
                    </a:lnTo>
                    <a:lnTo>
                      <a:pt x="16507" y="685690"/>
                    </a:lnTo>
                    <a:lnTo>
                      <a:pt x="15669" y="684912"/>
                    </a:lnTo>
                    <a:lnTo>
                      <a:pt x="15909" y="684793"/>
                    </a:lnTo>
                    <a:close/>
                    <a:moveTo>
                      <a:pt x="18839" y="686826"/>
                    </a:moveTo>
                    <a:lnTo>
                      <a:pt x="18241" y="685750"/>
                    </a:lnTo>
                    <a:lnTo>
                      <a:pt x="18301" y="685750"/>
                    </a:lnTo>
                    <a:lnTo>
                      <a:pt x="18839" y="686826"/>
                    </a:lnTo>
                    <a:close/>
                    <a:moveTo>
                      <a:pt x="18660" y="687125"/>
                    </a:moveTo>
                    <a:lnTo>
                      <a:pt x="18481" y="687125"/>
                    </a:lnTo>
                    <a:lnTo>
                      <a:pt x="17524" y="685750"/>
                    </a:lnTo>
                    <a:lnTo>
                      <a:pt x="17823" y="685690"/>
                    </a:lnTo>
                    <a:lnTo>
                      <a:pt x="18660" y="687125"/>
                    </a:lnTo>
                    <a:close/>
                    <a:moveTo>
                      <a:pt x="18660" y="687484"/>
                    </a:moveTo>
                    <a:lnTo>
                      <a:pt x="18660" y="687604"/>
                    </a:lnTo>
                    <a:lnTo>
                      <a:pt x="18660" y="687484"/>
                    </a:lnTo>
                    <a:lnTo>
                      <a:pt x="18660" y="687484"/>
                    </a:lnTo>
                    <a:close/>
                    <a:moveTo>
                      <a:pt x="17284" y="685809"/>
                    </a:moveTo>
                    <a:lnTo>
                      <a:pt x="18241" y="687245"/>
                    </a:lnTo>
                    <a:lnTo>
                      <a:pt x="18002" y="687364"/>
                    </a:lnTo>
                    <a:lnTo>
                      <a:pt x="16926" y="686049"/>
                    </a:lnTo>
                    <a:lnTo>
                      <a:pt x="17284" y="685809"/>
                    </a:lnTo>
                    <a:close/>
                    <a:moveTo>
                      <a:pt x="18301" y="687604"/>
                    </a:moveTo>
                    <a:lnTo>
                      <a:pt x="18361" y="687962"/>
                    </a:lnTo>
                    <a:lnTo>
                      <a:pt x="18182" y="687663"/>
                    </a:lnTo>
                    <a:lnTo>
                      <a:pt x="18301" y="687604"/>
                    </a:lnTo>
                    <a:close/>
                    <a:moveTo>
                      <a:pt x="17106" y="680666"/>
                    </a:moveTo>
                    <a:lnTo>
                      <a:pt x="20754" y="685092"/>
                    </a:lnTo>
                    <a:lnTo>
                      <a:pt x="19916" y="685510"/>
                    </a:lnTo>
                    <a:lnTo>
                      <a:pt x="16089" y="680905"/>
                    </a:lnTo>
                    <a:lnTo>
                      <a:pt x="17106" y="680666"/>
                    </a:lnTo>
                    <a:close/>
                    <a:moveTo>
                      <a:pt x="22907" y="685391"/>
                    </a:moveTo>
                    <a:cubicBezTo>
                      <a:pt x="22907" y="685391"/>
                      <a:pt x="22907" y="685391"/>
                      <a:pt x="22907" y="685391"/>
                    </a:cubicBezTo>
                    <a:lnTo>
                      <a:pt x="22907" y="685391"/>
                    </a:lnTo>
                    <a:cubicBezTo>
                      <a:pt x="22907" y="685391"/>
                      <a:pt x="22907" y="685391"/>
                      <a:pt x="22907" y="685391"/>
                    </a:cubicBezTo>
                    <a:cubicBezTo>
                      <a:pt x="22967" y="685391"/>
                      <a:pt x="22967" y="685391"/>
                      <a:pt x="22967" y="685391"/>
                    </a:cubicBezTo>
                    <a:cubicBezTo>
                      <a:pt x="22967" y="685391"/>
                      <a:pt x="22967" y="685391"/>
                      <a:pt x="22967" y="685391"/>
                    </a:cubicBezTo>
                    <a:cubicBezTo>
                      <a:pt x="22967" y="685391"/>
                      <a:pt x="22967" y="685391"/>
                      <a:pt x="22967" y="685391"/>
                    </a:cubicBezTo>
                    <a:lnTo>
                      <a:pt x="39174" y="666492"/>
                    </a:lnTo>
                    <a:lnTo>
                      <a:pt x="42464" y="669901"/>
                    </a:lnTo>
                    <a:lnTo>
                      <a:pt x="26973" y="689278"/>
                    </a:lnTo>
                    <a:lnTo>
                      <a:pt x="25957" y="689816"/>
                    </a:lnTo>
                    <a:lnTo>
                      <a:pt x="21471" y="685450"/>
                    </a:lnTo>
                    <a:lnTo>
                      <a:pt x="22907" y="685391"/>
                    </a:lnTo>
                    <a:close/>
                    <a:moveTo>
                      <a:pt x="388628" y="259145"/>
                    </a:moveTo>
                    <a:lnTo>
                      <a:pt x="361236" y="293534"/>
                    </a:lnTo>
                    <a:lnTo>
                      <a:pt x="359023" y="291979"/>
                    </a:lnTo>
                    <a:lnTo>
                      <a:pt x="386534" y="257590"/>
                    </a:lnTo>
                    <a:lnTo>
                      <a:pt x="388628" y="259145"/>
                    </a:lnTo>
                    <a:close/>
                    <a:moveTo>
                      <a:pt x="41686" y="699027"/>
                    </a:moveTo>
                    <a:cubicBezTo>
                      <a:pt x="41686" y="699027"/>
                      <a:pt x="41686" y="699027"/>
                      <a:pt x="41686" y="699027"/>
                    </a:cubicBezTo>
                    <a:cubicBezTo>
                      <a:pt x="41686" y="699027"/>
                      <a:pt x="41686" y="699027"/>
                      <a:pt x="41686" y="699027"/>
                    </a:cubicBezTo>
                    <a:cubicBezTo>
                      <a:pt x="41686" y="699087"/>
                      <a:pt x="41686" y="699087"/>
                      <a:pt x="41686" y="699087"/>
                    </a:cubicBezTo>
                    <a:cubicBezTo>
                      <a:pt x="41686" y="699087"/>
                      <a:pt x="41686" y="699087"/>
                      <a:pt x="41686" y="699146"/>
                    </a:cubicBezTo>
                    <a:cubicBezTo>
                      <a:pt x="41686" y="699146"/>
                      <a:pt x="41686" y="699146"/>
                      <a:pt x="41686" y="699146"/>
                    </a:cubicBezTo>
                    <a:lnTo>
                      <a:pt x="42524" y="700761"/>
                    </a:lnTo>
                    <a:lnTo>
                      <a:pt x="37439" y="698130"/>
                    </a:lnTo>
                    <a:lnTo>
                      <a:pt x="37201" y="696694"/>
                    </a:lnTo>
                    <a:lnTo>
                      <a:pt x="51375" y="676001"/>
                    </a:lnTo>
                    <a:lnTo>
                      <a:pt x="55441" y="677735"/>
                    </a:lnTo>
                    <a:lnTo>
                      <a:pt x="41686" y="699027"/>
                    </a:lnTo>
                    <a:cubicBezTo>
                      <a:pt x="41686" y="698967"/>
                      <a:pt x="41686" y="699027"/>
                      <a:pt x="41686" y="699027"/>
                    </a:cubicBezTo>
                    <a:close/>
                    <a:moveTo>
                      <a:pt x="27272" y="689517"/>
                    </a:moveTo>
                    <a:cubicBezTo>
                      <a:pt x="27272" y="689517"/>
                      <a:pt x="27272" y="689517"/>
                      <a:pt x="27272" y="689517"/>
                    </a:cubicBezTo>
                    <a:cubicBezTo>
                      <a:pt x="27272" y="689517"/>
                      <a:pt x="27272" y="689517"/>
                      <a:pt x="27272" y="689517"/>
                    </a:cubicBezTo>
                    <a:lnTo>
                      <a:pt x="42762" y="670080"/>
                    </a:lnTo>
                    <a:lnTo>
                      <a:pt x="46590" y="673130"/>
                    </a:lnTo>
                    <a:lnTo>
                      <a:pt x="31758" y="693106"/>
                    </a:lnTo>
                    <a:cubicBezTo>
                      <a:pt x="31758" y="693106"/>
                      <a:pt x="31758" y="693106"/>
                      <a:pt x="31758" y="693106"/>
                    </a:cubicBezTo>
                    <a:cubicBezTo>
                      <a:pt x="31758" y="693106"/>
                      <a:pt x="31758" y="693106"/>
                      <a:pt x="31758" y="693106"/>
                    </a:cubicBezTo>
                    <a:lnTo>
                      <a:pt x="31399" y="694123"/>
                    </a:lnTo>
                    <a:lnTo>
                      <a:pt x="26315" y="689996"/>
                    </a:lnTo>
                    <a:lnTo>
                      <a:pt x="27272" y="689517"/>
                    </a:lnTo>
                    <a:close/>
                    <a:moveTo>
                      <a:pt x="331093" y="326248"/>
                    </a:moveTo>
                    <a:lnTo>
                      <a:pt x="304239" y="359740"/>
                    </a:lnTo>
                    <a:lnTo>
                      <a:pt x="301548" y="357767"/>
                    </a:lnTo>
                    <a:lnTo>
                      <a:pt x="328521" y="324335"/>
                    </a:lnTo>
                    <a:lnTo>
                      <a:pt x="331093" y="326248"/>
                    </a:lnTo>
                    <a:close/>
                    <a:moveTo>
                      <a:pt x="47128" y="673070"/>
                    </a:moveTo>
                    <a:lnTo>
                      <a:pt x="70991" y="643526"/>
                    </a:lnTo>
                    <a:lnTo>
                      <a:pt x="74939" y="645978"/>
                    </a:lnTo>
                    <a:lnTo>
                      <a:pt x="51195" y="675582"/>
                    </a:lnTo>
                    <a:lnTo>
                      <a:pt x="47128" y="673070"/>
                    </a:lnTo>
                    <a:close/>
                    <a:moveTo>
                      <a:pt x="71231" y="643227"/>
                    </a:moveTo>
                    <a:lnTo>
                      <a:pt x="95393" y="613323"/>
                    </a:lnTo>
                    <a:lnTo>
                      <a:pt x="99221" y="615715"/>
                    </a:lnTo>
                    <a:lnTo>
                      <a:pt x="75238" y="645679"/>
                    </a:lnTo>
                    <a:lnTo>
                      <a:pt x="71231" y="643227"/>
                    </a:lnTo>
                    <a:close/>
                    <a:moveTo>
                      <a:pt x="95573" y="613024"/>
                    </a:moveTo>
                    <a:lnTo>
                      <a:pt x="120034" y="582762"/>
                    </a:lnTo>
                    <a:lnTo>
                      <a:pt x="123742" y="585094"/>
                    </a:lnTo>
                    <a:lnTo>
                      <a:pt x="99459" y="615416"/>
                    </a:lnTo>
                    <a:lnTo>
                      <a:pt x="95573" y="613024"/>
                    </a:lnTo>
                    <a:close/>
                    <a:moveTo>
                      <a:pt x="120273" y="582462"/>
                    </a:moveTo>
                    <a:lnTo>
                      <a:pt x="145033" y="551781"/>
                    </a:lnTo>
                    <a:lnTo>
                      <a:pt x="148562" y="554114"/>
                    </a:lnTo>
                    <a:lnTo>
                      <a:pt x="123981" y="584795"/>
                    </a:lnTo>
                    <a:lnTo>
                      <a:pt x="120273" y="582462"/>
                    </a:lnTo>
                    <a:close/>
                    <a:moveTo>
                      <a:pt x="145212" y="551542"/>
                    </a:moveTo>
                    <a:lnTo>
                      <a:pt x="170272" y="520502"/>
                    </a:lnTo>
                    <a:lnTo>
                      <a:pt x="173680" y="522775"/>
                    </a:lnTo>
                    <a:lnTo>
                      <a:pt x="148800" y="553875"/>
                    </a:lnTo>
                    <a:lnTo>
                      <a:pt x="145212" y="551542"/>
                    </a:lnTo>
                    <a:close/>
                    <a:moveTo>
                      <a:pt x="170510" y="520203"/>
                    </a:moveTo>
                    <a:lnTo>
                      <a:pt x="195869" y="488804"/>
                    </a:lnTo>
                    <a:lnTo>
                      <a:pt x="199158" y="491017"/>
                    </a:lnTo>
                    <a:lnTo>
                      <a:pt x="173920" y="522476"/>
                    </a:lnTo>
                    <a:lnTo>
                      <a:pt x="170510" y="520203"/>
                    </a:lnTo>
                    <a:close/>
                    <a:moveTo>
                      <a:pt x="196048" y="488505"/>
                    </a:moveTo>
                    <a:lnTo>
                      <a:pt x="221706" y="456688"/>
                    </a:lnTo>
                    <a:lnTo>
                      <a:pt x="224816" y="458841"/>
                    </a:lnTo>
                    <a:lnTo>
                      <a:pt x="199278" y="490718"/>
                    </a:lnTo>
                    <a:lnTo>
                      <a:pt x="196048" y="488505"/>
                    </a:lnTo>
                    <a:close/>
                    <a:moveTo>
                      <a:pt x="221945" y="456449"/>
                    </a:moveTo>
                    <a:lnTo>
                      <a:pt x="247901" y="424272"/>
                    </a:lnTo>
                    <a:lnTo>
                      <a:pt x="250892" y="426366"/>
                    </a:lnTo>
                    <a:lnTo>
                      <a:pt x="225055" y="458602"/>
                    </a:lnTo>
                    <a:lnTo>
                      <a:pt x="221945" y="456449"/>
                    </a:lnTo>
                    <a:close/>
                    <a:moveTo>
                      <a:pt x="248200" y="423973"/>
                    </a:moveTo>
                    <a:lnTo>
                      <a:pt x="274515" y="391378"/>
                    </a:lnTo>
                    <a:lnTo>
                      <a:pt x="277326" y="393412"/>
                    </a:lnTo>
                    <a:lnTo>
                      <a:pt x="251130" y="426067"/>
                    </a:lnTo>
                    <a:lnTo>
                      <a:pt x="248200" y="423973"/>
                    </a:lnTo>
                    <a:close/>
                    <a:moveTo>
                      <a:pt x="274695" y="391079"/>
                    </a:moveTo>
                    <a:lnTo>
                      <a:pt x="301309" y="358066"/>
                    </a:lnTo>
                    <a:lnTo>
                      <a:pt x="304001" y="360039"/>
                    </a:lnTo>
                    <a:lnTo>
                      <a:pt x="277506" y="393113"/>
                    </a:lnTo>
                    <a:lnTo>
                      <a:pt x="274695" y="391079"/>
                    </a:lnTo>
                    <a:close/>
                    <a:moveTo>
                      <a:pt x="301070" y="357827"/>
                    </a:moveTo>
                    <a:lnTo>
                      <a:pt x="274396" y="390840"/>
                    </a:lnTo>
                    <a:lnTo>
                      <a:pt x="271585" y="388567"/>
                    </a:lnTo>
                    <a:lnTo>
                      <a:pt x="298378" y="355614"/>
                    </a:lnTo>
                    <a:lnTo>
                      <a:pt x="301070" y="357827"/>
                    </a:lnTo>
                    <a:close/>
                    <a:moveTo>
                      <a:pt x="274157" y="391139"/>
                    </a:moveTo>
                    <a:lnTo>
                      <a:pt x="247842" y="423734"/>
                    </a:lnTo>
                    <a:lnTo>
                      <a:pt x="244911" y="421342"/>
                    </a:lnTo>
                    <a:lnTo>
                      <a:pt x="271345" y="388807"/>
                    </a:lnTo>
                    <a:lnTo>
                      <a:pt x="274157" y="391139"/>
                    </a:lnTo>
                    <a:close/>
                    <a:moveTo>
                      <a:pt x="247662" y="424033"/>
                    </a:moveTo>
                    <a:lnTo>
                      <a:pt x="221646" y="456209"/>
                    </a:lnTo>
                    <a:lnTo>
                      <a:pt x="218596" y="453757"/>
                    </a:lnTo>
                    <a:lnTo>
                      <a:pt x="244731" y="421641"/>
                    </a:lnTo>
                    <a:lnTo>
                      <a:pt x="247662" y="424033"/>
                    </a:lnTo>
                    <a:close/>
                    <a:moveTo>
                      <a:pt x="221466" y="456508"/>
                    </a:moveTo>
                    <a:lnTo>
                      <a:pt x="195809" y="488326"/>
                    </a:lnTo>
                    <a:lnTo>
                      <a:pt x="192640" y="485754"/>
                    </a:lnTo>
                    <a:lnTo>
                      <a:pt x="218416" y="454056"/>
                    </a:lnTo>
                    <a:lnTo>
                      <a:pt x="221466" y="456508"/>
                    </a:lnTo>
                    <a:close/>
                    <a:moveTo>
                      <a:pt x="195570" y="488565"/>
                    </a:moveTo>
                    <a:lnTo>
                      <a:pt x="170212" y="519964"/>
                    </a:lnTo>
                    <a:lnTo>
                      <a:pt x="166922" y="517332"/>
                    </a:lnTo>
                    <a:lnTo>
                      <a:pt x="192400" y="485993"/>
                    </a:lnTo>
                    <a:lnTo>
                      <a:pt x="195570" y="488565"/>
                    </a:lnTo>
                    <a:close/>
                    <a:moveTo>
                      <a:pt x="169972" y="520263"/>
                    </a:moveTo>
                    <a:lnTo>
                      <a:pt x="144914" y="551303"/>
                    </a:lnTo>
                    <a:lnTo>
                      <a:pt x="141504" y="548612"/>
                    </a:lnTo>
                    <a:lnTo>
                      <a:pt x="166683" y="517631"/>
                    </a:lnTo>
                    <a:lnTo>
                      <a:pt x="169972" y="520263"/>
                    </a:lnTo>
                    <a:close/>
                    <a:moveTo>
                      <a:pt x="144674" y="551602"/>
                    </a:moveTo>
                    <a:lnTo>
                      <a:pt x="119914" y="582283"/>
                    </a:lnTo>
                    <a:lnTo>
                      <a:pt x="116385" y="579472"/>
                    </a:lnTo>
                    <a:lnTo>
                      <a:pt x="141265" y="548911"/>
                    </a:lnTo>
                    <a:lnTo>
                      <a:pt x="144674" y="551602"/>
                    </a:lnTo>
                    <a:close/>
                    <a:moveTo>
                      <a:pt x="119734" y="582522"/>
                    </a:moveTo>
                    <a:lnTo>
                      <a:pt x="95273" y="612785"/>
                    </a:lnTo>
                    <a:lnTo>
                      <a:pt x="91625" y="609914"/>
                    </a:lnTo>
                    <a:lnTo>
                      <a:pt x="116206" y="579711"/>
                    </a:lnTo>
                    <a:lnTo>
                      <a:pt x="119734" y="582522"/>
                    </a:lnTo>
                    <a:close/>
                    <a:moveTo>
                      <a:pt x="95094" y="613084"/>
                    </a:moveTo>
                    <a:lnTo>
                      <a:pt x="70932" y="642987"/>
                    </a:lnTo>
                    <a:lnTo>
                      <a:pt x="67223" y="639997"/>
                    </a:lnTo>
                    <a:lnTo>
                      <a:pt x="91505" y="610153"/>
                    </a:lnTo>
                    <a:lnTo>
                      <a:pt x="95094" y="613084"/>
                    </a:lnTo>
                    <a:close/>
                    <a:moveTo>
                      <a:pt x="70693" y="643286"/>
                    </a:moveTo>
                    <a:lnTo>
                      <a:pt x="46830" y="672891"/>
                    </a:lnTo>
                    <a:lnTo>
                      <a:pt x="43002" y="669841"/>
                    </a:lnTo>
                    <a:lnTo>
                      <a:pt x="66985" y="640356"/>
                    </a:lnTo>
                    <a:lnTo>
                      <a:pt x="70693" y="643286"/>
                    </a:lnTo>
                    <a:close/>
                    <a:moveTo>
                      <a:pt x="31698" y="694422"/>
                    </a:moveTo>
                    <a:lnTo>
                      <a:pt x="32116" y="693405"/>
                    </a:lnTo>
                    <a:lnTo>
                      <a:pt x="46889" y="673369"/>
                    </a:lnTo>
                    <a:lnTo>
                      <a:pt x="51016" y="675822"/>
                    </a:lnTo>
                    <a:lnTo>
                      <a:pt x="36782" y="696455"/>
                    </a:lnTo>
                    <a:cubicBezTo>
                      <a:pt x="36782" y="696455"/>
                      <a:pt x="36782" y="696455"/>
                      <a:pt x="36782" y="696455"/>
                    </a:cubicBezTo>
                    <a:cubicBezTo>
                      <a:pt x="36782" y="696455"/>
                      <a:pt x="36782" y="696455"/>
                      <a:pt x="36782" y="696455"/>
                    </a:cubicBezTo>
                    <a:cubicBezTo>
                      <a:pt x="36782" y="696455"/>
                      <a:pt x="36782" y="696455"/>
                      <a:pt x="36782" y="696515"/>
                    </a:cubicBezTo>
                    <a:cubicBezTo>
                      <a:pt x="36782" y="696515"/>
                      <a:pt x="36782" y="696515"/>
                      <a:pt x="36782" y="696515"/>
                    </a:cubicBezTo>
                    <a:lnTo>
                      <a:pt x="37021" y="697890"/>
                    </a:lnTo>
                    <a:lnTo>
                      <a:pt x="31698" y="694422"/>
                    </a:lnTo>
                    <a:close/>
                    <a:moveTo>
                      <a:pt x="51614" y="675702"/>
                    </a:moveTo>
                    <a:lnTo>
                      <a:pt x="75298" y="646097"/>
                    </a:lnTo>
                    <a:lnTo>
                      <a:pt x="79185" y="647832"/>
                    </a:lnTo>
                    <a:lnTo>
                      <a:pt x="55621" y="677436"/>
                    </a:lnTo>
                    <a:lnTo>
                      <a:pt x="51614" y="675702"/>
                    </a:lnTo>
                    <a:close/>
                    <a:moveTo>
                      <a:pt x="75537" y="645858"/>
                    </a:moveTo>
                    <a:lnTo>
                      <a:pt x="99519" y="615895"/>
                    </a:lnTo>
                    <a:lnTo>
                      <a:pt x="103287" y="617629"/>
                    </a:lnTo>
                    <a:lnTo>
                      <a:pt x="79424" y="647593"/>
                    </a:lnTo>
                    <a:lnTo>
                      <a:pt x="75537" y="645858"/>
                    </a:lnTo>
                    <a:close/>
                    <a:moveTo>
                      <a:pt x="99759" y="615596"/>
                    </a:moveTo>
                    <a:lnTo>
                      <a:pt x="124040" y="585273"/>
                    </a:lnTo>
                    <a:lnTo>
                      <a:pt x="127629" y="587008"/>
                    </a:lnTo>
                    <a:lnTo>
                      <a:pt x="103467" y="617330"/>
                    </a:lnTo>
                    <a:lnTo>
                      <a:pt x="99759" y="615596"/>
                    </a:lnTo>
                    <a:close/>
                    <a:moveTo>
                      <a:pt x="124280" y="584974"/>
                    </a:moveTo>
                    <a:lnTo>
                      <a:pt x="148860" y="554293"/>
                    </a:lnTo>
                    <a:lnTo>
                      <a:pt x="152270" y="556028"/>
                    </a:lnTo>
                    <a:lnTo>
                      <a:pt x="127808" y="586709"/>
                    </a:lnTo>
                    <a:lnTo>
                      <a:pt x="124280" y="584974"/>
                    </a:lnTo>
                    <a:close/>
                    <a:moveTo>
                      <a:pt x="149100" y="553994"/>
                    </a:moveTo>
                    <a:lnTo>
                      <a:pt x="173980" y="522954"/>
                    </a:lnTo>
                    <a:lnTo>
                      <a:pt x="177269" y="524689"/>
                    </a:lnTo>
                    <a:lnTo>
                      <a:pt x="152508" y="555789"/>
                    </a:lnTo>
                    <a:lnTo>
                      <a:pt x="149100" y="553994"/>
                    </a:lnTo>
                    <a:close/>
                    <a:moveTo>
                      <a:pt x="174218" y="522655"/>
                    </a:moveTo>
                    <a:lnTo>
                      <a:pt x="199398" y="491197"/>
                    </a:lnTo>
                    <a:lnTo>
                      <a:pt x="202508" y="492931"/>
                    </a:lnTo>
                    <a:lnTo>
                      <a:pt x="177448" y="524390"/>
                    </a:lnTo>
                    <a:lnTo>
                      <a:pt x="174218" y="522655"/>
                    </a:lnTo>
                    <a:close/>
                    <a:moveTo>
                      <a:pt x="199637" y="490898"/>
                    </a:moveTo>
                    <a:lnTo>
                      <a:pt x="225174" y="459020"/>
                    </a:lnTo>
                    <a:lnTo>
                      <a:pt x="228165" y="460695"/>
                    </a:lnTo>
                    <a:lnTo>
                      <a:pt x="202807" y="492572"/>
                    </a:lnTo>
                    <a:lnTo>
                      <a:pt x="199637" y="490898"/>
                    </a:lnTo>
                    <a:close/>
                    <a:moveTo>
                      <a:pt x="225414" y="458781"/>
                    </a:moveTo>
                    <a:lnTo>
                      <a:pt x="251250" y="426545"/>
                    </a:lnTo>
                    <a:lnTo>
                      <a:pt x="254062" y="428220"/>
                    </a:lnTo>
                    <a:lnTo>
                      <a:pt x="228404" y="460456"/>
                    </a:lnTo>
                    <a:lnTo>
                      <a:pt x="225414" y="458781"/>
                    </a:lnTo>
                    <a:close/>
                    <a:moveTo>
                      <a:pt x="251490" y="426246"/>
                    </a:moveTo>
                    <a:lnTo>
                      <a:pt x="277625" y="393591"/>
                    </a:lnTo>
                    <a:lnTo>
                      <a:pt x="280257" y="395266"/>
                    </a:lnTo>
                    <a:lnTo>
                      <a:pt x="254241" y="427921"/>
                    </a:lnTo>
                    <a:lnTo>
                      <a:pt x="251490" y="426246"/>
                    </a:lnTo>
                    <a:close/>
                    <a:moveTo>
                      <a:pt x="277865" y="393352"/>
                    </a:moveTo>
                    <a:lnTo>
                      <a:pt x="304359" y="360279"/>
                    </a:lnTo>
                    <a:lnTo>
                      <a:pt x="306871" y="361893"/>
                    </a:lnTo>
                    <a:lnTo>
                      <a:pt x="280496" y="394967"/>
                    </a:lnTo>
                    <a:lnTo>
                      <a:pt x="277865" y="393352"/>
                    </a:lnTo>
                    <a:close/>
                    <a:moveTo>
                      <a:pt x="304599" y="359980"/>
                    </a:moveTo>
                    <a:lnTo>
                      <a:pt x="331452" y="326488"/>
                    </a:lnTo>
                    <a:lnTo>
                      <a:pt x="333784" y="328102"/>
                    </a:lnTo>
                    <a:lnTo>
                      <a:pt x="307111" y="361654"/>
                    </a:lnTo>
                    <a:lnTo>
                      <a:pt x="304599" y="359980"/>
                    </a:lnTo>
                    <a:close/>
                    <a:moveTo>
                      <a:pt x="331632" y="326189"/>
                    </a:moveTo>
                    <a:lnTo>
                      <a:pt x="358843" y="292278"/>
                    </a:lnTo>
                    <a:lnTo>
                      <a:pt x="361056" y="293833"/>
                    </a:lnTo>
                    <a:lnTo>
                      <a:pt x="334024" y="327803"/>
                    </a:lnTo>
                    <a:lnTo>
                      <a:pt x="331632" y="326189"/>
                    </a:lnTo>
                    <a:close/>
                    <a:moveTo>
                      <a:pt x="358545" y="292039"/>
                    </a:moveTo>
                    <a:lnTo>
                      <a:pt x="331332" y="325949"/>
                    </a:lnTo>
                    <a:lnTo>
                      <a:pt x="328761" y="324036"/>
                    </a:lnTo>
                    <a:lnTo>
                      <a:pt x="356092" y="290185"/>
                    </a:lnTo>
                    <a:lnTo>
                      <a:pt x="358545" y="292039"/>
                    </a:lnTo>
                    <a:close/>
                    <a:moveTo>
                      <a:pt x="328282" y="324095"/>
                    </a:moveTo>
                    <a:lnTo>
                      <a:pt x="301309" y="357528"/>
                    </a:lnTo>
                    <a:lnTo>
                      <a:pt x="298618" y="355315"/>
                    </a:lnTo>
                    <a:lnTo>
                      <a:pt x="325711" y="321942"/>
                    </a:lnTo>
                    <a:lnTo>
                      <a:pt x="328282" y="324095"/>
                    </a:lnTo>
                    <a:close/>
                    <a:moveTo>
                      <a:pt x="325411" y="321763"/>
                    </a:moveTo>
                    <a:lnTo>
                      <a:pt x="298318" y="355135"/>
                    </a:lnTo>
                    <a:lnTo>
                      <a:pt x="295867" y="352922"/>
                    </a:lnTo>
                    <a:lnTo>
                      <a:pt x="323079" y="319670"/>
                    </a:lnTo>
                    <a:lnTo>
                      <a:pt x="325411" y="321763"/>
                    </a:lnTo>
                    <a:close/>
                    <a:moveTo>
                      <a:pt x="298080" y="355374"/>
                    </a:moveTo>
                    <a:lnTo>
                      <a:pt x="271286" y="388328"/>
                    </a:lnTo>
                    <a:lnTo>
                      <a:pt x="268774" y="385996"/>
                    </a:lnTo>
                    <a:lnTo>
                      <a:pt x="295627" y="353162"/>
                    </a:lnTo>
                    <a:lnTo>
                      <a:pt x="298080" y="355374"/>
                    </a:lnTo>
                    <a:close/>
                    <a:moveTo>
                      <a:pt x="271107" y="388567"/>
                    </a:moveTo>
                    <a:lnTo>
                      <a:pt x="244672" y="421103"/>
                    </a:lnTo>
                    <a:lnTo>
                      <a:pt x="242040" y="418651"/>
                    </a:lnTo>
                    <a:lnTo>
                      <a:pt x="268535" y="386235"/>
                    </a:lnTo>
                    <a:lnTo>
                      <a:pt x="271107" y="388567"/>
                    </a:lnTo>
                    <a:close/>
                    <a:moveTo>
                      <a:pt x="244432" y="421402"/>
                    </a:moveTo>
                    <a:lnTo>
                      <a:pt x="218356" y="453518"/>
                    </a:lnTo>
                    <a:lnTo>
                      <a:pt x="215605" y="450946"/>
                    </a:lnTo>
                    <a:lnTo>
                      <a:pt x="241801" y="418950"/>
                    </a:lnTo>
                    <a:lnTo>
                      <a:pt x="244432" y="421402"/>
                    </a:lnTo>
                    <a:close/>
                    <a:moveTo>
                      <a:pt x="218118" y="453757"/>
                    </a:moveTo>
                    <a:lnTo>
                      <a:pt x="192340" y="485455"/>
                    </a:lnTo>
                    <a:lnTo>
                      <a:pt x="189529" y="482764"/>
                    </a:lnTo>
                    <a:lnTo>
                      <a:pt x="215426" y="451186"/>
                    </a:lnTo>
                    <a:lnTo>
                      <a:pt x="218118" y="453757"/>
                    </a:lnTo>
                    <a:close/>
                    <a:moveTo>
                      <a:pt x="192101" y="485754"/>
                    </a:moveTo>
                    <a:lnTo>
                      <a:pt x="166624" y="517093"/>
                    </a:lnTo>
                    <a:lnTo>
                      <a:pt x="163752" y="514282"/>
                    </a:lnTo>
                    <a:lnTo>
                      <a:pt x="189290" y="483063"/>
                    </a:lnTo>
                    <a:lnTo>
                      <a:pt x="192101" y="485754"/>
                    </a:lnTo>
                    <a:close/>
                    <a:moveTo>
                      <a:pt x="166444" y="517392"/>
                    </a:moveTo>
                    <a:lnTo>
                      <a:pt x="141265" y="548372"/>
                    </a:lnTo>
                    <a:lnTo>
                      <a:pt x="138274" y="545442"/>
                    </a:lnTo>
                    <a:lnTo>
                      <a:pt x="163513" y="514581"/>
                    </a:lnTo>
                    <a:lnTo>
                      <a:pt x="166444" y="517392"/>
                    </a:lnTo>
                    <a:close/>
                    <a:moveTo>
                      <a:pt x="141026" y="548612"/>
                    </a:moveTo>
                    <a:lnTo>
                      <a:pt x="116146" y="579173"/>
                    </a:lnTo>
                    <a:lnTo>
                      <a:pt x="113096" y="576123"/>
                    </a:lnTo>
                    <a:lnTo>
                      <a:pt x="138036" y="545681"/>
                    </a:lnTo>
                    <a:lnTo>
                      <a:pt x="141026" y="548612"/>
                    </a:lnTo>
                    <a:close/>
                    <a:moveTo>
                      <a:pt x="115966" y="579472"/>
                    </a:moveTo>
                    <a:lnTo>
                      <a:pt x="91386" y="609675"/>
                    </a:lnTo>
                    <a:lnTo>
                      <a:pt x="88276" y="606505"/>
                    </a:lnTo>
                    <a:lnTo>
                      <a:pt x="112916" y="576422"/>
                    </a:lnTo>
                    <a:lnTo>
                      <a:pt x="115966" y="579472"/>
                    </a:lnTo>
                    <a:close/>
                    <a:moveTo>
                      <a:pt x="91146" y="609974"/>
                    </a:moveTo>
                    <a:lnTo>
                      <a:pt x="66865" y="639818"/>
                    </a:lnTo>
                    <a:lnTo>
                      <a:pt x="63635" y="636528"/>
                    </a:lnTo>
                    <a:lnTo>
                      <a:pt x="87977" y="606804"/>
                    </a:lnTo>
                    <a:lnTo>
                      <a:pt x="91146" y="609974"/>
                    </a:lnTo>
                    <a:close/>
                    <a:moveTo>
                      <a:pt x="66685" y="640117"/>
                    </a:moveTo>
                    <a:lnTo>
                      <a:pt x="42702" y="669602"/>
                    </a:lnTo>
                    <a:lnTo>
                      <a:pt x="39413" y="666252"/>
                    </a:lnTo>
                    <a:lnTo>
                      <a:pt x="63456" y="636887"/>
                    </a:lnTo>
                    <a:lnTo>
                      <a:pt x="66685" y="640117"/>
                    </a:lnTo>
                    <a:close/>
                    <a:moveTo>
                      <a:pt x="21052" y="685450"/>
                    </a:moveTo>
                    <a:lnTo>
                      <a:pt x="25658" y="689936"/>
                    </a:lnTo>
                    <a:lnTo>
                      <a:pt x="25000" y="690534"/>
                    </a:lnTo>
                    <a:lnTo>
                      <a:pt x="20215" y="685869"/>
                    </a:lnTo>
                    <a:lnTo>
                      <a:pt x="21052" y="685450"/>
                    </a:lnTo>
                    <a:close/>
                    <a:moveTo>
                      <a:pt x="26017" y="690235"/>
                    </a:moveTo>
                    <a:lnTo>
                      <a:pt x="31220" y="694422"/>
                    </a:lnTo>
                    <a:lnTo>
                      <a:pt x="30741" y="695139"/>
                    </a:lnTo>
                    <a:lnTo>
                      <a:pt x="25299" y="690773"/>
                    </a:lnTo>
                    <a:lnTo>
                      <a:pt x="26017" y="690235"/>
                    </a:lnTo>
                    <a:close/>
                    <a:moveTo>
                      <a:pt x="31160" y="695379"/>
                    </a:moveTo>
                    <a:lnTo>
                      <a:pt x="31638" y="694661"/>
                    </a:lnTo>
                    <a:lnTo>
                      <a:pt x="37081" y="698249"/>
                    </a:lnTo>
                    <a:lnTo>
                      <a:pt x="36841" y="699087"/>
                    </a:lnTo>
                    <a:lnTo>
                      <a:pt x="31160" y="695379"/>
                    </a:lnTo>
                    <a:close/>
                    <a:moveTo>
                      <a:pt x="35705" y="700941"/>
                    </a:moveTo>
                    <a:lnTo>
                      <a:pt x="35705" y="700821"/>
                    </a:lnTo>
                    <a:lnTo>
                      <a:pt x="37320" y="701299"/>
                    </a:lnTo>
                    <a:lnTo>
                      <a:pt x="37320" y="701598"/>
                    </a:lnTo>
                    <a:lnTo>
                      <a:pt x="35705" y="700941"/>
                    </a:lnTo>
                    <a:close/>
                    <a:moveTo>
                      <a:pt x="36423" y="700701"/>
                    </a:moveTo>
                    <a:lnTo>
                      <a:pt x="37201" y="700881"/>
                    </a:lnTo>
                    <a:lnTo>
                      <a:pt x="37201" y="700941"/>
                    </a:lnTo>
                    <a:lnTo>
                      <a:pt x="36423" y="700701"/>
                    </a:lnTo>
                    <a:close/>
                    <a:moveTo>
                      <a:pt x="35286" y="701240"/>
                    </a:moveTo>
                    <a:lnTo>
                      <a:pt x="35286" y="701359"/>
                    </a:lnTo>
                    <a:lnTo>
                      <a:pt x="34988" y="701240"/>
                    </a:lnTo>
                    <a:lnTo>
                      <a:pt x="35286" y="701240"/>
                    </a:lnTo>
                    <a:close/>
                    <a:moveTo>
                      <a:pt x="35646" y="701539"/>
                    </a:moveTo>
                    <a:lnTo>
                      <a:pt x="35705" y="701299"/>
                    </a:lnTo>
                    <a:lnTo>
                      <a:pt x="37320" y="701897"/>
                    </a:lnTo>
                    <a:lnTo>
                      <a:pt x="37201" y="702316"/>
                    </a:lnTo>
                    <a:lnTo>
                      <a:pt x="35646" y="701539"/>
                    </a:lnTo>
                    <a:close/>
                    <a:moveTo>
                      <a:pt x="37141" y="699326"/>
                    </a:moveTo>
                    <a:lnTo>
                      <a:pt x="37380" y="698489"/>
                    </a:lnTo>
                    <a:lnTo>
                      <a:pt x="42643" y="701240"/>
                    </a:lnTo>
                    <a:lnTo>
                      <a:pt x="42583" y="702197"/>
                    </a:lnTo>
                    <a:lnTo>
                      <a:pt x="37141" y="699326"/>
                    </a:lnTo>
                    <a:close/>
                    <a:moveTo>
                      <a:pt x="42942" y="702316"/>
                    </a:moveTo>
                    <a:lnTo>
                      <a:pt x="43002" y="701359"/>
                    </a:lnTo>
                    <a:lnTo>
                      <a:pt x="47667" y="703034"/>
                    </a:lnTo>
                    <a:lnTo>
                      <a:pt x="47786" y="704051"/>
                    </a:lnTo>
                    <a:lnTo>
                      <a:pt x="42942" y="702316"/>
                    </a:lnTo>
                    <a:close/>
                    <a:moveTo>
                      <a:pt x="56039" y="677556"/>
                    </a:moveTo>
                    <a:lnTo>
                      <a:pt x="79544" y="648011"/>
                    </a:lnTo>
                    <a:lnTo>
                      <a:pt x="83072" y="648908"/>
                    </a:lnTo>
                    <a:lnTo>
                      <a:pt x="59688" y="678393"/>
                    </a:lnTo>
                    <a:lnTo>
                      <a:pt x="56039" y="677556"/>
                    </a:lnTo>
                    <a:close/>
                    <a:moveTo>
                      <a:pt x="79783" y="647652"/>
                    </a:moveTo>
                    <a:lnTo>
                      <a:pt x="103587" y="617749"/>
                    </a:lnTo>
                    <a:lnTo>
                      <a:pt x="106935" y="618706"/>
                    </a:lnTo>
                    <a:lnTo>
                      <a:pt x="83252" y="648609"/>
                    </a:lnTo>
                    <a:lnTo>
                      <a:pt x="79783" y="647652"/>
                    </a:lnTo>
                    <a:close/>
                    <a:moveTo>
                      <a:pt x="103885" y="617450"/>
                    </a:moveTo>
                    <a:lnTo>
                      <a:pt x="127988" y="587127"/>
                    </a:lnTo>
                    <a:lnTo>
                      <a:pt x="131158" y="588084"/>
                    </a:lnTo>
                    <a:lnTo>
                      <a:pt x="107175" y="618347"/>
                    </a:lnTo>
                    <a:lnTo>
                      <a:pt x="103885" y="617450"/>
                    </a:lnTo>
                    <a:close/>
                    <a:moveTo>
                      <a:pt x="128227" y="586828"/>
                    </a:moveTo>
                    <a:lnTo>
                      <a:pt x="152628" y="556147"/>
                    </a:lnTo>
                    <a:lnTo>
                      <a:pt x="155678" y="557164"/>
                    </a:lnTo>
                    <a:lnTo>
                      <a:pt x="131397" y="587785"/>
                    </a:lnTo>
                    <a:lnTo>
                      <a:pt x="128227" y="586828"/>
                    </a:lnTo>
                    <a:close/>
                    <a:moveTo>
                      <a:pt x="152868" y="555908"/>
                    </a:moveTo>
                    <a:lnTo>
                      <a:pt x="177568" y="524868"/>
                    </a:lnTo>
                    <a:lnTo>
                      <a:pt x="180439" y="525945"/>
                    </a:lnTo>
                    <a:lnTo>
                      <a:pt x="155858" y="556985"/>
                    </a:lnTo>
                    <a:lnTo>
                      <a:pt x="152868" y="555908"/>
                    </a:lnTo>
                    <a:close/>
                    <a:moveTo>
                      <a:pt x="177867" y="524509"/>
                    </a:moveTo>
                    <a:lnTo>
                      <a:pt x="202926" y="493051"/>
                    </a:lnTo>
                    <a:lnTo>
                      <a:pt x="205617" y="494127"/>
                    </a:lnTo>
                    <a:lnTo>
                      <a:pt x="180738" y="525526"/>
                    </a:lnTo>
                    <a:lnTo>
                      <a:pt x="177867" y="524509"/>
                    </a:lnTo>
                    <a:close/>
                    <a:moveTo>
                      <a:pt x="203106" y="492811"/>
                    </a:moveTo>
                    <a:lnTo>
                      <a:pt x="228464" y="460994"/>
                    </a:lnTo>
                    <a:lnTo>
                      <a:pt x="231035" y="462130"/>
                    </a:lnTo>
                    <a:lnTo>
                      <a:pt x="205857" y="493948"/>
                    </a:lnTo>
                    <a:lnTo>
                      <a:pt x="203106" y="492811"/>
                    </a:lnTo>
                    <a:close/>
                    <a:moveTo>
                      <a:pt x="228703" y="460635"/>
                    </a:moveTo>
                    <a:lnTo>
                      <a:pt x="254360" y="428399"/>
                    </a:lnTo>
                    <a:lnTo>
                      <a:pt x="256753" y="429535"/>
                    </a:lnTo>
                    <a:lnTo>
                      <a:pt x="231215" y="461772"/>
                    </a:lnTo>
                    <a:lnTo>
                      <a:pt x="228703" y="460635"/>
                    </a:lnTo>
                    <a:close/>
                    <a:moveTo>
                      <a:pt x="254600" y="428100"/>
                    </a:moveTo>
                    <a:lnTo>
                      <a:pt x="280616" y="395445"/>
                    </a:lnTo>
                    <a:lnTo>
                      <a:pt x="282888" y="396582"/>
                    </a:lnTo>
                    <a:lnTo>
                      <a:pt x="257052" y="429236"/>
                    </a:lnTo>
                    <a:lnTo>
                      <a:pt x="254600" y="428100"/>
                    </a:lnTo>
                    <a:close/>
                    <a:moveTo>
                      <a:pt x="280855" y="395146"/>
                    </a:moveTo>
                    <a:lnTo>
                      <a:pt x="307171" y="362073"/>
                    </a:lnTo>
                    <a:lnTo>
                      <a:pt x="309264" y="363209"/>
                    </a:lnTo>
                    <a:lnTo>
                      <a:pt x="283068" y="396283"/>
                    </a:lnTo>
                    <a:lnTo>
                      <a:pt x="280855" y="395146"/>
                    </a:lnTo>
                    <a:close/>
                    <a:moveTo>
                      <a:pt x="307409" y="361774"/>
                    </a:moveTo>
                    <a:lnTo>
                      <a:pt x="334084" y="328282"/>
                    </a:lnTo>
                    <a:lnTo>
                      <a:pt x="336057" y="329418"/>
                    </a:lnTo>
                    <a:lnTo>
                      <a:pt x="309502" y="362910"/>
                    </a:lnTo>
                    <a:lnTo>
                      <a:pt x="307409" y="361774"/>
                    </a:lnTo>
                    <a:close/>
                    <a:moveTo>
                      <a:pt x="334323" y="327983"/>
                    </a:moveTo>
                    <a:lnTo>
                      <a:pt x="361356" y="294012"/>
                    </a:lnTo>
                    <a:lnTo>
                      <a:pt x="363210" y="295149"/>
                    </a:lnTo>
                    <a:lnTo>
                      <a:pt x="336297" y="329119"/>
                    </a:lnTo>
                    <a:lnTo>
                      <a:pt x="334323" y="327983"/>
                    </a:lnTo>
                    <a:close/>
                    <a:moveTo>
                      <a:pt x="386774" y="257350"/>
                    </a:moveTo>
                    <a:lnTo>
                      <a:pt x="412610" y="225114"/>
                    </a:lnTo>
                    <a:lnTo>
                      <a:pt x="414524" y="226610"/>
                    </a:lnTo>
                    <a:lnTo>
                      <a:pt x="388867" y="258846"/>
                    </a:lnTo>
                    <a:lnTo>
                      <a:pt x="386774" y="257350"/>
                    </a:lnTo>
                    <a:close/>
                    <a:moveTo>
                      <a:pt x="386295" y="257410"/>
                    </a:moveTo>
                    <a:lnTo>
                      <a:pt x="358783" y="291799"/>
                    </a:lnTo>
                    <a:lnTo>
                      <a:pt x="356392" y="289945"/>
                    </a:lnTo>
                    <a:lnTo>
                      <a:pt x="384083" y="255676"/>
                    </a:lnTo>
                    <a:lnTo>
                      <a:pt x="386295" y="257410"/>
                    </a:lnTo>
                    <a:close/>
                    <a:moveTo>
                      <a:pt x="355793" y="289945"/>
                    </a:moveTo>
                    <a:lnTo>
                      <a:pt x="328462" y="323796"/>
                    </a:lnTo>
                    <a:lnTo>
                      <a:pt x="325890" y="321703"/>
                    </a:lnTo>
                    <a:lnTo>
                      <a:pt x="353342" y="287912"/>
                    </a:lnTo>
                    <a:lnTo>
                      <a:pt x="355793" y="289945"/>
                    </a:lnTo>
                    <a:close/>
                    <a:moveTo>
                      <a:pt x="353102" y="287733"/>
                    </a:moveTo>
                    <a:lnTo>
                      <a:pt x="325651" y="321524"/>
                    </a:lnTo>
                    <a:lnTo>
                      <a:pt x="323318" y="319430"/>
                    </a:lnTo>
                    <a:lnTo>
                      <a:pt x="350889" y="285759"/>
                    </a:lnTo>
                    <a:lnTo>
                      <a:pt x="353102" y="287733"/>
                    </a:lnTo>
                    <a:close/>
                    <a:moveTo>
                      <a:pt x="350590" y="285460"/>
                    </a:moveTo>
                    <a:lnTo>
                      <a:pt x="323019" y="319131"/>
                    </a:lnTo>
                    <a:lnTo>
                      <a:pt x="321046" y="317158"/>
                    </a:lnTo>
                    <a:lnTo>
                      <a:pt x="348676" y="283606"/>
                    </a:lnTo>
                    <a:lnTo>
                      <a:pt x="350590" y="285460"/>
                    </a:lnTo>
                    <a:close/>
                    <a:moveTo>
                      <a:pt x="322780" y="319430"/>
                    </a:moveTo>
                    <a:lnTo>
                      <a:pt x="295568" y="352683"/>
                    </a:lnTo>
                    <a:lnTo>
                      <a:pt x="293534" y="350590"/>
                    </a:lnTo>
                    <a:lnTo>
                      <a:pt x="320806" y="317516"/>
                    </a:lnTo>
                    <a:lnTo>
                      <a:pt x="322780" y="319430"/>
                    </a:lnTo>
                    <a:close/>
                    <a:moveTo>
                      <a:pt x="295388" y="352922"/>
                    </a:moveTo>
                    <a:lnTo>
                      <a:pt x="268535" y="385757"/>
                    </a:lnTo>
                    <a:lnTo>
                      <a:pt x="266441" y="383544"/>
                    </a:lnTo>
                    <a:lnTo>
                      <a:pt x="293355" y="350889"/>
                    </a:lnTo>
                    <a:lnTo>
                      <a:pt x="295388" y="352922"/>
                    </a:lnTo>
                    <a:close/>
                    <a:moveTo>
                      <a:pt x="268296" y="385996"/>
                    </a:moveTo>
                    <a:lnTo>
                      <a:pt x="241801" y="418411"/>
                    </a:lnTo>
                    <a:lnTo>
                      <a:pt x="239648" y="416079"/>
                    </a:lnTo>
                    <a:lnTo>
                      <a:pt x="266202" y="383843"/>
                    </a:lnTo>
                    <a:lnTo>
                      <a:pt x="268296" y="385996"/>
                    </a:lnTo>
                    <a:close/>
                    <a:moveTo>
                      <a:pt x="241561" y="418651"/>
                    </a:moveTo>
                    <a:lnTo>
                      <a:pt x="215366" y="450647"/>
                    </a:lnTo>
                    <a:lnTo>
                      <a:pt x="213153" y="448195"/>
                    </a:lnTo>
                    <a:lnTo>
                      <a:pt x="239408" y="416318"/>
                    </a:lnTo>
                    <a:lnTo>
                      <a:pt x="241561" y="418651"/>
                    </a:lnTo>
                    <a:close/>
                    <a:moveTo>
                      <a:pt x="215127" y="450946"/>
                    </a:moveTo>
                    <a:lnTo>
                      <a:pt x="189290" y="482525"/>
                    </a:lnTo>
                    <a:lnTo>
                      <a:pt x="187017" y="479893"/>
                    </a:lnTo>
                    <a:lnTo>
                      <a:pt x="212914" y="448434"/>
                    </a:lnTo>
                    <a:lnTo>
                      <a:pt x="215127" y="450946"/>
                    </a:lnTo>
                    <a:close/>
                    <a:moveTo>
                      <a:pt x="189051" y="482824"/>
                    </a:moveTo>
                    <a:lnTo>
                      <a:pt x="163513" y="514043"/>
                    </a:lnTo>
                    <a:lnTo>
                      <a:pt x="161241" y="511292"/>
                    </a:lnTo>
                    <a:lnTo>
                      <a:pt x="186838" y="480192"/>
                    </a:lnTo>
                    <a:lnTo>
                      <a:pt x="189051" y="482824"/>
                    </a:lnTo>
                    <a:close/>
                    <a:moveTo>
                      <a:pt x="163274" y="514282"/>
                    </a:moveTo>
                    <a:lnTo>
                      <a:pt x="138036" y="545083"/>
                    </a:lnTo>
                    <a:lnTo>
                      <a:pt x="135703" y="542212"/>
                    </a:lnTo>
                    <a:lnTo>
                      <a:pt x="161001" y="511531"/>
                    </a:lnTo>
                    <a:lnTo>
                      <a:pt x="163274" y="514282"/>
                    </a:lnTo>
                    <a:close/>
                    <a:moveTo>
                      <a:pt x="137796" y="545442"/>
                    </a:moveTo>
                    <a:lnTo>
                      <a:pt x="112856" y="575884"/>
                    </a:lnTo>
                    <a:lnTo>
                      <a:pt x="110464" y="572834"/>
                    </a:lnTo>
                    <a:lnTo>
                      <a:pt x="135464" y="542511"/>
                    </a:lnTo>
                    <a:lnTo>
                      <a:pt x="137796" y="545442"/>
                    </a:lnTo>
                    <a:close/>
                    <a:moveTo>
                      <a:pt x="112617" y="576183"/>
                    </a:moveTo>
                    <a:lnTo>
                      <a:pt x="87977" y="606266"/>
                    </a:lnTo>
                    <a:lnTo>
                      <a:pt x="85584" y="603096"/>
                    </a:lnTo>
                    <a:lnTo>
                      <a:pt x="110225" y="573133"/>
                    </a:lnTo>
                    <a:lnTo>
                      <a:pt x="112617" y="576183"/>
                    </a:lnTo>
                    <a:close/>
                    <a:moveTo>
                      <a:pt x="87797" y="606505"/>
                    </a:moveTo>
                    <a:lnTo>
                      <a:pt x="63456" y="636229"/>
                    </a:lnTo>
                    <a:lnTo>
                      <a:pt x="61004" y="632940"/>
                    </a:lnTo>
                    <a:lnTo>
                      <a:pt x="85345" y="603335"/>
                    </a:lnTo>
                    <a:lnTo>
                      <a:pt x="87797" y="606505"/>
                    </a:lnTo>
                    <a:close/>
                    <a:moveTo>
                      <a:pt x="63217" y="636528"/>
                    </a:moveTo>
                    <a:lnTo>
                      <a:pt x="39174" y="665894"/>
                    </a:lnTo>
                    <a:lnTo>
                      <a:pt x="36662" y="662425"/>
                    </a:lnTo>
                    <a:lnTo>
                      <a:pt x="60764" y="633179"/>
                    </a:lnTo>
                    <a:lnTo>
                      <a:pt x="63217" y="636528"/>
                    </a:lnTo>
                    <a:close/>
                    <a:moveTo>
                      <a:pt x="19437" y="681264"/>
                    </a:moveTo>
                    <a:cubicBezTo>
                      <a:pt x="19437" y="681264"/>
                      <a:pt x="19437" y="681264"/>
                      <a:pt x="19437" y="681264"/>
                    </a:cubicBezTo>
                    <a:cubicBezTo>
                      <a:pt x="19437" y="681264"/>
                      <a:pt x="19437" y="681264"/>
                      <a:pt x="19437" y="681264"/>
                    </a:cubicBezTo>
                    <a:cubicBezTo>
                      <a:pt x="19497" y="681264"/>
                      <a:pt x="19497" y="681264"/>
                      <a:pt x="19497" y="681264"/>
                    </a:cubicBezTo>
                    <a:cubicBezTo>
                      <a:pt x="19497" y="681264"/>
                      <a:pt x="19497" y="681264"/>
                      <a:pt x="19497" y="681264"/>
                    </a:cubicBezTo>
                    <a:cubicBezTo>
                      <a:pt x="19497" y="681264"/>
                      <a:pt x="19497" y="681264"/>
                      <a:pt x="19497" y="681264"/>
                    </a:cubicBezTo>
                    <a:cubicBezTo>
                      <a:pt x="19497" y="681264"/>
                      <a:pt x="19497" y="681264"/>
                      <a:pt x="19497" y="681264"/>
                    </a:cubicBezTo>
                    <a:lnTo>
                      <a:pt x="36363" y="662784"/>
                    </a:lnTo>
                    <a:lnTo>
                      <a:pt x="38875" y="666252"/>
                    </a:lnTo>
                    <a:lnTo>
                      <a:pt x="22667" y="685092"/>
                    </a:lnTo>
                    <a:lnTo>
                      <a:pt x="21052" y="685092"/>
                    </a:lnTo>
                    <a:lnTo>
                      <a:pt x="17524" y="680786"/>
                    </a:lnTo>
                    <a:lnTo>
                      <a:pt x="19437" y="681264"/>
                    </a:lnTo>
                    <a:close/>
                    <a:moveTo>
                      <a:pt x="12560" y="677317"/>
                    </a:moveTo>
                    <a:lnTo>
                      <a:pt x="13158" y="676599"/>
                    </a:lnTo>
                    <a:lnTo>
                      <a:pt x="15729" y="680786"/>
                    </a:lnTo>
                    <a:lnTo>
                      <a:pt x="15131" y="681503"/>
                    </a:lnTo>
                    <a:lnTo>
                      <a:pt x="12560" y="677317"/>
                    </a:lnTo>
                    <a:close/>
                    <a:moveTo>
                      <a:pt x="15311" y="681862"/>
                    </a:moveTo>
                    <a:lnTo>
                      <a:pt x="15909" y="681085"/>
                    </a:lnTo>
                    <a:lnTo>
                      <a:pt x="19737" y="685690"/>
                    </a:lnTo>
                    <a:lnTo>
                      <a:pt x="19139" y="686467"/>
                    </a:lnTo>
                    <a:lnTo>
                      <a:pt x="19139" y="686467"/>
                    </a:lnTo>
                    <a:lnTo>
                      <a:pt x="18899" y="685929"/>
                    </a:lnTo>
                    <a:cubicBezTo>
                      <a:pt x="18899" y="685929"/>
                      <a:pt x="18899" y="685929"/>
                      <a:pt x="18899" y="685929"/>
                    </a:cubicBezTo>
                    <a:lnTo>
                      <a:pt x="18899" y="685929"/>
                    </a:lnTo>
                    <a:cubicBezTo>
                      <a:pt x="18899" y="685929"/>
                      <a:pt x="18899" y="685929"/>
                      <a:pt x="18899" y="685929"/>
                    </a:cubicBezTo>
                    <a:cubicBezTo>
                      <a:pt x="18899" y="685929"/>
                      <a:pt x="18899" y="685929"/>
                      <a:pt x="18899" y="685869"/>
                    </a:cubicBezTo>
                    <a:lnTo>
                      <a:pt x="18660" y="685570"/>
                    </a:lnTo>
                    <a:cubicBezTo>
                      <a:pt x="18660" y="685570"/>
                      <a:pt x="18660" y="685570"/>
                      <a:pt x="18660" y="685570"/>
                    </a:cubicBezTo>
                    <a:cubicBezTo>
                      <a:pt x="18660" y="685570"/>
                      <a:pt x="18660" y="685570"/>
                      <a:pt x="18660" y="685570"/>
                    </a:cubicBezTo>
                    <a:cubicBezTo>
                      <a:pt x="18660" y="685570"/>
                      <a:pt x="18660" y="685570"/>
                      <a:pt x="18660" y="685570"/>
                    </a:cubicBezTo>
                    <a:cubicBezTo>
                      <a:pt x="18660" y="685570"/>
                      <a:pt x="18660" y="685570"/>
                      <a:pt x="18660" y="685570"/>
                    </a:cubicBezTo>
                    <a:lnTo>
                      <a:pt x="18660" y="685570"/>
                    </a:lnTo>
                    <a:cubicBezTo>
                      <a:pt x="18660" y="685570"/>
                      <a:pt x="18660" y="685570"/>
                      <a:pt x="18660" y="685570"/>
                    </a:cubicBezTo>
                    <a:cubicBezTo>
                      <a:pt x="18660" y="685570"/>
                      <a:pt x="18660" y="685570"/>
                      <a:pt x="18660" y="685570"/>
                    </a:cubicBezTo>
                    <a:cubicBezTo>
                      <a:pt x="18660" y="685570"/>
                      <a:pt x="18660" y="685570"/>
                      <a:pt x="18660" y="685570"/>
                    </a:cubicBezTo>
                    <a:lnTo>
                      <a:pt x="18301" y="685331"/>
                    </a:lnTo>
                    <a:lnTo>
                      <a:pt x="15311" y="681862"/>
                    </a:lnTo>
                    <a:close/>
                    <a:moveTo>
                      <a:pt x="16387" y="684673"/>
                    </a:moveTo>
                    <a:lnTo>
                      <a:pt x="17464" y="685331"/>
                    </a:lnTo>
                    <a:lnTo>
                      <a:pt x="17284" y="685391"/>
                    </a:lnTo>
                    <a:lnTo>
                      <a:pt x="16328" y="684673"/>
                    </a:lnTo>
                    <a:lnTo>
                      <a:pt x="16387" y="684673"/>
                    </a:lnTo>
                    <a:close/>
                    <a:moveTo>
                      <a:pt x="15431" y="685032"/>
                    </a:moveTo>
                    <a:lnTo>
                      <a:pt x="16328" y="685809"/>
                    </a:lnTo>
                    <a:lnTo>
                      <a:pt x="15909" y="686049"/>
                    </a:lnTo>
                    <a:lnTo>
                      <a:pt x="15191" y="685151"/>
                    </a:lnTo>
                    <a:lnTo>
                      <a:pt x="15431" y="685032"/>
                    </a:lnTo>
                    <a:close/>
                    <a:moveTo>
                      <a:pt x="16567" y="686108"/>
                    </a:moveTo>
                    <a:lnTo>
                      <a:pt x="17644" y="687424"/>
                    </a:lnTo>
                    <a:lnTo>
                      <a:pt x="17404" y="687604"/>
                    </a:lnTo>
                    <a:lnTo>
                      <a:pt x="16148" y="686348"/>
                    </a:lnTo>
                    <a:lnTo>
                      <a:pt x="16567" y="686108"/>
                    </a:lnTo>
                    <a:close/>
                    <a:moveTo>
                      <a:pt x="17882" y="687783"/>
                    </a:moveTo>
                    <a:lnTo>
                      <a:pt x="18122" y="688202"/>
                    </a:lnTo>
                    <a:lnTo>
                      <a:pt x="17703" y="687903"/>
                    </a:lnTo>
                    <a:lnTo>
                      <a:pt x="17882" y="687783"/>
                    </a:lnTo>
                    <a:close/>
                    <a:moveTo>
                      <a:pt x="19437" y="686826"/>
                    </a:moveTo>
                    <a:lnTo>
                      <a:pt x="20036" y="686049"/>
                    </a:lnTo>
                    <a:lnTo>
                      <a:pt x="24820" y="690714"/>
                    </a:lnTo>
                    <a:lnTo>
                      <a:pt x="24222" y="691491"/>
                    </a:lnTo>
                    <a:lnTo>
                      <a:pt x="19437" y="686826"/>
                    </a:lnTo>
                    <a:close/>
                    <a:moveTo>
                      <a:pt x="24581" y="691790"/>
                    </a:moveTo>
                    <a:lnTo>
                      <a:pt x="25179" y="691013"/>
                    </a:lnTo>
                    <a:lnTo>
                      <a:pt x="30621" y="695379"/>
                    </a:lnTo>
                    <a:lnTo>
                      <a:pt x="30023" y="696156"/>
                    </a:lnTo>
                    <a:lnTo>
                      <a:pt x="24581" y="691790"/>
                    </a:lnTo>
                    <a:close/>
                    <a:moveTo>
                      <a:pt x="30980" y="695618"/>
                    </a:moveTo>
                    <a:lnTo>
                      <a:pt x="36662" y="699386"/>
                    </a:lnTo>
                    <a:lnTo>
                      <a:pt x="36064" y="700163"/>
                    </a:lnTo>
                    <a:lnTo>
                      <a:pt x="30383" y="696455"/>
                    </a:lnTo>
                    <a:lnTo>
                      <a:pt x="30980" y="695618"/>
                    </a:lnTo>
                    <a:close/>
                    <a:moveTo>
                      <a:pt x="35167" y="701658"/>
                    </a:moveTo>
                    <a:lnTo>
                      <a:pt x="35107" y="701838"/>
                    </a:lnTo>
                    <a:lnTo>
                      <a:pt x="34748" y="701539"/>
                    </a:lnTo>
                    <a:lnTo>
                      <a:pt x="35167" y="701658"/>
                    </a:lnTo>
                    <a:close/>
                    <a:moveTo>
                      <a:pt x="35406" y="702077"/>
                    </a:moveTo>
                    <a:lnTo>
                      <a:pt x="35526" y="701778"/>
                    </a:lnTo>
                    <a:lnTo>
                      <a:pt x="37081" y="702555"/>
                    </a:lnTo>
                    <a:lnTo>
                      <a:pt x="36901" y="703034"/>
                    </a:lnTo>
                    <a:lnTo>
                      <a:pt x="35406" y="702077"/>
                    </a:lnTo>
                    <a:close/>
                    <a:moveTo>
                      <a:pt x="37261" y="703273"/>
                    </a:moveTo>
                    <a:lnTo>
                      <a:pt x="37439" y="702854"/>
                    </a:lnTo>
                    <a:lnTo>
                      <a:pt x="38456" y="703572"/>
                    </a:lnTo>
                    <a:lnTo>
                      <a:pt x="38337" y="703871"/>
                    </a:lnTo>
                    <a:lnTo>
                      <a:pt x="37261" y="703273"/>
                    </a:lnTo>
                    <a:close/>
                    <a:moveTo>
                      <a:pt x="37679" y="701778"/>
                    </a:moveTo>
                    <a:lnTo>
                      <a:pt x="37679" y="701598"/>
                    </a:lnTo>
                    <a:lnTo>
                      <a:pt x="38636" y="702555"/>
                    </a:lnTo>
                    <a:lnTo>
                      <a:pt x="38636" y="702615"/>
                    </a:lnTo>
                    <a:lnTo>
                      <a:pt x="37679" y="701778"/>
                    </a:lnTo>
                    <a:close/>
                    <a:moveTo>
                      <a:pt x="37439" y="700641"/>
                    </a:moveTo>
                    <a:cubicBezTo>
                      <a:pt x="37439" y="700641"/>
                      <a:pt x="37439" y="700641"/>
                      <a:pt x="37439" y="700641"/>
                    </a:cubicBezTo>
                    <a:cubicBezTo>
                      <a:pt x="37439" y="700641"/>
                      <a:pt x="37439" y="700641"/>
                      <a:pt x="37439" y="700641"/>
                    </a:cubicBezTo>
                    <a:cubicBezTo>
                      <a:pt x="37380" y="700641"/>
                      <a:pt x="37380" y="700641"/>
                      <a:pt x="37439" y="700641"/>
                    </a:cubicBezTo>
                    <a:cubicBezTo>
                      <a:pt x="37380" y="700641"/>
                      <a:pt x="37380" y="700641"/>
                      <a:pt x="37439" y="700641"/>
                    </a:cubicBezTo>
                    <a:cubicBezTo>
                      <a:pt x="37380" y="700582"/>
                      <a:pt x="37380" y="700582"/>
                      <a:pt x="37380" y="700582"/>
                    </a:cubicBezTo>
                    <a:cubicBezTo>
                      <a:pt x="37380" y="700582"/>
                      <a:pt x="37380" y="700582"/>
                      <a:pt x="37380" y="700582"/>
                    </a:cubicBezTo>
                    <a:cubicBezTo>
                      <a:pt x="37380" y="700582"/>
                      <a:pt x="37380" y="700582"/>
                      <a:pt x="37380" y="700582"/>
                    </a:cubicBezTo>
                    <a:lnTo>
                      <a:pt x="37081" y="700402"/>
                    </a:lnTo>
                    <a:cubicBezTo>
                      <a:pt x="37081" y="700402"/>
                      <a:pt x="37081" y="700402"/>
                      <a:pt x="37021" y="700402"/>
                    </a:cubicBezTo>
                    <a:cubicBezTo>
                      <a:pt x="36961" y="700402"/>
                      <a:pt x="37021" y="700402"/>
                      <a:pt x="36961" y="700402"/>
                    </a:cubicBezTo>
                    <a:lnTo>
                      <a:pt x="36423" y="700283"/>
                    </a:lnTo>
                    <a:lnTo>
                      <a:pt x="37021" y="699565"/>
                    </a:lnTo>
                    <a:lnTo>
                      <a:pt x="42464" y="702376"/>
                    </a:lnTo>
                    <a:lnTo>
                      <a:pt x="41865" y="703153"/>
                    </a:lnTo>
                    <a:lnTo>
                      <a:pt x="37799" y="701060"/>
                    </a:lnTo>
                    <a:lnTo>
                      <a:pt x="37439" y="700641"/>
                    </a:lnTo>
                    <a:close/>
                    <a:moveTo>
                      <a:pt x="42882" y="702615"/>
                    </a:moveTo>
                    <a:lnTo>
                      <a:pt x="47727" y="704350"/>
                    </a:lnTo>
                    <a:lnTo>
                      <a:pt x="47128" y="705067"/>
                    </a:lnTo>
                    <a:lnTo>
                      <a:pt x="42284" y="703333"/>
                    </a:lnTo>
                    <a:lnTo>
                      <a:pt x="42882" y="702615"/>
                    </a:lnTo>
                    <a:close/>
                    <a:moveTo>
                      <a:pt x="48145" y="704469"/>
                    </a:moveTo>
                    <a:lnTo>
                      <a:pt x="51913" y="705007"/>
                    </a:lnTo>
                    <a:lnTo>
                      <a:pt x="51375" y="705665"/>
                    </a:lnTo>
                    <a:lnTo>
                      <a:pt x="47607" y="705127"/>
                    </a:lnTo>
                    <a:lnTo>
                      <a:pt x="48145" y="704469"/>
                    </a:lnTo>
                    <a:close/>
                    <a:moveTo>
                      <a:pt x="52451" y="705007"/>
                    </a:moveTo>
                    <a:lnTo>
                      <a:pt x="54843" y="704469"/>
                    </a:lnTo>
                    <a:lnTo>
                      <a:pt x="54425" y="704948"/>
                    </a:lnTo>
                    <a:lnTo>
                      <a:pt x="52033" y="705486"/>
                    </a:lnTo>
                    <a:lnTo>
                      <a:pt x="52451" y="705007"/>
                    </a:lnTo>
                    <a:close/>
                    <a:moveTo>
                      <a:pt x="55382" y="703751"/>
                    </a:moveTo>
                    <a:lnTo>
                      <a:pt x="55083" y="702914"/>
                    </a:lnTo>
                    <a:lnTo>
                      <a:pt x="56399" y="701359"/>
                    </a:lnTo>
                    <a:lnTo>
                      <a:pt x="56698" y="702137"/>
                    </a:lnTo>
                    <a:lnTo>
                      <a:pt x="55382" y="703751"/>
                    </a:lnTo>
                    <a:close/>
                    <a:moveTo>
                      <a:pt x="54066" y="699027"/>
                    </a:moveTo>
                    <a:lnTo>
                      <a:pt x="55262" y="697472"/>
                    </a:lnTo>
                    <a:lnTo>
                      <a:pt x="56399" y="698130"/>
                    </a:lnTo>
                    <a:lnTo>
                      <a:pt x="56339" y="700641"/>
                    </a:lnTo>
                    <a:lnTo>
                      <a:pt x="54066" y="699027"/>
                    </a:lnTo>
                    <a:close/>
                    <a:moveTo>
                      <a:pt x="55382" y="697233"/>
                    </a:moveTo>
                    <a:lnTo>
                      <a:pt x="55801" y="696634"/>
                    </a:lnTo>
                    <a:lnTo>
                      <a:pt x="56159" y="697711"/>
                    </a:lnTo>
                    <a:lnTo>
                      <a:pt x="55382" y="697233"/>
                    </a:lnTo>
                    <a:close/>
                    <a:moveTo>
                      <a:pt x="52691" y="700641"/>
                    </a:moveTo>
                    <a:lnTo>
                      <a:pt x="53827" y="699206"/>
                    </a:lnTo>
                    <a:lnTo>
                      <a:pt x="56219" y="700941"/>
                    </a:lnTo>
                    <a:lnTo>
                      <a:pt x="54843" y="702555"/>
                    </a:lnTo>
                    <a:lnTo>
                      <a:pt x="52691" y="700641"/>
                    </a:lnTo>
                    <a:close/>
                    <a:moveTo>
                      <a:pt x="55143" y="703991"/>
                    </a:moveTo>
                    <a:lnTo>
                      <a:pt x="52451" y="704589"/>
                    </a:lnTo>
                    <a:lnTo>
                      <a:pt x="52212" y="703572"/>
                    </a:lnTo>
                    <a:lnTo>
                      <a:pt x="54843" y="702974"/>
                    </a:lnTo>
                    <a:lnTo>
                      <a:pt x="55143" y="703991"/>
                    </a:lnTo>
                    <a:close/>
                    <a:moveTo>
                      <a:pt x="60166" y="678393"/>
                    </a:moveTo>
                    <a:lnTo>
                      <a:pt x="83491" y="648968"/>
                    </a:lnTo>
                    <a:lnTo>
                      <a:pt x="86302" y="649028"/>
                    </a:lnTo>
                    <a:lnTo>
                      <a:pt x="63157" y="678393"/>
                    </a:lnTo>
                    <a:lnTo>
                      <a:pt x="60166" y="678393"/>
                    </a:lnTo>
                    <a:close/>
                    <a:moveTo>
                      <a:pt x="83790" y="648609"/>
                    </a:moveTo>
                    <a:lnTo>
                      <a:pt x="107414" y="618765"/>
                    </a:lnTo>
                    <a:lnTo>
                      <a:pt x="110105" y="618885"/>
                    </a:lnTo>
                    <a:lnTo>
                      <a:pt x="86661" y="648609"/>
                    </a:lnTo>
                    <a:lnTo>
                      <a:pt x="83790" y="648609"/>
                    </a:lnTo>
                    <a:close/>
                    <a:moveTo>
                      <a:pt x="107653" y="618466"/>
                    </a:moveTo>
                    <a:lnTo>
                      <a:pt x="131576" y="588264"/>
                    </a:lnTo>
                    <a:lnTo>
                      <a:pt x="134088" y="588443"/>
                    </a:lnTo>
                    <a:lnTo>
                      <a:pt x="110345" y="618586"/>
                    </a:lnTo>
                    <a:lnTo>
                      <a:pt x="107653" y="618466"/>
                    </a:lnTo>
                    <a:close/>
                    <a:moveTo>
                      <a:pt x="131875" y="587905"/>
                    </a:moveTo>
                    <a:lnTo>
                      <a:pt x="156097" y="557343"/>
                    </a:lnTo>
                    <a:lnTo>
                      <a:pt x="158489" y="557643"/>
                    </a:lnTo>
                    <a:lnTo>
                      <a:pt x="134387" y="588144"/>
                    </a:lnTo>
                    <a:lnTo>
                      <a:pt x="131875" y="587905"/>
                    </a:lnTo>
                    <a:close/>
                    <a:moveTo>
                      <a:pt x="156336" y="556985"/>
                    </a:moveTo>
                    <a:lnTo>
                      <a:pt x="180857" y="526004"/>
                    </a:lnTo>
                    <a:lnTo>
                      <a:pt x="183071" y="526363"/>
                    </a:lnTo>
                    <a:lnTo>
                      <a:pt x="158669" y="557284"/>
                    </a:lnTo>
                    <a:lnTo>
                      <a:pt x="156336" y="556985"/>
                    </a:lnTo>
                    <a:close/>
                    <a:moveTo>
                      <a:pt x="181156" y="525646"/>
                    </a:moveTo>
                    <a:lnTo>
                      <a:pt x="206036" y="494247"/>
                    </a:lnTo>
                    <a:lnTo>
                      <a:pt x="208129" y="494666"/>
                    </a:lnTo>
                    <a:lnTo>
                      <a:pt x="183429" y="526004"/>
                    </a:lnTo>
                    <a:lnTo>
                      <a:pt x="181156" y="525646"/>
                    </a:lnTo>
                    <a:close/>
                    <a:moveTo>
                      <a:pt x="206216" y="493948"/>
                    </a:moveTo>
                    <a:lnTo>
                      <a:pt x="231395" y="462190"/>
                    </a:lnTo>
                    <a:lnTo>
                      <a:pt x="233368" y="462669"/>
                    </a:lnTo>
                    <a:lnTo>
                      <a:pt x="208309" y="494426"/>
                    </a:lnTo>
                    <a:lnTo>
                      <a:pt x="206216" y="493948"/>
                    </a:lnTo>
                    <a:close/>
                    <a:moveTo>
                      <a:pt x="231634" y="461891"/>
                    </a:moveTo>
                    <a:lnTo>
                      <a:pt x="257111" y="429715"/>
                    </a:lnTo>
                    <a:lnTo>
                      <a:pt x="258906" y="430253"/>
                    </a:lnTo>
                    <a:lnTo>
                      <a:pt x="233548" y="462429"/>
                    </a:lnTo>
                    <a:lnTo>
                      <a:pt x="231634" y="461891"/>
                    </a:lnTo>
                    <a:close/>
                    <a:moveTo>
                      <a:pt x="257411" y="429356"/>
                    </a:moveTo>
                    <a:lnTo>
                      <a:pt x="283248" y="396761"/>
                    </a:lnTo>
                    <a:lnTo>
                      <a:pt x="284922" y="397299"/>
                    </a:lnTo>
                    <a:lnTo>
                      <a:pt x="259205" y="429894"/>
                    </a:lnTo>
                    <a:lnTo>
                      <a:pt x="257411" y="429356"/>
                    </a:lnTo>
                    <a:close/>
                    <a:moveTo>
                      <a:pt x="283486" y="396462"/>
                    </a:moveTo>
                    <a:lnTo>
                      <a:pt x="309682" y="363389"/>
                    </a:lnTo>
                    <a:lnTo>
                      <a:pt x="311237" y="363987"/>
                    </a:lnTo>
                    <a:lnTo>
                      <a:pt x="285221" y="397000"/>
                    </a:lnTo>
                    <a:lnTo>
                      <a:pt x="283486" y="396462"/>
                    </a:lnTo>
                    <a:close/>
                    <a:moveTo>
                      <a:pt x="309862" y="363090"/>
                    </a:moveTo>
                    <a:lnTo>
                      <a:pt x="336356" y="329598"/>
                    </a:lnTo>
                    <a:lnTo>
                      <a:pt x="337792" y="330255"/>
                    </a:lnTo>
                    <a:lnTo>
                      <a:pt x="311417" y="363688"/>
                    </a:lnTo>
                    <a:lnTo>
                      <a:pt x="309862" y="363090"/>
                    </a:lnTo>
                    <a:close/>
                    <a:moveTo>
                      <a:pt x="336655" y="329299"/>
                    </a:moveTo>
                    <a:lnTo>
                      <a:pt x="363508" y="295388"/>
                    </a:lnTo>
                    <a:lnTo>
                      <a:pt x="364824" y="296046"/>
                    </a:lnTo>
                    <a:lnTo>
                      <a:pt x="338090" y="329956"/>
                    </a:lnTo>
                    <a:lnTo>
                      <a:pt x="336655" y="329299"/>
                    </a:lnTo>
                    <a:close/>
                    <a:moveTo>
                      <a:pt x="389166" y="259085"/>
                    </a:moveTo>
                    <a:lnTo>
                      <a:pt x="414824" y="226849"/>
                    </a:lnTo>
                    <a:lnTo>
                      <a:pt x="416319" y="228045"/>
                    </a:lnTo>
                    <a:lnTo>
                      <a:pt x="390841" y="260221"/>
                    </a:lnTo>
                    <a:lnTo>
                      <a:pt x="389166" y="259085"/>
                    </a:lnTo>
                    <a:close/>
                    <a:moveTo>
                      <a:pt x="412311" y="224875"/>
                    </a:moveTo>
                    <a:lnTo>
                      <a:pt x="386474" y="257111"/>
                    </a:lnTo>
                    <a:lnTo>
                      <a:pt x="384202" y="255317"/>
                    </a:lnTo>
                    <a:lnTo>
                      <a:pt x="410158" y="223201"/>
                    </a:lnTo>
                    <a:lnTo>
                      <a:pt x="412311" y="224875"/>
                    </a:lnTo>
                    <a:close/>
                    <a:moveTo>
                      <a:pt x="383723" y="255377"/>
                    </a:moveTo>
                    <a:lnTo>
                      <a:pt x="356033" y="289706"/>
                    </a:lnTo>
                    <a:lnTo>
                      <a:pt x="353580" y="287733"/>
                    </a:lnTo>
                    <a:lnTo>
                      <a:pt x="381391" y="253523"/>
                    </a:lnTo>
                    <a:lnTo>
                      <a:pt x="383723" y="255377"/>
                    </a:lnTo>
                    <a:close/>
                    <a:moveTo>
                      <a:pt x="381152" y="253224"/>
                    </a:moveTo>
                    <a:lnTo>
                      <a:pt x="353342" y="287433"/>
                    </a:lnTo>
                    <a:lnTo>
                      <a:pt x="351069" y="285460"/>
                    </a:lnTo>
                    <a:lnTo>
                      <a:pt x="378998" y="251370"/>
                    </a:lnTo>
                    <a:lnTo>
                      <a:pt x="381152" y="253224"/>
                    </a:lnTo>
                    <a:close/>
                    <a:moveTo>
                      <a:pt x="378700" y="251131"/>
                    </a:moveTo>
                    <a:lnTo>
                      <a:pt x="350770" y="285221"/>
                    </a:lnTo>
                    <a:lnTo>
                      <a:pt x="348856" y="283367"/>
                    </a:lnTo>
                    <a:lnTo>
                      <a:pt x="376845" y="249396"/>
                    </a:lnTo>
                    <a:lnTo>
                      <a:pt x="378700" y="251131"/>
                    </a:lnTo>
                    <a:close/>
                    <a:moveTo>
                      <a:pt x="376607" y="249157"/>
                    </a:moveTo>
                    <a:lnTo>
                      <a:pt x="348617" y="283127"/>
                    </a:lnTo>
                    <a:lnTo>
                      <a:pt x="347241" y="281632"/>
                    </a:lnTo>
                    <a:lnTo>
                      <a:pt x="375230" y="247781"/>
                    </a:lnTo>
                    <a:lnTo>
                      <a:pt x="376607" y="249157"/>
                    </a:lnTo>
                    <a:close/>
                    <a:moveTo>
                      <a:pt x="348437" y="283367"/>
                    </a:moveTo>
                    <a:lnTo>
                      <a:pt x="320806" y="316859"/>
                    </a:lnTo>
                    <a:lnTo>
                      <a:pt x="319371" y="315244"/>
                    </a:lnTo>
                    <a:lnTo>
                      <a:pt x="347002" y="281871"/>
                    </a:lnTo>
                    <a:lnTo>
                      <a:pt x="348437" y="283367"/>
                    </a:lnTo>
                    <a:close/>
                    <a:moveTo>
                      <a:pt x="320567" y="317158"/>
                    </a:moveTo>
                    <a:lnTo>
                      <a:pt x="293295" y="350231"/>
                    </a:lnTo>
                    <a:lnTo>
                      <a:pt x="291860" y="348437"/>
                    </a:lnTo>
                    <a:lnTo>
                      <a:pt x="319132" y="315483"/>
                    </a:lnTo>
                    <a:lnTo>
                      <a:pt x="320567" y="317158"/>
                    </a:lnTo>
                    <a:close/>
                    <a:moveTo>
                      <a:pt x="293115" y="350530"/>
                    </a:moveTo>
                    <a:lnTo>
                      <a:pt x="266202" y="383185"/>
                    </a:lnTo>
                    <a:lnTo>
                      <a:pt x="264707" y="381271"/>
                    </a:lnTo>
                    <a:lnTo>
                      <a:pt x="291620" y="348736"/>
                    </a:lnTo>
                    <a:lnTo>
                      <a:pt x="293115" y="350530"/>
                    </a:lnTo>
                    <a:close/>
                    <a:moveTo>
                      <a:pt x="265963" y="383484"/>
                    </a:moveTo>
                    <a:lnTo>
                      <a:pt x="239408" y="415720"/>
                    </a:lnTo>
                    <a:lnTo>
                      <a:pt x="237913" y="413686"/>
                    </a:lnTo>
                    <a:lnTo>
                      <a:pt x="264468" y="381570"/>
                    </a:lnTo>
                    <a:lnTo>
                      <a:pt x="265963" y="383484"/>
                    </a:lnTo>
                    <a:close/>
                    <a:moveTo>
                      <a:pt x="239169" y="416019"/>
                    </a:moveTo>
                    <a:lnTo>
                      <a:pt x="212914" y="447836"/>
                    </a:lnTo>
                    <a:lnTo>
                      <a:pt x="211419" y="445624"/>
                    </a:lnTo>
                    <a:lnTo>
                      <a:pt x="237674" y="413926"/>
                    </a:lnTo>
                    <a:lnTo>
                      <a:pt x="239169" y="416019"/>
                    </a:lnTo>
                    <a:close/>
                    <a:moveTo>
                      <a:pt x="212675" y="448136"/>
                    </a:moveTo>
                    <a:lnTo>
                      <a:pt x="186779" y="479594"/>
                    </a:lnTo>
                    <a:lnTo>
                      <a:pt x="185283" y="477262"/>
                    </a:lnTo>
                    <a:lnTo>
                      <a:pt x="211180" y="445982"/>
                    </a:lnTo>
                    <a:lnTo>
                      <a:pt x="212675" y="448136"/>
                    </a:lnTo>
                    <a:close/>
                    <a:moveTo>
                      <a:pt x="186539" y="479893"/>
                    </a:moveTo>
                    <a:lnTo>
                      <a:pt x="160941" y="510933"/>
                    </a:lnTo>
                    <a:lnTo>
                      <a:pt x="159386" y="508481"/>
                    </a:lnTo>
                    <a:lnTo>
                      <a:pt x="184984" y="477561"/>
                    </a:lnTo>
                    <a:lnTo>
                      <a:pt x="186539" y="479893"/>
                    </a:lnTo>
                    <a:close/>
                    <a:moveTo>
                      <a:pt x="160762" y="511232"/>
                    </a:moveTo>
                    <a:lnTo>
                      <a:pt x="135523" y="541913"/>
                    </a:lnTo>
                    <a:lnTo>
                      <a:pt x="133968" y="539282"/>
                    </a:lnTo>
                    <a:lnTo>
                      <a:pt x="159207" y="508780"/>
                    </a:lnTo>
                    <a:lnTo>
                      <a:pt x="160762" y="511232"/>
                    </a:lnTo>
                    <a:close/>
                    <a:moveTo>
                      <a:pt x="135225" y="542212"/>
                    </a:moveTo>
                    <a:lnTo>
                      <a:pt x="110285" y="572534"/>
                    </a:lnTo>
                    <a:lnTo>
                      <a:pt x="108730" y="569783"/>
                    </a:lnTo>
                    <a:lnTo>
                      <a:pt x="133670" y="539640"/>
                    </a:lnTo>
                    <a:lnTo>
                      <a:pt x="135225" y="542212"/>
                    </a:lnTo>
                    <a:close/>
                    <a:moveTo>
                      <a:pt x="110045" y="572834"/>
                    </a:moveTo>
                    <a:lnTo>
                      <a:pt x="85405" y="602737"/>
                    </a:lnTo>
                    <a:lnTo>
                      <a:pt x="83850" y="599807"/>
                    </a:lnTo>
                    <a:lnTo>
                      <a:pt x="108490" y="570023"/>
                    </a:lnTo>
                    <a:lnTo>
                      <a:pt x="110045" y="572834"/>
                    </a:lnTo>
                    <a:close/>
                    <a:moveTo>
                      <a:pt x="85106" y="603036"/>
                    </a:moveTo>
                    <a:lnTo>
                      <a:pt x="60764" y="632581"/>
                    </a:lnTo>
                    <a:lnTo>
                      <a:pt x="59209" y="629471"/>
                    </a:lnTo>
                    <a:lnTo>
                      <a:pt x="83551" y="600046"/>
                    </a:lnTo>
                    <a:lnTo>
                      <a:pt x="85106" y="603036"/>
                    </a:lnTo>
                    <a:close/>
                    <a:moveTo>
                      <a:pt x="60525" y="632880"/>
                    </a:moveTo>
                    <a:lnTo>
                      <a:pt x="36483" y="662066"/>
                    </a:lnTo>
                    <a:lnTo>
                      <a:pt x="34988" y="658836"/>
                    </a:lnTo>
                    <a:lnTo>
                      <a:pt x="59030" y="629770"/>
                    </a:lnTo>
                    <a:lnTo>
                      <a:pt x="60525" y="632880"/>
                    </a:lnTo>
                    <a:close/>
                    <a:moveTo>
                      <a:pt x="17046" y="677376"/>
                    </a:moveTo>
                    <a:cubicBezTo>
                      <a:pt x="17046" y="677376"/>
                      <a:pt x="17046" y="677376"/>
                      <a:pt x="17046" y="677376"/>
                    </a:cubicBezTo>
                    <a:cubicBezTo>
                      <a:pt x="17046" y="677376"/>
                      <a:pt x="17106" y="677376"/>
                      <a:pt x="17106" y="677376"/>
                    </a:cubicBezTo>
                    <a:cubicBezTo>
                      <a:pt x="17106" y="677376"/>
                      <a:pt x="17106" y="677376"/>
                      <a:pt x="17165" y="677376"/>
                    </a:cubicBezTo>
                    <a:cubicBezTo>
                      <a:pt x="17165" y="677376"/>
                      <a:pt x="17165" y="677376"/>
                      <a:pt x="17165" y="677376"/>
                    </a:cubicBezTo>
                    <a:cubicBezTo>
                      <a:pt x="17165" y="677376"/>
                      <a:pt x="17225" y="677376"/>
                      <a:pt x="17225" y="677317"/>
                    </a:cubicBezTo>
                    <a:lnTo>
                      <a:pt x="17225" y="677317"/>
                    </a:lnTo>
                    <a:lnTo>
                      <a:pt x="34688" y="659075"/>
                    </a:lnTo>
                    <a:lnTo>
                      <a:pt x="36184" y="662305"/>
                    </a:lnTo>
                    <a:lnTo>
                      <a:pt x="19258" y="680786"/>
                    </a:lnTo>
                    <a:lnTo>
                      <a:pt x="17225" y="680247"/>
                    </a:lnTo>
                    <a:lnTo>
                      <a:pt x="14833" y="676360"/>
                    </a:lnTo>
                    <a:lnTo>
                      <a:pt x="17046" y="677376"/>
                    </a:lnTo>
                    <a:close/>
                    <a:moveTo>
                      <a:pt x="11603" y="672233"/>
                    </a:moveTo>
                    <a:lnTo>
                      <a:pt x="11244" y="672652"/>
                    </a:lnTo>
                    <a:lnTo>
                      <a:pt x="11423" y="670499"/>
                    </a:lnTo>
                    <a:lnTo>
                      <a:pt x="11783" y="670080"/>
                    </a:lnTo>
                    <a:lnTo>
                      <a:pt x="11603" y="672233"/>
                    </a:lnTo>
                    <a:close/>
                    <a:moveTo>
                      <a:pt x="11125" y="670439"/>
                    </a:moveTo>
                    <a:lnTo>
                      <a:pt x="10885" y="673070"/>
                    </a:lnTo>
                    <a:lnTo>
                      <a:pt x="10108" y="672592"/>
                    </a:lnTo>
                    <a:lnTo>
                      <a:pt x="10228" y="672233"/>
                    </a:lnTo>
                    <a:cubicBezTo>
                      <a:pt x="10228" y="672233"/>
                      <a:pt x="10228" y="672233"/>
                      <a:pt x="10228" y="672233"/>
                    </a:cubicBezTo>
                    <a:cubicBezTo>
                      <a:pt x="10228" y="672233"/>
                      <a:pt x="10228" y="672233"/>
                      <a:pt x="10228" y="672233"/>
                    </a:cubicBezTo>
                    <a:cubicBezTo>
                      <a:pt x="10228" y="672233"/>
                      <a:pt x="10228" y="672233"/>
                      <a:pt x="10228" y="672233"/>
                    </a:cubicBezTo>
                    <a:cubicBezTo>
                      <a:pt x="10228" y="672233"/>
                      <a:pt x="10228" y="672233"/>
                      <a:pt x="10228" y="672233"/>
                    </a:cubicBezTo>
                    <a:cubicBezTo>
                      <a:pt x="10228" y="672233"/>
                      <a:pt x="10228" y="672233"/>
                      <a:pt x="10228" y="672233"/>
                    </a:cubicBezTo>
                    <a:lnTo>
                      <a:pt x="10048" y="671515"/>
                    </a:lnTo>
                    <a:cubicBezTo>
                      <a:pt x="10048" y="671515"/>
                      <a:pt x="10048" y="671515"/>
                      <a:pt x="10048" y="671515"/>
                    </a:cubicBezTo>
                    <a:cubicBezTo>
                      <a:pt x="10048" y="671515"/>
                      <a:pt x="10048" y="671515"/>
                      <a:pt x="10048" y="671515"/>
                    </a:cubicBezTo>
                    <a:cubicBezTo>
                      <a:pt x="10048" y="671515"/>
                      <a:pt x="10048" y="671515"/>
                      <a:pt x="10048" y="671456"/>
                    </a:cubicBezTo>
                    <a:cubicBezTo>
                      <a:pt x="10048" y="671456"/>
                      <a:pt x="10048" y="671456"/>
                      <a:pt x="10048" y="671456"/>
                    </a:cubicBezTo>
                    <a:cubicBezTo>
                      <a:pt x="10048" y="671456"/>
                      <a:pt x="10048" y="671456"/>
                      <a:pt x="10048" y="671456"/>
                    </a:cubicBezTo>
                    <a:lnTo>
                      <a:pt x="9510" y="670738"/>
                    </a:lnTo>
                    <a:cubicBezTo>
                      <a:pt x="9510" y="670738"/>
                      <a:pt x="9510" y="670738"/>
                      <a:pt x="9510" y="670738"/>
                    </a:cubicBezTo>
                    <a:cubicBezTo>
                      <a:pt x="9510" y="670738"/>
                      <a:pt x="9510" y="670738"/>
                      <a:pt x="9510" y="670738"/>
                    </a:cubicBezTo>
                    <a:cubicBezTo>
                      <a:pt x="9510" y="670738"/>
                      <a:pt x="9510" y="670738"/>
                      <a:pt x="9510" y="670738"/>
                    </a:cubicBezTo>
                    <a:lnTo>
                      <a:pt x="9510" y="670738"/>
                    </a:lnTo>
                    <a:lnTo>
                      <a:pt x="9510" y="670738"/>
                    </a:lnTo>
                    <a:lnTo>
                      <a:pt x="8852" y="670020"/>
                    </a:lnTo>
                    <a:cubicBezTo>
                      <a:pt x="8852" y="670020"/>
                      <a:pt x="8852" y="670020"/>
                      <a:pt x="8852" y="670020"/>
                    </a:cubicBezTo>
                    <a:cubicBezTo>
                      <a:pt x="8852" y="670020"/>
                      <a:pt x="8852" y="670020"/>
                      <a:pt x="8852" y="670020"/>
                    </a:cubicBezTo>
                    <a:lnTo>
                      <a:pt x="8253" y="669602"/>
                    </a:lnTo>
                    <a:cubicBezTo>
                      <a:pt x="8253" y="669602"/>
                      <a:pt x="8253" y="669602"/>
                      <a:pt x="8253" y="669602"/>
                    </a:cubicBezTo>
                    <a:cubicBezTo>
                      <a:pt x="8253" y="669602"/>
                      <a:pt x="8253" y="669602"/>
                      <a:pt x="8194" y="669602"/>
                    </a:cubicBezTo>
                    <a:cubicBezTo>
                      <a:pt x="8194" y="669602"/>
                      <a:pt x="8194" y="669602"/>
                      <a:pt x="8194" y="669602"/>
                    </a:cubicBezTo>
                    <a:lnTo>
                      <a:pt x="7536" y="669303"/>
                    </a:lnTo>
                    <a:cubicBezTo>
                      <a:pt x="7536" y="669303"/>
                      <a:pt x="7536" y="669303"/>
                      <a:pt x="7536" y="669303"/>
                    </a:cubicBezTo>
                    <a:cubicBezTo>
                      <a:pt x="7536" y="669303"/>
                      <a:pt x="7536" y="669303"/>
                      <a:pt x="7476" y="669303"/>
                    </a:cubicBezTo>
                    <a:cubicBezTo>
                      <a:pt x="7476" y="669303"/>
                      <a:pt x="7476" y="669303"/>
                      <a:pt x="7476" y="669303"/>
                    </a:cubicBezTo>
                    <a:lnTo>
                      <a:pt x="6758" y="669183"/>
                    </a:lnTo>
                    <a:cubicBezTo>
                      <a:pt x="6758" y="669183"/>
                      <a:pt x="6758" y="669183"/>
                      <a:pt x="6758" y="669183"/>
                    </a:cubicBezTo>
                    <a:cubicBezTo>
                      <a:pt x="6758" y="669183"/>
                      <a:pt x="6758" y="669183"/>
                      <a:pt x="6698" y="669183"/>
                    </a:cubicBezTo>
                    <a:cubicBezTo>
                      <a:pt x="6698" y="669183"/>
                      <a:pt x="6698" y="669183"/>
                      <a:pt x="6698" y="669183"/>
                    </a:cubicBezTo>
                    <a:lnTo>
                      <a:pt x="6100" y="669303"/>
                    </a:lnTo>
                    <a:cubicBezTo>
                      <a:pt x="6100" y="669303"/>
                      <a:pt x="6100" y="669303"/>
                      <a:pt x="6100" y="669303"/>
                    </a:cubicBezTo>
                    <a:cubicBezTo>
                      <a:pt x="6100" y="669303"/>
                      <a:pt x="6100" y="669303"/>
                      <a:pt x="6100" y="669303"/>
                    </a:cubicBezTo>
                    <a:cubicBezTo>
                      <a:pt x="6100" y="669303"/>
                      <a:pt x="6100" y="669303"/>
                      <a:pt x="6100" y="669303"/>
                    </a:cubicBezTo>
                    <a:lnTo>
                      <a:pt x="5802" y="669542"/>
                    </a:lnTo>
                    <a:cubicBezTo>
                      <a:pt x="5742" y="669602"/>
                      <a:pt x="5742" y="669602"/>
                      <a:pt x="5802" y="669661"/>
                    </a:cubicBezTo>
                    <a:lnTo>
                      <a:pt x="5742" y="669721"/>
                    </a:lnTo>
                    <a:lnTo>
                      <a:pt x="5323" y="670020"/>
                    </a:lnTo>
                    <a:lnTo>
                      <a:pt x="3290" y="668824"/>
                    </a:lnTo>
                    <a:lnTo>
                      <a:pt x="3708" y="665236"/>
                    </a:lnTo>
                    <a:lnTo>
                      <a:pt x="11125" y="670439"/>
                    </a:lnTo>
                    <a:close/>
                    <a:moveTo>
                      <a:pt x="8493" y="671635"/>
                    </a:moveTo>
                    <a:lnTo>
                      <a:pt x="8672" y="671755"/>
                    </a:lnTo>
                    <a:lnTo>
                      <a:pt x="8253" y="672054"/>
                    </a:lnTo>
                    <a:lnTo>
                      <a:pt x="8493" y="671635"/>
                    </a:lnTo>
                    <a:close/>
                    <a:moveTo>
                      <a:pt x="7895" y="671874"/>
                    </a:moveTo>
                    <a:lnTo>
                      <a:pt x="7895" y="671276"/>
                    </a:lnTo>
                    <a:lnTo>
                      <a:pt x="8134" y="671396"/>
                    </a:lnTo>
                    <a:lnTo>
                      <a:pt x="7895" y="671874"/>
                    </a:lnTo>
                    <a:close/>
                    <a:moveTo>
                      <a:pt x="8613" y="671336"/>
                    </a:moveTo>
                    <a:lnTo>
                      <a:pt x="8732" y="670319"/>
                    </a:lnTo>
                    <a:lnTo>
                      <a:pt x="9151" y="670678"/>
                    </a:lnTo>
                    <a:lnTo>
                      <a:pt x="8852" y="671575"/>
                    </a:lnTo>
                    <a:lnTo>
                      <a:pt x="8613" y="671336"/>
                    </a:lnTo>
                    <a:close/>
                    <a:moveTo>
                      <a:pt x="8194" y="671097"/>
                    </a:moveTo>
                    <a:lnTo>
                      <a:pt x="7835" y="670917"/>
                    </a:lnTo>
                    <a:lnTo>
                      <a:pt x="7775" y="669781"/>
                    </a:lnTo>
                    <a:lnTo>
                      <a:pt x="8313" y="670020"/>
                    </a:lnTo>
                    <a:lnTo>
                      <a:pt x="8194" y="671097"/>
                    </a:lnTo>
                    <a:close/>
                    <a:moveTo>
                      <a:pt x="7476" y="670858"/>
                    </a:moveTo>
                    <a:lnTo>
                      <a:pt x="7117" y="670798"/>
                    </a:lnTo>
                    <a:lnTo>
                      <a:pt x="6818" y="669661"/>
                    </a:lnTo>
                    <a:lnTo>
                      <a:pt x="7416" y="669781"/>
                    </a:lnTo>
                    <a:lnTo>
                      <a:pt x="7476" y="670858"/>
                    </a:lnTo>
                    <a:close/>
                    <a:moveTo>
                      <a:pt x="7476" y="671216"/>
                    </a:moveTo>
                    <a:lnTo>
                      <a:pt x="7476" y="671814"/>
                    </a:lnTo>
                    <a:lnTo>
                      <a:pt x="7237" y="671157"/>
                    </a:lnTo>
                    <a:lnTo>
                      <a:pt x="7476" y="671216"/>
                    </a:lnTo>
                    <a:close/>
                    <a:moveTo>
                      <a:pt x="8971" y="672054"/>
                    </a:moveTo>
                    <a:lnTo>
                      <a:pt x="9091" y="672173"/>
                    </a:lnTo>
                    <a:lnTo>
                      <a:pt x="8672" y="672293"/>
                    </a:lnTo>
                    <a:lnTo>
                      <a:pt x="8971" y="672054"/>
                    </a:lnTo>
                    <a:close/>
                    <a:moveTo>
                      <a:pt x="9510" y="672413"/>
                    </a:moveTo>
                    <a:lnTo>
                      <a:pt x="9510" y="672413"/>
                    </a:lnTo>
                    <a:lnTo>
                      <a:pt x="9808" y="671874"/>
                    </a:lnTo>
                    <a:lnTo>
                      <a:pt x="9808" y="671994"/>
                    </a:lnTo>
                    <a:lnTo>
                      <a:pt x="9510" y="672413"/>
                    </a:lnTo>
                    <a:close/>
                    <a:moveTo>
                      <a:pt x="9689" y="671336"/>
                    </a:moveTo>
                    <a:lnTo>
                      <a:pt x="9270" y="671994"/>
                    </a:lnTo>
                    <a:lnTo>
                      <a:pt x="9151" y="671814"/>
                    </a:lnTo>
                    <a:lnTo>
                      <a:pt x="9450" y="670977"/>
                    </a:lnTo>
                    <a:lnTo>
                      <a:pt x="9689" y="671336"/>
                    </a:lnTo>
                    <a:close/>
                    <a:moveTo>
                      <a:pt x="8015" y="669602"/>
                    </a:moveTo>
                    <a:lnTo>
                      <a:pt x="8015" y="669602"/>
                    </a:lnTo>
                    <a:lnTo>
                      <a:pt x="7715" y="669482"/>
                    </a:lnTo>
                    <a:lnTo>
                      <a:pt x="7715" y="669482"/>
                    </a:lnTo>
                    <a:lnTo>
                      <a:pt x="8015" y="669602"/>
                    </a:lnTo>
                    <a:close/>
                    <a:moveTo>
                      <a:pt x="7297" y="669303"/>
                    </a:moveTo>
                    <a:lnTo>
                      <a:pt x="7297" y="669362"/>
                    </a:lnTo>
                    <a:lnTo>
                      <a:pt x="6818" y="669303"/>
                    </a:lnTo>
                    <a:lnTo>
                      <a:pt x="6818" y="669243"/>
                    </a:lnTo>
                    <a:lnTo>
                      <a:pt x="7297" y="669303"/>
                    </a:lnTo>
                    <a:close/>
                    <a:moveTo>
                      <a:pt x="6460" y="669661"/>
                    </a:moveTo>
                    <a:lnTo>
                      <a:pt x="6758" y="670798"/>
                    </a:lnTo>
                    <a:lnTo>
                      <a:pt x="6460" y="670858"/>
                    </a:lnTo>
                    <a:lnTo>
                      <a:pt x="5981" y="669721"/>
                    </a:lnTo>
                    <a:lnTo>
                      <a:pt x="6460" y="669661"/>
                    </a:lnTo>
                    <a:close/>
                    <a:moveTo>
                      <a:pt x="6878" y="671157"/>
                    </a:moveTo>
                    <a:lnTo>
                      <a:pt x="7117" y="671755"/>
                    </a:lnTo>
                    <a:lnTo>
                      <a:pt x="6639" y="671157"/>
                    </a:lnTo>
                    <a:lnTo>
                      <a:pt x="6878" y="671157"/>
                    </a:lnTo>
                    <a:close/>
                    <a:moveTo>
                      <a:pt x="9211" y="672532"/>
                    </a:moveTo>
                    <a:lnTo>
                      <a:pt x="9211" y="672652"/>
                    </a:lnTo>
                    <a:lnTo>
                      <a:pt x="8852" y="672592"/>
                    </a:lnTo>
                    <a:lnTo>
                      <a:pt x="9211" y="672532"/>
                    </a:lnTo>
                    <a:close/>
                    <a:moveTo>
                      <a:pt x="5203" y="670080"/>
                    </a:moveTo>
                    <a:cubicBezTo>
                      <a:pt x="5203" y="670080"/>
                      <a:pt x="5203" y="670080"/>
                      <a:pt x="5203" y="670080"/>
                    </a:cubicBezTo>
                    <a:cubicBezTo>
                      <a:pt x="5263" y="670080"/>
                      <a:pt x="5263" y="670080"/>
                      <a:pt x="5203" y="670080"/>
                    </a:cubicBezTo>
                    <a:cubicBezTo>
                      <a:pt x="5263" y="670080"/>
                      <a:pt x="5263" y="670080"/>
                      <a:pt x="5263" y="670140"/>
                    </a:cubicBezTo>
                    <a:cubicBezTo>
                      <a:pt x="5263" y="670140"/>
                      <a:pt x="5323" y="670140"/>
                      <a:pt x="5323" y="670140"/>
                    </a:cubicBezTo>
                    <a:cubicBezTo>
                      <a:pt x="5323" y="670140"/>
                      <a:pt x="5323" y="670140"/>
                      <a:pt x="5323" y="670140"/>
                    </a:cubicBezTo>
                    <a:cubicBezTo>
                      <a:pt x="5323" y="670140"/>
                      <a:pt x="5383" y="670140"/>
                      <a:pt x="5383" y="670140"/>
                    </a:cubicBezTo>
                    <a:lnTo>
                      <a:pt x="5383" y="670140"/>
                    </a:lnTo>
                    <a:lnTo>
                      <a:pt x="5383" y="670140"/>
                    </a:lnTo>
                    <a:lnTo>
                      <a:pt x="5682" y="669960"/>
                    </a:lnTo>
                    <a:lnTo>
                      <a:pt x="6160" y="671037"/>
                    </a:lnTo>
                    <a:lnTo>
                      <a:pt x="5921" y="671216"/>
                    </a:lnTo>
                    <a:cubicBezTo>
                      <a:pt x="5862" y="671276"/>
                      <a:pt x="5862" y="671396"/>
                      <a:pt x="5921" y="671456"/>
                    </a:cubicBezTo>
                    <a:cubicBezTo>
                      <a:pt x="5921" y="671456"/>
                      <a:pt x="5921" y="671456"/>
                      <a:pt x="5921" y="671456"/>
                    </a:cubicBezTo>
                    <a:cubicBezTo>
                      <a:pt x="5981" y="671515"/>
                      <a:pt x="6100" y="671515"/>
                      <a:pt x="6160" y="671515"/>
                    </a:cubicBezTo>
                    <a:lnTo>
                      <a:pt x="6340" y="671396"/>
                    </a:lnTo>
                    <a:lnTo>
                      <a:pt x="7177" y="672413"/>
                    </a:lnTo>
                    <a:cubicBezTo>
                      <a:pt x="7177" y="672413"/>
                      <a:pt x="7237" y="672472"/>
                      <a:pt x="7237" y="672472"/>
                    </a:cubicBezTo>
                    <a:cubicBezTo>
                      <a:pt x="7297" y="672532"/>
                      <a:pt x="7357" y="672532"/>
                      <a:pt x="7357" y="672532"/>
                    </a:cubicBezTo>
                    <a:lnTo>
                      <a:pt x="7357" y="672532"/>
                    </a:lnTo>
                    <a:cubicBezTo>
                      <a:pt x="7357" y="672592"/>
                      <a:pt x="7416" y="672592"/>
                      <a:pt x="7416" y="672652"/>
                    </a:cubicBezTo>
                    <a:cubicBezTo>
                      <a:pt x="7416" y="672652"/>
                      <a:pt x="7476" y="672712"/>
                      <a:pt x="7476" y="672712"/>
                    </a:cubicBezTo>
                    <a:cubicBezTo>
                      <a:pt x="7476" y="672712"/>
                      <a:pt x="7476" y="672712"/>
                      <a:pt x="7476" y="672712"/>
                    </a:cubicBezTo>
                    <a:cubicBezTo>
                      <a:pt x="7476" y="672712"/>
                      <a:pt x="7536" y="672712"/>
                      <a:pt x="7536" y="672771"/>
                    </a:cubicBezTo>
                    <a:cubicBezTo>
                      <a:pt x="7536" y="672771"/>
                      <a:pt x="7536" y="672771"/>
                      <a:pt x="7536" y="672771"/>
                    </a:cubicBezTo>
                    <a:cubicBezTo>
                      <a:pt x="7536" y="672771"/>
                      <a:pt x="7536" y="672771"/>
                      <a:pt x="7536" y="672771"/>
                    </a:cubicBezTo>
                    <a:cubicBezTo>
                      <a:pt x="7536" y="672771"/>
                      <a:pt x="7596" y="672771"/>
                      <a:pt x="7596" y="672831"/>
                    </a:cubicBezTo>
                    <a:cubicBezTo>
                      <a:pt x="7656" y="672831"/>
                      <a:pt x="7656" y="672891"/>
                      <a:pt x="7715" y="672891"/>
                    </a:cubicBezTo>
                    <a:cubicBezTo>
                      <a:pt x="7775" y="672951"/>
                      <a:pt x="7835" y="672951"/>
                      <a:pt x="7895" y="672951"/>
                    </a:cubicBezTo>
                    <a:lnTo>
                      <a:pt x="7895" y="672951"/>
                    </a:lnTo>
                    <a:cubicBezTo>
                      <a:pt x="7895" y="672951"/>
                      <a:pt x="7895" y="672951"/>
                      <a:pt x="7895" y="672951"/>
                    </a:cubicBezTo>
                    <a:cubicBezTo>
                      <a:pt x="7955" y="673011"/>
                      <a:pt x="8015" y="673011"/>
                      <a:pt x="8015" y="673011"/>
                    </a:cubicBezTo>
                    <a:lnTo>
                      <a:pt x="8971" y="673070"/>
                    </a:lnTo>
                    <a:lnTo>
                      <a:pt x="8971" y="673130"/>
                    </a:lnTo>
                    <a:cubicBezTo>
                      <a:pt x="8971" y="673190"/>
                      <a:pt x="8971" y="673310"/>
                      <a:pt x="9031" y="673369"/>
                    </a:cubicBezTo>
                    <a:cubicBezTo>
                      <a:pt x="9031" y="673369"/>
                      <a:pt x="9031" y="673369"/>
                      <a:pt x="9091" y="673369"/>
                    </a:cubicBezTo>
                    <a:cubicBezTo>
                      <a:pt x="9211" y="673429"/>
                      <a:pt x="9270" y="673429"/>
                      <a:pt x="9330" y="673369"/>
                    </a:cubicBezTo>
                    <a:lnTo>
                      <a:pt x="9450" y="673070"/>
                    </a:lnTo>
                    <a:lnTo>
                      <a:pt x="9630" y="672831"/>
                    </a:lnTo>
                    <a:cubicBezTo>
                      <a:pt x="9630" y="672831"/>
                      <a:pt x="9630" y="672831"/>
                      <a:pt x="9630" y="672831"/>
                    </a:cubicBezTo>
                    <a:cubicBezTo>
                      <a:pt x="9630" y="672831"/>
                      <a:pt x="9630" y="672831"/>
                      <a:pt x="9630" y="672831"/>
                    </a:cubicBezTo>
                    <a:lnTo>
                      <a:pt x="9630" y="672831"/>
                    </a:lnTo>
                    <a:lnTo>
                      <a:pt x="10706" y="673489"/>
                    </a:lnTo>
                    <a:lnTo>
                      <a:pt x="11842" y="677018"/>
                    </a:lnTo>
                    <a:lnTo>
                      <a:pt x="4605" y="673788"/>
                    </a:lnTo>
                    <a:lnTo>
                      <a:pt x="3050" y="668944"/>
                    </a:lnTo>
                    <a:lnTo>
                      <a:pt x="5203" y="670080"/>
                    </a:lnTo>
                    <a:close/>
                    <a:moveTo>
                      <a:pt x="12201" y="677317"/>
                    </a:moveTo>
                    <a:lnTo>
                      <a:pt x="14773" y="681563"/>
                    </a:lnTo>
                    <a:lnTo>
                      <a:pt x="8493" y="679888"/>
                    </a:lnTo>
                    <a:lnTo>
                      <a:pt x="5024" y="674147"/>
                    </a:lnTo>
                    <a:lnTo>
                      <a:pt x="12201" y="677317"/>
                    </a:lnTo>
                    <a:close/>
                    <a:moveTo>
                      <a:pt x="15012" y="681982"/>
                    </a:moveTo>
                    <a:lnTo>
                      <a:pt x="17404" y="684852"/>
                    </a:lnTo>
                    <a:lnTo>
                      <a:pt x="16746" y="684494"/>
                    </a:lnTo>
                    <a:cubicBezTo>
                      <a:pt x="16746" y="684494"/>
                      <a:pt x="16746" y="684494"/>
                      <a:pt x="16746" y="684494"/>
                    </a:cubicBezTo>
                    <a:cubicBezTo>
                      <a:pt x="16746" y="684494"/>
                      <a:pt x="16746" y="684494"/>
                      <a:pt x="16686" y="684494"/>
                    </a:cubicBezTo>
                    <a:cubicBezTo>
                      <a:pt x="16686" y="684494"/>
                      <a:pt x="16686" y="684494"/>
                      <a:pt x="16627" y="684494"/>
                    </a:cubicBezTo>
                    <a:cubicBezTo>
                      <a:pt x="16627" y="684494"/>
                      <a:pt x="16627" y="684494"/>
                      <a:pt x="16627" y="684494"/>
                    </a:cubicBezTo>
                    <a:lnTo>
                      <a:pt x="16268" y="684434"/>
                    </a:lnTo>
                    <a:cubicBezTo>
                      <a:pt x="16268" y="684434"/>
                      <a:pt x="16268" y="684434"/>
                      <a:pt x="16268" y="684434"/>
                    </a:cubicBezTo>
                    <a:cubicBezTo>
                      <a:pt x="16268" y="684434"/>
                      <a:pt x="16268" y="684434"/>
                      <a:pt x="16208" y="684434"/>
                    </a:cubicBezTo>
                    <a:cubicBezTo>
                      <a:pt x="16208" y="684434"/>
                      <a:pt x="16208" y="684434"/>
                      <a:pt x="16208" y="684434"/>
                    </a:cubicBezTo>
                    <a:lnTo>
                      <a:pt x="16208" y="684434"/>
                    </a:lnTo>
                    <a:cubicBezTo>
                      <a:pt x="16208" y="684434"/>
                      <a:pt x="16208" y="684434"/>
                      <a:pt x="16208" y="684434"/>
                    </a:cubicBezTo>
                    <a:lnTo>
                      <a:pt x="15729" y="684494"/>
                    </a:lnTo>
                    <a:cubicBezTo>
                      <a:pt x="15729" y="684494"/>
                      <a:pt x="15729" y="684494"/>
                      <a:pt x="15729" y="684494"/>
                    </a:cubicBezTo>
                    <a:cubicBezTo>
                      <a:pt x="15729" y="684494"/>
                      <a:pt x="15729" y="684494"/>
                      <a:pt x="15729" y="684494"/>
                    </a:cubicBezTo>
                    <a:lnTo>
                      <a:pt x="15012" y="684793"/>
                    </a:lnTo>
                    <a:cubicBezTo>
                      <a:pt x="15012" y="684793"/>
                      <a:pt x="15012" y="684793"/>
                      <a:pt x="15012" y="684793"/>
                    </a:cubicBezTo>
                    <a:lnTo>
                      <a:pt x="14952" y="684793"/>
                    </a:lnTo>
                    <a:cubicBezTo>
                      <a:pt x="14892" y="684793"/>
                      <a:pt x="14892" y="684852"/>
                      <a:pt x="14892" y="684852"/>
                    </a:cubicBezTo>
                    <a:cubicBezTo>
                      <a:pt x="14892" y="684852"/>
                      <a:pt x="14833" y="684852"/>
                      <a:pt x="14833" y="684912"/>
                    </a:cubicBezTo>
                    <a:lnTo>
                      <a:pt x="14713" y="685032"/>
                    </a:lnTo>
                    <a:lnTo>
                      <a:pt x="14414" y="685331"/>
                    </a:lnTo>
                    <a:cubicBezTo>
                      <a:pt x="14354" y="685391"/>
                      <a:pt x="14354" y="685510"/>
                      <a:pt x="14474" y="685570"/>
                    </a:cubicBezTo>
                    <a:cubicBezTo>
                      <a:pt x="14474" y="685570"/>
                      <a:pt x="14474" y="685570"/>
                      <a:pt x="14474" y="685570"/>
                    </a:cubicBezTo>
                    <a:cubicBezTo>
                      <a:pt x="14533" y="685630"/>
                      <a:pt x="14653" y="685630"/>
                      <a:pt x="14713" y="685630"/>
                    </a:cubicBezTo>
                    <a:lnTo>
                      <a:pt x="14833" y="685510"/>
                    </a:lnTo>
                    <a:lnTo>
                      <a:pt x="15550" y="686407"/>
                    </a:lnTo>
                    <a:lnTo>
                      <a:pt x="15251" y="686706"/>
                    </a:lnTo>
                    <a:lnTo>
                      <a:pt x="13936" y="686706"/>
                    </a:lnTo>
                    <a:lnTo>
                      <a:pt x="8792" y="680427"/>
                    </a:lnTo>
                    <a:lnTo>
                      <a:pt x="15012" y="681982"/>
                    </a:lnTo>
                    <a:close/>
                    <a:moveTo>
                      <a:pt x="15550" y="686946"/>
                    </a:moveTo>
                    <a:cubicBezTo>
                      <a:pt x="15550" y="686946"/>
                      <a:pt x="15550" y="686946"/>
                      <a:pt x="15550" y="686946"/>
                    </a:cubicBezTo>
                    <a:cubicBezTo>
                      <a:pt x="15550" y="686886"/>
                      <a:pt x="15550" y="686886"/>
                      <a:pt x="15550" y="686946"/>
                    </a:cubicBezTo>
                    <a:cubicBezTo>
                      <a:pt x="15610" y="686946"/>
                      <a:pt x="15610" y="686946"/>
                      <a:pt x="15610" y="686946"/>
                    </a:cubicBezTo>
                    <a:cubicBezTo>
                      <a:pt x="15610" y="686946"/>
                      <a:pt x="15610" y="686946"/>
                      <a:pt x="15610" y="686946"/>
                    </a:cubicBezTo>
                    <a:lnTo>
                      <a:pt x="15909" y="686647"/>
                    </a:lnTo>
                    <a:lnTo>
                      <a:pt x="17165" y="687903"/>
                    </a:lnTo>
                    <a:lnTo>
                      <a:pt x="16986" y="688082"/>
                    </a:lnTo>
                    <a:cubicBezTo>
                      <a:pt x="16926" y="688142"/>
                      <a:pt x="16926" y="688261"/>
                      <a:pt x="17046" y="688321"/>
                    </a:cubicBezTo>
                    <a:cubicBezTo>
                      <a:pt x="17046" y="688321"/>
                      <a:pt x="17046" y="688321"/>
                      <a:pt x="17046" y="688321"/>
                    </a:cubicBezTo>
                    <a:cubicBezTo>
                      <a:pt x="17106" y="688381"/>
                      <a:pt x="17225" y="688381"/>
                      <a:pt x="17284" y="688381"/>
                    </a:cubicBezTo>
                    <a:lnTo>
                      <a:pt x="17464" y="688202"/>
                    </a:lnTo>
                    <a:lnTo>
                      <a:pt x="18241" y="688800"/>
                    </a:lnTo>
                    <a:cubicBezTo>
                      <a:pt x="18301" y="688860"/>
                      <a:pt x="18361" y="688860"/>
                      <a:pt x="18421" y="688860"/>
                    </a:cubicBezTo>
                    <a:lnTo>
                      <a:pt x="18421" y="688860"/>
                    </a:lnTo>
                    <a:cubicBezTo>
                      <a:pt x="18481" y="688919"/>
                      <a:pt x="18541" y="688919"/>
                      <a:pt x="18601" y="688919"/>
                    </a:cubicBezTo>
                    <a:cubicBezTo>
                      <a:pt x="18601" y="688919"/>
                      <a:pt x="18601" y="688919"/>
                      <a:pt x="18660" y="688919"/>
                    </a:cubicBezTo>
                    <a:cubicBezTo>
                      <a:pt x="18660" y="688919"/>
                      <a:pt x="18720" y="688919"/>
                      <a:pt x="18720" y="688919"/>
                    </a:cubicBezTo>
                    <a:cubicBezTo>
                      <a:pt x="18780" y="688919"/>
                      <a:pt x="18780" y="688919"/>
                      <a:pt x="18780" y="688919"/>
                    </a:cubicBezTo>
                    <a:cubicBezTo>
                      <a:pt x="18780" y="688919"/>
                      <a:pt x="18839" y="688919"/>
                      <a:pt x="18839" y="688919"/>
                    </a:cubicBezTo>
                    <a:cubicBezTo>
                      <a:pt x="18839" y="688919"/>
                      <a:pt x="18899" y="688919"/>
                      <a:pt x="18899" y="688860"/>
                    </a:cubicBezTo>
                    <a:lnTo>
                      <a:pt x="18899" y="688860"/>
                    </a:lnTo>
                    <a:cubicBezTo>
                      <a:pt x="18899" y="688860"/>
                      <a:pt x="18959" y="688860"/>
                      <a:pt x="18959" y="688800"/>
                    </a:cubicBezTo>
                    <a:lnTo>
                      <a:pt x="19258" y="688441"/>
                    </a:lnTo>
                    <a:cubicBezTo>
                      <a:pt x="19318" y="688441"/>
                      <a:pt x="19318" y="688441"/>
                      <a:pt x="19377" y="688381"/>
                    </a:cubicBezTo>
                    <a:lnTo>
                      <a:pt x="19557" y="688082"/>
                    </a:lnTo>
                    <a:cubicBezTo>
                      <a:pt x="19557" y="688082"/>
                      <a:pt x="19557" y="688082"/>
                      <a:pt x="19557" y="688082"/>
                    </a:cubicBezTo>
                    <a:cubicBezTo>
                      <a:pt x="19557" y="688082"/>
                      <a:pt x="19557" y="688082"/>
                      <a:pt x="19557" y="688022"/>
                    </a:cubicBezTo>
                    <a:lnTo>
                      <a:pt x="19557" y="687723"/>
                    </a:lnTo>
                    <a:cubicBezTo>
                      <a:pt x="19557" y="687723"/>
                      <a:pt x="19557" y="687723"/>
                      <a:pt x="19557" y="687723"/>
                    </a:cubicBezTo>
                    <a:cubicBezTo>
                      <a:pt x="19557" y="687723"/>
                      <a:pt x="19557" y="687723"/>
                      <a:pt x="19557" y="687723"/>
                    </a:cubicBezTo>
                    <a:cubicBezTo>
                      <a:pt x="19557" y="687723"/>
                      <a:pt x="19557" y="687723"/>
                      <a:pt x="19557" y="687723"/>
                    </a:cubicBezTo>
                    <a:cubicBezTo>
                      <a:pt x="19557" y="687723"/>
                      <a:pt x="19557" y="687723"/>
                      <a:pt x="19557" y="687663"/>
                    </a:cubicBezTo>
                    <a:cubicBezTo>
                      <a:pt x="19557" y="687663"/>
                      <a:pt x="19557" y="687663"/>
                      <a:pt x="19557" y="687663"/>
                    </a:cubicBezTo>
                    <a:cubicBezTo>
                      <a:pt x="19557" y="687663"/>
                      <a:pt x="19557" y="687663"/>
                      <a:pt x="19557" y="687663"/>
                    </a:cubicBezTo>
                    <a:cubicBezTo>
                      <a:pt x="19557" y="687663"/>
                      <a:pt x="19557" y="687663"/>
                      <a:pt x="19557" y="687663"/>
                    </a:cubicBezTo>
                    <a:cubicBezTo>
                      <a:pt x="19557" y="687663"/>
                      <a:pt x="19557" y="687663"/>
                      <a:pt x="19557" y="687663"/>
                    </a:cubicBezTo>
                    <a:lnTo>
                      <a:pt x="19557" y="687663"/>
                    </a:lnTo>
                    <a:lnTo>
                      <a:pt x="19437" y="687364"/>
                    </a:lnTo>
                    <a:lnTo>
                      <a:pt x="23983" y="691790"/>
                    </a:lnTo>
                    <a:lnTo>
                      <a:pt x="20814" y="693405"/>
                    </a:lnTo>
                    <a:lnTo>
                      <a:pt x="14294" y="687065"/>
                    </a:lnTo>
                    <a:lnTo>
                      <a:pt x="15550" y="686946"/>
                    </a:lnTo>
                    <a:close/>
                    <a:moveTo>
                      <a:pt x="24342" y="691969"/>
                    </a:moveTo>
                    <a:lnTo>
                      <a:pt x="29844" y="696395"/>
                    </a:lnTo>
                    <a:lnTo>
                      <a:pt x="28588" y="699565"/>
                    </a:lnTo>
                    <a:lnTo>
                      <a:pt x="21172" y="693584"/>
                    </a:lnTo>
                    <a:lnTo>
                      <a:pt x="24342" y="691969"/>
                    </a:lnTo>
                    <a:close/>
                    <a:moveTo>
                      <a:pt x="29007" y="699804"/>
                    </a:moveTo>
                    <a:lnTo>
                      <a:pt x="30263" y="696634"/>
                    </a:lnTo>
                    <a:lnTo>
                      <a:pt x="35466" y="700103"/>
                    </a:lnTo>
                    <a:lnTo>
                      <a:pt x="35167" y="700043"/>
                    </a:lnTo>
                    <a:cubicBezTo>
                      <a:pt x="35167" y="700043"/>
                      <a:pt x="35167" y="700043"/>
                      <a:pt x="35167" y="700043"/>
                    </a:cubicBezTo>
                    <a:cubicBezTo>
                      <a:pt x="35167" y="700043"/>
                      <a:pt x="35167" y="700043"/>
                      <a:pt x="35167" y="700043"/>
                    </a:cubicBezTo>
                    <a:cubicBezTo>
                      <a:pt x="35167" y="700043"/>
                      <a:pt x="35167" y="700043"/>
                      <a:pt x="35167" y="700043"/>
                    </a:cubicBezTo>
                    <a:cubicBezTo>
                      <a:pt x="35167" y="700043"/>
                      <a:pt x="35167" y="700043"/>
                      <a:pt x="35167" y="700043"/>
                    </a:cubicBezTo>
                    <a:cubicBezTo>
                      <a:pt x="35167" y="700043"/>
                      <a:pt x="35167" y="700043"/>
                      <a:pt x="35107" y="700043"/>
                    </a:cubicBezTo>
                    <a:cubicBezTo>
                      <a:pt x="35107" y="700043"/>
                      <a:pt x="35107" y="700043"/>
                      <a:pt x="35107" y="700043"/>
                    </a:cubicBezTo>
                    <a:cubicBezTo>
                      <a:pt x="35107" y="700043"/>
                      <a:pt x="35107" y="700043"/>
                      <a:pt x="35107" y="700043"/>
                    </a:cubicBezTo>
                    <a:lnTo>
                      <a:pt x="34808" y="700163"/>
                    </a:lnTo>
                    <a:cubicBezTo>
                      <a:pt x="34808" y="700163"/>
                      <a:pt x="34808" y="700163"/>
                      <a:pt x="34808" y="700163"/>
                    </a:cubicBezTo>
                    <a:cubicBezTo>
                      <a:pt x="34808" y="700163"/>
                      <a:pt x="34808" y="700163"/>
                      <a:pt x="34808" y="700163"/>
                    </a:cubicBezTo>
                    <a:lnTo>
                      <a:pt x="34569" y="700402"/>
                    </a:lnTo>
                    <a:cubicBezTo>
                      <a:pt x="34569" y="700402"/>
                      <a:pt x="34569" y="700462"/>
                      <a:pt x="34569" y="700462"/>
                    </a:cubicBezTo>
                    <a:lnTo>
                      <a:pt x="34210" y="700821"/>
                    </a:lnTo>
                    <a:cubicBezTo>
                      <a:pt x="34210" y="700821"/>
                      <a:pt x="34210" y="700881"/>
                      <a:pt x="34210" y="700881"/>
                    </a:cubicBezTo>
                    <a:lnTo>
                      <a:pt x="34210" y="700881"/>
                    </a:lnTo>
                    <a:cubicBezTo>
                      <a:pt x="34210" y="700881"/>
                      <a:pt x="34210" y="700941"/>
                      <a:pt x="34150" y="700941"/>
                    </a:cubicBezTo>
                    <a:cubicBezTo>
                      <a:pt x="34150" y="700941"/>
                      <a:pt x="34150" y="701000"/>
                      <a:pt x="34150" y="701000"/>
                    </a:cubicBezTo>
                    <a:cubicBezTo>
                      <a:pt x="34150" y="701000"/>
                      <a:pt x="34150" y="701060"/>
                      <a:pt x="34150" y="701060"/>
                    </a:cubicBezTo>
                    <a:cubicBezTo>
                      <a:pt x="34150" y="701060"/>
                      <a:pt x="34150" y="701120"/>
                      <a:pt x="34150" y="701120"/>
                    </a:cubicBezTo>
                    <a:cubicBezTo>
                      <a:pt x="34150" y="701120"/>
                      <a:pt x="34150" y="701120"/>
                      <a:pt x="34150" y="701120"/>
                    </a:cubicBezTo>
                    <a:cubicBezTo>
                      <a:pt x="34150" y="701180"/>
                      <a:pt x="34210" y="701240"/>
                      <a:pt x="34210" y="701240"/>
                    </a:cubicBezTo>
                    <a:cubicBezTo>
                      <a:pt x="34210" y="701240"/>
                      <a:pt x="34210" y="701240"/>
                      <a:pt x="34210" y="701240"/>
                    </a:cubicBezTo>
                    <a:cubicBezTo>
                      <a:pt x="34210" y="701299"/>
                      <a:pt x="34270" y="701359"/>
                      <a:pt x="34329" y="701419"/>
                    </a:cubicBezTo>
                    <a:lnTo>
                      <a:pt x="34329" y="701419"/>
                    </a:lnTo>
                    <a:lnTo>
                      <a:pt x="34988" y="702017"/>
                    </a:lnTo>
                    <a:lnTo>
                      <a:pt x="34868" y="702256"/>
                    </a:lnTo>
                    <a:cubicBezTo>
                      <a:pt x="34808" y="702316"/>
                      <a:pt x="34868" y="702436"/>
                      <a:pt x="34928" y="702496"/>
                    </a:cubicBezTo>
                    <a:cubicBezTo>
                      <a:pt x="34928" y="702496"/>
                      <a:pt x="34928" y="702496"/>
                      <a:pt x="34928" y="702496"/>
                    </a:cubicBezTo>
                    <a:cubicBezTo>
                      <a:pt x="35048" y="702555"/>
                      <a:pt x="35107" y="702555"/>
                      <a:pt x="35167" y="702496"/>
                    </a:cubicBezTo>
                    <a:lnTo>
                      <a:pt x="35286" y="702256"/>
                    </a:lnTo>
                    <a:lnTo>
                      <a:pt x="36782" y="703213"/>
                    </a:lnTo>
                    <a:lnTo>
                      <a:pt x="36543" y="703572"/>
                    </a:lnTo>
                    <a:cubicBezTo>
                      <a:pt x="36543" y="703572"/>
                      <a:pt x="36543" y="703572"/>
                      <a:pt x="36543" y="703572"/>
                    </a:cubicBezTo>
                    <a:cubicBezTo>
                      <a:pt x="36543" y="703572"/>
                      <a:pt x="36543" y="703572"/>
                      <a:pt x="36543" y="703572"/>
                    </a:cubicBezTo>
                    <a:cubicBezTo>
                      <a:pt x="36543" y="703572"/>
                      <a:pt x="36543" y="703572"/>
                      <a:pt x="36543" y="703632"/>
                    </a:cubicBezTo>
                    <a:cubicBezTo>
                      <a:pt x="36543" y="703632"/>
                      <a:pt x="36543" y="703632"/>
                      <a:pt x="36543" y="703632"/>
                    </a:cubicBezTo>
                    <a:lnTo>
                      <a:pt x="36722" y="704708"/>
                    </a:lnTo>
                    <a:lnTo>
                      <a:pt x="29007" y="699804"/>
                    </a:lnTo>
                    <a:close/>
                    <a:moveTo>
                      <a:pt x="37081" y="705127"/>
                    </a:moveTo>
                    <a:lnTo>
                      <a:pt x="36901" y="703931"/>
                    </a:lnTo>
                    <a:lnTo>
                      <a:pt x="37141" y="703572"/>
                    </a:lnTo>
                    <a:lnTo>
                      <a:pt x="38217" y="704110"/>
                    </a:lnTo>
                    <a:lnTo>
                      <a:pt x="38097" y="704290"/>
                    </a:lnTo>
                    <a:cubicBezTo>
                      <a:pt x="38038" y="704350"/>
                      <a:pt x="38097" y="704469"/>
                      <a:pt x="38157" y="704529"/>
                    </a:cubicBezTo>
                    <a:cubicBezTo>
                      <a:pt x="38157" y="704529"/>
                      <a:pt x="38157" y="704529"/>
                      <a:pt x="38157" y="704529"/>
                    </a:cubicBezTo>
                    <a:cubicBezTo>
                      <a:pt x="38277" y="704589"/>
                      <a:pt x="38337" y="704589"/>
                      <a:pt x="38397" y="704529"/>
                    </a:cubicBezTo>
                    <a:lnTo>
                      <a:pt x="38576" y="704230"/>
                    </a:lnTo>
                    <a:lnTo>
                      <a:pt x="38756" y="704110"/>
                    </a:lnTo>
                    <a:cubicBezTo>
                      <a:pt x="38815" y="704110"/>
                      <a:pt x="38815" y="704051"/>
                      <a:pt x="38815" y="704051"/>
                    </a:cubicBezTo>
                    <a:cubicBezTo>
                      <a:pt x="38875" y="704051"/>
                      <a:pt x="38875" y="703991"/>
                      <a:pt x="38875" y="703931"/>
                    </a:cubicBezTo>
                    <a:cubicBezTo>
                      <a:pt x="38875" y="703931"/>
                      <a:pt x="38875" y="703931"/>
                      <a:pt x="38875" y="703871"/>
                    </a:cubicBezTo>
                    <a:lnTo>
                      <a:pt x="38935" y="703034"/>
                    </a:lnTo>
                    <a:cubicBezTo>
                      <a:pt x="38935" y="703034"/>
                      <a:pt x="38935" y="703034"/>
                      <a:pt x="38935" y="703034"/>
                    </a:cubicBezTo>
                    <a:cubicBezTo>
                      <a:pt x="38935" y="703034"/>
                      <a:pt x="38935" y="703034"/>
                      <a:pt x="38935" y="703034"/>
                    </a:cubicBezTo>
                    <a:lnTo>
                      <a:pt x="38935" y="702555"/>
                    </a:lnTo>
                    <a:cubicBezTo>
                      <a:pt x="38935" y="702555"/>
                      <a:pt x="38935" y="702555"/>
                      <a:pt x="38935" y="702555"/>
                    </a:cubicBezTo>
                    <a:cubicBezTo>
                      <a:pt x="38935" y="702555"/>
                      <a:pt x="38935" y="702555"/>
                      <a:pt x="38935" y="702496"/>
                    </a:cubicBezTo>
                    <a:cubicBezTo>
                      <a:pt x="38935" y="702496"/>
                      <a:pt x="38935" y="702496"/>
                      <a:pt x="38935" y="702496"/>
                    </a:cubicBezTo>
                    <a:lnTo>
                      <a:pt x="38935" y="702496"/>
                    </a:lnTo>
                    <a:cubicBezTo>
                      <a:pt x="38935" y="702496"/>
                      <a:pt x="38935" y="702496"/>
                      <a:pt x="38935" y="702496"/>
                    </a:cubicBezTo>
                    <a:lnTo>
                      <a:pt x="38815" y="702197"/>
                    </a:lnTo>
                    <a:cubicBezTo>
                      <a:pt x="38815" y="702197"/>
                      <a:pt x="38815" y="702197"/>
                      <a:pt x="38815" y="702197"/>
                    </a:cubicBezTo>
                    <a:cubicBezTo>
                      <a:pt x="38815" y="702197"/>
                      <a:pt x="38815" y="702197"/>
                      <a:pt x="38815" y="702137"/>
                    </a:cubicBezTo>
                    <a:cubicBezTo>
                      <a:pt x="38815" y="702137"/>
                      <a:pt x="38815" y="702137"/>
                      <a:pt x="38815" y="702077"/>
                    </a:cubicBezTo>
                    <a:cubicBezTo>
                      <a:pt x="38815" y="702077"/>
                      <a:pt x="38815" y="702077"/>
                      <a:pt x="38815" y="702077"/>
                    </a:cubicBezTo>
                    <a:lnTo>
                      <a:pt x="38397" y="701598"/>
                    </a:lnTo>
                    <a:lnTo>
                      <a:pt x="41865" y="703393"/>
                    </a:lnTo>
                    <a:lnTo>
                      <a:pt x="44557" y="708835"/>
                    </a:lnTo>
                    <a:lnTo>
                      <a:pt x="37081" y="705127"/>
                    </a:lnTo>
                    <a:close/>
                    <a:moveTo>
                      <a:pt x="44975" y="709134"/>
                    </a:moveTo>
                    <a:lnTo>
                      <a:pt x="42284" y="703632"/>
                    </a:lnTo>
                    <a:lnTo>
                      <a:pt x="47128" y="705366"/>
                    </a:lnTo>
                    <a:lnTo>
                      <a:pt x="51554" y="711467"/>
                    </a:lnTo>
                    <a:lnTo>
                      <a:pt x="44975" y="709134"/>
                    </a:lnTo>
                    <a:close/>
                    <a:moveTo>
                      <a:pt x="52033" y="711646"/>
                    </a:moveTo>
                    <a:lnTo>
                      <a:pt x="47547" y="705486"/>
                    </a:lnTo>
                    <a:lnTo>
                      <a:pt x="51435" y="706024"/>
                    </a:lnTo>
                    <a:lnTo>
                      <a:pt x="52212" y="706861"/>
                    </a:lnTo>
                    <a:lnTo>
                      <a:pt x="52033" y="707041"/>
                    </a:lnTo>
                    <a:lnTo>
                      <a:pt x="51733" y="707220"/>
                    </a:lnTo>
                    <a:cubicBezTo>
                      <a:pt x="51674" y="707280"/>
                      <a:pt x="51674" y="707400"/>
                      <a:pt x="51733" y="707460"/>
                    </a:cubicBezTo>
                    <a:cubicBezTo>
                      <a:pt x="51733" y="707460"/>
                      <a:pt x="51733" y="707460"/>
                      <a:pt x="51793" y="707460"/>
                    </a:cubicBezTo>
                    <a:cubicBezTo>
                      <a:pt x="51853" y="707519"/>
                      <a:pt x="51973" y="707519"/>
                      <a:pt x="52033" y="707519"/>
                    </a:cubicBezTo>
                    <a:lnTo>
                      <a:pt x="52093" y="707460"/>
                    </a:lnTo>
                    <a:lnTo>
                      <a:pt x="52331" y="708357"/>
                    </a:lnTo>
                    <a:cubicBezTo>
                      <a:pt x="52331" y="708416"/>
                      <a:pt x="52391" y="708476"/>
                      <a:pt x="52451" y="708476"/>
                    </a:cubicBezTo>
                    <a:cubicBezTo>
                      <a:pt x="52451" y="708476"/>
                      <a:pt x="52451" y="708476"/>
                      <a:pt x="52511" y="708476"/>
                    </a:cubicBezTo>
                    <a:cubicBezTo>
                      <a:pt x="52511" y="708536"/>
                      <a:pt x="52571" y="708596"/>
                      <a:pt x="52571" y="708656"/>
                    </a:cubicBezTo>
                    <a:cubicBezTo>
                      <a:pt x="52571" y="708715"/>
                      <a:pt x="52631" y="708715"/>
                      <a:pt x="52631" y="708775"/>
                    </a:cubicBezTo>
                    <a:cubicBezTo>
                      <a:pt x="52631" y="708775"/>
                      <a:pt x="52631" y="708775"/>
                      <a:pt x="52631" y="708835"/>
                    </a:cubicBezTo>
                    <a:cubicBezTo>
                      <a:pt x="52631" y="708835"/>
                      <a:pt x="52631" y="708835"/>
                      <a:pt x="52631" y="708835"/>
                    </a:cubicBezTo>
                    <a:cubicBezTo>
                      <a:pt x="52631" y="708835"/>
                      <a:pt x="52631" y="708835"/>
                      <a:pt x="52631" y="708835"/>
                    </a:cubicBezTo>
                    <a:cubicBezTo>
                      <a:pt x="52631" y="708835"/>
                      <a:pt x="52631" y="708895"/>
                      <a:pt x="52691" y="708895"/>
                    </a:cubicBezTo>
                    <a:cubicBezTo>
                      <a:pt x="52691" y="708895"/>
                      <a:pt x="52691" y="708895"/>
                      <a:pt x="52750" y="708895"/>
                    </a:cubicBezTo>
                    <a:cubicBezTo>
                      <a:pt x="52750" y="708895"/>
                      <a:pt x="52810" y="708955"/>
                      <a:pt x="52810" y="708955"/>
                    </a:cubicBezTo>
                    <a:cubicBezTo>
                      <a:pt x="52870" y="709015"/>
                      <a:pt x="52870" y="709015"/>
                      <a:pt x="52930" y="709015"/>
                    </a:cubicBezTo>
                    <a:lnTo>
                      <a:pt x="52930" y="709015"/>
                    </a:lnTo>
                    <a:cubicBezTo>
                      <a:pt x="52930" y="709074"/>
                      <a:pt x="52990" y="709074"/>
                      <a:pt x="52990" y="709134"/>
                    </a:cubicBezTo>
                    <a:cubicBezTo>
                      <a:pt x="52990" y="709134"/>
                      <a:pt x="53049" y="709194"/>
                      <a:pt x="53049" y="709194"/>
                    </a:cubicBezTo>
                    <a:lnTo>
                      <a:pt x="54246" y="709732"/>
                    </a:lnTo>
                    <a:lnTo>
                      <a:pt x="54186" y="709912"/>
                    </a:lnTo>
                    <a:cubicBezTo>
                      <a:pt x="54186" y="709971"/>
                      <a:pt x="54186" y="710091"/>
                      <a:pt x="54246" y="710151"/>
                    </a:cubicBezTo>
                    <a:cubicBezTo>
                      <a:pt x="54246" y="710151"/>
                      <a:pt x="54246" y="710151"/>
                      <a:pt x="54305" y="710151"/>
                    </a:cubicBezTo>
                    <a:cubicBezTo>
                      <a:pt x="54425" y="710211"/>
                      <a:pt x="54485" y="710211"/>
                      <a:pt x="54544" y="710151"/>
                    </a:cubicBezTo>
                    <a:lnTo>
                      <a:pt x="54664" y="709912"/>
                    </a:lnTo>
                    <a:lnTo>
                      <a:pt x="55860" y="710151"/>
                    </a:lnTo>
                    <a:lnTo>
                      <a:pt x="55741" y="710450"/>
                    </a:lnTo>
                    <a:cubicBezTo>
                      <a:pt x="55741" y="710450"/>
                      <a:pt x="55741" y="710450"/>
                      <a:pt x="55741" y="710450"/>
                    </a:cubicBezTo>
                    <a:cubicBezTo>
                      <a:pt x="55741" y="710450"/>
                      <a:pt x="55741" y="710450"/>
                      <a:pt x="55741" y="710450"/>
                    </a:cubicBezTo>
                    <a:cubicBezTo>
                      <a:pt x="55741" y="710450"/>
                      <a:pt x="55741" y="710450"/>
                      <a:pt x="55741" y="710510"/>
                    </a:cubicBezTo>
                    <a:cubicBezTo>
                      <a:pt x="55741" y="710510"/>
                      <a:pt x="55741" y="710510"/>
                      <a:pt x="55741" y="710510"/>
                    </a:cubicBezTo>
                    <a:cubicBezTo>
                      <a:pt x="55741" y="710510"/>
                      <a:pt x="55741" y="710510"/>
                      <a:pt x="55741" y="710570"/>
                    </a:cubicBezTo>
                    <a:cubicBezTo>
                      <a:pt x="55741" y="710570"/>
                      <a:pt x="55741" y="710570"/>
                      <a:pt x="55741" y="710570"/>
                    </a:cubicBezTo>
                    <a:cubicBezTo>
                      <a:pt x="55741" y="710570"/>
                      <a:pt x="55741" y="710570"/>
                      <a:pt x="55741" y="710629"/>
                    </a:cubicBezTo>
                    <a:cubicBezTo>
                      <a:pt x="55741" y="710629"/>
                      <a:pt x="55741" y="710629"/>
                      <a:pt x="55741" y="710629"/>
                    </a:cubicBezTo>
                    <a:lnTo>
                      <a:pt x="57236" y="712244"/>
                    </a:lnTo>
                    <a:lnTo>
                      <a:pt x="52033" y="711646"/>
                    </a:lnTo>
                    <a:close/>
                    <a:moveTo>
                      <a:pt x="56399" y="709613"/>
                    </a:moveTo>
                    <a:lnTo>
                      <a:pt x="56399" y="709613"/>
                    </a:lnTo>
                    <a:lnTo>
                      <a:pt x="56339" y="709433"/>
                    </a:lnTo>
                    <a:lnTo>
                      <a:pt x="56399" y="709433"/>
                    </a:lnTo>
                    <a:lnTo>
                      <a:pt x="56399" y="709613"/>
                    </a:lnTo>
                    <a:close/>
                    <a:moveTo>
                      <a:pt x="53229" y="708117"/>
                    </a:moveTo>
                    <a:lnTo>
                      <a:pt x="53408" y="707699"/>
                    </a:lnTo>
                    <a:lnTo>
                      <a:pt x="53588" y="707818"/>
                    </a:lnTo>
                    <a:lnTo>
                      <a:pt x="53229" y="708117"/>
                    </a:lnTo>
                    <a:close/>
                    <a:moveTo>
                      <a:pt x="53886" y="708177"/>
                    </a:moveTo>
                    <a:lnTo>
                      <a:pt x="54006" y="708357"/>
                    </a:lnTo>
                    <a:lnTo>
                      <a:pt x="53468" y="708476"/>
                    </a:lnTo>
                    <a:lnTo>
                      <a:pt x="53886" y="708177"/>
                    </a:lnTo>
                    <a:close/>
                    <a:moveTo>
                      <a:pt x="54186" y="708715"/>
                    </a:moveTo>
                    <a:lnTo>
                      <a:pt x="54246" y="708955"/>
                    </a:lnTo>
                    <a:lnTo>
                      <a:pt x="53588" y="708835"/>
                    </a:lnTo>
                    <a:lnTo>
                      <a:pt x="54186" y="708715"/>
                    </a:lnTo>
                    <a:close/>
                    <a:moveTo>
                      <a:pt x="54664" y="708955"/>
                    </a:moveTo>
                    <a:lnTo>
                      <a:pt x="54544" y="708656"/>
                    </a:lnTo>
                    <a:lnTo>
                      <a:pt x="55741" y="708536"/>
                    </a:lnTo>
                    <a:lnTo>
                      <a:pt x="55920" y="709074"/>
                    </a:lnTo>
                    <a:lnTo>
                      <a:pt x="54664" y="708955"/>
                    </a:lnTo>
                    <a:close/>
                    <a:moveTo>
                      <a:pt x="54365" y="708297"/>
                    </a:moveTo>
                    <a:lnTo>
                      <a:pt x="54186" y="707998"/>
                    </a:lnTo>
                    <a:lnTo>
                      <a:pt x="55203" y="707699"/>
                    </a:lnTo>
                    <a:lnTo>
                      <a:pt x="55561" y="708177"/>
                    </a:lnTo>
                    <a:lnTo>
                      <a:pt x="54365" y="708297"/>
                    </a:lnTo>
                    <a:close/>
                    <a:moveTo>
                      <a:pt x="54843" y="707400"/>
                    </a:moveTo>
                    <a:lnTo>
                      <a:pt x="53827" y="707699"/>
                    </a:lnTo>
                    <a:lnTo>
                      <a:pt x="53588" y="707519"/>
                    </a:lnTo>
                    <a:lnTo>
                      <a:pt x="54425" y="707041"/>
                    </a:lnTo>
                    <a:lnTo>
                      <a:pt x="54843" y="707400"/>
                    </a:lnTo>
                    <a:close/>
                    <a:moveTo>
                      <a:pt x="53049" y="707519"/>
                    </a:moveTo>
                    <a:lnTo>
                      <a:pt x="52870" y="707878"/>
                    </a:lnTo>
                    <a:lnTo>
                      <a:pt x="52870" y="707460"/>
                    </a:lnTo>
                    <a:lnTo>
                      <a:pt x="53049" y="707519"/>
                    </a:lnTo>
                    <a:close/>
                    <a:moveTo>
                      <a:pt x="52511" y="707400"/>
                    </a:moveTo>
                    <a:lnTo>
                      <a:pt x="52511" y="707699"/>
                    </a:lnTo>
                    <a:lnTo>
                      <a:pt x="52391" y="707400"/>
                    </a:lnTo>
                    <a:lnTo>
                      <a:pt x="52511" y="707400"/>
                    </a:lnTo>
                    <a:close/>
                    <a:moveTo>
                      <a:pt x="54365" y="709254"/>
                    </a:moveTo>
                    <a:lnTo>
                      <a:pt x="54365" y="709433"/>
                    </a:lnTo>
                    <a:lnTo>
                      <a:pt x="53708" y="709134"/>
                    </a:lnTo>
                    <a:lnTo>
                      <a:pt x="54365" y="709254"/>
                    </a:lnTo>
                    <a:close/>
                    <a:moveTo>
                      <a:pt x="54724" y="709613"/>
                    </a:moveTo>
                    <a:lnTo>
                      <a:pt x="54724" y="709314"/>
                    </a:lnTo>
                    <a:lnTo>
                      <a:pt x="55980" y="709373"/>
                    </a:lnTo>
                    <a:lnTo>
                      <a:pt x="55980" y="709852"/>
                    </a:lnTo>
                    <a:lnTo>
                      <a:pt x="54724" y="709613"/>
                    </a:lnTo>
                    <a:close/>
                    <a:moveTo>
                      <a:pt x="56219" y="709015"/>
                    </a:moveTo>
                    <a:lnTo>
                      <a:pt x="56039" y="708536"/>
                    </a:lnTo>
                    <a:lnTo>
                      <a:pt x="56159" y="708596"/>
                    </a:lnTo>
                    <a:lnTo>
                      <a:pt x="56279" y="708955"/>
                    </a:lnTo>
                    <a:lnTo>
                      <a:pt x="56219" y="709015"/>
                    </a:lnTo>
                    <a:close/>
                    <a:moveTo>
                      <a:pt x="55860" y="708177"/>
                    </a:moveTo>
                    <a:lnTo>
                      <a:pt x="55681" y="707938"/>
                    </a:lnTo>
                    <a:lnTo>
                      <a:pt x="55801" y="707998"/>
                    </a:lnTo>
                    <a:lnTo>
                      <a:pt x="55980" y="708237"/>
                    </a:lnTo>
                    <a:lnTo>
                      <a:pt x="55860" y="708177"/>
                    </a:lnTo>
                    <a:close/>
                    <a:moveTo>
                      <a:pt x="53229" y="707220"/>
                    </a:moveTo>
                    <a:lnTo>
                      <a:pt x="53109" y="707161"/>
                    </a:lnTo>
                    <a:lnTo>
                      <a:pt x="53708" y="706682"/>
                    </a:lnTo>
                    <a:lnTo>
                      <a:pt x="54006" y="706802"/>
                    </a:lnTo>
                    <a:lnTo>
                      <a:pt x="53229" y="707220"/>
                    </a:lnTo>
                    <a:close/>
                    <a:moveTo>
                      <a:pt x="52870" y="706802"/>
                    </a:moveTo>
                    <a:lnTo>
                      <a:pt x="52990" y="706682"/>
                    </a:lnTo>
                    <a:lnTo>
                      <a:pt x="53049" y="706682"/>
                    </a:lnTo>
                    <a:lnTo>
                      <a:pt x="52870" y="706802"/>
                    </a:lnTo>
                    <a:close/>
                    <a:moveTo>
                      <a:pt x="57774" y="712364"/>
                    </a:moveTo>
                    <a:lnTo>
                      <a:pt x="56219" y="710689"/>
                    </a:lnTo>
                    <a:lnTo>
                      <a:pt x="56399" y="710270"/>
                    </a:lnTo>
                    <a:lnTo>
                      <a:pt x="56458" y="710211"/>
                    </a:lnTo>
                    <a:cubicBezTo>
                      <a:pt x="56578" y="710270"/>
                      <a:pt x="56638" y="710270"/>
                      <a:pt x="56698" y="710211"/>
                    </a:cubicBezTo>
                    <a:lnTo>
                      <a:pt x="56817" y="709852"/>
                    </a:lnTo>
                    <a:cubicBezTo>
                      <a:pt x="56817" y="709852"/>
                      <a:pt x="56817" y="709852"/>
                      <a:pt x="56817" y="709852"/>
                    </a:cubicBezTo>
                    <a:cubicBezTo>
                      <a:pt x="56817" y="709852"/>
                      <a:pt x="56817" y="709852"/>
                      <a:pt x="56817" y="709852"/>
                    </a:cubicBezTo>
                    <a:cubicBezTo>
                      <a:pt x="56817" y="709852"/>
                      <a:pt x="56817" y="709852"/>
                      <a:pt x="56817" y="709852"/>
                    </a:cubicBezTo>
                    <a:lnTo>
                      <a:pt x="56757" y="709254"/>
                    </a:lnTo>
                    <a:cubicBezTo>
                      <a:pt x="56757" y="709254"/>
                      <a:pt x="56757" y="709254"/>
                      <a:pt x="56757" y="709254"/>
                    </a:cubicBezTo>
                    <a:cubicBezTo>
                      <a:pt x="56757" y="709254"/>
                      <a:pt x="56757" y="709254"/>
                      <a:pt x="56757" y="709254"/>
                    </a:cubicBezTo>
                    <a:cubicBezTo>
                      <a:pt x="56757" y="709254"/>
                      <a:pt x="56757" y="709254"/>
                      <a:pt x="56757" y="709254"/>
                    </a:cubicBezTo>
                    <a:lnTo>
                      <a:pt x="56518" y="708596"/>
                    </a:lnTo>
                    <a:cubicBezTo>
                      <a:pt x="56518" y="708596"/>
                      <a:pt x="56518" y="708596"/>
                      <a:pt x="56518" y="708596"/>
                    </a:cubicBezTo>
                    <a:cubicBezTo>
                      <a:pt x="56518" y="708596"/>
                      <a:pt x="56518" y="708596"/>
                      <a:pt x="56518" y="708596"/>
                    </a:cubicBezTo>
                    <a:cubicBezTo>
                      <a:pt x="56518" y="708596"/>
                      <a:pt x="56518" y="708596"/>
                      <a:pt x="56518" y="708596"/>
                    </a:cubicBezTo>
                    <a:lnTo>
                      <a:pt x="56099" y="707998"/>
                    </a:lnTo>
                    <a:cubicBezTo>
                      <a:pt x="56099" y="707998"/>
                      <a:pt x="56099" y="707998"/>
                      <a:pt x="56099" y="707998"/>
                    </a:cubicBezTo>
                    <a:cubicBezTo>
                      <a:pt x="56099" y="707998"/>
                      <a:pt x="56099" y="707998"/>
                      <a:pt x="56039" y="707938"/>
                    </a:cubicBezTo>
                    <a:cubicBezTo>
                      <a:pt x="56039" y="707938"/>
                      <a:pt x="56039" y="707938"/>
                      <a:pt x="56039" y="707938"/>
                    </a:cubicBezTo>
                    <a:lnTo>
                      <a:pt x="55501" y="707460"/>
                    </a:lnTo>
                    <a:cubicBezTo>
                      <a:pt x="55501" y="707460"/>
                      <a:pt x="55501" y="707460"/>
                      <a:pt x="55501" y="707460"/>
                    </a:cubicBezTo>
                    <a:cubicBezTo>
                      <a:pt x="55501" y="707460"/>
                      <a:pt x="55501" y="707460"/>
                      <a:pt x="55501" y="707460"/>
                    </a:cubicBezTo>
                    <a:lnTo>
                      <a:pt x="54604" y="706921"/>
                    </a:lnTo>
                    <a:cubicBezTo>
                      <a:pt x="54604" y="706921"/>
                      <a:pt x="54604" y="706921"/>
                      <a:pt x="54604" y="706921"/>
                    </a:cubicBezTo>
                    <a:cubicBezTo>
                      <a:pt x="54604" y="706921"/>
                      <a:pt x="54604" y="706921"/>
                      <a:pt x="54604" y="706921"/>
                    </a:cubicBezTo>
                    <a:cubicBezTo>
                      <a:pt x="54604" y="706921"/>
                      <a:pt x="54604" y="706921"/>
                      <a:pt x="54604" y="706921"/>
                    </a:cubicBezTo>
                    <a:lnTo>
                      <a:pt x="53767" y="706562"/>
                    </a:lnTo>
                    <a:cubicBezTo>
                      <a:pt x="53767" y="706562"/>
                      <a:pt x="53767" y="706562"/>
                      <a:pt x="53767" y="706562"/>
                    </a:cubicBezTo>
                    <a:cubicBezTo>
                      <a:pt x="53767" y="706562"/>
                      <a:pt x="53767" y="706562"/>
                      <a:pt x="53767" y="706562"/>
                    </a:cubicBezTo>
                    <a:cubicBezTo>
                      <a:pt x="53767" y="706562"/>
                      <a:pt x="53767" y="706562"/>
                      <a:pt x="53708" y="706562"/>
                    </a:cubicBezTo>
                    <a:cubicBezTo>
                      <a:pt x="53708" y="706562"/>
                      <a:pt x="53708" y="706562"/>
                      <a:pt x="53708" y="706562"/>
                    </a:cubicBezTo>
                    <a:cubicBezTo>
                      <a:pt x="53708" y="706562"/>
                      <a:pt x="53708" y="706562"/>
                      <a:pt x="53708" y="706562"/>
                    </a:cubicBezTo>
                    <a:lnTo>
                      <a:pt x="52990" y="706562"/>
                    </a:lnTo>
                    <a:cubicBezTo>
                      <a:pt x="52990" y="706562"/>
                      <a:pt x="52990" y="706562"/>
                      <a:pt x="52990" y="706562"/>
                    </a:cubicBezTo>
                    <a:cubicBezTo>
                      <a:pt x="52990" y="706562"/>
                      <a:pt x="52990" y="706562"/>
                      <a:pt x="52990" y="706562"/>
                    </a:cubicBezTo>
                    <a:cubicBezTo>
                      <a:pt x="52990" y="706562"/>
                      <a:pt x="52990" y="706562"/>
                      <a:pt x="52990" y="706562"/>
                    </a:cubicBezTo>
                    <a:cubicBezTo>
                      <a:pt x="52990" y="706562"/>
                      <a:pt x="52990" y="706562"/>
                      <a:pt x="52990" y="706562"/>
                    </a:cubicBezTo>
                    <a:cubicBezTo>
                      <a:pt x="52990" y="706562"/>
                      <a:pt x="52990" y="706562"/>
                      <a:pt x="52990" y="706562"/>
                    </a:cubicBezTo>
                    <a:lnTo>
                      <a:pt x="52691" y="706802"/>
                    </a:lnTo>
                    <a:lnTo>
                      <a:pt x="52093" y="706204"/>
                    </a:lnTo>
                    <a:lnTo>
                      <a:pt x="54843" y="705546"/>
                    </a:lnTo>
                    <a:lnTo>
                      <a:pt x="61781" y="711646"/>
                    </a:lnTo>
                    <a:lnTo>
                      <a:pt x="57774" y="712364"/>
                    </a:lnTo>
                    <a:close/>
                    <a:moveTo>
                      <a:pt x="54784" y="705187"/>
                    </a:moveTo>
                    <a:lnTo>
                      <a:pt x="56219" y="703452"/>
                    </a:lnTo>
                    <a:lnTo>
                      <a:pt x="63695" y="708895"/>
                    </a:lnTo>
                    <a:lnTo>
                      <a:pt x="61781" y="711347"/>
                    </a:lnTo>
                    <a:lnTo>
                      <a:pt x="54784" y="705187"/>
                    </a:lnTo>
                    <a:close/>
                    <a:moveTo>
                      <a:pt x="52271" y="700522"/>
                    </a:moveTo>
                    <a:cubicBezTo>
                      <a:pt x="52212" y="700522"/>
                      <a:pt x="52212" y="700522"/>
                      <a:pt x="52271" y="700522"/>
                    </a:cubicBezTo>
                    <a:cubicBezTo>
                      <a:pt x="52212" y="700582"/>
                      <a:pt x="52212" y="700582"/>
                      <a:pt x="52271" y="700522"/>
                    </a:cubicBezTo>
                    <a:cubicBezTo>
                      <a:pt x="52271" y="700582"/>
                      <a:pt x="52271" y="700582"/>
                      <a:pt x="52271" y="700582"/>
                    </a:cubicBezTo>
                    <a:cubicBezTo>
                      <a:pt x="52271" y="700582"/>
                      <a:pt x="52271" y="700582"/>
                      <a:pt x="52271" y="700641"/>
                    </a:cubicBezTo>
                    <a:cubicBezTo>
                      <a:pt x="52271" y="700641"/>
                      <a:pt x="52271" y="700641"/>
                      <a:pt x="52271" y="700701"/>
                    </a:cubicBezTo>
                    <a:cubicBezTo>
                      <a:pt x="52271" y="700701"/>
                      <a:pt x="52271" y="700701"/>
                      <a:pt x="52331" y="700761"/>
                    </a:cubicBezTo>
                    <a:cubicBezTo>
                      <a:pt x="52331" y="700761"/>
                      <a:pt x="52331" y="700761"/>
                      <a:pt x="52331" y="700761"/>
                    </a:cubicBezTo>
                    <a:lnTo>
                      <a:pt x="54544" y="702735"/>
                    </a:lnTo>
                    <a:lnTo>
                      <a:pt x="51973" y="703333"/>
                    </a:lnTo>
                    <a:lnTo>
                      <a:pt x="50059" y="701299"/>
                    </a:lnTo>
                    <a:lnTo>
                      <a:pt x="63336" y="678752"/>
                    </a:lnTo>
                    <a:lnTo>
                      <a:pt x="65250" y="678034"/>
                    </a:lnTo>
                    <a:lnTo>
                      <a:pt x="52271" y="700522"/>
                    </a:lnTo>
                    <a:cubicBezTo>
                      <a:pt x="52271" y="700522"/>
                      <a:pt x="52271" y="700522"/>
                      <a:pt x="52271" y="700522"/>
                    </a:cubicBezTo>
                    <a:close/>
                    <a:moveTo>
                      <a:pt x="63815" y="678154"/>
                    </a:moveTo>
                    <a:lnTo>
                      <a:pt x="86780" y="649028"/>
                    </a:lnTo>
                    <a:lnTo>
                      <a:pt x="88575" y="648370"/>
                    </a:lnTo>
                    <a:lnTo>
                      <a:pt x="65728" y="677436"/>
                    </a:lnTo>
                    <a:lnTo>
                      <a:pt x="63815" y="678154"/>
                    </a:lnTo>
                    <a:close/>
                    <a:moveTo>
                      <a:pt x="87259" y="648430"/>
                    </a:moveTo>
                    <a:lnTo>
                      <a:pt x="110584" y="618885"/>
                    </a:lnTo>
                    <a:lnTo>
                      <a:pt x="112258" y="618347"/>
                    </a:lnTo>
                    <a:lnTo>
                      <a:pt x="89053" y="647772"/>
                    </a:lnTo>
                    <a:lnTo>
                      <a:pt x="87259" y="648430"/>
                    </a:lnTo>
                    <a:close/>
                    <a:moveTo>
                      <a:pt x="110943" y="618407"/>
                    </a:moveTo>
                    <a:lnTo>
                      <a:pt x="134566" y="588443"/>
                    </a:lnTo>
                    <a:lnTo>
                      <a:pt x="136121" y="588025"/>
                    </a:lnTo>
                    <a:lnTo>
                      <a:pt x="112617" y="617868"/>
                    </a:lnTo>
                    <a:lnTo>
                      <a:pt x="110943" y="618407"/>
                    </a:lnTo>
                    <a:close/>
                    <a:moveTo>
                      <a:pt x="134985" y="587965"/>
                    </a:moveTo>
                    <a:lnTo>
                      <a:pt x="158908" y="557643"/>
                    </a:lnTo>
                    <a:lnTo>
                      <a:pt x="160344" y="557284"/>
                    </a:lnTo>
                    <a:lnTo>
                      <a:pt x="136540" y="587546"/>
                    </a:lnTo>
                    <a:lnTo>
                      <a:pt x="134985" y="587965"/>
                    </a:lnTo>
                    <a:close/>
                    <a:moveTo>
                      <a:pt x="159267" y="557164"/>
                    </a:moveTo>
                    <a:lnTo>
                      <a:pt x="183549" y="526423"/>
                    </a:lnTo>
                    <a:lnTo>
                      <a:pt x="184864" y="526124"/>
                    </a:lnTo>
                    <a:lnTo>
                      <a:pt x="160702" y="556805"/>
                    </a:lnTo>
                    <a:lnTo>
                      <a:pt x="159267" y="557164"/>
                    </a:lnTo>
                    <a:close/>
                    <a:moveTo>
                      <a:pt x="183907" y="525945"/>
                    </a:moveTo>
                    <a:lnTo>
                      <a:pt x="208489" y="494785"/>
                    </a:lnTo>
                    <a:lnTo>
                      <a:pt x="209684" y="494606"/>
                    </a:lnTo>
                    <a:lnTo>
                      <a:pt x="185224" y="525705"/>
                    </a:lnTo>
                    <a:lnTo>
                      <a:pt x="183907" y="525945"/>
                    </a:lnTo>
                    <a:close/>
                    <a:moveTo>
                      <a:pt x="208847" y="494307"/>
                    </a:moveTo>
                    <a:lnTo>
                      <a:pt x="233787" y="462669"/>
                    </a:lnTo>
                    <a:lnTo>
                      <a:pt x="234863" y="462549"/>
                    </a:lnTo>
                    <a:lnTo>
                      <a:pt x="210043" y="494067"/>
                    </a:lnTo>
                    <a:lnTo>
                      <a:pt x="208847" y="494307"/>
                    </a:lnTo>
                    <a:close/>
                    <a:moveTo>
                      <a:pt x="234086" y="462310"/>
                    </a:moveTo>
                    <a:lnTo>
                      <a:pt x="259384" y="430253"/>
                    </a:lnTo>
                    <a:lnTo>
                      <a:pt x="260401" y="430193"/>
                    </a:lnTo>
                    <a:lnTo>
                      <a:pt x="235222" y="462190"/>
                    </a:lnTo>
                    <a:lnTo>
                      <a:pt x="234086" y="462310"/>
                    </a:lnTo>
                    <a:close/>
                    <a:moveTo>
                      <a:pt x="259683" y="429894"/>
                    </a:moveTo>
                    <a:lnTo>
                      <a:pt x="285341" y="397419"/>
                    </a:lnTo>
                    <a:lnTo>
                      <a:pt x="286238" y="397419"/>
                    </a:lnTo>
                    <a:lnTo>
                      <a:pt x="260700" y="429834"/>
                    </a:lnTo>
                    <a:lnTo>
                      <a:pt x="259683" y="429894"/>
                    </a:lnTo>
                    <a:close/>
                    <a:moveTo>
                      <a:pt x="285580" y="397060"/>
                    </a:moveTo>
                    <a:lnTo>
                      <a:pt x="311536" y="364106"/>
                    </a:lnTo>
                    <a:lnTo>
                      <a:pt x="312314" y="364166"/>
                    </a:lnTo>
                    <a:lnTo>
                      <a:pt x="286417" y="397060"/>
                    </a:lnTo>
                    <a:lnTo>
                      <a:pt x="285580" y="397060"/>
                    </a:lnTo>
                    <a:close/>
                    <a:moveTo>
                      <a:pt x="311835" y="363748"/>
                    </a:moveTo>
                    <a:lnTo>
                      <a:pt x="338150" y="330375"/>
                    </a:lnTo>
                    <a:lnTo>
                      <a:pt x="338868" y="330495"/>
                    </a:lnTo>
                    <a:lnTo>
                      <a:pt x="312612" y="363807"/>
                    </a:lnTo>
                    <a:lnTo>
                      <a:pt x="311835" y="363748"/>
                    </a:lnTo>
                    <a:close/>
                    <a:moveTo>
                      <a:pt x="338450" y="330076"/>
                    </a:moveTo>
                    <a:lnTo>
                      <a:pt x="365183" y="296225"/>
                    </a:lnTo>
                    <a:lnTo>
                      <a:pt x="365781" y="296405"/>
                    </a:lnTo>
                    <a:lnTo>
                      <a:pt x="339167" y="330196"/>
                    </a:lnTo>
                    <a:lnTo>
                      <a:pt x="338450" y="330076"/>
                    </a:lnTo>
                    <a:close/>
                    <a:moveTo>
                      <a:pt x="391199" y="260460"/>
                    </a:moveTo>
                    <a:lnTo>
                      <a:pt x="416677" y="228284"/>
                    </a:lnTo>
                    <a:lnTo>
                      <a:pt x="417694" y="229062"/>
                    </a:lnTo>
                    <a:lnTo>
                      <a:pt x="392396" y="261118"/>
                    </a:lnTo>
                    <a:lnTo>
                      <a:pt x="391199" y="260460"/>
                    </a:lnTo>
                    <a:close/>
                    <a:moveTo>
                      <a:pt x="409321" y="223619"/>
                    </a:moveTo>
                    <a:lnTo>
                      <a:pt x="383903" y="255078"/>
                    </a:lnTo>
                    <a:lnTo>
                      <a:pt x="381630" y="253164"/>
                    </a:lnTo>
                    <a:lnTo>
                      <a:pt x="400410" y="230078"/>
                    </a:lnTo>
                    <a:lnTo>
                      <a:pt x="400470" y="230078"/>
                    </a:lnTo>
                    <a:cubicBezTo>
                      <a:pt x="400470" y="230078"/>
                      <a:pt x="400470" y="230078"/>
                      <a:pt x="400470" y="230078"/>
                    </a:cubicBezTo>
                    <a:cubicBezTo>
                      <a:pt x="400470" y="230078"/>
                      <a:pt x="400470" y="230078"/>
                      <a:pt x="400470" y="230078"/>
                    </a:cubicBezTo>
                    <a:cubicBezTo>
                      <a:pt x="400470" y="230078"/>
                      <a:pt x="400470" y="230078"/>
                      <a:pt x="400470" y="230078"/>
                    </a:cubicBezTo>
                    <a:cubicBezTo>
                      <a:pt x="400470" y="230078"/>
                      <a:pt x="400470" y="230078"/>
                      <a:pt x="400470" y="230078"/>
                    </a:cubicBezTo>
                    <a:cubicBezTo>
                      <a:pt x="400470" y="230078"/>
                      <a:pt x="400470" y="230078"/>
                      <a:pt x="400470" y="230078"/>
                    </a:cubicBezTo>
                    <a:cubicBezTo>
                      <a:pt x="400470" y="230078"/>
                      <a:pt x="400470" y="230078"/>
                      <a:pt x="400470" y="230078"/>
                    </a:cubicBezTo>
                    <a:lnTo>
                      <a:pt x="400470" y="230078"/>
                    </a:lnTo>
                    <a:cubicBezTo>
                      <a:pt x="400470" y="230078"/>
                      <a:pt x="400470" y="230078"/>
                      <a:pt x="400470" y="230078"/>
                    </a:cubicBezTo>
                    <a:cubicBezTo>
                      <a:pt x="400470" y="230078"/>
                      <a:pt x="400470" y="230078"/>
                      <a:pt x="400470" y="230078"/>
                    </a:cubicBezTo>
                    <a:lnTo>
                      <a:pt x="409321" y="223619"/>
                    </a:lnTo>
                    <a:close/>
                    <a:moveTo>
                      <a:pt x="399991" y="230078"/>
                    </a:moveTo>
                    <a:lnTo>
                      <a:pt x="381391" y="252985"/>
                    </a:lnTo>
                    <a:lnTo>
                      <a:pt x="379238" y="251131"/>
                    </a:lnTo>
                    <a:lnTo>
                      <a:pt x="396881" y="229540"/>
                    </a:lnTo>
                    <a:lnTo>
                      <a:pt x="399991" y="230078"/>
                    </a:lnTo>
                    <a:close/>
                    <a:moveTo>
                      <a:pt x="396462" y="229420"/>
                    </a:moveTo>
                    <a:lnTo>
                      <a:pt x="378939" y="250831"/>
                    </a:lnTo>
                    <a:lnTo>
                      <a:pt x="377145" y="249157"/>
                    </a:lnTo>
                    <a:lnTo>
                      <a:pt x="393771" y="229002"/>
                    </a:lnTo>
                    <a:lnTo>
                      <a:pt x="396462" y="229420"/>
                    </a:lnTo>
                    <a:close/>
                    <a:moveTo>
                      <a:pt x="393292" y="228882"/>
                    </a:moveTo>
                    <a:lnTo>
                      <a:pt x="376845" y="248858"/>
                    </a:lnTo>
                    <a:lnTo>
                      <a:pt x="375470" y="247482"/>
                    </a:lnTo>
                    <a:lnTo>
                      <a:pt x="391199" y="228523"/>
                    </a:lnTo>
                    <a:lnTo>
                      <a:pt x="393292" y="228882"/>
                    </a:lnTo>
                    <a:close/>
                    <a:moveTo>
                      <a:pt x="374992" y="247482"/>
                    </a:moveTo>
                    <a:lnTo>
                      <a:pt x="347002" y="281273"/>
                    </a:lnTo>
                    <a:lnTo>
                      <a:pt x="346224" y="280197"/>
                    </a:lnTo>
                    <a:lnTo>
                      <a:pt x="374214" y="246525"/>
                    </a:lnTo>
                    <a:lnTo>
                      <a:pt x="374992" y="247482"/>
                    </a:lnTo>
                    <a:close/>
                    <a:moveTo>
                      <a:pt x="346763" y="281572"/>
                    </a:moveTo>
                    <a:lnTo>
                      <a:pt x="319132" y="314945"/>
                    </a:lnTo>
                    <a:lnTo>
                      <a:pt x="318354" y="313749"/>
                    </a:lnTo>
                    <a:lnTo>
                      <a:pt x="345985" y="280496"/>
                    </a:lnTo>
                    <a:lnTo>
                      <a:pt x="346763" y="281572"/>
                    </a:lnTo>
                    <a:close/>
                    <a:moveTo>
                      <a:pt x="318893" y="315244"/>
                    </a:moveTo>
                    <a:lnTo>
                      <a:pt x="291620" y="348198"/>
                    </a:lnTo>
                    <a:lnTo>
                      <a:pt x="290843" y="346882"/>
                    </a:lnTo>
                    <a:lnTo>
                      <a:pt x="318115" y="314048"/>
                    </a:lnTo>
                    <a:lnTo>
                      <a:pt x="318893" y="315244"/>
                    </a:lnTo>
                    <a:close/>
                    <a:moveTo>
                      <a:pt x="291441" y="348437"/>
                    </a:moveTo>
                    <a:lnTo>
                      <a:pt x="264528" y="380972"/>
                    </a:lnTo>
                    <a:lnTo>
                      <a:pt x="263750" y="379537"/>
                    </a:lnTo>
                    <a:lnTo>
                      <a:pt x="290664" y="347181"/>
                    </a:lnTo>
                    <a:lnTo>
                      <a:pt x="291441" y="348437"/>
                    </a:lnTo>
                    <a:close/>
                    <a:moveTo>
                      <a:pt x="264289" y="381271"/>
                    </a:moveTo>
                    <a:lnTo>
                      <a:pt x="237734" y="413328"/>
                    </a:lnTo>
                    <a:lnTo>
                      <a:pt x="236956" y="411773"/>
                    </a:lnTo>
                    <a:lnTo>
                      <a:pt x="263511" y="379836"/>
                    </a:lnTo>
                    <a:lnTo>
                      <a:pt x="264289" y="381271"/>
                    </a:lnTo>
                    <a:close/>
                    <a:moveTo>
                      <a:pt x="237435" y="413627"/>
                    </a:moveTo>
                    <a:lnTo>
                      <a:pt x="211240" y="445325"/>
                    </a:lnTo>
                    <a:lnTo>
                      <a:pt x="210522" y="443650"/>
                    </a:lnTo>
                    <a:lnTo>
                      <a:pt x="236717" y="412132"/>
                    </a:lnTo>
                    <a:lnTo>
                      <a:pt x="237435" y="413627"/>
                    </a:lnTo>
                    <a:close/>
                    <a:moveTo>
                      <a:pt x="211000" y="445624"/>
                    </a:moveTo>
                    <a:lnTo>
                      <a:pt x="185104" y="476903"/>
                    </a:lnTo>
                    <a:lnTo>
                      <a:pt x="184386" y="475049"/>
                    </a:lnTo>
                    <a:lnTo>
                      <a:pt x="210223" y="443949"/>
                    </a:lnTo>
                    <a:lnTo>
                      <a:pt x="211000" y="445624"/>
                    </a:lnTo>
                    <a:close/>
                    <a:moveTo>
                      <a:pt x="184864" y="477202"/>
                    </a:moveTo>
                    <a:lnTo>
                      <a:pt x="159327" y="508062"/>
                    </a:lnTo>
                    <a:lnTo>
                      <a:pt x="158669" y="506089"/>
                    </a:lnTo>
                    <a:lnTo>
                      <a:pt x="184207" y="475348"/>
                    </a:lnTo>
                    <a:lnTo>
                      <a:pt x="184864" y="477202"/>
                    </a:lnTo>
                    <a:close/>
                    <a:moveTo>
                      <a:pt x="159028" y="508421"/>
                    </a:moveTo>
                    <a:lnTo>
                      <a:pt x="133789" y="538923"/>
                    </a:lnTo>
                    <a:lnTo>
                      <a:pt x="133131" y="536830"/>
                    </a:lnTo>
                    <a:lnTo>
                      <a:pt x="158310" y="506507"/>
                    </a:lnTo>
                    <a:lnTo>
                      <a:pt x="159028" y="508421"/>
                    </a:lnTo>
                    <a:close/>
                    <a:moveTo>
                      <a:pt x="133490" y="539222"/>
                    </a:moveTo>
                    <a:lnTo>
                      <a:pt x="108610" y="569305"/>
                    </a:lnTo>
                    <a:lnTo>
                      <a:pt x="108012" y="567032"/>
                    </a:lnTo>
                    <a:lnTo>
                      <a:pt x="132892" y="537069"/>
                    </a:lnTo>
                    <a:lnTo>
                      <a:pt x="133490" y="539222"/>
                    </a:lnTo>
                    <a:close/>
                    <a:moveTo>
                      <a:pt x="108312" y="569664"/>
                    </a:moveTo>
                    <a:lnTo>
                      <a:pt x="83730" y="599388"/>
                    </a:lnTo>
                    <a:lnTo>
                      <a:pt x="83192" y="596996"/>
                    </a:lnTo>
                    <a:lnTo>
                      <a:pt x="107773" y="567451"/>
                    </a:lnTo>
                    <a:lnTo>
                      <a:pt x="108312" y="569664"/>
                    </a:lnTo>
                    <a:close/>
                    <a:moveTo>
                      <a:pt x="83432" y="599747"/>
                    </a:moveTo>
                    <a:lnTo>
                      <a:pt x="59149" y="629112"/>
                    </a:lnTo>
                    <a:lnTo>
                      <a:pt x="58611" y="626540"/>
                    </a:lnTo>
                    <a:lnTo>
                      <a:pt x="82834" y="597354"/>
                    </a:lnTo>
                    <a:lnTo>
                      <a:pt x="83432" y="599747"/>
                    </a:lnTo>
                    <a:close/>
                    <a:moveTo>
                      <a:pt x="58851" y="629411"/>
                    </a:moveTo>
                    <a:lnTo>
                      <a:pt x="34868" y="658358"/>
                    </a:lnTo>
                    <a:lnTo>
                      <a:pt x="34389" y="655607"/>
                    </a:lnTo>
                    <a:lnTo>
                      <a:pt x="58312" y="626780"/>
                    </a:lnTo>
                    <a:lnTo>
                      <a:pt x="58851" y="629411"/>
                    </a:lnTo>
                    <a:close/>
                    <a:moveTo>
                      <a:pt x="15909" y="674147"/>
                    </a:moveTo>
                    <a:cubicBezTo>
                      <a:pt x="15909" y="674147"/>
                      <a:pt x="15909" y="674147"/>
                      <a:pt x="15909" y="674147"/>
                    </a:cubicBezTo>
                    <a:cubicBezTo>
                      <a:pt x="15969" y="674147"/>
                      <a:pt x="15969" y="674147"/>
                      <a:pt x="15909" y="674147"/>
                    </a:cubicBezTo>
                    <a:cubicBezTo>
                      <a:pt x="15969" y="674147"/>
                      <a:pt x="15969" y="674207"/>
                      <a:pt x="15969" y="674207"/>
                    </a:cubicBezTo>
                    <a:cubicBezTo>
                      <a:pt x="15969" y="674207"/>
                      <a:pt x="15969" y="674207"/>
                      <a:pt x="16029" y="674207"/>
                    </a:cubicBezTo>
                    <a:cubicBezTo>
                      <a:pt x="16089" y="674207"/>
                      <a:pt x="16029" y="674207"/>
                      <a:pt x="16089" y="674207"/>
                    </a:cubicBezTo>
                    <a:cubicBezTo>
                      <a:pt x="16089" y="674207"/>
                      <a:pt x="16089" y="674207"/>
                      <a:pt x="16089" y="674207"/>
                    </a:cubicBezTo>
                    <a:cubicBezTo>
                      <a:pt x="16089" y="674207"/>
                      <a:pt x="16089" y="674207"/>
                      <a:pt x="16089" y="674207"/>
                    </a:cubicBezTo>
                    <a:cubicBezTo>
                      <a:pt x="16089" y="674207"/>
                      <a:pt x="16089" y="674207"/>
                      <a:pt x="16089" y="674207"/>
                    </a:cubicBezTo>
                    <a:lnTo>
                      <a:pt x="34031" y="656085"/>
                    </a:lnTo>
                    <a:lnTo>
                      <a:pt x="34509" y="658836"/>
                    </a:lnTo>
                    <a:lnTo>
                      <a:pt x="16926" y="677078"/>
                    </a:lnTo>
                    <a:lnTo>
                      <a:pt x="14593" y="676001"/>
                    </a:lnTo>
                    <a:lnTo>
                      <a:pt x="13516" y="672712"/>
                    </a:lnTo>
                    <a:lnTo>
                      <a:pt x="15909" y="674147"/>
                    </a:lnTo>
                    <a:close/>
                    <a:moveTo>
                      <a:pt x="12021" y="672173"/>
                    </a:moveTo>
                    <a:lnTo>
                      <a:pt x="12261" y="669602"/>
                    </a:lnTo>
                    <a:lnTo>
                      <a:pt x="13278" y="669721"/>
                    </a:lnTo>
                    <a:lnTo>
                      <a:pt x="13038" y="672233"/>
                    </a:lnTo>
                    <a:lnTo>
                      <a:pt x="12021" y="672173"/>
                    </a:lnTo>
                    <a:close/>
                    <a:moveTo>
                      <a:pt x="15251" y="668047"/>
                    </a:moveTo>
                    <a:lnTo>
                      <a:pt x="17284" y="669841"/>
                    </a:lnTo>
                    <a:lnTo>
                      <a:pt x="16089" y="671276"/>
                    </a:lnTo>
                    <a:lnTo>
                      <a:pt x="13756" y="669542"/>
                    </a:lnTo>
                    <a:lnTo>
                      <a:pt x="15251" y="668047"/>
                    </a:lnTo>
                    <a:close/>
                    <a:moveTo>
                      <a:pt x="17165" y="667269"/>
                    </a:moveTo>
                    <a:lnTo>
                      <a:pt x="17284" y="667269"/>
                    </a:lnTo>
                    <a:lnTo>
                      <a:pt x="15131" y="667628"/>
                    </a:lnTo>
                    <a:lnTo>
                      <a:pt x="15012" y="667628"/>
                    </a:lnTo>
                    <a:lnTo>
                      <a:pt x="15729" y="667508"/>
                    </a:lnTo>
                    <a:cubicBezTo>
                      <a:pt x="15729" y="667508"/>
                      <a:pt x="15729" y="667508"/>
                      <a:pt x="15729" y="667508"/>
                    </a:cubicBezTo>
                    <a:lnTo>
                      <a:pt x="17165" y="667269"/>
                    </a:lnTo>
                    <a:close/>
                    <a:moveTo>
                      <a:pt x="15909" y="666133"/>
                    </a:moveTo>
                    <a:lnTo>
                      <a:pt x="15789" y="666193"/>
                    </a:lnTo>
                    <a:lnTo>
                      <a:pt x="15789" y="665894"/>
                    </a:lnTo>
                    <a:lnTo>
                      <a:pt x="15909" y="665894"/>
                    </a:lnTo>
                    <a:lnTo>
                      <a:pt x="15909" y="666133"/>
                    </a:lnTo>
                    <a:close/>
                    <a:moveTo>
                      <a:pt x="12739" y="664578"/>
                    </a:moveTo>
                    <a:lnTo>
                      <a:pt x="12919" y="664219"/>
                    </a:lnTo>
                    <a:lnTo>
                      <a:pt x="13038" y="664339"/>
                    </a:lnTo>
                    <a:lnTo>
                      <a:pt x="12739" y="664578"/>
                    </a:lnTo>
                    <a:close/>
                    <a:moveTo>
                      <a:pt x="13338" y="664638"/>
                    </a:moveTo>
                    <a:lnTo>
                      <a:pt x="13457" y="664817"/>
                    </a:lnTo>
                    <a:lnTo>
                      <a:pt x="12978" y="664937"/>
                    </a:lnTo>
                    <a:lnTo>
                      <a:pt x="13338" y="664638"/>
                    </a:lnTo>
                    <a:close/>
                    <a:moveTo>
                      <a:pt x="13636" y="665176"/>
                    </a:moveTo>
                    <a:lnTo>
                      <a:pt x="13696" y="665415"/>
                    </a:lnTo>
                    <a:lnTo>
                      <a:pt x="13098" y="665295"/>
                    </a:lnTo>
                    <a:lnTo>
                      <a:pt x="13636" y="665176"/>
                    </a:lnTo>
                    <a:close/>
                    <a:moveTo>
                      <a:pt x="14115" y="665415"/>
                    </a:moveTo>
                    <a:lnTo>
                      <a:pt x="13995" y="665116"/>
                    </a:lnTo>
                    <a:lnTo>
                      <a:pt x="15191" y="664996"/>
                    </a:lnTo>
                    <a:lnTo>
                      <a:pt x="15371" y="665535"/>
                    </a:lnTo>
                    <a:lnTo>
                      <a:pt x="14115" y="665415"/>
                    </a:lnTo>
                    <a:close/>
                    <a:moveTo>
                      <a:pt x="13816" y="664757"/>
                    </a:moveTo>
                    <a:lnTo>
                      <a:pt x="13636" y="664458"/>
                    </a:lnTo>
                    <a:lnTo>
                      <a:pt x="14713" y="664159"/>
                    </a:lnTo>
                    <a:lnTo>
                      <a:pt x="15012" y="664638"/>
                    </a:lnTo>
                    <a:lnTo>
                      <a:pt x="13816" y="664757"/>
                    </a:lnTo>
                    <a:close/>
                    <a:moveTo>
                      <a:pt x="14354" y="663920"/>
                    </a:moveTo>
                    <a:lnTo>
                      <a:pt x="13338" y="664219"/>
                    </a:lnTo>
                    <a:lnTo>
                      <a:pt x="13158" y="664039"/>
                    </a:lnTo>
                    <a:lnTo>
                      <a:pt x="13995" y="663621"/>
                    </a:lnTo>
                    <a:lnTo>
                      <a:pt x="14354" y="663920"/>
                    </a:lnTo>
                    <a:close/>
                    <a:moveTo>
                      <a:pt x="12560" y="663980"/>
                    </a:moveTo>
                    <a:lnTo>
                      <a:pt x="12440" y="664279"/>
                    </a:lnTo>
                    <a:lnTo>
                      <a:pt x="12440" y="663920"/>
                    </a:lnTo>
                    <a:lnTo>
                      <a:pt x="12560" y="663980"/>
                    </a:lnTo>
                    <a:close/>
                    <a:moveTo>
                      <a:pt x="12021" y="663860"/>
                    </a:moveTo>
                    <a:lnTo>
                      <a:pt x="12021" y="664159"/>
                    </a:lnTo>
                    <a:lnTo>
                      <a:pt x="11961" y="663860"/>
                    </a:lnTo>
                    <a:lnTo>
                      <a:pt x="12021" y="663860"/>
                    </a:lnTo>
                    <a:close/>
                    <a:moveTo>
                      <a:pt x="13816" y="665714"/>
                    </a:moveTo>
                    <a:lnTo>
                      <a:pt x="13816" y="665894"/>
                    </a:lnTo>
                    <a:lnTo>
                      <a:pt x="13218" y="665595"/>
                    </a:lnTo>
                    <a:lnTo>
                      <a:pt x="13816" y="665714"/>
                    </a:lnTo>
                    <a:close/>
                    <a:moveTo>
                      <a:pt x="14174" y="666073"/>
                    </a:moveTo>
                    <a:lnTo>
                      <a:pt x="14174" y="665774"/>
                    </a:lnTo>
                    <a:lnTo>
                      <a:pt x="15431" y="665894"/>
                    </a:lnTo>
                    <a:lnTo>
                      <a:pt x="15431" y="666372"/>
                    </a:lnTo>
                    <a:lnTo>
                      <a:pt x="14174" y="666073"/>
                    </a:lnTo>
                    <a:close/>
                    <a:moveTo>
                      <a:pt x="15729" y="665535"/>
                    </a:moveTo>
                    <a:lnTo>
                      <a:pt x="15550" y="665116"/>
                    </a:lnTo>
                    <a:lnTo>
                      <a:pt x="15729" y="665176"/>
                    </a:lnTo>
                    <a:lnTo>
                      <a:pt x="15849" y="665535"/>
                    </a:lnTo>
                    <a:lnTo>
                      <a:pt x="15729" y="665535"/>
                    </a:lnTo>
                    <a:close/>
                    <a:moveTo>
                      <a:pt x="15371" y="664697"/>
                    </a:moveTo>
                    <a:lnTo>
                      <a:pt x="15191" y="664458"/>
                    </a:lnTo>
                    <a:lnTo>
                      <a:pt x="15311" y="664518"/>
                    </a:lnTo>
                    <a:lnTo>
                      <a:pt x="15431" y="664697"/>
                    </a:lnTo>
                    <a:lnTo>
                      <a:pt x="15371" y="664697"/>
                    </a:lnTo>
                    <a:close/>
                    <a:moveTo>
                      <a:pt x="12739" y="663740"/>
                    </a:moveTo>
                    <a:lnTo>
                      <a:pt x="12620" y="663681"/>
                    </a:lnTo>
                    <a:lnTo>
                      <a:pt x="13218" y="663262"/>
                    </a:lnTo>
                    <a:lnTo>
                      <a:pt x="13516" y="663382"/>
                    </a:lnTo>
                    <a:lnTo>
                      <a:pt x="12739" y="663740"/>
                    </a:lnTo>
                    <a:close/>
                    <a:moveTo>
                      <a:pt x="11783" y="663382"/>
                    </a:moveTo>
                    <a:lnTo>
                      <a:pt x="11603" y="663561"/>
                    </a:lnTo>
                    <a:lnTo>
                      <a:pt x="11304" y="663740"/>
                    </a:lnTo>
                    <a:cubicBezTo>
                      <a:pt x="11244" y="663800"/>
                      <a:pt x="11244" y="663920"/>
                      <a:pt x="11304" y="663980"/>
                    </a:cubicBezTo>
                    <a:cubicBezTo>
                      <a:pt x="11304" y="663980"/>
                      <a:pt x="11304" y="663980"/>
                      <a:pt x="11304" y="663980"/>
                    </a:cubicBezTo>
                    <a:cubicBezTo>
                      <a:pt x="11364" y="664039"/>
                      <a:pt x="11483" y="664039"/>
                      <a:pt x="11543" y="664039"/>
                    </a:cubicBezTo>
                    <a:lnTo>
                      <a:pt x="11603" y="663980"/>
                    </a:lnTo>
                    <a:lnTo>
                      <a:pt x="11842" y="664817"/>
                    </a:lnTo>
                    <a:cubicBezTo>
                      <a:pt x="11842" y="664877"/>
                      <a:pt x="11902" y="664937"/>
                      <a:pt x="11961" y="664937"/>
                    </a:cubicBezTo>
                    <a:cubicBezTo>
                      <a:pt x="11961" y="664937"/>
                      <a:pt x="11961" y="664937"/>
                      <a:pt x="12021" y="664937"/>
                    </a:cubicBezTo>
                    <a:cubicBezTo>
                      <a:pt x="12021" y="664996"/>
                      <a:pt x="12081" y="665056"/>
                      <a:pt x="12081" y="665056"/>
                    </a:cubicBezTo>
                    <a:cubicBezTo>
                      <a:pt x="12081" y="665116"/>
                      <a:pt x="12141" y="665116"/>
                      <a:pt x="12141" y="665176"/>
                    </a:cubicBezTo>
                    <a:lnTo>
                      <a:pt x="12141" y="665176"/>
                    </a:lnTo>
                    <a:cubicBezTo>
                      <a:pt x="12141" y="665176"/>
                      <a:pt x="12141" y="665176"/>
                      <a:pt x="12141" y="665236"/>
                    </a:cubicBezTo>
                    <a:cubicBezTo>
                      <a:pt x="12141" y="665236"/>
                      <a:pt x="12141" y="665236"/>
                      <a:pt x="12141" y="665236"/>
                    </a:cubicBezTo>
                    <a:cubicBezTo>
                      <a:pt x="12141" y="665236"/>
                      <a:pt x="12141" y="665236"/>
                      <a:pt x="12141" y="665236"/>
                    </a:cubicBezTo>
                    <a:cubicBezTo>
                      <a:pt x="12141" y="665236"/>
                      <a:pt x="12141" y="665295"/>
                      <a:pt x="12201" y="665295"/>
                    </a:cubicBezTo>
                    <a:cubicBezTo>
                      <a:pt x="12201" y="665295"/>
                      <a:pt x="12201" y="665295"/>
                      <a:pt x="12261" y="665295"/>
                    </a:cubicBezTo>
                    <a:cubicBezTo>
                      <a:pt x="12261" y="665295"/>
                      <a:pt x="12321" y="665355"/>
                      <a:pt x="12321" y="665355"/>
                    </a:cubicBezTo>
                    <a:cubicBezTo>
                      <a:pt x="12381" y="665415"/>
                      <a:pt x="12381" y="665415"/>
                      <a:pt x="12440" y="665415"/>
                    </a:cubicBezTo>
                    <a:lnTo>
                      <a:pt x="12440" y="665415"/>
                    </a:lnTo>
                    <a:cubicBezTo>
                      <a:pt x="12440" y="665475"/>
                      <a:pt x="12500" y="665475"/>
                      <a:pt x="12500" y="665535"/>
                    </a:cubicBezTo>
                    <a:cubicBezTo>
                      <a:pt x="12500" y="665535"/>
                      <a:pt x="12560" y="665595"/>
                      <a:pt x="12560" y="665595"/>
                    </a:cubicBezTo>
                    <a:lnTo>
                      <a:pt x="13696" y="666133"/>
                    </a:lnTo>
                    <a:lnTo>
                      <a:pt x="13636" y="666312"/>
                    </a:lnTo>
                    <a:cubicBezTo>
                      <a:pt x="13636" y="666372"/>
                      <a:pt x="13636" y="666492"/>
                      <a:pt x="13696" y="666551"/>
                    </a:cubicBezTo>
                    <a:cubicBezTo>
                      <a:pt x="13696" y="666551"/>
                      <a:pt x="13696" y="666551"/>
                      <a:pt x="13756" y="666551"/>
                    </a:cubicBezTo>
                    <a:cubicBezTo>
                      <a:pt x="13876" y="666611"/>
                      <a:pt x="13936" y="666611"/>
                      <a:pt x="13995" y="666551"/>
                    </a:cubicBezTo>
                    <a:lnTo>
                      <a:pt x="14115" y="666312"/>
                    </a:lnTo>
                    <a:lnTo>
                      <a:pt x="15371" y="666611"/>
                    </a:lnTo>
                    <a:lnTo>
                      <a:pt x="15251" y="666910"/>
                    </a:lnTo>
                    <a:cubicBezTo>
                      <a:pt x="15251" y="666910"/>
                      <a:pt x="15251" y="666910"/>
                      <a:pt x="15251" y="666910"/>
                    </a:cubicBezTo>
                    <a:cubicBezTo>
                      <a:pt x="15251" y="666910"/>
                      <a:pt x="15251" y="666910"/>
                      <a:pt x="15251" y="666910"/>
                    </a:cubicBezTo>
                    <a:cubicBezTo>
                      <a:pt x="15251" y="666910"/>
                      <a:pt x="15251" y="666970"/>
                      <a:pt x="15251" y="666970"/>
                    </a:cubicBezTo>
                    <a:cubicBezTo>
                      <a:pt x="15251" y="666970"/>
                      <a:pt x="15251" y="666970"/>
                      <a:pt x="15251" y="666970"/>
                    </a:cubicBezTo>
                    <a:cubicBezTo>
                      <a:pt x="15251" y="666970"/>
                      <a:pt x="15251" y="666970"/>
                      <a:pt x="15251" y="667030"/>
                    </a:cubicBezTo>
                    <a:cubicBezTo>
                      <a:pt x="15251" y="667030"/>
                      <a:pt x="15251" y="667030"/>
                      <a:pt x="15251" y="667030"/>
                    </a:cubicBezTo>
                    <a:cubicBezTo>
                      <a:pt x="15251" y="667030"/>
                      <a:pt x="15251" y="667030"/>
                      <a:pt x="15251" y="667090"/>
                    </a:cubicBezTo>
                    <a:cubicBezTo>
                      <a:pt x="15251" y="667090"/>
                      <a:pt x="15251" y="667090"/>
                      <a:pt x="15251" y="667090"/>
                    </a:cubicBezTo>
                    <a:lnTo>
                      <a:pt x="15251" y="667090"/>
                    </a:lnTo>
                    <a:lnTo>
                      <a:pt x="13756" y="667329"/>
                    </a:lnTo>
                    <a:cubicBezTo>
                      <a:pt x="13756" y="667329"/>
                      <a:pt x="13756" y="667329"/>
                      <a:pt x="13756" y="667329"/>
                    </a:cubicBezTo>
                    <a:cubicBezTo>
                      <a:pt x="13756" y="667329"/>
                      <a:pt x="13756" y="667329"/>
                      <a:pt x="13756" y="667329"/>
                    </a:cubicBezTo>
                    <a:cubicBezTo>
                      <a:pt x="13756" y="667329"/>
                      <a:pt x="13756" y="667329"/>
                      <a:pt x="13756" y="667329"/>
                    </a:cubicBezTo>
                    <a:cubicBezTo>
                      <a:pt x="13756" y="667329"/>
                      <a:pt x="13756" y="667329"/>
                      <a:pt x="13756" y="667329"/>
                    </a:cubicBezTo>
                    <a:cubicBezTo>
                      <a:pt x="13756" y="667329"/>
                      <a:pt x="13756" y="667329"/>
                      <a:pt x="13756" y="667329"/>
                    </a:cubicBezTo>
                    <a:lnTo>
                      <a:pt x="12978" y="668106"/>
                    </a:lnTo>
                    <a:lnTo>
                      <a:pt x="6280" y="662185"/>
                    </a:lnTo>
                    <a:lnTo>
                      <a:pt x="10228" y="661587"/>
                    </a:lnTo>
                    <a:lnTo>
                      <a:pt x="11783" y="663382"/>
                    </a:lnTo>
                    <a:close/>
                    <a:moveTo>
                      <a:pt x="12739" y="668465"/>
                    </a:moveTo>
                    <a:lnTo>
                      <a:pt x="11902" y="669243"/>
                    </a:lnTo>
                    <a:cubicBezTo>
                      <a:pt x="11902" y="669243"/>
                      <a:pt x="11902" y="669243"/>
                      <a:pt x="11902" y="669243"/>
                    </a:cubicBezTo>
                    <a:cubicBezTo>
                      <a:pt x="11902" y="669243"/>
                      <a:pt x="11902" y="669243"/>
                      <a:pt x="11902" y="669243"/>
                    </a:cubicBezTo>
                    <a:cubicBezTo>
                      <a:pt x="11902" y="669243"/>
                      <a:pt x="11902" y="669243"/>
                      <a:pt x="11902" y="669243"/>
                    </a:cubicBezTo>
                    <a:lnTo>
                      <a:pt x="11184" y="670140"/>
                    </a:lnTo>
                    <a:lnTo>
                      <a:pt x="3649" y="664638"/>
                    </a:lnTo>
                    <a:lnTo>
                      <a:pt x="5921" y="662485"/>
                    </a:lnTo>
                    <a:lnTo>
                      <a:pt x="12739" y="668465"/>
                    </a:lnTo>
                    <a:close/>
                    <a:moveTo>
                      <a:pt x="3170" y="664757"/>
                    </a:moveTo>
                    <a:lnTo>
                      <a:pt x="2752" y="668346"/>
                    </a:lnTo>
                    <a:lnTo>
                      <a:pt x="1735" y="668346"/>
                    </a:lnTo>
                    <a:lnTo>
                      <a:pt x="2154" y="664638"/>
                    </a:lnTo>
                    <a:lnTo>
                      <a:pt x="3170" y="664757"/>
                    </a:lnTo>
                    <a:close/>
                    <a:moveTo>
                      <a:pt x="2871" y="668704"/>
                    </a:moveTo>
                    <a:lnTo>
                      <a:pt x="4486" y="673609"/>
                    </a:lnTo>
                    <a:lnTo>
                      <a:pt x="3469" y="673728"/>
                    </a:lnTo>
                    <a:lnTo>
                      <a:pt x="1854" y="668704"/>
                    </a:lnTo>
                    <a:lnTo>
                      <a:pt x="2871" y="668704"/>
                    </a:lnTo>
                    <a:close/>
                    <a:moveTo>
                      <a:pt x="4605" y="673968"/>
                    </a:moveTo>
                    <a:lnTo>
                      <a:pt x="8134" y="679829"/>
                    </a:lnTo>
                    <a:lnTo>
                      <a:pt x="7177" y="680068"/>
                    </a:lnTo>
                    <a:lnTo>
                      <a:pt x="3529" y="674027"/>
                    </a:lnTo>
                    <a:lnTo>
                      <a:pt x="4605" y="673968"/>
                    </a:lnTo>
                    <a:close/>
                    <a:moveTo>
                      <a:pt x="8373" y="680187"/>
                    </a:moveTo>
                    <a:lnTo>
                      <a:pt x="13636" y="686587"/>
                    </a:lnTo>
                    <a:lnTo>
                      <a:pt x="12799" y="687005"/>
                    </a:lnTo>
                    <a:lnTo>
                      <a:pt x="7357" y="680427"/>
                    </a:lnTo>
                    <a:lnTo>
                      <a:pt x="8373" y="680187"/>
                    </a:lnTo>
                    <a:close/>
                    <a:moveTo>
                      <a:pt x="13995" y="686946"/>
                    </a:moveTo>
                    <a:lnTo>
                      <a:pt x="20634" y="693465"/>
                    </a:lnTo>
                    <a:lnTo>
                      <a:pt x="19976" y="694063"/>
                    </a:lnTo>
                    <a:lnTo>
                      <a:pt x="13158" y="687424"/>
                    </a:lnTo>
                    <a:lnTo>
                      <a:pt x="13995" y="686946"/>
                    </a:lnTo>
                    <a:close/>
                    <a:moveTo>
                      <a:pt x="20933" y="693704"/>
                    </a:moveTo>
                    <a:lnTo>
                      <a:pt x="28468" y="699744"/>
                    </a:lnTo>
                    <a:lnTo>
                      <a:pt x="27990" y="700462"/>
                    </a:lnTo>
                    <a:lnTo>
                      <a:pt x="20275" y="694242"/>
                    </a:lnTo>
                    <a:lnTo>
                      <a:pt x="20933" y="693704"/>
                    </a:lnTo>
                    <a:close/>
                    <a:moveTo>
                      <a:pt x="28408" y="700761"/>
                    </a:moveTo>
                    <a:lnTo>
                      <a:pt x="28887" y="700043"/>
                    </a:lnTo>
                    <a:lnTo>
                      <a:pt x="36782" y="705247"/>
                    </a:lnTo>
                    <a:lnTo>
                      <a:pt x="36543" y="706084"/>
                    </a:lnTo>
                    <a:lnTo>
                      <a:pt x="28408" y="700761"/>
                    </a:lnTo>
                    <a:close/>
                    <a:moveTo>
                      <a:pt x="36841" y="706323"/>
                    </a:moveTo>
                    <a:lnTo>
                      <a:pt x="37081" y="705486"/>
                    </a:lnTo>
                    <a:lnTo>
                      <a:pt x="44677" y="709373"/>
                    </a:lnTo>
                    <a:lnTo>
                      <a:pt x="44617" y="710330"/>
                    </a:lnTo>
                    <a:lnTo>
                      <a:pt x="36841" y="706323"/>
                    </a:lnTo>
                    <a:close/>
                    <a:moveTo>
                      <a:pt x="44975" y="710450"/>
                    </a:moveTo>
                    <a:lnTo>
                      <a:pt x="45035" y="709493"/>
                    </a:lnTo>
                    <a:lnTo>
                      <a:pt x="51793" y="711885"/>
                    </a:lnTo>
                    <a:lnTo>
                      <a:pt x="51913" y="712902"/>
                    </a:lnTo>
                    <a:lnTo>
                      <a:pt x="44975" y="710450"/>
                    </a:lnTo>
                    <a:close/>
                    <a:moveTo>
                      <a:pt x="52271" y="712962"/>
                    </a:moveTo>
                    <a:lnTo>
                      <a:pt x="52152" y="711945"/>
                    </a:lnTo>
                    <a:lnTo>
                      <a:pt x="57594" y="712663"/>
                    </a:lnTo>
                    <a:lnTo>
                      <a:pt x="57834" y="713680"/>
                    </a:lnTo>
                    <a:lnTo>
                      <a:pt x="52271" y="712962"/>
                    </a:lnTo>
                    <a:close/>
                    <a:moveTo>
                      <a:pt x="58193" y="713680"/>
                    </a:moveTo>
                    <a:lnTo>
                      <a:pt x="57954" y="712663"/>
                    </a:lnTo>
                    <a:lnTo>
                      <a:pt x="61721" y="711766"/>
                    </a:lnTo>
                    <a:lnTo>
                      <a:pt x="62020" y="712723"/>
                    </a:lnTo>
                    <a:lnTo>
                      <a:pt x="58193" y="713680"/>
                    </a:lnTo>
                    <a:close/>
                    <a:moveTo>
                      <a:pt x="56399" y="703213"/>
                    </a:moveTo>
                    <a:lnTo>
                      <a:pt x="57056" y="702376"/>
                    </a:lnTo>
                    <a:cubicBezTo>
                      <a:pt x="57056" y="702376"/>
                      <a:pt x="57056" y="702376"/>
                      <a:pt x="57056" y="702376"/>
                    </a:cubicBezTo>
                    <a:cubicBezTo>
                      <a:pt x="57056" y="702376"/>
                      <a:pt x="57056" y="702376"/>
                      <a:pt x="57056" y="702376"/>
                    </a:cubicBezTo>
                    <a:cubicBezTo>
                      <a:pt x="57056" y="702376"/>
                      <a:pt x="57056" y="702376"/>
                      <a:pt x="57056" y="702376"/>
                    </a:cubicBezTo>
                    <a:cubicBezTo>
                      <a:pt x="57056" y="702376"/>
                      <a:pt x="57056" y="702376"/>
                      <a:pt x="57056" y="702376"/>
                    </a:cubicBezTo>
                    <a:cubicBezTo>
                      <a:pt x="57056" y="702376"/>
                      <a:pt x="57056" y="702376"/>
                      <a:pt x="57056" y="702376"/>
                    </a:cubicBezTo>
                    <a:cubicBezTo>
                      <a:pt x="57056" y="702376"/>
                      <a:pt x="57056" y="702376"/>
                      <a:pt x="57056" y="702376"/>
                    </a:cubicBezTo>
                    <a:lnTo>
                      <a:pt x="57056" y="702376"/>
                    </a:lnTo>
                    <a:cubicBezTo>
                      <a:pt x="57056" y="702376"/>
                      <a:pt x="57056" y="702376"/>
                      <a:pt x="57056" y="702376"/>
                    </a:cubicBezTo>
                    <a:lnTo>
                      <a:pt x="57116" y="700941"/>
                    </a:lnTo>
                    <a:lnTo>
                      <a:pt x="57296" y="701060"/>
                    </a:lnTo>
                    <a:cubicBezTo>
                      <a:pt x="57296" y="701060"/>
                      <a:pt x="57296" y="701060"/>
                      <a:pt x="57296" y="701060"/>
                    </a:cubicBezTo>
                    <a:cubicBezTo>
                      <a:pt x="57296" y="701060"/>
                      <a:pt x="57356" y="701060"/>
                      <a:pt x="57356" y="701060"/>
                    </a:cubicBezTo>
                    <a:cubicBezTo>
                      <a:pt x="57356" y="701060"/>
                      <a:pt x="57356" y="701060"/>
                      <a:pt x="57356" y="701060"/>
                    </a:cubicBezTo>
                    <a:cubicBezTo>
                      <a:pt x="57356" y="701060"/>
                      <a:pt x="57416" y="701060"/>
                      <a:pt x="57416" y="701060"/>
                    </a:cubicBezTo>
                    <a:cubicBezTo>
                      <a:pt x="57416" y="701060"/>
                      <a:pt x="57416" y="701060"/>
                      <a:pt x="57416" y="701060"/>
                    </a:cubicBezTo>
                    <a:cubicBezTo>
                      <a:pt x="57416" y="701060"/>
                      <a:pt x="57475" y="701060"/>
                      <a:pt x="57475" y="701060"/>
                    </a:cubicBezTo>
                    <a:lnTo>
                      <a:pt x="57774" y="700881"/>
                    </a:lnTo>
                    <a:lnTo>
                      <a:pt x="58252" y="701957"/>
                    </a:lnTo>
                    <a:lnTo>
                      <a:pt x="58013" y="702137"/>
                    </a:lnTo>
                    <a:cubicBezTo>
                      <a:pt x="57954" y="702197"/>
                      <a:pt x="57954" y="702316"/>
                      <a:pt x="58013" y="702376"/>
                    </a:cubicBezTo>
                    <a:cubicBezTo>
                      <a:pt x="58013" y="702376"/>
                      <a:pt x="58013" y="702376"/>
                      <a:pt x="58013" y="702376"/>
                    </a:cubicBezTo>
                    <a:cubicBezTo>
                      <a:pt x="58073" y="702436"/>
                      <a:pt x="58193" y="702436"/>
                      <a:pt x="58252" y="702436"/>
                    </a:cubicBezTo>
                    <a:lnTo>
                      <a:pt x="58432" y="702316"/>
                    </a:lnTo>
                    <a:lnTo>
                      <a:pt x="59209" y="703333"/>
                    </a:lnTo>
                    <a:cubicBezTo>
                      <a:pt x="59209" y="703333"/>
                      <a:pt x="59209" y="703393"/>
                      <a:pt x="59269" y="703393"/>
                    </a:cubicBezTo>
                    <a:cubicBezTo>
                      <a:pt x="59329" y="703452"/>
                      <a:pt x="59389" y="703452"/>
                      <a:pt x="59389" y="703452"/>
                    </a:cubicBezTo>
                    <a:lnTo>
                      <a:pt x="59389" y="703452"/>
                    </a:lnTo>
                    <a:cubicBezTo>
                      <a:pt x="59389" y="703512"/>
                      <a:pt x="59449" y="703512"/>
                      <a:pt x="59449" y="703572"/>
                    </a:cubicBezTo>
                    <a:cubicBezTo>
                      <a:pt x="59449" y="703572"/>
                      <a:pt x="59509" y="703632"/>
                      <a:pt x="59509" y="703632"/>
                    </a:cubicBezTo>
                    <a:cubicBezTo>
                      <a:pt x="59509" y="703632"/>
                      <a:pt x="59509" y="703632"/>
                      <a:pt x="59509" y="703632"/>
                    </a:cubicBezTo>
                    <a:cubicBezTo>
                      <a:pt x="59509" y="703632"/>
                      <a:pt x="59568" y="703632"/>
                      <a:pt x="59568" y="703692"/>
                    </a:cubicBezTo>
                    <a:lnTo>
                      <a:pt x="59568" y="703692"/>
                    </a:lnTo>
                    <a:cubicBezTo>
                      <a:pt x="59568" y="703692"/>
                      <a:pt x="59568" y="703692"/>
                      <a:pt x="59568" y="703692"/>
                    </a:cubicBezTo>
                    <a:cubicBezTo>
                      <a:pt x="59568" y="703692"/>
                      <a:pt x="59628" y="703692"/>
                      <a:pt x="59628" y="703692"/>
                    </a:cubicBezTo>
                    <a:cubicBezTo>
                      <a:pt x="59688" y="703692"/>
                      <a:pt x="59688" y="703751"/>
                      <a:pt x="59747" y="703751"/>
                    </a:cubicBezTo>
                    <a:cubicBezTo>
                      <a:pt x="59807" y="703811"/>
                      <a:pt x="59867" y="703811"/>
                      <a:pt x="59927" y="703811"/>
                    </a:cubicBezTo>
                    <a:cubicBezTo>
                      <a:pt x="59927" y="703811"/>
                      <a:pt x="59927" y="703811"/>
                      <a:pt x="59927" y="703811"/>
                    </a:cubicBezTo>
                    <a:cubicBezTo>
                      <a:pt x="59987" y="703871"/>
                      <a:pt x="60047" y="703871"/>
                      <a:pt x="60107" y="703871"/>
                    </a:cubicBezTo>
                    <a:lnTo>
                      <a:pt x="61004" y="703931"/>
                    </a:lnTo>
                    <a:lnTo>
                      <a:pt x="61004" y="703991"/>
                    </a:lnTo>
                    <a:cubicBezTo>
                      <a:pt x="61004" y="704051"/>
                      <a:pt x="61004" y="704170"/>
                      <a:pt x="61064" y="704230"/>
                    </a:cubicBezTo>
                    <a:cubicBezTo>
                      <a:pt x="61064" y="704230"/>
                      <a:pt x="61064" y="704230"/>
                      <a:pt x="61124" y="704230"/>
                    </a:cubicBezTo>
                    <a:cubicBezTo>
                      <a:pt x="61243" y="704290"/>
                      <a:pt x="61302" y="704290"/>
                      <a:pt x="61362" y="704230"/>
                    </a:cubicBezTo>
                    <a:lnTo>
                      <a:pt x="61482" y="703931"/>
                    </a:lnTo>
                    <a:lnTo>
                      <a:pt x="61662" y="703692"/>
                    </a:lnTo>
                    <a:lnTo>
                      <a:pt x="63695" y="704888"/>
                    </a:lnTo>
                    <a:lnTo>
                      <a:pt x="63635" y="708656"/>
                    </a:lnTo>
                    <a:lnTo>
                      <a:pt x="56399" y="703213"/>
                    </a:lnTo>
                    <a:close/>
                    <a:moveTo>
                      <a:pt x="59987" y="702735"/>
                    </a:moveTo>
                    <a:lnTo>
                      <a:pt x="59987" y="702197"/>
                    </a:lnTo>
                    <a:lnTo>
                      <a:pt x="60226" y="702316"/>
                    </a:lnTo>
                    <a:lnTo>
                      <a:pt x="59987" y="702735"/>
                    </a:lnTo>
                    <a:close/>
                    <a:moveTo>
                      <a:pt x="60585" y="702496"/>
                    </a:moveTo>
                    <a:lnTo>
                      <a:pt x="60764" y="702615"/>
                    </a:lnTo>
                    <a:lnTo>
                      <a:pt x="60406" y="702854"/>
                    </a:lnTo>
                    <a:lnTo>
                      <a:pt x="60585" y="702496"/>
                    </a:lnTo>
                    <a:close/>
                    <a:moveTo>
                      <a:pt x="59628" y="702675"/>
                    </a:moveTo>
                    <a:lnTo>
                      <a:pt x="59389" y="702077"/>
                    </a:lnTo>
                    <a:lnTo>
                      <a:pt x="59628" y="702137"/>
                    </a:lnTo>
                    <a:lnTo>
                      <a:pt x="59628" y="702675"/>
                    </a:lnTo>
                    <a:close/>
                    <a:moveTo>
                      <a:pt x="61004" y="702974"/>
                    </a:moveTo>
                    <a:lnTo>
                      <a:pt x="61064" y="703094"/>
                    </a:lnTo>
                    <a:lnTo>
                      <a:pt x="60704" y="703153"/>
                    </a:lnTo>
                    <a:lnTo>
                      <a:pt x="61004" y="702974"/>
                    </a:lnTo>
                    <a:close/>
                    <a:moveTo>
                      <a:pt x="60645" y="702256"/>
                    </a:moveTo>
                    <a:lnTo>
                      <a:pt x="60764" y="701240"/>
                    </a:lnTo>
                    <a:lnTo>
                      <a:pt x="61183" y="701539"/>
                    </a:lnTo>
                    <a:lnTo>
                      <a:pt x="60944" y="702436"/>
                    </a:lnTo>
                    <a:lnTo>
                      <a:pt x="60645" y="702256"/>
                    </a:lnTo>
                    <a:close/>
                    <a:moveTo>
                      <a:pt x="60286" y="702017"/>
                    </a:moveTo>
                    <a:lnTo>
                      <a:pt x="59987" y="701897"/>
                    </a:lnTo>
                    <a:lnTo>
                      <a:pt x="59867" y="700761"/>
                    </a:lnTo>
                    <a:lnTo>
                      <a:pt x="60406" y="701000"/>
                    </a:lnTo>
                    <a:lnTo>
                      <a:pt x="60286" y="702017"/>
                    </a:lnTo>
                    <a:close/>
                    <a:moveTo>
                      <a:pt x="59628" y="701778"/>
                    </a:moveTo>
                    <a:lnTo>
                      <a:pt x="59269" y="701718"/>
                    </a:lnTo>
                    <a:lnTo>
                      <a:pt x="58911" y="700582"/>
                    </a:lnTo>
                    <a:lnTo>
                      <a:pt x="59449" y="700641"/>
                    </a:lnTo>
                    <a:lnTo>
                      <a:pt x="59628" y="701778"/>
                    </a:lnTo>
                    <a:close/>
                    <a:moveTo>
                      <a:pt x="58492" y="700223"/>
                    </a:moveTo>
                    <a:lnTo>
                      <a:pt x="58252" y="700283"/>
                    </a:lnTo>
                    <a:lnTo>
                      <a:pt x="58252" y="700283"/>
                    </a:lnTo>
                    <a:lnTo>
                      <a:pt x="58492" y="700223"/>
                    </a:lnTo>
                    <a:lnTo>
                      <a:pt x="58492" y="700223"/>
                    </a:lnTo>
                    <a:close/>
                    <a:moveTo>
                      <a:pt x="58552" y="700582"/>
                    </a:moveTo>
                    <a:lnTo>
                      <a:pt x="58911" y="701718"/>
                    </a:lnTo>
                    <a:lnTo>
                      <a:pt x="58611" y="701778"/>
                    </a:lnTo>
                    <a:lnTo>
                      <a:pt x="58073" y="700641"/>
                    </a:lnTo>
                    <a:lnTo>
                      <a:pt x="58552" y="700582"/>
                    </a:lnTo>
                    <a:close/>
                    <a:moveTo>
                      <a:pt x="59030" y="702077"/>
                    </a:moveTo>
                    <a:lnTo>
                      <a:pt x="59269" y="702675"/>
                    </a:lnTo>
                    <a:lnTo>
                      <a:pt x="58851" y="702137"/>
                    </a:lnTo>
                    <a:lnTo>
                      <a:pt x="59030" y="702077"/>
                    </a:lnTo>
                    <a:close/>
                    <a:moveTo>
                      <a:pt x="61243" y="703452"/>
                    </a:moveTo>
                    <a:lnTo>
                      <a:pt x="61243" y="703572"/>
                    </a:lnTo>
                    <a:lnTo>
                      <a:pt x="60944" y="703572"/>
                    </a:lnTo>
                    <a:lnTo>
                      <a:pt x="61243" y="703452"/>
                    </a:lnTo>
                    <a:close/>
                    <a:moveTo>
                      <a:pt x="61841" y="702854"/>
                    </a:moveTo>
                    <a:lnTo>
                      <a:pt x="61721" y="702974"/>
                    </a:lnTo>
                    <a:lnTo>
                      <a:pt x="61841" y="702854"/>
                    </a:lnTo>
                    <a:lnTo>
                      <a:pt x="61841" y="702854"/>
                    </a:lnTo>
                    <a:close/>
                    <a:moveTo>
                      <a:pt x="61662" y="702197"/>
                    </a:moveTo>
                    <a:lnTo>
                      <a:pt x="61302" y="702854"/>
                    </a:lnTo>
                    <a:lnTo>
                      <a:pt x="61183" y="702735"/>
                    </a:lnTo>
                    <a:lnTo>
                      <a:pt x="61422" y="701957"/>
                    </a:lnTo>
                    <a:lnTo>
                      <a:pt x="61662" y="702197"/>
                    </a:lnTo>
                    <a:close/>
                    <a:moveTo>
                      <a:pt x="59987" y="700462"/>
                    </a:moveTo>
                    <a:lnTo>
                      <a:pt x="59987" y="700462"/>
                    </a:lnTo>
                    <a:lnTo>
                      <a:pt x="59747" y="700402"/>
                    </a:lnTo>
                    <a:lnTo>
                      <a:pt x="59747" y="700343"/>
                    </a:lnTo>
                    <a:lnTo>
                      <a:pt x="59987" y="700462"/>
                    </a:lnTo>
                    <a:close/>
                    <a:moveTo>
                      <a:pt x="59329" y="700223"/>
                    </a:moveTo>
                    <a:lnTo>
                      <a:pt x="59389" y="700343"/>
                    </a:lnTo>
                    <a:lnTo>
                      <a:pt x="58911" y="700283"/>
                    </a:lnTo>
                    <a:lnTo>
                      <a:pt x="58911" y="700223"/>
                    </a:lnTo>
                    <a:lnTo>
                      <a:pt x="59329" y="700223"/>
                    </a:lnTo>
                    <a:close/>
                    <a:moveTo>
                      <a:pt x="63755" y="704409"/>
                    </a:moveTo>
                    <a:lnTo>
                      <a:pt x="62080" y="703393"/>
                    </a:lnTo>
                    <a:lnTo>
                      <a:pt x="62200" y="703034"/>
                    </a:lnTo>
                    <a:cubicBezTo>
                      <a:pt x="62200" y="703034"/>
                      <a:pt x="62200" y="703034"/>
                      <a:pt x="62200" y="703034"/>
                    </a:cubicBezTo>
                    <a:cubicBezTo>
                      <a:pt x="62200" y="703034"/>
                      <a:pt x="62200" y="703034"/>
                      <a:pt x="62200" y="703034"/>
                    </a:cubicBezTo>
                    <a:cubicBezTo>
                      <a:pt x="62200" y="703034"/>
                      <a:pt x="62200" y="703034"/>
                      <a:pt x="62200" y="703034"/>
                    </a:cubicBezTo>
                    <a:cubicBezTo>
                      <a:pt x="62200" y="703034"/>
                      <a:pt x="62200" y="703034"/>
                      <a:pt x="62200" y="703034"/>
                    </a:cubicBezTo>
                    <a:cubicBezTo>
                      <a:pt x="62200" y="703034"/>
                      <a:pt x="62200" y="703034"/>
                      <a:pt x="62200" y="703034"/>
                    </a:cubicBezTo>
                    <a:lnTo>
                      <a:pt x="62080" y="702316"/>
                    </a:lnTo>
                    <a:cubicBezTo>
                      <a:pt x="62080" y="702316"/>
                      <a:pt x="62080" y="702316"/>
                      <a:pt x="62080" y="702316"/>
                    </a:cubicBezTo>
                    <a:cubicBezTo>
                      <a:pt x="62080" y="702316"/>
                      <a:pt x="62080" y="702316"/>
                      <a:pt x="62080" y="702316"/>
                    </a:cubicBezTo>
                    <a:cubicBezTo>
                      <a:pt x="62080" y="702316"/>
                      <a:pt x="62080" y="702316"/>
                      <a:pt x="62080" y="702316"/>
                    </a:cubicBezTo>
                    <a:cubicBezTo>
                      <a:pt x="62080" y="702316"/>
                      <a:pt x="62080" y="702316"/>
                      <a:pt x="62080" y="702316"/>
                    </a:cubicBezTo>
                    <a:cubicBezTo>
                      <a:pt x="62080" y="702316"/>
                      <a:pt x="62080" y="702316"/>
                      <a:pt x="62080" y="702316"/>
                    </a:cubicBezTo>
                    <a:lnTo>
                      <a:pt x="61602" y="701598"/>
                    </a:lnTo>
                    <a:cubicBezTo>
                      <a:pt x="61602" y="701598"/>
                      <a:pt x="61602" y="701598"/>
                      <a:pt x="61602" y="701598"/>
                    </a:cubicBezTo>
                    <a:cubicBezTo>
                      <a:pt x="61602" y="701598"/>
                      <a:pt x="61602" y="701598"/>
                      <a:pt x="61602" y="701598"/>
                    </a:cubicBezTo>
                    <a:cubicBezTo>
                      <a:pt x="61602" y="701598"/>
                      <a:pt x="61602" y="701598"/>
                      <a:pt x="61602" y="701598"/>
                    </a:cubicBezTo>
                    <a:lnTo>
                      <a:pt x="60884" y="700821"/>
                    </a:lnTo>
                    <a:cubicBezTo>
                      <a:pt x="60884" y="700821"/>
                      <a:pt x="60884" y="700821"/>
                      <a:pt x="60884" y="700821"/>
                    </a:cubicBezTo>
                    <a:cubicBezTo>
                      <a:pt x="60884" y="700821"/>
                      <a:pt x="60884" y="700821"/>
                      <a:pt x="60884" y="700821"/>
                    </a:cubicBezTo>
                    <a:lnTo>
                      <a:pt x="60346" y="700402"/>
                    </a:lnTo>
                    <a:lnTo>
                      <a:pt x="60346" y="700402"/>
                    </a:lnTo>
                    <a:lnTo>
                      <a:pt x="60346" y="700402"/>
                    </a:lnTo>
                    <a:cubicBezTo>
                      <a:pt x="60346" y="700402"/>
                      <a:pt x="60346" y="700402"/>
                      <a:pt x="60346" y="700402"/>
                    </a:cubicBezTo>
                    <a:cubicBezTo>
                      <a:pt x="60346" y="700402"/>
                      <a:pt x="60346" y="700402"/>
                      <a:pt x="60286" y="700402"/>
                    </a:cubicBezTo>
                    <a:cubicBezTo>
                      <a:pt x="60286" y="700402"/>
                      <a:pt x="60286" y="700402"/>
                      <a:pt x="60286" y="700402"/>
                    </a:cubicBezTo>
                    <a:lnTo>
                      <a:pt x="59628" y="700103"/>
                    </a:lnTo>
                    <a:cubicBezTo>
                      <a:pt x="59628" y="700103"/>
                      <a:pt x="59628" y="700103"/>
                      <a:pt x="59628" y="700103"/>
                    </a:cubicBezTo>
                    <a:cubicBezTo>
                      <a:pt x="59628" y="700103"/>
                      <a:pt x="59628" y="700103"/>
                      <a:pt x="59628" y="700103"/>
                    </a:cubicBezTo>
                    <a:cubicBezTo>
                      <a:pt x="59628" y="700103"/>
                      <a:pt x="59628" y="700103"/>
                      <a:pt x="59628" y="700103"/>
                    </a:cubicBezTo>
                    <a:lnTo>
                      <a:pt x="58971" y="699984"/>
                    </a:lnTo>
                    <a:cubicBezTo>
                      <a:pt x="58971" y="699984"/>
                      <a:pt x="58971" y="699984"/>
                      <a:pt x="58971" y="699984"/>
                    </a:cubicBezTo>
                    <a:cubicBezTo>
                      <a:pt x="58971" y="699984"/>
                      <a:pt x="58971" y="699984"/>
                      <a:pt x="58971" y="699984"/>
                    </a:cubicBezTo>
                    <a:cubicBezTo>
                      <a:pt x="58971" y="699984"/>
                      <a:pt x="58971" y="699984"/>
                      <a:pt x="58971" y="699984"/>
                    </a:cubicBezTo>
                    <a:lnTo>
                      <a:pt x="58372" y="700103"/>
                    </a:lnTo>
                    <a:cubicBezTo>
                      <a:pt x="58372" y="700103"/>
                      <a:pt x="58372" y="700103"/>
                      <a:pt x="58372" y="700103"/>
                    </a:cubicBezTo>
                    <a:cubicBezTo>
                      <a:pt x="58372" y="700103"/>
                      <a:pt x="58372" y="700103"/>
                      <a:pt x="58372" y="700103"/>
                    </a:cubicBezTo>
                    <a:cubicBezTo>
                      <a:pt x="58372" y="700103"/>
                      <a:pt x="58372" y="700103"/>
                      <a:pt x="58372" y="700103"/>
                    </a:cubicBezTo>
                    <a:lnTo>
                      <a:pt x="58073" y="700343"/>
                    </a:lnTo>
                    <a:cubicBezTo>
                      <a:pt x="58013" y="700402"/>
                      <a:pt x="58013" y="700462"/>
                      <a:pt x="58073" y="700582"/>
                    </a:cubicBezTo>
                    <a:lnTo>
                      <a:pt x="58073" y="700641"/>
                    </a:lnTo>
                    <a:lnTo>
                      <a:pt x="57714" y="700881"/>
                    </a:lnTo>
                    <a:lnTo>
                      <a:pt x="57594" y="700821"/>
                    </a:lnTo>
                    <a:lnTo>
                      <a:pt x="57654" y="699565"/>
                    </a:lnTo>
                    <a:cubicBezTo>
                      <a:pt x="57654" y="699565"/>
                      <a:pt x="57654" y="699565"/>
                      <a:pt x="57654" y="699565"/>
                    </a:cubicBezTo>
                    <a:cubicBezTo>
                      <a:pt x="57654" y="699565"/>
                      <a:pt x="57654" y="699565"/>
                      <a:pt x="57654" y="699505"/>
                    </a:cubicBezTo>
                    <a:cubicBezTo>
                      <a:pt x="57654" y="699505"/>
                      <a:pt x="57654" y="699505"/>
                      <a:pt x="57654" y="699505"/>
                    </a:cubicBezTo>
                    <a:lnTo>
                      <a:pt x="57654" y="699505"/>
                    </a:lnTo>
                    <a:lnTo>
                      <a:pt x="57654" y="699505"/>
                    </a:lnTo>
                    <a:lnTo>
                      <a:pt x="56877" y="697472"/>
                    </a:lnTo>
                    <a:lnTo>
                      <a:pt x="62379" y="699924"/>
                    </a:lnTo>
                    <a:lnTo>
                      <a:pt x="63755" y="704409"/>
                    </a:lnTo>
                    <a:close/>
                    <a:moveTo>
                      <a:pt x="392694" y="261298"/>
                    </a:moveTo>
                    <a:lnTo>
                      <a:pt x="417933" y="229301"/>
                    </a:lnTo>
                    <a:lnTo>
                      <a:pt x="418352" y="229600"/>
                    </a:lnTo>
                    <a:lnTo>
                      <a:pt x="393292" y="261477"/>
                    </a:lnTo>
                    <a:lnTo>
                      <a:pt x="392694" y="261298"/>
                    </a:lnTo>
                    <a:close/>
                    <a:moveTo>
                      <a:pt x="401606" y="228882"/>
                    </a:moveTo>
                    <a:lnTo>
                      <a:pt x="417275" y="210103"/>
                    </a:lnTo>
                    <a:lnTo>
                      <a:pt x="416797" y="213033"/>
                    </a:lnTo>
                    <a:lnTo>
                      <a:pt x="413986" y="219732"/>
                    </a:lnTo>
                    <a:lnTo>
                      <a:pt x="401606" y="228882"/>
                    </a:lnTo>
                    <a:close/>
                    <a:moveTo>
                      <a:pt x="415720" y="207112"/>
                    </a:moveTo>
                    <a:cubicBezTo>
                      <a:pt x="415720" y="207112"/>
                      <a:pt x="415720" y="207112"/>
                      <a:pt x="415720" y="207112"/>
                    </a:cubicBezTo>
                    <a:cubicBezTo>
                      <a:pt x="415720" y="207112"/>
                      <a:pt x="415720" y="207112"/>
                      <a:pt x="415720" y="207112"/>
                    </a:cubicBezTo>
                    <a:cubicBezTo>
                      <a:pt x="415660" y="207053"/>
                      <a:pt x="415660" y="207053"/>
                      <a:pt x="415600" y="207053"/>
                    </a:cubicBezTo>
                    <a:cubicBezTo>
                      <a:pt x="415600" y="207053"/>
                      <a:pt x="415600" y="207053"/>
                      <a:pt x="415600" y="207053"/>
                    </a:cubicBezTo>
                    <a:lnTo>
                      <a:pt x="396881" y="204959"/>
                    </a:lnTo>
                    <a:lnTo>
                      <a:pt x="387910" y="194433"/>
                    </a:lnTo>
                    <a:lnTo>
                      <a:pt x="416259" y="173800"/>
                    </a:lnTo>
                    <a:lnTo>
                      <a:pt x="434500" y="192639"/>
                    </a:lnTo>
                    <a:lnTo>
                      <a:pt x="417634" y="210222"/>
                    </a:lnTo>
                    <a:lnTo>
                      <a:pt x="417754" y="209565"/>
                    </a:ln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lnTo>
                      <a:pt x="417754" y="209565"/>
                    </a:lnTo>
                    <a:lnTo>
                      <a:pt x="415720" y="207112"/>
                    </a:lnTo>
                    <a:close/>
                    <a:moveTo>
                      <a:pt x="394609" y="204660"/>
                    </a:moveTo>
                    <a:lnTo>
                      <a:pt x="387073" y="195749"/>
                    </a:lnTo>
                    <a:lnTo>
                      <a:pt x="387073" y="195510"/>
                    </a:lnTo>
                    <a:lnTo>
                      <a:pt x="394788" y="204660"/>
                    </a:lnTo>
                    <a:lnTo>
                      <a:pt x="394609" y="204660"/>
                    </a:lnTo>
                    <a:close/>
                    <a:moveTo>
                      <a:pt x="422778" y="220928"/>
                    </a:moveTo>
                    <a:cubicBezTo>
                      <a:pt x="422778" y="220868"/>
                      <a:pt x="422778" y="220868"/>
                      <a:pt x="422718" y="220808"/>
                    </a:cubicBezTo>
                    <a:lnTo>
                      <a:pt x="423376" y="215485"/>
                    </a:lnTo>
                    <a:lnTo>
                      <a:pt x="425230" y="217100"/>
                    </a:lnTo>
                    <a:lnTo>
                      <a:pt x="424691" y="222363"/>
                    </a:lnTo>
                    <a:lnTo>
                      <a:pt x="422778" y="220928"/>
                    </a:lnTo>
                    <a:close/>
                    <a:moveTo>
                      <a:pt x="428998" y="204301"/>
                    </a:moveTo>
                    <a:lnTo>
                      <a:pt x="432287" y="208249"/>
                    </a:lnTo>
                    <a:lnTo>
                      <a:pt x="428101" y="211777"/>
                    </a:lnTo>
                    <a:lnTo>
                      <a:pt x="424393" y="207950"/>
                    </a:lnTo>
                    <a:cubicBezTo>
                      <a:pt x="424393" y="207950"/>
                      <a:pt x="424393" y="207950"/>
                      <a:pt x="424333" y="207950"/>
                    </a:cubicBezTo>
                    <a:lnTo>
                      <a:pt x="428998" y="204301"/>
                    </a:lnTo>
                    <a:close/>
                    <a:moveTo>
                      <a:pt x="440780" y="202687"/>
                    </a:moveTo>
                    <a:lnTo>
                      <a:pt x="443291" y="206634"/>
                    </a:lnTo>
                    <a:lnTo>
                      <a:pt x="438088" y="206275"/>
                    </a:lnTo>
                    <a:lnTo>
                      <a:pt x="435217" y="202328"/>
                    </a:lnTo>
                    <a:lnTo>
                      <a:pt x="440780" y="202687"/>
                    </a:lnTo>
                    <a:close/>
                    <a:moveTo>
                      <a:pt x="449213" y="209505"/>
                    </a:moveTo>
                    <a:cubicBezTo>
                      <a:pt x="449153" y="209565"/>
                      <a:pt x="449153" y="209684"/>
                      <a:pt x="449272" y="209744"/>
                    </a:cubicBezTo>
                    <a:cubicBezTo>
                      <a:pt x="449272" y="209744"/>
                      <a:pt x="449272" y="209744"/>
                      <a:pt x="449272" y="209744"/>
                    </a:cubicBezTo>
                    <a:cubicBezTo>
                      <a:pt x="449332" y="209804"/>
                      <a:pt x="449451" y="209804"/>
                      <a:pt x="449511" y="209744"/>
                    </a:cubicBezTo>
                    <a:lnTo>
                      <a:pt x="449571" y="209684"/>
                    </a:lnTo>
                    <a:lnTo>
                      <a:pt x="449871" y="209983"/>
                    </a:lnTo>
                    <a:lnTo>
                      <a:pt x="451006" y="212017"/>
                    </a:lnTo>
                    <a:lnTo>
                      <a:pt x="448794" y="209325"/>
                    </a:lnTo>
                    <a:lnTo>
                      <a:pt x="448196" y="208309"/>
                    </a:lnTo>
                    <a:lnTo>
                      <a:pt x="449272" y="209385"/>
                    </a:lnTo>
                    <a:lnTo>
                      <a:pt x="449213" y="209505"/>
                    </a:lnTo>
                    <a:close/>
                    <a:moveTo>
                      <a:pt x="453519" y="219074"/>
                    </a:moveTo>
                    <a:lnTo>
                      <a:pt x="453159" y="221705"/>
                    </a:lnTo>
                    <a:lnTo>
                      <a:pt x="452203" y="218416"/>
                    </a:lnTo>
                    <a:lnTo>
                      <a:pt x="452322" y="214887"/>
                    </a:lnTo>
                    <a:lnTo>
                      <a:pt x="453519" y="219074"/>
                    </a:lnTo>
                    <a:close/>
                    <a:moveTo>
                      <a:pt x="439225" y="234564"/>
                    </a:moveTo>
                    <a:lnTo>
                      <a:pt x="442275" y="232112"/>
                    </a:lnTo>
                    <a:lnTo>
                      <a:pt x="444248" y="232231"/>
                    </a:lnTo>
                    <a:lnTo>
                      <a:pt x="442933" y="234803"/>
                    </a:lnTo>
                    <a:lnTo>
                      <a:pt x="439225" y="234564"/>
                    </a:lnTo>
                    <a:close/>
                    <a:moveTo>
                      <a:pt x="442454" y="231753"/>
                    </a:moveTo>
                    <a:lnTo>
                      <a:pt x="444488" y="227626"/>
                    </a:lnTo>
                    <a:lnTo>
                      <a:pt x="444368" y="231873"/>
                    </a:lnTo>
                    <a:lnTo>
                      <a:pt x="442454" y="231753"/>
                    </a:lnTo>
                    <a:close/>
                    <a:moveTo>
                      <a:pt x="444308" y="225832"/>
                    </a:moveTo>
                    <a:lnTo>
                      <a:pt x="441437" y="220928"/>
                    </a:lnTo>
                    <a:lnTo>
                      <a:pt x="443291" y="220330"/>
                    </a:lnTo>
                    <a:lnTo>
                      <a:pt x="444308" y="225832"/>
                    </a:lnTo>
                    <a:close/>
                    <a:moveTo>
                      <a:pt x="443710" y="220210"/>
                    </a:moveTo>
                    <a:lnTo>
                      <a:pt x="445624" y="220330"/>
                    </a:lnTo>
                    <a:lnTo>
                      <a:pt x="444667" y="225712"/>
                    </a:lnTo>
                    <a:lnTo>
                      <a:pt x="443710" y="220210"/>
                    </a:lnTo>
                    <a:close/>
                    <a:moveTo>
                      <a:pt x="444009" y="226012"/>
                    </a:moveTo>
                    <a:lnTo>
                      <a:pt x="439583" y="222363"/>
                    </a:lnTo>
                    <a:lnTo>
                      <a:pt x="441138" y="221048"/>
                    </a:lnTo>
                    <a:lnTo>
                      <a:pt x="444009" y="226012"/>
                    </a:lnTo>
                    <a:close/>
                    <a:moveTo>
                      <a:pt x="443770" y="226310"/>
                    </a:moveTo>
                    <a:lnTo>
                      <a:pt x="438447" y="224397"/>
                    </a:lnTo>
                    <a:lnTo>
                      <a:pt x="439404" y="222662"/>
                    </a:lnTo>
                    <a:lnTo>
                      <a:pt x="443770" y="226310"/>
                    </a:lnTo>
                    <a:close/>
                    <a:moveTo>
                      <a:pt x="443650" y="226610"/>
                    </a:moveTo>
                    <a:lnTo>
                      <a:pt x="438148" y="226669"/>
                    </a:lnTo>
                    <a:lnTo>
                      <a:pt x="438387" y="224756"/>
                    </a:lnTo>
                    <a:lnTo>
                      <a:pt x="443650" y="226610"/>
                    </a:lnTo>
                    <a:close/>
                    <a:moveTo>
                      <a:pt x="445026" y="225832"/>
                    </a:moveTo>
                    <a:lnTo>
                      <a:pt x="445983" y="220509"/>
                    </a:lnTo>
                    <a:lnTo>
                      <a:pt x="447658" y="221346"/>
                    </a:lnTo>
                    <a:lnTo>
                      <a:pt x="445026" y="225832"/>
                    </a:lnTo>
                    <a:close/>
                    <a:moveTo>
                      <a:pt x="447956" y="221586"/>
                    </a:moveTo>
                    <a:lnTo>
                      <a:pt x="449153" y="223021"/>
                    </a:lnTo>
                    <a:lnTo>
                      <a:pt x="445325" y="226071"/>
                    </a:lnTo>
                    <a:lnTo>
                      <a:pt x="447956" y="221586"/>
                    </a:lnTo>
                    <a:close/>
                    <a:moveTo>
                      <a:pt x="443650" y="219851"/>
                    </a:moveTo>
                    <a:lnTo>
                      <a:pt x="441437" y="213033"/>
                    </a:lnTo>
                    <a:lnTo>
                      <a:pt x="445385" y="213332"/>
                    </a:lnTo>
                    <a:lnTo>
                      <a:pt x="445743" y="220031"/>
                    </a:lnTo>
                    <a:lnTo>
                      <a:pt x="443650" y="219851"/>
                    </a:lnTo>
                    <a:close/>
                    <a:moveTo>
                      <a:pt x="443291" y="219911"/>
                    </a:moveTo>
                    <a:lnTo>
                      <a:pt x="441318" y="220569"/>
                    </a:lnTo>
                    <a:lnTo>
                      <a:pt x="437251" y="214349"/>
                    </a:lnTo>
                    <a:lnTo>
                      <a:pt x="441078" y="213093"/>
                    </a:lnTo>
                    <a:lnTo>
                      <a:pt x="443291" y="219911"/>
                    </a:lnTo>
                    <a:close/>
                    <a:moveTo>
                      <a:pt x="440959" y="220748"/>
                    </a:moveTo>
                    <a:lnTo>
                      <a:pt x="439344" y="222124"/>
                    </a:lnTo>
                    <a:lnTo>
                      <a:pt x="433782" y="217160"/>
                    </a:lnTo>
                    <a:lnTo>
                      <a:pt x="436892" y="214528"/>
                    </a:lnTo>
                    <a:lnTo>
                      <a:pt x="440959" y="220748"/>
                    </a:lnTo>
                    <a:close/>
                    <a:moveTo>
                      <a:pt x="439105" y="222423"/>
                    </a:moveTo>
                    <a:lnTo>
                      <a:pt x="438088" y="224277"/>
                    </a:lnTo>
                    <a:lnTo>
                      <a:pt x="431629" y="220988"/>
                    </a:lnTo>
                    <a:lnTo>
                      <a:pt x="433543" y="217459"/>
                    </a:lnTo>
                    <a:lnTo>
                      <a:pt x="439105" y="222423"/>
                    </a:lnTo>
                    <a:close/>
                    <a:moveTo>
                      <a:pt x="438028" y="224576"/>
                    </a:moveTo>
                    <a:lnTo>
                      <a:pt x="437789" y="226610"/>
                    </a:lnTo>
                    <a:lnTo>
                      <a:pt x="431151" y="225234"/>
                    </a:lnTo>
                    <a:lnTo>
                      <a:pt x="431569" y="221287"/>
                    </a:lnTo>
                    <a:lnTo>
                      <a:pt x="438028" y="224576"/>
                    </a:lnTo>
                    <a:close/>
                    <a:moveTo>
                      <a:pt x="443650" y="227028"/>
                    </a:moveTo>
                    <a:lnTo>
                      <a:pt x="438687" y="228882"/>
                    </a:lnTo>
                    <a:lnTo>
                      <a:pt x="438148" y="227088"/>
                    </a:lnTo>
                    <a:lnTo>
                      <a:pt x="443650" y="227028"/>
                    </a:lnTo>
                    <a:close/>
                    <a:moveTo>
                      <a:pt x="443830" y="227327"/>
                    </a:moveTo>
                    <a:lnTo>
                      <a:pt x="440122" y="230617"/>
                    </a:lnTo>
                    <a:lnTo>
                      <a:pt x="438925" y="229181"/>
                    </a:lnTo>
                    <a:lnTo>
                      <a:pt x="443830" y="227327"/>
                    </a:lnTo>
                    <a:close/>
                    <a:moveTo>
                      <a:pt x="449332" y="223380"/>
                    </a:moveTo>
                    <a:lnTo>
                      <a:pt x="449871" y="225174"/>
                    </a:lnTo>
                    <a:lnTo>
                      <a:pt x="445564" y="226370"/>
                    </a:lnTo>
                    <a:lnTo>
                      <a:pt x="449332" y="223380"/>
                    </a:lnTo>
                    <a:close/>
                    <a:moveTo>
                      <a:pt x="448136" y="221227"/>
                    </a:moveTo>
                    <a:lnTo>
                      <a:pt x="449451" y="215545"/>
                    </a:lnTo>
                    <a:lnTo>
                      <a:pt x="451844" y="218476"/>
                    </a:lnTo>
                    <a:lnTo>
                      <a:pt x="449392" y="222782"/>
                    </a:lnTo>
                    <a:lnTo>
                      <a:pt x="448136" y="221227"/>
                    </a:lnTo>
                    <a:close/>
                    <a:moveTo>
                      <a:pt x="449511" y="215067"/>
                    </a:moveTo>
                    <a:lnTo>
                      <a:pt x="448913" y="209983"/>
                    </a:lnTo>
                    <a:lnTo>
                      <a:pt x="452023" y="213751"/>
                    </a:lnTo>
                    <a:lnTo>
                      <a:pt x="451904" y="217938"/>
                    </a:lnTo>
                    <a:lnTo>
                      <a:pt x="449511" y="215067"/>
                    </a:lnTo>
                    <a:close/>
                    <a:moveTo>
                      <a:pt x="447837" y="220988"/>
                    </a:moveTo>
                    <a:lnTo>
                      <a:pt x="446043" y="220091"/>
                    </a:lnTo>
                    <a:lnTo>
                      <a:pt x="445684" y="213452"/>
                    </a:lnTo>
                    <a:lnTo>
                      <a:pt x="449093" y="215186"/>
                    </a:lnTo>
                    <a:lnTo>
                      <a:pt x="447837" y="220988"/>
                    </a:lnTo>
                    <a:close/>
                    <a:moveTo>
                      <a:pt x="441258" y="212674"/>
                    </a:moveTo>
                    <a:lnTo>
                      <a:pt x="438327" y="206634"/>
                    </a:lnTo>
                    <a:lnTo>
                      <a:pt x="443531" y="206993"/>
                    </a:lnTo>
                    <a:lnTo>
                      <a:pt x="445265" y="212973"/>
                    </a:lnTo>
                    <a:lnTo>
                      <a:pt x="441258" y="212674"/>
                    </a:lnTo>
                    <a:close/>
                    <a:moveTo>
                      <a:pt x="440899" y="212734"/>
                    </a:moveTo>
                    <a:lnTo>
                      <a:pt x="437012" y="214050"/>
                    </a:lnTo>
                    <a:lnTo>
                      <a:pt x="432825" y="208368"/>
                    </a:lnTo>
                    <a:lnTo>
                      <a:pt x="437909" y="206694"/>
                    </a:lnTo>
                    <a:lnTo>
                      <a:pt x="440899" y="212734"/>
                    </a:lnTo>
                    <a:close/>
                    <a:moveTo>
                      <a:pt x="436653" y="214229"/>
                    </a:moveTo>
                    <a:lnTo>
                      <a:pt x="433483" y="216921"/>
                    </a:lnTo>
                    <a:lnTo>
                      <a:pt x="428339" y="212017"/>
                    </a:lnTo>
                    <a:lnTo>
                      <a:pt x="432466" y="208548"/>
                    </a:lnTo>
                    <a:lnTo>
                      <a:pt x="436653" y="214229"/>
                    </a:lnTo>
                    <a:close/>
                    <a:moveTo>
                      <a:pt x="433244" y="217160"/>
                    </a:moveTo>
                    <a:lnTo>
                      <a:pt x="431271" y="220808"/>
                    </a:lnTo>
                    <a:lnTo>
                      <a:pt x="425529" y="217040"/>
                    </a:lnTo>
                    <a:lnTo>
                      <a:pt x="428041" y="212316"/>
                    </a:lnTo>
                    <a:lnTo>
                      <a:pt x="433244" y="217160"/>
                    </a:lnTo>
                    <a:close/>
                    <a:moveTo>
                      <a:pt x="431211" y="221167"/>
                    </a:moveTo>
                    <a:lnTo>
                      <a:pt x="430792" y="225174"/>
                    </a:lnTo>
                    <a:lnTo>
                      <a:pt x="424990" y="222662"/>
                    </a:lnTo>
                    <a:lnTo>
                      <a:pt x="425529" y="217399"/>
                    </a:lnTo>
                    <a:lnTo>
                      <a:pt x="431211" y="221167"/>
                    </a:lnTo>
                    <a:close/>
                    <a:moveTo>
                      <a:pt x="437789" y="227028"/>
                    </a:moveTo>
                    <a:lnTo>
                      <a:pt x="438387" y="228942"/>
                    </a:lnTo>
                    <a:lnTo>
                      <a:pt x="432287" y="229361"/>
                    </a:lnTo>
                    <a:lnTo>
                      <a:pt x="431211" y="225653"/>
                    </a:lnTo>
                    <a:lnTo>
                      <a:pt x="437789" y="227028"/>
                    </a:lnTo>
                    <a:close/>
                    <a:moveTo>
                      <a:pt x="438507" y="229301"/>
                    </a:moveTo>
                    <a:lnTo>
                      <a:pt x="439763" y="230796"/>
                    </a:lnTo>
                    <a:lnTo>
                      <a:pt x="434919" y="232590"/>
                    </a:lnTo>
                    <a:lnTo>
                      <a:pt x="432466" y="229720"/>
                    </a:lnTo>
                    <a:lnTo>
                      <a:pt x="438507" y="229301"/>
                    </a:lnTo>
                    <a:close/>
                    <a:moveTo>
                      <a:pt x="444129" y="227566"/>
                    </a:moveTo>
                    <a:lnTo>
                      <a:pt x="442095" y="231693"/>
                    </a:lnTo>
                    <a:lnTo>
                      <a:pt x="440420" y="230856"/>
                    </a:lnTo>
                    <a:lnTo>
                      <a:pt x="444129" y="227566"/>
                    </a:lnTo>
                    <a:close/>
                    <a:moveTo>
                      <a:pt x="444727" y="231813"/>
                    </a:moveTo>
                    <a:lnTo>
                      <a:pt x="444846" y="227566"/>
                    </a:lnTo>
                    <a:lnTo>
                      <a:pt x="446581" y="231215"/>
                    </a:lnTo>
                    <a:lnTo>
                      <a:pt x="444727" y="231813"/>
                    </a:lnTo>
                    <a:close/>
                    <a:moveTo>
                      <a:pt x="449871" y="225533"/>
                    </a:moveTo>
                    <a:lnTo>
                      <a:pt x="449631" y="227447"/>
                    </a:lnTo>
                    <a:lnTo>
                      <a:pt x="445504" y="226789"/>
                    </a:lnTo>
                    <a:lnTo>
                      <a:pt x="449871" y="225533"/>
                    </a:lnTo>
                    <a:close/>
                    <a:moveTo>
                      <a:pt x="450169" y="224995"/>
                    </a:moveTo>
                    <a:lnTo>
                      <a:pt x="449631" y="223081"/>
                    </a:lnTo>
                    <a:lnTo>
                      <a:pt x="452023" y="218894"/>
                    </a:lnTo>
                    <a:lnTo>
                      <a:pt x="453040" y="222483"/>
                    </a:lnTo>
                    <a:lnTo>
                      <a:pt x="450169" y="224995"/>
                    </a:lnTo>
                    <a:close/>
                    <a:moveTo>
                      <a:pt x="449093" y="214828"/>
                    </a:moveTo>
                    <a:lnTo>
                      <a:pt x="445624" y="213093"/>
                    </a:lnTo>
                    <a:lnTo>
                      <a:pt x="443950" y="207232"/>
                    </a:lnTo>
                    <a:lnTo>
                      <a:pt x="448494" y="209565"/>
                    </a:lnTo>
                    <a:lnTo>
                      <a:pt x="449093" y="214828"/>
                    </a:lnTo>
                    <a:close/>
                    <a:moveTo>
                      <a:pt x="434799" y="202328"/>
                    </a:moveTo>
                    <a:lnTo>
                      <a:pt x="437729" y="206335"/>
                    </a:lnTo>
                    <a:lnTo>
                      <a:pt x="432586" y="208009"/>
                    </a:lnTo>
                    <a:lnTo>
                      <a:pt x="429296" y="204062"/>
                    </a:lnTo>
                    <a:lnTo>
                      <a:pt x="434799" y="202328"/>
                    </a:lnTo>
                    <a:close/>
                    <a:moveTo>
                      <a:pt x="423795" y="208309"/>
                    </a:moveTo>
                    <a:lnTo>
                      <a:pt x="423256" y="212973"/>
                    </a:lnTo>
                    <a:lnTo>
                      <a:pt x="419787" y="212495"/>
                    </a:lnTo>
                    <a:lnTo>
                      <a:pt x="423795" y="208309"/>
                    </a:lnTo>
                    <a:close/>
                    <a:moveTo>
                      <a:pt x="419309" y="212435"/>
                    </a:moveTo>
                    <a:lnTo>
                      <a:pt x="418292" y="212316"/>
                    </a:lnTo>
                    <a:lnTo>
                      <a:pt x="435995" y="193895"/>
                    </a:lnTo>
                    <a:lnTo>
                      <a:pt x="436653" y="194433"/>
                    </a:lnTo>
                    <a:lnTo>
                      <a:pt x="419309" y="212435"/>
                    </a:lnTo>
                    <a:close/>
                    <a:moveTo>
                      <a:pt x="417395" y="211897"/>
                    </a:moveTo>
                    <a:lnTo>
                      <a:pt x="435337" y="193237"/>
                    </a:lnTo>
                    <a:lnTo>
                      <a:pt x="435756" y="193596"/>
                    </a:lnTo>
                    <a:lnTo>
                      <a:pt x="417873" y="212196"/>
                    </a:lnTo>
                    <a:lnTo>
                      <a:pt x="417395" y="212136"/>
                    </a:lnTo>
                    <a:lnTo>
                      <a:pt x="417395" y="211897"/>
                    </a:lnTo>
                    <a:close/>
                    <a:moveTo>
                      <a:pt x="436234" y="192519"/>
                    </a:moveTo>
                    <a:lnTo>
                      <a:pt x="436593" y="192818"/>
                    </a:lnTo>
                    <a:lnTo>
                      <a:pt x="435995" y="193357"/>
                    </a:lnTo>
                    <a:lnTo>
                      <a:pt x="435576" y="192998"/>
                    </a:lnTo>
                    <a:lnTo>
                      <a:pt x="436234" y="192519"/>
                    </a:lnTo>
                    <a:close/>
                    <a:moveTo>
                      <a:pt x="437430" y="192639"/>
                    </a:moveTo>
                    <a:lnTo>
                      <a:pt x="437729" y="192878"/>
                    </a:lnTo>
                    <a:lnTo>
                      <a:pt x="437550" y="193237"/>
                    </a:lnTo>
                    <a:lnTo>
                      <a:pt x="437072" y="192878"/>
                    </a:lnTo>
                    <a:lnTo>
                      <a:pt x="437430" y="192639"/>
                    </a:lnTo>
                    <a:close/>
                    <a:moveTo>
                      <a:pt x="436832" y="193058"/>
                    </a:moveTo>
                    <a:lnTo>
                      <a:pt x="437370" y="193536"/>
                    </a:lnTo>
                    <a:lnTo>
                      <a:pt x="436832" y="194134"/>
                    </a:lnTo>
                    <a:lnTo>
                      <a:pt x="436234" y="193596"/>
                    </a:lnTo>
                    <a:lnTo>
                      <a:pt x="436832" y="193058"/>
                    </a:lnTo>
                    <a:close/>
                    <a:moveTo>
                      <a:pt x="437012" y="192280"/>
                    </a:moveTo>
                    <a:lnTo>
                      <a:pt x="437132" y="192400"/>
                    </a:lnTo>
                    <a:lnTo>
                      <a:pt x="436832" y="192639"/>
                    </a:lnTo>
                    <a:lnTo>
                      <a:pt x="436593" y="192400"/>
                    </a:lnTo>
                    <a:lnTo>
                      <a:pt x="437012" y="192280"/>
                    </a:lnTo>
                    <a:close/>
                    <a:moveTo>
                      <a:pt x="435756" y="192101"/>
                    </a:moveTo>
                    <a:lnTo>
                      <a:pt x="435935" y="192280"/>
                    </a:lnTo>
                    <a:lnTo>
                      <a:pt x="435277" y="192818"/>
                    </a:lnTo>
                    <a:lnTo>
                      <a:pt x="435098" y="192639"/>
                    </a:lnTo>
                    <a:lnTo>
                      <a:pt x="435756" y="192101"/>
                    </a:lnTo>
                    <a:close/>
                    <a:moveTo>
                      <a:pt x="437191" y="194373"/>
                    </a:moveTo>
                    <a:lnTo>
                      <a:pt x="437729" y="193775"/>
                    </a:lnTo>
                    <a:lnTo>
                      <a:pt x="446103" y="200534"/>
                    </a:lnTo>
                    <a:lnTo>
                      <a:pt x="445564" y="201132"/>
                    </a:lnTo>
                    <a:lnTo>
                      <a:pt x="437191" y="194373"/>
                    </a:lnTo>
                    <a:close/>
                    <a:moveTo>
                      <a:pt x="446281" y="200235"/>
                    </a:moveTo>
                    <a:lnTo>
                      <a:pt x="437849" y="193417"/>
                    </a:lnTo>
                    <a:lnTo>
                      <a:pt x="438028" y="193058"/>
                    </a:lnTo>
                    <a:lnTo>
                      <a:pt x="446521" y="199936"/>
                    </a:lnTo>
                    <a:lnTo>
                      <a:pt x="446281" y="200235"/>
                    </a:lnTo>
                    <a:close/>
                    <a:moveTo>
                      <a:pt x="436234" y="192101"/>
                    </a:moveTo>
                    <a:lnTo>
                      <a:pt x="436234" y="192101"/>
                    </a:lnTo>
                    <a:lnTo>
                      <a:pt x="436533" y="192041"/>
                    </a:lnTo>
                    <a:lnTo>
                      <a:pt x="436234" y="192101"/>
                    </a:lnTo>
                    <a:close/>
                    <a:moveTo>
                      <a:pt x="434859" y="192340"/>
                    </a:moveTo>
                    <a:lnTo>
                      <a:pt x="416677" y="173561"/>
                    </a:lnTo>
                    <a:lnTo>
                      <a:pt x="417395" y="173202"/>
                    </a:lnTo>
                    <a:lnTo>
                      <a:pt x="435576" y="191802"/>
                    </a:lnTo>
                    <a:lnTo>
                      <a:pt x="434859" y="192340"/>
                    </a:lnTo>
                    <a:close/>
                    <a:moveTo>
                      <a:pt x="434799" y="192818"/>
                    </a:moveTo>
                    <a:lnTo>
                      <a:pt x="434979" y="192998"/>
                    </a:lnTo>
                    <a:lnTo>
                      <a:pt x="417455" y="211239"/>
                    </a:lnTo>
                    <a:lnTo>
                      <a:pt x="417515" y="210761"/>
                    </a:lnTo>
                    <a:lnTo>
                      <a:pt x="434799" y="192818"/>
                    </a:lnTo>
                    <a:close/>
                    <a:moveTo>
                      <a:pt x="417215" y="212914"/>
                    </a:moveTo>
                    <a:lnTo>
                      <a:pt x="417275" y="212495"/>
                    </a:lnTo>
                    <a:lnTo>
                      <a:pt x="423196" y="213273"/>
                    </a:lnTo>
                    <a:lnTo>
                      <a:pt x="423136" y="213691"/>
                    </a:lnTo>
                    <a:lnTo>
                      <a:pt x="417215" y="212914"/>
                    </a:lnTo>
                    <a:close/>
                    <a:moveTo>
                      <a:pt x="423615" y="213213"/>
                    </a:moveTo>
                    <a:lnTo>
                      <a:pt x="423615" y="213213"/>
                    </a:lnTo>
                    <a:lnTo>
                      <a:pt x="423615" y="213213"/>
                    </a:lnTo>
                    <a:lnTo>
                      <a:pt x="424213" y="208249"/>
                    </a:lnTo>
                    <a:lnTo>
                      <a:pt x="427861" y="212017"/>
                    </a:lnTo>
                    <a:lnTo>
                      <a:pt x="425290" y="216801"/>
                    </a:lnTo>
                    <a:lnTo>
                      <a:pt x="423376" y="215067"/>
                    </a:lnTo>
                    <a:lnTo>
                      <a:pt x="423615" y="213213"/>
                    </a:lnTo>
                    <a:close/>
                    <a:moveTo>
                      <a:pt x="430792" y="225533"/>
                    </a:moveTo>
                    <a:lnTo>
                      <a:pt x="431928" y="229301"/>
                    </a:lnTo>
                    <a:lnTo>
                      <a:pt x="426546" y="227985"/>
                    </a:lnTo>
                    <a:lnTo>
                      <a:pt x="425050" y="223081"/>
                    </a:lnTo>
                    <a:lnTo>
                      <a:pt x="430792" y="225533"/>
                    </a:lnTo>
                    <a:close/>
                    <a:moveTo>
                      <a:pt x="432047" y="229720"/>
                    </a:moveTo>
                    <a:lnTo>
                      <a:pt x="434440" y="232590"/>
                    </a:lnTo>
                    <a:lnTo>
                      <a:pt x="430014" y="232172"/>
                    </a:lnTo>
                    <a:lnTo>
                      <a:pt x="426844" y="228404"/>
                    </a:lnTo>
                    <a:lnTo>
                      <a:pt x="432047" y="229720"/>
                    </a:lnTo>
                    <a:close/>
                    <a:moveTo>
                      <a:pt x="440062" y="231095"/>
                    </a:moveTo>
                    <a:lnTo>
                      <a:pt x="441796" y="231992"/>
                    </a:lnTo>
                    <a:lnTo>
                      <a:pt x="438627" y="234564"/>
                    </a:lnTo>
                    <a:lnTo>
                      <a:pt x="435277" y="232889"/>
                    </a:lnTo>
                    <a:lnTo>
                      <a:pt x="440062" y="231095"/>
                    </a:lnTo>
                    <a:close/>
                    <a:moveTo>
                      <a:pt x="443411" y="234684"/>
                    </a:moveTo>
                    <a:lnTo>
                      <a:pt x="444667" y="232231"/>
                    </a:lnTo>
                    <a:lnTo>
                      <a:pt x="446641" y="231574"/>
                    </a:lnTo>
                    <a:lnTo>
                      <a:pt x="446999" y="233487"/>
                    </a:lnTo>
                    <a:lnTo>
                      <a:pt x="443411" y="234684"/>
                    </a:lnTo>
                    <a:close/>
                    <a:moveTo>
                      <a:pt x="446880" y="231035"/>
                    </a:moveTo>
                    <a:lnTo>
                      <a:pt x="445145" y="227387"/>
                    </a:lnTo>
                    <a:lnTo>
                      <a:pt x="448375" y="229779"/>
                    </a:lnTo>
                    <a:lnTo>
                      <a:pt x="446880" y="231035"/>
                    </a:lnTo>
                    <a:close/>
                    <a:moveTo>
                      <a:pt x="445385" y="227088"/>
                    </a:moveTo>
                    <a:lnTo>
                      <a:pt x="449511" y="227746"/>
                    </a:lnTo>
                    <a:lnTo>
                      <a:pt x="448554" y="229480"/>
                    </a:lnTo>
                    <a:lnTo>
                      <a:pt x="445385" y="227088"/>
                    </a:lnTo>
                    <a:close/>
                    <a:moveTo>
                      <a:pt x="450049" y="227387"/>
                    </a:moveTo>
                    <a:lnTo>
                      <a:pt x="450289" y="225354"/>
                    </a:lnTo>
                    <a:lnTo>
                      <a:pt x="453040" y="222961"/>
                    </a:lnTo>
                    <a:lnTo>
                      <a:pt x="452861" y="224756"/>
                    </a:lnTo>
                    <a:cubicBezTo>
                      <a:pt x="452861" y="224756"/>
                      <a:pt x="452861" y="224756"/>
                      <a:pt x="452861" y="224756"/>
                    </a:cubicBezTo>
                    <a:lnTo>
                      <a:pt x="452621" y="226669"/>
                    </a:lnTo>
                    <a:lnTo>
                      <a:pt x="450049" y="227387"/>
                    </a:lnTo>
                    <a:close/>
                    <a:moveTo>
                      <a:pt x="452322" y="213631"/>
                    </a:moveTo>
                    <a:cubicBezTo>
                      <a:pt x="452322" y="213631"/>
                      <a:pt x="452322" y="213631"/>
                      <a:pt x="452322" y="213631"/>
                    </a:cubicBezTo>
                    <a:cubicBezTo>
                      <a:pt x="452322" y="213631"/>
                      <a:pt x="452322" y="213631"/>
                      <a:pt x="452322" y="213631"/>
                    </a:cubicBezTo>
                    <a:cubicBezTo>
                      <a:pt x="452322" y="213631"/>
                      <a:pt x="452322" y="213631"/>
                      <a:pt x="452322" y="213631"/>
                    </a:cubicBezTo>
                    <a:cubicBezTo>
                      <a:pt x="452322" y="213572"/>
                      <a:pt x="452322" y="213572"/>
                      <a:pt x="452322" y="213631"/>
                    </a:cubicBezTo>
                    <a:lnTo>
                      <a:pt x="450109" y="209744"/>
                    </a:lnTo>
                    <a:cubicBezTo>
                      <a:pt x="450109" y="209744"/>
                      <a:pt x="450109" y="209744"/>
                      <a:pt x="450049" y="209684"/>
                    </a:cubicBezTo>
                    <a:lnTo>
                      <a:pt x="449691" y="209325"/>
                    </a:lnTo>
                    <a:lnTo>
                      <a:pt x="451844" y="206694"/>
                    </a:lnTo>
                    <a:lnTo>
                      <a:pt x="458363" y="211957"/>
                    </a:lnTo>
                    <a:lnTo>
                      <a:pt x="453757" y="218715"/>
                    </a:lnTo>
                    <a:lnTo>
                      <a:pt x="452322" y="213631"/>
                    </a:lnTo>
                    <a:close/>
                    <a:moveTo>
                      <a:pt x="453100" y="205258"/>
                    </a:moveTo>
                    <a:lnTo>
                      <a:pt x="459260" y="210222"/>
                    </a:lnTo>
                    <a:lnTo>
                      <a:pt x="459140" y="210581"/>
                    </a:lnTo>
                    <a:lnTo>
                      <a:pt x="452861" y="205498"/>
                    </a:lnTo>
                    <a:lnTo>
                      <a:pt x="453100" y="205258"/>
                    </a:lnTo>
                    <a:close/>
                    <a:moveTo>
                      <a:pt x="452681" y="205856"/>
                    </a:moveTo>
                    <a:lnTo>
                      <a:pt x="459080" y="211000"/>
                    </a:lnTo>
                    <a:lnTo>
                      <a:pt x="458662" y="211718"/>
                    </a:lnTo>
                    <a:lnTo>
                      <a:pt x="452143" y="206455"/>
                    </a:lnTo>
                    <a:lnTo>
                      <a:pt x="452681" y="205856"/>
                    </a:lnTo>
                    <a:close/>
                    <a:moveTo>
                      <a:pt x="459499" y="210940"/>
                    </a:moveTo>
                    <a:lnTo>
                      <a:pt x="459559" y="210581"/>
                    </a:lnTo>
                    <a:lnTo>
                      <a:pt x="459978" y="211060"/>
                    </a:lnTo>
                    <a:lnTo>
                      <a:pt x="459918" y="211359"/>
                    </a:lnTo>
                    <a:lnTo>
                      <a:pt x="459499" y="210940"/>
                    </a:lnTo>
                    <a:close/>
                    <a:moveTo>
                      <a:pt x="458961" y="211957"/>
                    </a:moveTo>
                    <a:lnTo>
                      <a:pt x="459380" y="211299"/>
                    </a:lnTo>
                    <a:lnTo>
                      <a:pt x="459858" y="211777"/>
                    </a:lnTo>
                    <a:lnTo>
                      <a:pt x="459499" y="212375"/>
                    </a:lnTo>
                    <a:lnTo>
                      <a:pt x="458961" y="211957"/>
                    </a:lnTo>
                    <a:close/>
                    <a:moveTo>
                      <a:pt x="453579" y="204122"/>
                    </a:moveTo>
                    <a:lnTo>
                      <a:pt x="452442" y="205498"/>
                    </a:lnTo>
                    <a:lnTo>
                      <a:pt x="452442" y="205498"/>
                    </a:lnTo>
                    <a:cubicBezTo>
                      <a:pt x="452442" y="205498"/>
                      <a:pt x="452442" y="205498"/>
                      <a:pt x="452442" y="205498"/>
                    </a:cubicBezTo>
                    <a:lnTo>
                      <a:pt x="449451" y="209146"/>
                    </a:lnTo>
                    <a:lnTo>
                      <a:pt x="447418" y="207112"/>
                    </a:lnTo>
                    <a:cubicBezTo>
                      <a:pt x="447418" y="207112"/>
                      <a:pt x="447358" y="207053"/>
                      <a:pt x="447358" y="207053"/>
                    </a:cubicBezTo>
                    <a:cubicBezTo>
                      <a:pt x="447358" y="207053"/>
                      <a:pt x="447298" y="206993"/>
                      <a:pt x="447298" y="206993"/>
                    </a:cubicBezTo>
                    <a:lnTo>
                      <a:pt x="444488" y="204959"/>
                    </a:lnTo>
                    <a:lnTo>
                      <a:pt x="449511" y="198799"/>
                    </a:lnTo>
                    <a:lnTo>
                      <a:pt x="453579" y="204122"/>
                    </a:lnTo>
                    <a:close/>
                    <a:moveTo>
                      <a:pt x="447179" y="207232"/>
                    </a:moveTo>
                    <a:cubicBezTo>
                      <a:pt x="447179" y="207232"/>
                      <a:pt x="447179" y="207232"/>
                      <a:pt x="447179" y="207232"/>
                    </a:cubicBezTo>
                    <a:lnTo>
                      <a:pt x="447179" y="207232"/>
                    </a:lnTo>
                    <a:lnTo>
                      <a:pt x="448196" y="208966"/>
                    </a:lnTo>
                    <a:lnTo>
                      <a:pt x="443830" y="206694"/>
                    </a:lnTo>
                    <a:lnTo>
                      <a:pt x="441617" y="203225"/>
                    </a:lnTo>
                    <a:lnTo>
                      <a:pt x="447179" y="207232"/>
                    </a:lnTo>
                    <a:close/>
                    <a:moveTo>
                      <a:pt x="441018" y="202388"/>
                    </a:moveTo>
                    <a:cubicBezTo>
                      <a:pt x="441018" y="202388"/>
                      <a:pt x="441018" y="202388"/>
                      <a:pt x="441018" y="202388"/>
                    </a:cubicBezTo>
                    <a:cubicBezTo>
                      <a:pt x="441018" y="202388"/>
                      <a:pt x="440959" y="202388"/>
                      <a:pt x="441018" y="202388"/>
                    </a:cubicBezTo>
                    <a:cubicBezTo>
                      <a:pt x="440959" y="202388"/>
                      <a:pt x="440959" y="202388"/>
                      <a:pt x="440959" y="202328"/>
                    </a:cubicBezTo>
                    <a:cubicBezTo>
                      <a:pt x="440959" y="202328"/>
                      <a:pt x="440959" y="202328"/>
                      <a:pt x="440959" y="202328"/>
                    </a:cubicBezTo>
                    <a:lnTo>
                      <a:pt x="434919" y="201909"/>
                    </a:lnTo>
                    <a:cubicBezTo>
                      <a:pt x="434919" y="201909"/>
                      <a:pt x="434859" y="201909"/>
                      <a:pt x="434859" y="201909"/>
                    </a:cubicBezTo>
                    <a:cubicBezTo>
                      <a:pt x="434859" y="201909"/>
                      <a:pt x="434859" y="201909"/>
                      <a:pt x="434859" y="201909"/>
                    </a:cubicBezTo>
                    <a:lnTo>
                      <a:pt x="434859" y="201909"/>
                    </a:lnTo>
                    <a:lnTo>
                      <a:pt x="434859" y="201909"/>
                    </a:lnTo>
                    <a:lnTo>
                      <a:pt x="428998" y="203823"/>
                    </a:lnTo>
                    <a:cubicBezTo>
                      <a:pt x="428998" y="203823"/>
                      <a:pt x="428998" y="203823"/>
                      <a:pt x="428998" y="203823"/>
                    </a:cubicBezTo>
                    <a:cubicBezTo>
                      <a:pt x="428998" y="203823"/>
                      <a:pt x="428998" y="203823"/>
                      <a:pt x="428938" y="203823"/>
                    </a:cubicBezTo>
                    <a:lnTo>
                      <a:pt x="425768" y="206275"/>
                    </a:lnTo>
                    <a:lnTo>
                      <a:pt x="436952" y="194613"/>
                    </a:lnTo>
                    <a:lnTo>
                      <a:pt x="445325" y="201371"/>
                    </a:lnTo>
                    <a:lnTo>
                      <a:pt x="443232" y="203943"/>
                    </a:lnTo>
                    <a:lnTo>
                      <a:pt x="441018" y="202388"/>
                    </a:lnTo>
                    <a:close/>
                    <a:moveTo>
                      <a:pt x="435875" y="191682"/>
                    </a:moveTo>
                    <a:lnTo>
                      <a:pt x="417814" y="173202"/>
                    </a:lnTo>
                    <a:lnTo>
                      <a:pt x="418352" y="173202"/>
                    </a:lnTo>
                    <a:lnTo>
                      <a:pt x="436414" y="191682"/>
                    </a:lnTo>
                    <a:lnTo>
                      <a:pt x="435875" y="191682"/>
                    </a:lnTo>
                    <a:close/>
                    <a:moveTo>
                      <a:pt x="395386" y="204780"/>
                    </a:moveTo>
                    <a:lnTo>
                      <a:pt x="387192" y="195091"/>
                    </a:lnTo>
                    <a:lnTo>
                      <a:pt x="387671" y="194613"/>
                    </a:lnTo>
                    <a:lnTo>
                      <a:pt x="396402" y="204899"/>
                    </a:lnTo>
                    <a:lnTo>
                      <a:pt x="395386" y="204780"/>
                    </a:lnTo>
                    <a:close/>
                    <a:moveTo>
                      <a:pt x="414404" y="219672"/>
                    </a:moveTo>
                    <a:lnTo>
                      <a:pt x="417096" y="213273"/>
                    </a:lnTo>
                    <a:lnTo>
                      <a:pt x="423076" y="214110"/>
                    </a:lnTo>
                    <a:lnTo>
                      <a:pt x="422957" y="215127"/>
                    </a:lnTo>
                    <a:lnTo>
                      <a:pt x="422957" y="215127"/>
                    </a:lnTo>
                    <a:lnTo>
                      <a:pt x="422299" y="220748"/>
                    </a:lnTo>
                    <a:lnTo>
                      <a:pt x="414404" y="219672"/>
                    </a:lnTo>
                    <a:close/>
                    <a:moveTo>
                      <a:pt x="424571" y="222842"/>
                    </a:moveTo>
                    <a:lnTo>
                      <a:pt x="426007" y="227626"/>
                    </a:lnTo>
                    <a:lnTo>
                      <a:pt x="422598" y="225174"/>
                    </a:lnTo>
                    <a:lnTo>
                      <a:pt x="422658" y="221346"/>
                    </a:lnTo>
                    <a:lnTo>
                      <a:pt x="424571" y="222842"/>
                    </a:lnTo>
                    <a:close/>
                    <a:moveTo>
                      <a:pt x="426246" y="228224"/>
                    </a:moveTo>
                    <a:lnTo>
                      <a:pt x="428938" y="231454"/>
                    </a:lnTo>
                    <a:lnTo>
                      <a:pt x="426366" y="229660"/>
                    </a:lnTo>
                    <a:lnTo>
                      <a:pt x="423495" y="226251"/>
                    </a:lnTo>
                    <a:lnTo>
                      <a:pt x="426246" y="228224"/>
                    </a:lnTo>
                    <a:close/>
                    <a:moveTo>
                      <a:pt x="434859" y="233009"/>
                    </a:moveTo>
                    <a:lnTo>
                      <a:pt x="438028" y="234564"/>
                    </a:lnTo>
                    <a:lnTo>
                      <a:pt x="434979" y="234624"/>
                    </a:lnTo>
                    <a:lnTo>
                      <a:pt x="430911" y="232590"/>
                    </a:lnTo>
                    <a:lnTo>
                      <a:pt x="434859" y="233009"/>
                    </a:lnTo>
                    <a:close/>
                    <a:moveTo>
                      <a:pt x="440062" y="235341"/>
                    </a:moveTo>
                    <a:lnTo>
                      <a:pt x="441437" y="238990"/>
                    </a:lnTo>
                    <a:lnTo>
                      <a:pt x="441258" y="238810"/>
                    </a:lnTo>
                    <a:lnTo>
                      <a:pt x="439942" y="235341"/>
                    </a:lnTo>
                    <a:lnTo>
                      <a:pt x="440062" y="235341"/>
                    </a:lnTo>
                    <a:close/>
                    <a:moveTo>
                      <a:pt x="440899" y="238810"/>
                    </a:moveTo>
                    <a:lnTo>
                      <a:pt x="440420" y="238990"/>
                    </a:lnTo>
                    <a:lnTo>
                      <a:pt x="440780" y="238511"/>
                    </a:lnTo>
                    <a:lnTo>
                      <a:pt x="440899" y="238810"/>
                    </a:lnTo>
                    <a:close/>
                    <a:moveTo>
                      <a:pt x="441078" y="239109"/>
                    </a:moveTo>
                    <a:lnTo>
                      <a:pt x="441677" y="239827"/>
                    </a:lnTo>
                    <a:lnTo>
                      <a:pt x="438865" y="242578"/>
                    </a:lnTo>
                    <a:lnTo>
                      <a:pt x="437132" y="240545"/>
                    </a:lnTo>
                    <a:lnTo>
                      <a:pt x="441078" y="239109"/>
                    </a:lnTo>
                    <a:close/>
                    <a:moveTo>
                      <a:pt x="439285" y="242698"/>
                    </a:moveTo>
                    <a:lnTo>
                      <a:pt x="441976" y="240066"/>
                    </a:lnTo>
                    <a:lnTo>
                      <a:pt x="448973" y="238990"/>
                    </a:lnTo>
                    <a:lnTo>
                      <a:pt x="462609" y="244313"/>
                    </a:lnTo>
                    <a:lnTo>
                      <a:pt x="439285" y="242698"/>
                    </a:lnTo>
                    <a:close/>
                    <a:moveTo>
                      <a:pt x="447358" y="233308"/>
                    </a:moveTo>
                    <a:lnTo>
                      <a:pt x="446999" y="231454"/>
                    </a:lnTo>
                    <a:lnTo>
                      <a:pt x="448674" y="230019"/>
                    </a:lnTo>
                    <a:lnTo>
                      <a:pt x="450289" y="230856"/>
                    </a:lnTo>
                    <a:lnTo>
                      <a:pt x="447358" y="233308"/>
                    </a:lnTo>
                    <a:close/>
                    <a:moveTo>
                      <a:pt x="448913" y="229720"/>
                    </a:moveTo>
                    <a:lnTo>
                      <a:pt x="449930" y="227806"/>
                    </a:lnTo>
                    <a:lnTo>
                      <a:pt x="452382" y="227148"/>
                    </a:lnTo>
                    <a:lnTo>
                      <a:pt x="450528" y="230497"/>
                    </a:lnTo>
                    <a:lnTo>
                      <a:pt x="448913" y="229720"/>
                    </a:lnTo>
                    <a:close/>
                    <a:moveTo>
                      <a:pt x="453877" y="219313"/>
                    </a:moveTo>
                    <a:lnTo>
                      <a:pt x="458722" y="212196"/>
                    </a:lnTo>
                    <a:lnTo>
                      <a:pt x="459200" y="212615"/>
                    </a:lnTo>
                    <a:lnTo>
                      <a:pt x="453698" y="220689"/>
                    </a:lnTo>
                    <a:lnTo>
                      <a:pt x="453877" y="219313"/>
                    </a:lnTo>
                    <a:close/>
                    <a:moveTo>
                      <a:pt x="459738" y="212555"/>
                    </a:moveTo>
                    <a:lnTo>
                      <a:pt x="459918" y="212196"/>
                    </a:lnTo>
                    <a:lnTo>
                      <a:pt x="459918" y="212196"/>
                    </a:lnTo>
                    <a:lnTo>
                      <a:pt x="459738" y="212555"/>
                    </a:lnTo>
                    <a:lnTo>
                      <a:pt x="459738" y="212555"/>
                    </a:lnTo>
                    <a:close/>
                    <a:moveTo>
                      <a:pt x="453519" y="204780"/>
                    </a:moveTo>
                    <a:lnTo>
                      <a:pt x="453817" y="204421"/>
                    </a:lnTo>
                    <a:lnTo>
                      <a:pt x="456927" y="207591"/>
                    </a:lnTo>
                    <a:lnTo>
                      <a:pt x="453519" y="204780"/>
                    </a:lnTo>
                    <a:close/>
                    <a:moveTo>
                      <a:pt x="453937" y="204002"/>
                    </a:moveTo>
                    <a:lnTo>
                      <a:pt x="449751" y="198381"/>
                    </a:lnTo>
                    <a:lnTo>
                      <a:pt x="448016" y="182711"/>
                    </a:lnTo>
                    <a:lnTo>
                      <a:pt x="457825" y="206335"/>
                    </a:lnTo>
                    <a:lnTo>
                      <a:pt x="453937" y="204002"/>
                    </a:lnTo>
                    <a:close/>
                    <a:moveTo>
                      <a:pt x="447538" y="181575"/>
                    </a:moveTo>
                    <a:lnTo>
                      <a:pt x="449332" y="197962"/>
                    </a:lnTo>
                    <a:lnTo>
                      <a:pt x="448913" y="197543"/>
                    </a:lnTo>
                    <a:lnTo>
                      <a:pt x="447478" y="181515"/>
                    </a:lnTo>
                    <a:lnTo>
                      <a:pt x="447538" y="181575"/>
                    </a:lnTo>
                    <a:close/>
                    <a:moveTo>
                      <a:pt x="449332" y="198440"/>
                    </a:moveTo>
                    <a:lnTo>
                      <a:pt x="444248" y="204660"/>
                    </a:lnTo>
                    <a:lnTo>
                      <a:pt x="443590" y="204182"/>
                    </a:lnTo>
                    <a:lnTo>
                      <a:pt x="445803" y="201491"/>
                    </a:lnTo>
                    <a:cubicBezTo>
                      <a:pt x="445803" y="201491"/>
                      <a:pt x="445803" y="201491"/>
                      <a:pt x="445803" y="201491"/>
                    </a:cubicBezTo>
                    <a:cubicBezTo>
                      <a:pt x="445803" y="201491"/>
                      <a:pt x="445803" y="201491"/>
                      <a:pt x="445803" y="201491"/>
                    </a:cubicBezTo>
                    <a:lnTo>
                      <a:pt x="446521" y="200593"/>
                    </a:lnTo>
                    <a:cubicBezTo>
                      <a:pt x="446521" y="200593"/>
                      <a:pt x="446521" y="200593"/>
                      <a:pt x="446521" y="200593"/>
                    </a:cubicBezTo>
                    <a:cubicBezTo>
                      <a:pt x="446521" y="200593"/>
                      <a:pt x="446521" y="200593"/>
                      <a:pt x="446521" y="200593"/>
                    </a:cubicBezTo>
                    <a:lnTo>
                      <a:pt x="447179" y="199816"/>
                    </a:lnTo>
                    <a:cubicBezTo>
                      <a:pt x="447179" y="199816"/>
                      <a:pt x="447179" y="199816"/>
                      <a:pt x="447179" y="199816"/>
                    </a:cubicBezTo>
                    <a:cubicBezTo>
                      <a:pt x="447179" y="199816"/>
                      <a:pt x="447179" y="199816"/>
                      <a:pt x="447179" y="199816"/>
                    </a:cubicBezTo>
                    <a:lnTo>
                      <a:pt x="448794" y="197842"/>
                    </a:lnTo>
                    <a:lnTo>
                      <a:pt x="449332" y="198440"/>
                    </a:lnTo>
                    <a:close/>
                    <a:moveTo>
                      <a:pt x="415541" y="207411"/>
                    </a:moveTo>
                    <a:lnTo>
                      <a:pt x="417155" y="209265"/>
                    </a:lnTo>
                    <a:lnTo>
                      <a:pt x="395805" y="206873"/>
                    </a:lnTo>
                    <a:lnTo>
                      <a:pt x="394249" y="205019"/>
                    </a:lnTo>
                    <a:lnTo>
                      <a:pt x="415541" y="207411"/>
                    </a:lnTo>
                    <a:close/>
                    <a:moveTo>
                      <a:pt x="393771" y="204959"/>
                    </a:moveTo>
                    <a:lnTo>
                      <a:pt x="395326" y="206813"/>
                    </a:lnTo>
                    <a:lnTo>
                      <a:pt x="373795" y="204361"/>
                    </a:lnTo>
                    <a:lnTo>
                      <a:pt x="372360" y="202567"/>
                    </a:lnTo>
                    <a:lnTo>
                      <a:pt x="393771" y="204959"/>
                    </a:lnTo>
                    <a:close/>
                    <a:moveTo>
                      <a:pt x="371822" y="202447"/>
                    </a:moveTo>
                    <a:lnTo>
                      <a:pt x="373257" y="204301"/>
                    </a:lnTo>
                    <a:lnTo>
                      <a:pt x="351487" y="201849"/>
                    </a:lnTo>
                    <a:lnTo>
                      <a:pt x="350112" y="199995"/>
                    </a:lnTo>
                    <a:lnTo>
                      <a:pt x="371822" y="202447"/>
                    </a:lnTo>
                    <a:close/>
                    <a:moveTo>
                      <a:pt x="349693" y="199936"/>
                    </a:moveTo>
                    <a:lnTo>
                      <a:pt x="351069" y="201790"/>
                    </a:lnTo>
                    <a:lnTo>
                      <a:pt x="329119" y="199278"/>
                    </a:lnTo>
                    <a:lnTo>
                      <a:pt x="327864" y="197483"/>
                    </a:lnTo>
                    <a:lnTo>
                      <a:pt x="349693" y="199936"/>
                    </a:lnTo>
                    <a:close/>
                    <a:moveTo>
                      <a:pt x="327326" y="197424"/>
                    </a:moveTo>
                    <a:lnTo>
                      <a:pt x="328581" y="199218"/>
                    </a:lnTo>
                    <a:lnTo>
                      <a:pt x="306393" y="196706"/>
                    </a:lnTo>
                    <a:lnTo>
                      <a:pt x="305196" y="194912"/>
                    </a:lnTo>
                    <a:lnTo>
                      <a:pt x="327326" y="197424"/>
                    </a:lnTo>
                    <a:close/>
                    <a:moveTo>
                      <a:pt x="304778" y="194852"/>
                    </a:moveTo>
                    <a:lnTo>
                      <a:pt x="305974" y="196646"/>
                    </a:lnTo>
                    <a:lnTo>
                      <a:pt x="283546" y="194134"/>
                    </a:lnTo>
                    <a:lnTo>
                      <a:pt x="282470" y="192340"/>
                    </a:lnTo>
                    <a:lnTo>
                      <a:pt x="304778" y="194852"/>
                    </a:lnTo>
                    <a:close/>
                    <a:moveTo>
                      <a:pt x="282051" y="192280"/>
                    </a:moveTo>
                    <a:lnTo>
                      <a:pt x="283128" y="194074"/>
                    </a:lnTo>
                    <a:lnTo>
                      <a:pt x="260521" y="191503"/>
                    </a:lnTo>
                    <a:lnTo>
                      <a:pt x="259564" y="189708"/>
                    </a:lnTo>
                    <a:lnTo>
                      <a:pt x="282051" y="192280"/>
                    </a:lnTo>
                    <a:close/>
                    <a:moveTo>
                      <a:pt x="259085" y="189649"/>
                    </a:moveTo>
                    <a:lnTo>
                      <a:pt x="260042" y="191443"/>
                    </a:lnTo>
                    <a:lnTo>
                      <a:pt x="237196" y="188871"/>
                    </a:lnTo>
                    <a:lnTo>
                      <a:pt x="236298" y="187077"/>
                    </a:lnTo>
                    <a:lnTo>
                      <a:pt x="259085" y="189649"/>
                    </a:lnTo>
                    <a:close/>
                    <a:moveTo>
                      <a:pt x="235880" y="187017"/>
                    </a:moveTo>
                    <a:lnTo>
                      <a:pt x="236777" y="188811"/>
                    </a:lnTo>
                    <a:lnTo>
                      <a:pt x="213692" y="186180"/>
                    </a:lnTo>
                    <a:lnTo>
                      <a:pt x="212914" y="184386"/>
                    </a:lnTo>
                    <a:lnTo>
                      <a:pt x="235880" y="187017"/>
                    </a:lnTo>
                    <a:close/>
                    <a:moveTo>
                      <a:pt x="212495" y="184386"/>
                    </a:moveTo>
                    <a:lnTo>
                      <a:pt x="213273" y="186180"/>
                    </a:lnTo>
                    <a:lnTo>
                      <a:pt x="189948" y="183548"/>
                    </a:lnTo>
                    <a:lnTo>
                      <a:pt x="189290" y="181754"/>
                    </a:lnTo>
                    <a:lnTo>
                      <a:pt x="212495" y="184386"/>
                    </a:lnTo>
                    <a:close/>
                    <a:moveTo>
                      <a:pt x="188872" y="181694"/>
                    </a:moveTo>
                    <a:lnTo>
                      <a:pt x="189529" y="183489"/>
                    </a:lnTo>
                    <a:lnTo>
                      <a:pt x="165965" y="180797"/>
                    </a:lnTo>
                    <a:lnTo>
                      <a:pt x="165427" y="179003"/>
                    </a:lnTo>
                    <a:lnTo>
                      <a:pt x="188872" y="181694"/>
                    </a:lnTo>
                    <a:close/>
                    <a:moveTo>
                      <a:pt x="165666" y="181036"/>
                    </a:moveTo>
                    <a:lnTo>
                      <a:pt x="165009" y="185701"/>
                    </a:lnTo>
                    <a:lnTo>
                      <a:pt x="165307" y="179840"/>
                    </a:lnTo>
                    <a:lnTo>
                      <a:pt x="165666" y="181036"/>
                    </a:lnTo>
                    <a:close/>
                    <a:moveTo>
                      <a:pt x="165069" y="187974"/>
                    </a:moveTo>
                    <a:lnTo>
                      <a:pt x="166025" y="181216"/>
                    </a:lnTo>
                    <a:lnTo>
                      <a:pt x="189589" y="183907"/>
                    </a:lnTo>
                    <a:lnTo>
                      <a:pt x="187197" y="191921"/>
                    </a:lnTo>
                    <a:lnTo>
                      <a:pt x="165069" y="187974"/>
                    </a:lnTo>
                    <a:close/>
                    <a:moveTo>
                      <a:pt x="187556" y="191981"/>
                    </a:moveTo>
                    <a:lnTo>
                      <a:pt x="189948" y="183907"/>
                    </a:lnTo>
                    <a:lnTo>
                      <a:pt x="213273" y="186539"/>
                    </a:lnTo>
                    <a:lnTo>
                      <a:pt x="209445" y="195869"/>
                    </a:lnTo>
                    <a:lnTo>
                      <a:pt x="187556" y="191981"/>
                    </a:lnTo>
                    <a:close/>
                    <a:moveTo>
                      <a:pt x="209804" y="195928"/>
                    </a:moveTo>
                    <a:lnTo>
                      <a:pt x="213692" y="186598"/>
                    </a:lnTo>
                    <a:lnTo>
                      <a:pt x="236777" y="189230"/>
                    </a:lnTo>
                    <a:lnTo>
                      <a:pt x="231454" y="199816"/>
                    </a:lnTo>
                    <a:lnTo>
                      <a:pt x="209804" y="195928"/>
                    </a:lnTo>
                    <a:close/>
                    <a:moveTo>
                      <a:pt x="231873" y="199816"/>
                    </a:moveTo>
                    <a:lnTo>
                      <a:pt x="237196" y="189230"/>
                    </a:lnTo>
                    <a:lnTo>
                      <a:pt x="260102" y="191802"/>
                    </a:lnTo>
                    <a:lnTo>
                      <a:pt x="253344" y="203584"/>
                    </a:lnTo>
                    <a:lnTo>
                      <a:pt x="231873" y="199816"/>
                    </a:lnTo>
                    <a:close/>
                    <a:moveTo>
                      <a:pt x="253703" y="203703"/>
                    </a:moveTo>
                    <a:lnTo>
                      <a:pt x="260461" y="191862"/>
                    </a:lnTo>
                    <a:lnTo>
                      <a:pt x="283128" y="194433"/>
                    </a:lnTo>
                    <a:lnTo>
                      <a:pt x="274934" y="207471"/>
                    </a:lnTo>
                    <a:lnTo>
                      <a:pt x="253703" y="203703"/>
                    </a:lnTo>
                    <a:close/>
                    <a:moveTo>
                      <a:pt x="275293" y="207531"/>
                    </a:moveTo>
                    <a:lnTo>
                      <a:pt x="283546" y="194493"/>
                    </a:lnTo>
                    <a:lnTo>
                      <a:pt x="305974" y="197005"/>
                    </a:lnTo>
                    <a:lnTo>
                      <a:pt x="296285" y="211239"/>
                    </a:lnTo>
                    <a:lnTo>
                      <a:pt x="275293" y="207531"/>
                    </a:lnTo>
                    <a:close/>
                    <a:moveTo>
                      <a:pt x="306393" y="197065"/>
                    </a:moveTo>
                    <a:lnTo>
                      <a:pt x="328641" y="199577"/>
                    </a:lnTo>
                    <a:lnTo>
                      <a:pt x="317517" y="215007"/>
                    </a:lnTo>
                    <a:lnTo>
                      <a:pt x="296704" y="211299"/>
                    </a:lnTo>
                    <a:lnTo>
                      <a:pt x="306393" y="197065"/>
                    </a:lnTo>
                    <a:close/>
                    <a:moveTo>
                      <a:pt x="329059" y="199637"/>
                    </a:moveTo>
                    <a:lnTo>
                      <a:pt x="351069" y="202148"/>
                    </a:lnTo>
                    <a:lnTo>
                      <a:pt x="338509" y="218775"/>
                    </a:lnTo>
                    <a:lnTo>
                      <a:pt x="317935" y="215127"/>
                    </a:lnTo>
                    <a:lnTo>
                      <a:pt x="329059" y="199637"/>
                    </a:lnTo>
                    <a:close/>
                    <a:moveTo>
                      <a:pt x="351547" y="202208"/>
                    </a:moveTo>
                    <a:lnTo>
                      <a:pt x="373377" y="204660"/>
                    </a:lnTo>
                    <a:lnTo>
                      <a:pt x="359382" y="222483"/>
                    </a:lnTo>
                    <a:lnTo>
                      <a:pt x="338988" y="218835"/>
                    </a:lnTo>
                    <a:lnTo>
                      <a:pt x="351547" y="202208"/>
                    </a:lnTo>
                    <a:close/>
                    <a:moveTo>
                      <a:pt x="373795" y="204720"/>
                    </a:moveTo>
                    <a:lnTo>
                      <a:pt x="395386" y="207172"/>
                    </a:lnTo>
                    <a:lnTo>
                      <a:pt x="379955" y="226191"/>
                    </a:lnTo>
                    <a:lnTo>
                      <a:pt x="359741" y="222602"/>
                    </a:lnTo>
                    <a:lnTo>
                      <a:pt x="373795" y="204720"/>
                    </a:lnTo>
                    <a:close/>
                    <a:moveTo>
                      <a:pt x="390781" y="228404"/>
                    </a:moveTo>
                    <a:lnTo>
                      <a:pt x="375230" y="247183"/>
                    </a:lnTo>
                    <a:lnTo>
                      <a:pt x="374454" y="246226"/>
                    </a:lnTo>
                    <a:lnTo>
                      <a:pt x="389465" y="228164"/>
                    </a:lnTo>
                    <a:lnTo>
                      <a:pt x="390781" y="228404"/>
                    </a:lnTo>
                    <a:close/>
                    <a:moveTo>
                      <a:pt x="373975" y="246226"/>
                    </a:moveTo>
                    <a:lnTo>
                      <a:pt x="346045" y="279898"/>
                    </a:lnTo>
                    <a:lnTo>
                      <a:pt x="345866" y="279419"/>
                    </a:lnTo>
                    <a:lnTo>
                      <a:pt x="373795" y="245867"/>
                    </a:lnTo>
                    <a:lnTo>
                      <a:pt x="373975" y="246226"/>
                    </a:lnTo>
                    <a:close/>
                    <a:moveTo>
                      <a:pt x="345806" y="280197"/>
                    </a:moveTo>
                    <a:lnTo>
                      <a:pt x="318235" y="313390"/>
                    </a:lnTo>
                    <a:lnTo>
                      <a:pt x="318055" y="312852"/>
                    </a:lnTo>
                    <a:lnTo>
                      <a:pt x="345566" y="279778"/>
                    </a:lnTo>
                    <a:lnTo>
                      <a:pt x="345806" y="280197"/>
                    </a:lnTo>
                    <a:close/>
                    <a:moveTo>
                      <a:pt x="317935" y="313689"/>
                    </a:moveTo>
                    <a:lnTo>
                      <a:pt x="290724" y="346403"/>
                    </a:lnTo>
                    <a:lnTo>
                      <a:pt x="290604" y="345805"/>
                    </a:lnTo>
                    <a:lnTo>
                      <a:pt x="317756" y="313151"/>
                    </a:lnTo>
                    <a:lnTo>
                      <a:pt x="317935" y="313689"/>
                    </a:lnTo>
                    <a:close/>
                    <a:moveTo>
                      <a:pt x="290484" y="346822"/>
                    </a:moveTo>
                    <a:lnTo>
                      <a:pt x="263691" y="379118"/>
                    </a:lnTo>
                    <a:lnTo>
                      <a:pt x="263571" y="378400"/>
                    </a:lnTo>
                    <a:lnTo>
                      <a:pt x="290364" y="346224"/>
                    </a:lnTo>
                    <a:lnTo>
                      <a:pt x="290484" y="346822"/>
                    </a:lnTo>
                    <a:close/>
                    <a:moveTo>
                      <a:pt x="263331" y="379477"/>
                    </a:moveTo>
                    <a:lnTo>
                      <a:pt x="236897" y="411294"/>
                    </a:lnTo>
                    <a:lnTo>
                      <a:pt x="236837" y="410457"/>
                    </a:lnTo>
                    <a:lnTo>
                      <a:pt x="263212" y="378699"/>
                    </a:lnTo>
                    <a:lnTo>
                      <a:pt x="263331" y="379477"/>
                    </a:lnTo>
                    <a:close/>
                    <a:moveTo>
                      <a:pt x="236538" y="411713"/>
                    </a:moveTo>
                    <a:lnTo>
                      <a:pt x="210462" y="443112"/>
                    </a:lnTo>
                    <a:lnTo>
                      <a:pt x="210462" y="442215"/>
                    </a:lnTo>
                    <a:lnTo>
                      <a:pt x="236478" y="410935"/>
                    </a:lnTo>
                    <a:lnTo>
                      <a:pt x="236538" y="411713"/>
                    </a:lnTo>
                    <a:close/>
                    <a:moveTo>
                      <a:pt x="210103" y="443530"/>
                    </a:moveTo>
                    <a:lnTo>
                      <a:pt x="184386" y="474510"/>
                    </a:lnTo>
                    <a:lnTo>
                      <a:pt x="184446" y="473494"/>
                    </a:lnTo>
                    <a:lnTo>
                      <a:pt x="210103" y="442633"/>
                    </a:lnTo>
                    <a:lnTo>
                      <a:pt x="210103" y="443530"/>
                    </a:lnTo>
                    <a:close/>
                    <a:moveTo>
                      <a:pt x="184027" y="474989"/>
                    </a:moveTo>
                    <a:lnTo>
                      <a:pt x="158669" y="505550"/>
                    </a:lnTo>
                    <a:lnTo>
                      <a:pt x="158788" y="504414"/>
                    </a:lnTo>
                    <a:lnTo>
                      <a:pt x="184087" y="473972"/>
                    </a:lnTo>
                    <a:lnTo>
                      <a:pt x="184027" y="474989"/>
                    </a:lnTo>
                    <a:close/>
                    <a:moveTo>
                      <a:pt x="158250" y="505969"/>
                    </a:moveTo>
                    <a:lnTo>
                      <a:pt x="133251" y="536112"/>
                    </a:lnTo>
                    <a:lnTo>
                      <a:pt x="133430" y="534856"/>
                    </a:lnTo>
                    <a:lnTo>
                      <a:pt x="158370" y="504833"/>
                    </a:lnTo>
                    <a:lnTo>
                      <a:pt x="158250" y="505969"/>
                    </a:lnTo>
                    <a:close/>
                    <a:moveTo>
                      <a:pt x="132772" y="536650"/>
                    </a:moveTo>
                    <a:lnTo>
                      <a:pt x="108072" y="566374"/>
                    </a:lnTo>
                    <a:lnTo>
                      <a:pt x="108312" y="564999"/>
                    </a:lnTo>
                    <a:lnTo>
                      <a:pt x="132952" y="535394"/>
                    </a:lnTo>
                    <a:lnTo>
                      <a:pt x="132772" y="536650"/>
                    </a:lnTo>
                    <a:close/>
                    <a:moveTo>
                      <a:pt x="107593" y="566913"/>
                    </a:moveTo>
                    <a:lnTo>
                      <a:pt x="83252" y="596218"/>
                    </a:lnTo>
                    <a:lnTo>
                      <a:pt x="83551" y="594723"/>
                    </a:lnTo>
                    <a:lnTo>
                      <a:pt x="107833" y="565537"/>
                    </a:lnTo>
                    <a:lnTo>
                      <a:pt x="107593" y="566913"/>
                    </a:lnTo>
                    <a:close/>
                    <a:moveTo>
                      <a:pt x="82774" y="596816"/>
                    </a:moveTo>
                    <a:lnTo>
                      <a:pt x="58731" y="625763"/>
                    </a:lnTo>
                    <a:lnTo>
                      <a:pt x="59090" y="624088"/>
                    </a:lnTo>
                    <a:lnTo>
                      <a:pt x="83072" y="595321"/>
                    </a:lnTo>
                    <a:lnTo>
                      <a:pt x="82774" y="596816"/>
                    </a:lnTo>
                    <a:close/>
                    <a:moveTo>
                      <a:pt x="58252" y="626361"/>
                    </a:moveTo>
                    <a:lnTo>
                      <a:pt x="34569" y="654889"/>
                    </a:lnTo>
                    <a:lnTo>
                      <a:pt x="34988" y="653095"/>
                    </a:lnTo>
                    <a:lnTo>
                      <a:pt x="58611" y="624686"/>
                    </a:lnTo>
                    <a:lnTo>
                      <a:pt x="58252" y="626361"/>
                    </a:lnTo>
                    <a:close/>
                    <a:moveTo>
                      <a:pt x="34031" y="655487"/>
                    </a:moveTo>
                    <a:lnTo>
                      <a:pt x="15909" y="673728"/>
                    </a:lnTo>
                    <a:lnTo>
                      <a:pt x="13457" y="672293"/>
                    </a:lnTo>
                    <a:lnTo>
                      <a:pt x="13696" y="669841"/>
                    </a:lnTo>
                    <a:lnTo>
                      <a:pt x="16148" y="671635"/>
                    </a:lnTo>
                    <a:cubicBezTo>
                      <a:pt x="16148" y="671635"/>
                      <a:pt x="16148" y="671635"/>
                      <a:pt x="16148" y="671635"/>
                    </a:cubicBezTo>
                    <a:cubicBezTo>
                      <a:pt x="16148" y="671635"/>
                      <a:pt x="16148" y="671635"/>
                      <a:pt x="16208" y="671635"/>
                    </a:cubicBezTo>
                    <a:cubicBezTo>
                      <a:pt x="16208" y="671635"/>
                      <a:pt x="16208" y="671635"/>
                      <a:pt x="16268" y="671635"/>
                    </a:cubicBezTo>
                    <a:cubicBezTo>
                      <a:pt x="16268" y="671635"/>
                      <a:pt x="16268" y="671635"/>
                      <a:pt x="16328" y="671635"/>
                    </a:cubicBezTo>
                    <a:cubicBezTo>
                      <a:pt x="16387" y="671635"/>
                      <a:pt x="16328" y="671635"/>
                      <a:pt x="16387" y="671635"/>
                    </a:cubicBezTo>
                    <a:cubicBezTo>
                      <a:pt x="16387" y="671635"/>
                      <a:pt x="16387" y="671635"/>
                      <a:pt x="16387" y="671635"/>
                    </a:cubicBezTo>
                    <a:cubicBezTo>
                      <a:pt x="16387" y="671635"/>
                      <a:pt x="16387" y="671635"/>
                      <a:pt x="16387" y="671635"/>
                    </a:cubicBezTo>
                    <a:cubicBezTo>
                      <a:pt x="16387" y="671635"/>
                      <a:pt x="16387" y="671635"/>
                      <a:pt x="16387" y="671635"/>
                    </a:cubicBezTo>
                    <a:lnTo>
                      <a:pt x="19737" y="667628"/>
                    </a:lnTo>
                    <a:cubicBezTo>
                      <a:pt x="19737" y="667628"/>
                      <a:pt x="19737" y="667628"/>
                      <a:pt x="19737" y="667628"/>
                    </a:cubicBezTo>
                    <a:lnTo>
                      <a:pt x="34509" y="653693"/>
                    </a:lnTo>
                    <a:lnTo>
                      <a:pt x="34031" y="655487"/>
                    </a:lnTo>
                    <a:close/>
                    <a:moveTo>
                      <a:pt x="19377" y="667329"/>
                    </a:moveTo>
                    <a:lnTo>
                      <a:pt x="17046" y="666910"/>
                    </a:lnTo>
                    <a:cubicBezTo>
                      <a:pt x="17046" y="666910"/>
                      <a:pt x="17046" y="666910"/>
                      <a:pt x="17046" y="666910"/>
                    </a:cubicBezTo>
                    <a:cubicBezTo>
                      <a:pt x="17046" y="666910"/>
                      <a:pt x="17046" y="666910"/>
                      <a:pt x="17046" y="666910"/>
                    </a:cubicBezTo>
                    <a:lnTo>
                      <a:pt x="15729" y="667149"/>
                    </a:lnTo>
                    <a:lnTo>
                      <a:pt x="15729" y="667149"/>
                    </a:lnTo>
                    <a:lnTo>
                      <a:pt x="15909" y="666731"/>
                    </a:lnTo>
                    <a:lnTo>
                      <a:pt x="15969" y="666731"/>
                    </a:lnTo>
                    <a:cubicBezTo>
                      <a:pt x="15969" y="666731"/>
                      <a:pt x="15969" y="666731"/>
                      <a:pt x="15969" y="666731"/>
                    </a:cubicBezTo>
                    <a:cubicBezTo>
                      <a:pt x="15969" y="666731"/>
                      <a:pt x="15969" y="666731"/>
                      <a:pt x="16029" y="666731"/>
                    </a:cubicBezTo>
                    <a:cubicBezTo>
                      <a:pt x="16148" y="666791"/>
                      <a:pt x="16208" y="666791"/>
                      <a:pt x="16268" y="666731"/>
                    </a:cubicBezTo>
                    <a:lnTo>
                      <a:pt x="16387" y="666372"/>
                    </a:lnTo>
                    <a:cubicBezTo>
                      <a:pt x="16387" y="666372"/>
                      <a:pt x="16387" y="666372"/>
                      <a:pt x="16387" y="666372"/>
                    </a:cubicBezTo>
                    <a:cubicBezTo>
                      <a:pt x="16387" y="666372"/>
                      <a:pt x="16387" y="666372"/>
                      <a:pt x="16387" y="666372"/>
                    </a:cubicBezTo>
                    <a:cubicBezTo>
                      <a:pt x="16387" y="666372"/>
                      <a:pt x="16387" y="666372"/>
                      <a:pt x="16387" y="666372"/>
                    </a:cubicBezTo>
                    <a:lnTo>
                      <a:pt x="16387" y="665774"/>
                    </a:lnTo>
                    <a:cubicBezTo>
                      <a:pt x="16387" y="665774"/>
                      <a:pt x="16387" y="665774"/>
                      <a:pt x="16387" y="665774"/>
                    </a:cubicBezTo>
                    <a:cubicBezTo>
                      <a:pt x="16387" y="665774"/>
                      <a:pt x="16387" y="665774"/>
                      <a:pt x="16387" y="665774"/>
                    </a:cubicBezTo>
                    <a:cubicBezTo>
                      <a:pt x="16387" y="665774"/>
                      <a:pt x="16387" y="665774"/>
                      <a:pt x="16387" y="665774"/>
                    </a:cubicBezTo>
                    <a:lnTo>
                      <a:pt x="16148" y="665116"/>
                    </a:lnTo>
                    <a:cubicBezTo>
                      <a:pt x="16148" y="665116"/>
                      <a:pt x="16148" y="665116"/>
                      <a:pt x="16148" y="665116"/>
                    </a:cubicBezTo>
                    <a:cubicBezTo>
                      <a:pt x="16148" y="665116"/>
                      <a:pt x="16148" y="665116"/>
                      <a:pt x="16148" y="665056"/>
                    </a:cubicBezTo>
                    <a:cubicBezTo>
                      <a:pt x="16148" y="665056"/>
                      <a:pt x="16148" y="665056"/>
                      <a:pt x="16148" y="665056"/>
                    </a:cubicBezTo>
                    <a:lnTo>
                      <a:pt x="15729" y="664458"/>
                    </a:lnTo>
                    <a:cubicBezTo>
                      <a:pt x="15729" y="664458"/>
                      <a:pt x="15729" y="664458"/>
                      <a:pt x="15729" y="664458"/>
                    </a:cubicBezTo>
                    <a:cubicBezTo>
                      <a:pt x="15729" y="664458"/>
                      <a:pt x="15729" y="664458"/>
                      <a:pt x="15669" y="664398"/>
                    </a:cubicBezTo>
                    <a:cubicBezTo>
                      <a:pt x="15669" y="664398"/>
                      <a:pt x="15669" y="664398"/>
                      <a:pt x="15669" y="664398"/>
                    </a:cubicBezTo>
                    <a:lnTo>
                      <a:pt x="15131" y="663980"/>
                    </a:lnTo>
                    <a:cubicBezTo>
                      <a:pt x="15131" y="663980"/>
                      <a:pt x="15131" y="663980"/>
                      <a:pt x="15131" y="663980"/>
                    </a:cubicBezTo>
                    <a:cubicBezTo>
                      <a:pt x="15131" y="663980"/>
                      <a:pt x="15131" y="663980"/>
                      <a:pt x="15131" y="663980"/>
                    </a:cubicBezTo>
                    <a:lnTo>
                      <a:pt x="14174" y="663382"/>
                    </a:lnTo>
                    <a:cubicBezTo>
                      <a:pt x="14174" y="663382"/>
                      <a:pt x="14174" y="663382"/>
                      <a:pt x="14174" y="663382"/>
                    </a:cubicBezTo>
                    <a:cubicBezTo>
                      <a:pt x="14174" y="663382"/>
                      <a:pt x="14174" y="663382"/>
                      <a:pt x="14174" y="663382"/>
                    </a:cubicBezTo>
                    <a:cubicBezTo>
                      <a:pt x="14174" y="663382"/>
                      <a:pt x="14174" y="663382"/>
                      <a:pt x="14174" y="663382"/>
                    </a:cubicBezTo>
                    <a:lnTo>
                      <a:pt x="13397" y="663083"/>
                    </a:lnTo>
                    <a:cubicBezTo>
                      <a:pt x="13397" y="663083"/>
                      <a:pt x="13397" y="663083"/>
                      <a:pt x="13397" y="663083"/>
                    </a:cubicBezTo>
                    <a:cubicBezTo>
                      <a:pt x="13397" y="663083"/>
                      <a:pt x="13397" y="663083"/>
                      <a:pt x="13397" y="663083"/>
                    </a:cubicBezTo>
                    <a:cubicBezTo>
                      <a:pt x="13397" y="663083"/>
                      <a:pt x="13397" y="663083"/>
                      <a:pt x="13338" y="663083"/>
                    </a:cubicBezTo>
                    <a:cubicBezTo>
                      <a:pt x="13338" y="663083"/>
                      <a:pt x="13338" y="663083"/>
                      <a:pt x="13338" y="663083"/>
                    </a:cubicBezTo>
                    <a:cubicBezTo>
                      <a:pt x="13338" y="663083"/>
                      <a:pt x="13338" y="663083"/>
                      <a:pt x="13338" y="663083"/>
                    </a:cubicBezTo>
                    <a:lnTo>
                      <a:pt x="12620" y="663083"/>
                    </a:lnTo>
                    <a:cubicBezTo>
                      <a:pt x="12620" y="663083"/>
                      <a:pt x="12620" y="663083"/>
                      <a:pt x="12620" y="663083"/>
                    </a:cubicBezTo>
                    <a:cubicBezTo>
                      <a:pt x="12620" y="663083"/>
                      <a:pt x="12620" y="663083"/>
                      <a:pt x="12620" y="663083"/>
                    </a:cubicBezTo>
                    <a:cubicBezTo>
                      <a:pt x="12620" y="663083"/>
                      <a:pt x="12620" y="663083"/>
                      <a:pt x="12620" y="663083"/>
                    </a:cubicBezTo>
                    <a:cubicBezTo>
                      <a:pt x="12620" y="663083"/>
                      <a:pt x="12620" y="663083"/>
                      <a:pt x="12620" y="663083"/>
                    </a:cubicBezTo>
                    <a:cubicBezTo>
                      <a:pt x="12620" y="663083"/>
                      <a:pt x="12620" y="663083"/>
                      <a:pt x="12620" y="663083"/>
                    </a:cubicBezTo>
                    <a:lnTo>
                      <a:pt x="12321" y="663322"/>
                    </a:lnTo>
                    <a:lnTo>
                      <a:pt x="11005" y="661946"/>
                    </a:lnTo>
                    <a:lnTo>
                      <a:pt x="16387" y="662903"/>
                    </a:lnTo>
                    <a:lnTo>
                      <a:pt x="19377" y="667329"/>
                    </a:lnTo>
                    <a:lnTo>
                      <a:pt x="19377" y="667329"/>
                    </a:lnTo>
                    <a:close/>
                    <a:moveTo>
                      <a:pt x="9151" y="661468"/>
                    </a:moveTo>
                    <a:lnTo>
                      <a:pt x="9270" y="661468"/>
                    </a:lnTo>
                    <a:lnTo>
                      <a:pt x="5862" y="662006"/>
                    </a:lnTo>
                    <a:lnTo>
                      <a:pt x="5742" y="662006"/>
                    </a:lnTo>
                    <a:lnTo>
                      <a:pt x="9151" y="661468"/>
                    </a:lnTo>
                    <a:close/>
                    <a:moveTo>
                      <a:pt x="4725" y="662185"/>
                    </a:moveTo>
                    <a:lnTo>
                      <a:pt x="5503" y="662305"/>
                    </a:lnTo>
                    <a:lnTo>
                      <a:pt x="3290" y="664398"/>
                    </a:lnTo>
                    <a:lnTo>
                      <a:pt x="2452" y="664339"/>
                    </a:lnTo>
                    <a:lnTo>
                      <a:pt x="4725" y="662185"/>
                    </a:lnTo>
                    <a:close/>
                    <a:moveTo>
                      <a:pt x="1735" y="665176"/>
                    </a:moveTo>
                    <a:lnTo>
                      <a:pt x="1376" y="668405"/>
                    </a:lnTo>
                    <a:lnTo>
                      <a:pt x="299" y="669781"/>
                    </a:lnTo>
                    <a:lnTo>
                      <a:pt x="659" y="666492"/>
                    </a:lnTo>
                    <a:lnTo>
                      <a:pt x="1735" y="665176"/>
                    </a:lnTo>
                    <a:close/>
                    <a:moveTo>
                      <a:pt x="1495" y="668944"/>
                    </a:moveTo>
                    <a:lnTo>
                      <a:pt x="3110" y="673848"/>
                    </a:lnTo>
                    <a:lnTo>
                      <a:pt x="1795" y="675522"/>
                    </a:lnTo>
                    <a:lnTo>
                      <a:pt x="239" y="670618"/>
                    </a:lnTo>
                    <a:lnTo>
                      <a:pt x="1495" y="668944"/>
                    </a:lnTo>
                    <a:close/>
                    <a:moveTo>
                      <a:pt x="3290" y="674267"/>
                    </a:moveTo>
                    <a:lnTo>
                      <a:pt x="6938" y="680307"/>
                    </a:lnTo>
                    <a:lnTo>
                      <a:pt x="5562" y="682042"/>
                    </a:lnTo>
                    <a:lnTo>
                      <a:pt x="1974" y="676001"/>
                    </a:lnTo>
                    <a:lnTo>
                      <a:pt x="3290" y="674267"/>
                    </a:lnTo>
                    <a:close/>
                    <a:moveTo>
                      <a:pt x="7177" y="680666"/>
                    </a:moveTo>
                    <a:lnTo>
                      <a:pt x="12620" y="687245"/>
                    </a:lnTo>
                    <a:lnTo>
                      <a:pt x="11244" y="688979"/>
                    </a:lnTo>
                    <a:lnTo>
                      <a:pt x="5802" y="682400"/>
                    </a:lnTo>
                    <a:lnTo>
                      <a:pt x="7177" y="680666"/>
                    </a:lnTo>
                    <a:close/>
                    <a:moveTo>
                      <a:pt x="12919" y="687544"/>
                    </a:moveTo>
                    <a:lnTo>
                      <a:pt x="19797" y="694242"/>
                    </a:lnTo>
                    <a:lnTo>
                      <a:pt x="18421" y="695977"/>
                    </a:lnTo>
                    <a:lnTo>
                      <a:pt x="11543" y="689278"/>
                    </a:lnTo>
                    <a:lnTo>
                      <a:pt x="12919" y="687544"/>
                    </a:lnTo>
                    <a:close/>
                    <a:moveTo>
                      <a:pt x="20096" y="694541"/>
                    </a:moveTo>
                    <a:lnTo>
                      <a:pt x="27870" y="700761"/>
                    </a:lnTo>
                    <a:lnTo>
                      <a:pt x="26495" y="702496"/>
                    </a:lnTo>
                    <a:lnTo>
                      <a:pt x="18720" y="696276"/>
                    </a:lnTo>
                    <a:lnTo>
                      <a:pt x="20096" y="694541"/>
                    </a:lnTo>
                    <a:close/>
                    <a:moveTo>
                      <a:pt x="28230" y="701000"/>
                    </a:moveTo>
                    <a:lnTo>
                      <a:pt x="36303" y="706323"/>
                    </a:lnTo>
                    <a:lnTo>
                      <a:pt x="34928" y="708058"/>
                    </a:lnTo>
                    <a:lnTo>
                      <a:pt x="26853" y="702735"/>
                    </a:lnTo>
                    <a:lnTo>
                      <a:pt x="28230" y="701000"/>
                    </a:lnTo>
                    <a:close/>
                    <a:moveTo>
                      <a:pt x="36662" y="706562"/>
                    </a:moveTo>
                    <a:lnTo>
                      <a:pt x="44437" y="710570"/>
                    </a:lnTo>
                    <a:lnTo>
                      <a:pt x="43062" y="712304"/>
                    </a:lnTo>
                    <a:lnTo>
                      <a:pt x="35286" y="708297"/>
                    </a:lnTo>
                    <a:lnTo>
                      <a:pt x="36662" y="706562"/>
                    </a:lnTo>
                    <a:close/>
                    <a:moveTo>
                      <a:pt x="44855" y="710749"/>
                    </a:moveTo>
                    <a:lnTo>
                      <a:pt x="51733" y="713201"/>
                    </a:lnTo>
                    <a:lnTo>
                      <a:pt x="50358" y="714876"/>
                    </a:lnTo>
                    <a:lnTo>
                      <a:pt x="43480" y="712483"/>
                    </a:lnTo>
                    <a:lnTo>
                      <a:pt x="44855" y="710749"/>
                    </a:lnTo>
                    <a:close/>
                    <a:moveTo>
                      <a:pt x="52212" y="713321"/>
                    </a:moveTo>
                    <a:lnTo>
                      <a:pt x="57654" y="714038"/>
                    </a:lnTo>
                    <a:lnTo>
                      <a:pt x="56339" y="715653"/>
                    </a:lnTo>
                    <a:lnTo>
                      <a:pt x="50896" y="714935"/>
                    </a:lnTo>
                    <a:lnTo>
                      <a:pt x="52212" y="713321"/>
                    </a:lnTo>
                    <a:close/>
                    <a:moveTo>
                      <a:pt x="58193" y="714098"/>
                    </a:moveTo>
                    <a:lnTo>
                      <a:pt x="61721" y="713261"/>
                    </a:lnTo>
                    <a:lnTo>
                      <a:pt x="60585" y="714696"/>
                    </a:lnTo>
                    <a:lnTo>
                      <a:pt x="57056" y="715593"/>
                    </a:lnTo>
                    <a:lnTo>
                      <a:pt x="58193" y="714098"/>
                    </a:lnTo>
                    <a:close/>
                    <a:moveTo>
                      <a:pt x="62020" y="711646"/>
                    </a:moveTo>
                    <a:lnTo>
                      <a:pt x="63934" y="709254"/>
                    </a:lnTo>
                    <a:lnTo>
                      <a:pt x="64233" y="710031"/>
                    </a:lnTo>
                    <a:lnTo>
                      <a:pt x="62319" y="712483"/>
                    </a:lnTo>
                    <a:lnTo>
                      <a:pt x="62020" y="711646"/>
                    </a:lnTo>
                    <a:close/>
                    <a:moveTo>
                      <a:pt x="64174" y="708955"/>
                    </a:moveTo>
                    <a:lnTo>
                      <a:pt x="64233" y="705605"/>
                    </a:lnTo>
                    <a:lnTo>
                      <a:pt x="64353" y="705905"/>
                    </a:lnTo>
                    <a:lnTo>
                      <a:pt x="64293" y="709314"/>
                    </a:lnTo>
                    <a:lnTo>
                      <a:pt x="64174" y="708955"/>
                    </a:lnTo>
                    <a:close/>
                    <a:moveTo>
                      <a:pt x="56339" y="696754"/>
                    </a:moveTo>
                    <a:lnTo>
                      <a:pt x="56159" y="696276"/>
                    </a:lnTo>
                    <a:lnTo>
                      <a:pt x="58193" y="693584"/>
                    </a:lnTo>
                    <a:lnTo>
                      <a:pt x="61662" y="699146"/>
                    </a:lnTo>
                    <a:lnTo>
                      <a:pt x="56339" y="696754"/>
                    </a:lnTo>
                    <a:close/>
                    <a:moveTo>
                      <a:pt x="438387" y="243834"/>
                    </a:moveTo>
                    <a:lnTo>
                      <a:pt x="438387" y="243834"/>
                    </a:lnTo>
                    <a:lnTo>
                      <a:pt x="438268" y="243475"/>
                    </a:lnTo>
                    <a:cubicBezTo>
                      <a:pt x="438268" y="243475"/>
                      <a:pt x="438268" y="243475"/>
                      <a:pt x="438268" y="243475"/>
                    </a:cubicBezTo>
                    <a:lnTo>
                      <a:pt x="437969" y="242698"/>
                    </a:lnTo>
                    <a:cubicBezTo>
                      <a:pt x="437969" y="242638"/>
                      <a:pt x="437909" y="242638"/>
                      <a:pt x="437909" y="242638"/>
                    </a:cubicBezTo>
                    <a:cubicBezTo>
                      <a:pt x="437909" y="242578"/>
                      <a:pt x="437909" y="242518"/>
                      <a:pt x="437849" y="242458"/>
                    </a:cubicBezTo>
                    <a:cubicBezTo>
                      <a:pt x="437789" y="242399"/>
                      <a:pt x="437670" y="242399"/>
                      <a:pt x="437610" y="242458"/>
                    </a:cubicBezTo>
                    <a:lnTo>
                      <a:pt x="437191" y="242937"/>
                    </a:lnTo>
                    <a:lnTo>
                      <a:pt x="411056" y="222423"/>
                    </a:lnTo>
                    <a:lnTo>
                      <a:pt x="411713" y="221945"/>
                    </a:lnTo>
                    <a:lnTo>
                      <a:pt x="437430" y="242159"/>
                    </a:lnTo>
                    <a:cubicBezTo>
                      <a:pt x="437490" y="242219"/>
                      <a:pt x="437610" y="242219"/>
                      <a:pt x="437670" y="242159"/>
                    </a:cubicBezTo>
                    <a:cubicBezTo>
                      <a:pt x="437729" y="242100"/>
                      <a:pt x="437729" y="241980"/>
                      <a:pt x="437610" y="241920"/>
                    </a:cubicBezTo>
                    <a:lnTo>
                      <a:pt x="411952" y="221765"/>
                    </a:lnTo>
                    <a:lnTo>
                      <a:pt x="414225" y="220091"/>
                    </a:lnTo>
                    <a:lnTo>
                      <a:pt x="422299" y="221167"/>
                    </a:lnTo>
                    <a:lnTo>
                      <a:pt x="422240" y="225294"/>
                    </a:lnTo>
                    <a:cubicBezTo>
                      <a:pt x="422240" y="225294"/>
                      <a:pt x="422240" y="225294"/>
                      <a:pt x="422240" y="225294"/>
                    </a:cubicBezTo>
                    <a:cubicBezTo>
                      <a:pt x="422240" y="225294"/>
                      <a:pt x="422240" y="225354"/>
                      <a:pt x="422240" y="225354"/>
                    </a:cubicBezTo>
                    <a:cubicBezTo>
                      <a:pt x="422240" y="225354"/>
                      <a:pt x="422240" y="225354"/>
                      <a:pt x="422240" y="225354"/>
                    </a:cubicBezTo>
                    <a:cubicBezTo>
                      <a:pt x="422240" y="225354"/>
                      <a:pt x="422240" y="225354"/>
                      <a:pt x="422240" y="225354"/>
                    </a:cubicBezTo>
                    <a:lnTo>
                      <a:pt x="426067" y="229899"/>
                    </a:lnTo>
                    <a:cubicBezTo>
                      <a:pt x="426067" y="229899"/>
                      <a:pt x="426067" y="229899"/>
                      <a:pt x="426067" y="229899"/>
                    </a:cubicBezTo>
                    <a:cubicBezTo>
                      <a:pt x="426067" y="229899"/>
                      <a:pt x="426067" y="229899"/>
                      <a:pt x="426067" y="229899"/>
                    </a:cubicBezTo>
                    <a:lnTo>
                      <a:pt x="429775" y="232471"/>
                    </a:lnTo>
                    <a:cubicBezTo>
                      <a:pt x="429775" y="232471"/>
                      <a:pt x="429775" y="232471"/>
                      <a:pt x="429775" y="232471"/>
                    </a:cubicBezTo>
                    <a:cubicBezTo>
                      <a:pt x="429775" y="232471"/>
                      <a:pt x="429775" y="232471"/>
                      <a:pt x="429775" y="232471"/>
                    </a:cubicBezTo>
                    <a:lnTo>
                      <a:pt x="434739" y="234983"/>
                    </a:lnTo>
                    <a:cubicBezTo>
                      <a:pt x="434739" y="234983"/>
                      <a:pt x="434739" y="234983"/>
                      <a:pt x="434739" y="234983"/>
                    </a:cubicBezTo>
                    <a:cubicBezTo>
                      <a:pt x="434739" y="234983"/>
                      <a:pt x="434739" y="234983"/>
                      <a:pt x="434799" y="234983"/>
                    </a:cubicBezTo>
                    <a:cubicBezTo>
                      <a:pt x="434799" y="234983"/>
                      <a:pt x="434799" y="234983"/>
                      <a:pt x="434799" y="234983"/>
                    </a:cubicBezTo>
                    <a:lnTo>
                      <a:pt x="434799" y="234983"/>
                    </a:lnTo>
                    <a:lnTo>
                      <a:pt x="439464" y="235282"/>
                    </a:lnTo>
                    <a:lnTo>
                      <a:pt x="440480" y="238033"/>
                    </a:lnTo>
                    <a:lnTo>
                      <a:pt x="439703" y="239169"/>
                    </a:lnTo>
                    <a:lnTo>
                      <a:pt x="436892" y="240186"/>
                    </a:lnTo>
                    <a:cubicBezTo>
                      <a:pt x="436832" y="240186"/>
                      <a:pt x="436832" y="240246"/>
                      <a:pt x="436772" y="240305"/>
                    </a:cubicBezTo>
                    <a:cubicBezTo>
                      <a:pt x="436712" y="240305"/>
                      <a:pt x="436653" y="240305"/>
                      <a:pt x="436653" y="240365"/>
                    </a:cubicBezTo>
                    <a:cubicBezTo>
                      <a:pt x="436593" y="240425"/>
                      <a:pt x="436593" y="240545"/>
                      <a:pt x="436653" y="240604"/>
                    </a:cubicBezTo>
                    <a:lnTo>
                      <a:pt x="438687" y="242937"/>
                    </a:lnTo>
                    <a:lnTo>
                      <a:pt x="446043" y="261298"/>
                    </a:lnTo>
                    <a:lnTo>
                      <a:pt x="444667" y="259683"/>
                    </a:lnTo>
                    <a:lnTo>
                      <a:pt x="438387" y="243834"/>
                    </a:lnTo>
                    <a:close/>
                    <a:moveTo>
                      <a:pt x="446521" y="262314"/>
                    </a:moveTo>
                    <a:lnTo>
                      <a:pt x="453757" y="280316"/>
                    </a:lnTo>
                    <a:lnTo>
                      <a:pt x="452382" y="278702"/>
                    </a:lnTo>
                    <a:lnTo>
                      <a:pt x="445145" y="260759"/>
                    </a:lnTo>
                    <a:lnTo>
                      <a:pt x="446521" y="262314"/>
                    </a:lnTo>
                    <a:close/>
                    <a:moveTo>
                      <a:pt x="454176" y="281393"/>
                    </a:moveTo>
                    <a:lnTo>
                      <a:pt x="461293" y="299096"/>
                    </a:lnTo>
                    <a:lnTo>
                      <a:pt x="459918" y="297421"/>
                    </a:lnTo>
                    <a:lnTo>
                      <a:pt x="452861" y="279778"/>
                    </a:lnTo>
                    <a:lnTo>
                      <a:pt x="454176" y="281393"/>
                    </a:lnTo>
                    <a:close/>
                    <a:moveTo>
                      <a:pt x="461712" y="300172"/>
                    </a:moveTo>
                    <a:lnTo>
                      <a:pt x="468650" y="317516"/>
                    </a:lnTo>
                    <a:lnTo>
                      <a:pt x="467274" y="315782"/>
                    </a:lnTo>
                    <a:lnTo>
                      <a:pt x="460337" y="298438"/>
                    </a:lnTo>
                    <a:lnTo>
                      <a:pt x="461712" y="300172"/>
                    </a:lnTo>
                    <a:close/>
                    <a:moveTo>
                      <a:pt x="469128" y="318713"/>
                    </a:moveTo>
                    <a:lnTo>
                      <a:pt x="475946" y="335758"/>
                    </a:lnTo>
                    <a:lnTo>
                      <a:pt x="474571" y="334023"/>
                    </a:lnTo>
                    <a:lnTo>
                      <a:pt x="467753" y="317038"/>
                    </a:lnTo>
                    <a:lnTo>
                      <a:pt x="469128" y="318713"/>
                    </a:lnTo>
                    <a:close/>
                    <a:moveTo>
                      <a:pt x="476425" y="336954"/>
                    </a:moveTo>
                    <a:lnTo>
                      <a:pt x="483123" y="353700"/>
                    </a:lnTo>
                    <a:lnTo>
                      <a:pt x="481747" y="351906"/>
                    </a:lnTo>
                    <a:lnTo>
                      <a:pt x="475049" y="335219"/>
                    </a:lnTo>
                    <a:lnTo>
                      <a:pt x="476425" y="336954"/>
                    </a:lnTo>
                    <a:close/>
                    <a:moveTo>
                      <a:pt x="483661" y="354896"/>
                    </a:moveTo>
                    <a:lnTo>
                      <a:pt x="490240" y="371343"/>
                    </a:lnTo>
                    <a:lnTo>
                      <a:pt x="488864" y="369489"/>
                    </a:lnTo>
                    <a:lnTo>
                      <a:pt x="482286" y="353102"/>
                    </a:lnTo>
                    <a:lnTo>
                      <a:pt x="483661" y="354896"/>
                    </a:lnTo>
                    <a:close/>
                    <a:moveTo>
                      <a:pt x="490719" y="372539"/>
                    </a:moveTo>
                    <a:lnTo>
                      <a:pt x="497177" y="388687"/>
                    </a:lnTo>
                    <a:lnTo>
                      <a:pt x="495802" y="386833"/>
                    </a:lnTo>
                    <a:lnTo>
                      <a:pt x="489343" y="370745"/>
                    </a:lnTo>
                    <a:lnTo>
                      <a:pt x="490719" y="372539"/>
                    </a:lnTo>
                    <a:close/>
                    <a:moveTo>
                      <a:pt x="497716" y="390003"/>
                    </a:moveTo>
                    <a:lnTo>
                      <a:pt x="504055" y="405852"/>
                    </a:lnTo>
                    <a:lnTo>
                      <a:pt x="502620" y="403938"/>
                    </a:lnTo>
                    <a:lnTo>
                      <a:pt x="496281" y="388089"/>
                    </a:lnTo>
                    <a:lnTo>
                      <a:pt x="497716" y="390003"/>
                    </a:lnTo>
                    <a:close/>
                    <a:moveTo>
                      <a:pt x="504594" y="407108"/>
                    </a:moveTo>
                    <a:lnTo>
                      <a:pt x="510874" y="422717"/>
                    </a:lnTo>
                    <a:lnTo>
                      <a:pt x="509438" y="420804"/>
                    </a:lnTo>
                    <a:lnTo>
                      <a:pt x="503218" y="405254"/>
                    </a:lnTo>
                    <a:lnTo>
                      <a:pt x="504594" y="407108"/>
                    </a:lnTo>
                    <a:close/>
                    <a:moveTo>
                      <a:pt x="518290" y="440361"/>
                    </a:moveTo>
                    <a:lnTo>
                      <a:pt x="511771" y="424093"/>
                    </a:lnTo>
                    <a:lnTo>
                      <a:pt x="518589" y="420744"/>
                    </a:lnTo>
                    <a:lnTo>
                      <a:pt x="523553" y="436652"/>
                    </a:lnTo>
                    <a:lnTo>
                      <a:pt x="518290" y="440361"/>
                    </a:lnTo>
                    <a:close/>
                    <a:moveTo>
                      <a:pt x="460217" y="242937"/>
                    </a:moveTo>
                    <a:lnTo>
                      <a:pt x="449213" y="238631"/>
                    </a:lnTo>
                    <a:lnTo>
                      <a:pt x="449153" y="238392"/>
                    </a:lnTo>
                    <a:lnTo>
                      <a:pt x="460217" y="242937"/>
                    </a:lnTo>
                    <a:close/>
                    <a:moveTo>
                      <a:pt x="453638" y="221526"/>
                    </a:moveTo>
                    <a:lnTo>
                      <a:pt x="453638" y="221526"/>
                    </a:lnTo>
                    <a:lnTo>
                      <a:pt x="459559" y="212854"/>
                    </a:lnTo>
                    <a:lnTo>
                      <a:pt x="459559" y="212854"/>
                    </a:lnTo>
                    <a:lnTo>
                      <a:pt x="453638" y="221526"/>
                    </a:lnTo>
                    <a:close/>
                    <a:moveTo>
                      <a:pt x="458243" y="206455"/>
                    </a:moveTo>
                    <a:lnTo>
                      <a:pt x="447956" y="181575"/>
                    </a:lnTo>
                    <a:lnTo>
                      <a:pt x="461832" y="165845"/>
                    </a:lnTo>
                    <a:lnTo>
                      <a:pt x="471759" y="189170"/>
                    </a:lnTo>
                    <a:lnTo>
                      <a:pt x="458243" y="206455"/>
                    </a:lnTo>
                    <a:close/>
                    <a:moveTo>
                      <a:pt x="475587" y="149219"/>
                    </a:moveTo>
                    <a:lnTo>
                      <a:pt x="475767" y="149398"/>
                    </a:lnTo>
                    <a:lnTo>
                      <a:pt x="461772" y="165247"/>
                    </a:lnTo>
                    <a:lnTo>
                      <a:pt x="461592" y="165068"/>
                    </a:lnTo>
                    <a:lnTo>
                      <a:pt x="475587" y="149219"/>
                    </a:lnTo>
                    <a:close/>
                    <a:moveTo>
                      <a:pt x="471939" y="188811"/>
                    </a:moveTo>
                    <a:lnTo>
                      <a:pt x="462011" y="165487"/>
                    </a:lnTo>
                    <a:lnTo>
                      <a:pt x="476006" y="149697"/>
                    </a:lnTo>
                    <a:lnTo>
                      <a:pt x="485515" y="171407"/>
                    </a:lnTo>
                    <a:lnTo>
                      <a:pt x="471939" y="188811"/>
                    </a:lnTo>
                    <a:close/>
                    <a:moveTo>
                      <a:pt x="485815" y="171108"/>
                    </a:moveTo>
                    <a:lnTo>
                      <a:pt x="476305" y="149398"/>
                    </a:lnTo>
                    <a:lnTo>
                      <a:pt x="490359" y="133490"/>
                    </a:lnTo>
                    <a:lnTo>
                      <a:pt x="499510" y="153525"/>
                    </a:lnTo>
                    <a:lnTo>
                      <a:pt x="485815" y="171108"/>
                    </a:lnTo>
                    <a:close/>
                    <a:moveTo>
                      <a:pt x="541914" y="99160"/>
                    </a:moveTo>
                    <a:lnTo>
                      <a:pt x="527919" y="117103"/>
                    </a:lnTo>
                    <a:lnTo>
                      <a:pt x="519545" y="100476"/>
                    </a:lnTo>
                    <a:lnTo>
                      <a:pt x="533839" y="84268"/>
                    </a:lnTo>
                    <a:lnTo>
                      <a:pt x="541914" y="99160"/>
                    </a:lnTo>
                    <a:close/>
                    <a:moveTo>
                      <a:pt x="527680" y="117402"/>
                    </a:moveTo>
                    <a:lnTo>
                      <a:pt x="513804" y="135224"/>
                    </a:lnTo>
                    <a:lnTo>
                      <a:pt x="505072" y="116863"/>
                    </a:lnTo>
                    <a:lnTo>
                      <a:pt x="519307" y="100775"/>
                    </a:lnTo>
                    <a:lnTo>
                      <a:pt x="527680" y="117402"/>
                    </a:lnTo>
                    <a:close/>
                    <a:moveTo>
                      <a:pt x="513505" y="135523"/>
                    </a:moveTo>
                    <a:lnTo>
                      <a:pt x="499690" y="153166"/>
                    </a:lnTo>
                    <a:lnTo>
                      <a:pt x="490539" y="133131"/>
                    </a:lnTo>
                    <a:lnTo>
                      <a:pt x="504713" y="117103"/>
                    </a:lnTo>
                    <a:lnTo>
                      <a:pt x="513505" y="135523"/>
                    </a:lnTo>
                    <a:close/>
                    <a:moveTo>
                      <a:pt x="542153" y="98861"/>
                    </a:moveTo>
                    <a:lnTo>
                      <a:pt x="534079" y="83969"/>
                    </a:lnTo>
                    <a:lnTo>
                      <a:pt x="548493" y="67642"/>
                    </a:lnTo>
                    <a:lnTo>
                      <a:pt x="556267" y="80740"/>
                    </a:lnTo>
                    <a:lnTo>
                      <a:pt x="542153" y="98861"/>
                    </a:lnTo>
                    <a:close/>
                    <a:moveTo>
                      <a:pt x="556507" y="80501"/>
                    </a:moveTo>
                    <a:lnTo>
                      <a:pt x="548791" y="67403"/>
                    </a:lnTo>
                    <a:lnTo>
                      <a:pt x="563325" y="51016"/>
                    </a:lnTo>
                    <a:lnTo>
                      <a:pt x="570741" y="62319"/>
                    </a:lnTo>
                    <a:lnTo>
                      <a:pt x="556507" y="80501"/>
                    </a:lnTo>
                    <a:close/>
                    <a:moveTo>
                      <a:pt x="570920" y="61960"/>
                    </a:moveTo>
                    <a:lnTo>
                      <a:pt x="563504" y="50717"/>
                    </a:lnTo>
                    <a:lnTo>
                      <a:pt x="578097" y="34210"/>
                    </a:lnTo>
                    <a:lnTo>
                      <a:pt x="585274" y="43659"/>
                    </a:lnTo>
                    <a:lnTo>
                      <a:pt x="570920" y="61960"/>
                    </a:lnTo>
                    <a:close/>
                    <a:moveTo>
                      <a:pt x="585453" y="43360"/>
                    </a:moveTo>
                    <a:lnTo>
                      <a:pt x="578336" y="33971"/>
                    </a:lnTo>
                    <a:lnTo>
                      <a:pt x="593049" y="17344"/>
                    </a:lnTo>
                    <a:lnTo>
                      <a:pt x="599927" y="24880"/>
                    </a:lnTo>
                    <a:lnTo>
                      <a:pt x="585453" y="43360"/>
                    </a:lnTo>
                    <a:close/>
                    <a:moveTo>
                      <a:pt x="600106" y="24581"/>
                    </a:moveTo>
                    <a:lnTo>
                      <a:pt x="593228" y="17045"/>
                    </a:lnTo>
                    <a:lnTo>
                      <a:pt x="608000" y="299"/>
                    </a:lnTo>
                    <a:lnTo>
                      <a:pt x="614579" y="5921"/>
                    </a:lnTo>
                    <a:lnTo>
                      <a:pt x="600106" y="24581"/>
                    </a:lnTo>
                    <a:close/>
                    <a:moveTo>
                      <a:pt x="607522" y="0"/>
                    </a:moveTo>
                    <a:lnTo>
                      <a:pt x="607761" y="60"/>
                    </a:lnTo>
                    <a:lnTo>
                      <a:pt x="592989" y="16746"/>
                    </a:lnTo>
                    <a:lnTo>
                      <a:pt x="592750" y="16686"/>
                    </a:lnTo>
                    <a:lnTo>
                      <a:pt x="607522" y="0"/>
                    </a:lnTo>
                    <a:close/>
                    <a:moveTo>
                      <a:pt x="592511" y="16985"/>
                    </a:moveTo>
                    <a:lnTo>
                      <a:pt x="592750" y="17045"/>
                    </a:lnTo>
                    <a:lnTo>
                      <a:pt x="578097" y="33671"/>
                    </a:lnTo>
                    <a:lnTo>
                      <a:pt x="577857" y="33552"/>
                    </a:lnTo>
                    <a:lnTo>
                      <a:pt x="592511" y="16985"/>
                    </a:lnTo>
                    <a:close/>
                    <a:moveTo>
                      <a:pt x="577559" y="33851"/>
                    </a:moveTo>
                    <a:lnTo>
                      <a:pt x="577798" y="33971"/>
                    </a:lnTo>
                    <a:lnTo>
                      <a:pt x="563205" y="50477"/>
                    </a:lnTo>
                    <a:lnTo>
                      <a:pt x="562965" y="50358"/>
                    </a:lnTo>
                    <a:lnTo>
                      <a:pt x="577559" y="33851"/>
                    </a:lnTo>
                    <a:close/>
                    <a:moveTo>
                      <a:pt x="562727" y="50657"/>
                    </a:moveTo>
                    <a:lnTo>
                      <a:pt x="562965" y="50776"/>
                    </a:lnTo>
                    <a:lnTo>
                      <a:pt x="548493" y="67164"/>
                    </a:lnTo>
                    <a:lnTo>
                      <a:pt x="548253" y="67044"/>
                    </a:lnTo>
                    <a:lnTo>
                      <a:pt x="562727" y="50657"/>
                    </a:lnTo>
                    <a:close/>
                    <a:moveTo>
                      <a:pt x="548014" y="67283"/>
                    </a:moveTo>
                    <a:lnTo>
                      <a:pt x="548253" y="67403"/>
                    </a:lnTo>
                    <a:lnTo>
                      <a:pt x="533839" y="83730"/>
                    </a:lnTo>
                    <a:lnTo>
                      <a:pt x="533601" y="83611"/>
                    </a:lnTo>
                    <a:lnTo>
                      <a:pt x="548014" y="67283"/>
                    </a:lnTo>
                    <a:close/>
                    <a:moveTo>
                      <a:pt x="533361" y="83910"/>
                    </a:moveTo>
                    <a:lnTo>
                      <a:pt x="533601" y="84029"/>
                    </a:lnTo>
                    <a:lnTo>
                      <a:pt x="519247" y="100237"/>
                    </a:lnTo>
                    <a:lnTo>
                      <a:pt x="519067" y="100117"/>
                    </a:lnTo>
                    <a:lnTo>
                      <a:pt x="533361" y="83910"/>
                    </a:lnTo>
                    <a:close/>
                    <a:moveTo>
                      <a:pt x="518768" y="100356"/>
                    </a:moveTo>
                    <a:lnTo>
                      <a:pt x="518947" y="100476"/>
                    </a:lnTo>
                    <a:lnTo>
                      <a:pt x="504713" y="116564"/>
                    </a:lnTo>
                    <a:lnTo>
                      <a:pt x="504534" y="116445"/>
                    </a:lnTo>
                    <a:lnTo>
                      <a:pt x="518768" y="100356"/>
                    </a:lnTo>
                    <a:close/>
                    <a:moveTo>
                      <a:pt x="504295" y="116744"/>
                    </a:moveTo>
                    <a:lnTo>
                      <a:pt x="504475" y="116863"/>
                    </a:lnTo>
                    <a:lnTo>
                      <a:pt x="490300" y="132892"/>
                    </a:lnTo>
                    <a:lnTo>
                      <a:pt x="490121" y="132712"/>
                    </a:lnTo>
                    <a:lnTo>
                      <a:pt x="504295" y="116744"/>
                    </a:lnTo>
                    <a:close/>
                    <a:moveTo>
                      <a:pt x="489941" y="133011"/>
                    </a:moveTo>
                    <a:lnTo>
                      <a:pt x="490121" y="133191"/>
                    </a:lnTo>
                    <a:lnTo>
                      <a:pt x="476066" y="149099"/>
                    </a:lnTo>
                    <a:lnTo>
                      <a:pt x="475886" y="148920"/>
                    </a:lnTo>
                    <a:lnTo>
                      <a:pt x="489941" y="133011"/>
                    </a:lnTo>
                    <a:close/>
                    <a:moveTo>
                      <a:pt x="461413" y="165307"/>
                    </a:moveTo>
                    <a:lnTo>
                      <a:pt x="461592" y="165487"/>
                    </a:lnTo>
                    <a:lnTo>
                      <a:pt x="447658" y="181216"/>
                    </a:lnTo>
                    <a:lnTo>
                      <a:pt x="447478" y="181036"/>
                    </a:lnTo>
                    <a:lnTo>
                      <a:pt x="461413" y="165307"/>
                    </a:lnTo>
                    <a:close/>
                    <a:moveTo>
                      <a:pt x="446940" y="199457"/>
                    </a:moveTo>
                    <a:lnTo>
                      <a:pt x="437969" y="192161"/>
                    </a:lnTo>
                    <a:lnTo>
                      <a:pt x="421701" y="175474"/>
                    </a:lnTo>
                    <a:lnTo>
                      <a:pt x="440002" y="190247"/>
                    </a:lnTo>
                    <a:lnTo>
                      <a:pt x="447896" y="198261"/>
                    </a:lnTo>
                    <a:lnTo>
                      <a:pt x="446940" y="199457"/>
                    </a:lnTo>
                    <a:close/>
                    <a:moveTo>
                      <a:pt x="389046" y="228105"/>
                    </a:moveTo>
                    <a:lnTo>
                      <a:pt x="374274" y="245927"/>
                    </a:lnTo>
                    <a:lnTo>
                      <a:pt x="374094" y="245568"/>
                    </a:lnTo>
                    <a:lnTo>
                      <a:pt x="388687" y="228045"/>
                    </a:lnTo>
                    <a:lnTo>
                      <a:pt x="389046" y="228105"/>
                    </a:lnTo>
                    <a:close/>
                    <a:moveTo>
                      <a:pt x="19617" y="667090"/>
                    </a:moveTo>
                    <a:lnTo>
                      <a:pt x="16567" y="662903"/>
                    </a:lnTo>
                    <a:lnTo>
                      <a:pt x="21531" y="664757"/>
                    </a:lnTo>
                    <a:lnTo>
                      <a:pt x="19617" y="667090"/>
                    </a:lnTo>
                    <a:close/>
                  </a:path>
                </a:pathLst>
              </a:custGeom>
              <a:noFill/>
              <a:ln w="6350" cap="flat">
                <a:solidFill>
                  <a:schemeClr val="bg1">
                    <a:alpha val="40000"/>
                  </a:schemeClr>
                </a:solidFill>
                <a:prstDash val="solid"/>
                <a:miter/>
              </a:ln>
            </p:spPr>
            <p:txBody>
              <a:bodyPr rtlCol="0" anchor="ctr"/>
              <a:lstStyle/>
              <a:p>
                <a:endParaRPr lang="en-GB"/>
              </a:p>
            </p:txBody>
          </p:sp>
          <p:grpSp>
            <p:nvGrpSpPr>
              <p:cNvPr id="5356" name="Graphic 3">
                <a:extLst>
                  <a:ext uri="{FF2B5EF4-FFF2-40B4-BE49-F238E27FC236}">
                    <a16:creationId xmlns:a16="http://schemas.microsoft.com/office/drawing/2014/main" id="{7A8C8CC9-6D62-48B4-98D0-63AD89B2BC63}"/>
                  </a:ext>
                </a:extLst>
              </p:cNvPr>
              <p:cNvGrpSpPr/>
              <p:nvPr/>
            </p:nvGrpSpPr>
            <p:grpSpPr>
              <a:xfrm>
                <a:off x="7039449" y="1868657"/>
                <a:ext cx="650045" cy="652915"/>
                <a:chOff x="7039449" y="1868657"/>
                <a:chExt cx="650045" cy="652915"/>
              </a:xfrm>
              <a:noFill/>
            </p:grpSpPr>
            <p:sp>
              <p:nvSpPr>
                <p:cNvPr id="7121" name="Vrije vorm: vorm 7120">
                  <a:extLst>
                    <a:ext uri="{FF2B5EF4-FFF2-40B4-BE49-F238E27FC236}">
                      <a16:creationId xmlns:a16="http://schemas.microsoft.com/office/drawing/2014/main" id="{33ABFCA3-4B6D-4F98-B617-0FC6073AC7E6}"/>
                    </a:ext>
                  </a:extLst>
                </p:cNvPr>
                <p:cNvSpPr/>
                <p:nvPr/>
              </p:nvSpPr>
              <p:spPr>
                <a:xfrm>
                  <a:off x="7039449" y="1890606"/>
                  <a:ext cx="399632" cy="423674"/>
                </a:xfrm>
                <a:custGeom>
                  <a:avLst/>
                  <a:gdLst>
                    <a:gd name="connsiteX0" fmla="*/ 110883 w 399632"/>
                    <a:gd name="connsiteY0" fmla="*/ 0 h 423674"/>
                    <a:gd name="connsiteX1" fmla="*/ 399632 w 399632"/>
                    <a:gd name="connsiteY1" fmla="*/ 276130 h 423674"/>
                    <a:gd name="connsiteX2" fmla="*/ 258547 w 399632"/>
                    <a:gd name="connsiteY2" fmla="*/ 423674 h 423674"/>
                    <a:gd name="connsiteX3" fmla="*/ 0 w 399632"/>
                    <a:gd name="connsiteY3" fmla="*/ 115966 h 423674"/>
                  </a:gdLst>
                  <a:ahLst/>
                  <a:cxnLst>
                    <a:cxn ang="0">
                      <a:pos x="connsiteX0" y="connsiteY0"/>
                    </a:cxn>
                    <a:cxn ang="0">
                      <a:pos x="connsiteX1" y="connsiteY1"/>
                    </a:cxn>
                    <a:cxn ang="0">
                      <a:pos x="connsiteX2" y="connsiteY2"/>
                    </a:cxn>
                    <a:cxn ang="0">
                      <a:pos x="connsiteX3" y="connsiteY3"/>
                    </a:cxn>
                  </a:cxnLst>
                  <a:rect l="l" t="t" r="r" b="b"/>
                  <a:pathLst>
                    <a:path w="399632" h="423674">
                      <a:moveTo>
                        <a:pt x="110883" y="0"/>
                      </a:moveTo>
                      <a:lnTo>
                        <a:pt x="399632" y="276130"/>
                      </a:lnTo>
                      <a:lnTo>
                        <a:pt x="258547" y="423674"/>
                      </a:lnTo>
                      <a:lnTo>
                        <a:pt x="0" y="115966"/>
                      </a:lnTo>
                      <a:close/>
                    </a:path>
                  </a:pathLst>
                </a:custGeom>
                <a:noFill/>
                <a:ln w="6350" cap="flat">
                  <a:solidFill>
                    <a:schemeClr val="bg1">
                      <a:alpha val="40000"/>
                    </a:schemeClr>
                  </a:solidFill>
                  <a:prstDash val="solid"/>
                  <a:miter/>
                </a:ln>
              </p:spPr>
              <p:txBody>
                <a:bodyPr rtlCol="0" anchor="ctr"/>
                <a:lstStyle/>
                <a:p>
                  <a:endParaRPr lang="en-GB"/>
                </a:p>
              </p:txBody>
            </p:sp>
            <p:sp>
              <p:nvSpPr>
                <p:cNvPr id="7122" name="Vrije vorm: vorm 7121">
                  <a:extLst>
                    <a:ext uri="{FF2B5EF4-FFF2-40B4-BE49-F238E27FC236}">
                      <a16:creationId xmlns:a16="http://schemas.microsoft.com/office/drawing/2014/main" id="{BFE1A9CC-1776-48CC-9F73-A646EE34B35D}"/>
                    </a:ext>
                  </a:extLst>
                </p:cNvPr>
                <p:cNvSpPr/>
                <p:nvPr/>
              </p:nvSpPr>
              <p:spPr>
                <a:xfrm>
                  <a:off x="7297996" y="2166736"/>
                  <a:ext cx="374093" cy="354836"/>
                </a:xfrm>
                <a:custGeom>
                  <a:avLst/>
                  <a:gdLst>
                    <a:gd name="connsiteX0" fmla="*/ 374094 w 374093"/>
                    <a:gd name="connsiteY0" fmla="*/ 222782 h 354836"/>
                    <a:gd name="connsiteX1" fmla="*/ 141085 w 374093"/>
                    <a:gd name="connsiteY1" fmla="*/ 0 h 354836"/>
                    <a:gd name="connsiteX2" fmla="*/ 0 w 374093"/>
                    <a:gd name="connsiteY2" fmla="*/ 147544 h 354836"/>
                    <a:gd name="connsiteX3" fmla="*/ 247841 w 374093"/>
                    <a:gd name="connsiteY3" fmla="*/ 354836 h 354836"/>
                  </a:gdLst>
                  <a:ahLst/>
                  <a:cxnLst>
                    <a:cxn ang="0">
                      <a:pos x="connsiteX0" y="connsiteY0"/>
                    </a:cxn>
                    <a:cxn ang="0">
                      <a:pos x="connsiteX1" y="connsiteY1"/>
                    </a:cxn>
                    <a:cxn ang="0">
                      <a:pos x="connsiteX2" y="connsiteY2"/>
                    </a:cxn>
                    <a:cxn ang="0">
                      <a:pos x="connsiteX3" y="connsiteY3"/>
                    </a:cxn>
                  </a:cxnLst>
                  <a:rect l="l" t="t" r="r" b="b"/>
                  <a:pathLst>
                    <a:path w="374093" h="354836">
                      <a:moveTo>
                        <a:pt x="374094" y="222782"/>
                      </a:moveTo>
                      <a:lnTo>
                        <a:pt x="141085" y="0"/>
                      </a:lnTo>
                      <a:lnTo>
                        <a:pt x="0" y="147544"/>
                      </a:lnTo>
                      <a:lnTo>
                        <a:pt x="247841" y="354836"/>
                      </a:lnTo>
                      <a:close/>
                    </a:path>
                  </a:pathLst>
                </a:custGeom>
                <a:noFill/>
                <a:ln w="6350" cap="flat">
                  <a:solidFill>
                    <a:schemeClr val="bg1">
                      <a:alpha val="40000"/>
                    </a:schemeClr>
                  </a:solidFill>
                  <a:prstDash val="solid"/>
                  <a:miter/>
                </a:ln>
              </p:spPr>
              <p:txBody>
                <a:bodyPr rtlCol="0" anchor="ctr"/>
                <a:lstStyle/>
                <a:p>
                  <a:endParaRPr lang="en-GB"/>
                </a:p>
              </p:txBody>
            </p:sp>
            <p:grpSp>
              <p:nvGrpSpPr>
                <p:cNvPr id="7123" name="Graphic 3">
                  <a:extLst>
                    <a:ext uri="{FF2B5EF4-FFF2-40B4-BE49-F238E27FC236}">
                      <a16:creationId xmlns:a16="http://schemas.microsoft.com/office/drawing/2014/main" id="{89D0B476-F164-4FC1-A950-CBC27A43AEE9}"/>
                    </a:ext>
                  </a:extLst>
                </p:cNvPr>
                <p:cNvGrpSpPr/>
                <p:nvPr/>
              </p:nvGrpSpPr>
              <p:grpSpPr>
                <a:xfrm>
                  <a:off x="7072702" y="1942878"/>
                  <a:ext cx="147245" cy="155618"/>
                  <a:chOff x="7072702" y="1942878"/>
                  <a:chExt cx="147245" cy="155618"/>
                </a:xfrm>
                <a:noFill/>
              </p:grpSpPr>
              <p:sp>
                <p:nvSpPr>
                  <p:cNvPr id="7142" name="Vrije vorm: vorm 7141">
                    <a:extLst>
                      <a:ext uri="{FF2B5EF4-FFF2-40B4-BE49-F238E27FC236}">
                        <a16:creationId xmlns:a16="http://schemas.microsoft.com/office/drawing/2014/main" id="{0772E7BE-371F-4714-BC8F-BB01DD7A1F36}"/>
                      </a:ext>
                    </a:extLst>
                  </p:cNvPr>
                  <p:cNvSpPr/>
                  <p:nvPr/>
                </p:nvSpPr>
                <p:spPr>
                  <a:xfrm>
                    <a:off x="7072702" y="1942878"/>
                    <a:ext cx="147245" cy="155618"/>
                  </a:xfrm>
                  <a:custGeom>
                    <a:avLst/>
                    <a:gdLst>
                      <a:gd name="connsiteX0" fmla="*/ 44616 w 147245"/>
                      <a:gd name="connsiteY0" fmla="*/ 155618 h 155618"/>
                      <a:gd name="connsiteX1" fmla="*/ 0 w 147245"/>
                      <a:gd name="connsiteY1" fmla="*/ 103765 h 155618"/>
                      <a:gd name="connsiteX2" fmla="*/ 99100 w 147245"/>
                      <a:gd name="connsiteY2" fmla="*/ 0 h 155618"/>
                      <a:gd name="connsiteX3" fmla="*/ 147245 w 147245"/>
                      <a:gd name="connsiteY3" fmla="*/ 46590 h 155618"/>
                    </a:gdLst>
                    <a:ahLst/>
                    <a:cxnLst>
                      <a:cxn ang="0">
                        <a:pos x="connsiteX0" y="connsiteY0"/>
                      </a:cxn>
                      <a:cxn ang="0">
                        <a:pos x="connsiteX1" y="connsiteY1"/>
                      </a:cxn>
                      <a:cxn ang="0">
                        <a:pos x="connsiteX2" y="connsiteY2"/>
                      </a:cxn>
                      <a:cxn ang="0">
                        <a:pos x="connsiteX3" y="connsiteY3"/>
                      </a:cxn>
                    </a:cxnLst>
                    <a:rect l="l" t="t" r="r" b="b"/>
                    <a:pathLst>
                      <a:path w="147245" h="155618">
                        <a:moveTo>
                          <a:pt x="44616" y="155618"/>
                        </a:moveTo>
                        <a:lnTo>
                          <a:pt x="0" y="103765"/>
                        </a:lnTo>
                        <a:lnTo>
                          <a:pt x="99100" y="0"/>
                        </a:lnTo>
                        <a:lnTo>
                          <a:pt x="147245" y="46590"/>
                        </a:lnTo>
                        <a:close/>
                      </a:path>
                    </a:pathLst>
                  </a:custGeom>
                  <a:noFill/>
                  <a:ln w="6350" cap="flat">
                    <a:solidFill>
                      <a:schemeClr val="bg1">
                        <a:alpha val="40000"/>
                      </a:schemeClr>
                    </a:solidFill>
                    <a:prstDash val="solid"/>
                    <a:miter/>
                  </a:ln>
                </p:spPr>
                <p:txBody>
                  <a:bodyPr rtlCol="0" anchor="ctr"/>
                  <a:lstStyle/>
                  <a:p>
                    <a:endParaRPr lang="en-GB"/>
                  </a:p>
                </p:txBody>
              </p:sp>
              <p:sp>
                <p:nvSpPr>
                  <p:cNvPr id="7143" name="Vrije vorm: vorm 7142">
                    <a:extLst>
                      <a:ext uri="{FF2B5EF4-FFF2-40B4-BE49-F238E27FC236}">
                        <a16:creationId xmlns:a16="http://schemas.microsoft.com/office/drawing/2014/main" id="{2E1E5393-34CF-4CB1-9B86-4AE050343063}"/>
                      </a:ext>
                    </a:extLst>
                  </p:cNvPr>
                  <p:cNvSpPr/>
                  <p:nvPr/>
                </p:nvSpPr>
                <p:spPr>
                  <a:xfrm>
                    <a:off x="7074855" y="1944971"/>
                    <a:ext cx="145092" cy="153525"/>
                  </a:xfrm>
                  <a:custGeom>
                    <a:avLst/>
                    <a:gdLst>
                      <a:gd name="connsiteX0" fmla="*/ 42463 w 145092"/>
                      <a:gd name="connsiteY0" fmla="*/ 153525 h 153525"/>
                      <a:gd name="connsiteX1" fmla="*/ 0 w 145092"/>
                      <a:gd name="connsiteY1" fmla="*/ 103766 h 153525"/>
                      <a:gd name="connsiteX2" fmla="*/ 99160 w 145092"/>
                      <a:gd name="connsiteY2" fmla="*/ 0 h 153525"/>
                      <a:gd name="connsiteX3" fmla="*/ 145092 w 145092"/>
                      <a:gd name="connsiteY3" fmla="*/ 44497 h 153525"/>
                    </a:gdLst>
                    <a:ahLst/>
                    <a:cxnLst>
                      <a:cxn ang="0">
                        <a:pos x="connsiteX0" y="connsiteY0"/>
                      </a:cxn>
                      <a:cxn ang="0">
                        <a:pos x="connsiteX1" y="connsiteY1"/>
                      </a:cxn>
                      <a:cxn ang="0">
                        <a:pos x="connsiteX2" y="connsiteY2"/>
                      </a:cxn>
                      <a:cxn ang="0">
                        <a:pos x="connsiteX3" y="connsiteY3"/>
                      </a:cxn>
                    </a:cxnLst>
                    <a:rect l="l" t="t" r="r" b="b"/>
                    <a:pathLst>
                      <a:path w="145092" h="153525">
                        <a:moveTo>
                          <a:pt x="42463" y="153525"/>
                        </a:moveTo>
                        <a:lnTo>
                          <a:pt x="0" y="103766"/>
                        </a:lnTo>
                        <a:lnTo>
                          <a:pt x="99160" y="0"/>
                        </a:lnTo>
                        <a:lnTo>
                          <a:pt x="145092" y="44497"/>
                        </a:lnTo>
                        <a:close/>
                      </a:path>
                    </a:pathLst>
                  </a:custGeom>
                  <a:noFill/>
                  <a:ln w="6350" cap="flat">
                    <a:solidFill>
                      <a:schemeClr val="bg1">
                        <a:alpha val="40000"/>
                      </a:schemeClr>
                    </a:solidFill>
                    <a:prstDash val="solid"/>
                    <a:miter/>
                  </a:ln>
                </p:spPr>
                <p:txBody>
                  <a:bodyPr rtlCol="0" anchor="ctr"/>
                  <a:lstStyle/>
                  <a:p>
                    <a:endParaRPr lang="en-GB"/>
                  </a:p>
                </p:txBody>
              </p:sp>
            </p:grpSp>
            <p:grpSp>
              <p:nvGrpSpPr>
                <p:cNvPr id="7124" name="Graphic 3">
                  <a:extLst>
                    <a:ext uri="{FF2B5EF4-FFF2-40B4-BE49-F238E27FC236}">
                      <a16:creationId xmlns:a16="http://schemas.microsoft.com/office/drawing/2014/main" id="{221E9474-2E5A-423C-9046-E6D6F435029D}"/>
                    </a:ext>
                  </a:extLst>
                </p:cNvPr>
                <p:cNvGrpSpPr/>
                <p:nvPr/>
              </p:nvGrpSpPr>
              <p:grpSpPr>
                <a:xfrm>
                  <a:off x="7223117" y="2040184"/>
                  <a:ext cx="75656" cy="77569"/>
                  <a:chOff x="7223117" y="2040184"/>
                  <a:chExt cx="75656" cy="77569"/>
                </a:xfrm>
                <a:noFill/>
              </p:grpSpPr>
              <p:sp>
                <p:nvSpPr>
                  <p:cNvPr id="7137" name="Vrije vorm: vorm 7136">
                    <a:extLst>
                      <a:ext uri="{FF2B5EF4-FFF2-40B4-BE49-F238E27FC236}">
                        <a16:creationId xmlns:a16="http://schemas.microsoft.com/office/drawing/2014/main" id="{6E8C797F-AE35-482A-A884-1E507F26B998}"/>
                      </a:ext>
                    </a:extLst>
                  </p:cNvPr>
                  <p:cNvSpPr/>
                  <p:nvPr/>
                </p:nvSpPr>
                <p:spPr>
                  <a:xfrm>
                    <a:off x="7223117" y="2040184"/>
                    <a:ext cx="75656" cy="77569"/>
                  </a:xfrm>
                  <a:custGeom>
                    <a:avLst/>
                    <a:gdLst>
                      <a:gd name="connsiteX0" fmla="*/ 50118 w 75656"/>
                      <a:gd name="connsiteY0" fmla="*/ 0 h 77569"/>
                      <a:gd name="connsiteX1" fmla="*/ 75656 w 75656"/>
                      <a:gd name="connsiteY1" fmla="*/ 24760 h 77569"/>
                      <a:gd name="connsiteX2" fmla="*/ 25059 w 75656"/>
                      <a:gd name="connsiteY2" fmla="*/ 77570 h 77569"/>
                      <a:gd name="connsiteX3" fmla="*/ 0 w 75656"/>
                      <a:gd name="connsiteY3" fmla="*/ 52451 h 77569"/>
                    </a:gdLst>
                    <a:ahLst/>
                    <a:cxnLst>
                      <a:cxn ang="0">
                        <a:pos x="connsiteX0" y="connsiteY0"/>
                      </a:cxn>
                      <a:cxn ang="0">
                        <a:pos x="connsiteX1" y="connsiteY1"/>
                      </a:cxn>
                      <a:cxn ang="0">
                        <a:pos x="connsiteX2" y="connsiteY2"/>
                      </a:cxn>
                      <a:cxn ang="0">
                        <a:pos x="connsiteX3" y="connsiteY3"/>
                      </a:cxn>
                    </a:cxnLst>
                    <a:rect l="l" t="t" r="r" b="b"/>
                    <a:pathLst>
                      <a:path w="75656" h="77569">
                        <a:moveTo>
                          <a:pt x="50118" y="0"/>
                        </a:moveTo>
                        <a:lnTo>
                          <a:pt x="75656" y="24760"/>
                        </a:lnTo>
                        <a:lnTo>
                          <a:pt x="25059" y="77570"/>
                        </a:lnTo>
                        <a:lnTo>
                          <a:pt x="0" y="52451"/>
                        </a:lnTo>
                        <a:close/>
                      </a:path>
                    </a:pathLst>
                  </a:custGeom>
                  <a:noFill/>
                  <a:ln w="6350" cap="flat">
                    <a:solidFill>
                      <a:schemeClr val="bg1">
                        <a:alpha val="40000"/>
                      </a:schemeClr>
                    </a:solidFill>
                    <a:prstDash val="solid"/>
                    <a:miter/>
                  </a:ln>
                </p:spPr>
                <p:txBody>
                  <a:bodyPr rtlCol="0" anchor="ctr"/>
                  <a:lstStyle/>
                  <a:p>
                    <a:endParaRPr lang="en-GB"/>
                  </a:p>
                </p:txBody>
              </p:sp>
              <p:sp>
                <p:nvSpPr>
                  <p:cNvPr id="7138" name="Vrije vorm: vorm 7137">
                    <a:extLst>
                      <a:ext uri="{FF2B5EF4-FFF2-40B4-BE49-F238E27FC236}">
                        <a16:creationId xmlns:a16="http://schemas.microsoft.com/office/drawing/2014/main" id="{A08425E7-49D3-4CC7-8851-2F2EF32770C0}"/>
                      </a:ext>
                    </a:extLst>
                  </p:cNvPr>
                  <p:cNvSpPr/>
                  <p:nvPr/>
                </p:nvSpPr>
                <p:spPr>
                  <a:xfrm>
                    <a:off x="7249970" y="2043354"/>
                    <a:ext cx="34628" cy="35465"/>
                  </a:xfrm>
                  <a:custGeom>
                    <a:avLst/>
                    <a:gdLst>
                      <a:gd name="connsiteX0" fmla="*/ 34629 w 34628"/>
                      <a:gd name="connsiteY0" fmla="*/ 10526 h 35465"/>
                      <a:gd name="connsiteX1" fmla="*/ 23803 w 34628"/>
                      <a:gd name="connsiteY1" fmla="*/ 0 h 35465"/>
                      <a:gd name="connsiteX2" fmla="*/ 0 w 34628"/>
                      <a:gd name="connsiteY2" fmla="*/ 24880 h 35465"/>
                      <a:gd name="connsiteX3" fmla="*/ 10825 w 34628"/>
                      <a:gd name="connsiteY3" fmla="*/ 35466 h 35465"/>
                    </a:gdLst>
                    <a:ahLst/>
                    <a:cxnLst>
                      <a:cxn ang="0">
                        <a:pos x="connsiteX0" y="connsiteY0"/>
                      </a:cxn>
                      <a:cxn ang="0">
                        <a:pos x="connsiteX1" y="connsiteY1"/>
                      </a:cxn>
                      <a:cxn ang="0">
                        <a:pos x="connsiteX2" y="connsiteY2"/>
                      </a:cxn>
                      <a:cxn ang="0">
                        <a:pos x="connsiteX3" y="connsiteY3"/>
                      </a:cxn>
                    </a:cxnLst>
                    <a:rect l="l" t="t" r="r" b="b"/>
                    <a:pathLst>
                      <a:path w="34628" h="35465">
                        <a:moveTo>
                          <a:pt x="34629" y="10526"/>
                        </a:moveTo>
                        <a:lnTo>
                          <a:pt x="23803" y="0"/>
                        </a:lnTo>
                        <a:lnTo>
                          <a:pt x="0" y="24880"/>
                        </a:lnTo>
                        <a:lnTo>
                          <a:pt x="10825" y="35466"/>
                        </a:lnTo>
                        <a:close/>
                      </a:path>
                    </a:pathLst>
                  </a:custGeom>
                  <a:noFill/>
                  <a:ln w="6350" cap="flat">
                    <a:solidFill>
                      <a:schemeClr val="bg1">
                        <a:alpha val="40000"/>
                      </a:schemeClr>
                    </a:solidFill>
                    <a:prstDash val="solid"/>
                    <a:miter/>
                  </a:ln>
                </p:spPr>
                <p:txBody>
                  <a:bodyPr rtlCol="0" anchor="ctr"/>
                  <a:lstStyle/>
                  <a:p>
                    <a:endParaRPr lang="en-GB"/>
                  </a:p>
                </p:txBody>
              </p:sp>
              <p:sp>
                <p:nvSpPr>
                  <p:cNvPr id="7139" name="Vrije vorm: vorm 7138">
                    <a:extLst>
                      <a:ext uri="{FF2B5EF4-FFF2-40B4-BE49-F238E27FC236}">
                        <a16:creationId xmlns:a16="http://schemas.microsoft.com/office/drawing/2014/main" id="{63EC2D5A-EA16-415F-BD30-EED69F1C7C6E}"/>
                      </a:ext>
                    </a:extLst>
                  </p:cNvPr>
                  <p:cNvSpPr/>
                  <p:nvPr/>
                </p:nvSpPr>
                <p:spPr>
                  <a:xfrm>
                    <a:off x="7262470" y="2055554"/>
                    <a:ext cx="34269" cy="35106"/>
                  </a:xfrm>
                  <a:custGeom>
                    <a:avLst/>
                    <a:gdLst>
                      <a:gd name="connsiteX0" fmla="*/ 23863 w 34269"/>
                      <a:gd name="connsiteY0" fmla="*/ 0 h 35106"/>
                      <a:gd name="connsiteX1" fmla="*/ 0 w 34269"/>
                      <a:gd name="connsiteY1" fmla="*/ 24940 h 35106"/>
                      <a:gd name="connsiteX2" fmla="*/ 10347 w 34269"/>
                      <a:gd name="connsiteY2" fmla="*/ 35107 h 35106"/>
                      <a:gd name="connsiteX3" fmla="*/ 34269 w 34269"/>
                      <a:gd name="connsiteY3" fmla="*/ 10107 h 35106"/>
                    </a:gdLst>
                    <a:ahLst/>
                    <a:cxnLst>
                      <a:cxn ang="0">
                        <a:pos x="connsiteX0" y="connsiteY0"/>
                      </a:cxn>
                      <a:cxn ang="0">
                        <a:pos x="connsiteX1" y="connsiteY1"/>
                      </a:cxn>
                      <a:cxn ang="0">
                        <a:pos x="connsiteX2" y="connsiteY2"/>
                      </a:cxn>
                      <a:cxn ang="0">
                        <a:pos x="connsiteX3" y="connsiteY3"/>
                      </a:cxn>
                    </a:cxnLst>
                    <a:rect l="l" t="t" r="r" b="b"/>
                    <a:pathLst>
                      <a:path w="34269" h="35106">
                        <a:moveTo>
                          <a:pt x="23863" y="0"/>
                        </a:moveTo>
                        <a:lnTo>
                          <a:pt x="0" y="24940"/>
                        </a:lnTo>
                        <a:lnTo>
                          <a:pt x="10347" y="35107"/>
                        </a:lnTo>
                        <a:lnTo>
                          <a:pt x="34269" y="10107"/>
                        </a:lnTo>
                        <a:close/>
                      </a:path>
                    </a:pathLst>
                  </a:custGeom>
                  <a:noFill/>
                  <a:ln w="6350" cap="flat">
                    <a:solidFill>
                      <a:schemeClr val="bg1">
                        <a:alpha val="40000"/>
                      </a:schemeClr>
                    </a:solidFill>
                    <a:prstDash val="solid"/>
                    <a:miter/>
                  </a:ln>
                </p:spPr>
                <p:txBody>
                  <a:bodyPr rtlCol="0" anchor="ctr"/>
                  <a:lstStyle/>
                  <a:p>
                    <a:endParaRPr lang="en-GB"/>
                  </a:p>
                </p:txBody>
              </p:sp>
              <p:sp>
                <p:nvSpPr>
                  <p:cNvPr id="7140" name="Vrije vorm: vorm 7139">
                    <a:extLst>
                      <a:ext uri="{FF2B5EF4-FFF2-40B4-BE49-F238E27FC236}">
                        <a16:creationId xmlns:a16="http://schemas.microsoft.com/office/drawing/2014/main" id="{8BA39BE3-5D44-4380-9578-993347B04EA1}"/>
                      </a:ext>
                    </a:extLst>
                  </p:cNvPr>
                  <p:cNvSpPr/>
                  <p:nvPr/>
                </p:nvSpPr>
                <p:spPr>
                  <a:xfrm>
                    <a:off x="7226227" y="2069848"/>
                    <a:ext cx="32953" cy="33910"/>
                  </a:xfrm>
                  <a:custGeom>
                    <a:avLst/>
                    <a:gdLst>
                      <a:gd name="connsiteX0" fmla="*/ 32954 w 32953"/>
                      <a:gd name="connsiteY0" fmla="*/ 10646 h 33910"/>
                      <a:gd name="connsiteX1" fmla="*/ 22188 w 32953"/>
                      <a:gd name="connsiteY1" fmla="*/ 0 h 33910"/>
                      <a:gd name="connsiteX2" fmla="*/ 0 w 32953"/>
                      <a:gd name="connsiteY2" fmla="*/ 23205 h 33910"/>
                      <a:gd name="connsiteX3" fmla="*/ 10705 w 32953"/>
                      <a:gd name="connsiteY3" fmla="*/ 33911 h 33910"/>
                    </a:gdLst>
                    <a:ahLst/>
                    <a:cxnLst>
                      <a:cxn ang="0">
                        <a:pos x="connsiteX0" y="connsiteY0"/>
                      </a:cxn>
                      <a:cxn ang="0">
                        <a:pos x="connsiteX1" y="connsiteY1"/>
                      </a:cxn>
                      <a:cxn ang="0">
                        <a:pos x="connsiteX2" y="connsiteY2"/>
                      </a:cxn>
                      <a:cxn ang="0">
                        <a:pos x="connsiteX3" y="connsiteY3"/>
                      </a:cxn>
                    </a:cxnLst>
                    <a:rect l="l" t="t" r="r" b="b"/>
                    <a:pathLst>
                      <a:path w="32953" h="33910">
                        <a:moveTo>
                          <a:pt x="32954" y="10646"/>
                        </a:moveTo>
                        <a:lnTo>
                          <a:pt x="22188" y="0"/>
                        </a:lnTo>
                        <a:lnTo>
                          <a:pt x="0" y="23205"/>
                        </a:lnTo>
                        <a:lnTo>
                          <a:pt x="10705" y="33911"/>
                        </a:lnTo>
                        <a:close/>
                      </a:path>
                    </a:pathLst>
                  </a:custGeom>
                  <a:noFill/>
                  <a:ln w="6350" cap="flat">
                    <a:solidFill>
                      <a:schemeClr val="bg1">
                        <a:alpha val="40000"/>
                      </a:schemeClr>
                    </a:solidFill>
                    <a:prstDash val="solid"/>
                    <a:miter/>
                  </a:ln>
                </p:spPr>
                <p:txBody>
                  <a:bodyPr rtlCol="0" anchor="ctr"/>
                  <a:lstStyle/>
                  <a:p>
                    <a:endParaRPr lang="en-GB"/>
                  </a:p>
                </p:txBody>
              </p:sp>
              <p:sp>
                <p:nvSpPr>
                  <p:cNvPr id="7141" name="Vrije vorm: vorm 7140">
                    <a:extLst>
                      <a:ext uri="{FF2B5EF4-FFF2-40B4-BE49-F238E27FC236}">
                        <a16:creationId xmlns:a16="http://schemas.microsoft.com/office/drawing/2014/main" id="{07745D32-3669-4DE2-A306-55C259EF3E23}"/>
                      </a:ext>
                    </a:extLst>
                  </p:cNvPr>
                  <p:cNvSpPr/>
                  <p:nvPr/>
                </p:nvSpPr>
                <p:spPr>
                  <a:xfrm>
                    <a:off x="7238607" y="2082168"/>
                    <a:ext cx="32654" cy="33611"/>
                  </a:xfrm>
                  <a:custGeom>
                    <a:avLst/>
                    <a:gdLst>
                      <a:gd name="connsiteX0" fmla="*/ 22308 w 32654"/>
                      <a:gd name="connsiteY0" fmla="*/ 0 h 33611"/>
                      <a:gd name="connsiteX1" fmla="*/ 0 w 32654"/>
                      <a:gd name="connsiteY1" fmla="*/ 23265 h 33611"/>
                      <a:gd name="connsiteX2" fmla="*/ 10227 w 32654"/>
                      <a:gd name="connsiteY2" fmla="*/ 33612 h 33611"/>
                      <a:gd name="connsiteX3" fmla="*/ 32655 w 32654"/>
                      <a:gd name="connsiteY3" fmla="*/ 10167 h 33611"/>
                    </a:gdLst>
                    <a:ahLst/>
                    <a:cxnLst>
                      <a:cxn ang="0">
                        <a:pos x="connsiteX0" y="connsiteY0"/>
                      </a:cxn>
                      <a:cxn ang="0">
                        <a:pos x="connsiteX1" y="connsiteY1"/>
                      </a:cxn>
                      <a:cxn ang="0">
                        <a:pos x="connsiteX2" y="connsiteY2"/>
                      </a:cxn>
                      <a:cxn ang="0">
                        <a:pos x="connsiteX3" y="connsiteY3"/>
                      </a:cxn>
                    </a:cxnLst>
                    <a:rect l="l" t="t" r="r" b="b"/>
                    <a:pathLst>
                      <a:path w="32654" h="33611">
                        <a:moveTo>
                          <a:pt x="22308" y="0"/>
                        </a:moveTo>
                        <a:lnTo>
                          <a:pt x="0" y="23265"/>
                        </a:lnTo>
                        <a:lnTo>
                          <a:pt x="10227" y="33612"/>
                        </a:lnTo>
                        <a:lnTo>
                          <a:pt x="32655" y="10167"/>
                        </a:lnTo>
                        <a:close/>
                      </a:path>
                    </a:pathLst>
                  </a:custGeom>
                  <a:noFill/>
                  <a:ln w="6350" cap="flat">
                    <a:solidFill>
                      <a:schemeClr val="bg1">
                        <a:alpha val="40000"/>
                      </a:schemeClr>
                    </a:solidFill>
                    <a:prstDash val="solid"/>
                    <a:miter/>
                  </a:ln>
                </p:spPr>
                <p:txBody>
                  <a:bodyPr rtlCol="0" anchor="ctr"/>
                  <a:lstStyle/>
                  <a:p>
                    <a:endParaRPr lang="en-GB"/>
                  </a:p>
                </p:txBody>
              </p:sp>
            </p:grpSp>
            <p:grpSp>
              <p:nvGrpSpPr>
                <p:cNvPr id="7125" name="Graphic 3">
                  <a:extLst>
                    <a:ext uri="{FF2B5EF4-FFF2-40B4-BE49-F238E27FC236}">
                      <a16:creationId xmlns:a16="http://schemas.microsoft.com/office/drawing/2014/main" id="{EA6976F4-5462-4D1C-8D7A-669E67261A79}"/>
                    </a:ext>
                  </a:extLst>
                </p:cNvPr>
                <p:cNvGrpSpPr/>
                <p:nvPr/>
              </p:nvGrpSpPr>
              <p:grpSpPr>
                <a:xfrm>
                  <a:off x="7270903" y="2087133"/>
                  <a:ext cx="77569" cy="79543"/>
                  <a:chOff x="7270903" y="2087133"/>
                  <a:chExt cx="77569" cy="79543"/>
                </a:xfrm>
                <a:noFill/>
              </p:grpSpPr>
              <p:sp>
                <p:nvSpPr>
                  <p:cNvPr id="7132" name="Vrije vorm: vorm 7131">
                    <a:extLst>
                      <a:ext uri="{FF2B5EF4-FFF2-40B4-BE49-F238E27FC236}">
                        <a16:creationId xmlns:a16="http://schemas.microsoft.com/office/drawing/2014/main" id="{EC33EEFC-20E3-4B10-BF03-E751C5314C08}"/>
                      </a:ext>
                    </a:extLst>
                  </p:cNvPr>
                  <p:cNvSpPr/>
                  <p:nvPr/>
                </p:nvSpPr>
                <p:spPr>
                  <a:xfrm>
                    <a:off x="7270903" y="2087133"/>
                    <a:ext cx="77569" cy="79543"/>
                  </a:xfrm>
                  <a:custGeom>
                    <a:avLst/>
                    <a:gdLst>
                      <a:gd name="connsiteX0" fmla="*/ 51374 w 77569"/>
                      <a:gd name="connsiteY0" fmla="*/ 0 h 79543"/>
                      <a:gd name="connsiteX1" fmla="*/ 77570 w 77569"/>
                      <a:gd name="connsiteY1" fmla="*/ 25298 h 79543"/>
                      <a:gd name="connsiteX2" fmla="*/ 25717 w 77569"/>
                      <a:gd name="connsiteY2" fmla="*/ 79544 h 79543"/>
                      <a:gd name="connsiteX3" fmla="*/ 0 w 77569"/>
                      <a:gd name="connsiteY3" fmla="*/ 53707 h 79543"/>
                    </a:gdLst>
                    <a:ahLst/>
                    <a:cxnLst>
                      <a:cxn ang="0">
                        <a:pos x="connsiteX0" y="connsiteY0"/>
                      </a:cxn>
                      <a:cxn ang="0">
                        <a:pos x="connsiteX1" y="connsiteY1"/>
                      </a:cxn>
                      <a:cxn ang="0">
                        <a:pos x="connsiteX2" y="connsiteY2"/>
                      </a:cxn>
                      <a:cxn ang="0">
                        <a:pos x="connsiteX3" y="connsiteY3"/>
                      </a:cxn>
                    </a:cxnLst>
                    <a:rect l="l" t="t" r="r" b="b"/>
                    <a:pathLst>
                      <a:path w="77569" h="79543">
                        <a:moveTo>
                          <a:pt x="51374" y="0"/>
                        </a:moveTo>
                        <a:lnTo>
                          <a:pt x="77570" y="25298"/>
                        </a:lnTo>
                        <a:lnTo>
                          <a:pt x="25717" y="79544"/>
                        </a:lnTo>
                        <a:lnTo>
                          <a:pt x="0" y="53707"/>
                        </a:lnTo>
                        <a:close/>
                      </a:path>
                    </a:pathLst>
                  </a:custGeom>
                  <a:noFill/>
                  <a:ln w="6350" cap="flat">
                    <a:solidFill>
                      <a:schemeClr val="bg1">
                        <a:alpha val="40000"/>
                      </a:schemeClr>
                    </a:solidFill>
                    <a:prstDash val="solid"/>
                    <a:miter/>
                  </a:ln>
                </p:spPr>
                <p:txBody>
                  <a:bodyPr rtlCol="0" anchor="ctr"/>
                  <a:lstStyle/>
                  <a:p>
                    <a:endParaRPr lang="en-GB"/>
                  </a:p>
                </p:txBody>
              </p:sp>
              <p:sp>
                <p:nvSpPr>
                  <p:cNvPr id="7133" name="Vrije vorm: vorm 7132">
                    <a:extLst>
                      <a:ext uri="{FF2B5EF4-FFF2-40B4-BE49-F238E27FC236}">
                        <a16:creationId xmlns:a16="http://schemas.microsoft.com/office/drawing/2014/main" id="{8AE2E4EC-E668-4184-ACFB-158CDAB053D8}"/>
                      </a:ext>
                    </a:extLst>
                  </p:cNvPr>
                  <p:cNvSpPr/>
                  <p:nvPr/>
                </p:nvSpPr>
                <p:spPr>
                  <a:xfrm>
                    <a:off x="7298474" y="2090362"/>
                    <a:ext cx="35466" cy="36362"/>
                  </a:xfrm>
                  <a:custGeom>
                    <a:avLst/>
                    <a:gdLst>
                      <a:gd name="connsiteX0" fmla="*/ 35466 w 35466"/>
                      <a:gd name="connsiteY0" fmla="*/ 10825 h 36362"/>
                      <a:gd name="connsiteX1" fmla="*/ 24341 w 35466"/>
                      <a:gd name="connsiteY1" fmla="*/ 0 h 36362"/>
                      <a:gd name="connsiteX2" fmla="*/ 0 w 35466"/>
                      <a:gd name="connsiteY2" fmla="*/ 25478 h 36362"/>
                      <a:gd name="connsiteX3" fmla="*/ 11064 w 35466"/>
                      <a:gd name="connsiteY3" fmla="*/ 36363 h 36362"/>
                    </a:gdLst>
                    <a:ahLst/>
                    <a:cxnLst>
                      <a:cxn ang="0">
                        <a:pos x="connsiteX0" y="connsiteY0"/>
                      </a:cxn>
                      <a:cxn ang="0">
                        <a:pos x="connsiteX1" y="connsiteY1"/>
                      </a:cxn>
                      <a:cxn ang="0">
                        <a:pos x="connsiteX2" y="connsiteY2"/>
                      </a:cxn>
                      <a:cxn ang="0">
                        <a:pos x="connsiteX3" y="connsiteY3"/>
                      </a:cxn>
                    </a:cxnLst>
                    <a:rect l="l" t="t" r="r" b="b"/>
                    <a:pathLst>
                      <a:path w="35466" h="36362">
                        <a:moveTo>
                          <a:pt x="35466" y="10825"/>
                        </a:moveTo>
                        <a:lnTo>
                          <a:pt x="24341" y="0"/>
                        </a:lnTo>
                        <a:lnTo>
                          <a:pt x="0" y="25478"/>
                        </a:lnTo>
                        <a:lnTo>
                          <a:pt x="11064" y="36363"/>
                        </a:lnTo>
                        <a:close/>
                      </a:path>
                    </a:pathLst>
                  </a:custGeom>
                  <a:noFill/>
                  <a:ln w="6350" cap="flat">
                    <a:solidFill>
                      <a:schemeClr val="bg1">
                        <a:alpha val="40000"/>
                      </a:schemeClr>
                    </a:solidFill>
                    <a:prstDash val="solid"/>
                    <a:miter/>
                  </a:ln>
                </p:spPr>
                <p:txBody>
                  <a:bodyPr rtlCol="0" anchor="ctr"/>
                  <a:lstStyle/>
                  <a:p>
                    <a:endParaRPr lang="en-GB"/>
                  </a:p>
                </p:txBody>
              </p:sp>
              <p:sp>
                <p:nvSpPr>
                  <p:cNvPr id="7134" name="Vrije vorm: vorm 7133">
                    <a:extLst>
                      <a:ext uri="{FF2B5EF4-FFF2-40B4-BE49-F238E27FC236}">
                        <a16:creationId xmlns:a16="http://schemas.microsoft.com/office/drawing/2014/main" id="{43CA3160-8321-4D05-8F44-B05B4AE91217}"/>
                      </a:ext>
                    </a:extLst>
                  </p:cNvPr>
                  <p:cNvSpPr/>
                  <p:nvPr/>
                </p:nvSpPr>
                <p:spPr>
                  <a:xfrm>
                    <a:off x="7311273" y="2102862"/>
                    <a:ext cx="35166" cy="36003"/>
                  </a:xfrm>
                  <a:custGeom>
                    <a:avLst/>
                    <a:gdLst>
                      <a:gd name="connsiteX0" fmla="*/ 24461 w 35166"/>
                      <a:gd name="connsiteY0" fmla="*/ 0 h 36003"/>
                      <a:gd name="connsiteX1" fmla="*/ 0 w 35166"/>
                      <a:gd name="connsiteY1" fmla="*/ 25597 h 36003"/>
                      <a:gd name="connsiteX2" fmla="*/ 10586 w 35166"/>
                      <a:gd name="connsiteY2" fmla="*/ 36004 h 36003"/>
                      <a:gd name="connsiteX3" fmla="*/ 35167 w 35166"/>
                      <a:gd name="connsiteY3" fmla="*/ 10347 h 36003"/>
                    </a:gdLst>
                    <a:ahLst/>
                    <a:cxnLst>
                      <a:cxn ang="0">
                        <a:pos x="connsiteX0" y="connsiteY0"/>
                      </a:cxn>
                      <a:cxn ang="0">
                        <a:pos x="connsiteX1" y="connsiteY1"/>
                      </a:cxn>
                      <a:cxn ang="0">
                        <a:pos x="connsiteX2" y="connsiteY2"/>
                      </a:cxn>
                      <a:cxn ang="0">
                        <a:pos x="connsiteX3" y="connsiteY3"/>
                      </a:cxn>
                    </a:cxnLst>
                    <a:rect l="l" t="t" r="r" b="b"/>
                    <a:pathLst>
                      <a:path w="35166" h="36003">
                        <a:moveTo>
                          <a:pt x="24461" y="0"/>
                        </a:moveTo>
                        <a:lnTo>
                          <a:pt x="0" y="25597"/>
                        </a:lnTo>
                        <a:lnTo>
                          <a:pt x="10586" y="36004"/>
                        </a:lnTo>
                        <a:lnTo>
                          <a:pt x="35167" y="10347"/>
                        </a:lnTo>
                        <a:close/>
                      </a:path>
                    </a:pathLst>
                  </a:custGeom>
                  <a:noFill/>
                  <a:ln w="6350" cap="flat">
                    <a:solidFill>
                      <a:schemeClr val="bg1">
                        <a:alpha val="40000"/>
                      </a:schemeClr>
                    </a:solidFill>
                    <a:prstDash val="solid"/>
                    <a:miter/>
                  </a:ln>
                </p:spPr>
                <p:txBody>
                  <a:bodyPr rtlCol="0" anchor="ctr"/>
                  <a:lstStyle/>
                  <a:p>
                    <a:endParaRPr lang="en-GB"/>
                  </a:p>
                </p:txBody>
              </p:sp>
              <p:sp>
                <p:nvSpPr>
                  <p:cNvPr id="7135" name="Vrije vorm: vorm 7134">
                    <a:extLst>
                      <a:ext uri="{FF2B5EF4-FFF2-40B4-BE49-F238E27FC236}">
                        <a16:creationId xmlns:a16="http://schemas.microsoft.com/office/drawing/2014/main" id="{18408773-A6BB-4D50-A0B9-751B60E753F8}"/>
                      </a:ext>
                    </a:extLst>
                  </p:cNvPr>
                  <p:cNvSpPr/>
                  <p:nvPr/>
                </p:nvSpPr>
                <p:spPr>
                  <a:xfrm>
                    <a:off x="7274133" y="2117515"/>
                    <a:ext cx="33790" cy="34807"/>
                  </a:xfrm>
                  <a:custGeom>
                    <a:avLst/>
                    <a:gdLst>
                      <a:gd name="connsiteX0" fmla="*/ 33790 w 33790"/>
                      <a:gd name="connsiteY0" fmla="*/ 10885 h 34807"/>
                      <a:gd name="connsiteX1" fmla="*/ 22726 w 33790"/>
                      <a:gd name="connsiteY1" fmla="*/ 0 h 34807"/>
                      <a:gd name="connsiteX2" fmla="*/ 0 w 33790"/>
                      <a:gd name="connsiteY2" fmla="*/ 23803 h 34807"/>
                      <a:gd name="connsiteX3" fmla="*/ 10944 w 33790"/>
                      <a:gd name="connsiteY3" fmla="*/ 34808 h 34807"/>
                    </a:gdLst>
                    <a:ahLst/>
                    <a:cxnLst>
                      <a:cxn ang="0">
                        <a:pos x="connsiteX0" y="connsiteY0"/>
                      </a:cxn>
                      <a:cxn ang="0">
                        <a:pos x="connsiteX1" y="connsiteY1"/>
                      </a:cxn>
                      <a:cxn ang="0">
                        <a:pos x="connsiteX2" y="connsiteY2"/>
                      </a:cxn>
                      <a:cxn ang="0">
                        <a:pos x="connsiteX3" y="connsiteY3"/>
                      </a:cxn>
                    </a:cxnLst>
                    <a:rect l="l" t="t" r="r" b="b"/>
                    <a:pathLst>
                      <a:path w="33790" h="34807">
                        <a:moveTo>
                          <a:pt x="33790" y="10885"/>
                        </a:moveTo>
                        <a:lnTo>
                          <a:pt x="22726" y="0"/>
                        </a:lnTo>
                        <a:lnTo>
                          <a:pt x="0" y="23803"/>
                        </a:lnTo>
                        <a:lnTo>
                          <a:pt x="10944" y="34808"/>
                        </a:lnTo>
                        <a:close/>
                      </a:path>
                    </a:pathLst>
                  </a:custGeom>
                  <a:noFill/>
                  <a:ln w="6350" cap="flat">
                    <a:solidFill>
                      <a:schemeClr val="bg1">
                        <a:alpha val="40000"/>
                      </a:schemeClr>
                    </a:solidFill>
                    <a:prstDash val="solid"/>
                    <a:miter/>
                  </a:ln>
                </p:spPr>
                <p:txBody>
                  <a:bodyPr rtlCol="0" anchor="ctr"/>
                  <a:lstStyle/>
                  <a:p>
                    <a:endParaRPr lang="en-GB"/>
                  </a:p>
                </p:txBody>
              </p:sp>
              <p:sp>
                <p:nvSpPr>
                  <p:cNvPr id="7136" name="Vrije vorm: vorm 7135">
                    <a:extLst>
                      <a:ext uri="{FF2B5EF4-FFF2-40B4-BE49-F238E27FC236}">
                        <a16:creationId xmlns:a16="http://schemas.microsoft.com/office/drawing/2014/main" id="{20BD3CA1-095C-47DD-BA3C-6DF740E05885}"/>
                      </a:ext>
                    </a:extLst>
                  </p:cNvPr>
                  <p:cNvSpPr/>
                  <p:nvPr/>
                </p:nvSpPr>
                <p:spPr>
                  <a:xfrm>
                    <a:off x="7286812" y="2130134"/>
                    <a:ext cx="33432" cy="34448"/>
                  </a:xfrm>
                  <a:custGeom>
                    <a:avLst/>
                    <a:gdLst>
                      <a:gd name="connsiteX0" fmla="*/ 22846 w 33432"/>
                      <a:gd name="connsiteY0" fmla="*/ 0 h 34448"/>
                      <a:gd name="connsiteX1" fmla="*/ 0 w 33432"/>
                      <a:gd name="connsiteY1" fmla="*/ 23923 h 34448"/>
                      <a:gd name="connsiteX2" fmla="*/ 10466 w 33432"/>
                      <a:gd name="connsiteY2" fmla="*/ 34449 h 34448"/>
                      <a:gd name="connsiteX3" fmla="*/ 33432 w 33432"/>
                      <a:gd name="connsiteY3" fmla="*/ 10466 h 34448"/>
                    </a:gdLst>
                    <a:ahLst/>
                    <a:cxnLst>
                      <a:cxn ang="0">
                        <a:pos x="connsiteX0" y="connsiteY0"/>
                      </a:cxn>
                      <a:cxn ang="0">
                        <a:pos x="connsiteX1" y="connsiteY1"/>
                      </a:cxn>
                      <a:cxn ang="0">
                        <a:pos x="connsiteX2" y="connsiteY2"/>
                      </a:cxn>
                      <a:cxn ang="0">
                        <a:pos x="connsiteX3" y="connsiteY3"/>
                      </a:cxn>
                    </a:cxnLst>
                    <a:rect l="l" t="t" r="r" b="b"/>
                    <a:pathLst>
                      <a:path w="33432" h="34448">
                        <a:moveTo>
                          <a:pt x="22846" y="0"/>
                        </a:moveTo>
                        <a:lnTo>
                          <a:pt x="0" y="23923"/>
                        </a:lnTo>
                        <a:lnTo>
                          <a:pt x="10466" y="34449"/>
                        </a:lnTo>
                        <a:lnTo>
                          <a:pt x="33432" y="10466"/>
                        </a:lnTo>
                        <a:close/>
                      </a:path>
                    </a:pathLst>
                  </a:custGeom>
                  <a:noFill/>
                  <a:ln w="6350" cap="flat">
                    <a:solidFill>
                      <a:schemeClr val="bg1">
                        <a:alpha val="40000"/>
                      </a:schemeClr>
                    </a:solidFill>
                    <a:prstDash val="solid"/>
                    <a:miter/>
                  </a:ln>
                </p:spPr>
                <p:txBody>
                  <a:bodyPr rtlCol="0" anchor="ctr"/>
                  <a:lstStyle/>
                  <a:p>
                    <a:endParaRPr lang="en-GB"/>
                  </a:p>
                </p:txBody>
              </p:sp>
            </p:grpSp>
            <p:grpSp>
              <p:nvGrpSpPr>
                <p:cNvPr id="7126" name="Graphic 3">
                  <a:extLst>
                    <a:ext uri="{FF2B5EF4-FFF2-40B4-BE49-F238E27FC236}">
                      <a16:creationId xmlns:a16="http://schemas.microsoft.com/office/drawing/2014/main" id="{73CE37F5-ECA0-4126-9F91-5AAD2EFBB005}"/>
                    </a:ext>
                  </a:extLst>
                </p:cNvPr>
                <p:cNvGrpSpPr/>
                <p:nvPr/>
              </p:nvGrpSpPr>
              <p:grpSpPr>
                <a:xfrm>
                  <a:off x="7409835" y="2281745"/>
                  <a:ext cx="165367" cy="164469"/>
                  <a:chOff x="7409835" y="2281745"/>
                  <a:chExt cx="165367" cy="164469"/>
                </a:xfrm>
                <a:noFill/>
              </p:grpSpPr>
              <p:sp>
                <p:nvSpPr>
                  <p:cNvPr id="7130" name="Vrije vorm: vorm 7129">
                    <a:extLst>
                      <a:ext uri="{FF2B5EF4-FFF2-40B4-BE49-F238E27FC236}">
                        <a16:creationId xmlns:a16="http://schemas.microsoft.com/office/drawing/2014/main" id="{41AA8B24-EBF2-4033-90E7-FCFF31D98B8D}"/>
                      </a:ext>
                    </a:extLst>
                  </p:cNvPr>
                  <p:cNvSpPr/>
                  <p:nvPr/>
                </p:nvSpPr>
                <p:spPr>
                  <a:xfrm>
                    <a:off x="7409835" y="2281745"/>
                    <a:ext cx="165367" cy="164469"/>
                  </a:xfrm>
                  <a:custGeom>
                    <a:avLst/>
                    <a:gdLst>
                      <a:gd name="connsiteX0" fmla="*/ 0 w 165367"/>
                      <a:gd name="connsiteY0" fmla="*/ 120272 h 164469"/>
                      <a:gd name="connsiteX1" fmla="*/ 51972 w 165367"/>
                      <a:gd name="connsiteY1" fmla="*/ 164470 h 164469"/>
                      <a:gd name="connsiteX2" fmla="*/ 165367 w 165367"/>
                      <a:gd name="connsiteY2" fmla="*/ 45992 h 164469"/>
                      <a:gd name="connsiteX3" fmla="*/ 116624 w 165367"/>
                      <a:gd name="connsiteY3" fmla="*/ 0 h 164469"/>
                    </a:gdLst>
                    <a:ahLst/>
                    <a:cxnLst>
                      <a:cxn ang="0">
                        <a:pos x="connsiteX0" y="connsiteY0"/>
                      </a:cxn>
                      <a:cxn ang="0">
                        <a:pos x="connsiteX1" y="connsiteY1"/>
                      </a:cxn>
                      <a:cxn ang="0">
                        <a:pos x="connsiteX2" y="connsiteY2"/>
                      </a:cxn>
                      <a:cxn ang="0">
                        <a:pos x="connsiteX3" y="connsiteY3"/>
                      </a:cxn>
                    </a:cxnLst>
                    <a:rect l="l" t="t" r="r" b="b"/>
                    <a:pathLst>
                      <a:path w="165367" h="164469">
                        <a:moveTo>
                          <a:pt x="0" y="120272"/>
                        </a:moveTo>
                        <a:lnTo>
                          <a:pt x="51972" y="164470"/>
                        </a:lnTo>
                        <a:lnTo>
                          <a:pt x="165367" y="45992"/>
                        </a:lnTo>
                        <a:lnTo>
                          <a:pt x="116624" y="0"/>
                        </a:lnTo>
                        <a:close/>
                      </a:path>
                    </a:pathLst>
                  </a:custGeom>
                  <a:noFill/>
                  <a:ln w="6350" cap="flat">
                    <a:solidFill>
                      <a:schemeClr val="bg1">
                        <a:alpha val="40000"/>
                      </a:schemeClr>
                    </a:solidFill>
                    <a:prstDash val="solid"/>
                    <a:miter/>
                  </a:ln>
                </p:spPr>
                <p:txBody>
                  <a:bodyPr rtlCol="0" anchor="ctr"/>
                  <a:lstStyle/>
                  <a:p>
                    <a:endParaRPr lang="en-GB"/>
                  </a:p>
                </p:txBody>
              </p:sp>
              <p:sp>
                <p:nvSpPr>
                  <p:cNvPr id="7131" name="Vrije vorm: vorm 7130">
                    <a:extLst>
                      <a:ext uri="{FF2B5EF4-FFF2-40B4-BE49-F238E27FC236}">
                        <a16:creationId xmlns:a16="http://schemas.microsoft.com/office/drawing/2014/main" id="{14C0C49C-DDFD-4BF4-925B-00D5C0148852}"/>
                      </a:ext>
                    </a:extLst>
                  </p:cNvPr>
                  <p:cNvSpPr/>
                  <p:nvPr/>
                </p:nvSpPr>
                <p:spPr>
                  <a:xfrm>
                    <a:off x="7411749" y="2281745"/>
                    <a:ext cx="161180" cy="160462"/>
                  </a:xfrm>
                  <a:custGeom>
                    <a:avLst/>
                    <a:gdLst>
                      <a:gd name="connsiteX0" fmla="*/ 0 w 161180"/>
                      <a:gd name="connsiteY0" fmla="*/ 118299 h 160462"/>
                      <a:gd name="connsiteX1" fmla="*/ 49700 w 161180"/>
                      <a:gd name="connsiteY1" fmla="*/ 160463 h 160462"/>
                      <a:gd name="connsiteX2" fmla="*/ 161181 w 161180"/>
                      <a:gd name="connsiteY2" fmla="*/ 43898 h 160462"/>
                      <a:gd name="connsiteX3" fmla="*/ 114711 w 161180"/>
                      <a:gd name="connsiteY3" fmla="*/ 0 h 160462"/>
                    </a:gdLst>
                    <a:ahLst/>
                    <a:cxnLst>
                      <a:cxn ang="0">
                        <a:pos x="connsiteX0" y="connsiteY0"/>
                      </a:cxn>
                      <a:cxn ang="0">
                        <a:pos x="connsiteX1" y="connsiteY1"/>
                      </a:cxn>
                      <a:cxn ang="0">
                        <a:pos x="connsiteX2" y="connsiteY2"/>
                      </a:cxn>
                      <a:cxn ang="0">
                        <a:pos x="connsiteX3" y="connsiteY3"/>
                      </a:cxn>
                    </a:cxnLst>
                    <a:rect l="l" t="t" r="r" b="b"/>
                    <a:pathLst>
                      <a:path w="161180" h="160462">
                        <a:moveTo>
                          <a:pt x="0" y="118299"/>
                        </a:moveTo>
                        <a:lnTo>
                          <a:pt x="49700" y="160463"/>
                        </a:lnTo>
                        <a:lnTo>
                          <a:pt x="161181" y="43898"/>
                        </a:lnTo>
                        <a:lnTo>
                          <a:pt x="114711" y="0"/>
                        </a:lnTo>
                        <a:close/>
                      </a:path>
                    </a:pathLst>
                  </a:custGeom>
                  <a:noFill/>
                  <a:ln w="6350" cap="flat">
                    <a:solidFill>
                      <a:schemeClr val="bg1">
                        <a:alpha val="40000"/>
                      </a:schemeClr>
                    </a:solidFill>
                    <a:prstDash val="solid"/>
                    <a:miter/>
                  </a:ln>
                </p:spPr>
                <p:txBody>
                  <a:bodyPr rtlCol="0" anchor="ctr"/>
                  <a:lstStyle/>
                  <a:p>
                    <a:endParaRPr lang="en-GB"/>
                  </a:p>
                </p:txBody>
              </p:sp>
            </p:grpSp>
            <p:sp>
              <p:nvSpPr>
                <p:cNvPr id="7127" name="Vrije vorm: vorm 7126">
                  <a:extLst>
                    <a:ext uri="{FF2B5EF4-FFF2-40B4-BE49-F238E27FC236}">
                      <a16:creationId xmlns:a16="http://schemas.microsoft.com/office/drawing/2014/main" id="{BDD6814F-4C4D-4848-B0FD-576F103DEC01}"/>
                    </a:ext>
                  </a:extLst>
                </p:cNvPr>
                <p:cNvSpPr/>
                <p:nvPr/>
              </p:nvSpPr>
              <p:spPr>
                <a:xfrm>
                  <a:off x="7439081" y="2166736"/>
                  <a:ext cx="233008" cy="222781"/>
                </a:xfrm>
                <a:custGeom>
                  <a:avLst/>
                  <a:gdLst>
                    <a:gd name="connsiteX0" fmla="*/ 0 w 233008"/>
                    <a:gd name="connsiteY0" fmla="*/ 0 h 222781"/>
                    <a:gd name="connsiteX1" fmla="*/ 233009 w 233008"/>
                    <a:gd name="connsiteY1" fmla="*/ 222782 h 222781"/>
                    <a:gd name="connsiteX2" fmla="*/ 201192 w 233008"/>
                    <a:gd name="connsiteY2" fmla="*/ 33552 h 222781"/>
                  </a:gdLst>
                  <a:ahLst/>
                  <a:cxnLst>
                    <a:cxn ang="0">
                      <a:pos x="connsiteX0" y="connsiteY0"/>
                    </a:cxn>
                    <a:cxn ang="0">
                      <a:pos x="connsiteX1" y="connsiteY1"/>
                    </a:cxn>
                    <a:cxn ang="0">
                      <a:pos x="connsiteX2" y="connsiteY2"/>
                    </a:cxn>
                  </a:cxnLst>
                  <a:rect l="l" t="t" r="r" b="b"/>
                  <a:pathLst>
                    <a:path w="233008" h="222781">
                      <a:moveTo>
                        <a:pt x="0" y="0"/>
                      </a:moveTo>
                      <a:lnTo>
                        <a:pt x="233009" y="222782"/>
                      </a:lnTo>
                      <a:lnTo>
                        <a:pt x="201192" y="33552"/>
                      </a:lnTo>
                      <a:close/>
                    </a:path>
                  </a:pathLst>
                </a:custGeom>
                <a:noFill/>
                <a:ln w="6350" cap="flat">
                  <a:solidFill>
                    <a:schemeClr val="bg1">
                      <a:alpha val="40000"/>
                    </a:schemeClr>
                  </a:solidFill>
                  <a:prstDash val="solid"/>
                  <a:miter/>
                </a:ln>
              </p:spPr>
              <p:txBody>
                <a:bodyPr rtlCol="0" anchor="ctr"/>
                <a:lstStyle/>
                <a:p>
                  <a:endParaRPr lang="en-GB"/>
                </a:p>
              </p:txBody>
            </p:sp>
            <p:sp>
              <p:nvSpPr>
                <p:cNvPr id="7128" name="Vrije vorm: vorm 7127">
                  <a:extLst>
                    <a:ext uri="{FF2B5EF4-FFF2-40B4-BE49-F238E27FC236}">
                      <a16:creationId xmlns:a16="http://schemas.microsoft.com/office/drawing/2014/main" id="{04EC7695-EB4A-46F2-8663-CD97FBADC9F7}"/>
                    </a:ext>
                  </a:extLst>
                </p:cNvPr>
                <p:cNvSpPr/>
                <p:nvPr/>
              </p:nvSpPr>
              <p:spPr>
                <a:xfrm>
                  <a:off x="7404034" y="2145145"/>
                  <a:ext cx="285459" cy="261178"/>
                </a:xfrm>
                <a:custGeom>
                  <a:avLst/>
                  <a:gdLst>
                    <a:gd name="connsiteX0" fmla="*/ 0 w 285459"/>
                    <a:gd name="connsiteY0" fmla="*/ 0 h 261178"/>
                    <a:gd name="connsiteX1" fmla="*/ 19856 w 285459"/>
                    <a:gd name="connsiteY1" fmla="*/ 19079 h 261178"/>
                    <a:gd name="connsiteX2" fmla="*/ 35107 w 285459"/>
                    <a:gd name="connsiteY2" fmla="*/ 21590 h 261178"/>
                    <a:gd name="connsiteX3" fmla="*/ 236239 w 285459"/>
                    <a:gd name="connsiteY3" fmla="*/ 55142 h 261178"/>
                    <a:gd name="connsiteX4" fmla="*/ 268056 w 285459"/>
                    <a:gd name="connsiteY4" fmla="*/ 244372 h 261178"/>
                    <a:gd name="connsiteX5" fmla="*/ 285460 w 285459"/>
                    <a:gd name="connsiteY5" fmla="*/ 261178 h 261178"/>
                    <a:gd name="connsiteX6" fmla="*/ 246645 w 285459"/>
                    <a:gd name="connsiteY6" fmla="*/ 43360 h 261178"/>
                    <a:gd name="connsiteX7" fmla="*/ 0 w 285459"/>
                    <a:gd name="connsiteY7" fmla="*/ 0 h 26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459" h="261178">
                      <a:moveTo>
                        <a:pt x="0" y="0"/>
                      </a:moveTo>
                      <a:cubicBezTo>
                        <a:pt x="6519" y="6280"/>
                        <a:pt x="13337" y="12799"/>
                        <a:pt x="19856" y="19079"/>
                      </a:cubicBezTo>
                      <a:cubicBezTo>
                        <a:pt x="24820" y="20035"/>
                        <a:pt x="29724" y="20753"/>
                        <a:pt x="35107" y="21590"/>
                      </a:cubicBezTo>
                      <a:cubicBezTo>
                        <a:pt x="102150" y="32774"/>
                        <a:pt x="169194" y="43958"/>
                        <a:pt x="236239" y="55142"/>
                      </a:cubicBezTo>
                      <a:cubicBezTo>
                        <a:pt x="246825" y="118239"/>
                        <a:pt x="257470" y="181276"/>
                        <a:pt x="268056" y="244372"/>
                      </a:cubicBezTo>
                      <a:lnTo>
                        <a:pt x="285460" y="261178"/>
                      </a:lnTo>
                      <a:lnTo>
                        <a:pt x="246645" y="43360"/>
                      </a:lnTo>
                      <a:lnTo>
                        <a:pt x="0" y="0"/>
                      </a:lnTo>
                      <a:close/>
                    </a:path>
                  </a:pathLst>
                </a:custGeom>
                <a:noFill/>
                <a:ln w="6350" cap="flat">
                  <a:solidFill>
                    <a:schemeClr val="bg1">
                      <a:alpha val="40000"/>
                    </a:schemeClr>
                  </a:solidFill>
                  <a:prstDash val="solid"/>
                  <a:miter/>
                </a:ln>
              </p:spPr>
              <p:txBody>
                <a:bodyPr rtlCol="0" anchor="ctr"/>
                <a:lstStyle/>
                <a:p>
                  <a:endParaRPr lang="en-GB"/>
                </a:p>
              </p:txBody>
            </p:sp>
            <p:sp>
              <p:nvSpPr>
                <p:cNvPr id="7129" name="Vrije vorm: vorm 7128">
                  <a:extLst>
                    <a:ext uri="{FF2B5EF4-FFF2-40B4-BE49-F238E27FC236}">
                      <a16:creationId xmlns:a16="http://schemas.microsoft.com/office/drawing/2014/main" id="{2B1899B8-3BD7-48CB-96E6-88A077A835FF}"/>
                    </a:ext>
                  </a:extLst>
                </p:cNvPr>
                <p:cNvSpPr/>
                <p:nvPr/>
              </p:nvSpPr>
              <p:spPr>
                <a:xfrm>
                  <a:off x="7116062" y="1868657"/>
                  <a:ext cx="534616" cy="319848"/>
                </a:xfrm>
                <a:custGeom>
                  <a:avLst/>
                  <a:gdLst>
                    <a:gd name="connsiteX0" fmla="*/ 303222 w 534616"/>
                    <a:gd name="connsiteY0" fmla="*/ 279120 h 319848"/>
                    <a:gd name="connsiteX1" fmla="*/ 308307 w 534616"/>
                    <a:gd name="connsiteY1" fmla="*/ 280077 h 319848"/>
                    <a:gd name="connsiteX2" fmla="*/ 308307 w 534616"/>
                    <a:gd name="connsiteY2" fmla="*/ 280077 h 319848"/>
                    <a:gd name="connsiteX3" fmla="*/ 534617 w 534616"/>
                    <a:gd name="connsiteY3" fmla="*/ 319849 h 319848"/>
                    <a:gd name="connsiteX4" fmla="*/ 222842 w 534616"/>
                    <a:gd name="connsiteY4" fmla="*/ 47248 h 319848"/>
                    <a:gd name="connsiteX5" fmla="*/ 0 w 534616"/>
                    <a:gd name="connsiteY5" fmla="*/ 0 h 319848"/>
                    <a:gd name="connsiteX6" fmla="*/ 28887 w 534616"/>
                    <a:gd name="connsiteY6" fmla="*/ 27571 h 319848"/>
                    <a:gd name="connsiteX7" fmla="*/ 287972 w 534616"/>
                    <a:gd name="connsiteY7" fmla="*/ 276489 h 31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616" h="319848">
                      <a:moveTo>
                        <a:pt x="303222" y="279120"/>
                      </a:moveTo>
                      <a:lnTo>
                        <a:pt x="308307" y="280077"/>
                      </a:lnTo>
                      <a:lnTo>
                        <a:pt x="308307" y="280077"/>
                      </a:lnTo>
                      <a:lnTo>
                        <a:pt x="534617" y="319849"/>
                      </a:lnTo>
                      <a:lnTo>
                        <a:pt x="222842" y="47248"/>
                      </a:lnTo>
                      <a:lnTo>
                        <a:pt x="0" y="0"/>
                      </a:lnTo>
                      <a:lnTo>
                        <a:pt x="28887" y="27571"/>
                      </a:lnTo>
                      <a:lnTo>
                        <a:pt x="287972" y="276489"/>
                      </a:lnTo>
                      <a:close/>
                    </a:path>
                  </a:pathLst>
                </a:custGeom>
                <a:noFill/>
                <a:ln w="6350" cap="flat">
                  <a:solidFill>
                    <a:schemeClr val="bg1">
                      <a:alpha val="40000"/>
                    </a:schemeClr>
                  </a:solidFill>
                  <a:prstDash val="solid"/>
                  <a:miter/>
                </a:ln>
              </p:spPr>
              <p:txBody>
                <a:bodyPr rtlCol="0" anchor="ctr"/>
                <a:lstStyle/>
                <a:p>
                  <a:endParaRPr lang="en-GB"/>
                </a:p>
              </p:txBody>
            </p:sp>
          </p:grpSp>
          <p:grpSp>
            <p:nvGrpSpPr>
              <p:cNvPr id="5357" name="Graphic 3">
                <a:extLst>
                  <a:ext uri="{FF2B5EF4-FFF2-40B4-BE49-F238E27FC236}">
                    <a16:creationId xmlns:a16="http://schemas.microsoft.com/office/drawing/2014/main" id="{D19C52C6-35E7-4C38-909D-816D91A2EB89}"/>
                  </a:ext>
                </a:extLst>
              </p:cNvPr>
              <p:cNvGrpSpPr/>
              <p:nvPr/>
            </p:nvGrpSpPr>
            <p:grpSpPr>
              <a:xfrm>
                <a:off x="7518026" y="2407101"/>
                <a:ext cx="222901" cy="245867"/>
                <a:chOff x="7518026" y="2407101"/>
                <a:chExt cx="222901" cy="245867"/>
              </a:xfrm>
              <a:noFill/>
            </p:grpSpPr>
            <p:grpSp>
              <p:nvGrpSpPr>
                <p:cNvPr id="7060" name="Graphic 3">
                  <a:extLst>
                    <a:ext uri="{FF2B5EF4-FFF2-40B4-BE49-F238E27FC236}">
                      <a16:creationId xmlns:a16="http://schemas.microsoft.com/office/drawing/2014/main" id="{B8908F26-F4AE-4BB2-ADF5-C30C0EFC5175}"/>
                    </a:ext>
                  </a:extLst>
                </p:cNvPr>
                <p:cNvGrpSpPr/>
                <p:nvPr/>
              </p:nvGrpSpPr>
              <p:grpSpPr>
                <a:xfrm>
                  <a:off x="7591589" y="2479767"/>
                  <a:ext cx="149338" cy="173201"/>
                  <a:chOff x="7591589" y="2479767"/>
                  <a:chExt cx="149338" cy="173201"/>
                </a:xfrm>
                <a:noFill/>
              </p:grpSpPr>
              <p:sp>
                <p:nvSpPr>
                  <p:cNvPr id="7099" name="Vrije vorm: vorm 7098">
                    <a:extLst>
                      <a:ext uri="{FF2B5EF4-FFF2-40B4-BE49-F238E27FC236}">
                        <a16:creationId xmlns:a16="http://schemas.microsoft.com/office/drawing/2014/main" id="{B2E4414F-08AE-4B16-B6E0-BF6D69FB5D09}"/>
                      </a:ext>
                    </a:extLst>
                  </p:cNvPr>
                  <p:cNvSpPr/>
                  <p:nvPr/>
                </p:nvSpPr>
                <p:spPr>
                  <a:xfrm>
                    <a:off x="7591589" y="2479767"/>
                    <a:ext cx="149338" cy="172723"/>
                  </a:xfrm>
                  <a:custGeom>
                    <a:avLst/>
                    <a:gdLst>
                      <a:gd name="connsiteX0" fmla="*/ 40011 w 149338"/>
                      <a:gd name="connsiteY0" fmla="*/ 34269 h 172723"/>
                      <a:gd name="connsiteX1" fmla="*/ 45573 w 149338"/>
                      <a:gd name="connsiteY1" fmla="*/ 29186 h 172723"/>
                      <a:gd name="connsiteX2" fmla="*/ 26794 w 149338"/>
                      <a:gd name="connsiteY2" fmla="*/ 6579 h 172723"/>
                      <a:gd name="connsiteX3" fmla="*/ 21411 w 149338"/>
                      <a:gd name="connsiteY3" fmla="*/ 11543 h 172723"/>
                      <a:gd name="connsiteX4" fmla="*/ 40011 w 149338"/>
                      <a:gd name="connsiteY4" fmla="*/ 34269 h 172723"/>
                      <a:gd name="connsiteX5" fmla="*/ 40011 w 149338"/>
                      <a:gd name="connsiteY5" fmla="*/ 34269 h 172723"/>
                      <a:gd name="connsiteX6" fmla="*/ 30202 w 149338"/>
                      <a:gd name="connsiteY6" fmla="*/ 43240 h 172723"/>
                      <a:gd name="connsiteX7" fmla="*/ 35765 w 149338"/>
                      <a:gd name="connsiteY7" fmla="*/ 38157 h 172723"/>
                      <a:gd name="connsiteX8" fmla="*/ 17284 w 149338"/>
                      <a:gd name="connsiteY8" fmla="*/ 15311 h 172723"/>
                      <a:gd name="connsiteX9" fmla="*/ 11902 w 149338"/>
                      <a:gd name="connsiteY9" fmla="*/ 20275 h 172723"/>
                      <a:gd name="connsiteX10" fmla="*/ 30202 w 149338"/>
                      <a:gd name="connsiteY10" fmla="*/ 43240 h 172723"/>
                      <a:gd name="connsiteX11" fmla="*/ 30202 w 149338"/>
                      <a:gd name="connsiteY11" fmla="*/ 43240 h 172723"/>
                      <a:gd name="connsiteX12" fmla="*/ 19557 w 149338"/>
                      <a:gd name="connsiteY12" fmla="*/ 52989 h 172723"/>
                      <a:gd name="connsiteX13" fmla="*/ 25896 w 149338"/>
                      <a:gd name="connsiteY13" fmla="*/ 47188 h 172723"/>
                      <a:gd name="connsiteX14" fmla="*/ 7715 w 149338"/>
                      <a:gd name="connsiteY14" fmla="*/ 24102 h 172723"/>
                      <a:gd name="connsiteX15" fmla="*/ 2392 w 149338"/>
                      <a:gd name="connsiteY15" fmla="*/ 29006 h 172723"/>
                      <a:gd name="connsiteX16" fmla="*/ 1136 w 149338"/>
                      <a:gd name="connsiteY16" fmla="*/ 29246 h 172723"/>
                      <a:gd name="connsiteX17" fmla="*/ 0 w 149338"/>
                      <a:gd name="connsiteY17" fmla="*/ 27750 h 172723"/>
                      <a:gd name="connsiteX18" fmla="*/ 14952 w 149338"/>
                      <a:gd name="connsiteY18" fmla="*/ 13995 h 172723"/>
                      <a:gd name="connsiteX19" fmla="*/ 29904 w 149338"/>
                      <a:gd name="connsiteY19" fmla="*/ 239 h 172723"/>
                      <a:gd name="connsiteX20" fmla="*/ 31159 w 149338"/>
                      <a:gd name="connsiteY20" fmla="*/ 0 h 172723"/>
                      <a:gd name="connsiteX21" fmla="*/ 32416 w 149338"/>
                      <a:gd name="connsiteY21" fmla="*/ 1435 h 172723"/>
                      <a:gd name="connsiteX22" fmla="*/ 30801 w 149338"/>
                      <a:gd name="connsiteY22" fmla="*/ 2930 h 172723"/>
                      <a:gd name="connsiteX23" fmla="*/ 49281 w 149338"/>
                      <a:gd name="connsiteY23" fmla="*/ 24880 h 172723"/>
                      <a:gd name="connsiteX24" fmla="*/ 50059 w 149338"/>
                      <a:gd name="connsiteY24" fmla="*/ 24162 h 172723"/>
                      <a:gd name="connsiteX25" fmla="*/ 51314 w 149338"/>
                      <a:gd name="connsiteY25" fmla="*/ 23923 h 172723"/>
                      <a:gd name="connsiteX26" fmla="*/ 52630 w 149338"/>
                      <a:gd name="connsiteY26" fmla="*/ 25478 h 172723"/>
                      <a:gd name="connsiteX27" fmla="*/ 50956 w 149338"/>
                      <a:gd name="connsiteY27" fmla="*/ 26973 h 172723"/>
                      <a:gd name="connsiteX28" fmla="*/ 70812 w 149338"/>
                      <a:gd name="connsiteY28" fmla="*/ 50537 h 172723"/>
                      <a:gd name="connsiteX29" fmla="*/ 71709 w 149338"/>
                      <a:gd name="connsiteY29" fmla="*/ 49700 h 172723"/>
                      <a:gd name="connsiteX30" fmla="*/ 72965 w 149338"/>
                      <a:gd name="connsiteY30" fmla="*/ 49461 h 172723"/>
                      <a:gd name="connsiteX31" fmla="*/ 74340 w 149338"/>
                      <a:gd name="connsiteY31" fmla="*/ 51135 h 172723"/>
                      <a:gd name="connsiteX32" fmla="*/ 72666 w 149338"/>
                      <a:gd name="connsiteY32" fmla="*/ 52690 h 172723"/>
                      <a:gd name="connsiteX33" fmla="*/ 94017 w 149338"/>
                      <a:gd name="connsiteY33" fmla="*/ 77988 h 172723"/>
                      <a:gd name="connsiteX34" fmla="*/ 94974 w 149338"/>
                      <a:gd name="connsiteY34" fmla="*/ 77091 h 172723"/>
                      <a:gd name="connsiteX35" fmla="*/ 96170 w 149338"/>
                      <a:gd name="connsiteY35" fmla="*/ 76852 h 172723"/>
                      <a:gd name="connsiteX36" fmla="*/ 97665 w 149338"/>
                      <a:gd name="connsiteY36" fmla="*/ 78646 h 172723"/>
                      <a:gd name="connsiteX37" fmla="*/ 95931 w 149338"/>
                      <a:gd name="connsiteY37" fmla="*/ 80261 h 172723"/>
                      <a:gd name="connsiteX38" fmla="*/ 118897 w 149338"/>
                      <a:gd name="connsiteY38" fmla="*/ 107533 h 172723"/>
                      <a:gd name="connsiteX39" fmla="*/ 119913 w 149338"/>
                      <a:gd name="connsiteY39" fmla="*/ 106576 h 172723"/>
                      <a:gd name="connsiteX40" fmla="*/ 121110 w 149338"/>
                      <a:gd name="connsiteY40" fmla="*/ 106337 h 172723"/>
                      <a:gd name="connsiteX41" fmla="*/ 122725 w 149338"/>
                      <a:gd name="connsiteY41" fmla="*/ 108251 h 172723"/>
                      <a:gd name="connsiteX42" fmla="*/ 120870 w 149338"/>
                      <a:gd name="connsiteY42" fmla="*/ 109926 h 172723"/>
                      <a:gd name="connsiteX43" fmla="*/ 145690 w 149338"/>
                      <a:gd name="connsiteY43" fmla="*/ 139351 h 172723"/>
                      <a:gd name="connsiteX44" fmla="*/ 146767 w 149338"/>
                      <a:gd name="connsiteY44" fmla="*/ 138334 h 172723"/>
                      <a:gd name="connsiteX45" fmla="*/ 147963 w 149338"/>
                      <a:gd name="connsiteY45" fmla="*/ 138095 h 172723"/>
                      <a:gd name="connsiteX46" fmla="*/ 149338 w 149338"/>
                      <a:gd name="connsiteY46" fmla="*/ 139710 h 172723"/>
                      <a:gd name="connsiteX47" fmla="*/ 131396 w 149338"/>
                      <a:gd name="connsiteY47" fmla="*/ 156216 h 172723"/>
                      <a:gd name="connsiteX48" fmla="*/ 113454 w 149338"/>
                      <a:gd name="connsiteY48" fmla="*/ 172723 h 172723"/>
                      <a:gd name="connsiteX49" fmla="*/ 112139 w 149338"/>
                      <a:gd name="connsiteY49" fmla="*/ 171048 h 172723"/>
                      <a:gd name="connsiteX50" fmla="*/ 118478 w 149338"/>
                      <a:gd name="connsiteY50" fmla="*/ 165187 h 172723"/>
                      <a:gd name="connsiteX51" fmla="*/ 94256 w 149338"/>
                      <a:gd name="connsiteY51" fmla="*/ 134387 h 172723"/>
                      <a:gd name="connsiteX52" fmla="*/ 88096 w 149338"/>
                      <a:gd name="connsiteY52" fmla="*/ 140009 h 172723"/>
                      <a:gd name="connsiteX53" fmla="*/ 86900 w 149338"/>
                      <a:gd name="connsiteY53" fmla="*/ 140248 h 172723"/>
                      <a:gd name="connsiteX54" fmla="*/ 85763 w 149338"/>
                      <a:gd name="connsiteY54" fmla="*/ 138753 h 172723"/>
                      <a:gd name="connsiteX55" fmla="*/ 92701 w 149338"/>
                      <a:gd name="connsiteY55" fmla="*/ 132353 h 172723"/>
                      <a:gd name="connsiteX56" fmla="*/ 70214 w 149338"/>
                      <a:gd name="connsiteY56" fmla="*/ 103825 h 172723"/>
                      <a:gd name="connsiteX57" fmla="*/ 64293 w 149338"/>
                      <a:gd name="connsiteY57" fmla="*/ 109268 h 172723"/>
                      <a:gd name="connsiteX58" fmla="*/ 63037 w 149338"/>
                      <a:gd name="connsiteY58" fmla="*/ 109507 h 172723"/>
                      <a:gd name="connsiteX59" fmla="*/ 62020 w 149338"/>
                      <a:gd name="connsiteY59" fmla="*/ 108191 h 172723"/>
                      <a:gd name="connsiteX60" fmla="*/ 68778 w 149338"/>
                      <a:gd name="connsiteY60" fmla="*/ 101971 h 172723"/>
                      <a:gd name="connsiteX61" fmla="*/ 47846 w 149338"/>
                      <a:gd name="connsiteY61" fmla="*/ 75417 h 172723"/>
                      <a:gd name="connsiteX62" fmla="*/ 42164 w 149338"/>
                      <a:gd name="connsiteY62" fmla="*/ 80680 h 172723"/>
                      <a:gd name="connsiteX63" fmla="*/ 40908 w 149338"/>
                      <a:gd name="connsiteY63" fmla="*/ 80919 h 172723"/>
                      <a:gd name="connsiteX64" fmla="*/ 40011 w 149338"/>
                      <a:gd name="connsiteY64" fmla="*/ 79723 h 172723"/>
                      <a:gd name="connsiteX65" fmla="*/ 46530 w 149338"/>
                      <a:gd name="connsiteY65" fmla="*/ 73682 h 172723"/>
                      <a:gd name="connsiteX66" fmla="*/ 27033 w 149338"/>
                      <a:gd name="connsiteY66" fmla="*/ 48922 h 172723"/>
                      <a:gd name="connsiteX67" fmla="*/ 21530 w 149338"/>
                      <a:gd name="connsiteY67" fmla="*/ 54006 h 172723"/>
                      <a:gd name="connsiteX68" fmla="*/ 20275 w 149338"/>
                      <a:gd name="connsiteY68" fmla="*/ 54245 h 172723"/>
                      <a:gd name="connsiteX69" fmla="*/ 19557 w 149338"/>
                      <a:gd name="connsiteY69" fmla="*/ 52989 h 172723"/>
                      <a:gd name="connsiteX70" fmla="*/ 19557 w 149338"/>
                      <a:gd name="connsiteY70" fmla="*/ 52989 h 172723"/>
                      <a:gd name="connsiteX71" fmla="*/ 123562 w 149338"/>
                      <a:gd name="connsiteY71" fmla="*/ 160463 h 172723"/>
                      <a:gd name="connsiteX72" fmla="*/ 129961 w 149338"/>
                      <a:gd name="connsiteY72" fmla="*/ 154542 h 172723"/>
                      <a:gd name="connsiteX73" fmla="*/ 105320 w 149338"/>
                      <a:gd name="connsiteY73" fmla="*/ 124100 h 172723"/>
                      <a:gd name="connsiteX74" fmla="*/ 99160 w 149338"/>
                      <a:gd name="connsiteY74" fmla="*/ 129782 h 172723"/>
                      <a:gd name="connsiteX75" fmla="*/ 123562 w 149338"/>
                      <a:gd name="connsiteY75" fmla="*/ 160463 h 172723"/>
                      <a:gd name="connsiteX76" fmla="*/ 123562 w 149338"/>
                      <a:gd name="connsiteY76" fmla="*/ 160463 h 172723"/>
                      <a:gd name="connsiteX77" fmla="*/ 97545 w 149338"/>
                      <a:gd name="connsiteY77" fmla="*/ 127868 h 172723"/>
                      <a:gd name="connsiteX78" fmla="*/ 103706 w 149338"/>
                      <a:gd name="connsiteY78" fmla="*/ 122186 h 172723"/>
                      <a:gd name="connsiteX79" fmla="*/ 80859 w 149338"/>
                      <a:gd name="connsiteY79" fmla="*/ 93957 h 172723"/>
                      <a:gd name="connsiteX80" fmla="*/ 74879 w 149338"/>
                      <a:gd name="connsiteY80" fmla="*/ 99459 h 172723"/>
                      <a:gd name="connsiteX81" fmla="*/ 97545 w 149338"/>
                      <a:gd name="connsiteY81" fmla="*/ 127868 h 172723"/>
                      <a:gd name="connsiteX82" fmla="*/ 97545 w 149338"/>
                      <a:gd name="connsiteY82" fmla="*/ 127868 h 172723"/>
                      <a:gd name="connsiteX83" fmla="*/ 73503 w 149338"/>
                      <a:gd name="connsiteY83" fmla="*/ 97605 h 172723"/>
                      <a:gd name="connsiteX84" fmla="*/ 79424 w 149338"/>
                      <a:gd name="connsiteY84" fmla="*/ 92103 h 172723"/>
                      <a:gd name="connsiteX85" fmla="*/ 58192 w 149338"/>
                      <a:gd name="connsiteY85" fmla="*/ 65848 h 172723"/>
                      <a:gd name="connsiteX86" fmla="*/ 52451 w 149338"/>
                      <a:gd name="connsiteY86" fmla="*/ 71111 h 172723"/>
                      <a:gd name="connsiteX87" fmla="*/ 73503 w 149338"/>
                      <a:gd name="connsiteY87" fmla="*/ 97605 h 172723"/>
                      <a:gd name="connsiteX88" fmla="*/ 73503 w 149338"/>
                      <a:gd name="connsiteY88" fmla="*/ 97605 h 172723"/>
                      <a:gd name="connsiteX89" fmla="*/ 51076 w 149338"/>
                      <a:gd name="connsiteY89" fmla="*/ 69496 h 172723"/>
                      <a:gd name="connsiteX90" fmla="*/ 56817 w 149338"/>
                      <a:gd name="connsiteY90" fmla="*/ 64233 h 172723"/>
                      <a:gd name="connsiteX91" fmla="*/ 37020 w 149338"/>
                      <a:gd name="connsiteY91" fmla="*/ 39772 h 172723"/>
                      <a:gd name="connsiteX92" fmla="*/ 31459 w 149338"/>
                      <a:gd name="connsiteY92" fmla="*/ 44855 h 172723"/>
                      <a:gd name="connsiteX93" fmla="*/ 51076 w 149338"/>
                      <a:gd name="connsiteY93" fmla="*/ 69496 h 172723"/>
                      <a:gd name="connsiteX94" fmla="*/ 51076 w 149338"/>
                      <a:gd name="connsiteY94" fmla="*/ 69496 h 172723"/>
                      <a:gd name="connsiteX95" fmla="*/ 134865 w 149338"/>
                      <a:gd name="connsiteY95" fmla="*/ 150056 h 172723"/>
                      <a:gd name="connsiteX96" fmla="*/ 141265 w 149338"/>
                      <a:gd name="connsiteY96" fmla="*/ 144135 h 172723"/>
                      <a:gd name="connsiteX97" fmla="*/ 116205 w 149338"/>
                      <a:gd name="connsiteY97" fmla="*/ 114052 h 172723"/>
                      <a:gd name="connsiteX98" fmla="*/ 110045 w 149338"/>
                      <a:gd name="connsiteY98" fmla="*/ 119734 h 172723"/>
                      <a:gd name="connsiteX99" fmla="*/ 134865 w 149338"/>
                      <a:gd name="connsiteY99" fmla="*/ 150056 h 172723"/>
                      <a:gd name="connsiteX100" fmla="*/ 134865 w 149338"/>
                      <a:gd name="connsiteY100" fmla="*/ 150056 h 172723"/>
                      <a:gd name="connsiteX101" fmla="*/ 108431 w 149338"/>
                      <a:gd name="connsiteY101" fmla="*/ 117820 h 172723"/>
                      <a:gd name="connsiteX102" fmla="*/ 114591 w 149338"/>
                      <a:gd name="connsiteY102" fmla="*/ 112139 h 172723"/>
                      <a:gd name="connsiteX103" fmla="*/ 91386 w 149338"/>
                      <a:gd name="connsiteY103" fmla="*/ 84268 h 172723"/>
                      <a:gd name="connsiteX104" fmla="*/ 85405 w 149338"/>
                      <a:gd name="connsiteY104" fmla="*/ 89771 h 172723"/>
                      <a:gd name="connsiteX105" fmla="*/ 108431 w 149338"/>
                      <a:gd name="connsiteY105" fmla="*/ 117820 h 172723"/>
                      <a:gd name="connsiteX106" fmla="*/ 108431 w 149338"/>
                      <a:gd name="connsiteY106" fmla="*/ 117820 h 172723"/>
                      <a:gd name="connsiteX107" fmla="*/ 83970 w 149338"/>
                      <a:gd name="connsiteY107" fmla="*/ 87976 h 172723"/>
                      <a:gd name="connsiteX108" fmla="*/ 89890 w 149338"/>
                      <a:gd name="connsiteY108" fmla="*/ 82534 h 172723"/>
                      <a:gd name="connsiteX109" fmla="*/ 68300 w 149338"/>
                      <a:gd name="connsiteY109" fmla="*/ 56578 h 172723"/>
                      <a:gd name="connsiteX110" fmla="*/ 62558 w 149338"/>
                      <a:gd name="connsiteY110" fmla="*/ 61841 h 172723"/>
                      <a:gd name="connsiteX111" fmla="*/ 83970 w 149338"/>
                      <a:gd name="connsiteY111" fmla="*/ 87976 h 172723"/>
                      <a:gd name="connsiteX112" fmla="*/ 83970 w 149338"/>
                      <a:gd name="connsiteY112" fmla="*/ 87976 h 172723"/>
                      <a:gd name="connsiteX113" fmla="*/ 61183 w 149338"/>
                      <a:gd name="connsiteY113" fmla="*/ 60166 h 172723"/>
                      <a:gd name="connsiteX114" fmla="*/ 66924 w 149338"/>
                      <a:gd name="connsiteY114" fmla="*/ 54903 h 172723"/>
                      <a:gd name="connsiteX115" fmla="*/ 46829 w 149338"/>
                      <a:gd name="connsiteY115" fmla="*/ 30741 h 172723"/>
                      <a:gd name="connsiteX116" fmla="*/ 41267 w 149338"/>
                      <a:gd name="connsiteY116" fmla="*/ 35884 h 172723"/>
                      <a:gd name="connsiteX117" fmla="*/ 61183 w 149338"/>
                      <a:gd name="connsiteY117" fmla="*/ 60166 h 17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49338" h="172723">
                        <a:moveTo>
                          <a:pt x="40011" y="34269"/>
                        </a:moveTo>
                        <a:cubicBezTo>
                          <a:pt x="41865" y="32595"/>
                          <a:pt x="43719" y="30861"/>
                          <a:pt x="45573" y="29186"/>
                        </a:cubicBezTo>
                        <a:cubicBezTo>
                          <a:pt x="39173" y="21530"/>
                          <a:pt x="32894" y="13935"/>
                          <a:pt x="26794" y="6579"/>
                        </a:cubicBezTo>
                        <a:cubicBezTo>
                          <a:pt x="24999" y="8253"/>
                          <a:pt x="23205" y="9868"/>
                          <a:pt x="21411" y="11543"/>
                        </a:cubicBezTo>
                        <a:cubicBezTo>
                          <a:pt x="27391" y="18959"/>
                          <a:pt x="33671" y="26554"/>
                          <a:pt x="40011" y="34269"/>
                        </a:cubicBezTo>
                        <a:lnTo>
                          <a:pt x="40011" y="34269"/>
                        </a:lnTo>
                        <a:close/>
                        <a:moveTo>
                          <a:pt x="30202" y="43240"/>
                        </a:moveTo>
                        <a:cubicBezTo>
                          <a:pt x="32057" y="41566"/>
                          <a:pt x="33911" y="39832"/>
                          <a:pt x="35765" y="38157"/>
                        </a:cubicBezTo>
                        <a:cubicBezTo>
                          <a:pt x="29604" y="30561"/>
                          <a:pt x="23445" y="22966"/>
                          <a:pt x="17284" y="15311"/>
                        </a:cubicBezTo>
                        <a:cubicBezTo>
                          <a:pt x="15490" y="16985"/>
                          <a:pt x="13696" y="18600"/>
                          <a:pt x="11902" y="20275"/>
                        </a:cubicBezTo>
                        <a:cubicBezTo>
                          <a:pt x="17822" y="27750"/>
                          <a:pt x="23983" y="35466"/>
                          <a:pt x="30202" y="43240"/>
                        </a:cubicBezTo>
                        <a:lnTo>
                          <a:pt x="30202" y="43240"/>
                        </a:lnTo>
                        <a:close/>
                        <a:moveTo>
                          <a:pt x="19557" y="52989"/>
                        </a:moveTo>
                        <a:cubicBezTo>
                          <a:pt x="21650" y="51016"/>
                          <a:pt x="23803" y="49102"/>
                          <a:pt x="25896" y="47188"/>
                        </a:cubicBezTo>
                        <a:cubicBezTo>
                          <a:pt x="19677" y="39293"/>
                          <a:pt x="13636" y="31638"/>
                          <a:pt x="7715" y="24102"/>
                        </a:cubicBezTo>
                        <a:cubicBezTo>
                          <a:pt x="5921" y="25717"/>
                          <a:pt x="4186" y="27392"/>
                          <a:pt x="2392" y="29006"/>
                        </a:cubicBezTo>
                        <a:cubicBezTo>
                          <a:pt x="1973" y="29066"/>
                          <a:pt x="1555" y="29186"/>
                          <a:pt x="1136" y="29246"/>
                        </a:cubicBezTo>
                        <a:cubicBezTo>
                          <a:pt x="778" y="28767"/>
                          <a:pt x="358" y="28229"/>
                          <a:pt x="0" y="27750"/>
                        </a:cubicBezTo>
                        <a:cubicBezTo>
                          <a:pt x="4964" y="23145"/>
                          <a:pt x="9988" y="18540"/>
                          <a:pt x="14952" y="13995"/>
                        </a:cubicBezTo>
                        <a:cubicBezTo>
                          <a:pt x="19916" y="9390"/>
                          <a:pt x="24940" y="4785"/>
                          <a:pt x="29904" y="239"/>
                        </a:cubicBezTo>
                        <a:cubicBezTo>
                          <a:pt x="30322" y="120"/>
                          <a:pt x="30741" y="60"/>
                          <a:pt x="31159" y="0"/>
                        </a:cubicBezTo>
                        <a:cubicBezTo>
                          <a:pt x="31578" y="478"/>
                          <a:pt x="31997" y="957"/>
                          <a:pt x="32416" y="1435"/>
                        </a:cubicBezTo>
                        <a:cubicBezTo>
                          <a:pt x="31877" y="1914"/>
                          <a:pt x="31339" y="2392"/>
                          <a:pt x="30801" y="2930"/>
                        </a:cubicBezTo>
                        <a:cubicBezTo>
                          <a:pt x="37020" y="10287"/>
                          <a:pt x="43181" y="17583"/>
                          <a:pt x="49281" y="24880"/>
                        </a:cubicBezTo>
                        <a:cubicBezTo>
                          <a:pt x="49521" y="24641"/>
                          <a:pt x="49819" y="24401"/>
                          <a:pt x="50059" y="24162"/>
                        </a:cubicBezTo>
                        <a:cubicBezTo>
                          <a:pt x="50477" y="24102"/>
                          <a:pt x="50896" y="23983"/>
                          <a:pt x="51314" y="23923"/>
                        </a:cubicBezTo>
                        <a:cubicBezTo>
                          <a:pt x="51733" y="24401"/>
                          <a:pt x="52212" y="24940"/>
                          <a:pt x="52630" y="25478"/>
                        </a:cubicBezTo>
                        <a:cubicBezTo>
                          <a:pt x="52092" y="25956"/>
                          <a:pt x="51554" y="26495"/>
                          <a:pt x="50956" y="26973"/>
                        </a:cubicBezTo>
                        <a:cubicBezTo>
                          <a:pt x="57535" y="34808"/>
                          <a:pt x="64293" y="42882"/>
                          <a:pt x="70812" y="50537"/>
                        </a:cubicBezTo>
                        <a:cubicBezTo>
                          <a:pt x="71111" y="50238"/>
                          <a:pt x="71409" y="49999"/>
                          <a:pt x="71709" y="49700"/>
                        </a:cubicBezTo>
                        <a:cubicBezTo>
                          <a:pt x="72127" y="49580"/>
                          <a:pt x="72546" y="49520"/>
                          <a:pt x="72965" y="49461"/>
                        </a:cubicBezTo>
                        <a:cubicBezTo>
                          <a:pt x="73443" y="49999"/>
                          <a:pt x="73922" y="50597"/>
                          <a:pt x="74340" y="51135"/>
                        </a:cubicBezTo>
                        <a:cubicBezTo>
                          <a:pt x="73742" y="51673"/>
                          <a:pt x="73204" y="52212"/>
                          <a:pt x="72666" y="52690"/>
                        </a:cubicBezTo>
                        <a:cubicBezTo>
                          <a:pt x="79723" y="61063"/>
                          <a:pt x="87019" y="69735"/>
                          <a:pt x="94017" y="77988"/>
                        </a:cubicBezTo>
                        <a:cubicBezTo>
                          <a:pt x="94316" y="77690"/>
                          <a:pt x="94675" y="77391"/>
                          <a:pt x="94974" y="77091"/>
                        </a:cubicBezTo>
                        <a:cubicBezTo>
                          <a:pt x="95392" y="76972"/>
                          <a:pt x="95811" y="76912"/>
                          <a:pt x="96170" y="76852"/>
                        </a:cubicBezTo>
                        <a:cubicBezTo>
                          <a:pt x="96649" y="77450"/>
                          <a:pt x="97187" y="78048"/>
                          <a:pt x="97665" y="78646"/>
                        </a:cubicBezTo>
                        <a:cubicBezTo>
                          <a:pt x="97067" y="79185"/>
                          <a:pt x="96469" y="79723"/>
                          <a:pt x="95931" y="80261"/>
                        </a:cubicBezTo>
                        <a:cubicBezTo>
                          <a:pt x="103526" y="89292"/>
                          <a:pt x="111421" y="98622"/>
                          <a:pt x="118897" y="107533"/>
                        </a:cubicBezTo>
                        <a:cubicBezTo>
                          <a:pt x="119255" y="107234"/>
                          <a:pt x="119555" y="106875"/>
                          <a:pt x="119913" y="106576"/>
                        </a:cubicBezTo>
                        <a:cubicBezTo>
                          <a:pt x="120272" y="106457"/>
                          <a:pt x="120691" y="106397"/>
                          <a:pt x="121110" y="106337"/>
                        </a:cubicBezTo>
                        <a:cubicBezTo>
                          <a:pt x="121648" y="106995"/>
                          <a:pt x="122246" y="107653"/>
                          <a:pt x="122725" y="108251"/>
                        </a:cubicBezTo>
                        <a:cubicBezTo>
                          <a:pt x="122127" y="108789"/>
                          <a:pt x="121528" y="109387"/>
                          <a:pt x="120870" y="109926"/>
                        </a:cubicBezTo>
                        <a:cubicBezTo>
                          <a:pt x="129124" y="119734"/>
                          <a:pt x="137616" y="129841"/>
                          <a:pt x="145690" y="139351"/>
                        </a:cubicBezTo>
                        <a:cubicBezTo>
                          <a:pt x="146050" y="138992"/>
                          <a:pt x="146408" y="138693"/>
                          <a:pt x="146767" y="138334"/>
                        </a:cubicBezTo>
                        <a:cubicBezTo>
                          <a:pt x="147185" y="138274"/>
                          <a:pt x="147545" y="138155"/>
                          <a:pt x="147963" y="138095"/>
                        </a:cubicBezTo>
                        <a:cubicBezTo>
                          <a:pt x="148441" y="138633"/>
                          <a:pt x="148860" y="139171"/>
                          <a:pt x="149338" y="139710"/>
                        </a:cubicBezTo>
                        <a:cubicBezTo>
                          <a:pt x="143358" y="145212"/>
                          <a:pt x="137377" y="150714"/>
                          <a:pt x="131396" y="156216"/>
                        </a:cubicBezTo>
                        <a:cubicBezTo>
                          <a:pt x="125416" y="161719"/>
                          <a:pt x="119435" y="167221"/>
                          <a:pt x="113454" y="172723"/>
                        </a:cubicBezTo>
                        <a:cubicBezTo>
                          <a:pt x="112976" y="172125"/>
                          <a:pt x="112557" y="171587"/>
                          <a:pt x="112139" y="171048"/>
                        </a:cubicBezTo>
                        <a:cubicBezTo>
                          <a:pt x="114232" y="169075"/>
                          <a:pt x="116385" y="167161"/>
                          <a:pt x="118478" y="165187"/>
                        </a:cubicBezTo>
                        <a:cubicBezTo>
                          <a:pt x="110224" y="154661"/>
                          <a:pt x="102150" y="144375"/>
                          <a:pt x="94256" y="134387"/>
                        </a:cubicBezTo>
                        <a:cubicBezTo>
                          <a:pt x="92223" y="136241"/>
                          <a:pt x="90189" y="138155"/>
                          <a:pt x="88096" y="140009"/>
                        </a:cubicBezTo>
                        <a:cubicBezTo>
                          <a:pt x="87678" y="140128"/>
                          <a:pt x="87259" y="140188"/>
                          <a:pt x="86900" y="140248"/>
                        </a:cubicBezTo>
                        <a:cubicBezTo>
                          <a:pt x="86481" y="139769"/>
                          <a:pt x="86123" y="139231"/>
                          <a:pt x="85763" y="138753"/>
                        </a:cubicBezTo>
                        <a:cubicBezTo>
                          <a:pt x="88096" y="136600"/>
                          <a:pt x="90369" y="134506"/>
                          <a:pt x="92701" y="132353"/>
                        </a:cubicBezTo>
                        <a:cubicBezTo>
                          <a:pt x="85046" y="122605"/>
                          <a:pt x="77570" y="113095"/>
                          <a:pt x="70214" y="103825"/>
                        </a:cubicBezTo>
                        <a:cubicBezTo>
                          <a:pt x="68240" y="105620"/>
                          <a:pt x="66266" y="107474"/>
                          <a:pt x="64293" y="109268"/>
                        </a:cubicBezTo>
                        <a:cubicBezTo>
                          <a:pt x="63874" y="109328"/>
                          <a:pt x="63455" y="109447"/>
                          <a:pt x="63037" y="109507"/>
                        </a:cubicBezTo>
                        <a:cubicBezTo>
                          <a:pt x="62678" y="109028"/>
                          <a:pt x="62319" y="108610"/>
                          <a:pt x="62020" y="108191"/>
                        </a:cubicBezTo>
                        <a:cubicBezTo>
                          <a:pt x="64293" y="106098"/>
                          <a:pt x="66506" y="104065"/>
                          <a:pt x="68778" y="101971"/>
                        </a:cubicBezTo>
                        <a:cubicBezTo>
                          <a:pt x="61661" y="92881"/>
                          <a:pt x="54664" y="84089"/>
                          <a:pt x="47846" y="75417"/>
                        </a:cubicBezTo>
                        <a:cubicBezTo>
                          <a:pt x="45932" y="77151"/>
                          <a:pt x="44018" y="78945"/>
                          <a:pt x="42164" y="80680"/>
                        </a:cubicBezTo>
                        <a:cubicBezTo>
                          <a:pt x="41745" y="80740"/>
                          <a:pt x="41327" y="80859"/>
                          <a:pt x="40908" y="80919"/>
                        </a:cubicBezTo>
                        <a:cubicBezTo>
                          <a:pt x="40609" y="80500"/>
                          <a:pt x="40310" y="80142"/>
                          <a:pt x="40011" y="79723"/>
                        </a:cubicBezTo>
                        <a:cubicBezTo>
                          <a:pt x="42164" y="77749"/>
                          <a:pt x="44377" y="75716"/>
                          <a:pt x="46530" y="73682"/>
                        </a:cubicBezTo>
                        <a:cubicBezTo>
                          <a:pt x="39892" y="65250"/>
                          <a:pt x="33372" y="56996"/>
                          <a:pt x="27033" y="48922"/>
                        </a:cubicBezTo>
                        <a:cubicBezTo>
                          <a:pt x="25179" y="50597"/>
                          <a:pt x="23385" y="52331"/>
                          <a:pt x="21530" y="54006"/>
                        </a:cubicBezTo>
                        <a:cubicBezTo>
                          <a:pt x="21112" y="54066"/>
                          <a:pt x="20693" y="54185"/>
                          <a:pt x="20275" y="54245"/>
                        </a:cubicBezTo>
                        <a:cubicBezTo>
                          <a:pt x="20155" y="53707"/>
                          <a:pt x="19856" y="53348"/>
                          <a:pt x="19557" y="52989"/>
                        </a:cubicBezTo>
                        <a:lnTo>
                          <a:pt x="19557" y="52989"/>
                        </a:lnTo>
                        <a:close/>
                        <a:moveTo>
                          <a:pt x="123562" y="160463"/>
                        </a:moveTo>
                        <a:cubicBezTo>
                          <a:pt x="125715" y="158489"/>
                          <a:pt x="127808" y="156515"/>
                          <a:pt x="129961" y="154542"/>
                        </a:cubicBezTo>
                        <a:cubicBezTo>
                          <a:pt x="121528" y="144135"/>
                          <a:pt x="113334" y="134028"/>
                          <a:pt x="105320" y="124100"/>
                        </a:cubicBezTo>
                        <a:cubicBezTo>
                          <a:pt x="103287" y="126014"/>
                          <a:pt x="101194" y="127868"/>
                          <a:pt x="99160" y="129782"/>
                        </a:cubicBezTo>
                        <a:cubicBezTo>
                          <a:pt x="107055" y="139769"/>
                          <a:pt x="115189" y="149996"/>
                          <a:pt x="123562" y="160463"/>
                        </a:cubicBezTo>
                        <a:lnTo>
                          <a:pt x="123562" y="160463"/>
                        </a:lnTo>
                        <a:close/>
                        <a:moveTo>
                          <a:pt x="97545" y="127868"/>
                        </a:moveTo>
                        <a:cubicBezTo>
                          <a:pt x="99579" y="125954"/>
                          <a:pt x="101672" y="124100"/>
                          <a:pt x="103706" y="122186"/>
                        </a:cubicBezTo>
                        <a:cubicBezTo>
                          <a:pt x="95931" y="112557"/>
                          <a:pt x="88276" y="103167"/>
                          <a:pt x="80859" y="93957"/>
                        </a:cubicBezTo>
                        <a:cubicBezTo>
                          <a:pt x="78885" y="95811"/>
                          <a:pt x="76912" y="97605"/>
                          <a:pt x="74879" y="99459"/>
                        </a:cubicBezTo>
                        <a:cubicBezTo>
                          <a:pt x="82295" y="108670"/>
                          <a:pt x="89831" y="118119"/>
                          <a:pt x="97545" y="127868"/>
                        </a:cubicBezTo>
                        <a:lnTo>
                          <a:pt x="97545" y="127868"/>
                        </a:lnTo>
                        <a:close/>
                        <a:moveTo>
                          <a:pt x="73503" y="97605"/>
                        </a:moveTo>
                        <a:cubicBezTo>
                          <a:pt x="75477" y="95811"/>
                          <a:pt x="77450" y="93957"/>
                          <a:pt x="79424" y="92103"/>
                        </a:cubicBezTo>
                        <a:cubicBezTo>
                          <a:pt x="72187" y="83132"/>
                          <a:pt x="65070" y="74400"/>
                          <a:pt x="58192" y="65848"/>
                        </a:cubicBezTo>
                        <a:cubicBezTo>
                          <a:pt x="56279" y="67642"/>
                          <a:pt x="54365" y="69376"/>
                          <a:pt x="52451" y="71111"/>
                        </a:cubicBezTo>
                        <a:cubicBezTo>
                          <a:pt x="59269" y="79783"/>
                          <a:pt x="66266" y="88574"/>
                          <a:pt x="73503" y="97605"/>
                        </a:cubicBezTo>
                        <a:lnTo>
                          <a:pt x="73503" y="97605"/>
                        </a:lnTo>
                        <a:close/>
                        <a:moveTo>
                          <a:pt x="51076" y="69496"/>
                        </a:moveTo>
                        <a:cubicBezTo>
                          <a:pt x="52989" y="67761"/>
                          <a:pt x="54903" y="65967"/>
                          <a:pt x="56817" y="64233"/>
                        </a:cubicBezTo>
                        <a:cubicBezTo>
                          <a:pt x="50059" y="55920"/>
                          <a:pt x="43480" y="47726"/>
                          <a:pt x="37020" y="39772"/>
                        </a:cubicBezTo>
                        <a:cubicBezTo>
                          <a:pt x="35167" y="41506"/>
                          <a:pt x="33312" y="43181"/>
                          <a:pt x="31459" y="44855"/>
                        </a:cubicBezTo>
                        <a:cubicBezTo>
                          <a:pt x="37858" y="52870"/>
                          <a:pt x="44377" y="61123"/>
                          <a:pt x="51076" y="69496"/>
                        </a:cubicBezTo>
                        <a:lnTo>
                          <a:pt x="51076" y="69496"/>
                        </a:lnTo>
                        <a:close/>
                        <a:moveTo>
                          <a:pt x="134865" y="150056"/>
                        </a:moveTo>
                        <a:cubicBezTo>
                          <a:pt x="137019" y="148083"/>
                          <a:pt x="139112" y="146109"/>
                          <a:pt x="141265" y="144135"/>
                        </a:cubicBezTo>
                        <a:cubicBezTo>
                          <a:pt x="132712" y="133848"/>
                          <a:pt x="124399" y="123861"/>
                          <a:pt x="116205" y="114052"/>
                        </a:cubicBezTo>
                        <a:cubicBezTo>
                          <a:pt x="114172" y="115966"/>
                          <a:pt x="112079" y="117820"/>
                          <a:pt x="110045" y="119734"/>
                        </a:cubicBezTo>
                        <a:cubicBezTo>
                          <a:pt x="118119" y="129602"/>
                          <a:pt x="126373" y="139710"/>
                          <a:pt x="134865" y="150056"/>
                        </a:cubicBezTo>
                        <a:lnTo>
                          <a:pt x="134865" y="150056"/>
                        </a:lnTo>
                        <a:close/>
                        <a:moveTo>
                          <a:pt x="108431" y="117820"/>
                        </a:moveTo>
                        <a:cubicBezTo>
                          <a:pt x="110464" y="115906"/>
                          <a:pt x="112557" y="114052"/>
                          <a:pt x="114591" y="112139"/>
                        </a:cubicBezTo>
                        <a:cubicBezTo>
                          <a:pt x="106696" y="102629"/>
                          <a:pt x="98921" y="93359"/>
                          <a:pt x="91386" y="84268"/>
                        </a:cubicBezTo>
                        <a:cubicBezTo>
                          <a:pt x="89412" y="86122"/>
                          <a:pt x="87438" y="87916"/>
                          <a:pt x="85405" y="89771"/>
                        </a:cubicBezTo>
                        <a:cubicBezTo>
                          <a:pt x="92941" y="98861"/>
                          <a:pt x="100595" y="108251"/>
                          <a:pt x="108431" y="117820"/>
                        </a:cubicBezTo>
                        <a:lnTo>
                          <a:pt x="108431" y="117820"/>
                        </a:lnTo>
                        <a:close/>
                        <a:moveTo>
                          <a:pt x="83970" y="87976"/>
                        </a:moveTo>
                        <a:cubicBezTo>
                          <a:pt x="85943" y="86182"/>
                          <a:pt x="87916" y="84328"/>
                          <a:pt x="89890" y="82534"/>
                        </a:cubicBezTo>
                        <a:cubicBezTo>
                          <a:pt x="82534" y="73682"/>
                          <a:pt x="75357" y="65070"/>
                          <a:pt x="68300" y="56578"/>
                        </a:cubicBezTo>
                        <a:cubicBezTo>
                          <a:pt x="66386" y="58372"/>
                          <a:pt x="64472" y="60106"/>
                          <a:pt x="62558" y="61841"/>
                        </a:cubicBezTo>
                        <a:cubicBezTo>
                          <a:pt x="69556" y="70333"/>
                          <a:pt x="76673" y="79065"/>
                          <a:pt x="83970" y="87976"/>
                        </a:cubicBezTo>
                        <a:lnTo>
                          <a:pt x="83970" y="87976"/>
                        </a:lnTo>
                        <a:close/>
                        <a:moveTo>
                          <a:pt x="61183" y="60166"/>
                        </a:moveTo>
                        <a:cubicBezTo>
                          <a:pt x="63096" y="58432"/>
                          <a:pt x="65010" y="56637"/>
                          <a:pt x="66924" y="54903"/>
                        </a:cubicBezTo>
                        <a:cubicBezTo>
                          <a:pt x="60047" y="46650"/>
                          <a:pt x="53348" y="38635"/>
                          <a:pt x="46829" y="30741"/>
                        </a:cubicBezTo>
                        <a:cubicBezTo>
                          <a:pt x="44975" y="32475"/>
                          <a:pt x="43121" y="34150"/>
                          <a:pt x="41267" y="35884"/>
                        </a:cubicBezTo>
                        <a:cubicBezTo>
                          <a:pt x="47726" y="43779"/>
                          <a:pt x="54424" y="51853"/>
                          <a:pt x="61183" y="60166"/>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00" name="Vrije vorm: vorm 7099">
                    <a:extLst>
                      <a:ext uri="{FF2B5EF4-FFF2-40B4-BE49-F238E27FC236}">
                        <a16:creationId xmlns:a16="http://schemas.microsoft.com/office/drawing/2014/main" id="{DED50BCA-85ED-4E61-A501-99E56764D267}"/>
                      </a:ext>
                    </a:extLst>
                  </p:cNvPr>
                  <p:cNvSpPr/>
                  <p:nvPr/>
                </p:nvSpPr>
                <p:spPr>
                  <a:xfrm>
                    <a:off x="7591589" y="2479946"/>
                    <a:ext cx="148620" cy="173022"/>
                  </a:xfrm>
                  <a:custGeom>
                    <a:avLst/>
                    <a:gdLst>
                      <a:gd name="connsiteX0" fmla="*/ 10586 w 148620"/>
                      <a:gd name="connsiteY0" fmla="*/ 20334 h 173022"/>
                      <a:gd name="connsiteX1" fmla="*/ 28946 w 148620"/>
                      <a:gd name="connsiteY1" fmla="*/ 43360 h 173022"/>
                      <a:gd name="connsiteX2" fmla="*/ 34509 w 148620"/>
                      <a:gd name="connsiteY2" fmla="*/ 38277 h 173022"/>
                      <a:gd name="connsiteX3" fmla="*/ 15969 w 148620"/>
                      <a:gd name="connsiteY3" fmla="*/ 15430 h 173022"/>
                      <a:gd name="connsiteX4" fmla="*/ 10586 w 148620"/>
                      <a:gd name="connsiteY4" fmla="*/ 20334 h 173022"/>
                      <a:gd name="connsiteX5" fmla="*/ 10586 w 148620"/>
                      <a:gd name="connsiteY5" fmla="*/ 20334 h 173022"/>
                      <a:gd name="connsiteX6" fmla="*/ 48504 w 148620"/>
                      <a:gd name="connsiteY6" fmla="*/ 25298 h 173022"/>
                      <a:gd name="connsiteX7" fmla="*/ 50118 w 148620"/>
                      <a:gd name="connsiteY7" fmla="*/ 23803 h 173022"/>
                      <a:gd name="connsiteX8" fmla="*/ 51434 w 148620"/>
                      <a:gd name="connsiteY8" fmla="*/ 25358 h 173022"/>
                      <a:gd name="connsiteX9" fmla="*/ 49759 w 148620"/>
                      <a:gd name="connsiteY9" fmla="*/ 26853 h 173022"/>
                      <a:gd name="connsiteX10" fmla="*/ 70034 w 148620"/>
                      <a:gd name="connsiteY10" fmla="*/ 50896 h 173022"/>
                      <a:gd name="connsiteX11" fmla="*/ 71709 w 148620"/>
                      <a:gd name="connsiteY11" fmla="*/ 49341 h 173022"/>
                      <a:gd name="connsiteX12" fmla="*/ 73084 w 148620"/>
                      <a:gd name="connsiteY12" fmla="*/ 50956 h 173022"/>
                      <a:gd name="connsiteX13" fmla="*/ 71409 w 148620"/>
                      <a:gd name="connsiteY13" fmla="*/ 52511 h 173022"/>
                      <a:gd name="connsiteX14" fmla="*/ 93179 w 148620"/>
                      <a:gd name="connsiteY14" fmla="*/ 78288 h 173022"/>
                      <a:gd name="connsiteX15" fmla="*/ 94974 w 148620"/>
                      <a:gd name="connsiteY15" fmla="*/ 76673 h 173022"/>
                      <a:gd name="connsiteX16" fmla="*/ 96469 w 148620"/>
                      <a:gd name="connsiteY16" fmla="*/ 78467 h 173022"/>
                      <a:gd name="connsiteX17" fmla="*/ 94675 w 148620"/>
                      <a:gd name="connsiteY17" fmla="*/ 80082 h 173022"/>
                      <a:gd name="connsiteX18" fmla="*/ 118059 w 148620"/>
                      <a:gd name="connsiteY18" fmla="*/ 107832 h 173022"/>
                      <a:gd name="connsiteX19" fmla="*/ 119913 w 148620"/>
                      <a:gd name="connsiteY19" fmla="*/ 106158 h 173022"/>
                      <a:gd name="connsiteX20" fmla="*/ 121528 w 148620"/>
                      <a:gd name="connsiteY20" fmla="*/ 108071 h 173022"/>
                      <a:gd name="connsiteX21" fmla="*/ 119674 w 148620"/>
                      <a:gd name="connsiteY21" fmla="*/ 109746 h 173022"/>
                      <a:gd name="connsiteX22" fmla="*/ 144913 w 148620"/>
                      <a:gd name="connsiteY22" fmla="*/ 139650 h 173022"/>
                      <a:gd name="connsiteX23" fmla="*/ 146826 w 148620"/>
                      <a:gd name="connsiteY23" fmla="*/ 137915 h 173022"/>
                      <a:gd name="connsiteX24" fmla="*/ 148621 w 148620"/>
                      <a:gd name="connsiteY24" fmla="*/ 140009 h 173022"/>
                      <a:gd name="connsiteX25" fmla="*/ 139650 w 148620"/>
                      <a:gd name="connsiteY25" fmla="*/ 148262 h 173022"/>
                      <a:gd name="connsiteX26" fmla="*/ 130679 w 148620"/>
                      <a:gd name="connsiteY26" fmla="*/ 156515 h 173022"/>
                      <a:gd name="connsiteX27" fmla="*/ 121708 w 148620"/>
                      <a:gd name="connsiteY27" fmla="*/ 164769 h 173022"/>
                      <a:gd name="connsiteX28" fmla="*/ 112736 w 148620"/>
                      <a:gd name="connsiteY28" fmla="*/ 173022 h 173022"/>
                      <a:gd name="connsiteX29" fmla="*/ 111062 w 148620"/>
                      <a:gd name="connsiteY29" fmla="*/ 170869 h 173022"/>
                      <a:gd name="connsiteX30" fmla="*/ 117402 w 148620"/>
                      <a:gd name="connsiteY30" fmla="*/ 165008 h 173022"/>
                      <a:gd name="connsiteX31" fmla="*/ 93179 w 148620"/>
                      <a:gd name="connsiteY31" fmla="*/ 134207 h 173022"/>
                      <a:gd name="connsiteX32" fmla="*/ 87019 w 148620"/>
                      <a:gd name="connsiteY32" fmla="*/ 139829 h 173022"/>
                      <a:gd name="connsiteX33" fmla="*/ 85465 w 148620"/>
                      <a:gd name="connsiteY33" fmla="*/ 137856 h 173022"/>
                      <a:gd name="connsiteX34" fmla="*/ 91564 w 148620"/>
                      <a:gd name="connsiteY34" fmla="*/ 132234 h 173022"/>
                      <a:gd name="connsiteX35" fmla="*/ 69077 w 148620"/>
                      <a:gd name="connsiteY35" fmla="*/ 103706 h 173022"/>
                      <a:gd name="connsiteX36" fmla="*/ 63156 w 148620"/>
                      <a:gd name="connsiteY36" fmla="*/ 109148 h 173022"/>
                      <a:gd name="connsiteX37" fmla="*/ 61721 w 148620"/>
                      <a:gd name="connsiteY37" fmla="*/ 107294 h 173022"/>
                      <a:gd name="connsiteX38" fmla="*/ 67642 w 148620"/>
                      <a:gd name="connsiteY38" fmla="*/ 101852 h 173022"/>
                      <a:gd name="connsiteX39" fmla="*/ 46709 w 148620"/>
                      <a:gd name="connsiteY39" fmla="*/ 75297 h 173022"/>
                      <a:gd name="connsiteX40" fmla="*/ 41028 w 148620"/>
                      <a:gd name="connsiteY40" fmla="*/ 80560 h 173022"/>
                      <a:gd name="connsiteX41" fmla="*/ 39712 w 148620"/>
                      <a:gd name="connsiteY41" fmla="*/ 78886 h 173022"/>
                      <a:gd name="connsiteX42" fmla="*/ 45393 w 148620"/>
                      <a:gd name="connsiteY42" fmla="*/ 73623 h 173022"/>
                      <a:gd name="connsiteX43" fmla="*/ 25896 w 148620"/>
                      <a:gd name="connsiteY43" fmla="*/ 48862 h 173022"/>
                      <a:gd name="connsiteX44" fmla="*/ 20394 w 148620"/>
                      <a:gd name="connsiteY44" fmla="*/ 53946 h 173022"/>
                      <a:gd name="connsiteX45" fmla="*/ 19138 w 148620"/>
                      <a:gd name="connsiteY45" fmla="*/ 52331 h 173022"/>
                      <a:gd name="connsiteX46" fmla="*/ 24641 w 148620"/>
                      <a:gd name="connsiteY46" fmla="*/ 47248 h 173022"/>
                      <a:gd name="connsiteX47" fmla="*/ 6459 w 148620"/>
                      <a:gd name="connsiteY47" fmla="*/ 24102 h 173022"/>
                      <a:gd name="connsiteX48" fmla="*/ 1136 w 148620"/>
                      <a:gd name="connsiteY48" fmla="*/ 29006 h 173022"/>
                      <a:gd name="connsiteX49" fmla="*/ 0 w 148620"/>
                      <a:gd name="connsiteY49" fmla="*/ 27511 h 173022"/>
                      <a:gd name="connsiteX50" fmla="*/ 14952 w 148620"/>
                      <a:gd name="connsiteY50" fmla="*/ 13756 h 173022"/>
                      <a:gd name="connsiteX51" fmla="*/ 29904 w 148620"/>
                      <a:gd name="connsiteY51" fmla="*/ 0 h 173022"/>
                      <a:gd name="connsiteX52" fmla="*/ 31099 w 148620"/>
                      <a:gd name="connsiteY52" fmla="*/ 1435 h 173022"/>
                      <a:gd name="connsiteX53" fmla="*/ 29485 w 148620"/>
                      <a:gd name="connsiteY53" fmla="*/ 2930 h 173022"/>
                      <a:gd name="connsiteX54" fmla="*/ 48504 w 148620"/>
                      <a:gd name="connsiteY54" fmla="*/ 25298 h 173022"/>
                      <a:gd name="connsiteX55" fmla="*/ 48504 w 148620"/>
                      <a:gd name="connsiteY55" fmla="*/ 25298 h 173022"/>
                      <a:gd name="connsiteX56" fmla="*/ 38695 w 148620"/>
                      <a:gd name="connsiteY56" fmla="*/ 34329 h 173022"/>
                      <a:gd name="connsiteX57" fmla="*/ 44257 w 148620"/>
                      <a:gd name="connsiteY57" fmla="*/ 29246 h 173022"/>
                      <a:gd name="connsiteX58" fmla="*/ 25418 w 148620"/>
                      <a:gd name="connsiteY58" fmla="*/ 6639 h 173022"/>
                      <a:gd name="connsiteX59" fmla="*/ 20035 w 148620"/>
                      <a:gd name="connsiteY59" fmla="*/ 11603 h 173022"/>
                      <a:gd name="connsiteX60" fmla="*/ 38695 w 148620"/>
                      <a:gd name="connsiteY60" fmla="*/ 34329 h 173022"/>
                      <a:gd name="connsiteX61" fmla="*/ 38695 w 148620"/>
                      <a:gd name="connsiteY61" fmla="*/ 34329 h 173022"/>
                      <a:gd name="connsiteX62" fmla="*/ 122365 w 148620"/>
                      <a:gd name="connsiteY62" fmla="*/ 160523 h 173022"/>
                      <a:gd name="connsiteX63" fmla="*/ 128765 w 148620"/>
                      <a:gd name="connsiteY63" fmla="*/ 154602 h 173022"/>
                      <a:gd name="connsiteX64" fmla="*/ 104125 w 148620"/>
                      <a:gd name="connsiteY64" fmla="*/ 124160 h 173022"/>
                      <a:gd name="connsiteX65" fmla="*/ 97964 w 148620"/>
                      <a:gd name="connsiteY65" fmla="*/ 129841 h 173022"/>
                      <a:gd name="connsiteX66" fmla="*/ 122365 w 148620"/>
                      <a:gd name="connsiteY66" fmla="*/ 160523 h 173022"/>
                      <a:gd name="connsiteX67" fmla="*/ 122365 w 148620"/>
                      <a:gd name="connsiteY67" fmla="*/ 160523 h 173022"/>
                      <a:gd name="connsiteX68" fmla="*/ 96349 w 148620"/>
                      <a:gd name="connsiteY68" fmla="*/ 127928 h 173022"/>
                      <a:gd name="connsiteX69" fmla="*/ 102510 w 148620"/>
                      <a:gd name="connsiteY69" fmla="*/ 122246 h 173022"/>
                      <a:gd name="connsiteX70" fmla="*/ 79663 w 148620"/>
                      <a:gd name="connsiteY70" fmla="*/ 94017 h 173022"/>
                      <a:gd name="connsiteX71" fmla="*/ 73682 w 148620"/>
                      <a:gd name="connsiteY71" fmla="*/ 99519 h 173022"/>
                      <a:gd name="connsiteX72" fmla="*/ 96349 w 148620"/>
                      <a:gd name="connsiteY72" fmla="*/ 127928 h 173022"/>
                      <a:gd name="connsiteX73" fmla="*/ 96349 w 148620"/>
                      <a:gd name="connsiteY73" fmla="*/ 127928 h 173022"/>
                      <a:gd name="connsiteX74" fmla="*/ 72247 w 148620"/>
                      <a:gd name="connsiteY74" fmla="*/ 97665 h 173022"/>
                      <a:gd name="connsiteX75" fmla="*/ 78168 w 148620"/>
                      <a:gd name="connsiteY75" fmla="*/ 92223 h 173022"/>
                      <a:gd name="connsiteX76" fmla="*/ 56877 w 148620"/>
                      <a:gd name="connsiteY76" fmla="*/ 65967 h 173022"/>
                      <a:gd name="connsiteX77" fmla="*/ 51135 w 148620"/>
                      <a:gd name="connsiteY77" fmla="*/ 71230 h 173022"/>
                      <a:gd name="connsiteX78" fmla="*/ 72247 w 148620"/>
                      <a:gd name="connsiteY78" fmla="*/ 97665 h 173022"/>
                      <a:gd name="connsiteX79" fmla="*/ 72247 w 148620"/>
                      <a:gd name="connsiteY79" fmla="*/ 97665 h 173022"/>
                      <a:gd name="connsiteX80" fmla="*/ 49819 w 148620"/>
                      <a:gd name="connsiteY80" fmla="*/ 69556 h 173022"/>
                      <a:gd name="connsiteX81" fmla="*/ 55561 w 148620"/>
                      <a:gd name="connsiteY81" fmla="*/ 64293 h 173022"/>
                      <a:gd name="connsiteX82" fmla="*/ 35765 w 148620"/>
                      <a:gd name="connsiteY82" fmla="*/ 39832 h 173022"/>
                      <a:gd name="connsiteX83" fmla="*/ 30202 w 148620"/>
                      <a:gd name="connsiteY83" fmla="*/ 44915 h 173022"/>
                      <a:gd name="connsiteX84" fmla="*/ 49819 w 148620"/>
                      <a:gd name="connsiteY84" fmla="*/ 69556 h 173022"/>
                      <a:gd name="connsiteX85" fmla="*/ 49819 w 148620"/>
                      <a:gd name="connsiteY85" fmla="*/ 69556 h 173022"/>
                      <a:gd name="connsiteX86" fmla="*/ 133669 w 148620"/>
                      <a:gd name="connsiteY86" fmla="*/ 150116 h 173022"/>
                      <a:gd name="connsiteX87" fmla="*/ 140069 w 148620"/>
                      <a:gd name="connsiteY87" fmla="*/ 144195 h 173022"/>
                      <a:gd name="connsiteX88" fmla="*/ 115009 w 148620"/>
                      <a:gd name="connsiteY88" fmla="*/ 114112 h 173022"/>
                      <a:gd name="connsiteX89" fmla="*/ 108849 w 148620"/>
                      <a:gd name="connsiteY89" fmla="*/ 119794 h 173022"/>
                      <a:gd name="connsiteX90" fmla="*/ 133669 w 148620"/>
                      <a:gd name="connsiteY90" fmla="*/ 150116 h 173022"/>
                      <a:gd name="connsiteX91" fmla="*/ 133669 w 148620"/>
                      <a:gd name="connsiteY91" fmla="*/ 150116 h 173022"/>
                      <a:gd name="connsiteX92" fmla="*/ 107234 w 148620"/>
                      <a:gd name="connsiteY92" fmla="*/ 117880 h 173022"/>
                      <a:gd name="connsiteX93" fmla="*/ 113394 w 148620"/>
                      <a:gd name="connsiteY93" fmla="*/ 112198 h 173022"/>
                      <a:gd name="connsiteX94" fmla="*/ 90189 w 148620"/>
                      <a:gd name="connsiteY94" fmla="*/ 84328 h 173022"/>
                      <a:gd name="connsiteX95" fmla="*/ 84208 w 148620"/>
                      <a:gd name="connsiteY95" fmla="*/ 89830 h 173022"/>
                      <a:gd name="connsiteX96" fmla="*/ 107234 w 148620"/>
                      <a:gd name="connsiteY96" fmla="*/ 117880 h 173022"/>
                      <a:gd name="connsiteX97" fmla="*/ 107234 w 148620"/>
                      <a:gd name="connsiteY97" fmla="*/ 117880 h 173022"/>
                      <a:gd name="connsiteX98" fmla="*/ 82713 w 148620"/>
                      <a:gd name="connsiteY98" fmla="*/ 88036 h 173022"/>
                      <a:gd name="connsiteX99" fmla="*/ 88634 w 148620"/>
                      <a:gd name="connsiteY99" fmla="*/ 82594 h 173022"/>
                      <a:gd name="connsiteX100" fmla="*/ 67044 w 148620"/>
                      <a:gd name="connsiteY100" fmla="*/ 56637 h 173022"/>
                      <a:gd name="connsiteX101" fmla="*/ 61302 w 148620"/>
                      <a:gd name="connsiteY101" fmla="*/ 61900 h 173022"/>
                      <a:gd name="connsiteX102" fmla="*/ 82713 w 148620"/>
                      <a:gd name="connsiteY102" fmla="*/ 88036 h 173022"/>
                      <a:gd name="connsiteX103" fmla="*/ 82713 w 148620"/>
                      <a:gd name="connsiteY103" fmla="*/ 88036 h 173022"/>
                      <a:gd name="connsiteX104" fmla="*/ 59987 w 148620"/>
                      <a:gd name="connsiteY104" fmla="*/ 60226 h 173022"/>
                      <a:gd name="connsiteX105" fmla="*/ 65728 w 148620"/>
                      <a:gd name="connsiteY105" fmla="*/ 54963 h 173022"/>
                      <a:gd name="connsiteX106" fmla="*/ 45573 w 148620"/>
                      <a:gd name="connsiteY106" fmla="*/ 30801 h 173022"/>
                      <a:gd name="connsiteX107" fmla="*/ 40011 w 148620"/>
                      <a:gd name="connsiteY107" fmla="*/ 35884 h 173022"/>
                      <a:gd name="connsiteX108" fmla="*/ 59987 w 148620"/>
                      <a:gd name="connsiteY108" fmla="*/ 60226 h 17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48620" h="173022">
                        <a:moveTo>
                          <a:pt x="10586" y="20334"/>
                        </a:moveTo>
                        <a:cubicBezTo>
                          <a:pt x="16686" y="28050"/>
                          <a:pt x="22846" y="35705"/>
                          <a:pt x="28946" y="43360"/>
                        </a:cubicBezTo>
                        <a:cubicBezTo>
                          <a:pt x="30801" y="41686"/>
                          <a:pt x="32655" y="39951"/>
                          <a:pt x="34509" y="38277"/>
                        </a:cubicBezTo>
                        <a:cubicBezTo>
                          <a:pt x="28349" y="30681"/>
                          <a:pt x="22188" y="23085"/>
                          <a:pt x="15969" y="15430"/>
                        </a:cubicBezTo>
                        <a:cubicBezTo>
                          <a:pt x="14174" y="17045"/>
                          <a:pt x="12380" y="18660"/>
                          <a:pt x="10586" y="20334"/>
                        </a:cubicBezTo>
                        <a:lnTo>
                          <a:pt x="10586" y="20334"/>
                        </a:lnTo>
                        <a:close/>
                        <a:moveTo>
                          <a:pt x="48504" y="25298"/>
                        </a:moveTo>
                        <a:cubicBezTo>
                          <a:pt x="49042" y="24820"/>
                          <a:pt x="49580" y="24282"/>
                          <a:pt x="50118" y="23803"/>
                        </a:cubicBezTo>
                        <a:cubicBezTo>
                          <a:pt x="50537" y="24341"/>
                          <a:pt x="51016" y="24880"/>
                          <a:pt x="51434" y="25358"/>
                        </a:cubicBezTo>
                        <a:cubicBezTo>
                          <a:pt x="50896" y="25837"/>
                          <a:pt x="50358" y="26375"/>
                          <a:pt x="49759" y="26853"/>
                        </a:cubicBezTo>
                        <a:cubicBezTo>
                          <a:pt x="56339" y="34688"/>
                          <a:pt x="63156" y="42702"/>
                          <a:pt x="70034" y="50896"/>
                        </a:cubicBezTo>
                        <a:cubicBezTo>
                          <a:pt x="70572" y="50358"/>
                          <a:pt x="71171" y="49879"/>
                          <a:pt x="71709" y="49341"/>
                        </a:cubicBezTo>
                        <a:cubicBezTo>
                          <a:pt x="72127" y="49879"/>
                          <a:pt x="72666" y="50477"/>
                          <a:pt x="73084" y="50956"/>
                        </a:cubicBezTo>
                        <a:cubicBezTo>
                          <a:pt x="72546" y="51494"/>
                          <a:pt x="71948" y="51972"/>
                          <a:pt x="71409" y="52511"/>
                        </a:cubicBezTo>
                        <a:cubicBezTo>
                          <a:pt x="78527" y="60944"/>
                          <a:pt x="85763" y="69496"/>
                          <a:pt x="93179" y="78288"/>
                        </a:cubicBezTo>
                        <a:cubicBezTo>
                          <a:pt x="93777" y="77749"/>
                          <a:pt x="94376" y="77211"/>
                          <a:pt x="94974" y="76673"/>
                        </a:cubicBezTo>
                        <a:cubicBezTo>
                          <a:pt x="95452" y="77271"/>
                          <a:pt x="95990" y="77869"/>
                          <a:pt x="96469" y="78467"/>
                        </a:cubicBezTo>
                        <a:cubicBezTo>
                          <a:pt x="95871" y="79005"/>
                          <a:pt x="95273" y="79544"/>
                          <a:pt x="94675" y="80082"/>
                        </a:cubicBezTo>
                        <a:cubicBezTo>
                          <a:pt x="102270" y="89113"/>
                          <a:pt x="110105" y="98323"/>
                          <a:pt x="118059" y="107832"/>
                        </a:cubicBezTo>
                        <a:cubicBezTo>
                          <a:pt x="118657" y="107294"/>
                          <a:pt x="119255" y="106696"/>
                          <a:pt x="119913" y="106158"/>
                        </a:cubicBezTo>
                        <a:cubicBezTo>
                          <a:pt x="120452" y="106816"/>
                          <a:pt x="120990" y="107414"/>
                          <a:pt x="121528" y="108071"/>
                        </a:cubicBezTo>
                        <a:cubicBezTo>
                          <a:pt x="120930" y="108610"/>
                          <a:pt x="120332" y="109208"/>
                          <a:pt x="119674" y="109746"/>
                        </a:cubicBezTo>
                        <a:cubicBezTo>
                          <a:pt x="127868" y="119435"/>
                          <a:pt x="136301" y="129423"/>
                          <a:pt x="144913" y="139650"/>
                        </a:cubicBezTo>
                        <a:cubicBezTo>
                          <a:pt x="145571" y="139052"/>
                          <a:pt x="146169" y="138514"/>
                          <a:pt x="146826" y="137915"/>
                        </a:cubicBezTo>
                        <a:cubicBezTo>
                          <a:pt x="147425" y="138633"/>
                          <a:pt x="148023" y="139291"/>
                          <a:pt x="148621" y="140009"/>
                        </a:cubicBezTo>
                        <a:cubicBezTo>
                          <a:pt x="145630" y="142760"/>
                          <a:pt x="142640" y="145511"/>
                          <a:pt x="139650" y="148262"/>
                        </a:cubicBezTo>
                        <a:cubicBezTo>
                          <a:pt x="136659" y="151013"/>
                          <a:pt x="133669" y="153764"/>
                          <a:pt x="130679" y="156515"/>
                        </a:cubicBezTo>
                        <a:cubicBezTo>
                          <a:pt x="127688" y="159267"/>
                          <a:pt x="124698" y="162018"/>
                          <a:pt x="121708" y="164769"/>
                        </a:cubicBezTo>
                        <a:cubicBezTo>
                          <a:pt x="118717" y="167520"/>
                          <a:pt x="115727" y="170271"/>
                          <a:pt x="112736" y="173022"/>
                        </a:cubicBezTo>
                        <a:cubicBezTo>
                          <a:pt x="112139" y="172305"/>
                          <a:pt x="111600" y="171587"/>
                          <a:pt x="111062" y="170869"/>
                        </a:cubicBezTo>
                        <a:cubicBezTo>
                          <a:pt x="113156" y="168896"/>
                          <a:pt x="115309" y="166982"/>
                          <a:pt x="117402" y="165008"/>
                        </a:cubicBezTo>
                        <a:cubicBezTo>
                          <a:pt x="109088" y="154482"/>
                          <a:pt x="101014" y="144195"/>
                          <a:pt x="93179" y="134207"/>
                        </a:cubicBezTo>
                        <a:cubicBezTo>
                          <a:pt x="91146" y="136061"/>
                          <a:pt x="89113" y="137975"/>
                          <a:pt x="87019" y="139829"/>
                        </a:cubicBezTo>
                        <a:cubicBezTo>
                          <a:pt x="86481" y="139171"/>
                          <a:pt x="86003" y="138514"/>
                          <a:pt x="85465" y="137856"/>
                        </a:cubicBezTo>
                        <a:cubicBezTo>
                          <a:pt x="87498" y="136002"/>
                          <a:pt x="89531" y="134088"/>
                          <a:pt x="91564" y="132234"/>
                        </a:cubicBezTo>
                        <a:cubicBezTo>
                          <a:pt x="83910" y="122485"/>
                          <a:pt x="76374" y="112976"/>
                          <a:pt x="69077" y="103706"/>
                        </a:cubicBezTo>
                        <a:cubicBezTo>
                          <a:pt x="67104" y="105500"/>
                          <a:pt x="65130" y="107354"/>
                          <a:pt x="63156" y="109148"/>
                        </a:cubicBezTo>
                        <a:cubicBezTo>
                          <a:pt x="62678" y="108550"/>
                          <a:pt x="62200" y="107892"/>
                          <a:pt x="61721" y="107294"/>
                        </a:cubicBezTo>
                        <a:cubicBezTo>
                          <a:pt x="63695" y="105500"/>
                          <a:pt x="65668" y="103706"/>
                          <a:pt x="67642" y="101852"/>
                        </a:cubicBezTo>
                        <a:cubicBezTo>
                          <a:pt x="60525" y="92761"/>
                          <a:pt x="53527" y="83969"/>
                          <a:pt x="46709" y="75297"/>
                        </a:cubicBezTo>
                        <a:cubicBezTo>
                          <a:pt x="44796" y="77032"/>
                          <a:pt x="42882" y="78826"/>
                          <a:pt x="41028" y="80560"/>
                        </a:cubicBezTo>
                        <a:cubicBezTo>
                          <a:pt x="40609" y="80022"/>
                          <a:pt x="40130" y="79424"/>
                          <a:pt x="39712" y="78886"/>
                        </a:cubicBezTo>
                        <a:cubicBezTo>
                          <a:pt x="41626" y="77151"/>
                          <a:pt x="43480" y="75417"/>
                          <a:pt x="45393" y="73623"/>
                        </a:cubicBezTo>
                        <a:cubicBezTo>
                          <a:pt x="38755" y="65190"/>
                          <a:pt x="32236" y="56936"/>
                          <a:pt x="25896" y="48862"/>
                        </a:cubicBezTo>
                        <a:cubicBezTo>
                          <a:pt x="24043" y="50537"/>
                          <a:pt x="22248" y="52271"/>
                          <a:pt x="20394" y="53946"/>
                        </a:cubicBezTo>
                        <a:cubicBezTo>
                          <a:pt x="19975" y="53408"/>
                          <a:pt x="19557" y="52870"/>
                          <a:pt x="19138" y="52331"/>
                        </a:cubicBezTo>
                        <a:cubicBezTo>
                          <a:pt x="20992" y="50657"/>
                          <a:pt x="22786" y="48982"/>
                          <a:pt x="24641" y="47248"/>
                        </a:cubicBezTo>
                        <a:cubicBezTo>
                          <a:pt x="18420" y="39353"/>
                          <a:pt x="12380" y="31698"/>
                          <a:pt x="6459" y="24102"/>
                        </a:cubicBezTo>
                        <a:cubicBezTo>
                          <a:pt x="4665" y="25717"/>
                          <a:pt x="2930" y="27392"/>
                          <a:pt x="1136" y="29006"/>
                        </a:cubicBezTo>
                        <a:cubicBezTo>
                          <a:pt x="778" y="28528"/>
                          <a:pt x="358" y="27990"/>
                          <a:pt x="0" y="27511"/>
                        </a:cubicBezTo>
                        <a:cubicBezTo>
                          <a:pt x="4964" y="22906"/>
                          <a:pt x="9988" y="18301"/>
                          <a:pt x="14952" y="13756"/>
                        </a:cubicBezTo>
                        <a:cubicBezTo>
                          <a:pt x="19916" y="9150"/>
                          <a:pt x="24940" y="4545"/>
                          <a:pt x="29904" y="0"/>
                        </a:cubicBezTo>
                        <a:cubicBezTo>
                          <a:pt x="30262" y="478"/>
                          <a:pt x="30741" y="957"/>
                          <a:pt x="31099" y="1435"/>
                        </a:cubicBezTo>
                        <a:cubicBezTo>
                          <a:pt x="30561" y="1914"/>
                          <a:pt x="30023" y="2392"/>
                          <a:pt x="29485" y="2930"/>
                        </a:cubicBezTo>
                        <a:cubicBezTo>
                          <a:pt x="35705" y="10167"/>
                          <a:pt x="42045" y="17703"/>
                          <a:pt x="48504" y="25298"/>
                        </a:cubicBezTo>
                        <a:lnTo>
                          <a:pt x="48504" y="25298"/>
                        </a:lnTo>
                        <a:close/>
                        <a:moveTo>
                          <a:pt x="38695" y="34329"/>
                        </a:moveTo>
                        <a:cubicBezTo>
                          <a:pt x="40549" y="32655"/>
                          <a:pt x="42403" y="30920"/>
                          <a:pt x="44257" y="29246"/>
                        </a:cubicBezTo>
                        <a:cubicBezTo>
                          <a:pt x="37858" y="21590"/>
                          <a:pt x="31578" y="14055"/>
                          <a:pt x="25418" y="6639"/>
                        </a:cubicBezTo>
                        <a:cubicBezTo>
                          <a:pt x="23624" y="8313"/>
                          <a:pt x="21830" y="9928"/>
                          <a:pt x="20035" y="11603"/>
                        </a:cubicBezTo>
                        <a:cubicBezTo>
                          <a:pt x="26136" y="19019"/>
                          <a:pt x="32356" y="26614"/>
                          <a:pt x="38695" y="34329"/>
                        </a:cubicBezTo>
                        <a:lnTo>
                          <a:pt x="38695" y="34329"/>
                        </a:lnTo>
                        <a:close/>
                        <a:moveTo>
                          <a:pt x="122365" y="160523"/>
                        </a:moveTo>
                        <a:cubicBezTo>
                          <a:pt x="124518" y="158549"/>
                          <a:pt x="126612" y="156575"/>
                          <a:pt x="128765" y="154602"/>
                        </a:cubicBezTo>
                        <a:cubicBezTo>
                          <a:pt x="120332" y="144195"/>
                          <a:pt x="112139" y="134088"/>
                          <a:pt x="104125" y="124160"/>
                        </a:cubicBezTo>
                        <a:cubicBezTo>
                          <a:pt x="102031" y="126074"/>
                          <a:pt x="99998" y="127928"/>
                          <a:pt x="97964" y="129841"/>
                        </a:cubicBezTo>
                        <a:cubicBezTo>
                          <a:pt x="105858" y="139829"/>
                          <a:pt x="113992" y="150056"/>
                          <a:pt x="122365" y="160523"/>
                        </a:cubicBezTo>
                        <a:lnTo>
                          <a:pt x="122365" y="160523"/>
                        </a:lnTo>
                        <a:close/>
                        <a:moveTo>
                          <a:pt x="96349" y="127928"/>
                        </a:moveTo>
                        <a:cubicBezTo>
                          <a:pt x="98383" y="126014"/>
                          <a:pt x="100476" y="124160"/>
                          <a:pt x="102510" y="122246"/>
                        </a:cubicBezTo>
                        <a:cubicBezTo>
                          <a:pt x="94734" y="112617"/>
                          <a:pt x="87079" y="103227"/>
                          <a:pt x="79663" y="94017"/>
                        </a:cubicBezTo>
                        <a:cubicBezTo>
                          <a:pt x="77690" y="95871"/>
                          <a:pt x="75716" y="97665"/>
                          <a:pt x="73682" y="99519"/>
                        </a:cubicBezTo>
                        <a:cubicBezTo>
                          <a:pt x="81098" y="108789"/>
                          <a:pt x="88634" y="118239"/>
                          <a:pt x="96349" y="127928"/>
                        </a:cubicBezTo>
                        <a:lnTo>
                          <a:pt x="96349" y="127928"/>
                        </a:lnTo>
                        <a:close/>
                        <a:moveTo>
                          <a:pt x="72247" y="97665"/>
                        </a:moveTo>
                        <a:cubicBezTo>
                          <a:pt x="74221" y="95871"/>
                          <a:pt x="76194" y="94017"/>
                          <a:pt x="78168" y="92223"/>
                        </a:cubicBezTo>
                        <a:cubicBezTo>
                          <a:pt x="70931" y="83252"/>
                          <a:pt x="63815" y="74520"/>
                          <a:pt x="56877" y="65967"/>
                        </a:cubicBezTo>
                        <a:cubicBezTo>
                          <a:pt x="54962" y="67761"/>
                          <a:pt x="53049" y="69496"/>
                          <a:pt x="51135" y="71230"/>
                        </a:cubicBezTo>
                        <a:cubicBezTo>
                          <a:pt x="58073" y="79902"/>
                          <a:pt x="65070" y="88694"/>
                          <a:pt x="72247" y="97665"/>
                        </a:cubicBezTo>
                        <a:lnTo>
                          <a:pt x="72247" y="97665"/>
                        </a:lnTo>
                        <a:close/>
                        <a:moveTo>
                          <a:pt x="49819" y="69556"/>
                        </a:moveTo>
                        <a:cubicBezTo>
                          <a:pt x="51733" y="67821"/>
                          <a:pt x="53647" y="66027"/>
                          <a:pt x="55561" y="64293"/>
                        </a:cubicBezTo>
                        <a:cubicBezTo>
                          <a:pt x="48803" y="55979"/>
                          <a:pt x="42224" y="47786"/>
                          <a:pt x="35765" y="39832"/>
                        </a:cubicBezTo>
                        <a:cubicBezTo>
                          <a:pt x="33911" y="41566"/>
                          <a:pt x="32057" y="43240"/>
                          <a:pt x="30202" y="44915"/>
                        </a:cubicBezTo>
                        <a:cubicBezTo>
                          <a:pt x="36602" y="52929"/>
                          <a:pt x="43121" y="61183"/>
                          <a:pt x="49819" y="69556"/>
                        </a:cubicBezTo>
                        <a:lnTo>
                          <a:pt x="49819" y="69556"/>
                        </a:lnTo>
                        <a:close/>
                        <a:moveTo>
                          <a:pt x="133669" y="150116"/>
                        </a:moveTo>
                        <a:cubicBezTo>
                          <a:pt x="135822" y="148142"/>
                          <a:pt x="137915" y="146169"/>
                          <a:pt x="140069" y="144195"/>
                        </a:cubicBezTo>
                        <a:cubicBezTo>
                          <a:pt x="131516" y="133908"/>
                          <a:pt x="123143" y="123921"/>
                          <a:pt x="115009" y="114112"/>
                        </a:cubicBezTo>
                        <a:cubicBezTo>
                          <a:pt x="112976" y="116026"/>
                          <a:pt x="110883" y="117880"/>
                          <a:pt x="108849" y="119794"/>
                        </a:cubicBezTo>
                        <a:cubicBezTo>
                          <a:pt x="116923" y="129662"/>
                          <a:pt x="125176" y="139769"/>
                          <a:pt x="133669" y="150116"/>
                        </a:cubicBezTo>
                        <a:lnTo>
                          <a:pt x="133669" y="150116"/>
                        </a:lnTo>
                        <a:close/>
                        <a:moveTo>
                          <a:pt x="107234" y="117880"/>
                        </a:moveTo>
                        <a:cubicBezTo>
                          <a:pt x="109268" y="115966"/>
                          <a:pt x="111361" y="114112"/>
                          <a:pt x="113394" y="112198"/>
                        </a:cubicBezTo>
                        <a:cubicBezTo>
                          <a:pt x="105440" y="102689"/>
                          <a:pt x="97725" y="93419"/>
                          <a:pt x="90189" y="84328"/>
                        </a:cubicBezTo>
                        <a:cubicBezTo>
                          <a:pt x="88216" y="86182"/>
                          <a:pt x="86242" y="87976"/>
                          <a:pt x="84208" y="89830"/>
                        </a:cubicBezTo>
                        <a:cubicBezTo>
                          <a:pt x="91684" y="98981"/>
                          <a:pt x="99400" y="108311"/>
                          <a:pt x="107234" y="117880"/>
                        </a:cubicBezTo>
                        <a:lnTo>
                          <a:pt x="107234" y="117880"/>
                        </a:lnTo>
                        <a:close/>
                        <a:moveTo>
                          <a:pt x="82713" y="88036"/>
                        </a:moveTo>
                        <a:cubicBezTo>
                          <a:pt x="84687" y="86242"/>
                          <a:pt x="86661" y="84388"/>
                          <a:pt x="88634" y="82594"/>
                        </a:cubicBezTo>
                        <a:cubicBezTo>
                          <a:pt x="81278" y="73742"/>
                          <a:pt x="74101" y="65130"/>
                          <a:pt x="67044" y="56637"/>
                        </a:cubicBezTo>
                        <a:cubicBezTo>
                          <a:pt x="65130" y="58432"/>
                          <a:pt x="63216" y="60166"/>
                          <a:pt x="61302" y="61900"/>
                        </a:cubicBezTo>
                        <a:cubicBezTo>
                          <a:pt x="68300" y="70453"/>
                          <a:pt x="75417" y="79125"/>
                          <a:pt x="82713" y="88036"/>
                        </a:cubicBezTo>
                        <a:lnTo>
                          <a:pt x="82713" y="88036"/>
                        </a:lnTo>
                        <a:close/>
                        <a:moveTo>
                          <a:pt x="59987" y="60226"/>
                        </a:moveTo>
                        <a:cubicBezTo>
                          <a:pt x="61900" y="58491"/>
                          <a:pt x="63815" y="56697"/>
                          <a:pt x="65728" y="54963"/>
                        </a:cubicBezTo>
                        <a:cubicBezTo>
                          <a:pt x="58850" y="46709"/>
                          <a:pt x="52152" y="38635"/>
                          <a:pt x="45573" y="30801"/>
                        </a:cubicBezTo>
                        <a:cubicBezTo>
                          <a:pt x="43719" y="32535"/>
                          <a:pt x="41865" y="34210"/>
                          <a:pt x="40011" y="35884"/>
                        </a:cubicBezTo>
                        <a:cubicBezTo>
                          <a:pt x="46470" y="43839"/>
                          <a:pt x="53169" y="51972"/>
                          <a:pt x="59987" y="60226"/>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01" name="Vrije vorm: vorm 7100">
                    <a:extLst>
                      <a:ext uri="{FF2B5EF4-FFF2-40B4-BE49-F238E27FC236}">
                        <a16:creationId xmlns:a16="http://schemas.microsoft.com/office/drawing/2014/main" id="{796986BD-0B16-41E4-B812-148C7AD92060}"/>
                      </a:ext>
                    </a:extLst>
                  </p:cNvPr>
                  <p:cNvSpPr/>
                  <p:nvPr/>
                </p:nvSpPr>
                <p:spPr>
                  <a:xfrm>
                    <a:off x="7700438" y="2594118"/>
                    <a:ext cx="6578" cy="5681"/>
                  </a:xfrm>
                  <a:custGeom>
                    <a:avLst/>
                    <a:gdLst>
                      <a:gd name="connsiteX0" fmla="*/ 6579 w 6578"/>
                      <a:gd name="connsiteY0" fmla="*/ 478 h 5681"/>
                      <a:gd name="connsiteX1" fmla="*/ 6160 w 6578"/>
                      <a:gd name="connsiteY1" fmla="*/ 0 h 5681"/>
                      <a:gd name="connsiteX2" fmla="*/ 0 w 6578"/>
                      <a:gd name="connsiteY2" fmla="*/ 5682 h 5681"/>
                      <a:gd name="connsiteX3" fmla="*/ 1197 w 6578"/>
                      <a:gd name="connsiteY3" fmla="*/ 5442 h 5681"/>
                      <a:gd name="connsiteX4" fmla="*/ 6579 w 6578"/>
                      <a:gd name="connsiteY4" fmla="*/ 478 h 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8" h="5681">
                        <a:moveTo>
                          <a:pt x="6579" y="478"/>
                        </a:moveTo>
                        <a:cubicBezTo>
                          <a:pt x="6460" y="299"/>
                          <a:pt x="6280" y="179"/>
                          <a:pt x="6160" y="0"/>
                        </a:cubicBezTo>
                        <a:cubicBezTo>
                          <a:pt x="4127" y="1914"/>
                          <a:pt x="2034" y="3768"/>
                          <a:pt x="0" y="5682"/>
                        </a:cubicBezTo>
                        <a:cubicBezTo>
                          <a:pt x="419" y="5562"/>
                          <a:pt x="837" y="5502"/>
                          <a:pt x="1197" y="5442"/>
                        </a:cubicBezTo>
                        <a:cubicBezTo>
                          <a:pt x="2990" y="3768"/>
                          <a:pt x="4785" y="2153"/>
                          <a:pt x="6579" y="47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02" name="Vrije vorm: vorm 7101">
                    <a:extLst>
                      <a:ext uri="{FF2B5EF4-FFF2-40B4-BE49-F238E27FC236}">
                        <a16:creationId xmlns:a16="http://schemas.microsoft.com/office/drawing/2014/main" id="{A6EAFBED-0816-42D5-B894-A4F4CD8D55E0}"/>
                      </a:ext>
                    </a:extLst>
                  </p:cNvPr>
                  <p:cNvSpPr/>
                  <p:nvPr/>
                </p:nvSpPr>
                <p:spPr>
                  <a:xfrm>
                    <a:off x="7689434" y="2604166"/>
                    <a:ext cx="6638" cy="5681"/>
                  </a:xfrm>
                  <a:custGeom>
                    <a:avLst/>
                    <a:gdLst>
                      <a:gd name="connsiteX0" fmla="*/ 6639 w 6638"/>
                      <a:gd name="connsiteY0" fmla="*/ 478 h 5681"/>
                      <a:gd name="connsiteX1" fmla="*/ 6220 w 6638"/>
                      <a:gd name="connsiteY1" fmla="*/ 0 h 5681"/>
                      <a:gd name="connsiteX2" fmla="*/ 3050 w 6638"/>
                      <a:gd name="connsiteY2" fmla="*/ 2930 h 5681"/>
                      <a:gd name="connsiteX3" fmla="*/ 0 w 6638"/>
                      <a:gd name="connsiteY3" fmla="*/ 5682 h 5681"/>
                      <a:gd name="connsiteX4" fmla="*/ 1196 w 6638"/>
                      <a:gd name="connsiteY4" fmla="*/ 5442 h 5681"/>
                      <a:gd name="connsiteX5" fmla="*/ 3469 w 6638"/>
                      <a:gd name="connsiteY5" fmla="*/ 3349 h 5681"/>
                      <a:gd name="connsiteX6" fmla="*/ 6639 w 6638"/>
                      <a:gd name="connsiteY6" fmla="*/ 478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38" h="5681">
                        <a:moveTo>
                          <a:pt x="6639" y="478"/>
                        </a:moveTo>
                        <a:cubicBezTo>
                          <a:pt x="6519" y="299"/>
                          <a:pt x="6399" y="120"/>
                          <a:pt x="6220" y="0"/>
                        </a:cubicBezTo>
                        <a:cubicBezTo>
                          <a:pt x="5143" y="957"/>
                          <a:pt x="4126" y="1914"/>
                          <a:pt x="3050" y="2930"/>
                        </a:cubicBezTo>
                        <a:cubicBezTo>
                          <a:pt x="2033" y="3887"/>
                          <a:pt x="1017" y="4785"/>
                          <a:pt x="0" y="5682"/>
                        </a:cubicBezTo>
                        <a:cubicBezTo>
                          <a:pt x="418" y="5622"/>
                          <a:pt x="837" y="5502"/>
                          <a:pt x="1196" y="5442"/>
                        </a:cubicBezTo>
                        <a:cubicBezTo>
                          <a:pt x="1973" y="4785"/>
                          <a:pt x="2691" y="4067"/>
                          <a:pt x="3469" y="3349"/>
                        </a:cubicBezTo>
                        <a:cubicBezTo>
                          <a:pt x="4545" y="2392"/>
                          <a:pt x="5622" y="1435"/>
                          <a:pt x="6639" y="47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03" name="Vrije vorm: vorm 7102">
                    <a:extLst>
                      <a:ext uri="{FF2B5EF4-FFF2-40B4-BE49-F238E27FC236}">
                        <a16:creationId xmlns:a16="http://schemas.microsoft.com/office/drawing/2014/main" id="{491D518E-2560-4513-AF25-68ECB82ACA0A}"/>
                      </a:ext>
                    </a:extLst>
                  </p:cNvPr>
                  <p:cNvSpPr/>
                  <p:nvPr/>
                </p:nvSpPr>
                <p:spPr>
                  <a:xfrm>
                    <a:off x="7678668" y="2614213"/>
                    <a:ext cx="6519" cy="5621"/>
                  </a:xfrm>
                  <a:custGeom>
                    <a:avLst/>
                    <a:gdLst>
                      <a:gd name="connsiteX0" fmla="*/ 6520 w 6519"/>
                      <a:gd name="connsiteY0" fmla="*/ 479 h 5621"/>
                      <a:gd name="connsiteX1" fmla="*/ 6160 w 6519"/>
                      <a:gd name="connsiteY1" fmla="*/ 0 h 5621"/>
                      <a:gd name="connsiteX2" fmla="*/ 0 w 6519"/>
                      <a:gd name="connsiteY2" fmla="*/ 5622 h 5621"/>
                      <a:gd name="connsiteX3" fmla="*/ 1197 w 6519"/>
                      <a:gd name="connsiteY3" fmla="*/ 5383 h 5621"/>
                      <a:gd name="connsiteX4" fmla="*/ 6520 w 6519"/>
                      <a:gd name="connsiteY4" fmla="*/ 479 h 5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9" h="5621">
                        <a:moveTo>
                          <a:pt x="6520" y="479"/>
                        </a:moveTo>
                        <a:cubicBezTo>
                          <a:pt x="6400" y="299"/>
                          <a:pt x="6280" y="120"/>
                          <a:pt x="6160" y="0"/>
                        </a:cubicBezTo>
                        <a:cubicBezTo>
                          <a:pt x="4127" y="1854"/>
                          <a:pt x="2094" y="3768"/>
                          <a:pt x="0" y="5622"/>
                        </a:cubicBezTo>
                        <a:cubicBezTo>
                          <a:pt x="419" y="5562"/>
                          <a:pt x="837" y="5442"/>
                          <a:pt x="1197" y="5383"/>
                        </a:cubicBezTo>
                        <a:cubicBezTo>
                          <a:pt x="2930" y="3708"/>
                          <a:pt x="4725" y="2093"/>
                          <a:pt x="6520" y="479"/>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04" name="Vrije vorm: vorm 7103">
                    <a:extLst>
                      <a:ext uri="{FF2B5EF4-FFF2-40B4-BE49-F238E27FC236}">
                        <a16:creationId xmlns:a16="http://schemas.microsoft.com/office/drawing/2014/main" id="{F816567A-2E46-440A-8E55-41D52D9BFE7F}"/>
                      </a:ext>
                    </a:extLst>
                  </p:cNvPr>
                  <p:cNvSpPr/>
                  <p:nvPr/>
                </p:nvSpPr>
                <p:spPr>
                  <a:xfrm>
                    <a:off x="7711323" y="2587838"/>
                    <a:ext cx="3050" cy="1913"/>
                  </a:xfrm>
                  <a:custGeom>
                    <a:avLst/>
                    <a:gdLst>
                      <a:gd name="connsiteX0" fmla="*/ 0 w 3050"/>
                      <a:gd name="connsiteY0" fmla="*/ 1914 h 1913"/>
                      <a:gd name="connsiteX1" fmla="*/ 1196 w 3050"/>
                      <a:gd name="connsiteY1" fmla="*/ 1675 h 1913"/>
                      <a:gd name="connsiteX2" fmla="*/ 3050 w 3050"/>
                      <a:gd name="connsiteY2" fmla="*/ 0 h 1913"/>
                      <a:gd name="connsiteX3" fmla="*/ 1854 w 3050"/>
                      <a:gd name="connsiteY3" fmla="*/ 239 h 1913"/>
                      <a:gd name="connsiteX4" fmla="*/ 0 w 3050"/>
                      <a:gd name="connsiteY4" fmla="*/ 1914 h 1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0" h="1913">
                        <a:moveTo>
                          <a:pt x="0" y="1914"/>
                        </a:moveTo>
                        <a:cubicBezTo>
                          <a:pt x="418" y="1794"/>
                          <a:pt x="837" y="1734"/>
                          <a:pt x="1196" y="1675"/>
                        </a:cubicBezTo>
                        <a:cubicBezTo>
                          <a:pt x="1794" y="1136"/>
                          <a:pt x="2392" y="538"/>
                          <a:pt x="3050" y="0"/>
                        </a:cubicBezTo>
                        <a:cubicBezTo>
                          <a:pt x="2631" y="120"/>
                          <a:pt x="2213" y="179"/>
                          <a:pt x="1854" y="239"/>
                        </a:cubicBezTo>
                        <a:cubicBezTo>
                          <a:pt x="1256" y="778"/>
                          <a:pt x="598" y="1376"/>
                          <a:pt x="0" y="1914"/>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05" name="Vrije vorm: vorm 7104">
                    <a:extLst>
                      <a:ext uri="{FF2B5EF4-FFF2-40B4-BE49-F238E27FC236}">
                        <a16:creationId xmlns:a16="http://schemas.microsoft.com/office/drawing/2014/main" id="{749931B7-6F74-4597-8B4A-81BFE558F1B7}"/>
                      </a:ext>
                    </a:extLst>
                  </p:cNvPr>
                  <p:cNvSpPr/>
                  <p:nvPr/>
                </p:nvSpPr>
                <p:spPr>
                  <a:xfrm>
                    <a:off x="7686324" y="2558234"/>
                    <a:ext cx="2990" cy="1854"/>
                  </a:xfrm>
                  <a:custGeom>
                    <a:avLst/>
                    <a:gdLst>
                      <a:gd name="connsiteX0" fmla="*/ 0 w 2990"/>
                      <a:gd name="connsiteY0" fmla="*/ 1854 h 1854"/>
                      <a:gd name="connsiteX1" fmla="*/ 1256 w 2990"/>
                      <a:gd name="connsiteY1" fmla="*/ 1615 h 1854"/>
                      <a:gd name="connsiteX2" fmla="*/ 2990 w 2990"/>
                      <a:gd name="connsiteY2" fmla="*/ 0 h 1854"/>
                      <a:gd name="connsiteX3" fmla="*/ 1795 w 2990"/>
                      <a:gd name="connsiteY3" fmla="*/ 239 h 1854"/>
                      <a:gd name="connsiteX4" fmla="*/ 0 w 2990"/>
                      <a:gd name="connsiteY4" fmla="*/ 1854 h 1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0" h="1854">
                        <a:moveTo>
                          <a:pt x="0" y="1854"/>
                        </a:moveTo>
                        <a:cubicBezTo>
                          <a:pt x="419" y="1734"/>
                          <a:pt x="837" y="1675"/>
                          <a:pt x="1256" y="1615"/>
                        </a:cubicBezTo>
                        <a:cubicBezTo>
                          <a:pt x="1854" y="1076"/>
                          <a:pt x="2452" y="538"/>
                          <a:pt x="2990" y="0"/>
                        </a:cubicBezTo>
                        <a:cubicBezTo>
                          <a:pt x="2572" y="60"/>
                          <a:pt x="2153" y="179"/>
                          <a:pt x="1795" y="239"/>
                        </a:cubicBezTo>
                        <a:cubicBezTo>
                          <a:pt x="1197" y="778"/>
                          <a:pt x="598" y="1316"/>
                          <a:pt x="0" y="1854"/>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06" name="Vrije vorm: vorm 7105">
                    <a:extLst>
                      <a:ext uri="{FF2B5EF4-FFF2-40B4-BE49-F238E27FC236}">
                        <a16:creationId xmlns:a16="http://schemas.microsoft.com/office/drawing/2014/main" id="{7CCD287E-B3CE-47AE-BFBC-2E895C19AAD3}"/>
                      </a:ext>
                    </a:extLst>
                  </p:cNvPr>
                  <p:cNvSpPr/>
                  <p:nvPr/>
                </p:nvSpPr>
                <p:spPr>
                  <a:xfrm>
                    <a:off x="7675798" y="2564334"/>
                    <a:ext cx="6399" cy="5502"/>
                  </a:xfrm>
                  <a:custGeom>
                    <a:avLst/>
                    <a:gdLst>
                      <a:gd name="connsiteX0" fmla="*/ 6400 w 6399"/>
                      <a:gd name="connsiteY0" fmla="*/ 479 h 5502"/>
                      <a:gd name="connsiteX1" fmla="*/ 5981 w 6399"/>
                      <a:gd name="connsiteY1" fmla="*/ 0 h 5502"/>
                      <a:gd name="connsiteX2" fmla="*/ 0 w 6399"/>
                      <a:gd name="connsiteY2" fmla="*/ 5502 h 5502"/>
                      <a:gd name="connsiteX3" fmla="*/ 1197 w 6399"/>
                      <a:gd name="connsiteY3" fmla="*/ 5263 h 5502"/>
                      <a:gd name="connsiteX4" fmla="*/ 6400 w 6399"/>
                      <a:gd name="connsiteY4" fmla="*/ 479 h 5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9" h="5502">
                        <a:moveTo>
                          <a:pt x="6400" y="479"/>
                        </a:moveTo>
                        <a:cubicBezTo>
                          <a:pt x="6280" y="299"/>
                          <a:pt x="6100" y="120"/>
                          <a:pt x="5981" y="0"/>
                        </a:cubicBezTo>
                        <a:cubicBezTo>
                          <a:pt x="4007" y="1854"/>
                          <a:pt x="2034" y="3648"/>
                          <a:pt x="0" y="5502"/>
                        </a:cubicBezTo>
                        <a:cubicBezTo>
                          <a:pt x="419" y="5383"/>
                          <a:pt x="837" y="5323"/>
                          <a:pt x="1197" y="5263"/>
                        </a:cubicBezTo>
                        <a:cubicBezTo>
                          <a:pt x="2930" y="3648"/>
                          <a:pt x="4665" y="2033"/>
                          <a:pt x="6400" y="479"/>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07" name="Vrije vorm: vorm 7106">
                    <a:extLst>
                      <a:ext uri="{FF2B5EF4-FFF2-40B4-BE49-F238E27FC236}">
                        <a16:creationId xmlns:a16="http://schemas.microsoft.com/office/drawing/2014/main" id="{9513FEC7-6972-4F07-BD20-46B37435767C}"/>
                      </a:ext>
                    </a:extLst>
                  </p:cNvPr>
                  <p:cNvSpPr/>
                  <p:nvPr/>
                </p:nvSpPr>
                <p:spPr>
                  <a:xfrm>
                    <a:off x="7665331" y="2574023"/>
                    <a:ext cx="6339" cy="5502"/>
                  </a:xfrm>
                  <a:custGeom>
                    <a:avLst/>
                    <a:gdLst>
                      <a:gd name="connsiteX0" fmla="*/ 6340 w 6339"/>
                      <a:gd name="connsiteY0" fmla="*/ 479 h 5502"/>
                      <a:gd name="connsiteX1" fmla="*/ 5921 w 6339"/>
                      <a:gd name="connsiteY1" fmla="*/ 0 h 5502"/>
                      <a:gd name="connsiteX2" fmla="*/ 359 w 6339"/>
                      <a:gd name="connsiteY2" fmla="*/ 5144 h 5502"/>
                      <a:gd name="connsiteX3" fmla="*/ 0 w 6339"/>
                      <a:gd name="connsiteY3" fmla="*/ 5502 h 5502"/>
                      <a:gd name="connsiteX4" fmla="*/ 598 w 6339"/>
                      <a:gd name="connsiteY4" fmla="*/ 5383 h 5502"/>
                      <a:gd name="connsiteX5" fmla="*/ 1256 w 6339"/>
                      <a:gd name="connsiteY5" fmla="*/ 5263 h 5502"/>
                      <a:gd name="connsiteX6" fmla="*/ 6340 w 6339"/>
                      <a:gd name="connsiteY6" fmla="*/ 479 h 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39" h="5502">
                        <a:moveTo>
                          <a:pt x="6340" y="479"/>
                        </a:moveTo>
                        <a:cubicBezTo>
                          <a:pt x="6220" y="299"/>
                          <a:pt x="6041" y="120"/>
                          <a:pt x="5921" y="0"/>
                        </a:cubicBezTo>
                        <a:cubicBezTo>
                          <a:pt x="4067" y="1734"/>
                          <a:pt x="2213" y="3409"/>
                          <a:pt x="359" y="5144"/>
                        </a:cubicBezTo>
                        <a:cubicBezTo>
                          <a:pt x="239" y="5263"/>
                          <a:pt x="120" y="5383"/>
                          <a:pt x="0" y="5502"/>
                        </a:cubicBezTo>
                        <a:cubicBezTo>
                          <a:pt x="180" y="5442"/>
                          <a:pt x="359" y="5442"/>
                          <a:pt x="598" y="5383"/>
                        </a:cubicBezTo>
                        <a:cubicBezTo>
                          <a:pt x="837" y="5323"/>
                          <a:pt x="1017" y="5263"/>
                          <a:pt x="1256" y="5263"/>
                        </a:cubicBezTo>
                        <a:cubicBezTo>
                          <a:pt x="2871" y="3588"/>
                          <a:pt x="4605" y="2033"/>
                          <a:pt x="6340" y="479"/>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08" name="Vrije vorm: vorm 7107">
                    <a:extLst>
                      <a:ext uri="{FF2B5EF4-FFF2-40B4-BE49-F238E27FC236}">
                        <a16:creationId xmlns:a16="http://schemas.microsoft.com/office/drawing/2014/main" id="{5933CC22-EDBE-4D2A-B877-BFF878C4123A}"/>
                      </a:ext>
                    </a:extLst>
                  </p:cNvPr>
                  <p:cNvSpPr/>
                  <p:nvPr/>
                </p:nvSpPr>
                <p:spPr>
                  <a:xfrm>
                    <a:off x="7654805" y="2583712"/>
                    <a:ext cx="6339" cy="5442"/>
                  </a:xfrm>
                  <a:custGeom>
                    <a:avLst/>
                    <a:gdLst>
                      <a:gd name="connsiteX0" fmla="*/ 6340 w 6339"/>
                      <a:gd name="connsiteY0" fmla="*/ 479 h 5442"/>
                      <a:gd name="connsiteX1" fmla="*/ 5921 w 6339"/>
                      <a:gd name="connsiteY1" fmla="*/ 0 h 5442"/>
                      <a:gd name="connsiteX2" fmla="*/ 0 w 6339"/>
                      <a:gd name="connsiteY2" fmla="*/ 5442 h 5442"/>
                      <a:gd name="connsiteX3" fmla="*/ 1256 w 6339"/>
                      <a:gd name="connsiteY3" fmla="*/ 5203 h 5442"/>
                      <a:gd name="connsiteX4" fmla="*/ 6340 w 6339"/>
                      <a:gd name="connsiteY4" fmla="*/ 479 h 5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9" h="5442">
                        <a:moveTo>
                          <a:pt x="6340" y="479"/>
                        </a:moveTo>
                        <a:cubicBezTo>
                          <a:pt x="6220" y="299"/>
                          <a:pt x="6041" y="120"/>
                          <a:pt x="5921" y="0"/>
                        </a:cubicBezTo>
                        <a:cubicBezTo>
                          <a:pt x="3947" y="1794"/>
                          <a:pt x="1974" y="3648"/>
                          <a:pt x="0" y="5442"/>
                        </a:cubicBezTo>
                        <a:cubicBezTo>
                          <a:pt x="419" y="5323"/>
                          <a:pt x="837" y="5263"/>
                          <a:pt x="1256" y="5203"/>
                        </a:cubicBezTo>
                        <a:cubicBezTo>
                          <a:pt x="2930" y="3588"/>
                          <a:pt x="4665" y="2034"/>
                          <a:pt x="6340" y="479"/>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09" name="Vrije vorm: vorm 7108">
                    <a:extLst>
                      <a:ext uri="{FF2B5EF4-FFF2-40B4-BE49-F238E27FC236}">
                        <a16:creationId xmlns:a16="http://schemas.microsoft.com/office/drawing/2014/main" id="{851AB930-3A50-47B3-BA3B-010858D16921}"/>
                      </a:ext>
                    </a:extLst>
                  </p:cNvPr>
                  <p:cNvSpPr/>
                  <p:nvPr/>
                </p:nvSpPr>
                <p:spPr>
                  <a:xfrm>
                    <a:off x="7663059" y="2530723"/>
                    <a:ext cx="2930" cy="1794"/>
                  </a:xfrm>
                  <a:custGeom>
                    <a:avLst/>
                    <a:gdLst>
                      <a:gd name="connsiteX0" fmla="*/ 0 w 2930"/>
                      <a:gd name="connsiteY0" fmla="*/ 1794 h 1794"/>
                      <a:gd name="connsiteX1" fmla="*/ 1256 w 2930"/>
                      <a:gd name="connsiteY1" fmla="*/ 1555 h 1794"/>
                      <a:gd name="connsiteX2" fmla="*/ 2930 w 2930"/>
                      <a:gd name="connsiteY2" fmla="*/ 0 h 1794"/>
                      <a:gd name="connsiteX3" fmla="*/ 1675 w 2930"/>
                      <a:gd name="connsiteY3" fmla="*/ 239 h 1794"/>
                      <a:gd name="connsiteX4" fmla="*/ 0 w 2930"/>
                      <a:gd name="connsiteY4" fmla="*/ 1794 h 1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0" h="1794">
                        <a:moveTo>
                          <a:pt x="0" y="1794"/>
                        </a:moveTo>
                        <a:cubicBezTo>
                          <a:pt x="419" y="1734"/>
                          <a:pt x="837" y="1615"/>
                          <a:pt x="1256" y="1555"/>
                        </a:cubicBezTo>
                        <a:cubicBezTo>
                          <a:pt x="1795" y="1017"/>
                          <a:pt x="2392" y="538"/>
                          <a:pt x="2930" y="0"/>
                        </a:cubicBezTo>
                        <a:cubicBezTo>
                          <a:pt x="2512" y="60"/>
                          <a:pt x="2093" y="179"/>
                          <a:pt x="1675" y="239"/>
                        </a:cubicBezTo>
                        <a:cubicBezTo>
                          <a:pt x="1137" y="778"/>
                          <a:pt x="539" y="1256"/>
                          <a:pt x="0" y="1794"/>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10" name="Vrije vorm: vorm 7109">
                    <a:extLst>
                      <a:ext uri="{FF2B5EF4-FFF2-40B4-BE49-F238E27FC236}">
                        <a16:creationId xmlns:a16="http://schemas.microsoft.com/office/drawing/2014/main" id="{C01110A9-EB63-4393-9421-5E6729598EA2}"/>
                      </a:ext>
                    </a:extLst>
                  </p:cNvPr>
                  <p:cNvSpPr/>
                  <p:nvPr/>
                </p:nvSpPr>
                <p:spPr>
                  <a:xfrm>
                    <a:off x="7652892" y="2536524"/>
                    <a:ext cx="6160" cy="5263"/>
                  </a:xfrm>
                  <a:custGeom>
                    <a:avLst/>
                    <a:gdLst>
                      <a:gd name="connsiteX0" fmla="*/ 6160 w 6160"/>
                      <a:gd name="connsiteY0" fmla="*/ 538 h 5263"/>
                      <a:gd name="connsiteX1" fmla="*/ 5741 w 6160"/>
                      <a:gd name="connsiteY1" fmla="*/ 0 h 5263"/>
                      <a:gd name="connsiteX2" fmla="*/ 0 w 6160"/>
                      <a:gd name="connsiteY2" fmla="*/ 5263 h 5263"/>
                      <a:gd name="connsiteX3" fmla="*/ 1256 w 6160"/>
                      <a:gd name="connsiteY3" fmla="*/ 5024 h 5263"/>
                      <a:gd name="connsiteX4" fmla="*/ 6160 w 6160"/>
                      <a:gd name="connsiteY4" fmla="*/ 538 h 5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0" h="5263">
                        <a:moveTo>
                          <a:pt x="6160" y="538"/>
                        </a:moveTo>
                        <a:cubicBezTo>
                          <a:pt x="6041" y="359"/>
                          <a:pt x="5861" y="179"/>
                          <a:pt x="5741" y="0"/>
                        </a:cubicBezTo>
                        <a:cubicBezTo>
                          <a:pt x="3828" y="1794"/>
                          <a:pt x="1914" y="3529"/>
                          <a:pt x="0" y="5263"/>
                        </a:cubicBezTo>
                        <a:cubicBezTo>
                          <a:pt x="418" y="5203"/>
                          <a:pt x="837" y="5084"/>
                          <a:pt x="1256" y="5024"/>
                        </a:cubicBezTo>
                        <a:cubicBezTo>
                          <a:pt x="2930" y="3588"/>
                          <a:pt x="4545" y="2093"/>
                          <a:pt x="6160" y="53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11" name="Vrije vorm: vorm 7110">
                    <a:extLst>
                      <a:ext uri="{FF2B5EF4-FFF2-40B4-BE49-F238E27FC236}">
                        <a16:creationId xmlns:a16="http://schemas.microsoft.com/office/drawing/2014/main" id="{E20C2F8B-DAFF-4649-BEFC-C169C577CE40}"/>
                      </a:ext>
                    </a:extLst>
                  </p:cNvPr>
                  <p:cNvSpPr/>
                  <p:nvPr/>
                </p:nvSpPr>
                <p:spPr>
                  <a:xfrm>
                    <a:off x="7642784" y="2545854"/>
                    <a:ext cx="6160" cy="5263"/>
                  </a:xfrm>
                  <a:custGeom>
                    <a:avLst/>
                    <a:gdLst>
                      <a:gd name="connsiteX0" fmla="*/ 6160 w 6160"/>
                      <a:gd name="connsiteY0" fmla="*/ 538 h 5263"/>
                      <a:gd name="connsiteX1" fmla="*/ 5742 w 6160"/>
                      <a:gd name="connsiteY1" fmla="*/ 0 h 5263"/>
                      <a:gd name="connsiteX2" fmla="*/ 0 w 6160"/>
                      <a:gd name="connsiteY2" fmla="*/ 5263 h 5263"/>
                      <a:gd name="connsiteX3" fmla="*/ 1256 w 6160"/>
                      <a:gd name="connsiteY3" fmla="*/ 5024 h 5263"/>
                      <a:gd name="connsiteX4" fmla="*/ 6160 w 6160"/>
                      <a:gd name="connsiteY4" fmla="*/ 538 h 5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0" h="5263">
                        <a:moveTo>
                          <a:pt x="6160" y="538"/>
                        </a:moveTo>
                        <a:cubicBezTo>
                          <a:pt x="6041" y="359"/>
                          <a:pt x="5862" y="179"/>
                          <a:pt x="5742" y="0"/>
                        </a:cubicBezTo>
                        <a:cubicBezTo>
                          <a:pt x="3828" y="1794"/>
                          <a:pt x="1914" y="3529"/>
                          <a:pt x="0" y="5263"/>
                        </a:cubicBezTo>
                        <a:cubicBezTo>
                          <a:pt x="419" y="5203"/>
                          <a:pt x="837" y="5084"/>
                          <a:pt x="1256" y="5024"/>
                        </a:cubicBezTo>
                        <a:cubicBezTo>
                          <a:pt x="2871" y="3588"/>
                          <a:pt x="4486" y="2093"/>
                          <a:pt x="6160" y="53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12" name="Vrije vorm: vorm 7111">
                    <a:extLst>
                      <a:ext uri="{FF2B5EF4-FFF2-40B4-BE49-F238E27FC236}">
                        <a16:creationId xmlns:a16="http://schemas.microsoft.com/office/drawing/2014/main" id="{83493335-255A-4C8E-B7CA-AFFA632B2843}"/>
                      </a:ext>
                    </a:extLst>
                  </p:cNvPr>
                  <p:cNvSpPr/>
                  <p:nvPr/>
                </p:nvSpPr>
                <p:spPr>
                  <a:xfrm>
                    <a:off x="7632617" y="2555244"/>
                    <a:ext cx="6160" cy="5263"/>
                  </a:xfrm>
                  <a:custGeom>
                    <a:avLst/>
                    <a:gdLst>
                      <a:gd name="connsiteX0" fmla="*/ 6160 w 6160"/>
                      <a:gd name="connsiteY0" fmla="*/ 538 h 5263"/>
                      <a:gd name="connsiteX1" fmla="*/ 5741 w 6160"/>
                      <a:gd name="connsiteY1" fmla="*/ 0 h 5263"/>
                      <a:gd name="connsiteX2" fmla="*/ 0 w 6160"/>
                      <a:gd name="connsiteY2" fmla="*/ 5263 h 5263"/>
                      <a:gd name="connsiteX3" fmla="*/ 1256 w 6160"/>
                      <a:gd name="connsiteY3" fmla="*/ 5024 h 5263"/>
                      <a:gd name="connsiteX4" fmla="*/ 6160 w 6160"/>
                      <a:gd name="connsiteY4" fmla="*/ 538 h 5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0" h="5263">
                        <a:moveTo>
                          <a:pt x="6160" y="538"/>
                        </a:moveTo>
                        <a:cubicBezTo>
                          <a:pt x="6041" y="359"/>
                          <a:pt x="5861" y="179"/>
                          <a:pt x="5741" y="0"/>
                        </a:cubicBezTo>
                        <a:cubicBezTo>
                          <a:pt x="3828" y="1734"/>
                          <a:pt x="1914" y="3469"/>
                          <a:pt x="0" y="5263"/>
                        </a:cubicBezTo>
                        <a:cubicBezTo>
                          <a:pt x="418" y="5203"/>
                          <a:pt x="837" y="5084"/>
                          <a:pt x="1256" y="5024"/>
                        </a:cubicBezTo>
                        <a:cubicBezTo>
                          <a:pt x="2930" y="3529"/>
                          <a:pt x="4545" y="2033"/>
                          <a:pt x="6160" y="53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13" name="Vrije vorm: vorm 7112">
                    <a:extLst>
                      <a:ext uri="{FF2B5EF4-FFF2-40B4-BE49-F238E27FC236}">
                        <a16:creationId xmlns:a16="http://schemas.microsoft.com/office/drawing/2014/main" id="{9C837B2E-E808-4C5E-8210-170C584A7CB2}"/>
                      </a:ext>
                    </a:extLst>
                  </p:cNvPr>
                  <p:cNvSpPr/>
                  <p:nvPr/>
                </p:nvSpPr>
                <p:spPr>
                  <a:xfrm>
                    <a:off x="7641408" y="2505125"/>
                    <a:ext cx="2930" cy="1734"/>
                  </a:xfrm>
                  <a:custGeom>
                    <a:avLst/>
                    <a:gdLst>
                      <a:gd name="connsiteX0" fmla="*/ 0 w 2930"/>
                      <a:gd name="connsiteY0" fmla="*/ 1734 h 1734"/>
                      <a:gd name="connsiteX1" fmla="*/ 1256 w 2930"/>
                      <a:gd name="connsiteY1" fmla="*/ 1495 h 1734"/>
                      <a:gd name="connsiteX2" fmla="*/ 2930 w 2930"/>
                      <a:gd name="connsiteY2" fmla="*/ 0 h 1734"/>
                      <a:gd name="connsiteX3" fmla="*/ 1675 w 2930"/>
                      <a:gd name="connsiteY3" fmla="*/ 239 h 1734"/>
                      <a:gd name="connsiteX4" fmla="*/ 0 w 2930"/>
                      <a:gd name="connsiteY4" fmla="*/ 1734 h 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0" h="1734">
                        <a:moveTo>
                          <a:pt x="0" y="1734"/>
                        </a:moveTo>
                        <a:cubicBezTo>
                          <a:pt x="419" y="1615"/>
                          <a:pt x="837" y="1555"/>
                          <a:pt x="1256" y="1495"/>
                        </a:cubicBezTo>
                        <a:cubicBezTo>
                          <a:pt x="1795" y="1017"/>
                          <a:pt x="2333" y="478"/>
                          <a:pt x="2930" y="0"/>
                        </a:cubicBezTo>
                        <a:cubicBezTo>
                          <a:pt x="2512" y="60"/>
                          <a:pt x="2093" y="179"/>
                          <a:pt x="1675" y="239"/>
                        </a:cubicBezTo>
                        <a:cubicBezTo>
                          <a:pt x="1077" y="718"/>
                          <a:pt x="539" y="1196"/>
                          <a:pt x="0" y="1734"/>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14" name="Vrije vorm: vorm 7113">
                    <a:extLst>
                      <a:ext uri="{FF2B5EF4-FFF2-40B4-BE49-F238E27FC236}">
                        <a16:creationId xmlns:a16="http://schemas.microsoft.com/office/drawing/2014/main" id="{79CF1ECD-108C-44B4-A1A2-39C64AD44B99}"/>
                      </a:ext>
                    </a:extLst>
                  </p:cNvPr>
                  <p:cNvSpPr/>
                  <p:nvPr/>
                </p:nvSpPr>
                <p:spPr>
                  <a:xfrm>
                    <a:off x="7631600" y="2510747"/>
                    <a:ext cx="5980" cy="5083"/>
                  </a:xfrm>
                  <a:custGeom>
                    <a:avLst/>
                    <a:gdLst>
                      <a:gd name="connsiteX0" fmla="*/ 5981 w 5980"/>
                      <a:gd name="connsiteY0" fmla="*/ 478 h 5083"/>
                      <a:gd name="connsiteX1" fmla="*/ 5562 w 5980"/>
                      <a:gd name="connsiteY1" fmla="*/ 0 h 5083"/>
                      <a:gd name="connsiteX2" fmla="*/ 0 w 5980"/>
                      <a:gd name="connsiteY2" fmla="*/ 5084 h 5083"/>
                      <a:gd name="connsiteX3" fmla="*/ 1256 w 5980"/>
                      <a:gd name="connsiteY3" fmla="*/ 4844 h 5083"/>
                      <a:gd name="connsiteX4" fmla="*/ 5981 w 5980"/>
                      <a:gd name="connsiteY4" fmla="*/ 478 h 5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0" h="5083">
                        <a:moveTo>
                          <a:pt x="5981" y="478"/>
                        </a:moveTo>
                        <a:cubicBezTo>
                          <a:pt x="5862" y="299"/>
                          <a:pt x="5682" y="120"/>
                          <a:pt x="5562" y="0"/>
                        </a:cubicBezTo>
                        <a:cubicBezTo>
                          <a:pt x="3708" y="1734"/>
                          <a:pt x="1854" y="3409"/>
                          <a:pt x="0" y="5084"/>
                        </a:cubicBezTo>
                        <a:cubicBezTo>
                          <a:pt x="419" y="4964"/>
                          <a:pt x="837" y="4904"/>
                          <a:pt x="1256" y="4844"/>
                        </a:cubicBezTo>
                        <a:cubicBezTo>
                          <a:pt x="2811" y="3409"/>
                          <a:pt x="4367" y="1974"/>
                          <a:pt x="5981" y="47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15" name="Vrije vorm: vorm 7114">
                    <a:extLst>
                      <a:ext uri="{FF2B5EF4-FFF2-40B4-BE49-F238E27FC236}">
                        <a16:creationId xmlns:a16="http://schemas.microsoft.com/office/drawing/2014/main" id="{E79C2A27-958C-460B-8F90-E96119BAC49A}"/>
                      </a:ext>
                    </a:extLst>
                  </p:cNvPr>
                  <p:cNvSpPr/>
                  <p:nvPr/>
                </p:nvSpPr>
                <p:spPr>
                  <a:xfrm>
                    <a:off x="7621791" y="2519718"/>
                    <a:ext cx="5980" cy="5083"/>
                  </a:xfrm>
                  <a:custGeom>
                    <a:avLst/>
                    <a:gdLst>
                      <a:gd name="connsiteX0" fmla="*/ 5981 w 5980"/>
                      <a:gd name="connsiteY0" fmla="*/ 538 h 5083"/>
                      <a:gd name="connsiteX1" fmla="*/ 5562 w 5980"/>
                      <a:gd name="connsiteY1" fmla="*/ 0 h 5083"/>
                      <a:gd name="connsiteX2" fmla="*/ 0 w 5980"/>
                      <a:gd name="connsiteY2" fmla="*/ 5084 h 5083"/>
                      <a:gd name="connsiteX3" fmla="*/ 1256 w 5980"/>
                      <a:gd name="connsiteY3" fmla="*/ 4844 h 5083"/>
                      <a:gd name="connsiteX4" fmla="*/ 5981 w 5980"/>
                      <a:gd name="connsiteY4" fmla="*/ 538 h 5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0" h="5083">
                        <a:moveTo>
                          <a:pt x="5981" y="538"/>
                        </a:moveTo>
                        <a:cubicBezTo>
                          <a:pt x="5862" y="359"/>
                          <a:pt x="5682" y="179"/>
                          <a:pt x="5562" y="0"/>
                        </a:cubicBezTo>
                        <a:cubicBezTo>
                          <a:pt x="3709" y="1734"/>
                          <a:pt x="1854" y="3409"/>
                          <a:pt x="0" y="5084"/>
                        </a:cubicBezTo>
                        <a:cubicBezTo>
                          <a:pt x="419" y="4964"/>
                          <a:pt x="837" y="4904"/>
                          <a:pt x="1256" y="4844"/>
                        </a:cubicBezTo>
                        <a:cubicBezTo>
                          <a:pt x="2811" y="3469"/>
                          <a:pt x="4367" y="2033"/>
                          <a:pt x="5981" y="53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16" name="Vrije vorm: vorm 7115">
                    <a:extLst>
                      <a:ext uri="{FF2B5EF4-FFF2-40B4-BE49-F238E27FC236}">
                        <a16:creationId xmlns:a16="http://schemas.microsoft.com/office/drawing/2014/main" id="{F7FAF30D-B928-4152-BCFF-765BCE2F802B}"/>
                      </a:ext>
                    </a:extLst>
                  </p:cNvPr>
                  <p:cNvSpPr/>
                  <p:nvPr/>
                </p:nvSpPr>
                <p:spPr>
                  <a:xfrm>
                    <a:off x="7612044" y="2528749"/>
                    <a:ext cx="5920" cy="5083"/>
                  </a:xfrm>
                  <a:custGeom>
                    <a:avLst/>
                    <a:gdLst>
                      <a:gd name="connsiteX0" fmla="*/ 5921 w 5920"/>
                      <a:gd name="connsiteY0" fmla="*/ 538 h 5083"/>
                      <a:gd name="connsiteX1" fmla="*/ 5502 w 5920"/>
                      <a:gd name="connsiteY1" fmla="*/ 0 h 5083"/>
                      <a:gd name="connsiteX2" fmla="*/ 5382 w 5920"/>
                      <a:gd name="connsiteY2" fmla="*/ 120 h 5083"/>
                      <a:gd name="connsiteX3" fmla="*/ 0 w 5920"/>
                      <a:gd name="connsiteY3" fmla="*/ 5083 h 5083"/>
                      <a:gd name="connsiteX4" fmla="*/ 1256 w 5920"/>
                      <a:gd name="connsiteY4" fmla="*/ 4844 h 5083"/>
                      <a:gd name="connsiteX5" fmla="*/ 5801 w 5920"/>
                      <a:gd name="connsiteY5" fmla="*/ 658 h 5083"/>
                      <a:gd name="connsiteX6" fmla="*/ 5921 w 5920"/>
                      <a:gd name="connsiteY6" fmla="*/ 538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0" h="5083">
                        <a:moveTo>
                          <a:pt x="5921" y="538"/>
                        </a:moveTo>
                        <a:cubicBezTo>
                          <a:pt x="5741" y="359"/>
                          <a:pt x="5622" y="179"/>
                          <a:pt x="5502" y="0"/>
                        </a:cubicBezTo>
                        <a:cubicBezTo>
                          <a:pt x="5442" y="60"/>
                          <a:pt x="5382" y="120"/>
                          <a:pt x="5382" y="120"/>
                        </a:cubicBezTo>
                        <a:cubicBezTo>
                          <a:pt x="3588" y="1794"/>
                          <a:pt x="1794" y="3409"/>
                          <a:pt x="0" y="5083"/>
                        </a:cubicBezTo>
                        <a:cubicBezTo>
                          <a:pt x="418" y="4964"/>
                          <a:pt x="837" y="4904"/>
                          <a:pt x="1256" y="4844"/>
                        </a:cubicBezTo>
                        <a:cubicBezTo>
                          <a:pt x="2751" y="3469"/>
                          <a:pt x="4306" y="2033"/>
                          <a:pt x="5801" y="658"/>
                        </a:cubicBezTo>
                        <a:cubicBezTo>
                          <a:pt x="5861" y="598"/>
                          <a:pt x="5861" y="598"/>
                          <a:pt x="5921" y="53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17" name="Vrije vorm: vorm 7116">
                    <a:extLst>
                      <a:ext uri="{FF2B5EF4-FFF2-40B4-BE49-F238E27FC236}">
                        <a16:creationId xmlns:a16="http://schemas.microsoft.com/office/drawing/2014/main" id="{3395D77F-4E0C-437D-A418-A087F438E28B}"/>
                      </a:ext>
                    </a:extLst>
                  </p:cNvPr>
                  <p:cNvSpPr/>
                  <p:nvPr/>
                </p:nvSpPr>
                <p:spPr>
                  <a:xfrm>
                    <a:off x="7621134" y="2481142"/>
                    <a:ext cx="2871" cy="1674"/>
                  </a:xfrm>
                  <a:custGeom>
                    <a:avLst/>
                    <a:gdLst>
                      <a:gd name="connsiteX0" fmla="*/ 0 w 2871"/>
                      <a:gd name="connsiteY0" fmla="*/ 1675 h 1674"/>
                      <a:gd name="connsiteX1" fmla="*/ 1256 w 2871"/>
                      <a:gd name="connsiteY1" fmla="*/ 1435 h 1674"/>
                      <a:gd name="connsiteX2" fmla="*/ 2452 w 2871"/>
                      <a:gd name="connsiteY2" fmla="*/ 359 h 1674"/>
                      <a:gd name="connsiteX3" fmla="*/ 2871 w 2871"/>
                      <a:gd name="connsiteY3" fmla="*/ 0 h 1674"/>
                      <a:gd name="connsiteX4" fmla="*/ 2213 w 2871"/>
                      <a:gd name="connsiteY4" fmla="*/ 120 h 1674"/>
                      <a:gd name="connsiteX5" fmla="*/ 1555 w 2871"/>
                      <a:gd name="connsiteY5" fmla="*/ 239 h 1674"/>
                      <a:gd name="connsiteX6" fmla="*/ 0 w 2871"/>
                      <a:gd name="connsiteY6" fmla="*/ 1675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1" h="1674">
                        <a:moveTo>
                          <a:pt x="0" y="1675"/>
                        </a:moveTo>
                        <a:cubicBezTo>
                          <a:pt x="419" y="1615"/>
                          <a:pt x="837" y="1495"/>
                          <a:pt x="1256" y="1435"/>
                        </a:cubicBezTo>
                        <a:cubicBezTo>
                          <a:pt x="1675" y="1077"/>
                          <a:pt x="2034" y="718"/>
                          <a:pt x="2452" y="359"/>
                        </a:cubicBezTo>
                        <a:cubicBezTo>
                          <a:pt x="2572" y="239"/>
                          <a:pt x="2692" y="120"/>
                          <a:pt x="2871" y="0"/>
                        </a:cubicBezTo>
                        <a:cubicBezTo>
                          <a:pt x="2632" y="60"/>
                          <a:pt x="2452" y="60"/>
                          <a:pt x="2213" y="120"/>
                        </a:cubicBezTo>
                        <a:cubicBezTo>
                          <a:pt x="1974" y="120"/>
                          <a:pt x="1795" y="179"/>
                          <a:pt x="1555" y="239"/>
                        </a:cubicBezTo>
                        <a:cubicBezTo>
                          <a:pt x="1077" y="718"/>
                          <a:pt x="539" y="1196"/>
                          <a:pt x="0" y="1675"/>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18" name="Vrije vorm: vorm 7117">
                    <a:extLst>
                      <a:ext uri="{FF2B5EF4-FFF2-40B4-BE49-F238E27FC236}">
                        <a16:creationId xmlns:a16="http://schemas.microsoft.com/office/drawing/2014/main" id="{C8D184DA-24AF-4D99-9DFB-6ED66E357CDB}"/>
                      </a:ext>
                    </a:extLst>
                  </p:cNvPr>
                  <p:cNvSpPr/>
                  <p:nvPr/>
                </p:nvSpPr>
                <p:spPr>
                  <a:xfrm>
                    <a:off x="7611684" y="2486585"/>
                    <a:ext cx="5801" cy="4964"/>
                  </a:xfrm>
                  <a:custGeom>
                    <a:avLst/>
                    <a:gdLst>
                      <a:gd name="connsiteX0" fmla="*/ 5801 w 5801"/>
                      <a:gd name="connsiteY0" fmla="*/ 538 h 4964"/>
                      <a:gd name="connsiteX1" fmla="*/ 5383 w 5801"/>
                      <a:gd name="connsiteY1" fmla="*/ 0 h 4964"/>
                      <a:gd name="connsiteX2" fmla="*/ 0 w 5801"/>
                      <a:gd name="connsiteY2" fmla="*/ 4964 h 4964"/>
                      <a:gd name="connsiteX3" fmla="*/ 1256 w 5801"/>
                      <a:gd name="connsiteY3" fmla="*/ 4725 h 4964"/>
                      <a:gd name="connsiteX4" fmla="*/ 5801 w 5801"/>
                      <a:gd name="connsiteY4" fmla="*/ 538 h 4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1" h="4964">
                        <a:moveTo>
                          <a:pt x="5801" y="538"/>
                        </a:moveTo>
                        <a:cubicBezTo>
                          <a:pt x="5622" y="359"/>
                          <a:pt x="5503" y="179"/>
                          <a:pt x="5383" y="0"/>
                        </a:cubicBezTo>
                        <a:cubicBezTo>
                          <a:pt x="3588" y="1675"/>
                          <a:pt x="1795" y="3290"/>
                          <a:pt x="0" y="4964"/>
                        </a:cubicBezTo>
                        <a:cubicBezTo>
                          <a:pt x="418" y="4904"/>
                          <a:pt x="837" y="4785"/>
                          <a:pt x="1256" y="4725"/>
                        </a:cubicBezTo>
                        <a:cubicBezTo>
                          <a:pt x="2751" y="3349"/>
                          <a:pt x="4246" y="1914"/>
                          <a:pt x="5801" y="53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19" name="Vrije vorm: vorm 7118">
                    <a:extLst>
                      <a:ext uri="{FF2B5EF4-FFF2-40B4-BE49-F238E27FC236}">
                        <a16:creationId xmlns:a16="http://schemas.microsoft.com/office/drawing/2014/main" id="{A84F7528-F6D1-4D62-B7A5-FD97912BB471}"/>
                      </a:ext>
                    </a:extLst>
                  </p:cNvPr>
                  <p:cNvSpPr/>
                  <p:nvPr/>
                </p:nvSpPr>
                <p:spPr>
                  <a:xfrm>
                    <a:off x="7602175" y="2495317"/>
                    <a:ext cx="5801" cy="4964"/>
                  </a:xfrm>
                  <a:custGeom>
                    <a:avLst/>
                    <a:gdLst>
                      <a:gd name="connsiteX0" fmla="*/ 5801 w 5801"/>
                      <a:gd name="connsiteY0" fmla="*/ 538 h 4964"/>
                      <a:gd name="connsiteX1" fmla="*/ 5383 w 5801"/>
                      <a:gd name="connsiteY1" fmla="*/ 0 h 4964"/>
                      <a:gd name="connsiteX2" fmla="*/ 0 w 5801"/>
                      <a:gd name="connsiteY2" fmla="*/ 4964 h 4964"/>
                      <a:gd name="connsiteX3" fmla="*/ 1256 w 5801"/>
                      <a:gd name="connsiteY3" fmla="*/ 4725 h 4964"/>
                      <a:gd name="connsiteX4" fmla="*/ 5801 w 5801"/>
                      <a:gd name="connsiteY4" fmla="*/ 538 h 4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1" h="4964">
                        <a:moveTo>
                          <a:pt x="5801" y="538"/>
                        </a:moveTo>
                        <a:cubicBezTo>
                          <a:pt x="5622" y="359"/>
                          <a:pt x="5502" y="179"/>
                          <a:pt x="5383" y="0"/>
                        </a:cubicBezTo>
                        <a:cubicBezTo>
                          <a:pt x="3588" y="1675"/>
                          <a:pt x="1794" y="3290"/>
                          <a:pt x="0" y="4964"/>
                        </a:cubicBezTo>
                        <a:cubicBezTo>
                          <a:pt x="418" y="4904"/>
                          <a:pt x="837" y="4785"/>
                          <a:pt x="1256" y="4725"/>
                        </a:cubicBezTo>
                        <a:cubicBezTo>
                          <a:pt x="2751" y="3349"/>
                          <a:pt x="4306" y="1914"/>
                          <a:pt x="5801" y="53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120" name="Vrije vorm: vorm 7119">
                    <a:extLst>
                      <a:ext uri="{FF2B5EF4-FFF2-40B4-BE49-F238E27FC236}">
                        <a16:creationId xmlns:a16="http://schemas.microsoft.com/office/drawing/2014/main" id="{F885C5BC-5A4F-4E0F-AF2A-998AB076DDEE}"/>
                      </a:ext>
                    </a:extLst>
                  </p:cNvPr>
                  <p:cNvSpPr/>
                  <p:nvPr/>
                </p:nvSpPr>
                <p:spPr>
                  <a:xfrm>
                    <a:off x="7592725" y="2504049"/>
                    <a:ext cx="5741" cy="4844"/>
                  </a:xfrm>
                  <a:custGeom>
                    <a:avLst/>
                    <a:gdLst>
                      <a:gd name="connsiteX0" fmla="*/ 5742 w 5741"/>
                      <a:gd name="connsiteY0" fmla="*/ 538 h 4844"/>
                      <a:gd name="connsiteX1" fmla="*/ 5323 w 5741"/>
                      <a:gd name="connsiteY1" fmla="*/ 0 h 4844"/>
                      <a:gd name="connsiteX2" fmla="*/ 2871 w 5741"/>
                      <a:gd name="connsiteY2" fmla="*/ 2213 h 4844"/>
                      <a:gd name="connsiteX3" fmla="*/ 0 w 5741"/>
                      <a:gd name="connsiteY3" fmla="*/ 4844 h 4844"/>
                      <a:gd name="connsiteX4" fmla="*/ 1256 w 5741"/>
                      <a:gd name="connsiteY4" fmla="*/ 4605 h 4844"/>
                      <a:gd name="connsiteX5" fmla="*/ 3350 w 5741"/>
                      <a:gd name="connsiteY5" fmla="*/ 2691 h 4844"/>
                      <a:gd name="connsiteX6" fmla="*/ 5742 w 5741"/>
                      <a:gd name="connsiteY6" fmla="*/ 538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1" h="4844">
                        <a:moveTo>
                          <a:pt x="5742" y="538"/>
                        </a:moveTo>
                        <a:cubicBezTo>
                          <a:pt x="5562" y="359"/>
                          <a:pt x="5443" y="179"/>
                          <a:pt x="5323" y="0"/>
                        </a:cubicBezTo>
                        <a:cubicBezTo>
                          <a:pt x="4486" y="778"/>
                          <a:pt x="3708" y="1495"/>
                          <a:pt x="2871" y="2213"/>
                        </a:cubicBezTo>
                        <a:cubicBezTo>
                          <a:pt x="1914" y="3110"/>
                          <a:pt x="957" y="4007"/>
                          <a:pt x="0" y="4844"/>
                        </a:cubicBezTo>
                        <a:cubicBezTo>
                          <a:pt x="419" y="4785"/>
                          <a:pt x="837" y="4665"/>
                          <a:pt x="1256" y="4605"/>
                        </a:cubicBezTo>
                        <a:cubicBezTo>
                          <a:pt x="1974" y="3947"/>
                          <a:pt x="2632" y="3349"/>
                          <a:pt x="3350" y="2691"/>
                        </a:cubicBezTo>
                        <a:cubicBezTo>
                          <a:pt x="4187" y="2033"/>
                          <a:pt x="4964" y="1256"/>
                          <a:pt x="5742" y="538"/>
                        </a:cubicBezTo>
                        <a:close/>
                      </a:path>
                    </a:pathLst>
                  </a:custGeom>
                  <a:noFill/>
                  <a:ln w="6350" cap="flat">
                    <a:solidFill>
                      <a:schemeClr val="bg1">
                        <a:alpha val="40000"/>
                      </a:schemeClr>
                    </a:solidFill>
                    <a:prstDash val="solid"/>
                    <a:miter/>
                  </a:ln>
                </p:spPr>
                <p:txBody>
                  <a:bodyPr rtlCol="0" anchor="ctr"/>
                  <a:lstStyle/>
                  <a:p>
                    <a:endParaRPr lang="en-GB"/>
                  </a:p>
                </p:txBody>
              </p:sp>
            </p:grpSp>
            <p:grpSp>
              <p:nvGrpSpPr>
                <p:cNvPr id="7061" name="Graphic 3">
                  <a:extLst>
                    <a:ext uri="{FF2B5EF4-FFF2-40B4-BE49-F238E27FC236}">
                      <a16:creationId xmlns:a16="http://schemas.microsoft.com/office/drawing/2014/main" id="{FE5D64A9-5383-49AD-8739-C43A3575F8E8}"/>
                    </a:ext>
                  </a:extLst>
                </p:cNvPr>
                <p:cNvGrpSpPr/>
                <p:nvPr/>
              </p:nvGrpSpPr>
              <p:grpSpPr>
                <a:xfrm>
                  <a:off x="7518146" y="2407161"/>
                  <a:ext cx="105081" cy="101732"/>
                  <a:chOff x="7518146" y="2407161"/>
                  <a:chExt cx="105081" cy="101732"/>
                </a:xfrm>
                <a:noFill/>
              </p:grpSpPr>
              <p:sp>
                <p:nvSpPr>
                  <p:cNvPr id="7085" name="Vrije vorm: vorm 7084">
                    <a:extLst>
                      <a:ext uri="{FF2B5EF4-FFF2-40B4-BE49-F238E27FC236}">
                        <a16:creationId xmlns:a16="http://schemas.microsoft.com/office/drawing/2014/main" id="{ED1FD615-CF11-4C65-9135-AF8A3E5CFEB0}"/>
                      </a:ext>
                    </a:extLst>
                  </p:cNvPr>
                  <p:cNvSpPr/>
                  <p:nvPr/>
                </p:nvSpPr>
                <p:spPr>
                  <a:xfrm>
                    <a:off x="7518206" y="2407161"/>
                    <a:ext cx="105021" cy="101732"/>
                  </a:xfrm>
                  <a:custGeom>
                    <a:avLst/>
                    <a:gdLst>
                      <a:gd name="connsiteX0" fmla="*/ 46410 w 105021"/>
                      <a:gd name="connsiteY0" fmla="*/ 35645 h 101732"/>
                      <a:gd name="connsiteX1" fmla="*/ 51973 w 105021"/>
                      <a:gd name="connsiteY1" fmla="*/ 30502 h 101732"/>
                      <a:gd name="connsiteX2" fmla="*/ 40549 w 105021"/>
                      <a:gd name="connsiteY2" fmla="*/ 18959 h 101732"/>
                      <a:gd name="connsiteX3" fmla="*/ 28768 w 105021"/>
                      <a:gd name="connsiteY3" fmla="*/ 7057 h 101732"/>
                      <a:gd name="connsiteX4" fmla="*/ 23086 w 105021"/>
                      <a:gd name="connsiteY4" fmla="*/ 12261 h 101732"/>
                      <a:gd name="connsiteX5" fmla="*/ 34927 w 105021"/>
                      <a:gd name="connsiteY5" fmla="*/ 24102 h 101732"/>
                      <a:gd name="connsiteX6" fmla="*/ 46410 w 105021"/>
                      <a:gd name="connsiteY6" fmla="*/ 35645 h 101732"/>
                      <a:gd name="connsiteX7" fmla="*/ 46410 w 105021"/>
                      <a:gd name="connsiteY7" fmla="*/ 35645 h 101732"/>
                      <a:gd name="connsiteX8" fmla="*/ 36542 w 105021"/>
                      <a:gd name="connsiteY8" fmla="*/ 44676 h 101732"/>
                      <a:gd name="connsiteX9" fmla="*/ 42105 w 105021"/>
                      <a:gd name="connsiteY9" fmla="*/ 39533 h 101732"/>
                      <a:gd name="connsiteX10" fmla="*/ 30741 w 105021"/>
                      <a:gd name="connsiteY10" fmla="*/ 28229 h 101732"/>
                      <a:gd name="connsiteX11" fmla="*/ 18720 w 105021"/>
                      <a:gd name="connsiteY11" fmla="*/ 16268 h 101732"/>
                      <a:gd name="connsiteX12" fmla="*/ 13038 w 105021"/>
                      <a:gd name="connsiteY12" fmla="*/ 21471 h 101732"/>
                      <a:gd name="connsiteX13" fmla="*/ 24940 w 105021"/>
                      <a:gd name="connsiteY13" fmla="*/ 33193 h 101732"/>
                      <a:gd name="connsiteX14" fmla="*/ 36542 w 105021"/>
                      <a:gd name="connsiteY14" fmla="*/ 44676 h 101732"/>
                      <a:gd name="connsiteX15" fmla="*/ 36542 w 105021"/>
                      <a:gd name="connsiteY15" fmla="*/ 44676 h 101732"/>
                      <a:gd name="connsiteX16" fmla="*/ 25896 w 105021"/>
                      <a:gd name="connsiteY16" fmla="*/ 54425 h 101732"/>
                      <a:gd name="connsiteX17" fmla="*/ 32296 w 105021"/>
                      <a:gd name="connsiteY17" fmla="*/ 48563 h 101732"/>
                      <a:gd name="connsiteX18" fmla="*/ 20693 w 105021"/>
                      <a:gd name="connsiteY18" fmla="*/ 37200 h 101732"/>
                      <a:gd name="connsiteX19" fmla="*/ 8732 w 105021"/>
                      <a:gd name="connsiteY19" fmla="*/ 25478 h 101732"/>
                      <a:gd name="connsiteX20" fmla="*/ 3110 w 105021"/>
                      <a:gd name="connsiteY20" fmla="*/ 30681 h 101732"/>
                      <a:gd name="connsiteX21" fmla="*/ 1615 w 105021"/>
                      <a:gd name="connsiteY21" fmla="*/ 30980 h 101732"/>
                      <a:gd name="connsiteX22" fmla="*/ 0 w 105021"/>
                      <a:gd name="connsiteY22" fmla="*/ 29425 h 101732"/>
                      <a:gd name="connsiteX23" fmla="*/ 15849 w 105021"/>
                      <a:gd name="connsiteY23" fmla="*/ 14832 h 101732"/>
                      <a:gd name="connsiteX24" fmla="*/ 31758 w 105021"/>
                      <a:gd name="connsiteY24" fmla="*/ 239 h 101732"/>
                      <a:gd name="connsiteX25" fmla="*/ 33193 w 105021"/>
                      <a:gd name="connsiteY25" fmla="*/ 0 h 101732"/>
                      <a:gd name="connsiteX26" fmla="*/ 34748 w 105021"/>
                      <a:gd name="connsiteY26" fmla="*/ 1615 h 101732"/>
                      <a:gd name="connsiteX27" fmla="*/ 33074 w 105021"/>
                      <a:gd name="connsiteY27" fmla="*/ 3170 h 101732"/>
                      <a:gd name="connsiteX28" fmla="*/ 44676 w 105021"/>
                      <a:gd name="connsiteY28" fmla="*/ 15012 h 101732"/>
                      <a:gd name="connsiteX29" fmla="*/ 55681 w 105021"/>
                      <a:gd name="connsiteY29" fmla="*/ 26136 h 101732"/>
                      <a:gd name="connsiteX30" fmla="*/ 56458 w 105021"/>
                      <a:gd name="connsiteY30" fmla="*/ 25418 h 101732"/>
                      <a:gd name="connsiteX31" fmla="*/ 57774 w 105021"/>
                      <a:gd name="connsiteY31" fmla="*/ 25179 h 101732"/>
                      <a:gd name="connsiteX32" fmla="*/ 59269 w 105021"/>
                      <a:gd name="connsiteY32" fmla="*/ 26734 h 101732"/>
                      <a:gd name="connsiteX33" fmla="*/ 57594 w 105021"/>
                      <a:gd name="connsiteY33" fmla="*/ 28229 h 101732"/>
                      <a:gd name="connsiteX34" fmla="*/ 68778 w 105021"/>
                      <a:gd name="connsiteY34" fmla="*/ 39652 h 101732"/>
                      <a:gd name="connsiteX35" fmla="*/ 79304 w 105021"/>
                      <a:gd name="connsiteY35" fmla="*/ 50358 h 101732"/>
                      <a:gd name="connsiteX36" fmla="*/ 80142 w 105021"/>
                      <a:gd name="connsiteY36" fmla="*/ 49580 h 101732"/>
                      <a:gd name="connsiteX37" fmla="*/ 81338 w 105021"/>
                      <a:gd name="connsiteY37" fmla="*/ 49341 h 101732"/>
                      <a:gd name="connsiteX38" fmla="*/ 82773 w 105021"/>
                      <a:gd name="connsiteY38" fmla="*/ 50836 h 101732"/>
                      <a:gd name="connsiteX39" fmla="*/ 81158 w 105021"/>
                      <a:gd name="connsiteY39" fmla="*/ 52331 h 101732"/>
                      <a:gd name="connsiteX40" fmla="*/ 91924 w 105021"/>
                      <a:gd name="connsiteY40" fmla="*/ 63336 h 101732"/>
                      <a:gd name="connsiteX41" fmla="*/ 102150 w 105021"/>
                      <a:gd name="connsiteY41" fmla="*/ 73742 h 101732"/>
                      <a:gd name="connsiteX42" fmla="*/ 102988 w 105021"/>
                      <a:gd name="connsiteY42" fmla="*/ 72965 h 101732"/>
                      <a:gd name="connsiteX43" fmla="*/ 104304 w 105021"/>
                      <a:gd name="connsiteY43" fmla="*/ 72666 h 101732"/>
                      <a:gd name="connsiteX44" fmla="*/ 105022 w 105021"/>
                      <a:gd name="connsiteY44" fmla="*/ 73623 h 101732"/>
                      <a:gd name="connsiteX45" fmla="*/ 89711 w 105021"/>
                      <a:gd name="connsiteY45" fmla="*/ 87677 h 101732"/>
                      <a:gd name="connsiteX46" fmla="*/ 74401 w 105021"/>
                      <a:gd name="connsiteY46" fmla="*/ 101732 h 101732"/>
                      <a:gd name="connsiteX47" fmla="*/ 73384 w 105021"/>
                      <a:gd name="connsiteY47" fmla="*/ 100715 h 101732"/>
                      <a:gd name="connsiteX48" fmla="*/ 79424 w 105021"/>
                      <a:gd name="connsiteY48" fmla="*/ 95153 h 101732"/>
                      <a:gd name="connsiteX49" fmla="*/ 68718 w 105021"/>
                      <a:gd name="connsiteY49" fmla="*/ 84687 h 101732"/>
                      <a:gd name="connsiteX50" fmla="*/ 57654 w 105021"/>
                      <a:gd name="connsiteY50" fmla="*/ 73862 h 101732"/>
                      <a:gd name="connsiteX51" fmla="*/ 52271 w 105021"/>
                      <a:gd name="connsiteY51" fmla="*/ 78826 h 101732"/>
                      <a:gd name="connsiteX52" fmla="*/ 51016 w 105021"/>
                      <a:gd name="connsiteY52" fmla="*/ 79125 h 101732"/>
                      <a:gd name="connsiteX53" fmla="*/ 49999 w 105021"/>
                      <a:gd name="connsiteY53" fmla="*/ 78108 h 101732"/>
                      <a:gd name="connsiteX54" fmla="*/ 56219 w 105021"/>
                      <a:gd name="connsiteY54" fmla="*/ 72367 h 101732"/>
                      <a:gd name="connsiteX55" fmla="*/ 45095 w 105021"/>
                      <a:gd name="connsiteY55" fmla="*/ 61482 h 101732"/>
                      <a:gd name="connsiteX56" fmla="*/ 33612 w 105021"/>
                      <a:gd name="connsiteY56" fmla="*/ 50238 h 101732"/>
                      <a:gd name="connsiteX57" fmla="*/ 28109 w 105021"/>
                      <a:gd name="connsiteY57" fmla="*/ 55322 h 101732"/>
                      <a:gd name="connsiteX58" fmla="*/ 26734 w 105021"/>
                      <a:gd name="connsiteY58" fmla="*/ 55621 h 101732"/>
                      <a:gd name="connsiteX59" fmla="*/ 25896 w 105021"/>
                      <a:gd name="connsiteY59" fmla="*/ 54425 h 101732"/>
                      <a:gd name="connsiteX60" fmla="*/ 25896 w 105021"/>
                      <a:gd name="connsiteY60" fmla="*/ 54425 h 101732"/>
                      <a:gd name="connsiteX61" fmla="*/ 83850 w 105021"/>
                      <a:gd name="connsiteY61" fmla="*/ 91266 h 101732"/>
                      <a:gd name="connsiteX62" fmla="*/ 89233 w 105021"/>
                      <a:gd name="connsiteY62" fmla="*/ 86362 h 101732"/>
                      <a:gd name="connsiteX63" fmla="*/ 78587 w 105021"/>
                      <a:gd name="connsiteY63" fmla="*/ 75776 h 101732"/>
                      <a:gd name="connsiteX64" fmla="*/ 67642 w 105021"/>
                      <a:gd name="connsiteY64" fmla="*/ 64891 h 101732"/>
                      <a:gd name="connsiteX65" fmla="*/ 62200 w 105021"/>
                      <a:gd name="connsiteY65" fmla="*/ 69915 h 101732"/>
                      <a:gd name="connsiteX66" fmla="*/ 73204 w 105021"/>
                      <a:gd name="connsiteY66" fmla="*/ 80800 h 101732"/>
                      <a:gd name="connsiteX67" fmla="*/ 83850 w 105021"/>
                      <a:gd name="connsiteY67" fmla="*/ 91266 h 101732"/>
                      <a:gd name="connsiteX68" fmla="*/ 83850 w 105021"/>
                      <a:gd name="connsiteY68" fmla="*/ 91266 h 101732"/>
                      <a:gd name="connsiteX69" fmla="*/ 60645 w 105021"/>
                      <a:gd name="connsiteY69" fmla="*/ 68419 h 101732"/>
                      <a:gd name="connsiteX70" fmla="*/ 66087 w 105021"/>
                      <a:gd name="connsiteY70" fmla="*/ 63396 h 101732"/>
                      <a:gd name="connsiteX71" fmla="*/ 55022 w 105021"/>
                      <a:gd name="connsiteY71" fmla="*/ 52391 h 101732"/>
                      <a:gd name="connsiteX72" fmla="*/ 43600 w 105021"/>
                      <a:gd name="connsiteY72" fmla="*/ 41028 h 101732"/>
                      <a:gd name="connsiteX73" fmla="*/ 38037 w 105021"/>
                      <a:gd name="connsiteY73" fmla="*/ 46171 h 101732"/>
                      <a:gd name="connsiteX74" fmla="*/ 49521 w 105021"/>
                      <a:gd name="connsiteY74" fmla="*/ 57475 h 101732"/>
                      <a:gd name="connsiteX75" fmla="*/ 60645 w 105021"/>
                      <a:gd name="connsiteY75" fmla="*/ 68419 h 101732"/>
                      <a:gd name="connsiteX76" fmla="*/ 60645 w 105021"/>
                      <a:gd name="connsiteY76" fmla="*/ 68419 h 101732"/>
                      <a:gd name="connsiteX77" fmla="*/ 93299 w 105021"/>
                      <a:gd name="connsiteY77" fmla="*/ 82594 h 101732"/>
                      <a:gd name="connsiteX78" fmla="*/ 98622 w 105021"/>
                      <a:gd name="connsiteY78" fmla="*/ 77690 h 101732"/>
                      <a:gd name="connsiteX79" fmla="*/ 88096 w 105021"/>
                      <a:gd name="connsiteY79" fmla="*/ 67044 h 101732"/>
                      <a:gd name="connsiteX80" fmla="*/ 77211 w 105021"/>
                      <a:gd name="connsiteY80" fmla="*/ 56039 h 101732"/>
                      <a:gd name="connsiteX81" fmla="*/ 71769 w 105021"/>
                      <a:gd name="connsiteY81" fmla="*/ 61063 h 101732"/>
                      <a:gd name="connsiteX82" fmla="*/ 82713 w 105021"/>
                      <a:gd name="connsiteY82" fmla="*/ 72008 h 101732"/>
                      <a:gd name="connsiteX83" fmla="*/ 93299 w 105021"/>
                      <a:gd name="connsiteY83" fmla="*/ 82594 h 101732"/>
                      <a:gd name="connsiteX84" fmla="*/ 93299 w 105021"/>
                      <a:gd name="connsiteY84" fmla="*/ 82594 h 101732"/>
                      <a:gd name="connsiteX85" fmla="*/ 70273 w 105021"/>
                      <a:gd name="connsiteY85" fmla="*/ 59568 h 101732"/>
                      <a:gd name="connsiteX86" fmla="*/ 75716 w 105021"/>
                      <a:gd name="connsiteY86" fmla="*/ 54544 h 101732"/>
                      <a:gd name="connsiteX87" fmla="*/ 64771 w 105021"/>
                      <a:gd name="connsiteY87" fmla="*/ 43480 h 101732"/>
                      <a:gd name="connsiteX88" fmla="*/ 53468 w 105021"/>
                      <a:gd name="connsiteY88" fmla="*/ 32057 h 101732"/>
                      <a:gd name="connsiteX89" fmla="*/ 47906 w 105021"/>
                      <a:gd name="connsiteY89" fmla="*/ 37200 h 101732"/>
                      <a:gd name="connsiteX90" fmla="*/ 59269 w 105021"/>
                      <a:gd name="connsiteY90" fmla="*/ 48563 h 101732"/>
                      <a:gd name="connsiteX91" fmla="*/ 70273 w 105021"/>
                      <a:gd name="connsiteY91" fmla="*/ 59568 h 10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5021" h="101732">
                        <a:moveTo>
                          <a:pt x="46410" y="35645"/>
                        </a:moveTo>
                        <a:cubicBezTo>
                          <a:pt x="48264" y="33911"/>
                          <a:pt x="50118" y="32236"/>
                          <a:pt x="51973" y="30502"/>
                        </a:cubicBezTo>
                        <a:cubicBezTo>
                          <a:pt x="48205" y="26674"/>
                          <a:pt x="44377" y="22846"/>
                          <a:pt x="40549" y="18959"/>
                        </a:cubicBezTo>
                        <a:cubicBezTo>
                          <a:pt x="36662" y="15012"/>
                          <a:pt x="32714" y="11064"/>
                          <a:pt x="28768" y="7057"/>
                        </a:cubicBezTo>
                        <a:cubicBezTo>
                          <a:pt x="26853" y="8792"/>
                          <a:pt x="25000" y="10526"/>
                          <a:pt x="23086" y="12261"/>
                        </a:cubicBezTo>
                        <a:cubicBezTo>
                          <a:pt x="27033" y="16208"/>
                          <a:pt x="30980" y="20155"/>
                          <a:pt x="34927" y="24102"/>
                        </a:cubicBezTo>
                        <a:cubicBezTo>
                          <a:pt x="38755" y="27990"/>
                          <a:pt x="42583" y="31817"/>
                          <a:pt x="46410" y="35645"/>
                        </a:cubicBezTo>
                        <a:lnTo>
                          <a:pt x="46410" y="35645"/>
                        </a:lnTo>
                        <a:close/>
                        <a:moveTo>
                          <a:pt x="36542" y="44676"/>
                        </a:moveTo>
                        <a:cubicBezTo>
                          <a:pt x="38397" y="42942"/>
                          <a:pt x="40250" y="41267"/>
                          <a:pt x="42105" y="39533"/>
                        </a:cubicBezTo>
                        <a:cubicBezTo>
                          <a:pt x="38397" y="35824"/>
                          <a:pt x="34629" y="32057"/>
                          <a:pt x="30741" y="28229"/>
                        </a:cubicBezTo>
                        <a:cubicBezTo>
                          <a:pt x="26794" y="24342"/>
                          <a:pt x="22787" y="20334"/>
                          <a:pt x="18720" y="16268"/>
                        </a:cubicBezTo>
                        <a:cubicBezTo>
                          <a:pt x="16806" y="18002"/>
                          <a:pt x="14952" y="19736"/>
                          <a:pt x="13038" y="21471"/>
                        </a:cubicBezTo>
                        <a:cubicBezTo>
                          <a:pt x="17045" y="25418"/>
                          <a:pt x="20992" y="29305"/>
                          <a:pt x="24940" y="33193"/>
                        </a:cubicBezTo>
                        <a:cubicBezTo>
                          <a:pt x="28887" y="37081"/>
                          <a:pt x="32714" y="40908"/>
                          <a:pt x="36542" y="44676"/>
                        </a:cubicBezTo>
                        <a:lnTo>
                          <a:pt x="36542" y="44676"/>
                        </a:lnTo>
                        <a:close/>
                        <a:moveTo>
                          <a:pt x="25896" y="54425"/>
                        </a:moveTo>
                        <a:cubicBezTo>
                          <a:pt x="28050" y="52451"/>
                          <a:pt x="30143" y="50537"/>
                          <a:pt x="32296" y="48563"/>
                        </a:cubicBezTo>
                        <a:cubicBezTo>
                          <a:pt x="28468" y="44796"/>
                          <a:pt x="24581" y="41028"/>
                          <a:pt x="20693" y="37200"/>
                        </a:cubicBezTo>
                        <a:cubicBezTo>
                          <a:pt x="16746" y="33313"/>
                          <a:pt x="12739" y="29425"/>
                          <a:pt x="8732" y="25478"/>
                        </a:cubicBezTo>
                        <a:cubicBezTo>
                          <a:pt x="6878" y="27212"/>
                          <a:pt x="4964" y="28947"/>
                          <a:pt x="3110" y="30681"/>
                        </a:cubicBezTo>
                        <a:cubicBezTo>
                          <a:pt x="2632" y="30801"/>
                          <a:pt x="2093" y="30861"/>
                          <a:pt x="1615" y="30980"/>
                        </a:cubicBezTo>
                        <a:cubicBezTo>
                          <a:pt x="1077" y="30442"/>
                          <a:pt x="538" y="29963"/>
                          <a:pt x="0" y="29425"/>
                        </a:cubicBezTo>
                        <a:cubicBezTo>
                          <a:pt x="5323" y="24581"/>
                          <a:pt x="10586" y="19677"/>
                          <a:pt x="15849" y="14832"/>
                        </a:cubicBezTo>
                        <a:cubicBezTo>
                          <a:pt x="21112" y="9988"/>
                          <a:pt x="26435" y="5084"/>
                          <a:pt x="31758" y="239"/>
                        </a:cubicBezTo>
                        <a:cubicBezTo>
                          <a:pt x="32236" y="179"/>
                          <a:pt x="32714" y="60"/>
                          <a:pt x="33193" y="0"/>
                        </a:cubicBezTo>
                        <a:cubicBezTo>
                          <a:pt x="33671" y="538"/>
                          <a:pt x="34210" y="1076"/>
                          <a:pt x="34748" y="1615"/>
                        </a:cubicBezTo>
                        <a:cubicBezTo>
                          <a:pt x="34210" y="2153"/>
                          <a:pt x="33612" y="2632"/>
                          <a:pt x="33074" y="3170"/>
                        </a:cubicBezTo>
                        <a:cubicBezTo>
                          <a:pt x="37021" y="7177"/>
                          <a:pt x="40908" y="11124"/>
                          <a:pt x="44676" y="15012"/>
                        </a:cubicBezTo>
                        <a:cubicBezTo>
                          <a:pt x="48384" y="18780"/>
                          <a:pt x="52092" y="22547"/>
                          <a:pt x="55681" y="26136"/>
                        </a:cubicBezTo>
                        <a:cubicBezTo>
                          <a:pt x="55920" y="25897"/>
                          <a:pt x="56219" y="25657"/>
                          <a:pt x="56458" y="25418"/>
                        </a:cubicBezTo>
                        <a:cubicBezTo>
                          <a:pt x="56877" y="25358"/>
                          <a:pt x="57355" y="25239"/>
                          <a:pt x="57774" y="25179"/>
                        </a:cubicBezTo>
                        <a:cubicBezTo>
                          <a:pt x="58252" y="25657"/>
                          <a:pt x="58790" y="26196"/>
                          <a:pt x="59269" y="26734"/>
                        </a:cubicBezTo>
                        <a:cubicBezTo>
                          <a:pt x="58730" y="27212"/>
                          <a:pt x="58192" y="27751"/>
                          <a:pt x="57594" y="28229"/>
                        </a:cubicBezTo>
                        <a:cubicBezTo>
                          <a:pt x="61362" y="32057"/>
                          <a:pt x="65130" y="35884"/>
                          <a:pt x="68778" y="39652"/>
                        </a:cubicBezTo>
                        <a:cubicBezTo>
                          <a:pt x="72367" y="43300"/>
                          <a:pt x="75896" y="46889"/>
                          <a:pt x="79304" y="50358"/>
                        </a:cubicBezTo>
                        <a:cubicBezTo>
                          <a:pt x="79604" y="50118"/>
                          <a:pt x="79843" y="49820"/>
                          <a:pt x="80142" y="49580"/>
                        </a:cubicBezTo>
                        <a:cubicBezTo>
                          <a:pt x="80560" y="49520"/>
                          <a:pt x="80979" y="49401"/>
                          <a:pt x="81338" y="49341"/>
                        </a:cubicBezTo>
                        <a:cubicBezTo>
                          <a:pt x="81817" y="49820"/>
                          <a:pt x="82295" y="50358"/>
                          <a:pt x="82773" y="50836"/>
                        </a:cubicBezTo>
                        <a:cubicBezTo>
                          <a:pt x="82235" y="51315"/>
                          <a:pt x="81697" y="51853"/>
                          <a:pt x="81158" y="52331"/>
                        </a:cubicBezTo>
                        <a:cubicBezTo>
                          <a:pt x="84807" y="56039"/>
                          <a:pt x="88395" y="59688"/>
                          <a:pt x="91924" y="63336"/>
                        </a:cubicBezTo>
                        <a:cubicBezTo>
                          <a:pt x="95392" y="66864"/>
                          <a:pt x="98921" y="70453"/>
                          <a:pt x="102150" y="73742"/>
                        </a:cubicBezTo>
                        <a:cubicBezTo>
                          <a:pt x="102450" y="73503"/>
                          <a:pt x="102749" y="73204"/>
                          <a:pt x="102988" y="72965"/>
                        </a:cubicBezTo>
                        <a:cubicBezTo>
                          <a:pt x="103347" y="72905"/>
                          <a:pt x="103885" y="72785"/>
                          <a:pt x="104304" y="72666"/>
                        </a:cubicBezTo>
                        <a:cubicBezTo>
                          <a:pt x="104663" y="73025"/>
                          <a:pt x="104723" y="73264"/>
                          <a:pt x="105022" y="73623"/>
                        </a:cubicBezTo>
                        <a:cubicBezTo>
                          <a:pt x="99938" y="78288"/>
                          <a:pt x="94794" y="83012"/>
                          <a:pt x="89711" y="87677"/>
                        </a:cubicBezTo>
                        <a:cubicBezTo>
                          <a:pt x="84627" y="92342"/>
                          <a:pt x="79484" y="97067"/>
                          <a:pt x="74401" y="101732"/>
                        </a:cubicBezTo>
                        <a:cubicBezTo>
                          <a:pt x="74041" y="101373"/>
                          <a:pt x="73682" y="101074"/>
                          <a:pt x="73384" y="100715"/>
                        </a:cubicBezTo>
                        <a:cubicBezTo>
                          <a:pt x="75417" y="98861"/>
                          <a:pt x="77450" y="97007"/>
                          <a:pt x="79424" y="95153"/>
                        </a:cubicBezTo>
                        <a:cubicBezTo>
                          <a:pt x="75896" y="91685"/>
                          <a:pt x="72307" y="88216"/>
                          <a:pt x="68718" y="84687"/>
                        </a:cubicBezTo>
                        <a:cubicBezTo>
                          <a:pt x="65070" y="81099"/>
                          <a:pt x="61362" y="77510"/>
                          <a:pt x="57654" y="73862"/>
                        </a:cubicBezTo>
                        <a:cubicBezTo>
                          <a:pt x="55860" y="75537"/>
                          <a:pt x="54066" y="77151"/>
                          <a:pt x="52271" y="78826"/>
                        </a:cubicBezTo>
                        <a:cubicBezTo>
                          <a:pt x="51853" y="78946"/>
                          <a:pt x="51434" y="79005"/>
                          <a:pt x="51016" y="79125"/>
                        </a:cubicBezTo>
                        <a:cubicBezTo>
                          <a:pt x="50657" y="78766"/>
                          <a:pt x="50298" y="78467"/>
                          <a:pt x="49999" y="78108"/>
                        </a:cubicBezTo>
                        <a:cubicBezTo>
                          <a:pt x="52092" y="76194"/>
                          <a:pt x="54126" y="74281"/>
                          <a:pt x="56219" y="72367"/>
                        </a:cubicBezTo>
                        <a:cubicBezTo>
                          <a:pt x="52511" y="68778"/>
                          <a:pt x="48803" y="65130"/>
                          <a:pt x="45095" y="61482"/>
                        </a:cubicBezTo>
                        <a:cubicBezTo>
                          <a:pt x="41267" y="57774"/>
                          <a:pt x="37439" y="54006"/>
                          <a:pt x="33612" y="50238"/>
                        </a:cubicBezTo>
                        <a:cubicBezTo>
                          <a:pt x="31758" y="51913"/>
                          <a:pt x="29963" y="53647"/>
                          <a:pt x="28109" y="55322"/>
                        </a:cubicBezTo>
                        <a:cubicBezTo>
                          <a:pt x="27631" y="55441"/>
                          <a:pt x="27213" y="55501"/>
                          <a:pt x="26734" y="55621"/>
                        </a:cubicBezTo>
                        <a:cubicBezTo>
                          <a:pt x="26614" y="55142"/>
                          <a:pt x="26255" y="54783"/>
                          <a:pt x="25896" y="54425"/>
                        </a:cubicBezTo>
                        <a:lnTo>
                          <a:pt x="25896" y="54425"/>
                        </a:lnTo>
                        <a:close/>
                        <a:moveTo>
                          <a:pt x="83850" y="91266"/>
                        </a:moveTo>
                        <a:cubicBezTo>
                          <a:pt x="85644" y="89651"/>
                          <a:pt x="87438" y="87976"/>
                          <a:pt x="89233" y="86362"/>
                        </a:cubicBezTo>
                        <a:cubicBezTo>
                          <a:pt x="85703" y="82893"/>
                          <a:pt x="82175" y="79364"/>
                          <a:pt x="78587" y="75776"/>
                        </a:cubicBezTo>
                        <a:cubicBezTo>
                          <a:pt x="74939" y="72187"/>
                          <a:pt x="71290" y="68539"/>
                          <a:pt x="67642" y="64891"/>
                        </a:cubicBezTo>
                        <a:cubicBezTo>
                          <a:pt x="65848" y="66565"/>
                          <a:pt x="63993" y="68240"/>
                          <a:pt x="62200" y="69915"/>
                        </a:cubicBezTo>
                        <a:cubicBezTo>
                          <a:pt x="65908" y="73563"/>
                          <a:pt x="69556" y="77151"/>
                          <a:pt x="73204" y="80800"/>
                        </a:cubicBezTo>
                        <a:cubicBezTo>
                          <a:pt x="76732" y="84268"/>
                          <a:pt x="80321" y="87797"/>
                          <a:pt x="83850" y="91266"/>
                        </a:cubicBezTo>
                        <a:lnTo>
                          <a:pt x="83850" y="91266"/>
                        </a:lnTo>
                        <a:close/>
                        <a:moveTo>
                          <a:pt x="60645" y="68419"/>
                        </a:moveTo>
                        <a:cubicBezTo>
                          <a:pt x="62439" y="66745"/>
                          <a:pt x="64293" y="65070"/>
                          <a:pt x="66087" y="63396"/>
                        </a:cubicBezTo>
                        <a:cubicBezTo>
                          <a:pt x="62439" y="59747"/>
                          <a:pt x="58730" y="56099"/>
                          <a:pt x="55022" y="52391"/>
                        </a:cubicBezTo>
                        <a:cubicBezTo>
                          <a:pt x="51254" y="48623"/>
                          <a:pt x="47427" y="44855"/>
                          <a:pt x="43600" y="41028"/>
                        </a:cubicBezTo>
                        <a:cubicBezTo>
                          <a:pt x="41745" y="42762"/>
                          <a:pt x="39892" y="44437"/>
                          <a:pt x="38037" y="46171"/>
                        </a:cubicBezTo>
                        <a:cubicBezTo>
                          <a:pt x="41865" y="49939"/>
                          <a:pt x="45693" y="53707"/>
                          <a:pt x="49521" y="57475"/>
                        </a:cubicBezTo>
                        <a:cubicBezTo>
                          <a:pt x="53288" y="61183"/>
                          <a:pt x="56996" y="64831"/>
                          <a:pt x="60645" y="68419"/>
                        </a:cubicBezTo>
                        <a:lnTo>
                          <a:pt x="60645" y="68419"/>
                        </a:lnTo>
                        <a:close/>
                        <a:moveTo>
                          <a:pt x="93299" y="82594"/>
                        </a:moveTo>
                        <a:cubicBezTo>
                          <a:pt x="95094" y="80979"/>
                          <a:pt x="96887" y="79304"/>
                          <a:pt x="98622" y="77690"/>
                        </a:cubicBezTo>
                        <a:cubicBezTo>
                          <a:pt x="95154" y="74161"/>
                          <a:pt x="91624" y="70632"/>
                          <a:pt x="88096" y="67044"/>
                        </a:cubicBezTo>
                        <a:cubicBezTo>
                          <a:pt x="84508" y="63396"/>
                          <a:pt x="80859" y="59747"/>
                          <a:pt x="77211" y="56039"/>
                        </a:cubicBezTo>
                        <a:cubicBezTo>
                          <a:pt x="75417" y="57714"/>
                          <a:pt x="73563" y="59389"/>
                          <a:pt x="71769" y="61063"/>
                        </a:cubicBezTo>
                        <a:cubicBezTo>
                          <a:pt x="75417" y="64711"/>
                          <a:pt x="79065" y="68360"/>
                          <a:pt x="82713" y="72008"/>
                        </a:cubicBezTo>
                        <a:cubicBezTo>
                          <a:pt x="86242" y="75537"/>
                          <a:pt x="89771" y="79065"/>
                          <a:pt x="93299" y="82594"/>
                        </a:cubicBezTo>
                        <a:lnTo>
                          <a:pt x="93299" y="82594"/>
                        </a:lnTo>
                        <a:close/>
                        <a:moveTo>
                          <a:pt x="70273" y="59568"/>
                        </a:moveTo>
                        <a:cubicBezTo>
                          <a:pt x="72068" y="57893"/>
                          <a:pt x="73922" y="56219"/>
                          <a:pt x="75716" y="54544"/>
                        </a:cubicBezTo>
                        <a:cubicBezTo>
                          <a:pt x="72068" y="50896"/>
                          <a:pt x="68420" y="47188"/>
                          <a:pt x="64771" y="43480"/>
                        </a:cubicBezTo>
                        <a:cubicBezTo>
                          <a:pt x="61003" y="39712"/>
                          <a:pt x="57235" y="35884"/>
                          <a:pt x="53468" y="32057"/>
                        </a:cubicBezTo>
                        <a:cubicBezTo>
                          <a:pt x="51614" y="33791"/>
                          <a:pt x="49759" y="35466"/>
                          <a:pt x="47906" y="37200"/>
                        </a:cubicBezTo>
                        <a:cubicBezTo>
                          <a:pt x="51733" y="41028"/>
                          <a:pt x="55501" y="44796"/>
                          <a:pt x="59269" y="48563"/>
                        </a:cubicBezTo>
                        <a:cubicBezTo>
                          <a:pt x="62977" y="52212"/>
                          <a:pt x="66625" y="55920"/>
                          <a:pt x="70273" y="5956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86" name="Vrije vorm: vorm 7085">
                    <a:extLst>
                      <a:ext uri="{FF2B5EF4-FFF2-40B4-BE49-F238E27FC236}">
                        <a16:creationId xmlns:a16="http://schemas.microsoft.com/office/drawing/2014/main" id="{D677EBCD-CE4C-48CF-BD9D-C8D77FFC91BB}"/>
                      </a:ext>
                    </a:extLst>
                  </p:cNvPr>
                  <p:cNvSpPr/>
                  <p:nvPr/>
                </p:nvSpPr>
                <p:spPr>
                  <a:xfrm>
                    <a:off x="7518146" y="2407520"/>
                    <a:ext cx="104542" cy="101313"/>
                  </a:xfrm>
                  <a:custGeom>
                    <a:avLst/>
                    <a:gdLst>
                      <a:gd name="connsiteX0" fmla="*/ 11663 w 104542"/>
                      <a:gd name="connsiteY0" fmla="*/ 21411 h 101313"/>
                      <a:gd name="connsiteX1" fmla="*/ 23803 w 104542"/>
                      <a:gd name="connsiteY1" fmla="*/ 33313 h 101313"/>
                      <a:gd name="connsiteX2" fmla="*/ 35286 w 104542"/>
                      <a:gd name="connsiteY2" fmla="*/ 44556 h 101313"/>
                      <a:gd name="connsiteX3" fmla="*/ 40848 w 104542"/>
                      <a:gd name="connsiteY3" fmla="*/ 39413 h 101313"/>
                      <a:gd name="connsiteX4" fmla="*/ 29425 w 104542"/>
                      <a:gd name="connsiteY4" fmla="*/ 28109 h 101313"/>
                      <a:gd name="connsiteX5" fmla="*/ 17344 w 104542"/>
                      <a:gd name="connsiteY5" fmla="*/ 16148 h 101313"/>
                      <a:gd name="connsiteX6" fmla="*/ 11663 w 104542"/>
                      <a:gd name="connsiteY6" fmla="*/ 21411 h 101313"/>
                      <a:gd name="connsiteX7" fmla="*/ 11663 w 104542"/>
                      <a:gd name="connsiteY7" fmla="*/ 21411 h 101313"/>
                      <a:gd name="connsiteX8" fmla="*/ 54903 w 104542"/>
                      <a:gd name="connsiteY8" fmla="*/ 26495 h 101313"/>
                      <a:gd name="connsiteX9" fmla="*/ 56577 w 104542"/>
                      <a:gd name="connsiteY9" fmla="*/ 24940 h 101313"/>
                      <a:gd name="connsiteX10" fmla="*/ 58073 w 104542"/>
                      <a:gd name="connsiteY10" fmla="*/ 26495 h 101313"/>
                      <a:gd name="connsiteX11" fmla="*/ 56399 w 104542"/>
                      <a:gd name="connsiteY11" fmla="*/ 27990 h 101313"/>
                      <a:gd name="connsiteX12" fmla="*/ 67702 w 104542"/>
                      <a:gd name="connsiteY12" fmla="*/ 39473 h 101313"/>
                      <a:gd name="connsiteX13" fmla="*/ 78707 w 104542"/>
                      <a:gd name="connsiteY13" fmla="*/ 50597 h 101313"/>
                      <a:gd name="connsiteX14" fmla="*/ 80321 w 104542"/>
                      <a:gd name="connsiteY14" fmla="*/ 49102 h 101313"/>
                      <a:gd name="connsiteX15" fmla="*/ 81757 w 104542"/>
                      <a:gd name="connsiteY15" fmla="*/ 50597 h 101313"/>
                      <a:gd name="connsiteX16" fmla="*/ 80142 w 104542"/>
                      <a:gd name="connsiteY16" fmla="*/ 52092 h 101313"/>
                      <a:gd name="connsiteX17" fmla="*/ 91026 w 104542"/>
                      <a:gd name="connsiteY17" fmla="*/ 63156 h 101313"/>
                      <a:gd name="connsiteX18" fmla="*/ 101672 w 104542"/>
                      <a:gd name="connsiteY18" fmla="*/ 73922 h 101313"/>
                      <a:gd name="connsiteX19" fmla="*/ 103287 w 104542"/>
                      <a:gd name="connsiteY19" fmla="*/ 72486 h 101313"/>
                      <a:gd name="connsiteX20" fmla="*/ 104543 w 104542"/>
                      <a:gd name="connsiteY20" fmla="*/ 73862 h 101313"/>
                      <a:gd name="connsiteX21" fmla="*/ 89651 w 104542"/>
                      <a:gd name="connsiteY21" fmla="*/ 87558 h 101313"/>
                      <a:gd name="connsiteX22" fmla="*/ 74699 w 104542"/>
                      <a:gd name="connsiteY22" fmla="*/ 101313 h 101313"/>
                      <a:gd name="connsiteX23" fmla="*/ 73324 w 104542"/>
                      <a:gd name="connsiteY23" fmla="*/ 99998 h 101313"/>
                      <a:gd name="connsiteX24" fmla="*/ 78647 w 104542"/>
                      <a:gd name="connsiteY24" fmla="*/ 95093 h 101313"/>
                      <a:gd name="connsiteX25" fmla="*/ 67821 w 104542"/>
                      <a:gd name="connsiteY25" fmla="*/ 84508 h 101313"/>
                      <a:gd name="connsiteX26" fmla="*/ 56697 w 104542"/>
                      <a:gd name="connsiteY26" fmla="*/ 73683 h 101313"/>
                      <a:gd name="connsiteX27" fmla="*/ 51255 w 104542"/>
                      <a:gd name="connsiteY27" fmla="*/ 78646 h 101313"/>
                      <a:gd name="connsiteX28" fmla="*/ 49760 w 104542"/>
                      <a:gd name="connsiteY28" fmla="*/ 77211 h 101313"/>
                      <a:gd name="connsiteX29" fmla="*/ 55202 w 104542"/>
                      <a:gd name="connsiteY29" fmla="*/ 72247 h 101313"/>
                      <a:gd name="connsiteX30" fmla="*/ 44018 w 104542"/>
                      <a:gd name="connsiteY30" fmla="*/ 61362 h 101313"/>
                      <a:gd name="connsiteX31" fmla="*/ 32476 w 104542"/>
                      <a:gd name="connsiteY31" fmla="*/ 50118 h 101313"/>
                      <a:gd name="connsiteX32" fmla="*/ 26973 w 104542"/>
                      <a:gd name="connsiteY32" fmla="*/ 55202 h 101313"/>
                      <a:gd name="connsiteX33" fmla="*/ 25418 w 104542"/>
                      <a:gd name="connsiteY33" fmla="*/ 53707 h 101313"/>
                      <a:gd name="connsiteX34" fmla="*/ 30921 w 104542"/>
                      <a:gd name="connsiteY34" fmla="*/ 48623 h 101313"/>
                      <a:gd name="connsiteX35" fmla="*/ 19258 w 104542"/>
                      <a:gd name="connsiteY35" fmla="*/ 37260 h 101313"/>
                      <a:gd name="connsiteX36" fmla="*/ 7236 w 104542"/>
                      <a:gd name="connsiteY36" fmla="*/ 25538 h 101313"/>
                      <a:gd name="connsiteX37" fmla="*/ 1615 w 104542"/>
                      <a:gd name="connsiteY37" fmla="*/ 30741 h 101313"/>
                      <a:gd name="connsiteX38" fmla="*/ 0 w 104542"/>
                      <a:gd name="connsiteY38" fmla="*/ 29186 h 101313"/>
                      <a:gd name="connsiteX39" fmla="*/ 15909 w 104542"/>
                      <a:gd name="connsiteY39" fmla="*/ 14593 h 101313"/>
                      <a:gd name="connsiteX40" fmla="*/ 31818 w 104542"/>
                      <a:gd name="connsiteY40" fmla="*/ 0 h 101313"/>
                      <a:gd name="connsiteX41" fmla="*/ 33372 w 104542"/>
                      <a:gd name="connsiteY41" fmla="*/ 1615 h 101313"/>
                      <a:gd name="connsiteX42" fmla="*/ 31698 w 104542"/>
                      <a:gd name="connsiteY42" fmla="*/ 3170 h 101313"/>
                      <a:gd name="connsiteX43" fmla="*/ 43480 w 104542"/>
                      <a:gd name="connsiteY43" fmla="*/ 15131 h 101313"/>
                      <a:gd name="connsiteX44" fmla="*/ 54903 w 104542"/>
                      <a:gd name="connsiteY44" fmla="*/ 26495 h 101313"/>
                      <a:gd name="connsiteX45" fmla="*/ 54903 w 104542"/>
                      <a:gd name="connsiteY45" fmla="*/ 26495 h 101313"/>
                      <a:gd name="connsiteX46" fmla="*/ 45095 w 104542"/>
                      <a:gd name="connsiteY46" fmla="*/ 35526 h 101313"/>
                      <a:gd name="connsiteX47" fmla="*/ 50657 w 104542"/>
                      <a:gd name="connsiteY47" fmla="*/ 30382 h 101313"/>
                      <a:gd name="connsiteX48" fmla="*/ 39174 w 104542"/>
                      <a:gd name="connsiteY48" fmla="*/ 18839 h 101313"/>
                      <a:gd name="connsiteX49" fmla="*/ 27332 w 104542"/>
                      <a:gd name="connsiteY49" fmla="*/ 6938 h 101313"/>
                      <a:gd name="connsiteX50" fmla="*/ 21650 w 104542"/>
                      <a:gd name="connsiteY50" fmla="*/ 12141 h 101313"/>
                      <a:gd name="connsiteX51" fmla="*/ 33552 w 104542"/>
                      <a:gd name="connsiteY51" fmla="*/ 23983 h 101313"/>
                      <a:gd name="connsiteX52" fmla="*/ 45095 w 104542"/>
                      <a:gd name="connsiteY52" fmla="*/ 35526 h 101313"/>
                      <a:gd name="connsiteX53" fmla="*/ 45095 w 104542"/>
                      <a:gd name="connsiteY53" fmla="*/ 35526 h 101313"/>
                      <a:gd name="connsiteX54" fmla="*/ 82833 w 104542"/>
                      <a:gd name="connsiteY54" fmla="*/ 91266 h 101313"/>
                      <a:gd name="connsiteX55" fmla="*/ 88216 w 104542"/>
                      <a:gd name="connsiteY55" fmla="*/ 86302 h 101313"/>
                      <a:gd name="connsiteX56" fmla="*/ 77451 w 104542"/>
                      <a:gd name="connsiteY56" fmla="*/ 75656 h 101313"/>
                      <a:gd name="connsiteX57" fmla="*/ 66446 w 104542"/>
                      <a:gd name="connsiteY57" fmla="*/ 64711 h 101313"/>
                      <a:gd name="connsiteX58" fmla="*/ 61004 w 104542"/>
                      <a:gd name="connsiteY58" fmla="*/ 69735 h 101313"/>
                      <a:gd name="connsiteX59" fmla="*/ 72068 w 104542"/>
                      <a:gd name="connsiteY59" fmla="*/ 80620 h 101313"/>
                      <a:gd name="connsiteX60" fmla="*/ 82833 w 104542"/>
                      <a:gd name="connsiteY60" fmla="*/ 91266 h 101313"/>
                      <a:gd name="connsiteX61" fmla="*/ 82833 w 104542"/>
                      <a:gd name="connsiteY61" fmla="*/ 91266 h 101313"/>
                      <a:gd name="connsiteX62" fmla="*/ 59449 w 104542"/>
                      <a:gd name="connsiteY62" fmla="*/ 68360 h 101313"/>
                      <a:gd name="connsiteX63" fmla="*/ 64891 w 104542"/>
                      <a:gd name="connsiteY63" fmla="*/ 63336 h 101313"/>
                      <a:gd name="connsiteX64" fmla="*/ 53767 w 104542"/>
                      <a:gd name="connsiteY64" fmla="*/ 52331 h 101313"/>
                      <a:gd name="connsiteX65" fmla="*/ 42284 w 104542"/>
                      <a:gd name="connsiteY65" fmla="*/ 40968 h 101313"/>
                      <a:gd name="connsiteX66" fmla="*/ 36722 w 104542"/>
                      <a:gd name="connsiteY66" fmla="*/ 46111 h 101313"/>
                      <a:gd name="connsiteX67" fmla="*/ 48265 w 104542"/>
                      <a:gd name="connsiteY67" fmla="*/ 57415 h 101313"/>
                      <a:gd name="connsiteX68" fmla="*/ 59449 w 104542"/>
                      <a:gd name="connsiteY68" fmla="*/ 68360 h 101313"/>
                      <a:gd name="connsiteX69" fmla="*/ 59449 w 104542"/>
                      <a:gd name="connsiteY69" fmla="*/ 68360 h 101313"/>
                      <a:gd name="connsiteX70" fmla="*/ 92283 w 104542"/>
                      <a:gd name="connsiteY70" fmla="*/ 82594 h 101313"/>
                      <a:gd name="connsiteX71" fmla="*/ 97665 w 104542"/>
                      <a:gd name="connsiteY71" fmla="*/ 77690 h 101313"/>
                      <a:gd name="connsiteX72" fmla="*/ 86960 w 104542"/>
                      <a:gd name="connsiteY72" fmla="*/ 66924 h 101313"/>
                      <a:gd name="connsiteX73" fmla="*/ 76015 w 104542"/>
                      <a:gd name="connsiteY73" fmla="*/ 55920 h 101313"/>
                      <a:gd name="connsiteX74" fmla="*/ 70573 w 104542"/>
                      <a:gd name="connsiteY74" fmla="*/ 60944 h 101313"/>
                      <a:gd name="connsiteX75" fmla="*/ 81577 w 104542"/>
                      <a:gd name="connsiteY75" fmla="*/ 71888 h 101313"/>
                      <a:gd name="connsiteX76" fmla="*/ 92283 w 104542"/>
                      <a:gd name="connsiteY76" fmla="*/ 82594 h 101313"/>
                      <a:gd name="connsiteX77" fmla="*/ 92283 w 104542"/>
                      <a:gd name="connsiteY77" fmla="*/ 82594 h 101313"/>
                      <a:gd name="connsiteX78" fmla="*/ 69138 w 104542"/>
                      <a:gd name="connsiteY78" fmla="*/ 59508 h 101313"/>
                      <a:gd name="connsiteX79" fmla="*/ 74579 w 104542"/>
                      <a:gd name="connsiteY79" fmla="*/ 54484 h 101313"/>
                      <a:gd name="connsiteX80" fmla="*/ 63575 w 104542"/>
                      <a:gd name="connsiteY80" fmla="*/ 43420 h 101313"/>
                      <a:gd name="connsiteX81" fmla="*/ 52212 w 104542"/>
                      <a:gd name="connsiteY81" fmla="*/ 31997 h 101313"/>
                      <a:gd name="connsiteX82" fmla="*/ 46650 w 104542"/>
                      <a:gd name="connsiteY82" fmla="*/ 37140 h 101313"/>
                      <a:gd name="connsiteX83" fmla="*/ 58073 w 104542"/>
                      <a:gd name="connsiteY83" fmla="*/ 48504 h 101313"/>
                      <a:gd name="connsiteX84" fmla="*/ 69138 w 104542"/>
                      <a:gd name="connsiteY84" fmla="*/ 59508 h 101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04542" h="101313">
                        <a:moveTo>
                          <a:pt x="11663" y="21411"/>
                        </a:moveTo>
                        <a:cubicBezTo>
                          <a:pt x="15789" y="25478"/>
                          <a:pt x="19856" y="29425"/>
                          <a:pt x="23803" y="33313"/>
                        </a:cubicBezTo>
                        <a:cubicBezTo>
                          <a:pt x="27691" y="37140"/>
                          <a:pt x="31519" y="40908"/>
                          <a:pt x="35286" y="44556"/>
                        </a:cubicBezTo>
                        <a:cubicBezTo>
                          <a:pt x="37140" y="42822"/>
                          <a:pt x="38994" y="41147"/>
                          <a:pt x="40848" y="39413"/>
                        </a:cubicBezTo>
                        <a:cubicBezTo>
                          <a:pt x="37140" y="35705"/>
                          <a:pt x="33313" y="31937"/>
                          <a:pt x="29425" y="28109"/>
                        </a:cubicBezTo>
                        <a:cubicBezTo>
                          <a:pt x="25478" y="24222"/>
                          <a:pt x="21471" y="20215"/>
                          <a:pt x="17344" y="16148"/>
                        </a:cubicBezTo>
                        <a:cubicBezTo>
                          <a:pt x="15430" y="17942"/>
                          <a:pt x="13516" y="19677"/>
                          <a:pt x="11663" y="21411"/>
                        </a:cubicBezTo>
                        <a:lnTo>
                          <a:pt x="11663" y="21411"/>
                        </a:lnTo>
                        <a:close/>
                        <a:moveTo>
                          <a:pt x="54903" y="26495"/>
                        </a:moveTo>
                        <a:cubicBezTo>
                          <a:pt x="55441" y="25956"/>
                          <a:pt x="55979" y="25478"/>
                          <a:pt x="56577" y="24940"/>
                        </a:cubicBezTo>
                        <a:cubicBezTo>
                          <a:pt x="57056" y="25478"/>
                          <a:pt x="57594" y="26016"/>
                          <a:pt x="58073" y="26495"/>
                        </a:cubicBezTo>
                        <a:cubicBezTo>
                          <a:pt x="57535" y="26973"/>
                          <a:pt x="56996" y="27511"/>
                          <a:pt x="56399" y="27990"/>
                        </a:cubicBezTo>
                        <a:cubicBezTo>
                          <a:pt x="60166" y="31817"/>
                          <a:pt x="63994" y="35645"/>
                          <a:pt x="67702" y="39473"/>
                        </a:cubicBezTo>
                        <a:cubicBezTo>
                          <a:pt x="71350" y="43181"/>
                          <a:pt x="75058" y="46889"/>
                          <a:pt x="78707" y="50597"/>
                        </a:cubicBezTo>
                        <a:cubicBezTo>
                          <a:pt x="79245" y="50118"/>
                          <a:pt x="79783" y="49580"/>
                          <a:pt x="80321" y="49102"/>
                        </a:cubicBezTo>
                        <a:cubicBezTo>
                          <a:pt x="80800" y="49580"/>
                          <a:pt x="81278" y="50118"/>
                          <a:pt x="81757" y="50597"/>
                        </a:cubicBezTo>
                        <a:cubicBezTo>
                          <a:pt x="81218" y="51075"/>
                          <a:pt x="80680" y="51614"/>
                          <a:pt x="80142" y="52092"/>
                        </a:cubicBezTo>
                        <a:cubicBezTo>
                          <a:pt x="83790" y="55800"/>
                          <a:pt x="87438" y="59508"/>
                          <a:pt x="91026" y="63156"/>
                        </a:cubicBezTo>
                        <a:cubicBezTo>
                          <a:pt x="94556" y="66745"/>
                          <a:pt x="98204" y="70393"/>
                          <a:pt x="101672" y="73922"/>
                        </a:cubicBezTo>
                        <a:cubicBezTo>
                          <a:pt x="102210" y="73443"/>
                          <a:pt x="102749" y="72965"/>
                          <a:pt x="103287" y="72486"/>
                        </a:cubicBezTo>
                        <a:cubicBezTo>
                          <a:pt x="103765" y="72965"/>
                          <a:pt x="104065" y="73384"/>
                          <a:pt x="104543" y="73862"/>
                        </a:cubicBezTo>
                        <a:cubicBezTo>
                          <a:pt x="99579" y="78467"/>
                          <a:pt x="94675" y="82953"/>
                          <a:pt x="89651" y="87558"/>
                        </a:cubicBezTo>
                        <a:cubicBezTo>
                          <a:pt x="84687" y="92163"/>
                          <a:pt x="79723" y="96708"/>
                          <a:pt x="74699" y="101313"/>
                        </a:cubicBezTo>
                        <a:cubicBezTo>
                          <a:pt x="74221" y="100835"/>
                          <a:pt x="73802" y="100476"/>
                          <a:pt x="73324" y="99998"/>
                        </a:cubicBezTo>
                        <a:cubicBezTo>
                          <a:pt x="75118" y="98383"/>
                          <a:pt x="76852" y="96768"/>
                          <a:pt x="78647" y="95093"/>
                        </a:cubicBezTo>
                        <a:cubicBezTo>
                          <a:pt x="75058" y="91625"/>
                          <a:pt x="71410" y="88036"/>
                          <a:pt x="67821" y="84508"/>
                        </a:cubicBezTo>
                        <a:cubicBezTo>
                          <a:pt x="64113" y="80919"/>
                          <a:pt x="60465" y="77331"/>
                          <a:pt x="56697" y="73683"/>
                        </a:cubicBezTo>
                        <a:cubicBezTo>
                          <a:pt x="54903" y="75357"/>
                          <a:pt x="53109" y="77032"/>
                          <a:pt x="51255" y="78646"/>
                        </a:cubicBezTo>
                        <a:cubicBezTo>
                          <a:pt x="50776" y="78168"/>
                          <a:pt x="50238" y="77690"/>
                          <a:pt x="49760" y="77211"/>
                        </a:cubicBezTo>
                        <a:cubicBezTo>
                          <a:pt x="51554" y="75537"/>
                          <a:pt x="53348" y="73862"/>
                          <a:pt x="55202" y="72247"/>
                        </a:cubicBezTo>
                        <a:cubicBezTo>
                          <a:pt x="51494" y="68599"/>
                          <a:pt x="47786" y="65010"/>
                          <a:pt x="44018" y="61362"/>
                        </a:cubicBezTo>
                        <a:cubicBezTo>
                          <a:pt x="40190" y="57594"/>
                          <a:pt x="36303" y="53886"/>
                          <a:pt x="32476" y="50118"/>
                        </a:cubicBezTo>
                        <a:cubicBezTo>
                          <a:pt x="30621" y="51793"/>
                          <a:pt x="28768" y="53528"/>
                          <a:pt x="26973" y="55202"/>
                        </a:cubicBezTo>
                        <a:cubicBezTo>
                          <a:pt x="26435" y="54724"/>
                          <a:pt x="25956" y="54185"/>
                          <a:pt x="25418" y="53707"/>
                        </a:cubicBezTo>
                        <a:cubicBezTo>
                          <a:pt x="27272" y="52032"/>
                          <a:pt x="29126" y="50298"/>
                          <a:pt x="30921" y="48623"/>
                        </a:cubicBezTo>
                        <a:cubicBezTo>
                          <a:pt x="27033" y="44855"/>
                          <a:pt x="23145" y="41088"/>
                          <a:pt x="19258" y="37260"/>
                        </a:cubicBezTo>
                        <a:cubicBezTo>
                          <a:pt x="15251" y="33373"/>
                          <a:pt x="11244" y="29485"/>
                          <a:pt x="7236" y="25538"/>
                        </a:cubicBezTo>
                        <a:cubicBezTo>
                          <a:pt x="5383" y="27272"/>
                          <a:pt x="3469" y="29007"/>
                          <a:pt x="1615" y="30741"/>
                        </a:cubicBezTo>
                        <a:cubicBezTo>
                          <a:pt x="1077" y="30203"/>
                          <a:pt x="538" y="29664"/>
                          <a:pt x="0" y="29186"/>
                        </a:cubicBezTo>
                        <a:cubicBezTo>
                          <a:pt x="5323" y="24342"/>
                          <a:pt x="10586" y="19437"/>
                          <a:pt x="15909" y="14593"/>
                        </a:cubicBezTo>
                        <a:cubicBezTo>
                          <a:pt x="21232" y="9749"/>
                          <a:pt x="26495" y="4844"/>
                          <a:pt x="31818" y="0"/>
                        </a:cubicBezTo>
                        <a:cubicBezTo>
                          <a:pt x="32296" y="538"/>
                          <a:pt x="32894" y="1076"/>
                          <a:pt x="33372" y="1615"/>
                        </a:cubicBezTo>
                        <a:cubicBezTo>
                          <a:pt x="32834" y="2153"/>
                          <a:pt x="32236" y="2632"/>
                          <a:pt x="31698" y="3170"/>
                        </a:cubicBezTo>
                        <a:cubicBezTo>
                          <a:pt x="35645" y="7177"/>
                          <a:pt x="39592" y="11184"/>
                          <a:pt x="43480" y="15131"/>
                        </a:cubicBezTo>
                        <a:cubicBezTo>
                          <a:pt x="47308" y="18780"/>
                          <a:pt x="51135" y="22667"/>
                          <a:pt x="54903" y="26495"/>
                        </a:cubicBezTo>
                        <a:lnTo>
                          <a:pt x="54903" y="26495"/>
                        </a:lnTo>
                        <a:close/>
                        <a:moveTo>
                          <a:pt x="45095" y="35526"/>
                        </a:moveTo>
                        <a:cubicBezTo>
                          <a:pt x="46949" y="33791"/>
                          <a:pt x="48803" y="32116"/>
                          <a:pt x="50657" y="30382"/>
                        </a:cubicBezTo>
                        <a:cubicBezTo>
                          <a:pt x="46889" y="26554"/>
                          <a:pt x="43062" y="22727"/>
                          <a:pt x="39174" y="18839"/>
                        </a:cubicBezTo>
                        <a:cubicBezTo>
                          <a:pt x="35227" y="14892"/>
                          <a:pt x="31279" y="10945"/>
                          <a:pt x="27332" y="6938"/>
                        </a:cubicBezTo>
                        <a:cubicBezTo>
                          <a:pt x="25418" y="8672"/>
                          <a:pt x="23564" y="10407"/>
                          <a:pt x="21650" y="12141"/>
                        </a:cubicBezTo>
                        <a:cubicBezTo>
                          <a:pt x="25658" y="16088"/>
                          <a:pt x="29605" y="20095"/>
                          <a:pt x="33552" y="23983"/>
                        </a:cubicBezTo>
                        <a:cubicBezTo>
                          <a:pt x="37439" y="27870"/>
                          <a:pt x="41267" y="31758"/>
                          <a:pt x="45095" y="35526"/>
                        </a:cubicBezTo>
                        <a:lnTo>
                          <a:pt x="45095" y="35526"/>
                        </a:lnTo>
                        <a:close/>
                        <a:moveTo>
                          <a:pt x="82833" y="91266"/>
                        </a:moveTo>
                        <a:cubicBezTo>
                          <a:pt x="84627" y="89651"/>
                          <a:pt x="86422" y="87976"/>
                          <a:pt x="88216" y="86302"/>
                        </a:cubicBezTo>
                        <a:cubicBezTo>
                          <a:pt x="84687" y="82833"/>
                          <a:pt x="81039" y="79185"/>
                          <a:pt x="77451" y="75656"/>
                        </a:cubicBezTo>
                        <a:cubicBezTo>
                          <a:pt x="73802" y="72068"/>
                          <a:pt x="70154" y="68419"/>
                          <a:pt x="66446" y="64711"/>
                        </a:cubicBezTo>
                        <a:cubicBezTo>
                          <a:pt x="64652" y="66386"/>
                          <a:pt x="62798" y="68061"/>
                          <a:pt x="61004" y="69735"/>
                        </a:cubicBezTo>
                        <a:cubicBezTo>
                          <a:pt x="64712" y="73384"/>
                          <a:pt x="68420" y="77032"/>
                          <a:pt x="72068" y="80620"/>
                        </a:cubicBezTo>
                        <a:cubicBezTo>
                          <a:pt x="75596" y="84209"/>
                          <a:pt x="79304" y="87797"/>
                          <a:pt x="82833" y="91266"/>
                        </a:cubicBezTo>
                        <a:lnTo>
                          <a:pt x="82833" y="91266"/>
                        </a:lnTo>
                        <a:close/>
                        <a:moveTo>
                          <a:pt x="59449" y="68360"/>
                        </a:moveTo>
                        <a:cubicBezTo>
                          <a:pt x="61243" y="66685"/>
                          <a:pt x="63097" y="65010"/>
                          <a:pt x="64891" y="63336"/>
                        </a:cubicBezTo>
                        <a:cubicBezTo>
                          <a:pt x="61183" y="59688"/>
                          <a:pt x="57475" y="56039"/>
                          <a:pt x="53767" y="52331"/>
                        </a:cubicBezTo>
                        <a:cubicBezTo>
                          <a:pt x="49939" y="48563"/>
                          <a:pt x="46111" y="44796"/>
                          <a:pt x="42284" y="40968"/>
                        </a:cubicBezTo>
                        <a:cubicBezTo>
                          <a:pt x="40430" y="42702"/>
                          <a:pt x="38576" y="44377"/>
                          <a:pt x="36722" y="46111"/>
                        </a:cubicBezTo>
                        <a:cubicBezTo>
                          <a:pt x="40549" y="49879"/>
                          <a:pt x="44437" y="53647"/>
                          <a:pt x="48265" y="57415"/>
                        </a:cubicBezTo>
                        <a:cubicBezTo>
                          <a:pt x="52033" y="61063"/>
                          <a:pt x="55741" y="64711"/>
                          <a:pt x="59449" y="68360"/>
                        </a:cubicBezTo>
                        <a:lnTo>
                          <a:pt x="59449" y="68360"/>
                        </a:lnTo>
                        <a:close/>
                        <a:moveTo>
                          <a:pt x="92283" y="82594"/>
                        </a:moveTo>
                        <a:cubicBezTo>
                          <a:pt x="94077" y="80979"/>
                          <a:pt x="95871" y="79304"/>
                          <a:pt x="97665" y="77690"/>
                        </a:cubicBezTo>
                        <a:cubicBezTo>
                          <a:pt x="94137" y="74161"/>
                          <a:pt x="90548" y="70513"/>
                          <a:pt x="86960" y="66924"/>
                        </a:cubicBezTo>
                        <a:cubicBezTo>
                          <a:pt x="83312" y="63276"/>
                          <a:pt x="79664" y="59628"/>
                          <a:pt x="76015" y="55920"/>
                        </a:cubicBezTo>
                        <a:cubicBezTo>
                          <a:pt x="74221" y="57594"/>
                          <a:pt x="72367" y="59269"/>
                          <a:pt x="70573" y="60944"/>
                        </a:cubicBezTo>
                        <a:cubicBezTo>
                          <a:pt x="74281" y="64652"/>
                          <a:pt x="77929" y="68300"/>
                          <a:pt x="81577" y="71888"/>
                        </a:cubicBezTo>
                        <a:cubicBezTo>
                          <a:pt x="85106" y="75417"/>
                          <a:pt x="88754" y="79065"/>
                          <a:pt x="92283" y="82594"/>
                        </a:cubicBezTo>
                        <a:lnTo>
                          <a:pt x="92283" y="82594"/>
                        </a:lnTo>
                        <a:close/>
                        <a:moveTo>
                          <a:pt x="69138" y="59508"/>
                        </a:moveTo>
                        <a:cubicBezTo>
                          <a:pt x="70931" y="57834"/>
                          <a:pt x="72786" y="56159"/>
                          <a:pt x="74579" y="54484"/>
                        </a:cubicBezTo>
                        <a:cubicBezTo>
                          <a:pt x="70931" y="50836"/>
                          <a:pt x="67223" y="47128"/>
                          <a:pt x="63575" y="43420"/>
                        </a:cubicBezTo>
                        <a:cubicBezTo>
                          <a:pt x="59807" y="39652"/>
                          <a:pt x="56039" y="35825"/>
                          <a:pt x="52212" y="31997"/>
                        </a:cubicBezTo>
                        <a:cubicBezTo>
                          <a:pt x="50358" y="33731"/>
                          <a:pt x="48504" y="35406"/>
                          <a:pt x="46650" y="37140"/>
                        </a:cubicBezTo>
                        <a:cubicBezTo>
                          <a:pt x="50478" y="40968"/>
                          <a:pt x="54305" y="44736"/>
                          <a:pt x="58073" y="48504"/>
                        </a:cubicBezTo>
                        <a:cubicBezTo>
                          <a:pt x="61721" y="52152"/>
                          <a:pt x="65429" y="55800"/>
                          <a:pt x="69138" y="5950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87" name="Vrije vorm: vorm 7086">
                    <a:extLst>
                      <a:ext uri="{FF2B5EF4-FFF2-40B4-BE49-F238E27FC236}">
                        <a16:creationId xmlns:a16="http://schemas.microsoft.com/office/drawing/2014/main" id="{7C0B3B97-2F87-4E30-9C61-3058969D61D2}"/>
                      </a:ext>
                    </a:extLst>
                  </p:cNvPr>
                  <p:cNvSpPr/>
                  <p:nvPr/>
                </p:nvSpPr>
                <p:spPr>
                  <a:xfrm>
                    <a:off x="7598348" y="2457877"/>
                    <a:ext cx="2870" cy="1734"/>
                  </a:xfrm>
                  <a:custGeom>
                    <a:avLst/>
                    <a:gdLst>
                      <a:gd name="connsiteX0" fmla="*/ 0 w 2870"/>
                      <a:gd name="connsiteY0" fmla="*/ 1734 h 1734"/>
                      <a:gd name="connsiteX1" fmla="*/ 1256 w 2870"/>
                      <a:gd name="connsiteY1" fmla="*/ 1495 h 1734"/>
                      <a:gd name="connsiteX2" fmla="*/ 2871 w 2870"/>
                      <a:gd name="connsiteY2" fmla="*/ 0 h 1734"/>
                      <a:gd name="connsiteX3" fmla="*/ 1615 w 2870"/>
                      <a:gd name="connsiteY3" fmla="*/ 239 h 1734"/>
                      <a:gd name="connsiteX4" fmla="*/ 0 w 2870"/>
                      <a:gd name="connsiteY4" fmla="*/ 1734 h 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 h="1734">
                        <a:moveTo>
                          <a:pt x="0" y="1734"/>
                        </a:moveTo>
                        <a:cubicBezTo>
                          <a:pt x="418" y="1675"/>
                          <a:pt x="837" y="1555"/>
                          <a:pt x="1256" y="1495"/>
                        </a:cubicBezTo>
                        <a:cubicBezTo>
                          <a:pt x="1794" y="1017"/>
                          <a:pt x="2333" y="478"/>
                          <a:pt x="2871" y="0"/>
                        </a:cubicBezTo>
                        <a:cubicBezTo>
                          <a:pt x="2452" y="60"/>
                          <a:pt x="2033" y="179"/>
                          <a:pt x="1615" y="239"/>
                        </a:cubicBezTo>
                        <a:cubicBezTo>
                          <a:pt x="1076" y="718"/>
                          <a:pt x="538" y="1196"/>
                          <a:pt x="0" y="1734"/>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88" name="Vrije vorm: vorm 7087">
                    <a:extLst>
                      <a:ext uri="{FF2B5EF4-FFF2-40B4-BE49-F238E27FC236}">
                        <a16:creationId xmlns:a16="http://schemas.microsoft.com/office/drawing/2014/main" id="{096C6856-64DC-4BDD-BA85-E672C463A8A4}"/>
                      </a:ext>
                    </a:extLst>
                  </p:cNvPr>
                  <p:cNvSpPr/>
                  <p:nvPr/>
                </p:nvSpPr>
                <p:spPr>
                  <a:xfrm>
                    <a:off x="7588719" y="2463439"/>
                    <a:ext cx="5920" cy="5023"/>
                  </a:xfrm>
                  <a:custGeom>
                    <a:avLst/>
                    <a:gdLst>
                      <a:gd name="connsiteX0" fmla="*/ 5921 w 5920"/>
                      <a:gd name="connsiteY0" fmla="*/ 478 h 5023"/>
                      <a:gd name="connsiteX1" fmla="*/ 5442 w 5920"/>
                      <a:gd name="connsiteY1" fmla="*/ 0 h 5023"/>
                      <a:gd name="connsiteX2" fmla="*/ 0 w 5920"/>
                      <a:gd name="connsiteY2" fmla="*/ 5024 h 5023"/>
                      <a:gd name="connsiteX3" fmla="*/ 1256 w 5920"/>
                      <a:gd name="connsiteY3" fmla="*/ 4785 h 5023"/>
                      <a:gd name="connsiteX4" fmla="*/ 5921 w 5920"/>
                      <a:gd name="connsiteY4" fmla="*/ 478 h 5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0" h="5023">
                        <a:moveTo>
                          <a:pt x="5921" y="478"/>
                        </a:moveTo>
                        <a:cubicBezTo>
                          <a:pt x="5741" y="299"/>
                          <a:pt x="5622" y="179"/>
                          <a:pt x="5442" y="0"/>
                        </a:cubicBezTo>
                        <a:cubicBezTo>
                          <a:pt x="3648" y="1675"/>
                          <a:pt x="1794" y="3349"/>
                          <a:pt x="0" y="5024"/>
                        </a:cubicBezTo>
                        <a:cubicBezTo>
                          <a:pt x="418" y="4964"/>
                          <a:pt x="837" y="4844"/>
                          <a:pt x="1256" y="4785"/>
                        </a:cubicBezTo>
                        <a:cubicBezTo>
                          <a:pt x="2811" y="3349"/>
                          <a:pt x="4366" y="1914"/>
                          <a:pt x="5921" y="47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89" name="Vrije vorm: vorm 7088">
                    <a:extLst>
                      <a:ext uri="{FF2B5EF4-FFF2-40B4-BE49-F238E27FC236}">
                        <a16:creationId xmlns:a16="http://schemas.microsoft.com/office/drawing/2014/main" id="{DA64DED5-E495-45AD-A53C-1F3850C38DAF}"/>
                      </a:ext>
                    </a:extLst>
                  </p:cNvPr>
                  <p:cNvSpPr/>
                  <p:nvPr/>
                </p:nvSpPr>
                <p:spPr>
                  <a:xfrm>
                    <a:off x="7579090" y="2472291"/>
                    <a:ext cx="5920" cy="5023"/>
                  </a:xfrm>
                  <a:custGeom>
                    <a:avLst/>
                    <a:gdLst>
                      <a:gd name="connsiteX0" fmla="*/ 5921 w 5920"/>
                      <a:gd name="connsiteY0" fmla="*/ 478 h 5023"/>
                      <a:gd name="connsiteX1" fmla="*/ 5442 w 5920"/>
                      <a:gd name="connsiteY1" fmla="*/ 0 h 5023"/>
                      <a:gd name="connsiteX2" fmla="*/ 0 w 5920"/>
                      <a:gd name="connsiteY2" fmla="*/ 5024 h 5023"/>
                      <a:gd name="connsiteX3" fmla="*/ 1256 w 5920"/>
                      <a:gd name="connsiteY3" fmla="*/ 4725 h 5023"/>
                      <a:gd name="connsiteX4" fmla="*/ 5921 w 5920"/>
                      <a:gd name="connsiteY4" fmla="*/ 478 h 5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0" h="5023">
                        <a:moveTo>
                          <a:pt x="5921" y="478"/>
                        </a:moveTo>
                        <a:cubicBezTo>
                          <a:pt x="5741" y="299"/>
                          <a:pt x="5622" y="179"/>
                          <a:pt x="5442" y="0"/>
                        </a:cubicBezTo>
                        <a:cubicBezTo>
                          <a:pt x="3648" y="1675"/>
                          <a:pt x="1794" y="3349"/>
                          <a:pt x="0" y="5024"/>
                        </a:cubicBezTo>
                        <a:cubicBezTo>
                          <a:pt x="418" y="4964"/>
                          <a:pt x="837" y="4844"/>
                          <a:pt x="1256" y="4725"/>
                        </a:cubicBezTo>
                        <a:cubicBezTo>
                          <a:pt x="2811" y="3349"/>
                          <a:pt x="4366" y="1914"/>
                          <a:pt x="5921" y="47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90" name="Vrije vorm: vorm 7089">
                    <a:extLst>
                      <a:ext uri="{FF2B5EF4-FFF2-40B4-BE49-F238E27FC236}">
                        <a16:creationId xmlns:a16="http://schemas.microsoft.com/office/drawing/2014/main" id="{E3975A62-A1EC-4CD4-B363-41A35AFB7656}"/>
                      </a:ext>
                    </a:extLst>
                  </p:cNvPr>
                  <p:cNvSpPr/>
                  <p:nvPr/>
                </p:nvSpPr>
                <p:spPr>
                  <a:xfrm>
                    <a:off x="7569460" y="2481142"/>
                    <a:ext cx="5921" cy="4964"/>
                  </a:xfrm>
                  <a:custGeom>
                    <a:avLst/>
                    <a:gdLst>
                      <a:gd name="connsiteX0" fmla="*/ 5922 w 5921"/>
                      <a:gd name="connsiteY0" fmla="*/ 479 h 4964"/>
                      <a:gd name="connsiteX1" fmla="*/ 5443 w 5921"/>
                      <a:gd name="connsiteY1" fmla="*/ 0 h 4964"/>
                      <a:gd name="connsiteX2" fmla="*/ 0 w 5921"/>
                      <a:gd name="connsiteY2" fmla="*/ 4964 h 4964"/>
                      <a:gd name="connsiteX3" fmla="*/ 1256 w 5921"/>
                      <a:gd name="connsiteY3" fmla="*/ 4665 h 4964"/>
                      <a:gd name="connsiteX4" fmla="*/ 5922 w 5921"/>
                      <a:gd name="connsiteY4" fmla="*/ 479 h 4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1" h="4964">
                        <a:moveTo>
                          <a:pt x="5922" y="479"/>
                        </a:moveTo>
                        <a:cubicBezTo>
                          <a:pt x="5742" y="299"/>
                          <a:pt x="5622" y="179"/>
                          <a:pt x="5443" y="0"/>
                        </a:cubicBezTo>
                        <a:cubicBezTo>
                          <a:pt x="3649" y="1675"/>
                          <a:pt x="1854" y="3349"/>
                          <a:pt x="0" y="4964"/>
                        </a:cubicBezTo>
                        <a:cubicBezTo>
                          <a:pt x="419" y="4844"/>
                          <a:pt x="837" y="4785"/>
                          <a:pt x="1256" y="4665"/>
                        </a:cubicBezTo>
                        <a:cubicBezTo>
                          <a:pt x="2811" y="3290"/>
                          <a:pt x="4367" y="1914"/>
                          <a:pt x="5922" y="479"/>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91" name="Vrije vorm: vorm 7090">
                    <a:extLst>
                      <a:ext uri="{FF2B5EF4-FFF2-40B4-BE49-F238E27FC236}">
                        <a16:creationId xmlns:a16="http://schemas.microsoft.com/office/drawing/2014/main" id="{22122D27-5925-429F-A0CA-7C91989E5614}"/>
                      </a:ext>
                    </a:extLst>
                  </p:cNvPr>
                  <p:cNvSpPr/>
                  <p:nvPr/>
                </p:nvSpPr>
                <p:spPr>
                  <a:xfrm>
                    <a:off x="7574604" y="2433775"/>
                    <a:ext cx="2990" cy="1734"/>
                  </a:xfrm>
                  <a:custGeom>
                    <a:avLst/>
                    <a:gdLst>
                      <a:gd name="connsiteX0" fmla="*/ 0 w 2990"/>
                      <a:gd name="connsiteY0" fmla="*/ 1734 h 1734"/>
                      <a:gd name="connsiteX1" fmla="*/ 1316 w 2990"/>
                      <a:gd name="connsiteY1" fmla="*/ 1495 h 1734"/>
                      <a:gd name="connsiteX2" fmla="*/ 2990 w 2990"/>
                      <a:gd name="connsiteY2" fmla="*/ 0 h 1734"/>
                      <a:gd name="connsiteX3" fmla="*/ 1674 w 2990"/>
                      <a:gd name="connsiteY3" fmla="*/ 239 h 1734"/>
                      <a:gd name="connsiteX4" fmla="*/ 0 w 2990"/>
                      <a:gd name="connsiteY4" fmla="*/ 1734 h 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0" h="1734">
                        <a:moveTo>
                          <a:pt x="0" y="1734"/>
                        </a:moveTo>
                        <a:cubicBezTo>
                          <a:pt x="418" y="1675"/>
                          <a:pt x="897" y="1555"/>
                          <a:pt x="1316" y="1495"/>
                        </a:cubicBezTo>
                        <a:cubicBezTo>
                          <a:pt x="1854" y="1017"/>
                          <a:pt x="2392" y="478"/>
                          <a:pt x="2990" y="0"/>
                        </a:cubicBezTo>
                        <a:cubicBezTo>
                          <a:pt x="2571" y="60"/>
                          <a:pt x="2093" y="179"/>
                          <a:pt x="1674" y="239"/>
                        </a:cubicBezTo>
                        <a:cubicBezTo>
                          <a:pt x="1076" y="778"/>
                          <a:pt x="538" y="1256"/>
                          <a:pt x="0" y="1734"/>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92" name="Vrije vorm: vorm 7091">
                    <a:extLst>
                      <a:ext uri="{FF2B5EF4-FFF2-40B4-BE49-F238E27FC236}">
                        <a16:creationId xmlns:a16="http://schemas.microsoft.com/office/drawing/2014/main" id="{1A477014-537B-4343-BBEF-7E67B2FC3F42}"/>
                      </a:ext>
                    </a:extLst>
                  </p:cNvPr>
                  <p:cNvSpPr/>
                  <p:nvPr/>
                </p:nvSpPr>
                <p:spPr>
                  <a:xfrm>
                    <a:off x="7564796" y="2439397"/>
                    <a:ext cx="6040" cy="5143"/>
                  </a:xfrm>
                  <a:custGeom>
                    <a:avLst/>
                    <a:gdLst>
                      <a:gd name="connsiteX0" fmla="*/ 6041 w 6040"/>
                      <a:gd name="connsiteY0" fmla="*/ 538 h 5143"/>
                      <a:gd name="connsiteX1" fmla="*/ 5562 w 6040"/>
                      <a:gd name="connsiteY1" fmla="*/ 0 h 5143"/>
                      <a:gd name="connsiteX2" fmla="*/ 0 w 6040"/>
                      <a:gd name="connsiteY2" fmla="*/ 5143 h 5143"/>
                      <a:gd name="connsiteX3" fmla="*/ 1316 w 6040"/>
                      <a:gd name="connsiteY3" fmla="*/ 4904 h 5143"/>
                      <a:gd name="connsiteX4" fmla="*/ 6041 w 6040"/>
                      <a:gd name="connsiteY4" fmla="*/ 538 h 5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0" h="5143">
                        <a:moveTo>
                          <a:pt x="6041" y="538"/>
                        </a:moveTo>
                        <a:cubicBezTo>
                          <a:pt x="5861" y="359"/>
                          <a:pt x="5681" y="179"/>
                          <a:pt x="5562" y="0"/>
                        </a:cubicBezTo>
                        <a:cubicBezTo>
                          <a:pt x="3708" y="1734"/>
                          <a:pt x="1854" y="3409"/>
                          <a:pt x="0" y="5143"/>
                        </a:cubicBezTo>
                        <a:cubicBezTo>
                          <a:pt x="418" y="5083"/>
                          <a:pt x="897" y="4964"/>
                          <a:pt x="1316" y="4904"/>
                        </a:cubicBezTo>
                        <a:cubicBezTo>
                          <a:pt x="2871" y="3469"/>
                          <a:pt x="4486" y="2033"/>
                          <a:pt x="6041" y="53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93" name="Vrije vorm: vorm 7092">
                    <a:extLst>
                      <a:ext uri="{FF2B5EF4-FFF2-40B4-BE49-F238E27FC236}">
                        <a16:creationId xmlns:a16="http://schemas.microsoft.com/office/drawing/2014/main" id="{9584B0DD-96C4-496D-BCCC-75CF58A08465}"/>
                      </a:ext>
                    </a:extLst>
                  </p:cNvPr>
                  <p:cNvSpPr/>
                  <p:nvPr/>
                </p:nvSpPr>
                <p:spPr>
                  <a:xfrm>
                    <a:off x="7554927" y="2448548"/>
                    <a:ext cx="6100" cy="5143"/>
                  </a:xfrm>
                  <a:custGeom>
                    <a:avLst/>
                    <a:gdLst>
                      <a:gd name="connsiteX0" fmla="*/ 6100 w 6100"/>
                      <a:gd name="connsiteY0" fmla="*/ 478 h 5143"/>
                      <a:gd name="connsiteX1" fmla="*/ 5562 w 6100"/>
                      <a:gd name="connsiteY1" fmla="*/ 0 h 5143"/>
                      <a:gd name="connsiteX2" fmla="*/ 0 w 6100"/>
                      <a:gd name="connsiteY2" fmla="*/ 5143 h 5143"/>
                      <a:gd name="connsiteX3" fmla="*/ 1375 w 6100"/>
                      <a:gd name="connsiteY3" fmla="*/ 4844 h 5143"/>
                      <a:gd name="connsiteX4" fmla="*/ 6100 w 6100"/>
                      <a:gd name="connsiteY4" fmla="*/ 478 h 5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00" h="5143">
                        <a:moveTo>
                          <a:pt x="6100" y="478"/>
                        </a:moveTo>
                        <a:cubicBezTo>
                          <a:pt x="5921" y="299"/>
                          <a:pt x="5741" y="120"/>
                          <a:pt x="5562" y="0"/>
                        </a:cubicBezTo>
                        <a:cubicBezTo>
                          <a:pt x="3708" y="1734"/>
                          <a:pt x="1854" y="3409"/>
                          <a:pt x="0" y="5143"/>
                        </a:cubicBezTo>
                        <a:cubicBezTo>
                          <a:pt x="478" y="5083"/>
                          <a:pt x="897" y="4964"/>
                          <a:pt x="1375" y="4844"/>
                        </a:cubicBezTo>
                        <a:cubicBezTo>
                          <a:pt x="2930" y="3349"/>
                          <a:pt x="4486" y="1914"/>
                          <a:pt x="6100" y="47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94" name="Vrije vorm: vorm 7093">
                    <a:extLst>
                      <a:ext uri="{FF2B5EF4-FFF2-40B4-BE49-F238E27FC236}">
                        <a16:creationId xmlns:a16="http://schemas.microsoft.com/office/drawing/2014/main" id="{AC3C68C2-B772-44BF-B28D-1676E826068D}"/>
                      </a:ext>
                    </a:extLst>
                  </p:cNvPr>
                  <p:cNvSpPr/>
                  <p:nvPr/>
                </p:nvSpPr>
                <p:spPr>
                  <a:xfrm>
                    <a:off x="7545119" y="2457578"/>
                    <a:ext cx="6100" cy="5083"/>
                  </a:xfrm>
                  <a:custGeom>
                    <a:avLst/>
                    <a:gdLst>
                      <a:gd name="connsiteX0" fmla="*/ 6100 w 6100"/>
                      <a:gd name="connsiteY0" fmla="*/ 479 h 5083"/>
                      <a:gd name="connsiteX1" fmla="*/ 5562 w 6100"/>
                      <a:gd name="connsiteY1" fmla="*/ 0 h 5083"/>
                      <a:gd name="connsiteX2" fmla="*/ 5383 w 6100"/>
                      <a:gd name="connsiteY2" fmla="*/ 120 h 5083"/>
                      <a:gd name="connsiteX3" fmla="*/ 0 w 6100"/>
                      <a:gd name="connsiteY3" fmla="*/ 5084 h 5083"/>
                      <a:gd name="connsiteX4" fmla="*/ 1375 w 6100"/>
                      <a:gd name="connsiteY4" fmla="*/ 4785 h 5083"/>
                      <a:gd name="connsiteX5" fmla="*/ 5921 w 6100"/>
                      <a:gd name="connsiteY5" fmla="*/ 598 h 5083"/>
                      <a:gd name="connsiteX6" fmla="*/ 6100 w 6100"/>
                      <a:gd name="connsiteY6" fmla="*/ 479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0" h="5083">
                        <a:moveTo>
                          <a:pt x="6100" y="479"/>
                        </a:moveTo>
                        <a:cubicBezTo>
                          <a:pt x="5921" y="299"/>
                          <a:pt x="5741" y="120"/>
                          <a:pt x="5562" y="0"/>
                        </a:cubicBezTo>
                        <a:cubicBezTo>
                          <a:pt x="5503" y="60"/>
                          <a:pt x="5443" y="120"/>
                          <a:pt x="5383" y="120"/>
                        </a:cubicBezTo>
                        <a:cubicBezTo>
                          <a:pt x="3588" y="1794"/>
                          <a:pt x="1795" y="3409"/>
                          <a:pt x="0" y="5084"/>
                        </a:cubicBezTo>
                        <a:cubicBezTo>
                          <a:pt x="478" y="4964"/>
                          <a:pt x="897" y="4904"/>
                          <a:pt x="1375" y="4785"/>
                        </a:cubicBezTo>
                        <a:cubicBezTo>
                          <a:pt x="2871" y="3409"/>
                          <a:pt x="4426" y="1974"/>
                          <a:pt x="5921" y="598"/>
                        </a:cubicBezTo>
                        <a:cubicBezTo>
                          <a:pt x="5981" y="538"/>
                          <a:pt x="6041" y="479"/>
                          <a:pt x="6100" y="479"/>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95" name="Vrije vorm: vorm 7094">
                    <a:extLst>
                      <a:ext uri="{FF2B5EF4-FFF2-40B4-BE49-F238E27FC236}">
                        <a16:creationId xmlns:a16="http://schemas.microsoft.com/office/drawing/2014/main" id="{0DD20BF0-3B72-4569-A7B5-62799E28D2A7}"/>
                      </a:ext>
                    </a:extLst>
                  </p:cNvPr>
                  <p:cNvSpPr/>
                  <p:nvPr/>
                </p:nvSpPr>
                <p:spPr>
                  <a:xfrm>
                    <a:off x="7549844" y="2408716"/>
                    <a:ext cx="3110" cy="1794"/>
                  </a:xfrm>
                  <a:custGeom>
                    <a:avLst/>
                    <a:gdLst>
                      <a:gd name="connsiteX0" fmla="*/ 0 w 3110"/>
                      <a:gd name="connsiteY0" fmla="*/ 1794 h 1794"/>
                      <a:gd name="connsiteX1" fmla="*/ 1435 w 3110"/>
                      <a:gd name="connsiteY1" fmla="*/ 1555 h 1794"/>
                      <a:gd name="connsiteX2" fmla="*/ 2691 w 3110"/>
                      <a:gd name="connsiteY2" fmla="*/ 419 h 1794"/>
                      <a:gd name="connsiteX3" fmla="*/ 3110 w 3110"/>
                      <a:gd name="connsiteY3" fmla="*/ 0 h 1794"/>
                      <a:gd name="connsiteX4" fmla="*/ 2392 w 3110"/>
                      <a:gd name="connsiteY4" fmla="*/ 120 h 1794"/>
                      <a:gd name="connsiteX5" fmla="*/ 1674 w 3110"/>
                      <a:gd name="connsiteY5" fmla="*/ 239 h 1794"/>
                      <a:gd name="connsiteX6" fmla="*/ 0 w 3110"/>
                      <a:gd name="connsiteY6" fmla="*/ 1794 h 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0" h="1794">
                        <a:moveTo>
                          <a:pt x="0" y="1794"/>
                        </a:moveTo>
                        <a:cubicBezTo>
                          <a:pt x="478" y="1734"/>
                          <a:pt x="956" y="1615"/>
                          <a:pt x="1435" y="1555"/>
                        </a:cubicBezTo>
                        <a:cubicBezTo>
                          <a:pt x="1854" y="1196"/>
                          <a:pt x="2273" y="778"/>
                          <a:pt x="2691" y="419"/>
                        </a:cubicBezTo>
                        <a:cubicBezTo>
                          <a:pt x="2811" y="299"/>
                          <a:pt x="2990" y="179"/>
                          <a:pt x="3110" y="0"/>
                        </a:cubicBezTo>
                        <a:cubicBezTo>
                          <a:pt x="2871" y="60"/>
                          <a:pt x="2631" y="60"/>
                          <a:pt x="2392" y="120"/>
                        </a:cubicBezTo>
                        <a:cubicBezTo>
                          <a:pt x="2153" y="179"/>
                          <a:pt x="1914" y="179"/>
                          <a:pt x="1674" y="239"/>
                        </a:cubicBezTo>
                        <a:cubicBezTo>
                          <a:pt x="1136" y="718"/>
                          <a:pt x="598" y="1256"/>
                          <a:pt x="0" y="1794"/>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96" name="Vrije vorm: vorm 7095">
                    <a:extLst>
                      <a:ext uri="{FF2B5EF4-FFF2-40B4-BE49-F238E27FC236}">
                        <a16:creationId xmlns:a16="http://schemas.microsoft.com/office/drawing/2014/main" id="{251E935B-69E4-4DA3-A920-0CA01B6F2227}"/>
                      </a:ext>
                    </a:extLst>
                  </p:cNvPr>
                  <p:cNvSpPr/>
                  <p:nvPr/>
                </p:nvSpPr>
                <p:spPr>
                  <a:xfrm>
                    <a:off x="7539796" y="2414457"/>
                    <a:ext cx="6280" cy="5203"/>
                  </a:xfrm>
                  <a:custGeom>
                    <a:avLst/>
                    <a:gdLst>
                      <a:gd name="connsiteX0" fmla="*/ 6280 w 6280"/>
                      <a:gd name="connsiteY0" fmla="*/ 598 h 5203"/>
                      <a:gd name="connsiteX1" fmla="*/ 5682 w 6280"/>
                      <a:gd name="connsiteY1" fmla="*/ 0 h 5203"/>
                      <a:gd name="connsiteX2" fmla="*/ 0 w 6280"/>
                      <a:gd name="connsiteY2" fmla="*/ 5203 h 5203"/>
                      <a:gd name="connsiteX3" fmla="*/ 1435 w 6280"/>
                      <a:gd name="connsiteY3" fmla="*/ 4964 h 5203"/>
                      <a:gd name="connsiteX4" fmla="*/ 6280 w 6280"/>
                      <a:gd name="connsiteY4" fmla="*/ 598 h 5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0" h="5203">
                        <a:moveTo>
                          <a:pt x="6280" y="598"/>
                        </a:moveTo>
                        <a:cubicBezTo>
                          <a:pt x="6100" y="419"/>
                          <a:pt x="5921" y="179"/>
                          <a:pt x="5682" y="0"/>
                        </a:cubicBezTo>
                        <a:cubicBezTo>
                          <a:pt x="3768" y="1734"/>
                          <a:pt x="1914" y="3469"/>
                          <a:pt x="0" y="5203"/>
                        </a:cubicBezTo>
                        <a:cubicBezTo>
                          <a:pt x="479" y="5084"/>
                          <a:pt x="957" y="5024"/>
                          <a:pt x="1435" y="4964"/>
                        </a:cubicBezTo>
                        <a:cubicBezTo>
                          <a:pt x="3110" y="3529"/>
                          <a:pt x="4665" y="2093"/>
                          <a:pt x="6280" y="59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97" name="Vrije vorm: vorm 7096">
                    <a:extLst>
                      <a:ext uri="{FF2B5EF4-FFF2-40B4-BE49-F238E27FC236}">
                        <a16:creationId xmlns:a16="http://schemas.microsoft.com/office/drawing/2014/main" id="{E91496A8-04F0-44A0-AFDC-AAB5A45C502A}"/>
                      </a:ext>
                    </a:extLst>
                  </p:cNvPr>
                  <p:cNvSpPr/>
                  <p:nvPr/>
                </p:nvSpPr>
                <p:spPr>
                  <a:xfrm>
                    <a:off x="7529749" y="2423668"/>
                    <a:ext cx="6279" cy="5203"/>
                  </a:xfrm>
                  <a:custGeom>
                    <a:avLst/>
                    <a:gdLst>
                      <a:gd name="connsiteX0" fmla="*/ 6279 w 6279"/>
                      <a:gd name="connsiteY0" fmla="*/ 598 h 5203"/>
                      <a:gd name="connsiteX1" fmla="*/ 5681 w 6279"/>
                      <a:gd name="connsiteY1" fmla="*/ 0 h 5203"/>
                      <a:gd name="connsiteX2" fmla="*/ 0 w 6279"/>
                      <a:gd name="connsiteY2" fmla="*/ 5203 h 5203"/>
                      <a:gd name="connsiteX3" fmla="*/ 1495 w 6279"/>
                      <a:gd name="connsiteY3" fmla="*/ 4964 h 5203"/>
                      <a:gd name="connsiteX4" fmla="*/ 6279 w 6279"/>
                      <a:gd name="connsiteY4" fmla="*/ 598 h 5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5203">
                        <a:moveTo>
                          <a:pt x="6279" y="598"/>
                        </a:moveTo>
                        <a:cubicBezTo>
                          <a:pt x="6100" y="419"/>
                          <a:pt x="5861" y="239"/>
                          <a:pt x="5681" y="0"/>
                        </a:cubicBezTo>
                        <a:cubicBezTo>
                          <a:pt x="3768" y="1734"/>
                          <a:pt x="1914" y="3469"/>
                          <a:pt x="0" y="5203"/>
                        </a:cubicBezTo>
                        <a:cubicBezTo>
                          <a:pt x="478" y="5084"/>
                          <a:pt x="956" y="5024"/>
                          <a:pt x="1495" y="4964"/>
                        </a:cubicBezTo>
                        <a:cubicBezTo>
                          <a:pt x="3109" y="3529"/>
                          <a:pt x="4724" y="2093"/>
                          <a:pt x="6279" y="598"/>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98" name="Vrije vorm: vorm 7097">
                    <a:extLst>
                      <a:ext uri="{FF2B5EF4-FFF2-40B4-BE49-F238E27FC236}">
                        <a16:creationId xmlns:a16="http://schemas.microsoft.com/office/drawing/2014/main" id="{DE58EF1B-E12F-4E73-B9E4-110922B38F5F}"/>
                      </a:ext>
                    </a:extLst>
                  </p:cNvPr>
                  <p:cNvSpPr/>
                  <p:nvPr/>
                </p:nvSpPr>
                <p:spPr>
                  <a:xfrm>
                    <a:off x="7519821" y="2432938"/>
                    <a:ext cx="6220" cy="5203"/>
                  </a:xfrm>
                  <a:custGeom>
                    <a:avLst/>
                    <a:gdLst>
                      <a:gd name="connsiteX0" fmla="*/ 6220 w 6220"/>
                      <a:gd name="connsiteY0" fmla="*/ 538 h 5203"/>
                      <a:gd name="connsiteX1" fmla="*/ 5622 w 6220"/>
                      <a:gd name="connsiteY1" fmla="*/ 0 h 5203"/>
                      <a:gd name="connsiteX2" fmla="*/ 3050 w 6220"/>
                      <a:gd name="connsiteY2" fmla="*/ 2392 h 5203"/>
                      <a:gd name="connsiteX3" fmla="*/ 0 w 6220"/>
                      <a:gd name="connsiteY3" fmla="*/ 5203 h 5203"/>
                      <a:gd name="connsiteX4" fmla="*/ 1495 w 6220"/>
                      <a:gd name="connsiteY4" fmla="*/ 4904 h 5203"/>
                      <a:gd name="connsiteX5" fmla="*/ 3708 w 6220"/>
                      <a:gd name="connsiteY5" fmla="*/ 2871 h 5203"/>
                      <a:gd name="connsiteX6" fmla="*/ 6220 w 6220"/>
                      <a:gd name="connsiteY6" fmla="*/ 538 h 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20" h="5203">
                        <a:moveTo>
                          <a:pt x="6220" y="538"/>
                        </a:moveTo>
                        <a:cubicBezTo>
                          <a:pt x="6041" y="359"/>
                          <a:pt x="5801" y="179"/>
                          <a:pt x="5622" y="0"/>
                        </a:cubicBezTo>
                        <a:cubicBezTo>
                          <a:pt x="4784" y="778"/>
                          <a:pt x="3888" y="1615"/>
                          <a:pt x="3050" y="2392"/>
                        </a:cubicBezTo>
                        <a:cubicBezTo>
                          <a:pt x="2033" y="3349"/>
                          <a:pt x="1017" y="4246"/>
                          <a:pt x="0" y="5203"/>
                        </a:cubicBezTo>
                        <a:cubicBezTo>
                          <a:pt x="478" y="5084"/>
                          <a:pt x="1017" y="5024"/>
                          <a:pt x="1495" y="4904"/>
                        </a:cubicBezTo>
                        <a:cubicBezTo>
                          <a:pt x="2213" y="4246"/>
                          <a:pt x="2990" y="3529"/>
                          <a:pt x="3708" y="2871"/>
                        </a:cubicBezTo>
                        <a:cubicBezTo>
                          <a:pt x="4545" y="2093"/>
                          <a:pt x="5383" y="1316"/>
                          <a:pt x="6220" y="538"/>
                        </a:cubicBezTo>
                        <a:close/>
                      </a:path>
                    </a:pathLst>
                  </a:custGeom>
                  <a:noFill/>
                  <a:ln w="6350" cap="flat">
                    <a:solidFill>
                      <a:schemeClr val="bg1">
                        <a:alpha val="40000"/>
                      </a:schemeClr>
                    </a:solidFill>
                    <a:prstDash val="solid"/>
                    <a:miter/>
                  </a:ln>
                </p:spPr>
                <p:txBody>
                  <a:bodyPr rtlCol="0" anchor="ctr"/>
                  <a:lstStyle/>
                  <a:p>
                    <a:endParaRPr lang="en-GB"/>
                  </a:p>
                </p:txBody>
              </p:sp>
            </p:grpSp>
            <p:grpSp>
              <p:nvGrpSpPr>
                <p:cNvPr id="7062" name="Graphic 3">
                  <a:extLst>
                    <a:ext uri="{FF2B5EF4-FFF2-40B4-BE49-F238E27FC236}">
                      <a16:creationId xmlns:a16="http://schemas.microsoft.com/office/drawing/2014/main" id="{4F50E326-D171-4798-9695-8CFDB9048D3E}"/>
                    </a:ext>
                  </a:extLst>
                </p:cNvPr>
                <p:cNvGrpSpPr/>
                <p:nvPr/>
              </p:nvGrpSpPr>
              <p:grpSpPr>
                <a:xfrm>
                  <a:off x="7518026" y="2407101"/>
                  <a:ext cx="164111" cy="193715"/>
                  <a:chOff x="7518026" y="2407101"/>
                  <a:chExt cx="164111" cy="193715"/>
                </a:xfrm>
                <a:noFill/>
              </p:grpSpPr>
              <p:sp>
                <p:nvSpPr>
                  <p:cNvPr id="7063" name="Vrije vorm: vorm 7062">
                    <a:extLst>
                      <a:ext uri="{FF2B5EF4-FFF2-40B4-BE49-F238E27FC236}">
                        <a16:creationId xmlns:a16="http://schemas.microsoft.com/office/drawing/2014/main" id="{1838FC4A-9AF3-4FB1-A89E-ED898351E961}"/>
                      </a:ext>
                    </a:extLst>
                  </p:cNvPr>
                  <p:cNvSpPr/>
                  <p:nvPr/>
                </p:nvSpPr>
                <p:spPr>
                  <a:xfrm>
                    <a:off x="7518206" y="2407101"/>
                    <a:ext cx="163931" cy="192878"/>
                  </a:xfrm>
                  <a:custGeom>
                    <a:avLst/>
                    <a:gdLst>
                      <a:gd name="connsiteX0" fmla="*/ 42403 w 163931"/>
                      <a:gd name="connsiteY0" fmla="*/ 36901 h 192878"/>
                      <a:gd name="connsiteX1" fmla="*/ 48324 w 163931"/>
                      <a:gd name="connsiteY1" fmla="*/ 31459 h 192878"/>
                      <a:gd name="connsiteX2" fmla="*/ 28349 w 163931"/>
                      <a:gd name="connsiteY2" fmla="*/ 7117 h 192878"/>
                      <a:gd name="connsiteX3" fmla="*/ 22667 w 163931"/>
                      <a:gd name="connsiteY3" fmla="*/ 12380 h 192878"/>
                      <a:gd name="connsiteX4" fmla="*/ 42403 w 163931"/>
                      <a:gd name="connsiteY4" fmla="*/ 36901 h 192878"/>
                      <a:gd name="connsiteX5" fmla="*/ 42403 w 163931"/>
                      <a:gd name="connsiteY5" fmla="*/ 36901 h 192878"/>
                      <a:gd name="connsiteX6" fmla="*/ 31937 w 163931"/>
                      <a:gd name="connsiteY6" fmla="*/ 46530 h 192878"/>
                      <a:gd name="connsiteX7" fmla="*/ 37858 w 163931"/>
                      <a:gd name="connsiteY7" fmla="*/ 41088 h 192878"/>
                      <a:gd name="connsiteX8" fmla="*/ 18301 w 163931"/>
                      <a:gd name="connsiteY8" fmla="*/ 16387 h 192878"/>
                      <a:gd name="connsiteX9" fmla="*/ 12619 w 163931"/>
                      <a:gd name="connsiteY9" fmla="*/ 21650 h 192878"/>
                      <a:gd name="connsiteX10" fmla="*/ 31937 w 163931"/>
                      <a:gd name="connsiteY10" fmla="*/ 46530 h 192878"/>
                      <a:gd name="connsiteX11" fmla="*/ 31937 w 163931"/>
                      <a:gd name="connsiteY11" fmla="*/ 46530 h 192878"/>
                      <a:gd name="connsiteX12" fmla="*/ 20574 w 163931"/>
                      <a:gd name="connsiteY12" fmla="*/ 56937 h 192878"/>
                      <a:gd name="connsiteX13" fmla="*/ 27391 w 163931"/>
                      <a:gd name="connsiteY13" fmla="*/ 50717 h 192878"/>
                      <a:gd name="connsiteX14" fmla="*/ 8253 w 163931"/>
                      <a:gd name="connsiteY14" fmla="*/ 25657 h 192878"/>
                      <a:gd name="connsiteX15" fmla="*/ 2572 w 163931"/>
                      <a:gd name="connsiteY15" fmla="*/ 30861 h 192878"/>
                      <a:gd name="connsiteX16" fmla="*/ 1196 w 163931"/>
                      <a:gd name="connsiteY16" fmla="*/ 31100 h 192878"/>
                      <a:gd name="connsiteX17" fmla="*/ 0 w 163931"/>
                      <a:gd name="connsiteY17" fmla="*/ 29485 h 192878"/>
                      <a:gd name="connsiteX18" fmla="*/ 31758 w 163931"/>
                      <a:gd name="connsiteY18" fmla="*/ 239 h 192878"/>
                      <a:gd name="connsiteX19" fmla="*/ 33133 w 163931"/>
                      <a:gd name="connsiteY19" fmla="*/ 0 h 192878"/>
                      <a:gd name="connsiteX20" fmla="*/ 34449 w 163931"/>
                      <a:gd name="connsiteY20" fmla="*/ 1555 h 192878"/>
                      <a:gd name="connsiteX21" fmla="*/ 32774 w 163931"/>
                      <a:gd name="connsiteY21" fmla="*/ 3110 h 192878"/>
                      <a:gd name="connsiteX22" fmla="*/ 52451 w 163931"/>
                      <a:gd name="connsiteY22" fmla="*/ 26674 h 192878"/>
                      <a:gd name="connsiteX23" fmla="*/ 53288 w 163931"/>
                      <a:gd name="connsiteY23" fmla="*/ 25897 h 192878"/>
                      <a:gd name="connsiteX24" fmla="*/ 54664 w 163931"/>
                      <a:gd name="connsiteY24" fmla="*/ 25657 h 192878"/>
                      <a:gd name="connsiteX25" fmla="*/ 56039 w 163931"/>
                      <a:gd name="connsiteY25" fmla="*/ 27332 h 192878"/>
                      <a:gd name="connsiteX26" fmla="*/ 54305 w 163931"/>
                      <a:gd name="connsiteY26" fmla="*/ 28947 h 192878"/>
                      <a:gd name="connsiteX27" fmla="*/ 75716 w 163931"/>
                      <a:gd name="connsiteY27" fmla="*/ 54664 h 192878"/>
                      <a:gd name="connsiteX28" fmla="*/ 76673 w 163931"/>
                      <a:gd name="connsiteY28" fmla="*/ 53767 h 192878"/>
                      <a:gd name="connsiteX29" fmla="*/ 78049 w 163931"/>
                      <a:gd name="connsiteY29" fmla="*/ 53528 h 192878"/>
                      <a:gd name="connsiteX30" fmla="*/ 79544 w 163931"/>
                      <a:gd name="connsiteY30" fmla="*/ 55322 h 192878"/>
                      <a:gd name="connsiteX31" fmla="*/ 77690 w 163931"/>
                      <a:gd name="connsiteY31" fmla="*/ 56996 h 192878"/>
                      <a:gd name="connsiteX32" fmla="*/ 101134 w 163931"/>
                      <a:gd name="connsiteY32" fmla="*/ 85166 h 192878"/>
                      <a:gd name="connsiteX33" fmla="*/ 102150 w 163931"/>
                      <a:gd name="connsiteY33" fmla="*/ 84209 h 192878"/>
                      <a:gd name="connsiteX34" fmla="*/ 103527 w 163931"/>
                      <a:gd name="connsiteY34" fmla="*/ 83969 h 192878"/>
                      <a:gd name="connsiteX35" fmla="*/ 105201 w 163931"/>
                      <a:gd name="connsiteY35" fmla="*/ 86003 h 192878"/>
                      <a:gd name="connsiteX36" fmla="*/ 103287 w 163931"/>
                      <a:gd name="connsiteY36" fmla="*/ 87797 h 192878"/>
                      <a:gd name="connsiteX37" fmla="*/ 129004 w 163931"/>
                      <a:gd name="connsiteY37" fmla="*/ 118717 h 192878"/>
                      <a:gd name="connsiteX38" fmla="*/ 130141 w 163931"/>
                      <a:gd name="connsiteY38" fmla="*/ 117701 h 192878"/>
                      <a:gd name="connsiteX39" fmla="*/ 131516 w 163931"/>
                      <a:gd name="connsiteY39" fmla="*/ 117461 h 192878"/>
                      <a:gd name="connsiteX40" fmla="*/ 133370 w 163931"/>
                      <a:gd name="connsiteY40" fmla="*/ 119674 h 192878"/>
                      <a:gd name="connsiteX41" fmla="*/ 131336 w 163931"/>
                      <a:gd name="connsiteY41" fmla="*/ 121528 h 192878"/>
                      <a:gd name="connsiteX42" fmla="*/ 159745 w 163931"/>
                      <a:gd name="connsiteY42" fmla="*/ 155678 h 192878"/>
                      <a:gd name="connsiteX43" fmla="*/ 161001 w 163931"/>
                      <a:gd name="connsiteY43" fmla="*/ 154542 h 192878"/>
                      <a:gd name="connsiteX44" fmla="*/ 162377 w 163931"/>
                      <a:gd name="connsiteY44" fmla="*/ 154303 h 192878"/>
                      <a:gd name="connsiteX45" fmla="*/ 163932 w 163931"/>
                      <a:gd name="connsiteY45" fmla="*/ 156157 h 192878"/>
                      <a:gd name="connsiteX46" fmla="*/ 124040 w 163931"/>
                      <a:gd name="connsiteY46" fmla="*/ 192878 h 192878"/>
                      <a:gd name="connsiteX47" fmla="*/ 122545 w 163931"/>
                      <a:gd name="connsiteY47" fmla="*/ 190905 h 192878"/>
                      <a:gd name="connsiteX48" fmla="*/ 129603 w 163931"/>
                      <a:gd name="connsiteY48" fmla="*/ 184386 h 192878"/>
                      <a:gd name="connsiteX49" fmla="*/ 102091 w 163931"/>
                      <a:gd name="connsiteY49" fmla="*/ 148442 h 192878"/>
                      <a:gd name="connsiteX50" fmla="*/ 95333 w 163931"/>
                      <a:gd name="connsiteY50" fmla="*/ 154662 h 192878"/>
                      <a:gd name="connsiteX51" fmla="*/ 93957 w 163931"/>
                      <a:gd name="connsiteY51" fmla="*/ 154901 h 192878"/>
                      <a:gd name="connsiteX52" fmla="*/ 92641 w 163931"/>
                      <a:gd name="connsiteY52" fmla="*/ 153166 h 192878"/>
                      <a:gd name="connsiteX53" fmla="*/ 100297 w 163931"/>
                      <a:gd name="connsiteY53" fmla="*/ 146109 h 192878"/>
                      <a:gd name="connsiteX54" fmla="*/ 75357 w 163931"/>
                      <a:gd name="connsiteY54" fmla="*/ 113454 h 192878"/>
                      <a:gd name="connsiteX55" fmla="*/ 68898 w 163931"/>
                      <a:gd name="connsiteY55" fmla="*/ 119375 h 192878"/>
                      <a:gd name="connsiteX56" fmla="*/ 67523 w 163931"/>
                      <a:gd name="connsiteY56" fmla="*/ 119614 h 192878"/>
                      <a:gd name="connsiteX57" fmla="*/ 66386 w 163931"/>
                      <a:gd name="connsiteY57" fmla="*/ 118119 h 192878"/>
                      <a:gd name="connsiteX58" fmla="*/ 73742 w 163931"/>
                      <a:gd name="connsiteY58" fmla="*/ 111361 h 192878"/>
                      <a:gd name="connsiteX59" fmla="*/ 50956 w 163931"/>
                      <a:gd name="connsiteY59" fmla="*/ 81577 h 192878"/>
                      <a:gd name="connsiteX60" fmla="*/ 44796 w 163931"/>
                      <a:gd name="connsiteY60" fmla="*/ 87259 h 192878"/>
                      <a:gd name="connsiteX61" fmla="*/ 43420 w 163931"/>
                      <a:gd name="connsiteY61" fmla="*/ 87498 h 192878"/>
                      <a:gd name="connsiteX62" fmla="*/ 42463 w 163931"/>
                      <a:gd name="connsiteY62" fmla="*/ 86182 h 192878"/>
                      <a:gd name="connsiteX63" fmla="*/ 49521 w 163931"/>
                      <a:gd name="connsiteY63" fmla="*/ 79723 h 192878"/>
                      <a:gd name="connsiteX64" fmla="*/ 28648 w 163931"/>
                      <a:gd name="connsiteY64" fmla="*/ 52451 h 192878"/>
                      <a:gd name="connsiteX65" fmla="*/ 22727 w 163931"/>
                      <a:gd name="connsiteY65" fmla="*/ 57894 h 192878"/>
                      <a:gd name="connsiteX66" fmla="*/ 21351 w 163931"/>
                      <a:gd name="connsiteY66" fmla="*/ 58133 h 192878"/>
                      <a:gd name="connsiteX67" fmla="*/ 20574 w 163931"/>
                      <a:gd name="connsiteY67" fmla="*/ 56937 h 192878"/>
                      <a:gd name="connsiteX68" fmla="*/ 20574 w 163931"/>
                      <a:gd name="connsiteY68" fmla="*/ 56937 h 192878"/>
                      <a:gd name="connsiteX69" fmla="*/ 135044 w 163931"/>
                      <a:gd name="connsiteY69" fmla="*/ 179362 h 192878"/>
                      <a:gd name="connsiteX70" fmla="*/ 142162 w 163931"/>
                      <a:gd name="connsiteY70" fmla="*/ 172783 h 192878"/>
                      <a:gd name="connsiteX71" fmla="*/ 114112 w 163931"/>
                      <a:gd name="connsiteY71" fmla="*/ 137317 h 192878"/>
                      <a:gd name="connsiteX72" fmla="*/ 107295 w 163931"/>
                      <a:gd name="connsiteY72" fmla="*/ 143597 h 192878"/>
                      <a:gd name="connsiteX73" fmla="*/ 135044 w 163931"/>
                      <a:gd name="connsiteY73" fmla="*/ 179362 h 192878"/>
                      <a:gd name="connsiteX74" fmla="*/ 135044 w 163931"/>
                      <a:gd name="connsiteY74" fmla="*/ 179362 h 192878"/>
                      <a:gd name="connsiteX75" fmla="*/ 105500 w 163931"/>
                      <a:gd name="connsiteY75" fmla="*/ 141384 h 192878"/>
                      <a:gd name="connsiteX76" fmla="*/ 112258 w 163931"/>
                      <a:gd name="connsiteY76" fmla="*/ 135164 h 192878"/>
                      <a:gd name="connsiteX77" fmla="*/ 86780 w 163931"/>
                      <a:gd name="connsiteY77" fmla="*/ 102988 h 192878"/>
                      <a:gd name="connsiteX78" fmla="*/ 80262 w 163931"/>
                      <a:gd name="connsiteY78" fmla="*/ 108969 h 192878"/>
                      <a:gd name="connsiteX79" fmla="*/ 105500 w 163931"/>
                      <a:gd name="connsiteY79" fmla="*/ 141384 h 192878"/>
                      <a:gd name="connsiteX80" fmla="*/ 105500 w 163931"/>
                      <a:gd name="connsiteY80" fmla="*/ 141384 h 192878"/>
                      <a:gd name="connsiteX81" fmla="*/ 78766 w 163931"/>
                      <a:gd name="connsiteY81" fmla="*/ 106816 h 192878"/>
                      <a:gd name="connsiteX82" fmla="*/ 85225 w 163931"/>
                      <a:gd name="connsiteY82" fmla="*/ 100835 h 192878"/>
                      <a:gd name="connsiteX83" fmla="*/ 61960 w 163931"/>
                      <a:gd name="connsiteY83" fmla="*/ 71470 h 192878"/>
                      <a:gd name="connsiteX84" fmla="*/ 55740 w 163931"/>
                      <a:gd name="connsiteY84" fmla="*/ 77211 h 192878"/>
                      <a:gd name="connsiteX85" fmla="*/ 78766 w 163931"/>
                      <a:gd name="connsiteY85" fmla="*/ 106816 h 192878"/>
                      <a:gd name="connsiteX86" fmla="*/ 78766 w 163931"/>
                      <a:gd name="connsiteY86" fmla="*/ 106816 h 192878"/>
                      <a:gd name="connsiteX87" fmla="*/ 54305 w 163931"/>
                      <a:gd name="connsiteY87" fmla="*/ 75357 h 192878"/>
                      <a:gd name="connsiteX88" fmla="*/ 60525 w 163931"/>
                      <a:gd name="connsiteY88" fmla="*/ 69676 h 192878"/>
                      <a:gd name="connsiteX89" fmla="*/ 39234 w 163931"/>
                      <a:gd name="connsiteY89" fmla="*/ 42822 h 192878"/>
                      <a:gd name="connsiteX90" fmla="*/ 33312 w 163931"/>
                      <a:gd name="connsiteY90" fmla="*/ 48264 h 192878"/>
                      <a:gd name="connsiteX91" fmla="*/ 54305 w 163931"/>
                      <a:gd name="connsiteY91" fmla="*/ 75357 h 192878"/>
                      <a:gd name="connsiteX92" fmla="*/ 54305 w 163931"/>
                      <a:gd name="connsiteY92" fmla="*/ 75357 h 192878"/>
                      <a:gd name="connsiteX93" fmla="*/ 147605 w 163931"/>
                      <a:gd name="connsiteY93" fmla="*/ 167819 h 192878"/>
                      <a:gd name="connsiteX94" fmla="*/ 154721 w 163931"/>
                      <a:gd name="connsiteY94" fmla="*/ 161240 h 192878"/>
                      <a:gd name="connsiteX95" fmla="*/ 126073 w 163931"/>
                      <a:gd name="connsiteY95" fmla="*/ 126313 h 192878"/>
                      <a:gd name="connsiteX96" fmla="*/ 119256 w 163931"/>
                      <a:gd name="connsiteY96" fmla="*/ 132593 h 192878"/>
                      <a:gd name="connsiteX97" fmla="*/ 147605 w 163931"/>
                      <a:gd name="connsiteY97" fmla="*/ 167819 h 192878"/>
                      <a:gd name="connsiteX98" fmla="*/ 147605 w 163931"/>
                      <a:gd name="connsiteY98" fmla="*/ 167819 h 192878"/>
                      <a:gd name="connsiteX99" fmla="*/ 117521 w 163931"/>
                      <a:gd name="connsiteY99" fmla="*/ 130320 h 192878"/>
                      <a:gd name="connsiteX100" fmla="*/ 124280 w 163931"/>
                      <a:gd name="connsiteY100" fmla="*/ 124100 h 192878"/>
                      <a:gd name="connsiteX101" fmla="*/ 98264 w 163931"/>
                      <a:gd name="connsiteY101" fmla="*/ 92402 h 192878"/>
                      <a:gd name="connsiteX102" fmla="*/ 91744 w 163931"/>
                      <a:gd name="connsiteY102" fmla="*/ 98383 h 192878"/>
                      <a:gd name="connsiteX103" fmla="*/ 117521 w 163931"/>
                      <a:gd name="connsiteY103" fmla="*/ 130320 h 192878"/>
                      <a:gd name="connsiteX104" fmla="*/ 117521 w 163931"/>
                      <a:gd name="connsiteY104" fmla="*/ 130320 h 192878"/>
                      <a:gd name="connsiteX105" fmla="*/ 90189 w 163931"/>
                      <a:gd name="connsiteY105" fmla="*/ 96350 h 192878"/>
                      <a:gd name="connsiteX106" fmla="*/ 96649 w 163931"/>
                      <a:gd name="connsiteY106" fmla="*/ 90369 h 192878"/>
                      <a:gd name="connsiteX107" fmla="*/ 72905 w 163931"/>
                      <a:gd name="connsiteY107" fmla="*/ 61422 h 192878"/>
                      <a:gd name="connsiteX108" fmla="*/ 66685 w 163931"/>
                      <a:gd name="connsiteY108" fmla="*/ 67104 h 192878"/>
                      <a:gd name="connsiteX109" fmla="*/ 90189 w 163931"/>
                      <a:gd name="connsiteY109" fmla="*/ 96350 h 192878"/>
                      <a:gd name="connsiteX110" fmla="*/ 90189 w 163931"/>
                      <a:gd name="connsiteY110" fmla="*/ 96350 h 192878"/>
                      <a:gd name="connsiteX111" fmla="*/ 65250 w 163931"/>
                      <a:gd name="connsiteY111" fmla="*/ 65310 h 192878"/>
                      <a:gd name="connsiteX112" fmla="*/ 71410 w 163931"/>
                      <a:gd name="connsiteY112" fmla="*/ 59628 h 192878"/>
                      <a:gd name="connsiteX113" fmla="*/ 49700 w 163931"/>
                      <a:gd name="connsiteY113" fmla="*/ 33133 h 192878"/>
                      <a:gd name="connsiteX114" fmla="*/ 43779 w 163931"/>
                      <a:gd name="connsiteY114" fmla="*/ 38576 h 192878"/>
                      <a:gd name="connsiteX115" fmla="*/ 65250 w 163931"/>
                      <a:gd name="connsiteY115" fmla="*/ 65310 h 19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63931" h="192878">
                        <a:moveTo>
                          <a:pt x="42403" y="36901"/>
                        </a:moveTo>
                        <a:lnTo>
                          <a:pt x="48324" y="31459"/>
                        </a:lnTo>
                        <a:cubicBezTo>
                          <a:pt x="41507" y="23146"/>
                          <a:pt x="34867" y="15012"/>
                          <a:pt x="28349" y="7117"/>
                        </a:cubicBezTo>
                        <a:lnTo>
                          <a:pt x="22667" y="12380"/>
                        </a:lnTo>
                        <a:cubicBezTo>
                          <a:pt x="29066" y="20335"/>
                          <a:pt x="35645" y="28528"/>
                          <a:pt x="42403" y="36901"/>
                        </a:cubicBezTo>
                        <a:lnTo>
                          <a:pt x="42403" y="36901"/>
                        </a:lnTo>
                        <a:close/>
                        <a:moveTo>
                          <a:pt x="31937" y="46530"/>
                        </a:moveTo>
                        <a:lnTo>
                          <a:pt x="37858" y="41088"/>
                        </a:lnTo>
                        <a:lnTo>
                          <a:pt x="18301" y="16387"/>
                        </a:lnTo>
                        <a:lnTo>
                          <a:pt x="12619" y="21650"/>
                        </a:lnTo>
                        <a:cubicBezTo>
                          <a:pt x="18839" y="29724"/>
                          <a:pt x="25298" y="38037"/>
                          <a:pt x="31937" y="46530"/>
                        </a:cubicBezTo>
                        <a:lnTo>
                          <a:pt x="31937" y="46530"/>
                        </a:lnTo>
                        <a:close/>
                        <a:moveTo>
                          <a:pt x="20574" y="56937"/>
                        </a:moveTo>
                        <a:lnTo>
                          <a:pt x="27391" y="50717"/>
                        </a:lnTo>
                        <a:cubicBezTo>
                          <a:pt x="20813" y="42164"/>
                          <a:pt x="14474" y="33791"/>
                          <a:pt x="8253" y="25657"/>
                        </a:cubicBezTo>
                        <a:lnTo>
                          <a:pt x="2572" y="30861"/>
                        </a:lnTo>
                        <a:lnTo>
                          <a:pt x="1196" y="31100"/>
                        </a:lnTo>
                        <a:lnTo>
                          <a:pt x="0" y="29485"/>
                        </a:lnTo>
                        <a:lnTo>
                          <a:pt x="31758" y="239"/>
                        </a:lnTo>
                        <a:lnTo>
                          <a:pt x="33133" y="0"/>
                        </a:lnTo>
                        <a:cubicBezTo>
                          <a:pt x="33552" y="479"/>
                          <a:pt x="34031" y="1017"/>
                          <a:pt x="34449" y="1555"/>
                        </a:cubicBezTo>
                        <a:lnTo>
                          <a:pt x="32774" y="3110"/>
                        </a:lnTo>
                        <a:cubicBezTo>
                          <a:pt x="39353" y="11005"/>
                          <a:pt x="45872" y="18839"/>
                          <a:pt x="52451" y="26674"/>
                        </a:cubicBezTo>
                        <a:lnTo>
                          <a:pt x="53288" y="25897"/>
                        </a:lnTo>
                        <a:lnTo>
                          <a:pt x="54664" y="25657"/>
                        </a:lnTo>
                        <a:cubicBezTo>
                          <a:pt x="55142" y="26196"/>
                          <a:pt x="55621" y="26794"/>
                          <a:pt x="56039" y="27332"/>
                        </a:cubicBezTo>
                        <a:lnTo>
                          <a:pt x="54305" y="28947"/>
                        </a:lnTo>
                        <a:cubicBezTo>
                          <a:pt x="61362" y="37439"/>
                          <a:pt x="68659" y="46291"/>
                          <a:pt x="75716" y="54664"/>
                        </a:cubicBezTo>
                        <a:lnTo>
                          <a:pt x="76673" y="53767"/>
                        </a:lnTo>
                        <a:lnTo>
                          <a:pt x="78049" y="53528"/>
                        </a:lnTo>
                        <a:cubicBezTo>
                          <a:pt x="78527" y="54126"/>
                          <a:pt x="79065" y="54724"/>
                          <a:pt x="79544" y="55322"/>
                        </a:cubicBezTo>
                        <a:lnTo>
                          <a:pt x="77690" y="56996"/>
                        </a:lnTo>
                        <a:cubicBezTo>
                          <a:pt x="85405" y="66266"/>
                          <a:pt x="93419" y="75895"/>
                          <a:pt x="101134" y="85166"/>
                        </a:cubicBezTo>
                        <a:lnTo>
                          <a:pt x="102150" y="84209"/>
                        </a:lnTo>
                        <a:lnTo>
                          <a:pt x="103527" y="83969"/>
                        </a:lnTo>
                        <a:cubicBezTo>
                          <a:pt x="104065" y="84627"/>
                          <a:pt x="104663" y="85345"/>
                          <a:pt x="105201" y="86003"/>
                        </a:cubicBezTo>
                        <a:lnTo>
                          <a:pt x="103287" y="87797"/>
                        </a:lnTo>
                        <a:cubicBezTo>
                          <a:pt x="111780" y="97964"/>
                          <a:pt x="120631" y="108610"/>
                          <a:pt x="129004" y="118717"/>
                        </a:cubicBezTo>
                        <a:lnTo>
                          <a:pt x="130141" y="117701"/>
                        </a:lnTo>
                        <a:lnTo>
                          <a:pt x="131516" y="117461"/>
                        </a:lnTo>
                        <a:cubicBezTo>
                          <a:pt x="132114" y="118179"/>
                          <a:pt x="132772" y="118957"/>
                          <a:pt x="133370" y="119674"/>
                        </a:cubicBezTo>
                        <a:lnTo>
                          <a:pt x="131336" y="121528"/>
                        </a:lnTo>
                        <a:cubicBezTo>
                          <a:pt x="140727" y="132772"/>
                          <a:pt x="150475" y="144494"/>
                          <a:pt x="159745" y="155678"/>
                        </a:cubicBezTo>
                        <a:lnTo>
                          <a:pt x="161001" y="154542"/>
                        </a:lnTo>
                        <a:lnTo>
                          <a:pt x="162377" y="154303"/>
                        </a:lnTo>
                        <a:lnTo>
                          <a:pt x="163932" y="156157"/>
                        </a:lnTo>
                        <a:lnTo>
                          <a:pt x="124040" y="192878"/>
                        </a:lnTo>
                        <a:lnTo>
                          <a:pt x="122545" y="190905"/>
                        </a:lnTo>
                        <a:lnTo>
                          <a:pt x="129603" y="184386"/>
                        </a:lnTo>
                        <a:cubicBezTo>
                          <a:pt x="120153" y="172006"/>
                          <a:pt x="111003" y="160044"/>
                          <a:pt x="102091" y="148442"/>
                        </a:cubicBezTo>
                        <a:lnTo>
                          <a:pt x="95333" y="154662"/>
                        </a:lnTo>
                        <a:lnTo>
                          <a:pt x="93957" y="154901"/>
                        </a:lnTo>
                        <a:cubicBezTo>
                          <a:pt x="93539" y="154303"/>
                          <a:pt x="93060" y="153764"/>
                          <a:pt x="92641" y="153166"/>
                        </a:cubicBezTo>
                        <a:lnTo>
                          <a:pt x="100297" y="146109"/>
                        </a:lnTo>
                        <a:cubicBezTo>
                          <a:pt x="91744" y="134925"/>
                          <a:pt x="83431" y="124040"/>
                          <a:pt x="75357" y="113454"/>
                        </a:cubicBezTo>
                        <a:lnTo>
                          <a:pt x="68898" y="119375"/>
                        </a:lnTo>
                        <a:lnTo>
                          <a:pt x="67523" y="119614"/>
                        </a:lnTo>
                        <a:lnTo>
                          <a:pt x="66386" y="118119"/>
                        </a:lnTo>
                        <a:lnTo>
                          <a:pt x="73742" y="111361"/>
                        </a:lnTo>
                        <a:cubicBezTo>
                          <a:pt x="65908" y="101134"/>
                          <a:pt x="58372" y="91206"/>
                          <a:pt x="50956" y="81577"/>
                        </a:cubicBezTo>
                        <a:lnTo>
                          <a:pt x="44796" y="87259"/>
                        </a:lnTo>
                        <a:lnTo>
                          <a:pt x="43420" y="87498"/>
                        </a:lnTo>
                        <a:lnTo>
                          <a:pt x="42463" y="86182"/>
                        </a:lnTo>
                        <a:lnTo>
                          <a:pt x="49521" y="79723"/>
                        </a:lnTo>
                        <a:cubicBezTo>
                          <a:pt x="42403" y="70393"/>
                          <a:pt x="35406" y="61302"/>
                          <a:pt x="28648" y="52451"/>
                        </a:cubicBezTo>
                        <a:lnTo>
                          <a:pt x="22727" y="57894"/>
                        </a:lnTo>
                        <a:lnTo>
                          <a:pt x="21351" y="58133"/>
                        </a:lnTo>
                        <a:lnTo>
                          <a:pt x="20574" y="56937"/>
                        </a:lnTo>
                        <a:lnTo>
                          <a:pt x="20574" y="56937"/>
                        </a:lnTo>
                        <a:close/>
                        <a:moveTo>
                          <a:pt x="135044" y="179362"/>
                        </a:moveTo>
                        <a:lnTo>
                          <a:pt x="142162" y="172783"/>
                        </a:lnTo>
                        <a:cubicBezTo>
                          <a:pt x="132473" y="160582"/>
                          <a:pt x="123143" y="148800"/>
                          <a:pt x="114112" y="137317"/>
                        </a:cubicBezTo>
                        <a:lnTo>
                          <a:pt x="107295" y="143597"/>
                        </a:lnTo>
                        <a:cubicBezTo>
                          <a:pt x="116266" y="155200"/>
                          <a:pt x="125475" y="167101"/>
                          <a:pt x="135044" y="179362"/>
                        </a:cubicBezTo>
                        <a:lnTo>
                          <a:pt x="135044" y="179362"/>
                        </a:lnTo>
                        <a:close/>
                        <a:moveTo>
                          <a:pt x="105500" y="141384"/>
                        </a:moveTo>
                        <a:lnTo>
                          <a:pt x="112258" y="135164"/>
                        </a:lnTo>
                        <a:cubicBezTo>
                          <a:pt x="103527" y="124100"/>
                          <a:pt x="95034" y="113395"/>
                          <a:pt x="86780" y="102988"/>
                        </a:cubicBezTo>
                        <a:lnTo>
                          <a:pt x="80262" y="108969"/>
                        </a:lnTo>
                        <a:cubicBezTo>
                          <a:pt x="88515" y="119435"/>
                          <a:pt x="96887" y="130200"/>
                          <a:pt x="105500" y="141384"/>
                        </a:cubicBezTo>
                        <a:lnTo>
                          <a:pt x="105500" y="141384"/>
                        </a:lnTo>
                        <a:close/>
                        <a:moveTo>
                          <a:pt x="78766" y="106816"/>
                        </a:moveTo>
                        <a:lnTo>
                          <a:pt x="85225" y="100835"/>
                        </a:lnTo>
                        <a:cubicBezTo>
                          <a:pt x="77271" y="90787"/>
                          <a:pt x="69496" y="80979"/>
                          <a:pt x="61960" y="71470"/>
                        </a:cubicBezTo>
                        <a:lnTo>
                          <a:pt x="55740" y="77211"/>
                        </a:lnTo>
                        <a:cubicBezTo>
                          <a:pt x="63216" y="86840"/>
                          <a:pt x="70871" y="96708"/>
                          <a:pt x="78766" y="106816"/>
                        </a:cubicBezTo>
                        <a:lnTo>
                          <a:pt x="78766" y="106816"/>
                        </a:lnTo>
                        <a:close/>
                        <a:moveTo>
                          <a:pt x="54305" y="75357"/>
                        </a:moveTo>
                        <a:lnTo>
                          <a:pt x="60525" y="69676"/>
                        </a:lnTo>
                        <a:cubicBezTo>
                          <a:pt x="53229" y="60465"/>
                          <a:pt x="46171" y="51494"/>
                          <a:pt x="39234" y="42822"/>
                        </a:cubicBezTo>
                        <a:lnTo>
                          <a:pt x="33312" y="48264"/>
                        </a:lnTo>
                        <a:cubicBezTo>
                          <a:pt x="40071" y="57056"/>
                          <a:pt x="47068" y="66087"/>
                          <a:pt x="54305" y="75357"/>
                        </a:cubicBezTo>
                        <a:lnTo>
                          <a:pt x="54305" y="75357"/>
                        </a:lnTo>
                        <a:close/>
                        <a:moveTo>
                          <a:pt x="147605" y="167819"/>
                        </a:moveTo>
                        <a:lnTo>
                          <a:pt x="154721" y="161240"/>
                        </a:lnTo>
                        <a:cubicBezTo>
                          <a:pt x="144853" y="149219"/>
                          <a:pt x="135344" y="137616"/>
                          <a:pt x="126073" y="126313"/>
                        </a:cubicBezTo>
                        <a:lnTo>
                          <a:pt x="119256" y="132593"/>
                        </a:lnTo>
                        <a:cubicBezTo>
                          <a:pt x="128466" y="143956"/>
                          <a:pt x="137856" y="155678"/>
                          <a:pt x="147605" y="167819"/>
                        </a:cubicBezTo>
                        <a:lnTo>
                          <a:pt x="147605" y="167819"/>
                        </a:lnTo>
                        <a:close/>
                        <a:moveTo>
                          <a:pt x="117521" y="130320"/>
                        </a:moveTo>
                        <a:lnTo>
                          <a:pt x="124280" y="124100"/>
                        </a:lnTo>
                        <a:cubicBezTo>
                          <a:pt x="115368" y="113215"/>
                          <a:pt x="106696" y="102629"/>
                          <a:pt x="98264" y="92402"/>
                        </a:cubicBezTo>
                        <a:lnTo>
                          <a:pt x="91744" y="98383"/>
                        </a:lnTo>
                        <a:cubicBezTo>
                          <a:pt x="100117" y="108730"/>
                          <a:pt x="108670" y="119375"/>
                          <a:pt x="117521" y="130320"/>
                        </a:cubicBezTo>
                        <a:lnTo>
                          <a:pt x="117521" y="130320"/>
                        </a:lnTo>
                        <a:close/>
                        <a:moveTo>
                          <a:pt x="90189" y="96350"/>
                        </a:moveTo>
                        <a:lnTo>
                          <a:pt x="96649" y="90369"/>
                        </a:lnTo>
                        <a:cubicBezTo>
                          <a:pt x="88515" y="80441"/>
                          <a:pt x="80620" y="70812"/>
                          <a:pt x="72905" y="61422"/>
                        </a:cubicBezTo>
                        <a:lnTo>
                          <a:pt x="66685" y="67104"/>
                        </a:lnTo>
                        <a:cubicBezTo>
                          <a:pt x="74341" y="76613"/>
                          <a:pt x="82115" y="86302"/>
                          <a:pt x="90189" y="96350"/>
                        </a:cubicBezTo>
                        <a:lnTo>
                          <a:pt x="90189" y="96350"/>
                        </a:lnTo>
                        <a:close/>
                        <a:moveTo>
                          <a:pt x="65250" y="65310"/>
                        </a:moveTo>
                        <a:lnTo>
                          <a:pt x="71410" y="59628"/>
                        </a:lnTo>
                        <a:cubicBezTo>
                          <a:pt x="63993" y="50537"/>
                          <a:pt x="56757" y="41746"/>
                          <a:pt x="49700" y="33133"/>
                        </a:cubicBezTo>
                        <a:lnTo>
                          <a:pt x="43779" y="38576"/>
                        </a:lnTo>
                        <a:cubicBezTo>
                          <a:pt x="50716" y="47248"/>
                          <a:pt x="57894" y="56159"/>
                          <a:pt x="65250" y="65310"/>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64" name="Vrije vorm: vorm 7063">
                    <a:extLst>
                      <a:ext uri="{FF2B5EF4-FFF2-40B4-BE49-F238E27FC236}">
                        <a16:creationId xmlns:a16="http://schemas.microsoft.com/office/drawing/2014/main" id="{5AFE12D8-33D5-404C-BE7C-CEC3EFAA54C6}"/>
                      </a:ext>
                    </a:extLst>
                  </p:cNvPr>
                  <p:cNvSpPr/>
                  <p:nvPr/>
                </p:nvSpPr>
                <p:spPr>
                  <a:xfrm>
                    <a:off x="7518026" y="2407340"/>
                    <a:ext cx="163094" cy="193476"/>
                  </a:xfrm>
                  <a:custGeom>
                    <a:avLst/>
                    <a:gdLst>
                      <a:gd name="connsiteX0" fmla="*/ 11423 w 163094"/>
                      <a:gd name="connsiteY0" fmla="*/ 21650 h 193476"/>
                      <a:gd name="connsiteX1" fmla="*/ 30741 w 163094"/>
                      <a:gd name="connsiteY1" fmla="*/ 46530 h 193476"/>
                      <a:gd name="connsiteX2" fmla="*/ 36662 w 163094"/>
                      <a:gd name="connsiteY2" fmla="*/ 41088 h 193476"/>
                      <a:gd name="connsiteX3" fmla="*/ 17105 w 163094"/>
                      <a:gd name="connsiteY3" fmla="*/ 16387 h 193476"/>
                      <a:gd name="connsiteX4" fmla="*/ 11423 w 163094"/>
                      <a:gd name="connsiteY4" fmla="*/ 21650 h 193476"/>
                      <a:gd name="connsiteX5" fmla="*/ 11423 w 163094"/>
                      <a:gd name="connsiteY5" fmla="*/ 21650 h 193476"/>
                      <a:gd name="connsiteX6" fmla="*/ 51674 w 163094"/>
                      <a:gd name="connsiteY6" fmla="*/ 27272 h 193476"/>
                      <a:gd name="connsiteX7" fmla="*/ 53408 w 163094"/>
                      <a:gd name="connsiteY7" fmla="*/ 25657 h 193476"/>
                      <a:gd name="connsiteX8" fmla="*/ 54784 w 163094"/>
                      <a:gd name="connsiteY8" fmla="*/ 27332 h 193476"/>
                      <a:gd name="connsiteX9" fmla="*/ 53049 w 163094"/>
                      <a:gd name="connsiteY9" fmla="*/ 28947 h 193476"/>
                      <a:gd name="connsiteX10" fmla="*/ 74939 w 163094"/>
                      <a:gd name="connsiteY10" fmla="*/ 55262 h 193476"/>
                      <a:gd name="connsiteX11" fmla="*/ 76793 w 163094"/>
                      <a:gd name="connsiteY11" fmla="*/ 53587 h 193476"/>
                      <a:gd name="connsiteX12" fmla="*/ 78288 w 163094"/>
                      <a:gd name="connsiteY12" fmla="*/ 55382 h 193476"/>
                      <a:gd name="connsiteX13" fmla="*/ 76434 w 163094"/>
                      <a:gd name="connsiteY13" fmla="*/ 57056 h 193476"/>
                      <a:gd name="connsiteX14" fmla="*/ 100357 w 163094"/>
                      <a:gd name="connsiteY14" fmla="*/ 85823 h 193476"/>
                      <a:gd name="connsiteX15" fmla="*/ 102270 w 163094"/>
                      <a:gd name="connsiteY15" fmla="*/ 84029 h 193476"/>
                      <a:gd name="connsiteX16" fmla="*/ 103945 w 163094"/>
                      <a:gd name="connsiteY16" fmla="*/ 86063 h 193476"/>
                      <a:gd name="connsiteX17" fmla="*/ 102031 w 163094"/>
                      <a:gd name="connsiteY17" fmla="*/ 87857 h 193476"/>
                      <a:gd name="connsiteX18" fmla="*/ 128227 w 163094"/>
                      <a:gd name="connsiteY18" fmla="*/ 119375 h 193476"/>
                      <a:gd name="connsiteX19" fmla="*/ 130260 w 163094"/>
                      <a:gd name="connsiteY19" fmla="*/ 117521 h 193476"/>
                      <a:gd name="connsiteX20" fmla="*/ 132115 w 163094"/>
                      <a:gd name="connsiteY20" fmla="*/ 119734 h 193476"/>
                      <a:gd name="connsiteX21" fmla="*/ 130081 w 163094"/>
                      <a:gd name="connsiteY21" fmla="*/ 121588 h 193476"/>
                      <a:gd name="connsiteX22" fmla="*/ 158968 w 163094"/>
                      <a:gd name="connsiteY22" fmla="*/ 156276 h 193476"/>
                      <a:gd name="connsiteX23" fmla="*/ 161061 w 163094"/>
                      <a:gd name="connsiteY23" fmla="*/ 154303 h 193476"/>
                      <a:gd name="connsiteX24" fmla="*/ 163094 w 163094"/>
                      <a:gd name="connsiteY24" fmla="*/ 156755 h 193476"/>
                      <a:gd name="connsiteX25" fmla="*/ 143119 w 163094"/>
                      <a:gd name="connsiteY25" fmla="*/ 175116 h 193476"/>
                      <a:gd name="connsiteX26" fmla="*/ 123144 w 163094"/>
                      <a:gd name="connsiteY26" fmla="*/ 193476 h 193476"/>
                      <a:gd name="connsiteX27" fmla="*/ 121229 w 163094"/>
                      <a:gd name="connsiteY27" fmla="*/ 190905 h 193476"/>
                      <a:gd name="connsiteX28" fmla="*/ 128287 w 163094"/>
                      <a:gd name="connsiteY28" fmla="*/ 184386 h 193476"/>
                      <a:gd name="connsiteX29" fmla="*/ 100775 w 163094"/>
                      <a:gd name="connsiteY29" fmla="*/ 148442 h 193476"/>
                      <a:gd name="connsiteX30" fmla="*/ 94018 w 163094"/>
                      <a:gd name="connsiteY30" fmla="*/ 154662 h 193476"/>
                      <a:gd name="connsiteX31" fmla="*/ 92283 w 163094"/>
                      <a:gd name="connsiteY31" fmla="*/ 152329 h 193476"/>
                      <a:gd name="connsiteX32" fmla="*/ 99041 w 163094"/>
                      <a:gd name="connsiteY32" fmla="*/ 146109 h 193476"/>
                      <a:gd name="connsiteX33" fmla="*/ 74101 w 163094"/>
                      <a:gd name="connsiteY33" fmla="*/ 113454 h 193476"/>
                      <a:gd name="connsiteX34" fmla="*/ 67642 w 163094"/>
                      <a:gd name="connsiteY34" fmla="*/ 119375 h 193476"/>
                      <a:gd name="connsiteX35" fmla="*/ 66087 w 163094"/>
                      <a:gd name="connsiteY35" fmla="*/ 117282 h 193476"/>
                      <a:gd name="connsiteX36" fmla="*/ 72486 w 163094"/>
                      <a:gd name="connsiteY36" fmla="*/ 111361 h 193476"/>
                      <a:gd name="connsiteX37" fmla="*/ 49700 w 163094"/>
                      <a:gd name="connsiteY37" fmla="*/ 81577 h 193476"/>
                      <a:gd name="connsiteX38" fmla="*/ 43540 w 163094"/>
                      <a:gd name="connsiteY38" fmla="*/ 87259 h 193476"/>
                      <a:gd name="connsiteX39" fmla="*/ 42105 w 163094"/>
                      <a:gd name="connsiteY39" fmla="*/ 85345 h 193476"/>
                      <a:gd name="connsiteX40" fmla="*/ 48265 w 163094"/>
                      <a:gd name="connsiteY40" fmla="*/ 79723 h 193476"/>
                      <a:gd name="connsiteX41" fmla="*/ 27392 w 163094"/>
                      <a:gd name="connsiteY41" fmla="*/ 52451 h 193476"/>
                      <a:gd name="connsiteX42" fmla="*/ 21471 w 163094"/>
                      <a:gd name="connsiteY42" fmla="*/ 57893 h 193476"/>
                      <a:gd name="connsiteX43" fmla="*/ 20155 w 163094"/>
                      <a:gd name="connsiteY43" fmla="*/ 56099 h 193476"/>
                      <a:gd name="connsiteX44" fmla="*/ 26016 w 163094"/>
                      <a:gd name="connsiteY44" fmla="*/ 50717 h 193476"/>
                      <a:gd name="connsiteX45" fmla="*/ 6878 w 163094"/>
                      <a:gd name="connsiteY45" fmla="*/ 25657 h 193476"/>
                      <a:gd name="connsiteX46" fmla="*/ 1197 w 163094"/>
                      <a:gd name="connsiteY46" fmla="*/ 30861 h 193476"/>
                      <a:gd name="connsiteX47" fmla="*/ 0 w 163094"/>
                      <a:gd name="connsiteY47" fmla="*/ 29246 h 193476"/>
                      <a:gd name="connsiteX48" fmla="*/ 31758 w 163094"/>
                      <a:gd name="connsiteY48" fmla="*/ 0 h 193476"/>
                      <a:gd name="connsiteX49" fmla="*/ 33074 w 163094"/>
                      <a:gd name="connsiteY49" fmla="*/ 1555 h 193476"/>
                      <a:gd name="connsiteX50" fmla="*/ 31399 w 163094"/>
                      <a:gd name="connsiteY50" fmla="*/ 3110 h 193476"/>
                      <a:gd name="connsiteX51" fmla="*/ 51674 w 163094"/>
                      <a:gd name="connsiteY51" fmla="*/ 27272 h 193476"/>
                      <a:gd name="connsiteX52" fmla="*/ 51674 w 163094"/>
                      <a:gd name="connsiteY52" fmla="*/ 27272 h 193476"/>
                      <a:gd name="connsiteX53" fmla="*/ 41207 w 163094"/>
                      <a:gd name="connsiteY53" fmla="*/ 36901 h 193476"/>
                      <a:gd name="connsiteX54" fmla="*/ 47128 w 163094"/>
                      <a:gd name="connsiteY54" fmla="*/ 31459 h 193476"/>
                      <a:gd name="connsiteX55" fmla="*/ 27153 w 163094"/>
                      <a:gd name="connsiteY55" fmla="*/ 7117 h 193476"/>
                      <a:gd name="connsiteX56" fmla="*/ 21471 w 163094"/>
                      <a:gd name="connsiteY56" fmla="*/ 12380 h 193476"/>
                      <a:gd name="connsiteX57" fmla="*/ 41207 w 163094"/>
                      <a:gd name="connsiteY57" fmla="*/ 36901 h 193476"/>
                      <a:gd name="connsiteX58" fmla="*/ 41207 w 163094"/>
                      <a:gd name="connsiteY58" fmla="*/ 36901 h 193476"/>
                      <a:gd name="connsiteX59" fmla="*/ 133849 w 163094"/>
                      <a:gd name="connsiteY59" fmla="*/ 179422 h 193476"/>
                      <a:gd name="connsiteX60" fmla="*/ 140966 w 163094"/>
                      <a:gd name="connsiteY60" fmla="*/ 172843 h 193476"/>
                      <a:gd name="connsiteX61" fmla="*/ 112916 w 163094"/>
                      <a:gd name="connsiteY61" fmla="*/ 137377 h 193476"/>
                      <a:gd name="connsiteX62" fmla="*/ 106098 w 163094"/>
                      <a:gd name="connsiteY62" fmla="*/ 143657 h 193476"/>
                      <a:gd name="connsiteX63" fmla="*/ 133849 w 163094"/>
                      <a:gd name="connsiteY63" fmla="*/ 179422 h 193476"/>
                      <a:gd name="connsiteX64" fmla="*/ 133849 w 163094"/>
                      <a:gd name="connsiteY64" fmla="*/ 179422 h 193476"/>
                      <a:gd name="connsiteX65" fmla="*/ 104364 w 163094"/>
                      <a:gd name="connsiteY65" fmla="*/ 141384 h 193476"/>
                      <a:gd name="connsiteX66" fmla="*/ 111122 w 163094"/>
                      <a:gd name="connsiteY66" fmla="*/ 135164 h 193476"/>
                      <a:gd name="connsiteX67" fmla="*/ 85644 w 163094"/>
                      <a:gd name="connsiteY67" fmla="*/ 102988 h 193476"/>
                      <a:gd name="connsiteX68" fmla="*/ 79125 w 163094"/>
                      <a:gd name="connsiteY68" fmla="*/ 108969 h 193476"/>
                      <a:gd name="connsiteX69" fmla="*/ 104364 w 163094"/>
                      <a:gd name="connsiteY69" fmla="*/ 141384 h 193476"/>
                      <a:gd name="connsiteX70" fmla="*/ 104364 w 163094"/>
                      <a:gd name="connsiteY70" fmla="*/ 141384 h 193476"/>
                      <a:gd name="connsiteX71" fmla="*/ 77571 w 163094"/>
                      <a:gd name="connsiteY71" fmla="*/ 106875 h 193476"/>
                      <a:gd name="connsiteX72" fmla="*/ 84029 w 163094"/>
                      <a:gd name="connsiteY72" fmla="*/ 100895 h 193476"/>
                      <a:gd name="connsiteX73" fmla="*/ 60764 w 163094"/>
                      <a:gd name="connsiteY73" fmla="*/ 71529 h 193476"/>
                      <a:gd name="connsiteX74" fmla="*/ 54544 w 163094"/>
                      <a:gd name="connsiteY74" fmla="*/ 77271 h 193476"/>
                      <a:gd name="connsiteX75" fmla="*/ 77571 w 163094"/>
                      <a:gd name="connsiteY75" fmla="*/ 106875 h 193476"/>
                      <a:gd name="connsiteX76" fmla="*/ 77571 w 163094"/>
                      <a:gd name="connsiteY76" fmla="*/ 106875 h 193476"/>
                      <a:gd name="connsiteX77" fmla="*/ 53109 w 163094"/>
                      <a:gd name="connsiteY77" fmla="*/ 75357 h 193476"/>
                      <a:gd name="connsiteX78" fmla="*/ 59329 w 163094"/>
                      <a:gd name="connsiteY78" fmla="*/ 69675 h 193476"/>
                      <a:gd name="connsiteX79" fmla="*/ 38037 w 163094"/>
                      <a:gd name="connsiteY79" fmla="*/ 42822 h 193476"/>
                      <a:gd name="connsiteX80" fmla="*/ 32116 w 163094"/>
                      <a:gd name="connsiteY80" fmla="*/ 48264 h 193476"/>
                      <a:gd name="connsiteX81" fmla="*/ 53109 w 163094"/>
                      <a:gd name="connsiteY81" fmla="*/ 75357 h 193476"/>
                      <a:gd name="connsiteX82" fmla="*/ 53109 w 163094"/>
                      <a:gd name="connsiteY82" fmla="*/ 75357 h 193476"/>
                      <a:gd name="connsiteX83" fmla="*/ 146468 w 163094"/>
                      <a:gd name="connsiteY83" fmla="*/ 167819 h 193476"/>
                      <a:gd name="connsiteX84" fmla="*/ 153585 w 163094"/>
                      <a:gd name="connsiteY84" fmla="*/ 161240 h 193476"/>
                      <a:gd name="connsiteX85" fmla="*/ 124937 w 163094"/>
                      <a:gd name="connsiteY85" fmla="*/ 126313 h 193476"/>
                      <a:gd name="connsiteX86" fmla="*/ 118119 w 163094"/>
                      <a:gd name="connsiteY86" fmla="*/ 132593 h 193476"/>
                      <a:gd name="connsiteX87" fmla="*/ 146468 w 163094"/>
                      <a:gd name="connsiteY87" fmla="*/ 167819 h 193476"/>
                      <a:gd name="connsiteX88" fmla="*/ 146468 w 163094"/>
                      <a:gd name="connsiteY88" fmla="*/ 167819 h 193476"/>
                      <a:gd name="connsiteX89" fmla="*/ 116325 w 163094"/>
                      <a:gd name="connsiteY89" fmla="*/ 130320 h 193476"/>
                      <a:gd name="connsiteX90" fmla="*/ 123084 w 163094"/>
                      <a:gd name="connsiteY90" fmla="*/ 124100 h 193476"/>
                      <a:gd name="connsiteX91" fmla="*/ 97067 w 163094"/>
                      <a:gd name="connsiteY91" fmla="*/ 92402 h 193476"/>
                      <a:gd name="connsiteX92" fmla="*/ 90548 w 163094"/>
                      <a:gd name="connsiteY92" fmla="*/ 98383 h 193476"/>
                      <a:gd name="connsiteX93" fmla="*/ 116325 w 163094"/>
                      <a:gd name="connsiteY93" fmla="*/ 130320 h 193476"/>
                      <a:gd name="connsiteX94" fmla="*/ 116325 w 163094"/>
                      <a:gd name="connsiteY94" fmla="*/ 130320 h 193476"/>
                      <a:gd name="connsiteX95" fmla="*/ 88993 w 163094"/>
                      <a:gd name="connsiteY95" fmla="*/ 96350 h 193476"/>
                      <a:gd name="connsiteX96" fmla="*/ 95453 w 163094"/>
                      <a:gd name="connsiteY96" fmla="*/ 90369 h 193476"/>
                      <a:gd name="connsiteX97" fmla="*/ 71709 w 163094"/>
                      <a:gd name="connsiteY97" fmla="*/ 61422 h 193476"/>
                      <a:gd name="connsiteX98" fmla="*/ 65489 w 163094"/>
                      <a:gd name="connsiteY98" fmla="*/ 67104 h 193476"/>
                      <a:gd name="connsiteX99" fmla="*/ 88993 w 163094"/>
                      <a:gd name="connsiteY99" fmla="*/ 96350 h 193476"/>
                      <a:gd name="connsiteX100" fmla="*/ 88993 w 163094"/>
                      <a:gd name="connsiteY100" fmla="*/ 96350 h 193476"/>
                      <a:gd name="connsiteX101" fmla="*/ 64054 w 163094"/>
                      <a:gd name="connsiteY101" fmla="*/ 65310 h 193476"/>
                      <a:gd name="connsiteX102" fmla="*/ 70214 w 163094"/>
                      <a:gd name="connsiteY102" fmla="*/ 59628 h 193476"/>
                      <a:gd name="connsiteX103" fmla="*/ 48504 w 163094"/>
                      <a:gd name="connsiteY103" fmla="*/ 33133 h 193476"/>
                      <a:gd name="connsiteX104" fmla="*/ 42583 w 163094"/>
                      <a:gd name="connsiteY104" fmla="*/ 38576 h 193476"/>
                      <a:gd name="connsiteX105" fmla="*/ 64054 w 163094"/>
                      <a:gd name="connsiteY105" fmla="*/ 65310 h 19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63094" h="193476">
                        <a:moveTo>
                          <a:pt x="11423" y="21650"/>
                        </a:moveTo>
                        <a:lnTo>
                          <a:pt x="30741" y="46530"/>
                        </a:lnTo>
                        <a:cubicBezTo>
                          <a:pt x="32715" y="44736"/>
                          <a:pt x="34688" y="42882"/>
                          <a:pt x="36662" y="41088"/>
                        </a:cubicBezTo>
                        <a:lnTo>
                          <a:pt x="17105" y="16387"/>
                        </a:lnTo>
                        <a:lnTo>
                          <a:pt x="11423" y="21650"/>
                        </a:lnTo>
                        <a:lnTo>
                          <a:pt x="11423" y="21650"/>
                        </a:lnTo>
                        <a:close/>
                        <a:moveTo>
                          <a:pt x="51674" y="27272"/>
                        </a:moveTo>
                        <a:lnTo>
                          <a:pt x="53408" y="25657"/>
                        </a:lnTo>
                        <a:cubicBezTo>
                          <a:pt x="53886" y="26196"/>
                          <a:pt x="54365" y="26794"/>
                          <a:pt x="54784" y="27332"/>
                        </a:cubicBezTo>
                        <a:lnTo>
                          <a:pt x="53049" y="28947"/>
                        </a:lnTo>
                        <a:cubicBezTo>
                          <a:pt x="60166" y="37499"/>
                          <a:pt x="67463" y="46231"/>
                          <a:pt x="74939" y="55262"/>
                        </a:cubicBezTo>
                        <a:lnTo>
                          <a:pt x="76793" y="53587"/>
                        </a:lnTo>
                        <a:cubicBezTo>
                          <a:pt x="77271" y="54185"/>
                          <a:pt x="77809" y="54783"/>
                          <a:pt x="78288" y="55382"/>
                        </a:cubicBezTo>
                        <a:lnTo>
                          <a:pt x="76434" y="57056"/>
                        </a:lnTo>
                        <a:cubicBezTo>
                          <a:pt x="84209" y="66386"/>
                          <a:pt x="92163" y="75955"/>
                          <a:pt x="100357" y="85823"/>
                        </a:cubicBezTo>
                        <a:lnTo>
                          <a:pt x="102270" y="84029"/>
                        </a:lnTo>
                        <a:cubicBezTo>
                          <a:pt x="102809" y="84687"/>
                          <a:pt x="103407" y="85405"/>
                          <a:pt x="103945" y="86063"/>
                        </a:cubicBezTo>
                        <a:lnTo>
                          <a:pt x="102031" y="87857"/>
                        </a:lnTo>
                        <a:cubicBezTo>
                          <a:pt x="110524" y="98024"/>
                          <a:pt x="119256" y="108550"/>
                          <a:pt x="128227" y="119375"/>
                        </a:cubicBezTo>
                        <a:lnTo>
                          <a:pt x="130260" y="117521"/>
                        </a:lnTo>
                        <a:cubicBezTo>
                          <a:pt x="130858" y="118239"/>
                          <a:pt x="131516" y="119016"/>
                          <a:pt x="132115" y="119734"/>
                        </a:cubicBezTo>
                        <a:lnTo>
                          <a:pt x="130081" y="121588"/>
                        </a:lnTo>
                        <a:cubicBezTo>
                          <a:pt x="139411" y="132772"/>
                          <a:pt x="149040" y="144315"/>
                          <a:pt x="158968" y="156276"/>
                        </a:cubicBezTo>
                        <a:lnTo>
                          <a:pt x="161061" y="154303"/>
                        </a:lnTo>
                        <a:cubicBezTo>
                          <a:pt x="161719" y="155080"/>
                          <a:pt x="162437" y="155917"/>
                          <a:pt x="163094" y="156755"/>
                        </a:cubicBezTo>
                        <a:cubicBezTo>
                          <a:pt x="156456" y="162855"/>
                          <a:pt x="149758" y="169015"/>
                          <a:pt x="143119" y="175116"/>
                        </a:cubicBezTo>
                        <a:cubicBezTo>
                          <a:pt x="136480" y="181216"/>
                          <a:pt x="129782" y="187376"/>
                          <a:pt x="123144" y="193476"/>
                        </a:cubicBezTo>
                        <a:cubicBezTo>
                          <a:pt x="122485" y="192579"/>
                          <a:pt x="121827" y="191742"/>
                          <a:pt x="121229" y="190905"/>
                        </a:cubicBezTo>
                        <a:lnTo>
                          <a:pt x="128287" y="184386"/>
                        </a:lnTo>
                        <a:cubicBezTo>
                          <a:pt x="118837" y="172006"/>
                          <a:pt x="109687" y="160044"/>
                          <a:pt x="100775" y="148442"/>
                        </a:cubicBezTo>
                        <a:lnTo>
                          <a:pt x="94018" y="154662"/>
                        </a:lnTo>
                        <a:cubicBezTo>
                          <a:pt x="93419" y="153884"/>
                          <a:pt x="92821" y="153107"/>
                          <a:pt x="92283" y="152329"/>
                        </a:cubicBezTo>
                        <a:lnTo>
                          <a:pt x="99041" y="146109"/>
                        </a:lnTo>
                        <a:cubicBezTo>
                          <a:pt x="90488" y="134925"/>
                          <a:pt x="82175" y="124040"/>
                          <a:pt x="74101" y="113454"/>
                        </a:cubicBezTo>
                        <a:lnTo>
                          <a:pt x="67642" y="119375"/>
                        </a:lnTo>
                        <a:cubicBezTo>
                          <a:pt x="67104" y="118657"/>
                          <a:pt x="66565" y="117940"/>
                          <a:pt x="66087" y="117282"/>
                        </a:cubicBezTo>
                        <a:lnTo>
                          <a:pt x="72486" y="111361"/>
                        </a:lnTo>
                        <a:cubicBezTo>
                          <a:pt x="64652" y="101134"/>
                          <a:pt x="57116" y="91206"/>
                          <a:pt x="49700" y="81577"/>
                        </a:cubicBezTo>
                        <a:lnTo>
                          <a:pt x="43540" y="87259"/>
                        </a:lnTo>
                        <a:cubicBezTo>
                          <a:pt x="43062" y="86661"/>
                          <a:pt x="42583" y="86003"/>
                          <a:pt x="42105" y="85345"/>
                        </a:cubicBezTo>
                        <a:lnTo>
                          <a:pt x="48265" y="79723"/>
                        </a:lnTo>
                        <a:cubicBezTo>
                          <a:pt x="41147" y="70393"/>
                          <a:pt x="34150" y="61302"/>
                          <a:pt x="27392" y="52451"/>
                        </a:cubicBezTo>
                        <a:lnTo>
                          <a:pt x="21471" y="57893"/>
                        </a:lnTo>
                        <a:cubicBezTo>
                          <a:pt x="21052" y="57295"/>
                          <a:pt x="20574" y="56697"/>
                          <a:pt x="20155" y="56099"/>
                        </a:cubicBezTo>
                        <a:lnTo>
                          <a:pt x="26016" y="50717"/>
                        </a:lnTo>
                        <a:cubicBezTo>
                          <a:pt x="19437" y="42164"/>
                          <a:pt x="13098" y="33791"/>
                          <a:pt x="6878" y="25657"/>
                        </a:cubicBezTo>
                        <a:lnTo>
                          <a:pt x="1197" y="30861"/>
                        </a:lnTo>
                        <a:cubicBezTo>
                          <a:pt x="778" y="30322"/>
                          <a:pt x="359" y="29784"/>
                          <a:pt x="0" y="29246"/>
                        </a:cubicBezTo>
                        <a:cubicBezTo>
                          <a:pt x="10586" y="19497"/>
                          <a:pt x="21172" y="9749"/>
                          <a:pt x="31758" y="0"/>
                        </a:cubicBezTo>
                        <a:cubicBezTo>
                          <a:pt x="32176" y="479"/>
                          <a:pt x="32655" y="1017"/>
                          <a:pt x="33074" y="1555"/>
                        </a:cubicBezTo>
                        <a:lnTo>
                          <a:pt x="31399" y="3110"/>
                        </a:lnTo>
                        <a:cubicBezTo>
                          <a:pt x="38097" y="10945"/>
                          <a:pt x="44796" y="19019"/>
                          <a:pt x="51674" y="27272"/>
                        </a:cubicBezTo>
                        <a:lnTo>
                          <a:pt x="51674" y="27272"/>
                        </a:lnTo>
                        <a:close/>
                        <a:moveTo>
                          <a:pt x="41207" y="36901"/>
                        </a:moveTo>
                        <a:lnTo>
                          <a:pt x="47128" y="31459"/>
                        </a:lnTo>
                        <a:cubicBezTo>
                          <a:pt x="40310" y="23145"/>
                          <a:pt x="33671" y="15012"/>
                          <a:pt x="27153" y="7117"/>
                        </a:cubicBezTo>
                        <a:lnTo>
                          <a:pt x="21471" y="12380"/>
                        </a:lnTo>
                        <a:cubicBezTo>
                          <a:pt x="27870" y="20334"/>
                          <a:pt x="34449" y="28528"/>
                          <a:pt x="41207" y="36901"/>
                        </a:cubicBezTo>
                        <a:lnTo>
                          <a:pt x="41207" y="36901"/>
                        </a:lnTo>
                        <a:close/>
                        <a:moveTo>
                          <a:pt x="133849" y="179422"/>
                        </a:moveTo>
                        <a:lnTo>
                          <a:pt x="140966" y="172843"/>
                        </a:lnTo>
                        <a:cubicBezTo>
                          <a:pt x="131277" y="160642"/>
                          <a:pt x="121947" y="148860"/>
                          <a:pt x="112916" y="137377"/>
                        </a:cubicBezTo>
                        <a:lnTo>
                          <a:pt x="106098" y="143657"/>
                        </a:lnTo>
                        <a:cubicBezTo>
                          <a:pt x="115069" y="155200"/>
                          <a:pt x="124339" y="167101"/>
                          <a:pt x="133849" y="179422"/>
                        </a:cubicBezTo>
                        <a:lnTo>
                          <a:pt x="133849" y="179422"/>
                        </a:lnTo>
                        <a:close/>
                        <a:moveTo>
                          <a:pt x="104364" y="141384"/>
                        </a:moveTo>
                        <a:lnTo>
                          <a:pt x="111122" y="135164"/>
                        </a:lnTo>
                        <a:cubicBezTo>
                          <a:pt x="102390" y="124100"/>
                          <a:pt x="93898" y="113394"/>
                          <a:pt x="85644" y="102988"/>
                        </a:cubicBezTo>
                        <a:lnTo>
                          <a:pt x="79125" y="108969"/>
                        </a:lnTo>
                        <a:cubicBezTo>
                          <a:pt x="87318" y="119435"/>
                          <a:pt x="95692" y="130260"/>
                          <a:pt x="104364" y="141384"/>
                        </a:cubicBezTo>
                        <a:lnTo>
                          <a:pt x="104364" y="141384"/>
                        </a:lnTo>
                        <a:close/>
                        <a:moveTo>
                          <a:pt x="77571" y="106875"/>
                        </a:moveTo>
                        <a:lnTo>
                          <a:pt x="84029" y="100895"/>
                        </a:lnTo>
                        <a:cubicBezTo>
                          <a:pt x="76075" y="90847"/>
                          <a:pt x="68300" y="81039"/>
                          <a:pt x="60764" y="71529"/>
                        </a:cubicBezTo>
                        <a:lnTo>
                          <a:pt x="54544" y="77271"/>
                        </a:lnTo>
                        <a:cubicBezTo>
                          <a:pt x="62020" y="86840"/>
                          <a:pt x="69676" y="96708"/>
                          <a:pt x="77571" y="106875"/>
                        </a:cubicBezTo>
                        <a:lnTo>
                          <a:pt x="77571" y="106875"/>
                        </a:lnTo>
                        <a:close/>
                        <a:moveTo>
                          <a:pt x="53109" y="75357"/>
                        </a:moveTo>
                        <a:lnTo>
                          <a:pt x="59329" y="69675"/>
                        </a:lnTo>
                        <a:cubicBezTo>
                          <a:pt x="52033" y="60465"/>
                          <a:pt x="44975" y="51494"/>
                          <a:pt x="38037" y="42822"/>
                        </a:cubicBezTo>
                        <a:lnTo>
                          <a:pt x="32116" y="48264"/>
                        </a:lnTo>
                        <a:cubicBezTo>
                          <a:pt x="38935" y="57056"/>
                          <a:pt x="45932" y="66087"/>
                          <a:pt x="53109" y="75357"/>
                        </a:cubicBezTo>
                        <a:lnTo>
                          <a:pt x="53109" y="75357"/>
                        </a:lnTo>
                        <a:close/>
                        <a:moveTo>
                          <a:pt x="146468" y="167819"/>
                        </a:moveTo>
                        <a:lnTo>
                          <a:pt x="153585" y="161240"/>
                        </a:lnTo>
                        <a:cubicBezTo>
                          <a:pt x="143717" y="149219"/>
                          <a:pt x="134208" y="137616"/>
                          <a:pt x="124937" y="126313"/>
                        </a:cubicBezTo>
                        <a:lnTo>
                          <a:pt x="118119" y="132593"/>
                        </a:lnTo>
                        <a:cubicBezTo>
                          <a:pt x="127270" y="143956"/>
                          <a:pt x="136719" y="155678"/>
                          <a:pt x="146468" y="167819"/>
                        </a:cubicBezTo>
                        <a:lnTo>
                          <a:pt x="146468" y="167819"/>
                        </a:lnTo>
                        <a:close/>
                        <a:moveTo>
                          <a:pt x="116325" y="130320"/>
                        </a:moveTo>
                        <a:lnTo>
                          <a:pt x="123084" y="124100"/>
                        </a:lnTo>
                        <a:cubicBezTo>
                          <a:pt x="114173" y="113215"/>
                          <a:pt x="105500" y="102629"/>
                          <a:pt x="97067" y="92402"/>
                        </a:cubicBezTo>
                        <a:lnTo>
                          <a:pt x="90548" y="98383"/>
                        </a:lnTo>
                        <a:cubicBezTo>
                          <a:pt x="98921" y="108729"/>
                          <a:pt x="107533" y="119375"/>
                          <a:pt x="116325" y="130320"/>
                        </a:cubicBezTo>
                        <a:lnTo>
                          <a:pt x="116325" y="130320"/>
                        </a:lnTo>
                        <a:close/>
                        <a:moveTo>
                          <a:pt x="88993" y="96350"/>
                        </a:moveTo>
                        <a:lnTo>
                          <a:pt x="95453" y="90369"/>
                        </a:lnTo>
                        <a:cubicBezTo>
                          <a:pt x="87318" y="80441"/>
                          <a:pt x="79424" y="70812"/>
                          <a:pt x="71709" y="61422"/>
                        </a:cubicBezTo>
                        <a:lnTo>
                          <a:pt x="65489" y="67104"/>
                        </a:lnTo>
                        <a:cubicBezTo>
                          <a:pt x="73144" y="76613"/>
                          <a:pt x="80919" y="86362"/>
                          <a:pt x="88993" y="96350"/>
                        </a:cubicBezTo>
                        <a:lnTo>
                          <a:pt x="88993" y="96350"/>
                        </a:lnTo>
                        <a:close/>
                        <a:moveTo>
                          <a:pt x="64054" y="65310"/>
                        </a:moveTo>
                        <a:lnTo>
                          <a:pt x="70214" y="59628"/>
                        </a:lnTo>
                        <a:cubicBezTo>
                          <a:pt x="62798" y="50537"/>
                          <a:pt x="55561" y="41746"/>
                          <a:pt x="48504" y="33133"/>
                        </a:cubicBezTo>
                        <a:lnTo>
                          <a:pt x="42583" y="38576"/>
                        </a:lnTo>
                        <a:cubicBezTo>
                          <a:pt x="49521" y="47248"/>
                          <a:pt x="56697" y="56159"/>
                          <a:pt x="64054" y="65310"/>
                        </a:cubicBezTo>
                        <a:close/>
                      </a:path>
                    </a:pathLst>
                  </a:custGeom>
                  <a:noFill/>
                  <a:ln w="6350" cap="flat">
                    <a:solidFill>
                      <a:schemeClr val="bg1">
                        <a:alpha val="40000"/>
                      </a:schemeClr>
                    </a:solidFill>
                    <a:prstDash val="solid"/>
                    <a:miter/>
                  </a:ln>
                </p:spPr>
                <p:txBody>
                  <a:bodyPr rtlCol="0" anchor="ctr"/>
                  <a:lstStyle/>
                  <a:p>
                    <a:endParaRPr lang="en-GB"/>
                  </a:p>
                </p:txBody>
              </p:sp>
              <p:sp>
                <p:nvSpPr>
                  <p:cNvPr id="7065" name="Vrije vorm: vorm 7064">
                    <a:extLst>
                      <a:ext uri="{FF2B5EF4-FFF2-40B4-BE49-F238E27FC236}">
                        <a16:creationId xmlns:a16="http://schemas.microsoft.com/office/drawing/2014/main" id="{F0718506-B68F-479C-A53A-40EECDEA53C3}"/>
                      </a:ext>
                    </a:extLst>
                  </p:cNvPr>
                  <p:cNvSpPr/>
                  <p:nvPr/>
                </p:nvSpPr>
                <p:spPr>
                  <a:xfrm>
                    <a:off x="7636145" y="2533653"/>
                    <a:ext cx="7297" cy="6279"/>
                  </a:xfrm>
                  <a:custGeom>
                    <a:avLst/>
                    <a:gdLst>
                      <a:gd name="connsiteX0" fmla="*/ 7297 w 7297"/>
                      <a:gd name="connsiteY0" fmla="*/ 598 h 6279"/>
                      <a:gd name="connsiteX1" fmla="*/ 6818 w 7297"/>
                      <a:gd name="connsiteY1" fmla="*/ 0 h 6279"/>
                      <a:gd name="connsiteX2" fmla="*/ 0 w 7297"/>
                      <a:gd name="connsiteY2" fmla="*/ 6280 h 6279"/>
                      <a:gd name="connsiteX3" fmla="*/ 1375 w 7297"/>
                      <a:gd name="connsiteY3" fmla="*/ 6041 h 6279"/>
                    </a:gdLst>
                    <a:ahLst/>
                    <a:cxnLst>
                      <a:cxn ang="0">
                        <a:pos x="connsiteX0" y="connsiteY0"/>
                      </a:cxn>
                      <a:cxn ang="0">
                        <a:pos x="connsiteX1" y="connsiteY1"/>
                      </a:cxn>
                      <a:cxn ang="0">
                        <a:pos x="connsiteX2" y="connsiteY2"/>
                      </a:cxn>
                      <a:cxn ang="0">
                        <a:pos x="connsiteX3" y="connsiteY3"/>
                      </a:cxn>
                    </a:cxnLst>
                    <a:rect l="l" t="t" r="r" b="b"/>
                    <a:pathLst>
                      <a:path w="7297" h="6279">
                        <a:moveTo>
                          <a:pt x="7297" y="598"/>
                        </a:moveTo>
                        <a:lnTo>
                          <a:pt x="6818" y="0"/>
                        </a:lnTo>
                        <a:lnTo>
                          <a:pt x="0" y="6280"/>
                        </a:lnTo>
                        <a:lnTo>
                          <a:pt x="1375" y="6041"/>
                        </a:lnTo>
                        <a:close/>
                      </a:path>
                    </a:pathLst>
                  </a:custGeom>
                  <a:noFill/>
                  <a:ln w="6350" cap="flat">
                    <a:solidFill>
                      <a:schemeClr val="bg1">
                        <a:alpha val="40000"/>
                      </a:schemeClr>
                    </a:solidFill>
                    <a:prstDash val="solid"/>
                    <a:miter/>
                  </a:ln>
                </p:spPr>
                <p:txBody>
                  <a:bodyPr rtlCol="0" anchor="ctr"/>
                  <a:lstStyle/>
                  <a:p>
                    <a:endParaRPr lang="en-GB"/>
                  </a:p>
                </p:txBody>
              </p:sp>
              <p:sp>
                <p:nvSpPr>
                  <p:cNvPr id="7066" name="Vrije vorm: vorm 7065">
                    <a:extLst>
                      <a:ext uri="{FF2B5EF4-FFF2-40B4-BE49-F238E27FC236}">
                        <a16:creationId xmlns:a16="http://schemas.microsoft.com/office/drawing/2014/main" id="{A913BF4A-D7D6-4C6F-890F-9FEC96AD9A88}"/>
                      </a:ext>
                    </a:extLst>
                  </p:cNvPr>
                  <p:cNvSpPr/>
                  <p:nvPr/>
                </p:nvSpPr>
                <p:spPr>
                  <a:xfrm>
                    <a:off x="7624124" y="2544717"/>
                    <a:ext cx="7297" cy="6279"/>
                  </a:xfrm>
                  <a:custGeom>
                    <a:avLst/>
                    <a:gdLst>
                      <a:gd name="connsiteX0" fmla="*/ 7297 w 7297"/>
                      <a:gd name="connsiteY0" fmla="*/ 598 h 6279"/>
                      <a:gd name="connsiteX1" fmla="*/ 6818 w 7297"/>
                      <a:gd name="connsiteY1" fmla="*/ 0 h 6279"/>
                      <a:gd name="connsiteX2" fmla="*/ 3350 w 7297"/>
                      <a:gd name="connsiteY2" fmla="*/ 3230 h 6279"/>
                      <a:gd name="connsiteX3" fmla="*/ 0 w 7297"/>
                      <a:gd name="connsiteY3" fmla="*/ 6280 h 6279"/>
                      <a:gd name="connsiteX4" fmla="*/ 1376 w 7297"/>
                      <a:gd name="connsiteY4" fmla="*/ 6041 h 6279"/>
                      <a:gd name="connsiteX5" fmla="*/ 3828 w 7297"/>
                      <a:gd name="connsiteY5" fmla="*/ 3768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7" h="6279">
                        <a:moveTo>
                          <a:pt x="7297" y="598"/>
                        </a:moveTo>
                        <a:lnTo>
                          <a:pt x="6818" y="0"/>
                        </a:lnTo>
                        <a:lnTo>
                          <a:pt x="3350" y="3230"/>
                        </a:lnTo>
                        <a:lnTo>
                          <a:pt x="0" y="6280"/>
                        </a:lnTo>
                        <a:lnTo>
                          <a:pt x="1376" y="6041"/>
                        </a:lnTo>
                        <a:lnTo>
                          <a:pt x="3828" y="3768"/>
                        </a:lnTo>
                        <a:close/>
                      </a:path>
                    </a:pathLst>
                  </a:custGeom>
                  <a:noFill/>
                  <a:ln w="6350" cap="flat">
                    <a:solidFill>
                      <a:schemeClr val="bg1">
                        <a:alpha val="40000"/>
                      </a:schemeClr>
                    </a:solidFill>
                    <a:prstDash val="solid"/>
                    <a:miter/>
                  </a:ln>
                </p:spPr>
                <p:txBody>
                  <a:bodyPr rtlCol="0" anchor="ctr"/>
                  <a:lstStyle/>
                  <a:p>
                    <a:endParaRPr lang="en-GB"/>
                  </a:p>
                </p:txBody>
              </p:sp>
              <p:sp>
                <p:nvSpPr>
                  <p:cNvPr id="7067" name="Vrije vorm: vorm 7066">
                    <a:extLst>
                      <a:ext uri="{FF2B5EF4-FFF2-40B4-BE49-F238E27FC236}">
                        <a16:creationId xmlns:a16="http://schemas.microsoft.com/office/drawing/2014/main" id="{501383D3-B53A-497A-B3E8-220446007394}"/>
                      </a:ext>
                    </a:extLst>
                  </p:cNvPr>
                  <p:cNvSpPr/>
                  <p:nvPr/>
                </p:nvSpPr>
                <p:spPr>
                  <a:xfrm>
                    <a:off x="7612222" y="2555782"/>
                    <a:ext cx="7177" cy="6220"/>
                  </a:xfrm>
                  <a:custGeom>
                    <a:avLst/>
                    <a:gdLst>
                      <a:gd name="connsiteX0" fmla="*/ 7177 w 7177"/>
                      <a:gd name="connsiteY0" fmla="*/ 598 h 6220"/>
                      <a:gd name="connsiteX1" fmla="*/ 6698 w 7177"/>
                      <a:gd name="connsiteY1" fmla="*/ 0 h 6220"/>
                      <a:gd name="connsiteX2" fmla="*/ 0 w 7177"/>
                      <a:gd name="connsiteY2" fmla="*/ 6220 h 6220"/>
                      <a:gd name="connsiteX3" fmla="*/ 1316 w 7177"/>
                      <a:gd name="connsiteY3" fmla="*/ 5981 h 6220"/>
                    </a:gdLst>
                    <a:ahLst/>
                    <a:cxnLst>
                      <a:cxn ang="0">
                        <a:pos x="connsiteX0" y="connsiteY0"/>
                      </a:cxn>
                      <a:cxn ang="0">
                        <a:pos x="connsiteX1" y="connsiteY1"/>
                      </a:cxn>
                      <a:cxn ang="0">
                        <a:pos x="connsiteX2" y="connsiteY2"/>
                      </a:cxn>
                      <a:cxn ang="0">
                        <a:pos x="connsiteX3" y="connsiteY3"/>
                      </a:cxn>
                    </a:cxnLst>
                    <a:rect l="l" t="t" r="r" b="b"/>
                    <a:pathLst>
                      <a:path w="7177" h="6220">
                        <a:moveTo>
                          <a:pt x="7177" y="598"/>
                        </a:moveTo>
                        <a:lnTo>
                          <a:pt x="6698" y="0"/>
                        </a:lnTo>
                        <a:lnTo>
                          <a:pt x="0" y="6220"/>
                        </a:lnTo>
                        <a:lnTo>
                          <a:pt x="1316" y="5981"/>
                        </a:lnTo>
                        <a:close/>
                      </a:path>
                    </a:pathLst>
                  </a:custGeom>
                  <a:noFill/>
                  <a:ln w="6350" cap="flat">
                    <a:solidFill>
                      <a:schemeClr val="bg1">
                        <a:alpha val="40000"/>
                      </a:schemeClr>
                    </a:solidFill>
                    <a:prstDash val="solid"/>
                    <a:miter/>
                  </a:ln>
                </p:spPr>
                <p:txBody>
                  <a:bodyPr rtlCol="0" anchor="ctr"/>
                  <a:lstStyle/>
                  <a:p>
                    <a:endParaRPr lang="en-GB"/>
                  </a:p>
                </p:txBody>
              </p:sp>
              <p:sp>
                <p:nvSpPr>
                  <p:cNvPr id="7068" name="Vrije vorm: vorm 7067">
                    <a:extLst>
                      <a:ext uri="{FF2B5EF4-FFF2-40B4-BE49-F238E27FC236}">
                        <a16:creationId xmlns:a16="http://schemas.microsoft.com/office/drawing/2014/main" id="{06319F6C-6684-4C41-A68A-9806CC3289FB}"/>
                      </a:ext>
                    </a:extLst>
                  </p:cNvPr>
                  <p:cNvSpPr/>
                  <p:nvPr/>
                </p:nvSpPr>
                <p:spPr>
                  <a:xfrm>
                    <a:off x="7648167" y="2526775"/>
                    <a:ext cx="3409" cy="2093"/>
                  </a:xfrm>
                  <a:custGeom>
                    <a:avLst/>
                    <a:gdLst>
                      <a:gd name="connsiteX0" fmla="*/ 0 w 3409"/>
                      <a:gd name="connsiteY0" fmla="*/ 2093 h 2093"/>
                      <a:gd name="connsiteX1" fmla="*/ 1375 w 3409"/>
                      <a:gd name="connsiteY1" fmla="*/ 1854 h 2093"/>
                      <a:gd name="connsiteX2" fmla="*/ 3409 w 3409"/>
                      <a:gd name="connsiteY2" fmla="*/ 0 h 2093"/>
                      <a:gd name="connsiteX3" fmla="*/ 2033 w 3409"/>
                      <a:gd name="connsiteY3" fmla="*/ 239 h 2093"/>
                    </a:gdLst>
                    <a:ahLst/>
                    <a:cxnLst>
                      <a:cxn ang="0">
                        <a:pos x="connsiteX0" y="connsiteY0"/>
                      </a:cxn>
                      <a:cxn ang="0">
                        <a:pos x="connsiteX1" y="connsiteY1"/>
                      </a:cxn>
                      <a:cxn ang="0">
                        <a:pos x="connsiteX2" y="connsiteY2"/>
                      </a:cxn>
                      <a:cxn ang="0">
                        <a:pos x="connsiteX3" y="connsiteY3"/>
                      </a:cxn>
                    </a:cxnLst>
                    <a:rect l="l" t="t" r="r" b="b"/>
                    <a:pathLst>
                      <a:path w="3409" h="2093">
                        <a:moveTo>
                          <a:pt x="0" y="2093"/>
                        </a:moveTo>
                        <a:lnTo>
                          <a:pt x="1375" y="1854"/>
                        </a:lnTo>
                        <a:lnTo>
                          <a:pt x="3409" y="0"/>
                        </a:lnTo>
                        <a:lnTo>
                          <a:pt x="2033" y="239"/>
                        </a:lnTo>
                        <a:close/>
                      </a:path>
                    </a:pathLst>
                  </a:custGeom>
                  <a:noFill/>
                  <a:ln w="6350" cap="flat">
                    <a:solidFill>
                      <a:schemeClr val="bg1">
                        <a:alpha val="40000"/>
                      </a:schemeClr>
                    </a:solidFill>
                    <a:prstDash val="solid"/>
                    <a:miter/>
                  </a:ln>
                </p:spPr>
                <p:txBody>
                  <a:bodyPr rtlCol="0" anchor="ctr"/>
                  <a:lstStyle/>
                  <a:p>
                    <a:endParaRPr lang="en-GB"/>
                  </a:p>
                </p:txBody>
              </p:sp>
              <p:sp>
                <p:nvSpPr>
                  <p:cNvPr id="7069" name="Vrije vorm: vorm 7068">
                    <a:extLst>
                      <a:ext uri="{FF2B5EF4-FFF2-40B4-BE49-F238E27FC236}">
                        <a16:creationId xmlns:a16="http://schemas.microsoft.com/office/drawing/2014/main" id="{8BCB6E2A-BD09-466D-BD97-C55199EA2DB7}"/>
                      </a:ext>
                    </a:extLst>
                  </p:cNvPr>
                  <p:cNvSpPr/>
                  <p:nvPr/>
                </p:nvSpPr>
                <p:spPr>
                  <a:xfrm>
                    <a:off x="7620117" y="2493164"/>
                    <a:ext cx="3288" cy="2033"/>
                  </a:xfrm>
                  <a:custGeom>
                    <a:avLst/>
                    <a:gdLst>
                      <a:gd name="connsiteX0" fmla="*/ 0 w 3288"/>
                      <a:gd name="connsiteY0" fmla="*/ 2033 h 2033"/>
                      <a:gd name="connsiteX1" fmla="*/ 1375 w 3288"/>
                      <a:gd name="connsiteY1" fmla="*/ 1794 h 2033"/>
                      <a:gd name="connsiteX2" fmla="*/ 3289 w 3288"/>
                      <a:gd name="connsiteY2" fmla="*/ 0 h 2033"/>
                      <a:gd name="connsiteX3" fmla="*/ 1914 w 3288"/>
                      <a:gd name="connsiteY3" fmla="*/ 239 h 2033"/>
                    </a:gdLst>
                    <a:ahLst/>
                    <a:cxnLst>
                      <a:cxn ang="0">
                        <a:pos x="connsiteX0" y="connsiteY0"/>
                      </a:cxn>
                      <a:cxn ang="0">
                        <a:pos x="connsiteX1" y="connsiteY1"/>
                      </a:cxn>
                      <a:cxn ang="0">
                        <a:pos x="connsiteX2" y="connsiteY2"/>
                      </a:cxn>
                      <a:cxn ang="0">
                        <a:pos x="connsiteX3" y="connsiteY3"/>
                      </a:cxn>
                    </a:cxnLst>
                    <a:rect l="l" t="t" r="r" b="b"/>
                    <a:pathLst>
                      <a:path w="3288" h="2033">
                        <a:moveTo>
                          <a:pt x="0" y="2033"/>
                        </a:moveTo>
                        <a:lnTo>
                          <a:pt x="1375" y="1794"/>
                        </a:lnTo>
                        <a:lnTo>
                          <a:pt x="3289" y="0"/>
                        </a:lnTo>
                        <a:lnTo>
                          <a:pt x="1914" y="239"/>
                        </a:lnTo>
                        <a:close/>
                      </a:path>
                    </a:pathLst>
                  </a:custGeom>
                  <a:noFill/>
                  <a:ln w="6350" cap="flat">
                    <a:solidFill>
                      <a:schemeClr val="bg1">
                        <a:alpha val="40000"/>
                      </a:schemeClr>
                    </a:solidFill>
                    <a:prstDash val="solid"/>
                    <a:miter/>
                  </a:ln>
                </p:spPr>
                <p:txBody>
                  <a:bodyPr rtlCol="0" anchor="ctr"/>
                  <a:lstStyle/>
                  <a:p>
                    <a:endParaRPr lang="en-GB"/>
                  </a:p>
                </p:txBody>
              </p:sp>
              <p:sp>
                <p:nvSpPr>
                  <p:cNvPr id="7070" name="Vrije vorm: vorm 7069">
                    <a:extLst>
                      <a:ext uri="{FF2B5EF4-FFF2-40B4-BE49-F238E27FC236}">
                        <a16:creationId xmlns:a16="http://schemas.microsoft.com/office/drawing/2014/main" id="{4DC29E47-427F-4FC1-919B-34C4273D246B}"/>
                      </a:ext>
                    </a:extLst>
                  </p:cNvPr>
                  <p:cNvSpPr/>
                  <p:nvPr/>
                </p:nvSpPr>
                <p:spPr>
                  <a:xfrm>
                    <a:off x="7608634" y="2499742"/>
                    <a:ext cx="6997" cy="5980"/>
                  </a:xfrm>
                  <a:custGeom>
                    <a:avLst/>
                    <a:gdLst>
                      <a:gd name="connsiteX0" fmla="*/ 6998 w 6997"/>
                      <a:gd name="connsiteY0" fmla="*/ 598 h 5980"/>
                      <a:gd name="connsiteX1" fmla="*/ 6519 w 6997"/>
                      <a:gd name="connsiteY1" fmla="*/ 0 h 5980"/>
                      <a:gd name="connsiteX2" fmla="*/ 0 w 6997"/>
                      <a:gd name="connsiteY2" fmla="*/ 5981 h 5980"/>
                      <a:gd name="connsiteX3" fmla="*/ 1375 w 6997"/>
                      <a:gd name="connsiteY3" fmla="*/ 5741 h 5980"/>
                    </a:gdLst>
                    <a:ahLst/>
                    <a:cxnLst>
                      <a:cxn ang="0">
                        <a:pos x="connsiteX0" y="connsiteY0"/>
                      </a:cxn>
                      <a:cxn ang="0">
                        <a:pos x="connsiteX1" y="connsiteY1"/>
                      </a:cxn>
                      <a:cxn ang="0">
                        <a:pos x="connsiteX2" y="connsiteY2"/>
                      </a:cxn>
                      <a:cxn ang="0">
                        <a:pos x="connsiteX3" y="connsiteY3"/>
                      </a:cxn>
                    </a:cxnLst>
                    <a:rect l="l" t="t" r="r" b="b"/>
                    <a:pathLst>
                      <a:path w="6997" h="5980">
                        <a:moveTo>
                          <a:pt x="6998" y="598"/>
                        </a:moveTo>
                        <a:lnTo>
                          <a:pt x="6519" y="0"/>
                        </a:lnTo>
                        <a:lnTo>
                          <a:pt x="0" y="5981"/>
                        </a:lnTo>
                        <a:lnTo>
                          <a:pt x="1375" y="5741"/>
                        </a:lnTo>
                        <a:close/>
                      </a:path>
                    </a:pathLst>
                  </a:custGeom>
                  <a:noFill/>
                  <a:ln w="6350" cap="flat">
                    <a:solidFill>
                      <a:schemeClr val="bg1">
                        <a:alpha val="40000"/>
                      </a:schemeClr>
                    </a:solidFill>
                    <a:prstDash val="solid"/>
                    <a:miter/>
                  </a:ln>
                </p:spPr>
                <p:txBody>
                  <a:bodyPr rtlCol="0" anchor="ctr"/>
                  <a:lstStyle/>
                  <a:p>
                    <a:endParaRPr lang="en-GB"/>
                  </a:p>
                </p:txBody>
              </p:sp>
              <p:sp>
                <p:nvSpPr>
                  <p:cNvPr id="7071" name="Vrije vorm: vorm 7070">
                    <a:extLst>
                      <a:ext uri="{FF2B5EF4-FFF2-40B4-BE49-F238E27FC236}">
                        <a16:creationId xmlns:a16="http://schemas.microsoft.com/office/drawing/2014/main" id="{FB86396A-12DB-4625-8409-B2958C46EB5B}"/>
                      </a:ext>
                    </a:extLst>
                  </p:cNvPr>
                  <p:cNvSpPr/>
                  <p:nvPr/>
                </p:nvSpPr>
                <p:spPr>
                  <a:xfrm>
                    <a:off x="7597211" y="2510268"/>
                    <a:ext cx="6937" cy="5980"/>
                  </a:xfrm>
                  <a:custGeom>
                    <a:avLst/>
                    <a:gdLst>
                      <a:gd name="connsiteX0" fmla="*/ 6938 w 6937"/>
                      <a:gd name="connsiteY0" fmla="*/ 598 h 5980"/>
                      <a:gd name="connsiteX1" fmla="*/ 6460 w 6937"/>
                      <a:gd name="connsiteY1" fmla="*/ 0 h 5980"/>
                      <a:gd name="connsiteX2" fmla="*/ 419 w 6937"/>
                      <a:gd name="connsiteY2" fmla="*/ 5622 h 5980"/>
                      <a:gd name="connsiteX3" fmla="*/ 0 w 6937"/>
                      <a:gd name="connsiteY3" fmla="*/ 5981 h 5980"/>
                      <a:gd name="connsiteX4" fmla="*/ 599 w 6937"/>
                      <a:gd name="connsiteY4" fmla="*/ 5861 h 5980"/>
                      <a:gd name="connsiteX5" fmla="*/ 1316 w 6937"/>
                      <a:gd name="connsiteY5" fmla="*/ 5742 h 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7" h="5980">
                        <a:moveTo>
                          <a:pt x="6938" y="598"/>
                        </a:moveTo>
                        <a:lnTo>
                          <a:pt x="6460" y="0"/>
                        </a:lnTo>
                        <a:lnTo>
                          <a:pt x="419" y="5622"/>
                        </a:lnTo>
                        <a:lnTo>
                          <a:pt x="0" y="5981"/>
                        </a:lnTo>
                        <a:lnTo>
                          <a:pt x="599" y="5861"/>
                        </a:lnTo>
                        <a:lnTo>
                          <a:pt x="1316" y="5742"/>
                        </a:lnTo>
                        <a:close/>
                      </a:path>
                    </a:pathLst>
                  </a:custGeom>
                  <a:noFill/>
                  <a:ln w="6350" cap="flat">
                    <a:solidFill>
                      <a:schemeClr val="bg1">
                        <a:alpha val="40000"/>
                      </a:schemeClr>
                    </a:solidFill>
                    <a:prstDash val="solid"/>
                    <a:miter/>
                  </a:ln>
                </p:spPr>
                <p:txBody>
                  <a:bodyPr rtlCol="0" anchor="ctr"/>
                  <a:lstStyle/>
                  <a:p>
                    <a:endParaRPr lang="en-GB"/>
                  </a:p>
                </p:txBody>
              </p:sp>
              <p:sp>
                <p:nvSpPr>
                  <p:cNvPr id="7072" name="Vrije vorm: vorm 7071">
                    <a:extLst>
                      <a:ext uri="{FF2B5EF4-FFF2-40B4-BE49-F238E27FC236}">
                        <a16:creationId xmlns:a16="http://schemas.microsoft.com/office/drawing/2014/main" id="{B1DABEAD-2BC0-4092-86B4-A2BD73733504}"/>
                      </a:ext>
                    </a:extLst>
                  </p:cNvPr>
                  <p:cNvSpPr/>
                  <p:nvPr/>
                </p:nvSpPr>
                <p:spPr>
                  <a:xfrm>
                    <a:off x="7585788" y="2520854"/>
                    <a:ext cx="6877" cy="5920"/>
                  </a:xfrm>
                  <a:custGeom>
                    <a:avLst/>
                    <a:gdLst>
                      <a:gd name="connsiteX0" fmla="*/ 6877 w 6877"/>
                      <a:gd name="connsiteY0" fmla="*/ 538 h 5920"/>
                      <a:gd name="connsiteX1" fmla="*/ 6459 w 6877"/>
                      <a:gd name="connsiteY1" fmla="*/ 0 h 5920"/>
                      <a:gd name="connsiteX2" fmla="*/ 0 w 6877"/>
                      <a:gd name="connsiteY2" fmla="*/ 5921 h 5920"/>
                      <a:gd name="connsiteX3" fmla="*/ 1375 w 6877"/>
                      <a:gd name="connsiteY3" fmla="*/ 5682 h 5920"/>
                    </a:gdLst>
                    <a:ahLst/>
                    <a:cxnLst>
                      <a:cxn ang="0">
                        <a:pos x="connsiteX0" y="connsiteY0"/>
                      </a:cxn>
                      <a:cxn ang="0">
                        <a:pos x="connsiteX1" y="connsiteY1"/>
                      </a:cxn>
                      <a:cxn ang="0">
                        <a:pos x="connsiteX2" y="connsiteY2"/>
                      </a:cxn>
                      <a:cxn ang="0">
                        <a:pos x="connsiteX3" y="connsiteY3"/>
                      </a:cxn>
                    </a:cxnLst>
                    <a:rect l="l" t="t" r="r" b="b"/>
                    <a:pathLst>
                      <a:path w="6877" h="5920">
                        <a:moveTo>
                          <a:pt x="6877" y="538"/>
                        </a:moveTo>
                        <a:lnTo>
                          <a:pt x="6459" y="0"/>
                        </a:lnTo>
                        <a:lnTo>
                          <a:pt x="0" y="5921"/>
                        </a:lnTo>
                        <a:lnTo>
                          <a:pt x="1375" y="5682"/>
                        </a:lnTo>
                        <a:close/>
                      </a:path>
                    </a:pathLst>
                  </a:custGeom>
                  <a:noFill/>
                  <a:ln w="6350" cap="flat">
                    <a:solidFill>
                      <a:schemeClr val="bg1">
                        <a:alpha val="40000"/>
                      </a:schemeClr>
                    </a:solidFill>
                    <a:prstDash val="solid"/>
                    <a:miter/>
                  </a:ln>
                </p:spPr>
                <p:txBody>
                  <a:bodyPr rtlCol="0" anchor="ctr"/>
                  <a:lstStyle/>
                  <a:p>
                    <a:endParaRPr lang="en-GB"/>
                  </a:p>
                </p:txBody>
              </p:sp>
              <p:sp>
                <p:nvSpPr>
                  <p:cNvPr id="7073" name="Vrije vorm: vorm 7072">
                    <a:extLst>
                      <a:ext uri="{FF2B5EF4-FFF2-40B4-BE49-F238E27FC236}">
                        <a16:creationId xmlns:a16="http://schemas.microsoft.com/office/drawing/2014/main" id="{5D588E36-4E46-4AB7-B8CE-B0AF9B3F1615}"/>
                      </a:ext>
                    </a:extLst>
                  </p:cNvPr>
                  <p:cNvSpPr/>
                  <p:nvPr/>
                </p:nvSpPr>
                <p:spPr>
                  <a:xfrm>
                    <a:off x="7594520" y="2462483"/>
                    <a:ext cx="3169" cy="1913"/>
                  </a:xfrm>
                  <a:custGeom>
                    <a:avLst/>
                    <a:gdLst>
                      <a:gd name="connsiteX0" fmla="*/ 0 w 3169"/>
                      <a:gd name="connsiteY0" fmla="*/ 1914 h 1913"/>
                      <a:gd name="connsiteX1" fmla="*/ 1375 w 3169"/>
                      <a:gd name="connsiteY1" fmla="*/ 1675 h 1913"/>
                      <a:gd name="connsiteX2" fmla="*/ 3170 w 3169"/>
                      <a:gd name="connsiteY2" fmla="*/ 0 h 1913"/>
                      <a:gd name="connsiteX3" fmla="*/ 1854 w 3169"/>
                      <a:gd name="connsiteY3" fmla="*/ 239 h 1913"/>
                    </a:gdLst>
                    <a:ahLst/>
                    <a:cxnLst>
                      <a:cxn ang="0">
                        <a:pos x="connsiteX0" y="connsiteY0"/>
                      </a:cxn>
                      <a:cxn ang="0">
                        <a:pos x="connsiteX1" y="connsiteY1"/>
                      </a:cxn>
                      <a:cxn ang="0">
                        <a:pos x="connsiteX2" y="connsiteY2"/>
                      </a:cxn>
                      <a:cxn ang="0">
                        <a:pos x="connsiteX3" y="connsiteY3"/>
                      </a:cxn>
                    </a:cxnLst>
                    <a:rect l="l" t="t" r="r" b="b"/>
                    <a:pathLst>
                      <a:path w="3169" h="1913">
                        <a:moveTo>
                          <a:pt x="0" y="1914"/>
                        </a:moveTo>
                        <a:lnTo>
                          <a:pt x="1375" y="1675"/>
                        </a:lnTo>
                        <a:lnTo>
                          <a:pt x="3170" y="0"/>
                        </a:lnTo>
                        <a:lnTo>
                          <a:pt x="1854" y="239"/>
                        </a:lnTo>
                        <a:close/>
                      </a:path>
                    </a:pathLst>
                  </a:custGeom>
                  <a:noFill/>
                  <a:ln w="6350" cap="flat">
                    <a:solidFill>
                      <a:schemeClr val="bg1">
                        <a:alpha val="40000"/>
                      </a:schemeClr>
                    </a:solidFill>
                    <a:prstDash val="solid"/>
                    <a:miter/>
                  </a:ln>
                </p:spPr>
                <p:txBody>
                  <a:bodyPr rtlCol="0" anchor="ctr"/>
                  <a:lstStyle/>
                  <a:p>
                    <a:endParaRPr lang="en-GB"/>
                  </a:p>
                </p:txBody>
              </p:sp>
              <p:sp>
                <p:nvSpPr>
                  <p:cNvPr id="7074" name="Vrije vorm: vorm 7073">
                    <a:extLst>
                      <a:ext uri="{FF2B5EF4-FFF2-40B4-BE49-F238E27FC236}">
                        <a16:creationId xmlns:a16="http://schemas.microsoft.com/office/drawing/2014/main" id="{6C08689D-A19C-47DC-B3E4-FC441A41F7B1}"/>
                      </a:ext>
                    </a:extLst>
                  </p:cNvPr>
                  <p:cNvSpPr/>
                  <p:nvPr/>
                </p:nvSpPr>
                <p:spPr>
                  <a:xfrm>
                    <a:off x="7583575" y="2468762"/>
                    <a:ext cx="6638" cy="5741"/>
                  </a:xfrm>
                  <a:custGeom>
                    <a:avLst/>
                    <a:gdLst>
                      <a:gd name="connsiteX0" fmla="*/ 6639 w 6638"/>
                      <a:gd name="connsiteY0" fmla="*/ 598 h 5741"/>
                      <a:gd name="connsiteX1" fmla="*/ 6160 w 6638"/>
                      <a:gd name="connsiteY1" fmla="*/ 0 h 5741"/>
                      <a:gd name="connsiteX2" fmla="*/ 0 w 6638"/>
                      <a:gd name="connsiteY2" fmla="*/ 5741 h 5741"/>
                      <a:gd name="connsiteX3" fmla="*/ 1316 w 6638"/>
                      <a:gd name="connsiteY3" fmla="*/ 5502 h 5741"/>
                    </a:gdLst>
                    <a:ahLst/>
                    <a:cxnLst>
                      <a:cxn ang="0">
                        <a:pos x="connsiteX0" y="connsiteY0"/>
                      </a:cxn>
                      <a:cxn ang="0">
                        <a:pos x="connsiteX1" y="connsiteY1"/>
                      </a:cxn>
                      <a:cxn ang="0">
                        <a:pos x="connsiteX2" y="connsiteY2"/>
                      </a:cxn>
                      <a:cxn ang="0">
                        <a:pos x="connsiteX3" y="connsiteY3"/>
                      </a:cxn>
                    </a:cxnLst>
                    <a:rect l="l" t="t" r="r" b="b"/>
                    <a:pathLst>
                      <a:path w="6638" h="5741">
                        <a:moveTo>
                          <a:pt x="6639" y="598"/>
                        </a:moveTo>
                        <a:lnTo>
                          <a:pt x="6160" y="0"/>
                        </a:lnTo>
                        <a:lnTo>
                          <a:pt x="0" y="5741"/>
                        </a:lnTo>
                        <a:lnTo>
                          <a:pt x="1316" y="5502"/>
                        </a:lnTo>
                        <a:close/>
                      </a:path>
                    </a:pathLst>
                  </a:custGeom>
                  <a:noFill/>
                  <a:ln w="6350" cap="flat">
                    <a:solidFill>
                      <a:schemeClr val="bg1">
                        <a:alpha val="40000"/>
                      </a:schemeClr>
                    </a:solidFill>
                    <a:prstDash val="solid"/>
                    <a:miter/>
                  </a:ln>
                </p:spPr>
                <p:txBody>
                  <a:bodyPr rtlCol="0" anchor="ctr"/>
                  <a:lstStyle/>
                  <a:p>
                    <a:endParaRPr lang="en-GB"/>
                  </a:p>
                </p:txBody>
              </p:sp>
              <p:sp>
                <p:nvSpPr>
                  <p:cNvPr id="7075" name="Vrije vorm: vorm 7074">
                    <a:extLst>
                      <a:ext uri="{FF2B5EF4-FFF2-40B4-BE49-F238E27FC236}">
                        <a16:creationId xmlns:a16="http://schemas.microsoft.com/office/drawing/2014/main" id="{D0CD28C1-0924-4BA7-9964-5C2D7ACCA1CB}"/>
                      </a:ext>
                    </a:extLst>
                  </p:cNvPr>
                  <p:cNvSpPr/>
                  <p:nvPr/>
                </p:nvSpPr>
                <p:spPr>
                  <a:xfrm>
                    <a:off x="7572630" y="2478870"/>
                    <a:ext cx="6638" cy="5741"/>
                  </a:xfrm>
                  <a:custGeom>
                    <a:avLst/>
                    <a:gdLst>
                      <a:gd name="connsiteX0" fmla="*/ 6639 w 6638"/>
                      <a:gd name="connsiteY0" fmla="*/ 598 h 5741"/>
                      <a:gd name="connsiteX1" fmla="*/ 6160 w 6638"/>
                      <a:gd name="connsiteY1" fmla="*/ 0 h 5741"/>
                      <a:gd name="connsiteX2" fmla="*/ 0 w 6638"/>
                      <a:gd name="connsiteY2" fmla="*/ 5742 h 5741"/>
                      <a:gd name="connsiteX3" fmla="*/ 1316 w 6638"/>
                      <a:gd name="connsiteY3" fmla="*/ 5442 h 5741"/>
                    </a:gdLst>
                    <a:ahLst/>
                    <a:cxnLst>
                      <a:cxn ang="0">
                        <a:pos x="connsiteX0" y="connsiteY0"/>
                      </a:cxn>
                      <a:cxn ang="0">
                        <a:pos x="connsiteX1" y="connsiteY1"/>
                      </a:cxn>
                      <a:cxn ang="0">
                        <a:pos x="connsiteX2" y="connsiteY2"/>
                      </a:cxn>
                      <a:cxn ang="0">
                        <a:pos x="connsiteX3" y="connsiteY3"/>
                      </a:cxn>
                    </a:cxnLst>
                    <a:rect l="l" t="t" r="r" b="b"/>
                    <a:pathLst>
                      <a:path w="6638" h="5741">
                        <a:moveTo>
                          <a:pt x="6639" y="598"/>
                        </a:moveTo>
                        <a:lnTo>
                          <a:pt x="6160" y="0"/>
                        </a:lnTo>
                        <a:lnTo>
                          <a:pt x="0" y="5742"/>
                        </a:lnTo>
                        <a:lnTo>
                          <a:pt x="1316" y="5442"/>
                        </a:lnTo>
                        <a:close/>
                      </a:path>
                    </a:pathLst>
                  </a:custGeom>
                  <a:noFill/>
                  <a:ln w="6350" cap="flat">
                    <a:solidFill>
                      <a:schemeClr val="bg1">
                        <a:alpha val="40000"/>
                      </a:schemeClr>
                    </a:solidFill>
                    <a:prstDash val="solid"/>
                    <a:miter/>
                  </a:ln>
                </p:spPr>
                <p:txBody>
                  <a:bodyPr rtlCol="0" anchor="ctr"/>
                  <a:lstStyle/>
                  <a:p>
                    <a:endParaRPr lang="en-GB"/>
                  </a:p>
                </p:txBody>
              </p:sp>
              <p:sp>
                <p:nvSpPr>
                  <p:cNvPr id="7076" name="Vrije vorm: vorm 7075">
                    <a:extLst>
                      <a:ext uri="{FF2B5EF4-FFF2-40B4-BE49-F238E27FC236}">
                        <a16:creationId xmlns:a16="http://schemas.microsoft.com/office/drawing/2014/main" id="{DA94CEEE-D040-4A81-AA57-680FA08A23BD}"/>
                      </a:ext>
                    </a:extLst>
                  </p:cNvPr>
                  <p:cNvSpPr/>
                  <p:nvPr/>
                </p:nvSpPr>
                <p:spPr>
                  <a:xfrm>
                    <a:off x="7561686" y="2488917"/>
                    <a:ext cx="6638" cy="5681"/>
                  </a:xfrm>
                  <a:custGeom>
                    <a:avLst/>
                    <a:gdLst>
                      <a:gd name="connsiteX0" fmla="*/ 6639 w 6638"/>
                      <a:gd name="connsiteY0" fmla="*/ 598 h 5681"/>
                      <a:gd name="connsiteX1" fmla="*/ 6160 w 6638"/>
                      <a:gd name="connsiteY1" fmla="*/ 0 h 5681"/>
                      <a:gd name="connsiteX2" fmla="*/ 0 w 6638"/>
                      <a:gd name="connsiteY2" fmla="*/ 5682 h 5681"/>
                      <a:gd name="connsiteX3" fmla="*/ 1375 w 6638"/>
                      <a:gd name="connsiteY3" fmla="*/ 5442 h 5681"/>
                    </a:gdLst>
                    <a:ahLst/>
                    <a:cxnLst>
                      <a:cxn ang="0">
                        <a:pos x="connsiteX0" y="connsiteY0"/>
                      </a:cxn>
                      <a:cxn ang="0">
                        <a:pos x="connsiteX1" y="connsiteY1"/>
                      </a:cxn>
                      <a:cxn ang="0">
                        <a:pos x="connsiteX2" y="connsiteY2"/>
                      </a:cxn>
                      <a:cxn ang="0">
                        <a:pos x="connsiteX3" y="connsiteY3"/>
                      </a:cxn>
                    </a:cxnLst>
                    <a:rect l="l" t="t" r="r" b="b"/>
                    <a:pathLst>
                      <a:path w="6638" h="5681">
                        <a:moveTo>
                          <a:pt x="6639" y="598"/>
                        </a:moveTo>
                        <a:lnTo>
                          <a:pt x="6160" y="0"/>
                        </a:lnTo>
                        <a:lnTo>
                          <a:pt x="0" y="5682"/>
                        </a:lnTo>
                        <a:lnTo>
                          <a:pt x="1375" y="5442"/>
                        </a:lnTo>
                        <a:close/>
                      </a:path>
                    </a:pathLst>
                  </a:custGeom>
                  <a:noFill/>
                  <a:ln w="6350" cap="flat">
                    <a:solidFill>
                      <a:schemeClr val="bg1">
                        <a:alpha val="40000"/>
                      </a:schemeClr>
                    </a:solidFill>
                    <a:prstDash val="solid"/>
                    <a:miter/>
                  </a:ln>
                </p:spPr>
                <p:txBody>
                  <a:bodyPr rtlCol="0" anchor="ctr"/>
                  <a:lstStyle/>
                  <a:p>
                    <a:endParaRPr lang="en-GB"/>
                  </a:p>
                </p:txBody>
              </p:sp>
              <p:sp>
                <p:nvSpPr>
                  <p:cNvPr id="7077" name="Vrije vorm: vorm 7076">
                    <a:extLst>
                      <a:ext uri="{FF2B5EF4-FFF2-40B4-BE49-F238E27FC236}">
                        <a16:creationId xmlns:a16="http://schemas.microsoft.com/office/drawing/2014/main" id="{47DA2368-02D3-4D9B-88A4-BF8F5D623120}"/>
                      </a:ext>
                    </a:extLst>
                  </p:cNvPr>
                  <p:cNvSpPr/>
                  <p:nvPr/>
                </p:nvSpPr>
                <p:spPr>
                  <a:xfrm>
                    <a:off x="7571075" y="2434433"/>
                    <a:ext cx="3110" cy="1854"/>
                  </a:xfrm>
                  <a:custGeom>
                    <a:avLst/>
                    <a:gdLst>
                      <a:gd name="connsiteX0" fmla="*/ 0 w 3110"/>
                      <a:gd name="connsiteY0" fmla="*/ 1854 h 1854"/>
                      <a:gd name="connsiteX1" fmla="*/ 1375 w 3110"/>
                      <a:gd name="connsiteY1" fmla="*/ 1615 h 1854"/>
                      <a:gd name="connsiteX2" fmla="*/ 3110 w 3110"/>
                      <a:gd name="connsiteY2" fmla="*/ 0 h 1854"/>
                      <a:gd name="connsiteX3" fmla="*/ 1795 w 3110"/>
                      <a:gd name="connsiteY3" fmla="*/ 239 h 1854"/>
                    </a:gdLst>
                    <a:ahLst/>
                    <a:cxnLst>
                      <a:cxn ang="0">
                        <a:pos x="connsiteX0" y="connsiteY0"/>
                      </a:cxn>
                      <a:cxn ang="0">
                        <a:pos x="connsiteX1" y="connsiteY1"/>
                      </a:cxn>
                      <a:cxn ang="0">
                        <a:pos x="connsiteX2" y="connsiteY2"/>
                      </a:cxn>
                      <a:cxn ang="0">
                        <a:pos x="connsiteX3" y="connsiteY3"/>
                      </a:cxn>
                    </a:cxnLst>
                    <a:rect l="l" t="t" r="r" b="b"/>
                    <a:pathLst>
                      <a:path w="3110" h="1854">
                        <a:moveTo>
                          <a:pt x="0" y="1854"/>
                        </a:moveTo>
                        <a:lnTo>
                          <a:pt x="1375" y="1615"/>
                        </a:lnTo>
                        <a:lnTo>
                          <a:pt x="3110" y="0"/>
                        </a:lnTo>
                        <a:lnTo>
                          <a:pt x="1795" y="239"/>
                        </a:lnTo>
                        <a:close/>
                      </a:path>
                    </a:pathLst>
                  </a:custGeom>
                  <a:noFill/>
                  <a:ln w="6350" cap="flat">
                    <a:solidFill>
                      <a:schemeClr val="bg1">
                        <a:alpha val="40000"/>
                      </a:schemeClr>
                    </a:solidFill>
                    <a:prstDash val="solid"/>
                    <a:miter/>
                  </a:ln>
                </p:spPr>
                <p:txBody>
                  <a:bodyPr rtlCol="0" anchor="ctr"/>
                  <a:lstStyle/>
                  <a:p>
                    <a:endParaRPr lang="en-GB"/>
                  </a:p>
                </p:txBody>
              </p:sp>
              <p:sp>
                <p:nvSpPr>
                  <p:cNvPr id="7078" name="Vrije vorm: vorm 7077">
                    <a:extLst>
                      <a:ext uri="{FF2B5EF4-FFF2-40B4-BE49-F238E27FC236}">
                        <a16:creationId xmlns:a16="http://schemas.microsoft.com/office/drawing/2014/main" id="{93C2A0D1-B216-473F-81EE-C852BCB96CB0}"/>
                      </a:ext>
                    </a:extLst>
                  </p:cNvPr>
                  <p:cNvSpPr/>
                  <p:nvPr/>
                </p:nvSpPr>
                <p:spPr>
                  <a:xfrm>
                    <a:off x="7560609" y="2440474"/>
                    <a:ext cx="6399" cy="5502"/>
                  </a:xfrm>
                  <a:custGeom>
                    <a:avLst/>
                    <a:gdLst>
                      <a:gd name="connsiteX0" fmla="*/ 6400 w 6399"/>
                      <a:gd name="connsiteY0" fmla="*/ 598 h 5502"/>
                      <a:gd name="connsiteX1" fmla="*/ 5921 w 6399"/>
                      <a:gd name="connsiteY1" fmla="*/ 0 h 5502"/>
                      <a:gd name="connsiteX2" fmla="*/ 0 w 6399"/>
                      <a:gd name="connsiteY2" fmla="*/ 5502 h 5502"/>
                      <a:gd name="connsiteX3" fmla="*/ 1375 w 6399"/>
                      <a:gd name="connsiteY3" fmla="*/ 5203 h 5502"/>
                    </a:gdLst>
                    <a:ahLst/>
                    <a:cxnLst>
                      <a:cxn ang="0">
                        <a:pos x="connsiteX0" y="connsiteY0"/>
                      </a:cxn>
                      <a:cxn ang="0">
                        <a:pos x="connsiteX1" y="connsiteY1"/>
                      </a:cxn>
                      <a:cxn ang="0">
                        <a:pos x="connsiteX2" y="connsiteY2"/>
                      </a:cxn>
                      <a:cxn ang="0">
                        <a:pos x="connsiteX3" y="connsiteY3"/>
                      </a:cxn>
                    </a:cxnLst>
                    <a:rect l="l" t="t" r="r" b="b"/>
                    <a:pathLst>
                      <a:path w="6399" h="5502">
                        <a:moveTo>
                          <a:pt x="6400" y="598"/>
                        </a:moveTo>
                        <a:lnTo>
                          <a:pt x="5921" y="0"/>
                        </a:lnTo>
                        <a:lnTo>
                          <a:pt x="0" y="5502"/>
                        </a:lnTo>
                        <a:lnTo>
                          <a:pt x="1375" y="5203"/>
                        </a:lnTo>
                        <a:close/>
                      </a:path>
                    </a:pathLst>
                  </a:custGeom>
                  <a:noFill/>
                  <a:ln w="6350" cap="flat">
                    <a:solidFill>
                      <a:schemeClr val="bg1">
                        <a:alpha val="40000"/>
                      </a:schemeClr>
                    </a:solidFill>
                    <a:prstDash val="solid"/>
                    <a:miter/>
                  </a:ln>
                </p:spPr>
                <p:txBody>
                  <a:bodyPr rtlCol="0" anchor="ctr"/>
                  <a:lstStyle/>
                  <a:p>
                    <a:endParaRPr lang="en-GB"/>
                  </a:p>
                </p:txBody>
              </p:sp>
              <p:sp>
                <p:nvSpPr>
                  <p:cNvPr id="7079" name="Vrije vorm: vorm 7078">
                    <a:extLst>
                      <a:ext uri="{FF2B5EF4-FFF2-40B4-BE49-F238E27FC236}">
                        <a16:creationId xmlns:a16="http://schemas.microsoft.com/office/drawing/2014/main" id="{B7E2E362-95F0-4B8B-8B49-A3751D7BC409}"/>
                      </a:ext>
                    </a:extLst>
                  </p:cNvPr>
                  <p:cNvSpPr/>
                  <p:nvPr/>
                </p:nvSpPr>
                <p:spPr>
                  <a:xfrm>
                    <a:off x="7550083" y="2450102"/>
                    <a:ext cx="6459" cy="5502"/>
                  </a:xfrm>
                  <a:custGeom>
                    <a:avLst/>
                    <a:gdLst>
                      <a:gd name="connsiteX0" fmla="*/ 6460 w 6459"/>
                      <a:gd name="connsiteY0" fmla="*/ 598 h 5502"/>
                      <a:gd name="connsiteX1" fmla="*/ 5981 w 6459"/>
                      <a:gd name="connsiteY1" fmla="*/ 0 h 5502"/>
                      <a:gd name="connsiteX2" fmla="*/ 0 w 6459"/>
                      <a:gd name="connsiteY2" fmla="*/ 5502 h 5502"/>
                      <a:gd name="connsiteX3" fmla="*/ 1376 w 6459"/>
                      <a:gd name="connsiteY3" fmla="*/ 5263 h 5502"/>
                    </a:gdLst>
                    <a:ahLst/>
                    <a:cxnLst>
                      <a:cxn ang="0">
                        <a:pos x="connsiteX0" y="connsiteY0"/>
                      </a:cxn>
                      <a:cxn ang="0">
                        <a:pos x="connsiteX1" y="connsiteY1"/>
                      </a:cxn>
                      <a:cxn ang="0">
                        <a:pos x="connsiteX2" y="connsiteY2"/>
                      </a:cxn>
                      <a:cxn ang="0">
                        <a:pos x="connsiteX3" y="connsiteY3"/>
                      </a:cxn>
                    </a:cxnLst>
                    <a:rect l="l" t="t" r="r" b="b"/>
                    <a:pathLst>
                      <a:path w="6459" h="5502">
                        <a:moveTo>
                          <a:pt x="6460" y="598"/>
                        </a:moveTo>
                        <a:lnTo>
                          <a:pt x="5981" y="0"/>
                        </a:lnTo>
                        <a:lnTo>
                          <a:pt x="0" y="5502"/>
                        </a:lnTo>
                        <a:lnTo>
                          <a:pt x="1376" y="5263"/>
                        </a:lnTo>
                        <a:close/>
                      </a:path>
                    </a:pathLst>
                  </a:custGeom>
                  <a:noFill/>
                  <a:ln w="6350" cap="flat">
                    <a:solidFill>
                      <a:schemeClr val="bg1">
                        <a:alpha val="40000"/>
                      </a:schemeClr>
                    </a:solidFill>
                    <a:prstDash val="solid"/>
                    <a:miter/>
                  </a:ln>
                </p:spPr>
                <p:txBody>
                  <a:bodyPr rtlCol="0" anchor="ctr"/>
                  <a:lstStyle/>
                  <a:p>
                    <a:endParaRPr lang="en-GB"/>
                  </a:p>
                </p:txBody>
              </p:sp>
              <p:sp>
                <p:nvSpPr>
                  <p:cNvPr id="7080" name="Vrije vorm: vorm 7079">
                    <a:extLst>
                      <a:ext uri="{FF2B5EF4-FFF2-40B4-BE49-F238E27FC236}">
                        <a16:creationId xmlns:a16="http://schemas.microsoft.com/office/drawing/2014/main" id="{A3DFD16A-1D60-40AF-980E-16E13DB41D35}"/>
                      </a:ext>
                    </a:extLst>
                  </p:cNvPr>
                  <p:cNvSpPr/>
                  <p:nvPr/>
                </p:nvSpPr>
                <p:spPr>
                  <a:xfrm>
                    <a:off x="7539676" y="2459791"/>
                    <a:ext cx="6339" cy="5442"/>
                  </a:xfrm>
                  <a:custGeom>
                    <a:avLst/>
                    <a:gdLst>
                      <a:gd name="connsiteX0" fmla="*/ 6340 w 6339"/>
                      <a:gd name="connsiteY0" fmla="*/ 598 h 5442"/>
                      <a:gd name="connsiteX1" fmla="*/ 5921 w 6339"/>
                      <a:gd name="connsiteY1" fmla="*/ 0 h 5442"/>
                      <a:gd name="connsiteX2" fmla="*/ 5742 w 6339"/>
                      <a:gd name="connsiteY2" fmla="*/ 120 h 5442"/>
                      <a:gd name="connsiteX3" fmla="*/ 0 w 6339"/>
                      <a:gd name="connsiteY3" fmla="*/ 5442 h 5442"/>
                      <a:gd name="connsiteX4" fmla="*/ 1375 w 6339"/>
                      <a:gd name="connsiteY4" fmla="*/ 5143 h 5442"/>
                      <a:gd name="connsiteX5" fmla="*/ 6220 w 6339"/>
                      <a:gd name="connsiteY5" fmla="*/ 658 h 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9" h="5442">
                        <a:moveTo>
                          <a:pt x="6340" y="598"/>
                        </a:moveTo>
                        <a:lnTo>
                          <a:pt x="5921" y="0"/>
                        </a:lnTo>
                        <a:lnTo>
                          <a:pt x="5742" y="120"/>
                        </a:lnTo>
                        <a:lnTo>
                          <a:pt x="0" y="5442"/>
                        </a:lnTo>
                        <a:lnTo>
                          <a:pt x="1375" y="5143"/>
                        </a:lnTo>
                        <a:lnTo>
                          <a:pt x="6220" y="658"/>
                        </a:lnTo>
                        <a:close/>
                      </a:path>
                    </a:pathLst>
                  </a:custGeom>
                  <a:noFill/>
                  <a:ln w="6350" cap="flat">
                    <a:solidFill>
                      <a:schemeClr val="bg1">
                        <a:alpha val="40000"/>
                      </a:schemeClr>
                    </a:solidFill>
                    <a:prstDash val="solid"/>
                    <a:miter/>
                  </a:ln>
                </p:spPr>
                <p:txBody>
                  <a:bodyPr rtlCol="0" anchor="ctr"/>
                  <a:lstStyle/>
                  <a:p>
                    <a:endParaRPr lang="en-GB"/>
                  </a:p>
                </p:txBody>
              </p:sp>
              <p:sp>
                <p:nvSpPr>
                  <p:cNvPr id="7081" name="Vrije vorm: vorm 7080">
                    <a:extLst>
                      <a:ext uri="{FF2B5EF4-FFF2-40B4-BE49-F238E27FC236}">
                        <a16:creationId xmlns:a16="http://schemas.microsoft.com/office/drawing/2014/main" id="{33038FBA-3E6D-4C56-93F4-06EBBBAB1192}"/>
                      </a:ext>
                    </a:extLst>
                  </p:cNvPr>
                  <p:cNvSpPr/>
                  <p:nvPr/>
                </p:nvSpPr>
                <p:spPr>
                  <a:xfrm>
                    <a:off x="7549604" y="2408656"/>
                    <a:ext cx="2990" cy="1794"/>
                  </a:xfrm>
                  <a:custGeom>
                    <a:avLst/>
                    <a:gdLst>
                      <a:gd name="connsiteX0" fmla="*/ 0 w 2990"/>
                      <a:gd name="connsiteY0" fmla="*/ 1794 h 1794"/>
                      <a:gd name="connsiteX1" fmla="*/ 1316 w 2990"/>
                      <a:gd name="connsiteY1" fmla="*/ 1555 h 1794"/>
                      <a:gd name="connsiteX2" fmla="*/ 2572 w 2990"/>
                      <a:gd name="connsiteY2" fmla="*/ 359 h 1794"/>
                      <a:gd name="connsiteX3" fmla="*/ 2990 w 2990"/>
                      <a:gd name="connsiteY3" fmla="*/ 0 h 1794"/>
                      <a:gd name="connsiteX4" fmla="*/ 2333 w 2990"/>
                      <a:gd name="connsiteY4" fmla="*/ 120 h 1794"/>
                      <a:gd name="connsiteX5" fmla="*/ 1675 w 2990"/>
                      <a:gd name="connsiteY5" fmla="*/ 239 h 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0" h="1794">
                        <a:moveTo>
                          <a:pt x="0" y="1794"/>
                        </a:moveTo>
                        <a:lnTo>
                          <a:pt x="1316" y="1555"/>
                        </a:lnTo>
                        <a:lnTo>
                          <a:pt x="2572" y="359"/>
                        </a:lnTo>
                        <a:lnTo>
                          <a:pt x="2990" y="0"/>
                        </a:lnTo>
                        <a:lnTo>
                          <a:pt x="2333" y="120"/>
                        </a:lnTo>
                        <a:lnTo>
                          <a:pt x="1675" y="239"/>
                        </a:lnTo>
                        <a:close/>
                      </a:path>
                    </a:pathLst>
                  </a:custGeom>
                  <a:noFill/>
                  <a:ln w="6350" cap="flat">
                    <a:solidFill>
                      <a:schemeClr val="bg1">
                        <a:alpha val="40000"/>
                      </a:schemeClr>
                    </a:solidFill>
                    <a:prstDash val="solid"/>
                    <a:miter/>
                  </a:ln>
                </p:spPr>
                <p:txBody>
                  <a:bodyPr rtlCol="0" anchor="ctr"/>
                  <a:lstStyle/>
                  <a:p>
                    <a:endParaRPr lang="en-GB"/>
                  </a:p>
                </p:txBody>
              </p:sp>
              <p:sp>
                <p:nvSpPr>
                  <p:cNvPr id="7082" name="Vrije vorm: vorm 7081">
                    <a:extLst>
                      <a:ext uri="{FF2B5EF4-FFF2-40B4-BE49-F238E27FC236}">
                        <a16:creationId xmlns:a16="http://schemas.microsoft.com/office/drawing/2014/main" id="{D1FF518A-6FF8-4261-82C1-C0328CAE0906}"/>
                      </a:ext>
                    </a:extLst>
                  </p:cNvPr>
                  <p:cNvSpPr/>
                  <p:nvPr/>
                </p:nvSpPr>
                <p:spPr>
                  <a:xfrm>
                    <a:off x="7539497" y="2414457"/>
                    <a:ext cx="6159" cy="5263"/>
                  </a:xfrm>
                  <a:custGeom>
                    <a:avLst/>
                    <a:gdLst>
                      <a:gd name="connsiteX0" fmla="*/ 6160 w 6159"/>
                      <a:gd name="connsiteY0" fmla="*/ 598 h 5263"/>
                      <a:gd name="connsiteX1" fmla="*/ 5741 w 6159"/>
                      <a:gd name="connsiteY1" fmla="*/ 0 h 5263"/>
                      <a:gd name="connsiteX2" fmla="*/ 0 w 6159"/>
                      <a:gd name="connsiteY2" fmla="*/ 5263 h 5263"/>
                      <a:gd name="connsiteX3" fmla="*/ 1375 w 6159"/>
                      <a:gd name="connsiteY3" fmla="*/ 5024 h 5263"/>
                    </a:gdLst>
                    <a:ahLst/>
                    <a:cxnLst>
                      <a:cxn ang="0">
                        <a:pos x="connsiteX0" y="connsiteY0"/>
                      </a:cxn>
                      <a:cxn ang="0">
                        <a:pos x="connsiteX1" y="connsiteY1"/>
                      </a:cxn>
                      <a:cxn ang="0">
                        <a:pos x="connsiteX2" y="connsiteY2"/>
                      </a:cxn>
                      <a:cxn ang="0">
                        <a:pos x="connsiteX3" y="connsiteY3"/>
                      </a:cxn>
                    </a:cxnLst>
                    <a:rect l="l" t="t" r="r" b="b"/>
                    <a:pathLst>
                      <a:path w="6159" h="5263">
                        <a:moveTo>
                          <a:pt x="6160" y="598"/>
                        </a:moveTo>
                        <a:lnTo>
                          <a:pt x="5741" y="0"/>
                        </a:lnTo>
                        <a:lnTo>
                          <a:pt x="0" y="5263"/>
                        </a:lnTo>
                        <a:lnTo>
                          <a:pt x="1375" y="5024"/>
                        </a:lnTo>
                        <a:close/>
                      </a:path>
                    </a:pathLst>
                  </a:custGeom>
                  <a:noFill/>
                  <a:ln w="6350" cap="flat">
                    <a:solidFill>
                      <a:schemeClr val="bg1">
                        <a:alpha val="40000"/>
                      </a:schemeClr>
                    </a:solidFill>
                    <a:prstDash val="solid"/>
                    <a:miter/>
                  </a:ln>
                </p:spPr>
                <p:txBody>
                  <a:bodyPr rtlCol="0" anchor="ctr"/>
                  <a:lstStyle/>
                  <a:p>
                    <a:endParaRPr lang="en-GB"/>
                  </a:p>
                </p:txBody>
              </p:sp>
              <p:sp>
                <p:nvSpPr>
                  <p:cNvPr id="7083" name="Vrije vorm: vorm 7082">
                    <a:extLst>
                      <a:ext uri="{FF2B5EF4-FFF2-40B4-BE49-F238E27FC236}">
                        <a16:creationId xmlns:a16="http://schemas.microsoft.com/office/drawing/2014/main" id="{AB51090B-457F-4E26-8E5F-926E16304AEE}"/>
                      </a:ext>
                    </a:extLst>
                  </p:cNvPr>
                  <p:cNvSpPr/>
                  <p:nvPr/>
                </p:nvSpPr>
                <p:spPr>
                  <a:xfrm>
                    <a:off x="7529449" y="2423727"/>
                    <a:ext cx="6160" cy="5263"/>
                  </a:xfrm>
                  <a:custGeom>
                    <a:avLst/>
                    <a:gdLst>
                      <a:gd name="connsiteX0" fmla="*/ 6160 w 6160"/>
                      <a:gd name="connsiteY0" fmla="*/ 538 h 5263"/>
                      <a:gd name="connsiteX1" fmla="*/ 5681 w 6160"/>
                      <a:gd name="connsiteY1" fmla="*/ 0 h 5263"/>
                      <a:gd name="connsiteX2" fmla="*/ 0 w 6160"/>
                      <a:gd name="connsiteY2" fmla="*/ 5263 h 5263"/>
                      <a:gd name="connsiteX3" fmla="*/ 1375 w 6160"/>
                      <a:gd name="connsiteY3" fmla="*/ 4964 h 5263"/>
                    </a:gdLst>
                    <a:ahLst/>
                    <a:cxnLst>
                      <a:cxn ang="0">
                        <a:pos x="connsiteX0" y="connsiteY0"/>
                      </a:cxn>
                      <a:cxn ang="0">
                        <a:pos x="connsiteX1" y="connsiteY1"/>
                      </a:cxn>
                      <a:cxn ang="0">
                        <a:pos x="connsiteX2" y="connsiteY2"/>
                      </a:cxn>
                      <a:cxn ang="0">
                        <a:pos x="connsiteX3" y="connsiteY3"/>
                      </a:cxn>
                    </a:cxnLst>
                    <a:rect l="l" t="t" r="r" b="b"/>
                    <a:pathLst>
                      <a:path w="6160" h="5263">
                        <a:moveTo>
                          <a:pt x="6160" y="538"/>
                        </a:moveTo>
                        <a:lnTo>
                          <a:pt x="5681" y="0"/>
                        </a:lnTo>
                        <a:lnTo>
                          <a:pt x="0" y="5263"/>
                        </a:lnTo>
                        <a:lnTo>
                          <a:pt x="1375" y="4964"/>
                        </a:lnTo>
                        <a:close/>
                      </a:path>
                    </a:pathLst>
                  </a:custGeom>
                  <a:noFill/>
                  <a:ln w="6350" cap="flat">
                    <a:solidFill>
                      <a:schemeClr val="bg1">
                        <a:alpha val="40000"/>
                      </a:schemeClr>
                    </a:solidFill>
                    <a:prstDash val="solid"/>
                    <a:miter/>
                  </a:ln>
                </p:spPr>
                <p:txBody>
                  <a:bodyPr rtlCol="0" anchor="ctr"/>
                  <a:lstStyle/>
                  <a:p>
                    <a:endParaRPr lang="en-GB"/>
                  </a:p>
                </p:txBody>
              </p:sp>
              <p:sp>
                <p:nvSpPr>
                  <p:cNvPr id="7084" name="Vrije vorm: vorm 7083">
                    <a:extLst>
                      <a:ext uri="{FF2B5EF4-FFF2-40B4-BE49-F238E27FC236}">
                        <a16:creationId xmlns:a16="http://schemas.microsoft.com/office/drawing/2014/main" id="{5BA8D993-E1B3-4B87-8A4E-3E385D0F1F0D}"/>
                      </a:ext>
                    </a:extLst>
                  </p:cNvPr>
                  <p:cNvSpPr/>
                  <p:nvPr/>
                </p:nvSpPr>
                <p:spPr>
                  <a:xfrm>
                    <a:off x="7519402" y="2432998"/>
                    <a:ext cx="6100" cy="5203"/>
                  </a:xfrm>
                  <a:custGeom>
                    <a:avLst/>
                    <a:gdLst>
                      <a:gd name="connsiteX0" fmla="*/ 6100 w 6100"/>
                      <a:gd name="connsiteY0" fmla="*/ 598 h 5203"/>
                      <a:gd name="connsiteX1" fmla="*/ 5682 w 6100"/>
                      <a:gd name="connsiteY1" fmla="*/ 0 h 5203"/>
                      <a:gd name="connsiteX2" fmla="*/ 3110 w 6100"/>
                      <a:gd name="connsiteY2" fmla="*/ 2392 h 5203"/>
                      <a:gd name="connsiteX3" fmla="*/ 0 w 6100"/>
                      <a:gd name="connsiteY3" fmla="*/ 5203 h 5203"/>
                      <a:gd name="connsiteX4" fmla="*/ 1376 w 6100"/>
                      <a:gd name="connsiteY4" fmla="*/ 4964 h 5203"/>
                      <a:gd name="connsiteX5" fmla="*/ 3589 w 6100"/>
                      <a:gd name="connsiteY5" fmla="*/ 2871 h 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00" h="5203">
                        <a:moveTo>
                          <a:pt x="6100" y="598"/>
                        </a:moveTo>
                        <a:lnTo>
                          <a:pt x="5682" y="0"/>
                        </a:lnTo>
                        <a:lnTo>
                          <a:pt x="3110" y="2392"/>
                        </a:lnTo>
                        <a:lnTo>
                          <a:pt x="0" y="5203"/>
                        </a:lnTo>
                        <a:lnTo>
                          <a:pt x="1376" y="4964"/>
                        </a:lnTo>
                        <a:lnTo>
                          <a:pt x="3589" y="2871"/>
                        </a:lnTo>
                        <a:close/>
                      </a:path>
                    </a:pathLst>
                  </a:custGeom>
                  <a:noFill/>
                  <a:ln w="6350" cap="flat">
                    <a:solidFill>
                      <a:schemeClr val="bg1">
                        <a:alpha val="40000"/>
                      </a:schemeClr>
                    </a:solidFill>
                    <a:prstDash val="solid"/>
                    <a:miter/>
                  </a:ln>
                </p:spPr>
                <p:txBody>
                  <a:bodyPr rtlCol="0" anchor="ctr"/>
                  <a:lstStyle/>
                  <a:p>
                    <a:endParaRPr lang="en-GB"/>
                  </a:p>
                </p:txBody>
              </p:sp>
            </p:grpSp>
          </p:grpSp>
          <p:grpSp>
            <p:nvGrpSpPr>
              <p:cNvPr id="5358" name="Graphic 3">
                <a:extLst>
                  <a:ext uri="{FF2B5EF4-FFF2-40B4-BE49-F238E27FC236}">
                    <a16:creationId xmlns:a16="http://schemas.microsoft.com/office/drawing/2014/main" id="{9311A988-172F-4471-8789-BB8DF411B04C}"/>
                  </a:ext>
                </a:extLst>
              </p:cNvPr>
              <p:cNvGrpSpPr/>
              <p:nvPr/>
            </p:nvGrpSpPr>
            <p:grpSpPr>
              <a:xfrm>
                <a:off x="6592689" y="1684929"/>
                <a:ext cx="514521" cy="447058"/>
                <a:chOff x="6592689" y="1684929"/>
                <a:chExt cx="514521" cy="447058"/>
              </a:xfrm>
              <a:noFill/>
            </p:grpSpPr>
            <p:sp>
              <p:nvSpPr>
                <p:cNvPr id="6360" name="Vrije vorm: vorm 6359">
                  <a:extLst>
                    <a:ext uri="{FF2B5EF4-FFF2-40B4-BE49-F238E27FC236}">
                      <a16:creationId xmlns:a16="http://schemas.microsoft.com/office/drawing/2014/main" id="{4AC8874F-E4D6-48AC-A90E-B36F148272A4}"/>
                    </a:ext>
                  </a:extLst>
                </p:cNvPr>
                <p:cNvSpPr/>
                <p:nvPr/>
              </p:nvSpPr>
              <p:spPr>
                <a:xfrm>
                  <a:off x="6896510" y="1863693"/>
                  <a:ext cx="5143" cy="777"/>
                </a:xfrm>
                <a:custGeom>
                  <a:avLst/>
                  <a:gdLst>
                    <a:gd name="connsiteX0" fmla="*/ 5143 w 5143"/>
                    <a:gd name="connsiteY0" fmla="*/ 0 h 777"/>
                    <a:gd name="connsiteX1" fmla="*/ 4306 w 5143"/>
                    <a:gd name="connsiteY1" fmla="*/ 120 h 777"/>
                    <a:gd name="connsiteX2" fmla="*/ 0 w 5143"/>
                    <a:gd name="connsiteY2" fmla="*/ 778 h 777"/>
                  </a:gdLst>
                  <a:ahLst/>
                  <a:cxnLst>
                    <a:cxn ang="0">
                      <a:pos x="connsiteX0" y="connsiteY0"/>
                    </a:cxn>
                    <a:cxn ang="0">
                      <a:pos x="connsiteX1" y="connsiteY1"/>
                    </a:cxn>
                    <a:cxn ang="0">
                      <a:pos x="connsiteX2" y="connsiteY2"/>
                    </a:cxn>
                  </a:cxnLst>
                  <a:rect l="l" t="t" r="r" b="b"/>
                  <a:pathLst>
                    <a:path w="5143" h="777">
                      <a:moveTo>
                        <a:pt x="5143" y="0"/>
                      </a:moveTo>
                      <a:lnTo>
                        <a:pt x="4306" y="120"/>
                      </a:lnTo>
                      <a:lnTo>
                        <a:pt x="0" y="778"/>
                      </a:lnTo>
                    </a:path>
                  </a:pathLst>
                </a:custGeom>
                <a:noFill/>
                <a:ln w="6350" cap="rnd">
                  <a:solidFill>
                    <a:schemeClr val="bg1">
                      <a:alpha val="40000"/>
                    </a:schemeClr>
                  </a:solidFill>
                  <a:prstDash val="solid"/>
                  <a:round/>
                </a:ln>
              </p:spPr>
              <p:txBody>
                <a:bodyPr rtlCol="0" anchor="ctr"/>
                <a:lstStyle/>
                <a:p>
                  <a:endParaRPr lang="en-GB"/>
                </a:p>
              </p:txBody>
            </p:sp>
            <p:sp>
              <p:nvSpPr>
                <p:cNvPr id="6361" name="Vrije vorm: vorm 6360">
                  <a:extLst>
                    <a:ext uri="{FF2B5EF4-FFF2-40B4-BE49-F238E27FC236}">
                      <a16:creationId xmlns:a16="http://schemas.microsoft.com/office/drawing/2014/main" id="{C938CBAA-9EF3-42FB-9031-B92209EC03E9}"/>
                    </a:ext>
                  </a:extLst>
                </p:cNvPr>
                <p:cNvSpPr/>
                <p:nvPr/>
              </p:nvSpPr>
              <p:spPr>
                <a:xfrm>
                  <a:off x="6895911" y="1860583"/>
                  <a:ext cx="4964" cy="358"/>
                </a:xfrm>
                <a:custGeom>
                  <a:avLst/>
                  <a:gdLst>
                    <a:gd name="connsiteX0" fmla="*/ 4964 w 4964"/>
                    <a:gd name="connsiteY0" fmla="*/ 0 h 358"/>
                    <a:gd name="connsiteX1" fmla="*/ 0 w 4964"/>
                    <a:gd name="connsiteY1" fmla="*/ 359 h 358"/>
                  </a:gdLst>
                  <a:ahLst/>
                  <a:cxnLst>
                    <a:cxn ang="0">
                      <a:pos x="connsiteX0" y="connsiteY0"/>
                    </a:cxn>
                    <a:cxn ang="0">
                      <a:pos x="connsiteX1" y="connsiteY1"/>
                    </a:cxn>
                  </a:cxnLst>
                  <a:rect l="l" t="t" r="r" b="b"/>
                  <a:pathLst>
                    <a:path w="4964" h="358">
                      <a:moveTo>
                        <a:pt x="4964" y="0"/>
                      </a:moveTo>
                      <a:lnTo>
                        <a:pt x="0" y="359"/>
                      </a:lnTo>
                    </a:path>
                  </a:pathLst>
                </a:custGeom>
                <a:noFill/>
                <a:ln w="6350" cap="rnd">
                  <a:solidFill>
                    <a:schemeClr val="bg1">
                      <a:alpha val="40000"/>
                    </a:schemeClr>
                  </a:solidFill>
                  <a:prstDash val="solid"/>
                  <a:round/>
                </a:ln>
              </p:spPr>
              <p:txBody>
                <a:bodyPr rtlCol="0" anchor="ctr"/>
                <a:lstStyle/>
                <a:p>
                  <a:endParaRPr lang="en-GB"/>
                </a:p>
              </p:txBody>
            </p:sp>
            <p:sp>
              <p:nvSpPr>
                <p:cNvPr id="6362" name="Vrije vorm: vorm 6361">
                  <a:extLst>
                    <a:ext uri="{FF2B5EF4-FFF2-40B4-BE49-F238E27FC236}">
                      <a16:creationId xmlns:a16="http://schemas.microsoft.com/office/drawing/2014/main" id="{FF860C82-E231-413B-A3F0-F05FE26F0BDB}"/>
                    </a:ext>
                  </a:extLst>
                </p:cNvPr>
                <p:cNvSpPr/>
                <p:nvPr/>
              </p:nvSpPr>
              <p:spPr>
                <a:xfrm>
                  <a:off x="6840709" y="1897185"/>
                  <a:ext cx="419" cy="598"/>
                </a:xfrm>
                <a:custGeom>
                  <a:avLst/>
                  <a:gdLst>
                    <a:gd name="connsiteX0" fmla="*/ 419 w 419"/>
                    <a:gd name="connsiteY0" fmla="*/ 0 h 598"/>
                    <a:gd name="connsiteX1" fmla="*/ 0 w 419"/>
                    <a:gd name="connsiteY1" fmla="*/ 120 h 598"/>
                    <a:gd name="connsiteX2" fmla="*/ 0 w 419"/>
                    <a:gd name="connsiteY2" fmla="*/ 598 h 598"/>
                  </a:gdLst>
                  <a:ahLst/>
                  <a:cxnLst>
                    <a:cxn ang="0">
                      <a:pos x="connsiteX0" y="connsiteY0"/>
                    </a:cxn>
                    <a:cxn ang="0">
                      <a:pos x="connsiteX1" y="connsiteY1"/>
                    </a:cxn>
                    <a:cxn ang="0">
                      <a:pos x="connsiteX2" y="connsiteY2"/>
                    </a:cxn>
                  </a:cxnLst>
                  <a:rect l="l" t="t" r="r" b="b"/>
                  <a:pathLst>
                    <a:path w="419" h="598">
                      <a:moveTo>
                        <a:pt x="419" y="0"/>
                      </a:moveTo>
                      <a:lnTo>
                        <a:pt x="0" y="120"/>
                      </a:lnTo>
                      <a:lnTo>
                        <a:pt x="0" y="598"/>
                      </a:lnTo>
                    </a:path>
                  </a:pathLst>
                </a:custGeom>
                <a:noFill/>
                <a:ln w="6350" cap="rnd">
                  <a:solidFill>
                    <a:schemeClr val="bg1">
                      <a:alpha val="40000"/>
                    </a:schemeClr>
                  </a:solidFill>
                  <a:prstDash val="solid"/>
                  <a:round/>
                </a:ln>
              </p:spPr>
              <p:txBody>
                <a:bodyPr rtlCol="0" anchor="ctr"/>
                <a:lstStyle/>
                <a:p>
                  <a:endParaRPr lang="en-GB"/>
                </a:p>
              </p:txBody>
            </p:sp>
            <p:sp>
              <p:nvSpPr>
                <p:cNvPr id="6363" name="Vrije vorm: vorm 6362">
                  <a:extLst>
                    <a:ext uri="{FF2B5EF4-FFF2-40B4-BE49-F238E27FC236}">
                      <a16:creationId xmlns:a16="http://schemas.microsoft.com/office/drawing/2014/main" id="{FF744F25-099B-4B4F-B461-A4A43750C32C}"/>
                    </a:ext>
                  </a:extLst>
                </p:cNvPr>
                <p:cNvSpPr/>
                <p:nvPr/>
              </p:nvSpPr>
              <p:spPr>
                <a:xfrm>
                  <a:off x="6845554" y="1764891"/>
                  <a:ext cx="24640" cy="14772"/>
                </a:xfrm>
                <a:custGeom>
                  <a:avLst/>
                  <a:gdLst>
                    <a:gd name="connsiteX0" fmla="*/ 0 w 24640"/>
                    <a:gd name="connsiteY0" fmla="*/ 0 h 14772"/>
                    <a:gd name="connsiteX1" fmla="*/ 1256 w 24640"/>
                    <a:gd name="connsiteY1" fmla="*/ 718 h 14772"/>
                    <a:gd name="connsiteX2" fmla="*/ 6219 w 24640"/>
                    <a:gd name="connsiteY2" fmla="*/ 3648 h 14772"/>
                    <a:gd name="connsiteX3" fmla="*/ 11244 w 24640"/>
                    <a:gd name="connsiteY3" fmla="*/ 6639 h 14772"/>
                    <a:gd name="connsiteX4" fmla="*/ 16686 w 24640"/>
                    <a:gd name="connsiteY4" fmla="*/ 9928 h 14772"/>
                    <a:gd name="connsiteX5" fmla="*/ 17344 w 24640"/>
                    <a:gd name="connsiteY5" fmla="*/ 10347 h 14772"/>
                    <a:gd name="connsiteX6" fmla="*/ 19497 w 24640"/>
                    <a:gd name="connsiteY6" fmla="*/ 11662 h 14772"/>
                    <a:gd name="connsiteX7" fmla="*/ 22069 w 24640"/>
                    <a:gd name="connsiteY7" fmla="*/ 13217 h 14772"/>
                    <a:gd name="connsiteX8" fmla="*/ 23444 w 24640"/>
                    <a:gd name="connsiteY8" fmla="*/ 14055 h 14772"/>
                    <a:gd name="connsiteX9" fmla="*/ 23564 w 24640"/>
                    <a:gd name="connsiteY9" fmla="*/ 14115 h 14772"/>
                    <a:gd name="connsiteX10" fmla="*/ 24641 w 24640"/>
                    <a:gd name="connsiteY10" fmla="*/ 14772 h 1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40" h="14772">
                      <a:moveTo>
                        <a:pt x="0" y="0"/>
                      </a:moveTo>
                      <a:lnTo>
                        <a:pt x="1256" y="718"/>
                      </a:lnTo>
                      <a:lnTo>
                        <a:pt x="6219" y="3648"/>
                      </a:lnTo>
                      <a:lnTo>
                        <a:pt x="11244" y="6639"/>
                      </a:lnTo>
                      <a:lnTo>
                        <a:pt x="16686" y="9928"/>
                      </a:lnTo>
                      <a:lnTo>
                        <a:pt x="17344" y="10347"/>
                      </a:lnTo>
                      <a:lnTo>
                        <a:pt x="19497" y="11662"/>
                      </a:lnTo>
                      <a:lnTo>
                        <a:pt x="22069" y="13217"/>
                      </a:lnTo>
                      <a:lnTo>
                        <a:pt x="23444" y="14055"/>
                      </a:lnTo>
                      <a:lnTo>
                        <a:pt x="23564" y="14115"/>
                      </a:lnTo>
                      <a:lnTo>
                        <a:pt x="24641" y="14772"/>
                      </a:lnTo>
                    </a:path>
                  </a:pathLst>
                </a:custGeom>
                <a:noFill/>
                <a:ln w="6350" cap="rnd">
                  <a:solidFill>
                    <a:schemeClr val="bg1">
                      <a:alpha val="40000"/>
                    </a:schemeClr>
                  </a:solidFill>
                  <a:prstDash val="solid"/>
                  <a:round/>
                </a:ln>
              </p:spPr>
              <p:txBody>
                <a:bodyPr rtlCol="0" anchor="ctr"/>
                <a:lstStyle/>
                <a:p>
                  <a:endParaRPr lang="en-GB"/>
                </a:p>
              </p:txBody>
            </p:sp>
            <p:sp>
              <p:nvSpPr>
                <p:cNvPr id="6364" name="Vrije vorm: vorm 6363">
                  <a:extLst>
                    <a:ext uri="{FF2B5EF4-FFF2-40B4-BE49-F238E27FC236}">
                      <a16:creationId xmlns:a16="http://schemas.microsoft.com/office/drawing/2014/main" id="{A79253A4-EFA3-4246-ADBC-9E382B822995}"/>
                    </a:ext>
                  </a:extLst>
                </p:cNvPr>
                <p:cNvSpPr/>
                <p:nvPr/>
              </p:nvSpPr>
              <p:spPr>
                <a:xfrm>
                  <a:off x="7067199" y="1810405"/>
                  <a:ext cx="2452" cy="777"/>
                </a:xfrm>
                <a:custGeom>
                  <a:avLst/>
                  <a:gdLst>
                    <a:gd name="connsiteX0" fmla="*/ 2452 w 2452"/>
                    <a:gd name="connsiteY0" fmla="*/ 0 h 777"/>
                    <a:gd name="connsiteX1" fmla="*/ 1854 w 2452"/>
                    <a:gd name="connsiteY1" fmla="*/ 778 h 777"/>
                    <a:gd name="connsiteX2" fmla="*/ 1854 w 2452"/>
                    <a:gd name="connsiteY2" fmla="*/ 778 h 777"/>
                    <a:gd name="connsiteX3" fmla="*/ 239 w 2452"/>
                    <a:gd name="connsiteY3" fmla="*/ 179 h 777"/>
                    <a:gd name="connsiteX4" fmla="*/ 239 w 2452"/>
                    <a:gd name="connsiteY4" fmla="*/ 179 h 777"/>
                    <a:gd name="connsiteX5" fmla="*/ 239 w 2452"/>
                    <a:gd name="connsiteY5" fmla="*/ 179 h 777"/>
                    <a:gd name="connsiteX6" fmla="*/ 120 w 2452"/>
                    <a:gd name="connsiteY6" fmla="*/ 120 h 777"/>
                    <a:gd name="connsiteX7" fmla="*/ 0 w 2452"/>
                    <a:gd name="connsiteY7" fmla="*/ 60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2" h="777">
                      <a:moveTo>
                        <a:pt x="2452" y="0"/>
                      </a:moveTo>
                      <a:lnTo>
                        <a:pt x="1854" y="778"/>
                      </a:lnTo>
                      <a:lnTo>
                        <a:pt x="1854" y="778"/>
                      </a:lnTo>
                      <a:lnTo>
                        <a:pt x="239" y="179"/>
                      </a:lnTo>
                      <a:lnTo>
                        <a:pt x="239" y="179"/>
                      </a:lnTo>
                      <a:lnTo>
                        <a:pt x="239" y="179"/>
                      </a:lnTo>
                      <a:lnTo>
                        <a:pt x="120" y="120"/>
                      </a:lnTo>
                      <a:lnTo>
                        <a:pt x="0" y="60"/>
                      </a:lnTo>
                    </a:path>
                  </a:pathLst>
                </a:custGeom>
                <a:noFill/>
                <a:ln w="6350" cap="rnd">
                  <a:solidFill>
                    <a:schemeClr val="bg1">
                      <a:alpha val="40000"/>
                    </a:schemeClr>
                  </a:solidFill>
                  <a:prstDash val="solid"/>
                  <a:round/>
                </a:ln>
              </p:spPr>
              <p:txBody>
                <a:bodyPr rtlCol="0" anchor="ctr"/>
                <a:lstStyle/>
                <a:p>
                  <a:endParaRPr lang="en-GB"/>
                </a:p>
              </p:txBody>
            </p:sp>
            <p:sp>
              <p:nvSpPr>
                <p:cNvPr id="6365" name="Vrije vorm: vorm 6364">
                  <a:extLst>
                    <a:ext uri="{FF2B5EF4-FFF2-40B4-BE49-F238E27FC236}">
                      <a16:creationId xmlns:a16="http://schemas.microsoft.com/office/drawing/2014/main" id="{30D56FAB-537B-46C5-9B09-FFABD0CC21BC}"/>
                    </a:ext>
                  </a:extLst>
                </p:cNvPr>
                <p:cNvSpPr/>
                <p:nvPr/>
              </p:nvSpPr>
              <p:spPr>
                <a:xfrm>
                  <a:off x="6878448" y="1704785"/>
                  <a:ext cx="29963" cy="27391"/>
                </a:xfrm>
                <a:custGeom>
                  <a:avLst/>
                  <a:gdLst>
                    <a:gd name="connsiteX0" fmla="*/ 29963 w 29963"/>
                    <a:gd name="connsiteY0" fmla="*/ 27392 h 27391"/>
                    <a:gd name="connsiteX1" fmla="*/ 29724 w 29963"/>
                    <a:gd name="connsiteY1" fmla="*/ 27153 h 27391"/>
                    <a:gd name="connsiteX2" fmla="*/ 14473 w 29963"/>
                    <a:gd name="connsiteY2" fmla="*/ 10945 h 27391"/>
                    <a:gd name="connsiteX3" fmla="*/ 0 w 29963"/>
                    <a:gd name="connsiteY3" fmla="*/ 0 h 27391"/>
                  </a:gdLst>
                  <a:ahLst/>
                  <a:cxnLst>
                    <a:cxn ang="0">
                      <a:pos x="connsiteX0" y="connsiteY0"/>
                    </a:cxn>
                    <a:cxn ang="0">
                      <a:pos x="connsiteX1" y="connsiteY1"/>
                    </a:cxn>
                    <a:cxn ang="0">
                      <a:pos x="connsiteX2" y="connsiteY2"/>
                    </a:cxn>
                    <a:cxn ang="0">
                      <a:pos x="connsiteX3" y="connsiteY3"/>
                    </a:cxn>
                  </a:cxnLst>
                  <a:rect l="l" t="t" r="r" b="b"/>
                  <a:pathLst>
                    <a:path w="29963" h="27391">
                      <a:moveTo>
                        <a:pt x="29963" y="27392"/>
                      </a:moveTo>
                      <a:lnTo>
                        <a:pt x="29724" y="27153"/>
                      </a:lnTo>
                      <a:lnTo>
                        <a:pt x="14473" y="1094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366" name="Vrije vorm: vorm 6365">
                  <a:extLst>
                    <a:ext uri="{FF2B5EF4-FFF2-40B4-BE49-F238E27FC236}">
                      <a16:creationId xmlns:a16="http://schemas.microsoft.com/office/drawing/2014/main" id="{4127C8FC-654B-4B39-8F07-59063A88B671}"/>
                    </a:ext>
                  </a:extLst>
                </p:cNvPr>
                <p:cNvSpPr/>
                <p:nvPr/>
              </p:nvSpPr>
              <p:spPr>
                <a:xfrm>
                  <a:off x="6875218" y="1698924"/>
                  <a:ext cx="42343" cy="24102"/>
                </a:xfrm>
                <a:custGeom>
                  <a:avLst/>
                  <a:gdLst>
                    <a:gd name="connsiteX0" fmla="*/ 1675 w 42343"/>
                    <a:gd name="connsiteY0" fmla="*/ 4665 h 24102"/>
                    <a:gd name="connsiteX1" fmla="*/ 0 w 42343"/>
                    <a:gd name="connsiteY1" fmla="*/ 3409 h 24102"/>
                    <a:gd name="connsiteX2" fmla="*/ 419 w 42343"/>
                    <a:gd name="connsiteY2" fmla="*/ 2632 h 24102"/>
                    <a:gd name="connsiteX3" fmla="*/ 598 w 42343"/>
                    <a:gd name="connsiteY3" fmla="*/ 2332 h 24102"/>
                    <a:gd name="connsiteX4" fmla="*/ 2093 w 42343"/>
                    <a:gd name="connsiteY4" fmla="*/ 658 h 24102"/>
                    <a:gd name="connsiteX5" fmla="*/ 2692 w 42343"/>
                    <a:gd name="connsiteY5" fmla="*/ 0 h 24102"/>
                    <a:gd name="connsiteX6" fmla="*/ 5024 w 42343"/>
                    <a:gd name="connsiteY6" fmla="*/ 1435 h 24102"/>
                    <a:gd name="connsiteX7" fmla="*/ 22009 w 42343"/>
                    <a:gd name="connsiteY7" fmla="*/ 11782 h 24102"/>
                    <a:gd name="connsiteX8" fmla="*/ 41685 w 42343"/>
                    <a:gd name="connsiteY8" fmla="*/ 23504 h 24102"/>
                    <a:gd name="connsiteX9" fmla="*/ 42343 w 42343"/>
                    <a:gd name="connsiteY9" fmla="*/ 24102 h 2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343" h="24102">
                      <a:moveTo>
                        <a:pt x="1675" y="4665"/>
                      </a:moveTo>
                      <a:lnTo>
                        <a:pt x="0" y="3409"/>
                      </a:lnTo>
                      <a:lnTo>
                        <a:pt x="419" y="2632"/>
                      </a:lnTo>
                      <a:lnTo>
                        <a:pt x="598" y="2332"/>
                      </a:lnTo>
                      <a:lnTo>
                        <a:pt x="2093" y="658"/>
                      </a:lnTo>
                      <a:lnTo>
                        <a:pt x="2692" y="0"/>
                      </a:lnTo>
                      <a:lnTo>
                        <a:pt x="5024" y="1435"/>
                      </a:lnTo>
                      <a:lnTo>
                        <a:pt x="22009" y="11782"/>
                      </a:lnTo>
                      <a:lnTo>
                        <a:pt x="41685" y="23504"/>
                      </a:lnTo>
                      <a:lnTo>
                        <a:pt x="42343" y="24102"/>
                      </a:lnTo>
                    </a:path>
                  </a:pathLst>
                </a:custGeom>
                <a:noFill/>
                <a:ln w="6350" cap="rnd">
                  <a:solidFill>
                    <a:schemeClr val="bg1">
                      <a:alpha val="40000"/>
                    </a:schemeClr>
                  </a:solidFill>
                  <a:prstDash val="solid"/>
                  <a:round/>
                </a:ln>
              </p:spPr>
              <p:txBody>
                <a:bodyPr rtlCol="0" anchor="ctr"/>
                <a:lstStyle/>
                <a:p>
                  <a:endParaRPr lang="en-GB"/>
                </a:p>
              </p:txBody>
            </p:sp>
            <p:sp>
              <p:nvSpPr>
                <p:cNvPr id="6367" name="Vrije vorm: vorm 6366">
                  <a:extLst>
                    <a:ext uri="{FF2B5EF4-FFF2-40B4-BE49-F238E27FC236}">
                      <a16:creationId xmlns:a16="http://schemas.microsoft.com/office/drawing/2014/main" id="{8C7B7CD5-917C-4B9D-9B15-502AA06C8D1C}"/>
                    </a:ext>
                  </a:extLst>
                </p:cNvPr>
                <p:cNvSpPr/>
                <p:nvPr/>
              </p:nvSpPr>
              <p:spPr>
                <a:xfrm>
                  <a:off x="6836941" y="1745873"/>
                  <a:ext cx="20214" cy="17762"/>
                </a:xfrm>
                <a:custGeom>
                  <a:avLst/>
                  <a:gdLst>
                    <a:gd name="connsiteX0" fmla="*/ 6340 w 20214"/>
                    <a:gd name="connsiteY0" fmla="*/ 13158 h 17762"/>
                    <a:gd name="connsiteX1" fmla="*/ 1854 w 20214"/>
                    <a:gd name="connsiteY1" fmla="*/ 10526 h 17762"/>
                    <a:gd name="connsiteX2" fmla="*/ 299 w 20214"/>
                    <a:gd name="connsiteY2" fmla="*/ 9569 h 17762"/>
                    <a:gd name="connsiteX3" fmla="*/ 0 w 20214"/>
                    <a:gd name="connsiteY3" fmla="*/ 8194 h 17762"/>
                    <a:gd name="connsiteX4" fmla="*/ 4545 w 20214"/>
                    <a:gd name="connsiteY4" fmla="*/ 419 h 17762"/>
                    <a:gd name="connsiteX5" fmla="*/ 5921 w 20214"/>
                    <a:gd name="connsiteY5" fmla="*/ 0 h 17762"/>
                    <a:gd name="connsiteX6" fmla="*/ 18421 w 20214"/>
                    <a:gd name="connsiteY6" fmla="*/ 7237 h 17762"/>
                    <a:gd name="connsiteX7" fmla="*/ 19916 w 20214"/>
                    <a:gd name="connsiteY7" fmla="*/ 8194 h 17762"/>
                    <a:gd name="connsiteX8" fmla="*/ 20215 w 20214"/>
                    <a:gd name="connsiteY8" fmla="*/ 9569 h 17762"/>
                    <a:gd name="connsiteX9" fmla="*/ 15610 w 20214"/>
                    <a:gd name="connsiteY9" fmla="*/ 17344 h 17762"/>
                    <a:gd name="connsiteX10" fmla="*/ 14234 w 20214"/>
                    <a:gd name="connsiteY10" fmla="*/ 17763 h 17762"/>
                    <a:gd name="connsiteX11" fmla="*/ 9091 w 20214"/>
                    <a:gd name="connsiteY11" fmla="*/ 14772 h 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14" h="17762">
                      <a:moveTo>
                        <a:pt x="6340" y="13158"/>
                      </a:moveTo>
                      <a:lnTo>
                        <a:pt x="1854" y="10526"/>
                      </a:lnTo>
                      <a:lnTo>
                        <a:pt x="299" y="9569"/>
                      </a:lnTo>
                      <a:lnTo>
                        <a:pt x="0" y="8194"/>
                      </a:lnTo>
                      <a:lnTo>
                        <a:pt x="4545" y="419"/>
                      </a:lnTo>
                      <a:lnTo>
                        <a:pt x="5921" y="0"/>
                      </a:lnTo>
                      <a:lnTo>
                        <a:pt x="18421" y="7237"/>
                      </a:lnTo>
                      <a:lnTo>
                        <a:pt x="19916" y="8194"/>
                      </a:lnTo>
                      <a:lnTo>
                        <a:pt x="20215" y="9569"/>
                      </a:lnTo>
                      <a:lnTo>
                        <a:pt x="15610" y="17344"/>
                      </a:lnTo>
                      <a:lnTo>
                        <a:pt x="14234" y="17763"/>
                      </a:lnTo>
                      <a:lnTo>
                        <a:pt x="9091" y="14772"/>
                      </a:lnTo>
                    </a:path>
                  </a:pathLst>
                </a:custGeom>
                <a:noFill/>
                <a:ln w="6350" cap="rnd">
                  <a:solidFill>
                    <a:schemeClr val="bg1">
                      <a:alpha val="40000"/>
                    </a:schemeClr>
                  </a:solidFill>
                  <a:prstDash val="solid"/>
                  <a:round/>
                </a:ln>
              </p:spPr>
              <p:txBody>
                <a:bodyPr rtlCol="0" anchor="ctr"/>
                <a:lstStyle/>
                <a:p>
                  <a:endParaRPr lang="en-GB"/>
                </a:p>
              </p:txBody>
            </p:sp>
            <p:sp>
              <p:nvSpPr>
                <p:cNvPr id="6368" name="Vrije vorm: vorm 6367">
                  <a:extLst>
                    <a:ext uri="{FF2B5EF4-FFF2-40B4-BE49-F238E27FC236}">
                      <a16:creationId xmlns:a16="http://schemas.microsoft.com/office/drawing/2014/main" id="{4CACAE8E-37CF-4171-B114-B34683991865}"/>
                    </a:ext>
                  </a:extLst>
                </p:cNvPr>
                <p:cNvSpPr/>
                <p:nvPr/>
              </p:nvSpPr>
              <p:spPr>
                <a:xfrm>
                  <a:off x="6883352" y="1911180"/>
                  <a:ext cx="22307" cy="5621"/>
                </a:xfrm>
                <a:custGeom>
                  <a:avLst/>
                  <a:gdLst>
                    <a:gd name="connsiteX0" fmla="*/ 22308 w 22307"/>
                    <a:gd name="connsiteY0" fmla="*/ 5622 h 5621"/>
                    <a:gd name="connsiteX1" fmla="*/ 21471 w 22307"/>
                    <a:gd name="connsiteY1" fmla="*/ 5383 h 5621"/>
                    <a:gd name="connsiteX2" fmla="*/ 20215 w 22307"/>
                    <a:gd name="connsiteY2" fmla="*/ 5024 h 5621"/>
                    <a:gd name="connsiteX3" fmla="*/ 19139 w 22307"/>
                    <a:gd name="connsiteY3" fmla="*/ 4725 h 5621"/>
                    <a:gd name="connsiteX4" fmla="*/ 19079 w 22307"/>
                    <a:gd name="connsiteY4" fmla="*/ 4725 h 5621"/>
                    <a:gd name="connsiteX5" fmla="*/ 17584 w 22307"/>
                    <a:gd name="connsiteY5" fmla="*/ 4306 h 5621"/>
                    <a:gd name="connsiteX6" fmla="*/ 16686 w 22307"/>
                    <a:gd name="connsiteY6" fmla="*/ 4067 h 5621"/>
                    <a:gd name="connsiteX7" fmla="*/ 16327 w 22307"/>
                    <a:gd name="connsiteY7" fmla="*/ 3947 h 5621"/>
                    <a:gd name="connsiteX8" fmla="*/ 16148 w 22307"/>
                    <a:gd name="connsiteY8" fmla="*/ 3887 h 5621"/>
                    <a:gd name="connsiteX9" fmla="*/ 15191 w 22307"/>
                    <a:gd name="connsiteY9" fmla="*/ 3648 h 5621"/>
                    <a:gd name="connsiteX10" fmla="*/ 15012 w 22307"/>
                    <a:gd name="connsiteY10" fmla="*/ 3588 h 5621"/>
                    <a:gd name="connsiteX11" fmla="*/ 9868 w 22307"/>
                    <a:gd name="connsiteY11" fmla="*/ 2452 h 5621"/>
                    <a:gd name="connsiteX12" fmla="*/ 7058 w 22307"/>
                    <a:gd name="connsiteY12" fmla="*/ 1734 h 5621"/>
                    <a:gd name="connsiteX13" fmla="*/ 6998 w 22307"/>
                    <a:gd name="connsiteY13" fmla="*/ 1734 h 5621"/>
                    <a:gd name="connsiteX14" fmla="*/ 4785 w 22307"/>
                    <a:gd name="connsiteY14" fmla="*/ 1196 h 5621"/>
                    <a:gd name="connsiteX15" fmla="*/ 0 w 22307"/>
                    <a:gd name="connsiteY15" fmla="*/ 0 h 5621"/>
                    <a:gd name="connsiteX16" fmla="*/ 1435 w 22307"/>
                    <a:gd name="connsiteY16" fmla="*/ 897 h 5621"/>
                    <a:gd name="connsiteX17" fmla="*/ 1555 w 22307"/>
                    <a:gd name="connsiteY17" fmla="*/ 1675 h 5621"/>
                    <a:gd name="connsiteX18" fmla="*/ 299 w 22307"/>
                    <a:gd name="connsiteY18" fmla="*/ 3050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07" h="5621">
                      <a:moveTo>
                        <a:pt x="22308" y="5622"/>
                      </a:moveTo>
                      <a:lnTo>
                        <a:pt x="21471" y="5383"/>
                      </a:lnTo>
                      <a:lnTo>
                        <a:pt x="20215" y="5024"/>
                      </a:lnTo>
                      <a:lnTo>
                        <a:pt x="19139" y="4725"/>
                      </a:lnTo>
                      <a:lnTo>
                        <a:pt x="19079" y="4725"/>
                      </a:lnTo>
                      <a:lnTo>
                        <a:pt x="17584" y="4306"/>
                      </a:lnTo>
                      <a:lnTo>
                        <a:pt x="16686" y="4067"/>
                      </a:lnTo>
                      <a:lnTo>
                        <a:pt x="16327" y="3947"/>
                      </a:lnTo>
                      <a:lnTo>
                        <a:pt x="16148" y="3887"/>
                      </a:lnTo>
                      <a:lnTo>
                        <a:pt x="15191" y="3648"/>
                      </a:lnTo>
                      <a:lnTo>
                        <a:pt x="15012" y="3588"/>
                      </a:lnTo>
                      <a:lnTo>
                        <a:pt x="9868" y="2452"/>
                      </a:lnTo>
                      <a:lnTo>
                        <a:pt x="7058" y="1734"/>
                      </a:lnTo>
                      <a:lnTo>
                        <a:pt x="6998" y="1734"/>
                      </a:lnTo>
                      <a:lnTo>
                        <a:pt x="4785" y="1196"/>
                      </a:lnTo>
                      <a:lnTo>
                        <a:pt x="0" y="0"/>
                      </a:lnTo>
                      <a:lnTo>
                        <a:pt x="1435" y="897"/>
                      </a:lnTo>
                      <a:lnTo>
                        <a:pt x="1555" y="1675"/>
                      </a:lnTo>
                      <a:lnTo>
                        <a:pt x="299" y="3050"/>
                      </a:lnTo>
                    </a:path>
                  </a:pathLst>
                </a:custGeom>
                <a:noFill/>
                <a:ln w="6350" cap="rnd">
                  <a:solidFill>
                    <a:schemeClr val="bg1">
                      <a:alpha val="40000"/>
                    </a:schemeClr>
                  </a:solidFill>
                  <a:prstDash val="solid"/>
                  <a:round/>
                </a:ln>
              </p:spPr>
              <p:txBody>
                <a:bodyPr rtlCol="0" anchor="ctr"/>
                <a:lstStyle/>
                <a:p>
                  <a:endParaRPr lang="en-GB"/>
                </a:p>
              </p:txBody>
            </p:sp>
            <p:sp>
              <p:nvSpPr>
                <p:cNvPr id="6369" name="Vrije vorm: vorm 6368">
                  <a:extLst>
                    <a:ext uri="{FF2B5EF4-FFF2-40B4-BE49-F238E27FC236}">
                      <a16:creationId xmlns:a16="http://schemas.microsoft.com/office/drawing/2014/main" id="{12DA6CDF-7383-4C9C-B181-52BE4311D10A}"/>
                    </a:ext>
                  </a:extLst>
                </p:cNvPr>
                <p:cNvSpPr/>
                <p:nvPr/>
              </p:nvSpPr>
              <p:spPr>
                <a:xfrm>
                  <a:off x="6833593" y="1997960"/>
                  <a:ext cx="60105" cy="16267"/>
                </a:xfrm>
                <a:custGeom>
                  <a:avLst/>
                  <a:gdLst>
                    <a:gd name="connsiteX0" fmla="*/ 3110 w 60105"/>
                    <a:gd name="connsiteY0" fmla="*/ 16268 h 16267"/>
                    <a:gd name="connsiteX1" fmla="*/ 1555 w 60105"/>
                    <a:gd name="connsiteY1" fmla="*/ 14653 h 16267"/>
                    <a:gd name="connsiteX2" fmla="*/ 1136 w 60105"/>
                    <a:gd name="connsiteY2" fmla="*/ 13995 h 16267"/>
                    <a:gd name="connsiteX3" fmla="*/ 598 w 60105"/>
                    <a:gd name="connsiteY3" fmla="*/ 13158 h 16267"/>
                    <a:gd name="connsiteX4" fmla="*/ 0 w 60105"/>
                    <a:gd name="connsiteY4" fmla="*/ 12201 h 16267"/>
                    <a:gd name="connsiteX5" fmla="*/ 120 w 60105"/>
                    <a:gd name="connsiteY5" fmla="*/ 10586 h 16267"/>
                    <a:gd name="connsiteX6" fmla="*/ 239 w 60105"/>
                    <a:gd name="connsiteY6" fmla="*/ 9031 h 16267"/>
                    <a:gd name="connsiteX7" fmla="*/ 837 w 60105"/>
                    <a:gd name="connsiteY7" fmla="*/ 7536 h 16267"/>
                    <a:gd name="connsiteX8" fmla="*/ 1076 w 60105"/>
                    <a:gd name="connsiteY8" fmla="*/ 6997 h 16267"/>
                    <a:gd name="connsiteX9" fmla="*/ 3947 w 60105"/>
                    <a:gd name="connsiteY9" fmla="*/ 5981 h 16267"/>
                    <a:gd name="connsiteX10" fmla="*/ 5981 w 60105"/>
                    <a:gd name="connsiteY10" fmla="*/ 5263 h 16267"/>
                    <a:gd name="connsiteX11" fmla="*/ 6459 w 60105"/>
                    <a:gd name="connsiteY11" fmla="*/ 5084 h 16267"/>
                    <a:gd name="connsiteX12" fmla="*/ 6997 w 60105"/>
                    <a:gd name="connsiteY12" fmla="*/ 4904 h 16267"/>
                    <a:gd name="connsiteX13" fmla="*/ 7656 w 60105"/>
                    <a:gd name="connsiteY13" fmla="*/ 4665 h 16267"/>
                    <a:gd name="connsiteX14" fmla="*/ 8074 w 60105"/>
                    <a:gd name="connsiteY14" fmla="*/ 4545 h 16267"/>
                    <a:gd name="connsiteX15" fmla="*/ 8253 w 60105"/>
                    <a:gd name="connsiteY15" fmla="*/ 4486 h 16267"/>
                    <a:gd name="connsiteX16" fmla="*/ 8851 w 60105"/>
                    <a:gd name="connsiteY16" fmla="*/ 4306 h 16267"/>
                    <a:gd name="connsiteX17" fmla="*/ 9031 w 60105"/>
                    <a:gd name="connsiteY17" fmla="*/ 4246 h 16267"/>
                    <a:gd name="connsiteX18" fmla="*/ 11364 w 60105"/>
                    <a:gd name="connsiteY18" fmla="*/ 3409 h 16267"/>
                    <a:gd name="connsiteX19" fmla="*/ 12021 w 60105"/>
                    <a:gd name="connsiteY19" fmla="*/ 3289 h 16267"/>
                    <a:gd name="connsiteX20" fmla="*/ 14473 w 60105"/>
                    <a:gd name="connsiteY20" fmla="*/ 2811 h 16267"/>
                    <a:gd name="connsiteX21" fmla="*/ 14593 w 60105"/>
                    <a:gd name="connsiteY21" fmla="*/ 2811 h 16267"/>
                    <a:gd name="connsiteX22" fmla="*/ 15131 w 60105"/>
                    <a:gd name="connsiteY22" fmla="*/ 2691 h 16267"/>
                    <a:gd name="connsiteX23" fmla="*/ 16865 w 60105"/>
                    <a:gd name="connsiteY23" fmla="*/ 2332 h 16267"/>
                    <a:gd name="connsiteX24" fmla="*/ 17045 w 60105"/>
                    <a:gd name="connsiteY24" fmla="*/ 2273 h 16267"/>
                    <a:gd name="connsiteX25" fmla="*/ 19736 w 60105"/>
                    <a:gd name="connsiteY25" fmla="*/ 1734 h 16267"/>
                    <a:gd name="connsiteX26" fmla="*/ 21411 w 60105"/>
                    <a:gd name="connsiteY26" fmla="*/ 1435 h 16267"/>
                    <a:gd name="connsiteX27" fmla="*/ 21710 w 60105"/>
                    <a:gd name="connsiteY27" fmla="*/ 1376 h 16267"/>
                    <a:gd name="connsiteX28" fmla="*/ 22488 w 60105"/>
                    <a:gd name="connsiteY28" fmla="*/ 1256 h 16267"/>
                    <a:gd name="connsiteX29" fmla="*/ 23325 w 60105"/>
                    <a:gd name="connsiteY29" fmla="*/ 1077 h 16267"/>
                    <a:gd name="connsiteX30" fmla="*/ 23444 w 60105"/>
                    <a:gd name="connsiteY30" fmla="*/ 1077 h 16267"/>
                    <a:gd name="connsiteX31" fmla="*/ 23863 w 60105"/>
                    <a:gd name="connsiteY31" fmla="*/ 1017 h 16267"/>
                    <a:gd name="connsiteX32" fmla="*/ 26196 w 60105"/>
                    <a:gd name="connsiteY32" fmla="*/ 538 h 16267"/>
                    <a:gd name="connsiteX33" fmla="*/ 27571 w 60105"/>
                    <a:gd name="connsiteY33" fmla="*/ 478 h 16267"/>
                    <a:gd name="connsiteX34" fmla="*/ 30681 w 60105"/>
                    <a:gd name="connsiteY34" fmla="*/ 299 h 16267"/>
                    <a:gd name="connsiteX35" fmla="*/ 32057 w 60105"/>
                    <a:gd name="connsiteY35" fmla="*/ 239 h 16267"/>
                    <a:gd name="connsiteX36" fmla="*/ 34150 w 60105"/>
                    <a:gd name="connsiteY36" fmla="*/ 120 h 16267"/>
                    <a:gd name="connsiteX37" fmla="*/ 34329 w 60105"/>
                    <a:gd name="connsiteY37" fmla="*/ 120 h 16267"/>
                    <a:gd name="connsiteX38" fmla="*/ 36662 w 60105"/>
                    <a:gd name="connsiteY38" fmla="*/ 0 h 16267"/>
                    <a:gd name="connsiteX39" fmla="*/ 37320 w 60105"/>
                    <a:gd name="connsiteY39" fmla="*/ 120 h 16267"/>
                    <a:gd name="connsiteX40" fmla="*/ 38575 w 60105"/>
                    <a:gd name="connsiteY40" fmla="*/ 299 h 16267"/>
                    <a:gd name="connsiteX41" fmla="*/ 40788 w 60105"/>
                    <a:gd name="connsiteY41" fmla="*/ 658 h 16267"/>
                    <a:gd name="connsiteX42" fmla="*/ 41446 w 60105"/>
                    <a:gd name="connsiteY42" fmla="*/ 778 h 16267"/>
                    <a:gd name="connsiteX43" fmla="*/ 43420 w 60105"/>
                    <a:gd name="connsiteY43" fmla="*/ 1077 h 16267"/>
                    <a:gd name="connsiteX44" fmla="*/ 46769 w 60105"/>
                    <a:gd name="connsiteY44" fmla="*/ 1555 h 16267"/>
                    <a:gd name="connsiteX45" fmla="*/ 47308 w 60105"/>
                    <a:gd name="connsiteY45" fmla="*/ 1615 h 16267"/>
                    <a:gd name="connsiteX46" fmla="*/ 49521 w 60105"/>
                    <a:gd name="connsiteY46" fmla="*/ 2273 h 16267"/>
                    <a:gd name="connsiteX47" fmla="*/ 52331 w 60105"/>
                    <a:gd name="connsiteY47" fmla="*/ 3110 h 16267"/>
                    <a:gd name="connsiteX48" fmla="*/ 54962 w 60105"/>
                    <a:gd name="connsiteY48" fmla="*/ 3888 h 16267"/>
                    <a:gd name="connsiteX49" fmla="*/ 55800 w 60105"/>
                    <a:gd name="connsiteY49" fmla="*/ 4426 h 16267"/>
                    <a:gd name="connsiteX50" fmla="*/ 56817 w 60105"/>
                    <a:gd name="connsiteY50" fmla="*/ 5084 h 16267"/>
                    <a:gd name="connsiteX51" fmla="*/ 59628 w 60105"/>
                    <a:gd name="connsiteY51" fmla="*/ 6878 h 16267"/>
                    <a:gd name="connsiteX52" fmla="*/ 60106 w 60105"/>
                    <a:gd name="connsiteY52" fmla="*/ 7177 h 16267"/>
                    <a:gd name="connsiteX53" fmla="*/ 58730 w 60105"/>
                    <a:gd name="connsiteY53" fmla="*/ 12440 h 16267"/>
                    <a:gd name="connsiteX54" fmla="*/ 57475 w 60105"/>
                    <a:gd name="connsiteY54" fmla="*/ 13995 h 16267"/>
                    <a:gd name="connsiteX55" fmla="*/ 56877 w 60105"/>
                    <a:gd name="connsiteY55" fmla="*/ 14713 h 16267"/>
                    <a:gd name="connsiteX56" fmla="*/ 56518 w 60105"/>
                    <a:gd name="connsiteY56" fmla="*/ 15131 h 16267"/>
                    <a:gd name="connsiteX57" fmla="*/ 55800 w 60105"/>
                    <a:gd name="connsiteY57" fmla="*/ 15311 h 16267"/>
                    <a:gd name="connsiteX58" fmla="*/ 54365 w 60105"/>
                    <a:gd name="connsiteY58" fmla="*/ 15669 h 16267"/>
                    <a:gd name="connsiteX59" fmla="*/ 53229 w 60105"/>
                    <a:gd name="connsiteY59" fmla="*/ 15969 h 16267"/>
                    <a:gd name="connsiteX60" fmla="*/ 52869 w 60105"/>
                    <a:gd name="connsiteY60" fmla="*/ 15849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105" h="16267">
                      <a:moveTo>
                        <a:pt x="3110" y="16268"/>
                      </a:moveTo>
                      <a:lnTo>
                        <a:pt x="1555" y="14653"/>
                      </a:lnTo>
                      <a:lnTo>
                        <a:pt x="1136" y="13995"/>
                      </a:lnTo>
                      <a:lnTo>
                        <a:pt x="598" y="13158"/>
                      </a:lnTo>
                      <a:lnTo>
                        <a:pt x="0" y="12201"/>
                      </a:lnTo>
                      <a:lnTo>
                        <a:pt x="120" y="10586"/>
                      </a:lnTo>
                      <a:lnTo>
                        <a:pt x="239" y="9031"/>
                      </a:lnTo>
                      <a:lnTo>
                        <a:pt x="837" y="7536"/>
                      </a:lnTo>
                      <a:lnTo>
                        <a:pt x="1076" y="6997"/>
                      </a:lnTo>
                      <a:lnTo>
                        <a:pt x="3947" y="5981"/>
                      </a:lnTo>
                      <a:lnTo>
                        <a:pt x="5981" y="5263"/>
                      </a:lnTo>
                      <a:lnTo>
                        <a:pt x="6459" y="5084"/>
                      </a:lnTo>
                      <a:lnTo>
                        <a:pt x="6997" y="4904"/>
                      </a:lnTo>
                      <a:lnTo>
                        <a:pt x="7656" y="4665"/>
                      </a:lnTo>
                      <a:lnTo>
                        <a:pt x="8074" y="4545"/>
                      </a:lnTo>
                      <a:lnTo>
                        <a:pt x="8253" y="4486"/>
                      </a:lnTo>
                      <a:lnTo>
                        <a:pt x="8851" y="4306"/>
                      </a:lnTo>
                      <a:lnTo>
                        <a:pt x="9031" y="4246"/>
                      </a:lnTo>
                      <a:lnTo>
                        <a:pt x="11364" y="3409"/>
                      </a:lnTo>
                      <a:lnTo>
                        <a:pt x="12021" y="3289"/>
                      </a:lnTo>
                      <a:lnTo>
                        <a:pt x="14473" y="2811"/>
                      </a:lnTo>
                      <a:lnTo>
                        <a:pt x="14593" y="2811"/>
                      </a:lnTo>
                      <a:lnTo>
                        <a:pt x="15131" y="2691"/>
                      </a:lnTo>
                      <a:lnTo>
                        <a:pt x="16865" y="2332"/>
                      </a:lnTo>
                      <a:lnTo>
                        <a:pt x="17045" y="2273"/>
                      </a:lnTo>
                      <a:lnTo>
                        <a:pt x="19736" y="1734"/>
                      </a:lnTo>
                      <a:lnTo>
                        <a:pt x="21411" y="1435"/>
                      </a:lnTo>
                      <a:lnTo>
                        <a:pt x="21710" y="1376"/>
                      </a:lnTo>
                      <a:lnTo>
                        <a:pt x="22488" y="1256"/>
                      </a:lnTo>
                      <a:lnTo>
                        <a:pt x="23325" y="1077"/>
                      </a:lnTo>
                      <a:lnTo>
                        <a:pt x="23444" y="1077"/>
                      </a:lnTo>
                      <a:lnTo>
                        <a:pt x="23863" y="1017"/>
                      </a:lnTo>
                      <a:lnTo>
                        <a:pt x="26196" y="538"/>
                      </a:lnTo>
                      <a:lnTo>
                        <a:pt x="27571" y="478"/>
                      </a:lnTo>
                      <a:lnTo>
                        <a:pt x="30681" y="299"/>
                      </a:lnTo>
                      <a:lnTo>
                        <a:pt x="32057" y="239"/>
                      </a:lnTo>
                      <a:lnTo>
                        <a:pt x="34150" y="120"/>
                      </a:lnTo>
                      <a:lnTo>
                        <a:pt x="34329" y="120"/>
                      </a:lnTo>
                      <a:lnTo>
                        <a:pt x="36662" y="0"/>
                      </a:lnTo>
                      <a:lnTo>
                        <a:pt x="37320" y="120"/>
                      </a:lnTo>
                      <a:lnTo>
                        <a:pt x="38575" y="299"/>
                      </a:lnTo>
                      <a:lnTo>
                        <a:pt x="40788" y="658"/>
                      </a:lnTo>
                      <a:lnTo>
                        <a:pt x="41446" y="778"/>
                      </a:lnTo>
                      <a:lnTo>
                        <a:pt x="43420" y="1077"/>
                      </a:lnTo>
                      <a:lnTo>
                        <a:pt x="46769" y="1555"/>
                      </a:lnTo>
                      <a:lnTo>
                        <a:pt x="47308" y="1615"/>
                      </a:lnTo>
                      <a:lnTo>
                        <a:pt x="49521" y="2273"/>
                      </a:lnTo>
                      <a:lnTo>
                        <a:pt x="52331" y="3110"/>
                      </a:lnTo>
                      <a:lnTo>
                        <a:pt x="54962" y="3888"/>
                      </a:lnTo>
                      <a:lnTo>
                        <a:pt x="55800" y="4426"/>
                      </a:lnTo>
                      <a:lnTo>
                        <a:pt x="56817" y="5084"/>
                      </a:lnTo>
                      <a:lnTo>
                        <a:pt x="59628" y="6878"/>
                      </a:lnTo>
                      <a:lnTo>
                        <a:pt x="60106" y="7177"/>
                      </a:lnTo>
                      <a:lnTo>
                        <a:pt x="58730" y="12440"/>
                      </a:lnTo>
                      <a:lnTo>
                        <a:pt x="57475" y="13995"/>
                      </a:lnTo>
                      <a:lnTo>
                        <a:pt x="56877" y="14713"/>
                      </a:lnTo>
                      <a:lnTo>
                        <a:pt x="56518" y="15131"/>
                      </a:lnTo>
                      <a:lnTo>
                        <a:pt x="55800" y="15311"/>
                      </a:lnTo>
                      <a:lnTo>
                        <a:pt x="54365" y="15669"/>
                      </a:lnTo>
                      <a:lnTo>
                        <a:pt x="53229" y="15969"/>
                      </a:lnTo>
                      <a:lnTo>
                        <a:pt x="52869" y="15849"/>
                      </a:lnTo>
                    </a:path>
                  </a:pathLst>
                </a:custGeom>
                <a:noFill/>
                <a:ln w="6350" cap="rnd">
                  <a:solidFill>
                    <a:schemeClr val="bg1">
                      <a:alpha val="40000"/>
                    </a:schemeClr>
                  </a:solidFill>
                  <a:prstDash val="solid"/>
                  <a:round/>
                </a:ln>
              </p:spPr>
              <p:txBody>
                <a:bodyPr rtlCol="0" anchor="ctr"/>
                <a:lstStyle/>
                <a:p>
                  <a:endParaRPr lang="en-GB"/>
                </a:p>
              </p:txBody>
            </p:sp>
            <p:sp>
              <p:nvSpPr>
                <p:cNvPr id="6370" name="Vrije vorm: vorm 6369">
                  <a:extLst>
                    <a:ext uri="{FF2B5EF4-FFF2-40B4-BE49-F238E27FC236}">
                      <a16:creationId xmlns:a16="http://schemas.microsoft.com/office/drawing/2014/main" id="{4B4019EC-82FC-477F-81A0-D4DE5EB56B4C}"/>
                    </a:ext>
                  </a:extLst>
                </p:cNvPr>
                <p:cNvSpPr/>
                <p:nvPr/>
              </p:nvSpPr>
              <p:spPr>
                <a:xfrm>
                  <a:off x="6937358" y="1716208"/>
                  <a:ext cx="10825" cy="10884"/>
                </a:xfrm>
                <a:custGeom>
                  <a:avLst/>
                  <a:gdLst>
                    <a:gd name="connsiteX0" fmla="*/ 9091 w 10825"/>
                    <a:gd name="connsiteY0" fmla="*/ 9270 h 10884"/>
                    <a:gd name="connsiteX1" fmla="*/ 8672 w 10825"/>
                    <a:gd name="connsiteY1" fmla="*/ 9689 h 10884"/>
                    <a:gd name="connsiteX2" fmla="*/ 8672 w 10825"/>
                    <a:gd name="connsiteY2" fmla="*/ 9689 h 10884"/>
                    <a:gd name="connsiteX3" fmla="*/ 8612 w 10825"/>
                    <a:gd name="connsiteY3" fmla="*/ 9749 h 10884"/>
                    <a:gd name="connsiteX4" fmla="*/ 8433 w 10825"/>
                    <a:gd name="connsiteY4" fmla="*/ 9928 h 10884"/>
                    <a:gd name="connsiteX5" fmla="*/ 8373 w 10825"/>
                    <a:gd name="connsiteY5" fmla="*/ 9988 h 10884"/>
                    <a:gd name="connsiteX6" fmla="*/ 8014 w 10825"/>
                    <a:gd name="connsiteY6" fmla="*/ 10347 h 10884"/>
                    <a:gd name="connsiteX7" fmla="*/ 7894 w 10825"/>
                    <a:gd name="connsiteY7" fmla="*/ 10406 h 10884"/>
                    <a:gd name="connsiteX8" fmla="*/ 7835 w 10825"/>
                    <a:gd name="connsiteY8" fmla="*/ 10406 h 10884"/>
                    <a:gd name="connsiteX9" fmla="*/ 6579 w 10825"/>
                    <a:gd name="connsiteY9" fmla="*/ 10586 h 10884"/>
                    <a:gd name="connsiteX10" fmla="*/ 6399 w 10825"/>
                    <a:gd name="connsiteY10" fmla="*/ 10586 h 10884"/>
                    <a:gd name="connsiteX11" fmla="*/ 5024 w 10825"/>
                    <a:gd name="connsiteY11" fmla="*/ 10825 h 10884"/>
                    <a:gd name="connsiteX12" fmla="*/ 4785 w 10825"/>
                    <a:gd name="connsiteY12" fmla="*/ 10885 h 10884"/>
                    <a:gd name="connsiteX13" fmla="*/ 2153 w 10825"/>
                    <a:gd name="connsiteY13" fmla="*/ 9450 h 10884"/>
                    <a:gd name="connsiteX14" fmla="*/ 1196 w 10825"/>
                    <a:gd name="connsiteY14" fmla="*/ 8792 h 10884"/>
                    <a:gd name="connsiteX15" fmla="*/ 1136 w 10825"/>
                    <a:gd name="connsiteY15" fmla="*/ 8672 h 10884"/>
                    <a:gd name="connsiteX16" fmla="*/ 1017 w 10825"/>
                    <a:gd name="connsiteY16" fmla="*/ 8313 h 10884"/>
                    <a:gd name="connsiteX17" fmla="*/ 598 w 10825"/>
                    <a:gd name="connsiteY17" fmla="*/ 7296 h 10884"/>
                    <a:gd name="connsiteX18" fmla="*/ 538 w 10825"/>
                    <a:gd name="connsiteY18" fmla="*/ 7237 h 10884"/>
                    <a:gd name="connsiteX19" fmla="*/ 239 w 10825"/>
                    <a:gd name="connsiteY19" fmla="*/ 6519 h 10884"/>
                    <a:gd name="connsiteX20" fmla="*/ 120 w 10825"/>
                    <a:gd name="connsiteY20" fmla="*/ 6160 h 10884"/>
                    <a:gd name="connsiteX21" fmla="*/ 0 w 10825"/>
                    <a:gd name="connsiteY21" fmla="*/ 5921 h 10884"/>
                    <a:gd name="connsiteX22" fmla="*/ 180 w 10825"/>
                    <a:gd name="connsiteY22" fmla="*/ 5203 h 10884"/>
                    <a:gd name="connsiteX23" fmla="*/ 180 w 10825"/>
                    <a:gd name="connsiteY23" fmla="*/ 5143 h 10884"/>
                    <a:gd name="connsiteX24" fmla="*/ 239 w 10825"/>
                    <a:gd name="connsiteY24" fmla="*/ 4964 h 10884"/>
                    <a:gd name="connsiteX25" fmla="*/ 239 w 10825"/>
                    <a:gd name="connsiteY25" fmla="*/ 4964 h 10884"/>
                    <a:gd name="connsiteX26" fmla="*/ 239 w 10825"/>
                    <a:gd name="connsiteY26" fmla="*/ 4964 h 10884"/>
                    <a:gd name="connsiteX27" fmla="*/ 299 w 10825"/>
                    <a:gd name="connsiteY27" fmla="*/ 4665 h 10884"/>
                    <a:gd name="connsiteX28" fmla="*/ 478 w 10825"/>
                    <a:gd name="connsiteY28" fmla="*/ 3888 h 10884"/>
                    <a:gd name="connsiteX29" fmla="*/ 658 w 10825"/>
                    <a:gd name="connsiteY29" fmla="*/ 3170 h 10884"/>
                    <a:gd name="connsiteX30" fmla="*/ 718 w 10825"/>
                    <a:gd name="connsiteY30" fmla="*/ 2931 h 10884"/>
                    <a:gd name="connsiteX31" fmla="*/ 718 w 10825"/>
                    <a:gd name="connsiteY31" fmla="*/ 2811 h 10884"/>
                    <a:gd name="connsiteX32" fmla="*/ 3050 w 10825"/>
                    <a:gd name="connsiteY32" fmla="*/ 538 h 10884"/>
                    <a:gd name="connsiteX33" fmla="*/ 6100 w 10825"/>
                    <a:gd name="connsiteY33" fmla="*/ 0 h 10884"/>
                    <a:gd name="connsiteX34" fmla="*/ 8732 w 10825"/>
                    <a:gd name="connsiteY34" fmla="*/ 1435 h 10884"/>
                    <a:gd name="connsiteX35" fmla="*/ 9689 w 10825"/>
                    <a:gd name="connsiteY35" fmla="*/ 2093 h 10884"/>
                    <a:gd name="connsiteX36" fmla="*/ 10825 w 10825"/>
                    <a:gd name="connsiteY36" fmla="*/ 4964 h 10884"/>
                    <a:gd name="connsiteX37" fmla="*/ 10466 w 10825"/>
                    <a:gd name="connsiteY37" fmla="*/ 6519 h 1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825" h="10884">
                      <a:moveTo>
                        <a:pt x="9091" y="9270"/>
                      </a:moveTo>
                      <a:lnTo>
                        <a:pt x="8672" y="9689"/>
                      </a:lnTo>
                      <a:lnTo>
                        <a:pt x="8672" y="9689"/>
                      </a:lnTo>
                      <a:lnTo>
                        <a:pt x="8612" y="9749"/>
                      </a:lnTo>
                      <a:lnTo>
                        <a:pt x="8433" y="9928"/>
                      </a:lnTo>
                      <a:lnTo>
                        <a:pt x="8373" y="9988"/>
                      </a:lnTo>
                      <a:lnTo>
                        <a:pt x="8014" y="10347"/>
                      </a:lnTo>
                      <a:lnTo>
                        <a:pt x="7894" y="10406"/>
                      </a:lnTo>
                      <a:lnTo>
                        <a:pt x="7835" y="10406"/>
                      </a:lnTo>
                      <a:lnTo>
                        <a:pt x="6579" y="10586"/>
                      </a:lnTo>
                      <a:lnTo>
                        <a:pt x="6399" y="10586"/>
                      </a:lnTo>
                      <a:lnTo>
                        <a:pt x="5024" y="10825"/>
                      </a:lnTo>
                      <a:lnTo>
                        <a:pt x="4785" y="10885"/>
                      </a:lnTo>
                      <a:lnTo>
                        <a:pt x="2153" y="9450"/>
                      </a:lnTo>
                      <a:lnTo>
                        <a:pt x="1196" y="8792"/>
                      </a:lnTo>
                      <a:lnTo>
                        <a:pt x="1136" y="8672"/>
                      </a:lnTo>
                      <a:lnTo>
                        <a:pt x="1017" y="8313"/>
                      </a:lnTo>
                      <a:lnTo>
                        <a:pt x="598" y="7296"/>
                      </a:lnTo>
                      <a:lnTo>
                        <a:pt x="538" y="7237"/>
                      </a:lnTo>
                      <a:lnTo>
                        <a:pt x="239" y="6519"/>
                      </a:lnTo>
                      <a:lnTo>
                        <a:pt x="120" y="6160"/>
                      </a:lnTo>
                      <a:lnTo>
                        <a:pt x="0" y="5921"/>
                      </a:lnTo>
                      <a:lnTo>
                        <a:pt x="180" y="5203"/>
                      </a:lnTo>
                      <a:lnTo>
                        <a:pt x="180" y="5143"/>
                      </a:lnTo>
                      <a:lnTo>
                        <a:pt x="239" y="4964"/>
                      </a:lnTo>
                      <a:lnTo>
                        <a:pt x="239" y="4964"/>
                      </a:lnTo>
                      <a:lnTo>
                        <a:pt x="239" y="4964"/>
                      </a:lnTo>
                      <a:lnTo>
                        <a:pt x="299" y="4665"/>
                      </a:lnTo>
                      <a:lnTo>
                        <a:pt x="478" y="3888"/>
                      </a:lnTo>
                      <a:lnTo>
                        <a:pt x="658" y="3170"/>
                      </a:lnTo>
                      <a:lnTo>
                        <a:pt x="718" y="2931"/>
                      </a:lnTo>
                      <a:lnTo>
                        <a:pt x="718" y="2811"/>
                      </a:lnTo>
                      <a:lnTo>
                        <a:pt x="3050" y="538"/>
                      </a:lnTo>
                      <a:lnTo>
                        <a:pt x="6100" y="0"/>
                      </a:lnTo>
                      <a:lnTo>
                        <a:pt x="8732" y="1435"/>
                      </a:lnTo>
                      <a:lnTo>
                        <a:pt x="9689" y="2093"/>
                      </a:lnTo>
                      <a:lnTo>
                        <a:pt x="10825" y="4964"/>
                      </a:lnTo>
                      <a:lnTo>
                        <a:pt x="10466" y="6519"/>
                      </a:lnTo>
                    </a:path>
                  </a:pathLst>
                </a:custGeom>
                <a:noFill/>
                <a:ln w="6350" cap="rnd">
                  <a:solidFill>
                    <a:schemeClr val="bg1">
                      <a:alpha val="40000"/>
                    </a:schemeClr>
                  </a:solidFill>
                  <a:prstDash val="solid"/>
                  <a:round/>
                </a:ln>
              </p:spPr>
              <p:txBody>
                <a:bodyPr rtlCol="0" anchor="ctr"/>
                <a:lstStyle/>
                <a:p>
                  <a:endParaRPr lang="en-GB"/>
                </a:p>
              </p:txBody>
            </p:sp>
            <p:sp>
              <p:nvSpPr>
                <p:cNvPr id="6371" name="Vrije vorm: vorm 6370">
                  <a:extLst>
                    <a:ext uri="{FF2B5EF4-FFF2-40B4-BE49-F238E27FC236}">
                      <a16:creationId xmlns:a16="http://schemas.microsoft.com/office/drawing/2014/main" id="{7979C904-5C80-4AD1-A9AE-771E14AF43EC}"/>
                    </a:ext>
                  </a:extLst>
                </p:cNvPr>
                <p:cNvSpPr/>
                <p:nvPr/>
              </p:nvSpPr>
              <p:spPr>
                <a:xfrm>
                  <a:off x="6778749" y="1910462"/>
                  <a:ext cx="11662" cy="17284"/>
                </a:xfrm>
                <a:custGeom>
                  <a:avLst/>
                  <a:gdLst>
                    <a:gd name="connsiteX0" fmla="*/ 11662 w 11662"/>
                    <a:gd name="connsiteY0" fmla="*/ 17284 h 17284"/>
                    <a:gd name="connsiteX1" fmla="*/ 11304 w 11662"/>
                    <a:gd name="connsiteY1" fmla="*/ 17105 h 17284"/>
                    <a:gd name="connsiteX2" fmla="*/ 10406 w 11662"/>
                    <a:gd name="connsiteY2" fmla="*/ 16626 h 17284"/>
                    <a:gd name="connsiteX3" fmla="*/ 8433 w 11662"/>
                    <a:gd name="connsiteY3" fmla="*/ 15550 h 17284"/>
                    <a:gd name="connsiteX4" fmla="*/ 8253 w 11662"/>
                    <a:gd name="connsiteY4" fmla="*/ 15430 h 17284"/>
                    <a:gd name="connsiteX5" fmla="*/ 7237 w 11662"/>
                    <a:gd name="connsiteY5" fmla="*/ 14832 h 17284"/>
                    <a:gd name="connsiteX6" fmla="*/ 6878 w 11662"/>
                    <a:gd name="connsiteY6" fmla="*/ 14593 h 17284"/>
                    <a:gd name="connsiteX7" fmla="*/ 5024 w 11662"/>
                    <a:gd name="connsiteY7" fmla="*/ 13516 h 17284"/>
                    <a:gd name="connsiteX8" fmla="*/ 4486 w 11662"/>
                    <a:gd name="connsiteY8" fmla="*/ 13158 h 17284"/>
                    <a:gd name="connsiteX9" fmla="*/ 4127 w 11662"/>
                    <a:gd name="connsiteY9" fmla="*/ 12918 h 17284"/>
                    <a:gd name="connsiteX10" fmla="*/ 3589 w 11662"/>
                    <a:gd name="connsiteY10" fmla="*/ 12560 h 17284"/>
                    <a:gd name="connsiteX11" fmla="*/ 2930 w 11662"/>
                    <a:gd name="connsiteY11" fmla="*/ 12141 h 17284"/>
                    <a:gd name="connsiteX12" fmla="*/ 2632 w 11662"/>
                    <a:gd name="connsiteY12" fmla="*/ 11961 h 17284"/>
                    <a:gd name="connsiteX13" fmla="*/ 2273 w 11662"/>
                    <a:gd name="connsiteY13" fmla="*/ 11722 h 17284"/>
                    <a:gd name="connsiteX14" fmla="*/ 1675 w 11662"/>
                    <a:gd name="connsiteY14" fmla="*/ 11304 h 17284"/>
                    <a:gd name="connsiteX15" fmla="*/ 419 w 11662"/>
                    <a:gd name="connsiteY15" fmla="*/ 10347 h 17284"/>
                    <a:gd name="connsiteX16" fmla="*/ 60 w 11662"/>
                    <a:gd name="connsiteY16" fmla="*/ 9808 h 17284"/>
                    <a:gd name="connsiteX17" fmla="*/ 0 w 11662"/>
                    <a:gd name="connsiteY17" fmla="*/ 9749 h 17284"/>
                    <a:gd name="connsiteX18" fmla="*/ 0 w 11662"/>
                    <a:gd name="connsiteY18" fmla="*/ 9689 h 17284"/>
                    <a:gd name="connsiteX19" fmla="*/ 658 w 11662"/>
                    <a:gd name="connsiteY19" fmla="*/ 8612 h 17284"/>
                    <a:gd name="connsiteX20" fmla="*/ 837 w 11662"/>
                    <a:gd name="connsiteY20" fmla="*/ 8373 h 17284"/>
                    <a:gd name="connsiteX21" fmla="*/ 1076 w 11662"/>
                    <a:gd name="connsiteY21" fmla="*/ 7954 h 17284"/>
                    <a:gd name="connsiteX22" fmla="*/ 1256 w 11662"/>
                    <a:gd name="connsiteY22" fmla="*/ 7835 h 17284"/>
                    <a:gd name="connsiteX23" fmla="*/ 1435 w 11662"/>
                    <a:gd name="connsiteY23" fmla="*/ 7715 h 17284"/>
                    <a:gd name="connsiteX24" fmla="*/ 1675 w 11662"/>
                    <a:gd name="connsiteY24" fmla="*/ 7296 h 17284"/>
                    <a:gd name="connsiteX25" fmla="*/ 2990 w 11662"/>
                    <a:gd name="connsiteY25" fmla="*/ 5084 h 17284"/>
                    <a:gd name="connsiteX26" fmla="*/ 5144 w 11662"/>
                    <a:gd name="connsiteY26" fmla="*/ 1435 h 17284"/>
                    <a:gd name="connsiteX27" fmla="*/ 5801 w 11662"/>
                    <a:gd name="connsiteY27" fmla="*/ 359 h 17284"/>
                    <a:gd name="connsiteX28" fmla="*/ 5981 w 11662"/>
                    <a:gd name="connsiteY28" fmla="*/ 0 h 1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662" h="17284">
                      <a:moveTo>
                        <a:pt x="11662" y="17284"/>
                      </a:moveTo>
                      <a:lnTo>
                        <a:pt x="11304" y="17105"/>
                      </a:lnTo>
                      <a:lnTo>
                        <a:pt x="10406" y="16626"/>
                      </a:lnTo>
                      <a:lnTo>
                        <a:pt x="8433" y="15550"/>
                      </a:lnTo>
                      <a:lnTo>
                        <a:pt x="8253" y="15430"/>
                      </a:lnTo>
                      <a:lnTo>
                        <a:pt x="7237" y="14832"/>
                      </a:lnTo>
                      <a:lnTo>
                        <a:pt x="6878" y="14593"/>
                      </a:lnTo>
                      <a:lnTo>
                        <a:pt x="5024" y="13516"/>
                      </a:lnTo>
                      <a:lnTo>
                        <a:pt x="4486" y="13158"/>
                      </a:lnTo>
                      <a:lnTo>
                        <a:pt x="4127" y="12918"/>
                      </a:lnTo>
                      <a:lnTo>
                        <a:pt x="3589" y="12560"/>
                      </a:lnTo>
                      <a:lnTo>
                        <a:pt x="2930" y="12141"/>
                      </a:lnTo>
                      <a:lnTo>
                        <a:pt x="2632" y="11961"/>
                      </a:lnTo>
                      <a:lnTo>
                        <a:pt x="2273" y="11722"/>
                      </a:lnTo>
                      <a:lnTo>
                        <a:pt x="1675" y="11304"/>
                      </a:lnTo>
                      <a:lnTo>
                        <a:pt x="419" y="10347"/>
                      </a:lnTo>
                      <a:lnTo>
                        <a:pt x="60" y="9808"/>
                      </a:lnTo>
                      <a:lnTo>
                        <a:pt x="0" y="9749"/>
                      </a:lnTo>
                      <a:lnTo>
                        <a:pt x="0" y="9689"/>
                      </a:lnTo>
                      <a:lnTo>
                        <a:pt x="658" y="8612"/>
                      </a:lnTo>
                      <a:lnTo>
                        <a:pt x="837" y="8373"/>
                      </a:lnTo>
                      <a:lnTo>
                        <a:pt x="1076" y="7954"/>
                      </a:lnTo>
                      <a:lnTo>
                        <a:pt x="1256" y="7835"/>
                      </a:lnTo>
                      <a:lnTo>
                        <a:pt x="1435" y="7715"/>
                      </a:lnTo>
                      <a:lnTo>
                        <a:pt x="1675" y="7296"/>
                      </a:lnTo>
                      <a:lnTo>
                        <a:pt x="2990" y="5084"/>
                      </a:lnTo>
                      <a:lnTo>
                        <a:pt x="5144" y="1435"/>
                      </a:lnTo>
                      <a:lnTo>
                        <a:pt x="5801" y="359"/>
                      </a:lnTo>
                      <a:lnTo>
                        <a:pt x="5981" y="0"/>
                      </a:lnTo>
                    </a:path>
                  </a:pathLst>
                </a:custGeom>
                <a:noFill/>
                <a:ln w="6350" cap="rnd">
                  <a:solidFill>
                    <a:schemeClr val="bg1">
                      <a:alpha val="40000"/>
                    </a:schemeClr>
                  </a:solidFill>
                  <a:prstDash val="solid"/>
                  <a:round/>
                </a:ln>
              </p:spPr>
              <p:txBody>
                <a:bodyPr rtlCol="0" anchor="ctr"/>
                <a:lstStyle/>
                <a:p>
                  <a:endParaRPr lang="en-GB"/>
                </a:p>
              </p:txBody>
            </p:sp>
            <p:sp>
              <p:nvSpPr>
                <p:cNvPr id="6372" name="Vrije vorm: vorm 6371">
                  <a:extLst>
                    <a:ext uri="{FF2B5EF4-FFF2-40B4-BE49-F238E27FC236}">
                      <a16:creationId xmlns:a16="http://schemas.microsoft.com/office/drawing/2014/main" id="{BDDBC84F-215A-4AC3-8381-9C156454B6EE}"/>
                    </a:ext>
                  </a:extLst>
                </p:cNvPr>
                <p:cNvSpPr/>
                <p:nvPr/>
              </p:nvSpPr>
              <p:spPr>
                <a:xfrm>
                  <a:off x="7047463" y="1842999"/>
                  <a:ext cx="15669" cy="27092"/>
                </a:xfrm>
                <a:custGeom>
                  <a:avLst/>
                  <a:gdLst>
                    <a:gd name="connsiteX0" fmla="*/ 15669 w 15669"/>
                    <a:gd name="connsiteY0" fmla="*/ 0 h 27092"/>
                    <a:gd name="connsiteX1" fmla="*/ 13516 w 15669"/>
                    <a:gd name="connsiteY1" fmla="*/ 6160 h 27092"/>
                    <a:gd name="connsiteX2" fmla="*/ 5442 w 15669"/>
                    <a:gd name="connsiteY2" fmla="*/ 26913 h 27092"/>
                    <a:gd name="connsiteX3" fmla="*/ 4246 w 15669"/>
                    <a:gd name="connsiteY3" fmla="*/ 26973 h 27092"/>
                    <a:gd name="connsiteX4" fmla="*/ 4007 w 15669"/>
                    <a:gd name="connsiteY4" fmla="*/ 26973 h 27092"/>
                    <a:gd name="connsiteX5" fmla="*/ 3169 w 15669"/>
                    <a:gd name="connsiteY5" fmla="*/ 27033 h 27092"/>
                    <a:gd name="connsiteX6" fmla="*/ 2751 w 15669"/>
                    <a:gd name="connsiteY6" fmla="*/ 27033 h 27092"/>
                    <a:gd name="connsiteX7" fmla="*/ 2392 w 15669"/>
                    <a:gd name="connsiteY7" fmla="*/ 27033 h 27092"/>
                    <a:gd name="connsiteX8" fmla="*/ 1136 w 15669"/>
                    <a:gd name="connsiteY8" fmla="*/ 27093 h 27092"/>
                    <a:gd name="connsiteX9" fmla="*/ 1016 w 15669"/>
                    <a:gd name="connsiteY9" fmla="*/ 27033 h 27092"/>
                    <a:gd name="connsiteX10" fmla="*/ 0 w 15669"/>
                    <a:gd name="connsiteY10" fmla="*/ 26554 h 2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69" h="27092">
                      <a:moveTo>
                        <a:pt x="15669" y="0"/>
                      </a:moveTo>
                      <a:lnTo>
                        <a:pt x="13516" y="6160"/>
                      </a:lnTo>
                      <a:lnTo>
                        <a:pt x="5442" y="26913"/>
                      </a:lnTo>
                      <a:lnTo>
                        <a:pt x="4246" y="26973"/>
                      </a:lnTo>
                      <a:lnTo>
                        <a:pt x="4007" y="26973"/>
                      </a:lnTo>
                      <a:lnTo>
                        <a:pt x="3169" y="27033"/>
                      </a:lnTo>
                      <a:lnTo>
                        <a:pt x="2751" y="27033"/>
                      </a:lnTo>
                      <a:lnTo>
                        <a:pt x="2392" y="27033"/>
                      </a:lnTo>
                      <a:lnTo>
                        <a:pt x="1136" y="27093"/>
                      </a:lnTo>
                      <a:lnTo>
                        <a:pt x="1016" y="27033"/>
                      </a:lnTo>
                      <a:lnTo>
                        <a:pt x="0" y="26554"/>
                      </a:lnTo>
                    </a:path>
                  </a:pathLst>
                </a:custGeom>
                <a:noFill/>
                <a:ln w="6350" cap="rnd">
                  <a:solidFill>
                    <a:schemeClr val="bg1">
                      <a:alpha val="40000"/>
                    </a:schemeClr>
                  </a:solidFill>
                  <a:prstDash val="solid"/>
                  <a:round/>
                </a:ln>
              </p:spPr>
              <p:txBody>
                <a:bodyPr rtlCol="0" anchor="ctr"/>
                <a:lstStyle/>
                <a:p>
                  <a:endParaRPr lang="en-GB"/>
                </a:p>
              </p:txBody>
            </p:sp>
            <p:sp>
              <p:nvSpPr>
                <p:cNvPr id="6373" name="Vrije vorm: vorm 6372">
                  <a:extLst>
                    <a:ext uri="{FF2B5EF4-FFF2-40B4-BE49-F238E27FC236}">
                      <a16:creationId xmlns:a16="http://schemas.microsoft.com/office/drawing/2014/main" id="{87C66870-80AA-4777-A0CA-894D826B9B95}"/>
                    </a:ext>
                  </a:extLst>
                </p:cNvPr>
                <p:cNvSpPr/>
                <p:nvPr/>
              </p:nvSpPr>
              <p:spPr>
                <a:xfrm>
                  <a:off x="6841547" y="1786541"/>
                  <a:ext cx="13217" cy="21889"/>
                </a:xfrm>
                <a:custGeom>
                  <a:avLst/>
                  <a:gdLst>
                    <a:gd name="connsiteX0" fmla="*/ 0 w 13217"/>
                    <a:gd name="connsiteY0" fmla="*/ 21889 h 21889"/>
                    <a:gd name="connsiteX1" fmla="*/ 5024 w 13217"/>
                    <a:gd name="connsiteY1" fmla="*/ 13098 h 21889"/>
                    <a:gd name="connsiteX2" fmla="*/ 5024 w 13217"/>
                    <a:gd name="connsiteY2" fmla="*/ 13098 h 21889"/>
                    <a:gd name="connsiteX3" fmla="*/ 5024 w 13217"/>
                    <a:gd name="connsiteY3" fmla="*/ 13098 h 21889"/>
                    <a:gd name="connsiteX4" fmla="*/ 6519 w 13217"/>
                    <a:gd name="connsiteY4" fmla="*/ 10526 h 21889"/>
                    <a:gd name="connsiteX5" fmla="*/ 13217 w 13217"/>
                    <a:gd name="connsiteY5" fmla="*/ 0 h 21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17" h="21889">
                      <a:moveTo>
                        <a:pt x="0" y="21889"/>
                      </a:moveTo>
                      <a:lnTo>
                        <a:pt x="5024" y="13098"/>
                      </a:lnTo>
                      <a:lnTo>
                        <a:pt x="5024" y="13098"/>
                      </a:lnTo>
                      <a:lnTo>
                        <a:pt x="5024" y="13098"/>
                      </a:lnTo>
                      <a:lnTo>
                        <a:pt x="6519" y="10526"/>
                      </a:lnTo>
                      <a:lnTo>
                        <a:pt x="13217" y="0"/>
                      </a:lnTo>
                    </a:path>
                  </a:pathLst>
                </a:custGeom>
                <a:noFill/>
                <a:ln w="6350" cap="rnd">
                  <a:solidFill>
                    <a:schemeClr val="bg1">
                      <a:alpha val="40000"/>
                    </a:schemeClr>
                  </a:solidFill>
                  <a:prstDash val="solid"/>
                  <a:round/>
                </a:ln>
              </p:spPr>
              <p:txBody>
                <a:bodyPr rtlCol="0" anchor="ctr"/>
                <a:lstStyle/>
                <a:p>
                  <a:endParaRPr lang="en-GB"/>
                </a:p>
              </p:txBody>
            </p:sp>
            <p:sp>
              <p:nvSpPr>
                <p:cNvPr id="6374" name="Vrije vorm: vorm 6373">
                  <a:extLst>
                    <a:ext uri="{FF2B5EF4-FFF2-40B4-BE49-F238E27FC236}">
                      <a16:creationId xmlns:a16="http://schemas.microsoft.com/office/drawing/2014/main" id="{3D74D151-2EA3-4E65-8711-8D2D1C57F3B6}"/>
                    </a:ext>
                  </a:extLst>
                </p:cNvPr>
                <p:cNvSpPr/>
                <p:nvPr/>
              </p:nvSpPr>
              <p:spPr>
                <a:xfrm>
                  <a:off x="7038313" y="1868417"/>
                  <a:ext cx="12559" cy="9569"/>
                </a:xfrm>
                <a:custGeom>
                  <a:avLst/>
                  <a:gdLst>
                    <a:gd name="connsiteX0" fmla="*/ 12380 w 12559"/>
                    <a:gd name="connsiteY0" fmla="*/ 1615 h 9569"/>
                    <a:gd name="connsiteX1" fmla="*/ 12500 w 12559"/>
                    <a:gd name="connsiteY1" fmla="*/ 1734 h 9569"/>
                    <a:gd name="connsiteX2" fmla="*/ 12559 w 12559"/>
                    <a:gd name="connsiteY2" fmla="*/ 2153 h 9569"/>
                    <a:gd name="connsiteX3" fmla="*/ 12559 w 12559"/>
                    <a:gd name="connsiteY3" fmla="*/ 2392 h 9569"/>
                    <a:gd name="connsiteX4" fmla="*/ 9629 w 12559"/>
                    <a:gd name="connsiteY4" fmla="*/ 9330 h 9569"/>
                    <a:gd name="connsiteX5" fmla="*/ 9211 w 12559"/>
                    <a:gd name="connsiteY5" fmla="*/ 9569 h 9569"/>
                    <a:gd name="connsiteX6" fmla="*/ 8253 w 12559"/>
                    <a:gd name="connsiteY6" fmla="*/ 9509 h 9569"/>
                    <a:gd name="connsiteX7" fmla="*/ 7954 w 12559"/>
                    <a:gd name="connsiteY7" fmla="*/ 9509 h 9569"/>
                    <a:gd name="connsiteX8" fmla="*/ 6758 w 12559"/>
                    <a:gd name="connsiteY8" fmla="*/ 9450 h 9569"/>
                    <a:gd name="connsiteX9" fmla="*/ 5861 w 12559"/>
                    <a:gd name="connsiteY9" fmla="*/ 9390 h 9569"/>
                    <a:gd name="connsiteX10" fmla="*/ 4964 w 12559"/>
                    <a:gd name="connsiteY10" fmla="*/ 9330 h 9569"/>
                    <a:gd name="connsiteX11" fmla="*/ 4545 w 12559"/>
                    <a:gd name="connsiteY11" fmla="*/ 9330 h 9569"/>
                    <a:gd name="connsiteX12" fmla="*/ 4126 w 12559"/>
                    <a:gd name="connsiteY12" fmla="*/ 9330 h 9569"/>
                    <a:gd name="connsiteX13" fmla="*/ 4126 w 12559"/>
                    <a:gd name="connsiteY13" fmla="*/ 9330 h 9569"/>
                    <a:gd name="connsiteX14" fmla="*/ 2990 w 12559"/>
                    <a:gd name="connsiteY14" fmla="*/ 9270 h 9569"/>
                    <a:gd name="connsiteX15" fmla="*/ 1854 w 12559"/>
                    <a:gd name="connsiteY15" fmla="*/ 9210 h 9569"/>
                    <a:gd name="connsiteX16" fmla="*/ 0 w 12559"/>
                    <a:gd name="connsiteY16" fmla="*/ 8433 h 9569"/>
                    <a:gd name="connsiteX17" fmla="*/ 120 w 12559"/>
                    <a:gd name="connsiteY17" fmla="*/ 6938 h 9569"/>
                    <a:gd name="connsiteX18" fmla="*/ 180 w 12559"/>
                    <a:gd name="connsiteY18" fmla="*/ 6041 h 9569"/>
                    <a:gd name="connsiteX19" fmla="*/ 1495 w 12559"/>
                    <a:gd name="connsiteY19" fmla="*/ 3110 h 9569"/>
                    <a:gd name="connsiteX20" fmla="*/ 1914 w 12559"/>
                    <a:gd name="connsiteY20" fmla="*/ 2153 h 9569"/>
                    <a:gd name="connsiteX21" fmla="*/ 2033 w 12559"/>
                    <a:gd name="connsiteY21" fmla="*/ 1974 h 9569"/>
                    <a:gd name="connsiteX22" fmla="*/ 3349 w 12559"/>
                    <a:gd name="connsiteY22" fmla="*/ 299 h 9569"/>
                    <a:gd name="connsiteX23" fmla="*/ 3588 w 12559"/>
                    <a:gd name="connsiteY23" fmla="*/ 0 h 9569"/>
                    <a:gd name="connsiteX24" fmla="*/ 6758 w 12559"/>
                    <a:gd name="connsiteY24" fmla="*/ 239 h 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59" h="9569">
                      <a:moveTo>
                        <a:pt x="12380" y="1615"/>
                      </a:moveTo>
                      <a:lnTo>
                        <a:pt x="12500" y="1734"/>
                      </a:lnTo>
                      <a:lnTo>
                        <a:pt x="12559" y="2153"/>
                      </a:lnTo>
                      <a:lnTo>
                        <a:pt x="12559" y="2392"/>
                      </a:lnTo>
                      <a:lnTo>
                        <a:pt x="9629" y="9330"/>
                      </a:lnTo>
                      <a:lnTo>
                        <a:pt x="9211" y="9569"/>
                      </a:lnTo>
                      <a:lnTo>
                        <a:pt x="8253" y="9509"/>
                      </a:lnTo>
                      <a:lnTo>
                        <a:pt x="7954" y="9509"/>
                      </a:lnTo>
                      <a:lnTo>
                        <a:pt x="6758" y="9450"/>
                      </a:lnTo>
                      <a:lnTo>
                        <a:pt x="5861" y="9390"/>
                      </a:lnTo>
                      <a:lnTo>
                        <a:pt x="4964" y="9330"/>
                      </a:lnTo>
                      <a:lnTo>
                        <a:pt x="4545" y="9330"/>
                      </a:lnTo>
                      <a:lnTo>
                        <a:pt x="4126" y="9330"/>
                      </a:lnTo>
                      <a:lnTo>
                        <a:pt x="4126" y="9330"/>
                      </a:lnTo>
                      <a:lnTo>
                        <a:pt x="2990" y="9270"/>
                      </a:lnTo>
                      <a:lnTo>
                        <a:pt x="1854" y="9210"/>
                      </a:lnTo>
                      <a:lnTo>
                        <a:pt x="0" y="8433"/>
                      </a:lnTo>
                      <a:lnTo>
                        <a:pt x="120" y="6938"/>
                      </a:lnTo>
                      <a:lnTo>
                        <a:pt x="180" y="6041"/>
                      </a:lnTo>
                      <a:lnTo>
                        <a:pt x="1495" y="3110"/>
                      </a:lnTo>
                      <a:lnTo>
                        <a:pt x="1914" y="2153"/>
                      </a:lnTo>
                      <a:lnTo>
                        <a:pt x="2033" y="1974"/>
                      </a:lnTo>
                      <a:lnTo>
                        <a:pt x="3349" y="299"/>
                      </a:lnTo>
                      <a:lnTo>
                        <a:pt x="3588" y="0"/>
                      </a:lnTo>
                      <a:lnTo>
                        <a:pt x="6758" y="239"/>
                      </a:lnTo>
                    </a:path>
                  </a:pathLst>
                </a:custGeom>
                <a:noFill/>
                <a:ln w="6350" cap="rnd">
                  <a:solidFill>
                    <a:schemeClr val="bg1">
                      <a:alpha val="40000"/>
                    </a:schemeClr>
                  </a:solidFill>
                  <a:prstDash val="solid"/>
                  <a:round/>
                </a:ln>
              </p:spPr>
              <p:txBody>
                <a:bodyPr rtlCol="0" anchor="ctr"/>
                <a:lstStyle/>
                <a:p>
                  <a:endParaRPr lang="en-GB"/>
                </a:p>
              </p:txBody>
            </p:sp>
            <p:sp>
              <p:nvSpPr>
                <p:cNvPr id="6375" name="Vrije vorm: vorm 6374">
                  <a:extLst>
                    <a:ext uri="{FF2B5EF4-FFF2-40B4-BE49-F238E27FC236}">
                      <a16:creationId xmlns:a16="http://schemas.microsoft.com/office/drawing/2014/main" id="{2CE969B0-F05A-4C91-A441-B36CCC4FA574}"/>
                    </a:ext>
                  </a:extLst>
                </p:cNvPr>
                <p:cNvSpPr/>
                <p:nvPr/>
              </p:nvSpPr>
              <p:spPr>
                <a:xfrm>
                  <a:off x="6906916" y="2068233"/>
                  <a:ext cx="7475" cy="8492"/>
                </a:xfrm>
                <a:custGeom>
                  <a:avLst/>
                  <a:gdLst>
                    <a:gd name="connsiteX0" fmla="*/ 7476 w 7475"/>
                    <a:gd name="connsiteY0" fmla="*/ 0 h 8492"/>
                    <a:gd name="connsiteX1" fmla="*/ 4605 w 7475"/>
                    <a:gd name="connsiteY1" fmla="*/ 3708 h 8492"/>
                    <a:gd name="connsiteX2" fmla="*/ 0 w 7475"/>
                    <a:gd name="connsiteY2" fmla="*/ 8493 h 8492"/>
                  </a:gdLst>
                  <a:ahLst/>
                  <a:cxnLst>
                    <a:cxn ang="0">
                      <a:pos x="connsiteX0" y="connsiteY0"/>
                    </a:cxn>
                    <a:cxn ang="0">
                      <a:pos x="connsiteX1" y="connsiteY1"/>
                    </a:cxn>
                    <a:cxn ang="0">
                      <a:pos x="connsiteX2" y="connsiteY2"/>
                    </a:cxn>
                  </a:cxnLst>
                  <a:rect l="l" t="t" r="r" b="b"/>
                  <a:pathLst>
                    <a:path w="7475" h="8492">
                      <a:moveTo>
                        <a:pt x="7476" y="0"/>
                      </a:moveTo>
                      <a:lnTo>
                        <a:pt x="4605" y="3708"/>
                      </a:lnTo>
                      <a:lnTo>
                        <a:pt x="0" y="8493"/>
                      </a:lnTo>
                    </a:path>
                  </a:pathLst>
                </a:custGeom>
                <a:noFill/>
                <a:ln w="6350" cap="rnd">
                  <a:solidFill>
                    <a:schemeClr val="bg1">
                      <a:alpha val="40000"/>
                    </a:schemeClr>
                  </a:solidFill>
                  <a:prstDash val="solid"/>
                  <a:round/>
                </a:ln>
              </p:spPr>
              <p:txBody>
                <a:bodyPr rtlCol="0" anchor="ctr"/>
                <a:lstStyle/>
                <a:p>
                  <a:endParaRPr lang="en-GB"/>
                </a:p>
              </p:txBody>
            </p:sp>
            <p:sp>
              <p:nvSpPr>
                <p:cNvPr id="6376" name="Vrije vorm: vorm 6375">
                  <a:extLst>
                    <a:ext uri="{FF2B5EF4-FFF2-40B4-BE49-F238E27FC236}">
                      <a16:creationId xmlns:a16="http://schemas.microsoft.com/office/drawing/2014/main" id="{A9AB8CF7-23D0-47FB-95BE-200DFA5496F5}"/>
                    </a:ext>
                  </a:extLst>
                </p:cNvPr>
                <p:cNvSpPr/>
                <p:nvPr/>
              </p:nvSpPr>
              <p:spPr>
                <a:xfrm>
                  <a:off x="6781979" y="1881695"/>
                  <a:ext cx="6518" cy="8373"/>
                </a:xfrm>
                <a:custGeom>
                  <a:avLst/>
                  <a:gdLst>
                    <a:gd name="connsiteX0" fmla="*/ 0 w 6518"/>
                    <a:gd name="connsiteY0" fmla="*/ 0 h 8373"/>
                    <a:gd name="connsiteX1" fmla="*/ 2093 w 6518"/>
                    <a:gd name="connsiteY1" fmla="*/ 1675 h 8373"/>
                    <a:gd name="connsiteX2" fmla="*/ 2153 w 6518"/>
                    <a:gd name="connsiteY2" fmla="*/ 1675 h 8373"/>
                    <a:gd name="connsiteX3" fmla="*/ 2512 w 6518"/>
                    <a:gd name="connsiteY3" fmla="*/ 1974 h 8373"/>
                    <a:gd name="connsiteX4" fmla="*/ 3827 w 6518"/>
                    <a:gd name="connsiteY4" fmla="*/ 3050 h 8373"/>
                    <a:gd name="connsiteX5" fmla="*/ 4486 w 6518"/>
                    <a:gd name="connsiteY5" fmla="*/ 3588 h 8373"/>
                    <a:gd name="connsiteX6" fmla="*/ 4545 w 6518"/>
                    <a:gd name="connsiteY6" fmla="*/ 3708 h 8373"/>
                    <a:gd name="connsiteX7" fmla="*/ 4605 w 6518"/>
                    <a:gd name="connsiteY7" fmla="*/ 3828 h 8373"/>
                    <a:gd name="connsiteX8" fmla="*/ 5143 w 6518"/>
                    <a:gd name="connsiteY8" fmla="*/ 4725 h 8373"/>
                    <a:gd name="connsiteX9" fmla="*/ 5263 w 6518"/>
                    <a:gd name="connsiteY9" fmla="*/ 4904 h 8373"/>
                    <a:gd name="connsiteX10" fmla="*/ 5861 w 6518"/>
                    <a:gd name="connsiteY10" fmla="*/ 5921 h 8373"/>
                    <a:gd name="connsiteX11" fmla="*/ 6280 w 6518"/>
                    <a:gd name="connsiteY11" fmla="*/ 6698 h 8373"/>
                    <a:gd name="connsiteX12" fmla="*/ 6519 w 6518"/>
                    <a:gd name="connsiteY12" fmla="*/ 7117 h 8373"/>
                    <a:gd name="connsiteX13" fmla="*/ 6160 w 6518"/>
                    <a:gd name="connsiteY13" fmla="*/ 7596 h 8373"/>
                    <a:gd name="connsiteX14" fmla="*/ 5502 w 6518"/>
                    <a:gd name="connsiteY14" fmla="*/ 8373 h 8373"/>
                    <a:gd name="connsiteX15" fmla="*/ 3947 w 6518"/>
                    <a:gd name="connsiteY15" fmla="*/ 7775 h 8373"/>
                    <a:gd name="connsiteX16" fmla="*/ 3110 w 6518"/>
                    <a:gd name="connsiteY16" fmla="*/ 7416 h 8373"/>
                    <a:gd name="connsiteX17" fmla="*/ 2871 w 6518"/>
                    <a:gd name="connsiteY17" fmla="*/ 7356 h 8373"/>
                    <a:gd name="connsiteX18" fmla="*/ 2392 w 6518"/>
                    <a:gd name="connsiteY18" fmla="*/ 7177 h 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18" h="8373">
                      <a:moveTo>
                        <a:pt x="0" y="0"/>
                      </a:moveTo>
                      <a:lnTo>
                        <a:pt x="2093" y="1675"/>
                      </a:lnTo>
                      <a:lnTo>
                        <a:pt x="2153" y="1675"/>
                      </a:lnTo>
                      <a:lnTo>
                        <a:pt x="2512" y="1974"/>
                      </a:lnTo>
                      <a:lnTo>
                        <a:pt x="3827" y="3050"/>
                      </a:lnTo>
                      <a:lnTo>
                        <a:pt x="4486" y="3588"/>
                      </a:lnTo>
                      <a:lnTo>
                        <a:pt x="4545" y="3708"/>
                      </a:lnTo>
                      <a:lnTo>
                        <a:pt x="4605" y="3828"/>
                      </a:lnTo>
                      <a:lnTo>
                        <a:pt x="5143" y="4725"/>
                      </a:lnTo>
                      <a:lnTo>
                        <a:pt x="5263" y="4904"/>
                      </a:lnTo>
                      <a:lnTo>
                        <a:pt x="5861" y="5921"/>
                      </a:lnTo>
                      <a:lnTo>
                        <a:pt x="6280" y="6698"/>
                      </a:lnTo>
                      <a:lnTo>
                        <a:pt x="6519" y="7117"/>
                      </a:lnTo>
                      <a:lnTo>
                        <a:pt x="6160" y="7596"/>
                      </a:lnTo>
                      <a:lnTo>
                        <a:pt x="5502" y="8373"/>
                      </a:lnTo>
                      <a:lnTo>
                        <a:pt x="3947" y="7775"/>
                      </a:lnTo>
                      <a:lnTo>
                        <a:pt x="3110" y="7416"/>
                      </a:lnTo>
                      <a:lnTo>
                        <a:pt x="2871" y="7356"/>
                      </a:lnTo>
                      <a:lnTo>
                        <a:pt x="2392" y="7177"/>
                      </a:lnTo>
                    </a:path>
                  </a:pathLst>
                </a:custGeom>
                <a:noFill/>
                <a:ln w="6350" cap="rnd">
                  <a:solidFill>
                    <a:schemeClr val="bg1">
                      <a:alpha val="40000"/>
                    </a:schemeClr>
                  </a:solidFill>
                  <a:prstDash val="solid"/>
                  <a:round/>
                </a:ln>
              </p:spPr>
              <p:txBody>
                <a:bodyPr rtlCol="0" anchor="ctr"/>
                <a:lstStyle/>
                <a:p>
                  <a:endParaRPr lang="en-GB"/>
                </a:p>
              </p:txBody>
            </p:sp>
            <p:sp>
              <p:nvSpPr>
                <p:cNvPr id="6377" name="Vrije vorm: vorm 6376">
                  <a:extLst>
                    <a:ext uri="{FF2B5EF4-FFF2-40B4-BE49-F238E27FC236}">
                      <a16:creationId xmlns:a16="http://schemas.microsoft.com/office/drawing/2014/main" id="{F143809E-1065-405F-B37F-674A3E093569}"/>
                    </a:ext>
                  </a:extLst>
                </p:cNvPr>
                <p:cNvSpPr/>
                <p:nvPr/>
              </p:nvSpPr>
              <p:spPr>
                <a:xfrm>
                  <a:off x="6845614" y="1684929"/>
                  <a:ext cx="37080" cy="43240"/>
                </a:xfrm>
                <a:custGeom>
                  <a:avLst/>
                  <a:gdLst>
                    <a:gd name="connsiteX0" fmla="*/ 30681 w 37080"/>
                    <a:gd name="connsiteY0" fmla="*/ 21949 h 43240"/>
                    <a:gd name="connsiteX1" fmla="*/ 18480 w 37080"/>
                    <a:gd name="connsiteY1" fmla="*/ 42463 h 43240"/>
                    <a:gd name="connsiteX2" fmla="*/ 16746 w 37080"/>
                    <a:gd name="connsiteY2" fmla="*/ 43241 h 43240"/>
                    <a:gd name="connsiteX3" fmla="*/ 2631 w 37080"/>
                    <a:gd name="connsiteY3" fmla="*/ 35226 h 43240"/>
                    <a:gd name="connsiteX4" fmla="*/ 179 w 37080"/>
                    <a:gd name="connsiteY4" fmla="*/ 33671 h 43240"/>
                    <a:gd name="connsiteX5" fmla="*/ 0 w 37080"/>
                    <a:gd name="connsiteY5" fmla="*/ 31817 h 43240"/>
                    <a:gd name="connsiteX6" fmla="*/ 18480 w 37080"/>
                    <a:gd name="connsiteY6" fmla="*/ 778 h 43240"/>
                    <a:gd name="connsiteX7" fmla="*/ 20215 w 37080"/>
                    <a:gd name="connsiteY7" fmla="*/ 0 h 43240"/>
                    <a:gd name="connsiteX8" fmla="*/ 34509 w 37080"/>
                    <a:gd name="connsiteY8" fmla="*/ 7775 h 43240"/>
                    <a:gd name="connsiteX9" fmla="*/ 36901 w 37080"/>
                    <a:gd name="connsiteY9" fmla="*/ 9390 h 43240"/>
                    <a:gd name="connsiteX10" fmla="*/ 37080 w 37080"/>
                    <a:gd name="connsiteY10" fmla="*/ 11244 h 43240"/>
                    <a:gd name="connsiteX11" fmla="*/ 34568 w 37080"/>
                    <a:gd name="connsiteY11" fmla="*/ 15430 h 4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080" h="43240">
                      <a:moveTo>
                        <a:pt x="30681" y="21949"/>
                      </a:moveTo>
                      <a:lnTo>
                        <a:pt x="18480" y="42463"/>
                      </a:lnTo>
                      <a:lnTo>
                        <a:pt x="16746" y="43241"/>
                      </a:lnTo>
                      <a:lnTo>
                        <a:pt x="2631" y="35226"/>
                      </a:lnTo>
                      <a:lnTo>
                        <a:pt x="179" y="33671"/>
                      </a:lnTo>
                      <a:lnTo>
                        <a:pt x="0" y="31817"/>
                      </a:lnTo>
                      <a:lnTo>
                        <a:pt x="18480" y="778"/>
                      </a:lnTo>
                      <a:lnTo>
                        <a:pt x="20215" y="0"/>
                      </a:lnTo>
                      <a:lnTo>
                        <a:pt x="34509" y="7775"/>
                      </a:lnTo>
                      <a:lnTo>
                        <a:pt x="36901" y="9390"/>
                      </a:lnTo>
                      <a:lnTo>
                        <a:pt x="37080" y="11244"/>
                      </a:lnTo>
                      <a:lnTo>
                        <a:pt x="34568" y="15430"/>
                      </a:lnTo>
                    </a:path>
                  </a:pathLst>
                </a:custGeom>
                <a:noFill/>
                <a:ln w="6350" cap="rnd">
                  <a:solidFill>
                    <a:schemeClr val="bg1">
                      <a:alpha val="40000"/>
                    </a:schemeClr>
                  </a:solidFill>
                  <a:prstDash val="solid"/>
                  <a:round/>
                </a:ln>
              </p:spPr>
              <p:txBody>
                <a:bodyPr rtlCol="0" anchor="ctr"/>
                <a:lstStyle/>
                <a:p>
                  <a:endParaRPr lang="en-GB"/>
                </a:p>
              </p:txBody>
            </p:sp>
            <p:sp>
              <p:nvSpPr>
                <p:cNvPr id="6378" name="Vrije vorm: vorm 6377">
                  <a:extLst>
                    <a:ext uri="{FF2B5EF4-FFF2-40B4-BE49-F238E27FC236}">
                      <a16:creationId xmlns:a16="http://schemas.microsoft.com/office/drawing/2014/main" id="{62426927-89AC-4472-BB7C-F0A40A7BB72D}"/>
                    </a:ext>
                  </a:extLst>
                </p:cNvPr>
                <p:cNvSpPr/>
                <p:nvPr/>
              </p:nvSpPr>
              <p:spPr>
                <a:xfrm>
                  <a:off x="6767864" y="1850954"/>
                  <a:ext cx="1256" cy="2452"/>
                </a:xfrm>
                <a:custGeom>
                  <a:avLst/>
                  <a:gdLst>
                    <a:gd name="connsiteX0" fmla="*/ 419 w 1256"/>
                    <a:gd name="connsiteY0" fmla="*/ 2452 h 2452"/>
                    <a:gd name="connsiteX1" fmla="*/ 0 w 1256"/>
                    <a:gd name="connsiteY1" fmla="*/ 1974 h 2452"/>
                    <a:gd name="connsiteX2" fmla="*/ 419 w 1256"/>
                    <a:gd name="connsiteY2" fmla="*/ 419 h 2452"/>
                    <a:gd name="connsiteX3" fmla="*/ 1256 w 1256"/>
                    <a:gd name="connsiteY3" fmla="*/ 0 h 2452"/>
                  </a:gdLst>
                  <a:ahLst/>
                  <a:cxnLst>
                    <a:cxn ang="0">
                      <a:pos x="connsiteX0" y="connsiteY0"/>
                    </a:cxn>
                    <a:cxn ang="0">
                      <a:pos x="connsiteX1" y="connsiteY1"/>
                    </a:cxn>
                    <a:cxn ang="0">
                      <a:pos x="connsiteX2" y="connsiteY2"/>
                    </a:cxn>
                    <a:cxn ang="0">
                      <a:pos x="connsiteX3" y="connsiteY3"/>
                    </a:cxn>
                  </a:cxnLst>
                  <a:rect l="l" t="t" r="r" b="b"/>
                  <a:pathLst>
                    <a:path w="1256" h="2452">
                      <a:moveTo>
                        <a:pt x="419" y="2452"/>
                      </a:moveTo>
                      <a:lnTo>
                        <a:pt x="0" y="1974"/>
                      </a:lnTo>
                      <a:lnTo>
                        <a:pt x="419" y="419"/>
                      </a:lnTo>
                      <a:lnTo>
                        <a:pt x="1256" y="0"/>
                      </a:lnTo>
                    </a:path>
                  </a:pathLst>
                </a:custGeom>
                <a:noFill/>
                <a:ln w="6350" cap="rnd">
                  <a:solidFill>
                    <a:schemeClr val="bg1">
                      <a:alpha val="40000"/>
                    </a:schemeClr>
                  </a:solidFill>
                  <a:prstDash val="solid"/>
                  <a:round/>
                </a:ln>
              </p:spPr>
              <p:txBody>
                <a:bodyPr rtlCol="0" anchor="ctr"/>
                <a:lstStyle/>
                <a:p>
                  <a:endParaRPr lang="en-GB"/>
                </a:p>
              </p:txBody>
            </p:sp>
            <p:sp>
              <p:nvSpPr>
                <p:cNvPr id="6379" name="Vrije vorm: vorm 6378">
                  <a:extLst>
                    <a:ext uri="{FF2B5EF4-FFF2-40B4-BE49-F238E27FC236}">
                      <a16:creationId xmlns:a16="http://schemas.microsoft.com/office/drawing/2014/main" id="{24EB3E51-C9C7-42F7-9EFA-5DD3AA802300}"/>
                    </a:ext>
                  </a:extLst>
                </p:cNvPr>
                <p:cNvSpPr/>
                <p:nvPr/>
              </p:nvSpPr>
              <p:spPr>
                <a:xfrm>
                  <a:off x="7081793" y="1875594"/>
                  <a:ext cx="12439" cy="8851"/>
                </a:xfrm>
                <a:custGeom>
                  <a:avLst/>
                  <a:gdLst>
                    <a:gd name="connsiteX0" fmla="*/ 11304 w 12439"/>
                    <a:gd name="connsiteY0" fmla="*/ 0 h 8851"/>
                    <a:gd name="connsiteX1" fmla="*/ 12081 w 12439"/>
                    <a:gd name="connsiteY1" fmla="*/ 897 h 8851"/>
                    <a:gd name="connsiteX2" fmla="*/ 12260 w 12439"/>
                    <a:gd name="connsiteY2" fmla="*/ 1675 h 8851"/>
                    <a:gd name="connsiteX3" fmla="*/ 12440 w 12439"/>
                    <a:gd name="connsiteY3" fmla="*/ 3110 h 8851"/>
                    <a:gd name="connsiteX4" fmla="*/ 12141 w 12439"/>
                    <a:gd name="connsiteY4" fmla="*/ 4007 h 8851"/>
                    <a:gd name="connsiteX5" fmla="*/ 10885 w 12439"/>
                    <a:gd name="connsiteY5" fmla="*/ 5981 h 8851"/>
                    <a:gd name="connsiteX6" fmla="*/ 6938 w 12439"/>
                    <a:gd name="connsiteY6" fmla="*/ 8493 h 8851"/>
                    <a:gd name="connsiteX7" fmla="*/ 5681 w 12439"/>
                    <a:gd name="connsiteY7" fmla="*/ 8851 h 8851"/>
                    <a:gd name="connsiteX8" fmla="*/ 478 w 12439"/>
                    <a:gd name="connsiteY8" fmla="*/ 5861 h 8851"/>
                    <a:gd name="connsiteX9" fmla="*/ 0 w 12439"/>
                    <a:gd name="connsiteY9" fmla="*/ 5562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9" h="8851">
                      <a:moveTo>
                        <a:pt x="11304" y="0"/>
                      </a:moveTo>
                      <a:lnTo>
                        <a:pt x="12081" y="897"/>
                      </a:lnTo>
                      <a:lnTo>
                        <a:pt x="12260" y="1675"/>
                      </a:lnTo>
                      <a:lnTo>
                        <a:pt x="12440" y="3110"/>
                      </a:lnTo>
                      <a:lnTo>
                        <a:pt x="12141" y="4007"/>
                      </a:lnTo>
                      <a:lnTo>
                        <a:pt x="10885" y="5981"/>
                      </a:lnTo>
                      <a:lnTo>
                        <a:pt x="6938" y="8493"/>
                      </a:lnTo>
                      <a:lnTo>
                        <a:pt x="5681" y="8851"/>
                      </a:lnTo>
                      <a:lnTo>
                        <a:pt x="478" y="5861"/>
                      </a:lnTo>
                      <a:lnTo>
                        <a:pt x="0" y="5562"/>
                      </a:lnTo>
                    </a:path>
                  </a:pathLst>
                </a:custGeom>
                <a:noFill/>
                <a:ln w="6350" cap="rnd">
                  <a:solidFill>
                    <a:schemeClr val="bg1">
                      <a:alpha val="40000"/>
                    </a:schemeClr>
                  </a:solidFill>
                  <a:prstDash val="solid"/>
                  <a:round/>
                </a:ln>
              </p:spPr>
              <p:txBody>
                <a:bodyPr rtlCol="0" anchor="ctr"/>
                <a:lstStyle/>
                <a:p>
                  <a:endParaRPr lang="en-GB"/>
                </a:p>
              </p:txBody>
            </p:sp>
            <p:sp>
              <p:nvSpPr>
                <p:cNvPr id="6380" name="Vrije vorm: vorm 6379">
                  <a:extLst>
                    <a:ext uri="{FF2B5EF4-FFF2-40B4-BE49-F238E27FC236}">
                      <a16:creationId xmlns:a16="http://schemas.microsoft.com/office/drawing/2014/main" id="{03047334-C275-4E5E-8AD2-FC62C5593874}"/>
                    </a:ext>
                  </a:extLst>
                </p:cNvPr>
                <p:cNvSpPr/>
                <p:nvPr/>
              </p:nvSpPr>
              <p:spPr>
                <a:xfrm>
                  <a:off x="6963733" y="1722428"/>
                  <a:ext cx="7296" cy="3887"/>
                </a:xfrm>
                <a:custGeom>
                  <a:avLst/>
                  <a:gdLst>
                    <a:gd name="connsiteX0" fmla="*/ 0 w 7296"/>
                    <a:gd name="connsiteY0" fmla="*/ 239 h 3887"/>
                    <a:gd name="connsiteX1" fmla="*/ 120 w 7296"/>
                    <a:gd name="connsiteY1" fmla="*/ 0 h 3887"/>
                    <a:gd name="connsiteX2" fmla="*/ 2153 w 7296"/>
                    <a:gd name="connsiteY2" fmla="*/ 777 h 3887"/>
                    <a:gd name="connsiteX3" fmla="*/ 7296 w 7296"/>
                    <a:gd name="connsiteY3" fmla="*/ 3289 h 3887"/>
                    <a:gd name="connsiteX4" fmla="*/ 7296 w 7296"/>
                    <a:gd name="connsiteY4" fmla="*/ 3349 h 3887"/>
                    <a:gd name="connsiteX5" fmla="*/ 6997 w 7296"/>
                    <a:gd name="connsiteY5" fmla="*/ 3887 h 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 h="3887">
                      <a:moveTo>
                        <a:pt x="0" y="239"/>
                      </a:moveTo>
                      <a:lnTo>
                        <a:pt x="120" y="0"/>
                      </a:lnTo>
                      <a:lnTo>
                        <a:pt x="2153" y="777"/>
                      </a:lnTo>
                      <a:lnTo>
                        <a:pt x="7296" y="3289"/>
                      </a:lnTo>
                      <a:lnTo>
                        <a:pt x="7296" y="3349"/>
                      </a:lnTo>
                      <a:lnTo>
                        <a:pt x="6997" y="3887"/>
                      </a:lnTo>
                    </a:path>
                  </a:pathLst>
                </a:custGeom>
                <a:noFill/>
                <a:ln w="6350" cap="rnd">
                  <a:solidFill>
                    <a:schemeClr val="bg1">
                      <a:alpha val="40000"/>
                    </a:schemeClr>
                  </a:solidFill>
                  <a:prstDash val="solid"/>
                  <a:round/>
                </a:ln>
              </p:spPr>
              <p:txBody>
                <a:bodyPr rtlCol="0" anchor="ctr"/>
                <a:lstStyle/>
                <a:p>
                  <a:endParaRPr lang="en-GB"/>
                </a:p>
              </p:txBody>
            </p:sp>
            <p:sp>
              <p:nvSpPr>
                <p:cNvPr id="6381" name="Vrije vorm: vorm 6380">
                  <a:extLst>
                    <a:ext uri="{FF2B5EF4-FFF2-40B4-BE49-F238E27FC236}">
                      <a16:creationId xmlns:a16="http://schemas.microsoft.com/office/drawing/2014/main" id="{425156B5-B2D6-47D8-99D8-C66E10BEE48B}"/>
                    </a:ext>
                  </a:extLst>
                </p:cNvPr>
                <p:cNvSpPr/>
                <p:nvPr/>
              </p:nvSpPr>
              <p:spPr>
                <a:xfrm>
                  <a:off x="6814633" y="1751195"/>
                  <a:ext cx="30741" cy="25717"/>
                </a:xfrm>
                <a:custGeom>
                  <a:avLst/>
                  <a:gdLst>
                    <a:gd name="connsiteX0" fmla="*/ 23803 w 30741"/>
                    <a:gd name="connsiteY0" fmla="*/ 25717 h 25717"/>
                    <a:gd name="connsiteX1" fmla="*/ 23086 w 30741"/>
                    <a:gd name="connsiteY1" fmla="*/ 25298 h 25717"/>
                    <a:gd name="connsiteX2" fmla="*/ 359 w 30741"/>
                    <a:gd name="connsiteY2" fmla="*/ 11902 h 25717"/>
                    <a:gd name="connsiteX3" fmla="*/ 0 w 30741"/>
                    <a:gd name="connsiteY3" fmla="*/ 10048 h 25717"/>
                    <a:gd name="connsiteX4" fmla="*/ 5562 w 30741"/>
                    <a:gd name="connsiteY4" fmla="*/ 598 h 25717"/>
                    <a:gd name="connsiteX5" fmla="*/ 7357 w 30741"/>
                    <a:gd name="connsiteY5" fmla="*/ 0 h 25717"/>
                    <a:gd name="connsiteX6" fmla="*/ 26555 w 30741"/>
                    <a:gd name="connsiteY6" fmla="*/ 11244 h 25717"/>
                    <a:gd name="connsiteX7" fmla="*/ 29366 w 30741"/>
                    <a:gd name="connsiteY7" fmla="*/ 12918 h 25717"/>
                    <a:gd name="connsiteX8" fmla="*/ 30083 w 30741"/>
                    <a:gd name="connsiteY8" fmla="*/ 13337 h 25717"/>
                    <a:gd name="connsiteX9" fmla="*/ 30741 w 30741"/>
                    <a:gd name="connsiteY9" fmla="*/ 13756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41" h="25717">
                      <a:moveTo>
                        <a:pt x="23803" y="25717"/>
                      </a:moveTo>
                      <a:lnTo>
                        <a:pt x="23086" y="25298"/>
                      </a:lnTo>
                      <a:lnTo>
                        <a:pt x="359" y="11902"/>
                      </a:lnTo>
                      <a:lnTo>
                        <a:pt x="0" y="10048"/>
                      </a:lnTo>
                      <a:lnTo>
                        <a:pt x="5562" y="598"/>
                      </a:lnTo>
                      <a:lnTo>
                        <a:pt x="7357" y="0"/>
                      </a:lnTo>
                      <a:lnTo>
                        <a:pt x="26555" y="11244"/>
                      </a:lnTo>
                      <a:lnTo>
                        <a:pt x="29366" y="12918"/>
                      </a:lnTo>
                      <a:lnTo>
                        <a:pt x="30083" y="13337"/>
                      </a:lnTo>
                      <a:lnTo>
                        <a:pt x="30741" y="13756"/>
                      </a:lnTo>
                    </a:path>
                  </a:pathLst>
                </a:custGeom>
                <a:noFill/>
                <a:ln w="6350" cap="rnd">
                  <a:solidFill>
                    <a:schemeClr val="bg1">
                      <a:alpha val="40000"/>
                    </a:schemeClr>
                  </a:solidFill>
                  <a:prstDash val="solid"/>
                  <a:round/>
                </a:ln>
              </p:spPr>
              <p:txBody>
                <a:bodyPr rtlCol="0" anchor="ctr"/>
                <a:lstStyle/>
                <a:p>
                  <a:endParaRPr lang="en-GB"/>
                </a:p>
              </p:txBody>
            </p:sp>
            <p:sp>
              <p:nvSpPr>
                <p:cNvPr id="6382" name="Vrije vorm: vorm 6381">
                  <a:extLst>
                    <a:ext uri="{FF2B5EF4-FFF2-40B4-BE49-F238E27FC236}">
                      <a16:creationId xmlns:a16="http://schemas.microsoft.com/office/drawing/2014/main" id="{F778B9E9-48AA-44C5-A0C8-1CCAF68F7ACF}"/>
                    </a:ext>
                  </a:extLst>
                </p:cNvPr>
                <p:cNvSpPr/>
                <p:nvPr/>
              </p:nvSpPr>
              <p:spPr>
                <a:xfrm>
                  <a:off x="6845554" y="176489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383" name="Vrije vorm: vorm 6382">
                  <a:extLst>
                    <a:ext uri="{FF2B5EF4-FFF2-40B4-BE49-F238E27FC236}">
                      <a16:creationId xmlns:a16="http://schemas.microsoft.com/office/drawing/2014/main" id="{FC8D9A4C-2079-41BF-84A5-342F5CFDD2D4}"/>
                    </a:ext>
                  </a:extLst>
                </p:cNvPr>
                <p:cNvSpPr/>
                <p:nvPr/>
              </p:nvSpPr>
              <p:spPr>
                <a:xfrm>
                  <a:off x="7006017" y="1768599"/>
                  <a:ext cx="57773" cy="97067"/>
                </a:xfrm>
                <a:custGeom>
                  <a:avLst/>
                  <a:gdLst>
                    <a:gd name="connsiteX0" fmla="*/ 0 w 57773"/>
                    <a:gd name="connsiteY0" fmla="*/ 71948 h 97067"/>
                    <a:gd name="connsiteX1" fmla="*/ 479 w 57773"/>
                    <a:gd name="connsiteY1" fmla="*/ 71230 h 97067"/>
                    <a:gd name="connsiteX2" fmla="*/ 2213 w 57773"/>
                    <a:gd name="connsiteY2" fmla="*/ 68599 h 97067"/>
                    <a:gd name="connsiteX3" fmla="*/ 2273 w 57773"/>
                    <a:gd name="connsiteY3" fmla="*/ 68479 h 97067"/>
                    <a:gd name="connsiteX4" fmla="*/ 16089 w 57773"/>
                    <a:gd name="connsiteY4" fmla="*/ 44138 h 97067"/>
                    <a:gd name="connsiteX5" fmla="*/ 18480 w 57773"/>
                    <a:gd name="connsiteY5" fmla="*/ 39174 h 97067"/>
                    <a:gd name="connsiteX6" fmla="*/ 20095 w 57773"/>
                    <a:gd name="connsiteY6" fmla="*/ 35824 h 97067"/>
                    <a:gd name="connsiteX7" fmla="*/ 21590 w 57773"/>
                    <a:gd name="connsiteY7" fmla="*/ 32714 h 97067"/>
                    <a:gd name="connsiteX8" fmla="*/ 23923 w 57773"/>
                    <a:gd name="connsiteY8" fmla="*/ 27810 h 97067"/>
                    <a:gd name="connsiteX9" fmla="*/ 23923 w 57773"/>
                    <a:gd name="connsiteY9" fmla="*/ 27810 h 97067"/>
                    <a:gd name="connsiteX10" fmla="*/ 24282 w 57773"/>
                    <a:gd name="connsiteY10" fmla="*/ 27033 h 97067"/>
                    <a:gd name="connsiteX11" fmla="*/ 24461 w 57773"/>
                    <a:gd name="connsiteY11" fmla="*/ 26614 h 97067"/>
                    <a:gd name="connsiteX12" fmla="*/ 25060 w 57773"/>
                    <a:gd name="connsiteY12" fmla="*/ 25298 h 97067"/>
                    <a:gd name="connsiteX13" fmla="*/ 25298 w 57773"/>
                    <a:gd name="connsiteY13" fmla="*/ 24820 h 97067"/>
                    <a:gd name="connsiteX14" fmla="*/ 26794 w 57773"/>
                    <a:gd name="connsiteY14" fmla="*/ 21710 h 97067"/>
                    <a:gd name="connsiteX15" fmla="*/ 26973 w 57773"/>
                    <a:gd name="connsiteY15" fmla="*/ 21291 h 97067"/>
                    <a:gd name="connsiteX16" fmla="*/ 27332 w 57773"/>
                    <a:gd name="connsiteY16" fmla="*/ 20514 h 97067"/>
                    <a:gd name="connsiteX17" fmla="*/ 27811 w 57773"/>
                    <a:gd name="connsiteY17" fmla="*/ 19497 h 97067"/>
                    <a:gd name="connsiteX18" fmla="*/ 28408 w 57773"/>
                    <a:gd name="connsiteY18" fmla="*/ 18301 h 97067"/>
                    <a:gd name="connsiteX19" fmla="*/ 28588 w 57773"/>
                    <a:gd name="connsiteY19" fmla="*/ 18062 h 97067"/>
                    <a:gd name="connsiteX20" fmla="*/ 29246 w 57773"/>
                    <a:gd name="connsiteY20" fmla="*/ 17284 h 97067"/>
                    <a:gd name="connsiteX21" fmla="*/ 29425 w 57773"/>
                    <a:gd name="connsiteY21" fmla="*/ 17105 h 97067"/>
                    <a:gd name="connsiteX22" fmla="*/ 31159 w 57773"/>
                    <a:gd name="connsiteY22" fmla="*/ 15012 h 97067"/>
                    <a:gd name="connsiteX23" fmla="*/ 31399 w 57773"/>
                    <a:gd name="connsiteY23" fmla="*/ 14713 h 97067"/>
                    <a:gd name="connsiteX24" fmla="*/ 31399 w 57773"/>
                    <a:gd name="connsiteY24" fmla="*/ 14713 h 97067"/>
                    <a:gd name="connsiteX25" fmla="*/ 31519 w 57773"/>
                    <a:gd name="connsiteY25" fmla="*/ 14533 h 97067"/>
                    <a:gd name="connsiteX26" fmla="*/ 31818 w 57773"/>
                    <a:gd name="connsiteY26" fmla="*/ 14114 h 97067"/>
                    <a:gd name="connsiteX27" fmla="*/ 32356 w 57773"/>
                    <a:gd name="connsiteY27" fmla="*/ 13457 h 97067"/>
                    <a:gd name="connsiteX28" fmla="*/ 32416 w 57773"/>
                    <a:gd name="connsiteY28" fmla="*/ 13397 h 97067"/>
                    <a:gd name="connsiteX29" fmla="*/ 33074 w 57773"/>
                    <a:gd name="connsiteY29" fmla="*/ 12619 h 97067"/>
                    <a:gd name="connsiteX30" fmla="*/ 33074 w 57773"/>
                    <a:gd name="connsiteY30" fmla="*/ 12619 h 97067"/>
                    <a:gd name="connsiteX31" fmla="*/ 33133 w 57773"/>
                    <a:gd name="connsiteY31" fmla="*/ 12559 h 97067"/>
                    <a:gd name="connsiteX32" fmla="*/ 33432 w 57773"/>
                    <a:gd name="connsiteY32" fmla="*/ 12201 h 97067"/>
                    <a:gd name="connsiteX33" fmla="*/ 33671 w 57773"/>
                    <a:gd name="connsiteY33" fmla="*/ 11902 h 97067"/>
                    <a:gd name="connsiteX34" fmla="*/ 33731 w 57773"/>
                    <a:gd name="connsiteY34" fmla="*/ 11842 h 97067"/>
                    <a:gd name="connsiteX35" fmla="*/ 34150 w 57773"/>
                    <a:gd name="connsiteY35" fmla="*/ 11304 h 97067"/>
                    <a:gd name="connsiteX36" fmla="*/ 34629 w 57773"/>
                    <a:gd name="connsiteY36" fmla="*/ 10705 h 97067"/>
                    <a:gd name="connsiteX37" fmla="*/ 34688 w 57773"/>
                    <a:gd name="connsiteY37" fmla="*/ 10646 h 97067"/>
                    <a:gd name="connsiteX38" fmla="*/ 34868 w 57773"/>
                    <a:gd name="connsiteY38" fmla="*/ 10406 h 97067"/>
                    <a:gd name="connsiteX39" fmla="*/ 34987 w 57773"/>
                    <a:gd name="connsiteY39" fmla="*/ 10287 h 97067"/>
                    <a:gd name="connsiteX40" fmla="*/ 35765 w 57773"/>
                    <a:gd name="connsiteY40" fmla="*/ 9330 h 97067"/>
                    <a:gd name="connsiteX41" fmla="*/ 37977 w 57773"/>
                    <a:gd name="connsiteY41" fmla="*/ 6579 h 97067"/>
                    <a:gd name="connsiteX42" fmla="*/ 41805 w 57773"/>
                    <a:gd name="connsiteY42" fmla="*/ 2990 h 97067"/>
                    <a:gd name="connsiteX43" fmla="*/ 42643 w 57773"/>
                    <a:gd name="connsiteY43" fmla="*/ 2213 h 97067"/>
                    <a:gd name="connsiteX44" fmla="*/ 42643 w 57773"/>
                    <a:gd name="connsiteY44" fmla="*/ 2213 h 97067"/>
                    <a:gd name="connsiteX45" fmla="*/ 43360 w 57773"/>
                    <a:gd name="connsiteY45" fmla="*/ 1555 h 97067"/>
                    <a:gd name="connsiteX46" fmla="*/ 43958 w 57773"/>
                    <a:gd name="connsiteY46" fmla="*/ 957 h 97067"/>
                    <a:gd name="connsiteX47" fmla="*/ 44975 w 57773"/>
                    <a:gd name="connsiteY47" fmla="*/ 0 h 97067"/>
                    <a:gd name="connsiteX48" fmla="*/ 53169 w 57773"/>
                    <a:gd name="connsiteY48" fmla="*/ 777 h 97067"/>
                    <a:gd name="connsiteX49" fmla="*/ 57774 w 57773"/>
                    <a:gd name="connsiteY49" fmla="*/ 8373 h 97067"/>
                    <a:gd name="connsiteX50" fmla="*/ 57415 w 57773"/>
                    <a:gd name="connsiteY50" fmla="*/ 10466 h 97067"/>
                    <a:gd name="connsiteX51" fmla="*/ 57415 w 57773"/>
                    <a:gd name="connsiteY51" fmla="*/ 10526 h 97067"/>
                    <a:gd name="connsiteX52" fmla="*/ 57355 w 57773"/>
                    <a:gd name="connsiteY52" fmla="*/ 10765 h 97067"/>
                    <a:gd name="connsiteX53" fmla="*/ 56339 w 57773"/>
                    <a:gd name="connsiteY53" fmla="*/ 17404 h 97067"/>
                    <a:gd name="connsiteX54" fmla="*/ 56159 w 57773"/>
                    <a:gd name="connsiteY54" fmla="*/ 18361 h 97067"/>
                    <a:gd name="connsiteX55" fmla="*/ 56159 w 57773"/>
                    <a:gd name="connsiteY55" fmla="*/ 18421 h 97067"/>
                    <a:gd name="connsiteX56" fmla="*/ 56099 w 57773"/>
                    <a:gd name="connsiteY56" fmla="*/ 18540 h 97067"/>
                    <a:gd name="connsiteX57" fmla="*/ 54544 w 57773"/>
                    <a:gd name="connsiteY57" fmla="*/ 21411 h 97067"/>
                    <a:gd name="connsiteX58" fmla="*/ 54246 w 57773"/>
                    <a:gd name="connsiteY58" fmla="*/ 21949 h 97067"/>
                    <a:gd name="connsiteX59" fmla="*/ 53886 w 57773"/>
                    <a:gd name="connsiteY59" fmla="*/ 22667 h 97067"/>
                    <a:gd name="connsiteX60" fmla="*/ 53827 w 57773"/>
                    <a:gd name="connsiteY60" fmla="*/ 22787 h 97067"/>
                    <a:gd name="connsiteX61" fmla="*/ 53647 w 57773"/>
                    <a:gd name="connsiteY61" fmla="*/ 23145 h 97067"/>
                    <a:gd name="connsiteX62" fmla="*/ 53528 w 57773"/>
                    <a:gd name="connsiteY62" fmla="*/ 23385 h 97067"/>
                    <a:gd name="connsiteX63" fmla="*/ 53229 w 57773"/>
                    <a:gd name="connsiteY63" fmla="*/ 23983 h 97067"/>
                    <a:gd name="connsiteX64" fmla="*/ 52869 w 57773"/>
                    <a:gd name="connsiteY64" fmla="*/ 24700 h 97067"/>
                    <a:gd name="connsiteX65" fmla="*/ 52750 w 57773"/>
                    <a:gd name="connsiteY65" fmla="*/ 24940 h 97067"/>
                    <a:gd name="connsiteX66" fmla="*/ 52571 w 57773"/>
                    <a:gd name="connsiteY66" fmla="*/ 25239 h 97067"/>
                    <a:gd name="connsiteX67" fmla="*/ 52152 w 57773"/>
                    <a:gd name="connsiteY67" fmla="*/ 26076 h 97067"/>
                    <a:gd name="connsiteX68" fmla="*/ 52152 w 57773"/>
                    <a:gd name="connsiteY68" fmla="*/ 26076 h 97067"/>
                    <a:gd name="connsiteX69" fmla="*/ 51973 w 57773"/>
                    <a:gd name="connsiteY69" fmla="*/ 26435 h 97067"/>
                    <a:gd name="connsiteX70" fmla="*/ 49700 w 57773"/>
                    <a:gd name="connsiteY70" fmla="*/ 30681 h 97067"/>
                    <a:gd name="connsiteX71" fmla="*/ 49640 w 57773"/>
                    <a:gd name="connsiteY71" fmla="*/ 30801 h 97067"/>
                    <a:gd name="connsiteX72" fmla="*/ 47606 w 57773"/>
                    <a:gd name="connsiteY72" fmla="*/ 34569 h 97067"/>
                    <a:gd name="connsiteX73" fmla="*/ 47068 w 57773"/>
                    <a:gd name="connsiteY73" fmla="*/ 35525 h 97067"/>
                    <a:gd name="connsiteX74" fmla="*/ 47008 w 57773"/>
                    <a:gd name="connsiteY74" fmla="*/ 35585 h 97067"/>
                    <a:gd name="connsiteX75" fmla="*/ 46351 w 57773"/>
                    <a:gd name="connsiteY75" fmla="*/ 36781 h 97067"/>
                    <a:gd name="connsiteX76" fmla="*/ 46351 w 57773"/>
                    <a:gd name="connsiteY76" fmla="*/ 36841 h 97067"/>
                    <a:gd name="connsiteX77" fmla="*/ 45453 w 57773"/>
                    <a:gd name="connsiteY77" fmla="*/ 38516 h 97067"/>
                    <a:gd name="connsiteX78" fmla="*/ 45155 w 57773"/>
                    <a:gd name="connsiteY78" fmla="*/ 39054 h 97067"/>
                    <a:gd name="connsiteX79" fmla="*/ 35645 w 57773"/>
                    <a:gd name="connsiteY79" fmla="*/ 56877 h 97067"/>
                    <a:gd name="connsiteX80" fmla="*/ 21650 w 57773"/>
                    <a:gd name="connsiteY80" fmla="*/ 81756 h 97067"/>
                    <a:gd name="connsiteX81" fmla="*/ 11603 w 57773"/>
                    <a:gd name="connsiteY81" fmla="*/ 97067 h 9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7773" h="97067">
                      <a:moveTo>
                        <a:pt x="0" y="71948"/>
                      </a:moveTo>
                      <a:lnTo>
                        <a:pt x="479" y="71230"/>
                      </a:lnTo>
                      <a:lnTo>
                        <a:pt x="2213" y="68599"/>
                      </a:lnTo>
                      <a:lnTo>
                        <a:pt x="2273" y="68479"/>
                      </a:lnTo>
                      <a:lnTo>
                        <a:pt x="16089" y="44138"/>
                      </a:lnTo>
                      <a:lnTo>
                        <a:pt x="18480" y="39174"/>
                      </a:lnTo>
                      <a:lnTo>
                        <a:pt x="20095" y="35824"/>
                      </a:lnTo>
                      <a:lnTo>
                        <a:pt x="21590" y="32714"/>
                      </a:lnTo>
                      <a:lnTo>
                        <a:pt x="23923" y="27810"/>
                      </a:lnTo>
                      <a:lnTo>
                        <a:pt x="23923" y="27810"/>
                      </a:lnTo>
                      <a:lnTo>
                        <a:pt x="24282" y="27033"/>
                      </a:lnTo>
                      <a:lnTo>
                        <a:pt x="24461" y="26614"/>
                      </a:lnTo>
                      <a:lnTo>
                        <a:pt x="25060" y="25298"/>
                      </a:lnTo>
                      <a:lnTo>
                        <a:pt x="25298" y="24820"/>
                      </a:lnTo>
                      <a:lnTo>
                        <a:pt x="26794" y="21710"/>
                      </a:lnTo>
                      <a:lnTo>
                        <a:pt x="26973" y="21291"/>
                      </a:lnTo>
                      <a:lnTo>
                        <a:pt x="27332" y="20514"/>
                      </a:lnTo>
                      <a:lnTo>
                        <a:pt x="27811" y="19497"/>
                      </a:lnTo>
                      <a:lnTo>
                        <a:pt x="28408" y="18301"/>
                      </a:lnTo>
                      <a:lnTo>
                        <a:pt x="28588" y="18062"/>
                      </a:lnTo>
                      <a:lnTo>
                        <a:pt x="29246" y="17284"/>
                      </a:lnTo>
                      <a:lnTo>
                        <a:pt x="29425" y="17105"/>
                      </a:lnTo>
                      <a:lnTo>
                        <a:pt x="31159" y="15012"/>
                      </a:lnTo>
                      <a:lnTo>
                        <a:pt x="31399" y="14713"/>
                      </a:lnTo>
                      <a:lnTo>
                        <a:pt x="31399" y="14713"/>
                      </a:lnTo>
                      <a:lnTo>
                        <a:pt x="31519" y="14533"/>
                      </a:lnTo>
                      <a:lnTo>
                        <a:pt x="31818" y="14114"/>
                      </a:lnTo>
                      <a:lnTo>
                        <a:pt x="32356" y="13457"/>
                      </a:lnTo>
                      <a:lnTo>
                        <a:pt x="32416" y="13397"/>
                      </a:lnTo>
                      <a:lnTo>
                        <a:pt x="33074" y="12619"/>
                      </a:lnTo>
                      <a:lnTo>
                        <a:pt x="33074" y="12619"/>
                      </a:lnTo>
                      <a:lnTo>
                        <a:pt x="33133" y="12559"/>
                      </a:lnTo>
                      <a:lnTo>
                        <a:pt x="33432" y="12201"/>
                      </a:lnTo>
                      <a:lnTo>
                        <a:pt x="33671" y="11902"/>
                      </a:lnTo>
                      <a:lnTo>
                        <a:pt x="33731" y="11842"/>
                      </a:lnTo>
                      <a:lnTo>
                        <a:pt x="34150" y="11304"/>
                      </a:lnTo>
                      <a:lnTo>
                        <a:pt x="34629" y="10705"/>
                      </a:lnTo>
                      <a:lnTo>
                        <a:pt x="34688" y="10646"/>
                      </a:lnTo>
                      <a:lnTo>
                        <a:pt x="34868" y="10406"/>
                      </a:lnTo>
                      <a:lnTo>
                        <a:pt x="34987" y="10287"/>
                      </a:lnTo>
                      <a:lnTo>
                        <a:pt x="35765" y="9330"/>
                      </a:lnTo>
                      <a:lnTo>
                        <a:pt x="37977" y="6579"/>
                      </a:lnTo>
                      <a:lnTo>
                        <a:pt x="41805" y="2990"/>
                      </a:lnTo>
                      <a:lnTo>
                        <a:pt x="42643" y="2213"/>
                      </a:lnTo>
                      <a:lnTo>
                        <a:pt x="42643" y="2213"/>
                      </a:lnTo>
                      <a:lnTo>
                        <a:pt x="43360" y="1555"/>
                      </a:lnTo>
                      <a:lnTo>
                        <a:pt x="43958" y="957"/>
                      </a:lnTo>
                      <a:lnTo>
                        <a:pt x="44975" y="0"/>
                      </a:lnTo>
                      <a:lnTo>
                        <a:pt x="53169" y="777"/>
                      </a:lnTo>
                      <a:lnTo>
                        <a:pt x="57774" y="8373"/>
                      </a:lnTo>
                      <a:lnTo>
                        <a:pt x="57415" y="10466"/>
                      </a:lnTo>
                      <a:lnTo>
                        <a:pt x="57415" y="10526"/>
                      </a:lnTo>
                      <a:lnTo>
                        <a:pt x="57355" y="10765"/>
                      </a:lnTo>
                      <a:lnTo>
                        <a:pt x="56339" y="17404"/>
                      </a:lnTo>
                      <a:lnTo>
                        <a:pt x="56159" y="18361"/>
                      </a:lnTo>
                      <a:lnTo>
                        <a:pt x="56159" y="18421"/>
                      </a:lnTo>
                      <a:lnTo>
                        <a:pt x="56099" y="18540"/>
                      </a:lnTo>
                      <a:lnTo>
                        <a:pt x="54544" y="21411"/>
                      </a:lnTo>
                      <a:lnTo>
                        <a:pt x="54246" y="21949"/>
                      </a:lnTo>
                      <a:lnTo>
                        <a:pt x="53886" y="22667"/>
                      </a:lnTo>
                      <a:lnTo>
                        <a:pt x="53827" y="22787"/>
                      </a:lnTo>
                      <a:lnTo>
                        <a:pt x="53647" y="23145"/>
                      </a:lnTo>
                      <a:lnTo>
                        <a:pt x="53528" y="23385"/>
                      </a:lnTo>
                      <a:lnTo>
                        <a:pt x="53229" y="23983"/>
                      </a:lnTo>
                      <a:lnTo>
                        <a:pt x="52869" y="24700"/>
                      </a:lnTo>
                      <a:lnTo>
                        <a:pt x="52750" y="24940"/>
                      </a:lnTo>
                      <a:lnTo>
                        <a:pt x="52571" y="25239"/>
                      </a:lnTo>
                      <a:lnTo>
                        <a:pt x="52152" y="26076"/>
                      </a:lnTo>
                      <a:lnTo>
                        <a:pt x="52152" y="26076"/>
                      </a:lnTo>
                      <a:lnTo>
                        <a:pt x="51973" y="26435"/>
                      </a:lnTo>
                      <a:lnTo>
                        <a:pt x="49700" y="30681"/>
                      </a:lnTo>
                      <a:lnTo>
                        <a:pt x="49640" y="30801"/>
                      </a:lnTo>
                      <a:lnTo>
                        <a:pt x="47606" y="34569"/>
                      </a:lnTo>
                      <a:lnTo>
                        <a:pt x="47068" y="35525"/>
                      </a:lnTo>
                      <a:lnTo>
                        <a:pt x="47008" y="35585"/>
                      </a:lnTo>
                      <a:lnTo>
                        <a:pt x="46351" y="36781"/>
                      </a:lnTo>
                      <a:lnTo>
                        <a:pt x="46351" y="36841"/>
                      </a:lnTo>
                      <a:lnTo>
                        <a:pt x="45453" y="38516"/>
                      </a:lnTo>
                      <a:lnTo>
                        <a:pt x="45155" y="39054"/>
                      </a:lnTo>
                      <a:lnTo>
                        <a:pt x="35645" y="56877"/>
                      </a:lnTo>
                      <a:lnTo>
                        <a:pt x="21650" y="81756"/>
                      </a:lnTo>
                      <a:lnTo>
                        <a:pt x="11603" y="97067"/>
                      </a:lnTo>
                    </a:path>
                  </a:pathLst>
                </a:custGeom>
                <a:noFill/>
                <a:ln w="6350" cap="rnd">
                  <a:solidFill>
                    <a:schemeClr val="bg1">
                      <a:alpha val="40000"/>
                    </a:schemeClr>
                  </a:solidFill>
                  <a:prstDash val="solid"/>
                  <a:round/>
                </a:ln>
              </p:spPr>
              <p:txBody>
                <a:bodyPr rtlCol="0" anchor="ctr"/>
                <a:lstStyle/>
                <a:p>
                  <a:endParaRPr lang="en-GB"/>
                </a:p>
              </p:txBody>
            </p:sp>
            <p:sp>
              <p:nvSpPr>
                <p:cNvPr id="6384" name="Vrije vorm: vorm 6383">
                  <a:extLst>
                    <a:ext uri="{FF2B5EF4-FFF2-40B4-BE49-F238E27FC236}">
                      <a16:creationId xmlns:a16="http://schemas.microsoft.com/office/drawing/2014/main" id="{39506AD5-040A-417F-A776-508BB2F51B6A}"/>
                    </a:ext>
                  </a:extLst>
                </p:cNvPr>
                <p:cNvSpPr/>
                <p:nvPr/>
              </p:nvSpPr>
              <p:spPr>
                <a:xfrm>
                  <a:off x="7004761" y="1991919"/>
                  <a:ext cx="59209" cy="95930"/>
                </a:xfrm>
                <a:custGeom>
                  <a:avLst/>
                  <a:gdLst>
                    <a:gd name="connsiteX0" fmla="*/ 59209 w 59209"/>
                    <a:gd name="connsiteY0" fmla="*/ 0 h 95930"/>
                    <a:gd name="connsiteX1" fmla="*/ 51434 w 59209"/>
                    <a:gd name="connsiteY1" fmla="*/ 3648 h 95930"/>
                    <a:gd name="connsiteX2" fmla="*/ 42164 w 59209"/>
                    <a:gd name="connsiteY2" fmla="*/ 11184 h 95930"/>
                    <a:gd name="connsiteX3" fmla="*/ 36542 w 59209"/>
                    <a:gd name="connsiteY3" fmla="*/ 17344 h 95930"/>
                    <a:gd name="connsiteX4" fmla="*/ 32176 w 59209"/>
                    <a:gd name="connsiteY4" fmla="*/ 22069 h 95930"/>
                    <a:gd name="connsiteX5" fmla="*/ 26494 w 59209"/>
                    <a:gd name="connsiteY5" fmla="*/ 29724 h 95930"/>
                    <a:gd name="connsiteX6" fmla="*/ 22308 w 59209"/>
                    <a:gd name="connsiteY6" fmla="*/ 35406 h 95930"/>
                    <a:gd name="connsiteX7" fmla="*/ 15909 w 59209"/>
                    <a:gd name="connsiteY7" fmla="*/ 45992 h 95930"/>
                    <a:gd name="connsiteX8" fmla="*/ 13516 w 59209"/>
                    <a:gd name="connsiteY8" fmla="*/ 49939 h 95930"/>
                    <a:gd name="connsiteX9" fmla="*/ 10646 w 59209"/>
                    <a:gd name="connsiteY9" fmla="*/ 55920 h 95930"/>
                    <a:gd name="connsiteX10" fmla="*/ 10287 w 59209"/>
                    <a:gd name="connsiteY10" fmla="*/ 56637 h 95930"/>
                    <a:gd name="connsiteX11" fmla="*/ 6459 w 59209"/>
                    <a:gd name="connsiteY11" fmla="*/ 64472 h 95930"/>
                    <a:gd name="connsiteX12" fmla="*/ 4545 w 59209"/>
                    <a:gd name="connsiteY12" fmla="*/ 69974 h 95930"/>
                    <a:gd name="connsiteX13" fmla="*/ 1854 w 59209"/>
                    <a:gd name="connsiteY13" fmla="*/ 77690 h 95930"/>
                    <a:gd name="connsiteX14" fmla="*/ 1675 w 59209"/>
                    <a:gd name="connsiteY14" fmla="*/ 78826 h 95930"/>
                    <a:gd name="connsiteX15" fmla="*/ 1435 w 59209"/>
                    <a:gd name="connsiteY15" fmla="*/ 80142 h 95930"/>
                    <a:gd name="connsiteX16" fmla="*/ 0 w 59209"/>
                    <a:gd name="connsiteY16" fmla="*/ 88455 h 95930"/>
                    <a:gd name="connsiteX17" fmla="*/ 1016 w 59209"/>
                    <a:gd name="connsiteY17" fmla="*/ 95931 h 9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209" h="95930">
                      <a:moveTo>
                        <a:pt x="59209" y="0"/>
                      </a:moveTo>
                      <a:lnTo>
                        <a:pt x="51434" y="3648"/>
                      </a:lnTo>
                      <a:lnTo>
                        <a:pt x="42164" y="11184"/>
                      </a:lnTo>
                      <a:lnTo>
                        <a:pt x="36542" y="17344"/>
                      </a:lnTo>
                      <a:lnTo>
                        <a:pt x="32176" y="22069"/>
                      </a:lnTo>
                      <a:lnTo>
                        <a:pt x="26494" y="29724"/>
                      </a:lnTo>
                      <a:lnTo>
                        <a:pt x="22308" y="35406"/>
                      </a:lnTo>
                      <a:lnTo>
                        <a:pt x="15909" y="45992"/>
                      </a:lnTo>
                      <a:lnTo>
                        <a:pt x="13516" y="49939"/>
                      </a:lnTo>
                      <a:lnTo>
                        <a:pt x="10646" y="55920"/>
                      </a:lnTo>
                      <a:lnTo>
                        <a:pt x="10287" y="56637"/>
                      </a:lnTo>
                      <a:lnTo>
                        <a:pt x="6459" y="64472"/>
                      </a:lnTo>
                      <a:lnTo>
                        <a:pt x="4545" y="69974"/>
                      </a:lnTo>
                      <a:lnTo>
                        <a:pt x="1854" y="77690"/>
                      </a:lnTo>
                      <a:lnTo>
                        <a:pt x="1675" y="78826"/>
                      </a:lnTo>
                      <a:lnTo>
                        <a:pt x="1435" y="80142"/>
                      </a:lnTo>
                      <a:lnTo>
                        <a:pt x="0" y="88455"/>
                      </a:lnTo>
                      <a:lnTo>
                        <a:pt x="1016" y="95931"/>
                      </a:lnTo>
                    </a:path>
                  </a:pathLst>
                </a:custGeom>
                <a:noFill/>
                <a:ln w="6350" cap="rnd">
                  <a:solidFill>
                    <a:schemeClr val="bg1">
                      <a:alpha val="40000"/>
                    </a:schemeClr>
                  </a:solidFill>
                  <a:prstDash val="solid"/>
                  <a:round/>
                </a:ln>
              </p:spPr>
              <p:txBody>
                <a:bodyPr rtlCol="0" anchor="ctr"/>
                <a:lstStyle/>
                <a:p>
                  <a:endParaRPr lang="en-GB"/>
                </a:p>
              </p:txBody>
            </p:sp>
            <p:sp>
              <p:nvSpPr>
                <p:cNvPr id="6385" name="Vrije vorm: vorm 6384">
                  <a:extLst>
                    <a:ext uri="{FF2B5EF4-FFF2-40B4-BE49-F238E27FC236}">
                      <a16:creationId xmlns:a16="http://schemas.microsoft.com/office/drawing/2014/main" id="{71EFD7EB-EB96-4655-AEA9-3A688D072C71}"/>
                    </a:ext>
                  </a:extLst>
                </p:cNvPr>
                <p:cNvSpPr/>
                <p:nvPr/>
              </p:nvSpPr>
              <p:spPr>
                <a:xfrm>
                  <a:off x="6796392" y="1887616"/>
                  <a:ext cx="478" cy="837"/>
                </a:xfrm>
                <a:custGeom>
                  <a:avLst/>
                  <a:gdLst>
                    <a:gd name="connsiteX0" fmla="*/ 479 w 478"/>
                    <a:gd name="connsiteY0" fmla="*/ 837 h 837"/>
                    <a:gd name="connsiteX1" fmla="*/ 359 w 478"/>
                    <a:gd name="connsiteY1" fmla="*/ 718 h 837"/>
                    <a:gd name="connsiteX2" fmla="*/ 0 w 478"/>
                    <a:gd name="connsiteY2" fmla="*/ 419 h 837"/>
                    <a:gd name="connsiteX3" fmla="*/ 0 w 478"/>
                    <a:gd name="connsiteY3" fmla="*/ 359 h 837"/>
                    <a:gd name="connsiteX4" fmla="*/ 120 w 478"/>
                    <a:gd name="connsiteY4" fmla="*/ 0 h 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 h="837">
                      <a:moveTo>
                        <a:pt x="479" y="837"/>
                      </a:moveTo>
                      <a:lnTo>
                        <a:pt x="359" y="718"/>
                      </a:lnTo>
                      <a:lnTo>
                        <a:pt x="0" y="419"/>
                      </a:lnTo>
                      <a:lnTo>
                        <a:pt x="0" y="359"/>
                      </a:lnTo>
                      <a:lnTo>
                        <a:pt x="120" y="0"/>
                      </a:lnTo>
                    </a:path>
                  </a:pathLst>
                </a:custGeom>
                <a:noFill/>
                <a:ln w="6350" cap="rnd">
                  <a:solidFill>
                    <a:schemeClr val="bg1">
                      <a:alpha val="40000"/>
                    </a:schemeClr>
                  </a:solidFill>
                  <a:prstDash val="solid"/>
                  <a:round/>
                </a:ln>
              </p:spPr>
              <p:txBody>
                <a:bodyPr rtlCol="0" anchor="ctr"/>
                <a:lstStyle/>
                <a:p>
                  <a:endParaRPr lang="en-GB"/>
                </a:p>
              </p:txBody>
            </p:sp>
            <p:sp>
              <p:nvSpPr>
                <p:cNvPr id="6386" name="Vrije vorm: vorm 6385">
                  <a:extLst>
                    <a:ext uri="{FF2B5EF4-FFF2-40B4-BE49-F238E27FC236}">
                      <a16:creationId xmlns:a16="http://schemas.microsoft.com/office/drawing/2014/main" id="{A640C09D-3A5E-4FEA-9C31-EBDFD6FC77F2}"/>
                    </a:ext>
                  </a:extLst>
                </p:cNvPr>
                <p:cNvSpPr/>
                <p:nvPr/>
              </p:nvSpPr>
              <p:spPr>
                <a:xfrm>
                  <a:off x="6813318" y="1849219"/>
                  <a:ext cx="12021" cy="61541"/>
                </a:xfrm>
                <a:custGeom>
                  <a:avLst/>
                  <a:gdLst>
                    <a:gd name="connsiteX0" fmla="*/ 837 w 12021"/>
                    <a:gd name="connsiteY0" fmla="*/ 61542 h 61541"/>
                    <a:gd name="connsiteX1" fmla="*/ 897 w 12021"/>
                    <a:gd name="connsiteY1" fmla="*/ 59747 h 61541"/>
                    <a:gd name="connsiteX2" fmla="*/ 1495 w 12021"/>
                    <a:gd name="connsiteY2" fmla="*/ 59448 h 61541"/>
                    <a:gd name="connsiteX3" fmla="*/ 1076 w 12021"/>
                    <a:gd name="connsiteY3" fmla="*/ 58910 h 61541"/>
                    <a:gd name="connsiteX4" fmla="*/ 1674 w 12021"/>
                    <a:gd name="connsiteY4" fmla="*/ 56219 h 61541"/>
                    <a:gd name="connsiteX5" fmla="*/ 2333 w 12021"/>
                    <a:gd name="connsiteY5" fmla="*/ 53228 h 61541"/>
                    <a:gd name="connsiteX6" fmla="*/ 3409 w 12021"/>
                    <a:gd name="connsiteY6" fmla="*/ 48803 h 61541"/>
                    <a:gd name="connsiteX7" fmla="*/ 3588 w 12021"/>
                    <a:gd name="connsiteY7" fmla="*/ 48085 h 61541"/>
                    <a:gd name="connsiteX8" fmla="*/ 3648 w 12021"/>
                    <a:gd name="connsiteY8" fmla="*/ 47906 h 61541"/>
                    <a:gd name="connsiteX9" fmla="*/ 3708 w 12021"/>
                    <a:gd name="connsiteY9" fmla="*/ 47726 h 61541"/>
                    <a:gd name="connsiteX10" fmla="*/ 3887 w 12021"/>
                    <a:gd name="connsiteY10" fmla="*/ 47008 h 61541"/>
                    <a:gd name="connsiteX11" fmla="*/ 4007 w 12021"/>
                    <a:gd name="connsiteY11" fmla="*/ 46650 h 61541"/>
                    <a:gd name="connsiteX12" fmla="*/ 4127 w 12021"/>
                    <a:gd name="connsiteY12" fmla="*/ 46111 h 61541"/>
                    <a:gd name="connsiteX13" fmla="*/ 4486 w 12021"/>
                    <a:gd name="connsiteY13" fmla="*/ 44736 h 61541"/>
                    <a:gd name="connsiteX14" fmla="*/ 4486 w 12021"/>
                    <a:gd name="connsiteY14" fmla="*/ 44616 h 61541"/>
                    <a:gd name="connsiteX15" fmla="*/ 4486 w 12021"/>
                    <a:gd name="connsiteY15" fmla="*/ 44497 h 61541"/>
                    <a:gd name="connsiteX16" fmla="*/ 4725 w 12021"/>
                    <a:gd name="connsiteY16" fmla="*/ 43480 h 61541"/>
                    <a:gd name="connsiteX17" fmla="*/ 5024 w 12021"/>
                    <a:gd name="connsiteY17" fmla="*/ 42284 h 61541"/>
                    <a:gd name="connsiteX18" fmla="*/ 5143 w 12021"/>
                    <a:gd name="connsiteY18" fmla="*/ 41865 h 61541"/>
                    <a:gd name="connsiteX19" fmla="*/ 5203 w 12021"/>
                    <a:gd name="connsiteY19" fmla="*/ 41626 h 61541"/>
                    <a:gd name="connsiteX20" fmla="*/ 5562 w 12021"/>
                    <a:gd name="connsiteY20" fmla="*/ 40190 h 61541"/>
                    <a:gd name="connsiteX21" fmla="*/ 5622 w 12021"/>
                    <a:gd name="connsiteY21" fmla="*/ 40011 h 61541"/>
                    <a:gd name="connsiteX22" fmla="*/ 5861 w 12021"/>
                    <a:gd name="connsiteY22" fmla="*/ 39054 h 61541"/>
                    <a:gd name="connsiteX23" fmla="*/ 5981 w 12021"/>
                    <a:gd name="connsiteY23" fmla="*/ 38576 h 61541"/>
                    <a:gd name="connsiteX24" fmla="*/ 5981 w 12021"/>
                    <a:gd name="connsiteY24" fmla="*/ 38456 h 61541"/>
                    <a:gd name="connsiteX25" fmla="*/ 5981 w 12021"/>
                    <a:gd name="connsiteY25" fmla="*/ 38396 h 61541"/>
                    <a:gd name="connsiteX26" fmla="*/ 5981 w 12021"/>
                    <a:gd name="connsiteY26" fmla="*/ 38396 h 61541"/>
                    <a:gd name="connsiteX27" fmla="*/ 6579 w 12021"/>
                    <a:gd name="connsiteY27" fmla="*/ 36303 h 61541"/>
                    <a:gd name="connsiteX28" fmla="*/ 6818 w 12021"/>
                    <a:gd name="connsiteY28" fmla="*/ 35466 h 61541"/>
                    <a:gd name="connsiteX29" fmla="*/ 6818 w 12021"/>
                    <a:gd name="connsiteY29" fmla="*/ 35466 h 61541"/>
                    <a:gd name="connsiteX30" fmla="*/ 6878 w 12021"/>
                    <a:gd name="connsiteY30" fmla="*/ 35167 h 61541"/>
                    <a:gd name="connsiteX31" fmla="*/ 6997 w 12021"/>
                    <a:gd name="connsiteY31" fmla="*/ 34748 h 61541"/>
                    <a:gd name="connsiteX32" fmla="*/ 7177 w 12021"/>
                    <a:gd name="connsiteY32" fmla="*/ 34090 h 61541"/>
                    <a:gd name="connsiteX33" fmla="*/ 7177 w 12021"/>
                    <a:gd name="connsiteY33" fmla="*/ 34030 h 61541"/>
                    <a:gd name="connsiteX34" fmla="*/ 7177 w 12021"/>
                    <a:gd name="connsiteY34" fmla="*/ 33970 h 61541"/>
                    <a:gd name="connsiteX35" fmla="*/ 7177 w 12021"/>
                    <a:gd name="connsiteY35" fmla="*/ 33851 h 61541"/>
                    <a:gd name="connsiteX36" fmla="*/ 7356 w 12021"/>
                    <a:gd name="connsiteY36" fmla="*/ 33253 h 61541"/>
                    <a:gd name="connsiteX37" fmla="*/ 7416 w 12021"/>
                    <a:gd name="connsiteY37" fmla="*/ 33014 h 61541"/>
                    <a:gd name="connsiteX38" fmla="*/ 7476 w 12021"/>
                    <a:gd name="connsiteY38" fmla="*/ 32774 h 61541"/>
                    <a:gd name="connsiteX39" fmla="*/ 7954 w 12021"/>
                    <a:gd name="connsiteY39" fmla="*/ 31219 h 61541"/>
                    <a:gd name="connsiteX40" fmla="*/ 8014 w 12021"/>
                    <a:gd name="connsiteY40" fmla="*/ 31040 h 61541"/>
                    <a:gd name="connsiteX41" fmla="*/ 8194 w 12021"/>
                    <a:gd name="connsiteY41" fmla="*/ 30502 h 61541"/>
                    <a:gd name="connsiteX42" fmla="*/ 8253 w 12021"/>
                    <a:gd name="connsiteY42" fmla="*/ 30322 h 61541"/>
                    <a:gd name="connsiteX43" fmla="*/ 8433 w 12021"/>
                    <a:gd name="connsiteY43" fmla="*/ 29724 h 61541"/>
                    <a:gd name="connsiteX44" fmla="*/ 8552 w 12021"/>
                    <a:gd name="connsiteY44" fmla="*/ 29425 h 61541"/>
                    <a:gd name="connsiteX45" fmla="*/ 8851 w 12021"/>
                    <a:gd name="connsiteY45" fmla="*/ 28468 h 61541"/>
                    <a:gd name="connsiteX46" fmla="*/ 8851 w 12021"/>
                    <a:gd name="connsiteY46" fmla="*/ 28468 h 61541"/>
                    <a:gd name="connsiteX47" fmla="*/ 8851 w 12021"/>
                    <a:gd name="connsiteY47" fmla="*/ 28468 h 61541"/>
                    <a:gd name="connsiteX48" fmla="*/ 8911 w 12021"/>
                    <a:gd name="connsiteY48" fmla="*/ 28229 h 61541"/>
                    <a:gd name="connsiteX49" fmla="*/ 8911 w 12021"/>
                    <a:gd name="connsiteY49" fmla="*/ 28169 h 61541"/>
                    <a:gd name="connsiteX50" fmla="*/ 9031 w 12021"/>
                    <a:gd name="connsiteY50" fmla="*/ 27751 h 61541"/>
                    <a:gd name="connsiteX51" fmla="*/ 9031 w 12021"/>
                    <a:gd name="connsiteY51" fmla="*/ 27691 h 61541"/>
                    <a:gd name="connsiteX52" fmla="*/ 9031 w 12021"/>
                    <a:gd name="connsiteY52" fmla="*/ 27691 h 61541"/>
                    <a:gd name="connsiteX53" fmla="*/ 9031 w 12021"/>
                    <a:gd name="connsiteY53" fmla="*/ 27691 h 61541"/>
                    <a:gd name="connsiteX54" fmla="*/ 9031 w 12021"/>
                    <a:gd name="connsiteY54" fmla="*/ 27691 h 61541"/>
                    <a:gd name="connsiteX55" fmla="*/ 9091 w 12021"/>
                    <a:gd name="connsiteY55" fmla="*/ 27392 h 61541"/>
                    <a:gd name="connsiteX56" fmla="*/ 9150 w 12021"/>
                    <a:gd name="connsiteY56" fmla="*/ 27212 h 61541"/>
                    <a:gd name="connsiteX57" fmla="*/ 9330 w 12021"/>
                    <a:gd name="connsiteY57" fmla="*/ 26614 h 61541"/>
                    <a:gd name="connsiteX58" fmla="*/ 9450 w 12021"/>
                    <a:gd name="connsiteY58" fmla="*/ 26255 h 61541"/>
                    <a:gd name="connsiteX59" fmla="*/ 9569 w 12021"/>
                    <a:gd name="connsiteY59" fmla="*/ 25837 h 61541"/>
                    <a:gd name="connsiteX60" fmla="*/ 9749 w 12021"/>
                    <a:gd name="connsiteY60" fmla="*/ 25059 h 61541"/>
                    <a:gd name="connsiteX61" fmla="*/ 9928 w 12021"/>
                    <a:gd name="connsiteY61" fmla="*/ 24222 h 61541"/>
                    <a:gd name="connsiteX62" fmla="*/ 9928 w 12021"/>
                    <a:gd name="connsiteY62" fmla="*/ 24102 h 61541"/>
                    <a:gd name="connsiteX63" fmla="*/ 9928 w 12021"/>
                    <a:gd name="connsiteY63" fmla="*/ 23983 h 61541"/>
                    <a:gd name="connsiteX64" fmla="*/ 10107 w 12021"/>
                    <a:gd name="connsiteY64" fmla="*/ 23205 h 61541"/>
                    <a:gd name="connsiteX65" fmla="*/ 10167 w 12021"/>
                    <a:gd name="connsiteY65" fmla="*/ 23026 h 61541"/>
                    <a:gd name="connsiteX66" fmla="*/ 10227 w 12021"/>
                    <a:gd name="connsiteY66" fmla="*/ 22787 h 61541"/>
                    <a:gd name="connsiteX67" fmla="*/ 10287 w 12021"/>
                    <a:gd name="connsiteY67" fmla="*/ 22607 h 61541"/>
                    <a:gd name="connsiteX68" fmla="*/ 10526 w 12021"/>
                    <a:gd name="connsiteY68" fmla="*/ 21650 h 61541"/>
                    <a:gd name="connsiteX69" fmla="*/ 10645 w 12021"/>
                    <a:gd name="connsiteY69" fmla="*/ 21291 h 61541"/>
                    <a:gd name="connsiteX70" fmla="*/ 10765 w 12021"/>
                    <a:gd name="connsiteY70" fmla="*/ 20693 h 61541"/>
                    <a:gd name="connsiteX71" fmla="*/ 11363 w 12021"/>
                    <a:gd name="connsiteY71" fmla="*/ 18361 h 61541"/>
                    <a:gd name="connsiteX72" fmla="*/ 11543 w 12021"/>
                    <a:gd name="connsiteY72" fmla="*/ 17703 h 61541"/>
                    <a:gd name="connsiteX73" fmla="*/ 11842 w 12021"/>
                    <a:gd name="connsiteY73" fmla="*/ 16507 h 61541"/>
                    <a:gd name="connsiteX74" fmla="*/ 11961 w 12021"/>
                    <a:gd name="connsiteY74" fmla="*/ 16028 h 61541"/>
                    <a:gd name="connsiteX75" fmla="*/ 11961 w 12021"/>
                    <a:gd name="connsiteY75" fmla="*/ 15370 h 61541"/>
                    <a:gd name="connsiteX76" fmla="*/ 11961 w 12021"/>
                    <a:gd name="connsiteY76" fmla="*/ 14653 h 61541"/>
                    <a:gd name="connsiteX77" fmla="*/ 12021 w 12021"/>
                    <a:gd name="connsiteY77" fmla="*/ 13457 h 61541"/>
                    <a:gd name="connsiteX78" fmla="*/ 12021 w 12021"/>
                    <a:gd name="connsiteY78" fmla="*/ 13337 h 61541"/>
                    <a:gd name="connsiteX79" fmla="*/ 12021 w 12021"/>
                    <a:gd name="connsiteY79" fmla="*/ 12619 h 61541"/>
                    <a:gd name="connsiteX80" fmla="*/ 12021 w 12021"/>
                    <a:gd name="connsiteY80" fmla="*/ 11543 h 61541"/>
                    <a:gd name="connsiteX81" fmla="*/ 12021 w 12021"/>
                    <a:gd name="connsiteY81" fmla="*/ 11304 h 61541"/>
                    <a:gd name="connsiteX82" fmla="*/ 9390 w 12021"/>
                    <a:gd name="connsiteY82" fmla="*/ 7775 h 61541"/>
                    <a:gd name="connsiteX83" fmla="*/ 8851 w 12021"/>
                    <a:gd name="connsiteY83" fmla="*/ 7356 h 61541"/>
                    <a:gd name="connsiteX84" fmla="*/ 6758 w 12021"/>
                    <a:gd name="connsiteY84" fmla="*/ 5622 h 61541"/>
                    <a:gd name="connsiteX85" fmla="*/ 5921 w 12021"/>
                    <a:gd name="connsiteY85" fmla="*/ 4904 h 61541"/>
                    <a:gd name="connsiteX86" fmla="*/ 0 w 12021"/>
                    <a:gd name="connsiteY86" fmla="*/ 0 h 6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021" h="61541">
                      <a:moveTo>
                        <a:pt x="837" y="61542"/>
                      </a:moveTo>
                      <a:lnTo>
                        <a:pt x="897" y="59747"/>
                      </a:lnTo>
                      <a:lnTo>
                        <a:pt x="1495" y="59448"/>
                      </a:lnTo>
                      <a:lnTo>
                        <a:pt x="1076" y="58910"/>
                      </a:lnTo>
                      <a:lnTo>
                        <a:pt x="1674" y="56219"/>
                      </a:lnTo>
                      <a:lnTo>
                        <a:pt x="2333" y="53228"/>
                      </a:lnTo>
                      <a:lnTo>
                        <a:pt x="3409" y="48803"/>
                      </a:lnTo>
                      <a:lnTo>
                        <a:pt x="3588" y="48085"/>
                      </a:lnTo>
                      <a:lnTo>
                        <a:pt x="3648" y="47906"/>
                      </a:lnTo>
                      <a:lnTo>
                        <a:pt x="3708" y="47726"/>
                      </a:lnTo>
                      <a:lnTo>
                        <a:pt x="3887" y="47008"/>
                      </a:lnTo>
                      <a:lnTo>
                        <a:pt x="4007" y="46650"/>
                      </a:lnTo>
                      <a:lnTo>
                        <a:pt x="4127" y="46111"/>
                      </a:lnTo>
                      <a:lnTo>
                        <a:pt x="4486" y="44736"/>
                      </a:lnTo>
                      <a:lnTo>
                        <a:pt x="4486" y="44616"/>
                      </a:lnTo>
                      <a:lnTo>
                        <a:pt x="4486" y="44497"/>
                      </a:lnTo>
                      <a:lnTo>
                        <a:pt x="4725" y="43480"/>
                      </a:lnTo>
                      <a:lnTo>
                        <a:pt x="5024" y="42284"/>
                      </a:lnTo>
                      <a:lnTo>
                        <a:pt x="5143" y="41865"/>
                      </a:lnTo>
                      <a:lnTo>
                        <a:pt x="5203" y="41626"/>
                      </a:lnTo>
                      <a:lnTo>
                        <a:pt x="5562" y="40190"/>
                      </a:lnTo>
                      <a:lnTo>
                        <a:pt x="5622" y="40011"/>
                      </a:lnTo>
                      <a:lnTo>
                        <a:pt x="5861" y="39054"/>
                      </a:lnTo>
                      <a:lnTo>
                        <a:pt x="5981" y="38576"/>
                      </a:lnTo>
                      <a:lnTo>
                        <a:pt x="5981" y="38456"/>
                      </a:lnTo>
                      <a:lnTo>
                        <a:pt x="5981" y="38396"/>
                      </a:lnTo>
                      <a:lnTo>
                        <a:pt x="5981" y="38396"/>
                      </a:lnTo>
                      <a:lnTo>
                        <a:pt x="6579" y="36303"/>
                      </a:lnTo>
                      <a:lnTo>
                        <a:pt x="6818" y="35466"/>
                      </a:lnTo>
                      <a:lnTo>
                        <a:pt x="6818" y="35466"/>
                      </a:lnTo>
                      <a:lnTo>
                        <a:pt x="6878" y="35167"/>
                      </a:lnTo>
                      <a:lnTo>
                        <a:pt x="6997" y="34748"/>
                      </a:lnTo>
                      <a:lnTo>
                        <a:pt x="7177" y="34090"/>
                      </a:lnTo>
                      <a:lnTo>
                        <a:pt x="7177" y="34030"/>
                      </a:lnTo>
                      <a:lnTo>
                        <a:pt x="7177" y="33970"/>
                      </a:lnTo>
                      <a:lnTo>
                        <a:pt x="7177" y="33851"/>
                      </a:lnTo>
                      <a:lnTo>
                        <a:pt x="7356" y="33253"/>
                      </a:lnTo>
                      <a:lnTo>
                        <a:pt x="7416" y="33014"/>
                      </a:lnTo>
                      <a:lnTo>
                        <a:pt x="7476" y="32774"/>
                      </a:lnTo>
                      <a:lnTo>
                        <a:pt x="7954" y="31219"/>
                      </a:lnTo>
                      <a:lnTo>
                        <a:pt x="8014" y="31040"/>
                      </a:lnTo>
                      <a:lnTo>
                        <a:pt x="8194" y="30502"/>
                      </a:lnTo>
                      <a:lnTo>
                        <a:pt x="8253" y="30322"/>
                      </a:lnTo>
                      <a:lnTo>
                        <a:pt x="8433" y="29724"/>
                      </a:lnTo>
                      <a:lnTo>
                        <a:pt x="8552" y="29425"/>
                      </a:lnTo>
                      <a:lnTo>
                        <a:pt x="8851" y="28468"/>
                      </a:lnTo>
                      <a:lnTo>
                        <a:pt x="8851" y="28468"/>
                      </a:lnTo>
                      <a:lnTo>
                        <a:pt x="8851" y="28468"/>
                      </a:lnTo>
                      <a:lnTo>
                        <a:pt x="8911" y="28229"/>
                      </a:lnTo>
                      <a:lnTo>
                        <a:pt x="8911" y="28169"/>
                      </a:lnTo>
                      <a:lnTo>
                        <a:pt x="9031" y="27751"/>
                      </a:lnTo>
                      <a:lnTo>
                        <a:pt x="9031" y="27691"/>
                      </a:lnTo>
                      <a:lnTo>
                        <a:pt x="9031" y="27691"/>
                      </a:lnTo>
                      <a:lnTo>
                        <a:pt x="9031" y="27691"/>
                      </a:lnTo>
                      <a:lnTo>
                        <a:pt x="9031" y="27691"/>
                      </a:lnTo>
                      <a:lnTo>
                        <a:pt x="9091" y="27392"/>
                      </a:lnTo>
                      <a:lnTo>
                        <a:pt x="9150" y="27212"/>
                      </a:lnTo>
                      <a:lnTo>
                        <a:pt x="9330" y="26614"/>
                      </a:lnTo>
                      <a:lnTo>
                        <a:pt x="9450" y="26255"/>
                      </a:lnTo>
                      <a:lnTo>
                        <a:pt x="9569" y="25837"/>
                      </a:lnTo>
                      <a:lnTo>
                        <a:pt x="9749" y="25059"/>
                      </a:lnTo>
                      <a:lnTo>
                        <a:pt x="9928" y="24222"/>
                      </a:lnTo>
                      <a:lnTo>
                        <a:pt x="9928" y="24102"/>
                      </a:lnTo>
                      <a:lnTo>
                        <a:pt x="9928" y="23983"/>
                      </a:lnTo>
                      <a:lnTo>
                        <a:pt x="10107" y="23205"/>
                      </a:lnTo>
                      <a:lnTo>
                        <a:pt x="10167" y="23026"/>
                      </a:lnTo>
                      <a:lnTo>
                        <a:pt x="10227" y="22787"/>
                      </a:lnTo>
                      <a:lnTo>
                        <a:pt x="10287" y="22607"/>
                      </a:lnTo>
                      <a:lnTo>
                        <a:pt x="10526" y="21650"/>
                      </a:lnTo>
                      <a:lnTo>
                        <a:pt x="10645" y="21291"/>
                      </a:lnTo>
                      <a:lnTo>
                        <a:pt x="10765" y="20693"/>
                      </a:lnTo>
                      <a:lnTo>
                        <a:pt x="11363" y="18361"/>
                      </a:lnTo>
                      <a:lnTo>
                        <a:pt x="11543" y="17703"/>
                      </a:lnTo>
                      <a:lnTo>
                        <a:pt x="11842" y="16507"/>
                      </a:lnTo>
                      <a:lnTo>
                        <a:pt x="11961" y="16028"/>
                      </a:lnTo>
                      <a:lnTo>
                        <a:pt x="11961" y="15370"/>
                      </a:lnTo>
                      <a:lnTo>
                        <a:pt x="11961" y="14653"/>
                      </a:lnTo>
                      <a:lnTo>
                        <a:pt x="12021" y="13457"/>
                      </a:lnTo>
                      <a:lnTo>
                        <a:pt x="12021" y="13337"/>
                      </a:lnTo>
                      <a:lnTo>
                        <a:pt x="12021" y="12619"/>
                      </a:lnTo>
                      <a:lnTo>
                        <a:pt x="12021" y="11543"/>
                      </a:lnTo>
                      <a:lnTo>
                        <a:pt x="12021" y="11304"/>
                      </a:lnTo>
                      <a:lnTo>
                        <a:pt x="9390" y="7775"/>
                      </a:lnTo>
                      <a:lnTo>
                        <a:pt x="8851" y="7356"/>
                      </a:lnTo>
                      <a:lnTo>
                        <a:pt x="6758" y="5622"/>
                      </a:lnTo>
                      <a:lnTo>
                        <a:pt x="5921" y="4904"/>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387" name="Vrije vorm: vorm 6386">
                  <a:extLst>
                    <a:ext uri="{FF2B5EF4-FFF2-40B4-BE49-F238E27FC236}">
                      <a16:creationId xmlns:a16="http://schemas.microsoft.com/office/drawing/2014/main" id="{7F278431-1EB7-4314-B5C4-3CF2B97FD6AC}"/>
                    </a:ext>
                  </a:extLst>
                </p:cNvPr>
                <p:cNvSpPr/>
                <p:nvPr/>
              </p:nvSpPr>
              <p:spPr>
                <a:xfrm>
                  <a:off x="6918160" y="1858848"/>
                  <a:ext cx="19317" cy="50656"/>
                </a:xfrm>
                <a:custGeom>
                  <a:avLst/>
                  <a:gdLst>
                    <a:gd name="connsiteX0" fmla="*/ 19318 w 19317"/>
                    <a:gd name="connsiteY0" fmla="*/ 0 h 50656"/>
                    <a:gd name="connsiteX1" fmla="*/ 18720 w 19317"/>
                    <a:gd name="connsiteY1" fmla="*/ 2392 h 50656"/>
                    <a:gd name="connsiteX2" fmla="*/ 18660 w 19317"/>
                    <a:gd name="connsiteY2" fmla="*/ 2512 h 50656"/>
                    <a:gd name="connsiteX3" fmla="*/ 18660 w 19317"/>
                    <a:gd name="connsiteY3" fmla="*/ 2572 h 50656"/>
                    <a:gd name="connsiteX4" fmla="*/ 18600 w 19317"/>
                    <a:gd name="connsiteY4" fmla="*/ 2751 h 50656"/>
                    <a:gd name="connsiteX5" fmla="*/ 18002 w 19317"/>
                    <a:gd name="connsiteY5" fmla="*/ 5024 h 50656"/>
                    <a:gd name="connsiteX6" fmla="*/ 17703 w 19317"/>
                    <a:gd name="connsiteY6" fmla="*/ 6100 h 50656"/>
                    <a:gd name="connsiteX7" fmla="*/ 17643 w 19317"/>
                    <a:gd name="connsiteY7" fmla="*/ 6399 h 50656"/>
                    <a:gd name="connsiteX8" fmla="*/ 17583 w 19317"/>
                    <a:gd name="connsiteY8" fmla="*/ 6519 h 50656"/>
                    <a:gd name="connsiteX9" fmla="*/ 17463 w 19317"/>
                    <a:gd name="connsiteY9" fmla="*/ 6938 h 50656"/>
                    <a:gd name="connsiteX10" fmla="*/ 17344 w 19317"/>
                    <a:gd name="connsiteY10" fmla="*/ 7356 h 50656"/>
                    <a:gd name="connsiteX11" fmla="*/ 17344 w 19317"/>
                    <a:gd name="connsiteY11" fmla="*/ 7356 h 50656"/>
                    <a:gd name="connsiteX12" fmla="*/ 17105 w 19317"/>
                    <a:gd name="connsiteY12" fmla="*/ 8373 h 50656"/>
                    <a:gd name="connsiteX13" fmla="*/ 17045 w 19317"/>
                    <a:gd name="connsiteY13" fmla="*/ 8493 h 50656"/>
                    <a:gd name="connsiteX14" fmla="*/ 16567 w 19317"/>
                    <a:gd name="connsiteY14" fmla="*/ 10406 h 50656"/>
                    <a:gd name="connsiteX15" fmla="*/ 15729 w 19317"/>
                    <a:gd name="connsiteY15" fmla="*/ 13696 h 50656"/>
                    <a:gd name="connsiteX16" fmla="*/ 15550 w 19317"/>
                    <a:gd name="connsiteY16" fmla="*/ 14354 h 50656"/>
                    <a:gd name="connsiteX17" fmla="*/ 15430 w 19317"/>
                    <a:gd name="connsiteY17" fmla="*/ 14832 h 50656"/>
                    <a:gd name="connsiteX18" fmla="*/ 12500 w 19317"/>
                    <a:gd name="connsiteY18" fmla="*/ 21531 h 50656"/>
                    <a:gd name="connsiteX19" fmla="*/ 9629 w 19317"/>
                    <a:gd name="connsiteY19" fmla="*/ 28169 h 50656"/>
                    <a:gd name="connsiteX20" fmla="*/ 9270 w 19317"/>
                    <a:gd name="connsiteY20" fmla="*/ 29006 h 50656"/>
                    <a:gd name="connsiteX21" fmla="*/ 8911 w 19317"/>
                    <a:gd name="connsiteY21" fmla="*/ 29904 h 50656"/>
                    <a:gd name="connsiteX22" fmla="*/ 7356 w 19317"/>
                    <a:gd name="connsiteY22" fmla="*/ 33492 h 50656"/>
                    <a:gd name="connsiteX23" fmla="*/ 6997 w 19317"/>
                    <a:gd name="connsiteY23" fmla="*/ 33851 h 50656"/>
                    <a:gd name="connsiteX24" fmla="*/ 7057 w 19317"/>
                    <a:gd name="connsiteY24" fmla="*/ 33970 h 50656"/>
                    <a:gd name="connsiteX25" fmla="*/ 7356 w 19317"/>
                    <a:gd name="connsiteY25" fmla="*/ 34449 h 50656"/>
                    <a:gd name="connsiteX26" fmla="*/ 7416 w 19317"/>
                    <a:gd name="connsiteY26" fmla="*/ 34509 h 50656"/>
                    <a:gd name="connsiteX27" fmla="*/ 7476 w 19317"/>
                    <a:gd name="connsiteY27" fmla="*/ 34569 h 50656"/>
                    <a:gd name="connsiteX28" fmla="*/ 7954 w 19317"/>
                    <a:gd name="connsiteY28" fmla="*/ 35346 h 50656"/>
                    <a:gd name="connsiteX29" fmla="*/ 8492 w 19317"/>
                    <a:gd name="connsiteY29" fmla="*/ 36124 h 50656"/>
                    <a:gd name="connsiteX30" fmla="*/ 8492 w 19317"/>
                    <a:gd name="connsiteY30" fmla="*/ 36124 h 50656"/>
                    <a:gd name="connsiteX31" fmla="*/ 8971 w 19317"/>
                    <a:gd name="connsiteY31" fmla="*/ 36841 h 50656"/>
                    <a:gd name="connsiteX32" fmla="*/ 7834 w 19317"/>
                    <a:gd name="connsiteY32" fmla="*/ 38576 h 50656"/>
                    <a:gd name="connsiteX33" fmla="*/ 7356 w 19317"/>
                    <a:gd name="connsiteY33" fmla="*/ 39293 h 50656"/>
                    <a:gd name="connsiteX34" fmla="*/ 6579 w 19317"/>
                    <a:gd name="connsiteY34" fmla="*/ 40430 h 50656"/>
                    <a:gd name="connsiteX35" fmla="*/ 5442 w 19317"/>
                    <a:gd name="connsiteY35" fmla="*/ 42224 h 50656"/>
                    <a:gd name="connsiteX36" fmla="*/ 5203 w 19317"/>
                    <a:gd name="connsiteY36" fmla="*/ 42583 h 50656"/>
                    <a:gd name="connsiteX37" fmla="*/ 4844 w 19317"/>
                    <a:gd name="connsiteY37" fmla="*/ 43181 h 50656"/>
                    <a:gd name="connsiteX38" fmla="*/ 4844 w 19317"/>
                    <a:gd name="connsiteY38" fmla="*/ 43181 h 50656"/>
                    <a:gd name="connsiteX39" fmla="*/ 3588 w 19317"/>
                    <a:gd name="connsiteY39" fmla="*/ 45095 h 50656"/>
                    <a:gd name="connsiteX40" fmla="*/ 2990 w 19317"/>
                    <a:gd name="connsiteY40" fmla="*/ 45992 h 50656"/>
                    <a:gd name="connsiteX41" fmla="*/ 1914 w 19317"/>
                    <a:gd name="connsiteY41" fmla="*/ 47606 h 50656"/>
                    <a:gd name="connsiteX42" fmla="*/ 1435 w 19317"/>
                    <a:gd name="connsiteY42" fmla="*/ 48324 h 50656"/>
                    <a:gd name="connsiteX43" fmla="*/ 1435 w 19317"/>
                    <a:gd name="connsiteY43" fmla="*/ 48324 h 50656"/>
                    <a:gd name="connsiteX44" fmla="*/ 1375 w 19317"/>
                    <a:gd name="connsiteY44" fmla="*/ 48444 h 50656"/>
                    <a:gd name="connsiteX45" fmla="*/ 1196 w 19317"/>
                    <a:gd name="connsiteY45" fmla="*/ 48743 h 50656"/>
                    <a:gd name="connsiteX46" fmla="*/ 1016 w 19317"/>
                    <a:gd name="connsiteY46" fmla="*/ 49042 h 50656"/>
                    <a:gd name="connsiteX47" fmla="*/ 478 w 19317"/>
                    <a:gd name="connsiteY47" fmla="*/ 49879 h 50656"/>
                    <a:gd name="connsiteX48" fmla="*/ 418 w 19317"/>
                    <a:gd name="connsiteY48" fmla="*/ 49939 h 50656"/>
                    <a:gd name="connsiteX49" fmla="*/ 358 w 19317"/>
                    <a:gd name="connsiteY49" fmla="*/ 50059 h 50656"/>
                    <a:gd name="connsiteX50" fmla="*/ 299 w 19317"/>
                    <a:gd name="connsiteY50" fmla="*/ 50178 h 50656"/>
                    <a:gd name="connsiteX51" fmla="*/ 0 w 19317"/>
                    <a:gd name="connsiteY51" fmla="*/ 50657 h 5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317" h="50656">
                      <a:moveTo>
                        <a:pt x="19318" y="0"/>
                      </a:moveTo>
                      <a:lnTo>
                        <a:pt x="18720" y="2392"/>
                      </a:lnTo>
                      <a:lnTo>
                        <a:pt x="18660" y="2512"/>
                      </a:lnTo>
                      <a:lnTo>
                        <a:pt x="18660" y="2572"/>
                      </a:lnTo>
                      <a:lnTo>
                        <a:pt x="18600" y="2751"/>
                      </a:lnTo>
                      <a:lnTo>
                        <a:pt x="18002" y="5024"/>
                      </a:lnTo>
                      <a:lnTo>
                        <a:pt x="17703" y="6100"/>
                      </a:lnTo>
                      <a:lnTo>
                        <a:pt x="17643" y="6399"/>
                      </a:lnTo>
                      <a:lnTo>
                        <a:pt x="17583" y="6519"/>
                      </a:lnTo>
                      <a:lnTo>
                        <a:pt x="17463" y="6938"/>
                      </a:lnTo>
                      <a:lnTo>
                        <a:pt x="17344" y="7356"/>
                      </a:lnTo>
                      <a:lnTo>
                        <a:pt x="17344" y="7356"/>
                      </a:lnTo>
                      <a:lnTo>
                        <a:pt x="17105" y="8373"/>
                      </a:lnTo>
                      <a:lnTo>
                        <a:pt x="17045" y="8493"/>
                      </a:lnTo>
                      <a:lnTo>
                        <a:pt x="16567" y="10406"/>
                      </a:lnTo>
                      <a:lnTo>
                        <a:pt x="15729" y="13696"/>
                      </a:lnTo>
                      <a:lnTo>
                        <a:pt x="15550" y="14354"/>
                      </a:lnTo>
                      <a:lnTo>
                        <a:pt x="15430" y="14832"/>
                      </a:lnTo>
                      <a:lnTo>
                        <a:pt x="12500" y="21531"/>
                      </a:lnTo>
                      <a:lnTo>
                        <a:pt x="9629" y="28169"/>
                      </a:lnTo>
                      <a:lnTo>
                        <a:pt x="9270" y="29006"/>
                      </a:lnTo>
                      <a:lnTo>
                        <a:pt x="8911" y="29904"/>
                      </a:lnTo>
                      <a:lnTo>
                        <a:pt x="7356" y="33492"/>
                      </a:lnTo>
                      <a:lnTo>
                        <a:pt x="6997" y="33851"/>
                      </a:lnTo>
                      <a:lnTo>
                        <a:pt x="7057" y="33970"/>
                      </a:lnTo>
                      <a:lnTo>
                        <a:pt x="7356" y="34449"/>
                      </a:lnTo>
                      <a:lnTo>
                        <a:pt x="7416" y="34509"/>
                      </a:lnTo>
                      <a:lnTo>
                        <a:pt x="7476" y="34569"/>
                      </a:lnTo>
                      <a:lnTo>
                        <a:pt x="7954" y="35346"/>
                      </a:lnTo>
                      <a:lnTo>
                        <a:pt x="8492" y="36124"/>
                      </a:lnTo>
                      <a:lnTo>
                        <a:pt x="8492" y="36124"/>
                      </a:lnTo>
                      <a:lnTo>
                        <a:pt x="8971" y="36841"/>
                      </a:lnTo>
                      <a:lnTo>
                        <a:pt x="7834" y="38576"/>
                      </a:lnTo>
                      <a:lnTo>
                        <a:pt x="7356" y="39293"/>
                      </a:lnTo>
                      <a:lnTo>
                        <a:pt x="6579" y="40430"/>
                      </a:lnTo>
                      <a:lnTo>
                        <a:pt x="5442" y="42224"/>
                      </a:lnTo>
                      <a:lnTo>
                        <a:pt x="5203" y="42583"/>
                      </a:lnTo>
                      <a:lnTo>
                        <a:pt x="4844" y="43181"/>
                      </a:lnTo>
                      <a:lnTo>
                        <a:pt x="4844" y="43181"/>
                      </a:lnTo>
                      <a:lnTo>
                        <a:pt x="3588" y="45095"/>
                      </a:lnTo>
                      <a:lnTo>
                        <a:pt x="2990" y="45992"/>
                      </a:lnTo>
                      <a:lnTo>
                        <a:pt x="1914" y="47606"/>
                      </a:lnTo>
                      <a:lnTo>
                        <a:pt x="1435" y="48324"/>
                      </a:lnTo>
                      <a:lnTo>
                        <a:pt x="1435" y="48324"/>
                      </a:lnTo>
                      <a:lnTo>
                        <a:pt x="1375" y="48444"/>
                      </a:lnTo>
                      <a:lnTo>
                        <a:pt x="1196" y="48743"/>
                      </a:lnTo>
                      <a:lnTo>
                        <a:pt x="1016" y="49042"/>
                      </a:lnTo>
                      <a:lnTo>
                        <a:pt x="478" y="49879"/>
                      </a:lnTo>
                      <a:lnTo>
                        <a:pt x="418" y="49939"/>
                      </a:lnTo>
                      <a:lnTo>
                        <a:pt x="358" y="50059"/>
                      </a:lnTo>
                      <a:lnTo>
                        <a:pt x="299" y="50178"/>
                      </a:lnTo>
                      <a:lnTo>
                        <a:pt x="0" y="50657"/>
                      </a:lnTo>
                    </a:path>
                  </a:pathLst>
                </a:custGeom>
                <a:noFill/>
                <a:ln w="6350" cap="rnd">
                  <a:solidFill>
                    <a:schemeClr val="bg1">
                      <a:alpha val="40000"/>
                    </a:schemeClr>
                  </a:solidFill>
                  <a:prstDash val="solid"/>
                  <a:round/>
                </a:ln>
              </p:spPr>
              <p:txBody>
                <a:bodyPr rtlCol="0" anchor="ctr"/>
                <a:lstStyle/>
                <a:p>
                  <a:endParaRPr lang="en-GB"/>
                </a:p>
              </p:txBody>
            </p:sp>
            <p:sp>
              <p:nvSpPr>
                <p:cNvPr id="6388" name="Vrije vorm: vorm 6387">
                  <a:extLst>
                    <a:ext uri="{FF2B5EF4-FFF2-40B4-BE49-F238E27FC236}">
                      <a16:creationId xmlns:a16="http://schemas.microsoft.com/office/drawing/2014/main" id="{74866516-62F2-4EE5-AAD7-1F26C1A7B6DC}"/>
                    </a:ext>
                  </a:extLst>
                </p:cNvPr>
                <p:cNvSpPr/>
                <p:nvPr/>
              </p:nvSpPr>
              <p:spPr>
                <a:xfrm>
                  <a:off x="6865889" y="1719677"/>
                  <a:ext cx="64950" cy="64950"/>
                </a:xfrm>
                <a:custGeom>
                  <a:avLst/>
                  <a:gdLst>
                    <a:gd name="connsiteX0" fmla="*/ 0 w 64950"/>
                    <a:gd name="connsiteY0" fmla="*/ 64951 h 64950"/>
                    <a:gd name="connsiteX1" fmla="*/ 4186 w 64950"/>
                    <a:gd name="connsiteY1" fmla="*/ 60046 h 64950"/>
                    <a:gd name="connsiteX2" fmla="*/ 4186 w 64950"/>
                    <a:gd name="connsiteY2" fmla="*/ 60046 h 64950"/>
                    <a:gd name="connsiteX3" fmla="*/ 14832 w 64950"/>
                    <a:gd name="connsiteY3" fmla="*/ 47607 h 64950"/>
                    <a:gd name="connsiteX4" fmla="*/ 31339 w 64950"/>
                    <a:gd name="connsiteY4" fmla="*/ 29963 h 64950"/>
                    <a:gd name="connsiteX5" fmla="*/ 40310 w 64950"/>
                    <a:gd name="connsiteY5" fmla="*/ 21471 h 64950"/>
                    <a:gd name="connsiteX6" fmla="*/ 44974 w 64950"/>
                    <a:gd name="connsiteY6" fmla="*/ 17045 h 64950"/>
                    <a:gd name="connsiteX7" fmla="*/ 59030 w 64950"/>
                    <a:gd name="connsiteY7" fmla="*/ 4665 h 64950"/>
                    <a:gd name="connsiteX8" fmla="*/ 61481 w 64950"/>
                    <a:gd name="connsiteY8" fmla="*/ 2512 h 64950"/>
                    <a:gd name="connsiteX9" fmla="*/ 62976 w 64950"/>
                    <a:gd name="connsiteY9" fmla="*/ 1196 h 64950"/>
                    <a:gd name="connsiteX10" fmla="*/ 63874 w 64950"/>
                    <a:gd name="connsiteY10" fmla="*/ 658 h 64950"/>
                    <a:gd name="connsiteX11" fmla="*/ 64951 w 64950"/>
                    <a:gd name="connsiteY11" fmla="*/ 0 h 6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50" h="64950">
                      <a:moveTo>
                        <a:pt x="0" y="64951"/>
                      </a:moveTo>
                      <a:lnTo>
                        <a:pt x="4186" y="60046"/>
                      </a:lnTo>
                      <a:lnTo>
                        <a:pt x="4186" y="60046"/>
                      </a:lnTo>
                      <a:lnTo>
                        <a:pt x="14832" y="47607"/>
                      </a:lnTo>
                      <a:lnTo>
                        <a:pt x="31339" y="29963"/>
                      </a:lnTo>
                      <a:lnTo>
                        <a:pt x="40310" y="21471"/>
                      </a:lnTo>
                      <a:lnTo>
                        <a:pt x="44974" y="17045"/>
                      </a:lnTo>
                      <a:lnTo>
                        <a:pt x="59030" y="4665"/>
                      </a:lnTo>
                      <a:lnTo>
                        <a:pt x="61481" y="2512"/>
                      </a:lnTo>
                      <a:lnTo>
                        <a:pt x="62976" y="1196"/>
                      </a:lnTo>
                      <a:lnTo>
                        <a:pt x="63874" y="658"/>
                      </a:lnTo>
                      <a:lnTo>
                        <a:pt x="64951" y="0"/>
                      </a:lnTo>
                    </a:path>
                  </a:pathLst>
                </a:custGeom>
                <a:noFill/>
                <a:ln w="6350" cap="rnd">
                  <a:solidFill>
                    <a:schemeClr val="bg1">
                      <a:alpha val="40000"/>
                    </a:schemeClr>
                  </a:solidFill>
                  <a:prstDash val="solid"/>
                  <a:round/>
                </a:ln>
              </p:spPr>
              <p:txBody>
                <a:bodyPr rtlCol="0" anchor="ctr"/>
                <a:lstStyle/>
                <a:p>
                  <a:endParaRPr lang="en-GB"/>
                </a:p>
              </p:txBody>
            </p:sp>
            <p:sp>
              <p:nvSpPr>
                <p:cNvPr id="6389" name="Vrije vorm: vorm 6388">
                  <a:extLst>
                    <a:ext uri="{FF2B5EF4-FFF2-40B4-BE49-F238E27FC236}">
                      <a16:creationId xmlns:a16="http://schemas.microsoft.com/office/drawing/2014/main" id="{48004E7A-D3BB-4BA0-9297-6806083B90E8}"/>
                    </a:ext>
                  </a:extLst>
                </p:cNvPr>
                <p:cNvSpPr/>
                <p:nvPr/>
              </p:nvSpPr>
              <p:spPr>
                <a:xfrm>
                  <a:off x="6798605" y="1876671"/>
                  <a:ext cx="16745" cy="22427"/>
                </a:xfrm>
                <a:custGeom>
                  <a:avLst/>
                  <a:gdLst>
                    <a:gd name="connsiteX0" fmla="*/ 14055 w 16745"/>
                    <a:gd name="connsiteY0" fmla="*/ 22428 h 22427"/>
                    <a:gd name="connsiteX1" fmla="*/ 14055 w 16745"/>
                    <a:gd name="connsiteY1" fmla="*/ 22308 h 22427"/>
                    <a:gd name="connsiteX2" fmla="*/ 14174 w 16745"/>
                    <a:gd name="connsiteY2" fmla="*/ 21770 h 22427"/>
                    <a:gd name="connsiteX3" fmla="*/ 14234 w 16745"/>
                    <a:gd name="connsiteY3" fmla="*/ 21471 h 22427"/>
                    <a:gd name="connsiteX4" fmla="*/ 14653 w 16745"/>
                    <a:gd name="connsiteY4" fmla="*/ 19677 h 22427"/>
                    <a:gd name="connsiteX5" fmla="*/ 14653 w 16745"/>
                    <a:gd name="connsiteY5" fmla="*/ 19677 h 22427"/>
                    <a:gd name="connsiteX6" fmla="*/ 14773 w 16745"/>
                    <a:gd name="connsiteY6" fmla="*/ 19258 h 22427"/>
                    <a:gd name="connsiteX7" fmla="*/ 14832 w 16745"/>
                    <a:gd name="connsiteY7" fmla="*/ 19079 h 22427"/>
                    <a:gd name="connsiteX8" fmla="*/ 14832 w 16745"/>
                    <a:gd name="connsiteY8" fmla="*/ 19079 h 22427"/>
                    <a:gd name="connsiteX9" fmla="*/ 14832 w 16745"/>
                    <a:gd name="connsiteY9" fmla="*/ 19079 h 22427"/>
                    <a:gd name="connsiteX10" fmla="*/ 14892 w 16745"/>
                    <a:gd name="connsiteY10" fmla="*/ 18899 h 22427"/>
                    <a:gd name="connsiteX11" fmla="*/ 14892 w 16745"/>
                    <a:gd name="connsiteY11" fmla="*/ 18899 h 22427"/>
                    <a:gd name="connsiteX12" fmla="*/ 15072 w 16745"/>
                    <a:gd name="connsiteY12" fmla="*/ 18181 h 22427"/>
                    <a:gd name="connsiteX13" fmla="*/ 15131 w 16745"/>
                    <a:gd name="connsiteY13" fmla="*/ 17942 h 22427"/>
                    <a:gd name="connsiteX14" fmla="*/ 15191 w 16745"/>
                    <a:gd name="connsiteY14" fmla="*/ 17583 h 22427"/>
                    <a:gd name="connsiteX15" fmla="*/ 15251 w 16745"/>
                    <a:gd name="connsiteY15" fmla="*/ 17404 h 22427"/>
                    <a:gd name="connsiteX16" fmla="*/ 15251 w 16745"/>
                    <a:gd name="connsiteY16" fmla="*/ 17344 h 22427"/>
                    <a:gd name="connsiteX17" fmla="*/ 15371 w 16745"/>
                    <a:gd name="connsiteY17" fmla="*/ 16806 h 22427"/>
                    <a:gd name="connsiteX18" fmla="*/ 15371 w 16745"/>
                    <a:gd name="connsiteY18" fmla="*/ 16746 h 22427"/>
                    <a:gd name="connsiteX19" fmla="*/ 15610 w 16745"/>
                    <a:gd name="connsiteY19" fmla="*/ 15789 h 22427"/>
                    <a:gd name="connsiteX20" fmla="*/ 15669 w 16745"/>
                    <a:gd name="connsiteY20" fmla="*/ 15430 h 22427"/>
                    <a:gd name="connsiteX21" fmla="*/ 15669 w 16745"/>
                    <a:gd name="connsiteY21" fmla="*/ 15430 h 22427"/>
                    <a:gd name="connsiteX22" fmla="*/ 15789 w 16745"/>
                    <a:gd name="connsiteY22" fmla="*/ 15012 h 22427"/>
                    <a:gd name="connsiteX23" fmla="*/ 15849 w 16745"/>
                    <a:gd name="connsiteY23" fmla="*/ 14892 h 22427"/>
                    <a:gd name="connsiteX24" fmla="*/ 15968 w 16745"/>
                    <a:gd name="connsiteY24" fmla="*/ 14473 h 22427"/>
                    <a:gd name="connsiteX25" fmla="*/ 16148 w 16745"/>
                    <a:gd name="connsiteY25" fmla="*/ 13815 h 22427"/>
                    <a:gd name="connsiteX26" fmla="*/ 16387 w 16745"/>
                    <a:gd name="connsiteY26" fmla="*/ 12859 h 22427"/>
                    <a:gd name="connsiteX27" fmla="*/ 16746 w 16745"/>
                    <a:gd name="connsiteY27" fmla="*/ 11244 h 22427"/>
                    <a:gd name="connsiteX28" fmla="*/ 16447 w 16745"/>
                    <a:gd name="connsiteY28" fmla="*/ 10586 h 22427"/>
                    <a:gd name="connsiteX29" fmla="*/ 16268 w 16745"/>
                    <a:gd name="connsiteY29" fmla="*/ 10167 h 22427"/>
                    <a:gd name="connsiteX30" fmla="*/ 16208 w 16745"/>
                    <a:gd name="connsiteY30" fmla="*/ 10107 h 22427"/>
                    <a:gd name="connsiteX31" fmla="*/ 16028 w 16745"/>
                    <a:gd name="connsiteY31" fmla="*/ 9988 h 22427"/>
                    <a:gd name="connsiteX32" fmla="*/ 15909 w 16745"/>
                    <a:gd name="connsiteY32" fmla="*/ 9928 h 22427"/>
                    <a:gd name="connsiteX33" fmla="*/ 14832 w 16745"/>
                    <a:gd name="connsiteY33" fmla="*/ 9270 h 22427"/>
                    <a:gd name="connsiteX34" fmla="*/ 14653 w 16745"/>
                    <a:gd name="connsiteY34" fmla="*/ 9150 h 22427"/>
                    <a:gd name="connsiteX35" fmla="*/ 13098 w 16745"/>
                    <a:gd name="connsiteY35" fmla="*/ 8134 h 22427"/>
                    <a:gd name="connsiteX36" fmla="*/ 12978 w 16745"/>
                    <a:gd name="connsiteY36" fmla="*/ 8074 h 22427"/>
                    <a:gd name="connsiteX37" fmla="*/ 12919 w 16745"/>
                    <a:gd name="connsiteY37" fmla="*/ 8014 h 22427"/>
                    <a:gd name="connsiteX38" fmla="*/ 10945 w 16745"/>
                    <a:gd name="connsiteY38" fmla="*/ 6758 h 22427"/>
                    <a:gd name="connsiteX39" fmla="*/ 10287 w 16745"/>
                    <a:gd name="connsiteY39" fmla="*/ 6340 h 22427"/>
                    <a:gd name="connsiteX40" fmla="*/ 9629 w 16745"/>
                    <a:gd name="connsiteY40" fmla="*/ 5921 h 22427"/>
                    <a:gd name="connsiteX41" fmla="*/ 9211 w 16745"/>
                    <a:gd name="connsiteY41" fmla="*/ 5682 h 22427"/>
                    <a:gd name="connsiteX42" fmla="*/ 7536 w 16745"/>
                    <a:gd name="connsiteY42" fmla="*/ 4665 h 22427"/>
                    <a:gd name="connsiteX43" fmla="*/ 7237 w 16745"/>
                    <a:gd name="connsiteY43" fmla="*/ 4486 h 22427"/>
                    <a:gd name="connsiteX44" fmla="*/ 6997 w 16745"/>
                    <a:gd name="connsiteY44" fmla="*/ 4306 h 22427"/>
                    <a:gd name="connsiteX45" fmla="*/ 6758 w 16745"/>
                    <a:gd name="connsiteY45" fmla="*/ 4186 h 22427"/>
                    <a:gd name="connsiteX46" fmla="*/ 6459 w 16745"/>
                    <a:gd name="connsiteY46" fmla="*/ 4007 h 22427"/>
                    <a:gd name="connsiteX47" fmla="*/ 6041 w 16745"/>
                    <a:gd name="connsiteY47" fmla="*/ 3768 h 22427"/>
                    <a:gd name="connsiteX48" fmla="*/ 5682 w 16745"/>
                    <a:gd name="connsiteY48" fmla="*/ 3529 h 22427"/>
                    <a:gd name="connsiteX49" fmla="*/ 5143 w 16745"/>
                    <a:gd name="connsiteY49" fmla="*/ 3170 h 22427"/>
                    <a:gd name="connsiteX50" fmla="*/ 5084 w 16745"/>
                    <a:gd name="connsiteY50" fmla="*/ 3110 h 22427"/>
                    <a:gd name="connsiteX51" fmla="*/ 4904 w 16745"/>
                    <a:gd name="connsiteY51" fmla="*/ 2990 h 22427"/>
                    <a:gd name="connsiteX52" fmla="*/ 4605 w 16745"/>
                    <a:gd name="connsiteY52" fmla="*/ 2811 h 22427"/>
                    <a:gd name="connsiteX53" fmla="*/ 4426 w 16745"/>
                    <a:gd name="connsiteY53" fmla="*/ 2691 h 22427"/>
                    <a:gd name="connsiteX54" fmla="*/ 3050 w 16745"/>
                    <a:gd name="connsiteY54" fmla="*/ 1854 h 22427"/>
                    <a:gd name="connsiteX55" fmla="*/ 2811 w 16745"/>
                    <a:gd name="connsiteY55" fmla="*/ 1734 h 22427"/>
                    <a:gd name="connsiteX56" fmla="*/ 2751 w 16745"/>
                    <a:gd name="connsiteY56" fmla="*/ 1734 h 22427"/>
                    <a:gd name="connsiteX57" fmla="*/ 2572 w 16745"/>
                    <a:gd name="connsiteY57" fmla="*/ 1615 h 22427"/>
                    <a:gd name="connsiteX58" fmla="*/ 1495 w 16745"/>
                    <a:gd name="connsiteY58" fmla="*/ 957 h 22427"/>
                    <a:gd name="connsiteX59" fmla="*/ 0 w 16745"/>
                    <a:gd name="connsiteY59" fmla="*/ 0 h 22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6745" h="22427">
                      <a:moveTo>
                        <a:pt x="14055" y="22428"/>
                      </a:moveTo>
                      <a:lnTo>
                        <a:pt x="14055" y="22308"/>
                      </a:lnTo>
                      <a:lnTo>
                        <a:pt x="14174" y="21770"/>
                      </a:lnTo>
                      <a:lnTo>
                        <a:pt x="14234" y="21471"/>
                      </a:lnTo>
                      <a:lnTo>
                        <a:pt x="14653" y="19677"/>
                      </a:lnTo>
                      <a:lnTo>
                        <a:pt x="14653" y="19677"/>
                      </a:lnTo>
                      <a:lnTo>
                        <a:pt x="14773" y="19258"/>
                      </a:lnTo>
                      <a:lnTo>
                        <a:pt x="14832" y="19079"/>
                      </a:lnTo>
                      <a:lnTo>
                        <a:pt x="14832" y="19079"/>
                      </a:lnTo>
                      <a:lnTo>
                        <a:pt x="14832" y="19079"/>
                      </a:lnTo>
                      <a:lnTo>
                        <a:pt x="14892" y="18899"/>
                      </a:lnTo>
                      <a:lnTo>
                        <a:pt x="14892" y="18899"/>
                      </a:lnTo>
                      <a:lnTo>
                        <a:pt x="15072" y="18181"/>
                      </a:lnTo>
                      <a:lnTo>
                        <a:pt x="15131" y="17942"/>
                      </a:lnTo>
                      <a:lnTo>
                        <a:pt x="15191" y="17583"/>
                      </a:lnTo>
                      <a:lnTo>
                        <a:pt x="15251" y="17404"/>
                      </a:lnTo>
                      <a:lnTo>
                        <a:pt x="15251" y="17344"/>
                      </a:lnTo>
                      <a:lnTo>
                        <a:pt x="15371" y="16806"/>
                      </a:lnTo>
                      <a:lnTo>
                        <a:pt x="15371" y="16746"/>
                      </a:lnTo>
                      <a:lnTo>
                        <a:pt x="15610" y="15789"/>
                      </a:lnTo>
                      <a:lnTo>
                        <a:pt x="15669" y="15430"/>
                      </a:lnTo>
                      <a:lnTo>
                        <a:pt x="15669" y="15430"/>
                      </a:lnTo>
                      <a:lnTo>
                        <a:pt x="15789" y="15012"/>
                      </a:lnTo>
                      <a:lnTo>
                        <a:pt x="15849" y="14892"/>
                      </a:lnTo>
                      <a:lnTo>
                        <a:pt x="15968" y="14473"/>
                      </a:lnTo>
                      <a:lnTo>
                        <a:pt x="16148" y="13815"/>
                      </a:lnTo>
                      <a:lnTo>
                        <a:pt x="16387" y="12859"/>
                      </a:lnTo>
                      <a:lnTo>
                        <a:pt x="16746" y="11244"/>
                      </a:lnTo>
                      <a:lnTo>
                        <a:pt x="16447" y="10586"/>
                      </a:lnTo>
                      <a:lnTo>
                        <a:pt x="16268" y="10167"/>
                      </a:lnTo>
                      <a:lnTo>
                        <a:pt x="16208" y="10107"/>
                      </a:lnTo>
                      <a:lnTo>
                        <a:pt x="16028" y="9988"/>
                      </a:lnTo>
                      <a:lnTo>
                        <a:pt x="15909" y="9928"/>
                      </a:lnTo>
                      <a:lnTo>
                        <a:pt x="14832" y="9270"/>
                      </a:lnTo>
                      <a:lnTo>
                        <a:pt x="14653" y="9150"/>
                      </a:lnTo>
                      <a:lnTo>
                        <a:pt x="13098" y="8134"/>
                      </a:lnTo>
                      <a:lnTo>
                        <a:pt x="12978" y="8074"/>
                      </a:lnTo>
                      <a:lnTo>
                        <a:pt x="12919" y="8014"/>
                      </a:lnTo>
                      <a:lnTo>
                        <a:pt x="10945" y="6758"/>
                      </a:lnTo>
                      <a:lnTo>
                        <a:pt x="10287" y="6340"/>
                      </a:lnTo>
                      <a:lnTo>
                        <a:pt x="9629" y="5921"/>
                      </a:lnTo>
                      <a:lnTo>
                        <a:pt x="9211" y="5682"/>
                      </a:lnTo>
                      <a:lnTo>
                        <a:pt x="7536" y="4665"/>
                      </a:lnTo>
                      <a:lnTo>
                        <a:pt x="7237" y="4486"/>
                      </a:lnTo>
                      <a:lnTo>
                        <a:pt x="6997" y="4306"/>
                      </a:lnTo>
                      <a:lnTo>
                        <a:pt x="6758" y="4186"/>
                      </a:lnTo>
                      <a:lnTo>
                        <a:pt x="6459" y="4007"/>
                      </a:lnTo>
                      <a:lnTo>
                        <a:pt x="6041" y="3768"/>
                      </a:lnTo>
                      <a:lnTo>
                        <a:pt x="5682" y="3529"/>
                      </a:lnTo>
                      <a:lnTo>
                        <a:pt x="5143" y="3170"/>
                      </a:lnTo>
                      <a:lnTo>
                        <a:pt x="5084" y="3110"/>
                      </a:lnTo>
                      <a:lnTo>
                        <a:pt x="4904" y="2990"/>
                      </a:lnTo>
                      <a:lnTo>
                        <a:pt x="4605" y="2811"/>
                      </a:lnTo>
                      <a:lnTo>
                        <a:pt x="4426" y="2691"/>
                      </a:lnTo>
                      <a:lnTo>
                        <a:pt x="3050" y="1854"/>
                      </a:lnTo>
                      <a:lnTo>
                        <a:pt x="2811" y="1734"/>
                      </a:lnTo>
                      <a:lnTo>
                        <a:pt x="2751" y="1734"/>
                      </a:lnTo>
                      <a:lnTo>
                        <a:pt x="2572" y="1615"/>
                      </a:lnTo>
                      <a:lnTo>
                        <a:pt x="1495" y="95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390" name="Vrije vorm: vorm 6389">
                  <a:extLst>
                    <a:ext uri="{FF2B5EF4-FFF2-40B4-BE49-F238E27FC236}">
                      <a16:creationId xmlns:a16="http://schemas.microsoft.com/office/drawing/2014/main" id="{F25BA7A8-33B6-4799-B9F2-427177BC13E7}"/>
                    </a:ext>
                  </a:extLst>
                </p:cNvPr>
                <p:cNvSpPr/>
                <p:nvPr/>
              </p:nvSpPr>
              <p:spPr>
                <a:xfrm>
                  <a:off x="6915408" y="1886898"/>
                  <a:ext cx="10287" cy="3349"/>
                </a:xfrm>
                <a:custGeom>
                  <a:avLst/>
                  <a:gdLst>
                    <a:gd name="connsiteX0" fmla="*/ 9390 w 10287"/>
                    <a:gd name="connsiteY0" fmla="*/ 598 h 3349"/>
                    <a:gd name="connsiteX1" fmla="*/ 10108 w 10287"/>
                    <a:gd name="connsiteY1" fmla="*/ 1376 h 3349"/>
                    <a:gd name="connsiteX2" fmla="*/ 10287 w 10287"/>
                    <a:gd name="connsiteY2" fmla="*/ 1555 h 3349"/>
                    <a:gd name="connsiteX3" fmla="*/ 10228 w 10287"/>
                    <a:gd name="connsiteY3" fmla="*/ 1734 h 3349"/>
                    <a:gd name="connsiteX4" fmla="*/ 9390 w 10287"/>
                    <a:gd name="connsiteY4" fmla="*/ 3349 h 3349"/>
                    <a:gd name="connsiteX5" fmla="*/ 8732 w 10287"/>
                    <a:gd name="connsiteY5" fmla="*/ 3110 h 3349"/>
                    <a:gd name="connsiteX6" fmla="*/ 8493 w 10287"/>
                    <a:gd name="connsiteY6" fmla="*/ 3050 h 3349"/>
                    <a:gd name="connsiteX7" fmla="*/ 7596 w 10287"/>
                    <a:gd name="connsiteY7" fmla="*/ 2751 h 3349"/>
                    <a:gd name="connsiteX8" fmla="*/ 7416 w 10287"/>
                    <a:gd name="connsiteY8" fmla="*/ 2691 h 3349"/>
                    <a:gd name="connsiteX9" fmla="*/ 6160 w 10287"/>
                    <a:gd name="connsiteY9" fmla="*/ 2273 h 3349"/>
                    <a:gd name="connsiteX10" fmla="*/ 5622 w 10287"/>
                    <a:gd name="connsiteY10" fmla="*/ 2093 h 3349"/>
                    <a:gd name="connsiteX11" fmla="*/ 5323 w 10287"/>
                    <a:gd name="connsiteY11" fmla="*/ 1974 h 3349"/>
                    <a:gd name="connsiteX12" fmla="*/ 5263 w 10287"/>
                    <a:gd name="connsiteY12" fmla="*/ 1974 h 3349"/>
                    <a:gd name="connsiteX13" fmla="*/ 4964 w 10287"/>
                    <a:gd name="connsiteY13" fmla="*/ 1854 h 3349"/>
                    <a:gd name="connsiteX14" fmla="*/ 4367 w 10287"/>
                    <a:gd name="connsiteY14" fmla="*/ 1615 h 3349"/>
                    <a:gd name="connsiteX15" fmla="*/ 3768 w 10287"/>
                    <a:gd name="connsiteY15" fmla="*/ 1376 h 3349"/>
                    <a:gd name="connsiteX16" fmla="*/ 2333 w 10287"/>
                    <a:gd name="connsiteY16" fmla="*/ 837 h 3349"/>
                    <a:gd name="connsiteX17" fmla="*/ 0 w 10287"/>
                    <a:gd name="connsiteY17" fmla="*/ 0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87" h="3349">
                      <a:moveTo>
                        <a:pt x="9390" y="598"/>
                      </a:moveTo>
                      <a:lnTo>
                        <a:pt x="10108" y="1376"/>
                      </a:lnTo>
                      <a:lnTo>
                        <a:pt x="10287" y="1555"/>
                      </a:lnTo>
                      <a:lnTo>
                        <a:pt x="10228" y="1734"/>
                      </a:lnTo>
                      <a:lnTo>
                        <a:pt x="9390" y="3349"/>
                      </a:lnTo>
                      <a:lnTo>
                        <a:pt x="8732" y="3110"/>
                      </a:lnTo>
                      <a:lnTo>
                        <a:pt x="8493" y="3050"/>
                      </a:lnTo>
                      <a:lnTo>
                        <a:pt x="7596" y="2751"/>
                      </a:lnTo>
                      <a:lnTo>
                        <a:pt x="7416" y="2691"/>
                      </a:lnTo>
                      <a:lnTo>
                        <a:pt x="6160" y="2273"/>
                      </a:lnTo>
                      <a:lnTo>
                        <a:pt x="5622" y="2093"/>
                      </a:lnTo>
                      <a:lnTo>
                        <a:pt x="5323" y="1974"/>
                      </a:lnTo>
                      <a:lnTo>
                        <a:pt x="5263" y="1974"/>
                      </a:lnTo>
                      <a:lnTo>
                        <a:pt x="4964" y="1854"/>
                      </a:lnTo>
                      <a:lnTo>
                        <a:pt x="4367" y="1615"/>
                      </a:lnTo>
                      <a:lnTo>
                        <a:pt x="3768" y="1376"/>
                      </a:lnTo>
                      <a:lnTo>
                        <a:pt x="2333" y="83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391" name="Vrije vorm: vorm 6390">
                  <a:extLst>
                    <a:ext uri="{FF2B5EF4-FFF2-40B4-BE49-F238E27FC236}">
                      <a16:creationId xmlns:a16="http://schemas.microsoft.com/office/drawing/2014/main" id="{3DF6482E-F7D4-45C3-A43A-50DEBE16CE0D}"/>
                    </a:ext>
                  </a:extLst>
                </p:cNvPr>
                <p:cNvSpPr/>
                <p:nvPr/>
              </p:nvSpPr>
              <p:spPr>
                <a:xfrm>
                  <a:off x="6761345" y="1873920"/>
                  <a:ext cx="478" cy="837"/>
                </a:xfrm>
                <a:custGeom>
                  <a:avLst/>
                  <a:gdLst>
                    <a:gd name="connsiteX0" fmla="*/ 479 w 478"/>
                    <a:gd name="connsiteY0" fmla="*/ 837 h 837"/>
                    <a:gd name="connsiteX1" fmla="*/ 60 w 478"/>
                    <a:gd name="connsiteY1" fmla="*/ 299 h 837"/>
                    <a:gd name="connsiteX2" fmla="*/ 0 w 478"/>
                    <a:gd name="connsiteY2" fmla="*/ 0 h 837"/>
                  </a:gdLst>
                  <a:ahLst/>
                  <a:cxnLst>
                    <a:cxn ang="0">
                      <a:pos x="connsiteX0" y="connsiteY0"/>
                    </a:cxn>
                    <a:cxn ang="0">
                      <a:pos x="connsiteX1" y="connsiteY1"/>
                    </a:cxn>
                    <a:cxn ang="0">
                      <a:pos x="connsiteX2" y="connsiteY2"/>
                    </a:cxn>
                  </a:cxnLst>
                  <a:rect l="l" t="t" r="r" b="b"/>
                  <a:pathLst>
                    <a:path w="478" h="837">
                      <a:moveTo>
                        <a:pt x="479" y="837"/>
                      </a:moveTo>
                      <a:lnTo>
                        <a:pt x="60" y="29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392" name="Vrije vorm: vorm 6391">
                  <a:extLst>
                    <a:ext uri="{FF2B5EF4-FFF2-40B4-BE49-F238E27FC236}">
                      <a16:creationId xmlns:a16="http://schemas.microsoft.com/office/drawing/2014/main" id="{485D92D5-7C99-4BA2-8A28-B68637FE6BDA}"/>
                    </a:ext>
                  </a:extLst>
                </p:cNvPr>
                <p:cNvSpPr/>
                <p:nvPr/>
              </p:nvSpPr>
              <p:spPr>
                <a:xfrm>
                  <a:off x="6992859" y="1837019"/>
                  <a:ext cx="18121" cy="15789"/>
                </a:xfrm>
                <a:custGeom>
                  <a:avLst/>
                  <a:gdLst>
                    <a:gd name="connsiteX0" fmla="*/ 4366 w 18121"/>
                    <a:gd name="connsiteY0" fmla="*/ 179 h 15789"/>
                    <a:gd name="connsiteX1" fmla="*/ 4904 w 18121"/>
                    <a:gd name="connsiteY1" fmla="*/ 0 h 15789"/>
                    <a:gd name="connsiteX2" fmla="*/ 9031 w 18121"/>
                    <a:gd name="connsiteY2" fmla="*/ 2392 h 15789"/>
                    <a:gd name="connsiteX3" fmla="*/ 9927 w 18121"/>
                    <a:gd name="connsiteY3" fmla="*/ 2931 h 15789"/>
                    <a:gd name="connsiteX4" fmla="*/ 10526 w 18121"/>
                    <a:gd name="connsiteY4" fmla="*/ 3289 h 15789"/>
                    <a:gd name="connsiteX5" fmla="*/ 11004 w 18121"/>
                    <a:gd name="connsiteY5" fmla="*/ 3588 h 15789"/>
                    <a:gd name="connsiteX6" fmla="*/ 11124 w 18121"/>
                    <a:gd name="connsiteY6" fmla="*/ 3648 h 15789"/>
                    <a:gd name="connsiteX7" fmla="*/ 11124 w 18121"/>
                    <a:gd name="connsiteY7" fmla="*/ 3648 h 15789"/>
                    <a:gd name="connsiteX8" fmla="*/ 11902 w 18121"/>
                    <a:gd name="connsiteY8" fmla="*/ 4067 h 15789"/>
                    <a:gd name="connsiteX9" fmla="*/ 12200 w 18121"/>
                    <a:gd name="connsiteY9" fmla="*/ 4246 h 15789"/>
                    <a:gd name="connsiteX10" fmla="*/ 12500 w 18121"/>
                    <a:gd name="connsiteY10" fmla="*/ 4426 h 15789"/>
                    <a:gd name="connsiteX11" fmla="*/ 14473 w 18121"/>
                    <a:gd name="connsiteY11" fmla="*/ 5562 h 15789"/>
                    <a:gd name="connsiteX12" fmla="*/ 15012 w 18121"/>
                    <a:gd name="connsiteY12" fmla="*/ 5861 h 15789"/>
                    <a:gd name="connsiteX13" fmla="*/ 16925 w 18121"/>
                    <a:gd name="connsiteY13" fmla="*/ 6938 h 15789"/>
                    <a:gd name="connsiteX14" fmla="*/ 17284 w 18121"/>
                    <a:gd name="connsiteY14" fmla="*/ 7177 h 15789"/>
                    <a:gd name="connsiteX15" fmla="*/ 17583 w 18121"/>
                    <a:gd name="connsiteY15" fmla="*/ 7356 h 15789"/>
                    <a:gd name="connsiteX16" fmla="*/ 17882 w 18121"/>
                    <a:gd name="connsiteY16" fmla="*/ 7536 h 15789"/>
                    <a:gd name="connsiteX17" fmla="*/ 18002 w 18121"/>
                    <a:gd name="connsiteY17" fmla="*/ 7596 h 15789"/>
                    <a:gd name="connsiteX18" fmla="*/ 18122 w 18121"/>
                    <a:gd name="connsiteY18" fmla="*/ 8134 h 15789"/>
                    <a:gd name="connsiteX19" fmla="*/ 17403 w 18121"/>
                    <a:gd name="connsiteY19" fmla="*/ 9330 h 15789"/>
                    <a:gd name="connsiteX20" fmla="*/ 13695 w 18121"/>
                    <a:gd name="connsiteY20" fmla="*/ 15610 h 15789"/>
                    <a:gd name="connsiteX21" fmla="*/ 13157 w 18121"/>
                    <a:gd name="connsiteY21" fmla="*/ 15789 h 15789"/>
                    <a:gd name="connsiteX22" fmla="*/ 12918 w 18121"/>
                    <a:gd name="connsiteY22" fmla="*/ 15670 h 15789"/>
                    <a:gd name="connsiteX23" fmla="*/ 12918 w 18121"/>
                    <a:gd name="connsiteY23" fmla="*/ 15670 h 15789"/>
                    <a:gd name="connsiteX24" fmla="*/ 12619 w 18121"/>
                    <a:gd name="connsiteY24" fmla="*/ 15490 h 15789"/>
                    <a:gd name="connsiteX25" fmla="*/ 12320 w 18121"/>
                    <a:gd name="connsiteY25" fmla="*/ 15311 h 15789"/>
                    <a:gd name="connsiteX26" fmla="*/ 10406 w 18121"/>
                    <a:gd name="connsiteY26" fmla="*/ 14174 h 15789"/>
                    <a:gd name="connsiteX27" fmla="*/ 10047 w 18121"/>
                    <a:gd name="connsiteY27" fmla="*/ 13935 h 15789"/>
                    <a:gd name="connsiteX28" fmla="*/ 8492 w 18121"/>
                    <a:gd name="connsiteY28" fmla="*/ 13038 h 15789"/>
                    <a:gd name="connsiteX29" fmla="*/ 7775 w 18121"/>
                    <a:gd name="connsiteY29" fmla="*/ 12619 h 15789"/>
                    <a:gd name="connsiteX30" fmla="*/ 7356 w 18121"/>
                    <a:gd name="connsiteY30" fmla="*/ 12380 h 15789"/>
                    <a:gd name="connsiteX31" fmla="*/ 7117 w 18121"/>
                    <a:gd name="connsiteY31" fmla="*/ 12201 h 15789"/>
                    <a:gd name="connsiteX32" fmla="*/ 6399 w 18121"/>
                    <a:gd name="connsiteY32" fmla="*/ 11782 h 15789"/>
                    <a:gd name="connsiteX33" fmla="*/ 6399 w 18121"/>
                    <a:gd name="connsiteY33" fmla="*/ 11782 h 15789"/>
                    <a:gd name="connsiteX34" fmla="*/ 6279 w 18121"/>
                    <a:gd name="connsiteY34" fmla="*/ 11722 h 15789"/>
                    <a:gd name="connsiteX35" fmla="*/ 5741 w 18121"/>
                    <a:gd name="connsiteY35" fmla="*/ 11423 h 15789"/>
                    <a:gd name="connsiteX36" fmla="*/ 5143 w 18121"/>
                    <a:gd name="connsiteY36" fmla="*/ 11064 h 15789"/>
                    <a:gd name="connsiteX37" fmla="*/ 3050 w 18121"/>
                    <a:gd name="connsiteY37" fmla="*/ 9868 h 15789"/>
                    <a:gd name="connsiteX38" fmla="*/ 120 w 18121"/>
                    <a:gd name="connsiteY38" fmla="*/ 8134 h 15789"/>
                    <a:gd name="connsiteX39" fmla="*/ 0 w 18121"/>
                    <a:gd name="connsiteY39" fmla="*/ 7655 h 15789"/>
                    <a:gd name="connsiteX40" fmla="*/ 0 w 18121"/>
                    <a:gd name="connsiteY40" fmla="*/ 7536 h 1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8121" h="15789">
                      <a:moveTo>
                        <a:pt x="4366" y="179"/>
                      </a:moveTo>
                      <a:lnTo>
                        <a:pt x="4904" y="0"/>
                      </a:lnTo>
                      <a:lnTo>
                        <a:pt x="9031" y="2392"/>
                      </a:lnTo>
                      <a:lnTo>
                        <a:pt x="9927" y="2931"/>
                      </a:lnTo>
                      <a:lnTo>
                        <a:pt x="10526" y="3289"/>
                      </a:lnTo>
                      <a:lnTo>
                        <a:pt x="11004" y="3588"/>
                      </a:lnTo>
                      <a:lnTo>
                        <a:pt x="11124" y="3648"/>
                      </a:lnTo>
                      <a:lnTo>
                        <a:pt x="11124" y="3648"/>
                      </a:lnTo>
                      <a:lnTo>
                        <a:pt x="11902" y="4067"/>
                      </a:lnTo>
                      <a:lnTo>
                        <a:pt x="12200" y="4246"/>
                      </a:lnTo>
                      <a:lnTo>
                        <a:pt x="12500" y="4426"/>
                      </a:lnTo>
                      <a:lnTo>
                        <a:pt x="14473" y="5562"/>
                      </a:lnTo>
                      <a:lnTo>
                        <a:pt x="15012" y="5861"/>
                      </a:lnTo>
                      <a:lnTo>
                        <a:pt x="16925" y="6938"/>
                      </a:lnTo>
                      <a:lnTo>
                        <a:pt x="17284" y="7177"/>
                      </a:lnTo>
                      <a:lnTo>
                        <a:pt x="17583" y="7356"/>
                      </a:lnTo>
                      <a:lnTo>
                        <a:pt x="17882" y="7536"/>
                      </a:lnTo>
                      <a:lnTo>
                        <a:pt x="18002" y="7596"/>
                      </a:lnTo>
                      <a:lnTo>
                        <a:pt x="18122" y="8134"/>
                      </a:lnTo>
                      <a:lnTo>
                        <a:pt x="17403" y="9330"/>
                      </a:lnTo>
                      <a:lnTo>
                        <a:pt x="13695" y="15610"/>
                      </a:lnTo>
                      <a:lnTo>
                        <a:pt x="13157" y="15789"/>
                      </a:lnTo>
                      <a:lnTo>
                        <a:pt x="12918" y="15670"/>
                      </a:lnTo>
                      <a:lnTo>
                        <a:pt x="12918" y="15670"/>
                      </a:lnTo>
                      <a:lnTo>
                        <a:pt x="12619" y="15490"/>
                      </a:lnTo>
                      <a:lnTo>
                        <a:pt x="12320" y="15311"/>
                      </a:lnTo>
                      <a:lnTo>
                        <a:pt x="10406" y="14174"/>
                      </a:lnTo>
                      <a:lnTo>
                        <a:pt x="10047" y="13935"/>
                      </a:lnTo>
                      <a:lnTo>
                        <a:pt x="8492" y="13038"/>
                      </a:lnTo>
                      <a:lnTo>
                        <a:pt x="7775" y="12619"/>
                      </a:lnTo>
                      <a:lnTo>
                        <a:pt x="7356" y="12380"/>
                      </a:lnTo>
                      <a:lnTo>
                        <a:pt x="7117" y="12201"/>
                      </a:lnTo>
                      <a:lnTo>
                        <a:pt x="6399" y="11782"/>
                      </a:lnTo>
                      <a:lnTo>
                        <a:pt x="6399" y="11782"/>
                      </a:lnTo>
                      <a:lnTo>
                        <a:pt x="6279" y="11722"/>
                      </a:lnTo>
                      <a:lnTo>
                        <a:pt x="5741" y="11423"/>
                      </a:lnTo>
                      <a:lnTo>
                        <a:pt x="5143" y="11064"/>
                      </a:lnTo>
                      <a:lnTo>
                        <a:pt x="3050" y="9868"/>
                      </a:lnTo>
                      <a:lnTo>
                        <a:pt x="120" y="8134"/>
                      </a:lnTo>
                      <a:lnTo>
                        <a:pt x="0" y="7655"/>
                      </a:lnTo>
                      <a:lnTo>
                        <a:pt x="0" y="7536"/>
                      </a:lnTo>
                    </a:path>
                  </a:pathLst>
                </a:custGeom>
                <a:noFill/>
                <a:ln w="6350" cap="rnd">
                  <a:solidFill>
                    <a:schemeClr val="bg1">
                      <a:alpha val="40000"/>
                    </a:schemeClr>
                  </a:solidFill>
                  <a:prstDash val="solid"/>
                  <a:round/>
                </a:ln>
              </p:spPr>
              <p:txBody>
                <a:bodyPr rtlCol="0" anchor="ctr"/>
                <a:lstStyle/>
                <a:p>
                  <a:endParaRPr lang="en-GB"/>
                </a:p>
              </p:txBody>
            </p:sp>
            <p:sp>
              <p:nvSpPr>
                <p:cNvPr id="6393" name="Vrije vorm: vorm 6392">
                  <a:extLst>
                    <a:ext uri="{FF2B5EF4-FFF2-40B4-BE49-F238E27FC236}">
                      <a16:creationId xmlns:a16="http://schemas.microsoft.com/office/drawing/2014/main" id="{6C7433E9-194E-4CAC-B306-05F3CF1AAA6D}"/>
                    </a:ext>
                  </a:extLst>
                </p:cNvPr>
                <p:cNvSpPr/>
                <p:nvPr/>
              </p:nvSpPr>
              <p:spPr>
                <a:xfrm>
                  <a:off x="6842504" y="1924517"/>
                  <a:ext cx="7535" cy="5801"/>
                </a:xfrm>
                <a:custGeom>
                  <a:avLst/>
                  <a:gdLst>
                    <a:gd name="connsiteX0" fmla="*/ 7536 w 7535"/>
                    <a:gd name="connsiteY0" fmla="*/ 0 h 5801"/>
                    <a:gd name="connsiteX1" fmla="*/ 7356 w 7535"/>
                    <a:gd name="connsiteY1" fmla="*/ 837 h 5801"/>
                    <a:gd name="connsiteX2" fmla="*/ 5083 w 7535"/>
                    <a:gd name="connsiteY2" fmla="*/ 2512 h 5801"/>
                    <a:gd name="connsiteX3" fmla="*/ 1854 w 7535"/>
                    <a:gd name="connsiteY3" fmla="*/ 4904 h 5801"/>
                    <a:gd name="connsiteX4" fmla="*/ 598 w 7535"/>
                    <a:gd name="connsiteY4" fmla="*/ 5801 h 5801"/>
                    <a:gd name="connsiteX5" fmla="*/ 0 w 7535"/>
                    <a:gd name="connsiteY5" fmla="*/ 5682 h 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 h="5801">
                      <a:moveTo>
                        <a:pt x="7536" y="0"/>
                      </a:moveTo>
                      <a:lnTo>
                        <a:pt x="7356" y="837"/>
                      </a:lnTo>
                      <a:lnTo>
                        <a:pt x="5083" y="2512"/>
                      </a:lnTo>
                      <a:lnTo>
                        <a:pt x="1854" y="4904"/>
                      </a:lnTo>
                      <a:lnTo>
                        <a:pt x="598" y="5801"/>
                      </a:lnTo>
                      <a:lnTo>
                        <a:pt x="0" y="5682"/>
                      </a:lnTo>
                    </a:path>
                  </a:pathLst>
                </a:custGeom>
                <a:noFill/>
                <a:ln w="6350" cap="rnd">
                  <a:solidFill>
                    <a:schemeClr val="bg1">
                      <a:alpha val="40000"/>
                    </a:schemeClr>
                  </a:solidFill>
                  <a:prstDash val="solid"/>
                  <a:round/>
                </a:ln>
              </p:spPr>
              <p:txBody>
                <a:bodyPr rtlCol="0" anchor="ctr"/>
                <a:lstStyle/>
                <a:p>
                  <a:endParaRPr lang="en-GB"/>
                </a:p>
              </p:txBody>
            </p:sp>
            <p:sp>
              <p:nvSpPr>
                <p:cNvPr id="6394" name="Vrije vorm: vorm 6393">
                  <a:extLst>
                    <a:ext uri="{FF2B5EF4-FFF2-40B4-BE49-F238E27FC236}">
                      <a16:creationId xmlns:a16="http://schemas.microsoft.com/office/drawing/2014/main" id="{243CAA2C-5052-47E3-86FE-091DE833A045}"/>
                    </a:ext>
                  </a:extLst>
                </p:cNvPr>
                <p:cNvSpPr/>
                <p:nvPr/>
              </p:nvSpPr>
              <p:spPr>
                <a:xfrm>
                  <a:off x="7071685" y="1819017"/>
                  <a:ext cx="9868" cy="10944"/>
                </a:xfrm>
                <a:custGeom>
                  <a:avLst/>
                  <a:gdLst>
                    <a:gd name="connsiteX0" fmla="*/ 1256 w 9868"/>
                    <a:gd name="connsiteY0" fmla="*/ 8732 h 10944"/>
                    <a:gd name="connsiteX1" fmla="*/ 0 w 9868"/>
                    <a:gd name="connsiteY1" fmla="*/ 7895 h 10944"/>
                    <a:gd name="connsiteX2" fmla="*/ 4545 w 9868"/>
                    <a:gd name="connsiteY2" fmla="*/ 0 h 10944"/>
                    <a:gd name="connsiteX3" fmla="*/ 5742 w 9868"/>
                    <a:gd name="connsiteY3" fmla="*/ 538 h 10944"/>
                    <a:gd name="connsiteX4" fmla="*/ 5981 w 9868"/>
                    <a:gd name="connsiteY4" fmla="*/ 658 h 10944"/>
                    <a:gd name="connsiteX5" fmla="*/ 6340 w 9868"/>
                    <a:gd name="connsiteY5" fmla="*/ 897 h 10944"/>
                    <a:gd name="connsiteX6" fmla="*/ 7117 w 9868"/>
                    <a:gd name="connsiteY6" fmla="*/ 1376 h 10944"/>
                    <a:gd name="connsiteX7" fmla="*/ 7117 w 9868"/>
                    <a:gd name="connsiteY7" fmla="*/ 1376 h 10944"/>
                    <a:gd name="connsiteX8" fmla="*/ 7536 w 9868"/>
                    <a:gd name="connsiteY8" fmla="*/ 1615 h 10944"/>
                    <a:gd name="connsiteX9" fmla="*/ 7775 w 9868"/>
                    <a:gd name="connsiteY9" fmla="*/ 1734 h 10944"/>
                    <a:gd name="connsiteX10" fmla="*/ 8194 w 9868"/>
                    <a:gd name="connsiteY10" fmla="*/ 1974 h 10944"/>
                    <a:gd name="connsiteX11" fmla="*/ 8313 w 9868"/>
                    <a:gd name="connsiteY11" fmla="*/ 2033 h 10944"/>
                    <a:gd name="connsiteX12" fmla="*/ 8433 w 9868"/>
                    <a:gd name="connsiteY12" fmla="*/ 2093 h 10944"/>
                    <a:gd name="connsiteX13" fmla="*/ 8732 w 9868"/>
                    <a:gd name="connsiteY13" fmla="*/ 2273 h 10944"/>
                    <a:gd name="connsiteX14" fmla="*/ 8792 w 9868"/>
                    <a:gd name="connsiteY14" fmla="*/ 2332 h 10944"/>
                    <a:gd name="connsiteX15" fmla="*/ 9330 w 9868"/>
                    <a:gd name="connsiteY15" fmla="*/ 2691 h 10944"/>
                    <a:gd name="connsiteX16" fmla="*/ 9868 w 9868"/>
                    <a:gd name="connsiteY16" fmla="*/ 3050 h 10944"/>
                    <a:gd name="connsiteX17" fmla="*/ 8672 w 9868"/>
                    <a:gd name="connsiteY17" fmla="*/ 5143 h 10944"/>
                    <a:gd name="connsiteX18" fmla="*/ 7476 w 9868"/>
                    <a:gd name="connsiteY18" fmla="*/ 7177 h 10944"/>
                    <a:gd name="connsiteX19" fmla="*/ 7297 w 9868"/>
                    <a:gd name="connsiteY19" fmla="*/ 7536 h 10944"/>
                    <a:gd name="connsiteX20" fmla="*/ 6280 w 9868"/>
                    <a:gd name="connsiteY20" fmla="*/ 9330 h 10944"/>
                    <a:gd name="connsiteX21" fmla="*/ 5503 w 9868"/>
                    <a:gd name="connsiteY21" fmla="*/ 10646 h 10944"/>
                    <a:gd name="connsiteX22" fmla="*/ 5323 w 9868"/>
                    <a:gd name="connsiteY22" fmla="*/ 10945 h 10944"/>
                    <a:gd name="connsiteX23" fmla="*/ 5263 w 9868"/>
                    <a:gd name="connsiteY23" fmla="*/ 10945 h 10944"/>
                    <a:gd name="connsiteX24" fmla="*/ 4725 w 9868"/>
                    <a:gd name="connsiteY24" fmla="*/ 10705 h 10944"/>
                    <a:gd name="connsiteX25" fmla="*/ 4725 w 9868"/>
                    <a:gd name="connsiteY25" fmla="*/ 10705 h 10944"/>
                    <a:gd name="connsiteX26" fmla="*/ 4067 w 9868"/>
                    <a:gd name="connsiteY26" fmla="*/ 10406 h 1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868" h="10944">
                      <a:moveTo>
                        <a:pt x="1256" y="8732"/>
                      </a:moveTo>
                      <a:lnTo>
                        <a:pt x="0" y="7895"/>
                      </a:lnTo>
                      <a:lnTo>
                        <a:pt x="4545" y="0"/>
                      </a:lnTo>
                      <a:lnTo>
                        <a:pt x="5742" y="538"/>
                      </a:lnTo>
                      <a:lnTo>
                        <a:pt x="5981" y="658"/>
                      </a:lnTo>
                      <a:lnTo>
                        <a:pt x="6340" y="897"/>
                      </a:lnTo>
                      <a:lnTo>
                        <a:pt x="7117" y="1376"/>
                      </a:lnTo>
                      <a:lnTo>
                        <a:pt x="7117" y="1376"/>
                      </a:lnTo>
                      <a:lnTo>
                        <a:pt x="7536" y="1615"/>
                      </a:lnTo>
                      <a:lnTo>
                        <a:pt x="7775" y="1734"/>
                      </a:lnTo>
                      <a:lnTo>
                        <a:pt x="8194" y="1974"/>
                      </a:lnTo>
                      <a:lnTo>
                        <a:pt x="8313" y="2033"/>
                      </a:lnTo>
                      <a:lnTo>
                        <a:pt x="8433" y="2093"/>
                      </a:lnTo>
                      <a:lnTo>
                        <a:pt x="8732" y="2273"/>
                      </a:lnTo>
                      <a:lnTo>
                        <a:pt x="8792" y="2332"/>
                      </a:lnTo>
                      <a:lnTo>
                        <a:pt x="9330" y="2691"/>
                      </a:lnTo>
                      <a:lnTo>
                        <a:pt x="9868" y="3050"/>
                      </a:lnTo>
                      <a:lnTo>
                        <a:pt x="8672" y="5143"/>
                      </a:lnTo>
                      <a:lnTo>
                        <a:pt x="7476" y="7177"/>
                      </a:lnTo>
                      <a:lnTo>
                        <a:pt x="7297" y="7536"/>
                      </a:lnTo>
                      <a:lnTo>
                        <a:pt x="6280" y="9330"/>
                      </a:lnTo>
                      <a:lnTo>
                        <a:pt x="5503" y="10646"/>
                      </a:lnTo>
                      <a:lnTo>
                        <a:pt x="5323" y="10945"/>
                      </a:lnTo>
                      <a:lnTo>
                        <a:pt x="5263" y="10945"/>
                      </a:lnTo>
                      <a:lnTo>
                        <a:pt x="4725" y="10705"/>
                      </a:lnTo>
                      <a:lnTo>
                        <a:pt x="4725" y="10705"/>
                      </a:lnTo>
                      <a:lnTo>
                        <a:pt x="4067" y="10406"/>
                      </a:lnTo>
                    </a:path>
                  </a:pathLst>
                </a:custGeom>
                <a:noFill/>
                <a:ln w="6350" cap="rnd">
                  <a:solidFill>
                    <a:schemeClr val="bg1">
                      <a:alpha val="40000"/>
                    </a:schemeClr>
                  </a:solidFill>
                  <a:prstDash val="solid"/>
                  <a:round/>
                </a:ln>
              </p:spPr>
              <p:txBody>
                <a:bodyPr rtlCol="0" anchor="ctr"/>
                <a:lstStyle/>
                <a:p>
                  <a:endParaRPr lang="en-GB"/>
                </a:p>
              </p:txBody>
            </p:sp>
            <p:sp>
              <p:nvSpPr>
                <p:cNvPr id="6395" name="Vrije vorm: vorm 6394">
                  <a:extLst>
                    <a:ext uri="{FF2B5EF4-FFF2-40B4-BE49-F238E27FC236}">
                      <a16:creationId xmlns:a16="http://schemas.microsoft.com/office/drawing/2014/main" id="{B33AB2A8-FEEF-4F0A-BA75-1CEA16690940}"/>
                    </a:ext>
                  </a:extLst>
                </p:cNvPr>
                <p:cNvSpPr/>
                <p:nvPr/>
              </p:nvSpPr>
              <p:spPr>
                <a:xfrm>
                  <a:off x="7062475" y="1810464"/>
                  <a:ext cx="5023" cy="3588"/>
                </a:xfrm>
                <a:custGeom>
                  <a:avLst/>
                  <a:gdLst>
                    <a:gd name="connsiteX0" fmla="*/ 0 w 5023"/>
                    <a:gd name="connsiteY0" fmla="*/ 1136 h 3588"/>
                    <a:gd name="connsiteX1" fmla="*/ 0 w 5023"/>
                    <a:gd name="connsiteY1" fmla="*/ 1017 h 3588"/>
                    <a:gd name="connsiteX2" fmla="*/ 598 w 5023"/>
                    <a:gd name="connsiteY2" fmla="*/ 0 h 3588"/>
                    <a:gd name="connsiteX3" fmla="*/ 1914 w 5023"/>
                    <a:gd name="connsiteY3" fmla="*/ 658 h 3588"/>
                    <a:gd name="connsiteX4" fmla="*/ 1973 w 5023"/>
                    <a:gd name="connsiteY4" fmla="*/ 658 h 3588"/>
                    <a:gd name="connsiteX5" fmla="*/ 3349 w 5023"/>
                    <a:gd name="connsiteY5" fmla="*/ 1435 h 3588"/>
                    <a:gd name="connsiteX6" fmla="*/ 3768 w 5023"/>
                    <a:gd name="connsiteY6" fmla="*/ 1675 h 3588"/>
                    <a:gd name="connsiteX7" fmla="*/ 3768 w 5023"/>
                    <a:gd name="connsiteY7" fmla="*/ 1675 h 3588"/>
                    <a:gd name="connsiteX8" fmla="*/ 4246 w 5023"/>
                    <a:gd name="connsiteY8" fmla="*/ 1974 h 3588"/>
                    <a:gd name="connsiteX9" fmla="*/ 4306 w 5023"/>
                    <a:gd name="connsiteY9" fmla="*/ 1974 h 3588"/>
                    <a:gd name="connsiteX10" fmla="*/ 4306 w 5023"/>
                    <a:gd name="connsiteY10" fmla="*/ 1974 h 3588"/>
                    <a:gd name="connsiteX11" fmla="*/ 4306 w 5023"/>
                    <a:gd name="connsiteY11" fmla="*/ 1974 h 3588"/>
                    <a:gd name="connsiteX12" fmla="*/ 5024 w 5023"/>
                    <a:gd name="connsiteY12" fmla="*/ 2452 h 3588"/>
                    <a:gd name="connsiteX13" fmla="*/ 5024 w 5023"/>
                    <a:gd name="connsiteY13" fmla="*/ 2572 h 3588"/>
                    <a:gd name="connsiteX14" fmla="*/ 4426 w 5023"/>
                    <a:gd name="connsiteY14" fmla="*/ 3588 h 3588"/>
                    <a:gd name="connsiteX15" fmla="*/ 4007 w 5023"/>
                    <a:gd name="connsiteY15" fmla="*/ 3349 h 3588"/>
                    <a:gd name="connsiteX16" fmla="*/ 3947 w 5023"/>
                    <a:gd name="connsiteY16" fmla="*/ 3349 h 3588"/>
                    <a:gd name="connsiteX17" fmla="*/ 3887 w 5023"/>
                    <a:gd name="connsiteY17" fmla="*/ 3349 h 3588"/>
                    <a:gd name="connsiteX18" fmla="*/ 3828 w 5023"/>
                    <a:gd name="connsiteY18" fmla="*/ 3289 h 3588"/>
                    <a:gd name="connsiteX19" fmla="*/ 3169 w 5023"/>
                    <a:gd name="connsiteY19" fmla="*/ 2930 h 3588"/>
                    <a:gd name="connsiteX20" fmla="*/ 2930 w 5023"/>
                    <a:gd name="connsiteY20" fmla="*/ 2811 h 3588"/>
                    <a:gd name="connsiteX21" fmla="*/ 1375 w 5023"/>
                    <a:gd name="connsiteY21" fmla="*/ 1914 h 3588"/>
                    <a:gd name="connsiteX22" fmla="*/ 0 w 5023"/>
                    <a:gd name="connsiteY22" fmla="*/ 1136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023" h="3588">
                      <a:moveTo>
                        <a:pt x="0" y="1136"/>
                      </a:moveTo>
                      <a:lnTo>
                        <a:pt x="0" y="1017"/>
                      </a:lnTo>
                      <a:lnTo>
                        <a:pt x="598" y="0"/>
                      </a:lnTo>
                      <a:lnTo>
                        <a:pt x="1914" y="658"/>
                      </a:lnTo>
                      <a:lnTo>
                        <a:pt x="1973" y="658"/>
                      </a:lnTo>
                      <a:lnTo>
                        <a:pt x="3349" y="1435"/>
                      </a:lnTo>
                      <a:lnTo>
                        <a:pt x="3768" y="1675"/>
                      </a:lnTo>
                      <a:lnTo>
                        <a:pt x="3768" y="1675"/>
                      </a:lnTo>
                      <a:lnTo>
                        <a:pt x="4246" y="1974"/>
                      </a:lnTo>
                      <a:lnTo>
                        <a:pt x="4306" y="1974"/>
                      </a:lnTo>
                      <a:lnTo>
                        <a:pt x="4306" y="1974"/>
                      </a:lnTo>
                      <a:lnTo>
                        <a:pt x="4306" y="1974"/>
                      </a:lnTo>
                      <a:lnTo>
                        <a:pt x="5024" y="2452"/>
                      </a:lnTo>
                      <a:lnTo>
                        <a:pt x="5024" y="2572"/>
                      </a:lnTo>
                      <a:lnTo>
                        <a:pt x="4426" y="3588"/>
                      </a:lnTo>
                      <a:lnTo>
                        <a:pt x="4007" y="3349"/>
                      </a:lnTo>
                      <a:lnTo>
                        <a:pt x="3947" y="3349"/>
                      </a:lnTo>
                      <a:lnTo>
                        <a:pt x="3887" y="3349"/>
                      </a:lnTo>
                      <a:lnTo>
                        <a:pt x="3828" y="3289"/>
                      </a:lnTo>
                      <a:lnTo>
                        <a:pt x="3169" y="2930"/>
                      </a:lnTo>
                      <a:lnTo>
                        <a:pt x="2930" y="2811"/>
                      </a:lnTo>
                      <a:lnTo>
                        <a:pt x="1375" y="1914"/>
                      </a:lnTo>
                      <a:lnTo>
                        <a:pt x="0" y="1136"/>
                      </a:lnTo>
                    </a:path>
                  </a:pathLst>
                </a:custGeom>
                <a:noFill/>
                <a:ln w="6350" cap="rnd">
                  <a:solidFill>
                    <a:schemeClr val="bg1">
                      <a:alpha val="40000"/>
                    </a:schemeClr>
                  </a:solidFill>
                  <a:prstDash val="solid"/>
                  <a:round/>
                </a:ln>
              </p:spPr>
              <p:txBody>
                <a:bodyPr rtlCol="0" anchor="ctr"/>
                <a:lstStyle/>
                <a:p>
                  <a:endParaRPr lang="en-GB"/>
                </a:p>
              </p:txBody>
            </p:sp>
            <p:sp>
              <p:nvSpPr>
                <p:cNvPr id="6396" name="Vrije vorm: vorm 6395">
                  <a:extLst>
                    <a:ext uri="{FF2B5EF4-FFF2-40B4-BE49-F238E27FC236}">
                      <a16:creationId xmlns:a16="http://schemas.microsoft.com/office/drawing/2014/main" id="{387259FF-FC35-4F84-B3C4-9AA21586A41A}"/>
                    </a:ext>
                  </a:extLst>
                </p:cNvPr>
                <p:cNvSpPr/>
                <p:nvPr/>
              </p:nvSpPr>
              <p:spPr>
                <a:xfrm>
                  <a:off x="6991005" y="1737559"/>
                  <a:ext cx="19796" cy="10526"/>
                </a:xfrm>
                <a:custGeom>
                  <a:avLst/>
                  <a:gdLst>
                    <a:gd name="connsiteX0" fmla="*/ 0 w 19796"/>
                    <a:gd name="connsiteY0" fmla="*/ 0 h 10526"/>
                    <a:gd name="connsiteX1" fmla="*/ 18361 w 19796"/>
                    <a:gd name="connsiteY1" fmla="*/ 9689 h 10526"/>
                    <a:gd name="connsiteX2" fmla="*/ 19797 w 19796"/>
                    <a:gd name="connsiteY2" fmla="*/ 10526 h 10526"/>
                  </a:gdLst>
                  <a:ahLst/>
                  <a:cxnLst>
                    <a:cxn ang="0">
                      <a:pos x="connsiteX0" y="connsiteY0"/>
                    </a:cxn>
                    <a:cxn ang="0">
                      <a:pos x="connsiteX1" y="connsiteY1"/>
                    </a:cxn>
                    <a:cxn ang="0">
                      <a:pos x="connsiteX2" y="connsiteY2"/>
                    </a:cxn>
                  </a:cxnLst>
                  <a:rect l="l" t="t" r="r" b="b"/>
                  <a:pathLst>
                    <a:path w="19796" h="10526">
                      <a:moveTo>
                        <a:pt x="0" y="0"/>
                      </a:moveTo>
                      <a:lnTo>
                        <a:pt x="18361" y="9689"/>
                      </a:lnTo>
                      <a:lnTo>
                        <a:pt x="19797" y="10526"/>
                      </a:lnTo>
                    </a:path>
                  </a:pathLst>
                </a:custGeom>
                <a:noFill/>
                <a:ln w="6350" cap="rnd">
                  <a:solidFill>
                    <a:schemeClr val="bg1">
                      <a:alpha val="40000"/>
                    </a:schemeClr>
                  </a:solidFill>
                  <a:prstDash val="solid"/>
                  <a:round/>
                </a:ln>
              </p:spPr>
              <p:txBody>
                <a:bodyPr rtlCol="0" anchor="ctr"/>
                <a:lstStyle/>
                <a:p>
                  <a:endParaRPr lang="en-GB"/>
                </a:p>
              </p:txBody>
            </p:sp>
            <p:sp>
              <p:nvSpPr>
                <p:cNvPr id="6397" name="Vrije vorm: vorm 6396">
                  <a:extLst>
                    <a:ext uri="{FF2B5EF4-FFF2-40B4-BE49-F238E27FC236}">
                      <a16:creationId xmlns:a16="http://schemas.microsoft.com/office/drawing/2014/main" id="{3AA44D96-7F51-4ABA-87A2-BA2627C4AF13}"/>
                    </a:ext>
                  </a:extLst>
                </p:cNvPr>
                <p:cNvSpPr/>
                <p:nvPr/>
              </p:nvSpPr>
              <p:spPr>
                <a:xfrm>
                  <a:off x="6858113" y="1698625"/>
                  <a:ext cx="9150" cy="8074"/>
                </a:xfrm>
                <a:custGeom>
                  <a:avLst/>
                  <a:gdLst>
                    <a:gd name="connsiteX0" fmla="*/ 957 w 9150"/>
                    <a:gd name="connsiteY0" fmla="*/ 8074 h 8074"/>
                    <a:gd name="connsiteX1" fmla="*/ 598 w 9150"/>
                    <a:gd name="connsiteY1" fmla="*/ 7835 h 8074"/>
                    <a:gd name="connsiteX2" fmla="*/ 0 w 9150"/>
                    <a:gd name="connsiteY2" fmla="*/ 7356 h 8074"/>
                    <a:gd name="connsiteX3" fmla="*/ 4426 w 9150"/>
                    <a:gd name="connsiteY3" fmla="*/ 0 h 8074"/>
                    <a:gd name="connsiteX4" fmla="*/ 5801 w 9150"/>
                    <a:gd name="connsiteY4" fmla="*/ 778 h 8074"/>
                    <a:gd name="connsiteX5" fmla="*/ 6220 w 9150"/>
                    <a:gd name="connsiteY5" fmla="*/ 1017 h 8074"/>
                    <a:gd name="connsiteX6" fmla="*/ 8014 w 9150"/>
                    <a:gd name="connsiteY6" fmla="*/ 2093 h 8074"/>
                    <a:gd name="connsiteX7" fmla="*/ 8612 w 9150"/>
                    <a:gd name="connsiteY7" fmla="*/ 2452 h 8074"/>
                    <a:gd name="connsiteX8" fmla="*/ 9151 w 9150"/>
                    <a:gd name="connsiteY8" fmla="*/ 2931 h 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50" h="8074">
                      <a:moveTo>
                        <a:pt x="957" y="8074"/>
                      </a:moveTo>
                      <a:lnTo>
                        <a:pt x="598" y="7835"/>
                      </a:lnTo>
                      <a:lnTo>
                        <a:pt x="0" y="7356"/>
                      </a:lnTo>
                      <a:lnTo>
                        <a:pt x="4426" y="0"/>
                      </a:lnTo>
                      <a:lnTo>
                        <a:pt x="5801" y="778"/>
                      </a:lnTo>
                      <a:lnTo>
                        <a:pt x="6220" y="1017"/>
                      </a:lnTo>
                      <a:lnTo>
                        <a:pt x="8014" y="2093"/>
                      </a:lnTo>
                      <a:lnTo>
                        <a:pt x="8612" y="2452"/>
                      </a:lnTo>
                      <a:lnTo>
                        <a:pt x="9151" y="2931"/>
                      </a:lnTo>
                    </a:path>
                  </a:pathLst>
                </a:custGeom>
                <a:noFill/>
                <a:ln w="6350" cap="rnd">
                  <a:solidFill>
                    <a:schemeClr val="bg1">
                      <a:alpha val="40000"/>
                    </a:schemeClr>
                  </a:solidFill>
                  <a:prstDash val="solid"/>
                  <a:round/>
                </a:ln>
              </p:spPr>
              <p:txBody>
                <a:bodyPr rtlCol="0" anchor="ctr"/>
                <a:lstStyle/>
                <a:p>
                  <a:endParaRPr lang="en-GB"/>
                </a:p>
              </p:txBody>
            </p:sp>
            <p:sp>
              <p:nvSpPr>
                <p:cNvPr id="6398" name="Vrije vorm: vorm 6397">
                  <a:extLst>
                    <a:ext uri="{FF2B5EF4-FFF2-40B4-BE49-F238E27FC236}">
                      <a16:creationId xmlns:a16="http://schemas.microsoft.com/office/drawing/2014/main" id="{1A7E09E3-5CAA-45A9-BCC0-6080ADA0CBFC}"/>
                    </a:ext>
                  </a:extLst>
                </p:cNvPr>
                <p:cNvSpPr/>
                <p:nvPr/>
              </p:nvSpPr>
              <p:spPr>
                <a:xfrm>
                  <a:off x="6838377" y="1776913"/>
                  <a:ext cx="23504" cy="13815"/>
                </a:xfrm>
                <a:custGeom>
                  <a:avLst/>
                  <a:gdLst>
                    <a:gd name="connsiteX0" fmla="*/ 23505 w 23504"/>
                    <a:gd name="connsiteY0" fmla="*/ 13815 h 13815"/>
                    <a:gd name="connsiteX1" fmla="*/ 23145 w 23504"/>
                    <a:gd name="connsiteY1" fmla="*/ 13636 h 13815"/>
                    <a:gd name="connsiteX2" fmla="*/ 22189 w 23504"/>
                    <a:gd name="connsiteY2" fmla="*/ 13098 h 13815"/>
                    <a:gd name="connsiteX3" fmla="*/ 22069 w 23504"/>
                    <a:gd name="connsiteY3" fmla="*/ 13038 h 13815"/>
                    <a:gd name="connsiteX4" fmla="*/ 20694 w 23504"/>
                    <a:gd name="connsiteY4" fmla="*/ 12260 h 13815"/>
                    <a:gd name="connsiteX5" fmla="*/ 18481 w 23504"/>
                    <a:gd name="connsiteY5" fmla="*/ 10945 h 13815"/>
                    <a:gd name="connsiteX6" fmla="*/ 16746 w 23504"/>
                    <a:gd name="connsiteY6" fmla="*/ 9928 h 13815"/>
                    <a:gd name="connsiteX7" fmla="*/ 16328 w 23504"/>
                    <a:gd name="connsiteY7" fmla="*/ 9689 h 13815"/>
                    <a:gd name="connsiteX8" fmla="*/ 11244 w 23504"/>
                    <a:gd name="connsiteY8" fmla="*/ 6698 h 13815"/>
                    <a:gd name="connsiteX9" fmla="*/ 6160 w 23504"/>
                    <a:gd name="connsiteY9" fmla="*/ 3708 h 13815"/>
                    <a:gd name="connsiteX10" fmla="*/ 1256 w 23504"/>
                    <a:gd name="connsiteY10" fmla="*/ 777 h 13815"/>
                    <a:gd name="connsiteX11" fmla="*/ 0 w 23504"/>
                    <a:gd name="connsiteY11" fmla="*/ 0 h 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04" h="13815">
                      <a:moveTo>
                        <a:pt x="23505" y="13815"/>
                      </a:moveTo>
                      <a:lnTo>
                        <a:pt x="23145" y="13636"/>
                      </a:lnTo>
                      <a:lnTo>
                        <a:pt x="22189" y="13098"/>
                      </a:lnTo>
                      <a:lnTo>
                        <a:pt x="22069" y="13038"/>
                      </a:lnTo>
                      <a:lnTo>
                        <a:pt x="20694" y="12260"/>
                      </a:lnTo>
                      <a:lnTo>
                        <a:pt x="18481" y="10945"/>
                      </a:lnTo>
                      <a:lnTo>
                        <a:pt x="16746" y="9928"/>
                      </a:lnTo>
                      <a:lnTo>
                        <a:pt x="16328" y="9689"/>
                      </a:lnTo>
                      <a:lnTo>
                        <a:pt x="11244" y="6698"/>
                      </a:lnTo>
                      <a:lnTo>
                        <a:pt x="6160" y="3708"/>
                      </a:lnTo>
                      <a:lnTo>
                        <a:pt x="1256" y="77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399" name="Vrije vorm: vorm 6398">
                  <a:extLst>
                    <a:ext uri="{FF2B5EF4-FFF2-40B4-BE49-F238E27FC236}">
                      <a16:creationId xmlns:a16="http://schemas.microsoft.com/office/drawing/2014/main" id="{AF9C0CE8-9BBC-4A7A-ADA6-5E4CB3300459}"/>
                    </a:ext>
                  </a:extLst>
                </p:cNvPr>
                <p:cNvSpPr/>
                <p:nvPr/>
              </p:nvSpPr>
              <p:spPr>
                <a:xfrm>
                  <a:off x="6931677" y="1817043"/>
                  <a:ext cx="2631" cy="3110"/>
                </a:xfrm>
                <a:custGeom>
                  <a:avLst/>
                  <a:gdLst>
                    <a:gd name="connsiteX0" fmla="*/ 1375 w 2631"/>
                    <a:gd name="connsiteY0" fmla="*/ 3110 h 3110"/>
                    <a:gd name="connsiteX1" fmla="*/ 538 w 2631"/>
                    <a:gd name="connsiteY1" fmla="*/ 2153 h 3110"/>
                    <a:gd name="connsiteX2" fmla="*/ 478 w 2631"/>
                    <a:gd name="connsiteY2" fmla="*/ 2093 h 3110"/>
                    <a:gd name="connsiteX3" fmla="*/ 119 w 2631"/>
                    <a:gd name="connsiteY3" fmla="*/ 1615 h 3110"/>
                    <a:gd name="connsiteX4" fmla="*/ 0 w 2631"/>
                    <a:gd name="connsiteY4" fmla="*/ 1435 h 3110"/>
                    <a:gd name="connsiteX5" fmla="*/ 119 w 2631"/>
                    <a:gd name="connsiteY5" fmla="*/ 957 h 3110"/>
                    <a:gd name="connsiteX6" fmla="*/ 239 w 2631"/>
                    <a:gd name="connsiteY6" fmla="*/ 538 h 3110"/>
                    <a:gd name="connsiteX7" fmla="*/ 299 w 2631"/>
                    <a:gd name="connsiteY7" fmla="*/ 478 h 3110"/>
                    <a:gd name="connsiteX8" fmla="*/ 418 w 2631"/>
                    <a:gd name="connsiteY8" fmla="*/ 419 h 3110"/>
                    <a:gd name="connsiteX9" fmla="*/ 897 w 2631"/>
                    <a:gd name="connsiteY9" fmla="*/ 120 h 3110"/>
                    <a:gd name="connsiteX10" fmla="*/ 897 w 2631"/>
                    <a:gd name="connsiteY10" fmla="*/ 120 h 3110"/>
                    <a:gd name="connsiteX11" fmla="*/ 1016 w 2631"/>
                    <a:gd name="connsiteY11" fmla="*/ 0 h 3110"/>
                    <a:gd name="connsiteX12" fmla="*/ 1435 w 2631"/>
                    <a:gd name="connsiteY12" fmla="*/ 60 h 3110"/>
                    <a:gd name="connsiteX13" fmla="*/ 1914 w 2631"/>
                    <a:gd name="connsiteY13" fmla="*/ 120 h 3110"/>
                    <a:gd name="connsiteX14" fmla="*/ 2033 w 2631"/>
                    <a:gd name="connsiteY14" fmla="*/ 179 h 3110"/>
                    <a:gd name="connsiteX15" fmla="*/ 2631 w 2631"/>
                    <a:gd name="connsiteY15" fmla="*/ 478 h 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31" h="3110">
                      <a:moveTo>
                        <a:pt x="1375" y="3110"/>
                      </a:moveTo>
                      <a:lnTo>
                        <a:pt x="538" y="2153"/>
                      </a:lnTo>
                      <a:lnTo>
                        <a:pt x="478" y="2093"/>
                      </a:lnTo>
                      <a:lnTo>
                        <a:pt x="119" y="1615"/>
                      </a:lnTo>
                      <a:lnTo>
                        <a:pt x="0" y="1435"/>
                      </a:lnTo>
                      <a:lnTo>
                        <a:pt x="119" y="957"/>
                      </a:lnTo>
                      <a:lnTo>
                        <a:pt x="239" y="538"/>
                      </a:lnTo>
                      <a:lnTo>
                        <a:pt x="299" y="478"/>
                      </a:lnTo>
                      <a:lnTo>
                        <a:pt x="418" y="419"/>
                      </a:lnTo>
                      <a:lnTo>
                        <a:pt x="897" y="120"/>
                      </a:lnTo>
                      <a:lnTo>
                        <a:pt x="897" y="120"/>
                      </a:lnTo>
                      <a:lnTo>
                        <a:pt x="1016" y="0"/>
                      </a:lnTo>
                      <a:lnTo>
                        <a:pt x="1435" y="60"/>
                      </a:lnTo>
                      <a:lnTo>
                        <a:pt x="1914" y="120"/>
                      </a:lnTo>
                      <a:lnTo>
                        <a:pt x="2033" y="179"/>
                      </a:lnTo>
                      <a:lnTo>
                        <a:pt x="2631" y="478"/>
                      </a:lnTo>
                    </a:path>
                  </a:pathLst>
                </a:custGeom>
                <a:noFill/>
                <a:ln w="6350" cap="rnd">
                  <a:solidFill>
                    <a:schemeClr val="bg1">
                      <a:alpha val="40000"/>
                    </a:schemeClr>
                  </a:solidFill>
                  <a:prstDash val="solid"/>
                  <a:round/>
                </a:ln>
              </p:spPr>
              <p:txBody>
                <a:bodyPr rtlCol="0" anchor="ctr"/>
                <a:lstStyle/>
                <a:p>
                  <a:endParaRPr lang="en-GB"/>
                </a:p>
              </p:txBody>
            </p:sp>
            <p:sp>
              <p:nvSpPr>
                <p:cNvPr id="6400" name="Vrije vorm: vorm 6399">
                  <a:extLst>
                    <a:ext uri="{FF2B5EF4-FFF2-40B4-BE49-F238E27FC236}">
                      <a16:creationId xmlns:a16="http://schemas.microsoft.com/office/drawing/2014/main" id="{EFB08805-BDD9-47BD-952E-9E4C095E3757}"/>
                    </a:ext>
                  </a:extLst>
                </p:cNvPr>
                <p:cNvSpPr/>
                <p:nvPr/>
              </p:nvSpPr>
              <p:spPr>
                <a:xfrm>
                  <a:off x="7043934" y="1775896"/>
                  <a:ext cx="17224" cy="16028"/>
                </a:xfrm>
                <a:custGeom>
                  <a:avLst/>
                  <a:gdLst>
                    <a:gd name="connsiteX0" fmla="*/ 1376 w 17224"/>
                    <a:gd name="connsiteY0" fmla="*/ 0 h 16028"/>
                    <a:gd name="connsiteX1" fmla="*/ 1077 w 17224"/>
                    <a:gd name="connsiteY1" fmla="*/ 1974 h 16028"/>
                    <a:gd name="connsiteX2" fmla="*/ 1077 w 17224"/>
                    <a:gd name="connsiteY2" fmla="*/ 1974 h 16028"/>
                    <a:gd name="connsiteX3" fmla="*/ 778 w 17224"/>
                    <a:gd name="connsiteY3" fmla="*/ 3768 h 16028"/>
                    <a:gd name="connsiteX4" fmla="*/ 659 w 17224"/>
                    <a:gd name="connsiteY4" fmla="*/ 4545 h 16028"/>
                    <a:gd name="connsiteX5" fmla="*/ 599 w 17224"/>
                    <a:gd name="connsiteY5" fmla="*/ 4904 h 16028"/>
                    <a:gd name="connsiteX6" fmla="*/ 419 w 17224"/>
                    <a:gd name="connsiteY6" fmla="*/ 6160 h 16028"/>
                    <a:gd name="connsiteX7" fmla="*/ 299 w 17224"/>
                    <a:gd name="connsiteY7" fmla="*/ 6998 h 16028"/>
                    <a:gd name="connsiteX8" fmla="*/ 239 w 17224"/>
                    <a:gd name="connsiteY8" fmla="*/ 7356 h 16028"/>
                    <a:gd name="connsiteX9" fmla="*/ 0 w 17224"/>
                    <a:gd name="connsiteY9" fmla="*/ 8852 h 16028"/>
                    <a:gd name="connsiteX10" fmla="*/ 0 w 17224"/>
                    <a:gd name="connsiteY10" fmla="*/ 8852 h 16028"/>
                    <a:gd name="connsiteX11" fmla="*/ 180 w 17224"/>
                    <a:gd name="connsiteY11" fmla="*/ 9151 h 16028"/>
                    <a:gd name="connsiteX12" fmla="*/ 419 w 17224"/>
                    <a:gd name="connsiteY12" fmla="*/ 9509 h 16028"/>
                    <a:gd name="connsiteX13" fmla="*/ 659 w 17224"/>
                    <a:gd name="connsiteY13" fmla="*/ 9868 h 16028"/>
                    <a:gd name="connsiteX14" fmla="*/ 897 w 17224"/>
                    <a:gd name="connsiteY14" fmla="*/ 10227 h 16028"/>
                    <a:gd name="connsiteX15" fmla="*/ 957 w 17224"/>
                    <a:gd name="connsiteY15" fmla="*/ 10287 h 16028"/>
                    <a:gd name="connsiteX16" fmla="*/ 1137 w 17224"/>
                    <a:gd name="connsiteY16" fmla="*/ 10526 h 16028"/>
                    <a:gd name="connsiteX17" fmla="*/ 1436 w 17224"/>
                    <a:gd name="connsiteY17" fmla="*/ 11005 h 16028"/>
                    <a:gd name="connsiteX18" fmla="*/ 1436 w 17224"/>
                    <a:gd name="connsiteY18" fmla="*/ 11064 h 16028"/>
                    <a:gd name="connsiteX19" fmla="*/ 1675 w 17224"/>
                    <a:gd name="connsiteY19" fmla="*/ 11423 h 16028"/>
                    <a:gd name="connsiteX20" fmla="*/ 1914 w 17224"/>
                    <a:gd name="connsiteY20" fmla="*/ 11782 h 16028"/>
                    <a:gd name="connsiteX21" fmla="*/ 1914 w 17224"/>
                    <a:gd name="connsiteY21" fmla="*/ 11782 h 16028"/>
                    <a:gd name="connsiteX22" fmla="*/ 2452 w 17224"/>
                    <a:gd name="connsiteY22" fmla="*/ 12619 h 16028"/>
                    <a:gd name="connsiteX23" fmla="*/ 4187 w 17224"/>
                    <a:gd name="connsiteY23" fmla="*/ 15370 h 16028"/>
                    <a:gd name="connsiteX24" fmla="*/ 8134 w 17224"/>
                    <a:gd name="connsiteY24" fmla="*/ 15729 h 16028"/>
                    <a:gd name="connsiteX25" fmla="*/ 9270 w 17224"/>
                    <a:gd name="connsiteY25" fmla="*/ 15849 h 16028"/>
                    <a:gd name="connsiteX26" fmla="*/ 9270 w 17224"/>
                    <a:gd name="connsiteY26" fmla="*/ 15849 h 16028"/>
                    <a:gd name="connsiteX27" fmla="*/ 11184 w 17224"/>
                    <a:gd name="connsiteY27" fmla="*/ 16028 h 16028"/>
                    <a:gd name="connsiteX28" fmla="*/ 11364 w 17224"/>
                    <a:gd name="connsiteY28" fmla="*/ 15849 h 16028"/>
                    <a:gd name="connsiteX29" fmla="*/ 11483 w 17224"/>
                    <a:gd name="connsiteY29" fmla="*/ 15729 h 16028"/>
                    <a:gd name="connsiteX30" fmla="*/ 11783 w 17224"/>
                    <a:gd name="connsiteY30" fmla="*/ 15490 h 16028"/>
                    <a:gd name="connsiteX31" fmla="*/ 12201 w 17224"/>
                    <a:gd name="connsiteY31" fmla="*/ 15071 h 16028"/>
                    <a:gd name="connsiteX32" fmla="*/ 12679 w 17224"/>
                    <a:gd name="connsiteY32" fmla="*/ 14653 h 16028"/>
                    <a:gd name="connsiteX33" fmla="*/ 12978 w 17224"/>
                    <a:gd name="connsiteY33" fmla="*/ 14354 h 16028"/>
                    <a:gd name="connsiteX34" fmla="*/ 13218 w 17224"/>
                    <a:gd name="connsiteY34" fmla="*/ 14115 h 16028"/>
                    <a:gd name="connsiteX35" fmla="*/ 13576 w 17224"/>
                    <a:gd name="connsiteY35" fmla="*/ 13756 h 16028"/>
                    <a:gd name="connsiteX36" fmla="*/ 13995 w 17224"/>
                    <a:gd name="connsiteY36" fmla="*/ 13337 h 16028"/>
                    <a:gd name="connsiteX37" fmla="*/ 14474 w 17224"/>
                    <a:gd name="connsiteY37" fmla="*/ 12918 h 16028"/>
                    <a:gd name="connsiteX38" fmla="*/ 16866 w 17224"/>
                    <a:gd name="connsiteY38" fmla="*/ 10646 h 16028"/>
                    <a:gd name="connsiteX39" fmla="*/ 17165 w 17224"/>
                    <a:gd name="connsiteY39" fmla="*/ 10347 h 16028"/>
                    <a:gd name="connsiteX40" fmla="*/ 17165 w 17224"/>
                    <a:gd name="connsiteY40" fmla="*/ 10347 h 16028"/>
                    <a:gd name="connsiteX41" fmla="*/ 17225 w 17224"/>
                    <a:gd name="connsiteY41" fmla="*/ 10287 h 1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4" h="16028">
                      <a:moveTo>
                        <a:pt x="1376" y="0"/>
                      </a:moveTo>
                      <a:lnTo>
                        <a:pt x="1077" y="1974"/>
                      </a:lnTo>
                      <a:lnTo>
                        <a:pt x="1077" y="1974"/>
                      </a:lnTo>
                      <a:lnTo>
                        <a:pt x="778" y="3768"/>
                      </a:lnTo>
                      <a:lnTo>
                        <a:pt x="659" y="4545"/>
                      </a:lnTo>
                      <a:lnTo>
                        <a:pt x="599" y="4904"/>
                      </a:lnTo>
                      <a:lnTo>
                        <a:pt x="419" y="6160"/>
                      </a:lnTo>
                      <a:lnTo>
                        <a:pt x="299" y="6998"/>
                      </a:lnTo>
                      <a:lnTo>
                        <a:pt x="239" y="7356"/>
                      </a:lnTo>
                      <a:lnTo>
                        <a:pt x="0" y="8852"/>
                      </a:lnTo>
                      <a:lnTo>
                        <a:pt x="0" y="8852"/>
                      </a:lnTo>
                      <a:lnTo>
                        <a:pt x="180" y="9151"/>
                      </a:lnTo>
                      <a:lnTo>
                        <a:pt x="419" y="9509"/>
                      </a:lnTo>
                      <a:lnTo>
                        <a:pt x="659" y="9868"/>
                      </a:lnTo>
                      <a:lnTo>
                        <a:pt x="897" y="10227"/>
                      </a:lnTo>
                      <a:lnTo>
                        <a:pt x="957" y="10287"/>
                      </a:lnTo>
                      <a:lnTo>
                        <a:pt x="1137" y="10526"/>
                      </a:lnTo>
                      <a:lnTo>
                        <a:pt x="1436" y="11005"/>
                      </a:lnTo>
                      <a:lnTo>
                        <a:pt x="1436" y="11064"/>
                      </a:lnTo>
                      <a:lnTo>
                        <a:pt x="1675" y="11423"/>
                      </a:lnTo>
                      <a:lnTo>
                        <a:pt x="1914" y="11782"/>
                      </a:lnTo>
                      <a:lnTo>
                        <a:pt x="1914" y="11782"/>
                      </a:lnTo>
                      <a:lnTo>
                        <a:pt x="2452" y="12619"/>
                      </a:lnTo>
                      <a:lnTo>
                        <a:pt x="4187" y="15370"/>
                      </a:lnTo>
                      <a:lnTo>
                        <a:pt x="8134" y="15729"/>
                      </a:lnTo>
                      <a:lnTo>
                        <a:pt x="9270" y="15849"/>
                      </a:lnTo>
                      <a:lnTo>
                        <a:pt x="9270" y="15849"/>
                      </a:lnTo>
                      <a:lnTo>
                        <a:pt x="11184" y="16028"/>
                      </a:lnTo>
                      <a:lnTo>
                        <a:pt x="11364" y="15849"/>
                      </a:lnTo>
                      <a:lnTo>
                        <a:pt x="11483" y="15729"/>
                      </a:lnTo>
                      <a:lnTo>
                        <a:pt x="11783" y="15490"/>
                      </a:lnTo>
                      <a:lnTo>
                        <a:pt x="12201" y="15071"/>
                      </a:lnTo>
                      <a:lnTo>
                        <a:pt x="12679" y="14653"/>
                      </a:lnTo>
                      <a:lnTo>
                        <a:pt x="12978" y="14354"/>
                      </a:lnTo>
                      <a:lnTo>
                        <a:pt x="13218" y="14115"/>
                      </a:lnTo>
                      <a:lnTo>
                        <a:pt x="13576" y="13756"/>
                      </a:lnTo>
                      <a:lnTo>
                        <a:pt x="13995" y="13337"/>
                      </a:lnTo>
                      <a:lnTo>
                        <a:pt x="14474" y="12918"/>
                      </a:lnTo>
                      <a:lnTo>
                        <a:pt x="16866" y="10646"/>
                      </a:lnTo>
                      <a:lnTo>
                        <a:pt x="17165" y="10347"/>
                      </a:lnTo>
                      <a:lnTo>
                        <a:pt x="17165" y="10347"/>
                      </a:lnTo>
                      <a:lnTo>
                        <a:pt x="17225" y="10287"/>
                      </a:lnTo>
                    </a:path>
                  </a:pathLst>
                </a:custGeom>
                <a:noFill/>
                <a:ln w="6350" cap="rnd">
                  <a:solidFill>
                    <a:schemeClr val="bg1">
                      <a:alpha val="40000"/>
                    </a:schemeClr>
                  </a:solidFill>
                  <a:prstDash val="solid"/>
                  <a:round/>
                </a:ln>
              </p:spPr>
              <p:txBody>
                <a:bodyPr rtlCol="0" anchor="ctr"/>
                <a:lstStyle/>
                <a:p>
                  <a:endParaRPr lang="en-GB"/>
                </a:p>
              </p:txBody>
            </p:sp>
            <p:sp>
              <p:nvSpPr>
                <p:cNvPr id="6401" name="Vrije vorm: vorm 6400">
                  <a:extLst>
                    <a:ext uri="{FF2B5EF4-FFF2-40B4-BE49-F238E27FC236}">
                      <a16:creationId xmlns:a16="http://schemas.microsoft.com/office/drawing/2014/main" id="{15CDFF73-91C8-4405-B066-E75B7EE023C8}"/>
                    </a:ext>
                  </a:extLst>
                </p:cNvPr>
                <p:cNvSpPr/>
                <p:nvPr/>
              </p:nvSpPr>
              <p:spPr>
                <a:xfrm>
                  <a:off x="6944774" y="2109979"/>
                  <a:ext cx="1255" cy="1016"/>
                </a:xfrm>
                <a:custGeom>
                  <a:avLst/>
                  <a:gdLst>
                    <a:gd name="connsiteX0" fmla="*/ 1256 w 1255"/>
                    <a:gd name="connsiteY0" fmla="*/ 1017 h 1016"/>
                    <a:gd name="connsiteX1" fmla="*/ 778 w 1255"/>
                    <a:gd name="connsiteY1" fmla="*/ 658 h 1016"/>
                    <a:gd name="connsiteX2" fmla="*/ 718 w 1255"/>
                    <a:gd name="connsiteY2" fmla="*/ 598 h 1016"/>
                    <a:gd name="connsiteX3" fmla="*/ 0 w 1255"/>
                    <a:gd name="connsiteY3" fmla="*/ 0 h 1016"/>
                  </a:gdLst>
                  <a:ahLst/>
                  <a:cxnLst>
                    <a:cxn ang="0">
                      <a:pos x="connsiteX0" y="connsiteY0"/>
                    </a:cxn>
                    <a:cxn ang="0">
                      <a:pos x="connsiteX1" y="connsiteY1"/>
                    </a:cxn>
                    <a:cxn ang="0">
                      <a:pos x="connsiteX2" y="connsiteY2"/>
                    </a:cxn>
                    <a:cxn ang="0">
                      <a:pos x="connsiteX3" y="connsiteY3"/>
                    </a:cxn>
                  </a:cxnLst>
                  <a:rect l="l" t="t" r="r" b="b"/>
                  <a:pathLst>
                    <a:path w="1255" h="1016">
                      <a:moveTo>
                        <a:pt x="1256" y="1017"/>
                      </a:moveTo>
                      <a:lnTo>
                        <a:pt x="778" y="658"/>
                      </a:lnTo>
                      <a:lnTo>
                        <a:pt x="718" y="59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02" name="Vrije vorm: vorm 6401">
                  <a:extLst>
                    <a:ext uri="{FF2B5EF4-FFF2-40B4-BE49-F238E27FC236}">
                      <a16:creationId xmlns:a16="http://schemas.microsoft.com/office/drawing/2014/main" id="{09D1CD91-979C-4991-9BB1-DFBDA71AD9DD}"/>
                    </a:ext>
                  </a:extLst>
                </p:cNvPr>
                <p:cNvSpPr/>
                <p:nvPr/>
              </p:nvSpPr>
              <p:spPr>
                <a:xfrm>
                  <a:off x="6954523" y="1723983"/>
                  <a:ext cx="5023" cy="9868"/>
                </a:xfrm>
                <a:custGeom>
                  <a:avLst/>
                  <a:gdLst>
                    <a:gd name="connsiteX0" fmla="*/ 2093 w 5023"/>
                    <a:gd name="connsiteY0" fmla="*/ 9868 h 9868"/>
                    <a:gd name="connsiteX1" fmla="*/ 1675 w 5023"/>
                    <a:gd name="connsiteY1" fmla="*/ 9569 h 9868"/>
                    <a:gd name="connsiteX2" fmla="*/ 0 w 5023"/>
                    <a:gd name="connsiteY2" fmla="*/ 8253 h 9868"/>
                    <a:gd name="connsiteX3" fmla="*/ 120 w 5023"/>
                    <a:gd name="connsiteY3" fmla="*/ 8074 h 9868"/>
                    <a:gd name="connsiteX4" fmla="*/ 239 w 5023"/>
                    <a:gd name="connsiteY4" fmla="*/ 7835 h 9868"/>
                    <a:gd name="connsiteX5" fmla="*/ 658 w 5023"/>
                    <a:gd name="connsiteY5" fmla="*/ 7177 h 9868"/>
                    <a:gd name="connsiteX6" fmla="*/ 718 w 5023"/>
                    <a:gd name="connsiteY6" fmla="*/ 7117 h 9868"/>
                    <a:gd name="connsiteX7" fmla="*/ 778 w 5023"/>
                    <a:gd name="connsiteY7" fmla="*/ 7057 h 9868"/>
                    <a:gd name="connsiteX8" fmla="*/ 1017 w 5023"/>
                    <a:gd name="connsiteY8" fmla="*/ 6639 h 9868"/>
                    <a:gd name="connsiteX9" fmla="*/ 1196 w 5023"/>
                    <a:gd name="connsiteY9" fmla="*/ 6399 h 9868"/>
                    <a:gd name="connsiteX10" fmla="*/ 1196 w 5023"/>
                    <a:gd name="connsiteY10" fmla="*/ 6399 h 9868"/>
                    <a:gd name="connsiteX11" fmla="*/ 2153 w 5023"/>
                    <a:gd name="connsiteY11" fmla="*/ 4785 h 9868"/>
                    <a:gd name="connsiteX12" fmla="*/ 2333 w 5023"/>
                    <a:gd name="connsiteY12" fmla="*/ 4545 h 9868"/>
                    <a:gd name="connsiteX13" fmla="*/ 2512 w 5023"/>
                    <a:gd name="connsiteY13" fmla="*/ 4246 h 9868"/>
                    <a:gd name="connsiteX14" fmla="*/ 2811 w 5023"/>
                    <a:gd name="connsiteY14" fmla="*/ 3708 h 9868"/>
                    <a:gd name="connsiteX15" fmla="*/ 4665 w 5023"/>
                    <a:gd name="connsiteY15" fmla="*/ 658 h 9868"/>
                    <a:gd name="connsiteX16" fmla="*/ 4725 w 5023"/>
                    <a:gd name="connsiteY16" fmla="*/ 598 h 9868"/>
                    <a:gd name="connsiteX17" fmla="*/ 4725 w 5023"/>
                    <a:gd name="connsiteY17" fmla="*/ 538 h 9868"/>
                    <a:gd name="connsiteX18" fmla="*/ 4964 w 5023"/>
                    <a:gd name="connsiteY18" fmla="*/ 120 h 9868"/>
                    <a:gd name="connsiteX19" fmla="*/ 5024 w 5023"/>
                    <a:gd name="connsiteY19" fmla="*/ 0 h 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23" h="9868">
                      <a:moveTo>
                        <a:pt x="2093" y="9868"/>
                      </a:moveTo>
                      <a:lnTo>
                        <a:pt x="1675" y="9569"/>
                      </a:lnTo>
                      <a:lnTo>
                        <a:pt x="0" y="8253"/>
                      </a:lnTo>
                      <a:lnTo>
                        <a:pt x="120" y="8074"/>
                      </a:lnTo>
                      <a:lnTo>
                        <a:pt x="239" y="7835"/>
                      </a:lnTo>
                      <a:lnTo>
                        <a:pt x="658" y="7177"/>
                      </a:lnTo>
                      <a:lnTo>
                        <a:pt x="718" y="7117"/>
                      </a:lnTo>
                      <a:lnTo>
                        <a:pt x="778" y="7057"/>
                      </a:lnTo>
                      <a:lnTo>
                        <a:pt x="1017" y="6639"/>
                      </a:lnTo>
                      <a:lnTo>
                        <a:pt x="1196" y="6399"/>
                      </a:lnTo>
                      <a:lnTo>
                        <a:pt x="1196" y="6399"/>
                      </a:lnTo>
                      <a:lnTo>
                        <a:pt x="2153" y="4785"/>
                      </a:lnTo>
                      <a:lnTo>
                        <a:pt x="2333" y="4545"/>
                      </a:lnTo>
                      <a:lnTo>
                        <a:pt x="2512" y="4246"/>
                      </a:lnTo>
                      <a:lnTo>
                        <a:pt x="2811" y="3708"/>
                      </a:lnTo>
                      <a:lnTo>
                        <a:pt x="4665" y="658"/>
                      </a:lnTo>
                      <a:lnTo>
                        <a:pt x="4725" y="598"/>
                      </a:lnTo>
                      <a:lnTo>
                        <a:pt x="4725" y="538"/>
                      </a:lnTo>
                      <a:lnTo>
                        <a:pt x="4964" y="120"/>
                      </a:lnTo>
                      <a:lnTo>
                        <a:pt x="5024" y="0"/>
                      </a:lnTo>
                    </a:path>
                  </a:pathLst>
                </a:custGeom>
                <a:noFill/>
                <a:ln w="6350" cap="rnd">
                  <a:solidFill>
                    <a:schemeClr val="bg1">
                      <a:alpha val="40000"/>
                    </a:schemeClr>
                  </a:solidFill>
                  <a:prstDash val="solid"/>
                  <a:round/>
                </a:ln>
              </p:spPr>
              <p:txBody>
                <a:bodyPr rtlCol="0" anchor="ctr"/>
                <a:lstStyle/>
                <a:p>
                  <a:endParaRPr lang="en-GB"/>
                </a:p>
              </p:txBody>
            </p:sp>
            <p:sp>
              <p:nvSpPr>
                <p:cNvPr id="6403" name="Vrije vorm: vorm 6402">
                  <a:extLst>
                    <a:ext uri="{FF2B5EF4-FFF2-40B4-BE49-F238E27FC236}">
                      <a16:creationId xmlns:a16="http://schemas.microsoft.com/office/drawing/2014/main" id="{559F6C16-81A0-4008-9E9A-8E95DC90BD95}"/>
                    </a:ext>
                  </a:extLst>
                </p:cNvPr>
                <p:cNvSpPr/>
                <p:nvPr/>
              </p:nvSpPr>
              <p:spPr>
                <a:xfrm>
                  <a:off x="7015765" y="1750597"/>
                  <a:ext cx="5203" cy="3229"/>
                </a:xfrm>
                <a:custGeom>
                  <a:avLst/>
                  <a:gdLst>
                    <a:gd name="connsiteX0" fmla="*/ 0 w 5203"/>
                    <a:gd name="connsiteY0" fmla="*/ 0 h 3229"/>
                    <a:gd name="connsiteX1" fmla="*/ 1495 w 5203"/>
                    <a:gd name="connsiteY1" fmla="*/ 598 h 3229"/>
                    <a:gd name="connsiteX2" fmla="*/ 2930 w 5203"/>
                    <a:gd name="connsiteY2" fmla="*/ 1376 h 3229"/>
                    <a:gd name="connsiteX3" fmla="*/ 4605 w 5203"/>
                    <a:gd name="connsiteY3" fmla="*/ 2392 h 3229"/>
                    <a:gd name="connsiteX4" fmla="*/ 5203 w 5203"/>
                    <a:gd name="connsiteY4" fmla="*/ 2751 h 3229"/>
                    <a:gd name="connsiteX5" fmla="*/ 4964 w 5203"/>
                    <a:gd name="connsiteY5" fmla="*/ 3170 h 3229"/>
                    <a:gd name="connsiteX6" fmla="*/ 4905 w 5203"/>
                    <a:gd name="connsiteY6" fmla="*/ 3230 h 3229"/>
                    <a:gd name="connsiteX7" fmla="*/ 3230 w 5203"/>
                    <a:gd name="connsiteY7" fmla="*/ 2632 h 3229"/>
                    <a:gd name="connsiteX8" fmla="*/ 1735 w 5203"/>
                    <a:gd name="connsiteY8" fmla="*/ 2093 h 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03" h="3229">
                      <a:moveTo>
                        <a:pt x="0" y="0"/>
                      </a:moveTo>
                      <a:lnTo>
                        <a:pt x="1495" y="598"/>
                      </a:lnTo>
                      <a:lnTo>
                        <a:pt x="2930" y="1376"/>
                      </a:lnTo>
                      <a:lnTo>
                        <a:pt x="4605" y="2392"/>
                      </a:lnTo>
                      <a:lnTo>
                        <a:pt x="5203" y="2751"/>
                      </a:lnTo>
                      <a:lnTo>
                        <a:pt x="4964" y="3170"/>
                      </a:lnTo>
                      <a:lnTo>
                        <a:pt x="4905" y="3230"/>
                      </a:lnTo>
                      <a:lnTo>
                        <a:pt x="3230" y="2632"/>
                      </a:lnTo>
                      <a:lnTo>
                        <a:pt x="1735" y="2093"/>
                      </a:lnTo>
                    </a:path>
                  </a:pathLst>
                </a:custGeom>
                <a:noFill/>
                <a:ln w="6350" cap="rnd">
                  <a:solidFill>
                    <a:schemeClr val="bg1">
                      <a:alpha val="40000"/>
                    </a:schemeClr>
                  </a:solidFill>
                  <a:prstDash val="solid"/>
                  <a:round/>
                </a:ln>
              </p:spPr>
              <p:txBody>
                <a:bodyPr rtlCol="0" anchor="ctr"/>
                <a:lstStyle/>
                <a:p>
                  <a:endParaRPr lang="en-GB"/>
                </a:p>
              </p:txBody>
            </p:sp>
            <p:sp>
              <p:nvSpPr>
                <p:cNvPr id="6404" name="Vrije vorm: vorm 6403">
                  <a:extLst>
                    <a:ext uri="{FF2B5EF4-FFF2-40B4-BE49-F238E27FC236}">
                      <a16:creationId xmlns:a16="http://schemas.microsoft.com/office/drawing/2014/main" id="{6303D69A-DB66-4C81-8A9C-34653C46C0EC}"/>
                    </a:ext>
                  </a:extLst>
                </p:cNvPr>
                <p:cNvSpPr/>
                <p:nvPr/>
              </p:nvSpPr>
              <p:spPr>
                <a:xfrm>
                  <a:off x="6973482" y="1727093"/>
                  <a:ext cx="896" cy="478"/>
                </a:xfrm>
                <a:custGeom>
                  <a:avLst/>
                  <a:gdLst>
                    <a:gd name="connsiteX0" fmla="*/ 0 w 896"/>
                    <a:gd name="connsiteY0" fmla="*/ 0 h 478"/>
                    <a:gd name="connsiteX1" fmla="*/ 299 w 896"/>
                    <a:gd name="connsiteY1" fmla="*/ 179 h 478"/>
                    <a:gd name="connsiteX2" fmla="*/ 897 w 896"/>
                    <a:gd name="connsiteY2" fmla="*/ 478 h 478"/>
                  </a:gdLst>
                  <a:ahLst/>
                  <a:cxnLst>
                    <a:cxn ang="0">
                      <a:pos x="connsiteX0" y="connsiteY0"/>
                    </a:cxn>
                    <a:cxn ang="0">
                      <a:pos x="connsiteX1" y="connsiteY1"/>
                    </a:cxn>
                    <a:cxn ang="0">
                      <a:pos x="connsiteX2" y="connsiteY2"/>
                    </a:cxn>
                  </a:cxnLst>
                  <a:rect l="l" t="t" r="r" b="b"/>
                  <a:pathLst>
                    <a:path w="896" h="478">
                      <a:moveTo>
                        <a:pt x="0" y="0"/>
                      </a:moveTo>
                      <a:lnTo>
                        <a:pt x="299" y="179"/>
                      </a:lnTo>
                      <a:lnTo>
                        <a:pt x="897" y="478"/>
                      </a:lnTo>
                    </a:path>
                  </a:pathLst>
                </a:custGeom>
                <a:noFill/>
                <a:ln w="6350" cap="rnd">
                  <a:solidFill>
                    <a:schemeClr val="bg1">
                      <a:alpha val="40000"/>
                    </a:schemeClr>
                  </a:solidFill>
                  <a:prstDash val="solid"/>
                  <a:round/>
                </a:ln>
              </p:spPr>
              <p:txBody>
                <a:bodyPr rtlCol="0" anchor="ctr"/>
                <a:lstStyle/>
                <a:p>
                  <a:endParaRPr lang="en-GB"/>
                </a:p>
              </p:txBody>
            </p:sp>
            <p:sp>
              <p:nvSpPr>
                <p:cNvPr id="6405" name="Vrije vorm: vorm 6404">
                  <a:extLst>
                    <a:ext uri="{FF2B5EF4-FFF2-40B4-BE49-F238E27FC236}">
                      <a16:creationId xmlns:a16="http://schemas.microsoft.com/office/drawing/2014/main" id="{C11DC085-3264-4033-974D-941292C7D35B}"/>
                    </a:ext>
                  </a:extLst>
                </p:cNvPr>
                <p:cNvSpPr/>
                <p:nvPr/>
              </p:nvSpPr>
              <p:spPr>
                <a:xfrm>
                  <a:off x="6941006" y="1853526"/>
                  <a:ext cx="42164" cy="67103"/>
                </a:xfrm>
                <a:custGeom>
                  <a:avLst/>
                  <a:gdLst>
                    <a:gd name="connsiteX0" fmla="*/ 8553 w 42164"/>
                    <a:gd name="connsiteY0" fmla="*/ 67104 h 67103"/>
                    <a:gd name="connsiteX1" fmla="*/ 10646 w 42164"/>
                    <a:gd name="connsiteY1" fmla="*/ 64113 h 67103"/>
                    <a:gd name="connsiteX2" fmla="*/ 11782 w 42164"/>
                    <a:gd name="connsiteY2" fmla="*/ 62499 h 67103"/>
                    <a:gd name="connsiteX3" fmla="*/ 13516 w 42164"/>
                    <a:gd name="connsiteY3" fmla="*/ 60046 h 67103"/>
                    <a:gd name="connsiteX4" fmla="*/ 14414 w 42164"/>
                    <a:gd name="connsiteY4" fmla="*/ 58791 h 67103"/>
                    <a:gd name="connsiteX5" fmla="*/ 14533 w 42164"/>
                    <a:gd name="connsiteY5" fmla="*/ 58611 h 67103"/>
                    <a:gd name="connsiteX6" fmla="*/ 15969 w 42164"/>
                    <a:gd name="connsiteY6" fmla="*/ 56518 h 67103"/>
                    <a:gd name="connsiteX7" fmla="*/ 17524 w 42164"/>
                    <a:gd name="connsiteY7" fmla="*/ 54245 h 67103"/>
                    <a:gd name="connsiteX8" fmla="*/ 17882 w 42164"/>
                    <a:gd name="connsiteY8" fmla="*/ 53707 h 67103"/>
                    <a:gd name="connsiteX9" fmla="*/ 20574 w 42164"/>
                    <a:gd name="connsiteY9" fmla="*/ 49700 h 67103"/>
                    <a:gd name="connsiteX10" fmla="*/ 20574 w 42164"/>
                    <a:gd name="connsiteY10" fmla="*/ 49700 h 67103"/>
                    <a:gd name="connsiteX11" fmla="*/ 20574 w 42164"/>
                    <a:gd name="connsiteY11" fmla="*/ 49700 h 67103"/>
                    <a:gd name="connsiteX12" fmla="*/ 20693 w 42164"/>
                    <a:gd name="connsiteY12" fmla="*/ 49520 h 67103"/>
                    <a:gd name="connsiteX13" fmla="*/ 20753 w 42164"/>
                    <a:gd name="connsiteY13" fmla="*/ 49461 h 67103"/>
                    <a:gd name="connsiteX14" fmla="*/ 25478 w 42164"/>
                    <a:gd name="connsiteY14" fmla="*/ 42523 h 67103"/>
                    <a:gd name="connsiteX15" fmla="*/ 26016 w 42164"/>
                    <a:gd name="connsiteY15" fmla="*/ 41745 h 67103"/>
                    <a:gd name="connsiteX16" fmla="*/ 26016 w 42164"/>
                    <a:gd name="connsiteY16" fmla="*/ 41686 h 67103"/>
                    <a:gd name="connsiteX17" fmla="*/ 26255 w 42164"/>
                    <a:gd name="connsiteY17" fmla="*/ 41387 h 67103"/>
                    <a:gd name="connsiteX18" fmla="*/ 26435 w 42164"/>
                    <a:gd name="connsiteY18" fmla="*/ 41147 h 67103"/>
                    <a:gd name="connsiteX19" fmla="*/ 26435 w 42164"/>
                    <a:gd name="connsiteY19" fmla="*/ 41147 h 67103"/>
                    <a:gd name="connsiteX20" fmla="*/ 27272 w 42164"/>
                    <a:gd name="connsiteY20" fmla="*/ 39951 h 67103"/>
                    <a:gd name="connsiteX21" fmla="*/ 27391 w 42164"/>
                    <a:gd name="connsiteY21" fmla="*/ 39772 h 67103"/>
                    <a:gd name="connsiteX22" fmla="*/ 28648 w 42164"/>
                    <a:gd name="connsiteY22" fmla="*/ 37978 h 67103"/>
                    <a:gd name="connsiteX23" fmla="*/ 28768 w 42164"/>
                    <a:gd name="connsiteY23" fmla="*/ 37798 h 67103"/>
                    <a:gd name="connsiteX24" fmla="*/ 29006 w 42164"/>
                    <a:gd name="connsiteY24" fmla="*/ 37439 h 67103"/>
                    <a:gd name="connsiteX25" fmla="*/ 29006 w 42164"/>
                    <a:gd name="connsiteY25" fmla="*/ 37439 h 67103"/>
                    <a:gd name="connsiteX26" fmla="*/ 29605 w 42164"/>
                    <a:gd name="connsiteY26" fmla="*/ 36542 h 67103"/>
                    <a:gd name="connsiteX27" fmla="*/ 30323 w 42164"/>
                    <a:gd name="connsiteY27" fmla="*/ 35466 h 67103"/>
                    <a:gd name="connsiteX28" fmla="*/ 30323 w 42164"/>
                    <a:gd name="connsiteY28" fmla="*/ 35466 h 67103"/>
                    <a:gd name="connsiteX29" fmla="*/ 31698 w 42164"/>
                    <a:gd name="connsiteY29" fmla="*/ 33492 h 67103"/>
                    <a:gd name="connsiteX30" fmla="*/ 32116 w 42164"/>
                    <a:gd name="connsiteY30" fmla="*/ 32894 h 67103"/>
                    <a:gd name="connsiteX31" fmla="*/ 33014 w 42164"/>
                    <a:gd name="connsiteY31" fmla="*/ 31638 h 67103"/>
                    <a:gd name="connsiteX32" fmla="*/ 33851 w 42164"/>
                    <a:gd name="connsiteY32" fmla="*/ 30442 h 67103"/>
                    <a:gd name="connsiteX33" fmla="*/ 38337 w 42164"/>
                    <a:gd name="connsiteY33" fmla="*/ 24042 h 67103"/>
                    <a:gd name="connsiteX34" fmla="*/ 38576 w 42164"/>
                    <a:gd name="connsiteY34" fmla="*/ 23684 h 67103"/>
                    <a:gd name="connsiteX35" fmla="*/ 39652 w 42164"/>
                    <a:gd name="connsiteY35" fmla="*/ 22188 h 67103"/>
                    <a:gd name="connsiteX36" fmla="*/ 39832 w 42164"/>
                    <a:gd name="connsiteY36" fmla="*/ 21949 h 67103"/>
                    <a:gd name="connsiteX37" fmla="*/ 39832 w 42164"/>
                    <a:gd name="connsiteY37" fmla="*/ 21949 h 67103"/>
                    <a:gd name="connsiteX38" fmla="*/ 41507 w 42164"/>
                    <a:gd name="connsiteY38" fmla="*/ 19497 h 67103"/>
                    <a:gd name="connsiteX39" fmla="*/ 42164 w 42164"/>
                    <a:gd name="connsiteY39" fmla="*/ 18540 h 67103"/>
                    <a:gd name="connsiteX40" fmla="*/ 41865 w 42164"/>
                    <a:gd name="connsiteY40" fmla="*/ 18062 h 67103"/>
                    <a:gd name="connsiteX41" fmla="*/ 41566 w 42164"/>
                    <a:gd name="connsiteY41" fmla="*/ 17583 h 67103"/>
                    <a:gd name="connsiteX42" fmla="*/ 31100 w 42164"/>
                    <a:gd name="connsiteY42" fmla="*/ 11363 h 67103"/>
                    <a:gd name="connsiteX43" fmla="*/ 20155 w 42164"/>
                    <a:gd name="connsiteY43" fmla="*/ 4725 h 67103"/>
                    <a:gd name="connsiteX44" fmla="*/ 19139 w 42164"/>
                    <a:gd name="connsiteY44" fmla="*/ 4127 h 67103"/>
                    <a:gd name="connsiteX45" fmla="*/ 18899 w 42164"/>
                    <a:gd name="connsiteY45" fmla="*/ 4007 h 67103"/>
                    <a:gd name="connsiteX46" fmla="*/ 18420 w 42164"/>
                    <a:gd name="connsiteY46" fmla="*/ 3708 h 67103"/>
                    <a:gd name="connsiteX47" fmla="*/ 18062 w 42164"/>
                    <a:gd name="connsiteY47" fmla="*/ 3469 h 67103"/>
                    <a:gd name="connsiteX48" fmla="*/ 16267 w 42164"/>
                    <a:gd name="connsiteY48" fmla="*/ 2392 h 67103"/>
                    <a:gd name="connsiteX49" fmla="*/ 14533 w 42164"/>
                    <a:gd name="connsiteY49" fmla="*/ 1316 h 67103"/>
                    <a:gd name="connsiteX50" fmla="*/ 12321 w 42164"/>
                    <a:gd name="connsiteY50" fmla="*/ 0 h 67103"/>
                    <a:gd name="connsiteX51" fmla="*/ 11064 w 42164"/>
                    <a:gd name="connsiteY51" fmla="*/ 299 h 67103"/>
                    <a:gd name="connsiteX52" fmla="*/ 10766 w 42164"/>
                    <a:gd name="connsiteY52" fmla="*/ 359 h 67103"/>
                    <a:gd name="connsiteX53" fmla="*/ 10586 w 42164"/>
                    <a:gd name="connsiteY53" fmla="*/ 419 h 67103"/>
                    <a:gd name="connsiteX54" fmla="*/ 10406 w 42164"/>
                    <a:gd name="connsiteY54" fmla="*/ 478 h 67103"/>
                    <a:gd name="connsiteX55" fmla="*/ 8732 w 42164"/>
                    <a:gd name="connsiteY55" fmla="*/ 3230 h 67103"/>
                    <a:gd name="connsiteX56" fmla="*/ 7895 w 42164"/>
                    <a:gd name="connsiteY56" fmla="*/ 4545 h 67103"/>
                    <a:gd name="connsiteX57" fmla="*/ 7715 w 42164"/>
                    <a:gd name="connsiteY57" fmla="*/ 4785 h 67103"/>
                    <a:gd name="connsiteX58" fmla="*/ 3290 w 42164"/>
                    <a:gd name="connsiteY58" fmla="*/ 12021 h 67103"/>
                    <a:gd name="connsiteX59" fmla="*/ 3230 w 42164"/>
                    <a:gd name="connsiteY59" fmla="*/ 12141 h 67103"/>
                    <a:gd name="connsiteX60" fmla="*/ 3230 w 42164"/>
                    <a:gd name="connsiteY60" fmla="*/ 12201 h 67103"/>
                    <a:gd name="connsiteX61" fmla="*/ 2751 w 42164"/>
                    <a:gd name="connsiteY61" fmla="*/ 13038 h 67103"/>
                    <a:gd name="connsiteX62" fmla="*/ 2333 w 42164"/>
                    <a:gd name="connsiteY62" fmla="*/ 13696 h 67103"/>
                    <a:gd name="connsiteX63" fmla="*/ 1615 w 42164"/>
                    <a:gd name="connsiteY63" fmla="*/ 14832 h 67103"/>
                    <a:gd name="connsiteX64" fmla="*/ 1077 w 42164"/>
                    <a:gd name="connsiteY64" fmla="*/ 15729 h 67103"/>
                    <a:gd name="connsiteX65" fmla="*/ 1017 w 42164"/>
                    <a:gd name="connsiteY65" fmla="*/ 15849 h 67103"/>
                    <a:gd name="connsiteX66" fmla="*/ 778 w 42164"/>
                    <a:gd name="connsiteY66" fmla="*/ 16208 h 67103"/>
                    <a:gd name="connsiteX67" fmla="*/ 60 w 42164"/>
                    <a:gd name="connsiteY67" fmla="*/ 17404 h 67103"/>
                    <a:gd name="connsiteX68" fmla="*/ 60 w 42164"/>
                    <a:gd name="connsiteY68" fmla="*/ 17404 h 67103"/>
                    <a:gd name="connsiteX69" fmla="*/ 0 w 42164"/>
                    <a:gd name="connsiteY69" fmla="*/ 17523 h 67103"/>
                    <a:gd name="connsiteX70" fmla="*/ 0 w 42164"/>
                    <a:gd name="connsiteY70" fmla="*/ 17523 h 67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2164" h="67103">
                      <a:moveTo>
                        <a:pt x="8553" y="67104"/>
                      </a:moveTo>
                      <a:lnTo>
                        <a:pt x="10646" y="64113"/>
                      </a:lnTo>
                      <a:lnTo>
                        <a:pt x="11782" y="62499"/>
                      </a:lnTo>
                      <a:lnTo>
                        <a:pt x="13516" y="60046"/>
                      </a:lnTo>
                      <a:lnTo>
                        <a:pt x="14414" y="58791"/>
                      </a:lnTo>
                      <a:lnTo>
                        <a:pt x="14533" y="58611"/>
                      </a:lnTo>
                      <a:lnTo>
                        <a:pt x="15969" y="56518"/>
                      </a:lnTo>
                      <a:lnTo>
                        <a:pt x="17524" y="54245"/>
                      </a:lnTo>
                      <a:lnTo>
                        <a:pt x="17882" y="53707"/>
                      </a:lnTo>
                      <a:lnTo>
                        <a:pt x="20574" y="49700"/>
                      </a:lnTo>
                      <a:lnTo>
                        <a:pt x="20574" y="49700"/>
                      </a:lnTo>
                      <a:lnTo>
                        <a:pt x="20574" y="49700"/>
                      </a:lnTo>
                      <a:lnTo>
                        <a:pt x="20693" y="49520"/>
                      </a:lnTo>
                      <a:lnTo>
                        <a:pt x="20753" y="49461"/>
                      </a:lnTo>
                      <a:lnTo>
                        <a:pt x="25478" y="42523"/>
                      </a:lnTo>
                      <a:lnTo>
                        <a:pt x="26016" y="41745"/>
                      </a:lnTo>
                      <a:lnTo>
                        <a:pt x="26016" y="41686"/>
                      </a:lnTo>
                      <a:lnTo>
                        <a:pt x="26255" y="41387"/>
                      </a:lnTo>
                      <a:lnTo>
                        <a:pt x="26435" y="41147"/>
                      </a:lnTo>
                      <a:lnTo>
                        <a:pt x="26435" y="41147"/>
                      </a:lnTo>
                      <a:lnTo>
                        <a:pt x="27272" y="39951"/>
                      </a:lnTo>
                      <a:lnTo>
                        <a:pt x="27391" y="39772"/>
                      </a:lnTo>
                      <a:lnTo>
                        <a:pt x="28648" y="37978"/>
                      </a:lnTo>
                      <a:lnTo>
                        <a:pt x="28768" y="37798"/>
                      </a:lnTo>
                      <a:lnTo>
                        <a:pt x="29006" y="37439"/>
                      </a:lnTo>
                      <a:lnTo>
                        <a:pt x="29006" y="37439"/>
                      </a:lnTo>
                      <a:lnTo>
                        <a:pt x="29605" y="36542"/>
                      </a:lnTo>
                      <a:lnTo>
                        <a:pt x="30323" y="35466"/>
                      </a:lnTo>
                      <a:lnTo>
                        <a:pt x="30323" y="35466"/>
                      </a:lnTo>
                      <a:lnTo>
                        <a:pt x="31698" y="33492"/>
                      </a:lnTo>
                      <a:lnTo>
                        <a:pt x="32116" y="32894"/>
                      </a:lnTo>
                      <a:lnTo>
                        <a:pt x="33014" y="31638"/>
                      </a:lnTo>
                      <a:lnTo>
                        <a:pt x="33851" y="30442"/>
                      </a:lnTo>
                      <a:lnTo>
                        <a:pt x="38337" y="24042"/>
                      </a:lnTo>
                      <a:lnTo>
                        <a:pt x="38576" y="23684"/>
                      </a:lnTo>
                      <a:lnTo>
                        <a:pt x="39652" y="22188"/>
                      </a:lnTo>
                      <a:lnTo>
                        <a:pt x="39832" y="21949"/>
                      </a:lnTo>
                      <a:lnTo>
                        <a:pt x="39832" y="21949"/>
                      </a:lnTo>
                      <a:lnTo>
                        <a:pt x="41507" y="19497"/>
                      </a:lnTo>
                      <a:lnTo>
                        <a:pt x="42164" y="18540"/>
                      </a:lnTo>
                      <a:lnTo>
                        <a:pt x="41865" y="18062"/>
                      </a:lnTo>
                      <a:lnTo>
                        <a:pt x="41566" y="17583"/>
                      </a:lnTo>
                      <a:lnTo>
                        <a:pt x="31100" y="11363"/>
                      </a:lnTo>
                      <a:lnTo>
                        <a:pt x="20155" y="4725"/>
                      </a:lnTo>
                      <a:lnTo>
                        <a:pt x="19139" y="4127"/>
                      </a:lnTo>
                      <a:lnTo>
                        <a:pt x="18899" y="4007"/>
                      </a:lnTo>
                      <a:lnTo>
                        <a:pt x="18420" y="3708"/>
                      </a:lnTo>
                      <a:lnTo>
                        <a:pt x="18062" y="3469"/>
                      </a:lnTo>
                      <a:lnTo>
                        <a:pt x="16267" y="2392"/>
                      </a:lnTo>
                      <a:lnTo>
                        <a:pt x="14533" y="1316"/>
                      </a:lnTo>
                      <a:lnTo>
                        <a:pt x="12321" y="0"/>
                      </a:lnTo>
                      <a:lnTo>
                        <a:pt x="11064" y="299"/>
                      </a:lnTo>
                      <a:lnTo>
                        <a:pt x="10766" y="359"/>
                      </a:lnTo>
                      <a:lnTo>
                        <a:pt x="10586" y="419"/>
                      </a:lnTo>
                      <a:lnTo>
                        <a:pt x="10406" y="478"/>
                      </a:lnTo>
                      <a:lnTo>
                        <a:pt x="8732" y="3230"/>
                      </a:lnTo>
                      <a:lnTo>
                        <a:pt x="7895" y="4545"/>
                      </a:lnTo>
                      <a:lnTo>
                        <a:pt x="7715" y="4785"/>
                      </a:lnTo>
                      <a:lnTo>
                        <a:pt x="3290" y="12021"/>
                      </a:lnTo>
                      <a:lnTo>
                        <a:pt x="3230" y="12141"/>
                      </a:lnTo>
                      <a:lnTo>
                        <a:pt x="3230" y="12201"/>
                      </a:lnTo>
                      <a:lnTo>
                        <a:pt x="2751" y="13038"/>
                      </a:lnTo>
                      <a:lnTo>
                        <a:pt x="2333" y="13696"/>
                      </a:lnTo>
                      <a:lnTo>
                        <a:pt x="1615" y="14832"/>
                      </a:lnTo>
                      <a:lnTo>
                        <a:pt x="1077" y="15729"/>
                      </a:lnTo>
                      <a:lnTo>
                        <a:pt x="1017" y="15849"/>
                      </a:lnTo>
                      <a:lnTo>
                        <a:pt x="778" y="16208"/>
                      </a:lnTo>
                      <a:lnTo>
                        <a:pt x="60" y="17404"/>
                      </a:lnTo>
                      <a:lnTo>
                        <a:pt x="60" y="17404"/>
                      </a:lnTo>
                      <a:lnTo>
                        <a:pt x="0" y="17523"/>
                      </a:lnTo>
                      <a:lnTo>
                        <a:pt x="0" y="17523"/>
                      </a:lnTo>
                    </a:path>
                  </a:pathLst>
                </a:custGeom>
                <a:noFill/>
                <a:ln w="6350" cap="rnd">
                  <a:solidFill>
                    <a:schemeClr val="bg1">
                      <a:alpha val="40000"/>
                    </a:schemeClr>
                  </a:solidFill>
                  <a:prstDash val="solid"/>
                  <a:round/>
                </a:ln>
              </p:spPr>
              <p:txBody>
                <a:bodyPr rtlCol="0" anchor="ctr"/>
                <a:lstStyle/>
                <a:p>
                  <a:endParaRPr lang="en-GB"/>
                </a:p>
              </p:txBody>
            </p:sp>
            <p:sp>
              <p:nvSpPr>
                <p:cNvPr id="6406" name="Vrije vorm: vorm 6405">
                  <a:extLst>
                    <a:ext uri="{FF2B5EF4-FFF2-40B4-BE49-F238E27FC236}">
                      <a16:creationId xmlns:a16="http://schemas.microsoft.com/office/drawing/2014/main" id="{1EDA2446-4B0F-4864-A8B2-09BE50955C84}"/>
                    </a:ext>
                  </a:extLst>
                </p:cNvPr>
                <p:cNvSpPr/>
                <p:nvPr/>
              </p:nvSpPr>
              <p:spPr>
                <a:xfrm>
                  <a:off x="7010203" y="1748026"/>
                  <a:ext cx="7594" cy="5562"/>
                </a:xfrm>
                <a:custGeom>
                  <a:avLst/>
                  <a:gdLst>
                    <a:gd name="connsiteX0" fmla="*/ 0 w 7594"/>
                    <a:gd name="connsiteY0" fmla="*/ 1256 h 5562"/>
                    <a:gd name="connsiteX1" fmla="*/ 239 w 7594"/>
                    <a:gd name="connsiteY1" fmla="*/ 777 h 5562"/>
                    <a:gd name="connsiteX2" fmla="*/ 598 w 7594"/>
                    <a:gd name="connsiteY2" fmla="*/ 60 h 5562"/>
                    <a:gd name="connsiteX3" fmla="*/ 598 w 7594"/>
                    <a:gd name="connsiteY3" fmla="*/ 0 h 5562"/>
                    <a:gd name="connsiteX4" fmla="*/ 2511 w 7594"/>
                    <a:gd name="connsiteY4" fmla="*/ 718 h 5562"/>
                    <a:gd name="connsiteX5" fmla="*/ 5502 w 7594"/>
                    <a:gd name="connsiteY5" fmla="*/ 2572 h 5562"/>
                    <a:gd name="connsiteX6" fmla="*/ 7595 w 7594"/>
                    <a:gd name="connsiteY6" fmla="*/ 3887 h 5562"/>
                    <a:gd name="connsiteX7" fmla="*/ 7476 w 7594"/>
                    <a:gd name="connsiteY7" fmla="*/ 4067 h 5562"/>
                    <a:gd name="connsiteX8" fmla="*/ 7236 w 7594"/>
                    <a:gd name="connsiteY8" fmla="*/ 4486 h 5562"/>
                    <a:gd name="connsiteX9" fmla="*/ 7117 w 7594"/>
                    <a:gd name="connsiteY9" fmla="*/ 4665 h 5562"/>
                    <a:gd name="connsiteX10" fmla="*/ 6639 w 7594"/>
                    <a:gd name="connsiteY10" fmla="*/ 5562 h 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94" h="5562">
                      <a:moveTo>
                        <a:pt x="0" y="1256"/>
                      </a:moveTo>
                      <a:lnTo>
                        <a:pt x="239" y="777"/>
                      </a:lnTo>
                      <a:lnTo>
                        <a:pt x="598" y="60"/>
                      </a:lnTo>
                      <a:lnTo>
                        <a:pt x="598" y="0"/>
                      </a:lnTo>
                      <a:lnTo>
                        <a:pt x="2511" y="718"/>
                      </a:lnTo>
                      <a:lnTo>
                        <a:pt x="5502" y="2572"/>
                      </a:lnTo>
                      <a:lnTo>
                        <a:pt x="7595" y="3887"/>
                      </a:lnTo>
                      <a:lnTo>
                        <a:pt x="7476" y="4067"/>
                      </a:lnTo>
                      <a:lnTo>
                        <a:pt x="7236" y="4486"/>
                      </a:lnTo>
                      <a:lnTo>
                        <a:pt x="7117" y="4665"/>
                      </a:lnTo>
                      <a:lnTo>
                        <a:pt x="6639" y="5562"/>
                      </a:lnTo>
                    </a:path>
                  </a:pathLst>
                </a:custGeom>
                <a:noFill/>
                <a:ln w="6350" cap="rnd">
                  <a:solidFill>
                    <a:schemeClr val="bg1">
                      <a:alpha val="40000"/>
                    </a:schemeClr>
                  </a:solidFill>
                  <a:prstDash val="solid"/>
                  <a:round/>
                </a:ln>
              </p:spPr>
              <p:txBody>
                <a:bodyPr rtlCol="0" anchor="ctr"/>
                <a:lstStyle/>
                <a:p>
                  <a:endParaRPr lang="en-GB"/>
                </a:p>
              </p:txBody>
            </p:sp>
            <p:sp>
              <p:nvSpPr>
                <p:cNvPr id="6407" name="Vrije vorm: vorm 6406">
                  <a:extLst>
                    <a:ext uri="{FF2B5EF4-FFF2-40B4-BE49-F238E27FC236}">
                      <a16:creationId xmlns:a16="http://schemas.microsoft.com/office/drawing/2014/main" id="{B8335693-71D4-4835-B842-C3BFF87A547D}"/>
                    </a:ext>
                  </a:extLst>
                </p:cNvPr>
                <p:cNvSpPr/>
                <p:nvPr/>
              </p:nvSpPr>
              <p:spPr>
                <a:xfrm>
                  <a:off x="6762601" y="1929241"/>
                  <a:ext cx="1435" cy="5263"/>
                </a:xfrm>
                <a:custGeom>
                  <a:avLst/>
                  <a:gdLst>
                    <a:gd name="connsiteX0" fmla="*/ 1435 w 1435"/>
                    <a:gd name="connsiteY0" fmla="*/ 5263 h 5263"/>
                    <a:gd name="connsiteX1" fmla="*/ 418 w 1435"/>
                    <a:gd name="connsiteY1" fmla="*/ 4426 h 5263"/>
                    <a:gd name="connsiteX2" fmla="*/ 418 w 1435"/>
                    <a:gd name="connsiteY2" fmla="*/ 4366 h 5263"/>
                    <a:gd name="connsiteX3" fmla="*/ 957 w 1435"/>
                    <a:gd name="connsiteY3" fmla="*/ 1914 h 5263"/>
                    <a:gd name="connsiteX4" fmla="*/ 1017 w 1435"/>
                    <a:gd name="connsiteY4" fmla="*/ 1794 h 5263"/>
                    <a:gd name="connsiteX5" fmla="*/ 0 w 1435"/>
                    <a:gd name="connsiteY5" fmla="*/ 0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 h="5263">
                      <a:moveTo>
                        <a:pt x="1435" y="5263"/>
                      </a:moveTo>
                      <a:lnTo>
                        <a:pt x="418" y="4426"/>
                      </a:lnTo>
                      <a:lnTo>
                        <a:pt x="418" y="4366"/>
                      </a:lnTo>
                      <a:lnTo>
                        <a:pt x="957" y="1914"/>
                      </a:lnTo>
                      <a:lnTo>
                        <a:pt x="1017" y="1794"/>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08" name="Vrije vorm: vorm 6407">
                  <a:extLst>
                    <a:ext uri="{FF2B5EF4-FFF2-40B4-BE49-F238E27FC236}">
                      <a16:creationId xmlns:a16="http://schemas.microsoft.com/office/drawing/2014/main" id="{D462269C-0CFD-4936-AA70-BB3173BAA26F}"/>
                    </a:ext>
                  </a:extLst>
                </p:cNvPr>
                <p:cNvSpPr/>
                <p:nvPr/>
              </p:nvSpPr>
              <p:spPr>
                <a:xfrm>
                  <a:off x="6985144" y="1851073"/>
                  <a:ext cx="35644" cy="28827"/>
                </a:xfrm>
                <a:custGeom>
                  <a:avLst/>
                  <a:gdLst>
                    <a:gd name="connsiteX0" fmla="*/ 29545 w 35644"/>
                    <a:gd name="connsiteY0" fmla="*/ 28289 h 28827"/>
                    <a:gd name="connsiteX1" fmla="*/ 27930 w 35644"/>
                    <a:gd name="connsiteY1" fmla="*/ 28767 h 28827"/>
                    <a:gd name="connsiteX2" fmla="*/ 27631 w 35644"/>
                    <a:gd name="connsiteY2" fmla="*/ 28827 h 28827"/>
                    <a:gd name="connsiteX3" fmla="*/ 27213 w 35644"/>
                    <a:gd name="connsiteY3" fmla="*/ 28588 h 28827"/>
                    <a:gd name="connsiteX4" fmla="*/ 26734 w 35644"/>
                    <a:gd name="connsiteY4" fmla="*/ 28289 h 28827"/>
                    <a:gd name="connsiteX5" fmla="*/ 26196 w 35644"/>
                    <a:gd name="connsiteY5" fmla="*/ 27990 h 28827"/>
                    <a:gd name="connsiteX6" fmla="*/ 25896 w 35644"/>
                    <a:gd name="connsiteY6" fmla="*/ 27810 h 28827"/>
                    <a:gd name="connsiteX7" fmla="*/ 25598 w 35644"/>
                    <a:gd name="connsiteY7" fmla="*/ 27631 h 28827"/>
                    <a:gd name="connsiteX8" fmla="*/ 25060 w 35644"/>
                    <a:gd name="connsiteY8" fmla="*/ 27272 h 28827"/>
                    <a:gd name="connsiteX9" fmla="*/ 24282 w 35644"/>
                    <a:gd name="connsiteY9" fmla="*/ 26794 h 28827"/>
                    <a:gd name="connsiteX10" fmla="*/ 24102 w 35644"/>
                    <a:gd name="connsiteY10" fmla="*/ 26674 h 28827"/>
                    <a:gd name="connsiteX11" fmla="*/ 16327 w 35644"/>
                    <a:gd name="connsiteY11" fmla="*/ 22069 h 28827"/>
                    <a:gd name="connsiteX12" fmla="*/ 12440 w 35644"/>
                    <a:gd name="connsiteY12" fmla="*/ 19796 h 28827"/>
                    <a:gd name="connsiteX13" fmla="*/ 10706 w 35644"/>
                    <a:gd name="connsiteY13" fmla="*/ 18779 h 28827"/>
                    <a:gd name="connsiteX14" fmla="*/ 10406 w 35644"/>
                    <a:gd name="connsiteY14" fmla="*/ 18600 h 28827"/>
                    <a:gd name="connsiteX15" fmla="*/ 10347 w 35644"/>
                    <a:gd name="connsiteY15" fmla="*/ 18540 h 28827"/>
                    <a:gd name="connsiteX16" fmla="*/ 9211 w 35644"/>
                    <a:gd name="connsiteY16" fmla="*/ 17882 h 28827"/>
                    <a:gd name="connsiteX17" fmla="*/ 9151 w 35644"/>
                    <a:gd name="connsiteY17" fmla="*/ 17823 h 28827"/>
                    <a:gd name="connsiteX18" fmla="*/ 9091 w 35644"/>
                    <a:gd name="connsiteY18" fmla="*/ 17763 h 28827"/>
                    <a:gd name="connsiteX19" fmla="*/ 9091 w 35644"/>
                    <a:gd name="connsiteY19" fmla="*/ 17763 h 28827"/>
                    <a:gd name="connsiteX20" fmla="*/ 8253 w 35644"/>
                    <a:gd name="connsiteY20" fmla="*/ 17284 h 28827"/>
                    <a:gd name="connsiteX21" fmla="*/ 7954 w 35644"/>
                    <a:gd name="connsiteY21" fmla="*/ 17105 h 28827"/>
                    <a:gd name="connsiteX22" fmla="*/ 6998 w 35644"/>
                    <a:gd name="connsiteY22" fmla="*/ 16507 h 28827"/>
                    <a:gd name="connsiteX23" fmla="*/ 5741 w 35644"/>
                    <a:gd name="connsiteY23" fmla="*/ 15729 h 28827"/>
                    <a:gd name="connsiteX24" fmla="*/ 4845 w 35644"/>
                    <a:gd name="connsiteY24" fmla="*/ 15191 h 28827"/>
                    <a:gd name="connsiteX25" fmla="*/ 4486 w 35644"/>
                    <a:gd name="connsiteY25" fmla="*/ 14952 h 28827"/>
                    <a:gd name="connsiteX26" fmla="*/ 3708 w 35644"/>
                    <a:gd name="connsiteY26" fmla="*/ 14473 h 28827"/>
                    <a:gd name="connsiteX27" fmla="*/ 3708 w 35644"/>
                    <a:gd name="connsiteY27" fmla="*/ 14473 h 28827"/>
                    <a:gd name="connsiteX28" fmla="*/ 3588 w 35644"/>
                    <a:gd name="connsiteY28" fmla="*/ 14414 h 28827"/>
                    <a:gd name="connsiteX29" fmla="*/ 2990 w 35644"/>
                    <a:gd name="connsiteY29" fmla="*/ 14055 h 28827"/>
                    <a:gd name="connsiteX30" fmla="*/ 2452 w 35644"/>
                    <a:gd name="connsiteY30" fmla="*/ 13756 h 28827"/>
                    <a:gd name="connsiteX31" fmla="*/ 1017 w 35644"/>
                    <a:gd name="connsiteY31" fmla="*/ 12918 h 28827"/>
                    <a:gd name="connsiteX32" fmla="*/ 598 w 35644"/>
                    <a:gd name="connsiteY32" fmla="*/ 12679 h 28827"/>
                    <a:gd name="connsiteX33" fmla="*/ 598 w 35644"/>
                    <a:gd name="connsiteY33" fmla="*/ 12679 h 28827"/>
                    <a:gd name="connsiteX34" fmla="*/ 598 w 35644"/>
                    <a:gd name="connsiteY34" fmla="*/ 12679 h 28827"/>
                    <a:gd name="connsiteX35" fmla="*/ 60 w 35644"/>
                    <a:gd name="connsiteY35" fmla="*/ 10885 h 28827"/>
                    <a:gd name="connsiteX36" fmla="*/ 60 w 35644"/>
                    <a:gd name="connsiteY36" fmla="*/ 10885 h 28827"/>
                    <a:gd name="connsiteX37" fmla="*/ 60 w 35644"/>
                    <a:gd name="connsiteY37" fmla="*/ 10885 h 28827"/>
                    <a:gd name="connsiteX38" fmla="*/ 0 w 35644"/>
                    <a:gd name="connsiteY38" fmla="*/ 10586 h 28827"/>
                    <a:gd name="connsiteX39" fmla="*/ 718 w 35644"/>
                    <a:gd name="connsiteY39" fmla="*/ 9330 h 28827"/>
                    <a:gd name="connsiteX40" fmla="*/ 718 w 35644"/>
                    <a:gd name="connsiteY40" fmla="*/ 9330 h 28827"/>
                    <a:gd name="connsiteX41" fmla="*/ 718 w 35644"/>
                    <a:gd name="connsiteY41" fmla="*/ 9330 h 28827"/>
                    <a:gd name="connsiteX42" fmla="*/ 1495 w 35644"/>
                    <a:gd name="connsiteY42" fmla="*/ 8074 h 28827"/>
                    <a:gd name="connsiteX43" fmla="*/ 2392 w 35644"/>
                    <a:gd name="connsiteY43" fmla="*/ 6519 h 28827"/>
                    <a:gd name="connsiteX44" fmla="*/ 4665 w 35644"/>
                    <a:gd name="connsiteY44" fmla="*/ 2632 h 28827"/>
                    <a:gd name="connsiteX45" fmla="*/ 4785 w 35644"/>
                    <a:gd name="connsiteY45" fmla="*/ 2392 h 28827"/>
                    <a:gd name="connsiteX46" fmla="*/ 5083 w 35644"/>
                    <a:gd name="connsiteY46" fmla="*/ 1854 h 28827"/>
                    <a:gd name="connsiteX47" fmla="*/ 5143 w 35644"/>
                    <a:gd name="connsiteY47" fmla="*/ 1734 h 28827"/>
                    <a:gd name="connsiteX48" fmla="*/ 5203 w 35644"/>
                    <a:gd name="connsiteY48" fmla="*/ 1615 h 28827"/>
                    <a:gd name="connsiteX49" fmla="*/ 5622 w 35644"/>
                    <a:gd name="connsiteY49" fmla="*/ 957 h 28827"/>
                    <a:gd name="connsiteX50" fmla="*/ 5622 w 35644"/>
                    <a:gd name="connsiteY50" fmla="*/ 897 h 28827"/>
                    <a:gd name="connsiteX51" fmla="*/ 5801 w 35644"/>
                    <a:gd name="connsiteY51" fmla="*/ 538 h 28827"/>
                    <a:gd name="connsiteX52" fmla="*/ 6220 w 35644"/>
                    <a:gd name="connsiteY52" fmla="*/ 419 h 28827"/>
                    <a:gd name="connsiteX53" fmla="*/ 7775 w 35644"/>
                    <a:gd name="connsiteY53" fmla="*/ 60 h 28827"/>
                    <a:gd name="connsiteX54" fmla="*/ 7954 w 35644"/>
                    <a:gd name="connsiteY54" fmla="*/ 0 h 28827"/>
                    <a:gd name="connsiteX55" fmla="*/ 7954 w 35644"/>
                    <a:gd name="connsiteY55" fmla="*/ 0 h 28827"/>
                    <a:gd name="connsiteX56" fmla="*/ 8911 w 35644"/>
                    <a:gd name="connsiteY56" fmla="*/ 598 h 28827"/>
                    <a:gd name="connsiteX57" fmla="*/ 10167 w 35644"/>
                    <a:gd name="connsiteY57" fmla="*/ 1316 h 28827"/>
                    <a:gd name="connsiteX58" fmla="*/ 10646 w 35644"/>
                    <a:gd name="connsiteY58" fmla="*/ 1615 h 28827"/>
                    <a:gd name="connsiteX59" fmla="*/ 10706 w 35644"/>
                    <a:gd name="connsiteY59" fmla="*/ 1675 h 28827"/>
                    <a:gd name="connsiteX60" fmla="*/ 11304 w 35644"/>
                    <a:gd name="connsiteY60" fmla="*/ 2033 h 28827"/>
                    <a:gd name="connsiteX61" fmla="*/ 11423 w 35644"/>
                    <a:gd name="connsiteY61" fmla="*/ 2093 h 28827"/>
                    <a:gd name="connsiteX62" fmla="*/ 11423 w 35644"/>
                    <a:gd name="connsiteY62" fmla="*/ 2093 h 28827"/>
                    <a:gd name="connsiteX63" fmla="*/ 11423 w 35644"/>
                    <a:gd name="connsiteY63" fmla="*/ 2093 h 28827"/>
                    <a:gd name="connsiteX64" fmla="*/ 12081 w 35644"/>
                    <a:gd name="connsiteY64" fmla="*/ 2512 h 28827"/>
                    <a:gd name="connsiteX65" fmla="*/ 12141 w 35644"/>
                    <a:gd name="connsiteY65" fmla="*/ 2572 h 28827"/>
                    <a:gd name="connsiteX66" fmla="*/ 12978 w 35644"/>
                    <a:gd name="connsiteY66" fmla="*/ 3050 h 28827"/>
                    <a:gd name="connsiteX67" fmla="*/ 13696 w 35644"/>
                    <a:gd name="connsiteY67" fmla="*/ 3469 h 28827"/>
                    <a:gd name="connsiteX68" fmla="*/ 14474 w 35644"/>
                    <a:gd name="connsiteY68" fmla="*/ 3947 h 28827"/>
                    <a:gd name="connsiteX69" fmla="*/ 15251 w 35644"/>
                    <a:gd name="connsiteY69" fmla="*/ 4366 h 28827"/>
                    <a:gd name="connsiteX70" fmla="*/ 15550 w 35644"/>
                    <a:gd name="connsiteY70" fmla="*/ 4545 h 28827"/>
                    <a:gd name="connsiteX71" fmla="*/ 17584 w 35644"/>
                    <a:gd name="connsiteY71" fmla="*/ 5742 h 28827"/>
                    <a:gd name="connsiteX72" fmla="*/ 17763 w 35644"/>
                    <a:gd name="connsiteY72" fmla="*/ 5861 h 28827"/>
                    <a:gd name="connsiteX73" fmla="*/ 17942 w 35644"/>
                    <a:gd name="connsiteY73" fmla="*/ 5981 h 28827"/>
                    <a:gd name="connsiteX74" fmla="*/ 18122 w 35644"/>
                    <a:gd name="connsiteY74" fmla="*/ 6100 h 28827"/>
                    <a:gd name="connsiteX75" fmla="*/ 18122 w 35644"/>
                    <a:gd name="connsiteY75" fmla="*/ 6100 h 28827"/>
                    <a:gd name="connsiteX76" fmla="*/ 24043 w 35644"/>
                    <a:gd name="connsiteY76" fmla="*/ 9569 h 28827"/>
                    <a:gd name="connsiteX77" fmla="*/ 32655 w 35644"/>
                    <a:gd name="connsiteY77" fmla="*/ 14593 h 28827"/>
                    <a:gd name="connsiteX78" fmla="*/ 33193 w 35644"/>
                    <a:gd name="connsiteY78" fmla="*/ 14892 h 28827"/>
                    <a:gd name="connsiteX79" fmla="*/ 33731 w 35644"/>
                    <a:gd name="connsiteY79" fmla="*/ 15251 h 28827"/>
                    <a:gd name="connsiteX80" fmla="*/ 35167 w 35644"/>
                    <a:gd name="connsiteY80" fmla="*/ 16148 h 28827"/>
                    <a:gd name="connsiteX81" fmla="*/ 35227 w 35644"/>
                    <a:gd name="connsiteY81" fmla="*/ 16447 h 28827"/>
                    <a:gd name="connsiteX82" fmla="*/ 35645 w 35644"/>
                    <a:gd name="connsiteY82" fmla="*/ 18122 h 28827"/>
                    <a:gd name="connsiteX83" fmla="*/ 35585 w 35644"/>
                    <a:gd name="connsiteY83" fmla="*/ 18241 h 28827"/>
                    <a:gd name="connsiteX84" fmla="*/ 35346 w 35644"/>
                    <a:gd name="connsiteY84" fmla="*/ 18660 h 28827"/>
                    <a:gd name="connsiteX85" fmla="*/ 35346 w 35644"/>
                    <a:gd name="connsiteY85" fmla="*/ 18660 h 28827"/>
                    <a:gd name="connsiteX86" fmla="*/ 35346 w 35644"/>
                    <a:gd name="connsiteY86" fmla="*/ 18720 h 28827"/>
                    <a:gd name="connsiteX87" fmla="*/ 35286 w 35644"/>
                    <a:gd name="connsiteY87" fmla="*/ 18779 h 28827"/>
                    <a:gd name="connsiteX88" fmla="*/ 34987 w 35644"/>
                    <a:gd name="connsiteY88" fmla="*/ 19258 h 28827"/>
                    <a:gd name="connsiteX89" fmla="*/ 34927 w 35644"/>
                    <a:gd name="connsiteY89" fmla="*/ 19318 h 28827"/>
                    <a:gd name="connsiteX90" fmla="*/ 34808 w 35644"/>
                    <a:gd name="connsiteY90" fmla="*/ 19497 h 28827"/>
                    <a:gd name="connsiteX91" fmla="*/ 34329 w 35644"/>
                    <a:gd name="connsiteY91" fmla="*/ 20334 h 28827"/>
                    <a:gd name="connsiteX92" fmla="*/ 33971 w 35644"/>
                    <a:gd name="connsiteY92" fmla="*/ 20933 h 28827"/>
                    <a:gd name="connsiteX93" fmla="*/ 33492 w 35644"/>
                    <a:gd name="connsiteY93" fmla="*/ 21770 h 28827"/>
                    <a:gd name="connsiteX94" fmla="*/ 33253 w 35644"/>
                    <a:gd name="connsiteY94" fmla="*/ 22129 h 28827"/>
                    <a:gd name="connsiteX95" fmla="*/ 33253 w 35644"/>
                    <a:gd name="connsiteY95" fmla="*/ 22189 h 28827"/>
                    <a:gd name="connsiteX96" fmla="*/ 33133 w 35644"/>
                    <a:gd name="connsiteY96" fmla="*/ 22368 h 28827"/>
                    <a:gd name="connsiteX97" fmla="*/ 31818 w 35644"/>
                    <a:gd name="connsiteY97" fmla="*/ 24581 h 28827"/>
                    <a:gd name="connsiteX98" fmla="*/ 31818 w 35644"/>
                    <a:gd name="connsiteY98" fmla="*/ 24581 h 28827"/>
                    <a:gd name="connsiteX99" fmla="*/ 31758 w 35644"/>
                    <a:gd name="connsiteY99" fmla="*/ 24641 h 28827"/>
                    <a:gd name="connsiteX100" fmla="*/ 30861 w 35644"/>
                    <a:gd name="connsiteY100" fmla="*/ 26136 h 28827"/>
                    <a:gd name="connsiteX101" fmla="*/ 30442 w 35644"/>
                    <a:gd name="connsiteY101" fmla="*/ 26853 h 28827"/>
                    <a:gd name="connsiteX102" fmla="*/ 29545 w 35644"/>
                    <a:gd name="connsiteY102" fmla="*/ 28289 h 2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5644" h="28827">
                      <a:moveTo>
                        <a:pt x="29545" y="28289"/>
                      </a:moveTo>
                      <a:lnTo>
                        <a:pt x="27930" y="28767"/>
                      </a:lnTo>
                      <a:lnTo>
                        <a:pt x="27631" y="28827"/>
                      </a:lnTo>
                      <a:lnTo>
                        <a:pt x="27213" y="28588"/>
                      </a:lnTo>
                      <a:lnTo>
                        <a:pt x="26734" y="28289"/>
                      </a:lnTo>
                      <a:lnTo>
                        <a:pt x="26196" y="27990"/>
                      </a:lnTo>
                      <a:lnTo>
                        <a:pt x="25896" y="27810"/>
                      </a:lnTo>
                      <a:lnTo>
                        <a:pt x="25598" y="27631"/>
                      </a:lnTo>
                      <a:lnTo>
                        <a:pt x="25060" y="27272"/>
                      </a:lnTo>
                      <a:lnTo>
                        <a:pt x="24282" y="26794"/>
                      </a:lnTo>
                      <a:lnTo>
                        <a:pt x="24102" y="26674"/>
                      </a:lnTo>
                      <a:lnTo>
                        <a:pt x="16327" y="22069"/>
                      </a:lnTo>
                      <a:lnTo>
                        <a:pt x="12440" y="19796"/>
                      </a:lnTo>
                      <a:lnTo>
                        <a:pt x="10706" y="18779"/>
                      </a:lnTo>
                      <a:lnTo>
                        <a:pt x="10406" y="18600"/>
                      </a:lnTo>
                      <a:lnTo>
                        <a:pt x="10347" y="18540"/>
                      </a:lnTo>
                      <a:lnTo>
                        <a:pt x="9211" y="17882"/>
                      </a:lnTo>
                      <a:lnTo>
                        <a:pt x="9151" y="17823"/>
                      </a:lnTo>
                      <a:lnTo>
                        <a:pt x="9091" y="17763"/>
                      </a:lnTo>
                      <a:lnTo>
                        <a:pt x="9091" y="17763"/>
                      </a:lnTo>
                      <a:lnTo>
                        <a:pt x="8253" y="17284"/>
                      </a:lnTo>
                      <a:lnTo>
                        <a:pt x="7954" y="17105"/>
                      </a:lnTo>
                      <a:lnTo>
                        <a:pt x="6998" y="16507"/>
                      </a:lnTo>
                      <a:lnTo>
                        <a:pt x="5741" y="15729"/>
                      </a:lnTo>
                      <a:lnTo>
                        <a:pt x="4845" y="15191"/>
                      </a:lnTo>
                      <a:lnTo>
                        <a:pt x="4486" y="14952"/>
                      </a:lnTo>
                      <a:lnTo>
                        <a:pt x="3708" y="14473"/>
                      </a:lnTo>
                      <a:lnTo>
                        <a:pt x="3708" y="14473"/>
                      </a:lnTo>
                      <a:lnTo>
                        <a:pt x="3588" y="14414"/>
                      </a:lnTo>
                      <a:lnTo>
                        <a:pt x="2990" y="14055"/>
                      </a:lnTo>
                      <a:lnTo>
                        <a:pt x="2452" y="13756"/>
                      </a:lnTo>
                      <a:lnTo>
                        <a:pt x="1017" y="12918"/>
                      </a:lnTo>
                      <a:lnTo>
                        <a:pt x="598" y="12679"/>
                      </a:lnTo>
                      <a:lnTo>
                        <a:pt x="598" y="12679"/>
                      </a:lnTo>
                      <a:lnTo>
                        <a:pt x="598" y="12679"/>
                      </a:lnTo>
                      <a:lnTo>
                        <a:pt x="60" y="10885"/>
                      </a:lnTo>
                      <a:lnTo>
                        <a:pt x="60" y="10885"/>
                      </a:lnTo>
                      <a:lnTo>
                        <a:pt x="60" y="10885"/>
                      </a:lnTo>
                      <a:lnTo>
                        <a:pt x="0" y="10586"/>
                      </a:lnTo>
                      <a:lnTo>
                        <a:pt x="718" y="9330"/>
                      </a:lnTo>
                      <a:lnTo>
                        <a:pt x="718" y="9330"/>
                      </a:lnTo>
                      <a:lnTo>
                        <a:pt x="718" y="9330"/>
                      </a:lnTo>
                      <a:lnTo>
                        <a:pt x="1495" y="8074"/>
                      </a:lnTo>
                      <a:lnTo>
                        <a:pt x="2392" y="6519"/>
                      </a:lnTo>
                      <a:lnTo>
                        <a:pt x="4665" y="2632"/>
                      </a:lnTo>
                      <a:lnTo>
                        <a:pt x="4785" y="2392"/>
                      </a:lnTo>
                      <a:lnTo>
                        <a:pt x="5083" y="1854"/>
                      </a:lnTo>
                      <a:lnTo>
                        <a:pt x="5143" y="1734"/>
                      </a:lnTo>
                      <a:lnTo>
                        <a:pt x="5203" y="1615"/>
                      </a:lnTo>
                      <a:lnTo>
                        <a:pt x="5622" y="957"/>
                      </a:lnTo>
                      <a:lnTo>
                        <a:pt x="5622" y="897"/>
                      </a:lnTo>
                      <a:lnTo>
                        <a:pt x="5801" y="538"/>
                      </a:lnTo>
                      <a:lnTo>
                        <a:pt x="6220" y="419"/>
                      </a:lnTo>
                      <a:lnTo>
                        <a:pt x="7775" y="60"/>
                      </a:lnTo>
                      <a:lnTo>
                        <a:pt x="7954" y="0"/>
                      </a:lnTo>
                      <a:lnTo>
                        <a:pt x="7954" y="0"/>
                      </a:lnTo>
                      <a:lnTo>
                        <a:pt x="8911" y="598"/>
                      </a:lnTo>
                      <a:lnTo>
                        <a:pt x="10167" y="1316"/>
                      </a:lnTo>
                      <a:lnTo>
                        <a:pt x="10646" y="1615"/>
                      </a:lnTo>
                      <a:lnTo>
                        <a:pt x="10706" y="1675"/>
                      </a:lnTo>
                      <a:lnTo>
                        <a:pt x="11304" y="2033"/>
                      </a:lnTo>
                      <a:lnTo>
                        <a:pt x="11423" y="2093"/>
                      </a:lnTo>
                      <a:lnTo>
                        <a:pt x="11423" y="2093"/>
                      </a:lnTo>
                      <a:lnTo>
                        <a:pt x="11423" y="2093"/>
                      </a:lnTo>
                      <a:lnTo>
                        <a:pt x="12081" y="2512"/>
                      </a:lnTo>
                      <a:lnTo>
                        <a:pt x="12141" y="2572"/>
                      </a:lnTo>
                      <a:lnTo>
                        <a:pt x="12978" y="3050"/>
                      </a:lnTo>
                      <a:lnTo>
                        <a:pt x="13696" y="3469"/>
                      </a:lnTo>
                      <a:lnTo>
                        <a:pt x="14474" y="3947"/>
                      </a:lnTo>
                      <a:lnTo>
                        <a:pt x="15251" y="4366"/>
                      </a:lnTo>
                      <a:lnTo>
                        <a:pt x="15550" y="4545"/>
                      </a:lnTo>
                      <a:lnTo>
                        <a:pt x="17584" y="5742"/>
                      </a:lnTo>
                      <a:lnTo>
                        <a:pt x="17763" y="5861"/>
                      </a:lnTo>
                      <a:lnTo>
                        <a:pt x="17942" y="5981"/>
                      </a:lnTo>
                      <a:lnTo>
                        <a:pt x="18122" y="6100"/>
                      </a:lnTo>
                      <a:lnTo>
                        <a:pt x="18122" y="6100"/>
                      </a:lnTo>
                      <a:lnTo>
                        <a:pt x="24043" y="9569"/>
                      </a:lnTo>
                      <a:lnTo>
                        <a:pt x="32655" y="14593"/>
                      </a:lnTo>
                      <a:lnTo>
                        <a:pt x="33193" y="14892"/>
                      </a:lnTo>
                      <a:lnTo>
                        <a:pt x="33731" y="15251"/>
                      </a:lnTo>
                      <a:lnTo>
                        <a:pt x="35167" y="16148"/>
                      </a:lnTo>
                      <a:lnTo>
                        <a:pt x="35227" y="16447"/>
                      </a:lnTo>
                      <a:lnTo>
                        <a:pt x="35645" y="18122"/>
                      </a:lnTo>
                      <a:lnTo>
                        <a:pt x="35585" y="18241"/>
                      </a:lnTo>
                      <a:lnTo>
                        <a:pt x="35346" y="18660"/>
                      </a:lnTo>
                      <a:lnTo>
                        <a:pt x="35346" y="18660"/>
                      </a:lnTo>
                      <a:lnTo>
                        <a:pt x="35346" y="18720"/>
                      </a:lnTo>
                      <a:lnTo>
                        <a:pt x="35286" y="18779"/>
                      </a:lnTo>
                      <a:lnTo>
                        <a:pt x="34987" y="19258"/>
                      </a:lnTo>
                      <a:lnTo>
                        <a:pt x="34927" y="19318"/>
                      </a:lnTo>
                      <a:lnTo>
                        <a:pt x="34808" y="19497"/>
                      </a:lnTo>
                      <a:lnTo>
                        <a:pt x="34329" y="20334"/>
                      </a:lnTo>
                      <a:lnTo>
                        <a:pt x="33971" y="20933"/>
                      </a:lnTo>
                      <a:lnTo>
                        <a:pt x="33492" y="21770"/>
                      </a:lnTo>
                      <a:lnTo>
                        <a:pt x="33253" y="22129"/>
                      </a:lnTo>
                      <a:lnTo>
                        <a:pt x="33253" y="22189"/>
                      </a:lnTo>
                      <a:lnTo>
                        <a:pt x="33133" y="22368"/>
                      </a:lnTo>
                      <a:lnTo>
                        <a:pt x="31818" y="24581"/>
                      </a:lnTo>
                      <a:lnTo>
                        <a:pt x="31818" y="24581"/>
                      </a:lnTo>
                      <a:lnTo>
                        <a:pt x="31758" y="24641"/>
                      </a:lnTo>
                      <a:lnTo>
                        <a:pt x="30861" y="26136"/>
                      </a:lnTo>
                      <a:lnTo>
                        <a:pt x="30442" y="26853"/>
                      </a:lnTo>
                      <a:lnTo>
                        <a:pt x="29545" y="28289"/>
                      </a:lnTo>
                    </a:path>
                  </a:pathLst>
                </a:custGeom>
                <a:noFill/>
                <a:ln w="6350" cap="rnd">
                  <a:solidFill>
                    <a:schemeClr val="bg1">
                      <a:alpha val="40000"/>
                    </a:schemeClr>
                  </a:solidFill>
                  <a:prstDash val="solid"/>
                  <a:round/>
                </a:ln>
              </p:spPr>
              <p:txBody>
                <a:bodyPr rtlCol="0" anchor="ctr"/>
                <a:lstStyle/>
                <a:p>
                  <a:endParaRPr lang="en-GB"/>
                </a:p>
              </p:txBody>
            </p:sp>
            <p:sp>
              <p:nvSpPr>
                <p:cNvPr id="6409" name="Vrije vorm: vorm 6408">
                  <a:extLst>
                    <a:ext uri="{FF2B5EF4-FFF2-40B4-BE49-F238E27FC236}">
                      <a16:creationId xmlns:a16="http://schemas.microsoft.com/office/drawing/2014/main" id="{255757E8-0DFE-49FE-BCA1-FE232CF273B4}"/>
                    </a:ext>
                  </a:extLst>
                </p:cNvPr>
                <p:cNvSpPr/>
                <p:nvPr/>
              </p:nvSpPr>
              <p:spPr>
                <a:xfrm>
                  <a:off x="6984785" y="1847664"/>
                  <a:ext cx="8193" cy="12260"/>
                </a:xfrm>
                <a:custGeom>
                  <a:avLst/>
                  <a:gdLst>
                    <a:gd name="connsiteX0" fmla="*/ 0 w 8193"/>
                    <a:gd name="connsiteY0" fmla="*/ 12260 h 12260"/>
                    <a:gd name="connsiteX1" fmla="*/ 718 w 8193"/>
                    <a:gd name="connsiteY1" fmla="*/ 11064 h 12260"/>
                    <a:gd name="connsiteX2" fmla="*/ 1794 w 8193"/>
                    <a:gd name="connsiteY2" fmla="*/ 9270 h 12260"/>
                    <a:gd name="connsiteX3" fmla="*/ 3588 w 8193"/>
                    <a:gd name="connsiteY3" fmla="*/ 6220 h 12260"/>
                    <a:gd name="connsiteX4" fmla="*/ 3947 w 8193"/>
                    <a:gd name="connsiteY4" fmla="*/ 5622 h 12260"/>
                    <a:gd name="connsiteX5" fmla="*/ 4366 w 8193"/>
                    <a:gd name="connsiteY5" fmla="*/ 4964 h 12260"/>
                    <a:gd name="connsiteX6" fmla="*/ 3648 w 8193"/>
                    <a:gd name="connsiteY6" fmla="*/ 4545 h 12260"/>
                    <a:gd name="connsiteX7" fmla="*/ 3588 w 8193"/>
                    <a:gd name="connsiteY7" fmla="*/ 4486 h 12260"/>
                    <a:gd name="connsiteX8" fmla="*/ 1495 w 8193"/>
                    <a:gd name="connsiteY8" fmla="*/ 3170 h 12260"/>
                    <a:gd name="connsiteX9" fmla="*/ 1495 w 8193"/>
                    <a:gd name="connsiteY9" fmla="*/ 3170 h 12260"/>
                    <a:gd name="connsiteX10" fmla="*/ 1435 w 8193"/>
                    <a:gd name="connsiteY10" fmla="*/ 3170 h 12260"/>
                    <a:gd name="connsiteX11" fmla="*/ 418 w 8193"/>
                    <a:gd name="connsiteY11" fmla="*/ 2512 h 12260"/>
                    <a:gd name="connsiteX12" fmla="*/ 478 w 8193"/>
                    <a:gd name="connsiteY12" fmla="*/ 2392 h 12260"/>
                    <a:gd name="connsiteX13" fmla="*/ 538 w 8193"/>
                    <a:gd name="connsiteY13" fmla="*/ 2332 h 12260"/>
                    <a:gd name="connsiteX14" fmla="*/ 897 w 8193"/>
                    <a:gd name="connsiteY14" fmla="*/ 1675 h 12260"/>
                    <a:gd name="connsiteX15" fmla="*/ 1316 w 8193"/>
                    <a:gd name="connsiteY15" fmla="*/ 1017 h 12260"/>
                    <a:gd name="connsiteX16" fmla="*/ 1316 w 8193"/>
                    <a:gd name="connsiteY16" fmla="*/ 1017 h 12260"/>
                    <a:gd name="connsiteX17" fmla="*/ 1914 w 8193"/>
                    <a:gd name="connsiteY17" fmla="*/ 0 h 12260"/>
                    <a:gd name="connsiteX18" fmla="*/ 3469 w 8193"/>
                    <a:gd name="connsiteY18" fmla="*/ 897 h 12260"/>
                    <a:gd name="connsiteX19" fmla="*/ 5143 w 8193"/>
                    <a:gd name="connsiteY19" fmla="*/ 1914 h 12260"/>
                    <a:gd name="connsiteX20" fmla="*/ 5203 w 8193"/>
                    <a:gd name="connsiteY20" fmla="*/ 1974 h 12260"/>
                    <a:gd name="connsiteX21" fmla="*/ 7416 w 8193"/>
                    <a:gd name="connsiteY21" fmla="*/ 3289 h 12260"/>
                    <a:gd name="connsiteX22" fmla="*/ 8194 w 8193"/>
                    <a:gd name="connsiteY22" fmla="*/ 3768 h 1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193" h="12260">
                      <a:moveTo>
                        <a:pt x="0" y="12260"/>
                      </a:moveTo>
                      <a:lnTo>
                        <a:pt x="718" y="11064"/>
                      </a:lnTo>
                      <a:lnTo>
                        <a:pt x="1794" y="9270"/>
                      </a:lnTo>
                      <a:lnTo>
                        <a:pt x="3588" y="6220"/>
                      </a:lnTo>
                      <a:lnTo>
                        <a:pt x="3947" y="5622"/>
                      </a:lnTo>
                      <a:lnTo>
                        <a:pt x="4366" y="4964"/>
                      </a:lnTo>
                      <a:lnTo>
                        <a:pt x="3648" y="4545"/>
                      </a:lnTo>
                      <a:lnTo>
                        <a:pt x="3588" y="4486"/>
                      </a:lnTo>
                      <a:lnTo>
                        <a:pt x="1495" y="3170"/>
                      </a:lnTo>
                      <a:lnTo>
                        <a:pt x="1495" y="3170"/>
                      </a:lnTo>
                      <a:lnTo>
                        <a:pt x="1435" y="3170"/>
                      </a:lnTo>
                      <a:lnTo>
                        <a:pt x="418" y="2512"/>
                      </a:lnTo>
                      <a:lnTo>
                        <a:pt x="478" y="2392"/>
                      </a:lnTo>
                      <a:lnTo>
                        <a:pt x="538" y="2332"/>
                      </a:lnTo>
                      <a:lnTo>
                        <a:pt x="897" y="1675"/>
                      </a:lnTo>
                      <a:lnTo>
                        <a:pt x="1316" y="1017"/>
                      </a:lnTo>
                      <a:lnTo>
                        <a:pt x="1316" y="1017"/>
                      </a:lnTo>
                      <a:lnTo>
                        <a:pt x="1914" y="0"/>
                      </a:lnTo>
                      <a:lnTo>
                        <a:pt x="3469" y="897"/>
                      </a:lnTo>
                      <a:lnTo>
                        <a:pt x="5143" y="1914"/>
                      </a:lnTo>
                      <a:lnTo>
                        <a:pt x="5203" y="1974"/>
                      </a:lnTo>
                      <a:lnTo>
                        <a:pt x="7416" y="3289"/>
                      </a:lnTo>
                      <a:lnTo>
                        <a:pt x="8194" y="3768"/>
                      </a:lnTo>
                    </a:path>
                  </a:pathLst>
                </a:custGeom>
                <a:noFill/>
                <a:ln w="6350" cap="rnd">
                  <a:solidFill>
                    <a:schemeClr val="bg1">
                      <a:alpha val="40000"/>
                    </a:schemeClr>
                  </a:solidFill>
                  <a:prstDash val="solid"/>
                  <a:round/>
                </a:ln>
              </p:spPr>
              <p:txBody>
                <a:bodyPr rtlCol="0" anchor="ctr"/>
                <a:lstStyle/>
                <a:p>
                  <a:endParaRPr lang="en-GB"/>
                </a:p>
              </p:txBody>
            </p:sp>
            <p:sp>
              <p:nvSpPr>
                <p:cNvPr id="6410" name="Vrije vorm: vorm 6409">
                  <a:extLst>
                    <a:ext uri="{FF2B5EF4-FFF2-40B4-BE49-F238E27FC236}">
                      <a16:creationId xmlns:a16="http://schemas.microsoft.com/office/drawing/2014/main" id="{BE53024A-9FE7-467B-9235-96214995919C}"/>
                    </a:ext>
                  </a:extLst>
                </p:cNvPr>
                <p:cNvSpPr/>
                <p:nvPr/>
              </p:nvSpPr>
              <p:spPr>
                <a:xfrm>
                  <a:off x="6842922" y="1769078"/>
                  <a:ext cx="15251" cy="13695"/>
                </a:xfrm>
                <a:custGeom>
                  <a:avLst/>
                  <a:gdLst>
                    <a:gd name="connsiteX0" fmla="*/ 11065 w 15251"/>
                    <a:gd name="connsiteY0" fmla="*/ 13696 h 13695"/>
                    <a:gd name="connsiteX1" fmla="*/ 15251 w 15251"/>
                    <a:gd name="connsiteY1" fmla="*/ 6639 h 13695"/>
                    <a:gd name="connsiteX2" fmla="*/ 10347 w 15251"/>
                    <a:gd name="connsiteY2" fmla="*/ 3648 h 13695"/>
                    <a:gd name="connsiteX3" fmla="*/ 7476 w 15251"/>
                    <a:gd name="connsiteY3" fmla="*/ 1914 h 13695"/>
                    <a:gd name="connsiteX4" fmla="*/ 4187 w 15251"/>
                    <a:gd name="connsiteY4" fmla="*/ 0 h 13695"/>
                    <a:gd name="connsiteX5" fmla="*/ 0 w 15251"/>
                    <a:gd name="connsiteY5" fmla="*/ 7117 h 1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51" h="13695">
                      <a:moveTo>
                        <a:pt x="11065" y="13696"/>
                      </a:moveTo>
                      <a:lnTo>
                        <a:pt x="15251" y="6639"/>
                      </a:lnTo>
                      <a:lnTo>
                        <a:pt x="10347" y="3648"/>
                      </a:lnTo>
                      <a:lnTo>
                        <a:pt x="7476" y="1914"/>
                      </a:lnTo>
                      <a:lnTo>
                        <a:pt x="4187" y="0"/>
                      </a:lnTo>
                      <a:lnTo>
                        <a:pt x="0" y="7117"/>
                      </a:lnTo>
                    </a:path>
                  </a:pathLst>
                </a:custGeom>
                <a:noFill/>
                <a:ln w="6350" cap="rnd">
                  <a:solidFill>
                    <a:schemeClr val="bg1">
                      <a:alpha val="40000"/>
                    </a:schemeClr>
                  </a:solidFill>
                  <a:prstDash val="solid"/>
                  <a:round/>
                </a:ln>
              </p:spPr>
              <p:txBody>
                <a:bodyPr rtlCol="0" anchor="ctr"/>
                <a:lstStyle/>
                <a:p>
                  <a:endParaRPr lang="en-GB"/>
                </a:p>
              </p:txBody>
            </p:sp>
            <p:sp>
              <p:nvSpPr>
                <p:cNvPr id="6411" name="Vrije vorm: vorm 6410">
                  <a:extLst>
                    <a:ext uri="{FF2B5EF4-FFF2-40B4-BE49-F238E27FC236}">
                      <a16:creationId xmlns:a16="http://schemas.microsoft.com/office/drawing/2014/main" id="{9FA52F9B-EEE9-4172-9AB2-EA0115FFA775}"/>
                    </a:ext>
                  </a:extLst>
                </p:cNvPr>
                <p:cNvSpPr/>
                <p:nvPr/>
              </p:nvSpPr>
              <p:spPr>
                <a:xfrm>
                  <a:off x="6887419" y="1904780"/>
                  <a:ext cx="81038" cy="155020"/>
                </a:xfrm>
                <a:custGeom>
                  <a:avLst/>
                  <a:gdLst>
                    <a:gd name="connsiteX0" fmla="*/ 69197 w 81038"/>
                    <a:gd name="connsiteY0" fmla="*/ 42403 h 155020"/>
                    <a:gd name="connsiteX1" fmla="*/ 66685 w 81038"/>
                    <a:gd name="connsiteY1" fmla="*/ 41566 h 155020"/>
                    <a:gd name="connsiteX2" fmla="*/ 65848 w 81038"/>
                    <a:gd name="connsiteY2" fmla="*/ 41267 h 155020"/>
                    <a:gd name="connsiteX3" fmla="*/ 64771 w 81038"/>
                    <a:gd name="connsiteY3" fmla="*/ 40908 h 155020"/>
                    <a:gd name="connsiteX4" fmla="*/ 62558 w 81038"/>
                    <a:gd name="connsiteY4" fmla="*/ 40131 h 155020"/>
                    <a:gd name="connsiteX5" fmla="*/ 62438 w 81038"/>
                    <a:gd name="connsiteY5" fmla="*/ 40071 h 155020"/>
                    <a:gd name="connsiteX6" fmla="*/ 61781 w 81038"/>
                    <a:gd name="connsiteY6" fmla="*/ 39832 h 155020"/>
                    <a:gd name="connsiteX7" fmla="*/ 61123 w 81038"/>
                    <a:gd name="connsiteY7" fmla="*/ 39592 h 155020"/>
                    <a:gd name="connsiteX8" fmla="*/ 61123 w 81038"/>
                    <a:gd name="connsiteY8" fmla="*/ 39592 h 155020"/>
                    <a:gd name="connsiteX9" fmla="*/ 58132 w 81038"/>
                    <a:gd name="connsiteY9" fmla="*/ 38097 h 155020"/>
                    <a:gd name="connsiteX10" fmla="*/ 56996 w 81038"/>
                    <a:gd name="connsiteY10" fmla="*/ 37499 h 155020"/>
                    <a:gd name="connsiteX11" fmla="*/ 56398 w 81038"/>
                    <a:gd name="connsiteY11" fmla="*/ 37200 h 155020"/>
                    <a:gd name="connsiteX12" fmla="*/ 56338 w 81038"/>
                    <a:gd name="connsiteY12" fmla="*/ 37200 h 155020"/>
                    <a:gd name="connsiteX13" fmla="*/ 54484 w 81038"/>
                    <a:gd name="connsiteY13" fmla="*/ 35884 h 155020"/>
                    <a:gd name="connsiteX14" fmla="*/ 54424 w 81038"/>
                    <a:gd name="connsiteY14" fmla="*/ 35825 h 155020"/>
                    <a:gd name="connsiteX15" fmla="*/ 52451 w 81038"/>
                    <a:gd name="connsiteY15" fmla="*/ 34389 h 155020"/>
                    <a:gd name="connsiteX16" fmla="*/ 52451 w 81038"/>
                    <a:gd name="connsiteY16" fmla="*/ 34389 h 155020"/>
                    <a:gd name="connsiteX17" fmla="*/ 51793 w 81038"/>
                    <a:gd name="connsiteY17" fmla="*/ 33911 h 155020"/>
                    <a:gd name="connsiteX18" fmla="*/ 50238 w 81038"/>
                    <a:gd name="connsiteY18" fmla="*/ 32774 h 155020"/>
                    <a:gd name="connsiteX19" fmla="*/ 49341 w 81038"/>
                    <a:gd name="connsiteY19" fmla="*/ 32117 h 155020"/>
                    <a:gd name="connsiteX20" fmla="*/ 48504 w 81038"/>
                    <a:gd name="connsiteY20" fmla="*/ 31518 h 155020"/>
                    <a:gd name="connsiteX21" fmla="*/ 48324 w 81038"/>
                    <a:gd name="connsiteY21" fmla="*/ 31399 h 155020"/>
                    <a:gd name="connsiteX22" fmla="*/ 48144 w 81038"/>
                    <a:gd name="connsiteY22" fmla="*/ 31279 h 155020"/>
                    <a:gd name="connsiteX23" fmla="*/ 47487 w 81038"/>
                    <a:gd name="connsiteY23" fmla="*/ 30861 h 155020"/>
                    <a:gd name="connsiteX24" fmla="*/ 47427 w 81038"/>
                    <a:gd name="connsiteY24" fmla="*/ 30861 h 155020"/>
                    <a:gd name="connsiteX25" fmla="*/ 46949 w 81038"/>
                    <a:gd name="connsiteY25" fmla="*/ 30561 h 155020"/>
                    <a:gd name="connsiteX26" fmla="*/ 46829 w 81038"/>
                    <a:gd name="connsiteY26" fmla="*/ 30502 h 155020"/>
                    <a:gd name="connsiteX27" fmla="*/ 46709 w 81038"/>
                    <a:gd name="connsiteY27" fmla="*/ 30382 h 155020"/>
                    <a:gd name="connsiteX28" fmla="*/ 46291 w 81038"/>
                    <a:gd name="connsiteY28" fmla="*/ 30083 h 155020"/>
                    <a:gd name="connsiteX29" fmla="*/ 45872 w 81038"/>
                    <a:gd name="connsiteY29" fmla="*/ 29784 h 155020"/>
                    <a:gd name="connsiteX30" fmla="*/ 45334 w 81038"/>
                    <a:gd name="connsiteY30" fmla="*/ 29425 h 155020"/>
                    <a:gd name="connsiteX31" fmla="*/ 43958 w 81038"/>
                    <a:gd name="connsiteY31" fmla="*/ 28468 h 155020"/>
                    <a:gd name="connsiteX32" fmla="*/ 43360 w 81038"/>
                    <a:gd name="connsiteY32" fmla="*/ 28050 h 155020"/>
                    <a:gd name="connsiteX33" fmla="*/ 40370 w 81038"/>
                    <a:gd name="connsiteY33" fmla="*/ 26016 h 155020"/>
                    <a:gd name="connsiteX34" fmla="*/ 37559 w 81038"/>
                    <a:gd name="connsiteY34" fmla="*/ 24102 h 155020"/>
                    <a:gd name="connsiteX35" fmla="*/ 36004 w 81038"/>
                    <a:gd name="connsiteY35" fmla="*/ 23026 h 155020"/>
                    <a:gd name="connsiteX36" fmla="*/ 35286 w 81038"/>
                    <a:gd name="connsiteY36" fmla="*/ 22547 h 155020"/>
                    <a:gd name="connsiteX37" fmla="*/ 33552 w 81038"/>
                    <a:gd name="connsiteY37" fmla="*/ 21471 h 155020"/>
                    <a:gd name="connsiteX38" fmla="*/ 30920 w 81038"/>
                    <a:gd name="connsiteY38" fmla="*/ 19796 h 155020"/>
                    <a:gd name="connsiteX39" fmla="*/ 30023 w 81038"/>
                    <a:gd name="connsiteY39" fmla="*/ 19258 h 155020"/>
                    <a:gd name="connsiteX40" fmla="*/ 29844 w 81038"/>
                    <a:gd name="connsiteY40" fmla="*/ 19138 h 155020"/>
                    <a:gd name="connsiteX41" fmla="*/ 28229 w 81038"/>
                    <a:gd name="connsiteY41" fmla="*/ 18122 h 155020"/>
                    <a:gd name="connsiteX42" fmla="*/ 27870 w 81038"/>
                    <a:gd name="connsiteY42" fmla="*/ 17882 h 155020"/>
                    <a:gd name="connsiteX43" fmla="*/ 27212 w 81038"/>
                    <a:gd name="connsiteY43" fmla="*/ 17464 h 155020"/>
                    <a:gd name="connsiteX44" fmla="*/ 23624 w 81038"/>
                    <a:gd name="connsiteY44" fmla="*/ 15191 h 155020"/>
                    <a:gd name="connsiteX45" fmla="*/ 23444 w 81038"/>
                    <a:gd name="connsiteY45" fmla="*/ 15071 h 155020"/>
                    <a:gd name="connsiteX46" fmla="*/ 21471 w 81038"/>
                    <a:gd name="connsiteY46" fmla="*/ 13875 h 155020"/>
                    <a:gd name="connsiteX47" fmla="*/ 21411 w 81038"/>
                    <a:gd name="connsiteY47" fmla="*/ 13815 h 155020"/>
                    <a:gd name="connsiteX48" fmla="*/ 21171 w 81038"/>
                    <a:gd name="connsiteY48" fmla="*/ 13696 h 155020"/>
                    <a:gd name="connsiteX49" fmla="*/ 20933 w 81038"/>
                    <a:gd name="connsiteY49" fmla="*/ 13516 h 155020"/>
                    <a:gd name="connsiteX50" fmla="*/ 20753 w 81038"/>
                    <a:gd name="connsiteY50" fmla="*/ 13397 h 155020"/>
                    <a:gd name="connsiteX51" fmla="*/ 19497 w 81038"/>
                    <a:gd name="connsiteY51" fmla="*/ 12619 h 155020"/>
                    <a:gd name="connsiteX52" fmla="*/ 18480 w 81038"/>
                    <a:gd name="connsiteY52" fmla="*/ 12021 h 155020"/>
                    <a:gd name="connsiteX53" fmla="*/ 17763 w 81038"/>
                    <a:gd name="connsiteY53" fmla="*/ 11603 h 155020"/>
                    <a:gd name="connsiteX54" fmla="*/ 16686 w 81038"/>
                    <a:gd name="connsiteY54" fmla="*/ 10945 h 155020"/>
                    <a:gd name="connsiteX55" fmla="*/ 15909 w 81038"/>
                    <a:gd name="connsiteY55" fmla="*/ 10466 h 155020"/>
                    <a:gd name="connsiteX56" fmla="*/ 15131 w 81038"/>
                    <a:gd name="connsiteY56" fmla="*/ 9988 h 155020"/>
                    <a:gd name="connsiteX57" fmla="*/ 14772 w 81038"/>
                    <a:gd name="connsiteY57" fmla="*/ 9749 h 155020"/>
                    <a:gd name="connsiteX58" fmla="*/ 13755 w 81038"/>
                    <a:gd name="connsiteY58" fmla="*/ 9150 h 155020"/>
                    <a:gd name="connsiteX59" fmla="*/ 12500 w 81038"/>
                    <a:gd name="connsiteY59" fmla="*/ 8373 h 155020"/>
                    <a:gd name="connsiteX60" fmla="*/ 12200 w 81038"/>
                    <a:gd name="connsiteY60" fmla="*/ 8194 h 155020"/>
                    <a:gd name="connsiteX61" fmla="*/ 10944 w 81038"/>
                    <a:gd name="connsiteY61" fmla="*/ 7416 h 155020"/>
                    <a:gd name="connsiteX62" fmla="*/ 10765 w 81038"/>
                    <a:gd name="connsiteY62" fmla="*/ 7296 h 155020"/>
                    <a:gd name="connsiteX63" fmla="*/ 5083 w 81038"/>
                    <a:gd name="connsiteY63" fmla="*/ 3888 h 155020"/>
                    <a:gd name="connsiteX64" fmla="*/ 4665 w 81038"/>
                    <a:gd name="connsiteY64" fmla="*/ 3648 h 155020"/>
                    <a:gd name="connsiteX65" fmla="*/ 4545 w 81038"/>
                    <a:gd name="connsiteY65" fmla="*/ 3588 h 155020"/>
                    <a:gd name="connsiteX66" fmla="*/ 3110 w 81038"/>
                    <a:gd name="connsiteY66" fmla="*/ 2871 h 155020"/>
                    <a:gd name="connsiteX67" fmla="*/ 0 w 81038"/>
                    <a:gd name="connsiteY67" fmla="*/ 1256 h 155020"/>
                    <a:gd name="connsiteX68" fmla="*/ 0 w 81038"/>
                    <a:gd name="connsiteY68" fmla="*/ 1256 h 155020"/>
                    <a:gd name="connsiteX69" fmla="*/ 358 w 81038"/>
                    <a:gd name="connsiteY69" fmla="*/ 0 h 155020"/>
                    <a:gd name="connsiteX70" fmla="*/ 1555 w 81038"/>
                    <a:gd name="connsiteY70" fmla="*/ 179 h 155020"/>
                    <a:gd name="connsiteX71" fmla="*/ 2153 w 81038"/>
                    <a:gd name="connsiteY71" fmla="*/ 299 h 155020"/>
                    <a:gd name="connsiteX72" fmla="*/ 6100 w 81038"/>
                    <a:gd name="connsiteY72" fmla="*/ 957 h 155020"/>
                    <a:gd name="connsiteX73" fmla="*/ 6639 w 81038"/>
                    <a:gd name="connsiteY73" fmla="*/ 1017 h 155020"/>
                    <a:gd name="connsiteX74" fmla="*/ 8971 w 81038"/>
                    <a:gd name="connsiteY74" fmla="*/ 1376 h 155020"/>
                    <a:gd name="connsiteX75" fmla="*/ 9091 w 81038"/>
                    <a:gd name="connsiteY75" fmla="*/ 1376 h 155020"/>
                    <a:gd name="connsiteX76" fmla="*/ 13277 w 81038"/>
                    <a:gd name="connsiteY76" fmla="*/ 2033 h 155020"/>
                    <a:gd name="connsiteX77" fmla="*/ 13636 w 81038"/>
                    <a:gd name="connsiteY77" fmla="*/ 2093 h 155020"/>
                    <a:gd name="connsiteX78" fmla="*/ 13995 w 81038"/>
                    <a:gd name="connsiteY78" fmla="*/ 2153 h 155020"/>
                    <a:gd name="connsiteX79" fmla="*/ 14712 w 81038"/>
                    <a:gd name="connsiteY79" fmla="*/ 2392 h 155020"/>
                    <a:gd name="connsiteX80" fmla="*/ 19258 w 81038"/>
                    <a:gd name="connsiteY80" fmla="*/ 4007 h 155020"/>
                    <a:gd name="connsiteX81" fmla="*/ 22726 w 81038"/>
                    <a:gd name="connsiteY81" fmla="*/ 5263 h 155020"/>
                    <a:gd name="connsiteX82" fmla="*/ 22786 w 81038"/>
                    <a:gd name="connsiteY82" fmla="*/ 5323 h 155020"/>
                    <a:gd name="connsiteX83" fmla="*/ 26315 w 81038"/>
                    <a:gd name="connsiteY83" fmla="*/ 7536 h 155020"/>
                    <a:gd name="connsiteX84" fmla="*/ 26734 w 81038"/>
                    <a:gd name="connsiteY84" fmla="*/ 7835 h 155020"/>
                    <a:gd name="connsiteX85" fmla="*/ 27152 w 81038"/>
                    <a:gd name="connsiteY85" fmla="*/ 8074 h 155020"/>
                    <a:gd name="connsiteX86" fmla="*/ 28229 w 81038"/>
                    <a:gd name="connsiteY86" fmla="*/ 8792 h 155020"/>
                    <a:gd name="connsiteX87" fmla="*/ 28349 w 81038"/>
                    <a:gd name="connsiteY87" fmla="*/ 8852 h 155020"/>
                    <a:gd name="connsiteX88" fmla="*/ 28588 w 81038"/>
                    <a:gd name="connsiteY88" fmla="*/ 8971 h 155020"/>
                    <a:gd name="connsiteX89" fmla="*/ 29724 w 81038"/>
                    <a:gd name="connsiteY89" fmla="*/ 9689 h 155020"/>
                    <a:gd name="connsiteX90" fmla="*/ 29844 w 81038"/>
                    <a:gd name="connsiteY90" fmla="*/ 9749 h 155020"/>
                    <a:gd name="connsiteX91" fmla="*/ 30262 w 81038"/>
                    <a:gd name="connsiteY91" fmla="*/ 9988 h 155020"/>
                    <a:gd name="connsiteX92" fmla="*/ 33193 w 81038"/>
                    <a:gd name="connsiteY92" fmla="*/ 11842 h 155020"/>
                    <a:gd name="connsiteX93" fmla="*/ 33970 w 81038"/>
                    <a:gd name="connsiteY93" fmla="*/ 12320 h 155020"/>
                    <a:gd name="connsiteX94" fmla="*/ 34150 w 81038"/>
                    <a:gd name="connsiteY94" fmla="*/ 12440 h 155020"/>
                    <a:gd name="connsiteX95" fmla="*/ 41685 w 81038"/>
                    <a:gd name="connsiteY95" fmla="*/ 17165 h 155020"/>
                    <a:gd name="connsiteX96" fmla="*/ 41745 w 81038"/>
                    <a:gd name="connsiteY96" fmla="*/ 17225 h 155020"/>
                    <a:gd name="connsiteX97" fmla="*/ 43779 w 81038"/>
                    <a:gd name="connsiteY97" fmla="*/ 18540 h 155020"/>
                    <a:gd name="connsiteX98" fmla="*/ 44496 w 81038"/>
                    <a:gd name="connsiteY98" fmla="*/ 19019 h 155020"/>
                    <a:gd name="connsiteX99" fmla="*/ 46111 w 81038"/>
                    <a:gd name="connsiteY99" fmla="*/ 20035 h 155020"/>
                    <a:gd name="connsiteX100" fmla="*/ 48623 w 81038"/>
                    <a:gd name="connsiteY100" fmla="*/ 21590 h 155020"/>
                    <a:gd name="connsiteX101" fmla="*/ 49042 w 81038"/>
                    <a:gd name="connsiteY101" fmla="*/ 21830 h 155020"/>
                    <a:gd name="connsiteX102" fmla="*/ 49879 w 81038"/>
                    <a:gd name="connsiteY102" fmla="*/ 22368 h 155020"/>
                    <a:gd name="connsiteX103" fmla="*/ 53229 w 81038"/>
                    <a:gd name="connsiteY103" fmla="*/ 24521 h 155020"/>
                    <a:gd name="connsiteX104" fmla="*/ 54903 w 81038"/>
                    <a:gd name="connsiteY104" fmla="*/ 25597 h 155020"/>
                    <a:gd name="connsiteX105" fmla="*/ 54903 w 81038"/>
                    <a:gd name="connsiteY105" fmla="*/ 25597 h 155020"/>
                    <a:gd name="connsiteX106" fmla="*/ 56996 w 81038"/>
                    <a:gd name="connsiteY106" fmla="*/ 26913 h 155020"/>
                    <a:gd name="connsiteX107" fmla="*/ 62738 w 81038"/>
                    <a:gd name="connsiteY107" fmla="*/ 30502 h 155020"/>
                    <a:gd name="connsiteX108" fmla="*/ 65848 w 81038"/>
                    <a:gd name="connsiteY108" fmla="*/ 32475 h 155020"/>
                    <a:gd name="connsiteX109" fmla="*/ 66745 w 81038"/>
                    <a:gd name="connsiteY109" fmla="*/ 33073 h 155020"/>
                    <a:gd name="connsiteX110" fmla="*/ 66984 w 81038"/>
                    <a:gd name="connsiteY110" fmla="*/ 33253 h 155020"/>
                    <a:gd name="connsiteX111" fmla="*/ 67463 w 81038"/>
                    <a:gd name="connsiteY111" fmla="*/ 33612 h 155020"/>
                    <a:gd name="connsiteX112" fmla="*/ 68061 w 81038"/>
                    <a:gd name="connsiteY112" fmla="*/ 34090 h 155020"/>
                    <a:gd name="connsiteX113" fmla="*/ 71231 w 81038"/>
                    <a:gd name="connsiteY113" fmla="*/ 36423 h 155020"/>
                    <a:gd name="connsiteX114" fmla="*/ 72307 w 81038"/>
                    <a:gd name="connsiteY114" fmla="*/ 37200 h 155020"/>
                    <a:gd name="connsiteX115" fmla="*/ 72426 w 81038"/>
                    <a:gd name="connsiteY115" fmla="*/ 37320 h 155020"/>
                    <a:gd name="connsiteX116" fmla="*/ 72726 w 81038"/>
                    <a:gd name="connsiteY116" fmla="*/ 37559 h 155020"/>
                    <a:gd name="connsiteX117" fmla="*/ 72965 w 81038"/>
                    <a:gd name="connsiteY117" fmla="*/ 37738 h 155020"/>
                    <a:gd name="connsiteX118" fmla="*/ 73443 w 81038"/>
                    <a:gd name="connsiteY118" fmla="*/ 38097 h 155020"/>
                    <a:gd name="connsiteX119" fmla="*/ 73503 w 81038"/>
                    <a:gd name="connsiteY119" fmla="*/ 38157 h 155020"/>
                    <a:gd name="connsiteX120" fmla="*/ 73862 w 81038"/>
                    <a:gd name="connsiteY120" fmla="*/ 38875 h 155020"/>
                    <a:gd name="connsiteX121" fmla="*/ 73922 w 81038"/>
                    <a:gd name="connsiteY121" fmla="*/ 38994 h 155020"/>
                    <a:gd name="connsiteX122" fmla="*/ 74579 w 81038"/>
                    <a:gd name="connsiteY122" fmla="*/ 40370 h 155020"/>
                    <a:gd name="connsiteX123" fmla="*/ 74639 w 81038"/>
                    <a:gd name="connsiteY123" fmla="*/ 40549 h 155020"/>
                    <a:gd name="connsiteX124" fmla="*/ 75656 w 81038"/>
                    <a:gd name="connsiteY124" fmla="*/ 42643 h 155020"/>
                    <a:gd name="connsiteX125" fmla="*/ 75835 w 81038"/>
                    <a:gd name="connsiteY125" fmla="*/ 43061 h 155020"/>
                    <a:gd name="connsiteX126" fmla="*/ 77092 w 81038"/>
                    <a:gd name="connsiteY126" fmla="*/ 45633 h 155020"/>
                    <a:gd name="connsiteX127" fmla="*/ 77749 w 81038"/>
                    <a:gd name="connsiteY127" fmla="*/ 47308 h 155020"/>
                    <a:gd name="connsiteX128" fmla="*/ 77929 w 81038"/>
                    <a:gd name="connsiteY128" fmla="*/ 47726 h 155020"/>
                    <a:gd name="connsiteX129" fmla="*/ 79304 w 81038"/>
                    <a:gd name="connsiteY129" fmla="*/ 51135 h 155020"/>
                    <a:gd name="connsiteX130" fmla="*/ 79483 w 81038"/>
                    <a:gd name="connsiteY130" fmla="*/ 51614 h 155020"/>
                    <a:gd name="connsiteX131" fmla="*/ 79543 w 81038"/>
                    <a:gd name="connsiteY131" fmla="*/ 51793 h 155020"/>
                    <a:gd name="connsiteX132" fmla="*/ 79603 w 81038"/>
                    <a:gd name="connsiteY132" fmla="*/ 51972 h 155020"/>
                    <a:gd name="connsiteX133" fmla="*/ 80202 w 81038"/>
                    <a:gd name="connsiteY133" fmla="*/ 53408 h 155020"/>
                    <a:gd name="connsiteX134" fmla="*/ 80381 w 81038"/>
                    <a:gd name="connsiteY134" fmla="*/ 53886 h 155020"/>
                    <a:gd name="connsiteX135" fmla="*/ 80440 w 81038"/>
                    <a:gd name="connsiteY135" fmla="*/ 54066 h 155020"/>
                    <a:gd name="connsiteX136" fmla="*/ 80680 w 81038"/>
                    <a:gd name="connsiteY136" fmla="*/ 58671 h 155020"/>
                    <a:gd name="connsiteX137" fmla="*/ 80740 w 81038"/>
                    <a:gd name="connsiteY137" fmla="*/ 59448 h 155020"/>
                    <a:gd name="connsiteX138" fmla="*/ 80859 w 81038"/>
                    <a:gd name="connsiteY138" fmla="*/ 61542 h 155020"/>
                    <a:gd name="connsiteX139" fmla="*/ 80859 w 81038"/>
                    <a:gd name="connsiteY139" fmla="*/ 61960 h 155020"/>
                    <a:gd name="connsiteX140" fmla="*/ 80919 w 81038"/>
                    <a:gd name="connsiteY140" fmla="*/ 63635 h 155020"/>
                    <a:gd name="connsiteX141" fmla="*/ 81038 w 81038"/>
                    <a:gd name="connsiteY141" fmla="*/ 66207 h 155020"/>
                    <a:gd name="connsiteX142" fmla="*/ 80859 w 81038"/>
                    <a:gd name="connsiteY142" fmla="*/ 67283 h 155020"/>
                    <a:gd name="connsiteX143" fmla="*/ 80680 w 81038"/>
                    <a:gd name="connsiteY143" fmla="*/ 68778 h 155020"/>
                    <a:gd name="connsiteX144" fmla="*/ 80500 w 81038"/>
                    <a:gd name="connsiteY144" fmla="*/ 69855 h 155020"/>
                    <a:gd name="connsiteX145" fmla="*/ 80381 w 81038"/>
                    <a:gd name="connsiteY145" fmla="*/ 70812 h 155020"/>
                    <a:gd name="connsiteX146" fmla="*/ 80321 w 81038"/>
                    <a:gd name="connsiteY146" fmla="*/ 71350 h 155020"/>
                    <a:gd name="connsiteX147" fmla="*/ 80261 w 81038"/>
                    <a:gd name="connsiteY147" fmla="*/ 71589 h 155020"/>
                    <a:gd name="connsiteX148" fmla="*/ 80142 w 81038"/>
                    <a:gd name="connsiteY148" fmla="*/ 72367 h 155020"/>
                    <a:gd name="connsiteX149" fmla="*/ 80082 w 81038"/>
                    <a:gd name="connsiteY149" fmla="*/ 72606 h 155020"/>
                    <a:gd name="connsiteX150" fmla="*/ 80022 w 81038"/>
                    <a:gd name="connsiteY150" fmla="*/ 73144 h 155020"/>
                    <a:gd name="connsiteX151" fmla="*/ 80022 w 81038"/>
                    <a:gd name="connsiteY151" fmla="*/ 73204 h 155020"/>
                    <a:gd name="connsiteX152" fmla="*/ 79962 w 81038"/>
                    <a:gd name="connsiteY152" fmla="*/ 73742 h 155020"/>
                    <a:gd name="connsiteX153" fmla="*/ 79962 w 81038"/>
                    <a:gd name="connsiteY153" fmla="*/ 73802 h 155020"/>
                    <a:gd name="connsiteX154" fmla="*/ 79902 w 81038"/>
                    <a:gd name="connsiteY154" fmla="*/ 74041 h 155020"/>
                    <a:gd name="connsiteX155" fmla="*/ 79783 w 81038"/>
                    <a:gd name="connsiteY155" fmla="*/ 74819 h 155020"/>
                    <a:gd name="connsiteX156" fmla="*/ 79723 w 81038"/>
                    <a:gd name="connsiteY156" fmla="*/ 75118 h 155020"/>
                    <a:gd name="connsiteX157" fmla="*/ 79663 w 81038"/>
                    <a:gd name="connsiteY157" fmla="*/ 75656 h 155020"/>
                    <a:gd name="connsiteX158" fmla="*/ 79663 w 81038"/>
                    <a:gd name="connsiteY158" fmla="*/ 75836 h 155020"/>
                    <a:gd name="connsiteX159" fmla="*/ 79603 w 81038"/>
                    <a:gd name="connsiteY159" fmla="*/ 76075 h 155020"/>
                    <a:gd name="connsiteX160" fmla="*/ 79364 w 81038"/>
                    <a:gd name="connsiteY160" fmla="*/ 77809 h 155020"/>
                    <a:gd name="connsiteX161" fmla="*/ 79304 w 81038"/>
                    <a:gd name="connsiteY161" fmla="*/ 78048 h 155020"/>
                    <a:gd name="connsiteX162" fmla="*/ 79245 w 81038"/>
                    <a:gd name="connsiteY162" fmla="*/ 78647 h 155020"/>
                    <a:gd name="connsiteX163" fmla="*/ 79125 w 81038"/>
                    <a:gd name="connsiteY163" fmla="*/ 79544 h 155020"/>
                    <a:gd name="connsiteX164" fmla="*/ 78945 w 81038"/>
                    <a:gd name="connsiteY164" fmla="*/ 80919 h 155020"/>
                    <a:gd name="connsiteX165" fmla="*/ 78707 w 81038"/>
                    <a:gd name="connsiteY165" fmla="*/ 81637 h 155020"/>
                    <a:gd name="connsiteX166" fmla="*/ 75297 w 81038"/>
                    <a:gd name="connsiteY166" fmla="*/ 92223 h 155020"/>
                    <a:gd name="connsiteX167" fmla="*/ 73204 w 81038"/>
                    <a:gd name="connsiteY167" fmla="*/ 98622 h 155020"/>
                    <a:gd name="connsiteX168" fmla="*/ 71290 w 81038"/>
                    <a:gd name="connsiteY168" fmla="*/ 103167 h 155020"/>
                    <a:gd name="connsiteX169" fmla="*/ 71231 w 81038"/>
                    <a:gd name="connsiteY169" fmla="*/ 103287 h 155020"/>
                    <a:gd name="connsiteX170" fmla="*/ 70453 w 81038"/>
                    <a:gd name="connsiteY170" fmla="*/ 105141 h 155020"/>
                    <a:gd name="connsiteX171" fmla="*/ 70034 w 81038"/>
                    <a:gd name="connsiteY171" fmla="*/ 106098 h 155020"/>
                    <a:gd name="connsiteX172" fmla="*/ 68659 w 81038"/>
                    <a:gd name="connsiteY172" fmla="*/ 109328 h 155020"/>
                    <a:gd name="connsiteX173" fmla="*/ 67761 w 81038"/>
                    <a:gd name="connsiteY173" fmla="*/ 111481 h 155020"/>
                    <a:gd name="connsiteX174" fmla="*/ 67761 w 81038"/>
                    <a:gd name="connsiteY174" fmla="*/ 111481 h 155020"/>
                    <a:gd name="connsiteX175" fmla="*/ 67463 w 81038"/>
                    <a:gd name="connsiteY175" fmla="*/ 112258 h 155020"/>
                    <a:gd name="connsiteX176" fmla="*/ 67403 w 81038"/>
                    <a:gd name="connsiteY176" fmla="*/ 112438 h 155020"/>
                    <a:gd name="connsiteX177" fmla="*/ 66984 w 81038"/>
                    <a:gd name="connsiteY177" fmla="*/ 113454 h 155020"/>
                    <a:gd name="connsiteX178" fmla="*/ 66924 w 81038"/>
                    <a:gd name="connsiteY178" fmla="*/ 113574 h 155020"/>
                    <a:gd name="connsiteX179" fmla="*/ 66565 w 81038"/>
                    <a:gd name="connsiteY179" fmla="*/ 114411 h 155020"/>
                    <a:gd name="connsiteX180" fmla="*/ 66506 w 81038"/>
                    <a:gd name="connsiteY180" fmla="*/ 114531 h 155020"/>
                    <a:gd name="connsiteX181" fmla="*/ 66146 w 81038"/>
                    <a:gd name="connsiteY181" fmla="*/ 115368 h 155020"/>
                    <a:gd name="connsiteX182" fmla="*/ 66146 w 81038"/>
                    <a:gd name="connsiteY182" fmla="*/ 115428 h 155020"/>
                    <a:gd name="connsiteX183" fmla="*/ 66087 w 81038"/>
                    <a:gd name="connsiteY183" fmla="*/ 115607 h 155020"/>
                    <a:gd name="connsiteX184" fmla="*/ 65968 w 81038"/>
                    <a:gd name="connsiteY184" fmla="*/ 115906 h 155020"/>
                    <a:gd name="connsiteX185" fmla="*/ 65968 w 81038"/>
                    <a:gd name="connsiteY185" fmla="*/ 115966 h 155020"/>
                    <a:gd name="connsiteX186" fmla="*/ 65908 w 81038"/>
                    <a:gd name="connsiteY186" fmla="*/ 116205 h 155020"/>
                    <a:gd name="connsiteX187" fmla="*/ 65848 w 81038"/>
                    <a:gd name="connsiteY187" fmla="*/ 116325 h 155020"/>
                    <a:gd name="connsiteX188" fmla="*/ 65548 w 81038"/>
                    <a:gd name="connsiteY188" fmla="*/ 116923 h 155020"/>
                    <a:gd name="connsiteX189" fmla="*/ 65489 w 81038"/>
                    <a:gd name="connsiteY189" fmla="*/ 116983 h 155020"/>
                    <a:gd name="connsiteX190" fmla="*/ 65070 w 81038"/>
                    <a:gd name="connsiteY190" fmla="*/ 117820 h 155020"/>
                    <a:gd name="connsiteX191" fmla="*/ 64951 w 81038"/>
                    <a:gd name="connsiteY191" fmla="*/ 118059 h 155020"/>
                    <a:gd name="connsiteX192" fmla="*/ 64472 w 81038"/>
                    <a:gd name="connsiteY192" fmla="*/ 118957 h 155020"/>
                    <a:gd name="connsiteX193" fmla="*/ 63755 w 81038"/>
                    <a:gd name="connsiteY193" fmla="*/ 120332 h 155020"/>
                    <a:gd name="connsiteX194" fmla="*/ 63276 w 81038"/>
                    <a:gd name="connsiteY194" fmla="*/ 121289 h 155020"/>
                    <a:gd name="connsiteX195" fmla="*/ 63096 w 81038"/>
                    <a:gd name="connsiteY195" fmla="*/ 121648 h 155020"/>
                    <a:gd name="connsiteX196" fmla="*/ 61661 w 81038"/>
                    <a:gd name="connsiteY196" fmla="*/ 124399 h 155020"/>
                    <a:gd name="connsiteX197" fmla="*/ 59628 w 81038"/>
                    <a:gd name="connsiteY197" fmla="*/ 128406 h 155020"/>
                    <a:gd name="connsiteX198" fmla="*/ 58013 w 81038"/>
                    <a:gd name="connsiteY198" fmla="*/ 131456 h 155020"/>
                    <a:gd name="connsiteX199" fmla="*/ 57893 w 81038"/>
                    <a:gd name="connsiteY199" fmla="*/ 131696 h 155020"/>
                    <a:gd name="connsiteX200" fmla="*/ 57295 w 81038"/>
                    <a:gd name="connsiteY200" fmla="*/ 132832 h 155020"/>
                    <a:gd name="connsiteX201" fmla="*/ 56996 w 81038"/>
                    <a:gd name="connsiteY201" fmla="*/ 133370 h 155020"/>
                    <a:gd name="connsiteX202" fmla="*/ 55860 w 81038"/>
                    <a:gd name="connsiteY202" fmla="*/ 135344 h 155020"/>
                    <a:gd name="connsiteX203" fmla="*/ 53348 w 81038"/>
                    <a:gd name="connsiteY203" fmla="*/ 139590 h 155020"/>
                    <a:gd name="connsiteX204" fmla="*/ 53109 w 81038"/>
                    <a:gd name="connsiteY204" fmla="*/ 140068 h 155020"/>
                    <a:gd name="connsiteX205" fmla="*/ 50298 w 81038"/>
                    <a:gd name="connsiteY205" fmla="*/ 144793 h 155020"/>
                    <a:gd name="connsiteX206" fmla="*/ 48982 w 81038"/>
                    <a:gd name="connsiteY206" fmla="*/ 147006 h 155020"/>
                    <a:gd name="connsiteX207" fmla="*/ 46889 w 81038"/>
                    <a:gd name="connsiteY207" fmla="*/ 150475 h 155020"/>
                    <a:gd name="connsiteX208" fmla="*/ 46111 w 81038"/>
                    <a:gd name="connsiteY208" fmla="*/ 151791 h 155020"/>
                    <a:gd name="connsiteX209" fmla="*/ 45274 w 81038"/>
                    <a:gd name="connsiteY209" fmla="*/ 153226 h 155020"/>
                    <a:gd name="connsiteX210" fmla="*/ 45154 w 81038"/>
                    <a:gd name="connsiteY210" fmla="*/ 153406 h 155020"/>
                    <a:gd name="connsiteX211" fmla="*/ 45154 w 81038"/>
                    <a:gd name="connsiteY211" fmla="*/ 153406 h 155020"/>
                    <a:gd name="connsiteX212" fmla="*/ 44676 w 81038"/>
                    <a:gd name="connsiteY212" fmla="*/ 154243 h 155020"/>
                    <a:gd name="connsiteX213" fmla="*/ 44496 w 81038"/>
                    <a:gd name="connsiteY213" fmla="*/ 154542 h 155020"/>
                    <a:gd name="connsiteX214" fmla="*/ 44436 w 81038"/>
                    <a:gd name="connsiteY214" fmla="*/ 154661 h 155020"/>
                    <a:gd name="connsiteX215" fmla="*/ 44317 w 81038"/>
                    <a:gd name="connsiteY215" fmla="*/ 154841 h 155020"/>
                    <a:gd name="connsiteX216" fmla="*/ 44198 w 81038"/>
                    <a:gd name="connsiteY216" fmla="*/ 155020 h 155020"/>
                    <a:gd name="connsiteX217" fmla="*/ 42822 w 81038"/>
                    <a:gd name="connsiteY217" fmla="*/ 154123 h 155020"/>
                    <a:gd name="connsiteX218" fmla="*/ 41088 w 81038"/>
                    <a:gd name="connsiteY218" fmla="*/ 152987 h 155020"/>
                    <a:gd name="connsiteX219" fmla="*/ 40190 w 81038"/>
                    <a:gd name="connsiteY219" fmla="*/ 152389 h 155020"/>
                    <a:gd name="connsiteX220" fmla="*/ 38935 w 81038"/>
                    <a:gd name="connsiteY220" fmla="*/ 151551 h 155020"/>
                    <a:gd name="connsiteX221" fmla="*/ 38815 w 81038"/>
                    <a:gd name="connsiteY221" fmla="*/ 151492 h 155020"/>
                    <a:gd name="connsiteX222" fmla="*/ 38575 w 81038"/>
                    <a:gd name="connsiteY222" fmla="*/ 151312 h 155020"/>
                    <a:gd name="connsiteX223" fmla="*/ 38396 w 81038"/>
                    <a:gd name="connsiteY223" fmla="*/ 151193 h 155020"/>
                    <a:gd name="connsiteX224" fmla="*/ 37499 w 81038"/>
                    <a:gd name="connsiteY224" fmla="*/ 150595 h 155020"/>
                    <a:gd name="connsiteX225" fmla="*/ 37499 w 81038"/>
                    <a:gd name="connsiteY225" fmla="*/ 150595 h 155020"/>
                    <a:gd name="connsiteX226" fmla="*/ 37320 w 81038"/>
                    <a:gd name="connsiteY226" fmla="*/ 150475 h 15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81038" h="155020">
                      <a:moveTo>
                        <a:pt x="69197" y="42403"/>
                      </a:moveTo>
                      <a:lnTo>
                        <a:pt x="66685" y="41566"/>
                      </a:lnTo>
                      <a:lnTo>
                        <a:pt x="65848" y="41267"/>
                      </a:lnTo>
                      <a:lnTo>
                        <a:pt x="64771" y="40908"/>
                      </a:lnTo>
                      <a:lnTo>
                        <a:pt x="62558" y="40131"/>
                      </a:lnTo>
                      <a:lnTo>
                        <a:pt x="62438" y="40071"/>
                      </a:lnTo>
                      <a:lnTo>
                        <a:pt x="61781" y="39832"/>
                      </a:lnTo>
                      <a:lnTo>
                        <a:pt x="61123" y="39592"/>
                      </a:lnTo>
                      <a:lnTo>
                        <a:pt x="61123" y="39592"/>
                      </a:lnTo>
                      <a:lnTo>
                        <a:pt x="58132" y="38097"/>
                      </a:lnTo>
                      <a:lnTo>
                        <a:pt x="56996" y="37499"/>
                      </a:lnTo>
                      <a:lnTo>
                        <a:pt x="56398" y="37200"/>
                      </a:lnTo>
                      <a:lnTo>
                        <a:pt x="56338" y="37200"/>
                      </a:lnTo>
                      <a:lnTo>
                        <a:pt x="54484" y="35884"/>
                      </a:lnTo>
                      <a:lnTo>
                        <a:pt x="54424" y="35825"/>
                      </a:lnTo>
                      <a:lnTo>
                        <a:pt x="52451" y="34389"/>
                      </a:lnTo>
                      <a:lnTo>
                        <a:pt x="52451" y="34389"/>
                      </a:lnTo>
                      <a:lnTo>
                        <a:pt x="51793" y="33911"/>
                      </a:lnTo>
                      <a:lnTo>
                        <a:pt x="50238" y="32774"/>
                      </a:lnTo>
                      <a:lnTo>
                        <a:pt x="49341" y="32117"/>
                      </a:lnTo>
                      <a:lnTo>
                        <a:pt x="48504" y="31518"/>
                      </a:lnTo>
                      <a:lnTo>
                        <a:pt x="48324" y="31399"/>
                      </a:lnTo>
                      <a:lnTo>
                        <a:pt x="48144" y="31279"/>
                      </a:lnTo>
                      <a:lnTo>
                        <a:pt x="47487" y="30861"/>
                      </a:lnTo>
                      <a:lnTo>
                        <a:pt x="47427" y="30861"/>
                      </a:lnTo>
                      <a:lnTo>
                        <a:pt x="46949" y="30561"/>
                      </a:lnTo>
                      <a:lnTo>
                        <a:pt x="46829" y="30502"/>
                      </a:lnTo>
                      <a:lnTo>
                        <a:pt x="46709" y="30382"/>
                      </a:lnTo>
                      <a:lnTo>
                        <a:pt x="46291" y="30083"/>
                      </a:lnTo>
                      <a:lnTo>
                        <a:pt x="45872" y="29784"/>
                      </a:lnTo>
                      <a:lnTo>
                        <a:pt x="45334" y="29425"/>
                      </a:lnTo>
                      <a:lnTo>
                        <a:pt x="43958" y="28468"/>
                      </a:lnTo>
                      <a:lnTo>
                        <a:pt x="43360" y="28050"/>
                      </a:lnTo>
                      <a:lnTo>
                        <a:pt x="40370" y="26016"/>
                      </a:lnTo>
                      <a:lnTo>
                        <a:pt x="37559" y="24102"/>
                      </a:lnTo>
                      <a:lnTo>
                        <a:pt x="36004" y="23026"/>
                      </a:lnTo>
                      <a:lnTo>
                        <a:pt x="35286" y="22547"/>
                      </a:lnTo>
                      <a:lnTo>
                        <a:pt x="33552" y="21471"/>
                      </a:lnTo>
                      <a:lnTo>
                        <a:pt x="30920" y="19796"/>
                      </a:lnTo>
                      <a:lnTo>
                        <a:pt x="30023" y="19258"/>
                      </a:lnTo>
                      <a:lnTo>
                        <a:pt x="29844" y="19138"/>
                      </a:lnTo>
                      <a:lnTo>
                        <a:pt x="28229" y="18122"/>
                      </a:lnTo>
                      <a:lnTo>
                        <a:pt x="27870" y="17882"/>
                      </a:lnTo>
                      <a:lnTo>
                        <a:pt x="27212" y="17464"/>
                      </a:lnTo>
                      <a:lnTo>
                        <a:pt x="23624" y="15191"/>
                      </a:lnTo>
                      <a:lnTo>
                        <a:pt x="23444" y="15071"/>
                      </a:lnTo>
                      <a:lnTo>
                        <a:pt x="21471" y="13875"/>
                      </a:lnTo>
                      <a:lnTo>
                        <a:pt x="21411" y="13815"/>
                      </a:lnTo>
                      <a:lnTo>
                        <a:pt x="21171" y="13696"/>
                      </a:lnTo>
                      <a:lnTo>
                        <a:pt x="20933" y="13516"/>
                      </a:lnTo>
                      <a:lnTo>
                        <a:pt x="20753" y="13397"/>
                      </a:lnTo>
                      <a:lnTo>
                        <a:pt x="19497" y="12619"/>
                      </a:lnTo>
                      <a:lnTo>
                        <a:pt x="18480" y="12021"/>
                      </a:lnTo>
                      <a:lnTo>
                        <a:pt x="17763" y="11603"/>
                      </a:lnTo>
                      <a:lnTo>
                        <a:pt x="16686" y="10945"/>
                      </a:lnTo>
                      <a:lnTo>
                        <a:pt x="15909" y="10466"/>
                      </a:lnTo>
                      <a:lnTo>
                        <a:pt x="15131" y="9988"/>
                      </a:lnTo>
                      <a:lnTo>
                        <a:pt x="14772" y="9749"/>
                      </a:lnTo>
                      <a:lnTo>
                        <a:pt x="13755" y="9150"/>
                      </a:lnTo>
                      <a:lnTo>
                        <a:pt x="12500" y="8373"/>
                      </a:lnTo>
                      <a:lnTo>
                        <a:pt x="12200" y="8194"/>
                      </a:lnTo>
                      <a:lnTo>
                        <a:pt x="10944" y="7416"/>
                      </a:lnTo>
                      <a:lnTo>
                        <a:pt x="10765" y="7296"/>
                      </a:lnTo>
                      <a:lnTo>
                        <a:pt x="5083" y="3888"/>
                      </a:lnTo>
                      <a:lnTo>
                        <a:pt x="4665" y="3648"/>
                      </a:lnTo>
                      <a:lnTo>
                        <a:pt x="4545" y="3588"/>
                      </a:lnTo>
                      <a:lnTo>
                        <a:pt x="3110" y="2871"/>
                      </a:lnTo>
                      <a:lnTo>
                        <a:pt x="0" y="1256"/>
                      </a:lnTo>
                      <a:lnTo>
                        <a:pt x="0" y="1256"/>
                      </a:lnTo>
                      <a:lnTo>
                        <a:pt x="358" y="0"/>
                      </a:lnTo>
                      <a:lnTo>
                        <a:pt x="1555" y="179"/>
                      </a:lnTo>
                      <a:lnTo>
                        <a:pt x="2153" y="299"/>
                      </a:lnTo>
                      <a:lnTo>
                        <a:pt x="6100" y="957"/>
                      </a:lnTo>
                      <a:lnTo>
                        <a:pt x="6639" y="1017"/>
                      </a:lnTo>
                      <a:lnTo>
                        <a:pt x="8971" y="1376"/>
                      </a:lnTo>
                      <a:lnTo>
                        <a:pt x="9091" y="1376"/>
                      </a:lnTo>
                      <a:lnTo>
                        <a:pt x="13277" y="2033"/>
                      </a:lnTo>
                      <a:lnTo>
                        <a:pt x="13636" y="2093"/>
                      </a:lnTo>
                      <a:lnTo>
                        <a:pt x="13995" y="2153"/>
                      </a:lnTo>
                      <a:lnTo>
                        <a:pt x="14712" y="2392"/>
                      </a:lnTo>
                      <a:lnTo>
                        <a:pt x="19258" y="4007"/>
                      </a:lnTo>
                      <a:lnTo>
                        <a:pt x="22726" y="5263"/>
                      </a:lnTo>
                      <a:lnTo>
                        <a:pt x="22786" y="5323"/>
                      </a:lnTo>
                      <a:lnTo>
                        <a:pt x="26315" y="7536"/>
                      </a:lnTo>
                      <a:lnTo>
                        <a:pt x="26734" y="7835"/>
                      </a:lnTo>
                      <a:lnTo>
                        <a:pt x="27152" y="8074"/>
                      </a:lnTo>
                      <a:lnTo>
                        <a:pt x="28229" y="8792"/>
                      </a:lnTo>
                      <a:lnTo>
                        <a:pt x="28349" y="8852"/>
                      </a:lnTo>
                      <a:lnTo>
                        <a:pt x="28588" y="8971"/>
                      </a:lnTo>
                      <a:lnTo>
                        <a:pt x="29724" y="9689"/>
                      </a:lnTo>
                      <a:lnTo>
                        <a:pt x="29844" y="9749"/>
                      </a:lnTo>
                      <a:lnTo>
                        <a:pt x="30262" y="9988"/>
                      </a:lnTo>
                      <a:lnTo>
                        <a:pt x="33193" y="11842"/>
                      </a:lnTo>
                      <a:lnTo>
                        <a:pt x="33970" y="12320"/>
                      </a:lnTo>
                      <a:lnTo>
                        <a:pt x="34150" y="12440"/>
                      </a:lnTo>
                      <a:lnTo>
                        <a:pt x="41685" y="17165"/>
                      </a:lnTo>
                      <a:lnTo>
                        <a:pt x="41745" y="17225"/>
                      </a:lnTo>
                      <a:lnTo>
                        <a:pt x="43779" y="18540"/>
                      </a:lnTo>
                      <a:lnTo>
                        <a:pt x="44496" y="19019"/>
                      </a:lnTo>
                      <a:lnTo>
                        <a:pt x="46111" y="20035"/>
                      </a:lnTo>
                      <a:lnTo>
                        <a:pt x="48623" y="21590"/>
                      </a:lnTo>
                      <a:lnTo>
                        <a:pt x="49042" y="21830"/>
                      </a:lnTo>
                      <a:lnTo>
                        <a:pt x="49879" y="22368"/>
                      </a:lnTo>
                      <a:lnTo>
                        <a:pt x="53229" y="24521"/>
                      </a:lnTo>
                      <a:lnTo>
                        <a:pt x="54903" y="25597"/>
                      </a:lnTo>
                      <a:lnTo>
                        <a:pt x="54903" y="25597"/>
                      </a:lnTo>
                      <a:lnTo>
                        <a:pt x="56996" y="26913"/>
                      </a:lnTo>
                      <a:lnTo>
                        <a:pt x="62738" y="30502"/>
                      </a:lnTo>
                      <a:lnTo>
                        <a:pt x="65848" y="32475"/>
                      </a:lnTo>
                      <a:lnTo>
                        <a:pt x="66745" y="33073"/>
                      </a:lnTo>
                      <a:lnTo>
                        <a:pt x="66984" y="33253"/>
                      </a:lnTo>
                      <a:lnTo>
                        <a:pt x="67463" y="33612"/>
                      </a:lnTo>
                      <a:lnTo>
                        <a:pt x="68061" y="34090"/>
                      </a:lnTo>
                      <a:lnTo>
                        <a:pt x="71231" y="36423"/>
                      </a:lnTo>
                      <a:lnTo>
                        <a:pt x="72307" y="37200"/>
                      </a:lnTo>
                      <a:lnTo>
                        <a:pt x="72426" y="37320"/>
                      </a:lnTo>
                      <a:lnTo>
                        <a:pt x="72726" y="37559"/>
                      </a:lnTo>
                      <a:lnTo>
                        <a:pt x="72965" y="37738"/>
                      </a:lnTo>
                      <a:lnTo>
                        <a:pt x="73443" y="38097"/>
                      </a:lnTo>
                      <a:lnTo>
                        <a:pt x="73503" y="38157"/>
                      </a:lnTo>
                      <a:lnTo>
                        <a:pt x="73862" y="38875"/>
                      </a:lnTo>
                      <a:lnTo>
                        <a:pt x="73922" y="38994"/>
                      </a:lnTo>
                      <a:lnTo>
                        <a:pt x="74579" y="40370"/>
                      </a:lnTo>
                      <a:lnTo>
                        <a:pt x="74639" y="40549"/>
                      </a:lnTo>
                      <a:lnTo>
                        <a:pt x="75656" y="42643"/>
                      </a:lnTo>
                      <a:lnTo>
                        <a:pt x="75835" y="43061"/>
                      </a:lnTo>
                      <a:lnTo>
                        <a:pt x="77092" y="45633"/>
                      </a:lnTo>
                      <a:lnTo>
                        <a:pt x="77749" y="47308"/>
                      </a:lnTo>
                      <a:lnTo>
                        <a:pt x="77929" y="47726"/>
                      </a:lnTo>
                      <a:lnTo>
                        <a:pt x="79304" y="51135"/>
                      </a:lnTo>
                      <a:lnTo>
                        <a:pt x="79483" y="51614"/>
                      </a:lnTo>
                      <a:lnTo>
                        <a:pt x="79543" y="51793"/>
                      </a:lnTo>
                      <a:lnTo>
                        <a:pt x="79603" y="51972"/>
                      </a:lnTo>
                      <a:lnTo>
                        <a:pt x="80202" y="53408"/>
                      </a:lnTo>
                      <a:lnTo>
                        <a:pt x="80381" y="53886"/>
                      </a:lnTo>
                      <a:lnTo>
                        <a:pt x="80440" y="54066"/>
                      </a:lnTo>
                      <a:lnTo>
                        <a:pt x="80680" y="58671"/>
                      </a:lnTo>
                      <a:lnTo>
                        <a:pt x="80740" y="59448"/>
                      </a:lnTo>
                      <a:lnTo>
                        <a:pt x="80859" y="61542"/>
                      </a:lnTo>
                      <a:lnTo>
                        <a:pt x="80859" y="61960"/>
                      </a:lnTo>
                      <a:lnTo>
                        <a:pt x="80919" y="63635"/>
                      </a:lnTo>
                      <a:lnTo>
                        <a:pt x="81038" y="66207"/>
                      </a:lnTo>
                      <a:lnTo>
                        <a:pt x="80859" y="67283"/>
                      </a:lnTo>
                      <a:lnTo>
                        <a:pt x="80680" y="68778"/>
                      </a:lnTo>
                      <a:lnTo>
                        <a:pt x="80500" y="69855"/>
                      </a:lnTo>
                      <a:lnTo>
                        <a:pt x="80381" y="70812"/>
                      </a:lnTo>
                      <a:lnTo>
                        <a:pt x="80321" y="71350"/>
                      </a:lnTo>
                      <a:lnTo>
                        <a:pt x="80261" y="71589"/>
                      </a:lnTo>
                      <a:lnTo>
                        <a:pt x="80142" y="72367"/>
                      </a:lnTo>
                      <a:lnTo>
                        <a:pt x="80082" y="72606"/>
                      </a:lnTo>
                      <a:lnTo>
                        <a:pt x="80022" y="73144"/>
                      </a:lnTo>
                      <a:lnTo>
                        <a:pt x="80022" y="73204"/>
                      </a:lnTo>
                      <a:lnTo>
                        <a:pt x="79962" y="73742"/>
                      </a:lnTo>
                      <a:lnTo>
                        <a:pt x="79962" y="73802"/>
                      </a:lnTo>
                      <a:lnTo>
                        <a:pt x="79902" y="74041"/>
                      </a:lnTo>
                      <a:lnTo>
                        <a:pt x="79783" y="74819"/>
                      </a:lnTo>
                      <a:lnTo>
                        <a:pt x="79723" y="75118"/>
                      </a:lnTo>
                      <a:lnTo>
                        <a:pt x="79663" y="75656"/>
                      </a:lnTo>
                      <a:lnTo>
                        <a:pt x="79663" y="75836"/>
                      </a:lnTo>
                      <a:lnTo>
                        <a:pt x="79603" y="76075"/>
                      </a:lnTo>
                      <a:lnTo>
                        <a:pt x="79364" y="77809"/>
                      </a:lnTo>
                      <a:lnTo>
                        <a:pt x="79304" y="78048"/>
                      </a:lnTo>
                      <a:lnTo>
                        <a:pt x="79245" y="78647"/>
                      </a:lnTo>
                      <a:lnTo>
                        <a:pt x="79125" y="79544"/>
                      </a:lnTo>
                      <a:lnTo>
                        <a:pt x="78945" y="80919"/>
                      </a:lnTo>
                      <a:lnTo>
                        <a:pt x="78707" y="81637"/>
                      </a:lnTo>
                      <a:lnTo>
                        <a:pt x="75297" y="92223"/>
                      </a:lnTo>
                      <a:lnTo>
                        <a:pt x="73204" y="98622"/>
                      </a:lnTo>
                      <a:lnTo>
                        <a:pt x="71290" y="103167"/>
                      </a:lnTo>
                      <a:lnTo>
                        <a:pt x="71231" y="103287"/>
                      </a:lnTo>
                      <a:lnTo>
                        <a:pt x="70453" y="105141"/>
                      </a:lnTo>
                      <a:lnTo>
                        <a:pt x="70034" y="106098"/>
                      </a:lnTo>
                      <a:lnTo>
                        <a:pt x="68659" y="109328"/>
                      </a:lnTo>
                      <a:lnTo>
                        <a:pt x="67761" y="111481"/>
                      </a:lnTo>
                      <a:lnTo>
                        <a:pt x="67761" y="111481"/>
                      </a:lnTo>
                      <a:lnTo>
                        <a:pt x="67463" y="112258"/>
                      </a:lnTo>
                      <a:lnTo>
                        <a:pt x="67403" y="112438"/>
                      </a:lnTo>
                      <a:lnTo>
                        <a:pt x="66984" y="113454"/>
                      </a:lnTo>
                      <a:lnTo>
                        <a:pt x="66924" y="113574"/>
                      </a:lnTo>
                      <a:lnTo>
                        <a:pt x="66565" y="114411"/>
                      </a:lnTo>
                      <a:lnTo>
                        <a:pt x="66506" y="114531"/>
                      </a:lnTo>
                      <a:lnTo>
                        <a:pt x="66146" y="115368"/>
                      </a:lnTo>
                      <a:lnTo>
                        <a:pt x="66146" y="115428"/>
                      </a:lnTo>
                      <a:lnTo>
                        <a:pt x="66087" y="115607"/>
                      </a:lnTo>
                      <a:lnTo>
                        <a:pt x="65968" y="115906"/>
                      </a:lnTo>
                      <a:lnTo>
                        <a:pt x="65968" y="115966"/>
                      </a:lnTo>
                      <a:lnTo>
                        <a:pt x="65908" y="116205"/>
                      </a:lnTo>
                      <a:lnTo>
                        <a:pt x="65848" y="116325"/>
                      </a:lnTo>
                      <a:lnTo>
                        <a:pt x="65548" y="116923"/>
                      </a:lnTo>
                      <a:lnTo>
                        <a:pt x="65489" y="116983"/>
                      </a:lnTo>
                      <a:lnTo>
                        <a:pt x="65070" y="117820"/>
                      </a:lnTo>
                      <a:lnTo>
                        <a:pt x="64951" y="118059"/>
                      </a:lnTo>
                      <a:lnTo>
                        <a:pt x="64472" y="118957"/>
                      </a:lnTo>
                      <a:lnTo>
                        <a:pt x="63755" y="120332"/>
                      </a:lnTo>
                      <a:lnTo>
                        <a:pt x="63276" y="121289"/>
                      </a:lnTo>
                      <a:lnTo>
                        <a:pt x="63096" y="121648"/>
                      </a:lnTo>
                      <a:lnTo>
                        <a:pt x="61661" y="124399"/>
                      </a:lnTo>
                      <a:lnTo>
                        <a:pt x="59628" y="128406"/>
                      </a:lnTo>
                      <a:lnTo>
                        <a:pt x="58013" y="131456"/>
                      </a:lnTo>
                      <a:lnTo>
                        <a:pt x="57893" y="131696"/>
                      </a:lnTo>
                      <a:lnTo>
                        <a:pt x="57295" y="132832"/>
                      </a:lnTo>
                      <a:lnTo>
                        <a:pt x="56996" y="133370"/>
                      </a:lnTo>
                      <a:lnTo>
                        <a:pt x="55860" y="135344"/>
                      </a:lnTo>
                      <a:lnTo>
                        <a:pt x="53348" y="139590"/>
                      </a:lnTo>
                      <a:lnTo>
                        <a:pt x="53109" y="140068"/>
                      </a:lnTo>
                      <a:lnTo>
                        <a:pt x="50298" y="144793"/>
                      </a:lnTo>
                      <a:lnTo>
                        <a:pt x="48982" y="147006"/>
                      </a:lnTo>
                      <a:lnTo>
                        <a:pt x="46889" y="150475"/>
                      </a:lnTo>
                      <a:lnTo>
                        <a:pt x="46111" y="151791"/>
                      </a:lnTo>
                      <a:lnTo>
                        <a:pt x="45274" y="153226"/>
                      </a:lnTo>
                      <a:lnTo>
                        <a:pt x="45154" y="153406"/>
                      </a:lnTo>
                      <a:lnTo>
                        <a:pt x="45154" y="153406"/>
                      </a:lnTo>
                      <a:lnTo>
                        <a:pt x="44676" y="154243"/>
                      </a:lnTo>
                      <a:lnTo>
                        <a:pt x="44496" y="154542"/>
                      </a:lnTo>
                      <a:lnTo>
                        <a:pt x="44436" y="154661"/>
                      </a:lnTo>
                      <a:lnTo>
                        <a:pt x="44317" y="154841"/>
                      </a:lnTo>
                      <a:lnTo>
                        <a:pt x="44198" y="155020"/>
                      </a:lnTo>
                      <a:lnTo>
                        <a:pt x="42822" y="154123"/>
                      </a:lnTo>
                      <a:lnTo>
                        <a:pt x="41088" y="152987"/>
                      </a:lnTo>
                      <a:lnTo>
                        <a:pt x="40190" y="152389"/>
                      </a:lnTo>
                      <a:lnTo>
                        <a:pt x="38935" y="151551"/>
                      </a:lnTo>
                      <a:lnTo>
                        <a:pt x="38815" y="151492"/>
                      </a:lnTo>
                      <a:lnTo>
                        <a:pt x="38575" y="151312"/>
                      </a:lnTo>
                      <a:lnTo>
                        <a:pt x="38396" y="151193"/>
                      </a:lnTo>
                      <a:lnTo>
                        <a:pt x="37499" y="150595"/>
                      </a:lnTo>
                      <a:lnTo>
                        <a:pt x="37499" y="150595"/>
                      </a:lnTo>
                      <a:lnTo>
                        <a:pt x="37320" y="150475"/>
                      </a:lnTo>
                    </a:path>
                  </a:pathLst>
                </a:custGeom>
                <a:noFill/>
                <a:ln w="6350" cap="rnd">
                  <a:solidFill>
                    <a:schemeClr val="bg1">
                      <a:alpha val="40000"/>
                    </a:schemeClr>
                  </a:solidFill>
                  <a:prstDash val="solid"/>
                  <a:round/>
                </a:ln>
              </p:spPr>
              <p:txBody>
                <a:bodyPr rtlCol="0" anchor="ctr"/>
                <a:lstStyle/>
                <a:p>
                  <a:endParaRPr lang="en-GB"/>
                </a:p>
              </p:txBody>
            </p:sp>
            <p:sp>
              <p:nvSpPr>
                <p:cNvPr id="6412" name="Vrije vorm: vorm 6411">
                  <a:extLst>
                    <a:ext uri="{FF2B5EF4-FFF2-40B4-BE49-F238E27FC236}">
                      <a16:creationId xmlns:a16="http://schemas.microsoft.com/office/drawing/2014/main" id="{9A90C68B-7993-4BB8-9A53-622108E74972}"/>
                    </a:ext>
                  </a:extLst>
                </p:cNvPr>
                <p:cNvSpPr/>
                <p:nvPr/>
              </p:nvSpPr>
              <p:spPr>
                <a:xfrm>
                  <a:off x="6675343" y="1862736"/>
                  <a:ext cx="43599" cy="39054"/>
                </a:xfrm>
                <a:custGeom>
                  <a:avLst/>
                  <a:gdLst>
                    <a:gd name="connsiteX0" fmla="*/ 43599 w 43599"/>
                    <a:gd name="connsiteY0" fmla="*/ 0 h 39054"/>
                    <a:gd name="connsiteX1" fmla="*/ 38875 w 43599"/>
                    <a:gd name="connsiteY1" fmla="*/ 1077 h 39054"/>
                    <a:gd name="connsiteX2" fmla="*/ 38157 w 43599"/>
                    <a:gd name="connsiteY2" fmla="*/ 1256 h 39054"/>
                    <a:gd name="connsiteX3" fmla="*/ 36841 w 43599"/>
                    <a:gd name="connsiteY3" fmla="*/ 1555 h 39054"/>
                    <a:gd name="connsiteX4" fmla="*/ 35227 w 43599"/>
                    <a:gd name="connsiteY4" fmla="*/ 1914 h 39054"/>
                    <a:gd name="connsiteX5" fmla="*/ 26016 w 43599"/>
                    <a:gd name="connsiteY5" fmla="*/ 7057 h 39054"/>
                    <a:gd name="connsiteX6" fmla="*/ 25956 w 43599"/>
                    <a:gd name="connsiteY6" fmla="*/ 7117 h 39054"/>
                    <a:gd name="connsiteX7" fmla="*/ 19079 w 43599"/>
                    <a:gd name="connsiteY7" fmla="*/ 13038 h 39054"/>
                    <a:gd name="connsiteX8" fmla="*/ 16746 w 43599"/>
                    <a:gd name="connsiteY8" fmla="*/ 15012 h 39054"/>
                    <a:gd name="connsiteX9" fmla="*/ 16746 w 43599"/>
                    <a:gd name="connsiteY9" fmla="*/ 15012 h 39054"/>
                    <a:gd name="connsiteX10" fmla="*/ 14174 w 43599"/>
                    <a:gd name="connsiteY10" fmla="*/ 18062 h 39054"/>
                    <a:gd name="connsiteX11" fmla="*/ 8134 w 43599"/>
                    <a:gd name="connsiteY11" fmla="*/ 25239 h 39054"/>
                    <a:gd name="connsiteX12" fmla="*/ 7655 w 43599"/>
                    <a:gd name="connsiteY12" fmla="*/ 26076 h 39054"/>
                    <a:gd name="connsiteX13" fmla="*/ 1555 w 43599"/>
                    <a:gd name="connsiteY13" fmla="*/ 35884 h 39054"/>
                    <a:gd name="connsiteX14" fmla="*/ 957 w 43599"/>
                    <a:gd name="connsiteY14" fmla="*/ 36781 h 39054"/>
                    <a:gd name="connsiteX15" fmla="*/ 0 w 43599"/>
                    <a:gd name="connsiteY15" fmla="*/ 39054 h 3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99" h="39054">
                      <a:moveTo>
                        <a:pt x="43599" y="0"/>
                      </a:moveTo>
                      <a:lnTo>
                        <a:pt x="38875" y="1077"/>
                      </a:lnTo>
                      <a:lnTo>
                        <a:pt x="38157" y="1256"/>
                      </a:lnTo>
                      <a:lnTo>
                        <a:pt x="36841" y="1555"/>
                      </a:lnTo>
                      <a:lnTo>
                        <a:pt x="35227" y="1914"/>
                      </a:lnTo>
                      <a:lnTo>
                        <a:pt x="26016" y="7057"/>
                      </a:lnTo>
                      <a:lnTo>
                        <a:pt x="25956" y="7117"/>
                      </a:lnTo>
                      <a:lnTo>
                        <a:pt x="19079" y="13038"/>
                      </a:lnTo>
                      <a:lnTo>
                        <a:pt x="16746" y="15012"/>
                      </a:lnTo>
                      <a:lnTo>
                        <a:pt x="16746" y="15012"/>
                      </a:lnTo>
                      <a:lnTo>
                        <a:pt x="14174" y="18062"/>
                      </a:lnTo>
                      <a:lnTo>
                        <a:pt x="8134" y="25239"/>
                      </a:lnTo>
                      <a:lnTo>
                        <a:pt x="7655" y="26076"/>
                      </a:lnTo>
                      <a:lnTo>
                        <a:pt x="1555" y="35884"/>
                      </a:lnTo>
                      <a:lnTo>
                        <a:pt x="957" y="36781"/>
                      </a:lnTo>
                      <a:lnTo>
                        <a:pt x="0" y="39054"/>
                      </a:lnTo>
                    </a:path>
                  </a:pathLst>
                </a:custGeom>
                <a:noFill/>
                <a:ln w="6350" cap="rnd">
                  <a:solidFill>
                    <a:schemeClr val="bg1">
                      <a:alpha val="40000"/>
                    </a:schemeClr>
                  </a:solidFill>
                  <a:prstDash val="solid"/>
                  <a:round/>
                </a:ln>
              </p:spPr>
              <p:txBody>
                <a:bodyPr rtlCol="0" anchor="ctr"/>
                <a:lstStyle/>
                <a:p>
                  <a:endParaRPr lang="en-GB"/>
                </a:p>
              </p:txBody>
            </p:sp>
            <p:sp>
              <p:nvSpPr>
                <p:cNvPr id="6413" name="Vrije vorm: vorm 6412">
                  <a:extLst>
                    <a:ext uri="{FF2B5EF4-FFF2-40B4-BE49-F238E27FC236}">
                      <a16:creationId xmlns:a16="http://schemas.microsoft.com/office/drawing/2014/main" id="{E656D651-7386-45F7-9477-271A20B603AC}"/>
                    </a:ext>
                  </a:extLst>
                </p:cNvPr>
                <p:cNvSpPr/>
                <p:nvPr/>
              </p:nvSpPr>
              <p:spPr>
                <a:xfrm>
                  <a:off x="6921748" y="2058365"/>
                  <a:ext cx="2452" cy="777"/>
                </a:xfrm>
                <a:custGeom>
                  <a:avLst/>
                  <a:gdLst>
                    <a:gd name="connsiteX0" fmla="*/ 2452 w 2452"/>
                    <a:gd name="connsiteY0" fmla="*/ 0 h 777"/>
                    <a:gd name="connsiteX1" fmla="*/ 2213 w 2452"/>
                    <a:gd name="connsiteY1" fmla="*/ 419 h 777"/>
                    <a:gd name="connsiteX2" fmla="*/ 1794 w 2452"/>
                    <a:gd name="connsiteY2" fmla="*/ 777 h 777"/>
                    <a:gd name="connsiteX3" fmla="*/ 1316 w 2452"/>
                    <a:gd name="connsiteY3" fmla="*/ 658 h 777"/>
                    <a:gd name="connsiteX4" fmla="*/ 1017 w 2452"/>
                    <a:gd name="connsiteY4" fmla="*/ 598 h 777"/>
                    <a:gd name="connsiteX5" fmla="*/ 658 w 2452"/>
                    <a:gd name="connsiteY5" fmla="*/ 478 h 777"/>
                    <a:gd name="connsiteX6" fmla="*/ 0 w 2452"/>
                    <a:gd name="connsiteY6" fmla="*/ 299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2" h="777">
                      <a:moveTo>
                        <a:pt x="2452" y="0"/>
                      </a:moveTo>
                      <a:lnTo>
                        <a:pt x="2213" y="419"/>
                      </a:lnTo>
                      <a:lnTo>
                        <a:pt x="1794" y="777"/>
                      </a:lnTo>
                      <a:lnTo>
                        <a:pt x="1316" y="658"/>
                      </a:lnTo>
                      <a:lnTo>
                        <a:pt x="1017" y="598"/>
                      </a:lnTo>
                      <a:lnTo>
                        <a:pt x="658" y="478"/>
                      </a:lnTo>
                      <a:lnTo>
                        <a:pt x="0" y="299"/>
                      </a:lnTo>
                    </a:path>
                  </a:pathLst>
                </a:custGeom>
                <a:noFill/>
                <a:ln w="6350" cap="rnd">
                  <a:solidFill>
                    <a:schemeClr val="bg1">
                      <a:alpha val="40000"/>
                    </a:schemeClr>
                  </a:solidFill>
                  <a:prstDash val="solid"/>
                  <a:round/>
                </a:ln>
              </p:spPr>
              <p:txBody>
                <a:bodyPr rtlCol="0" anchor="ctr"/>
                <a:lstStyle/>
                <a:p>
                  <a:endParaRPr lang="en-GB"/>
                </a:p>
              </p:txBody>
            </p:sp>
            <p:sp>
              <p:nvSpPr>
                <p:cNvPr id="6414" name="Vrije vorm: vorm 6413">
                  <a:extLst>
                    <a:ext uri="{FF2B5EF4-FFF2-40B4-BE49-F238E27FC236}">
                      <a16:creationId xmlns:a16="http://schemas.microsoft.com/office/drawing/2014/main" id="{EC2518F4-E2A5-43C6-9C97-101BE60549A8}"/>
                    </a:ext>
                  </a:extLst>
                </p:cNvPr>
                <p:cNvSpPr/>
                <p:nvPr/>
              </p:nvSpPr>
              <p:spPr>
                <a:xfrm>
                  <a:off x="6701478" y="1899039"/>
                  <a:ext cx="11423" cy="5262"/>
                </a:xfrm>
                <a:custGeom>
                  <a:avLst/>
                  <a:gdLst>
                    <a:gd name="connsiteX0" fmla="*/ 0 w 11423"/>
                    <a:gd name="connsiteY0" fmla="*/ 0 h 5262"/>
                    <a:gd name="connsiteX1" fmla="*/ 4964 w 11423"/>
                    <a:gd name="connsiteY1" fmla="*/ 2273 h 5262"/>
                    <a:gd name="connsiteX2" fmla="*/ 6041 w 11423"/>
                    <a:gd name="connsiteY2" fmla="*/ 2751 h 5262"/>
                    <a:gd name="connsiteX3" fmla="*/ 11423 w 11423"/>
                    <a:gd name="connsiteY3" fmla="*/ 5203 h 5262"/>
                    <a:gd name="connsiteX4" fmla="*/ 11364 w 11423"/>
                    <a:gd name="connsiteY4" fmla="*/ 5263 h 5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23" h="5262">
                      <a:moveTo>
                        <a:pt x="0" y="0"/>
                      </a:moveTo>
                      <a:lnTo>
                        <a:pt x="4964" y="2273"/>
                      </a:lnTo>
                      <a:lnTo>
                        <a:pt x="6041" y="2751"/>
                      </a:lnTo>
                      <a:lnTo>
                        <a:pt x="11423" y="5203"/>
                      </a:lnTo>
                      <a:lnTo>
                        <a:pt x="11364" y="5263"/>
                      </a:lnTo>
                    </a:path>
                  </a:pathLst>
                </a:custGeom>
                <a:noFill/>
                <a:ln w="6350" cap="rnd">
                  <a:solidFill>
                    <a:schemeClr val="bg1">
                      <a:alpha val="40000"/>
                    </a:schemeClr>
                  </a:solidFill>
                  <a:prstDash val="solid"/>
                  <a:round/>
                </a:ln>
              </p:spPr>
              <p:txBody>
                <a:bodyPr rtlCol="0" anchor="ctr"/>
                <a:lstStyle/>
                <a:p>
                  <a:endParaRPr lang="en-GB"/>
                </a:p>
              </p:txBody>
            </p:sp>
            <p:sp>
              <p:nvSpPr>
                <p:cNvPr id="6415" name="Vrije vorm: vorm 6414">
                  <a:extLst>
                    <a:ext uri="{FF2B5EF4-FFF2-40B4-BE49-F238E27FC236}">
                      <a16:creationId xmlns:a16="http://schemas.microsoft.com/office/drawing/2014/main" id="{C737D106-3EDD-4892-9552-6C13E9DF4BE5}"/>
                    </a:ext>
                  </a:extLst>
                </p:cNvPr>
                <p:cNvSpPr/>
                <p:nvPr/>
              </p:nvSpPr>
              <p:spPr>
                <a:xfrm>
                  <a:off x="6861044" y="1790549"/>
                  <a:ext cx="538" cy="1854"/>
                </a:xfrm>
                <a:custGeom>
                  <a:avLst/>
                  <a:gdLst>
                    <a:gd name="connsiteX0" fmla="*/ 0 w 538"/>
                    <a:gd name="connsiteY0" fmla="*/ 1854 h 1854"/>
                    <a:gd name="connsiteX1" fmla="*/ 0 w 538"/>
                    <a:gd name="connsiteY1" fmla="*/ 1794 h 1854"/>
                    <a:gd name="connsiteX2" fmla="*/ 0 w 538"/>
                    <a:gd name="connsiteY2" fmla="*/ 1555 h 1854"/>
                    <a:gd name="connsiteX3" fmla="*/ 0 w 538"/>
                    <a:gd name="connsiteY3" fmla="*/ 1196 h 1854"/>
                    <a:gd name="connsiteX4" fmla="*/ 538 w 538"/>
                    <a:gd name="connsiteY4" fmla="*/ 0 h 1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 h="1854">
                      <a:moveTo>
                        <a:pt x="0" y="1854"/>
                      </a:moveTo>
                      <a:lnTo>
                        <a:pt x="0" y="1794"/>
                      </a:lnTo>
                      <a:lnTo>
                        <a:pt x="0" y="1555"/>
                      </a:lnTo>
                      <a:lnTo>
                        <a:pt x="0" y="1196"/>
                      </a:lnTo>
                      <a:lnTo>
                        <a:pt x="538" y="0"/>
                      </a:lnTo>
                    </a:path>
                  </a:pathLst>
                </a:custGeom>
                <a:noFill/>
                <a:ln w="6350" cap="rnd">
                  <a:solidFill>
                    <a:schemeClr val="bg1">
                      <a:alpha val="40000"/>
                    </a:schemeClr>
                  </a:solidFill>
                  <a:prstDash val="solid"/>
                  <a:round/>
                </a:ln>
              </p:spPr>
              <p:txBody>
                <a:bodyPr rtlCol="0" anchor="ctr"/>
                <a:lstStyle/>
                <a:p>
                  <a:endParaRPr lang="en-GB"/>
                </a:p>
              </p:txBody>
            </p:sp>
            <p:sp>
              <p:nvSpPr>
                <p:cNvPr id="6416" name="Vrije vorm: vorm 6415">
                  <a:extLst>
                    <a:ext uri="{FF2B5EF4-FFF2-40B4-BE49-F238E27FC236}">
                      <a16:creationId xmlns:a16="http://schemas.microsoft.com/office/drawing/2014/main" id="{04412EC2-B3FD-40EA-96EF-6745AD2AAFD5}"/>
                    </a:ext>
                  </a:extLst>
                </p:cNvPr>
                <p:cNvSpPr/>
                <p:nvPr/>
              </p:nvSpPr>
              <p:spPr>
                <a:xfrm>
                  <a:off x="7049437" y="1890726"/>
                  <a:ext cx="57773" cy="82533"/>
                </a:xfrm>
                <a:custGeom>
                  <a:avLst/>
                  <a:gdLst>
                    <a:gd name="connsiteX0" fmla="*/ 0 w 57773"/>
                    <a:gd name="connsiteY0" fmla="*/ 0 h 82533"/>
                    <a:gd name="connsiteX1" fmla="*/ 1555 w 57773"/>
                    <a:gd name="connsiteY1" fmla="*/ 777 h 82533"/>
                    <a:gd name="connsiteX2" fmla="*/ 1555 w 57773"/>
                    <a:gd name="connsiteY2" fmla="*/ 777 h 82533"/>
                    <a:gd name="connsiteX3" fmla="*/ 1854 w 57773"/>
                    <a:gd name="connsiteY3" fmla="*/ 897 h 82533"/>
                    <a:gd name="connsiteX4" fmla="*/ 1973 w 57773"/>
                    <a:gd name="connsiteY4" fmla="*/ 957 h 82533"/>
                    <a:gd name="connsiteX5" fmla="*/ 3110 w 57773"/>
                    <a:gd name="connsiteY5" fmla="*/ 1495 h 82533"/>
                    <a:gd name="connsiteX6" fmla="*/ 3170 w 57773"/>
                    <a:gd name="connsiteY6" fmla="*/ 1495 h 82533"/>
                    <a:gd name="connsiteX7" fmla="*/ 3648 w 57773"/>
                    <a:gd name="connsiteY7" fmla="*/ 1734 h 82533"/>
                    <a:gd name="connsiteX8" fmla="*/ 5981 w 57773"/>
                    <a:gd name="connsiteY8" fmla="*/ 2871 h 82533"/>
                    <a:gd name="connsiteX9" fmla="*/ 10406 w 57773"/>
                    <a:gd name="connsiteY9" fmla="*/ 5084 h 82533"/>
                    <a:gd name="connsiteX10" fmla="*/ 11483 w 57773"/>
                    <a:gd name="connsiteY10" fmla="*/ 5622 h 82533"/>
                    <a:gd name="connsiteX11" fmla="*/ 12619 w 57773"/>
                    <a:gd name="connsiteY11" fmla="*/ 6519 h 82533"/>
                    <a:gd name="connsiteX12" fmla="*/ 12799 w 57773"/>
                    <a:gd name="connsiteY12" fmla="*/ 6639 h 82533"/>
                    <a:gd name="connsiteX13" fmla="*/ 12799 w 57773"/>
                    <a:gd name="connsiteY13" fmla="*/ 6639 h 82533"/>
                    <a:gd name="connsiteX14" fmla="*/ 13277 w 57773"/>
                    <a:gd name="connsiteY14" fmla="*/ 7057 h 82533"/>
                    <a:gd name="connsiteX15" fmla="*/ 21650 w 57773"/>
                    <a:gd name="connsiteY15" fmla="*/ 13696 h 82533"/>
                    <a:gd name="connsiteX16" fmla="*/ 21830 w 57773"/>
                    <a:gd name="connsiteY16" fmla="*/ 13815 h 82533"/>
                    <a:gd name="connsiteX17" fmla="*/ 21890 w 57773"/>
                    <a:gd name="connsiteY17" fmla="*/ 13875 h 82533"/>
                    <a:gd name="connsiteX18" fmla="*/ 22069 w 57773"/>
                    <a:gd name="connsiteY18" fmla="*/ 13995 h 82533"/>
                    <a:gd name="connsiteX19" fmla="*/ 22787 w 57773"/>
                    <a:gd name="connsiteY19" fmla="*/ 14533 h 82533"/>
                    <a:gd name="connsiteX20" fmla="*/ 24222 w 57773"/>
                    <a:gd name="connsiteY20" fmla="*/ 15669 h 82533"/>
                    <a:gd name="connsiteX21" fmla="*/ 40071 w 57773"/>
                    <a:gd name="connsiteY21" fmla="*/ 29485 h 82533"/>
                    <a:gd name="connsiteX22" fmla="*/ 48145 w 57773"/>
                    <a:gd name="connsiteY22" fmla="*/ 38994 h 82533"/>
                    <a:gd name="connsiteX23" fmla="*/ 50836 w 57773"/>
                    <a:gd name="connsiteY23" fmla="*/ 42942 h 82533"/>
                    <a:gd name="connsiteX24" fmla="*/ 54305 w 57773"/>
                    <a:gd name="connsiteY24" fmla="*/ 50537 h 82533"/>
                    <a:gd name="connsiteX25" fmla="*/ 56159 w 57773"/>
                    <a:gd name="connsiteY25" fmla="*/ 55082 h 82533"/>
                    <a:gd name="connsiteX26" fmla="*/ 57355 w 57773"/>
                    <a:gd name="connsiteY26" fmla="*/ 60286 h 82533"/>
                    <a:gd name="connsiteX27" fmla="*/ 57654 w 57773"/>
                    <a:gd name="connsiteY27" fmla="*/ 66565 h 82533"/>
                    <a:gd name="connsiteX28" fmla="*/ 57774 w 57773"/>
                    <a:gd name="connsiteY28" fmla="*/ 73383 h 82533"/>
                    <a:gd name="connsiteX29" fmla="*/ 57116 w 57773"/>
                    <a:gd name="connsiteY29" fmla="*/ 78048 h 82533"/>
                    <a:gd name="connsiteX30" fmla="*/ 54604 w 57773"/>
                    <a:gd name="connsiteY30" fmla="*/ 82534 h 82533"/>
                    <a:gd name="connsiteX31" fmla="*/ 51614 w 57773"/>
                    <a:gd name="connsiteY31" fmla="*/ 82414 h 8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7773" h="82533">
                      <a:moveTo>
                        <a:pt x="0" y="0"/>
                      </a:moveTo>
                      <a:lnTo>
                        <a:pt x="1555" y="777"/>
                      </a:lnTo>
                      <a:lnTo>
                        <a:pt x="1555" y="777"/>
                      </a:lnTo>
                      <a:lnTo>
                        <a:pt x="1854" y="897"/>
                      </a:lnTo>
                      <a:lnTo>
                        <a:pt x="1973" y="957"/>
                      </a:lnTo>
                      <a:lnTo>
                        <a:pt x="3110" y="1495"/>
                      </a:lnTo>
                      <a:lnTo>
                        <a:pt x="3170" y="1495"/>
                      </a:lnTo>
                      <a:lnTo>
                        <a:pt x="3648" y="1734"/>
                      </a:lnTo>
                      <a:lnTo>
                        <a:pt x="5981" y="2871"/>
                      </a:lnTo>
                      <a:lnTo>
                        <a:pt x="10406" y="5084"/>
                      </a:lnTo>
                      <a:lnTo>
                        <a:pt x="11483" y="5622"/>
                      </a:lnTo>
                      <a:lnTo>
                        <a:pt x="12619" y="6519"/>
                      </a:lnTo>
                      <a:lnTo>
                        <a:pt x="12799" y="6639"/>
                      </a:lnTo>
                      <a:lnTo>
                        <a:pt x="12799" y="6639"/>
                      </a:lnTo>
                      <a:lnTo>
                        <a:pt x="13277" y="7057"/>
                      </a:lnTo>
                      <a:lnTo>
                        <a:pt x="21650" y="13696"/>
                      </a:lnTo>
                      <a:lnTo>
                        <a:pt x="21830" y="13815"/>
                      </a:lnTo>
                      <a:lnTo>
                        <a:pt x="21890" y="13875"/>
                      </a:lnTo>
                      <a:lnTo>
                        <a:pt x="22069" y="13995"/>
                      </a:lnTo>
                      <a:lnTo>
                        <a:pt x="22787" y="14533"/>
                      </a:lnTo>
                      <a:lnTo>
                        <a:pt x="24222" y="15669"/>
                      </a:lnTo>
                      <a:lnTo>
                        <a:pt x="40071" y="29485"/>
                      </a:lnTo>
                      <a:lnTo>
                        <a:pt x="48145" y="38994"/>
                      </a:lnTo>
                      <a:lnTo>
                        <a:pt x="50836" y="42942"/>
                      </a:lnTo>
                      <a:lnTo>
                        <a:pt x="54305" y="50537"/>
                      </a:lnTo>
                      <a:lnTo>
                        <a:pt x="56159" y="55082"/>
                      </a:lnTo>
                      <a:lnTo>
                        <a:pt x="57355" y="60286"/>
                      </a:lnTo>
                      <a:lnTo>
                        <a:pt x="57654" y="66565"/>
                      </a:lnTo>
                      <a:lnTo>
                        <a:pt x="57774" y="73383"/>
                      </a:lnTo>
                      <a:lnTo>
                        <a:pt x="57116" y="78048"/>
                      </a:lnTo>
                      <a:lnTo>
                        <a:pt x="54604" y="82534"/>
                      </a:lnTo>
                      <a:lnTo>
                        <a:pt x="51614" y="82414"/>
                      </a:lnTo>
                    </a:path>
                  </a:pathLst>
                </a:custGeom>
                <a:noFill/>
                <a:ln w="6350" cap="rnd">
                  <a:solidFill>
                    <a:schemeClr val="bg1">
                      <a:alpha val="40000"/>
                    </a:schemeClr>
                  </a:solidFill>
                  <a:prstDash val="solid"/>
                  <a:round/>
                </a:ln>
              </p:spPr>
              <p:txBody>
                <a:bodyPr rtlCol="0" anchor="ctr"/>
                <a:lstStyle/>
                <a:p>
                  <a:endParaRPr lang="en-GB"/>
                </a:p>
              </p:txBody>
            </p:sp>
            <p:sp>
              <p:nvSpPr>
                <p:cNvPr id="6417" name="Vrije vorm: vorm 6416">
                  <a:extLst>
                    <a:ext uri="{FF2B5EF4-FFF2-40B4-BE49-F238E27FC236}">
                      <a16:creationId xmlns:a16="http://schemas.microsoft.com/office/drawing/2014/main" id="{BD31D46B-441E-4DB4-B336-3D2510CE6776}"/>
                    </a:ext>
                  </a:extLst>
                </p:cNvPr>
                <p:cNvSpPr/>
                <p:nvPr/>
              </p:nvSpPr>
              <p:spPr>
                <a:xfrm>
                  <a:off x="6940588" y="2044011"/>
                  <a:ext cx="4605" cy="2870"/>
                </a:xfrm>
                <a:custGeom>
                  <a:avLst/>
                  <a:gdLst>
                    <a:gd name="connsiteX0" fmla="*/ 4605 w 4605"/>
                    <a:gd name="connsiteY0" fmla="*/ 2871 h 2870"/>
                    <a:gd name="connsiteX1" fmla="*/ 4306 w 4605"/>
                    <a:gd name="connsiteY1" fmla="*/ 2811 h 2870"/>
                    <a:gd name="connsiteX2" fmla="*/ 4306 w 4605"/>
                    <a:gd name="connsiteY2" fmla="*/ 2811 h 2870"/>
                    <a:gd name="connsiteX3" fmla="*/ 0 w 4605"/>
                    <a:gd name="connsiteY3" fmla="*/ 0 h 2870"/>
                  </a:gdLst>
                  <a:ahLst/>
                  <a:cxnLst>
                    <a:cxn ang="0">
                      <a:pos x="connsiteX0" y="connsiteY0"/>
                    </a:cxn>
                    <a:cxn ang="0">
                      <a:pos x="connsiteX1" y="connsiteY1"/>
                    </a:cxn>
                    <a:cxn ang="0">
                      <a:pos x="connsiteX2" y="connsiteY2"/>
                    </a:cxn>
                    <a:cxn ang="0">
                      <a:pos x="connsiteX3" y="connsiteY3"/>
                    </a:cxn>
                  </a:cxnLst>
                  <a:rect l="l" t="t" r="r" b="b"/>
                  <a:pathLst>
                    <a:path w="4605" h="2870">
                      <a:moveTo>
                        <a:pt x="4605" y="2871"/>
                      </a:moveTo>
                      <a:lnTo>
                        <a:pt x="4306" y="2811"/>
                      </a:lnTo>
                      <a:lnTo>
                        <a:pt x="4306" y="2811"/>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18" name="Vrije vorm: vorm 6417">
                  <a:extLst>
                    <a:ext uri="{FF2B5EF4-FFF2-40B4-BE49-F238E27FC236}">
                      <a16:creationId xmlns:a16="http://schemas.microsoft.com/office/drawing/2014/main" id="{0564343C-8655-4A90-BF30-0D08DD36EAA2}"/>
                    </a:ext>
                  </a:extLst>
                </p:cNvPr>
                <p:cNvSpPr/>
                <p:nvPr/>
              </p:nvSpPr>
              <p:spPr>
                <a:xfrm>
                  <a:off x="7082091" y="1879482"/>
                  <a:ext cx="478" cy="1136"/>
                </a:xfrm>
                <a:custGeom>
                  <a:avLst/>
                  <a:gdLst>
                    <a:gd name="connsiteX0" fmla="*/ 0 w 478"/>
                    <a:gd name="connsiteY0" fmla="*/ 0 h 1136"/>
                    <a:gd name="connsiteX1" fmla="*/ 479 w 478"/>
                    <a:gd name="connsiteY1" fmla="*/ 359 h 1136"/>
                    <a:gd name="connsiteX2" fmla="*/ 180 w 478"/>
                    <a:gd name="connsiteY2" fmla="*/ 837 h 1136"/>
                    <a:gd name="connsiteX3" fmla="*/ 180 w 478"/>
                    <a:gd name="connsiteY3" fmla="*/ 837 h 1136"/>
                    <a:gd name="connsiteX4" fmla="*/ 60 w 478"/>
                    <a:gd name="connsiteY4" fmla="*/ 1017 h 1136"/>
                    <a:gd name="connsiteX5" fmla="*/ 60 w 478"/>
                    <a:gd name="connsiteY5" fmla="*/ 1017 h 1136"/>
                    <a:gd name="connsiteX6" fmla="*/ 0 w 478"/>
                    <a:gd name="connsiteY6" fmla="*/ 1136 h 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 h="1136">
                      <a:moveTo>
                        <a:pt x="0" y="0"/>
                      </a:moveTo>
                      <a:lnTo>
                        <a:pt x="479" y="359"/>
                      </a:lnTo>
                      <a:lnTo>
                        <a:pt x="180" y="837"/>
                      </a:lnTo>
                      <a:lnTo>
                        <a:pt x="180" y="837"/>
                      </a:lnTo>
                      <a:lnTo>
                        <a:pt x="60" y="1017"/>
                      </a:lnTo>
                      <a:lnTo>
                        <a:pt x="60" y="1017"/>
                      </a:lnTo>
                      <a:lnTo>
                        <a:pt x="0" y="1136"/>
                      </a:lnTo>
                    </a:path>
                  </a:pathLst>
                </a:custGeom>
                <a:noFill/>
                <a:ln w="6350" cap="rnd">
                  <a:solidFill>
                    <a:schemeClr val="bg1">
                      <a:alpha val="40000"/>
                    </a:schemeClr>
                  </a:solidFill>
                  <a:prstDash val="solid"/>
                  <a:round/>
                </a:ln>
              </p:spPr>
              <p:txBody>
                <a:bodyPr rtlCol="0" anchor="ctr"/>
                <a:lstStyle/>
                <a:p>
                  <a:endParaRPr lang="en-GB"/>
                </a:p>
              </p:txBody>
            </p:sp>
            <p:sp>
              <p:nvSpPr>
                <p:cNvPr id="6419" name="Vrije vorm: vorm 6418">
                  <a:extLst>
                    <a:ext uri="{FF2B5EF4-FFF2-40B4-BE49-F238E27FC236}">
                      <a16:creationId xmlns:a16="http://schemas.microsoft.com/office/drawing/2014/main" id="{8CE98009-6F26-4602-8432-16A7E25E37C8}"/>
                    </a:ext>
                  </a:extLst>
                </p:cNvPr>
                <p:cNvSpPr/>
                <p:nvPr/>
              </p:nvSpPr>
              <p:spPr>
                <a:xfrm>
                  <a:off x="7081912" y="1880439"/>
                  <a:ext cx="178" cy="119"/>
                </a:xfrm>
                <a:custGeom>
                  <a:avLst/>
                  <a:gdLst>
                    <a:gd name="connsiteX0" fmla="*/ 0 w 178"/>
                    <a:gd name="connsiteY0" fmla="*/ 0 h 119"/>
                    <a:gd name="connsiteX1" fmla="*/ 179 w 178"/>
                    <a:gd name="connsiteY1" fmla="*/ 120 h 119"/>
                    <a:gd name="connsiteX2" fmla="*/ 0 w 178"/>
                    <a:gd name="connsiteY2" fmla="*/ 0 h 119"/>
                  </a:gdLst>
                  <a:ahLst/>
                  <a:cxnLst>
                    <a:cxn ang="0">
                      <a:pos x="connsiteX0" y="connsiteY0"/>
                    </a:cxn>
                    <a:cxn ang="0">
                      <a:pos x="connsiteX1" y="connsiteY1"/>
                    </a:cxn>
                    <a:cxn ang="0">
                      <a:pos x="connsiteX2" y="connsiteY2"/>
                    </a:cxn>
                  </a:cxnLst>
                  <a:rect l="l" t="t" r="r" b="b"/>
                  <a:pathLst>
                    <a:path w="178" h="119">
                      <a:moveTo>
                        <a:pt x="0" y="0"/>
                      </a:moveTo>
                      <a:lnTo>
                        <a:pt x="179"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20" name="Vrije vorm: vorm 6419">
                  <a:extLst>
                    <a:ext uri="{FF2B5EF4-FFF2-40B4-BE49-F238E27FC236}">
                      <a16:creationId xmlns:a16="http://schemas.microsoft.com/office/drawing/2014/main" id="{D11EDFF1-4AEF-4E5E-A0D9-64E384F137E7}"/>
                    </a:ext>
                  </a:extLst>
                </p:cNvPr>
                <p:cNvSpPr/>
                <p:nvPr/>
              </p:nvSpPr>
              <p:spPr>
                <a:xfrm>
                  <a:off x="6992799" y="1837198"/>
                  <a:ext cx="4365" cy="7416"/>
                </a:xfrm>
                <a:custGeom>
                  <a:avLst/>
                  <a:gdLst>
                    <a:gd name="connsiteX0" fmla="*/ 0 w 4365"/>
                    <a:gd name="connsiteY0" fmla="*/ 7416 h 7416"/>
                    <a:gd name="connsiteX1" fmla="*/ 60 w 4365"/>
                    <a:gd name="connsiteY1" fmla="*/ 7177 h 7416"/>
                    <a:gd name="connsiteX2" fmla="*/ 778 w 4365"/>
                    <a:gd name="connsiteY2" fmla="*/ 5981 h 7416"/>
                    <a:gd name="connsiteX3" fmla="*/ 3588 w 4365"/>
                    <a:gd name="connsiteY3" fmla="*/ 1256 h 7416"/>
                    <a:gd name="connsiteX4" fmla="*/ 4186 w 4365"/>
                    <a:gd name="connsiteY4" fmla="*/ 180 h 7416"/>
                    <a:gd name="connsiteX5" fmla="*/ 4366 w 4365"/>
                    <a:gd name="connsiteY5" fmla="*/ 0 h 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65" h="7416">
                      <a:moveTo>
                        <a:pt x="0" y="7416"/>
                      </a:moveTo>
                      <a:lnTo>
                        <a:pt x="60" y="7177"/>
                      </a:lnTo>
                      <a:lnTo>
                        <a:pt x="778" y="5981"/>
                      </a:lnTo>
                      <a:lnTo>
                        <a:pt x="3588" y="1256"/>
                      </a:lnTo>
                      <a:lnTo>
                        <a:pt x="4186" y="180"/>
                      </a:lnTo>
                      <a:lnTo>
                        <a:pt x="4366" y="0"/>
                      </a:lnTo>
                    </a:path>
                  </a:pathLst>
                </a:custGeom>
                <a:noFill/>
                <a:ln w="6350" cap="rnd">
                  <a:solidFill>
                    <a:schemeClr val="bg1">
                      <a:alpha val="40000"/>
                    </a:schemeClr>
                  </a:solidFill>
                  <a:prstDash val="solid"/>
                  <a:round/>
                </a:ln>
              </p:spPr>
              <p:txBody>
                <a:bodyPr rtlCol="0" anchor="ctr"/>
                <a:lstStyle/>
                <a:p>
                  <a:endParaRPr lang="en-GB"/>
                </a:p>
              </p:txBody>
            </p:sp>
            <p:sp>
              <p:nvSpPr>
                <p:cNvPr id="6421" name="Vrije vorm: vorm 6420">
                  <a:extLst>
                    <a:ext uri="{FF2B5EF4-FFF2-40B4-BE49-F238E27FC236}">
                      <a16:creationId xmlns:a16="http://schemas.microsoft.com/office/drawing/2014/main" id="{B714679E-E1DF-4902-B84D-DD83D1D691DC}"/>
                    </a:ext>
                  </a:extLst>
                </p:cNvPr>
                <p:cNvSpPr/>
                <p:nvPr/>
              </p:nvSpPr>
              <p:spPr>
                <a:xfrm>
                  <a:off x="6752793" y="1964229"/>
                  <a:ext cx="10705" cy="27571"/>
                </a:xfrm>
                <a:custGeom>
                  <a:avLst/>
                  <a:gdLst>
                    <a:gd name="connsiteX0" fmla="*/ 4725 w 10705"/>
                    <a:gd name="connsiteY0" fmla="*/ 27571 h 27571"/>
                    <a:gd name="connsiteX1" fmla="*/ 3947 w 10705"/>
                    <a:gd name="connsiteY1" fmla="*/ 25119 h 27571"/>
                    <a:gd name="connsiteX2" fmla="*/ 3887 w 10705"/>
                    <a:gd name="connsiteY2" fmla="*/ 24880 h 27571"/>
                    <a:gd name="connsiteX3" fmla="*/ 3828 w 10705"/>
                    <a:gd name="connsiteY3" fmla="*/ 24641 h 27571"/>
                    <a:gd name="connsiteX4" fmla="*/ 3648 w 10705"/>
                    <a:gd name="connsiteY4" fmla="*/ 24043 h 27571"/>
                    <a:gd name="connsiteX5" fmla="*/ 3229 w 10705"/>
                    <a:gd name="connsiteY5" fmla="*/ 23385 h 27571"/>
                    <a:gd name="connsiteX6" fmla="*/ 359 w 10705"/>
                    <a:gd name="connsiteY6" fmla="*/ 18779 h 27571"/>
                    <a:gd name="connsiteX7" fmla="*/ 179 w 10705"/>
                    <a:gd name="connsiteY7" fmla="*/ 16806 h 27571"/>
                    <a:gd name="connsiteX8" fmla="*/ 60 w 10705"/>
                    <a:gd name="connsiteY8" fmla="*/ 15669 h 27571"/>
                    <a:gd name="connsiteX9" fmla="*/ 0 w 10705"/>
                    <a:gd name="connsiteY9" fmla="*/ 14832 h 27571"/>
                    <a:gd name="connsiteX10" fmla="*/ 0 w 10705"/>
                    <a:gd name="connsiteY10" fmla="*/ 14713 h 27571"/>
                    <a:gd name="connsiteX11" fmla="*/ 718 w 10705"/>
                    <a:gd name="connsiteY11" fmla="*/ 11842 h 27571"/>
                    <a:gd name="connsiteX12" fmla="*/ 837 w 10705"/>
                    <a:gd name="connsiteY12" fmla="*/ 11363 h 27571"/>
                    <a:gd name="connsiteX13" fmla="*/ 1196 w 10705"/>
                    <a:gd name="connsiteY13" fmla="*/ 9928 h 27571"/>
                    <a:gd name="connsiteX14" fmla="*/ 1794 w 10705"/>
                    <a:gd name="connsiteY14" fmla="*/ 7596 h 27571"/>
                    <a:gd name="connsiteX15" fmla="*/ 1914 w 10705"/>
                    <a:gd name="connsiteY15" fmla="*/ 7057 h 27571"/>
                    <a:gd name="connsiteX16" fmla="*/ 2512 w 10705"/>
                    <a:gd name="connsiteY16" fmla="*/ 5383 h 27571"/>
                    <a:gd name="connsiteX17" fmla="*/ 2871 w 10705"/>
                    <a:gd name="connsiteY17" fmla="*/ 4366 h 27571"/>
                    <a:gd name="connsiteX18" fmla="*/ 2990 w 10705"/>
                    <a:gd name="connsiteY18" fmla="*/ 4007 h 27571"/>
                    <a:gd name="connsiteX19" fmla="*/ 3469 w 10705"/>
                    <a:gd name="connsiteY19" fmla="*/ 2632 h 27571"/>
                    <a:gd name="connsiteX20" fmla="*/ 3648 w 10705"/>
                    <a:gd name="connsiteY20" fmla="*/ 2093 h 27571"/>
                    <a:gd name="connsiteX21" fmla="*/ 4067 w 10705"/>
                    <a:gd name="connsiteY21" fmla="*/ 897 h 27571"/>
                    <a:gd name="connsiteX22" fmla="*/ 4306 w 10705"/>
                    <a:gd name="connsiteY22" fmla="*/ 239 h 27571"/>
                    <a:gd name="connsiteX23" fmla="*/ 4665 w 10705"/>
                    <a:gd name="connsiteY23" fmla="*/ 179 h 27571"/>
                    <a:gd name="connsiteX24" fmla="*/ 4844 w 10705"/>
                    <a:gd name="connsiteY24" fmla="*/ 120 h 27571"/>
                    <a:gd name="connsiteX25" fmla="*/ 5562 w 10705"/>
                    <a:gd name="connsiteY25" fmla="*/ 0 h 27571"/>
                    <a:gd name="connsiteX26" fmla="*/ 6878 w 10705"/>
                    <a:gd name="connsiteY26" fmla="*/ 419 h 27571"/>
                    <a:gd name="connsiteX27" fmla="*/ 7476 w 10705"/>
                    <a:gd name="connsiteY27" fmla="*/ 598 h 27571"/>
                    <a:gd name="connsiteX28" fmla="*/ 8014 w 10705"/>
                    <a:gd name="connsiteY28" fmla="*/ 778 h 27571"/>
                    <a:gd name="connsiteX29" fmla="*/ 10406 w 10705"/>
                    <a:gd name="connsiteY29" fmla="*/ 1555 h 27571"/>
                    <a:gd name="connsiteX30" fmla="*/ 10705 w 10705"/>
                    <a:gd name="connsiteY30" fmla="*/ 1615 h 27571"/>
                    <a:gd name="connsiteX31" fmla="*/ 10586 w 10705"/>
                    <a:gd name="connsiteY31" fmla="*/ 1914 h 27571"/>
                    <a:gd name="connsiteX32" fmla="*/ 10227 w 10705"/>
                    <a:gd name="connsiteY32" fmla="*/ 2990 h 27571"/>
                    <a:gd name="connsiteX33" fmla="*/ 10167 w 10705"/>
                    <a:gd name="connsiteY33" fmla="*/ 3170 h 27571"/>
                    <a:gd name="connsiteX34" fmla="*/ 9629 w 10705"/>
                    <a:gd name="connsiteY34" fmla="*/ 4785 h 27571"/>
                    <a:gd name="connsiteX35" fmla="*/ 9031 w 10705"/>
                    <a:gd name="connsiteY35" fmla="*/ 6579 h 27571"/>
                    <a:gd name="connsiteX36" fmla="*/ 8911 w 10705"/>
                    <a:gd name="connsiteY36" fmla="*/ 7476 h 27571"/>
                    <a:gd name="connsiteX37" fmla="*/ 8851 w 10705"/>
                    <a:gd name="connsiteY37" fmla="*/ 8074 h 27571"/>
                    <a:gd name="connsiteX38" fmla="*/ 8851 w 10705"/>
                    <a:gd name="connsiteY38" fmla="*/ 8253 h 27571"/>
                    <a:gd name="connsiteX39" fmla="*/ 8732 w 10705"/>
                    <a:gd name="connsiteY39" fmla="*/ 9450 h 27571"/>
                    <a:gd name="connsiteX40" fmla="*/ 8672 w 10705"/>
                    <a:gd name="connsiteY40" fmla="*/ 9988 h 27571"/>
                    <a:gd name="connsiteX41" fmla="*/ 8493 w 10705"/>
                    <a:gd name="connsiteY41" fmla="*/ 11543 h 2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705" h="27571">
                      <a:moveTo>
                        <a:pt x="4725" y="27571"/>
                      </a:moveTo>
                      <a:lnTo>
                        <a:pt x="3947" y="25119"/>
                      </a:lnTo>
                      <a:lnTo>
                        <a:pt x="3887" y="24880"/>
                      </a:lnTo>
                      <a:lnTo>
                        <a:pt x="3828" y="24641"/>
                      </a:lnTo>
                      <a:lnTo>
                        <a:pt x="3648" y="24043"/>
                      </a:lnTo>
                      <a:lnTo>
                        <a:pt x="3229" y="23385"/>
                      </a:lnTo>
                      <a:lnTo>
                        <a:pt x="359" y="18779"/>
                      </a:lnTo>
                      <a:lnTo>
                        <a:pt x="179" y="16806"/>
                      </a:lnTo>
                      <a:lnTo>
                        <a:pt x="60" y="15669"/>
                      </a:lnTo>
                      <a:lnTo>
                        <a:pt x="0" y="14832"/>
                      </a:lnTo>
                      <a:lnTo>
                        <a:pt x="0" y="14713"/>
                      </a:lnTo>
                      <a:lnTo>
                        <a:pt x="718" y="11842"/>
                      </a:lnTo>
                      <a:lnTo>
                        <a:pt x="837" y="11363"/>
                      </a:lnTo>
                      <a:lnTo>
                        <a:pt x="1196" y="9928"/>
                      </a:lnTo>
                      <a:lnTo>
                        <a:pt x="1794" y="7596"/>
                      </a:lnTo>
                      <a:lnTo>
                        <a:pt x="1914" y="7057"/>
                      </a:lnTo>
                      <a:lnTo>
                        <a:pt x="2512" y="5383"/>
                      </a:lnTo>
                      <a:lnTo>
                        <a:pt x="2871" y="4366"/>
                      </a:lnTo>
                      <a:lnTo>
                        <a:pt x="2990" y="4007"/>
                      </a:lnTo>
                      <a:lnTo>
                        <a:pt x="3469" y="2632"/>
                      </a:lnTo>
                      <a:lnTo>
                        <a:pt x="3648" y="2093"/>
                      </a:lnTo>
                      <a:lnTo>
                        <a:pt x="4067" y="897"/>
                      </a:lnTo>
                      <a:lnTo>
                        <a:pt x="4306" y="239"/>
                      </a:lnTo>
                      <a:lnTo>
                        <a:pt x="4665" y="179"/>
                      </a:lnTo>
                      <a:lnTo>
                        <a:pt x="4844" y="120"/>
                      </a:lnTo>
                      <a:lnTo>
                        <a:pt x="5562" y="0"/>
                      </a:lnTo>
                      <a:lnTo>
                        <a:pt x="6878" y="419"/>
                      </a:lnTo>
                      <a:lnTo>
                        <a:pt x="7476" y="598"/>
                      </a:lnTo>
                      <a:lnTo>
                        <a:pt x="8014" y="778"/>
                      </a:lnTo>
                      <a:lnTo>
                        <a:pt x="10406" y="1555"/>
                      </a:lnTo>
                      <a:lnTo>
                        <a:pt x="10705" y="1615"/>
                      </a:lnTo>
                      <a:lnTo>
                        <a:pt x="10586" y="1914"/>
                      </a:lnTo>
                      <a:lnTo>
                        <a:pt x="10227" y="2990"/>
                      </a:lnTo>
                      <a:lnTo>
                        <a:pt x="10167" y="3170"/>
                      </a:lnTo>
                      <a:lnTo>
                        <a:pt x="9629" y="4785"/>
                      </a:lnTo>
                      <a:lnTo>
                        <a:pt x="9031" y="6579"/>
                      </a:lnTo>
                      <a:lnTo>
                        <a:pt x="8911" y="7476"/>
                      </a:lnTo>
                      <a:lnTo>
                        <a:pt x="8851" y="8074"/>
                      </a:lnTo>
                      <a:lnTo>
                        <a:pt x="8851" y="8253"/>
                      </a:lnTo>
                      <a:lnTo>
                        <a:pt x="8732" y="9450"/>
                      </a:lnTo>
                      <a:lnTo>
                        <a:pt x="8672" y="9988"/>
                      </a:lnTo>
                      <a:lnTo>
                        <a:pt x="8493" y="11543"/>
                      </a:lnTo>
                    </a:path>
                  </a:pathLst>
                </a:custGeom>
                <a:noFill/>
                <a:ln w="6350" cap="rnd">
                  <a:solidFill>
                    <a:schemeClr val="bg1">
                      <a:alpha val="40000"/>
                    </a:schemeClr>
                  </a:solidFill>
                  <a:prstDash val="solid"/>
                  <a:round/>
                </a:ln>
              </p:spPr>
              <p:txBody>
                <a:bodyPr rtlCol="0" anchor="ctr"/>
                <a:lstStyle/>
                <a:p>
                  <a:endParaRPr lang="en-GB"/>
                </a:p>
              </p:txBody>
            </p:sp>
            <p:sp>
              <p:nvSpPr>
                <p:cNvPr id="6422" name="Vrije vorm: vorm 6421">
                  <a:extLst>
                    <a:ext uri="{FF2B5EF4-FFF2-40B4-BE49-F238E27FC236}">
                      <a16:creationId xmlns:a16="http://schemas.microsoft.com/office/drawing/2014/main" id="{117998DA-60E3-4E78-AF7C-394D668C3F13}"/>
                    </a:ext>
                  </a:extLst>
                </p:cNvPr>
                <p:cNvSpPr/>
                <p:nvPr/>
              </p:nvSpPr>
              <p:spPr>
                <a:xfrm>
                  <a:off x="7078862" y="1891623"/>
                  <a:ext cx="1315" cy="1435"/>
                </a:xfrm>
                <a:custGeom>
                  <a:avLst/>
                  <a:gdLst>
                    <a:gd name="connsiteX0" fmla="*/ 299 w 1315"/>
                    <a:gd name="connsiteY0" fmla="*/ 0 h 1435"/>
                    <a:gd name="connsiteX1" fmla="*/ 1316 w 1315"/>
                    <a:gd name="connsiteY1" fmla="*/ 658 h 1435"/>
                    <a:gd name="connsiteX2" fmla="*/ 1016 w 1315"/>
                    <a:gd name="connsiteY2" fmla="*/ 1435 h 1435"/>
                    <a:gd name="connsiteX3" fmla="*/ 0 w 1315"/>
                    <a:gd name="connsiteY3" fmla="*/ 837 h 1435"/>
                  </a:gdLst>
                  <a:ahLst/>
                  <a:cxnLst>
                    <a:cxn ang="0">
                      <a:pos x="connsiteX0" y="connsiteY0"/>
                    </a:cxn>
                    <a:cxn ang="0">
                      <a:pos x="connsiteX1" y="connsiteY1"/>
                    </a:cxn>
                    <a:cxn ang="0">
                      <a:pos x="connsiteX2" y="connsiteY2"/>
                    </a:cxn>
                    <a:cxn ang="0">
                      <a:pos x="connsiteX3" y="connsiteY3"/>
                    </a:cxn>
                  </a:cxnLst>
                  <a:rect l="l" t="t" r="r" b="b"/>
                  <a:pathLst>
                    <a:path w="1315" h="1435">
                      <a:moveTo>
                        <a:pt x="299" y="0"/>
                      </a:moveTo>
                      <a:lnTo>
                        <a:pt x="1316" y="658"/>
                      </a:lnTo>
                      <a:lnTo>
                        <a:pt x="1016" y="1435"/>
                      </a:lnTo>
                      <a:lnTo>
                        <a:pt x="0" y="837"/>
                      </a:lnTo>
                    </a:path>
                  </a:pathLst>
                </a:custGeom>
                <a:noFill/>
                <a:ln w="6350" cap="rnd">
                  <a:solidFill>
                    <a:schemeClr val="bg1">
                      <a:alpha val="40000"/>
                    </a:schemeClr>
                  </a:solidFill>
                  <a:prstDash val="solid"/>
                  <a:round/>
                </a:ln>
              </p:spPr>
              <p:txBody>
                <a:bodyPr rtlCol="0" anchor="ctr"/>
                <a:lstStyle/>
                <a:p>
                  <a:endParaRPr lang="en-GB"/>
                </a:p>
              </p:txBody>
            </p:sp>
            <p:sp>
              <p:nvSpPr>
                <p:cNvPr id="6423" name="Vrije vorm: vorm 6422">
                  <a:extLst>
                    <a:ext uri="{FF2B5EF4-FFF2-40B4-BE49-F238E27FC236}">
                      <a16:creationId xmlns:a16="http://schemas.microsoft.com/office/drawing/2014/main" id="{90DFE1F6-C725-4E3A-8DB8-EFA38A6CE063}"/>
                    </a:ext>
                  </a:extLst>
                </p:cNvPr>
                <p:cNvSpPr/>
                <p:nvPr/>
              </p:nvSpPr>
              <p:spPr>
                <a:xfrm>
                  <a:off x="6904404" y="1869554"/>
                  <a:ext cx="24102" cy="15370"/>
                </a:xfrm>
                <a:custGeom>
                  <a:avLst/>
                  <a:gdLst>
                    <a:gd name="connsiteX0" fmla="*/ 21352 w 24102"/>
                    <a:gd name="connsiteY0" fmla="*/ 15370 h 15370"/>
                    <a:gd name="connsiteX1" fmla="*/ 21292 w 24102"/>
                    <a:gd name="connsiteY1" fmla="*/ 15370 h 15370"/>
                    <a:gd name="connsiteX2" fmla="*/ 20275 w 24102"/>
                    <a:gd name="connsiteY2" fmla="*/ 14952 h 15370"/>
                    <a:gd name="connsiteX3" fmla="*/ 19198 w 24102"/>
                    <a:gd name="connsiteY3" fmla="*/ 14533 h 15370"/>
                    <a:gd name="connsiteX4" fmla="*/ 19079 w 24102"/>
                    <a:gd name="connsiteY4" fmla="*/ 14473 h 15370"/>
                    <a:gd name="connsiteX5" fmla="*/ 18839 w 24102"/>
                    <a:gd name="connsiteY5" fmla="*/ 14354 h 15370"/>
                    <a:gd name="connsiteX6" fmla="*/ 18480 w 24102"/>
                    <a:gd name="connsiteY6" fmla="*/ 14234 h 15370"/>
                    <a:gd name="connsiteX7" fmla="*/ 18301 w 24102"/>
                    <a:gd name="connsiteY7" fmla="*/ 14174 h 15370"/>
                    <a:gd name="connsiteX8" fmla="*/ 17464 w 24102"/>
                    <a:gd name="connsiteY8" fmla="*/ 13875 h 15370"/>
                    <a:gd name="connsiteX9" fmla="*/ 17404 w 24102"/>
                    <a:gd name="connsiteY9" fmla="*/ 13875 h 15370"/>
                    <a:gd name="connsiteX10" fmla="*/ 16327 w 24102"/>
                    <a:gd name="connsiteY10" fmla="*/ 13457 h 15370"/>
                    <a:gd name="connsiteX11" fmla="*/ 16267 w 24102"/>
                    <a:gd name="connsiteY11" fmla="*/ 13457 h 15370"/>
                    <a:gd name="connsiteX12" fmla="*/ 14593 w 24102"/>
                    <a:gd name="connsiteY12" fmla="*/ 12799 h 15370"/>
                    <a:gd name="connsiteX13" fmla="*/ 13756 w 24102"/>
                    <a:gd name="connsiteY13" fmla="*/ 12440 h 15370"/>
                    <a:gd name="connsiteX14" fmla="*/ 8911 w 24102"/>
                    <a:gd name="connsiteY14" fmla="*/ 10765 h 15370"/>
                    <a:gd name="connsiteX15" fmla="*/ 8134 w 24102"/>
                    <a:gd name="connsiteY15" fmla="*/ 10466 h 15370"/>
                    <a:gd name="connsiteX16" fmla="*/ 6938 w 24102"/>
                    <a:gd name="connsiteY16" fmla="*/ 10048 h 15370"/>
                    <a:gd name="connsiteX17" fmla="*/ 0 w 24102"/>
                    <a:gd name="connsiteY17" fmla="*/ 7356 h 15370"/>
                    <a:gd name="connsiteX18" fmla="*/ 1495 w 24102"/>
                    <a:gd name="connsiteY18" fmla="*/ 4486 h 15370"/>
                    <a:gd name="connsiteX19" fmla="*/ 2093 w 24102"/>
                    <a:gd name="connsiteY19" fmla="*/ 3349 h 15370"/>
                    <a:gd name="connsiteX20" fmla="*/ 2093 w 24102"/>
                    <a:gd name="connsiteY20" fmla="*/ 3230 h 15370"/>
                    <a:gd name="connsiteX21" fmla="*/ 2811 w 24102"/>
                    <a:gd name="connsiteY21" fmla="*/ 0 h 15370"/>
                    <a:gd name="connsiteX22" fmla="*/ 4186 w 24102"/>
                    <a:gd name="connsiteY22" fmla="*/ 538 h 15370"/>
                    <a:gd name="connsiteX23" fmla="*/ 4964 w 24102"/>
                    <a:gd name="connsiteY23" fmla="*/ 837 h 15370"/>
                    <a:gd name="connsiteX24" fmla="*/ 5921 w 24102"/>
                    <a:gd name="connsiteY24" fmla="*/ 1196 h 15370"/>
                    <a:gd name="connsiteX25" fmla="*/ 7715 w 24102"/>
                    <a:gd name="connsiteY25" fmla="*/ 1854 h 15370"/>
                    <a:gd name="connsiteX26" fmla="*/ 8553 w 24102"/>
                    <a:gd name="connsiteY26" fmla="*/ 2153 h 15370"/>
                    <a:gd name="connsiteX27" fmla="*/ 9270 w 24102"/>
                    <a:gd name="connsiteY27" fmla="*/ 2392 h 15370"/>
                    <a:gd name="connsiteX28" fmla="*/ 11064 w 24102"/>
                    <a:gd name="connsiteY28" fmla="*/ 3110 h 15370"/>
                    <a:gd name="connsiteX29" fmla="*/ 12141 w 24102"/>
                    <a:gd name="connsiteY29" fmla="*/ 3529 h 15370"/>
                    <a:gd name="connsiteX30" fmla="*/ 14174 w 24102"/>
                    <a:gd name="connsiteY30" fmla="*/ 4366 h 15370"/>
                    <a:gd name="connsiteX31" fmla="*/ 14234 w 24102"/>
                    <a:gd name="connsiteY31" fmla="*/ 4366 h 15370"/>
                    <a:gd name="connsiteX32" fmla="*/ 16567 w 24102"/>
                    <a:gd name="connsiteY32" fmla="*/ 5323 h 15370"/>
                    <a:gd name="connsiteX33" fmla="*/ 17225 w 24102"/>
                    <a:gd name="connsiteY33" fmla="*/ 5562 h 15370"/>
                    <a:gd name="connsiteX34" fmla="*/ 17464 w 24102"/>
                    <a:gd name="connsiteY34" fmla="*/ 5682 h 15370"/>
                    <a:gd name="connsiteX35" fmla="*/ 19377 w 24102"/>
                    <a:gd name="connsiteY35" fmla="*/ 6399 h 15370"/>
                    <a:gd name="connsiteX36" fmla="*/ 19737 w 24102"/>
                    <a:gd name="connsiteY36" fmla="*/ 6519 h 15370"/>
                    <a:gd name="connsiteX37" fmla="*/ 21172 w 24102"/>
                    <a:gd name="connsiteY37" fmla="*/ 7057 h 15370"/>
                    <a:gd name="connsiteX38" fmla="*/ 21411 w 24102"/>
                    <a:gd name="connsiteY38" fmla="*/ 7117 h 15370"/>
                    <a:gd name="connsiteX39" fmla="*/ 21411 w 24102"/>
                    <a:gd name="connsiteY39" fmla="*/ 7117 h 15370"/>
                    <a:gd name="connsiteX40" fmla="*/ 22906 w 24102"/>
                    <a:gd name="connsiteY40" fmla="*/ 7715 h 15370"/>
                    <a:gd name="connsiteX41" fmla="*/ 23026 w 24102"/>
                    <a:gd name="connsiteY41" fmla="*/ 7775 h 15370"/>
                    <a:gd name="connsiteX42" fmla="*/ 24102 w 24102"/>
                    <a:gd name="connsiteY42" fmla="*/ 8194 h 15370"/>
                    <a:gd name="connsiteX43" fmla="*/ 21530 w 24102"/>
                    <a:gd name="connsiteY43" fmla="*/ 14892 h 15370"/>
                    <a:gd name="connsiteX44" fmla="*/ 21352 w 24102"/>
                    <a:gd name="connsiteY44" fmla="*/ 15370 h 1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102" h="15370">
                      <a:moveTo>
                        <a:pt x="21352" y="15370"/>
                      </a:moveTo>
                      <a:lnTo>
                        <a:pt x="21292" y="15370"/>
                      </a:lnTo>
                      <a:lnTo>
                        <a:pt x="20275" y="14952"/>
                      </a:lnTo>
                      <a:lnTo>
                        <a:pt x="19198" y="14533"/>
                      </a:lnTo>
                      <a:lnTo>
                        <a:pt x="19079" y="14473"/>
                      </a:lnTo>
                      <a:lnTo>
                        <a:pt x="18839" y="14354"/>
                      </a:lnTo>
                      <a:lnTo>
                        <a:pt x="18480" y="14234"/>
                      </a:lnTo>
                      <a:lnTo>
                        <a:pt x="18301" y="14174"/>
                      </a:lnTo>
                      <a:lnTo>
                        <a:pt x="17464" y="13875"/>
                      </a:lnTo>
                      <a:lnTo>
                        <a:pt x="17404" y="13875"/>
                      </a:lnTo>
                      <a:lnTo>
                        <a:pt x="16327" y="13457"/>
                      </a:lnTo>
                      <a:lnTo>
                        <a:pt x="16267" y="13457"/>
                      </a:lnTo>
                      <a:lnTo>
                        <a:pt x="14593" y="12799"/>
                      </a:lnTo>
                      <a:lnTo>
                        <a:pt x="13756" y="12440"/>
                      </a:lnTo>
                      <a:lnTo>
                        <a:pt x="8911" y="10765"/>
                      </a:lnTo>
                      <a:lnTo>
                        <a:pt x="8134" y="10466"/>
                      </a:lnTo>
                      <a:lnTo>
                        <a:pt x="6938" y="10048"/>
                      </a:lnTo>
                      <a:lnTo>
                        <a:pt x="0" y="7356"/>
                      </a:lnTo>
                      <a:lnTo>
                        <a:pt x="1495" y="4486"/>
                      </a:lnTo>
                      <a:lnTo>
                        <a:pt x="2093" y="3349"/>
                      </a:lnTo>
                      <a:lnTo>
                        <a:pt x="2093" y="3230"/>
                      </a:lnTo>
                      <a:lnTo>
                        <a:pt x="2811" y="0"/>
                      </a:lnTo>
                      <a:lnTo>
                        <a:pt x="4186" y="538"/>
                      </a:lnTo>
                      <a:lnTo>
                        <a:pt x="4964" y="837"/>
                      </a:lnTo>
                      <a:lnTo>
                        <a:pt x="5921" y="1196"/>
                      </a:lnTo>
                      <a:lnTo>
                        <a:pt x="7715" y="1854"/>
                      </a:lnTo>
                      <a:lnTo>
                        <a:pt x="8553" y="2153"/>
                      </a:lnTo>
                      <a:lnTo>
                        <a:pt x="9270" y="2392"/>
                      </a:lnTo>
                      <a:lnTo>
                        <a:pt x="11064" y="3110"/>
                      </a:lnTo>
                      <a:lnTo>
                        <a:pt x="12141" y="3529"/>
                      </a:lnTo>
                      <a:lnTo>
                        <a:pt x="14174" y="4366"/>
                      </a:lnTo>
                      <a:lnTo>
                        <a:pt x="14234" y="4366"/>
                      </a:lnTo>
                      <a:lnTo>
                        <a:pt x="16567" y="5323"/>
                      </a:lnTo>
                      <a:lnTo>
                        <a:pt x="17225" y="5562"/>
                      </a:lnTo>
                      <a:lnTo>
                        <a:pt x="17464" y="5682"/>
                      </a:lnTo>
                      <a:lnTo>
                        <a:pt x="19377" y="6399"/>
                      </a:lnTo>
                      <a:lnTo>
                        <a:pt x="19737" y="6519"/>
                      </a:lnTo>
                      <a:lnTo>
                        <a:pt x="21172" y="7057"/>
                      </a:lnTo>
                      <a:lnTo>
                        <a:pt x="21411" y="7117"/>
                      </a:lnTo>
                      <a:lnTo>
                        <a:pt x="21411" y="7117"/>
                      </a:lnTo>
                      <a:lnTo>
                        <a:pt x="22906" y="7715"/>
                      </a:lnTo>
                      <a:lnTo>
                        <a:pt x="23026" y="7775"/>
                      </a:lnTo>
                      <a:lnTo>
                        <a:pt x="24102" y="8194"/>
                      </a:lnTo>
                      <a:lnTo>
                        <a:pt x="21530" y="14892"/>
                      </a:lnTo>
                      <a:lnTo>
                        <a:pt x="21352" y="15370"/>
                      </a:lnTo>
                    </a:path>
                  </a:pathLst>
                </a:custGeom>
                <a:noFill/>
                <a:ln w="6350" cap="rnd">
                  <a:solidFill>
                    <a:schemeClr val="bg1">
                      <a:alpha val="40000"/>
                    </a:schemeClr>
                  </a:solidFill>
                  <a:prstDash val="solid"/>
                  <a:round/>
                </a:ln>
              </p:spPr>
              <p:txBody>
                <a:bodyPr rtlCol="0" anchor="ctr"/>
                <a:lstStyle/>
                <a:p>
                  <a:endParaRPr lang="en-GB"/>
                </a:p>
              </p:txBody>
            </p:sp>
            <p:sp>
              <p:nvSpPr>
                <p:cNvPr id="6424" name="Vrije vorm: vorm 6423">
                  <a:extLst>
                    <a:ext uri="{FF2B5EF4-FFF2-40B4-BE49-F238E27FC236}">
                      <a16:creationId xmlns:a16="http://schemas.microsoft.com/office/drawing/2014/main" id="{0F38101B-A7F4-4797-BF68-64889C1319F3}"/>
                    </a:ext>
                  </a:extLst>
                </p:cNvPr>
                <p:cNvSpPr/>
                <p:nvPr/>
              </p:nvSpPr>
              <p:spPr>
                <a:xfrm>
                  <a:off x="6746812" y="1882592"/>
                  <a:ext cx="13934" cy="11602"/>
                </a:xfrm>
                <a:custGeom>
                  <a:avLst/>
                  <a:gdLst>
                    <a:gd name="connsiteX0" fmla="*/ 5143 w 13934"/>
                    <a:gd name="connsiteY0" fmla="*/ 0 h 11602"/>
                    <a:gd name="connsiteX1" fmla="*/ 7177 w 13934"/>
                    <a:gd name="connsiteY1" fmla="*/ 1316 h 11602"/>
                    <a:gd name="connsiteX2" fmla="*/ 7715 w 13934"/>
                    <a:gd name="connsiteY2" fmla="*/ 1675 h 11602"/>
                    <a:gd name="connsiteX3" fmla="*/ 8074 w 13934"/>
                    <a:gd name="connsiteY3" fmla="*/ 1914 h 11602"/>
                    <a:gd name="connsiteX4" fmla="*/ 9449 w 13934"/>
                    <a:gd name="connsiteY4" fmla="*/ 2811 h 11602"/>
                    <a:gd name="connsiteX5" fmla="*/ 9509 w 13934"/>
                    <a:gd name="connsiteY5" fmla="*/ 2811 h 11602"/>
                    <a:gd name="connsiteX6" fmla="*/ 10048 w 13934"/>
                    <a:gd name="connsiteY6" fmla="*/ 3170 h 11602"/>
                    <a:gd name="connsiteX7" fmla="*/ 10825 w 13934"/>
                    <a:gd name="connsiteY7" fmla="*/ 3648 h 11602"/>
                    <a:gd name="connsiteX8" fmla="*/ 12380 w 13934"/>
                    <a:gd name="connsiteY8" fmla="*/ 4665 h 11602"/>
                    <a:gd name="connsiteX9" fmla="*/ 13935 w 13934"/>
                    <a:gd name="connsiteY9" fmla="*/ 5622 h 11602"/>
                    <a:gd name="connsiteX10" fmla="*/ 11483 w 13934"/>
                    <a:gd name="connsiteY10" fmla="*/ 8433 h 11602"/>
                    <a:gd name="connsiteX11" fmla="*/ 10466 w 13934"/>
                    <a:gd name="connsiteY11" fmla="*/ 9629 h 11602"/>
                    <a:gd name="connsiteX12" fmla="*/ 9569 w 13934"/>
                    <a:gd name="connsiteY12" fmla="*/ 10646 h 11602"/>
                    <a:gd name="connsiteX13" fmla="*/ 9449 w 13934"/>
                    <a:gd name="connsiteY13" fmla="*/ 10765 h 11602"/>
                    <a:gd name="connsiteX14" fmla="*/ 8851 w 13934"/>
                    <a:gd name="connsiteY14" fmla="*/ 11483 h 11602"/>
                    <a:gd name="connsiteX15" fmla="*/ 8732 w 13934"/>
                    <a:gd name="connsiteY15" fmla="*/ 11603 h 11602"/>
                    <a:gd name="connsiteX16" fmla="*/ 7356 w 13934"/>
                    <a:gd name="connsiteY16" fmla="*/ 10705 h 11602"/>
                    <a:gd name="connsiteX17" fmla="*/ 6639 w 13934"/>
                    <a:gd name="connsiteY17" fmla="*/ 10227 h 11602"/>
                    <a:gd name="connsiteX18" fmla="*/ 6579 w 13934"/>
                    <a:gd name="connsiteY18" fmla="*/ 10167 h 11602"/>
                    <a:gd name="connsiteX19" fmla="*/ 4426 w 13934"/>
                    <a:gd name="connsiteY19" fmla="*/ 8792 h 11602"/>
                    <a:gd name="connsiteX20" fmla="*/ 4366 w 13934"/>
                    <a:gd name="connsiteY20" fmla="*/ 8732 h 11602"/>
                    <a:gd name="connsiteX21" fmla="*/ 4306 w 13934"/>
                    <a:gd name="connsiteY21" fmla="*/ 8672 h 11602"/>
                    <a:gd name="connsiteX22" fmla="*/ 4127 w 13934"/>
                    <a:gd name="connsiteY22" fmla="*/ 8552 h 11602"/>
                    <a:gd name="connsiteX23" fmla="*/ 3947 w 13934"/>
                    <a:gd name="connsiteY23" fmla="*/ 8433 h 11602"/>
                    <a:gd name="connsiteX24" fmla="*/ 3349 w 13934"/>
                    <a:gd name="connsiteY24" fmla="*/ 8014 h 11602"/>
                    <a:gd name="connsiteX25" fmla="*/ 3229 w 13934"/>
                    <a:gd name="connsiteY25" fmla="*/ 7954 h 11602"/>
                    <a:gd name="connsiteX26" fmla="*/ 2871 w 13934"/>
                    <a:gd name="connsiteY26" fmla="*/ 7715 h 11602"/>
                    <a:gd name="connsiteX27" fmla="*/ 2811 w 13934"/>
                    <a:gd name="connsiteY27" fmla="*/ 7655 h 11602"/>
                    <a:gd name="connsiteX28" fmla="*/ 1973 w 13934"/>
                    <a:gd name="connsiteY28" fmla="*/ 7117 h 11602"/>
                    <a:gd name="connsiteX29" fmla="*/ 1316 w 13934"/>
                    <a:gd name="connsiteY29" fmla="*/ 6698 h 11602"/>
                    <a:gd name="connsiteX30" fmla="*/ 1256 w 13934"/>
                    <a:gd name="connsiteY30" fmla="*/ 6639 h 11602"/>
                    <a:gd name="connsiteX31" fmla="*/ 0 w 13934"/>
                    <a:gd name="connsiteY31" fmla="*/ 5801 h 11602"/>
                    <a:gd name="connsiteX32" fmla="*/ 837 w 13934"/>
                    <a:gd name="connsiteY32" fmla="*/ 4844 h 11602"/>
                    <a:gd name="connsiteX33" fmla="*/ 1256 w 13934"/>
                    <a:gd name="connsiteY33" fmla="*/ 4366 h 11602"/>
                    <a:gd name="connsiteX34" fmla="*/ 1734 w 13934"/>
                    <a:gd name="connsiteY34" fmla="*/ 3828 h 11602"/>
                    <a:gd name="connsiteX35" fmla="*/ 2273 w 13934"/>
                    <a:gd name="connsiteY35" fmla="*/ 3230 h 11602"/>
                    <a:gd name="connsiteX36" fmla="*/ 3409 w 13934"/>
                    <a:gd name="connsiteY36" fmla="*/ 1914 h 11602"/>
                    <a:gd name="connsiteX37" fmla="*/ 4306 w 13934"/>
                    <a:gd name="connsiteY37" fmla="*/ 957 h 11602"/>
                    <a:gd name="connsiteX38" fmla="*/ 4545 w 13934"/>
                    <a:gd name="connsiteY38" fmla="*/ 718 h 11602"/>
                    <a:gd name="connsiteX39" fmla="*/ 5143 w 13934"/>
                    <a:gd name="connsiteY39" fmla="*/ 0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934" h="11602">
                      <a:moveTo>
                        <a:pt x="5143" y="0"/>
                      </a:moveTo>
                      <a:lnTo>
                        <a:pt x="7177" y="1316"/>
                      </a:lnTo>
                      <a:lnTo>
                        <a:pt x="7715" y="1675"/>
                      </a:lnTo>
                      <a:lnTo>
                        <a:pt x="8074" y="1914"/>
                      </a:lnTo>
                      <a:lnTo>
                        <a:pt x="9449" y="2811"/>
                      </a:lnTo>
                      <a:lnTo>
                        <a:pt x="9509" y="2811"/>
                      </a:lnTo>
                      <a:lnTo>
                        <a:pt x="10048" y="3170"/>
                      </a:lnTo>
                      <a:lnTo>
                        <a:pt x="10825" y="3648"/>
                      </a:lnTo>
                      <a:lnTo>
                        <a:pt x="12380" y="4665"/>
                      </a:lnTo>
                      <a:lnTo>
                        <a:pt x="13935" y="5622"/>
                      </a:lnTo>
                      <a:lnTo>
                        <a:pt x="11483" y="8433"/>
                      </a:lnTo>
                      <a:lnTo>
                        <a:pt x="10466" y="9629"/>
                      </a:lnTo>
                      <a:lnTo>
                        <a:pt x="9569" y="10646"/>
                      </a:lnTo>
                      <a:lnTo>
                        <a:pt x="9449" y="10765"/>
                      </a:lnTo>
                      <a:lnTo>
                        <a:pt x="8851" y="11483"/>
                      </a:lnTo>
                      <a:lnTo>
                        <a:pt x="8732" y="11603"/>
                      </a:lnTo>
                      <a:lnTo>
                        <a:pt x="7356" y="10705"/>
                      </a:lnTo>
                      <a:lnTo>
                        <a:pt x="6639" y="10227"/>
                      </a:lnTo>
                      <a:lnTo>
                        <a:pt x="6579" y="10167"/>
                      </a:lnTo>
                      <a:lnTo>
                        <a:pt x="4426" y="8792"/>
                      </a:lnTo>
                      <a:lnTo>
                        <a:pt x="4366" y="8732"/>
                      </a:lnTo>
                      <a:lnTo>
                        <a:pt x="4306" y="8672"/>
                      </a:lnTo>
                      <a:lnTo>
                        <a:pt x="4127" y="8552"/>
                      </a:lnTo>
                      <a:lnTo>
                        <a:pt x="3947" y="8433"/>
                      </a:lnTo>
                      <a:lnTo>
                        <a:pt x="3349" y="8014"/>
                      </a:lnTo>
                      <a:lnTo>
                        <a:pt x="3229" y="7954"/>
                      </a:lnTo>
                      <a:lnTo>
                        <a:pt x="2871" y="7715"/>
                      </a:lnTo>
                      <a:lnTo>
                        <a:pt x="2811" y="7655"/>
                      </a:lnTo>
                      <a:lnTo>
                        <a:pt x="1973" y="7117"/>
                      </a:lnTo>
                      <a:lnTo>
                        <a:pt x="1316" y="6698"/>
                      </a:lnTo>
                      <a:lnTo>
                        <a:pt x="1256" y="6639"/>
                      </a:lnTo>
                      <a:lnTo>
                        <a:pt x="0" y="5801"/>
                      </a:lnTo>
                      <a:lnTo>
                        <a:pt x="837" y="4844"/>
                      </a:lnTo>
                      <a:lnTo>
                        <a:pt x="1256" y="4366"/>
                      </a:lnTo>
                      <a:lnTo>
                        <a:pt x="1734" y="3828"/>
                      </a:lnTo>
                      <a:lnTo>
                        <a:pt x="2273" y="3230"/>
                      </a:lnTo>
                      <a:lnTo>
                        <a:pt x="3409" y="1914"/>
                      </a:lnTo>
                      <a:lnTo>
                        <a:pt x="4306" y="957"/>
                      </a:lnTo>
                      <a:lnTo>
                        <a:pt x="4545" y="718"/>
                      </a:lnTo>
                      <a:lnTo>
                        <a:pt x="5143" y="0"/>
                      </a:lnTo>
                    </a:path>
                  </a:pathLst>
                </a:custGeom>
                <a:noFill/>
                <a:ln w="6350" cap="rnd">
                  <a:solidFill>
                    <a:schemeClr val="bg1">
                      <a:alpha val="40000"/>
                    </a:schemeClr>
                  </a:solidFill>
                  <a:prstDash val="solid"/>
                  <a:round/>
                </a:ln>
              </p:spPr>
              <p:txBody>
                <a:bodyPr rtlCol="0" anchor="ctr"/>
                <a:lstStyle/>
                <a:p>
                  <a:endParaRPr lang="en-GB"/>
                </a:p>
              </p:txBody>
            </p:sp>
            <p:sp>
              <p:nvSpPr>
                <p:cNvPr id="6425" name="Vrije vorm: vorm 6424">
                  <a:extLst>
                    <a:ext uri="{FF2B5EF4-FFF2-40B4-BE49-F238E27FC236}">
                      <a16:creationId xmlns:a16="http://schemas.microsoft.com/office/drawing/2014/main" id="{AF6BF000-D71E-463A-B27F-879D8AC2CDA9}"/>
                    </a:ext>
                  </a:extLst>
                </p:cNvPr>
                <p:cNvSpPr/>
                <p:nvPr/>
              </p:nvSpPr>
              <p:spPr>
                <a:xfrm>
                  <a:off x="7055717" y="1799400"/>
                  <a:ext cx="14772" cy="8492"/>
                </a:xfrm>
                <a:custGeom>
                  <a:avLst/>
                  <a:gdLst>
                    <a:gd name="connsiteX0" fmla="*/ 0 w 14772"/>
                    <a:gd name="connsiteY0" fmla="*/ 0 h 8492"/>
                    <a:gd name="connsiteX1" fmla="*/ 8732 w 14772"/>
                    <a:gd name="connsiteY1" fmla="*/ 4366 h 8492"/>
                    <a:gd name="connsiteX2" fmla="*/ 9629 w 14772"/>
                    <a:gd name="connsiteY2" fmla="*/ 4785 h 8492"/>
                    <a:gd name="connsiteX3" fmla="*/ 12380 w 14772"/>
                    <a:gd name="connsiteY3" fmla="*/ 6160 h 8492"/>
                    <a:gd name="connsiteX4" fmla="*/ 12858 w 14772"/>
                    <a:gd name="connsiteY4" fmla="*/ 6399 h 8492"/>
                    <a:gd name="connsiteX5" fmla="*/ 13157 w 14772"/>
                    <a:gd name="connsiteY5" fmla="*/ 6519 h 8492"/>
                    <a:gd name="connsiteX6" fmla="*/ 13337 w 14772"/>
                    <a:gd name="connsiteY6" fmla="*/ 6639 h 8492"/>
                    <a:gd name="connsiteX7" fmla="*/ 13755 w 14772"/>
                    <a:gd name="connsiteY7" fmla="*/ 6878 h 8492"/>
                    <a:gd name="connsiteX8" fmla="*/ 14593 w 14772"/>
                    <a:gd name="connsiteY8" fmla="*/ 8194 h 8492"/>
                    <a:gd name="connsiteX9" fmla="*/ 14772 w 14772"/>
                    <a:gd name="connsiteY9" fmla="*/ 8493 h 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72" h="8492">
                      <a:moveTo>
                        <a:pt x="0" y="0"/>
                      </a:moveTo>
                      <a:lnTo>
                        <a:pt x="8732" y="4366"/>
                      </a:lnTo>
                      <a:lnTo>
                        <a:pt x="9629" y="4785"/>
                      </a:lnTo>
                      <a:lnTo>
                        <a:pt x="12380" y="6160"/>
                      </a:lnTo>
                      <a:lnTo>
                        <a:pt x="12858" y="6399"/>
                      </a:lnTo>
                      <a:lnTo>
                        <a:pt x="13157" y="6519"/>
                      </a:lnTo>
                      <a:lnTo>
                        <a:pt x="13337" y="6639"/>
                      </a:lnTo>
                      <a:lnTo>
                        <a:pt x="13755" y="6878"/>
                      </a:lnTo>
                      <a:lnTo>
                        <a:pt x="14593" y="8194"/>
                      </a:lnTo>
                      <a:lnTo>
                        <a:pt x="14772" y="8493"/>
                      </a:lnTo>
                    </a:path>
                  </a:pathLst>
                </a:custGeom>
                <a:noFill/>
                <a:ln w="6350" cap="rnd">
                  <a:solidFill>
                    <a:schemeClr val="bg1">
                      <a:alpha val="40000"/>
                    </a:schemeClr>
                  </a:solidFill>
                  <a:prstDash val="solid"/>
                  <a:round/>
                </a:ln>
              </p:spPr>
              <p:txBody>
                <a:bodyPr rtlCol="0" anchor="ctr"/>
                <a:lstStyle/>
                <a:p>
                  <a:endParaRPr lang="en-GB"/>
                </a:p>
              </p:txBody>
            </p:sp>
            <p:sp>
              <p:nvSpPr>
                <p:cNvPr id="6426" name="Vrije vorm: vorm 6425">
                  <a:extLst>
                    <a:ext uri="{FF2B5EF4-FFF2-40B4-BE49-F238E27FC236}">
                      <a16:creationId xmlns:a16="http://schemas.microsoft.com/office/drawing/2014/main" id="{5E27EA18-3FE7-4156-A32B-0C793F55AF9B}"/>
                    </a:ext>
                  </a:extLst>
                </p:cNvPr>
                <p:cNvSpPr/>
                <p:nvPr/>
              </p:nvSpPr>
              <p:spPr>
                <a:xfrm>
                  <a:off x="6838018" y="1746889"/>
                  <a:ext cx="16745" cy="14772"/>
                </a:xfrm>
                <a:custGeom>
                  <a:avLst/>
                  <a:gdLst>
                    <a:gd name="connsiteX0" fmla="*/ 4126 w 16745"/>
                    <a:gd name="connsiteY0" fmla="*/ 179 h 14772"/>
                    <a:gd name="connsiteX1" fmla="*/ 4665 w 16745"/>
                    <a:gd name="connsiteY1" fmla="*/ 0 h 14772"/>
                    <a:gd name="connsiteX2" fmla="*/ 16627 w 16745"/>
                    <a:gd name="connsiteY2" fmla="*/ 6938 h 14772"/>
                    <a:gd name="connsiteX3" fmla="*/ 16746 w 16745"/>
                    <a:gd name="connsiteY3" fmla="*/ 7476 h 14772"/>
                    <a:gd name="connsiteX4" fmla="*/ 12559 w 16745"/>
                    <a:gd name="connsiteY4" fmla="*/ 14593 h 14772"/>
                    <a:gd name="connsiteX5" fmla="*/ 12021 w 16745"/>
                    <a:gd name="connsiteY5" fmla="*/ 14772 h 14772"/>
                    <a:gd name="connsiteX6" fmla="*/ 120 w 16745"/>
                    <a:gd name="connsiteY6" fmla="*/ 7835 h 14772"/>
                    <a:gd name="connsiteX7" fmla="*/ 0 w 16745"/>
                    <a:gd name="connsiteY7" fmla="*/ 7296 h 1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45" h="14772">
                      <a:moveTo>
                        <a:pt x="4126" y="179"/>
                      </a:moveTo>
                      <a:lnTo>
                        <a:pt x="4665" y="0"/>
                      </a:lnTo>
                      <a:lnTo>
                        <a:pt x="16627" y="6938"/>
                      </a:lnTo>
                      <a:lnTo>
                        <a:pt x="16746" y="7476"/>
                      </a:lnTo>
                      <a:lnTo>
                        <a:pt x="12559" y="14593"/>
                      </a:lnTo>
                      <a:lnTo>
                        <a:pt x="12021" y="14772"/>
                      </a:lnTo>
                      <a:lnTo>
                        <a:pt x="120" y="7835"/>
                      </a:lnTo>
                      <a:lnTo>
                        <a:pt x="0" y="7296"/>
                      </a:lnTo>
                    </a:path>
                  </a:pathLst>
                </a:custGeom>
                <a:noFill/>
                <a:ln w="6350" cap="rnd">
                  <a:solidFill>
                    <a:schemeClr val="bg1">
                      <a:alpha val="40000"/>
                    </a:schemeClr>
                  </a:solidFill>
                  <a:prstDash val="solid"/>
                  <a:round/>
                </a:ln>
              </p:spPr>
              <p:txBody>
                <a:bodyPr rtlCol="0" anchor="ctr"/>
                <a:lstStyle/>
                <a:p>
                  <a:endParaRPr lang="en-GB"/>
                </a:p>
              </p:txBody>
            </p:sp>
            <p:sp>
              <p:nvSpPr>
                <p:cNvPr id="6427" name="Vrije vorm: vorm 6426">
                  <a:extLst>
                    <a:ext uri="{FF2B5EF4-FFF2-40B4-BE49-F238E27FC236}">
                      <a16:creationId xmlns:a16="http://schemas.microsoft.com/office/drawing/2014/main" id="{85DDA617-BD53-47A4-A7E9-67373AC02EB4}"/>
                    </a:ext>
                  </a:extLst>
                </p:cNvPr>
                <p:cNvSpPr/>
                <p:nvPr/>
              </p:nvSpPr>
              <p:spPr>
                <a:xfrm>
                  <a:off x="6970132" y="1842820"/>
                  <a:ext cx="12141" cy="10466"/>
                </a:xfrm>
                <a:custGeom>
                  <a:avLst/>
                  <a:gdLst>
                    <a:gd name="connsiteX0" fmla="*/ 12141 w 12141"/>
                    <a:gd name="connsiteY0" fmla="*/ 10466 h 10466"/>
                    <a:gd name="connsiteX1" fmla="*/ 12081 w 12141"/>
                    <a:gd name="connsiteY1" fmla="*/ 10287 h 10466"/>
                    <a:gd name="connsiteX2" fmla="*/ 12081 w 12141"/>
                    <a:gd name="connsiteY2" fmla="*/ 10287 h 10466"/>
                    <a:gd name="connsiteX3" fmla="*/ 12081 w 12141"/>
                    <a:gd name="connsiteY3" fmla="*/ 10287 h 10466"/>
                    <a:gd name="connsiteX4" fmla="*/ 11663 w 12141"/>
                    <a:gd name="connsiteY4" fmla="*/ 9808 h 10466"/>
                    <a:gd name="connsiteX5" fmla="*/ 11603 w 12141"/>
                    <a:gd name="connsiteY5" fmla="*/ 9749 h 10466"/>
                    <a:gd name="connsiteX6" fmla="*/ 9330 w 12141"/>
                    <a:gd name="connsiteY6" fmla="*/ 7296 h 10466"/>
                    <a:gd name="connsiteX7" fmla="*/ 7296 w 12141"/>
                    <a:gd name="connsiteY7" fmla="*/ 5084 h 10466"/>
                    <a:gd name="connsiteX8" fmla="*/ 0 w 12141"/>
                    <a:gd name="connsiteY8" fmla="*/ 0 h 1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1" h="10466">
                      <a:moveTo>
                        <a:pt x="12141" y="10466"/>
                      </a:moveTo>
                      <a:lnTo>
                        <a:pt x="12081" y="10287"/>
                      </a:lnTo>
                      <a:lnTo>
                        <a:pt x="12081" y="10287"/>
                      </a:lnTo>
                      <a:lnTo>
                        <a:pt x="12081" y="10287"/>
                      </a:lnTo>
                      <a:lnTo>
                        <a:pt x="11663" y="9808"/>
                      </a:lnTo>
                      <a:lnTo>
                        <a:pt x="11603" y="9749"/>
                      </a:lnTo>
                      <a:lnTo>
                        <a:pt x="9330" y="7296"/>
                      </a:lnTo>
                      <a:lnTo>
                        <a:pt x="7296" y="5084"/>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28" name="Vrije vorm: vorm 6427">
                  <a:extLst>
                    <a:ext uri="{FF2B5EF4-FFF2-40B4-BE49-F238E27FC236}">
                      <a16:creationId xmlns:a16="http://schemas.microsoft.com/office/drawing/2014/main" id="{441E045B-EF69-4D06-88B3-A84A84B456FF}"/>
                    </a:ext>
                  </a:extLst>
                </p:cNvPr>
                <p:cNvSpPr/>
                <p:nvPr/>
              </p:nvSpPr>
              <p:spPr>
                <a:xfrm>
                  <a:off x="6697292" y="1891742"/>
                  <a:ext cx="15729" cy="8851"/>
                </a:xfrm>
                <a:custGeom>
                  <a:avLst/>
                  <a:gdLst>
                    <a:gd name="connsiteX0" fmla="*/ 15729 w 15729"/>
                    <a:gd name="connsiteY0" fmla="*/ 7177 h 8851"/>
                    <a:gd name="connsiteX1" fmla="*/ 15490 w 15729"/>
                    <a:gd name="connsiteY1" fmla="*/ 7595 h 8851"/>
                    <a:gd name="connsiteX2" fmla="*/ 15072 w 15729"/>
                    <a:gd name="connsiteY2" fmla="*/ 8313 h 8851"/>
                    <a:gd name="connsiteX3" fmla="*/ 14474 w 15729"/>
                    <a:gd name="connsiteY3" fmla="*/ 8851 h 8851"/>
                    <a:gd name="connsiteX4" fmla="*/ 13516 w 15729"/>
                    <a:gd name="connsiteY4" fmla="*/ 8373 h 8851"/>
                    <a:gd name="connsiteX5" fmla="*/ 11902 w 15729"/>
                    <a:gd name="connsiteY5" fmla="*/ 7595 h 8851"/>
                    <a:gd name="connsiteX6" fmla="*/ 11124 w 15729"/>
                    <a:gd name="connsiteY6" fmla="*/ 7177 h 8851"/>
                    <a:gd name="connsiteX7" fmla="*/ 8732 w 15729"/>
                    <a:gd name="connsiteY7" fmla="*/ 5981 h 8851"/>
                    <a:gd name="connsiteX8" fmla="*/ 5143 w 15729"/>
                    <a:gd name="connsiteY8" fmla="*/ 3768 h 8851"/>
                    <a:gd name="connsiteX9" fmla="*/ 4665 w 15729"/>
                    <a:gd name="connsiteY9" fmla="*/ 3469 h 8851"/>
                    <a:gd name="connsiteX10" fmla="*/ 2273 w 15729"/>
                    <a:gd name="connsiteY10" fmla="*/ 1734 h 8851"/>
                    <a:gd name="connsiteX11" fmla="*/ 1854 w 15729"/>
                    <a:gd name="connsiteY11" fmla="*/ 1435 h 8851"/>
                    <a:gd name="connsiteX12" fmla="*/ 1316 w 15729"/>
                    <a:gd name="connsiteY12" fmla="*/ 1017 h 8851"/>
                    <a:gd name="connsiteX13" fmla="*/ 0 w 15729"/>
                    <a:gd name="connsiteY13" fmla="*/ 0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29" h="8851">
                      <a:moveTo>
                        <a:pt x="15729" y="7177"/>
                      </a:moveTo>
                      <a:lnTo>
                        <a:pt x="15490" y="7595"/>
                      </a:lnTo>
                      <a:lnTo>
                        <a:pt x="15072" y="8313"/>
                      </a:lnTo>
                      <a:lnTo>
                        <a:pt x="14474" y="8851"/>
                      </a:lnTo>
                      <a:lnTo>
                        <a:pt x="13516" y="8373"/>
                      </a:lnTo>
                      <a:lnTo>
                        <a:pt x="11902" y="7595"/>
                      </a:lnTo>
                      <a:lnTo>
                        <a:pt x="11124" y="7177"/>
                      </a:lnTo>
                      <a:lnTo>
                        <a:pt x="8732" y="5981"/>
                      </a:lnTo>
                      <a:lnTo>
                        <a:pt x="5143" y="3768"/>
                      </a:lnTo>
                      <a:lnTo>
                        <a:pt x="4665" y="3469"/>
                      </a:lnTo>
                      <a:lnTo>
                        <a:pt x="2273" y="1734"/>
                      </a:lnTo>
                      <a:lnTo>
                        <a:pt x="1854" y="1435"/>
                      </a:lnTo>
                      <a:lnTo>
                        <a:pt x="1316" y="101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29" name="Vrije vorm: vorm 6428">
                  <a:extLst>
                    <a:ext uri="{FF2B5EF4-FFF2-40B4-BE49-F238E27FC236}">
                      <a16:creationId xmlns:a16="http://schemas.microsoft.com/office/drawing/2014/main" id="{B02CE625-5171-4B17-A65F-5A0FD6DF4EB6}"/>
                    </a:ext>
                  </a:extLst>
                </p:cNvPr>
                <p:cNvSpPr/>
                <p:nvPr/>
              </p:nvSpPr>
              <p:spPr>
                <a:xfrm>
                  <a:off x="6713141" y="1797187"/>
                  <a:ext cx="5681" cy="10705"/>
                </a:xfrm>
                <a:custGeom>
                  <a:avLst/>
                  <a:gdLst>
                    <a:gd name="connsiteX0" fmla="*/ 5682 w 5681"/>
                    <a:gd name="connsiteY0" fmla="*/ 10705 h 10705"/>
                    <a:gd name="connsiteX1" fmla="*/ 5203 w 5681"/>
                    <a:gd name="connsiteY1" fmla="*/ 8373 h 10705"/>
                    <a:gd name="connsiteX2" fmla="*/ 0 w 5681"/>
                    <a:gd name="connsiteY2" fmla="*/ 0 h 10705"/>
                  </a:gdLst>
                  <a:ahLst/>
                  <a:cxnLst>
                    <a:cxn ang="0">
                      <a:pos x="connsiteX0" y="connsiteY0"/>
                    </a:cxn>
                    <a:cxn ang="0">
                      <a:pos x="connsiteX1" y="connsiteY1"/>
                    </a:cxn>
                    <a:cxn ang="0">
                      <a:pos x="connsiteX2" y="connsiteY2"/>
                    </a:cxn>
                  </a:cxnLst>
                  <a:rect l="l" t="t" r="r" b="b"/>
                  <a:pathLst>
                    <a:path w="5681" h="10705">
                      <a:moveTo>
                        <a:pt x="5682" y="10705"/>
                      </a:moveTo>
                      <a:lnTo>
                        <a:pt x="5203" y="8373"/>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30" name="Vrije vorm: vorm 6429">
                  <a:extLst>
                    <a:ext uri="{FF2B5EF4-FFF2-40B4-BE49-F238E27FC236}">
                      <a16:creationId xmlns:a16="http://schemas.microsoft.com/office/drawing/2014/main" id="{4A4B7031-F3FF-42B3-91B7-B880BA16E7D1}"/>
                    </a:ext>
                  </a:extLst>
                </p:cNvPr>
                <p:cNvSpPr/>
                <p:nvPr/>
              </p:nvSpPr>
              <p:spPr>
                <a:xfrm>
                  <a:off x="6986819" y="1910701"/>
                  <a:ext cx="5860" cy="5621"/>
                </a:xfrm>
                <a:custGeom>
                  <a:avLst/>
                  <a:gdLst>
                    <a:gd name="connsiteX0" fmla="*/ 0 w 5860"/>
                    <a:gd name="connsiteY0" fmla="*/ 5622 h 5621"/>
                    <a:gd name="connsiteX1" fmla="*/ 3708 w 5860"/>
                    <a:gd name="connsiteY1" fmla="*/ 2452 h 5621"/>
                    <a:gd name="connsiteX2" fmla="*/ 5861 w 5860"/>
                    <a:gd name="connsiteY2" fmla="*/ 0 h 5621"/>
                  </a:gdLst>
                  <a:ahLst/>
                  <a:cxnLst>
                    <a:cxn ang="0">
                      <a:pos x="connsiteX0" y="connsiteY0"/>
                    </a:cxn>
                    <a:cxn ang="0">
                      <a:pos x="connsiteX1" y="connsiteY1"/>
                    </a:cxn>
                    <a:cxn ang="0">
                      <a:pos x="connsiteX2" y="connsiteY2"/>
                    </a:cxn>
                  </a:cxnLst>
                  <a:rect l="l" t="t" r="r" b="b"/>
                  <a:pathLst>
                    <a:path w="5860" h="5621">
                      <a:moveTo>
                        <a:pt x="0" y="5622"/>
                      </a:moveTo>
                      <a:lnTo>
                        <a:pt x="3708" y="2452"/>
                      </a:lnTo>
                      <a:lnTo>
                        <a:pt x="5861" y="0"/>
                      </a:lnTo>
                    </a:path>
                  </a:pathLst>
                </a:custGeom>
                <a:noFill/>
                <a:ln w="6350" cap="rnd">
                  <a:solidFill>
                    <a:schemeClr val="bg1">
                      <a:alpha val="40000"/>
                    </a:schemeClr>
                  </a:solidFill>
                  <a:prstDash val="solid"/>
                  <a:round/>
                </a:ln>
              </p:spPr>
              <p:txBody>
                <a:bodyPr rtlCol="0" anchor="ctr"/>
                <a:lstStyle/>
                <a:p>
                  <a:endParaRPr lang="en-GB"/>
                </a:p>
              </p:txBody>
            </p:sp>
            <p:sp>
              <p:nvSpPr>
                <p:cNvPr id="6431" name="Vrije vorm: vorm 6430">
                  <a:extLst>
                    <a:ext uri="{FF2B5EF4-FFF2-40B4-BE49-F238E27FC236}">
                      <a16:creationId xmlns:a16="http://schemas.microsoft.com/office/drawing/2014/main" id="{1F0C3A8E-89AF-41C9-9CD0-6C530B01D4BF}"/>
                    </a:ext>
                  </a:extLst>
                </p:cNvPr>
                <p:cNvSpPr/>
                <p:nvPr/>
              </p:nvSpPr>
              <p:spPr>
                <a:xfrm>
                  <a:off x="6615236" y="1937435"/>
                  <a:ext cx="44257" cy="20214"/>
                </a:xfrm>
                <a:custGeom>
                  <a:avLst/>
                  <a:gdLst>
                    <a:gd name="connsiteX0" fmla="*/ 43659 w 44257"/>
                    <a:gd name="connsiteY0" fmla="*/ 0 h 20214"/>
                    <a:gd name="connsiteX1" fmla="*/ 44257 w 44257"/>
                    <a:gd name="connsiteY1" fmla="*/ 419 h 20214"/>
                    <a:gd name="connsiteX2" fmla="*/ 44198 w 44257"/>
                    <a:gd name="connsiteY2" fmla="*/ 2811 h 20214"/>
                    <a:gd name="connsiteX3" fmla="*/ 42702 w 44257"/>
                    <a:gd name="connsiteY3" fmla="*/ 4964 h 20214"/>
                    <a:gd name="connsiteX4" fmla="*/ 41207 w 44257"/>
                    <a:gd name="connsiteY4" fmla="*/ 7177 h 20214"/>
                    <a:gd name="connsiteX5" fmla="*/ 40370 w 44257"/>
                    <a:gd name="connsiteY5" fmla="*/ 8433 h 20214"/>
                    <a:gd name="connsiteX6" fmla="*/ 33372 w 44257"/>
                    <a:gd name="connsiteY6" fmla="*/ 12081 h 20214"/>
                    <a:gd name="connsiteX7" fmla="*/ 31040 w 44257"/>
                    <a:gd name="connsiteY7" fmla="*/ 13277 h 20214"/>
                    <a:gd name="connsiteX8" fmla="*/ 26853 w 44257"/>
                    <a:gd name="connsiteY8" fmla="*/ 13815 h 20214"/>
                    <a:gd name="connsiteX9" fmla="*/ 25238 w 44257"/>
                    <a:gd name="connsiteY9" fmla="*/ 14055 h 20214"/>
                    <a:gd name="connsiteX10" fmla="*/ 21231 w 44257"/>
                    <a:gd name="connsiteY10" fmla="*/ 14713 h 20214"/>
                    <a:gd name="connsiteX11" fmla="*/ 18002 w 44257"/>
                    <a:gd name="connsiteY11" fmla="*/ 15251 h 20214"/>
                    <a:gd name="connsiteX12" fmla="*/ 15490 w 44257"/>
                    <a:gd name="connsiteY12" fmla="*/ 16028 h 20214"/>
                    <a:gd name="connsiteX13" fmla="*/ 12858 w 44257"/>
                    <a:gd name="connsiteY13" fmla="*/ 16806 h 20214"/>
                    <a:gd name="connsiteX14" fmla="*/ 12559 w 44257"/>
                    <a:gd name="connsiteY14" fmla="*/ 16925 h 20214"/>
                    <a:gd name="connsiteX15" fmla="*/ 8493 w 44257"/>
                    <a:gd name="connsiteY15" fmla="*/ 18421 h 20214"/>
                    <a:gd name="connsiteX16" fmla="*/ 8313 w 44257"/>
                    <a:gd name="connsiteY16" fmla="*/ 18480 h 20214"/>
                    <a:gd name="connsiteX17" fmla="*/ 7595 w 44257"/>
                    <a:gd name="connsiteY17" fmla="*/ 18720 h 20214"/>
                    <a:gd name="connsiteX18" fmla="*/ 7416 w 44257"/>
                    <a:gd name="connsiteY18" fmla="*/ 18779 h 20214"/>
                    <a:gd name="connsiteX19" fmla="*/ 7236 w 44257"/>
                    <a:gd name="connsiteY19" fmla="*/ 18839 h 20214"/>
                    <a:gd name="connsiteX20" fmla="*/ 6937 w 44257"/>
                    <a:gd name="connsiteY20" fmla="*/ 18959 h 20214"/>
                    <a:gd name="connsiteX21" fmla="*/ 6758 w 44257"/>
                    <a:gd name="connsiteY21" fmla="*/ 19079 h 20214"/>
                    <a:gd name="connsiteX22" fmla="*/ 4486 w 44257"/>
                    <a:gd name="connsiteY22" fmla="*/ 20215 h 20214"/>
                    <a:gd name="connsiteX23" fmla="*/ 2333 w 44257"/>
                    <a:gd name="connsiteY23" fmla="*/ 18540 h 20214"/>
                    <a:gd name="connsiteX24" fmla="*/ 718 w 44257"/>
                    <a:gd name="connsiteY24" fmla="*/ 16626 h 20214"/>
                    <a:gd name="connsiteX25" fmla="*/ 0 w 44257"/>
                    <a:gd name="connsiteY25" fmla="*/ 15430 h 20214"/>
                    <a:gd name="connsiteX26" fmla="*/ 837 w 44257"/>
                    <a:gd name="connsiteY26" fmla="*/ 13935 h 20214"/>
                    <a:gd name="connsiteX27" fmla="*/ 837 w 44257"/>
                    <a:gd name="connsiteY27" fmla="*/ 13935 h 20214"/>
                    <a:gd name="connsiteX28" fmla="*/ 1196 w 44257"/>
                    <a:gd name="connsiteY28" fmla="*/ 13277 h 20214"/>
                    <a:gd name="connsiteX29" fmla="*/ 1316 w 44257"/>
                    <a:gd name="connsiteY29" fmla="*/ 13098 h 20214"/>
                    <a:gd name="connsiteX30" fmla="*/ 1555 w 44257"/>
                    <a:gd name="connsiteY30" fmla="*/ 12679 h 20214"/>
                    <a:gd name="connsiteX31" fmla="*/ 1674 w 44257"/>
                    <a:gd name="connsiteY31" fmla="*/ 12500 h 20214"/>
                    <a:gd name="connsiteX32" fmla="*/ 1973 w 44257"/>
                    <a:gd name="connsiteY32" fmla="*/ 12021 h 2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4257" h="20214">
                      <a:moveTo>
                        <a:pt x="43659" y="0"/>
                      </a:moveTo>
                      <a:lnTo>
                        <a:pt x="44257" y="419"/>
                      </a:lnTo>
                      <a:lnTo>
                        <a:pt x="44198" y="2811"/>
                      </a:lnTo>
                      <a:lnTo>
                        <a:pt x="42702" y="4964"/>
                      </a:lnTo>
                      <a:lnTo>
                        <a:pt x="41207" y="7177"/>
                      </a:lnTo>
                      <a:lnTo>
                        <a:pt x="40370" y="8433"/>
                      </a:lnTo>
                      <a:lnTo>
                        <a:pt x="33372" y="12081"/>
                      </a:lnTo>
                      <a:lnTo>
                        <a:pt x="31040" y="13277"/>
                      </a:lnTo>
                      <a:lnTo>
                        <a:pt x="26853" y="13815"/>
                      </a:lnTo>
                      <a:lnTo>
                        <a:pt x="25238" y="14055"/>
                      </a:lnTo>
                      <a:lnTo>
                        <a:pt x="21231" y="14713"/>
                      </a:lnTo>
                      <a:lnTo>
                        <a:pt x="18002" y="15251"/>
                      </a:lnTo>
                      <a:lnTo>
                        <a:pt x="15490" y="16028"/>
                      </a:lnTo>
                      <a:lnTo>
                        <a:pt x="12858" y="16806"/>
                      </a:lnTo>
                      <a:lnTo>
                        <a:pt x="12559" y="16925"/>
                      </a:lnTo>
                      <a:lnTo>
                        <a:pt x="8493" y="18421"/>
                      </a:lnTo>
                      <a:lnTo>
                        <a:pt x="8313" y="18480"/>
                      </a:lnTo>
                      <a:lnTo>
                        <a:pt x="7595" y="18720"/>
                      </a:lnTo>
                      <a:lnTo>
                        <a:pt x="7416" y="18779"/>
                      </a:lnTo>
                      <a:lnTo>
                        <a:pt x="7236" y="18839"/>
                      </a:lnTo>
                      <a:lnTo>
                        <a:pt x="6937" y="18959"/>
                      </a:lnTo>
                      <a:lnTo>
                        <a:pt x="6758" y="19079"/>
                      </a:lnTo>
                      <a:lnTo>
                        <a:pt x="4486" y="20215"/>
                      </a:lnTo>
                      <a:lnTo>
                        <a:pt x="2333" y="18540"/>
                      </a:lnTo>
                      <a:lnTo>
                        <a:pt x="718" y="16626"/>
                      </a:lnTo>
                      <a:lnTo>
                        <a:pt x="0" y="15430"/>
                      </a:lnTo>
                      <a:lnTo>
                        <a:pt x="837" y="13935"/>
                      </a:lnTo>
                      <a:lnTo>
                        <a:pt x="837" y="13935"/>
                      </a:lnTo>
                      <a:lnTo>
                        <a:pt x="1196" y="13277"/>
                      </a:lnTo>
                      <a:lnTo>
                        <a:pt x="1316" y="13098"/>
                      </a:lnTo>
                      <a:lnTo>
                        <a:pt x="1555" y="12679"/>
                      </a:lnTo>
                      <a:lnTo>
                        <a:pt x="1674" y="12500"/>
                      </a:lnTo>
                      <a:lnTo>
                        <a:pt x="1973" y="12021"/>
                      </a:lnTo>
                    </a:path>
                  </a:pathLst>
                </a:custGeom>
                <a:noFill/>
                <a:ln w="6350" cap="rnd">
                  <a:solidFill>
                    <a:schemeClr val="bg1">
                      <a:alpha val="40000"/>
                    </a:schemeClr>
                  </a:solidFill>
                  <a:prstDash val="solid"/>
                  <a:round/>
                </a:ln>
              </p:spPr>
              <p:txBody>
                <a:bodyPr rtlCol="0" anchor="ctr"/>
                <a:lstStyle/>
                <a:p>
                  <a:endParaRPr lang="en-GB"/>
                </a:p>
              </p:txBody>
            </p:sp>
            <p:sp>
              <p:nvSpPr>
                <p:cNvPr id="6432" name="Vrije vorm: vorm 6431">
                  <a:extLst>
                    <a:ext uri="{FF2B5EF4-FFF2-40B4-BE49-F238E27FC236}">
                      <a16:creationId xmlns:a16="http://schemas.microsoft.com/office/drawing/2014/main" id="{01006D0F-49A6-49F5-80A2-0DD6BAA70A52}"/>
                    </a:ext>
                  </a:extLst>
                </p:cNvPr>
                <p:cNvSpPr/>
                <p:nvPr/>
              </p:nvSpPr>
              <p:spPr>
                <a:xfrm>
                  <a:off x="6922646" y="1711125"/>
                  <a:ext cx="126731" cy="59149"/>
                </a:xfrm>
                <a:custGeom>
                  <a:avLst/>
                  <a:gdLst>
                    <a:gd name="connsiteX0" fmla="*/ 0 w 126731"/>
                    <a:gd name="connsiteY0" fmla="*/ 4545 h 59149"/>
                    <a:gd name="connsiteX1" fmla="*/ 3050 w 126731"/>
                    <a:gd name="connsiteY1" fmla="*/ 3170 h 59149"/>
                    <a:gd name="connsiteX2" fmla="*/ 3289 w 126731"/>
                    <a:gd name="connsiteY2" fmla="*/ 3050 h 59149"/>
                    <a:gd name="connsiteX3" fmla="*/ 3588 w 126731"/>
                    <a:gd name="connsiteY3" fmla="*/ 2930 h 59149"/>
                    <a:gd name="connsiteX4" fmla="*/ 10227 w 126731"/>
                    <a:gd name="connsiteY4" fmla="*/ 0 h 59149"/>
                    <a:gd name="connsiteX5" fmla="*/ 19437 w 126731"/>
                    <a:gd name="connsiteY5" fmla="*/ 1136 h 59149"/>
                    <a:gd name="connsiteX6" fmla="*/ 35047 w 126731"/>
                    <a:gd name="connsiteY6" fmla="*/ 8373 h 59149"/>
                    <a:gd name="connsiteX7" fmla="*/ 41147 w 126731"/>
                    <a:gd name="connsiteY7" fmla="*/ 11543 h 59149"/>
                    <a:gd name="connsiteX8" fmla="*/ 43659 w 126731"/>
                    <a:gd name="connsiteY8" fmla="*/ 12859 h 59149"/>
                    <a:gd name="connsiteX9" fmla="*/ 47367 w 126731"/>
                    <a:gd name="connsiteY9" fmla="*/ 14832 h 59149"/>
                    <a:gd name="connsiteX10" fmla="*/ 47606 w 126731"/>
                    <a:gd name="connsiteY10" fmla="*/ 14952 h 59149"/>
                    <a:gd name="connsiteX11" fmla="*/ 47606 w 126731"/>
                    <a:gd name="connsiteY11" fmla="*/ 14952 h 59149"/>
                    <a:gd name="connsiteX12" fmla="*/ 47606 w 126731"/>
                    <a:gd name="connsiteY12" fmla="*/ 14952 h 59149"/>
                    <a:gd name="connsiteX13" fmla="*/ 48144 w 126731"/>
                    <a:gd name="connsiteY13" fmla="*/ 15251 h 59149"/>
                    <a:gd name="connsiteX14" fmla="*/ 51135 w 126731"/>
                    <a:gd name="connsiteY14" fmla="*/ 16866 h 59149"/>
                    <a:gd name="connsiteX15" fmla="*/ 57475 w 126731"/>
                    <a:gd name="connsiteY15" fmla="*/ 20215 h 59149"/>
                    <a:gd name="connsiteX16" fmla="*/ 59388 w 126731"/>
                    <a:gd name="connsiteY16" fmla="*/ 21351 h 59149"/>
                    <a:gd name="connsiteX17" fmla="*/ 68299 w 126731"/>
                    <a:gd name="connsiteY17" fmla="*/ 26554 h 59149"/>
                    <a:gd name="connsiteX18" fmla="*/ 79543 w 126731"/>
                    <a:gd name="connsiteY18" fmla="*/ 33073 h 59149"/>
                    <a:gd name="connsiteX19" fmla="*/ 82534 w 126731"/>
                    <a:gd name="connsiteY19" fmla="*/ 34987 h 59149"/>
                    <a:gd name="connsiteX20" fmla="*/ 87498 w 126731"/>
                    <a:gd name="connsiteY20" fmla="*/ 38217 h 59149"/>
                    <a:gd name="connsiteX21" fmla="*/ 94256 w 126731"/>
                    <a:gd name="connsiteY21" fmla="*/ 42583 h 59149"/>
                    <a:gd name="connsiteX22" fmla="*/ 95034 w 126731"/>
                    <a:gd name="connsiteY22" fmla="*/ 43121 h 59149"/>
                    <a:gd name="connsiteX23" fmla="*/ 102450 w 126731"/>
                    <a:gd name="connsiteY23" fmla="*/ 47965 h 59149"/>
                    <a:gd name="connsiteX24" fmla="*/ 107294 w 126731"/>
                    <a:gd name="connsiteY24" fmla="*/ 51135 h 59149"/>
                    <a:gd name="connsiteX25" fmla="*/ 109986 w 126731"/>
                    <a:gd name="connsiteY25" fmla="*/ 52511 h 59149"/>
                    <a:gd name="connsiteX26" fmla="*/ 118418 w 126731"/>
                    <a:gd name="connsiteY26" fmla="*/ 55681 h 59149"/>
                    <a:gd name="connsiteX27" fmla="*/ 120631 w 126731"/>
                    <a:gd name="connsiteY27" fmla="*/ 56458 h 59149"/>
                    <a:gd name="connsiteX28" fmla="*/ 120870 w 126731"/>
                    <a:gd name="connsiteY28" fmla="*/ 56578 h 59149"/>
                    <a:gd name="connsiteX29" fmla="*/ 124818 w 126731"/>
                    <a:gd name="connsiteY29" fmla="*/ 58013 h 59149"/>
                    <a:gd name="connsiteX30" fmla="*/ 126731 w 126731"/>
                    <a:gd name="connsiteY30" fmla="*/ 59149 h 59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6731" h="59149">
                      <a:moveTo>
                        <a:pt x="0" y="4545"/>
                      </a:moveTo>
                      <a:lnTo>
                        <a:pt x="3050" y="3170"/>
                      </a:lnTo>
                      <a:lnTo>
                        <a:pt x="3289" y="3050"/>
                      </a:lnTo>
                      <a:lnTo>
                        <a:pt x="3588" y="2930"/>
                      </a:lnTo>
                      <a:lnTo>
                        <a:pt x="10227" y="0"/>
                      </a:lnTo>
                      <a:lnTo>
                        <a:pt x="19437" y="1136"/>
                      </a:lnTo>
                      <a:lnTo>
                        <a:pt x="35047" y="8373"/>
                      </a:lnTo>
                      <a:lnTo>
                        <a:pt x="41147" y="11543"/>
                      </a:lnTo>
                      <a:lnTo>
                        <a:pt x="43659" y="12859"/>
                      </a:lnTo>
                      <a:lnTo>
                        <a:pt x="47367" y="14832"/>
                      </a:lnTo>
                      <a:lnTo>
                        <a:pt x="47606" y="14952"/>
                      </a:lnTo>
                      <a:lnTo>
                        <a:pt x="47606" y="14952"/>
                      </a:lnTo>
                      <a:lnTo>
                        <a:pt x="47606" y="14952"/>
                      </a:lnTo>
                      <a:lnTo>
                        <a:pt x="48144" y="15251"/>
                      </a:lnTo>
                      <a:lnTo>
                        <a:pt x="51135" y="16866"/>
                      </a:lnTo>
                      <a:lnTo>
                        <a:pt x="57475" y="20215"/>
                      </a:lnTo>
                      <a:lnTo>
                        <a:pt x="59388" y="21351"/>
                      </a:lnTo>
                      <a:lnTo>
                        <a:pt x="68299" y="26554"/>
                      </a:lnTo>
                      <a:lnTo>
                        <a:pt x="79543" y="33073"/>
                      </a:lnTo>
                      <a:lnTo>
                        <a:pt x="82534" y="34987"/>
                      </a:lnTo>
                      <a:lnTo>
                        <a:pt x="87498" y="38217"/>
                      </a:lnTo>
                      <a:lnTo>
                        <a:pt x="94256" y="42583"/>
                      </a:lnTo>
                      <a:lnTo>
                        <a:pt x="95034" y="43121"/>
                      </a:lnTo>
                      <a:lnTo>
                        <a:pt x="102450" y="47965"/>
                      </a:lnTo>
                      <a:lnTo>
                        <a:pt x="107294" y="51135"/>
                      </a:lnTo>
                      <a:lnTo>
                        <a:pt x="109986" y="52511"/>
                      </a:lnTo>
                      <a:lnTo>
                        <a:pt x="118418" y="55681"/>
                      </a:lnTo>
                      <a:lnTo>
                        <a:pt x="120631" y="56458"/>
                      </a:lnTo>
                      <a:lnTo>
                        <a:pt x="120870" y="56578"/>
                      </a:lnTo>
                      <a:lnTo>
                        <a:pt x="124818" y="58013"/>
                      </a:lnTo>
                      <a:lnTo>
                        <a:pt x="126731" y="59149"/>
                      </a:lnTo>
                    </a:path>
                  </a:pathLst>
                </a:custGeom>
                <a:noFill/>
                <a:ln w="6350" cap="rnd">
                  <a:solidFill>
                    <a:schemeClr val="bg1">
                      <a:alpha val="40000"/>
                    </a:schemeClr>
                  </a:solidFill>
                  <a:prstDash val="solid"/>
                  <a:round/>
                </a:ln>
              </p:spPr>
              <p:txBody>
                <a:bodyPr rtlCol="0" anchor="ctr"/>
                <a:lstStyle/>
                <a:p>
                  <a:endParaRPr lang="en-GB"/>
                </a:p>
              </p:txBody>
            </p:sp>
            <p:sp>
              <p:nvSpPr>
                <p:cNvPr id="6433" name="Vrije vorm: vorm 6432">
                  <a:extLst>
                    <a:ext uri="{FF2B5EF4-FFF2-40B4-BE49-F238E27FC236}">
                      <a16:creationId xmlns:a16="http://schemas.microsoft.com/office/drawing/2014/main" id="{9300E056-713C-45C9-A0AF-9C4B3F2ECEEB}"/>
                    </a:ext>
                  </a:extLst>
                </p:cNvPr>
                <p:cNvSpPr/>
                <p:nvPr/>
              </p:nvSpPr>
              <p:spPr>
                <a:xfrm>
                  <a:off x="6961041" y="1838574"/>
                  <a:ext cx="25119" cy="17344"/>
                </a:xfrm>
                <a:custGeom>
                  <a:avLst/>
                  <a:gdLst>
                    <a:gd name="connsiteX0" fmla="*/ 9570 w 25119"/>
                    <a:gd name="connsiteY0" fmla="*/ 3409 h 17344"/>
                    <a:gd name="connsiteX1" fmla="*/ 9749 w 25119"/>
                    <a:gd name="connsiteY1" fmla="*/ 3529 h 17344"/>
                    <a:gd name="connsiteX2" fmla="*/ 16926 w 25119"/>
                    <a:gd name="connsiteY2" fmla="*/ 8493 h 17344"/>
                    <a:gd name="connsiteX3" fmla="*/ 17165 w 25119"/>
                    <a:gd name="connsiteY3" fmla="*/ 8732 h 17344"/>
                    <a:gd name="connsiteX4" fmla="*/ 21411 w 25119"/>
                    <a:gd name="connsiteY4" fmla="*/ 12859 h 17344"/>
                    <a:gd name="connsiteX5" fmla="*/ 21471 w 25119"/>
                    <a:gd name="connsiteY5" fmla="*/ 12918 h 17344"/>
                    <a:gd name="connsiteX6" fmla="*/ 22189 w 25119"/>
                    <a:gd name="connsiteY6" fmla="*/ 13636 h 17344"/>
                    <a:gd name="connsiteX7" fmla="*/ 24043 w 25119"/>
                    <a:gd name="connsiteY7" fmla="*/ 15490 h 17344"/>
                    <a:gd name="connsiteX8" fmla="*/ 25060 w 25119"/>
                    <a:gd name="connsiteY8" fmla="*/ 16447 h 17344"/>
                    <a:gd name="connsiteX9" fmla="*/ 25119 w 25119"/>
                    <a:gd name="connsiteY9" fmla="*/ 16866 h 17344"/>
                    <a:gd name="connsiteX10" fmla="*/ 24700 w 25119"/>
                    <a:gd name="connsiteY10" fmla="*/ 17344 h 17344"/>
                    <a:gd name="connsiteX11" fmla="*/ 20574 w 25119"/>
                    <a:gd name="connsiteY11" fmla="*/ 14354 h 17344"/>
                    <a:gd name="connsiteX12" fmla="*/ 20514 w 25119"/>
                    <a:gd name="connsiteY12" fmla="*/ 14354 h 17344"/>
                    <a:gd name="connsiteX13" fmla="*/ 7237 w 25119"/>
                    <a:gd name="connsiteY13" fmla="*/ 4785 h 17344"/>
                    <a:gd name="connsiteX14" fmla="*/ 5622 w 25119"/>
                    <a:gd name="connsiteY14" fmla="*/ 3708 h 17344"/>
                    <a:gd name="connsiteX15" fmla="*/ 4845 w 25119"/>
                    <a:gd name="connsiteY15" fmla="*/ 3170 h 17344"/>
                    <a:gd name="connsiteX16" fmla="*/ 4007 w 25119"/>
                    <a:gd name="connsiteY16" fmla="*/ 2632 h 17344"/>
                    <a:gd name="connsiteX17" fmla="*/ 2392 w 25119"/>
                    <a:gd name="connsiteY17" fmla="*/ 1555 h 17344"/>
                    <a:gd name="connsiteX18" fmla="*/ 0 w 25119"/>
                    <a:gd name="connsiteY18" fmla="*/ 0 h 17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119" h="17344">
                      <a:moveTo>
                        <a:pt x="9570" y="3409"/>
                      </a:moveTo>
                      <a:lnTo>
                        <a:pt x="9749" y="3529"/>
                      </a:lnTo>
                      <a:lnTo>
                        <a:pt x="16926" y="8493"/>
                      </a:lnTo>
                      <a:lnTo>
                        <a:pt x="17165" y="8732"/>
                      </a:lnTo>
                      <a:lnTo>
                        <a:pt x="21411" y="12859"/>
                      </a:lnTo>
                      <a:lnTo>
                        <a:pt x="21471" y="12918"/>
                      </a:lnTo>
                      <a:lnTo>
                        <a:pt x="22189" y="13636"/>
                      </a:lnTo>
                      <a:lnTo>
                        <a:pt x="24043" y="15490"/>
                      </a:lnTo>
                      <a:lnTo>
                        <a:pt x="25060" y="16447"/>
                      </a:lnTo>
                      <a:lnTo>
                        <a:pt x="25119" y="16866"/>
                      </a:lnTo>
                      <a:lnTo>
                        <a:pt x="24700" y="17344"/>
                      </a:lnTo>
                      <a:lnTo>
                        <a:pt x="20574" y="14354"/>
                      </a:lnTo>
                      <a:lnTo>
                        <a:pt x="20514" y="14354"/>
                      </a:lnTo>
                      <a:lnTo>
                        <a:pt x="7237" y="4785"/>
                      </a:lnTo>
                      <a:lnTo>
                        <a:pt x="5622" y="3708"/>
                      </a:lnTo>
                      <a:lnTo>
                        <a:pt x="4845" y="3170"/>
                      </a:lnTo>
                      <a:lnTo>
                        <a:pt x="4007" y="2632"/>
                      </a:lnTo>
                      <a:lnTo>
                        <a:pt x="2392" y="155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34" name="Vrije vorm: vorm 6433">
                  <a:extLst>
                    <a:ext uri="{FF2B5EF4-FFF2-40B4-BE49-F238E27FC236}">
                      <a16:creationId xmlns:a16="http://schemas.microsoft.com/office/drawing/2014/main" id="{14030285-8985-4073-831B-73FB617E0413}"/>
                    </a:ext>
                  </a:extLst>
                </p:cNvPr>
                <p:cNvSpPr/>
                <p:nvPr/>
              </p:nvSpPr>
              <p:spPr>
                <a:xfrm>
                  <a:off x="6953745" y="1833191"/>
                  <a:ext cx="12439" cy="6997"/>
                </a:xfrm>
                <a:custGeom>
                  <a:avLst/>
                  <a:gdLst>
                    <a:gd name="connsiteX0" fmla="*/ 12440 w 12439"/>
                    <a:gd name="connsiteY0" fmla="*/ 6997 h 6997"/>
                    <a:gd name="connsiteX1" fmla="*/ 11423 w 12439"/>
                    <a:gd name="connsiteY1" fmla="*/ 6340 h 6997"/>
                    <a:gd name="connsiteX2" fmla="*/ 10287 w 12439"/>
                    <a:gd name="connsiteY2" fmla="*/ 5622 h 6997"/>
                    <a:gd name="connsiteX3" fmla="*/ 8194 w 12439"/>
                    <a:gd name="connsiteY3" fmla="*/ 4306 h 6997"/>
                    <a:gd name="connsiteX4" fmla="*/ 5981 w 12439"/>
                    <a:gd name="connsiteY4" fmla="*/ 2931 h 6997"/>
                    <a:gd name="connsiteX5" fmla="*/ 5443 w 12439"/>
                    <a:gd name="connsiteY5" fmla="*/ 2572 h 6997"/>
                    <a:gd name="connsiteX6" fmla="*/ 4845 w 12439"/>
                    <a:gd name="connsiteY6" fmla="*/ 2273 h 6997"/>
                    <a:gd name="connsiteX7" fmla="*/ 3828 w 12439"/>
                    <a:gd name="connsiteY7" fmla="*/ 1794 h 6997"/>
                    <a:gd name="connsiteX8" fmla="*/ 3050 w 12439"/>
                    <a:gd name="connsiteY8" fmla="*/ 1435 h 6997"/>
                    <a:gd name="connsiteX9" fmla="*/ 0 w 12439"/>
                    <a:gd name="connsiteY9" fmla="*/ 0 h 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9" h="6997">
                      <a:moveTo>
                        <a:pt x="12440" y="6997"/>
                      </a:moveTo>
                      <a:lnTo>
                        <a:pt x="11423" y="6340"/>
                      </a:lnTo>
                      <a:lnTo>
                        <a:pt x="10287" y="5622"/>
                      </a:lnTo>
                      <a:lnTo>
                        <a:pt x="8194" y="4306"/>
                      </a:lnTo>
                      <a:lnTo>
                        <a:pt x="5981" y="2931"/>
                      </a:lnTo>
                      <a:lnTo>
                        <a:pt x="5443" y="2572"/>
                      </a:lnTo>
                      <a:lnTo>
                        <a:pt x="4845" y="2273"/>
                      </a:lnTo>
                      <a:lnTo>
                        <a:pt x="3828" y="1794"/>
                      </a:lnTo>
                      <a:lnTo>
                        <a:pt x="3050" y="143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35" name="Vrije vorm: vorm 6434">
                  <a:extLst>
                    <a:ext uri="{FF2B5EF4-FFF2-40B4-BE49-F238E27FC236}">
                      <a16:creationId xmlns:a16="http://schemas.microsoft.com/office/drawing/2014/main" id="{CCF8780B-E9D5-4F7B-B1CA-39CD2C93D726}"/>
                    </a:ext>
                  </a:extLst>
                </p:cNvPr>
                <p:cNvSpPr/>
                <p:nvPr/>
              </p:nvSpPr>
              <p:spPr>
                <a:xfrm>
                  <a:off x="6950336" y="1830799"/>
                  <a:ext cx="6399" cy="2751"/>
                </a:xfrm>
                <a:custGeom>
                  <a:avLst/>
                  <a:gdLst>
                    <a:gd name="connsiteX0" fmla="*/ 60 w 6399"/>
                    <a:gd name="connsiteY0" fmla="*/ 897 h 2751"/>
                    <a:gd name="connsiteX1" fmla="*/ 0 w 6399"/>
                    <a:gd name="connsiteY1" fmla="*/ 478 h 2751"/>
                    <a:gd name="connsiteX2" fmla="*/ 299 w 6399"/>
                    <a:gd name="connsiteY2" fmla="*/ 179 h 2751"/>
                    <a:gd name="connsiteX3" fmla="*/ 478 w 6399"/>
                    <a:gd name="connsiteY3" fmla="*/ 0 h 2751"/>
                    <a:gd name="connsiteX4" fmla="*/ 2751 w 6399"/>
                    <a:gd name="connsiteY4" fmla="*/ 1076 h 2751"/>
                    <a:gd name="connsiteX5" fmla="*/ 4426 w 6399"/>
                    <a:gd name="connsiteY5" fmla="*/ 1854 h 2751"/>
                    <a:gd name="connsiteX6" fmla="*/ 6160 w 6399"/>
                    <a:gd name="connsiteY6" fmla="*/ 2691 h 2751"/>
                    <a:gd name="connsiteX7" fmla="*/ 6339 w 6399"/>
                    <a:gd name="connsiteY7" fmla="*/ 2751 h 2751"/>
                    <a:gd name="connsiteX8" fmla="*/ 6399 w 6399"/>
                    <a:gd name="connsiteY8" fmla="*/ 2751 h 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99" h="2751">
                      <a:moveTo>
                        <a:pt x="60" y="897"/>
                      </a:moveTo>
                      <a:lnTo>
                        <a:pt x="0" y="478"/>
                      </a:lnTo>
                      <a:lnTo>
                        <a:pt x="299" y="179"/>
                      </a:lnTo>
                      <a:lnTo>
                        <a:pt x="478" y="0"/>
                      </a:lnTo>
                      <a:lnTo>
                        <a:pt x="2751" y="1076"/>
                      </a:lnTo>
                      <a:lnTo>
                        <a:pt x="4426" y="1854"/>
                      </a:lnTo>
                      <a:lnTo>
                        <a:pt x="6160" y="2691"/>
                      </a:lnTo>
                      <a:lnTo>
                        <a:pt x="6339" y="2751"/>
                      </a:lnTo>
                      <a:lnTo>
                        <a:pt x="6399" y="2751"/>
                      </a:lnTo>
                    </a:path>
                  </a:pathLst>
                </a:custGeom>
                <a:noFill/>
                <a:ln w="6350" cap="rnd">
                  <a:solidFill>
                    <a:schemeClr val="bg1">
                      <a:alpha val="40000"/>
                    </a:schemeClr>
                  </a:solidFill>
                  <a:prstDash val="solid"/>
                  <a:round/>
                </a:ln>
              </p:spPr>
              <p:txBody>
                <a:bodyPr rtlCol="0" anchor="ctr"/>
                <a:lstStyle/>
                <a:p>
                  <a:endParaRPr lang="en-GB"/>
                </a:p>
              </p:txBody>
            </p:sp>
            <p:sp>
              <p:nvSpPr>
                <p:cNvPr id="6436" name="Vrije vorm: vorm 6435">
                  <a:extLst>
                    <a:ext uri="{FF2B5EF4-FFF2-40B4-BE49-F238E27FC236}">
                      <a16:creationId xmlns:a16="http://schemas.microsoft.com/office/drawing/2014/main" id="{AB359EF7-821B-49D2-955D-676D3F3BC6D4}"/>
                    </a:ext>
                  </a:extLst>
                </p:cNvPr>
                <p:cNvSpPr/>
                <p:nvPr/>
              </p:nvSpPr>
              <p:spPr>
                <a:xfrm>
                  <a:off x="6674685" y="1819675"/>
                  <a:ext cx="50118" cy="32415"/>
                </a:xfrm>
                <a:custGeom>
                  <a:avLst/>
                  <a:gdLst>
                    <a:gd name="connsiteX0" fmla="*/ 0 w 50118"/>
                    <a:gd name="connsiteY0" fmla="*/ 6399 h 32415"/>
                    <a:gd name="connsiteX1" fmla="*/ 837 w 50118"/>
                    <a:gd name="connsiteY1" fmla="*/ 2990 h 32415"/>
                    <a:gd name="connsiteX2" fmla="*/ 1674 w 50118"/>
                    <a:gd name="connsiteY2" fmla="*/ 1136 h 32415"/>
                    <a:gd name="connsiteX3" fmla="*/ 2871 w 50118"/>
                    <a:gd name="connsiteY3" fmla="*/ 60 h 32415"/>
                    <a:gd name="connsiteX4" fmla="*/ 13337 w 50118"/>
                    <a:gd name="connsiteY4" fmla="*/ 0 h 32415"/>
                    <a:gd name="connsiteX5" fmla="*/ 16866 w 50118"/>
                    <a:gd name="connsiteY5" fmla="*/ 598 h 32415"/>
                    <a:gd name="connsiteX6" fmla="*/ 17643 w 50118"/>
                    <a:gd name="connsiteY6" fmla="*/ 718 h 32415"/>
                    <a:gd name="connsiteX7" fmla="*/ 23384 w 50118"/>
                    <a:gd name="connsiteY7" fmla="*/ 1675 h 32415"/>
                    <a:gd name="connsiteX8" fmla="*/ 27212 w 50118"/>
                    <a:gd name="connsiteY8" fmla="*/ 2332 h 32415"/>
                    <a:gd name="connsiteX9" fmla="*/ 32356 w 50118"/>
                    <a:gd name="connsiteY9" fmla="*/ 4186 h 32415"/>
                    <a:gd name="connsiteX10" fmla="*/ 34867 w 50118"/>
                    <a:gd name="connsiteY10" fmla="*/ 5084 h 32415"/>
                    <a:gd name="connsiteX11" fmla="*/ 36183 w 50118"/>
                    <a:gd name="connsiteY11" fmla="*/ 5562 h 32415"/>
                    <a:gd name="connsiteX12" fmla="*/ 42583 w 50118"/>
                    <a:gd name="connsiteY12" fmla="*/ 9629 h 32415"/>
                    <a:gd name="connsiteX13" fmla="*/ 44556 w 50118"/>
                    <a:gd name="connsiteY13" fmla="*/ 10885 h 32415"/>
                    <a:gd name="connsiteX14" fmla="*/ 46410 w 50118"/>
                    <a:gd name="connsiteY14" fmla="*/ 12500 h 32415"/>
                    <a:gd name="connsiteX15" fmla="*/ 50118 w 50118"/>
                    <a:gd name="connsiteY15" fmla="*/ 15789 h 32415"/>
                    <a:gd name="connsiteX16" fmla="*/ 49999 w 50118"/>
                    <a:gd name="connsiteY16" fmla="*/ 17703 h 32415"/>
                    <a:gd name="connsiteX17" fmla="*/ 49580 w 50118"/>
                    <a:gd name="connsiteY17" fmla="*/ 25777 h 32415"/>
                    <a:gd name="connsiteX18" fmla="*/ 49580 w 50118"/>
                    <a:gd name="connsiteY18" fmla="*/ 26315 h 32415"/>
                    <a:gd name="connsiteX19" fmla="*/ 45812 w 50118"/>
                    <a:gd name="connsiteY19" fmla="*/ 31758 h 32415"/>
                    <a:gd name="connsiteX20" fmla="*/ 43659 w 50118"/>
                    <a:gd name="connsiteY20" fmla="*/ 32415 h 32415"/>
                    <a:gd name="connsiteX21" fmla="*/ 43001 w 50118"/>
                    <a:gd name="connsiteY21" fmla="*/ 31997 h 3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118" h="32415">
                      <a:moveTo>
                        <a:pt x="0" y="6399"/>
                      </a:moveTo>
                      <a:lnTo>
                        <a:pt x="837" y="2990"/>
                      </a:lnTo>
                      <a:lnTo>
                        <a:pt x="1674" y="1136"/>
                      </a:lnTo>
                      <a:lnTo>
                        <a:pt x="2871" y="60"/>
                      </a:lnTo>
                      <a:lnTo>
                        <a:pt x="13337" y="0"/>
                      </a:lnTo>
                      <a:lnTo>
                        <a:pt x="16866" y="598"/>
                      </a:lnTo>
                      <a:lnTo>
                        <a:pt x="17643" y="718"/>
                      </a:lnTo>
                      <a:lnTo>
                        <a:pt x="23384" y="1675"/>
                      </a:lnTo>
                      <a:lnTo>
                        <a:pt x="27212" y="2332"/>
                      </a:lnTo>
                      <a:lnTo>
                        <a:pt x="32356" y="4186"/>
                      </a:lnTo>
                      <a:lnTo>
                        <a:pt x="34867" y="5084"/>
                      </a:lnTo>
                      <a:lnTo>
                        <a:pt x="36183" y="5562"/>
                      </a:lnTo>
                      <a:lnTo>
                        <a:pt x="42583" y="9629"/>
                      </a:lnTo>
                      <a:lnTo>
                        <a:pt x="44556" y="10885"/>
                      </a:lnTo>
                      <a:lnTo>
                        <a:pt x="46410" y="12500"/>
                      </a:lnTo>
                      <a:lnTo>
                        <a:pt x="50118" y="15789"/>
                      </a:lnTo>
                      <a:lnTo>
                        <a:pt x="49999" y="17703"/>
                      </a:lnTo>
                      <a:lnTo>
                        <a:pt x="49580" y="25777"/>
                      </a:lnTo>
                      <a:lnTo>
                        <a:pt x="49580" y="26315"/>
                      </a:lnTo>
                      <a:lnTo>
                        <a:pt x="45812" y="31758"/>
                      </a:lnTo>
                      <a:lnTo>
                        <a:pt x="43659" y="32415"/>
                      </a:lnTo>
                      <a:lnTo>
                        <a:pt x="43001" y="31997"/>
                      </a:lnTo>
                    </a:path>
                  </a:pathLst>
                </a:custGeom>
                <a:noFill/>
                <a:ln w="6350" cap="rnd">
                  <a:solidFill>
                    <a:schemeClr val="bg1">
                      <a:alpha val="40000"/>
                    </a:schemeClr>
                  </a:solidFill>
                  <a:prstDash val="solid"/>
                  <a:round/>
                </a:ln>
              </p:spPr>
              <p:txBody>
                <a:bodyPr rtlCol="0" anchor="ctr"/>
                <a:lstStyle/>
                <a:p>
                  <a:endParaRPr lang="en-GB"/>
                </a:p>
              </p:txBody>
            </p:sp>
            <p:sp>
              <p:nvSpPr>
                <p:cNvPr id="6437" name="Vrije vorm: vorm 6436">
                  <a:extLst>
                    <a:ext uri="{FF2B5EF4-FFF2-40B4-BE49-F238E27FC236}">
                      <a16:creationId xmlns:a16="http://schemas.microsoft.com/office/drawing/2014/main" id="{4E4C52EA-43D6-4539-B7A1-364817C54707}"/>
                    </a:ext>
                  </a:extLst>
                </p:cNvPr>
                <p:cNvSpPr/>
                <p:nvPr/>
              </p:nvSpPr>
              <p:spPr>
                <a:xfrm>
                  <a:off x="7091122" y="1934205"/>
                  <a:ext cx="8612" cy="6758"/>
                </a:xfrm>
                <a:custGeom>
                  <a:avLst/>
                  <a:gdLst>
                    <a:gd name="connsiteX0" fmla="*/ 8613 w 8612"/>
                    <a:gd name="connsiteY0" fmla="*/ 6758 h 6758"/>
                    <a:gd name="connsiteX1" fmla="*/ 7297 w 8612"/>
                    <a:gd name="connsiteY1" fmla="*/ 4904 h 6758"/>
                    <a:gd name="connsiteX2" fmla="*/ 6041 w 8612"/>
                    <a:gd name="connsiteY2" fmla="*/ 3170 h 6758"/>
                    <a:gd name="connsiteX3" fmla="*/ 2572 w 8612"/>
                    <a:gd name="connsiteY3" fmla="*/ 957 h 6758"/>
                    <a:gd name="connsiteX4" fmla="*/ 2572 w 8612"/>
                    <a:gd name="connsiteY4" fmla="*/ 957 h 6758"/>
                    <a:gd name="connsiteX5" fmla="*/ 1914 w 8612"/>
                    <a:gd name="connsiteY5" fmla="*/ 718 h 6758"/>
                    <a:gd name="connsiteX6" fmla="*/ 1735 w 8612"/>
                    <a:gd name="connsiteY6" fmla="*/ 658 h 6758"/>
                    <a:gd name="connsiteX7" fmla="*/ 0 w 8612"/>
                    <a:gd name="connsiteY7" fmla="*/ 0 h 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2" h="6758">
                      <a:moveTo>
                        <a:pt x="8613" y="6758"/>
                      </a:moveTo>
                      <a:lnTo>
                        <a:pt x="7297" y="4904"/>
                      </a:lnTo>
                      <a:lnTo>
                        <a:pt x="6041" y="3170"/>
                      </a:lnTo>
                      <a:lnTo>
                        <a:pt x="2572" y="957"/>
                      </a:lnTo>
                      <a:lnTo>
                        <a:pt x="2572" y="957"/>
                      </a:lnTo>
                      <a:lnTo>
                        <a:pt x="1914" y="718"/>
                      </a:lnTo>
                      <a:lnTo>
                        <a:pt x="1735" y="65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38" name="Vrije vorm: vorm 6437">
                  <a:extLst>
                    <a:ext uri="{FF2B5EF4-FFF2-40B4-BE49-F238E27FC236}">
                      <a16:creationId xmlns:a16="http://schemas.microsoft.com/office/drawing/2014/main" id="{9620770A-4B38-4664-9591-BB203290C6B5}"/>
                    </a:ext>
                  </a:extLst>
                </p:cNvPr>
                <p:cNvSpPr/>
                <p:nvPr/>
              </p:nvSpPr>
              <p:spPr>
                <a:xfrm>
                  <a:off x="6701299" y="1942399"/>
                  <a:ext cx="3887" cy="3349"/>
                </a:xfrm>
                <a:custGeom>
                  <a:avLst/>
                  <a:gdLst>
                    <a:gd name="connsiteX0" fmla="*/ 3469 w 3887"/>
                    <a:gd name="connsiteY0" fmla="*/ 0 h 3349"/>
                    <a:gd name="connsiteX1" fmla="*/ 3528 w 3887"/>
                    <a:gd name="connsiteY1" fmla="*/ 239 h 3349"/>
                    <a:gd name="connsiteX2" fmla="*/ 3528 w 3887"/>
                    <a:gd name="connsiteY2" fmla="*/ 299 h 3349"/>
                    <a:gd name="connsiteX3" fmla="*/ 3887 w 3887"/>
                    <a:gd name="connsiteY3" fmla="*/ 1734 h 3349"/>
                    <a:gd name="connsiteX4" fmla="*/ 2332 w 3887"/>
                    <a:gd name="connsiteY4" fmla="*/ 3349 h 3349"/>
                    <a:gd name="connsiteX5" fmla="*/ 2213 w 3887"/>
                    <a:gd name="connsiteY5" fmla="*/ 3349 h 3349"/>
                    <a:gd name="connsiteX6" fmla="*/ 1256 w 3887"/>
                    <a:gd name="connsiteY6" fmla="*/ 3289 h 3349"/>
                    <a:gd name="connsiteX7" fmla="*/ 299 w 3887"/>
                    <a:gd name="connsiteY7" fmla="*/ 3230 h 3349"/>
                    <a:gd name="connsiteX8" fmla="*/ 0 w 3887"/>
                    <a:gd name="connsiteY8" fmla="*/ 2871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87" h="3349">
                      <a:moveTo>
                        <a:pt x="3469" y="0"/>
                      </a:moveTo>
                      <a:lnTo>
                        <a:pt x="3528" y="239"/>
                      </a:lnTo>
                      <a:lnTo>
                        <a:pt x="3528" y="299"/>
                      </a:lnTo>
                      <a:lnTo>
                        <a:pt x="3887" y="1734"/>
                      </a:lnTo>
                      <a:lnTo>
                        <a:pt x="2332" y="3349"/>
                      </a:lnTo>
                      <a:lnTo>
                        <a:pt x="2213" y="3349"/>
                      </a:lnTo>
                      <a:lnTo>
                        <a:pt x="1256" y="3289"/>
                      </a:lnTo>
                      <a:lnTo>
                        <a:pt x="299" y="3230"/>
                      </a:lnTo>
                      <a:lnTo>
                        <a:pt x="0" y="2871"/>
                      </a:lnTo>
                    </a:path>
                  </a:pathLst>
                </a:custGeom>
                <a:noFill/>
                <a:ln w="6350" cap="rnd">
                  <a:solidFill>
                    <a:schemeClr val="bg1">
                      <a:alpha val="40000"/>
                    </a:schemeClr>
                  </a:solidFill>
                  <a:prstDash val="solid"/>
                  <a:round/>
                </a:ln>
              </p:spPr>
              <p:txBody>
                <a:bodyPr rtlCol="0" anchor="ctr"/>
                <a:lstStyle/>
                <a:p>
                  <a:endParaRPr lang="en-GB"/>
                </a:p>
              </p:txBody>
            </p:sp>
            <p:sp>
              <p:nvSpPr>
                <p:cNvPr id="6439" name="Vrije vorm: vorm 6438">
                  <a:extLst>
                    <a:ext uri="{FF2B5EF4-FFF2-40B4-BE49-F238E27FC236}">
                      <a16:creationId xmlns:a16="http://schemas.microsoft.com/office/drawing/2014/main" id="{1A1C9BBD-6B68-47CC-AE10-B8B1D5E03674}"/>
                    </a:ext>
                  </a:extLst>
                </p:cNvPr>
                <p:cNvSpPr/>
                <p:nvPr/>
              </p:nvSpPr>
              <p:spPr>
                <a:xfrm>
                  <a:off x="7059305" y="1863274"/>
                  <a:ext cx="11901" cy="27331"/>
                </a:xfrm>
                <a:custGeom>
                  <a:avLst/>
                  <a:gdLst>
                    <a:gd name="connsiteX0" fmla="*/ 11902 w 11901"/>
                    <a:gd name="connsiteY0" fmla="*/ 0 h 27331"/>
                    <a:gd name="connsiteX1" fmla="*/ 8194 w 11901"/>
                    <a:gd name="connsiteY1" fmla="*/ 10825 h 27331"/>
                    <a:gd name="connsiteX2" fmla="*/ 1375 w 11901"/>
                    <a:gd name="connsiteY2" fmla="*/ 26196 h 27331"/>
                    <a:gd name="connsiteX3" fmla="*/ 0 w 11901"/>
                    <a:gd name="connsiteY3" fmla="*/ 27332 h 27331"/>
                  </a:gdLst>
                  <a:ahLst/>
                  <a:cxnLst>
                    <a:cxn ang="0">
                      <a:pos x="connsiteX0" y="connsiteY0"/>
                    </a:cxn>
                    <a:cxn ang="0">
                      <a:pos x="connsiteX1" y="connsiteY1"/>
                    </a:cxn>
                    <a:cxn ang="0">
                      <a:pos x="connsiteX2" y="connsiteY2"/>
                    </a:cxn>
                    <a:cxn ang="0">
                      <a:pos x="connsiteX3" y="connsiteY3"/>
                    </a:cxn>
                  </a:cxnLst>
                  <a:rect l="l" t="t" r="r" b="b"/>
                  <a:pathLst>
                    <a:path w="11901" h="27331">
                      <a:moveTo>
                        <a:pt x="11902" y="0"/>
                      </a:moveTo>
                      <a:lnTo>
                        <a:pt x="8194" y="10825"/>
                      </a:lnTo>
                      <a:lnTo>
                        <a:pt x="1375" y="26196"/>
                      </a:lnTo>
                      <a:lnTo>
                        <a:pt x="0" y="27332"/>
                      </a:lnTo>
                    </a:path>
                  </a:pathLst>
                </a:custGeom>
                <a:noFill/>
                <a:ln w="6350" cap="rnd">
                  <a:solidFill>
                    <a:schemeClr val="bg1">
                      <a:alpha val="40000"/>
                    </a:schemeClr>
                  </a:solidFill>
                  <a:prstDash val="solid"/>
                  <a:round/>
                </a:ln>
              </p:spPr>
              <p:txBody>
                <a:bodyPr rtlCol="0" anchor="ctr"/>
                <a:lstStyle/>
                <a:p>
                  <a:endParaRPr lang="en-GB"/>
                </a:p>
              </p:txBody>
            </p:sp>
            <p:sp>
              <p:nvSpPr>
                <p:cNvPr id="6440" name="Vrije vorm: vorm 6439">
                  <a:extLst>
                    <a:ext uri="{FF2B5EF4-FFF2-40B4-BE49-F238E27FC236}">
                      <a16:creationId xmlns:a16="http://schemas.microsoft.com/office/drawing/2014/main" id="{7F7EE1D6-3DCC-4EC1-8BDC-582E4C0B290A}"/>
                    </a:ext>
                  </a:extLst>
                </p:cNvPr>
                <p:cNvSpPr/>
                <p:nvPr/>
              </p:nvSpPr>
              <p:spPr>
                <a:xfrm>
                  <a:off x="6701060" y="1873561"/>
                  <a:ext cx="957" cy="9688"/>
                </a:xfrm>
                <a:custGeom>
                  <a:avLst/>
                  <a:gdLst>
                    <a:gd name="connsiteX0" fmla="*/ 0 w 957"/>
                    <a:gd name="connsiteY0" fmla="*/ 0 h 9688"/>
                    <a:gd name="connsiteX1" fmla="*/ 957 w 957"/>
                    <a:gd name="connsiteY1" fmla="*/ 3230 h 9688"/>
                    <a:gd name="connsiteX2" fmla="*/ 957 w 957"/>
                    <a:gd name="connsiteY2" fmla="*/ 8612 h 9688"/>
                    <a:gd name="connsiteX3" fmla="*/ 897 w 957"/>
                    <a:gd name="connsiteY3" fmla="*/ 8852 h 9688"/>
                    <a:gd name="connsiteX4" fmla="*/ 718 w 957"/>
                    <a:gd name="connsiteY4" fmla="*/ 9689 h 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 h="9688">
                      <a:moveTo>
                        <a:pt x="0" y="0"/>
                      </a:moveTo>
                      <a:lnTo>
                        <a:pt x="957" y="3230"/>
                      </a:lnTo>
                      <a:lnTo>
                        <a:pt x="957" y="8612"/>
                      </a:lnTo>
                      <a:lnTo>
                        <a:pt x="897" y="8852"/>
                      </a:lnTo>
                      <a:lnTo>
                        <a:pt x="718" y="9689"/>
                      </a:lnTo>
                    </a:path>
                  </a:pathLst>
                </a:custGeom>
                <a:noFill/>
                <a:ln w="6350" cap="rnd">
                  <a:solidFill>
                    <a:schemeClr val="bg1">
                      <a:alpha val="40000"/>
                    </a:schemeClr>
                  </a:solidFill>
                  <a:prstDash val="solid"/>
                  <a:round/>
                </a:ln>
              </p:spPr>
              <p:txBody>
                <a:bodyPr rtlCol="0" anchor="ctr"/>
                <a:lstStyle/>
                <a:p>
                  <a:endParaRPr lang="en-GB"/>
                </a:p>
              </p:txBody>
            </p:sp>
            <p:sp>
              <p:nvSpPr>
                <p:cNvPr id="6441" name="Vrije vorm: vorm 6440">
                  <a:extLst>
                    <a:ext uri="{FF2B5EF4-FFF2-40B4-BE49-F238E27FC236}">
                      <a16:creationId xmlns:a16="http://schemas.microsoft.com/office/drawing/2014/main" id="{1970034A-0C14-4666-87C0-8BA28EA34145}"/>
                    </a:ext>
                  </a:extLst>
                </p:cNvPr>
                <p:cNvSpPr/>
                <p:nvPr/>
              </p:nvSpPr>
              <p:spPr>
                <a:xfrm>
                  <a:off x="6963554" y="1866264"/>
                  <a:ext cx="26255" cy="43121"/>
                </a:xfrm>
                <a:custGeom>
                  <a:avLst/>
                  <a:gdLst>
                    <a:gd name="connsiteX0" fmla="*/ 0 w 26255"/>
                    <a:gd name="connsiteY0" fmla="*/ 43121 h 43121"/>
                    <a:gd name="connsiteX1" fmla="*/ 1615 w 26255"/>
                    <a:gd name="connsiteY1" fmla="*/ 40430 h 43121"/>
                    <a:gd name="connsiteX2" fmla="*/ 1675 w 26255"/>
                    <a:gd name="connsiteY2" fmla="*/ 40370 h 43121"/>
                    <a:gd name="connsiteX3" fmla="*/ 2213 w 26255"/>
                    <a:gd name="connsiteY3" fmla="*/ 39413 h 43121"/>
                    <a:gd name="connsiteX4" fmla="*/ 2213 w 26255"/>
                    <a:gd name="connsiteY4" fmla="*/ 39353 h 43121"/>
                    <a:gd name="connsiteX5" fmla="*/ 2213 w 26255"/>
                    <a:gd name="connsiteY5" fmla="*/ 39353 h 43121"/>
                    <a:gd name="connsiteX6" fmla="*/ 2333 w 26255"/>
                    <a:gd name="connsiteY6" fmla="*/ 39174 h 43121"/>
                    <a:gd name="connsiteX7" fmla="*/ 2392 w 26255"/>
                    <a:gd name="connsiteY7" fmla="*/ 39114 h 43121"/>
                    <a:gd name="connsiteX8" fmla="*/ 4545 w 26255"/>
                    <a:gd name="connsiteY8" fmla="*/ 35406 h 43121"/>
                    <a:gd name="connsiteX9" fmla="*/ 6818 w 26255"/>
                    <a:gd name="connsiteY9" fmla="*/ 31877 h 43121"/>
                    <a:gd name="connsiteX10" fmla="*/ 6818 w 26255"/>
                    <a:gd name="connsiteY10" fmla="*/ 31877 h 43121"/>
                    <a:gd name="connsiteX11" fmla="*/ 7296 w 26255"/>
                    <a:gd name="connsiteY11" fmla="*/ 31160 h 43121"/>
                    <a:gd name="connsiteX12" fmla="*/ 7296 w 26255"/>
                    <a:gd name="connsiteY12" fmla="*/ 31100 h 43121"/>
                    <a:gd name="connsiteX13" fmla="*/ 7536 w 26255"/>
                    <a:gd name="connsiteY13" fmla="*/ 30741 h 43121"/>
                    <a:gd name="connsiteX14" fmla="*/ 7656 w 26255"/>
                    <a:gd name="connsiteY14" fmla="*/ 30502 h 43121"/>
                    <a:gd name="connsiteX15" fmla="*/ 7656 w 26255"/>
                    <a:gd name="connsiteY15" fmla="*/ 30502 h 43121"/>
                    <a:gd name="connsiteX16" fmla="*/ 8553 w 26255"/>
                    <a:gd name="connsiteY16" fmla="*/ 29126 h 43121"/>
                    <a:gd name="connsiteX17" fmla="*/ 9749 w 26255"/>
                    <a:gd name="connsiteY17" fmla="*/ 27272 h 43121"/>
                    <a:gd name="connsiteX18" fmla="*/ 9868 w 26255"/>
                    <a:gd name="connsiteY18" fmla="*/ 27093 h 43121"/>
                    <a:gd name="connsiteX19" fmla="*/ 11364 w 26255"/>
                    <a:gd name="connsiteY19" fmla="*/ 24700 h 43121"/>
                    <a:gd name="connsiteX20" fmla="*/ 11364 w 26255"/>
                    <a:gd name="connsiteY20" fmla="*/ 24700 h 43121"/>
                    <a:gd name="connsiteX21" fmla="*/ 11902 w 26255"/>
                    <a:gd name="connsiteY21" fmla="*/ 23803 h 43121"/>
                    <a:gd name="connsiteX22" fmla="*/ 12679 w 26255"/>
                    <a:gd name="connsiteY22" fmla="*/ 22607 h 43121"/>
                    <a:gd name="connsiteX23" fmla="*/ 13097 w 26255"/>
                    <a:gd name="connsiteY23" fmla="*/ 21949 h 43121"/>
                    <a:gd name="connsiteX24" fmla="*/ 13397 w 26255"/>
                    <a:gd name="connsiteY24" fmla="*/ 21471 h 43121"/>
                    <a:gd name="connsiteX25" fmla="*/ 13397 w 26255"/>
                    <a:gd name="connsiteY25" fmla="*/ 21471 h 43121"/>
                    <a:gd name="connsiteX26" fmla="*/ 13935 w 26255"/>
                    <a:gd name="connsiteY26" fmla="*/ 20634 h 43121"/>
                    <a:gd name="connsiteX27" fmla="*/ 14533 w 26255"/>
                    <a:gd name="connsiteY27" fmla="*/ 19677 h 43121"/>
                    <a:gd name="connsiteX28" fmla="*/ 14712 w 26255"/>
                    <a:gd name="connsiteY28" fmla="*/ 19437 h 43121"/>
                    <a:gd name="connsiteX29" fmla="*/ 14772 w 26255"/>
                    <a:gd name="connsiteY29" fmla="*/ 19318 h 43121"/>
                    <a:gd name="connsiteX30" fmla="*/ 14772 w 26255"/>
                    <a:gd name="connsiteY30" fmla="*/ 19318 h 43121"/>
                    <a:gd name="connsiteX31" fmla="*/ 14952 w 26255"/>
                    <a:gd name="connsiteY31" fmla="*/ 19019 h 43121"/>
                    <a:gd name="connsiteX32" fmla="*/ 16029 w 26255"/>
                    <a:gd name="connsiteY32" fmla="*/ 17284 h 43121"/>
                    <a:gd name="connsiteX33" fmla="*/ 16627 w 26255"/>
                    <a:gd name="connsiteY33" fmla="*/ 16327 h 43121"/>
                    <a:gd name="connsiteX34" fmla="*/ 17165 w 26255"/>
                    <a:gd name="connsiteY34" fmla="*/ 15490 h 43121"/>
                    <a:gd name="connsiteX35" fmla="*/ 17763 w 26255"/>
                    <a:gd name="connsiteY35" fmla="*/ 14533 h 43121"/>
                    <a:gd name="connsiteX36" fmla="*/ 17822 w 26255"/>
                    <a:gd name="connsiteY36" fmla="*/ 14473 h 43121"/>
                    <a:gd name="connsiteX37" fmla="*/ 18182 w 26255"/>
                    <a:gd name="connsiteY37" fmla="*/ 13816 h 43121"/>
                    <a:gd name="connsiteX38" fmla="*/ 20155 w 26255"/>
                    <a:gd name="connsiteY38" fmla="*/ 10466 h 43121"/>
                    <a:gd name="connsiteX39" fmla="*/ 20215 w 26255"/>
                    <a:gd name="connsiteY39" fmla="*/ 10406 h 43121"/>
                    <a:gd name="connsiteX40" fmla="*/ 20394 w 26255"/>
                    <a:gd name="connsiteY40" fmla="*/ 10107 h 43121"/>
                    <a:gd name="connsiteX41" fmla="*/ 21890 w 26255"/>
                    <a:gd name="connsiteY41" fmla="*/ 7536 h 43121"/>
                    <a:gd name="connsiteX42" fmla="*/ 26255 w 26255"/>
                    <a:gd name="connsiteY42" fmla="*/ 0 h 4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255" h="43121">
                      <a:moveTo>
                        <a:pt x="0" y="43121"/>
                      </a:moveTo>
                      <a:lnTo>
                        <a:pt x="1615" y="40430"/>
                      </a:lnTo>
                      <a:lnTo>
                        <a:pt x="1675" y="40370"/>
                      </a:lnTo>
                      <a:lnTo>
                        <a:pt x="2213" y="39413"/>
                      </a:lnTo>
                      <a:lnTo>
                        <a:pt x="2213" y="39353"/>
                      </a:lnTo>
                      <a:lnTo>
                        <a:pt x="2213" y="39353"/>
                      </a:lnTo>
                      <a:lnTo>
                        <a:pt x="2333" y="39174"/>
                      </a:lnTo>
                      <a:lnTo>
                        <a:pt x="2392" y="39114"/>
                      </a:lnTo>
                      <a:lnTo>
                        <a:pt x="4545" y="35406"/>
                      </a:lnTo>
                      <a:lnTo>
                        <a:pt x="6818" y="31877"/>
                      </a:lnTo>
                      <a:lnTo>
                        <a:pt x="6818" y="31877"/>
                      </a:lnTo>
                      <a:lnTo>
                        <a:pt x="7296" y="31160"/>
                      </a:lnTo>
                      <a:lnTo>
                        <a:pt x="7296" y="31100"/>
                      </a:lnTo>
                      <a:lnTo>
                        <a:pt x="7536" y="30741"/>
                      </a:lnTo>
                      <a:lnTo>
                        <a:pt x="7656" y="30502"/>
                      </a:lnTo>
                      <a:lnTo>
                        <a:pt x="7656" y="30502"/>
                      </a:lnTo>
                      <a:lnTo>
                        <a:pt x="8553" y="29126"/>
                      </a:lnTo>
                      <a:lnTo>
                        <a:pt x="9749" y="27272"/>
                      </a:lnTo>
                      <a:lnTo>
                        <a:pt x="9868" y="27093"/>
                      </a:lnTo>
                      <a:lnTo>
                        <a:pt x="11364" y="24700"/>
                      </a:lnTo>
                      <a:lnTo>
                        <a:pt x="11364" y="24700"/>
                      </a:lnTo>
                      <a:lnTo>
                        <a:pt x="11902" y="23803"/>
                      </a:lnTo>
                      <a:lnTo>
                        <a:pt x="12679" y="22607"/>
                      </a:lnTo>
                      <a:lnTo>
                        <a:pt x="13097" y="21949"/>
                      </a:lnTo>
                      <a:lnTo>
                        <a:pt x="13397" y="21471"/>
                      </a:lnTo>
                      <a:lnTo>
                        <a:pt x="13397" y="21471"/>
                      </a:lnTo>
                      <a:lnTo>
                        <a:pt x="13935" y="20634"/>
                      </a:lnTo>
                      <a:lnTo>
                        <a:pt x="14533" y="19677"/>
                      </a:lnTo>
                      <a:lnTo>
                        <a:pt x="14712" y="19437"/>
                      </a:lnTo>
                      <a:lnTo>
                        <a:pt x="14772" y="19318"/>
                      </a:lnTo>
                      <a:lnTo>
                        <a:pt x="14772" y="19318"/>
                      </a:lnTo>
                      <a:lnTo>
                        <a:pt x="14952" y="19019"/>
                      </a:lnTo>
                      <a:lnTo>
                        <a:pt x="16029" y="17284"/>
                      </a:lnTo>
                      <a:lnTo>
                        <a:pt x="16627" y="16327"/>
                      </a:lnTo>
                      <a:lnTo>
                        <a:pt x="17165" y="15490"/>
                      </a:lnTo>
                      <a:lnTo>
                        <a:pt x="17763" y="14533"/>
                      </a:lnTo>
                      <a:lnTo>
                        <a:pt x="17822" y="14473"/>
                      </a:lnTo>
                      <a:lnTo>
                        <a:pt x="18182" y="13816"/>
                      </a:lnTo>
                      <a:lnTo>
                        <a:pt x="20155" y="10466"/>
                      </a:lnTo>
                      <a:lnTo>
                        <a:pt x="20215" y="10406"/>
                      </a:lnTo>
                      <a:lnTo>
                        <a:pt x="20394" y="10107"/>
                      </a:lnTo>
                      <a:lnTo>
                        <a:pt x="21890" y="7536"/>
                      </a:lnTo>
                      <a:lnTo>
                        <a:pt x="26255" y="0"/>
                      </a:lnTo>
                    </a:path>
                  </a:pathLst>
                </a:custGeom>
                <a:noFill/>
                <a:ln w="6350" cap="rnd">
                  <a:solidFill>
                    <a:schemeClr val="bg1">
                      <a:alpha val="40000"/>
                    </a:schemeClr>
                  </a:solidFill>
                  <a:prstDash val="solid"/>
                  <a:round/>
                </a:ln>
              </p:spPr>
              <p:txBody>
                <a:bodyPr rtlCol="0" anchor="ctr"/>
                <a:lstStyle/>
                <a:p>
                  <a:endParaRPr lang="en-GB"/>
                </a:p>
              </p:txBody>
            </p:sp>
            <p:sp>
              <p:nvSpPr>
                <p:cNvPr id="6442" name="Vrije vorm: vorm 6441">
                  <a:extLst>
                    <a:ext uri="{FF2B5EF4-FFF2-40B4-BE49-F238E27FC236}">
                      <a16:creationId xmlns:a16="http://schemas.microsoft.com/office/drawing/2014/main" id="{BB4D3D0F-36D9-42D1-93DE-E4099A3A27F2}"/>
                    </a:ext>
                  </a:extLst>
                </p:cNvPr>
                <p:cNvSpPr/>
                <p:nvPr/>
              </p:nvSpPr>
              <p:spPr>
                <a:xfrm>
                  <a:off x="6804227" y="1943236"/>
                  <a:ext cx="16446" cy="10944"/>
                </a:xfrm>
                <a:custGeom>
                  <a:avLst/>
                  <a:gdLst>
                    <a:gd name="connsiteX0" fmla="*/ 16447 w 16446"/>
                    <a:gd name="connsiteY0" fmla="*/ 0 h 10944"/>
                    <a:gd name="connsiteX1" fmla="*/ 15251 w 16446"/>
                    <a:gd name="connsiteY1" fmla="*/ 1017 h 10944"/>
                    <a:gd name="connsiteX2" fmla="*/ 10885 w 16446"/>
                    <a:gd name="connsiteY2" fmla="*/ 2273 h 10944"/>
                    <a:gd name="connsiteX3" fmla="*/ 10706 w 16446"/>
                    <a:gd name="connsiteY3" fmla="*/ 2392 h 10944"/>
                    <a:gd name="connsiteX4" fmla="*/ 9569 w 16446"/>
                    <a:gd name="connsiteY4" fmla="*/ 3110 h 10944"/>
                    <a:gd name="connsiteX5" fmla="*/ 9450 w 16446"/>
                    <a:gd name="connsiteY5" fmla="*/ 3170 h 10944"/>
                    <a:gd name="connsiteX6" fmla="*/ 7715 w 16446"/>
                    <a:gd name="connsiteY6" fmla="*/ 4246 h 10944"/>
                    <a:gd name="connsiteX7" fmla="*/ 6878 w 16446"/>
                    <a:gd name="connsiteY7" fmla="*/ 4785 h 10944"/>
                    <a:gd name="connsiteX8" fmla="*/ 5622 w 16446"/>
                    <a:gd name="connsiteY8" fmla="*/ 5562 h 10944"/>
                    <a:gd name="connsiteX9" fmla="*/ 4725 w 16446"/>
                    <a:gd name="connsiteY9" fmla="*/ 6399 h 10944"/>
                    <a:gd name="connsiteX10" fmla="*/ 3947 w 16446"/>
                    <a:gd name="connsiteY10" fmla="*/ 7177 h 10944"/>
                    <a:gd name="connsiteX11" fmla="*/ 0 w 16446"/>
                    <a:gd name="connsiteY11" fmla="*/ 10945 h 1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46" h="10944">
                      <a:moveTo>
                        <a:pt x="16447" y="0"/>
                      </a:moveTo>
                      <a:lnTo>
                        <a:pt x="15251" y="1017"/>
                      </a:lnTo>
                      <a:lnTo>
                        <a:pt x="10885" y="2273"/>
                      </a:lnTo>
                      <a:lnTo>
                        <a:pt x="10706" y="2392"/>
                      </a:lnTo>
                      <a:lnTo>
                        <a:pt x="9569" y="3110"/>
                      </a:lnTo>
                      <a:lnTo>
                        <a:pt x="9450" y="3170"/>
                      </a:lnTo>
                      <a:lnTo>
                        <a:pt x="7715" y="4246"/>
                      </a:lnTo>
                      <a:lnTo>
                        <a:pt x="6878" y="4785"/>
                      </a:lnTo>
                      <a:lnTo>
                        <a:pt x="5622" y="5562"/>
                      </a:lnTo>
                      <a:lnTo>
                        <a:pt x="4725" y="6399"/>
                      </a:lnTo>
                      <a:lnTo>
                        <a:pt x="3947" y="7177"/>
                      </a:lnTo>
                      <a:lnTo>
                        <a:pt x="0" y="10945"/>
                      </a:lnTo>
                    </a:path>
                  </a:pathLst>
                </a:custGeom>
                <a:noFill/>
                <a:ln w="6350" cap="rnd">
                  <a:solidFill>
                    <a:schemeClr val="bg1">
                      <a:alpha val="40000"/>
                    </a:schemeClr>
                  </a:solidFill>
                  <a:prstDash val="solid"/>
                  <a:round/>
                </a:ln>
              </p:spPr>
              <p:txBody>
                <a:bodyPr rtlCol="0" anchor="ctr"/>
                <a:lstStyle/>
                <a:p>
                  <a:endParaRPr lang="en-GB"/>
                </a:p>
              </p:txBody>
            </p:sp>
            <p:sp>
              <p:nvSpPr>
                <p:cNvPr id="6443" name="Vrije vorm: vorm 6442">
                  <a:extLst>
                    <a:ext uri="{FF2B5EF4-FFF2-40B4-BE49-F238E27FC236}">
                      <a16:creationId xmlns:a16="http://schemas.microsoft.com/office/drawing/2014/main" id="{9A16FD6A-5763-4DDC-A3E7-E4020131C563}"/>
                    </a:ext>
                  </a:extLst>
                </p:cNvPr>
                <p:cNvSpPr/>
                <p:nvPr/>
              </p:nvSpPr>
              <p:spPr>
                <a:xfrm>
                  <a:off x="6899859" y="1920928"/>
                  <a:ext cx="5860" cy="2810"/>
                </a:xfrm>
                <a:custGeom>
                  <a:avLst/>
                  <a:gdLst>
                    <a:gd name="connsiteX0" fmla="*/ 5861 w 5860"/>
                    <a:gd name="connsiteY0" fmla="*/ 2392 h 2810"/>
                    <a:gd name="connsiteX1" fmla="*/ 5622 w 5860"/>
                    <a:gd name="connsiteY1" fmla="*/ 2811 h 2810"/>
                    <a:gd name="connsiteX2" fmla="*/ 5383 w 5860"/>
                    <a:gd name="connsiteY2" fmla="*/ 2691 h 2810"/>
                    <a:gd name="connsiteX3" fmla="*/ 3528 w 5860"/>
                    <a:gd name="connsiteY3" fmla="*/ 1914 h 2810"/>
                    <a:gd name="connsiteX4" fmla="*/ 3050 w 5860"/>
                    <a:gd name="connsiteY4" fmla="*/ 1734 h 2810"/>
                    <a:gd name="connsiteX5" fmla="*/ 2333 w 5860"/>
                    <a:gd name="connsiteY5" fmla="*/ 1435 h 2810"/>
                    <a:gd name="connsiteX6" fmla="*/ 1735 w 5860"/>
                    <a:gd name="connsiteY6" fmla="*/ 1077 h 2810"/>
                    <a:gd name="connsiteX7" fmla="*/ 658 w 5860"/>
                    <a:gd name="connsiteY7" fmla="*/ 419 h 2810"/>
                    <a:gd name="connsiteX8" fmla="*/ 120 w 5860"/>
                    <a:gd name="connsiteY8" fmla="*/ 60 h 2810"/>
                    <a:gd name="connsiteX9" fmla="*/ 0 w 5860"/>
                    <a:gd name="connsiteY9" fmla="*/ 0 h 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0" h="2810">
                      <a:moveTo>
                        <a:pt x="5861" y="2392"/>
                      </a:moveTo>
                      <a:lnTo>
                        <a:pt x="5622" y="2811"/>
                      </a:lnTo>
                      <a:lnTo>
                        <a:pt x="5383" y="2691"/>
                      </a:lnTo>
                      <a:lnTo>
                        <a:pt x="3528" y="1914"/>
                      </a:lnTo>
                      <a:lnTo>
                        <a:pt x="3050" y="1734"/>
                      </a:lnTo>
                      <a:lnTo>
                        <a:pt x="2333" y="1435"/>
                      </a:lnTo>
                      <a:lnTo>
                        <a:pt x="1735" y="1077"/>
                      </a:lnTo>
                      <a:lnTo>
                        <a:pt x="658" y="419"/>
                      </a:lnTo>
                      <a:lnTo>
                        <a:pt x="120" y="6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44" name="Vrije vorm: vorm 6443">
                  <a:extLst>
                    <a:ext uri="{FF2B5EF4-FFF2-40B4-BE49-F238E27FC236}">
                      <a16:creationId xmlns:a16="http://schemas.microsoft.com/office/drawing/2014/main" id="{2016FD7B-DB8B-4A0C-8888-A53FEC160E96}"/>
                    </a:ext>
                  </a:extLst>
                </p:cNvPr>
                <p:cNvSpPr/>
                <p:nvPr/>
              </p:nvSpPr>
              <p:spPr>
                <a:xfrm>
                  <a:off x="6897586" y="1922782"/>
                  <a:ext cx="4127" cy="1913"/>
                </a:xfrm>
                <a:custGeom>
                  <a:avLst/>
                  <a:gdLst>
                    <a:gd name="connsiteX0" fmla="*/ 4127 w 4127"/>
                    <a:gd name="connsiteY0" fmla="*/ 1914 h 1913"/>
                    <a:gd name="connsiteX1" fmla="*/ 2811 w 4127"/>
                    <a:gd name="connsiteY1" fmla="*/ 1316 h 1913"/>
                    <a:gd name="connsiteX2" fmla="*/ 2752 w 4127"/>
                    <a:gd name="connsiteY2" fmla="*/ 1316 h 1913"/>
                    <a:gd name="connsiteX3" fmla="*/ 2033 w 4127"/>
                    <a:gd name="connsiteY3" fmla="*/ 1017 h 1913"/>
                    <a:gd name="connsiteX4" fmla="*/ 897 w 4127"/>
                    <a:gd name="connsiteY4" fmla="*/ 538 h 1913"/>
                    <a:gd name="connsiteX5" fmla="*/ 0 w 4127"/>
                    <a:gd name="connsiteY5" fmla="*/ 0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7" h="1913">
                      <a:moveTo>
                        <a:pt x="4127" y="1914"/>
                      </a:moveTo>
                      <a:lnTo>
                        <a:pt x="2811" y="1316"/>
                      </a:lnTo>
                      <a:lnTo>
                        <a:pt x="2752" y="1316"/>
                      </a:lnTo>
                      <a:lnTo>
                        <a:pt x="2033" y="1017"/>
                      </a:lnTo>
                      <a:lnTo>
                        <a:pt x="897" y="53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45" name="Vrije vorm: vorm 6444">
                  <a:extLst>
                    <a:ext uri="{FF2B5EF4-FFF2-40B4-BE49-F238E27FC236}">
                      <a16:creationId xmlns:a16="http://schemas.microsoft.com/office/drawing/2014/main" id="{F5905DF3-3E6B-4F23-B604-86A5D0C4C679}"/>
                    </a:ext>
                  </a:extLst>
                </p:cNvPr>
                <p:cNvSpPr/>
                <p:nvPr/>
              </p:nvSpPr>
              <p:spPr>
                <a:xfrm>
                  <a:off x="6742147" y="1906993"/>
                  <a:ext cx="29365" cy="34329"/>
                </a:xfrm>
                <a:custGeom>
                  <a:avLst/>
                  <a:gdLst>
                    <a:gd name="connsiteX0" fmla="*/ 29366 w 29365"/>
                    <a:gd name="connsiteY0" fmla="*/ 34329 h 34329"/>
                    <a:gd name="connsiteX1" fmla="*/ 26794 w 29365"/>
                    <a:gd name="connsiteY1" fmla="*/ 34030 h 34329"/>
                    <a:gd name="connsiteX2" fmla="*/ 25478 w 29365"/>
                    <a:gd name="connsiteY2" fmla="*/ 33911 h 34329"/>
                    <a:gd name="connsiteX3" fmla="*/ 24521 w 29365"/>
                    <a:gd name="connsiteY3" fmla="*/ 33791 h 34329"/>
                    <a:gd name="connsiteX4" fmla="*/ 22248 w 29365"/>
                    <a:gd name="connsiteY4" fmla="*/ 33552 h 34329"/>
                    <a:gd name="connsiteX5" fmla="*/ 21172 w 29365"/>
                    <a:gd name="connsiteY5" fmla="*/ 33432 h 34329"/>
                    <a:gd name="connsiteX6" fmla="*/ 20514 w 29365"/>
                    <a:gd name="connsiteY6" fmla="*/ 33372 h 34329"/>
                    <a:gd name="connsiteX7" fmla="*/ 20095 w 29365"/>
                    <a:gd name="connsiteY7" fmla="*/ 33313 h 34329"/>
                    <a:gd name="connsiteX8" fmla="*/ 19856 w 29365"/>
                    <a:gd name="connsiteY8" fmla="*/ 33253 h 34329"/>
                    <a:gd name="connsiteX9" fmla="*/ 19856 w 29365"/>
                    <a:gd name="connsiteY9" fmla="*/ 33253 h 34329"/>
                    <a:gd name="connsiteX10" fmla="*/ 17882 w 29365"/>
                    <a:gd name="connsiteY10" fmla="*/ 32834 h 34329"/>
                    <a:gd name="connsiteX11" fmla="*/ 17823 w 29365"/>
                    <a:gd name="connsiteY11" fmla="*/ 32834 h 34329"/>
                    <a:gd name="connsiteX12" fmla="*/ 16387 w 29365"/>
                    <a:gd name="connsiteY12" fmla="*/ 32535 h 34329"/>
                    <a:gd name="connsiteX13" fmla="*/ 15371 w 29365"/>
                    <a:gd name="connsiteY13" fmla="*/ 32296 h 34329"/>
                    <a:gd name="connsiteX14" fmla="*/ 15191 w 29365"/>
                    <a:gd name="connsiteY14" fmla="*/ 32236 h 34329"/>
                    <a:gd name="connsiteX15" fmla="*/ 14354 w 29365"/>
                    <a:gd name="connsiteY15" fmla="*/ 32057 h 34329"/>
                    <a:gd name="connsiteX16" fmla="*/ 13995 w 29365"/>
                    <a:gd name="connsiteY16" fmla="*/ 31817 h 34329"/>
                    <a:gd name="connsiteX17" fmla="*/ 13696 w 29365"/>
                    <a:gd name="connsiteY17" fmla="*/ 31638 h 34329"/>
                    <a:gd name="connsiteX18" fmla="*/ 13576 w 29365"/>
                    <a:gd name="connsiteY18" fmla="*/ 31578 h 34329"/>
                    <a:gd name="connsiteX19" fmla="*/ 13576 w 29365"/>
                    <a:gd name="connsiteY19" fmla="*/ 31578 h 34329"/>
                    <a:gd name="connsiteX20" fmla="*/ 13397 w 29365"/>
                    <a:gd name="connsiteY20" fmla="*/ 31459 h 34329"/>
                    <a:gd name="connsiteX21" fmla="*/ 11842 w 29365"/>
                    <a:gd name="connsiteY21" fmla="*/ 30442 h 34329"/>
                    <a:gd name="connsiteX22" fmla="*/ 11662 w 29365"/>
                    <a:gd name="connsiteY22" fmla="*/ 30322 h 34329"/>
                    <a:gd name="connsiteX23" fmla="*/ 10706 w 29365"/>
                    <a:gd name="connsiteY23" fmla="*/ 29664 h 34329"/>
                    <a:gd name="connsiteX24" fmla="*/ 10048 w 29365"/>
                    <a:gd name="connsiteY24" fmla="*/ 29246 h 34329"/>
                    <a:gd name="connsiteX25" fmla="*/ 9330 w 29365"/>
                    <a:gd name="connsiteY25" fmla="*/ 28767 h 34329"/>
                    <a:gd name="connsiteX26" fmla="*/ 9031 w 29365"/>
                    <a:gd name="connsiteY26" fmla="*/ 28588 h 34329"/>
                    <a:gd name="connsiteX27" fmla="*/ 8672 w 29365"/>
                    <a:gd name="connsiteY27" fmla="*/ 28349 h 34329"/>
                    <a:gd name="connsiteX28" fmla="*/ 7596 w 29365"/>
                    <a:gd name="connsiteY28" fmla="*/ 27631 h 34329"/>
                    <a:gd name="connsiteX29" fmla="*/ 7476 w 29365"/>
                    <a:gd name="connsiteY29" fmla="*/ 27511 h 34329"/>
                    <a:gd name="connsiteX30" fmla="*/ 6399 w 29365"/>
                    <a:gd name="connsiteY30" fmla="*/ 26794 h 34329"/>
                    <a:gd name="connsiteX31" fmla="*/ 5084 w 29365"/>
                    <a:gd name="connsiteY31" fmla="*/ 25896 h 34329"/>
                    <a:gd name="connsiteX32" fmla="*/ 4904 w 29365"/>
                    <a:gd name="connsiteY32" fmla="*/ 25657 h 34329"/>
                    <a:gd name="connsiteX33" fmla="*/ 4605 w 29365"/>
                    <a:gd name="connsiteY33" fmla="*/ 25298 h 34329"/>
                    <a:gd name="connsiteX34" fmla="*/ 4306 w 29365"/>
                    <a:gd name="connsiteY34" fmla="*/ 24880 h 34329"/>
                    <a:gd name="connsiteX35" fmla="*/ 4127 w 29365"/>
                    <a:gd name="connsiteY35" fmla="*/ 24641 h 34329"/>
                    <a:gd name="connsiteX36" fmla="*/ 2871 w 29365"/>
                    <a:gd name="connsiteY36" fmla="*/ 22966 h 34329"/>
                    <a:gd name="connsiteX37" fmla="*/ 2871 w 29365"/>
                    <a:gd name="connsiteY37" fmla="*/ 22966 h 34329"/>
                    <a:gd name="connsiteX38" fmla="*/ 2691 w 29365"/>
                    <a:gd name="connsiteY38" fmla="*/ 22727 h 34329"/>
                    <a:gd name="connsiteX39" fmla="*/ 1974 w 29365"/>
                    <a:gd name="connsiteY39" fmla="*/ 21770 h 34329"/>
                    <a:gd name="connsiteX40" fmla="*/ 1675 w 29365"/>
                    <a:gd name="connsiteY40" fmla="*/ 21351 h 34329"/>
                    <a:gd name="connsiteX41" fmla="*/ 1615 w 29365"/>
                    <a:gd name="connsiteY41" fmla="*/ 21172 h 34329"/>
                    <a:gd name="connsiteX42" fmla="*/ 419 w 29365"/>
                    <a:gd name="connsiteY42" fmla="*/ 16985 h 34329"/>
                    <a:gd name="connsiteX43" fmla="*/ 120 w 29365"/>
                    <a:gd name="connsiteY43" fmla="*/ 13217 h 34329"/>
                    <a:gd name="connsiteX44" fmla="*/ 60 w 29365"/>
                    <a:gd name="connsiteY44" fmla="*/ 12260 h 34329"/>
                    <a:gd name="connsiteX45" fmla="*/ 0 w 29365"/>
                    <a:gd name="connsiteY45" fmla="*/ 11423 h 34329"/>
                    <a:gd name="connsiteX46" fmla="*/ 1615 w 29365"/>
                    <a:gd name="connsiteY46" fmla="*/ 6459 h 34329"/>
                    <a:gd name="connsiteX47" fmla="*/ 5084 w 29365"/>
                    <a:gd name="connsiteY47" fmla="*/ 2751 h 34329"/>
                    <a:gd name="connsiteX48" fmla="*/ 8552 w 29365"/>
                    <a:gd name="connsiteY48" fmla="*/ 1316 h 34329"/>
                    <a:gd name="connsiteX49" fmla="*/ 9988 w 29365"/>
                    <a:gd name="connsiteY49" fmla="*/ 718 h 34329"/>
                    <a:gd name="connsiteX50" fmla="*/ 13158 w 29365"/>
                    <a:gd name="connsiteY50" fmla="*/ 179 h 34329"/>
                    <a:gd name="connsiteX51" fmla="*/ 14294 w 29365"/>
                    <a:gd name="connsiteY51" fmla="*/ 0 h 34329"/>
                    <a:gd name="connsiteX52" fmla="*/ 14892 w 29365"/>
                    <a:gd name="connsiteY52" fmla="*/ 120 h 34329"/>
                    <a:gd name="connsiteX53" fmla="*/ 17763 w 29365"/>
                    <a:gd name="connsiteY53" fmla="*/ 718 h 34329"/>
                    <a:gd name="connsiteX54" fmla="*/ 19916 w 29365"/>
                    <a:gd name="connsiteY54" fmla="*/ 1136 h 34329"/>
                    <a:gd name="connsiteX55" fmla="*/ 20813 w 29365"/>
                    <a:gd name="connsiteY55" fmla="*/ 1675 h 34329"/>
                    <a:gd name="connsiteX56" fmla="*/ 20873 w 29365"/>
                    <a:gd name="connsiteY56" fmla="*/ 1734 h 34329"/>
                    <a:gd name="connsiteX57" fmla="*/ 21172 w 29365"/>
                    <a:gd name="connsiteY57" fmla="*/ 1914 h 34329"/>
                    <a:gd name="connsiteX58" fmla="*/ 21950 w 29365"/>
                    <a:gd name="connsiteY58" fmla="*/ 2392 h 34329"/>
                    <a:gd name="connsiteX59" fmla="*/ 24581 w 29365"/>
                    <a:gd name="connsiteY59" fmla="*/ 4007 h 34329"/>
                    <a:gd name="connsiteX60" fmla="*/ 24820 w 29365"/>
                    <a:gd name="connsiteY60" fmla="*/ 4186 h 34329"/>
                    <a:gd name="connsiteX61" fmla="*/ 26076 w 29365"/>
                    <a:gd name="connsiteY61" fmla="*/ 4964 h 34329"/>
                    <a:gd name="connsiteX62" fmla="*/ 26315 w 29365"/>
                    <a:gd name="connsiteY62" fmla="*/ 5084 h 34329"/>
                    <a:gd name="connsiteX63" fmla="*/ 27571 w 29365"/>
                    <a:gd name="connsiteY63" fmla="*/ 5861 h 34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9365" h="34329">
                      <a:moveTo>
                        <a:pt x="29366" y="34329"/>
                      </a:moveTo>
                      <a:lnTo>
                        <a:pt x="26794" y="34030"/>
                      </a:lnTo>
                      <a:lnTo>
                        <a:pt x="25478" y="33911"/>
                      </a:lnTo>
                      <a:lnTo>
                        <a:pt x="24521" y="33791"/>
                      </a:lnTo>
                      <a:lnTo>
                        <a:pt x="22248" y="33552"/>
                      </a:lnTo>
                      <a:lnTo>
                        <a:pt x="21172" y="33432"/>
                      </a:lnTo>
                      <a:lnTo>
                        <a:pt x="20514" y="33372"/>
                      </a:lnTo>
                      <a:lnTo>
                        <a:pt x="20095" y="33313"/>
                      </a:lnTo>
                      <a:lnTo>
                        <a:pt x="19856" y="33253"/>
                      </a:lnTo>
                      <a:lnTo>
                        <a:pt x="19856" y="33253"/>
                      </a:lnTo>
                      <a:lnTo>
                        <a:pt x="17882" y="32834"/>
                      </a:lnTo>
                      <a:lnTo>
                        <a:pt x="17823" y="32834"/>
                      </a:lnTo>
                      <a:lnTo>
                        <a:pt x="16387" y="32535"/>
                      </a:lnTo>
                      <a:lnTo>
                        <a:pt x="15371" y="32296"/>
                      </a:lnTo>
                      <a:lnTo>
                        <a:pt x="15191" y="32236"/>
                      </a:lnTo>
                      <a:lnTo>
                        <a:pt x="14354" y="32057"/>
                      </a:lnTo>
                      <a:lnTo>
                        <a:pt x="13995" y="31817"/>
                      </a:lnTo>
                      <a:lnTo>
                        <a:pt x="13696" y="31638"/>
                      </a:lnTo>
                      <a:lnTo>
                        <a:pt x="13576" y="31578"/>
                      </a:lnTo>
                      <a:lnTo>
                        <a:pt x="13576" y="31578"/>
                      </a:lnTo>
                      <a:lnTo>
                        <a:pt x="13397" y="31459"/>
                      </a:lnTo>
                      <a:lnTo>
                        <a:pt x="11842" y="30442"/>
                      </a:lnTo>
                      <a:lnTo>
                        <a:pt x="11662" y="30322"/>
                      </a:lnTo>
                      <a:lnTo>
                        <a:pt x="10706" y="29664"/>
                      </a:lnTo>
                      <a:lnTo>
                        <a:pt x="10048" y="29246"/>
                      </a:lnTo>
                      <a:lnTo>
                        <a:pt x="9330" y="28767"/>
                      </a:lnTo>
                      <a:lnTo>
                        <a:pt x="9031" y="28588"/>
                      </a:lnTo>
                      <a:lnTo>
                        <a:pt x="8672" y="28349"/>
                      </a:lnTo>
                      <a:lnTo>
                        <a:pt x="7596" y="27631"/>
                      </a:lnTo>
                      <a:lnTo>
                        <a:pt x="7476" y="27511"/>
                      </a:lnTo>
                      <a:lnTo>
                        <a:pt x="6399" y="26794"/>
                      </a:lnTo>
                      <a:lnTo>
                        <a:pt x="5084" y="25896"/>
                      </a:lnTo>
                      <a:lnTo>
                        <a:pt x="4904" y="25657"/>
                      </a:lnTo>
                      <a:lnTo>
                        <a:pt x="4605" y="25298"/>
                      </a:lnTo>
                      <a:lnTo>
                        <a:pt x="4306" y="24880"/>
                      </a:lnTo>
                      <a:lnTo>
                        <a:pt x="4127" y="24641"/>
                      </a:lnTo>
                      <a:lnTo>
                        <a:pt x="2871" y="22966"/>
                      </a:lnTo>
                      <a:lnTo>
                        <a:pt x="2871" y="22966"/>
                      </a:lnTo>
                      <a:lnTo>
                        <a:pt x="2691" y="22727"/>
                      </a:lnTo>
                      <a:lnTo>
                        <a:pt x="1974" y="21770"/>
                      </a:lnTo>
                      <a:lnTo>
                        <a:pt x="1675" y="21351"/>
                      </a:lnTo>
                      <a:lnTo>
                        <a:pt x="1615" y="21172"/>
                      </a:lnTo>
                      <a:lnTo>
                        <a:pt x="419" y="16985"/>
                      </a:lnTo>
                      <a:lnTo>
                        <a:pt x="120" y="13217"/>
                      </a:lnTo>
                      <a:lnTo>
                        <a:pt x="60" y="12260"/>
                      </a:lnTo>
                      <a:lnTo>
                        <a:pt x="0" y="11423"/>
                      </a:lnTo>
                      <a:lnTo>
                        <a:pt x="1615" y="6459"/>
                      </a:lnTo>
                      <a:lnTo>
                        <a:pt x="5084" y="2751"/>
                      </a:lnTo>
                      <a:lnTo>
                        <a:pt x="8552" y="1316"/>
                      </a:lnTo>
                      <a:lnTo>
                        <a:pt x="9988" y="718"/>
                      </a:lnTo>
                      <a:lnTo>
                        <a:pt x="13158" y="179"/>
                      </a:lnTo>
                      <a:lnTo>
                        <a:pt x="14294" y="0"/>
                      </a:lnTo>
                      <a:lnTo>
                        <a:pt x="14892" y="120"/>
                      </a:lnTo>
                      <a:lnTo>
                        <a:pt x="17763" y="718"/>
                      </a:lnTo>
                      <a:lnTo>
                        <a:pt x="19916" y="1136"/>
                      </a:lnTo>
                      <a:lnTo>
                        <a:pt x="20813" y="1675"/>
                      </a:lnTo>
                      <a:lnTo>
                        <a:pt x="20873" y="1734"/>
                      </a:lnTo>
                      <a:lnTo>
                        <a:pt x="21172" y="1914"/>
                      </a:lnTo>
                      <a:lnTo>
                        <a:pt x="21950" y="2392"/>
                      </a:lnTo>
                      <a:lnTo>
                        <a:pt x="24581" y="4007"/>
                      </a:lnTo>
                      <a:lnTo>
                        <a:pt x="24820" y="4186"/>
                      </a:lnTo>
                      <a:lnTo>
                        <a:pt x="26076" y="4964"/>
                      </a:lnTo>
                      <a:lnTo>
                        <a:pt x="26315" y="5084"/>
                      </a:lnTo>
                      <a:lnTo>
                        <a:pt x="27571" y="5861"/>
                      </a:lnTo>
                    </a:path>
                  </a:pathLst>
                </a:custGeom>
                <a:noFill/>
                <a:ln w="6350" cap="rnd">
                  <a:solidFill>
                    <a:schemeClr val="bg1">
                      <a:alpha val="40000"/>
                    </a:schemeClr>
                  </a:solidFill>
                  <a:prstDash val="solid"/>
                  <a:round/>
                </a:ln>
              </p:spPr>
              <p:txBody>
                <a:bodyPr rtlCol="0" anchor="ctr"/>
                <a:lstStyle/>
                <a:p>
                  <a:endParaRPr lang="en-GB"/>
                </a:p>
              </p:txBody>
            </p:sp>
            <p:sp>
              <p:nvSpPr>
                <p:cNvPr id="6446" name="Vrije vorm: vorm 6445">
                  <a:extLst>
                    <a:ext uri="{FF2B5EF4-FFF2-40B4-BE49-F238E27FC236}">
                      <a16:creationId xmlns:a16="http://schemas.microsoft.com/office/drawing/2014/main" id="{F6D6C366-17B7-4889-8714-9C281B50BC3C}"/>
                    </a:ext>
                  </a:extLst>
                </p:cNvPr>
                <p:cNvSpPr/>
                <p:nvPr/>
              </p:nvSpPr>
              <p:spPr>
                <a:xfrm>
                  <a:off x="6897168" y="1737739"/>
                  <a:ext cx="16626" cy="15430"/>
                </a:xfrm>
                <a:custGeom>
                  <a:avLst/>
                  <a:gdLst>
                    <a:gd name="connsiteX0" fmla="*/ 16627 w 16626"/>
                    <a:gd name="connsiteY0" fmla="*/ 0 h 15430"/>
                    <a:gd name="connsiteX1" fmla="*/ 13097 w 16626"/>
                    <a:gd name="connsiteY1" fmla="*/ 3050 h 15430"/>
                    <a:gd name="connsiteX2" fmla="*/ 0 w 16626"/>
                    <a:gd name="connsiteY2" fmla="*/ 15430 h 15430"/>
                  </a:gdLst>
                  <a:ahLst/>
                  <a:cxnLst>
                    <a:cxn ang="0">
                      <a:pos x="connsiteX0" y="connsiteY0"/>
                    </a:cxn>
                    <a:cxn ang="0">
                      <a:pos x="connsiteX1" y="connsiteY1"/>
                    </a:cxn>
                    <a:cxn ang="0">
                      <a:pos x="connsiteX2" y="connsiteY2"/>
                    </a:cxn>
                  </a:cxnLst>
                  <a:rect l="l" t="t" r="r" b="b"/>
                  <a:pathLst>
                    <a:path w="16626" h="15430">
                      <a:moveTo>
                        <a:pt x="16627" y="0"/>
                      </a:moveTo>
                      <a:lnTo>
                        <a:pt x="13097" y="3050"/>
                      </a:lnTo>
                      <a:lnTo>
                        <a:pt x="0" y="15430"/>
                      </a:lnTo>
                    </a:path>
                  </a:pathLst>
                </a:custGeom>
                <a:noFill/>
                <a:ln w="6350" cap="rnd">
                  <a:solidFill>
                    <a:schemeClr val="bg1">
                      <a:alpha val="40000"/>
                    </a:schemeClr>
                  </a:solidFill>
                  <a:prstDash val="solid"/>
                  <a:round/>
                </a:ln>
              </p:spPr>
              <p:txBody>
                <a:bodyPr rtlCol="0" anchor="ctr"/>
                <a:lstStyle/>
                <a:p>
                  <a:endParaRPr lang="en-GB"/>
                </a:p>
              </p:txBody>
            </p:sp>
            <p:sp>
              <p:nvSpPr>
                <p:cNvPr id="6447" name="Vrije vorm: vorm 6446">
                  <a:extLst>
                    <a:ext uri="{FF2B5EF4-FFF2-40B4-BE49-F238E27FC236}">
                      <a16:creationId xmlns:a16="http://schemas.microsoft.com/office/drawing/2014/main" id="{EF524FD2-E624-4E38-98B5-812107CBEEFE}"/>
                    </a:ext>
                  </a:extLst>
                </p:cNvPr>
                <p:cNvSpPr/>
                <p:nvPr/>
              </p:nvSpPr>
              <p:spPr>
                <a:xfrm>
                  <a:off x="6874142" y="1704486"/>
                  <a:ext cx="4604" cy="3528"/>
                </a:xfrm>
                <a:custGeom>
                  <a:avLst/>
                  <a:gdLst>
                    <a:gd name="connsiteX0" fmla="*/ 4605 w 4604"/>
                    <a:gd name="connsiteY0" fmla="*/ 2452 h 3528"/>
                    <a:gd name="connsiteX1" fmla="*/ 4605 w 4604"/>
                    <a:gd name="connsiteY1" fmla="*/ 2572 h 3528"/>
                    <a:gd name="connsiteX2" fmla="*/ 4066 w 4604"/>
                    <a:gd name="connsiteY2" fmla="*/ 3529 h 3528"/>
                    <a:gd name="connsiteX3" fmla="*/ 2871 w 4604"/>
                    <a:gd name="connsiteY3" fmla="*/ 2871 h 3528"/>
                    <a:gd name="connsiteX4" fmla="*/ 2213 w 4604"/>
                    <a:gd name="connsiteY4" fmla="*/ 2452 h 3528"/>
                    <a:gd name="connsiteX5" fmla="*/ 1196 w 4604"/>
                    <a:gd name="connsiteY5" fmla="*/ 1854 h 3528"/>
                    <a:gd name="connsiteX6" fmla="*/ 0 w 4604"/>
                    <a:gd name="connsiteY6" fmla="*/ 1076 h 3528"/>
                    <a:gd name="connsiteX7" fmla="*/ 0 w 4604"/>
                    <a:gd name="connsiteY7" fmla="*/ 957 h 3528"/>
                    <a:gd name="connsiteX8" fmla="*/ 538 w 4604"/>
                    <a:gd name="connsiteY8" fmla="*/ 0 h 3528"/>
                    <a:gd name="connsiteX9" fmla="*/ 1734 w 4604"/>
                    <a:gd name="connsiteY9" fmla="*/ 658 h 3528"/>
                    <a:gd name="connsiteX10" fmla="*/ 1794 w 4604"/>
                    <a:gd name="connsiteY10" fmla="*/ 718 h 3528"/>
                    <a:gd name="connsiteX11" fmla="*/ 2871 w 4604"/>
                    <a:gd name="connsiteY11" fmla="*/ 1316 h 3528"/>
                    <a:gd name="connsiteX12" fmla="*/ 3469 w 4604"/>
                    <a:gd name="connsiteY12" fmla="*/ 1675 h 3528"/>
                    <a:gd name="connsiteX13" fmla="*/ 3469 w 4604"/>
                    <a:gd name="connsiteY13" fmla="*/ 1675 h 3528"/>
                    <a:gd name="connsiteX14" fmla="*/ 4605 w 4604"/>
                    <a:gd name="connsiteY14" fmla="*/ 2452 h 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4" h="3528">
                      <a:moveTo>
                        <a:pt x="4605" y="2452"/>
                      </a:moveTo>
                      <a:lnTo>
                        <a:pt x="4605" y="2572"/>
                      </a:lnTo>
                      <a:lnTo>
                        <a:pt x="4066" y="3529"/>
                      </a:lnTo>
                      <a:lnTo>
                        <a:pt x="2871" y="2871"/>
                      </a:lnTo>
                      <a:lnTo>
                        <a:pt x="2213" y="2452"/>
                      </a:lnTo>
                      <a:lnTo>
                        <a:pt x="1196" y="1854"/>
                      </a:lnTo>
                      <a:lnTo>
                        <a:pt x="0" y="1076"/>
                      </a:lnTo>
                      <a:lnTo>
                        <a:pt x="0" y="957"/>
                      </a:lnTo>
                      <a:lnTo>
                        <a:pt x="538" y="0"/>
                      </a:lnTo>
                      <a:lnTo>
                        <a:pt x="1734" y="658"/>
                      </a:lnTo>
                      <a:lnTo>
                        <a:pt x="1794" y="718"/>
                      </a:lnTo>
                      <a:lnTo>
                        <a:pt x="2871" y="1316"/>
                      </a:lnTo>
                      <a:lnTo>
                        <a:pt x="3469" y="1675"/>
                      </a:lnTo>
                      <a:lnTo>
                        <a:pt x="3469" y="1675"/>
                      </a:lnTo>
                      <a:lnTo>
                        <a:pt x="4605" y="2452"/>
                      </a:lnTo>
                    </a:path>
                  </a:pathLst>
                </a:custGeom>
                <a:noFill/>
                <a:ln w="6350" cap="rnd">
                  <a:solidFill>
                    <a:schemeClr val="bg1">
                      <a:alpha val="40000"/>
                    </a:schemeClr>
                  </a:solidFill>
                  <a:prstDash val="solid"/>
                  <a:round/>
                </a:ln>
              </p:spPr>
              <p:txBody>
                <a:bodyPr rtlCol="0" anchor="ctr"/>
                <a:lstStyle/>
                <a:p>
                  <a:endParaRPr lang="en-GB"/>
                </a:p>
              </p:txBody>
            </p:sp>
            <p:sp>
              <p:nvSpPr>
                <p:cNvPr id="6448" name="Vrije vorm: vorm 6447">
                  <a:extLst>
                    <a:ext uri="{FF2B5EF4-FFF2-40B4-BE49-F238E27FC236}">
                      <a16:creationId xmlns:a16="http://schemas.microsoft.com/office/drawing/2014/main" id="{6CD5703E-B1BE-47DE-AF14-09E6E8822C2D}"/>
                    </a:ext>
                  </a:extLst>
                </p:cNvPr>
                <p:cNvSpPr/>
                <p:nvPr/>
              </p:nvSpPr>
              <p:spPr>
                <a:xfrm>
                  <a:off x="6768104" y="1857353"/>
                  <a:ext cx="16207" cy="21291"/>
                </a:xfrm>
                <a:custGeom>
                  <a:avLst/>
                  <a:gdLst>
                    <a:gd name="connsiteX0" fmla="*/ 13995 w 16207"/>
                    <a:gd name="connsiteY0" fmla="*/ 21291 h 21291"/>
                    <a:gd name="connsiteX1" fmla="*/ 15191 w 16207"/>
                    <a:gd name="connsiteY1" fmla="*/ 15610 h 21291"/>
                    <a:gd name="connsiteX2" fmla="*/ 15191 w 16207"/>
                    <a:gd name="connsiteY2" fmla="*/ 15550 h 21291"/>
                    <a:gd name="connsiteX3" fmla="*/ 15191 w 16207"/>
                    <a:gd name="connsiteY3" fmla="*/ 15490 h 21291"/>
                    <a:gd name="connsiteX4" fmla="*/ 15729 w 16207"/>
                    <a:gd name="connsiteY4" fmla="*/ 13098 h 21291"/>
                    <a:gd name="connsiteX5" fmla="*/ 16088 w 16207"/>
                    <a:gd name="connsiteY5" fmla="*/ 11363 h 21291"/>
                    <a:gd name="connsiteX6" fmla="*/ 16208 w 16207"/>
                    <a:gd name="connsiteY6" fmla="*/ 10945 h 21291"/>
                    <a:gd name="connsiteX7" fmla="*/ 15789 w 16207"/>
                    <a:gd name="connsiteY7" fmla="*/ 9928 h 21291"/>
                    <a:gd name="connsiteX8" fmla="*/ 13756 w 16207"/>
                    <a:gd name="connsiteY8" fmla="*/ 8672 h 21291"/>
                    <a:gd name="connsiteX9" fmla="*/ 13696 w 16207"/>
                    <a:gd name="connsiteY9" fmla="*/ 8612 h 21291"/>
                    <a:gd name="connsiteX10" fmla="*/ 13516 w 16207"/>
                    <a:gd name="connsiteY10" fmla="*/ 8493 h 21291"/>
                    <a:gd name="connsiteX11" fmla="*/ 13158 w 16207"/>
                    <a:gd name="connsiteY11" fmla="*/ 8253 h 21291"/>
                    <a:gd name="connsiteX12" fmla="*/ 12320 w 16207"/>
                    <a:gd name="connsiteY12" fmla="*/ 7715 h 21291"/>
                    <a:gd name="connsiteX13" fmla="*/ 10227 w 16207"/>
                    <a:gd name="connsiteY13" fmla="*/ 6399 h 21291"/>
                    <a:gd name="connsiteX14" fmla="*/ 3170 w 16207"/>
                    <a:gd name="connsiteY14" fmla="*/ 1974 h 21291"/>
                    <a:gd name="connsiteX15" fmla="*/ 2930 w 16207"/>
                    <a:gd name="connsiteY15" fmla="*/ 1854 h 21291"/>
                    <a:gd name="connsiteX16" fmla="*/ 2930 w 16207"/>
                    <a:gd name="connsiteY16" fmla="*/ 1854 h 21291"/>
                    <a:gd name="connsiteX17" fmla="*/ 2871 w 16207"/>
                    <a:gd name="connsiteY17" fmla="*/ 1794 h 21291"/>
                    <a:gd name="connsiteX18" fmla="*/ 2811 w 16207"/>
                    <a:gd name="connsiteY18" fmla="*/ 1734 h 21291"/>
                    <a:gd name="connsiteX19" fmla="*/ 2691 w 16207"/>
                    <a:gd name="connsiteY19" fmla="*/ 1675 h 21291"/>
                    <a:gd name="connsiteX20" fmla="*/ 778 w 16207"/>
                    <a:gd name="connsiteY20" fmla="*/ 478 h 21291"/>
                    <a:gd name="connsiteX21" fmla="*/ 479 w 16207"/>
                    <a:gd name="connsiteY21" fmla="*/ 299 h 21291"/>
                    <a:gd name="connsiteX22" fmla="*/ 0 w 16207"/>
                    <a:gd name="connsiteY22" fmla="*/ 0 h 2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207" h="21291">
                      <a:moveTo>
                        <a:pt x="13995" y="21291"/>
                      </a:moveTo>
                      <a:lnTo>
                        <a:pt x="15191" y="15610"/>
                      </a:lnTo>
                      <a:lnTo>
                        <a:pt x="15191" y="15550"/>
                      </a:lnTo>
                      <a:lnTo>
                        <a:pt x="15191" y="15490"/>
                      </a:lnTo>
                      <a:lnTo>
                        <a:pt x="15729" y="13098"/>
                      </a:lnTo>
                      <a:lnTo>
                        <a:pt x="16088" y="11363"/>
                      </a:lnTo>
                      <a:lnTo>
                        <a:pt x="16208" y="10945"/>
                      </a:lnTo>
                      <a:lnTo>
                        <a:pt x="15789" y="9928"/>
                      </a:lnTo>
                      <a:lnTo>
                        <a:pt x="13756" y="8672"/>
                      </a:lnTo>
                      <a:lnTo>
                        <a:pt x="13696" y="8612"/>
                      </a:lnTo>
                      <a:lnTo>
                        <a:pt x="13516" y="8493"/>
                      </a:lnTo>
                      <a:lnTo>
                        <a:pt x="13158" y="8253"/>
                      </a:lnTo>
                      <a:lnTo>
                        <a:pt x="12320" y="7715"/>
                      </a:lnTo>
                      <a:lnTo>
                        <a:pt x="10227" y="6399"/>
                      </a:lnTo>
                      <a:lnTo>
                        <a:pt x="3170" y="1974"/>
                      </a:lnTo>
                      <a:lnTo>
                        <a:pt x="2930" y="1854"/>
                      </a:lnTo>
                      <a:lnTo>
                        <a:pt x="2930" y="1854"/>
                      </a:lnTo>
                      <a:lnTo>
                        <a:pt x="2871" y="1794"/>
                      </a:lnTo>
                      <a:lnTo>
                        <a:pt x="2811" y="1734"/>
                      </a:lnTo>
                      <a:lnTo>
                        <a:pt x="2691" y="1675"/>
                      </a:lnTo>
                      <a:lnTo>
                        <a:pt x="778" y="478"/>
                      </a:lnTo>
                      <a:lnTo>
                        <a:pt x="479" y="29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49" name="Vrije vorm: vorm 6448">
                  <a:extLst>
                    <a:ext uri="{FF2B5EF4-FFF2-40B4-BE49-F238E27FC236}">
                      <a16:creationId xmlns:a16="http://schemas.microsoft.com/office/drawing/2014/main" id="{84BAA4ED-FB08-4FA5-B7DC-6367F3F9F9D7}"/>
                    </a:ext>
                  </a:extLst>
                </p:cNvPr>
                <p:cNvSpPr/>
                <p:nvPr/>
              </p:nvSpPr>
              <p:spPr>
                <a:xfrm>
                  <a:off x="6863496" y="1722009"/>
                  <a:ext cx="165187" cy="143118"/>
                </a:xfrm>
                <a:custGeom>
                  <a:avLst/>
                  <a:gdLst>
                    <a:gd name="connsiteX0" fmla="*/ 165188 w 165187"/>
                    <a:gd name="connsiteY0" fmla="*/ 53647 h 143118"/>
                    <a:gd name="connsiteX1" fmla="*/ 164888 w 165187"/>
                    <a:gd name="connsiteY1" fmla="*/ 53468 h 143118"/>
                    <a:gd name="connsiteX2" fmla="*/ 135164 w 165187"/>
                    <a:gd name="connsiteY2" fmla="*/ 37200 h 143118"/>
                    <a:gd name="connsiteX3" fmla="*/ 134566 w 165187"/>
                    <a:gd name="connsiteY3" fmla="*/ 36841 h 143118"/>
                    <a:gd name="connsiteX4" fmla="*/ 134387 w 165187"/>
                    <a:gd name="connsiteY4" fmla="*/ 36722 h 143118"/>
                    <a:gd name="connsiteX5" fmla="*/ 127928 w 165187"/>
                    <a:gd name="connsiteY5" fmla="*/ 33014 h 143118"/>
                    <a:gd name="connsiteX6" fmla="*/ 127808 w 165187"/>
                    <a:gd name="connsiteY6" fmla="*/ 32954 h 143118"/>
                    <a:gd name="connsiteX7" fmla="*/ 127688 w 165187"/>
                    <a:gd name="connsiteY7" fmla="*/ 32894 h 143118"/>
                    <a:gd name="connsiteX8" fmla="*/ 126611 w 165187"/>
                    <a:gd name="connsiteY8" fmla="*/ 32296 h 143118"/>
                    <a:gd name="connsiteX9" fmla="*/ 126433 w 165187"/>
                    <a:gd name="connsiteY9" fmla="*/ 32176 h 143118"/>
                    <a:gd name="connsiteX10" fmla="*/ 126073 w 165187"/>
                    <a:gd name="connsiteY10" fmla="*/ 31997 h 143118"/>
                    <a:gd name="connsiteX11" fmla="*/ 119853 w 165187"/>
                    <a:gd name="connsiteY11" fmla="*/ 28468 h 143118"/>
                    <a:gd name="connsiteX12" fmla="*/ 119794 w 165187"/>
                    <a:gd name="connsiteY12" fmla="*/ 28408 h 143118"/>
                    <a:gd name="connsiteX13" fmla="*/ 119734 w 165187"/>
                    <a:gd name="connsiteY13" fmla="*/ 28349 h 143118"/>
                    <a:gd name="connsiteX14" fmla="*/ 119435 w 165187"/>
                    <a:gd name="connsiteY14" fmla="*/ 28169 h 143118"/>
                    <a:gd name="connsiteX15" fmla="*/ 118179 w 165187"/>
                    <a:gd name="connsiteY15" fmla="*/ 27451 h 143118"/>
                    <a:gd name="connsiteX16" fmla="*/ 116923 w 165187"/>
                    <a:gd name="connsiteY16" fmla="*/ 26794 h 143118"/>
                    <a:gd name="connsiteX17" fmla="*/ 114889 w 165187"/>
                    <a:gd name="connsiteY17" fmla="*/ 25657 h 143118"/>
                    <a:gd name="connsiteX18" fmla="*/ 107593 w 165187"/>
                    <a:gd name="connsiteY18" fmla="*/ 21650 h 143118"/>
                    <a:gd name="connsiteX19" fmla="*/ 105978 w 165187"/>
                    <a:gd name="connsiteY19" fmla="*/ 20753 h 143118"/>
                    <a:gd name="connsiteX20" fmla="*/ 104543 w 165187"/>
                    <a:gd name="connsiteY20" fmla="*/ 19976 h 143118"/>
                    <a:gd name="connsiteX21" fmla="*/ 103885 w 165187"/>
                    <a:gd name="connsiteY21" fmla="*/ 19617 h 143118"/>
                    <a:gd name="connsiteX22" fmla="*/ 102210 w 165187"/>
                    <a:gd name="connsiteY22" fmla="*/ 18660 h 143118"/>
                    <a:gd name="connsiteX23" fmla="*/ 101672 w 165187"/>
                    <a:gd name="connsiteY23" fmla="*/ 18361 h 143118"/>
                    <a:gd name="connsiteX24" fmla="*/ 100895 w 165187"/>
                    <a:gd name="connsiteY24" fmla="*/ 17942 h 143118"/>
                    <a:gd name="connsiteX25" fmla="*/ 100715 w 165187"/>
                    <a:gd name="connsiteY25" fmla="*/ 17882 h 143118"/>
                    <a:gd name="connsiteX26" fmla="*/ 99040 w 165187"/>
                    <a:gd name="connsiteY26" fmla="*/ 16925 h 143118"/>
                    <a:gd name="connsiteX27" fmla="*/ 98203 w 165187"/>
                    <a:gd name="connsiteY27" fmla="*/ 16447 h 143118"/>
                    <a:gd name="connsiteX28" fmla="*/ 97904 w 165187"/>
                    <a:gd name="connsiteY28" fmla="*/ 16268 h 143118"/>
                    <a:gd name="connsiteX29" fmla="*/ 97127 w 165187"/>
                    <a:gd name="connsiteY29" fmla="*/ 15849 h 143118"/>
                    <a:gd name="connsiteX30" fmla="*/ 96649 w 165187"/>
                    <a:gd name="connsiteY30" fmla="*/ 15550 h 143118"/>
                    <a:gd name="connsiteX31" fmla="*/ 96349 w 165187"/>
                    <a:gd name="connsiteY31" fmla="*/ 15370 h 143118"/>
                    <a:gd name="connsiteX32" fmla="*/ 95990 w 165187"/>
                    <a:gd name="connsiteY32" fmla="*/ 15191 h 143118"/>
                    <a:gd name="connsiteX33" fmla="*/ 95572 w 165187"/>
                    <a:gd name="connsiteY33" fmla="*/ 14952 h 143118"/>
                    <a:gd name="connsiteX34" fmla="*/ 81517 w 165187"/>
                    <a:gd name="connsiteY34" fmla="*/ 6938 h 143118"/>
                    <a:gd name="connsiteX35" fmla="*/ 76673 w 165187"/>
                    <a:gd name="connsiteY35" fmla="*/ 4186 h 143118"/>
                    <a:gd name="connsiteX36" fmla="*/ 69077 w 165187"/>
                    <a:gd name="connsiteY36" fmla="*/ 299 h 143118"/>
                    <a:gd name="connsiteX37" fmla="*/ 67881 w 165187"/>
                    <a:gd name="connsiteY37" fmla="*/ 0 h 143118"/>
                    <a:gd name="connsiteX38" fmla="*/ 67881 w 165187"/>
                    <a:gd name="connsiteY38" fmla="*/ 0 h 143118"/>
                    <a:gd name="connsiteX39" fmla="*/ 67403 w 165187"/>
                    <a:gd name="connsiteY39" fmla="*/ 299 h 143118"/>
                    <a:gd name="connsiteX40" fmla="*/ 66924 w 165187"/>
                    <a:gd name="connsiteY40" fmla="*/ 598 h 143118"/>
                    <a:gd name="connsiteX41" fmla="*/ 66864 w 165187"/>
                    <a:gd name="connsiteY41" fmla="*/ 658 h 143118"/>
                    <a:gd name="connsiteX42" fmla="*/ 58492 w 165187"/>
                    <a:gd name="connsiteY42" fmla="*/ 8074 h 143118"/>
                    <a:gd name="connsiteX43" fmla="*/ 55800 w 165187"/>
                    <a:gd name="connsiteY43" fmla="*/ 10406 h 143118"/>
                    <a:gd name="connsiteX44" fmla="*/ 49042 w 165187"/>
                    <a:gd name="connsiteY44" fmla="*/ 16387 h 143118"/>
                    <a:gd name="connsiteX45" fmla="*/ 35525 w 165187"/>
                    <a:gd name="connsiteY45" fmla="*/ 29246 h 143118"/>
                    <a:gd name="connsiteX46" fmla="*/ 33731 w 165187"/>
                    <a:gd name="connsiteY46" fmla="*/ 31160 h 143118"/>
                    <a:gd name="connsiteX47" fmla="*/ 19138 w 165187"/>
                    <a:gd name="connsiteY47" fmla="*/ 46769 h 143118"/>
                    <a:gd name="connsiteX48" fmla="*/ 4306 w 165187"/>
                    <a:gd name="connsiteY48" fmla="*/ 64054 h 143118"/>
                    <a:gd name="connsiteX49" fmla="*/ 1615 w 165187"/>
                    <a:gd name="connsiteY49" fmla="*/ 67463 h 143118"/>
                    <a:gd name="connsiteX50" fmla="*/ 598 w 165187"/>
                    <a:gd name="connsiteY50" fmla="*/ 68778 h 143118"/>
                    <a:gd name="connsiteX51" fmla="*/ 358 w 165187"/>
                    <a:gd name="connsiteY51" fmla="*/ 69257 h 143118"/>
                    <a:gd name="connsiteX52" fmla="*/ 0 w 165187"/>
                    <a:gd name="connsiteY52" fmla="*/ 70034 h 143118"/>
                    <a:gd name="connsiteX53" fmla="*/ 299 w 165187"/>
                    <a:gd name="connsiteY53" fmla="*/ 70752 h 143118"/>
                    <a:gd name="connsiteX54" fmla="*/ 538 w 165187"/>
                    <a:gd name="connsiteY54" fmla="*/ 71230 h 143118"/>
                    <a:gd name="connsiteX55" fmla="*/ 7057 w 165187"/>
                    <a:gd name="connsiteY55" fmla="*/ 75058 h 143118"/>
                    <a:gd name="connsiteX56" fmla="*/ 7416 w 165187"/>
                    <a:gd name="connsiteY56" fmla="*/ 75297 h 143118"/>
                    <a:gd name="connsiteX57" fmla="*/ 13277 w 165187"/>
                    <a:gd name="connsiteY57" fmla="*/ 78766 h 143118"/>
                    <a:gd name="connsiteX58" fmla="*/ 23325 w 165187"/>
                    <a:gd name="connsiteY58" fmla="*/ 84747 h 143118"/>
                    <a:gd name="connsiteX59" fmla="*/ 27751 w 165187"/>
                    <a:gd name="connsiteY59" fmla="*/ 87378 h 143118"/>
                    <a:gd name="connsiteX60" fmla="*/ 30382 w 165187"/>
                    <a:gd name="connsiteY60" fmla="*/ 88933 h 143118"/>
                    <a:gd name="connsiteX61" fmla="*/ 30980 w 165187"/>
                    <a:gd name="connsiteY61" fmla="*/ 89292 h 143118"/>
                    <a:gd name="connsiteX62" fmla="*/ 32535 w 165187"/>
                    <a:gd name="connsiteY62" fmla="*/ 90249 h 143118"/>
                    <a:gd name="connsiteX63" fmla="*/ 34090 w 165187"/>
                    <a:gd name="connsiteY63" fmla="*/ 91146 h 143118"/>
                    <a:gd name="connsiteX64" fmla="*/ 34389 w 165187"/>
                    <a:gd name="connsiteY64" fmla="*/ 91326 h 143118"/>
                    <a:gd name="connsiteX65" fmla="*/ 35405 w 165187"/>
                    <a:gd name="connsiteY65" fmla="*/ 91924 h 143118"/>
                    <a:gd name="connsiteX66" fmla="*/ 38875 w 165187"/>
                    <a:gd name="connsiteY66" fmla="*/ 93957 h 143118"/>
                    <a:gd name="connsiteX67" fmla="*/ 39652 w 165187"/>
                    <a:gd name="connsiteY67" fmla="*/ 94376 h 143118"/>
                    <a:gd name="connsiteX68" fmla="*/ 40968 w 165187"/>
                    <a:gd name="connsiteY68" fmla="*/ 95153 h 143118"/>
                    <a:gd name="connsiteX69" fmla="*/ 40968 w 165187"/>
                    <a:gd name="connsiteY69" fmla="*/ 95153 h 143118"/>
                    <a:gd name="connsiteX70" fmla="*/ 42045 w 165187"/>
                    <a:gd name="connsiteY70" fmla="*/ 95811 h 143118"/>
                    <a:gd name="connsiteX71" fmla="*/ 43121 w 165187"/>
                    <a:gd name="connsiteY71" fmla="*/ 96469 h 143118"/>
                    <a:gd name="connsiteX72" fmla="*/ 51972 w 165187"/>
                    <a:gd name="connsiteY72" fmla="*/ 101852 h 143118"/>
                    <a:gd name="connsiteX73" fmla="*/ 53288 w 165187"/>
                    <a:gd name="connsiteY73" fmla="*/ 102629 h 143118"/>
                    <a:gd name="connsiteX74" fmla="*/ 53467 w 165187"/>
                    <a:gd name="connsiteY74" fmla="*/ 102749 h 143118"/>
                    <a:gd name="connsiteX75" fmla="*/ 56159 w 165187"/>
                    <a:gd name="connsiteY75" fmla="*/ 104364 h 143118"/>
                    <a:gd name="connsiteX76" fmla="*/ 57654 w 165187"/>
                    <a:gd name="connsiteY76" fmla="*/ 105261 h 143118"/>
                    <a:gd name="connsiteX77" fmla="*/ 62798 w 165187"/>
                    <a:gd name="connsiteY77" fmla="*/ 108251 h 143118"/>
                    <a:gd name="connsiteX78" fmla="*/ 64113 w 165187"/>
                    <a:gd name="connsiteY78" fmla="*/ 109029 h 143118"/>
                    <a:gd name="connsiteX79" fmla="*/ 64113 w 165187"/>
                    <a:gd name="connsiteY79" fmla="*/ 109029 h 143118"/>
                    <a:gd name="connsiteX80" fmla="*/ 64233 w 165187"/>
                    <a:gd name="connsiteY80" fmla="*/ 109088 h 143118"/>
                    <a:gd name="connsiteX81" fmla="*/ 64591 w 165187"/>
                    <a:gd name="connsiteY81" fmla="*/ 109268 h 143118"/>
                    <a:gd name="connsiteX82" fmla="*/ 67701 w 165187"/>
                    <a:gd name="connsiteY82" fmla="*/ 111062 h 143118"/>
                    <a:gd name="connsiteX83" fmla="*/ 68958 w 165187"/>
                    <a:gd name="connsiteY83" fmla="*/ 111780 h 143118"/>
                    <a:gd name="connsiteX84" fmla="*/ 69914 w 165187"/>
                    <a:gd name="connsiteY84" fmla="*/ 112318 h 143118"/>
                    <a:gd name="connsiteX85" fmla="*/ 72785 w 165187"/>
                    <a:gd name="connsiteY85" fmla="*/ 113993 h 143118"/>
                    <a:gd name="connsiteX86" fmla="*/ 74759 w 165187"/>
                    <a:gd name="connsiteY86" fmla="*/ 115129 h 143118"/>
                    <a:gd name="connsiteX87" fmla="*/ 76434 w 165187"/>
                    <a:gd name="connsiteY87" fmla="*/ 116086 h 143118"/>
                    <a:gd name="connsiteX88" fmla="*/ 79723 w 165187"/>
                    <a:gd name="connsiteY88" fmla="*/ 118059 h 143118"/>
                    <a:gd name="connsiteX89" fmla="*/ 79902 w 165187"/>
                    <a:gd name="connsiteY89" fmla="*/ 118179 h 143118"/>
                    <a:gd name="connsiteX90" fmla="*/ 81457 w 165187"/>
                    <a:gd name="connsiteY90" fmla="*/ 119136 h 143118"/>
                    <a:gd name="connsiteX91" fmla="*/ 83012 w 165187"/>
                    <a:gd name="connsiteY91" fmla="*/ 120093 h 143118"/>
                    <a:gd name="connsiteX92" fmla="*/ 84029 w 165187"/>
                    <a:gd name="connsiteY92" fmla="*/ 120691 h 143118"/>
                    <a:gd name="connsiteX93" fmla="*/ 86182 w 165187"/>
                    <a:gd name="connsiteY93" fmla="*/ 121947 h 143118"/>
                    <a:gd name="connsiteX94" fmla="*/ 86182 w 165187"/>
                    <a:gd name="connsiteY94" fmla="*/ 121947 h 143118"/>
                    <a:gd name="connsiteX95" fmla="*/ 86242 w 165187"/>
                    <a:gd name="connsiteY95" fmla="*/ 122007 h 143118"/>
                    <a:gd name="connsiteX96" fmla="*/ 89292 w 165187"/>
                    <a:gd name="connsiteY96" fmla="*/ 123801 h 143118"/>
                    <a:gd name="connsiteX97" fmla="*/ 91146 w 165187"/>
                    <a:gd name="connsiteY97" fmla="*/ 124877 h 143118"/>
                    <a:gd name="connsiteX98" fmla="*/ 94555 w 165187"/>
                    <a:gd name="connsiteY98" fmla="*/ 126911 h 143118"/>
                    <a:gd name="connsiteX99" fmla="*/ 95034 w 165187"/>
                    <a:gd name="connsiteY99" fmla="*/ 127210 h 143118"/>
                    <a:gd name="connsiteX100" fmla="*/ 96289 w 165187"/>
                    <a:gd name="connsiteY100" fmla="*/ 127928 h 143118"/>
                    <a:gd name="connsiteX101" fmla="*/ 97545 w 165187"/>
                    <a:gd name="connsiteY101" fmla="*/ 128645 h 143118"/>
                    <a:gd name="connsiteX102" fmla="*/ 100237 w 165187"/>
                    <a:gd name="connsiteY102" fmla="*/ 130200 h 143118"/>
                    <a:gd name="connsiteX103" fmla="*/ 113753 w 165187"/>
                    <a:gd name="connsiteY103" fmla="*/ 138155 h 143118"/>
                    <a:gd name="connsiteX104" fmla="*/ 122007 w 165187"/>
                    <a:gd name="connsiteY104" fmla="*/ 143119 h 143118"/>
                    <a:gd name="connsiteX105" fmla="*/ 122007 w 165187"/>
                    <a:gd name="connsiteY105" fmla="*/ 143119 h 14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65187" h="143118">
                      <a:moveTo>
                        <a:pt x="165188" y="53647"/>
                      </a:moveTo>
                      <a:lnTo>
                        <a:pt x="164888" y="53468"/>
                      </a:lnTo>
                      <a:lnTo>
                        <a:pt x="135164" y="37200"/>
                      </a:lnTo>
                      <a:lnTo>
                        <a:pt x="134566" y="36841"/>
                      </a:lnTo>
                      <a:lnTo>
                        <a:pt x="134387" y="36722"/>
                      </a:lnTo>
                      <a:lnTo>
                        <a:pt x="127928" y="33014"/>
                      </a:lnTo>
                      <a:lnTo>
                        <a:pt x="127808" y="32954"/>
                      </a:lnTo>
                      <a:lnTo>
                        <a:pt x="127688" y="32894"/>
                      </a:lnTo>
                      <a:lnTo>
                        <a:pt x="126611" y="32296"/>
                      </a:lnTo>
                      <a:lnTo>
                        <a:pt x="126433" y="32176"/>
                      </a:lnTo>
                      <a:lnTo>
                        <a:pt x="126073" y="31997"/>
                      </a:lnTo>
                      <a:lnTo>
                        <a:pt x="119853" y="28468"/>
                      </a:lnTo>
                      <a:lnTo>
                        <a:pt x="119794" y="28408"/>
                      </a:lnTo>
                      <a:lnTo>
                        <a:pt x="119734" y="28349"/>
                      </a:lnTo>
                      <a:lnTo>
                        <a:pt x="119435" y="28169"/>
                      </a:lnTo>
                      <a:lnTo>
                        <a:pt x="118179" y="27451"/>
                      </a:lnTo>
                      <a:lnTo>
                        <a:pt x="116923" y="26794"/>
                      </a:lnTo>
                      <a:lnTo>
                        <a:pt x="114889" y="25657"/>
                      </a:lnTo>
                      <a:lnTo>
                        <a:pt x="107593" y="21650"/>
                      </a:lnTo>
                      <a:lnTo>
                        <a:pt x="105978" y="20753"/>
                      </a:lnTo>
                      <a:lnTo>
                        <a:pt x="104543" y="19976"/>
                      </a:lnTo>
                      <a:lnTo>
                        <a:pt x="103885" y="19617"/>
                      </a:lnTo>
                      <a:lnTo>
                        <a:pt x="102210" y="18660"/>
                      </a:lnTo>
                      <a:lnTo>
                        <a:pt x="101672" y="18361"/>
                      </a:lnTo>
                      <a:lnTo>
                        <a:pt x="100895" y="17942"/>
                      </a:lnTo>
                      <a:lnTo>
                        <a:pt x="100715" y="17882"/>
                      </a:lnTo>
                      <a:lnTo>
                        <a:pt x="99040" y="16925"/>
                      </a:lnTo>
                      <a:lnTo>
                        <a:pt x="98203" y="16447"/>
                      </a:lnTo>
                      <a:lnTo>
                        <a:pt x="97904" y="16268"/>
                      </a:lnTo>
                      <a:lnTo>
                        <a:pt x="97127" y="15849"/>
                      </a:lnTo>
                      <a:lnTo>
                        <a:pt x="96649" y="15550"/>
                      </a:lnTo>
                      <a:lnTo>
                        <a:pt x="96349" y="15370"/>
                      </a:lnTo>
                      <a:lnTo>
                        <a:pt x="95990" y="15191"/>
                      </a:lnTo>
                      <a:lnTo>
                        <a:pt x="95572" y="14952"/>
                      </a:lnTo>
                      <a:lnTo>
                        <a:pt x="81517" y="6938"/>
                      </a:lnTo>
                      <a:lnTo>
                        <a:pt x="76673" y="4186"/>
                      </a:lnTo>
                      <a:lnTo>
                        <a:pt x="69077" y="299"/>
                      </a:lnTo>
                      <a:lnTo>
                        <a:pt x="67881" y="0"/>
                      </a:lnTo>
                      <a:lnTo>
                        <a:pt x="67881" y="0"/>
                      </a:lnTo>
                      <a:lnTo>
                        <a:pt x="67403" y="299"/>
                      </a:lnTo>
                      <a:lnTo>
                        <a:pt x="66924" y="598"/>
                      </a:lnTo>
                      <a:lnTo>
                        <a:pt x="66864" y="658"/>
                      </a:lnTo>
                      <a:lnTo>
                        <a:pt x="58492" y="8074"/>
                      </a:lnTo>
                      <a:lnTo>
                        <a:pt x="55800" y="10406"/>
                      </a:lnTo>
                      <a:lnTo>
                        <a:pt x="49042" y="16387"/>
                      </a:lnTo>
                      <a:lnTo>
                        <a:pt x="35525" y="29246"/>
                      </a:lnTo>
                      <a:lnTo>
                        <a:pt x="33731" y="31160"/>
                      </a:lnTo>
                      <a:lnTo>
                        <a:pt x="19138" y="46769"/>
                      </a:lnTo>
                      <a:lnTo>
                        <a:pt x="4306" y="64054"/>
                      </a:lnTo>
                      <a:lnTo>
                        <a:pt x="1615" y="67463"/>
                      </a:lnTo>
                      <a:lnTo>
                        <a:pt x="598" y="68778"/>
                      </a:lnTo>
                      <a:lnTo>
                        <a:pt x="358" y="69257"/>
                      </a:lnTo>
                      <a:lnTo>
                        <a:pt x="0" y="70034"/>
                      </a:lnTo>
                      <a:lnTo>
                        <a:pt x="299" y="70752"/>
                      </a:lnTo>
                      <a:lnTo>
                        <a:pt x="538" y="71230"/>
                      </a:lnTo>
                      <a:lnTo>
                        <a:pt x="7057" y="75058"/>
                      </a:lnTo>
                      <a:lnTo>
                        <a:pt x="7416" y="75297"/>
                      </a:lnTo>
                      <a:lnTo>
                        <a:pt x="13277" y="78766"/>
                      </a:lnTo>
                      <a:lnTo>
                        <a:pt x="23325" y="84747"/>
                      </a:lnTo>
                      <a:lnTo>
                        <a:pt x="27751" y="87378"/>
                      </a:lnTo>
                      <a:lnTo>
                        <a:pt x="30382" y="88933"/>
                      </a:lnTo>
                      <a:lnTo>
                        <a:pt x="30980" y="89292"/>
                      </a:lnTo>
                      <a:lnTo>
                        <a:pt x="32535" y="90249"/>
                      </a:lnTo>
                      <a:lnTo>
                        <a:pt x="34090" y="91146"/>
                      </a:lnTo>
                      <a:lnTo>
                        <a:pt x="34389" y="91326"/>
                      </a:lnTo>
                      <a:lnTo>
                        <a:pt x="35405" y="91924"/>
                      </a:lnTo>
                      <a:lnTo>
                        <a:pt x="38875" y="93957"/>
                      </a:lnTo>
                      <a:lnTo>
                        <a:pt x="39652" y="94376"/>
                      </a:lnTo>
                      <a:lnTo>
                        <a:pt x="40968" y="95153"/>
                      </a:lnTo>
                      <a:lnTo>
                        <a:pt x="40968" y="95153"/>
                      </a:lnTo>
                      <a:lnTo>
                        <a:pt x="42045" y="95811"/>
                      </a:lnTo>
                      <a:lnTo>
                        <a:pt x="43121" y="96469"/>
                      </a:lnTo>
                      <a:lnTo>
                        <a:pt x="51972" y="101852"/>
                      </a:lnTo>
                      <a:lnTo>
                        <a:pt x="53288" y="102629"/>
                      </a:lnTo>
                      <a:lnTo>
                        <a:pt x="53467" y="102749"/>
                      </a:lnTo>
                      <a:lnTo>
                        <a:pt x="56159" y="104364"/>
                      </a:lnTo>
                      <a:lnTo>
                        <a:pt x="57654" y="105261"/>
                      </a:lnTo>
                      <a:lnTo>
                        <a:pt x="62798" y="108251"/>
                      </a:lnTo>
                      <a:lnTo>
                        <a:pt x="64113" y="109029"/>
                      </a:lnTo>
                      <a:lnTo>
                        <a:pt x="64113" y="109029"/>
                      </a:lnTo>
                      <a:lnTo>
                        <a:pt x="64233" y="109088"/>
                      </a:lnTo>
                      <a:lnTo>
                        <a:pt x="64591" y="109268"/>
                      </a:lnTo>
                      <a:lnTo>
                        <a:pt x="67701" y="111062"/>
                      </a:lnTo>
                      <a:lnTo>
                        <a:pt x="68958" y="111780"/>
                      </a:lnTo>
                      <a:lnTo>
                        <a:pt x="69914" y="112318"/>
                      </a:lnTo>
                      <a:lnTo>
                        <a:pt x="72785" y="113993"/>
                      </a:lnTo>
                      <a:lnTo>
                        <a:pt x="74759" y="115129"/>
                      </a:lnTo>
                      <a:lnTo>
                        <a:pt x="76434" y="116086"/>
                      </a:lnTo>
                      <a:lnTo>
                        <a:pt x="79723" y="118059"/>
                      </a:lnTo>
                      <a:lnTo>
                        <a:pt x="79902" y="118179"/>
                      </a:lnTo>
                      <a:lnTo>
                        <a:pt x="81457" y="119136"/>
                      </a:lnTo>
                      <a:lnTo>
                        <a:pt x="83012" y="120093"/>
                      </a:lnTo>
                      <a:lnTo>
                        <a:pt x="84029" y="120691"/>
                      </a:lnTo>
                      <a:lnTo>
                        <a:pt x="86182" y="121947"/>
                      </a:lnTo>
                      <a:lnTo>
                        <a:pt x="86182" y="121947"/>
                      </a:lnTo>
                      <a:lnTo>
                        <a:pt x="86242" y="122007"/>
                      </a:lnTo>
                      <a:lnTo>
                        <a:pt x="89292" y="123801"/>
                      </a:lnTo>
                      <a:lnTo>
                        <a:pt x="91146" y="124877"/>
                      </a:lnTo>
                      <a:lnTo>
                        <a:pt x="94555" y="126911"/>
                      </a:lnTo>
                      <a:lnTo>
                        <a:pt x="95034" y="127210"/>
                      </a:lnTo>
                      <a:lnTo>
                        <a:pt x="96289" y="127928"/>
                      </a:lnTo>
                      <a:lnTo>
                        <a:pt x="97545" y="128645"/>
                      </a:lnTo>
                      <a:lnTo>
                        <a:pt x="100237" y="130200"/>
                      </a:lnTo>
                      <a:lnTo>
                        <a:pt x="113753" y="138155"/>
                      </a:lnTo>
                      <a:lnTo>
                        <a:pt x="122007" y="143119"/>
                      </a:lnTo>
                      <a:lnTo>
                        <a:pt x="122007" y="143119"/>
                      </a:lnTo>
                    </a:path>
                  </a:pathLst>
                </a:custGeom>
                <a:noFill/>
                <a:ln w="6350" cap="rnd">
                  <a:solidFill>
                    <a:schemeClr val="bg1">
                      <a:alpha val="40000"/>
                    </a:schemeClr>
                  </a:solidFill>
                  <a:prstDash val="solid"/>
                  <a:round/>
                </a:ln>
              </p:spPr>
              <p:txBody>
                <a:bodyPr rtlCol="0" anchor="ctr"/>
                <a:lstStyle/>
                <a:p>
                  <a:endParaRPr lang="en-GB"/>
                </a:p>
              </p:txBody>
            </p:sp>
            <p:sp>
              <p:nvSpPr>
                <p:cNvPr id="6450" name="Vrije vorm: vorm 6449">
                  <a:extLst>
                    <a:ext uri="{FF2B5EF4-FFF2-40B4-BE49-F238E27FC236}">
                      <a16:creationId xmlns:a16="http://schemas.microsoft.com/office/drawing/2014/main" id="{993B35A7-5DB4-4E78-A89B-76A6D06013F2}"/>
                    </a:ext>
                  </a:extLst>
                </p:cNvPr>
                <p:cNvSpPr/>
                <p:nvPr/>
              </p:nvSpPr>
              <p:spPr>
                <a:xfrm>
                  <a:off x="6845793" y="1805440"/>
                  <a:ext cx="3589" cy="3110"/>
                </a:xfrm>
                <a:custGeom>
                  <a:avLst/>
                  <a:gdLst>
                    <a:gd name="connsiteX0" fmla="*/ 0 w 3589"/>
                    <a:gd name="connsiteY0" fmla="*/ 3110 h 3110"/>
                    <a:gd name="connsiteX1" fmla="*/ 1436 w 3589"/>
                    <a:gd name="connsiteY1" fmla="*/ 837 h 3110"/>
                    <a:gd name="connsiteX2" fmla="*/ 3589 w 3589"/>
                    <a:gd name="connsiteY2" fmla="*/ 0 h 3110"/>
                  </a:gdLst>
                  <a:ahLst/>
                  <a:cxnLst>
                    <a:cxn ang="0">
                      <a:pos x="connsiteX0" y="connsiteY0"/>
                    </a:cxn>
                    <a:cxn ang="0">
                      <a:pos x="connsiteX1" y="connsiteY1"/>
                    </a:cxn>
                    <a:cxn ang="0">
                      <a:pos x="connsiteX2" y="connsiteY2"/>
                    </a:cxn>
                  </a:cxnLst>
                  <a:rect l="l" t="t" r="r" b="b"/>
                  <a:pathLst>
                    <a:path w="3589" h="3110">
                      <a:moveTo>
                        <a:pt x="0" y="3110"/>
                      </a:moveTo>
                      <a:lnTo>
                        <a:pt x="1436" y="837"/>
                      </a:lnTo>
                      <a:lnTo>
                        <a:pt x="3589" y="0"/>
                      </a:lnTo>
                    </a:path>
                  </a:pathLst>
                </a:custGeom>
                <a:noFill/>
                <a:ln w="6350" cap="rnd">
                  <a:solidFill>
                    <a:schemeClr val="bg1">
                      <a:alpha val="40000"/>
                    </a:schemeClr>
                  </a:solidFill>
                  <a:prstDash val="solid"/>
                  <a:round/>
                </a:ln>
              </p:spPr>
              <p:txBody>
                <a:bodyPr rtlCol="0" anchor="ctr"/>
                <a:lstStyle/>
                <a:p>
                  <a:endParaRPr lang="en-GB"/>
                </a:p>
              </p:txBody>
            </p:sp>
            <p:sp>
              <p:nvSpPr>
                <p:cNvPr id="6451" name="Vrije vorm: vorm 6450">
                  <a:extLst>
                    <a:ext uri="{FF2B5EF4-FFF2-40B4-BE49-F238E27FC236}">
                      <a16:creationId xmlns:a16="http://schemas.microsoft.com/office/drawing/2014/main" id="{8A95A75C-9E30-42C4-A239-6946D1C6816F}"/>
                    </a:ext>
                  </a:extLst>
                </p:cNvPr>
                <p:cNvSpPr/>
                <p:nvPr/>
              </p:nvSpPr>
              <p:spPr>
                <a:xfrm>
                  <a:off x="6745137" y="1947243"/>
                  <a:ext cx="16267" cy="15011"/>
                </a:xfrm>
                <a:custGeom>
                  <a:avLst/>
                  <a:gdLst>
                    <a:gd name="connsiteX0" fmla="*/ 16268 w 16267"/>
                    <a:gd name="connsiteY0" fmla="*/ 15012 h 15011"/>
                    <a:gd name="connsiteX1" fmla="*/ 16148 w 16267"/>
                    <a:gd name="connsiteY1" fmla="*/ 14952 h 15011"/>
                    <a:gd name="connsiteX2" fmla="*/ 15311 w 16267"/>
                    <a:gd name="connsiteY2" fmla="*/ 14414 h 15011"/>
                    <a:gd name="connsiteX3" fmla="*/ 14174 w 16267"/>
                    <a:gd name="connsiteY3" fmla="*/ 13636 h 15011"/>
                    <a:gd name="connsiteX4" fmla="*/ 10586 w 16267"/>
                    <a:gd name="connsiteY4" fmla="*/ 11244 h 15011"/>
                    <a:gd name="connsiteX5" fmla="*/ 10406 w 16267"/>
                    <a:gd name="connsiteY5" fmla="*/ 11124 h 15011"/>
                    <a:gd name="connsiteX6" fmla="*/ 9928 w 16267"/>
                    <a:gd name="connsiteY6" fmla="*/ 10825 h 15011"/>
                    <a:gd name="connsiteX7" fmla="*/ 7416 w 16267"/>
                    <a:gd name="connsiteY7" fmla="*/ 9150 h 15011"/>
                    <a:gd name="connsiteX8" fmla="*/ 5503 w 16267"/>
                    <a:gd name="connsiteY8" fmla="*/ 7895 h 15011"/>
                    <a:gd name="connsiteX9" fmla="*/ 4306 w 16267"/>
                    <a:gd name="connsiteY9" fmla="*/ 7117 h 15011"/>
                    <a:gd name="connsiteX10" fmla="*/ 0 w 16267"/>
                    <a:gd name="connsiteY10" fmla="*/ 4246 h 15011"/>
                    <a:gd name="connsiteX11" fmla="*/ 1735 w 16267"/>
                    <a:gd name="connsiteY11" fmla="*/ 1316 h 15011"/>
                    <a:gd name="connsiteX12" fmla="*/ 2512 w 16267"/>
                    <a:gd name="connsiteY12" fmla="*/ 0 h 1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67" h="15011">
                      <a:moveTo>
                        <a:pt x="16268" y="15012"/>
                      </a:moveTo>
                      <a:lnTo>
                        <a:pt x="16148" y="14952"/>
                      </a:lnTo>
                      <a:lnTo>
                        <a:pt x="15311" y="14414"/>
                      </a:lnTo>
                      <a:lnTo>
                        <a:pt x="14174" y="13636"/>
                      </a:lnTo>
                      <a:lnTo>
                        <a:pt x="10586" y="11244"/>
                      </a:lnTo>
                      <a:lnTo>
                        <a:pt x="10406" y="11124"/>
                      </a:lnTo>
                      <a:lnTo>
                        <a:pt x="9928" y="10825"/>
                      </a:lnTo>
                      <a:lnTo>
                        <a:pt x="7416" y="9150"/>
                      </a:lnTo>
                      <a:lnTo>
                        <a:pt x="5503" y="7895"/>
                      </a:lnTo>
                      <a:lnTo>
                        <a:pt x="4306" y="7117"/>
                      </a:lnTo>
                      <a:lnTo>
                        <a:pt x="0" y="4246"/>
                      </a:lnTo>
                      <a:lnTo>
                        <a:pt x="1735" y="1316"/>
                      </a:lnTo>
                      <a:lnTo>
                        <a:pt x="2512" y="0"/>
                      </a:lnTo>
                    </a:path>
                  </a:pathLst>
                </a:custGeom>
                <a:noFill/>
                <a:ln w="6350" cap="rnd">
                  <a:solidFill>
                    <a:schemeClr val="bg1">
                      <a:alpha val="40000"/>
                    </a:schemeClr>
                  </a:solidFill>
                  <a:prstDash val="solid"/>
                  <a:round/>
                </a:ln>
              </p:spPr>
              <p:txBody>
                <a:bodyPr rtlCol="0" anchor="ctr"/>
                <a:lstStyle/>
                <a:p>
                  <a:endParaRPr lang="en-GB"/>
                </a:p>
              </p:txBody>
            </p:sp>
            <p:sp>
              <p:nvSpPr>
                <p:cNvPr id="6452" name="Vrije vorm: vorm 6451">
                  <a:extLst>
                    <a:ext uri="{FF2B5EF4-FFF2-40B4-BE49-F238E27FC236}">
                      <a16:creationId xmlns:a16="http://schemas.microsoft.com/office/drawing/2014/main" id="{D249A662-DA68-484A-9737-F01172723FA8}"/>
                    </a:ext>
                  </a:extLst>
                </p:cNvPr>
                <p:cNvSpPr/>
                <p:nvPr/>
              </p:nvSpPr>
              <p:spPr>
                <a:xfrm>
                  <a:off x="6773127" y="1907472"/>
                  <a:ext cx="44436" cy="68778"/>
                </a:xfrm>
                <a:custGeom>
                  <a:avLst/>
                  <a:gdLst>
                    <a:gd name="connsiteX0" fmla="*/ 0 w 44436"/>
                    <a:gd name="connsiteY0" fmla="*/ 68778 h 68778"/>
                    <a:gd name="connsiteX1" fmla="*/ 1316 w 44436"/>
                    <a:gd name="connsiteY1" fmla="*/ 66565 h 68778"/>
                    <a:gd name="connsiteX2" fmla="*/ 2273 w 44436"/>
                    <a:gd name="connsiteY2" fmla="*/ 64951 h 68778"/>
                    <a:gd name="connsiteX3" fmla="*/ 2632 w 44436"/>
                    <a:gd name="connsiteY3" fmla="*/ 64293 h 68778"/>
                    <a:gd name="connsiteX4" fmla="*/ 3469 w 44436"/>
                    <a:gd name="connsiteY4" fmla="*/ 62857 h 68778"/>
                    <a:gd name="connsiteX5" fmla="*/ 3529 w 44436"/>
                    <a:gd name="connsiteY5" fmla="*/ 62798 h 68778"/>
                    <a:gd name="connsiteX6" fmla="*/ 4246 w 44436"/>
                    <a:gd name="connsiteY6" fmla="*/ 61243 h 68778"/>
                    <a:gd name="connsiteX7" fmla="*/ 4246 w 44436"/>
                    <a:gd name="connsiteY7" fmla="*/ 61183 h 68778"/>
                    <a:gd name="connsiteX8" fmla="*/ 4306 w 44436"/>
                    <a:gd name="connsiteY8" fmla="*/ 61063 h 68778"/>
                    <a:gd name="connsiteX9" fmla="*/ 5682 w 44436"/>
                    <a:gd name="connsiteY9" fmla="*/ 58192 h 68778"/>
                    <a:gd name="connsiteX10" fmla="*/ 5801 w 44436"/>
                    <a:gd name="connsiteY10" fmla="*/ 57953 h 68778"/>
                    <a:gd name="connsiteX11" fmla="*/ 5801 w 44436"/>
                    <a:gd name="connsiteY11" fmla="*/ 57953 h 68778"/>
                    <a:gd name="connsiteX12" fmla="*/ 6100 w 44436"/>
                    <a:gd name="connsiteY12" fmla="*/ 57355 h 68778"/>
                    <a:gd name="connsiteX13" fmla="*/ 6280 w 44436"/>
                    <a:gd name="connsiteY13" fmla="*/ 56279 h 68778"/>
                    <a:gd name="connsiteX14" fmla="*/ 6459 w 44436"/>
                    <a:gd name="connsiteY14" fmla="*/ 55262 h 68778"/>
                    <a:gd name="connsiteX15" fmla="*/ 6579 w 44436"/>
                    <a:gd name="connsiteY15" fmla="*/ 54425 h 68778"/>
                    <a:gd name="connsiteX16" fmla="*/ 6758 w 44436"/>
                    <a:gd name="connsiteY16" fmla="*/ 53468 h 68778"/>
                    <a:gd name="connsiteX17" fmla="*/ 7117 w 44436"/>
                    <a:gd name="connsiteY17" fmla="*/ 51195 h 68778"/>
                    <a:gd name="connsiteX18" fmla="*/ 7177 w 44436"/>
                    <a:gd name="connsiteY18" fmla="*/ 50836 h 68778"/>
                    <a:gd name="connsiteX19" fmla="*/ 7297 w 44436"/>
                    <a:gd name="connsiteY19" fmla="*/ 50118 h 68778"/>
                    <a:gd name="connsiteX20" fmla="*/ 7297 w 44436"/>
                    <a:gd name="connsiteY20" fmla="*/ 49939 h 68778"/>
                    <a:gd name="connsiteX21" fmla="*/ 7775 w 44436"/>
                    <a:gd name="connsiteY21" fmla="*/ 47068 h 68778"/>
                    <a:gd name="connsiteX22" fmla="*/ 8074 w 44436"/>
                    <a:gd name="connsiteY22" fmla="*/ 45154 h 68778"/>
                    <a:gd name="connsiteX23" fmla="*/ 8493 w 44436"/>
                    <a:gd name="connsiteY23" fmla="*/ 42762 h 68778"/>
                    <a:gd name="connsiteX24" fmla="*/ 8612 w 44436"/>
                    <a:gd name="connsiteY24" fmla="*/ 41925 h 68778"/>
                    <a:gd name="connsiteX25" fmla="*/ 8852 w 44436"/>
                    <a:gd name="connsiteY25" fmla="*/ 40609 h 68778"/>
                    <a:gd name="connsiteX26" fmla="*/ 8852 w 44436"/>
                    <a:gd name="connsiteY26" fmla="*/ 40609 h 68778"/>
                    <a:gd name="connsiteX27" fmla="*/ 8971 w 44436"/>
                    <a:gd name="connsiteY27" fmla="*/ 39712 h 68778"/>
                    <a:gd name="connsiteX28" fmla="*/ 9270 w 44436"/>
                    <a:gd name="connsiteY28" fmla="*/ 37978 h 68778"/>
                    <a:gd name="connsiteX29" fmla="*/ 9510 w 44436"/>
                    <a:gd name="connsiteY29" fmla="*/ 36303 h 68778"/>
                    <a:gd name="connsiteX30" fmla="*/ 9510 w 44436"/>
                    <a:gd name="connsiteY30" fmla="*/ 36243 h 68778"/>
                    <a:gd name="connsiteX31" fmla="*/ 9868 w 44436"/>
                    <a:gd name="connsiteY31" fmla="*/ 34030 h 68778"/>
                    <a:gd name="connsiteX32" fmla="*/ 9988 w 44436"/>
                    <a:gd name="connsiteY32" fmla="*/ 33731 h 68778"/>
                    <a:gd name="connsiteX33" fmla="*/ 10167 w 44436"/>
                    <a:gd name="connsiteY33" fmla="*/ 33372 h 68778"/>
                    <a:gd name="connsiteX34" fmla="*/ 11304 w 44436"/>
                    <a:gd name="connsiteY34" fmla="*/ 30741 h 68778"/>
                    <a:gd name="connsiteX35" fmla="*/ 11603 w 44436"/>
                    <a:gd name="connsiteY35" fmla="*/ 30083 h 68778"/>
                    <a:gd name="connsiteX36" fmla="*/ 13815 w 44436"/>
                    <a:gd name="connsiteY36" fmla="*/ 24999 h 68778"/>
                    <a:gd name="connsiteX37" fmla="*/ 14593 w 44436"/>
                    <a:gd name="connsiteY37" fmla="*/ 23983 h 68778"/>
                    <a:gd name="connsiteX38" fmla="*/ 14952 w 44436"/>
                    <a:gd name="connsiteY38" fmla="*/ 23445 h 68778"/>
                    <a:gd name="connsiteX39" fmla="*/ 15251 w 44436"/>
                    <a:gd name="connsiteY39" fmla="*/ 23026 h 68778"/>
                    <a:gd name="connsiteX40" fmla="*/ 15789 w 44436"/>
                    <a:gd name="connsiteY40" fmla="*/ 22308 h 68778"/>
                    <a:gd name="connsiteX41" fmla="*/ 16268 w 44436"/>
                    <a:gd name="connsiteY41" fmla="*/ 21650 h 68778"/>
                    <a:gd name="connsiteX42" fmla="*/ 17344 w 44436"/>
                    <a:gd name="connsiteY42" fmla="*/ 20155 h 68778"/>
                    <a:gd name="connsiteX43" fmla="*/ 17823 w 44436"/>
                    <a:gd name="connsiteY43" fmla="*/ 19497 h 68778"/>
                    <a:gd name="connsiteX44" fmla="*/ 18062 w 44436"/>
                    <a:gd name="connsiteY44" fmla="*/ 19198 h 68778"/>
                    <a:gd name="connsiteX45" fmla="*/ 20335 w 44436"/>
                    <a:gd name="connsiteY45" fmla="*/ 16088 h 68778"/>
                    <a:gd name="connsiteX46" fmla="*/ 21591 w 44436"/>
                    <a:gd name="connsiteY46" fmla="*/ 14414 h 68778"/>
                    <a:gd name="connsiteX47" fmla="*/ 23026 w 44436"/>
                    <a:gd name="connsiteY47" fmla="*/ 12500 h 68778"/>
                    <a:gd name="connsiteX48" fmla="*/ 24282 w 44436"/>
                    <a:gd name="connsiteY48" fmla="*/ 10825 h 68778"/>
                    <a:gd name="connsiteX49" fmla="*/ 24401 w 44436"/>
                    <a:gd name="connsiteY49" fmla="*/ 10706 h 68778"/>
                    <a:gd name="connsiteX50" fmla="*/ 24760 w 44436"/>
                    <a:gd name="connsiteY50" fmla="*/ 10227 h 68778"/>
                    <a:gd name="connsiteX51" fmla="*/ 26136 w 44436"/>
                    <a:gd name="connsiteY51" fmla="*/ 8373 h 68778"/>
                    <a:gd name="connsiteX52" fmla="*/ 27213 w 44436"/>
                    <a:gd name="connsiteY52" fmla="*/ 6938 h 68778"/>
                    <a:gd name="connsiteX53" fmla="*/ 27272 w 44436"/>
                    <a:gd name="connsiteY53" fmla="*/ 6818 h 68778"/>
                    <a:gd name="connsiteX54" fmla="*/ 27811 w 44436"/>
                    <a:gd name="connsiteY54" fmla="*/ 6041 h 68778"/>
                    <a:gd name="connsiteX55" fmla="*/ 27930 w 44436"/>
                    <a:gd name="connsiteY55" fmla="*/ 5861 h 68778"/>
                    <a:gd name="connsiteX56" fmla="*/ 29126 w 44436"/>
                    <a:gd name="connsiteY56" fmla="*/ 4187 h 68778"/>
                    <a:gd name="connsiteX57" fmla="*/ 29425 w 44436"/>
                    <a:gd name="connsiteY57" fmla="*/ 3768 h 68778"/>
                    <a:gd name="connsiteX58" fmla="*/ 30203 w 44436"/>
                    <a:gd name="connsiteY58" fmla="*/ 2691 h 68778"/>
                    <a:gd name="connsiteX59" fmla="*/ 30562 w 44436"/>
                    <a:gd name="connsiteY59" fmla="*/ 2213 h 68778"/>
                    <a:gd name="connsiteX60" fmla="*/ 31040 w 44436"/>
                    <a:gd name="connsiteY60" fmla="*/ 1555 h 68778"/>
                    <a:gd name="connsiteX61" fmla="*/ 31399 w 44436"/>
                    <a:gd name="connsiteY61" fmla="*/ 1376 h 68778"/>
                    <a:gd name="connsiteX62" fmla="*/ 33074 w 44436"/>
                    <a:gd name="connsiteY62" fmla="*/ 359 h 68778"/>
                    <a:gd name="connsiteX63" fmla="*/ 33612 w 44436"/>
                    <a:gd name="connsiteY63" fmla="*/ 0 h 68778"/>
                    <a:gd name="connsiteX64" fmla="*/ 33970 w 44436"/>
                    <a:gd name="connsiteY64" fmla="*/ 180 h 68778"/>
                    <a:gd name="connsiteX65" fmla="*/ 38157 w 44436"/>
                    <a:gd name="connsiteY65" fmla="*/ 1794 h 68778"/>
                    <a:gd name="connsiteX66" fmla="*/ 40011 w 44436"/>
                    <a:gd name="connsiteY66" fmla="*/ 2512 h 68778"/>
                    <a:gd name="connsiteX67" fmla="*/ 41088 w 44436"/>
                    <a:gd name="connsiteY67" fmla="*/ 3170 h 68778"/>
                    <a:gd name="connsiteX68" fmla="*/ 41327 w 44436"/>
                    <a:gd name="connsiteY68" fmla="*/ 3289 h 68778"/>
                    <a:gd name="connsiteX69" fmla="*/ 41446 w 44436"/>
                    <a:gd name="connsiteY69" fmla="*/ 3349 h 68778"/>
                    <a:gd name="connsiteX70" fmla="*/ 41686 w 44436"/>
                    <a:gd name="connsiteY70" fmla="*/ 3529 h 68778"/>
                    <a:gd name="connsiteX71" fmla="*/ 43540 w 44436"/>
                    <a:gd name="connsiteY71" fmla="*/ 4725 h 68778"/>
                    <a:gd name="connsiteX72" fmla="*/ 44198 w 44436"/>
                    <a:gd name="connsiteY72" fmla="*/ 12560 h 68778"/>
                    <a:gd name="connsiteX73" fmla="*/ 44198 w 44436"/>
                    <a:gd name="connsiteY73" fmla="*/ 12739 h 68778"/>
                    <a:gd name="connsiteX74" fmla="*/ 44257 w 44436"/>
                    <a:gd name="connsiteY74" fmla="*/ 13098 h 68778"/>
                    <a:gd name="connsiteX75" fmla="*/ 44437 w 44436"/>
                    <a:gd name="connsiteY75" fmla="*/ 15370 h 68778"/>
                    <a:gd name="connsiteX76" fmla="*/ 44437 w 44436"/>
                    <a:gd name="connsiteY76" fmla="*/ 15490 h 68778"/>
                    <a:gd name="connsiteX77" fmla="*/ 44317 w 44436"/>
                    <a:gd name="connsiteY77" fmla="*/ 16327 h 68778"/>
                    <a:gd name="connsiteX78" fmla="*/ 44257 w 44436"/>
                    <a:gd name="connsiteY78" fmla="*/ 16567 h 68778"/>
                    <a:gd name="connsiteX79" fmla="*/ 44198 w 44436"/>
                    <a:gd name="connsiteY79" fmla="*/ 16985 h 68778"/>
                    <a:gd name="connsiteX80" fmla="*/ 44018 w 44436"/>
                    <a:gd name="connsiteY80" fmla="*/ 18421 h 68778"/>
                    <a:gd name="connsiteX81" fmla="*/ 43660 w 44436"/>
                    <a:gd name="connsiteY81" fmla="*/ 19019 h 68778"/>
                    <a:gd name="connsiteX82" fmla="*/ 43241 w 44436"/>
                    <a:gd name="connsiteY82" fmla="*/ 19677 h 6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4436" h="68778">
                      <a:moveTo>
                        <a:pt x="0" y="68778"/>
                      </a:moveTo>
                      <a:lnTo>
                        <a:pt x="1316" y="66565"/>
                      </a:lnTo>
                      <a:lnTo>
                        <a:pt x="2273" y="64951"/>
                      </a:lnTo>
                      <a:lnTo>
                        <a:pt x="2632" y="64293"/>
                      </a:lnTo>
                      <a:lnTo>
                        <a:pt x="3469" y="62857"/>
                      </a:lnTo>
                      <a:lnTo>
                        <a:pt x="3529" y="62798"/>
                      </a:lnTo>
                      <a:lnTo>
                        <a:pt x="4246" y="61243"/>
                      </a:lnTo>
                      <a:lnTo>
                        <a:pt x="4246" y="61183"/>
                      </a:lnTo>
                      <a:lnTo>
                        <a:pt x="4306" y="61063"/>
                      </a:lnTo>
                      <a:lnTo>
                        <a:pt x="5682" y="58192"/>
                      </a:lnTo>
                      <a:lnTo>
                        <a:pt x="5801" y="57953"/>
                      </a:lnTo>
                      <a:lnTo>
                        <a:pt x="5801" y="57953"/>
                      </a:lnTo>
                      <a:lnTo>
                        <a:pt x="6100" y="57355"/>
                      </a:lnTo>
                      <a:lnTo>
                        <a:pt x="6280" y="56279"/>
                      </a:lnTo>
                      <a:lnTo>
                        <a:pt x="6459" y="55262"/>
                      </a:lnTo>
                      <a:lnTo>
                        <a:pt x="6579" y="54425"/>
                      </a:lnTo>
                      <a:lnTo>
                        <a:pt x="6758" y="53468"/>
                      </a:lnTo>
                      <a:lnTo>
                        <a:pt x="7117" y="51195"/>
                      </a:lnTo>
                      <a:lnTo>
                        <a:pt x="7177" y="50836"/>
                      </a:lnTo>
                      <a:lnTo>
                        <a:pt x="7297" y="50118"/>
                      </a:lnTo>
                      <a:lnTo>
                        <a:pt x="7297" y="49939"/>
                      </a:lnTo>
                      <a:lnTo>
                        <a:pt x="7775" y="47068"/>
                      </a:lnTo>
                      <a:lnTo>
                        <a:pt x="8074" y="45154"/>
                      </a:lnTo>
                      <a:lnTo>
                        <a:pt x="8493" y="42762"/>
                      </a:lnTo>
                      <a:lnTo>
                        <a:pt x="8612" y="41925"/>
                      </a:lnTo>
                      <a:lnTo>
                        <a:pt x="8852" y="40609"/>
                      </a:lnTo>
                      <a:lnTo>
                        <a:pt x="8852" y="40609"/>
                      </a:lnTo>
                      <a:lnTo>
                        <a:pt x="8971" y="39712"/>
                      </a:lnTo>
                      <a:lnTo>
                        <a:pt x="9270" y="37978"/>
                      </a:lnTo>
                      <a:lnTo>
                        <a:pt x="9510" y="36303"/>
                      </a:lnTo>
                      <a:lnTo>
                        <a:pt x="9510" y="36243"/>
                      </a:lnTo>
                      <a:lnTo>
                        <a:pt x="9868" y="34030"/>
                      </a:lnTo>
                      <a:lnTo>
                        <a:pt x="9988" y="33731"/>
                      </a:lnTo>
                      <a:lnTo>
                        <a:pt x="10167" y="33372"/>
                      </a:lnTo>
                      <a:lnTo>
                        <a:pt x="11304" y="30741"/>
                      </a:lnTo>
                      <a:lnTo>
                        <a:pt x="11603" y="30083"/>
                      </a:lnTo>
                      <a:lnTo>
                        <a:pt x="13815" y="24999"/>
                      </a:lnTo>
                      <a:lnTo>
                        <a:pt x="14593" y="23983"/>
                      </a:lnTo>
                      <a:lnTo>
                        <a:pt x="14952" y="23445"/>
                      </a:lnTo>
                      <a:lnTo>
                        <a:pt x="15251" y="23026"/>
                      </a:lnTo>
                      <a:lnTo>
                        <a:pt x="15789" y="22308"/>
                      </a:lnTo>
                      <a:lnTo>
                        <a:pt x="16268" y="21650"/>
                      </a:lnTo>
                      <a:lnTo>
                        <a:pt x="17344" y="20155"/>
                      </a:lnTo>
                      <a:lnTo>
                        <a:pt x="17823" y="19497"/>
                      </a:lnTo>
                      <a:lnTo>
                        <a:pt x="18062" y="19198"/>
                      </a:lnTo>
                      <a:lnTo>
                        <a:pt x="20335" y="16088"/>
                      </a:lnTo>
                      <a:lnTo>
                        <a:pt x="21591" y="14414"/>
                      </a:lnTo>
                      <a:lnTo>
                        <a:pt x="23026" y="12500"/>
                      </a:lnTo>
                      <a:lnTo>
                        <a:pt x="24282" y="10825"/>
                      </a:lnTo>
                      <a:lnTo>
                        <a:pt x="24401" y="10706"/>
                      </a:lnTo>
                      <a:lnTo>
                        <a:pt x="24760" y="10227"/>
                      </a:lnTo>
                      <a:lnTo>
                        <a:pt x="26136" y="8373"/>
                      </a:lnTo>
                      <a:lnTo>
                        <a:pt x="27213" y="6938"/>
                      </a:lnTo>
                      <a:lnTo>
                        <a:pt x="27272" y="6818"/>
                      </a:lnTo>
                      <a:lnTo>
                        <a:pt x="27811" y="6041"/>
                      </a:lnTo>
                      <a:lnTo>
                        <a:pt x="27930" y="5861"/>
                      </a:lnTo>
                      <a:lnTo>
                        <a:pt x="29126" y="4187"/>
                      </a:lnTo>
                      <a:lnTo>
                        <a:pt x="29425" y="3768"/>
                      </a:lnTo>
                      <a:lnTo>
                        <a:pt x="30203" y="2691"/>
                      </a:lnTo>
                      <a:lnTo>
                        <a:pt x="30562" y="2213"/>
                      </a:lnTo>
                      <a:lnTo>
                        <a:pt x="31040" y="1555"/>
                      </a:lnTo>
                      <a:lnTo>
                        <a:pt x="31399" y="1376"/>
                      </a:lnTo>
                      <a:lnTo>
                        <a:pt x="33074" y="359"/>
                      </a:lnTo>
                      <a:lnTo>
                        <a:pt x="33612" y="0"/>
                      </a:lnTo>
                      <a:lnTo>
                        <a:pt x="33970" y="180"/>
                      </a:lnTo>
                      <a:lnTo>
                        <a:pt x="38157" y="1794"/>
                      </a:lnTo>
                      <a:lnTo>
                        <a:pt x="40011" y="2512"/>
                      </a:lnTo>
                      <a:lnTo>
                        <a:pt x="41088" y="3170"/>
                      </a:lnTo>
                      <a:lnTo>
                        <a:pt x="41327" y="3289"/>
                      </a:lnTo>
                      <a:lnTo>
                        <a:pt x="41446" y="3349"/>
                      </a:lnTo>
                      <a:lnTo>
                        <a:pt x="41686" y="3529"/>
                      </a:lnTo>
                      <a:lnTo>
                        <a:pt x="43540" y="4725"/>
                      </a:lnTo>
                      <a:lnTo>
                        <a:pt x="44198" y="12560"/>
                      </a:lnTo>
                      <a:lnTo>
                        <a:pt x="44198" y="12739"/>
                      </a:lnTo>
                      <a:lnTo>
                        <a:pt x="44257" y="13098"/>
                      </a:lnTo>
                      <a:lnTo>
                        <a:pt x="44437" y="15370"/>
                      </a:lnTo>
                      <a:lnTo>
                        <a:pt x="44437" y="15490"/>
                      </a:lnTo>
                      <a:lnTo>
                        <a:pt x="44317" y="16327"/>
                      </a:lnTo>
                      <a:lnTo>
                        <a:pt x="44257" y="16567"/>
                      </a:lnTo>
                      <a:lnTo>
                        <a:pt x="44198" y="16985"/>
                      </a:lnTo>
                      <a:lnTo>
                        <a:pt x="44018" y="18421"/>
                      </a:lnTo>
                      <a:lnTo>
                        <a:pt x="43660" y="19019"/>
                      </a:lnTo>
                      <a:lnTo>
                        <a:pt x="43241" y="19677"/>
                      </a:lnTo>
                    </a:path>
                  </a:pathLst>
                </a:custGeom>
                <a:noFill/>
                <a:ln w="6350" cap="rnd">
                  <a:solidFill>
                    <a:schemeClr val="bg1">
                      <a:alpha val="40000"/>
                    </a:schemeClr>
                  </a:solidFill>
                  <a:prstDash val="solid"/>
                  <a:round/>
                </a:ln>
              </p:spPr>
              <p:txBody>
                <a:bodyPr rtlCol="0" anchor="ctr"/>
                <a:lstStyle/>
                <a:p>
                  <a:endParaRPr lang="en-GB"/>
                </a:p>
              </p:txBody>
            </p:sp>
            <p:sp>
              <p:nvSpPr>
                <p:cNvPr id="6453" name="Vrije vorm: vorm 6452">
                  <a:extLst>
                    <a:ext uri="{FF2B5EF4-FFF2-40B4-BE49-F238E27FC236}">
                      <a16:creationId xmlns:a16="http://schemas.microsoft.com/office/drawing/2014/main" id="{0774C2D4-56ED-4FDF-B27C-1A38F55A7AEF}"/>
                    </a:ext>
                  </a:extLst>
                </p:cNvPr>
                <p:cNvSpPr/>
                <p:nvPr/>
              </p:nvSpPr>
              <p:spPr>
                <a:xfrm>
                  <a:off x="6761584" y="1872305"/>
                  <a:ext cx="17404" cy="32774"/>
                </a:xfrm>
                <a:custGeom>
                  <a:avLst/>
                  <a:gdLst>
                    <a:gd name="connsiteX0" fmla="*/ 2034 w 17404"/>
                    <a:gd name="connsiteY0" fmla="*/ 32774 h 32774"/>
                    <a:gd name="connsiteX1" fmla="*/ 598 w 17404"/>
                    <a:gd name="connsiteY1" fmla="*/ 29006 h 32774"/>
                    <a:gd name="connsiteX2" fmla="*/ 419 w 17404"/>
                    <a:gd name="connsiteY2" fmla="*/ 28528 h 32774"/>
                    <a:gd name="connsiteX3" fmla="*/ 0 w 17404"/>
                    <a:gd name="connsiteY3" fmla="*/ 27332 h 32774"/>
                    <a:gd name="connsiteX4" fmla="*/ 0 w 17404"/>
                    <a:gd name="connsiteY4" fmla="*/ 27093 h 32774"/>
                    <a:gd name="connsiteX5" fmla="*/ 0 w 17404"/>
                    <a:gd name="connsiteY5" fmla="*/ 27033 h 32774"/>
                    <a:gd name="connsiteX6" fmla="*/ 0 w 17404"/>
                    <a:gd name="connsiteY6" fmla="*/ 26913 h 32774"/>
                    <a:gd name="connsiteX7" fmla="*/ 0 w 17404"/>
                    <a:gd name="connsiteY7" fmla="*/ 26614 h 32774"/>
                    <a:gd name="connsiteX8" fmla="*/ 60 w 17404"/>
                    <a:gd name="connsiteY8" fmla="*/ 25837 h 32774"/>
                    <a:gd name="connsiteX9" fmla="*/ 60 w 17404"/>
                    <a:gd name="connsiteY9" fmla="*/ 25837 h 32774"/>
                    <a:gd name="connsiteX10" fmla="*/ 60 w 17404"/>
                    <a:gd name="connsiteY10" fmla="*/ 25657 h 32774"/>
                    <a:gd name="connsiteX11" fmla="*/ 60 w 17404"/>
                    <a:gd name="connsiteY11" fmla="*/ 25478 h 32774"/>
                    <a:gd name="connsiteX12" fmla="*/ 60 w 17404"/>
                    <a:gd name="connsiteY12" fmla="*/ 25119 h 32774"/>
                    <a:gd name="connsiteX13" fmla="*/ 60 w 17404"/>
                    <a:gd name="connsiteY13" fmla="*/ 24940 h 32774"/>
                    <a:gd name="connsiteX14" fmla="*/ 60 w 17404"/>
                    <a:gd name="connsiteY14" fmla="*/ 24940 h 32774"/>
                    <a:gd name="connsiteX15" fmla="*/ 60 w 17404"/>
                    <a:gd name="connsiteY15" fmla="*/ 24880 h 32774"/>
                    <a:gd name="connsiteX16" fmla="*/ 180 w 17404"/>
                    <a:gd name="connsiteY16" fmla="*/ 24521 h 32774"/>
                    <a:gd name="connsiteX17" fmla="*/ 180 w 17404"/>
                    <a:gd name="connsiteY17" fmla="*/ 24521 h 32774"/>
                    <a:gd name="connsiteX18" fmla="*/ 538 w 17404"/>
                    <a:gd name="connsiteY18" fmla="*/ 23504 h 32774"/>
                    <a:gd name="connsiteX19" fmla="*/ 778 w 17404"/>
                    <a:gd name="connsiteY19" fmla="*/ 22906 h 32774"/>
                    <a:gd name="connsiteX20" fmla="*/ 1017 w 17404"/>
                    <a:gd name="connsiteY20" fmla="*/ 22248 h 32774"/>
                    <a:gd name="connsiteX21" fmla="*/ 1196 w 17404"/>
                    <a:gd name="connsiteY21" fmla="*/ 21830 h 32774"/>
                    <a:gd name="connsiteX22" fmla="*/ 2572 w 17404"/>
                    <a:gd name="connsiteY22" fmla="*/ 18181 h 32774"/>
                    <a:gd name="connsiteX23" fmla="*/ 2632 w 17404"/>
                    <a:gd name="connsiteY23" fmla="*/ 18062 h 32774"/>
                    <a:gd name="connsiteX24" fmla="*/ 2691 w 17404"/>
                    <a:gd name="connsiteY24" fmla="*/ 17942 h 32774"/>
                    <a:gd name="connsiteX25" fmla="*/ 2990 w 17404"/>
                    <a:gd name="connsiteY25" fmla="*/ 17105 h 32774"/>
                    <a:gd name="connsiteX26" fmla="*/ 3529 w 17404"/>
                    <a:gd name="connsiteY26" fmla="*/ 15610 h 32774"/>
                    <a:gd name="connsiteX27" fmla="*/ 4067 w 17404"/>
                    <a:gd name="connsiteY27" fmla="*/ 14115 h 32774"/>
                    <a:gd name="connsiteX28" fmla="*/ 4187 w 17404"/>
                    <a:gd name="connsiteY28" fmla="*/ 13875 h 32774"/>
                    <a:gd name="connsiteX29" fmla="*/ 6160 w 17404"/>
                    <a:gd name="connsiteY29" fmla="*/ 8672 h 32774"/>
                    <a:gd name="connsiteX30" fmla="*/ 6579 w 17404"/>
                    <a:gd name="connsiteY30" fmla="*/ 7536 h 32774"/>
                    <a:gd name="connsiteX31" fmla="*/ 7954 w 17404"/>
                    <a:gd name="connsiteY31" fmla="*/ 4007 h 32774"/>
                    <a:gd name="connsiteX32" fmla="*/ 7954 w 17404"/>
                    <a:gd name="connsiteY32" fmla="*/ 4007 h 32774"/>
                    <a:gd name="connsiteX33" fmla="*/ 9689 w 17404"/>
                    <a:gd name="connsiteY33" fmla="*/ 1794 h 32774"/>
                    <a:gd name="connsiteX34" fmla="*/ 11423 w 17404"/>
                    <a:gd name="connsiteY34" fmla="*/ 1196 h 32774"/>
                    <a:gd name="connsiteX35" fmla="*/ 12859 w 17404"/>
                    <a:gd name="connsiteY35" fmla="*/ 718 h 32774"/>
                    <a:gd name="connsiteX36" fmla="*/ 14354 w 17404"/>
                    <a:gd name="connsiteY36" fmla="*/ 179 h 32774"/>
                    <a:gd name="connsiteX37" fmla="*/ 14892 w 17404"/>
                    <a:gd name="connsiteY37" fmla="*/ 0 h 32774"/>
                    <a:gd name="connsiteX38" fmla="*/ 17404 w 17404"/>
                    <a:gd name="connsiteY38" fmla="*/ 1555 h 32774"/>
                    <a:gd name="connsiteX39" fmla="*/ 16926 w 17404"/>
                    <a:gd name="connsiteY39" fmla="*/ 4665 h 32774"/>
                    <a:gd name="connsiteX40" fmla="*/ 16686 w 17404"/>
                    <a:gd name="connsiteY40" fmla="*/ 6160 h 32774"/>
                    <a:gd name="connsiteX41" fmla="*/ 16567 w 17404"/>
                    <a:gd name="connsiteY41" fmla="*/ 6938 h 3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404" h="32774">
                      <a:moveTo>
                        <a:pt x="2034" y="32774"/>
                      </a:moveTo>
                      <a:lnTo>
                        <a:pt x="598" y="29006"/>
                      </a:lnTo>
                      <a:lnTo>
                        <a:pt x="419" y="28528"/>
                      </a:lnTo>
                      <a:lnTo>
                        <a:pt x="0" y="27332"/>
                      </a:lnTo>
                      <a:lnTo>
                        <a:pt x="0" y="27093"/>
                      </a:lnTo>
                      <a:lnTo>
                        <a:pt x="0" y="27033"/>
                      </a:lnTo>
                      <a:lnTo>
                        <a:pt x="0" y="26913"/>
                      </a:lnTo>
                      <a:lnTo>
                        <a:pt x="0" y="26614"/>
                      </a:lnTo>
                      <a:lnTo>
                        <a:pt x="60" y="25837"/>
                      </a:lnTo>
                      <a:lnTo>
                        <a:pt x="60" y="25837"/>
                      </a:lnTo>
                      <a:lnTo>
                        <a:pt x="60" y="25657"/>
                      </a:lnTo>
                      <a:lnTo>
                        <a:pt x="60" y="25478"/>
                      </a:lnTo>
                      <a:lnTo>
                        <a:pt x="60" y="25119"/>
                      </a:lnTo>
                      <a:lnTo>
                        <a:pt x="60" y="24940"/>
                      </a:lnTo>
                      <a:lnTo>
                        <a:pt x="60" y="24940"/>
                      </a:lnTo>
                      <a:lnTo>
                        <a:pt x="60" y="24880"/>
                      </a:lnTo>
                      <a:lnTo>
                        <a:pt x="180" y="24521"/>
                      </a:lnTo>
                      <a:lnTo>
                        <a:pt x="180" y="24521"/>
                      </a:lnTo>
                      <a:lnTo>
                        <a:pt x="538" y="23504"/>
                      </a:lnTo>
                      <a:lnTo>
                        <a:pt x="778" y="22906"/>
                      </a:lnTo>
                      <a:lnTo>
                        <a:pt x="1017" y="22248"/>
                      </a:lnTo>
                      <a:lnTo>
                        <a:pt x="1196" y="21830"/>
                      </a:lnTo>
                      <a:lnTo>
                        <a:pt x="2572" y="18181"/>
                      </a:lnTo>
                      <a:lnTo>
                        <a:pt x="2632" y="18062"/>
                      </a:lnTo>
                      <a:lnTo>
                        <a:pt x="2691" y="17942"/>
                      </a:lnTo>
                      <a:lnTo>
                        <a:pt x="2990" y="17105"/>
                      </a:lnTo>
                      <a:lnTo>
                        <a:pt x="3529" y="15610"/>
                      </a:lnTo>
                      <a:lnTo>
                        <a:pt x="4067" y="14115"/>
                      </a:lnTo>
                      <a:lnTo>
                        <a:pt x="4187" y="13875"/>
                      </a:lnTo>
                      <a:lnTo>
                        <a:pt x="6160" y="8672"/>
                      </a:lnTo>
                      <a:lnTo>
                        <a:pt x="6579" y="7536"/>
                      </a:lnTo>
                      <a:lnTo>
                        <a:pt x="7954" y="4007"/>
                      </a:lnTo>
                      <a:lnTo>
                        <a:pt x="7954" y="4007"/>
                      </a:lnTo>
                      <a:lnTo>
                        <a:pt x="9689" y="1794"/>
                      </a:lnTo>
                      <a:lnTo>
                        <a:pt x="11423" y="1196"/>
                      </a:lnTo>
                      <a:lnTo>
                        <a:pt x="12859" y="718"/>
                      </a:lnTo>
                      <a:lnTo>
                        <a:pt x="14354" y="179"/>
                      </a:lnTo>
                      <a:lnTo>
                        <a:pt x="14892" y="0"/>
                      </a:lnTo>
                      <a:lnTo>
                        <a:pt x="17404" y="1555"/>
                      </a:lnTo>
                      <a:lnTo>
                        <a:pt x="16926" y="4665"/>
                      </a:lnTo>
                      <a:lnTo>
                        <a:pt x="16686" y="6160"/>
                      </a:lnTo>
                      <a:lnTo>
                        <a:pt x="16567" y="6938"/>
                      </a:lnTo>
                    </a:path>
                  </a:pathLst>
                </a:custGeom>
                <a:noFill/>
                <a:ln w="6350" cap="rnd">
                  <a:solidFill>
                    <a:schemeClr val="bg1">
                      <a:alpha val="40000"/>
                    </a:schemeClr>
                  </a:solidFill>
                  <a:prstDash val="solid"/>
                  <a:round/>
                </a:ln>
              </p:spPr>
              <p:txBody>
                <a:bodyPr rtlCol="0" anchor="ctr"/>
                <a:lstStyle/>
                <a:p>
                  <a:endParaRPr lang="en-GB"/>
                </a:p>
              </p:txBody>
            </p:sp>
            <p:sp>
              <p:nvSpPr>
                <p:cNvPr id="6454" name="Vrije vorm: vorm 6453">
                  <a:extLst>
                    <a:ext uri="{FF2B5EF4-FFF2-40B4-BE49-F238E27FC236}">
                      <a16:creationId xmlns:a16="http://schemas.microsoft.com/office/drawing/2014/main" id="{F541F95B-196B-4185-902D-37AA0C2E836D}"/>
                    </a:ext>
                  </a:extLst>
                </p:cNvPr>
                <p:cNvSpPr/>
                <p:nvPr/>
              </p:nvSpPr>
              <p:spPr>
                <a:xfrm>
                  <a:off x="6781919" y="1968415"/>
                  <a:ext cx="6279" cy="6459"/>
                </a:xfrm>
                <a:custGeom>
                  <a:avLst/>
                  <a:gdLst>
                    <a:gd name="connsiteX0" fmla="*/ 4426 w 6279"/>
                    <a:gd name="connsiteY0" fmla="*/ 0 h 6459"/>
                    <a:gd name="connsiteX1" fmla="*/ 5203 w 6279"/>
                    <a:gd name="connsiteY1" fmla="*/ 538 h 6459"/>
                    <a:gd name="connsiteX2" fmla="*/ 6280 w 6279"/>
                    <a:gd name="connsiteY2" fmla="*/ 2213 h 6459"/>
                    <a:gd name="connsiteX3" fmla="*/ 5861 w 6279"/>
                    <a:gd name="connsiteY3" fmla="*/ 2931 h 6459"/>
                    <a:gd name="connsiteX4" fmla="*/ 4665 w 6279"/>
                    <a:gd name="connsiteY4" fmla="*/ 4964 h 6459"/>
                    <a:gd name="connsiteX5" fmla="*/ 4426 w 6279"/>
                    <a:gd name="connsiteY5" fmla="*/ 5323 h 6459"/>
                    <a:gd name="connsiteX6" fmla="*/ 4127 w 6279"/>
                    <a:gd name="connsiteY6" fmla="*/ 5861 h 6459"/>
                    <a:gd name="connsiteX7" fmla="*/ 4007 w 6279"/>
                    <a:gd name="connsiteY7" fmla="*/ 5921 h 6459"/>
                    <a:gd name="connsiteX8" fmla="*/ 2751 w 6279"/>
                    <a:gd name="connsiteY8" fmla="*/ 6220 h 6459"/>
                    <a:gd name="connsiteX9" fmla="*/ 2512 w 6279"/>
                    <a:gd name="connsiteY9" fmla="*/ 6280 h 6459"/>
                    <a:gd name="connsiteX10" fmla="*/ 1674 w 6279"/>
                    <a:gd name="connsiteY10" fmla="*/ 6459 h 6459"/>
                    <a:gd name="connsiteX11" fmla="*/ 0 w 6279"/>
                    <a:gd name="connsiteY11" fmla="*/ 5383 h 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79" h="6459">
                      <a:moveTo>
                        <a:pt x="4426" y="0"/>
                      </a:moveTo>
                      <a:lnTo>
                        <a:pt x="5203" y="538"/>
                      </a:lnTo>
                      <a:lnTo>
                        <a:pt x="6280" y="2213"/>
                      </a:lnTo>
                      <a:lnTo>
                        <a:pt x="5861" y="2931"/>
                      </a:lnTo>
                      <a:lnTo>
                        <a:pt x="4665" y="4964"/>
                      </a:lnTo>
                      <a:lnTo>
                        <a:pt x="4426" y="5323"/>
                      </a:lnTo>
                      <a:lnTo>
                        <a:pt x="4127" y="5861"/>
                      </a:lnTo>
                      <a:lnTo>
                        <a:pt x="4007" y="5921"/>
                      </a:lnTo>
                      <a:lnTo>
                        <a:pt x="2751" y="6220"/>
                      </a:lnTo>
                      <a:lnTo>
                        <a:pt x="2512" y="6280"/>
                      </a:lnTo>
                      <a:lnTo>
                        <a:pt x="1674" y="6459"/>
                      </a:lnTo>
                      <a:lnTo>
                        <a:pt x="0" y="5383"/>
                      </a:lnTo>
                    </a:path>
                  </a:pathLst>
                </a:custGeom>
                <a:noFill/>
                <a:ln w="6350" cap="rnd">
                  <a:solidFill>
                    <a:schemeClr val="bg1">
                      <a:alpha val="40000"/>
                    </a:schemeClr>
                  </a:solidFill>
                  <a:prstDash val="solid"/>
                  <a:round/>
                </a:ln>
              </p:spPr>
              <p:txBody>
                <a:bodyPr rtlCol="0" anchor="ctr"/>
                <a:lstStyle/>
                <a:p>
                  <a:endParaRPr lang="en-GB"/>
                </a:p>
              </p:txBody>
            </p:sp>
            <p:sp>
              <p:nvSpPr>
                <p:cNvPr id="6455" name="Vrije vorm: vorm 6454">
                  <a:extLst>
                    <a:ext uri="{FF2B5EF4-FFF2-40B4-BE49-F238E27FC236}">
                      <a16:creationId xmlns:a16="http://schemas.microsoft.com/office/drawing/2014/main" id="{2EA4FE7D-6B46-4F21-813D-2F5DA95C0C4E}"/>
                    </a:ext>
                  </a:extLst>
                </p:cNvPr>
                <p:cNvSpPr/>
                <p:nvPr/>
              </p:nvSpPr>
              <p:spPr>
                <a:xfrm>
                  <a:off x="6968398" y="1934086"/>
                  <a:ext cx="125057" cy="27451"/>
                </a:xfrm>
                <a:custGeom>
                  <a:avLst/>
                  <a:gdLst>
                    <a:gd name="connsiteX0" fmla="*/ 125057 w 125057"/>
                    <a:gd name="connsiteY0" fmla="*/ 0 h 27451"/>
                    <a:gd name="connsiteX1" fmla="*/ 124100 w 125057"/>
                    <a:gd name="connsiteY1" fmla="*/ 0 h 27451"/>
                    <a:gd name="connsiteX2" fmla="*/ 122784 w 125057"/>
                    <a:gd name="connsiteY2" fmla="*/ 0 h 27451"/>
                    <a:gd name="connsiteX3" fmla="*/ 122784 w 125057"/>
                    <a:gd name="connsiteY3" fmla="*/ 0 h 27451"/>
                    <a:gd name="connsiteX4" fmla="*/ 120213 w 125057"/>
                    <a:gd name="connsiteY4" fmla="*/ 60 h 27451"/>
                    <a:gd name="connsiteX5" fmla="*/ 118838 w 125057"/>
                    <a:gd name="connsiteY5" fmla="*/ 359 h 27451"/>
                    <a:gd name="connsiteX6" fmla="*/ 118538 w 125057"/>
                    <a:gd name="connsiteY6" fmla="*/ 419 h 27451"/>
                    <a:gd name="connsiteX7" fmla="*/ 117641 w 125057"/>
                    <a:gd name="connsiteY7" fmla="*/ 598 h 27451"/>
                    <a:gd name="connsiteX8" fmla="*/ 116505 w 125057"/>
                    <a:gd name="connsiteY8" fmla="*/ 837 h 27451"/>
                    <a:gd name="connsiteX9" fmla="*/ 115728 w 125057"/>
                    <a:gd name="connsiteY9" fmla="*/ 1017 h 27451"/>
                    <a:gd name="connsiteX10" fmla="*/ 115010 w 125057"/>
                    <a:gd name="connsiteY10" fmla="*/ 1196 h 27451"/>
                    <a:gd name="connsiteX11" fmla="*/ 114531 w 125057"/>
                    <a:gd name="connsiteY11" fmla="*/ 1316 h 27451"/>
                    <a:gd name="connsiteX12" fmla="*/ 113753 w 125057"/>
                    <a:gd name="connsiteY12" fmla="*/ 1615 h 27451"/>
                    <a:gd name="connsiteX13" fmla="*/ 112318 w 125057"/>
                    <a:gd name="connsiteY13" fmla="*/ 2153 h 27451"/>
                    <a:gd name="connsiteX14" fmla="*/ 110823 w 125057"/>
                    <a:gd name="connsiteY14" fmla="*/ 2751 h 27451"/>
                    <a:gd name="connsiteX15" fmla="*/ 108909 w 125057"/>
                    <a:gd name="connsiteY15" fmla="*/ 3469 h 27451"/>
                    <a:gd name="connsiteX16" fmla="*/ 108730 w 125057"/>
                    <a:gd name="connsiteY16" fmla="*/ 3529 h 27451"/>
                    <a:gd name="connsiteX17" fmla="*/ 108132 w 125057"/>
                    <a:gd name="connsiteY17" fmla="*/ 3768 h 27451"/>
                    <a:gd name="connsiteX18" fmla="*/ 107354 w 125057"/>
                    <a:gd name="connsiteY18" fmla="*/ 4246 h 27451"/>
                    <a:gd name="connsiteX19" fmla="*/ 106995 w 125057"/>
                    <a:gd name="connsiteY19" fmla="*/ 4486 h 27451"/>
                    <a:gd name="connsiteX20" fmla="*/ 106995 w 125057"/>
                    <a:gd name="connsiteY20" fmla="*/ 4486 h 27451"/>
                    <a:gd name="connsiteX21" fmla="*/ 106697 w 125057"/>
                    <a:gd name="connsiteY21" fmla="*/ 4665 h 27451"/>
                    <a:gd name="connsiteX22" fmla="*/ 104424 w 125057"/>
                    <a:gd name="connsiteY22" fmla="*/ 6160 h 27451"/>
                    <a:gd name="connsiteX23" fmla="*/ 104304 w 125057"/>
                    <a:gd name="connsiteY23" fmla="*/ 6220 h 27451"/>
                    <a:gd name="connsiteX24" fmla="*/ 103706 w 125057"/>
                    <a:gd name="connsiteY24" fmla="*/ 6639 h 27451"/>
                    <a:gd name="connsiteX25" fmla="*/ 102211 w 125057"/>
                    <a:gd name="connsiteY25" fmla="*/ 7595 h 27451"/>
                    <a:gd name="connsiteX26" fmla="*/ 100596 w 125057"/>
                    <a:gd name="connsiteY26" fmla="*/ 8672 h 27451"/>
                    <a:gd name="connsiteX27" fmla="*/ 98443 w 125057"/>
                    <a:gd name="connsiteY27" fmla="*/ 10167 h 27451"/>
                    <a:gd name="connsiteX28" fmla="*/ 95692 w 125057"/>
                    <a:gd name="connsiteY28" fmla="*/ 12081 h 27451"/>
                    <a:gd name="connsiteX29" fmla="*/ 94018 w 125057"/>
                    <a:gd name="connsiteY29" fmla="*/ 13217 h 27451"/>
                    <a:gd name="connsiteX30" fmla="*/ 91565 w 125057"/>
                    <a:gd name="connsiteY30" fmla="*/ 14892 h 27451"/>
                    <a:gd name="connsiteX31" fmla="*/ 91147 w 125057"/>
                    <a:gd name="connsiteY31" fmla="*/ 15131 h 27451"/>
                    <a:gd name="connsiteX32" fmla="*/ 89173 w 125057"/>
                    <a:gd name="connsiteY32" fmla="*/ 16447 h 27451"/>
                    <a:gd name="connsiteX33" fmla="*/ 80262 w 125057"/>
                    <a:gd name="connsiteY33" fmla="*/ 22308 h 27451"/>
                    <a:gd name="connsiteX34" fmla="*/ 78886 w 125057"/>
                    <a:gd name="connsiteY34" fmla="*/ 22966 h 27451"/>
                    <a:gd name="connsiteX35" fmla="*/ 74161 w 125057"/>
                    <a:gd name="connsiteY35" fmla="*/ 25298 h 27451"/>
                    <a:gd name="connsiteX36" fmla="*/ 69735 w 125057"/>
                    <a:gd name="connsiteY36" fmla="*/ 27451 h 27451"/>
                    <a:gd name="connsiteX37" fmla="*/ 61781 w 125057"/>
                    <a:gd name="connsiteY37" fmla="*/ 25597 h 27451"/>
                    <a:gd name="connsiteX38" fmla="*/ 58671 w 125057"/>
                    <a:gd name="connsiteY38" fmla="*/ 24042 h 27451"/>
                    <a:gd name="connsiteX39" fmla="*/ 58253 w 125057"/>
                    <a:gd name="connsiteY39" fmla="*/ 23803 h 27451"/>
                    <a:gd name="connsiteX40" fmla="*/ 55741 w 125057"/>
                    <a:gd name="connsiteY40" fmla="*/ 22547 h 27451"/>
                    <a:gd name="connsiteX41" fmla="*/ 54963 w 125057"/>
                    <a:gd name="connsiteY41" fmla="*/ 22129 h 27451"/>
                    <a:gd name="connsiteX42" fmla="*/ 53648 w 125057"/>
                    <a:gd name="connsiteY42" fmla="*/ 21471 h 27451"/>
                    <a:gd name="connsiteX43" fmla="*/ 52750 w 125057"/>
                    <a:gd name="connsiteY43" fmla="*/ 21052 h 27451"/>
                    <a:gd name="connsiteX44" fmla="*/ 50657 w 125057"/>
                    <a:gd name="connsiteY44" fmla="*/ 19497 h 27451"/>
                    <a:gd name="connsiteX45" fmla="*/ 46770 w 125057"/>
                    <a:gd name="connsiteY45" fmla="*/ 16567 h 27451"/>
                    <a:gd name="connsiteX46" fmla="*/ 43062 w 125057"/>
                    <a:gd name="connsiteY46" fmla="*/ 17942 h 27451"/>
                    <a:gd name="connsiteX47" fmla="*/ 43002 w 125057"/>
                    <a:gd name="connsiteY47" fmla="*/ 18002 h 27451"/>
                    <a:gd name="connsiteX48" fmla="*/ 42583 w 125057"/>
                    <a:gd name="connsiteY48" fmla="*/ 18122 h 27451"/>
                    <a:gd name="connsiteX49" fmla="*/ 37978 w 125057"/>
                    <a:gd name="connsiteY49" fmla="*/ 19796 h 27451"/>
                    <a:gd name="connsiteX50" fmla="*/ 37201 w 125057"/>
                    <a:gd name="connsiteY50" fmla="*/ 19796 h 27451"/>
                    <a:gd name="connsiteX51" fmla="*/ 35406 w 125057"/>
                    <a:gd name="connsiteY51" fmla="*/ 19796 h 27451"/>
                    <a:gd name="connsiteX52" fmla="*/ 29485 w 125057"/>
                    <a:gd name="connsiteY52" fmla="*/ 19856 h 27451"/>
                    <a:gd name="connsiteX53" fmla="*/ 28648 w 125057"/>
                    <a:gd name="connsiteY53" fmla="*/ 19856 h 27451"/>
                    <a:gd name="connsiteX54" fmla="*/ 27811 w 125057"/>
                    <a:gd name="connsiteY54" fmla="*/ 19856 h 27451"/>
                    <a:gd name="connsiteX55" fmla="*/ 26854 w 125057"/>
                    <a:gd name="connsiteY55" fmla="*/ 19617 h 27451"/>
                    <a:gd name="connsiteX56" fmla="*/ 24102 w 125057"/>
                    <a:gd name="connsiteY56" fmla="*/ 18959 h 27451"/>
                    <a:gd name="connsiteX57" fmla="*/ 23983 w 125057"/>
                    <a:gd name="connsiteY57" fmla="*/ 18899 h 27451"/>
                    <a:gd name="connsiteX58" fmla="*/ 23205 w 125057"/>
                    <a:gd name="connsiteY58" fmla="*/ 18720 h 27451"/>
                    <a:gd name="connsiteX59" fmla="*/ 22129 w 125057"/>
                    <a:gd name="connsiteY59" fmla="*/ 18480 h 27451"/>
                    <a:gd name="connsiteX60" fmla="*/ 21531 w 125057"/>
                    <a:gd name="connsiteY60" fmla="*/ 18361 h 27451"/>
                    <a:gd name="connsiteX61" fmla="*/ 21172 w 125057"/>
                    <a:gd name="connsiteY61" fmla="*/ 18301 h 27451"/>
                    <a:gd name="connsiteX62" fmla="*/ 20335 w 125057"/>
                    <a:gd name="connsiteY62" fmla="*/ 18122 h 27451"/>
                    <a:gd name="connsiteX63" fmla="*/ 18839 w 125057"/>
                    <a:gd name="connsiteY63" fmla="*/ 17763 h 27451"/>
                    <a:gd name="connsiteX64" fmla="*/ 18661 w 125057"/>
                    <a:gd name="connsiteY64" fmla="*/ 17703 h 27451"/>
                    <a:gd name="connsiteX65" fmla="*/ 16686 w 125057"/>
                    <a:gd name="connsiteY65" fmla="*/ 17224 h 27451"/>
                    <a:gd name="connsiteX66" fmla="*/ 15491 w 125057"/>
                    <a:gd name="connsiteY66" fmla="*/ 16925 h 27451"/>
                    <a:gd name="connsiteX67" fmla="*/ 13218 w 125057"/>
                    <a:gd name="connsiteY67" fmla="*/ 16387 h 27451"/>
                    <a:gd name="connsiteX68" fmla="*/ 11723 w 125057"/>
                    <a:gd name="connsiteY68" fmla="*/ 15729 h 27451"/>
                    <a:gd name="connsiteX69" fmla="*/ 11723 w 125057"/>
                    <a:gd name="connsiteY69" fmla="*/ 15729 h 27451"/>
                    <a:gd name="connsiteX70" fmla="*/ 11543 w 125057"/>
                    <a:gd name="connsiteY70" fmla="*/ 15669 h 27451"/>
                    <a:gd name="connsiteX71" fmla="*/ 10885 w 125057"/>
                    <a:gd name="connsiteY71" fmla="*/ 15370 h 27451"/>
                    <a:gd name="connsiteX72" fmla="*/ 9749 w 125057"/>
                    <a:gd name="connsiteY72" fmla="*/ 14892 h 27451"/>
                    <a:gd name="connsiteX73" fmla="*/ 9091 w 125057"/>
                    <a:gd name="connsiteY73" fmla="*/ 14593 h 27451"/>
                    <a:gd name="connsiteX74" fmla="*/ 8732 w 125057"/>
                    <a:gd name="connsiteY74" fmla="*/ 14413 h 27451"/>
                    <a:gd name="connsiteX75" fmla="*/ 5503 w 125057"/>
                    <a:gd name="connsiteY75" fmla="*/ 13038 h 27451"/>
                    <a:gd name="connsiteX76" fmla="*/ 1017 w 125057"/>
                    <a:gd name="connsiteY76" fmla="*/ 11124 h 27451"/>
                    <a:gd name="connsiteX77" fmla="*/ 0 w 125057"/>
                    <a:gd name="connsiteY77" fmla="*/ 10705 h 2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25057" h="27451">
                      <a:moveTo>
                        <a:pt x="125057" y="0"/>
                      </a:moveTo>
                      <a:lnTo>
                        <a:pt x="124100" y="0"/>
                      </a:lnTo>
                      <a:lnTo>
                        <a:pt x="122784" y="0"/>
                      </a:lnTo>
                      <a:lnTo>
                        <a:pt x="122784" y="0"/>
                      </a:lnTo>
                      <a:lnTo>
                        <a:pt x="120213" y="60"/>
                      </a:lnTo>
                      <a:lnTo>
                        <a:pt x="118838" y="359"/>
                      </a:lnTo>
                      <a:lnTo>
                        <a:pt x="118538" y="419"/>
                      </a:lnTo>
                      <a:lnTo>
                        <a:pt x="117641" y="598"/>
                      </a:lnTo>
                      <a:lnTo>
                        <a:pt x="116505" y="837"/>
                      </a:lnTo>
                      <a:lnTo>
                        <a:pt x="115728" y="1017"/>
                      </a:lnTo>
                      <a:lnTo>
                        <a:pt x="115010" y="1196"/>
                      </a:lnTo>
                      <a:lnTo>
                        <a:pt x="114531" y="1316"/>
                      </a:lnTo>
                      <a:lnTo>
                        <a:pt x="113753" y="1615"/>
                      </a:lnTo>
                      <a:lnTo>
                        <a:pt x="112318" y="2153"/>
                      </a:lnTo>
                      <a:lnTo>
                        <a:pt x="110823" y="2751"/>
                      </a:lnTo>
                      <a:lnTo>
                        <a:pt x="108909" y="3469"/>
                      </a:lnTo>
                      <a:lnTo>
                        <a:pt x="108730" y="3529"/>
                      </a:lnTo>
                      <a:lnTo>
                        <a:pt x="108132" y="3768"/>
                      </a:lnTo>
                      <a:lnTo>
                        <a:pt x="107354" y="4246"/>
                      </a:lnTo>
                      <a:lnTo>
                        <a:pt x="106995" y="4486"/>
                      </a:lnTo>
                      <a:lnTo>
                        <a:pt x="106995" y="4486"/>
                      </a:lnTo>
                      <a:lnTo>
                        <a:pt x="106697" y="4665"/>
                      </a:lnTo>
                      <a:lnTo>
                        <a:pt x="104424" y="6160"/>
                      </a:lnTo>
                      <a:lnTo>
                        <a:pt x="104304" y="6220"/>
                      </a:lnTo>
                      <a:lnTo>
                        <a:pt x="103706" y="6639"/>
                      </a:lnTo>
                      <a:lnTo>
                        <a:pt x="102211" y="7595"/>
                      </a:lnTo>
                      <a:lnTo>
                        <a:pt x="100596" y="8672"/>
                      </a:lnTo>
                      <a:lnTo>
                        <a:pt x="98443" y="10167"/>
                      </a:lnTo>
                      <a:lnTo>
                        <a:pt x="95692" y="12081"/>
                      </a:lnTo>
                      <a:lnTo>
                        <a:pt x="94018" y="13217"/>
                      </a:lnTo>
                      <a:lnTo>
                        <a:pt x="91565" y="14892"/>
                      </a:lnTo>
                      <a:lnTo>
                        <a:pt x="91147" y="15131"/>
                      </a:lnTo>
                      <a:lnTo>
                        <a:pt x="89173" y="16447"/>
                      </a:lnTo>
                      <a:lnTo>
                        <a:pt x="80262" y="22308"/>
                      </a:lnTo>
                      <a:lnTo>
                        <a:pt x="78886" y="22966"/>
                      </a:lnTo>
                      <a:lnTo>
                        <a:pt x="74161" y="25298"/>
                      </a:lnTo>
                      <a:lnTo>
                        <a:pt x="69735" y="27451"/>
                      </a:lnTo>
                      <a:lnTo>
                        <a:pt x="61781" y="25597"/>
                      </a:lnTo>
                      <a:lnTo>
                        <a:pt x="58671" y="24042"/>
                      </a:lnTo>
                      <a:lnTo>
                        <a:pt x="58253" y="23803"/>
                      </a:lnTo>
                      <a:lnTo>
                        <a:pt x="55741" y="22547"/>
                      </a:lnTo>
                      <a:lnTo>
                        <a:pt x="54963" y="22129"/>
                      </a:lnTo>
                      <a:lnTo>
                        <a:pt x="53648" y="21471"/>
                      </a:lnTo>
                      <a:lnTo>
                        <a:pt x="52750" y="21052"/>
                      </a:lnTo>
                      <a:lnTo>
                        <a:pt x="50657" y="19497"/>
                      </a:lnTo>
                      <a:lnTo>
                        <a:pt x="46770" y="16567"/>
                      </a:lnTo>
                      <a:lnTo>
                        <a:pt x="43062" y="17942"/>
                      </a:lnTo>
                      <a:lnTo>
                        <a:pt x="43002" y="18002"/>
                      </a:lnTo>
                      <a:lnTo>
                        <a:pt x="42583" y="18122"/>
                      </a:lnTo>
                      <a:lnTo>
                        <a:pt x="37978" y="19796"/>
                      </a:lnTo>
                      <a:lnTo>
                        <a:pt x="37201" y="19796"/>
                      </a:lnTo>
                      <a:lnTo>
                        <a:pt x="35406" y="19796"/>
                      </a:lnTo>
                      <a:lnTo>
                        <a:pt x="29485" y="19856"/>
                      </a:lnTo>
                      <a:lnTo>
                        <a:pt x="28648" y="19856"/>
                      </a:lnTo>
                      <a:lnTo>
                        <a:pt x="27811" y="19856"/>
                      </a:lnTo>
                      <a:lnTo>
                        <a:pt x="26854" y="19617"/>
                      </a:lnTo>
                      <a:lnTo>
                        <a:pt x="24102" y="18959"/>
                      </a:lnTo>
                      <a:lnTo>
                        <a:pt x="23983" y="18899"/>
                      </a:lnTo>
                      <a:lnTo>
                        <a:pt x="23205" y="18720"/>
                      </a:lnTo>
                      <a:lnTo>
                        <a:pt x="22129" y="18480"/>
                      </a:lnTo>
                      <a:lnTo>
                        <a:pt x="21531" y="18361"/>
                      </a:lnTo>
                      <a:lnTo>
                        <a:pt x="21172" y="18301"/>
                      </a:lnTo>
                      <a:lnTo>
                        <a:pt x="20335" y="18122"/>
                      </a:lnTo>
                      <a:lnTo>
                        <a:pt x="18839" y="17763"/>
                      </a:lnTo>
                      <a:lnTo>
                        <a:pt x="18661" y="17703"/>
                      </a:lnTo>
                      <a:lnTo>
                        <a:pt x="16686" y="17224"/>
                      </a:lnTo>
                      <a:lnTo>
                        <a:pt x="15491" y="16925"/>
                      </a:lnTo>
                      <a:lnTo>
                        <a:pt x="13218" y="16387"/>
                      </a:lnTo>
                      <a:lnTo>
                        <a:pt x="11723" y="15729"/>
                      </a:lnTo>
                      <a:lnTo>
                        <a:pt x="11723" y="15729"/>
                      </a:lnTo>
                      <a:lnTo>
                        <a:pt x="11543" y="15669"/>
                      </a:lnTo>
                      <a:lnTo>
                        <a:pt x="10885" y="15370"/>
                      </a:lnTo>
                      <a:lnTo>
                        <a:pt x="9749" y="14892"/>
                      </a:lnTo>
                      <a:lnTo>
                        <a:pt x="9091" y="14593"/>
                      </a:lnTo>
                      <a:lnTo>
                        <a:pt x="8732" y="14413"/>
                      </a:lnTo>
                      <a:lnTo>
                        <a:pt x="5503" y="13038"/>
                      </a:lnTo>
                      <a:lnTo>
                        <a:pt x="1017" y="11124"/>
                      </a:lnTo>
                      <a:lnTo>
                        <a:pt x="0" y="10705"/>
                      </a:lnTo>
                    </a:path>
                  </a:pathLst>
                </a:custGeom>
                <a:noFill/>
                <a:ln w="6350" cap="rnd">
                  <a:solidFill>
                    <a:schemeClr val="bg1">
                      <a:alpha val="40000"/>
                    </a:schemeClr>
                  </a:solidFill>
                  <a:prstDash val="solid"/>
                  <a:round/>
                </a:ln>
              </p:spPr>
              <p:txBody>
                <a:bodyPr rtlCol="0" anchor="ctr"/>
                <a:lstStyle/>
                <a:p>
                  <a:endParaRPr lang="en-GB"/>
                </a:p>
              </p:txBody>
            </p:sp>
            <p:sp>
              <p:nvSpPr>
                <p:cNvPr id="6456" name="Vrije vorm: vorm 6455">
                  <a:extLst>
                    <a:ext uri="{FF2B5EF4-FFF2-40B4-BE49-F238E27FC236}">
                      <a16:creationId xmlns:a16="http://schemas.microsoft.com/office/drawing/2014/main" id="{627B03DC-7B52-46C6-AC3F-4665C9C7BBA0}"/>
                    </a:ext>
                  </a:extLst>
                </p:cNvPr>
                <p:cNvSpPr/>
                <p:nvPr/>
              </p:nvSpPr>
              <p:spPr>
                <a:xfrm>
                  <a:off x="6991723" y="1835823"/>
                  <a:ext cx="21650" cy="18899"/>
                </a:xfrm>
                <a:custGeom>
                  <a:avLst/>
                  <a:gdLst>
                    <a:gd name="connsiteX0" fmla="*/ 6938 w 21650"/>
                    <a:gd name="connsiteY0" fmla="*/ 13995 h 18899"/>
                    <a:gd name="connsiteX1" fmla="*/ 6938 w 21650"/>
                    <a:gd name="connsiteY1" fmla="*/ 13995 h 18899"/>
                    <a:gd name="connsiteX2" fmla="*/ 6938 w 21650"/>
                    <a:gd name="connsiteY2" fmla="*/ 13995 h 18899"/>
                    <a:gd name="connsiteX3" fmla="*/ 6818 w 21650"/>
                    <a:gd name="connsiteY3" fmla="*/ 13935 h 18899"/>
                    <a:gd name="connsiteX4" fmla="*/ 6220 w 21650"/>
                    <a:gd name="connsiteY4" fmla="*/ 13576 h 18899"/>
                    <a:gd name="connsiteX5" fmla="*/ 5622 w 21650"/>
                    <a:gd name="connsiteY5" fmla="*/ 13217 h 18899"/>
                    <a:gd name="connsiteX6" fmla="*/ 3708 w 21650"/>
                    <a:gd name="connsiteY6" fmla="*/ 12081 h 18899"/>
                    <a:gd name="connsiteX7" fmla="*/ 1615 w 21650"/>
                    <a:gd name="connsiteY7" fmla="*/ 10885 h 18899"/>
                    <a:gd name="connsiteX8" fmla="*/ 299 w 21650"/>
                    <a:gd name="connsiteY8" fmla="*/ 10107 h 18899"/>
                    <a:gd name="connsiteX9" fmla="*/ 299 w 21650"/>
                    <a:gd name="connsiteY9" fmla="*/ 10107 h 18899"/>
                    <a:gd name="connsiteX10" fmla="*/ 299 w 21650"/>
                    <a:gd name="connsiteY10" fmla="*/ 10048 h 18899"/>
                    <a:gd name="connsiteX11" fmla="*/ 0 w 21650"/>
                    <a:gd name="connsiteY11" fmla="*/ 8612 h 18899"/>
                    <a:gd name="connsiteX12" fmla="*/ 120 w 21650"/>
                    <a:gd name="connsiteY12" fmla="*/ 8373 h 18899"/>
                    <a:gd name="connsiteX13" fmla="*/ 1017 w 21650"/>
                    <a:gd name="connsiteY13" fmla="*/ 6818 h 18899"/>
                    <a:gd name="connsiteX14" fmla="*/ 3828 w 21650"/>
                    <a:gd name="connsiteY14" fmla="*/ 2093 h 18899"/>
                    <a:gd name="connsiteX15" fmla="*/ 4785 w 21650"/>
                    <a:gd name="connsiteY15" fmla="*/ 478 h 18899"/>
                    <a:gd name="connsiteX16" fmla="*/ 4905 w 21650"/>
                    <a:gd name="connsiteY16" fmla="*/ 419 h 18899"/>
                    <a:gd name="connsiteX17" fmla="*/ 6220 w 21650"/>
                    <a:gd name="connsiteY17" fmla="*/ 0 h 18899"/>
                    <a:gd name="connsiteX18" fmla="*/ 10646 w 21650"/>
                    <a:gd name="connsiteY18" fmla="*/ 2572 h 18899"/>
                    <a:gd name="connsiteX19" fmla="*/ 11603 w 21650"/>
                    <a:gd name="connsiteY19" fmla="*/ 3110 h 18899"/>
                    <a:gd name="connsiteX20" fmla="*/ 12201 w 21650"/>
                    <a:gd name="connsiteY20" fmla="*/ 3469 h 18899"/>
                    <a:gd name="connsiteX21" fmla="*/ 12679 w 21650"/>
                    <a:gd name="connsiteY21" fmla="*/ 3768 h 18899"/>
                    <a:gd name="connsiteX22" fmla="*/ 12799 w 21650"/>
                    <a:gd name="connsiteY22" fmla="*/ 3828 h 18899"/>
                    <a:gd name="connsiteX23" fmla="*/ 12799 w 21650"/>
                    <a:gd name="connsiteY23" fmla="*/ 3828 h 18899"/>
                    <a:gd name="connsiteX24" fmla="*/ 13576 w 21650"/>
                    <a:gd name="connsiteY24" fmla="*/ 4246 h 18899"/>
                    <a:gd name="connsiteX25" fmla="*/ 13876 w 21650"/>
                    <a:gd name="connsiteY25" fmla="*/ 4426 h 18899"/>
                    <a:gd name="connsiteX26" fmla="*/ 14234 w 21650"/>
                    <a:gd name="connsiteY26" fmla="*/ 4665 h 18899"/>
                    <a:gd name="connsiteX27" fmla="*/ 16089 w 21650"/>
                    <a:gd name="connsiteY27" fmla="*/ 5742 h 18899"/>
                    <a:gd name="connsiteX28" fmla="*/ 16627 w 21650"/>
                    <a:gd name="connsiteY28" fmla="*/ 6041 h 18899"/>
                    <a:gd name="connsiteX29" fmla="*/ 18540 w 21650"/>
                    <a:gd name="connsiteY29" fmla="*/ 7177 h 18899"/>
                    <a:gd name="connsiteX30" fmla="*/ 18899 w 21650"/>
                    <a:gd name="connsiteY30" fmla="*/ 7416 h 18899"/>
                    <a:gd name="connsiteX31" fmla="*/ 19139 w 21650"/>
                    <a:gd name="connsiteY31" fmla="*/ 7536 h 18899"/>
                    <a:gd name="connsiteX32" fmla="*/ 19199 w 21650"/>
                    <a:gd name="connsiteY32" fmla="*/ 7536 h 18899"/>
                    <a:gd name="connsiteX33" fmla="*/ 19677 w 21650"/>
                    <a:gd name="connsiteY33" fmla="*/ 7835 h 18899"/>
                    <a:gd name="connsiteX34" fmla="*/ 20035 w 21650"/>
                    <a:gd name="connsiteY34" fmla="*/ 8014 h 18899"/>
                    <a:gd name="connsiteX35" fmla="*/ 20873 w 21650"/>
                    <a:gd name="connsiteY35" fmla="*/ 8552 h 18899"/>
                    <a:gd name="connsiteX36" fmla="*/ 21292 w 21650"/>
                    <a:gd name="connsiteY36" fmla="*/ 8851 h 18899"/>
                    <a:gd name="connsiteX37" fmla="*/ 21650 w 21650"/>
                    <a:gd name="connsiteY37" fmla="*/ 10347 h 18899"/>
                    <a:gd name="connsiteX38" fmla="*/ 20813 w 21650"/>
                    <a:gd name="connsiteY38" fmla="*/ 11782 h 18899"/>
                    <a:gd name="connsiteX39" fmla="*/ 20394 w 21650"/>
                    <a:gd name="connsiteY39" fmla="*/ 12500 h 18899"/>
                    <a:gd name="connsiteX40" fmla="*/ 16866 w 21650"/>
                    <a:gd name="connsiteY40" fmla="*/ 18480 h 18899"/>
                    <a:gd name="connsiteX41" fmla="*/ 15431 w 21650"/>
                    <a:gd name="connsiteY41" fmla="*/ 18899 h 18899"/>
                    <a:gd name="connsiteX42" fmla="*/ 13995 w 21650"/>
                    <a:gd name="connsiteY42" fmla="*/ 18062 h 18899"/>
                    <a:gd name="connsiteX43" fmla="*/ 13576 w 21650"/>
                    <a:gd name="connsiteY43" fmla="*/ 17823 h 18899"/>
                    <a:gd name="connsiteX44" fmla="*/ 13576 w 21650"/>
                    <a:gd name="connsiteY44" fmla="*/ 17823 h 18899"/>
                    <a:gd name="connsiteX45" fmla="*/ 13278 w 21650"/>
                    <a:gd name="connsiteY45" fmla="*/ 17643 h 18899"/>
                    <a:gd name="connsiteX46" fmla="*/ 12978 w 21650"/>
                    <a:gd name="connsiteY46" fmla="*/ 17464 h 18899"/>
                    <a:gd name="connsiteX47" fmla="*/ 11244 w 21650"/>
                    <a:gd name="connsiteY47" fmla="*/ 16447 h 18899"/>
                    <a:gd name="connsiteX48" fmla="*/ 11005 w 21650"/>
                    <a:gd name="connsiteY48" fmla="*/ 16327 h 18899"/>
                    <a:gd name="connsiteX49" fmla="*/ 10646 w 21650"/>
                    <a:gd name="connsiteY49" fmla="*/ 16148 h 18899"/>
                    <a:gd name="connsiteX50" fmla="*/ 10048 w 21650"/>
                    <a:gd name="connsiteY50" fmla="*/ 15789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1650" h="18899">
                      <a:moveTo>
                        <a:pt x="6938" y="13995"/>
                      </a:moveTo>
                      <a:lnTo>
                        <a:pt x="6938" y="13995"/>
                      </a:lnTo>
                      <a:lnTo>
                        <a:pt x="6938" y="13995"/>
                      </a:lnTo>
                      <a:lnTo>
                        <a:pt x="6818" y="13935"/>
                      </a:lnTo>
                      <a:lnTo>
                        <a:pt x="6220" y="13576"/>
                      </a:lnTo>
                      <a:lnTo>
                        <a:pt x="5622" y="13217"/>
                      </a:lnTo>
                      <a:lnTo>
                        <a:pt x="3708" y="12081"/>
                      </a:lnTo>
                      <a:lnTo>
                        <a:pt x="1615" y="10885"/>
                      </a:lnTo>
                      <a:lnTo>
                        <a:pt x="299" y="10107"/>
                      </a:lnTo>
                      <a:lnTo>
                        <a:pt x="299" y="10107"/>
                      </a:lnTo>
                      <a:lnTo>
                        <a:pt x="299" y="10048"/>
                      </a:lnTo>
                      <a:lnTo>
                        <a:pt x="0" y="8612"/>
                      </a:lnTo>
                      <a:lnTo>
                        <a:pt x="120" y="8373"/>
                      </a:lnTo>
                      <a:lnTo>
                        <a:pt x="1017" y="6818"/>
                      </a:lnTo>
                      <a:lnTo>
                        <a:pt x="3828" y="2093"/>
                      </a:lnTo>
                      <a:lnTo>
                        <a:pt x="4785" y="478"/>
                      </a:lnTo>
                      <a:lnTo>
                        <a:pt x="4905" y="419"/>
                      </a:lnTo>
                      <a:lnTo>
                        <a:pt x="6220" y="0"/>
                      </a:lnTo>
                      <a:lnTo>
                        <a:pt x="10646" y="2572"/>
                      </a:lnTo>
                      <a:lnTo>
                        <a:pt x="11603" y="3110"/>
                      </a:lnTo>
                      <a:lnTo>
                        <a:pt x="12201" y="3469"/>
                      </a:lnTo>
                      <a:lnTo>
                        <a:pt x="12679" y="3768"/>
                      </a:lnTo>
                      <a:lnTo>
                        <a:pt x="12799" y="3828"/>
                      </a:lnTo>
                      <a:lnTo>
                        <a:pt x="12799" y="3828"/>
                      </a:lnTo>
                      <a:lnTo>
                        <a:pt x="13576" y="4246"/>
                      </a:lnTo>
                      <a:lnTo>
                        <a:pt x="13876" y="4426"/>
                      </a:lnTo>
                      <a:lnTo>
                        <a:pt x="14234" y="4665"/>
                      </a:lnTo>
                      <a:lnTo>
                        <a:pt x="16089" y="5742"/>
                      </a:lnTo>
                      <a:lnTo>
                        <a:pt x="16627" y="6041"/>
                      </a:lnTo>
                      <a:lnTo>
                        <a:pt x="18540" y="7177"/>
                      </a:lnTo>
                      <a:lnTo>
                        <a:pt x="18899" y="7416"/>
                      </a:lnTo>
                      <a:lnTo>
                        <a:pt x="19139" y="7536"/>
                      </a:lnTo>
                      <a:lnTo>
                        <a:pt x="19199" y="7536"/>
                      </a:lnTo>
                      <a:lnTo>
                        <a:pt x="19677" y="7835"/>
                      </a:lnTo>
                      <a:lnTo>
                        <a:pt x="20035" y="8014"/>
                      </a:lnTo>
                      <a:lnTo>
                        <a:pt x="20873" y="8552"/>
                      </a:lnTo>
                      <a:lnTo>
                        <a:pt x="21292" y="8851"/>
                      </a:lnTo>
                      <a:lnTo>
                        <a:pt x="21650" y="10347"/>
                      </a:lnTo>
                      <a:lnTo>
                        <a:pt x="20813" y="11782"/>
                      </a:lnTo>
                      <a:lnTo>
                        <a:pt x="20394" y="12500"/>
                      </a:lnTo>
                      <a:lnTo>
                        <a:pt x="16866" y="18480"/>
                      </a:lnTo>
                      <a:lnTo>
                        <a:pt x="15431" y="18899"/>
                      </a:lnTo>
                      <a:lnTo>
                        <a:pt x="13995" y="18062"/>
                      </a:lnTo>
                      <a:lnTo>
                        <a:pt x="13576" y="17823"/>
                      </a:lnTo>
                      <a:lnTo>
                        <a:pt x="13576" y="17823"/>
                      </a:lnTo>
                      <a:lnTo>
                        <a:pt x="13278" y="17643"/>
                      </a:lnTo>
                      <a:lnTo>
                        <a:pt x="12978" y="17464"/>
                      </a:lnTo>
                      <a:lnTo>
                        <a:pt x="11244" y="16447"/>
                      </a:lnTo>
                      <a:lnTo>
                        <a:pt x="11005" y="16327"/>
                      </a:lnTo>
                      <a:lnTo>
                        <a:pt x="10646" y="16148"/>
                      </a:lnTo>
                      <a:lnTo>
                        <a:pt x="10048" y="15789"/>
                      </a:lnTo>
                    </a:path>
                  </a:pathLst>
                </a:custGeom>
                <a:noFill/>
                <a:ln w="6350" cap="rnd">
                  <a:solidFill>
                    <a:schemeClr val="bg1">
                      <a:alpha val="40000"/>
                    </a:schemeClr>
                  </a:solidFill>
                  <a:prstDash val="solid"/>
                  <a:round/>
                </a:ln>
              </p:spPr>
              <p:txBody>
                <a:bodyPr rtlCol="0" anchor="ctr"/>
                <a:lstStyle/>
                <a:p>
                  <a:endParaRPr lang="en-GB"/>
                </a:p>
              </p:txBody>
            </p:sp>
            <p:sp>
              <p:nvSpPr>
                <p:cNvPr id="6457" name="Vrije vorm: vorm 6456">
                  <a:extLst>
                    <a:ext uri="{FF2B5EF4-FFF2-40B4-BE49-F238E27FC236}">
                      <a16:creationId xmlns:a16="http://schemas.microsoft.com/office/drawing/2014/main" id="{3CDA8EE7-4970-42A5-8D4B-46137B4DA5A0}"/>
                    </a:ext>
                  </a:extLst>
                </p:cNvPr>
                <p:cNvSpPr/>
                <p:nvPr/>
              </p:nvSpPr>
              <p:spPr>
                <a:xfrm>
                  <a:off x="6708655" y="1909206"/>
                  <a:ext cx="4664" cy="717"/>
                </a:xfrm>
                <a:custGeom>
                  <a:avLst/>
                  <a:gdLst>
                    <a:gd name="connsiteX0" fmla="*/ 0 w 4664"/>
                    <a:gd name="connsiteY0" fmla="*/ 419 h 717"/>
                    <a:gd name="connsiteX1" fmla="*/ 718 w 4664"/>
                    <a:gd name="connsiteY1" fmla="*/ 299 h 717"/>
                    <a:gd name="connsiteX2" fmla="*/ 1136 w 4664"/>
                    <a:gd name="connsiteY2" fmla="*/ 239 h 717"/>
                    <a:gd name="connsiteX3" fmla="*/ 2632 w 4664"/>
                    <a:gd name="connsiteY3" fmla="*/ 0 h 717"/>
                    <a:gd name="connsiteX4" fmla="*/ 4665 w 4664"/>
                    <a:gd name="connsiteY4" fmla="*/ 718 h 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4" h="717">
                      <a:moveTo>
                        <a:pt x="0" y="419"/>
                      </a:moveTo>
                      <a:lnTo>
                        <a:pt x="718" y="299"/>
                      </a:lnTo>
                      <a:lnTo>
                        <a:pt x="1136" y="239"/>
                      </a:lnTo>
                      <a:lnTo>
                        <a:pt x="2632" y="0"/>
                      </a:lnTo>
                      <a:lnTo>
                        <a:pt x="4665" y="718"/>
                      </a:lnTo>
                    </a:path>
                  </a:pathLst>
                </a:custGeom>
                <a:noFill/>
                <a:ln w="6350" cap="rnd">
                  <a:solidFill>
                    <a:schemeClr val="bg1">
                      <a:alpha val="40000"/>
                    </a:schemeClr>
                  </a:solidFill>
                  <a:prstDash val="solid"/>
                  <a:round/>
                </a:ln>
              </p:spPr>
              <p:txBody>
                <a:bodyPr rtlCol="0" anchor="ctr"/>
                <a:lstStyle/>
                <a:p>
                  <a:endParaRPr lang="en-GB"/>
                </a:p>
              </p:txBody>
            </p:sp>
            <p:sp>
              <p:nvSpPr>
                <p:cNvPr id="6458" name="Vrije vorm: vorm 6457">
                  <a:extLst>
                    <a:ext uri="{FF2B5EF4-FFF2-40B4-BE49-F238E27FC236}">
                      <a16:creationId xmlns:a16="http://schemas.microsoft.com/office/drawing/2014/main" id="{6C5C1FE9-BC07-49D8-A404-B3B940092498}"/>
                    </a:ext>
                  </a:extLst>
                </p:cNvPr>
                <p:cNvSpPr/>
                <p:nvPr/>
              </p:nvSpPr>
              <p:spPr>
                <a:xfrm>
                  <a:off x="6706741" y="1915007"/>
                  <a:ext cx="4485" cy="3708"/>
                </a:xfrm>
                <a:custGeom>
                  <a:avLst/>
                  <a:gdLst>
                    <a:gd name="connsiteX0" fmla="*/ 4486 w 4485"/>
                    <a:gd name="connsiteY0" fmla="*/ 3708 h 3708"/>
                    <a:gd name="connsiteX1" fmla="*/ 3289 w 4485"/>
                    <a:gd name="connsiteY1" fmla="*/ 3289 h 3708"/>
                    <a:gd name="connsiteX2" fmla="*/ 359 w 4485"/>
                    <a:gd name="connsiteY2" fmla="*/ 1316 h 3708"/>
                    <a:gd name="connsiteX3" fmla="*/ 0 w 4485"/>
                    <a:gd name="connsiteY3" fmla="*/ 0 h 3708"/>
                  </a:gdLst>
                  <a:ahLst/>
                  <a:cxnLst>
                    <a:cxn ang="0">
                      <a:pos x="connsiteX0" y="connsiteY0"/>
                    </a:cxn>
                    <a:cxn ang="0">
                      <a:pos x="connsiteX1" y="connsiteY1"/>
                    </a:cxn>
                    <a:cxn ang="0">
                      <a:pos x="connsiteX2" y="connsiteY2"/>
                    </a:cxn>
                    <a:cxn ang="0">
                      <a:pos x="connsiteX3" y="connsiteY3"/>
                    </a:cxn>
                  </a:cxnLst>
                  <a:rect l="l" t="t" r="r" b="b"/>
                  <a:pathLst>
                    <a:path w="4485" h="3708">
                      <a:moveTo>
                        <a:pt x="4486" y="3708"/>
                      </a:moveTo>
                      <a:lnTo>
                        <a:pt x="3289" y="3289"/>
                      </a:lnTo>
                      <a:lnTo>
                        <a:pt x="359" y="131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59" name="Vrije vorm: vorm 6458">
                  <a:extLst>
                    <a:ext uri="{FF2B5EF4-FFF2-40B4-BE49-F238E27FC236}">
                      <a16:creationId xmlns:a16="http://schemas.microsoft.com/office/drawing/2014/main" id="{BC445267-46E4-476D-B3A3-E45A549AF02F}"/>
                    </a:ext>
                  </a:extLst>
                </p:cNvPr>
                <p:cNvSpPr/>
                <p:nvPr/>
              </p:nvSpPr>
              <p:spPr>
                <a:xfrm>
                  <a:off x="6794777" y="1956155"/>
                  <a:ext cx="5143" cy="2511"/>
                </a:xfrm>
                <a:custGeom>
                  <a:avLst/>
                  <a:gdLst>
                    <a:gd name="connsiteX0" fmla="*/ 5144 w 5143"/>
                    <a:gd name="connsiteY0" fmla="*/ 2153 h 2511"/>
                    <a:gd name="connsiteX1" fmla="*/ 4725 w 5143"/>
                    <a:gd name="connsiteY1" fmla="*/ 2512 h 2511"/>
                    <a:gd name="connsiteX2" fmla="*/ 4187 w 5143"/>
                    <a:gd name="connsiteY2" fmla="*/ 2333 h 2511"/>
                    <a:gd name="connsiteX3" fmla="*/ 3409 w 5143"/>
                    <a:gd name="connsiteY3" fmla="*/ 2093 h 2511"/>
                    <a:gd name="connsiteX4" fmla="*/ 3230 w 5143"/>
                    <a:gd name="connsiteY4" fmla="*/ 2034 h 2511"/>
                    <a:gd name="connsiteX5" fmla="*/ 3110 w 5143"/>
                    <a:gd name="connsiteY5" fmla="*/ 1974 h 2511"/>
                    <a:gd name="connsiteX6" fmla="*/ 2811 w 5143"/>
                    <a:gd name="connsiteY6" fmla="*/ 1854 h 2511"/>
                    <a:gd name="connsiteX7" fmla="*/ 1735 w 5143"/>
                    <a:gd name="connsiteY7" fmla="*/ 1136 h 2511"/>
                    <a:gd name="connsiteX8" fmla="*/ 359 w 5143"/>
                    <a:gd name="connsiteY8" fmla="*/ 239 h 2511"/>
                    <a:gd name="connsiteX9" fmla="*/ 0 w 5143"/>
                    <a:gd name="connsiteY9" fmla="*/ 0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3" h="2511">
                      <a:moveTo>
                        <a:pt x="5144" y="2153"/>
                      </a:moveTo>
                      <a:lnTo>
                        <a:pt x="4725" y="2512"/>
                      </a:lnTo>
                      <a:lnTo>
                        <a:pt x="4187" y="2333"/>
                      </a:lnTo>
                      <a:lnTo>
                        <a:pt x="3409" y="2093"/>
                      </a:lnTo>
                      <a:lnTo>
                        <a:pt x="3230" y="2034"/>
                      </a:lnTo>
                      <a:lnTo>
                        <a:pt x="3110" y="1974"/>
                      </a:lnTo>
                      <a:lnTo>
                        <a:pt x="2811" y="1854"/>
                      </a:lnTo>
                      <a:lnTo>
                        <a:pt x="1735" y="1136"/>
                      </a:lnTo>
                      <a:lnTo>
                        <a:pt x="359" y="23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60" name="Vrije vorm: vorm 6459">
                  <a:extLst>
                    <a:ext uri="{FF2B5EF4-FFF2-40B4-BE49-F238E27FC236}">
                      <a16:creationId xmlns:a16="http://schemas.microsoft.com/office/drawing/2014/main" id="{D00FDD96-D7CC-4F99-9F0E-173FAF13F3C8}"/>
                    </a:ext>
                  </a:extLst>
                </p:cNvPr>
                <p:cNvSpPr/>
                <p:nvPr/>
              </p:nvSpPr>
              <p:spPr>
                <a:xfrm>
                  <a:off x="6810806" y="1930557"/>
                  <a:ext cx="5860" cy="6877"/>
                </a:xfrm>
                <a:custGeom>
                  <a:avLst/>
                  <a:gdLst>
                    <a:gd name="connsiteX0" fmla="*/ 3528 w 5860"/>
                    <a:gd name="connsiteY0" fmla="*/ 0 h 6877"/>
                    <a:gd name="connsiteX1" fmla="*/ 4067 w 5860"/>
                    <a:gd name="connsiteY1" fmla="*/ 359 h 6877"/>
                    <a:gd name="connsiteX2" fmla="*/ 4844 w 5860"/>
                    <a:gd name="connsiteY2" fmla="*/ 837 h 6877"/>
                    <a:gd name="connsiteX3" fmla="*/ 5203 w 5860"/>
                    <a:gd name="connsiteY3" fmla="*/ 1435 h 6877"/>
                    <a:gd name="connsiteX4" fmla="*/ 5861 w 5860"/>
                    <a:gd name="connsiteY4" fmla="*/ 2632 h 6877"/>
                    <a:gd name="connsiteX5" fmla="*/ 5382 w 5860"/>
                    <a:gd name="connsiteY5" fmla="*/ 3409 h 6877"/>
                    <a:gd name="connsiteX6" fmla="*/ 5203 w 5860"/>
                    <a:gd name="connsiteY6" fmla="*/ 3708 h 6877"/>
                    <a:gd name="connsiteX7" fmla="*/ 4904 w 5860"/>
                    <a:gd name="connsiteY7" fmla="*/ 4187 h 6877"/>
                    <a:gd name="connsiteX8" fmla="*/ 4007 w 5860"/>
                    <a:gd name="connsiteY8" fmla="*/ 5742 h 6877"/>
                    <a:gd name="connsiteX9" fmla="*/ 3648 w 5860"/>
                    <a:gd name="connsiteY9" fmla="*/ 6340 h 6877"/>
                    <a:gd name="connsiteX10" fmla="*/ 2392 w 5860"/>
                    <a:gd name="connsiteY10" fmla="*/ 6639 h 6877"/>
                    <a:gd name="connsiteX11" fmla="*/ 2392 w 5860"/>
                    <a:gd name="connsiteY11" fmla="*/ 6639 h 6877"/>
                    <a:gd name="connsiteX12" fmla="*/ 1854 w 5860"/>
                    <a:gd name="connsiteY12" fmla="*/ 6758 h 6877"/>
                    <a:gd name="connsiteX13" fmla="*/ 1316 w 5860"/>
                    <a:gd name="connsiteY13" fmla="*/ 6878 h 6877"/>
                    <a:gd name="connsiteX14" fmla="*/ 1256 w 5860"/>
                    <a:gd name="connsiteY14" fmla="*/ 6818 h 6877"/>
                    <a:gd name="connsiteX15" fmla="*/ 658 w 5860"/>
                    <a:gd name="connsiteY15" fmla="*/ 6459 h 6877"/>
                    <a:gd name="connsiteX16" fmla="*/ 0 w 5860"/>
                    <a:gd name="connsiteY16" fmla="*/ 6041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60" h="6877">
                      <a:moveTo>
                        <a:pt x="3528" y="0"/>
                      </a:moveTo>
                      <a:lnTo>
                        <a:pt x="4067" y="359"/>
                      </a:lnTo>
                      <a:lnTo>
                        <a:pt x="4844" y="837"/>
                      </a:lnTo>
                      <a:lnTo>
                        <a:pt x="5203" y="1435"/>
                      </a:lnTo>
                      <a:lnTo>
                        <a:pt x="5861" y="2632"/>
                      </a:lnTo>
                      <a:lnTo>
                        <a:pt x="5382" y="3409"/>
                      </a:lnTo>
                      <a:lnTo>
                        <a:pt x="5203" y="3708"/>
                      </a:lnTo>
                      <a:lnTo>
                        <a:pt x="4904" y="4187"/>
                      </a:lnTo>
                      <a:lnTo>
                        <a:pt x="4007" y="5742"/>
                      </a:lnTo>
                      <a:lnTo>
                        <a:pt x="3648" y="6340"/>
                      </a:lnTo>
                      <a:lnTo>
                        <a:pt x="2392" y="6639"/>
                      </a:lnTo>
                      <a:lnTo>
                        <a:pt x="2392" y="6639"/>
                      </a:lnTo>
                      <a:lnTo>
                        <a:pt x="1854" y="6758"/>
                      </a:lnTo>
                      <a:lnTo>
                        <a:pt x="1316" y="6878"/>
                      </a:lnTo>
                      <a:lnTo>
                        <a:pt x="1256" y="6818"/>
                      </a:lnTo>
                      <a:lnTo>
                        <a:pt x="658" y="6459"/>
                      </a:lnTo>
                      <a:lnTo>
                        <a:pt x="0" y="6041"/>
                      </a:lnTo>
                    </a:path>
                  </a:pathLst>
                </a:custGeom>
                <a:noFill/>
                <a:ln w="6350" cap="rnd">
                  <a:solidFill>
                    <a:schemeClr val="bg1">
                      <a:alpha val="40000"/>
                    </a:schemeClr>
                  </a:solidFill>
                  <a:prstDash val="solid"/>
                  <a:round/>
                </a:ln>
              </p:spPr>
              <p:txBody>
                <a:bodyPr rtlCol="0" anchor="ctr"/>
                <a:lstStyle/>
                <a:p>
                  <a:endParaRPr lang="en-GB"/>
                </a:p>
              </p:txBody>
            </p:sp>
            <p:sp>
              <p:nvSpPr>
                <p:cNvPr id="6461" name="Vrije vorm: vorm 6460">
                  <a:extLst>
                    <a:ext uri="{FF2B5EF4-FFF2-40B4-BE49-F238E27FC236}">
                      <a16:creationId xmlns:a16="http://schemas.microsoft.com/office/drawing/2014/main" id="{522BF2DC-A069-4AD4-82D2-ED9B722CC3AA}"/>
                    </a:ext>
                  </a:extLst>
                </p:cNvPr>
                <p:cNvSpPr/>
                <p:nvPr/>
              </p:nvSpPr>
              <p:spPr>
                <a:xfrm>
                  <a:off x="6798426" y="1951430"/>
                  <a:ext cx="5980" cy="6877"/>
                </a:xfrm>
                <a:custGeom>
                  <a:avLst/>
                  <a:gdLst>
                    <a:gd name="connsiteX0" fmla="*/ 3469 w 5980"/>
                    <a:gd name="connsiteY0" fmla="*/ 0 h 6877"/>
                    <a:gd name="connsiteX1" fmla="*/ 3588 w 5980"/>
                    <a:gd name="connsiteY1" fmla="*/ 60 h 6877"/>
                    <a:gd name="connsiteX2" fmla="*/ 3827 w 5980"/>
                    <a:gd name="connsiteY2" fmla="*/ 179 h 6877"/>
                    <a:gd name="connsiteX3" fmla="*/ 4605 w 5980"/>
                    <a:gd name="connsiteY3" fmla="*/ 718 h 6877"/>
                    <a:gd name="connsiteX4" fmla="*/ 4904 w 5980"/>
                    <a:gd name="connsiteY4" fmla="*/ 897 h 6877"/>
                    <a:gd name="connsiteX5" fmla="*/ 5981 w 5980"/>
                    <a:gd name="connsiteY5" fmla="*/ 2632 h 6877"/>
                    <a:gd name="connsiteX6" fmla="*/ 5921 w 5980"/>
                    <a:gd name="connsiteY6" fmla="*/ 2751 h 6877"/>
                    <a:gd name="connsiteX7" fmla="*/ 5921 w 5980"/>
                    <a:gd name="connsiteY7" fmla="*/ 2811 h 6877"/>
                    <a:gd name="connsiteX8" fmla="*/ 3827 w 5980"/>
                    <a:gd name="connsiteY8" fmla="*/ 6340 h 6877"/>
                    <a:gd name="connsiteX9" fmla="*/ 2213 w 5980"/>
                    <a:gd name="connsiteY9" fmla="*/ 6698 h 6877"/>
                    <a:gd name="connsiteX10" fmla="*/ 1674 w 5980"/>
                    <a:gd name="connsiteY10" fmla="*/ 6818 h 6877"/>
                    <a:gd name="connsiteX11" fmla="*/ 1435 w 5980"/>
                    <a:gd name="connsiteY11" fmla="*/ 6878 h 6877"/>
                    <a:gd name="connsiteX12" fmla="*/ 957 w 5980"/>
                    <a:gd name="connsiteY12" fmla="*/ 6579 h 6877"/>
                    <a:gd name="connsiteX13" fmla="*/ 299 w 5980"/>
                    <a:gd name="connsiteY13" fmla="*/ 6160 h 6877"/>
                    <a:gd name="connsiteX14" fmla="*/ 119 w 5980"/>
                    <a:gd name="connsiteY14" fmla="*/ 6040 h 6877"/>
                    <a:gd name="connsiteX15" fmla="*/ 0 w 5980"/>
                    <a:gd name="connsiteY15" fmla="*/ 5981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80" h="6877">
                      <a:moveTo>
                        <a:pt x="3469" y="0"/>
                      </a:moveTo>
                      <a:lnTo>
                        <a:pt x="3588" y="60"/>
                      </a:lnTo>
                      <a:lnTo>
                        <a:pt x="3827" y="179"/>
                      </a:lnTo>
                      <a:lnTo>
                        <a:pt x="4605" y="718"/>
                      </a:lnTo>
                      <a:lnTo>
                        <a:pt x="4904" y="897"/>
                      </a:lnTo>
                      <a:lnTo>
                        <a:pt x="5981" y="2632"/>
                      </a:lnTo>
                      <a:lnTo>
                        <a:pt x="5921" y="2751"/>
                      </a:lnTo>
                      <a:lnTo>
                        <a:pt x="5921" y="2811"/>
                      </a:lnTo>
                      <a:lnTo>
                        <a:pt x="3827" y="6340"/>
                      </a:lnTo>
                      <a:lnTo>
                        <a:pt x="2213" y="6698"/>
                      </a:lnTo>
                      <a:lnTo>
                        <a:pt x="1674" y="6818"/>
                      </a:lnTo>
                      <a:lnTo>
                        <a:pt x="1435" y="6878"/>
                      </a:lnTo>
                      <a:lnTo>
                        <a:pt x="957" y="6579"/>
                      </a:lnTo>
                      <a:lnTo>
                        <a:pt x="299" y="6160"/>
                      </a:lnTo>
                      <a:lnTo>
                        <a:pt x="119" y="6040"/>
                      </a:lnTo>
                      <a:lnTo>
                        <a:pt x="0" y="5981"/>
                      </a:lnTo>
                    </a:path>
                  </a:pathLst>
                </a:custGeom>
                <a:noFill/>
                <a:ln w="6350" cap="rnd">
                  <a:solidFill>
                    <a:schemeClr val="bg1">
                      <a:alpha val="40000"/>
                    </a:schemeClr>
                  </a:solidFill>
                  <a:prstDash val="solid"/>
                  <a:round/>
                </a:ln>
              </p:spPr>
              <p:txBody>
                <a:bodyPr rtlCol="0" anchor="ctr"/>
                <a:lstStyle/>
                <a:p>
                  <a:endParaRPr lang="en-GB"/>
                </a:p>
              </p:txBody>
            </p:sp>
            <p:sp>
              <p:nvSpPr>
                <p:cNvPr id="6462" name="Vrije vorm: vorm 6461">
                  <a:extLst>
                    <a:ext uri="{FF2B5EF4-FFF2-40B4-BE49-F238E27FC236}">
                      <a16:creationId xmlns:a16="http://schemas.microsoft.com/office/drawing/2014/main" id="{62A4CB53-FC05-432E-9845-255CBB1B3FBC}"/>
                    </a:ext>
                  </a:extLst>
                </p:cNvPr>
                <p:cNvSpPr/>
                <p:nvPr/>
              </p:nvSpPr>
              <p:spPr>
                <a:xfrm>
                  <a:off x="6787720" y="1975532"/>
                  <a:ext cx="24222" cy="16147"/>
                </a:xfrm>
                <a:custGeom>
                  <a:avLst/>
                  <a:gdLst>
                    <a:gd name="connsiteX0" fmla="*/ 24222 w 24222"/>
                    <a:gd name="connsiteY0" fmla="*/ 16148 h 16147"/>
                    <a:gd name="connsiteX1" fmla="*/ 23863 w 24222"/>
                    <a:gd name="connsiteY1" fmla="*/ 15909 h 16147"/>
                    <a:gd name="connsiteX2" fmla="*/ 23145 w 24222"/>
                    <a:gd name="connsiteY2" fmla="*/ 15430 h 16147"/>
                    <a:gd name="connsiteX3" fmla="*/ 14533 w 24222"/>
                    <a:gd name="connsiteY3" fmla="*/ 9689 h 16147"/>
                    <a:gd name="connsiteX4" fmla="*/ 1675 w 24222"/>
                    <a:gd name="connsiteY4" fmla="*/ 1136 h 16147"/>
                    <a:gd name="connsiteX5" fmla="*/ 419 w 24222"/>
                    <a:gd name="connsiteY5" fmla="*/ 299 h 16147"/>
                    <a:gd name="connsiteX6" fmla="*/ 0 w 24222"/>
                    <a:gd name="connsiteY6" fmla="*/ 0 h 16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22" h="16147">
                      <a:moveTo>
                        <a:pt x="24222" y="16148"/>
                      </a:moveTo>
                      <a:lnTo>
                        <a:pt x="23863" y="15909"/>
                      </a:lnTo>
                      <a:lnTo>
                        <a:pt x="23145" y="15430"/>
                      </a:lnTo>
                      <a:lnTo>
                        <a:pt x="14533" y="9689"/>
                      </a:lnTo>
                      <a:lnTo>
                        <a:pt x="1675" y="1136"/>
                      </a:lnTo>
                      <a:lnTo>
                        <a:pt x="419" y="29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63" name="Vrije vorm: vorm 6462">
                  <a:extLst>
                    <a:ext uri="{FF2B5EF4-FFF2-40B4-BE49-F238E27FC236}">
                      <a16:creationId xmlns:a16="http://schemas.microsoft.com/office/drawing/2014/main" id="{18970C8C-7B5C-4AA2-B809-2A2C18CECAF0}"/>
                    </a:ext>
                  </a:extLst>
                </p:cNvPr>
                <p:cNvSpPr/>
                <p:nvPr/>
              </p:nvSpPr>
              <p:spPr>
                <a:xfrm>
                  <a:off x="6774802" y="1958188"/>
                  <a:ext cx="23265" cy="27331"/>
                </a:xfrm>
                <a:custGeom>
                  <a:avLst/>
                  <a:gdLst>
                    <a:gd name="connsiteX0" fmla="*/ 23265 w 23265"/>
                    <a:gd name="connsiteY0" fmla="*/ 0 h 27331"/>
                    <a:gd name="connsiteX1" fmla="*/ 23026 w 23265"/>
                    <a:gd name="connsiteY1" fmla="*/ 419 h 27331"/>
                    <a:gd name="connsiteX2" fmla="*/ 21949 w 23265"/>
                    <a:gd name="connsiteY2" fmla="*/ 2213 h 27331"/>
                    <a:gd name="connsiteX3" fmla="*/ 19138 w 23265"/>
                    <a:gd name="connsiteY3" fmla="*/ 6938 h 27331"/>
                    <a:gd name="connsiteX4" fmla="*/ 18480 w 23265"/>
                    <a:gd name="connsiteY4" fmla="*/ 8014 h 27331"/>
                    <a:gd name="connsiteX5" fmla="*/ 18002 w 23265"/>
                    <a:gd name="connsiteY5" fmla="*/ 8851 h 27331"/>
                    <a:gd name="connsiteX6" fmla="*/ 16686 w 23265"/>
                    <a:gd name="connsiteY6" fmla="*/ 11064 h 27331"/>
                    <a:gd name="connsiteX7" fmla="*/ 16387 w 23265"/>
                    <a:gd name="connsiteY7" fmla="*/ 11543 h 27331"/>
                    <a:gd name="connsiteX8" fmla="*/ 16028 w 23265"/>
                    <a:gd name="connsiteY8" fmla="*/ 12141 h 27331"/>
                    <a:gd name="connsiteX9" fmla="*/ 14952 w 23265"/>
                    <a:gd name="connsiteY9" fmla="*/ 13995 h 27331"/>
                    <a:gd name="connsiteX10" fmla="*/ 14713 w 23265"/>
                    <a:gd name="connsiteY10" fmla="*/ 14413 h 27331"/>
                    <a:gd name="connsiteX11" fmla="*/ 13576 w 23265"/>
                    <a:gd name="connsiteY11" fmla="*/ 16268 h 27331"/>
                    <a:gd name="connsiteX12" fmla="*/ 13397 w 23265"/>
                    <a:gd name="connsiteY12" fmla="*/ 16567 h 27331"/>
                    <a:gd name="connsiteX13" fmla="*/ 12918 w 23265"/>
                    <a:gd name="connsiteY13" fmla="*/ 17404 h 27331"/>
                    <a:gd name="connsiteX14" fmla="*/ 11662 w 23265"/>
                    <a:gd name="connsiteY14" fmla="*/ 19557 h 27331"/>
                    <a:gd name="connsiteX15" fmla="*/ 11543 w 23265"/>
                    <a:gd name="connsiteY15" fmla="*/ 19736 h 27331"/>
                    <a:gd name="connsiteX16" fmla="*/ 8851 w 23265"/>
                    <a:gd name="connsiteY16" fmla="*/ 24282 h 27331"/>
                    <a:gd name="connsiteX17" fmla="*/ 8612 w 23265"/>
                    <a:gd name="connsiteY17" fmla="*/ 24641 h 27331"/>
                    <a:gd name="connsiteX18" fmla="*/ 5083 w 23265"/>
                    <a:gd name="connsiteY18" fmla="*/ 27332 h 27331"/>
                    <a:gd name="connsiteX19" fmla="*/ 5024 w 23265"/>
                    <a:gd name="connsiteY19" fmla="*/ 27332 h 27331"/>
                    <a:gd name="connsiteX20" fmla="*/ 359 w 23265"/>
                    <a:gd name="connsiteY20" fmla="*/ 25956 h 27331"/>
                    <a:gd name="connsiteX21" fmla="*/ 0 w 23265"/>
                    <a:gd name="connsiteY21" fmla="*/ 25717 h 27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265" h="27331">
                      <a:moveTo>
                        <a:pt x="23265" y="0"/>
                      </a:moveTo>
                      <a:lnTo>
                        <a:pt x="23026" y="419"/>
                      </a:lnTo>
                      <a:lnTo>
                        <a:pt x="21949" y="2213"/>
                      </a:lnTo>
                      <a:lnTo>
                        <a:pt x="19138" y="6938"/>
                      </a:lnTo>
                      <a:lnTo>
                        <a:pt x="18480" y="8014"/>
                      </a:lnTo>
                      <a:lnTo>
                        <a:pt x="18002" y="8851"/>
                      </a:lnTo>
                      <a:lnTo>
                        <a:pt x="16686" y="11064"/>
                      </a:lnTo>
                      <a:lnTo>
                        <a:pt x="16387" y="11543"/>
                      </a:lnTo>
                      <a:lnTo>
                        <a:pt x="16028" y="12141"/>
                      </a:lnTo>
                      <a:lnTo>
                        <a:pt x="14952" y="13995"/>
                      </a:lnTo>
                      <a:lnTo>
                        <a:pt x="14713" y="14413"/>
                      </a:lnTo>
                      <a:lnTo>
                        <a:pt x="13576" y="16268"/>
                      </a:lnTo>
                      <a:lnTo>
                        <a:pt x="13397" y="16567"/>
                      </a:lnTo>
                      <a:lnTo>
                        <a:pt x="12918" y="17404"/>
                      </a:lnTo>
                      <a:lnTo>
                        <a:pt x="11662" y="19557"/>
                      </a:lnTo>
                      <a:lnTo>
                        <a:pt x="11543" y="19736"/>
                      </a:lnTo>
                      <a:lnTo>
                        <a:pt x="8851" y="24282"/>
                      </a:lnTo>
                      <a:lnTo>
                        <a:pt x="8612" y="24641"/>
                      </a:lnTo>
                      <a:lnTo>
                        <a:pt x="5083" y="27332"/>
                      </a:lnTo>
                      <a:lnTo>
                        <a:pt x="5024" y="27332"/>
                      </a:lnTo>
                      <a:lnTo>
                        <a:pt x="359" y="25956"/>
                      </a:lnTo>
                      <a:lnTo>
                        <a:pt x="0" y="25717"/>
                      </a:lnTo>
                    </a:path>
                  </a:pathLst>
                </a:custGeom>
                <a:noFill/>
                <a:ln w="6350" cap="rnd">
                  <a:solidFill>
                    <a:schemeClr val="bg1">
                      <a:alpha val="40000"/>
                    </a:schemeClr>
                  </a:solidFill>
                  <a:prstDash val="solid"/>
                  <a:round/>
                </a:ln>
              </p:spPr>
              <p:txBody>
                <a:bodyPr rtlCol="0" anchor="ctr"/>
                <a:lstStyle/>
                <a:p>
                  <a:endParaRPr lang="en-GB"/>
                </a:p>
              </p:txBody>
            </p:sp>
            <p:sp>
              <p:nvSpPr>
                <p:cNvPr id="6464" name="Vrije vorm: vorm 6463">
                  <a:extLst>
                    <a:ext uri="{FF2B5EF4-FFF2-40B4-BE49-F238E27FC236}">
                      <a16:creationId xmlns:a16="http://schemas.microsoft.com/office/drawing/2014/main" id="{FD2082DB-8F3E-4BCB-83C5-C368BF476D0F}"/>
                    </a:ext>
                  </a:extLst>
                </p:cNvPr>
                <p:cNvSpPr/>
                <p:nvPr/>
              </p:nvSpPr>
              <p:spPr>
                <a:xfrm>
                  <a:off x="6711646" y="1903883"/>
                  <a:ext cx="9628" cy="4246"/>
                </a:xfrm>
                <a:custGeom>
                  <a:avLst/>
                  <a:gdLst>
                    <a:gd name="connsiteX0" fmla="*/ 0 w 9628"/>
                    <a:gd name="connsiteY0" fmla="*/ 0 h 4246"/>
                    <a:gd name="connsiteX1" fmla="*/ 1136 w 9628"/>
                    <a:gd name="connsiteY1" fmla="*/ 478 h 4246"/>
                    <a:gd name="connsiteX2" fmla="*/ 4785 w 9628"/>
                    <a:gd name="connsiteY2" fmla="*/ 2093 h 4246"/>
                    <a:gd name="connsiteX3" fmla="*/ 5442 w 9628"/>
                    <a:gd name="connsiteY3" fmla="*/ 2392 h 4246"/>
                    <a:gd name="connsiteX4" fmla="*/ 9629 w 9628"/>
                    <a:gd name="connsiteY4" fmla="*/ 4246 h 4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8" h="4246">
                      <a:moveTo>
                        <a:pt x="0" y="0"/>
                      </a:moveTo>
                      <a:lnTo>
                        <a:pt x="1136" y="478"/>
                      </a:lnTo>
                      <a:lnTo>
                        <a:pt x="4785" y="2093"/>
                      </a:lnTo>
                      <a:lnTo>
                        <a:pt x="5442" y="2392"/>
                      </a:lnTo>
                      <a:lnTo>
                        <a:pt x="9629" y="4246"/>
                      </a:lnTo>
                    </a:path>
                  </a:pathLst>
                </a:custGeom>
                <a:noFill/>
                <a:ln w="6350" cap="rnd">
                  <a:solidFill>
                    <a:schemeClr val="bg1">
                      <a:alpha val="40000"/>
                    </a:schemeClr>
                  </a:solidFill>
                  <a:prstDash val="solid"/>
                  <a:round/>
                </a:ln>
              </p:spPr>
              <p:txBody>
                <a:bodyPr rtlCol="0" anchor="ctr"/>
                <a:lstStyle/>
                <a:p>
                  <a:endParaRPr lang="en-GB"/>
                </a:p>
              </p:txBody>
            </p:sp>
            <p:sp>
              <p:nvSpPr>
                <p:cNvPr id="6465" name="Vrije vorm: vorm 6464">
                  <a:extLst>
                    <a:ext uri="{FF2B5EF4-FFF2-40B4-BE49-F238E27FC236}">
                      <a16:creationId xmlns:a16="http://schemas.microsoft.com/office/drawing/2014/main" id="{E9593BCC-D0E8-44AF-A9F5-AB54FEF80957}"/>
                    </a:ext>
                  </a:extLst>
                </p:cNvPr>
                <p:cNvSpPr/>
                <p:nvPr/>
              </p:nvSpPr>
              <p:spPr>
                <a:xfrm>
                  <a:off x="6689577" y="1906335"/>
                  <a:ext cx="27630" cy="22607"/>
                </a:xfrm>
                <a:custGeom>
                  <a:avLst/>
                  <a:gdLst>
                    <a:gd name="connsiteX0" fmla="*/ 27631 w 27630"/>
                    <a:gd name="connsiteY0" fmla="*/ 22607 h 22607"/>
                    <a:gd name="connsiteX1" fmla="*/ 22248 w 27630"/>
                    <a:gd name="connsiteY1" fmla="*/ 19078 h 22607"/>
                    <a:gd name="connsiteX2" fmla="*/ 22009 w 27630"/>
                    <a:gd name="connsiteY2" fmla="*/ 18899 h 22607"/>
                    <a:gd name="connsiteX3" fmla="*/ 13397 w 27630"/>
                    <a:gd name="connsiteY3" fmla="*/ 12141 h 22607"/>
                    <a:gd name="connsiteX4" fmla="*/ 9150 w 27630"/>
                    <a:gd name="connsiteY4" fmla="*/ 8313 h 22607"/>
                    <a:gd name="connsiteX5" fmla="*/ 5323 w 27630"/>
                    <a:gd name="connsiteY5" fmla="*/ 4844 h 22607"/>
                    <a:gd name="connsiteX6" fmla="*/ 4665 w 27630"/>
                    <a:gd name="connsiteY6" fmla="*/ 4246 h 22607"/>
                    <a:gd name="connsiteX7" fmla="*/ 0 w 27630"/>
                    <a:gd name="connsiteY7" fmla="*/ 0 h 2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30" h="22607">
                      <a:moveTo>
                        <a:pt x="27631" y="22607"/>
                      </a:moveTo>
                      <a:lnTo>
                        <a:pt x="22248" y="19078"/>
                      </a:lnTo>
                      <a:lnTo>
                        <a:pt x="22009" y="18899"/>
                      </a:lnTo>
                      <a:lnTo>
                        <a:pt x="13397" y="12141"/>
                      </a:lnTo>
                      <a:lnTo>
                        <a:pt x="9150" y="8313"/>
                      </a:lnTo>
                      <a:lnTo>
                        <a:pt x="5323" y="4844"/>
                      </a:lnTo>
                      <a:lnTo>
                        <a:pt x="4665" y="424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66" name="Vrije vorm: vorm 6465">
                  <a:extLst>
                    <a:ext uri="{FF2B5EF4-FFF2-40B4-BE49-F238E27FC236}">
                      <a16:creationId xmlns:a16="http://schemas.microsoft.com/office/drawing/2014/main" id="{0FA96EB4-3287-422D-A83E-3C5789CFCF69}"/>
                    </a:ext>
                  </a:extLst>
                </p:cNvPr>
                <p:cNvSpPr/>
                <p:nvPr/>
              </p:nvSpPr>
              <p:spPr>
                <a:xfrm>
                  <a:off x="6821153" y="1971166"/>
                  <a:ext cx="3767" cy="2571"/>
                </a:xfrm>
                <a:custGeom>
                  <a:avLst/>
                  <a:gdLst>
                    <a:gd name="connsiteX0" fmla="*/ 2333 w 3767"/>
                    <a:gd name="connsiteY0" fmla="*/ 2572 h 2571"/>
                    <a:gd name="connsiteX1" fmla="*/ 1316 w 3767"/>
                    <a:gd name="connsiteY1" fmla="*/ 1914 h 2571"/>
                    <a:gd name="connsiteX2" fmla="*/ 0 w 3767"/>
                    <a:gd name="connsiteY2" fmla="*/ 1076 h 2571"/>
                    <a:gd name="connsiteX3" fmla="*/ 179 w 3767"/>
                    <a:gd name="connsiteY3" fmla="*/ 778 h 2571"/>
                    <a:gd name="connsiteX4" fmla="*/ 658 w 3767"/>
                    <a:gd name="connsiteY4" fmla="*/ 0 h 2571"/>
                    <a:gd name="connsiteX5" fmla="*/ 3768 w 3767"/>
                    <a:gd name="connsiteY5" fmla="*/ 837 h 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7" h="2571">
                      <a:moveTo>
                        <a:pt x="2333" y="2572"/>
                      </a:moveTo>
                      <a:lnTo>
                        <a:pt x="1316" y="1914"/>
                      </a:lnTo>
                      <a:lnTo>
                        <a:pt x="0" y="1076"/>
                      </a:lnTo>
                      <a:lnTo>
                        <a:pt x="179" y="778"/>
                      </a:lnTo>
                      <a:lnTo>
                        <a:pt x="658" y="0"/>
                      </a:lnTo>
                      <a:lnTo>
                        <a:pt x="3768" y="837"/>
                      </a:lnTo>
                    </a:path>
                  </a:pathLst>
                </a:custGeom>
                <a:noFill/>
                <a:ln w="6350" cap="rnd">
                  <a:solidFill>
                    <a:schemeClr val="bg1">
                      <a:alpha val="40000"/>
                    </a:schemeClr>
                  </a:solidFill>
                  <a:prstDash val="solid"/>
                  <a:round/>
                </a:ln>
              </p:spPr>
              <p:txBody>
                <a:bodyPr rtlCol="0" anchor="ctr"/>
                <a:lstStyle/>
                <a:p>
                  <a:endParaRPr lang="en-GB"/>
                </a:p>
              </p:txBody>
            </p:sp>
            <p:sp>
              <p:nvSpPr>
                <p:cNvPr id="6467" name="Vrije vorm: vorm 6466">
                  <a:extLst>
                    <a:ext uri="{FF2B5EF4-FFF2-40B4-BE49-F238E27FC236}">
                      <a16:creationId xmlns:a16="http://schemas.microsoft.com/office/drawing/2014/main" id="{40CDE0A9-1D2A-464D-A98A-D1A5AE2F02EE}"/>
                    </a:ext>
                  </a:extLst>
                </p:cNvPr>
                <p:cNvSpPr/>
                <p:nvPr/>
              </p:nvSpPr>
              <p:spPr>
                <a:xfrm>
                  <a:off x="6809370" y="1926610"/>
                  <a:ext cx="15191" cy="2810"/>
                </a:xfrm>
                <a:custGeom>
                  <a:avLst/>
                  <a:gdLst>
                    <a:gd name="connsiteX0" fmla="*/ 0 w 15191"/>
                    <a:gd name="connsiteY0" fmla="*/ 2811 h 2810"/>
                    <a:gd name="connsiteX1" fmla="*/ 1495 w 15191"/>
                    <a:gd name="connsiteY1" fmla="*/ 1675 h 2810"/>
                    <a:gd name="connsiteX2" fmla="*/ 2333 w 15191"/>
                    <a:gd name="connsiteY2" fmla="*/ 1076 h 2810"/>
                    <a:gd name="connsiteX3" fmla="*/ 3050 w 15191"/>
                    <a:gd name="connsiteY3" fmla="*/ 1017 h 2810"/>
                    <a:gd name="connsiteX4" fmla="*/ 3290 w 15191"/>
                    <a:gd name="connsiteY4" fmla="*/ 1017 h 2810"/>
                    <a:gd name="connsiteX5" fmla="*/ 5562 w 15191"/>
                    <a:gd name="connsiteY5" fmla="*/ 837 h 2810"/>
                    <a:gd name="connsiteX6" fmla="*/ 5921 w 15191"/>
                    <a:gd name="connsiteY6" fmla="*/ 777 h 2810"/>
                    <a:gd name="connsiteX7" fmla="*/ 6878 w 15191"/>
                    <a:gd name="connsiteY7" fmla="*/ 718 h 2810"/>
                    <a:gd name="connsiteX8" fmla="*/ 7476 w 15191"/>
                    <a:gd name="connsiteY8" fmla="*/ 658 h 2810"/>
                    <a:gd name="connsiteX9" fmla="*/ 7954 w 15191"/>
                    <a:gd name="connsiteY9" fmla="*/ 598 h 2810"/>
                    <a:gd name="connsiteX10" fmla="*/ 9450 w 15191"/>
                    <a:gd name="connsiteY10" fmla="*/ 478 h 2810"/>
                    <a:gd name="connsiteX11" fmla="*/ 13696 w 15191"/>
                    <a:gd name="connsiteY11" fmla="*/ 120 h 2810"/>
                    <a:gd name="connsiteX12" fmla="*/ 13875 w 15191"/>
                    <a:gd name="connsiteY12" fmla="*/ 120 h 2810"/>
                    <a:gd name="connsiteX13" fmla="*/ 14414 w 15191"/>
                    <a:gd name="connsiteY13" fmla="*/ 60 h 2810"/>
                    <a:gd name="connsiteX14" fmla="*/ 15191 w 15191"/>
                    <a:gd name="connsiteY14" fmla="*/ 0 h 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91" h="2810">
                      <a:moveTo>
                        <a:pt x="0" y="2811"/>
                      </a:moveTo>
                      <a:lnTo>
                        <a:pt x="1495" y="1675"/>
                      </a:lnTo>
                      <a:lnTo>
                        <a:pt x="2333" y="1076"/>
                      </a:lnTo>
                      <a:lnTo>
                        <a:pt x="3050" y="1017"/>
                      </a:lnTo>
                      <a:lnTo>
                        <a:pt x="3290" y="1017"/>
                      </a:lnTo>
                      <a:lnTo>
                        <a:pt x="5562" y="837"/>
                      </a:lnTo>
                      <a:lnTo>
                        <a:pt x="5921" y="777"/>
                      </a:lnTo>
                      <a:lnTo>
                        <a:pt x="6878" y="718"/>
                      </a:lnTo>
                      <a:lnTo>
                        <a:pt x="7476" y="658"/>
                      </a:lnTo>
                      <a:lnTo>
                        <a:pt x="7954" y="598"/>
                      </a:lnTo>
                      <a:lnTo>
                        <a:pt x="9450" y="478"/>
                      </a:lnTo>
                      <a:lnTo>
                        <a:pt x="13696" y="120"/>
                      </a:lnTo>
                      <a:lnTo>
                        <a:pt x="13875" y="120"/>
                      </a:lnTo>
                      <a:lnTo>
                        <a:pt x="14414" y="60"/>
                      </a:lnTo>
                      <a:lnTo>
                        <a:pt x="15191" y="0"/>
                      </a:lnTo>
                    </a:path>
                  </a:pathLst>
                </a:custGeom>
                <a:noFill/>
                <a:ln w="6350" cap="rnd">
                  <a:solidFill>
                    <a:schemeClr val="bg1">
                      <a:alpha val="40000"/>
                    </a:schemeClr>
                  </a:solidFill>
                  <a:prstDash val="solid"/>
                  <a:round/>
                </a:ln>
              </p:spPr>
              <p:txBody>
                <a:bodyPr rtlCol="0" anchor="ctr"/>
                <a:lstStyle/>
                <a:p>
                  <a:endParaRPr lang="en-GB"/>
                </a:p>
              </p:txBody>
            </p:sp>
            <p:sp>
              <p:nvSpPr>
                <p:cNvPr id="6468" name="Vrije vorm: vorm 6467">
                  <a:extLst>
                    <a:ext uri="{FF2B5EF4-FFF2-40B4-BE49-F238E27FC236}">
                      <a16:creationId xmlns:a16="http://schemas.microsoft.com/office/drawing/2014/main" id="{735B8559-83D7-4D5A-891E-964950C140B7}"/>
                    </a:ext>
                  </a:extLst>
                </p:cNvPr>
                <p:cNvSpPr/>
                <p:nvPr/>
              </p:nvSpPr>
              <p:spPr>
                <a:xfrm>
                  <a:off x="6826057" y="1926490"/>
                  <a:ext cx="2810" cy="3827"/>
                </a:xfrm>
                <a:custGeom>
                  <a:avLst/>
                  <a:gdLst>
                    <a:gd name="connsiteX0" fmla="*/ 0 w 2810"/>
                    <a:gd name="connsiteY0" fmla="*/ 0 h 3827"/>
                    <a:gd name="connsiteX1" fmla="*/ 1914 w 2810"/>
                    <a:gd name="connsiteY1" fmla="*/ 1256 h 3827"/>
                    <a:gd name="connsiteX2" fmla="*/ 2811 w 2810"/>
                    <a:gd name="connsiteY2" fmla="*/ 1794 h 3827"/>
                    <a:gd name="connsiteX3" fmla="*/ 2632 w 2810"/>
                    <a:gd name="connsiteY3" fmla="*/ 3828 h 3827"/>
                  </a:gdLst>
                  <a:ahLst/>
                  <a:cxnLst>
                    <a:cxn ang="0">
                      <a:pos x="connsiteX0" y="connsiteY0"/>
                    </a:cxn>
                    <a:cxn ang="0">
                      <a:pos x="connsiteX1" y="connsiteY1"/>
                    </a:cxn>
                    <a:cxn ang="0">
                      <a:pos x="connsiteX2" y="connsiteY2"/>
                    </a:cxn>
                    <a:cxn ang="0">
                      <a:pos x="connsiteX3" y="connsiteY3"/>
                    </a:cxn>
                  </a:cxnLst>
                  <a:rect l="l" t="t" r="r" b="b"/>
                  <a:pathLst>
                    <a:path w="2810" h="3827">
                      <a:moveTo>
                        <a:pt x="0" y="0"/>
                      </a:moveTo>
                      <a:lnTo>
                        <a:pt x="1914" y="1256"/>
                      </a:lnTo>
                      <a:lnTo>
                        <a:pt x="2811" y="1794"/>
                      </a:lnTo>
                      <a:lnTo>
                        <a:pt x="2632" y="3828"/>
                      </a:lnTo>
                    </a:path>
                  </a:pathLst>
                </a:custGeom>
                <a:noFill/>
                <a:ln w="6350" cap="rnd">
                  <a:solidFill>
                    <a:schemeClr val="bg1">
                      <a:alpha val="40000"/>
                    </a:schemeClr>
                  </a:solidFill>
                  <a:prstDash val="solid"/>
                  <a:round/>
                </a:ln>
              </p:spPr>
              <p:txBody>
                <a:bodyPr rtlCol="0" anchor="ctr"/>
                <a:lstStyle/>
                <a:p>
                  <a:endParaRPr lang="en-GB"/>
                </a:p>
              </p:txBody>
            </p:sp>
            <p:sp>
              <p:nvSpPr>
                <p:cNvPr id="6469" name="Vrije vorm: vorm 6468">
                  <a:extLst>
                    <a:ext uri="{FF2B5EF4-FFF2-40B4-BE49-F238E27FC236}">
                      <a16:creationId xmlns:a16="http://schemas.microsoft.com/office/drawing/2014/main" id="{7BFC6E0F-A93B-4BC5-AA43-406314505995}"/>
                    </a:ext>
                  </a:extLst>
                </p:cNvPr>
                <p:cNvSpPr/>
                <p:nvPr/>
              </p:nvSpPr>
              <p:spPr>
                <a:xfrm>
                  <a:off x="6714576" y="1868597"/>
                  <a:ext cx="42044" cy="65130"/>
                </a:xfrm>
                <a:custGeom>
                  <a:avLst/>
                  <a:gdLst>
                    <a:gd name="connsiteX0" fmla="*/ 0 w 42044"/>
                    <a:gd name="connsiteY0" fmla="*/ 65130 h 65130"/>
                    <a:gd name="connsiteX1" fmla="*/ 1974 w 42044"/>
                    <a:gd name="connsiteY1" fmla="*/ 61781 h 65130"/>
                    <a:gd name="connsiteX2" fmla="*/ 2632 w 42044"/>
                    <a:gd name="connsiteY2" fmla="*/ 60346 h 65130"/>
                    <a:gd name="connsiteX3" fmla="*/ 4306 w 42044"/>
                    <a:gd name="connsiteY3" fmla="*/ 56637 h 65130"/>
                    <a:gd name="connsiteX4" fmla="*/ 4366 w 42044"/>
                    <a:gd name="connsiteY4" fmla="*/ 56458 h 65130"/>
                    <a:gd name="connsiteX5" fmla="*/ 4426 w 42044"/>
                    <a:gd name="connsiteY5" fmla="*/ 56219 h 65130"/>
                    <a:gd name="connsiteX6" fmla="*/ 4426 w 42044"/>
                    <a:gd name="connsiteY6" fmla="*/ 56159 h 65130"/>
                    <a:gd name="connsiteX7" fmla="*/ 4605 w 42044"/>
                    <a:gd name="connsiteY7" fmla="*/ 54724 h 65130"/>
                    <a:gd name="connsiteX8" fmla="*/ 4665 w 42044"/>
                    <a:gd name="connsiteY8" fmla="*/ 54425 h 65130"/>
                    <a:gd name="connsiteX9" fmla="*/ 4785 w 42044"/>
                    <a:gd name="connsiteY9" fmla="*/ 53707 h 65130"/>
                    <a:gd name="connsiteX10" fmla="*/ 4844 w 42044"/>
                    <a:gd name="connsiteY10" fmla="*/ 53109 h 65130"/>
                    <a:gd name="connsiteX11" fmla="*/ 5083 w 42044"/>
                    <a:gd name="connsiteY11" fmla="*/ 51135 h 65130"/>
                    <a:gd name="connsiteX12" fmla="*/ 5203 w 42044"/>
                    <a:gd name="connsiteY12" fmla="*/ 50358 h 65130"/>
                    <a:gd name="connsiteX13" fmla="*/ 5263 w 42044"/>
                    <a:gd name="connsiteY13" fmla="*/ 49879 h 65130"/>
                    <a:gd name="connsiteX14" fmla="*/ 5502 w 42044"/>
                    <a:gd name="connsiteY14" fmla="*/ 47965 h 65130"/>
                    <a:gd name="connsiteX15" fmla="*/ 6639 w 42044"/>
                    <a:gd name="connsiteY15" fmla="*/ 39533 h 65130"/>
                    <a:gd name="connsiteX16" fmla="*/ 7416 w 42044"/>
                    <a:gd name="connsiteY16" fmla="*/ 33492 h 65130"/>
                    <a:gd name="connsiteX17" fmla="*/ 7476 w 42044"/>
                    <a:gd name="connsiteY17" fmla="*/ 33253 h 65130"/>
                    <a:gd name="connsiteX18" fmla="*/ 10107 w 42044"/>
                    <a:gd name="connsiteY18" fmla="*/ 26973 h 65130"/>
                    <a:gd name="connsiteX19" fmla="*/ 10825 w 42044"/>
                    <a:gd name="connsiteY19" fmla="*/ 25239 h 65130"/>
                    <a:gd name="connsiteX20" fmla="*/ 11244 w 42044"/>
                    <a:gd name="connsiteY20" fmla="*/ 24282 h 65130"/>
                    <a:gd name="connsiteX21" fmla="*/ 15490 w 42044"/>
                    <a:gd name="connsiteY21" fmla="*/ 18660 h 65130"/>
                    <a:gd name="connsiteX22" fmla="*/ 21291 w 42044"/>
                    <a:gd name="connsiteY22" fmla="*/ 10945 h 65130"/>
                    <a:gd name="connsiteX23" fmla="*/ 25837 w 42044"/>
                    <a:gd name="connsiteY23" fmla="*/ 4904 h 65130"/>
                    <a:gd name="connsiteX24" fmla="*/ 27093 w 42044"/>
                    <a:gd name="connsiteY24" fmla="*/ 3230 h 65130"/>
                    <a:gd name="connsiteX25" fmla="*/ 28408 w 42044"/>
                    <a:gd name="connsiteY25" fmla="*/ 1495 h 65130"/>
                    <a:gd name="connsiteX26" fmla="*/ 30920 w 42044"/>
                    <a:gd name="connsiteY26" fmla="*/ 60 h 65130"/>
                    <a:gd name="connsiteX27" fmla="*/ 31040 w 42044"/>
                    <a:gd name="connsiteY27" fmla="*/ 0 h 65130"/>
                    <a:gd name="connsiteX28" fmla="*/ 35346 w 42044"/>
                    <a:gd name="connsiteY28" fmla="*/ 1794 h 65130"/>
                    <a:gd name="connsiteX29" fmla="*/ 36004 w 42044"/>
                    <a:gd name="connsiteY29" fmla="*/ 2093 h 65130"/>
                    <a:gd name="connsiteX30" fmla="*/ 37798 w 42044"/>
                    <a:gd name="connsiteY30" fmla="*/ 2811 h 65130"/>
                    <a:gd name="connsiteX31" fmla="*/ 37858 w 42044"/>
                    <a:gd name="connsiteY31" fmla="*/ 2811 h 65130"/>
                    <a:gd name="connsiteX32" fmla="*/ 38994 w 42044"/>
                    <a:gd name="connsiteY32" fmla="*/ 3529 h 65130"/>
                    <a:gd name="connsiteX33" fmla="*/ 39473 w 42044"/>
                    <a:gd name="connsiteY33" fmla="*/ 3828 h 65130"/>
                    <a:gd name="connsiteX34" fmla="*/ 40310 w 42044"/>
                    <a:gd name="connsiteY34" fmla="*/ 4366 h 65130"/>
                    <a:gd name="connsiteX35" fmla="*/ 41207 w 42044"/>
                    <a:gd name="connsiteY35" fmla="*/ 4904 h 65130"/>
                    <a:gd name="connsiteX36" fmla="*/ 41386 w 42044"/>
                    <a:gd name="connsiteY36" fmla="*/ 6160 h 65130"/>
                    <a:gd name="connsiteX37" fmla="*/ 42045 w 42044"/>
                    <a:gd name="connsiteY37" fmla="*/ 11782 h 6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044" h="65130">
                      <a:moveTo>
                        <a:pt x="0" y="65130"/>
                      </a:moveTo>
                      <a:lnTo>
                        <a:pt x="1974" y="61781"/>
                      </a:lnTo>
                      <a:lnTo>
                        <a:pt x="2632" y="60346"/>
                      </a:lnTo>
                      <a:lnTo>
                        <a:pt x="4306" y="56637"/>
                      </a:lnTo>
                      <a:lnTo>
                        <a:pt x="4366" y="56458"/>
                      </a:lnTo>
                      <a:lnTo>
                        <a:pt x="4426" y="56219"/>
                      </a:lnTo>
                      <a:lnTo>
                        <a:pt x="4426" y="56159"/>
                      </a:lnTo>
                      <a:lnTo>
                        <a:pt x="4605" y="54724"/>
                      </a:lnTo>
                      <a:lnTo>
                        <a:pt x="4665" y="54425"/>
                      </a:lnTo>
                      <a:lnTo>
                        <a:pt x="4785" y="53707"/>
                      </a:lnTo>
                      <a:lnTo>
                        <a:pt x="4844" y="53109"/>
                      </a:lnTo>
                      <a:lnTo>
                        <a:pt x="5083" y="51135"/>
                      </a:lnTo>
                      <a:lnTo>
                        <a:pt x="5203" y="50358"/>
                      </a:lnTo>
                      <a:lnTo>
                        <a:pt x="5263" y="49879"/>
                      </a:lnTo>
                      <a:lnTo>
                        <a:pt x="5502" y="47965"/>
                      </a:lnTo>
                      <a:lnTo>
                        <a:pt x="6639" y="39533"/>
                      </a:lnTo>
                      <a:lnTo>
                        <a:pt x="7416" y="33492"/>
                      </a:lnTo>
                      <a:lnTo>
                        <a:pt x="7476" y="33253"/>
                      </a:lnTo>
                      <a:lnTo>
                        <a:pt x="10107" y="26973"/>
                      </a:lnTo>
                      <a:lnTo>
                        <a:pt x="10825" y="25239"/>
                      </a:lnTo>
                      <a:lnTo>
                        <a:pt x="11244" y="24282"/>
                      </a:lnTo>
                      <a:lnTo>
                        <a:pt x="15490" y="18660"/>
                      </a:lnTo>
                      <a:lnTo>
                        <a:pt x="21291" y="10945"/>
                      </a:lnTo>
                      <a:lnTo>
                        <a:pt x="25837" y="4904"/>
                      </a:lnTo>
                      <a:lnTo>
                        <a:pt x="27093" y="3230"/>
                      </a:lnTo>
                      <a:lnTo>
                        <a:pt x="28408" y="1495"/>
                      </a:lnTo>
                      <a:lnTo>
                        <a:pt x="30920" y="60"/>
                      </a:lnTo>
                      <a:lnTo>
                        <a:pt x="31040" y="0"/>
                      </a:lnTo>
                      <a:lnTo>
                        <a:pt x="35346" y="1794"/>
                      </a:lnTo>
                      <a:lnTo>
                        <a:pt x="36004" y="2093"/>
                      </a:lnTo>
                      <a:lnTo>
                        <a:pt x="37798" y="2811"/>
                      </a:lnTo>
                      <a:lnTo>
                        <a:pt x="37858" y="2811"/>
                      </a:lnTo>
                      <a:lnTo>
                        <a:pt x="38994" y="3529"/>
                      </a:lnTo>
                      <a:lnTo>
                        <a:pt x="39473" y="3828"/>
                      </a:lnTo>
                      <a:lnTo>
                        <a:pt x="40310" y="4366"/>
                      </a:lnTo>
                      <a:lnTo>
                        <a:pt x="41207" y="4904"/>
                      </a:lnTo>
                      <a:lnTo>
                        <a:pt x="41386" y="6160"/>
                      </a:lnTo>
                      <a:lnTo>
                        <a:pt x="42045" y="11782"/>
                      </a:lnTo>
                    </a:path>
                  </a:pathLst>
                </a:custGeom>
                <a:noFill/>
                <a:ln w="6350" cap="rnd">
                  <a:solidFill>
                    <a:schemeClr val="bg1">
                      <a:alpha val="40000"/>
                    </a:schemeClr>
                  </a:solidFill>
                  <a:prstDash val="solid"/>
                  <a:round/>
                </a:ln>
              </p:spPr>
              <p:txBody>
                <a:bodyPr rtlCol="0" anchor="ctr"/>
                <a:lstStyle/>
                <a:p>
                  <a:endParaRPr lang="en-GB"/>
                </a:p>
              </p:txBody>
            </p:sp>
            <p:sp>
              <p:nvSpPr>
                <p:cNvPr id="6470" name="Vrije vorm: vorm 6469">
                  <a:extLst>
                    <a:ext uri="{FF2B5EF4-FFF2-40B4-BE49-F238E27FC236}">
                      <a16:creationId xmlns:a16="http://schemas.microsoft.com/office/drawing/2014/main" id="{1FC3C1A9-2F0C-455F-9E5E-632148D9A2ED}"/>
                    </a:ext>
                  </a:extLst>
                </p:cNvPr>
                <p:cNvSpPr/>
                <p:nvPr/>
              </p:nvSpPr>
              <p:spPr>
                <a:xfrm>
                  <a:off x="6754766" y="1919254"/>
                  <a:ext cx="13995" cy="10585"/>
                </a:xfrm>
                <a:custGeom>
                  <a:avLst/>
                  <a:gdLst>
                    <a:gd name="connsiteX0" fmla="*/ 9450 w 13995"/>
                    <a:gd name="connsiteY0" fmla="*/ 10586 h 10585"/>
                    <a:gd name="connsiteX1" fmla="*/ 9091 w 13995"/>
                    <a:gd name="connsiteY1" fmla="*/ 10466 h 10585"/>
                    <a:gd name="connsiteX2" fmla="*/ 8493 w 13995"/>
                    <a:gd name="connsiteY2" fmla="*/ 10227 h 10585"/>
                    <a:gd name="connsiteX3" fmla="*/ 7775 w 13995"/>
                    <a:gd name="connsiteY3" fmla="*/ 9988 h 10585"/>
                    <a:gd name="connsiteX4" fmla="*/ 7357 w 13995"/>
                    <a:gd name="connsiteY4" fmla="*/ 9868 h 10585"/>
                    <a:gd name="connsiteX5" fmla="*/ 4426 w 13995"/>
                    <a:gd name="connsiteY5" fmla="*/ 8792 h 10585"/>
                    <a:gd name="connsiteX6" fmla="*/ 3469 w 13995"/>
                    <a:gd name="connsiteY6" fmla="*/ 8433 h 10585"/>
                    <a:gd name="connsiteX7" fmla="*/ 3409 w 13995"/>
                    <a:gd name="connsiteY7" fmla="*/ 8373 h 10585"/>
                    <a:gd name="connsiteX8" fmla="*/ 2333 w 13995"/>
                    <a:gd name="connsiteY8" fmla="*/ 8014 h 10585"/>
                    <a:gd name="connsiteX9" fmla="*/ 2034 w 13995"/>
                    <a:gd name="connsiteY9" fmla="*/ 7895 h 10585"/>
                    <a:gd name="connsiteX10" fmla="*/ 1735 w 13995"/>
                    <a:gd name="connsiteY10" fmla="*/ 7775 h 10585"/>
                    <a:gd name="connsiteX11" fmla="*/ 1555 w 13995"/>
                    <a:gd name="connsiteY11" fmla="*/ 7715 h 10585"/>
                    <a:gd name="connsiteX12" fmla="*/ 419 w 13995"/>
                    <a:gd name="connsiteY12" fmla="*/ 5742 h 10585"/>
                    <a:gd name="connsiteX13" fmla="*/ 0 w 13995"/>
                    <a:gd name="connsiteY13" fmla="*/ 5084 h 10585"/>
                    <a:gd name="connsiteX14" fmla="*/ 479 w 13995"/>
                    <a:gd name="connsiteY14" fmla="*/ 1854 h 10585"/>
                    <a:gd name="connsiteX15" fmla="*/ 2990 w 13995"/>
                    <a:gd name="connsiteY15" fmla="*/ 0 h 10585"/>
                    <a:gd name="connsiteX16" fmla="*/ 3230 w 13995"/>
                    <a:gd name="connsiteY16" fmla="*/ 0 h 10585"/>
                    <a:gd name="connsiteX17" fmla="*/ 3649 w 13995"/>
                    <a:gd name="connsiteY17" fmla="*/ 60 h 10585"/>
                    <a:gd name="connsiteX18" fmla="*/ 4845 w 13995"/>
                    <a:gd name="connsiteY18" fmla="*/ 179 h 10585"/>
                    <a:gd name="connsiteX19" fmla="*/ 5921 w 13995"/>
                    <a:gd name="connsiteY19" fmla="*/ 299 h 10585"/>
                    <a:gd name="connsiteX20" fmla="*/ 7357 w 13995"/>
                    <a:gd name="connsiteY20" fmla="*/ 837 h 10585"/>
                    <a:gd name="connsiteX21" fmla="*/ 7895 w 13995"/>
                    <a:gd name="connsiteY21" fmla="*/ 1017 h 10585"/>
                    <a:gd name="connsiteX22" fmla="*/ 10466 w 13995"/>
                    <a:gd name="connsiteY22" fmla="*/ 1974 h 10585"/>
                    <a:gd name="connsiteX23" fmla="*/ 11364 w 13995"/>
                    <a:gd name="connsiteY23" fmla="*/ 2273 h 10585"/>
                    <a:gd name="connsiteX24" fmla="*/ 13995 w 13995"/>
                    <a:gd name="connsiteY24" fmla="*/ 3230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995" h="10585">
                      <a:moveTo>
                        <a:pt x="9450" y="10586"/>
                      </a:moveTo>
                      <a:lnTo>
                        <a:pt x="9091" y="10466"/>
                      </a:lnTo>
                      <a:lnTo>
                        <a:pt x="8493" y="10227"/>
                      </a:lnTo>
                      <a:lnTo>
                        <a:pt x="7775" y="9988"/>
                      </a:lnTo>
                      <a:lnTo>
                        <a:pt x="7357" y="9868"/>
                      </a:lnTo>
                      <a:lnTo>
                        <a:pt x="4426" y="8792"/>
                      </a:lnTo>
                      <a:lnTo>
                        <a:pt x="3469" y="8433"/>
                      </a:lnTo>
                      <a:lnTo>
                        <a:pt x="3409" y="8373"/>
                      </a:lnTo>
                      <a:lnTo>
                        <a:pt x="2333" y="8014"/>
                      </a:lnTo>
                      <a:lnTo>
                        <a:pt x="2034" y="7895"/>
                      </a:lnTo>
                      <a:lnTo>
                        <a:pt x="1735" y="7775"/>
                      </a:lnTo>
                      <a:lnTo>
                        <a:pt x="1555" y="7715"/>
                      </a:lnTo>
                      <a:lnTo>
                        <a:pt x="419" y="5742"/>
                      </a:lnTo>
                      <a:lnTo>
                        <a:pt x="0" y="5084"/>
                      </a:lnTo>
                      <a:lnTo>
                        <a:pt x="479" y="1854"/>
                      </a:lnTo>
                      <a:lnTo>
                        <a:pt x="2990" y="0"/>
                      </a:lnTo>
                      <a:lnTo>
                        <a:pt x="3230" y="0"/>
                      </a:lnTo>
                      <a:lnTo>
                        <a:pt x="3649" y="60"/>
                      </a:lnTo>
                      <a:lnTo>
                        <a:pt x="4845" y="179"/>
                      </a:lnTo>
                      <a:lnTo>
                        <a:pt x="5921" y="299"/>
                      </a:lnTo>
                      <a:lnTo>
                        <a:pt x="7357" y="837"/>
                      </a:lnTo>
                      <a:lnTo>
                        <a:pt x="7895" y="1017"/>
                      </a:lnTo>
                      <a:lnTo>
                        <a:pt x="10466" y="1974"/>
                      </a:lnTo>
                      <a:lnTo>
                        <a:pt x="11364" y="2273"/>
                      </a:lnTo>
                      <a:lnTo>
                        <a:pt x="13995" y="3230"/>
                      </a:lnTo>
                    </a:path>
                  </a:pathLst>
                </a:custGeom>
                <a:noFill/>
                <a:ln w="6350" cap="rnd">
                  <a:solidFill>
                    <a:schemeClr val="bg1">
                      <a:alpha val="40000"/>
                    </a:schemeClr>
                  </a:solidFill>
                  <a:prstDash val="solid"/>
                  <a:round/>
                </a:ln>
              </p:spPr>
              <p:txBody>
                <a:bodyPr rtlCol="0" anchor="ctr"/>
                <a:lstStyle/>
                <a:p>
                  <a:endParaRPr lang="en-GB"/>
                </a:p>
              </p:txBody>
            </p:sp>
            <p:sp>
              <p:nvSpPr>
                <p:cNvPr id="6471" name="Vrije vorm: vorm 6470">
                  <a:extLst>
                    <a:ext uri="{FF2B5EF4-FFF2-40B4-BE49-F238E27FC236}">
                      <a16:creationId xmlns:a16="http://schemas.microsoft.com/office/drawing/2014/main" id="{4936A999-99CF-4939-B601-46816AE27A66}"/>
                    </a:ext>
                  </a:extLst>
                </p:cNvPr>
                <p:cNvSpPr/>
                <p:nvPr/>
              </p:nvSpPr>
              <p:spPr>
                <a:xfrm>
                  <a:off x="6780962" y="1922603"/>
                  <a:ext cx="5083" cy="3947"/>
                </a:xfrm>
                <a:custGeom>
                  <a:avLst/>
                  <a:gdLst>
                    <a:gd name="connsiteX0" fmla="*/ 5084 w 5083"/>
                    <a:gd name="connsiteY0" fmla="*/ 2751 h 3947"/>
                    <a:gd name="connsiteX1" fmla="*/ 4366 w 5083"/>
                    <a:gd name="connsiteY1" fmla="*/ 3947 h 3947"/>
                    <a:gd name="connsiteX2" fmla="*/ 2273 w 5083"/>
                    <a:gd name="connsiteY2" fmla="*/ 2871 h 3947"/>
                    <a:gd name="connsiteX3" fmla="*/ 2034 w 5083"/>
                    <a:gd name="connsiteY3" fmla="*/ 2751 h 3947"/>
                    <a:gd name="connsiteX4" fmla="*/ 1615 w 5083"/>
                    <a:gd name="connsiteY4" fmla="*/ 2452 h 3947"/>
                    <a:gd name="connsiteX5" fmla="*/ 897 w 5083"/>
                    <a:gd name="connsiteY5" fmla="*/ 1974 h 3947"/>
                    <a:gd name="connsiteX6" fmla="*/ 60 w 5083"/>
                    <a:gd name="connsiteY6" fmla="*/ 1435 h 3947"/>
                    <a:gd name="connsiteX7" fmla="*/ 0 w 5083"/>
                    <a:gd name="connsiteY7" fmla="*/ 1136 h 3947"/>
                    <a:gd name="connsiteX8" fmla="*/ 180 w 5083"/>
                    <a:gd name="connsiteY8" fmla="*/ 837 h 3947"/>
                    <a:gd name="connsiteX9" fmla="*/ 658 w 5083"/>
                    <a:gd name="connsiteY9" fmla="*/ 0 h 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83" h="3947">
                      <a:moveTo>
                        <a:pt x="5084" y="2751"/>
                      </a:moveTo>
                      <a:lnTo>
                        <a:pt x="4366" y="3947"/>
                      </a:lnTo>
                      <a:lnTo>
                        <a:pt x="2273" y="2871"/>
                      </a:lnTo>
                      <a:lnTo>
                        <a:pt x="2034" y="2751"/>
                      </a:lnTo>
                      <a:lnTo>
                        <a:pt x="1615" y="2452"/>
                      </a:lnTo>
                      <a:lnTo>
                        <a:pt x="897" y="1974"/>
                      </a:lnTo>
                      <a:lnTo>
                        <a:pt x="60" y="1435"/>
                      </a:lnTo>
                      <a:lnTo>
                        <a:pt x="0" y="1136"/>
                      </a:lnTo>
                      <a:lnTo>
                        <a:pt x="180" y="837"/>
                      </a:lnTo>
                      <a:lnTo>
                        <a:pt x="658" y="0"/>
                      </a:lnTo>
                    </a:path>
                  </a:pathLst>
                </a:custGeom>
                <a:noFill/>
                <a:ln w="6350" cap="rnd">
                  <a:solidFill>
                    <a:schemeClr val="bg1">
                      <a:alpha val="40000"/>
                    </a:schemeClr>
                  </a:solidFill>
                  <a:prstDash val="solid"/>
                  <a:round/>
                </a:ln>
              </p:spPr>
              <p:txBody>
                <a:bodyPr rtlCol="0" anchor="ctr"/>
                <a:lstStyle/>
                <a:p>
                  <a:endParaRPr lang="en-GB"/>
                </a:p>
              </p:txBody>
            </p:sp>
            <p:sp>
              <p:nvSpPr>
                <p:cNvPr id="6472" name="Vrije vorm: vorm 6471">
                  <a:extLst>
                    <a:ext uri="{FF2B5EF4-FFF2-40B4-BE49-F238E27FC236}">
                      <a16:creationId xmlns:a16="http://schemas.microsoft.com/office/drawing/2014/main" id="{A265B43C-490D-4712-A506-4DE3B0BA213E}"/>
                    </a:ext>
                  </a:extLst>
                </p:cNvPr>
                <p:cNvSpPr/>
                <p:nvPr/>
              </p:nvSpPr>
              <p:spPr>
                <a:xfrm>
                  <a:off x="6784431" y="1883010"/>
                  <a:ext cx="2272" cy="2332"/>
                </a:xfrm>
                <a:custGeom>
                  <a:avLst/>
                  <a:gdLst>
                    <a:gd name="connsiteX0" fmla="*/ 0 w 2272"/>
                    <a:gd name="connsiteY0" fmla="*/ 0 h 2332"/>
                    <a:gd name="connsiteX1" fmla="*/ 1734 w 2272"/>
                    <a:gd name="connsiteY1" fmla="*/ 1136 h 2332"/>
                    <a:gd name="connsiteX2" fmla="*/ 2273 w 2272"/>
                    <a:gd name="connsiteY2" fmla="*/ 1495 h 2332"/>
                    <a:gd name="connsiteX3" fmla="*/ 2273 w 2272"/>
                    <a:gd name="connsiteY3" fmla="*/ 1495 h 2332"/>
                    <a:gd name="connsiteX4" fmla="*/ 2213 w 2272"/>
                    <a:gd name="connsiteY4" fmla="*/ 1615 h 2332"/>
                    <a:gd name="connsiteX5" fmla="*/ 2034 w 2272"/>
                    <a:gd name="connsiteY5" fmla="*/ 2332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2" h="2332">
                      <a:moveTo>
                        <a:pt x="0" y="0"/>
                      </a:moveTo>
                      <a:lnTo>
                        <a:pt x="1734" y="1136"/>
                      </a:lnTo>
                      <a:lnTo>
                        <a:pt x="2273" y="1495"/>
                      </a:lnTo>
                      <a:lnTo>
                        <a:pt x="2273" y="1495"/>
                      </a:lnTo>
                      <a:lnTo>
                        <a:pt x="2213" y="1615"/>
                      </a:lnTo>
                      <a:lnTo>
                        <a:pt x="2034" y="2332"/>
                      </a:lnTo>
                    </a:path>
                  </a:pathLst>
                </a:custGeom>
                <a:noFill/>
                <a:ln w="6350" cap="rnd">
                  <a:solidFill>
                    <a:schemeClr val="bg1">
                      <a:alpha val="40000"/>
                    </a:schemeClr>
                  </a:solidFill>
                  <a:prstDash val="solid"/>
                  <a:round/>
                </a:ln>
              </p:spPr>
              <p:txBody>
                <a:bodyPr rtlCol="0" anchor="ctr"/>
                <a:lstStyle/>
                <a:p>
                  <a:endParaRPr lang="en-GB"/>
                </a:p>
              </p:txBody>
            </p:sp>
            <p:sp>
              <p:nvSpPr>
                <p:cNvPr id="6473" name="Vrije vorm: vorm 6472">
                  <a:extLst>
                    <a:ext uri="{FF2B5EF4-FFF2-40B4-BE49-F238E27FC236}">
                      <a16:creationId xmlns:a16="http://schemas.microsoft.com/office/drawing/2014/main" id="{83200239-45EA-4279-BEAE-9DBB467C0129}"/>
                    </a:ext>
                  </a:extLst>
                </p:cNvPr>
                <p:cNvSpPr/>
                <p:nvPr/>
              </p:nvSpPr>
              <p:spPr>
                <a:xfrm>
                  <a:off x="6946209" y="1721112"/>
                  <a:ext cx="10885" cy="10944"/>
                </a:xfrm>
                <a:custGeom>
                  <a:avLst/>
                  <a:gdLst>
                    <a:gd name="connsiteX0" fmla="*/ 4665 w 10885"/>
                    <a:gd name="connsiteY0" fmla="*/ 10885 h 10944"/>
                    <a:gd name="connsiteX1" fmla="*/ 3409 w 10885"/>
                    <a:gd name="connsiteY1" fmla="*/ 10167 h 10944"/>
                    <a:gd name="connsiteX2" fmla="*/ 2093 w 10885"/>
                    <a:gd name="connsiteY2" fmla="*/ 9450 h 10944"/>
                    <a:gd name="connsiteX3" fmla="*/ 1137 w 10885"/>
                    <a:gd name="connsiteY3" fmla="*/ 8792 h 10944"/>
                    <a:gd name="connsiteX4" fmla="*/ 1077 w 10885"/>
                    <a:gd name="connsiteY4" fmla="*/ 8732 h 10944"/>
                    <a:gd name="connsiteX5" fmla="*/ 479 w 10885"/>
                    <a:gd name="connsiteY5" fmla="*/ 7237 h 10944"/>
                    <a:gd name="connsiteX6" fmla="*/ 419 w 10885"/>
                    <a:gd name="connsiteY6" fmla="*/ 6997 h 10944"/>
                    <a:gd name="connsiteX7" fmla="*/ 60 w 10885"/>
                    <a:gd name="connsiteY7" fmla="*/ 6040 h 10944"/>
                    <a:gd name="connsiteX8" fmla="*/ 0 w 10885"/>
                    <a:gd name="connsiteY8" fmla="*/ 5861 h 10944"/>
                    <a:gd name="connsiteX9" fmla="*/ 0 w 10885"/>
                    <a:gd name="connsiteY9" fmla="*/ 5741 h 10944"/>
                    <a:gd name="connsiteX10" fmla="*/ 120 w 10885"/>
                    <a:gd name="connsiteY10" fmla="*/ 5263 h 10944"/>
                    <a:gd name="connsiteX11" fmla="*/ 120 w 10885"/>
                    <a:gd name="connsiteY11" fmla="*/ 5263 h 10944"/>
                    <a:gd name="connsiteX12" fmla="*/ 180 w 10885"/>
                    <a:gd name="connsiteY12" fmla="*/ 5024 h 10944"/>
                    <a:gd name="connsiteX13" fmla="*/ 180 w 10885"/>
                    <a:gd name="connsiteY13" fmla="*/ 4904 h 10944"/>
                    <a:gd name="connsiteX14" fmla="*/ 239 w 10885"/>
                    <a:gd name="connsiteY14" fmla="*/ 4725 h 10944"/>
                    <a:gd name="connsiteX15" fmla="*/ 299 w 10885"/>
                    <a:gd name="connsiteY15" fmla="*/ 4366 h 10944"/>
                    <a:gd name="connsiteX16" fmla="*/ 359 w 10885"/>
                    <a:gd name="connsiteY16" fmla="*/ 4007 h 10944"/>
                    <a:gd name="connsiteX17" fmla="*/ 538 w 10885"/>
                    <a:gd name="connsiteY17" fmla="*/ 3170 h 10944"/>
                    <a:gd name="connsiteX18" fmla="*/ 538 w 10885"/>
                    <a:gd name="connsiteY18" fmla="*/ 3170 h 10944"/>
                    <a:gd name="connsiteX19" fmla="*/ 598 w 10885"/>
                    <a:gd name="connsiteY19" fmla="*/ 2811 h 10944"/>
                    <a:gd name="connsiteX20" fmla="*/ 598 w 10885"/>
                    <a:gd name="connsiteY20" fmla="*/ 2751 h 10944"/>
                    <a:gd name="connsiteX21" fmla="*/ 1316 w 10885"/>
                    <a:gd name="connsiteY21" fmla="*/ 2093 h 10944"/>
                    <a:gd name="connsiteX22" fmla="*/ 1316 w 10885"/>
                    <a:gd name="connsiteY22" fmla="*/ 2093 h 10944"/>
                    <a:gd name="connsiteX23" fmla="*/ 1615 w 10885"/>
                    <a:gd name="connsiteY23" fmla="*/ 1794 h 10944"/>
                    <a:gd name="connsiteX24" fmla="*/ 1675 w 10885"/>
                    <a:gd name="connsiteY24" fmla="*/ 1734 h 10944"/>
                    <a:gd name="connsiteX25" fmla="*/ 1735 w 10885"/>
                    <a:gd name="connsiteY25" fmla="*/ 1675 h 10944"/>
                    <a:gd name="connsiteX26" fmla="*/ 2930 w 10885"/>
                    <a:gd name="connsiteY26" fmla="*/ 538 h 10944"/>
                    <a:gd name="connsiteX27" fmla="*/ 6041 w 10885"/>
                    <a:gd name="connsiteY27" fmla="*/ 0 h 10944"/>
                    <a:gd name="connsiteX28" fmla="*/ 8672 w 10885"/>
                    <a:gd name="connsiteY28" fmla="*/ 1435 h 10944"/>
                    <a:gd name="connsiteX29" fmla="*/ 8911 w 10885"/>
                    <a:gd name="connsiteY29" fmla="*/ 1555 h 10944"/>
                    <a:gd name="connsiteX30" fmla="*/ 9390 w 10885"/>
                    <a:gd name="connsiteY30" fmla="*/ 1854 h 10944"/>
                    <a:gd name="connsiteX31" fmla="*/ 9689 w 10885"/>
                    <a:gd name="connsiteY31" fmla="*/ 2033 h 10944"/>
                    <a:gd name="connsiteX32" fmla="*/ 9689 w 10885"/>
                    <a:gd name="connsiteY32" fmla="*/ 2093 h 10944"/>
                    <a:gd name="connsiteX33" fmla="*/ 9988 w 10885"/>
                    <a:gd name="connsiteY33" fmla="*/ 2751 h 10944"/>
                    <a:gd name="connsiteX34" fmla="*/ 10885 w 10885"/>
                    <a:gd name="connsiteY34" fmla="*/ 4904 h 10944"/>
                    <a:gd name="connsiteX35" fmla="*/ 10586 w 10885"/>
                    <a:gd name="connsiteY35" fmla="*/ 6160 h 10944"/>
                    <a:gd name="connsiteX36" fmla="*/ 10466 w 10885"/>
                    <a:gd name="connsiteY36" fmla="*/ 6579 h 10944"/>
                    <a:gd name="connsiteX37" fmla="*/ 10466 w 10885"/>
                    <a:gd name="connsiteY37" fmla="*/ 6639 h 10944"/>
                    <a:gd name="connsiteX38" fmla="*/ 10347 w 10885"/>
                    <a:gd name="connsiteY38" fmla="*/ 7237 h 10944"/>
                    <a:gd name="connsiteX39" fmla="*/ 10287 w 10885"/>
                    <a:gd name="connsiteY39" fmla="*/ 7536 h 10944"/>
                    <a:gd name="connsiteX40" fmla="*/ 10168 w 10885"/>
                    <a:gd name="connsiteY40" fmla="*/ 8134 h 10944"/>
                    <a:gd name="connsiteX41" fmla="*/ 9211 w 10885"/>
                    <a:gd name="connsiteY41" fmla="*/ 9091 h 10944"/>
                    <a:gd name="connsiteX42" fmla="*/ 9091 w 10885"/>
                    <a:gd name="connsiteY42" fmla="*/ 9210 h 10944"/>
                    <a:gd name="connsiteX43" fmla="*/ 8613 w 10885"/>
                    <a:gd name="connsiteY43" fmla="*/ 9689 h 10944"/>
                    <a:gd name="connsiteX44" fmla="*/ 8613 w 10885"/>
                    <a:gd name="connsiteY44" fmla="*/ 9689 h 10944"/>
                    <a:gd name="connsiteX45" fmla="*/ 8553 w 10885"/>
                    <a:gd name="connsiteY45" fmla="*/ 9749 h 10944"/>
                    <a:gd name="connsiteX46" fmla="*/ 8553 w 10885"/>
                    <a:gd name="connsiteY46" fmla="*/ 9749 h 10944"/>
                    <a:gd name="connsiteX47" fmla="*/ 7955 w 10885"/>
                    <a:gd name="connsiteY47" fmla="*/ 10287 h 10944"/>
                    <a:gd name="connsiteX48" fmla="*/ 7835 w 10885"/>
                    <a:gd name="connsiteY48" fmla="*/ 10406 h 10944"/>
                    <a:gd name="connsiteX49" fmla="*/ 7656 w 10885"/>
                    <a:gd name="connsiteY49" fmla="*/ 10466 h 10944"/>
                    <a:gd name="connsiteX50" fmla="*/ 7058 w 10885"/>
                    <a:gd name="connsiteY50" fmla="*/ 10586 h 10944"/>
                    <a:gd name="connsiteX51" fmla="*/ 6938 w 10885"/>
                    <a:gd name="connsiteY51" fmla="*/ 10586 h 10944"/>
                    <a:gd name="connsiteX52" fmla="*/ 6639 w 10885"/>
                    <a:gd name="connsiteY52" fmla="*/ 10646 h 10944"/>
                    <a:gd name="connsiteX53" fmla="*/ 4964 w 10885"/>
                    <a:gd name="connsiteY53" fmla="*/ 10945 h 10944"/>
                    <a:gd name="connsiteX54" fmla="*/ 4845 w 10885"/>
                    <a:gd name="connsiteY54" fmla="*/ 10945 h 10944"/>
                    <a:gd name="connsiteX55" fmla="*/ 4665 w 10885"/>
                    <a:gd name="connsiteY55" fmla="*/ 10885 h 1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885" h="10944">
                      <a:moveTo>
                        <a:pt x="4665" y="10885"/>
                      </a:moveTo>
                      <a:lnTo>
                        <a:pt x="3409" y="10167"/>
                      </a:lnTo>
                      <a:lnTo>
                        <a:pt x="2093" y="9450"/>
                      </a:lnTo>
                      <a:lnTo>
                        <a:pt x="1137" y="8792"/>
                      </a:lnTo>
                      <a:lnTo>
                        <a:pt x="1077" y="8732"/>
                      </a:lnTo>
                      <a:lnTo>
                        <a:pt x="479" y="7237"/>
                      </a:lnTo>
                      <a:lnTo>
                        <a:pt x="419" y="6997"/>
                      </a:lnTo>
                      <a:lnTo>
                        <a:pt x="60" y="6040"/>
                      </a:lnTo>
                      <a:lnTo>
                        <a:pt x="0" y="5861"/>
                      </a:lnTo>
                      <a:lnTo>
                        <a:pt x="0" y="5741"/>
                      </a:lnTo>
                      <a:lnTo>
                        <a:pt x="120" y="5263"/>
                      </a:lnTo>
                      <a:lnTo>
                        <a:pt x="120" y="5263"/>
                      </a:lnTo>
                      <a:lnTo>
                        <a:pt x="180" y="5024"/>
                      </a:lnTo>
                      <a:lnTo>
                        <a:pt x="180" y="4904"/>
                      </a:lnTo>
                      <a:lnTo>
                        <a:pt x="239" y="4725"/>
                      </a:lnTo>
                      <a:lnTo>
                        <a:pt x="299" y="4366"/>
                      </a:lnTo>
                      <a:lnTo>
                        <a:pt x="359" y="4007"/>
                      </a:lnTo>
                      <a:lnTo>
                        <a:pt x="538" y="3170"/>
                      </a:lnTo>
                      <a:lnTo>
                        <a:pt x="538" y="3170"/>
                      </a:lnTo>
                      <a:lnTo>
                        <a:pt x="598" y="2811"/>
                      </a:lnTo>
                      <a:lnTo>
                        <a:pt x="598" y="2751"/>
                      </a:lnTo>
                      <a:lnTo>
                        <a:pt x="1316" y="2093"/>
                      </a:lnTo>
                      <a:lnTo>
                        <a:pt x="1316" y="2093"/>
                      </a:lnTo>
                      <a:lnTo>
                        <a:pt x="1615" y="1794"/>
                      </a:lnTo>
                      <a:lnTo>
                        <a:pt x="1675" y="1734"/>
                      </a:lnTo>
                      <a:lnTo>
                        <a:pt x="1735" y="1675"/>
                      </a:lnTo>
                      <a:lnTo>
                        <a:pt x="2930" y="538"/>
                      </a:lnTo>
                      <a:lnTo>
                        <a:pt x="6041" y="0"/>
                      </a:lnTo>
                      <a:lnTo>
                        <a:pt x="8672" y="1435"/>
                      </a:lnTo>
                      <a:lnTo>
                        <a:pt x="8911" y="1555"/>
                      </a:lnTo>
                      <a:lnTo>
                        <a:pt x="9390" y="1854"/>
                      </a:lnTo>
                      <a:lnTo>
                        <a:pt x="9689" y="2033"/>
                      </a:lnTo>
                      <a:lnTo>
                        <a:pt x="9689" y="2093"/>
                      </a:lnTo>
                      <a:lnTo>
                        <a:pt x="9988" y="2751"/>
                      </a:lnTo>
                      <a:lnTo>
                        <a:pt x="10885" y="4904"/>
                      </a:lnTo>
                      <a:lnTo>
                        <a:pt x="10586" y="6160"/>
                      </a:lnTo>
                      <a:lnTo>
                        <a:pt x="10466" y="6579"/>
                      </a:lnTo>
                      <a:lnTo>
                        <a:pt x="10466" y="6639"/>
                      </a:lnTo>
                      <a:lnTo>
                        <a:pt x="10347" y="7237"/>
                      </a:lnTo>
                      <a:lnTo>
                        <a:pt x="10287" y="7536"/>
                      </a:lnTo>
                      <a:lnTo>
                        <a:pt x="10168" y="8134"/>
                      </a:lnTo>
                      <a:lnTo>
                        <a:pt x="9211" y="9091"/>
                      </a:lnTo>
                      <a:lnTo>
                        <a:pt x="9091" y="9210"/>
                      </a:lnTo>
                      <a:lnTo>
                        <a:pt x="8613" y="9689"/>
                      </a:lnTo>
                      <a:lnTo>
                        <a:pt x="8613" y="9689"/>
                      </a:lnTo>
                      <a:lnTo>
                        <a:pt x="8553" y="9749"/>
                      </a:lnTo>
                      <a:lnTo>
                        <a:pt x="8553" y="9749"/>
                      </a:lnTo>
                      <a:lnTo>
                        <a:pt x="7955" y="10287"/>
                      </a:lnTo>
                      <a:lnTo>
                        <a:pt x="7835" y="10406"/>
                      </a:lnTo>
                      <a:lnTo>
                        <a:pt x="7656" y="10466"/>
                      </a:lnTo>
                      <a:lnTo>
                        <a:pt x="7058" y="10586"/>
                      </a:lnTo>
                      <a:lnTo>
                        <a:pt x="6938" y="10586"/>
                      </a:lnTo>
                      <a:lnTo>
                        <a:pt x="6639" y="10646"/>
                      </a:lnTo>
                      <a:lnTo>
                        <a:pt x="4964" y="10945"/>
                      </a:lnTo>
                      <a:lnTo>
                        <a:pt x="4845" y="10945"/>
                      </a:lnTo>
                      <a:lnTo>
                        <a:pt x="4665" y="10885"/>
                      </a:lnTo>
                    </a:path>
                  </a:pathLst>
                </a:custGeom>
                <a:noFill/>
                <a:ln w="6350" cap="rnd">
                  <a:solidFill>
                    <a:schemeClr val="bg1">
                      <a:alpha val="40000"/>
                    </a:schemeClr>
                  </a:solidFill>
                  <a:prstDash val="solid"/>
                  <a:round/>
                </a:ln>
              </p:spPr>
              <p:txBody>
                <a:bodyPr rtlCol="0" anchor="ctr"/>
                <a:lstStyle/>
                <a:p>
                  <a:endParaRPr lang="en-GB"/>
                </a:p>
              </p:txBody>
            </p:sp>
            <p:sp>
              <p:nvSpPr>
                <p:cNvPr id="6474" name="Vrije vorm: vorm 6473">
                  <a:extLst>
                    <a:ext uri="{FF2B5EF4-FFF2-40B4-BE49-F238E27FC236}">
                      <a16:creationId xmlns:a16="http://schemas.microsoft.com/office/drawing/2014/main" id="{D91A3ADC-EEBD-4517-A985-D825FB0D21D0}"/>
                    </a:ext>
                  </a:extLst>
                </p:cNvPr>
                <p:cNvSpPr/>
                <p:nvPr/>
              </p:nvSpPr>
              <p:spPr>
                <a:xfrm>
                  <a:off x="6689038" y="1898142"/>
                  <a:ext cx="30920" cy="20155"/>
                </a:xfrm>
                <a:custGeom>
                  <a:avLst/>
                  <a:gdLst>
                    <a:gd name="connsiteX0" fmla="*/ 0 w 30920"/>
                    <a:gd name="connsiteY0" fmla="*/ 0 h 20155"/>
                    <a:gd name="connsiteX1" fmla="*/ 2333 w 30920"/>
                    <a:gd name="connsiteY1" fmla="*/ 1555 h 20155"/>
                    <a:gd name="connsiteX2" fmla="*/ 2572 w 30920"/>
                    <a:gd name="connsiteY2" fmla="*/ 1734 h 20155"/>
                    <a:gd name="connsiteX3" fmla="*/ 3050 w 30920"/>
                    <a:gd name="connsiteY3" fmla="*/ 2034 h 20155"/>
                    <a:gd name="connsiteX4" fmla="*/ 3947 w 30920"/>
                    <a:gd name="connsiteY4" fmla="*/ 2632 h 20155"/>
                    <a:gd name="connsiteX5" fmla="*/ 4665 w 30920"/>
                    <a:gd name="connsiteY5" fmla="*/ 3110 h 20155"/>
                    <a:gd name="connsiteX6" fmla="*/ 6519 w 30920"/>
                    <a:gd name="connsiteY6" fmla="*/ 4306 h 20155"/>
                    <a:gd name="connsiteX7" fmla="*/ 7656 w 30920"/>
                    <a:gd name="connsiteY7" fmla="*/ 5084 h 20155"/>
                    <a:gd name="connsiteX8" fmla="*/ 9330 w 30920"/>
                    <a:gd name="connsiteY8" fmla="*/ 6160 h 20155"/>
                    <a:gd name="connsiteX9" fmla="*/ 15430 w 30920"/>
                    <a:gd name="connsiteY9" fmla="*/ 10167 h 20155"/>
                    <a:gd name="connsiteX10" fmla="*/ 16567 w 30920"/>
                    <a:gd name="connsiteY10" fmla="*/ 10885 h 20155"/>
                    <a:gd name="connsiteX11" fmla="*/ 17165 w 30920"/>
                    <a:gd name="connsiteY11" fmla="*/ 11244 h 20155"/>
                    <a:gd name="connsiteX12" fmla="*/ 18780 w 30920"/>
                    <a:gd name="connsiteY12" fmla="*/ 12260 h 20155"/>
                    <a:gd name="connsiteX13" fmla="*/ 19796 w 30920"/>
                    <a:gd name="connsiteY13" fmla="*/ 12918 h 20155"/>
                    <a:gd name="connsiteX14" fmla="*/ 22189 w 30920"/>
                    <a:gd name="connsiteY14" fmla="*/ 14473 h 20155"/>
                    <a:gd name="connsiteX15" fmla="*/ 29665 w 30920"/>
                    <a:gd name="connsiteY15" fmla="*/ 19378 h 20155"/>
                    <a:gd name="connsiteX16" fmla="*/ 30083 w 30920"/>
                    <a:gd name="connsiteY16" fmla="*/ 19617 h 20155"/>
                    <a:gd name="connsiteX17" fmla="*/ 30921 w 30920"/>
                    <a:gd name="connsiteY17" fmla="*/ 20155 h 2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920" h="20155">
                      <a:moveTo>
                        <a:pt x="0" y="0"/>
                      </a:moveTo>
                      <a:lnTo>
                        <a:pt x="2333" y="1555"/>
                      </a:lnTo>
                      <a:lnTo>
                        <a:pt x="2572" y="1734"/>
                      </a:lnTo>
                      <a:lnTo>
                        <a:pt x="3050" y="2034"/>
                      </a:lnTo>
                      <a:lnTo>
                        <a:pt x="3947" y="2632"/>
                      </a:lnTo>
                      <a:lnTo>
                        <a:pt x="4665" y="3110"/>
                      </a:lnTo>
                      <a:lnTo>
                        <a:pt x="6519" y="4306"/>
                      </a:lnTo>
                      <a:lnTo>
                        <a:pt x="7656" y="5084"/>
                      </a:lnTo>
                      <a:lnTo>
                        <a:pt x="9330" y="6160"/>
                      </a:lnTo>
                      <a:lnTo>
                        <a:pt x="15430" y="10167"/>
                      </a:lnTo>
                      <a:lnTo>
                        <a:pt x="16567" y="10885"/>
                      </a:lnTo>
                      <a:lnTo>
                        <a:pt x="17165" y="11244"/>
                      </a:lnTo>
                      <a:lnTo>
                        <a:pt x="18780" y="12260"/>
                      </a:lnTo>
                      <a:lnTo>
                        <a:pt x="19796" y="12918"/>
                      </a:lnTo>
                      <a:lnTo>
                        <a:pt x="22189" y="14473"/>
                      </a:lnTo>
                      <a:lnTo>
                        <a:pt x="29665" y="19378"/>
                      </a:lnTo>
                      <a:lnTo>
                        <a:pt x="30083" y="19617"/>
                      </a:lnTo>
                      <a:lnTo>
                        <a:pt x="30921" y="20155"/>
                      </a:lnTo>
                    </a:path>
                  </a:pathLst>
                </a:custGeom>
                <a:noFill/>
                <a:ln w="6350" cap="rnd">
                  <a:solidFill>
                    <a:schemeClr val="bg1">
                      <a:alpha val="40000"/>
                    </a:schemeClr>
                  </a:solidFill>
                  <a:prstDash val="solid"/>
                  <a:round/>
                </a:ln>
              </p:spPr>
              <p:txBody>
                <a:bodyPr rtlCol="0" anchor="ctr"/>
                <a:lstStyle/>
                <a:p>
                  <a:endParaRPr lang="en-GB"/>
                </a:p>
              </p:txBody>
            </p:sp>
            <p:sp>
              <p:nvSpPr>
                <p:cNvPr id="6475" name="Vrije vorm: vorm 6474">
                  <a:extLst>
                    <a:ext uri="{FF2B5EF4-FFF2-40B4-BE49-F238E27FC236}">
                      <a16:creationId xmlns:a16="http://schemas.microsoft.com/office/drawing/2014/main" id="{B3E07F6E-8E60-443F-AC91-50998A493B09}"/>
                    </a:ext>
                  </a:extLst>
                </p:cNvPr>
                <p:cNvSpPr/>
                <p:nvPr/>
              </p:nvSpPr>
              <p:spPr>
                <a:xfrm>
                  <a:off x="7082331" y="1877209"/>
                  <a:ext cx="359" cy="478"/>
                </a:xfrm>
                <a:custGeom>
                  <a:avLst/>
                  <a:gdLst>
                    <a:gd name="connsiteX0" fmla="*/ 359 w 359"/>
                    <a:gd name="connsiteY0" fmla="*/ 0 h 478"/>
                    <a:gd name="connsiteX1" fmla="*/ 0 w 359"/>
                    <a:gd name="connsiteY1" fmla="*/ 478 h 478"/>
                  </a:gdLst>
                  <a:ahLst/>
                  <a:cxnLst>
                    <a:cxn ang="0">
                      <a:pos x="connsiteX0" y="connsiteY0"/>
                    </a:cxn>
                    <a:cxn ang="0">
                      <a:pos x="connsiteX1" y="connsiteY1"/>
                    </a:cxn>
                  </a:cxnLst>
                  <a:rect l="l" t="t" r="r" b="b"/>
                  <a:pathLst>
                    <a:path w="359" h="478">
                      <a:moveTo>
                        <a:pt x="359" y="0"/>
                      </a:moveTo>
                      <a:lnTo>
                        <a:pt x="0" y="478"/>
                      </a:lnTo>
                    </a:path>
                  </a:pathLst>
                </a:custGeom>
                <a:noFill/>
                <a:ln w="6350" cap="rnd">
                  <a:solidFill>
                    <a:schemeClr val="bg1">
                      <a:alpha val="40000"/>
                    </a:schemeClr>
                  </a:solidFill>
                  <a:prstDash val="solid"/>
                  <a:round/>
                </a:ln>
              </p:spPr>
              <p:txBody>
                <a:bodyPr rtlCol="0" anchor="ctr"/>
                <a:lstStyle/>
                <a:p>
                  <a:endParaRPr lang="en-GB"/>
                </a:p>
              </p:txBody>
            </p:sp>
            <p:sp>
              <p:nvSpPr>
                <p:cNvPr id="6476" name="Vrije vorm: vorm 6475">
                  <a:extLst>
                    <a:ext uri="{FF2B5EF4-FFF2-40B4-BE49-F238E27FC236}">
                      <a16:creationId xmlns:a16="http://schemas.microsoft.com/office/drawing/2014/main" id="{A7A6A708-6EFA-4BCF-8EF5-AAF9762BA573}"/>
                    </a:ext>
                  </a:extLst>
                </p:cNvPr>
                <p:cNvSpPr/>
                <p:nvPr/>
              </p:nvSpPr>
              <p:spPr>
                <a:xfrm>
                  <a:off x="6835326" y="1883848"/>
                  <a:ext cx="7775" cy="33492"/>
                </a:xfrm>
                <a:custGeom>
                  <a:avLst/>
                  <a:gdLst>
                    <a:gd name="connsiteX0" fmla="*/ 7775 w 7775"/>
                    <a:gd name="connsiteY0" fmla="*/ 0 h 33492"/>
                    <a:gd name="connsiteX1" fmla="*/ 7596 w 7775"/>
                    <a:gd name="connsiteY1" fmla="*/ 778 h 33492"/>
                    <a:gd name="connsiteX2" fmla="*/ 7536 w 7775"/>
                    <a:gd name="connsiteY2" fmla="*/ 957 h 33492"/>
                    <a:gd name="connsiteX3" fmla="*/ 7417 w 7775"/>
                    <a:gd name="connsiteY3" fmla="*/ 1316 h 33492"/>
                    <a:gd name="connsiteX4" fmla="*/ 6998 w 7775"/>
                    <a:gd name="connsiteY4" fmla="*/ 2990 h 33492"/>
                    <a:gd name="connsiteX5" fmla="*/ 6400 w 7775"/>
                    <a:gd name="connsiteY5" fmla="*/ 5442 h 33492"/>
                    <a:gd name="connsiteX6" fmla="*/ 6340 w 7775"/>
                    <a:gd name="connsiteY6" fmla="*/ 5801 h 33492"/>
                    <a:gd name="connsiteX7" fmla="*/ 6280 w 7775"/>
                    <a:gd name="connsiteY7" fmla="*/ 5981 h 33492"/>
                    <a:gd name="connsiteX8" fmla="*/ 6160 w 7775"/>
                    <a:gd name="connsiteY8" fmla="*/ 6519 h 33492"/>
                    <a:gd name="connsiteX9" fmla="*/ 5323 w 7775"/>
                    <a:gd name="connsiteY9" fmla="*/ 9808 h 33492"/>
                    <a:gd name="connsiteX10" fmla="*/ 5204 w 7775"/>
                    <a:gd name="connsiteY10" fmla="*/ 10167 h 33492"/>
                    <a:gd name="connsiteX11" fmla="*/ 5084 w 7775"/>
                    <a:gd name="connsiteY11" fmla="*/ 10526 h 33492"/>
                    <a:gd name="connsiteX12" fmla="*/ 5024 w 7775"/>
                    <a:gd name="connsiteY12" fmla="*/ 10706 h 33492"/>
                    <a:gd name="connsiteX13" fmla="*/ 4964 w 7775"/>
                    <a:gd name="connsiteY13" fmla="*/ 10945 h 33492"/>
                    <a:gd name="connsiteX14" fmla="*/ 4964 w 7775"/>
                    <a:gd name="connsiteY14" fmla="*/ 10945 h 33492"/>
                    <a:gd name="connsiteX15" fmla="*/ 4665 w 7775"/>
                    <a:gd name="connsiteY15" fmla="*/ 12021 h 33492"/>
                    <a:gd name="connsiteX16" fmla="*/ 4367 w 7775"/>
                    <a:gd name="connsiteY16" fmla="*/ 13158 h 33492"/>
                    <a:gd name="connsiteX17" fmla="*/ 3947 w 7775"/>
                    <a:gd name="connsiteY17" fmla="*/ 15071 h 33492"/>
                    <a:gd name="connsiteX18" fmla="*/ 2512 w 7775"/>
                    <a:gd name="connsiteY18" fmla="*/ 22129 h 33492"/>
                    <a:gd name="connsiteX19" fmla="*/ 2333 w 7775"/>
                    <a:gd name="connsiteY19" fmla="*/ 22906 h 33492"/>
                    <a:gd name="connsiteX20" fmla="*/ 2273 w 7775"/>
                    <a:gd name="connsiteY20" fmla="*/ 23205 h 33492"/>
                    <a:gd name="connsiteX21" fmla="*/ 2273 w 7775"/>
                    <a:gd name="connsiteY21" fmla="*/ 23265 h 33492"/>
                    <a:gd name="connsiteX22" fmla="*/ 1495 w 7775"/>
                    <a:gd name="connsiteY22" fmla="*/ 27033 h 33492"/>
                    <a:gd name="connsiteX23" fmla="*/ 239 w 7775"/>
                    <a:gd name="connsiteY23" fmla="*/ 33073 h 33492"/>
                    <a:gd name="connsiteX24" fmla="*/ 0 w 7775"/>
                    <a:gd name="connsiteY24" fmla="*/ 33492 h 3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75" h="33492">
                      <a:moveTo>
                        <a:pt x="7775" y="0"/>
                      </a:moveTo>
                      <a:lnTo>
                        <a:pt x="7596" y="778"/>
                      </a:lnTo>
                      <a:lnTo>
                        <a:pt x="7536" y="957"/>
                      </a:lnTo>
                      <a:lnTo>
                        <a:pt x="7417" y="1316"/>
                      </a:lnTo>
                      <a:lnTo>
                        <a:pt x="6998" y="2990"/>
                      </a:lnTo>
                      <a:lnTo>
                        <a:pt x="6400" y="5442"/>
                      </a:lnTo>
                      <a:lnTo>
                        <a:pt x="6340" y="5801"/>
                      </a:lnTo>
                      <a:lnTo>
                        <a:pt x="6280" y="5981"/>
                      </a:lnTo>
                      <a:lnTo>
                        <a:pt x="6160" y="6519"/>
                      </a:lnTo>
                      <a:lnTo>
                        <a:pt x="5323" y="9808"/>
                      </a:lnTo>
                      <a:lnTo>
                        <a:pt x="5204" y="10167"/>
                      </a:lnTo>
                      <a:lnTo>
                        <a:pt x="5084" y="10526"/>
                      </a:lnTo>
                      <a:lnTo>
                        <a:pt x="5024" y="10706"/>
                      </a:lnTo>
                      <a:lnTo>
                        <a:pt x="4964" y="10945"/>
                      </a:lnTo>
                      <a:lnTo>
                        <a:pt x="4964" y="10945"/>
                      </a:lnTo>
                      <a:lnTo>
                        <a:pt x="4665" y="12021"/>
                      </a:lnTo>
                      <a:lnTo>
                        <a:pt x="4367" y="13158"/>
                      </a:lnTo>
                      <a:lnTo>
                        <a:pt x="3947" y="15071"/>
                      </a:lnTo>
                      <a:lnTo>
                        <a:pt x="2512" y="22129"/>
                      </a:lnTo>
                      <a:lnTo>
                        <a:pt x="2333" y="22906"/>
                      </a:lnTo>
                      <a:lnTo>
                        <a:pt x="2273" y="23205"/>
                      </a:lnTo>
                      <a:lnTo>
                        <a:pt x="2273" y="23265"/>
                      </a:lnTo>
                      <a:lnTo>
                        <a:pt x="1495" y="27033"/>
                      </a:lnTo>
                      <a:lnTo>
                        <a:pt x="239" y="33073"/>
                      </a:lnTo>
                      <a:lnTo>
                        <a:pt x="0" y="33492"/>
                      </a:lnTo>
                    </a:path>
                  </a:pathLst>
                </a:custGeom>
                <a:noFill/>
                <a:ln w="6350" cap="rnd">
                  <a:solidFill>
                    <a:schemeClr val="bg1">
                      <a:alpha val="40000"/>
                    </a:schemeClr>
                  </a:solidFill>
                  <a:prstDash val="solid"/>
                  <a:round/>
                </a:ln>
              </p:spPr>
              <p:txBody>
                <a:bodyPr rtlCol="0" anchor="ctr"/>
                <a:lstStyle/>
                <a:p>
                  <a:endParaRPr lang="en-GB"/>
                </a:p>
              </p:txBody>
            </p:sp>
            <p:sp>
              <p:nvSpPr>
                <p:cNvPr id="6477" name="Vrije vorm: vorm 6476">
                  <a:extLst>
                    <a:ext uri="{FF2B5EF4-FFF2-40B4-BE49-F238E27FC236}">
                      <a16:creationId xmlns:a16="http://schemas.microsoft.com/office/drawing/2014/main" id="{D1251D8D-2BEC-4FD6-BC3E-C4DEA99D3F6E}"/>
                    </a:ext>
                  </a:extLst>
                </p:cNvPr>
                <p:cNvSpPr/>
                <p:nvPr/>
              </p:nvSpPr>
              <p:spPr>
                <a:xfrm>
                  <a:off x="6687244" y="1781159"/>
                  <a:ext cx="81457" cy="54843"/>
                </a:xfrm>
                <a:custGeom>
                  <a:avLst/>
                  <a:gdLst>
                    <a:gd name="connsiteX0" fmla="*/ 16268 w 81457"/>
                    <a:gd name="connsiteY0" fmla="*/ 10048 h 54843"/>
                    <a:gd name="connsiteX1" fmla="*/ 6280 w 81457"/>
                    <a:gd name="connsiteY1" fmla="*/ 4844 h 54843"/>
                    <a:gd name="connsiteX2" fmla="*/ 0 w 81457"/>
                    <a:gd name="connsiteY2" fmla="*/ 1435 h 54843"/>
                    <a:gd name="connsiteX3" fmla="*/ 239 w 81457"/>
                    <a:gd name="connsiteY3" fmla="*/ 179 h 54843"/>
                    <a:gd name="connsiteX4" fmla="*/ 1794 w 81457"/>
                    <a:gd name="connsiteY4" fmla="*/ 0 h 54843"/>
                    <a:gd name="connsiteX5" fmla="*/ 14174 w 81457"/>
                    <a:gd name="connsiteY5" fmla="*/ 2811 h 54843"/>
                    <a:gd name="connsiteX6" fmla="*/ 24641 w 81457"/>
                    <a:gd name="connsiteY6" fmla="*/ 7177 h 54843"/>
                    <a:gd name="connsiteX7" fmla="*/ 44855 w 81457"/>
                    <a:gd name="connsiteY7" fmla="*/ 19437 h 54843"/>
                    <a:gd name="connsiteX8" fmla="*/ 63874 w 81457"/>
                    <a:gd name="connsiteY8" fmla="*/ 30980 h 54843"/>
                    <a:gd name="connsiteX9" fmla="*/ 72606 w 81457"/>
                    <a:gd name="connsiteY9" fmla="*/ 37140 h 54843"/>
                    <a:gd name="connsiteX10" fmla="*/ 78108 w 81457"/>
                    <a:gd name="connsiteY10" fmla="*/ 46470 h 54843"/>
                    <a:gd name="connsiteX11" fmla="*/ 81099 w 81457"/>
                    <a:gd name="connsiteY11" fmla="*/ 53109 h 54843"/>
                    <a:gd name="connsiteX12" fmla="*/ 81457 w 81457"/>
                    <a:gd name="connsiteY12" fmla="*/ 54843 h 54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457" h="54843">
                      <a:moveTo>
                        <a:pt x="16268" y="10048"/>
                      </a:moveTo>
                      <a:lnTo>
                        <a:pt x="6280" y="4844"/>
                      </a:lnTo>
                      <a:lnTo>
                        <a:pt x="0" y="1435"/>
                      </a:lnTo>
                      <a:lnTo>
                        <a:pt x="239" y="179"/>
                      </a:lnTo>
                      <a:lnTo>
                        <a:pt x="1794" y="0"/>
                      </a:lnTo>
                      <a:lnTo>
                        <a:pt x="14174" y="2811"/>
                      </a:lnTo>
                      <a:lnTo>
                        <a:pt x="24641" y="7177"/>
                      </a:lnTo>
                      <a:lnTo>
                        <a:pt x="44855" y="19437"/>
                      </a:lnTo>
                      <a:lnTo>
                        <a:pt x="63874" y="30980"/>
                      </a:lnTo>
                      <a:lnTo>
                        <a:pt x="72606" y="37140"/>
                      </a:lnTo>
                      <a:lnTo>
                        <a:pt x="78108" y="46470"/>
                      </a:lnTo>
                      <a:lnTo>
                        <a:pt x="81099" y="53109"/>
                      </a:lnTo>
                      <a:lnTo>
                        <a:pt x="81457" y="54843"/>
                      </a:lnTo>
                    </a:path>
                  </a:pathLst>
                </a:custGeom>
                <a:noFill/>
                <a:ln w="6350" cap="rnd">
                  <a:solidFill>
                    <a:schemeClr val="bg1">
                      <a:alpha val="40000"/>
                    </a:schemeClr>
                  </a:solidFill>
                  <a:prstDash val="solid"/>
                  <a:round/>
                </a:ln>
              </p:spPr>
              <p:txBody>
                <a:bodyPr rtlCol="0" anchor="ctr"/>
                <a:lstStyle/>
                <a:p>
                  <a:endParaRPr lang="en-GB"/>
                </a:p>
              </p:txBody>
            </p:sp>
            <p:sp>
              <p:nvSpPr>
                <p:cNvPr id="6478" name="Vrije vorm: vorm 6477">
                  <a:extLst>
                    <a:ext uri="{FF2B5EF4-FFF2-40B4-BE49-F238E27FC236}">
                      <a16:creationId xmlns:a16="http://schemas.microsoft.com/office/drawing/2014/main" id="{DF6EACB4-7D99-4679-A50E-33A6E0EA0AE3}"/>
                    </a:ext>
                  </a:extLst>
                </p:cNvPr>
                <p:cNvSpPr/>
                <p:nvPr/>
              </p:nvSpPr>
              <p:spPr>
                <a:xfrm>
                  <a:off x="6987476" y="1954002"/>
                  <a:ext cx="18061" cy="22427"/>
                </a:xfrm>
                <a:custGeom>
                  <a:avLst/>
                  <a:gdLst>
                    <a:gd name="connsiteX0" fmla="*/ 18062 w 18061"/>
                    <a:gd name="connsiteY0" fmla="*/ 0 h 22427"/>
                    <a:gd name="connsiteX1" fmla="*/ 17464 w 18061"/>
                    <a:gd name="connsiteY1" fmla="*/ 718 h 22427"/>
                    <a:gd name="connsiteX2" fmla="*/ 14354 w 18061"/>
                    <a:gd name="connsiteY2" fmla="*/ 4366 h 22427"/>
                    <a:gd name="connsiteX3" fmla="*/ 12141 w 18061"/>
                    <a:gd name="connsiteY3" fmla="*/ 6997 h 22427"/>
                    <a:gd name="connsiteX4" fmla="*/ 11662 w 18061"/>
                    <a:gd name="connsiteY4" fmla="*/ 7595 h 22427"/>
                    <a:gd name="connsiteX5" fmla="*/ 11483 w 18061"/>
                    <a:gd name="connsiteY5" fmla="*/ 7835 h 22427"/>
                    <a:gd name="connsiteX6" fmla="*/ 11304 w 18061"/>
                    <a:gd name="connsiteY6" fmla="*/ 8074 h 22427"/>
                    <a:gd name="connsiteX7" fmla="*/ 9569 w 18061"/>
                    <a:gd name="connsiteY7" fmla="*/ 10227 h 22427"/>
                    <a:gd name="connsiteX8" fmla="*/ 8672 w 18061"/>
                    <a:gd name="connsiteY8" fmla="*/ 11304 h 22427"/>
                    <a:gd name="connsiteX9" fmla="*/ 7715 w 18061"/>
                    <a:gd name="connsiteY9" fmla="*/ 12500 h 22427"/>
                    <a:gd name="connsiteX10" fmla="*/ 7058 w 18061"/>
                    <a:gd name="connsiteY10" fmla="*/ 13277 h 22427"/>
                    <a:gd name="connsiteX11" fmla="*/ 5741 w 18061"/>
                    <a:gd name="connsiteY11" fmla="*/ 14892 h 22427"/>
                    <a:gd name="connsiteX12" fmla="*/ 4067 w 18061"/>
                    <a:gd name="connsiteY12" fmla="*/ 16985 h 22427"/>
                    <a:gd name="connsiteX13" fmla="*/ 4007 w 18061"/>
                    <a:gd name="connsiteY13" fmla="*/ 17045 h 22427"/>
                    <a:gd name="connsiteX14" fmla="*/ 3828 w 18061"/>
                    <a:gd name="connsiteY14" fmla="*/ 17284 h 22427"/>
                    <a:gd name="connsiteX15" fmla="*/ 3110 w 18061"/>
                    <a:gd name="connsiteY15" fmla="*/ 18181 h 22427"/>
                    <a:gd name="connsiteX16" fmla="*/ 3110 w 18061"/>
                    <a:gd name="connsiteY16" fmla="*/ 18181 h 22427"/>
                    <a:gd name="connsiteX17" fmla="*/ 2871 w 18061"/>
                    <a:gd name="connsiteY17" fmla="*/ 18480 h 22427"/>
                    <a:gd name="connsiteX18" fmla="*/ 2811 w 18061"/>
                    <a:gd name="connsiteY18" fmla="*/ 18540 h 22427"/>
                    <a:gd name="connsiteX19" fmla="*/ 2392 w 18061"/>
                    <a:gd name="connsiteY19" fmla="*/ 19078 h 22427"/>
                    <a:gd name="connsiteX20" fmla="*/ 2213 w 18061"/>
                    <a:gd name="connsiteY20" fmla="*/ 19318 h 22427"/>
                    <a:gd name="connsiteX21" fmla="*/ 1316 w 18061"/>
                    <a:gd name="connsiteY21" fmla="*/ 20394 h 22427"/>
                    <a:gd name="connsiteX22" fmla="*/ 0 w 18061"/>
                    <a:gd name="connsiteY22" fmla="*/ 22428 h 22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061" h="22427">
                      <a:moveTo>
                        <a:pt x="18062" y="0"/>
                      </a:moveTo>
                      <a:lnTo>
                        <a:pt x="17464" y="718"/>
                      </a:lnTo>
                      <a:lnTo>
                        <a:pt x="14354" y="4366"/>
                      </a:lnTo>
                      <a:lnTo>
                        <a:pt x="12141" y="6997"/>
                      </a:lnTo>
                      <a:lnTo>
                        <a:pt x="11662" y="7595"/>
                      </a:lnTo>
                      <a:lnTo>
                        <a:pt x="11483" y="7835"/>
                      </a:lnTo>
                      <a:lnTo>
                        <a:pt x="11304" y="8074"/>
                      </a:lnTo>
                      <a:lnTo>
                        <a:pt x="9569" y="10227"/>
                      </a:lnTo>
                      <a:lnTo>
                        <a:pt x="8672" y="11304"/>
                      </a:lnTo>
                      <a:lnTo>
                        <a:pt x="7715" y="12500"/>
                      </a:lnTo>
                      <a:lnTo>
                        <a:pt x="7058" y="13277"/>
                      </a:lnTo>
                      <a:lnTo>
                        <a:pt x="5741" y="14892"/>
                      </a:lnTo>
                      <a:lnTo>
                        <a:pt x="4067" y="16985"/>
                      </a:lnTo>
                      <a:lnTo>
                        <a:pt x="4007" y="17045"/>
                      </a:lnTo>
                      <a:lnTo>
                        <a:pt x="3828" y="17284"/>
                      </a:lnTo>
                      <a:lnTo>
                        <a:pt x="3110" y="18181"/>
                      </a:lnTo>
                      <a:lnTo>
                        <a:pt x="3110" y="18181"/>
                      </a:lnTo>
                      <a:lnTo>
                        <a:pt x="2871" y="18480"/>
                      </a:lnTo>
                      <a:lnTo>
                        <a:pt x="2811" y="18540"/>
                      </a:lnTo>
                      <a:lnTo>
                        <a:pt x="2392" y="19078"/>
                      </a:lnTo>
                      <a:lnTo>
                        <a:pt x="2213" y="19318"/>
                      </a:lnTo>
                      <a:lnTo>
                        <a:pt x="1316" y="20394"/>
                      </a:lnTo>
                      <a:lnTo>
                        <a:pt x="0" y="22428"/>
                      </a:lnTo>
                    </a:path>
                  </a:pathLst>
                </a:custGeom>
                <a:noFill/>
                <a:ln w="6350" cap="rnd">
                  <a:solidFill>
                    <a:schemeClr val="bg1">
                      <a:alpha val="40000"/>
                    </a:schemeClr>
                  </a:solidFill>
                  <a:prstDash val="solid"/>
                  <a:round/>
                </a:ln>
              </p:spPr>
              <p:txBody>
                <a:bodyPr rtlCol="0" anchor="ctr"/>
                <a:lstStyle/>
                <a:p>
                  <a:endParaRPr lang="en-GB"/>
                </a:p>
              </p:txBody>
            </p:sp>
            <p:sp>
              <p:nvSpPr>
                <p:cNvPr id="6479" name="Vrije vorm: vorm 6478">
                  <a:extLst>
                    <a:ext uri="{FF2B5EF4-FFF2-40B4-BE49-F238E27FC236}">
                      <a16:creationId xmlns:a16="http://schemas.microsoft.com/office/drawing/2014/main" id="{B4199DB1-802A-4ACD-957E-8301EA18CCA8}"/>
                    </a:ext>
                  </a:extLst>
                </p:cNvPr>
                <p:cNvSpPr/>
                <p:nvPr/>
              </p:nvSpPr>
              <p:spPr>
                <a:xfrm>
                  <a:off x="6754467" y="1957052"/>
                  <a:ext cx="15968" cy="40011"/>
                </a:xfrm>
                <a:custGeom>
                  <a:avLst/>
                  <a:gdLst>
                    <a:gd name="connsiteX0" fmla="*/ 6280 w 15968"/>
                    <a:gd name="connsiteY0" fmla="*/ 8074 h 40011"/>
                    <a:gd name="connsiteX1" fmla="*/ 6878 w 15968"/>
                    <a:gd name="connsiteY1" fmla="*/ 6459 h 40011"/>
                    <a:gd name="connsiteX2" fmla="*/ 7177 w 15968"/>
                    <a:gd name="connsiteY2" fmla="*/ 5741 h 40011"/>
                    <a:gd name="connsiteX3" fmla="*/ 7297 w 15968"/>
                    <a:gd name="connsiteY3" fmla="*/ 5442 h 40011"/>
                    <a:gd name="connsiteX4" fmla="*/ 7536 w 15968"/>
                    <a:gd name="connsiteY4" fmla="*/ 4785 h 40011"/>
                    <a:gd name="connsiteX5" fmla="*/ 8552 w 15968"/>
                    <a:gd name="connsiteY5" fmla="*/ 2093 h 40011"/>
                    <a:gd name="connsiteX6" fmla="*/ 8911 w 15968"/>
                    <a:gd name="connsiteY6" fmla="*/ 1076 h 40011"/>
                    <a:gd name="connsiteX7" fmla="*/ 9031 w 15968"/>
                    <a:gd name="connsiteY7" fmla="*/ 778 h 40011"/>
                    <a:gd name="connsiteX8" fmla="*/ 9330 w 15968"/>
                    <a:gd name="connsiteY8" fmla="*/ 0 h 40011"/>
                    <a:gd name="connsiteX9" fmla="*/ 10107 w 15968"/>
                    <a:gd name="connsiteY9" fmla="*/ 239 h 40011"/>
                    <a:gd name="connsiteX10" fmla="*/ 11005 w 15968"/>
                    <a:gd name="connsiteY10" fmla="*/ 538 h 40011"/>
                    <a:gd name="connsiteX11" fmla="*/ 12440 w 15968"/>
                    <a:gd name="connsiteY11" fmla="*/ 1017 h 40011"/>
                    <a:gd name="connsiteX12" fmla="*/ 12679 w 15968"/>
                    <a:gd name="connsiteY12" fmla="*/ 1076 h 40011"/>
                    <a:gd name="connsiteX13" fmla="*/ 13038 w 15968"/>
                    <a:gd name="connsiteY13" fmla="*/ 1196 h 40011"/>
                    <a:gd name="connsiteX14" fmla="*/ 13158 w 15968"/>
                    <a:gd name="connsiteY14" fmla="*/ 1256 h 40011"/>
                    <a:gd name="connsiteX15" fmla="*/ 13576 w 15968"/>
                    <a:gd name="connsiteY15" fmla="*/ 1376 h 40011"/>
                    <a:gd name="connsiteX16" fmla="*/ 14414 w 15968"/>
                    <a:gd name="connsiteY16" fmla="*/ 1615 h 40011"/>
                    <a:gd name="connsiteX17" fmla="*/ 14773 w 15968"/>
                    <a:gd name="connsiteY17" fmla="*/ 2033 h 40011"/>
                    <a:gd name="connsiteX18" fmla="*/ 15072 w 15968"/>
                    <a:gd name="connsiteY18" fmla="*/ 2332 h 40011"/>
                    <a:gd name="connsiteX19" fmla="*/ 15371 w 15968"/>
                    <a:gd name="connsiteY19" fmla="*/ 2632 h 40011"/>
                    <a:gd name="connsiteX20" fmla="*/ 15969 w 15968"/>
                    <a:gd name="connsiteY20" fmla="*/ 3289 h 40011"/>
                    <a:gd name="connsiteX21" fmla="*/ 15909 w 15968"/>
                    <a:gd name="connsiteY21" fmla="*/ 5323 h 40011"/>
                    <a:gd name="connsiteX22" fmla="*/ 15849 w 15968"/>
                    <a:gd name="connsiteY22" fmla="*/ 8313 h 40011"/>
                    <a:gd name="connsiteX23" fmla="*/ 15849 w 15968"/>
                    <a:gd name="connsiteY23" fmla="*/ 8792 h 40011"/>
                    <a:gd name="connsiteX24" fmla="*/ 15849 w 15968"/>
                    <a:gd name="connsiteY24" fmla="*/ 9150 h 40011"/>
                    <a:gd name="connsiteX25" fmla="*/ 15849 w 15968"/>
                    <a:gd name="connsiteY25" fmla="*/ 9150 h 40011"/>
                    <a:gd name="connsiteX26" fmla="*/ 15849 w 15968"/>
                    <a:gd name="connsiteY26" fmla="*/ 9210 h 40011"/>
                    <a:gd name="connsiteX27" fmla="*/ 15729 w 15968"/>
                    <a:gd name="connsiteY27" fmla="*/ 9689 h 40011"/>
                    <a:gd name="connsiteX28" fmla="*/ 15371 w 15968"/>
                    <a:gd name="connsiteY28" fmla="*/ 10825 h 40011"/>
                    <a:gd name="connsiteX29" fmla="*/ 15251 w 15968"/>
                    <a:gd name="connsiteY29" fmla="*/ 11124 h 40011"/>
                    <a:gd name="connsiteX30" fmla="*/ 14713 w 15968"/>
                    <a:gd name="connsiteY30" fmla="*/ 12918 h 40011"/>
                    <a:gd name="connsiteX31" fmla="*/ 13815 w 15968"/>
                    <a:gd name="connsiteY31" fmla="*/ 16028 h 40011"/>
                    <a:gd name="connsiteX32" fmla="*/ 13218 w 15968"/>
                    <a:gd name="connsiteY32" fmla="*/ 18002 h 40011"/>
                    <a:gd name="connsiteX33" fmla="*/ 12560 w 15968"/>
                    <a:gd name="connsiteY33" fmla="*/ 20275 h 40011"/>
                    <a:gd name="connsiteX34" fmla="*/ 13576 w 15968"/>
                    <a:gd name="connsiteY34" fmla="*/ 21531 h 40011"/>
                    <a:gd name="connsiteX35" fmla="*/ 14174 w 15968"/>
                    <a:gd name="connsiteY35" fmla="*/ 22248 h 40011"/>
                    <a:gd name="connsiteX36" fmla="*/ 13815 w 15968"/>
                    <a:gd name="connsiteY36" fmla="*/ 23145 h 40011"/>
                    <a:gd name="connsiteX37" fmla="*/ 13576 w 15968"/>
                    <a:gd name="connsiteY37" fmla="*/ 23863 h 40011"/>
                    <a:gd name="connsiteX38" fmla="*/ 13457 w 15968"/>
                    <a:gd name="connsiteY38" fmla="*/ 24222 h 40011"/>
                    <a:gd name="connsiteX39" fmla="*/ 13098 w 15968"/>
                    <a:gd name="connsiteY39" fmla="*/ 25239 h 40011"/>
                    <a:gd name="connsiteX40" fmla="*/ 12679 w 15968"/>
                    <a:gd name="connsiteY40" fmla="*/ 26375 h 40011"/>
                    <a:gd name="connsiteX41" fmla="*/ 12440 w 15968"/>
                    <a:gd name="connsiteY41" fmla="*/ 27033 h 40011"/>
                    <a:gd name="connsiteX42" fmla="*/ 12201 w 15968"/>
                    <a:gd name="connsiteY42" fmla="*/ 27691 h 40011"/>
                    <a:gd name="connsiteX43" fmla="*/ 12081 w 15968"/>
                    <a:gd name="connsiteY43" fmla="*/ 27990 h 40011"/>
                    <a:gd name="connsiteX44" fmla="*/ 11842 w 15968"/>
                    <a:gd name="connsiteY44" fmla="*/ 28528 h 40011"/>
                    <a:gd name="connsiteX45" fmla="*/ 11364 w 15968"/>
                    <a:gd name="connsiteY45" fmla="*/ 29724 h 40011"/>
                    <a:gd name="connsiteX46" fmla="*/ 11364 w 15968"/>
                    <a:gd name="connsiteY46" fmla="*/ 29784 h 40011"/>
                    <a:gd name="connsiteX47" fmla="*/ 11124 w 15968"/>
                    <a:gd name="connsiteY47" fmla="*/ 30442 h 40011"/>
                    <a:gd name="connsiteX48" fmla="*/ 9868 w 15968"/>
                    <a:gd name="connsiteY48" fmla="*/ 33671 h 40011"/>
                    <a:gd name="connsiteX49" fmla="*/ 9629 w 15968"/>
                    <a:gd name="connsiteY49" fmla="*/ 34329 h 40011"/>
                    <a:gd name="connsiteX50" fmla="*/ 9330 w 15968"/>
                    <a:gd name="connsiteY50" fmla="*/ 35107 h 40011"/>
                    <a:gd name="connsiteX51" fmla="*/ 8552 w 15968"/>
                    <a:gd name="connsiteY51" fmla="*/ 37080 h 40011"/>
                    <a:gd name="connsiteX52" fmla="*/ 6220 w 15968"/>
                    <a:gd name="connsiteY52" fmla="*/ 38755 h 40011"/>
                    <a:gd name="connsiteX53" fmla="*/ 5024 w 15968"/>
                    <a:gd name="connsiteY53" fmla="*/ 39592 h 40011"/>
                    <a:gd name="connsiteX54" fmla="*/ 4486 w 15968"/>
                    <a:gd name="connsiteY54" fmla="*/ 40011 h 40011"/>
                    <a:gd name="connsiteX55" fmla="*/ 0 w 15968"/>
                    <a:gd name="connsiteY55" fmla="*/ 38277 h 4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968" h="40011">
                      <a:moveTo>
                        <a:pt x="6280" y="8074"/>
                      </a:moveTo>
                      <a:lnTo>
                        <a:pt x="6878" y="6459"/>
                      </a:lnTo>
                      <a:lnTo>
                        <a:pt x="7177" y="5741"/>
                      </a:lnTo>
                      <a:lnTo>
                        <a:pt x="7297" y="5442"/>
                      </a:lnTo>
                      <a:lnTo>
                        <a:pt x="7536" y="4785"/>
                      </a:lnTo>
                      <a:lnTo>
                        <a:pt x="8552" y="2093"/>
                      </a:lnTo>
                      <a:lnTo>
                        <a:pt x="8911" y="1076"/>
                      </a:lnTo>
                      <a:lnTo>
                        <a:pt x="9031" y="778"/>
                      </a:lnTo>
                      <a:lnTo>
                        <a:pt x="9330" y="0"/>
                      </a:lnTo>
                      <a:lnTo>
                        <a:pt x="10107" y="239"/>
                      </a:lnTo>
                      <a:lnTo>
                        <a:pt x="11005" y="538"/>
                      </a:lnTo>
                      <a:lnTo>
                        <a:pt x="12440" y="1017"/>
                      </a:lnTo>
                      <a:lnTo>
                        <a:pt x="12679" y="1076"/>
                      </a:lnTo>
                      <a:lnTo>
                        <a:pt x="13038" y="1196"/>
                      </a:lnTo>
                      <a:lnTo>
                        <a:pt x="13158" y="1256"/>
                      </a:lnTo>
                      <a:lnTo>
                        <a:pt x="13576" y="1376"/>
                      </a:lnTo>
                      <a:lnTo>
                        <a:pt x="14414" y="1615"/>
                      </a:lnTo>
                      <a:lnTo>
                        <a:pt x="14773" y="2033"/>
                      </a:lnTo>
                      <a:lnTo>
                        <a:pt x="15072" y="2332"/>
                      </a:lnTo>
                      <a:lnTo>
                        <a:pt x="15371" y="2632"/>
                      </a:lnTo>
                      <a:lnTo>
                        <a:pt x="15969" y="3289"/>
                      </a:lnTo>
                      <a:lnTo>
                        <a:pt x="15909" y="5323"/>
                      </a:lnTo>
                      <a:lnTo>
                        <a:pt x="15849" y="8313"/>
                      </a:lnTo>
                      <a:lnTo>
                        <a:pt x="15849" y="8792"/>
                      </a:lnTo>
                      <a:lnTo>
                        <a:pt x="15849" y="9150"/>
                      </a:lnTo>
                      <a:lnTo>
                        <a:pt x="15849" y="9150"/>
                      </a:lnTo>
                      <a:lnTo>
                        <a:pt x="15849" y="9210"/>
                      </a:lnTo>
                      <a:lnTo>
                        <a:pt x="15729" y="9689"/>
                      </a:lnTo>
                      <a:lnTo>
                        <a:pt x="15371" y="10825"/>
                      </a:lnTo>
                      <a:lnTo>
                        <a:pt x="15251" y="11124"/>
                      </a:lnTo>
                      <a:lnTo>
                        <a:pt x="14713" y="12918"/>
                      </a:lnTo>
                      <a:lnTo>
                        <a:pt x="13815" y="16028"/>
                      </a:lnTo>
                      <a:lnTo>
                        <a:pt x="13218" y="18002"/>
                      </a:lnTo>
                      <a:lnTo>
                        <a:pt x="12560" y="20275"/>
                      </a:lnTo>
                      <a:lnTo>
                        <a:pt x="13576" y="21531"/>
                      </a:lnTo>
                      <a:lnTo>
                        <a:pt x="14174" y="22248"/>
                      </a:lnTo>
                      <a:lnTo>
                        <a:pt x="13815" y="23145"/>
                      </a:lnTo>
                      <a:lnTo>
                        <a:pt x="13576" y="23863"/>
                      </a:lnTo>
                      <a:lnTo>
                        <a:pt x="13457" y="24222"/>
                      </a:lnTo>
                      <a:lnTo>
                        <a:pt x="13098" y="25239"/>
                      </a:lnTo>
                      <a:lnTo>
                        <a:pt x="12679" y="26375"/>
                      </a:lnTo>
                      <a:lnTo>
                        <a:pt x="12440" y="27033"/>
                      </a:lnTo>
                      <a:lnTo>
                        <a:pt x="12201" y="27691"/>
                      </a:lnTo>
                      <a:lnTo>
                        <a:pt x="12081" y="27990"/>
                      </a:lnTo>
                      <a:lnTo>
                        <a:pt x="11842" y="28528"/>
                      </a:lnTo>
                      <a:lnTo>
                        <a:pt x="11364" y="29724"/>
                      </a:lnTo>
                      <a:lnTo>
                        <a:pt x="11364" y="29784"/>
                      </a:lnTo>
                      <a:lnTo>
                        <a:pt x="11124" y="30442"/>
                      </a:lnTo>
                      <a:lnTo>
                        <a:pt x="9868" y="33671"/>
                      </a:lnTo>
                      <a:lnTo>
                        <a:pt x="9629" y="34329"/>
                      </a:lnTo>
                      <a:lnTo>
                        <a:pt x="9330" y="35107"/>
                      </a:lnTo>
                      <a:lnTo>
                        <a:pt x="8552" y="37080"/>
                      </a:lnTo>
                      <a:lnTo>
                        <a:pt x="6220" y="38755"/>
                      </a:lnTo>
                      <a:lnTo>
                        <a:pt x="5024" y="39592"/>
                      </a:lnTo>
                      <a:lnTo>
                        <a:pt x="4486" y="40011"/>
                      </a:lnTo>
                      <a:lnTo>
                        <a:pt x="0" y="38277"/>
                      </a:lnTo>
                    </a:path>
                  </a:pathLst>
                </a:custGeom>
                <a:noFill/>
                <a:ln w="6350" cap="rnd">
                  <a:solidFill>
                    <a:schemeClr val="bg1">
                      <a:alpha val="40000"/>
                    </a:schemeClr>
                  </a:solidFill>
                  <a:prstDash val="solid"/>
                  <a:round/>
                </a:ln>
              </p:spPr>
              <p:txBody>
                <a:bodyPr rtlCol="0" anchor="ctr"/>
                <a:lstStyle/>
                <a:p>
                  <a:endParaRPr lang="en-GB"/>
                </a:p>
              </p:txBody>
            </p:sp>
            <p:sp>
              <p:nvSpPr>
                <p:cNvPr id="6480" name="Vrije vorm: vorm 6479">
                  <a:extLst>
                    <a:ext uri="{FF2B5EF4-FFF2-40B4-BE49-F238E27FC236}">
                      <a16:creationId xmlns:a16="http://schemas.microsoft.com/office/drawing/2014/main" id="{0456E465-4B8A-4DE8-98C2-09E7F16520EC}"/>
                    </a:ext>
                  </a:extLst>
                </p:cNvPr>
                <p:cNvSpPr/>
                <p:nvPr/>
              </p:nvSpPr>
              <p:spPr>
                <a:xfrm>
                  <a:off x="6951772" y="2023139"/>
                  <a:ext cx="21710" cy="8552"/>
                </a:xfrm>
                <a:custGeom>
                  <a:avLst/>
                  <a:gdLst>
                    <a:gd name="connsiteX0" fmla="*/ 13277 w 21710"/>
                    <a:gd name="connsiteY0" fmla="*/ 0 h 8552"/>
                    <a:gd name="connsiteX1" fmla="*/ 15789 w 21710"/>
                    <a:gd name="connsiteY1" fmla="*/ 1615 h 8552"/>
                    <a:gd name="connsiteX2" fmla="*/ 16088 w 21710"/>
                    <a:gd name="connsiteY2" fmla="*/ 1794 h 8552"/>
                    <a:gd name="connsiteX3" fmla="*/ 16746 w 21710"/>
                    <a:gd name="connsiteY3" fmla="*/ 2213 h 8552"/>
                    <a:gd name="connsiteX4" fmla="*/ 16805 w 21710"/>
                    <a:gd name="connsiteY4" fmla="*/ 2273 h 8552"/>
                    <a:gd name="connsiteX5" fmla="*/ 16865 w 21710"/>
                    <a:gd name="connsiteY5" fmla="*/ 2332 h 8552"/>
                    <a:gd name="connsiteX6" fmla="*/ 16925 w 21710"/>
                    <a:gd name="connsiteY6" fmla="*/ 2392 h 8552"/>
                    <a:gd name="connsiteX7" fmla="*/ 17045 w 21710"/>
                    <a:gd name="connsiteY7" fmla="*/ 2452 h 8552"/>
                    <a:gd name="connsiteX8" fmla="*/ 18480 w 21710"/>
                    <a:gd name="connsiteY8" fmla="*/ 3469 h 8552"/>
                    <a:gd name="connsiteX9" fmla="*/ 18899 w 21710"/>
                    <a:gd name="connsiteY9" fmla="*/ 3768 h 8552"/>
                    <a:gd name="connsiteX10" fmla="*/ 19676 w 21710"/>
                    <a:gd name="connsiteY10" fmla="*/ 4306 h 8552"/>
                    <a:gd name="connsiteX11" fmla="*/ 19975 w 21710"/>
                    <a:gd name="connsiteY11" fmla="*/ 4486 h 8552"/>
                    <a:gd name="connsiteX12" fmla="*/ 20095 w 21710"/>
                    <a:gd name="connsiteY12" fmla="*/ 4605 h 8552"/>
                    <a:gd name="connsiteX13" fmla="*/ 21710 w 21710"/>
                    <a:gd name="connsiteY13" fmla="*/ 5981 h 8552"/>
                    <a:gd name="connsiteX14" fmla="*/ 20275 w 21710"/>
                    <a:gd name="connsiteY14" fmla="*/ 8373 h 8552"/>
                    <a:gd name="connsiteX15" fmla="*/ 19616 w 21710"/>
                    <a:gd name="connsiteY15" fmla="*/ 8552 h 8552"/>
                    <a:gd name="connsiteX16" fmla="*/ 19018 w 21710"/>
                    <a:gd name="connsiteY16" fmla="*/ 8313 h 8552"/>
                    <a:gd name="connsiteX17" fmla="*/ 15669 w 21710"/>
                    <a:gd name="connsiteY17" fmla="*/ 6997 h 8552"/>
                    <a:gd name="connsiteX18" fmla="*/ 15191 w 21710"/>
                    <a:gd name="connsiteY18" fmla="*/ 6818 h 8552"/>
                    <a:gd name="connsiteX19" fmla="*/ 14772 w 21710"/>
                    <a:gd name="connsiteY19" fmla="*/ 6639 h 8552"/>
                    <a:gd name="connsiteX20" fmla="*/ 9509 w 21710"/>
                    <a:gd name="connsiteY20" fmla="*/ 4545 h 8552"/>
                    <a:gd name="connsiteX21" fmla="*/ 8911 w 21710"/>
                    <a:gd name="connsiteY21" fmla="*/ 4306 h 8552"/>
                    <a:gd name="connsiteX22" fmla="*/ 7177 w 21710"/>
                    <a:gd name="connsiteY22" fmla="*/ 3648 h 8552"/>
                    <a:gd name="connsiteX23" fmla="*/ 5801 w 21710"/>
                    <a:gd name="connsiteY23" fmla="*/ 3110 h 8552"/>
                    <a:gd name="connsiteX24" fmla="*/ 5622 w 21710"/>
                    <a:gd name="connsiteY24" fmla="*/ 3050 h 8552"/>
                    <a:gd name="connsiteX25" fmla="*/ 4605 w 21710"/>
                    <a:gd name="connsiteY25" fmla="*/ 2632 h 8552"/>
                    <a:gd name="connsiteX26" fmla="*/ 2691 w 21710"/>
                    <a:gd name="connsiteY26" fmla="*/ 1675 h 8552"/>
                    <a:gd name="connsiteX27" fmla="*/ 1914 w 21710"/>
                    <a:gd name="connsiteY27" fmla="*/ 1316 h 8552"/>
                    <a:gd name="connsiteX28" fmla="*/ 179 w 21710"/>
                    <a:gd name="connsiteY28" fmla="*/ 419 h 8552"/>
                    <a:gd name="connsiteX29" fmla="*/ 0 w 21710"/>
                    <a:gd name="connsiteY29" fmla="*/ 299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710" h="8552">
                      <a:moveTo>
                        <a:pt x="13277" y="0"/>
                      </a:moveTo>
                      <a:lnTo>
                        <a:pt x="15789" y="1615"/>
                      </a:lnTo>
                      <a:lnTo>
                        <a:pt x="16088" y="1794"/>
                      </a:lnTo>
                      <a:lnTo>
                        <a:pt x="16746" y="2213"/>
                      </a:lnTo>
                      <a:lnTo>
                        <a:pt x="16805" y="2273"/>
                      </a:lnTo>
                      <a:lnTo>
                        <a:pt x="16865" y="2332"/>
                      </a:lnTo>
                      <a:lnTo>
                        <a:pt x="16925" y="2392"/>
                      </a:lnTo>
                      <a:lnTo>
                        <a:pt x="17045" y="2452"/>
                      </a:lnTo>
                      <a:lnTo>
                        <a:pt x="18480" y="3469"/>
                      </a:lnTo>
                      <a:lnTo>
                        <a:pt x="18899" y="3768"/>
                      </a:lnTo>
                      <a:lnTo>
                        <a:pt x="19676" y="4306"/>
                      </a:lnTo>
                      <a:lnTo>
                        <a:pt x="19975" y="4486"/>
                      </a:lnTo>
                      <a:lnTo>
                        <a:pt x="20095" y="4605"/>
                      </a:lnTo>
                      <a:lnTo>
                        <a:pt x="21710" y="5981"/>
                      </a:lnTo>
                      <a:lnTo>
                        <a:pt x="20275" y="8373"/>
                      </a:lnTo>
                      <a:lnTo>
                        <a:pt x="19616" y="8552"/>
                      </a:lnTo>
                      <a:lnTo>
                        <a:pt x="19018" y="8313"/>
                      </a:lnTo>
                      <a:lnTo>
                        <a:pt x="15669" y="6997"/>
                      </a:lnTo>
                      <a:lnTo>
                        <a:pt x="15191" y="6818"/>
                      </a:lnTo>
                      <a:lnTo>
                        <a:pt x="14772" y="6639"/>
                      </a:lnTo>
                      <a:lnTo>
                        <a:pt x="9509" y="4545"/>
                      </a:lnTo>
                      <a:lnTo>
                        <a:pt x="8911" y="4306"/>
                      </a:lnTo>
                      <a:lnTo>
                        <a:pt x="7177" y="3648"/>
                      </a:lnTo>
                      <a:lnTo>
                        <a:pt x="5801" y="3110"/>
                      </a:lnTo>
                      <a:lnTo>
                        <a:pt x="5622" y="3050"/>
                      </a:lnTo>
                      <a:lnTo>
                        <a:pt x="4605" y="2632"/>
                      </a:lnTo>
                      <a:lnTo>
                        <a:pt x="2691" y="1675"/>
                      </a:lnTo>
                      <a:lnTo>
                        <a:pt x="1914" y="1316"/>
                      </a:lnTo>
                      <a:lnTo>
                        <a:pt x="179" y="419"/>
                      </a:lnTo>
                      <a:lnTo>
                        <a:pt x="0" y="299"/>
                      </a:lnTo>
                    </a:path>
                  </a:pathLst>
                </a:custGeom>
                <a:noFill/>
                <a:ln w="6350" cap="rnd">
                  <a:solidFill>
                    <a:schemeClr val="bg1">
                      <a:alpha val="40000"/>
                    </a:schemeClr>
                  </a:solidFill>
                  <a:prstDash val="solid"/>
                  <a:round/>
                </a:ln>
              </p:spPr>
              <p:txBody>
                <a:bodyPr rtlCol="0" anchor="ctr"/>
                <a:lstStyle/>
                <a:p>
                  <a:endParaRPr lang="en-GB"/>
                </a:p>
              </p:txBody>
            </p:sp>
            <p:sp>
              <p:nvSpPr>
                <p:cNvPr id="6481" name="Vrije vorm: vorm 6480">
                  <a:extLst>
                    <a:ext uri="{FF2B5EF4-FFF2-40B4-BE49-F238E27FC236}">
                      <a16:creationId xmlns:a16="http://schemas.microsoft.com/office/drawing/2014/main" id="{CB09C2D9-AEEB-4A51-AE86-C4AC0BA7B5D7}"/>
                    </a:ext>
                  </a:extLst>
                </p:cNvPr>
                <p:cNvSpPr/>
                <p:nvPr/>
              </p:nvSpPr>
              <p:spPr>
                <a:xfrm>
                  <a:off x="6774622" y="1833729"/>
                  <a:ext cx="3588" cy="9030"/>
                </a:xfrm>
                <a:custGeom>
                  <a:avLst/>
                  <a:gdLst>
                    <a:gd name="connsiteX0" fmla="*/ 0 w 3588"/>
                    <a:gd name="connsiteY0" fmla="*/ 9031 h 9030"/>
                    <a:gd name="connsiteX1" fmla="*/ 120 w 3588"/>
                    <a:gd name="connsiteY1" fmla="*/ 8433 h 9030"/>
                    <a:gd name="connsiteX2" fmla="*/ 2392 w 3588"/>
                    <a:gd name="connsiteY2" fmla="*/ 2213 h 9030"/>
                    <a:gd name="connsiteX3" fmla="*/ 2572 w 3588"/>
                    <a:gd name="connsiteY3" fmla="*/ 1734 h 9030"/>
                    <a:gd name="connsiteX4" fmla="*/ 2931 w 3588"/>
                    <a:gd name="connsiteY4" fmla="*/ 897 h 9030"/>
                    <a:gd name="connsiteX5" fmla="*/ 3589 w 3588"/>
                    <a:gd name="connsiteY5" fmla="*/ 0 h 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8" h="9030">
                      <a:moveTo>
                        <a:pt x="0" y="9031"/>
                      </a:moveTo>
                      <a:lnTo>
                        <a:pt x="120" y="8433"/>
                      </a:lnTo>
                      <a:lnTo>
                        <a:pt x="2392" y="2213"/>
                      </a:lnTo>
                      <a:lnTo>
                        <a:pt x="2572" y="1734"/>
                      </a:lnTo>
                      <a:lnTo>
                        <a:pt x="2931" y="897"/>
                      </a:lnTo>
                      <a:lnTo>
                        <a:pt x="3589" y="0"/>
                      </a:lnTo>
                    </a:path>
                  </a:pathLst>
                </a:custGeom>
                <a:noFill/>
                <a:ln w="6350" cap="rnd">
                  <a:solidFill>
                    <a:schemeClr val="bg1">
                      <a:alpha val="40000"/>
                    </a:schemeClr>
                  </a:solidFill>
                  <a:prstDash val="solid"/>
                  <a:round/>
                </a:ln>
              </p:spPr>
              <p:txBody>
                <a:bodyPr rtlCol="0" anchor="ctr"/>
                <a:lstStyle/>
                <a:p>
                  <a:endParaRPr lang="en-GB"/>
                </a:p>
              </p:txBody>
            </p:sp>
            <p:sp>
              <p:nvSpPr>
                <p:cNvPr id="6482" name="Vrije vorm: vorm 6481">
                  <a:extLst>
                    <a:ext uri="{FF2B5EF4-FFF2-40B4-BE49-F238E27FC236}">
                      <a16:creationId xmlns:a16="http://schemas.microsoft.com/office/drawing/2014/main" id="{AFCB63D5-B403-4014-904B-72B1977454E4}"/>
                    </a:ext>
                  </a:extLst>
                </p:cNvPr>
                <p:cNvSpPr/>
                <p:nvPr/>
              </p:nvSpPr>
              <p:spPr>
                <a:xfrm>
                  <a:off x="6806021" y="1976908"/>
                  <a:ext cx="9030" cy="9688"/>
                </a:xfrm>
                <a:custGeom>
                  <a:avLst/>
                  <a:gdLst>
                    <a:gd name="connsiteX0" fmla="*/ 9031 w 9030"/>
                    <a:gd name="connsiteY0" fmla="*/ 9689 h 9688"/>
                    <a:gd name="connsiteX1" fmla="*/ 3349 w 9030"/>
                    <a:gd name="connsiteY1" fmla="*/ 5981 h 9688"/>
                    <a:gd name="connsiteX2" fmla="*/ 239 w 9030"/>
                    <a:gd name="connsiteY2" fmla="*/ 3947 h 9688"/>
                    <a:gd name="connsiteX3" fmla="*/ 120 w 9030"/>
                    <a:gd name="connsiteY3" fmla="*/ 3529 h 9688"/>
                    <a:gd name="connsiteX4" fmla="*/ 0 w 9030"/>
                    <a:gd name="connsiteY4" fmla="*/ 3110 h 9688"/>
                    <a:gd name="connsiteX5" fmla="*/ 120 w 9030"/>
                    <a:gd name="connsiteY5" fmla="*/ 2691 h 9688"/>
                    <a:gd name="connsiteX6" fmla="*/ 299 w 9030"/>
                    <a:gd name="connsiteY6" fmla="*/ 2153 h 9688"/>
                    <a:gd name="connsiteX7" fmla="*/ 479 w 9030"/>
                    <a:gd name="connsiteY7" fmla="*/ 1675 h 9688"/>
                    <a:gd name="connsiteX8" fmla="*/ 1555 w 9030"/>
                    <a:gd name="connsiteY8" fmla="*/ 478 h 9688"/>
                    <a:gd name="connsiteX9" fmla="*/ 2093 w 9030"/>
                    <a:gd name="connsiteY9" fmla="*/ 239 h 9688"/>
                    <a:gd name="connsiteX10" fmla="*/ 2572 w 9030"/>
                    <a:gd name="connsiteY10" fmla="*/ 0 h 9688"/>
                    <a:gd name="connsiteX11" fmla="*/ 7177 w 9030"/>
                    <a:gd name="connsiteY11" fmla="*/ 3050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30" h="9688">
                      <a:moveTo>
                        <a:pt x="9031" y="9689"/>
                      </a:moveTo>
                      <a:lnTo>
                        <a:pt x="3349" y="5981"/>
                      </a:lnTo>
                      <a:lnTo>
                        <a:pt x="239" y="3947"/>
                      </a:lnTo>
                      <a:lnTo>
                        <a:pt x="120" y="3529"/>
                      </a:lnTo>
                      <a:lnTo>
                        <a:pt x="0" y="3110"/>
                      </a:lnTo>
                      <a:lnTo>
                        <a:pt x="120" y="2691"/>
                      </a:lnTo>
                      <a:lnTo>
                        <a:pt x="299" y="2153"/>
                      </a:lnTo>
                      <a:lnTo>
                        <a:pt x="479" y="1675"/>
                      </a:lnTo>
                      <a:lnTo>
                        <a:pt x="1555" y="478"/>
                      </a:lnTo>
                      <a:lnTo>
                        <a:pt x="2093" y="239"/>
                      </a:lnTo>
                      <a:lnTo>
                        <a:pt x="2572" y="0"/>
                      </a:lnTo>
                      <a:lnTo>
                        <a:pt x="7177" y="3050"/>
                      </a:lnTo>
                    </a:path>
                  </a:pathLst>
                </a:custGeom>
                <a:noFill/>
                <a:ln w="6350" cap="rnd">
                  <a:solidFill>
                    <a:schemeClr val="bg1">
                      <a:alpha val="40000"/>
                    </a:schemeClr>
                  </a:solidFill>
                  <a:prstDash val="solid"/>
                  <a:round/>
                </a:ln>
              </p:spPr>
              <p:txBody>
                <a:bodyPr rtlCol="0" anchor="ctr"/>
                <a:lstStyle/>
                <a:p>
                  <a:endParaRPr lang="en-GB"/>
                </a:p>
              </p:txBody>
            </p:sp>
            <p:sp>
              <p:nvSpPr>
                <p:cNvPr id="6483" name="Vrije vorm: vorm 6482">
                  <a:extLst>
                    <a:ext uri="{FF2B5EF4-FFF2-40B4-BE49-F238E27FC236}">
                      <a16:creationId xmlns:a16="http://schemas.microsoft.com/office/drawing/2014/main" id="{4D592AD2-4B3E-4C9D-99D1-B37BB258C339}"/>
                    </a:ext>
                  </a:extLst>
                </p:cNvPr>
                <p:cNvSpPr/>
                <p:nvPr/>
              </p:nvSpPr>
              <p:spPr>
                <a:xfrm>
                  <a:off x="6868879" y="1992039"/>
                  <a:ext cx="51852" cy="81457"/>
                </a:xfrm>
                <a:custGeom>
                  <a:avLst/>
                  <a:gdLst>
                    <a:gd name="connsiteX0" fmla="*/ 51852 w 51852"/>
                    <a:gd name="connsiteY0" fmla="*/ 0 h 81457"/>
                    <a:gd name="connsiteX1" fmla="*/ 48982 w 51852"/>
                    <a:gd name="connsiteY1" fmla="*/ 1136 h 81457"/>
                    <a:gd name="connsiteX2" fmla="*/ 47367 w 51852"/>
                    <a:gd name="connsiteY2" fmla="*/ 1794 h 81457"/>
                    <a:gd name="connsiteX3" fmla="*/ 47128 w 51852"/>
                    <a:gd name="connsiteY3" fmla="*/ 1854 h 81457"/>
                    <a:gd name="connsiteX4" fmla="*/ 44317 w 51852"/>
                    <a:gd name="connsiteY4" fmla="*/ 2931 h 81457"/>
                    <a:gd name="connsiteX5" fmla="*/ 42164 w 51852"/>
                    <a:gd name="connsiteY5" fmla="*/ 4486 h 81457"/>
                    <a:gd name="connsiteX6" fmla="*/ 39652 w 51852"/>
                    <a:gd name="connsiteY6" fmla="*/ 6280 h 81457"/>
                    <a:gd name="connsiteX7" fmla="*/ 35645 w 51852"/>
                    <a:gd name="connsiteY7" fmla="*/ 9151 h 81457"/>
                    <a:gd name="connsiteX8" fmla="*/ 35645 w 51852"/>
                    <a:gd name="connsiteY8" fmla="*/ 9151 h 81457"/>
                    <a:gd name="connsiteX9" fmla="*/ 34987 w 51852"/>
                    <a:gd name="connsiteY9" fmla="*/ 9808 h 81457"/>
                    <a:gd name="connsiteX10" fmla="*/ 33193 w 51852"/>
                    <a:gd name="connsiteY10" fmla="*/ 11603 h 81457"/>
                    <a:gd name="connsiteX11" fmla="*/ 32475 w 51852"/>
                    <a:gd name="connsiteY11" fmla="*/ 12320 h 81457"/>
                    <a:gd name="connsiteX12" fmla="*/ 32057 w 51852"/>
                    <a:gd name="connsiteY12" fmla="*/ 12739 h 81457"/>
                    <a:gd name="connsiteX13" fmla="*/ 30442 w 51852"/>
                    <a:gd name="connsiteY13" fmla="*/ 14354 h 81457"/>
                    <a:gd name="connsiteX14" fmla="*/ 28527 w 51852"/>
                    <a:gd name="connsiteY14" fmla="*/ 16327 h 81457"/>
                    <a:gd name="connsiteX15" fmla="*/ 26554 w 51852"/>
                    <a:gd name="connsiteY15" fmla="*/ 18301 h 81457"/>
                    <a:gd name="connsiteX16" fmla="*/ 24401 w 51852"/>
                    <a:gd name="connsiteY16" fmla="*/ 21052 h 81457"/>
                    <a:gd name="connsiteX17" fmla="*/ 24281 w 51852"/>
                    <a:gd name="connsiteY17" fmla="*/ 21232 h 81457"/>
                    <a:gd name="connsiteX18" fmla="*/ 21291 w 51852"/>
                    <a:gd name="connsiteY18" fmla="*/ 25059 h 81457"/>
                    <a:gd name="connsiteX19" fmla="*/ 19018 w 51852"/>
                    <a:gd name="connsiteY19" fmla="*/ 27990 h 81457"/>
                    <a:gd name="connsiteX20" fmla="*/ 17882 w 51852"/>
                    <a:gd name="connsiteY20" fmla="*/ 29425 h 81457"/>
                    <a:gd name="connsiteX21" fmla="*/ 17703 w 51852"/>
                    <a:gd name="connsiteY21" fmla="*/ 29784 h 81457"/>
                    <a:gd name="connsiteX22" fmla="*/ 14353 w 51852"/>
                    <a:gd name="connsiteY22" fmla="*/ 35227 h 81457"/>
                    <a:gd name="connsiteX23" fmla="*/ 12798 w 51852"/>
                    <a:gd name="connsiteY23" fmla="*/ 37738 h 81457"/>
                    <a:gd name="connsiteX24" fmla="*/ 12619 w 51852"/>
                    <a:gd name="connsiteY24" fmla="*/ 38037 h 81457"/>
                    <a:gd name="connsiteX25" fmla="*/ 11124 w 51852"/>
                    <a:gd name="connsiteY25" fmla="*/ 40430 h 81457"/>
                    <a:gd name="connsiteX26" fmla="*/ 10347 w 51852"/>
                    <a:gd name="connsiteY26" fmla="*/ 41746 h 81457"/>
                    <a:gd name="connsiteX27" fmla="*/ 9569 w 51852"/>
                    <a:gd name="connsiteY27" fmla="*/ 43360 h 81457"/>
                    <a:gd name="connsiteX28" fmla="*/ 9509 w 51852"/>
                    <a:gd name="connsiteY28" fmla="*/ 43480 h 81457"/>
                    <a:gd name="connsiteX29" fmla="*/ 9509 w 51852"/>
                    <a:gd name="connsiteY29" fmla="*/ 43480 h 81457"/>
                    <a:gd name="connsiteX30" fmla="*/ 9210 w 51852"/>
                    <a:gd name="connsiteY30" fmla="*/ 44198 h 81457"/>
                    <a:gd name="connsiteX31" fmla="*/ 9031 w 51852"/>
                    <a:gd name="connsiteY31" fmla="*/ 44616 h 81457"/>
                    <a:gd name="connsiteX32" fmla="*/ 9031 w 51852"/>
                    <a:gd name="connsiteY32" fmla="*/ 44616 h 81457"/>
                    <a:gd name="connsiteX33" fmla="*/ 7894 w 51852"/>
                    <a:gd name="connsiteY33" fmla="*/ 47008 h 81457"/>
                    <a:gd name="connsiteX34" fmla="*/ 7296 w 51852"/>
                    <a:gd name="connsiteY34" fmla="*/ 48205 h 81457"/>
                    <a:gd name="connsiteX35" fmla="*/ 5921 w 51852"/>
                    <a:gd name="connsiteY35" fmla="*/ 51195 h 81457"/>
                    <a:gd name="connsiteX36" fmla="*/ 5562 w 51852"/>
                    <a:gd name="connsiteY36" fmla="*/ 51972 h 81457"/>
                    <a:gd name="connsiteX37" fmla="*/ 4545 w 51852"/>
                    <a:gd name="connsiteY37" fmla="*/ 54126 h 81457"/>
                    <a:gd name="connsiteX38" fmla="*/ 1674 w 51852"/>
                    <a:gd name="connsiteY38" fmla="*/ 63276 h 81457"/>
                    <a:gd name="connsiteX39" fmla="*/ 956 w 51852"/>
                    <a:gd name="connsiteY39" fmla="*/ 65489 h 81457"/>
                    <a:gd name="connsiteX40" fmla="*/ 418 w 51852"/>
                    <a:gd name="connsiteY40" fmla="*/ 70453 h 81457"/>
                    <a:gd name="connsiteX41" fmla="*/ 299 w 51852"/>
                    <a:gd name="connsiteY41" fmla="*/ 71829 h 81457"/>
                    <a:gd name="connsiteX42" fmla="*/ 0 w 51852"/>
                    <a:gd name="connsiteY42" fmla="*/ 74819 h 81457"/>
                    <a:gd name="connsiteX43" fmla="*/ 1614 w 51852"/>
                    <a:gd name="connsiteY43" fmla="*/ 81457 h 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852" h="81457">
                      <a:moveTo>
                        <a:pt x="51852" y="0"/>
                      </a:moveTo>
                      <a:lnTo>
                        <a:pt x="48982" y="1136"/>
                      </a:lnTo>
                      <a:lnTo>
                        <a:pt x="47367" y="1794"/>
                      </a:lnTo>
                      <a:lnTo>
                        <a:pt x="47128" y="1854"/>
                      </a:lnTo>
                      <a:lnTo>
                        <a:pt x="44317" y="2931"/>
                      </a:lnTo>
                      <a:lnTo>
                        <a:pt x="42164" y="4486"/>
                      </a:lnTo>
                      <a:lnTo>
                        <a:pt x="39652" y="6280"/>
                      </a:lnTo>
                      <a:lnTo>
                        <a:pt x="35645" y="9151"/>
                      </a:lnTo>
                      <a:lnTo>
                        <a:pt x="35645" y="9151"/>
                      </a:lnTo>
                      <a:lnTo>
                        <a:pt x="34987" y="9808"/>
                      </a:lnTo>
                      <a:lnTo>
                        <a:pt x="33193" y="11603"/>
                      </a:lnTo>
                      <a:lnTo>
                        <a:pt x="32475" y="12320"/>
                      </a:lnTo>
                      <a:lnTo>
                        <a:pt x="32057" y="12739"/>
                      </a:lnTo>
                      <a:lnTo>
                        <a:pt x="30442" y="14354"/>
                      </a:lnTo>
                      <a:lnTo>
                        <a:pt x="28527" y="16327"/>
                      </a:lnTo>
                      <a:lnTo>
                        <a:pt x="26554" y="18301"/>
                      </a:lnTo>
                      <a:lnTo>
                        <a:pt x="24401" y="21052"/>
                      </a:lnTo>
                      <a:lnTo>
                        <a:pt x="24281" y="21232"/>
                      </a:lnTo>
                      <a:lnTo>
                        <a:pt x="21291" y="25059"/>
                      </a:lnTo>
                      <a:lnTo>
                        <a:pt x="19018" y="27990"/>
                      </a:lnTo>
                      <a:lnTo>
                        <a:pt x="17882" y="29425"/>
                      </a:lnTo>
                      <a:lnTo>
                        <a:pt x="17703" y="29784"/>
                      </a:lnTo>
                      <a:lnTo>
                        <a:pt x="14353" y="35227"/>
                      </a:lnTo>
                      <a:lnTo>
                        <a:pt x="12798" y="37738"/>
                      </a:lnTo>
                      <a:lnTo>
                        <a:pt x="12619" y="38037"/>
                      </a:lnTo>
                      <a:lnTo>
                        <a:pt x="11124" y="40430"/>
                      </a:lnTo>
                      <a:lnTo>
                        <a:pt x="10347" y="41746"/>
                      </a:lnTo>
                      <a:lnTo>
                        <a:pt x="9569" y="43360"/>
                      </a:lnTo>
                      <a:lnTo>
                        <a:pt x="9509" y="43480"/>
                      </a:lnTo>
                      <a:lnTo>
                        <a:pt x="9509" y="43480"/>
                      </a:lnTo>
                      <a:lnTo>
                        <a:pt x="9210" y="44198"/>
                      </a:lnTo>
                      <a:lnTo>
                        <a:pt x="9031" y="44616"/>
                      </a:lnTo>
                      <a:lnTo>
                        <a:pt x="9031" y="44616"/>
                      </a:lnTo>
                      <a:lnTo>
                        <a:pt x="7894" y="47008"/>
                      </a:lnTo>
                      <a:lnTo>
                        <a:pt x="7296" y="48205"/>
                      </a:lnTo>
                      <a:lnTo>
                        <a:pt x="5921" y="51195"/>
                      </a:lnTo>
                      <a:lnTo>
                        <a:pt x="5562" y="51972"/>
                      </a:lnTo>
                      <a:lnTo>
                        <a:pt x="4545" y="54126"/>
                      </a:lnTo>
                      <a:lnTo>
                        <a:pt x="1674" y="63276"/>
                      </a:lnTo>
                      <a:lnTo>
                        <a:pt x="956" y="65489"/>
                      </a:lnTo>
                      <a:lnTo>
                        <a:pt x="418" y="70453"/>
                      </a:lnTo>
                      <a:lnTo>
                        <a:pt x="299" y="71829"/>
                      </a:lnTo>
                      <a:lnTo>
                        <a:pt x="0" y="74819"/>
                      </a:lnTo>
                      <a:lnTo>
                        <a:pt x="1614" y="81457"/>
                      </a:lnTo>
                    </a:path>
                  </a:pathLst>
                </a:custGeom>
                <a:noFill/>
                <a:ln w="6350" cap="rnd">
                  <a:solidFill>
                    <a:schemeClr val="bg1">
                      <a:alpha val="40000"/>
                    </a:schemeClr>
                  </a:solidFill>
                  <a:prstDash val="solid"/>
                  <a:round/>
                </a:ln>
              </p:spPr>
              <p:txBody>
                <a:bodyPr rtlCol="0" anchor="ctr"/>
                <a:lstStyle/>
                <a:p>
                  <a:endParaRPr lang="en-GB"/>
                </a:p>
              </p:txBody>
            </p:sp>
            <p:sp>
              <p:nvSpPr>
                <p:cNvPr id="6484" name="Vrije vorm: vorm 6483">
                  <a:extLst>
                    <a:ext uri="{FF2B5EF4-FFF2-40B4-BE49-F238E27FC236}">
                      <a16:creationId xmlns:a16="http://schemas.microsoft.com/office/drawing/2014/main" id="{83639608-026C-4F0E-B30A-1A8424C2BC57}"/>
                    </a:ext>
                  </a:extLst>
                </p:cNvPr>
                <p:cNvSpPr/>
                <p:nvPr/>
              </p:nvSpPr>
              <p:spPr>
                <a:xfrm>
                  <a:off x="6971089" y="1725837"/>
                  <a:ext cx="3288" cy="2272"/>
                </a:xfrm>
                <a:custGeom>
                  <a:avLst/>
                  <a:gdLst>
                    <a:gd name="connsiteX0" fmla="*/ 0 w 3288"/>
                    <a:gd name="connsiteY0" fmla="*/ 0 h 2272"/>
                    <a:gd name="connsiteX1" fmla="*/ 2392 w 3288"/>
                    <a:gd name="connsiteY1" fmla="*/ 1256 h 2272"/>
                    <a:gd name="connsiteX2" fmla="*/ 3289 w 3288"/>
                    <a:gd name="connsiteY2" fmla="*/ 1734 h 2272"/>
                    <a:gd name="connsiteX3" fmla="*/ 2990 w 3288"/>
                    <a:gd name="connsiteY3" fmla="*/ 2273 h 2272"/>
                    <a:gd name="connsiteX4" fmla="*/ 2751 w 3288"/>
                    <a:gd name="connsiteY4" fmla="*/ 2153 h 2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8" h="2272">
                      <a:moveTo>
                        <a:pt x="0" y="0"/>
                      </a:moveTo>
                      <a:lnTo>
                        <a:pt x="2392" y="1256"/>
                      </a:lnTo>
                      <a:lnTo>
                        <a:pt x="3289" y="1734"/>
                      </a:lnTo>
                      <a:lnTo>
                        <a:pt x="2990" y="2273"/>
                      </a:lnTo>
                      <a:lnTo>
                        <a:pt x="2751" y="2153"/>
                      </a:lnTo>
                    </a:path>
                  </a:pathLst>
                </a:custGeom>
                <a:noFill/>
                <a:ln w="6350" cap="rnd">
                  <a:solidFill>
                    <a:schemeClr val="bg1">
                      <a:alpha val="40000"/>
                    </a:schemeClr>
                  </a:solidFill>
                  <a:prstDash val="solid"/>
                  <a:round/>
                </a:ln>
              </p:spPr>
              <p:txBody>
                <a:bodyPr rtlCol="0" anchor="ctr"/>
                <a:lstStyle/>
                <a:p>
                  <a:endParaRPr lang="en-GB"/>
                </a:p>
              </p:txBody>
            </p:sp>
            <p:sp>
              <p:nvSpPr>
                <p:cNvPr id="6485" name="Vrije vorm: vorm 6484">
                  <a:extLst>
                    <a:ext uri="{FF2B5EF4-FFF2-40B4-BE49-F238E27FC236}">
                      <a16:creationId xmlns:a16="http://schemas.microsoft.com/office/drawing/2014/main" id="{4ECCAD12-FC34-4C3E-9AF0-9C17857BA2CC}"/>
                    </a:ext>
                  </a:extLst>
                </p:cNvPr>
                <p:cNvSpPr/>
                <p:nvPr/>
              </p:nvSpPr>
              <p:spPr>
                <a:xfrm>
                  <a:off x="6922646" y="2058963"/>
                  <a:ext cx="19317" cy="37020"/>
                </a:xfrm>
                <a:custGeom>
                  <a:avLst/>
                  <a:gdLst>
                    <a:gd name="connsiteX0" fmla="*/ 19318 w 19317"/>
                    <a:gd name="connsiteY0" fmla="*/ 34748 h 37020"/>
                    <a:gd name="connsiteX1" fmla="*/ 18241 w 19317"/>
                    <a:gd name="connsiteY1" fmla="*/ 35466 h 37020"/>
                    <a:gd name="connsiteX2" fmla="*/ 15968 w 19317"/>
                    <a:gd name="connsiteY2" fmla="*/ 37021 h 37020"/>
                    <a:gd name="connsiteX3" fmla="*/ 15550 w 19317"/>
                    <a:gd name="connsiteY3" fmla="*/ 36901 h 37020"/>
                    <a:gd name="connsiteX4" fmla="*/ 13695 w 19317"/>
                    <a:gd name="connsiteY4" fmla="*/ 36243 h 37020"/>
                    <a:gd name="connsiteX5" fmla="*/ 9031 w 19317"/>
                    <a:gd name="connsiteY5" fmla="*/ 25956 h 37020"/>
                    <a:gd name="connsiteX6" fmla="*/ 7476 w 19317"/>
                    <a:gd name="connsiteY6" fmla="*/ 21949 h 37020"/>
                    <a:gd name="connsiteX7" fmla="*/ 5741 w 19317"/>
                    <a:gd name="connsiteY7" fmla="*/ 17464 h 37020"/>
                    <a:gd name="connsiteX8" fmla="*/ 3887 w 19317"/>
                    <a:gd name="connsiteY8" fmla="*/ 12619 h 37020"/>
                    <a:gd name="connsiteX9" fmla="*/ 3588 w 19317"/>
                    <a:gd name="connsiteY9" fmla="*/ 11842 h 37020"/>
                    <a:gd name="connsiteX10" fmla="*/ 2153 w 19317"/>
                    <a:gd name="connsiteY10" fmla="*/ 7057 h 37020"/>
                    <a:gd name="connsiteX11" fmla="*/ 1794 w 19317"/>
                    <a:gd name="connsiteY11" fmla="*/ 5861 h 37020"/>
                    <a:gd name="connsiteX12" fmla="*/ 658 w 19317"/>
                    <a:gd name="connsiteY12" fmla="*/ 2093 h 37020"/>
                    <a:gd name="connsiteX13" fmla="*/ 538 w 19317"/>
                    <a:gd name="connsiteY13" fmla="*/ 1734 h 37020"/>
                    <a:gd name="connsiteX14" fmla="*/ 478 w 19317"/>
                    <a:gd name="connsiteY14" fmla="*/ 1555 h 37020"/>
                    <a:gd name="connsiteX15" fmla="*/ 0 w 19317"/>
                    <a:gd name="connsiteY15" fmla="*/ 0 h 3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317" h="37020">
                      <a:moveTo>
                        <a:pt x="19318" y="34748"/>
                      </a:moveTo>
                      <a:lnTo>
                        <a:pt x="18241" y="35466"/>
                      </a:lnTo>
                      <a:lnTo>
                        <a:pt x="15968" y="37021"/>
                      </a:lnTo>
                      <a:lnTo>
                        <a:pt x="15550" y="36901"/>
                      </a:lnTo>
                      <a:lnTo>
                        <a:pt x="13695" y="36243"/>
                      </a:lnTo>
                      <a:lnTo>
                        <a:pt x="9031" y="25956"/>
                      </a:lnTo>
                      <a:lnTo>
                        <a:pt x="7476" y="21949"/>
                      </a:lnTo>
                      <a:lnTo>
                        <a:pt x="5741" y="17464"/>
                      </a:lnTo>
                      <a:lnTo>
                        <a:pt x="3887" y="12619"/>
                      </a:lnTo>
                      <a:lnTo>
                        <a:pt x="3588" y="11842"/>
                      </a:lnTo>
                      <a:lnTo>
                        <a:pt x="2153" y="7057"/>
                      </a:lnTo>
                      <a:lnTo>
                        <a:pt x="1794" y="5861"/>
                      </a:lnTo>
                      <a:lnTo>
                        <a:pt x="658" y="2093"/>
                      </a:lnTo>
                      <a:lnTo>
                        <a:pt x="538" y="1734"/>
                      </a:lnTo>
                      <a:lnTo>
                        <a:pt x="478" y="155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86" name="Vrije vorm: vorm 6485">
                  <a:extLst>
                    <a:ext uri="{FF2B5EF4-FFF2-40B4-BE49-F238E27FC236}">
                      <a16:creationId xmlns:a16="http://schemas.microsoft.com/office/drawing/2014/main" id="{05AEE81D-F7AC-4249-99A9-421101DC3B8B}"/>
                    </a:ext>
                  </a:extLst>
                </p:cNvPr>
                <p:cNvSpPr/>
                <p:nvPr/>
              </p:nvSpPr>
              <p:spPr>
                <a:xfrm>
                  <a:off x="6766907" y="1830141"/>
                  <a:ext cx="54962" cy="48742"/>
                </a:xfrm>
                <a:custGeom>
                  <a:avLst/>
                  <a:gdLst>
                    <a:gd name="connsiteX0" fmla="*/ 54963 w 54962"/>
                    <a:gd name="connsiteY0" fmla="*/ 48743 h 48742"/>
                    <a:gd name="connsiteX1" fmla="*/ 54305 w 54962"/>
                    <a:gd name="connsiteY1" fmla="*/ 48743 h 48742"/>
                    <a:gd name="connsiteX2" fmla="*/ 53528 w 54962"/>
                    <a:gd name="connsiteY2" fmla="*/ 48264 h 48742"/>
                    <a:gd name="connsiteX3" fmla="*/ 52989 w 54962"/>
                    <a:gd name="connsiteY3" fmla="*/ 47965 h 48742"/>
                    <a:gd name="connsiteX4" fmla="*/ 52451 w 54962"/>
                    <a:gd name="connsiteY4" fmla="*/ 47607 h 48742"/>
                    <a:gd name="connsiteX5" fmla="*/ 52092 w 54962"/>
                    <a:gd name="connsiteY5" fmla="*/ 47427 h 48742"/>
                    <a:gd name="connsiteX6" fmla="*/ 50118 w 54962"/>
                    <a:gd name="connsiteY6" fmla="*/ 46171 h 48742"/>
                    <a:gd name="connsiteX7" fmla="*/ 49820 w 54962"/>
                    <a:gd name="connsiteY7" fmla="*/ 45992 h 48742"/>
                    <a:gd name="connsiteX8" fmla="*/ 49640 w 54962"/>
                    <a:gd name="connsiteY8" fmla="*/ 45872 h 48742"/>
                    <a:gd name="connsiteX9" fmla="*/ 48085 w 54962"/>
                    <a:gd name="connsiteY9" fmla="*/ 44915 h 48742"/>
                    <a:gd name="connsiteX10" fmla="*/ 48085 w 54962"/>
                    <a:gd name="connsiteY10" fmla="*/ 44915 h 48742"/>
                    <a:gd name="connsiteX11" fmla="*/ 48085 w 54962"/>
                    <a:gd name="connsiteY11" fmla="*/ 44915 h 48742"/>
                    <a:gd name="connsiteX12" fmla="*/ 47008 w 54962"/>
                    <a:gd name="connsiteY12" fmla="*/ 44257 h 48742"/>
                    <a:gd name="connsiteX13" fmla="*/ 46351 w 54962"/>
                    <a:gd name="connsiteY13" fmla="*/ 43839 h 48742"/>
                    <a:gd name="connsiteX14" fmla="*/ 43540 w 54962"/>
                    <a:gd name="connsiteY14" fmla="*/ 42044 h 48742"/>
                    <a:gd name="connsiteX15" fmla="*/ 43241 w 54962"/>
                    <a:gd name="connsiteY15" fmla="*/ 41865 h 48742"/>
                    <a:gd name="connsiteX16" fmla="*/ 41446 w 54962"/>
                    <a:gd name="connsiteY16" fmla="*/ 40729 h 48742"/>
                    <a:gd name="connsiteX17" fmla="*/ 38576 w 54962"/>
                    <a:gd name="connsiteY17" fmla="*/ 38934 h 48742"/>
                    <a:gd name="connsiteX18" fmla="*/ 37260 w 54962"/>
                    <a:gd name="connsiteY18" fmla="*/ 38097 h 48742"/>
                    <a:gd name="connsiteX19" fmla="*/ 37200 w 54962"/>
                    <a:gd name="connsiteY19" fmla="*/ 38037 h 48742"/>
                    <a:gd name="connsiteX20" fmla="*/ 37200 w 54962"/>
                    <a:gd name="connsiteY20" fmla="*/ 38037 h 48742"/>
                    <a:gd name="connsiteX21" fmla="*/ 34928 w 54962"/>
                    <a:gd name="connsiteY21" fmla="*/ 36602 h 48742"/>
                    <a:gd name="connsiteX22" fmla="*/ 31937 w 54962"/>
                    <a:gd name="connsiteY22" fmla="*/ 34748 h 48742"/>
                    <a:gd name="connsiteX23" fmla="*/ 26435 w 54962"/>
                    <a:gd name="connsiteY23" fmla="*/ 31339 h 48742"/>
                    <a:gd name="connsiteX24" fmla="*/ 24401 w 54962"/>
                    <a:gd name="connsiteY24" fmla="*/ 30023 h 48742"/>
                    <a:gd name="connsiteX25" fmla="*/ 22189 w 54962"/>
                    <a:gd name="connsiteY25" fmla="*/ 28648 h 48742"/>
                    <a:gd name="connsiteX26" fmla="*/ 21052 w 54962"/>
                    <a:gd name="connsiteY26" fmla="*/ 27930 h 48742"/>
                    <a:gd name="connsiteX27" fmla="*/ 20873 w 54962"/>
                    <a:gd name="connsiteY27" fmla="*/ 27810 h 48742"/>
                    <a:gd name="connsiteX28" fmla="*/ 18002 w 54962"/>
                    <a:gd name="connsiteY28" fmla="*/ 26016 h 48742"/>
                    <a:gd name="connsiteX29" fmla="*/ 14653 w 54962"/>
                    <a:gd name="connsiteY29" fmla="*/ 23923 h 48742"/>
                    <a:gd name="connsiteX30" fmla="*/ 6519 w 54962"/>
                    <a:gd name="connsiteY30" fmla="*/ 18779 h 48742"/>
                    <a:gd name="connsiteX31" fmla="*/ 4246 w 54962"/>
                    <a:gd name="connsiteY31" fmla="*/ 17344 h 48742"/>
                    <a:gd name="connsiteX32" fmla="*/ 4187 w 54962"/>
                    <a:gd name="connsiteY32" fmla="*/ 17284 h 48742"/>
                    <a:gd name="connsiteX33" fmla="*/ 3768 w 54962"/>
                    <a:gd name="connsiteY33" fmla="*/ 16985 h 48742"/>
                    <a:gd name="connsiteX34" fmla="*/ 0 w 54962"/>
                    <a:gd name="connsiteY34" fmla="*/ 14593 h 48742"/>
                    <a:gd name="connsiteX35" fmla="*/ 2751 w 54962"/>
                    <a:gd name="connsiteY35" fmla="*/ 9509 h 48742"/>
                    <a:gd name="connsiteX36" fmla="*/ 6340 w 54962"/>
                    <a:gd name="connsiteY36" fmla="*/ 2931 h 48742"/>
                    <a:gd name="connsiteX37" fmla="*/ 8732 w 54962"/>
                    <a:gd name="connsiteY37" fmla="*/ 179 h 48742"/>
                    <a:gd name="connsiteX38" fmla="*/ 9928 w 54962"/>
                    <a:gd name="connsiteY38" fmla="*/ 0 h 4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962" h="48742">
                      <a:moveTo>
                        <a:pt x="54963" y="48743"/>
                      </a:moveTo>
                      <a:lnTo>
                        <a:pt x="54305" y="48743"/>
                      </a:lnTo>
                      <a:lnTo>
                        <a:pt x="53528" y="48264"/>
                      </a:lnTo>
                      <a:lnTo>
                        <a:pt x="52989" y="47965"/>
                      </a:lnTo>
                      <a:lnTo>
                        <a:pt x="52451" y="47607"/>
                      </a:lnTo>
                      <a:lnTo>
                        <a:pt x="52092" y="47427"/>
                      </a:lnTo>
                      <a:lnTo>
                        <a:pt x="50118" y="46171"/>
                      </a:lnTo>
                      <a:lnTo>
                        <a:pt x="49820" y="45992"/>
                      </a:lnTo>
                      <a:lnTo>
                        <a:pt x="49640" y="45872"/>
                      </a:lnTo>
                      <a:lnTo>
                        <a:pt x="48085" y="44915"/>
                      </a:lnTo>
                      <a:lnTo>
                        <a:pt x="48085" y="44915"/>
                      </a:lnTo>
                      <a:lnTo>
                        <a:pt x="48085" y="44915"/>
                      </a:lnTo>
                      <a:lnTo>
                        <a:pt x="47008" y="44257"/>
                      </a:lnTo>
                      <a:lnTo>
                        <a:pt x="46351" y="43839"/>
                      </a:lnTo>
                      <a:lnTo>
                        <a:pt x="43540" y="42044"/>
                      </a:lnTo>
                      <a:lnTo>
                        <a:pt x="43241" y="41865"/>
                      </a:lnTo>
                      <a:lnTo>
                        <a:pt x="41446" y="40729"/>
                      </a:lnTo>
                      <a:lnTo>
                        <a:pt x="38576" y="38934"/>
                      </a:lnTo>
                      <a:lnTo>
                        <a:pt x="37260" y="38097"/>
                      </a:lnTo>
                      <a:lnTo>
                        <a:pt x="37200" y="38037"/>
                      </a:lnTo>
                      <a:lnTo>
                        <a:pt x="37200" y="38037"/>
                      </a:lnTo>
                      <a:lnTo>
                        <a:pt x="34928" y="36602"/>
                      </a:lnTo>
                      <a:lnTo>
                        <a:pt x="31937" y="34748"/>
                      </a:lnTo>
                      <a:lnTo>
                        <a:pt x="26435" y="31339"/>
                      </a:lnTo>
                      <a:lnTo>
                        <a:pt x="24401" y="30023"/>
                      </a:lnTo>
                      <a:lnTo>
                        <a:pt x="22189" y="28648"/>
                      </a:lnTo>
                      <a:lnTo>
                        <a:pt x="21052" y="27930"/>
                      </a:lnTo>
                      <a:lnTo>
                        <a:pt x="20873" y="27810"/>
                      </a:lnTo>
                      <a:lnTo>
                        <a:pt x="18002" y="26016"/>
                      </a:lnTo>
                      <a:lnTo>
                        <a:pt x="14653" y="23923"/>
                      </a:lnTo>
                      <a:lnTo>
                        <a:pt x="6519" y="18779"/>
                      </a:lnTo>
                      <a:lnTo>
                        <a:pt x="4246" y="17344"/>
                      </a:lnTo>
                      <a:lnTo>
                        <a:pt x="4187" y="17284"/>
                      </a:lnTo>
                      <a:lnTo>
                        <a:pt x="3768" y="16985"/>
                      </a:lnTo>
                      <a:lnTo>
                        <a:pt x="0" y="14593"/>
                      </a:lnTo>
                      <a:lnTo>
                        <a:pt x="2751" y="9509"/>
                      </a:lnTo>
                      <a:lnTo>
                        <a:pt x="6340" y="2931"/>
                      </a:lnTo>
                      <a:lnTo>
                        <a:pt x="8732" y="179"/>
                      </a:lnTo>
                      <a:lnTo>
                        <a:pt x="9928" y="0"/>
                      </a:lnTo>
                    </a:path>
                  </a:pathLst>
                </a:custGeom>
                <a:noFill/>
                <a:ln w="6350" cap="rnd">
                  <a:solidFill>
                    <a:schemeClr val="bg1">
                      <a:alpha val="40000"/>
                    </a:schemeClr>
                  </a:solidFill>
                  <a:prstDash val="solid"/>
                  <a:round/>
                </a:ln>
              </p:spPr>
              <p:txBody>
                <a:bodyPr rtlCol="0" anchor="ctr"/>
                <a:lstStyle/>
                <a:p>
                  <a:endParaRPr lang="en-GB"/>
                </a:p>
              </p:txBody>
            </p:sp>
            <p:sp>
              <p:nvSpPr>
                <p:cNvPr id="6487" name="Vrije vorm: vorm 6486">
                  <a:extLst>
                    <a:ext uri="{FF2B5EF4-FFF2-40B4-BE49-F238E27FC236}">
                      <a16:creationId xmlns:a16="http://schemas.microsoft.com/office/drawing/2014/main" id="{3161DF6B-F9D0-450C-82CD-A75F76F2C469}"/>
                    </a:ext>
                  </a:extLst>
                </p:cNvPr>
                <p:cNvSpPr/>
                <p:nvPr/>
              </p:nvSpPr>
              <p:spPr>
                <a:xfrm>
                  <a:off x="6776476" y="1832533"/>
                  <a:ext cx="46410" cy="43001"/>
                </a:xfrm>
                <a:custGeom>
                  <a:avLst/>
                  <a:gdLst>
                    <a:gd name="connsiteX0" fmla="*/ 43420 w 46410"/>
                    <a:gd name="connsiteY0" fmla="*/ 43001 h 43001"/>
                    <a:gd name="connsiteX1" fmla="*/ 43480 w 46410"/>
                    <a:gd name="connsiteY1" fmla="*/ 42762 h 43001"/>
                    <a:gd name="connsiteX2" fmla="*/ 43540 w 46410"/>
                    <a:gd name="connsiteY2" fmla="*/ 42583 h 43001"/>
                    <a:gd name="connsiteX3" fmla="*/ 43600 w 46410"/>
                    <a:gd name="connsiteY3" fmla="*/ 42284 h 43001"/>
                    <a:gd name="connsiteX4" fmla="*/ 43719 w 46410"/>
                    <a:gd name="connsiteY4" fmla="*/ 41805 h 43001"/>
                    <a:gd name="connsiteX5" fmla="*/ 43839 w 46410"/>
                    <a:gd name="connsiteY5" fmla="*/ 41387 h 43001"/>
                    <a:gd name="connsiteX6" fmla="*/ 44018 w 46410"/>
                    <a:gd name="connsiteY6" fmla="*/ 40848 h 43001"/>
                    <a:gd name="connsiteX7" fmla="*/ 44198 w 46410"/>
                    <a:gd name="connsiteY7" fmla="*/ 40071 h 43001"/>
                    <a:gd name="connsiteX8" fmla="*/ 44257 w 46410"/>
                    <a:gd name="connsiteY8" fmla="*/ 39832 h 43001"/>
                    <a:gd name="connsiteX9" fmla="*/ 44317 w 46410"/>
                    <a:gd name="connsiteY9" fmla="*/ 39592 h 43001"/>
                    <a:gd name="connsiteX10" fmla="*/ 44915 w 46410"/>
                    <a:gd name="connsiteY10" fmla="*/ 37320 h 43001"/>
                    <a:gd name="connsiteX11" fmla="*/ 45872 w 46410"/>
                    <a:gd name="connsiteY11" fmla="*/ 33851 h 43001"/>
                    <a:gd name="connsiteX12" fmla="*/ 45932 w 46410"/>
                    <a:gd name="connsiteY12" fmla="*/ 33552 h 43001"/>
                    <a:gd name="connsiteX13" fmla="*/ 46231 w 46410"/>
                    <a:gd name="connsiteY13" fmla="*/ 32475 h 43001"/>
                    <a:gd name="connsiteX14" fmla="*/ 46291 w 46410"/>
                    <a:gd name="connsiteY14" fmla="*/ 32176 h 43001"/>
                    <a:gd name="connsiteX15" fmla="*/ 46291 w 46410"/>
                    <a:gd name="connsiteY15" fmla="*/ 32117 h 43001"/>
                    <a:gd name="connsiteX16" fmla="*/ 46291 w 46410"/>
                    <a:gd name="connsiteY16" fmla="*/ 32057 h 43001"/>
                    <a:gd name="connsiteX17" fmla="*/ 46351 w 46410"/>
                    <a:gd name="connsiteY17" fmla="*/ 30681 h 43001"/>
                    <a:gd name="connsiteX18" fmla="*/ 46351 w 46410"/>
                    <a:gd name="connsiteY18" fmla="*/ 30681 h 43001"/>
                    <a:gd name="connsiteX19" fmla="*/ 46410 w 46410"/>
                    <a:gd name="connsiteY19" fmla="*/ 29485 h 43001"/>
                    <a:gd name="connsiteX20" fmla="*/ 46410 w 46410"/>
                    <a:gd name="connsiteY20" fmla="*/ 29066 h 43001"/>
                    <a:gd name="connsiteX21" fmla="*/ 46410 w 46410"/>
                    <a:gd name="connsiteY21" fmla="*/ 28887 h 43001"/>
                    <a:gd name="connsiteX22" fmla="*/ 46410 w 46410"/>
                    <a:gd name="connsiteY22" fmla="*/ 28827 h 43001"/>
                    <a:gd name="connsiteX23" fmla="*/ 46410 w 46410"/>
                    <a:gd name="connsiteY23" fmla="*/ 28827 h 43001"/>
                    <a:gd name="connsiteX24" fmla="*/ 45813 w 46410"/>
                    <a:gd name="connsiteY24" fmla="*/ 28109 h 43001"/>
                    <a:gd name="connsiteX25" fmla="*/ 44437 w 46410"/>
                    <a:gd name="connsiteY25" fmla="*/ 26495 h 43001"/>
                    <a:gd name="connsiteX26" fmla="*/ 43899 w 46410"/>
                    <a:gd name="connsiteY26" fmla="*/ 26016 h 43001"/>
                    <a:gd name="connsiteX27" fmla="*/ 42164 w 46410"/>
                    <a:gd name="connsiteY27" fmla="*/ 24521 h 43001"/>
                    <a:gd name="connsiteX28" fmla="*/ 41327 w 46410"/>
                    <a:gd name="connsiteY28" fmla="*/ 23803 h 43001"/>
                    <a:gd name="connsiteX29" fmla="*/ 35825 w 46410"/>
                    <a:gd name="connsiteY29" fmla="*/ 19079 h 43001"/>
                    <a:gd name="connsiteX30" fmla="*/ 35825 w 46410"/>
                    <a:gd name="connsiteY30" fmla="*/ 19079 h 43001"/>
                    <a:gd name="connsiteX31" fmla="*/ 35167 w 46410"/>
                    <a:gd name="connsiteY31" fmla="*/ 18660 h 43001"/>
                    <a:gd name="connsiteX32" fmla="*/ 34210 w 46410"/>
                    <a:gd name="connsiteY32" fmla="*/ 18002 h 43001"/>
                    <a:gd name="connsiteX33" fmla="*/ 30382 w 46410"/>
                    <a:gd name="connsiteY33" fmla="*/ 15430 h 43001"/>
                    <a:gd name="connsiteX34" fmla="*/ 26913 w 46410"/>
                    <a:gd name="connsiteY34" fmla="*/ 13098 h 43001"/>
                    <a:gd name="connsiteX35" fmla="*/ 23983 w 46410"/>
                    <a:gd name="connsiteY35" fmla="*/ 11124 h 43001"/>
                    <a:gd name="connsiteX36" fmla="*/ 23445 w 46410"/>
                    <a:gd name="connsiteY36" fmla="*/ 10825 h 43001"/>
                    <a:gd name="connsiteX37" fmla="*/ 22308 w 46410"/>
                    <a:gd name="connsiteY37" fmla="*/ 10167 h 43001"/>
                    <a:gd name="connsiteX38" fmla="*/ 22009 w 46410"/>
                    <a:gd name="connsiteY38" fmla="*/ 9988 h 43001"/>
                    <a:gd name="connsiteX39" fmla="*/ 15251 w 46410"/>
                    <a:gd name="connsiteY39" fmla="*/ 6160 h 43001"/>
                    <a:gd name="connsiteX40" fmla="*/ 15012 w 46410"/>
                    <a:gd name="connsiteY40" fmla="*/ 6041 h 43001"/>
                    <a:gd name="connsiteX41" fmla="*/ 12141 w 46410"/>
                    <a:gd name="connsiteY41" fmla="*/ 4366 h 43001"/>
                    <a:gd name="connsiteX42" fmla="*/ 2572 w 46410"/>
                    <a:gd name="connsiteY42" fmla="*/ 478 h 43001"/>
                    <a:gd name="connsiteX43" fmla="*/ 957 w 46410"/>
                    <a:gd name="connsiteY43" fmla="*/ 179 h 43001"/>
                    <a:gd name="connsiteX44" fmla="*/ 0 w 46410"/>
                    <a:gd name="connsiteY44" fmla="*/ 0 h 4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6410" h="43001">
                      <a:moveTo>
                        <a:pt x="43420" y="43001"/>
                      </a:moveTo>
                      <a:lnTo>
                        <a:pt x="43480" y="42762"/>
                      </a:lnTo>
                      <a:lnTo>
                        <a:pt x="43540" y="42583"/>
                      </a:lnTo>
                      <a:lnTo>
                        <a:pt x="43600" y="42284"/>
                      </a:lnTo>
                      <a:lnTo>
                        <a:pt x="43719" y="41805"/>
                      </a:lnTo>
                      <a:lnTo>
                        <a:pt x="43839" y="41387"/>
                      </a:lnTo>
                      <a:lnTo>
                        <a:pt x="44018" y="40848"/>
                      </a:lnTo>
                      <a:lnTo>
                        <a:pt x="44198" y="40071"/>
                      </a:lnTo>
                      <a:lnTo>
                        <a:pt x="44257" y="39832"/>
                      </a:lnTo>
                      <a:lnTo>
                        <a:pt x="44317" y="39592"/>
                      </a:lnTo>
                      <a:lnTo>
                        <a:pt x="44915" y="37320"/>
                      </a:lnTo>
                      <a:lnTo>
                        <a:pt x="45872" y="33851"/>
                      </a:lnTo>
                      <a:lnTo>
                        <a:pt x="45932" y="33552"/>
                      </a:lnTo>
                      <a:lnTo>
                        <a:pt x="46231" y="32475"/>
                      </a:lnTo>
                      <a:lnTo>
                        <a:pt x="46291" y="32176"/>
                      </a:lnTo>
                      <a:lnTo>
                        <a:pt x="46291" y="32117"/>
                      </a:lnTo>
                      <a:lnTo>
                        <a:pt x="46291" y="32057"/>
                      </a:lnTo>
                      <a:lnTo>
                        <a:pt x="46351" y="30681"/>
                      </a:lnTo>
                      <a:lnTo>
                        <a:pt x="46351" y="30681"/>
                      </a:lnTo>
                      <a:lnTo>
                        <a:pt x="46410" y="29485"/>
                      </a:lnTo>
                      <a:lnTo>
                        <a:pt x="46410" y="29066"/>
                      </a:lnTo>
                      <a:lnTo>
                        <a:pt x="46410" y="28887"/>
                      </a:lnTo>
                      <a:lnTo>
                        <a:pt x="46410" y="28827"/>
                      </a:lnTo>
                      <a:lnTo>
                        <a:pt x="46410" y="28827"/>
                      </a:lnTo>
                      <a:lnTo>
                        <a:pt x="45813" y="28109"/>
                      </a:lnTo>
                      <a:lnTo>
                        <a:pt x="44437" y="26495"/>
                      </a:lnTo>
                      <a:lnTo>
                        <a:pt x="43899" y="26016"/>
                      </a:lnTo>
                      <a:lnTo>
                        <a:pt x="42164" y="24521"/>
                      </a:lnTo>
                      <a:lnTo>
                        <a:pt x="41327" y="23803"/>
                      </a:lnTo>
                      <a:lnTo>
                        <a:pt x="35825" y="19079"/>
                      </a:lnTo>
                      <a:lnTo>
                        <a:pt x="35825" y="19079"/>
                      </a:lnTo>
                      <a:lnTo>
                        <a:pt x="35167" y="18660"/>
                      </a:lnTo>
                      <a:lnTo>
                        <a:pt x="34210" y="18002"/>
                      </a:lnTo>
                      <a:lnTo>
                        <a:pt x="30382" y="15430"/>
                      </a:lnTo>
                      <a:lnTo>
                        <a:pt x="26913" y="13098"/>
                      </a:lnTo>
                      <a:lnTo>
                        <a:pt x="23983" y="11124"/>
                      </a:lnTo>
                      <a:lnTo>
                        <a:pt x="23445" y="10825"/>
                      </a:lnTo>
                      <a:lnTo>
                        <a:pt x="22308" y="10167"/>
                      </a:lnTo>
                      <a:lnTo>
                        <a:pt x="22009" y="9988"/>
                      </a:lnTo>
                      <a:lnTo>
                        <a:pt x="15251" y="6160"/>
                      </a:lnTo>
                      <a:lnTo>
                        <a:pt x="15012" y="6041"/>
                      </a:lnTo>
                      <a:lnTo>
                        <a:pt x="12141" y="4366"/>
                      </a:lnTo>
                      <a:lnTo>
                        <a:pt x="2572" y="478"/>
                      </a:lnTo>
                      <a:lnTo>
                        <a:pt x="957" y="17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88" name="Vrije vorm: vorm 6487">
                  <a:extLst>
                    <a:ext uri="{FF2B5EF4-FFF2-40B4-BE49-F238E27FC236}">
                      <a16:creationId xmlns:a16="http://schemas.microsoft.com/office/drawing/2014/main" id="{C6772106-50EF-4DE3-9366-8F591B20DDF2}"/>
                    </a:ext>
                  </a:extLst>
                </p:cNvPr>
                <p:cNvSpPr/>
                <p:nvPr/>
              </p:nvSpPr>
              <p:spPr>
                <a:xfrm>
                  <a:off x="6686766" y="1935103"/>
                  <a:ext cx="35106" cy="24341"/>
                </a:xfrm>
                <a:custGeom>
                  <a:avLst/>
                  <a:gdLst>
                    <a:gd name="connsiteX0" fmla="*/ 35107 w 35106"/>
                    <a:gd name="connsiteY0" fmla="*/ 19856 h 24341"/>
                    <a:gd name="connsiteX1" fmla="*/ 28528 w 35106"/>
                    <a:gd name="connsiteY1" fmla="*/ 22129 h 24341"/>
                    <a:gd name="connsiteX2" fmla="*/ 19856 w 35106"/>
                    <a:gd name="connsiteY2" fmla="*/ 23325 h 24341"/>
                    <a:gd name="connsiteX3" fmla="*/ 13038 w 35106"/>
                    <a:gd name="connsiteY3" fmla="*/ 24282 h 24341"/>
                    <a:gd name="connsiteX4" fmla="*/ 12799 w 35106"/>
                    <a:gd name="connsiteY4" fmla="*/ 24341 h 24341"/>
                    <a:gd name="connsiteX5" fmla="*/ 10706 w 35106"/>
                    <a:gd name="connsiteY5" fmla="*/ 23145 h 24341"/>
                    <a:gd name="connsiteX6" fmla="*/ 2333 w 35106"/>
                    <a:gd name="connsiteY6" fmla="*/ 18421 h 24341"/>
                    <a:gd name="connsiteX7" fmla="*/ 1256 w 35106"/>
                    <a:gd name="connsiteY7" fmla="*/ 16447 h 24341"/>
                    <a:gd name="connsiteX8" fmla="*/ 718 w 35106"/>
                    <a:gd name="connsiteY8" fmla="*/ 14294 h 24341"/>
                    <a:gd name="connsiteX9" fmla="*/ 598 w 35106"/>
                    <a:gd name="connsiteY9" fmla="*/ 13935 h 24341"/>
                    <a:gd name="connsiteX10" fmla="*/ 0 w 35106"/>
                    <a:gd name="connsiteY10" fmla="*/ 11543 h 24341"/>
                    <a:gd name="connsiteX11" fmla="*/ 897 w 35106"/>
                    <a:gd name="connsiteY11" fmla="*/ 10227 h 24341"/>
                    <a:gd name="connsiteX12" fmla="*/ 3349 w 35106"/>
                    <a:gd name="connsiteY12" fmla="*/ 6698 h 24341"/>
                    <a:gd name="connsiteX13" fmla="*/ 6280 w 35106"/>
                    <a:gd name="connsiteY13" fmla="*/ 2452 h 24341"/>
                    <a:gd name="connsiteX14" fmla="*/ 7954 w 35106"/>
                    <a:gd name="connsiteY14" fmla="*/ 1675 h 24341"/>
                    <a:gd name="connsiteX15" fmla="*/ 7954 w 35106"/>
                    <a:gd name="connsiteY15" fmla="*/ 1675 h 24341"/>
                    <a:gd name="connsiteX16" fmla="*/ 11483 w 35106"/>
                    <a:gd name="connsiteY16" fmla="*/ 0 h 24341"/>
                    <a:gd name="connsiteX17" fmla="*/ 12380 w 35106"/>
                    <a:gd name="connsiteY17" fmla="*/ 179 h 24341"/>
                    <a:gd name="connsiteX18" fmla="*/ 15729 w 35106"/>
                    <a:gd name="connsiteY18" fmla="*/ 837 h 24341"/>
                    <a:gd name="connsiteX19" fmla="*/ 15849 w 35106"/>
                    <a:gd name="connsiteY19" fmla="*/ 837 h 24341"/>
                    <a:gd name="connsiteX20" fmla="*/ 15909 w 35106"/>
                    <a:gd name="connsiteY20" fmla="*/ 837 h 24341"/>
                    <a:gd name="connsiteX21" fmla="*/ 16387 w 35106"/>
                    <a:gd name="connsiteY21" fmla="*/ 957 h 24341"/>
                    <a:gd name="connsiteX22" fmla="*/ 19916 w 35106"/>
                    <a:gd name="connsiteY22" fmla="*/ 1675 h 24341"/>
                    <a:gd name="connsiteX23" fmla="*/ 20693 w 35106"/>
                    <a:gd name="connsiteY23" fmla="*/ 1854 h 2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06" h="24341">
                      <a:moveTo>
                        <a:pt x="35107" y="19856"/>
                      </a:moveTo>
                      <a:lnTo>
                        <a:pt x="28528" y="22129"/>
                      </a:lnTo>
                      <a:lnTo>
                        <a:pt x="19856" y="23325"/>
                      </a:lnTo>
                      <a:lnTo>
                        <a:pt x="13038" y="24282"/>
                      </a:lnTo>
                      <a:lnTo>
                        <a:pt x="12799" y="24341"/>
                      </a:lnTo>
                      <a:lnTo>
                        <a:pt x="10706" y="23145"/>
                      </a:lnTo>
                      <a:lnTo>
                        <a:pt x="2333" y="18421"/>
                      </a:lnTo>
                      <a:lnTo>
                        <a:pt x="1256" y="16447"/>
                      </a:lnTo>
                      <a:lnTo>
                        <a:pt x="718" y="14294"/>
                      </a:lnTo>
                      <a:lnTo>
                        <a:pt x="598" y="13935"/>
                      </a:lnTo>
                      <a:lnTo>
                        <a:pt x="0" y="11543"/>
                      </a:lnTo>
                      <a:lnTo>
                        <a:pt x="897" y="10227"/>
                      </a:lnTo>
                      <a:lnTo>
                        <a:pt x="3349" y="6698"/>
                      </a:lnTo>
                      <a:lnTo>
                        <a:pt x="6280" y="2452"/>
                      </a:lnTo>
                      <a:lnTo>
                        <a:pt x="7954" y="1675"/>
                      </a:lnTo>
                      <a:lnTo>
                        <a:pt x="7954" y="1675"/>
                      </a:lnTo>
                      <a:lnTo>
                        <a:pt x="11483" y="0"/>
                      </a:lnTo>
                      <a:lnTo>
                        <a:pt x="12380" y="179"/>
                      </a:lnTo>
                      <a:lnTo>
                        <a:pt x="15729" y="837"/>
                      </a:lnTo>
                      <a:lnTo>
                        <a:pt x="15849" y="837"/>
                      </a:lnTo>
                      <a:lnTo>
                        <a:pt x="15909" y="837"/>
                      </a:lnTo>
                      <a:lnTo>
                        <a:pt x="16387" y="957"/>
                      </a:lnTo>
                      <a:lnTo>
                        <a:pt x="19916" y="1675"/>
                      </a:lnTo>
                      <a:lnTo>
                        <a:pt x="20693" y="1854"/>
                      </a:lnTo>
                    </a:path>
                  </a:pathLst>
                </a:custGeom>
                <a:noFill/>
                <a:ln w="6350" cap="rnd">
                  <a:solidFill>
                    <a:schemeClr val="bg1">
                      <a:alpha val="40000"/>
                    </a:schemeClr>
                  </a:solidFill>
                  <a:prstDash val="solid"/>
                  <a:round/>
                </a:ln>
              </p:spPr>
              <p:txBody>
                <a:bodyPr rtlCol="0" anchor="ctr"/>
                <a:lstStyle/>
                <a:p>
                  <a:endParaRPr lang="en-GB"/>
                </a:p>
              </p:txBody>
            </p:sp>
            <p:sp>
              <p:nvSpPr>
                <p:cNvPr id="6489" name="Vrije vorm: vorm 6488">
                  <a:extLst>
                    <a:ext uri="{FF2B5EF4-FFF2-40B4-BE49-F238E27FC236}">
                      <a16:creationId xmlns:a16="http://schemas.microsoft.com/office/drawing/2014/main" id="{1466BBC2-DFDB-481A-882C-48EB5014D0BA}"/>
                    </a:ext>
                  </a:extLst>
                </p:cNvPr>
                <p:cNvSpPr/>
                <p:nvPr/>
              </p:nvSpPr>
              <p:spPr>
                <a:xfrm>
                  <a:off x="6871690" y="1913811"/>
                  <a:ext cx="29245" cy="13097"/>
                </a:xfrm>
                <a:custGeom>
                  <a:avLst/>
                  <a:gdLst>
                    <a:gd name="connsiteX0" fmla="*/ 0 w 29245"/>
                    <a:gd name="connsiteY0" fmla="*/ 13098 h 13097"/>
                    <a:gd name="connsiteX1" fmla="*/ 2392 w 29245"/>
                    <a:gd name="connsiteY1" fmla="*/ 9390 h 13097"/>
                    <a:gd name="connsiteX2" fmla="*/ 4904 w 29245"/>
                    <a:gd name="connsiteY2" fmla="*/ 5502 h 13097"/>
                    <a:gd name="connsiteX3" fmla="*/ 6160 w 29245"/>
                    <a:gd name="connsiteY3" fmla="*/ 3588 h 13097"/>
                    <a:gd name="connsiteX4" fmla="*/ 8672 w 29245"/>
                    <a:gd name="connsiteY4" fmla="*/ 1615 h 13097"/>
                    <a:gd name="connsiteX5" fmla="*/ 9330 w 29245"/>
                    <a:gd name="connsiteY5" fmla="*/ 1076 h 13097"/>
                    <a:gd name="connsiteX6" fmla="*/ 11842 w 29245"/>
                    <a:gd name="connsiteY6" fmla="*/ 419 h 13097"/>
                    <a:gd name="connsiteX7" fmla="*/ 13457 w 29245"/>
                    <a:gd name="connsiteY7" fmla="*/ 0 h 13097"/>
                    <a:gd name="connsiteX8" fmla="*/ 14832 w 29245"/>
                    <a:gd name="connsiteY8" fmla="*/ 120 h 13097"/>
                    <a:gd name="connsiteX9" fmla="*/ 17822 w 29245"/>
                    <a:gd name="connsiteY9" fmla="*/ 419 h 13097"/>
                    <a:gd name="connsiteX10" fmla="*/ 18002 w 29245"/>
                    <a:gd name="connsiteY10" fmla="*/ 419 h 13097"/>
                    <a:gd name="connsiteX11" fmla="*/ 18839 w 29245"/>
                    <a:gd name="connsiteY11" fmla="*/ 598 h 13097"/>
                    <a:gd name="connsiteX12" fmla="*/ 22308 w 29245"/>
                    <a:gd name="connsiteY12" fmla="*/ 1256 h 13097"/>
                    <a:gd name="connsiteX13" fmla="*/ 25717 w 29245"/>
                    <a:gd name="connsiteY13" fmla="*/ 2751 h 13097"/>
                    <a:gd name="connsiteX14" fmla="*/ 25956 w 29245"/>
                    <a:gd name="connsiteY14" fmla="*/ 2871 h 13097"/>
                    <a:gd name="connsiteX15" fmla="*/ 26853 w 29245"/>
                    <a:gd name="connsiteY15" fmla="*/ 3289 h 13097"/>
                    <a:gd name="connsiteX16" fmla="*/ 27033 w 29245"/>
                    <a:gd name="connsiteY16" fmla="*/ 3349 h 13097"/>
                    <a:gd name="connsiteX17" fmla="*/ 27033 w 29245"/>
                    <a:gd name="connsiteY17" fmla="*/ 3349 h 13097"/>
                    <a:gd name="connsiteX18" fmla="*/ 27870 w 29245"/>
                    <a:gd name="connsiteY18" fmla="*/ 3768 h 13097"/>
                    <a:gd name="connsiteX19" fmla="*/ 28648 w 29245"/>
                    <a:gd name="connsiteY19" fmla="*/ 4127 h 13097"/>
                    <a:gd name="connsiteX20" fmla="*/ 29246 w 29245"/>
                    <a:gd name="connsiteY20" fmla="*/ 4426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245" h="13097">
                      <a:moveTo>
                        <a:pt x="0" y="13098"/>
                      </a:moveTo>
                      <a:lnTo>
                        <a:pt x="2392" y="9390"/>
                      </a:lnTo>
                      <a:lnTo>
                        <a:pt x="4904" y="5502"/>
                      </a:lnTo>
                      <a:lnTo>
                        <a:pt x="6160" y="3588"/>
                      </a:lnTo>
                      <a:lnTo>
                        <a:pt x="8672" y="1615"/>
                      </a:lnTo>
                      <a:lnTo>
                        <a:pt x="9330" y="1076"/>
                      </a:lnTo>
                      <a:lnTo>
                        <a:pt x="11842" y="419"/>
                      </a:lnTo>
                      <a:lnTo>
                        <a:pt x="13457" y="0"/>
                      </a:lnTo>
                      <a:lnTo>
                        <a:pt x="14832" y="120"/>
                      </a:lnTo>
                      <a:lnTo>
                        <a:pt x="17822" y="419"/>
                      </a:lnTo>
                      <a:lnTo>
                        <a:pt x="18002" y="419"/>
                      </a:lnTo>
                      <a:lnTo>
                        <a:pt x="18839" y="598"/>
                      </a:lnTo>
                      <a:lnTo>
                        <a:pt x="22308" y="1256"/>
                      </a:lnTo>
                      <a:lnTo>
                        <a:pt x="25717" y="2751"/>
                      </a:lnTo>
                      <a:lnTo>
                        <a:pt x="25956" y="2871"/>
                      </a:lnTo>
                      <a:lnTo>
                        <a:pt x="26853" y="3289"/>
                      </a:lnTo>
                      <a:lnTo>
                        <a:pt x="27033" y="3349"/>
                      </a:lnTo>
                      <a:lnTo>
                        <a:pt x="27033" y="3349"/>
                      </a:lnTo>
                      <a:lnTo>
                        <a:pt x="27870" y="3768"/>
                      </a:lnTo>
                      <a:lnTo>
                        <a:pt x="28648" y="4127"/>
                      </a:lnTo>
                      <a:lnTo>
                        <a:pt x="29246" y="4426"/>
                      </a:lnTo>
                    </a:path>
                  </a:pathLst>
                </a:custGeom>
                <a:noFill/>
                <a:ln w="6350" cap="rnd">
                  <a:solidFill>
                    <a:schemeClr val="bg1">
                      <a:alpha val="40000"/>
                    </a:schemeClr>
                  </a:solidFill>
                  <a:prstDash val="solid"/>
                  <a:round/>
                </a:ln>
              </p:spPr>
              <p:txBody>
                <a:bodyPr rtlCol="0" anchor="ctr"/>
                <a:lstStyle/>
                <a:p>
                  <a:endParaRPr lang="en-GB"/>
                </a:p>
              </p:txBody>
            </p:sp>
            <p:sp>
              <p:nvSpPr>
                <p:cNvPr id="6490" name="Vrije vorm: vorm 6489">
                  <a:extLst>
                    <a:ext uri="{FF2B5EF4-FFF2-40B4-BE49-F238E27FC236}">
                      <a16:creationId xmlns:a16="http://schemas.microsoft.com/office/drawing/2014/main" id="{4ACB61D5-86F9-4B09-A26D-D6186FA69FBF}"/>
                    </a:ext>
                  </a:extLst>
                </p:cNvPr>
                <p:cNvSpPr/>
                <p:nvPr/>
              </p:nvSpPr>
              <p:spPr>
                <a:xfrm>
                  <a:off x="6863855" y="1695575"/>
                  <a:ext cx="1495" cy="3887"/>
                </a:xfrm>
                <a:custGeom>
                  <a:avLst/>
                  <a:gdLst>
                    <a:gd name="connsiteX0" fmla="*/ 0 w 1495"/>
                    <a:gd name="connsiteY0" fmla="*/ 3887 h 3887"/>
                    <a:gd name="connsiteX1" fmla="*/ 658 w 1495"/>
                    <a:gd name="connsiteY1" fmla="*/ 2871 h 3887"/>
                    <a:gd name="connsiteX2" fmla="*/ 1435 w 1495"/>
                    <a:gd name="connsiteY2" fmla="*/ 837 h 3887"/>
                    <a:gd name="connsiteX3" fmla="*/ 1495 w 1495"/>
                    <a:gd name="connsiteY3" fmla="*/ 0 h 3887"/>
                  </a:gdLst>
                  <a:ahLst/>
                  <a:cxnLst>
                    <a:cxn ang="0">
                      <a:pos x="connsiteX0" y="connsiteY0"/>
                    </a:cxn>
                    <a:cxn ang="0">
                      <a:pos x="connsiteX1" y="connsiteY1"/>
                    </a:cxn>
                    <a:cxn ang="0">
                      <a:pos x="connsiteX2" y="connsiteY2"/>
                    </a:cxn>
                    <a:cxn ang="0">
                      <a:pos x="connsiteX3" y="connsiteY3"/>
                    </a:cxn>
                  </a:cxnLst>
                  <a:rect l="l" t="t" r="r" b="b"/>
                  <a:pathLst>
                    <a:path w="1495" h="3887">
                      <a:moveTo>
                        <a:pt x="0" y="3887"/>
                      </a:moveTo>
                      <a:lnTo>
                        <a:pt x="658" y="2871"/>
                      </a:lnTo>
                      <a:lnTo>
                        <a:pt x="1435" y="837"/>
                      </a:lnTo>
                      <a:lnTo>
                        <a:pt x="1495" y="0"/>
                      </a:lnTo>
                    </a:path>
                  </a:pathLst>
                </a:custGeom>
                <a:noFill/>
                <a:ln w="6350" cap="rnd">
                  <a:solidFill>
                    <a:schemeClr val="bg1">
                      <a:alpha val="40000"/>
                    </a:schemeClr>
                  </a:solidFill>
                  <a:prstDash val="solid"/>
                  <a:round/>
                </a:ln>
              </p:spPr>
              <p:txBody>
                <a:bodyPr rtlCol="0" anchor="ctr"/>
                <a:lstStyle/>
                <a:p>
                  <a:endParaRPr lang="en-GB"/>
                </a:p>
              </p:txBody>
            </p:sp>
            <p:sp>
              <p:nvSpPr>
                <p:cNvPr id="6491" name="Vrije vorm: vorm 6490">
                  <a:extLst>
                    <a:ext uri="{FF2B5EF4-FFF2-40B4-BE49-F238E27FC236}">
                      <a16:creationId xmlns:a16="http://schemas.microsoft.com/office/drawing/2014/main" id="{58132310-FBA1-4D99-B332-D24D97466BE9}"/>
                    </a:ext>
                  </a:extLst>
                </p:cNvPr>
                <p:cNvSpPr/>
                <p:nvPr/>
              </p:nvSpPr>
              <p:spPr>
                <a:xfrm>
                  <a:off x="6759372" y="1970389"/>
                  <a:ext cx="12440" cy="29365"/>
                </a:xfrm>
                <a:custGeom>
                  <a:avLst/>
                  <a:gdLst>
                    <a:gd name="connsiteX0" fmla="*/ 11842 w 12440"/>
                    <a:gd name="connsiteY0" fmla="*/ 0 h 29365"/>
                    <a:gd name="connsiteX1" fmla="*/ 12021 w 12440"/>
                    <a:gd name="connsiteY1" fmla="*/ 4007 h 29365"/>
                    <a:gd name="connsiteX2" fmla="*/ 12021 w 12440"/>
                    <a:gd name="connsiteY2" fmla="*/ 4306 h 29365"/>
                    <a:gd name="connsiteX3" fmla="*/ 12141 w 12440"/>
                    <a:gd name="connsiteY3" fmla="*/ 4785 h 29365"/>
                    <a:gd name="connsiteX4" fmla="*/ 12440 w 12440"/>
                    <a:gd name="connsiteY4" fmla="*/ 6220 h 29365"/>
                    <a:gd name="connsiteX5" fmla="*/ 12141 w 12440"/>
                    <a:gd name="connsiteY5" fmla="*/ 8074 h 29365"/>
                    <a:gd name="connsiteX6" fmla="*/ 12141 w 12440"/>
                    <a:gd name="connsiteY6" fmla="*/ 8253 h 29365"/>
                    <a:gd name="connsiteX7" fmla="*/ 11842 w 12440"/>
                    <a:gd name="connsiteY7" fmla="*/ 10227 h 29365"/>
                    <a:gd name="connsiteX8" fmla="*/ 11782 w 12440"/>
                    <a:gd name="connsiteY8" fmla="*/ 10406 h 29365"/>
                    <a:gd name="connsiteX9" fmla="*/ 11304 w 12440"/>
                    <a:gd name="connsiteY9" fmla="*/ 12021 h 29365"/>
                    <a:gd name="connsiteX10" fmla="*/ 11304 w 12440"/>
                    <a:gd name="connsiteY10" fmla="*/ 12081 h 29365"/>
                    <a:gd name="connsiteX11" fmla="*/ 11304 w 12440"/>
                    <a:gd name="connsiteY11" fmla="*/ 12081 h 29365"/>
                    <a:gd name="connsiteX12" fmla="*/ 11244 w 12440"/>
                    <a:gd name="connsiteY12" fmla="*/ 12260 h 29365"/>
                    <a:gd name="connsiteX13" fmla="*/ 11124 w 12440"/>
                    <a:gd name="connsiteY13" fmla="*/ 12739 h 29365"/>
                    <a:gd name="connsiteX14" fmla="*/ 10945 w 12440"/>
                    <a:gd name="connsiteY14" fmla="*/ 13337 h 29365"/>
                    <a:gd name="connsiteX15" fmla="*/ 10347 w 12440"/>
                    <a:gd name="connsiteY15" fmla="*/ 15251 h 29365"/>
                    <a:gd name="connsiteX16" fmla="*/ 10347 w 12440"/>
                    <a:gd name="connsiteY16" fmla="*/ 15311 h 29365"/>
                    <a:gd name="connsiteX17" fmla="*/ 9988 w 12440"/>
                    <a:gd name="connsiteY17" fmla="*/ 16268 h 29365"/>
                    <a:gd name="connsiteX18" fmla="*/ 9928 w 12440"/>
                    <a:gd name="connsiteY18" fmla="*/ 16507 h 29365"/>
                    <a:gd name="connsiteX19" fmla="*/ 9689 w 12440"/>
                    <a:gd name="connsiteY19" fmla="*/ 17105 h 29365"/>
                    <a:gd name="connsiteX20" fmla="*/ 9569 w 12440"/>
                    <a:gd name="connsiteY20" fmla="*/ 17464 h 29365"/>
                    <a:gd name="connsiteX21" fmla="*/ 9450 w 12440"/>
                    <a:gd name="connsiteY21" fmla="*/ 17763 h 29365"/>
                    <a:gd name="connsiteX22" fmla="*/ 8971 w 12440"/>
                    <a:gd name="connsiteY22" fmla="*/ 18959 h 29365"/>
                    <a:gd name="connsiteX23" fmla="*/ 8851 w 12440"/>
                    <a:gd name="connsiteY23" fmla="*/ 19318 h 29365"/>
                    <a:gd name="connsiteX24" fmla="*/ 8792 w 12440"/>
                    <a:gd name="connsiteY24" fmla="*/ 19437 h 29365"/>
                    <a:gd name="connsiteX25" fmla="*/ 7476 w 12440"/>
                    <a:gd name="connsiteY25" fmla="*/ 23086 h 29365"/>
                    <a:gd name="connsiteX26" fmla="*/ 7476 w 12440"/>
                    <a:gd name="connsiteY26" fmla="*/ 23145 h 29365"/>
                    <a:gd name="connsiteX27" fmla="*/ 7117 w 12440"/>
                    <a:gd name="connsiteY27" fmla="*/ 24043 h 29365"/>
                    <a:gd name="connsiteX28" fmla="*/ 6280 w 12440"/>
                    <a:gd name="connsiteY28" fmla="*/ 26255 h 29365"/>
                    <a:gd name="connsiteX29" fmla="*/ 5742 w 12440"/>
                    <a:gd name="connsiteY29" fmla="*/ 27392 h 29365"/>
                    <a:gd name="connsiteX30" fmla="*/ 4725 w 12440"/>
                    <a:gd name="connsiteY30" fmla="*/ 29365 h 29365"/>
                    <a:gd name="connsiteX31" fmla="*/ 837 w 12440"/>
                    <a:gd name="connsiteY31" fmla="*/ 27990 h 29365"/>
                    <a:gd name="connsiteX32" fmla="*/ 180 w 12440"/>
                    <a:gd name="connsiteY32" fmla="*/ 26435 h 29365"/>
                    <a:gd name="connsiteX33" fmla="*/ 0 w 12440"/>
                    <a:gd name="connsiteY33" fmla="*/ 26375 h 2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440" h="29365">
                      <a:moveTo>
                        <a:pt x="11842" y="0"/>
                      </a:moveTo>
                      <a:lnTo>
                        <a:pt x="12021" y="4007"/>
                      </a:lnTo>
                      <a:lnTo>
                        <a:pt x="12021" y="4306"/>
                      </a:lnTo>
                      <a:lnTo>
                        <a:pt x="12141" y="4785"/>
                      </a:lnTo>
                      <a:lnTo>
                        <a:pt x="12440" y="6220"/>
                      </a:lnTo>
                      <a:lnTo>
                        <a:pt x="12141" y="8074"/>
                      </a:lnTo>
                      <a:lnTo>
                        <a:pt x="12141" y="8253"/>
                      </a:lnTo>
                      <a:lnTo>
                        <a:pt x="11842" y="10227"/>
                      </a:lnTo>
                      <a:lnTo>
                        <a:pt x="11782" y="10406"/>
                      </a:lnTo>
                      <a:lnTo>
                        <a:pt x="11304" y="12021"/>
                      </a:lnTo>
                      <a:lnTo>
                        <a:pt x="11304" y="12081"/>
                      </a:lnTo>
                      <a:lnTo>
                        <a:pt x="11304" y="12081"/>
                      </a:lnTo>
                      <a:lnTo>
                        <a:pt x="11244" y="12260"/>
                      </a:lnTo>
                      <a:lnTo>
                        <a:pt x="11124" y="12739"/>
                      </a:lnTo>
                      <a:lnTo>
                        <a:pt x="10945" y="13337"/>
                      </a:lnTo>
                      <a:lnTo>
                        <a:pt x="10347" y="15251"/>
                      </a:lnTo>
                      <a:lnTo>
                        <a:pt x="10347" y="15311"/>
                      </a:lnTo>
                      <a:lnTo>
                        <a:pt x="9988" y="16268"/>
                      </a:lnTo>
                      <a:lnTo>
                        <a:pt x="9928" y="16507"/>
                      </a:lnTo>
                      <a:lnTo>
                        <a:pt x="9689" y="17105"/>
                      </a:lnTo>
                      <a:lnTo>
                        <a:pt x="9569" y="17464"/>
                      </a:lnTo>
                      <a:lnTo>
                        <a:pt x="9450" y="17763"/>
                      </a:lnTo>
                      <a:lnTo>
                        <a:pt x="8971" y="18959"/>
                      </a:lnTo>
                      <a:lnTo>
                        <a:pt x="8851" y="19318"/>
                      </a:lnTo>
                      <a:lnTo>
                        <a:pt x="8792" y="19437"/>
                      </a:lnTo>
                      <a:lnTo>
                        <a:pt x="7476" y="23086"/>
                      </a:lnTo>
                      <a:lnTo>
                        <a:pt x="7476" y="23145"/>
                      </a:lnTo>
                      <a:lnTo>
                        <a:pt x="7117" y="24043"/>
                      </a:lnTo>
                      <a:lnTo>
                        <a:pt x="6280" y="26255"/>
                      </a:lnTo>
                      <a:lnTo>
                        <a:pt x="5742" y="27392"/>
                      </a:lnTo>
                      <a:lnTo>
                        <a:pt x="4725" y="29365"/>
                      </a:lnTo>
                      <a:lnTo>
                        <a:pt x="837" y="27990"/>
                      </a:lnTo>
                      <a:lnTo>
                        <a:pt x="180" y="26435"/>
                      </a:lnTo>
                      <a:lnTo>
                        <a:pt x="0" y="26375"/>
                      </a:lnTo>
                    </a:path>
                  </a:pathLst>
                </a:custGeom>
                <a:noFill/>
                <a:ln w="6350" cap="rnd">
                  <a:solidFill>
                    <a:schemeClr val="bg1">
                      <a:alpha val="40000"/>
                    </a:schemeClr>
                  </a:solidFill>
                  <a:prstDash val="solid"/>
                  <a:round/>
                </a:ln>
              </p:spPr>
              <p:txBody>
                <a:bodyPr rtlCol="0" anchor="ctr"/>
                <a:lstStyle/>
                <a:p>
                  <a:endParaRPr lang="en-GB"/>
                </a:p>
              </p:txBody>
            </p:sp>
            <p:sp>
              <p:nvSpPr>
                <p:cNvPr id="6492" name="Vrije vorm: vorm 6491">
                  <a:extLst>
                    <a:ext uri="{FF2B5EF4-FFF2-40B4-BE49-F238E27FC236}">
                      <a16:creationId xmlns:a16="http://schemas.microsoft.com/office/drawing/2014/main" id="{DF0B0B58-D9FA-4E7B-AFEB-3342E41BFCDA}"/>
                    </a:ext>
                  </a:extLst>
                </p:cNvPr>
                <p:cNvSpPr/>
                <p:nvPr/>
              </p:nvSpPr>
              <p:spPr>
                <a:xfrm>
                  <a:off x="6828030" y="1927567"/>
                  <a:ext cx="33791" cy="8612"/>
                </a:xfrm>
                <a:custGeom>
                  <a:avLst/>
                  <a:gdLst>
                    <a:gd name="connsiteX0" fmla="*/ 33791 w 33791"/>
                    <a:gd name="connsiteY0" fmla="*/ 6459 h 8612"/>
                    <a:gd name="connsiteX1" fmla="*/ 32714 w 33791"/>
                    <a:gd name="connsiteY1" fmla="*/ 7356 h 8612"/>
                    <a:gd name="connsiteX2" fmla="*/ 31698 w 33791"/>
                    <a:gd name="connsiteY2" fmla="*/ 8194 h 8612"/>
                    <a:gd name="connsiteX3" fmla="*/ 31160 w 33791"/>
                    <a:gd name="connsiteY3" fmla="*/ 8612 h 8612"/>
                    <a:gd name="connsiteX4" fmla="*/ 31160 w 33791"/>
                    <a:gd name="connsiteY4" fmla="*/ 8612 h 8612"/>
                    <a:gd name="connsiteX5" fmla="*/ 31160 w 33791"/>
                    <a:gd name="connsiteY5" fmla="*/ 8612 h 8612"/>
                    <a:gd name="connsiteX6" fmla="*/ 29904 w 33791"/>
                    <a:gd name="connsiteY6" fmla="*/ 8313 h 8612"/>
                    <a:gd name="connsiteX7" fmla="*/ 28827 w 33791"/>
                    <a:gd name="connsiteY7" fmla="*/ 8074 h 8612"/>
                    <a:gd name="connsiteX8" fmla="*/ 25478 w 33791"/>
                    <a:gd name="connsiteY8" fmla="*/ 7177 h 8612"/>
                    <a:gd name="connsiteX9" fmla="*/ 23086 w 33791"/>
                    <a:gd name="connsiteY9" fmla="*/ 6579 h 8612"/>
                    <a:gd name="connsiteX10" fmla="*/ 17703 w 33791"/>
                    <a:gd name="connsiteY10" fmla="*/ 5143 h 8612"/>
                    <a:gd name="connsiteX11" fmla="*/ 17105 w 33791"/>
                    <a:gd name="connsiteY11" fmla="*/ 4964 h 8612"/>
                    <a:gd name="connsiteX12" fmla="*/ 15371 w 33791"/>
                    <a:gd name="connsiteY12" fmla="*/ 4486 h 8612"/>
                    <a:gd name="connsiteX13" fmla="*/ 13876 w 33791"/>
                    <a:gd name="connsiteY13" fmla="*/ 4067 h 8612"/>
                    <a:gd name="connsiteX14" fmla="*/ 13218 w 33791"/>
                    <a:gd name="connsiteY14" fmla="*/ 3888 h 8612"/>
                    <a:gd name="connsiteX15" fmla="*/ 13218 w 33791"/>
                    <a:gd name="connsiteY15" fmla="*/ 3888 h 8612"/>
                    <a:gd name="connsiteX16" fmla="*/ 5443 w 33791"/>
                    <a:gd name="connsiteY16" fmla="*/ 1854 h 8612"/>
                    <a:gd name="connsiteX17" fmla="*/ 5083 w 33791"/>
                    <a:gd name="connsiteY17" fmla="*/ 1734 h 8612"/>
                    <a:gd name="connsiteX18" fmla="*/ 1974 w 33791"/>
                    <a:gd name="connsiteY18" fmla="*/ 658 h 8612"/>
                    <a:gd name="connsiteX19" fmla="*/ 1256 w 33791"/>
                    <a:gd name="connsiteY19" fmla="*/ 419 h 8612"/>
                    <a:gd name="connsiteX20" fmla="*/ 0 w 33791"/>
                    <a:gd name="connsiteY20" fmla="*/ 0 h 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791" h="8612">
                      <a:moveTo>
                        <a:pt x="33791" y="6459"/>
                      </a:moveTo>
                      <a:lnTo>
                        <a:pt x="32714" y="7356"/>
                      </a:lnTo>
                      <a:lnTo>
                        <a:pt x="31698" y="8194"/>
                      </a:lnTo>
                      <a:lnTo>
                        <a:pt x="31160" y="8612"/>
                      </a:lnTo>
                      <a:lnTo>
                        <a:pt x="31160" y="8612"/>
                      </a:lnTo>
                      <a:lnTo>
                        <a:pt x="31160" y="8612"/>
                      </a:lnTo>
                      <a:lnTo>
                        <a:pt x="29904" y="8313"/>
                      </a:lnTo>
                      <a:lnTo>
                        <a:pt x="28827" y="8074"/>
                      </a:lnTo>
                      <a:lnTo>
                        <a:pt x="25478" y="7177"/>
                      </a:lnTo>
                      <a:lnTo>
                        <a:pt x="23086" y="6579"/>
                      </a:lnTo>
                      <a:lnTo>
                        <a:pt x="17703" y="5143"/>
                      </a:lnTo>
                      <a:lnTo>
                        <a:pt x="17105" y="4964"/>
                      </a:lnTo>
                      <a:lnTo>
                        <a:pt x="15371" y="4486"/>
                      </a:lnTo>
                      <a:lnTo>
                        <a:pt x="13876" y="4067"/>
                      </a:lnTo>
                      <a:lnTo>
                        <a:pt x="13218" y="3888"/>
                      </a:lnTo>
                      <a:lnTo>
                        <a:pt x="13218" y="3888"/>
                      </a:lnTo>
                      <a:lnTo>
                        <a:pt x="5443" y="1854"/>
                      </a:lnTo>
                      <a:lnTo>
                        <a:pt x="5083" y="1734"/>
                      </a:lnTo>
                      <a:lnTo>
                        <a:pt x="1974" y="658"/>
                      </a:lnTo>
                      <a:lnTo>
                        <a:pt x="1256" y="41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493" name="Vrije vorm: vorm 6492">
                  <a:extLst>
                    <a:ext uri="{FF2B5EF4-FFF2-40B4-BE49-F238E27FC236}">
                      <a16:creationId xmlns:a16="http://schemas.microsoft.com/office/drawing/2014/main" id="{2BE8DD1C-319B-4F1A-ADBA-1298F40F7296}"/>
                    </a:ext>
                  </a:extLst>
                </p:cNvPr>
                <p:cNvSpPr/>
                <p:nvPr/>
              </p:nvSpPr>
              <p:spPr>
                <a:xfrm>
                  <a:off x="6757039" y="1818179"/>
                  <a:ext cx="86720" cy="62558"/>
                </a:xfrm>
                <a:custGeom>
                  <a:avLst/>
                  <a:gdLst>
                    <a:gd name="connsiteX0" fmla="*/ 0 w 86720"/>
                    <a:gd name="connsiteY0" fmla="*/ 62558 h 62558"/>
                    <a:gd name="connsiteX1" fmla="*/ 0 w 86720"/>
                    <a:gd name="connsiteY1" fmla="*/ 56518 h 62558"/>
                    <a:gd name="connsiteX2" fmla="*/ 0 w 86720"/>
                    <a:gd name="connsiteY2" fmla="*/ 54604 h 62558"/>
                    <a:gd name="connsiteX3" fmla="*/ 479 w 86720"/>
                    <a:gd name="connsiteY3" fmla="*/ 54185 h 62558"/>
                    <a:gd name="connsiteX4" fmla="*/ 239 w 86720"/>
                    <a:gd name="connsiteY4" fmla="*/ 53886 h 62558"/>
                    <a:gd name="connsiteX5" fmla="*/ 0 w 86720"/>
                    <a:gd name="connsiteY5" fmla="*/ 53587 h 62558"/>
                    <a:gd name="connsiteX6" fmla="*/ 359 w 86720"/>
                    <a:gd name="connsiteY6" fmla="*/ 52032 h 62558"/>
                    <a:gd name="connsiteX7" fmla="*/ 1914 w 86720"/>
                    <a:gd name="connsiteY7" fmla="*/ 44676 h 62558"/>
                    <a:gd name="connsiteX8" fmla="*/ 4306 w 86720"/>
                    <a:gd name="connsiteY8" fmla="*/ 33432 h 62558"/>
                    <a:gd name="connsiteX9" fmla="*/ 8732 w 86720"/>
                    <a:gd name="connsiteY9" fmla="*/ 22906 h 62558"/>
                    <a:gd name="connsiteX10" fmla="*/ 11543 w 86720"/>
                    <a:gd name="connsiteY10" fmla="*/ 17823 h 62558"/>
                    <a:gd name="connsiteX11" fmla="*/ 14234 w 86720"/>
                    <a:gd name="connsiteY11" fmla="*/ 12978 h 62558"/>
                    <a:gd name="connsiteX12" fmla="*/ 17284 w 86720"/>
                    <a:gd name="connsiteY12" fmla="*/ 9629 h 62558"/>
                    <a:gd name="connsiteX13" fmla="*/ 27332 w 86720"/>
                    <a:gd name="connsiteY13" fmla="*/ 1017 h 62558"/>
                    <a:gd name="connsiteX14" fmla="*/ 27811 w 86720"/>
                    <a:gd name="connsiteY14" fmla="*/ 837 h 62558"/>
                    <a:gd name="connsiteX15" fmla="*/ 29784 w 86720"/>
                    <a:gd name="connsiteY15" fmla="*/ 0 h 62558"/>
                    <a:gd name="connsiteX16" fmla="*/ 33253 w 86720"/>
                    <a:gd name="connsiteY16" fmla="*/ 120 h 62558"/>
                    <a:gd name="connsiteX17" fmla="*/ 45155 w 86720"/>
                    <a:gd name="connsiteY17" fmla="*/ 6040 h 62558"/>
                    <a:gd name="connsiteX18" fmla="*/ 53647 w 86720"/>
                    <a:gd name="connsiteY18" fmla="*/ 11005 h 62558"/>
                    <a:gd name="connsiteX19" fmla="*/ 53647 w 86720"/>
                    <a:gd name="connsiteY19" fmla="*/ 11005 h 62558"/>
                    <a:gd name="connsiteX20" fmla="*/ 56877 w 86720"/>
                    <a:gd name="connsiteY20" fmla="*/ 12918 h 62558"/>
                    <a:gd name="connsiteX21" fmla="*/ 57295 w 86720"/>
                    <a:gd name="connsiteY21" fmla="*/ 13158 h 62558"/>
                    <a:gd name="connsiteX22" fmla="*/ 60346 w 86720"/>
                    <a:gd name="connsiteY22" fmla="*/ 14952 h 62558"/>
                    <a:gd name="connsiteX23" fmla="*/ 60465 w 86720"/>
                    <a:gd name="connsiteY23" fmla="*/ 15012 h 62558"/>
                    <a:gd name="connsiteX24" fmla="*/ 60465 w 86720"/>
                    <a:gd name="connsiteY24" fmla="*/ 15012 h 62558"/>
                    <a:gd name="connsiteX25" fmla="*/ 61123 w 86720"/>
                    <a:gd name="connsiteY25" fmla="*/ 15430 h 62558"/>
                    <a:gd name="connsiteX26" fmla="*/ 65728 w 86720"/>
                    <a:gd name="connsiteY26" fmla="*/ 18421 h 62558"/>
                    <a:gd name="connsiteX27" fmla="*/ 67941 w 86720"/>
                    <a:gd name="connsiteY27" fmla="*/ 19856 h 62558"/>
                    <a:gd name="connsiteX28" fmla="*/ 68958 w 86720"/>
                    <a:gd name="connsiteY28" fmla="*/ 20514 h 62558"/>
                    <a:gd name="connsiteX29" fmla="*/ 70154 w 86720"/>
                    <a:gd name="connsiteY29" fmla="*/ 21291 h 62558"/>
                    <a:gd name="connsiteX30" fmla="*/ 72307 w 86720"/>
                    <a:gd name="connsiteY30" fmla="*/ 22667 h 62558"/>
                    <a:gd name="connsiteX31" fmla="*/ 75297 w 86720"/>
                    <a:gd name="connsiteY31" fmla="*/ 24581 h 62558"/>
                    <a:gd name="connsiteX32" fmla="*/ 75417 w 86720"/>
                    <a:gd name="connsiteY32" fmla="*/ 24641 h 62558"/>
                    <a:gd name="connsiteX33" fmla="*/ 76194 w 86720"/>
                    <a:gd name="connsiteY33" fmla="*/ 25239 h 62558"/>
                    <a:gd name="connsiteX34" fmla="*/ 76613 w 86720"/>
                    <a:gd name="connsiteY34" fmla="*/ 25538 h 62558"/>
                    <a:gd name="connsiteX35" fmla="*/ 76792 w 86720"/>
                    <a:gd name="connsiteY35" fmla="*/ 25657 h 62558"/>
                    <a:gd name="connsiteX36" fmla="*/ 77331 w 86720"/>
                    <a:gd name="connsiteY36" fmla="*/ 26016 h 62558"/>
                    <a:gd name="connsiteX37" fmla="*/ 77809 w 86720"/>
                    <a:gd name="connsiteY37" fmla="*/ 26375 h 62558"/>
                    <a:gd name="connsiteX38" fmla="*/ 77929 w 86720"/>
                    <a:gd name="connsiteY38" fmla="*/ 26495 h 62558"/>
                    <a:gd name="connsiteX39" fmla="*/ 78109 w 86720"/>
                    <a:gd name="connsiteY39" fmla="*/ 26614 h 62558"/>
                    <a:gd name="connsiteX40" fmla="*/ 78647 w 86720"/>
                    <a:gd name="connsiteY40" fmla="*/ 26973 h 62558"/>
                    <a:gd name="connsiteX41" fmla="*/ 78707 w 86720"/>
                    <a:gd name="connsiteY41" fmla="*/ 26973 h 62558"/>
                    <a:gd name="connsiteX42" fmla="*/ 78766 w 86720"/>
                    <a:gd name="connsiteY42" fmla="*/ 26973 h 62558"/>
                    <a:gd name="connsiteX43" fmla="*/ 79185 w 86720"/>
                    <a:gd name="connsiteY43" fmla="*/ 27272 h 62558"/>
                    <a:gd name="connsiteX44" fmla="*/ 79484 w 86720"/>
                    <a:gd name="connsiteY44" fmla="*/ 27451 h 62558"/>
                    <a:gd name="connsiteX45" fmla="*/ 82115 w 86720"/>
                    <a:gd name="connsiteY45" fmla="*/ 29425 h 62558"/>
                    <a:gd name="connsiteX46" fmla="*/ 84927 w 86720"/>
                    <a:gd name="connsiteY46" fmla="*/ 31518 h 62558"/>
                    <a:gd name="connsiteX47" fmla="*/ 85165 w 86720"/>
                    <a:gd name="connsiteY47" fmla="*/ 31698 h 62558"/>
                    <a:gd name="connsiteX48" fmla="*/ 86063 w 86720"/>
                    <a:gd name="connsiteY48" fmla="*/ 32356 h 62558"/>
                    <a:gd name="connsiteX49" fmla="*/ 86422 w 86720"/>
                    <a:gd name="connsiteY49" fmla="*/ 32595 h 62558"/>
                    <a:gd name="connsiteX50" fmla="*/ 86720 w 86720"/>
                    <a:gd name="connsiteY50" fmla="*/ 32894 h 6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6720" h="62558">
                      <a:moveTo>
                        <a:pt x="0" y="62558"/>
                      </a:moveTo>
                      <a:lnTo>
                        <a:pt x="0" y="56518"/>
                      </a:lnTo>
                      <a:lnTo>
                        <a:pt x="0" y="54604"/>
                      </a:lnTo>
                      <a:lnTo>
                        <a:pt x="479" y="54185"/>
                      </a:lnTo>
                      <a:lnTo>
                        <a:pt x="239" y="53886"/>
                      </a:lnTo>
                      <a:lnTo>
                        <a:pt x="0" y="53587"/>
                      </a:lnTo>
                      <a:lnTo>
                        <a:pt x="359" y="52032"/>
                      </a:lnTo>
                      <a:lnTo>
                        <a:pt x="1914" y="44676"/>
                      </a:lnTo>
                      <a:lnTo>
                        <a:pt x="4306" y="33432"/>
                      </a:lnTo>
                      <a:lnTo>
                        <a:pt x="8732" y="22906"/>
                      </a:lnTo>
                      <a:lnTo>
                        <a:pt x="11543" y="17823"/>
                      </a:lnTo>
                      <a:lnTo>
                        <a:pt x="14234" y="12978"/>
                      </a:lnTo>
                      <a:lnTo>
                        <a:pt x="17284" y="9629"/>
                      </a:lnTo>
                      <a:lnTo>
                        <a:pt x="27332" y="1017"/>
                      </a:lnTo>
                      <a:lnTo>
                        <a:pt x="27811" y="837"/>
                      </a:lnTo>
                      <a:lnTo>
                        <a:pt x="29784" y="0"/>
                      </a:lnTo>
                      <a:lnTo>
                        <a:pt x="33253" y="120"/>
                      </a:lnTo>
                      <a:lnTo>
                        <a:pt x="45155" y="6040"/>
                      </a:lnTo>
                      <a:lnTo>
                        <a:pt x="53647" y="11005"/>
                      </a:lnTo>
                      <a:lnTo>
                        <a:pt x="53647" y="11005"/>
                      </a:lnTo>
                      <a:lnTo>
                        <a:pt x="56877" y="12918"/>
                      </a:lnTo>
                      <a:lnTo>
                        <a:pt x="57295" y="13158"/>
                      </a:lnTo>
                      <a:lnTo>
                        <a:pt x="60346" y="14952"/>
                      </a:lnTo>
                      <a:lnTo>
                        <a:pt x="60465" y="15012"/>
                      </a:lnTo>
                      <a:lnTo>
                        <a:pt x="60465" y="15012"/>
                      </a:lnTo>
                      <a:lnTo>
                        <a:pt x="61123" y="15430"/>
                      </a:lnTo>
                      <a:lnTo>
                        <a:pt x="65728" y="18421"/>
                      </a:lnTo>
                      <a:lnTo>
                        <a:pt x="67941" y="19856"/>
                      </a:lnTo>
                      <a:lnTo>
                        <a:pt x="68958" y="20514"/>
                      </a:lnTo>
                      <a:lnTo>
                        <a:pt x="70154" y="21291"/>
                      </a:lnTo>
                      <a:lnTo>
                        <a:pt x="72307" y="22667"/>
                      </a:lnTo>
                      <a:lnTo>
                        <a:pt x="75297" y="24581"/>
                      </a:lnTo>
                      <a:lnTo>
                        <a:pt x="75417" y="24641"/>
                      </a:lnTo>
                      <a:lnTo>
                        <a:pt x="76194" y="25239"/>
                      </a:lnTo>
                      <a:lnTo>
                        <a:pt x="76613" y="25538"/>
                      </a:lnTo>
                      <a:lnTo>
                        <a:pt x="76792" y="25657"/>
                      </a:lnTo>
                      <a:lnTo>
                        <a:pt x="77331" y="26016"/>
                      </a:lnTo>
                      <a:lnTo>
                        <a:pt x="77809" y="26375"/>
                      </a:lnTo>
                      <a:lnTo>
                        <a:pt x="77929" y="26495"/>
                      </a:lnTo>
                      <a:lnTo>
                        <a:pt x="78109" y="26614"/>
                      </a:lnTo>
                      <a:lnTo>
                        <a:pt x="78647" y="26973"/>
                      </a:lnTo>
                      <a:lnTo>
                        <a:pt x="78707" y="26973"/>
                      </a:lnTo>
                      <a:lnTo>
                        <a:pt x="78766" y="26973"/>
                      </a:lnTo>
                      <a:lnTo>
                        <a:pt x="79185" y="27272"/>
                      </a:lnTo>
                      <a:lnTo>
                        <a:pt x="79484" y="27451"/>
                      </a:lnTo>
                      <a:lnTo>
                        <a:pt x="82115" y="29425"/>
                      </a:lnTo>
                      <a:lnTo>
                        <a:pt x="84927" y="31518"/>
                      </a:lnTo>
                      <a:lnTo>
                        <a:pt x="85165" y="31698"/>
                      </a:lnTo>
                      <a:lnTo>
                        <a:pt x="86063" y="32356"/>
                      </a:lnTo>
                      <a:lnTo>
                        <a:pt x="86422" y="32595"/>
                      </a:lnTo>
                      <a:lnTo>
                        <a:pt x="86720" y="32894"/>
                      </a:lnTo>
                    </a:path>
                  </a:pathLst>
                </a:custGeom>
                <a:noFill/>
                <a:ln w="6350" cap="rnd">
                  <a:solidFill>
                    <a:schemeClr val="bg1">
                      <a:alpha val="40000"/>
                    </a:schemeClr>
                  </a:solidFill>
                  <a:prstDash val="solid"/>
                  <a:round/>
                </a:ln>
              </p:spPr>
              <p:txBody>
                <a:bodyPr rtlCol="0" anchor="ctr"/>
                <a:lstStyle/>
                <a:p>
                  <a:endParaRPr lang="en-GB"/>
                </a:p>
              </p:txBody>
            </p:sp>
            <p:sp>
              <p:nvSpPr>
                <p:cNvPr id="6494" name="Vrije vorm: vorm 6493">
                  <a:extLst>
                    <a:ext uri="{FF2B5EF4-FFF2-40B4-BE49-F238E27FC236}">
                      <a16:creationId xmlns:a16="http://schemas.microsoft.com/office/drawing/2014/main" id="{3CF8EBD1-6597-4B33-A595-008D3E054E69}"/>
                    </a:ext>
                  </a:extLst>
                </p:cNvPr>
                <p:cNvSpPr/>
                <p:nvPr/>
              </p:nvSpPr>
              <p:spPr>
                <a:xfrm>
                  <a:off x="6922466" y="1908488"/>
                  <a:ext cx="41267" cy="13037"/>
                </a:xfrm>
                <a:custGeom>
                  <a:avLst/>
                  <a:gdLst>
                    <a:gd name="connsiteX0" fmla="*/ 0 w 41267"/>
                    <a:gd name="connsiteY0" fmla="*/ 5562 h 13037"/>
                    <a:gd name="connsiteX1" fmla="*/ 1256 w 41267"/>
                    <a:gd name="connsiteY1" fmla="*/ 5861 h 13037"/>
                    <a:gd name="connsiteX2" fmla="*/ 1435 w 41267"/>
                    <a:gd name="connsiteY2" fmla="*/ 5921 h 13037"/>
                    <a:gd name="connsiteX3" fmla="*/ 2333 w 41267"/>
                    <a:gd name="connsiteY3" fmla="*/ 6160 h 13037"/>
                    <a:gd name="connsiteX4" fmla="*/ 7236 w 41267"/>
                    <a:gd name="connsiteY4" fmla="*/ 7356 h 13037"/>
                    <a:gd name="connsiteX5" fmla="*/ 7656 w 41267"/>
                    <a:gd name="connsiteY5" fmla="*/ 7476 h 13037"/>
                    <a:gd name="connsiteX6" fmla="*/ 8493 w 41267"/>
                    <a:gd name="connsiteY6" fmla="*/ 7655 h 13037"/>
                    <a:gd name="connsiteX7" fmla="*/ 9091 w 41267"/>
                    <a:gd name="connsiteY7" fmla="*/ 7835 h 13037"/>
                    <a:gd name="connsiteX8" fmla="*/ 9211 w 41267"/>
                    <a:gd name="connsiteY8" fmla="*/ 7835 h 13037"/>
                    <a:gd name="connsiteX9" fmla="*/ 9629 w 41267"/>
                    <a:gd name="connsiteY9" fmla="*/ 7954 h 13037"/>
                    <a:gd name="connsiteX10" fmla="*/ 13397 w 41267"/>
                    <a:gd name="connsiteY10" fmla="*/ 8851 h 13037"/>
                    <a:gd name="connsiteX11" fmla="*/ 14354 w 41267"/>
                    <a:gd name="connsiteY11" fmla="*/ 9091 h 13037"/>
                    <a:gd name="connsiteX12" fmla="*/ 16327 w 41267"/>
                    <a:gd name="connsiteY12" fmla="*/ 9569 h 13037"/>
                    <a:gd name="connsiteX13" fmla="*/ 21232 w 41267"/>
                    <a:gd name="connsiteY13" fmla="*/ 10765 h 13037"/>
                    <a:gd name="connsiteX14" fmla="*/ 22488 w 41267"/>
                    <a:gd name="connsiteY14" fmla="*/ 11064 h 13037"/>
                    <a:gd name="connsiteX15" fmla="*/ 24880 w 41267"/>
                    <a:gd name="connsiteY15" fmla="*/ 11662 h 13037"/>
                    <a:gd name="connsiteX16" fmla="*/ 25238 w 41267"/>
                    <a:gd name="connsiteY16" fmla="*/ 11722 h 13037"/>
                    <a:gd name="connsiteX17" fmla="*/ 26794 w 41267"/>
                    <a:gd name="connsiteY17" fmla="*/ 12081 h 13037"/>
                    <a:gd name="connsiteX18" fmla="*/ 27033 w 41267"/>
                    <a:gd name="connsiteY18" fmla="*/ 12141 h 13037"/>
                    <a:gd name="connsiteX19" fmla="*/ 28289 w 41267"/>
                    <a:gd name="connsiteY19" fmla="*/ 12440 h 13037"/>
                    <a:gd name="connsiteX20" fmla="*/ 28468 w 41267"/>
                    <a:gd name="connsiteY20" fmla="*/ 12500 h 13037"/>
                    <a:gd name="connsiteX21" fmla="*/ 28827 w 41267"/>
                    <a:gd name="connsiteY21" fmla="*/ 12619 h 13037"/>
                    <a:gd name="connsiteX22" fmla="*/ 29186 w 41267"/>
                    <a:gd name="connsiteY22" fmla="*/ 12679 h 13037"/>
                    <a:gd name="connsiteX23" fmla="*/ 29544 w 41267"/>
                    <a:gd name="connsiteY23" fmla="*/ 12739 h 13037"/>
                    <a:gd name="connsiteX24" fmla="*/ 29963 w 41267"/>
                    <a:gd name="connsiteY24" fmla="*/ 12859 h 13037"/>
                    <a:gd name="connsiteX25" fmla="*/ 30801 w 41267"/>
                    <a:gd name="connsiteY25" fmla="*/ 13038 h 13037"/>
                    <a:gd name="connsiteX26" fmla="*/ 32116 w 41267"/>
                    <a:gd name="connsiteY26" fmla="*/ 10945 h 13037"/>
                    <a:gd name="connsiteX27" fmla="*/ 32296 w 41267"/>
                    <a:gd name="connsiteY27" fmla="*/ 10705 h 13037"/>
                    <a:gd name="connsiteX28" fmla="*/ 32834 w 41267"/>
                    <a:gd name="connsiteY28" fmla="*/ 9868 h 13037"/>
                    <a:gd name="connsiteX29" fmla="*/ 32954 w 41267"/>
                    <a:gd name="connsiteY29" fmla="*/ 9689 h 13037"/>
                    <a:gd name="connsiteX30" fmla="*/ 33193 w 41267"/>
                    <a:gd name="connsiteY30" fmla="*/ 9330 h 13037"/>
                    <a:gd name="connsiteX31" fmla="*/ 36124 w 41267"/>
                    <a:gd name="connsiteY31" fmla="*/ 4605 h 13037"/>
                    <a:gd name="connsiteX32" fmla="*/ 37320 w 41267"/>
                    <a:gd name="connsiteY32" fmla="*/ 2691 h 13037"/>
                    <a:gd name="connsiteX33" fmla="*/ 38277 w 41267"/>
                    <a:gd name="connsiteY33" fmla="*/ 1076 h 13037"/>
                    <a:gd name="connsiteX34" fmla="*/ 38935 w 41267"/>
                    <a:gd name="connsiteY34" fmla="*/ 0 h 13037"/>
                    <a:gd name="connsiteX35" fmla="*/ 39054 w 41267"/>
                    <a:gd name="connsiteY35" fmla="*/ 60 h 13037"/>
                    <a:gd name="connsiteX36" fmla="*/ 39413 w 41267"/>
                    <a:gd name="connsiteY36" fmla="*/ 179 h 13037"/>
                    <a:gd name="connsiteX37" fmla="*/ 39892 w 41267"/>
                    <a:gd name="connsiteY37" fmla="*/ 359 h 13037"/>
                    <a:gd name="connsiteX38" fmla="*/ 40250 w 41267"/>
                    <a:gd name="connsiteY38" fmla="*/ 478 h 13037"/>
                    <a:gd name="connsiteX39" fmla="*/ 40609 w 41267"/>
                    <a:gd name="connsiteY39" fmla="*/ 598 h 13037"/>
                    <a:gd name="connsiteX40" fmla="*/ 40908 w 41267"/>
                    <a:gd name="connsiteY40" fmla="*/ 777 h 13037"/>
                    <a:gd name="connsiteX41" fmla="*/ 41207 w 41267"/>
                    <a:gd name="connsiteY41" fmla="*/ 957 h 13037"/>
                    <a:gd name="connsiteX42" fmla="*/ 41267 w 41267"/>
                    <a:gd name="connsiteY42" fmla="*/ 1017 h 1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1267" h="13037">
                      <a:moveTo>
                        <a:pt x="0" y="5562"/>
                      </a:moveTo>
                      <a:lnTo>
                        <a:pt x="1256" y="5861"/>
                      </a:lnTo>
                      <a:lnTo>
                        <a:pt x="1435" y="5921"/>
                      </a:lnTo>
                      <a:lnTo>
                        <a:pt x="2333" y="6160"/>
                      </a:lnTo>
                      <a:lnTo>
                        <a:pt x="7236" y="7356"/>
                      </a:lnTo>
                      <a:lnTo>
                        <a:pt x="7656" y="7476"/>
                      </a:lnTo>
                      <a:lnTo>
                        <a:pt x="8493" y="7655"/>
                      </a:lnTo>
                      <a:lnTo>
                        <a:pt x="9091" y="7835"/>
                      </a:lnTo>
                      <a:lnTo>
                        <a:pt x="9211" y="7835"/>
                      </a:lnTo>
                      <a:lnTo>
                        <a:pt x="9629" y="7954"/>
                      </a:lnTo>
                      <a:lnTo>
                        <a:pt x="13397" y="8851"/>
                      </a:lnTo>
                      <a:lnTo>
                        <a:pt x="14354" y="9091"/>
                      </a:lnTo>
                      <a:lnTo>
                        <a:pt x="16327" y="9569"/>
                      </a:lnTo>
                      <a:lnTo>
                        <a:pt x="21232" y="10765"/>
                      </a:lnTo>
                      <a:lnTo>
                        <a:pt x="22488" y="11064"/>
                      </a:lnTo>
                      <a:lnTo>
                        <a:pt x="24880" y="11662"/>
                      </a:lnTo>
                      <a:lnTo>
                        <a:pt x="25238" y="11722"/>
                      </a:lnTo>
                      <a:lnTo>
                        <a:pt x="26794" y="12081"/>
                      </a:lnTo>
                      <a:lnTo>
                        <a:pt x="27033" y="12141"/>
                      </a:lnTo>
                      <a:lnTo>
                        <a:pt x="28289" y="12440"/>
                      </a:lnTo>
                      <a:lnTo>
                        <a:pt x="28468" y="12500"/>
                      </a:lnTo>
                      <a:lnTo>
                        <a:pt x="28827" y="12619"/>
                      </a:lnTo>
                      <a:lnTo>
                        <a:pt x="29186" y="12679"/>
                      </a:lnTo>
                      <a:lnTo>
                        <a:pt x="29544" y="12739"/>
                      </a:lnTo>
                      <a:lnTo>
                        <a:pt x="29963" y="12859"/>
                      </a:lnTo>
                      <a:lnTo>
                        <a:pt x="30801" y="13038"/>
                      </a:lnTo>
                      <a:lnTo>
                        <a:pt x="32116" y="10945"/>
                      </a:lnTo>
                      <a:lnTo>
                        <a:pt x="32296" y="10705"/>
                      </a:lnTo>
                      <a:lnTo>
                        <a:pt x="32834" y="9868"/>
                      </a:lnTo>
                      <a:lnTo>
                        <a:pt x="32954" y="9689"/>
                      </a:lnTo>
                      <a:lnTo>
                        <a:pt x="33193" y="9330"/>
                      </a:lnTo>
                      <a:lnTo>
                        <a:pt x="36124" y="4605"/>
                      </a:lnTo>
                      <a:lnTo>
                        <a:pt x="37320" y="2691"/>
                      </a:lnTo>
                      <a:lnTo>
                        <a:pt x="38277" y="1076"/>
                      </a:lnTo>
                      <a:lnTo>
                        <a:pt x="38935" y="0"/>
                      </a:lnTo>
                      <a:lnTo>
                        <a:pt x="39054" y="60"/>
                      </a:lnTo>
                      <a:lnTo>
                        <a:pt x="39413" y="179"/>
                      </a:lnTo>
                      <a:lnTo>
                        <a:pt x="39892" y="359"/>
                      </a:lnTo>
                      <a:lnTo>
                        <a:pt x="40250" y="478"/>
                      </a:lnTo>
                      <a:lnTo>
                        <a:pt x="40609" y="598"/>
                      </a:lnTo>
                      <a:lnTo>
                        <a:pt x="40908" y="777"/>
                      </a:lnTo>
                      <a:lnTo>
                        <a:pt x="41207" y="957"/>
                      </a:lnTo>
                      <a:lnTo>
                        <a:pt x="41267" y="1017"/>
                      </a:lnTo>
                    </a:path>
                  </a:pathLst>
                </a:custGeom>
                <a:noFill/>
                <a:ln w="6350" cap="rnd">
                  <a:solidFill>
                    <a:schemeClr val="bg1">
                      <a:alpha val="40000"/>
                    </a:schemeClr>
                  </a:solidFill>
                  <a:prstDash val="solid"/>
                  <a:round/>
                </a:ln>
              </p:spPr>
              <p:txBody>
                <a:bodyPr rtlCol="0" anchor="ctr"/>
                <a:lstStyle/>
                <a:p>
                  <a:endParaRPr lang="en-GB"/>
                </a:p>
              </p:txBody>
            </p:sp>
            <p:sp>
              <p:nvSpPr>
                <p:cNvPr id="6495" name="Vrije vorm: vorm 6494">
                  <a:extLst>
                    <a:ext uri="{FF2B5EF4-FFF2-40B4-BE49-F238E27FC236}">
                      <a16:creationId xmlns:a16="http://schemas.microsoft.com/office/drawing/2014/main" id="{DCBF621E-2510-4529-A77E-AD9EEDB61639}"/>
                    </a:ext>
                  </a:extLst>
                </p:cNvPr>
                <p:cNvSpPr/>
                <p:nvPr/>
              </p:nvSpPr>
              <p:spPr>
                <a:xfrm>
                  <a:off x="6869058" y="1892938"/>
                  <a:ext cx="15310" cy="12140"/>
                </a:xfrm>
                <a:custGeom>
                  <a:avLst/>
                  <a:gdLst>
                    <a:gd name="connsiteX0" fmla="*/ 15311 w 15310"/>
                    <a:gd name="connsiteY0" fmla="*/ 0 h 12140"/>
                    <a:gd name="connsiteX1" fmla="*/ 14952 w 15310"/>
                    <a:gd name="connsiteY1" fmla="*/ 179 h 12140"/>
                    <a:gd name="connsiteX2" fmla="*/ 11723 w 15310"/>
                    <a:gd name="connsiteY2" fmla="*/ 1854 h 12140"/>
                    <a:gd name="connsiteX3" fmla="*/ 11543 w 15310"/>
                    <a:gd name="connsiteY3" fmla="*/ 1974 h 12140"/>
                    <a:gd name="connsiteX4" fmla="*/ 11543 w 15310"/>
                    <a:gd name="connsiteY4" fmla="*/ 1974 h 12140"/>
                    <a:gd name="connsiteX5" fmla="*/ 11543 w 15310"/>
                    <a:gd name="connsiteY5" fmla="*/ 1974 h 12140"/>
                    <a:gd name="connsiteX6" fmla="*/ 11065 w 15310"/>
                    <a:gd name="connsiteY6" fmla="*/ 2213 h 12140"/>
                    <a:gd name="connsiteX7" fmla="*/ 10048 w 15310"/>
                    <a:gd name="connsiteY7" fmla="*/ 2751 h 12140"/>
                    <a:gd name="connsiteX8" fmla="*/ 8911 w 15310"/>
                    <a:gd name="connsiteY8" fmla="*/ 3349 h 12140"/>
                    <a:gd name="connsiteX9" fmla="*/ 6938 w 15310"/>
                    <a:gd name="connsiteY9" fmla="*/ 4426 h 12140"/>
                    <a:gd name="connsiteX10" fmla="*/ 3230 w 15310"/>
                    <a:gd name="connsiteY10" fmla="*/ 8552 h 12140"/>
                    <a:gd name="connsiteX11" fmla="*/ 2871 w 15310"/>
                    <a:gd name="connsiteY11" fmla="*/ 8971 h 12140"/>
                    <a:gd name="connsiteX12" fmla="*/ 0 w 15310"/>
                    <a:gd name="connsiteY12" fmla="*/ 12141 h 12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10" h="12140">
                      <a:moveTo>
                        <a:pt x="15311" y="0"/>
                      </a:moveTo>
                      <a:lnTo>
                        <a:pt x="14952" y="179"/>
                      </a:lnTo>
                      <a:lnTo>
                        <a:pt x="11723" y="1854"/>
                      </a:lnTo>
                      <a:lnTo>
                        <a:pt x="11543" y="1974"/>
                      </a:lnTo>
                      <a:lnTo>
                        <a:pt x="11543" y="1974"/>
                      </a:lnTo>
                      <a:lnTo>
                        <a:pt x="11543" y="1974"/>
                      </a:lnTo>
                      <a:lnTo>
                        <a:pt x="11065" y="2213"/>
                      </a:lnTo>
                      <a:lnTo>
                        <a:pt x="10048" y="2751"/>
                      </a:lnTo>
                      <a:lnTo>
                        <a:pt x="8911" y="3349"/>
                      </a:lnTo>
                      <a:lnTo>
                        <a:pt x="6938" y="4426"/>
                      </a:lnTo>
                      <a:lnTo>
                        <a:pt x="3230" y="8552"/>
                      </a:lnTo>
                      <a:lnTo>
                        <a:pt x="2871" y="8971"/>
                      </a:lnTo>
                      <a:lnTo>
                        <a:pt x="0" y="12141"/>
                      </a:lnTo>
                    </a:path>
                  </a:pathLst>
                </a:custGeom>
                <a:noFill/>
                <a:ln w="6350" cap="rnd">
                  <a:solidFill>
                    <a:schemeClr val="bg1">
                      <a:alpha val="40000"/>
                    </a:schemeClr>
                  </a:solidFill>
                  <a:prstDash val="solid"/>
                  <a:round/>
                </a:ln>
              </p:spPr>
              <p:txBody>
                <a:bodyPr rtlCol="0" anchor="ctr"/>
                <a:lstStyle/>
                <a:p>
                  <a:endParaRPr lang="en-GB"/>
                </a:p>
              </p:txBody>
            </p:sp>
            <p:sp>
              <p:nvSpPr>
                <p:cNvPr id="6496" name="Vrije vorm: vorm 6495">
                  <a:extLst>
                    <a:ext uri="{FF2B5EF4-FFF2-40B4-BE49-F238E27FC236}">
                      <a16:creationId xmlns:a16="http://schemas.microsoft.com/office/drawing/2014/main" id="{34E5E960-051E-4155-95AF-AA77BC688ED5}"/>
                    </a:ext>
                  </a:extLst>
                </p:cNvPr>
                <p:cNvSpPr/>
                <p:nvPr/>
              </p:nvSpPr>
              <p:spPr>
                <a:xfrm>
                  <a:off x="6943937" y="2097958"/>
                  <a:ext cx="51853" cy="22607"/>
                </a:xfrm>
                <a:custGeom>
                  <a:avLst/>
                  <a:gdLst>
                    <a:gd name="connsiteX0" fmla="*/ 51076 w 51853"/>
                    <a:gd name="connsiteY0" fmla="*/ 0 h 22607"/>
                    <a:gd name="connsiteX1" fmla="*/ 51853 w 51853"/>
                    <a:gd name="connsiteY1" fmla="*/ 538 h 22607"/>
                    <a:gd name="connsiteX2" fmla="*/ 51733 w 51853"/>
                    <a:gd name="connsiteY2" fmla="*/ 2751 h 22607"/>
                    <a:gd name="connsiteX3" fmla="*/ 47726 w 51853"/>
                    <a:gd name="connsiteY3" fmla="*/ 10167 h 22607"/>
                    <a:gd name="connsiteX4" fmla="*/ 46112 w 51853"/>
                    <a:gd name="connsiteY4" fmla="*/ 11662 h 22607"/>
                    <a:gd name="connsiteX5" fmla="*/ 45155 w 51853"/>
                    <a:gd name="connsiteY5" fmla="*/ 12560 h 22607"/>
                    <a:gd name="connsiteX6" fmla="*/ 37799 w 51853"/>
                    <a:gd name="connsiteY6" fmla="*/ 19378 h 22607"/>
                    <a:gd name="connsiteX7" fmla="*/ 36482 w 51853"/>
                    <a:gd name="connsiteY7" fmla="*/ 19557 h 22607"/>
                    <a:gd name="connsiteX8" fmla="*/ 30980 w 51853"/>
                    <a:gd name="connsiteY8" fmla="*/ 20394 h 22607"/>
                    <a:gd name="connsiteX9" fmla="*/ 29186 w 51853"/>
                    <a:gd name="connsiteY9" fmla="*/ 20633 h 22607"/>
                    <a:gd name="connsiteX10" fmla="*/ 26734 w 51853"/>
                    <a:gd name="connsiteY10" fmla="*/ 20933 h 22607"/>
                    <a:gd name="connsiteX11" fmla="*/ 22308 w 51853"/>
                    <a:gd name="connsiteY11" fmla="*/ 21471 h 22607"/>
                    <a:gd name="connsiteX12" fmla="*/ 20394 w 51853"/>
                    <a:gd name="connsiteY12" fmla="*/ 21710 h 22607"/>
                    <a:gd name="connsiteX13" fmla="*/ 17165 w 51853"/>
                    <a:gd name="connsiteY13" fmla="*/ 22189 h 22607"/>
                    <a:gd name="connsiteX14" fmla="*/ 16029 w 51853"/>
                    <a:gd name="connsiteY14" fmla="*/ 22368 h 22607"/>
                    <a:gd name="connsiteX15" fmla="*/ 15729 w 51853"/>
                    <a:gd name="connsiteY15" fmla="*/ 22368 h 22607"/>
                    <a:gd name="connsiteX16" fmla="*/ 10646 w 51853"/>
                    <a:gd name="connsiteY16" fmla="*/ 22547 h 22607"/>
                    <a:gd name="connsiteX17" fmla="*/ 8911 w 51853"/>
                    <a:gd name="connsiteY17" fmla="*/ 22607 h 22607"/>
                    <a:gd name="connsiteX18" fmla="*/ 7058 w 51853"/>
                    <a:gd name="connsiteY18" fmla="*/ 22368 h 22607"/>
                    <a:gd name="connsiteX19" fmla="*/ 5921 w 51853"/>
                    <a:gd name="connsiteY19" fmla="*/ 22189 h 22607"/>
                    <a:gd name="connsiteX20" fmla="*/ 5323 w 51853"/>
                    <a:gd name="connsiteY20" fmla="*/ 22129 h 22607"/>
                    <a:gd name="connsiteX21" fmla="*/ 2752 w 51853"/>
                    <a:gd name="connsiteY21" fmla="*/ 20394 h 22607"/>
                    <a:gd name="connsiteX22" fmla="*/ 837 w 51853"/>
                    <a:gd name="connsiteY22" fmla="*/ 18779 h 22607"/>
                    <a:gd name="connsiteX23" fmla="*/ 598 w 51853"/>
                    <a:gd name="connsiteY23" fmla="*/ 18540 h 22607"/>
                    <a:gd name="connsiteX24" fmla="*/ 0 w 51853"/>
                    <a:gd name="connsiteY24" fmla="*/ 17882 h 22607"/>
                    <a:gd name="connsiteX25" fmla="*/ 1735 w 51853"/>
                    <a:gd name="connsiteY25" fmla="*/ 13756 h 22607"/>
                    <a:gd name="connsiteX26" fmla="*/ 1854 w 51853"/>
                    <a:gd name="connsiteY26" fmla="*/ 13397 h 22607"/>
                    <a:gd name="connsiteX27" fmla="*/ 1974 w 51853"/>
                    <a:gd name="connsiteY27" fmla="*/ 13158 h 2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1853" h="22607">
                      <a:moveTo>
                        <a:pt x="51076" y="0"/>
                      </a:moveTo>
                      <a:lnTo>
                        <a:pt x="51853" y="538"/>
                      </a:lnTo>
                      <a:lnTo>
                        <a:pt x="51733" y="2751"/>
                      </a:lnTo>
                      <a:lnTo>
                        <a:pt x="47726" y="10167"/>
                      </a:lnTo>
                      <a:lnTo>
                        <a:pt x="46112" y="11662"/>
                      </a:lnTo>
                      <a:lnTo>
                        <a:pt x="45155" y="12560"/>
                      </a:lnTo>
                      <a:lnTo>
                        <a:pt x="37799" y="19378"/>
                      </a:lnTo>
                      <a:lnTo>
                        <a:pt x="36482" y="19557"/>
                      </a:lnTo>
                      <a:lnTo>
                        <a:pt x="30980" y="20394"/>
                      </a:lnTo>
                      <a:lnTo>
                        <a:pt x="29186" y="20633"/>
                      </a:lnTo>
                      <a:lnTo>
                        <a:pt x="26734" y="20933"/>
                      </a:lnTo>
                      <a:lnTo>
                        <a:pt x="22308" y="21471"/>
                      </a:lnTo>
                      <a:lnTo>
                        <a:pt x="20394" y="21710"/>
                      </a:lnTo>
                      <a:lnTo>
                        <a:pt x="17165" y="22189"/>
                      </a:lnTo>
                      <a:lnTo>
                        <a:pt x="16029" y="22368"/>
                      </a:lnTo>
                      <a:lnTo>
                        <a:pt x="15729" y="22368"/>
                      </a:lnTo>
                      <a:lnTo>
                        <a:pt x="10646" y="22547"/>
                      </a:lnTo>
                      <a:lnTo>
                        <a:pt x="8911" y="22607"/>
                      </a:lnTo>
                      <a:lnTo>
                        <a:pt x="7058" y="22368"/>
                      </a:lnTo>
                      <a:lnTo>
                        <a:pt x="5921" y="22189"/>
                      </a:lnTo>
                      <a:lnTo>
                        <a:pt x="5323" y="22129"/>
                      </a:lnTo>
                      <a:lnTo>
                        <a:pt x="2752" y="20394"/>
                      </a:lnTo>
                      <a:lnTo>
                        <a:pt x="837" y="18779"/>
                      </a:lnTo>
                      <a:lnTo>
                        <a:pt x="598" y="18540"/>
                      </a:lnTo>
                      <a:lnTo>
                        <a:pt x="0" y="17882"/>
                      </a:lnTo>
                      <a:lnTo>
                        <a:pt x="1735" y="13756"/>
                      </a:lnTo>
                      <a:lnTo>
                        <a:pt x="1854" y="13397"/>
                      </a:lnTo>
                      <a:lnTo>
                        <a:pt x="1974" y="13158"/>
                      </a:lnTo>
                    </a:path>
                  </a:pathLst>
                </a:custGeom>
                <a:noFill/>
                <a:ln w="6350" cap="rnd">
                  <a:solidFill>
                    <a:schemeClr val="bg1">
                      <a:alpha val="40000"/>
                    </a:schemeClr>
                  </a:solidFill>
                  <a:prstDash val="solid"/>
                  <a:round/>
                </a:ln>
              </p:spPr>
              <p:txBody>
                <a:bodyPr rtlCol="0" anchor="ctr"/>
                <a:lstStyle/>
                <a:p>
                  <a:endParaRPr lang="en-GB"/>
                </a:p>
              </p:txBody>
            </p:sp>
            <p:sp>
              <p:nvSpPr>
                <p:cNvPr id="6497" name="Vrije vorm: vorm 6496">
                  <a:extLst>
                    <a:ext uri="{FF2B5EF4-FFF2-40B4-BE49-F238E27FC236}">
                      <a16:creationId xmlns:a16="http://schemas.microsoft.com/office/drawing/2014/main" id="{DC473FFC-D6C7-4937-9131-C750C1FC69BD}"/>
                    </a:ext>
                  </a:extLst>
                </p:cNvPr>
                <p:cNvSpPr/>
                <p:nvPr/>
              </p:nvSpPr>
              <p:spPr>
                <a:xfrm>
                  <a:off x="6792565" y="1847724"/>
                  <a:ext cx="5023" cy="7117"/>
                </a:xfrm>
                <a:custGeom>
                  <a:avLst/>
                  <a:gdLst>
                    <a:gd name="connsiteX0" fmla="*/ 0 w 5023"/>
                    <a:gd name="connsiteY0" fmla="*/ 7117 h 7117"/>
                    <a:gd name="connsiteX1" fmla="*/ 5024 w 5023"/>
                    <a:gd name="connsiteY1" fmla="*/ 0 h 7117"/>
                  </a:gdLst>
                  <a:ahLst/>
                  <a:cxnLst>
                    <a:cxn ang="0">
                      <a:pos x="connsiteX0" y="connsiteY0"/>
                    </a:cxn>
                    <a:cxn ang="0">
                      <a:pos x="connsiteX1" y="connsiteY1"/>
                    </a:cxn>
                  </a:cxnLst>
                  <a:rect l="l" t="t" r="r" b="b"/>
                  <a:pathLst>
                    <a:path w="5023" h="7117">
                      <a:moveTo>
                        <a:pt x="0" y="7117"/>
                      </a:moveTo>
                      <a:lnTo>
                        <a:pt x="5024" y="0"/>
                      </a:lnTo>
                    </a:path>
                  </a:pathLst>
                </a:custGeom>
                <a:noFill/>
                <a:ln w="6350" cap="rnd">
                  <a:solidFill>
                    <a:schemeClr val="bg1">
                      <a:alpha val="40000"/>
                    </a:schemeClr>
                  </a:solidFill>
                  <a:prstDash val="solid"/>
                  <a:round/>
                </a:ln>
              </p:spPr>
              <p:txBody>
                <a:bodyPr rtlCol="0" anchor="ctr"/>
                <a:lstStyle/>
                <a:p>
                  <a:endParaRPr lang="en-GB"/>
                </a:p>
              </p:txBody>
            </p:sp>
            <p:sp>
              <p:nvSpPr>
                <p:cNvPr id="6498" name="Vrije vorm: vorm 6497">
                  <a:extLst>
                    <a:ext uri="{FF2B5EF4-FFF2-40B4-BE49-F238E27FC236}">
                      <a16:creationId xmlns:a16="http://schemas.microsoft.com/office/drawing/2014/main" id="{B3AFDFE0-6E85-4C7A-8FAC-6022E725405A}"/>
                    </a:ext>
                  </a:extLst>
                </p:cNvPr>
                <p:cNvSpPr/>
                <p:nvPr/>
              </p:nvSpPr>
              <p:spPr>
                <a:xfrm>
                  <a:off x="6784850" y="1808132"/>
                  <a:ext cx="101672" cy="74639"/>
                </a:xfrm>
                <a:custGeom>
                  <a:avLst/>
                  <a:gdLst>
                    <a:gd name="connsiteX0" fmla="*/ 0 w 101672"/>
                    <a:gd name="connsiteY0" fmla="*/ 10825 h 74639"/>
                    <a:gd name="connsiteX1" fmla="*/ 239 w 101672"/>
                    <a:gd name="connsiteY1" fmla="*/ 10586 h 74639"/>
                    <a:gd name="connsiteX2" fmla="*/ 2632 w 101672"/>
                    <a:gd name="connsiteY2" fmla="*/ 9569 h 74639"/>
                    <a:gd name="connsiteX3" fmla="*/ 20394 w 101672"/>
                    <a:gd name="connsiteY3" fmla="*/ 3289 h 74639"/>
                    <a:gd name="connsiteX4" fmla="*/ 37559 w 101672"/>
                    <a:gd name="connsiteY4" fmla="*/ 0 h 74639"/>
                    <a:gd name="connsiteX5" fmla="*/ 38037 w 101672"/>
                    <a:gd name="connsiteY5" fmla="*/ 60 h 74639"/>
                    <a:gd name="connsiteX6" fmla="*/ 40609 w 101672"/>
                    <a:gd name="connsiteY6" fmla="*/ 239 h 74639"/>
                    <a:gd name="connsiteX7" fmla="*/ 42224 w 101672"/>
                    <a:gd name="connsiteY7" fmla="*/ 1017 h 74639"/>
                    <a:gd name="connsiteX8" fmla="*/ 43181 w 101672"/>
                    <a:gd name="connsiteY8" fmla="*/ 1495 h 74639"/>
                    <a:gd name="connsiteX9" fmla="*/ 43839 w 101672"/>
                    <a:gd name="connsiteY9" fmla="*/ 1854 h 74639"/>
                    <a:gd name="connsiteX10" fmla="*/ 47308 w 101672"/>
                    <a:gd name="connsiteY10" fmla="*/ 3588 h 74639"/>
                    <a:gd name="connsiteX11" fmla="*/ 47546 w 101672"/>
                    <a:gd name="connsiteY11" fmla="*/ 3708 h 74639"/>
                    <a:gd name="connsiteX12" fmla="*/ 53109 w 101672"/>
                    <a:gd name="connsiteY12" fmla="*/ 6519 h 74639"/>
                    <a:gd name="connsiteX13" fmla="*/ 53587 w 101672"/>
                    <a:gd name="connsiteY13" fmla="*/ 6758 h 74639"/>
                    <a:gd name="connsiteX14" fmla="*/ 54245 w 101672"/>
                    <a:gd name="connsiteY14" fmla="*/ 7117 h 74639"/>
                    <a:gd name="connsiteX15" fmla="*/ 55262 w 101672"/>
                    <a:gd name="connsiteY15" fmla="*/ 7715 h 74639"/>
                    <a:gd name="connsiteX16" fmla="*/ 56219 w 101672"/>
                    <a:gd name="connsiteY16" fmla="*/ 8253 h 74639"/>
                    <a:gd name="connsiteX17" fmla="*/ 58312 w 101672"/>
                    <a:gd name="connsiteY17" fmla="*/ 9450 h 74639"/>
                    <a:gd name="connsiteX18" fmla="*/ 59329 w 101672"/>
                    <a:gd name="connsiteY18" fmla="*/ 10048 h 74639"/>
                    <a:gd name="connsiteX19" fmla="*/ 59687 w 101672"/>
                    <a:gd name="connsiteY19" fmla="*/ 10227 h 74639"/>
                    <a:gd name="connsiteX20" fmla="*/ 59807 w 101672"/>
                    <a:gd name="connsiteY20" fmla="*/ 10287 h 74639"/>
                    <a:gd name="connsiteX21" fmla="*/ 60585 w 101672"/>
                    <a:gd name="connsiteY21" fmla="*/ 10706 h 74639"/>
                    <a:gd name="connsiteX22" fmla="*/ 60824 w 101672"/>
                    <a:gd name="connsiteY22" fmla="*/ 10825 h 74639"/>
                    <a:gd name="connsiteX23" fmla="*/ 61123 w 101672"/>
                    <a:gd name="connsiteY23" fmla="*/ 11005 h 74639"/>
                    <a:gd name="connsiteX24" fmla="*/ 61123 w 101672"/>
                    <a:gd name="connsiteY24" fmla="*/ 11005 h 74639"/>
                    <a:gd name="connsiteX25" fmla="*/ 61183 w 101672"/>
                    <a:gd name="connsiteY25" fmla="*/ 11064 h 74639"/>
                    <a:gd name="connsiteX26" fmla="*/ 61900 w 101672"/>
                    <a:gd name="connsiteY26" fmla="*/ 11483 h 74639"/>
                    <a:gd name="connsiteX27" fmla="*/ 62140 w 101672"/>
                    <a:gd name="connsiteY27" fmla="*/ 11603 h 74639"/>
                    <a:gd name="connsiteX28" fmla="*/ 62319 w 101672"/>
                    <a:gd name="connsiteY28" fmla="*/ 11722 h 74639"/>
                    <a:gd name="connsiteX29" fmla="*/ 62857 w 101672"/>
                    <a:gd name="connsiteY29" fmla="*/ 12021 h 74639"/>
                    <a:gd name="connsiteX30" fmla="*/ 63097 w 101672"/>
                    <a:gd name="connsiteY30" fmla="*/ 12141 h 74639"/>
                    <a:gd name="connsiteX31" fmla="*/ 63515 w 101672"/>
                    <a:gd name="connsiteY31" fmla="*/ 12380 h 74639"/>
                    <a:gd name="connsiteX32" fmla="*/ 65130 w 101672"/>
                    <a:gd name="connsiteY32" fmla="*/ 13337 h 74639"/>
                    <a:gd name="connsiteX33" fmla="*/ 66027 w 101672"/>
                    <a:gd name="connsiteY33" fmla="*/ 13875 h 74639"/>
                    <a:gd name="connsiteX34" fmla="*/ 68659 w 101672"/>
                    <a:gd name="connsiteY34" fmla="*/ 15370 h 74639"/>
                    <a:gd name="connsiteX35" fmla="*/ 68718 w 101672"/>
                    <a:gd name="connsiteY35" fmla="*/ 15370 h 74639"/>
                    <a:gd name="connsiteX36" fmla="*/ 69974 w 101672"/>
                    <a:gd name="connsiteY36" fmla="*/ 16208 h 74639"/>
                    <a:gd name="connsiteX37" fmla="*/ 70812 w 101672"/>
                    <a:gd name="connsiteY37" fmla="*/ 16746 h 74639"/>
                    <a:gd name="connsiteX38" fmla="*/ 71051 w 101672"/>
                    <a:gd name="connsiteY38" fmla="*/ 16925 h 74639"/>
                    <a:gd name="connsiteX39" fmla="*/ 71290 w 101672"/>
                    <a:gd name="connsiteY39" fmla="*/ 17105 h 74639"/>
                    <a:gd name="connsiteX40" fmla="*/ 75477 w 101672"/>
                    <a:gd name="connsiteY40" fmla="*/ 19736 h 74639"/>
                    <a:gd name="connsiteX41" fmla="*/ 76254 w 101672"/>
                    <a:gd name="connsiteY41" fmla="*/ 20215 h 74639"/>
                    <a:gd name="connsiteX42" fmla="*/ 77032 w 101672"/>
                    <a:gd name="connsiteY42" fmla="*/ 20693 h 74639"/>
                    <a:gd name="connsiteX43" fmla="*/ 77570 w 101672"/>
                    <a:gd name="connsiteY43" fmla="*/ 20992 h 74639"/>
                    <a:gd name="connsiteX44" fmla="*/ 77749 w 101672"/>
                    <a:gd name="connsiteY44" fmla="*/ 21112 h 74639"/>
                    <a:gd name="connsiteX45" fmla="*/ 79902 w 101672"/>
                    <a:gd name="connsiteY45" fmla="*/ 22488 h 74639"/>
                    <a:gd name="connsiteX46" fmla="*/ 82055 w 101672"/>
                    <a:gd name="connsiteY46" fmla="*/ 23863 h 74639"/>
                    <a:gd name="connsiteX47" fmla="*/ 83252 w 101672"/>
                    <a:gd name="connsiteY47" fmla="*/ 24641 h 74639"/>
                    <a:gd name="connsiteX48" fmla="*/ 83551 w 101672"/>
                    <a:gd name="connsiteY48" fmla="*/ 24820 h 74639"/>
                    <a:gd name="connsiteX49" fmla="*/ 84388 w 101672"/>
                    <a:gd name="connsiteY49" fmla="*/ 25418 h 74639"/>
                    <a:gd name="connsiteX50" fmla="*/ 85046 w 101672"/>
                    <a:gd name="connsiteY50" fmla="*/ 25897 h 74639"/>
                    <a:gd name="connsiteX51" fmla="*/ 85644 w 101672"/>
                    <a:gd name="connsiteY51" fmla="*/ 26315 h 74639"/>
                    <a:gd name="connsiteX52" fmla="*/ 86242 w 101672"/>
                    <a:gd name="connsiteY52" fmla="*/ 26734 h 74639"/>
                    <a:gd name="connsiteX53" fmla="*/ 87020 w 101672"/>
                    <a:gd name="connsiteY53" fmla="*/ 27272 h 74639"/>
                    <a:gd name="connsiteX54" fmla="*/ 87259 w 101672"/>
                    <a:gd name="connsiteY54" fmla="*/ 27452 h 74639"/>
                    <a:gd name="connsiteX55" fmla="*/ 88276 w 101672"/>
                    <a:gd name="connsiteY55" fmla="*/ 28169 h 74639"/>
                    <a:gd name="connsiteX56" fmla="*/ 88455 w 101672"/>
                    <a:gd name="connsiteY56" fmla="*/ 28289 h 74639"/>
                    <a:gd name="connsiteX57" fmla="*/ 88634 w 101672"/>
                    <a:gd name="connsiteY57" fmla="*/ 28408 h 74639"/>
                    <a:gd name="connsiteX58" fmla="*/ 89113 w 101672"/>
                    <a:gd name="connsiteY58" fmla="*/ 28767 h 74639"/>
                    <a:gd name="connsiteX59" fmla="*/ 89113 w 101672"/>
                    <a:gd name="connsiteY59" fmla="*/ 28767 h 74639"/>
                    <a:gd name="connsiteX60" fmla="*/ 89352 w 101672"/>
                    <a:gd name="connsiteY60" fmla="*/ 28947 h 74639"/>
                    <a:gd name="connsiteX61" fmla="*/ 89352 w 101672"/>
                    <a:gd name="connsiteY61" fmla="*/ 28947 h 74639"/>
                    <a:gd name="connsiteX62" fmla="*/ 89412 w 101672"/>
                    <a:gd name="connsiteY62" fmla="*/ 29007 h 74639"/>
                    <a:gd name="connsiteX63" fmla="*/ 89831 w 101672"/>
                    <a:gd name="connsiteY63" fmla="*/ 29306 h 74639"/>
                    <a:gd name="connsiteX64" fmla="*/ 89831 w 101672"/>
                    <a:gd name="connsiteY64" fmla="*/ 29306 h 74639"/>
                    <a:gd name="connsiteX65" fmla="*/ 90129 w 101672"/>
                    <a:gd name="connsiteY65" fmla="*/ 29545 h 74639"/>
                    <a:gd name="connsiteX66" fmla="*/ 90309 w 101672"/>
                    <a:gd name="connsiteY66" fmla="*/ 29664 h 74639"/>
                    <a:gd name="connsiteX67" fmla="*/ 90728 w 101672"/>
                    <a:gd name="connsiteY67" fmla="*/ 29963 h 74639"/>
                    <a:gd name="connsiteX68" fmla="*/ 96170 w 101672"/>
                    <a:gd name="connsiteY68" fmla="*/ 33851 h 74639"/>
                    <a:gd name="connsiteX69" fmla="*/ 97007 w 101672"/>
                    <a:gd name="connsiteY69" fmla="*/ 34868 h 74639"/>
                    <a:gd name="connsiteX70" fmla="*/ 98622 w 101672"/>
                    <a:gd name="connsiteY70" fmla="*/ 36901 h 74639"/>
                    <a:gd name="connsiteX71" fmla="*/ 98921 w 101672"/>
                    <a:gd name="connsiteY71" fmla="*/ 37559 h 74639"/>
                    <a:gd name="connsiteX72" fmla="*/ 100057 w 101672"/>
                    <a:gd name="connsiteY72" fmla="*/ 40370 h 74639"/>
                    <a:gd name="connsiteX73" fmla="*/ 100297 w 101672"/>
                    <a:gd name="connsiteY73" fmla="*/ 44138 h 74639"/>
                    <a:gd name="connsiteX74" fmla="*/ 100357 w 101672"/>
                    <a:gd name="connsiteY74" fmla="*/ 45394 h 74639"/>
                    <a:gd name="connsiteX75" fmla="*/ 100357 w 101672"/>
                    <a:gd name="connsiteY75" fmla="*/ 45812 h 74639"/>
                    <a:gd name="connsiteX76" fmla="*/ 100357 w 101672"/>
                    <a:gd name="connsiteY76" fmla="*/ 45812 h 74639"/>
                    <a:gd name="connsiteX77" fmla="*/ 100835 w 101672"/>
                    <a:gd name="connsiteY77" fmla="*/ 53707 h 74639"/>
                    <a:gd name="connsiteX78" fmla="*/ 100955 w 101672"/>
                    <a:gd name="connsiteY78" fmla="*/ 55322 h 74639"/>
                    <a:gd name="connsiteX79" fmla="*/ 100775 w 101672"/>
                    <a:gd name="connsiteY79" fmla="*/ 58133 h 74639"/>
                    <a:gd name="connsiteX80" fmla="*/ 100595 w 101672"/>
                    <a:gd name="connsiteY80" fmla="*/ 60226 h 74639"/>
                    <a:gd name="connsiteX81" fmla="*/ 100237 w 101672"/>
                    <a:gd name="connsiteY81" fmla="*/ 65310 h 74639"/>
                    <a:gd name="connsiteX82" fmla="*/ 100117 w 101672"/>
                    <a:gd name="connsiteY82" fmla="*/ 67283 h 74639"/>
                    <a:gd name="connsiteX83" fmla="*/ 100117 w 101672"/>
                    <a:gd name="connsiteY83" fmla="*/ 67582 h 74639"/>
                    <a:gd name="connsiteX84" fmla="*/ 99878 w 101672"/>
                    <a:gd name="connsiteY84" fmla="*/ 71111 h 74639"/>
                    <a:gd name="connsiteX85" fmla="*/ 101672 w 101672"/>
                    <a:gd name="connsiteY85" fmla="*/ 74639 h 74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01672" h="74639">
                      <a:moveTo>
                        <a:pt x="0" y="10825"/>
                      </a:moveTo>
                      <a:lnTo>
                        <a:pt x="239" y="10586"/>
                      </a:lnTo>
                      <a:lnTo>
                        <a:pt x="2632" y="9569"/>
                      </a:lnTo>
                      <a:lnTo>
                        <a:pt x="20394" y="3289"/>
                      </a:lnTo>
                      <a:lnTo>
                        <a:pt x="37559" y="0"/>
                      </a:lnTo>
                      <a:lnTo>
                        <a:pt x="38037" y="60"/>
                      </a:lnTo>
                      <a:lnTo>
                        <a:pt x="40609" y="239"/>
                      </a:lnTo>
                      <a:lnTo>
                        <a:pt x="42224" y="1017"/>
                      </a:lnTo>
                      <a:lnTo>
                        <a:pt x="43181" y="1495"/>
                      </a:lnTo>
                      <a:lnTo>
                        <a:pt x="43839" y="1854"/>
                      </a:lnTo>
                      <a:lnTo>
                        <a:pt x="47308" y="3588"/>
                      </a:lnTo>
                      <a:lnTo>
                        <a:pt x="47546" y="3708"/>
                      </a:lnTo>
                      <a:lnTo>
                        <a:pt x="53109" y="6519"/>
                      </a:lnTo>
                      <a:lnTo>
                        <a:pt x="53587" y="6758"/>
                      </a:lnTo>
                      <a:lnTo>
                        <a:pt x="54245" y="7117"/>
                      </a:lnTo>
                      <a:lnTo>
                        <a:pt x="55262" y="7715"/>
                      </a:lnTo>
                      <a:lnTo>
                        <a:pt x="56219" y="8253"/>
                      </a:lnTo>
                      <a:lnTo>
                        <a:pt x="58312" y="9450"/>
                      </a:lnTo>
                      <a:lnTo>
                        <a:pt x="59329" y="10048"/>
                      </a:lnTo>
                      <a:lnTo>
                        <a:pt x="59687" y="10227"/>
                      </a:lnTo>
                      <a:lnTo>
                        <a:pt x="59807" y="10287"/>
                      </a:lnTo>
                      <a:lnTo>
                        <a:pt x="60585" y="10706"/>
                      </a:lnTo>
                      <a:lnTo>
                        <a:pt x="60824" y="10825"/>
                      </a:lnTo>
                      <a:lnTo>
                        <a:pt x="61123" y="11005"/>
                      </a:lnTo>
                      <a:lnTo>
                        <a:pt x="61123" y="11005"/>
                      </a:lnTo>
                      <a:lnTo>
                        <a:pt x="61183" y="11064"/>
                      </a:lnTo>
                      <a:lnTo>
                        <a:pt x="61900" y="11483"/>
                      </a:lnTo>
                      <a:lnTo>
                        <a:pt x="62140" y="11603"/>
                      </a:lnTo>
                      <a:lnTo>
                        <a:pt x="62319" y="11722"/>
                      </a:lnTo>
                      <a:lnTo>
                        <a:pt x="62857" y="12021"/>
                      </a:lnTo>
                      <a:lnTo>
                        <a:pt x="63097" y="12141"/>
                      </a:lnTo>
                      <a:lnTo>
                        <a:pt x="63515" y="12380"/>
                      </a:lnTo>
                      <a:lnTo>
                        <a:pt x="65130" y="13337"/>
                      </a:lnTo>
                      <a:lnTo>
                        <a:pt x="66027" y="13875"/>
                      </a:lnTo>
                      <a:lnTo>
                        <a:pt x="68659" y="15370"/>
                      </a:lnTo>
                      <a:lnTo>
                        <a:pt x="68718" y="15370"/>
                      </a:lnTo>
                      <a:lnTo>
                        <a:pt x="69974" y="16208"/>
                      </a:lnTo>
                      <a:lnTo>
                        <a:pt x="70812" y="16746"/>
                      </a:lnTo>
                      <a:lnTo>
                        <a:pt x="71051" y="16925"/>
                      </a:lnTo>
                      <a:lnTo>
                        <a:pt x="71290" y="17105"/>
                      </a:lnTo>
                      <a:lnTo>
                        <a:pt x="75477" y="19736"/>
                      </a:lnTo>
                      <a:lnTo>
                        <a:pt x="76254" y="20215"/>
                      </a:lnTo>
                      <a:lnTo>
                        <a:pt x="77032" y="20693"/>
                      </a:lnTo>
                      <a:lnTo>
                        <a:pt x="77570" y="20992"/>
                      </a:lnTo>
                      <a:lnTo>
                        <a:pt x="77749" y="21112"/>
                      </a:lnTo>
                      <a:lnTo>
                        <a:pt x="79902" y="22488"/>
                      </a:lnTo>
                      <a:lnTo>
                        <a:pt x="82055" y="23863"/>
                      </a:lnTo>
                      <a:lnTo>
                        <a:pt x="83252" y="24641"/>
                      </a:lnTo>
                      <a:lnTo>
                        <a:pt x="83551" y="24820"/>
                      </a:lnTo>
                      <a:lnTo>
                        <a:pt x="84388" y="25418"/>
                      </a:lnTo>
                      <a:lnTo>
                        <a:pt x="85046" y="25897"/>
                      </a:lnTo>
                      <a:lnTo>
                        <a:pt x="85644" y="26315"/>
                      </a:lnTo>
                      <a:lnTo>
                        <a:pt x="86242" y="26734"/>
                      </a:lnTo>
                      <a:lnTo>
                        <a:pt x="87020" y="27272"/>
                      </a:lnTo>
                      <a:lnTo>
                        <a:pt x="87259" y="27452"/>
                      </a:lnTo>
                      <a:lnTo>
                        <a:pt x="88276" y="28169"/>
                      </a:lnTo>
                      <a:lnTo>
                        <a:pt x="88455" y="28289"/>
                      </a:lnTo>
                      <a:lnTo>
                        <a:pt x="88634" y="28408"/>
                      </a:lnTo>
                      <a:lnTo>
                        <a:pt x="89113" y="28767"/>
                      </a:lnTo>
                      <a:lnTo>
                        <a:pt x="89113" y="28767"/>
                      </a:lnTo>
                      <a:lnTo>
                        <a:pt x="89352" y="28947"/>
                      </a:lnTo>
                      <a:lnTo>
                        <a:pt x="89352" y="28947"/>
                      </a:lnTo>
                      <a:lnTo>
                        <a:pt x="89412" y="29007"/>
                      </a:lnTo>
                      <a:lnTo>
                        <a:pt x="89831" y="29306"/>
                      </a:lnTo>
                      <a:lnTo>
                        <a:pt x="89831" y="29306"/>
                      </a:lnTo>
                      <a:lnTo>
                        <a:pt x="90129" y="29545"/>
                      </a:lnTo>
                      <a:lnTo>
                        <a:pt x="90309" y="29664"/>
                      </a:lnTo>
                      <a:lnTo>
                        <a:pt x="90728" y="29963"/>
                      </a:lnTo>
                      <a:lnTo>
                        <a:pt x="96170" y="33851"/>
                      </a:lnTo>
                      <a:lnTo>
                        <a:pt x="97007" y="34868"/>
                      </a:lnTo>
                      <a:lnTo>
                        <a:pt x="98622" y="36901"/>
                      </a:lnTo>
                      <a:lnTo>
                        <a:pt x="98921" y="37559"/>
                      </a:lnTo>
                      <a:lnTo>
                        <a:pt x="100057" y="40370"/>
                      </a:lnTo>
                      <a:lnTo>
                        <a:pt x="100297" y="44138"/>
                      </a:lnTo>
                      <a:lnTo>
                        <a:pt x="100357" y="45394"/>
                      </a:lnTo>
                      <a:lnTo>
                        <a:pt x="100357" y="45812"/>
                      </a:lnTo>
                      <a:lnTo>
                        <a:pt x="100357" y="45812"/>
                      </a:lnTo>
                      <a:lnTo>
                        <a:pt x="100835" y="53707"/>
                      </a:lnTo>
                      <a:lnTo>
                        <a:pt x="100955" y="55322"/>
                      </a:lnTo>
                      <a:lnTo>
                        <a:pt x="100775" y="58133"/>
                      </a:lnTo>
                      <a:lnTo>
                        <a:pt x="100595" y="60226"/>
                      </a:lnTo>
                      <a:lnTo>
                        <a:pt x="100237" y="65310"/>
                      </a:lnTo>
                      <a:lnTo>
                        <a:pt x="100117" y="67283"/>
                      </a:lnTo>
                      <a:lnTo>
                        <a:pt x="100117" y="67582"/>
                      </a:lnTo>
                      <a:lnTo>
                        <a:pt x="99878" y="71111"/>
                      </a:lnTo>
                      <a:lnTo>
                        <a:pt x="101672" y="74639"/>
                      </a:lnTo>
                    </a:path>
                  </a:pathLst>
                </a:custGeom>
                <a:noFill/>
                <a:ln w="6350" cap="rnd">
                  <a:solidFill>
                    <a:schemeClr val="bg1">
                      <a:alpha val="40000"/>
                    </a:schemeClr>
                  </a:solidFill>
                  <a:prstDash val="solid"/>
                  <a:round/>
                </a:ln>
              </p:spPr>
              <p:txBody>
                <a:bodyPr rtlCol="0" anchor="ctr"/>
                <a:lstStyle/>
                <a:p>
                  <a:endParaRPr lang="en-GB"/>
                </a:p>
              </p:txBody>
            </p:sp>
            <p:sp>
              <p:nvSpPr>
                <p:cNvPr id="6499" name="Vrije vorm: vorm 6498">
                  <a:extLst>
                    <a:ext uri="{FF2B5EF4-FFF2-40B4-BE49-F238E27FC236}">
                      <a16:creationId xmlns:a16="http://schemas.microsoft.com/office/drawing/2014/main" id="{8614E238-7615-4329-B309-8020FFC26F8E}"/>
                    </a:ext>
                  </a:extLst>
                </p:cNvPr>
                <p:cNvSpPr/>
                <p:nvPr/>
              </p:nvSpPr>
              <p:spPr>
                <a:xfrm>
                  <a:off x="6865649" y="1882652"/>
                  <a:ext cx="20872" cy="21769"/>
                </a:xfrm>
                <a:custGeom>
                  <a:avLst/>
                  <a:gdLst>
                    <a:gd name="connsiteX0" fmla="*/ 20753 w 20872"/>
                    <a:gd name="connsiteY0" fmla="*/ 179 h 21769"/>
                    <a:gd name="connsiteX1" fmla="*/ 20873 w 20872"/>
                    <a:gd name="connsiteY1" fmla="*/ 0 h 21769"/>
                    <a:gd name="connsiteX2" fmla="*/ 20753 w 20872"/>
                    <a:gd name="connsiteY2" fmla="*/ 179 h 21769"/>
                    <a:gd name="connsiteX3" fmla="*/ 19318 w 20872"/>
                    <a:gd name="connsiteY3" fmla="*/ 1615 h 21769"/>
                    <a:gd name="connsiteX4" fmla="*/ 18600 w 20872"/>
                    <a:gd name="connsiteY4" fmla="*/ 2332 h 21769"/>
                    <a:gd name="connsiteX5" fmla="*/ 18360 w 20872"/>
                    <a:gd name="connsiteY5" fmla="*/ 2632 h 21769"/>
                    <a:gd name="connsiteX6" fmla="*/ 18182 w 20872"/>
                    <a:gd name="connsiteY6" fmla="*/ 2811 h 21769"/>
                    <a:gd name="connsiteX7" fmla="*/ 17464 w 20872"/>
                    <a:gd name="connsiteY7" fmla="*/ 3588 h 21769"/>
                    <a:gd name="connsiteX8" fmla="*/ 17225 w 20872"/>
                    <a:gd name="connsiteY8" fmla="*/ 3828 h 21769"/>
                    <a:gd name="connsiteX9" fmla="*/ 17045 w 20872"/>
                    <a:gd name="connsiteY9" fmla="*/ 4007 h 21769"/>
                    <a:gd name="connsiteX10" fmla="*/ 16925 w 20872"/>
                    <a:gd name="connsiteY10" fmla="*/ 4127 h 21769"/>
                    <a:gd name="connsiteX11" fmla="*/ 16805 w 20872"/>
                    <a:gd name="connsiteY11" fmla="*/ 4246 h 21769"/>
                    <a:gd name="connsiteX12" fmla="*/ 15909 w 20872"/>
                    <a:gd name="connsiteY12" fmla="*/ 5143 h 21769"/>
                    <a:gd name="connsiteX13" fmla="*/ 15610 w 20872"/>
                    <a:gd name="connsiteY13" fmla="*/ 5502 h 21769"/>
                    <a:gd name="connsiteX14" fmla="*/ 14593 w 20872"/>
                    <a:gd name="connsiteY14" fmla="*/ 6579 h 21769"/>
                    <a:gd name="connsiteX15" fmla="*/ 14533 w 20872"/>
                    <a:gd name="connsiteY15" fmla="*/ 6639 h 21769"/>
                    <a:gd name="connsiteX16" fmla="*/ 14474 w 20872"/>
                    <a:gd name="connsiteY16" fmla="*/ 6698 h 21769"/>
                    <a:gd name="connsiteX17" fmla="*/ 14234 w 20872"/>
                    <a:gd name="connsiteY17" fmla="*/ 6938 h 21769"/>
                    <a:gd name="connsiteX18" fmla="*/ 13696 w 20872"/>
                    <a:gd name="connsiteY18" fmla="*/ 7536 h 21769"/>
                    <a:gd name="connsiteX19" fmla="*/ 11483 w 20872"/>
                    <a:gd name="connsiteY19" fmla="*/ 9808 h 21769"/>
                    <a:gd name="connsiteX20" fmla="*/ 11364 w 20872"/>
                    <a:gd name="connsiteY20" fmla="*/ 9928 h 21769"/>
                    <a:gd name="connsiteX21" fmla="*/ 11304 w 20872"/>
                    <a:gd name="connsiteY21" fmla="*/ 9988 h 21769"/>
                    <a:gd name="connsiteX22" fmla="*/ 11304 w 20872"/>
                    <a:gd name="connsiteY22" fmla="*/ 9988 h 21769"/>
                    <a:gd name="connsiteX23" fmla="*/ 11124 w 20872"/>
                    <a:gd name="connsiteY23" fmla="*/ 10167 h 21769"/>
                    <a:gd name="connsiteX24" fmla="*/ 11064 w 20872"/>
                    <a:gd name="connsiteY24" fmla="*/ 10227 h 21769"/>
                    <a:gd name="connsiteX25" fmla="*/ 10287 w 20872"/>
                    <a:gd name="connsiteY25" fmla="*/ 11064 h 21769"/>
                    <a:gd name="connsiteX26" fmla="*/ 9509 w 20872"/>
                    <a:gd name="connsiteY26" fmla="*/ 11902 h 21769"/>
                    <a:gd name="connsiteX27" fmla="*/ 2093 w 20872"/>
                    <a:gd name="connsiteY27" fmla="*/ 19976 h 21769"/>
                    <a:gd name="connsiteX28" fmla="*/ 1795 w 20872"/>
                    <a:gd name="connsiteY28" fmla="*/ 20275 h 21769"/>
                    <a:gd name="connsiteX29" fmla="*/ 538 w 20872"/>
                    <a:gd name="connsiteY29" fmla="*/ 21650 h 21769"/>
                    <a:gd name="connsiteX30" fmla="*/ 478 w 20872"/>
                    <a:gd name="connsiteY30" fmla="*/ 21710 h 21769"/>
                    <a:gd name="connsiteX31" fmla="*/ 0 w 20872"/>
                    <a:gd name="connsiteY31" fmla="*/ 21770 h 2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872" h="21769">
                      <a:moveTo>
                        <a:pt x="20753" y="179"/>
                      </a:moveTo>
                      <a:lnTo>
                        <a:pt x="20873" y="0"/>
                      </a:lnTo>
                      <a:lnTo>
                        <a:pt x="20753" y="179"/>
                      </a:lnTo>
                      <a:lnTo>
                        <a:pt x="19318" y="1615"/>
                      </a:lnTo>
                      <a:lnTo>
                        <a:pt x="18600" y="2332"/>
                      </a:lnTo>
                      <a:lnTo>
                        <a:pt x="18360" y="2632"/>
                      </a:lnTo>
                      <a:lnTo>
                        <a:pt x="18182" y="2811"/>
                      </a:lnTo>
                      <a:lnTo>
                        <a:pt x="17464" y="3588"/>
                      </a:lnTo>
                      <a:lnTo>
                        <a:pt x="17225" y="3828"/>
                      </a:lnTo>
                      <a:lnTo>
                        <a:pt x="17045" y="4007"/>
                      </a:lnTo>
                      <a:lnTo>
                        <a:pt x="16925" y="4127"/>
                      </a:lnTo>
                      <a:lnTo>
                        <a:pt x="16805" y="4246"/>
                      </a:lnTo>
                      <a:lnTo>
                        <a:pt x="15909" y="5143"/>
                      </a:lnTo>
                      <a:lnTo>
                        <a:pt x="15610" y="5502"/>
                      </a:lnTo>
                      <a:lnTo>
                        <a:pt x="14593" y="6579"/>
                      </a:lnTo>
                      <a:lnTo>
                        <a:pt x="14533" y="6639"/>
                      </a:lnTo>
                      <a:lnTo>
                        <a:pt x="14474" y="6698"/>
                      </a:lnTo>
                      <a:lnTo>
                        <a:pt x="14234" y="6938"/>
                      </a:lnTo>
                      <a:lnTo>
                        <a:pt x="13696" y="7536"/>
                      </a:lnTo>
                      <a:lnTo>
                        <a:pt x="11483" y="9808"/>
                      </a:lnTo>
                      <a:lnTo>
                        <a:pt x="11364" y="9928"/>
                      </a:lnTo>
                      <a:lnTo>
                        <a:pt x="11304" y="9988"/>
                      </a:lnTo>
                      <a:lnTo>
                        <a:pt x="11304" y="9988"/>
                      </a:lnTo>
                      <a:lnTo>
                        <a:pt x="11124" y="10167"/>
                      </a:lnTo>
                      <a:lnTo>
                        <a:pt x="11064" y="10227"/>
                      </a:lnTo>
                      <a:lnTo>
                        <a:pt x="10287" y="11064"/>
                      </a:lnTo>
                      <a:lnTo>
                        <a:pt x="9509" y="11902"/>
                      </a:lnTo>
                      <a:lnTo>
                        <a:pt x="2093" y="19976"/>
                      </a:lnTo>
                      <a:lnTo>
                        <a:pt x="1795" y="20275"/>
                      </a:lnTo>
                      <a:lnTo>
                        <a:pt x="538" y="21650"/>
                      </a:lnTo>
                      <a:lnTo>
                        <a:pt x="478" y="21710"/>
                      </a:lnTo>
                      <a:lnTo>
                        <a:pt x="0" y="21770"/>
                      </a:lnTo>
                    </a:path>
                  </a:pathLst>
                </a:custGeom>
                <a:noFill/>
                <a:ln w="6350" cap="rnd">
                  <a:solidFill>
                    <a:schemeClr val="bg1">
                      <a:alpha val="40000"/>
                    </a:schemeClr>
                  </a:solidFill>
                  <a:prstDash val="solid"/>
                  <a:round/>
                </a:ln>
              </p:spPr>
              <p:txBody>
                <a:bodyPr rtlCol="0" anchor="ctr"/>
                <a:lstStyle/>
                <a:p>
                  <a:endParaRPr lang="en-GB"/>
                </a:p>
              </p:txBody>
            </p:sp>
            <p:sp>
              <p:nvSpPr>
                <p:cNvPr id="6500" name="Vrije vorm: vorm 6499">
                  <a:extLst>
                    <a:ext uri="{FF2B5EF4-FFF2-40B4-BE49-F238E27FC236}">
                      <a16:creationId xmlns:a16="http://schemas.microsoft.com/office/drawing/2014/main" id="{18EC2BB7-9A98-4BA2-8D06-86EDD1421756}"/>
                    </a:ext>
                  </a:extLst>
                </p:cNvPr>
                <p:cNvSpPr/>
                <p:nvPr/>
              </p:nvSpPr>
              <p:spPr>
                <a:xfrm>
                  <a:off x="6883591" y="1888513"/>
                  <a:ext cx="23503" cy="18480"/>
                </a:xfrm>
                <a:custGeom>
                  <a:avLst/>
                  <a:gdLst>
                    <a:gd name="connsiteX0" fmla="*/ 23504 w 23503"/>
                    <a:gd name="connsiteY0" fmla="*/ 1734 h 18480"/>
                    <a:gd name="connsiteX1" fmla="*/ 20095 w 23503"/>
                    <a:gd name="connsiteY1" fmla="*/ 837 h 18480"/>
                    <a:gd name="connsiteX2" fmla="*/ 17464 w 23503"/>
                    <a:gd name="connsiteY2" fmla="*/ 120 h 18480"/>
                    <a:gd name="connsiteX3" fmla="*/ 16985 w 23503"/>
                    <a:gd name="connsiteY3" fmla="*/ 0 h 18480"/>
                    <a:gd name="connsiteX4" fmla="*/ 14414 w 23503"/>
                    <a:gd name="connsiteY4" fmla="*/ 3409 h 18480"/>
                    <a:gd name="connsiteX5" fmla="*/ 13696 w 23503"/>
                    <a:gd name="connsiteY5" fmla="*/ 4366 h 18480"/>
                    <a:gd name="connsiteX6" fmla="*/ 13397 w 23503"/>
                    <a:gd name="connsiteY6" fmla="*/ 4785 h 18480"/>
                    <a:gd name="connsiteX7" fmla="*/ 12799 w 23503"/>
                    <a:gd name="connsiteY7" fmla="*/ 5622 h 18480"/>
                    <a:gd name="connsiteX8" fmla="*/ 12380 w 23503"/>
                    <a:gd name="connsiteY8" fmla="*/ 6160 h 18480"/>
                    <a:gd name="connsiteX9" fmla="*/ 12261 w 23503"/>
                    <a:gd name="connsiteY9" fmla="*/ 6340 h 18480"/>
                    <a:gd name="connsiteX10" fmla="*/ 12201 w 23503"/>
                    <a:gd name="connsiteY10" fmla="*/ 6459 h 18480"/>
                    <a:gd name="connsiteX11" fmla="*/ 11184 w 23503"/>
                    <a:gd name="connsiteY11" fmla="*/ 7775 h 18480"/>
                    <a:gd name="connsiteX12" fmla="*/ 11064 w 23503"/>
                    <a:gd name="connsiteY12" fmla="*/ 7954 h 18480"/>
                    <a:gd name="connsiteX13" fmla="*/ 11064 w 23503"/>
                    <a:gd name="connsiteY13" fmla="*/ 7954 h 18480"/>
                    <a:gd name="connsiteX14" fmla="*/ 11064 w 23503"/>
                    <a:gd name="connsiteY14" fmla="*/ 7954 h 18480"/>
                    <a:gd name="connsiteX15" fmla="*/ 9749 w 23503"/>
                    <a:gd name="connsiteY15" fmla="*/ 8313 h 18480"/>
                    <a:gd name="connsiteX16" fmla="*/ 8493 w 23503"/>
                    <a:gd name="connsiteY16" fmla="*/ 8672 h 18480"/>
                    <a:gd name="connsiteX17" fmla="*/ 8074 w 23503"/>
                    <a:gd name="connsiteY17" fmla="*/ 8792 h 18480"/>
                    <a:gd name="connsiteX18" fmla="*/ 7775 w 23503"/>
                    <a:gd name="connsiteY18" fmla="*/ 9150 h 18480"/>
                    <a:gd name="connsiteX19" fmla="*/ 5741 w 23503"/>
                    <a:gd name="connsiteY19" fmla="*/ 11603 h 18480"/>
                    <a:gd name="connsiteX20" fmla="*/ 5622 w 23503"/>
                    <a:gd name="connsiteY20" fmla="*/ 11782 h 18480"/>
                    <a:gd name="connsiteX21" fmla="*/ 5622 w 23503"/>
                    <a:gd name="connsiteY21" fmla="*/ 11782 h 18480"/>
                    <a:gd name="connsiteX22" fmla="*/ 5443 w 23503"/>
                    <a:gd name="connsiteY22" fmla="*/ 12021 h 18480"/>
                    <a:gd name="connsiteX23" fmla="*/ 4665 w 23503"/>
                    <a:gd name="connsiteY23" fmla="*/ 12918 h 18480"/>
                    <a:gd name="connsiteX24" fmla="*/ 3947 w 23503"/>
                    <a:gd name="connsiteY24" fmla="*/ 13756 h 18480"/>
                    <a:gd name="connsiteX25" fmla="*/ 0 w 23503"/>
                    <a:gd name="connsiteY25" fmla="*/ 18480 h 1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503" h="18480">
                      <a:moveTo>
                        <a:pt x="23504" y="1734"/>
                      </a:moveTo>
                      <a:lnTo>
                        <a:pt x="20095" y="837"/>
                      </a:lnTo>
                      <a:lnTo>
                        <a:pt x="17464" y="120"/>
                      </a:lnTo>
                      <a:lnTo>
                        <a:pt x="16985" y="0"/>
                      </a:lnTo>
                      <a:lnTo>
                        <a:pt x="14414" y="3409"/>
                      </a:lnTo>
                      <a:lnTo>
                        <a:pt x="13696" y="4366"/>
                      </a:lnTo>
                      <a:lnTo>
                        <a:pt x="13397" y="4785"/>
                      </a:lnTo>
                      <a:lnTo>
                        <a:pt x="12799" y="5622"/>
                      </a:lnTo>
                      <a:lnTo>
                        <a:pt x="12380" y="6160"/>
                      </a:lnTo>
                      <a:lnTo>
                        <a:pt x="12261" y="6340"/>
                      </a:lnTo>
                      <a:lnTo>
                        <a:pt x="12201" y="6459"/>
                      </a:lnTo>
                      <a:lnTo>
                        <a:pt x="11184" y="7775"/>
                      </a:lnTo>
                      <a:lnTo>
                        <a:pt x="11064" y="7954"/>
                      </a:lnTo>
                      <a:lnTo>
                        <a:pt x="11064" y="7954"/>
                      </a:lnTo>
                      <a:lnTo>
                        <a:pt x="11064" y="7954"/>
                      </a:lnTo>
                      <a:lnTo>
                        <a:pt x="9749" y="8313"/>
                      </a:lnTo>
                      <a:lnTo>
                        <a:pt x="8493" y="8672"/>
                      </a:lnTo>
                      <a:lnTo>
                        <a:pt x="8074" y="8792"/>
                      </a:lnTo>
                      <a:lnTo>
                        <a:pt x="7775" y="9150"/>
                      </a:lnTo>
                      <a:lnTo>
                        <a:pt x="5741" y="11603"/>
                      </a:lnTo>
                      <a:lnTo>
                        <a:pt x="5622" y="11782"/>
                      </a:lnTo>
                      <a:lnTo>
                        <a:pt x="5622" y="11782"/>
                      </a:lnTo>
                      <a:lnTo>
                        <a:pt x="5443" y="12021"/>
                      </a:lnTo>
                      <a:lnTo>
                        <a:pt x="4665" y="12918"/>
                      </a:lnTo>
                      <a:lnTo>
                        <a:pt x="3947" y="13756"/>
                      </a:lnTo>
                      <a:lnTo>
                        <a:pt x="0" y="18480"/>
                      </a:lnTo>
                    </a:path>
                  </a:pathLst>
                </a:custGeom>
                <a:noFill/>
                <a:ln w="6350" cap="rnd">
                  <a:solidFill>
                    <a:schemeClr val="bg1">
                      <a:alpha val="40000"/>
                    </a:schemeClr>
                  </a:solidFill>
                  <a:prstDash val="solid"/>
                  <a:round/>
                </a:ln>
              </p:spPr>
              <p:txBody>
                <a:bodyPr rtlCol="0" anchor="ctr"/>
                <a:lstStyle/>
                <a:p>
                  <a:endParaRPr lang="en-GB"/>
                </a:p>
              </p:txBody>
            </p:sp>
            <p:sp>
              <p:nvSpPr>
                <p:cNvPr id="6501" name="Vrije vorm: vorm 6500">
                  <a:extLst>
                    <a:ext uri="{FF2B5EF4-FFF2-40B4-BE49-F238E27FC236}">
                      <a16:creationId xmlns:a16="http://schemas.microsoft.com/office/drawing/2014/main" id="{9F895632-EBB4-4E1A-83D6-861ECE198806}"/>
                    </a:ext>
                  </a:extLst>
                </p:cNvPr>
                <p:cNvSpPr/>
                <p:nvPr/>
              </p:nvSpPr>
              <p:spPr>
                <a:xfrm>
                  <a:off x="6920253" y="1913931"/>
                  <a:ext cx="23503" cy="5263"/>
                </a:xfrm>
                <a:custGeom>
                  <a:avLst/>
                  <a:gdLst>
                    <a:gd name="connsiteX0" fmla="*/ 0 w 23503"/>
                    <a:gd name="connsiteY0" fmla="*/ 2871 h 5263"/>
                    <a:gd name="connsiteX1" fmla="*/ 60 w 23503"/>
                    <a:gd name="connsiteY1" fmla="*/ 2811 h 5263"/>
                    <a:gd name="connsiteX2" fmla="*/ 538 w 23503"/>
                    <a:gd name="connsiteY2" fmla="*/ 2213 h 5263"/>
                    <a:gd name="connsiteX3" fmla="*/ 1017 w 23503"/>
                    <a:gd name="connsiteY3" fmla="*/ 1615 h 5263"/>
                    <a:gd name="connsiteX4" fmla="*/ 1316 w 23503"/>
                    <a:gd name="connsiteY4" fmla="*/ 1256 h 5263"/>
                    <a:gd name="connsiteX5" fmla="*/ 1316 w 23503"/>
                    <a:gd name="connsiteY5" fmla="*/ 1256 h 5263"/>
                    <a:gd name="connsiteX6" fmla="*/ 1375 w 23503"/>
                    <a:gd name="connsiteY6" fmla="*/ 1196 h 5263"/>
                    <a:gd name="connsiteX7" fmla="*/ 1375 w 23503"/>
                    <a:gd name="connsiteY7" fmla="*/ 1196 h 5263"/>
                    <a:gd name="connsiteX8" fmla="*/ 1435 w 23503"/>
                    <a:gd name="connsiteY8" fmla="*/ 1077 h 5263"/>
                    <a:gd name="connsiteX9" fmla="*/ 1615 w 23503"/>
                    <a:gd name="connsiteY9" fmla="*/ 837 h 5263"/>
                    <a:gd name="connsiteX10" fmla="*/ 1854 w 23503"/>
                    <a:gd name="connsiteY10" fmla="*/ 598 h 5263"/>
                    <a:gd name="connsiteX11" fmla="*/ 1973 w 23503"/>
                    <a:gd name="connsiteY11" fmla="*/ 419 h 5263"/>
                    <a:gd name="connsiteX12" fmla="*/ 2213 w 23503"/>
                    <a:gd name="connsiteY12" fmla="*/ 120 h 5263"/>
                    <a:gd name="connsiteX13" fmla="*/ 2871 w 23503"/>
                    <a:gd name="connsiteY13" fmla="*/ 60 h 5263"/>
                    <a:gd name="connsiteX14" fmla="*/ 3230 w 23503"/>
                    <a:gd name="connsiteY14" fmla="*/ 0 h 5263"/>
                    <a:gd name="connsiteX15" fmla="*/ 3648 w 23503"/>
                    <a:gd name="connsiteY15" fmla="*/ 120 h 5263"/>
                    <a:gd name="connsiteX16" fmla="*/ 3888 w 23503"/>
                    <a:gd name="connsiteY16" fmla="*/ 179 h 5263"/>
                    <a:gd name="connsiteX17" fmla="*/ 8791 w 23503"/>
                    <a:gd name="connsiteY17" fmla="*/ 1435 h 5263"/>
                    <a:gd name="connsiteX18" fmla="*/ 9270 w 23503"/>
                    <a:gd name="connsiteY18" fmla="*/ 1555 h 5263"/>
                    <a:gd name="connsiteX19" fmla="*/ 10107 w 23503"/>
                    <a:gd name="connsiteY19" fmla="*/ 1794 h 5263"/>
                    <a:gd name="connsiteX20" fmla="*/ 11542 w 23503"/>
                    <a:gd name="connsiteY20" fmla="*/ 2153 h 5263"/>
                    <a:gd name="connsiteX21" fmla="*/ 11542 w 23503"/>
                    <a:gd name="connsiteY21" fmla="*/ 2153 h 5263"/>
                    <a:gd name="connsiteX22" fmla="*/ 11961 w 23503"/>
                    <a:gd name="connsiteY22" fmla="*/ 2273 h 5263"/>
                    <a:gd name="connsiteX23" fmla="*/ 15250 w 23503"/>
                    <a:gd name="connsiteY23" fmla="*/ 3110 h 5263"/>
                    <a:gd name="connsiteX24" fmla="*/ 16567 w 23503"/>
                    <a:gd name="connsiteY24" fmla="*/ 3469 h 5263"/>
                    <a:gd name="connsiteX25" fmla="*/ 18660 w 23503"/>
                    <a:gd name="connsiteY25" fmla="*/ 4007 h 5263"/>
                    <a:gd name="connsiteX26" fmla="*/ 23504 w 23503"/>
                    <a:gd name="connsiteY26" fmla="*/ 5263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503" h="5263">
                      <a:moveTo>
                        <a:pt x="0" y="2871"/>
                      </a:moveTo>
                      <a:lnTo>
                        <a:pt x="60" y="2811"/>
                      </a:lnTo>
                      <a:lnTo>
                        <a:pt x="538" y="2213"/>
                      </a:lnTo>
                      <a:lnTo>
                        <a:pt x="1017" y="1615"/>
                      </a:lnTo>
                      <a:lnTo>
                        <a:pt x="1316" y="1256"/>
                      </a:lnTo>
                      <a:lnTo>
                        <a:pt x="1316" y="1256"/>
                      </a:lnTo>
                      <a:lnTo>
                        <a:pt x="1375" y="1196"/>
                      </a:lnTo>
                      <a:lnTo>
                        <a:pt x="1375" y="1196"/>
                      </a:lnTo>
                      <a:lnTo>
                        <a:pt x="1435" y="1077"/>
                      </a:lnTo>
                      <a:lnTo>
                        <a:pt x="1615" y="837"/>
                      </a:lnTo>
                      <a:lnTo>
                        <a:pt x="1854" y="598"/>
                      </a:lnTo>
                      <a:lnTo>
                        <a:pt x="1973" y="419"/>
                      </a:lnTo>
                      <a:lnTo>
                        <a:pt x="2213" y="120"/>
                      </a:lnTo>
                      <a:lnTo>
                        <a:pt x="2871" y="60"/>
                      </a:lnTo>
                      <a:lnTo>
                        <a:pt x="3230" y="0"/>
                      </a:lnTo>
                      <a:lnTo>
                        <a:pt x="3648" y="120"/>
                      </a:lnTo>
                      <a:lnTo>
                        <a:pt x="3888" y="179"/>
                      </a:lnTo>
                      <a:lnTo>
                        <a:pt x="8791" y="1435"/>
                      </a:lnTo>
                      <a:lnTo>
                        <a:pt x="9270" y="1555"/>
                      </a:lnTo>
                      <a:lnTo>
                        <a:pt x="10107" y="1794"/>
                      </a:lnTo>
                      <a:lnTo>
                        <a:pt x="11542" y="2153"/>
                      </a:lnTo>
                      <a:lnTo>
                        <a:pt x="11542" y="2153"/>
                      </a:lnTo>
                      <a:lnTo>
                        <a:pt x="11961" y="2273"/>
                      </a:lnTo>
                      <a:lnTo>
                        <a:pt x="15250" y="3110"/>
                      </a:lnTo>
                      <a:lnTo>
                        <a:pt x="16567" y="3469"/>
                      </a:lnTo>
                      <a:lnTo>
                        <a:pt x="18660" y="4007"/>
                      </a:lnTo>
                      <a:lnTo>
                        <a:pt x="23504" y="5263"/>
                      </a:lnTo>
                    </a:path>
                  </a:pathLst>
                </a:custGeom>
                <a:noFill/>
                <a:ln w="6350" cap="rnd">
                  <a:solidFill>
                    <a:schemeClr val="bg1">
                      <a:alpha val="40000"/>
                    </a:schemeClr>
                  </a:solidFill>
                  <a:prstDash val="solid"/>
                  <a:round/>
                </a:ln>
              </p:spPr>
              <p:txBody>
                <a:bodyPr rtlCol="0" anchor="ctr"/>
                <a:lstStyle/>
                <a:p>
                  <a:endParaRPr lang="en-GB"/>
                </a:p>
              </p:txBody>
            </p:sp>
            <p:sp>
              <p:nvSpPr>
                <p:cNvPr id="6502" name="Vrije vorm: vorm 6501">
                  <a:extLst>
                    <a:ext uri="{FF2B5EF4-FFF2-40B4-BE49-F238E27FC236}">
                      <a16:creationId xmlns:a16="http://schemas.microsoft.com/office/drawing/2014/main" id="{9B68C8FC-9619-43FF-A66B-D49327126DDE}"/>
                    </a:ext>
                  </a:extLst>
                </p:cNvPr>
                <p:cNvSpPr/>
                <p:nvPr/>
              </p:nvSpPr>
              <p:spPr>
                <a:xfrm>
                  <a:off x="6850099" y="1921706"/>
                  <a:ext cx="17403" cy="4784"/>
                </a:xfrm>
                <a:custGeom>
                  <a:avLst/>
                  <a:gdLst>
                    <a:gd name="connsiteX0" fmla="*/ 17403 w 17403"/>
                    <a:gd name="connsiteY0" fmla="*/ 4785 h 4784"/>
                    <a:gd name="connsiteX1" fmla="*/ 15191 w 17403"/>
                    <a:gd name="connsiteY1" fmla="*/ 4246 h 4784"/>
                    <a:gd name="connsiteX2" fmla="*/ 14832 w 17403"/>
                    <a:gd name="connsiteY2" fmla="*/ 4127 h 4784"/>
                    <a:gd name="connsiteX3" fmla="*/ 10406 w 17403"/>
                    <a:gd name="connsiteY3" fmla="*/ 2990 h 4784"/>
                    <a:gd name="connsiteX4" fmla="*/ 8074 w 17403"/>
                    <a:gd name="connsiteY4" fmla="*/ 2392 h 4784"/>
                    <a:gd name="connsiteX5" fmla="*/ 2452 w 17403"/>
                    <a:gd name="connsiteY5" fmla="*/ 957 h 4784"/>
                    <a:gd name="connsiteX6" fmla="*/ 1375 w 17403"/>
                    <a:gd name="connsiteY6" fmla="*/ 658 h 4784"/>
                    <a:gd name="connsiteX7" fmla="*/ 956 w 17403"/>
                    <a:gd name="connsiteY7" fmla="*/ 538 h 4784"/>
                    <a:gd name="connsiteX8" fmla="*/ 239 w 17403"/>
                    <a:gd name="connsiteY8" fmla="*/ 120 h 4784"/>
                    <a:gd name="connsiteX9" fmla="*/ 0 w 17403"/>
                    <a:gd name="connsiteY9" fmla="*/ 0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03" h="4784">
                      <a:moveTo>
                        <a:pt x="17403" y="4785"/>
                      </a:moveTo>
                      <a:lnTo>
                        <a:pt x="15191" y="4246"/>
                      </a:lnTo>
                      <a:lnTo>
                        <a:pt x="14832" y="4127"/>
                      </a:lnTo>
                      <a:lnTo>
                        <a:pt x="10406" y="2990"/>
                      </a:lnTo>
                      <a:lnTo>
                        <a:pt x="8074" y="2392"/>
                      </a:lnTo>
                      <a:lnTo>
                        <a:pt x="2452" y="957"/>
                      </a:lnTo>
                      <a:lnTo>
                        <a:pt x="1375" y="658"/>
                      </a:lnTo>
                      <a:lnTo>
                        <a:pt x="956" y="538"/>
                      </a:lnTo>
                      <a:lnTo>
                        <a:pt x="239"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03" name="Vrije vorm: vorm 6502">
                  <a:extLst>
                    <a:ext uri="{FF2B5EF4-FFF2-40B4-BE49-F238E27FC236}">
                      <a16:creationId xmlns:a16="http://schemas.microsoft.com/office/drawing/2014/main" id="{2CD94684-4497-42FB-95D5-9664FF13BE87}"/>
                    </a:ext>
                  </a:extLst>
                </p:cNvPr>
                <p:cNvSpPr/>
                <p:nvPr/>
              </p:nvSpPr>
              <p:spPr>
                <a:xfrm>
                  <a:off x="6782517" y="1838693"/>
                  <a:ext cx="3528" cy="9748"/>
                </a:xfrm>
                <a:custGeom>
                  <a:avLst/>
                  <a:gdLst>
                    <a:gd name="connsiteX0" fmla="*/ 0 w 3528"/>
                    <a:gd name="connsiteY0" fmla="*/ 9749 h 9748"/>
                    <a:gd name="connsiteX1" fmla="*/ 120 w 3528"/>
                    <a:gd name="connsiteY1" fmla="*/ 9450 h 9748"/>
                    <a:gd name="connsiteX2" fmla="*/ 1555 w 3528"/>
                    <a:gd name="connsiteY2" fmla="*/ 5263 h 9748"/>
                    <a:gd name="connsiteX3" fmla="*/ 2572 w 3528"/>
                    <a:gd name="connsiteY3" fmla="*/ 2213 h 9748"/>
                    <a:gd name="connsiteX4" fmla="*/ 2930 w 3528"/>
                    <a:gd name="connsiteY4" fmla="*/ 1376 h 9748"/>
                    <a:gd name="connsiteX5" fmla="*/ 3529 w 3528"/>
                    <a:gd name="connsiteY5" fmla="*/ 0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8" h="9748">
                      <a:moveTo>
                        <a:pt x="0" y="9749"/>
                      </a:moveTo>
                      <a:lnTo>
                        <a:pt x="120" y="9450"/>
                      </a:lnTo>
                      <a:lnTo>
                        <a:pt x="1555" y="5263"/>
                      </a:lnTo>
                      <a:lnTo>
                        <a:pt x="2572" y="2213"/>
                      </a:lnTo>
                      <a:lnTo>
                        <a:pt x="2930" y="1376"/>
                      </a:lnTo>
                      <a:lnTo>
                        <a:pt x="3529" y="0"/>
                      </a:lnTo>
                    </a:path>
                  </a:pathLst>
                </a:custGeom>
                <a:noFill/>
                <a:ln w="6350" cap="rnd">
                  <a:solidFill>
                    <a:schemeClr val="bg1">
                      <a:alpha val="40000"/>
                    </a:schemeClr>
                  </a:solidFill>
                  <a:prstDash val="solid"/>
                  <a:round/>
                </a:ln>
              </p:spPr>
              <p:txBody>
                <a:bodyPr rtlCol="0" anchor="ctr"/>
                <a:lstStyle/>
                <a:p>
                  <a:endParaRPr lang="en-GB"/>
                </a:p>
              </p:txBody>
            </p:sp>
            <p:sp>
              <p:nvSpPr>
                <p:cNvPr id="6504" name="Vrije vorm: vorm 6503">
                  <a:extLst>
                    <a:ext uri="{FF2B5EF4-FFF2-40B4-BE49-F238E27FC236}">
                      <a16:creationId xmlns:a16="http://schemas.microsoft.com/office/drawing/2014/main" id="{C06B046E-4612-47AC-AD27-D888E86EAEEA}"/>
                    </a:ext>
                  </a:extLst>
                </p:cNvPr>
                <p:cNvSpPr/>
                <p:nvPr/>
              </p:nvSpPr>
              <p:spPr>
                <a:xfrm>
                  <a:off x="6819179" y="1861301"/>
                  <a:ext cx="3708" cy="9868"/>
                </a:xfrm>
                <a:custGeom>
                  <a:avLst/>
                  <a:gdLst>
                    <a:gd name="connsiteX0" fmla="*/ 0 w 3708"/>
                    <a:gd name="connsiteY0" fmla="*/ 9868 h 9868"/>
                    <a:gd name="connsiteX1" fmla="*/ 120 w 3708"/>
                    <a:gd name="connsiteY1" fmla="*/ 9569 h 9868"/>
                    <a:gd name="connsiteX2" fmla="*/ 658 w 3708"/>
                    <a:gd name="connsiteY2" fmla="*/ 8134 h 9868"/>
                    <a:gd name="connsiteX3" fmla="*/ 1196 w 3708"/>
                    <a:gd name="connsiteY3" fmla="*/ 6639 h 9868"/>
                    <a:gd name="connsiteX4" fmla="*/ 1256 w 3708"/>
                    <a:gd name="connsiteY4" fmla="*/ 6519 h 9868"/>
                    <a:gd name="connsiteX5" fmla="*/ 1854 w 3708"/>
                    <a:gd name="connsiteY5" fmla="*/ 4844 h 9868"/>
                    <a:gd name="connsiteX6" fmla="*/ 2093 w 3708"/>
                    <a:gd name="connsiteY6" fmla="*/ 4127 h 9868"/>
                    <a:gd name="connsiteX7" fmla="*/ 2392 w 3708"/>
                    <a:gd name="connsiteY7" fmla="*/ 3289 h 9868"/>
                    <a:gd name="connsiteX8" fmla="*/ 2452 w 3708"/>
                    <a:gd name="connsiteY8" fmla="*/ 3110 h 9868"/>
                    <a:gd name="connsiteX9" fmla="*/ 2572 w 3708"/>
                    <a:gd name="connsiteY9" fmla="*/ 2811 h 9868"/>
                    <a:gd name="connsiteX10" fmla="*/ 2811 w 3708"/>
                    <a:gd name="connsiteY10" fmla="*/ 2153 h 9868"/>
                    <a:gd name="connsiteX11" fmla="*/ 2811 w 3708"/>
                    <a:gd name="connsiteY11" fmla="*/ 2153 h 9868"/>
                    <a:gd name="connsiteX12" fmla="*/ 2990 w 3708"/>
                    <a:gd name="connsiteY12" fmla="*/ 1734 h 9868"/>
                    <a:gd name="connsiteX13" fmla="*/ 3708 w 3708"/>
                    <a:gd name="connsiteY13" fmla="*/ 60 h 9868"/>
                    <a:gd name="connsiteX14" fmla="*/ 3708 w 3708"/>
                    <a:gd name="connsiteY14" fmla="*/ 0 h 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08" h="9868">
                      <a:moveTo>
                        <a:pt x="0" y="9868"/>
                      </a:moveTo>
                      <a:lnTo>
                        <a:pt x="120" y="9569"/>
                      </a:lnTo>
                      <a:lnTo>
                        <a:pt x="658" y="8134"/>
                      </a:lnTo>
                      <a:lnTo>
                        <a:pt x="1196" y="6639"/>
                      </a:lnTo>
                      <a:lnTo>
                        <a:pt x="1256" y="6519"/>
                      </a:lnTo>
                      <a:lnTo>
                        <a:pt x="1854" y="4844"/>
                      </a:lnTo>
                      <a:lnTo>
                        <a:pt x="2093" y="4127"/>
                      </a:lnTo>
                      <a:lnTo>
                        <a:pt x="2392" y="3289"/>
                      </a:lnTo>
                      <a:lnTo>
                        <a:pt x="2452" y="3110"/>
                      </a:lnTo>
                      <a:lnTo>
                        <a:pt x="2572" y="2811"/>
                      </a:lnTo>
                      <a:lnTo>
                        <a:pt x="2811" y="2153"/>
                      </a:lnTo>
                      <a:lnTo>
                        <a:pt x="2811" y="2153"/>
                      </a:lnTo>
                      <a:lnTo>
                        <a:pt x="2990" y="1734"/>
                      </a:lnTo>
                      <a:lnTo>
                        <a:pt x="3708" y="60"/>
                      </a:lnTo>
                      <a:lnTo>
                        <a:pt x="3708" y="0"/>
                      </a:lnTo>
                    </a:path>
                  </a:pathLst>
                </a:custGeom>
                <a:noFill/>
                <a:ln w="6350" cap="rnd">
                  <a:solidFill>
                    <a:schemeClr val="bg1">
                      <a:alpha val="40000"/>
                    </a:schemeClr>
                  </a:solidFill>
                  <a:prstDash val="solid"/>
                  <a:round/>
                </a:ln>
              </p:spPr>
              <p:txBody>
                <a:bodyPr rtlCol="0" anchor="ctr"/>
                <a:lstStyle/>
                <a:p>
                  <a:endParaRPr lang="en-GB"/>
                </a:p>
              </p:txBody>
            </p:sp>
            <p:sp>
              <p:nvSpPr>
                <p:cNvPr id="6505" name="Vrije vorm: vorm 6504">
                  <a:extLst>
                    <a:ext uri="{FF2B5EF4-FFF2-40B4-BE49-F238E27FC236}">
                      <a16:creationId xmlns:a16="http://schemas.microsoft.com/office/drawing/2014/main" id="{AE9A81E1-9A78-475F-A5F5-5C2764E153F2}"/>
                    </a:ext>
                  </a:extLst>
                </p:cNvPr>
                <p:cNvSpPr/>
                <p:nvPr/>
              </p:nvSpPr>
              <p:spPr>
                <a:xfrm>
                  <a:off x="6890290" y="1847844"/>
                  <a:ext cx="4365" cy="26315"/>
                </a:xfrm>
                <a:custGeom>
                  <a:avLst/>
                  <a:gdLst>
                    <a:gd name="connsiteX0" fmla="*/ 0 w 4365"/>
                    <a:gd name="connsiteY0" fmla="*/ 0 h 26315"/>
                    <a:gd name="connsiteX1" fmla="*/ 538 w 4365"/>
                    <a:gd name="connsiteY1" fmla="*/ 359 h 26315"/>
                    <a:gd name="connsiteX2" fmla="*/ 598 w 4365"/>
                    <a:gd name="connsiteY2" fmla="*/ 598 h 26315"/>
                    <a:gd name="connsiteX3" fmla="*/ 1017 w 4365"/>
                    <a:gd name="connsiteY3" fmla="*/ 2930 h 26315"/>
                    <a:gd name="connsiteX4" fmla="*/ 1077 w 4365"/>
                    <a:gd name="connsiteY4" fmla="*/ 3230 h 26315"/>
                    <a:gd name="connsiteX5" fmla="*/ 1077 w 4365"/>
                    <a:gd name="connsiteY5" fmla="*/ 3230 h 26315"/>
                    <a:gd name="connsiteX6" fmla="*/ 2033 w 4365"/>
                    <a:gd name="connsiteY6" fmla="*/ 8672 h 26315"/>
                    <a:gd name="connsiteX7" fmla="*/ 2093 w 4365"/>
                    <a:gd name="connsiteY7" fmla="*/ 9150 h 26315"/>
                    <a:gd name="connsiteX8" fmla="*/ 2093 w 4365"/>
                    <a:gd name="connsiteY8" fmla="*/ 9390 h 26315"/>
                    <a:gd name="connsiteX9" fmla="*/ 2213 w 4365"/>
                    <a:gd name="connsiteY9" fmla="*/ 10466 h 26315"/>
                    <a:gd name="connsiteX10" fmla="*/ 2213 w 4365"/>
                    <a:gd name="connsiteY10" fmla="*/ 10705 h 26315"/>
                    <a:gd name="connsiteX11" fmla="*/ 2273 w 4365"/>
                    <a:gd name="connsiteY11" fmla="*/ 11483 h 26315"/>
                    <a:gd name="connsiteX12" fmla="*/ 2392 w 4365"/>
                    <a:gd name="connsiteY12" fmla="*/ 12559 h 26315"/>
                    <a:gd name="connsiteX13" fmla="*/ 2392 w 4365"/>
                    <a:gd name="connsiteY13" fmla="*/ 12799 h 26315"/>
                    <a:gd name="connsiteX14" fmla="*/ 2452 w 4365"/>
                    <a:gd name="connsiteY14" fmla="*/ 13158 h 26315"/>
                    <a:gd name="connsiteX15" fmla="*/ 2452 w 4365"/>
                    <a:gd name="connsiteY15" fmla="*/ 13337 h 26315"/>
                    <a:gd name="connsiteX16" fmla="*/ 2512 w 4365"/>
                    <a:gd name="connsiteY16" fmla="*/ 13935 h 26315"/>
                    <a:gd name="connsiteX17" fmla="*/ 2512 w 4365"/>
                    <a:gd name="connsiteY17" fmla="*/ 14174 h 26315"/>
                    <a:gd name="connsiteX18" fmla="*/ 2631 w 4365"/>
                    <a:gd name="connsiteY18" fmla="*/ 15131 h 26315"/>
                    <a:gd name="connsiteX19" fmla="*/ 2751 w 4365"/>
                    <a:gd name="connsiteY19" fmla="*/ 16327 h 26315"/>
                    <a:gd name="connsiteX20" fmla="*/ 2751 w 4365"/>
                    <a:gd name="connsiteY20" fmla="*/ 16387 h 26315"/>
                    <a:gd name="connsiteX21" fmla="*/ 2751 w 4365"/>
                    <a:gd name="connsiteY21" fmla="*/ 16507 h 26315"/>
                    <a:gd name="connsiteX22" fmla="*/ 2811 w 4365"/>
                    <a:gd name="connsiteY22" fmla="*/ 17165 h 26315"/>
                    <a:gd name="connsiteX23" fmla="*/ 2871 w 4365"/>
                    <a:gd name="connsiteY23" fmla="*/ 17763 h 26315"/>
                    <a:gd name="connsiteX24" fmla="*/ 2990 w 4365"/>
                    <a:gd name="connsiteY24" fmla="*/ 19078 h 26315"/>
                    <a:gd name="connsiteX25" fmla="*/ 2990 w 4365"/>
                    <a:gd name="connsiteY25" fmla="*/ 19258 h 26315"/>
                    <a:gd name="connsiteX26" fmla="*/ 3110 w 4365"/>
                    <a:gd name="connsiteY26" fmla="*/ 20574 h 26315"/>
                    <a:gd name="connsiteX27" fmla="*/ 3110 w 4365"/>
                    <a:gd name="connsiteY27" fmla="*/ 20693 h 26315"/>
                    <a:gd name="connsiteX28" fmla="*/ 3588 w 4365"/>
                    <a:gd name="connsiteY28" fmla="*/ 23564 h 26315"/>
                    <a:gd name="connsiteX29" fmla="*/ 3768 w 4365"/>
                    <a:gd name="connsiteY29" fmla="*/ 24760 h 26315"/>
                    <a:gd name="connsiteX30" fmla="*/ 4366 w 4365"/>
                    <a:gd name="connsiteY30" fmla="*/ 26315 h 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365" h="26315">
                      <a:moveTo>
                        <a:pt x="0" y="0"/>
                      </a:moveTo>
                      <a:lnTo>
                        <a:pt x="538" y="359"/>
                      </a:lnTo>
                      <a:lnTo>
                        <a:pt x="598" y="598"/>
                      </a:lnTo>
                      <a:lnTo>
                        <a:pt x="1017" y="2930"/>
                      </a:lnTo>
                      <a:lnTo>
                        <a:pt x="1077" y="3230"/>
                      </a:lnTo>
                      <a:lnTo>
                        <a:pt x="1077" y="3230"/>
                      </a:lnTo>
                      <a:lnTo>
                        <a:pt x="2033" y="8672"/>
                      </a:lnTo>
                      <a:lnTo>
                        <a:pt x="2093" y="9150"/>
                      </a:lnTo>
                      <a:lnTo>
                        <a:pt x="2093" y="9390"/>
                      </a:lnTo>
                      <a:lnTo>
                        <a:pt x="2213" y="10466"/>
                      </a:lnTo>
                      <a:lnTo>
                        <a:pt x="2213" y="10705"/>
                      </a:lnTo>
                      <a:lnTo>
                        <a:pt x="2273" y="11483"/>
                      </a:lnTo>
                      <a:lnTo>
                        <a:pt x="2392" y="12559"/>
                      </a:lnTo>
                      <a:lnTo>
                        <a:pt x="2392" y="12799"/>
                      </a:lnTo>
                      <a:lnTo>
                        <a:pt x="2452" y="13158"/>
                      </a:lnTo>
                      <a:lnTo>
                        <a:pt x="2452" y="13337"/>
                      </a:lnTo>
                      <a:lnTo>
                        <a:pt x="2512" y="13935"/>
                      </a:lnTo>
                      <a:lnTo>
                        <a:pt x="2512" y="14174"/>
                      </a:lnTo>
                      <a:lnTo>
                        <a:pt x="2631" y="15131"/>
                      </a:lnTo>
                      <a:lnTo>
                        <a:pt x="2751" y="16327"/>
                      </a:lnTo>
                      <a:lnTo>
                        <a:pt x="2751" y="16387"/>
                      </a:lnTo>
                      <a:lnTo>
                        <a:pt x="2751" y="16507"/>
                      </a:lnTo>
                      <a:lnTo>
                        <a:pt x="2811" y="17165"/>
                      </a:lnTo>
                      <a:lnTo>
                        <a:pt x="2871" y="17763"/>
                      </a:lnTo>
                      <a:lnTo>
                        <a:pt x="2990" y="19078"/>
                      </a:lnTo>
                      <a:lnTo>
                        <a:pt x="2990" y="19258"/>
                      </a:lnTo>
                      <a:lnTo>
                        <a:pt x="3110" y="20574"/>
                      </a:lnTo>
                      <a:lnTo>
                        <a:pt x="3110" y="20693"/>
                      </a:lnTo>
                      <a:lnTo>
                        <a:pt x="3588" y="23564"/>
                      </a:lnTo>
                      <a:lnTo>
                        <a:pt x="3768" y="24760"/>
                      </a:lnTo>
                      <a:lnTo>
                        <a:pt x="4366" y="26315"/>
                      </a:lnTo>
                    </a:path>
                  </a:pathLst>
                </a:custGeom>
                <a:noFill/>
                <a:ln w="6350" cap="rnd">
                  <a:solidFill>
                    <a:schemeClr val="bg1">
                      <a:alpha val="40000"/>
                    </a:schemeClr>
                  </a:solidFill>
                  <a:prstDash val="solid"/>
                  <a:round/>
                </a:ln>
              </p:spPr>
              <p:txBody>
                <a:bodyPr rtlCol="0" anchor="ctr"/>
                <a:lstStyle/>
                <a:p>
                  <a:endParaRPr lang="en-GB"/>
                </a:p>
              </p:txBody>
            </p:sp>
            <p:sp>
              <p:nvSpPr>
                <p:cNvPr id="6506" name="Vrije vorm: vorm 6505">
                  <a:extLst>
                    <a:ext uri="{FF2B5EF4-FFF2-40B4-BE49-F238E27FC236}">
                      <a16:creationId xmlns:a16="http://schemas.microsoft.com/office/drawing/2014/main" id="{28348C96-A81A-4E8E-A2EA-C5E31A7FD2B5}"/>
                    </a:ext>
                  </a:extLst>
                </p:cNvPr>
                <p:cNvSpPr/>
                <p:nvPr/>
              </p:nvSpPr>
              <p:spPr>
                <a:xfrm>
                  <a:off x="6814095" y="2079597"/>
                  <a:ext cx="46709" cy="18360"/>
                </a:xfrm>
                <a:custGeom>
                  <a:avLst/>
                  <a:gdLst>
                    <a:gd name="connsiteX0" fmla="*/ 45991 w 46709"/>
                    <a:gd name="connsiteY0" fmla="*/ 0 h 18360"/>
                    <a:gd name="connsiteX1" fmla="*/ 46709 w 46709"/>
                    <a:gd name="connsiteY1" fmla="*/ 478 h 18360"/>
                    <a:gd name="connsiteX2" fmla="*/ 46709 w 46709"/>
                    <a:gd name="connsiteY2" fmla="*/ 1435 h 18360"/>
                    <a:gd name="connsiteX3" fmla="*/ 46709 w 46709"/>
                    <a:gd name="connsiteY3" fmla="*/ 2512 h 18360"/>
                    <a:gd name="connsiteX4" fmla="*/ 45334 w 46709"/>
                    <a:gd name="connsiteY4" fmla="*/ 4964 h 18360"/>
                    <a:gd name="connsiteX5" fmla="*/ 43121 w 46709"/>
                    <a:gd name="connsiteY5" fmla="*/ 8792 h 18360"/>
                    <a:gd name="connsiteX6" fmla="*/ 41566 w 46709"/>
                    <a:gd name="connsiteY6" fmla="*/ 9988 h 18360"/>
                    <a:gd name="connsiteX7" fmla="*/ 41387 w 46709"/>
                    <a:gd name="connsiteY7" fmla="*/ 10107 h 18360"/>
                    <a:gd name="connsiteX8" fmla="*/ 34030 w 46709"/>
                    <a:gd name="connsiteY8" fmla="*/ 15909 h 18360"/>
                    <a:gd name="connsiteX9" fmla="*/ 32116 w 46709"/>
                    <a:gd name="connsiteY9" fmla="*/ 16088 h 18360"/>
                    <a:gd name="connsiteX10" fmla="*/ 27870 w 46709"/>
                    <a:gd name="connsiteY10" fmla="*/ 16507 h 18360"/>
                    <a:gd name="connsiteX11" fmla="*/ 25298 w 46709"/>
                    <a:gd name="connsiteY11" fmla="*/ 16746 h 18360"/>
                    <a:gd name="connsiteX12" fmla="*/ 24461 w 46709"/>
                    <a:gd name="connsiteY12" fmla="*/ 16806 h 18360"/>
                    <a:gd name="connsiteX13" fmla="*/ 21950 w 46709"/>
                    <a:gd name="connsiteY13" fmla="*/ 17045 h 18360"/>
                    <a:gd name="connsiteX14" fmla="*/ 20095 w 46709"/>
                    <a:gd name="connsiteY14" fmla="*/ 17224 h 18360"/>
                    <a:gd name="connsiteX15" fmla="*/ 19497 w 46709"/>
                    <a:gd name="connsiteY15" fmla="*/ 17284 h 18360"/>
                    <a:gd name="connsiteX16" fmla="*/ 15012 w 46709"/>
                    <a:gd name="connsiteY16" fmla="*/ 17882 h 18360"/>
                    <a:gd name="connsiteX17" fmla="*/ 14473 w 46709"/>
                    <a:gd name="connsiteY17" fmla="*/ 17942 h 18360"/>
                    <a:gd name="connsiteX18" fmla="*/ 12978 w 46709"/>
                    <a:gd name="connsiteY18" fmla="*/ 18062 h 18360"/>
                    <a:gd name="connsiteX19" fmla="*/ 12081 w 46709"/>
                    <a:gd name="connsiteY19" fmla="*/ 18122 h 18360"/>
                    <a:gd name="connsiteX20" fmla="*/ 11842 w 46709"/>
                    <a:gd name="connsiteY20" fmla="*/ 18122 h 18360"/>
                    <a:gd name="connsiteX21" fmla="*/ 10586 w 46709"/>
                    <a:gd name="connsiteY21" fmla="*/ 18181 h 18360"/>
                    <a:gd name="connsiteX22" fmla="*/ 8134 w 46709"/>
                    <a:gd name="connsiteY22" fmla="*/ 18361 h 18360"/>
                    <a:gd name="connsiteX23" fmla="*/ 7595 w 46709"/>
                    <a:gd name="connsiteY23" fmla="*/ 18361 h 18360"/>
                    <a:gd name="connsiteX24" fmla="*/ 4844 w 46709"/>
                    <a:gd name="connsiteY24" fmla="*/ 18241 h 18360"/>
                    <a:gd name="connsiteX25" fmla="*/ 2452 w 46709"/>
                    <a:gd name="connsiteY25" fmla="*/ 16507 h 18360"/>
                    <a:gd name="connsiteX26" fmla="*/ 718 w 46709"/>
                    <a:gd name="connsiteY26" fmla="*/ 14892 h 18360"/>
                    <a:gd name="connsiteX27" fmla="*/ 0 w 46709"/>
                    <a:gd name="connsiteY27" fmla="*/ 13935 h 18360"/>
                    <a:gd name="connsiteX28" fmla="*/ 957 w 46709"/>
                    <a:gd name="connsiteY28" fmla="*/ 11722 h 18360"/>
                    <a:gd name="connsiteX29" fmla="*/ 1435 w 46709"/>
                    <a:gd name="connsiteY29" fmla="*/ 10586 h 18360"/>
                    <a:gd name="connsiteX30" fmla="*/ 1435 w 46709"/>
                    <a:gd name="connsiteY30" fmla="*/ 10526 h 18360"/>
                    <a:gd name="connsiteX31" fmla="*/ 1495 w 46709"/>
                    <a:gd name="connsiteY31" fmla="*/ 10406 h 18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709" h="18360">
                      <a:moveTo>
                        <a:pt x="45991" y="0"/>
                      </a:moveTo>
                      <a:lnTo>
                        <a:pt x="46709" y="478"/>
                      </a:lnTo>
                      <a:lnTo>
                        <a:pt x="46709" y="1435"/>
                      </a:lnTo>
                      <a:lnTo>
                        <a:pt x="46709" y="2512"/>
                      </a:lnTo>
                      <a:lnTo>
                        <a:pt x="45334" y="4964"/>
                      </a:lnTo>
                      <a:lnTo>
                        <a:pt x="43121" y="8792"/>
                      </a:lnTo>
                      <a:lnTo>
                        <a:pt x="41566" y="9988"/>
                      </a:lnTo>
                      <a:lnTo>
                        <a:pt x="41387" y="10107"/>
                      </a:lnTo>
                      <a:lnTo>
                        <a:pt x="34030" y="15909"/>
                      </a:lnTo>
                      <a:lnTo>
                        <a:pt x="32116" y="16088"/>
                      </a:lnTo>
                      <a:lnTo>
                        <a:pt x="27870" y="16507"/>
                      </a:lnTo>
                      <a:lnTo>
                        <a:pt x="25298" y="16746"/>
                      </a:lnTo>
                      <a:lnTo>
                        <a:pt x="24461" y="16806"/>
                      </a:lnTo>
                      <a:lnTo>
                        <a:pt x="21950" y="17045"/>
                      </a:lnTo>
                      <a:lnTo>
                        <a:pt x="20095" y="17224"/>
                      </a:lnTo>
                      <a:lnTo>
                        <a:pt x="19497" y="17284"/>
                      </a:lnTo>
                      <a:lnTo>
                        <a:pt x="15012" y="17882"/>
                      </a:lnTo>
                      <a:lnTo>
                        <a:pt x="14473" y="17942"/>
                      </a:lnTo>
                      <a:lnTo>
                        <a:pt x="12978" y="18062"/>
                      </a:lnTo>
                      <a:lnTo>
                        <a:pt x="12081" y="18122"/>
                      </a:lnTo>
                      <a:lnTo>
                        <a:pt x="11842" y="18122"/>
                      </a:lnTo>
                      <a:lnTo>
                        <a:pt x="10586" y="18181"/>
                      </a:lnTo>
                      <a:lnTo>
                        <a:pt x="8134" y="18361"/>
                      </a:lnTo>
                      <a:lnTo>
                        <a:pt x="7595" y="18361"/>
                      </a:lnTo>
                      <a:lnTo>
                        <a:pt x="4844" y="18241"/>
                      </a:lnTo>
                      <a:lnTo>
                        <a:pt x="2452" y="16507"/>
                      </a:lnTo>
                      <a:lnTo>
                        <a:pt x="718" y="14892"/>
                      </a:lnTo>
                      <a:lnTo>
                        <a:pt x="0" y="13935"/>
                      </a:lnTo>
                      <a:lnTo>
                        <a:pt x="957" y="11722"/>
                      </a:lnTo>
                      <a:lnTo>
                        <a:pt x="1435" y="10586"/>
                      </a:lnTo>
                      <a:lnTo>
                        <a:pt x="1435" y="10526"/>
                      </a:lnTo>
                      <a:lnTo>
                        <a:pt x="1495" y="10406"/>
                      </a:lnTo>
                    </a:path>
                  </a:pathLst>
                </a:custGeom>
                <a:noFill/>
                <a:ln w="6350" cap="rnd">
                  <a:solidFill>
                    <a:schemeClr val="bg1">
                      <a:alpha val="40000"/>
                    </a:schemeClr>
                  </a:solidFill>
                  <a:prstDash val="solid"/>
                  <a:round/>
                </a:ln>
              </p:spPr>
              <p:txBody>
                <a:bodyPr rtlCol="0" anchor="ctr"/>
                <a:lstStyle/>
                <a:p>
                  <a:endParaRPr lang="en-GB"/>
                </a:p>
              </p:txBody>
            </p:sp>
            <p:sp>
              <p:nvSpPr>
                <p:cNvPr id="6507" name="Vrije vorm: vorm 6506">
                  <a:extLst>
                    <a:ext uri="{FF2B5EF4-FFF2-40B4-BE49-F238E27FC236}">
                      <a16:creationId xmlns:a16="http://schemas.microsoft.com/office/drawing/2014/main" id="{28A8CFBB-903B-4C99-8E07-629D4B684842}"/>
                    </a:ext>
                  </a:extLst>
                </p:cNvPr>
                <p:cNvSpPr/>
                <p:nvPr/>
              </p:nvSpPr>
              <p:spPr>
                <a:xfrm>
                  <a:off x="6676778" y="1968176"/>
                  <a:ext cx="8433" cy="2511"/>
                </a:xfrm>
                <a:custGeom>
                  <a:avLst/>
                  <a:gdLst>
                    <a:gd name="connsiteX0" fmla="*/ 8433 w 8433"/>
                    <a:gd name="connsiteY0" fmla="*/ 0 h 2511"/>
                    <a:gd name="connsiteX1" fmla="*/ 2213 w 8433"/>
                    <a:gd name="connsiteY1" fmla="*/ 1854 h 2511"/>
                    <a:gd name="connsiteX2" fmla="*/ 0 w 8433"/>
                    <a:gd name="connsiteY2" fmla="*/ 2512 h 2511"/>
                  </a:gdLst>
                  <a:ahLst/>
                  <a:cxnLst>
                    <a:cxn ang="0">
                      <a:pos x="connsiteX0" y="connsiteY0"/>
                    </a:cxn>
                    <a:cxn ang="0">
                      <a:pos x="connsiteX1" y="connsiteY1"/>
                    </a:cxn>
                    <a:cxn ang="0">
                      <a:pos x="connsiteX2" y="connsiteY2"/>
                    </a:cxn>
                  </a:cxnLst>
                  <a:rect l="l" t="t" r="r" b="b"/>
                  <a:pathLst>
                    <a:path w="8433" h="2511">
                      <a:moveTo>
                        <a:pt x="8433" y="0"/>
                      </a:moveTo>
                      <a:lnTo>
                        <a:pt x="2213" y="1854"/>
                      </a:lnTo>
                      <a:lnTo>
                        <a:pt x="0" y="2512"/>
                      </a:lnTo>
                    </a:path>
                  </a:pathLst>
                </a:custGeom>
                <a:noFill/>
                <a:ln w="6350" cap="rnd">
                  <a:solidFill>
                    <a:schemeClr val="bg1">
                      <a:alpha val="40000"/>
                    </a:schemeClr>
                  </a:solidFill>
                  <a:prstDash val="solid"/>
                  <a:round/>
                </a:ln>
              </p:spPr>
              <p:txBody>
                <a:bodyPr rtlCol="0" anchor="ctr"/>
                <a:lstStyle/>
                <a:p>
                  <a:endParaRPr lang="en-GB"/>
                </a:p>
              </p:txBody>
            </p:sp>
            <p:sp>
              <p:nvSpPr>
                <p:cNvPr id="6508" name="Vrije vorm: vorm 6507">
                  <a:extLst>
                    <a:ext uri="{FF2B5EF4-FFF2-40B4-BE49-F238E27FC236}">
                      <a16:creationId xmlns:a16="http://schemas.microsoft.com/office/drawing/2014/main" id="{B0DED98D-7C5A-4AE5-AB1A-F0E12749F31E}"/>
                    </a:ext>
                  </a:extLst>
                </p:cNvPr>
                <p:cNvSpPr/>
                <p:nvPr/>
              </p:nvSpPr>
              <p:spPr>
                <a:xfrm>
                  <a:off x="6692806" y="1949038"/>
                  <a:ext cx="5203" cy="5322"/>
                </a:xfrm>
                <a:custGeom>
                  <a:avLst/>
                  <a:gdLst>
                    <a:gd name="connsiteX0" fmla="*/ 3289 w 5203"/>
                    <a:gd name="connsiteY0" fmla="*/ 0 h 5322"/>
                    <a:gd name="connsiteX1" fmla="*/ 4785 w 5203"/>
                    <a:gd name="connsiteY1" fmla="*/ 1914 h 5322"/>
                    <a:gd name="connsiteX2" fmla="*/ 5203 w 5203"/>
                    <a:gd name="connsiteY2" fmla="*/ 3708 h 5322"/>
                    <a:gd name="connsiteX3" fmla="*/ 3768 w 5203"/>
                    <a:gd name="connsiteY3" fmla="*/ 5203 h 5322"/>
                    <a:gd name="connsiteX4" fmla="*/ 3648 w 5203"/>
                    <a:gd name="connsiteY4" fmla="*/ 5323 h 5322"/>
                    <a:gd name="connsiteX5" fmla="*/ 3170 w 5203"/>
                    <a:gd name="connsiteY5" fmla="*/ 5263 h 5322"/>
                    <a:gd name="connsiteX6" fmla="*/ 1615 w 5203"/>
                    <a:gd name="connsiteY6" fmla="*/ 5143 h 5322"/>
                    <a:gd name="connsiteX7" fmla="*/ 0 w 5203"/>
                    <a:gd name="connsiteY7" fmla="*/ 3050 h 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3" h="5322">
                      <a:moveTo>
                        <a:pt x="3289" y="0"/>
                      </a:moveTo>
                      <a:lnTo>
                        <a:pt x="4785" y="1914"/>
                      </a:lnTo>
                      <a:lnTo>
                        <a:pt x="5203" y="3708"/>
                      </a:lnTo>
                      <a:lnTo>
                        <a:pt x="3768" y="5203"/>
                      </a:lnTo>
                      <a:lnTo>
                        <a:pt x="3648" y="5323"/>
                      </a:lnTo>
                      <a:lnTo>
                        <a:pt x="3170" y="5263"/>
                      </a:lnTo>
                      <a:lnTo>
                        <a:pt x="1615" y="5143"/>
                      </a:lnTo>
                      <a:lnTo>
                        <a:pt x="0" y="3050"/>
                      </a:lnTo>
                    </a:path>
                  </a:pathLst>
                </a:custGeom>
                <a:noFill/>
                <a:ln w="6350" cap="rnd">
                  <a:solidFill>
                    <a:schemeClr val="bg1">
                      <a:alpha val="40000"/>
                    </a:schemeClr>
                  </a:solidFill>
                  <a:prstDash val="solid"/>
                  <a:round/>
                </a:ln>
              </p:spPr>
              <p:txBody>
                <a:bodyPr rtlCol="0" anchor="ctr"/>
                <a:lstStyle/>
                <a:p>
                  <a:endParaRPr lang="en-GB"/>
                </a:p>
              </p:txBody>
            </p:sp>
            <p:sp>
              <p:nvSpPr>
                <p:cNvPr id="6509" name="Vrije vorm: vorm 6508">
                  <a:extLst>
                    <a:ext uri="{FF2B5EF4-FFF2-40B4-BE49-F238E27FC236}">
                      <a16:creationId xmlns:a16="http://schemas.microsoft.com/office/drawing/2014/main" id="{13A3C97B-21BC-4CF1-8F2D-46670ECDDEDE}"/>
                    </a:ext>
                  </a:extLst>
                </p:cNvPr>
                <p:cNvSpPr/>
                <p:nvPr/>
              </p:nvSpPr>
              <p:spPr>
                <a:xfrm>
                  <a:off x="6809430" y="1854722"/>
                  <a:ext cx="3050" cy="7236"/>
                </a:xfrm>
                <a:custGeom>
                  <a:avLst/>
                  <a:gdLst>
                    <a:gd name="connsiteX0" fmla="*/ 0 w 3050"/>
                    <a:gd name="connsiteY0" fmla="*/ 7237 h 7236"/>
                    <a:gd name="connsiteX1" fmla="*/ 479 w 3050"/>
                    <a:gd name="connsiteY1" fmla="*/ 6040 h 7236"/>
                    <a:gd name="connsiteX2" fmla="*/ 479 w 3050"/>
                    <a:gd name="connsiteY2" fmla="*/ 6040 h 7236"/>
                    <a:gd name="connsiteX3" fmla="*/ 718 w 3050"/>
                    <a:gd name="connsiteY3" fmla="*/ 5442 h 7236"/>
                    <a:gd name="connsiteX4" fmla="*/ 957 w 3050"/>
                    <a:gd name="connsiteY4" fmla="*/ 4904 h 7236"/>
                    <a:gd name="connsiteX5" fmla="*/ 2034 w 3050"/>
                    <a:gd name="connsiteY5" fmla="*/ 2273 h 7236"/>
                    <a:gd name="connsiteX6" fmla="*/ 3050 w 3050"/>
                    <a:gd name="connsiteY6" fmla="*/ 0 h 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0" h="7236">
                      <a:moveTo>
                        <a:pt x="0" y="7237"/>
                      </a:moveTo>
                      <a:lnTo>
                        <a:pt x="479" y="6040"/>
                      </a:lnTo>
                      <a:lnTo>
                        <a:pt x="479" y="6040"/>
                      </a:lnTo>
                      <a:lnTo>
                        <a:pt x="718" y="5442"/>
                      </a:lnTo>
                      <a:lnTo>
                        <a:pt x="957" y="4904"/>
                      </a:lnTo>
                      <a:lnTo>
                        <a:pt x="2034" y="2273"/>
                      </a:lnTo>
                      <a:lnTo>
                        <a:pt x="3050" y="0"/>
                      </a:lnTo>
                    </a:path>
                  </a:pathLst>
                </a:custGeom>
                <a:noFill/>
                <a:ln w="6350" cap="rnd">
                  <a:solidFill>
                    <a:schemeClr val="bg1">
                      <a:alpha val="40000"/>
                    </a:schemeClr>
                  </a:solidFill>
                  <a:prstDash val="solid"/>
                  <a:round/>
                </a:ln>
              </p:spPr>
              <p:txBody>
                <a:bodyPr rtlCol="0" anchor="ctr"/>
                <a:lstStyle/>
                <a:p>
                  <a:endParaRPr lang="en-GB"/>
                </a:p>
              </p:txBody>
            </p:sp>
            <p:sp>
              <p:nvSpPr>
                <p:cNvPr id="6510" name="Vrije vorm: vorm 6509">
                  <a:extLst>
                    <a:ext uri="{FF2B5EF4-FFF2-40B4-BE49-F238E27FC236}">
                      <a16:creationId xmlns:a16="http://schemas.microsoft.com/office/drawing/2014/main" id="{DF046628-E1A2-4FBA-88A3-53B446A02D95}"/>
                    </a:ext>
                  </a:extLst>
                </p:cNvPr>
                <p:cNvSpPr/>
                <p:nvPr/>
              </p:nvSpPr>
              <p:spPr>
                <a:xfrm>
                  <a:off x="6894536" y="1848681"/>
                  <a:ext cx="3289" cy="21530"/>
                </a:xfrm>
                <a:custGeom>
                  <a:avLst/>
                  <a:gdLst>
                    <a:gd name="connsiteX0" fmla="*/ 2990 w 3289"/>
                    <a:gd name="connsiteY0" fmla="*/ 0 h 21530"/>
                    <a:gd name="connsiteX1" fmla="*/ 2752 w 3289"/>
                    <a:gd name="connsiteY1" fmla="*/ 179 h 21530"/>
                    <a:gd name="connsiteX2" fmla="*/ 1077 w 3289"/>
                    <a:gd name="connsiteY2" fmla="*/ 1316 h 21530"/>
                    <a:gd name="connsiteX3" fmla="*/ 778 w 3289"/>
                    <a:gd name="connsiteY3" fmla="*/ 1555 h 21530"/>
                    <a:gd name="connsiteX4" fmla="*/ 0 w 3289"/>
                    <a:gd name="connsiteY4" fmla="*/ 2093 h 21530"/>
                    <a:gd name="connsiteX5" fmla="*/ 419 w 3289"/>
                    <a:gd name="connsiteY5" fmla="*/ 5203 h 21530"/>
                    <a:gd name="connsiteX6" fmla="*/ 479 w 3289"/>
                    <a:gd name="connsiteY6" fmla="*/ 5502 h 21530"/>
                    <a:gd name="connsiteX7" fmla="*/ 957 w 3289"/>
                    <a:gd name="connsiteY7" fmla="*/ 9210 h 21530"/>
                    <a:gd name="connsiteX8" fmla="*/ 1017 w 3289"/>
                    <a:gd name="connsiteY8" fmla="*/ 9569 h 21530"/>
                    <a:gd name="connsiteX9" fmla="*/ 1077 w 3289"/>
                    <a:gd name="connsiteY9" fmla="*/ 10048 h 21530"/>
                    <a:gd name="connsiteX10" fmla="*/ 1137 w 3289"/>
                    <a:gd name="connsiteY10" fmla="*/ 10526 h 21530"/>
                    <a:gd name="connsiteX11" fmla="*/ 1375 w 3289"/>
                    <a:gd name="connsiteY11" fmla="*/ 12260 h 21530"/>
                    <a:gd name="connsiteX12" fmla="*/ 1435 w 3289"/>
                    <a:gd name="connsiteY12" fmla="*/ 12500 h 21530"/>
                    <a:gd name="connsiteX13" fmla="*/ 1555 w 3289"/>
                    <a:gd name="connsiteY13" fmla="*/ 13576 h 21530"/>
                    <a:gd name="connsiteX14" fmla="*/ 1615 w 3289"/>
                    <a:gd name="connsiteY14" fmla="*/ 13756 h 21530"/>
                    <a:gd name="connsiteX15" fmla="*/ 1974 w 3289"/>
                    <a:gd name="connsiteY15" fmla="*/ 15729 h 21530"/>
                    <a:gd name="connsiteX16" fmla="*/ 2811 w 3289"/>
                    <a:gd name="connsiteY16" fmla="*/ 20215 h 21530"/>
                    <a:gd name="connsiteX17" fmla="*/ 2990 w 3289"/>
                    <a:gd name="connsiteY17" fmla="*/ 20693 h 21530"/>
                    <a:gd name="connsiteX18" fmla="*/ 3290 w 3289"/>
                    <a:gd name="connsiteY18" fmla="*/ 21531 h 2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9" h="21530">
                      <a:moveTo>
                        <a:pt x="2990" y="0"/>
                      </a:moveTo>
                      <a:lnTo>
                        <a:pt x="2752" y="179"/>
                      </a:lnTo>
                      <a:lnTo>
                        <a:pt x="1077" y="1316"/>
                      </a:lnTo>
                      <a:lnTo>
                        <a:pt x="778" y="1555"/>
                      </a:lnTo>
                      <a:lnTo>
                        <a:pt x="0" y="2093"/>
                      </a:lnTo>
                      <a:lnTo>
                        <a:pt x="419" y="5203"/>
                      </a:lnTo>
                      <a:lnTo>
                        <a:pt x="479" y="5502"/>
                      </a:lnTo>
                      <a:lnTo>
                        <a:pt x="957" y="9210"/>
                      </a:lnTo>
                      <a:lnTo>
                        <a:pt x="1017" y="9569"/>
                      </a:lnTo>
                      <a:lnTo>
                        <a:pt x="1077" y="10048"/>
                      </a:lnTo>
                      <a:lnTo>
                        <a:pt x="1137" y="10526"/>
                      </a:lnTo>
                      <a:lnTo>
                        <a:pt x="1375" y="12260"/>
                      </a:lnTo>
                      <a:lnTo>
                        <a:pt x="1435" y="12500"/>
                      </a:lnTo>
                      <a:lnTo>
                        <a:pt x="1555" y="13576"/>
                      </a:lnTo>
                      <a:lnTo>
                        <a:pt x="1615" y="13756"/>
                      </a:lnTo>
                      <a:lnTo>
                        <a:pt x="1974" y="15729"/>
                      </a:lnTo>
                      <a:lnTo>
                        <a:pt x="2811" y="20215"/>
                      </a:lnTo>
                      <a:lnTo>
                        <a:pt x="2990" y="20693"/>
                      </a:lnTo>
                      <a:lnTo>
                        <a:pt x="3290" y="21531"/>
                      </a:lnTo>
                    </a:path>
                  </a:pathLst>
                </a:custGeom>
                <a:noFill/>
                <a:ln w="6350" cap="rnd">
                  <a:solidFill>
                    <a:schemeClr val="bg1">
                      <a:alpha val="40000"/>
                    </a:schemeClr>
                  </a:solidFill>
                  <a:prstDash val="solid"/>
                  <a:round/>
                </a:ln>
              </p:spPr>
              <p:txBody>
                <a:bodyPr rtlCol="0" anchor="ctr"/>
                <a:lstStyle/>
                <a:p>
                  <a:endParaRPr lang="en-GB"/>
                </a:p>
              </p:txBody>
            </p:sp>
            <p:sp>
              <p:nvSpPr>
                <p:cNvPr id="6511" name="Vrije vorm: vorm 6510">
                  <a:extLst>
                    <a:ext uri="{FF2B5EF4-FFF2-40B4-BE49-F238E27FC236}">
                      <a16:creationId xmlns:a16="http://schemas.microsoft.com/office/drawing/2014/main" id="{B12E75A1-B684-4231-85F6-F6659A9843B7}"/>
                    </a:ext>
                  </a:extLst>
                </p:cNvPr>
                <p:cNvSpPr/>
                <p:nvPr/>
              </p:nvSpPr>
              <p:spPr>
                <a:xfrm>
                  <a:off x="6884787" y="1916682"/>
                  <a:ext cx="35944" cy="9688"/>
                </a:xfrm>
                <a:custGeom>
                  <a:avLst/>
                  <a:gdLst>
                    <a:gd name="connsiteX0" fmla="*/ 35944 w 35944"/>
                    <a:gd name="connsiteY0" fmla="*/ 9450 h 9688"/>
                    <a:gd name="connsiteX1" fmla="*/ 35765 w 35944"/>
                    <a:gd name="connsiteY1" fmla="*/ 9689 h 9688"/>
                    <a:gd name="connsiteX2" fmla="*/ 33373 w 35944"/>
                    <a:gd name="connsiteY2" fmla="*/ 8194 h 9688"/>
                    <a:gd name="connsiteX3" fmla="*/ 32236 w 35944"/>
                    <a:gd name="connsiteY3" fmla="*/ 7476 h 9688"/>
                    <a:gd name="connsiteX4" fmla="*/ 30083 w 35944"/>
                    <a:gd name="connsiteY4" fmla="*/ 6160 h 9688"/>
                    <a:gd name="connsiteX5" fmla="*/ 30083 w 35944"/>
                    <a:gd name="connsiteY5" fmla="*/ 6160 h 9688"/>
                    <a:gd name="connsiteX6" fmla="*/ 29306 w 35944"/>
                    <a:gd name="connsiteY6" fmla="*/ 6040 h 9688"/>
                    <a:gd name="connsiteX7" fmla="*/ 27990 w 35944"/>
                    <a:gd name="connsiteY7" fmla="*/ 5861 h 9688"/>
                    <a:gd name="connsiteX8" fmla="*/ 25837 w 35944"/>
                    <a:gd name="connsiteY8" fmla="*/ 6220 h 9688"/>
                    <a:gd name="connsiteX9" fmla="*/ 24402 w 35944"/>
                    <a:gd name="connsiteY9" fmla="*/ 6459 h 9688"/>
                    <a:gd name="connsiteX10" fmla="*/ 23923 w 35944"/>
                    <a:gd name="connsiteY10" fmla="*/ 6459 h 9688"/>
                    <a:gd name="connsiteX11" fmla="*/ 23744 w 35944"/>
                    <a:gd name="connsiteY11" fmla="*/ 6459 h 9688"/>
                    <a:gd name="connsiteX12" fmla="*/ 21172 w 35944"/>
                    <a:gd name="connsiteY12" fmla="*/ 6280 h 9688"/>
                    <a:gd name="connsiteX13" fmla="*/ 21112 w 35944"/>
                    <a:gd name="connsiteY13" fmla="*/ 6280 h 9688"/>
                    <a:gd name="connsiteX14" fmla="*/ 20873 w 35944"/>
                    <a:gd name="connsiteY14" fmla="*/ 6220 h 9688"/>
                    <a:gd name="connsiteX15" fmla="*/ 20694 w 35944"/>
                    <a:gd name="connsiteY15" fmla="*/ 6160 h 9688"/>
                    <a:gd name="connsiteX16" fmla="*/ 18959 w 35944"/>
                    <a:gd name="connsiteY16" fmla="*/ 5562 h 9688"/>
                    <a:gd name="connsiteX17" fmla="*/ 17225 w 35944"/>
                    <a:gd name="connsiteY17" fmla="*/ 4964 h 9688"/>
                    <a:gd name="connsiteX18" fmla="*/ 17046 w 35944"/>
                    <a:gd name="connsiteY18" fmla="*/ 4904 h 9688"/>
                    <a:gd name="connsiteX19" fmla="*/ 15849 w 35944"/>
                    <a:gd name="connsiteY19" fmla="*/ 4486 h 9688"/>
                    <a:gd name="connsiteX20" fmla="*/ 15191 w 35944"/>
                    <a:gd name="connsiteY20" fmla="*/ 4246 h 9688"/>
                    <a:gd name="connsiteX21" fmla="*/ 14294 w 35944"/>
                    <a:gd name="connsiteY21" fmla="*/ 3947 h 9688"/>
                    <a:gd name="connsiteX22" fmla="*/ 13576 w 35944"/>
                    <a:gd name="connsiteY22" fmla="*/ 3708 h 9688"/>
                    <a:gd name="connsiteX23" fmla="*/ 13337 w 35944"/>
                    <a:gd name="connsiteY23" fmla="*/ 3648 h 9688"/>
                    <a:gd name="connsiteX24" fmla="*/ 12500 w 35944"/>
                    <a:gd name="connsiteY24" fmla="*/ 3349 h 9688"/>
                    <a:gd name="connsiteX25" fmla="*/ 12440 w 35944"/>
                    <a:gd name="connsiteY25" fmla="*/ 3349 h 9688"/>
                    <a:gd name="connsiteX26" fmla="*/ 11005 w 35944"/>
                    <a:gd name="connsiteY26" fmla="*/ 2871 h 9688"/>
                    <a:gd name="connsiteX27" fmla="*/ 7476 w 35944"/>
                    <a:gd name="connsiteY27" fmla="*/ 1675 h 9688"/>
                    <a:gd name="connsiteX28" fmla="*/ 6100 w 35944"/>
                    <a:gd name="connsiteY28" fmla="*/ 1316 h 9688"/>
                    <a:gd name="connsiteX29" fmla="*/ 3648 w 35944"/>
                    <a:gd name="connsiteY29" fmla="*/ 598 h 9688"/>
                    <a:gd name="connsiteX30" fmla="*/ 3529 w 35944"/>
                    <a:gd name="connsiteY30" fmla="*/ 598 h 9688"/>
                    <a:gd name="connsiteX31" fmla="*/ 3050 w 35944"/>
                    <a:gd name="connsiteY31" fmla="*/ 538 h 9688"/>
                    <a:gd name="connsiteX32" fmla="*/ 0 w 35944"/>
                    <a:gd name="connsiteY32" fmla="*/ 0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944" h="9688">
                      <a:moveTo>
                        <a:pt x="35944" y="9450"/>
                      </a:moveTo>
                      <a:lnTo>
                        <a:pt x="35765" y="9689"/>
                      </a:lnTo>
                      <a:lnTo>
                        <a:pt x="33373" y="8194"/>
                      </a:lnTo>
                      <a:lnTo>
                        <a:pt x="32236" y="7476"/>
                      </a:lnTo>
                      <a:lnTo>
                        <a:pt x="30083" y="6160"/>
                      </a:lnTo>
                      <a:lnTo>
                        <a:pt x="30083" y="6160"/>
                      </a:lnTo>
                      <a:lnTo>
                        <a:pt x="29306" y="6040"/>
                      </a:lnTo>
                      <a:lnTo>
                        <a:pt x="27990" y="5861"/>
                      </a:lnTo>
                      <a:lnTo>
                        <a:pt x="25837" y="6220"/>
                      </a:lnTo>
                      <a:lnTo>
                        <a:pt x="24402" y="6459"/>
                      </a:lnTo>
                      <a:lnTo>
                        <a:pt x="23923" y="6459"/>
                      </a:lnTo>
                      <a:lnTo>
                        <a:pt x="23744" y="6459"/>
                      </a:lnTo>
                      <a:lnTo>
                        <a:pt x="21172" y="6280"/>
                      </a:lnTo>
                      <a:lnTo>
                        <a:pt x="21112" y="6280"/>
                      </a:lnTo>
                      <a:lnTo>
                        <a:pt x="20873" y="6220"/>
                      </a:lnTo>
                      <a:lnTo>
                        <a:pt x="20694" y="6160"/>
                      </a:lnTo>
                      <a:lnTo>
                        <a:pt x="18959" y="5562"/>
                      </a:lnTo>
                      <a:lnTo>
                        <a:pt x="17225" y="4964"/>
                      </a:lnTo>
                      <a:lnTo>
                        <a:pt x="17046" y="4904"/>
                      </a:lnTo>
                      <a:lnTo>
                        <a:pt x="15849" y="4486"/>
                      </a:lnTo>
                      <a:lnTo>
                        <a:pt x="15191" y="4246"/>
                      </a:lnTo>
                      <a:lnTo>
                        <a:pt x="14294" y="3947"/>
                      </a:lnTo>
                      <a:lnTo>
                        <a:pt x="13576" y="3708"/>
                      </a:lnTo>
                      <a:lnTo>
                        <a:pt x="13337" y="3648"/>
                      </a:lnTo>
                      <a:lnTo>
                        <a:pt x="12500" y="3349"/>
                      </a:lnTo>
                      <a:lnTo>
                        <a:pt x="12440" y="3349"/>
                      </a:lnTo>
                      <a:lnTo>
                        <a:pt x="11005" y="2871"/>
                      </a:lnTo>
                      <a:lnTo>
                        <a:pt x="7476" y="1675"/>
                      </a:lnTo>
                      <a:lnTo>
                        <a:pt x="6100" y="1316"/>
                      </a:lnTo>
                      <a:lnTo>
                        <a:pt x="3648" y="598"/>
                      </a:lnTo>
                      <a:lnTo>
                        <a:pt x="3529" y="598"/>
                      </a:lnTo>
                      <a:lnTo>
                        <a:pt x="3050" y="53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12" name="Vrije vorm: vorm 6511">
                  <a:extLst>
                    <a:ext uri="{FF2B5EF4-FFF2-40B4-BE49-F238E27FC236}">
                      <a16:creationId xmlns:a16="http://schemas.microsoft.com/office/drawing/2014/main" id="{5FB5BECC-37EC-49DB-BEF3-EA1B16984026}"/>
                    </a:ext>
                  </a:extLst>
                </p:cNvPr>
                <p:cNvSpPr/>
                <p:nvPr/>
              </p:nvSpPr>
              <p:spPr>
                <a:xfrm>
                  <a:off x="7064089" y="1779424"/>
                  <a:ext cx="30382" cy="28886"/>
                </a:xfrm>
                <a:custGeom>
                  <a:avLst/>
                  <a:gdLst>
                    <a:gd name="connsiteX0" fmla="*/ 0 w 30382"/>
                    <a:gd name="connsiteY0" fmla="*/ 0 h 28886"/>
                    <a:gd name="connsiteX1" fmla="*/ 1436 w 30382"/>
                    <a:gd name="connsiteY1" fmla="*/ 957 h 28886"/>
                    <a:gd name="connsiteX2" fmla="*/ 18661 w 30382"/>
                    <a:gd name="connsiteY2" fmla="*/ 13815 h 28886"/>
                    <a:gd name="connsiteX3" fmla="*/ 25119 w 30382"/>
                    <a:gd name="connsiteY3" fmla="*/ 19916 h 28886"/>
                    <a:gd name="connsiteX4" fmla="*/ 29246 w 30382"/>
                    <a:gd name="connsiteY4" fmla="*/ 23145 h 28886"/>
                    <a:gd name="connsiteX5" fmla="*/ 30383 w 30382"/>
                    <a:gd name="connsiteY5" fmla="*/ 25538 h 28886"/>
                    <a:gd name="connsiteX6" fmla="*/ 30023 w 30382"/>
                    <a:gd name="connsiteY6" fmla="*/ 28887 h 2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82" h="28886">
                      <a:moveTo>
                        <a:pt x="0" y="0"/>
                      </a:moveTo>
                      <a:lnTo>
                        <a:pt x="1436" y="957"/>
                      </a:lnTo>
                      <a:lnTo>
                        <a:pt x="18661" y="13815"/>
                      </a:lnTo>
                      <a:lnTo>
                        <a:pt x="25119" y="19916"/>
                      </a:lnTo>
                      <a:lnTo>
                        <a:pt x="29246" y="23145"/>
                      </a:lnTo>
                      <a:lnTo>
                        <a:pt x="30383" y="25538"/>
                      </a:lnTo>
                      <a:lnTo>
                        <a:pt x="30023" y="28887"/>
                      </a:lnTo>
                    </a:path>
                  </a:pathLst>
                </a:custGeom>
                <a:noFill/>
                <a:ln w="6350" cap="rnd">
                  <a:solidFill>
                    <a:schemeClr val="bg1">
                      <a:alpha val="40000"/>
                    </a:schemeClr>
                  </a:solidFill>
                  <a:prstDash val="solid"/>
                  <a:round/>
                </a:ln>
              </p:spPr>
              <p:txBody>
                <a:bodyPr rtlCol="0" anchor="ctr"/>
                <a:lstStyle/>
                <a:p>
                  <a:endParaRPr lang="en-GB"/>
                </a:p>
              </p:txBody>
            </p:sp>
            <p:sp>
              <p:nvSpPr>
                <p:cNvPr id="6513" name="Vrije vorm: vorm 6512">
                  <a:extLst>
                    <a:ext uri="{FF2B5EF4-FFF2-40B4-BE49-F238E27FC236}">
                      <a16:creationId xmlns:a16="http://schemas.microsoft.com/office/drawing/2014/main" id="{7A257A97-3099-41D6-B8E6-FD3767AD6B60}"/>
                    </a:ext>
                  </a:extLst>
                </p:cNvPr>
                <p:cNvSpPr/>
                <p:nvPr/>
              </p:nvSpPr>
              <p:spPr>
                <a:xfrm>
                  <a:off x="6992142" y="2059741"/>
                  <a:ext cx="14054" cy="12918"/>
                </a:xfrm>
                <a:custGeom>
                  <a:avLst/>
                  <a:gdLst>
                    <a:gd name="connsiteX0" fmla="*/ 11483 w 14054"/>
                    <a:gd name="connsiteY0" fmla="*/ 60 h 12918"/>
                    <a:gd name="connsiteX1" fmla="*/ 12500 w 14054"/>
                    <a:gd name="connsiteY1" fmla="*/ 0 h 12918"/>
                    <a:gd name="connsiteX2" fmla="*/ 14055 w 14054"/>
                    <a:gd name="connsiteY2" fmla="*/ 2093 h 12918"/>
                    <a:gd name="connsiteX3" fmla="*/ 13815 w 14054"/>
                    <a:gd name="connsiteY3" fmla="*/ 2632 h 12918"/>
                    <a:gd name="connsiteX4" fmla="*/ 12440 w 14054"/>
                    <a:gd name="connsiteY4" fmla="*/ 5622 h 12918"/>
                    <a:gd name="connsiteX5" fmla="*/ 7596 w 14054"/>
                    <a:gd name="connsiteY5" fmla="*/ 11304 h 12918"/>
                    <a:gd name="connsiteX6" fmla="*/ 6219 w 14054"/>
                    <a:gd name="connsiteY6" fmla="*/ 11603 h 12918"/>
                    <a:gd name="connsiteX7" fmla="*/ 5203 w 14054"/>
                    <a:gd name="connsiteY7" fmla="*/ 11842 h 12918"/>
                    <a:gd name="connsiteX8" fmla="*/ 2631 w 14054"/>
                    <a:gd name="connsiteY8" fmla="*/ 12380 h 12918"/>
                    <a:gd name="connsiteX9" fmla="*/ 0 w 14054"/>
                    <a:gd name="connsiteY9" fmla="*/ 12918 h 1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54" h="12918">
                      <a:moveTo>
                        <a:pt x="11483" y="60"/>
                      </a:moveTo>
                      <a:lnTo>
                        <a:pt x="12500" y="0"/>
                      </a:lnTo>
                      <a:lnTo>
                        <a:pt x="14055" y="2093"/>
                      </a:lnTo>
                      <a:lnTo>
                        <a:pt x="13815" y="2632"/>
                      </a:lnTo>
                      <a:lnTo>
                        <a:pt x="12440" y="5622"/>
                      </a:lnTo>
                      <a:lnTo>
                        <a:pt x="7596" y="11304"/>
                      </a:lnTo>
                      <a:lnTo>
                        <a:pt x="6219" y="11603"/>
                      </a:lnTo>
                      <a:lnTo>
                        <a:pt x="5203" y="11842"/>
                      </a:lnTo>
                      <a:lnTo>
                        <a:pt x="2631" y="12380"/>
                      </a:lnTo>
                      <a:lnTo>
                        <a:pt x="0" y="12918"/>
                      </a:lnTo>
                    </a:path>
                  </a:pathLst>
                </a:custGeom>
                <a:noFill/>
                <a:ln w="6350" cap="rnd">
                  <a:solidFill>
                    <a:schemeClr val="bg1">
                      <a:alpha val="40000"/>
                    </a:schemeClr>
                  </a:solidFill>
                  <a:prstDash val="solid"/>
                  <a:round/>
                </a:ln>
              </p:spPr>
              <p:txBody>
                <a:bodyPr rtlCol="0" anchor="ctr"/>
                <a:lstStyle/>
                <a:p>
                  <a:endParaRPr lang="en-GB"/>
                </a:p>
              </p:txBody>
            </p:sp>
            <p:sp>
              <p:nvSpPr>
                <p:cNvPr id="6514" name="Vrije vorm: vorm 6513">
                  <a:extLst>
                    <a:ext uri="{FF2B5EF4-FFF2-40B4-BE49-F238E27FC236}">
                      <a16:creationId xmlns:a16="http://schemas.microsoft.com/office/drawing/2014/main" id="{F1E77EBE-71E4-40C0-BEBF-9F51AA868939}"/>
                    </a:ext>
                  </a:extLst>
                </p:cNvPr>
                <p:cNvSpPr/>
                <p:nvPr/>
              </p:nvSpPr>
              <p:spPr>
                <a:xfrm>
                  <a:off x="6967142" y="1977865"/>
                  <a:ext cx="19557" cy="9270"/>
                </a:xfrm>
                <a:custGeom>
                  <a:avLst/>
                  <a:gdLst>
                    <a:gd name="connsiteX0" fmla="*/ 0 w 19557"/>
                    <a:gd name="connsiteY0" fmla="*/ 0 h 9270"/>
                    <a:gd name="connsiteX1" fmla="*/ 1974 w 19557"/>
                    <a:gd name="connsiteY1" fmla="*/ 1136 h 9270"/>
                    <a:gd name="connsiteX2" fmla="*/ 2153 w 19557"/>
                    <a:gd name="connsiteY2" fmla="*/ 1196 h 9270"/>
                    <a:gd name="connsiteX3" fmla="*/ 3290 w 19557"/>
                    <a:gd name="connsiteY3" fmla="*/ 1794 h 9270"/>
                    <a:gd name="connsiteX4" fmla="*/ 5562 w 19557"/>
                    <a:gd name="connsiteY4" fmla="*/ 3050 h 9270"/>
                    <a:gd name="connsiteX5" fmla="*/ 6818 w 19557"/>
                    <a:gd name="connsiteY5" fmla="*/ 3648 h 9270"/>
                    <a:gd name="connsiteX6" fmla="*/ 7476 w 19557"/>
                    <a:gd name="connsiteY6" fmla="*/ 3947 h 9270"/>
                    <a:gd name="connsiteX7" fmla="*/ 8493 w 19557"/>
                    <a:gd name="connsiteY7" fmla="*/ 4426 h 9270"/>
                    <a:gd name="connsiteX8" fmla="*/ 8851 w 19557"/>
                    <a:gd name="connsiteY8" fmla="*/ 4605 h 9270"/>
                    <a:gd name="connsiteX9" fmla="*/ 9689 w 19557"/>
                    <a:gd name="connsiteY9" fmla="*/ 5024 h 9270"/>
                    <a:gd name="connsiteX10" fmla="*/ 11603 w 19557"/>
                    <a:gd name="connsiteY10" fmla="*/ 5921 h 9270"/>
                    <a:gd name="connsiteX11" fmla="*/ 11663 w 19557"/>
                    <a:gd name="connsiteY11" fmla="*/ 5921 h 9270"/>
                    <a:gd name="connsiteX12" fmla="*/ 13098 w 19557"/>
                    <a:gd name="connsiteY12" fmla="*/ 6579 h 9270"/>
                    <a:gd name="connsiteX13" fmla="*/ 13816 w 19557"/>
                    <a:gd name="connsiteY13" fmla="*/ 6938 h 9270"/>
                    <a:gd name="connsiteX14" fmla="*/ 14114 w 19557"/>
                    <a:gd name="connsiteY14" fmla="*/ 7057 h 9270"/>
                    <a:gd name="connsiteX15" fmla="*/ 14653 w 19557"/>
                    <a:gd name="connsiteY15" fmla="*/ 7296 h 9270"/>
                    <a:gd name="connsiteX16" fmla="*/ 15012 w 19557"/>
                    <a:gd name="connsiteY16" fmla="*/ 7476 h 9270"/>
                    <a:gd name="connsiteX17" fmla="*/ 15789 w 19557"/>
                    <a:gd name="connsiteY17" fmla="*/ 7835 h 9270"/>
                    <a:gd name="connsiteX18" fmla="*/ 17105 w 19557"/>
                    <a:gd name="connsiteY18" fmla="*/ 8433 h 9270"/>
                    <a:gd name="connsiteX19" fmla="*/ 17165 w 19557"/>
                    <a:gd name="connsiteY19" fmla="*/ 8433 h 9270"/>
                    <a:gd name="connsiteX20" fmla="*/ 17703 w 19557"/>
                    <a:gd name="connsiteY20" fmla="*/ 8672 h 9270"/>
                    <a:gd name="connsiteX21" fmla="*/ 18660 w 19557"/>
                    <a:gd name="connsiteY21" fmla="*/ 9091 h 9270"/>
                    <a:gd name="connsiteX22" fmla="*/ 18720 w 19557"/>
                    <a:gd name="connsiteY22" fmla="*/ 9150 h 9270"/>
                    <a:gd name="connsiteX23" fmla="*/ 19019 w 19557"/>
                    <a:gd name="connsiteY23" fmla="*/ 9270 h 9270"/>
                    <a:gd name="connsiteX24" fmla="*/ 19557 w 19557"/>
                    <a:gd name="connsiteY24" fmla="*/ 9270 h 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557" h="9270">
                      <a:moveTo>
                        <a:pt x="0" y="0"/>
                      </a:moveTo>
                      <a:lnTo>
                        <a:pt x="1974" y="1136"/>
                      </a:lnTo>
                      <a:lnTo>
                        <a:pt x="2153" y="1196"/>
                      </a:lnTo>
                      <a:lnTo>
                        <a:pt x="3290" y="1794"/>
                      </a:lnTo>
                      <a:lnTo>
                        <a:pt x="5562" y="3050"/>
                      </a:lnTo>
                      <a:lnTo>
                        <a:pt x="6818" y="3648"/>
                      </a:lnTo>
                      <a:lnTo>
                        <a:pt x="7476" y="3947"/>
                      </a:lnTo>
                      <a:lnTo>
                        <a:pt x="8493" y="4426"/>
                      </a:lnTo>
                      <a:lnTo>
                        <a:pt x="8851" y="4605"/>
                      </a:lnTo>
                      <a:lnTo>
                        <a:pt x="9689" y="5024"/>
                      </a:lnTo>
                      <a:lnTo>
                        <a:pt x="11603" y="5921"/>
                      </a:lnTo>
                      <a:lnTo>
                        <a:pt x="11663" y="5921"/>
                      </a:lnTo>
                      <a:lnTo>
                        <a:pt x="13098" y="6579"/>
                      </a:lnTo>
                      <a:lnTo>
                        <a:pt x="13816" y="6938"/>
                      </a:lnTo>
                      <a:lnTo>
                        <a:pt x="14114" y="7057"/>
                      </a:lnTo>
                      <a:lnTo>
                        <a:pt x="14653" y="7296"/>
                      </a:lnTo>
                      <a:lnTo>
                        <a:pt x="15012" y="7476"/>
                      </a:lnTo>
                      <a:lnTo>
                        <a:pt x="15789" y="7835"/>
                      </a:lnTo>
                      <a:lnTo>
                        <a:pt x="17105" y="8433"/>
                      </a:lnTo>
                      <a:lnTo>
                        <a:pt x="17165" y="8433"/>
                      </a:lnTo>
                      <a:lnTo>
                        <a:pt x="17703" y="8672"/>
                      </a:lnTo>
                      <a:lnTo>
                        <a:pt x="18660" y="9091"/>
                      </a:lnTo>
                      <a:lnTo>
                        <a:pt x="18720" y="9150"/>
                      </a:lnTo>
                      <a:lnTo>
                        <a:pt x="19019" y="9270"/>
                      </a:lnTo>
                      <a:lnTo>
                        <a:pt x="19557" y="9270"/>
                      </a:lnTo>
                    </a:path>
                  </a:pathLst>
                </a:custGeom>
                <a:noFill/>
                <a:ln w="6350" cap="rnd">
                  <a:solidFill>
                    <a:schemeClr val="bg1">
                      <a:alpha val="40000"/>
                    </a:schemeClr>
                  </a:solidFill>
                  <a:prstDash val="solid"/>
                  <a:round/>
                </a:ln>
              </p:spPr>
              <p:txBody>
                <a:bodyPr rtlCol="0" anchor="ctr"/>
                <a:lstStyle/>
                <a:p>
                  <a:endParaRPr lang="en-GB"/>
                </a:p>
              </p:txBody>
            </p:sp>
            <p:sp>
              <p:nvSpPr>
                <p:cNvPr id="6515" name="Vrije vorm: vorm 6514">
                  <a:extLst>
                    <a:ext uri="{FF2B5EF4-FFF2-40B4-BE49-F238E27FC236}">
                      <a16:creationId xmlns:a16="http://schemas.microsoft.com/office/drawing/2014/main" id="{E340E39A-328F-41B1-8776-7F7CCBB334C4}"/>
                    </a:ext>
                  </a:extLst>
                </p:cNvPr>
                <p:cNvSpPr/>
                <p:nvPr/>
              </p:nvSpPr>
              <p:spPr>
                <a:xfrm>
                  <a:off x="6822887" y="1808132"/>
                  <a:ext cx="71648" cy="13576"/>
                </a:xfrm>
                <a:custGeom>
                  <a:avLst/>
                  <a:gdLst>
                    <a:gd name="connsiteX0" fmla="*/ 0 w 71648"/>
                    <a:gd name="connsiteY0" fmla="*/ 60 h 13576"/>
                    <a:gd name="connsiteX1" fmla="*/ 60 w 71648"/>
                    <a:gd name="connsiteY1" fmla="*/ 0 h 13576"/>
                    <a:gd name="connsiteX2" fmla="*/ 7895 w 71648"/>
                    <a:gd name="connsiteY2" fmla="*/ 120 h 13576"/>
                    <a:gd name="connsiteX3" fmla="*/ 18600 w 71648"/>
                    <a:gd name="connsiteY3" fmla="*/ 299 h 13576"/>
                    <a:gd name="connsiteX4" fmla="*/ 20634 w 71648"/>
                    <a:gd name="connsiteY4" fmla="*/ 359 h 13576"/>
                    <a:gd name="connsiteX5" fmla="*/ 21471 w 71648"/>
                    <a:gd name="connsiteY5" fmla="*/ 359 h 13576"/>
                    <a:gd name="connsiteX6" fmla="*/ 22906 w 71648"/>
                    <a:gd name="connsiteY6" fmla="*/ 419 h 13576"/>
                    <a:gd name="connsiteX7" fmla="*/ 24102 w 71648"/>
                    <a:gd name="connsiteY7" fmla="*/ 478 h 13576"/>
                    <a:gd name="connsiteX8" fmla="*/ 24880 w 71648"/>
                    <a:gd name="connsiteY8" fmla="*/ 598 h 13576"/>
                    <a:gd name="connsiteX9" fmla="*/ 26196 w 71648"/>
                    <a:gd name="connsiteY9" fmla="*/ 837 h 13576"/>
                    <a:gd name="connsiteX10" fmla="*/ 26495 w 71648"/>
                    <a:gd name="connsiteY10" fmla="*/ 897 h 13576"/>
                    <a:gd name="connsiteX11" fmla="*/ 27811 w 71648"/>
                    <a:gd name="connsiteY11" fmla="*/ 1136 h 13576"/>
                    <a:gd name="connsiteX12" fmla="*/ 28169 w 71648"/>
                    <a:gd name="connsiteY12" fmla="*/ 1196 h 13576"/>
                    <a:gd name="connsiteX13" fmla="*/ 28169 w 71648"/>
                    <a:gd name="connsiteY13" fmla="*/ 1196 h 13576"/>
                    <a:gd name="connsiteX14" fmla="*/ 28169 w 71648"/>
                    <a:gd name="connsiteY14" fmla="*/ 1196 h 13576"/>
                    <a:gd name="connsiteX15" fmla="*/ 28289 w 71648"/>
                    <a:gd name="connsiteY15" fmla="*/ 1196 h 13576"/>
                    <a:gd name="connsiteX16" fmla="*/ 29186 w 71648"/>
                    <a:gd name="connsiteY16" fmla="*/ 1376 h 13576"/>
                    <a:gd name="connsiteX17" fmla="*/ 29844 w 71648"/>
                    <a:gd name="connsiteY17" fmla="*/ 1495 h 13576"/>
                    <a:gd name="connsiteX18" fmla="*/ 29904 w 71648"/>
                    <a:gd name="connsiteY18" fmla="*/ 1495 h 13576"/>
                    <a:gd name="connsiteX19" fmla="*/ 29904 w 71648"/>
                    <a:gd name="connsiteY19" fmla="*/ 1495 h 13576"/>
                    <a:gd name="connsiteX20" fmla="*/ 30561 w 71648"/>
                    <a:gd name="connsiteY20" fmla="*/ 1615 h 13576"/>
                    <a:gd name="connsiteX21" fmla="*/ 30681 w 71648"/>
                    <a:gd name="connsiteY21" fmla="*/ 1615 h 13576"/>
                    <a:gd name="connsiteX22" fmla="*/ 30741 w 71648"/>
                    <a:gd name="connsiteY22" fmla="*/ 1615 h 13576"/>
                    <a:gd name="connsiteX23" fmla="*/ 30801 w 71648"/>
                    <a:gd name="connsiteY23" fmla="*/ 1615 h 13576"/>
                    <a:gd name="connsiteX24" fmla="*/ 32236 w 71648"/>
                    <a:gd name="connsiteY24" fmla="*/ 1854 h 13576"/>
                    <a:gd name="connsiteX25" fmla="*/ 41267 w 71648"/>
                    <a:gd name="connsiteY25" fmla="*/ 3469 h 13576"/>
                    <a:gd name="connsiteX26" fmla="*/ 45274 w 71648"/>
                    <a:gd name="connsiteY26" fmla="*/ 4605 h 13576"/>
                    <a:gd name="connsiteX27" fmla="*/ 56518 w 71648"/>
                    <a:gd name="connsiteY27" fmla="*/ 7715 h 13576"/>
                    <a:gd name="connsiteX28" fmla="*/ 56697 w 71648"/>
                    <a:gd name="connsiteY28" fmla="*/ 7775 h 13576"/>
                    <a:gd name="connsiteX29" fmla="*/ 59628 w 71648"/>
                    <a:gd name="connsiteY29" fmla="*/ 8911 h 13576"/>
                    <a:gd name="connsiteX30" fmla="*/ 60525 w 71648"/>
                    <a:gd name="connsiteY30" fmla="*/ 9270 h 13576"/>
                    <a:gd name="connsiteX31" fmla="*/ 61004 w 71648"/>
                    <a:gd name="connsiteY31" fmla="*/ 9450 h 13576"/>
                    <a:gd name="connsiteX32" fmla="*/ 61662 w 71648"/>
                    <a:gd name="connsiteY32" fmla="*/ 9689 h 13576"/>
                    <a:gd name="connsiteX33" fmla="*/ 62080 w 71648"/>
                    <a:gd name="connsiteY33" fmla="*/ 9868 h 13576"/>
                    <a:gd name="connsiteX34" fmla="*/ 62618 w 71648"/>
                    <a:gd name="connsiteY34" fmla="*/ 10048 h 13576"/>
                    <a:gd name="connsiteX35" fmla="*/ 62618 w 71648"/>
                    <a:gd name="connsiteY35" fmla="*/ 10048 h 13576"/>
                    <a:gd name="connsiteX36" fmla="*/ 62977 w 71648"/>
                    <a:gd name="connsiteY36" fmla="*/ 10167 h 13576"/>
                    <a:gd name="connsiteX37" fmla="*/ 64113 w 71648"/>
                    <a:gd name="connsiteY37" fmla="*/ 10646 h 13576"/>
                    <a:gd name="connsiteX38" fmla="*/ 64353 w 71648"/>
                    <a:gd name="connsiteY38" fmla="*/ 10706 h 13576"/>
                    <a:gd name="connsiteX39" fmla="*/ 66207 w 71648"/>
                    <a:gd name="connsiteY39" fmla="*/ 11423 h 13576"/>
                    <a:gd name="connsiteX40" fmla="*/ 66207 w 71648"/>
                    <a:gd name="connsiteY40" fmla="*/ 11423 h 13576"/>
                    <a:gd name="connsiteX41" fmla="*/ 69795 w 71648"/>
                    <a:gd name="connsiteY41" fmla="*/ 12799 h 13576"/>
                    <a:gd name="connsiteX42" fmla="*/ 69975 w 71648"/>
                    <a:gd name="connsiteY42" fmla="*/ 12859 h 13576"/>
                    <a:gd name="connsiteX43" fmla="*/ 70573 w 71648"/>
                    <a:gd name="connsiteY43" fmla="*/ 13098 h 13576"/>
                    <a:gd name="connsiteX44" fmla="*/ 71649 w 71648"/>
                    <a:gd name="connsiteY44" fmla="*/ 13576 h 13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1648" h="13576">
                      <a:moveTo>
                        <a:pt x="0" y="60"/>
                      </a:moveTo>
                      <a:lnTo>
                        <a:pt x="60" y="0"/>
                      </a:lnTo>
                      <a:lnTo>
                        <a:pt x="7895" y="120"/>
                      </a:lnTo>
                      <a:lnTo>
                        <a:pt x="18600" y="299"/>
                      </a:lnTo>
                      <a:lnTo>
                        <a:pt x="20634" y="359"/>
                      </a:lnTo>
                      <a:lnTo>
                        <a:pt x="21471" y="359"/>
                      </a:lnTo>
                      <a:lnTo>
                        <a:pt x="22906" y="419"/>
                      </a:lnTo>
                      <a:lnTo>
                        <a:pt x="24102" y="478"/>
                      </a:lnTo>
                      <a:lnTo>
                        <a:pt x="24880" y="598"/>
                      </a:lnTo>
                      <a:lnTo>
                        <a:pt x="26196" y="837"/>
                      </a:lnTo>
                      <a:lnTo>
                        <a:pt x="26495" y="897"/>
                      </a:lnTo>
                      <a:lnTo>
                        <a:pt x="27811" y="1136"/>
                      </a:lnTo>
                      <a:lnTo>
                        <a:pt x="28169" y="1196"/>
                      </a:lnTo>
                      <a:lnTo>
                        <a:pt x="28169" y="1196"/>
                      </a:lnTo>
                      <a:lnTo>
                        <a:pt x="28169" y="1196"/>
                      </a:lnTo>
                      <a:lnTo>
                        <a:pt x="28289" y="1196"/>
                      </a:lnTo>
                      <a:lnTo>
                        <a:pt x="29186" y="1376"/>
                      </a:lnTo>
                      <a:lnTo>
                        <a:pt x="29844" y="1495"/>
                      </a:lnTo>
                      <a:lnTo>
                        <a:pt x="29904" y="1495"/>
                      </a:lnTo>
                      <a:lnTo>
                        <a:pt x="29904" y="1495"/>
                      </a:lnTo>
                      <a:lnTo>
                        <a:pt x="30561" y="1615"/>
                      </a:lnTo>
                      <a:lnTo>
                        <a:pt x="30681" y="1615"/>
                      </a:lnTo>
                      <a:lnTo>
                        <a:pt x="30741" y="1615"/>
                      </a:lnTo>
                      <a:lnTo>
                        <a:pt x="30801" y="1615"/>
                      </a:lnTo>
                      <a:lnTo>
                        <a:pt x="32236" y="1854"/>
                      </a:lnTo>
                      <a:lnTo>
                        <a:pt x="41267" y="3469"/>
                      </a:lnTo>
                      <a:lnTo>
                        <a:pt x="45274" y="4605"/>
                      </a:lnTo>
                      <a:lnTo>
                        <a:pt x="56518" y="7715"/>
                      </a:lnTo>
                      <a:lnTo>
                        <a:pt x="56697" y="7775"/>
                      </a:lnTo>
                      <a:lnTo>
                        <a:pt x="59628" y="8911"/>
                      </a:lnTo>
                      <a:lnTo>
                        <a:pt x="60525" y="9270"/>
                      </a:lnTo>
                      <a:lnTo>
                        <a:pt x="61004" y="9450"/>
                      </a:lnTo>
                      <a:lnTo>
                        <a:pt x="61662" y="9689"/>
                      </a:lnTo>
                      <a:lnTo>
                        <a:pt x="62080" y="9868"/>
                      </a:lnTo>
                      <a:lnTo>
                        <a:pt x="62618" y="10048"/>
                      </a:lnTo>
                      <a:lnTo>
                        <a:pt x="62618" y="10048"/>
                      </a:lnTo>
                      <a:lnTo>
                        <a:pt x="62977" y="10167"/>
                      </a:lnTo>
                      <a:lnTo>
                        <a:pt x="64113" y="10646"/>
                      </a:lnTo>
                      <a:lnTo>
                        <a:pt x="64353" y="10706"/>
                      </a:lnTo>
                      <a:lnTo>
                        <a:pt x="66207" y="11423"/>
                      </a:lnTo>
                      <a:lnTo>
                        <a:pt x="66207" y="11423"/>
                      </a:lnTo>
                      <a:lnTo>
                        <a:pt x="69795" y="12799"/>
                      </a:lnTo>
                      <a:lnTo>
                        <a:pt x="69975" y="12859"/>
                      </a:lnTo>
                      <a:lnTo>
                        <a:pt x="70573" y="13098"/>
                      </a:lnTo>
                      <a:lnTo>
                        <a:pt x="71649" y="13576"/>
                      </a:lnTo>
                    </a:path>
                  </a:pathLst>
                </a:custGeom>
                <a:noFill/>
                <a:ln w="6350" cap="rnd">
                  <a:solidFill>
                    <a:schemeClr val="bg1">
                      <a:alpha val="40000"/>
                    </a:schemeClr>
                  </a:solidFill>
                  <a:prstDash val="solid"/>
                  <a:round/>
                </a:ln>
              </p:spPr>
              <p:txBody>
                <a:bodyPr rtlCol="0" anchor="ctr"/>
                <a:lstStyle/>
                <a:p>
                  <a:endParaRPr lang="en-GB"/>
                </a:p>
              </p:txBody>
            </p:sp>
            <p:sp>
              <p:nvSpPr>
                <p:cNvPr id="6516" name="Vrije vorm: vorm 6515">
                  <a:extLst>
                    <a:ext uri="{FF2B5EF4-FFF2-40B4-BE49-F238E27FC236}">
                      <a16:creationId xmlns:a16="http://schemas.microsoft.com/office/drawing/2014/main" id="{423B08C4-8DE4-4EE2-BC4C-6CAC0111A8E7}"/>
                    </a:ext>
                  </a:extLst>
                </p:cNvPr>
                <p:cNvSpPr/>
                <p:nvPr/>
              </p:nvSpPr>
              <p:spPr>
                <a:xfrm>
                  <a:off x="6640355" y="1814770"/>
                  <a:ext cx="7655" cy="4425"/>
                </a:xfrm>
                <a:custGeom>
                  <a:avLst/>
                  <a:gdLst>
                    <a:gd name="connsiteX0" fmla="*/ 0 w 7655"/>
                    <a:gd name="connsiteY0" fmla="*/ 3349 h 4425"/>
                    <a:gd name="connsiteX1" fmla="*/ 4366 w 7655"/>
                    <a:gd name="connsiteY1" fmla="*/ 0 h 4425"/>
                    <a:gd name="connsiteX2" fmla="*/ 6280 w 7655"/>
                    <a:gd name="connsiteY2" fmla="*/ 2153 h 4425"/>
                    <a:gd name="connsiteX3" fmla="*/ 7655 w 7655"/>
                    <a:gd name="connsiteY3" fmla="*/ 4426 h 4425"/>
                  </a:gdLst>
                  <a:ahLst/>
                  <a:cxnLst>
                    <a:cxn ang="0">
                      <a:pos x="connsiteX0" y="connsiteY0"/>
                    </a:cxn>
                    <a:cxn ang="0">
                      <a:pos x="connsiteX1" y="connsiteY1"/>
                    </a:cxn>
                    <a:cxn ang="0">
                      <a:pos x="connsiteX2" y="connsiteY2"/>
                    </a:cxn>
                    <a:cxn ang="0">
                      <a:pos x="connsiteX3" y="connsiteY3"/>
                    </a:cxn>
                  </a:cxnLst>
                  <a:rect l="l" t="t" r="r" b="b"/>
                  <a:pathLst>
                    <a:path w="7655" h="4425">
                      <a:moveTo>
                        <a:pt x="0" y="3349"/>
                      </a:moveTo>
                      <a:lnTo>
                        <a:pt x="4366" y="0"/>
                      </a:lnTo>
                      <a:lnTo>
                        <a:pt x="6280" y="2153"/>
                      </a:lnTo>
                      <a:lnTo>
                        <a:pt x="7655" y="4426"/>
                      </a:lnTo>
                    </a:path>
                  </a:pathLst>
                </a:custGeom>
                <a:noFill/>
                <a:ln w="6350" cap="rnd">
                  <a:solidFill>
                    <a:schemeClr val="bg1">
                      <a:alpha val="40000"/>
                    </a:schemeClr>
                  </a:solidFill>
                  <a:prstDash val="solid"/>
                  <a:round/>
                </a:ln>
              </p:spPr>
              <p:txBody>
                <a:bodyPr rtlCol="0" anchor="ctr"/>
                <a:lstStyle/>
                <a:p>
                  <a:endParaRPr lang="en-GB"/>
                </a:p>
              </p:txBody>
            </p:sp>
            <p:sp>
              <p:nvSpPr>
                <p:cNvPr id="6517" name="Vrije vorm: vorm 6516">
                  <a:extLst>
                    <a:ext uri="{FF2B5EF4-FFF2-40B4-BE49-F238E27FC236}">
                      <a16:creationId xmlns:a16="http://schemas.microsoft.com/office/drawing/2014/main" id="{4BEFD6B0-8E1F-484C-AE9E-CDAD566440EA}"/>
                    </a:ext>
                  </a:extLst>
                </p:cNvPr>
                <p:cNvSpPr/>
                <p:nvPr/>
              </p:nvSpPr>
              <p:spPr>
                <a:xfrm>
                  <a:off x="6809789" y="2064705"/>
                  <a:ext cx="53347" cy="20214"/>
                </a:xfrm>
                <a:custGeom>
                  <a:avLst/>
                  <a:gdLst>
                    <a:gd name="connsiteX0" fmla="*/ 52630 w 53347"/>
                    <a:gd name="connsiteY0" fmla="*/ 0 h 20214"/>
                    <a:gd name="connsiteX1" fmla="*/ 53348 w 53347"/>
                    <a:gd name="connsiteY1" fmla="*/ 478 h 20214"/>
                    <a:gd name="connsiteX2" fmla="*/ 52570 w 53347"/>
                    <a:gd name="connsiteY2" fmla="*/ 3170 h 20214"/>
                    <a:gd name="connsiteX3" fmla="*/ 48982 w 53347"/>
                    <a:gd name="connsiteY3" fmla="*/ 8014 h 20214"/>
                    <a:gd name="connsiteX4" fmla="*/ 48324 w 53347"/>
                    <a:gd name="connsiteY4" fmla="*/ 8851 h 20214"/>
                    <a:gd name="connsiteX5" fmla="*/ 39891 w 53347"/>
                    <a:gd name="connsiteY5" fmla="*/ 12859 h 20214"/>
                    <a:gd name="connsiteX6" fmla="*/ 38815 w 53347"/>
                    <a:gd name="connsiteY6" fmla="*/ 12918 h 20214"/>
                    <a:gd name="connsiteX7" fmla="*/ 33133 w 53347"/>
                    <a:gd name="connsiteY7" fmla="*/ 13337 h 20214"/>
                    <a:gd name="connsiteX8" fmla="*/ 30442 w 53347"/>
                    <a:gd name="connsiteY8" fmla="*/ 13636 h 20214"/>
                    <a:gd name="connsiteX9" fmla="*/ 24282 w 53347"/>
                    <a:gd name="connsiteY9" fmla="*/ 14354 h 20214"/>
                    <a:gd name="connsiteX10" fmla="*/ 17942 w 53347"/>
                    <a:gd name="connsiteY10" fmla="*/ 15789 h 20214"/>
                    <a:gd name="connsiteX11" fmla="*/ 17344 w 53347"/>
                    <a:gd name="connsiteY11" fmla="*/ 15909 h 20214"/>
                    <a:gd name="connsiteX12" fmla="*/ 13218 w 53347"/>
                    <a:gd name="connsiteY12" fmla="*/ 17105 h 20214"/>
                    <a:gd name="connsiteX13" fmla="*/ 8792 w 53347"/>
                    <a:gd name="connsiteY13" fmla="*/ 18361 h 20214"/>
                    <a:gd name="connsiteX14" fmla="*/ 8134 w 53347"/>
                    <a:gd name="connsiteY14" fmla="*/ 18600 h 20214"/>
                    <a:gd name="connsiteX15" fmla="*/ 4964 w 53347"/>
                    <a:gd name="connsiteY15" fmla="*/ 19796 h 20214"/>
                    <a:gd name="connsiteX16" fmla="*/ 4426 w 53347"/>
                    <a:gd name="connsiteY16" fmla="*/ 19976 h 20214"/>
                    <a:gd name="connsiteX17" fmla="*/ 3708 w 53347"/>
                    <a:gd name="connsiteY17" fmla="*/ 20215 h 20214"/>
                    <a:gd name="connsiteX18" fmla="*/ 2093 w 53347"/>
                    <a:gd name="connsiteY18" fmla="*/ 18720 h 20214"/>
                    <a:gd name="connsiteX19" fmla="*/ 1555 w 53347"/>
                    <a:gd name="connsiteY19" fmla="*/ 18241 h 20214"/>
                    <a:gd name="connsiteX20" fmla="*/ 1435 w 53347"/>
                    <a:gd name="connsiteY20" fmla="*/ 18062 h 20214"/>
                    <a:gd name="connsiteX21" fmla="*/ 299 w 53347"/>
                    <a:gd name="connsiteY21" fmla="*/ 15969 h 20214"/>
                    <a:gd name="connsiteX22" fmla="*/ 0 w 53347"/>
                    <a:gd name="connsiteY22" fmla="*/ 14533 h 20214"/>
                    <a:gd name="connsiteX23" fmla="*/ 60 w 53347"/>
                    <a:gd name="connsiteY23" fmla="*/ 14473 h 20214"/>
                    <a:gd name="connsiteX24" fmla="*/ 120 w 53347"/>
                    <a:gd name="connsiteY24" fmla="*/ 14414 h 20214"/>
                    <a:gd name="connsiteX25" fmla="*/ 1316 w 53347"/>
                    <a:gd name="connsiteY25" fmla="*/ 12380 h 20214"/>
                    <a:gd name="connsiteX26" fmla="*/ 2093 w 53347"/>
                    <a:gd name="connsiteY26" fmla="*/ 11124 h 2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347" h="20214">
                      <a:moveTo>
                        <a:pt x="52630" y="0"/>
                      </a:moveTo>
                      <a:lnTo>
                        <a:pt x="53348" y="478"/>
                      </a:lnTo>
                      <a:lnTo>
                        <a:pt x="52570" y="3170"/>
                      </a:lnTo>
                      <a:lnTo>
                        <a:pt x="48982" y="8014"/>
                      </a:lnTo>
                      <a:lnTo>
                        <a:pt x="48324" y="8851"/>
                      </a:lnTo>
                      <a:lnTo>
                        <a:pt x="39891" y="12859"/>
                      </a:lnTo>
                      <a:lnTo>
                        <a:pt x="38815" y="12918"/>
                      </a:lnTo>
                      <a:lnTo>
                        <a:pt x="33133" y="13337"/>
                      </a:lnTo>
                      <a:lnTo>
                        <a:pt x="30442" y="13636"/>
                      </a:lnTo>
                      <a:lnTo>
                        <a:pt x="24282" y="14354"/>
                      </a:lnTo>
                      <a:lnTo>
                        <a:pt x="17942" y="15789"/>
                      </a:lnTo>
                      <a:lnTo>
                        <a:pt x="17344" y="15909"/>
                      </a:lnTo>
                      <a:lnTo>
                        <a:pt x="13218" y="17105"/>
                      </a:lnTo>
                      <a:lnTo>
                        <a:pt x="8792" y="18361"/>
                      </a:lnTo>
                      <a:lnTo>
                        <a:pt x="8134" y="18600"/>
                      </a:lnTo>
                      <a:lnTo>
                        <a:pt x="4964" y="19796"/>
                      </a:lnTo>
                      <a:lnTo>
                        <a:pt x="4426" y="19976"/>
                      </a:lnTo>
                      <a:lnTo>
                        <a:pt x="3708" y="20215"/>
                      </a:lnTo>
                      <a:lnTo>
                        <a:pt x="2093" y="18720"/>
                      </a:lnTo>
                      <a:lnTo>
                        <a:pt x="1555" y="18241"/>
                      </a:lnTo>
                      <a:lnTo>
                        <a:pt x="1435" y="18062"/>
                      </a:lnTo>
                      <a:lnTo>
                        <a:pt x="299" y="15969"/>
                      </a:lnTo>
                      <a:lnTo>
                        <a:pt x="0" y="14533"/>
                      </a:lnTo>
                      <a:lnTo>
                        <a:pt x="60" y="14473"/>
                      </a:lnTo>
                      <a:lnTo>
                        <a:pt x="120" y="14414"/>
                      </a:lnTo>
                      <a:lnTo>
                        <a:pt x="1316" y="12380"/>
                      </a:lnTo>
                      <a:lnTo>
                        <a:pt x="2093" y="11124"/>
                      </a:lnTo>
                    </a:path>
                  </a:pathLst>
                </a:custGeom>
                <a:noFill/>
                <a:ln w="6350" cap="rnd">
                  <a:solidFill>
                    <a:schemeClr val="bg1">
                      <a:alpha val="40000"/>
                    </a:schemeClr>
                  </a:solidFill>
                  <a:prstDash val="solid"/>
                  <a:round/>
                </a:ln>
              </p:spPr>
              <p:txBody>
                <a:bodyPr rtlCol="0" anchor="ctr"/>
                <a:lstStyle/>
                <a:p>
                  <a:endParaRPr lang="en-GB"/>
                </a:p>
              </p:txBody>
            </p:sp>
            <p:sp>
              <p:nvSpPr>
                <p:cNvPr id="6518" name="Vrije vorm: vorm 6517">
                  <a:extLst>
                    <a:ext uri="{FF2B5EF4-FFF2-40B4-BE49-F238E27FC236}">
                      <a16:creationId xmlns:a16="http://schemas.microsoft.com/office/drawing/2014/main" id="{4AA195FA-4A5F-49E2-BACA-BBA8DB02E72F}"/>
                    </a:ext>
                  </a:extLst>
                </p:cNvPr>
                <p:cNvSpPr/>
                <p:nvPr/>
              </p:nvSpPr>
              <p:spPr>
                <a:xfrm>
                  <a:off x="7061458" y="1813873"/>
                  <a:ext cx="43599" cy="40728"/>
                </a:xfrm>
                <a:custGeom>
                  <a:avLst/>
                  <a:gdLst>
                    <a:gd name="connsiteX0" fmla="*/ 43300 w 43599"/>
                    <a:gd name="connsiteY0" fmla="*/ 5682 h 40728"/>
                    <a:gd name="connsiteX1" fmla="*/ 43600 w 43599"/>
                    <a:gd name="connsiteY1" fmla="*/ 6758 h 40728"/>
                    <a:gd name="connsiteX2" fmla="*/ 24043 w 43599"/>
                    <a:gd name="connsiteY2" fmla="*/ 40131 h 40728"/>
                    <a:gd name="connsiteX3" fmla="*/ 21770 w 43599"/>
                    <a:gd name="connsiteY3" fmla="*/ 40729 h 40728"/>
                    <a:gd name="connsiteX4" fmla="*/ 13935 w 43599"/>
                    <a:gd name="connsiteY4" fmla="*/ 36243 h 40728"/>
                    <a:gd name="connsiteX5" fmla="*/ 12799 w 43599"/>
                    <a:gd name="connsiteY5" fmla="*/ 35585 h 40728"/>
                    <a:gd name="connsiteX6" fmla="*/ 11902 w 43599"/>
                    <a:gd name="connsiteY6" fmla="*/ 35107 h 40728"/>
                    <a:gd name="connsiteX7" fmla="*/ 11304 w 43599"/>
                    <a:gd name="connsiteY7" fmla="*/ 34748 h 40728"/>
                    <a:gd name="connsiteX8" fmla="*/ 10825 w 43599"/>
                    <a:gd name="connsiteY8" fmla="*/ 34449 h 40728"/>
                    <a:gd name="connsiteX9" fmla="*/ 10646 w 43599"/>
                    <a:gd name="connsiteY9" fmla="*/ 34329 h 40728"/>
                    <a:gd name="connsiteX10" fmla="*/ 10526 w 43599"/>
                    <a:gd name="connsiteY10" fmla="*/ 34270 h 40728"/>
                    <a:gd name="connsiteX11" fmla="*/ 10227 w 43599"/>
                    <a:gd name="connsiteY11" fmla="*/ 34090 h 40728"/>
                    <a:gd name="connsiteX12" fmla="*/ 9749 w 43599"/>
                    <a:gd name="connsiteY12" fmla="*/ 33791 h 40728"/>
                    <a:gd name="connsiteX13" fmla="*/ 9749 w 43599"/>
                    <a:gd name="connsiteY13" fmla="*/ 33791 h 40728"/>
                    <a:gd name="connsiteX14" fmla="*/ 8851 w 43599"/>
                    <a:gd name="connsiteY14" fmla="*/ 33253 h 40728"/>
                    <a:gd name="connsiteX15" fmla="*/ 1615 w 43599"/>
                    <a:gd name="connsiteY15" fmla="*/ 29066 h 40728"/>
                    <a:gd name="connsiteX16" fmla="*/ 957 w 43599"/>
                    <a:gd name="connsiteY16" fmla="*/ 28707 h 40728"/>
                    <a:gd name="connsiteX17" fmla="*/ 778 w 43599"/>
                    <a:gd name="connsiteY17" fmla="*/ 28588 h 40728"/>
                    <a:gd name="connsiteX18" fmla="*/ 658 w 43599"/>
                    <a:gd name="connsiteY18" fmla="*/ 28408 h 40728"/>
                    <a:gd name="connsiteX19" fmla="*/ 598 w 43599"/>
                    <a:gd name="connsiteY19" fmla="*/ 28289 h 40728"/>
                    <a:gd name="connsiteX20" fmla="*/ 299 w 43599"/>
                    <a:gd name="connsiteY20" fmla="*/ 27152 h 40728"/>
                    <a:gd name="connsiteX21" fmla="*/ 120 w 43599"/>
                    <a:gd name="connsiteY21" fmla="*/ 26554 h 40728"/>
                    <a:gd name="connsiteX22" fmla="*/ 120 w 43599"/>
                    <a:gd name="connsiteY22" fmla="*/ 26554 h 40728"/>
                    <a:gd name="connsiteX23" fmla="*/ 120 w 43599"/>
                    <a:gd name="connsiteY23" fmla="*/ 26554 h 40728"/>
                    <a:gd name="connsiteX24" fmla="*/ 60 w 43599"/>
                    <a:gd name="connsiteY24" fmla="*/ 26255 h 40728"/>
                    <a:gd name="connsiteX25" fmla="*/ 0 w 43599"/>
                    <a:gd name="connsiteY25" fmla="*/ 26076 h 40728"/>
                    <a:gd name="connsiteX26" fmla="*/ 299 w 43599"/>
                    <a:gd name="connsiteY26" fmla="*/ 25538 h 40728"/>
                    <a:gd name="connsiteX27" fmla="*/ 778 w 43599"/>
                    <a:gd name="connsiteY27" fmla="*/ 24760 h 40728"/>
                    <a:gd name="connsiteX28" fmla="*/ 837 w 43599"/>
                    <a:gd name="connsiteY28" fmla="*/ 24700 h 40728"/>
                    <a:gd name="connsiteX29" fmla="*/ 837 w 43599"/>
                    <a:gd name="connsiteY29" fmla="*/ 24700 h 40728"/>
                    <a:gd name="connsiteX30" fmla="*/ 1914 w 43599"/>
                    <a:gd name="connsiteY30" fmla="*/ 22846 h 40728"/>
                    <a:gd name="connsiteX31" fmla="*/ 3947 w 43599"/>
                    <a:gd name="connsiteY31" fmla="*/ 19378 h 40728"/>
                    <a:gd name="connsiteX32" fmla="*/ 4605 w 43599"/>
                    <a:gd name="connsiteY32" fmla="*/ 18241 h 40728"/>
                    <a:gd name="connsiteX33" fmla="*/ 6698 w 43599"/>
                    <a:gd name="connsiteY33" fmla="*/ 14653 h 40728"/>
                    <a:gd name="connsiteX34" fmla="*/ 15251 w 43599"/>
                    <a:gd name="connsiteY34" fmla="*/ 0 h 4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3599" h="40728">
                      <a:moveTo>
                        <a:pt x="43300" y="5682"/>
                      </a:moveTo>
                      <a:lnTo>
                        <a:pt x="43600" y="6758"/>
                      </a:lnTo>
                      <a:lnTo>
                        <a:pt x="24043" y="40131"/>
                      </a:lnTo>
                      <a:lnTo>
                        <a:pt x="21770" y="40729"/>
                      </a:lnTo>
                      <a:lnTo>
                        <a:pt x="13935" y="36243"/>
                      </a:lnTo>
                      <a:lnTo>
                        <a:pt x="12799" y="35585"/>
                      </a:lnTo>
                      <a:lnTo>
                        <a:pt x="11902" y="35107"/>
                      </a:lnTo>
                      <a:lnTo>
                        <a:pt x="11304" y="34748"/>
                      </a:lnTo>
                      <a:lnTo>
                        <a:pt x="10825" y="34449"/>
                      </a:lnTo>
                      <a:lnTo>
                        <a:pt x="10646" y="34329"/>
                      </a:lnTo>
                      <a:lnTo>
                        <a:pt x="10526" y="34270"/>
                      </a:lnTo>
                      <a:lnTo>
                        <a:pt x="10227" y="34090"/>
                      </a:lnTo>
                      <a:lnTo>
                        <a:pt x="9749" y="33791"/>
                      </a:lnTo>
                      <a:lnTo>
                        <a:pt x="9749" y="33791"/>
                      </a:lnTo>
                      <a:lnTo>
                        <a:pt x="8851" y="33253"/>
                      </a:lnTo>
                      <a:lnTo>
                        <a:pt x="1615" y="29066"/>
                      </a:lnTo>
                      <a:lnTo>
                        <a:pt x="957" y="28707"/>
                      </a:lnTo>
                      <a:lnTo>
                        <a:pt x="778" y="28588"/>
                      </a:lnTo>
                      <a:lnTo>
                        <a:pt x="658" y="28408"/>
                      </a:lnTo>
                      <a:lnTo>
                        <a:pt x="598" y="28289"/>
                      </a:lnTo>
                      <a:lnTo>
                        <a:pt x="299" y="27152"/>
                      </a:lnTo>
                      <a:lnTo>
                        <a:pt x="120" y="26554"/>
                      </a:lnTo>
                      <a:lnTo>
                        <a:pt x="120" y="26554"/>
                      </a:lnTo>
                      <a:lnTo>
                        <a:pt x="120" y="26554"/>
                      </a:lnTo>
                      <a:lnTo>
                        <a:pt x="60" y="26255"/>
                      </a:lnTo>
                      <a:lnTo>
                        <a:pt x="0" y="26076"/>
                      </a:lnTo>
                      <a:lnTo>
                        <a:pt x="299" y="25538"/>
                      </a:lnTo>
                      <a:lnTo>
                        <a:pt x="778" y="24760"/>
                      </a:lnTo>
                      <a:lnTo>
                        <a:pt x="837" y="24700"/>
                      </a:lnTo>
                      <a:lnTo>
                        <a:pt x="837" y="24700"/>
                      </a:lnTo>
                      <a:lnTo>
                        <a:pt x="1914" y="22846"/>
                      </a:lnTo>
                      <a:lnTo>
                        <a:pt x="3947" y="19378"/>
                      </a:lnTo>
                      <a:lnTo>
                        <a:pt x="4605" y="18241"/>
                      </a:lnTo>
                      <a:lnTo>
                        <a:pt x="6698" y="14653"/>
                      </a:lnTo>
                      <a:lnTo>
                        <a:pt x="15251" y="0"/>
                      </a:lnTo>
                    </a:path>
                  </a:pathLst>
                </a:custGeom>
                <a:noFill/>
                <a:ln w="6350" cap="rnd">
                  <a:solidFill>
                    <a:schemeClr val="bg1">
                      <a:alpha val="40000"/>
                    </a:schemeClr>
                  </a:solidFill>
                  <a:prstDash val="solid"/>
                  <a:round/>
                </a:ln>
              </p:spPr>
              <p:txBody>
                <a:bodyPr rtlCol="0" anchor="ctr"/>
                <a:lstStyle/>
                <a:p>
                  <a:endParaRPr lang="en-GB"/>
                </a:p>
              </p:txBody>
            </p:sp>
            <p:sp>
              <p:nvSpPr>
                <p:cNvPr id="6519" name="Vrije vorm: vorm 6518">
                  <a:extLst>
                    <a:ext uri="{FF2B5EF4-FFF2-40B4-BE49-F238E27FC236}">
                      <a16:creationId xmlns:a16="http://schemas.microsoft.com/office/drawing/2014/main" id="{698F8158-E414-4A4E-BC74-6EA7252C2900}"/>
                    </a:ext>
                  </a:extLst>
                </p:cNvPr>
                <p:cNvSpPr/>
                <p:nvPr/>
              </p:nvSpPr>
              <p:spPr>
                <a:xfrm>
                  <a:off x="6858711" y="1706639"/>
                  <a:ext cx="2512" cy="1674"/>
                </a:xfrm>
                <a:custGeom>
                  <a:avLst/>
                  <a:gdLst>
                    <a:gd name="connsiteX0" fmla="*/ 2512 w 2512"/>
                    <a:gd name="connsiteY0" fmla="*/ 1376 h 1674"/>
                    <a:gd name="connsiteX1" fmla="*/ 2273 w 2512"/>
                    <a:gd name="connsiteY1" fmla="*/ 1675 h 1674"/>
                    <a:gd name="connsiteX2" fmla="*/ 2033 w 2512"/>
                    <a:gd name="connsiteY2" fmla="*/ 1555 h 1674"/>
                    <a:gd name="connsiteX3" fmla="*/ 658 w 2512"/>
                    <a:gd name="connsiteY3" fmla="*/ 777 h 1674"/>
                    <a:gd name="connsiteX4" fmla="*/ 0 w 2512"/>
                    <a:gd name="connsiteY4" fmla="*/ 419 h 1674"/>
                    <a:gd name="connsiteX5" fmla="*/ 239 w 2512"/>
                    <a:gd name="connsiteY5" fmla="*/ 0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2" h="1674">
                      <a:moveTo>
                        <a:pt x="2512" y="1376"/>
                      </a:moveTo>
                      <a:lnTo>
                        <a:pt x="2273" y="1675"/>
                      </a:lnTo>
                      <a:lnTo>
                        <a:pt x="2033" y="1555"/>
                      </a:lnTo>
                      <a:lnTo>
                        <a:pt x="658" y="777"/>
                      </a:lnTo>
                      <a:lnTo>
                        <a:pt x="0" y="419"/>
                      </a:lnTo>
                      <a:lnTo>
                        <a:pt x="239" y="0"/>
                      </a:lnTo>
                    </a:path>
                  </a:pathLst>
                </a:custGeom>
                <a:noFill/>
                <a:ln w="6350" cap="rnd">
                  <a:solidFill>
                    <a:schemeClr val="bg1">
                      <a:alpha val="40000"/>
                    </a:schemeClr>
                  </a:solidFill>
                  <a:prstDash val="solid"/>
                  <a:round/>
                </a:ln>
              </p:spPr>
              <p:txBody>
                <a:bodyPr rtlCol="0" anchor="ctr"/>
                <a:lstStyle/>
                <a:p>
                  <a:endParaRPr lang="en-GB"/>
                </a:p>
              </p:txBody>
            </p:sp>
            <p:sp>
              <p:nvSpPr>
                <p:cNvPr id="6520" name="Vrije vorm: vorm 6519">
                  <a:extLst>
                    <a:ext uri="{FF2B5EF4-FFF2-40B4-BE49-F238E27FC236}">
                      <a16:creationId xmlns:a16="http://schemas.microsoft.com/office/drawing/2014/main" id="{1827E6E6-D444-4C7D-9590-C7F756255638}"/>
                    </a:ext>
                  </a:extLst>
                </p:cNvPr>
                <p:cNvSpPr/>
                <p:nvPr/>
              </p:nvSpPr>
              <p:spPr>
                <a:xfrm>
                  <a:off x="7072702" y="1827808"/>
                  <a:ext cx="2512" cy="1674"/>
                </a:xfrm>
                <a:custGeom>
                  <a:avLst/>
                  <a:gdLst>
                    <a:gd name="connsiteX0" fmla="*/ 2512 w 2512"/>
                    <a:gd name="connsiteY0" fmla="*/ 1316 h 1674"/>
                    <a:gd name="connsiteX1" fmla="*/ 2333 w 2512"/>
                    <a:gd name="connsiteY1" fmla="*/ 1675 h 1674"/>
                    <a:gd name="connsiteX2" fmla="*/ 2273 w 2512"/>
                    <a:gd name="connsiteY2" fmla="*/ 1675 h 1674"/>
                    <a:gd name="connsiteX3" fmla="*/ 837 w 2512"/>
                    <a:gd name="connsiteY3" fmla="*/ 897 h 1674"/>
                    <a:gd name="connsiteX4" fmla="*/ 0 w 2512"/>
                    <a:gd name="connsiteY4" fmla="*/ 419 h 1674"/>
                    <a:gd name="connsiteX5" fmla="*/ 239 w 2512"/>
                    <a:gd name="connsiteY5" fmla="*/ 0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2" h="1674">
                      <a:moveTo>
                        <a:pt x="2512" y="1316"/>
                      </a:moveTo>
                      <a:lnTo>
                        <a:pt x="2333" y="1675"/>
                      </a:lnTo>
                      <a:lnTo>
                        <a:pt x="2273" y="1675"/>
                      </a:lnTo>
                      <a:lnTo>
                        <a:pt x="837" y="897"/>
                      </a:lnTo>
                      <a:lnTo>
                        <a:pt x="0" y="419"/>
                      </a:lnTo>
                      <a:lnTo>
                        <a:pt x="239" y="0"/>
                      </a:lnTo>
                    </a:path>
                  </a:pathLst>
                </a:custGeom>
                <a:noFill/>
                <a:ln w="6350" cap="rnd">
                  <a:solidFill>
                    <a:schemeClr val="bg1">
                      <a:alpha val="40000"/>
                    </a:schemeClr>
                  </a:solidFill>
                  <a:prstDash val="solid"/>
                  <a:round/>
                </a:ln>
              </p:spPr>
              <p:txBody>
                <a:bodyPr rtlCol="0" anchor="ctr"/>
                <a:lstStyle/>
                <a:p>
                  <a:endParaRPr lang="en-GB"/>
                </a:p>
              </p:txBody>
            </p:sp>
            <p:sp>
              <p:nvSpPr>
                <p:cNvPr id="6521" name="Vrije vorm: vorm 6520">
                  <a:extLst>
                    <a:ext uri="{FF2B5EF4-FFF2-40B4-BE49-F238E27FC236}">
                      <a16:creationId xmlns:a16="http://schemas.microsoft.com/office/drawing/2014/main" id="{9A7D5DF7-E8D0-4CB6-84E1-C854FB6C6D3C}"/>
                    </a:ext>
                  </a:extLst>
                </p:cNvPr>
                <p:cNvSpPr/>
                <p:nvPr/>
              </p:nvSpPr>
              <p:spPr>
                <a:xfrm>
                  <a:off x="6923363" y="2054896"/>
                  <a:ext cx="34687" cy="17463"/>
                </a:xfrm>
                <a:custGeom>
                  <a:avLst/>
                  <a:gdLst>
                    <a:gd name="connsiteX0" fmla="*/ 10765 w 34687"/>
                    <a:gd name="connsiteY0" fmla="*/ 0 h 17463"/>
                    <a:gd name="connsiteX1" fmla="*/ 13815 w 34687"/>
                    <a:gd name="connsiteY1" fmla="*/ 1136 h 17463"/>
                    <a:gd name="connsiteX2" fmla="*/ 16028 w 34687"/>
                    <a:gd name="connsiteY2" fmla="*/ 1974 h 17463"/>
                    <a:gd name="connsiteX3" fmla="*/ 17763 w 34687"/>
                    <a:gd name="connsiteY3" fmla="*/ 2632 h 17463"/>
                    <a:gd name="connsiteX4" fmla="*/ 18002 w 34687"/>
                    <a:gd name="connsiteY4" fmla="*/ 2691 h 17463"/>
                    <a:gd name="connsiteX5" fmla="*/ 25597 w 34687"/>
                    <a:gd name="connsiteY5" fmla="*/ 7775 h 17463"/>
                    <a:gd name="connsiteX6" fmla="*/ 29425 w 34687"/>
                    <a:gd name="connsiteY6" fmla="*/ 10347 h 17463"/>
                    <a:gd name="connsiteX7" fmla="*/ 29724 w 34687"/>
                    <a:gd name="connsiteY7" fmla="*/ 10526 h 17463"/>
                    <a:gd name="connsiteX8" fmla="*/ 31159 w 34687"/>
                    <a:gd name="connsiteY8" fmla="*/ 11603 h 17463"/>
                    <a:gd name="connsiteX9" fmla="*/ 31877 w 34687"/>
                    <a:gd name="connsiteY9" fmla="*/ 12141 h 17463"/>
                    <a:gd name="connsiteX10" fmla="*/ 33014 w 34687"/>
                    <a:gd name="connsiteY10" fmla="*/ 13038 h 17463"/>
                    <a:gd name="connsiteX11" fmla="*/ 34688 w 34687"/>
                    <a:gd name="connsiteY11" fmla="*/ 14713 h 17463"/>
                    <a:gd name="connsiteX12" fmla="*/ 34329 w 34687"/>
                    <a:gd name="connsiteY12" fmla="*/ 15311 h 17463"/>
                    <a:gd name="connsiteX13" fmla="*/ 33193 w 34687"/>
                    <a:gd name="connsiteY13" fmla="*/ 17165 h 17463"/>
                    <a:gd name="connsiteX14" fmla="*/ 32296 w 34687"/>
                    <a:gd name="connsiteY14" fmla="*/ 17464 h 17463"/>
                    <a:gd name="connsiteX15" fmla="*/ 29904 w 34687"/>
                    <a:gd name="connsiteY15" fmla="*/ 16686 h 17463"/>
                    <a:gd name="connsiteX16" fmla="*/ 29844 w 34687"/>
                    <a:gd name="connsiteY16" fmla="*/ 16686 h 17463"/>
                    <a:gd name="connsiteX17" fmla="*/ 28827 w 34687"/>
                    <a:gd name="connsiteY17" fmla="*/ 16327 h 17463"/>
                    <a:gd name="connsiteX18" fmla="*/ 23803 w 34687"/>
                    <a:gd name="connsiteY18" fmla="*/ 14653 h 17463"/>
                    <a:gd name="connsiteX19" fmla="*/ 23444 w 34687"/>
                    <a:gd name="connsiteY19" fmla="*/ 14533 h 17463"/>
                    <a:gd name="connsiteX20" fmla="*/ 23384 w 34687"/>
                    <a:gd name="connsiteY20" fmla="*/ 14533 h 17463"/>
                    <a:gd name="connsiteX21" fmla="*/ 22248 w 34687"/>
                    <a:gd name="connsiteY21" fmla="*/ 14174 h 17463"/>
                    <a:gd name="connsiteX22" fmla="*/ 19138 w 34687"/>
                    <a:gd name="connsiteY22" fmla="*/ 13158 h 17463"/>
                    <a:gd name="connsiteX23" fmla="*/ 16327 w 34687"/>
                    <a:gd name="connsiteY23" fmla="*/ 12201 h 17463"/>
                    <a:gd name="connsiteX24" fmla="*/ 15490 w 34687"/>
                    <a:gd name="connsiteY24" fmla="*/ 11902 h 17463"/>
                    <a:gd name="connsiteX25" fmla="*/ 10705 w 34687"/>
                    <a:gd name="connsiteY25" fmla="*/ 9629 h 17463"/>
                    <a:gd name="connsiteX26" fmla="*/ 9629 w 34687"/>
                    <a:gd name="connsiteY26" fmla="*/ 8971 h 17463"/>
                    <a:gd name="connsiteX27" fmla="*/ 6937 w 34687"/>
                    <a:gd name="connsiteY27" fmla="*/ 7416 h 17463"/>
                    <a:gd name="connsiteX28" fmla="*/ 6639 w 34687"/>
                    <a:gd name="connsiteY28" fmla="*/ 7237 h 17463"/>
                    <a:gd name="connsiteX29" fmla="*/ 5861 w 34687"/>
                    <a:gd name="connsiteY29" fmla="*/ 6758 h 17463"/>
                    <a:gd name="connsiteX30" fmla="*/ 5741 w 34687"/>
                    <a:gd name="connsiteY30" fmla="*/ 6698 h 17463"/>
                    <a:gd name="connsiteX31" fmla="*/ 2871 w 34687"/>
                    <a:gd name="connsiteY31" fmla="*/ 4844 h 17463"/>
                    <a:gd name="connsiteX32" fmla="*/ 897 w 34687"/>
                    <a:gd name="connsiteY32" fmla="*/ 3588 h 17463"/>
                    <a:gd name="connsiteX33" fmla="*/ 837 w 34687"/>
                    <a:gd name="connsiteY33" fmla="*/ 3529 h 17463"/>
                    <a:gd name="connsiteX34" fmla="*/ 538 w 34687"/>
                    <a:gd name="connsiteY34" fmla="*/ 3349 h 17463"/>
                    <a:gd name="connsiteX35" fmla="*/ 0 w 34687"/>
                    <a:gd name="connsiteY35" fmla="*/ 2990 h 17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4687" h="17463">
                      <a:moveTo>
                        <a:pt x="10765" y="0"/>
                      </a:moveTo>
                      <a:lnTo>
                        <a:pt x="13815" y="1136"/>
                      </a:lnTo>
                      <a:lnTo>
                        <a:pt x="16028" y="1974"/>
                      </a:lnTo>
                      <a:lnTo>
                        <a:pt x="17763" y="2632"/>
                      </a:lnTo>
                      <a:lnTo>
                        <a:pt x="18002" y="2691"/>
                      </a:lnTo>
                      <a:lnTo>
                        <a:pt x="25597" y="7775"/>
                      </a:lnTo>
                      <a:lnTo>
                        <a:pt x="29425" y="10347"/>
                      </a:lnTo>
                      <a:lnTo>
                        <a:pt x="29724" y="10526"/>
                      </a:lnTo>
                      <a:lnTo>
                        <a:pt x="31159" y="11603"/>
                      </a:lnTo>
                      <a:lnTo>
                        <a:pt x="31877" y="12141"/>
                      </a:lnTo>
                      <a:lnTo>
                        <a:pt x="33014" y="13038"/>
                      </a:lnTo>
                      <a:lnTo>
                        <a:pt x="34688" y="14713"/>
                      </a:lnTo>
                      <a:lnTo>
                        <a:pt x="34329" y="15311"/>
                      </a:lnTo>
                      <a:lnTo>
                        <a:pt x="33193" y="17165"/>
                      </a:lnTo>
                      <a:lnTo>
                        <a:pt x="32296" y="17464"/>
                      </a:lnTo>
                      <a:lnTo>
                        <a:pt x="29904" y="16686"/>
                      </a:lnTo>
                      <a:lnTo>
                        <a:pt x="29844" y="16686"/>
                      </a:lnTo>
                      <a:lnTo>
                        <a:pt x="28827" y="16327"/>
                      </a:lnTo>
                      <a:lnTo>
                        <a:pt x="23803" y="14653"/>
                      </a:lnTo>
                      <a:lnTo>
                        <a:pt x="23444" y="14533"/>
                      </a:lnTo>
                      <a:lnTo>
                        <a:pt x="23384" y="14533"/>
                      </a:lnTo>
                      <a:lnTo>
                        <a:pt x="22248" y="14174"/>
                      </a:lnTo>
                      <a:lnTo>
                        <a:pt x="19138" y="13158"/>
                      </a:lnTo>
                      <a:lnTo>
                        <a:pt x="16327" y="12201"/>
                      </a:lnTo>
                      <a:lnTo>
                        <a:pt x="15490" y="11902"/>
                      </a:lnTo>
                      <a:lnTo>
                        <a:pt x="10705" y="9629"/>
                      </a:lnTo>
                      <a:lnTo>
                        <a:pt x="9629" y="8971"/>
                      </a:lnTo>
                      <a:lnTo>
                        <a:pt x="6937" y="7416"/>
                      </a:lnTo>
                      <a:lnTo>
                        <a:pt x="6639" y="7237"/>
                      </a:lnTo>
                      <a:lnTo>
                        <a:pt x="5861" y="6758"/>
                      </a:lnTo>
                      <a:lnTo>
                        <a:pt x="5741" y="6698"/>
                      </a:lnTo>
                      <a:lnTo>
                        <a:pt x="2871" y="4844"/>
                      </a:lnTo>
                      <a:lnTo>
                        <a:pt x="897" y="3588"/>
                      </a:lnTo>
                      <a:lnTo>
                        <a:pt x="837" y="3529"/>
                      </a:lnTo>
                      <a:lnTo>
                        <a:pt x="538" y="3349"/>
                      </a:lnTo>
                      <a:lnTo>
                        <a:pt x="0" y="2990"/>
                      </a:lnTo>
                    </a:path>
                  </a:pathLst>
                </a:custGeom>
                <a:noFill/>
                <a:ln w="6350" cap="rnd">
                  <a:solidFill>
                    <a:schemeClr val="bg1">
                      <a:alpha val="40000"/>
                    </a:schemeClr>
                  </a:solidFill>
                  <a:prstDash val="solid"/>
                  <a:round/>
                </a:ln>
              </p:spPr>
              <p:txBody>
                <a:bodyPr rtlCol="0" anchor="ctr"/>
                <a:lstStyle/>
                <a:p>
                  <a:endParaRPr lang="en-GB"/>
                </a:p>
              </p:txBody>
            </p:sp>
            <p:sp>
              <p:nvSpPr>
                <p:cNvPr id="6522" name="Vrije vorm: vorm 6521">
                  <a:extLst>
                    <a:ext uri="{FF2B5EF4-FFF2-40B4-BE49-F238E27FC236}">
                      <a16:creationId xmlns:a16="http://schemas.microsoft.com/office/drawing/2014/main" id="{5359414C-705F-42E0-8001-FD99993D51CD}"/>
                    </a:ext>
                  </a:extLst>
                </p:cNvPr>
                <p:cNvSpPr/>
                <p:nvPr/>
              </p:nvSpPr>
              <p:spPr>
                <a:xfrm>
                  <a:off x="6995610" y="1877807"/>
                  <a:ext cx="48503" cy="33731"/>
                </a:xfrm>
                <a:custGeom>
                  <a:avLst/>
                  <a:gdLst>
                    <a:gd name="connsiteX0" fmla="*/ 48504 w 48503"/>
                    <a:gd name="connsiteY0" fmla="*/ 0 h 33731"/>
                    <a:gd name="connsiteX1" fmla="*/ 47368 w 48503"/>
                    <a:gd name="connsiteY1" fmla="*/ 2691 h 33731"/>
                    <a:gd name="connsiteX2" fmla="*/ 47248 w 48503"/>
                    <a:gd name="connsiteY2" fmla="*/ 2990 h 33731"/>
                    <a:gd name="connsiteX3" fmla="*/ 47188 w 48503"/>
                    <a:gd name="connsiteY3" fmla="*/ 3110 h 33731"/>
                    <a:gd name="connsiteX4" fmla="*/ 47188 w 48503"/>
                    <a:gd name="connsiteY4" fmla="*/ 3110 h 33731"/>
                    <a:gd name="connsiteX5" fmla="*/ 47128 w 48503"/>
                    <a:gd name="connsiteY5" fmla="*/ 3170 h 33731"/>
                    <a:gd name="connsiteX6" fmla="*/ 46829 w 48503"/>
                    <a:gd name="connsiteY6" fmla="*/ 3828 h 33731"/>
                    <a:gd name="connsiteX7" fmla="*/ 46530 w 48503"/>
                    <a:gd name="connsiteY7" fmla="*/ 4545 h 33731"/>
                    <a:gd name="connsiteX8" fmla="*/ 46470 w 48503"/>
                    <a:gd name="connsiteY8" fmla="*/ 4605 h 33731"/>
                    <a:gd name="connsiteX9" fmla="*/ 46470 w 48503"/>
                    <a:gd name="connsiteY9" fmla="*/ 4605 h 33731"/>
                    <a:gd name="connsiteX10" fmla="*/ 46470 w 48503"/>
                    <a:gd name="connsiteY10" fmla="*/ 4605 h 33731"/>
                    <a:gd name="connsiteX11" fmla="*/ 45932 w 48503"/>
                    <a:gd name="connsiteY11" fmla="*/ 5263 h 33731"/>
                    <a:gd name="connsiteX12" fmla="*/ 45693 w 48503"/>
                    <a:gd name="connsiteY12" fmla="*/ 5502 h 33731"/>
                    <a:gd name="connsiteX13" fmla="*/ 45155 w 48503"/>
                    <a:gd name="connsiteY13" fmla="*/ 6160 h 33731"/>
                    <a:gd name="connsiteX14" fmla="*/ 44676 w 48503"/>
                    <a:gd name="connsiteY14" fmla="*/ 6698 h 33731"/>
                    <a:gd name="connsiteX15" fmla="*/ 42702 w 48503"/>
                    <a:gd name="connsiteY15" fmla="*/ 8014 h 33731"/>
                    <a:gd name="connsiteX16" fmla="*/ 42702 w 48503"/>
                    <a:gd name="connsiteY16" fmla="*/ 8014 h 33731"/>
                    <a:gd name="connsiteX17" fmla="*/ 42702 w 48503"/>
                    <a:gd name="connsiteY17" fmla="*/ 8014 h 33731"/>
                    <a:gd name="connsiteX18" fmla="*/ 42463 w 48503"/>
                    <a:gd name="connsiteY18" fmla="*/ 8074 h 33731"/>
                    <a:gd name="connsiteX19" fmla="*/ 40310 w 48503"/>
                    <a:gd name="connsiteY19" fmla="*/ 8493 h 33731"/>
                    <a:gd name="connsiteX20" fmla="*/ 34329 w 48503"/>
                    <a:gd name="connsiteY20" fmla="*/ 9689 h 33731"/>
                    <a:gd name="connsiteX21" fmla="*/ 25358 w 48503"/>
                    <a:gd name="connsiteY21" fmla="*/ 13815 h 33731"/>
                    <a:gd name="connsiteX22" fmla="*/ 24162 w 48503"/>
                    <a:gd name="connsiteY22" fmla="*/ 14593 h 33731"/>
                    <a:gd name="connsiteX23" fmla="*/ 23923 w 48503"/>
                    <a:gd name="connsiteY23" fmla="*/ 14713 h 33731"/>
                    <a:gd name="connsiteX24" fmla="*/ 14952 w 48503"/>
                    <a:gd name="connsiteY24" fmla="*/ 20215 h 33731"/>
                    <a:gd name="connsiteX25" fmla="*/ 14652 w 48503"/>
                    <a:gd name="connsiteY25" fmla="*/ 20394 h 33731"/>
                    <a:gd name="connsiteX26" fmla="*/ 13876 w 48503"/>
                    <a:gd name="connsiteY26" fmla="*/ 20992 h 33731"/>
                    <a:gd name="connsiteX27" fmla="*/ 4605 w 48503"/>
                    <a:gd name="connsiteY27" fmla="*/ 28408 h 33731"/>
                    <a:gd name="connsiteX28" fmla="*/ 4605 w 48503"/>
                    <a:gd name="connsiteY28" fmla="*/ 28408 h 33731"/>
                    <a:gd name="connsiteX29" fmla="*/ 4486 w 48503"/>
                    <a:gd name="connsiteY29" fmla="*/ 28468 h 33731"/>
                    <a:gd name="connsiteX30" fmla="*/ 2691 w 48503"/>
                    <a:gd name="connsiteY30" fmla="*/ 30561 h 33731"/>
                    <a:gd name="connsiteX31" fmla="*/ 1077 w 48503"/>
                    <a:gd name="connsiteY31" fmla="*/ 32415 h 33731"/>
                    <a:gd name="connsiteX32" fmla="*/ 897 w 48503"/>
                    <a:gd name="connsiteY32" fmla="*/ 32655 h 33731"/>
                    <a:gd name="connsiteX33" fmla="*/ 0 w 48503"/>
                    <a:gd name="connsiteY33" fmla="*/ 33731 h 3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503" h="33731">
                      <a:moveTo>
                        <a:pt x="48504" y="0"/>
                      </a:moveTo>
                      <a:lnTo>
                        <a:pt x="47368" y="2691"/>
                      </a:lnTo>
                      <a:lnTo>
                        <a:pt x="47248" y="2990"/>
                      </a:lnTo>
                      <a:lnTo>
                        <a:pt x="47188" y="3110"/>
                      </a:lnTo>
                      <a:lnTo>
                        <a:pt x="47188" y="3110"/>
                      </a:lnTo>
                      <a:lnTo>
                        <a:pt x="47128" y="3170"/>
                      </a:lnTo>
                      <a:lnTo>
                        <a:pt x="46829" y="3828"/>
                      </a:lnTo>
                      <a:lnTo>
                        <a:pt x="46530" y="4545"/>
                      </a:lnTo>
                      <a:lnTo>
                        <a:pt x="46470" y="4605"/>
                      </a:lnTo>
                      <a:lnTo>
                        <a:pt x="46470" y="4605"/>
                      </a:lnTo>
                      <a:lnTo>
                        <a:pt x="46470" y="4605"/>
                      </a:lnTo>
                      <a:lnTo>
                        <a:pt x="45932" y="5263"/>
                      </a:lnTo>
                      <a:lnTo>
                        <a:pt x="45693" y="5502"/>
                      </a:lnTo>
                      <a:lnTo>
                        <a:pt x="45155" y="6160"/>
                      </a:lnTo>
                      <a:lnTo>
                        <a:pt x="44676" y="6698"/>
                      </a:lnTo>
                      <a:lnTo>
                        <a:pt x="42702" y="8014"/>
                      </a:lnTo>
                      <a:lnTo>
                        <a:pt x="42702" y="8014"/>
                      </a:lnTo>
                      <a:lnTo>
                        <a:pt x="42702" y="8014"/>
                      </a:lnTo>
                      <a:lnTo>
                        <a:pt x="42463" y="8074"/>
                      </a:lnTo>
                      <a:lnTo>
                        <a:pt x="40310" y="8493"/>
                      </a:lnTo>
                      <a:lnTo>
                        <a:pt x="34329" y="9689"/>
                      </a:lnTo>
                      <a:lnTo>
                        <a:pt x="25358" y="13815"/>
                      </a:lnTo>
                      <a:lnTo>
                        <a:pt x="24162" y="14593"/>
                      </a:lnTo>
                      <a:lnTo>
                        <a:pt x="23923" y="14713"/>
                      </a:lnTo>
                      <a:lnTo>
                        <a:pt x="14952" y="20215"/>
                      </a:lnTo>
                      <a:lnTo>
                        <a:pt x="14652" y="20394"/>
                      </a:lnTo>
                      <a:lnTo>
                        <a:pt x="13876" y="20992"/>
                      </a:lnTo>
                      <a:lnTo>
                        <a:pt x="4605" y="28408"/>
                      </a:lnTo>
                      <a:lnTo>
                        <a:pt x="4605" y="28408"/>
                      </a:lnTo>
                      <a:lnTo>
                        <a:pt x="4486" y="28468"/>
                      </a:lnTo>
                      <a:lnTo>
                        <a:pt x="2691" y="30561"/>
                      </a:lnTo>
                      <a:lnTo>
                        <a:pt x="1077" y="32415"/>
                      </a:lnTo>
                      <a:lnTo>
                        <a:pt x="897" y="32655"/>
                      </a:lnTo>
                      <a:lnTo>
                        <a:pt x="0" y="33731"/>
                      </a:lnTo>
                    </a:path>
                  </a:pathLst>
                </a:custGeom>
                <a:noFill/>
                <a:ln w="6350" cap="rnd">
                  <a:solidFill>
                    <a:schemeClr val="bg1">
                      <a:alpha val="40000"/>
                    </a:schemeClr>
                  </a:solidFill>
                  <a:prstDash val="solid"/>
                  <a:round/>
                </a:ln>
              </p:spPr>
              <p:txBody>
                <a:bodyPr rtlCol="0" anchor="ctr"/>
                <a:lstStyle/>
                <a:p>
                  <a:endParaRPr lang="en-GB"/>
                </a:p>
              </p:txBody>
            </p:sp>
            <p:sp>
              <p:nvSpPr>
                <p:cNvPr id="6523" name="Vrije vorm: vorm 6522">
                  <a:extLst>
                    <a:ext uri="{FF2B5EF4-FFF2-40B4-BE49-F238E27FC236}">
                      <a16:creationId xmlns:a16="http://schemas.microsoft.com/office/drawing/2014/main" id="{4765EC91-E19A-415F-9B11-B330590C0E6E}"/>
                    </a:ext>
                  </a:extLst>
                </p:cNvPr>
                <p:cNvSpPr/>
                <p:nvPr/>
              </p:nvSpPr>
              <p:spPr>
                <a:xfrm>
                  <a:off x="6717507" y="1814651"/>
                  <a:ext cx="35405" cy="75835"/>
                </a:xfrm>
                <a:custGeom>
                  <a:avLst/>
                  <a:gdLst>
                    <a:gd name="connsiteX0" fmla="*/ 0 w 35405"/>
                    <a:gd name="connsiteY0" fmla="*/ 75836 h 75835"/>
                    <a:gd name="connsiteX1" fmla="*/ 479 w 35405"/>
                    <a:gd name="connsiteY1" fmla="*/ 75118 h 75835"/>
                    <a:gd name="connsiteX2" fmla="*/ 2751 w 35405"/>
                    <a:gd name="connsiteY2" fmla="*/ 71769 h 75835"/>
                    <a:gd name="connsiteX3" fmla="*/ 10825 w 35405"/>
                    <a:gd name="connsiteY3" fmla="*/ 59927 h 75835"/>
                    <a:gd name="connsiteX4" fmla="*/ 10885 w 35405"/>
                    <a:gd name="connsiteY4" fmla="*/ 59807 h 75835"/>
                    <a:gd name="connsiteX5" fmla="*/ 15251 w 35405"/>
                    <a:gd name="connsiteY5" fmla="*/ 53408 h 75835"/>
                    <a:gd name="connsiteX6" fmla="*/ 17942 w 35405"/>
                    <a:gd name="connsiteY6" fmla="*/ 49461 h 75835"/>
                    <a:gd name="connsiteX7" fmla="*/ 21890 w 35405"/>
                    <a:gd name="connsiteY7" fmla="*/ 43659 h 75835"/>
                    <a:gd name="connsiteX8" fmla="*/ 23145 w 35405"/>
                    <a:gd name="connsiteY8" fmla="*/ 41805 h 75835"/>
                    <a:gd name="connsiteX9" fmla="*/ 24999 w 35405"/>
                    <a:gd name="connsiteY9" fmla="*/ 38934 h 75835"/>
                    <a:gd name="connsiteX10" fmla="*/ 26136 w 35405"/>
                    <a:gd name="connsiteY10" fmla="*/ 37200 h 75835"/>
                    <a:gd name="connsiteX11" fmla="*/ 26196 w 35405"/>
                    <a:gd name="connsiteY11" fmla="*/ 37140 h 75835"/>
                    <a:gd name="connsiteX12" fmla="*/ 27751 w 35405"/>
                    <a:gd name="connsiteY12" fmla="*/ 34748 h 75835"/>
                    <a:gd name="connsiteX13" fmla="*/ 27930 w 35405"/>
                    <a:gd name="connsiteY13" fmla="*/ 34509 h 75835"/>
                    <a:gd name="connsiteX14" fmla="*/ 28827 w 35405"/>
                    <a:gd name="connsiteY14" fmla="*/ 33073 h 75835"/>
                    <a:gd name="connsiteX15" fmla="*/ 30861 w 35405"/>
                    <a:gd name="connsiteY15" fmla="*/ 29963 h 75835"/>
                    <a:gd name="connsiteX16" fmla="*/ 31160 w 35405"/>
                    <a:gd name="connsiteY16" fmla="*/ 29545 h 75835"/>
                    <a:gd name="connsiteX17" fmla="*/ 31578 w 35405"/>
                    <a:gd name="connsiteY17" fmla="*/ 28887 h 75835"/>
                    <a:gd name="connsiteX18" fmla="*/ 32475 w 35405"/>
                    <a:gd name="connsiteY18" fmla="*/ 27451 h 75835"/>
                    <a:gd name="connsiteX19" fmla="*/ 32595 w 35405"/>
                    <a:gd name="connsiteY19" fmla="*/ 27272 h 75835"/>
                    <a:gd name="connsiteX20" fmla="*/ 33074 w 35405"/>
                    <a:gd name="connsiteY20" fmla="*/ 26554 h 75835"/>
                    <a:gd name="connsiteX21" fmla="*/ 34688 w 35405"/>
                    <a:gd name="connsiteY21" fmla="*/ 24042 h 75835"/>
                    <a:gd name="connsiteX22" fmla="*/ 34748 w 35405"/>
                    <a:gd name="connsiteY22" fmla="*/ 23923 h 75835"/>
                    <a:gd name="connsiteX23" fmla="*/ 35406 w 35405"/>
                    <a:gd name="connsiteY23" fmla="*/ 21590 h 75835"/>
                    <a:gd name="connsiteX24" fmla="*/ 35107 w 35405"/>
                    <a:gd name="connsiteY24" fmla="*/ 18959 h 75835"/>
                    <a:gd name="connsiteX25" fmla="*/ 33253 w 35405"/>
                    <a:gd name="connsiteY25" fmla="*/ 16208 h 75835"/>
                    <a:gd name="connsiteX26" fmla="*/ 30920 w 35405"/>
                    <a:gd name="connsiteY26" fmla="*/ 13516 h 75835"/>
                    <a:gd name="connsiteX27" fmla="*/ 27093 w 35405"/>
                    <a:gd name="connsiteY27" fmla="*/ 9569 h 75835"/>
                    <a:gd name="connsiteX28" fmla="*/ 24700 w 35405"/>
                    <a:gd name="connsiteY28" fmla="*/ 6758 h 75835"/>
                    <a:gd name="connsiteX29" fmla="*/ 23803 w 35405"/>
                    <a:gd name="connsiteY29" fmla="*/ 3708 h 75835"/>
                    <a:gd name="connsiteX30" fmla="*/ 23325 w 35405"/>
                    <a:gd name="connsiteY30" fmla="*/ 419 h 75835"/>
                    <a:gd name="connsiteX31" fmla="*/ 23086 w 35405"/>
                    <a:gd name="connsiteY31" fmla="*/ 0 h 7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5" h="75835">
                      <a:moveTo>
                        <a:pt x="0" y="75836"/>
                      </a:moveTo>
                      <a:lnTo>
                        <a:pt x="479" y="75118"/>
                      </a:lnTo>
                      <a:lnTo>
                        <a:pt x="2751" y="71769"/>
                      </a:lnTo>
                      <a:lnTo>
                        <a:pt x="10825" y="59927"/>
                      </a:lnTo>
                      <a:lnTo>
                        <a:pt x="10885" y="59807"/>
                      </a:lnTo>
                      <a:lnTo>
                        <a:pt x="15251" y="53408"/>
                      </a:lnTo>
                      <a:lnTo>
                        <a:pt x="17942" y="49461"/>
                      </a:lnTo>
                      <a:lnTo>
                        <a:pt x="21890" y="43659"/>
                      </a:lnTo>
                      <a:lnTo>
                        <a:pt x="23145" y="41805"/>
                      </a:lnTo>
                      <a:lnTo>
                        <a:pt x="24999" y="38934"/>
                      </a:lnTo>
                      <a:lnTo>
                        <a:pt x="26136" y="37200"/>
                      </a:lnTo>
                      <a:lnTo>
                        <a:pt x="26196" y="37140"/>
                      </a:lnTo>
                      <a:lnTo>
                        <a:pt x="27751" y="34748"/>
                      </a:lnTo>
                      <a:lnTo>
                        <a:pt x="27930" y="34509"/>
                      </a:lnTo>
                      <a:lnTo>
                        <a:pt x="28827" y="33073"/>
                      </a:lnTo>
                      <a:lnTo>
                        <a:pt x="30861" y="29963"/>
                      </a:lnTo>
                      <a:lnTo>
                        <a:pt x="31160" y="29545"/>
                      </a:lnTo>
                      <a:lnTo>
                        <a:pt x="31578" y="28887"/>
                      </a:lnTo>
                      <a:lnTo>
                        <a:pt x="32475" y="27451"/>
                      </a:lnTo>
                      <a:lnTo>
                        <a:pt x="32595" y="27272"/>
                      </a:lnTo>
                      <a:lnTo>
                        <a:pt x="33074" y="26554"/>
                      </a:lnTo>
                      <a:lnTo>
                        <a:pt x="34688" y="24042"/>
                      </a:lnTo>
                      <a:lnTo>
                        <a:pt x="34748" y="23923"/>
                      </a:lnTo>
                      <a:lnTo>
                        <a:pt x="35406" y="21590"/>
                      </a:lnTo>
                      <a:lnTo>
                        <a:pt x="35107" y="18959"/>
                      </a:lnTo>
                      <a:lnTo>
                        <a:pt x="33253" y="16208"/>
                      </a:lnTo>
                      <a:lnTo>
                        <a:pt x="30920" y="13516"/>
                      </a:lnTo>
                      <a:lnTo>
                        <a:pt x="27093" y="9569"/>
                      </a:lnTo>
                      <a:lnTo>
                        <a:pt x="24700" y="6758"/>
                      </a:lnTo>
                      <a:lnTo>
                        <a:pt x="23803" y="3708"/>
                      </a:lnTo>
                      <a:lnTo>
                        <a:pt x="23325" y="419"/>
                      </a:lnTo>
                      <a:lnTo>
                        <a:pt x="23086" y="0"/>
                      </a:lnTo>
                    </a:path>
                  </a:pathLst>
                </a:custGeom>
                <a:noFill/>
                <a:ln w="6350" cap="rnd">
                  <a:solidFill>
                    <a:schemeClr val="bg1">
                      <a:alpha val="40000"/>
                    </a:schemeClr>
                  </a:solidFill>
                  <a:prstDash val="solid"/>
                  <a:round/>
                </a:ln>
              </p:spPr>
              <p:txBody>
                <a:bodyPr rtlCol="0" anchor="ctr"/>
                <a:lstStyle/>
                <a:p>
                  <a:endParaRPr lang="en-GB"/>
                </a:p>
              </p:txBody>
            </p:sp>
            <p:sp>
              <p:nvSpPr>
                <p:cNvPr id="6524" name="Vrije vorm: vorm 6523">
                  <a:extLst>
                    <a:ext uri="{FF2B5EF4-FFF2-40B4-BE49-F238E27FC236}">
                      <a16:creationId xmlns:a16="http://schemas.microsoft.com/office/drawing/2014/main" id="{E4075654-AEDF-4BAB-868C-AA075D085BBF}"/>
                    </a:ext>
                  </a:extLst>
                </p:cNvPr>
                <p:cNvSpPr/>
                <p:nvPr/>
              </p:nvSpPr>
              <p:spPr>
                <a:xfrm>
                  <a:off x="6751178" y="1981034"/>
                  <a:ext cx="1734" cy="5801"/>
                </a:xfrm>
                <a:custGeom>
                  <a:avLst/>
                  <a:gdLst>
                    <a:gd name="connsiteX0" fmla="*/ 0 w 1734"/>
                    <a:gd name="connsiteY0" fmla="*/ 5801 h 5801"/>
                    <a:gd name="connsiteX1" fmla="*/ 1256 w 1734"/>
                    <a:gd name="connsiteY1" fmla="*/ 1136 h 5801"/>
                    <a:gd name="connsiteX2" fmla="*/ 1734 w 1734"/>
                    <a:gd name="connsiteY2" fmla="*/ 0 h 5801"/>
                  </a:gdLst>
                  <a:ahLst/>
                  <a:cxnLst>
                    <a:cxn ang="0">
                      <a:pos x="connsiteX0" y="connsiteY0"/>
                    </a:cxn>
                    <a:cxn ang="0">
                      <a:pos x="connsiteX1" y="connsiteY1"/>
                    </a:cxn>
                    <a:cxn ang="0">
                      <a:pos x="connsiteX2" y="connsiteY2"/>
                    </a:cxn>
                  </a:cxnLst>
                  <a:rect l="l" t="t" r="r" b="b"/>
                  <a:pathLst>
                    <a:path w="1734" h="5801">
                      <a:moveTo>
                        <a:pt x="0" y="5801"/>
                      </a:moveTo>
                      <a:lnTo>
                        <a:pt x="1256" y="1136"/>
                      </a:lnTo>
                      <a:lnTo>
                        <a:pt x="1734" y="0"/>
                      </a:lnTo>
                    </a:path>
                  </a:pathLst>
                </a:custGeom>
                <a:noFill/>
                <a:ln w="6350" cap="rnd">
                  <a:solidFill>
                    <a:schemeClr val="bg1">
                      <a:alpha val="40000"/>
                    </a:schemeClr>
                  </a:solidFill>
                  <a:prstDash val="solid"/>
                  <a:round/>
                </a:ln>
              </p:spPr>
              <p:txBody>
                <a:bodyPr rtlCol="0" anchor="ctr"/>
                <a:lstStyle/>
                <a:p>
                  <a:endParaRPr lang="en-GB"/>
                </a:p>
              </p:txBody>
            </p:sp>
            <p:sp>
              <p:nvSpPr>
                <p:cNvPr id="6525" name="Vrije vorm: vorm 6524">
                  <a:extLst>
                    <a:ext uri="{FF2B5EF4-FFF2-40B4-BE49-F238E27FC236}">
                      <a16:creationId xmlns:a16="http://schemas.microsoft.com/office/drawing/2014/main" id="{214B3A84-8ED9-409F-ADCC-CC1433302315}"/>
                    </a:ext>
                  </a:extLst>
                </p:cNvPr>
                <p:cNvSpPr/>
                <p:nvPr/>
              </p:nvSpPr>
              <p:spPr>
                <a:xfrm>
                  <a:off x="6653453" y="1900474"/>
                  <a:ext cx="15250" cy="26016"/>
                </a:xfrm>
                <a:custGeom>
                  <a:avLst/>
                  <a:gdLst>
                    <a:gd name="connsiteX0" fmla="*/ 11124 w 15250"/>
                    <a:gd name="connsiteY0" fmla="*/ 26016 h 26016"/>
                    <a:gd name="connsiteX1" fmla="*/ 9928 w 15250"/>
                    <a:gd name="connsiteY1" fmla="*/ 24760 h 26016"/>
                    <a:gd name="connsiteX2" fmla="*/ 9629 w 15250"/>
                    <a:gd name="connsiteY2" fmla="*/ 24461 h 26016"/>
                    <a:gd name="connsiteX3" fmla="*/ 8074 w 15250"/>
                    <a:gd name="connsiteY3" fmla="*/ 22846 h 26016"/>
                    <a:gd name="connsiteX4" fmla="*/ 7476 w 15250"/>
                    <a:gd name="connsiteY4" fmla="*/ 22248 h 26016"/>
                    <a:gd name="connsiteX5" fmla="*/ 5382 w 15250"/>
                    <a:gd name="connsiteY5" fmla="*/ 20035 h 26016"/>
                    <a:gd name="connsiteX6" fmla="*/ 5143 w 15250"/>
                    <a:gd name="connsiteY6" fmla="*/ 19796 h 26016"/>
                    <a:gd name="connsiteX7" fmla="*/ 3469 w 15250"/>
                    <a:gd name="connsiteY7" fmla="*/ 18002 h 26016"/>
                    <a:gd name="connsiteX8" fmla="*/ 1854 w 15250"/>
                    <a:gd name="connsiteY8" fmla="*/ 15849 h 26016"/>
                    <a:gd name="connsiteX9" fmla="*/ 1316 w 15250"/>
                    <a:gd name="connsiteY9" fmla="*/ 15131 h 26016"/>
                    <a:gd name="connsiteX10" fmla="*/ 1017 w 15250"/>
                    <a:gd name="connsiteY10" fmla="*/ 14713 h 26016"/>
                    <a:gd name="connsiteX11" fmla="*/ 957 w 15250"/>
                    <a:gd name="connsiteY11" fmla="*/ 14593 h 26016"/>
                    <a:gd name="connsiteX12" fmla="*/ 0 w 15250"/>
                    <a:gd name="connsiteY12" fmla="*/ 10287 h 26016"/>
                    <a:gd name="connsiteX13" fmla="*/ 0 w 15250"/>
                    <a:gd name="connsiteY13" fmla="*/ 10287 h 26016"/>
                    <a:gd name="connsiteX14" fmla="*/ 0 w 15250"/>
                    <a:gd name="connsiteY14" fmla="*/ 10227 h 26016"/>
                    <a:gd name="connsiteX15" fmla="*/ 777 w 15250"/>
                    <a:gd name="connsiteY15" fmla="*/ 9210 h 26016"/>
                    <a:gd name="connsiteX16" fmla="*/ 4246 w 15250"/>
                    <a:gd name="connsiteY16" fmla="*/ 4426 h 26016"/>
                    <a:gd name="connsiteX17" fmla="*/ 9748 w 15250"/>
                    <a:gd name="connsiteY17" fmla="*/ 60 h 26016"/>
                    <a:gd name="connsiteX18" fmla="*/ 9808 w 15250"/>
                    <a:gd name="connsiteY18" fmla="*/ 0 h 26016"/>
                    <a:gd name="connsiteX19" fmla="*/ 9928 w 15250"/>
                    <a:gd name="connsiteY19" fmla="*/ 60 h 26016"/>
                    <a:gd name="connsiteX20" fmla="*/ 12679 w 15250"/>
                    <a:gd name="connsiteY20" fmla="*/ 957 h 26016"/>
                    <a:gd name="connsiteX21" fmla="*/ 14473 w 15250"/>
                    <a:gd name="connsiteY21" fmla="*/ 3349 h 26016"/>
                    <a:gd name="connsiteX22" fmla="*/ 14832 w 15250"/>
                    <a:gd name="connsiteY22" fmla="*/ 3828 h 26016"/>
                    <a:gd name="connsiteX23" fmla="*/ 14892 w 15250"/>
                    <a:gd name="connsiteY23" fmla="*/ 3888 h 26016"/>
                    <a:gd name="connsiteX24" fmla="*/ 15011 w 15250"/>
                    <a:gd name="connsiteY24" fmla="*/ 4067 h 26016"/>
                    <a:gd name="connsiteX25" fmla="*/ 15251 w 15250"/>
                    <a:gd name="connsiteY25" fmla="*/ 4426 h 26016"/>
                    <a:gd name="connsiteX26" fmla="*/ 15191 w 15250"/>
                    <a:gd name="connsiteY26" fmla="*/ 4486 h 26016"/>
                    <a:gd name="connsiteX27" fmla="*/ 15131 w 15250"/>
                    <a:gd name="connsiteY27" fmla="*/ 4545 h 26016"/>
                    <a:gd name="connsiteX28" fmla="*/ 14533 w 15250"/>
                    <a:gd name="connsiteY28" fmla="*/ 5084 h 26016"/>
                    <a:gd name="connsiteX29" fmla="*/ 11483 w 15250"/>
                    <a:gd name="connsiteY29" fmla="*/ 7715 h 26016"/>
                    <a:gd name="connsiteX30" fmla="*/ 11363 w 15250"/>
                    <a:gd name="connsiteY30" fmla="*/ 8134 h 26016"/>
                    <a:gd name="connsiteX31" fmla="*/ 11243 w 15250"/>
                    <a:gd name="connsiteY31" fmla="*/ 8612 h 26016"/>
                    <a:gd name="connsiteX32" fmla="*/ 10466 w 15250"/>
                    <a:gd name="connsiteY32" fmla="*/ 11722 h 26016"/>
                    <a:gd name="connsiteX33" fmla="*/ 10466 w 15250"/>
                    <a:gd name="connsiteY33" fmla="*/ 11722 h 26016"/>
                    <a:gd name="connsiteX34" fmla="*/ 10406 w 15250"/>
                    <a:gd name="connsiteY34" fmla="*/ 12081 h 2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250" h="26016">
                      <a:moveTo>
                        <a:pt x="11124" y="26016"/>
                      </a:moveTo>
                      <a:lnTo>
                        <a:pt x="9928" y="24760"/>
                      </a:lnTo>
                      <a:lnTo>
                        <a:pt x="9629" y="24461"/>
                      </a:lnTo>
                      <a:lnTo>
                        <a:pt x="8074" y="22846"/>
                      </a:lnTo>
                      <a:lnTo>
                        <a:pt x="7476" y="22248"/>
                      </a:lnTo>
                      <a:lnTo>
                        <a:pt x="5382" y="20035"/>
                      </a:lnTo>
                      <a:lnTo>
                        <a:pt x="5143" y="19796"/>
                      </a:lnTo>
                      <a:lnTo>
                        <a:pt x="3469" y="18002"/>
                      </a:lnTo>
                      <a:lnTo>
                        <a:pt x="1854" y="15849"/>
                      </a:lnTo>
                      <a:lnTo>
                        <a:pt x="1316" y="15131"/>
                      </a:lnTo>
                      <a:lnTo>
                        <a:pt x="1017" y="14713"/>
                      </a:lnTo>
                      <a:lnTo>
                        <a:pt x="957" y="14593"/>
                      </a:lnTo>
                      <a:lnTo>
                        <a:pt x="0" y="10287"/>
                      </a:lnTo>
                      <a:lnTo>
                        <a:pt x="0" y="10287"/>
                      </a:lnTo>
                      <a:lnTo>
                        <a:pt x="0" y="10227"/>
                      </a:lnTo>
                      <a:lnTo>
                        <a:pt x="777" y="9210"/>
                      </a:lnTo>
                      <a:lnTo>
                        <a:pt x="4246" y="4426"/>
                      </a:lnTo>
                      <a:lnTo>
                        <a:pt x="9748" y="60"/>
                      </a:lnTo>
                      <a:lnTo>
                        <a:pt x="9808" y="0"/>
                      </a:lnTo>
                      <a:lnTo>
                        <a:pt x="9928" y="60"/>
                      </a:lnTo>
                      <a:lnTo>
                        <a:pt x="12679" y="957"/>
                      </a:lnTo>
                      <a:lnTo>
                        <a:pt x="14473" y="3349"/>
                      </a:lnTo>
                      <a:lnTo>
                        <a:pt x="14832" y="3828"/>
                      </a:lnTo>
                      <a:lnTo>
                        <a:pt x="14892" y="3888"/>
                      </a:lnTo>
                      <a:lnTo>
                        <a:pt x="15011" y="4067"/>
                      </a:lnTo>
                      <a:lnTo>
                        <a:pt x="15251" y="4426"/>
                      </a:lnTo>
                      <a:lnTo>
                        <a:pt x="15191" y="4486"/>
                      </a:lnTo>
                      <a:lnTo>
                        <a:pt x="15131" y="4545"/>
                      </a:lnTo>
                      <a:lnTo>
                        <a:pt x="14533" y="5084"/>
                      </a:lnTo>
                      <a:lnTo>
                        <a:pt x="11483" y="7715"/>
                      </a:lnTo>
                      <a:lnTo>
                        <a:pt x="11363" y="8134"/>
                      </a:lnTo>
                      <a:lnTo>
                        <a:pt x="11243" y="8612"/>
                      </a:lnTo>
                      <a:lnTo>
                        <a:pt x="10466" y="11722"/>
                      </a:lnTo>
                      <a:lnTo>
                        <a:pt x="10466" y="11722"/>
                      </a:lnTo>
                      <a:lnTo>
                        <a:pt x="10406" y="12081"/>
                      </a:lnTo>
                    </a:path>
                  </a:pathLst>
                </a:custGeom>
                <a:noFill/>
                <a:ln w="6350" cap="rnd">
                  <a:solidFill>
                    <a:schemeClr val="bg1">
                      <a:alpha val="40000"/>
                    </a:schemeClr>
                  </a:solidFill>
                  <a:prstDash val="solid"/>
                  <a:round/>
                </a:ln>
              </p:spPr>
              <p:txBody>
                <a:bodyPr rtlCol="0" anchor="ctr"/>
                <a:lstStyle/>
                <a:p>
                  <a:endParaRPr lang="en-GB"/>
                </a:p>
              </p:txBody>
            </p:sp>
            <p:sp>
              <p:nvSpPr>
                <p:cNvPr id="6526" name="Vrije vorm: vorm 6525">
                  <a:extLst>
                    <a:ext uri="{FF2B5EF4-FFF2-40B4-BE49-F238E27FC236}">
                      <a16:creationId xmlns:a16="http://schemas.microsoft.com/office/drawing/2014/main" id="{C1659857-5FB9-4CED-AC2A-1D875D9203B2}"/>
                    </a:ext>
                  </a:extLst>
                </p:cNvPr>
                <p:cNvSpPr/>
                <p:nvPr/>
              </p:nvSpPr>
              <p:spPr>
                <a:xfrm>
                  <a:off x="6862898" y="1733612"/>
                  <a:ext cx="44974" cy="41685"/>
                </a:xfrm>
                <a:custGeom>
                  <a:avLst/>
                  <a:gdLst>
                    <a:gd name="connsiteX0" fmla="*/ 0 w 44974"/>
                    <a:gd name="connsiteY0" fmla="*/ 41686 h 41685"/>
                    <a:gd name="connsiteX1" fmla="*/ 8971 w 44974"/>
                    <a:gd name="connsiteY1" fmla="*/ 31040 h 41685"/>
                    <a:gd name="connsiteX2" fmla="*/ 21052 w 44974"/>
                    <a:gd name="connsiteY2" fmla="*/ 18600 h 41685"/>
                    <a:gd name="connsiteX3" fmla="*/ 30800 w 44974"/>
                    <a:gd name="connsiteY3" fmla="*/ 9390 h 41685"/>
                    <a:gd name="connsiteX4" fmla="*/ 39831 w 44974"/>
                    <a:gd name="connsiteY4" fmla="*/ 1734 h 41685"/>
                    <a:gd name="connsiteX5" fmla="*/ 42463 w 44974"/>
                    <a:gd name="connsiteY5" fmla="*/ 299 h 41685"/>
                    <a:gd name="connsiteX6" fmla="*/ 43181 w 44974"/>
                    <a:gd name="connsiteY6" fmla="*/ 0 h 41685"/>
                    <a:gd name="connsiteX7" fmla="*/ 44974 w 44974"/>
                    <a:gd name="connsiteY7" fmla="*/ 0 h 4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74" h="41685">
                      <a:moveTo>
                        <a:pt x="0" y="41686"/>
                      </a:moveTo>
                      <a:lnTo>
                        <a:pt x="8971" y="31040"/>
                      </a:lnTo>
                      <a:lnTo>
                        <a:pt x="21052" y="18600"/>
                      </a:lnTo>
                      <a:lnTo>
                        <a:pt x="30800" y="9390"/>
                      </a:lnTo>
                      <a:lnTo>
                        <a:pt x="39831" y="1734"/>
                      </a:lnTo>
                      <a:lnTo>
                        <a:pt x="42463" y="299"/>
                      </a:lnTo>
                      <a:lnTo>
                        <a:pt x="43181" y="0"/>
                      </a:lnTo>
                      <a:lnTo>
                        <a:pt x="44974" y="0"/>
                      </a:lnTo>
                    </a:path>
                  </a:pathLst>
                </a:custGeom>
                <a:noFill/>
                <a:ln w="6350" cap="rnd">
                  <a:solidFill>
                    <a:schemeClr val="bg1">
                      <a:alpha val="40000"/>
                    </a:schemeClr>
                  </a:solidFill>
                  <a:prstDash val="solid"/>
                  <a:round/>
                </a:ln>
              </p:spPr>
              <p:txBody>
                <a:bodyPr rtlCol="0" anchor="ctr"/>
                <a:lstStyle/>
                <a:p>
                  <a:endParaRPr lang="en-GB"/>
                </a:p>
              </p:txBody>
            </p:sp>
            <p:sp>
              <p:nvSpPr>
                <p:cNvPr id="6527" name="Vrije vorm: vorm 6526">
                  <a:extLst>
                    <a:ext uri="{FF2B5EF4-FFF2-40B4-BE49-F238E27FC236}">
                      <a16:creationId xmlns:a16="http://schemas.microsoft.com/office/drawing/2014/main" id="{0CF24847-BD2C-4D19-BD7A-5E3CB03B3249}"/>
                    </a:ext>
                  </a:extLst>
                </p:cNvPr>
                <p:cNvSpPr/>
                <p:nvPr/>
              </p:nvSpPr>
              <p:spPr>
                <a:xfrm>
                  <a:off x="6735927" y="1937435"/>
                  <a:ext cx="4664" cy="5861"/>
                </a:xfrm>
                <a:custGeom>
                  <a:avLst/>
                  <a:gdLst>
                    <a:gd name="connsiteX0" fmla="*/ 3469 w 4664"/>
                    <a:gd name="connsiteY0" fmla="*/ 0 h 5861"/>
                    <a:gd name="connsiteX1" fmla="*/ 4665 w 4664"/>
                    <a:gd name="connsiteY1" fmla="*/ 1734 h 5861"/>
                    <a:gd name="connsiteX2" fmla="*/ 2512 w 4664"/>
                    <a:gd name="connsiteY2" fmla="*/ 5383 h 5861"/>
                    <a:gd name="connsiteX3" fmla="*/ 2392 w 4664"/>
                    <a:gd name="connsiteY3" fmla="*/ 5383 h 5861"/>
                    <a:gd name="connsiteX4" fmla="*/ 0 w 4664"/>
                    <a:gd name="connsiteY4" fmla="*/ 5861 h 5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4" h="5861">
                      <a:moveTo>
                        <a:pt x="3469" y="0"/>
                      </a:moveTo>
                      <a:lnTo>
                        <a:pt x="4665" y="1734"/>
                      </a:lnTo>
                      <a:lnTo>
                        <a:pt x="2512" y="5383"/>
                      </a:lnTo>
                      <a:lnTo>
                        <a:pt x="2392" y="5383"/>
                      </a:lnTo>
                      <a:lnTo>
                        <a:pt x="0" y="5861"/>
                      </a:lnTo>
                    </a:path>
                  </a:pathLst>
                </a:custGeom>
                <a:noFill/>
                <a:ln w="6350" cap="rnd">
                  <a:solidFill>
                    <a:schemeClr val="bg1">
                      <a:alpha val="40000"/>
                    </a:schemeClr>
                  </a:solidFill>
                  <a:prstDash val="solid"/>
                  <a:round/>
                </a:ln>
              </p:spPr>
              <p:txBody>
                <a:bodyPr rtlCol="0" anchor="ctr"/>
                <a:lstStyle/>
                <a:p>
                  <a:endParaRPr lang="en-GB"/>
                </a:p>
              </p:txBody>
            </p:sp>
            <p:sp>
              <p:nvSpPr>
                <p:cNvPr id="6528" name="Vrije vorm: vorm 6527">
                  <a:extLst>
                    <a:ext uri="{FF2B5EF4-FFF2-40B4-BE49-F238E27FC236}">
                      <a16:creationId xmlns:a16="http://schemas.microsoft.com/office/drawing/2014/main" id="{7DFDC1BF-3E28-45DA-B9E1-4DA25F286D79}"/>
                    </a:ext>
                  </a:extLst>
                </p:cNvPr>
                <p:cNvSpPr/>
                <p:nvPr/>
              </p:nvSpPr>
              <p:spPr>
                <a:xfrm>
                  <a:off x="6983948" y="1878405"/>
                  <a:ext cx="26255" cy="42881"/>
                </a:xfrm>
                <a:custGeom>
                  <a:avLst/>
                  <a:gdLst>
                    <a:gd name="connsiteX0" fmla="*/ 26255 w 26255"/>
                    <a:gd name="connsiteY0" fmla="*/ 0 h 42881"/>
                    <a:gd name="connsiteX1" fmla="*/ 26016 w 26255"/>
                    <a:gd name="connsiteY1" fmla="*/ 419 h 42881"/>
                    <a:gd name="connsiteX2" fmla="*/ 25956 w 26255"/>
                    <a:gd name="connsiteY2" fmla="*/ 538 h 42881"/>
                    <a:gd name="connsiteX3" fmla="*/ 25956 w 26255"/>
                    <a:gd name="connsiteY3" fmla="*/ 598 h 42881"/>
                    <a:gd name="connsiteX4" fmla="*/ 25896 w 26255"/>
                    <a:gd name="connsiteY4" fmla="*/ 718 h 42881"/>
                    <a:gd name="connsiteX5" fmla="*/ 25478 w 26255"/>
                    <a:gd name="connsiteY5" fmla="*/ 1495 h 42881"/>
                    <a:gd name="connsiteX6" fmla="*/ 25238 w 26255"/>
                    <a:gd name="connsiteY6" fmla="*/ 1854 h 42881"/>
                    <a:gd name="connsiteX7" fmla="*/ 25119 w 26255"/>
                    <a:gd name="connsiteY7" fmla="*/ 2093 h 42881"/>
                    <a:gd name="connsiteX8" fmla="*/ 25059 w 26255"/>
                    <a:gd name="connsiteY8" fmla="*/ 2213 h 42881"/>
                    <a:gd name="connsiteX9" fmla="*/ 24819 w 26255"/>
                    <a:gd name="connsiteY9" fmla="*/ 2632 h 42881"/>
                    <a:gd name="connsiteX10" fmla="*/ 24401 w 26255"/>
                    <a:gd name="connsiteY10" fmla="*/ 3349 h 42881"/>
                    <a:gd name="connsiteX11" fmla="*/ 22308 w 26255"/>
                    <a:gd name="connsiteY11" fmla="*/ 6998 h 42881"/>
                    <a:gd name="connsiteX12" fmla="*/ 21710 w 26255"/>
                    <a:gd name="connsiteY12" fmla="*/ 8074 h 42881"/>
                    <a:gd name="connsiteX13" fmla="*/ 21052 w 26255"/>
                    <a:gd name="connsiteY13" fmla="*/ 9210 h 42881"/>
                    <a:gd name="connsiteX14" fmla="*/ 19497 w 26255"/>
                    <a:gd name="connsiteY14" fmla="*/ 11842 h 42881"/>
                    <a:gd name="connsiteX15" fmla="*/ 17463 w 26255"/>
                    <a:gd name="connsiteY15" fmla="*/ 15311 h 42881"/>
                    <a:gd name="connsiteX16" fmla="*/ 11363 w 26255"/>
                    <a:gd name="connsiteY16" fmla="*/ 24760 h 42881"/>
                    <a:gd name="connsiteX17" fmla="*/ 11363 w 26255"/>
                    <a:gd name="connsiteY17" fmla="*/ 24760 h 42881"/>
                    <a:gd name="connsiteX18" fmla="*/ 9868 w 26255"/>
                    <a:gd name="connsiteY18" fmla="*/ 27153 h 42881"/>
                    <a:gd name="connsiteX19" fmla="*/ 9569 w 26255"/>
                    <a:gd name="connsiteY19" fmla="*/ 27571 h 42881"/>
                    <a:gd name="connsiteX20" fmla="*/ 8552 w 26255"/>
                    <a:gd name="connsiteY20" fmla="*/ 29186 h 42881"/>
                    <a:gd name="connsiteX21" fmla="*/ 7655 w 26255"/>
                    <a:gd name="connsiteY21" fmla="*/ 30621 h 42881"/>
                    <a:gd name="connsiteX22" fmla="*/ 7655 w 26255"/>
                    <a:gd name="connsiteY22" fmla="*/ 30621 h 42881"/>
                    <a:gd name="connsiteX23" fmla="*/ 7296 w 26255"/>
                    <a:gd name="connsiteY23" fmla="*/ 31160 h 42881"/>
                    <a:gd name="connsiteX24" fmla="*/ 7296 w 26255"/>
                    <a:gd name="connsiteY24" fmla="*/ 31219 h 42881"/>
                    <a:gd name="connsiteX25" fmla="*/ 6818 w 26255"/>
                    <a:gd name="connsiteY25" fmla="*/ 31997 h 42881"/>
                    <a:gd name="connsiteX26" fmla="*/ 6818 w 26255"/>
                    <a:gd name="connsiteY26" fmla="*/ 31997 h 42881"/>
                    <a:gd name="connsiteX27" fmla="*/ 3947 w 26255"/>
                    <a:gd name="connsiteY27" fmla="*/ 36482 h 42881"/>
                    <a:gd name="connsiteX28" fmla="*/ 3110 w 26255"/>
                    <a:gd name="connsiteY28" fmla="*/ 37858 h 42881"/>
                    <a:gd name="connsiteX29" fmla="*/ 2333 w 26255"/>
                    <a:gd name="connsiteY29" fmla="*/ 39174 h 42881"/>
                    <a:gd name="connsiteX30" fmla="*/ 2273 w 26255"/>
                    <a:gd name="connsiteY30" fmla="*/ 39234 h 42881"/>
                    <a:gd name="connsiteX31" fmla="*/ 2153 w 26255"/>
                    <a:gd name="connsiteY31" fmla="*/ 39353 h 42881"/>
                    <a:gd name="connsiteX32" fmla="*/ 2093 w 26255"/>
                    <a:gd name="connsiteY32" fmla="*/ 39413 h 42881"/>
                    <a:gd name="connsiteX33" fmla="*/ 1854 w 26255"/>
                    <a:gd name="connsiteY33" fmla="*/ 39772 h 42881"/>
                    <a:gd name="connsiteX34" fmla="*/ 1435 w 26255"/>
                    <a:gd name="connsiteY34" fmla="*/ 40490 h 42881"/>
                    <a:gd name="connsiteX35" fmla="*/ 0 w 26255"/>
                    <a:gd name="connsiteY35" fmla="*/ 42882 h 4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255" h="42881">
                      <a:moveTo>
                        <a:pt x="26255" y="0"/>
                      </a:moveTo>
                      <a:lnTo>
                        <a:pt x="26016" y="419"/>
                      </a:lnTo>
                      <a:lnTo>
                        <a:pt x="25956" y="538"/>
                      </a:lnTo>
                      <a:lnTo>
                        <a:pt x="25956" y="598"/>
                      </a:lnTo>
                      <a:lnTo>
                        <a:pt x="25896" y="718"/>
                      </a:lnTo>
                      <a:lnTo>
                        <a:pt x="25478" y="1495"/>
                      </a:lnTo>
                      <a:lnTo>
                        <a:pt x="25238" y="1854"/>
                      </a:lnTo>
                      <a:lnTo>
                        <a:pt x="25119" y="2093"/>
                      </a:lnTo>
                      <a:lnTo>
                        <a:pt x="25059" y="2213"/>
                      </a:lnTo>
                      <a:lnTo>
                        <a:pt x="24819" y="2632"/>
                      </a:lnTo>
                      <a:lnTo>
                        <a:pt x="24401" y="3349"/>
                      </a:lnTo>
                      <a:lnTo>
                        <a:pt x="22308" y="6998"/>
                      </a:lnTo>
                      <a:lnTo>
                        <a:pt x="21710" y="8074"/>
                      </a:lnTo>
                      <a:lnTo>
                        <a:pt x="21052" y="9210"/>
                      </a:lnTo>
                      <a:lnTo>
                        <a:pt x="19497" y="11842"/>
                      </a:lnTo>
                      <a:lnTo>
                        <a:pt x="17463" y="15311"/>
                      </a:lnTo>
                      <a:lnTo>
                        <a:pt x="11363" y="24760"/>
                      </a:lnTo>
                      <a:lnTo>
                        <a:pt x="11363" y="24760"/>
                      </a:lnTo>
                      <a:lnTo>
                        <a:pt x="9868" y="27153"/>
                      </a:lnTo>
                      <a:lnTo>
                        <a:pt x="9569" y="27571"/>
                      </a:lnTo>
                      <a:lnTo>
                        <a:pt x="8552" y="29186"/>
                      </a:lnTo>
                      <a:lnTo>
                        <a:pt x="7655" y="30621"/>
                      </a:lnTo>
                      <a:lnTo>
                        <a:pt x="7655" y="30621"/>
                      </a:lnTo>
                      <a:lnTo>
                        <a:pt x="7296" y="31160"/>
                      </a:lnTo>
                      <a:lnTo>
                        <a:pt x="7296" y="31219"/>
                      </a:lnTo>
                      <a:lnTo>
                        <a:pt x="6818" y="31997"/>
                      </a:lnTo>
                      <a:lnTo>
                        <a:pt x="6818" y="31997"/>
                      </a:lnTo>
                      <a:lnTo>
                        <a:pt x="3947" y="36482"/>
                      </a:lnTo>
                      <a:lnTo>
                        <a:pt x="3110" y="37858"/>
                      </a:lnTo>
                      <a:lnTo>
                        <a:pt x="2333" y="39174"/>
                      </a:lnTo>
                      <a:lnTo>
                        <a:pt x="2273" y="39234"/>
                      </a:lnTo>
                      <a:lnTo>
                        <a:pt x="2153" y="39353"/>
                      </a:lnTo>
                      <a:lnTo>
                        <a:pt x="2093" y="39413"/>
                      </a:lnTo>
                      <a:lnTo>
                        <a:pt x="1854" y="39772"/>
                      </a:lnTo>
                      <a:lnTo>
                        <a:pt x="1435" y="40490"/>
                      </a:lnTo>
                      <a:lnTo>
                        <a:pt x="0" y="42882"/>
                      </a:lnTo>
                    </a:path>
                  </a:pathLst>
                </a:custGeom>
                <a:noFill/>
                <a:ln w="6350" cap="rnd">
                  <a:solidFill>
                    <a:schemeClr val="bg1">
                      <a:alpha val="40000"/>
                    </a:schemeClr>
                  </a:solidFill>
                  <a:prstDash val="solid"/>
                  <a:round/>
                </a:ln>
              </p:spPr>
              <p:txBody>
                <a:bodyPr rtlCol="0" anchor="ctr"/>
                <a:lstStyle/>
                <a:p>
                  <a:endParaRPr lang="en-GB"/>
                </a:p>
              </p:txBody>
            </p:sp>
            <p:sp>
              <p:nvSpPr>
                <p:cNvPr id="6529" name="Vrije vorm: vorm 6528">
                  <a:extLst>
                    <a:ext uri="{FF2B5EF4-FFF2-40B4-BE49-F238E27FC236}">
                      <a16:creationId xmlns:a16="http://schemas.microsoft.com/office/drawing/2014/main" id="{8B2E8759-4FBB-4878-8E5B-2A6C2A6A1316}"/>
                    </a:ext>
                  </a:extLst>
                </p:cNvPr>
                <p:cNvSpPr/>
                <p:nvPr/>
              </p:nvSpPr>
              <p:spPr>
                <a:xfrm>
                  <a:off x="6666371" y="1900534"/>
                  <a:ext cx="2451" cy="3887"/>
                </a:xfrm>
                <a:custGeom>
                  <a:avLst/>
                  <a:gdLst>
                    <a:gd name="connsiteX0" fmla="*/ 0 w 2451"/>
                    <a:gd name="connsiteY0" fmla="*/ 0 h 3887"/>
                    <a:gd name="connsiteX1" fmla="*/ 897 w 2451"/>
                    <a:gd name="connsiteY1" fmla="*/ 60 h 3887"/>
                    <a:gd name="connsiteX2" fmla="*/ 2153 w 2451"/>
                    <a:gd name="connsiteY2" fmla="*/ 2751 h 3887"/>
                    <a:gd name="connsiteX3" fmla="*/ 2273 w 2451"/>
                    <a:gd name="connsiteY3" fmla="*/ 2990 h 3887"/>
                    <a:gd name="connsiteX4" fmla="*/ 2452 w 2451"/>
                    <a:gd name="connsiteY4" fmla="*/ 3349 h 3887"/>
                    <a:gd name="connsiteX5" fmla="*/ 2153 w 2451"/>
                    <a:gd name="connsiteY5" fmla="*/ 3887 h 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1" h="3887">
                      <a:moveTo>
                        <a:pt x="0" y="0"/>
                      </a:moveTo>
                      <a:lnTo>
                        <a:pt x="897" y="60"/>
                      </a:lnTo>
                      <a:lnTo>
                        <a:pt x="2153" y="2751"/>
                      </a:lnTo>
                      <a:lnTo>
                        <a:pt x="2273" y="2990"/>
                      </a:lnTo>
                      <a:lnTo>
                        <a:pt x="2452" y="3349"/>
                      </a:lnTo>
                      <a:lnTo>
                        <a:pt x="2153" y="3887"/>
                      </a:lnTo>
                    </a:path>
                  </a:pathLst>
                </a:custGeom>
                <a:noFill/>
                <a:ln w="6350" cap="rnd">
                  <a:solidFill>
                    <a:schemeClr val="bg1">
                      <a:alpha val="40000"/>
                    </a:schemeClr>
                  </a:solidFill>
                  <a:prstDash val="solid"/>
                  <a:round/>
                </a:ln>
              </p:spPr>
              <p:txBody>
                <a:bodyPr rtlCol="0" anchor="ctr"/>
                <a:lstStyle/>
                <a:p>
                  <a:endParaRPr lang="en-GB"/>
                </a:p>
              </p:txBody>
            </p:sp>
            <p:sp>
              <p:nvSpPr>
                <p:cNvPr id="6530" name="Vrije vorm: vorm 6529">
                  <a:extLst>
                    <a:ext uri="{FF2B5EF4-FFF2-40B4-BE49-F238E27FC236}">
                      <a16:creationId xmlns:a16="http://schemas.microsoft.com/office/drawing/2014/main" id="{1F7BAA91-40CE-4B0F-BFA5-9A8FAF796F0E}"/>
                    </a:ext>
                  </a:extLst>
                </p:cNvPr>
                <p:cNvSpPr/>
                <p:nvPr/>
              </p:nvSpPr>
              <p:spPr>
                <a:xfrm>
                  <a:off x="7088012" y="1801254"/>
                  <a:ext cx="8911" cy="12260"/>
                </a:xfrm>
                <a:custGeom>
                  <a:avLst/>
                  <a:gdLst>
                    <a:gd name="connsiteX0" fmla="*/ 0 w 8911"/>
                    <a:gd name="connsiteY0" fmla="*/ 0 h 12260"/>
                    <a:gd name="connsiteX1" fmla="*/ 5204 w 8911"/>
                    <a:gd name="connsiteY1" fmla="*/ 5801 h 12260"/>
                    <a:gd name="connsiteX2" fmla="*/ 6041 w 8911"/>
                    <a:gd name="connsiteY2" fmla="*/ 7057 h 12260"/>
                    <a:gd name="connsiteX3" fmla="*/ 8912 w 8911"/>
                    <a:gd name="connsiteY3" fmla="*/ 11543 h 12260"/>
                    <a:gd name="connsiteX4" fmla="*/ 8493 w 8911"/>
                    <a:gd name="connsiteY4" fmla="*/ 12260 h 1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1" h="12260">
                      <a:moveTo>
                        <a:pt x="0" y="0"/>
                      </a:moveTo>
                      <a:lnTo>
                        <a:pt x="5204" y="5801"/>
                      </a:lnTo>
                      <a:lnTo>
                        <a:pt x="6041" y="7057"/>
                      </a:lnTo>
                      <a:lnTo>
                        <a:pt x="8912" y="11543"/>
                      </a:lnTo>
                      <a:lnTo>
                        <a:pt x="8493" y="12260"/>
                      </a:lnTo>
                    </a:path>
                  </a:pathLst>
                </a:custGeom>
                <a:noFill/>
                <a:ln w="6350" cap="rnd">
                  <a:solidFill>
                    <a:schemeClr val="bg1">
                      <a:alpha val="40000"/>
                    </a:schemeClr>
                  </a:solidFill>
                  <a:prstDash val="solid"/>
                  <a:round/>
                </a:ln>
              </p:spPr>
              <p:txBody>
                <a:bodyPr rtlCol="0" anchor="ctr"/>
                <a:lstStyle/>
                <a:p>
                  <a:endParaRPr lang="en-GB"/>
                </a:p>
              </p:txBody>
            </p:sp>
            <p:sp>
              <p:nvSpPr>
                <p:cNvPr id="6531" name="Vrije vorm: vorm 6530">
                  <a:extLst>
                    <a:ext uri="{FF2B5EF4-FFF2-40B4-BE49-F238E27FC236}">
                      <a16:creationId xmlns:a16="http://schemas.microsoft.com/office/drawing/2014/main" id="{2F071C65-1131-4D8C-9A12-18249C648E28}"/>
                    </a:ext>
                  </a:extLst>
                </p:cNvPr>
                <p:cNvSpPr/>
                <p:nvPr/>
              </p:nvSpPr>
              <p:spPr>
                <a:xfrm>
                  <a:off x="6917561" y="1713517"/>
                  <a:ext cx="15310" cy="4485"/>
                </a:xfrm>
                <a:custGeom>
                  <a:avLst/>
                  <a:gdLst>
                    <a:gd name="connsiteX0" fmla="*/ 15311 w 15310"/>
                    <a:gd name="connsiteY0" fmla="*/ 0 h 4485"/>
                    <a:gd name="connsiteX1" fmla="*/ 12739 w 15310"/>
                    <a:gd name="connsiteY1" fmla="*/ 1196 h 4485"/>
                    <a:gd name="connsiteX2" fmla="*/ 12500 w 15310"/>
                    <a:gd name="connsiteY2" fmla="*/ 1316 h 4485"/>
                    <a:gd name="connsiteX3" fmla="*/ 8971 w 15310"/>
                    <a:gd name="connsiteY3" fmla="*/ 2990 h 4485"/>
                    <a:gd name="connsiteX4" fmla="*/ 8792 w 15310"/>
                    <a:gd name="connsiteY4" fmla="*/ 3050 h 4485"/>
                    <a:gd name="connsiteX5" fmla="*/ 8373 w 15310"/>
                    <a:gd name="connsiteY5" fmla="*/ 3230 h 4485"/>
                    <a:gd name="connsiteX6" fmla="*/ 8194 w 15310"/>
                    <a:gd name="connsiteY6" fmla="*/ 3289 h 4485"/>
                    <a:gd name="connsiteX7" fmla="*/ 7237 w 15310"/>
                    <a:gd name="connsiteY7" fmla="*/ 3708 h 4485"/>
                    <a:gd name="connsiteX8" fmla="*/ 5622 w 15310"/>
                    <a:gd name="connsiteY8" fmla="*/ 4486 h 4485"/>
                    <a:gd name="connsiteX9" fmla="*/ 0 w 15310"/>
                    <a:gd name="connsiteY9" fmla="*/ 2512 h 4485"/>
                    <a:gd name="connsiteX10" fmla="*/ 897 w 15310"/>
                    <a:gd name="connsiteY10" fmla="*/ 359 h 4485"/>
                    <a:gd name="connsiteX11" fmla="*/ 1615 w 15310"/>
                    <a:gd name="connsiteY11" fmla="*/ 0 h 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310" h="4485">
                      <a:moveTo>
                        <a:pt x="15311" y="0"/>
                      </a:moveTo>
                      <a:lnTo>
                        <a:pt x="12739" y="1196"/>
                      </a:lnTo>
                      <a:lnTo>
                        <a:pt x="12500" y="1316"/>
                      </a:lnTo>
                      <a:lnTo>
                        <a:pt x="8971" y="2990"/>
                      </a:lnTo>
                      <a:lnTo>
                        <a:pt x="8792" y="3050"/>
                      </a:lnTo>
                      <a:lnTo>
                        <a:pt x="8373" y="3230"/>
                      </a:lnTo>
                      <a:lnTo>
                        <a:pt x="8194" y="3289"/>
                      </a:lnTo>
                      <a:lnTo>
                        <a:pt x="7237" y="3708"/>
                      </a:lnTo>
                      <a:lnTo>
                        <a:pt x="5622" y="4486"/>
                      </a:lnTo>
                      <a:lnTo>
                        <a:pt x="0" y="2512"/>
                      </a:lnTo>
                      <a:lnTo>
                        <a:pt x="897" y="359"/>
                      </a:lnTo>
                      <a:lnTo>
                        <a:pt x="1615" y="0"/>
                      </a:lnTo>
                    </a:path>
                  </a:pathLst>
                </a:custGeom>
                <a:noFill/>
                <a:ln w="6350" cap="rnd">
                  <a:solidFill>
                    <a:schemeClr val="bg1">
                      <a:alpha val="40000"/>
                    </a:schemeClr>
                  </a:solidFill>
                  <a:prstDash val="solid"/>
                  <a:round/>
                </a:ln>
              </p:spPr>
              <p:txBody>
                <a:bodyPr rtlCol="0" anchor="ctr"/>
                <a:lstStyle/>
                <a:p>
                  <a:endParaRPr lang="en-GB"/>
                </a:p>
              </p:txBody>
            </p:sp>
            <p:sp>
              <p:nvSpPr>
                <p:cNvPr id="6532" name="Vrije vorm: vorm 6531">
                  <a:extLst>
                    <a:ext uri="{FF2B5EF4-FFF2-40B4-BE49-F238E27FC236}">
                      <a16:creationId xmlns:a16="http://schemas.microsoft.com/office/drawing/2014/main" id="{A716C9D8-1E24-4F91-9EBC-7C2AE5A9E401}"/>
                    </a:ext>
                  </a:extLst>
                </p:cNvPr>
                <p:cNvSpPr/>
                <p:nvPr/>
              </p:nvSpPr>
              <p:spPr>
                <a:xfrm>
                  <a:off x="6919116" y="1713517"/>
                  <a:ext cx="7117" cy="657"/>
                </a:xfrm>
                <a:custGeom>
                  <a:avLst/>
                  <a:gdLst>
                    <a:gd name="connsiteX0" fmla="*/ 7117 w 7117"/>
                    <a:gd name="connsiteY0" fmla="*/ 538 h 657"/>
                    <a:gd name="connsiteX1" fmla="*/ 6998 w 7117"/>
                    <a:gd name="connsiteY1" fmla="*/ 538 h 657"/>
                    <a:gd name="connsiteX2" fmla="*/ 0 w 7117"/>
                    <a:gd name="connsiteY2" fmla="*/ 0 h 657"/>
                    <a:gd name="connsiteX3" fmla="*/ 6818 w 7117"/>
                    <a:gd name="connsiteY3" fmla="*/ 658 h 657"/>
                  </a:gdLst>
                  <a:ahLst/>
                  <a:cxnLst>
                    <a:cxn ang="0">
                      <a:pos x="connsiteX0" y="connsiteY0"/>
                    </a:cxn>
                    <a:cxn ang="0">
                      <a:pos x="connsiteX1" y="connsiteY1"/>
                    </a:cxn>
                    <a:cxn ang="0">
                      <a:pos x="connsiteX2" y="connsiteY2"/>
                    </a:cxn>
                    <a:cxn ang="0">
                      <a:pos x="connsiteX3" y="connsiteY3"/>
                    </a:cxn>
                  </a:cxnLst>
                  <a:rect l="l" t="t" r="r" b="b"/>
                  <a:pathLst>
                    <a:path w="7117" h="657">
                      <a:moveTo>
                        <a:pt x="7117" y="538"/>
                      </a:moveTo>
                      <a:lnTo>
                        <a:pt x="6998" y="538"/>
                      </a:lnTo>
                      <a:lnTo>
                        <a:pt x="0" y="0"/>
                      </a:lnTo>
                      <a:lnTo>
                        <a:pt x="6818" y="658"/>
                      </a:lnTo>
                    </a:path>
                  </a:pathLst>
                </a:custGeom>
                <a:noFill/>
                <a:ln w="6350" cap="rnd">
                  <a:solidFill>
                    <a:schemeClr val="bg1">
                      <a:alpha val="40000"/>
                    </a:schemeClr>
                  </a:solidFill>
                  <a:prstDash val="solid"/>
                  <a:round/>
                </a:ln>
              </p:spPr>
              <p:txBody>
                <a:bodyPr rtlCol="0" anchor="ctr"/>
                <a:lstStyle/>
                <a:p>
                  <a:endParaRPr lang="en-GB"/>
                </a:p>
              </p:txBody>
            </p:sp>
            <p:sp>
              <p:nvSpPr>
                <p:cNvPr id="6533" name="Vrije vorm: vorm 6532">
                  <a:extLst>
                    <a:ext uri="{FF2B5EF4-FFF2-40B4-BE49-F238E27FC236}">
                      <a16:creationId xmlns:a16="http://schemas.microsoft.com/office/drawing/2014/main" id="{E492BB63-87C2-484D-A50B-C1E34A293D86}"/>
                    </a:ext>
                  </a:extLst>
                </p:cNvPr>
                <p:cNvSpPr/>
                <p:nvPr/>
              </p:nvSpPr>
              <p:spPr>
                <a:xfrm>
                  <a:off x="6961759" y="1941861"/>
                  <a:ext cx="4725" cy="3528"/>
                </a:xfrm>
                <a:custGeom>
                  <a:avLst/>
                  <a:gdLst>
                    <a:gd name="connsiteX0" fmla="*/ 4725 w 4725"/>
                    <a:gd name="connsiteY0" fmla="*/ 0 h 3528"/>
                    <a:gd name="connsiteX1" fmla="*/ 4725 w 4725"/>
                    <a:gd name="connsiteY1" fmla="*/ 0 h 3528"/>
                    <a:gd name="connsiteX2" fmla="*/ 3290 w 4725"/>
                    <a:gd name="connsiteY2" fmla="*/ 1136 h 3528"/>
                    <a:gd name="connsiteX3" fmla="*/ 3230 w 4725"/>
                    <a:gd name="connsiteY3" fmla="*/ 1196 h 3528"/>
                    <a:gd name="connsiteX4" fmla="*/ 1495 w 4725"/>
                    <a:gd name="connsiteY4" fmla="*/ 2572 h 3528"/>
                    <a:gd name="connsiteX5" fmla="*/ 419 w 4725"/>
                    <a:gd name="connsiteY5" fmla="*/ 3409 h 3528"/>
                    <a:gd name="connsiteX6" fmla="*/ 359 w 4725"/>
                    <a:gd name="connsiteY6" fmla="*/ 3469 h 3528"/>
                    <a:gd name="connsiteX7" fmla="*/ 0 w 4725"/>
                    <a:gd name="connsiteY7" fmla="*/ 3529 h 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5" h="3528">
                      <a:moveTo>
                        <a:pt x="4725" y="0"/>
                      </a:moveTo>
                      <a:lnTo>
                        <a:pt x="4725" y="0"/>
                      </a:lnTo>
                      <a:lnTo>
                        <a:pt x="3290" y="1136"/>
                      </a:lnTo>
                      <a:lnTo>
                        <a:pt x="3230" y="1196"/>
                      </a:lnTo>
                      <a:lnTo>
                        <a:pt x="1495" y="2572"/>
                      </a:lnTo>
                      <a:lnTo>
                        <a:pt x="419" y="3409"/>
                      </a:lnTo>
                      <a:lnTo>
                        <a:pt x="359" y="3469"/>
                      </a:lnTo>
                      <a:lnTo>
                        <a:pt x="0" y="3529"/>
                      </a:lnTo>
                    </a:path>
                  </a:pathLst>
                </a:custGeom>
                <a:noFill/>
                <a:ln w="6350" cap="rnd">
                  <a:solidFill>
                    <a:schemeClr val="bg1">
                      <a:alpha val="40000"/>
                    </a:schemeClr>
                  </a:solidFill>
                  <a:prstDash val="solid"/>
                  <a:round/>
                </a:ln>
              </p:spPr>
              <p:txBody>
                <a:bodyPr rtlCol="0" anchor="ctr"/>
                <a:lstStyle/>
                <a:p>
                  <a:endParaRPr lang="en-GB"/>
                </a:p>
              </p:txBody>
            </p:sp>
            <p:sp>
              <p:nvSpPr>
                <p:cNvPr id="6534" name="Vrije vorm: vorm 6533">
                  <a:extLst>
                    <a:ext uri="{FF2B5EF4-FFF2-40B4-BE49-F238E27FC236}">
                      <a16:creationId xmlns:a16="http://schemas.microsoft.com/office/drawing/2014/main" id="{344454C3-0B7A-44BB-B893-287D25464F53}"/>
                    </a:ext>
                  </a:extLst>
                </p:cNvPr>
                <p:cNvSpPr/>
                <p:nvPr/>
              </p:nvSpPr>
              <p:spPr>
                <a:xfrm>
                  <a:off x="7059783" y="1791685"/>
                  <a:ext cx="31996" cy="17164"/>
                </a:xfrm>
                <a:custGeom>
                  <a:avLst/>
                  <a:gdLst>
                    <a:gd name="connsiteX0" fmla="*/ 31997 w 31996"/>
                    <a:gd name="connsiteY0" fmla="*/ 17165 h 17164"/>
                    <a:gd name="connsiteX1" fmla="*/ 29066 w 31996"/>
                    <a:gd name="connsiteY1" fmla="*/ 14593 h 17164"/>
                    <a:gd name="connsiteX2" fmla="*/ 28648 w 31996"/>
                    <a:gd name="connsiteY2" fmla="*/ 14234 h 17164"/>
                    <a:gd name="connsiteX3" fmla="*/ 28050 w 31996"/>
                    <a:gd name="connsiteY3" fmla="*/ 13696 h 17164"/>
                    <a:gd name="connsiteX4" fmla="*/ 27990 w 31996"/>
                    <a:gd name="connsiteY4" fmla="*/ 13636 h 17164"/>
                    <a:gd name="connsiteX5" fmla="*/ 26435 w 31996"/>
                    <a:gd name="connsiteY5" fmla="*/ 12619 h 17164"/>
                    <a:gd name="connsiteX6" fmla="*/ 25658 w 31996"/>
                    <a:gd name="connsiteY6" fmla="*/ 12141 h 17164"/>
                    <a:gd name="connsiteX7" fmla="*/ 24700 w 31996"/>
                    <a:gd name="connsiteY7" fmla="*/ 11483 h 17164"/>
                    <a:gd name="connsiteX8" fmla="*/ 23863 w 31996"/>
                    <a:gd name="connsiteY8" fmla="*/ 11005 h 17164"/>
                    <a:gd name="connsiteX9" fmla="*/ 20155 w 31996"/>
                    <a:gd name="connsiteY9" fmla="*/ 8792 h 17164"/>
                    <a:gd name="connsiteX10" fmla="*/ 19677 w 31996"/>
                    <a:gd name="connsiteY10" fmla="*/ 8493 h 17164"/>
                    <a:gd name="connsiteX11" fmla="*/ 18959 w 31996"/>
                    <a:gd name="connsiteY11" fmla="*/ 8074 h 17164"/>
                    <a:gd name="connsiteX12" fmla="*/ 18600 w 31996"/>
                    <a:gd name="connsiteY12" fmla="*/ 7895 h 17164"/>
                    <a:gd name="connsiteX13" fmla="*/ 18361 w 31996"/>
                    <a:gd name="connsiteY13" fmla="*/ 7715 h 17164"/>
                    <a:gd name="connsiteX14" fmla="*/ 18361 w 31996"/>
                    <a:gd name="connsiteY14" fmla="*/ 7715 h 17164"/>
                    <a:gd name="connsiteX15" fmla="*/ 18122 w 31996"/>
                    <a:gd name="connsiteY15" fmla="*/ 7536 h 17164"/>
                    <a:gd name="connsiteX16" fmla="*/ 17464 w 31996"/>
                    <a:gd name="connsiteY16" fmla="*/ 7177 h 17164"/>
                    <a:gd name="connsiteX17" fmla="*/ 15491 w 31996"/>
                    <a:gd name="connsiteY17" fmla="*/ 5981 h 17164"/>
                    <a:gd name="connsiteX18" fmla="*/ 15371 w 31996"/>
                    <a:gd name="connsiteY18" fmla="*/ 5921 h 17164"/>
                    <a:gd name="connsiteX19" fmla="*/ 15191 w 31996"/>
                    <a:gd name="connsiteY19" fmla="*/ 5861 h 17164"/>
                    <a:gd name="connsiteX20" fmla="*/ 14772 w 31996"/>
                    <a:gd name="connsiteY20" fmla="*/ 5682 h 17164"/>
                    <a:gd name="connsiteX21" fmla="*/ 14713 w 31996"/>
                    <a:gd name="connsiteY21" fmla="*/ 5682 h 17164"/>
                    <a:gd name="connsiteX22" fmla="*/ 14653 w 31996"/>
                    <a:gd name="connsiteY22" fmla="*/ 5682 h 17164"/>
                    <a:gd name="connsiteX23" fmla="*/ 12021 w 31996"/>
                    <a:gd name="connsiteY23" fmla="*/ 4665 h 17164"/>
                    <a:gd name="connsiteX24" fmla="*/ 11483 w 31996"/>
                    <a:gd name="connsiteY24" fmla="*/ 4426 h 17164"/>
                    <a:gd name="connsiteX25" fmla="*/ 7536 w 31996"/>
                    <a:gd name="connsiteY25" fmla="*/ 2871 h 17164"/>
                    <a:gd name="connsiteX26" fmla="*/ 7476 w 31996"/>
                    <a:gd name="connsiteY26" fmla="*/ 2811 h 17164"/>
                    <a:gd name="connsiteX27" fmla="*/ 2572 w 31996"/>
                    <a:gd name="connsiteY27" fmla="*/ 897 h 17164"/>
                    <a:gd name="connsiteX28" fmla="*/ 2452 w 31996"/>
                    <a:gd name="connsiteY28" fmla="*/ 837 h 17164"/>
                    <a:gd name="connsiteX29" fmla="*/ 2452 w 31996"/>
                    <a:gd name="connsiteY29" fmla="*/ 837 h 17164"/>
                    <a:gd name="connsiteX30" fmla="*/ 0 w 31996"/>
                    <a:gd name="connsiteY30" fmla="*/ 0 h 1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996" h="17164">
                      <a:moveTo>
                        <a:pt x="31997" y="17165"/>
                      </a:moveTo>
                      <a:lnTo>
                        <a:pt x="29066" y="14593"/>
                      </a:lnTo>
                      <a:lnTo>
                        <a:pt x="28648" y="14234"/>
                      </a:lnTo>
                      <a:lnTo>
                        <a:pt x="28050" y="13696"/>
                      </a:lnTo>
                      <a:lnTo>
                        <a:pt x="27990" y="13636"/>
                      </a:lnTo>
                      <a:lnTo>
                        <a:pt x="26435" y="12619"/>
                      </a:lnTo>
                      <a:lnTo>
                        <a:pt x="25658" y="12141"/>
                      </a:lnTo>
                      <a:lnTo>
                        <a:pt x="24700" y="11483"/>
                      </a:lnTo>
                      <a:lnTo>
                        <a:pt x="23863" y="11005"/>
                      </a:lnTo>
                      <a:lnTo>
                        <a:pt x="20155" y="8792"/>
                      </a:lnTo>
                      <a:lnTo>
                        <a:pt x="19677" y="8493"/>
                      </a:lnTo>
                      <a:lnTo>
                        <a:pt x="18959" y="8074"/>
                      </a:lnTo>
                      <a:lnTo>
                        <a:pt x="18600" y="7895"/>
                      </a:lnTo>
                      <a:lnTo>
                        <a:pt x="18361" y="7715"/>
                      </a:lnTo>
                      <a:lnTo>
                        <a:pt x="18361" y="7715"/>
                      </a:lnTo>
                      <a:lnTo>
                        <a:pt x="18122" y="7536"/>
                      </a:lnTo>
                      <a:lnTo>
                        <a:pt x="17464" y="7177"/>
                      </a:lnTo>
                      <a:lnTo>
                        <a:pt x="15491" y="5981"/>
                      </a:lnTo>
                      <a:lnTo>
                        <a:pt x="15371" y="5921"/>
                      </a:lnTo>
                      <a:lnTo>
                        <a:pt x="15191" y="5861"/>
                      </a:lnTo>
                      <a:lnTo>
                        <a:pt x="14772" y="5682"/>
                      </a:lnTo>
                      <a:lnTo>
                        <a:pt x="14713" y="5682"/>
                      </a:lnTo>
                      <a:lnTo>
                        <a:pt x="14653" y="5682"/>
                      </a:lnTo>
                      <a:lnTo>
                        <a:pt x="12021" y="4665"/>
                      </a:lnTo>
                      <a:lnTo>
                        <a:pt x="11483" y="4426"/>
                      </a:lnTo>
                      <a:lnTo>
                        <a:pt x="7536" y="2871"/>
                      </a:lnTo>
                      <a:lnTo>
                        <a:pt x="7476" y="2811"/>
                      </a:lnTo>
                      <a:lnTo>
                        <a:pt x="2572" y="897"/>
                      </a:lnTo>
                      <a:lnTo>
                        <a:pt x="2452" y="837"/>
                      </a:lnTo>
                      <a:lnTo>
                        <a:pt x="2452" y="83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35" name="Vrije vorm: vorm 6534">
                  <a:extLst>
                    <a:ext uri="{FF2B5EF4-FFF2-40B4-BE49-F238E27FC236}">
                      <a16:creationId xmlns:a16="http://schemas.microsoft.com/office/drawing/2014/main" id="{D2CA3CC6-D1C2-4B58-86CC-6183DE2D1DD7}"/>
                    </a:ext>
                  </a:extLst>
                </p:cNvPr>
                <p:cNvSpPr/>
                <p:nvPr/>
              </p:nvSpPr>
              <p:spPr>
                <a:xfrm>
                  <a:off x="6952728" y="1731638"/>
                  <a:ext cx="48204" cy="26913"/>
                </a:xfrm>
                <a:custGeom>
                  <a:avLst/>
                  <a:gdLst>
                    <a:gd name="connsiteX0" fmla="*/ 48205 w 48204"/>
                    <a:gd name="connsiteY0" fmla="*/ 26913 h 26913"/>
                    <a:gd name="connsiteX1" fmla="*/ 45872 w 48204"/>
                    <a:gd name="connsiteY1" fmla="*/ 25597 h 26913"/>
                    <a:gd name="connsiteX2" fmla="*/ 45693 w 48204"/>
                    <a:gd name="connsiteY2" fmla="*/ 25478 h 26913"/>
                    <a:gd name="connsiteX3" fmla="*/ 42762 w 48204"/>
                    <a:gd name="connsiteY3" fmla="*/ 23803 h 26913"/>
                    <a:gd name="connsiteX4" fmla="*/ 40011 w 48204"/>
                    <a:gd name="connsiteY4" fmla="*/ 22248 h 26913"/>
                    <a:gd name="connsiteX5" fmla="*/ 39892 w 48204"/>
                    <a:gd name="connsiteY5" fmla="*/ 22189 h 26913"/>
                    <a:gd name="connsiteX6" fmla="*/ 39354 w 48204"/>
                    <a:gd name="connsiteY6" fmla="*/ 21889 h 26913"/>
                    <a:gd name="connsiteX7" fmla="*/ 38157 w 48204"/>
                    <a:gd name="connsiteY7" fmla="*/ 21232 h 26913"/>
                    <a:gd name="connsiteX8" fmla="*/ 37858 w 48204"/>
                    <a:gd name="connsiteY8" fmla="*/ 21052 h 26913"/>
                    <a:gd name="connsiteX9" fmla="*/ 37679 w 48204"/>
                    <a:gd name="connsiteY9" fmla="*/ 20933 h 26913"/>
                    <a:gd name="connsiteX10" fmla="*/ 37439 w 48204"/>
                    <a:gd name="connsiteY10" fmla="*/ 20813 h 26913"/>
                    <a:gd name="connsiteX11" fmla="*/ 31997 w 48204"/>
                    <a:gd name="connsiteY11" fmla="*/ 17763 h 26913"/>
                    <a:gd name="connsiteX12" fmla="*/ 31938 w 48204"/>
                    <a:gd name="connsiteY12" fmla="*/ 17703 h 26913"/>
                    <a:gd name="connsiteX13" fmla="*/ 31399 w 48204"/>
                    <a:gd name="connsiteY13" fmla="*/ 17404 h 26913"/>
                    <a:gd name="connsiteX14" fmla="*/ 30203 w 48204"/>
                    <a:gd name="connsiteY14" fmla="*/ 16746 h 26913"/>
                    <a:gd name="connsiteX15" fmla="*/ 29545 w 48204"/>
                    <a:gd name="connsiteY15" fmla="*/ 16387 h 26913"/>
                    <a:gd name="connsiteX16" fmla="*/ 29425 w 48204"/>
                    <a:gd name="connsiteY16" fmla="*/ 16327 h 26913"/>
                    <a:gd name="connsiteX17" fmla="*/ 27392 w 48204"/>
                    <a:gd name="connsiteY17" fmla="*/ 15191 h 26913"/>
                    <a:gd name="connsiteX18" fmla="*/ 26077 w 48204"/>
                    <a:gd name="connsiteY18" fmla="*/ 14473 h 26913"/>
                    <a:gd name="connsiteX19" fmla="*/ 25239 w 48204"/>
                    <a:gd name="connsiteY19" fmla="*/ 13995 h 26913"/>
                    <a:gd name="connsiteX20" fmla="*/ 23385 w 48204"/>
                    <a:gd name="connsiteY20" fmla="*/ 12978 h 26913"/>
                    <a:gd name="connsiteX21" fmla="*/ 16089 w 48204"/>
                    <a:gd name="connsiteY21" fmla="*/ 8911 h 26913"/>
                    <a:gd name="connsiteX22" fmla="*/ 12739 w 48204"/>
                    <a:gd name="connsiteY22" fmla="*/ 7057 h 26913"/>
                    <a:gd name="connsiteX23" fmla="*/ 12620 w 48204"/>
                    <a:gd name="connsiteY23" fmla="*/ 6997 h 26913"/>
                    <a:gd name="connsiteX24" fmla="*/ 12321 w 48204"/>
                    <a:gd name="connsiteY24" fmla="*/ 6818 h 26913"/>
                    <a:gd name="connsiteX25" fmla="*/ 12261 w 48204"/>
                    <a:gd name="connsiteY25" fmla="*/ 6818 h 26913"/>
                    <a:gd name="connsiteX26" fmla="*/ 11005 w 48204"/>
                    <a:gd name="connsiteY26" fmla="*/ 6100 h 26913"/>
                    <a:gd name="connsiteX27" fmla="*/ 9211 w 48204"/>
                    <a:gd name="connsiteY27" fmla="*/ 5084 h 26913"/>
                    <a:gd name="connsiteX28" fmla="*/ 7596 w 48204"/>
                    <a:gd name="connsiteY28" fmla="*/ 4186 h 26913"/>
                    <a:gd name="connsiteX29" fmla="*/ 4426 w 48204"/>
                    <a:gd name="connsiteY29" fmla="*/ 2452 h 26913"/>
                    <a:gd name="connsiteX30" fmla="*/ 3888 w 48204"/>
                    <a:gd name="connsiteY30" fmla="*/ 2153 h 26913"/>
                    <a:gd name="connsiteX31" fmla="*/ 1376 w 48204"/>
                    <a:gd name="connsiteY31" fmla="*/ 778 h 26913"/>
                    <a:gd name="connsiteX32" fmla="*/ 0 w 48204"/>
                    <a:gd name="connsiteY32" fmla="*/ 0 h 2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204" h="26913">
                      <a:moveTo>
                        <a:pt x="48205" y="26913"/>
                      </a:moveTo>
                      <a:lnTo>
                        <a:pt x="45872" y="25597"/>
                      </a:lnTo>
                      <a:lnTo>
                        <a:pt x="45693" y="25478"/>
                      </a:lnTo>
                      <a:lnTo>
                        <a:pt x="42762" y="23803"/>
                      </a:lnTo>
                      <a:lnTo>
                        <a:pt x="40011" y="22248"/>
                      </a:lnTo>
                      <a:lnTo>
                        <a:pt x="39892" y="22189"/>
                      </a:lnTo>
                      <a:lnTo>
                        <a:pt x="39354" y="21889"/>
                      </a:lnTo>
                      <a:lnTo>
                        <a:pt x="38157" y="21232"/>
                      </a:lnTo>
                      <a:lnTo>
                        <a:pt x="37858" y="21052"/>
                      </a:lnTo>
                      <a:lnTo>
                        <a:pt x="37679" y="20933"/>
                      </a:lnTo>
                      <a:lnTo>
                        <a:pt x="37439" y="20813"/>
                      </a:lnTo>
                      <a:lnTo>
                        <a:pt x="31997" y="17763"/>
                      </a:lnTo>
                      <a:lnTo>
                        <a:pt x="31938" y="17703"/>
                      </a:lnTo>
                      <a:lnTo>
                        <a:pt x="31399" y="17404"/>
                      </a:lnTo>
                      <a:lnTo>
                        <a:pt x="30203" y="16746"/>
                      </a:lnTo>
                      <a:lnTo>
                        <a:pt x="29545" y="16387"/>
                      </a:lnTo>
                      <a:lnTo>
                        <a:pt x="29425" y="16327"/>
                      </a:lnTo>
                      <a:lnTo>
                        <a:pt x="27392" y="15191"/>
                      </a:lnTo>
                      <a:lnTo>
                        <a:pt x="26077" y="14473"/>
                      </a:lnTo>
                      <a:lnTo>
                        <a:pt x="25239" y="13995"/>
                      </a:lnTo>
                      <a:lnTo>
                        <a:pt x="23385" y="12978"/>
                      </a:lnTo>
                      <a:lnTo>
                        <a:pt x="16089" y="8911"/>
                      </a:lnTo>
                      <a:lnTo>
                        <a:pt x="12739" y="7057"/>
                      </a:lnTo>
                      <a:lnTo>
                        <a:pt x="12620" y="6997"/>
                      </a:lnTo>
                      <a:lnTo>
                        <a:pt x="12321" y="6818"/>
                      </a:lnTo>
                      <a:lnTo>
                        <a:pt x="12261" y="6818"/>
                      </a:lnTo>
                      <a:lnTo>
                        <a:pt x="11005" y="6100"/>
                      </a:lnTo>
                      <a:lnTo>
                        <a:pt x="9211" y="5084"/>
                      </a:lnTo>
                      <a:lnTo>
                        <a:pt x="7596" y="4186"/>
                      </a:lnTo>
                      <a:lnTo>
                        <a:pt x="4426" y="2452"/>
                      </a:lnTo>
                      <a:lnTo>
                        <a:pt x="3888" y="2153"/>
                      </a:lnTo>
                      <a:lnTo>
                        <a:pt x="1376" y="77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36" name="Vrije vorm: vorm 6535">
                  <a:extLst>
                    <a:ext uri="{FF2B5EF4-FFF2-40B4-BE49-F238E27FC236}">
                      <a16:creationId xmlns:a16="http://schemas.microsoft.com/office/drawing/2014/main" id="{0F1C45BA-D864-41CF-BA2F-716310E6BE07}"/>
                    </a:ext>
                  </a:extLst>
                </p:cNvPr>
                <p:cNvSpPr/>
                <p:nvPr/>
              </p:nvSpPr>
              <p:spPr>
                <a:xfrm>
                  <a:off x="7016303" y="1756159"/>
                  <a:ext cx="21291" cy="26913"/>
                </a:xfrm>
                <a:custGeom>
                  <a:avLst/>
                  <a:gdLst>
                    <a:gd name="connsiteX0" fmla="*/ 21292 w 21291"/>
                    <a:gd name="connsiteY0" fmla="*/ 26913 h 26913"/>
                    <a:gd name="connsiteX1" fmla="*/ 20992 w 21291"/>
                    <a:gd name="connsiteY1" fmla="*/ 26734 h 26913"/>
                    <a:gd name="connsiteX2" fmla="*/ 18182 w 21291"/>
                    <a:gd name="connsiteY2" fmla="*/ 24760 h 26913"/>
                    <a:gd name="connsiteX3" fmla="*/ 13098 w 21291"/>
                    <a:gd name="connsiteY3" fmla="*/ 21172 h 26913"/>
                    <a:gd name="connsiteX4" fmla="*/ 12978 w 21291"/>
                    <a:gd name="connsiteY4" fmla="*/ 20873 h 26913"/>
                    <a:gd name="connsiteX5" fmla="*/ 12799 w 21291"/>
                    <a:gd name="connsiteY5" fmla="*/ 20514 h 26913"/>
                    <a:gd name="connsiteX6" fmla="*/ 12381 w 21291"/>
                    <a:gd name="connsiteY6" fmla="*/ 19497 h 26913"/>
                    <a:gd name="connsiteX7" fmla="*/ 12321 w 21291"/>
                    <a:gd name="connsiteY7" fmla="*/ 19377 h 26913"/>
                    <a:gd name="connsiteX8" fmla="*/ 12141 w 21291"/>
                    <a:gd name="connsiteY8" fmla="*/ 18959 h 26913"/>
                    <a:gd name="connsiteX9" fmla="*/ 11783 w 21291"/>
                    <a:gd name="connsiteY9" fmla="*/ 18181 h 26913"/>
                    <a:gd name="connsiteX10" fmla="*/ 11723 w 21291"/>
                    <a:gd name="connsiteY10" fmla="*/ 18062 h 26913"/>
                    <a:gd name="connsiteX11" fmla="*/ 11543 w 21291"/>
                    <a:gd name="connsiteY11" fmla="*/ 17643 h 26913"/>
                    <a:gd name="connsiteX12" fmla="*/ 11543 w 21291"/>
                    <a:gd name="connsiteY12" fmla="*/ 17643 h 26913"/>
                    <a:gd name="connsiteX13" fmla="*/ 11065 w 21291"/>
                    <a:gd name="connsiteY13" fmla="*/ 16507 h 26913"/>
                    <a:gd name="connsiteX14" fmla="*/ 10945 w 21291"/>
                    <a:gd name="connsiteY14" fmla="*/ 16208 h 26913"/>
                    <a:gd name="connsiteX15" fmla="*/ 10466 w 21291"/>
                    <a:gd name="connsiteY15" fmla="*/ 15131 h 26913"/>
                    <a:gd name="connsiteX16" fmla="*/ 10347 w 21291"/>
                    <a:gd name="connsiteY16" fmla="*/ 14832 h 26913"/>
                    <a:gd name="connsiteX17" fmla="*/ 9808 w 21291"/>
                    <a:gd name="connsiteY17" fmla="*/ 13516 h 26913"/>
                    <a:gd name="connsiteX18" fmla="*/ 9689 w 21291"/>
                    <a:gd name="connsiteY18" fmla="*/ 13277 h 26913"/>
                    <a:gd name="connsiteX19" fmla="*/ 7297 w 21291"/>
                    <a:gd name="connsiteY19" fmla="*/ 7835 h 26913"/>
                    <a:gd name="connsiteX20" fmla="*/ 3888 w 21291"/>
                    <a:gd name="connsiteY20" fmla="*/ 4186 h 26913"/>
                    <a:gd name="connsiteX21" fmla="*/ 957 w 21291"/>
                    <a:gd name="connsiteY21" fmla="*/ 1017 h 26913"/>
                    <a:gd name="connsiteX22" fmla="*/ 0 w 21291"/>
                    <a:gd name="connsiteY22" fmla="*/ 0 h 2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91" h="26913">
                      <a:moveTo>
                        <a:pt x="21292" y="26913"/>
                      </a:moveTo>
                      <a:lnTo>
                        <a:pt x="20992" y="26734"/>
                      </a:lnTo>
                      <a:lnTo>
                        <a:pt x="18182" y="24760"/>
                      </a:lnTo>
                      <a:lnTo>
                        <a:pt x="13098" y="21172"/>
                      </a:lnTo>
                      <a:lnTo>
                        <a:pt x="12978" y="20873"/>
                      </a:lnTo>
                      <a:lnTo>
                        <a:pt x="12799" y="20514"/>
                      </a:lnTo>
                      <a:lnTo>
                        <a:pt x="12381" y="19497"/>
                      </a:lnTo>
                      <a:lnTo>
                        <a:pt x="12321" y="19377"/>
                      </a:lnTo>
                      <a:lnTo>
                        <a:pt x="12141" y="18959"/>
                      </a:lnTo>
                      <a:lnTo>
                        <a:pt x="11783" y="18181"/>
                      </a:lnTo>
                      <a:lnTo>
                        <a:pt x="11723" y="18062"/>
                      </a:lnTo>
                      <a:lnTo>
                        <a:pt x="11543" y="17643"/>
                      </a:lnTo>
                      <a:lnTo>
                        <a:pt x="11543" y="17643"/>
                      </a:lnTo>
                      <a:lnTo>
                        <a:pt x="11065" y="16507"/>
                      </a:lnTo>
                      <a:lnTo>
                        <a:pt x="10945" y="16208"/>
                      </a:lnTo>
                      <a:lnTo>
                        <a:pt x="10466" y="15131"/>
                      </a:lnTo>
                      <a:lnTo>
                        <a:pt x="10347" y="14832"/>
                      </a:lnTo>
                      <a:lnTo>
                        <a:pt x="9808" y="13516"/>
                      </a:lnTo>
                      <a:lnTo>
                        <a:pt x="9689" y="13277"/>
                      </a:lnTo>
                      <a:lnTo>
                        <a:pt x="7297" y="7835"/>
                      </a:lnTo>
                      <a:lnTo>
                        <a:pt x="3888" y="4186"/>
                      </a:lnTo>
                      <a:lnTo>
                        <a:pt x="957" y="101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37" name="Vrije vorm: vorm 6536">
                  <a:extLst>
                    <a:ext uri="{FF2B5EF4-FFF2-40B4-BE49-F238E27FC236}">
                      <a16:creationId xmlns:a16="http://schemas.microsoft.com/office/drawing/2014/main" id="{2377B456-F428-41D4-A166-85A3B3508B08}"/>
                    </a:ext>
                  </a:extLst>
                </p:cNvPr>
                <p:cNvSpPr/>
                <p:nvPr/>
              </p:nvSpPr>
              <p:spPr>
                <a:xfrm>
                  <a:off x="6982034" y="1732416"/>
                  <a:ext cx="68060" cy="37140"/>
                </a:xfrm>
                <a:custGeom>
                  <a:avLst/>
                  <a:gdLst>
                    <a:gd name="connsiteX0" fmla="*/ 0 w 68060"/>
                    <a:gd name="connsiteY0" fmla="*/ 0 h 37140"/>
                    <a:gd name="connsiteX1" fmla="*/ 2632 w 68060"/>
                    <a:gd name="connsiteY1" fmla="*/ 1196 h 37140"/>
                    <a:gd name="connsiteX2" fmla="*/ 15371 w 68060"/>
                    <a:gd name="connsiteY2" fmla="*/ 7476 h 37140"/>
                    <a:gd name="connsiteX3" fmla="*/ 37380 w 68060"/>
                    <a:gd name="connsiteY3" fmla="*/ 19079 h 37140"/>
                    <a:gd name="connsiteX4" fmla="*/ 59090 w 68060"/>
                    <a:gd name="connsiteY4" fmla="*/ 31638 h 37140"/>
                    <a:gd name="connsiteX5" fmla="*/ 68061 w 68060"/>
                    <a:gd name="connsiteY5" fmla="*/ 37140 h 3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60" h="37140">
                      <a:moveTo>
                        <a:pt x="0" y="0"/>
                      </a:moveTo>
                      <a:lnTo>
                        <a:pt x="2632" y="1196"/>
                      </a:lnTo>
                      <a:lnTo>
                        <a:pt x="15371" y="7476"/>
                      </a:lnTo>
                      <a:lnTo>
                        <a:pt x="37380" y="19079"/>
                      </a:lnTo>
                      <a:lnTo>
                        <a:pt x="59090" y="31638"/>
                      </a:lnTo>
                      <a:lnTo>
                        <a:pt x="68061" y="37140"/>
                      </a:lnTo>
                    </a:path>
                  </a:pathLst>
                </a:custGeom>
                <a:noFill/>
                <a:ln w="6350" cap="rnd">
                  <a:solidFill>
                    <a:schemeClr val="bg1">
                      <a:alpha val="40000"/>
                    </a:schemeClr>
                  </a:solidFill>
                  <a:prstDash val="solid"/>
                  <a:round/>
                </a:ln>
              </p:spPr>
              <p:txBody>
                <a:bodyPr rtlCol="0" anchor="ctr"/>
                <a:lstStyle/>
                <a:p>
                  <a:endParaRPr lang="en-GB"/>
                </a:p>
              </p:txBody>
            </p:sp>
            <p:sp>
              <p:nvSpPr>
                <p:cNvPr id="6538" name="Vrije vorm: vorm 6537">
                  <a:extLst>
                    <a:ext uri="{FF2B5EF4-FFF2-40B4-BE49-F238E27FC236}">
                      <a16:creationId xmlns:a16="http://schemas.microsoft.com/office/drawing/2014/main" id="{9A4BDF5E-6F81-410F-A29F-D54EB339B2DF}"/>
                    </a:ext>
                  </a:extLst>
                </p:cNvPr>
                <p:cNvSpPr/>
                <p:nvPr/>
              </p:nvSpPr>
              <p:spPr>
                <a:xfrm>
                  <a:off x="6745915" y="1845930"/>
                  <a:ext cx="11901" cy="17643"/>
                </a:xfrm>
                <a:custGeom>
                  <a:avLst/>
                  <a:gdLst>
                    <a:gd name="connsiteX0" fmla="*/ 9749 w 11901"/>
                    <a:gd name="connsiteY0" fmla="*/ 0 h 17643"/>
                    <a:gd name="connsiteX1" fmla="*/ 10885 w 11901"/>
                    <a:gd name="connsiteY1" fmla="*/ 2632 h 17643"/>
                    <a:gd name="connsiteX2" fmla="*/ 11902 w 11901"/>
                    <a:gd name="connsiteY2" fmla="*/ 5801 h 17643"/>
                    <a:gd name="connsiteX3" fmla="*/ 9988 w 11901"/>
                    <a:gd name="connsiteY3" fmla="*/ 8612 h 17643"/>
                    <a:gd name="connsiteX4" fmla="*/ 8552 w 11901"/>
                    <a:gd name="connsiteY4" fmla="*/ 10705 h 17643"/>
                    <a:gd name="connsiteX5" fmla="*/ 7057 w 11901"/>
                    <a:gd name="connsiteY5" fmla="*/ 12859 h 17643"/>
                    <a:gd name="connsiteX6" fmla="*/ 5263 w 11901"/>
                    <a:gd name="connsiteY6" fmla="*/ 15490 h 17643"/>
                    <a:gd name="connsiteX7" fmla="*/ 4904 w 11901"/>
                    <a:gd name="connsiteY7" fmla="*/ 16028 h 17643"/>
                    <a:gd name="connsiteX8" fmla="*/ 4306 w 11901"/>
                    <a:gd name="connsiteY8" fmla="*/ 16268 h 17643"/>
                    <a:gd name="connsiteX9" fmla="*/ 2392 w 11901"/>
                    <a:gd name="connsiteY9" fmla="*/ 16985 h 17643"/>
                    <a:gd name="connsiteX10" fmla="*/ 598 w 11901"/>
                    <a:gd name="connsiteY10" fmla="*/ 17643 h 17643"/>
                    <a:gd name="connsiteX11" fmla="*/ 0 w 11901"/>
                    <a:gd name="connsiteY11" fmla="*/ 17225 h 1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01" h="17643">
                      <a:moveTo>
                        <a:pt x="9749" y="0"/>
                      </a:moveTo>
                      <a:lnTo>
                        <a:pt x="10885" y="2632"/>
                      </a:lnTo>
                      <a:lnTo>
                        <a:pt x="11902" y="5801"/>
                      </a:lnTo>
                      <a:lnTo>
                        <a:pt x="9988" y="8612"/>
                      </a:lnTo>
                      <a:lnTo>
                        <a:pt x="8552" y="10705"/>
                      </a:lnTo>
                      <a:lnTo>
                        <a:pt x="7057" y="12859"/>
                      </a:lnTo>
                      <a:lnTo>
                        <a:pt x="5263" y="15490"/>
                      </a:lnTo>
                      <a:lnTo>
                        <a:pt x="4904" y="16028"/>
                      </a:lnTo>
                      <a:lnTo>
                        <a:pt x="4306" y="16268"/>
                      </a:lnTo>
                      <a:lnTo>
                        <a:pt x="2392" y="16985"/>
                      </a:lnTo>
                      <a:lnTo>
                        <a:pt x="598" y="17643"/>
                      </a:lnTo>
                      <a:lnTo>
                        <a:pt x="0" y="17225"/>
                      </a:lnTo>
                    </a:path>
                  </a:pathLst>
                </a:custGeom>
                <a:noFill/>
                <a:ln w="6350" cap="rnd">
                  <a:solidFill>
                    <a:schemeClr val="bg1">
                      <a:alpha val="40000"/>
                    </a:schemeClr>
                  </a:solidFill>
                  <a:prstDash val="solid"/>
                  <a:round/>
                </a:ln>
              </p:spPr>
              <p:txBody>
                <a:bodyPr rtlCol="0" anchor="ctr"/>
                <a:lstStyle/>
                <a:p>
                  <a:endParaRPr lang="en-GB"/>
                </a:p>
              </p:txBody>
            </p:sp>
            <p:sp>
              <p:nvSpPr>
                <p:cNvPr id="6539" name="Vrije vorm: vorm 6538">
                  <a:extLst>
                    <a:ext uri="{FF2B5EF4-FFF2-40B4-BE49-F238E27FC236}">
                      <a16:creationId xmlns:a16="http://schemas.microsoft.com/office/drawing/2014/main" id="{B7BE11CB-BD53-46BA-9CBB-054FD8F76EED}"/>
                    </a:ext>
                  </a:extLst>
                </p:cNvPr>
                <p:cNvSpPr/>
                <p:nvPr/>
              </p:nvSpPr>
              <p:spPr>
                <a:xfrm>
                  <a:off x="6849501" y="1803287"/>
                  <a:ext cx="896" cy="1854"/>
                </a:xfrm>
                <a:custGeom>
                  <a:avLst/>
                  <a:gdLst>
                    <a:gd name="connsiteX0" fmla="*/ 0 w 896"/>
                    <a:gd name="connsiteY0" fmla="*/ 1854 h 1854"/>
                    <a:gd name="connsiteX1" fmla="*/ 538 w 896"/>
                    <a:gd name="connsiteY1" fmla="*/ 478 h 1854"/>
                    <a:gd name="connsiteX2" fmla="*/ 897 w 896"/>
                    <a:gd name="connsiteY2" fmla="*/ 0 h 1854"/>
                  </a:gdLst>
                  <a:ahLst/>
                  <a:cxnLst>
                    <a:cxn ang="0">
                      <a:pos x="connsiteX0" y="connsiteY0"/>
                    </a:cxn>
                    <a:cxn ang="0">
                      <a:pos x="connsiteX1" y="connsiteY1"/>
                    </a:cxn>
                    <a:cxn ang="0">
                      <a:pos x="connsiteX2" y="connsiteY2"/>
                    </a:cxn>
                  </a:cxnLst>
                  <a:rect l="l" t="t" r="r" b="b"/>
                  <a:pathLst>
                    <a:path w="896" h="1854">
                      <a:moveTo>
                        <a:pt x="0" y="1854"/>
                      </a:moveTo>
                      <a:lnTo>
                        <a:pt x="538" y="478"/>
                      </a:lnTo>
                      <a:lnTo>
                        <a:pt x="897" y="0"/>
                      </a:lnTo>
                    </a:path>
                  </a:pathLst>
                </a:custGeom>
                <a:noFill/>
                <a:ln w="6350" cap="rnd">
                  <a:solidFill>
                    <a:schemeClr val="bg1">
                      <a:alpha val="40000"/>
                    </a:schemeClr>
                  </a:solidFill>
                  <a:prstDash val="solid"/>
                  <a:round/>
                </a:ln>
              </p:spPr>
              <p:txBody>
                <a:bodyPr rtlCol="0" anchor="ctr"/>
                <a:lstStyle/>
                <a:p>
                  <a:endParaRPr lang="en-GB"/>
                </a:p>
              </p:txBody>
            </p:sp>
            <p:sp>
              <p:nvSpPr>
                <p:cNvPr id="6540" name="Vrije vorm: vorm 6539">
                  <a:extLst>
                    <a:ext uri="{FF2B5EF4-FFF2-40B4-BE49-F238E27FC236}">
                      <a16:creationId xmlns:a16="http://schemas.microsoft.com/office/drawing/2014/main" id="{3FF04366-2AAA-4D97-B113-1F13F28AAE18}"/>
                    </a:ext>
                  </a:extLst>
                </p:cNvPr>
                <p:cNvSpPr/>
                <p:nvPr/>
              </p:nvSpPr>
              <p:spPr>
                <a:xfrm>
                  <a:off x="6725880" y="1817821"/>
                  <a:ext cx="34449" cy="72845"/>
                </a:xfrm>
                <a:custGeom>
                  <a:avLst/>
                  <a:gdLst>
                    <a:gd name="connsiteX0" fmla="*/ 20992 w 34449"/>
                    <a:gd name="connsiteY0" fmla="*/ 0 h 72845"/>
                    <a:gd name="connsiteX1" fmla="*/ 21411 w 34449"/>
                    <a:gd name="connsiteY1" fmla="*/ 1974 h 72845"/>
                    <a:gd name="connsiteX2" fmla="*/ 22428 w 34449"/>
                    <a:gd name="connsiteY2" fmla="*/ 4127 h 72845"/>
                    <a:gd name="connsiteX3" fmla="*/ 24940 w 34449"/>
                    <a:gd name="connsiteY3" fmla="*/ 6698 h 72845"/>
                    <a:gd name="connsiteX4" fmla="*/ 28946 w 34449"/>
                    <a:gd name="connsiteY4" fmla="*/ 9928 h 72845"/>
                    <a:gd name="connsiteX5" fmla="*/ 31578 w 34449"/>
                    <a:gd name="connsiteY5" fmla="*/ 12260 h 72845"/>
                    <a:gd name="connsiteX6" fmla="*/ 33851 w 34449"/>
                    <a:gd name="connsiteY6" fmla="*/ 15490 h 72845"/>
                    <a:gd name="connsiteX7" fmla="*/ 34449 w 34449"/>
                    <a:gd name="connsiteY7" fmla="*/ 19019 h 72845"/>
                    <a:gd name="connsiteX8" fmla="*/ 33313 w 34449"/>
                    <a:gd name="connsiteY8" fmla="*/ 22607 h 72845"/>
                    <a:gd name="connsiteX9" fmla="*/ 29784 w 34449"/>
                    <a:gd name="connsiteY9" fmla="*/ 28109 h 72845"/>
                    <a:gd name="connsiteX10" fmla="*/ 27691 w 34449"/>
                    <a:gd name="connsiteY10" fmla="*/ 31399 h 72845"/>
                    <a:gd name="connsiteX11" fmla="*/ 26794 w 34449"/>
                    <a:gd name="connsiteY11" fmla="*/ 32774 h 72845"/>
                    <a:gd name="connsiteX12" fmla="*/ 25597 w 34449"/>
                    <a:gd name="connsiteY12" fmla="*/ 34688 h 72845"/>
                    <a:gd name="connsiteX13" fmla="*/ 25298 w 34449"/>
                    <a:gd name="connsiteY13" fmla="*/ 35107 h 72845"/>
                    <a:gd name="connsiteX14" fmla="*/ 23683 w 34449"/>
                    <a:gd name="connsiteY14" fmla="*/ 37619 h 72845"/>
                    <a:gd name="connsiteX15" fmla="*/ 22488 w 34449"/>
                    <a:gd name="connsiteY15" fmla="*/ 39473 h 72845"/>
                    <a:gd name="connsiteX16" fmla="*/ 21052 w 34449"/>
                    <a:gd name="connsiteY16" fmla="*/ 41686 h 72845"/>
                    <a:gd name="connsiteX17" fmla="*/ 19796 w 34449"/>
                    <a:gd name="connsiteY17" fmla="*/ 43659 h 72845"/>
                    <a:gd name="connsiteX18" fmla="*/ 19617 w 34449"/>
                    <a:gd name="connsiteY18" fmla="*/ 43958 h 72845"/>
                    <a:gd name="connsiteX19" fmla="*/ 17882 w 34449"/>
                    <a:gd name="connsiteY19" fmla="*/ 46530 h 72845"/>
                    <a:gd name="connsiteX20" fmla="*/ 15012 w 34449"/>
                    <a:gd name="connsiteY20" fmla="*/ 50776 h 72845"/>
                    <a:gd name="connsiteX21" fmla="*/ 13696 w 34449"/>
                    <a:gd name="connsiteY21" fmla="*/ 52750 h 72845"/>
                    <a:gd name="connsiteX22" fmla="*/ 9330 w 34449"/>
                    <a:gd name="connsiteY22" fmla="*/ 59149 h 72845"/>
                    <a:gd name="connsiteX23" fmla="*/ 2572 w 34449"/>
                    <a:gd name="connsiteY23" fmla="*/ 69077 h 72845"/>
                    <a:gd name="connsiteX24" fmla="*/ 0 w 34449"/>
                    <a:gd name="connsiteY24" fmla="*/ 72845 h 7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449" h="72845">
                      <a:moveTo>
                        <a:pt x="20992" y="0"/>
                      </a:moveTo>
                      <a:lnTo>
                        <a:pt x="21411" y="1974"/>
                      </a:lnTo>
                      <a:lnTo>
                        <a:pt x="22428" y="4127"/>
                      </a:lnTo>
                      <a:lnTo>
                        <a:pt x="24940" y="6698"/>
                      </a:lnTo>
                      <a:lnTo>
                        <a:pt x="28946" y="9928"/>
                      </a:lnTo>
                      <a:lnTo>
                        <a:pt x="31578" y="12260"/>
                      </a:lnTo>
                      <a:lnTo>
                        <a:pt x="33851" y="15490"/>
                      </a:lnTo>
                      <a:lnTo>
                        <a:pt x="34449" y="19019"/>
                      </a:lnTo>
                      <a:lnTo>
                        <a:pt x="33313" y="22607"/>
                      </a:lnTo>
                      <a:lnTo>
                        <a:pt x="29784" y="28109"/>
                      </a:lnTo>
                      <a:lnTo>
                        <a:pt x="27691" y="31399"/>
                      </a:lnTo>
                      <a:lnTo>
                        <a:pt x="26794" y="32774"/>
                      </a:lnTo>
                      <a:lnTo>
                        <a:pt x="25597" y="34688"/>
                      </a:lnTo>
                      <a:lnTo>
                        <a:pt x="25298" y="35107"/>
                      </a:lnTo>
                      <a:lnTo>
                        <a:pt x="23683" y="37619"/>
                      </a:lnTo>
                      <a:lnTo>
                        <a:pt x="22488" y="39473"/>
                      </a:lnTo>
                      <a:lnTo>
                        <a:pt x="21052" y="41686"/>
                      </a:lnTo>
                      <a:lnTo>
                        <a:pt x="19796" y="43659"/>
                      </a:lnTo>
                      <a:lnTo>
                        <a:pt x="19617" y="43958"/>
                      </a:lnTo>
                      <a:lnTo>
                        <a:pt x="17882" y="46530"/>
                      </a:lnTo>
                      <a:lnTo>
                        <a:pt x="15012" y="50776"/>
                      </a:lnTo>
                      <a:lnTo>
                        <a:pt x="13696" y="52750"/>
                      </a:lnTo>
                      <a:lnTo>
                        <a:pt x="9330" y="59149"/>
                      </a:lnTo>
                      <a:lnTo>
                        <a:pt x="2572" y="69077"/>
                      </a:lnTo>
                      <a:lnTo>
                        <a:pt x="0" y="72845"/>
                      </a:lnTo>
                    </a:path>
                  </a:pathLst>
                </a:custGeom>
                <a:noFill/>
                <a:ln w="6350" cap="rnd">
                  <a:solidFill>
                    <a:schemeClr val="bg1">
                      <a:alpha val="40000"/>
                    </a:schemeClr>
                  </a:solidFill>
                  <a:prstDash val="solid"/>
                  <a:round/>
                </a:ln>
              </p:spPr>
              <p:txBody>
                <a:bodyPr rtlCol="0" anchor="ctr"/>
                <a:lstStyle/>
                <a:p>
                  <a:endParaRPr lang="en-GB"/>
                </a:p>
              </p:txBody>
            </p:sp>
            <p:sp>
              <p:nvSpPr>
                <p:cNvPr id="6541" name="Vrije vorm: vorm 6540">
                  <a:extLst>
                    <a:ext uri="{FF2B5EF4-FFF2-40B4-BE49-F238E27FC236}">
                      <a16:creationId xmlns:a16="http://schemas.microsoft.com/office/drawing/2014/main" id="{B9808B32-0999-4ED7-BE57-C5D3ACF5E413}"/>
                    </a:ext>
                  </a:extLst>
                </p:cNvPr>
                <p:cNvSpPr/>
                <p:nvPr/>
              </p:nvSpPr>
              <p:spPr>
                <a:xfrm>
                  <a:off x="7009605" y="2035280"/>
                  <a:ext cx="8074" cy="11782"/>
                </a:xfrm>
                <a:custGeom>
                  <a:avLst/>
                  <a:gdLst>
                    <a:gd name="connsiteX0" fmla="*/ 7058 w 8074"/>
                    <a:gd name="connsiteY0" fmla="*/ 0 h 11782"/>
                    <a:gd name="connsiteX1" fmla="*/ 8075 w 8074"/>
                    <a:gd name="connsiteY1" fmla="*/ 60 h 11782"/>
                    <a:gd name="connsiteX2" fmla="*/ 8015 w 8074"/>
                    <a:gd name="connsiteY2" fmla="*/ 3409 h 11782"/>
                    <a:gd name="connsiteX3" fmla="*/ 8015 w 8074"/>
                    <a:gd name="connsiteY3" fmla="*/ 4306 h 11782"/>
                    <a:gd name="connsiteX4" fmla="*/ 5862 w 8074"/>
                    <a:gd name="connsiteY4" fmla="*/ 7954 h 11782"/>
                    <a:gd name="connsiteX5" fmla="*/ 1435 w 8074"/>
                    <a:gd name="connsiteY5" fmla="*/ 11782 h 11782"/>
                    <a:gd name="connsiteX6" fmla="*/ 0 w 8074"/>
                    <a:gd name="connsiteY6" fmla="*/ 11603 h 1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74" h="11782">
                      <a:moveTo>
                        <a:pt x="7058" y="0"/>
                      </a:moveTo>
                      <a:lnTo>
                        <a:pt x="8075" y="60"/>
                      </a:lnTo>
                      <a:lnTo>
                        <a:pt x="8015" y="3409"/>
                      </a:lnTo>
                      <a:lnTo>
                        <a:pt x="8015" y="4306"/>
                      </a:lnTo>
                      <a:lnTo>
                        <a:pt x="5862" y="7954"/>
                      </a:lnTo>
                      <a:lnTo>
                        <a:pt x="1435" y="11782"/>
                      </a:lnTo>
                      <a:lnTo>
                        <a:pt x="0" y="11603"/>
                      </a:lnTo>
                    </a:path>
                  </a:pathLst>
                </a:custGeom>
                <a:noFill/>
                <a:ln w="6350" cap="rnd">
                  <a:solidFill>
                    <a:schemeClr val="bg1">
                      <a:alpha val="40000"/>
                    </a:schemeClr>
                  </a:solidFill>
                  <a:prstDash val="solid"/>
                  <a:round/>
                </a:ln>
              </p:spPr>
              <p:txBody>
                <a:bodyPr rtlCol="0" anchor="ctr"/>
                <a:lstStyle/>
                <a:p>
                  <a:endParaRPr lang="en-GB"/>
                </a:p>
              </p:txBody>
            </p:sp>
            <p:sp>
              <p:nvSpPr>
                <p:cNvPr id="6542" name="Vrije vorm: vorm 6541">
                  <a:extLst>
                    <a:ext uri="{FF2B5EF4-FFF2-40B4-BE49-F238E27FC236}">
                      <a16:creationId xmlns:a16="http://schemas.microsoft.com/office/drawing/2014/main" id="{57E36202-1D67-48B2-8404-7B3E2AF2BDE7}"/>
                    </a:ext>
                  </a:extLst>
                </p:cNvPr>
                <p:cNvSpPr/>
                <p:nvPr/>
              </p:nvSpPr>
              <p:spPr>
                <a:xfrm>
                  <a:off x="7019533" y="1887376"/>
                  <a:ext cx="18899" cy="5203"/>
                </a:xfrm>
                <a:custGeom>
                  <a:avLst/>
                  <a:gdLst>
                    <a:gd name="connsiteX0" fmla="*/ 18899 w 18899"/>
                    <a:gd name="connsiteY0" fmla="*/ 0 h 5203"/>
                    <a:gd name="connsiteX1" fmla="*/ 18720 w 18899"/>
                    <a:gd name="connsiteY1" fmla="*/ 0 h 5203"/>
                    <a:gd name="connsiteX2" fmla="*/ 17045 w 18899"/>
                    <a:gd name="connsiteY2" fmla="*/ 299 h 5203"/>
                    <a:gd name="connsiteX3" fmla="*/ 13816 w 18899"/>
                    <a:gd name="connsiteY3" fmla="*/ 957 h 5203"/>
                    <a:gd name="connsiteX4" fmla="*/ 5981 w 18899"/>
                    <a:gd name="connsiteY4" fmla="*/ 2512 h 5203"/>
                    <a:gd name="connsiteX5" fmla="*/ 299 w 18899"/>
                    <a:gd name="connsiteY5" fmla="*/ 5084 h 5203"/>
                    <a:gd name="connsiteX6" fmla="*/ 0 w 18899"/>
                    <a:gd name="connsiteY6" fmla="*/ 5203 h 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99" h="5203">
                      <a:moveTo>
                        <a:pt x="18899" y="0"/>
                      </a:moveTo>
                      <a:lnTo>
                        <a:pt x="18720" y="0"/>
                      </a:lnTo>
                      <a:lnTo>
                        <a:pt x="17045" y="299"/>
                      </a:lnTo>
                      <a:lnTo>
                        <a:pt x="13816" y="957"/>
                      </a:lnTo>
                      <a:lnTo>
                        <a:pt x="5981" y="2512"/>
                      </a:lnTo>
                      <a:lnTo>
                        <a:pt x="299" y="5084"/>
                      </a:lnTo>
                      <a:lnTo>
                        <a:pt x="0" y="5203"/>
                      </a:lnTo>
                    </a:path>
                  </a:pathLst>
                </a:custGeom>
                <a:noFill/>
                <a:ln w="6350" cap="rnd">
                  <a:solidFill>
                    <a:schemeClr val="bg1">
                      <a:alpha val="40000"/>
                    </a:schemeClr>
                  </a:solidFill>
                  <a:prstDash val="solid"/>
                  <a:round/>
                </a:ln>
              </p:spPr>
              <p:txBody>
                <a:bodyPr rtlCol="0" anchor="ctr"/>
                <a:lstStyle/>
                <a:p>
                  <a:endParaRPr lang="en-GB"/>
                </a:p>
              </p:txBody>
            </p:sp>
            <p:sp>
              <p:nvSpPr>
                <p:cNvPr id="6543" name="Vrije vorm: vorm 6542">
                  <a:extLst>
                    <a:ext uri="{FF2B5EF4-FFF2-40B4-BE49-F238E27FC236}">
                      <a16:creationId xmlns:a16="http://schemas.microsoft.com/office/drawing/2014/main" id="{5597AF3E-09C5-493E-8DCF-1CC24632B960}"/>
                    </a:ext>
                  </a:extLst>
                </p:cNvPr>
                <p:cNvSpPr/>
                <p:nvPr/>
              </p:nvSpPr>
              <p:spPr>
                <a:xfrm>
                  <a:off x="6867623" y="1737918"/>
                  <a:ext cx="38516" cy="40190"/>
                </a:xfrm>
                <a:custGeom>
                  <a:avLst/>
                  <a:gdLst>
                    <a:gd name="connsiteX0" fmla="*/ 0 w 38516"/>
                    <a:gd name="connsiteY0" fmla="*/ 40190 h 40190"/>
                    <a:gd name="connsiteX1" fmla="*/ 9569 w 38516"/>
                    <a:gd name="connsiteY1" fmla="*/ 29006 h 40190"/>
                    <a:gd name="connsiteX2" fmla="*/ 26794 w 38516"/>
                    <a:gd name="connsiteY2" fmla="*/ 10705 h 40190"/>
                    <a:gd name="connsiteX3" fmla="*/ 38516 w 38516"/>
                    <a:gd name="connsiteY3" fmla="*/ 0 h 40190"/>
                  </a:gdLst>
                  <a:ahLst/>
                  <a:cxnLst>
                    <a:cxn ang="0">
                      <a:pos x="connsiteX0" y="connsiteY0"/>
                    </a:cxn>
                    <a:cxn ang="0">
                      <a:pos x="connsiteX1" y="connsiteY1"/>
                    </a:cxn>
                    <a:cxn ang="0">
                      <a:pos x="connsiteX2" y="connsiteY2"/>
                    </a:cxn>
                    <a:cxn ang="0">
                      <a:pos x="connsiteX3" y="connsiteY3"/>
                    </a:cxn>
                  </a:cxnLst>
                  <a:rect l="l" t="t" r="r" b="b"/>
                  <a:pathLst>
                    <a:path w="38516" h="40190">
                      <a:moveTo>
                        <a:pt x="0" y="40190"/>
                      </a:moveTo>
                      <a:lnTo>
                        <a:pt x="9569" y="29006"/>
                      </a:lnTo>
                      <a:lnTo>
                        <a:pt x="26794" y="10705"/>
                      </a:lnTo>
                      <a:lnTo>
                        <a:pt x="38516" y="0"/>
                      </a:lnTo>
                    </a:path>
                  </a:pathLst>
                </a:custGeom>
                <a:noFill/>
                <a:ln w="6350" cap="rnd">
                  <a:solidFill>
                    <a:schemeClr val="bg1">
                      <a:alpha val="40000"/>
                    </a:schemeClr>
                  </a:solidFill>
                  <a:prstDash val="solid"/>
                  <a:round/>
                </a:ln>
              </p:spPr>
              <p:txBody>
                <a:bodyPr rtlCol="0" anchor="ctr"/>
                <a:lstStyle/>
                <a:p>
                  <a:endParaRPr lang="en-GB"/>
                </a:p>
              </p:txBody>
            </p:sp>
            <p:sp>
              <p:nvSpPr>
                <p:cNvPr id="6544" name="Vrije vorm: vorm 6543">
                  <a:extLst>
                    <a:ext uri="{FF2B5EF4-FFF2-40B4-BE49-F238E27FC236}">
                      <a16:creationId xmlns:a16="http://schemas.microsoft.com/office/drawing/2014/main" id="{CBEAC3C8-AB88-41A5-8D74-82479FE0839B}"/>
                    </a:ext>
                  </a:extLst>
                </p:cNvPr>
                <p:cNvSpPr/>
                <p:nvPr/>
              </p:nvSpPr>
              <p:spPr>
                <a:xfrm>
                  <a:off x="6847707" y="1789113"/>
                  <a:ext cx="11423" cy="19556"/>
                </a:xfrm>
                <a:custGeom>
                  <a:avLst/>
                  <a:gdLst>
                    <a:gd name="connsiteX0" fmla="*/ 0 w 11423"/>
                    <a:gd name="connsiteY0" fmla="*/ 19557 h 19556"/>
                    <a:gd name="connsiteX1" fmla="*/ 1675 w 11423"/>
                    <a:gd name="connsiteY1" fmla="*/ 16268 h 19556"/>
                    <a:gd name="connsiteX2" fmla="*/ 1854 w 11423"/>
                    <a:gd name="connsiteY2" fmla="*/ 15969 h 19556"/>
                    <a:gd name="connsiteX3" fmla="*/ 2751 w 11423"/>
                    <a:gd name="connsiteY3" fmla="*/ 14115 h 19556"/>
                    <a:gd name="connsiteX4" fmla="*/ 4126 w 11423"/>
                    <a:gd name="connsiteY4" fmla="*/ 11423 h 19556"/>
                    <a:gd name="connsiteX5" fmla="*/ 5443 w 11423"/>
                    <a:gd name="connsiteY5" fmla="*/ 9330 h 19556"/>
                    <a:gd name="connsiteX6" fmla="*/ 5443 w 11423"/>
                    <a:gd name="connsiteY6" fmla="*/ 9330 h 19556"/>
                    <a:gd name="connsiteX7" fmla="*/ 5503 w 11423"/>
                    <a:gd name="connsiteY7" fmla="*/ 9270 h 19556"/>
                    <a:gd name="connsiteX8" fmla="*/ 8134 w 11423"/>
                    <a:gd name="connsiteY8" fmla="*/ 5024 h 19556"/>
                    <a:gd name="connsiteX9" fmla="*/ 10287 w 11423"/>
                    <a:gd name="connsiteY9" fmla="*/ 1615 h 19556"/>
                    <a:gd name="connsiteX10" fmla="*/ 11423 w 11423"/>
                    <a:gd name="connsiteY10" fmla="*/ 0 h 1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23" h="19556">
                      <a:moveTo>
                        <a:pt x="0" y="19557"/>
                      </a:moveTo>
                      <a:lnTo>
                        <a:pt x="1675" y="16268"/>
                      </a:lnTo>
                      <a:lnTo>
                        <a:pt x="1854" y="15969"/>
                      </a:lnTo>
                      <a:lnTo>
                        <a:pt x="2751" y="14115"/>
                      </a:lnTo>
                      <a:lnTo>
                        <a:pt x="4126" y="11423"/>
                      </a:lnTo>
                      <a:lnTo>
                        <a:pt x="5443" y="9330"/>
                      </a:lnTo>
                      <a:lnTo>
                        <a:pt x="5443" y="9330"/>
                      </a:lnTo>
                      <a:lnTo>
                        <a:pt x="5503" y="9270"/>
                      </a:lnTo>
                      <a:lnTo>
                        <a:pt x="8134" y="5024"/>
                      </a:lnTo>
                      <a:lnTo>
                        <a:pt x="10287" y="1615"/>
                      </a:lnTo>
                      <a:lnTo>
                        <a:pt x="11423" y="0"/>
                      </a:lnTo>
                    </a:path>
                  </a:pathLst>
                </a:custGeom>
                <a:noFill/>
                <a:ln w="6350" cap="rnd">
                  <a:solidFill>
                    <a:schemeClr val="bg1">
                      <a:alpha val="40000"/>
                    </a:schemeClr>
                  </a:solidFill>
                  <a:prstDash val="solid"/>
                  <a:round/>
                </a:ln>
              </p:spPr>
              <p:txBody>
                <a:bodyPr rtlCol="0" anchor="ctr"/>
                <a:lstStyle/>
                <a:p>
                  <a:endParaRPr lang="en-GB"/>
                </a:p>
              </p:txBody>
            </p:sp>
            <p:sp>
              <p:nvSpPr>
                <p:cNvPr id="6545" name="Vrije vorm: vorm 6544">
                  <a:extLst>
                    <a:ext uri="{FF2B5EF4-FFF2-40B4-BE49-F238E27FC236}">
                      <a16:creationId xmlns:a16="http://schemas.microsoft.com/office/drawing/2014/main" id="{7F583BBA-0128-42A8-B076-D0ADF1681D89}"/>
                    </a:ext>
                  </a:extLst>
                </p:cNvPr>
                <p:cNvSpPr/>
                <p:nvPr/>
              </p:nvSpPr>
              <p:spPr>
                <a:xfrm>
                  <a:off x="6899141" y="1917758"/>
                  <a:ext cx="8791" cy="1136"/>
                </a:xfrm>
                <a:custGeom>
                  <a:avLst/>
                  <a:gdLst>
                    <a:gd name="connsiteX0" fmla="*/ 0 w 8791"/>
                    <a:gd name="connsiteY0" fmla="*/ 0 h 1136"/>
                    <a:gd name="connsiteX1" fmla="*/ 598 w 8791"/>
                    <a:gd name="connsiteY1" fmla="*/ 179 h 1136"/>
                    <a:gd name="connsiteX2" fmla="*/ 1256 w 8791"/>
                    <a:gd name="connsiteY2" fmla="*/ 359 h 1136"/>
                    <a:gd name="connsiteX3" fmla="*/ 1914 w 8791"/>
                    <a:gd name="connsiteY3" fmla="*/ 538 h 1136"/>
                    <a:gd name="connsiteX4" fmla="*/ 2990 w 8791"/>
                    <a:gd name="connsiteY4" fmla="*/ 837 h 1136"/>
                    <a:gd name="connsiteX5" fmla="*/ 4067 w 8791"/>
                    <a:gd name="connsiteY5" fmla="*/ 1136 h 1136"/>
                    <a:gd name="connsiteX6" fmla="*/ 4246 w 8791"/>
                    <a:gd name="connsiteY6" fmla="*/ 1077 h 1136"/>
                    <a:gd name="connsiteX7" fmla="*/ 4605 w 8791"/>
                    <a:gd name="connsiteY7" fmla="*/ 1017 h 1136"/>
                    <a:gd name="connsiteX8" fmla="*/ 6818 w 8791"/>
                    <a:gd name="connsiteY8" fmla="*/ 658 h 1136"/>
                    <a:gd name="connsiteX9" fmla="*/ 7296 w 8791"/>
                    <a:gd name="connsiteY9" fmla="*/ 598 h 1136"/>
                    <a:gd name="connsiteX10" fmla="*/ 8791 w 8791"/>
                    <a:gd name="connsiteY10" fmla="*/ 299 h 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91" h="1136">
                      <a:moveTo>
                        <a:pt x="0" y="0"/>
                      </a:moveTo>
                      <a:lnTo>
                        <a:pt x="598" y="179"/>
                      </a:lnTo>
                      <a:lnTo>
                        <a:pt x="1256" y="359"/>
                      </a:lnTo>
                      <a:lnTo>
                        <a:pt x="1914" y="538"/>
                      </a:lnTo>
                      <a:lnTo>
                        <a:pt x="2990" y="837"/>
                      </a:lnTo>
                      <a:lnTo>
                        <a:pt x="4067" y="1136"/>
                      </a:lnTo>
                      <a:lnTo>
                        <a:pt x="4246" y="1077"/>
                      </a:lnTo>
                      <a:lnTo>
                        <a:pt x="4605" y="1017"/>
                      </a:lnTo>
                      <a:lnTo>
                        <a:pt x="6818" y="658"/>
                      </a:lnTo>
                      <a:lnTo>
                        <a:pt x="7296" y="598"/>
                      </a:lnTo>
                      <a:lnTo>
                        <a:pt x="8791" y="299"/>
                      </a:lnTo>
                    </a:path>
                  </a:pathLst>
                </a:custGeom>
                <a:noFill/>
                <a:ln w="6350" cap="rnd">
                  <a:solidFill>
                    <a:schemeClr val="bg1">
                      <a:alpha val="40000"/>
                    </a:schemeClr>
                  </a:solidFill>
                  <a:prstDash val="solid"/>
                  <a:round/>
                </a:ln>
              </p:spPr>
              <p:txBody>
                <a:bodyPr rtlCol="0" anchor="ctr"/>
                <a:lstStyle/>
                <a:p>
                  <a:endParaRPr lang="en-GB"/>
                </a:p>
              </p:txBody>
            </p:sp>
            <p:sp>
              <p:nvSpPr>
                <p:cNvPr id="6546" name="Vrije vorm: vorm 6545">
                  <a:extLst>
                    <a:ext uri="{FF2B5EF4-FFF2-40B4-BE49-F238E27FC236}">
                      <a16:creationId xmlns:a16="http://schemas.microsoft.com/office/drawing/2014/main" id="{75B7DBE9-3088-4BB6-A4AF-FC50AE0BD6AF}"/>
                    </a:ext>
                  </a:extLst>
                </p:cNvPr>
                <p:cNvSpPr/>
                <p:nvPr/>
              </p:nvSpPr>
              <p:spPr>
                <a:xfrm>
                  <a:off x="6625104" y="1844973"/>
                  <a:ext cx="2093" cy="30083"/>
                </a:xfrm>
                <a:custGeom>
                  <a:avLst/>
                  <a:gdLst>
                    <a:gd name="connsiteX0" fmla="*/ 2093 w 2093"/>
                    <a:gd name="connsiteY0" fmla="*/ 30083 h 30083"/>
                    <a:gd name="connsiteX1" fmla="*/ 718 w 2093"/>
                    <a:gd name="connsiteY1" fmla="*/ 28648 h 30083"/>
                    <a:gd name="connsiteX2" fmla="*/ 718 w 2093"/>
                    <a:gd name="connsiteY2" fmla="*/ 18540 h 30083"/>
                    <a:gd name="connsiteX3" fmla="*/ 359 w 2093"/>
                    <a:gd name="connsiteY3" fmla="*/ 6698 h 30083"/>
                    <a:gd name="connsiteX4" fmla="*/ 0 w 2093"/>
                    <a:gd name="connsiteY4" fmla="*/ 359 h 30083"/>
                    <a:gd name="connsiteX5" fmla="*/ 0 w 2093"/>
                    <a:gd name="connsiteY5" fmla="*/ 0 h 30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3" h="30083">
                      <a:moveTo>
                        <a:pt x="2093" y="30083"/>
                      </a:moveTo>
                      <a:lnTo>
                        <a:pt x="718" y="28648"/>
                      </a:lnTo>
                      <a:lnTo>
                        <a:pt x="718" y="18540"/>
                      </a:lnTo>
                      <a:lnTo>
                        <a:pt x="359" y="6698"/>
                      </a:lnTo>
                      <a:lnTo>
                        <a:pt x="0" y="35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47" name="Vrije vorm: vorm 6546">
                  <a:extLst>
                    <a:ext uri="{FF2B5EF4-FFF2-40B4-BE49-F238E27FC236}">
                      <a16:creationId xmlns:a16="http://schemas.microsoft.com/office/drawing/2014/main" id="{EACFF633-14C6-42FC-AAA3-47166BD45174}"/>
                    </a:ext>
                  </a:extLst>
                </p:cNvPr>
                <p:cNvSpPr/>
                <p:nvPr/>
              </p:nvSpPr>
              <p:spPr>
                <a:xfrm>
                  <a:off x="6636707" y="1854183"/>
                  <a:ext cx="57475" cy="18121"/>
                </a:xfrm>
                <a:custGeom>
                  <a:avLst/>
                  <a:gdLst>
                    <a:gd name="connsiteX0" fmla="*/ 1076 w 57475"/>
                    <a:gd name="connsiteY0" fmla="*/ 12021 h 18121"/>
                    <a:gd name="connsiteX1" fmla="*/ 0 w 57475"/>
                    <a:gd name="connsiteY1" fmla="*/ 10048 h 18121"/>
                    <a:gd name="connsiteX2" fmla="*/ 479 w 57475"/>
                    <a:gd name="connsiteY2" fmla="*/ 7237 h 18121"/>
                    <a:gd name="connsiteX3" fmla="*/ 1435 w 57475"/>
                    <a:gd name="connsiteY3" fmla="*/ 5442 h 18121"/>
                    <a:gd name="connsiteX4" fmla="*/ 11244 w 57475"/>
                    <a:gd name="connsiteY4" fmla="*/ 2213 h 18121"/>
                    <a:gd name="connsiteX5" fmla="*/ 25299 w 57475"/>
                    <a:gd name="connsiteY5" fmla="*/ 60 h 18121"/>
                    <a:gd name="connsiteX6" fmla="*/ 35107 w 57475"/>
                    <a:gd name="connsiteY6" fmla="*/ 0 h 18121"/>
                    <a:gd name="connsiteX7" fmla="*/ 45095 w 57475"/>
                    <a:gd name="connsiteY7" fmla="*/ 2213 h 18121"/>
                    <a:gd name="connsiteX8" fmla="*/ 49222 w 57475"/>
                    <a:gd name="connsiteY8" fmla="*/ 3768 h 18121"/>
                    <a:gd name="connsiteX9" fmla="*/ 49700 w 57475"/>
                    <a:gd name="connsiteY9" fmla="*/ 3947 h 18121"/>
                    <a:gd name="connsiteX10" fmla="*/ 52212 w 57475"/>
                    <a:gd name="connsiteY10" fmla="*/ 4904 h 18121"/>
                    <a:gd name="connsiteX11" fmla="*/ 55920 w 57475"/>
                    <a:gd name="connsiteY11" fmla="*/ 8792 h 18121"/>
                    <a:gd name="connsiteX12" fmla="*/ 56458 w 57475"/>
                    <a:gd name="connsiteY12" fmla="*/ 9330 h 18121"/>
                    <a:gd name="connsiteX13" fmla="*/ 57475 w 57475"/>
                    <a:gd name="connsiteY13" fmla="*/ 10347 h 18121"/>
                    <a:gd name="connsiteX14" fmla="*/ 56039 w 57475"/>
                    <a:gd name="connsiteY14" fmla="*/ 15849 h 18121"/>
                    <a:gd name="connsiteX15" fmla="*/ 55621 w 57475"/>
                    <a:gd name="connsiteY15" fmla="*/ 16268 h 18121"/>
                    <a:gd name="connsiteX16" fmla="*/ 53767 w 57475"/>
                    <a:gd name="connsiteY16" fmla="*/ 18122 h 18121"/>
                    <a:gd name="connsiteX17" fmla="*/ 50358 w 57475"/>
                    <a:gd name="connsiteY17" fmla="*/ 17583 h 18121"/>
                    <a:gd name="connsiteX18" fmla="*/ 49222 w 57475"/>
                    <a:gd name="connsiteY18" fmla="*/ 17045 h 1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475" h="18121">
                      <a:moveTo>
                        <a:pt x="1076" y="12021"/>
                      </a:moveTo>
                      <a:lnTo>
                        <a:pt x="0" y="10048"/>
                      </a:lnTo>
                      <a:lnTo>
                        <a:pt x="479" y="7237"/>
                      </a:lnTo>
                      <a:lnTo>
                        <a:pt x="1435" y="5442"/>
                      </a:lnTo>
                      <a:lnTo>
                        <a:pt x="11244" y="2213"/>
                      </a:lnTo>
                      <a:lnTo>
                        <a:pt x="25299" y="60"/>
                      </a:lnTo>
                      <a:lnTo>
                        <a:pt x="35107" y="0"/>
                      </a:lnTo>
                      <a:lnTo>
                        <a:pt x="45095" y="2213"/>
                      </a:lnTo>
                      <a:lnTo>
                        <a:pt x="49222" y="3768"/>
                      </a:lnTo>
                      <a:lnTo>
                        <a:pt x="49700" y="3947"/>
                      </a:lnTo>
                      <a:lnTo>
                        <a:pt x="52212" y="4904"/>
                      </a:lnTo>
                      <a:lnTo>
                        <a:pt x="55920" y="8792"/>
                      </a:lnTo>
                      <a:lnTo>
                        <a:pt x="56458" y="9330"/>
                      </a:lnTo>
                      <a:lnTo>
                        <a:pt x="57475" y="10347"/>
                      </a:lnTo>
                      <a:lnTo>
                        <a:pt x="56039" y="15849"/>
                      </a:lnTo>
                      <a:lnTo>
                        <a:pt x="55621" y="16268"/>
                      </a:lnTo>
                      <a:lnTo>
                        <a:pt x="53767" y="18122"/>
                      </a:lnTo>
                      <a:lnTo>
                        <a:pt x="50358" y="17583"/>
                      </a:lnTo>
                      <a:lnTo>
                        <a:pt x="49222" y="17045"/>
                      </a:lnTo>
                    </a:path>
                  </a:pathLst>
                </a:custGeom>
                <a:noFill/>
                <a:ln w="6350" cap="rnd">
                  <a:solidFill>
                    <a:schemeClr val="bg1">
                      <a:alpha val="40000"/>
                    </a:schemeClr>
                  </a:solidFill>
                  <a:prstDash val="solid"/>
                  <a:round/>
                </a:ln>
              </p:spPr>
              <p:txBody>
                <a:bodyPr rtlCol="0" anchor="ctr"/>
                <a:lstStyle/>
                <a:p>
                  <a:endParaRPr lang="en-GB"/>
                </a:p>
              </p:txBody>
            </p:sp>
            <p:sp>
              <p:nvSpPr>
                <p:cNvPr id="6548" name="Vrije vorm: vorm 6547">
                  <a:extLst>
                    <a:ext uri="{FF2B5EF4-FFF2-40B4-BE49-F238E27FC236}">
                      <a16:creationId xmlns:a16="http://schemas.microsoft.com/office/drawing/2014/main" id="{19D52195-57E2-41EA-9A4A-D2C679EBBD08}"/>
                    </a:ext>
                  </a:extLst>
                </p:cNvPr>
                <p:cNvSpPr/>
                <p:nvPr/>
              </p:nvSpPr>
              <p:spPr>
                <a:xfrm>
                  <a:off x="6841188" y="1775238"/>
                  <a:ext cx="15430" cy="9150"/>
                </a:xfrm>
                <a:custGeom>
                  <a:avLst/>
                  <a:gdLst>
                    <a:gd name="connsiteX0" fmla="*/ 0 w 15430"/>
                    <a:gd name="connsiteY0" fmla="*/ 0 h 9150"/>
                    <a:gd name="connsiteX1" fmla="*/ 1734 w 15430"/>
                    <a:gd name="connsiteY1" fmla="*/ 1017 h 9150"/>
                    <a:gd name="connsiteX2" fmla="*/ 4904 w 15430"/>
                    <a:gd name="connsiteY2" fmla="*/ 2931 h 9150"/>
                    <a:gd name="connsiteX3" fmla="*/ 9987 w 15430"/>
                    <a:gd name="connsiteY3" fmla="*/ 5921 h 9150"/>
                    <a:gd name="connsiteX4" fmla="*/ 12799 w 15430"/>
                    <a:gd name="connsiteY4" fmla="*/ 7596 h 9150"/>
                    <a:gd name="connsiteX5" fmla="*/ 15131 w 15430"/>
                    <a:gd name="connsiteY5" fmla="*/ 8971 h 9150"/>
                    <a:gd name="connsiteX6" fmla="*/ 15430 w 15430"/>
                    <a:gd name="connsiteY6" fmla="*/ 9151 h 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30" h="9150">
                      <a:moveTo>
                        <a:pt x="0" y="0"/>
                      </a:moveTo>
                      <a:lnTo>
                        <a:pt x="1734" y="1017"/>
                      </a:lnTo>
                      <a:lnTo>
                        <a:pt x="4904" y="2931"/>
                      </a:lnTo>
                      <a:lnTo>
                        <a:pt x="9987" y="5921"/>
                      </a:lnTo>
                      <a:lnTo>
                        <a:pt x="12799" y="7596"/>
                      </a:lnTo>
                      <a:lnTo>
                        <a:pt x="15131" y="8971"/>
                      </a:lnTo>
                      <a:lnTo>
                        <a:pt x="15430" y="9151"/>
                      </a:lnTo>
                    </a:path>
                  </a:pathLst>
                </a:custGeom>
                <a:noFill/>
                <a:ln w="6350" cap="rnd">
                  <a:solidFill>
                    <a:schemeClr val="bg1">
                      <a:alpha val="40000"/>
                    </a:schemeClr>
                  </a:solidFill>
                  <a:prstDash val="solid"/>
                  <a:round/>
                </a:ln>
              </p:spPr>
              <p:txBody>
                <a:bodyPr rtlCol="0" anchor="ctr"/>
                <a:lstStyle/>
                <a:p>
                  <a:endParaRPr lang="en-GB"/>
                </a:p>
              </p:txBody>
            </p:sp>
            <p:sp>
              <p:nvSpPr>
                <p:cNvPr id="6549" name="Vrije vorm: vorm 6548">
                  <a:extLst>
                    <a:ext uri="{FF2B5EF4-FFF2-40B4-BE49-F238E27FC236}">
                      <a16:creationId xmlns:a16="http://schemas.microsoft.com/office/drawing/2014/main" id="{C2A496F3-0E17-401F-9A79-8F2379A32072}"/>
                    </a:ext>
                  </a:extLst>
                </p:cNvPr>
                <p:cNvSpPr/>
                <p:nvPr/>
              </p:nvSpPr>
              <p:spPr>
                <a:xfrm>
                  <a:off x="6979283" y="1857592"/>
                  <a:ext cx="6458" cy="6279"/>
                </a:xfrm>
                <a:custGeom>
                  <a:avLst/>
                  <a:gdLst>
                    <a:gd name="connsiteX0" fmla="*/ 6280 w 6458"/>
                    <a:gd name="connsiteY0" fmla="*/ 6280 h 6279"/>
                    <a:gd name="connsiteX1" fmla="*/ 5503 w 6458"/>
                    <a:gd name="connsiteY1" fmla="*/ 5801 h 6279"/>
                    <a:gd name="connsiteX2" fmla="*/ 1555 w 6458"/>
                    <a:gd name="connsiteY2" fmla="*/ 3469 h 6279"/>
                    <a:gd name="connsiteX3" fmla="*/ 0 w 6458"/>
                    <a:gd name="connsiteY3" fmla="*/ 2572 h 6279"/>
                    <a:gd name="connsiteX4" fmla="*/ 718 w 6458"/>
                    <a:gd name="connsiteY4" fmla="*/ 1376 h 6279"/>
                    <a:gd name="connsiteX5" fmla="*/ 1555 w 6458"/>
                    <a:gd name="connsiteY5" fmla="*/ 0 h 6279"/>
                    <a:gd name="connsiteX6" fmla="*/ 3110 w 6458"/>
                    <a:gd name="connsiteY6" fmla="*/ 897 h 6279"/>
                    <a:gd name="connsiteX7" fmla="*/ 5562 w 6458"/>
                    <a:gd name="connsiteY7" fmla="*/ 2332 h 6279"/>
                    <a:gd name="connsiteX8" fmla="*/ 6459 w 6458"/>
                    <a:gd name="connsiteY8" fmla="*/ 287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58" h="6279">
                      <a:moveTo>
                        <a:pt x="6280" y="6280"/>
                      </a:moveTo>
                      <a:lnTo>
                        <a:pt x="5503" y="5801"/>
                      </a:lnTo>
                      <a:lnTo>
                        <a:pt x="1555" y="3469"/>
                      </a:lnTo>
                      <a:lnTo>
                        <a:pt x="0" y="2572"/>
                      </a:lnTo>
                      <a:lnTo>
                        <a:pt x="718" y="1376"/>
                      </a:lnTo>
                      <a:lnTo>
                        <a:pt x="1555" y="0"/>
                      </a:lnTo>
                      <a:lnTo>
                        <a:pt x="3110" y="897"/>
                      </a:lnTo>
                      <a:lnTo>
                        <a:pt x="5562" y="2332"/>
                      </a:lnTo>
                      <a:lnTo>
                        <a:pt x="6459" y="2871"/>
                      </a:lnTo>
                    </a:path>
                  </a:pathLst>
                </a:custGeom>
                <a:noFill/>
                <a:ln w="6350" cap="rnd">
                  <a:solidFill>
                    <a:schemeClr val="bg1">
                      <a:alpha val="40000"/>
                    </a:schemeClr>
                  </a:solidFill>
                  <a:prstDash val="solid"/>
                  <a:round/>
                </a:ln>
              </p:spPr>
              <p:txBody>
                <a:bodyPr rtlCol="0" anchor="ctr"/>
                <a:lstStyle/>
                <a:p>
                  <a:endParaRPr lang="en-GB"/>
                </a:p>
              </p:txBody>
            </p:sp>
            <p:sp>
              <p:nvSpPr>
                <p:cNvPr id="6550" name="Vrije vorm: vorm 6549">
                  <a:extLst>
                    <a:ext uri="{FF2B5EF4-FFF2-40B4-BE49-F238E27FC236}">
                      <a16:creationId xmlns:a16="http://schemas.microsoft.com/office/drawing/2014/main" id="{DCD6FC65-5A6D-4A5D-8C22-46C41720FB89}"/>
                    </a:ext>
                  </a:extLst>
                </p:cNvPr>
                <p:cNvSpPr/>
                <p:nvPr/>
              </p:nvSpPr>
              <p:spPr>
                <a:xfrm>
                  <a:off x="6989151" y="1852628"/>
                  <a:ext cx="956" cy="478"/>
                </a:xfrm>
                <a:custGeom>
                  <a:avLst/>
                  <a:gdLst>
                    <a:gd name="connsiteX0" fmla="*/ 956 w 956"/>
                    <a:gd name="connsiteY0" fmla="*/ 478 h 478"/>
                    <a:gd name="connsiteX1" fmla="*/ 478 w 956"/>
                    <a:gd name="connsiteY1" fmla="*/ 239 h 478"/>
                    <a:gd name="connsiteX2" fmla="*/ 0 w 956"/>
                    <a:gd name="connsiteY2" fmla="*/ 0 h 478"/>
                  </a:gdLst>
                  <a:ahLst/>
                  <a:cxnLst>
                    <a:cxn ang="0">
                      <a:pos x="connsiteX0" y="connsiteY0"/>
                    </a:cxn>
                    <a:cxn ang="0">
                      <a:pos x="connsiteX1" y="connsiteY1"/>
                    </a:cxn>
                    <a:cxn ang="0">
                      <a:pos x="connsiteX2" y="connsiteY2"/>
                    </a:cxn>
                  </a:cxnLst>
                  <a:rect l="l" t="t" r="r" b="b"/>
                  <a:pathLst>
                    <a:path w="956" h="478">
                      <a:moveTo>
                        <a:pt x="956" y="478"/>
                      </a:moveTo>
                      <a:lnTo>
                        <a:pt x="478" y="23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51" name="Vrije vorm: vorm 6550">
                  <a:extLst>
                    <a:ext uri="{FF2B5EF4-FFF2-40B4-BE49-F238E27FC236}">
                      <a16:creationId xmlns:a16="http://schemas.microsoft.com/office/drawing/2014/main" id="{F9552688-9EC6-4A5C-89B3-127B7F167091}"/>
                    </a:ext>
                  </a:extLst>
                </p:cNvPr>
                <p:cNvSpPr/>
                <p:nvPr/>
              </p:nvSpPr>
              <p:spPr>
                <a:xfrm>
                  <a:off x="6702256" y="1895510"/>
                  <a:ext cx="6937" cy="4246"/>
                </a:xfrm>
                <a:custGeom>
                  <a:avLst/>
                  <a:gdLst>
                    <a:gd name="connsiteX0" fmla="*/ 6937 w 6937"/>
                    <a:gd name="connsiteY0" fmla="*/ 3768 h 4246"/>
                    <a:gd name="connsiteX1" fmla="*/ 6639 w 6937"/>
                    <a:gd name="connsiteY1" fmla="*/ 4246 h 4246"/>
                    <a:gd name="connsiteX2" fmla="*/ 5981 w 6937"/>
                    <a:gd name="connsiteY2" fmla="*/ 3888 h 4246"/>
                    <a:gd name="connsiteX3" fmla="*/ 3229 w 6937"/>
                    <a:gd name="connsiteY3" fmla="*/ 2512 h 4246"/>
                    <a:gd name="connsiteX4" fmla="*/ 0 w 6937"/>
                    <a:gd name="connsiteY4" fmla="*/ 359 h 4246"/>
                    <a:gd name="connsiteX5" fmla="*/ 179 w 6937"/>
                    <a:gd name="connsiteY5" fmla="*/ 0 h 4246"/>
                    <a:gd name="connsiteX6" fmla="*/ 179 w 6937"/>
                    <a:gd name="connsiteY6" fmla="*/ 0 h 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37" h="4246">
                      <a:moveTo>
                        <a:pt x="6937" y="3768"/>
                      </a:moveTo>
                      <a:lnTo>
                        <a:pt x="6639" y="4246"/>
                      </a:lnTo>
                      <a:lnTo>
                        <a:pt x="5981" y="3888"/>
                      </a:lnTo>
                      <a:lnTo>
                        <a:pt x="3229" y="2512"/>
                      </a:lnTo>
                      <a:lnTo>
                        <a:pt x="0" y="359"/>
                      </a:lnTo>
                      <a:lnTo>
                        <a:pt x="179" y="0"/>
                      </a:lnTo>
                      <a:lnTo>
                        <a:pt x="179" y="0"/>
                      </a:lnTo>
                    </a:path>
                  </a:pathLst>
                </a:custGeom>
                <a:noFill/>
                <a:ln w="6350" cap="rnd">
                  <a:solidFill>
                    <a:schemeClr val="bg1">
                      <a:alpha val="40000"/>
                    </a:schemeClr>
                  </a:solidFill>
                  <a:prstDash val="solid"/>
                  <a:round/>
                </a:ln>
              </p:spPr>
              <p:txBody>
                <a:bodyPr rtlCol="0" anchor="ctr"/>
                <a:lstStyle/>
                <a:p>
                  <a:endParaRPr lang="en-GB"/>
                </a:p>
              </p:txBody>
            </p:sp>
            <p:sp>
              <p:nvSpPr>
                <p:cNvPr id="6552" name="Vrije vorm: vorm 6551">
                  <a:extLst>
                    <a:ext uri="{FF2B5EF4-FFF2-40B4-BE49-F238E27FC236}">
                      <a16:creationId xmlns:a16="http://schemas.microsoft.com/office/drawing/2014/main" id="{F6FAF5D7-4FB2-444F-BA60-353861F9A1FD}"/>
                    </a:ext>
                  </a:extLst>
                </p:cNvPr>
                <p:cNvSpPr/>
                <p:nvPr/>
              </p:nvSpPr>
              <p:spPr>
                <a:xfrm>
                  <a:off x="6985204" y="1864949"/>
                  <a:ext cx="2212" cy="299"/>
                </a:xfrm>
                <a:custGeom>
                  <a:avLst/>
                  <a:gdLst>
                    <a:gd name="connsiteX0" fmla="*/ 0 w 2212"/>
                    <a:gd name="connsiteY0" fmla="*/ 239 h 299"/>
                    <a:gd name="connsiteX1" fmla="*/ 239 w 2212"/>
                    <a:gd name="connsiteY1" fmla="*/ 239 h 299"/>
                    <a:gd name="connsiteX2" fmla="*/ 239 w 2212"/>
                    <a:gd name="connsiteY2" fmla="*/ 239 h 299"/>
                    <a:gd name="connsiteX3" fmla="*/ 1914 w 2212"/>
                    <a:gd name="connsiteY3" fmla="*/ 299 h 299"/>
                    <a:gd name="connsiteX4" fmla="*/ 2213 w 2212"/>
                    <a:gd name="connsiteY4" fmla="*/ 0 h 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2" h="299">
                      <a:moveTo>
                        <a:pt x="0" y="239"/>
                      </a:moveTo>
                      <a:lnTo>
                        <a:pt x="239" y="239"/>
                      </a:lnTo>
                      <a:lnTo>
                        <a:pt x="239" y="239"/>
                      </a:lnTo>
                      <a:lnTo>
                        <a:pt x="1914" y="299"/>
                      </a:lnTo>
                      <a:lnTo>
                        <a:pt x="2213" y="0"/>
                      </a:lnTo>
                    </a:path>
                  </a:pathLst>
                </a:custGeom>
                <a:noFill/>
                <a:ln w="6350" cap="rnd">
                  <a:solidFill>
                    <a:schemeClr val="bg1">
                      <a:alpha val="40000"/>
                    </a:schemeClr>
                  </a:solidFill>
                  <a:prstDash val="solid"/>
                  <a:round/>
                </a:ln>
              </p:spPr>
              <p:txBody>
                <a:bodyPr rtlCol="0" anchor="ctr"/>
                <a:lstStyle/>
                <a:p>
                  <a:endParaRPr lang="en-GB"/>
                </a:p>
              </p:txBody>
            </p:sp>
            <p:sp>
              <p:nvSpPr>
                <p:cNvPr id="6553" name="Vrije vorm: vorm 6552">
                  <a:extLst>
                    <a:ext uri="{FF2B5EF4-FFF2-40B4-BE49-F238E27FC236}">
                      <a16:creationId xmlns:a16="http://schemas.microsoft.com/office/drawing/2014/main" id="{3756D006-93C0-452D-AE90-9B562124AEF6}"/>
                    </a:ext>
                  </a:extLst>
                </p:cNvPr>
                <p:cNvSpPr/>
                <p:nvPr/>
              </p:nvSpPr>
              <p:spPr>
                <a:xfrm>
                  <a:off x="6697352" y="1888034"/>
                  <a:ext cx="5860" cy="3588"/>
                </a:xfrm>
                <a:custGeom>
                  <a:avLst/>
                  <a:gdLst>
                    <a:gd name="connsiteX0" fmla="*/ 0 w 5860"/>
                    <a:gd name="connsiteY0" fmla="*/ 3588 h 3588"/>
                    <a:gd name="connsiteX1" fmla="*/ 837 w 5860"/>
                    <a:gd name="connsiteY1" fmla="*/ 2213 h 3588"/>
                    <a:gd name="connsiteX2" fmla="*/ 2153 w 5860"/>
                    <a:gd name="connsiteY2" fmla="*/ 0 h 3588"/>
                    <a:gd name="connsiteX3" fmla="*/ 3170 w 5860"/>
                    <a:gd name="connsiteY3" fmla="*/ 359 h 3588"/>
                    <a:gd name="connsiteX4" fmla="*/ 4665 w 5860"/>
                    <a:gd name="connsiteY4" fmla="*/ 957 h 3588"/>
                    <a:gd name="connsiteX5" fmla="*/ 5861 w 5860"/>
                    <a:gd name="connsiteY5" fmla="*/ 1376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60" h="3588">
                      <a:moveTo>
                        <a:pt x="0" y="3588"/>
                      </a:moveTo>
                      <a:lnTo>
                        <a:pt x="837" y="2213"/>
                      </a:lnTo>
                      <a:lnTo>
                        <a:pt x="2153" y="0"/>
                      </a:lnTo>
                      <a:lnTo>
                        <a:pt x="3170" y="359"/>
                      </a:lnTo>
                      <a:lnTo>
                        <a:pt x="4665" y="957"/>
                      </a:lnTo>
                      <a:lnTo>
                        <a:pt x="5861" y="1376"/>
                      </a:lnTo>
                    </a:path>
                  </a:pathLst>
                </a:custGeom>
                <a:noFill/>
                <a:ln w="6350" cap="rnd">
                  <a:solidFill>
                    <a:schemeClr val="bg1">
                      <a:alpha val="40000"/>
                    </a:schemeClr>
                  </a:solidFill>
                  <a:prstDash val="solid"/>
                  <a:round/>
                </a:ln>
              </p:spPr>
              <p:txBody>
                <a:bodyPr rtlCol="0" anchor="ctr"/>
                <a:lstStyle/>
                <a:p>
                  <a:endParaRPr lang="en-GB"/>
                </a:p>
              </p:txBody>
            </p:sp>
            <p:sp>
              <p:nvSpPr>
                <p:cNvPr id="6554" name="Vrije vorm: vorm 6553">
                  <a:extLst>
                    <a:ext uri="{FF2B5EF4-FFF2-40B4-BE49-F238E27FC236}">
                      <a16:creationId xmlns:a16="http://schemas.microsoft.com/office/drawing/2014/main" id="{284B57F7-3DC3-427E-8B33-5AF25E417E23}"/>
                    </a:ext>
                  </a:extLst>
                </p:cNvPr>
                <p:cNvSpPr/>
                <p:nvPr/>
              </p:nvSpPr>
              <p:spPr>
                <a:xfrm>
                  <a:off x="6961759" y="1886061"/>
                  <a:ext cx="16327" cy="22487"/>
                </a:xfrm>
                <a:custGeom>
                  <a:avLst/>
                  <a:gdLst>
                    <a:gd name="connsiteX0" fmla="*/ 0 w 16327"/>
                    <a:gd name="connsiteY0" fmla="*/ 22487 h 22487"/>
                    <a:gd name="connsiteX1" fmla="*/ 2752 w 16327"/>
                    <a:gd name="connsiteY1" fmla="*/ 18839 h 22487"/>
                    <a:gd name="connsiteX2" fmla="*/ 2752 w 16327"/>
                    <a:gd name="connsiteY2" fmla="*/ 18839 h 22487"/>
                    <a:gd name="connsiteX3" fmla="*/ 2811 w 16327"/>
                    <a:gd name="connsiteY3" fmla="*/ 18720 h 22487"/>
                    <a:gd name="connsiteX4" fmla="*/ 2871 w 16327"/>
                    <a:gd name="connsiteY4" fmla="*/ 18660 h 22487"/>
                    <a:gd name="connsiteX5" fmla="*/ 2930 w 16327"/>
                    <a:gd name="connsiteY5" fmla="*/ 18600 h 22487"/>
                    <a:gd name="connsiteX6" fmla="*/ 5562 w 16327"/>
                    <a:gd name="connsiteY6" fmla="*/ 15071 h 22487"/>
                    <a:gd name="connsiteX7" fmla="*/ 8015 w 16327"/>
                    <a:gd name="connsiteY7" fmla="*/ 11782 h 22487"/>
                    <a:gd name="connsiteX8" fmla="*/ 8553 w 16327"/>
                    <a:gd name="connsiteY8" fmla="*/ 11064 h 22487"/>
                    <a:gd name="connsiteX9" fmla="*/ 8553 w 16327"/>
                    <a:gd name="connsiteY9" fmla="*/ 11005 h 22487"/>
                    <a:gd name="connsiteX10" fmla="*/ 8792 w 16327"/>
                    <a:gd name="connsiteY10" fmla="*/ 10705 h 22487"/>
                    <a:gd name="connsiteX11" fmla="*/ 8971 w 16327"/>
                    <a:gd name="connsiteY11" fmla="*/ 10466 h 22487"/>
                    <a:gd name="connsiteX12" fmla="*/ 8971 w 16327"/>
                    <a:gd name="connsiteY12" fmla="*/ 10466 h 22487"/>
                    <a:gd name="connsiteX13" fmla="*/ 9270 w 16327"/>
                    <a:gd name="connsiteY13" fmla="*/ 10107 h 22487"/>
                    <a:gd name="connsiteX14" fmla="*/ 9988 w 16327"/>
                    <a:gd name="connsiteY14" fmla="*/ 9091 h 22487"/>
                    <a:gd name="connsiteX15" fmla="*/ 11244 w 16327"/>
                    <a:gd name="connsiteY15" fmla="*/ 7296 h 22487"/>
                    <a:gd name="connsiteX16" fmla="*/ 11364 w 16327"/>
                    <a:gd name="connsiteY16" fmla="*/ 7117 h 22487"/>
                    <a:gd name="connsiteX17" fmla="*/ 12560 w 16327"/>
                    <a:gd name="connsiteY17" fmla="*/ 5383 h 22487"/>
                    <a:gd name="connsiteX18" fmla="*/ 12978 w 16327"/>
                    <a:gd name="connsiteY18" fmla="*/ 4785 h 22487"/>
                    <a:gd name="connsiteX19" fmla="*/ 12978 w 16327"/>
                    <a:gd name="connsiteY19" fmla="*/ 4785 h 22487"/>
                    <a:gd name="connsiteX20" fmla="*/ 14354 w 16327"/>
                    <a:gd name="connsiteY20" fmla="*/ 2811 h 22487"/>
                    <a:gd name="connsiteX21" fmla="*/ 15669 w 16327"/>
                    <a:gd name="connsiteY21" fmla="*/ 897 h 22487"/>
                    <a:gd name="connsiteX22" fmla="*/ 16328 w 16327"/>
                    <a:gd name="connsiteY22" fmla="*/ 0 h 2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327" h="22487">
                      <a:moveTo>
                        <a:pt x="0" y="22487"/>
                      </a:moveTo>
                      <a:lnTo>
                        <a:pt x="2752" y="18839"/>
                      </a:lnTo>
                      <a:lnTo>
                        <a:pt x="2752" y="18839"/>
                      </a:lnTo>
                      <a:lnTo>
                        <a:pt x="2811" y="18720"/>
                      </a:lnTo>
                      <a:lnTo>
                        <a:pt x="2871" y="18660"/>
                      </a:lnTo>
                      <a:lnTo>
                        <a:pt x="2930" y="18600"/>
                      </a:lnTo>
                      <a:lnTo>
                        <a:pt x="5562" y="15071"/>
                      </a:lnTo>
                      <a:lnTo>
                        <a:pt x="8015" y="11782"/>
                      </a:lnTo>
                      <a:lnTo>
                        <a:pt x="8553" y="11064"/>
                      </a:lnTo>
                      <a:lnTo>
                        <a:pt x="8553" y="11005"/>
                      </a:lnTo>
                      <a:lnTo>
                        <a:pt x="8792" y="10705"/>
                      </a:lnTo>
                      <a:lnTo>
                        <a:pt x="8971" y="10466"/>
                      </a:lnTo>
                      <a:lnTo>
                        <a:pt x="8971" y="10466"/>
                      </a:lnTo>
                      <a:lnTo>
                        <a:pt x="9270" y="10107"/>
                      </a:lnTo>
                      <a:lnTo>
                        <a:pt x="9988" y="9091"/>
                      </a:lnTo>
                      <a:lnTo>
                        <a:pt x="11244" y="7296"/>
                      </a:lnTo>
                      <a:lnTo>
                        <a:pt x="11364" y="7117"/>
                      </a:lnTo>
                      <a:lnTo>
                        <a:pt x="12560" y="5383"/>
                      </a:lnTo>
                      <a:lnTo>
                        <a:pt x="12978" y="4785"/>
                      </a:lnTo>
                      <a:lnTo>
                        <a:pt x="12978" y="4785"/>
                      </a:lnTo>
                      <a:lnTo>
                        <a:pt x="14354" y="2811"/>
                      </a:lnTo>
                      <a:lnTo>
                        <a:pt x="15669" y="897"/>
                      </a:lnTo>
                      <a:lnTo>
                        <a:pt x="16328" y="0"/>
                      </a:lnTo>
                    </a:path>
                  </a:pathLst>
                </a:custGeom>
                <a:noFill/>
                <a:ln w="6350" cap="rnd">
                  <a:solidFill>
                    <a:schemeClr val="bg1">
                      <a:alpha val="40000"/>
                    </a:schemeClr>
                  </a:solidFill>
                  <a:prstDash val="solid"/>
                  <a:round/>
                </a:ln>
              </p:spPr>
              <p:txBody>
                <a:bodyPr rtlCol="0" anchor="ctr"/>
                <a:lstStyle/>
                <a:p>
                  <a:endParaRPr lang="en-GB"/>
                </a:p>
              </p:txBody>
            </p:sp>
            <p:sp>
              <p:nvSpPr>
                <p:cNvPr id="6555" name="Vrije vorm: vorm 6554">
                  <a:extLst>
                    <a:ext uri="{FF2B5EF4-FFF2-40B4-BE49-F238E27FC236}">
                      <a16:creationId xmlns:a16="http://schemas.microsoft.com/office/drawing/2014/main" id="{C130DF6B-7C88-4B0C-B189-152682B55BD4}"/>
                    </a:ext>
                  </a:extLst>
                </p:cNvPr>
                <p:cNvSpPr/>
                <p:nvPr/>
              </p:nvSpPr>
              <p:spPr>
                <a:xfrm>
                  <a:off x="6694780" y="1929421"/>
                  <a:ext cx="27272" cy="4425"/>
                </a:xfrm>
                <a:custGeom>
                  <a:avLst/>
                  <a:gdLst>
                    <a:gd name="connsiteX0" fmla="*/ 0 w 27272"/>
                    <a:gd name="connsiteY0" fmla="*/ 837 h 4425"/>
                    <a:gd name="connsiteX1" fmla="*/ 598 w 27272"/>
                    <a:gd name="connsiteY1" fmla="*/ 538 h 4425"/>
                    <a:gd name="connsiteX2" fmla="*/ 4246 w 27272"/>
                    <a:gd name="connsiteY2" fmla="*/ 1256 h 4425"/>
                    <a:gd name="connsiteX3" fmla="*/ 8014 w 27272"/>
                    <a:gd name="connsiteY3" fmla="*/ 2033 h 4425"/>
                    <a:gd name="connsiteX4" fmla="*/ 8014 w 27272"/>
                    <a:gd name="connsiteY4" fmla="*/ 2033 h 4425"/>
                    <a:gd name="connsiteX5" fmla="*/ 8014 w 27272"/>
                    <a:gd name="connsiteY5" fmla="*/ 2033 h 4425"/>
                    <a:gd name="connsiteX6" fmla="*/ 9689 w 27272"/>
                    <a:gd name="connsiteY6" fmla="*/ 2392 h 4425"/>
                    <a:gd name="connsiteX7" fmla="*/ 15012 w 27272"/>
                    <a:gd name="connsiteY7" fmla="*/ 4306 h 4425"/>
                    <a:gd name="connsiteX8" fmla="*/ 17703 w 27272"/>
                    <a:gd name="connsiteY8" fmla="*/ 4366 h 4425"/>
                    <a:gd name="connsiteX9" fmla="*/ 19796 w 27272"/>
                    <a:gd name="connsiteY9" fmla="*/ 4426 h 4425"/>
                    <a:gd name="connsiteX10" fmla="*/ 21291 w 27272"/>
                    <a:gd name="connsiteY10" fmla="*/ 4426 h 4425"/>
                    <a:gd name="connsiteX11" fmla="*/ 23803 w 27272"/>
                    <a:gd name="connsiteY11" fmla="*/ 2572 h 4425"/>
                    <a:gd name="connsiteX12" fmla="*/ 24700 w 27272"/>
                    <a:gd name="connsiteY12" fmla="*/ 1914 h 4425"/>
                    <a:gd name="connsiteX13" fmla="*/ 25238 w 27272"/>
                    <a:gd name="connsiteY13" fmla="*/ 1495 h 4425"/>
                    <a:gd name="connsiteX14" fmla="*/ 27272 w 27272"/>
                    <a:gd name="connsiteY14" fmla="*/ 0 h 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272" h="4425">
                      <a:moveTo>
                        <a:pt x="0" y="837"/>
                      </a:moveTo>
                      <a:lnTo>
                        <a:pt x="598" y="538"/>
                      </a:lnTo>
                      <a:lnTo>
                        <a:pt x="4246" y="1256"/>
                      </a:lnTo>
                      <a:lnTo>
                        <a:pt x="8014" y="2033"/>
                      </a:lnTo>
                      <a:lnTo>
                        <a:pt x="8014" y="2033"/>
                      </a:lnTo>
                      <a:lnTo>
                        <a:pt x="8014" y="2033"/>
                      </a:lnTo>
                      <a:lnTo>
                        <a:pt x="9689" y="2392"/>
                      </a:lnTo>
                      <a:lnTo>
                        <a:pt x="15012" y="4306"/>
                      </a:lnTo>
                      <a:lnTo>
                        <a:pt x="17703" y="4366"/>
                      </a:lnTo>
                      <a:lnTo>
                        <a:pt x="19796" y="4426"/>
                      </a:lnTo>
                      <a:lnTo>
                        <a:pt x="21291" y="4426"/>
                      </a:lnTo>
                      <a:lnTo>
                        <a:pt x="23803" y="2572"/>
                      </a:lnTo>
                      <a:lnTo>
                        <a:pt x="24700" y="1914"/>
                      </a:lnTo>
                      <a:lnTo>
                        <a:pt x="25238" y="1495"/>
                      </a:lnTo>
                      <a:lnTo>
                        <a:pt x="27272" y="0"/>
                      </a:lnTo>
                    </a:path>
                  </a:pathLst>
                </a:custGeom>
                <a:noFill/>
                <a:ln w="6350" cap="rnd">
                  <a:solidFill>
                    <a:schemeClr val="bg1">
                      <a:alpha val="40000"/>
                    </a:schemeClr>
                  </a:solidFill>
                  <a:prstDash val="solid"/>
                  <a:round/>
                </a:ln>
              </p:spPr>
              <p:txBody>
                <a:bodyPr rtlCol="0" anchor="ctr"/>
                <a:lstStyle/>
                <a:p>
                  <a:endParaRPr lang="en-GB"/>
                </a:p>
              </p:txBody>
            </p:sp>
            <p:sp>
              <p:nvSpPr>
                <p:cNvPr id="6556" name="Vrije vorm: vorm 6555">
                  <a:extLst>
                    <a:ext uri="{FF2B5EF4-FFF2-40B4-BE49-F238E27FC236}">
                      <a16:creationId xmlns:a16="http://schemas.microsoft.com/office/drawing/2014/main" id="{40BB1E4E-C758-4A43-8778-D618A4549426}"/>
                    </a:ext>
                  </a:extLst>
                </p:cNvPr>
                <p:cNvSpPr/>
                <p:nvPr/>
              </p:nvSpPr>
              <p:spPr>
                <a:xfrm>
                  <a:off x="6952908" y="1937375"/>
                  <a:ext cx="15669" cy="5801"/>
                </a:xfrm>
                <a:custGeom>
                  <a:avLst/>
                  <a:gdLst>
                    <a:gd name="connsiteX0" fmla="*/ 15669 w 15669"/>
                    <a:gd name="connsiteY0" fmla="*/ 5801 h 5801"/>
                    <a:gd name="connsiteX1" fmla="*/ 14294 w 15669"/>
                    <a:gd name="connsiteY1" fmla="*/ 4964 h 5801"/>
                    <a:gd name="connsiteX2" fmla="*/ 14114 w 15669"/>
                    <a:gd name="connsiteY2" fmla="*/ 4844 h 5801"/>
                    <a:gd name="connsiteX3" fmla="*/ 13995 w 15669"/>
                    <a:gd name="connsiteY3" fmla="*/ 4785 h 5801"/>
                    <a:gd name="connsiteX4" fmla="*/ 13516 w 15669"/>
                    <a:gd name="connsiteY4" fmla="*/ 4486 h 5801"/>
                    <a:gd name="connsiteX5" fmla="*/ 11423 w 15669"/>
                    <a:gd name="connsiteY5" fmla="*/ 3230 h 5801"/>
                    <a:gd name="connsiteX6" fmla="*/ 11364 w 15669"/>
                    <a:gd name="connsiteY6" fmla="*/ 3230 h 5801"/>
                    <a:gd name="connsiteX7" fmla="*/ 11364 w 15669"/>
                    <a:gd name="connsiteY7" fmla="*/ 3230 h 5801"/>
                    <a:gd name="connsiteX8" fmla="*/ 10526 w 15669"/>
                    <a:gd name="connsiteY8" fmla="*/ 2751 h 5801"/>
                    <a:gd name="connsiteX9" fmla="*/ 9988 w 15669"/>
                    <a:gd name="connsiteY9" fmla="*/ 2392 h 5801"/>
                    <a:gd name="connsiteX10" fmla="*/ 8194 w 15669"/>
                    <a:gd name="connsiteY10" fmla="*/ 1316 h 5801"/>
                    <a:gd name="connsiteX11" fmla="*/ 7656 w 15669"/>
                    <a:gd name="connsiteY11" fmla="*/ 957 h 5801"/>
                    <a:gd name="connsiteX12" fmla="*/ 7416 w 15669"/>
                    <a:gd name="connsiteY12" fmla="*/ 778 h 5801"/>
                    <a:gd name="connsiteX13" fmla="*/ 5443 w 15669"/>
                    <a:gd name="connsiteY13" fmla="*/ 598 h 5801"/>
                    <a:gd name="connsiteX14" fmla="*/ 5083 w 15669"/>
                    <a:gd name="connsiteY14" fmla="*/ 538 h 5801"/>
                    <a:gd name="connsiteX15" fmla="*/ 3469 w 15669"/>
                    <a:gd name="connsiteY15" fmla="*/ 359 h 5801"/>
                    <a:gd name="connsiteX16" fmla="*/ 2990 w 15669"/>
                    <a:gd name="connsiteY16" fmla="*/ 299 h 5801"/>
                    <a:gd name="connsiteX17" fmla="*/ 2392 w 15669"/>
                    <a:gd name="connsiteY17" fmla="*/ 239 h 5801"/>
                    <a:gd name="connsiteX18" fmla="*/ 1735 w 15669"/>
                    <a:gd name="connsiteY18" fmla="*/ 180 h 5801"/>
                    <a:gd name="connsiteX19" fmla="*/ 0 w 15669"/>
                    <a:gd name="connsiteY19" fmla="*/ 0 h 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669" h="5801">
                      <a:moveTo>
                        <a:pt x="15669" y="5801"/>
                      </a:moveTo>
                      <a:lnTo>
                        <a:pt x="14294" y="4964"/>
                      </a:lnTo>
                      <a:lnTo>
                        <a:pt x="14114" y="4844"/>
                      </a:lnTo>
                      <a:lnTo>
                        <a:pt x="13995" y="4785"/>
                      </a:lnTo>
                      <a:lnTo>
                        <a:pt x="13516" y="4486"/>
                      </a:lnTo>
                      <a:lnTo>
                        <a:pt x="11423" y="3230"/>
                      </a:lnTo>
                      <a:lnTo>
                        <a:pt x="11364" y="3230"/>
                      </a:lnTo>
                      <a:lnTo>
                        <a:pt x="11364" y="3230"/>
                      </a:lnTo>
                      <a:lnTo>
                        <a:pt x="10526" y="2751"/>
                      </a:lnTo>
                      <a:lnTo>
                        <a:pt x="9988" y="2392"/>
                      </a:lnTo>
                      <a:lnTo>
                        <a:pt x="8194" y="1316"/>
                      </a:lnTo>
                      <a:lnTo>
                        <a:pt x="7656" y="957"/>
                      </a:lnTo>
                      <a:lnTo>
                        <a:pt x="7416" y="778"/>
                      </a:lnTo>
                      <a:lnTo>
                        <a:pt x="5443" y="598"/>
                      </a:lnTo>
                      <a:lnTo>
                        <a:pt x="5083" y="538"/>
                      </a:lnTo>
                      <a:lnTo>
                        <a:pt x="3469" y="359"/>
                      </a:lnTo>
                      <a:lnTo>
                        <a:pt x="2990" y="299"/>
                      </a:lnTo>
                      <a:lnTo>
                        <a:pt x="2392" y="239"/>
                      </a:lnTo>
                      <a:lnTo>
                        <a:pt x="1735" y="18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57" name="Vrije vorm: vorm 6556">
                  <a:extLst>
                    <a:ext uri="{FF2B5EF4-FFF2-40B4-BE49-F238E27FC236}">
                      <a16:creationId xmlns:a16="http://schemas.microsoft.com/office/drawing/2014/main" id="{74A0A0B1-C1C9-467D-9A80-45299BF21243}"/>
                    </a:ext>
                  </a:extLst>
                </p:cNvPr>
                <p:cNvSpPr/>
                <p:nvPr/>
              </p:nvSpPr>
              <p:spPr>
                <a:xfrm>
                  <a:off x="6864872" y="1692106"/>
                  <a:ext cx="12439" cy="7475"/>
                </a:xfrm>
                <a:custGeom>
                  <a:avLst/>
                  <a:gdLst>
                    <a:gd name="connsiteX0" fmla="*/ 0 w 12439"/>
                    <a:gd name="connsiteY0" fmla="*/ 0 h 7475"/>
                    <a:gd name="connsiteX1" fmla="*/ 718 w 12439"/>
                    <a:gd name="connsiteY1" fmla="*/ 538 h 7475"/>
                    <a:gd name="connsiteX2" fmla="*/ 1017 w 12439"/>
                    <a:gd name="connsiteY2" fmla="*/ 718 h 7475"/>
                    <a:gd name="connsiteX3" fmla="*/ 3230 w 12439"/>
                    <a:gd name="connsiteY3" fmla="*/ 1914 h 7475"/>
                    <a:gd name="connsiteX4" fmla="*/ 6280 w 12439"/>
                    <a:gd name="connsiteY4" fmla="*/ 3768 h 7475"/>
                    <a:gd name="connsiteX5" fmla="*/ 9808 w 12439"/>
                    <a:gd name="connsiteY5" fmla="*/ 5921 h 7475"/>
                    <a:gd name="connsiteX6" fmla="*/ 12440 w 12439"/>
                    <a:gd name="connsiteY6" fmla="*/ 7476 h 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9" h="7475">
                      <a:moveTo>
                        <a:pt x="0" y="0"/>
                      </a:moveTo>
                      <a:lnTo>
                        <a:pt x="718" y="538"/>
                      </a:lnTo>
                      <a:lnTo>
                        <a:pt x="1017" y="718"/>
                      </a:lnTo>
                      <a:lnTo>
                        <a:pt x="3230" y="1914"/>
                      </a:lnTo>
                      <a:lnTo>
                        <a:pt x="6280" y="3768"/>
                      </a:lnTo>
                      <a:lnTo>
                        <a:pt x="9808" y="5921"/>
                      </a:lnTo>
                      <a:lnTo>
                        <a:pt x="12440" y="7476"/>
                      </a:lnTo>
                    </a:path>
                  </a:pathLst>
                </a:custGeom>
                <a:noFill/>
                <a:ln w="6350" cap="rnd">
                  <a:solidFill>
                    <a:schemeClr val="bg1">
                      <a:alpha val="40000"/>
                    </a:schemeClr>
                  </a:solidFill>
                  <a:prstDash val="solid"/>
                  <a:round/>
                </a:ln>
              </p:spPr>
              <p:txBody>
                <a:bodyPr rtlCol="0" anchor="ctr"/>
                <a:lstStyle/>
                <a:p>
                  <a:endParaRPr lang="en-GB"/>
                </a:p>
              </p:txBody>
            </p:sp>
            <p:sp>
              <p:nvSpPr>
                <p:cNvPr id="6558" name="Vrije vorm: vorm 6557">
                  <a:extLst>
                    <a:ext uri="{FF2B5EF4-FFF2-40B4-BE49-F238E27FC236}">
                      <a16:creationId xmlns:a16="http://schemas.microsoft.com/office/drawing/2014/main" id="{40F578D7-89B6-4606-9F97-6E59DD9D71AE}"/>
                    </a:ext>
                  </a:extLst>
                </p:cNvPr>
                <p:cNvSpPr/>
                <p:nvPr/>
              </p:nvSpPr>
              <p:spPr>
                <a:xfrm>
                  <a:off x="6686227" y="1948200"/>
                  <a:ext cx="298" cy="239"/>
                </a:xfrm>
                <a:custGeom>
                  <a:avLst/>
                  <a:gdLst>
                    <a:gd name="connsiteX0" fmla="*/ 299 w 298"/>
                    <a:gd name="connsiteY0" fmla="*/ 239 h 239"/>
                    <a:gd name="connsiteX1" fmla="*/ 60 w 298"/>
                    <a:gd name="connsiteY1" fmla="*/ 120 h 239"/>
                    <a:gd name="connsiteX2" fmla="*/ 0 w 298"/>
                    <a:gd name="connsiteY2" fmla="*/ 0 h 239"/>
                  </a:gdLst>
                  <a:ahLst/>
                  <a:cxnLst>
                    <a:cxn ang="0">
                      <a:pos x="connsiteX0" y="connsiteY0"/>
                    </a:cxn>
                    <a:cxn ang="0">
                      <a:pos x="connsiteX1" y="connsiteY1"/>
                    </a:cxn>
                    <a:cxn ang="0">
                      <a:pos x="connsiteX2" y="connsiteY2"/>
                    </a:cxn>
                  </a:cxnLst>
                  <a:rect l="l" t="t" r="r" b="b"/>
                  <a:pathLst>
                    <a:path w="298" h="239">
                      <a:moveTo>
                        <a:pt x="299" y="239"/>
                      </a:moveTo>
                      <a:lnTo>
                        <a:pt x="60"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59" name="Vrije vorm: vorm 6558">
                  <a:extLst>
                    <a:ext uri="{FF2B5EF4-FFF2-40B4-BE49-F238E27FC236}">
                      <a16:creationId xmlns:a16="http://schemas.microsoft.com/office/drawing/2014/main" id="{7E131664-C277-4050-A9C6-5728C8A0C5AC}"/>
                    </a:ext>
                  </a:extLst>
                </p:cNvPr>
                <p:cNvSpPr/>
                <p:nvPr/>
              </p:nvSpPr>
              <p:spPr>
                <a:xfrm>
                  <a:off x="6931497" y="2059262"/>
                  <a:ext cx="24939" cy="9329"/>
                </a:xfrm>
                <a:custGeom>
                  <a:avLst/>
                  <a:gdLst>
                    <a:gd name="connsiteX0" fmla="*/ 0 w 24939"/>
                    <a:gd name="connsiteY0" fmla="*/ 0 h 9329"/>
                    <a:gd name="connsiteX1" fmla="*/ 299 w 24939"/>
                    <a:gd name="connsiteY1" fmla="*/ 179 h 9329"/>
                    <a:gd name="connsiteX2" fmla="*/ 2811 w 24939"/>
                    <a:gd name="connsiteY2" fmla="*/ 1615 h 9329"/>
                    <a:gd name="connsiteX3" fmla="*/ 6100 w 24939"/>
                    <a:gd name="connsiteY3" fmla="*/ 3170 h 9329"/>
                    <a:gd name="connsiteX4" fmla="*/ 7057 w 24939"/>
                    <a:gd name="connsiteY4" fmla="*/ 3648 h 9329"/>
                    <a:gd name="connsiteX5" fmla="*/ 7296 w 24939"/>
                    <a:gd name="connsiteY5" fmla="*/ 3708 h 9329"/>
                    <a:gd name="connsiteX6" fmla="*/ 9689 w 24939"/>
                    <a:gd name="connsiteY6" fmla="*/ 4486 h 9329"/>
                    <a:gd name="connsiteX7" fmla="*/ 9868 w 24939"/>
                    <a:gd name="connsiteY7" fmla="*/ 4545 h 9329"/>
                    <a:gd name="connsiteX8" fmla="*/ 10825 w 24939"/>
                    <a:gd name="connsiteY8" fmla="*/ 4844 h 9329"/>
                    <a:gd name="connsiteX9" fmla="*/ 17523 w 24939"/>
                    <a:gd name="connsiteY9" fmla="*/ 7117 h 9329"/>
                    <a:gd name="connsiteX10" fmla="*/ 18241 w 24939"/>
                    <a:gd name="connsiteY10" fmla="*/ 7356 h 9329"/>
                    <a:gd name="connsiteX11" fmla="*/ 18360 w 24939"/>
                    <a:gd name="connsiteY11" fmla="*/ 7416 h 9329"/>
                    <a:gd name="connsiteX12" fmla="*/ 20394 w 24939"/>
                    <a:gd name="connsiteY12" fmla="*/ 8134 h 9329"/>
                    <a:gd name="connsiteX13" fmla="*/ 20573 w 24939"/>
                    <a:gd name="connsiteY13" fmla="*/ 8194 h 9329"/>
                    <a:gd name="connsiteX14" fmla="*/ 22248 w 24939"/>
                    <a:gd name="connsiteY14" fmla="*/ 8732 h 9329"/>
                    <a:gd name="connsiteX15" fmla="*/ 22786 w 24939"/>
                    <a:gd name="connsiteY15" fmla="*/ 8911 h 9329"/>
                    <a:gd name="connsiteX16" fmla="*/ 23086 w 24939"/>
                    <a:gd name="connsiteY16" fmla="*/ 9031 h 9329"/>
                    <a:gd name="connsiteX17" fmla="*/ 23983 w 24939"/>
                    <a:gd name="connsiteY17" fmla="*/ 9330 h 9329"/>
                    <a:gd name="connsiteX18" fmla="*/ 24043 w 24939"/>
                    <a:gd name="connsiteY18" fmla="*/ 9330 h 9329"/>
                    <a:gd name="connsiteX19" fmla="*/ 24939 w 24939"/>
                    <a:gd name="connsiteY19" fmla="*/ 9150 h 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939" h="9329">
                      <a:moveTo>
                        <a:pt x="0" y="0"/>
                      </a:moveTo>
                      <a:lnTo>
                        <a:pt x="299" y="179"/>
                      </a:lnTo>
                      <a:lnTo>
                        <a:pt x="2811" y="1615"/>
                      </a:lnTo>
                      <a:lnTo>
                        <a:pt x="6100" y="3170"/>
                      </a:lnTo>
                      <a:lnTo>
                        <a:pt x="7057" y="3648"/>
                      </a:lnTo>
                      <a:lnTo>
                        <a:pt x="7296" y="3708"/>
                      </a:lnTo>
                      <a:lnTo>
                        <a:pt x="9689" y="4486"/>
                      </a:lnTo>
                      <a:lnTo>
                        <a:pt x="9868" y="4545"/>
                      </a:lnTo>
                      <a:lnTo>
                        <a:pt x="10825" y="4844"/>
                      </a:lnTo>
                      <a:lnTo>
                        <a:pt x="17523" y="7117"/>
                      </a:lnTo>
                      <a:lnTo>
                        <a:pt x="18241" y="7356"/>
                      </a:lnTo>
                      <a:lnTo>
                        <a:pt x="18360" y="7416"/>
                      </a:lnTo>
                      <a:lnTo>
                        <a:pt x="20394" y="8134"/>
                      </a:lnTo>
                      <a:lnTo>
                        <a:pt x="20573" y="8194"/>
                      </a:lnTo>
                      <a:lnTo>
                        <a:pt x="22248" y="8732"/>
                      </a:lnTo>
                      <a:lnTo>
                        <a:pt x="22786" y="8911"/>
                      </a:lnTo>
                      <a:lnTo>
                        <a:pt x="23086" y="9031"/>
                      </a:lnTo>
                      <a:lnTo>
                        <a:pt x="23983" y="9330"/>
                      </a:lnTo>
                      <a:lnTo>
                        <a:pt x="24043" y="9330"/>
                      </a:lnTo>
                      <a:lnTo>
                        <a:pt x="24939" y="9150"/>
                      </a:lnTo>
                    </a:path>
                  </a:pathLst>
                </a:custGeom>
                <a:noFill/>
                <a:ln w="6350" cap="rnd">
                  <a:solidFill>
                    <a:schemeClr val="bg1">
                      <a:alpha val="40000"/>
                    </a:schemeClr>
                  </a:solidFill>
                  <a:prstDash val="solid"/>
                  <a:round/>
                </a:ln>
              </p:spPr>
              <p:txBody>
                <a:bodyPr rtlCol="0" anchor="ctr"/>
                <a:lstStyle/>
                <a:p>
                  <a:endParaRPr lang="en-GB"/>
                </a:p>
              </p:txBody>
            </p:sp>
            <p:sp>
              <p:nvSpPr>
                <p:cNvPr id="6560" name="Vrije vorm: vorm 6559">
                  <a:extLst>
                    <a:ext uri="{FF2B5EF4-FFF2-40B4-BE49-F238E27FC236}">
                      <a16:creationId xmlns:a16="http://schemas.microsoft.com/office/drawing/2014/main" id="{732EA34C-AA75-445D-8D4A-9E0966B41220}"/>
                    </a:ext>
                  </a:extLst>
                </p:cNvPr>
                <p:cNvSpPr/>
                <p:nvPr/>
              </p:nvSpPr>
              <p:spPr>
                <a:xfrm>
                  <a:off x="6966604" y="1980915"/>
                  <a:ext cx="21590" cy="9748"/>
                </a:xfrm>
                <a:custGeom>
                  <a:avLst/>
                  <a:gdLst>
                    <a:gd name="connsiteX0" fmla="*/ 16865 w 21590"/>
                    <a:gd name="connsiteY0" fmla="*/ 4007 h 9748"/>
                    <a:gd name="connsiteX1" fmla="*/ 17942 w 21590"/>
                    <a:gd name="connsiteY1" fmla="*/ 4725 h 9748"/>
                    <a:gd name="connsiteX2" fmla="*/ 18002 w 21590"/>
                    <a:gd name="connsiteY2" fmla="*/ 4785 h 9748"/>
                    <a:gd name="connsiteX3" fmla="*/ 19377 w 21590"/>
                    <a:gd name="connsiteY3" fmla="*/ 5741 h 9748"/>
                    <a:gd name="connsiteX4" fmla="*/ 19856 w 21590"/>
                    <a:gd name="connsiteY4" fmla="*/ 6040 h 9748"/>
                    <a:gd name="connsiteX5" fmla="*/ 20275 w 21590"/>
                    <a:gd name="connsiteY5" fmla="*/ 6399 h 9748"/>
                    <a:gd name="connsiteX6" fmla="*/ 20335 w 21590"/>
                    <a:gd name="connsiteY6" fmla="*/ 6459 h 9748"/>
                    <a:gd name="connsiteX7" fmla="*/ 20933 w 21590"/>
                    <a:gd name="connsiteY7" fmla="*/ 6938 h 9748"/>
                    <a:gd name="connsiteX8" fmla="*/ 21590 w 21590"/>
                    <a:gd name="connsiteY8" fmla="*/ 7476 h 9748"/>
                    <a:gd name="connsiteX9" fmla="*/ 21291 w 21590"/>
                    <a:gd name="connsiteY9" fmla="*/ 7954 h 9748"/>
                    <a:gd name="connsiteX10" fmla="*/ 21052 w 21590"/>
                    <a:gd name="connsiteY10" fmla="*/ 8313 h 9748"/>
                    <a:gd name="connsiteX11" fmla="*/ 20275 w 21590"/>
                    <a:gd name="connsiteY11" fmla="*/ 9629 h 9748"/>
                    <a:gd name="connsiteX12" fmla="*/ 20035 w 21590"/>
                    <a:gd name="connsiteY12" fmla="*/ 9689 h 9748"/>
                    <a:gd name="connsiteX13" fmla="*/ 19796 w 21590"/>
                    <a:gd name="connsiteY13" fmla="*/ 9749 h 9748"/>
                    <a:gd name="connsiteX14" fmla="*/ 19677 w 21590"/>
                    <a:gd name="connsiteY14" fmla="*/ 9689 h 9748"/>
                    <a:gd name="connsiteX15" fmla="*/ 18600 w 21590"/>
                    <a:gd name="connsiteY15" fmla="*/ 9210 h 9748"/>
                    <a:gd name="connsiteX16" fmla="*/ 17464 w 21590"/>
                    <a:gd name="connsiteY16" fmla="*/ 8672 h 9748"/>
                    <a:gd name="connsiteX17" fmla="*/ 17404 w 21590"/>
                    <a:gd name="connsiteY17" fmla="*/ 8672 h 9748"/>
                    <a:gd name="connsiteX18" fmla="*/ 16507 w 21590"/>
                    <a:gd name="connsiteY18" fmla="*/ 8253 h 9748"/>
                    <a:gd name="connsiteX19" fmla="*/ 16028 w 21590"/>
                    <a:gd name="connsiteY19" fmla="*/ 8014 h 9748"/>
                    <a:gd name="connsiteX20" fmla="*/ 14593 w 21590"/>
                    <a:gd name="connsiteY20" fmla="*/ 7356 h 9748"/>
                    <a:gd name="connsiteX21" fmla="*/ 13516 w 21590"/>
                    <a:gd name="connsiteY21" fmla="*/ 6878 h 9748"/>
                    <a:gd name="connsiteX22" fmla="*/ 10586 w 21590"/>
                    <a:gd name="connsiteY22" fmla="*/ 5502 h 9748"/>
                    <a:gd name="connsiteX23" fmla="*/ 10466 w 21590"/>
                    <a:gd name="connsiteY23" fmla="*/ 5442 h 9748"/>
                    <a:gd name="connsiteX24" fmla="*/ 8493 w 21590"/>
                    <a:gd name="connsiteY24" fmla="*/ 4545 h 9748"/>
                    <a:gd name="connsiteX25" fmla="*/ 7596 w 21590"/>
                    <a:gd name="connsiteY25" fmla="*/ 4127 h 9748"/>
                    <a:gd name="connsiteX26" fmla="*/ 6339 w 21590"/>
                    <a:gd name="connsiteY26" fmla="*/ 3529 h 9748"/>
                    <a:gd name="connsiteX27" fmla="*/ 2631 w 21590"/>
                    <a:gd name="connsiteY27" fmla="*/ 1555 h 9748"/>
                    <a:gd name="connsiteX28" fmla="*/ 2273 w 21590"/>
                    <a:gd name="connsiteY28" fmla="*/ 1376 h 9748"/>
                    <a:gd name="connsiteX29" fmla="*/ 1136 w 21590"/>
                    <a:gd name="connsiteY29" fmla="*/ 718 h 9748"/>
                    <a:gd name="connsiteX30" fmla="*/ 60 w 21590"/>
                    <a:gd name="connsiteY30" fmla="*/ 60 h 9748"/>
                    <a:gd name="connsiteX31" fmla="*/ 0 w 21590"/>
                    <a:gd name="connsiteY31" fmla="*/ 0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590" h="9748">
                      <a:moveTo>
                        <a:pt x="16865" y="4007"/>
                      </a:moveTo>
                      <a:lnTo>
                        <a:pt x="17942" y="4725"/>
                      </a:lnTo>
                      <a:lnTo>
                        <a:pt x="18002" y="4785"/>
                      </a:lnTo>
                      <a:lnTo>
                        <a:pt x="19377" y="5741"/>
                      </a:lnTo>
                      <a:lnTo>
                        <a:pt x="19856" y="6040"/>
                      </a:lnTo>
                      <a:lnTo>
                        <a:pt x="20275" y="6399"/>
                      </a:lnTo>
                      <a:lnTo>
                        <a:pt x="20335" y="6459"/>
                      </a:lnTo>
                      <a:lnTo>
                        <a:pt x="20933" y="6938"/>
                      </a:lnTo>
                      <a:lnTo>
                        <a:pt x="21590" y="7476"/>
                      </a:lnTo>
                      <a:lnTo>
                        <a:pt x="21291" y="7954"/>
                      </a:lnTo>
                      <a:lnTo>
                        <a:pt x="21052" y="8313"/>
                      </a:lnTo>
                      <a:lnTo>
                        <a:pt x="20275" y="9629"/>
                      </a:lnTo>
                      <a:lnTo>
                        <a:pt x="20035" y="9689"/>
                      </a:lnTo>
                      <a:lnTo>
                        <a:pt x="19796" y="9749"/>
                      </a:lnTo>
                      <a:lnTo>
                        <a:pt x="19677" y="9689"/>
                      </a:lnTo>
                      <a:lnTo>
                        <a:pt x="18600" y="9210"/>
                      </a:lnTo>
                      <a:lnTo>
                        <a:pt x="17464" y="8672"/>
                      </a:lnTo>
                      <a:lnTo>
                        <a:pt x="17404" y="8672"/>
                      </a:lnTo>
                      <a:lnTo>
                        <a:pt x="16507" y="8253"/>
                      </a:lnTo>
                      <a:lnTo>
                        <a:pt x="16028" y="8014"/>
                      </a:lnTo>
                      <a:lnTo>
                        <a:pt x="14593" y="7356"/>
                      </a:lnTo>
                      <a:lnTo>
                        <a:pt x="13516" y="6878"/>
                      </a:lnTo>
                      <a:lnTo>
                        <a:pt x="10586" y="5502"/>
                      </a:lnTo>
                      <a:lnTo>
                        <a:pt x="10466" y="5442"/>
                      </a:lnTo>
                      <a:lnTo>
                        <a:pt x="8493" y="4545"/>
                      </a:lnTo>
                      <a:lnTo>
                        <a:pt x="7596" y="4127"/>
                      </a:lnTo>
                      <a:lnTo>
                        <a:pt x="6339" y="3529"/>
                      </a:lnTo>
                      <a:lnTo>
                        <a:pt x="2631" y="1555"/>
                      </a:lnTo>
                      <a:lnTo>
                        <a:pt x="2273" y="1376"/>
                      </a:lnTo>
                      <a:lnTo>
                        <a:pt x="1136" y="718"/>
                      </a:lnTo>
                      <a:lnTo>
                        <a:pt x="60" y="6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61" name="Vrije vorm: vorm 6560">
                  <a:extLst>
                    <a:ext uri="{FF2B5EF4-FFF2-40B4-BE49-F238E27FC236}">
                      <a16:creationId xmlns:a16="http://schemas.microsoft.com/office/drawing/2014/main" id="{1BCFF6D5-8EAD-4072-925D-CE704305168F}"/>
                    </a:ext>
                  </a:extLst>
                </p:cNvPr>
                <p:cNvSpPr/>
                <p:nvPr/>
              </p:nvSpPr>
              <p:spPr>
                <a:xfrm>
                  <a:off x="6953087" y="2020627"/>
                  <a:ext cx="18599" cy="7535"/>
                </a:xfrm>
                <a:custGeom>
                  <a:avLst/>
                  <a:gdLst>
                    <a:gd name="connsiteX0" fmla="*/ 0 w 18599"/>
                    <a:gd name="connsiteY0" fmla="*/ 0 h 7535"/>
                    <a:gd name="connsiteX1" fmla="*/ 60 w 18599"/>
                    <a:gd name="connsiteY1" fmla="*/ 60 h 7535"/>
                    <a:gd name="connsiteX2" fmla="*/ 1375 w 18599"/>
                    <a:gd name="connsiteY2" fmla="*/ 777 h 7535"/>
                    <a:gd name="connsiteX3" fmla="*/ 1555 w 18599"/>
                    <a:gd name="connsiteY3" fmla="*/ 897 h 7535"/>
                    <a:gd name="connsiteX4" fmla="*/ 1795 w 18599"/>
                    <a:gd name="connsiteY4" fmla="*/ 1017 h 7535"/>
                    <a:gd name="connsiteX5" fmla="*/ 2392 w 18599"/>
                    <a:gd name="connsiteY5" fmla="*/ 1316 h 7535"/>
                    <a:gd name="connsiteX6" fmla="*/ 2811 w 18599"/>
                    <a:gd name="connsiteY6" fmla="*/ 1495 h 7535"/>
                    <a:gd name="connsiteX7" fmla="*/ 4785 w 18599"/>
                    <a:gd name="connsiteY7" fmla="*/ 2273 h 7535"/>
                    <a:gd name="connsiteX8" fmla="*/ 5622 w 18599"/>
                    <a:gd name="connsiteY8" fmla="*/ 2631 h 7535"/>
                    <a:gd name="connsiteX9" fmla="*/ 5801 w 18599"/>
                    <a:gd name="connsiteY9" fmla="*/ 2691 h 7535"/>
                    <a:gd name="connsiteX10" fmla="*/ 6938 w 18599"/>
                    <a:gd name="connsiteY10" fmla="*/ 3170 h 7535"/>
                    <a:gd name="connsiteX11" fmla="*/ 7476 w 18599"/>
                    <a:gd name="connsiteY11" fmla="*/ 3409 h 7535"/>
                    <a:gd name="connsiteX12" fmla="*/ 8014 w 18599"/>
                    <a:gd name="connsiteY12" fmla="*/ 3648 h 7535"/>
                    <a:gd name="connsiteX13" fmla="*/ 9629 w 18599"/>
                    <a:gd name="connsiteY13" fmla="*/ 4306 h 7535"/>
                    <a:gd name="connsiteX14" fmla="*/ 11782 w 18599"/>
                    <a:gd name="connsiteY14" fmla="*/ 5143 h 7535"/>
                    <a:gd name="connsiteX15" fmla="*/ 12859 w 18599"/>
                    <a:gd name="connsiteY15" fmla="*/ 5562 h 7535"/>
                    <a:gd name="connsiteX16" fmla="*/ 13815 w 18599"/>
                    <a:gd name="connsiteY16" fmla="*/ 5921 h 7535"/>
                    <a:gd name="connsiteX17" fmla="*/ 13875 w 18599"/>
                    <a:gd name="connsiteY17" fmla="*/ 5921 h 7535"/>
                    <a:gd name="connsiteX18" fmla="*/ 14234 w 18599"/>
                    <a:gd name="connsiteY18" fmla="*/ 6040 h 7535"/>
                    <a:gd name="connsiteX19" fmla="*/ 14892 w 18599"/>
                    <a:gd name="connsiteY19" fmla="*/ 6280 h 7535"/>
                    <a:gd name="connsiteX20" fmla="*/ 15012 w 18599"/>
                    <a:gd name="connsiteY20" fmla="*/ 6340 h 7535"/>
                    <a:gd name="connsiteX21" fmla="*/ 15310 w 18599"/>
                    <a:gd name="connsiteY21" fmla="*/ 6459 h 7535"/>
                    <a:gd name="connsiteX22" fmla="*/ 16148 w 18599"/>
                    <a:gd name="connsiteY22" fmla="*/ 6818 h 7535"/>
                    <a:gd name="connsiteX23" fmla="*/ 16627 w 18599"/>
                    <a:gd name="connsiteY23" fmla="*/ 6997 h 7535"/>
                    <a:gd name="connsiteX24" fmla="*/ 17284 w 18599"/>
                    <a:gd name="connsiteY24" fmla="*/ 7296 h 7535"/>
                    <a:gd name="connsiteX25" fmla="*/ 17703 w 18599"/>
                    <a:gd name="connsiteY25" fmla="*/ 7476 h 7535"/>
                    <a:gd name="connsiteX26" fmla="*/ 17763 w 18599"/>
                    <a:gd name="connsiteY26" fmla="*/ 7476 h 7535"/>
                    <a:gd name="connsiteX27" fmla="*/ 17882 w 18599"/>
                    <a:gd name="connsiteY27" fmla="*/ 7536 h 7535"/>
                    <a:gd name="connsiteX28" fmla="*/ 17942 w 18599"/>
                    <a:gd name="connsiteY28" fmla="*/ 7536 h 7535"/>
                    <a:gd name="connsiteX29" fmla="*/ 18600 w 18599"/>
                    <a:gd name="connsiteY29" fmla="*/ 7476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599" h="7535">
                      <a:moveTo>
                        <a:pt x="0" y="0"/>
                      </a:moveTo>
                      <a:lnTo>
                        <a:pt x="60" y="60"/>
                      </a:lnTo>
                      <a:lnTo>
                        <a:pt x="1375" y="777"/>
                      </a:lnTo>
                      <a:lnTo>
                        <a:pt x="1555" y="897"/>
                      </a:lnTo>
                      <a:lnTo>
                        <a:pt x="1795" y="1017"/>
                      </a:lnTo>
                      <a:lnTo>
                        <a:pt x="2392" y="1316"/>
                      </a:lnTo>
                      <a:lnTo>
                        <a:pt x="2811" y="1495"/>
                      </a:lnTo>
                      <a:lnTo>
                        <a:pt x="4785" y="2273"/>
                      </a:lnTo>
                      <a:lnTo>
                        <a:pt x="5622" y="2631"/>
                      </a:lnTo>
                      <a:lnTo>
                        <a:pt x="5801" y="2691"/>
                      </a:lnTo>
                      <a:lnTo>
                        <a:pt x="6938" y="3170"/>
                      </a:lnTo>
                      <a:lnTo>
                        <a:pt x="7476" y="3409"/>
                      </a:lnTo>
                      <a:lnTo>
                        <a:pt x="8014" y="3648"/>
                      </a:lnTo>
                      <a:lnTo>
                        <a:pt x="9629" y="4306"/>
                      </a:lnTo>
                      <a:lnTo>
                        <a:pt x="11782" y="5143"/>
                      </a:lnTo>
                      <a:lnTo>
                        <a:pt x="12859" y="5562"/>
                      </a:lnTo>
                      <a:lnTo>
                        <a:pt x="13815" y="5921"/>
                      </a:lnTo>
                      <a:lnTo>
                        <a:pt x="13875" y="5921"/>
                      </a:lnTo>
                      <a:lnTo>
                        <a:pt x="14234" y="6040"/>
                      </a:lnTo>
                      <a:lnTo>
                        <a:pt x="14892" y="6280"/>
                      </a:lnTo>
                      <a:lnTo>
                        <a:pt x="15012" y="6340"/>
                      </a:lnTo>
                      <a:lnTo>
                        <a:pt x="15310" y="6459"/>
                      </a:lnTo>
                      <a:lnTo>
                        <a:pt x="16148" y="6818"/>
                      </a:lnTo>
                      <a:lnTo>
                        <a:pt x="16627" y="6997"/>
                      </a:lnTo>
                      <a:lnTo>
                        <a:pt x="17284" y="7296"/>
                      </a:lnTo>
                      <a:lnTo>
                        <a:pt x="17703" y="7476"/>
                      </a:lnTo>
                      <a:lnTo>
                        <a:pt x="17763" y="7476"/>
                      </a:lnTo>
                      <a:lnTo>
                        <a:pt x="17882" y="7536"/>
                      </a:lnTo>
                      <a:lnTo>
                        <a:pt x="17942" y="7536"/>
                      </a:lnTo>
                      <a:lnTo>
                        <a:pt x="18600" y="7476"/>
                      </a:lnTo>
                    </a:path>
                  </a:pathLst>
                </a:custGeom>
                <a:noFill/>
                <a:ln w="6350" cap="rnd">
                  <a:solidFill>
                    <a:schemeClr val="bg1">
                      <a:alpha val="40000"/>
                    </a:schemeClr>
                  </a:solidFill>
                  <a:prstDash val="solid"/>
                  <a:round/>
                </a:ln>
              </p:spPr>
              <p:txBody>
                <a:bodyPr rtlCol="0" anchor="ctr"/>
                <a:lstStyle/>
                <a:p>
                  <a:endParaRPr lang="en-GB"/>
                </a:p>
              </p:txBody>
            </p:sp>
            <p:sp>
              <p:nvSpPr>
                <p:cNvPr id="6562" name="Vrije vorm: vorm 6561">
                  <a:extLst>
                    <a:ext uri="{FF2B5EF4-FFF2-40B4-BE49-F238E27FC236}">
                      <a16:creationId xmlns:a16="http://schemas.microsoft.com/office/drawing/2014/main" id="{5959CB69-8B42-4C4A-8270-CF69ED926526}"/>
                    </a:ext>
                  </a:extLst>
                </p:cNvPr>
                <p:cNvSpPr/>
                <p:nvPr/>
              </p:nvSpPr>
              <p:spPr>
                <a:xfrm>
                  <a:off x="7056434" y="1892819"/>
                  <a:ext cx="7475" cy="5621"/>
                </a:xfrm>
                <a:custGeom>
                  <a:avLst/>
                  <a:gdLst>
                    <a:gd name="connsiteX0" fmla="*/ 7416 w 7475"/>
                    <a:gd name="connsiteY0" fmla="*/ 5622 h 5621"/>
                    <a:gd name="connsiteX1" fmla="*/ 7476 w 7475"/>
                    <a:gd name="connsiteY1" fmla="*/ 4426 h 5621"/>
                    <a:gd name="connsiteX2" fmla="*/ 6818 w 7475"/>
                    <a:gd name="connsiteY2" fmla="*/ 4007 h 5621"/>
                    <a:gd name="connsiteX3" fmla="*/ 6279 w 7475"/>
                    <a:gd name="connsiteY3" fmla="*/ 3708 h 5621"/>
                    <a:gd name="connsiteX4" fmla="*/ 6279 w 7475"/>
                    <a:gd name="connsiteY4" fmla="*/ 3708 h 5621"/>
                    <a:gd name="connsiteX5" fmla="*/ 6100 w 7475"/>
                    <a:gd name="connsiteY5" fmla="*/ 3588 h 5621"/>
                    <a:gd name="connsiteX6" fmla="*/ 3828 w 7475"/>
                    <a:gd name="connsiteY6" fmla="*/ 2273 h 5621"/>
                    <a:gd name="connsiteX7" fmla="*/ 0 w 7475"/>
                    <a:gd name="connsiteY7" fmla="*/ 0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75" h="5621">
                      <a:moveTo>
                        <a:pt x="7416" y="5622"/>
                      </a:moveTo>
                      <a:lnTo>
                        <a:pt x="7476" y="4426"/>
                      </a:lnTo>
                      <a:lnTo>
                        <a:pt x="6818" y="4007"/>
                      </a:lnTo>
                      <a:lnTo>
                        <a:pt x="6279" y="3708"/>
                      </a:lnTo>
                      <a:lnTo>
                        <a:pt x="6279" y="3708"/>
                      </a:lnTo>
                      <a:lnTo>
                        <a:pt x="6100" y="3588"/>
                      </a:lnTo>
                      <a:lnTo>
                        <a:pt x="3828" y="2273"/>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63" name="Vrije vorm: vorm 6562">
                  <a:extLst>
                    <a:ext uri="{FF2B5EF4-FFF2-40B4-BE49-F238E27FC236}">
                      <a16:creationId xmlns:a16="http://schemas.microsoft.com/office/drawing/2014/main" id="{BC885A1B-27A4-4D2F-AB1A-D231823592B9}"/>
                    </a:ext>
                  </a:extLst>
                </p:cNvPr>
                <p:cNvSpPr/>
                <p:nvPr/>
              </p:nvSpPr>
              <p:spPr>
                <a:xfrm>
                  <a:off x="6865111" y="1735825"/>
                  <a:ext cx="43240" cy="40728"/>
                </a:xfrm>
                <a:custGeom>
                  <a:avLst/>
                  <a:gdLst>
                    <a:gd name="connsiteX0" fmla="*/ 43241 w 43240"/>
                    <a:gd name="connsiteY0" fmla="*/ 60 h 40728"/>
                    <a:gd name="connsiteX1" fmla="*/ 41865 w 43240"/>
                    <a:gd name="connsiteY1" fmla="*/ 0 h 40728"/>
                    <a:gd name="connsiteX2" fmla="*/ 41506 w 43240"/>
                    <a:gd name="connsiteY2" fmla="*/ 0 h 40728"/>
                    <a:gd name="connsiteX3" fmla="*/ 38935 w 43240"/>
                    <a:gd name="connsiteY3" fmla="*/ 1376 h 40728"/>
                    <a:gd name="connsiteX4" fmla="*/ 30023 w 43240"/>
                    <a:gd name="connsiteY4" fmla="*/ 9031 h 40728"/>
                    <a:gd name="connsiteX5" fmla="*/ 20394 w 43240"/>
                    <a:gd name="connsiteY5" fmla="*/ 18241 h 40728"/>
                    <a:gd name="connsiteX6" fmla="*/ 8552 w 43240"/>
                    <a:gd name="connsiteY6" fmla="*/ 30502 h 40728"/>
                    <a:gd name="connsiteX7" fmla="*/ 0 w 43240"/>
                    <a:gd name="connsiteY7" fmla="*/ 40729 h 4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40" h="40728">
                      <a:moveTo>
                        <a:pt x="43241" y="60"/>
                      </a:moveTo>
                      <a:lnTo>
                        <a:pt x="41865" y="0"/>
                      </a:lnTo>
                      <a:lnTo>
                        <a:pt x="41506" y="0"/>
                      </a:lnTo>
                      <a:lnTo>
                        <a:pt x="38935" y="1376"/>
                      </a:lnTo>
                      <a:lnTo>
                        <a:pt x="30023" y="9031"/>
                      </a:lnTo>
                      <a:lnTo>
                        <a:pt x="20394" y="18241"/>
                      </a:lnTo>
                      <a:lnTo>
                        <a:pt x="8552" y="30502"/>
                      </a:lnTo>
                      <a:lnTo>
                        <a:pt x="0" y="40729"/>
                      </a:lnTo>
                    </a:path>
                  </a:pathLst>
                </a:custGeom>
                <a:noFill/>
                <a:ln w="6350" cap="rnd">
                  <a:solidFill>
                    <a:schemeClr val="bg1">
                      <a:alpha val="40000"/>
                    </a:schemeClr>
                  </a:solidFill>
                  <a:prstDash val="solid"/>
                  <a:round/>
                </a:ln>
              </p:spPr>
              <p:txBody>
                <a:bodyPr rtlCol="0" anchor="ctr"/>
                <a:lstStyle/>
                <a:p>
                  <a:endParaRPr lang="en-GB"/>
                </a:p>
              </p:txBody>
            </p:sp>
            <p:sp>
              <p:nvSpPr>
                <p:cNvPr id="6564" name="Vrije vorm: vorm 6563">
                  <a:extLst>
                    <a:ext uri="{FF2B5EF4-FFF2-40B4-BE49-F238E27FC236}">
                      <a16:creationId xmlns:a16="http://schemas.microsoft.com/office/drawing/2014/main" id="{CBB431D1-816A-4EDD-86C9-0A5DA763DDA4}"/>
                    </a:ext>
                  </a:extLst>
                </p:cNvPr>
                <p:cNvSpPr/>
                <p:nvPr/>
              </p:nvSpPr>
              <p:spPr>
                <a:xfrm>
                  <a:off x="7005598" y="1801852"/>
                  <a:ext cx="21052" cy="38455"/>
                </a:xfrm>
                <a:custGeom>
                  <a:avLst/>
                  <a:gdLst>
                    <a:gd name="connsiteX0" fmla="*/ 0 w 21052"/>
                    <a:gd name="connsiteY0" fmla="*/ 38456 h 38455"/>
                    <a:gd name="connsiteX1" fmla="*/ 418 w 21052"/>
                    <a:gd name="connsiteY1" fmla="*/ 37738 h 38455"/>
                    <a:gd name="connsiteX2" fmla="*/ 1973 w 21052"/>
                    <a:gd name="connsiteY2" fmla="*/ 34868 h 38455"/>
                    <a:gd name="connsiteX3" fmla="*/ 7476 w 21052"/>
                    <a:gd name="connsiteY3" fmla="*/ 24820 h 38455"/>
                    <a:gd name="connsiteX4" fmla="*/ 8134 w 21052"/>
                    <a:gd name="connsiteY4" fmla="*/ 23504 h 38455"/>
                    <a:gd name="connsiteX5" fmla="*/ 13576 w 21052"/>
                    <a:gd name="connsiteY5" fmla="*/ 12859 h 38455"/>
                    <a:gd name="connsiteX6" fmla="*/ 13755 w 21052"/>
                    <a:gd name="connsiteY6" fmla="*/ 12559 h 38455"/>
                    <a:gd name="connsiteX7" fmla="*/ 13755 w 21052"/>
                    <a:gd name="connsiteY7" fmla="*/ 12559 h 38455"/>
                    <a:gd name="connsiteX8" fmla="*/ 14712 w 21052"/>
                    <a:gd name="connsiteY8" fmla="*/ 10705 h 38455"/>
                    <a:gd name="connsiteX9" fmla="*/ 18540 w 21052"/>
                    <a:gd name="connsiteY9" fmla="*/ 3230 h 38455"/>
                    <a:gd name="connsiteX10" fmla="*/ 18899 w 21052"/>
                    <a:gd name="connsiteY10" fmla="*/ 2572 h 38455"/>
                    <a:gd name="connsiteX11" fmla="*/ 19318 w 21052"/>
                    <a:gd name="connsiteY11" fmla="*/ 1914 h 38455"/>
                    <a:gd name="connsiteX12" fmla="*/ 20035 w 21052"/>
                    <a:gd name="connsiteY12" fmla="*/ 777 h 38455"/>
                    <a:gd name="connsiteX13" fmla="*/ 20335 w 21052"/>
                    <a:gd name="connsiteY13" fmla="*/ 359 h 38455"/>
                    <a:gd name="connsiteX14" fmla="*/ 21052 w 21052"/>
                    <a:gd name="connsiteY14" fmla="*/ 0 h 3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052" h="38455">
                      <a:moveTo>
                        <a:pt x="0" y="38456"/>
                      </a:moveTo>
                      <a:lnTo>
                        <a:pt x="418" y="37738"/>
                      </a:lnTo>
                      <a:lnTo>
                        <a:pt x="1973" y="34868"/>
                      </a:lnTo>
                      <a:lnTo>
                        <a:pt x="7476" y="24820"/>
                      </a:lnTo>
                      <a:lnTo>
                        <a:pt x="8134" y="23504"/>
                      </a:lnTo>
                      <a:lnTo>
                        <a:pt x="13576" y="12859"/>
                      </a:lnTo>
                      <a:lnTo>
                        <a:pt x="13755" y="12559"/>
                      </a:lnTo>
                      <a:lnTo>
                        <a:pt x="13755" y="12559"/>
                      </a:lnTo>
                      <a:lnTo>
                        <a:pt x="14712" y="10705"/>
                      </a:lnTo>
                      <a:lnTo>
                        <a:pt x="18540" y="3230"/>
                      </a:lnTo>
                      <a:lnTo>
                        <a:pt x="18899" y="2572"/>
                      </a:lnTo>
                      <a:lnTo>
                        <a:pt x="19318" y="1914"/>
                      </a:lnTo>
                      <a:lnTo>
                        <a:pt x="20035" y="777"/>
                      </a:lnTo>
                      <a:lnTo>
                        <a:pt x="20335" y="359"/>
                      </a:lnTo>
                      <a:lnTo>
                        <a:pt x="21052" y="0"/>
                      </a:lnTo>
                    </a:path>
                  </a:pathLst>
                </a:custGeom>
                <a:noFill/>
                <a:ln w="6350" cap="rnd">
                  <a:solidFill>
                    <a:schemeClr val="bg1">
                      <a:alpha val="40000"/>
                    </a:schemeClr>
                  </a:solidFill>
                  <a:prstDash val="solid"/>
                  <a:round/>
                </a:ln>
              </p:spPr>
              <p:txBody>
                <a:bodyPr rtlCol="0" anchor="ctr"/>
                <a:lstStyle/>
                <a:p>
                  <a:endParaRPr lang="en-GB"/>
                </a:p>
              </p:txBody>
            </p:sp>
            <p:sp>
              <p:nvSpPr>
                <p:cNvPr id="6565" name="Vrije vorm: vorm 6564">
                  <a:extLst>
                    <a:ext uri="{FF2B5EF4-FFF2-40B4-BE49-F238E27FC236}">
                      <a16:creationId xmlns:a16="http://schemas.microsoft.com/office/drawing/2014/main" id="{7CB0A87E-72F6-4B56-875C-3A2D8DB4E130}"/>
                    </a:ext>
                  </a:extLst>
                </p:cNvPr>
                <p:cNvSpPr/>
                <p:nvPr/>
              </p:nvSpPr>
              <p:spPr>
                <a:xfrm>
                  <a:off x="7065346" y="1799520"/>
                  <a:ext cx="10944" cy="9927"/>
                </a:xfrm>
                <a:custGeom>
                  <a:avLst/>
                  <a:gdLst>
                    <a:gd name="connsiteX0" fmla="*/ 0 w 10944"/>
                    <a:gd name="connsiteY0" fmla="*/ 4665 h 9927"/>
                    <a:gd name="connsiteX1" fmla="*/ 957 w 10944"/>
                    <a:gd name="connsiteY1" fmla="*/ 2213 h 9927"/>
                    <a:gd name="connsiteX2" fmla="*/ 1914 w 10944"/>
                    <a:gd name="connsiteY2" fmla="*/ 777 h 9927"/>
                    <a:gd name="connsiteX3" fmla="*/ 2153 w 10944"/>
                    <a:gd name="connsiteY3" fmla="*/ 419 h 9927"/>
                    <a:gd name="connsiteX4" fmla="*/ 2153 w 10944"/>
                    <a:gd name="connsiteY4" fmla="*/ 419 h 9927"/>
                    <a:gd name="connsiteX5" fmla="*/ 2392 w 10944"/>
                    <a:gd name="connsiteY5" fmla="*/ 60 h 9927"/>
                    <a:gd name="connsiteX6" fmla="*/ 2452 w 10944"/>
                    <a:gd name="connsiteY6" fmla="*/ 0 h 9927"/>
                    <a:gd name="connsiteX7" fmla="*/ 3888 w 10944"/>
                    <a:gd name="connsiteY7" fmla="*/ 299 h 9927"/>
                    <a:gd name="connsiteX8" fmla="*/ 4545 w 10944"/>
                    <a:gd name="connsiteY8" fmla="*/ 419 h 9927"/>
                    <a:gd name="connsiteX9" fmla="*/ 4844 w 10944"/>
                    <a:gd name="connsiteY9" fmla="*/ 478 h 9927"/>
                    <a:gd name="connsiteX10" fmla="*/ 5383 w 10944"/>
                    <a:gd name="connsiteY10" fmla="*/ 598 h 9927"/>
                    <a:gd name="connsiteX11" fmla="*/ 5383 w 10944"/>
                    <a:gd name="connsiteY11" fmla="*/ 598 h 9927"/>
                    <a:gd name="connsiteX12" fmla="*/ 5562 w 10944"/>
                    <a:gd name="connsiteY12" fmla="*/ 658 h 9927"/>
                    <a:gd name="connsiteX13" fmla="*/ 5861 w 10944"/>
                    <a:gd name="connsiteY13" fmla="*/ 718 h 9927"/>
                    <a:gd name="connsiteX14" fmla="*/ 7296 w 10944"/>
                    <a:gd name="connsiteY14" fmla="*/ 1017 h 9927"/>
                    <a:gd name="connsiteX15" fmla="*/ 8194 w 10944"/>
                    <a:gd name="connsiteY15" fmla="*/ 1196 h 9927"/>
                    <a:gd name="connsiteX16" fmla="*/ 8253 w 10944"/>
                    <a:gd name="connsiteY16" fmla="*/ 1196 h 9927"/>
                    <a:gd name="connsiteX17" fmla="*/ 9689 w 10944"/>
                    <a:gd name="connsiteY17" fmla="*/ 1495 h 9927"/>
                    <a:gd name="connsiteX18" fmla="*/ 9808 w 10944"/>
                    <a:gd name="connsiteY18" fmla="*/ 1615 h 9927"/>
                    <a:gd name="connsiteX19" fmla="*/ 9868 w 10944"/>
                    <a:gd name="connsiteY19" fmla="*/ 1675 h 9927"/>
                    <a:gd name="connsiteX20" fmla="*/ 10047 w 10944"/>
                    <a:gd name="connsiteY20" fmla="*/ 1854 h 9927"/>
                    <a:gd name="connsiteX21" fmla="*/ 10227 w 10944"/>
                    <a:gd name="connsiteY21" fmla="*/ 2033 h 9927"/>
                    <a:gd name="connsiteX22" fmla="*/ 10406 w 10944"/>
                    <a:gd name="connsiteY22" fmla="*/ 2213 h 9927"/>
                    <a:gd name="connsiteX23" fmla="*/ 10765 w 10944"/>
                    <a:gd name="connsiteY23" fmla="*/ 2631 h 9927"/>
                    <a:gd name="connsiteX24" fmla="*/ 10825 w 10944"/>
                    <a:gd name="connsiteY24" fmla="*/ 2691 h 9927"/>
                    <a:gd name="connsiteX25" fmla="*/ 10885 w 10944"/>
                    <a:gd name="connsiteY25" fmla="*/ 3110 h 9927"/>
                    <a:gd name="connsiteX26" fmla="*/ 10944 w 10944"/>
                    <a:gd name="connsiteY26" fmla="*/ 3349 h 9927"/>
                    <a:gd name="connsiteX27" fmla="*/ 10885 w 10944"/>
                    <a:gd name="connsiteY27" fmla="*/ 3469 h 9927"/>
                    <a:gd name="connsiteX28" fmla="*/ 10825 w 10944"/>
                    <a:gd name="connsiteY28" fmla="*/ 3648 h 9927"/>
                    <a:gd name="connsiteX29" fmla="*/ 10765 w 10944"/>
                    <a:gd name="connsiteY29" fmla="*/ 3887 h 9927"/>
                    <a:gd name="connsiteX30" fmla="*/ 10586 w 10944"/>
                    <a:gd name="connsiteY30" fmla="*/ 4366 h 9927"/>
                    <a:gd name="connsiteX31" fmla="*/ 10347 w 10944"/>
                    <a:gd name="connsiteY31" fmla="*/ 5143 h 9927"/>
                    <a:gd name="connsiteX32" fmla="*/ 10347 w 10944"/>
                    <a:gd name="connsiteY32" fmla="*/ 5143 h 9927"/>
                    <a:gd name="connsiteX33" fmla="*/ 10107 w 10944"/>
                    <a:gd name="connsiteY33" fmla="*/ 5801 h 9927"/>
                    <a:gd name="connsiteX34" fmla="*/ 9868 w 10944"/>
                    <a:gd name="connsiteY34" fmla="*/ 6459 h 9927"/>
                    <a:gd name="connsiteX35" fmla="*/ 9689 w 10944"/>
                    <a:gd name="connsiteY35" fmla="*/ 7057 h 9927"/>
                    <a:gd name="connsiteX36" fmla="*/ 8732 w 10944"/>
                    <a:gd name="connsiteY36" fmla="*/ 9928 h 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944" h="9927">
                      <a:moveTo>
                        <a:pt x="0" y="4665"/>
                      </a:moveTo>
                      <a:lnTo>
                        <a:pt x="957" y="2213"/>
                      </a:lnTo>
                      <a:lnTo>
                        <a:pt x="1914" y="777"/>
                      </a:lnTo>
                      <a:lnTo>
                        <a:pt x="2153" y="419"/>
                      </a:lnTo>
                      <a:lnTo>
                        <a:pt x="2153" y="419"/>
                      </a:lnTo>
                      <a:lnTo>
                        <a:pt x="2392" y="60"/>
                      </a:lnTo>
                      <a:lnTo>
                        <a:pt x="2452" y="0"/>
                      </a:lnTo>
                      <a:lnTo>
                        <a:pt x="3888" y="299"/>
                      </a:lnTo>
                      <a:lnTo>
                        <a:pt x="4545" y="419"/>
                      </a:lnTo>
                      <a:lnTo>
                        <a:pt x="4844" y="478"/>
                      </a:lnTo>
                      <a:lnTo>
                        <a:pt x="5383" y="598"/>
                      </a:lnTo>
                      <a:lnTo>
                        <a:pt x="5383" y="598"/>
                      </a:lnTo>
                      <a:lnTo>
                        <a:pt x="5562" y="658"/>
                      </a:lnTo>
                      <a:lnTo>
                        <a:pt x="5861" y="718"/>
                      </a:lnTo>
                      <a:lnTo>
                        <a:pt x="7296" y="1017"/>
                      </a:lnTo>
                      <a:lnTo>
                        <a:pt x="8194" y="1196"/>
                      </a:lnTo>
                      <a:lnTo>
                        <a:pt x="8253" y="1196"/>
                      </a:lnTo>
                      <a:lnTo>
                        <a:pt x="9689" y="1495"/>
                      </a:lnTo>
                      <a:lnTo>
                        <a:pt x="9808" y="1615"/>
                      </a:lnTo>
                      <a:lnTo>
                        <a:pt x="9868" y="1675"/>
                      </a:lnTo>
                      <a:lnTo>
                        <a:pt x="10047" y="1854"/>
                      </a:lnTo>
                      <a:lnTo>
                        <a:pt x="10227" y="2033"/>
                      </a:lnTo>
                      <a:lnTo>
                        <a:pt x="10406" y="2213"/>
                      </a:lnTo>
                      <a:lnTo>
                        <a:pt x="10765" y="2631"/>
                      </a:lnTo>
                      <a:lnTo>
                        <a:pt x="10825" y="2691"/>
                      </a:lnTo>
                      <a:lnTo>
                        <a:pt x="10885" y="3110"/>
                      </a:lnTo>
                      <a:lnTo>
                        <a:pt x="10944" y="3349"/>
                      </a:lnTo>
                      <a:lnTo>
                        <a:pt x="10885" y="3469"/>
                      </a:lnTo>
                      <a:lnTo>
                        <a:pt x="10825" y="3648"/>
                      </a:lnTo>
                      <a:lnTo>
                        <a:pt x="10765" y="3887"/>
                      </a:lnTo>
                      <a:lnTo>
                        <a:pt x="10586" y="4366"/>
                      </a:lnTo>
                      <a:lnTo>
                        <a:pt x="10347" y="5143"/>
                      </a:lnTo>
                      <a:lnTo>
                        <a:pt x="10347" y="5143"/>
                      </a:lnTo>
                      <a:lnTo>
                        <a:pt x="10107" y="5801"/>
                      </a:lnTo>
                      <a:lnTo>
                        <a:pt x="9868" y="6459"/>
                      </a:lnTo>
                      <a:lnTo>
                        <a:pt x="9689" y="7057"/>
                      </a:lnTo>
                      <a:lnTo>
                        <a:pt x="8732" y="9928"/>
                      </a:lnTo>
                    </a:path>
                  </a:pathLst>
                </a:custGeom>
                <a:noFill/>
                <a:ln w="6350" cap="rnd">
                  <a:solidFill>
                    <a:schemeClr val="bg1">
                      <a:alpha val="40000"/>
                    </a:schemeClr>
                  </a:solidFill>
                  <a:prstDash val="solid"/>
                  <a:round/>
                </a:ln>
              </p:spPr>
              <p:txBody>
                <a:bodyPr rtlCol="0" anchor="ctr"/>
                <a:lstStyle/>
                <a:p>
                  <a:endParaRPr lang="en-GB"/>
                </a:p>
              </p:txBody>
            </p:sp>
            <p:sp>
              <p:nvSpPr>
                <p:cNvPr id="6566" name="Vrije vorm: vorm 6565">
                  <a:extLst>
                    <a:ext uri="{FF2B5EF4-FFF2-40B4-BE49-F238E27FC236}">
                      <a16:creationId xmlns:a16="http://schemas.microsoft.com/office/drawing/2014/main" id="{BECC3BDF-ECA3-4E2A-A4F1-8EA4D1B008FC}"/>
                    </a:ext>
                  </a:extLst>
                </p:cNvPr>
                <p:cNvSpPr/>
                <p:nvPr/>
              </p:nvSpPr>
              <p:spPr>
                <a:xfrm>
                  <a:off x="6926832" y="1873142"/>
                  <a:ext cx="12918" cy="21889"/>
                </a:xfrm>
                <a:custGeom>
                  <a:avLst/>
                  <a:gdLst>
                    <a:gd name="connsiteX0" fmla="*/ 12919 w 12918"/>
                    <a:gd name="connsiteY0" fmla="*/ 0 h 21889"/>
                    <a:gd name="connsiteX1" fmla="*/ 12021 w 12918"/>
                    <a:gd name="connsiteY1" fmla="*/ 1495 h 21889"/>
                    <a:gd name="connsiteX2" fmla="*/ 11722 w 12918"/>
                    <a:gd name="connsiteY2" fmla="*/ 2033 h 21889"/>
                    <a:gd name="connsiteX3" fmla="*/ 11184 w 12918"/>
                    <a:gd name="connsiteY3" fmla="*/ 2930 h 21889"/>
                    <a:gd name="connsiteX4" fmla="*/ 10885 w 12918"/>
                    <a:gd name="connsiteY4" fmla="*/ 3469 h 21889"/>
                    <a:gd name="connsiteX5" fmla="*/ 10885 w 12918"/>
                    <a:gd name="connsiteY5" fmla="*/ 3469 h 21889"/>
                    <a:gd name="connsiteX6" fmla="*/ 4785 w 12918"/>
                    <a:gd name="connsiteY6" fmla="*/ 13696 h 21889"/>
                    <a:gd name="connsiteX7" fmla="*/ 0 w 12918"/>
                    <a:gd name="connsiteY7" fmla="*/ 21889 h 21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18" h="21889">
                      <a:moveTo>
                        <a:pt x="12919" y="0"/>
                      </a:moveTo>
                      <a:lnTo>
                        <a:pt x="12021" y="1495"/>
                      </a:lnTo>
                      <a:lnTo>
                        <a:pt x="11722" y="2033"/>
                      </a:lnTo>
                      <a:lnTo>
                        <a:pt x="11184" y="2930"/>
                      </a:lnTo>
                      <a:lnTo>
                        <a:pt x="10885" y="3469"/>
                      </a:lnTo>
                      <a:lnTo>
                        <a:pt x="10885" y="3469"/>
                      </a:lnTo>
                      <a:lnTo>
                        <a:pt x="4785" y="13696"/>
                      </a:lnTo>
                      <a:lnTo>
                        <a:pt x="0" y="21889"/>
                      </a:lnTo>
                    </a:path>
                  </a:pathLst>
                </a:custGeom>
                <a:noFill/>
                <a:ln w="6350" cap="rnd">
                  <a:solidFill>
                    <a:schemeClr val="bg1">
                      <a:alpha val="40000"/>
                    </a:schemeClr>
                  </a:solidFill>
                  <a:prstDash val="solid"/>
                  <a:round/>
                </a:ln>
              </p:spPr>
              <p:txBody>
                <a:bodyPr rtlCol="0" anchor="ctr"/>
                <a:lstStyle/>
                <a:p>
                  <a:endParaRPr lang="en-GB"/>
                </a:p>
              </p:txBody>
            </p:sp>
            <p:sp>
              <p:nvSpPr>
                <p:cNvPr id="6567" name="Vrije vorm: vorm 6566">
                  <a:extLst>
                    <a:ext uri="{FF2B5EF4-FFF2-40B4-BE49-F238E27FC236}">
                      <a16:creationId xmlns:a16="http://schemas.microsoft.com/office/drawing/2014/main" id="{CB39750E-7BC0-4C10-AEA4-AA4F526E5859}"/>
                    </a:ext>
                  </a:extLst>
                </p:cNvPr>
                <p:cNvSpPr/>
                <p:nvPr/>
              </p:nvSpPr>
              <p:spPr>
                <a:xfrm>
                  <a:off x="6939152" y="1851014"/>
                  <a:ext cx="14413" cy="18540"/>
                </a:xfrm>
                <a:custGeom>
                  <a:avLst/>
                  <a:gdLst>
                    <a:gd name="connsiteX0" fmla="*/ 0 w 14413"/>
                    <a:gd name="connsiteY0" fmla="*/ 18540 h 18540"/>
                    <a:gd name="connsiteX1" fmla="*/ 299 w 14413"/>
                    <a:gd name="connsiteY1" fmla="*/ 18002 h 18540"/>
                    <a:gd name="connsiteX2" fmla="*/ 718 w 14413"/>
                    <a:gd name="connsiteY2" fmla="*/ 17284 h 18540"/>
                    <a:gd name="connsiteX3" fmla="*/ 897 w 14413"/>
                    <a:gd name="connsiteY3" fmla="*/ 16985 h 18540"/>
                    <a:gd name="connsiteX4" fmla="*/ 956 w 14413"/>
                    <a:gd name="connsiteY4" fmla="*/ 16925 h 18540"/>
                    <a:gd name="connsiteX5" fmla="*/ 1435 w 14413"/>
                    <a:gd name="connsiteY5" fmla="*/ 16208 h 18540"/>
                    <a:gd name="connsiteX6" fmla="*/ 1495 w 14413"/>
                    <a:gd name="connsiteY6" fmla="*/ 16088 h 18540"/>
                    <a:gd name="connsiteX7" fmla="*/ 2511 w 14413"/>
                    <a:gd name="connsiteY7" fmla="*/ 14413 h 18540"/>
                    <a:gd name="connsiteX8" fmla="*/ 2691 w 14413"/>
                    <a:gd name="connsiteY8" fmla="*/ 14115 h 18540"/>
                    <a:gd name="connsiteX9" fmla="*/ 3050 w 14413"/>
                    <a:gd name="connsiteY9" fmla="*/ 13516 h 18540"/>
                    <a:gd name="connsiteX10" fmla="*/ 3050 w 14413"/>
                    <a:gd name="connsiteY10" fmla="*/ 13457 h 18540"/>
                    <a:gd name="connsiteX11" fmla="*/ 3109 w 14413"/>
                    <a:gd name="connsiteY11" fmla="*/ 13337 h 18540"/>
                    <a:gd name="connsiteX12" fmla="*/ 3349 w 14413"/>
                    <a:gd name="connsiteY12" fmla="*/ 12918 h 18540"/>
                    <a:gd name="connsiteX13" fmla="*/ 5502 w 14413"/>
                    <a:gd name="connsiteY13" fmla="*/ 9449 h 18540"/>
                    <a:gd name="connsiteX14" fmla="*/ 6758 w 14413"/>
                    <a:gd name="connsiteY14" fmla="*/ 7416 h 18540"/>
                    <a:gd name="connsiteX15" fmla="*/ 7775 w 14413"/>
                    <a:gd name="connsiteY15" fmla="*/ 5801 h 18540"/>
                    <a:gd name="connsiteX16" fmla="*/ 7834 w 14413"/>
                    <a:gd name="connsiteY16" fmla="*/ 5682 h 18540"/>
                    <a:gd name="connsiteX17" fmla="*/ 8014 w 14413"/>
                    <a:gd name="connsiteY17" fmla="*/ 5442 h 18540"/>
                    <a:gd name="connsiteX18" fmla="*/ 8672 w 14413"/>
                    <a:gd name="connsiteY18" fmla="*/ 4306 h 18540"/>
                    <a:gd name="connsiteX19" fmla="*/ 9449 w 14413"/>
                    <a:gd name="connsiteY19" fmla="*/ 3050 h 18540"/>
                    <a:gd name="connsiteX20" fmla="*/ 10406 w 14413"/>
                    <a:gd name="connsiteY20" fmla="*/ 1555 h 18540"/>
                    <a:gd name="connsiteX21" fmla="*/ 10825 w 14413"/>
                    <a:gd name="connsiteY21" fmla="*/ 837 h 18540"/>
                    <a:gd name="connsiteX22" fmla="*/ 12021 w 14413"/>
                    <a:gd name="connsiteY22" fmla="*/ 538 h 18540"/>
                    <a:gd name="connsiteX23" fmla="*/ 12320 w 14413"/>
                    <a:gd name="connsiteY23" fmla="*/ 478 h 18540"/>
                    <a:gd name="connsiteX24" fmla="*/ 12320 w 14413"/>
                    <a:gd name="connsiteY24" fmla="*/ 478 h 18540"/>
                    <a:gd name="connsiteX25" fmla="*/ 13038 w 14413"/>
                    <a:gd name="connsiteY25" fmla="*/ 299 h 18540"/>
                    <a:gd name="connsiteX26" fmla="*/ 13277 w 14413"/>
                    <a:gd name="connsiteY26" fmla="*/ 239 h 18540"/>
                    <a:gd name="connsiteX27" fmla="*/ 13576 w 14413"/>
                    <a:gd name="connsiteY27" fmla="*/ 179 h 18540"/>
                    <a:gd name="connsiteX28" fmla="*/ 13815 w 14413"/>
                    <a:gd name="connsiteY28" fmla="*/ 120 h 18540"/>
                    <a:gd name="connsiteX29" fmla="*/ 14413 w 14413"/>
                    <a:gd name="connsiteY29" fmla="*/ 0 h 1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413" h="18540">
                      <a:moveTo>
                        <a:pt x="0" y="18540"/>
                      </a:moveTo>
                      <a:lnTo>
                        <a:pt x="299" y="18002"/>
                      </a:lnTo>
                      <a:lnTo>
                        <a:pt x="718" y="17284"/>
                      </a:lnTo>
                      <a:lnTo>
                        <a:pt x="897" y="16985"/>
                      </a:lnTo>
                      <a:lnTo>
                        <a:pt x="956" y="16925"/>
                      </a:lnTo>
                      <a:lnTo>
                        <a:pt x="1435" y="16208"/>
                      </a:lnTo>
                      <a:lnTo>
                        <a:pt x="1495" y="16088"/>
                      </a:lnTo>
                      <a:lnTo>
                        <a:pt x="2511" y="14413"/>
                      </a:lnTo>
                      <a:lnTo>
                        <a:pt x="2691" y="14115"/>
                      </a:lnTo>
                      <a:lnTo>
                        <a:pt x="3050" y="13516"/>
                      </a:lnTo>
                      <a:lnTo>
                        <a:pt x="3050" y="13457"/>
                      </a:lnTo>
                      <a:lnTo>
                        <a:pt x="3109" y="13337"/>
                      </a:lnTo>
                      <a:lnTo>
                        <a:pt x="3349" y="12918"/>
                      </a:lnTo>
                      <a:lnTo>
                        <a:pt x="5502" y="9449"/>
                      </a:lnTo>
                      <a:lnTo>
                        <a:pt x="6758" y="7416"/>
                      </a:lnTo>
                      <a:lnTo>
                        <a:pt x="7775" y="5801"/>
                      </a:lnTo>
                      <a:lnTo>
                        <a:pt x="7834" y="5682"/>
                      </a:lnTo>
                      <a:lnTo>
                        <a:pt x="8014" y="5442"/>
                      </a:lnTo>
                      <a:lnTo>
                        <a:pt x="8672" y="4306"/>
                      </a:lnTo>
                      <a:lnTo>
                        <a:pt x="9449" y="3050"/>
                      </a:lnTo>
                      <a:lnTo>
                        <a:pt x="10406" y="1555"/>
                      </a:lnTo>
                      <a:lnTo>
                        <a:pt x="10825" y="837"/>
                      </a:lnTo>
                      <a:lnTo>
                        <a:pt x="12021" y="538"/>
                      </a:lnTo>
                      <a:lnTo>
                        <a:pt x="12320" y="478"/>
                      </a:lnTo>
                      <a:lnTo>
                        <a:pt x="12320" y="478"/>
                      </a:lnTo>
                      <a:lnTo>
                        <a:pt x="13038" y="299"/>
                      </a:lnTo>
                      <a:lnTo>
                        <a:pt x="13277" y="239"/>
                      </a:lnTo>
                      <a:lnTo>
                        <a:pt x="13576" y="179"/>
                      </a:lnTo>
                      <a:lnTo>
                        <a:pt x="13815" y="120"/>
                      </a:lnTo>
                      <a:lnTo>
                        <a:pt x="14413" y="0"/>
                      </a:lnTo>
                    </a:path>
                  </a:pathLst>
                </a:custGeom>
                <a:noFill/>
                <a:ln w="6350" cap="rnd">
                  <a:solidFill>
                    <a:schemeClr val="bg1">
                      <a:alpha val="40000"/>
                    </a:schemeClr>
                  </a:solidFill>
                  <a:prstDash val="solid"/>
                  <a:round/>
                </a:ln>
              </p:spPr>
              <p:txBody>
                <a:bodyPr rtlCol="0" anchor="ctr"/>
                <a:lstStyle/>
                <a:p>
                  <a:endParaRPr lang="en-GB"/>
                </a:p>
              </p:txBody>
            </p:sp>
            <p:sp>
              <p:nvSpPr>
                <p:cNvPr id="6568" name="Vrije vorm: vorm 6567">
                  <a:extLst>
                    <a:ext uri="{FF2B5EF4-FFF2-40B4-BE49-F238E27FC236}">
                      <a16:creationId xmlns:a16="http://schemas.microsoft.com/office/drawing/2014/main" id="{42302326-AC20-4B2B-A3D9-3F5829760716}"/>
                    </a:ext>
                  </a:extLst>
                </p:cNvPr>
                <p:cNvSpPr/>
                <p:nvPr/>
              </p:nvSpPr>
              <p:spPr>
                <a:xfrm>
                  <a:off x="6853508" y="1798383"/>
                  <a:ext cx="31578" cy="18958"/>
                </a:xfrm>
                <a:custGeom>
                  <a:avLst/>
                  <a:gdLst>
                    <a:gd name="connsiteX0" fmla="*/ 29784 w 31578"/>
                    <a:gd name="connsiteY0" fmla="*/ 18959 h 18958"/>
                    <a:gd name="connsiteX1" fmla="*/ 30323 w 31578"/>
                    <a:gd name="connsiteY1" fmla="*/ 18062 h 18958"/>
                    <a:gd name="connsiteX2" fmla="*/ 30561 w 31578"/>
                    <a:gd name="connsiteY2" fmla="*/ 17643 h 18958"/>
                    <a:gd name="connsiteX3" fmla="*/ 30561 w 31578"/>
                    <a:gd name="connsiteY3" fmla="*/ 17643 h 18958"/>
                    <a:gd name="connsiteX4" fmla="*/ 30621 w 31578"/>
                    <a:gd name="connsiteY4" fmla="*/ 17583 h 18958"/>
                    <a:gd name="connsiteX5" fmla="*/ 31578 w 31578"/>
                    <a:gd name="connsiteY5" fmla="*/ 16088 h 18958"/>
                    <a:gd name="connsiteX6" fmla="*/ 31100 w 31578"/>
                    <a:gd name="connsiteY6" fmla="*/ 14414 h 18958"/>
                    <a:gd name="connsiteX7" fmla="*/ 31040 w 31578"/>
                    <a:gd name="connsiteY7" fmla="*/ 14234 h 18958"/>
                    <a:gd name="connsiteX8" fmla="*/ 27093 w 31578"/>
                    <a:gd name="connsiteY8" fmla="*/ 11902 h 18958"/>
                    <a:gd name="connsiteX9" fmla="*/ 27033 w 31578"/>
                    <a:gd name="connsiteY9" fmla="*/ 11842 h 18958"/>
                    <a:gd name="connsiteX10" fmla="*/ 26615 w 31578"/>
                    <a:gd name="connsiteY10" fmla="*/ 11603 h 18958"/>
                    <a:gd name="connsiteX11" fmla="*/ 15012 w 31578"/>
                    <a:gd name="connsiteY11" fmla="*/ 4844 h 18958"/>
                    <a:gd name="connsiteX12" fmla="*/ 12201 w 31578"/>
                    <a:gd name="connsiteY12" fmla="*/ 3170 h 18958"/>
                    <a:gd name="connsiteX13" fmla="*/ 11244 w 31578"/>
                    <a:gd name="connsiteY13" fmla="*/ 2572 h 18958"/>
                    <a:gd name="connsiteX14" fmla="*/ 8613 w 31578"/>
                    <a:gd name="connsiteY14" fmla="*/ 1017 h 18958"/>
                    <a:gd name="connsiteX15" fmla="*/ 6938 w 31578"/>
                    <a:gd name="connsiteY15" fmla="*/ 60 h 18958"/>
                    <a:gd name="connsiteX16" fmla="*/ 6818 w 31578"/>
                    <a:gd name="connsiteY16" fmla="*/ 60 h 18958"/>
                    <a:gd name="connsiteX17" fmla="*/ 5981 w 31578"/>
                    <a:gd name="connsiteY17" fmla="*/ 0 h 18958"/>
                    <a:gd name="connsiteX18" fmla="*/ 5921 w 31578"/>
                    <a:gd name="connsiteY18" fmla="*/ 0 h 18958"/>
                    <a:gd name="connsiteX19" fmla="*/ 5801 w 31578"/>
                    <a:gd name="connsiteY19" fmla="*/ 0 h 18958"/>
                    <a:gd name="connsiteX20" fmla="*/ 5682 w 31578"/>
                    <a:gd name="connsiteY20" fmla="*/ 239 h 18958"/>
                    <a:gd name="connsiteX21" fmla="*/ 4964 w 31578"/>
                    <a:gd name="connsiteY21" fmla="*/ 1615 h 18958"/>
                    <a:gd name="connsiteX22" fmla="*/ 3050 w 31578"/>
                    <a:gd name="connsiteY22" fmla="*/ 5383 h 18958"/>
                    <a:gd name="connsiteX23" fmla="*/ 2692 w 31578"/>
                    <a:gd name="connsiteY23" fmla="*/ 6100 h 18958"/>
                    <a:gd name="connsiteX24" fmla="*/ 2392 w 31578"/>
                    <a:gd name="connsiteY24" fmla="*/ 6698 h 18958"/>
                    <a:gd name="connsiteX25" fmla="*/ 1077 w 31578"/>
                    <a:gd name="connsiteY25" fmla="*/ 9210 h 18958"/>
                    <a:gd name="connsiteX26" fmla="*/ 180 w 31578"/>
                    <a:gd name="connsiteY26" fmla="*/ 10945 h 18958"/>
                    <a:gd name="connsiteX27" fmla="*/ 0 w 31578"/>
                    <a:gd name="connsiteY27" fmla="*/ 11244 h 18958"/>
                    <a:gd name="connsiteX28" fmla="*/ 0 w 31578"/>
                    <a:gd name="connsiteY28" fmla="*/ 11304 h 1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578" h="18958">
                      <a:moveTo>
                        <a:pt x="29784" y="18959"/>
                      </a:moveTo>
                      <a:lnTo>
                        <a:pt x="30323" y="18062"/>
                      </a:lnTo>
                      <a:lnTo>
                        <a:pt x="30561" y="17643"/>
                      </a:lnTo>
                      <a:lnTo>
                        <a:pt x="30561" y="17643"/>
                      </a:lnTo>
                      <a:lnTo>
                        <a:pt x="30621" y="17583"/>
                      </a:lnTo>
                      <a:lnTo>
                        <a:pt x="31578" y="16088"/>
                      </a:lnTo>
                      <a:lnTo>
                        <a:pt x="31100" y="14414"/>
                      </a:lnTo>
                      <a:lnTo>
                        <a:pt x="31040" y="14234"/>
                      </a:lnTo>
                      <a:lnTo>
                        <a:pt x="27093" y="11902"/>
                      </a:lnTo>
                      <a:lnTo>
                        <a:pt x="27033" y="11842"/>
                      </a:lnTo>
                      <a:lnTo>
                        <a:pt x="26615" y="11603"/>
                      </a:lnTo>
                      <a:lnTo>
                        <a:pt x="15012" y="4844"/>
                      </a:lnTo>
                      <a:lnTo>
                        <a:pt x="12201" y="3170"/>
                      </a:lnTo>
                      <a:lnTo>
                        <a:pt x="11244" y="2572"/>
                      </a:lnTo>
                      <a:lnTo>
                        <a:pt x="8613" y="1017"/>
                      </a:lnTo>
                      <a:lnTo>
                        <a:pt x="6938" y="60"/>
                      </a:lnTo>
                      <a:lnTo>
                        <a:pt x="6818" y="60"/>
                      </a:lnTo>
                      <a:lnTo>
                        <a:pt x="5981" y="0"/>
                      </a:lnTo>
                      <a:lnTo>
                        <a:pt x="5921" y="0"/>
                      </a:lnTo>
                      <a:lnTo>
                        <a:pt x="5801" y="0"/>
                      </a:lnTo>
                      <a:lnTo>
                        <a:pt x="5682" y="239"/>
                      </a:lnTo>
                      <a:lnTo>
                        <a:pt x="4964" y="1615"/>
                      </a:lnTo>
                      <a:lnTo>
                        <a:pt x="3050" y="5383"/>
                      </a:lnTo>
                      <a:lnTo>
                        <a:pt x="2692" y="6100"/>
                      </a:lnTo>
                      <a:lnTo>
                        <a:pt x="2392" y="6698"/>
                      </a:lnTo>
                      <a:lnTo>
                        <a:pt x="1077" y="9210"/>
                      </a:lnTo>
                      <a:lnTo>
                        <a:pt x="180" y="10945"/>
                      </a:lnTo>
                      <a:lnTo>
                        <a:pt x="0" y="11244"/>
                      </a:lnTo>
                      <a:lnTo>
                        <a:pt x="0" y="11304"/>
                      </a:lnTo>
                    </a:path>
                  </a:pathLst>
                </a:custGeom>
                <a:noFill/>
                <a:ln w="6350" cap="rnd">
                  <a:solidFill>
                    <a:schemeClr val="bg1">
                      <a:alpha val="40000"/>
                    </a:schemeClr>
                  </a:solidFill>
                  <a:prstDash val="solid"/>
                  <a:round/>
                </a:ln>
              </p:spPr>
              <p:txBody>
                <a:bodyPr rtlCol="0" anchor="ctr"/>
                <a:lstStyle/>
                <a:p>
                  <a:endParaRPr lang="en-GB"/>
                </a:p>
              </p:txBody>
            </p:sp>
            <p:sp>
              <p:nvSpPr>
                <p:cNvPr id="6569" name="Vrije vorm: vorm 6568">
                  <a:extLst>
                    <a:ext uri="{FF2B5EF4-FFF2-40B4-BE49-F238E27FC236}">
                      <a16:creationId xmlns:a16="http://schemas.microsoft.com/office/drawing/2014/main" id="{B7DD2165-0502-4A99-8A4D-FBB4FB0C45AC}"/>
                    </a:ext>
                  </a:extLst>
                </p:cNvPr>
                <p:cNvSpPr/>
                <p:nvPr/>
              </p:nvSpPr>
              <p:spPr>
                <a:xfrm>
                  <a:off x="7015825" y="2105553"/>
                  <a:ext cx="10705" cy="8672"/>
                </a:xfrm>
                <a:custGeom>
                  <a:avLst/>
                  <a:gdLst>
                    <a:gd name="connsiteX0" fmla="*/ 10706 w 10705"/>
                    <a:gd name="connsiteY0" fmla="*/ 0 h 8672"/>
                    <a:gd name="connsiteX1" fmla="*/ 4186 w 10705"/>
                    <a:gd name="connsiteY1" fmla="*/ 5741 h 8672"/>
                    <a:gd name="connsiteX2" fmla="*/ 658 w 10705"/>
                    <a:gd name="connsiteY2" fmla="*/ 8194 h 8672"/>
                    <a:gd name="connsiteX3" fmla="*/ 0 w 10705"/>
                    <a:gd name="connsiteY3" fmla="*/ 8672 h 8672"/>
                  </a:gdLst>
                  <a:ahLst/>
                  <a:cxnLst>
                    <a:cxn ang="0">
                      <a:pos x="connsiteX0" y="connsiteY0"/>
                    </a:cxn>
                    <a:cxn ang="0">
                      <a:pos x="connsiteX1" y="connsiteY1"/>
                    </a:cxn>
                    <a:cxn ang="0">
                      <a:pos x="connsiteX2" y="connsiteY2"/>
                    </a:cxn>
                    <a:cxn ang="0">
                      <a:pos x="connsiteX3" y="connsiteY3"/>
                    </a:cxn>
                  </a:cxnLst>
                  <a:rect l="l" t="t" r="r" b="b"/>
                  <a:pathLst>
                    <a:path w="10705" h="8672">
                      <a:moveTo>
                        <a:pt x="10706" y="0"/>
                      </a:moveTo>
                      <a:lnTo>
                        <a:pt x="4186" y="5741"/>
                      </a:lnTo>
                      <a:lnTo>
                        <a:pt x="658" y="8194"/>
                      </a:lnTo>
                      <a:lnTo>
                        <a:pt x="0" y="8672"/>
                      </a:lnTo>
                    </a:path>
                  </a:pathLst>
                </a:custGeom>
                <a:noFill/>
                <a:ln w="6350" cap="rnd">
                  <a:solidFill>
                    <a:schemeClr val="bg1">
                      <a:alpha val="40000"/>
                    </a:schemeClr>
                  </a:solidFill>
                  <a:prstDash val="solid"/>
                  <a:round/>
                </a:ln>
              </p:spPr>
              <p:txBody>
                <a:bodyPr rtlCol="0" anchor="ctr"/>
                <a:lstStyle/>
                <a:p>
                  <a:endParaRPr lang="en-GB"/>
                </a:p>
              </p:txBody>
            </p:sp>
            <p:sp>
              <p:nvSpPr>
                <p:cNvPr id="6570" name="Vrije vorm: vorm 6569">
                  <a:extLst>
                    <a:ext uri="{FF2B5EF4-FFF2-40B4-BE49-F238E27FC236}">
                      <a16:creationId xmlns:a16="http://schemas.microsoft.com/office/drawing/2014/main" id="{AE257144-E253-4056-B525-3768A38274FD}"/>
                    </a:ext>
                  </a:extLst>
                </p:cNvPr>
                <p:cNvSpPr/>
                <p:nvPr/>
              </p:nvSpPr>
              <p:spPr>
                <a:xfrm>
                  <a:off x="7029999" y="2096163"/>
                  <a:ext cx="6339" cy="6279"/>
                </a:xfrm>
                <a:custGeom>
                  <a:avLst/>
                  <a:gdLst>
                    <a:gd name="connsiteX0" fmla="*/ 6340 w 6339"/>
                    <a:gd name="connsiteY0" fmla="*/ 0 h 6279"/>
                    <a:gd name="connsiteX1" fmla="*/ 3409 w 6339"/>
                    <a:gd name="connsiteY1" fmla="*/ 3289 h 6279"/>
                    <a:gd name="connsiteX2" fmla="*/ 0 w 6339"/>
                    <a:gd name="connsiteY2" fmla="*/ 6280 h 6279"/>
                  </a:gdLst>
                  <a:ahLst/>
                  <a:cxnLst>
                    <a:cxn ang="0">
                      <a:pos x="connsiteX0" y="connsiteY0"/>
                    </a:cxn>
                    <a:cxn ang="0">
                      <a:pos x="connsiteX1" y="connsiteY1"/>
                    </a:cxn>
                    <a:cxn ang="0">
                      <a:pos x="connsiteX2" y="connsiteY2"/>
                    </a:cxn>
                  </a:cxnLst>
                  <a:rect l="l" t="t" r="r" b="b"/>
                  <a:pathLst>
                    <a:path w="6339" h="6279">
                      <a:moveTo>
                        <a:pt x="6340" y="0"/>
                      </a:moveTo>
                      <a:lnTo>
                        <a:pt x="3409" y="3289"/>
                      </a:lnTo>
                      <a:lnTo>
                        <a:pt x="0" y="6280"/>
                      </a:lnTo>
                    </a:path>
                  </a:pathLst>
                </a:custGeom>
                <a:noFill/>
                <a:ln w="6350" cap="rnd">
                  <a:solidFill>
                    <a:schemeClr val="bg1">
                      <a:alpha val="40000"/>
                    </a:schemeClr>
                  </a:solidFill>
                  <a:prstDash val="solid"/>
                  <a:round/>
                </a:ln>
              </p:spPr>
              <p:txBody>
                <a:bodyPr rtlCol="0" anchor="ctr"/>
                <a:lstStyle/>
                <a:p>
                  <a:endParaRPr lang="en-GB"/>
                </a:p>
              </p:txBody>
            </p:sp>
            <p:sp>
              <p:nvSpPr>
                <p:cNvPr id="6571" name="Vrije vorm: vorm 6570">
                  <a:extLst>
                    <a:ext uri="{FF2B5EF4-FFF2-40B4-BE49-F238E27FC236}">
                      <a16:creationId xmlns:a16="http://schemas.microsoft.com/office/drawing/2014/main" id="{42612DE2-9FE3-45FC-897F-2D12F9700926}"/>
                    </a:ext>
                  </a:extLst>
                </p:cNvPr>
                <p:cNvSpPr/>
                <p:nvPr/>
              </p:nvSpPr>
              <p:spPr>
                <a:xfrm>
                  <a:off x="6869237" y="1801134"/>
                  <a:ext cx="16746" cy="9688"/>
                </a:xfrm>
                <a:custGeom>
                  <a:avLst/>
                  <a:gdLst>
                    <a:gd name="connsiteX0" fmla="*/ 0 w 16746"/>
                    <a:gd name="connsiteY0" fmla="*/ 0 h 9688"/>
                    <a:gd name="connsiteX1" fmla="*/ 658 w 16746"/>
                    <a:gd name="connsiteY1" fmla="*/ 359 h 9688"/>
                    <a:gd name="connsiteX2" fmla="*/ 7775 w 16746"/>
                    <a:gd name="connsiteY2" fmla="*/ 4486 h 9688"/>
                    <a:gd name="connsiteX3" fmla="*/ 16746 w 16746"/>
                    <a:gd name="connsiteY3" fmla="*/ 9689 h 9688"/>
                  </a:gdLst>
                  <a:ahLst/>
                  <a:cxnLst>
                    <a:cxn ang="0">
                      <a:pos x="connsiteX0" y="connsiteY0"/>
                    </a:cxn>
                    <a:cxn ang="0">
                      <a:pos x="connsiteX1" y="connsiteY1"/>
                    </a:cxn>
                    <a:cxn ang="0">
                      <a:pos x="connsiteX2" y="connsiteY2"/>
                    </a:cxn>
                    <a:cxn ang="0">
                      <a:pos x="connsiteX3" y="connsiteY3"/>
                    </a:cxn>
                  </a:cxnLst>
                  <a:rect l="l" t="t" r="r" b="b"/>
                  <a:pathLst>
                    <a:path w="16746" h="9688">
                      <a:moveTo>
                        <a:pt x="0" y="0"/>
                      </a:moveTo>
                      <a:lnTo>
                        <a:pt x="658" y="359"/>
                      </a:lnTo>
                      <a:lnTo>
                        <a:pt x="7775" y="4486"/>
                      </a:lnTo>
                      <a:lnTo>
                        <a:pt x="16746" y="9689"/>
                      </a:lnTo>
                    </a:path>
                  </a:pathLst>
                </a:custGeom>
                <a:noFill/>
                <a:ln w="6350" cap="rnd">
                  <a:solidFill>
                    <a:schemeClr val="bg1">
                      <a:alpha val="40000"/>
                    </a:schemeClr>
                  </a:solidFill>
                  <a:prstDash val="solid"/>
                  <a:round/>
                </a:ln>
              </p:spPr>
              <p:txBody>
                <a:bodyPr rtlCol="0" anchor="ctr"/>
                <a:lstStyle/>
                <a:p>
                  <a:endParaRPr lang="en-GB"/>
                </a:p>
              </p:txBody>
            </p:sp>
            <p:sp>
              <p:nvSpPr>
                <p:cNvPr id="6572" name="Vrije vorm: vorm 6571">
                  <a:extLst>
                    <a:ext uri="{FF2B5EF4-FFF2-40B4-BE49-F238E27FC236}">
                      <a16:creationId xmlns:a16="http://schemas.microsoft.com/office/drawing/2014/main" id="{2488F45C-5986-49E1-9F8A-44D3D9162F3E}"/>
                    </a:ext>
                  </a:extLst>
                </p:cNvPr>
                <p:cNvSpPr/>
                <p:nvPr/>
              </p:nvSpPr>
              <p:spPr>
                <a:xfrm>
                  <a:off x="6935205" y="1853466"/>
                  <a:ext cx="5442" cy="21590"/>
                </a:xfrm>
                <a:custGeom>
                  <a:avLst/>
                  <a:gdLst>
                    <a:gd name="connsiteX0" fmla="*/ 5443 w 5442"/>
                    <a:gd name="connsiteY0" fmla="*/ 0 h 21590"/>
                    <a:gd name="connsiteX1" fmla="*/ 5383 w 5442"/>
                    <a:gd name="connsiteY1" fmla="*/ 239 h 21590"/>
                    <a:gd name="connsiteX2" fmla="*/ 5143 w 5442"/>
                    <a:gd name="connsiteY2" fmla="*/ 1256 h 21590"/>
                    <a:gd name="connsiteX3" fmla="*/ 4904 w 5442"/>
                    <a:gd name="connsiteY3" fmla="*/ 2213 h 21590"/>
                    <a:gd name="connsiteX4" fmla="*/ 4605 w 5442"/>
                    <a:gd name="connsiteY4" fmla="*/ 3409 h 21590"/>
                    <a:gd name="connsiteX5" fmla="*/ 3888 w 5442"/>
                    <a:gd name="connsiteY5" fmla="*/ 6399 h 21590"/>
                    <a:gd name="connsiteX6" fmla="*/ 3828 w 5442"/>
                    <a:gd name="connsiteY6" fmla="*/ 6698 h 21590"/>
                    <a:gd name="connsiteX7" fmla="*/ 3768 w 5442"/>
                    <a:gd name="connsiteY7" fmla="*/ 6938 h 21590"/>
                    <a:gd name="connsiteX8" fmla="*/ 3768 w 5442"/>
                    <a:gd name="connsiteY8" fmla="*/ 6938 h 21590"/>
                    <a:gd name="connsiteX9" fmla="*/ 3349 w 5442"/>
                    <a:gd name="connsiteY9" fmla="*/ 8732 h 21590"/>
                    <a:gd name="connsiteX10" fmla="*/ 3289 w 5442"/>
                    <a:gd name="connsiteY10" fmla="*/ 8852 h 21590"/>
                    <a:gd name="connsiteX11" fmla="*/ 3289 w 5442"/>
                    <a:gd name="connsiteY11" fmla="*/ 8911 h 21590"/>
                    <a:gd name="connsiteX12" fmla="*/ 3170 w 5442"/>
                    <a:gd name="connsiteY12" fmla="*/ 9450 h 21590"/>
                    <a:gd name="connsiteX13" fmla="*/ 2871 w 5442"/>
                    <a:gd name="connsiteY13" fmla="*/ 10646 h 21590"/>
                    <a:gd name="connsiteX14" fmla="*/ 2512 w 5442"/>
                    <a:gd name="connsiteY14" fmla="*/ 12021 h 21590"/>
                    <a:gd name="connsiteX15" fmla="*/ 2333 w 5442"/>
                    <a:gd name="connsiteY15" fmla="*/ 12799 h 21590"/>
                    <a:gd name="connsiteX16" fmla="*/ 2273 w 5442"/>
                    <a:gd name="connsiteY16" fmla="*/ 13158 h 21590"/>
                    <a:gd name="connsiteX17" fmla="*/ 2213 w 5442"/>
                    <a:gd name="connsiteY17" fmla="*/ 13277 h 21590"/>
                    <a:gd name="connsiteX18" fmla="*/ 1854 w 5442"/>
                    <a:gd name="connsiteY18" fmla="*/ 14832 h 21590"/>
                    <a:gd name="connsiteX19" fmla="*/ 1675 w 5442"/>
                    <a:gd name="connsiteY19" fmla="*/ 15430 h 21590"/>
                    <a:gd name="connsiteX20" fmla="*/ 1136 w 5442"/>
                    <a:gd name="connsiteY20" fmla="*/ 17583 h 21590"/>
                    <a:gd name="connsiteX21" fmla="*/ 897 w 5442"/>
                    <a:gd name="connsiteY21" fmla="*/ 18480 h 21590"/>
                    <a:gd name="connsiteX22" fmla="*/ 538 w 5442"/>
                    <a:gd name="connsiteY22" fmla="*/ 20035 h 21590"/>
                    <a:gd name="connsiteX23" fmla="*/ 478 w 5442"/>
                    <a:gd name="connsiteY23" fmla="*/ 20215 h 21590"/>
                    <a:gd name="connsiteX24" fmla="*/ 299 w 5442"/>
                    <a:gd name="connsiteY24" fmla="*/ 20873 h 21590"/>
                    <a:gd name="connsiteX25" fmla="*/ 0 w 5442"/>
                    <a:gd name="connsiteY25" fmla="*/ 21590 h 2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442" h="21590">
                      <a:moveTo>
                        <a:pt x="5443" y="0"/>
                      </a:moveTo>
                      <a:lnTo>
                        <a:pt x="5383" y="239"/>
                      </a:lnTo>
                      <a:lnTo>
                        <a:pt x="5143" y="1256"/>
                      </a:lnTo>
                      <a:lnTo>
                        <a:pt x="4904" y="2213"/>
                      </a:lnTo>
                      <a:lnTo>
                        <a:pt x="4605" y="3409"/>
                      </a:lnTo>
                      <a:lnTo>
                        <a:pt x="3888" y="6399"/>
                      </a:lnTo>
                      <a:lnTo>
                        <a:pt x="3828" y="6698"/>
                      </a:lnTo>
                      <a:lnTo>
                        <a:pt x="3768" y="6938"/>
                      </a:lnTo>
                      <a:lnTo>
                        <a:pt x="3768" y="6938"/>
                      </a:lnTo>
                      <a:lnTo>
                        <a:pt x="3349" y="8732"/>
                      </a:lnTo>
                      <a:lnTo>
                        <a:pt x="3289" y="8852"/>
                      </a:lnTo>
                      <a:lnTo>
                        <a:pt x="3289" y="8911"/>
                      </a:lnTo>
                      <a:lnTo>
                        <a:pt x="3170" y="9450"/>
                      </a:lnTo>
                      <a:lnTo>
                        <a:pt x="2871" y="10646"/>
                      </a:lnTo>
                      <a:lnTo>
                        <a:pt x="2512" y="12021"/>
                      </a:lnTo>
                      <a:lnTo>
                        <a:pt x="2333" y="12799"/>
                      </a:lnTo>
                      <a:lnTo>
                        <a:pt x="2273" y="13158"/>
                      </a:lnTo>
                      <a:lnTo>
                        <a:pt x="2213" y="13277"/>
                      </a:lnTo>
                      <a:lnTo>
                        <a:pt x="1854" y="14832"/>
                      </a:lnTo>
                      <a:lnTo>
                        <a:pt x="1675" y="15430"/>
                      </a:lnTo>
                      <a:lnTo>
                        <a:pt x="1136" y="17583"/>
                      </a:lnTo>
                      <a:lnTo>
                        <a:pt x="897" y="18480"/>
                      </a:lnTo>
                      <a:lnTo>
                        <a:pt x="538" y="20035"/>
                      </a:lnTo>
                      <a:lnTo>
                        <a:pt x="478" y="20215"/>
                      </a:lnTo>
                      <a:lnTo>
                        <a:pt x="299" y="20873"/>
                      </a:lnTo>
                      <a:lnTo>
                        <a:pt x="0" y="21590"/>
                      </a:lnTo>
                    </a:path>
                  </a:pathLst>
                </a:custGeom>
                <a:noFill/>
                <a:ln w="6350" cap="rnd">
                  <a:solidFill>
                    <a:schemeClr val="bg1">
                      <a:alpha val="40000"/>
                    </a:schemeClr>
                  </a:solidFill>
                  <a:prstDash val="solid"/>
                  <a:round/>
                </a:ln>
              </p:spPr>
              <p:txBody>
                <a:bodyPr rtlCol="0" anchor="ctr"/>
                <a:lstStyle/>
                <a:p>
                  <a:endParaRPr lang="en-GB"/>
                </a:p>
              </p:txBody>
            </p:sp>
            <p:sp>
              <p:nvSpPr>
                <p:cNvPr id="6573" name="Vrije vorm: vorm 6572">
                  <a:extLst>
                    <a:ext uri="{FF2B5EF4-FFF2-40B4-BE49-F238E27FC236}">
                      <a16:creationId xmlns:a16="http://schemas.microsoft.com/office/drawing/2014/main" id="{9118867E-5E45-433F-9A41-78AEB44C53CB}"/>
                    </a:ext>
                  </a:extLst>
                </p:cNvPr>
                <p:cNvSpPr/>
                <p:nvPr/>
              </p:nvSpPr>
              <p:spPr>
                <a:xfrm>
                  <a:off x="6892562" y="1820990"/>
                  <a:ext cx="3528" cy="538"/>
                </a:xfrm>
                <a:custGeom>
                  <a:avLst/>
                  <a:gdLst>
                    <a:gd name="connsiteX0" fmla="*/ 0 w 3528"/>
                    <a:gd name="connsiteY0" fmla="*/ 0 h 538"/>
                    <a:gd name="connsiteX1" fmla="*/ 1076 w 3528"/>
                    <a:gd name="connsiteY1" fmla="*/ 120 h 538"/>
                    <a:gd name="connsiteX2" fmla="*/ 2153 w 3528"/>
                    <a:gd name="connsiteY2" fmla="*/ 239 h 538"/>
                    <a:gd name="connsiteX3" fmla="*/ 3230 w 3528"/>
                    <a:gd name="connsiteY3" fmla="*/ 478 h 538"/>
                    <a:gd name="connsiteX4" fmla="*/ 3528 w 3528"/>
                    <a:gd name="connsiteY4" fmla="*/ 538 h 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8" h="538">
                      <a:moveTo>
                        <a:pt x="0" y="0"/>
                      </a:moveTo>
                      <a:lnTo>
                        <a:pt x="1076" y="120"/>
                      </a:lnTo>
                      <a:lnTo>
                        <a:pt x="2153" y="239"/>
                      </a:lnTo>
                      <a:lnTo>
                        <a:pt x="3230" y="478"/>
                      </a:lnTo>
                      <a:lnTo>
                        <a:pt x="3528" y="538"/>
                      </a:lnTo>
                    </a:path>
                  </a:pathLst>
                </a:custGeom>
                <a:noFill/>
                <a:ln w="6350" cap="rnd">
                  <a:solidFill>
                    <a:schemeClr val="bg1">
                      <a:alpha val="40000"/>
                    </a:schemeClr>
                  </a:solidFill>
                  <a:prstDash val="solid"/>
                  <a:round/>
                </a:ln>
              </p:spPr>
              <p:txBody>
                <a:bodyPr rtlCol="0" anchor="ctr"/>
                <a:lstStyle/>
                <a:p>
                  <a:endParaRPr lang="en-GB"/>
                </a:p>
              </p:txBody>
            </p:sp>
            <p:sp>
              <p:nvSpPr>
                <p:cNvPr id="6574" name="Vrije vorm: vorm 6573">
                  <a:extLst>
                    <a:ext uri="{FF2B5EF4-FFF2-40B4-BE49-F238E27FC236}">
                      <a16:creationId xmlns:a16="http://schemas.microsoft.com/office/drawing/2014/main" id="{8FD7036C-3777-4FDD-8320-11EF0CC25600}"/>
                    </a:ext>
                  </a:extLst>
                </p:cNvPr>
                <p:cNvSpPr/>
                <p:nvPr/>
              </p:nvSpPr>
              <p:spPr>
                <a:xfrm>
                  <a:off x="7009306" y="1756279"/>
                  <a:ext cx="11303" cy="10825"/>
                </a:xfrm>
                <a:custGeom>
                  <a:avLst/>
                  <a:gdLst>
                    <a:gd name="connsiteX0" fmla="*/ 10825 w 11303"/>
                    <a:gd name="connsiteY0" fmla="*/ 3947 h 10825"/>
                    <a:gd name="connsiteX1" fmla="*/ 11304 w 11303"/>
                    <a:gd name="connsiteY1" fmla="*/ 5024 h 10825"/>
                    <a:gd name="connsiteX2" fmla="*/ 10885 w 11303"/>
                    <a:gd name="connsiteY2" fmla="*/ 6758 h 10825"/>
                    <a:gd name="connsiteX3" fmla="*/ 10885 w 11303"/>
                    <a:gd name="connsiteY3" fmla="*/ 6758 h 10825"/>
                    <a:gd name="connsiteX4" fmla="*/ 10526 w 11303"/>
                    <a:gd name="connsiteY4" fmla="*/ 8253 h 10825"/>
                    <a:gd name="connsiteX5" fmla="*/ 9509 w 11303"/>
                    <a:gd name="connsiteY5" fmla="*/ 9210 h 10825"/>
                    <a:gd name="connsiteX6" fmla="*/ 9449 w 11303"/>
                    <a:gd name="connsiteY6" fmla="*/ 9210 h 10825"/>
                    <a:gd name="connsiteX7" fmla="*/ 9210 w 11303"/>
                    <a:gd name="connsiteY7" fmla="*/ 9450 h 10825"/>
                    <a:gd name="connsiteX8" fmla="*/ 8612 w 11303"/>
                    <a:gd name="connsiteY8" fmla="*/ 9988 h 10825"/>
                    <a:gd name="connsiteX9" fmla="*/ 8432 w 11303"/>
                    <a:gd name="connsiteY9" fmla="*/ 10167 h 10825"/>
                    <a:gd name="connsiteX10" fmla="*/ 8074 w 11303"/>
                    <a:gd name="connsiteY10" fmla="*/ 10466 h 10825"/>
                    <a:gd name="connsiteX11" fmla="*/ 7894 w 11303"/>
                    <a:gd name="connsiteY11" fmla="*/ 10466 h 10825"/>
                    <a:gd name="connsiteX12" fmla="*/ 7775 w 11303"/>
                    <a:gd name="connsiteY12" fmla="*/ 10466 h 10825"/>
                    <a:gd name="connsiteX13" fmla="*/ 6698 w 11303"/>
                    <a:gd name="connsiteY13" fmla="*/ 10646 h 10825"/>
                    <a:gd name="connsiteX14" fmla="*/ 6519 w 11303"/>
                    <a:gd name="connsiteY14" fmla="*/ 10646 h 10825"/>
                    <a:gd name="connsiteX15" fmla="*/ 5921 w 11303"/>
                    <a:gd name="connsiteY15" fmla="*/ 10706 h 10825"/>
                    <a:gd name="connsiteX16" fmla="*/ 5203 w 11303"/>
                    <a:gd name="connsiteY16" fmla="*/ 10825 h 10825"/>
                    <a:gd name="connsiteX17" fmla="*/ 5024 w 11303"/>
                    <a:gd name="connsiteY17" fmla="*/ 10825 h 10825"/>
                    <a:gd name="connsiteX18" fmla="*/ 4844 w 11303"/>
                    <a:gd name="connsiteY18" fmla="*/ 10825 h 10825"/>
                    <a:gd name="connsiteX19" fmla="*/ 2153 w 11303"/>
                    <a:gd name="connsiteY19" fmla="*/ 9330 h 10825"/>
                    <a:gd name="connsiteX20" fmla="*/ 1256 w 11303"/>
                    <a:gd name="connsiteY20" fmla="*/ 8732 h 10825"/>
                    <a:gd name="connsiteX21" fmla="*/ 1196 w 11303"/>
                    <a:gd name="connsiteY21" fmla="*/ 8612 h 10825"/>
                    <a:gd name="connsiteX22" fmla="*/ 1196 w 11303"/>
                    <a:gd name="connsiteY22" fmla="*/ 8612 h 10825"/>
                    <a:gd name="connsiteX23" fmla="*/ 718 w 11303"/>
                    <a:gd name="connsiteY23" fmla="*/ 7536 h 10825"/>
                    <a:gd name="connsiteX24" fmla="*/ 538 w 11303"/>
                    <a:gd name="connsiteY24" fmla="*/ 7117 h 10825"/>
                    <a:gd name="connsiteX25" fmla="*/ 239 w 11303"/>
                    <a:gd name="connsiteY25" fmla="*/ 6399 h 10825"/>
                    <a:gd name="connsiteX26" fmla="*/ 180 w 11303"/>
                    <a:gd name="connsiteY26" fmla="*/ 6220 h 10825"/>
                    <a:gd name="connsiteX27" fmla="*/ 0 w 11303"/>
                    <a:gd name="connsiteY27" fmla="*/ 5861 h 10825"/>
                    <a:gd name="connsiteX28" fmla="*/ 60 w 11303"/>
                    <a:gd name="connsiteY28" fmla="*/ 5622 h 10825"/>
                    <a:gd name="connsiteX29" fmla="*/ 120 w 11303"/>
                    <a:gd name="connsiteY29" fmla="*/ 5502 h 10825"/>
                    <a:gd name="connsiteX30" fmla="*/ 358 w 11303"/>
                    <a:gd name="connsiteY30" fmla="*/ 4426 h 10825"/>
                    <a:gd name="connsiteX31" fmla="*/ 418 w 11303"/>
                    <a:gd name="connsiteY31" fmla="*/ 4246 h 10825"/>
                    <a:gd name="connsiteX32" fmla="*/ 418 w 11303"/>
                    <a:gd name="connsiteY32" fmla="*/ 4187 h 10825"/>
                    <a:gd name="connsiteX33" fmla="*/ 418 w 11303"/>
                    <a:gd name="connsiteY33" fmla="*/ 4187 h 10825"/>
                    <a:gd name="connsiteX34" fmla="*/ 418 w 11303"/>
                    <a:gd name="connsiteY34" fmla="*/ 4187 h 10825"/>
                    <a:gd name="connsiteX35" fmla="*/ 778 w 11303"/>
                    <a:gd name="connsiteY35" fmla="*/ 2751 h 10825"/>
                    <a:gd name="connsiteX36" fmla="*/ 1854 w 11303"/>
                    <a:gd name="connsiteY36" fmla="*/ 1734 h 10825"/>
                    <a:gd name="connsiteX37" fmla="*/ 1854 w 11303"/>
                    <a:gd name="connsiteY37" fmla="*/ 1734 h 10825"/>
                    <a:gd name="connsiteX38" fmla="*/ 1854 w 11303"/>
                    <a:gd name="connsiteY38" fmla="*/ 1734 h 10825"/>
                    <a:gd name="connsiteX39" fmla="*/ 3170 w 11303"/>
                    <a:gd name="connsiteY39" fmla="*/ 478 h 10825"/>
                    <a:gd name="connsiteX40" fmla="*/ 6339 w 11303"/>
                    <a:gd name="connsiteY40" fmla="*/ 0 h 10825"/>
                    <a:gd name="connsiteX41" fmla="*/ 7775 w 11303"/>
                    <a:gd name="connsiteY41" fmla="*/ 778 h 1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303" h="10825">
                      <a:moveTo>
                        <a:pt x="10825" y="3947"/>
                      </a:moveTo>
                      <a:lnTo>
                        <a:pt x="11304" y="5024"/>
                      </a:lnTo>
                      <a:lnTo>
                        <a:pt x="10885" y="6758"/>
                      </a:lnTo>
                      <a:lnTo>
                        <a:pt x="10885" y="6758"/>
                      </a:lnTo>
                      <a:lnTo>
                        <a:pt x="10526" y="8253"/>
                      </a:lnTo>
                      <a:lnTo>
                        <a:pt x="9509" y="9210"/>
                      </a:lnTo>
                      <a:lnTo>
                        <a:pt x="9449" y="9210"/>
                      </a:lnTo>
                      <a:lnTo>
                        <a:pt x="9210" y="9450"/>
                      </a:lnTo>
                      <a:lnTo>
                        <a:pt x="8612" y="9988"/>
                      </a:lnTo>
                      <a:lnTo>
                        <a:pt x="8432" y="10167"/>
                      </a:lnTo>
                      <a:lnTo>
                        <a:pt x="8074" y="10466"/>
                      </a:lnTo>
                      <a:lnTo>
                        <a:pt x="7894" y="10466"/>
                      </a:lnTo>
                      <a:lnTo>
                        <a:pt x="7775" y="10466"/>
                      </a:lnTo>
                      <a:lnTo>
                        <a:pt x="6698" y="10646"/>
                      </a:lnTo>
                      <a:lnTo>
                        <a:pt x="6519" y="10646"/>
                      </a:lnTo>
                      <a:lnTo>
                        <a:pt x="5921" y="10706"/>
                      </a:lnTo>
                      <a:lnTo>
                        <a:pt x="5203" y="10825"/>
                      </a:lnTo>
                      <a:lnTo>
                        <a:pt x="5024" y="10825"/>
                      </a:lnTo>
                      <a:lnTo>
                        <a:pt x="4844" y="10825"/>
                      </a:lnTo>
                      <a:lnTo>
                        <a:pt x="2153" y="9330"/>
                      </a:lnTo>
                      <a:lnTo>
                        <a:pt x="1256" y="8732"/>
                      </a:lnTo>
                      <a:lnTo>
                        <a:pt x="1196" y="8612"/>
                      </a:lnTo>
                      <a:lnTo>
                        <a:pt x="1196" y="8612"/>
                      </a:lnTo>
                      <a:lnTo>
                        <a:pt x="718" y="7536"/>
                      </a:lnTo>
                      <a:lnTo>
                        <a:pt x="538" y="7117"/>
                      </a:lnTo>
                      <a:lnTo>
                        <a:pt x="239" y="6399"/>
                      </a:lnTo>
                      <a:lnTo>
                        <a:pt x="180" y="6220"/>
                      </a:lnTo>
                      <a:lnTo>
                        <a:pt x="0" y="5861"/>
                      </a:lnTo>
                      <a:lnTo>
                        <a:pt x="60" y="5622"/>
                      </a:lnTo>
                      <a:lnTo>
                        <a:pt x="120" y="5502"/>
                      </a:lnTo>
                      <a:lnTo>
                        <a:pt x="358" y="4426"/>
                      </a:lnTo>
                      <a:lnTo>
                        <a:pt x="418" y="4246"/>
                      </a:lnTo>
                      <a:lnTo>
                        <a:pt x="418" y="4187"/>
                      </a:lnTo>
                      <a:lnTo>
                        <a:pt x="418" y="4187"/>
                      </a:lnTo>
                      <a:lnTo>
                        <a:pt x="418" y="4187"/>
                      </a:lnTo>
                      <a:lnTo>
                        <a:pt x="778" y="2751"/>
                      </a:lnTo>
                      <a:lnTo>
                        <a:pt x="1854" y="1734"/>
                      </a:lnTo>
                      <a:lnTo>
                        <a:pt x="1854" y="1734"/>
                      </a:lnTo>
                      <a:lnTo>
                        <a:pt x="1854" y="1734"/>
                      </a:lnTo>
                      <a:lnTo>
                        <a:pt x="3170" y="478"/>
                      </a:lnTo>
                      <a:lnTo>
                        <a:pt x="6339" y="0"/>
                      </a:lnTo>
                      <a:lnTo>
                        <a:pt x="7775" y="778"/>
                      </a:lnTo>
                    </a:path>
                  </a:pathLst>
                </a:custGeom>
                <a:noFill/>
                <a:ln w="6350" cap="rnd">
                  <a:solidFill>
                    <a:schemeClr val="bg1">
                      <a:alpha val="40000"/>
                    </a:schemeClr>
                  </a:solidFill>
                  <a:prstDash val="solid"/>
                  <a:round/>
                </a:ln>
              </p:spPr>
              <p:txBody>
                <a:bodyPr rtlCol="0" anchor="ctr"/>
                <a:lstStyle/>
                <a:p>
                  <a:endParaRPr lang="en-GB"/>
                </a:p>
              </p:txBody>
            </p:sp>
            <p:sp>
              <p:nvSpPr>
                <p:cNvPr id="6575" name="Vrije vorm: vorm 6574">
                  <a:extLst>
                    <a:ext uri="{FF2B5EF4-FFF2-40B4-BE49-F238E27FC236}">
                      <a16:creationId xmlns:a16="http://schemas.microsoft.com/office/drawing/2014/main" id="{133AD626-BFC2-4266-8F55-004BE809A88F}"/>
                    </a:ext>
                  </a:extLst>
                </p:cNvPr>
                <p:cNvSpPr/>
                <p:nvPr/>
              </p:nvSpPr>
              <p:spPr>
                <a:xfrm>
                  <a:off x="6972943" y="2006333"/>
                  <a:ext cx="60465" cy="16446"/>
                </a:xfrm>
                <a:custGeom>
                  <a:avLst/>
                  <a:gdLst>
                    <a:gd name="connsiteX0" fmla="*/ 0 w 60465"/>
                    <a:gd name="connsiteY0" fmla="*/ 8433 h 16446"/>
                    <a:gd name="connsiteX1" fmla="*/ 1615 w 60465"/>
                    <a:gd name="connsiteY1" fmla="*/ 7775 h 16446"/>
                    <a:gd name="connsiteX2" fmla="*/ 1914 w 60465"/>
                    <a:gd name="connsiteY2" fmla="*/ 7655 h 16446"/>
                    <a:gd name="connsiteX3" fmla="*/ 4605 w 60465"/>
                    <a:gd name="connsiteY3" fmla="*/ 6579 h 16446"/>
                    <a:gd name="connsiteX4" fmla="*/ 4665 w 60465"/>
                    <a:gd name="connsiteY4" fmla="*/ 6579 h 16446"/>
                    <a:gd name="connsiteX5" fmla="*/ 6460 w 60465"/>
                    <a:gd name="connsiteY5" fmla="*/ 5861 h 16446"/>
                    <a:gd name="connsiteX6" fmla="*/ 8313 w 60465"/>
                    <a:gd name="connsiteY6" fmla="*/ 5263 h 16446"/>
                    <a:gd name="connsiteX7" fmla="*/ 10945 w 60465"/>
                    <a:gd name="connsiteY7" fmla="*/ 4605 h 16446"/>
                    <a:gd name="connsiteX8" fmla="*/ 12739 w 60465"/>
                    <a:gd name="connsiteY8" fmla="*/ 4127 h 16446"/>
                    <a:gd name="connsiteX9" fmla="*/ 20096 w 60465"/>
                    <a:gd name="connsiteY9" fmla="*/ 2273 h 16446"/>
                    <a:gd name="connsiteX10" fmla="*/ 22428 w 60465"/>
                    <a:gd name="connsiteY10" fmla="*/ 1675 h 16446"/>
                    <a:gd name="connsiteX11" fmla="*/ 23026 w 60465"/>
                    <a:gd name="connsiteY11" fmla="*/ 1555 h 16446"/>
                    <a:gd name="connsiteX12" fmla="*/ 23923 w 60465"/>
                    <a:gd name="connsiteY12" fmla="*/ 1435 h 16446"/>
                    <a:gd name="connsiteX13" fmla="*/ 27930 w 60465"/>
                    <a:gd name="connsiteY13" fmla="*/ 897 h 16446"/>
                    <a:gd name="connsiteX14" fmla="*/ 29545 w 60465"/>
                    <a:gd name="connsiteY14" fmla="*/ 658 h 16446"/>
                    <a:gd name="connsiteX15" fmla="*/ 31997 w 60465"/>
                    <a:gd name="connsiteY15" fmla="*/ 359 h 16446"/>
                    <a:gd name="connsiteX16" fmla="*/ 34569 w 60465"/>
                    <a:gd name="connsiteY16" fmla="*/ 0 h 16446"/>
                    <a:gd name="connsiteX17" fmla="*/ 42344 w 60465"/>
                    <a:gd name="connsiteY17" fmla="*/ 658 h 16446"/>
                    <a:gd name="connsiteX18" fmla="*/ 46470 w 60465"/>
                    <a:gd name="connsiteY18" fmla="*/ 1017 h 16446"/>
                    <a:gd name="connsiteX19" fmla="*/ 54963 w 60465"/>
                    <a:gd name="connsiteY19" fmla="*/ 2930 h 16446"/>
                    <a:gd name="connsiteX20" fmla="*/ 56518 w 60465"/>
                    <a:gd name="connsiteY20" fmla="*/ 3708 h 16446"/>
                    <a:gd name="connsiteX21" fmla="*/ 60466 w 60465"/>
                    <a:gd name="connsiteY21" fmla="*/ 5682 h 16446"/>
                    <a:gd name="connsiteX22" fmla="*/ 60466 w 60465"/>
                    <a:gd name="connsiteY22" fmla="*/ 5682 h 16446"/>
                    <a:gd name="connsiteX23" fmla="*/ 58791 w 60465"/>
                    <a:gd name="connsiteY23" fmla="*/ 11603 h 16446"/>
                    <a:gd name="connsiteX24" fmla="*/ 56339 w 60465"/>
                    <a:gd name="connsiteY24" fmla="*/ 14952 h 16446"/>
                    <a:gd name="connsiteX25" fmla="*/ 52990 w 60465"/>
                    <a:gd name="connsiteY25" fmla="*/ 16387 h 16446"/>
                    <a:gd name="connsiteX26" fmla="*/ 52810 w 60465"/>
                    <a:gd name="connsiteY26" fmla="*/ 16447 h 16446"/>
                    <a:gd name="connsiteX27" fmla="*/ 52691 w 60465"/>
                    <a:gd name="connsiteY27" fmla="*/ 16447 h 1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465" h="16446">
                      <a:moveTo>
                        <a:pt x="0" y="8433"/>
                      </a:moveTo>
                      <a:lnTo>
                        <a:pt x="1615" y="7775"/>
                      </a:lnTo>
                      <a:lnTo>
                        <a:pt x="1914" y="7655"/>
                      </a:lnTo>
                      <a:lnTo>
                        <a:pt x="4605" y="6579"/>
                      </a:lnTo>
                      <a:lnTo>
                        <a:pt x="4665" y="6579"/>
                      </a:lnTo>
                      <a:lnTo>
                        <a:pt x="6460" y="5861"/>
                      </a:lnTo>
                      <a:lnTo>
                        <a:pt x="8313" y="5263"/>
                      </a:lnTo>
                      <a:lnTo>
                        <a:pt x="10945" y="4605"/>
                      </a:lnTo>
                      <a:lnTo>
                        <a:pt x="12739" y="4127"/>
                      </a:lnTo>
                      <a:lnTo>
                        <a:pt x="20096" y="2273"/>
                      </a:lnTo>
                      <a:lnTo>
                        <a:pt x="22428" y="1675"/>
                      </a:lnTo>
                      <a:lnTo>
                        <a:pt x="23026" y="1555"/>
                      </a:lnTo>
                      <a:lnTo>
                        <a:pt x="23923" y="1435"/>
                      </a:lnTo>
                      <a:lnTo>
                        <a:pt x="27930" y="897"/>
                      </a:lnTo>
                      <a:lnTo>
                        <a:pt x="29545" y="658"/>
                      </a:lnTo>
                      <a:lnTo>
                        <a:pt x="31997" y="359"/>
                      </a:lnTo>
                      <a:lnTo>
                        <a:pt x="34569" y="0"/>
                      </a:lnTo>
                      <a:lnTo>
                        <a:pt x="42344" y="658"/>
                      </a:lnTo>
                      <a:lnTo>
                        <a:pt x="46470" y="1017"/>
                      </a:lnTo>
                      <a:lnTo>
                        <a:pt x="54963" y="2930"/>
                      </a:lnTo>
                      <a:lnTo>
                        <a:pt x="56518" y="3708"/>
                      </a:lnTo>
                      <a:lnTo>
                        <a:pt x="60466" y="5682"/>
                      </a:lnTo>
                      <a:lnTo>
                        <a:pt x="60466" y="5682"/>
                      </a:lnTo>
                      <a:lnTo>
                        <a:pt x="58791" y="11603"/>
                      </a:lnTo>
                      <a:lnTo>
                        <a:pt x="56339" y="14952"/>
                      </a:lnTo>
                      <a:lnTo>
                        <a:pt x="52990" y="16387"/>
                      </a:lnTo>
                      <a:lnTo>
                        <a:pt x="52810" y="16447"/>
                      </a:lnTo>
                      <a:lnTo>
                        <a:pt x="52691" y="16447"/>
                      </a:lnTo>
                    </a:path>
                  </a:pathLst>
                </a:custGeom>
                <a:noFill/>
                <a:ln w="6350" cap="rnd">
                  <a:solidFill>
                    <a:schemeClr val="bg1">
                      <a:alpha val="40000"/>
                    </a:schemeClr>
                  </a:solidFill>
                  <a:prstDash val="solid"/>
                  <a:round/>
                </a:ln>
              </p:spPr>
              <p:txBody>
                <a:bodyPr rtlCol="0" anchor="ctr"/>
                <a:lstStyle/>
                <a:p>
                  <a:endParaRPr lang="en-GB"/>
                </a:p>
              </p:txBody>
            </p:sp>
            <p:sp>
              <p:nvSpPr>
                <p:cNvPr id="6576" name="Vrije vorm: vorm 6575">
                  <a:extLst>
                    <a:ext uri="{FF2B5EF4-FFF2-40B4-BE49-F238E27FC236}">
                      <a16:creationId xmlns:a16="http://schemas.microsoft.com/office/drawing/2014/main" id="{7AA494C6-0C6F-4FFF-988C-CC9F11960E4E}"/>
                    </a:ext>
                  </a:extLst>
                </p:cNvPr>
                <p:cNvSpPr/>
                <p:nvPr/>
              </p:nvSpPr>
              <p:spPr>
                <a:xfrm>
                  <a:off x="6787421" y="1930139"/>
                  <a:ext cx="897" cy="418"/>
                </a:xfrm>
                <a:custGeom>
                  <a:avLst/>
                  <a:gdLst>
                    <a:gd name="connsiteX0" fmla="*/ 0 w 897"/>
                    <a:gd name="connsiteY0" fmla="*/ 0 h 418"/>
                    <a:gd name="connsiteX1" fmla="*/ 0 w 897"/>
                    <a:gd name="connsiteY1" fmla="*/ 0 h 418"/>
                    <a:gd name="connsiteX2" fmla="*/ 897 w 897"/>
                    <a:gd name="connsiteY2" fmla="*/ 419 h 418"/>
                  </a:gdLst>
                  <a:ahLst/>
                  <a:cxnLst>
                    <a:cxn ang="0">
                      <a:pos x="connsiteX0" y="connsiteY0"/>
                    </a:cxn>
                    <a:cxn ang="0">
                      <a:pos x="connsiteX1" y="connsiteY1"/>
                    </a:cxn>
                    <a:cxn ang="0">
                      <a:pos x="connsiteX2" y="connsiteY2"/>
                    </a:cxn>
                  </a:cxnLst>
                  <a:rect l="l" t="t" r="r" b="b"/>
                  <a:pathLst>
                    <a:path w="897" h="418">
                      <a:moveTo>
                        <a:pt x="0" y="0"/>
                      </a:moveTo>
                      <a:lnTo>
                        <a:pt x="0" y="0"/>
                      </a:lnTo>
                      <a:lnTo>
                        <a:pt x="897" y="419"/>
                      </a:lnTo>
                    </a:path>
                  </a:pathLst>
                </a:custGeom>
                <a:noFill/>
                <a:ln w="6350" cap="rnd">
                  <a:solidFill>
                    <a:schemeClr val="bg1">
                      <a:alpha val="40000"/>
                    </a:schemeClr>
                  </a:solidFill>
                  <a:prstDash val="solid"/>
                  <a:round/>
                </a:ln>
              </p:spPr>
              <p:txBody>
                <a:bodyPr rtlCol="0" anchor="ctr"/>
                <a:lstStyle/>
                <a:p>
                  <a:endParaRPr lang="en-GB"/>
                </a:p>
              </p:txBody>
            </p:sp>
            <p:sp>
              <p:nvSpPr>
                <p:cNvPr id="6577" name="Vrije vorm: vorm 6576">
                  <a:extLst>
                    <a:ext uri="{FF2B5EF4-FFF2-40B4-BE49-F238E27FC236}">
                      <a16:creationId xmlns:a16="http://schemas.microsoft.com/office/drawing/2014/main" id="{18F8F4EC-E9E8-4061-AA75-C53B54E6408D}"/>
                    </a:ext>
                  </a:extLst>
                </p:cNvPr>
                <p:cNvSpPr/>
                <p:nvPr/>
              </p:nvSpPr>
              <p:spPr>
                <a:xfrm>
                  <a:off x="6768104" y="1930139"/>
                  <a:ext cx="19257" cy="27750"/>
                </a:xfrm>
                <a:custGeom>
                  <a:avLst/>
                  <a:gdLst>
                    <a:gd name="connsiteX0" fmla="*/ 2093 w 19257"/>
                    <a:gd name="connsiteY0" fmla="*/ 27751 h 27750"/>
                    <a:gd name="connsiteX1" fmla="*/ 1734 w 19257"/>
                    <a:gd name="connsiteY1" fmla="*/ 27451 h 27750"/>
                    <a:gd name="connsiteX2" fmla="*/ 1615 w 19257"/>
                    <a:gd name="connsiteY2" fmla="*/ 27332 h 27750"/>
                    <a:gd name="connsiteX3" fmla="*/ 837 w 19257"/>
                    <a:gd name="connsiteY3" fmla="*/ 26315 h 27750"/>
                    <a:gd name="connsiteX4" fmla="*/ 0 w 19257"/>
                    <a:gd name="connsiteY4" fmla="*/ 25239 h 27750"/>
                    <a:gd name="connsiteX5" fmla="*/ 1914 w 19257"/>
                    <a:gd name="connsiteY5" fmla="*/ 22727 h 27750"/>
                    <a:gd name="connsiteX6" fmla="*/ 2153 w 19257"/>
                    <a:gd name="connsiteY6" fmla="*/ 22368 h 27750"/>
                    <a:gd name="connsiteX7" fmla="*/ 5682 w 19257"/>
                    <a:gd name="connsiteY7" fmla="*/ 17763 h 27750"/>
                    <a:gd name="connsiteX8" fmla="*/ 8074 w 19257"/>
                    <a:gd name="connsiteY8" fmla="*/ 14653 h 27750"/>
                    <a:gd name="connsiteX9" fmla="*/ 8253 w 19257"/>
                    <a:gd name="connsiteY9" fmla="*/ 14414 h 27750"/>
                    <a:gd name="connsiteX10" fmla="*/ 12141 w 19257"/>
                    <a:gd name="connsiteY10" fmla="*/ 9330 h 27750"/>
                    <a:gd name="connsiteX11" fmla="*/ 12380 w 19257"/>
                    <a:gd name="connsiteY11" fmla="*/ 9031 h 27750"/>
                    <a:gd name="connsiteX12" fmla="*/ 14114 w 19257"/>
                    <a:gd name="connsiteY12" fmla="*/ 6758 h 27750"/>
                    <a:gd name="connsiteX13" fmla="*/ 14533 w 19257"/>
                    <a:gd name="connsiteY13" fmla="*/ 6160 h 27750"/>
                    <a:gd name="connsiteX14" fmla="*/ 18480 w 19257"/>
                    <a:gd name="connsiteY14" fmla="*/ 1017 h 27750"/>
                    <a:gd name="connsiteX15" fmla="*/ 18959 w 19257"/>
                    <a:gd name="connsiteY15" fmla="*/ 359 h 27750"/>
                    <a:gd name="connsiteX16" fmla="*/ 19198 w 19257"/>
                    <a:gd name="connsiteY16" fmla="*/ 60 h 27750"/>
                    <a:gd name="connsiteX17" fmla="*/ 19258 w 19257"/>
                    <a:gd name="connsiteY17" fmla="*/ 0 h 2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257" h="27750">
                      <a:moveTo>
                        <a:pt x="2093" y="27751"/>
                      </a:moveTo>
                      <a:lnTo>
                        <a:pt x="1734" y="27451"/>
                      </a:lnTo>
                      <a:lnTo>
                        <a:pt x="1615" y="27332"/>
                      </a:lnTo>
                      <a:lnTo>
                        <a:pt x="837" y="26315"/>
                      </a:lnTo>
                      <a:lnTo>
                        <a:pt x="0" y="25239"/>
                      </a:lnTo>
                      <a:lnTo>
                        <a:pt x="1914" y="22727"/>
                      </a:lnTo>
                      <a:lnTo>
                        <a:pt x="2153" y="22368"/>
                      </a:lnTo>
                      <a:lnTo>
                        <a:pt x="5682" y="17763"/>
                      </a:lnTo>
                      <a:lnTo>
                        <a:pt x="8074" y="14653"/>
                      </a:lnTo>
                      <a:lnTo>
                        <a:pt x="8253" y="14414"/>
                      </a:lnTo>
                      <a:lnTo>
                        <a:pt x="12141" y="9330"/>
                      </a:lnTo>
                      <a:lnTo>
                        <a:pt x="12380" y="9031"/>
                      </a:lnTo>
                      <a:lnTo>
                        <a:pt x="14114" y="6758"/>
                      </a:lnTo>
                      <a:lnTo>
                        <a:pt x="14533" y="6160"/>
                      </a:lnTo>
                      <a:lnTo>
                        <a:pt x="18480" y="1017"/>
                      </a:lnTo>
                      <a:lnTo>
                        <a:pt x="18959" y="359"/>
                      </a:lnTo>
                      <a:lnTo>
                        <a:pt x="19198" y="60"/>
                      </a:lnTo>
                      <a:lnTo>
                        <a:pt x="19258" y="0"/>
                      </a:lnTo>
                    </a:path>
                  </a:pathLst>
                </a:custGeom>
                <a:noFill/>
                <a:ln w="6350" cap="rnd">
                  <a:solidFill>
                    <a:schemeClr val="bg1">
                      <a:alpha val="40000"/>
                    </a:schemeClr>
                  </a:solidFill>
                  <a:prstDash val="solid"/>
                  <a:round/>
                </a:ln>
              </p:spPr>
              <p:txBody>
                <a:bodyPr rtlCol="0" anchor="ctr"/>
                <a:lstStyle/>
                <a:p>
                  <a:endParaRPr lang="en-GB"/>
                </a:p>
              </p:txBody>
            </p:sp>
            <p:sp>
              <p:nvSpPr>
                <p:cNvPr id="6578" name="Vrije vorm: vorm 6577">
                  <a:extLst>
                    <a:ext uri="{FF2B5EF4-FFF2-40B4-BE49-F238E27FC236}">
                      <a16:creationId xmlns:a16="http://schemas.microsoft.com/office/drawing/2014/main" id="{32E4AC3E-1B78-4906-A765-41D450FC40D0}"/>
                    </a:ext>
                  </a:extLst>
                </p:cNvPr>
                <p:cNvSpPr/>
                <p:nvPr/>
              </p:nvSpPr>
              <p:spPr>
                <a:xfrm>
                  <a:off x="7072104" y="1895749"/>
                  <a:ext cx="6279" cy="9628"/>
                </a:xfrm>
                <a:custGeom>
                  <a:avLst/>
                  <a:gdLst>
                    <a:gd name="connsiteX0" fmla="*/ 5502 w 6279"/>
                    <a:gd name="connsiteY0" fmla="*/ 0 h 9628"/>
                    <a:gd name="connsiteX1" fmla="*/ 6100 w 6279"/>
                    <a:gd name="connsiteY1" fmla="*/ 1136 h 9628"/>
                    <a:gd name="connsiteX2" fmla="*/ 6279 w 6279"/>
                    <a:gd name="connsiteY2" fmla="*/ 1495 h 9628"/>
                    <a:gd name="connsiteX3" fmla="*/ 6279 w 6279"/>
                    <a:gd name="connsiteY3" fmla="*/ 1555 h 9628"/>
                    <a:gd name="connsiteX4" fmla="*/ 1615 w 6279"/>
                    <a:gd name="connsiteY4" fmla="*/ 9390 h 9628"/>
                    <a:gd name="connsiteX5" fmla="*/ 60 w 6279"/>
                    <a:gd name="connsiteY5" fmla="*/ 9509 h 9628"/>
                    <a:gd name="connsiteX6" fmla="*/ 0 w 6279"/>
                    <a:gd name="connsiteY6" fmla="*/ 9629 h 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9628">
                      <a:moveTo>
                        <a:pt x="5502" y="0"/>
                      </a:moveTo>
                      <a:lnTo>
                        <a:pt x="6100" y="1136"/>
                      </a:lnTo>
                      <a:lnTo>
                        <a:pt x="6279" y="1495"/>
                      </a:lnTo>
                      <a:lnTo>
                        <a:pt x="6279" y="1555"/>
                      </a:lnTo>
                      <a:lnTo>
                        <a:pt x="1615" y="9390"/>
                      </a:lnTo>
                      <a:lnTo>
                        <a:pt x="60" y="9509"/>
                      </a:lnTo>
                      <a:lnTo>
                        <a:pt x="0" y="9629"/>
                      </a:lnTo>
                    </a:path>
                  </a:pathLst>
                </a:custGeom>
                <a:noFill/>
                <a:ln w="6350" cap="rnd">
                  <a:solidFill>
                    <a:schemeClr val="bg1">
                      <a:alpha val="40000"/>
                    </a:schemeClr>
                  </a:solidFill>
                  <a:prstDash val="solid"/>
                  <a:round/>
                </a:ln>
              </p:spPr>
              <p:txBody>
                <a:bodyPr rtlCol="0" anchor="ctr"/>
                <a:lstStyle/>
                <a:p>
                  <a:endParaRPr lang="en-GB"/>
                </a:p>
              </p:txBody>
            </p:sp>
            <p:sp>
              <p:nvSpPr>
                <p:cNvPr id="6579" name="Vrije vorm: vorm 6578">
                  <a:extLst>
                    <a:ext uri="{FF2B5EF4-FFF2-40B4-BE49-F238E27FC236}">
                      <a16:creationId xmlns:a16="http://schemas.microsoft.com/office/drawing/2014/main" id="{ACEBF589-BE2A-4BF8-8133-635FEB37F5C0}"/>
                    </a:ext>
                  </a:extLst>
                </p:cNvPr>
                <p:cNvSpPr/>
                <p:nvPr/>
              </p:nvSpPr>
              <p:spPr>
                <a:xfrm>
                  <a:off x="6823784" y="1930198"/>
                  <a:ext cx="5502" cy="4306"/>
                </a:xfrm>
                <a:custGeom>
                  <a:avLst/>
                  <a:gdLst>
                    <a:gd name="connsiteX0" fmla="*/ 4785 w 5502"/>
                    <a:gd name="connsiteY0" fmla="*/ 0 h 4306"/>
                    <a:gd name="connsiteX1" fmla="*/ 4844 w 5502"/>
                    <a:gd name="connsiteY1" fmla="*/ 120 h 4306"/>
                    <a:gd name="connsiteX2" fmla="*/ 4964 w 5502"/>
                    <a:gd name="connsiteY2" fmla="*/ 359 h 4306"/>
                    <a:gd name="connsiteX3" fmla="*/ 5502 w 5502"/>
                    <a:gd name="connsiteY3" fmla="*/ 1256 h 4306"/>
                    <a:gd name="connsiteX4" fmla="*/ 5263 w 5502"/>
                    <a:gd name="connsiteY4" fmla="*/ 1675 h 4306"/>
                    <a:gd name="connsiteX5" fmla="*/ 3887 w 5502"/>
                    <a:gd name="connsiteY5" fmla="*/ 3947 h 4306"/>
                    <a:gd name="connsiteX6" fmla="*/ 3110 w 5502"/>
                    <a:gd name="connsiteY6" fmla="*/ 4127 h 4306"/>
                    <a:gd name="connsiteX7" fmla="*/ 2213 w 5502"/>
                    <a:gd name="connsiteY7" fmla="*/ 4306 h 4306"/>
                    <a:gd name="connsiteX8" fmla="*/ 0 w 5502"/>
                    <a:gd name="connsiteY8" fmla="*/ 2871 h 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2" h="4306">
                      <a:moveTo>
                        <a:pt x="4785" y="0"/>
                      </a:moveTo>
                      <a:lnTo>
                        <a:pt x="4844" y="120"/>
                      </a:lnTo>
                      <a:lnTo>
                        <a:pt x="4964" y="359"/>
                      </a:lnTo>
                      <a:lnTo>
                        <a:pt x="5502" y="1256"/>
                      </a:lnTo>
                      <a:lnTo>
                        <a:pt x="5263" y="1675"/>
                      </a:lnTo>
                      <a:lnTo>
                        <a:pt x="3887" y="3947"/>
                      </a:lnTo>
                      <a:lnTo>
                        <a:pt x="3110" y="4127"/>
                      </a:lnTo>
                      <a:lnTo>
                        <a:pt x="2213" y="4306"/>
                      </a:lnTo>
                      <a:lnTo>
                        <a:pt x="0" y="2871"/>
                      </a:lnTo>
                    </a:path>
                  </a:pathLst>
                </a:custGeom>
                <a:noFill/>
                <a:ln w="6350" cap="rnd">
                  <a:solidFill>
                    <a:schemeClr val="bg1">
                      <a:alpha val="40000"/>
                    </a:schemeClr>
                  </a:solidFill>
                  <a:prstDash val="solid"/>
                  <a:round/>
                </a:ln>
              </p:spPr>
              <p:txBody>
                <a:bodyPr rtlCol="0" anchor="ctr"/>
                <a:lstStyle/>
                <a:p>
                  <a:endParaRPr lang="en-GB"/>
                </a:p>
              </p:txBody>
            </p:sp>
            <p:sp>
              <p:nvSpPr>
                <p:cNvPr id="6580" name="Vrije vorm: vorm 6579">
                  <a:extLst>
                    <a:ext uri="{FF2B5EF4-FFF2-40B4-BE49-F238E27FC236}">
                      <a16:creationId xmlns:a16="http://schemas.microsoft.com/office/drawing/2014/main" id="{A023DF50-2F7B-41DF-9416-6026918B8686}"/>
                    </a:ext>
                  </a:extLst>
                </p:cNvPr>
                <p:cNvSpPr/>
                <p:nvPr/>
              </p:nvSpPr>
              <p:spPr>
                <a:xfrm>
                  <a:off x="6820674" y="1937555"/>
                  <a:ext cx="3409" cy="5741"/>
                </a:xfrm>
                <a:custGeom>
                  <a:avLst/>
                  <a:gdLst>
                    <a:gd name="connsiteX0" fmla="*/ 479 w 3409"/>
                    <a:gd name="connsiteY0" fmla="*/ 0 h 5741"/>
                    <a:gd name="connsiteX1" fmla="*/ 2691 w 3409"/>
                    <a:gd name="connsiteY1" fmla="*/ 1435 h 5741"/>
                    <a:gd name="connsiteX2" fmla="*/ 3050 w 3409"/>
                    <a:gd name="connsiteY2" fmla="*/ 2093 h 5741"/>
                    <a:gd name="connsiteX3" fmla="*/ 3409 w 3409"/>
                    <a:gd name="connsiteY3" fmla="*/ 2691 h 5741"/>
                    <a:gd name="connsiteX4" fmla="*/ 1854 w 3409"/>
                    <a:gd name="connsiteY4" fmla="*/ 5383 h 5741"/>
                    <a:gd name="connsiteX5" fmla="*/ 1854 w 3409"/>
                    <a:gd name="connsiteY5" fmla="*/ 5383 h 5741"/>
                    <a:gd name="connsiteX6" fmla="*/ 180 w 3409"/>
                    <a:gd name="connsiteY6" fmla="*/ 5741 h 5741"/>
                    <a:gd name="connsiteX7" fmla="*/ 0 w 3409"/>
                    <a:gd name="connsiteY7" fmla="*/ 5622 h 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9" h="5741">
                      <a:moveTo>
                        <a:pt x="479" y="0"/>
                      </a:moveTo>
                      <a:lnTo>
                        <a:pt x="2691" y="1435"/>
                      </a:lnTo>
                      <a:lnTo>
                        <a:pt x="3050" y="2093"/>
                      </a:lnTo>
                      <a:lnTo>
                        <a:pt x="3409" y="2691"/>
                      </a:lnTo>
                      <a:lnTo>
                        <a:pt x="1854" y="5383"/>
                      </a:lnTo>
                      <a:lnTo>
                        <a:pt x="1854" y="5383"/>
                      </a:lnTo>
                      <a:lnTo>
                        <a:pt x="180" y="5741"/>
                      </a:lnTo>
                      <a:lnTo>
                        <a:pt x="0" y="5622"/>
                      </a:lnTo>
                    </a:path>
                  </a:pathLst>
                </a:custGeom>
                <a:noFill/>
                <a:ln w="6350" cap="rnd">
                  <a:solidFill>
                    <a:schemeClr val="bg1">
                      <a:alpha val="40000"/>
                    </a:schemeClr>
                  </a:solidFill>
                  <a:prstDash val="solid"/>
                  <a:round/>
                </a:ln>
              </p:spPr>
              <p:txBody>
                <a:bodyPr rtlCol="0" anchor="ctr"/>
                <a:lstStyle/>
                <a:p>
                  <a:endParaRPr lang="en-GB"/>
                </a:p>
              </p:txBody>
            </p:sp>
            <p:sp>
              <p:nvSpPr>
                <p:cNvPr id="6581" name="Vrije vorm: vorm 6580">
                  <a:extLst>
                    <a:ext uri="{FF2B5EF4-FFF2-40B4-BE49-F238E27FC236}">
                      <a16:creationId xmlns:a16="http://schemas.microsoft.com/office/drawing/2014/main" id="{95B4E4B3-FA4F-4121-8277-CCEF97BF5AB9}"/>
                    </a:ext>
                  </a:extLst>
                </p:cNvPr>
                <p:cNvSpPr/>
                <p:nvPr/>
              </p:nvSpPr>
              <p:spPr>
                <a:xfrm>
                  <a:off x="6741489" y="1935701"/>
                  <a:ext cx="22068" cy="22068"/>
                </a:xfrm>
                <a:custGeom>
                  <a:avLst/>
                  <a:gdLst>
                    <a:gd name="connsiteX0" fmla="*/ 22069 w 22068"/>
                    <a:gd name="connsiteY0" fmla="*/ 22069 h 22068"/>
                    <a:gd name="connsiteX1" fmla="*/ 21530 w 22068"/>
                    <a:gd name="connsiteY1" fmla="*/ 21710 h 22068"/>
                    <a:gd name="connsiteX2" fmla="*/ 20873 w 22068"/>
                    <a:gd name="connsiteY2" fmla="*/ 21291 h 22068"/>
                    <a:gd name="connsiteX3" fmla="*/ 17822 w 22068"/>
                    <a:gd name="connsiteY3" fmla="*/ 19258 h 22068"/>
                    <a:gd name="connsiteX4" fmla="*/ 17105 w 22068"/>
                    <a:gd name="connsiteY4" fmla="*/ 18779 h 22068"/>
                    <a:gd name="connsiteX5" fmla="*/ 16327 w 22068"/>
                    <a:gd name="connsiteY5" fmla="*/ 18241 h 22068"/>
                    <a:gd name="connsiteX6" fmla="*/ 13756 w 22068"/>
                    <a:gd name="connsiteY6" fmla="*/ 16567 h 22068"/>
                    <a:gd name="connsiteX7" fmla="*/ 12918 w 22068"/>
                    <a:gd name="connsiteY7" fmla="*/ 16028 h 22068"/>
                    <a:gd name="connsiteX8" fmla="*/ 11304 w 22068"/>
                    <a:gd name="connsiteY8" fmla="*/ 14952 h 22068"/>
                    <a:gd name="connsiteX9" fmla="*/ 11064 w 22068"/>
                    <a:gd name="connsiteY9" fmla="*/ 14772 h 22068"/>
                    <a:gd name="connsiteX10" fmla="*/ 10705 w 22068"/>
                    <a:gd name="connsiteY10" fmla="*/ 14533 h 22068"/>
                    <a:gd name="connsiteX11" fmla="*/ 6997 w 22068"/>
                    <a:gd name="connsiteY11" fmla="*/ 12081 h 22068"/>
                    <a:gd name="connsiteX12" fmla="*/ 6340 w 22068"/>
                    <a:gd name="connsiteY12" fmla="*/ 11662 h 22068"/>
                    <a:gd name="connsiteX13" fmla="*/ 0 w 22068"/>
                    <a:gd name="connsiteY13" fmla="*/ 7476 h 22068"/>
                    <a:gd name="connsiteX14" fmla="*/ 2333 w 22068"/>
                    <a:gd name="connsiteY14" fmla="*/ 3529 h 22068"/>
                    <a:gd name="connsiteX15" fmla="*/ 2691 w 22068"/>
                    <a:gd name="connsiteY15" fmla="*/ 2931 h 22068"/>
                    <a:gd name="connsiteX16" fmla="*/ 2990 w 22068"/>
                    <a:gd name="connsiteY16" fmla="*/ 2452 h 22068"/>
                    <a:gd name="connsiteX17" fmla="*/ 3409 w 22068"/>
                    <a:gd name="connsiteY17" fmla="*/ 1734 h 22068"/>
                    <a:gd name="connsiteX18" fmla="*/ 3529 w 22068"/>
                    <a:gd name="connsiteY18" fmla="*/ 1555 h 22068"/>
                    <a:gd name="connsiteX19" fmla="*/ 4187 w 22068"/>
                    <a:gd name="connsiteY19" fmla="*/ 419 h 22068"/>
                    <a:gd name="connsiteX20" fmla="*/ 4246 w 22068"/>
                    <a:gd name="connsiteY20" fmla="*/ 299 h 22068"/>
                    <a:gd name="connsiteX21" fmla="*/ 4426 w 22068"/>
                    <a:gd name="connsiteY21" fmla="*/ 0 h 22068"/>
                    <a:gd name="connsiteX22" fmla="*/ 4964 w 22068"/>
                    <a:gd name="connsiteY22" fmla="*/ 179 h 22068"/>
                    <a:gd name="connsiteX23" fmla="*/ 5323 w 22068"/>
                    <a:gd name="connsiteY23" fmla="*/ 299 h 22068"/>
                    <a:gd name="connsiteX24" fmla="*/ 5622 w 22068"/>
                    <a:gd name="connsiteY24" fmla="*/ 419 h 22068"/>
                    <a:gd name="connsiteX25" fmla="*/ 6280 w 22068"/>
                    <a:gd name="connsiteY25" fmla="*/ 658 h 22068"/>
                    <a:gd name="connsiteX26" fmla="*/ 7117 w 22068"/>
                    <a:gd name="connsiteY26" fmla="*/ 957 h 22068"/>
                    <a:gd name="connsiteX27" fmla="*/ 7356 w 22068"/>
                    <a:gd name="connsiteY27" fmla="*/ 1017 h 22068"/>
                    <a:gd name="connsiteX28" fmla="*/ 10347 w 22068"/>
                    <a:gd name="connsiteY28" fmla="*/ 2034 h 22068"/>
                    <a:gd name="connsiteX29" fmla="*/ 11423 w 22068"/>
                    <a:gd name="connsiteY29" fmla="*/ 2392 h 22068"/>
                    <a:gd name="connsiteX30" fmla="*/ 11782 w 22068"/>
                    <a:gd name="connsiteY30" fmla="*/ 2512 h 22068"/>
                    <a:gd name="connsiteX31" fmla="*/ 12021 w 22068"/>
                    <a:gd name="connsiteY31" fmla="*/ 2093 h 22068"/>
                    <a:gd name="connsiteX32" fmla="*/ 12141 w 22068"/>
                    <a:gd name="connsiteY32" fmla="*/ 1914 h 22068"/>
                    <a:gd name="connsiteX33" fmla="*/ 12320 w 22068"/>
                    <a:gd name="connsiteY33" fmla="*/ 1615 h 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2068" h="22068">
                      <a:moveTo>
                        <a:pt x="22069" y="22069"/>
                      </a:moveTo>
                      <a:lnTo>
                        <a:pt x="21530" y="21710"/>
                      </a:lnTo>
                      <a:lnTo>
                        <a:pt x="20873" y="21291"/>
                      </a:lnTo>
                      <a:lnTo>
                        <a:pt x="17822" y="19258"/>
                      </a:lnTo>
                      <a:lnTo>
                        <a:pt x="17105" y="18779"/>
                      </a:lnTo>
                      <a:lnTo>
                        <a:pt x="16327" y="18241"/>
                      </a:lnTo>
                      <a:lnTo>
                        <a:pt x="13756" y="16567"/>
                      </a:lnTo>
                      <a:lnTo>
                        <a:pt x="12918" y="16028"/>
                      </a:lnTo>
                      <a:lnTo>
                        <a:pt x="11304" y="14952"/>
                      </a:lnTo>
                      <a:lnTo>
                        <a:pt x="11064" y="14772"/>
                      </a:lnTo>
                      <a:lnTo>
                        <a:pt x="10705" y="14533"/>
                      </a:lnTo>
                      <a:lnTo>
                        <a:pt x="6997" y="12081"/>
                      </a:lnTo>
                      <a:lnTo>
                        <a:pt x="6340" y="11662"/>
                      </a:lnTo>
                      <a:lnTo>
                        <a:pt x="0" y="7476"/>
                      </a:lnTo>
                      <a:lnTo>
                        <a:pt x="2333" y="3529"/>
                      </a:lnTo>
                      <a:lnTo>
                        <a:pt x="2691" y="2931"/>
                      </a:lnTo>
                      <a:lnTo>
                        <a:pt x="2990" y="2452"/>
                      </a:lnTo>
                      <a:lnTo>
                        <a:pt x="3409" y="1734"/>
                      </a:lnTo>
                      <a:lnTo>
                        <a:pt x="3529" y="1555"/>
                      </a:lnTo>
                      <a:lnTo>
                        <a:pt x="4187" y="419"/>
                      </a:lnTo>
                      <a:lnTo>
                        <a:pt x="4246" y="299"/>
                      </a:lnTo>
                      <a:lnTo>
                        <a:pt x="4426" y="0"/>
                      </a:lnTo>
                      <a:lnTo>
                        <a:pt x="4964" y="179"/>
                      </a:lnTo>
                      <a:lnTo>
                        <a:pt x="5323" y="299"/>
                      </a:lnTo>
                      <a:lnTo>
                        <a:pt x="5622" y="419"/>
                      </a:lnTo>
                      <a:lnTo>
                        <a:pt x="6280" y="658"/>
                      </a:lnTo>
                      <a:lnTo>
                        <a:pt x="7117" y="957"/>
                      </a:lnTo>
                      <a:lnTo>
                        <a:pt x="7356" y="1017"/>
                      </a:lnTo>
                      <a:lnTo>
                        <a:pt x="10347" y="2034"/>
                      </a:lnTo>
                      <a:lnTo>
                        <a:pt x="11423" y="2392"/>
                      </a:lnTo>
                      <a:lnTo>
                        <a:pt x="11782" y="2512"/>
                      </a:lnTo>
                      <a:lnTo>
                        <a:pt x="12021" y="2093"/>
                      </a:lnTo>
                      <a:lnTo>
                        <a:pt x="12141" y="1914"/>
                      </a:lnTo>
                      <a:lnTo>
                        <a:pt x="12320" y="1615"/>
                      </a:lnTo>
                    </a:path>
                  </a:pathLst>
                </a:custGeom>
                <a:noFill/>
                <a:ln w="6350" cap="rnd">
                  <a:solidFill>
                    <a:schemeClr val="bg1">
                      <a:alpha val="40000"/>
                    </a:schemeClr>
                  </a:solidFill>
                  <a:prstDash val="solid"/>
                  <a:round/>
                </a:ln>
              </p:spPr>
              <p:txBody>
                <a:bodyPr rtlCol="0" anchor="ctr"/>
                <a:lstStyle/>
                <a:p>
                  <a:endParaRPr lang="en-GB"/>
                </a:p>
              </p:txBody>
            </p:sp>
            <p:sp>
              <p:nvSpPr>
                <p:cNvPr id="6582" name="Vrije vorm: vorm 6581">
                  <a:extLst>
                    <a:ext uri="{FF2B5EF4-FFF2-40B4-BE49-F238E27FC236}">
                      <a16:creationId xmlns:a16="http://schemas.microsoft.com/office/drawing/2014/main" id="{0BB6798D-98BC-4EC4-95DA-5E0479B58035}"/>
                    </a:ext>
                  </a:extLst>
                </p:cNvPr>
                <p:cNvSpPr/>
                <p:nvPr/>
              </p:nvSpPr>
              <p:spPr>
                <a:xfrm>
                  <a:off x="6761405" y="1908967"/>
                  <a:ext cx="13934" cy="30083"/>
                </a:xfrm>
                <a:custGeom>
                  <a:avLst/>
                  <a:gdLst>
                    <a:gd name="connsiteX0" fmla="*/ 658 w 13934"/>
                    <a:gd name="connsiteY0" fmla="*/ 30083 h 30083"/>
                    <a:gd name="connsiteX1" fmla="*/ 2153 w 13934"/>
                    <a:gd name="connsiteY1" fmla="*/ 29844 h 30083"/>
                    <a:gd name="connsiteX2" fmla="*/ 3289 w 13934"/>
                    <a:gd name="connsiteY2" fmla="*/ 29664 h 30083"/>
                    <a:gd name="connsiteX3" fmla="*/ 3588 w 13934"/>
                    <a:gd name="connsiteY3" fmla="*/ 29605 h 30083"/>
                    <a:gd name="connsiteX4" fmla="*/ 4187 w 13934"/>
                    <a:gd name="connsiteY4" fmla="*/ 29485 h 30083"/>
                    <a:gd name="connsiteX5" fmla="*/ 4486 w 13934"/>
                    <a:gd name="connsiteY5" fmla="*/ 29425 h 30083"/>
                    <a:gd name="connsiteX6" fmla="*/ 4665 w 13934"/>
                    <a:gd name="connsiteY6" fmla="*/ 29425 h 30083"/>
                    <a:gd name="connsiteX7" fmla="*/ 5203 w 13934"/>
                    <a:gd name="connsiteY7" fmla="*/ 29186 h 30083"/>
                    <a:gd name="connsiteX8" fmla="*/ 7117 w 13934"/>
                    <a:gd name="connsiteY8" fmla="*/ 28408 h 30083"/>
                    <a:gd name="connsiteX9" fmla="*/ 7356 w 13934"/>
                    <a:gd name="connsiteY9" fmla="*/ 28289 h 30083"/>
                    <a:gd name="connsiteX10" fmla="*/ 9270 w 13934"/>
                    <a:gd name="connsiteY10" fmla="*/ 27511 h 30083"/>
                    <a:gd name="connsiteX11" fmla="*/ 9749 w 13934"/>
                    <a:gd name="connsiteY11" fmla="*/ 27033 h 30083"/>
                    <a:gd name="connsiteX12" fmla="*/ 11483 w 13934"/>
                    <a:gd name="connsiteY12" fmla="*/ 25239 h 30083"/>
                    <a:gd name="connsiteX13" fmla="*/ 11603 w 13934"/>
                    <a:gd name="connsiteY13" fmla="*/ 25119 h 30083"/>
                    <a:gd name="connsiteX14" fmla="*/ 12440 w 13934"/>
                    <a:gd name="connsiteY14" fmla="*/ 24222 h 30083"/>
                    <a:gd name="connsiteX15" fmla="*/ 12918 w 13934"/>
                    <a:gd name="connsiteY15" fmla="*/ 22787 h 30083"/>
                    <a:gd name="connsiteX16" fmla="*/ 13158 w 13934"/>
                    <a:gd name="connsiteY16" fmla="*/ 22069 h 30083"/>
                    <a:gd name="connsiteX17" fmla="*/ 13935 w 13934"/>
                    <a:gd name="connsiteY17" fmla="*/ 19736 h 30083"/>
                    <a:gd name="connsiteX18" fmla="*/ 13756 w 13934"/>
                    <a:gd name="connsiteY18" fmla="*/ 17882 h 30083"/>
                    <a:gd name="connsiteX19" fmla="*/ 13756 w 13934"/>
                    <a:gd name="connsiteY19" fmla="*/ 17524 h 30083"/>
                    <a:gd name="connsiteX20" fmla="*/ 13756 w 13934"/>
                    <a:gd name="connsiteY20" fmla="*/ 17524 h 30083"/>
                    <a:gd name="connsiteX21" fmla="*/ 13756 w 13934"/>
                    <a:gd name="connsiteY21" fmla="*/ 17165 h 30083"/>
                    <a:gd name="connsiteX22" fmla="*/ 13756 w 13934"/>
                    <a:gd name="connsiteY22" fmla="*/ 17045 h 30083"/>
                    <a:gd name="connsiteX23" fmla="*/ 13696 w 13934"/>
                    <a:gd name="connsiteY23" fmla="*/ 16148 h 30083"/>
                    <a:gd name="connsiteX24" fmla="*/ 13576 w 13934"/>
                    <a:gd name="connsiteY24" fmla="*/ 14473 h 30083"/>
                    <a:gd name="connsiteX25" fmla="*/ 13576 w 13934"/>
                    <a:gd name="connsiteY25" fmla="*/ 14414 h 30083"/>
                    <a:gd name="connsiteX26" fmla="*/ 13397 w 13934"/>
                    <a:gd name="connsiteY26" fmla="*/ 13816 h 30083"/>
                    <a:gd name="connsiteX27" fmla="*/ 12858 w 13934"/>
                    <a:gd name="connsiteY27" fmla="*/ 11961 h 30083"/>
                    <a:gd name="connsiteX28" fmla="*/ 12798 w 13934"/>
                    <a:gd name="connsiteY28" fmla="*/ 11722 h 30083"/>
                    <a:gd name="connsiteX29" fmla="*/ 12559 w 13934"/>
                    <a:gd name="connsiteY29" fmla="*/ 11005 h 30083"/>
                    <a:gd name="connsiteX30" fmla="*/ 12380 w 13934"/>
                    <a:gd name="connsiteY30" fmla="*/ 10406 h 30083"/>
                    <a:gd name="connsiteX31" fmla="*/ 11543 w 13934"/>
                    <a:gd name="connsiteY31" fmla="*/ 9330 h 30083"/>
                    <a:gd name="connsiteX32" fmla="*/ 10586 w 13934"/>
                    <a:gd name="connsiteY32" fmla="*/ 8014 h 30083"/>
                    <a:gd name="connsiteX33" fmla="*/ 9090 w 13934"/>
                    <a:gd name="connsiteY33" fmla="*/ 5981 h 30083"/>
                    <a:gd name="connsiteX34" fmla="*/ 8313 w 13934"/>
                    <a:gd name="connsiteY34" fmla="*/ 5442 h 30083"/>
                    <a:gd name="connsiteX35" fmla="*/ 6758 w 13934"/>
                    <a:gd name="connsiteY35" fmla="*/ 4426 h 30083"/>
                    <a:gd name="connsiteX36" fmla="*/ 5981 w 13934"/>
                    <a:gd name="connsiteY36" fmla="*/ 3888 h 30083"/>
                    <a:gd name="connsiteX37" fmla="*/ 4486 w 13934"/>
                    <a:gd name="connsiteY37" fmla="*/ 2931 h 30083"/>
                    <a:gd name="connsiteX38" fmla="*/ 4246 w 13934"/>
                    <a:gd name="connsiteY38" fmla="*/ 2751 h 30083"/>
                    <a:gd name="connsiteX39" fmla="*/ 1196 w 13934"/>
                    <a:gd name="connsiteY39" fmla="*/ 778 h 30083"/>
                    <a:gd name="connsiteX40" fmla="*/ 897 w 13934"/>
                    <a:gd name="connsiteY40" fmla="*/ 598 h 30083"/>
                    <a:gd name="connsiteX41" fmla="*/ 718 w 13934"/>
                    <a:gd name="connsiteY41" fmla="*/ 478 h 30083"/>
                    <a:gd name="connsiteX42" fmla="*/ 538 w 13934"/>
                    <a:gd name="connsiteY42" fmla="*/ 359 h 30083"/>
                    <a:gd name="connsiteX43" fmla="*/ 0 w 13934"/>
                    <a:gd name="connsiteY43" fmla="*/ 0 h 30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934" h="30083">
                      <a:moveTo>
                        <a:pt x="658" y="30083"/>
                      </a:moveTo>
                      <a:lnTo>
                        <a:pt x="2153" y="29844"/>
                      </a:lnTo>
                      <a:lnTo>
                        <a:pt x="3289" y="29664"/>
                      </a:lnTo>
                      <a:lnTo>
                        <a:pt x="3588" y="29605"/>
                      </a:lnTo>
                      <a:lnTo>
                        <a:pt x="4187" y="29485"/>
                      </a:lnTo>
                      <a:lnTo>
                        <a:pt x="4486" y="29425"/>
                      </a:lnTo>
                      <a:lnTo>
                        <a:pt x="4665" y="29425"/>
                      </a:lnTo>
                      <a:lnTo>
                        <a:pt x="5203" y="29186"/>
                      </a:lnTo>
                      <a:lnTo>
                        <a:pt x="7117" y="28408"/>
                      </a:lnTo>
                      <a:lnTo>
                        <a:pt x="7356" y="28289"/>
                      </a:lnTo>
                      <a:lnTo>
                        <a:pt x="9270" y="27511"/>
                      </a:lnTo>
                      <a:lnTo>
                        <a:pt x="9749" y="27033"/>
                      </a:lnTo>
                      <a:lnTo>
                        <a:pt x="11483" y="25239"/>
                      </a:lnTo>
                      <a:lnTo>
                        <a:pt x="11603" y="25119"/>
                      </a:lnTo>
                      <a:lnTo>
                        <a:pt x="12440" y="24222"/>
                      </a:lnTo>
                      <a:lnTo>
                        <a:pt x="12918" y="22787"/>
                      </a:lnTo>
                      <a:lnTo>
                        <a:pt x="13158" y="22069"/>
                      </a:lnTo>
                      <a:lnTo>
                        <a:pt x="13935" y="19736"/>
                      </a:lnTo>
                      <a:lnTo>
                        <a:pt x="13756" y="17882"/>
                      </a:lnTo>
                      <a:lnTo>
                        <a:pt x="13756" y="17524"/>
                      </a:lnTo>
                      <a:lnTo>
                        <a:pt x="13756" y="17524"/>
                      </a:lnTo>
                      <a:lnTo>
                        <a:pt x="13756" y="17165"/>
                      </a:lnTo>
                      <a:lnTo>
                        <a:pt x="13756" y="17045"/>
                      </a:lnTo>
                      <a:lnTo>
                        <a:pt x="13696" y="16148"/>
                      </a:lnTo>
                      <a:lnTo>
                        <a:pt x="13576" y="14473"/>
                      </a:lnTo>
                      <a:lnTo>
                        <a:pt x="13576" y="14414"/>
                      </a:lnTo>
                      <a:lnTo>
                        <a:pt x="13397" y="13816"/>
                      </a:lnTo>
                      <a:lnTo>
                        <a:pt x="12858" y="11961"/>
                      </a:lnTo>
                      <a:lnTo>
                        <a:pt x="12798" y="11722"/>
                      </a:lnTo>
                      <a:lnTo>
                        <a:pt x="12559" y="11005"/>
                      </a:lnTo>
                      <a:lnTo>
                        <a:pt x="12380" y="10406"/>
                      </a:lnTo>
                      <a:lnTo>
                        <a:pt x="11543" y="9330"/>
                      </a:lnTo>
                      <a:lnTo>
                        <a:pt x="10586" y="8014"/>
                      </a:lnTo>
                      <a:lnTo>
                        <a:pt x="9090" y="5981"/>
                      </a:lnTo>
                      <a:lnTo>
                        <a:pt x="8313" y="5442"/>
                      </a:lnTo>
                      <a:lnTo>
                        <a:pt x="6758" y="4426"/>
                      </a:lnTo>
                      <a:lnTo>
                        <a:pt x="5981" y="3888"/>
                      </a:lnTo>
                      <a:lnTo>
                        <a:pt x="4486" y="2931"/>
                      </a:lnTo>
                      <a:lnTo>
                        <a:pt x="4246" y="2751"/>
                      </a:lnTo>
                      <a:lnTo>
                        <a:pt x="1196" y="778"/>
                      </a:lnTo>
                      <a:lnTo>
                        <a:pt x="897" y="598"/>
                      </a:lnTo>
                      <a:lnTo>
                        <a:pt x="718" y="478"/>
                      </a:lnTo>
                      <a:lnTo>
                        <a:pt x="538" y="35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83" name="Vrije vorm: vorm 6582">
                  <a:extLst>
                    <a:ext uri="{FF2B5EF4-FFF2-40B4-BE49-F238E27FC236}">
                      <a16:creationId xmlns:a16="http://schemas.microsoft.com/office/drawing/2014/main" id="{E9C35596-705D-4794-84CA-301312896BCB}"/>
                    </a:ext>
                  </a:extLst>
                </p:cNvPr>
                <p:cNvSpPr/>
                <p:nvPr/>
              </p:nvSpPr>
              <p:spPr>
                <a:xfrm>
                  <a:off x="6613681" y="1910103"/>
                  <a:ext cx="5083" cy="8552"/>
                </a:xfrm>
                <a:custGeom>
                  <a:avLst/>
                  <a:gdLst>
                    <a:gd name="connsiteX0" fmla="*/ 5083 w 5083"/>
                    <a:gd name="connsiteY0" fmla="*/ 8433 h 8552"/>
                    <a:gd name="connsiteX1" fmla="*/ 2153 w 5083"/>
                    <a:gd name="connsiteY1" fmla="*/ 8552 h 8552"/>
                    <a:gd name="connsiteX2" fmla="*/ 1734 w 5083"/>
                    <a:gd name="connsiteY2" fmla="*/ 8014 h 8552"/>
                    <a:gd name="connsiteX3" fmla="*/ 479 w 5083"/>
                    <a:gd name="connsiteY3" fmla="*/ 6459 h 8552"/>
                    <a:gd name="connsiteX4" fmla="*/ 0 w 5083"/>
                    <a:gd name="connsiteY4" fmla="*/ 3648 h 8552"/>
                    <a:gd name="connsiteX5" fmla="*/ 60 w 5083"/>
                    <a:gd name="connsiteY5" fmla="*/ 3230 h 8552"/>
                    <a:gd name="connsiteX6" fmla="*/ 239 w 5083"/>
                    <a:gd name="connsiteY6" fmla="*/ 1734 h 8552"/>
                    <a:gd name="connsiteX7" fmla="*/ 2452 w 5083"/>
                    <a:gd name="connsiteY7" fmla="*/ 0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3" h="8552">
                      <a:moveTo>
                        <a:pt x="5083" y="8433"/>
                      </a:moveTo>
                      <a:lnTo>
                        <a:pt x="2153" y="8552"/>
                      </a:lnTo>
                      <a:lnTo>
                        <a:pt x="1734" y="8014"/>
                      </a:lnTo>
                      <a:lnTo>
                        <a:pt x="479" y="6459"/>
                      </a:lnTo>
                      <a:lnTo>
                        <a:pt x="0" y="3648"/>
                      </a:lnTo>
                      <a:lnTo>
                        <a:pt x="60" y="3230"/>
                      </a:lnTo>
                      <a:lnTo>
                        <a:pt x="239" y="1734"/>
                      </a:lnTo>
                      <a:lnTo>
                        <a:pt x="2452" y="0"/>
                      </a:lnTo>
                    </a:path>
                  </a:pathLst>
                </a:custGeom>
                <a:noFill/>
                <a:ln w="6350" cap="rnd">
                  <a:solidFill>
                    <a:schemeClr val="bg1">
                      <a:alpha val="40000"/>
                    </a:schemeClr>
                  </a:solidFill>
                  <a:prstDash val="solid"/>
                  <a:round/>
                </a:ln>
              </p:spPr>
              <p:txBody>
                <a:bodyPr rtlCol="0" anchor="ctr"/>
                <a:lstStyle/>
                <a:p>
                  <a:endParaRPr lang="en-GB"/>
                </a:p>
              </p:txBody>
            </p:sp>
            <p:sp>
              <p:nvSpPr>
                <p:cNvPr id="6584" name="Vrije vorm: vorm 6583">
                  <a:extLst>
                    <a:ext uri="{FF2B5EF4-FFF2-40B4-BE49-F238E27FC236}">
                      <a16:creationId xmlns:a16="http://schemas.microsoft.com/office/drawing/2014/main" id="{DF479221-4B0F-48E0-9189-093478AC72F8}"/>
                    </a:ext>
                  </a:extLst>
                </p:cNvPr>
                <p:cNvSpPr/>
                <p:nvPr/>
              </p:nvSpPr>
              <p:spPr>
                <a:xfrm>
                  <a:off x="6765771" y="1907771"/>
                  <a:ext cx="23085" cy="22068"/>
                </a:xfrm>
                <a:custGeom>
                  <a:avLst/>
                  <a:gdLst>
                    <a:gd name="connsiteX0" fmla="*/ 23086 w 23085"/>
                    <a:gd name="connsiteY0" fmla="*/ 22069 h 22068"/>
                    <a:gd name="connsiteX1" fmla="*/ 22727 w 23085"/>
                    <a:gd name="connsiteY1" fmla="*/ 21830 h 22068"/>
                    <a:gd name="connsiteX2" fmla="*/ 22129 w 23085"/>
                    <a:gd name="connsiteY2" fmla="*/ 21471 h 22068"/>
                    <a:gd name="connsiteX3" fmla="*/ 19916 w 23085"/>
                    <a:gd name="connsiteY3" fmla="*/ 20035 h 22068"/>
                    <a:gd name="connsiteX4" fmla="*/ 17464 w 23085"/>
                    <a:gd name="connsiteY4" fmla="*/ 18480 h 22068"/>
                    <a:gd name="connsiteX5" fmla="*/ 16806 w 23085"/>
                    <a:gd name="connsiteY5" fmla="*/ 18062 h 22068"/>
                    <a:gd name="connsiteX6" fmla="*/ 15490 w 23085"/>
                    <a:gd name="connsiteY6" fmla="*/ 17225 h 22068"/>
                    <a:gd name="connsiteX7" fmla="*/ 14892 w 23085"/>
                    <a:gd name="connsiteY7" fmla="*/ 16866 h 22068"/>
                    <a:gd name="connsiteX8" fmla="*/ 14832 w 23085"/>
                    <a:gd name="connsiteY8" fmla="*/ 16806 h 22068"/>
                    <a:gd name="connsiteX9" fmla="*/ 13516 w 23085"/>
                    <a:gd name="connsiteY9" fmla="*/ 15969 h 22068"/>
                    <a:gd name="connsiteX10" fmla="*/ 13098 w 23085"/>
                    <a:gd name="connsiteY10" fmla="*/ 15729 h 22068"/>
                    <a:gd name="connsiteX11" fmla="*/ 12081 w 23085"/>
                    <a:gd name="connsiteY11" fmla="*/ 15071 h 22068"/>
                    <a:gd name="connsiteX12" fmla="*/ 11603 w 23085"/>
                    <a:gd name="connsiteY12" fmla="*/ 14772 h 22068"/>
                    <a:gd name="connsiteX13" fmla="*/ 11244 w 23085"/>
                    <a:gd name="connsiteY13" fmla="*/ 14533 h 22068"/>
                    <a:gd name="connsiteX14" fmla="*/ 10945 w 23085"/>
                    <a:gd name="connsiteY14" fmla="*/ 14354 h 22068"/>
                    <a:gd name="connsiteX15" fmla="*/ 10945 w 23085"/>
                    <a:gd name="connsiteY15" fmla="*/ 14354 h 22068"/>
                    <a:gd name="connsiteX16" fmla="*/ 10167 w 23085"/>
                    <a:gd name="connsiteY16" fmla="*/ 13875 h 22068"/>
                    <a:gd name="connsiteX17" fmla="*/ 9988 w 23085"/>
                    <a:gd name="connsiteY17" fmla="*/ 13756 h 22068"/>
                    <a:gd name="connsiteX18" fmla="*/ 9868 w 23085"/>
                    <a:gd name="connsiteY18" fmla="*/ 13217 h 22068"/>
                    <a:gd name="connsiteX19" fmla="*/ 9868 w 23085"/>
                    <a:gd name="connsiteY19" fmla="*/ 13158 h 22068"/>
                    <a:gd name="connsiteX20" fmla="*/ 9629 w 23085"/>
                    <a:gd name="connsiteY20" fmla="*/ 11842 h 22068"/>
                    <a:gd name="connsiteX21" fmla="*/ 9510 w 23085"/>
                    <a:gd name="connsiteY21" fmla="*/ 11124 h 22068"/>
                    <a:gd name="connsiteX22" fmla="*/ 9450 w 23085"/>
                    <a:gd name="connsiteY22" fmla="*/ 10706 h 22068"/>
                    <a:gd name="connsiteX23" fmla="*/ 9210 w 23085"/>
                    <a:gd name="connsiteY23" fmla="*/ 10107 h 22068"/>
                    <a:gd name="connsiteX24" fmla="*/ 9151 w 23085"/>
                    <a:gd name="connsiteY24" fmla="*/ 9928 h 22068"/>
                    <a:gd name="connsiteX25" fmla="*/ 8373 w 23085"/>
                    <a:gd name="connsiteY25" fmla="*/ 7954 h 22068"/>
                    <a:gd name="connsiteX26" fmla="*/ 8134 w 23085"/>
                    <a:gd name="connsiteY26" fmla="*/ 7356 h 22068"/>
                    <a:gd name="connsiteX27" fmla="*/ 7895 w 23085"/>
                    <a:gd name="connsiteY27" fmla="*/ 6698 h 22068"/>
                    <a:gd name="connsiteX28" fmla="*/ 7715 w 23085"/>
                    <a:gd name="connsiteY28" fmla="*/ 6519 h 22068"/>
                    <a:gd name="connsiteX29" fmla="*/ 4426 w 23085"/>
                    <a:gd name="connsiteY29" fmla="*/ 2811 h 22068"/>
                    <a:gd name="connsiteX30" fmla="*/ 3648 w 23085"/>
                    <a:gd name="connsiteY30" fmla="*/ 2332 h 22068"/>
                    <a:gd name="connsiteX31" fmla="*/ 3289 w 23085"/>
                    <a:gd name="connsiteY31" fmla="*/ 2093 h 22068"/>
                    <a:gd name="connsiteX32" fmla="*/ 2213 w 23085"/>
                    <a:gd name="connsiteY32" fmla="*/ 1435 h 22068"/>
                    <a:gd name="connsiteX33" fmla="*/ 1974 w 23085"/>
                    <a:gd name="connsiteY33" fmla="*/ 1316 h 22068"/>
                    <a:gd name="connsiteX34" fmla="*/ 1675 w 23085"/>
                    <a:gd name="connsiteY34" fmla="*/ 1136 h 22068"/>
                    <a:gd name="connsiteX35" fmla="*/ 1615 w 23085"/>
                    <a:gd name="connsiteY35" fmla="*/ 1077 h 22068"/>
                    <a:gd name="connsiteX36" fmla="*/ 0 w 23085"/>
                    <a:gd name="connsiteY36" fmla="*/ 0 h 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3085" h="22068">
                      <a:moveTo>
                        <a:pt x="23086" y="22069"/>
                      </a:moveTo>
                      <a:lnTo>
                        <a:pt x="22727" y="21830"/>
                      </a:lnTo>
                      <a:lnTo>
                        <a:pt x="22129" y="21471"/>
                      </a:lnTo>
                      <a:lnTo>
                        <a:pt x="19916" y="20035"/>
                      </a:lnTo>
                      <a:lnTo>
                        <a:pt x="17464" y="18480"/>
                      </a:lnTo>
                      <a:lnTo>
                        <a:pt x="16806" y="18062"/>
                      </a:lnTo>
                      <a:lnTo>
                        <a:pt x="15490" y="17225"/>
                      </a:lnTo>
                      <a:lnTo>
                        <a:pt x="14892" y="16866"/>
                      </a:lnTo>
                      <a:lnTo>
                        <a:pt x="14832" y="16806"/>
                      </a:lnTo>
                      <a:lnTo>
                        <a:pt x="13516" y="15969"/>
                      </a:lnTo>
                      <a:lnTo>
                        <a:pt x="13098" y="15729"/>
                      </a:lnTo>
                      <a:lnTo>
                        <a:pt x="12081" y="15071"/>
                      </a:lnTo>
                      <a:lnTo>
                        <a:pt x="11603" y="14772"/>
                      </a:lnTo>
                      <a:lnTo>
                        <a:pt x="11244" y="14533"/>
                      </a:lnTo>
                      <a:lnTo>
                        <a:pt x="10945" y="14354"/>
                      </a:lnTo>
                      <a:lnTo>
                        <a:pt x="10945" y="14354"/>
                      </a:lnTo>
                      <a:lnTo>
                        <a:pt x="10167" y="13875"/>
                      </a:lnTo>
                      <a:lnTo>
                        <a:pt x="9988" y="13756"/>
                      </a:lnTo>
                      <a:lnTo>
                        <a:pt x="9868" y="13217"/>
                      </a:lnTo>
                      <a:lnTo>
                        <a:pt x="9868" y="13158"/>
                      </a:lnTo>
                      <a:lnTo>
                        <a:pt x="9629" y="11842"/>
                      </a:lnTo>
                      <a:lnTo>
                        <a:pt x="9510" y="11124"/>
                      </a:lnTo>
                      <a:lnTo>
                        <a:pt x="9450" y="10706"/>
                      </a:lnTo>
                      <a:lnTo>
                        <a:pt x="9210" y="10107"/>
                      </a:lnTo>
                      <a:lnTo>
                        <a:pt x="9151" y="9928"/>
                      </a:lnTo>
                      <a:lnTo>
                        <a:pt x="8373" y="7954"/>
                      </a:lnTo>
                      <a:lnTo>
                        <a:pt x="8134" y="7356"/>
                      </a:lnTo>
                      <a:lnTo>
                        <a:pt x="7895" y="6698"/>
                      </a:lnTo>
                      <a:lnTo>
                        <a:pt x="7715" y="6519"/>
                      </a:lnTo>
                      <a:lnTo>
                        <a:pt x="4426" y="2811"/>
                      </a:lnTo>
                      <a:lnTo>
                        <a:pt x="3648" y="2332"/>
                      </a:lnTo>
                      <a:lnTo>
                        <a:pt x="3289" y="2093"/>
                      </a:lnTo>
                      <a:lnTo>
                        <a:pt x="2213" y="1435"/>
                      </a:lnTo>
                      <a:lnTo>
                        <a:pt x="1974" y="1316"/>
                      </a:lnTo>
                      <a:lnTo>
                        <a:pt x="1675" y="1136"/>
                      </a:lnTo>
                      <a:lnTo>
                        <a:pt x="1615" y="107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85" name="Vrije vorm: vorm 6584">
                  <a:extLst>
                    <a:ext uri="{FF2B5EF4-FFF2-40B4-BE49-F238E27FC236}">
                      <a16:creationId xmlns:a16="http://schemas.microsoft.com/office/drawing/2014/main" id="{275A9643-F401-40E0-BB4F-03E8ACBBE01B}"/>
                    </a:ext>
                  </a:extLst>
                </p:cNvPr>
                <p:cNvSpPr/>
                <p:nvPr/>
              </p:nvSpPr>
              <p:spPr>
                <a:xfrm>
                  <a:off x="6734432" y="1894493"/>
                  <a:ext cx="20633" cy="12499"/>
                </a:xfrm>
                <a:custGeom>
                  <a:avLst/>
                  <a:gdLst>
                    <a:gd name="connsiteX0" fmla="*/ 20634 w 20633"/>
                    <a:gd name="connsiteY0" fmla="*/ 12500 h 12499"/>
                    <a:gd name="connsiteX1" fmla="*/ 16447 w 20633"/>
                    <a:gd name="connsiteY1" fmla="*/ 10765 h 12499"/>
                    <a:gd name="connsiteX2" fmla="*/ 14713 w 20633"/>
                    <a:gd name="connsiteY2" fmla="*/ 9629 h 12499"/>
                    <a:gd name="connsiteX3" fmla="*/ 13516 w 20633"/>
                    <a:gd name="connsiteY3" fmla="*/ 8852 h 12499"/>
                    <a:gd name="connsiteX4" fmla="*/ 12978 w 20633"/>
                    <a:gd name="connsiteY4" fmla="*/ 8493 h 12499"/>
                    <a:gd name="connsiteX5" fmla="*/ 12141 w 20633"/>
                    <a:gd name="connsiteY5" fmla="*/ 7954 h 12499"/>
                    <a:gd name="connsiteX6" fmla="*/ 10825 w 20633"/>
                    <a:gd name="connsiteY6" fmla="*/ 7057 h 12499"/>
                    <a:gd name="connsiteX7" fmla="*/ 10406 w 20633"/>
                    <a:gd name="connsiteY7" fmla="*/ 6758 h 12499"/>
                    <a:gd name="connsiteX8" fmla="*/ 10406 w 20633"/>
                    <a:gd name="connsiteY8" fmla="*/ 6758 h 12499"/>
                    <a:gd name="connsiteX9" fmla="*/ 9150 w 20633"/>
                    <a:gd name="connsiteY9" fmla="*/ 5921 h 12499"/>
                    <a:gd name="connsiteX10" fmla="*/ 7895 w 20633"/>
                    <a:gd name="connsiteY10" fmla="*/ 5143 h 12499"/>
                    <a:gd name="connsiteX11" fmla="*/ 5742 w 20633"/>
                    <a:gd name="connsiteY11" fmla="*/ 3768 h 12499"/>
                    <a:gd name="connsiteX12" fmla="*/ 5742 w 20633"/>
                    <a:gd name="connsiteY12" fmla="*/ 3768 h 12499"/>
                    <a:gd name="connsiteX13" fmla="*/ 4964 w 20633"/>
                    <a:gd name="connsiteY13" fmla="*/ 3230 h 12499"/>
                    <a:gd name="connsiteX14" fmla="*/ 2273 w 20633"/>
                    <a:gd name="connsiteY14" fmla="*/ 1495 h 12499"/>
                    <a:gd name="connsiteX15" fmla="*/ 0 w 20633"/>
                    <a:gd name="connsiteY15" fmla="*/ 0 h 1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33" h="12499">
                      <a:moveTo>
                        <a:pt x="20634" y="12500"/>
                      </a:moveTo>
                      <a:lnTo>
                        <a:pt x="16447" y="10765"/>
                      </a:lnTo>
                      <a:lnTo>
                        <a:pt x="14713" y="9629"/>
                      </a:lnTo>
                      <a:lnTo>
                        <a:pt x="13516" y="8852"/>
                      </a:lnTo>
                      <a:lnTo>
                        <a:pt x="12978" y="8493"/>
                      </a:lnTo>
                      <a:lnTo>
                        <a:pt x="12141" y="7954"/>
                      </a:lnTo>
                      <a:lnTo>
                        <a:pt x="10825" y="7057"/>
                      </a:lnTo>
                      <a:lnTo>
                        <a:pt x="10406" y="6758"/>
                      </a:lnTo>
                      <a:lnTo>
                        <a:pt x="10406" y="6758"/>
                      </a:lnTo>
                      <a:lnTo>
                        <a:pt x="9150" y="5921"/>
                      </a:lnTo>
                      <a:lnTo>
                        <a:pt x="7895" y="5143"/>
                      </a:lnTo>
                      <a:lnTo>
                        <a:pt x="5742" y="3768"/>
                      </a:lnTo>
                      <a:lnTo>
                        <a:pt x="5742" y="3768"/>
                      </a:lnTo>
                      <a:lnTo>
                        <a:pt x="4964" y="3230"/>
                      </a:lnTo>
                      <a:lnTo>
                        <a:pt x="2273" y="149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86" name="Vrije vorm: vorm 6585">
                  <a:extLst>
                    <a:ext uri="{FF2B5EF4-FFF2-40B4-BE49-F238E27FC236}">
                      <a16:creationId xmlns:a16="http://schemas.microsoft.com/office/drawing/2014/main" id="{BA8CAAA4-522F-41C2-963A-F05AE2983BF4}"/>
                    </a:ext>
                  </a:extLst>
                </p:cNvPr>
                <p:cNvSpPr/>
                <p:nvPr/>
              </p:nvSpPr>
              <p:spPr>
                <a:xfrm>
                  <a:off x="6785567" y="1889410"/>
                  <a:ext cx="5083" cy="12858"/>
                </a:xfrm>
                <a:custGeom>
                  <a:avLst/>
                  <a:gdLst>
                    <a:gd name="connsiteX0" fmla="*/ 359 w 5083"/>
                    <a:gd name="connsiteY0" fmla="*/ 0 h 12858"/>
                    <a:gd name="connsiteX1" fmla="*/ 0 w 5083"/>
                    <a:gd name="connsiteY1" fmla="*/ 2153 h 12858"/>
                    <a:gd name="connsiteX2" fmla="*/ 598 w 5083"/>
                    <a:gd name="connsiteY2" fmla="*/ 3409 h 12858"/>
                    <a:gd name="connsiteX3" fmla="*/ 718 w 5083"/>
                    <a:gd name="connsiteY3" fmla="*/ 3708 h 12858"/>
                    <a:gd name="connsiteX4" fmla="*/ 1435 w 5083"/>
                    <a:gd name="connsiteY4" fmla="*/ 5203 h 12858"/>
                    <a:gd name="connsiteX5" fmla="*/ 2273 w 5083"/>
                    <a:gd name="connsiteY5" fmla="*/ 6997 h 12858"/>
                    <a:gd name="connsiteX6" fmla="*/ 2452 w 5083"/>
                    <a:gd name="connsiteY6" fmla="*/ 7416 h 12858"/>
                    <a:gd name="connsiteX7" fmla="*/ 2632 w 5083"/>
                    <a:gd name="connsiteY7" fmla="*/ 7775 h 12858"/>
                    <a:gd name="connsiteX8" fmla="*/ 2632 w 5083"/>
                    <a:gd name="connsiteY8" fmla="*/ 7835 h 12858"/>
                    <a:gd name="connsiteX9" fmla="*/ 2990 w 5083"/>
                    <a:gd name="connsiteY9" fmla="*/ 8552 h 12858"/>
                    <a:gd name="connsiteX10" fmla="*/ 3170 w 5083"/>
                    <a:gd name="connsiteY10" fmla="*/ 8971 h 12858"/>
                    <a:gd name="connsiteX11" fmla="*/ 3529 w 5083"/>
                    <a:gd name="connsiteY11" fmla="*/ 9689 h 12858"/>
                    <a:gd name="connsiteX12" fmla="*/ 4127 w 5083"/>
                    <a:gd name="connsiteY12" fmla="*/ 10885 h 12858"/>
                    <a:gd name="connsiteX13" fmla="*/ 4246 w 5083"/>
                    <a:gd name="connsiteY13" fmla="*/ 11124 h 12858"/>
                    <a:gd name="connsiteX14" fmla="*/ 4486 w 5083"/>
                    <a:gd name="connsiteY14" fmla="*/ 11603 h 12858"/>
                    <a:gd name="connsiteX15" fmla="*/ 4605 w 5083"/>
                    <a:gd name="connsiteY15" fmla="*/ 11902 h 12858"/>
                    <a:gd name="connsiteX16" fmla="*/ 5083 w 5083"/>
                    <a:gd name="connsiteY16" fmla="*/ 12859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83" h="12858">
                      <a:moveTo>
                        <a:pt x="359" y="0"/>
                      </a:moveTo>
                      <a:lnTo>
                        <a:pt x="0" y="2153"/>
                      </a:lnTo>
                      <a:lnTo>
                        <a:pt x="598" y="3409"/>
                      </a:lnTo>
                      <a:lnTo>
                        <a:pt x="718" y="3708"/>
                      </a:lnTo>
                      <a:lnTo>
                        <a:pt x="1435" y="5203"/>
                      </a:lnTo>
                      <a:lnTo>
                        <a:pt x="2273" y="6997"/>
                      </a:lnTo>
                      <a:lnTo>
                        <a:pt x="2452" y="7416"/>
                      </a:lnTo>
                      <a:lnTo>
                        <a:pt x="2632" y="7775"/>
                      </a:lnTo>
                      <a:lnTo>
                        <a:pt x="2632" y="7835"/>
                      </a:lnTo>
                      <a:lnTo>
                        <a:pt x="2990" y="8552"/>
                      </a:lnTo>
                      <a:lnTo>
                        <a:pt x="3170" y="8971"/>
                      </a:lnTo>
                      <a:lnTo>
                        <a:pt x="3529" y="9689"/>
                      </a:lnTo>
                      <a:lnTo>
                        <a:pt x="4127" y="10885"/>
                      </a:lnTo>
                      <a:lnTo>
                        <a:pt x="4246" y="11124"/>
                      </a:lnTo>
                      <a:lnTo>
                        <a:pt x="4486" y="11603"/>
                      </a:lnTo>
                      <a:lnTo>
                        <a:pt x="4605" y="11902"/>
                      </a:lnTo>
                      <a:lnTo>
                        <a:pt x="5083" y="12859"/>
                      </a:lnTo>
                    </a:path>
                  </a:pathLst>
                </a:custGeom>
                <a:noFill/>
                <a:ln w="6350" cap="rnd">
                  <a:solidFill>
                    <a:schemeClr val="bg1">
                      <a:alpha val="40000"/>
                    </a:schemeClr>
                  </a:solidFill>
                  <a:prstDash val="solid"/>
                  <a:round/>
                </a:ln>
              </p:spPr>
              <p:txBody>
                <a:bodyPr rtlCol="0" anchor="ctr"/>
                <a:lstStyle/>
                <a:p>
                  <a:endParaRPr lang="en-GB"/>
                </a:p>
              </p:txBody>
            </p:sp>
            <p:sp>
              <p:nvSpPr>
                <p:cNvPr id="6587" name="Vrije vorm: vorm 6586">
                  <a:extLst>
                    <a:ext uri="{FF2B5EF4-FFF2-40B4-BE49-F238E27FC236}">
                      <a16:creationId xmlns:a16="http://schemas.microsoft.com/office/drawing/2014/main" id="{63EBA4C8-482B-43D7-91EB-EEDC1A40B6D3}"/>
                    </a:ext>
                  </a:extLst>
                </p:cNvPr>
                <p:cNvSpPr/>
                <p:nvPr/>
              </p:nvSpPr>
              <p:spPr>
                <a:xfrm>
                  <a:off x="6770017" y="1877628"/>
                  <a:ext cx="17523" cy="32236"/>
                </a:xfrm>
                <a:custGeom>
                  <a:avLst/>
                  <a:gdLst>
                    <a:gd name="connsiteX0" fmla="*/ 1794 w 17523"/>
                    <a:gd name="connsiteY0" fmla="*/ 32236 h 32236"/>
                    <a:gd name="connsiteX1" fmla="*/ 1734 w 17523"/>
                    <a:gd name="connsiteY1" fmla="*/ 32176 h 32236"/>
                    <a:gd name="connsiteX2" fmla="*/ 1076 w 17523"/>
                    <a:gd name="connsiteY2" fmla="*/ 30322 h 32236"/>
                    <a:gd name="connsiteX3" fmla="*/ 299 w 17523"/>
                    <a:gd name="connsiteY3" fmla="*/ 28289 h 32236"/>
                    <a:gd name="connsiteX4" fmla="*/ 0 w 17523"/>
                    <a:gd name="connsiteY4" fmla="*/ 27511 h 32236"/>
                    <a:gd name="connsiteX5" fmla="*/ 0 w 17523"/>
                    <a:gd name="connsiteY5" fmla="*/ 27511 h 32236"/>
                    <a:gd name="connsiteX6" fmla="*/ 0 w 17523"/>
                    <a:gd name="connsiteY6" fmla="*/ 27332 h 32236"/>
                    <a:gd name="connsiteX7" fmla="*/ 0 w 17523"/>
                    <a:gd name="connsiteY7" fmla="*/ 27212 h 32236"/>
                    <a:gd name="connsiteX8" fmla="*/ 60 w 17523"/>
                    <a:gd name="connsiteY8" fmla="*/ 26315 h 32236"/>
                    <a:gd name="connsiteX9" fmla="*/ 119 w 17523"/>
                    <a:gd name="connsiteY9" fmla="*/ 25179 h 32236"/>
                    <a:gd name="connsiteX10" fmla="*/ 119 w 17523"/>
                    <a:gd name="connsiteY10" fmla="*/ 24999 h 32236"/>
                    <a:gd name="connsiteX11" fmla="*/ 119 w 17523"/>
                    <a:gd name="connsiteY11" fmla="*/ 24940 h 32236"/>
                    <a:gd name="connsiteX12" fmla="*/ 299 w 17523"/>
                    <a:gd name="connsiteY12" fmla="*/ 24521 h 32236"/>
                    <a:gd name="connsiteX13" fmla="*/ 299 w 17523"/>
                    <a:gd name="connsiteY13" fmla="*/ 24461 h 32236"/>
                    <a:gd name="connsiteX14" fmla="*/ 419 w 17523"/>
                    <a:gd name="connsiteY14" fmla="*/ 24102 h 32236"/>
                    <a:gd name="connsiteX15" fmla="*/ 478 w 17523"/>
                    <a:gd name="connsiteY15" fmla="*/ 23983 h 32236"/>
                    <a:gd name="connsiteX16" fmla="*/ 478 w 17523"/>
                    <a:gd name="connsiteY16" fmla="*/ 23923 h 32236"/>
                    <a:gd name="connsiteX17" fmla="*/ 538 w 17523"/>
                    <a:gd name="connsiteY17" fmla="*/ 23743 h 32236"/>
                    <a:gd name="connsiteX18" fmla="*/ 897 w 17523"/>
                    <a:gd name="connsiteY18" fmla="*/ 22846 h 32236"/>
                    <a:gd name="connsiteX19" fmla="*/ 957 w 17523"/>
                    <a:gd name="connsiteY19" fmla="*/ 22667 h 32236"/>
                    <a:gd name="connsiteX20" fmla="*/ 1316 w 17523"/>
                    <a:gd name="connsiteY20" fmla="*/ 21770 h 32236"/>
                    <a:gd name="connsiteX21" fmla="*/ 1435 w 17523"/>
                    <a:gd name="connsiteY21" fmla="*/ 21531 h 32236"/>
                    <a:gd name="connsiteX22" fmla="*/ 2153 w 17523"/>
                    <a:gd name="connsiteY22" fmla="*/ 19736 h 32236"/>
                    <a:gd name="connsiteX23" fmla="*/ 2811 w 17523"/>
                    <a:gd name="connsiteY23" fmla="*/ 18062 h 32236"/>
                    <a:gd name="connsiteX24" fmla="*/ 3708 w 17523"/>
                    <a:gd name="connsiteY24" fmla="*/ 15669 h 32236"/>
                    <a:gd name="connsiteX25" fmla="*/ 4246 w 17523"/>
                    <a:gd name="connsiteY25" fmla="*/ 14174 h 32236"/>
                    <a:gd name="connsiteX26" fmla="*/ 4426 w 17523"/>
                    <a:gd name="connsiteY26" fmla="*/ 13636 h 32236"/>
                    <a:gd name="connsiteX27" fmla="*/ 4545 w 17523"/>
                    <a:gd name="connsiteY27" fmla="*/ 13277 h 32236"/>
                    <a:gd name="connsiteX28" fmla="*/ 6758 w 17523"/>
                    <a:gd name="connsiteY28" fmla="*/ 7596 h 32236"/>
                    <a:gd name="connsiteX29" fmla="*/ 6878 w 17523"/>
                    <a:gd name="connsiteY29" fmla="*/ 7296 h 32236"/>
                    <a:gd name="connsiteX30" fmla="*/ 6878 w 17523"/>
                    <a:gd name="connsiteY30" fmla="*/ 7237 h 32236"/>
                    <a:gd name="connsiteX31" fmla="*/ 7536 w 17523"/>
                    <a:gd name="connsiteY31" fmla="*/ 5622 h 32236"/>
                    <a:gd name="connsiteX32" fmla="*/ 8014 w 17523"/>
                    <a:gd name="connsiteY32" fmla="*/ 4366 h 32236"/>
                    <a:gd name="connsiteX33" fmla="*/ 8074 w 17523"/>
                    <a:gd name="connsiteY33" fmla="*/ 4127 h 32236"/>
                    <a:gd name="connsiteX34" fmla="*/ 8074 w 17523"/>
                    <a:gd name="connsiteY34" fmla="*/ 4067 h 32236"/>
                    <a:gd name="connsiteX35" fmla="*/ 9390 w 17523"/>
                    <a:gd name="connsiteY35" fmla="*/ 2332 h 32236"/>
                    <a:gd name="connsiteX36" fmla="*/ 9808 w 17523"/>
                    <a:gd name="connsiteY36" fmla="*/ 1854 h 32236"/>
                    <a:gd name="connsiteX37" fmla="*/ 11543 w 17523"/>
                    <a:gd name="connsiteY37" fmla="*/ 1256 h 32236"/>
                    <a:gd name="connsiteX38" fmla="*/ 12021 w 17523"/>
                    <a:gd name="connsiteY38" fmla="*/ 1076 h 32236"/>
                    <a:gd name="connsiteX39" fmla="*/ 12679 w 17523"/>
                    <a:gd name="connsiteY39" fmla="*/ 837 h 32236"/>
                    <a:gd name="connsiteX40" fmla="*/ 12918 w 17523"/>
                    <a:gd name="connsiteY40" fmla="*/ 777 h 32236"/>
                    <a:gd name="connsiteX41" fmla="*/ 13696 w 17523"/>
                    <a:gd name="connsiteY41" fmla="*/ 478 h 32236"/>
                    <a:gd name="connsiteX42" fmla="*/ 13995 w 17523"/>
                    <a:gd name="connsiteY42" fmla="*/ 359 h 32236"/>
                    <a:gd name="connsiteX43" fmla="*/ 15012 w 17523"/>
                    <a:gd name="connsiteY43" fmla="*/ 0 h 32236"/>
                    <a:gd name="connsiteX44" fmla="*/ 17523 w 17523"/>
                    <a:gd name="connsiteY44" fmla="*/ 1555 h 32236"/>
                    <a:gd name="connsiteX45" fmla="*/ 17523 w 17523"/>
                    <a:gd name="connsiteY45" fmla="*/ 1675 h 32236"/>
                    <a:gd name="connsiteX46" fmla="*/ 16925 w 17523"/>
                    <a:gd name="connsiteY46" fmla="*/ 5323 h 32236"/>
                    <a:gd name="connsiteX47" fmla="*/ 16686 w 17523"/>
                    <a:gd name="connsiteY47" fmla="*/ 6878 h 3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523" h="32236">
                      <a:moveTo>
                        <a:pt x="1794" y="32236"/>
                      </a:moveTo>
                      <a:lnTo>
                        <a:pt x="1734" y="32176"/>
                      </a:lnTo>
                      <a:lnTo>
                        <a:pt x="1076" y="30322"/>
                      </a:lnTo>
                      <a:lnTo>
                        <a:pt x="299" y="28289"/>
                      </a:lnTo>
                      <a:lnTo>
                        <a:pt x="0" y="27511"/>
                      </a:lnTo>
                      <a:lnTo>
                        <a:pt x="0" y="27511"/>
                      </a:lnTo>
                      <a:lnTo>
                        <a:pt x="0" y="27332"/>
                      </a:lnTo>
                      <a:lnTo>
                        <a:pt x="0" y="27212"/>
                      </a:lnTo>
                      <a:lnTo>
                        <a:pt x="60" y="26315"/>
                      </a:lnTo>
                      <a:lnTo>
                        <a:pt x="119" y="25179"/>
                      </a:lnTo>
                      <a:lnTo>
                        <a:pt x="119" y="24999"/>
                      </a:lnTo>
                      <a:lnTo>
                        <a:pt x="119" y="24940"/>
                      </a:lnTo>
                      <a:lnTo>
                        <a:pt x="299" y="24521"/>
                      </a:lnTo>
                      <a:lnTo>
                        <a:pt x="299" y="24461"/>
                      </a:lnTo>
                      <a:lnTo>
                        <a:pt x="419" y="24102"/>
                      </a:lnTo>
                      <a:lnTo>
                        <a:pt x="478" y="23983"/>
                      </a:lnTo>
                      <a:lnTo>
                        <a:pt x="478" y="23923"/>
                      </a:lnTo>
                      <a:lnTo>
                        <a:pt x="538" y="23743"/>
                      </a:lnTo>
                      <a:lnTo>
                        <a:pt x="897" y="22846"/>
                      </a:lnTo>
                      <a:lnTo>
                        <a:pt x="957" y="22667"/>
                      </a:lnTo>
                      <a:lnTo>
                        <a:pt x="1316" y="21770"/>
                      </a:lnTo>
                      <a:lnTo>
                        <a:pt x="1435" y="21531"/>
                      </a:lnTo>
                      <a:lnTo>
                        <a:pt x="2153" y="19736"/>
                      </a:lnTo>
                      <a:lnTo>
                        <a:pt x="2811" y="18062"/>
                      </a:lnTo>
                      <a:lnTo>
                        <a:pt x="3708" y="15669"/>
                      </a:lnTo>
                      <a:lnTo>
                        <a:pt x="4246" y="14174"/>
                      </a:lnTo>
                      <a:lnTo>
                        <a:pt x="4426" y="13636"/>
                      </a:lnTo>
                      <a:lnTo>
                        <a:pt x="4545" y="13277"/>
                      </a:lnTo>
                      <a:lnTo>
                        <a:pt x="6758" y="7596"/>
                      </a:lnTo>
                      <a:lnTo>
                        <a:pt x="6878" y="7296"/>
                      </a:lnTo>
                      <a:lnTo>
                        <a:pt x="6878" y="7237"/>
                      </a:lnTo>
                      <a:lnTo>
                        <a:pt x="7536" y="5622"/>
                      </a:lnTo>
                      <a:lnTo>
                        <a:pt x="8014" y="4366"/>
                      </a:lnTo>
                      <a:lnTo>
                        <a:pt x="8074" y="4127"/>
                      </a:lnTo>
                      <a:lnTo>
                        <a:pt x="8074" y="4067"/>
                      </a:lnTo>
                      <a:lnTo>
                        <a:pt x="9390" y="2332"/>
                      </a:lnTo>
                      <a:lnTo>
                        <a:pt x="9808" y="1854"/>
                      </a:lnTo>
                      <a:lnTo>
                        <a:pt x="11543" y="1256"/>
                      </a:lnTo>
                      <a:lnTo>
                        <a:pt x="12021" y="1076"/>
                      </a:lnTo>
                      <a:lnTo>
                        <a:pt x="12679" y="837"/>
                      </a:lnTo>
                      <a:lnTo>
                        <a:pt x="12918" y="777"/>
                      </a:lnTo>
                      <a:lnTo>
                        <a:pt x="13696" y="478"/>
                      </a:lnTo>
                      <a:lnTo>
                        <a:pt x="13995" y="359"/>
                      </a:lnTo>
                      <a:lnTo>
                        <a:pt x="15012" y="0"/>
                      </a:lnTo>
                      <a:lnTo>
                        <a:pt x="17523" y="1555"/>
                      </a:lnTo>
                      <a:lnTo>
                        <a:pt x="17523" y="1675"/>
                      </a:lnTo>
                      <a:lnTo>
                        <a:pt x="16925" y="5323"/>
                      </a:lnTo>
                      <a:lnTo>
                        <a:pt x="16686" y="6878"/>
                      </a:lnTo>
                    </a:path>
                  </a:pathLst>
                </a:custGeom>
                <a:noFill/>
                <a:ln w="6350" cap="rnd">
                  <a:solidFill>
                    <a:schemeClr val="bg1">
                      <a:alpha val="40000"/>
                    </a:schemeClr>
                  </a:solidFill>
                  <a:prstDash val="solid"/>
                  <a:round/>
                </a:ln>
              </p:spPr>
              <p:txBody>
                <a:bodyPr rtlCol="0" anchor="ctr"/>
                <a:lstStyle/>
                <a:p>
                  <a:endParaRPr lang="en-GB"/>
                </a:p>
              </p:txBody>
            </p:sp>
            <p:sp>
              <p:nvSpPr>
                <p:cNvPr id="6588" name="Vrije vorm: vorm 6587">
                  <a:extLst>
                    <a:ext uri="{FF2B5EF4-FFF2-40B4-BE49-F238E27FC236}">
                      <a16:creationId xmlns:a16="http://schemas.microsoft.com/office/drawing/2014/main" id="{E7B29793-F937-43B9-B185-59D5C733F708}"/>
                    </a:ext>
                  </a:extLst>
                </p:cNvPr>
                <p:cNvSpPr/>
                <p:nvPr/>
              </p:nvSpPr>
              <p:spPr>
                <a:xfrm>
                  <a:off x="6784431" y="1908429"/>
                  <a:ext cx="12858" cy="9928"/>
                </a:xfrm>
                <a:custGeom>
                  <a:avLst/>
                  <a:gdLst>
                    <a:gd name="connsiteX0" fmla="*/ 12859 w 12858"/>
                    <a:gd name="connsiteY0" fmla="*/ 9928 h 9928"/>
                    <a:gd name="connsiteX1" fmla="*/ 11423 w 12858"/>
                    <a:gd name="connsiteY1" fmla="*/ 9210 h 9928"/>
                    <a:gd name="connsiteX2" fmla="*/ 10526 w 12858"/>
                    <a:gd name="connsiteY2" fmla="*/ 8732 h 9928"/>
                    <a:gd name="connsiteX3" fmla="*/ 10287 w 12858"/>
                    <a:gd name="connsiteY3" fmla="*/ 8612 h 9928"/>
                    <a:gd name="connsiteX4" fmla="*/ 9210 w 12858"/>
                    <a:gd name="connsiteY4" fmla="*/ 8014 h 9928"/>
                    <a:gd name="connsiteX5" fmla="*/ 9091 w 12858"/>
                    <a:gd name="connsiteY5" fmla="*/ 7954 h 9928"/>
                    <a:gd name="connsiteX6" fmla="*/ 9091 w 12858"/>
                    <a:gd name="connsiteY6" fmla="*/ 7954 h 9928"/>
                    <a:gd name="connsiteX7" fmla="*/ 8552 w 12858"/>
                    <a:gd name="connsiteY7" fmla="*/ 7655 h 9928"/>
                    <a:gd name="connsiteX8" fmla="*/ 7356 w 12858"/>
                    <a:gd name="connsiteY8" fmla="*/ 6997 h 9928"/>
                    <a:gd name="connsiteX9" fmla="*/ 5203 w 12858"/>
                    <a:gd name="connsiteY9" fmla="*/ 5742 h 9928"/>
                    <a:gd name="connsiteX10" fmla="*/ 5084 w 12858"/>
                    <a:gd name="connsiteY10" fmla="*/ 5682 h 9928"/>
                    <a:gd name="connsiteX11" fmla="*/ 3349 w 12858"/>
                    <a:gd name="connsiteY11" fmla="*/ 4605 h 9928"/>
                    <a:gd name="connsiteX12" fmla="*/ 2930 w 12858"/>
                    <a:gd name="connsiteY12" fmla="*/ 4306 h 9928"/>
                    <a:gd name="connsiteX13" fmla="*/ 2273 w 12858"/>
                    <a:gd name="connsiteY13" fmla="*/ 3888 h 9928"/>
                    <a:gd name="connsiteX14" fmla="*/ 1435 w 12858"/>
                    <a:gd name="connsiteY14" fmla="*/ 3289 h 9928"/>
                    <a:gd name="connsiteX15" fmla="*/ 957 w 12858"/>
                    <a:gd name="connsiteY15" fmla="*/ 2931 h 9928"/>
                    <a:gd name="connsiteX16" fmla="*/ 598 w 12858"/>
                    <a:gd name="connsiteY16" fmla="*/ 2632 h 9928"/>
                    <a:gd name="connsiteX17" fmla="*/ 419 w 12858"/>
                    <a:gd name="connsiteY17" fmla="*/ 2512 h 9928"/>
                    <a:gd name="connsiteX18" fmla="*/ 120 w 12858"/>
                    <a:gd name="connsiteY18" fmla="*/ 2093 h 9928"/>
                    <a:gd name="connsiteX19" fmla="*/ 60 w 12858"/>
                    <a:gd name="connsiteY19" fmla="*/ 2033 h 9928"/>
                    <a:gd name="connsiteX20" fmla="*/ 0 w 12858"/>
                    <a:gd name="connsiteY20" fmla="*/ 1974 h 9928"/>
                    <a:gd name="connsiteX21" fmla="*/ 718 w 12858"/>
                    <a:gd name="connsiteY21" fmla="*/ 778 h 9928"/>
                    <a:gd name="connsiteX22" fmla="*/ 1017 w 12858"/>
                    <a:gd name="connsiteY22" fmla="*/ 239 h 9928"/>
                    <a:gd name="connsiteX23" fmla="*/ 1076 w 12858"/>
                    <a:gd name="connsiteY23" fmla="*/ 179 h 9928"/>
                    <a:gd name="connsiteX24" fmla="*/ 1256 w 12858"/>
                    <a:gd name="connsiteY24" fmla="*/ 120 h 9928"/>
                    <a:gd name="connsiteX25" fmla="*/ 1435 w 12858"/>
                    <a:gd name="connsiteY25" fmla="*/ 0 h 9928"/>
                    <a:gd name="connsiteX26" fmla="*/ 1555 w 12858"/>
                    <a:gd name="connsiteY26" fmla="*/ 60 h 9928"/>
                    <a:gd name="connsiteX27" fmla="*/ 2871 w 12858"/>
                    <a:gd name="connsiteY27" fmla="*/ 538 h 9928"/>
                    <a:gd name="connsiteX28" fmla="*/ 3050 w 12858"/>
                    <a:gd name="connsiteY28" fmla="*/ 598 h 9928"/>
                    <a:gd name="connsiteX29" fmla="*/ 4366 w 12858"/>
                    <a:gd name="connsiteY29" fmla="*/ 1136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858" h="9928">
                      <a:moveTo>
                        <a:pt x="12859" y="9928"/>
                      </a:moveTo>
                      <a:lnTo>
                        <a:pt x="11423" y="9210"/>
                      </a:lnTo>
                      <a:lnTo>
                        <a:pt x="10526" y="8732"/>
                      </a:lnTo>
                      <a:lnTo>
                        <a:pt x="10287" y="8612"/>
                      </a:lnTo>
                      <a:lnTo>
                        <a:pt x="9210" y="8014"/>
                      </a:lnTo>
                      <a:lnTo>
                        <a:pt x="9091" y="7954"/>
                      </a:lnTo>
                      <a:lnTo>
                        <a:pt x="9091" y="7954"/>
                      </a:lnTo>
                      <a:lnTo>
                        <a:pt x="8552" y="7655"/>
                      </a:lnTo>
                      <a:lnTo>
                        <a:pt x="7356" y="6997"/>
                      </a:lnTo>
                      <a:lnTo>
                        <a:pt x="5203" y="5742"/>
                      </a:lnTo>
                      <a:lnTo>
                        <a:pt x="5084" y="5682"/>
                      </a:lnTo>
                      <a:lnTo>
                        <a:pt x="3349" y="4605"/>
                      </a:lnTo>
                      <a:lnTo>
                        <a:pt x="2930" y="4306"/>
                      </a:lnTo>
                      <a:lnTo>
                        <a:pt x="2273" y="3888"/>
                      </a:lnTo>
                      <a:lnTo>
                        <a:pt x="1435" y="3289"/>
                      </a:lnTo>
                      <a:lnTo>
                        <a:pt x="957" y="2931"/>
                      </a:lnTo>
                      <a:lnTo>
                        <a:pt x="598" y="2632"/>
                      </a:lnTo>
                      <a:lnTo>
                        <a:pt x="419" y="2512"/>
                      </a:lnTo>
                      <a:lnTo>
                        <a:pt x="120" y="2093"/>
                      </a:lnTo>
                      <a:lnTo>
                        <a:pt x="60" y="2033"/>
                      </a:lnTo>
                      <a:lnTo>
                        <a:pt x="0" y="1974"/>
                      </a:lnTo>
                      <a:lnTo>
                        <a:pt x="718" y="778"/>
                      </a:lnTo>
                      <a:lnTo>
                        <a:pt x="1017" y="239"/>
                      </a:lnTo>
                      <a:lnTo>
                        <a:pt x="1076" y="179"/>
                      </a:lnTo>
                      <a:lnTo>
                        <a:pt x="1256" y="120"/>
                      </a:lnTo>
                      <a:lnTo>
                        <a:pt x="1435" y="0"/>
                      </a:lnTo>
                      <a:lnTo>
                        <a:pt x="1555" y="60"/>
                      </a:lnTo>
                      <a:lnTo>
                        <a:pt x="2871" y="538"/>
                      </a:lnTo>
                      <a:lnTo>
                        <a:pt x="3050" y="598"/>
                      </a:lnTo>
                      <a:lnTo>
                        <a:pt x="4366" y="1136"/>
                      </a:lnTo>
                    </a:path>
                  </a:pathLst>
                </a:custGeom>
                <a:noFill/>
                <a:ln w="6350" cap="rnd">
                  <a:solidFill>
                    <a:schemeClr val="bg1">
                      <a:alpha val="40000"/>
                    </a:schemeClr>
                  </a:solidFill>
                  <a:prstDash val="solid"/>
                  <a:round/>
                </a:ln>
              </p:spPr>
              <p:txBody>
                <a:bodyPr rtlCol="0" anchor="ctr"/>
                <a:lstStyle/>
                <a:p>
                  <a:endParaRPr lang="en-GB"/>
                </a:p>
              </p:txBody>
            </p:sp>
            <p:sp>
              <p:nvSpPr>
                <p:cNvPr id="6589" name="Vrije vorm: vorm 6588">
                  <a:extLst>
                    <a:ext uri="{FF2B5EF4-FFF2-40B4-BE49-F238E27FC236}">
                      <a16:creationId xmlns:a16="http://schemas.microsoft.com/office/drawing/2014/main" id="{8B7E8544-7EEA-4606-B250-8F4A69354E64}"/>
                    </a:ext>
                  </a:extLst>
                </p:cNvPr>
                <p:cNvSpPr/>
                <p:nvPr/>
              </p:nvSpPr>
              <p:spPr>
                <a:xfrm>
                  <a:off x="6789874" y="1909027"/>
                  <a:ext cx="3408" cy="4186"/>
                </a:xfrm>
                <a:custGeom>
                  <a:avLst/>
                  <a:gdLst>
                    <a:gd name="connsiteX0" fmla="*/ 0 w 3408"/>
                    <a:gd name="connsiteY0" fmla="*/ 2392 h 4186"/>
                    <a:gd name="connsiteX1" fmla="*/ 598 w 3408"/>
                    <a:gd name="connsiteY1" fmla="*/ 1316 h 4186"/>
                    <a:gd name="connsiteX2" fmla="*/ 1375 w 3408"/>
                    <a:gd name="connsiteY2" fmla="*/ 0 h 4186"/>
                    <a:gd name="connsiteX3" fmla="*/ 2392 w 3408"/>
                    <a:gd name="connsiteY3" fmla="*/ 538 h 4186"/>
                    <a:gd name="connsiteX4" fmla="*/ 3409 w 3408"/>
                    <a:gd name="connsiteY4" fmla="*/ 1196 h 4186"/>
                    <a:gd name="connsiteX5" fmla="*/ 3409 w 3408"/>
                    <a:gd name="connsiteY5" fmla="*/ 1316 h 4186"/>
                    <a:gd name="connsiteX6" fmla="*/ 2632 w 3408"/>
                    <a:gd name="connsiteY6" fmla="*/ 2632 h 4186"/>
                    <a:gd name="connsiteX7" fmla="*/ 1674 w 3408"/>
                    <a:gd name="connsiteY7" fmla="*/ 4186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8" h="4186">
                      <a:moveTo>
                        <a:pt x="0" y="2392"/>
                      </a:moveTo>
                      <a:lnTo>
                        <a:pt x="598" y="1316"/>
                      </a:lnTo>
                      <a:lnTo>
                        <a:pt x="1375" y="0"/>
                      </a:lnTo>
                      <a:lnTo>
                        <a:pt x="2392" y="538"/>
                      </a:lnTo>
                      <a:lnTo>
                        <a:pt x="3409" y="1196"/>
                      </a:lnTo>
                      <a:lnTo>
                        <a:pt x="3409" y="1316"/>
                      </a:lnTo>
                      <a:lnTo>
                        <a:pt x="2632" y="2632"/>
                      </a:lnTo>
                      <a:lnTo>
                        <a:pt x="1674" y="4186"/>
                      </a:lnTo>
                    </a:path>
                  </a:pathLst>
                </a:custGeom>
                <a:noFill/>
                <a:ln w="6350" cap="rnd">
                  <a:solidFill>
                    <a:schemeClr val="bg1">
                      <a:alpha val="40000"/>
                    </a:schemeClr>
                  </a:solidFill>
                  <a:prstDash val="solid"/>
                  <a:round/>
                </a:ln>
              </p:spPr>
              <p:txBody>
                <a:bodyPr rtlCol="0" anchor="ctr"/>
                <a:lstStyle/>
                <a:p>
                  <a:endParaRPr lang="en-GB"/>
                </a:p>
              </p:txBody>
            </p:sp>
            <p:sp>
              <p:nvSpPr>
                <p:cNvPr id="6590" name="Vrije vorm: vorm 6589">
                  <a:extLst>
                    <a:ext uri="{FF2B5EF4-FFF2-40B4-BE49-F238E27FC236}">
                      <a16:creationId xmlns:a16="http://schemas.microsoft.com/office/drawing/2014/main" id="{0279C4BE-2533-43F4-A960-C70ABAD056C0}"/>
                    </a:ext>
                  </a:extLst>
                </p:cNvPr>
                <p:cNvSpPr/>
                <p:nvPr/>
              </p:nvSpPr>
              <p:spPr>
                <a:xfrm>
                  <a:off x="6679589" y="1914649"/>
                  <a:ext cx="19257" cy="5861"/>
                </a:xfrm>
                <a:custGeom>
                  <a:avLst/>
                  <a:gdLst>
                    <a:gd name="connsiteX0" fmla="*/ 19258 w 19257"/>
                    <a:gd name="connsiteY0" fmla="*/ 0 h 5861"/>
                    <a:gd name="connsiteX1" fmla="*/ 16327 w 19257"/>
                    <a:gd name="connsiteY1" fmla="*/ 3289 h 5861"/>
                    <a:gd name="connsiteX2" fmla="*/ 6160 w 19257"/>
                    <a:gd name="connsiteY2" fmla="*/ 5861 h 5861"/>
                    <a:gd name="connsiteX3" fmla="*/ 0 w 19257"/>
                    <a:gd name="connsiteY3" fmla="*/ 1734 h 5861"/>
                  </a:gdLst>
                  <a:ahLst/>
                  <a:cxnLst>
                    <a:cxn ang="0">
                      <a:pos x="connsiteX0" y="connsiteY0"/>
                    </a:cxn>
                    <a:cxn ang="0">
                      <a:pos x="connsiteX1" y="connsiteY1"/>
                    </a:cxn>
                    <a:cxn ang="0">
                      <a:pos x="connsiteX2" y="connsiteY2"/>
                    </a:cxn>
                    <a:cxn ang="0">
                      <a:pos x="connsiteX3" y="connsiteY3"/>
                    </a:cxn>
                  </a:cxnLst>
                  <a:rect l="l" t="t" r="r" b="b"/>
                  <a:pathLst>
                    <a:path w="19257" h="5861">
                      <a:moveTo>
                        <a:pt x="19258" y="0"/>
                      </a:moveTo>
                      <a:lnTo>
                        <a:pt x="16327" y="3289"/>
                      </a:lnTo>
                      <a:lnTo>
                        <a:pt x="6160" y="5861"/>
                      </a:lnTo>
                      <a:lnTo>
                        <a:pt x="0" y="1734"/>
                      </a:lnTo>
                    </a:path>
                  </a:pathLst>
                </a:custGeom>
                <a:noFill/>
                <a:ln w="6350" cap="rnd">
                  <a:solidFill>
                    <a:schemeClr val="bg1">
                      <a:alpha val="40000"/>
                    </a:schemeClr>
                  </a:solidFill>
                  <a:prstDash val="solid"/>
                  <a:round/>
                </a:ln>
              </p:spPr>
              <p:txBody>
                <a:bodyPr rtlCol="0" anchor="ctr"/>
                <a:lstStyle/>
                <a:p>
                  <a:endParaRPr lang="en-GB"/>
                </a:p>
              </p:txBody>
            </p:sp>
            <p:sp>
              <p:nvSpPr>
                <p:cNvPr id="6591" name="Vrije vorm: vorm 6590">
                  <a:extLst>
                    <a:ext uri="{FF2B5EF4-FFF2-40B4-BE49-F238E27FC236}">
                      <a16:creationId xmlns:a16="http://schemas.microsoft.com/office/drawing/2014/main" id="{294D1E94-22AE-43B3-8861-A8678CADA936}"/>
                    </a:ext>
                  </a:extLst>
                </p:cNvPr>
                <p:cNvSpPr/>
                <p:nvPr/>
              </p:nvSpPr>
              <p:spPr>
                <a:xfrm>
                  <a:off x="7000395" y="1751435"/>
                  <a:ext cx="11183" cy="11004"/>
                </a:xfrm>
                <a:custGeom>
                  <a:avLst/>
                  <a:gdLst>
                    <a:gd name="connsiteX0" fmla="*/ 9389 w 11183"/>
                    <a:gd name="connsiteY0" fmla="*/ 9150 h 11004"/>
                    <a:gd name="connsiteX1" fmla="*/ 9150 w 11183"/>
                    <a:gd name="connsiteY1" fmla="*/ 9390 h 11004"/>
                    <a:gd name="connsiteX2" fmla="*/ 8432 w 11183"/>
                    <a:gd name="connsiteY2" fmla="*/ 10048 h 11004"/>
                    <a:gd name="connsiteX3" fmla="*/ 8313 w 11183"/>
                    <a:gd name="connsiteY3" fmla="*/ 10167 h 11004"/>
                    <a:gd name="connsiteX4" fmla="*/ 8074 w 11183"/>
                    <a:gd name="connsiteY4" fmla="*/ 10406 h 11004"/>
                    <a:gd name="connsiteX5" fmla="*/ 7715 w 11183"/>
                    <a:gd name="connsiteY5" fmla="*/ 10466 h 11004"/>
                    <a:gd name="connsiteX6" fmla="*/ 7476 w 11183"/>
                    <a:gd name="connsiteY6" fmla="*/ 10526 h 11004"/>
                    <a:gd name="connsiteX7" fmla="*/ 6818 w 11183"/>
                    <a:gd name="connsiteY7" fmla="*/ 10646 h 11004"/>
                    <a:gd name="connsiteX8" fmla="*/ 6160 w 11183"/>
                    <a:gd name="connsiteY8" fmla="*/ 10765 h 11004"/>
                    <a:gd name="connsiteX9" fmla="*/ 5382 w 11183"/>
                    <a:gd name="connsiteY9" fmla="*/ 10885 h 11004"/>
                    <a:gd name="connsiteX10" fmla="*/ 5203 w 11183"/>
                    <a:gd name="connsiteY10" fmla="*/ 10945 h 11004"/>
                    <a:gd name="connsiteX11" fmla="*/ 4904 w 11183"/>
                    <a:gd name="connsiteY11" fmla="*/ 11005 h 11004"/>
                    <a:gd name="connsiteX12" fmla="*/ 2213 w 11183"/>
                    <a:gd name="connsiteY12" fmla="*/ 9509 h 11004"/>
                    <a:gd name="connsiteX13" fmla="*/ 1316 w 11183"/>
                    <a:gd name="connsiteY13" fmla="*/ 8911 h 11004"/>
                    <a:gd name="connsiteX14" fmla="*/ 1256 w 11183"/>
                    <a:gd name="connsiteY14" fmla="*/ 8732 h 11004"/>
                    <a:gd name="connsiteX15" fmla="*/ 1196 w 11183"/>
                    <a:gd name="connsiteY15" fmla="*/ 8612 h 11004"/>
                    <a:gd name="connsiteX16" fmla="*/ 1076 w 11183"/>
                    <a:gd name="connsiteY16" fmla="*/ 8373 h 11004"/>
                    <a:gd name="connsiteX17" fmla="*/ 956 w 11183"/>
                    <a:gd name="connsiteY17" fmla="*/ 8134 h 11004"/>
                    <a:gd name="connsiteX18" fmla="*/ 897 w 11183"/>
                    <a:gd name="connsiteY18" fmla="*/ 8074 h 11004"/>
                    <a:gd name="connsiteX19" fmla="*/ 538 w 11183"/>
                    <a:gd name="connsiteY19" fmla="*/ 7177 h 11004"/>
                    <a:gd name="connsiteX20" fmla="*/ 418 w 11183"/>
                    <a:gd name="connsiteY20" fmla="*/ 6938 h 11004"/>
                    <a:gd name="connsiteX21" fmla="*/ 239 w 11183"/>
                    <a:gd name="connsiteY21" fmla="*/ 6519 h 11004"/>
                    <a:gd name="connsiteX22" fmla="*/ 0 w 11183"/>
                    <a:gd name="connsiteY22" fmla="*/ 5981 h 11004"/>
                    <a:gd name="connsiteX23" fmla="*/ 60 w 11183"/>
                    <a:gd name="connsiteY23" fmla="*/ 5622 h 11004"/>
                    <a:gd name="connsiteX24" fmla="*/ 120 w 11183"/>
                    <a:gd name="connsiteY24" fmla="*/ 5442 h 11004"/>
                    <a:gd name="connsiteX25" fmla="*/ 120 w 11183"/>
                    <a:gd name="connsiteY25" fmla="*/ 5442 h 11004"/>
                    <a:gd name="connsiteX26" fmla="*/ 418 w 11183"/>
                    <a:gd name="connsiteY26" fmla="*/ 4186 h 11004"/>
                    <a:gd name="connsiteX27" fmla="*/ 778 w 11183"/>
                    <a:gd name="connsiteY27" fmla="*/ 2751 h 11004"/>
                    <a:gd name="connsiteX28" fmla="*/ 1674 w 11183"/>
                    <a:gd name="connsiteY28" fmla="*/ 1914 h 11004"/>
                    <a:gd name="connsiteX29" fmla="*/ 3229 w 11183"/>
                    <a:gd name="connsiteY29" fmla="*/ 478 h 11004"/>
                    <a:gd name="connsiteX30" fmla="*/ 6399 w 11183"/>
                    <a:gd name="connsiteY30" fmla="*/ 0 h 11004"/>
                    <a:gd name="connsiteX31" fmla="*/ 9091 w 11183"/>
                    <a:gd name="connsiteY31" fmla="*/ 1495 h 11004"/>
                    <a:gd name="connsiteX32" fmla="*/ 9987 w 11183"/>
                    <a:gd name="connsiteY32" fmla="*/ 2093 h 11004"/>
                    <a:gd name="connsiteX33" fmla="*/ 11184 w 11183"/>
                    <a:gd name="connsiteY33" fmla="*/ 5024 h 11004"/>
                    <a:gd name="connsiteX34" fmla="*/ 10765 w 11183"/>
                    <a:gd name="connsiteY34" fmla="*/ 6698 h 11004"/>
                    <a:gd name="connsiteX35" fmla="*/ 10765 w 11183"/>
                    <a:gd name="connsiteY35" fmla="*/ 6698 h 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183" h="11004">
                      <a:moveTo>
                        <a:pt x="9389" y="9150"/>
                      </a:moveTo>
                      <a:lnTo>
                        <a:pt x="9150" y="9390"/>
                      </a:lnTo>
                      <a:lnTo>
                        <a:pt x="8432" y="10048"/>
                      </a:lnTo>
                      <a:lnTo>
                        <a:pt x="8313" y="10167"/>
                      </a:lnTo>
                      <a:lnTo>
                        <a:pt x="8074" y="10406"/>
                      </a:lnTo>
                      <a:lnTo>
                        <a:pt x="7715" y="10466"/>
                      </a:lnTo>
                      <a:lnTo>
                        <a:pt x="7476" y="10526"/>
                      </a:lnTo>
                      <a:lnTo>
                        <a:pt x="6818" y="10646"/>
                      </a:lnTo>
                      <a:lnTo>
                        <a:pt x="6160" y="10765"/>
                      </a:lnTo>
                      <a:lnTo>
                        <a:pt x="5382" y="10885"/>
                      </a:lnTo>
                      <a:lnTo>
                        <a:pt x="5203" y="10945"/>
                      </a:lnTo>
                      <a:lnTo>
                        <a:pt x="4904" y="11005"/>
                      </a:lnTo>
                      <a:lnTo>
                        <a:pt x="2213" y="9509"/>
                      </a:lnTo>
                      <a:lnTo>
                        <a:pt x="1316" y="8911"/>
                      </a:lnTo>
                      <a:lnTo>
                        <a:pt x="1256" y="8732"/>
                      </a:lnTo>
                      <a:lnTo>
                        <a:pt x="1196" y="8612"/>
                      </a:lnTo>
                      <a:lnTo>
                        <a:pt x="1076" y="8373"/>
                      </a:lnTo>
                      <a:lnTo>
                        <a:pt x="956" y="8134"/>
                      </a:lnTo>
                      <a:lnTo>
                        <a:pt x="897" y="8074"/>
                      </a:lnTo>
                      <a:lnTo>
                        <a:pt x="538" y="7177"/>
                      </a:lnTo>
                      <a:lnTo>
                        <a:pt x="418" y="6938"/>
                      </a:lnTo>
                      <a:lnTo>
                        <a:pt x="239" y="6519"/>
                      </a:lnTo>
                      <a:lnTo>
                        <a:pt x="0" y="5981"/>
                      </a:lnTo>
                      <a:lnTo>
                        <a:pt x="60" y="5622"/>
                      </a:lnTo>
                      <a:lnTo>
                        <a:pt x="120" y="5442"/>
                      </a:lnTo>
                      <a:lnTo>
                        <a:pt x="120" y="5442"/>
                      </a:lnTo>
                      <a:lnTo>
                        <a:pt x="418" y="4186"/>
                      </a:lnTo>
                      <a:lnTo>
                        <a:pt x="778" y="2751"/>
                      </a:lnTo>
                      <a:lnTo>
                        <a:pt x="1674" y="1914"/>
                      </a:lnTo>
                      <a:lnTo>
                        <a:pt x="3229" y="478"/>
                      </a:lnTo>
                      <a:lnTo>
                        <a:pt x="6399" y="0"/>
                      </a:lnTo>
                      <a:lnTo>
                        <a:pt x="9091" y="1495"/>
                      </a:lnTo>
                      <a:lnTo>
                        <a:pt x="9987" y="2093"/>
                      </a:lnTo>
                      <a:lnTo>
                        <a:pt x="11184" y="5024"/>
                      </a:lnTo>
                      <a:lnTo>
                        <a:pt x="10765" y="6698"/>
                      </a:lnTo>
                      <a:lnTo>
                        <a:pt x="10765" y="6698"/>
                      </a:lnTo>
                    </a:path>
                  </a:pathLst>
                </a:custGeom>
                <a:noFill/>
                <a:ln w="6350" cap="rnd">
                  <a:solidFill>
                    <a:schemeClr val="bg1">
                      <a:alpha val="40000"/>
                    </a:schemeClr>
                  </a:solidFill>
                  <a:prstDash val="solid"/>
                  <a:round/>
                </a:ln>
              </p:spPr>
              <p:txBody>
                <a:bodyPr rtlCol="0" anchor="ctr"/>
                <a:lstStyle/>
                <a:p>
                  <a:endParaRPr lang="en-GB"/>
                </a:p>
              </p:txBody>
            </p:sp>
            <p:sp>
              <p:nvSpPr>
                <p:cNvPr id="6592" name="Vrije vorm: vorm 6591">
                  <a:extLst>
                    <a:ext uri="{FF2B5EF4-FFF2-40B4-BE49-F238E27FC236}">
                      <a16:creationId xmlns:a16="http://schemas.microsoft.com/office/drawing/2014/main" id="{2FDE0303-3CF6-4C4E-A510-5D04AA1F0970}"/>
                    </a:ext>
                  </a:extLst>
                </p:cNvPr>
                <p:cNvSpPr/>
                <p:nvPr/>
              </p:nvSpPr>
              <p:spPr>
                <a:xfrm>
                  <a:off x="6780544" y="1887436"/>
                  <a:ext cx="4246" cy="1854"/>
                </a:xfrm>
                <a:custGeom>
                  <a:avLst/>
                  <a:gdLst>
                    <a:gd name="connsiteX0" fmla="*/ 4246 w 4246"/>
                    <a:gd name="connsiteY0" fmla="*/ 957 h 1854"/>
                    <a:gd name="connsiteX1" fmla="*/ 3827 w 4246"/>
                    <a:gd name="connsiteY1" fmla="*/ 1376 h 1854"/>
                    <a:gd name="connsiteX2" fmla="*/ 3768 w 4246"/>
                    <a:gd name="connsiteY2" fmla="*/ 1435 h 1854"/>
                    <a:gd name="connsiteX3" fmla="*/ 3349 w 4246"/>
                    <a:gd name="connsiteY3" fmla="*/ 1854 h 1854"/>
                    <a:gd name="connsiteX4" fmla="*/ 2631 w 4246"/>
                    <a:gd name="connsiteY4" fmla="*/ 1555 h 1854"/>
                    <a:gd name="connsiteX5" fmla="*/ 1914 w 4246"/>
                    <a:gd name="connsiteY5" fmla="*/ 1256 h 1854"/>
                    <a:gd name="connsiteX6" fmla="*/ 0 w 4246"/>
                    <a:gd name="connsiteY6" fmla="*/ 0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6" h="1854">
                      <a:moveTo>
                        <a:pt x="4246" y="957"/>
                      </a:moveTo>
                      <a:lnTo>
                        <a:pt x="3827" y="1376"/>
                      </a:lnTo>
                      <a:lnTo>
                        <a:pt x="3768" y="1435"/>
                      </a:lnTo>
                      <a:lnTo>
                        <a:pt x="3349" y="1854"/>
                      </a:lnTo>
                      <a:lnTo>
                        <a:pt x="2631" y="1555"/>
                      </a:lnTo>
                      <a:lnTo>
                        <a:pt x="1914" y="125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93" name="Vrije vorm: vorm 6592">
                  <a:extLst>
                    <a:ext uri="{FF2B5EF4-FFF2-40B4-BE49-F238E27FC236}">
                      <a16:creationId xmlns:a16="http://schemas.microsoft.com/office/drawing/2014/main" id="{5CDE5B2D-56A8-4C64-A673-173E7DBA75F4}"/>
                    </a:ext>
                  </a:extLst>
                </p:cNvPr>
                <p:cNvSpPr/>
                <p:nvPr/>
              </p:nvSpPr>
              <p:spPr>
                <a:xfrm>
                  <a:off x="6768223" y="1876252"/>
                  <a:ext cx="1435" cy="3528"/>
                </a:xfrm>
                <a:custGeom>
                  <a:avLst/>
                  <a:gdLst>
                    <a:gd name="connsiteX0" fmla="*/ 120 w 1435"/>
                    <a:gd name="connsiteY0" fmla="*/ 3529 h 3528"/>
                    <a:gd name="connsiteX1" fmla="*/ 0 w 1435"/>
                    <a:gd name="connsiteY1" fmla="*/ 3469 h 3528"/>
                    <a:gd name="connsiteX2" fmla="*/ 718 w 1435"/>
                    <a:gd name="connsiteY2" fmla="*/ 718 h 3528"/>
                    <a:gd name="connsiteX3" fmla="*/ 1436 w 1435"/>
                    <a:gd name="connsiteY3" fmla="*/ 0 h 3528"/>
                  </a:gdLst>
                  <a:ahLst/>
                  <a:cxnLst>
                    <a:cxn ang="0">
                      <a:pos x="connsiteX0" y="connsiteY0"/>
                    </a:cxn>
                    <a:cxn ang="0">
                      <a:pos x="connsiteX1" y="connsiteY1"/>
                    </a:cxn>
                    <a:cxn ang="0">
                      <a:pos x="connsiteX2" y="connsiteY2"/>
                    </a:cxn>
                    <a:cxn ang="0">
                      <a:pos x="connsiteX3" y="connsiteY3"/>
                    </a:cxn>
                  </a:cxnLst>
                  <a:rect l="l" t="t" r="r" b="b"/>
                  <a:pathLst>
                    <a:path w="1435" h="3528">
                      <a:moveTo>
                        <a:pt x="120" y="3529"/>
                      </a:moveTo>
                      <a:lnTo>
                        <a:pt x="0" y="3469"/>
                      </a:lnTo>
                      <a:lnTo>
                        <a:pt x="718" y="718"/>
                      </a:lnTo>
                      <a:lnTo>
                        <a:pt x="1436" y="0"/>
                      </a:lnTo>
                    </a:path>
                  </a:pathLst>
                </a:custGeom>
                <a:noFill/>
                <a:ln w="6350" cap="rnd">
                  <a:solidFill>
                    <a:schemeClr val="bg1">
                      <a:alpha val="40000"/>
                    </a:schemeClr>
                  </a:solidFill>
                  <a:prstDash val="solid"/>
                  <a:round/>
                </a:ln>
              </p:spPr>
              <p:txBody>
                <a:bodyPr rtlCol="0" anchor="ctr"/>
                <a:lstStyle/>
                <a:p>
                  <a:endParaRPr lang="en-GB"/>
                </a:p>
              </p:txBody>
            </p:sp>
            <p:sp>
              <p:nvSpPr>
                <p:cNvPr id="6594" name="Vrije vorm: vorm 6593">
                  <a:extLst>
                    <a:ext uri="{FF2B5EF4-FFF2-40B4-BE49-F238E27FC236}">
                      <a16:creationId xmlns:a16="http://schemas.microsoft.com/office/drawing/2014/main" id="{42ACFEAA-C6FC-4FD1-8061-B39AAD012C4D}"/>
                    </a:ext>
                  </a:extLst>
                </p:cNvPr>
                <p:cNvSpPr/>
                <p:nvPr/>
              </p:nvSpPr>
              <p:spPr>
                <a:xfrm>
                  <a:off x="6905720" y="1923321"/>
                  <a:ext cx="6339" cy="5920"/>
                </a:xfrm>
                <a:custGeom>
                  <a:avLst/>
                  <a:gdLst>
                    <a:gd name="connsiteX0" fmla="*/ 6340 w 6339"/>
                    <a:gd name="connsiteY0" fmla="*/ 5921 h 5920"/>
                    <a:gd name="connsiteX1" fmla="*/ 5622 w 6339"/>
                    <a:gd name="connsiteY1" fmla="*/ 5442 h 5920"/>
                    <a:gd name="connsiteX2" fmla="*/ 3828 w 6339"/>
                    <a:gd name="connsiteY2" fmla="*/ 4246 h 5920"/>
                    <a:gd name="connsiteX3" fmla="*/ 3529 w 6339"/>
                    <a:gd name="connsiteY3" fmla="*/ 4067 h 5920"/>
                    <a:gd name="connsiteX4" fmla="*/ 1197 w 6339"/>
                    <a:gd name="connsiteY4" fmla="*/ 2572 h 5920"/>
                    <a:gd name="connsiteX5" fmla="*/ 1077 w 6339"/>
                    <a:gd name="connsiteY5" fmla="*/ 2452 h 5920"/>
                    <a:gd name="connsiteX6" fmla="*/ 0 w 6339"/>
                    <a:gd name="connsiteY6" fmla="*/ 0 h 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39" h="5920">
                      <a:moveTo>
                        <a:pt x="6340" y="5921"/>
                      </a:moveTo>
                      <a:lnTo>
                        <a:pt x="5622" y="5442"/>
                      </a:lnTo>
                      <a:lnTo>
                        <a:pt x="3828" y="4246"/>
                      </a:lnTo>
                      <a:lnTo>
                        <a:pt x="3529" y="4067"/>
                      </a:lnTo>
                      <a:lnTo>
                        <a:pt x="1197" y="2572"/>
                      </a:lnTo>
                      <a:lnTo>
                        <a:pt x="1077" y="2452"/>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95" name="Vrije vorm: vorm 6594">
                  <a:extLst>
                    <a:ext uri="{FF2B5EF4-FFF2-40B4-BE49-F238E27FC236}">
                      <a16:creationId xmlns:a16="http://schemas.microsoft.com/office/drawing/2014/main" id="{7C1B9603-F3EA-4E01-97BB-4C6ACE6483C4}"/>
                    </a:ext>
                  </a:extLst>
                </p:cNvPr>
                <p:cNvSpPr/>
                <p:nvPr/>
              </p:nvSpPr>
              <p:spPr>
                <a:xfrm>
                  <a:off x="6932633" y="1819256"/>
                  <a:ext cx="36004" cy="21530"/>
                </a:xfrm>
                <a:custGeom>
                  <a:avLst/>
                  <a:gdLst>
                    <a:gd name="connsiteX0" fmla="*/ 36004 w 36004"/>
                    <a:gd name="connsiteY0" fmla="*/ 21531 h 21530"/>
                    <a:gd name="connsiteX1" fmla="*/ 36004 w 36004"/>
                    <a:gd name="connsiteY1" fmla="*/ 21531 h 21530"/>
                    <a:gd name="connsiteX2" fmla="*/ 34928 w 36004"/>
                    <a:gd name="connsiteY2" fmla="*/ 20873 h 21530"/>
                    <a:gd name="connsiteX3" fmla="*/ 33851 w 36004"/>
                    <a:gd name="connsiteY3" fmla="*/ 20215 h 21530"/>
                    <a:gd name="connsiteX4" fmla="*/ 32595 w 36004"/>
                    <a:gd name="connsiteY4" fmla="*/ 19437 h 21530"/>
                    <a:gd name="connsiteX5" fmla="*/ 31100 w 36004"/>
                    <a:gd name="connsiteY5" fmla="*/ 18540 h 21530"/>
                    <a:gd name="connsiteX6" fmla="*/ 29784 w 36004"/>
                    <a:gd name="connsiteY6" fmla="*/ 17763 h 21530"/>
                    <a:gd name="connsiteX7" fmla="*/ 28528 w 36004"/>
                    <a:gd name="connsiteY7" fmla="*/ 16985 h 21530"/>
                    <a:gd name="connsiteX8" fmla="*/ 27392 w 36004"/>
                    <a:gd name="connsiteY8" fmla="*/ 16327 h 21530"/>
                    <a:gd name="connsiteX9" fmla="*/ 25897 w 36004"/>
                    <a:gd name="connsiteY9" fmla="*/ 15430 h 21530"/>
                    <a:gd name="connsiteX10" fmla="*/ 25717 w 36004"/>
                    <a:gd name="connsiteY10" fmla="*/ 15311 h 21530"/>
                    <a:gd name="connsiteX11" fmla="*/ 23983 w 36004"/>
                    <a:gd name="connsiteY11" fmla="*/ 14294 h 21530"/>
                    <a:gd name="connsiteX12" fmla="*/ 23923 w 36004"/>
                    <a:gd name="connsiteY12" fmla="*/ 14294 h 21530"/>
                    <a:gd name="connsiteX13" fmla="*/ 22308 w 36004"/>
                    <a:gd name="connsiteY13" fmla="*/ 13337 h 21530"/>
                    <a:gd name="connsiteX14" fmla="*/ 20634 w 36004"/>
                    <a:gd name="connsiteY14" fmla="*/ 12320 h 21530"/>
                    <a:gd name="connsiteX15" fmla="*/ 14773 w 36004"/>
                    <a:gd name="connsiteY15" fmla="*/ 8792 h 21530"/>
                    <a:gd name="connsiteX16" fmla="*/ 13636 w 36004"/>
                    <a:gd name="connsiteY16" fmla="*/ 8074 h 21530"/>
                    <a:gd name="connsiteX17" fmla="*/ 12321 w 36004"/>
                    <a:gd name="connsiteY17" fmla="*/ 7296 h 21530"/>
                    <a:gd name="connsiteX18" fmla="*/ 11543 w 36004"/>
                    <a:gd name="connsiteY18" fmla="*/ 6818 h 21530"/>
                    <a:gd name="connsiteX19" fmla="*/ 7177 w 36004"/>
                    <a:gd name="connsiteY19" fmla="*/ 4187 h 21530"/>
                    <a:gd name="connsiteX20" fmla="*/ 6998 w 36004"/>
                    <a:gd name="connsiteY20" fmla="*/ 4067 h 21530"/>
                    <a:gd name="connsiteX21" fmla="*/ 6698 w 36004"/>
                    <a:gd name="connsiteY21" fmla="*/ 3888 h 21530"/>
                    <a:gd name="connsiteX22" fmla="*/ 6520 w 36004"/>
                    <a:gd name="connsiteY22" fmla="*/ 3768 h 21530"/>
                    <a:gd name="connsiteX23" fmla="*/ 6041 w 36004"/>
                    <a:gd name="connsiteY23" fmla="*/ 3469 h 21530"/>
                    <a:gd name="connsiteX24" fmla="*/ 5981 w 36004"/>
                    <a:gd name="connsiteY24" fmla="*/ 3469 h 21530"/>
                    <a:gd name="connsiteX25" fmla="*/ 5981 w 36004"/>
                    <a:gd name="connsiteY25" fmla="*/ 3469 h 21530"/>
                    <a:gd name="connsiteX26" fmla="*/ 5921 w 36004"/>
                    <a:gd name="connsiteY26" fmla="*/ 3409 h 21530"/>
                    <a:gd name="connsiteX27" fmla="*/ 5921 w 36004"/>
                    <a:gd name="connsiteY27" fmla="*/ 3409 h 21530"/>
                    <a:gd name="connsiteX28" fmla="*/ 5802 w 36004"/>
                    <a:gd name="connsiteY28" fmla="*/ 3349 h 21530"/>
                    <a:gd name="connsiteX29" fmla="*/ 5143 w 36004"/>
                    <a:gd name="connsiteY29" fmla="*/ 2931 h 21530"/>
                    <a:gd name="connsiteX30" fmla="*/ 5024 w 36004"/>
                    <a:gd name="connsiteY30" fmla="*/ 2871 h 21530"/>
                    <a:gd name="connsiteX31" fmla="*/ 4905 w 36004"/>
                    <a:gd name="connsiteY31" fmla="*/ 2811 h 21530"/>
                    <a:gd name="connsiteX32" fmla="*/ 4366 w 36004"/>
                    <a:gd name="connsiteY32" fmla="*/ 2512 h 21530"/>
                    <a:gd name="connsiteX33" fmla="*/ 3050 w 36004"/>
                    <a:gd name="connsiteY33" fmla="*/ 1794 h 21530"/>
                    <a:gd name="connsiteX34" fmla="*/ 1495 w 36004"/>
                    <a:gd name="connsiteY34" fmla="*/ 897 h 21530"/>
                    <a:gd name="connsiteX35" fmla="*/ 897 w 36004"/>
                    <a:gd name="connsiteY35" fmla="*/ 538 h 21530"/>
                    <a:gd name="connsiteX36" fmla="*/ 479 w 36004"/>
                    <a:gd name="connsiteY36" fmla="*/ 299 h 21530"/>
                    <a:gd name="connsiteX37" fmla="*/ 0 w 36004"/>
                    <a:gd name="connsiteY37" fmla="*/ 0 h 2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6004" h="21530">
                      <a:moveTo>
                        <a:pt x="36004" y="21531"/>
                      </a:moveTo>
                      <a:lnTo>
                        <a:pt x="36004" y="21531"/>
                      </a:lnTo>
                      <a:lnTo>
                        <a:pt x="34928" y="20873"/>
                      </a:lnTo>
                      <a:lnTo>
                        <a:pt x="33851" y="20215"/>
                      </a:lnTo>
                      <a:lnTo>
                        <a:pt x="32595" y="19437"/>
                      </a:lnTo>
                      <a:lnTo>
                        <a:pt x="31100" y="18540"/>
                      </a:lnTo>
                      <a:lnTo>
                        <a:pt x="29784" y="17763"/>
                      </a:lnTo>
                      <a:lnTo>
                        <a:pt x="28528" y="16985"/>
                      </a:lnTo>
                      <a:lnTo>
                        <a:pt x="27392" y="16327"/>
                      </a:lnTo>
                      <a:lnTo>
                        <a:pt x="25897" y="15430"/>
                      </a:lnTo>
                      <a:lnTo>
                        <a:pt x="25717" y="15311"/>
                      </a:lnTo>
                      <a:lnTo>
                        <a:pt x="23983" y="14294"/>
                      </a:lnTo>
                      <a:lnTo>
                        <a:pt x="23923" y="14294"/>
                      </a:lnTo>
                      <a:lnTo>
                        <a:pt x="22308" y="13337"/>
                      </a:lnTo>
                      <a:lnTo>
                        <a:pt x="20634" y="12320"/>
                      </a:lnTo>
                      <a:lnTo>
                        <a:pt x="14773" y="8792"/>
                      </a:lnTo>
                      <a:lnTo>
                        <a:pt x="13636" y="8074"/>
                      </a:lnTo>
                      <a:lnTo>
                        <a:pt x="12321" y="7296"/>
                      </a:lnTo>
                      <a:lnTo>
                        <a:pt x="11543" y="6818"/>
                      </a:lnTo>
                      <a:lnTo>
                        <a:pt x="7177" y="4187"/>
                      </a:lnTo>
                      <a:lnTo>
                        <a:pt x="6998" y="4067"/>
                      </a:lnTo>
                      <a:lnTo>
                        <a:pt x="6698" y="3888"/>
                      </a:lnTo>
                      <a:lnTo>
                        <a:pt x="6520" y="3768"/>
                      </a:lnTo>
                      <a:lnTo>
                        <a:pt x="6041" y="3469"/>
                      </a:lnTo>
                      <a:lnTo>
                        <a:pt x="5981" y="3469"/>
                      </a:lnTo>
                      <a:lnTo>
                        <a:pt x="5981" y="3469"/>
                      </a:lnTo>
                      <a:lnTo>
                        <a:pt x="5921" y="3409"/>
                      </a:lnTo>
                      <a:lnTo>
                        <a:pt x="5921" y="3409"/>
                      </a:lnTo>
                      <a:lnTo>
                        <a:pt x="5802" y="3349"/>
                      </a:lnTo>
                      <a:lnTo>
                        <a:pt x="5143" y="2931"/>
                      </a:lnTo>
                      <a:lnTo>
                        <a:pt x="5024" y="2871"/>
                      </a:lnTo>
                      <a:lnTo>
                        <a:pt x="4905" y="2811"/>
                      </a:lnTo>
                      <a:lnTo>
                        <a:pt x="4366" y="2512"/>
                      </a:lnTo>
                      <a:lnTo>
                        <a:pt x="3050" y="1794"/>
                      </a:lnTo>
                      <a:lnTo>
                        <a:pt x="1495" y="897"/>
                      </a:lnTo>
                      <a:lnTo>
                        <a:pt x="897" y="538"/>
                      </a:lnTo>
                      <a:lnTo>
                        <a:pt x="479" y="29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596" name="Vrije vorm: vorm 6595">
                  <a:extLst>
                    <a:ext uri="{FF2B5EF4-FFF2-40B4-BE49-F238E27FC236}">
                      <a16:creationId xmlns:a16="http://schemas.microsoft.com/office/drawing/2014/main" id="{BBF0F4C7-20E6-44BD-9530-03C4701F84C6}"/>
                    </a:ext>
                  </a:extLst>
                </p:cNvPr>
                <p:cNvSpPr/>
                <p:nvPr/>
              </p:nvSpPr>
              <p:spPr>
                <a:xfrm>
                  <a:off x="6664757" y="1899099"/>
                  <a:ext cx="20214" cy="19856"/>
                </a:xfrm>
                <a:custGeom>
                  <a:avLst/>
                  <a:gdLst>
                    <a:gd name="connsiteX0" fmla="*/ 0 w 20214"/>
                    <a:gd name="connsiteY0" fmla="*/ 9868 h 19856"/>
                    <a:gd name="connsiteX1" fmla="*/ 598 w 20214"/>
                    <a:gd name="connsiteY1" fmla="*/ 9868 h 19856"/>
                    <a:gd name="connsiteX2" fmla="*/ 4605 w 20214"/>
                    <a:gd name="connsiteY2" fmla="*/ 6938 h 19856"/>
                    <a:gd name="connsiteX3" fmla="*/ 5144 w 20214"/>
                    <a:gd name="connsiteY3" fmla="*/ 6519 h 19856"/>
                    <a:gd name="connsiteX4" fmla="*/ 5383 w 20214"/>
                    <a:gd name="connsiteY4" fmla="*/ 6340 h 19856"/>
                    <a:gd name="connsiteX5" fmla="*/ 10526 w 20214"/>
                    <a:gd name="connsiteY5" fmla="*/ 2632 h 19856"/>
                    <a:gd name="connsiteX6" fmla="*/ 13576 w 20214"/>
                    <a:gd name="connsiteY6" fmla="*/ 419 h 19856"/>
                    <a:gd name="connsiteX7" fmla="*/ 14174 w 20214"/>
                    <a:gd name="connsiteY7" fmla="*/ 0 h 19856"/>
                    <a:gd name="connsiteX8" fmla="*/ 16088 w 20214"/>
                    <a:gd name="connsiteY8" fmla="*/ 1615 h 19856"/>
                    <a:gd name="connsiteX9" fmla="*/ 16208 w 20214"/>
                    <a:gd name="connsiteY9" fmla="*/ 1734 h 19856"/>
                    <a:gd name="connsiteX10" fmla="*/ 17703 w 20214"/>
                    <a:gd name="connsiteY10" fmla="*/ 2990 h 19856"/>
                    <a:gd name="connsiteX11" fmla="*/ 20215 w 20214"/>
                    <a:gd name="connsiteY11" fmla="*/ 6340 h 19856"/>
                    <a:gd name="connsiteX12" fmla="*/ 20096 w 20214"/>
                    <a:gd name="connsiteY12" fmla="*/ 8074 h 19856"/>
                    <a:gd name="connsiteX13" fmla="*/ 20036 w 20214"/>
                    <a:gd name="connsiteY13" fmla="*/ 8851 h 19856"/>
                    <a:gd name="connsiteX14" fmla="*/ 19916 w 20214"/>
                    <a:gd name="connsiteY14" fmla="*/ 10945 h 19856"/>
                    <a:gd name="connsiteX15" fmla="*/ 19916 w 20214"/>
                    <a:gd name="connsiteY15" fmla="*/ 11244 h 19856"/>
                    <a:gd name="connsiteX16" fmla="*/ 19916 w 20214"/>
                    <a:gd name="connsiteY16" fmla="*/ 11543 h 19856"/>
                    <a:gd name="connsiteX17" fmla="*/ 19916 w 20214"/>
                    <a:gd name="connsiteY17" fmla="*/ 11961 h 19856"/>
                    <a:gd name="connsiteX18" fmla="*/ 14713 w 20214"/>
                    <a:gd name="connsiteY18" fmla="*/ 17284 h 19856"/>
                    <a:gd name="connsiteX19" fmla="*/ 12799 w 20214"/>
                    <a:gd name="connsiteY19" fmla="*/ 19258 h 19856"/>
                    <a:gd name="connsiteX20" fmla="*/ 12260 w 20214"/>
                    <a:gd name="connsiteY20" fmla="*/ 19856 h 1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214" h="19856">
                      <a:moveTo>
                        <a:pt x="0" y="9868"/>
                      </a:moveTo>
                      <a:lnTo>
                        <a:pt x="598" y="9868"/>
                      </a:lnTo>
                      <a:lnTo>
                        <a:pt x="4605" y="6938"/>
                      </a:lnTo>
                      <a:lnTo>
                        <a:pt x="5144" y="6519"/>
                      </a:lnTo>
                      <a:lnTo>
                        <a:pt x="5383" y="6340"/>
                      </a:lnTo>
                      <a:lnTo>
                        <a:pt x="10526" y="2632"/>
                      </a:lnTo>
                      <a:lnTo>
                        <a:pt x="13576" y="419"/>
                      </a:lnTo>
                      <a:lnTo>
                        <a:pt x="14174" y="0"/>
                      </a:lnTo>
                      <a:lnTo>
                        <a:pt x="16088" y="1615"/>
                      </a:lnTo>
                      <a:lnTo>
                        <a:pt x="16208" y="1734"/>
                      </a:lnTo>
                      <a:lnTo>
                        <a:pt x="17703" y="2990"/>
                      </a:lnTo>
                      <a:lnTo>
                        <a:pt x="20215" y="6340"/>
                      </a:lnTo>
                      <a:lnTo>
                        <a:pt x="20096" y="8074"/>
                      </a:lnTo>
                      <a:lnTo>
                        <a:pt x="20036" y="8851"/>
                      </a:lnTo>
                      <a:lnTo>
                        <a:pt x="19916" y="10945"/>
                      </a:lnTo>
                      <a:lnTo>
                        <a:pt x="19916" y="11244"/>
                      </a:lnTo>
                      <a:lnTo>
                        <a:pt x="19916" y="11543"/>
                      </a:lnTo>
                      <a:lnTo>
                        <a:pt x="19916" y="11961"/>
                      </a:lnTo>
                      <a:lnTo>
                        <a:pt x="14713" y="17284"/>
                      </a:lnTo>
                      <a:lnTo>
                        <a:pt x="12799" y="19258"/>
                      </a:lnTo>
                      <a:lnTo>
                        <a:pt x="12260" y="19856"/>
                      </a:lnTo>
                    </a:path>
                  </a:pathLst>
                </a:custGeom>
                <a:noFill/>
                <a:ln w="6350" cap="rnd">
                  <a:solidFill>
                    <a:schemeClr val="bg1">
                      <a:alpha val="40000"/>
                    </a:schemeClr>
                  </a:solidFill>
                  <a:prstDash val="solid"/>
                  <a:round/>
                </a:ln>
              </p:spPr>
              <p:txBody>
                <a:bodyPr rtlCol="0" anchor="ctr"/>
                <a:lstStyle/>
                <a:p>
                  <a:endParaRPr lang="en-GB"/>
                </a:p>
              </p:txBody>
            </p:sp>
            <p:sp>
              <p:nvSpPr>
                <p:cNvPr id="6597" name="Vrije vorm: vorm 6596">
                  <a:extLst>
                    <a:ext uri="{FF2B5EF4-FFF2-40B4-BE49-F238E27FC236}">
                      <a16:creationId xmlns:a16="http://schemas.microsoft.com/office/drawing/2014/main" id="{0EC3FDA9-6C26-4DB0-A392-980F2F778456}"/>
                    </a:ext>
                  </a:extLst>
                </p:cNvPr>
                <p:cNvSpPr/>
                <p:nvPr/>
              </p:nvSpPr>
              <p:spPr>
                <a:xfrm>
                  <a:off x="6893639" y="1890606"/>
                  <a:ext cx="19976" cy="15310"/>
                </a:xfrm>
                <a:custGeom>
                  <a:avLst/>
                  <a:gdLst>
                    <a:gd name="connsiteX0" fmla="*/ 19976 w 19976"/>
                    <a:gd name="connsiteY0" fmla="*/ 1675 h 15310"/>
                    <a:gd name="connsiteX1" fmla="*/ 16926 w 19976"/>
                    <a:gd name="connsiteY1" fmla="*/ 718 h 15310"/>
                    <a:gd name="connsiteX2" fmla="*/ 16507 w 19976"/>
                    <a:gd name="connsiteY2" fmla="*/ 598 h 15310"/>
                    <a:gd name="connsiteX3" fmla="*/ 16268 w 19976"/>
                    <a:gd name="connsiteY3" fmla="*/ 538 h 15310"/>
                    <a:gd name="connsiteX4" fmla="*/ 14952 w 19976"/>
                    <a:gd name="connsiteY4" fmla="*/ 120 h 15310"/>
                    <a:gd name="connsiteX5" fmla="*/ 14474 w 19976"/>
                    <a:gd name="connsiteY5" fmla="*/ 0 h 15310"/>
                    <a:gd name="connsiteX6" fmla="*/ 10706 w 19976"/>
                    <a:gd name="connsiteY6" fmla="*/ 4545 h 15310"/>
                    <a:gd name="connsiteX7" fmla="*/ 9450 w 19976"/>
                    <a:gd name="connsiteY7" fmla="*/ 6100 h 15310"/>
                    <a:gd name="connsiteX8" fmla="*/ 9270 w 19976"/>
                    <a:gd name="connsiteY8" fmla="*/ 6340 h 15310"/>
                    <a:gd name="connsiteX9" fmla="*/ 8672 w 19976"/>
                    <a:gd name="connsiteY9" fmla="*/ 7057 h 15310"/>
                    <a:gd name="connsiteX10" fmla="*/ 8015 w 19976"/>
                    <a:gd name="connsiteY10" fmla="*/ 7835 h 15310"/>
                    <a:gd name="connsiteX11" fmla="*/ 7895 w 19976"/>
                    <a:gd name="connsiteY11" fmla="*/ 7954 h 15310"/>
                    <a:gd name="connsiteX12" fmla="*/ 7357 w 19976"/>
                    <a:gd name="connsiteY12" fmla="*/ 8612 h 15310"/>
                    <a:gd name="connsiteX13" fmla="*/ 7177 w 19976"/>
                    <a:gd name="connsiteY13" fmla="*/ 8851 h 15310"/>
                    <a:gd name="connsiteX14" fmla="*/ 6699 w 19976"/>
                    <a:gd name="connsiteY14" fmla="*/ 9450 h 15310"/>
                    <a:gd name="connsiteX15" fmla="*/ 6041 w 19976"/>
                    <a:gd name="connsiteY15" fmla="*/ 10287 h 15310"/>
                    <a:gd name="connsiteX16" fmla="*/ 5443 w 19976"/>
                    <a:gd name="connsiteY16" fmla="*/ 11005 h 15310"/>
                    <a:gd name="connsiteX17" fmla="*/ 5144 w 19976"/>
                    <a:gd name="connsiteY17" fmla="*/ 11363 h 15310"/>
                    <a:gd name="connsiteX18" fmla="*/ 4725 w 19976"/>
                    <a:gd name="connsiteY18" fmla="*/ 11483 h 15310"/>
                    <a:gd name="connsiteX19" fmla="*/ 2392 w 19976"/>
                    <a:gd name="connsiteY19" fmla="*/ 12260 h 15310"/>
                    <a:gd name="connsiteX20" fmla="*/ 1615 w 19976"/>
                    <a:gd name="connsiteY20" fmla="*/ 13277 h 15310"/>
                    <a:gd name="connsiteX21" fmla="*/ 1495 w 19976"/>
                    <a:gd name="connsiteY21" fmla="*/ 13397 h 15310"/>
                    <a:gd name="connsiteX22" fmla="*/ 1495 w 19976"/>
                    <a:gd name="connsiteY22" fmla="*/ 13397 h 15310"/>
                    <a:gd name="connsiteX23" fmla="*/ 1436 w 19976"/>
                    <a:gd name="connsiteY23" fmla="*/ 13516 h 15310"/>
                    <a:gd name="connsiteX24" fmla="*/ 599 w 19976"/>
                    <a:gd name="connsiteY24" fmla="*/ 14593 h 15310"/>
                    <a:gd name="connsiteX25" fmla="*/ 0 w 19976"/>
                    <a:gd name="connsiteY25" fmla="*/ 15311 h 1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76" h="15310">
                      <a:moveTo>
                        <a:pt x="19976" y="1675"/>
                      </a:moveTo>
                      <a:lnTo>
                        <a:pt x="16926" y="718"/>
                      </a:lnTo>
                      <a:lnTo>
                        <a:pt x="16507" y="598"/>
                      </a:lnTo>
                      <a:lnTo>
                        <a:pt x="16268" y="538"/>
                      </a:lnTo>
                      <a:lnTo>
                        <a:pt x="14952" y="120"/>
                      </a:lnTo>
                      <a:lnTo>
                        <a:pt x="14474" y="0"/>
                      </a:lnTo>
                      <a:lnTo>
                        <a:pt x="10706" y="4545"/>
                      </a:lnTo>
                      <a:lnTo>
                        <a:pt x="9450" y="6100"/>
                      </a:lnTo>
                      <a:lnTo>
                        <a:pt x="9270" y="6340"/>
                      </a:lnTo>
                      <a:lnTo>
                        <a:pt x="8672" y="7057"/>
                      </a:lnTo>
                      <a:lnTo>
                        <a:pt x="8015" y="7835"/>
                      </a:lnTo>
                      <a:lnTo>
                        <a:pt x="7895" y="7954"/>
                      </a:lnTo>
                      <a:lnTo>
                        <a:pt x="7357" y="8612"/>
                      </a:lnTo>
                      <a:lnTo>
                        <a:pt x="7177" y="8851"/>
                      </a:lnTo>
                      <a:lnTo>
                        <a:pt x="6699" y="9450"/>
                      </a:lnTo>
                      <a:lnTo>
                        <a:pt x="6041" y="10287"/>
                      </a:lnTo>
                      <a:lnTo>
                        <a:pt x="5443" y="11005"/>
                      </a:lnTo>
                      <a:lnTo>
                        <a:pt x="5144" y="11363"/>
                      </a:lnTo>
                      <a:lnTo>
                        <a:pt x="4725" y="11483"/>
                      </a:lnTo>
                      <a:lnTo>
                        <a:pt x="2392" y="12260"/>
                      </a:lnTo>
                      <a:lnTo>
                        <a:pt x="1615" y="13277"/>
                      </a:lnTo>
                      <a:lnTo>
                        <a:pt x="1495" y="13397"/>
                      </a:lnTo>
                      <a:lnTo>
                        <a:pt x="1495" y="13397"/>
                      </a:lnTo>
                      <a:lnTo>
                        <a:pt x="1436" y="13516"/>
                      </a:lnTo>
                      <a:lnTo>
                        <a:pt x="599" y="14593"/>
                      </a:lnTo>
                      <a:lnTo>
                        <a:pt x="0" y="15311"/>
                      </a:lnTo>
                    </a:path>
                  </a:pathLst>
                </a:custGeom>
                <a:noFill/>
                <a:ln w="6350" cap="rnd">
                  <a:solidFill>
                    <a:schemeClr val="bg1">
                      <a:alpha val="40000"/>
                    </a:schemeClr>
                  </a:solidFill>
                  <a:prstDash val="solid"/>
                  <a:round/>
                </a:ln>
              </p:spPr>
              <p:txBody>
                <a:bodyPr rtlCol="0" anchor="ctr"/>
                <a:lstStyle/>
                <a:p>
                  <a:endParaRPr lang="en-GB"/>
                </a:p>
              </p:txBody>
            </p:sp>
            <p:sp>
              <p:nvSpPr>
                <p:cNvPr id="6598" name="Vrije vorm: vorm 6597">
                  <a:extLst>
                    <a:ext uri="{FF2B5EF4-FFF2-40B4-BE49-F238E27FC236}">
                      <a16:creationId xmlns:a16="http://schemas.microsoft.com/office/drawing/2014/main" id="{30519867-4993-4926-BFCB-E55355211ACE}"/>
                    </a:ext>
                  </a:extLst>
                </p:cNvPr>
                <p:cNvSpPr/>
                <p:nvPr/>
              </p:nvSpPr>
              <p:spPr>
                <a:xfrm>
                  <a:off x="6901773" y="1892639"/>
                  <a:ext cx="17702" cy="14712"/>
                </a:xfrm>
                <a:custGeom>
                  <a:avLst/>
                  <a:gdLst>
                    <a:gd name="connsiteX0" fmla="*/ 17703 w 17702"/>
                    <a:gd name="connsiteY0" fmla="*/ 1615 h 14712"/>
                    <a:gd name="connsiteX1" fmla="*/ 16985 w 17702"/>
                    <a:gd name="connsiteY1" fmla="*/ 1376 h 14712"/>
                    <a:gd name="connsiteX2" fmla="*/ 16447 w 17702"/>
                    <a:gd name="connsiteY2" fmla="*/ 1196 h 14712"/>
                    <a:gd name="connsiteX3" fmla="*/ 15968 w 17702"/>
                    <a:gd name="connsiteY3" fmla="*/ 1017 h 14712"/>
                    <a:gd name="connsiteX4" fmla="*/ 15669 w 17702"/>
                    <a:gd name="connsiteY4" fmla="*/ 957 h 14712"/>
                    <a:gd name="connsiteX5" fmla="*/ 14952 w 17702"/>
                    <a:gd name="connsiteY5" fmla="*/ 718 h 14712"/>
                    <a:gd name="connsiteX6" fmla="*/ 14593 w 17702"/>
                    <a:gd name="connsiteY6" fmla="*/ 598 h 14712"/>
                    <a:gd name="connsiteX7" fmla="*/ 12739 w 17702"/>
                    <a:gd name="connsiteY7" fmla="*/ 0 h 14712"/>
                    <a:gd name="connsiteX8" fmla="*/ 12679 w 17702"/>
                    <a:gd name="connsiteY8" fmla="*/ 0 h 14712"/>
                    <a:gd name="connsiteX9" fmla="*/ 9808 w 17702"/>
                    <a:gd name="connsiteY9" fmla="*/ 3289 h 14712"/>
                    <a:gd name="connsiteX10" fmla="*/ 8552 w 17702"/>
                    <a:gd name="connsiteY10" fmla="*/ 4785 h 14712"/>
                    <a:gd name="connsiteX11" fmla="*/ 8134 w 17702"/>
                    <a:gd name="connsiteY11" fmla="*/ 5263 h 14712"/>
                    <a:gd name="connsiteX12" fmla="*/ 6279 w 17702"/>
                    <a:gd name="connsiteY12" fmla="*/ 7416 h 14712"/>
                    <a:gd name="connsiteX13" fmla="*/ 6100 w 17702"/>
                    <a:gd name="connsiteY13" fmla="*/ 7655 h 14712"/>
                    <a:gd name="connsiteX14" fmla="*/ 5024 w 17702"/>
                    <a:gd name="connsiteY14" fmla="*/ 8911 h 14712"/>
                    <a:gd name="connsiteX15" fmla="*/ 4964 w 17702"/>
                    <a:gd name="connsiteY15" fmla="*/ 8971 h 14712"/>
                    <a:gd name="connsiteX16" fmla="*/ 4904 w 17702"/>
                    <a:gd name="connsiteY16" fmla="*/ 9031 h 14712"/>
                    <a:gd name="connsiteX17" fmla="*/ 4784 w 17702"/>
                    <a:gd name="connsiteY17" fmla="*/ 9150 h 14712"/>
                    <a:gd name="connsiteX18" fmla="*/ 4605 w 17702"/>
                    <a:gd name="connsiteY18" fmla="*/ 9390 h 14712"/>
                    <a:gd name="connsiteX19" fmla="*/ 3708 w 17702"/>
                    <a:gd name="connsiteY19" fmla="*/ 10466 h 14712"/>
                    <a:gd name="connsiteX20" fmla="*/ 3648 w 17702"/>
                    <a:gd name="connsiteY20" fmla="*/ 10526 h 14712"/>
                    <a:gd name="connsiteX21" fmla="*/ 3169 w 17702"/>
                    <a:gd name="connsiteY21" fmla="*/ 11064 h 14712"/>
                    <a:gd name="connsiteX22" fmla="*/ 2930 w 17702"/>
                    <a:gd name="connsiteY22" fmla="*/ 11304 h 14712"/>
                    <a:gd name="connsiteX23" fmla="*/ 2691 w 17702"/>
                    <a:gd name="connsiteY23" fmla="*/ 11603 h 14712"/>
                    <a:gd name="connsiteX24" fmla="*/ 2332 w 17702"/>
                    <a:gd name="connsiteY24" fmla="*/ 12021 h 14712"/>
                    <a:gd name="connsiteX25" fmla="*/ 1794 w 17702"/>
                    <a:gd name="connsiteY25" fmla="*/ 12619 h 14712"/>
                    <a:gd name="connsiteX26" fmla="*/ 0 w 17702"/>
                    <a:gd name="connsiteY26" fmla="*/ 14713 h 1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702" h="14712">
                      <a:moveTo>
                        <a:pt x="17703" y="1615"/>
                      </a:moveTo>
                      <a:lnTo>
                        <a:pt x="16985" y="1376"/>
                      </a:lnTo>
                      <a:lnTo>
                        <a:pt x="16447" y="1196"/>
                      </a:lnTo>
                      <a:lnTo>
                        <a:pt x="15968" y="1017"/>
                      </a:lnTo>
                      <a:lnTo>
                        <a:pt x="15669" y="957"/>
                      </a:lnTo>
                      <a:lnTo>
                        <a:pt x="14952" y="718"/>
                      </a:lnTo>
                      <a:lnTo>
                        <a:pt x="14593" y="598"/>
                      </a:lnTo>
                      <a:lnTo>
                        <a:pt x="12739" y="0"/>
                      </a:lnTo>
                      <a:lnTo>
                        <a:pt x="12679" y="0"/>
                      </a:lnTo>
                      <a:lnTo>
                        <a:pt x="9808" y="3289"/>
                      </a:lnTo>
                      <a:lnTo>
                        <a:pt x="8552" y="4785"/>
                      </a:lnTo>
                      <a:lnTo>
                        <a:pt x="8134" y="5263"/>
                      </a:lnTo>
                      <a:lnTo>
                        <a:pt x="6279" y="7416"/>
                      </a:lnTo>
                      <a:lnTo>
                        <a:pt x="6100" y="7655"/>
                      </a:lnTo>
                      <a:lnTo>
                        <a:pt x="5024" y="8911"/>
                      </a:lnTo>
                      <a:lnTo>
                        <a:pt x="4964" y="8971"/>
                      </a:lnTo>
                      <a:lnTo>
                        <a:pt x="4904" y="9031"/>
                      </a:lnTo>
                      <a:lnTo>
                        <a:pt x="4784" y="9150"/>
                      </a:lnTo>
                      <a:lnTo>
                        <a:pt x="4605" y="9390"/>
                      </a:lnTo>
                      <a:lnTo>
                        <a:pt x="3708" y="10466"/>
                      </a:lnTo>
                      <a:lnTo>
                        <a:pt x="3648" y="10526"/>
                      </a:lnTo>
                      <a:lnTo>
                        <a:pt x="3169" y="11064"/>
                      </a:lnTo>
                      <a:lnTo>
                        <a:pt x="2930" y="11304"/>
                      </a:lnTo>
                      <a:lnTo>
                        <a:pt x="2691" y="11603"/>
                      </a:lnTo>
                      <a:lnTo>
                        <a:pt x="2332" y="12021"/>
                      </a:lnTo>
                      <a:lnTo>
                        <a:pt x="1794" y="12619"/>
                      </a:lnTo>
                      <a:lnTo>
                        <a:pt x="0" y="14713"/>
                      </a:lnTo>
                    </a:path>
                  </a:pathLst>
                </a:custGeom>
                <a:noFill/>
                <a:ln w="6350" cap="rnd">
                  <a:solidFill>
                    <a:schemeClr val="bg1">
                      <a:alpha val="40000"/>
                    </a:schemeClr>
                  </a:solidFill>
                  <a:prstDash val="solid"/>
                  <a:round/>
                </a:ln>
              </p:spPr>
              <p:txBody>
                <a:bodyPr rtlCol="0" anchor="ctr"/>
                <a:lstStyle/>
                <a:p>
                  <a:endParaRPr lang="en-GB"/>
                </a:p>
              </p:txBody>
            </p:sp>
            <p:sp>
              <p:nvSpPr>
                <p:cNvPr id="6599" name="Vrije vorm: vorm 6598">
                  <a:extLst>
                    <a:ext uri="{FF2B5EF4-FFF2-40B4-BE49-F238E27FC236}">
                      <a16:creationId xmlns:a16="http://schemas.microsoft.com/office/drawing/2014/main" id="{DEC6C3B7-C519-4140-844E-28BC8398F4AD}"/>
                    </a:ext>
                  </a:extLst>
                </p:cNvPr>
                <p:cNvSpPr/>
                <p:nvPr/>
              </p:nvSpPr>
              <p:spPr>
                <a:xfrm>
                  <a:off x="7078025" y="1806039"/>
                  <a:ext cx="26853" cy="14293"/>
                </a:xfrm>
                <a:custGeom>
                  <a:avLst/>
                  <a:gdLst>
                    <a:gd name="connsiteX0" fmla="*/ 0 w 26853"/>
                    <a:gd name="connsiteY0" fmla="*/ 5622 h 14293"/>
                    <a:gd name="connsiteX1" fmla="*/ 1375 w 26853"/>
                    <a:gd name="connsiteY1" fmla="*/ 3230 h 14293"/>
                    <a:gd name="connsiteX2" fmla="*/ 1435 w 26853"/>
                    <a:gd name="connsiteY2" fmla="*/ 3110 h 14293"/>
                    <a:gd name="connsiteX3" fmla="*/ 1495 w 26853"/>
                    <a:gd name="connsiteY3" fmla="*/ 2990 h 14293"/>
                    <a:gd name="connsiteX4" fmla="*/ 1615 w 26853"/>
                    <a:gd name="connsiteY4" fmla="*/ 2751 h 14293"/>
                    <a:gd name="connsiteX5" fmla="*/ 2333 w 26853"/>
                    <a:gd name="connsiteY5" fmla="*/ 1555 h 14293"/>
                    <a:gd name="connsiteX6" fmla="*/ 2333 w 26853"/>
                    <a:gd name="connsiteY6" fmla="*/ 1555 h 14293"/>
                    <a:gd name="connsiteX7" fmla="*/ 2452 w 26853"/>
                    <a:gd name="connsiteY7" fmla="*/ 1316 h 14293"/>
                    <a:gd name="connsiteX8" fmla="*/ 2691 w 26853"/>
                    <a:gd name="connsiteY8" fmla="*/ 957 h 14293"/>
                    <a:gd name="connsiteX9" fmla="*/ 2751 w 26853"/>
                    <a:gd name="connsiteY9" fmla="*/ 837 h 14293"/>
                    <a:gd name="connsiteX10" fmla="*/ 2871 w 26853"/>
                    <a:gd name="connsiteY10" fmla="*/ 598 h 14293"/>
                    <a:gd name="connsiteX11" fmla="*/ 3050 w 26853"/>
                    <a:gd name="connsiteY11" fmla="*/ 538 h 14293"/>
                    <a:gd name="connsiteX12" fmla="*/ 3110 w 26853"/>
                    <a:gd name="connsiteY12" fmla="*/ 538 h 14293"/>
                    <a:gd name="connsiteX13" fmla="*/ 3708 w 26853"/>
                    <a:gd name="connsiteY13" fmla="*/ 359 h 14293"/>
                    <a:gd name="connsiteX14" fmla="*/ 3708 w 26853"/>
                    <a:gd name="connsiteY14" fmla="*/ 359 h 14293"/>
                    <a:gd name="connsiteX15" fmla="*/ 3708 w 26853"/>
                    <a:gd name="connsiteY15" fmla="*/ 359 h 14293"/>
                    <a:gd name="connsiteX16" fmla="*/ 3768 w 26853"/>
                    <a:gd name="connsiteY16" fmla="*/ 359 h 14293"/>
                    <a:gd name="connsiteX17" fmla="*/ 5203 w 26853"/>
                    <a:gd name="connsiteY17" fmla="*/ 0 h 14293"/>
                    <a:gd name="connsiteX18" fmla="*/ 5263 w 26853"/>
                    <a:gd name="connsiteY18" fmla="*/ 60 h 14293"/>
                    <a:gd name="connsiteX19" fmla="*/ 5263 w 26853"/>
                    <a:gd name="connsiteY19" fmla="*/ 60 h 14293"/>
                    <a:gd name="connsiteX20" fmla="*/ 5383 w 26853"/>
                    <a:gd name="connsiteY20" fmla="*/ 120 h 14293"/>
                    <a:gd name="connsiteX21" fmla="*/ 5443 w 26853"/>
                    <a:gd name="connsiteY21" fmla="*/ 179 h 14293"/>
                    <a:gd name="connsiteX22" fmla="*/ 5681 w 26853"/>
                    <a:gd name="connsiteY22" fmla="*/ 299 h 14293"/>
                    <a:gd name="connsiteX23" fmla="*/ 5981 w 26853"/>
                    <a:gd name="connsiteY23" fmla="*/ 478 h 14293"/>
                    <a:gd name="connsiteX24" fmla="*/ 6997 w 26853"/>
                    <a:gd name="connsiteY24" fmla="*/ 1076 h 14293"/>
                    <a:gd name="connsiteX25" fmla="*/ 13815 w 26853"/>
                    <a:gd name="connsiteY25" fmla="*/ 4964 h 14293"/>
                    <a:gd name="connsiteX26" fmla="*/ 14055 w 26853"/>
                    <a:gd name="connsiteY26" fmla="*/ 5084 h 14293"/>
                    <a:gd name="connsiteX27" fmla="*/ 15490 w 26853"/>
                    <a:gd name="connsiteY27" fmla="*/ 5921 h 14293"/>
                    <a:gd name="connsiteX28" fmla="*/ 15490 w 26853"/>
                    <a:gd name="connsiteY28" fmla="*/ 5921 h 14293"/>
                    <a:gd name="connsiteX29" fmla="*/ 18360 w 26853"/>
                    <a:gd name="connsiteY29" fmla="*/ 7536 h 14293"/>
                    <a:gd name="connsiteX30" fmla="*/ 26255 w 26853"/>
                    <a:gd name="connsiteY30" fmla="*/ 12021 h 14293"/>
                    <a:gd name="connsiteX31" fmla="*/ 26674 w 26853"/>
                    <a:gd name="connsiteY31" fmla="*/ 13576 h 14293"/>
                    <a:gd name="connsiteX32" fmla="*/ 26853 w 26853"/>
                    <a:gd name="connsiteY32" fmla="*/ 14294 h 1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6853" h="14293">
                      <a:moveTo>
                        <a:pt x="0" y="5622"/>
                      </a:moveTo>
                      <a:lnTo>
                        <a:pt x="1375" y="3230"/>
                      </a:lnTo>
                      <a:lnTo>
                        <a:pt x="1435" y="3110"/>
                      </a:lnTo>
                      <a:lnTo>
                        <a:pt x="1495" y="2990"/>
                      </a:lnTo>
                      <a:lnTo>
                        <a:pt x="1615" y="2751"/>
                      </a:lnTo>
                      <a:lnTo>
                        <a:pt x="2333" y="1555"/>
                      </a:lnTo>
                      <a:lnTo>
                        <a:pt x="2333" y="1555"/>
                      </a:lnTo>
                      <a:lnTo>
                        <a:pt x="2452" y="1316"/>
                      </a:lnTo>
                      <a:lnTo>
                        <a:pt x="2691" y="957"/>
                      </a:lnTo>
                      <a:lnTo>
                        <a:pt x="2751" y="837"/>
                      </a:lnTo>
                      <a:lnTo>
                        <a:pt x="2871" y="598"/>
                      </a:lnTo>
                      <a:lnTo>
                        <a:pt x="3050" y="538"/>
                      </a:lnTo>
                      <a:lnTo>
                        <a:pt x="3110" y="538"/>
                      </a:lnTo>
                      <a:lnTo>
                        <a:pt x="3708" y="359"/>
                      </a:lnTo>
                      <a:lnTo>
                        <a:pt x="3708" y="359"/>
                      </a:lnTo>
                      <a:lnTo>
                        <a:pt x="3708" y="359"/>
                      </a:lnTo>
                      <a:lnTo>
                        <a:pt x="3768" y="359"/>
                      </a:lnTo>
                      <a:lnTo>
                        <a:pt x="5203" y="0"/>
                      </a:lnTo>
                      <a:lnTo>
                        <a:pt x="5263" y="60"/>
                      </a:lnTo>
                      <a:lnTo>
                        <a:pt x="5263" y="60"/>
                      </a:lnTo>
                      <a:lnTo>
                        <a:pt x="5383" y="120"/>
                      </a:lnTo>
                      <a:lnTo>
                        <a:pt x="5443" y="179"/>
                      </a:lnTo>
                      <a:lnTo>
                        <a:pt x="5681" y="299"/>
                      </a:lnTo>
                      <a:lnTo>
                        <a:pt x="5981" y="478"/>
                      </a:lnTo>
                      <a:lnTo>
                        <a:pt x="6997" y="1076"/>
                      </a:lnTo>
                      <a:lnTo>
                        <a:pt x="13815" y="4964"/>
                      </a:lnTo>
                      <a:lnTo>
                        <a:pt x="14055" y="5084"/>
                      </a:lnTo>
                      <a:lnTo>
                        <a:pt x="15490" y="5921"/>
                      </a:lnTo>
                      <a:lnTo>
                        <a:pt x="15490" y="5921"/>
                      </a:lnTo>
                      <a:lnTo>
                        <a:pt x="18360" y="7536"/>
                      </a:lnTo>
                      <a:lnTo>
                        <a:pt x="26255" y="12021"/>
                      </a:lnTo>
                      <a:lnTo>
                        <a:pt x="26674" y="13576"/>
                      </a:lnTo>
                      <a:lnTo>
                        <a:pt x="26853" y="14294"/>
                      </a:lnTo>
                    </a:path>
                  </a:pathLst>
                </a:custGeom>
                <a:noFill/>
                <a:ln w="6350" cap="rnd">
                  <a:solidFill>
                    <a:schemeClr val="bg1">
                      <a:alpha val="40000"/>
                    </a:schemeClr>
                  </a:solidFill>
                  <a:prstDash val="solid"/>
                  <a:round/>
                </a:ln>
              </p:spPr>
              <p:txBody>
                <a:bodyPr rtlCol="0" anchor="ctr"/>
                <a:lstStyle/>
                <a:p>
                  <a:endParaRPr lang="en-GB"/>
                </a:p>
              </p:txBody>
            </p:sp>
            <p:sp>
              <p:nvSpPr>
                <p:cNvPr id="6600" name="Vrije vorm: vorm 6599">
                  <a:extLst>
                    <a:ext uri="{FF2B5EF4-FFF2-40B4-BE49-F238E27FC236}">
                      <a16:creationId xmlns:a16="http://schemas.microsoft.com/office/drawing/2014/main" id="{B49CD6CF-797C-4948-A094-A32AAE1FBC6F}"/>
                    </a:ext>
                  </a:extLst>
                </p:cNvPr>
                <p:cNvSpPr/>
                <p:nvPr/>
              </p:nvSpPr>
              <p:spPr>
                <a:xfrm>
                  <a:off x="6703392" y="1886719"/>
                  <a:ext cx="18659" cy="15968"/>
                </a:xfrm>
                <a:custGeom>
                  <a:avLst/>
                  <a:gdLst>
                    <a:gd name="connsiteX0" fmla="*/ 18660 w 18659"/>
                    <a:gd name="connsiteY0" fmla="*/ 15370 h 15968"/>
                    <a:gd name="connsiteX1" fmla="*/ 17344 w 18659"/>
                    <a:gd name="connsiteY1" fmla="*/ 15969 h 15968"/>
                    <a:gd name="connsiteX2" fmla="*/ 17165 w 18659"/>
                    <a:gd name="connsiteY2" fmla="*/ 15909 h 15968"/>
                    <a:gd name="connsiteX3" fmla="*/ 16088 w 18659"/>
                    <a:gd name="connsiteY3" fmla="*/ 15490 h 15968"/>
                    <a:gd name="connsiteX4" fmla="*/ 11842 w 18659"/>
                    <a:gd name="connsiteY4" fmla="*/ 13935 h 15968"/>
                    <a:gd name="connsiteX5" fmla="*/ 9868 w 18659"/>
                    <a:gd name="connsiteY5" fmla="*/ 12380 h 15968"/>
                    <a:gd name="connsiteX6" fmla="*/ 9629 w 18659"/>
                    <a:gd name="connsiteY6" fmla="*/ 12201 h 15968"/>
                    <a:gd name="connsiteX7" fmla="*/ 7296 w 18659"/>
                    <a:gd name="connsiteY7" fmla="*/ 10406 h 15968"/>
                    <a:gd name="connsiteX8" fmla="*/ 8074 w 18659"/>
                    <a:gd name="connsiteY8" fmla="*/ 9150 h 15968"/>
                    <a:gd name="connsiteX9" fmla="*/ 7954 w 18659"/>
                    <a:gd name="connsiteY9" fmla="*/ 9091 h 15968"/>
                    <a:gd name="connsiteX10" fmla="*/ 6459 w 18659"/>
                    <a:gd name="connsiteY10" fmla="*/ 8194 h 15968"/>
                    <a:gd name="connsiteX11" fmla="*/ 2811 w 18659"/>
                    <a:gd name="connsiteY11" fmla="*/ 5981 h 15968"/>
                    <a:gd name="connsiteX12" fmla="*/ 1435 w 18659"/>
                    <a:gd name="connsiteY12" fmla="*/ 4964 h 15968"/>
                    <a:gd name="connsiteX13" fmla="*/ 0 w 18659"/>
                    <a:gd name="connsiteY13" fmla="*/ 3887 h 15968"/>
                    <a:gd name="connsiteX14" fmla="*/ 299 w 18659"/>
                    <a:gd name="connsiteY14" fmla="*/ 3409 h 15968"/>
                    <a:gd name="connsiteX15" fmla="*/ 419 w 18659"/>
                    <a:gd name="connsiteY15" fmla="*/ 3170 h 15968"/>
                    <a:gd name="connsiteX16" fmla="*/ 2093 w 18659"/>
                    <a:gd name="connsiteY16" fmla="*/ 359 h 15968"/>
                    <a:gd name="connsiteX17" fmla="*/ 2632 w 18659"/>
                    <a:gd name="connsiteY17" fmla="*/ 0 h 15968"/>
                    <a:gd name="connsiteX18" fmla="*/ 3289 w 18659"/>
                    <a:gd name="connsiteY18" fmla="*/ 299 h 15968"/>
                    <a:gd name="connsiteX19" fmla="*/ 4067 w 18659"/>
                    <a:gd name="connsiteY19" fmla="*/ 658 h 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659" h="15968">
                      <a:moveTo>
                        <a:pt x="18660" y="15370"/>
                      </a:moveTo>
                      <a:lnTo>
                        <a:pt x="17344" y="15969"/>
                      </a:lnTo>
                      <a:lnTo>
                        <a:pt x="17165" y="15909"/>
                      </a:lnTo>
                      <a:lnTo>
                        <a:pt x="16088" y="15490"/>
                      </a:lnTo>
                      <a:lnTo>
                        <a:pt x="11842" y="13935"/>
                      </a:lnTo>
                      <a:lnTo>
                        <a:pt x="9868" y="12380"/>
                      </a:lnTo>
                      <a:lnTo>
                        <a:pt x="9629" y="12201"/>
                      </a:lnTo>
                      <a:lnTo>
                        <a:pt x="7296" y="10406"/>
                      </a:lnTo>
                      <a:lnTo>
                        <a:pt x="8074" y="9150"/>
                      </a:lnTo>
                      <a:lnTo>
                        <a:pt x="7954" y="9091"/>
                      </a:lnTo>
                      <a:lnTo>
                        <a:pt x="6459" y="8194"/>
                      </a:lnTo>
                      <a:lnTo>
                        <a:pt x="2811" y="5981"/>
                      </a:lnTo>
                      <a:lnTo>
                        <a:pt x="1435" y="4964"/>
                      </a:lnTo>
                      <a:lnTo>
                        <a:pt x="0" y="3887"/>
                      </a:lnTo>
                      <a:lnTo>
                        <a:pt x="299" y="3409"/>
                      </a:lnTo>
                      <a:lnTo>
                        <a:pt x="419" y="3170"/>
                      </a:lnTo>
                      <a:lnTo>
                        <a:pt x="2093" y="359"/>
                      </a:lnTo>
                      <a:lnTo>
                        <a:pt x="2632" y="0"/>
                      </a:lnTo>
                      <a:lnTo>
                        <a:pt x="3289" y="299"/>
                      </a:lnTo>
                      <a:lnTo>
                        <a:pt x="4067" y="658"/>
                      </a:lnTo>
                    </a:path>
                  </a:pathLst>
                </a:custGeom>
                <a:noFill/>
                <a:ln w="6350" cap="rnd">
                  <a:solidFill>
                    <a:schemeClr val="bg1">
                      <a:alpha val="40000"/>
                    </a:schemeClr>
                  </a:solidFill>
                  <a:prstDash val="solid"/>
                  <a:round/>
                </a:ln>
              </p:spPr>
              <p:txBody>
                <a:bodyPr rtlCol="0" anchor="ctr"/>
                <a:lstStyle/>
                <a:p>
                  <a:endParaRPr lang="en-GB"/>
                </a:p>
              </p:txBody>
            </p:sp>
            <p:sp>
              <p:nvSpPr>
                <p:cNvPr id="6601" name="Vrije vorm: vorm 6600">
                  <a:extLst>
                    <a:ext uri="{FF2B5EF4-FFF2-40B4-BE49-F238E27FC236}">
                      <a16:creationId xmlns:a16="http://schemas.microsoft.com/office/drawing/2014/main" id="{8AAE4F27-5229-42AA-8FAF-39F94793D0E2}"/>
                    </a:ext>
                  </a:extLst>
                </p:cNvPr>
                <p:cNvSpPr/>
                <p:nvPr/>
              </p:nvSpPr>
              <p:spPr>
                <a:xfrm>
                  <a:off x="6613442" y="1929421"/>
                  <a:ext cx="5562" cy="2751"/>
                </a:xfrm>
                <a:custGeom>
                  <a:avLst/>
                  <a:gdLst>
                    <a:gd name="connsiteX0" fmla="*/ 0 w 5562"/>
                    <a:gd name="connsiteY0" fmla="*/ 2751 h 2751"/>
                    <a:gd name="connsiteX1" fmla="*/ 598 w 5562"/>
                    <a:gd name="connsiteY1" fmla="*/ 2452 h 2751"/>
                    <a:gd name="connsiteX2" fmla="*/ 5562 w 5562"/>
                    <a:gd name="connsiteY2" fmla="*/ 0 h 2751"/>
                  </a:gdLst>
                  <a:ahLst/>
                  <a:cxnLst>
                    <a:cxn ang="0">
                      <a:pos x="connsiteX0" y="connsiteY0"/>
                    </a:cxn>
                    <a:cxn ang="0">
                      <a:pos x="connsiteX1" y="connsiteY1"/>
                    </a:cxn>
                    <a:cxn ang="0">
                      <a:pos x="connsiteX2" y="connsiteY2"/>
                    </a:cxn>
                  </a:cxnLst>
                  <a:rect l="l" t="t" r="r" b="b"/>
                  <a:pathLst>
                    <a:path w="5562" h="2751">
                      <a:moveTo>
                        <a:pt x="0" y="2751"/>
                      </a:moveTo>
                      <a:lnTo>
                        <a:pt x="598" y="2452"/>
                      </a:lnTo>
                      <a:lnTo>
                        <a:pt x="5562" y="0"/>
                      </a:lnTo>
                    </a:path>
                  </a:pathLst>
                </a:custGeom>
                <a:noFill/>
                <a:ln w="6350" cap="rnd">
                  <a:solidFill>
                    <a:schemeClr val="bg1">
                      <a:alpha val="40000"/>
                    </a:schemeClr>
                  </a:solidFill>
                  <a:prstDash val="solid"/>
                  <a:round/>
                </a:ln>
              </p:spPr>
              <p:txBody>
                <a:bodyPr rtlCol="0" anchor="ctr"/>
                <a:lstStyle/>
                <a:p>
                  <a:endParaRPr lang="en-GB"/>
                </a:p>
              </p:txBody>
            </p:sp>
            <p:sp>
              <p:nvSpPr>
                <p:cNvPr id="6602" name="Vrije vorm: vorm 6601">
                  <a:extLst>
                    <a:ext uri="{FF2B5EF4-FFF2-40B4-BE49-F238E27FC236}">
                      <a16:creationId xmlns:a16="http://schemas.microsoft.com/office/drawing/2014/main" id="{71153C9C-2E79-4D0B-BCBC-6DDCB30C6569}"/>
                    </a:ext>
                  </a:extLst>
                </p:cNvPr>
                <p:cNvSpPr/>
                <p:nvPr/>
              </p:nvSpPr>
              <p:spPr>
                <a:xfrm>
                  <a:off x="6815591" y="1752212"/>
                  <a:ext cx="6578" cy="10406"/>
                </a:xfrm>
                <a:custGeom>
                  <a:avLst/>
                  <a:gdLst>
                    <a:gd name="connsiteX0" fmla="*/ 478 w 6578"/>
                    <a:gd name="connsiteY0" fmla="*/ 10406 h 10406"/>
                    <a:gd name="connsiteX1" fmla="*/ 60 w 6578"/>
                    <a:gd name="connsiteY1" fmla="*/ 8971 h 10406"/>
                    <a:gd name="connsiteX2" fmla="*/ 0 w 6578"/>
                    <a:gd name="connsiteY2" fmla="*/ 8672 h 10406"/>
                    <a:gd name="connsiteX3" fmla="*/ 2392 w 6578"/>
                    <a:gd name="connsiteY3" fmla="*/ 4545 h 10406"/>
                    <a:gd name="connsiteX4" fmla="*/ 4844 w 6578"/>
                    <a:gd name="connsiteY4" fmla="*/ 419 h 10406"/>
                    <a:gd name="connsiteX5" fmla="*/ 5143 w 6578"/>
                    <a:gd name="connsiteY5" fmla="*/ 359 h 10406"/>
                    <a:gd name="connsiteX6" fmla="*/ 6579 w 6578"/>
                    <a:gd name="connsiteY6" fmla="*/ 0 h 1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 h="10406">
                      <a:moveTo>
                        <a:pt x="478" y="10406"/>
                      </a:moveTo>
                      <a:lnTo>
                        <a:pt x="60" y="8971"/>
                      </a:lnTo>
                      <a:lnTo>
                        <a:pt x="0" y="8672"/>
                      </a:lnTo>
                      <a:lnTo>
                        <a:pt x="2392" y="4545"/>
                      </a:lnTo>
                      <a:lnTo>
                        <a:pt x="4844" y="419"/>
                      </a:lnTo>
                      <a:lnTo>
                        <a:pt x="5143" y="359"/>
                      </a:lnTo>
                      <a:lnTo>
                        <a:pt x="6579" y="0"/>
                      </a:lnTo>
                    </a:path>
                  </a:pathLst>
                </a:custGeom>
                <a:noFill/>
                <a:ln w="6350" cap="rnd">
                  <a:solidFill>
                    <a:schemeClr val="bg1">
                      <a:alpha val="40000"/>
                    </a:schemeClr>
                  </a:solidFill>
                  <a:prstDash val="solid"/>
                  <a:round/>
                </a:ln>
              </p:spPr>
              <p:txBody>
                <a:bodyPr rtlCol="0" anchor="ctr"/>
                <a:lstStyle/>
                <a:p>
                  <a:endParaRPr lang="en-GB"/>
                </a:p>
              </p:txBody>
            </p:sp>
            <p:sp>
              <p:nvSpPr>
                <p:cNvPr id="6603" name="Vrije vorm: vorm 6602">
                  <a:extLst>
                    <a:ext uri="{FF2B5EF4-FFF2-40B4-BE49-F238E27FC236}">
                      <a16:creationId xmlns:a16="http://schemas.microsoft.com/office/drawing/2014/main" id="{5CE5CB19-3086-47F1-8CB8-3F734AE83B38}"/>
                    </a:ext>
                  </a:extLst>
                </p:cNvPr>
                <p:cNvSpPr/>
                <p:nvPr/>
              </p:nvSpPr>
              <p:spPr>
                <a:xfrm>
                  <a:off x="7024856" y="1786242"/>
                  <a:ext cx="9868" cy="17523"/>
                </a:xfrm>
                <a:custGeom>
                  <a:avLst/>
                  <a:gdLst>
                    <a:gd name="connsiteX0" fmla="*/ 0 w 9868"/>
                    <a:gd name="connsiteY0" fmla="*/ 17523 h 17523"/>
                    <a:gd name="connsiteX1" fmla="*/ 180 w 9868"/>
                    <a:gd name="connsiteY1" fmla="*/ 15610 h 17523"/>
                    <a:gd name="connsiteX2" fmla="*/ 478 w 9868"/>
                    <a:gd name="connsiteY2" fmla="*/ 12141 h 17523"/>
                    <a:gd name="connsiteX3" fmla="*/ 1795 w 9868"/>
                    <a:gd name="connsiteY3" fmla="*/ 9150 h 17523"/>
                    <a:gd name="connsiteX4" fmla="*/ 3708 w 9868"/>
                    <a:gd name="connsiteY4" fmla="*/ 4725 h 17523"/>
                    <a:gd name="connsiteX5" fmla="*/ 5622 w 9868"/>
                    <a:gd name="connsiteY5" fmla="*/ 2632 h 17523"/>
                    <a:gd name="connsiteX6" fmla="*/ 6938 w 9868"/>
                    <a:gd name="connsiteY6" fmla="*/ 1136 h 17523"/>
                    <a:gd name="connsiteX7" fmla="*/ 7954 w 9868"/>
                    <a:gd name="connsiteY7" fmla="*/ 0 h 17523"/>
                    <a:gd name="connsiteX8" fmla="*/ 9868 w 9868"/>
                    <a:gd name="connsiteY8" fmla="*/ 419 h 1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8" h="17523">
                      <a:moveTo>
                        <a:pt x="0" y="17523"/>
                      </a:moveTo>
                      <a:lnTo>
                        <a:pt x="180" y="15610"/>
                      </a:lnTo>
                      <a:lnTo>
                        <a:pt x="478" y="12141"/>
                      </a:lnTo>
                      <a:lnTo>
                        <a:pt x="1795" y="9150"/>
                      </a:lnTo>
                      <a:lnTo>
                        <a:pt x="3708" y="4725"/>
                      </a:lnTo>
                      <a:lnTo>
                        <a:pt x="5622" y="2632"/>
                      </a:lnTo>
                      <a:lnTo>
                        <a:pt x="6938" y="1136"/>
                      </a:lnTo>
                      <a:lnTo>
                        <a:pt x="7954" y="0"/>
                      </a:lnTo>
                      <a:lnTo>
                        <a:pt x="9868" y="419"/>
                      </a:lnTo>
                    </a:path>
                  </a:pathLst>
                </a:custGeom>
                <a:noFill/>
                <a:ln w="6350" cap="rnd">
                  <a:solidFill>
                    <a:schemeClr val="bg1">
                      <a:alpha val="40000"/>
                    </a:schemeClr>
                  </a:solidFill>
                  <a:prstDash val="solid"/>
                  <a:round/>
                </a:ln>
              </p:spPr>
              <p:txBody>
                <a:bodyPr rtlCol="0" anchor="ctr"/>
                <a:lstStyle/>
                <a:p>
                  <a:endParaRPr lang="en-GB"/>
                </a:p>
              </p:txBody>
            </p:sp>
            <p:sp>
              <p:nvSpPr>
                <p:cNvPr id="6604" name="Vrije vorm: vorm 6603">
                  <a:extLst>
                    <a:ext uri="{FF2B5EF4-FFF2-40B4-BE49-F238E27FC236}">
                      <a16:creationId xmlns:a16="http://schemas.microsoft.com/office/drawing/2014/main" id="{D50A8128-604E-480A-938E-B0623107A0A9}"/>
                    </a:ext>
                  </a:extLst>
                </p:cNvPr>
                <p:cNvSpPr/>
                <p:nvPr/>
              </p:nvSpPr>
              <p:spPr>
                <a:xfrm>
                  <a:off x="7072402" y="1859745"/>
                  <a:ext cx="10287" cy="37259"/>
                </a:xfrm>
                <a:custGeom>
                  <a:avLst/>
                  <a:gdLst>
                    <a:gd name="connsiteX0" fmla="*/ 0 w 10287"/>
                    <a:gd name="connsiteY0" fmla="*/ 0 h 37259"/>
                    <a:gd name="connsiteX1" fmla="*/ 4187 w 10287"/>
                    <a:gd name="connsiteY1" fmla="*/ 2990 h 37259"/>
                    <a:gd name="connsiteX2" fmla="*/ 9868 w 10287"/>
                    <a:gd name="connsiteY2" fmla="*/ 8612 h 37259"/>
                    <a:gd name="connsiteX3" fmla="*/ 10108 w 10287"/>
                    <a:gd name="connsiteY3" fmla="*/ 9150 h 37259"/>
                    <a:gd name="connsiteX4" fmla="*/ 10228 w 10287"/>
                    <a:gd name="connsiteY4" fmla="*/ 9390 h 37259"/>
                    <a:gd name="connsiteX5" fmla="*/ 10287 w 10287"/>
                    <a:gd name="connsiteY5" fmla="*/ 9689 h 37259"/>
                    <a:gd name="connsiteX6" fmla="*/ 10228 w 10287"/>
                    <a:gd name="connsiteY6" fmla="*/ 10586 h 37259"/>
                    <a:gd name="connsiteX7" fmla="*/ 10228 w 10287"/>
                    <a:gd name="connsiteY7" fmla="*/ 10765 h 37259"/>
                    <a:gd name="connsiteX8" fmla="*/ 10228 w 10287"/>
                    <a:gd name="connsiteY8" fmla="*/ 11005 h 37259"/>
                    <a:gd name="connsiteX9" fmla="*/ 10228 w 10287"/>
                    <a:gd name="connsiteY9" fmla="*/ 11184 h 37259"/>
                    <a:gd name="connsiteX10" fmla="*/ 10228 w 10287"/>
                    <a:gd name="connsiteY10" fmla="*/ 11603 h 37259"/>
                    <a:gd name="connsiteX11" fmla="*/ 10228 w 10287"/>
                    <a:gd name="connsiteY11" fmla="*/ 11782 h 37259"/>
                    <a:gd name="connsiteX12" fmla="*/ 10228 w 10287"/>
                    <a:gd name="connsiteY12" fmla="*/ 12021 h 37259"/>
                    <a:gd name="connsiteX13" fmla="*/ 10228 w 10287"/>
                    <a:gd name="connsiteY13" fmla="*/ 12201 h 37259"/>
                    <a:gd name="connsiteX14" fmla="*/ 10168 w 10287"/>
                    <a:gd name="connsiteY14" fmla="*/ 14174 h 37259"/>
                    <a:gd name="connsiteX15" fmla="*/ 10108 w 10287"/>
                    <a:gd name="connsiteY15" fmla="*/ 15131 h 37259"/>
                    <a:gd name="connsiteX16" fmla="*/ 9988 w 10287"/>
                    <a:gd name="connsiteY16" fmla="*/ 18122 h 37259"/>
                    <a:gd name="connsiteX17" fmla="*/ 9928 w 10287"/>
                    <a:gd name="connsiteY17" fmla="*/ 18899 h 37259"/>
                    <a:gd name="connsiteX18" fmla="*/ 9749 w 10287"/>
                    <a:gd name="connsiteY18" fmla="*/ 19856 h 37259"/>
                    <a:gd name="connsiteX19" fmla="*/ 9629 w 10287"/>
                    <a:gd name="connsiteY19" fmla="*/ 20454 h 37259"/>
                    <a:gd name="connsiteX20" fmla="*/ 9629 w 10287"/>
                    <a:gd name="connsiteY20" fmla="*/ 20454 h 37259"/>
                    <a:gd name="connsiteX21" fmla="*/ 9570 w 10287"/>
                    <a:gd name="connsiteY21" fmla="*/ 20693 h 37259"/>
                    <a:gd name="connsiteX22" fmla="*/ 9570 w 10287"/>
                    <a:gd name="connsiteY22" fmla="*/ 20693 h 37259"/>
                    <a:gd name="connsiteX23" fmla="*/ 9570 w 10287"/>
                    <a:gd name="connsiteY23" fmla="*/ 20813 h 37259"/>
                    <a:gd name="connsiteX24" fmla="*/ 9570 w 10287"/>
                    <a:gd name="connsiteY24" fmla="*/ 20813 h 37259"/>
                    <a:gd name="connsiteX25" fmla="*/ 9390 w 10287"/>
                    <a:gd name="connsiteY25" fmla="*/ 21590 h 37259"/>
                    <a:gd name="connsiteX26" fmla="*/ 8134 w 10287"/>
                    <a:gd name="connsiteY26" fmla="*/ 27810 h 37259"/>
                    <a:gd name="connsiteX27" fmla="*/ 6758 w 10287"/>
                    <a:gd name="connsiteY27" fmla="*/ 31997 h 37259"/>
                    <a:gd name="connsiteX28" fmla="*/ 6460 w 10287"/>
                    <a:gd name="connsiteY28" fmla="*/ 32834 h 37259"/>
                    <a:gd name="connsiteX29" fmla="*/ 5323 w 10287"/>
                    <a:gd name="connsiteY29" fmla="*/ 36243 h 37259"/>
                    <a:gd name="connsiteX30" fmla="*/ 5742 w 10287"/>
                    <a:gd name="connsiteY30" fmla="*/ 37260 h 37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287" h="37259">
                      <a:moveTo>
                        <a:pt x="0" y="0"/>
                      </a:moveTo>
                      <a:lnTo>
                        <a:pt x="4187" y="2990"/>
                      </a:lnTo>
                      <a:lnTo>
                        <a:pt x="9868" y="8612"/>
                      </a:lnTo>
                      <a:lnTo>
                        <a:pt x="10108" y="9150"/>
                      </a:lnTo>
                      <a:lnTo>
                        <a:pt x="10228" y="9390"/>
                      </a:lnTo>
                      <a:lnTo>
                        <a:pt x="10287" y="9689"/>
                      </a:lnTo>
                      <a:lnTo>
                        <a:pt x="10228" y="10586"/>
                      </a:lnTo>
                      <a:lnTo>
                        <a:pt x="10228" y="10765"/>
                      </a:lnTo>
                      <a:lnTo>
                        <a:pt x="10228" y="11005"/>
                      </a:lnTo>
                      <a:lnTo>
                        <a:pt x="10228" y="11184"/>
                      </a:lnTo>
                      <a:lnTo>
                        <a:pt x="10228" y="11603"/>
                      </a:lnTo>
                      <a:lnTo>
                        <a:pt x="10228" y="11782"/>
                      </a:lnTo>
                      <a:lnTo>
                        <a:pt x="10228" y="12021"/>
                      </a:lnTo>
                      <a:lnTo>
                        <a:pt x="10228" y="12201"/>
                      </a:lnTo>
                      <a:lnTo>
                        <a:pt x="10168" y="14174"/>
                      </a:lnTo>
                      <a:lnTo>
                        <a:pt x="10108" y="15131"/>
                      </a:lnTo>
                      <a:lnTo>
                        <a:pt x="9988" y="18122"/>
                      </a:lnTo>
                      <a:lnTo>
                        <a:pt x="9928" y="18899"/>
                      </a:lnTo>
                      <a:lnTo>
                        <a:pt x="9749" y="19856"/>
                      </a:lnTo>
                      <a:lnTo>
                        <a:pt x="9629" y="20454"/>
                      </a:lnTo>
                      <a:lnTo>
                        <a:pt x="9629" y="20454"/>
                      </a:lnTo>
                      <a:lnTo>
                        <a:pt x="9570" y="20693"/>
                      </a:lnTo>
                      <a:lnTo>
                        <a:pt x="9570" y="20693"/>
                      </a:lnTo>
                      <a:lnTo>
                        <a:pt x="9570" y="20813"/>
                      </a:lnTo>
                      <a:lnTo>
                        <a:pt x="9570" y="20813"/>
                      </a:lnTo>
                      <a:lnTo>
                        <a:pt x="9390" y="21590"/>
                      </a:lnTo>
                      <a:lnTo>
                        <a:pt x="8134" y="27810"/>
                      </a:lnTo>
                      <a:lnTo>
                        <a:pt x="6758" y="31997"/>
                      </a:lnTo>
                      <a:lnTo>
                        <a:pt x="6460" y="32834"/>
                      </a:lnTo>
                      <a:lnTo>
                        <a:pt x="5323" y="36243"/>
                      </a:lnTo>
                      <a:lnTo>
                        <a:pt x="5742" y="37260"/>
                      </a:lnTo>
                    </a:path>
                  </a:pathLst>
                </a:custGeom>
                <a:noFill/>
                <a:ln w="6350" cap="rnd">
                  <a:solidFill>
                    <a:schemeClr val="bg1">
                      <a:alpha val="40000"/>
                    </a:schemeClr>
                  </a:solidFill>
                  <a:prstDash val="solid"/>
                  <a:round/>
                </a:ln>
              </p:spPr>
              <p:txBody>
                <a:bodyPr rtlCol="0" anchor="ctr"/>
                <a:lstStyle/>
                <a:p>
                  <a:endParaRPr lang="en-GB"/>
                </a:p>
              </p:txBody>
            </p:sp>
            <p:sp>
              <p:nvSpPr>
                <p:cNvPr id="6605" name="Vrije vorm: vorm 6604">
                  <a:extLst>
                    <a:ext uri="{FF2B5EF4-FFF2-40B4-BE49-F238E27FC236}">
                      <a16:creationId xmlns:a16="http://schemas.microsoft.com/office/drawing/2014/main" id="{03D2B119-76D2-47CF-BD00-903117C39A78}"/>
                    </a:ext>
                  </a:extLst>
                </p:cNvPr>
                <p:cNvSpPr/>
                <p:nvPr/>
              </p:nvSpPr>
              <p:spPr>
                <a:xfrm>
                  <a:off x="6592689" y="1892400"/>
                  <a:ext cx="22547" cy="52809"/>
                </a:xfrm>
                <a:custGeom>
                  <a:avLst/>
                  <a:gdLst>
                    <a:gd name="connsiteX0" fmla="*/ 22547 w 22547"/>
                    <a:gd name="connsiteY0" fmla="*/ 51135 h 52809"/>
                    <a:gd name="connsiteX1" fmla="*/ 19976 w 22547"/>
                    <a:gd name="connsiteY1" fmla="*/ 52511 h 52809"/>
                    <a:gd name="connsiteX2" fmla="*/ 19976 w 22547"/>
                    <a:gd name="connsiteY2" fmla="*/ 52511 h 52809"/>
                    <a:gd name="connsiteX3" fmla="*/ 19736 w 22547"/>
                    <a:gd name="connsiteY3" fmla="*/ 52630 h 52809"/>
                    <a:gd name="connsiteX4" fmla="*/ 19377 w 22547"/>
                    <a:gd name="connsiteY4" fmla="*/ 52810 h 52809"/>
                    <a:gd name="connsiteX5" fmla="*/ 19377 w 22547"/>
                    <a:gd name="connsiteY5" fmla="*/ 52810 h 52809"/>
                    <a:gd name="connsiteX6" fmla="*/ 17763 w 22547"/>
                    <a:gd name="connsiteY6" fmla="*/ 52152 h 52809"/>
                    <a:gd name="connsiteX7" fmla="*/ 12679 w 22547"/>
                    <a:gd name="connsiteY7" fmla="*/ 43599 h 52809"/>
                    <a:gd name="connsiteX8" fmla="*/ 9270 w 22547"/>
                    <a:gd name="connsiteY8" fmla="*/ 36662 h 52809"/>
                    <a:gd name="connsiteX9" fmla="*/ 8373 w 22547"/>
                    <a:gd name="connsiteY9" fmla="*/ 34808 h 52809"/>
                    <a:gd name="connsiteX10" fmla="*/ 6997 w 22547"/>
                    <a:gd name="connsiteY10" fmla="*/ 31937 h 52809"/>
                    <a:gd name="connsiteX11" fmla="*/ 5562 w 22547"/>
                    <a:gd name="connsiteY11" fmla="*/ 28109 h 52809"/>
                    <a:gd name="connsiteX12" fmla="*/ 4067 w 22547"/>
                    <a:gd name="connsiteY12" fmla="*/ 24042 h 52809"/>
                    <a:gd name="connsiteX13" fmla="*/ 3229 w 22547"/>
                    <a:gd name="connsiteY13" fmla="*/ 21351 h 52809"/>
                    <a:gd name="connsiteX14" fmla="*/ 1375 w 22547"/>
                    <a:gd name="connsiteY14" fmla="*/ 15669 h 52809"/>
                    <a:gd name="connsiteX15" fmla="*/ 0 w 22547"/>
                    <a:gd name="connsiteY15" fmla="*/ 10048 h 52809"/>
                    <a:gd name="connsiteX16" fmla="*/ 658 w 22547"/>
                    <a:gd name="connsiteY16" fmla="*/ 5323 h 52809"/>
                    <a:gd name="connsiteX17" fmla="*/ 7356 w 22547"/>
                    <a:gd name="connsiteY17" fmla="*/ 0 h 5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547" h="52809">
                      <a:moveTo>
                        <a:pt x="22547" y="51135"/>
                      </a:moveTo>
                      <a:lnTo>
                        <a:pt x="19976" y="52511"/>
                      </a:lnTo>
                      <a:lnTo>
                        <a:pt x="19976" y="52511"/>
                      </a:lnTo>
                      <a:lnTo>
                        <a:pt x="19736" y="52630"/>
                      </a:lnTo>
                      <a:lnTo>
                        <a:pt x="19377" y="52810"/>
                      </a:lnTo>
                      <a:lnTo>
                        <a:pt x="19377" y="52810"/>
                      </a:lnTo>
                      <a:lnTo>
                        <a:pt x="17763" y="52152"/>
                      </a:lnTo>
                      <a:lnTo>
                        <a:pt x="12679" y="43599"/>
                      </a:lnTo>
                      <a:lnTo>
                        <a:pt x="9270" y="36662"/>
                      </a:lnTo>
                      <a:lnTo>
                        <a:pt x="8373" y="34808"/>
                      </a:lnTo>
                      <a:lnTo>
                        <a:pt x="6997" y="31937"/>
                      </a:lnTo>
                      <a:lnTo>
                        <a:pt x="5562" y="28109"/>
                      </a:lnTo>
                      <a:lnTo>
                        <a:pt x="4067" y="24042"/>
                      </a:lnTo>
                      <a:lnTo>
                        <a:pt x="3229" y="21351"/>
                      </a:lnTo>
                      <a:lnTo>
                        <a:pt x="1375" y="15669"/>
                      </a:lnTo>
                      <a:lnTo>
                        <a:pt x="0" y="10048"/>
                      </a:lnTo>
                      <a:lnTo>
                        <a:pt x="658" y="5323"/>
                      </a:lnTo>
                      <a:lnTo>
                        <a:pt x="7356" y="0"/>
                      </a:lnTo>
                    </a:path>
                  </a:pathLst>
                </a:custGeom>
                <a:noFill/>
                <a:ln w="6350" cap="rnd">
                  <a:solidFill>
                    <a:schemeClr val="bg1">
                      <a:alpha val="40000"/>
                    </a:schemeClr>
                  </a:solidFill>
                  <a:prstDash val="solid"/>
                  <a:round/>
                </a:ln>
              </p:spPr>
              <p:txBody>
                <a:bodyPr rtlCol="0" anchor="ctr"/>
                <a:lstStyle/>
                <a:p>
                  <a:endParaRPr lang="en-GB"/>
                </a:p>
              </p:txBody>
            </p:sp>
            <p:sp>
              <p:nvSpPr>
                <p:cNvPr id="6606" name="Vrije vorm: vorm 6605">
                  <a:extLst>
                    <a:ext uri="{FF2B5EF4-FFF2-40B4-BE49-F238E27FC236}">
                      <a16:creationId xmlns:a16="http://schemas.microsoft.com/office/drawing/2014/main" id="{4ECA5A7F-D4EC-4B5A-B912-834335181D0C}"/>
                    </a:ext>
                  </a:extLst>
                </p:cNvPr>
                <p:cNvSpPr/>
                <p:nvPr/>
              </p:nvSpPr>
              <p:spPr>
                <a:xfrm>
                  <a:off x="6978505" y="2112850"/>
                  <a:ext cx="26973" cy="19138"/>
                </a:xfrm>
                <a:custGeom>
                  <a:avLst/>
                  <a:gdLst>
                    <a:gd name="connsiteX0" fmla="*/ 26196 w 26973"/>
                    <a:gd name="connsiteY0" fmla="*/ 0 h 19138"/>
                    <a:gd name="connsiteX1" fmla="*/ 26973 w 26973"/>
                    <a:gd name="connsiteY1" fmla="*/ 478 h 19138"/>
                    <a:gd name="connsiteX2" fmla="*/ 25777 w 26973"/>
                    <a:gd name="connsiteY2" fmla="*/ 5024 h 19138"/>
                    <a:gd name="connsiteX3" fmla="*/ 25358 w 26973"/>
                    <a:gd name="connsiteY3" fmla="*/ 6698 h 19138"/>
                    <a:gd name="connsiteX4" fmla="*/ 24401 w 26973"/>
                    <a:gd name="connsiteY4" fmla="*/ 8014 h 19138"/>
                    <a:gd name="connsiteX5" fmla="*/ 22727 w 26973"/>
                    <a:gd name="connsiteY5" fmla="*/ 10466 h 19138"/>
                    <a:gd name="connsiteX6" fmla="*/ 20514 w 26973"/>
                    <a:gd name="connsiteY6" fmla="*/ 13636 h 19138"/>
                    <a:gd name="connsiteX7" fmla="*/ 16686 w 26973"/>
                    <a:gd name="connsiteY7" fmla="*/ 19138 h 19138"/>
                    <a:gd name="connsiteX8" fmla="*/ 13935 w 26973"/>
                    <a:gd name="connsiteY8" fmla="*/ 19138 h 19138"/>
                    <a:gd name="connsiteX9" fmla="*/ 8014 w 26973"/>
                    <a:gd name="connsiteY9" fmla="*/ 18959 h 19138"/>
                    <a:gd name="connsiteX10" fmla="*/ 1316 w 26973"/>
                    <a:gd name="connsiteY10" fmla="*/ 17464 h 19138"/>
                    <a:gd name="connsiteX11" fmla="*/ 0 w 26973"/>
                    <a:gd name="connsiteY11" fmla="*/ 16626 h 1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973" h="19138">
                      <a:moveTo>
                        <a:pt x="26196" y="0"/>
                      </a:moveTo>
                      <a:lnTo>
                        <a:pt x="26973" y="478"/>
                      </a:lnTo>
                      <a:lnTo>
                        <a:pt x="25777" y="5024"/>
                      </a:lnTo>
                      <a:lnTo>
                        <a:pt x="25358" y="6698"/>
                      </a:lnTo>
                      <a:lnTo>
                        <a:pt x="24401" y="8014"/>
                      </a:lnTo>
                      <a:lnTo>
                        <a:pt x="22727" y="10466"/>
                      </a:lnTo>
                      <a:lnTo>
                        <a:pt x="20514" y="13636"/>
                      </a:lnTo>
                      <a:lnTo>
                        <a:pt x="16686" y="19138"/>
                      </a:lnTo>
                      <a:lnTo>
                        <a:pt x="13935" y="19138"/>
                      </a:lnTo>
                      <a:lnTo>
                        <a:pt x="8014" y="18959"/>
                      </a:lnTo>
                      <a:lnTo>
                        <a:pt x="1316" y="17464"/>
                      </a:lnTo>
                      <a:lnTo>
                        <a:pt x="0" y="16626"/>
                      </a:lnTo>
                    </a:path>
                  </a:pathLst>
                </a:custGeom>
                <a:noFill/>
                <a:ln w="6350" cap="rnd">
                  <a:solidFill>
                    <a:schemeClr val="bg1">
                      <a:alpha val="40000"/>
                    </a:schemeClr>
                  </a:solidFill>
                  <a:prstDash val="solid"/>
                  <a:round/>
                </a:ln>
              </p:spPr>
              <p:txBody>
                <a:bodyPr rtlCol="0" anchor="ctr"/>
                <a:lstStyle/>
                <a:p>
                  <a:endParaRPr lang="en-GB"/>
                </a:p>
              </p:txBody>
            </p:sp>
            <p:sp>
              <p:nvSpPr>
                <p:cNvPr id="6607" name="Vrije vorm: vorm 6606">
                  <a:extLst>
                    <a:ext uri="{FF2B5EF4-FFF2-40B4-BE49-F238E27FC236}">
                      <a16:creationId xmlns:a16="http://schemas.microsoft.com/office/drawing/2014/main" id="{2D5BF8BB-9470-45F8-85D1-E65D24E687D0}"/>
                    </a:ext>
                  </a:extLst>
                </p:cNvPr>
                <p:cNvSpPr/>
                <p:nvPr/>
              </p:nvSpPr>
              <p:spPr>
                <a:xfrm>
                  <a:off x="6844357" y="1787797"/>
                  <a:ext cx="12560" cy="20633"/>
                </a:xfrm>
                <a:custGeom>
                  <a:avLst/>
                  <a:gdLst>
                    <a:gd name="connsiteX0" fmla="*/ 12560 w 12560"/>
                    <a:gd name="connsiteY0" fmla="*/ 0 h 20633"/>
                    <a:gd name="connsiteX1" fmla="*/ 5862 w 12560"/>
                    <a:gd name="connsiteY1" fmla="*/ 10526 h 20633"/>
                    <a:gd name="connsiteX2" fmla="*/ 5443 w 12560"/>
                    <a:gd name="connsiteY2" fmla="*/ 11184 h 20633"/>
                    <a:gd name="connsiteX3" fmla="*/ 5443 w 12560"/>
                    <a:gd name="connsiteY3" fmla="*/ 11244 h 20633"/>
                    <a:gd name="connsiteX4" fmla="*/ 5443 w 12560"/>
                    <a:gd name="connsiteY4" fmla="*/ 11244 h 20633"/>
                    <a:gd name="connsiteX5" fmla="*/ 0 w 12560"/>
                    <a:gd name="connsiteY5" fmla="*/ 20633 h 2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0" h="20633">
                      <a:moveTo>
                        <a:pt x="12560" y="0"/>
                      </a:moveTo>
                      <a:lnTo>
                        <a:pt x="5862" y="10526"/>
                      </a:lnTo>
                      <a:lnTo>
                        <a:pt x="5443" y="11184"/>
                      </a:lnTo>
                      <a:lnTo>
                        <a:pt x="5443" y="11244"/>
                      </a:lnTo>
                      <a:lnTo>
                        <a:pt x="5443" y="11244"/>
                      </a:lnTo>
                      <a:lnTo>
                        <a:pt x="0" y="20633"/>
                      </a:lnTo>
                    </a:path>
                  </a:pathLst>
                </a:custGeom>
                <a:noFill/>
                <a:ln w="6350" cap="rnd">
                  <a:solidFill>
                    <a:schemeClr val="bg1">
                      <a:alpha val="40000"/>
                    </a:schemeClr>
                  </a:solidFill>
                  <a:prstDash val="solid"/>
                  <a:round/>
                </a:ln>
              </p:spPr>
              <p:txBody>
                <a:bodyPr rtlCol="0" anchor="ctr"/>
                <a:lstStyle/>
                <a:p>
                  <a:endParaRPr lang="en-GB"/>
                </a:p>
              </p:txBody>
            </p:sp>
            <p:sp>
              <p:nvSpPr>
                <p:cNvPr id="6608" name="Vrije vorm: vorm 6607">
                  <a:extLst>
                    <a:ext uri="{FF2B5EF4-FFF2-40B4-BE49-F238E27FC236}">
                      <a16:creationId xmlns:a16="http://schemas.microsoft.com/office/drawing/2014/main" id="{B1664BA6-E116-4A1D-95B8-C3B067DE0565}"/>
                    </a:ext>
                  </a:extLst>
                </p:cNvPr>
                <p:cNvSpPr/>
                <p:nvPr/>
              </p:nvSpPr>
              <p:spPr>
                <a:xfrm>
                  <a:off x="6851176" y="1796051"/>
                  <a:ext cx="9688" cy="13277"/>
                </a:xfrm>
                <a:custGeom>
                  <a:avLst/>
                  <a:gdLst>
                    <a:gd name="connsiteX0" fmla="*/ 0 w 9688"/>
                    <a:gd name="connsiteY0" fmla="*/ 13277 h 13277"/>
                    <a:gd name="connsiteX1" fmla="*/ 120 w 9688"/>
                    <a:gd name="connsiteY1" fmla="*/ 13098 h 13277"/>
                    <a:gd name="connsiteX2" fmla="*/ 2034 w 9688"/>
                    <a:gd name="connsiteY2" fmla="*/ 9450 h 13277"/>
                    <a:gd name="connsiteX3" fmla="*/ 2273 w 9688"/>
                    <a:gd name="connsiteY3" fmla="*/ 8971 h 13277"/>
                    <a:gd name="connsiteX4" fmla="*/ 3409 w 9688"/>
                    <a:gd name="connsiteY4" fmla="*/ 6758 h 13277"/>
                    <a:gd name="connsiteX5" fmla="*/ 4426 w 9688"/>
                    <a:gd name="connsiteY5" fmla="*/ 4785 h 13277"/>
                    <a:gd name="connsiteX6" fmla="*/ 4426 w 9688"/>
                    <a:gd name="connsiteY6" fmla="*/ 4785 h 13277"/>
                    <a:gd name="connsiteX7" fmla="*/ 5443 w 9688"/>
                    <a:gd name="connsiteY7" fmla="*/ 2871 h 13277"/>
                    <a:gd name="connsiteX8" fmla="*/ 5981 w 9688"/>
                    <a:gd name="connsiteY8" fmla="*/ 1794 h 13277"/>
                    <a:gd name="connsiteX9" fmla="*/ 5981 w 9688"/>
                    <a:gd name="connsiteY9" fmla="*/ 1794 h 13277"/>
                    <a:gd name="connsiteX10" fmla="*/ 5981 w 9688"/>
                    <a:gd name="connsiteY10" fmla="*/ 1794 h 13277"/>
                    <a:gd name="connsiteX11" fmla="*/ 6878 w 9688"/>
                    <a:gd name="connsiteY11" fmla="*/ 0 h 13277"/>
                    <a:gd name="connsiteX12" fmla="*/ 7237 w 9688"/>
                    <a:gd name="connsiteY12" fmla="*/ 60 h 13277"/>
                    <a:gd name="connsiteX13" fmla="*/ 7476 w 9688"/>
                    <a:gd name="connsiteY13" fmla="*/ 60 h 13277"/>
                    <a:gd name="connsiteX14" fmla="*/ 8851 w 9688"/>
                    <a:gd name="connsiteY14" fmla="*/ 179 h 13277"/>
                    <a:gd name="connsiteX15" fmla="*/ 9689 w 9688"/>
                    <a:gd name="connsiteY15" fmla="*/ 239 h 1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88" h="13277">
                      <a:moveTo>
                        <a:pt x="0" y="13277"/>
                      </a:moveTo>
                      <a:lnTo>
                        <a:pt x="120" y="13098"/>
                      </a:lnTo>
                      <a:lnTo>
                        <a:pt x="2034" y="9450"/>
                      </a:lnTo>
                      <a:lnTo>
                        <a:pt x="2273" y="8971"/>
                      </a:lnTo>
                      <a:lnTo>
                        <a:pt x="3409" y="6758"/>
                      </a:lnTo>
                      <a:lnTo>
                        <a:pt x="4426" y="4785"/>
                      </a:lnTo>
                      <a:lnTo>
                        <a:pt x="4426" y="4785"/>
                      </a:lnTo>
                      <a:lnTo>
                        <a:pt x="5443" y="2871"/>
                      </a:lnTo>
                      <a:lnTo>
                        <a:pt x="5981" y="1794"/>
                      </a:lnTo>
                      <a:lnTo>
                        <a:pt x="5981" y="1794"/>
                      </a:lnTo>
                      <a:lnTo>
                        <a:pt x="5981" y="1794"/>
                      </a:lnTo>
                      <a:lnTo>
                        <a:pt x="6878" y="0"/>
                      </a:lnTo>
                      <a:lnTo>
                        <a:pt x="7237" y="60"/>
                      </a:lnTo>
                      <a:lnTo>
                        <a:pt x="7476" y="60"/>
                      </a:lnTo>
                      <a:lnTo>
                        <a:pt x="8851" y="179"/>
                      </a:lnTo>
                      <a:lnTo>
                        <a:pt x="9689" y="239"/>
                      </a:lnTo>
                    </a:path>
                  </a:pathLst>
                </a:custGeom>
                <a:noFill/>
                <a:ln w="6350" cap="rnd">
                  <a:solidFill>
                    <a:schemeClr val="bg1">
                      <a:alpha val="40000"/>
                    </a:schemeClr>
                  </a:solidFill>
                  <a:prstDash val="solid"/>
                  <a:round/>
                </a:ln>
              </p:spPr>
              <p:txBody>
                <a:bodyPr rtlCol="0" anchor="ctr"/>
                <a:lstStyle/>
                <a:p>
                  <a:endParaRPr lang="en-GB"/>
                </a:p>
              </p:txBody>
            </p:sp>
            <p:sp>
              <p:nvSpPr>
                <p:cNvPr id="6609" name="Vrije vorm: vorm 6608">
                  <a:extLst>
                    <a:ext uri="{FF2B5EF4-FFF2-40B4-BE49-F238E27FC236}">
                      <a16:creationId xmlns:a16="http://schemas.microsoft.com/office/drawing/2014/main" id="{49521AF9-694F-4590-9F7E-95A1B84CAC8B}"/>
                    </a:ext>
                  </a:extLst>
                </p:cNvPr>
                <p:cNvSpPr/>
                <p:nvPr/>
              </p:nvSpPr>
              <p:spPr>
                <a:xfrm>
                  <a:off x="6968577" y="1840188"/>
                  <a:ext cx="777" cy="956"/>
                </a:xfrm>
                <a:custGeom>
                  <a:avLst/>
                  <a:gdLst>
                    <a:gd name="connsiteX0" fmla="*/ 0 w 777"/>
                    <a:gd name="connsiteY0" fmla="*/ 299 h 956"/>
                    <a:gd name="connsiteX1" fmla="*/ 0 w 777"/>
                    <a:gd name="connsiteY1" fmla="*/ 120 h 956"/>
                    <a:gd name="connsiteX2" fmla="*/ 0 w 777"/>
                    <a:gd name="connsiteY2" fmla="*/ 120 h 956"/>
                    <a:gd name="connsiteX3" fmla="*/ 60 w 777"/>
                    <a:gd name="connsiteY3" fmla="*/ 120 h 956"/>
                    <a:gd name="connsiteX4" fmla="*/ 419 w 777"/>
                    <a:gd name="connsiteY4" fmla="*/ 60 h 956"/>
                    <a:gd name="connsiteX5" fmla="*/ 658 w 777"/>
                    <a:gd name="connsiteY5" fmla="*/ 0 h 956"/>
                    <a:gd name="connsiteX6" fmla="*/ 718 w 777"/>
                    <a:gd name="connsiteY6" fmla="*/ 239 h 956"/>
                    <a:gd name="connsiteX7" fmla="*/ 778 w 777"/>
                    <a:gd name="connsiteY7" fmla="*/ 538 h 956"/>
                    <a:gd name="connsiteX8" fmla="*/ 778 w 777"/>
                    <a:gd name="connsiteY8" fmla="*/ 538 h 956"/>
                    <a:gd name="connsiteX9" fmla="*/ 778 w 777"/>
                    <a:gd name="connsiteY9" fmla="*/ 718 h 956"/>
                    <a:gd name="connsiteX10" fmla="*/ 778 w 777"/>
                    <a:gd name="connsiteY10" fmla="*/ 957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 h="956">
                      <a:moveTo>
                        <a:pt x="0" y="299"/>
                      </a:moveTo>
                      <a:lnTo>
                        <a:pt x="0" y="120"/>
                      </a:lnTo>
                      <a:lnTo>
                        <a:pt x="0" y="120"/>
                      </a:lnTo>
                      <a:lnTo>
                        <a:pt x="60" y="120"/>
                      </a:lnTo>
                      <a:lnTo>
                        <a:pt x="419" y="60"/>
                      </a:lnTo>
                      <a:lnTo>
                        <a:pt x="658" y="0"/>
                      </a:lnTo>
                      <a:lnTo>
                        <a:pt x="718" y="239"/>
                      </a:lnTo>
                      <a:lnTo>
                        <a:pt x="778" y="538"/>
                      </a:lnTo>
                      <a:lnTo>
                        <a:pt x="778" y="538"/>
                      </a:lnTo>
                      <a:lnTo>
                        <a:pt x="778" y="718"/>
                      </a:lnTo>
                      <a:lnTo>
                        <a:pt x="778" y="957"/>
                      </a:lnTo>
                    </a:path>
                  </a:pathLst>
                </a:custGeom>
                <a:noFill/>
                <a:ln w="6350" cap="rnd">
                  <a:solidFill>
                    <a:schemeClr val="bg1">
                      <a:alpha val="40000"/>
                    </a:schemeClr>
                  </a:solidFill>
                  <a:prstDash val="solid"/>
                  <a:round/>
                </a:ln>
              </p:spPr>
              <p:txBody>
                <a:bodyPr rtlCol="0" anchor="ctr"/>
                <a:lstStyle/>
                <a:p>
                  <a:endParaRPr lang="en-GB"/>
                </a:p>
              </p:txBody>
            </p:sp>
            <p:sp>
              <p:nvSpPr>
                <p:cNvPr id="6610" name="Vrije vorm: vorm 6609">
                  <a:extLst>
                    <a:ext uri="{FF2B5EF4-FFF2-40B4-BE49-F238E27FC236}">
                      <a16:creationId xmlns:a16="http://schemas.microsoft.com/office/drawing/2014/main" id="{5098717E-440D-4F5C-8444-AAB5F8901A2C}"/>
                    </a:ext>
                  </a:extLst>
                </p:cNvPr>
                <p:cNvSpPr/>
                <p:nvPr/>
              </p:nvSpPr>
              <p:spPr>
                <a:xfrm>
                  <a:off x="6771513" y="1975173"/>
                  <a:ext cx="5502" cy="9688"/>
                </a:xfrm>
                <a:custGeom>
                  <a:avLst/>
                  <a:gdLst>
                    <a:gd name="connsiteX0" fmla="*/ 0 w 5502"/>
                    <a:gd name="connsiteY0" fmla="*/ 0 h 9688"/>
                    <a:gd name="connsiteX1" fmla="*/ 1674 w 5502"/>
                    <a:gd name="connsiteY1" fmla="*/ 1076 h 9688"/>
                    <a:gd name="connsiteX2" fmla="*/ 3708 w 5502"/>
                    <a:gd name="connsiteY2" fmla="*/ 2452 h 9688"/>
                    <a:gd name="connsiteX3" fmla="*/ 4844 w 5502"/>
                    <a:gd name="connsiteY3" fmla="*/ 3230 h 9688"/>
                    <a:gd name="connsiteX4" fmla="*/ 5502 w 5502"/>
                    <a:gd name="connsiteY4" fmla="*/ 3648 h 9688"/>
                    <a:gd name="connsiteX5" fmla="*/ 5382 w 5502"/>
                    <a:gd name="connsiteY5" fmla="*/ 5622 h 9688"/>
                    <a:gd name="connsiteX6" fmla="*/ 5323 w 5502"/>
                    <a:gd name="connsiteY6" fmla="*/ 6639 h 9688"/>
                    <a:gd name="connsiteX7" fmla="*/ 4665 w 5502"/>
                    <a:gd name="connsiteY7" fmla="*/ 7356 h 9688"/>
                    <a:gd name="connsiteX8" fmla="*/ 3349 w 5502"/>
                    <a:gd name="connsiteY8" fmla="*/ 8792 h 9688"/>
                    <a:gd name="connsiteX9" fmla="*/ 3289 w 5502"/>
                    <a:gd name="connsiteY9" fmla="*/ 8851 h 9688"/>
                    <a:gd name="connsiteX10" fmla="*/ 2512 w 5502"/>
                    <a:gd name="connsiteY10" fmla="*/ 9689 h 9688"/>
                    <a:gd name="connsiteX11" fmla="*/ 1914 w 5502"/>
                    <a:gd name="connsiteY11" fmla="*/ 9330 h 9688"/>
                    <a:gd name="connsiteX12" fmla="*/ 1435 w 5502"/>
                    <a:gd name="connsiteY12" fmla="*/ 9031 h 9688"/>
                    <a:gd name="connsiteX13" fmla="*/ 419 w 5502"/>
                    <a:gd name="connsiteY13" fmla="*/ 8313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2" h="9688">
                      <a:moveTo>
                        <a:pt x="0" y="0"/>
                      </a:moveTo>
                      <a:lnTo>
                        <a:pt x="1674" y="1076"/>
                      </a:lnTo>
                      <a:lnTo>
                        <a:pt x="3708" y="2452"/>
                      </a:lnTo>
                      <a:lnTo>
                        <a:pt x="4844" y="3230"/>
                      </a:lnTo>
                      <a:lnTo>
                        <a:pt x="5502" y="3648"/>
                      </a:lnTo>
                      <a:lnTo>
                        <a:pt x="5382" y="5622"/>
                      </a:lnTo>
                      <a:lnTo>
                        <a:pt x="5323" y="6639"/>
                      </a:lnTo>
                      <a:lnTo>
                        <a:pt x="4665" y="7356"/>
                      </a:lnTo>
                      <a:lnTo>
                        <a:pt x="3349" y="8792"/>
                      </a:lnTo>
                      <a:lnTo>
                        <a:pt x="3289" y="8851"/>
                      </a:lnTo>
                      <a:lnTo>
                        <a:pt x="2512" y="9689"/>
                      </a:lnTo>
                      <a:lnTo>
                        <a:pt x="1914" y="9330"/>
                      </a:lnTo>
                      <a:lnTo>
                        <a:pt x="1435" y="9031"/>
                      </a:lnTo>
                      <a:lnTo>
                        <a:pt x="419" y="8313"/>
                      </a:lnTo>
                    </a:path>
                  </a:pathLst>
                </a:custGeom>
                <a:noFill/>
                <a:ln w="6350" cap="rnd">
                  <a:solidFill>
                    <a:schemeClr val="bg1">
                      <a:alpha val="40000"/>
                    </a:schemeClr>
                  </a:solidFill>
                  <a:prstDash val="solid"/>
                  <a:round/>
                </a:ln>
              </p:spPr>
              <p:txBody>
                <a:bodyPr rtlCol="0" anchor="ctr"/>
                <a:lstStyle/>
                <a:p>
                  <a:endParaRPr lang="en-GB"/>
                </a:p>
              </p:txBody>
            </p:sp>
            <p:sp>
              <p:nvSpPr>
                <p:cNvPr id="6611" name="Vrije vorm: vorm 6610">
                  <a:extLst>
                    <a:ext uri="{FF2B5EF4-FFF2-40B4-BE49-F238E27FC236}">
                      <a16:creationId xmlns:a16="http://schemas.microsoft.com/office/drawing/2014/main" id="{163E32BC-512A-4BEE-A752-D28C991B49C9}"/>
                    </a:ext>
                  </a:extLst>
                </p:cNvPr>
                <p:cNvSpPr/>
                <p:nvPr/>
              </p:nvSpPr>
              <p:spPr>
                <a:xfrm>
                  <a:off x="7070309" y="1807713"/>
                  <a:ext cx="13217" cy="8911"/>
                </a:xfrm>
                <a:custGeom>
                  <a:avLst/>
                  <a:gdLst>
                    <a:gd name="connsiteX0" fmla="*/ 0 w 13217"/>
                    <a:gd name="connsiteY0" fmla="*/ 0 h 8911"/>
                    <a:gd name="connsiteX1" fmla="*/ 299 w 13217"/>
                    <a:gd name="connsiteY1" fmla="*/ 120 h 8911"/>
                    <a:gd name="connsiteX2" fmla="*/ 897 w 13217"/>
                    <a:gd name="connsiteY2" fmla="*/ 419 h 8911"/>
                    <a:gd name="connsiteX3" fmla="*/ 1256 w 13217"/>
                    <a:gd name="connsiteY3" fmla="*/ 598 h 8911"/>
                    <a:gd name="connsiteX4" fmla="*/ 2033 w 13217"/>
                    <a:gd name="connsiteY4" fmla="*/ 1017 h 8911"/>
                    <a:gd name="connsiteX5" fmla="*/ 2811 w 13217"/>
                    <a:gd name="connsiteY5" fmla="*/ 1376 h 8911"/>
                    <a:gd name="connsiteX6" fmla="*/ 3050 w 13217"/>
                    <a:gd name="connsiteY6" fmla="*/ 1495 h 8911"/>
                    <a:gd name="connsiteX7" fmla="*/ 3469 w 13217"/>
                    <a:gd name="connsiteY7" fmla="*/ 1675 h 8911"/>
                    <a:gd name="connsiteX8" fmla="*/ 3708 w 13217"/>
                    <a:gd name="connsiteY8" fmla="*/ 1794 h 8911"/>
                    <a:gd name="connsiteX9" fmla="*/ 3888 w 13217"/>
                    <a:gd name="connsiteY9" fmla="*/ 1854 h 8911"/>
                    <a:gd name="connsiteX10" fmla="*/ 5383 w 13217"/>
                    <a:gd name="connsiteY10" fmla="*/ 2512 h 8911"/>
                    <a:gd name="connsiteX11" fmla="*/ 7775 w 13217"/>
                    <a:gd name="connsiteY11" fmla="*/ 3887 h 8911"/>
                    <a:gd name="connsiteX12" fmla="*/ 8971 w 13217"/>
                    <a:gd name="connsiteY12" fmla="*/ 4545 h 8911"/>
                    <a:gd name="connsiteX13" fmla="*/ 9091 w 13217"/>
                    <a:gd name="connsiteY13" fmla="*/ 4605 h 8911"/>
                    <a:gd name="connsiteX14" fmla="*/ 9928 w 13217"/>
                    <a:gd name="connsiteY14" fmla="*/ 5024 h 8911"/>
                    <a:gd name="connsiteX15" fmla="*/ 9988 w 13217"/>
                    <a:gd name="connsiteY15" fmla="*/ 5024 h 8911"/>
                    <a:gd name="connsiteX16" fmla="*/ 9988 w 13217"/>
                    <a:gd name="connsiteY16" fmla="*/ 5024 h 8911"/>
                    <a:gd name="connsiteX17" fmla="*/ 10825 w 13217"/>
                    <a:gd name="connsiteY17" fmla="*/ 5442 h 8911"/>
                    <a:gd name="connsiteX18" fmla="*/ 11004 w 13217"/>
                    <a:gd name="connsiteY18" fmla="*/ 5562 h 8911"/>
                    <a:gd name="connsiteX19" fmla="*/ 11184 w 13217"/>
                    <a:gd name="connsiteY19" fmla="*/ 5622 h 8911"/>
                    <a:gd name="connsiteX20" fmla="*/ 11842 w 13217"/>
                    <a:gd name="connsiteY20" fmla="*/ 5921 h 8911"/>
                    <a:gd name="connsiteX21" fmla="*/ 11961 w 13217"/>
                    <a:gd name="connsiteY21" fmla="*/ 5981 h 8911"/>
                    <a:gd name="connsiteX22" fmla="*/ 12021 w 13217"/>
                    <a:gd name="connsiteY22" fmla="*/ 6040 h 8911"/>
                    <a:gd name="connsiteX23" fmla="*/ 12619 w 13217"/>
                    <a:gd name="connsiteY23" fmla="*/ 6579 h 8911"/>
                    <a:gd name="connsiteX24" fmla="*/ 13217 w 13217"/>
                    <a:gd name="connsiteY24" fmla="*/ 7117 h 8911"/>
                    <a:gd name="connsiteX25" fmla="*/ 12559 w 13217"/>
                    <a:gd name="connsiteY25" fmla="*/ 8612 h 8911"/>
                    <a:gd name="connsiteX26" fmla="*/ 12440 w 13217"/>
                    <a:gd name="connsiteY26" fmla="*/ 8672 h 8911"/>
                    <a:gd name="connsiteX27" fmla="*/ 12201 w 13217"/>
                    <a:gd name="connsiteY27" fmla="*/ 8792 h 8911"/>
                    <a:gd name="connsiteX28" fmla="*/ 11961 w 13217"/>
                    <a:gd name="connsiteY28" fmla="*/ 8911 h 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7" h="8911">
                      <a:moveTo>
                        <a:pt x="0" y="0"/>
                      </a:moveTo>
                      <a:lnTo>
                        <a:pt x="299" y="120"/>
                      </a:lnTo>
                      <a:lnTo>
                        <a:pt x="897" y="419"/>
                      </a:lnTo>
                      <a:lnTo>
                        <a:pt x="1256" y="598"/>
                      </a:lnTo>
                      <a:lnTo>
                        <a:pt x="2033" y="1017"/>
                      </a:lnTo>
                      <a:lnTo>
                        <a:pt x="2811" y="1376"/>
                      </a:lnTo>
                      <a:lnTo>
                        <a:pt x="3050" y="1495"/>
                      </a:lnTo>
                      <a:lnTo>
                        <a:pt x="3469" y="1675"/>
                      </a:lnTo>
                      <a:lnTo>
                        <a:pt x="3708" y="1794"/>
                      </a:lnTo>
                      <a:lnTo>
                        <a:pt x="3888" y="1854"/>
                      </a:lnTo>
                      <a:lnTo>
                        <a:pt x="5383" y="2512"/>
                      </a:lnTo>
                      <a:lnTo>
                        <a:pt x="7775" y="3887"/>
                      </a:lnTo>
                      <a:lnTo>
                        <a:pt x="8971" y="4545"/>
                      </a:lnTo>
                      <a:lnTo>
                        <a:pt x="9091" y="4605"/>
                      </a:lnTo>
                      <a:lnTo>
                        <a:pt x="9928" y="5024"/>
                      </a:lnTo>
                      <a:lnTo>
                        <a:pt x="9988" y="5024"/>
                      </a:lnTo>
                      <a:lnTo>
                        <a:pt x="9988" y="5024"/>
                      </a:lnTo>
                      <a:lnTo>
                        <a:pt x="10825" y="5442"/>
                      </a:lnTo>
                      <a:lnTo>
                        <a:pt x="11004" y="5562"/>
                      </a:lnTo>
                      <a:lnTo>
                        <a:pt x="11184" y="5622"/>
                      </a:lnTo>
                      <a:lnTo>
                        <a:pt x="11842" y="5921"/>
                      </a:lnTo>
                      <a:lnTo>
                        <a:pt x="11961" y="5981"/>
                      </a:lnTo>
                      <a:lnTo>
                        <a:pt x="12021" y="6040"/>
                      </a:lnTo>
                      <a:lnTo>
                        <a:pt x="12619" y="6579"/>
                      </a:lnTo>
                      <a:lnTo>
                        <a:pt x="13217" y="7117"/>
                      </a:lnTo>
                      <a:lnTo>
                        <a:pt x="12559" y="8612"/>
                      </a:lnTo>
                      <a:lnTo>
                        <a:pt x="12440" y="8672"/>
                      </a:lnTo>
                      <a:lnTo>
                        <a:pt x="12201" y="8792"/>
                      </a:lnTo>
                      <a:lnTo>
                        <a:pt x="11961" y="8911"/>
                      </a:lnTo>
                    </a:path>
                  </a:pathLst>
                </a:custGeom>
                <a:noFill/>
                <a:ln w="6350" cap="rnd">
                  <a:solidFill>
                    <a:schemeClr val="bg1">
                      <a:alpha val="40000"/>
                    </a:schemeClr>
                  </a:solidFill>
                  <a:prstDash val="solid"/>
                  <a:round/>
                </a:ln>
              </p:spPr>
              <p:txBody>
                <a:bodyPr rtlCol="0" anchor="ctr"/>
                <a:lstStyle/>
                <a:p>
                  <a:endParaRPr lang="en-GB"/>
                </a:p>
              </p:txBody>
            </p:sp>
            <p:sp>
              <p:nvSpPr>
                <p:cNvPr id="6612" name="Vrije vorm: vorm 6611">
                  <a:extLst>
                    <a:ext uri="{FF2B5EF4-FFF2-40B4-BE49-F238E27FC236}">
                      <a16:creationId xmlns:a16="http://schemas.microsoft.com/office/drawing/2014/main" id="{C3AD9A89-6C1E-4F43-87C2-863F56B22BC7}"/>
                    </a:ext>
                  </a:extLst>
                </p:cNvPr>
                <p:cNvSpPr/>
                <p:nvPr/>
              </p:nvSpPr>
              <p:spPr>
                <a:xfrm>
                  <a:off x="6862419" y="1691687"/>
                  <a:ext cx="13217" cy="9808"/>
                </a:xfrm>
                <a:custGeom>
                  <a:avLst/>
                  <a:gdLst>
                    <a:gd name="connsiteX0" fmla="*/ 13218 w 13217"/>
                    <a:gd name="connsiteY0" fmla="*/ 9808 h 9808"/>
                    <a:gd name="connsiteX1" fmla="*/ 10945 w 13217"/>
                    <a:gd name="connsiteY1" fmla="*/ 8493 h 9808"/>
                    <a:gd name="connsiteX2" fmla="*/ 7416 w 13217"/>
                    <a:gd name="connsiteY2" fmla="*/ 6340 h 9808"/>
                    <a:gd name="connsiteX3" fmla="*/ 5443 w 13217"/>
                    <a:gd name="connsiteY3" fmla="*/ 5143 h 9808"/>
                    <a:gd name="connsiteX4" fmla="*/ 4306 w 13217"/>
                    <a:gd name="connsiteY4" fmla="*/ 4486 h 9808"/>
                    <a:gd name="connsiteX5" fmla="*/ 3110 w 13217"/>
                    <a:gd name="connsiteY5" fmla="*/ 3828 h 9808"/>
                    <a:gd name="connsiteX6" fmla="*/ 2871 w 13217"/>
                    <a:gd name="connsiteY6" fmla="*/ 3708 h 9808"/>
                    <a:gd name="connsiteX7" fmla="*/ 1914 w 13217"/>
                    <a:gd name="connsiteY7" fmla="*/ 3170 h 9808"/>
                    <a:gd name="connsiteX8" fmla="*/ 1795 w 13217"/>
                    <a:gd name="connsiteY8" fmla="*/ 3110 h 9808"/>
                    <a:gd name="connsiteX9" fmla="*/ 1077 w 13217"/>
                    <a:gd name="connsiteY9" fmla="*/ 2572 h 9808"/>
                    <a:gd name="connsiteX10" fmla="*/ 1017 w 13217"/>
                    <a:gd name="connsiteY10" fmla="*/ 2512 h 9808"/>
                    <a:gd name="connsiteX11" fmla="*/ 658 w 13217"/>
                    <a:gd name="connsiteY11" fmla="*/ 2093 h 9808"/>
                    <a:gd name="connsiteX12" fmla="*/ 0 w 13217"/>
                    <a:gd name="connsiteY12" fmla="*/ 1316 h 9808"/>
                    <a:gd name="connsiteX13" fmla="*/ 837 w 13217"/>
                    <a:gd name="connsiteY13" fmla="*/ 0 h 9808"/>
                    <a:gd name="connsiteX14" fmla="*/ 1735 w 13217"/>
                    <a:gd name="connsiteY14" fmla="*/ 239 h 9808"/>
                    <a:gd name="connsiteX15" fmla="*/ 2273 w 13217"/>
                    <a:gd name="connsiteY15" fmla="*/ 419 h 9808"/>
                    <a:gd name="connsiteX16" fmla="*/ 2452 w 13217"/>
                    <a:gd name="connsiteY16" fmla="*/ 478 h 9808"/>
                    <a:gd name="connsiteX17" fmla="*/ 3469 w 13217"/>
                    <a:gd name="connsiteY17" fmla="*/ 1196 h 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217" h="9808">
                      <a:moveTo>
                        <a:pt x="13218" y="9808"/>
                      </a:moveTo>
                      <a:lnTo>
                        <a:pt x="10945" y="8493"/>
                      </a:lnTo>
                      <a:lnTo>
                        <a:pt x="7416" y="6340"/>
                      </a:lnTo>
                      <a:lnTo>
                        <a:pt x="5443" y="5143"/>
                      </a:lnTo>
                      <a:lnTo>
                        <a:pt x="4306" y="4486"/>
                      </a:lnTo>
                      <a:lnTo>
                        <a:pt x="3110" y="3828"/>
                      </a:lnTo>
                      <a:lnTo>
                        <a:pt x="2871" y="3708"/>
                      </a:lnTo>
                      <a:lnTo>
                        <a:pt x="1914" y="3170"/>
                      </a:lnTo>
                      <a:lnTo>
                        <a:pt x="1795" y="3110"/>
                      </a:lnTo>
                      <a:lnTo>
                        <a:pt x="1077" y="2572"/>
                      </a:lnTo>
                      <a:lnTo>
                        <a:pt x="1017" y="2512"/>
                      </a:lnTo>
                      <a:lnTo>
                        <a:pt x="658" y="2093"/>
                      </a:lnTo>
                      <a:lnTo>
                        <a:pt x="0" y="1316"/>
                      </a:lnTo>
                      <a:lnTo>
                        <a:pt x="837" y="0"/>
                      </a:lnTo>
                      <a:lnTo>
                        <a:pt x="1735" y="239"/>
                      </a:lnTo>
                      <a:lnTo>
                        <a:pt x="2273" y="419"/>
                      </a:lnTo>
                      <a:lnTo>
                        <a:pt x="2452" y="478"/>
                      </a:lnTo>
                      <a:lnTo>
                        <a:pt x="3469" y="1196"/>
                      </a:lnTo>
                    </a:path>
                  </a:pathLst>
                </a:custGeom>
                <a:noFill/>
                <a:ln w="6350" cap="rnd">
                  <a:solidFill>
                    <a:schemeClr val="bg1">
                      <a:alpha val="40000"/>
                    </a:schemeClr>
                  </a:solidFill>
                  <a:prstDash val="solid"/>
                  <a:round/>
                </a:ln>
              </p:spPr>
              <p:txBody>
                <a:bodyPr rtlCol="0" anchor="ctr"/>
                <a:lstStyle/>
                <a:p>
                  <a:endParaRPr lang="en-GB"/>
                </a:p>
              </p:txBody>
            </p:sp>
            <p:sp>
              <p:nvSpPr>
                <p:cNvPr id="6613" name="Vrije vorm: vorm 6612">
                  <a:extLst>
                    <a:ext uri="{FF2B5EF4-FFF2-40B4-BE49-F238E27FC236}">
                      <a16:creationId xmlns:a16="http://schemas.microsoft.com/office/drawing/2014/main" id="{2C877334-2A3E-450B-887D-2D21634F50BF}"/>
                    </a:ext>
                  </a:extLst>
                </p:cNvPr>
                <p:cNvSpPr/>
                <p:nvPr/>
              </p:nvSpPr>
              <p:spPr>
                <a:xfrm>
                  <a:off x="7067678" y="2040842"/>
                  <a:ext cx="9329" cy="13456"/>
                </a:xfrm>
                <a:custGeom>
                  <a:avLst/>
                  <a:gdLst>
                    <a:gd name="connsiteX0" fmla="*/ 7596 w 9329"/>
                    <a:gd name="connsiteY0" fmla="*/ 0 h 13456"/>
                    <a:gd name="connsiteX1" fmla="*/ 9330 w 9329"/>
                    <a:gd name="connsiteY1" fmla="*/ 4785 h 13456"/>
                    <a:gd name="connsiteX2" fmla="*/ 5801 w 9329"/>
                    <a:gd name="connsiteY2" fmla="*/ 10765 h 13456"/>
                    <a:gd name="connsiteX3" fmla="*/ 120 w 9329"/>
                    <a:gd name="connsiteY3" fmla="*/ 13457 h 13456"/>
                    <a:gd name="connsiteX4" fmla="*/ 0 w 9329"/>
                    <a:gd name="connsiteY4" fmla="*/ 13217 h 13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9" h="13456">
                      <a:moveTo>
                        <a:pt x="7596" y="0"/>
                      </a:moveTo>
                      <a:lnTo>
                        <a:pt x="9330" y="4785"/>
                      </a:lnTo>
                      <a:lnTo>
                        <a:pt x="5801" y="10765"/>
                      </a:lnTo>
                      <a:lnTo>
                        <a:pt x="120" y="13457"/>
                      </a:lnTo>
                      <a:lnTo>
                        <a:pt x="0" y="13217"/>
                      </a:lnTo>
                    </a:path>
                  </a:pathLst>
                </a:custGeom>
                <a:noFill/>
                <a:ln w="6350" cap="rnd">
                  <a:solidFill>
                    <a:schemeClr val="bg1">
                      <a:alpha val="40000"/>
                    </a:schemeClr>
                  </a:solidFill>
                  <a:prstDash val="solid"/>
                  <a:round/>
                </a:ln>
              </p:spPr>
              <p:txBody>
                <a:bodyPr rtlCol="0" anchor="ctr"/>
                <a:lstStyle/>
                <a:p>
                  <a:endParaRPr lang="en-GB"/>
                </a:p>
              </p:txBody>
            </p:sp>
            <p:sp>
              <p:nvSpPr>
                <p:cNvPr id="6614" name="Vrije vorm: vorm 6613">
                  <a:extLst>
                    <a:ext uri="{FF2B5EF4-FFF2-40B4-BE49-F238E27FC236}">
                      <a16:creationId xmlns:a16="http://schemas.microsoft.com/office/drawing/2014/main" id="{2F1332BC-9B7C-4727-BC7A-A65DADA14BEB}"/>
                    </a:ext>
                  </a:extLst>
                </p:cNvPr>
                <p:cNvSpPr/>
                <p:nvPr/>
              </p:nvSpPr>
              <p:spPr>
                <a:xfrm>
                  <a:off x="7082510" y="1868896"/>
                  <a:ext cx="10884" cy="7356"/>
                </a:xfrm>
                <a:custGeom>
                  <a:avLst/>
                  <a:gdLst>
                    <a:gd name="connsiteX0" fmla="*/ 0 w 10884"/>
                    <a:gd name="connsiteY0" fmla="*/ 0 h 7356"/>
                    <a:gd name="connsiteX1" fmla="*/ 2751 w 10884"/>
                    <a:gd name="connsiteY1" fmla="*/ 897 h 7356"/>
                    <a:gd name="connsiteX2" fmla="*/ 5622 w 10884"/>
                    <a:gd name="connsiteY2" fmla="*/ 2213 h 7356"/>
                    <a:gd name="connsiteX3" fmla="*/ 6758 w 10884"/>
                    <a:gd name="connsiteY3" fmla="*/ 2990 h 7356"/>
                    <a:gd name="connsiteX4" fmla="*/ 6938 w 10884"/>
                    <a:gd name="connsiteY4" fmla="*/ 3110 h 7356"/>
                    <a:gd name="connsiteX5" fmla="*/ 8253 w 10884"/>
                    <a:gd name="connsiteY5" fmla="*/ 4007 h 7356"/>
                    <a:gd name="connsiteX6" fmla="*/ 10406 w 10884"/>
                    <a:gd name="connsiteY6" fmla="*/ 5921 h 7356"/>
                    <a:gd name="connsiteX7" fmla="*/ 10646 w 10884"/>
                    <a:gd name="connsiteY7" fmla="*/ 6639 h 7356"/>
                    <a:gd name="connsiteX8" fmla="*/ 10885 w 10884"/>
                    <a:gd name="connsiteY8" fmla="*/ 7356 h 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4" h="7356">
                      <a:moveTo>
                        <a:pt x="0" y="0"/>
                      </a:moveTo>
                      <a:lnTo>
                        <a:pt x="2751" y="897"/>
                      </a:lnTo>
                      <a:lnTo>
                        <a:pt x="5622" y="2213"/>
                      </a:lnTo>
                      <a:lnTo>
                        <a:pt x="6758" y="2990"/>
                      </a:lnTo>
                      <a:lnTo>
                        <a:pt x="6938" y="3110"/>
                      </a:lnTo>
                      <a:lnTo>
                        <a:pt x="8253" y="4007"/>
                      </a:lnTo>
                      <a:lnTo>
                        <a:pt x="10406" y="5921"/>
                      </a:lnTo>
                      <a:lnTo>
                        <a:pt x="10646" y="6639"/>
                      </a:lnTo>
                      <a:lnTo>
                        <a:pt x="10885" y="7356"/>
                      </a:lnTo>
                    </a:path>
                  </a:pathLst>
                </a:custGeom>
                <a:noFill/>
                <a:ln w="6350" cap="rnd">
                  <a:solidFill>
                    <a:schemeClr val="bg1">
                      <a:alpha val="40000"/>
                    </a:schemeClr>
                  </a:solidFill>
                  <a:prstDash val="solid"/>
                  <a:round/>
                </a:ln>
              </p:spPr>
              <p:txBody>
                <a:bodyPr rtlCol="0" anchor="ctr"/>
                <a:lstStyle/>
                <a:p>
                  <a:endParaRPr lang="en-GB"/>
                </a:p>
              </p:txBody>
            </p:sp>
            <p:sp>
              <p:nvSpPr>
                <p:cNvPr id="6615" name="Vrije vorm: vorm 6614">
                  <a:extLst>
                    <a:ext uri="{FF2B5EF4-FFF2-40B4-BE49-F238E27FC236}">
                      <a16:creationId xmlns:a16="http://schemas.microsoft.com/office/drawing/2014/main" id="{827CA3DF-25C1-4C71-9922-59158DB21FF6}"/>
                    </a:ext>
                  </a:extLst>
                </p:cNvPr>
                <p:cNvSpPr/>
                <p:nvPr/>
              </p:nvSpPr>
              <p:spPr>
                <a:xfrm>
                  <a:off x="7061996" y="1875654"/>
                  <a:ext cx="13217" cy="16566"/>
                </a:xfrm>
                <a:custGeom>
                  <a:avLst/>
                  <a:gdLst>
                    <a:gd name="connsiteX0" fmla="*/ 0 w 13217"/>
                    <a:gd name="connsiteY0" fmla="*/ 16567 h 16566"/>
                    <a:gd name="connsiteX1" fmla="*/ 2034 w 13217"/>
                    <a:gd name="connsiteY1" fmla="*/ 13158 h 16566"/>
                    <a:gd name="connsiteX2" fmla="*/ 3768 w 13217"/>
                    <a:gd name="connsiteY2" fmla="*/ 13158 h 16566"/>
                    <a:gd name="connsiteX3" fmla="*/ 8433 w 13217"/>
                    <a:gd name="connsiteY3" fmla="*/ 6818 h 16566"/>
                    <a:gd name="connsiteX4" fmla="*/ 13218 w 13217"/>
                    <a:gd name="connsiteY4" fmla="*/ 0 h 1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7" h="16566">
                      <a:moveTo>
                        <a:pt x="0" y="16567"/>
                      </a:moveTo>
                      <a:lnTo>
                        <a:pt x="2034" y="13158"/>
                      </a:lnTo>
                      <a:lnTo>
                        <a:pt x="3768" y="13158"/>
                      </a:lnTo>
                      <a:lnTo>
                        <a:pt x="8433" y="6818"/>
                      </a:lnTo>
                      <a:lnTo>
                        <a:pt x="13218" y="0"/>
                      </a:lnTo>
                    </a:path>
                  </a:pathLst>
                </a:custGeom>
                <a:noFill/>
                <a:ln w="6350" cap="rnd">
                  <a:solidFill>
                    <a:schemeClr val="bg1">
                      <a:alpha val="40000"/>
                    </a:schemeClr>
                  </a:solidFill>
                  <a:prstDash val="solid"/>
                  <a:round/>
                </a:ln>
              </p:spPr>
              <p:txBody>
                <a:bodyPr rtlCol="0" anchor="ctr"/>
                <a:lstStyle/>
                <a:p>
                  <a:endParaRPr lang="en-GB"/>
                </a:p>
              </p:txBody>
            </p:sp>
            <p:sp>
              <p:nvSpPr>
                <p:cNvPr id="6616" name="Vrije vorm: vorm 6615">
                  <a:extLst>
                    <a:ext uri="{FF2B5EF4-FFF2-40B4-BE49-F238E27FC236}">
                      <a16:creationId xmlns:a16="http://schemas.microsoft.com/office/drawing/2014/main" id="{D413C50F-1588-4847-8057-9282AC31F2E8}"/>
                    </a:ext>
                  </a:extLst>
                </p:cNvPr>
                <p:cNvSpPr/>
                <p:nvPr/>
              </p:nvSpPr>
              <p:spPr>
                <a:xfrm>
                  <a:off x="6640056" y="1818120"/>
                  <a:ext cx="299" cy="7595"/>
                </a:xfrm>
                <a:custGeom>
                  <a:avLst/>
                  <a:gdLst>
                    <a:gd name="connsiteX0" fmla="*/ 299 w 299"/>
                    <a:gd name="connsiteY0" fmla="*/ 6938 h 7595"/>
                    <a:gd name="connsiteX1" fmla="*/ 299 w 299"/>
                    <a:gd name="connsiteY1" fmla="*/ 0 h 7595"/>
                    <a:gd name="connsiteX2" fmla="*/ 0 w 299"/>
                    <a:gd name="connsiteY2" fmla="*/ 7595 h 7595"/>
                  </a:gdLst>
                  <a:ahLst/>
                  <a:cxnLst>
                    <a:cxn ang="0">
                      <a:pos x="connsiteX0" y="connsiteY0"/>
                    </a:cxn>
                    <a:cxn ang="0">
                      <a:pos x="connsiteX1" y="connsiteY1"/>
                    </a:cxn>
                    <a:cxn ang="0">
                      <a:pos x="connsiteX2" y="connsiteY2"/>
                    </a:cxn>
                  </a:cxnLst>
                  <a:rect l="l" t="t" r="r" b="b"/>
                  <a:pathLst>
                    <a:path w="299" h="7595">
                      <a:moveTo>
                        <a:pt x="299" y="6938"/>
                      </a:moveTo>
                      <a:lnTo>
                        <a:pt x="299" y="0"/>
                      </a:lnTo>
                      <a:lnTo>
                        <a:pt x="0" y="7595"/>
                      </a:lnTo>
                    </a:path>
                  </a:pathLst>
                </a:custGeom>
                <a:noFill/>
                <a:ln w="6350" cap="rnd">
                  <a:solidFill>
                    <a:schemeClr val="bg1">
                      <a:alpha val="40000"/>
                    </a:schemeClr>
                  </a:solidFill>
                  <a:prstDash val="solid"/>
                  <a:round/>
                </a:ln>
              </p:spPr>
              <p:txBody>
                <a:bodyPr rtlCol="0" anchor="ctr"/>
                <a:lstStyle/>
                <a:p>
                  <a:endParaRPr lang="en-GB"/>
                </a:p>
              </p:txBody>
            </p:sp>
            <p:sp>
              <p:nvSpPr>
                <p:cNvPr id="6617" name="Vrije vorm: vorm 6616">
                  <a:extLst>
                    <a:ext uri="{FF2B5EF4-FFF2-40B4-BE49-F238E27FC236}">
                      <a16:creationId xmlns:a16="http://schemas.microsoft.com/office/drawing/2014/main" id="{6B0E98FF-819B-4905-A6DF-33CD36BCEA0C}"/>
                    </a:ext>
                  </a:extLst>
                </p:cNvPr>
                <p:cNvSpPr/>
                <p:nvPr/>
              </p:nvSpPr>
              <p:spPr>
                <a:xfrm>
                  <a:off x="7075094" y="1869673"/>
                  <a:ext cx="2930" cy="6279"/>
                </a:xfrm>
                <a:custGeom>
                  <a:avLst/>
                  <a:gdLst>
                    <a:gd name="connsiteX0" fmla="*/ 0 w 2930"/>
                    <a:gd name="connsiteY0" fmla="*/ 6280 h 6279"/>
                    <a:gd name="connsiteX1" fmla="*/ 120 w 2930"/>
                    <a:gd name="connsiteY1" fmla="*/ 5981 h 6279"/>
                    <a:gd name="connsiteX2" fmla="*/ 2930 w 2930"/>
                    <a:gd name="connsiteY2" fmla="*/ 0 h 6279"/>
                  </a:gdLst>
                  <a:ahLst/>
                  <a:cxnLst>
                    <a:cxn ang="0">
                      <a:pos x="connsiteX0" y="connsiteY0"/>
                    </a:cxn>
                    <a:cxn ang="0">
                      <a:pos x="connsiteX1" y="connsiteY1"/>
                    </a:cxn>
                    <a:cxn ang="0">
                      <a:pos x="connsiteX2" y="connsiteY2"/>
                    </a:cxn>
                  </a:cxnLst>
                  <a:rect l="l" t="t" r="r" b="b"/>
                  <a:pathLst>
                    <a:path w="2930" h="6279">
                      <a:moveTo>
                        <a:pt x="0" y="6280"/>
                      </a:moveTo>
                      <a:lnTo>
                        <a:pt x="120" y="5981"/>
                      </a:lnTo>
                      <a:lnTo>
                        <a:pt x="2930" y="0"/>
                      </a:lnTo>
                    </a:path>
                  </a:pathLst>
                </a:custGeom>
                <a:noFill/>
                <a:ln w="6350" cap="rnd">
                  <a:solidFill>
                    <a:schemeClr val="bg1">
                      <a:alpha val="40000"/>
                    </a:schemeClr>
                  </a:solidFill>
                  <a:prstDash val="solid"/>
                  <a:round/>
                </a:ln>
              </p:spPr>
              <p:txBody>
                <a:bodyPr rtlCol="0" anchor="ctr"/>
                <a:lstStyle/>
                <a:p>
                  <a:endParaRPr lang="en-GB"/>
                </a:p>
              </p:txBody>
            </p:sp>
            <p:sp>
              <p:nvSpPr>
                <p:cNvPr id="6618" name="Vrije vorm: vorm 6617">
                  <a:extLst>
                    <a:ext uri="{FF2B5EF4-FFF2-40B4-BE49-F238E27FC236}">
                      <a16:creationId xmlns:a16="http://schemas.microsoft.com/office/drawing/2014/main" id="{C3327F15-779A-4BA0-BBBE-5DAC87942607}"/>
                    </a:ext>
                  </a:extLst>
                </p:cNvPr>
                <p:cNvSpPr/>
                <p:nvPr/>
              </p:nvSpPr>
              <p:spPr>
                <a:xfrm>
                  <a:off x="7074137" y="1865427"/>
                  <a:ext cx="4365" cy="4724"/>
                </a:xfrm>
                <a:custGeom>
                  <a:avLst/>
                  <a:gdLst>
                    <a:gd name="connsiteX0" fmla="*/ 4366 w 4365"/>
                    <a:gd name="connsiteY0" fmla="*/ 4725 h 4724"/>
                    <a:gd name="connsiteX1" fmla="*/ 3947 w 4365"/>
                    <a:gd name="connsiteY1" fmla="*/ 4246 h 4724"/>
                    <a:gd name="connsiteX2" fmla="*/ 0 w 4365"/>
                    <a:gd name="connsiteY2" fmla="*/ 0 h 4724"/>
                  </a:gdLst>
                  <a:ahLst/>
                  <a:cxnLst>
                    <a:cxn ang="0">
                      <a:pos x="connsiteX0" y="connsiteY0"/>
                    </a:cxn>
                    <a:cxn ang="0">
                      <a:pos x="connsiteX1" y="connsiteY1"/>
                    </a:cxn>
                    <a:cxn ang="0">
                      <a:pos x="connsiteX2" y="connsiteY2"/>
                    </a:cxn>
                  </a:cxnLst>
                  <a:rect l="l" t="t" r="r" b="b"/>
                  <a:pathLst>
                    <a:path w="4365" h="4724">
                      <a:moveTo>
                        <a:pt x="4366" y="4725"/>
                      </a:moveTo>
                      <a:lnTo>
                        <a:pt x="3947" y="424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19" name="Vrije vorm: vorm 6618">
                  <a:extLst>
                    <a:ext uri="{FF2B5EF4-FFF2-40B4-BE49-F238E27FC236}">
                      <a16:creationId xmlns:a16="http://schemas.microsoft.com/office/drawing/2014/main" id="{12F55EEA-6F5F-4EC4-901D-6E1E48F16AD8}"/>
                    </a:ext>
                  </a:extLst>
                </p:cNvPr>
                <p:cNvSpPr/>
                <p:nvPr/>
              </p:nvSpPr>
              <p:spPr>
                <a:xfrm>
                  <a:off x="6998182" y="1859566"/>
                  <a:ext cx="6877" cy="10884"/>
                </a:xfrm>
                <a:custGeom>
                  <a:avLst/>
                  <a:gdLst>
                    <a:gd name="connsiteX0" fmla="*/ 418 w 6877"/>
                    <a:gd name="connsiteY0" fmla="*/ 10885 h 10884"/>
                    <a:gd name="connsiteX1" fmla="*/ 299 w 6877"/>
                    <a:gd name="connsiteY1" fmla="*/ 10406 h 10884"/>
                    <a:gd name="connsiteX2" fmla="*/ 119 w 6877"/>
                    <a:gd name="connsiteY2" fmla="*/ 9689 h 10884"/>
                    <a:gd name="connsiteX3" fmla="*/ 0 w 6877"/>
                    <a:gd name="connsiteY3" fmla="*/ 9091 h 10884"/>
                    <a:gd name="connsiteX4" fmla="*/ 1375 w 6877"/>
                    <a:gd name="connsiteY4" fmla="*/ 6698 h 10884"/>
                    <a:gd name="connsiteX5" fmla="*/ 1794 w 6877"/>
                    <a:gd name="connsiteY5" fmla="*/ 5981 h 10884"/>
                    <a:gd name="connsiteX6" fmla="*/ 1914 w 6877"/>
                    <a:gd name="connsiteY6" fmla="*/ 5801 h 10884"/>
                    <a:gd name="connsiteX7" fmla="*/ 1973 w 6877"/>
                    <a:gd name="connsiteY7" fmla="*/ 5742 h 10884"/>
                    <a:gd name="connsiteX8" fmla="*/ 2571 w 6877"/>
                    <a:gd name="connsiteY8" fmla="*/ 4725 h 10884"/>
                    <a:gd name="connsiteX9" fmla="*/ 2811 w 6877"/>
                    <a:gd name="connsiteY9" fmla="*/ 4306 h 10884"/>
                    <a:gd name="connsiteX10" fmla="*/ 2930 w 6877"/>
                    <a:gd name="connsiteY10" fmla="*/ 4127 h 10884"/>
                    <a:gd name="connsiteX11" fmla="*/ 2930 w 6877"/>
                    <a:gd name="connsiteY11" fmla="*/ 4127 h 10884"/>
                    <a:gd name="connsiteX12" fmla="*/ 4366 w 6877"/>
                    <a:gd name="connsiteY12" fmla="*/ 1734 h 10884"/>
                    <a:gd name="connsiteX13" fmla="*/ 4844 w 6877"/>
                    <a:gd name="connsiteY13" fmla="*/ 897 h 10884"/>
                    <a:gd name="connsiteX14" fmla="*/ 4904 w 6877"/>
                    <a:gd name="connsiteY14" fmla="*/ 778 h 10884"/>
                    <a:gd name="connsiteX15" fmla="*/ 5143 w 6877"/>
                    <a:gd name="connsiteY15" fmla="*/ 419 h 10884"/>
                    <a:gd name="connsiteX16" fmla="*/ 5681 w 6877"/>
                    <a:gd name="connsiteY16" fmla="*/ 299 h 10884"/>
                    <a:gd name="connsiteX17" fmla="*/ 6818 w 6877"/>
                    <a:gd name="connsiteY17" fmla="*/ 0 h 10884"/>
                    <a:gd name="connsiteX18" fmla="*/ 6818 w 6877"/>
                    <a:gd name="connsiteY18" fmla="*/ 0 h 10884"/>
                    <a:gd name="connsiteX19" fmla="*/ 6877 w 6877"/>
                    <a:gd name="connsiteY19" fmla="*/ 0 h 1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77" h="10884">
                      <a:moveTo>
                        <a:pt x="418" y="10885"/>
                      </a:moveTo>
                      <a:lnTo>
                        <a:pt x="299" y="10406"/>
                      </a:lnTo>
                      <a:lnTo>
                        <a:pt x="119" y="9689"/>
                      </a:lnTo>
                      <a:lnTo>
                        <a:pt x="0" y="9091"/>
                      </a:lnTo>
                      <a:lnTo>
                        <a:pt x="1375" y="6698"/>
                      </a:lnTo>
                      <a:lnTo>
                        <a:pt x="1794" y="5981"/>
                      </a:lnTo>
                      <a:lnTo>
                        <a:pt x="1914" y="5801"/>
                      </a:lnTo>
                      <a:lnTo>
                        <a:pt x="1973" y="5742"/>
                      </a:lnTo>
                      <a:lnTo>
                        <a:pt x="2571" y="4725"/>
                      </a:lnTo>
                      <a:lnTo>
                        <a:pt x="2811" y="4306"/>
                      </a:lnTo>
                      <a:lnTo>
                        <a:pt x="2930" y="4127"/>
                      </a:lnTo>
                      <a:lnTo>
                        <a:pt x="2930" y="4127"/>
                      </a:lnTo>
                      <a:lnTo>
                        <a:pt x="4366" y="1734"/>
                      </a:lnTo>
                      <a:lnTo>
                        <a:pt x="4844" y="897"/>
                      </a:lnTo>
                      <a:lnTo>
                        <a:pt x="4904" y="778"/>
                      </a:lnTo>
                      <a:lnTo>
                        <a:pt x="5143" y="419"/>
                      </a:lnTo>
                      <a:lnTo>
                        <a:pt x="5681" y="299"/>
                      </a:lnTo>
                      <a:lnTo>
                        <a:pt x="6818" y="0"/>
                      </a:lnTo>
                      <a:lnTo>
                        <a:pt x="6818" y="0"/>
                      </a:lnTo>
                      <a:lnTo>
                        <a:pt x="6877" y="0"/>
                      </a:lnTo>
                    </a:path>
                  </a:pathLst>
                </a:custGeom>
                <a:noFill/>
                <a:ln w="6350" cap="rnd">
                  <a:solidFill>
                    <a:schemeClr val="bg1">
                      <a:alpha val="40000"/>
                    </a:schemeClr>
                  </a:solidFill>
                  <a:prstDash val="solid"/>
                  <a:round/>
                </a:ln>
              </p:spPr>
              <p:txBody>
                <a:bodyPr rtlCol="0" anchor="ctr"/>
                <a:lstStyle/>
                <a:p>
                  <a:endParaRPr lang="en-GB"/>
                </a:p>
              </p:txBody>
            </p:sp>
            <p:sp>
              <p:nvSpPr>
                <p:cNvPr id="6620" name="Vrije vorm: vorm 6619">
                  <a:extLst>
                    <a:ext uri="{FF2B5EF4-FFF2-40B4-BE49-F238E27FC236}">
                      <a16:creationId xmlns:a16="http://schemas.microsoft.com/office/drawing/2014/main" id="{412323BB-C8BC-4FC8-9474-A004E448FF00}"/>
                    </a:ext>
                  </a:extLst>
                </p:cNvPr>
                <p:cNvSpPr/>
                <p:nvPr/>
              </p:nvSpPr>
              <p:spPr>
                <a:xfrm>
                  <a:off x="6721095" y="1809149"/>
                  <a:ext cx="3289" cy="3050"/>
                </a:xfrm>
                <a:custGeom>
                  <a:avLst/>
                  <a:gdLst>
                    <a:gd name="connsiteX0" fmla="*/ 0 w 3289"/>
                    <a:gd name="connsiteY0" fmla="*/ 0 h 3050"/>
                    <a:gd name="connsiteX1" fmla="*/ 0 w 3289"/>
                    <a:gd name="connsiteY1" fmla="*/ 0 h 3050"/>
                    <a:gd name="connsiteX2" fmla="*/ 2153 w 3289"/>
                    <a:gd name="connsiteY2" fmla="*/ 1136 h 3050"/>
                    <a:gd name="connsiteX3" fmla="*/ 3289 w 3289"/>
                    <a:gd name="connsiteY3" fmla="*/ 1794 h 3050"/>
                    <a:gd name="connsiteX4" fmla="*/ 2871 w 3289"/>
                    <a:gd name="connsiteY4" fmla="*/ 3050 h 3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 h="3050">
                      <a:moveTo>
                        <a:pt x="0" y="0"/>
                      </a:moveTo>
                      <a:lnTo>
                        <a:pt x="0" y="0"/>
                      </a:lnTo>
                      <a:lnTo>
                        <a:pt x="2153" y="1136"/>
                      </a:lnTo>
                      <a:lnTo>
                        <a:pt x="3289" y="1794"/>
                      </a:lnTo>
                      <a:lnTo>
                        <a:pt x="2871" y="3050"/>
                      </a:lnTo>
                    </a:path>
                  </a:pathLst>
                </a:custGeom>
                <a:noFill/>
                <a:ln w="6350" cap="rnd">
                  <a:solidFill>
                    <a:schemeClr val="bg1">
                      <a:alpha val="40000"/>
                    </a:schemeClr>
                  </a:solidFill>
                  <a:prstDash val="solid"/>
                  <a:round/>
                </a:ln>
              </p:spPr>
              <p:txBody>
                <a:bodyPr rtlCol="0" anchor="ctr"/>
                <a:lstStyle/>
                <a:p>
                  <a:endParaRPr lang="en-GB"/>
                </a:p>
              </p:txBody>
            </p:sp>
            <p:sp>
              <p:nvSpPr>
                <p:cNvPr id="6621" name="Vrije vorm: vorm 6620">
                  <a:extLst>
                    <a:ext uri="{FF2B5EF4-FFF2-40B4-BE49-F238E27FC236}">
                      <a16:creationId xmlns:a16="http://schemas.microsoft.com/office/drawing/2014/main" id="{C8F6A9F7-C8E7-4E7D-83DD-D54C730EEFE7}"/>
                    </a:ext>
                  </a:extLst>
                </p:cNvPr>
                <p:cNvSpPr/>
                <p:nvPr/>
              </p:nvSpPr>
              <p:spPr>
                <a:xfrm>
                  <a:off x="6656743" y="1803945"/>
                  <a:ext cx="13755" cy="10645"/>
                </a:xfrm>
                <a:custGeom>
                  <a:avLst/>
                  <a:gdLst>
                    <a:gd name="connsiteX0" fmla="*/ 0 w 13755"/>
                    <a:gd name="connsiteY0" fmla="*/ 8732 h 10645"/>
                    <a:gd name="connsiteX1" fmla="*/ 2093 w 13755"/>
                    <a:gd name="connsiteY1" fmla="*/ 1854 h 10645"/>
                    <a:gd name="connsiteX2" fmla="*/ 6340 w 13755"/>
                    <a:gd name="connsiteY2" fmla="*/ 0 h 10645"/>
                    <a:gd name="connsiteX3" fmla="*/ 9031 w 13755"/>
                    <a:gd name="connsiteY3" fmla="*/ 957 h 10645"/>
                    <a:gd name="connsiteX4" fmla="*/ 11184 w 13755"/>
                    <a:gd name="connsiteY4" fmla="*/ 2990 h 10645"/>
                    <a:gd name="connsiteX5" fmla="*/ 11842 w 13755"/>
                    <a:gd name="connsiteY5" fmla="*/ 3588 h 10645"/>
                    <a:gd name="connsiteX6" fmla="*/ 12978 w 13755"/>
                    <a:gd name="connsiteY6" fmla="*/ 7715 h 10645"/>
                    <a:gd name="connsiteX7" fmla="*/ 13756 w 13755"/>
                    <a:gd name="connsiteY7" fmla="*/ 10646 h 1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55" h="10645">
                      <a:moveTo>
                        <a:pt x="0" y="8732"/>
                      </a:moveTo>
                      <a:lnTo>
                        <a:pt x="2093" y="1854"/>
                      </a:lnTo>
                      <a:lnTo>
                        <a:pt x="6340" y="0"/>
                      </a:lnTo>
                      <a:lnTo>
                        <a:pt x="9031" y="957"/>
                      </a:lnTo>
                      <a:lnTo>
                        <a:pt x="11184" y="2990"/>
                      </a:lnTo>
                      <a:lnTo>
                        <a:pt x="11842" y="3588"/>
                      </a:lnTo>
                      <a:lnTo>
                        <a:pt x="12978" y="7715"/>
                      </a:lnTo>
                      <a:lnTo>
                        <a:pt x="13756" y="10646"/>
                      </a:lnTo>
                    </a:path>
                  </a:pathLst>
                </a:custGeom>
                <a:noFill/>
                <a:ln w="6350" cap="rnd">
                  <a:solidFill>
                    <a:schemeClr val="bg1">
                      <a:alpha val="40000"/>
                    </a:schemeClr>
                  </a:solidFill>
                  <a:prstDash val="solid"/>
                  <a:round/>
                </a:ln>
              </p:spPr>
              <p:txBody>
                <a:bodyPr rtlCol="0" anchor="ctr"/>
                <a:lstStyle/>
                <a:p>
                  <a:endParaRPr lang="en-GB"/>
                </a:p>
              </p:txBody>
            </p:sp>
            <p:sp>
              <p:nvSpPr>
                <p:cNvPr id="6622" name="Vrije vorm: vorm 6621">
                  <a:extLst>
                    <a:ext uri="{FF2B5EF4-FFF2-40B4-BE49-F238E27FC236}">
                      <a16:creationId xmlns:a16="http://schemas.microsoft.com/office/drawing/2014/main" id="{99298282-B591-4610-8993-8367359D05E9}"/>
                    </a:ext>
                  </a:extLst>
                </p:cNvPr>
                <p:cNvSpPr/>
                <p:nvPr/>
              </p:nvSpPr>
              <p:spPr>
                <a:xfrm>
                  <a:off x="6817265" y="1923919"/>
                  <a:ext cx="8731" cy="3169"/>
                </a:xfrm>
                <a:custGeom>
                  <a:avLst/>
                  <a:gdLst>
                    <a:gd name="connsiteX0" fmla="*/ 8732 w 8731"/>
                    <a:gd name="connsiteY0" fmla="*/ 3170 h 3169"/>
                    <a:gd name="connsiteX1" fmla="*/ 7416 w 8731"/>
                    <a:gd name="connsiteY1" fmla="*/ 2751 h 3169"/>
                    <a:gd name="connsiteX2" fmla="*/ 6818 w 8731"/>
                    <a:gd name="connsiteY2" fmla="*/ 2572 h 3169"/>
                    <a:gd name="connsiteX3" fmla="*/ 6340 w 8731"/>
                    <a:gd name="connsiteY3" fmla="*/ 2392 h 3169"/>
                    <a:gd name="connsiteX4" fmla="*/ 3768 w 8731"/>
                    <a:gd name="connsiteY4" fmla="*/ 1495 h 3169"/>
                    <a:gd name="connsiteX5" fmla="*/ 2153 w 8731"/>
                    <a:gd name="connsiteY5" fmla="*/ 957 h 3169"/>
                    <a:gd name="connsiteX6" fmla="*/ 1256 w 8731"/>
                    <a:gd name="connsiteY6" fmla="*/ 658 h 3169"/>
                    <a:gd name="connsiteX7" fmla="*/ 1136 w 8731"/>
                    <a:gd name="connsiteY7" fmla="*/ 598 h 3169"/>
                    <a:gd name="connsiteX8" fmla="*/ 957 w 8731"/>
                    <a:gd name="connsiteY8" fmla="*/ 538 h 3169"/>
                    <a:gd name="connsiteX9" fmla="*/ 120 w 8731"/>
                    <a:gd name="connsiteY9" fmla="*/ 60 h 3169"/>
                    <a:gd name="connsiteX10" fmla="*/ 0 w 8731"/>
                    <a:gd name="connsiteY10" fmla="*/ 0 h 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 h="3169">
                      <a:moveTo>
                        <a:pt x="8732" y="3170"/>
                      </a:moveTo>
                      <a:lnTo>
                        <a:pt x="7416" y="2751"/>
                      </a:lnTo>
                      <a:lnTo>
                        <a:pt x="6818" y="2572"/>
                      </a:lnTo>
                      <a:lnTo>
                        <a:pt x="6340" y="2392"/>
                      </a:lnTo>
                      <a:lnTo>
                        <a:pt x="3768" y="1495"/>
                      </a:lnTo>
                      <a:lnTo>
                        <a:pt x="2153" y="957"/>
                      </a:lnTo>
                      <a:lnTo>
                        <a:pt x="1256" y="658"/>
                      </a:lnTo>
                      <a:lnTo>
                        <a:pt x="1136" y="598"/>
                      </a:lnTo>
                      <a:lnTo>
                        <a:pt x="957" y="538"/>
                      </a:lnTo>
                      <a:lnTo>
                        <a:pt x="120" y="6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23" name="Vrije vorm: vorm 6622">
                  <a:extLst>
                    <a:ext uri="{FF2B5EF4-FFF2-40B4-BE49-F238E27FC236}">
                      <a16:creationId xmlns:a16="http://schemas.microsoft.com/office/drawing/2014/main" id="{BD78DAA9-1014-4902-96AC-6503BA1AA749}"/>
                    </a:ext>
                  </a:extLst>
                </p:cNvPr>
                <p:cNvSpPr/>
                <p:nvPr/>
              </p:nvSpPr>
              <p:spPr>
                <a:xfrm>
                  <a:off x="6875517" y="1885941"/>
                  <a:ext cx="20274" cy="18659"/>
                </a:xfrm>
                <a:custGeom>
                  <a:avLst/>
                  <a:gdLst>
                    <a:gd name="connsiteX0" fmla="*/ 20275 w 20274"/>
                    <a:gd name="connsiteY0" fmla="*/ 778 h 18659"/>
                    <a:gd name="connsiteX1" fmla="*/ 17344 w 20274"/>
                    <a:gd name="connsiteY1" fmla="*/ 0 h 18659"/>
                    <a:gd name="connsiteX2" fmla="*/ 15550 w 20274"/>
                    <a:gd name="connsiteY2" fmla="*/ 2452 h 18659"/>
                    <a:gd name="connsiteX3" fmla="*/ 14952 w 20274"/>
                    <a:gd name="connsiteY3" fmla="*/ 3289 h 18659"/>
                    <a:gd name="connsiteX4" fmla="*/ 13815 w 20274"/>
                    <a:gd name="connsiteY4" fmla="*/ 4844 h 18659"/>
                    <a:gd name="connsiteX5" fmla="*/ 13755 w 20274"/>
                    <a:gd name="connsiteY5" fmla="*/ 4964 h 18659"/>
                    <a:gd name="connsiteX6" fmla="*/ 13457 w 20274"/>
                    <a:gd name="connsiteY6" fmla="*/ 5383 h 18659"/>
                    <a:gd name="connsiteX7" fmla="*/ 12679 w 20274"/>
                    <a:gd name="connsiteY7" fmla="*/ 6519 h 18659"/>
                    <a:gd name="connsiteX8" fmla="*/ 12260 w 20274"/>
                    <a:gd name="connsiteY8" fmla="*/ 7057 h 18659"/>
                    <a:gd name="connsiteX9" fmla="*/ 12140 w 20274"/>
                    <a:gd name="connsiteY9" fmla="*/ 7237 h 18659"/>
                    <a:gd name="connsiteX10" fmla="*/ 12021 w 20274"/>
                    <a:gd name="connsiteY10" fmla="*/ 7416 h 18659"/>
                    <a:gd name="connsiteX11" fmla="*/ 12021 w 20274"/>
                    <a:gd name="connsiteY11" fmla="*/ 7416 h 18659"/>
                    <a:gd name="connsiteX12" fmla="*/ 10944 w 20274"/>
                    <a:gd name="connsiteY12" fmla="*/ 7775 h 18659"/>
                    <a:gd name="connsiteX13" fmla="*/ 9927 w 20274"/>
                    <a:gd name="connsiteY13" fmla="*/ 8074 h 18659"/>
                    <a:gd name="connsiteX14" fmla="*/ 8672 w 20274"/>
                    <a:gd name="connsiteY14" fmla="*/ 8433 h 18659"/>
                    <a:gd name="connsiteX15" fmla="*/ 7236 w 20274"/>
                    <a:gd name="connsiteY15" fmla="*/ 10107 h 18659"/>
                    <a:gd name="connsiteX16" fmla="*/ 7117 w 20274"/>
                    <a:gd name="connsiteY16" fmla="*/ 10287 h 18659"/>
                    <a:gd name="connsiteX17" fmla="*/ 7117 w 20274"/>
                    <a:gd name="connsiteY17" fmla="*/ 10287 h 18659"/>
                    <a:gd name="connsiteX18" fmla="*/ 7117 w 20274"/>
                    <a:gd name="connsiteY18" fmla="*/ 10287 h 18659"/>
                    <a:gd name="connsiteX19" fmla="*/ 6818 w 20274"/>
                    <a:gd name="connsiteY19" fmla="*/ 10646 h 18659"/>
                    <a:gd name="connsiteX20" fmla="*/ 6160 w 20274"/>
                    <a:gd name="connsiteY20" fmla="*/ 11423 h 18659"/>
                    <a:gd name="connsiteX21" fmla="*/ 5442 w 20274"/>
                    <a:gd name="connsiteY21" fmla="*/ 12260 h 18659"/>
                    <a:gd name="connsiteX22" fmla="*/ 4426 w 20274"/>
                    <a:gd name="connsiteY22" fmla="*/ 13457 h 18659"/>
                    <a:gd name="connsiteX23" fmla="*/ 0 w 20274"/>
                    <a:gd name="connsiteY23" fmla="*/ 18660 h 18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274" h="18659">
                      <a:moveTo>
                        <a:pt x="20275" y="778"/>
                      </a:moveTo>
                      <a:lnTo>
                        <a:pt x="17344" y="0"/>
                      </a:lnTo>
                      <a:lnTo>
                        <a:pt x="15550" y="2452"/>
                      </a:lnTo>
                      <a:lnTo>
                        <a:pt x="14952" y="3289"/>
                      </a:lnTo>
                      <a:lnTo>
                        <a:pt x="13815" y="4844"/>
                      </a:lnTo>
                      <a:lnTo>
                        <a:pt x="13755" y="4964"/>
                      </a:lnTo>
                      <a:lnTo>
                        <a:pt x="13457" y="5383"/>
                      </a:lnTo>
                      <a:lnTo>
                        <a:pt x="12679" y="6519"/>
                      </a:lnTo>
                      <a:lnTo>
                        <a:pt x="12260" y="7057"/>
                      </a:lnTo>
                      <a:lnTo>
                        <a:pt x="12140" y="7237"/>
                      </a:lnTo>
                      <a:lnTo>
                        <a:pt x="12021" y="7416"/>
                      </a:lnTo>
                      <a:lnTo>
                        <a:pt x="12021" y="7416"/>
                      </a:lnTo>
                      <a:lnTo>
                        <a:pt x="10944" y="7775"/>
                      </a:lnTo>
                      <a:lnTo>
                        <a:pt x="9927" y="8074"/>
                      </a:lnTo>
                      <a:lnTo>
                        <a:pt x="8672" y="8433"/>
                      </a:lnTo>
                      <a:lnTo>
                        <a:pt x="7236" y="10107"/>
                      </a:lnTo>
                      <a:lnTo>
                        <a:pt x="7117" y="10287"/>
                      </a:lnTo>
                      <a:lnTo>
                        <a:pt x="7117" y="10287"/>
                      </a:lnTo>
                      <a:lnTo>
                        <a:pt x="7117" y="10287"/>
                      </a:lnTo>
                      <a:lnTo>
                        <a:pt x="6818" y="10646"/>
                      </a:lnTo>
                      <a:lnTo>
                        <a:pt x="6160" y="11423"/>
                      </a:lnTo>
                      <a:lnTo>
                        <a:pt x="5442" y="12260"/>
                      </a:lnTo>
                      <a:lnTo>
                        <a:pt x="4426" y="13457"/>
                      </a:lnTo>
                      <a:lnTo>
                        <a:pt x="0" y="18660"/>
                      </a:lnTo>
                    </a:path>
                  </a:pathLst>
                </a:custGeom>
                <a:noFill/>
                <a:ln w="6350" cap="rnd">
                  <a:solidFill>
                    <a:schemeClr val="bg1">
                      <a:alpha val="40000"/>
                    </a:schemeClr>
                  </a:solidFill>
                  <a:prstDash val="solid"/>
                  <a:round/>
                </a:ln>
              </p:spPr>
              <p:txBody>
                <a:bodyPr rtlCol="0" anchor="ctr"/>
                <a:lstStyle/>
                <a:p>
                  <a:endParaRPr lang="en-GB"/>
                </a:p>
              </p:txBody>
            </p:sp>
            <p:sp>
              <p:nvSpPr>
                <p:cNvPr id="6624" name="Vrije vorm: vorm 6623">
                  <a:extLst>
                    <a:ext uri="{FF2B5EF4-FFF2-40B4-BE49-F238E27FC236}">
                      <a16:creationId xmlns:a16="http://schemas.microsoft.com/office/drawing/2014/main" id="{2BAB2949-0AC5-4C7F-AAA4-CABDD6522DDD}"/>
                    </a:ext>
                  </a:extLst>
                </p:cNvPr>
                <p:cNvSpPr/>
                <p:nvPr/>
              </p:nvSpPr>
              <p:spPr>
                <a:xfrm>
                  <a:off x="6787301" y="2036775"/>
                  <a:ext cx="28289" cy="53647"/>
                </a:xfrm>
                <a:custGeom>
                  <a:avLst/>
                  <a:gdLst>
                    <a:gd name="connsiteX0" fmla="*/ 28289 w 28289"/>
                    <a:gd name="connsiteY0" fmla="*/ 50716 h 53647"/>
                    <a:gd name="connsiteX1" fmla="*/ 26734 w 28289"/>
                    <a:gd name="connsiteY1" fmla="*/ 51913 h 53647"/>
                    <a:gd name="connsiteX2" fmla="*/ 26674 w 28289"/>
                    <a:gd name="connsiteY2" fmla="*/ 51972 h 53647"/>
                    <a:gd name="connsiteX3" fmla="*/ 26375 w 28289"/>
                    <a:gd name="connsiteY3" fmla="*/ 52212 h 53647"/>
                    <a:gd name="connsiteX4" fmla="*/ 25239 w 28289"/>
                    <a:gd name="connsiteY4" fmla="*/ 53049 h 53647"/>
                    <a:gd name="connsiteX5" fmla="*/ 25000 w 28289"/>
                    <a:gd name="connsiteY5" fmla="*/ 53228 h 53647"/>
                    <a:gd name="connsiteX6" fmla="*/ 24342 w 28289"/>
                    <a:gd name="connsiteY6" fmla="*/ 53647 h 53647"/>
                    <a:gd name="connsiteX7" fmla="*/ 22547 w 28289"/>
                    <a:gd name="connsiteY7" fmla="*/ 52630 h 53647"/>
                    <a:gd name="connsiteX8" fmla="*/ 16507 w 28289"/>
                    <a:gd name="connsiteY8" fmla="*/ 44975 h 53647"/>
                    <a:gd name="connsiteX9" fmla="*/ 15131 w 28289"/>
                    <a:gd name="connsiteY9" fmla="*/ 42762 h 53647"/>
                    <a:gd name="connsiteX10" fmla="*/ 9569 w 28289"/>
                    <a:gd name="connsiteY10" fmla="*/ 33851 h 53647"/>
                    <a:gd name="connsiteX11" fmla="*/ 8433 w 28289"/>
                    <a:gd name="connsiteY11" fmla="*/ 31459 h 53647"/>
                    <a:gd name="connsiteX12" fmla="*/ 5742 w 28289"/>
                    <a:gd name="connsiteY12" fmla="*/ 25897 h 53647"/>
                    <a:gd name="connsiteX13" fmla="*/ 3230 w 28289"/>
                    <a:gd name="connsiteY13" fmla="*/ 19796 h 53647"/>
                    <a:gd name="connsiteX14" fmla="*/ 2034 w 28289"/>
                    <a:gd name="connsiteY14" fmla="*/ 16866 h 53647"/>
                    <a:gd name="connsiteX15" fmla="*/ 0 w 28289"/>
                    <a:gd name="connsiteY15" fmla="*/ 10526 h 53647"/>
                    <a:gd name="connsiteX16" fmla="*/ 299 w 28289"/>
                    <a:gd name="connsiteY16" fmla="*/ 6399 h 53647"/>
                    <a:gd name="connsiteX17" fmla="*/ 5861 w 28289"/>
                    <a:gd name="connsiteY17" fmla="*/ 0 h 5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289" h="53647">
                      <a:moveTo>
                        <a:pt x="28289" y="50716"/>
                      </a:moveTo>
                      <a:lnTo>
                        <a:pt x="26734" y="51913"/>
                      </a:lnTo>
                      <a:lnTo>
                        <a:pt x="26674" y="51972"/>
                      </a:lnTo>
                      <a:lnTo>
                        <a:pt x="26375" y="52212"/>
                      </a:lnTo>
                      <a:lnTo>
                        <a:pt x="25239" y="53049"/>
                      </a:lnTo>
                      <a:lnTo>
                        <a:pt x="25000" y="53228"/>
                      </a:lnTo>
                      <a:lnTo>
                        <a:pt x="24342" y="53647"/>
                      </a:lnTo>
                      <a:lnTo>
                        <a:pt x="22547" y="52630"/>
                      </a:lnTo>
                      <a:lnTo>
                        <a:pt x="16507" y="44975"/>
                      </a:lnTo>
                      <a:lnTo>
                        <a:pt x="15131" y="42762"/>
                      </a:lnTo>
                      <a:lnTo>
                        <a:pt x="9569" y="33851"/>
                      </a:lnTo>
                      <a:lnTo>
                        <a:pt x="8433" y="31459"/>
                      </a:lnTo>
                      <a:lnTo>
                        <a:pt x="5742" y="25897"/>
                      </a:lnTo>
                      <a:lnTo>
                        <a:pt x="3230" y="19796"/>
                      </a:lnTo>
                      <a:lnTo>
                        <a:pt x="2034" y="16866"/>
                      </a:lnTo>
                      <a:lnTo>
                        <a:pt x="0" y="10526"/>
                      </a:lnTo>
                      <a:lnTo>
                        <a:pt x="299" y="6399"/>
                      </a:lnTo>
                      <a:lnTo>
                        <a:pt x="5861" y="0"/>
                      </a:lnTo>
                    </a:path>
                  </a:pathLst>
                </a:custGeom>
                <a:noFill/>
                <a:ln w="6350" cap="rnd">
                  <a:solidFill>
                    <a:schemeClr val="bg1">
                      <a:alpha val="40000"/>
                    </a:schemeClr>
                  </a:solidFill>
                  <a:prstDash val="solid"/>
                  <a:round/>
                </a:ln>
              </p:spPr>
              <p:txBody>
                <a:bodyPr rtlCol="0" anchor="ctr"/>
                <a:lstStyle/>
                <a:p>
                  <a:endParaRPr lang="en-GB"/>
                </a:p>
              </p:txBody>
            </p:sp>
            <p:sp>
              <p:nvSpPr>
                <p:cNvPr id="6625" name="Vrije vorm: vorm 6624">
                  <a:extLst>
                    <a:ext uri="{FF2B5EF4-FFF2-40B4-BE49-F238E27FC236}">
                      <a16:creationId xmlns:a16="http://schemas.microsoft.com/office/drawing/2014/main" id="{FC93F6E5-49CA-4B7D-BBD0-C17279C32FFF}"/>
                    </a:ext>
                  </a:extLst>
                </p:cNvPr>
                <p:cNvSpPr/>
                <p:nvPr/>
              </p:nvSpPr>
              <p:spPr>
                <a:xfrm>
                  <a:off x="6712004" y="1807893"/>
                  <a:ext cx="39173" cy="33492"/>
                </a:xfrm>
                <a:custGeom>
                  <a:avLst/>
                  <a:gdLst>
                    <a:gd name="connsiteX0" fmla="*/ 0 w 39173"/>
                    <a:gd name="connsiteY0" fmla="*/ 3170 h 33492"/>
                    <a:gd name="connsiteX1" fmla="*/ 778 w 39173"/>
                    <a:gd name="connsiteY1" fmla="*/ 2033 h 33492"/>
                    <a:gd name="connsiteX2" fmla="*/ 1316 w 39173"/>
                    <a:gd name="connsiteY2" fmla="*/ 1316 h 33492"/>
                    <a:gd name="connsiteX3" fmla="*/ 1674 w 39173"/>
                    <a:gd name="connsiteY3" fmla="*/ 778 h 33492"/>
                    <a:gd name="connsiteX4" fmla="*/ 1854 w 39173"/>
                    <a:gd name="connsiteY4" fmla="*/ 478 h 33492"/>
                    <a:gd name="connsiteX5" fmla="*/ 2273 w 39173"/>
                    <a:gd name="connsiteY5" fmla="*/ 0 h 33492"/>
                    <a:gd name="connsiteX6" fmla="*/ 3050 w 39173"/>
                    <a:gd name="connsiteY6" fmla="*/ 60 h 33492"/>
                    <a:gd name="connsiteX7" fmla="*/ 7237 w 39173"/>
                    <a:gd name="connsiteY7" fmla="*/ 2093 h 33492"/>
                    <a:gd name="connsiteX8" fmla="*/ 11782 w 39173"/>
                    <a:gd name="connsiteY8" fmla="*/ 4246 h 33492"/>
                    <a:gd name="connsiteX9" fmla="*/ 11902 w 39173"/>
                    <a:gd name="connsiteY9" fmla="*/ 4306 h 33492"/>
                    <a:gd name="connsiteX10" fmla="*/ 14892 w 39173"/>
                    <a:gd name="connsiteY10" fmla="*/ 6340 h 33492"/>
                    <a:gd name="connsiteX11" fmla="*/ 22846 w 39173"/>
                    <a:gd name="connsiteY11" fmla="*/ 11782 h 33492"/>
                    <a:gd name="connsiteX12" fmla="*/ 29605 w 39173"/>
                    <a:gd name="connsiteY12" fmla="*/ 18122 h 33492"/>
                    <a:gd name="connsiteX13" fmla="*/ 35526 w 39173"/>
                    <a:gd name="connsiteY13" fmla="*/ 25837 h 33492"/>
                    <a:gd name="connsiteX14" fmla="*/ 39174 w 39173"/>
                    <a:gd name="connsiteY14" fmla="*/ 32057 h 33492"/>
                    <a:gd name="connsiteX15" fmla="*/ 38516 w 39173"/>
                    <a:gd name="connsiteY15" fmla="*/ 33492 h 3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73" h="33492">
                      <a:moveTo>
                        <a:pt x="0" y="3170"/>
                      </a:moveTo>
                      <a:lnTo>
                        <a:pt x="778" y="2033"/>
                      </a:lnTo>
                      <a:lnTo>
                        <a:pt x="1316" y="1316"/>
                      </a:lnTo>
                      <a:lnTo>
                        <a:pt x="1674" y="778"/>
                      </a:lnTo>
                      <a:lnTo>
                        <a:pt x="1854" y="478"/>
                      </a:lnTo>
                      <a:lnTo>
                        <a:pt x="2273" y="0"/>
                      </a:lnTo>
                      <a:lnTo>
                        <a:pt x="3050" y="60"/>
                      </a:lnTo>
                      <a:lnTo>
                        <a:pt x="7237" y="2093"/>
                      </a:lnTo>
                      <a:lnTo>
                        <a:pt x="11782" y="4246"/>
                      </a:lnTo>
                      <a:lnTo>
                        <a:pt x="11902" y="4306"/>
                      </a:lnTo>
                      <a:lnTo>
                        <a:pt x="14892" y="6340"/>
                      </a:lnTo>
                      <a:lnTo>
                        <a:pt x="22846" y="11782"/>
                      </a:lnTo>
                      <a:lnTo>
                        <a:pt x="29605" y="18122"/>
                      </a:lnTo>
                      <a:lnTo>
                        <a:pt x="35526" y="25837"/>
                      </a:lnTo>
                      <a:lnTo>
                        <a:pt x="39174" y="32057"/>
                      </a:lnTo>
                      <a:lnTo>
                        <a:pt x="38516" y="33492"/>
                      </a:lnTo>
                    </a:path>
                  </a:pathLst>
                </a:custGeom>
                <a:noFill/>
                <a:ln w="6350" cap="rnd">
                  <a:solidFill>
                    <a:schemeClr val="bg1">
                      <a:alpha val="40000"/>
                    </a:schemeClr>
                  </a:solidFill>
                  <a:prstDash val="solid"/>
                  <a:round/>
                </a:ln>
              </p:spPr>
              <p:txBody>
                <a:bodyPr rtlCol="0" anchor="ctr"/>
                <a:lstStyle/>
                <a:p>
                  <a:endParaRPr lang="en-GB"/>
                </a:p>
              </p:txBody>
            </p:sp>
            <p:sp>
              <p:nvSpPr>
                <p:cNvPr id="6626" name="Vrije vorm: vorm 6625">
                  <a:extLst>
                    <a:ext uri="{FF2B5EF4-FFF2-40B4-BE49-F238E27FC236}">
                      <a16:creationId xmlns:a16="http://schemas.microsoft.com/office/drawing/2014/main" id="{75941771-F98F-4B62-8F67-F442ACB643C4}"/>
                    </a:ext>
                  </a:extLst>
                </p:cNvPr>
                <p:cNvSpPr/>
                <p:nvPr/>
              </p:nvSpPr>
              <p:spPr>
                <a:xfrm>
                  <a:off x="6963015" y="1921407"/>
                  <a:ext cx="22307" cy="26614"/>
                </a:xfrm>
                <a:custGeom>
                  <a:avLst/>
                  <a:gdLst>
                    <a:gd name="connsiteX0" fmla="*/ 20753 w 22307"/>
                    <a:gd name="connsiteY0" fmla="*/ 0 h 26614"/>
                    <a:gd name="connsiteX1" fmla="*/ 21351 w 22307"/>
                    <a:gd name="connsiteY1" fmla="*/ 359 h 26614"/>
                    <a:gd name="connsiteX2" fmla="*/ 21650 w 22307"/>
                    <a:gd name="connsiteY2" fmla="*/ 538 h 26614"/>
                    <a:gd name="connsiteX3" fmla="*/ 21710 w 22307"/>
                    <a:gd name="connsiteY3" fmla="*/ 598 h 26614"/>
                    <a:gd name="connsiteX4" fmla="*/ 21949 w 22307"/>
                    <a:gd name="connsiteY4" fmla="*/ 778 h 26614"/>
                    <a:gd name="connsiteX5" fmla="*/ 22308 w 22307"/>
                    <a:gd name="connsiteY5" fmla="*/ 1017 h 26614"/>
                    <a:gd name="connsiteX6" fmla="*/ 22308 w 22307"/>
                    <a:gd name="connsiteY6" fmla="*/ 1017 h 26614"/>
                    <a:gd name="connsiteX7" fmla="*/ 21770 w 22307"/>
                    <a:gd name="connsiteY7" fmla="*/ 1854 h 26614"/>
                    <a:gd name="connsiteX8" fmla="*/ 21351 w 22307"/>
                    <a:gd name="connsiteY8" fmla="*/ 2512 h 26614"/>
                    <a:gd name="connsiteX9" fmla="*/ 18899 w 22307"/>
                    <a:gd name="connsiteY9" fmla="*/ 6399 h 26614"/>
                    <a:gd name="connsiteX10" fmla="*/ 18839 w 22307"/>
                    <a:gd name="connsiteY10" fmla="*/ 6519 h 26614"/>
                    <a:gd name="connsiteX11" fmla="*/ 17822 w 22307"/>
                    <a:gd name="connsiteY11" fmla="*/ 8134 h 26614"/>
                    <a:gd name="connsiteX12" fmla="*/ 16746 w 22307"/>
                    <a:gd name="connsiteY12" fmla="*/ 9868 h 26614"/>
                    <a:gd name="connsiteX13" fmla="*/ 16208 w 22307"/>
                    <a:gd name="connsiteY13" fmla="*/ 10765 h 26614"/>
                    <a:gd name="connsiteX14" fmla="*/ 16148 w 22307"/>
                    <a:gd name="connsiteY14" fmla="*/ 10885 h 26614"/>
                    <a:gd name="connsiteX15" fmla="*/ 15848 w 22307"/>
                    <a:gd name="connsiteY15" fmla="*/ 11363 h 26614"/>
                    <a:gd name="connsiteX16" fmla="*/ 15848 w 22307"/>
                    <a:gd name="connsiteY16" fmla="*/ 11363 h 26614"/>
                    <a:gd name="connsiteX17" fmla="*/ 15191 w 22307"/>
                    <a:gd name="connsiteY17" fmla="*/ 12380 h 26614"/>
                    <a:gd name="connsiteX18" fmla="*/ 15131 w 22307"/>
                    <a:gd name="connsiteY18" fmla="*/ 12440 h 26614"/>
                    <a:gd name="connsiteX19" fmla="*/ 14712 w 22307"/>
                    <a:gd name="connsiteY19" fmla="*/ 13098 h 26614"/>
                    <a:gd name="connsiteX20" fmla="*/ 13875 w 22307"/>
                    <a:gd name="connsiteY20" fmla="*/ 14473 h 26614"/>
                    <a:gd name="connsiteX21" fmla="*/ 13397 w 22307"/>
                    <a:gd name="connsiteY21" fmla="*/ 14952 h 26614"/>
                    <a:gd name="connsiteX22" fmla="*/ 12918 w 22307"/>
                    <a:gd name="connsiteY22" fmla="*/ 15430 h 26614"/>
                    <a:gd name="connsiteX23" fmla="*/ 11961 w 22307"/>
                    <a:gd name="connsiteY23" fmla="*/ 16447 h 26614"/>
                    <a:gd name="connsiteX24" fmla="*/ 10107 w 22307"/>
                    <a:gd name="connsiteY24" fmla="*/ 18421 h 26614"/>
                    <a:gd name="connsiteX25" fmla="*/ 9868 w 22307"/>
                    <a:gd name="connsiteY25" fmla="*/ 18660 h 26614"/>
                    <a:gd name="connsiteX26" fmla="*/ 9509 w 22307"/>
                    <a:gd name="connsiteY26" fmla="*/ 19079 h 26614"/>
                    <a:gd name="connsiteX27" fmla="*/ 8911 w 22307"/>
                    <a:gd name="connsiteY27" fmla="*/ 19736 h 26614"/>
                    <a:gd name="connsiteX28" fmla="*/ 8372 w 22307"/>
                    <a:gd name="connsiteY28" fmla="*/ 20335 h 26614"/>
                    <a:gd name="connsiteX29" fmla="*/ 8014 w 22307"/>
                    <a:gd name="connsiteY29" fmla="*/ 20693 h 26614"/>
                    <a:gd name="connsiteX30" fmla="*/ 6399 w 22307"/>
                    <a:gd name="connsiteY30" fmla="*/ 22428 h 26614"/>
                    <a:gd name="connsiteX31" fmla="*/ 5502 w 22307"/>
                    <a:gd name="connsiteY31" fmla="*/ 23385 h 26614"/>
                    <a:gd name="connsiteX32" fmla="*/ 5382 w 22307"/>
                    <a:gd name="connsiteY32" fmla="*/ 23504 h 26614"/>
                    <a:gd name="connsiteX33" fmla="*/ 4126 w 22307"/>
                    <a:gd name="connsiteY33" fmla="*/ 24880 h 26614"/>
                    <a:gd name="connsiteX34" fmla="*/ 3409 w 22307"/>
                    <a:gd name="connsiteY34" fmla="*/ 25657 h 26614"/>
                    <a:gd name="connsiteX35" fmla="*/ 1076 w 22307"/>
                    <a:gd name="connsiteY35" fmla="*/ 26315 h 26614"/>
                    <a:gd name="connsiteX36" fmla="*/ 0 w 22307"/>
                    <a:gd name="connsiteY36" fmla="*/ 26614 h 2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2307" h="26614">
                      <a:moveTo>
                        <a:pt x="20753" y="0"/>
                      </a:moveTo>
                      <a:lnTo>
                        <a:pt x="21351" y="359"/>
                      </a:lnTo>
                      <a:lnTo>
                        <a:pt x="21650" y="538"/>
                      </a:lnTo>
                      <a:lnTo>
                        <a:pt x="21710" y="598"/>
                      </a:lnTo>
                      <a:lnTo>
                        <a:pt x="21949" y="778"/>
                      </a:lnTo>
                      <a:lnTo>
                        <a:pt x="22308" y="1017"/>
                      </a:lnTo>
                      <a:lnTo>
                        <a:pt x="22308" y="1017"/>
                      </a:lnTo>
                      <a:lnTo>
                        <a:pt x="21770" y="1854"/>
                      </a:lnTo>
                      <a:lnTo>
                        <a:pt x="21351" y="2512"/>
                      </a:lnTo>
                      <a:lnTo>
                        <a:pt x="18899" y="6399"/>
                      </a:lnTo>
                      <a:lnTo>
                        <a:pt x="18839" y="6519"/>
                      </a:lnTo>
                      <a:lnTo>
                        <a:pt x="17822" y="8134"/>
                      </a:lnTo>
                      <a:lnTo>
                        <a:pt x="16746" y="9868"/>
                      </a:lnTo>
                      <a:lnTo>
                        <a:pt x="16208" y="10765"/>
                      </a:lnTo>
                      <a:lnTo>
                        <a:pt x="16148" y="10885"/>
                      </a:lnTo>
                      <a:lnTo>
                        <a:pt x="15848" y="11363"/>
                      </a:lnTo>
                      <a:lnTo>
                        <a:pt x="15848" y="11363"/>
                      </a:lnTo>
                      <a:lnTo>
                        <a:pt x="15191" y="12380"/>
                      </a:lnTo>
                      <a:lnTo>
                        <a:pt x="15131" y="12440"/>
                      </a:lnTo>
                      <a:lnTo>
                        <a:pt x="14712" y="13098"/>
                      </a:lnTo>
                      <a:lnTo>
                        <a:pt x="13875" y="14473"/>
                      </a:lnTo>
                      <a:lnTo>
                        <a:pt x="13397" y="14952"/>
                      </a:lnTo>
                      <a:lnTo>
                        <a:pt x="12918" y="15430"/>
                      </a:lnTo>
                      <a:lnTo>
                        <a:pt x="11961" y="16447"/>
                      </a:lnTo>
                      <a:lnTo>
                        <a:pt x="10107" y="18421"/>
                      </a:lnTo>
                      <a:lnTo>
                        <a:pt x="9868" y="18660"/>
                      </a:lnTo>
                      <a:lnTo>
                        <a:pt x="9509" y="19079"/>
                      </a:lnTo>
                      <a:lnTo>
                        <a:pt x="8911" y="19736"/>
                      </a:lnTo>
                      <a:lnTo>
                        <a:pt x="8372" y="20335"/>
                      </a:lnTo>
                      <a:lnTo>
                        <a:pt x="8014" y="20693"/>
                      </a:lnTo>
                      <a:lnTo>
                        <a:pt x="6399" y="22428"/>
                      </a:lnTo>
                      <a:lnTo>
                        <a:pt x="5502" y="23385"/>
                      </a:lnTo>
                      <a:lnTo>
                        <a:pt x="5382" y="23504"/>
                      </a:lnTo>
                      <a:lnTo>
                        <a:pt x="4126" y="24880"/>
                      </a:lnTo>
                      <a:lnTo>
                        <a:pt x="3409" y="25657"/>
                      </a:lnTo>
                      <a:lnTo>
                        <a:pt x="1076" y="26315"/>
                      </a:lnTo>
                      <a:lnTo>
                        <a:pt x="0" y="26614"/>
                      </a:lnTo>
                    </a:path>
                  </a:pathLst>
                </a:custGeom>
                <a:noFill/>
                <a:ln w="6350" cap="rnd">
                  <a:solidFill>
                    <a:schemeClr val="bg1">
                      <a:alpha val="40000"/>
                    </a:schemeClr>
                  </a:solidFill>
                  <a:prstDash val="solid"/>
                  <a:round/>
                </a:ln>
              </p:spPr>
              <p:txBody>
                <a:bodyPr rtlCol="0" anchor="ctr"/>
                <a:lstStyle/>
                <a:p>
                  <a:endParaRPr lang="en-GB"/>
                </a:p>
              </p:txBody>
            </p:sp>
            <p:sp>
              <p:nvSpPr>
                <p:cNvPr id="6627" name="Vrije vorm: vorm 6626">
                  <a:extLst>
                    <a:ext uri="{FF2B5EF4-FFF2-40B4-BE49-F238E27FC236}">
                      <a16:creationId xmlns:a16="http://schemas.microsoft.com/office/drawing/2014/main" id="{984CC162-FA6B-4557-9543-FB51F40F7012}"/>
                    </a:ext>
                  </a:extLst>
                </p:cNvPr>
                <p:cNvSpPr/>
                <p:nvPr/>
              </p:nvSpPr>
              <p:spPr>
                <a:xfrm>
                  <a:off x="6718763" y="1800417"/>
                  <a:ext cx="34867" cy="20095"/>
                </a:xfrm>
                <a:custGeom>
                  <a:avLst/>
                  <a:gdLst>
                    <a:gd name="connsiteX0" fmla="*/ 34868 w 34867"/>
                    <a:gd name="connsiteY0" fmla="*/ 20095 h 20095"/>
                    <a:gd name="connsiteX1" fmla="*/ 28169 w 34867"/>
                    <a:gd name="connsiteY1" fmla="*/ 17344 h 20095"/>
                    <a:gd name="connsiteX2" fmla="*/ 24999 w 34867"/>
                    <a:gd name="connsiteY2" fmla="*/ 16028 h 20095"/>
                    <a:gd name="connsiteX3" fmla="*/ 24999 w 34867"/>
                    <a:gd name="connsiteY3" fmla="*/ 16028 h 20095"/>
                    <a:gd name="connsiteX4" fmla="*/ 24940 w 34867"/>
                    <a:gd name="connsiteY4" fmla="*/ 16028 h 20095"/>
                    <a:gd name="connsiteX5" fmla="*/ 21829 w 34867"/>
                    <a:gd name="connsiteY5" fmla="*/ 14354 h 20095"/>
                    <a:gd name="connsiteX6" fmla="*/ 18899 w 34867"/>
                    <a:gd name="connsiteY6" fmla="*/ 12799 h 20095"/>
                    <a:gd name="connsiteX7" fmla="*/ 10466 w 34867"/>
                    <a:gd name="connsiteY7" fmla="*/ 6997 h 20095"/>
                    <a:gd name="connsiteX8" fmla="*/ 7595 w 34867"/>
                    <a:gd name="connsiteY8" fmla="*/ 5084 h 20095"/>
                    <a:gd name="connsiteX9" fmla="*/ 0 w 34867"/>
                    <a:gd name="connsiteY9" fmla="*/ 0 h 2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67" h="20095">
                      <a:moveTo>
                        <a:pt x="34868" y="20095"/>
                      </a:moveTo>
                      <a:lnTo>
                        <a:pt x="28169" y="17344"/>
                      </a:lnTo>
                      <a:lnTo>
                        <a:pt x="24999" y="16028"/>
                      </a:lnTo>
                      <a:lnTo>
                        <a:pt x="24999" y="16028"/>
                      </a:lnTo>
                      <a:lnTo>
                        <a:pt x="24940" y="16028"/>
                      </a:lnTo>
                      <a:lnTo>
                        <a:pt x="21829" y="14354"/>
                      </a:lnTo>
                      <a:lnTo>
                        <a:pt x="18899" y="12799"/>
                      </a:lnTo>
                      <a:lnTo>
                        <a:pt x="10466" y="6997"/>
                      </a:lnTo>
                      <a:lnTo>
                        <a:pt x="7595" y="5084"/>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28" name="Vrije vorm: vorm 6627">
                  <a:extLst>
                    <a:ext uri="{FF2B5EF4-FFF2-40B4-BE49-F238E27FC236}">
                      <a16:creationId xmlns:a16="http://schemas.microsoft.com/office/drawing/2014/main" id="{727A97A9-9623-49E7-93EB-832571D5665E}"/>
                    </a:ext>
                  </a:extLst>
                </p:cNvPr>
                <p:cNvSpPr/>
                <p:nvPr/>
              </p:nvSpPr>
              <p:spPr>
                <a:xfrm>
                  <a:off x="6905242" y="1735825"/>
                  <a:ext cx="1674" cy="4186"/>
                </a:xfrm>
                <a:custGeom>
                  <a:avLst/>
                  <a:gdLst>
                    <a:gd name="connsiteX0" fmla="*/ 0 w 1674"/>
                    <a:gd name="connsiteY0" fmla="*/ 4186 h 4186"/>
                    <a:gd name="connsiteX1" fmla="*/ 837 w 1674"/>
                    <a:gd name="connsiteY1" fmla="*/ 2093 h 4186"/>
                    <a:gd name="connsiteX2" fmla="*/ 1675 w 1674"/>
                    <a:gd name="connsiteY2" fmla="*/ 0 h 4186"/>
                  </a:gdLst>
                  <a:ahLst/>
                  <a:cxnLst>
                    <a:cxn ang="0">
                      <a:pos x="connsiteX0" y="connsiteY0"/>
                    </a:cxn>
                    <a:cxn ang="0">
                      <a:pos x="connsiteX1" y="connsiteY1"/>
                    </a:cxn>
                    <a:cxn ang="0">
                      <a:pos x="connsiteX2" y="connsiteY2"/>
                    </a:cxn>
                  </a:cxnLst>
                  <a:rect l="l" t="t" r="r" b="b"/>
                  <a:pathLst>
                    <a:path w="1674" h="4186">
                      <a:moveTo>
                        <a:pt x="0" y="4186"/>
                      </a:moveTo>
                      <a:lnTo>
                        <a:pt x="837" y="2093"/>
                      </a:lnTo>
                      <a:lnTo>
                        <a:pt x="1675" y="0"/>
                      </a:lnTo>
                    </a:path>
                  </a:pathLst>
                </a:custGeom>
                <a:noFill/>
                <a:ln w="6350" cap="rnd">
                  <a:solidFill>
                    <a:schemeClr val="bg1">
                      <a:alpha val="40000"/>
                    </a:schemeClr>
                  </a:solidFill>
                  <a:prstDash val="solid"/>
                  <a:round/>
                </a:ln>
              </p:spPr>
              <p:txBody>
                <a:bodyPr rtlCol="0" anchor="ctr"/>
                <a:lstStyle/>
                <a:p>
                  <a:endParaRPr lang="en-GB"/>
                </a:p>
              </p:txBody>
            </p:sp>
            <p:sp>
              <p:nvSpPr>
                <p:cNvPr id="6629" name="Vrije vorm: vorm 6628">
                  <a:extLst>
                    <a:ext uri="{FF2B5EF4-FFF2-40B4-BE49-F238E27FC236}">
                      <a16:creationId xmlns:a16="http://schemas.microsoft.com/office/drawing/2014/main" id="{07322FB7-59C6-4819-9D60-F09D54613B5E}"/>
                    </a:ext>
                  </a:extLst>
                </p:cNvPr>
                <p:cNvSpPr/>
                <p:nvPr/>
              </p:nvSpPr>
              <p:spPr>
                <a:xfrm>
                  <a:off x="6907814" y="1722368"/>
                  <a:ext cx="16446" cy="11243"/>
                </a:xfrm>
                <a:custGeom>
                  <a:avLst/>
                  <a:gdLst>
                    <a:gd name="connsiteX0" fmla="*/ 0 w 16446"/>
                    <a:gd name="connsiteY0" fmla="*/ 11244 h 11243"/>
                    <a:gd name="connsiteX1" fmla="*/ 598 w 16446"/>
                    <a:gd name="connsiteY1" fmla="*/ 9808 h 11243"/>
                    <a:gd name="connsiteX2" fmla="*/ 1196 w 16446"/>
                    <a:gd name="connsiteY2" fmla="*/ 8373 h 11243"/>
                    <a:gd name="connsiteX3" fmla="*/ 5083 w 16446"/>
                    <a:gd name="connsiteY3" fmla="*/ 3349 h 11243"/>
                    <a:gd name="connsiteX4" fmla="*/ 9270 w 16446"/>
                    <a:gd name="connsiteY4" fmla="*/ 778 h 11243"/>
                    <a:gd name="connsiteX5" fmla="*/ 9748 w 16446"/>
                    <a:gd name="connsiteY5" fmla="*/ 658 h 11243"/>
                    <a:gd name="connsiteX6" fmla="*/ 12080 w 16446"/>
                    <a:gd name="connsiteY6" fmla="*/ 0 h 11243"/>
                    <a:gd name="connsiteX7" fmla="*/ 15430 w 16446"/>
                    <a:gd name="connsiteY7" fmla="*/ 957 h 11243"/>
                    <a:gd name="connsiteX8" fmla="*/ 16447 w 16446"/>
                    <a:gd name="connsiteY8" fmla="*/ 1256 h 1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46" h="11243">
                      <a:moveTo>
                        <a:pt x="0" y="11244"/>
                      </a:moveTo>
                      <a:lnTo>
                        <a:pt x="598" y="9808"/>
                      </a:lnTo>
                      <a:lnTo>
                        <a:pt x="1196" y="8373"/>
                      </a:lnTo>
                      <a:lnTo>
                        <a:pt x="5083" y="3349"/>
                      </a:lnTo>
                      <a:lnTo>
                        <a:pt x="9270" y="778"/>
                      </a:lnTo>
                      <a:lnTo>
                        <a:pt x="9748" y="658"/>
                      </a:lnTo>
                      <a:lnTo>
                        <a:pt x="12080" y="0"/>
                      </a:lnTo>
                      <a:lnTo>
                        <a:pt x="15430" y="957"/>
                      </a:lnTo>
                      <a:lnTo>
                        <a:pt x="16447" y="1256"/>
                      </a:lnTo>
                    </a:path>
                  </a:pathLst>
                </a:custGeom>
                <a:noFill/>
                <a:ln w="6350" cap="rnd">
                  <a:solidFill>
                    <a:schemeClr val="bg1">
                      <a:alpha val="40000"/>
                    </a:schemeClr>
                  </a:solidFill>
                  <a:prstDash val="solid"/>
                  <a:round/>
                </a:ln>
              </p:spPr>
              <p:txBody>
                <a:bodyPr rtlCol="0" anchor="ctr"/>
                <a:lstStyle/>
                <a:p>
                  <a:endParaRPr lang="en-GB"/>
                </a:p>
              </p:txBody>
            </p:sp>
            <p:sp>
              <p:nvSpPr>
                <p:cNvPr id="6630" name="Vrije vorm: vorm 6629">
                  <a:extLst>
                    <a:ext uri="{FF2B5EF4-FFF2-40B4-BE49-F238E27FC236}">
                      <a16:creationId xmlns:a16="http://schemas.microsoft.com/office/drawing/2014/main" id="{9F998105-B629-4AA1-AFEE-C534D695F2BE}"/>
                    </a:ext>
                  </a:extLst>
                </p:cNvPr>
                <p:cNvSpPr/>
                <p:nvPr/>
              </p:nvSpPr>
              <p:spPr>
                <a:xfrm>
                  <a:off x="7071147" y="1863274"/>
                  <a:ext cx="3169" cy="2272"/>
                </a:xfrm>
                <a:custGeom>
                  <a:avLst/>
                  <a:gdLst>
                    <a:gd name="connsiteX0" fmla="*/ 3170 w 3169"/>
                    <a:gd name="connsiteY0" fmla="*/ 2273 h 2272"/>
                    <a:gd name="connsiteX1" fmla="*/ 2990 w 3169"/>
                    <a:gd name="connsiteY1" fmla="*/ 2153 h 2272"/>
                    <a:gd name="connsiteX2" fmla="*/ 0 w 3169"/>
                    <a:gd name="connsiteY2" fmla="*/ 0 h 2272"/>
                  </a:gdLst>
                  <a:ahLst/>
                  <a:cxnLst>
                    <a:cxn ang="0">
                      <a:pos x="connsiteX0" y="connsiteY0"/>
                    </a:cxn>
                    <a:cxn ang="0">
                      <a:pos x="connsiteX1" y="connsiteY1"/>
                    </a:cxn>
                    <a:cxn ang="0">
                      <a:pos x="connsiteX2" y="connsiteY2"/>
                    </a:cxn>
                  </a:cxnLst>
                  <a:rect l="l" t="t" r="r" b="b"/>
                  <a:pathLst>
                    <a:path w="3169" h="2272">
                      <a:moveTo>
                        <a:pt x="3170" y="2273"/>
                      </a:moveTo>
                      <a:lnTo>
                        <a:pt x="2990" y="2153"/>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31" name="Vrije vorm: vorm 6630">
                  <a:extLst>
                    <a:ext uri="{FF2B5EF4-FFF2-40B4-BE49-F238E27FC236}">
                      <a16:creationId xmlns:a16="http://schemas.microsoft.com/office/drawing/2014/main" id="{A1761F9F-6133-4E12-B311-889C1776F58B}"/>
                    </a:ext>
                  </a:extLst>
                </p:cNvPr>
                <p:cNvSpPr/>
                <p:nvPr/>
              </p:nvSpPr>
              <p:spPr>
                <a:xfrm>
                  <a:off x="6766130" y="1868417"/>
                  <a:ext cx="119" cy="418"/>
                </a:xfrm>
                <a:custGeom>
                  <a:avLst/>
                  <a:gdLst>
                    <a:gd name="connsiteX0" fmla="*/ 0 w 119"/>
                    <a:gd name="connsiteY0" fmla="*/ 419 h 418"/>
                    <a:gd name="connsiteX1" fmla="*/ 120 w 119"/>
                    <a:gd name="connsiteY1" fmla="*/ 0 h 418"/>
                  </a:gdLst>
                  <a:ahLst/>
                  <a:cxnLst>
                    <a:cxn ang="0">
                      <a:pos x="connsiteX0" y="connsiteY0"/>
                    </a:cxn>
                    <a:cxn ang="0">
                      <a:pos x="connsiteX1" y="connsiteY1"/>
                    </a:cxn>
                  </a:cxnLst>
                  <a:rect l="l" t="t" r="r" b="b"/>
                  <a:pathLst>
                    <a:path w="119" h="418">
                      <a:moveTo>
                        <a:pt x="0" y="419"/>
                      </a:moveTo>
                      <a:lnTo>
                        <a:pt x="120" y="0"/>
                      </a:lnTo>
                    </a:path>
                  </a:pathLst>
                </a:custGeom>
                <a:noFill/>
                <a:ln w="6350" cap="rnd">
                  <a:solidFill>
                    <a:schemeClr val="bg1">
                      <a:alpha val="40000"/>
                    </a:schemeClr>
                  </a:solidFill>
                  <a:prstDash val="solid"/>
                  <a:round/>
                </a:ln>
              </p:spPr>
              <p:txBody>
                <a:bodyPr rtlCol="0" anchor="ctr"/>
                <a:lstStyle/>
                <a:p>
                  <a:endParaRPr lang="en-GB"/>
                </a:p>
              </p:txBody>
            </p:sp>
            <p:sp>
              <p:nvSpPr>
                <p:cNvPr id="6632" name="Vrije vorm: vorm 6631">
                  <a:extLst>
                    <a:ext uri="{FF2B5EF4-FFF2-40B4-BE49-F238E27FC236}">
                      <a16:creationId xmlns:a16="http://schemas.microsoft.com/office/drawing/2014/main" id="{734C3DF1-AF45-48DF-87E4-C65445CE8533}"/>
                    </a:ext>
                  </a:extLst>
                </p:cNvPr>
                <p:cNvSpPr/>
                <p:nvPr/>
              </p:nvSpPr>
              <p:spPr>
                <a:xfrm>
                  <a:off x="7049736" y="1849399"/>
                  <a:ext cx="24520" cy="41326"/>
                </a:xfrm>
                <a:custGeom>
                  <a:avLst/>
                  <a:gdLst>
                    <a:gd name="connsiteX0" fmla="*/ 24521 w 24520"/>
                    <a:gd name="connsiteY0" fmla="*/ 0 h 41326"/>
                    <a:gd name="connsiteX1" fmla="*/ 22128 w 24520"/>
                    <a:gd name="connsiteY1" fmla="*/ 7835 h 41326"/>
                    <a:gd name="connsiteX2" fmla="*/ 21530 w 24520"/>
                    <a:gd name="connsiteY2" fmla="*/ 9509 h 41326"/>
                    <a:gd name="connsiteX3" fmla="*/ 21052 w 24520"/>
                    <a:gd name="connsiteY3" fmla="*/ 10885 h 41326"/>
                    <a:gd name="connsiteX4" fmla="*/ 20933 w 24520"/>
                    <a:gd name="connsiteY4" fmla="*/ 11124 h 41326"/>
                    <a:gd name="connsiteX5" fmla="*/ 20275 w 24520"/>
                    <a:gd name="connsiteY5" fmla="*/ 13038 h 41326"/>
                    <a:gd name="connsiteX6" fmla="*/ 16088 w 24520"/>
                    <a:gd name="connsiteY6" fmla="*/ 24940 h 41326"/>
                    <a:gd name="connsiteX7" fmla="*/ 11064 w 24520"/>
                    <a:gd name="connsiteY7" fmla="*/ 36423 h 41326"/>
                    <a:gd name="connsiteX8" fmla="*/ 9091 w 24520"/>
                    <a:gd name="connsiteY8" fmla="*/ 40250 h 41326"/>
                    <a:gd name="connsiteX9" fmla="*/ 8432 w 24520"/>
                    <a:gd name="connsiteY9" fmla="*/ 40609 h 41326"/>
                    <a:gd name="connsiteX10" fmla="*/ 7596 w 24520"/>
                    <a:gd name="connsiteY10" fmla="*/ 41028 h 41326"/>
                    <a:gd name="connsiteX11" fmla="*/ 7177 w 24520"/>
                    <a:gd name="connsiteY11" fmla="*/ 41088 h 41326"/>
                    <a:gd name="connsiteX12" fmla="*/ 6041 w 24520"/>
                    <a:gd name="connsiteY12" fmla="*/ 41327 h 41326"/>
                    <a:gd name="connsiteX13" fmla="*/ 5981 w 24520"/>
                    <a:gd name="connsiteY13" fmla="*/ 41327 h 41326"/>
                    <a:gd name="connsiteX14" fmla="*/ 5921 w 24520"/>
                    <a:gd name="connsiteY14" fmla="*/ 41267 h 41326"/>
                    <a:gd name="connsiteX15" fmla="*/ 4664 w 24520"/>
                    <a:gd name="connsiteY15" fmla="*/ 40669 h 41326"/>
                    <a:gd name="connsiteX16" fmla="*/ 4126 w 24520"/>
                    <a:gd name="connsiteY16" fmla="*/ 40370 h 41326"/>
                    <a:gd name="connsiteX17" fmla="*/ 2571 w 24520"/>
                    <a:gd name="connsiteY17" fmla="*/ 39652 h 41326"/>
                    <a:gd name="connsiteX18" fmla="*/ 2333 w 24520"/>
                    <a:gd name="connsiteY18" fmla="*/ 39533 h 41326"/>
                    <a:gd name="connsiteX19" fmla="*/ 0 w 24520"/>
                    <a:gd name="connsiteY19" fmla="*/ 38516 h 4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520" h="41326">
                      <a:moveTo>
                        <a:pt x="24521" y="0"/>
                      </a:moveTo>
                      <a:lnTo>
                        <a:pt x="22128" y="7835"/>
                      </a:lnTo>
                      <a:lnTo>
                        <a:pt x="21530" y="9509"/>
                      </a:lnTo>
                      <a:lnTo>
                        <a:pt x="21052" y="10885"/>
                      </a:lnTo>
                      <a:lnTo>
                        <a:pt x="20933" y="11124"/>
                      </a:lnTo>
                      <a:lnTo>
                        <a:pt x="20275" y="13038"/>
                      </a:lnTo>
                      <a:lnTo>
                        <a:pt x="16088" y="24940"/>
                      </a:lnTo>
                      <a:lnTo>
                        <a:pt x="11064" y="36423"/>
                      </a:lnTo>
                      <a:lnTo>
                        <a:pt x="9091" y="40250"/>
                      </a:lnTo>
                      <a:lnTo>
                        <a:pt x="8432" y="40609"/>
                      </a:lnTo>
                      <a:lnTo>
                        <a:pt x="7596" y="41028"/>
                      </a:lnTo>
                      <a:lnTo>
                        <a:pt x="7177" y="41088"/>
                      </a:lnTo>
                      <a:lnTo>
                        <a:pt x="6041" y="41327"/>
                      </a:lnTo>
                      <a:lnTo>
                        <a:pt x="5981" y="41327"/>
                      </a:lnTo>
                      <a:lnTo>
                        <a:pt x="5921" y="41267"/>
                      </a:lnTo>
                      <a:lnTo>
                        <a:pt x="4664" y="40669"/>
                      </a:lnTo>
                      <a:lnTo>
                        <a:pt x="4126" y="40370"/>
                      </a:lnTo>
                      <a:lnTo>
                        <a:pt x="2571" y="39652"/>
                      </a:lnTo>
                      <a:lnTo>
                        <a:pt x="2333" y="39533"/>
                      </a:lnTo>
                      <a:lnTo>
                        <a:pt x="0" y="38516"/>
                      </a:lnTo>
                    </a:path>
                  </a:pathLst>
                </a:custGeom>
                <a:noFill/>
                <a:ln w="6350" cap="rnd">
                  <a:solidFill>
                    <a:schemeClr val="bg1">
                      <a:alpha val="40000"/>
                    </a:schemeClr>
                  </a:solidFill>
                  <a:prstDash val="solid"/>
                  <a:round/>
                </a:ln>
              </p:spPr>
              <p:txBody>
                <a:bodyPr rtlCol="0" anchor="ctr"/>
                <a:lstStyle/>
                <a:p>
                  <a:endParaRPr lang="en-GB"/>
                </a:p>
              </p:txBody>
            </p:sp>
            <p:sp>
              <p:nvSpPr>
                <p:cNvPr id="6633" name="Vrije vorm: vorm 6632">
                  <a:extLst>
                    <a:ext uri="{FF2B5EF4-FFF2-40B4-BE49-F238E27FC236}">
                      <a16:creationId xmlns:a16="http://schemas.microsoft.com/office/drawing/2014/main" id="{EF8C7194-05D8-4528-BB30-D117E0AB5208}"/>
                    </a:ext>
                  </a:extLst>
                </p:cNvPr>
                <p:cNvSpPr/>
                <p:nvPr/>
              </p:nvSpPr>
              <p:spPr>
                <a:xfrm>
                  <a:off x="6612545" y="1910283"/>
                  <a:ext cx="1076" cy="2990"/>
                </a:xfrm>
                <a:custGeom>
                  <a:avLst/>
                  <a:gdLst>
                    <a:gd name="connsiteX0" fmla="*/ 0 w 1076"/>
                    <a:gd name="connsiteY0" fmla="*/ 0 h 2990"/>
                    <a:gd name="connsiteX1" fmla="*/ 1076 w 1076"/>
                    <a:gd name="connsiteY1" fmla="*/ 2990 h 2990"/>
                  </a:gdLst>
                  <a:ahLst/>
                  <a:cxnLst>
                    <a:cxn ang="0">
                      <a:pos x="connsiteX0" y="connsiteY0"/>
                    </a:cxn>
                    <a:cxn ang="0">
                      <a:pos x="connsiteX1" y="connsiteY1"/>
                    </a:cxn>
                  </a:cxnLst>
                  <a:rect l="l" t="t" r="r" b="b"/>
                  <a:pathLst>
                    <a:path w="1076" h="2990">
                      <a:moveTo>
                        <a:pt x="0" y="0"/>
                      </a:moveTo>
                      <a:lnTo>
                        <a:pt x="1076" y="2990"/>
                      </a:lnTo>
                    </a:path>
                  </a:pathLst>
                </a:custGeom>
                <a:noFill/>
                <a:ln w="6350" cap="rnd">
                  <a:solidFill>
                    <a:schemeClr val="bg1">
                      <a:alpha val="40000"/>
                    </a:schemeClr>
                  </a:solidFill>
                  <a:prstDash val="solid"/>
                  <a:round/>
                </a:ln>
              </p:spPr>
              <p:txBody>
                <a:bodyPr rtlCol="0" anchor="ctr"/>
                <a:lstStyle/>
                <a:p>
                  <a:endParaRPr lang="en-GB"/>
                </a:p>
              </p:txBody>
            </p:sp>
            <p:sp>
              <p:nvSpPr>
                <p:cNvPr id="6634" name="Vrije vorm: vorm 6633">
                  <a:extLst>
                    <a:ext uri="{FF2B5EF4-FFF2-40B4-BE49-F238E27FC236}">
                      <a16:creationId xmlns:a16="http://schemas.microsoft.com/office/drawing/2014/main" id="{724D96CD-988B-450F-BBC1-23A7399631AC}"/>
                    </a:ext>
                  </a:extLst>
                </p:cNvPr>
                <p:cNvSpPr/>
                <p:nvPr/>
              </p:nvSpPr>
              <p:spPr>
                <a:xfrm>
                  <a:off x="6923244" y="1718660"/>
                  <a:ext cx="5801" cy="4545"/>
                </a:xfrm>
                <a:custGeom>
                  <a:avLst/>
                  <a:gdLst>
                    <a:gd name="connsiteX0" fmla="*/ 0 w 5801"/>
                    <a:gd name="connsiteY0" fmla="*/ 4545 h 4545"/>
                    <a:gd name="connsiteX1" fmla="*/ 4665 w 5801"/>
                    <a:gd name="connsiteY1" fmla="*/ 478 h 4545"/>
                    <a:gd name="connsiteX2" fmla="*/ 5801 w 5801"/>
                    <a:gd name="connsiteY2" fmla="*/ 0 h 4545"/>
                  </a:gdLst>
                  <a:ahLst/>
                  <a:cxnLst>
                    <a:cxn ang="0">
                      <a:pos x="connsiteX0" y="connsiteY0"/>
                    </a:cxn>
                    <a:cxn ang="0">
                      <a:pos x="connsiteX1" y="connsiteY1"/>
                    </a:cxn>
                    <a:cxn ang="0">
                      <a:pos x="connsiteX2" y="connsiteY2"/>
                    </a:cxn>
                  </a:cxnLst>
                  <a:rect l="l" t="t" r="r" b="b"/>
                  <a:pathLst>
                    <a:path w="5801" h="4545">
                      <a:moveTo>
                        <a:pt x="0" y="4545"/>
                      </a:moveTo>
                      <a:lnTo>
                        <a:pt x="4665" y="478"/>
                      </a:lnTo>
                      <a:lnTo>
                        <a:pt x="5801" y="0"/>
                      </a:lnTo>
                    </a:path>
                  </a:pathLst>
                </a:custGeom>
                <a:noFill/>
                <a:ln w="6350" cap="rnd">
                  <a:solidFill>
                    <a:schemeClr val="bg1">
                      <a:alpha val="40000"/>
                    </a:schemeClr>
                  </a:solidFill>
                  <a:prstDash val="solid"/>
                  <a:round/>
                </a:ln>
              </p:spPr>
              <p:txBody>
                <a:bodyPr rtlCol="0" anchor="ctr"/>
                <a:lstStyle/>
                <a:p>
                  <a:endParaRPr lang="en-GB"/>
                </a:p>
              </p:txBody>
            </p:sp>
            <p:sp>
              <p:nvSpPr>
                <p:cNvPr id="6635" name="Vrije vorm: vorm 6634">
                  <a:extLst>
                    <a:ext uri="{FF2B5EF4-FFF2-40B4-BE49-F238E27FC236}">
                      <a16:creationId xmlns:a16="http://schemas.microsoft.com/office/drawing/2014/main" id="{E79ACE8C-5590-41BD-87CD-7370CF0C1665}"/>
                    </a:ext>
                  </a:extLst>
                </p:cNvPr>
                <p:cNvSpPr/>
                <p:nvPr/>
              </p:nvSpPr>
              <p:spPr>
                <a:xfrm>
                  <a:off x="6663381" y="1925115"/>
                  <a:ext cx="24042" cy="24162"/>
                </a:xfrm>
                <a:custGeom>
                  <a:avLst/>
                  <a:gdLst>
                    <a:gd name="connsiteX0" fmla="*/ 24043 w 24042"/>
                    <a:gd name="connsiteY0" fmla="*/ 24162 h 24162"/>
                    <a:gd name="connsiteX1" fmla="*/ 23145 w 24042"/>
                    <a:gd name="connsiteY1" fmla="*/ 23325 h 24162"/>
                    <a:gd name="connsiteX2" fmla="*/ 22846 w 24042"/>
                    <a:gd name="connsiteY2" fmla="*/ 23026 h 24162"/>
                    <a:gd name="connsiteX3" fmla="*/ 20933 w 24042"/>
                    <a:gd name="connsiteY3" fmla="*/ 21291 h 24162"/>
                    <a:gd name="connsiteX4" fmla="*/ 19079 w 24042"/>
                    <a:gd name="connsiteY4" fmla="*/ 19617 h 24162"/>
                    <a:gd name="connsiteX5" fmla="*/ 12918 w 24042"/>
                    <a:gd name="connsiteY5" fmla="*/ 13995 h 24162"/>
                    <a:gd name="connsiteX6" fmla="*/ 3708 w 24042"/>
                    <a:gd name="connsiteY6" fmla="*/ 5682 h 24162"/>
                    <a:gd name="connsiteX7" fmla="*/ 2213 w 24042"/>
                    <a:gd name="connsiteY7" fmla="*/ 3588 h 24162"/>
                    <a:gd name="connsiteX8" fmla="*/ 1854 w 24042"/>
                    <a:gd name="connsiteY8" fmla="*/ 3110 h 24162"/>
                    <a:gd name="connsiteX9" fmla="*/ 1495 w 24042"/>
                    <a:gd name="connsiteY9" fmla="*/ 2512 h 24162"/>
                    <a:gd name="connsiteX10" fmla="*/ 0 w 24042"/>
                    <a:gd name="connsiteY10" fmla="*/ 0 h 2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42" h="24162">
                      <a:moveTo>
                        <a:pt x="24043" y="24162"/>
                      </a:moveTo>
                      <a:lnTo>
                        <a:pt x="23145" y="23325"/>
                      </a:lnTo>
                      <a:lnTo>
                        <a:pt x="22846" y="23026"/>
                      </a:lnTo>
                      <a:lnTo>
                        <a:pt x="20933" y="21291"/>
                      </a:lnTo>
                      <a:lnTo>
                        <a:pt x="19079" y="19617"/>
                      </a:lnTo>
                      <a:lnTo>
                        <a:pt x="12918" y="13995"/>
                      </a:lnTo>
                      <a:lnTo>
                        <a:pt x="3708" y="5682"/>
                      </a:lnTo>
                      <a:lnTo>
                        <a:pt x="2213" y="3588"/>
                      </a:lnTo>
                      <a:lnTo>
                        <a:pt x="1854" y="3110"/>
                      </a:lnTo>
                      <a:lnTo>
                        <a:pt x="1495" y="2512"/>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36" name="Vrije vorm: vorm 6635">
                  <a:extLst>
                    <a:ext uri="{FF2B5EF4-FFF2-40B4-BE49-F238E27FC236}">
                      <a16:creationId xmlns:a16="http://schemas.microsoft.com/office/drawing/2014/main" id="{6437343C-800D-4453-9494-74E0D7791409}"/>
                    </a:ext>
                  </a:extLst>
                </p:cNvPr>
                <p:cNvSpPr/>
                <p:nvPr/>
              </p:nvSpPr>
              <p:spPr>
                <a:xfrm>
                  <a:off x="6766907" y="1918177"/>
                  <a:ext cx="6040" cy="10286"/>
                </a:xfrm>
                <a:custGeom>
                  <a:avLst/>
                  <a:gdLst>
                    <a:gd name="connsiteX0" fmla="*/ 0 w 6040"/>
                    <a:gd name="connsiteY0" fmla="*/ 0 h 10286"/>
                    <a:gd name="connsiteX1" fmla="*/ 1914 w 6040"/>
                    <a:gd name="connsiteY1" fmla="*/ 179 h 10286"/>
                    <a:gd name="connsiteX2" fmla="*/ 3469 w 6040"/>
                    <a:gd name="connsiteY2" fmla="*/ 299 h 10286"/>
                    <a:gd name="connsiteX3" fmla="*/ 4067 w 6040"/>
                    <a:gd name="connsiteY3" fmla="*/ 359 h 10286"/>
                    <a:gd name="connsiteX4" fmla="*/ 4127 w 6040"/>
                    <a:gd name="connsiteY4" fmla="*/ 359 h 10286"/>
                    <a:gd name="connsiteX5" fmla="*/ 3888 w 6040"/>
                    <a:gd name="connsiteY5" fmla="*/ 2931 h 10286"/>
                    <a:gd name="connsiteX6" fmla="*/ 3888 w 6040"/>
                    <a:gd name="connsiteY6" fmla="*/ 3170 h 10286"/>
                    <a:gd name="connsiteX7" fmla="*/ 3947 w 6040"/>
                    <a:gd name="connsiteY7" fmla="*/ 3289 h 10286"/>
                    <a:gd name="connsiteX8" fmla="*/ 4366 w 6040"/>
                    <a:gd name="connsiteY8" fmla="*/ 4007 h 10286"/>
                    <a:gd name="connsiteX9" fmla="*/ 5442 w 6040"/>
                    <a:gd name="connsiteY9" fmla="*/ 5801 h 10286"/>
                    <a:gd name="connsiteX10" fmla="*/ 6041 w 6040"/>
                    <a:gd name="connsiteY10" fmla="*/ 6818 h 10286"/>
                    <a:gd name="connsiteX11" fmla="*/ 6041 w 6040"/>
                    <a:gd name="connsiteY11" fmla="*/ 6938 h 10286"/>
                    <a:gd name="connsiteX12" fmla="*/ 5921 w 6040"/>
                    <a:gd name="connsiteY12" fmla="*/ 7954 h 10286"/>
                    <a:gd name="connsiteX13" fmla="*/ 5562 w 6040"/>
                    <a:gd name="connsiteY13" fmla="*/ 10287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40" h="10286">
                      <a:moveTo>
                        <a:pt x="0" y="0"/>
                      </a:moveTo>
                      <a:lnTo>
                        <a:pt x="1914" y="179"/>
                      </a:lnTo>
                      <a:lnTo>
                        <a:pt x="3469" y="299"/>
                      </a:lnTo>
                      <a:lnTo>
                        <a:pt x="4067" y="359"/>
                      </a:lnTo>
                      <a:lnTo>
                        <a:pt x="4127" y="359"/>
                      </a:lnTo>
                      <a:lnTo>
                        <a:pt x="3888" y="2931"/>
                      </a:lnTo>
                      <a:lnTo>
                        <a:pt x="3888" y="3170"/>
                      </a:lnTo>
                      <a:lnTo>
                        <a:pt x="3947" y="3289"/>
                      </a:lnTo>
                      <a:lnTo>
                        <a:pt x="4366" y="4007"/>
                      </a:lnTo>
                      <a:lnTo>
                        <a:pt x="5442" y="5801"/>
                      </a:lnTo>
                      <a:lnTo>
                        <a:pt x="6041" y="6818"/>
                      </a:lnTo>
                      <a:lnTo>
                        <a:pt x="6041" y="6938"/>
                      </a:lnTo>
                      <a:lnTo>
                        <a:pt x="5921" y="7954"/>
                      </a:lnTo>
                      <a:lnTo>
                        <a:pt x="5562" y="10287"/>
                      </a:lnTo>
                    </a:path>
                  </a:pathLst>
                </a:custGeom>
                <a:noFill/>
                <a:ln w="6350" cap="rnd">
                  <a:solidFill>
                    <a:schemeClr val="bg1">
                      <a:alpha val="40000"/>
                    </a:schemeClr>
                  </a:solidFill>
                  <a:prstDash val="solid"/>
                  <a:round/>
                </a:ln>
              </p:spPr>
              <p:txBody>
                <a:bodyPr rtlCol="0" anchor="ctr"/>
                <a:lstStyle/>
                <a:p>
                  <a:endParaRPr lang="en-GB"/>
                </a:p>
              </p:txBody>
            </p:sp>
            <p:sp>
              <p:nvSpPr>
                <p:cNvPr id="6637" name="Vrije vorm: vorm 6636">
                  <a:extLst>
                    <a:ext uri="{FF2B5EF4-FFF2-40B4-BE49-F238E27FC236}">
                      <a16:creationId xmlns:a16="http://schemas.microsoft.com/office/drawing/2014/main" id="{651BC1DE-8818-4FCE-B8E8-E4A265D41739}"/>
                    </a:ext>
                  </a:extLst>
                </p:cNvPr>
                <p:cNvSpPr/>
                <p:nvPr/>
              </p:nvSpPr>
              <p:spPr>
                <a:xfrm>
                  <a:off x="7072164" y="1796888"/>
                  <a:ext cx="717" cy="3708"/>
                </a:xfrm>
                <a:custGeom>
                  <a:avLst/>
                  <a:gdLst>
                    <a:gd name="connsiteX0" fmla="*/ 0 w 717"/>
                    <a:gd name="connsiteY0" fmla="*/ 0 h 3708"/>
                    <a:gd name="connsiteX1" fmla="*/ 718 w 717"/>
                    <a:gd name="connsiteY1" fmla="*/ 1376 h 3708"/>
                    <a:gd name="connsiteX2" fmla="*/ 658 w 717"/>
                    <a:gd name="connsiteY2" fmla="*/ 1854 h 3708"/>
                    <a:gd name="connsiteX3" fmla="*/ 658 w 717"/>
                    <a:gd name="connsiteY3" fmla="*/ 1914 h 3708"/>
                    <a:gd name="connsiteX4" fmla="*/ 538 w 717"/>
                    <a:gd name="connsiteY4" fmla="*/ 2811 h 3708"/>
                    <a:gd name="connsiteX5" fmla="*/ 418 w 717"/>
                    <a:gd name="connsiteY5" fmla="*/ 3708 h 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7" h="3708">
                      <a:moveTo>
                        <a:pt x="0" y="0"/>
                      </a:moveTo>
                      <a:lnTo>
                        <a:pt x="718" y="1376"/>
                      </a:lnTo>
                      <a:lnTo>
                        <a:pt x="658" y="1854"/>
                      </a:lnTo>
                      <a:lnTo>
                        <a:pt x="658" y="1914"/>
                      </a:lnTo>
                      <a:lnTo>
                        <a:pt x="538" y="2811"/>
                      </a:lnTo>
                      <a:lnTo>
                        <a:pt x="418" y="3708"/>
                      </a:lnTo>
                    </a:path>
                  </a:pathLst>
                </a:custGeom>
                <a:noFill/>
                <a:ln w="6350" cap="rnd">
                  <a:solidFill>
                    <a:schemeClr val="bg1">
                      <a:alpha val="40000"/>
                    </a:schemeClr>
                  </a:solidFill>
                  <a:prstDash val="solid"/>
                  <a:round/>
                </a:ln>
              </p:spPr>
              <p:txBody>
                <a:bodyPr rtlCol="0" anchor="ctr"/>
                <a:lstStyle/>
                <a:p>
                  <a:endParaRPr lang="en-GB"/>
                </a:p>
              </p:txBody>
            </p:sp>
            <p:sp>
              <p:nvSpPr>
                <p:cNvPr id="6638" name="Vrije vorm: vorm 6637">
                  <a:extLst>
                    <a:ext uri="{FF2B5EF4-FFF2-40B4-BE49-F238E27FC236}">
                      <a16:creationId xmlns:a16="http://schemas.microsoft.com/office/drawing/2014/main" id="{C71EBB9D-F835-4DC0-A48F-53F58AD1BC6D}"/>
                    </a:ext>
                  </a:extLst>
                </p:cNvPr>
                <p:cNvSpPr/>
                <p:nvPr/>
              </p:nvSpPr>
              <p:spPr>
                <a:xfrm>
                  <a:off x="6593108" y="1913751"/>
                  <a:ext cx="29604" cy="45752"/>
                </a:xfrm>
                <a:custGeom>
                  <a:avLst/>
                  <a:gdLst>
                    <a:gd name="connsiteX0" fmla="*/ 29605 w 29604"/>
                    <a:gd name="connsiteY0" fmla="*/ 43181 h 45752"/>
                    <a:gd name="connsiteX1" fmla="*/ 27152 w 29604"/>
                    <a:gd name="connsiteY1" fmla="*/ 45274 h 45752"/>
                    <a:gd name="connsiteX2" fmla="*/ 26554 w 29604"/>
                    <a:gd name="connsiteY2" fmla="*/ 45753 h 45752"/>
                    <a:gd name="connsiteX3" fmla="*/ 25179 w 29604"/>
                    <a:gd name="connsiteY3" fmla="*/ 44855 h 45752"/>
                    <a:gd name="connsiteX4" fmla="*/ 18421 w 29604"/>
                    <a:gd name="connsiteY4" fmla="*/ 38157 h 45752"/>
                    <a:gd name="connsiteX5" fmla="*/ 10645 w 29604"/>
                    <a:gd name="connsiteY5" fmla="*/ 28289 h 45752"/>
                    <a:gd name="connsiteX6" fmla="*/ 6459 w 29604"/>
                    <a:gd name="connsiteY6" fmla="*/ 21052 h 45752"/>
                    <a:gd name="connsiteX7" fmla="*/ 2691 w 29604"/>
                    <a:gd name="connsiteY7" fmla="*/ 12859 h 45752"/>
                    <a:gd name="connsiteX8" fmla="*/ 718 w 29604"/>
                    <a:gd name="connsiteY8" fmla="*/ 6997 h 45752"/>
                    <a:gd name="connsiteX9" fmla="*/ 0 w 29604"/>
                    <a:gd name="connsiteY9" fmla="*/ 3230 h 45752"/>
                    <a:gd name="connsiteX10" fmla="*/ 2811 w 29604"/>
                    <a:gd name="connsiteY10" fmla="*/ 0 h 4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04" h="45752">
                      <a:moveTo>
                        <a:pt x="29605" y="43181"/>
                      </a:moveTo>
                      <a:lnTo>
                        <a:pt x="27152" y="45274"/>
                      </a:lnTo>
                      <a:lnTo>
                        <a:pt x="26554" y="45753"/>
                      </a:lnTo>
                      <a:lnTo>
                        <a:pt x="25179" y="44855"/>
                      </a:lnTo>
                      <a:lnTo>
                        <a:pt x="18421" y="38157"/>
                      </a:lnTo>
                      <a:lnTo>
                        <a:pt x="10645" y="28289"/>
                      </a:lnTo>
                      <a:lnTo>
                        <a:pt x="6459" y="21052"/>
                      </a:lnTo>
                      <a:lnTo>
                        <a:pt x="2691" y="12859"/>
                      </a:lnTo>
                      <a:lnTo>
                        <a:pt x="718" y="6997"/>
                      </a:lnTo>
                      <a:lnTo>
                        <a:pt x="0" y="3230"/>
                      </a:lnTo>
                      <a:lnTo>
                        <a:pt x="2811" y="0"/>
                      </a:lnTo>
                    </a:path>
                  </a:pathLst>
                </a:custGeom>
                <a:noFill/>
                <a:ln w="6350" cap="rnd">
                  <a:solidFill>
                    <a:schemeClr val="bg1">
                      <a:alpha val="40000"/>
                    </a:schemeClr>
                  </a:solidFill>
                  <a:prstDash val="solid"/>
                  <a:round/>
                </a:ln>
              </p:spPr>
              <p:txBody>
                <a:bodyPr rtlCol="0" anchor="ctr"/>
                <a:lstStyle/>
                <a:p>
                  <a:endParaRPr lang="en-GB"/>
                </a:p>
              </p:txBody>
            </p:sp>
            <p:sp>
              <p:nvSpPr>
                <p:cNvPr id="6639" name="Vrije vorm: vorm 6638">
                  <a:extLst>
                    <a:ext uri="{FF2B5EF4-FFF2-40B4-BE49-F238E27FC236}">
                      <a16:creationId xmlns:a16="http://schemas.microsoft.com/office/drawing/2014/main" id="{AC29673A-FFDF-463C-9A2B-D77F7649FC6A}"/>
                    </a:ext>
                  </a:extLst>
                </p:cNvPr>
                <p:cNvSpPr/>
                <p:nvPr/>
              </p:nvSpPr>
              <p:spPr>
                <a:xfrm>
                  <a:off x="6922586" y="2055016"/>
                  <a:ext cx="2033" cy="2810"/>
                </a:xfrm>
                <a:custGeom>
                  <a:avLst/>
                  <a:gdLst>
                    <a:gd name="connsiteX0" fmla="*/ 2033 w 2033"/>
                    <a:gd name="connsiteY0" fmla="*/ 0 h 2810"/>
                    <a:gd name="connsiteX1" fmla="*/ 1973 w 2033"/>
                    <a:gd name="connsiteY1" fmla="*/ 120 h 2810"/>
                    <a:gd name="connsiteX2" fmla="*/ 1734 w 2033"/>
                    <a:gd name="connsiteY2" fmla="*/ 598 h 2810"/>
                    <a:gd name="connsiteX3" fmla="*/ 1615 w 2033"/>
                    <a:gd name="connsiteY3" fmla="*/ 897 h 2810"/>
                    <a:gd name="connsiteX4" fmla="*/ 1615 w 2033"/>
                    <a:gd name="connsiteY4" fmla="*/ 897 h 2810"/>
                    <a:gd name="connsiteX5" fmla="*/ 1256 w 2033"/>
                    <a:gd name="connsiteY5" fmla="*/ 1675 h 2810"/>
                    <a:gd name="connsiteX6" fmla="*/ 897 w 2033"/>
                    <a:gd name="connsiteY6" fmla="*/ 2392 h 2810"/>
                    <a:gd name="connsiteX7" fmla="*/ 778 w 2033"/>
                    <a:gd name="connsiteY7" fmla="*/ 2691 h 2810"/>
                    <a:gd name="connsiteX8" fmla="*/ 718 w 2033"/>
                    <a:gd name="connsiteY8" fmla="*/ 2811 h 2810"/>
                    <a:gd name="connsiteX9" fmla="*/ 598 w 2033"/>
                    <a:gd name="connsiteY9" fmla="*/ 2751 h 2810"/>
                    <a:gd name="connsiteX10" fmla="*/ 0 w 2033"/>
                    <a:gd name="connsiteY10" fmla="*/ 2452 h 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3" h="2810">
                      <a:moveTo>
                        <a:pt x="2033" y="0"/>
                      </a:moveTo>
                      <a:lnTo>
                        <a:pt x="1973" y="120"/>
                      </a:lnTo>
                      <a:lnTo>
                        <a:pt x="1734" y="598"/>
                      </a:lnTo>
                      <a:lnTo>
                        <a:pt x="1615" y="897"/>
                      </a:lnTo>
                      <a:lnTo>
                        <a:pt x="1615" y="897"/>
                      </a:lnTo>
                      <a:lnTo>
                        <a:pt x="1256" y="1675"/>
                      </a:lnTo>
                      <a:lnTo>
                        <a:pt x="897" y="2392"/>
                      </a:lnTo>
                      <a:lnTo>
                        <a:pt x="778" y="2691"/>
                      </a:lnTo>
                      <a:lnTo>
                        <a:pt x="718" y="2811"/>
                      </a:lnTo>
                      <a:lnTo>
                        <a:pt x="598" y="2751"/>
                      </a:lnTo>
                      <a:lnTo>
                        <a:pt x="0" y="2452"/>
                      </a:lnTo>
                    </a:path>
                  </a:pathLst>
                </a:custGeom>
                <a:noFill/>
                <a:ln w="6350" cap="rnd">
                  <a:solidFill>
                    <a:schemeClr val="bg1">
                      <a:alpha val="40000"/>
                    </a:schemeClr>
                  </a:solidFill>
                  <a:prstDash val="solid"/>
                  <a:round/>
                </a:ln>
              </p:spPr>
              <p:txBody>
                <a:bodyPr rtlCol="0" anchor="ctr"/>
                <a:lstStyle/>
                <a:p>
                  <a:endParaRPr lang="en-GB"/>
                </a:p>
              </p:txBody>
            </p:sp>
            <p:sp>
              <p:nvSpPr>
                <p:cNvPr id="6640" name="Vrije vorm: vorm 6639">
                  <a:extLst>
                    <a:ext uri="{FF2B5EF4-FFF2-40B4-BE49-F238E27FC236}">
                      <a16:creationId xmlns:a16="http://schemas.microsoft.com/office/drawing/2014/main" id="{DCD71806-606C-4152-B863-A3E03DA4B3E4}"/>
                    </a:ext>
                  </a:extLst>
                </p:cNvPr>
                <p:cNvSpPr/>
                <p:nvPr/>
              </p:nvSpPr>
              <p:spPr>
                <a:xfrm>
                  <a:off x="7003385" y="1801852"/>
                  <a:ext cx="21650" cy="37200"/>
                </a:xfrm>
                <a:custGeom>
                  <a:avLst/>
                  <a:gdLst>
                    <a:gd name="connsiteX0" fmla="*/ 0 w 21650"/>
                    <a:gd name="connsiteY0" fmla="*/ 37200 h 37200"/>
                    <a:gd name="connsiteX1" fmla="*/ 60 w 21650"/>
                    <a:gd name="connsiteY1" fmla="*/ 37140 h 37200"/>
                    <a:gd name="connsiteX2" fmla="*/ 478 w 21650"/>
                    <a:gd name="connsiteY2" fmla="*/ 36423 h 37200"/>
                    <a:gd name="connsiteX3" fmla="*/ 2033 w 21650"/>
                    <a:gd name="connsiteY3" fmla="*/ 33612 h 37200"/>
                    <a:gd name="connsiteX4" fmla="*/ 12021 w 21650"/>
                    <a:gd name="connsiteY4" fmla="*/ 16028 h 37200"/>
                    <a:gd name="connsiteX5" fmla="*/ 21530 w 21650"/>
                    <a:gd name="connsiteY5" fmla="*/ 179 h 37200"/>
                    <a:gd name="connsiteX6" fmla="*/ 21650 w 21650"/>
                    <a:gd name="connsiteY6" fmla="*/ 0 h 3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50" h="37200">
                      <a:moveTo>
                        <a:pt x="0" y="37200"/>
                      </a:moveTo>
                      <a:lnTo>
                        <a:pt x="60" y="37140"/>
                      </a:lnTo>
                      <a:lnTo>
                        <a:pt x="478" y="36423"/>
                      </a:lnTo>
                      <a:lnTo>
                        <a:pt x="2033" y="33612"/>
                      </a:lnTo>
                      <a:lnTo>
                        <a:pt x="12021" y="16028"/>
                      </a:lnTo>
                      <a:lnTo>
                        <a:pt x="21530" y="179"/>
                      </a:lnTo>
                      <a:lnTo>
                        <a:pt x="21650" y="0"/>
                      </a:lnTo>
                    </a:path>
                  </a:pathLst>
                </a:custGeom>
                <a:noFill/>
                <a:ln w="6350" cap="rnd">
                  <a:solidFill>
                    <a:schemeClr val="bg1">
                      <a:alpha val="40000"/>
                    </a:schemeClr>
                  </a:solidFill>
                  <a:prstDash val="solid"/>
                  <a:round/>
                </a:ln>
              </p:spPr>
              <p:txBody>
                <a:bodyPr rtlCol="0" anchor="ctr"/>
                <a:lstStyle/>
                <a:p>
                  <a:endParaRPr lang="en-GB"/>
                </a:p>
              </p:txBody>
            </p:sp>
            <p:sp>
              <p:nvSpPr>
                <p:cNvPr id="6641" name="Vrije vorm: vorm 6640">
                  <a:extLst>
                    <a:ext uri="{FF2B5EF4-FFF2-40B4-BE49-F238E27FC236}">
                      <a16:creationId xmlns:a16="http://schemas.microsoft.com/office/drawing/2014/main" id="{0BF28A8E-566D-475D-9A65-B52D37E8EFEA}"/>
                    </a:ext>
                  </a:extLst>
                </p:cNvPr>
                <p:cNvSpPr/>
                <p:nvPr/>
              </p:nvSpPr>
              <p:spPr>
                <a:xfrm>
                  <a:off x="7076051" y="1801852"/>
                  <a:ext cx="718" cy="418"/>
                </a:xfrm>
                <a:custGeom>
                  <a:avLst/>
                  <a:gdLst>
                    <a:gd name="connsiteX0" fmla="*/ 718 w 718"/>
                    <a:gd name="connsiteY0" fmla="*/ 0 h 418"/>
                    <a:gd name="connsiteX1" fmla="*/ 718 w 718"/>
                    <a:gd name="connsiteY1" fmla="*/ 0 h 418"/>
                    <a:gd name="connsiteX2" fmla="*/ 479 w 718"/>
                    <a:gd name="connsiteY2" fmla="*/ 60 h 418"/>
                    <a:gd name="connsiteX3" fmla="*/ 419 w 718"/>
                    <a:gd name="connsiteY3" fmla="*/ 60 h 418"/>
                    <a:gd name="connsiteX4" fmla="*/ 419 w 718"/>
                    <a:gd name="connsiteY4" fmla="*/ 60 h 418"/>
                    <a:gd name="connsiteX5" fmla="*/ 120 w 718"/>
                    <a:gd name="connsiteY5" fmla="*/ 179 h 418"/>
                    <a:gd name="connsiteX6" fmla="*/ 0 w 718"/>
                    <a:gd name="connsiteY6" fmla="*/ 419 h 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 h="418">
                      <a:moveTo>
                        <a:pt x="718" y="0"/>
                      </a:moveTo>
                      <a:lnTo>
                        <a:pt x="718" y="0"/>
                      </a:lnTo>
                      <a:lnTo>
                        <a:pt x="479" y="60"/>
                      </a:lnTo>
                      <a:lnTo>
                        <a:pt x="419" y="60"/>
                      </a:lnTo>
                      <a:lnTo>
                        <a:pt x="419" y="60"/>
                      </a:lnTo>
                      <a:lnTo>
                        <a:pt x="120" y="179"/>
                      </a:lnTo>
                      <a:lnTo>
                        <a:pt x="0" y="419"/>
                      </a:lnTo>
                    </a:path>
                  </a:pathLst>
                </a:custGeom>
                <a:noFill/>
                <a:ln w="6350" cap="rnd">
                  <a:solidFill>
                    <a:schemeClr val="bg1">
                      <a:alpha val="40000"/>
                    </a:schemeClr>
                  </a:solidFill>
                  <a:prstDash val="solid"/>
                  <a:round/>
                </a:ln>
              </p:spPr>
              <p:txBody>
                <a:bodyPr rtlCol="0" anchor="ctr"/>
                <a:lstStyle/>
                <a:p>
                  <a:endParaRPr lang="en-GB"/>
                </a:p>
              </p:txBody>
            </p:sp>
            <p:sp>
              <p:nvSpPr>
                <p:cNvPr id="6642" name="Vrije vorm: vorm 6641">
                  <a:extLst>
                    <a:ext uri="{FF2B5EF4-FFF2-40B4-BE49-F238E27FC236}">
                      <a16:creationId xmlns:a16="http://schemas.microsoft.com/office/drawing/2014/main" id="{13838B7E-CD86-4198-A2D9-24932CE75CD5}"/>
                    </a:ext>
                  </a:extLst>
                </p:cNvPr>
                <p:cNvSpPr/>
                <p:nvPr/>
              </p:nvSpPr>
              <p:spPr>
                <a:xfrm>
                  <a:off x="6788737" y="2056631"/>
                  <a:ext cx="32834" cy="42582"/>
                </a:xfrm>
                <a:custGeom>
                  <a:avLst/>
                  <a:gdLst>
                    <a:gd name="connsiteX0" fmla="*/ 32834 w 32834"/>
                    <a:gd name="connsiteY0" fmla="*/ 41327 h 42582"/>
                    <a:gd name="connsiteX1" fmla="*/ 31578 w 32834"/>
                    <a:gd name="connsiteY1" fmla="*/ 42583 h 42582"/>
                    <a:gd name="connsiteX2" fmla="*/ 31159 w 32834"/>
                    <a:gd name="connsiteY2" fmla="*/ 42344 h 42582"/>
                    <a:gd name="connsiteX3" fmla="*/ 22248 w 32834"/>
                    <a:gd name="connsiteY3" fmla="*/ 35585 h 42582"/>
                    <a:gd name="connsiteX4" fmla="*/ 13337 w 32834"/>
                    <a:gd name="connsiteY4" fmla="*/ 26853 h 42582"/>
                    <a:gd name="connsiteX5" fmla="*/ 8313 w 32834"/>
                    <a:gd name="connsiteY5" fmla="*/ 19976 h 42582"/>
                    <a:gd name="connsiteX6" fmla="*/ 3588 w 32834"/>
                    <a:gd name="connsiteY6" fmla="*/ 11603 h 42582"/>
                    <a:gd name="connsiteX7" fmla="*/ 957 w 32834"/>
                    <a:gd name="connsiteY7" fmla="*/ 5383 h 42582"/>
                    <a:gd name="connsiteX8" fmla="*/ 0 w 32834"/>
                    <a:gd name="connsiteY8" fmla="*/ 2632 h 42582"/>
                    <a:gd name="connsiteX9" fmla="*/ 1734 w 32834"/>
                    <a:gd name="connsiteY9" fmla="*/ 0 h 4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34" h="42582">
                      <a:moveTo>
                        <a:pt x="32834" y="41327"/>
                      </a:moveTo>
                      <a:lnTo>
                        <a:pt x="31578" y="42583"/>
                      </a:lnTo>
                      <a:lnTo>
                        <a:pt x="31159" y="42344"/>
                      </a:lnTo>
                      <a:lnTo>
                        <a:pt x="22248" y="35585"/>
                      </a:lnTo>
                      <a:lnTo>
                        <a:pt x="13337" y="26853"/>
                      </a:lnTo>
                      <a:lnTo>
                        <a:pt x="8313" y="19976"/>
                      </a:lnTo>
                      <a:lnTo>
                        <a:pt x="3588" y="11603"/>
                      </a:lnTo>
                      <a:lnTo>
                        <a:pt x="957" y="5383"/>
                      </a:lnTo>
                      <a:lnTo>
                        <a:pt x="0" y="2632"/>
                      </a:lnTo>
                      <a:lnTo>
                        <a:pt x="1734" y="0"/>
                      </a:lnTo>
                    </a:path>
                  </a:pathLst>
                </a:custGeom>
                <a:noFill/>
                <a:ln w="6350" cap="rnd">
                  <a:solidFill>
                    <a:schemeClr val="bg1">
                      <a:alpha val="40000"/>
                    </a:schemeClr>
                  </a:solidFill>
                  <a:prstDash val="solid"/>
                  <a:round/>
                </a:ln>
              </p:spPr>
              <p:txBody>
                <a:bodyPr rtlCol="0" anchor="ctr"/>
                <a:lstStyle/>
                <a:p>
                  <a:endParaRPr lang="en-GB"/>
                </a:p>
              </p:txBody>
            </p:sp>
            <p:sp>
              <p:nvSpPr>
                <p:cNvPr id="6643" name="Vrije vorm: vorm 6642">
                  <a:extLst>
                    <a:ext uri="{FF2B5EF4-FFF2-40B4-BE49-F238E27FC236}">
                      <a16:creationId xmlns:a16="http://schemas.microsoft.com/office/drawing/2014/main" id="{F2E6F089-382B-4486-99F9-A12C43614B58}"/>
                    </a:ext>
                  </a:extLst>
                </p:cNvPr>
                <p:cNvSpPr/>
                <p:nvPr/>
              </p:nvSpPr>
              <p:spPr>
                <a:xfrm>
                  <a:off x="6964989" y="1942160"/>
                  <a:ext cx="1913" cy="3289"/>
                </a:xfrm>
                <a:custGeom>
                  <a:avLst/>
                  <a:gdLst>
                    <a:gd name="connsiteX0" fmla="*/ 0 w 1913"/>
                    <a:gd name="connsiteY0" fmla="*/ 3289 h 3289"/>
                    <a:gd name="connsiteX1" fmla="*/ 120 w 1913"/>
                    <a:gd name="connsiteY1" fmla="*/ 3110 h 3289"/>
                    <a:gd name="connsiteX2" fmla="*/ 1077 w 1913"/>
                    <a:gd name="connsiteY2" fmla="*/ 1495 h 3289"/>
                    <a:gd name="connsiteX3" fmla="*/ 1077 w 1913"/>
                    <a:gd name="connsiteY3" fmla="*/ 1435 h 3289"/>
                    <a:gd name="connsiteX4" fmla="*/ 1495 w 1913"/>
                    <a:gd name="connsiteY4" fmla="*/ 778 h 3289"/>
                    <a:gd name="connsiteX5" fmla="*/ 1914 w 1913"/>
                    <a:gd name="connsiteY5" fmla="*/ 60 h 3289"/>
                    <a:gd name="connsiteX6" fmla="*/ 1914 w 1913"/>
                    <a:gd name="connsiteY6" fmla="*/ 0 h 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3" h="3289">
                      <a:moveTo>
                        <a:pt x="0" y="3289"/>
                      </a:moveTo>
                      <a:lnTo>
                        <a:pt x="120" y="3110"/>
                      </a:lnTo>
                      <a:lnTo>
                        <a:pt x="1077" y="1495"/>
                      </a:lnTo>
                      <a:lnTo>
                        <a:pt x="1077" y="1435"/>
                      </a:lnTo>
                      <a:lnTo>
                        <a:pt x="1495" y="778"/>
                      </a:lnTo>
                      <a:lnTo>
                        <a:pt x="1914" y="60"/>
                      </a:lnTo>
                      <a:lnTo>
                        <a:pt x="1914" y="0"/>
                      </a:lnTo>
                    </a:path>
                  </a:pathLst>
                </a:custGeom>
                <a:noFill/>
                <a:ln w="6350" cap="rnd">
                  <a:solidFill>
                    <a:schemeClr val="bg1">
                      <a:alpha val="40000"/>
                    </a:schemeClr>
                  </a:solidFill>
                  <a:prstDash val="solid"/>
                  <a:round/>
                </a:ln>
              </p:spPr>
              <p:txBody>
                <a:bodyPr rtlCol="0" anchor="ctr"/>
                <a:lstStyle/>
                <a:p>
                  <a:endParaRPr lang="en-GB"/>
                </a:p>
              </p:txBody>
            </p:sp>
            <p:sp>
              <p:nvSpPr>
                <p:cNvPr id="6644" name="Vrije vorm: vorm 6643">
                  <a:extLst>
                    <a:ext uri="{FF2B5EF4-FFF2-40B4-BE49-F238E27FC236}">
                      <a16:creationId xmlns:a16="http://schemas.microsoft.com/office/drawing/2014/main" id="{CE6F437A-E63C-4B02-8A80-0A3357B58BC1}"/>
                    </a:ext>
                  </a:extLst>
                </p:cNvPr>
                <p:cNvSpPr/>
                <p:nvPr/>
              </p:nvSpPr>
              <p:spPr>
                <a:xfrm>
                  <a:off x="6936640" y="1828107"/>
                  <a:ext cx="2572" cy="2990"/>
                </a:xfrm>
                <a:custGeom>
                  <a:avLst/>
                  <a:gdLst>
                    <a:gd name="connsiteX0" fmla="*/ 1854 w 2572"/>
                    <a:gd name="connsiteY0" fmla="*/ 0 h 2990"/>
                    <a:gd name="connsiteX1" fmla="*/ 2153 w 2572"/>
                    <a:gd name="connsiteY1" fmla="*/ 419 h 2990"/>
                    <a:gd name="connsiteX2" fmla="*/ 2572 w 2572"/>
                    <a:gd name="connsiteY2" fmla="*/ 957 h 2990"/>
                    <a:gd name="connsiteX3" fmla="*/ 2452 w 2572"/>
                    <a:gd name="connsiteY3" fmla="*/ 1555 h 2990"/>
                    <a:gd name="connsiteX4" fmla="*/ 2392 w 2572"/>
                    <a:gd name="connsiteY4" fmla="*/ 1914 h 2990"/>
                    <a:gd name="connsiteX5" fmla="*/ 2392 w 2572"/>
                    <a:gd name="connsiteY5" fmla="*/ 1914 h 2990"/>
                    <a:gd name="connsiteX6" fmla="*/ 2333 w 2572"/>
                    <a:gd name="connsiteY6" fmla="*/ 2273 h 2990"/>
                    <a:gd name="connsiteX7" fmla="*/ 1435 w 2572"/>
                    <a:gd name="connsiteY7" fmla="*/ 2871 h 2990"/>
                    <a:gd name="connsiteX8" fmla="*/ 1256 w 2572"/>
                    <a:gd name="connsiteY8" fmla="*/ 2990 h 2990"/>
                    <a:gd name="connsiteX9" fmla="*/ 0 w 2572"/>
                    <a:gd name="connsiteY9" fmla="*/ 2811 h 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2" h="2990">
                      <a:moveTo>
                        <a:pt x="1854" y="0"/>
                      </a:moveTo>
                      <a:lnTo>
                        <a:pt x="2153" y="419"/>
                      </a:lnTo>
                      <a:lnTo>
                        <a:pt x="2572" y="957"/>
                      </a:lnTo>
                      <a:lnTo>
                        <a:pt x="2452" y="1555"/>
                      </a:lnTo>
                      <a:lnTo>
                        <a:pt x="2392" y="1914"/>
                      </a:lnTo>
                      <a:lnTo>
                        <a:pt x="2392" y="1914"/>
                      </a:lnTo>
                      <a:lnTo>
                        <a:pt x="2333" y="2273"/>
                      </a:lnTo>
                      <a:lnTo>
                        <a:pt x="1435" y="2871"/>
                      </a:lnTo>
                      <a:lnTo>
                        <a:pt x="1256" y="2990"/>
                      </a:lnTo>
                      <a:lnTo>
                        <a:pt x="0" y="2811"/>
                      </a:lnTo>
                    </a:path>
                  </a:pathLst>
                </a:custGeom>
                <a:noFill/>
                <a:ln w="6350" cap="rnd">
                  <a:solidFill>
                    <a:schemeClr val="bg1">
                      <a:alpha val="40000"/>
                    </a:schemeClr>
                  </a:solidFill>
                  <a:prstDash val="solid"/>
                  <a:round/>
                </a:ln>
              </p:spPr>
              <p:txBody>
                <a:bodyPr rtlCol="0" anchor="ctr"/>
                <a:lstStyle/>
                <a:p>
                  <a:endParaRPr lang="en-GB"/>
                </a:p>
              </p:txBody>
            </p:sp>
            <p:sp>
              <p:nvSpPr>
                <p:cNvPr id="6645" name="Vrije vorm: vorm 6644">
                  <a:extLst>
                    <a:ext uri="{FF2B5EF4-FFF2-40B4-BE49-F238E27FC236}">
                      <a16:creationId xmlns:a16="http://schemas.microsoft.com/office/drawing/2014/main" id="{318FD2FB-B897-4890-A8ED-D37AA2B53533}"/>
                    </a:ext>
                  </a:extLst>
                </p:cNvPr>
                <p:cNvSpPr/>
                <p:nvPr/>
              </p:nvSpPr>
              <p:spPr>
                <a:xfrm>
                  <a:off x="6984785" y="1911598"/>
                  <a:ext cx="10884" cy="10286"/>
                </a:xfrm>
                <a:custGeom>
                  <a:avLst/>
                  <a:gdLst>
                    <a:gd name="connsiteX0" fmla="*/ 10885 w 10884"/>
                    <a:gd name="connsiteY0" fmla="*/ 0 h 10286"/>
                    <a:gd name="connsiteX1" fmla="*/ 10406 w 10884"/>
                    <a:gd name="connsiteY1" fmla="*/ 538 h 10286"/>
                    <a:gd name="connsiteX2" fmla="*/ 10406 w 10884"/>
                    <a:gd name="connsiteY2" fmla="*/ 598 h 10286"/>
                    <a:gd name="connsiteX3" fmla="*/ 7535 w 10884"/>
                    <a:gd name="connsiteY3" fmla="*/ 3888 h 10286"/>
                    <a:gd name="connsiteX4" fmla="*/ 3469 w 10884"/>
                    <a:gd name="connsiteY4" fmla="*/ 7356 h 10286"/>
                    <a:gd name="connsiteX5" fmla="*/ 3409 w 10884"/>
                    <a:gd name="connsiteY5" fmla="*/ 7416 h 10286"/>
                    <a:gd name="connsiteX6" fmla="*/ 3349 w 10884"/>
                    <a:gd name="connsiteY6" fmla="*/ 7476 h 10286"/>
                    <a:gd name="connsiteX7" fmla="*/ 3229 w 10884"/>
                    <a:gd name="connsiteY7" fmla="*/ 7536 h 10286"/>
                    <a:gd name="connsiteX8" fmla="*/ 3229 w 10884"/>
                    <a:gd name="connsiteY8" fmla="*/ 7536 h 10286"/>
                    <a:gd name="connsiteX9" fmla="*/ 3229 w 10884"/>
                    <a:gd name="connsiteY9" fmla="*/ 7536 h 10286"/>
                    <a:gd name="connsiteX10" fmla="*/ 2452 w 10884"/>
                    <a:gd name="connsiteY10" fmla="*/ 8194 h 10286"/>
                    <a:gd name="connsiteX11" fmla="*/ 2332 w 10884"/>
                    <a:gd name="connsiteY11" fmla="*/ 8313 h 10286"/>
                    <a:gd name="connsiteX12" fmla="*/ 0 w 10884"/>
                    <a:gd name="connsiteY12" fmla="*/ 10287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84" h="10286">
                      <a:moveTo>
                        <a:pt x="10885" y="0"/>
                      </a:moveTo>
                      <a:lnTo>
                        <a:pt x="10406" y="538"/>
                      </a:lnTo>
                      <a:lnTo>
                        <a:pt x="10406" y="598"/>
                      </a:lnTo>
                      <a:lnTo>
                        <a:pt x="7535" y="3888"/>
                      </a:lnTo>
                      <a:lnTo>
                        <a:pt x="3469" y="7356"/>
                      </a:lnTo>
                      <a:lnTo>
                        <a:pt x="3409" y="7416"/>
                      </a:lnTo>
                      <a:lnTo>
                        <a:pt x="3349" y="7476"/>
                      </a:lnTo>
                      <a:lnTo>
                        <a:pt x="3229" y="7536"/>
                      </a:lnTo>
                      <a:lnTo>
                        <a:pt x="3229" y="7536"/>
                      </a:lnTo>
                      <a:lnTo>
                        <a:pt x="3229" y="7536"/>
                      </a:lnTo>
                      <a:lnTo>
                        <a:pt x="2452" y="8194"/>
                      </a:lnTo>
                      <a:lnTo>
                        <a:pt x="2332" y="8313"/>
                      </a:lnTo>
                      <a:lnTo>
                        <a:pt x="0" y="10287"/>
                      </a:lnTo>
                    </a:path>
                  </a:pathLst>
                </a:custGeom>
                <a:noFill/>
                <a:ln w="6350" cap="rnd">
                  <a:solidFill>
                    <a:schemeClr val="bg1">
                      <a:alpha val="40000"/>
                    </a:schemeClr>
                  </a:solidFill>
                  <a:prstDash val="solid"/>
                  <a:round/>
                </a:ln>
              </p:spPr>
              <p:txBody>
                <a:bodyPr rtlCol="0" anchor="ctr"/>
                <a:lstStyle/>
                <a:p>
                  <a:endParaRPr lang="en-GB"/>
                </a:p>
              </p:txBody>
            </p:sp>
            <p:sp>
              <p:nvSpPr>
                <p:cNvPr id="6646" name="Vrije vorm: vorm 6645">
                  <a:extLst>
                    <a:ext uri="{FF2B5EF4-FFF2-40B4-BE49-F238E27FC236}">
                      <a16:creationId xmlns:a16="http://schemas.microsoft.com/office/drawing/2014/main" id="{A3D89FA8-5A18-4C10-A1C6-3D2C5BA46564}"/>
                    </a:ext>
                  </a:extLst>
                </p:cNvPr>
                <p:cNvSpPr/>
                <p:nvPr/>
              </p:nvSpPr>
              <p:spPr>
                <a:xfrm>
                  <a:off x="6954463" y="2108603"/>
                  <a:ext cx="43958" cy="20932"/>
                </a:xfrm>
                <a:custGeom>
                  <a:avLst/>
                  <a:gdLst>
                    <a:gd name="connsiteX0" fmla="*/ 42523 w 43958"/>
                    <a:gd name="connsiteY0" fmla="*/ 0 h 20932"/>
                    <a:gd name="connsiteX1" fmla="*/ 43300 w 43958"/>
                    <a:gd name="connsiteY1" fmla="*/ 538 h 20932"/>
                    <a:gd name="connsiteX2" fmla="*/ 43958 w 43958"/>
                    <a:gd name="connsiteY2" fmla="*/ 1734 h 20932"/>
                    <a:gd name="connsiteX3" fmla="*/ 41028 w 43958"/>
                    <a:gd name="connsiteY3" fmla="*/ 8911 h 20932"/>
                    <a:gd name="connsiteX4" fmla="*/ 40250 w 43958"/>
                    <a:gd name="connsiteY4" fmla="*/ 9808 h 20932"/>
                    <a:gd name="connsiteX5" fmla="*/ 38277 w 43958"/>
                    <a:gd name="connsiteY5" fmla="*/ 12141 h 20932"/>
                    <a:gd name="connsiteX6" fmla="*/ 35167 w 43958"/>
                    <a:gd name="connsiteY6" fmla="*/ 15789 h 20932"/>
                    <a:gd name="connsiteX7" fmla="*/ 34150 w 43958"/>
                    <a:gd name="connsiteY7" fmla="*/ 16985 h 20932"/>
                    <a:gd name="connsiteX8" fmla="*/ 32655 w 43958"/>
                    <a:gd name="connsiteY8" fmla="*/ 18720 h 20932"/>
                    <a:gd name="connsiteX9" fmla="*/ 31279 w 43958"/>
                    <a:gd name="connsiteY9" fmla="*/ 20335 h 20932"/>
                    <a:gd name="connsiteX10" fmla="*/ 25238 w 43958"/>
                    <a:gd name="connsiteY10" fmla="*/ 20933 h 20932"/>
                    <a:gd name="connsiteX11" fmla="*/ 24043 w 43958"/>
                    <a:gd name="connsiteY11" fmla="*/ 20933 h 20932"/>
                    <a:gd name="connsiteX12" fmla="*/ 17942 w 43958"/>
                    <a:gd name="connsiteY12" fmla="*/ 20873 h 20932"/>
                    <a:gd name="connsiteX13" fmla="*/ 13098 w 43958"/>
                    <a:gd name="connsiteY13" fmla="*/ 20215 h 20932"/>
                    <a:gd name="connsiteX14" fmla="*/ 2632 w 43958"/>
                    <a:gd name="connsiteY14" fmla="*/ 15012 h 20932"/>
                    <a:gd name="connsiteX15" fmla="*/ 0 w 43958"/>
                    <a:gd name="connsiteY15" fmla="*/ 11961 h 20932"/>
                    <a:gd name="connsiteX16" fmla="*/ 60 w 43958"/>
                    <a:gd name="connsiteY16" fmla="*/ 11722 h 2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958" h="20932">
                      <a:moveTo>
                        <a:pt x="42523" y="0"/>
                      </a:moveTo>
                      <a:lnTo>
                        <a:pt x="43300" y="538"/>
                      </a:lnTo>
                      <a:lnTo>
                        <a:pt x="43958" y="1734"/>
                      </a:lnTo>
                      <a:lnTo>
                        <a:pt x="41028" y="8911"/>
                      </a:lnTo>
                      <a:lnTo>
                        <a:pt x="40250" y="9808"/>
                      </a:lnTo>
                      <a:lnTo>
                        <a:pt x="38277" y="12141"/>
                      </a:lnTo>
                      <a:lnTo>
                        <a:pt x="35167" y="15789"/>
                      </a:lnTo>
                      <a:lnTo>
                        <a:pt x="34150" y="16985"/>
                      </a:lnTo>
                      <a:lnTo>
                        <a:pt x="32655" y="18720"/>
                      </a:lnTo>
                      <a:lnTo>
                        <a:pt x="31279" y="20335"/>
                      </a:lnTo>
                      <a:lnTo>
                        <a:pt x="25238" y="20933"/>
                      </a:lnTo>
                      <a:lnTo>
                        <a:pt x="24043" y="20933"/>
                      </a:lnTo>
                      <a:lnTo>
                        <a:pt x="17942" y="20873"/>
                      </a:lnTo>
                      <a:lnTo>
                        <a:pt x="13098" y="20215"/>
                      </a:lnTo>
                      <a:lnTo>
                        <a:pt x="2632" y="15012"/>
                      </a:lnTo>
                      <a:lnTo>
                        <a:pt x="0" y="11961"/>
                      </a:lnTo>
                      <a:lnTo>
                        <a:pt x="60" y="11722"/>
                      </a:lnTo>
                    </a:path>
                  </a:pathLst>
                </a:custGeom>
                <a:noFill/>
                <a:ln w="6350" cap="rnd">
                  <a:solidFill>
                    <a:schemeClr val="bg1">
                      <a:alpha val="40000"/>
                    </a:schemeClr>
                  </a:solidFill>
                  <a:prstDash val="solid"/>
                  <a:round/>
                </a:ln>
              </p:spPr>
              <p:txBody>
                <a:bodyPr rtlCol="0" anchor="ctr"/>
                <a:lstStyle/>
                <a:p>
                  <a:endParaRPr lang="en-GB"/>
                </a:p>
              </p:txBody>
            </p:sp>
            <p:sp>
              <p:nvSpPr>
                <p:cNvPr id="6647" name="Vrije vorm: vorm 6646">
                  <a:extLst>
                    <a:ext uri="{FF2B5EF4-FFF2-40B4-BE49-F238E27FC236}">
                      <a16:creationId xmlns:a16="http://schemas.microsoft.com/office/drawing/2014/main" id="{6776FB4C-57EF-4A46-9F9A-215659158534}"/>
                    </a:ext>
                  </a:extLst>
                </p:cNvPr>
                <p:cNvSpPr/>
                <p:nvPr/>
              </p:nvSpPr>
              <p:spPr>
                <a:xfrm>
                  <a:off x="6945312" y="1974755"/>
                  <a:ext cx="11961" cy="22607"/>
                </a:xfrm>
                <a:custGeom>
                  <a:avLst/>
                  <a:gdLst>
                    <a:gd name="connsiteX0" fmla="*/ 8792 w 11961"/>
                    <a:gd name="connsiteY0" fmla="*/ 0 h 22607"/>
                    <a:gd name="connsiteX1" fmla="*/ 8971 w 11961"/>
                    <a:gd name="connsiteY1" fmla="*/ 359 h 22607"/>
                    <a:gd name="connsiteX2" fmla="*/ 9211 w 11961"/>
                    <a:gd name="connsiteY2" fmla="*/ 837 h 22607"/>
                    <a:gd name="connsiteX3" fmla="*/ 9211 w 11961"/>
                    <a:gd name="connsiteY3" fmla="*/ 897 h 22607"/>
                    <a:gd name="connsiteX4" fmla="*/ 9270 w 11961"/>
                    <a:gd name="connsiteY4" fmla="*/ 1077 h 22607"/>
                    <a:gd name="connsiteX5" fmla="*/ 9570 w 11961"/>
                    <a:gd name="connsiteY5" fmla="*/ 1734 h 22607"/>
                    <a:gd name="connsiteX6" fmla="*/ 10526 w 11961"/>
                    <a:gd name="connsiteY6" fmla="*/ 4246 h 22607"/>
                    <a:gd name="connsiteX7" fmla="*/ 10586 w 11961"/>
                    <a:gd name="connsiteY7" fmla="*/ 4366 h 22607"/>
                    <a:gd name="connsiteX8" fmla="*/ 10825 w 11961"/>
                    <a:gd name="connsiteY8" fmla="*/ 4904 h 22607"/>
                    <a:gd name="connsiteX9" fmla="*/ 11065 w 11961"/>
                    <a:gd name="connsiteY9" fmla="*/ 5562 h 22607"/>
                    <a:gd name="connsiteX10" fmla="*/ 11543 w 11961"/>
                    <a:gd name="connsiteY10" fmla="*/ 6818 h 22607"/>
                    <a:gd name="connsiteX11" fmla="*/ 11961 w 11961"/>
                    <a:gd name="connsiteY11" fmla="*/ 7835 h 22607"/>
                    <a:gd name="connsiteX12" fmla="*/ 11723 w 11961"/>
                    <a:gd name="connsiteY12" fmla="*/ 11483 h 22607"/>
                    <a:gd name="connsiteX13" fmla="*/ 9091 w 11961"/>
                    <a:gd name="connsiteY13" fmla="*/ 15071 h 22607"/>
                    <a:gd name="connsiteX14" fmla="*/ 6758 w 11961"/>
                    <a:gd name="connsiteY14" fmla="*/ 18181 h 22607"/>
                    <a:gd name="connsiteX15" fmla="*/ 5143 w 11961"/>
                    <a:gd name="connsiteY15" fmla="*/ 20335 h 22607"/>
                    <a:gd name="connsiteX16" fmla="*/ 4486 w 11961"/>
                    <a:gd name="connsiteY16" fmla="*/ 21232 h 22607"/>
                    <a:gd name="connsiteX17" fmla="*/ 4247 w 11961"/>
                    <a:gd name="connsiteY17" fmla="*/ 21531 h 22607"/>
                    <a:gd name="connsiteX18" fmla="*/ 4007 w 11961"/>
                    <a:gd name="connsiteY18" fmla="*/ 21590 h 22607"/>
                    <a:gd name="connsiteX19" fmla="*/ 1256 w 11961"/>
                    <a:gd name="connsiteY19" fmla="*/ 22428 h 22607"/>
                    <a:gd name="connsiteX20" fmla="*/ 1256 w 11961"/>
                    <a:gd name="connsiteY20" fmla="*/ 22428 h 22607"/>
                    <a:gd name="connsiteX21" fmla="*/ 718 w 11961"/>
                    <a:gd name="connsiteY21" fmla="*/ 22607 h 22607"/>
                    <a:gd name="connsiteX22" fmla="*/ 718 w 11961"/>
                    <a:gd name="connsiteY22" fmla="*/ 22607 h 22607"/>
                    <a:gd name="connsiteX23" fmla="*/ 0 w 11961"/>
                    <a:gd name="connsiteY23" fmla="*/ 22189 h 2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961" h="22607">
                      <a:moveTo>
                        <a:pt x="8792" y="0"/>
                      </a:moveTo>
                      <a:lnTo>
                        <a:pt x="8971" y="359"/>
                      </a:lnTo>
                      <a:lnTo>
                        <a:pt x="9211" y="837"/>
                      </a:lnTo>
                      <a:lnTo>
                        <a:pt x="9211" y="897"/>
                      </a:lnTo>
                      <a:lnTo>
                        <a:pt x="9270" y="1077"/>
                      </a:lnTo>
                      <a:lnTo>
                        <a:pt x="9570" y="1734"/>
                      </a:lnTo>
                      <a:lnTo>
                        <a:pt x="10526" y="4246"/>
                      </a:lnTo>
                      <a:lnTo>
                        <a:pt x="10586" y="4366"/>
                      </a:lnTo>
                      <a:lnTo>
                        <a:pt x="10825" y="4904"/>
                      </a:lnTo>
                      <a:lnTo>
                        <a:pt x="11065" y="5562"/>
                      </a:lnTo>
                      <a:lnTo>
                        <a:pt x="11543" y="6818"/>
                      </a:lnTo>
                      <a:lnTo>
                        <a:pt x="11961" y="7835"/>
                      </a:lnTo>
                      <a:lnTo>
                        <a:pt x="11723" y="11483"/>
                      </a:lnTo>
                      <a:lnTo>
                        <a:pt x="9091" y="15071"/>
                      </a:lnTo>
                      <a:lnTo>
                        <a:pt x="6758" y="18181"/>
                      </a:lnTo>
                      <a:lnTo>
                        <a:pt x="5143" y="20335"/>
                      </a:lnTo>
                      <a:lnTo>
                        <a:pt x="4486" y="21232"/>
                      </a:lnTo>
                      <a:lnTo>
                        <a:pt x="4247" y="21531"/>
                      </a:lnTo>
                      <a:lnTo>
                        <a:pt x="4007" y="21590"/>
                      </a:lnTo>
                      <a:lnTo>
                        <a:pt x="1256" y="22428"/>
                      </a:lnTo>
                      <a:lnTo>
                        <a:pt x="1256" y="22428"/>
                      </a:lnTo>
                      <a:lnTo>
                        <a:pt x="718" y="22607"/>
                      </a:lnTo>
                      <a:lnTo>
                        <a:pt x="718" y="22607"/>
                      </a:lnTo>
                      <a:lnTo>
                        <a:pt x="0" y="22189"/>
                      </a:lnTo>
                    </a:path>
                  </a:pathLst>
                </a:custGeom>
                <a:noFill/>
                <a:ln w="6350" cap="rnd">
                  <a:solidFill>
                    <a:schemeClr val="bg1">
                      <a:alpha val="40000"/>
                    </a:schemeClr>
                  </a:solidFill>
                  <a:prstDash val="solid"/>
                  <a:round/>
                </a:ln>
              </p:spPr>
              <p:txBody>
                <a:bodyPr rtlCol="0" anchor="ctr"/>
                <a:lstStyle/>
                <a:p>
                  <a:endParaRPr lang="en-GB"/>
                </a:p>
              </p:txBody>
            </p:sp>
            <p:sp>
              <p:nvSpPr>
                <p:cNvPr id="6648" name="Vrije vorm: vorm 6647">
                  <a:extLst>
                    <a:ext uri="{FF2B5EF4-FFF2-40B4-BE49-F238E27FC236}">
                      <a16:creationId xmlns:a16="http://schemas.microsoft.com/office/drawing/2014/main" id="{2476B443-851F-4438-9CC6-CDC2BA12A77D}"/>
                    </a:ext>
                  </a:extLst>
                </p:cNvPr>
                <p:cNvSpPr/>
                <p:nvPr/>
              </p:nvSpPr>
              <p:spPr>
                <a:xfrm>
                  <a:off x="7069352" y="1810225"/>
                  <a:ext cx="11782" cy="6100"/>
                </a:xfrm>
                <a:custGeom>
                  <a:avLst/>
                  <a:gdLst>
                    <a:gd name="connsiteX0" fmla="*/ 11783 w 11782"/>
                    <a:gd name="connsiteY0" fmla="*/ 6100 h 6100"/>
                    <a:gd name="connsiteX1" fmla="*/ 11783 w 11782"/>
                    <a:gd name="connsiteY1" fmla="*/ 6100 h 6100"/>
                    <a:gd name="connsiteX2" fmla="*/ 11483 w 11782"/>
                    <a:gd name="connsiteY2" fmla="*/ 5921 h 6100"/>
                    <a:gd name="connsiteX3" fmla="*/ 11065 w 11782"/>
                    <a:gd name="connsiteY3" fmla="*/ 5682 h 6100"/>
                    <a:gd name="connsiteX4" fmla="*/ 10586 w 11782"/>
                    <a:gd name="connsiteY4" fmla="*/ 5442 h 6100"/>
                    <a:gd name="connsiteX5" fmla="*/ 10526 w 11782"/>
                    <a:gd name="connsiteY5" fmla="*/ 5442 h 6100"/>
                    <a:gd name="connsiteX6" fmla="*/ 10407 w 11782"/>
                    <a:gd name="connsiteY6" fmla="*/ 5383 h 6100"/>
                    <a:gd name="connsiteX7" fmla="*/ 10407 w 11782"/>
                    <a:gd name="connsiteY7" fmla="*/ 5383 h 6100"/>
                    <a:gd name="connsiteX8" fmla="*/ 9510 w 11782"/>
                    <a:gd name="connsiteY8" fmla="*/ 4964 h 6100"/>
                    <a:gd name="connsiteX9" fmla="*/ 8553 w 11782"/>
                    <a:gd name="connsiteY9" fmla="*/ 4486 h 6100"/>
                    <a:gd name="connsiteX10" fmla="*/ 7297 w 11782"/>
                    <a:gd name="connsiteY10" fmla="*/ 3768 h 6100"/>
                    <a:gd name="connsiteX11" fmla="*/ 4964 w 11782"/>
                    <a:gd name="connsiteY11" fmla="*/ 2392 h 6100"/>
                    <a:gd name="connsiteX12" fmla="*/ 4367 w 11782"/>
                    <a:gd name="connsiteY12" fmla="*/ 2093 h 6100"/>
                    <a:gd name="connsiteX13" fmla="*/ 3649 w 11782"/>
                    <a:gd name="connsiteY13" fmla="*/ 1794 h 6100"/>
                    <a:gd name="connsiteX14" fmla="*/ 3409 w 11782"/>
                    <a:gd name="connsiteY14" fmla="*/ 1675 h 6100"/>
                    <a:gd name="connsiteX15" fmla="*/ 3170 w 11782"/>
                    <a:gd name="connsiteY15" fmla="*/ 1555 h 6100"/>
                    <a:gd name="connsiteX16" fmla="*/ 2871 w 11782"/>
                    <a:gd name="connsiteY16" fmla="*/ 1435 h 6100"/>
                    <a:gd name="connsiteX17" fmla="*/ 2154 w 11782"/>
                    <a:gd name="connsiteY17" fmla="*/ 1077 h 6100"/>
                    <a:gd name="connsiteX18" fmla="*/ 1615 w 11782"/>
                    <a:gd name="connsiteY18" fmla="*/ 837 h 6100"/>
                    <a:gd name="connsiteX19" fmla="*/ 1436 w 11782"/>
                    <a:gd name="connsiteY19" fmla="*/ 778 h 6100"/>
                    <a:gd name="connsiteX20" fmla="*/ 1017 w 11782"/>
                    <a:gd name="connsiteY20" fmla="*/ 538 h 6100"/>
                    <a:gd name="connsiteX21" fmla="*/ 299 w 11782"/>
                    <a:gd name="connsiteY21" fmla="*/ 179 h 6100"/>
                    <a:gd name="connsiteX22" fmla="*/ 0 w 11782"/>
                    <a:gd name="connsiteY22" fmla="*/ 0 h 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782" h="6100">
                      <a:moveTo>
                        <a:pt x="11783" y="6100"/>
                      </a:moveTo>
                      <a:lnTo>
                        <a:pt x="11783" y="6100"/>
                      </a:lnTo>
                      <a:lnTo>
                        <a:pt x="11483" y="5921"/>
                      </a:lnTo>
                      <a:lnTo>
                        <a:pt x="11065" y="5682"/>
                      </a:lnTo>
                      <a:lnTo>
                        <a:pt x="10586" y="5442"/>
                      </a:lnTo>
                      <a:lnTo>
                        <a:pt x="10526" y="5442"/>
                      </a:lnTo>
                      <a:lnTo>
                        <a:pt x="10407" y="5383"/>
                      </a:lnTo>
                      <a:lnTo>
                        <a:pt x="10407" y="5383"/>
                      </a:lnTo>
                      <a:lnTo>
                        <a:pt x="9510" y="4964"/>
                      </a:lnTo>
                      <a:lnTo>
                        <a:pt x="8553" y="4486"/>
                      </a:lnTo>
                      <a:lnTo>
                        <a:pt x="7297" y="3768"/>
                      </a:lnTo>
                      <a:lnTo>
                        <a:pt x="4964" y="2392"/>
                      </a:lnTo>
                      <a:lnTo>
                        <a:pt x="4367" y="2093"/>
                      </a:lnTo>
                      <a:lnTo>
                        <a:pt x="3649" y="1794"/>
                      </a:lnTo>
                      <a:lnTo>
                        <a:pt x="3409" y="1675"/>
                      </a:lnTo>
                      <a:lnTo>
                        <a:pt x="3170" y="1555"/>
                      </a:lnTo>
                      <a:lnTo>
                        <a:pt x="2871" y="1435"/>
                      </a:lnTo>
                      <a:lnTo>
                        <a:pt x="2154" y="1077"/>
                      </a:lnTo>
                      <a:lnTo>
                        <a:pt x="1615" y="837"/>
                      </a:lnTo>
                      <a:lnTo>
                        <a:pt x="1436" y="778"/>
                      </a:lnTo>
                      <a:lnTo>
                        <a:pt x="1017" y="538"/>
                      </a:lnTo>
                      <a:lnTo>
                        <a:pt x="299" y="17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49" name="Vrije vorm: vorm 6648">
                  <a:extLst>
                    <a:ext uri="{FF2B5EF4-FFF2-40B4-BE49-F238E27FC236}">
                      <a16:creationId xmlns:a16="http://schemas.microsoft.com/office/drawing/2014/main" id="{2370D750-18F5-49FD-B46C-BC3EF3D41E06}"/>
                    </a:ext>
                  </a:extLst>
                </p:cNvPr>
                <p:cNvSpPr/>
                <p:nvPr/>
              </p:nvSpPr>
              <p:spPr>
                <a:xfrm>
                  <a:off x="7089268" y="1871946"/>
                  <a:ext cx="179" cy="119"/>
                </a:xfrm>
                <a:custGeom>
                  <a:avLst/>
                  <a:gdLst>
                    <a:gd name="connsiteX0" fmla="*/ 0 w 179"/>
                    <a:gd name="connsiteY0" fmla="*/ 0 h 119"/>
                    <a:gd name="connsiteX1" fmla="*/ 0 w 179"/>
                    <a:gd name="connsiteY1" fmla="*/ 0 h 119"/>
                    <a:gd name="connsiteX2" fmla="*/ 180 w 179"/>
                    <a:gd name="connsiteY2" fmla="*/ 120 h 119"/>
                  </a:gdLst>
                  <a:ahLst/>
                  <a:cxnLst>
                    <a:cxn ang="0">
                      <a:pos x="connsiteX0" y="connsiteY0"/>
                    </a:cxn>
                    <a:cxn ang="0">
                      <a:pos x="connsiteX1" y="connsiteY1"/>
                    </a:cxn>
                    <a:cxn ang="0">
                      <a:pos x="connsiteX2" y="connsiteY2"/>
                    </a:cxn>
                  </a:cxnLst>
                  <a:rect l="l" t="t" r="r" b="b"/>
                  <a:pathLst>
                    <a:path w="179" h="119">
                      <a:moveTo>
                        <a:pt x="0" y="0"/>
                      </a:moveTo>
                      <a:lnTo>
                        <a:pt x="0" y="0"/>
                      </a:lnTo>
                      <a:lnTo>
                        <a:pt x="180" y="120"/>
                      </a:lnTo>
                    </a:path>
                  </a:pathLst>
                </a:custGeom>
                <a:noFill/>
                <a:ln w="6350" cap="rnd">
                  <a:solidFill>
                    <a:schemeClr val="bg1">
                      <a:alpha val="40000"/>
                    </a:schemeClr>
                  </a:solidFill>
                  <a:prstDash val="solid"/>
                  <a:round/>
                </a:ln>
              </p:spPr>
              <p:txBody>
                <a:bodyPr rtlCol="0" anchor="ctr"/>
                <a:lstStyle/>
                <a:p>
                  <a:endParaRPr lang="en-GB"/>
                </a:p>
              </p:txBody>
            </p:sp>
            <p:sp>
              <p:nvSpPr>
                <p:cNvPr id="6650" name="Vrije vorm: vorm 6649">
                  <a:extLst>
                    <a:ext uri="{FF2B5EF4-FFF2-40B4-BE49-F238E27FC236}">
                      <a16:creationId xmlns:a16="http://schemas.microsoft.com/office/drawing/2014/main" id="{5CAD2B6D-20E4-450E-87E4-26F6A6595583}"/>
                    </a:ext>
                  </a:extLst>
                </p:cNvPr>
                <p:cNvSpPr/>
                <p:nvPr/>
              </p:nvSpPr>
              <p:spPr>
                <a:xfrm>
                  <a:off x="6774323" y="1991381"/>
                  <a:ext cx="6638" cy="1674"/>
                </a:xfrm>
                <a:custGeom>
                  <a:avLst/>
                  <a:gdLst>
                    <a:gd name="connsiteX0" fmla="*/ 0 w 6638"/>
                    <a:gd name="connsiteY0" fmla="*/ 1675 h 1674"/>
                    <a:gd name="connsiteX1" fmla="*/ 837 w 6638"/>
                    <a:gd name="connsiteY1" fmla="*/ 1435 h 1674"/>
                    <a:gd name="connsiteX2" fmla="*/ 4187 w 6638"/>
                    <a:gd name="connsiteY2" fmla="*/ 598 h 1674"/>
                    <a:gd name="connsiteX3" fmla="*/ 6639 w 6638"/>
                    <a:gd name="connsiteY3" fmla="*/ 0 h 1674"/>
                  </a:gdLst>
                  <a:ahLst/>
                  <a:cxnLst>
                    <a:cxn ang="0">
                      <a:pos x="connsiteX0" y="connsiteY0"/>
                    </a:cxn>
                    <a:cxn ang="0">
                      <a:pos x="connsiteX1" y="connsiteY1"/>
                    </a:cxn>
                    <a:cxn ang="0">
                      <a:pos x="connsiteX2" y="connsiteY2"/>
                    </a:cxn>
                    <a:cxn ang="0">
                      <a:pos x="connsiteX3" y="connsiteY3"/>
                    </a:cxn>
                  </a:cxnLst>
                  <a:rect l="l" t="t" r="r" b="b"/>
                  <a:pathLst>
                    <a:path w="6638" h="1674">
                      <a:moveTo>
                        <a:pt x="0" y="1675"/>
                      </a:moveTo>
                      <a:lnTo>
                        <a:pt x="837" y="1435"/>
                      </a:lnTo>
                      <a:lnTo>
                        <a:pt x="4187" y="598"/>
                      </a:lnTo>
                      <a:lnTo>
                        <a:pt x="6639" y="0"/>
                      </a:lnTo>
                    </a:path>
                  </a:pathLst>
                </a:custGeom>
                <a:noFill/>
                <a:ln w="6350" cap="rnd">
                  <a:solidFill>
                    <a:schemeClr val="bg1">
                      <a:alpha val="40000"/>
                    </a:schemeClr>
                  </a:solidFill>
                  <a:prstDash val="solid"/>
                  <a:round/>
                </a:ln>
              </p:spPr>
              <p:txBody>
                <a:bodyPr rtlCol="0" anchor="ctr"/>
                <a:lstStyle/>
                <a:p>
                  <a:endParaRPr lang="en-GB"/>
                </a:p>
              </p:txBody>
            </p:sp>
            <p:sp>
              <p:nvSpPr>
                <p:cNvPr id="6651" name="Vrije vorm: vorm 6650">
                  <a:extLst>
                    <a:ext uri="{FF2B5EF4-FFF2-40B4-BE49-F238E27FC236}">
                      <a16:creationId xmlns:a16="http://schemas.microsoft.com/office/drawing/2014/main" id="{EAAEDBDA-F168-43C6-BE1C-AD6E11B10F93}"/>
                    </a:ext>
                  </a:extLst>
                </p:cNvPr>
                <p:cNvSpPr/>
                <p:nvPr/>
              </p:nvSpPr>
              <p:spPr>
                <a:xfrm>
                  <a:off x="6942561" y="1992876"/>
                  <a:ext cx="12141" cy="19736"/>
                </a:xfrm>
                <a:custGeom>
                  <a:avLst/>
                  <a:gdLst>
                    <a:gd name="connsiteX0" fmla="*/ 9509 w 12141"/>
                    <a:gd name="connsiteY0" fmla="*/ 0 h 19736"/>
                    <a:gd name="connsiteX1" fmla="*/ 10167 w 12141"/>
                    <a:gd name="connsiteY1" fmla="*/ 1675 h 19736"/>
                    <a:gd name="connsiteX2" fmla="*/ 10347 w 12141"/>
                    <a:gd name="connsiteY2" fmla="*/ 2213 h 19736"/>
                    <a:gd name="connsiteX3" fmla="*/ 11004 w 12141"/>
                    <a:gd name="connsiteY3" fmla="*/ 4127 h 19736"/>
                    <a:gd name="connsiteX4" fmla="*/ 11304 w 12141"/>
                    <a:gd name="connsiteY4" fmla="*/ 5024 h 19736"/>
                    <a:gd name="connsiteX5" fmla="*/ 12141 w 12141"/>
                    <a:gd name="connsiteY5" fmla="*/ 7476 h 19736"/>
                    <a:gd name="connsiteX6" fmla="*/ 10766 w 12141"/>
                    <a:gd name="connsiteY6" fmla="*/ 12021 h 19736"/>
                    <a:gd name="connsiteX7" fmla="*/ 10646 w 12141"/>
                    <a:gd name="connsiteY7" fmla="*/ 12141 h 19736"/>
                    <a:gd name="connsiteX8" fmla="*/ 7596 w 12141"/>
                    <a:gd name="connsiteY8" fmla="*/ 15311 h 19736"/>
                    <a:gd name="connsiteX9" fmla="*/ 6399 w 12141"/>
                    <a:gd name="connsiteY9" fmla="*/ 16567 h 19736"/>
                    <a:gd name="connsiteX10" fmla="*/ 5981 w 12141"/>
                    <a:gd name="connsiteY10" fmla="*/ 16985 h 19736"/>
                    <a:gd name="connsiteX11" fmla="*/ 4306 w 12141"/>
                    <a:gd name="connsiteY11" fmla="*/ 18720 h 19736"/>
                    <a:gd name="connsiteX12" fmla="*/ 3350 w 12141"/>
                    <a:gd name="connsiteY12" fmla="*/ 19736 h 19736"/>
                    <a:gd name="connsiteX13" fmla="*/ 3170 w 12141"/>
                    <a:gd name="connsiteY13" fmla="*/ 19677 h 19736"/>
                    <a:gd name="connsiteX14" fmla="*/ 2273 w 12141"/>
                    <a:gd name="connsiteY14" fmla="*/ 19437 h 19736"/>
                    <a:gd name="connsiteX15" fmla="*/ 1854 w 12141"/>
                    <a:gd name="connsiteY15" fmla="*/ 19318 h 19736"/>
                    <a:gd name="connsiteX16" fmla="*/ 718 w 12141"/>
                    <a:gd name="connsiteY16" fmla="*/ 19019 h 19736"/>
                    <a:gd name="connsiteX17" fmla="*/ 0 w 12141"/>
                    <a:gd name="connsiteY17" fmla="*/ 18600 h 1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41" h="19736">
                      <a:moveTo>
                        <a:pt x="9509" y="0"/>
                      </a:moveTo>
                      <a:lnTo>
                        <a:pt x="10167" y="1675"/>
                      </a:lnTo>
                      <a:lnTo>
                        <a:pt x="10347" y="2213"/>
                      </a:lnTo>
                      <a:lnTo>
                        <a:pt x="11004" y="4127"/>
                      </a:lnTo>
                      <a:lnTo>
                        <a:pt x="11304" y="5024"/>
                      </a:lnTo>
                      <a:lnTo>
                        <a:pt x="12141" y="7476"/>
                      </a:lnTo>
                      <a:lnTo>
                        <a:pt x="10766" y="12021"/>
                      </a:lnTo>
                      <a:lnTo>
                        <a:pt x="10646" y="12141"/>
                      </a:lnTo>
                      <a:lnTo>
                        <a:pt x="7596" y="15311"/>
                      </a:lnTo>
                      <a:lnTo>
                        <a:pt x="6399" y="16567"/>
                      </a:lnTo>
                      <a:lnTo>
                        <a:pt x="5981" y="16985"/>
                      </a:lnTo>
                      <a:lnTo>
                        <a:pt x="4306" y="18720"/>
                      </a:lnTo>
                      <a:lnTo>
                        <a:pt x="3350" y="19736"/>
                      </a:lnTo>
                      <a:lnTo>
                        <a:pt x="3170" y="19677"/>
                      </a:lnTo>
                      <a:lnTo>
                        <a:pt x="2273" y="19437"/>
                      </a:lnTo>
                      <a:lnTo>
                        <a:pt x="1854" y="19318"/>
                      </a:lnTo>
                      <a:lnTo>
                        <a:pt x="718" y="19019"/>
                      </a:lnTo>
                      <a:lnTo>
                        <a:pt x="0" y="18600"/>
                      </a:lnTo>
                    </a:path>
                  </a:pathLst>
                </a:custGeom>
                <a:noFill/>
                <a:ln w="6350" cap="rnd">
                  <a:solidFill>
                    <a:schemeClr val="bg1">
                      <a:alpha val="40000"/>
                    </a:schemeClr>
                  </a:solidFill>
                  <a:prstDash val="solid"/>
                  <a:round/>
                </a:ln>
              </p:spPr>
              <p:txBody>
                <a:bodyPr rtlCol="0" anchor="ctr"/>
                <a:lstStyle/>
                <a:p>
                  <a:endParaRPr lang="en-GB"/>
                </a:p>
              </p:txBody>
            </p:sp>
            <p:sp>
              <p:nvSpPr>
                <p:cNvPr id="6652" name="Vrije vorm: vorm 6651">
                  <a:extLst>
                    <a:ext uri="{FF2B5EF4-FFF2-40B4-BE49-F238E27FC236}">
                      <a16:creationId xmlns:a16="http://schemas.microsoft.com/office/drawing/2014/main" id="{0A8659A1-D484-4E54-8521-42DAF03E9537}"/>
                    </a:ext>
                  </a:extLst>
                </p:cNvPr>
                <p:cNvSpPr/>
                <p:nvPr/>
              </p:nvSpPr>
              <p:spPr>
                <a:xfrm>
                  <a:off x="6622593" y="1876791"/>
                  <a:ext cx="34568" cy="16746"/>
                </a:xfrm>
                <a:custGeom>
                  <a:avLst/>
                  <a:gdLst>
                    <a:gd name="connsiteX0" fmla="*/ 3888 w 34568"/>
                    <a:gd name="connsiteY0" fmla="*/ 16746 h 16746"/>
                    <a:gd name="connsiteX1" fmla="*/ 1495 w 34568"/>
                    <a:gd name="connsiteY1" fmla="*/ 15669 h 16746"/>
                    <a:gd name="connsiteX2" fmla="*/ 0 w 34568"/>
                    <a:gd name="connsiteY2" fmla="*/ 13457 h 16746"/>
                    <a:gd name="connsiteX3" fmla="*/ 60 w 34568"/>
                    <a:gd name="connsiteY3" fmla="*/ 10526 h 16746"/>
                    <a:gd name="connsiteX4" fmla="*/ 658 w 34568"/>
                    <a:gd name="connsiteY4" fmla="*/ 8552 h 16746"/>
                    <a:gd name="connsiteX5" fmla="*/ 9270 w 34568"/>
                    <a:gd name="connsiteY5" fmla="*/ 4725 h 16746"/>
                    <a:gd name="connsiteX6" fmla="*/ 22248 w 34568"/>
                    <a:gd name="connsiteY6" fmla="*/ 1256 h 16746"/>
                    <a:gd name="connsiteX7" fmla="*/ 29605 w 34568"/>
                    <a:gd name="connsiteY7" fmla="*/ 299 h 16746"/>
                    <a:gd name="connsiteX8" fmla="*/ 31758 w 34568"/>
                    <a:gd name="connsiteY8" fmla="*/ 0 h 16746"/>
                    <a:gd name="connsiteX9" fmla="*/ 34569 w 34568"/>
                    <a:gd name="connsiteY9" fmla="*/ 120 h 16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68" h="16746">
                      <a:moveTo>
                        <a:pt x="3888" y="16746"/>
                      </a:moveTo>
                      <a:lnTo>
                        <a:pt x="1495" y="15669"/>
                      </a:lnTo>
                      <a:lnTo>
                        <a:pt x="0" y="13457"/>
                      </a:lnTo>
                      <a:lnTo>
                        <a:pt x="60" y="10526"/>
                      </a:lnTo>
                      <a:lnTo>
                        <a:pt x="658" y="8552"/>
                      </a:lnTo>
                      <a:lnTo>
                        <a:pt x="9270" y="4725"/>
                      </a:lnTo>
                      <a:lnTo>
                        <a:pt x="22248" y="1256"/>
                      </a:lnTo>
                      <a:lnTo>
                        <a:pt x="29605" y="299"/>
                      </a:lnTo>
                      <a:lnTo>
                        <a:pt x="31758" y="0"/>
                      </a:lnTo>
                      <a:lnTo>
                        <a:pt x="34569" y="120"/>
                      </a:lnTo>
                    </a:path>
                  </a:pathLst>
                </a:custGeom>
                <a:noFill/>
                <a:ln w="6350" cap="rnd">
                  <a:solidFill>
                    <a:schemeClr val="bg1">
                      <a:alpha val="40000"/>
                    </a:schemeClr>
                  </a:solidFill>
                  <a:prstDash val="solid"/>
                  <a:round/>
                </a:ln>
              </p:spPr>
              <p:txBody>
                <a:bodyPr rtlCol="0" anchor="ctr"/>
                <a:lstStyle/>
                <a:p>
                  <a:endParaRPr lang="en-GB"/>
                </a:p>
              </p:txBody>
            </p:sp>
            <p:sp>
              <p:nvSpPr>
                <p:cNvPr id="6653" name="Vrije vorm: vorm 6652">
                  <a:extLst>
                    <a:ext uri="{FF2B5EF4-FFF2-40B4-BE49-F238E27FC236}">
                      <a16:creationId xmlns:a16="http://schemas.microsoft.com/office/drawing/2014/main" id="{9D55A8A0-D55E-43D7-92B5-324DA5780DF3}"/>
                    </a:ext>
                  </a:extLst>
                </p:cNvPr>
                <p:cNvSpPr/>
                <p:nvPr/>
              </p:nvSpPr>
              <p:spPr>
                <a:xfrm>
                  <a:off x="6712124" y="1807295"/>
                  <a:ext cx="8971" cy="1854"/>
                </a:xfrm>
                <a:custGeom>
                  <a:avLst/>
                  <a:gdLst>
                    <a:gd name="connsiteX0" fmla="*/ 0 w 8971"/>
                    <a:gd name="connsiteY0" fmla="*/ 658 h 1854"/>
                    <a:gd name="connsiteX1" fmla="*/ 2392 w 8971"/>
                    <a:gd name="connsiteY1" fmla="*/ 120 h 1854"/>
                    <a:gd name="connsiteX2" fmla="*/ 5622 w 8971"/>
                    <a:gd name="connsiteY2" fmla="*/ 0 h 1854"/>
                    <a:gd name="connsiteX3" fmla="*/ 6579 w 8971"/>
                    <a:gd name="connsiteY3" fmla="*/ 538 h 1854"/>
                    <a:gd name="connsiteX4" fmla="*/ 6698 w 8971"/>
                    <a:gd name="connsiteY4" fmla="*/ 598 h 1854"/>
                    <a:gd name="connsiteX5" fmla="*/ 8971 w 8971"/>
                    <a:gd name="connsiteY5"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1" h="1854">
                      <a:moveTo>
                        <a:pt x="0" y="658"/>
                      </a:moveTo>
                      <a:lnTo>
                        <a:pt x="2392" y="120"/>
                      </a:lnTo>
                      <a:lnTo>
                        <a:pt x="5622" y="0"/>
                      </a:lnTo>
                      <a:lnTo>
                        <a:pt x="6579" y="538"/>
                      </a:lnTo>
                      <a:lnTo>
                        <a:pt x="6698" y="598"/>
                      </a:lnTo>
                      <a:lnTo>
                        <a:pt x="8971" y="1854"/>
                      </a:lnTo>
                    </a:path>
                  </a:pathLst>
                </a:custGeom>
                <a:noFill/>
                <a:ln w="6350" cap="rnd">
                  <a:solidFill>
                    <a:schemeClr val="bg1">
                      <a:alpha val="40000"/>
                    </a:schemeClr>
                  </a:solidFill>
                  <a:prstDash val="solid"/>
                  <a:round/>
                </a:ln>
              </p:spPr>
              <p:txBody>
                <a:bodyPr rtlCol="0" anchor="ctr"/>
                <a:lstStyle/>
                <a:p>
                  <a:endParaRPr lang="en-GB"/>
                </a:p>
              </p:txBody>
            </p:sp>
            <p:sp>
              <p:nvSpPr>
                <p:cNvPr id="6654" name="Vrije vorm: vorm 6653">
                  <a:extLst>
                    <a:ext uri="{FF2B5EF4-FFF2-40B4-BE49-F238E27FC236}">
                      <a16:creationId xmlns:a16="http://schemas.microsoft.com/office/drawing/2014/main" id="{51F984A2-1D0D-4D6B-862B-D0093ACB5615}"/>
                    </a:ext>
                  </a:extLst>
                </p:cNvPr>
                <p:cNvSpPr/>
                <p:nvPr/>
              </p:nvSpPr>
              <p:spPr>
                <a:xfrm>
                  <a:off x="7046207" y="1869973"/>
                  <a:ext cx="5502" cy="15131"/>
                </a:xfrm>
                <a:custGeom>
                  <a:avLst/>
                  <a:gdLst>
                    <a:gd name="connsiteX0" fmla="*/ 5503 w 5502"/>
                    <a:gd name="connsiteY0" fmla="*/ 0 h 15131"/>
                    <a:gd name="connsiteX1" fmla="*/ 837 w 5502"/>
                    <a:gd name="connsiteY1" fmla="*/ 10227 h 15131"/>
                    <a:gd name="connsiteX2" fmla="*/ 0 w 5502"/>
                    <a:gd name="connsiteY2" fmla="*/ 12260 h 15131"/>
                    <a:gd name="connsiteX3" fmla="*/ 60 w 5502"/>
                    <a:gd name="connsiteY3" fmla="*/ 12440 h 15131"/>
                    <a:gd name="connsiteX4" fmla="*/ 299 w 5502"/>
                    <a:gd name="connsiteY4" fmla="*/ 12978 h 15131"/>
                    <a:gd name="connsiteX5" fmla="*/ 299 w 5502"/>
                    <a:gd name="connsiteY5" fmla="*/ 12978 h 15131"/>
                    <a:gd name="connsiteX6" fmla="*/ 1017 w 5502"/>
                    <a:gd name="connsiteY6" fmla="*/ 13397 h 15131"/>
                    <a:gd name="connsiteX7" fmla="*/ 1735 w 5502"/>
                    <a:gd name="connsiteY7" fmla="*/ 13815 h 15131"/>
                    <a:gd name="connsiteX8" fmla="*/ 3110 w 5502"/>
                    <a:gd name="connsiteY8" fmla="*/ 14593 h 15131"/>
                    <a:gd name="connsiteX9" fmla="*/ 4007 w 5502"/>
                    <a:gd name="connsiteY9" fmla="*/ 15131 h 1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2" h="15131">
                      <a:moveTo>
                        <a:pt x="5503" y="0"/>
                      </a:moveTo>
                      <a:lnTo>
                        <a:pt x="837" y="10227"/>
                      </a:lnTo>
                      <a:lnTo>
                        <a:pt x="0" y="12260"/>
                      </a:lnTo>
                      <a:lnTo>
                        <a:pt x="60" y="12440"/>
                      </a:lnTo>
                      <a:lnTo>
                        <a:pt x="299" y="12978"/>
                      </a:lnTo>
                      <a:lnTo>
                        <a:pt x="299" y="12978"/>
                      </a:lnTo>
                      <a:lnTo>
                        <a:pt x="1017" y="13397"/>
                      </a:lnTo>
                      <a:lnTo>
                        <a:pt x="1735" y="13815"/>
                      </a:lnTo>
                      <a:lnTo>
                        <a:pt x="3110" y="14593"/>
                      </a:lnTo>
                      <a:lnTo>
                        <a:pt x="4007" y="15131"/>
                      </a:lnTo>
                    </a:path>
                  </a:pathLst>
                </a:custGeom>
                <a:noFill/>
                <a:ln w="6350" cap="rnd">
                  <a:solidFill>
                    <a:schemeClr val="bg1">
                      <a:alpha val="40000"/>
                    </a:schemeClr>
                  </a:solidFill>
                  <a:prstDash val="solid"/>
                  <a:round/>
                </a:ln>
              </p:spPr>
              <p:txBody>
                <a:bodyPr rtlCol="0" anchor="ctr"/>
                <a:lstStyle/>
                <a:p>
                  <a:endParaRPr lang="en-GB"/>
                </a:p>
              </p:txBody>
            </p:sp>
            <p:sp>
              <p:nvSpPr>
                <p:cNvPr id="6655" name="Vrije vorm: vorm 6654">
                  <a:extLst>
                    <a:ext uri="{FF2B5EF4-FFF2-40B4-BE49-F238E27FC236}">
                      <a16:creationId xmlns:a16="http://schemas.microsoft.com/office/drawing/2014/main" id="{D3DDC990-7257-45A6-AECA-6B9CFE84EC77}"/>
                    </a:ext>
                  </a:extLst>
                </p:cNvPr>
                <p:cNvSpPr/>
                <p:nvPr/>
              </p:nvSpPr>
              <p:spPr>
                <a:xfrm>
                  <a:off x="6597593" y="1871886"/>
                  <a:ext cx="16327" cy="52869"/>
                </a:xfrm>
                <a:custGeom>
                  <a:avLst/>
                  <a:gdLst>
                    <a:gd name="connsiteX0" fmla="*/ 16327 w 16327"/>
                    <a:gd name="connsiteY0" fmla="*/ 52212 h 52869"/>
                    <a:gd name="connsiteX1" fmla="*/ 13277 w 16327"/>
                    <a:gd name="connsiteY1" fmla="*/ 52870 h 52869"/>
                    <a:gd name="connsiteX2" fmla="*/ 12021 w 16327"/>
                    <a:gd name="connsiteY2" fmla="*/ 52571 h 52869"/>
                    <a:gd name="connsiteX3" fmla="*/ 11423 w 16327"/>
                    <a:gd name="connsiteY3" fmla="*/ 52391 h 52869"/>
                    <a:gd name="connsiteX4" fmla="*/ 10048 w 16327"/>
                    <a:gd name="connsiteY4" fmla="*/ 48145 h 52869"/>
                    <a:gd name="connsiteX5" fmla="*/ 9808 w 16327"/>
                    <a:gd name="connsiteY5" fmla="*/ 47427 h 52869"/>
                    <a:gd name="connsiteX6" fmla="*/ 8194 w 16327"/>
                    <a:gd name="connsiteY6" fmla="*/ 42523 h 52869"/>
                    <a:gd name="connsiteX7" fmla="*/ 7476 w 16327"/>
                    <a:gd name="connsiteY7" fmla="*/ 39951 h 52869"/>
                    <a:gd name="connsiteX8" fmla="*/ 6280 w 16327"/>
                    <a:gd name="connsiteY8" fmla="*/ 35765 h 52869"/>
                    <a:gd name="connsiteX9" fmla="*/ 6100 w 16327"/>
                    <a:gd name="connsiteY9" fmla="*/ 35167 h 52869"/>
                    <a:gd name="connsiteX10" fmla="*/ 4605 w 16327"/>
                    <a:gd name="connsiteY10" fmla="*/ 29844 h 52869"/>
                    <a:gd name="connsiteX11" fmla="*/ 4127 w 16327"/>
                    <a:gd name="connsiteY11" fmla="*/ 27631 h 52869"/>
                    <a:gd name="connsiteX12" fmla="*/ 3229 w 16327"/>
                    <a:gd name="connsiteY12" fmla="*/ 23743 h 52869"/>
                    <a:gd name="connsiteX13" fmla="*/ 2811 w 16327"/>
                    <a:gd name="connsiteY13" fmla="*/ 21770 h 52869"/>
                    <a:gd name="connsiteX14" fmla="*/ 2632 w 16327"/>
                    <a:gd name="connsiteY14" fmla="*/ 20873 h 52869"/>
                    <a:gd name="connsiteX15" fmla="*/ 2512 w 16327"/>
                    <a:gd name="connsiteY15" fmla="*/ 20454 h 52869"/>
                    <a:gd name="connsiteX16" fmla="*/ 957 w 16327"/>
                    <a:gd name="connsiteY16" fmla="*/ 13756 h 52869"/>
                    <a:gd name="connsiteX17" fmla="*/ 0 w 16327"/>
                    <a:gd name="connsiteY17" fmla="*/ 8672 h 52869"/>
                    <a:gd name="connsiteX18" fmla="*/ 2034 w 16327"/>
                    <a:gd name="connsiteY18" fmla="*/ 3469 h 52869"/>
                    <a:gd name="connsiteX19" fmla="*/ 9928 w 16327"/>
                    <a:gd name="connsiteY19" fmla="*/ 0 h 5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327" h="52869">
                      <a:moveTo>
                        <a:pt x="16327" y="52212"/>
                      </a:moveTo>
                      <a:lnTo>
                        <a:pt x="13277" y="52870"/>
                      </a:lnTo>
                      <a:lnTo>
                        <a:pt x="12021" y="52571"/>
                      </a:lnTo>
                      <a:lnTo>
                        <a:pt x="11423" y="52391"/>
                      </a:lnTo>
                      <a:lnTo>
                        <a:pt x="10048" y="48145"/>
                      </a:lnTo>
                      <a:lnTo>
                        <a:pt x="9808" y="47427"/>
                      </a:lnTo>
                      <a:lnTo>
                        <a:pt x="8194" y="42523"/>
                      </a:lnTo>
                      <a:lnTo>
                        <a:pt x="7476" y="39951"/>
                      </a:lnTo>
                      <a:lnTo>
                        <a:pt x="6280" y="35765"/>
                      </a:lnTo>
                      <a:lnTo>
                        <a:pt x="6100" y="35167"/>
                      </a:lnTo>
                      <a:lnTo>
                        <a:pt x="4605" y="29844"/>
                      </a:lnTo>
                      <a:lnTo>
                        <a:pt x="4127" y="27631"/>
                      </a:lnTo>
                      <a:lnTo>
                        <a:pt x="3229" y="23743"/>
                      </a:lnTo>
                      <a:lnTo>
                        <a:pt x="2811" y="21770"/>
                      </a:lnTo>
                      <a:lnTo>
                        <a:pt x="2632" y="20873"/>
                      </a:lnTo>
                      <a:lnTo>
                        <a:pt x="2512" y="20454"/>
                      </a:lnTo>
                      <a:lnTo>
                        <a:pt x="957" y="13756"/>
                      </a:lnTo>
                      <a:lnTo>
                        <a:pt x="0" y="8672"/>
                      </a:lnTo>
                      <a:lnTo>
                        <a:pt x="2034" y="3469"/>
                      </a:lnTo>
                      <a:lnTo>
                        <a:pt x="9928" y="0"/>
                      </a:lnTo>
                    </a:path>
                  </a:pathLst>
                </a:custGeom>
                <a:noFill/>
                <a:ln w="6350" cap="rnd">
                  <a:solidFill>
                    <a:schemeClr val="bg1">
                      <a:alpha val="40000"/>
                    </a:schemeClr>
                  </a:solidFill>
                  <a:prstDash val="solid"/>
                  <a:round/>
                </a:ln>
              </p:spPr>
              <p:txBody>
                <a:bodyPr rtlCol="0" anchor="ctr"/>
                <a:lstStyle/>
                <a:p>
                  <a:endParaRPr lang="en-GB"/>
                </a:p>
              </p:txBody>
            </p:sp>
            <p:sp>
              <p:nvSpPr>
                <p:cNvPr id="6656" name="Vrije vorm: vorm 6655">
                  <a:extLst>
                    <a:ext uri="{FF2B5EF4-FFF2-40B4-BE49-F238E27FC236}">
                      <a16:creationId xmlns:a16="http://schemas.microsoft.com/office/drawing/2014/main" id="{E87615BB-FEED-44B5-906E-D1D69C04C93F}"/>
                    </a:ext>
                  </a:extLst>
                </p:cNvPr>
                <p:cNvSpPr/>
                <p:nvPr/>
              </p:nvSpPr>
              <p:spPr>
                <a:xfrm>
                  <a:off x="6934368" y="1818179"/>
                  <a:ext cx="34209" cy="22009"/>
                </a:xfrm>
                <a:custGeom>
                  <a:avLst/>
                  <a:gdLst>
                    <a:gd name="connsiteX0" fmla="*/ 0 w 34209"/>
                    <a:gd name="connsiteY0" fmla="*/ 0 h 22009"/>
                    <a:gd name="connsiteX1" fmla="*/ 239 w 34209"/>
                    <a:gd name="connsiteY1" fmla="*/ 239 h 22009"/>
                    <a:gd name="connsiteX2" fmla="*/ 837 w 34209"/>
                    <a:gd name="connsiteY2" fmla="*/ 778 h 22009"/>
                    <a:gd name="connsiteX3" fmla="*/ 1973 w 34209"/>
                    <a:gd name="connsiteY3" fmla="*/ 1794 h 22009"/>
                    <a:gd name="connsiteX4" fmla="*/ 3290 w 34209"/>
                    <a:gd name="connsiteY4" fmla="*/ 2931 h 22009"/>
                    <a:gd name="connsiteX5" fmla="*/ 3469 w 34209"/>
                    <a:gd name="connsiteY5" fmla="*/ 3050 h 22009"/>
                    <a:gd name="connsiteX6" fmla="*/ 3768 w 34209"/>
                    <a:gd name="connsiteY6" fmla="*/ 3289 h 22009"/>
                    <a:gd name="connsiteX7" fmla="*/ 3947 w 34209"/>
                    <a:gd name="connsiteY7" fmla="*/ 3469 h 22009"/>
                    <a:gd name="connsiteX8" fmla="*/ 4126 w 34209"/>
                    <a:gd name="connsiteY8" fmla="*/ 3588 h 22009"/>
                    <a:gd name="connsiteX9" fmla="*/ 4366 w 34209"/>
                    <a:gd name="connsiteY9" fmla="*/ 3708 h 22009"/>
                    <a:gd name="connsiteX10" fmla="*/ 4366 w 34209"/>
                    <a:gd name="connsiteY10" fmla="*/ 3708 h 22009"/>
                    <a:gd name="connsiteX11" fmla="*/ 4486 w 34209"/>
                    <a:gd name="connsiteY11" fmla="*/ 3768 h 22009"/>
                    <a:gd name="connsiteX12" fmla="*/ 4545 w 34209"/>
                    <a:gd name="connsiteY12" fmla="*/ 3768 h 22009"/>
                    <a:gd name="connsiteX13" fmla="*/ 4725 w 34209"/>
                    <a:gd name="connsiteY13" fmla="*/ 3887 h 22009"/>
                    <a:gd name="connsiteX14" fmla="*/ 5263 w 34209"/>
                    <a:gd name="connsiteY14" fmla="*/ 4246 h 22009"/>
                    <a:gd name="connsiteX15" fmla="*/ 5443 w 34209"/>
                    <a:gd name="connsiteY15" fmla="*/ 4366 h 22009"/>
                    <a:gd name="connsiteX16" fmla="*/ 5921 w 34209"/>
                    <a:gd name="connsiteY16" fmla="*/ 4665 h 22009"/>
                    <a:gd name="connsiteX17" fmla="*/ 5981 w 34209"/>
                    <a:gd name="connsiteY17" fmla="*/ 4665 h 22009"/>
                    <a:gd name="connsiteX18" fmla="*/ 8134 w 34209"/>
                    <a:gd name="connsiteY18" fmla="*/ 6040 h 22009"/>
                    <a:gd name="connsiteX19" fmla="*/ 8791 w 34209"/>
                    <a:gd name="connsiteY19" fmla="*/ 6459 h 22009"/>
                    <a:gd name="connsiteX20" fmla="*/ 8971 w 34209"/>
                    <a:gd name="connsiteY20" fmla="*/ 6579 h 22009"/>
                    <a:gd name="connsiteX21" fmla="*/ 10048 w 34209"/>
                    <a:gd name="connsiteY21" fmla="*/ 7237 h 22009"/>
                    <a:gd name="connsiteX22" fmla="*/ 10167 w 34209"/>
                    <a:gd name="connsiteY22" fmla="*/ 7296 h 22009"/>
                    <a:gd name="connsiteX23" fmla="*/ 10825 w 34209"/>
                    <a:gd name="connsiteY23" fmla="*/ 7715 h 22009"/>
                    <a:gd name="connsiteX24" fmla="*/ 12380 w 34209"/>
                    <a:gd name="connsiteY24" fmla="*/ 8732 h 22009"/>
                    <a:gd name="connsiteX25" fmla="*/ 13816 w 34209"/>
                    <a:gd name="connsiteY25" fmla="*/ 9629 h 22009"/>
                    <a:gd name="connsiteX26" fmla="*/ 19318 w 34209"/>
                    <a:gd name="connsiteY26" fmla="*/ 12978 h 22009"/>
                    <a:gd name="connsiteX27" fmla="*/ 21172 w 34209"/>
                    <a:gd name="connsiteY27" fmla="*/ 14115 h 22009"/>
                    <a:gd name="connsiteX28" fmla="*/ 21650 w 34209"/>
                    <a:gd name="connsiteY28" fmla="*/ 14414 h 22009"/>
                    <a:gd name="connsiteX29" fmla="*/ 25478 w 34209"/>
                    <a:gd name="connsiteY29" fmla="*/ 16746 h 22009"/>
                    <a:gd name="connsiteX30" fmla="*/ 28408 w 34209"/>
                    <a:gd name="connsiteY30" fmla="*/ 18480 h 22009"/>
                    <a:gd name="connsiteX31" fmla="*/ 29126 w 34209"/>
                    <a:gd name="connsiteY31" fmla="*/ 18899 h 22009"/>
                    <a:gd name="connsiteX32" fmla="*/ 30921 w 34209"/>
                    <a:gd name="connsiteY32" fmla="*/ 19976 h 22009"/>
                    <a:gd name="connsiteX33" fmla="*/ 30980 w 34209"/>
                    <a:gd name="connsiteY33" fmla="*/ 20035 h 22009"/>
                    <a:gd name="connsiteX34" fmla="*/ 32416 w 34209"/>
                    <a:gd name="connsiteY34" fmla="*/ 20933 h 22009"/>
                    <a:gd name="connsiteX35" fmla="*/ 33253 w 34209"/>
                    <a:gd name="connsiteY35" fmla="*/ 21411 h 22009"/>
                    <a:gd name="connsiteX36" fmla="*/ 34210 w 34209"/>
                    <a:gd name="connsiteY36" fmla="*/ 22009 h 2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4209" h="22009">
                      <a:moveTo>
                        <a:pt x="0" y="0"/>
                      </a:moveTo>
                      <a:lnTo>
                        <a:pt x="239" y="239"/>
                      </a:lnTo>
                      <a:lnTo>
                        <a:pt x="837" y="778"/>
                      </a:lnTo>
                      <a:lnTo>
                        <a:pt x="1973" y="1794"/>
                      </a:lnTo>
                      <a:lnTo>
                        <a:pt x="3290" y="2931"/>
                      </a:lnTo>
                      <a:lnTo>
                        <a:pt x="3469" y="3050"/>
                      </a:lnTo>
                      <a:lnTo>
                        <a:pt x="3768" y="3289"/>
                      </a:lnTo>
                      <a:lnTo>
                        <a:pt x="3947" y="3469"/>
                      </a:lnTo>
                      <a:lnTo>
                        <a:pt x="4126" y="3588"/>
                      </a:lnTo>
                      <a:lnTo>
                        <a:pt x="4366" y="3708"/>
                      </a:lnTo>
                      <a:lnTo>
                        <a:pt x="4366" y="3708"/>
                      </a:lnTo>
                      <a:lnTo>
                        <a:pt x="4486" y="3768"/>
                      </a:lnTo>
                      <a:lnTo>
                        <a:pt x="4545" y="3768"/>
                      </a:lnTo>
                      <a:lnTo>
                        <a:pt x="4725" y="3887"/>
                      </a:lnTo>
                      <a:lnTo>
                        <a:pt x="5263" y="4246"/>
                      </a:lnTo>
                      <a:lnTo>
                        <a:pt x="5443" y="4366"/>
                      </a:lnTo>
                      <a:lnTo>
                        <a:pt x="5921" y="4665"/>
                      </a:lnTo>
                      <a:lnTo>
                        <a:pt x="5981" y="4665"/>
                      </a:lnTo>
                      <a:lnTo>
                        <a:pt x="8134" y="6040"/>
                      </a:lnTo>
                      <a:lnTo>
                        <a:pt x="8791" y="6459"/>
                      </a:lnTo>
                      <a:lnTo>
                        <a:pt x="8971" y="6579"/>
                      </a:lnTo>
                      <a:lnTo>
                        <a:pt x="10048" y="7237"/>
                      </a:lnTo>
                      <a:lnTo>
                        <a:pt x="10167" y="7296"/>
                      </a:lnTo>
                      <a:lnTo>
                        <a:pt x="10825" y="7715"/>
                      </a:lnTo>
                      <a:lnTo>
                        <a:pt x="12380" y="8732"/>
                      </a:lnTo>
                      <a:lnTo>
                        <a:pt x="13816" y="9629"/>
                      </a:lnTo>
                      <a:lnTo>
                        <a:pt x="19318" y="12978"/>
                      </a:lnTo>
                      <a:lnTo>
                        <a:pt x="21172" y="14115"/>
                      </a:lnTo>
                      <a:lnTo>
                        <a:pt x="21650" y="14414"/>
                      </a:lnTo>
                      <a:lnTo>
                        <a:pt x="25478" y="16746"/>
                      </a:lnTo>
                      <a:lnTo>
                        <a:pt x="28408" y="18480"/>
                      </a:lnTo>
                      <a:lnTo>
                        <a:pt x="29126" y="18899"/>
                      </a:lnTo>
                      <a:lnTo>
                        <a:pt x="30921" y="19976"/>
                      </a:lnTo>
                      <a:lnTo>
                        <a:pt x="30980" y="20035"/>
                      </a:lnTo>
                      <a:lnTo>
                        <a:pt x="32416" y="20933"/>
                      </a:lnTo>
                      <a:lnTo>
                        <a:pt x="33253" y="21411"/>
                      </a:lnTo>
                      <a:lnTo>
                        <a:pt x="34210" y="22009"/>
                      </a:lnTo>
                    </a:path>
                  </a:pathLst>
                </a:custGeom>
                <a:noFill/>
                <a:ln w="6350" cap="rnd">
                  <a:solidFill>
                    <a:schemeClr val="bg1">
                      <a:alpha val="40000"/>
                    </a:schemeClr>
                  </a:solidFill>
                  <a:prstDash val="solid"/>
                  <a:round/>
                </a:ln>
              </p:spPr>
              <p:txBody>
                <a:bodyPr rtlCol="0" anchor="ctr"/>
                <a:lstStyle/>
                <a:p>
                  <a:endParaRPr lang="en-GB"/>
                </a:p>
              </p:txBody>
            </p:sp>
            <p:sp>
              <p:nvSpPr>
                <p:cNvPr id="6657" name="Vrije vorm: vorm 6656">
                  <a:extLst>
                    <a:ext uri="{FF2B5EF4-FFF2-40B4-BE49-F238E27FC236}">
                      <a16:creationId xmlns:a16="http://schemas.microsoft.com/office/drawing/2014/main" id="{EFA94EC2-012A-4F7E-AA0F-C8E654CFA48C}"/>
                    </a:ext>
                  </a:extLst>
                </p:cNvPr>
                <p:cNvSpPr/>
                <p:nvPr/>
              </p:nvSpPr>
              <p:spPr>
                <a:xfrm>
                  <a:off x="6645798" y="1929899"/>
                  <a:ext cx="7176" cy="1016"/>
                </a:xfrm>
                <a:custGeom>
                  <a:avLst/>
                  <a:gdLst>
                    <a:gd name="connsiteX0" fmla="*/ 7177 w 7176"/>
                    <a:gd name="connsiteY0" fmla="*/ 0 h 1016"/>
                    <a:gd name="connsiteX1" fmla="*/ 4366 w 7176"/>
                    <a:gd name="connsiteY1" fmla="*/ 778 h 1016"/>
                    <a:gd name="connsiteX2" fmla="*/ 4127 w 7176"/>
                    <a:gd name="connsiteY2" fmla="*/ 837 h 1016"/>
                    <a:gd name="connsiteX3" fmla="*/ 0 w 7176"/>
                    <a:gd name="connsiteY3" fmla="*/ 1017 h 1016"/>
                  </a:gdLst>
                  <a:ahLst/>
                  <a:cxnLst>
                    <a:cxn ang="0">
                      <a:pos x="connsiteX0" y="connsiteY0"/>
                    </a:cxn>
                    <a:cxn ang="0">
                      <a:pos x="connsiteX1" y="connsiteY1"/>
                    </a:cxn>
                    <a:cxn ang="0">
                      <a:pos x="connsiteX2" y="connsiteY2"/>
                    </a:cxn>
                    <a:cxn ang="0">
                      <a:pos x="connsiteX3" y="connsiteY3"/>
                    </a:cxn>
                  </a:cxnLst>
                  <a:rect l="l" t="t" r="r" b="b"/>
                  <a:pathLst>
                    <a:path w="7176" h="1016">
                      <a:moveTo>
                        <a:pt x="7177" y="0"/>
                      </a:moveTo>
                      <a:lnTo>
                        <a:pt x="4366" y="778"/>
                      </a:lnTo>
                      <a:lnTo>
                        <a:pt x="4127" y="837"/>
                      </a:lnTo>
                      <a:lnTo>
                        <a:pt x="0" y="1017"/>
                      </a:lnTo>
                    </a:path>
                  </a:pathLst>
                </a:custGeom>
                <a:noFill/>
                <a:ln w="6350" cap="rnd">
                  <a:solidFill>
                    <a:schemeClr val="bg1">
                      <a:alpha val="40000"/>
                    </a:schemeClr>
                  </a:solidFill>
                  <a:prstDash val="solid"/>
                  <a:round/>
                </a:ln>
              </p:spPr>
              <p:txBody>
                <a:bodyPr rtlCol="0" anchor="ctr"/>
                <a:lstStyle/>
                <a:p>
                  <a:endParaRPr lang="en-GB"/>
                </a:p>
              </p:txBody>
            </p:sp>
            <p:sp>
              <p:nvSpPr>
                <p:cNvPr id="6658" name="Vrije vorm: vorm 6657">
                  <a:extLst>
                    <a:ext uri="{FF2B5EF4-FFF2-40B4-BE49-F238E27FC236}">
                      <a16:creationId xmlns:a16="http://schemas.microsoft.com/office/drawing/2014/main" id="{B7AD5C1A-79CC-44EA-B364-5859919F471A}"/>
                    </a:ext>
                  </a:extLst>
                </p:cNvPr>
                <p:cNvSpPr/>
                <p:nvPr/>
              </p:nvSpPr>
              <p:spPr>
                <a:xfrm>
                  <a:off x="7077665" y="1815668"/>
                  <a:ext cx="2212" cy="4066"/>
                </a:xfrm>
                <a:custGeom>
                  <a:avLst/>
                  <a:gdLst>
                    <a:gd name="connsiteX0" fmla="*/ 0 w 2212"/>
                    <a:gd name="connsiteY0" fmla="*/ 4067 h 4066"/>
                    <a:gd name="connsiteX1" fmla="*/ 658 w 2212"/>
                    <a:gd name="connsiteY1" fmla="*/ 2930 h 4066"/>
                    <a:gd name="connsiteX2" fmla="*/ 658 w 2212"/>
                    <a:gd name="connsiteY2" fmla="*/ 2871 h 4066"/>
                    <a:gd name="connsiteX3" fmla="*/ 1914 w 2212"/>
                    <a:gd name="connsiteY3" fmla="*/ 658 h 4066"/>
                    <a:gd name="connsiteX4" fmla="*/ 1914 w 2212"/>
                    <a:gd name="connsiteY4" fmla="*/ 598 h 4066"/>
                    <a:gd name="connsiteX5" fmla="*/ 1914 w 2212"/>
                    <a:gd name="connsiteY5" fmla="*/ 598 h 4066"/>
                    <a:gd name="connsiteX6" fmla="*/ 2153 w 2212"/>
                    <a:gd name="connsiteY6" fmla="*/ 120 h 4066"/>
                    <a:gd name="connsiteX7" fmla="*/ 2213 w 2212"/>
                    <a:gd name="connsiteY7" fmla="*/ 0 h 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2" h="4066">
                      <a:moveTo>
                        <a:pt x="0" y="4067"/>
                      </a:moveTo>
                      <a:lnTo>
                        <a:pt x="658" y="2930"/>
                      </a:lnTo>
                      <a:lnTo>
                        <a:pt x="658" y="2871"/>
                      </a:lnTo>
                      <a:lnTo>
                        <a:pt x="1914" y="658"/>
                      </a:lnTo>
                      <a:lnTo>
                        <a:pt x="1914" y="598"/>
                      </a:lnTo>
                      <a:lnTo>
                        <a:pt x="1914" y="598"/>
                      </a:lnTo>
                      <a:lnTo>
                        <a:pt x="2153" y="120"/>
                      </a:lnTo>
                      <a:lnTo>
                        <a:pt x="2213" y="0"/>
                      </a:lnTo>
                    </a:path>
                  </a:pathLst>
                </a:custGeom>
                <a:noFill/>
                <a:ln w="6350" cap="rnd">
                  <a:solidFill>
                    <a:schemeClr val="bg1">
                      <a:alpha val="40000"/>
                    </a:schemeClr>
                  </a:solidFill>
                  <a:prstDash val="solid"/>
                  <a:round/>
                </a:ln>
              </p:spPr>
              <p:txBody>
                <a:bodyPr rtlCol="0" anchor="ctr"/>
                <a:lstStyle/>
                <a:p>
                  <a:endParaRPr lang="en-GB"/>
                </a:p>
              </p:txBody>
            </p:sp>
            <p:sp>
              <p:nvSpPr>
                <p:cNvPr id="6659" name="Vrije vorm: vorm 6658">
                  <a:extLst>
                    <a:ext uri="{FF2B5EF4-FFF2-40B4-BE49-F238E27FC236}">
                      <a16:creationId xmlns:a16="http://schemas.microsoft.com/office/drawing/2014/main" id="{83D59CCC-69F5-4ACD-A776-A606C72A5383}"/>
                    </a:ext>
                  </a:extLst>
                </p:cNvPr>
                <p:cNvSpPr/>
                <p:nvPr/>
              </p:nvSpPr>
              <p:spPr>
                <a:xfrm>
                  <a:off x="7080058" y="1816744"/>
                  <a:ext cx="2392" cy="4365"/>
                </a:xfrm>
                <a:custGeom>
                  <a:avLst/>
                  <a:gdLst>
                    <a:gd name="connsiteX0" fmla="*/ 2392 w 2392"/>
                    <a:gd name="connsiteY0" fmla="*/ 0 h 4365"/>
                    <a:gd name="connsiteX1" fmla="*/ 2153 w 2392"/>
                    <a:gd name="connsiteY1" fmla="*/ 598 h 4365"/>
                    <a:gd name="connsiteX2" fmla="*/ 1555 w 2392"/>
                    <a:gd name="connsiteY2" fmla="*/ 1675 h 4365"/>
                    <a:gd name="connsiteX3" fmla="*/ 778 w 2392"/>
                    <a:gd name="connsiteY3" fmla="*/ 3050 h 4365"/>
                    <a:gd name="connsiteX4" fmla="*/ 778 w 2392"/>
                    <a:gd name="connsiteY4" fmla="*/ 3050 h 4365"/>
                    <a:gd name="connsiteX5" fmla="*/ 598 w 2392"/>
                    <a:gd name="connsiteY5" fmla="*/ 3349 h 4365"/>
                    <a:gd name="connsiteX6" fmla="*/ 0 w 2392"/>
                    <a:gd name="connsiteY6" fmla="*/ 4366 h 4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2" h="4365">
                      <a:moveTo>
                        <a:pt x="2392" y="0"/>
                      </a:moveTo>
                      <a:lnTo>
                        <a:pt x="2153" y="598"/>
                      </a:lnTo>
                      <a:lnTo>
                        <a:pt x="1555" y="1675"/>
                      </a:lnTo>
                      <a:lnTo>
                        <a:pt x="778" y="3050"/>
                      </a:lnTo>
                      <a:lnTo>
                        <a:pt x="778" y="3050"/>
                      </a:lnTo>
                      <a:lnTo>
                        <a:pt x="598" y="3349"/>
                      </a:lnTo>
                      <a:lnTo>
                        <a:pt x="0" y="4366"/>
                      </a:lnTo>
                    </a:path>
                  </a:pathLst>
                </a:custGeom>
                <a:noFill/>
                <a:ln w="6350" cap="rnd">
                  <a:solidFill>
                    <a:schemeClr val="bg1">
                      <a:alpha val="40000"/>
                    </a:schemeClr>
                  </a:solidFill>
                  <a:prstDash val="solid"/>
                  <a:round/>
                </a:ln>
              </p:spPr>
              <p:txBody>
                <a:bodyPr rtlCol="0" anchor="ctr"/>
                <a:lstStyle/>
                <a:p>
                  <a:endParaRPr lang="en-GB"/>
                </a:p>
              </p:txBody>
            </p:sp>
            <p:sp>
              <p:nvSpPr>
                <p:cNvPr id="6660" name="Vrije vorm: vorm 6659">
                  <a:extLst>
                    <a:ext uri="{FF2B5EF4-FFF2-40B4-BE49-F238E27FC236}">
                      <a16:creationId xmlns:a16="http://schemas.microsoft.com/office/drawing/2014/main" id="{2ED7CD1F-9D6D-44C5-B6F0-4D9F3D6FBE9E}"/>
                    </a:ext>
                  </a:extLst>
                </p:cNvPr>
                <p:cNvSpPr/>
                <p:nvPr/>
              </p:nvSpPr>
              <p:spPr>
                <a:xfrm>
                  <a:off x="6813019" y="1973798"/>
                  <a:ext cx="9569" cy="50895"/>
                </a:xfrm>
                <a:custGeom>
                  <a:avLst/>
                  <a:gdLst>
                    <a:gd name="connsiteX0" fmla="*/ 9031 w 9569"/>
                    <a:gd name="connsiteY0" fmla="*/ 50896 h 50895"/>
                    <a:gd name="connsiteX1" fmla="*/ 7535 w 9569"/>
                    <a:gd name="connsiteY1" fmla="*/ 50417 h 50895"/>
                    <a:gd name="connsiteX2" fmla="*/ 6997 w 9569"/>
                    <a:gd name="connsiteY2" fmla="*/ 44497 h 50895"/>
                    <a:gd name="connsiteX3" fmla="*/ 6519 w 9569"/>
                    <a:gd name="connsiteY3" fmla="*/ 39592 h 50895"/>
                    <a:gd name="connsiteX4" fmla="*/ 6459 w 9569"/>
                    <a:gd name="connsiteY4" fmla="*/ 39174 h 50895"/>
                    <a:gd name="connsiteX5" fmla="*/ 6459 w 9569"/>
                    <a:gd name="connsiteY5" fmla="*/ 39114 h 50895"/>
                    <a:gd name="connsiteX6" fmla="*/ 6399 w 9569"/>
                    <a:gd name="connsiteY6" fmla="*/ 38576 h 50895"/>
                    <a:gd name="connsiteX7" fmla="*/ 5981 w 9569"/>
                    <a:gd name="connsiteY7" fmla="*/ 34987 h 50895"/>
                    <a:gd name="connsiteX8" fmla="*/ 5442 w 9569"/>
                    <a:gd name="connsiteY8" fmla="*/ 30502 h 50895"/>
                    <a:gd name="connsiteX9" fmla="*/ 5323 w 9569"/>
                    <a:gd name="connsiteY9" fmla="*/ 29485 h 50895"/>
                    <a:gd name="connsiteX10" fmla="*/ 5203 w 9569"/>
                    <a:gd name="connsiteY10" fmla="*/ 28408 h 50895"/>
                    <a:gd name="connsiteX11" fmla="*/ 5143 w 9569"/>
                    <a:gd name="connsiteY11" fmla="*/ 27930 h 50895"/>
                    <a:gd name="connsiteX12" fmla="*/ 5083 w 9569"/>
                    <a:gd name="connsiteY12" fmla="*/ 27272 h 50895"/>
                    <a:gd name="connsiteX13" fmla="*/ 4904 w 9569"/>
                    <a:gd name="connsiteY13" fmla="*/ 25538 h 50895"/>
                    <a:gd name="connsiteX14" fmla="*/ 4426 w 9569"/>
                    <a:gd name="connsiteY14" fmla="*/ 22428 h 50895"/>
                    <a:gd name="connsiteX15" fmla="*/ 4306 w 9569"/>
                    <a:gd name="connsiteY15" fmla="*/ 21710 h 50895"/>
                    <a:gd name="connsiteX16" fmla="*/ 4246 w 9569"/>
                    <a:gd name="connsiteY16" fmla="*/ 21411 h 50895"/>
                    <a:gd name="connsiteX17" fmla="*/ 3947 w 9569"/>
                    <a:gd name="connsiteY17" fmla="*/ 19557 h 50895"/>
                    <a:gd name="connsiteX18" fmla="*/ 3648 w 9569"/>
                    <a:gd name="connsiteY18" fmla="*/ 17404 h 50895"/>
                    <a:gd name="connsiteX19" fmla="*/ 2930 w 9569"/>
                    <a:gd name="connsiteY19" fmla="*/ 14713 h 50895"/>
                    <a:gd name="connsiteX20" fmla="*/ 2930 w 9569"/>
                    <a:gd name="connsiteY20" fmla="*/ 14713 h 50895"/>
                    <a:gd name="connsiteX21" fmla="*/ 2751 w 9569"/>
                    <a:gd name="connsiteY21" fmla="*/ 14115 h 50895"/>
                    <a:gd name="connsiteX22" fmla="*/ 2572 w 9569"/>
                    <a:gd name="connsiteY22" fmla="*/ 13337 h 50895"/>
                    <a:gd name="connsiteX23" fmla="*/ 2512 w 9569"/>
                    <a:gd name="connsiteY23" fmla="*/ 13098 h 50895"/>
                    <a:gd name="connsiteX24" fmla="*/ 2392 w 9569"/>
                    <a:gd name="connsiteY24" fmla="*/ 12679 h 50895"/>
                    <a:gd name="connsiteX25" fmla="*/ 2332 w 9569"/>
                    <a:gd name="connsiteY25" fmla="*/ 12440 h 50895"/>
                    <a:gd name="connsiteX26" fmla="*/ 2093 w 9569"/>
                    <a:gd name="connsiteY26" fmla="*/ 11662 h 50895"/>
                    <a:gd name="connsiteX27" fmla="*/ 1854 w 9569"/>
                    <a:gd name="connsiteY27" fmla="*/ 10825 h 50895"/>
                    <a:gd name="connsiteX28" fmla="*/ 1555 w 9569"/>
                    <a:gd name="connsiteY28" fmla="*/ 9808 h 50895"/>
                    <a:gd name="connsiteX29" fmla="*/ 538 w 9569"/>
                    <a:gd name="connsiteY29" fmla="*/ 6997 h 50895"/>
                    <a:gd name="connsiteX30" fmla="*/ 478 w 9569"/>
                    <a:gd name="connsiteY30" fmla="*/ 6818 h 50895"/>
                    <a:gd name="connsiteX31" fmla="*/ 239 w 9569"/>
                    <a:gd name="connsiteY31" fmla="*/ 6100 h 50895"/>
                    <a:gd name="connsiteX32" fmla="*/ 0 w 9569"/>
                    <a:gd name="connsiteY32" fmla="*/ 5383 h 50895"/>
                    <a:gd name="connsiteX33" fmla="*/ 538 w 9569"/>
                    <a:gd name="connsiteY33" fmla="*/ 4605 h 50895"/>
                    <a:gd name="connsiteX34" fmla="*/ 778 w 9569"/>
                    <a:gd name="connsiteY34" fmla="*/ 4246 h 50895"/>
                    <a:gd name="connsiteX35" fmla="*/ 2332 w 9569"/>
                    <a:gd name="connsiteY35" fmla="*/ 1974 h 50895"/>
                    <a:gd name="connsiteX36" fmla="*/ 3708 w 9569"/>
                    <a:gd name="connsiteY36" fmla="*/ 0 h 50895"/>
                    <a:gd name="connsiteX37" fmla="*/ 8732 w 9569"/>
                    <a:gd name="connsiteY37" fmla="*/ 478 h 50895"/>
                    <a:gd name="connsiteX38" fmla="*/ 9390 w 9569"/>
                    <a:gd name="connsiteY38" fmla="*/ 538 h 50895"/>
                    <a:gd name="connsiteX39" fmla="*/ 9509 w 9569"/>
                    <a:gd name="connsiteY39" fmla="*/ 837 h 50895"/>
                    <a:gd name="connsiteX40" fmla="*/ 9569 w 9569"/>
                    <a:gd name="connsiteY40" fmla="*/ 1017 h 50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569" h="50895">
                      <a:moveTo>
                        <a:pt x="9031" y="50896"/>
                      </a:moveTo>
                      <a:lnTo>
                        <a:pt x="7535" y="50417"/>
                      </a:lnTo>
                      <a:lnTo>
                        <a:pt x="6997" y="44497"/>
                      </a:lnTo>
                      <a:lnTo>
                        <a:pt x="6519" y="39592"/>
                      </a:lnTo>
                      <a:lnTo>
                        <a:pt x="6459" y="39174"/>
                      </a:lnTo>
                      <a:lnTo>
                        <a:pt x="6459" y="39114"/>
                      </a:lnTo>
                      <a:lnTo>
                        <a:pt x="6399" y="38576"/>
                      </a:lnTo>
                      <a:lnTo>
                        <a:pt x="5981" y="34987"/>
                      </a:lnTo>
                      <a:lnTo>
                        <a:pt x="5442" y="30502"/>
                      </a:lnTo>
                      <a:lnTo>
                        <a:pt x="5323" y="29485"/>
                      </a:lnTo>
                      <a:lnTo>
                        <a:pt x="5203" y="28408"/>
                      </a:lnTo>
                      <a:lnTo>
                        <a:pt x="5143" y="27930"/>
                      </a:lnTo>
                      <a:lnTo>
                        <a:pt x="5083" y="27272"/>
                      </a:lnTo>
                      <a:lnTo>
                        <a:pt x="4904" y="25538"/>
                      </a:lnTo>
                      <a:lnTo>
                        <a:pt x="4426" y="22428"/>
                      </a:lnTo>
                      <a:lnTo>
                        <a:pt x="4306" y="21710"/>
                      </a:lnTo>
                      <a:lnTo>
                        <a:pt x="4246" y="21411"/>
                      </a:lnTo>
                      <a:lnTo>
                        <a:pt x="3947" y="19557"/>
                      </a:lnTo>
                      <a:lnTo>
                        <a:pt x="3648" y="17404"/>
                      </a:lnTo>
                      <a:lnTo>
                        <a:pt x="2930" y="14713"/>
                      </a:lnTo>
                      <a:lnTo>
                        <a:pt x="2930" y="14713"/>
                      </a:lnTo>
                      <a:lnTo>
                        <a:pt x="2751" y="14115"/>
                      </a:lnTo>
                      <a:lnTo>
                        <a:pt x="2572" y="13337"/>
                      </a:lnTo>
                      <a:lnTo>
                        <a:pt x="2512" y="13098"/>
                      </a:lnTo>
                      <a:lnTo>
                        <a:pt x="2392" y="12679"/>
                      </a:lnTo>
                      <a:lnTo>
                        <a:pt x="2332" y="12440"/>
                      </a:lnTo>
                      <a:lnTo>
                        <a:pt x="2093" y="11662"/>
                      </a:lnTo>
                      <a:lnTo>
                        <a:pt x="1854" y="10825"/>
                      </a:lnTo>
                      <a:lnTo>
                        <a:pt x="1555" y="9808"/>
                      </a:lnTo>
                      <a:lnTo>
                        <a:pt x="538" y="6997"/>
                      </a:lnTo>
                      <a:lnTo>
                        <a:pt x="478" y="6818"/>
                      </a:lnTo>
                      <a:lnTo>
                        <a:pt x="239" y="6100"/>
                      </a:lnTo>
                      <a:lnTo>
                        <a:pt x="0" y="5383"/>
                      </a:lnTo>
                      <a:lnTo>
                        <a:pt x="538" y="4605"/>
                      </a:lnTo>
                      <a:lnTo>
                        <a:pt x="778" y="4246"/>
                      </a:lnTo>
                      <a:lnTo>
                        <a:pt x="2332" y="1974"/>
                      </a:lnTo>
                      <a:lnTo>
                        <a:pt x="3708" y="0"/>
                      </a:lnTo>
                      <a:lnTo>
                        <a:pt x="8732" y="478"/>
                      </a:lnTo>
                      <a:lnTo>
                        <a:pt x="9390" y="538"/>
                      </a:lnTo>
                      <a:lnTo>
                        <a:pt x="9509" y="837"/>
                      </a:lnTo>
                      <a:lnTo>
                        <a:pt x="9569" y="1017"/>
                      </a:lnTo>
                    </a:path>
                  </a:pathLst>
                </a:custGeom>
                <a:noFill/>
                <a:ln w="6350" cap="rnd">
                  <a:solidFill>
                    <a:schemeClr val="bg1">
                      <a:alpha val="40000"/>
                    </a:schemeClr>
                  </a:solidFill>
                  <a:prstDash val="solid"/>
                  <a:round/>
                </a:ln>
              </p:spPr>
              <p:txBody>
                <a:bodyPr rtlCol="0" anchor="ctr"/>
                <a:lstStyle/>
                <a:p>
                  <a:endParaRPr lang="en-GB"/>
                </a:p>
              </p:txBody>
            </p:sp>
            <p:sp>
              <p:nvSpPr>
                <p:cNvPr id="6661" name="Vrije vorm: vorm 6660">
                  <a:extLst>
                    <a:ext uri="{FF2B5EF4-FFF2-40B4-BE49-F238E27FC236}">
                      <a16:creationId xmlns:a16="http://schemas.microsoft.com/office/drawing/2014/main" id="{0CFF4273-4B65-4620-91F9-08C6E299CBFD}"/>
                    </a:ext>
                  </a:extLst>
                </p:cNvPr>
                <p:cNvSpPr/>
                <p:nvPr/>
              </p:nvSpPr>
              <p:spPr>
                <a:xfrm>
                  <a:off x="6864393" y="1694857"/>
                  <a:ext cx="1555" cy="1136"/>
                </a:xfrm>
                <a:custGeom>
                  <a:avLst/>
                  <a:gdLst>
                    <a:gd name="connsiteX0" fmla="*/ 1555 w 1555"/>
                    <a:gd name="connsiteY0" fmla="*/ 1136 h 1136"/>
                    <a:gd name="connsiteX1" fmla="*/ 956 w 1555"/>
                    <a:gd name="connsiteY1" fmla="*/ 718 h 1136"/>
                    <a:gd name="connsiteX2" fmla="*/ 0 w 1555"/>
                    <a:gd name="connsiteY2" fmla="*/ 0 h 1136"/>
                  </a:gdLst>
                  <a:ahLst/>
                  <a:cxnLst>
                    <a:cxn ang="0">
                      <a:pos x="connsiteX0" y="connsiteY0"/>
                    </a:cxn>
                    <a:cxn ang="0">
                      <a:pos x="connsiteX1" y="connsiteY1"/>
                    </a:cxn>
                    <a:cxn ang="0">
                      <a:pos x="connsiteX2" y="connsiteY2"/>
                    </a:cxn>
                  </a:cxnLst>
                  <a:rect l="l" t="t" r="r" b="b"/>
                  <a:pathLst>
                    <a:path w="1555" h="1136">
                      <a:moveTo>
                        <a:pt x="1555" y="1136"/>
                      </a:moveTo>
                      <a:lnTo>
                        <a:pt x="956" y="71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62" name="Vrije vorm: vorm 6661">
                  <a:extLst>
                    <a:ext uri="{FF2B5EF4-FFF2-40B4-BE49-F238E27FC236}">
                      <a16:creationId xmlns:a16="http://schemas.microsoft.com/office/drawing/2014/main" id="{E6F17712-AF03-4E6D-A474-ACAD324804F3}"/>
                    </a:ext>
                  </a:extLst>
                </p:cNvPr>
                <p:cNvSpPr/>
                <p:nvPr/>
              </p:nvSpPr>
              <p:spPr>
                <a:xfrm>
                  <a:off x="6829585" y="1957112"/>
                  <a:ext cx="717" cy="8074"/>
                </a:xfrm>
                <a:custGeom>
                  <a:avLst/>
                  <a:gdLst>
                    <a:gd name="connsiteX0" fmla="*/ 598 w 717"/>
                    <a:gd name="connsiteY0" fmla="*/ 6818 h 8074"/>
                    <a:gd name="connsiteX1" fmla="*/ 718 w 717"/>
                    <a:gd name="connsiteY1" fmla="*/ 8074 h 8074"/>
                    <a:gd name="connsiteX2" fmla="*/ 239 w 717"/>
                    <a:gd name="connsiteY2" fmla="*/ 7536 h 8074"/>
                    <a:gd name="connsiteX3" fmla="*/ 120 w 717"/>
                    <a:gd name="connsiteY3" fmla="*/ 3888 h 8074"/>
                    <a:gd name="connsiteX4" fmla="*/ 120 w 717"/>
                    <a:gd name="connsiteY4" fmla="*/ 3888 h 8074"/>
                    <a:gd name="connsiteX5" fmla="*/ 60 w 717"/>
                    <a:gd name="connsiteY5" fmla="*/ 2213 h 8074"/>
                    <a:gd name="connsiteX6" fmla="*/ 0 w 717"/>
                    <a:gd name="connsiteY6" fmla="*/ 419 h 8074"/>
                    <a:gd name="connsiteX7" fmla="*/ 0 w 717"/>
                    <a:gd name="connsiteY7" fmla="*/ 0 h 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 h="8074">
                      <a:moveTo>
                        <a:pt x="598" y="6818"/>
                      </a:moveTo>
                      <a:lnTo>
                        <a:pt x="718" y="8074"/>
                      </a:lnTo>
                      <a:lnTo>
                        <a:pt x="239" y="7536"/>
                      </a:lnTo>
                      <a:lnTo>
                        <a:pt x="120" y="3888"/>
                      </a:lnTo>
                      <a:lnTo>
                        <a:pt x="120" y="3888"/>
                      </a:lnTo>
                      <a:lnTo>
                        <a:pt x="60" y="2213"/>
                      </a:lnTo>
                      <a:lnTo>
                        <a:pt x="0" y="41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63" name="Vrije vorm: vorm 6662">
                  <a:extLst>
                    <a:ext uri="{FF2B5EF4-FFF2-40B4-BE49-F238E27FC236}">
                      <a16:creationId xmlns:a16="http://schemas.microsoft.com/office/drawing/2014/main" id="{910950A0-82A7-450E-B518-F32C49259A26}"/>
                    </a:ext>
                  </a:extLst>
                </p:cNvPr>
                <p:cNvSpPr/>
                <p:nvPr/>
              </p:nvSpPr>
              <p:spPr>
                <a:xfrm>
                  <a:off x="6830184" y="1963870"/>
                  <a:ext cx="1256" cy="1435"/>
                </a:xfrm>
                <a:custGeom>
                  <a:avLst/>
                  <a:gdLst>
                    <a:gd name="connsiteX0" fmla="*/ 1256 w 1256"/>
                    <a:gd name="connsiteY0" fmla="*/ 1435 h 1435"/>
                    <a:gd name="connsiteX1" fmla="*/ 598 w 1256"/>
                    <a:gd name="connsiteY1" fmla="*/ 718 h 1435"/>
                    <a:gd name="connsiteX2" fmla="*/ 478 w 1256"/>
                    <a:gd name="connsiteY2" fmla="*/ 538 h 1435"/>
                    <a:gd name="connsiteX3" fmla="*/ 478 w 1256"/>
                    <a:gd name="connsiteY3" fmla="*/ 538 h 1435"/>
                    <a:gd name="connsiteX4" fmla="*/ 0 w 1256"/>
                    <a:gd name="connsiteY4" fmla="*/ 0 h 1435"/>
                    <a:gd name="connsiteX5" fmla="*/ 0 w 1256"/>
                    <a:gd name="connsiteY5" fmla="*/ 0 h 1435"/>
                    <a:gd name="connsiteX6" fmla="*/ 119 w 1256"/>
                    <a:gd name="connsiteY6" fmla="*/ 1256 h 1435"/>
                    <a:gd name="connsiteX7" fmla="*/ 179 w 1256"/>
                    <a:gd name="connsiteY7" fmla="*/ 1256 h 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6" h="1435">
                      <a:moveTo>
                        <a:pt x="1256" y="1435"/>
                      </a:moveTo>
                      <a:lnTo>
                        <a:pt x="598" y="718"/>
                      </a:lnTo>
                      <a:lnTo>
                        <a:pt x="478" y="538"/>
                      </a:lnTo>
                      <a:lnTo>
                        <a:pt x="478" y="538"/>
                      </a:lnTo>
                      <a:lnTo>
                        <a:pt x="0" y="0"/>
                      </a:lnTo>
                      <a:lnTo>
                        <a:pt x="0" y="0"/>
                      </a:lnTo>
                      <a:lnTo>
                        <a:pt x="119" y="1256"/>
                      </a:lnTo>
                      <a:lnTo>
                        <a:pt x="179" y="1256"/>
                      </a:lnTo>
                    </a:path>
                  </a:pathLst>
                </a:custGeom>
                <a:noFill/>
                <a:ln w="6350" cap="rnd">
                  <a:solidFill>
                    <a:schemeClr val="bg1">
                      <a:alpha val="40000"/>
                    </a:schemeClr>
                  </a:solidFill>
                  <a:prstDash val="solid"/>
                  <a:round/>
                </a:ln>
              </p:spPr>
              <p:txBody>
                <a:bodyPr rtlCol="0" anchor="ctr"/>
                <a:lstStyle/>
                <a:p>
                  <a:endParaRPr lang="en-GB"/>
                </a:p>
              </p:txBody>
            </p:sp>
            <p:sp>
              <p:nvSpPr>
                <p:cNvPr id="6664" name="Vrije vorm: vorm 6663">
                  <a:extLst>
                    <a:ext uri="{FF2B5EF4-FFF2-40B4-BE49-F238E27FC236}">
                      <a16:creationId xmlns:a16="http://schemas.microsoft.com/office/drawing/2014/main" id="{68F0E0D7-4284-4492-87AE-D9DA277F4278}"/>
                    </a:ext>
                  </a:extLst>
                </p:cNvPr>
                <p:cNvSpPr/>
                <p:nvPr/>
              </p:nvSpPr>
              <p:spPr>
                <a:xfrm>
                  <a:off x="6877611" y="2013211"/>
                  <a:ext cx="25418" cy="29544"/>
                </a:xfrm>
                <a:custGeom>
                  <a:avLst/>
                  <a:gdLst>
                    <a:gd name="connsiteX0" fmla="*/ 15610 w 25418"/>
                    <a:gd name="connsiteY0" fmla="*/ 0 h 29544"/>
                    <a:gd name="connsiteX1" fmla="*/ 24102 w 25418"/>
                    <a:gd name="connsiteY1" fmla="*/ 5263 h 29544"/>
                    <a:gd name="connsiteX2" fmla="*/ 24281 w 25418"/>
                    <a:gd name="connsiteY2" fmla="*/ 5502 h 29544"/>
                    <a:gd name="connsiteX3" fmla="*/ 24820 w 25418"/>
                    <a:gd name="connsiteY3" fmla="*/ 6100 h 29544"/>
                    <a:gd name="connsiteX4" fmla="*/ 25119 w 25418"/>
                    <a:gd name="connsiteY4" fmla="*/ 6459 h 29544"/>
                    <a:gd name="connsiteX5" fmla="*/ 25298 w 25418"/>
                    <a:gd name="connsiteY5" fmla="*/ 7536 h 29544"/>
                    <a:gd name="connsiteX6" fmla="*/ 25418 w 25418"/>
                    <a:gd name="connsiteY6" fmla="*/ 8552 h 29544"/>
                    <a:gd name="connsiteX7" fmla="*/ 24999 w 25418"/>
                    <a:gd name="connsiteY7" fmla="*/ 11304 h 29544"/>
                    <a:gd name="connsiteX8" fmla="*/ 24760 w 25418"/>
                    <a:gd name="connsiteY8" fmla="*/ 11961 h 29544"/>
                    <a:gd name="connsiteX9" fmla="*/ 23863 w 25418"/>
                    <a:gd name="connsiteY9" fmla="*/ 14593 h 29544"/>
                    <a:gd name="connsiteX10" fmla="*/ 22368 w 25418"/>
                    <a:gd name="connsiteY10" fmla="*/ 17643 h 29544"/>
                    <a:gd name="connsiteX11" fmla="*/ 22128 w 25418"/>
                    <a:gd name="connsiteY11" fmla="*/ 18062 h 29544"/>
                    <a:gd name="connsiteX12" fmla="*/ 20035 w 25418"/>
                    <a:gd name="connsiteY12" fmla="*/ 21291 h 29544"/>
                    <a:gd name="connsiteX13" fmla="*/ 19916 w 25418"/>
                    <a:gd name="connsiteY13" fmla="*/ 21411 h 29544"/>
                    <a:gd name="connsiteX14" fmla="*/ 19796 w 25418"/>
                    <a:gd name="connsiteY14" fmla="*/ 21590 h 29544"/>
                    <a:gd name="connsiteX15" fmla="*/ 18720 w 25418"/>
                    <a:gd name="connsiteY15" fmla="*/ 22906 h 29544"/>
                    <a:gd name="connsiteX16" fmla="*/ 17464 w 25418"/>
                    <a:gd name="connsiteY16" fmla="*/ 24521 h 29544"/>
                    <a:gd name="connsiteX17" fmla="*/ 14892 w 25418"/>
                    <a:gd name="connsiteY17" fmla="*/ 27033 h 29544"/>
                    <a:gd name="connsiteX18" fmla="*/ 14234 w 25418"/>
                    <a:gd name="connsiteY18" fmla="*/ 27511 h 29544"/>
                    <a:gd name="connsiteX19" fmla="*/ 12559 w 25418"/>
                    <a:gd name="connsiteY19" fmla="*/ 28707 h 29544"/>
                    <a:gd name="connsiteX20" fmla="*/ 12440 w 25418"/>
                    <a:gd name="connsiteY20" fmla="*/ 28767 h 29544"/>
                    <a:gd name="connsiteX21" fmla="*/ 11244 w 25418"/>
                    <a:gd name="connsiteY21" fmla="*/ 29186 h 29544"/>
                    <a:gd name="connsiteX22" fmla="*/ 11064 w 25418"/>
                    <a:gd name="connsiteY22" fmla="*/ 29246 h 29544"/>
                    <a:gd name="connsiteX23" fmla="*/ 10885 w 25418"/>
                    <a:gd name="connsiteY23" fmla="*/ 29305 h 29544"/>
                    <a:gd name="connsiteX24" fmla="*/ 10287 w 25418"/>
                    <a:gd name="connsiteY24" fmla="*/ 29545 h 29544"/>
                    <a:gd name="connsiteX25" fmla="*/ 10107 w 25418"/>
                    <a:gd name="connsiteY25" fmla="*/ 29545 h 29544"/>
                    <a:gd name="connsiteX26" fmla="*/ 9689 w 25418"/>
                    <a:gd name="connsiteY26" fmla="*/ 29485 h 29544"/>
                    <a:gd name="connsiteX27" fmla="*/ 8552 w 25418"/>
                    <a:gd name="connsiteY27" fmla="*/ 29365 h 29544"/>
                    <a:gd name="connsiteX28" fmla="*/ 8253 w 25418"/>
                    <a:gd name="connsiteY28" fmla="*/ 29126 h 29544"/>
                    <a:gd name="connsiteX29" fmla="*/ 0 w 25418"/>
                    <a:gd name="connsiteY29" fmla="*/ 23385 h 2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418" h="29544">
                      <a:moveTo>
                        <a:pt x="15610" y="0"/>
                      </a:moveTo>
                      <a:lnTo>
                        <a:pt x="24102" y="5263"/>
                      </a:lnTo>
                      <a:lnTo>
                        <a:pt x="24281" y="5502"/>
                      </a:lnTo>
                      <a:lnTo>
                        <a:pt x="24820" y="6100"/>
                      </a:lnTo>
                      <a:lnTo>
                        <a:pt x="25119" y="6459"/>
                      </a:lnTo>
                      <a:lnTo>
                        <a:pt x="25298" y="7536"/>
                      </a:lnTo>
                      <a:lnTo>
                        <a:pt x="25418" y="8552"/>
                      </a:lnTo>
                      <a:lnTo>
                        <a:pt x="24999" y="11304"/>
                      </a:lnTo>
                      <a:lnTo>
                        <a:pt x="24760" y="11961"/>
                      </a:lnTo>
                      <a:lnTo>
                        <a:pt x="23863" y="14593"/>
                      </a:lnTo>
                      <a:lnTo>
                        <a:pt x="22368" y="17643"/>
                      </a:lnTo>
                      <a:lnTo>
                        <a:pt x="22128" y="18062"/>
                      </a:lnTo>
                      <a:lnTo>
                        <a:pt x="20035" y="21291"/>
                      </a:lnTo>
                      <a:lnTo>
                        <a:pt x="19916" y="21411"/>
                      </a:lnTo>
                      <a:lnTo>
                        <a:pt x="19796" y="21590"/>
                      </a:lnTo>
                      <a:lnTo>
                        <a:pt x="18720" y="22906"/>
                      </a:lnTo>
                      <a:lnTo>
                        <a:pt x="17464" y="24521"/>
                      </a:lnTo>
                      <a:lnTo>
                        <a:pt x="14892" y="27033"/>
                      </a:lnTo>
                      <a:lnTo>
                        <a:pt x="14234" y="27511"/>
                      </a:lnTo>
                      <a:lnTo>
                        <a:pt x="12559" y="28707"/>
                      </a:lnTo>
                      <a:lnTo>
                        <a:pt x="12440" y="28767"/>
                      </a:lnTo>
                      <a:lnTo>
                        <a:pt x="11244" y="29186"/>
                      </a:lnTo>
                      <a:lnTo>
                        <a:pt x="11064" y="29246"/>
                      </a:lnTo>
                      <a:lnTo>
                        <a:pt x="10885" y="29305"/>
                      </a:lnTo>
                      <a:lnTo>
                        <a:pt x="10287" y="29545"/>
                      </a:lnTo>
                      <a:lnTo>
                        <a:pt x="10107" y="29545"/>
                      </a:lnTo>
                      <a:lnTo>
                        <a:pt x="9689" y="29485"/>
                      </a:lnTo>
                      <a:lnTo>
                        <a:pt x="8552" y="29365"/>
                      </a:lnTo>
                      <a:lnTo>
                        <a:pt x="8253" y="29126"/>
                      </a:lnTo>
                      <a:lnTo>
                        <a:pt x="0" y="23385"/>
                      </a:lnTo>
                    </a:path>
                  </a:pathLst>
                </a:custGeom>
                <a:noFill/>
                <a:ln w="6350" cap="rnd">
                  <a:solidFill>
                    <a:schemeClr val="bg1">
                      <a:alpha val="40000"/>
                    </a:schemeClr>
                  </a:solidFill>
                  <a:prstDash val="solid"/>
                  <a:round/>
                </a:ln>
              </p:spPr>
              <p:txBody>
                <a:bodyPr rtlCol="0" anchor="ctr"/>
                <a:lstStyle/>
                <a:p>
                  <a:endParaRPr lang="en-GB"/>
                </a:p>
              </p:txBody>
            </p:sp>
            <p:sp>
              <p:nvSpPr>
                <p:cNvPr id="6665" name="Vrije vorm: vorm 6664">
                  <a:extLst>
                    <a:ext uri="{FF2B5EF4-FFF2-40B4-BE49-F238E27FC236}">
                      <a16:creationId xmlns:a16="http://schemas.microsoft.com/office/drawing/2014/main" id="{19D4D56E-7575-424E-BAD2-880B53C5B10A}"/>
                    </a:ext>
                  </a:extLst>
                </p:cNvPr>
                <p:cNvSpPr/>
                <p:nvPr/>
              </p:nvSpPr>
              <p:spPr>
                <a:xfrm>
                  <a:off x="6673728" y="1799998"/>
                  <a:ext cx="16925" cy="11961"/>
                </a:xfrm>
                <a:custGeom>
                  <a:avLst/>
                  <a:gdLst>
                    <a:gd name="connsiteX0" fmla="*/ 0 w 16925"/>
                    <a:gd name="connsiteY0" fmla="*/ 4785 h 11961"/>
                    <a:gd name="connsiteX1" fmla="*/ 2392 w 16925"/>
                    <a:gd name="connsiteY1" fmla="*/ 239 h 11961"/>
                    <a:gd name="connsiteX2" fmla="*/ 6160 w 16925"/>
                    <a:gd name="connsiteY2" fmla="*/ 0 h 11961"/>
                    <a:gd name="connsiteX3" fmla="*/ 9749 w 16925"/>
                    <a:gd name="connsiteY3" fmla="*/ 0 h 11961"/>
                    <a:gd name="connsiteX4" fmla="*/ 13576 w 16925"/>
                    <a:gd name="connsiteY4" fmla="*/ 1076 h 11961"/>
                    <a:gd name="connsiteX5" fmla="*/ 15012 w 16925"/>
                    <a:gd name="connsiteY5" fmla="*/ 2751 h 11961"/>
                    <a:gd name="connsiteX6" fmla="*/ 15490 w 16925"/>
                    <a:gd name="connsiteY6" fmla="*/ 3349 h 11961"/>
                    <a:gd name="connsiteX7" fmla="*/ 15550 w 16925"/>
                    <a:gd name="connsiteY7" fmla="*/ 3469 h 11961"/>
                    <a:gd name="connsiteX8" fmla="*/ 16208 w 16925"/>
                    <a:gd name="connsiteY8" fmla="*/ 6340 h 11961"/>
                    <a:gd name="connsiteX9" fmla="*/ 16746 w 16925"/>
                    <a:gd name="connsiteY9" fmla="*/ 8552 h 11961"/>
                    <a:gd name="connsiteX10" fmla="*/ 16926 w 16925"/>
                    <a:gd name="connsiteY10" fmla="*/ 11961 h 1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925" h="11961">
                      <a:moveTo>
                        <a:pt x="0" y="4785"/>
                      </a:moveTo>
                      <a:lnTo>
                        <a:pt x="2392" y="239"/>
                      </a:lnTo>
                      <a:lnTo>
                        <a:pt x="6160" y="0"/>
                      </a:lnTo>
                      <a:lnTo>
                        <a:pt x="9749" y="0"/>
                      </a:lnTo>
                      <a:lnTo>
                        <a:pt x="13576" y="1076"/>
                      </a:lnTo>
                      <a:lnTo>
                        <a:pt x="15012" y="2751"/>
                      </a:lnTo>
                      <a:lnTo>
                        <a:pt x="15490" y="3349"/>
                      </a:lnTo>
                      <a:lnTo>
                        <a:pt x="15550" y="3469"/>
                      </a:lnTo>
                      <a:lnTo>
                        <a:pt x="16208" y="6340"/>
                      </a:lnTo>
                      <a:lnTo>
                        <a:pt x="16746" y="8552"/>
                      </a:lnTo>
                      <a:lnTo>
                        <a:pt x="16926" y="11961"/>
                      </a:lnTo>
                    </a:path>
                  </a:pathLst>
                </a:custGeom>
                <a:noFill/>
                <a:ln w="6350" cap="rnd">
                  <a:solidFill>
                    <a:schemeClr val="bg1">
                      <a:alpha val="40000"/>
                    </a:schemeClr>
                  </a:solidFill>
                  <a:prstDash val="solid"/>
                  <a:round/>
                </a:ln>
              </p:spPr>
              <p:txBody>
                <a:bodyPr rtlCol="0" anchor="ctr"/>
                <a:lstStyle/>
                <a:p>
                  <a:endParaRPr lang="en-GB"/>
                </a:p>
              </p:txBody>
            </p:sp>
            <p:sp>
              <p:nvSpPr>
                <p:cNvPr id="6666" name="Vrije vorm: vorm 6665">
                  <a:extLst>
                    <a:ext uri="{FF2B5EF4-FFF2-40B4-BE49-F238E27FC236}">
                      <a16:creationId xmlns:a16="http://schemas.microsoft.com/office/drawing/2014/main" id="{42449908-8CC3-4E76-B118-5BCBAA3B89C1}"/>
                    </a:ext>
                  </a:extLst>
                </p:cNvPr>
                <p:cNvSpPr/>
                <p:nvPr/>
              </p:nvSpPr>
              <p:spPr>
                <a:xfrm>
                  <a:off x="6919236" y="1722608"/>
                  <a:ext cx="11064" cy="9808"/>
                </a:xfrm>
                <a:custGeom>
                  <a:avLst/>
                  <a:gdLst>
                    <a:gd name="connsiteX0" fmla="*/ 11064 w 11064"/>
                    <a:gd name="connsiteY0" fmla="*/ 0 h 9808"/>
                    <a:gd name="connsiteX1" fmla="*/ 7656 w 11064"/>
                    <a:gd name="connsiteY1" fmla="*/ 3110 h 9808"/>
                    <a:gd name="connsiteX2" fmla="*/ 6520 w 11064"/>
                    <a:gd name="connsiteY2" fmla="*/ 4186 h 9808"/>
                    <a:gd name="connsiteX3" fmla="*/ 0 w 11064"/>
                    <a:gd name="connsiteY3" fmla="*/ 9808 h 9808"/>
                  </a:gdLst>
                  <a:ahLst/>
                  <a:cxnLst>
                    <a:cxn ang="0">
                      <a:pos x="connsiteX0" y="connsiteY0"/>
                    </a:cxn>
                    <a:cxn ang="0">
                      <a:pos x="connsiteX1" y="connsiteY1"/>
                    </a:cxn>
                    <a:cxn ang="0">
                      <a:pos x="connsiteX2" y="connsiteY2"/>
                    </a:cxn>
                    <a:cxn ang="0">
                      <a:pos x="connsiteX3" y="connsiteY3"/>
                    </a:cxn>
                  </a:cxnLst>
                  <a:rect l="l" t="t" r="r" b="b"/>
                  <a:pathLst>
                    <a:path w="11064" h="9808">
                      <a:moveTo>
                        <a:pt x="11064" y="0"/>
                      </a:moveTo>
                      <a:lnTo>
                        <a:pt x="7656" y="3110"/>
                      </a:lnTo>
                      <a:lnTo>
                        <a:pt x="6520" y="4186"/>
                      </a:lnTo>
                      <a:lnTo>
                        <a:pt x="0" y="9808"/>
                      </a:lnTo>
                    </a:path>
                  </a:pathLst>
                </a:custGeom>
                <a:noFill/>
                <a:ln w="6350" cap="rnd">
                  <a:solidFill>
                    <a:schemeClr val="bg1">
                      <a:alpha val="40000"/>
                    </a:schemeClr>
                  </a:solidFill>
                  <a:prstDash val="solid"/>
                  <a:round/>
                </a:ln>
              </p:spPr>
              <p:txBody>
                <a:bodyPr rtlCol="0" anchor="ctr"/>
                <a:lstStyle/>
                <a:p>
                  <a:endParaRPr lang="en-GB"/>
                </a:p>
              </p:txBody>
            </p:sp>
            <p:sp>
              <p:nvSpPr>
                <p:cNvPr id="6667" name="Vrije vorm: vorm 6666">
                  <a:extLst>
                    <a:ext uri="{FF2B5EF4-FFF2-40B4-BE49-F238E27FC236}">
                      <a16:creationId xmlns:a16="http://schemas.microsoft.com/office/drawing/2014/main" id="{03587CCE-3A64-446E-8B91-59552CADA7B7}"/>
                    </a:ext>
                  </a:extLst>
                </p:cNvPr>
                <p:cNvSpPr/>
                <p:nvPr/>
              </p:nvSpPr>
              <p:spPr>
                <a:xfrm>
                  <a:off x="6698249" y="1787977"/>
                  <a:ext cx="28109" cy="17523"/>
                </a:xfrm>
                <a:custGeom>
                  <a:avLst/>
                  <a:gdLst>
                    <a:gd name="connsiteX0" fmla="*/ 28109 w 28109"/>
                    <a:gd name="connsiteY0" fmla="*/ 17524 h 17523"/>
                    <a:gd name="connsiteX1" fmla="*/ 14892 w 28109"/>
                    <a:gd name="connsiteY1" fmla="*/ 9150 h 17523"/>
                    <a:gd name="connsiteX2" fmla="*/ 10048 w 28109"/>
                    <a:gd name="connsiteY2" fmla="*/ 6100 h 17523"/>
                    <a:gd name="connsiteX3" fmla="*/ 5263 w 28109"/>
                    <a:gd name="connsiteY3" fmla="*/ 3170 h 17523"/>
                    <a:gd name="connsiteX4" fmla="*/ 0 w 28109"/>
                    <a:gd name="connsiteY4" fmla="*/ 0 h 17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09" h="17523">
                      <a:moveTo>
                        <a:pt x="28109" y="17524"/>
                      </a:moveTo>
                      <a:lnTo>
                        <a:pt x="14892" y="9150"/>
                      </a:lnTo>
                      <a:lnTo>
                        <a:pt x="10048" y="6100"/>
                      </a:lnTo>
                      <a:lnTo>
                        <a:pt x="5263" y="317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68" name="Vrije vorm: vorm 6667">
                  <a:extLst>
                    <a:ext uri="{FF2B5EF4-FFF2-40B4-BE49-F238E27FC236}">
                      <a16:creationId xmlns:a16="http://schemas.microsoft.com/office/drawing/2014/main" id="{22D5B0AA-794D-4FDA-ABC3-8DA35C00BCFD}"/>
                    </a:ext>
                  </a:extLst>
                </p:cNvPr>
                <p:cNvSpPr/>
                <p:nvPr/>
              </p:nvSpPr>
              <p:spPr>
                <a:xfrm>
                  <a:off x="6987058" y="1978702"/>
                  <a:ext cx="62856" cy="22965"/>
                </a:xfrm>
                <a:custGeom>
                  <a:avLst/>
                  <a:gdLst>
                    <a:gd name="connsiteX0" fmla="*/ 0 w 62856"/>
                    <a:gd name="connsiteY0" fmla="*/ 8612 h 22965"/>
                    <a:gd name="connsiteX1" fmla="*/ 777 w 62856"/>
                    <a:gd name="connsiteY1" fmla="*/ 7117 h 22965"/>
                    <a:gd name="connsiteX2" fmla="*/ 1076 w 62856"/>
                    <a:gd name="connsiteY2" fmla="*/ 6519 h 22965"/>
                    <a:gd name="connsiteX3" fmla="*/ 1136 w 62856"/>
                    <a:gd name="connsiteY3" fmla="*/ 6519 h 22965"/>
                    <a:gd name="connsiteX4" fmla="*/ 4126 w 62856"/>
                    <a:gd name="connsiteY4" fmla="*/ 5562 h 22965"/>
                    <a:gd name="connsiteX5" fmla="*/ 6040 w 62856"/>
                    <a:gd name="connsiteY5" fmla="*/ 4964 h 22965"/>
                    <a:gd name="connsiteX6" fmla="*/ 6219 w 62856"/>
                    <a:gd name="connsiteY6" fmla="*/ 4904 h 22965"/>
                    <a:gd name="connsiteX7" fmla="*/ 6279 w 62856"/>
                    <a:gd name="connsiteY7" fmla="*/ 4904 h 22965"/>
                    <a:gd name="connsiteX8" fmla="*/ 8253 w 62856"/>
                    <a:gd name="connsiteY8" fmla="*/ 4246 h 22965"/>
                    <a:gd name="connsiteX9" fmla="*/ 13277 w 62856"/>
                    <a:gd name="connsiteY9" fmla="*/ 2632 h 22965"/>
                    <a:gd name="connsiteX10" fmla="*/ 16686 w 62856"/>
                    <a:gd name="connsiteY10" fmla="*/ 2093 h 22965"/>
                    <a:gd name="connsiteX11" fmla="*/ 21291 w 62856"/>
                    <a:gd name="connsiteY11" fmla="*/ 1376 h 22965"/>
                    <a:gd name="connsiteX12" fmla="*/ 26734 w 62856"/>
                    <a:gd name="connsiteY12" fmla="*/ 538 h 22965"/>
                    <a:gd name="connsiteX13" fmla="*/ 30142 w 62856"/>
                    <a:gd name="connsiteY13" fmla="*/ 0 h 22965"/>
                    <a:gd name="connsiteX14" fmla="*/ 41566 w 62856"/>
                    <a:gd name="connsiteY14" fmla="*/ 0 h 22965"/>
                    <a:gd name="connsiteX15" fmla="*/ 46709 w 62856"/>
                    <a:gd name="connsiteY15" fmla="*/ 1316 h 22965"/>
                    <a:gd name="connsiteX16" fmla="*/ 52750 w 62856"/>
                    <a:gd name="connsiteY16" fmla="*/ 2811 h 22965"/>
                    <a:gd name="connsiteX17" fmla="*/ 59866 w 62856"/>
                    <a:gd name="connsiteY17" fmla="*/ 5981 h 22965"/>
                    <a:gd name="connsiteX18" fmla="*/ 60465 w 62856"/>
                    <a:gd name="connsiteY18" fmla="*/ 6220 h 22965"/>
                    <a:gd name="connsiteX19" fmla="*/ 62618 w 62856"/>
                    <a:gd name="connsiteY19" fmla="*/ 12679 h 22965"/>
                    <a:gd name="connsiteX20" fmla="*/ 62857 w 62856"/>
                    <a:gd name="connsiteY20" fmla="*/ 13397 h 22965"/>
                    <a:gd name="connsiteX21" fmla="*/ 62379 w 62856"/>
                    <a:gd name="connsiteY21" fmla="*/ 14473 h 22965"/>
                    <a:gd name="connsiteX22" fmla="*/ 59747 w 62856"/>
                    <a:gd name="connsiteY22" fmla="*/ 20275 h 22965"/>
                    <a:gd name="connsiteX23" fmla="*/ 57235 w 62856"/>
                    <a:gd name="connsiteY23" fmla="*/ 22966 h 22965"/>
                    <a:gd name="connsiteX24" fmla="*/ 55022 w 62856"/>
                    <a:gd name="connsiteY24" fmla="*/ 22069 h 22965"/>
                    <a:gd name="connsiteX25" fmla="*/ 53827 w 62856"/>
                    <a:gd name="connsiteY25" fmla="*/ 21411 h 2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856" h="22965">
                      <a:moveTo>
                        <a:pt x="0" y="8612"/>
                      </a:moveTo>
                      <a:lnTo>
                        <a:pt x="777" y="7117"/>
                      </a:lnTo>
                      <a:lnTo>
                        <a:pt x="1076" y="6519"/>
                      </a:lnTo>
                      <a:lnTo>
                        <a:pt x="1136" y="6519"/>
                      </a:lnTo>
                      <a:lnTo>
                        <a:pt x="4126" y="5562"/>
                      </a:lnTo>
                      <a:lnTo>
                        <a:pt x="6040" y="4964"/>
                      </a:lnTo>
                      <a:lnTo>
                        <a:pt x="6219" y="4904"/>
                      </a:lnTo>
                      <a:lnTo>
                        <a:pt x="6279" y="4904"/>
                      </a:lnTo>
                      <a:lnTo>
                        <a:pt x="8253" y="4246"/>
                      </a:lnTo>
                      <a:lnTo>
                        <a:pt x="13277" y="2632"/>
                      </a:lnTo>
                      <a:lnTo>
                        <a:pt x="16686" y="2093"/>
                      </a:lnTo>
                      <a:lnTo>
                        <a:pt x="21291" y="1376"/>
                      </a:lnTo>
                      <a:lnTo>
                        <a:pt x="26734" y="538"/>
                      </a:lnTo>
                      <a:lnTo>
                        <a:pt x="30142" y="0"/>
                      </a:lnTo>
                      <a:lnTo>
                        <a:pt x="41566" y="0"/>
                      </a:lnTo>
                      <a:lnTo>
                        <a:pt x="46709" y="1316"/>
                      </a:lnTo>
                      <a:lnTo>
                        <a:pt x="52750" y="2811"/>
                      </a:lnTo>
                      <a:lnTo>
                        <a:pt x="59866" y="5981"/>
                      </a:lnTo>
                      <a:lnTo>
                        <a:pt x="60465" y="6220"/>
                      </a:lnTo>
                      <a:lnTo>
                        <a:pt x="62618" y="12679"/>
                      </a:lnTo>
                      <a:lnTo>
                        <a:pt x="62857" y="13397"/>
                      </a:lnTo>
                      <a:lnTo>
                        <a:pt x="62379" y="14473"/>
                      </a:lnTo>
                      <a:lnTo>
                        <a:pt x="59747" y="20275"/>
                      </a:lnTo>
                      <a:lnTo>
                        <a:pt x="57235" y="22966"/>
                      </a:lnTo>
                      <a:lnTo>
                        <a:pt x="55022" y="22069"/>
                      </a:lnTo>
                      <a:lnTo>
                        <a:pt x="53827" y="21411"/>
                      </a:lnTo>
                    </a:path>
                  </a:pathLst>
                </a:custGeom>
                <a:noFill/>
                <a:ln w="6350" cap="rnd">
                  <a:solidFill>
                    <a:schemeClr val="bg1">
                      <a:alpha val="40000"/>
                    </a:schemeClr>
                  </a:solidFill>
                  <a:prstDash val="solid"/>
                  <a:round/>
                </a:ln>
              </p:spPr>
              <p:txBody>
                <a:bodyPr rtlCol="0" anchor="ctr"/>
                <a:lstStyle/>
                <a:p>
                  <a:endParaRPr lang="en-GB"/>
                </a:p>
              </p:txBody>
            </p:sp>
            <p:sp>
              <p:nvSpPr>
                <p:cNvPr id="6669" name="Vrije vorm: vorm 6668">
                  <a:extLst>
                    <a:ext uri="{FF2B5EF4-FFF2-40B4-BE49-F238E27FC236}">
                      <a16:creationId xmlns:a16="http://schemas.microsoft.com/office/drawing/2014/main" id="{98F2D269-C4E1-4CB8-9322-4F5A5B8C8F09}"/>
                    </a:ext>
                  </a:extLst>
                </p:cNvPr>
                <p:cNvSpPr/>
                <p:nvPr/>
              </p:nvSpPr>
              <p:spPr>
                <a:xfrm>
                  <a:off x="6611289" y="1932172"/>
                  <a:ext cx="6459" cy="8791"/>
                </a:xfrm>
                <a:custGeom>
                  <a:avLst/>
                  <a:gdLst>
                    <a:gd name="connsiteX0" fmla="*/ 6459 w 6459"/>
                    <a:gd name="connsiteY0" fmla="*/ 7536 h 8791"/>
                    <a:gd name="connsiteX1" fmla="*/ 4844 w 6459"/>
                    <a:gd name="connsiteY1" fmla="*/ 8134 h 8791"/>
                    <a:gd name="connsiteX2" fmla="*/ 4605 w 6459"/>
                    <a:gd name="connsiteY2" fmla="*/ 8253 h 8791"/>
                    <a:gd name="connsiteX3" fmla="*/ 3230 w 6459"/>
                    <a:gd name="connsiteY3" fmla="*/ 8792 h 8791"/>
                    <a:gd name="connsiteX4" fmla="*/ 1316 w 6459"/>
                    <a:gd name="connsiteY4" fmla="*/ 6818 h 8791"/>
                    <a:gd name="connsiteX5" fmla="*/ 239 w 6459"/>
                    <a:gd name="connsiteY5" fmla="*/ 4366 h 8791"/>
                    <a:gd name="connsiteX6" fmla="*/ 0 w 6459"/>
                    <a:gd name="connsiteY6" fmla="*/ 2751 h 8791"/>
                    <a:gd name="connsiteX7" fmla="*/ 778 w 6459"/>
                    <a:gd name="connsiteY7" fmla="*/ 1794 h 8791"/>
                    <a:gd name="connsiteX8" fmla="*/ 2213 w 6459"/>
                    <a:gd name="connsiteY8"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59" h="8791">
                      <a:moveTo>
                        <a:pt x="6459" y="7536"/>
                      </a:moveTo>
                      <a:lnTo>
                        <a:pt x="4844" y="8134"/>
                      </a:lnTo>
                      <a:lnTo>
                        <a:pt x="4605" y="8253"/>
                      </a:lnTo>
                      <a:lnTo>
                        <a:pt x="3230" y="8792"/>
                      </a:lnTo>
                      <a:lnTo>
                        <a:pt x="1316" y="6818"/>
                      </a:lnTo>
                      <a:lnTo>
                        <a:pt x="239" y="4366"/>
                      </a:lnTo>
                      <a:lnTo>
                        <a:pt x="0" y="2751"/>
                      </a:lnTo>
                      <a:lnTo>
                        <a:pt x="778" y="1794"/>
                      </a:lnTo>
                      <a:lnTo>
                        <a:pt x="2213" y="0"/>
                      </a:lnTo>
                    </a:path>
                  </a:pathLst>
                </a:custGeom>
                <a:noFill/>
                <a:ln w="6350" cap="rnd">
                  <a:solidFill>
                    <a:schemeClr val="bg1">
                      <a:alpha val="40000"/>
                    </a:schemeClr>
                  </a:solidFill>
                  <a:prstDash val="solid"/>
                  <a:round/>
                </a:ln>
              </p:spPr>
              <p:txBody>
                <a:bodyPr rtlCol="0" anchor="ctr"/>
                <a:lstStyle/>
                <a:p>
                  <a:endParaRPr lang="en-GB"/>
                </a:p>
              </p:txBody>
            </p:sp>
            <p:sp>
              <p:nvSpPr>
                <p:cNvPr id="6670" name="Vrije vorm: vorm 6669">
                  <a:extLst>
                    <a:ext uri="{FF2B5EF4-FFF2-40B4-BE49-F238E27FC236}">
                      <a16:creationId xmlns:a16="http://schemas.microsoft.com/office/drawing/2014/main" id="{B9845E39-8D86-417A-8A45-5699CB3DAD96}"/>
                    </a:ext>
                  </a:extLst>
                </p:cNvPr>
                <p:cNvSpPr/>
                <p:nvPr/>
              </p:nvSpPr>
              <p:spPr>
                <a:xfrm>
                  <a:off x="6924141" y="1820811"/>
                  <a:ext cx="2810" cy="3289"/>
                </a:xfrm>
                <a:custGeom>
                  <a:avLst/>
                  <a:gdLst>
                    <a:gd name="connsiteX0" fmla="*/ 956 w 2810"/>
                    <a:gd name="connsiteY0" fmla="*/ 3289 h 3289"/>
                    <a:gd name="connsiteX1" fmla="*/ 718 w 2810"/>
                    <a:gd name="connsiteY1" fmla="*/ 3050 h 3289"/>
                    <a:gd name="connsiteX2" fmla="*/ 658 w 2810"/>
                    <a:gd name="connsiteY2" fmla="*/ 2990 h 3289"/>
                    <a:gd name="connsiteX3" fmla="*/ 0 w 2810"/>
                    <a:gd name="connsiteY3" fmla="*/ 2093 h 3289"/>
                    <a:gd name="connsiteX4" fmla="*/ 0 w 2810"/>
                    <a:gd name="connsiteY4" fmla="*/ 2033 h 3289"/>
                    <a:gd name="connsiteX5" fmla="*/ 0 w 2810"/>
                    <a:gd name="connsiteY5" fmla="*/ 1974 h 3289"/>
                    <a:gd name="connsiteX6" fmla="*/ 239 w 2810"/>
                    <a:gd name="connsiteY6" fmla="*/ 777 h 3289"/>
                    <a:gd name="connsiteX7" fmla="*/ 1316 w 2810"/>
                    <a:gd name="connsiteY7" fmla="*/ 0 h 3289"/>
                    <a:gd name="connsiteX8" fmla="*/ 2571 w 2810"/>
                    <a:gd name="connsiteY8" fmla="*/ 179 h 3289"/>
                    <a:gd name="connsiteX9" fmla="*/ 2811 w 2810"/>
                    <a:gd name="connsiteY9" fmla="*/ 419 h 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0" h="3289">
                      <a:moveTo>
                        <a:pt x="956" y="3289"/>
                      </a:moveTo>
                      <a:lnTo>
                        <a:pt x="718" y="3050"/>
                      </a:lnTo>
                      <a:lnTo>
                        <a:pt x="658" y="2990"/>
                      </a:lnTo>
                      <a:lnTo>
                        <a:pt x="0" y="2093"/>
                      </a:lnTo>
                      <a:lnTo>
                        <a:pt x="0" y="2033"/>
                      </a:lnTo>
                      <a:lnTo>
                        <a:pt x="0" y="1974"/>
                      </a:lnTo>
                      <a:lnTo>
                        <a:pt x="239" y="777"/>
                      </a:lnTo>
                      <a:lnTo>
                        <a:pt x="1316" y="0"/>
                      </a:lnTo>
                      <a:lnTo>
                        <a:pt x="2571" y="179"/>
                      </a:lnTo>
                      <a:lnTo>
                        <a:pt x="2811" y="419"/>
                      </a:lnTo>
                    </a:path>
                  </a:pathLst>
                </a:custGeom>
                <a:noFill/>
                <a:ln w="6350" cap="rnd">
                  <a:solidFill>
                    <a:schemeClr val="bg1">
                      <a:alpha val="40000"/>
                    </a:schemeClr>
                  </a:solidFill>
                  <a:prstDash val="solid"/>
                  <a:round/>
                </a:ln>
              </p:spPr>
              <p:txBody>
                <a:bodyPr rtlCol="0" anchor="ctr"/>
                <a:lstStyle/>
                <a:p>
                  <a:endParaRPr lang="en-GB"/>
                </a:p>
              </p:txBody>
            </p:sp>
            <p:sp>
              <p:nvSpPr>
                <p:cNvPr id="6671" name="Vrije vorm: vorm 6670">
                  <a:extLst>
                    <a:ext uri="{FF2B5EF4-FFF2-40B4-BE49-F238E27FC236}">
                      <a16:creationId xmlns:a16="http://schemas.microsoft.com/office/drawing/2014/main" id="{3EB436C3-ED1E-4F8A-A32F-28DAF8D9C3CC}"/>
                    </a:ext>
                  </a:extLst>
                </p:cNvPr>
                <p:cNvSpPr/>
                <p:nvPr/>
              </p:nvSpPr>
              <p:spPr>
                <a:xfrm>
                  <a:off x="6698548" y="1958368"/>
                  <a:ext cx="8073" cy="5801"/>
                </a:xfrm>
                <a:custGeom>
                  <a:avLst/>
                  <a:gdLst>
                    <a:gd name="connsiteX0" fmla="*/ 8074 w 8073"/>
                    <a:gd name="connsiteY0" fmla="*/ 0 h 5801"/>
                    <a:gd name="connsiteX1" fmla="*/ 7536 w 8073"/>
                    <a:gd name="connsiteY1" fmla="*/ 2871 h 5801"/>
                    <a:gd name="connsiteX2" fmla="*/ 3469 w 8073"/>
                    <a:gd name="connsiteY2" fmla="*/ 5801 h 5801"/>
                    <a:gd name="connsiteX3" fmla="*/ 1136 w 8073"/>
                    <a:gd name="connsiteY3" fmla="*/ 3708 h 5801"/>
                    <a:gd name="connsiteX4" fmla="*/ 0 w 8073"/>
                    <a:gd name="connsiteY4" fmla="*/ 1675 h 5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3" h="5801">
                      <a:moveTo>
                        <a:pt x="8074" y="0"/>
                      </a:moveTo>
                      <a:lnTo>
                        <a:pt x="7536" y="2871"/>
                      </a:lnTo>
                      <a:lnTo>
                        <a:pt x="3469" y="5801"/>
                      </a:lnTo>
                      <a:lnTo>
                        <a:pt x="1136" y="3708"/>
                      </a:lnTo>
                      <a:lnTo>
                        <a:pt x="0" y="1675"/>
                      </a:lnTo>
                    </a:path>
                  </a:pathLst>
                </a:custGeom>
                <a:noFill/>
                <a:ln w="6350" cap="rnd">
                  <a:solidFill>
                    <a:schemeClr val="bg1">
                      <a:alpha val="40000"/>
                    </a:schemeClr>
                  </a:solidFill>
                  <a:prstDash val="solid"/>
                  <a:round/>
                </a:ln>
              </p:spPr>
              <p:txBody>
                <a:bodyPr rtlCol="0" anchor="ctr"/>
                <a:lstStyle/>
                <a:p>
                  <a:endParaRPr lang="en-GB"/>
                </a:p>
              </p:txBody>
            </p:sp>
            <p:sp>
              <p:nvSpPr>
                <p:cNvPr id="6672" name="Vrije vorm: vorm 6671">
                  <a:extLst>
                    <a:ext uri="{FF2B5EF4-FFF2-40B4-BE49-F238E27FC236}">
                      <a16:creationId xmlns:a16="http://schemas.microsoft.com/office/drawing/2014/main" id="{82523B74-A8F7-4A32-944D-60028DA82841}"/>
                    </a:ext>
                  </a:extLst>
                </p:cNvPr>
                <p:cNvSpPr/>
                <p:nvPr/>
              </p:nvSpPr>
              <p:spPr>
                <a:xfrm>
                  <a:off x="6763917" y="1930617"/>
                  <a:ext cx="6877" cy="4306"/>
                </a:xfrm>
                <a:custGeom>
                  <a:avLst/>
                  <a:gdLst>
                    <a:gd name="connsiteX0" fmla="*/ 6878 w 6877"/>
                    <a:gd name="connsiteY0" fmla="*/ 0 h 4306"/>
                    <a:gd name="connsiteX1" fmla="*/ 6579 w 6877"/>
                    <a:gd name="connsiteY1" fmla="*/ 239 h 4306"/>
                    <a:gd name="connsiteX2" fmla="*/ 5742 w 6877"/>
                    <a:gd name="connsiteY2" fmla="*/ 837 h 4306"/>
                    <a:gd name="connsiteX3" fmla="*/ 5323 w 6877"/>
                    <a:gd name="connsiteY3" fmla="*/ 1136 h 4306"/>
                    <a:gd name="connsiteX4" fmla="*/ 4725 w 6877"/>
                    <a:gd name="connsiteY4" fmla="*/ 1555 h 4306"/>
                    <a:gd name="connsiteX5" fmla="*/ 4426 w 6877"/>
                    <a:gd name="connsiteY5" fmla="*/ 3050 h 4306"/>
                    <a:gd name="connsiteX6" fmla="*/ 4366 w 6877"/>
                    <a:gd name="connsiteY6" fmla="*/ 3230 h 4306"/>
                    <a:gd name="connsiteX7" fmla="*/ 4127 w 6877"/>
                    <a:gd name="connsiteY7" fmla="*/ 4306 h 4306"/>
                    <a:gd name="connsiteX8" fmla="*/ 3708 w 6877"/>
                    <a:gd name="connsiteY8" fmla="*/ 4246 h 4306"/>
                    <a:gd name="connsiteX9" fmla="*/ 3588 w 6877"/>
                    <a:gd name="connsiteY9" fmla="*/ 4246 h 4306"/>
                    <a:gd name="connsiteX10" fmla="*/ 1974 w 6877"/>
                    <a:gd name="connsiteY10" fmla="*/ 4127 h 4306"/>
                    <a:gd name="connsiteX11" fmla="*/ 778 w 6877"/>
                    <a:gd name="connsiteY11" fmla="*/ 4007 h 4306"/>
                    <a:gd name="connsiteX12" fmla="*/ 419 w 6877"/>
                    <a:gd name="connsiteY12" fmla="*/ 3947 h 4306"/>
                    <a:gd name="connsiteX13" fmla="*/ 0 w 6877"/>
                    <a:gd name="connsiteY13" fmla="*/ 3887 h 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77" h="4306">
                      <a:moveTo>
                        <a:pt x="6878" y="0"/>
                      </a:moveTo>
                      <a:lnTo>
                        <a:pt x="6579" y="239"/>
                      </a:lnTo>
                      <a:lnTo>
                        <a:pt x="5742" y="837"/>
                      </a:lnTo>
                      <a:lnTo>
                        <a:pt x="5323" y="1136"/>
                      </a:lnTo>
                      <a:lnTo>
                        <a:pt x="4725" y="1555"/>
                      </a:lnTo>
                      <a:lnTo>
                        <a:pt x="4426" y="3050"/>
                      </a:lnTo>
                      <a:lnTo>
                        <a:pt x="4366" y="3230"/>
                      </a:lnTo>
                      <a:lnTo>
                        <a:pt x="4127" y="4306"/>
                      </a:lnTo>
                      <a:lnTo>
                        <a:pt x="3708" y="4246"/>
                      </a:lnTo>
                      <a:lnTo>
                        <a:pt x="3588" y="4246"/>
                      </a:lnTo>
                      <a:lnTo>
                        <a:pt x="1974" y="4127"/>
                      </a:lnTo>
                      <a:lnTo>
                        <a:pt x="778" y="4007"/>
                      </a:lnTo>
                      <a:lnTo>
                        <a:pt x="419" y="3947"/>
                      </a:lnTo>
                      <a:lnTo>
                        <a:pt x="0" y="3887"/>
                      </a:lnTo>
                    </a:path>
                  </a:pathLst>
                </a:custGeom>
                <a:noFill/>
                <a:ln w="6350" cap="rnd">
                  <a:solidFill>
                    <a:schemeClr val="bg1">
                      <a:alpha val="40000"/>
                    </a:schemeClr>
                  </a:solidFill>
                  <a:prstDash val="solid"/>
                  <a:round/>
                </a:ln>
              </p:spPr>
              <p:txBody>
                <a:bodyPr rtlCol="0" anchor="ctr"/>
                <a:lstStyle/>
                <a:p>
                  <a:endParaRPr lang="en-GB"/>
                </a:p>
              </p:txBody>
            </p:sp>
            <p:sp>
              <p:nvSpPr>
                <p:cNvPr id="6673" name="Vrije vorm: vorm 6672">
                  <a:extLst>
                    <a:ext uri="{FF2B5EF4-FFF2-40B4-BE49-F238E27FC236}">
                      <a16:creationId xmlns:a16="http://schemas.microsoft.com/office/drawing/2014/main" id="{427EF128-77B8-431C-9F4A-9442DED89207}"/>
                    </a:ext>
                  </a:extLst>
                </p:cNvPr>
                <p:cNvSpPr/>
                <p:nvPr/>
              </p:nvSpPr>
              <p:spPr>
                <a:xfrm>
                  <a:off x="6849800" y="1798443"/>
                  <a:ext cx="3349" cy="598"/>
                </a:xfrm>
                <a:custGeom>
                  <a:avLst/>
                  <a:gdLst>
                    <a:gd name="connsiteX0" fmla="*/ 0 w 3349"/>
                    <a:gd name="connsiteY0" fmla="*/ 598 h 598"/>
                    <a:gd name="connsiteX1" fmla="*/ 2033 w 3349"/>
                    <a:gd name="connsiteY1" fmla="*/ 239 h 598"/>
                    <a:gd name="connsiteX2" fmla="*/ 3350 w 3349"/>
                    <a:gd name="connsiteY2" fmla="*/ 0 h 598"/>
                  </a:gdLst>
                  <a:ahLst/>
                  <a:cxnLst>
                    <a:cxn ang="0">
                      <a:pos x="connsiteX0" y="connsiteY0"/>
                    </a:cxn>
                    <a:cxn ang="0">
                      <a:pos x="connsiteX1" y="connsiteY1"/>
                    </a:cxn>
                    <a:cxn ang="0">
                      <a:pos x="connsiteX2" y="connsiteY2"/>
                    </a:cxn>
                  </a:cxnLst>
                  <a:rect l="l" t="t" r="r" b="b"/>
                  <a:pathLst>
                    <a:path w="3349" h="598">
                      <a:moveTo>
                        <a:pt x="0" y="598"/>
                      </a:moveTo>
                      <a:lnTo>
                        <a:pt x="2033" y="239"/>
                      </a:lnTo>
                      <a:lnTo>
                        <a:pt x="3350" y="0"/>
                      </a:lnTo>
                    </a:path>
                  </a:pathLst>
                </a:custGeom>
                <a:noFill/>
                <a:ln w="6350" cap="rnd">
                  <a:solidFill>
                    <a:schemeClr val="bg1">
                      <a:alpha val="40000"/>
                    </a:schemeClr>
                  </a:solidFill>
                  <a:prstDash val="solid"/>
                  <a:round/>
                </a:ln>
              </p:spPr>
              <p:txBody>
                <a:bodyPr rtlCol="0" anchor="ctr"/>
                <a:lstStyle/>
                <a:p>
                  <a:endParaRPr lang="en-GB"/>
                </a:p>
              </p:txBody>
            </p:sp>
            <p:sp>
              <p:nvSpPr>
                <p:cNvPr id="6674" name="Vrije vorm: vorm 6673">
                  <a:extLst>
                    <a:ext uri="{FF2B5EF4-FFF2-40B4-BE49-F238E27FC236}">
                      <a16:creationId xmlns:a16="http://schemas.microsoft.com/office/drawing/2014/main" id="{E03B8168-2EE3-4D38-AC02-29FBCEABF756}"/>
                    </a:ext>
                  </a:extLst>
                </p:cNvPr>
                <p:cNvSpPr/>
                <p:nvPr/>
              </p:nvSpPr>
              <p:spPr>
                <a:xfrm>
                  <a:off x="6872048" y="1964946"/>
                  <a:ext cx="11961" cy="1375"/>
                </a:xfrm>
                <a:custGeom>
                  <a:avLst/>
                  <a:gdLst>
                    <a:gd name="connsiteX0" fmla="*/ 11961 w 11961"/>
                    <a:gd name="connsiteY0" fmla="*/ 60 h 1375"/>
                    <a:gd name="connsiteX1" fmla="*/ 10766 w 11961"/>
                    <a:gd name="connsiteY1" fmla="*/ 0 h 1375"/>
                    <a:gd name="connsiteX2" fmla="*/ 8134 w 11961"/>
                    <a:gd name="connsiteY2" fmla="*/ 359 h 1375"/>
                    <a:gd name="connsiteX3" fmla="*/ 6400 w 11961"/>
                    <a:gd name="connsiteY3" fmla="*/ 598 h 1375"/>
                    <a:gd name="connsiteX4" fmla="*/ 6160 w 11961"/>
                    <a:gd name="connsiteY4" fmla="*/ 658 h 1375"/>
                    <a:gd name="connsiteX5" fmla="*/ 5981 w 11961"/>
                    <a:gd name="connsiteY5" fmla="*/ 658 h 1375"/>
                    <a:gd name="connsiteX6" fmla="*/ 5802 w 11961"/>
                    <a:gd name="connsiteY6" fmla="*/ 658 h 1375"/>
                    <a:gd name="connsiteX7" fmla="*/ 3350 w 11961"/>
                    <a:gd name="connsiteY7" fmla="*/ 957 h 1375"/>
                    <a:gd name="connsiteX8" fmla="*/ 0 w 11961"/>
                    <a:gd name="connsiteY8" fmla="*/ 1376 h 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61" h="1375">
                      <a:moveTo>
                        <a:pt x="11961" y="60"/>
                      </a:moveTo>
                      <a:lnTo>
                        <a:pt x="10766" y="0"/>
                      </a:lnTo>
                      <a:lnTo>
                        <a:pt x="8134" y="359"/>
                      </a:lnTo>
                      <a:lnTo>
                        <a:pt x="6400" y="598"/>
                      </a:lnTo>
                      <a:lnTo>
                        <a:pt x="6160" y="658"/>
                      </a:lnTo>
                      <a:lnTo>
                        <a:pt x="5981" y="658"/>
                      </a:lnTo>
                      <a:lnTo>
                        <a:pt x="5802" y="658"/>
                      </a:lnTo>
                      <a:lnTo>
                        <a:pt x="3350" y="957"/>
                      </a:lnTo>
                      <a:lnTo>
                        <a:pt x="0" y="1376"/>
                      </a:lnTo>
                    </a:path>
                  </a:pathLst>
                </a:custGeom>
                <a:noFill/>
                <a:ln w="6350" cap="rnd">
                  <a:solidFill>
                    <a:schemeClr val="bg1">
                      <a:alpha val="40000"/>
                    </a:schemeClr>
                  </a:solidFill>
                  <a:prstDash val="solid"/>
                  <a:round/>
                </a:ln>
              </p:spPr>
              <p:txBody>
                <a:bodyPr rtlCol="0" anchor="ctr"/>
                <a:lstStyle/>
                <a:p>
                  <a:endParaRPr lang="en-GB"/>
                </a:p>
              </p:txBody>
            </p:sp>
            <p:sp>
              <p:nvSpPr>
                <p:cNvPr id="6675" name="Vrije vorm: vorm 6674">
                  <a:extLst>
                    <a:ext uri="{FF2B5EF4-FFF2-40B4-BE49-F238E27FC236}">
                      <a16:creationId xmlns:a16="http://schemas.microsoft.com/office/drawing/2014/main" id="{0F4E8D4A-D216-4139-9489-E174505F0E62}"/>
                    </a:ext>
                  </a:extLst>
                </p:cNvPr>
                <p:cNvSpPr/>
                <p:nvPr/>
              </p:nvSpPr>
              <p:spPr>
                <a:xfrm>
                  <a:off x="6969355" y="1840488"/>
                  <a:ext cx="1555" cy="1674"/>
                </a:xfrm>
                <a:custGeom>
                  <a:avLst/>
                  <a:gdLst>
                    <a:gd name="connsiteX0" fmla="*/ 0 w 1555"/>
                    <a:gd name="connsiteY0" fmla="*/ 0 h 1674"/>
                    <a:gd name="connsiteX1" fmla="*/ 1555 w 1555"/>
                    <a:gd name="connsiteY1" fmla="*/ 1017 h 1674"/>
                    <a:gd name="connsiteX2" fmla="*/ 1555 w 1555"/>
                    <a:gd name="connsiteY2" fmla="*/ 1136 h 1674"/>
                    <a:gd name="connsiteX3" fmla="*/ 1555 w 1555"/>
                    <a:gd name="connsiteY3" fmla="*/ 1316 h 1674"/>
                    <a:gd name="connsiteX4" fmla="*/ 1555 w 1555"/>
                    <a:gd name="connsiteY4" fmla="*/ 1495 h 1674"/>
                    <a:gd name="connsiteX5" fmla="*/ 1555 w 1555"/>
                    <a:gd name="connsiteY5" fmla="*/ 1495 h 1674"/>
                    <a:gd name="connsiteX6" fmla="*/ 1375 w 1555"/>
                    <a:gd name="connsiteY6" fmla="*/ 1675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5" h="1674">
                      <a:moveTo>
                        <a:pt x="0" y="0"/>
                      </a:moveTo>
                      <a:lnTo>
                        <a:pt x="1555" y="1017"/>
                      </a:lnTo>
                      <a:lnTo>
                        <a:pt x="1555" y="1136"/>
                      </a:lnTo>
                      <a:lnTo>
                        <a:pt x="1555" y="1316"/>
                      </a:lnTo>
                      <a:lnTo>
                        <a:pt x="1555" y="1495"/>
                      </a:lnTo>
                      <a:lnTo>
                        <a:pt x="1555" y="1495"/>
                      </a:lnTo>
                      <a:lnTo>
                        <a:pt x="1375" y="1675"/>
                      </a:lnTo>
                    </a:path>
                  </a:pathLst>
                </a:custGeom>
                <a:noFill/>
                <a:ln w="6350" cap="rnd">
                  <a:solidFill>
                    <a:schemeClr val="bg1">
                      <a:alpha val="40000"/>
                    </a:schemeClr>
                  </a:solidFill>
                  <a:prstDash val="solid"/>
                  <a:round/>
                </a:ln>
              </p:spPr>
              <p:txBody>
                <a:bodyPr rtlCol="0" anchor="ctr"/>
                <a:lstStyle/>
                <a:p>
                  <a:endParaRPr lang="en-GB"/>
                </a:p>
              </p:txBody>
            </p:sp>
            <p:sp>
              <p:nvSpPr>
                <p:cNvPr id="6676" name="Vrije vorm: vorm 6675">
                  <a:extLst>
                    <a:ext uri="{FF2B5EF4-FFF2-40B4-BE49-F238E27FC236}">
                      <a16:creationId xmlns:a16="http://schemas.microsoft.com/office/drawing/2014/main" id="{26B2FC69-34E5-444B-BEF4-D0AC07BFC67A}"/>
                    </a:ext>
                  </a:extLst>
                </p:cNvPr>
                <p:cNvSpPr/>
                <p:nvPr/>
              </p:nvSpPr>
              <p:spPr>
                <a:xfrm>
                  <a:off x="6955838" y="2057647"/>
                  <a:ext cx="239" cy="5980"/>
                </a:xfrm>
                <a:custGeom>
                  <a:avLst/>
                  <a:gdLst>
                    <a:gd name="connsiteX0" fmla="*/ 239 w 239"/>
                    <a:gd name="connsiteY0" fmla="*/ 0 h 5980"/>
                    <a:gd name="connsiteX1" fmla="*/ 0 w 239"/>
                    <a:gd name="connsiteY1" fmla="*/ 0 h 5980"/>
                  </a:gdLst>
                  <a:ahLst/>
                  <a:cxnLst>
                    <a:cxn ang="0">
                      <a:pos x="connsiteX0" y="connsiteY0"/>
                    </a:cxn>
                    <a:cxn ang="0">
                      <a:pos x="connsiteX1" y="connsiteY1"/>
                    </a:cxn>
                  </a:cxnLst>
                  <a:rect l="l" t="t" r="r" b="b"/>
                  <a:pathLst>
                    <a:path w="239" h="5980">
                      <a:moveTo>
                        <a:pt x="239"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77" name="Vrije vorm: vorm 6676">
                  <a:extLst>
                    <a:ext uri="{FF2B5EF4-FFF2-40B4-BE49-F238E27FC236}">
                      <a16:creationId xmlns:a16="http://schemas.microsoft.com/office/drawing/2014/main" id="{EBC4AC5A-77FE-4B32-A06A-6B4C572DBC1F}"/>
                    </a:ext>
                  </a:extLst>
                </p:cNvPr>
                <p:cNvSpPr/>
                <p:nvPr/>
              </p:nvSpPr>
              <p:spPr>
                <a:xfrm>
                  <a:off x="6782936" y="2003283"/>
                  <a:ext cx="18360" cy="9329"/>
                </a:xfrm>
                <a:custGeom>
                  <a:avLst/>
                  <a:gdLst>
                    <a:gd name="connsiteX0" fmla="*/ 18361 w 18360"/>
                    <a:gd name="connsiteY0" fmla="*/ 8493 h 9329"/>
                    <a:gd name="connsiteX1" fmla="*/ 17583 w 18360"/>
                    <a:gd name="connsiteY1" fmla="*/ 8612 h 9329"/>
                    <a:gd name="connsiteX2" fmla="*/ 16507 w 18360"/>
                    <a:gd name="connsiteY2" fmla="*/ 8732 h 9329"/>
                    <a:gd name="connsiteX3" fmla="*/ 15849 w 18360"/>
                    <a:gd name="connsiteY3" fmla="*/ 8792 h 9329"/>
                    <a:gd name="connsiteX4" fmla="*/ 11483 w 18360"/>
                    <a:gd name="connsiteY4" fmla="*/ 9330 h 9329"/>
                    <a:gd name="connsiteX5" fmla="*/ 7356 w 18360"/>
                    <a:gd name="connsiteY5" fmla="*/ 8851 h 9329"/>
                    <a:gd name="connsiteX6" fmla="*/ 0 w 18360"/>
                    <a:gd name="connsiteY6" fmla="*/ 4366 h 9329"/>
                    <a:gd name="connsiteX7" fmla="*/ 479 w 18360"/>
                    <a:gd name="connsiteY7" fmla="*/ 3050 h 9329"/>
                    <a:gd name="connsiteX8" fmla="*/ 1555 w 18360"/>
                    <a:gd name="connsiteY8" fmla="*/ 0 h 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0" h="9329">
                      <a:moveTo>
                        <a:pt x="18361" y="8493"/>
                      </a:moveTo>
                      <a:lnTo>
                        <a:pt x="17583" y="8612"/>
                      </a:lnTo>
                      <a:lnTo>
                        <a:pt x="16507" y="8732"/>
                      </a:lnTo>
                      <a:lnTo>
                        <a:pt x="15849" y="8792"/>
                      </a:lnTo>
                      <a:lnTo>
                        <a:pt x="11483" y="9330"/>
                      </a:lnTo>
                      <a:lnTo>
                        <a:pt x="7356" y="8851"/>
                      </a:lnTo>
                      <a:lnTo>
                        <a:pt x="0" y="4366"/>
                      </a:lnTo>
                      <a:lnTo>
                        <a:pt x="479" y="3050"/>
                      </a:lnTo>
                      <a:lnTo>
                        <a:pt x="1555" y="0"/>
                      </a:lnTo>
                    </a:path>
                  </a:pathLst>
                </a:custGeom>
                <a:noFill/>
                <a:ln w="6350" cap="rnd">
                  <a:solidFill>
                    <a:schemeClr val="bg1">
                      <a:alpha val="40000"/>
                    </a:schemeClr>
                  </a:solidFill>
                  <a:prstDash val="solid"/>
                  <a:round/>
                </a:ln>
              </p:spPr>
              <p:txBody>
                <a:bodyPr rtlCol="0" anchor="ctr"/>
                <a:lstStyle/>
                <a:p>
                  <a:endParaRPr lang="en-GB"/>
                </a:p>
              </p:txBody>
            </p:sp>
            <p:sp>
              <p:nvSpPr>
                <p:cNvPr id="6678" name="Vrije vorm: vorm 6677">
                  <a:extLst>
                    <a:ext uri="{FF2B5EF4-FFF2-40B4-BE49-F238E27FC236}">
                      <a16:creationId xmlns:a16="http://schemas.microsoft.com/office/drawing/2014/main" id="{30ED4DE1-C879-4898-ACB8-20AA34F8505F}"/>
                    </a:ext>
                  </a:extLst>
                </p:cNvPr>
                <p:cNvSpPr/>
                <p:nvPr/>
              </p:nvSpPr>
              <p:spPr>
                <a:xfrm>
                  <a:off x="6607880" y="1852329"/>
                  <a:ext cx="11064" cy="48324"/>
                </a:xfrm>
                <a:custGeom>
                  <a:avLst/>
                  <a:gdLst>
                    <a:gd name="connsiteX0" fmla="*/ 11065 w 11064"/>
                    <a:gd name="connsiteY0" fmla="*/ 48324 h 48324"/>
                    <a:gd name="connsiteX1" fmla="*/ 6340 w 11064"/>
                    <a:gd name="connsiteY1" fmla="*/ 47427 h 48324"/>
                    <a:gd name="connsiteX2" fmla="*/ 4844 w 11064"/>
                    <a:gd name="connsiteY2" fmla="*/ 37021 h 48324"/>
                    <a:gd name="connsiteX3" fmla="*/ 3110 w 11064"/>
                    <a:gd name="connsiteY3" fmla="*/ 24282 h 48324"/>
                    <a:gd name="connsiteX4" fmla="*/ 3050 w 11064"/>
                    <a:gd name="connsiteY4" fmla="*/ 23743 h 48324"/>
                    <a:gd name="connsiteX5" fmla="*/ 2871 w 11064"/>
                    <a:gd name="connsiteY5" fmla="*/ 22069 h 48324"/>
                    <a:gd name="connsiteX6" fmla="*/ 2871 w 11064"/>
                    <a:gd name="connsiteY6" fmla="*/ 22069 h 48324"/>
                    <a:gd name="connsiteX7" fmla="*/ 2871 w 11064"/>
                    <a:gd name="connsiteY7" fmla="*/ 21949 h 48324"/>
                    <a:gd name="connsiteX8" fmla="*/ 2273 w 11064"/>
                    <a:gd name="connsiteY8" fmla="*/ 16626 h 48324"/>
                    <a:gd name="connsiteX9" fmla="*/ 1795 w 11064"/>
                    <a:gd name="connsiteY9" fmla="*/ 14174 h 48324"/>
                    <a:gd name="connsiteX10" fmla="*/ 897 w 11064"/>
                    <a:gd name="connsiteY10" fmla="*/ 9449 h 48324"/>
                    <a:gd name="connsiteX11" fmla="*/ 0 w 11064"/>
                    <a:gd name="connsiteY11" fmla="*/ 5263 h 48324"/>
                    <a:gd name="connsiteX12" fmla="*/ 3170 w 11064"/>
                    <a:gd name="connsiteY12" fmla="*/ 120 h 48324"/>
                    <a:gd name="connsiteX13" fmla="*/ 10347 w 11064"/>
                    <a:gd name="connsiteY13" fmla="*/ 0 h 4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64" h="48324">
                      <a:moveTo>
                        <a:pt x="11065" y="48324"/>
                      </a:moveTo>
                      <a:lnTo>
                        <a:pt x="6340" y="47427"/>
                      </a:lnTo>
                      <a:lnTo>
                        <a:pt x="4844" y="37021"/>
                      </a:lnTo>
                      <a:lnTo>
                        <a:pt x="3110" y="24282"/>
                      </a:lnTo>
                      <a:lnTo>
                        <a:pt x="3050" y="23743"/>
                      </a:lnTo>
                      <a:lnTo>
                        <a:pt x="2871" y="22069"/>
                      </a:lnTo>
                      <a:lnTo>
                        <a:pt x="2871" y="22069"/>
                      </a:lnTo>
                      <a:lnTo>
                        <a:pt x="2871" y="21949"/>
                      </a:lnTo>
                      <a:lnTo>
                        <a:pt x="2273" y="16626"/>
                      </a:lnTo>
                      <a:lnTo>
                        <a:pt x="1795" y="14174"/>
                      </a:lnTo>
                      <a:lnTo>
                        <a:pt x="897" y="9449"/>
                      </a:lnTo>
                      <a:lnTo>
                        <a:pt x="0" y="5263"/>
                      </a:lnTo>
                      <a:lnTo>
                        <a:pt x="3170" y="120"/>
                      </a:lnTo>
                      <a:lnTo>
                        <a:pt x="10347" y="0"/>
                      </a:lnTo>
                    </a:path>
                  </a:pathLst>
                </a:custGeom>
                <a:noFill/>
                <a:ln w="6350" cap="rnd">
                  <a:solidFill>
                    <a:schemeClr val="bg1">
                      <a:alpha val="40000"/>
                    </a:schemeClr>
                  </a:solidFill>
                  <a:prstDash val="solid"/>
                  <a:round/>
                </a:ln>
              </p:spPr>
              <p:txBody>
                <a:bodyPr rtlCol="0" anchor="ctr"/>
                <a:lstStyle/>
                <a:p>
                  <a:endParaRPr lang="en-GB"/>
                </a:p>
              </p:txBody>
            </p:sp>
            <p:sp>
              <p:nvSpPr>
                <p:cNvPr id="6679" name="Vrije vorm: vorm 6678">
                  <a:extLst>
                    <a:ext uri="{FF2B5EF4-FFF2-40B4-BE49-F238E27FC236}">
                      <a16:creationId xmlns:a16="http://schemas.microsoft.com/office/drawing/2014/main" id="{47F1241A-77F1-43AD-B709-DEFB6325AEDD}"/>
                    </a:ext>
                  </a:extLst>
                </p:cNvPr>
                <p:cNvSpPr/>
                <p:nvPr/>
              </p:nvSpPr>
              <p:spPr>
                <a:xfrm>
                  <a:off x="7000694" y="1751554"/>
                  <a:ext cx="9330" cy="9569"/>
                </a:xfrm>
                <a:custGeom>
                  <a:avLst/>
                  <a:gdLst>
                    <a:gd name="connsiteX0" fmla="*/ 0 w 9330"/>
                    <a:gd name="connsiteY0" fmla="*/ 5502 h 9569"/>
                    <a:gd name="connsiteX1" fmla="*/ 0 w 9330"/>
                    <a:gd name="connsiteY1" fmla="*/ 5502 h 9569"/>
                    <a:gd name="connsiteX2" fmla="*/ 60 w 9330"/>
                    <a:gd name="connsiteY2" fmla="*/ 5263 h 9569"/>
                    <a:gd name="connsiteX3" fmla="*/ 359 w 9330"/>
                    <a:gd name="connsiteY3" fmla="*/ 4007 h 9569"/>
                    <a:gd name="connsiteX4" fmla="*/ 718 w 9330"/>
                    <a:gd name="connsiteY4" fmla="*/ 2572 h 9569"/>
                    <a:gd name="connsiteX5" fmla="*/ 1435 w 9330"/>
                    <a:gd name="connsiteY5" fmla="*/ 1914 h 9569"/>
                    <a:gd name="connsiteX6" fmla="*/ 2930 w 9330"/>
                    <a:gd name="connsiteY6" fmla="*/ 478 h 9569"/>
                    <a:gd name="connsiteX7" fmla="*/ 5802 w 9330"/>
                    <a:gd name="connsiteY7" fmla="*/ 0 h 9569"/>
                    <a:gd name="connsiteX8" fmla="*/ 8253 w 9330"/>
                    <a:gd name="connsiteY8" fmla="*/ 1376 h 9569"/>
                    <a:gd name="connsiteX9" fmla="*/ 9330 w 9330"/>
                    <a:gd name="connsiteY9" fmla="*/ 4007 h 9569"/>
                    <a:gd name="connsiteX10" fmla="*/ 9031 w 9330"/>
                    <a:gd name="connsiteY10" fmla="*/ 5323 h 9569"/>
                    <a:gd name="connsiteX11" fmla="*/ 8971 w 9330"/>
                    <a:gd name="connsiteY11" fmla="*/ 5562 h 9569"/>
                    <a:gd name="connsiteX12" fmla="*/ 8672 w 9330"/>
                    <a:gd name="connsiteY12" fmla="*/ 6997 h 9569"/>
                    <a:gd name="connsiteX13" fmla="*/ 8433 w 9330"/>
                    <a:gd name="connsiteY13" fmla="*/ 7237 h 9569"/>
                    <a:gd name="connsiteX14" fmla="*/ 7775 w 9330"/>
                    <a:gd name="connsiteY14" fmla="*/ 7895 h 9569"/>
                    <a:gd name="connsiteX15" fmla="*/ 7596 w 9330"/>
                    <a:gd name="connsiteY15" fmla="*/ 8074 h 9569"/>
                    <a:gd name="connsiteX16" fmla="*/ 7596 w 9330"/>
                    <a:gd name="connsiteY16" fmla="*/ 8074 h 9569"/>
                    <a:gd name="connsiteX17" fmla="*/ 7596 w 9330"/>
                    <a:gd name="connsiteY17" fmla="*/ 8074 h 9569"/>
                    <a:gd name="connsiteX18" fmla="*/ 7237 w 9330"/>
                    <a:gd name="connsiteY18" fmla="*/ 8433 h 9569"/>
                    <a:gd name="connsiteX19" fmla="*/ 6818 w 9330"/>
                    <a:gd name="connsiteY19" fmla="*/ 8851 h 9569"/>
                    <a:gd name="connsiteX20" fmla="*/ 6639 w 9330"/>
                    <a:gd name="connsiteY20" fmla="*/ 9031 h 9569"/>
                    <a:gd name="connsiteX21" fmla="*/ 6520 w 9330"/>
                    <a:gd name="connsiteY21" fmla="*/ 9150 h 9569"/>
                    <a:gd name="connsiteX22" fmla="*/ 6460 w 9330"/>
                    <a:gd name="connsiteY22" fmla="*/ 9150 h 9569"/>
                    <a:gd name="connsiteX23" fmla="*/ 5503 w 9330"/>
                    <a:gd name="connsiteY23" fmla="*/ 9270 h 9569"/>
                    <a:gd name="connsiteX24" fmla="*/ 5143 w 9330"/>
                    <a:gd name="connsiteY24" fmla="*/ 9330 h 9569"/>
                    <a:gd name="connsiteX25" fmla="*/ 4605 w 9330"/>
                    <a:gd name="connsiteY25" fmla="*/ 9390 h 9569"/>
                    <a:gd name="connsiteX26" fmla="*/ 3828 w 9330"/>
                    <a:gd name="connsiteY26" fmla="*/ 9509 h 9569"/>
                    <a:gd name="connsiteX27" fmla="*/ 3588 w 9330"/>
                    <a:gd name="connsiteY27" fmla="*/ 9569 h 9569"/>
                    <a:gd name="connsiteX28" fmla="*/ 1137 w 9330"/>
                    <a:gd name="connsiteY28" fmla="*/ 8194 h 9569"/>
                    <a:gd name="connsiteX29" fmla="*/ 1077 w 9330"/>
                    <a:gd name="connsiteY29" fmla="*/ 8074 h 9569"/>
                    <a:gd name="connsiteX30" fmla="*/ 957 w 9330"/>
                    <a:gd name="connsiteY30" fmla="*/ 7775 h 9569"/>
                    <a:gd name="connsiteX31" fmla="*/ 718 w 9330"/>
                    <a:gd name="connsiteY31" fmla="*/ 7237 h 9569"/>
                    <a:gd name="connsiteX32" fmla="*/ 598 w 9330"/>
                    <a:gd name="connsiteY32" fmla="*/ 6938 h 9569"/>
                    <a:gd name="connsiteX33" fmla="*/ 419 w 9330"/>
                    <a:gd name="connsiteY33" fmla="*/ 6519 h 9569"/>
                    <a:gd name="connsiteX34" fmla="*/ 0 w 9330"/>
                    <a:gd name="connsiteY34" fmla="*/ 5502 h 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330" h="9569">
                      <a:moveTo>
                        <a:pt x="0" y="5502"/>
                      </a:moveTo>
                      <a:lnTo>
                        <a:pt x="0" y="5502"/>
                      </a:lnTo>
                      <a:lnTo>
                        <a:pt x="60" y="5263"/>
                      </a:lnTo>
                      <a:lnTo>
                        <a:pt x="359" y="4007"/>
                      </a:lnTo>
                      <a:lnTo>
                        <a:pt x="718" y="2572"/>
                      </a:lnTo>
                      <a:lnTo>
                        <a:pt x="1435" y="1914"/>
                      </a:lnTo>
                      <a:lnTo>
                        <a:pt x="2930" y="478"/>
                      </a:lnTo>
                      <a:lnTo>
                        <a:pt x="5802" y="0"/>
                      </a:lnTo>
                      <a:lnTo>
                        <a:pt x="8253" y="1376"/>
                      </a:lnTo>
                      <a:lnTo>
                        <a:pt x="9330" y="4007"/>
                      </a:lnTo>
                      <a:lnTo>
                        <a:pt x="9031" y="5323"/>
                      </a:lnTo>
                      <a:lnTo>
                        <a:pt x="8971" y="5562"/>
                      </a:lnTo>
                      <a:lnTo>
                        <a:pt x="8672" y="6997"/>
                      </a:lnTo>
                      <a:lnTo>
                        <a:pt x="8433" y="7237"/>
                      </a:lnTo>
                      <a:lnTo>
                        <a:pt x="7775" y="7895"/>
                      </a:lnTo>
                      <a:lnTo>
                        <a:pt x="7596" y="8074"/>
                      </a:lnTo>
                      <a:lnTo>
                        <a:pt x="7596" y="8074"/>
                      </a:lnTo>
                      <a:lnTo>
                        <a:pt x="7596" y="8074"/>
                      </a:lnTo>
                      <a:lnTo>
                        <a:pt x="7237" y="8433"/>
                      </a:lnTo>
                      <a:lnTo>
                        <a:pt x="6818" y="8851"/>
                      </a:lnTo>
                      <a:lnTo>
                        <a:pt x="6639" y="9031"/>
                      </a:lnTo>
                      <a:lnTo>
                        <a:pt x="6520" y="9150"/>
                      </a:lnTo>
                      <a:lnTo>
                        <a:pt x="6460" y="9150"/>
                      </a:lnTo>
                      <a:lnTo>
                        <a:pt x="5503" y="9270"/>
                      </a:lnTo>
                      <a:lnTo>
                        <a:pt x="5143" y="9330"/>
                      </a:lnTo>
                      <a:lnTo>
                        <a:pt x="4605" y="9390"/>
                      </a:lnTo>
                      <a:lnTo>
                        <a:pt x="3828" y="9509"/>
                      </a:lnTo>
                      <a:lnTo>
                        <a:pt x="3588" y="9569"/>
                      </a:lnTo>
                      <a:lnTo>
                        <a:pt x="1137" y="8194"/>
                      </a:lnTo>
                      <a:lnTo>
                        <a:pt x="1077" y="8074"/>
                      </a:lnTo>
                      <a:lnTo>
                        <a:pt x="957" y="7775"/>
                      </a:lnTo>
                      <a:lnTo>
                        <a:pt x="718" y="7237"/>
                      </a:lnTo>
                      <a:lnTo>
                        <a:pt x="598" y="6938"/>
                      </a:lnTo>
                      <a:lnTo>
                        <a:pt x="419" y="6519"/>
                      </a:lnTo>
                      <a:lnTo>
                        <a:pt x="0" y="5502"/>
                      </a:lnTo>
                    </a:path>
                  </a:pathLst>
                </a:custGeom>
                <a:noFill/>
                <a:ln w="6350" cap="rnd">
                  <a:solidFill>
                    <a:schemeClr val="bg1">
                      <a:alpha val="40000"/>
                    </a:schemeClr>
                  </a:solidFill>
                  <a:prstDash val="solid"/>
                  <a:round/>
                </a:ln>
              </p:spPr>
              <p:txBody>
                <a:bodyPr rtlCol="0" anchor="ctr"/>
                <a:lstStyle/>
                <a:p>
                  <a:endParaRPr lang="en-GB"/>
                </a:p>
              </p:txBody>
            </p:sp>
            <p:sp>
              <p:nvSpPr>
                <p:cNvPr id="6680" name="Vrije vorm: vorm 6679">
                  <a:extLst>
                    <a:ext uri="{FF2B5EF4-FFF2-40B4-BE49-F238E27FC236}">
                      <a16:creationId xmlns:a16="http://schemas.microsoft.com/office/drawing/2014/main" id="{23FD8596-C54C-4123-95E7-B1261A02EAB2}"/>
                    </a:ext>
                  </a:extLst>
                </p:cNvPr>
                <p:cNvSpPr/>
                <p:nvPr/>
              </p:nvSpPr>
              <p:spPr>
                <a:xfrm>
                  <a:off x="6772051" y="1991441"/>
                  <a:ext cx="39532" cy="10884"/>
                </a:xfrm>
                <a:custGeom>
                  <a:avLst/>
                  <a:gdLst>
                    <a:gd name="connsiteX0" fmla="*/ 39532 w 39532"/>
                    <a:gd name="connsiteY0" fmla="*/ 0 h 10884"/>
                    <a:gd name="connsiteX1" fmla="*/ 38755 w 39532"/>
                    <a:gd name="connsiteY1" fmla="*/ 538 h 10884"/>
                    <a:gd name="connsiteX2" fmla="*/ 35167 w 39532"/>
                    <a:gd name="connsiteY2" fmla="*/ 2931 h 10884"/>
                    <a:gd name="connsiteX3" fmla="*/ 34928 w 39532"/>
                    <a:gd name="connsiteY3" fmla="*/ 2990 h 10884"/>
                    <a:gd name="connsiteX4" fmla="*/ 28648 w 39532"/>
                    <a:gd name="connsiteY4" fmla="*/ 4127 h 10884"/>
                    <a:gd name="connsiteX5" fmla="*/ 24461 w 39532"/>
                    <a:gd name="connsiteY5" fmla="*/ 4964 h 10884"/>
                    <a:gd name="connsiteX6" fmla="*/ 20454 w 39532"/>
                    <a:gd name="connsiteY6" fmla="*/ 5741 h 10884"/>
                    <a:gd name="connsiteX7" fmla="*/ 18720 w 39532"/>
                    <a:gd name="connsiteY7" fmla="*/ 6280 h 10884"/>
                    <a:gd name="connsiteX8" fmla="*/ 14593 w 39532"/>
                    <a:gd name="connsiteY8" fmla="*/ 7536 h 10884"/>
                    <a:gd name="connsiteX9" fmla="*/ 12799 w 39532"/>
                    <a:gd name="connsiteY9" fmla="*/ 8134 h 10884"/>
                    <a:gd name="connsiteX10" fmla="*/ 11902 w 39532"/>
                    <a:gd name="connsiteY10" fmla="*/ 8433 h 10884"/>
                    <a:gd name="connsiteX11" fmla="*/ 10107 w 39532"/>
                    <a:gd name="connsiteY11" fmla="*/ 9031 h 10884"/>
                    <a:gd name="connsiteX12" fmla="*/ 9151 w 39532"/>
                    <a:gd name="connsiteY12" fmla="*/ 9330 h 10884"/>
                    <a:gd name="connsiteX13" fmla="*/ 8194 w 39532"/>
                    <a:gd name="connsiteY13" fmla="*/ 9629 h 10884"/>
                    <a:gd name="connsiteX14" fmla="*/ 6938 w 39532"/>
                    <a:gd name="connsiteY14" fmla="*/ 10107 h 10884"/>
                    <a:gd name="connsiteX15" fmla="*/ 5143 w 39532"/>
                    <a:gd name="connsiteY15" fmla="*/ 10825 h 10884"/>
                    <a:gd name="connsiteX16" fmla="*/ 4964 w 39532"/>
                    <a:gd name="connsiteY16" fmla="*/ 10885 h 10884"/>
                    <a:gd name="connsiteX17" fmla="*/ 2572 w 39532"/>
                    <a:gd name="connsiteY17" fmla="*/ 9091 h 10884"/>
                    <a:gd name="connsiteX18" fmla="*/ 1914 w 39532"/>
                    <a:gd name="connsiteY18" fmla="*/ 8373 h 10884"/>
                    <a:gd name="connsiteX19" fmla="*/ 778 w 39532"/>
                    <a:gd name="connsiteY19" fmla="*/ 7117 h 10884"/>
                    <a:gd name="connsiteX20" fmla="*/ 0 w 39532"/>
                    <a:gd name="connsiteY20" fmla="*/ 5861 h 10884"/>
                    <a:gd name="connsiteX21" fmla="*/ 1196 w 39532"/>
                    <a:gd name="connsiteY21" fmla="*/ 3529 h 10884"/>
                    <a:gd name="connsiteX22" fmla="*/ 1435 w 39532"/>
                    <a:gd name="connsiteY22" fmla="*/ 3110 h 10884"/>
                    <a:gd name="connsiteX23" fmla="*/ 1854 w 39532"/>
                    <a:gd name="connsiteY23" fmla="*/ 2332 h 10884"/>
                    <a:gd name="connsiteX24" fmla="*/ 1854 w 39532"/>
                    <a:gd name="connsiteY24" fmla="*/ 2332 h 10884"/>
                    <a:gd name="connsiteX25" fmla="*/ 2153 w 39532"/>
                    <a:gd name="connsiteY25" fmla="*/ 1794 h 10884"/>
                    <a:gd name="connsiteX26" fmla="*/ 2213 w 39532"/>
                    <a:gd name="connsiteY26" fmla="*/ 1675 h 1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532" h="10884">
                      <a:moveTo>
                        <a:pt x="39532" y="0"/>
                      </a:moveTo>
                      <a:lnTo>
                        <a:pt x="38755" y="538"/>
                      </a:lnTo>
                      <a:lnTo>
                        <a:pt x="35167" y="2931"/>
                      </a:lnTo>
                      <a:lnTo>
                        <a:pt x="34928" y="2990"/>
                      </a:lnTo>
                      <a:lnTo>
                        <a:pt x="28648" y="4127"/>
                      </a:lnTo>
                      <a:lnTo>
                        <a:pt x="24461" y="4964"/>
                      </a:lnTo>
                      <a:lnTo>
                        <a:pt x="20454" y="5741"/>
                      </a:lnTo>
                      <a:lnTo>
                        <a:pt x="18720" y="6280"/>
                      </a:lnTo>
                      <a:lnTo>
                        <a:pt x="14593" y="7536"/>
                      </a:lnTo>
                      <a:lnTo>
                        <a:pt x="12799" y="8134"/>
                      </a:lnTo>
                      <a:lnTo>
                        <a:pt x="11902" y="8433"/>
                      </a:lnTo>
                      <a:lnTo>
                        <a:pt x="10107" y="9031"/>
                      </a:lnTo>
                      <a:lnTo>
                        <a:pt x="9151" y="9330"/>
                      </a:lnTo>
                      <a:lnTo>
                        <a:pt x="8194" y="9629"/>
                      </a:lnTo>
                      <a:lnTo>
                        <a:pt x="6938" y="10107"/>
                      </a:lnTo>
                      <a:lnTo>
                        <a:pt x="5143" y="10825"/>
                      </a:lnTo>
                      <a:lnTo>
                        <a:pt x="4964" y="10885"/>
                      </a:lnTo>
                      <a:lnTo>
                        <a:pt x="2572" y="9091"/>
                      </a:lnTo>
                      <a:lnTo>
                        <a:pt x="1914" y="8373"/>
                      </a:lnTo>
                      <a:lnTo>
                        <a:pt x="778" y="7117"/>
                      </a:lnTo>
                      <a:lnTo>
                        <a:pt x="0" y="5861"/>
                      </a:lnTo>
                      <a:lnTo>
                        <a:pt x="1196" y="3529"/>
                      </a:lnTo>
                      <a:lnTo>
                        <a:pt x="1435" y="3110"/>
                      </a:lnTo>
                      <a:lnTo>
                        <a:pt x="1854" y="2332"/>
                      </a:lnTo>
                      <a:lnTo>
                        <a:pt x="1854" y="2332"/>
                      </a:lnTo>
                      <a:lnTo>
                        <a:pt x="2153" y="1794"/>
                      </a:lnTo>
                      <a:lnTo>
                        <a:pt x="2213" y="1675"/>
                      </a:lnTo>
                    </a:path>
                  </a:pathLst>
                </a:custGeom>
                <a:noFill/>
                <a:ln w="6350" cap="rnd">
                  <a:solidFill>
                    <a:schemeClr val="bg1">
                      <a:alpha val="40000"/>
                    </a:schemeClr>
                  </a:solidFill>
                  <a:prstDash val="solid"/>
                  <a:round/>
                </a:ln>
              </p:spPr>
              <p:txBody>
                <a:bodyPr rtlCol="0" anchor="ctr"/>
                <a:lstStyle/>
                <a:p>
                  <a:endParaRPr lang="en-GB"/>
                </a:p>
              </p:txBody>
            </p:sp>
            <p:sp>
              <p:nvSpPr>
                <p:cNvPr id="6681" name="Vrije vorm: vorm 6680">
                  <a:extLst>
                    <a:ext uri="{FF2B5EF4-FFF2-40B4-BE49-F238E27FC236}">
                      <a16:creationId xmlns:a16="http://schemas.microsoft.com/office/drawing/2014/main" id="{FBCC19B9-50EC-48B5-8806-FEE9E346C884}"/>
                    </a:ext>
                  </a:extLst>
                </p:cNvPr>
                <p:cNvSpPr/>
                <p:nvPr/>
              </p:nvSpPr>
              <p:spPr>
                <a:xfrm>
                  <a:off x="6920193" y="1934445"/>
                  <a:ext cx="35346" cy="51852"/>
                </a:xfrm>
                <a:custGeom>
                  <a:avLst/>
                  <a:gdLst>
                    <a:gd name="connsiteX0" fmla="*/ 0 w 35346"/>
                    <a:gd name="connsiteY0" fmla="*/ 2452 h 51852"/>
                    <a:gd name="connsiteX1" fmla="*/ 299 w 35346"/>
                    <a:gd name="connsiteY1" fmla="*/ 2093 h 51852"/>
                    <a:gd name="connsiteX2" fmla="*/ 1256 w 35346"/>
                    <a:gd name="connsiteY2" fmla="*/ 1017 h 51852"/>
                    <a:gd name="connsiteX3" fmla="*/ 2213 w 35346"/>
                    <a:gd name="connsiteY3" fmla="*/ 0 h 51852"/>
                    <a:gd name="connsiteX4" fmla="*/ 2631 w 35346"/>
                    <a:gd name="connsiteY4" fmla="*/ 239 h 51852"/>
                    <a:gd name="connsiteX5" fmla="*/ 5861 w 35346"/>
                    <a:gd name="connsiteY5" fmla="*/ 2392 h 51852"/>
                    <a:gd name="connsiteX6" fmla="*/ 7177 w 35346"/>
                    <a:gd name="connsiteY6" fmla="*/ 3289 h 51852"/>
                    <a:gd name="connsiteX7" fmla="*/ 7177 w 35346"/>
                    <a:gd name="connsiteY7" fmla="*/ 3289 h 51852"/>
                    <a:gd name="connsiteX8" fmla="*/ 8553 w 35346"/>
                    <a:gd name="connsiteY8" fmla="*/ 4246 h 51852"/>
                    <a:gd name="connsiteX9" fmla="*/ 8672 w 35346"/>
                    <a:gd name="connsiteY9" fmla="*/ 4306 h 51852"/>
                    <a:gd name="connsiteX10" fmla="*/ 9689 w 35346"/>
                    <a:gd name="connsiteY10" fmla="*/ 5024 h 51852"/>
                    <a:gd name="connsiteX11" fmla="*/ 10526 w 35346"/>
                    <a:gd name="connsiteY11" fmla="*/ 5622 h 51852"/>
                    <a:gd name="connsiteX12" fmla="*/ 11483 w 35346"/>
                    <a:gd name="connsiteY12" fmla="*/ 6280 h 51852"/>
                    <a:gd name="connsiteX13" fmla="*/ 11842 w 35346"/>
                    <a:gd name="connsiteY13" fmla="*/ 6519 h 51852"/>
                    <a:gd name="connsiteX14" fmla="*/ 12619 w 35346"/>
                    <a:gd name="connsiteY14" fmla="*/ 7237 h 51852"/>
                    <a:gd name="connsiteX15" fmla="*/ 12679 w 35346"/>
                    <a:gd name="connsiteY15" fmla="*/ 7296 h 51852"/>
                    <a:gd name="connsiteX16" fmla="*/ 13756 w 35346"/>
                    <a:gd name="connsiteY16" fmla="*/ 8253 h 51852"/>
                    <a:gd name="connsiteX17" fmla="*/ 13875 w 35346"/>
                    <a:gd name="connsiteY17" fmla="*/ 8313 h 51852"/>
                    <a:gd name="connsiteX18" fmla="*/ 15310 w 35346"/>
                    <a:gd name="connsiteY18" fmla="*/ 9569 h 51852"/>
                    <a:gd name="connsiteX19" fmla="*/ 16148 w 35346"/>
                    <a:gd name="connsiteY19" fmla="*/ 10287 h 51852"/>
                    <a:gd name="connsiteX20" fmla="*/ 18062 w 35346"/>
                    <a:gd name="connsiteY20" fmla="*/ 11961 h 51852"/>
                    <a:gd name="connsiteX21" fmla="*/ 19975 w 35346"/>
                    <a:gd name="connsiteY21" fmla="*/ 13636 h 51852"/>
                    <a:gd name="connsiteX22" fmla="*/ 21112 w 35346"/>
                    <a:gd name="connsiteY22" fmla="*/ 14653 h 51852"/>
                    <a:gd name="connsiteX23" fmla="*/ 21471 w 35346"/>
                    <a:gd name="connsiteY23" fmla="*/ 15071 h 51852"/>
                    <a:gd name="connsiteX24" fmla="*/ 22846 w 35346"/>
                    <a:gd name="connsiteY24" fmla="*/ 16746 h 51852"/>
                    <a:gd name="connsiteX25" fmla="*/ 23624 w 35346"/>
                    <a:gd name="connsiteY25" fmla="*/ 17703 h 51852"/>
                    <a:gd name="connsiteX26" fmla="*/ 26196 w 35346"/>
                    <a:gd name="connsiteY26" fmla="*/ 20873 h 51852"/>
                    <a:gd name="connsiteX27" fmla="*/ 26375 w 35346"/>
                    <a:gd name="connsiteY27" fmla="*/ 21112 h 51852"/>
                    <a:gd name="connsiteX28" fmla="*/ 29724 w 35346"/>
                    <a:gd name="connsiteY28" fmla="*/ 26375 h 51852"/>
                    <a:gd name="connsiteX29" fmla="*/ 29724 w 35346"/>
                    <a:gd name="connsiteY29" fmla="*/ 26435 h 51852"/>
                    <a:gd name="connsiteX30" fmla="*/ 30143 w 35346"/>
                    <a:gd name="connsiteY30" fmla="*/ 27093 h 51852"/>
                    <a:gd name="connsiteX31" fmla="*/ 30980 w 35346"/>
                    <a:gd name="connsiteY31" fmla="*/ 28349 h 51852"/>
                    <a:gd name="connsiteX32" fmla="*/ 31159 w 35346"/>
                    <a:gd name="connsiteY32" fmla="*/ 28648 h 51852"/>
                    <a:gd name="connsiteX33" fmla="*/ 31459 w 35346"/>
                    <a:gd name="connsiteY33" fmla="*/ 29126 h 51852"/>
                    <a:gd name="connsiteX34" fmla="*/ 33252 w 35346"/>
                    <a:gd name="connsiteY34" fmla="*/ 32774 h 51852"/>
                    <a:gd name="connsiteX35" fmla="*/ 34150 w 35346"/>
                    <a:gd name="connsiteY35" fmla="*/ 34569 h 51852"/>
                    <a:gd name="connsiteX36" fmla="*/ 34329 w 35346"/>
                    <a:gd name="connsiteY36" fmla="*/ 34927 h 51852"/>
                    <a:gd name="connsiteX37" fmla="*/ 34449 w 35346"/>
                    <a:gd name="connsiteY37" fmla="*/ 35167 h 51852"/>
                    <a:gd name="connsiteX38" fmla="*/ 34629 w 35346"/>
                    <a:gd name="connsiteY38" fmla="*/ 35645 h 51852"/>
                    <a:gd name="connsiteX39" fmla="*/ 34748 w 35346"/>
                    <a:gd name="connsiteY39" fmla="*/ 35944 h 51852"/>
                    <a:gd name="connsiteX40" fmla="*/ 34748 w 35346"/>
                    <a:gd name="connsiteY40" fmla="*/ 35944 h 51852"/>
                    <a:gd name="connsiteX41" fmla="*/ 34807 w 35346"/>
                    <a:gd name="connsiteY41" fmla="*/ 36124 h 51852"/>
                    <a:gd name="connsiteX42" fmla="*/ 35227 w 35346"/>
                    <a:gd name="connsiteY42" fmla="*/ 37260 h 51852"/>
                    <a:gd name="connsiteX43" fmla="*/ 35346 w 35346"/>
                    <a:gd name="connsiteY43" fmla="*/ 37559 h 51852"/>
                    <a:gd name="connsiteX44" fmla="*/ 35047 w 35346"/>
                    <a:gd name="connsiteY44" fmla="*/ 38097 h 51852"/>
                    <a:gd name="connsiteX45" fmla="*/ 35047 w 35346"/>
                    <a:gd name="connsiteY45" fmla="*/ 38097 h 51852"/>
                    <a:gd name="connsiteX46" fmla="*/ 34927 w 35346"/>
                    <a:gd name="connsiteY46" fmla="*/ 38336 h 51852"/>
                    <a:gd name="connsiteX47" fmla="*/ 34748 w 35346"/>
                    <a:gd name="connsiteY47" fmla="*/ 38695 h 51852"/>
                    <a:gd name="connsiteX48" fmla="*/ 34629 w 35346"/>
                    <a:gd name="connsiteY48" fmla="*/ 38934 h 51852"/>
                    <a:gd name="connsiteX49" fmla="*/ 34629 w 35346"/>
                    <a:gd name="connsiteY49" fmla="*/ 38934 h 51852"/>
                    <a:gd name="connsiteX50" fmla="*/ 34329 w 35346"/>
                    <a:gd name="connsiteY50" fmla="*/ 39473 h 51852"/>
                    <a:gd name="connsiteX51" fmla="*/ 33971 w 35346"/>
                    <a:gd name="connsiteY51" fmla="*/ 40071 h 51852"/>
                    <a:gd name="connsiteX52" fmla="*/ 33851 w 35346"/>
                    <a:gd name="connsiteY52" fmla="*/ 40250 h 51852"/>
                    <a:gd name="connsiteX53" fmla="*/ 33851 w 35346"/>
                    <a:gd name="connsiteY53" fmla="*/ 40250 h 51852"/>
                    <a:gd name="connsiteX54" fmla="*/ 33791 w 35346"/>
                    <a:gd name="connsiteY54" fmla="*/ 40310 h 51852"/>
                    <a:gd name="connsiteX55" fmla="*/ 33671 w 35346"/>
                    <a:gd name="connsiteY55" fmla="*/ 40490 h 51852"/>
                    <a:gd name="connsiteX56" fmla="*/ 33552 w 35346"/>
                    <a:gd name="connsiteY56" fmla="*/ 40729 h 51852"/>
                    <a:gd name="connsiteX57" fmla="*/ 33074 w 35346"/>
                    <a:gd name="connsiteY57" fmla="*/ 41566 h 51852"/>
                    <a:gd name="connsiteX58" fmla="*/ 32296 w 35346"/>
                    <a:gd name="connsiteY58" fmla="*/ 42942 h 51852"/>
                    <a:gd name="connsiteX59" fmla="*/ 32116 w 35346"/>
                    <a:gd name="connsiteY59" fmla="*/ 43300 h 51852"/>
                    <a:gd name="connsiteX60" fmla="*/ 32116 w 35346"/>
                    <a:gd name="connsiteY60" fmla="*/ 43300 h 51852"/>
                    <a:gd name="connsiteX61" fmla="*/ 31698 w 35346"/>
                    <a:gd name="connsiteY61" fmla="*/ 44018 h 51852"/>
                    <a:gd name="connsiteX62" fmla="*/ 30681 w 35346"/>
                    <a:gd name="connsiteY62" fmla="*/ 45752 h 51852"/>
                    <a:gd name="connsiteX63" fmla="*/ 29664 w 35346"/>
                    <a:gd name="connsiteY63" fmla="*/ 47487 h 51852"/>
                    <a:gd name="connsiteX64" fmla="*/ 28946 w 35346"/>
                    <a:gd name="connsiteY64" fmla="*/ 48743 h 51852"/>
                    <a:gd name="connsiteX65" fmla="*/ 28767 w 35346"/>
                    <a:gd name="connsiteY65" fmla="*/ 49102 h 51852"/>
                    <a:gd name="connsiteX66" fmla="*/ 28349 w 35346"/>
                    <a:gd name="connsiteY66" fmla="*/ 49401 h 51852"/>
                    <a:gd name="connsiteX67" fmla="*/ 28229 w 35346"/>
                    <a:gd name="connsiteY67" fmla="*/ 49461 h 51852"/>
                    <a:gd name="connsiteX68" fmla="*/ 27451 w 35346"/>
                    <a:gd name="connsiteY68" fmla="*/ 49999 h 51852"/>
                    <a:gd name="connsiteX69" fmla="*/ 27391 w 35346"/>
                    <a:gd name="connsiteY69" fmla="*/ 50059 h 51852"/>
                    <a:gd name="connsiteX70" fmla="*/ 27272 w 35346"/>
                    <a:gd name="connsiteY70" fmla="*/ 50118 h 51852"/>
                    <a:gd name="connsiteX71" fmla="*/ 26375 w 35346"/>
                    <a:gd name="connsiteY71" fmla="*/ 50716 h 51852"/>
                    <a:gd name="connsiteX72" fmla="*/ 26255 w 35346"/>
                    <a:gd name="connsiteY72" fmla="*/ 50776 h 51852"/>
                    <a:gd name="connsiteX73" fmla="*/ 25836 w 35346"/>
                    <a:gd name="connsiteY73" fmla="*/ 51016 h 51852"/>
                    <a:gd name="connsiteX74" fmla="*/ 24581 w 35346"/>
                    <a:gd name="connsiteY74" fmla="*/ 51853 h 51852"/>
                    <a:gd name="connsiteX75" fmla="*/ 24461 w 35346"/>
                    <a:gd name="connsiteY75" fmla="*/ 51793 h 51852"/>
                    <a:gd name="connsiteX76" fmla="*/ 24222 w 35346"/>
                    <a:gd name="connsiteY76" fmla="*/ 51614 h 51852"/>
                    <a:gd name="connsiteX77" fmla="*/ 23863 w 35346"/>
                    <a:gd name="connsiteY77" fmla="*/ 51374 h 5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5346" h="51852">
                      <a:moveTo>
                        <a:pt x="0" y="2452"/>
                      </a:moveTo>
                      <a:lnTo>
                        <a:pt x="299" y="2093"/>
                      </a:lnTo>
                      <a:lnTo>
                        <a:pt x="1256" y="1017"/>
                      </a:lnTo>
                      <a:lnTo>
                        <a:pt x="2213" y="0"/>
                      </a:lnTo>
                      <a:lnTo>
                        <a:pt x="2631" y="239"/>
                      </a:lnTo>
                      <a:lnTo>
                        <a:pt x="5861" y="2392"/>
                      </a:lnTo>
                      <a:lnTo>
                        <a:pt x="7177" y="3289"/>
                      </a:lnTo>
                      <a:lnTo>
                        <a:pt x="7177" y="3289"/>
                      </a:lnTo>
                      <a:lnTo>
                        <a:pt x="8553" y="4246"/>
                      </a:lnTo>
                      <a:lnTo>
                        <a:pt x="8672" y="4306"/>
                      </a:lnTo>
                      <a:lnTo>
                        <a:pt x="9689" y="5024"/>
                      </a:lnTo>
                      <a:lnTo>
                        <a:pt x="10526" y="5622"/>
                      </a:lnTo>
                      <a:lnTo>
                        <a:pt x="11483" y="6280"/>
                      </a:lnTo>
                      <a:lnTo>
                        <a:pt x="11842" y="6519"/>
                      </a:lnTo>
                      <a:lnTo>
                        <a:pt x="12619" y="7237"/>
                      </a:lnTo>
                      <a:lnTo>
                        <a:pt x="12679" y="7296"/>
                      </a:lnTo>
                      <a:lnTo>
                        <a:pt x="13756" y="8253"/>
                      </a:lnTo>
                      <a:lnTo>
                        <a:pt x="13875" y="8313"/>
                      </a:lnTo>
                      <a:lnTo>
                        <a:pt x="15310" y="9569"/>
                      </a:lnTo>
                      <a:lnTo>
                        <a:pt x="16148" y="10287"/>
                      </a:lnTo>
                      <a:lnTo>
                        <a:pt x="18062" y="11961"/>
                      </a:lnTo>
                      <a:lnTo>
                        <a:pt x="19975" y="13636"/>
                      </a:lnTo>
                      <a:lnTo>
                        <a:pt x="21112" y="14653"/>
                      </a:lnTo>
                      <a:lnTo>
                        <a:pt x="21471" y="15071"/>
                      </a:lnTo>
                      <a:lnTo>
                        <a:pt x="22846" y="16746"/>
                      </a:lnTo>
                      <a:lnTo>
                        <a:pt x="23624" y="17703"/>
                      </a:lnTo>
                      <a:lnTo>
                        <a:pt x="26196" y="20873"/>
                      </a:lnTo>
                      <a:lnTo>
                        <a:pt x="26375" y="21112"/>
                      </a:lnTo>
                      <a:lnTo>
                        <a:pt x="29724" y="26375"/>
                      </a:lnTo>
                      <a:lnTo>
                        <a:pt x="29724" y="26435"/>
                      </a:lnTo>
                      <a:lnTo>
                        <a:pt x="30143" y="27093"/>
                      </a:lnTo>
                      <a:lnTo>
                        <a:pt x="30980" y="28349"/>
                      </a:lnTo>
                      <a:lnTo>
                        <a:pt x="31159" y="28648"/>
                      </a:lnTo>
                      <a:lnTo>
                        <a:pt x="31459" y="29126"/>
                      </a:lnTo>
                      <a:lnTo>
                        <a:pt x="33252" y="32774"/>
                      </a:lnTo>
                      <a:lnTo>
                        <a:pt x="34150" y="34569"/>
                      </a:lnTo>
                      <a:lnTo>
                        <a:pt x="34329" y="34927"/>
                      </a:lnTo>
                      <a:lnTo>
                        <a:pt x="34449" y="35167"/>
                      </a:lnTo>
                      <a:lnTo>
                        <a:pt x="34629" y="35645"/>
                      </a:lnTo>
                      <a:lnTo>
                        <a:pt x="34748" y="35944"/>
                      </a:lnTo>
                      <a:lnTo>
                        <a:pt x="34748" y="35944"/>
                      </a:lnTo>
                      <a:lnTo>
                        <a:pt x="34807" y="36124"/>
                      </a:lnTo>
                      <a:lnTo>
                        <a:pt x="35227" y="37260"/>
                      </a:lnTo>
                      <a:lnTo>
                        <a:pt x="35346" y="37559"/>
                      </a:lnTo>
                      <a:lnTo>
                        <a:pt x="35047" y="38097"/>
                      </a:lnTo>
                      <a:lnTo>
                        <a:pt x="35047" y="38097"/>
                      </a:lnTo>
                      <a:lnTo>
                        <a:pt x="34927" y="38336"/>
                      </a:lnTo>
                      <a:lnTo>
                        <a:pt x="34748" y="38695"/>
                      </a:lnTo>
                      <a:lnTo>
                        <a:pt x="34629" y="38934"/>
                      </a:lnTo>
                      <a:lnTo>
                        <a:pt x="34629" y="38934"/>
                      </a:lnTo>
                      <a:lnTo>
                        <a:pt x="34329" y="39473"/>
                      </a:lnTo>
                      <a:lnTo>
                        <a:pt x="33971" y="40071"/>
                      </a:lnTo>
                      <a:lnTo>
                        <a:pt x="33851" y="40250"/>
                      </a:lnTo>
                      <a:lnTo>
                        <a:pt x="33851" y="40250"/>
                      </a:lnTo>
                      <a:lnTo>
                        <a:pt x="33791" y="40310"/>
                      </a:lnTo>
                      <a:lnTo>
                        <a:pt x="33671" y="40490"/>
                      </a:lnTo>
                      <a:lnTo>
                        <a:pt x="33552" y="40729"/>
                      </a:lnTo>
                      <a:lnTo>
                        <a:pt x="33074" y="41566"/>
                      </a:lnTo>
                      <a:lnTo>
                        <a:pt x="32296" y="42942"/>
                      </a:lnTo>
                      <a:lnTo>
                        <a:pt x="32116" y="43300"/>
                      </a:lnTo>
                      <a:lnTo>
                        <a:pt x="32116" y="43300"/>
                      </a:lnTo>
                      <a:lnTo>
                        <a:pt x="31698" y="44018"/>
                      </a:lnTo>
                      <a:lnTo>
                        <a:pt x="30681" y="45752"/>
                      </a:lnTo>
                      <a:lnTo>
                        <a:pt x="29664" y="47487"/>
                      </a:lnTo>
                      <a:lnTo>
                        <a:pt x="28946" y="48743"/>
                      </a:lnTo>
                      <a:lnTo>
                        <a:pt x="28767" y="49102"/>
                      </a:lnTo>
                      <a:lnTo>
                        <a:pt x="28349" y="49401"/>
                      </a:lnTo>
                      <a:lnTo>
                        <a:pt x="28229" y="49461"/>
                      </a:lnTo>
                      <a:lnTo>
                        <a:pt x="27451" y="49999"/>
                      </a:lnTo>
                      <a:lnTo>
                        <a:pt x="27391" y="50059"/>
                      </a:lnTo>
                      <a:lnTo>
                        <a:pt x="27272" y="50118"/>
                      </a:lnTo>
                      <a:lnTo>
                        <a:pt x="26375" y="50716"/>
                      </a:lnTo>
                      <a:lnTo>
                        <a:pt x="26255" y="50776"/>
                      </a:lnTo>
                      <a:lnTo>
                        <a:pt x="25836" y="51016"/>
                      </a:lnTo>
                      <a:lnTo>
                        <a:pt x="24581" y="51853"/>
                      </a:lnTo>
                      <a:lnTo>
                        <a:pt x="24461" y="51793"/>
                      </a:lnTo>
                      <a:lnTo>
                        <a:pt x="24222" y="51614"/>
                      </a:lnTo>
                      <a:lnTo>
                        <a:pt x="23863" y="51374"/>
                      </a:lnTo>
                    </a:path>
                  </a:pathLst>
                </a:custGeom>
                <a:noFill/>
                <a:ln w="6350" cap="rnd">
                  <a:solidFill>
                    <a:schemeClr val="bg1">
                      <a:alpha val="40000"/>
                    </a:schemeClr>
                  </a:solidFill>
                  <a:prstDash val="solid"/>
                  <a:round/>
                </a:ln>
              </p:spPr>
              <p:txBody>
                <a:bodyPr rtlCol="0" anchor="ctr"/>
                <a:lstStyle/>
                <a:p>
                  <a:endParaRPr lang="en-GB"/>
                </a:p>
              </p:txBody>
            </p:sp>
            <p:sp>
              <p:nvSpPr>
                <p:cNvPr id="6682" name="Vrije vorm: vorm 6681">
                  <a:extLst>
                    <a:ext uri="{FF2B5EF4-FFF2-40B4-BE49-F238E27FC236}">
                      <a16:creationId xmlns:a16="http://schemas.microsoft.com/office/drawing/2014/main" id="{5E644855-511A-43C3-AED2-FAA7003B9696}"/>
                    </a:ext>
                  </a:extLst>
                </p:cNvPr>
                <p:cNvSpPr/>
                <p:nvPr/>
              </p:nvSpPr>
              <p:spPr>
                <a:xfrm>
                  <a:off x="6939691" y="2067037"/>
                  <a:ext cx="6279" cy="4246"/>
                </a:xfrm>
                <a:custGeom>
                  <a:avLst/>
                  <a:gdLst>
                    <a:gd name="connsiteX0" fmla="*/ 6279 w 6279"/>
                    <a:gd name="connsiteY0" fmla="*/ 3289 h 4246"/>
                    <a:gd name="connsiteX1" fmla="*/ 4306 w 6279"/>
                    <a:gd name="connsiteY1" fmla="*/ 3947 h 4246"/>
                    <a:gd name="connsiteX2" fmla="*/ 3409 w 6279"/>
                    <a:gd name="connsiteY2" fmla="*/ 4246 h 4246"/>
                    <a:gd name="connsiteX3" fmla="*/ 2990 w 6279"/>
                    <a:gd name="connsiteY3" fmla="*/ 4186 h 4246"/>
                    <a:gd name="connsiteX4" fmla="*/ 837 w 6279"/>
                    <a:gd name="connsiteY4" fmla="*/ 3708 h 4246"/>
                    <a:gd name="connsiteX5" fmla="*/ 0 w 6279"/>
                    <a:gd name="connsiteY5" fmla="*/ 0 h 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 h="4246">
                      <a:moveTo>
                        <a:pt x="6279" y="3289"/>
                      </a:moveTo>
                      <a:lnTo>
                        <a:pt x="4306" y="3947"/>
                      </a:lnTo>
                      <a:lnTo>
                        <a:pt x="3409" y="4246"/>
                      </a:lnTo>
                      <a:lnTo>
                        <a:pt x="2990" y="4186"/>
                      </a:lnTo>
                      <a:lnTo>
                        <a:pt x="837" y="370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83" name="Vrije vorm: vorm 6682">
                  <a:extLst>
                    <a:ext uri="{FF2B5EF4-FFF2-40B4-BE49-F238E27FC236}">
                      <a16:creationId xmlns:a16="http://schemas.microsoft.com/office/drawing/2014/main" id="{AEDD4E55-66FD-4016-8371-1661B854D803}"/>
                    </a:ext>
                  </a:extLst>
                </p:cNvPr>
                <p:cNvSpPr/>
                <p:nvPr/>
              </p:nvSpPr>
              <p:spPr>
                <a:xfrm>
                  <a:off x="6845195" y="1799699"/>
                  <a:ext cx="1435" cy="239"/>
                </a:xfrm>
                <a:custGeom>
                  <a:avLst/>
                  <a:gdLst>
                    <a:gd name="connsiteX0" fmla="*/ 0 w 1435"/>
                    <a:gd name="connsiteY0" fmla="*/ 239 h 239"/>
                    <a:gd name="connsiteX1" fmla="*/ 1435 w 1435"/>
                    <a:gd name="connsiteY1" fmla="*/ 0 h 239"/>
                  </a:gdLst>
                  <a:ahLst/>
                  <a:cxnLst>
                    <a:cxn ang="0">
                      <a:pos x="connsiteX0" y="connsiteY0"/>
                    </a:cxn>
                    <a:cxn ang="0">
                      <a:pos x="connsiteX1" y="connsiteY1"/>
                    </a:cxn>
                  </a:cxnLst>
                  <a:rect l="l" t="t" r="r" b="b"/>
                  <a:pathLst>
                    <a:path w="1435" h="239">
                      <a:moveTo>
                        <a:pt x="0" y="239"/>
                      </a:moveTo>
                      <a:lnTo>
                        <a:pt x="1435" y="0"/>
                      </a:lnTo>
                    </a:path>
                  </a:pathLst>
                </a:custGeom>
                <a:noFill/>
                <a:ln w="6350" cap="rnd">
                  <a:solidFill>
                    <a:schemeClr val="bg1">
                      <a:alpha val="40000"/>
                    </a:schemeClr>
                  </a:solidFill>
                  <a:prstDash val="solid"/>
                  <a:round/>
                </a:ln>
              </p:spPr>
              <p:txBody>
                <a:bodyPr rtlCol="0" anchor="ctr"/>
                <a:lstStyle/>
                <a:p>
                  <a:endParaRPr lang="en-GB"/>
                </a:p>
              </p:txBody>
            </p:sp>
            <p:sp>
              <p:nvSpPr>
                <p:cNvPr id="6684" name="Vrije vorm: vorm 6683">
                  <a:extLst>
                    <a:ext uri="{FF2B5EF4-FFF2-40B4-BE49-F238E27FC236}">
                      <a16:creationId xmlns:a16="http://schemas.microsoft.com/office/drawing/2014/main" id="{0929C895-D325-4CB2-8C68-0D1748DEE1FD}"/>
                    </a:ext>
                  </a:extLst>
                </p:cNvPr>
                <p:cNvSpPr/>
                <p:nvPr/>
              </p:nvSpPr>
              <p:spPr>
                <a:xfrm>
                  <a:off x="6767505" y="1995687"/>
                  <a:ext cx="11483" cy="8014"/>
                </a:xfrm>
                <a:custGeom>
                  <a:avLst/>
                  <a:gdLst>
                    <a:gd name="connsiteX0" fmla="*/ 11483 w 11483"/>
                    <a:gd name="connsiteY0" fmla="*/ 5861 h 8014"/>
                    <a:gd name="connsiteX1" fmla="*/ 10287 w 11483"/>
                    <a:gd name="connsiteY1" fmla="*/ 6998 h 8014"/>
                    <a:gd name="connsiteX2" fmla="*/ 9151 w 11483"/>
                    <a:gd name="connsiteY2" fmla="*/ 8014 h 8014"/>
                    <a:gd name="connsiteX3" fmla="*/ 7596 w 11483"/>
                    <a:gd name="connsiteY3" fmla="*/ 6998 h 8014"/>
                    <a:gd name="connsiteX4" fmla="*/ 120 w 11483"/>
                    <a:gd name="connsiteY4" fmla="*/ 120 h 8014"/>
                    <a:gd name="connsiteX5" fmla="*/ 0 w 11483"/>
                    <a:gd name="connsiteY5" fmla="*/ 0 h 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3" h="8014">
                      <a:moveTo>
                        <a:pt x="11483" y="5861"/>
                      </a:moveTo>
                      <a:lnTo>
                        <a:pt x="10287" y="6998"/>
                      </a:lnTo>
                      <a:lnTo>
                        <a:pt x="9151" y="8014"/>
                      </a:lnTo>
                      <a:lnTo>
                        <a:pt x="7596" y="6998"/>
                      </a:lnTo>
                      <a:lnTo>
                        <a:pt x="120"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85" name="Vrije vorm: vorm 6684">
                  <a:extLst>
                    <a:ext uri="{FF2B5EF4-FFF2-40B4-BE49-F238E27FC236}">
                      <a16:creationId xmlns:a16="http://schemas.microsoft.com/office/drawing/2014/main" id="{51634FA5-88B5-466E-B26D-503E1C8AAB7A}"/>
                    </a:ext>
                  </a:extLst>
                </p:cNvPr>
                <p:cNvSpPr/>
                <p:nvPr/>
              </p:nvSpPr>
              <p:spPr>
                <a:xfrm>
                  <a:off x="6721633" y="1900056"/>
                  <a:ext cx="19317" cy="27152"/>
                </a:xfrm>
                <a:custGeom>
                  <a:avLst/>
                  <a:gdLst>
                    <a:gd name="connsiteX0" fmla="*/ 2153 w 19317"/>
                    <a:gd name="connsiteY0" fmla="*/ 27152 h 27152"/>
                    <a:gd name="connsiteX1" fmla="*/ 2034 w 19317"/>
                    <a:gd name="connsiteY1" fmla="*/ 27093 h 27152"/>
                    <a:gd name="connsiteX2" fmla="*/ 1854 w 19317"/>
                    <a:gd name="connsiteY2" fmla="*/ 26853 h 27152"/>
                    <a:gd name="connsiteX3" fmla="*/ 359 w 19317"/>
                    <a:gd name="connsiteY3" fmla="*/ 25059 h 27152"/>
                    <a:gd name="connsiteX4" fmla="*/ 0 w 19317"/>
                    <a:gd name="connsiteY4" fmla="*/ 24581 h 27152"/>
                    <a:gd name="connsiteX5" fmla="*/ 60 w 19317"/>
                    <a:gd name="connsiteY5" fmla="*/ 24521 h 27152"/>
                    <a:gd name="connsiteX6" fmla="*/ 60 w 19317"/>
                    <a:gd name="connsiteY6" fmla="*/ 24461 h 27152"/>
                    <a:gd name="connsiteX7" fmla="*/ 419 w 19317"/>
                    <a:gd name="connsiteY7" fmla="*/ 23983 h 27152"/>
                    <a:gd name="connsiteX8" fmla="*/ 598 w 19317"/>
                    <a:gd name="connsiteY8" fmla="*/ 23743 h 27152"/>
                    <a:gd name="connsiteX9" fmla="*/ 718 w 19317"/>
                    <a:gd name="connsiteY9" fmla="*/ 23564 h 27152"/>
                    <a:gd name="connsiteX10" fmla="*/ 1854 w 19317"/>
                    <a:gd name="connsiteY10" fmla="*/ 22129 h 27152"/>
                    <a:gd name="connsiteX11" fmla="*/ 1914 w 19317"/>
                    <a:gd name="connsiteY11" fmla="*/ 22009 h 27152"/>
                    <a:gd name="connsiteX12" fmla="*/ 2273 w 19317"/>
                    <a:gd name="connsiteY12" fmla="*/ 21590 h 27152"/>
                    <a:gd name="connsiteX13" fmla="*/ 2572 w 19317"/>
                    <a:gd name="connsiteY13" fmla="*/ 21232 h 27152"/>
                    <a:gd name="connsiteX14" fmla="*/ 2811 w 19317"/>
                    <a:gd name="connsiteY14" fmla="*/ 20933 h 27152"/>
                    <a:gd name="connsiteX15" fmla="*/ 3648 w 19317"/>
                    <a:gd name="connsiteY15" fmla="*/ 19856 h 27152"/>
                    <a:gd name="connsiteX16" fmla="*/ 6220 w 19317"/>
                    <a:gd name="connsiteY16" fmla="*/ 16567 h 27152"/>
                    <a:gd name="connsiteX17" fmla="*/ 8194 w 19317"/>
                    <a:gd name="connsiteY17" fmla="*/ 14055 h 27152"/>
                    <a:gd name="connsiteX18" fmla="*/ 8433 w 19317"/>
                    <a:gd name="connsiteY18" fmla="*/ 13756 h 27152"/>
                    <a:gd name="connsiteX19" fmla="*/ 8493 w 19317"/>
                    <a:gd name="connsiteY19" fmla="*/ 13696 h 27152"/>
                    <a:gd name="connsiteX20" fmla="*/ 8971 w 19317"/>
                    <a:gd name="connsiteY20" fmla="*/ 13038 h 27152"/>
                    <a:gd name="connsiteX21" fmla="*/ 9270 w 19317"/>
                    <a:gd name="connsiteY21" fmla="*/ 12679 h 27152"/>
                    <a:gd name="connsiteX22" fmla="*/ 9689 w 19317"/>
                    <a:gd name="connsiteY22" fmla="*/ 12141 h 27152"/>
                    <a:gd name="connsiteX23" fmla="*/ 9808 w 19317"/>
                    <a:gd name="connsiteY23" fmla="*/ 12021 h 27152"/>
                    <a:gd name="connsiteX24" fmla="*/ 9868 w 19317"/>
                    <a:gd name="connsiteY24" fmla="*/ 11961 h 27152"/>
                    <a:gd name="connsiteX25" fmla="*/ 10646 w 19317"/>
                    <a:gd name="connsiteY25" fmla="*/ 11005 h 27152"/>
                    <a:gd name="connsiteX26" fmla="*/ 11902 w 19317"/>
                    <a:gd name="connsiteY26" fmla="*/ 9450 h 27152"/>
                    <a:gd name="connsiteX27" fmla="*/ 12380 w 19317"/>
                    <a:gd name="connsiteY27" fmla="*/ 8851 h 27152"/>
                    <a:gd name="connsiteX28" fmla="*/ 13277 w 19317"/>
                    <a:gd name="connsiteY28" fmla="*/ 7715 h 27152"/>
                    <a:gd name="connsiteX29" fmla="*/ 16985 w 19317"/>
                    <a:gd name="connsiteY29" fmla="*/ 2930 h 27152"/>
                    <a:gd name="connsiteX30" fmla="*/ 18780 w 19317"/>
                    <a:gd name="connsiteY30" fmla="*/ 658 h 27152"/>
                    <a:gd name="connsiteX31" fmla="*/ 19318 w 19317"/>
                    <a:gd name="connsiteY31" fmla="*/ 0 h 2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317" h="27152">
                      <a:moveTo>
                        <a:pt x="2153" y="27152"/>
                      </a:moveTo>
                      <a:lnTo>
                        <a:pt x="2034" y="27093"/>
                      </a:lnTo>
                      <a:lnTo>
                        <a:pt x="1854" y="26853"/>
                      </a:lnTo>
                      <a:lnTo>
                        <a:pt x="359" y="25059"/>
                      </a:lnTo>
                      <a:lnTo>
                        <a:pt x="0" y="24581"/>
                      </a:lnTo>
                      <a:lnTo>
                        <a:pt x="60" y="24521"/>
                      </a:lnTo>
                      <a:lnTo>
                        <a:pt x="60" y="24461"/>
                      </a:lnTo>
                      <a:lnTo>
                        <a:pt x="419" y="23983"/>
                      </a:lnTo>
                      <a:lnTo>
                        <a:pt x="598" y="23743"/>
                      </a:lnTo>
                      <a:lnTo>
                        <a:pt x="718" y="23564"/>
                      </a:lnTo>
                      <a:lnTo>
                        <a:pt x="1854" y="22129"/>
                      </a:lnTo>
                      <a:lnTo>
                        <a:pt x="1914" y="22009"/>
                      </a:lnTo>
                      <a:lnTo>
                        <a:pt x="2273" y="21590"/>
                      </a:lnTo>
                      <a:lnTo>
                        <a:pt x="2572" y="21232"/>
                      </a:lnTo>
                      <a:lnTo>
                        <a:pt x="2811" y="20933"/>
                      </a:lnTo>
                      <a:lnTo>
                        <a:pt x="3648" y="19856"/>
                      </a:lnTo>
                      <a:lnTo>
                        <a:pt x="6220" y="16567"/>
                      </a:lnTo>
                      <a:lnTo>
                        <a:pt x="8194" y="14055"/>
                      </a:lnTo>
                      <a:lnTo>
                        <a:pt x="8433" y="13756"/>
                      </a:lnTo>
                      <a:lnTo>
                        <a:pt x="8493" y="13696"/>
                      </a:lnTo>
                      <a:lnTo>
                        <a:pt x="8971" y="13038"/>
                      </a:lnTo>
                      <a:lnTo>
                        <a:pt x="9270" y="12679"/>
                      </a:lnTo>
                      <a:lnTo>
                        <a:pt x="9689" y="12141"/>
                      </a:lnTo>
                      <a:lnTo>
                        <a:pt x="9808" y="12021"/>
                      </a:lnTo>
                      <a:lnTo>
                        <a:pt x="9868" y="11961"/>
                      </a:lnTo>
                      <a:lnTo>
                        <a:pt x="10646" y="11005"/>
                      </a:lnTo>
                      <a:lnTo>
                        <a:pt x="11902" y="9450"/>
                      </a:lnTo>
                      <a:lnTo>
                        <a:pt x="12380" y="8851"/>
                      </a:lnTo>
                      <a:lnTo>
                        <a:pt x="13277" y="7715"/>
                      </a:lnTo>
                      <a:lnTo>
                        <a:pt x="16985" y="2930"/>
                      </a:lnTo>
                      <a:lnTo>
                        <a:pt x="18780" y="658"/>
                      </a:lnTo>
                      <a:lnTo>
                        <a:pt x="19318" y="0"/>
                      </a:lnTo>
                    </a:path>
                  </a:pathLst>
                </a:custGeom>
                <a:noFill/>
                <a:ln w="6350" cap="rnd">
                  <a:solidFill>
                    <a:schemeClr val="bg1">
                      <a:alpha val="40000"/>
                    </a:schemeClr>
                  </a:solidFill>
                  <a:prstDash val="solid"/>
                  <a:round/>
                </a:ln>
              </p:spPr>
              <p:txBody>
                <a:bodyPr rtlCol="0" anchor="ctr"/>
                <a:lstStyle/>
                <a:p>
                  <a:endParaRPr lang="en-GB"/>
                </a:p>
              </p:txBody>
            </p:sp>
            <p:sp>
              <p:nvSpPr>
                <p:cNvPr id="6686" name="Vrije vorm: vorm 6685">
                  <a:extLst>
                    <a:ext uri="{FF2B5EF4-FFF2-40B4-BE49-F238E27FC236}">
                      <a16:creationId xmlns:a16="http://schemas.microsoft.com/office/drawing/2014/main" id="{4C4162EB-0E53-42D4-A4B1-32D4D7CD291D}"/>
                    </a:ext>
                  </a:extLst>
                </p:cNvPr>
                <p:cNvSpPr/>
                <p:nvPr/>
              </p:nvSpPr>
              <p:spPr>
                <a:xfrm>
                  <a:off x="6880481" y="2010220"/>
                  <a:ext cx="4186" cy="2511"/>
                </a:xfrm>
                <a:custGeom>
                  <a:avLst/>
                  <a:gdLst>
                    <a:gd name="connsiteX0" fmla="*/ 4186 w 4186"/>
                    <a:gd name="connsiteY0" fmla="*/ 2512 h 2511"/>
                    <a:gd name="connsiteX1" fmla="*/ 3648 w 4186"/>
                    <a:gd name="connsiteY1" fmla="*/ 2093 h 2511"/>
                    <a:gd name="connsiteX2" fmla="*/ 3170 w 4186"/>
                    <a:gd name="connsiteY2" fmla="*/ 1734 h 2511"/>
                    <a:gd name="connsiteX3" fmla="*/ 1615 w 4186"/>
                    <a:gd name="connsiteY3" fmla="*/ 658 h 2511"/>
                    <a:gd name="connsiteX4" fmla="*/ 0 w 4186"/>
                    <a:gd name="connsiteY4" fmla="*/ 0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6" h="2511">
                      <a:moveTo>
                        <a:pt x="4186" y="2512"/>
                      </a:moveTo>
                      <a:lnTo>
                        <a:pt x="3648" y="2093"/>
                      </a:lnTo>
                      <a:lnTo>
                        <a:pt x="3170" y="1734"/>
                      </a:lnTo>
                      <a:lnTo>
                        <a:pt x="1615" y="65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87" name="Vrije vorm: vorm 6686">
                  <a:extLst>
                    <a:ext uri="{FF2B5EF4-FFF2-40B4-BE49-F238E27FC236}">
                      <a16:creationId xmlns:a16="http://schemas.microsoft.com/office/drawing/2014/main" id="{60A12FE4-4745-4562-B55B-FF3EB01CDDEC}"/>
                    </a:ext>
                  </a:extLst>
                </p:cNvPr>
                <p:cNvSpPr/>
                <p:nvPr/>
              </p:nvSpPr>
              <p:spPr>
                <a:xfrm>
                  <a:off x="6937657" y="1716507"/>
                  <a:ext cx="9030" cy="9389"/>
                </a:xfrm>
                <a:custGeom>
                  <a:avLst/>
                  <a:gdLst>
                    <a:gd name="connsiteX0" fmla="*/ 0 w 9030"/>
                    <a:gd name="connsiteY0" fmla="*/ 5442 h 9389"/>
                    <a:gd name="connsiteX1" fmla="*/ 119 w 9030"/>
                    <a:gd name="connsiteY1" fmla="*/ 5024 h 9389"/>
                    <a:gd name="connsiteX2" fmla="*/ 119 w 9030"/>
                    <a:gd name="connsiteY2" fmla="*/ 4964 h 9389"/>
                    <a:gd name="connsiteX3" fmla="*/ 179 w 9030"/>
                    <a:gd name="connsiteY3" fmla="*/ 4785 h 9389"/>
                    <a:gd name="connsiteX4" fmla="*/ 179 w 9030"/>
                    <a:gd name="connsiteY4" fmla="*/ 4785 h 9389"/>
                    <a:gd name="connsiteX5" fmla="*/ 179 w 9030"/>
                    <a:gd name="connsiteY5" fmla="*/ 4725 h 9389"/>
                    <a:gd name="connsiteX6" fmla="*/ 239 w 9030"/>
                    <a:gd name="connsiteY6" fmla="*/ 4426 h 9389"/>
                    <a:gd name="connsiteX7" fmla="*/ 418 w 9030"/>
                    <a:gd name="connsiteY7" fmla="*/ 3648 h 9389"/>
                    <a:gd name="connsiteX8" fmla="*/ 598 w 9030"/>
                    <a:gd name="connsiteY8" fmla="*/ 2871 h 9389"/>
                    <a:gd name="connsiteX9" fmla="*/ 658 w 9030"/>
                    <a:gd name="connsiteY9" fmla="*/ 2632 h 9389"/>
                    <a:gd name="connsiteX10" fmla="*/ 658 w 9030"/>
                    <a:gd name="connsiteY10" fmla="*/ 2512 h 9389"/>
                    <a:gd name="connsiteX11" fmla="*/ 2811 w 9030"/>
                    <a:gd name="connsiteY11" fmla="*/ 478 h 9389"/>
                    <a:gd name="connsiteX12" fmla="*/ 5622 w 9030"/>
                    <a:gd name="connsiteY12" fmla="*/ 0 h 9389"/>
                    <a:gd name="connsiteX13" fmla="*/ 8014 w 9030"/>
                    <a:gd name="connsiteY13" fmla="*/ 1316 h 9389"/>
                    <a:gd name="connsiteX14" fmla="*/ 9031 w 9030"/>
                    <a:gd name="connsiteY14" fmla="*/ 3887 h 9389"/>
                    <a:gd name="connsiteX15" fmla="*/ 8672 w 9030"/>
                    <a:gd name="connsiteY15" fmla="*/ 5502 h 9389"/>
                    <a:gd name="connsiteX16" fmla="*/ 8612 w 9030"/>
                    <a:gd name="connsiteY16" fmla="*/ 5861 h 9389"/>
                    <a:gd name="connsiteX17" fmla="*/ 8612 w 9030"/>
                    <a:gd name="connsiteY17" fmla="*/ 5981 h 9389"/>
                    <a:gd name="connsiteX18" fmla="*/ 8432 w 9030"/>
                    <a:gd name="connsiteY18" fmla="*/ 6818 h 9389"/>
                    <a:gd name="connsiteX19" fmla="*/ 8194 w 9030"/>
                    <a:gd name="connsiteY19" fmla="*/ 7057 h 9389"/>
                    <a:gd name="connsiteX20" fmla="*/ 7894 w 9030"/>
                    <a:gd name="connsiteY20" fmla="*/ 7296 h 9389"/>
                    <a:gd name="connsiteX21" fmla="*/ 7894 w 9030"/>
                    <a:gd name="connsiteY21" fmla="*/ 7296 h 9389"/>
                    <a:gd name="connsiteX22" fmla="*/ 7476 w 9030"/>
                    <a:gd name="connsiteY22" fmla="*/ 7715 h 9389"/>
                    <a:gd name="connsiteX23" fmla="*/ 7296 w 9030"/>
                    <a:gd name="connsiteY23" fmla="*/ 7895 h 9389"/>
                    <a:gd name="connsiteX24" fmla="*/ 7236 w 9030"/>
                    <a:gd name="connsiteY24" fmla="*/ 7954 h 9389"/>
                    <a:gd name="connsiteX25" fmla="*/ 6758 w 9030"/>
                    <a:gd name="connsiteY25" fmla="*/ 8433 h 9389"/>
                    <a:gd name="connsiteX26" fmla="*/ 6698 w 9030"/>
                    <a:gd name="connsiteY26" fmla="*/ 8493 h 9389"/>
                    <a:gd name="connsiteX27" fmla="*/ 6639 w 9030"/>
                    <a:gd name="connsiteY27" fmla="*/ 8552 h 9389"/>
                    <a:gd name="connsiteX28" fmla="*/ 6639 w 9030"/>
                    <a:gd name="connsiteY28" fmla="*/ 8552 h 9389"/>
                    <a:gd name="connsiteX29" fmla="*/ 6459 w 9030"/>
                    <a:gd name="connsiteY29" fmla="*/ 8732 h 9389"/>
                    <a:gd name="connsiteX30" fmla="*/ 6339 w 9030"/>
                    <a:gd name="connsiteY30" fmla="*/ 8851 h 9389"/>
                    <a:gd name="connsiteX31" fmla="*/ 5741 w 9030"/>
                    <a:gd name="connsiteY31" fmla="*/ 8971 h 9389"/>
                    <a:gd name="connsiteX32" fmla="*/ 5741 w 9030"/>
                    <a:gd name="connsiteY32" fmla="*/ 8971 h 9389"/>
                    <a:gd name="connsiteX33" fmla="*/ 4426 w 9030"/>
                    <a:gd name="connsiteY33" fmla="*/ 9210 h 9389"/>
                    <a:gd name="connsiteX34" fmla="*/ 3827 w 9030"/>
                    <a:gd name="connsiteY34" fmla="*/ 9330 h 9389"/>
                    <a:gd name="connsiteX35" fmla="*/ 3588 w 9030"/>
                    <a:gd name="connsiteY35" fmla="*/ 9390 h 9389"/>
                    <a:gd name="connsiteX36" fmla="*/ 2392 w 9030"/>
                    <a:gd name="connsiteY36" fmla="*/ 8732 h 9389"/>
                    <a:gd name="connsiteX37" fmla="*/ 1196 w 9030"/>
                    <a:gd name="connsiteY37" fmla="*/ 8074 h 9389"/>
                    <a:gd name="connsiteX38" fmla="*/ 897 w 9030"/>
                    <a:gd name="connsiteY38" fmla="*/ 7296 h 9389"/>
                    <a:gd name="connsiteX39" fmla="*/ 837 w 9030"/>
                    <a:gd name="connsiteY39" fmla="*/ 7117 h 9389"/>
                    <a:gd name="connsiteX40" fmla="*/ 538 w 9030"/>
                    <a:gd name="connsiteY40" fmla="*/ 6399 h 9389"/>
                    <a:gd name="connsiteX41" fmla="*/ 418 w 9030"/>
                    <a:gd name="connsiteY41" fmla="*/ 6160 h 9389"/>
                    <a:gd name="connsiteX42" fmla="*/ 0 w 9030"/>
                    <a:gd name="connsiteY42" fmla="*/ 5442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030" h="9389">
                      <a:moveTo>
                        <a:pt x="0" y="5442"/>
                      </a:moveTo>
                      <a:lnTo>
                        <a:pt x="119" y="5024"/>
                      </a:lnTo>
                      <a:lnTo>
                        <a:pt x="119" y="4964"/>
                      </a:lnTo>
                      <a:lnTo>
                        <a:pt x="179" y="4785"/>
                      </a:lnTo>
                      <a:lnTo>
                        <a:pt x="179" y="4785"/>
                      </a:lnTo>
                      <a:lnTo>
                        <a:pt x="179" y="4725"/>
                      </a:lnTo>
                      <a:lnTo>
                        <a:pt x="239" y="4426"/>
                      </a:lnTo>
                      <a:lnTo>
                        <a:pt x="418" y="3648"/>
                      </a:lnTo>
                      <a:lnTo>
                        <a:pt x="598" y="2871"/>
                      </a:lnTo>
                      <a:lnTo>
                        <a:pt x="658" y="2632"/>
                      </a:lnTo>
                      <a:lnTo>
                        <a:pt x="658" y="2512"/>
                      </a:lnTo>
                      <a:lnTo>
                        <a:pt x="2811" y="478"/>
                      </a:lnTo>
                      <a:lnTo>
                        <a:pt x="5622" y="0"/>
                      </a:lnTo>
                      <a:lnTo>
                        <a:pt x="8014" y="1316"/>
                      </a:lnTo>
                      <a:lnTo>
                        <a:pt x="9031" y="3887"/>
                      </a:lnTo>
                      <a:lnTo>
                        <a:pt x="8672" y="5502"/>
                      </a:lnTo>
                      <a:lnTo>
                        <a:pt x="8612" y="5861"/>
                      </a:lnTo>
                      <a:lnTo>
                        <a:pt x="8612" y="5981"/>
                      </a:lnTo>
                      <a:lnTo>
                        <a:pt x="8432" y="6818"/>
                      </a:lnTo>
                      <a:lnTo>
                        <a:pt x="8194" y="7057"/>
                      </a:lnTo>
                      <a:lnTo>
                        <a:pt x="7894" y="7296"/>
                      </a:lnTo>
                      <a:lnTo>
                        <a:pt x="7894" y="7296"/>
                      </a:lnTo>
                      <a:lnTo>
                        <a:pt x="7476" y="7715"/>
                      </a:lnTo>
                      <a:lnTo>
                        <a:pt x="7296" y="7895"/>
                      </a:lnTo>
                      <a:lnTo>
                        <a:pt x="7236" y="7954"/>
                      </a:lnTo>
                      <a:lnTo>
                        <a:pt x="6758" y="8433"/>
                      </a:lnTo>
                      <a:lnTo>
                        <a:pt x="6698" y="8493"/>
                      </a:lnTo>
                      <a:lnTo>
                        <a:pt x="6639" y="8552"/>
                      </a:lnTo>
                      <a:lnTo>
                        <a:pt x="6639" y="8552"/>
                      </a:lnTo>
                      <a:lnTo>
                        <a:pt x="6459" y="8732"/>
                      </a:lnTo>
                      <a:lnTo>
                        <a:pt x="6339" y="8851"/>
                      </a:lnTo>
                      <a:lnTo>
                        <a:pt x="5741" y="8971"/>
                      </a:lnTo>
                      <a:lnTo>
                        <a:pt x="5741" y="8971"/>
                      </a:lnTo>
                      <a:lnTo>
                        <a:pt x="4426" y="9210"/>
                      </a:lnTo>
                      <a:lnTo>
                        <a:pt x="3827" y="9330"/>
                      </a:lnTo>
                      <a:lnTo>
                        <a:pt x="3588" y="9390"/>
                      </a:lnTo>
                      <a:lnTo>
                        <a:pt x="2392" y="8732"/>
                      </a:lnTo>
                      <a:lnTo>
                        <a:pt x="1196" y="8074"/>
                      </a:lnTo>
                      <a:lnTo>
                        <a:pt x="897" y="7296"/>
                      </a:lnTo>
                      <a:lnTo>
                        <a:pt x="837" y="7117"/>
                      </a:lnTo>
                      <a:lnTo>
                        <a:pt x="538" y="6399"/>
                      </a:lnTo>
                      <a:lnTo>
                        <a:pt x="418" y="6160"/>
                      </a:lnTo>
                      <a:lnTo>
                        <a:pt x="0" y="5442"/>
                      </a:lnTo>
                    </a:path>
                  </a:pathLst>
                </a:custGeom>
                <a:noFill/>
                <a:ln w="6350" cap="rnd">
                  <a:solidFill>
                    <a:schemeClr val="bg1">
                      <a:alpha val="40000"/>
                    </a:schemeClr>
                  </a:solidFill>
                  <a:prstDash val="solid"/>
                  <a:round/>
                </a:ln>
              </p:spPr>
              <p:txBody>
                <a:bodyPr rtlCol="0" anchor="ctr"/>
                <a:lstStyle/>
                <a:p>
                  <a:endParaRPr lang="en-GB"/>
                </a:p>
              </p:txBody>
            </p:sp>
            <p:sp>
              <p:nvSpPr>
                <p:cNvPr id="6688" name="Vrije vorm: vorm 6687">
                  <a:extLst>
                    <a:ext uri="{FF2B5EF4-FFF2-40B4-BE49-F238E27FC236}">
                      <a16:creationId xmlns:a16="http://schemas.microsoft.com/office/drawing/2014/main" id="{4DB5BFD9-7A07-418D-8709-3D4730FC1292}"/>
                    </a:ext>
                  </a:extLst>
                </p:cNvPr>
                <p:cNvSpPr/>
                <p:nvPr/>
              </p:nvSpPr>
              <p:spPr>
                <a:xfrm>
                  <a:off x="6663441" y="1886479"/>
                  <a:ext cx="8791" cy="2930"/>
                </a:xfrm>
                <a:custGeom>
                  <a:avLst/>
                  <a:gdLst>
                    <a:gd name="connsiteX0" fmla="*/ 8791 w 8791"/>
                    <a:gd name="connsiteY0" fmla="*/ 2931 h 2930"/>
                    <a:gd name="connsiteX1" fmla="*/ 8433 w 8791"/>
                    <a:gd name="connsiteY1" fmla="*/ 2811 h 2930"/>
                    <a:gd name="connsiteX2" fmla="*/ 4306 w 8791"/>
                    <a:gd name="connsiteY2" fmla="*/ 1196 h 2930"/>
                    <a:gd name="connsiteX3" fmla="*/ 0 w 8791"/>
                    <a:gd name="connsiteY3" fmla="*/ 0 h 2930"/>
                  </a:gdLst>
                  <a:ahLst/>
                  <a:cxnLst>
                    <a:cxn ang="0">
                      <a:pos x="connsiteX0" y="connsiteY0"/>
                    </a:cxn>
                    <a:cxn ang="0">
                      <a:pos x="connsiteX1" y="connsiteY1"/>
                    </a:cxn>
                    <a:cxn ang="0">
                      <a:pos x="connsiteX2" y="connsiteY2"/>
                    </a:cxn>
                    <a:cxn ang="0">
                      <a:pos x="connsiteX3" y="connsiteY3"/>
                    </a:cxn>
                  </a:cxnLst>
                  <a:rect l="l" t="t" r="r" b="b"/>
                  <a:pathLst>
                    <a:path w="8791" h="2930">
                      <a:moveTo>
                        <a:pt x="8791" y="2931"/>
                      </a:moveTo>
                      <a:lnTo>
                        <a:pt x="8433" y="2811"/>
                      </a:lnTo>
                      <a:lnTo>
                        <a:pt x="4306" y="119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689" name="Vrije vorm: vorm 6688">
                  <a:extLst>
                    <a:ext uri="{FF2B5EF4-FFF2-40B4-BE49-F238E27FC236}">
                      <a16:creationId xmlns:a16="http://schemas.microsoft.com/office/drawing/2014/main" id="{A445CB6D-51B8-44A4-B4EA-395876E84E29}"/>
                    </a:ext>
                  </a:extLst>
                </p:cNvPr>
                <p:cNvSpPr/>
                <p:nvPr/>
              </p:nvSpPr>
              <p:spPr>
                <a:xfrm>
                  <a:off x="7077487" y="1799639"/>
                  <a:ext cx="3767" cy="6937"/>
                </a:xfrm>
                <a:custGeom>
                  <a:avLst/>
                  <a:gdLst>
                    <a:gd name="connsiteX0" fmla="*/ 0 w 3767"/>
                    <a:gd name="connsiteY0" fmla="*/ 0 h 6937"/>
                    <a:gd name="connsiteX1" fmla="*/ 418 w 3767"/>
                    <a:gd name="connsiteY1" fmla="*/ 718 h 6937"/>
                    <a:gd name="connsiteX2" fmla="*/ 718 w 3767"/>
                    <a:gd name="connsiteY2" fmla="*/ 1256 h 6937"/>
                    <a:gd name="connsiteX3" fmla="*/ 956 w 3767"/>
                    <a:gd name="connsiteY3" fmla="*/ 1675 h 6937"/>
                    <a:gd name="connsiteX4" fmla="*/ 1256 w 3767"/>
                    <a:gd name="connsiteY4" fmla="*/ 2213 h 6937"/>
                    <a:gd name="connsiteX5" fmla="*/ 1375 w 3767"/>
                    <a:gd name="connsiteY5" fmla="*/ 2452 h 6937"/>
                    <a:gd name="connsiteX6" fmla="*/ 1554 w 3767"/>
                    <a:gd name="connsiteY6" fmla="*/ 2751 h 6937"/>
                    <a:gd name="connsiteX7" fmla="*/ 2273 w 3767"/>
                    <a:gd name="connsiteY7" fmla="*/ 4127 h 6937"/>
                    <a:gd name="connsiteX8" fmla="*/ 2332 w 3767"/>
                    <a:gd name="connsiteY8" fmla="*/ 4306 h 6937"/>
                    <a:gd name="connsiteX9" fmla="*/ 2392 w 3767"/>
                    <a:gd name="connsiteY9" fmla="*/ 4366 h 6937"/>
                    <a:gd name="connsiteX10" fmla="*/ 3409 w 3767"/>
                    <a:gd name="connsiteY10" fmla="*/ 6220 h 6937"/>
                    <a:gd name="connsiteX11" fmla="*/ 3768 w 3767"/>
                    <a:gd name="connsiteY11" fmla="*/ 6938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67" h="6937">
                      <a:moveTo>
                        <a:pt x="0" y="0"/>
                      </a:moveTo>
                      <a:lnTo>
                        <a:pt x="418" y="718"/>
                      </a:lnTo>
                      <a:lnTo>
                        <a:pt x="718" y="1256"/>
                      </a:lnTo>
                      <a:lnTo>
                        <a:pt x="956" y="1675"/>
                      </a:lnTo>
                      <a:lnTo>
                        <a:pt x="1256" y="2213"/>
                      </a:lnTo>
                      <a:lnTo>
                        <a:pt x="1375" y="2452"/>
                      </a:lnTo>
                      <a:lnTo>
                        <a:pt x="1554" y="2751"/>
                      </a:lnTo>
                      <a:lnTo>
                        <a:pt x="2273" y="4127"/>
                      </a:lnTo>
                      <a:lnTo>
                        <a:pt x="2332" y="4306"/>
                      </a:lnTo>
                      <a:lnTo>
                        <a:pt x="2392" y="4366"/>
                      </a:lnTo>
                      <a:lnTo>
                        <a:pt x="3409" y="6220"/>
                      </a:lnTo>
                      <a:lnTo>
                        <a:pt x="3768" y="6938"/>
                      </a:lnTo>
                    </a:path>
                  </a:pathLst>
                </a:custGeom>
                <a:noFill/>
                <a:ln w="6350" cap="rnd">
                  <a:solidFill>
                    <a:schemeClr val="bg1">
                      <a:alpha val="40000"/>
                    </a:schemeClr>
                  </a:solidFill>
                  <a:prstDash val="solid"/>
                  <a:round/>
                </a:ln>
              </p:spPr>
              <p:txBody>
                <a:bodyPr rtlCol="0" anchor="ctr"/>
                <a:lstStyle/>
                <a:p>
                  <a:endParaRPr lang="en-GB"/>
                </a:p>
              </p:txBody>
            </p:sp>
            <p:sp>
              <p:nvSpPr>
                <p:cNvPr id="6690" name="Vrije vorm: vorm 6689">
                  <a:extLst>
                    <a:ext uri="{FF2B5EF4-FFF2-40B4-BE49-F238E27FC236}">
                      <a16:creationId xmlns:a16="http://schemas.microsoft.com/office/drawing/2014/main" id="{BAE299D3-A3C3-45BB-AE44-1D8D0344CDEA}"/>
                    </a:ext>
                  </a:extLst>
                </p:cNvPr>
                <p:cNvSpPr/>
                <p:nvPr/>
              </p:nvSpPr>
              <p:spPr>
                <a:xfrm>
                  <a:off x="6987237" y="2072061"/>
                  <a:ext cx="7595" cy="897"/>
                </a:xfrm>
                <a:custGeom>
                  <a:avLst/>
                  <a:gdLst>
                    <a:gd name="connsiteX0" fmla="*/ 7596 w 7595"/>
                    <a:gd name="connsiteY0" fmla="*/ 0 h 897"/>
                    <a:gd name="connsiteX1" fmla="*/ 5203 w 7595"/>
                    <a:gd name="connsiteY1" fmla="*/ 718 h 897"/>
                    <a:gd name="connsiteX2" fmla="*/ 3290 w 7595"/>
                    <a:gd name="connsiteY2" fmla="*/ 778 h 897"/>
                    <a:gd name="connsiteX3" fmla="*/ 0 w 7595"/>
                    <a:gd name="connsiteY3" fmla="*/ 897 h 897"/>
                  </a:gdLst>
                  <a:ahLst/>
                  <a:cxnLst>
                    <a:cxn ang="0">
                      <a:pos x="connsiteX0" y="connsiteY0"/>
                    </a:cxn>
                    <a:cxn ang="0">
                      <a:pos x="connsiteX1" y="connsiteY1"/>
                    </a:cxn>
                    <a:cxn ang="0">
                      <a:pos x="connsiteX2" y="connsiteY2"/>
                    </a:cxn>
                    <a:cxn ang="0">
                      <a:pos x="connsiteX3" y="connsiteY3"/>
                    </a:cxn>
                  </a:cxnLst>
                  <a:rect l="l" t="t" r="r" b="b"/>
                  <a:pathLst>
                    <a:path w="7595" h="897">
                      <a:moveTo>
                        <a:pt x="7596" y="0"/>
                      </a:moveTo>
                      <a:lnTo>
                        <a:pt x="5203" y="718"/>
                      </a:lnTo>
                      <a:lnTo>
                        <a:pt x="3290" y="778"/>
                      </a:lnTo>
                      <a:lnTo>
                        <a:pt x="0" y="897"/>
                      </a:lnTo>
                    </a:path>
                  </a:pathLst>
                </a:custGeom>
                <a:noFill/>
                <a:ln w="6350" cap="rnd">
                  <a:solidFill>
                    <a:schemeClr val="bg1">
                      <a:alpha val="40000"/>
                    </a:schemeClr>
                  </a:solidFill>
                  <a:prstDash val="solid"/>
                  <a:round/>
                </a:ln>
              </p:spPr>
              <p:txBody>
                <a:bodyPr rtlCol="0" anchor="ctr"/>
                <a:lstStyle/>
                <a:p>
                  <a:endParaRPr lang="en-GB"/>
                </a:p>
              </p:txBody>
            </p:sp>
            <p:sp>
              <p:nvSpPr>
                <p:cNvPr id="6691" name="Vrije vorm: vorm 6690">
                  <a:extLst>
                    <a:ext uri="{FF2B5EF4-FFF2-40B4-BE49-F238E27FC236}">
                      <a16:creationId xmlns:a16="http://schemas.microsoft.com/office/drawing/2014/main" id="{B4D2DC7D-1DC9-4368-934A-3F27215A1C4D}"/>
                    </a:ext>
                  </a:extLst>
                </p:cNvPr>
                <p:cNvSpPr/>
                <p:nvPr/>
              </p:nvSpPr>
              <p:spPr>
                <a:xfrm>
                  <a:off x="6707280" y="1886240"/>
                  <a:ext cx="7236" cy="4784"/>
                </a:xfrm>
                <a:custGeom>
                  <a:avLst/>
                  <a:gdLst>
                    <a:gd name="connsiteX0" fmla="*/ 0 w 7236"/>
                    <a:gd name="connsiteY0" fmla="*/ 1076 h 4784"/>
                    <a:gd name="connsiteX1" fmla="*/ 598 w 7236"/>
                    <a:gd name="connsiteY1" fmla="*/ 0 h 4784"/>
                    <a:gd name="connsiteX2" fmla="*/ 4007 w 7236"/>
                    <a:gd name="connsiteY2" fmla="*/ 1734 h 4784"/>
                    <a:gd name="connsiteX3" fmla="*/ 4904 w 7236"/>
                    <a:gd name="connsiteY3" fmla="*/ 2332 h 4784"/>
                    <a:gd name="connsiteX4" fmla="*/ 7236 w 7236"/>
                    <a:gd name="connsiteY4" fmla="*/ 3887 h 4784"/>
                    <a:gd name="connsiteX5" fmla="*/ 7057 w 7236"/>
                    <a:gd name="connsiteY5" fmla="*/ 4246 h 4784"/>
                    <a:gd name="connsiteX6" fmla="*/ 6758 w 7236"/>
                    <a:gd name="connsiteY6" fmla="*/ 4785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6" h="4784">
                      <a:moveTo>
                        <a:pt x="0" y="1076"/>
                      </a:moveTo>
                      <a:lnTo>
                        <a:pt x="598" y="0"/>
                      </a:lnTo>
                      <a:lnTo>
                        <a:pt x="4007" y="1734"/>
                      </a:lnTo>
                      <a:lnTo>
                        <a:pt x="4904" y="2332"/>
                      </a:lnTo>
                      <a:lnTo>
                        <a:pt x="7236" y="3887"/>
                      </a:lnTo>
                      <a:lnTo>
                        <a:pt x="7057" y="4246"/>
                      </a:lnTo>
                      <a:lnTo>
                        <a:pt x="6758" y="4785"/>
                      </a:lnTo>
                    </a:path>
                  </a:pathLst>
                </a:custGeom>
                <a:noFill/>
                <a:ln w="6350" cap="rnd">
                  <a:solidFill>
                    <a:schemeClr val="bg1">
                      <a:alpha val="40000"/>
                    </a:schemeClr>
                  </a:solidFill>
                  <a:prstDash val="solid"/>
                  <a:round/>
                </a:ln>
              </p:spPr>
              <p:txBody>
                <a:bodyPr rtlCol="0" anchor="ctr"/>
                <a:lstStyle/>
                <a:p>
                  <a:endParaRPr lang="en-GB"/>
                </a:p>
              </p:txBody>
            </p:sp>
            <p:sp>
              <p:nvSpPr>
                <p:cNvPr id="6692" name="Vrije vorm: vorm 6691">
                  <a:extLst>
                    <a:ext uri="{FF2B5EF4-FFF2-40B4-BE49-F238E27FC236}">
                      <a16:creationId xmlns:a16="http://schemas.microsoft.com/office/drawing/2014/main" id="{CE292CE5-2347-4E6E-91EE-2D039EE7FD39}"/>
                    </a:ext>
                  </a:extLst>
                </p:cNvPr>
                <p:cNvSpPr/>
                <p:nvPr/>
              </p:nvSpPr>
              <p:spPr>
                <a:xfrm>
                  <a:off x="6713500" y="1888812"/>
                  <a:ext cx="4545" cy="3468"/>
                </a:xfrm>
                <a:custGeom>
                  <a:avLst/>
                  <a:gdLst>
                    <a:gd name="connsiteX0" fmla="*/ 0 w 4545"/>
                    <a:gd name="connsiteY0" fmla="*/ 3469 h 3468"/>
                    <a:gd name="connsiteX1" fmla="*/ 718 w 4545"/>
                    <a:gd name="connsiteY1" fmla="*/ 2273 h 3468"/>
                    <a:gd name="connsiteX2" fmla="*/ 2093 w 4545"/>
                    <a:gd name="connsiteY2" fmla="*/ 0 h 3468"/>
                    <a:gd name="connsiteX3" fmla="*/ 4545 w 4545"/>
                    <a:gd name="connsiteY3" fmla="*/ 957 h 3468"/>
                  </a:gdLst>
                  <a:ahLst/>
                  <a:cxnLst>
                    <a:cxn ang="0">
                      <a:pos x="connsiteX0" y="connsiteY0"/>
                    </a:cxn>
                    <a:cxn ang="0">
                      <a:pos x="connsiteX1" y="connsiteY1"/>
                    </a:cxn>
                    <a:cxn ang="0">
                      <a:pos x="connsiteX2" y="connsiteY2"/>
                    </a:cxn>
                    <a:cxn ang="0">
                      <a:pos x="connsiteX3" y="connsiteY3"/>
                    </a:cxn>
                  </a:cxnLst>
                  <a:rect l="l" t="t" r="r" b="b"/>
                  <a:pathLst>
                    <a:path w="4545" h="3468">
                      <a:moveTo>
                        <a:pt x="0" y="3469"/>
                      </a:moveTo>
                      <a:lnTo>
                        <a:pt x="718" y="2273"/>
                      </a:lnTo>
                      <a:lnTo>
                        <a:pt x="2093" y="0"/>
                      </a:lnTo>
                      <a:lnTo>
                        <a:pt x="4545" y="957"/>
                      </a:lnTo>
                    </a:path>
                  </a:pathLst>
                </a:custGeom>
                <a:noFill/>
                <a:ln w="6350" cap="rnd">
                  <a:solidFill>
                    <a:schemeClr val="bg1">
                      <a:alpha val="40000"/>
                    </a:schemeClr>
                  </a:solidFill>
                  <a:prstDash val="solid"/>
                  <a:round/>
                </a:ln>
              </p:spPr>
              <p:txBody>
                <a:bodyPr rtlCol="0" anchor="ctr"/>
                <a:lstStyle/>
                <a:p>
                  <a:endParaRPr lang="en-GB"/>
                </a:p>
              </p:txBody>
            </p:sp>
            <p:sp>
              <p:nvSpPr>
                <p:cNvPr id="6693" name="Vrije vorm: vorm 6692">
                  <a:extLst>
                    <a:ext uri="{FF2B5EF4-FFF2-40B4-BE49-F238E27FC236}">
                      <a16:creationId xmlns:a16="http://schemas.microsoft.com/office/drawing/2014/main" id="{88BEADCA-1089-4EEF-80FC-E41BED15ED19}"/>
                    </a:ext>
                  </a:extLst>
                </p:cNvPr>
                <p:cNvSpPr/>
                <p:nvPr/>
              </p:nvSpPr>
              <p:spPr>
                <a:xfrm>
                  <a:off x="7009605" y="1756638"/>
                  <a:ext cx="9270" cy="9509"/>
                </a:xfrm>
                <a:custGeom>
                  <a:avLst/>
                  <a:gdLst>
                    <a:gd name="connsiteX0" fmla="*/ 8732 w 9270"/>
                    <a:gd name="connsiteY0" fmla="*/ 6938 h 9509"/>
                    <a:gd name="connsiteX1" fmla="*/ 8433 w 9270"/>
                    <a:gd name="connsiteY1" fmla="*/ 7237 h 9509"/>
                    <a:gd name="connsiteX2" fmla="*/ 7835 w 9270"/>
                    <a:gd name="connsiteY2" fmla="*/ 7775 h 9509"/>
                    <a:gd name="connsiteX3" fmla="*/ 7596 w 9270"/>
                    <a:gd name="connsiteY3" fmla="*/ 8014 h 9509"/>
                    <a:gd name="connsiteX4" fmla="*/ 7596 w 9270"/>
                    <a:gd name="connsiteY4" fmla="*/ 8014 h 9509"/>
                    <a:gd name="connsiteX5" fmla="*/ 7177 w 9270"/>
                    <a:gd name="connsiteY5" fmla="*/ 8373 h 9509"/>
                    <a:gd name="connsiteX6" fmla="*/ 6758 w 9270"/>
                    <a:gd name="connsiteY6" fmla="*/ 8792 h 9509"/>
                    <a:gd name="connsiteX7" fmla="*/ 6579 w 9270"/>
                    <a:gd name="connsiteY7" fmla="*/ 8971 h 9509"/>
                    <a:gd name="connsiteX8" fmla="*/ 6460 w 9270"/>
                    <a:gd name="connsiteY8" fmla="*/ 9031 h 9509"/>
                    <a:gd name="connsiteX9" fmla="*/ 6460 w 9270"/>
                    <a:gd name="connsiteY9" fmla="*/ 9031 h 9509"/>
                    <a:gd name="connsiteX10" fmla="*/ 5622 w 9270"/>
                    <a:gd name="connsiteY10" fmla="*/ 9150 h 9509"/>
                    <a:gd name="connsiteX11" fmla="*/ 5503 w 9270"/>
                    <a:gd name="connsiteY11" fmla="*/ 9150 h 9509"/>
                    <a:gd name="connsiteX12" fmla="*/ 4426 w 9270"/>
                    <a:gd name="connsiteY12" fmla="*/ 9330 h 9509"/>
                    <a:gd name="connsiteX13" fmla="*/ 4247 w 9270"/>
                    <a:gd name="connsiteY13" fmla="*/ 9390 h 9509"/>
                    <a:gd name="connsiteX14" fmla="*/ 3529 w 9270"/>
                    <a:gd name="connsiteY14" fmla="*/ 9509 h 9509"/>
                    <a:gd name="connsiteX15" fmla="*/ 1077 w 9270"/>
                    <a:gd name="connsiteY15" fmla="*/ 8134 h 9509"/>
                    <a:gd name="connsiteX16" fmla="*/ 897 w 9270"/>
                    <a:gd name="connsiteY16" fmla="*/ 7655 h 9509"/>
                    <a:gd name="connsiteX17" fmla="*/ 718 w 9270"/>
                    <a:gd name="connsiteY17" fmla="*/ 7296 h 9509"/>
                    <a:gd name="connsiteX18" fmla="*/ 419 w 9270"/>
                    <a:gd name="connsiteY18" fmla="*/ 6519 h 9509"/>
                    <a:gd name="connsiteX19" fmla="*/ 359 w 9270"/>
                    <a:gd name="connsiteY19" fmla="*/ 6340 h 9509"/>
                    <a:gd name="connsiteX20" fmla="*/ 60 w 9270"/>
                    <a:gd name="connsiteY20" fmla="*/ 5562 h 9509"/>
                    <a:gd name="connsiteX21" fmla="*/ 0 w 9270"/>
                    <a:gd name="connsiteY21" fmla="*/ 5502 h 9509"/>
                    <a:gd name="connsiteX22" fmla="*/ 0 w 9270"/>
                    <a:gd name="connsiteY22" fmla="*/ 5383 h 9509"/>
                    <a:gd name="connsiteX23" fmla="*/ 299 w 9270"/>
                    <a:gd name="connsiteY23" fmla="*/ 4186 h 9509"/>
                    <a:gd name="connsiteX24" fmla="*/ 359 w 9270"/>
                    <a:gd name="connsiteY24" fmla="*/ 4007 h 9509"/>
                    <a:gd name="connsiteX25" fmla="*/ 359 w 9270"/>
                    <a:gd name="connsiteY25" fmla="*/ 4007 h 9509"/>
                    <a:gd name="connsiteX26" fmla="*/ 359 w 9270"/>
                    <a:gd name="connsiteY26" fmla="*/ 4007 h 9509"/>
                    <a:gd name="connsiteX27" fmla="*/ 419 w 9270"/>
                    <a:gd name="connsiteY27" fmla="*/ 3768 h 9509"/>
                    <a:gd name="connsiteX28" fmla="*/ 718 w 9270"/>
                    <a:gd name="connsiteY28" fmla="*/ 2512 h 9509"/>
                    <a:gd name="connsiteX29" fmla="*/ 1555 w 9270"/>
                    <a:gd name="connsiteY29" fmla="*/ 1734 h 9509"/>
                    <a:gd name="connsiteX30" fmla="*/ 1675 w 9270"/>
                    <a:gd name="connsiteY30" fmla="*/ 1615 h 9509"/>
                    <a:gd name="connsiteX31" fmla="*/ 2871 w 9270"/>
                    <a:gd name="connsiteY31" fmla="*/ 478 h 9509"/>
                    <a:gd name="connsiteX32" fmla="*/ 5742 w 9270"/>
                    <a:gd name="connsiteY32" fmla="*/ 0 h 9509"/>
                    <a:gd name="connsiteX33" fmla="*/ 8194 w 9270"/>
                    <a:gd name="connsiteY33" fmla="*/ 1376 h 9509"/>
                    <a:gd name="connsiteX34" fmla="*/ 9270 w 9270"/>
                    <a:gd name="connsiteY34" fmla="*/ 4067 h 9509"/>
                    <a:gd name="connsiteX35" fmla="*/ 8971 w 9270"/>
                    <a:gd name="connsiteY35" fmla="*/ 5383 h 9509"/>
                    <a:gd name="connsiteX36" fmla="*/ 8911 w 9270"/>
                    <a:gd name="connsiteY36" fmla="*/ 5622 h 9509"/>
                    <a:gd name="connsiteX37" fmla="*/ 8732 w 9270"/>
                    <a:gd name="connsiteY37" fmla="*/ 6938 h 9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270" h="9509">
                      <a:moveTo>
                        <a:pt x="8732" y="6938"/>
                      </a:moveTo>
                      <a:lnTo>
                        <a:pt x="8433" y="7237"/>
                      </a:lnTo>
                      <a:lnTo>
                        <a:pt x="7835" y="7775"/>
                      </a:lnTo>
                      <a:lnTo>
                        <a:pt x="7596" y="8014"/>
                      </a:lnTo>
                      <a:lnTo>
                        <a:pt x="7596" y="8014"/>
                      </a:lnTo>
                      <a:lnTo>
                        <a:pt x="7177" y="8373"/>
                      </a:lnTo>
                      <a:lnTo>
                        <a:pt x="6758" y="8792"/>
                      </a:lnTo>
                      <a:lnTo>
                        <a:pt x="6579" y="8971"/>
                      </a:lnTo>
                      <a:lnTo>
                        <a:pt x="6460" y="9031"/>
                      </a:lnTo>
                      <a:lnTo>
                        <a:pt x="6460" y="9031"/>
                      </a:lnTo>
                      <a:lnTo>
                        <a:pt x="5622" y="9150"/>
                      </a:lnTo>
                      <a:lnTo>
                        <a:pt x="5503" y="9150"/>
                      </a:lnTo>
                      <a:lnTo>
                        <a:pt x="4426" y="9330"/>
                      </a:lnTo>
                      <a:lnTo>
                        <a:pt x="4247" y="9390"/>
                      </a:lnTo>
                      <a:lnTo>
                        <a:pt x="3529" y="9509"/>
                      </a:lnTo>
                      <a:lnTo>
                        <a:pt x="1077" y="8134"/>
                      </a:lnTo>
                      <a:lnTo>
                        <a:pt x="897" y="7655"/>
                      </a:lnTo>
                      <a:lnTo>
                        <a:pt x="718" y="7296"/>
                      </a:lnTo>
                      <a:lnTo>
                        <a:pt x="419" y="6519"/>
                      </a:lnTo>
                      <a:lnTo>
                        <a:pt x="359" y="6340"/>
                      </a:lnTo>
                      <a:lnTo>
                        <a:pt x="60" y="5562"/>
                      </a:lnTo>
                      <a:lnTo>
                        <a:pt x="0" y="5502"/>
                      </a:lnTo>
                      <a:lnTo>
                        <a:pt x="0" y="5383"/>
                      </a:lnTo>
                      <a:lnTo>
                        <a:pt x="299" y="4186"/>
                      </a:lnTo>
                      <a:lnTo>
                        <a:pt x="359" y="4007"/>
                      </a:lnTo>
                      <a:lnTo>
                        <a:pt x="359" y="4007"/>
                      </a:lnTo>
                      <a:lnTo>
                        <a:pt x="359" y="4007"/>
                      </a:lnTo>
                      <a:lnTo>
                        <a:pt x="419" y="3768"/>
                      </a:lnTo>
                      <a:lnTo>
                        <a:pt x="718" y="2512"/>
                      </a:lnTo>
                      <a:lnTo>
                        <a:pt x="1555" y="1734"/>
                      </a:lnTo>
                      <a:lnTo>
                        <a:pt x="1675" y="1615"/>
                      </a:lnTo>
                      <a:lnTo>
                        <a:pt x="2871" y="478"/>
                      </a:lnTo>
                      <a:lnTo>
                        <a:pt x="5742" y="0"/>
                      </a:lnTo>
                      <a:lnTo>
                        <a:pt x="8194" y="1376"/>
                      </a:lnTo>
                      <a:lnTo>
                        <a:pt x="9270" y="4067"/>
                      </a:lnTo>
                      <a:lnTo>
                        <a:pt x="8971" y="5383"/>
                      </a:lnTo>
                      <a:lnTo>
                        <a:pt x="8911" y="5622"/>
                      </a:lnTo>
                      <a:lnTo>
                        <a:pt x="8732" y="6938"/>
                      </a:lnTo>
                    </a:path>
                  </a:pathLst>
                </a:custGeom>
                <a:noFill/>
                <a:ln w="6350" cap="rnd">
                  <a:solidFill>
                    <a:schemeClr val="bg1">
                      <a:alpha val="40000"/>
                    </a:schemeClr>
                  </a:solidFill>
                  <a:prstDash val="solid"/>
                  <a:round/>
                </a:ln>
              </p:spPr>
              <p:txBody>
                <a:bodyPr rtlCol="0" anchor="ctr"/>
                <a:lstStyle/>
                <a:p>
                  <a:endParaRPr lang="en-GB"/>
                </a:p>
              </p:txBody>
            </p:sp>
            <p:sp>
              <p:nvSpPr>
                <p:cNvPr id="6694" name="Vrije vorm: vorm 6693">
                  <a:extLst>
                    <a:ext uri="{FF2B5EF4-FFF2-40B4-BE49-F238E27FC236}">
                      <a16:creationId xmlns:a16="http://schemas.microsoft.com/office/drawing/2014/main" id="{8A5217E0-953E-482F-A800-9068D9354A9C}"/>
                    </a:ext>
                  </a:extLst>
                </p:cNvPr>
                <p:cNvSpPr/>
                <p:nvPr/>
              </p:nvSpPr>
              <p:spPr>
                <a:xfrm>
                  <a:off x="6765113" y="1918117"/>
                  <a:ext cx="1794" cy="3050"/>
                </a:xfrm>
                <a:custGeom>
                  <a:avLst/>
                  <a:gdLst>
                    <a:gd name="connsiteX0" fmla="*/ 0 w 1794"/>
                    <a:gd name="connsiteY0" fmla="*/ 3050 h 3050"/>
                    <a:gd name="connsiteX1" fmla="*/ 359 w 1794"/>
                    <a:gd name="connsiteY1" fmla="*/ 2811 h 3050"/>
                    <a:gd name="connsiteX2" fmla="*/ 598 w 1794"/>
                    <a:gd name="connsiteY2" fmla="*/ 0 h 3050"/>
                    <a:gd name="connsiteX3" fmla="*/ 1794 w 1794"/>
                    <a:gd name="connsiteY3" fmla="*/ 120 h 3050"/>
                  </a:gdLst>
                  <a:ahLst/>
                  <a:cxnLst>
                    <a:cxn ang="0">
                      <a:pos x="connsiteX0" y="connsiteY0"/>
                    </a:cxn>
                    <a:cxn ang="0">
                      <a:pos x="connsiteX1" y="connsiteY1"/>
                    </a:cxn>
                    <a:cxn ang="0">
                      <a:pos x="connsiteX2" y="connsiteY2"/>
                    </a:cxn>
                    <a:cxn ang="0">
                      <a:pos x="connsiteX3" y="connsiteY3"/>
                    </a:cxn>
                  </a:cxnLst>
                  <a:rect l="l" t="t" r="r" b="b"/>
                  <a:pathLst>
                    <a:path w="1794" h="3050">
                      <a:moveTo>
                        <a:pt x="0" y="3050"/>
                      </a:moveTo>
                      <a:lnTo>
                        <a:pt x="359" y="2811"/>
                      </a:lnTo>
                      <a:lnTo>
                        <a:pt x="598" y="0"/>
                      </a:lnTo>
                      <a:lnTo>
                        <a:pt x="1794" y="120"/>
                      </a:lnTo>
                    </a:path>
                  </a:pathLst>
                </a:custGeom>
                <a:noFill/>
                <a:ln w="6350" cap="rnd">
                  <a:solidFill>
                    <a:schemeClr val="bg1">
                      <a:alpha val="40000"/>
                    </a:schemeClr>
                  </a:solidFill>
                  <a:prstDash val="solid"/>
                  <a:round/>
                </a:ln>
              </p:spPr>
              <p:txBody>
                <a:bodyPr rtlCol="0" anchor="ctr"/>
                <a:lstStyle/>
                <a:p>
                  <a:endParaRPr lang="en-GB"/>
                </a:p>
              </p:txBody>
            </p:sp>
            <p:sp>
              <p:nvSpPr>
                <p:cNvPr id="6695" name="Vrije vorm: vorm 6694">
                  <a:extLst>
                    <a:ext uri="{FF2B5EF4-FFF2-40B4-BE49-F238E27FC236}">
                      <a16:creationId xmlns:a16="http://schemas.microsoft.com/office/drawing/2014/main" id="{D94475F2-53E0-41C3-89FE-16669C4A2009}"/>
                    </a:ext>
                  </a:extLst>
                </p:cNvPr>
                <p:cNvSpPr/>
                <p:nvPr/>
              </p:nvSpPr>
              <p:spPr>
                <a:xfrm>
                  <a:off x="6935683" y="1827689"/>
                  <a:ext cx="2810" cy="3229"/>
                </a:xfrm>
                <a:custGeom>
                  <a:avLst/>
                  <a:gdLst>
                    <a:gd name="connsiteX0" fmla="*/ 957 w 2810"/>
                    <a:gd name="connsiteY0" fmla="*/ 3230 h 3229"/>
                    <a:gd name="connsiteX1" fmla="*/ 718 w 2810"/>
                    <a:gd name="connsiteY1" fmla="*/ 2990 h 3229"/>
                    <a:gd name="connsiteX2" fmla="*/ 0 w 2810"/>
                    <a:gd name="connsiteY2" fmla="*/ 1974 h 3229"/>
                    <a:gd name="connsiteX3" fmla="*/ 239 w 2810"/>
                    <a:gd name="connsiteY3" fmla="*/ 718 h 3229"/>
                    <a:gd name="connsiteX4" fmla="*/ 359 w 2810"/>
                    <a:gd name="connsiteY4" fmla="*/ 658 h 3229"/>
                    <a:gd name="connsiteX5" fmla="*/ 1137 w 2810"/>
                    <a:gd name="connsiteY5" fmla="*/ 120 h 3229"/>
                    <a:gd name="connsiteX6" fmla="*/ 1316 w 2810"/>
                    <a:gd name="connsiteY6" fmla="*/ 0 h 3229"/>
                    <a:gd name="connsiteX7" fmla="*/ 1435 w 2810"/>
                    <a:gd name="connsiteY7" fmla="*/ 0 h 3229"/>
                    <a:gd name="connsiteX8" fmla="*/ 1675 w 2810"/>
                    <a:gd name="connsiteY8" fmla="*/ 60 h 3229"/>
                    <a:gd name="connsiteX9" fmla="*/ 2153 w 2810"/>
                    <a:gd name="connsiteY9" fmla="*/ 120 h 3229"/>
                    <a:gd name="connsiteX10" fmla="*/ 2572 w 2810"/>
                    <a:gd name="connsiteY10" fmla="*/ 179 h 3229"/>
                    <a:gd name="connsiteX11" fmla="*/ 2811 w 2810"/>
                    <a:gd name="connsiteY11" fmla="*/ 419 h 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10" h="3229">
                      <a:moveTo>
                        <a:pt x="957" y="3230"/>
                      </a:moveTo>
                      <a:lnTo>
                        <a:pt x="718" y="2990"/>
                      </a:lnTo>
                      <a:lnTo>
                        <a:pt x="0" y="1974"/>
                      </a:lnTo>
                      <a:lnTo>
                        <a:pt x="239" y="718"/>
                      </a:lnTo>
                      <a:lnTo>
                        <a:pt x="359" y="658"/>
                      </a:lnTo>
                      <a:lnTo>
                        <a:pt x="1137" y="120"/>
                      </a:lnTo>
                      <a:lnTo>
                        <a:pt x="1316" y="0"/>
                      </a:lnTo>
                      <a:lnTo>
                        <a:pt x="1435" y="0"/>
                      </a:lnTo>
                      <a:lnTo>
                        <a:pt x="1675" y="60"/>
                      </a:lnTo>
                      <a:lnTo>
                        <a:pt x="2153" y="120"/>
                      </a:lnTo>
                      <a:lnTo>
                        <a:pt x="2572" y="179"/>
                      </a:lnTo>
                      <a:lnTo>
                        <a:pt x="2811" y="419"/>
                      </a:lnTo>
                    </a:path>
                  </a:pathLst>
                </a:custGeom>
                <a:noFill/>
                <a:ln w="6350" cap="rnd">
                  <a:solidFill>
                    <a:schemeClr val="bg1">
                      <a:alpha val="40000"/>
                    </a:schemeClr>
                  </a:solidFill>
                  <a:prstDash val="solid"/>
                  <a:round/>
                </a:ln>
              </p:spPr>
              <p:txBody>
                <a:bodyPr rtlCol="0" anchor="ctr"/>
                <a:lstStyle/>
                <a:p>
                  <a:endParaRPr lang="en-GB"/>
                </a:p>
              </p:txBody>
            </p:sp>
            <p:sp>
              <p:nvSpPr>
                <p:cNvPr id="6696" name="Vrije vorm: vorm 6695">
                  <a:extLst>
                    <a:ext uri="{FF2B5EF4-FFF2-40B4-BE49-F238E27FC236}">
                      <a16:creationId xmlns:a16="http://schemas.microsoft.com/office/drawing/2014/main" id="{5309E3E8-E634-480D-965F-2AFD359173E8}"/>
                    </a:ext>
                  </a:extLst>
                </p:cNvPr>
                <p:cNvSpPr/>
                <p:nvPr/>
              </p:nvSpPr>
              <p:spPr>
                <a:xfrm>
                  <a:off x="6808115" y="1933966"/>
                  <a:ext cx="11243" cy="13217"/>
                </a:xfrm>
                <a:custGeom>
                  <a:avLst/>
                  <a:gdLst>
                    <a:gd name="connsiteX0" fmla="*/ 8134 w 11243"/>
                    <a:gd name="connsiteY0" fmla="*/ 0 h 13217"/>
                    <a:gd name="connsiteX1" fmla="*/ 8373 w 11243"/>
                    <a:gd name="connsiteY1" fmla="*/ 120 h 13217"/>
                    <a:gd name="connsiteX2" fmla="*/ 11244 w 11243"/>
                    <a:gd name="connsiteY2" fmla="*/ 1196 h 13217"/>
                    <a:gd name="connsiteX3" fmla="*/ 10705 w 11243"/>
                    <a:gd name="connsiteY3" fmla="*/ 2093 h 13217"/>
                    <a:gd name="connsiteX4" fmla="*/ 10347 w 11243"/>
                    <a:gd name="connsiteY4" fmla="*/ 2632 h 13217"/>
                    <a:gd name="connsiteX5" fmla="*/ 8134 w 11243"/>
                    <a:gd name="connsiteY5" fmla="*/ 6399 h 13217"/>
                    <a:gd name="connsiteX6" fmla="*/ 6639 w 11243"/>
                    <a:gd name="connsiteY6" fmla="*/ 8971 h 13217"/>
                    <a:gd name="connsiteX7" fmla="*/ 5682 w 11243"/>
                    <a:gd name="connsiteY7" fmla="*/ 10586 h 13217"/>
                    <a:gd name="connsiteX8" fmla="*/ 4127 w 11243"/>
                    <a:gd name="connsiteY8" fmla="*/ 13217 h 13217"/>
                    <a:gd name="connsiteX9" fmla="*/ 598 w 11243"/>
                    <a:gd name="connsiteY9" fmla="*/ 11961 h 13217"/>
                    <a:gd name="connsiteX10" fmla="*/ 0 w 11243"/>
                    <a:gd name="connsiteY10" fmla="*/ 11722 h 13217"/>
                    <a:gd name="connsiteX11" fmla="*/ 4545 w 11243"/>
                    <a:gd name="connsiteY11" fmla="*/ 4007 h 13217"/>
                    <a:gd name="connsiteX12" fmla="*/ 5024 w 11243"/>
                    <a:gd name="connsiteY12" fmla="*/ 3170 h 13217"/>
                    <a:gd name="connsiteX13" fmla="*/ 5024 w 11243"/>
                    <a:gd name="connsiteY13" fmla="*/ 3170 h 13217"/>
                    <a:gd name="connsiteX14" fmla="*/ 5024 w 11243"/>
                    <a:gd name="connsiteY14" fmla="*/ 3170 h 1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43" h="13217">
                      <a:moveTo>
                        <a:pt x="8134" y="0"/>
                      </a:moveTo>
                      <a:lnTo>
                        <a:pt x="8373" y="120"/>
                      </a:lnTo>
                      <a:lnTo>
                        <a:pt x="11244" y="1196"/>
                      </a:lnTo>
                      <a:lnTo>
                        <a:pt x="10705" y="2093"/>
                      </a:lnTo>
                      <a:lnTo>
                        <a:pt x="10347" y="2632"/>
                      </a:lnTo>
                      <a:lnTo>
                        <a:pt x="8134" y="6399"/>
                      </a:lnTo>
                      <a:lnTo>
                        <a:pt x="6639" y="8971"/>
                      </a:lnTo>
                      <a:lnTo>
                        <a:pt x="5682" y="10586"/>
                      </a:lnTo>
                      <a:lnTo>
                        <a:pt x="4127" y="13217"/>
                      </a:lnTo>
                      <a:lnTo>
                        <a:pt x="598" y="11961"/>
                      </a:lnTo>
                      <a:lnTo>
                        <a:pt x="0" y="11722"/>
                      </a:lnTo>
                      <a:lnTo>
                        <a:pt x="4545" y="4007"/>
                      </a:lnTo>
                      <a:lnTo>
                        <a:pt x="5024" y="3170"/>
                      </a:lnTo>
                      <a:lnTo>
                        <a:pt x="5024" y="3170"/>
                      </a:lnTo>
                      <a:lnTo>
                        <a:pt x="5024" y="3170"/>
                      </a:lnTo>
                    </a:path>
                  </a:pathLst>
                </a:custGeom>
                <a:noFill/>
                <a:ln w="6350" cap="rnd">
                  <a:solidFill>
                    <a:schemeClr val="bg1">
                      <a:alpha val="40000"/>
                    </a:schemeClr>
                  </a:solidFill>
                  <a:prstDash val="solid"/>
                  <a:round/>
                </a:ln>
              </p:spPr>
              <p:txBody>
                <a:bodyPr rtlCol="0" anchor="ctr"/>
                <a:lstStyle/>
                <a:p>
                  <a:endParaRPr lang="en-GB"/>
                </a:p>
              </p:txBody>
            </p:sp>
            <p:sp>
              <p:nvSpPr>
                <p:cNvPr id="6697" name="Vrije vorm: vorm 6696">
                  <a:extLst>
                    <a:ext uri="{FF2B5EF4-FFF2-40B4-BE49-F238E27FC236}">
                      <a16:creationId xmlns:a16="http://schemas.microsoft.com/office/drawing/2014/main" id="{8218DE38-D2DB-4148-941B-F3D94DEB13D0}"/>
                    </a:ext>
                  </a:extLst>
                </p:cNvPr>
                <p:cNvSpPr/>
                <p:nvPr/>
              </p:nvSpPr>
              <p:spPr>
                <a:xfrm>
                  <a:off x="6748547" y="1986537"/>
                  <a:ext cx="2631" cy="4784"/>
                </a:xfrm>
                <a:custGeom>
                  <a:avLst/>
                  <a:gdLst>
                    <a:gd name="connsiteX0" fmla="*/ 1435 w 2631"/>
                    <a:gd name="connsiteY0" fmla="*/ 4785 h 4784"/>
                    <a:gd name="connsiteX1" fmla="*/ 0 w 2631"/>
                    <a:gd name="connsiteY1" fmla="*/ 4187 h 4784"/>
                    <a:gd name="connsiteX2" fmla="*/ 479 w 2631"/>
                    <a:gd name="connsiteY2" fmla="*/ 2990 h 4784"/>
                    <a:gd name="connsiteX3" fmla="*/ 1375 w 2631"/>
                    <a:gd name="connsiteY3" fmla="*/ 897 h 4784"/>
                    <a:gd name="connsiteX4" fmla="*/ 1794 w 2631"/>
                    <a:gd name="connsiteY4" fmla="*/ 0 h 4784"/>
                    <a:gd name="connsiteX5" fmla="*/ 2632 w 2631"/>
                    <a:gd name="connsiteY5" fmla="*/ 359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1" h="4784">
                      <a:moveTo>
                        <a:pt x="1435" y="4785"/>
                      </a:moveTo>
                      <a:lnTo>
                        <a:pt x="0" y="4187"/>
                      </a:lnTo>
                      <a:lnTo>
                        <a:pt x="479" y="2990"/>
                      </a:lnTo>
                      <a:lnTo>
                        <a:pt x="1375" y="897"/>
                      </a:lnTo>
                      <a:lnTo>
                        <a:pt x="1794" y="0"/>
                      </a:lnTo>
                      <a:lnTo>
                        <a:pt x="2632" y="359"/>
                      </a:lnTo>
                    </a:path>
                  </a:pathLst>
                </a:custGeom>
                <a:noFill/>
                <a:ln w="6350" cap="rnd">
                  <a:solidFill>
                    <a:schemeClr val="bg1">
                      <a:alpha val="40000"/>
                    </a:schemeClr>
                  </a:solidFill>
                  <a:prstDash val="solid"/>
                  <a:round/>
                </a:ln>
              </p:spPr>
              <p:txBody>
                <a:bodyPr rtlCol="0" anchor="ctr"/>
                <a:lstStyle/>
                <a:p>
                  <a:endParaRPr lang="en-GB"/>
                </a:p>
              </p:txBody>
            </p:sp>
            <p:sp>
              <p:nvSpPr>
                <p:cNvPr id="6698" name="Vrije vorm: vorm 6697">
                  <a:extLst>
                    <a:ext uri="{FF2B5EF4-FFF2-40B4-BE49-F238E27FC236}">
                      <a16:creationId xmlns:a16="http://schemas.microsoft.com/office/drawing/2014/main" id="{6DBF2A30-17C5-474C-A7E5-DE6CA8532200}"/>
                    </a:ext>
                  </a:extLst>
                </p:cNvPr>
                <p:cNvSpPr/>
                <p:nvPr/>
              </p:nvSpPr>
              <p:spPr>
                <a:xfrm>
                  <a:off x="6749563" y="1989408"/>
                  <a:ext cx="7236" cy="6578"/>
                </a:xfrm>
                <a:custGeom>
                  <a:avLst/>
                  <a:gdLst>
                    <a:gd name="connsiteX0" fmla="*/ 7237 w 7236"/>
                    <a:gd name="connsiteY0" fmla="*/ 0 h 6578"/>
                    <a:gd name="connsiteX1" fmla="*/ 5921 w 7236"/>
                    <a:gd name="connsiteY1" fmla="*/ 3529 h 6578"/>
                    <a:gd name="connsiteX2" fmla="*/ 5622 w 7236"/>
                    <a:gd name="connsiteY2" fmla="*/ 4067 h 6578"/>
                    <a:gd name="connsiteX3" fmla="*/ 4964 w 7236"/>
                    <a:gd name="connsiteY3" fmla="*/ 5442 h 6578"/>
                    <a:gd name="connsiteX4" fmla="*/ 4785 w 7236"/>
                    <a:gd name="connsiteY4" fmla="*/ 5861 h 6578"/>
                    <a:gd name="connsiteX5" fmla="*/ 4426 w 7236"/>
                    <a:gd name="connsiteY5" fmla="*/ 6579 h 6578"/>
                    <a:gd name="connsiteX6" fmla="*/ 538 w 7236"/>
                    <a:gd name="connsiteY6" fmla="*/ 5203 h 6578"/>
                    <a:gd name="connsiteX7" fmla="*/ 0 w 7236"/>
                    <a:gd name="connsiteY7" fmla="*/ 3648 h 6578"/>
                    <a:gd name="connsiteX8" fmla="*/ 479 w 7236"/>
                    <a:gd name="connsiteY8" fmla="*/ 1854 h 6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6" h="6578">
                      <a:moveTo>
                        <a:pt x="7237" y="0"/>
                      </a:moveTo>
                      <a:lnTo>
                        <a:pt x="5921" y="3529"/>
                      </a:lnTo>
                      <a:lnTo>
                        <a:pt x="5622" y="4067"/>
                      </a:lnTo>
                      <a:lnTo>
                        <a:pt x="4964" y="5442"/>
                      </a:lnTo>
                      <a:lnTo>
                        <a:pt x="4785" y="5861"/>
                      </a:lnTo>
                      <a:lnTo>
                        <a:pt x="4426" y="6579"/>
                      </a:lnTo>
                      <a:lnTo>
                        <a:pt x="538" y="5203"/>
                      </a:lnTo>
                      <a:lnTo>
                        <a:pt x="0" y="3648"/>
                      </a:lnTo>
                      <a:lnTo>
                        <a:pt x="479" y="1854"/>
                      </a:lnTo>
                    </a:path>
                  </a:pathLst>
                </a:custGeom>
                <a:noFill/>
                <a:ln w="6350" cap="rnd">
                  <a:solidFill>
                    <a:schemeClr val="bg1">
                      <a:alpha val="40000"/>
                    </a:schemeClr>
                  </a:solidFill>
                  <a:prstDash val="solid"/>
                  <a:round/>
                </a:ln>
              </p:spPr>
              <p:txBody>
                <a:bodyPr rtlCol="0" anchor="ctr"/>
                <a:lstStyle/>
                <a:p>
                  <a:endParaRPr lang="en-GB"/>
                </a:p>
              </p:txBody>
            </p:sp>
            <p:sp>
              <p:nvSpPr>
                <p:cNvPr id="6699" name="Vrije vorm: vorm 6698">
                  <a:extLst>
                    <a:ext uri="{FF2B5EF4-FFF2-40B4-BE49-F238E27FC236}">
                      <a16:creationId xmlns:a16="http://schemas.microsoft.com/office/drawing/2014/main" id="{4C7A8DCF-0090-4A6E-8F82-D504F55DF1AA}"/>
                    </a:ext>
                  </a:extLst>
                </p:cNvPr>
                <p:cNvSpPr/>
                <p:nvPr/>
              </p:nvSpPr>
              <p:spPr>
                <a:xfrm>
                  <a:off x="7020670" y="1753827"/>
                  <a:ext cx="22846" cy="13695"/>
                </a:xfrm>
                <a:custGeom>
                  <a:avLst/>
                  <a:gdLst>
                    <a:gd name="connsiteX0" fmla="*/ 0 w 22846"/>
                    <a:gd name="connsiteY0" fmla="*/ 0 h 13695"/>
                    <a:gd name="connsiteX1" fmla="*/ 11662 w 22846"/>
                    <a:gd name="connsiteY1" fmla="*/ 6758 h 13695"/>
                    <a:gd name="connsiteX2" fmla="*/ 22846 w 22846"/>
                    <a:gd name="connsiteY2" fmla="*/ 13696 h 13695"/>
                  </a:gdLst>
                  <a:ahLst/>
                  <a:cxnLst>
                    <a:cxn ang="0">
                      <a:pos x="connsiteX0" y="connsiteY0"/>
                    </a:cxn>
                    <a:cxn ang="0">
                      <a:pos x="connsiteX1" y="connsiteY1"/>
                    </a:cxn>
                    <a:cxn ang="0">
                      <a:pos x="connsiteX2" y="connsiteY2"/>
                    </a:cxn>
                  </a:cxnLst>
                  <a:rect l="l" t="t" r="r" b="b"/>
                  <a:pathLst>
                    <a:path w="22846" h="13695">
                      <a:moveTo>
                        <a:pt x="0" y="0"/>
                      </a:moveTo>
                      <a:lnTo>
                        <a:pt x="11662" y="6758"/>
                      </a:lnTo>
                      <a:lnTo>
                        <a:pt x="22846" y="13696"/>
                      </a:lnTo>
                    </a:path>
                  </a:pathLst>
                </a:custGeom>
                <a:noFill/>
                <a:ln w="6350" cap="rnd">
                  <a:solidFill>
                    <a:schemeClr val="bg1">
                      <a:alpha val="40000"/>
                    </a:schemeClr>
                  </a:solidFill>
                  <a:prstDash val="solid"/>
                  <a:round/>
                </a:ln>
              </p:spPr>
              <p:txBody>
                <a:bodyPr rtlCol="0" anchor="ctr"/>
                <a:lstStyle/>
                <a:p>
                  <a:endParaRPr lang="en-GB"/>
                </a:p>
              </p:txBody>
            </p:sp>
            <p:sp>
              <p:nvSpPr>
                <p:cNvPr id="6700" name="Vrije vorm: vorm 6699">
                  <a:extLst>
                    <a:ext uri="{FF2B5EF4-FFF2-40B4-BE49-F238E27FC236}">
                      <a16:creationId xmlns:a16="http://schemas.microsoft.com/office/drawing/2014/main" id="{D1B78BA6-8F2F-4CFE-9C8D-76FB5A41E989}"/>
                    </a:ext>
                  </a:extLst>
                </p:cNvPr>
                <p:cNvSpPr/>
                <p:nvPr/>
              </p:nvSpPr>
              <p:spPr>
                <a:xfrm>
                  <a:off x="7091481" y="1962375"/>
                  <a:ext cx="1793" cy="9389"/>
                </a:xfrm>
                <a:custGeom>
                  <a:avLst/>
                  <a:gdLst>
                    <a:gd name="connsiteX0" fmla="*/ 0 w 1793"/>
                    <a:gd name="connsiteY0" fmla="*/ 9390 h 9389"/>
                    <a:gd name="connsiteX1" fmla="*/ 478 w 1793"/>
                    <a:gd name="connsiteY1" fmla="*/ 7835 h 9389"/>
                    <a:gd name="connsiteX2" fmla="*/ 1495 w 1793"/>
                    <a:gd name="connsiteY2" fmla="*/ 4486 h 9389"/>
                    <a:gd name="connsiteX3" fmla="*/ 1555 w 1793"/>
                    <a:gd name="connsiteY3" fmla="*/ 4186 h 9389"/>
                    <a:gd name="connsiteX4" fmla="*/ 1794 w 1793"/>
                    <a:gd name="connsiteY4" fmla="*/ 3409 h 9389"/>
                    <a:gd name="connsiteX5" fmla="*/ 658 w 1793"/>
                    <a:gd name="connsiteY5" fmla="*/ 0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3" h="9389">
                      <a:moveTo>
                        <a:pt x="0" y="9390"/>
                      </a:moveTo>
                      <a:lnTo>
                        <a:pt x="478" y="7835"/>
                      </a:lnTo>
                      <a:lnTo>
                        <a:pt x="1495" y="4486"/>
                      </a:lnTo>
                      <a:lnTo>
                        <a:pt x="1555" y="4186"/>
                      </a:lnTo>
                      <a:lnTo>
                        <a:pt x="1794" y="3409"/>
                      </a:lnTo>
                      <a:lnTo>
                        <a:pt x="658" y="0"/>
                      </a:lnTo>
                    </a:path>
                  </a:pathLst>
                </a:custGeom>
                <a:noFill/>
                <a:ln w="6350" cap="rnd">
                  <a:solidFill>
                    <a:schemeClr val="bg1">
                      <a:alpha val="40000"/>
                    </a:schemeClr>
                  </a:solidFill>
                  <a:prstDash val="solid"/>
                  <a:round/>
                </a:ln>
              </p:spPr>
              <p:txBody>
                <a:bodyPr rtlCol="0" anchor="ctr"/>
                <a:lstStyle/>
                <a:p>
                  <a:endParaRPr lang="en-GB"/>
                </a:p>
              </p:txBody>
            </p:sp>
            <p:sp>
              <p:nvSpPr>
                <p:cNvPr id="6701" name="Vrije vorm: vorm 6700">
                  <a:extLst>
                    <a:ext uri="{FF2B5EF4-FFF2-40B4-BE49-F238E27FC236}">
                      <a16:creationId xmlns:a16="http://schemas.microsoft.com/office/drawing/2014/main" id="{ED1D446A-47F7-438F-90EE-1CC6246F4691}"/>
                    </a:ext>
                  </a:extLst>
                </p:cNvPr>
                <p:cNvSpPr/>
                <p:nvPr/>
              </p:nvSpPr>
              <p:spPr>
                <a:xfrm>
                  <a:off x="6618227" y="1842940"/>
                  <a:ext cx="6458" cy="9449"/>
                </a:xfrm>
                <a:custGeom>
                  <a:avLst/>
                  <a:gdLst>
                    <a:gd name="connsiteX0" fmla="*/ 0 w 6458"/>
                    <a:gd name="connsiteY0" fmla="*/ 9450 h 9449"/>
                    <a:gd name="connsiteX1" fmla="*/ 4605 w 6458"/>
                    <a:gd name="connsiteY1" fmla="*/ 2093 h 9449"/>
                    <a:gd name="connsiteX2" fmla="*/ 6399 w 6458"/>
                    <a:gd name="connsiteY2" fmla="*/ 60 h 9449"/>
                    <a:gd name="connsiteX3" fmla="*/ 6459 w 6458"/>
                    <a:gd name="connsiteY3" fmla="*/ 0 h 9449"/>
                  </a:gdLst>
                  <a:ahLst/>
                  <a:cxnLst>
                    <a:cxn ang="0">
                      <a:pos x="connsiteX0" y="connsiteY0"/>
                    </a:cxn>
                    <a:cxn ang="0">
                      <a:pos x="connsiteX1" y="connsiteY1"/>
                    </a:cxn>
                    <a:cxn ang="0">
                      <a:pos x="connsiteX2" y="connsiteY2"/>
                    </a:cxn>
                    <a:cxn ang="0">
                      <a:pos x="connsiteX3" y="connsiteY3"/>
                    </a:cxn>
                  </a:cxnLst>
                  <a:rect l="l" t="t" r="r" b="b"/>
                  <a:pathLst>
                    <a:path w="6458" h="9449">
                      <a:moveTo>
                        <a:pt x="0" y="9450"/>
                      </a:moveTo>
                      <a:lnTo>
                        <a:pt x="4605" y="2093"/>
                      </a:lnTo>
                      <a:lnTo>
                        <a:pt x="6399" y="60"/>
                      </a:lnTo>
                      <a:lnTo>
                        <a:pt x="6459" y="0"/>
                      </a:lnTo>
                    </a:path>
                  </a:pathLst>
                </a:custGeom>
                <a:noFill/>
                <a:ln w="6350" cap="rnd">
                  <a:solidFill>
                    <a:schemeClr val="bg1">
                      <a:alpha val="40000"/>
                    </a:schemeClr>
                  </a:solidFill>
                  <a:prstDash val="solid"/>
                  <a:round/>
                </a:ln>
              </p:spPr>
              <p:txBody>
                <a:bodyPr rtlCol="0" anchor="ctr"/>
                <a:lstStyle/>
                <a:p>
                  <a:endParaRPr lang="en-GB"/>
                </a:p>
              </p:txBody>
            </p:sp>
            <p:sp>
              <p:nvSpPr>
                <p:cNvPr id="6702" name="Vrije vorm: vorm 6701">
                  <a:extLst>
                    <a:ext uri="{FF2B5EF4-FFF2-40B4-BE49-F238E27FC236}">
                      <a16:creationId xmlns:a16="http://schemas.microsoft.com/office/drawing/2014/main" id="{B2E97FCD-CCC9-4691-86AE-B584F8937F63}"/>
                    </a:ext>
                  </a:extLst>
                </p:cNvPr>
                <p:cNvSpPr/>
                <p:nvPr/>
              </p:nvSpPr>
              <p:spPr>
                <a:xfrm>
                  <a:off x="6661467" y="1862915"/>
                  <a:ext cx="14772" cy="2272"/>
                </a:xfrm>
                <a:custGeom>
                  <a:avLst/>
                  <a:gdLst>
                    <a:gd name="connsiteX0" fmla="*/ 14773 w 14772"/>
                    <a:gd name="connsiteY0" fmla="*/ 2273 h 2272"/>
                    <a:gd name="connsiteX1" fmla="*/ 8552 w 14772"/>
                    <a:gd name="connsiteY1" fmla="*/ 299 h 2272"/>
                    <a:gd name="connsiteX2" fmla="*/ 0 w 14772"/>
                    <a:gd name="connsiteY2" fmla="*/ 0 h 2272"/>
                  </a:gdLst>
                  <a:ahLst/>
                  <a:cxnLst>
                    <a:cxn ang="0">
                      <a:pos x="connsiteX0" y="connsiteY0"/>
                    </a:cxn>
                    <a:cxn ang="0">
                      <a:pos x="connsiteX1" y="connsiteY1"/>
                    </a:cxn>
                    <a:cxn ang="0">
                      <a:pos x="connsiteX2" y="connsiteY2"/>
                    </a:cxn>
                  </a:cxnLst>
                  <a:rect l="l" t="t" r="r" b="b"/>
                  <a:pathLst>
                    <a:path w="14772" h="2272">
                      <a:moveTo>
                        <a:pt x="14773" y="2273"/>
                      </a:moveTo>
                      <a:lnTo>
                        <a:pt x="8552" y="29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03" name="Vrije vorm: vorm 6702">
                  <a:extLst>
                    <a:ext uri="{FF2B5EF4-FFF2-40B4-BE49-F238E27FC236}">
                      <a16:creationId xmlns:a16="http://schemas.microsoft.com/office/drawing/2014/main" id="{36E2C70D-9B6E-408D-A458-BBB676D50C94}"/>
                    </a:ext>
                  </a:extLst>
                </p:cNvPr>
                <p:cNvSpPr/>
                <p:nvPr/>
              </p:nvSpPr>
              <p:spPr>
                <a:xfrm>
                  <a:off x="6889871" y="1941322"/>
                  <a:ext cx="48383" cy="38635"/>
                </a:xfrm>
                <a:custGeom>
                  <a:avLst/>
                  <a:gdLst>
                    <a:gd name="connsiteX0" fmla="*/ 0 w 48383"/>
                    <a:gd name="connsiteY0" fmla="*/ 3708 h 38635"/>
                    <a:gd name="connsiteX1" fmla="*/ 59 w 48383"/>
                    <a:gd name="connsiteY1" fmla="*/ 3588 h 38635"/>
                    <a:gd name="connsiteX2" fmla="*/ 1554 w 48383"/>
                    <a:gd name="connsiteY2" fmla="*/ 897 h 38635"/>
                    <a:gd name="connsiteX3" fmla="*/ 2511 w 48383"/>
                    <a:gd name="connsiteY3" fmla="*/ 0 h 38635"/>
                    <a:gd name="connsiteX4" fmla="*/ 3049 w 48383"/>
                    <a:gd name="connsiteY4" fmla="*/ 60 h 38635"/>
                    <a:gd name="connsiteX5" fmla="*/ 4426 w 48383"/>
                    <a:gd name="connsiteY5" fmla="*/ 179 h 38635"/>
                    <a:gd name="connsiteX6" fmla="*/ 4724 w 48383"/>
                    <a:gd name="connsiteY6" fmla="*/ 179 h 38635"/>
                    <a:gd name="connsiteX7" fmla="*/ 5322 w 48383"/>
                    <a:gd name="connsiteY7" fmla="*/ 239 h 38635"/>
                    <a:gd name="connsiteX8" fmla="*/ 5681 w 48383"/>
                    <a:gd name="connsiteY8" fmla="*/ 299 h 38635"/>
                    <a:gd name="connsiteX9" fmla="*/ 6100 w 48383"/>
                    <a:gd name="connsiteY9" fmla="*/ 359 h 38635"/>
                    <a:gd name="connsiteX10" fmla="*/ 8911 w 48383"/>
                    <a:gd name="connsiteY10" fmla="*/ 598 h 38635"/>
                    <a:gd name="connsiteX11" fmla="*/ 9389 w 48383"/>
                    <a:gd name="connsiteY11" fmla="*/ 658 h 38635"/>
                    <a:gd name="connsiteX12" fmla="*/ 9449 w 48383"/>
                    <a:gd name="connsiteY12" fmla="*/ 658 h 38635"/>
                    <a:gd name="connsiteX13" fmla="*/ 10406 w 48383"/>
                    <a:gd name="connsiteY13" fmla="*/ 718 h 38635"/>
                    <a:gd name="connsiteX14" fmla="*/ 10944 w 48383"/>
                    <a:gd name="connsiteY14" fmla="*/ 778 h 38635"/>
                    <a:gd name="connsiteX15" fmla="*/ 12440 w 48383"/>
                    <a:gd name="connsiteY15" fmla="*/ 897 h 38635"/>
                    <a:gd name="connsiteX16" fmla="*/ 12858 w 48383"/>
                    <a:gd name="connsiteY16" fmla="*/ 957 h 38635"/>
                    <a:gd name="connsiteX17" fmla="*/ 12978 w 48383"/>
                    <a:gd name="connsiteY17" fmla="*/ 957 h 38635"/>
                    <a:gd name="connsiteX18" fmla="*/ 13038 w 48383"/>
                    <a:gd name="connsiteY18" fmla="*/ 957 h 38635"/>
                    <a:gd name="connsiteX19" fmla="*/ 14652 w 48383"/>
                    <a:gd name="connsiteY19" fmla="*/ 1435 h 38635"/>
                    <a:gd name="connsiteX20" fmla="*/ 15610 w 48383"/>
                    <a:gd name="connsiteY20" fmla="*/ 1734 h 38635"/>
                    <a:gd name="connsiteX21" fmla="*/ 20813 w 48383"/>
                    <a:gd name="connsiteY21" fmla="*/ 3230 h 38635"/>
                    <a:gd name="connsiteX22" fmla="*/ 21889 w 48383"/>
                    <a:gd name="connsiteY22" fmla="*/ 3529 h 38635"/>
                    <a:gd name="connsiteX23" fmla="*/ 26614 w 48383"/>
                    <a:gd name="connsiteY23" fmla="*/ 4844 h 38635"/>
                    <a:gd name="connsiteX24" fmla="*/ 29485 w 48383"/>
                    <a:gd name="connsiteY24" fmla="*/ 6280 h 38635"/>
                    <a:gd name="connsiteX25" fmla="*/ 29844 w 48383"/>
                    <a:gd name="connsiteY25" fmla="*/ 6459 h 38635"/>
                    <a:gd name="connsiteX26" fmla="*/ 30561 w 48383"/>
                    <a:gd name="connsiteY26" fmla="*/ 6818 h 38635"/>
                    <a:gd name="connsiteX27" fmla="*/ 32894 w 48383"/>
                    <a:gd name="connsiteY27" fmla="*/ 7954 h 38635"/>
                    <a:gd name="connsiteX28" fmla="*/ 35286 w 48383"/>
                    <a:gd name="connsiteY28" fmla="*/ 9150 h 38635"/>
                    <a:gd name="connsiteX29" fmla="*/ 36363 w 48383"/>
                    <a:gd name="connsiteY29" fmla="*/ 10048 h 38635"/>
                    <a:gd name="connsiteX30" fmla="*/ 37080 w 48383"/>
                    <a:gd name="connsiteY30" fmla="*/ 10586 h 38635"/>
                    <a:gd name="connsiteX31" fmla="*/ 37499 w 48383"/>
                    <a:gd name="connsiteY31" fmla="*/ 10885 h 38635"/>
                    <a:gd name="connsiteX32" fmla="*/ 38815 w 48383"/>
                    <a:gd name="connsiteY32" fmla="*/ 11961 h 38635"/>
                    <a:gd name="connsiteX33" fmla="*/ 39173 w 48383"/>
                    <a:gd name="connsiteY33" fmla="*/ 12260 h 38635"/>
                    <a:gd name="connsiteX34" fmla="*/ 39771 w 48383"/>
                    <a:gd name="connsiteY34" fmla="*/ 12739 h 38635"/>
                    <a:gd name="connsiteX35" fmla="*/ 40668 w 48383"/>
                    <a:gd name="connsiteY35" fmla="*/ 13457 h 38635"/>
                    <a:gd name="connsiteX36" fmla="*/ 43241 w 48383"/>
                    <a:gd name="connsiteY36" fmla="*/ 15550 h 38635"/>
                    <a:gd name="connsiteX37" fmla="*/ 44018 w 48383"/>
                    <a:gd name="connsiteY37" fmla="*/ 16387 h 38635"/>
                    <a:gd name="connsiteX38" fmla="*/ 45932 w 48383"/>
                    <a:gd name="connsiteY38" fmla="*/ 18480 h 38635"/>
                    <a:gd name="connsiteX39" fmla="*/ 48085 w 48383"/>
                    <a:gd name="connsiteY39" fmla="*/ 20873 h 38635"/>
                    <a:gd name="connsiteX40" fmla="*/ 48384 w 48383"/>
                    <a:gd name="connsiteY40" fmla="*/ 21232 h 38635"/>
                    <a:gd name="connsiteX41" fmla="*/ 48204 w 48383"/>
                    <a:gd name="connsiteY41" fmla="*/ 21949 h 38635"/>
                    <a:gd name="connsiteX42" fmla="*/ 48144 w 48383"/>
                    <a:gd name="connsiteY42" fmla="*/ 22129 h 38635"/>
                    <a:gd name="connsiteX43" fmla="*/ 48025 w 48383"/>
                    <a:gd name="connsiteY43" fmla="*/ 22667 h 38635"/>
                    <a:gd name="connsiteX44" fmla="*/ 47905 w 48383"/>
                    <a:gd name="connsiteY44" fmla="*/ 23086 h 38635"/>
                    <a:gd name="connsiteX45" fmla="*/ 47905 w 48383"/>
                    <a:gd name="connsiteY45" fmla="*/ 23145 h 38635"/>
                    <a:gd name="connsiteX46" fmla="*/ 47666 w 48383"/>
                    <a:gd name="connsiteY46" fmla="*/ 24102 h 38635"/>
                    <a:gd name="connsiteX47" fmla="*/ 47008 w 48383"/>
                    <a:gd name="connsiteY47" fmla="*/ 26734 h 38635"/>
                    <a:gd name="connsiteX48" fmla="*/ 45872 w 48383"/>
                    <a:gd name="connsiteY48" fmla="*/ 30980 h 38635"/>
                    <a:gd name="connsiteX49" fmla="*/ 45393 w 48383"/>
                    <a:gd name="connsiteY49" fmla="*/ 32894 h 38635"/>
                    <a:gd name="connsiteX50" fmla="*/ 42762 w 48383"/>
                    <a:gd name="connsiteY50" fmla="*/ 36183 h 38635"/>
                    <a:gd name="connsiteX51" fmla="*/ 41805 w 48383"/>
                    <a:gd name="connsiteY51" fmla="*/ 37380 h 38635"/>
                    <a:gd name="connsiteX52" fmla="*/ 41088 w 48383"/>
                    <a:gd name="connsiteY52" fmla="*/ 38277 h 38635"/>
                    <a:gd name="connsiteX53" fmla="*/ 39353 w 48383"/>
                    <a:gd name="connsiteY53" fmla="*/ 38636 h 38635"/>
                    <a:gd name="connsiteX54" fmla="*/ 38635 w 48383"/>
                    <a:gd name="connsiteY54" fmla="*/ 38157 h 3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8383" h="38635">
                      <a:moveTo>
                        <a:pt x="0" y="3708"/>
                      </a:moveTo>
                      <a:lnTo>
                        <a:pt x="59" y="3588"/>
                      </a:lnTo>
                      <a:lnTo>
                        <a:pt x="1554" y="897"/>
                      </a:lnTo>
                      <a:lnTo>
                        <a:pt x="2511" y="0"/>
                      </a:lnTo>
                      <a:lnTo>
                        <a:pt x="3049" y="60"/>
                      </a:lnTo>
                      <a:lnTo>
                        <a:pt x="4426" y="179"/>
                      </a:lnTo>
                      <a:lnTo>
                        <a:pt x="4724" y="179"/>
                      </a:lnTo>
                      <a:lnTo>
                        <a:pt x="5322" y="239"/>
                      </a:lnTo>
                      <a:lnTo>
                        <a:pt x="5681" y="299"/>
                      </a:lnTo>
                      <a:lnTo>
                        <a:pt x="6100" y="359"/>
                      </a:lnTo>
                      <a:lnTo>
                        <a:pt x="8911" y="598"/>
                      </a:lnTo>
                      <a:lnTo>
                        <a:pt x="9389" y="658"/>
                      </a:lnTo>
                      <a:lnTo>
                        <a:pt x="9449" y="658"/>
                      </a:lnTo>
                      <a:lnTo>
                        <a:pt x="10406" y="718"/>
                      </a:lnTo>
                      <a:lnTo>
                        <a:pt x="10944" y="778"/>
                      </a:lnTo>
                      <a:lnTo>
                        <a:pt x="12440" y="897"/>
                      </a:lnTo>
                      <a:lnTo>
                        <a:pt x="12858" y="957"/>
                      </a:lnTo>
                      <a:lnTo>
                        <a:pt x="12978" y="957"/>
                      </a:lnTo>
                      <a:lnTo>
                        <a:pt x="13038" y="957"/>
                      </a:lnTo>
                      <a:lnTo>
                        <a:pt x="14652" y="1435"/>
                      </a:lnTo>
                      <a:lnTo>
                        <a:pt x="15610" y="1734"/>
                      </a:lnTo>
                      <a:lnTo>
                        <a:pt x="20813" y="3230"/>
                      </a:lnTo>
                      <a:lnTo>
                        <a:pt x="21889" y="3529"/>
                      </a:lnTo>
                      <a:lnTo>
                        <a:pt x="26614" y="4844"/>
                      </a:lnTo>
                      <a:lnTo>
                        <a:pt x="29485" y="6280"/>
                      </a:lnTo>
                      <a:lnTo>
                        <a:pt x="29844" y="6459"/>
                      </a:lnTo>
                      <a:lnTo>
                        <a:pt x="30561" y="6818"/>
                      </a:lnTo>
                      <a:lnTo>
                        <a:pt x="32894" y="7954"/>
                      </a:lnTo>
                      <a:lnTo>
                        <a:pt x="35286" y="9150"/>
                      </a:lnTo>
                      <a:lnTo>
                        <a:pt x="36363" y="10048"/>
                      </a:lnTo>
                      <a:lnTo>
                        <a:pt x="37080" y="10586"/>
                      </a:lnTo>
                      <a:lnTo>
                        <a:pt x="37499" y="10885"/>
                      </a:lnTo>
                      <a:lnTo>
                        <a:pt x="38815" y="11961"/>
                      </a:lnTo>
                      <a:lnTo>
                        <a:pt x="39173" y="12260"/>
                      </a:lnTo>
                      <a:lnTo>
                        <a:pt x="39771" y="12739"/>
                      </a:lnTo>
                      <a:lnTo>
                        <a:pt x="40668" y="13457"/>
                      </a:lnTo>
                      <a:lnTo>
                        <a:pt x="43241" y="15550"/>
                      </a:lnTo>
                      <a:lnTo>
                        <a:pt x="44018" y="16387"/>
                      </a:lnTo>
                      <a:lnTo>
                        <a:pt x="45932" y="18480"/>
                      </a:lnTo>
                      <a:lnTo>
                        <a:pt x="48085" y="20873"/>
                      </a:lnTo>
                      <a:lnTo>
                        <a:pt x="48384" y="21232"/>
                      </a:lnTo>
                      <a:lnTo>
                        <a:pt x="48204" y="21949"/>
                      </a:lnTo>
                      <a:lnTo>
                        <a:pt x="48144" y="22129"/>
                      </a:lnTo>
                      <a:lnTo>
                        <a:pt x="48025" y="22667"/>
                      </a:lnTo>
                      <a:lnTo>
                        <a:pt x="47905" y="23086"/>
                      </a:lnTo>
                      <a:lnTo>
                        <a:pt x="47905" y="23145"/>
                      </a:lnTo>
                      <a:lnTo>
                        <a:pt x="47666" y="24102"/>
                      </a:lnTo>
                      <a:lnTo>
                        <a:pt x="47008" y="26734"/>
                      </a:lnTo>
                      <a:lnTo>
                        <a:pt x="45872" y="30980"/>
                      </a:lnTo>
                      <a:lnTo>
                        <a:pt x="45393" y="32894"/>
                      </a:lnTo>
                      <a:lnTo>
                        <a:pt x="42762" y="36183"/>
                      </a:lnTo>
                      <a:lnTo>
                        <a:pt x="41805" y="37380"/>
                      </a:lnTo>
                      <a:lnTo>
                        <a:pt x="41088" y="38277"/>
                      </a:lnTo>
                      <a:lnTo>
                        <a:pt x="39353" y="38636"/>
                      </a:lnTo>
                      <a:lnTo>
                        <a:pt x="38635" y="38157"/>
                      </a:lnTo>
                    </a:path>
                  </a:pathLst>
                </a:custGeom>
                <a:noFill/>
                <a:ln w="6350" cap="rnd">
                  <a:solidFill>
                    <a:schemeClr val="bg1">
                      <a:alpha val="40000"/>
                    </a:schemeClr>
                  </a:solidFill>
                  <a:prstDash val="solid"/>
                  <a:round/>
                </a:ln>
              </p:spPr>
              <p:txBody>
                <a:bodyPr rtlCol="0" anchor="ctr"/>
                <a:lstStyle/>
                <a:p>
                  <a:endParaRPr lang="en-GB"/>
                </a:p>
              </p:txBody>
            </p:sp>
            <p:sp>
              <p:nvSpPr>
                <p:cNvPr id="6704" name="Vrije vorm: vorm 6703">
                  <a:extLst>
                    <a:ext uri="{FF2B5EF4-FFF2-40B4-BE49-F238E27FC236}">
                      <a16:creationId xmlns:a16="http://schemas.microsoft.com/office/drawing/2014/main" id="{570DFB2E-AFE3-40E8-B9A7-715A9ABA539E}"/>
                    </a:ext>
                  </a:extLst>
                </p:cNvPr>
                <p:cNvSpPr/>
                <p:nvPr/>
              </p:nvSpPr>
              <p:spPr>
                <a:xfrm>
                  <a:off x="6693883" y="1809986"/>
                  <a:ext cx="45812" cy="40429"/>
                </a:xfrm>
                <a:custGeom>
                  <a:avLst/>
                  <a:gdLst>
                    <a:gd name="connsiteX0" fmla="*/ 0 w 45812"/>
                    <a:gd name="connsiteY0" fmla="*/ 5383 h 40429"/>
                    <a:gd name="connsiteX1" fmla="*/ 778 w 45812"/>
                    <a:gd name="connsiteY1" fmla="*/ 3768 h 40429"/>
                    <a:gd name="connsiteX2" fmla="*/ 1136 w 45812"/>
                    <a:gd name="connsiteY2" fmla="*/ 2930 h 40429"/>
                    <a:gd name="connsiteX3" fmla="*/ 1675 w 45812"/>
                    <a:gd name="connsiteY3" fmla="*/ 1734 h 40429"/>
                    <a:gd name="connsiteX4" fmla="*/ 2392 w 45812"/>
                    <a:gd name="connsiteY4" fmla="*/ 538 h 40429"/>
                    <a:gd name="connsiteX5" fmla="*/ 3469 w 45812"/>
                    <a:gd name="connsiteY5" fmla="*/ 0 h 40429"/>
                    <a:gd name="connsiteX6" fmla="*/ 6399 w 45812"/>
                    <a:gd name="connsiteY6" fmla="*/ 598 h 40429"/>
                    <a:gd name="connsiteX7" fmla="*/ 8792 w 45812"/>
                    <a:gd name="connsiteY7" fmla="*/ 1076 h 40429"/>
                    <a:gd name="connsiteX8" fmla="*/ 11364 w 45812"/>
                    <a:gd name="connsiteY8" fmla="*/ 1615 h 40429"/>
                    <a:gd name="connsiteX9" fmla="*/ 13218 w 45812"/>
                    <a:gd name="connsiteY9" fmla="*/ 1974 h 40429"/>
                    <a:gd name="connsiteX10" fmla="*/ 13337 w 45812"/>
                    <a:gd name="connsiteY10" fmla="*/ 1974 h 40429"/>
                    <a:gd name="connsiteX11" fmla="*/ 20036 w 45812"/>
                    <a:gd name="connsiteY11" fmla="*/ 4605 h 40429"/>
                    <a:gd name="connsiteX12" fmla="*/ 26076 w 45812"/>
                    <a:gd name="connsiteY12" fmla="*/ 6997 h 40429"/>
                    <a:gd name="connsiteX13" fmla="*/ 27033 w 45812"/>
                    <a:gd name="connsiteY13" fmla="*/ 7595 h 40429"/>
                    <a:gd name="connsiteX14" fmla="*/ 30083 w 45812"/>
                    <a:gd name="connsiteY14" fmla="*/ 9450 h 40429"/>
                    <a:gd name="connsiteX15" fmla="*/ 30681 w 45812"/>
                    <a:gd name="connsiteY15" fmla="*/ 9808 h 40429"/>
                    <a:gd name="connsiteX16" fmla="*/ 34030 w 45812"/>
                    <a:gd name="connsiteY16" fmla="*/ 11842 h 40429"/>
                    <a:gd name="connsiteX17" fmla="*/ 37380 w 45812"/>
                    <a:gd name="connsiteY17" fmla="*/ 15012 h 40429"/>
                    <a:gd name="connsiteX18" fmla="*/ 39892 w 45812"/>
                    <a:gd name="connsiteY18" fmla="*/ 17344 h 40429"/>
                    <a:gd name="connsiteX19" fmla="*/ 41207 w 45812"/>
                    <a:gd name="connsiteY19" fmla="*/ 18600 h 40429"/>
                    <a:gd name="connsiteX20" fmla="*/ 45813 w 45812"/>
                    <a:gd name="connsiteY20" fmla="*/ 24341 h 40429"/>
                    <a:gd name="connsiteX21" fmla="*/ 45334 w 45812"/>
                    <a:gd name="connsiteY21" fmla="*/ 26016 h 40429"/>
                    <a:gd name="connsiteX22" fmla="*/ 45274 w 45812"/>
                    <a:gd name="connsiteY22" fmla="*/ 26195 h 40429"/>
                    <a:gd name="connsiteX23" fmla="*/ 44497 w 45812"/>
                    <a:gd name="connsiteY23" fmla="*/ 28887 h 40429"/>
                    <a:gd name="connsiteX24" fmla="*/ 43001 w 45812"/>
                    <a:gd name="connsiteY24" fmla="*/ 34210 h 40429"/>
                    <a:gd name="connsiteX25" fmla="*/ 42523 w 45812"/>
                    <a:gd name="connsiteY25" fmla="*/ 35884 h 40429"/>
                    <a:gd name="connsiteX26" fmla="*/ 41985 w 45812"/>
                    <a:gd name="connsiteY26" fmla="*/ 36423 h 40429"/>
                    <a:gd name="connsiteX27" fmla="*/ 38097 w 45812"/>
                    <a:gd name="connsiteY27" fmla="*/ 40430 h 40429"/>
                    <a:gd name="connsiteX28" fmla="*/ 36303 w 45812"/>
                    <a:gd name="connsiteY28" fmla="*/ 40190 h 40429"/>
                    <a:gd name="connsiteX29" fmla="*/ 35645 w 45812"/>
                    <a:gd name="connsiteY29" fmla="*/ 39772 h 4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812" h="40429">
                      <a:moveTo>
                        <a:pt x="0" y="5383"/>
                      </a:moveTo>
                      <a:lnTo>
                        <a:pt x="778" y="3768"/>
                      </a:lnTo>
                      <a:lnTo>
                        <a:pt x="1136" y="2930"/>
                      </a:lnTo>
                      <a:lnTo>
                        <a:pt x="1675" y="1734"/>
                      </a:lnTo>
                      <a:lnTo>
                        <a:pt x="2392" y="538"/>
                      </a:lnTo>
                      <a:lnTo>
                        <a:pt x="3469" y="0"/>
                      </a:lnTo>
                      <a:lnTo>
                        <a:pt x="6399" y="598"/>
                      </a:lnTo>
                      <a:lnTo>
                        <a:pt x="8792" y="1076"/>
                      </a:lnTo>
                      <a:lnTo>
                        <a:pt x="11364" y="1615"/>
                      </a:lnTo>
                      <a:lnTo>
                        <a:pt x="13218" y="1974"/>
                      </a:lnTo>
                      <a:lnTo>
                        <a:pt x="13337" y="1974"/>
                      </a:lnTo>
                      <a:lnTo>
                        <a:pt x="20036" y="4605"/>
                      </a:lnTo>
                      <a:lnTo>
                        <a:pt x="26076" y="6997"/>
                      </a:lnTo>
                      <a:lnTo>
                        <a:pt x="27033" y="7595"/>
                      </a:lnTo>
                      <a:lnTo>
                        <a:pt x="30083" y="9450"/>
                      </a:lnTo>
                      <a:lnTo>
                        <a:pt x="30681" y="9808"/>
                      </a:lnTo>
                      <a:lnTo>
                        <a:pt x="34030" y="11842"/>
                      </a:lnTo>
                      <a:lnTo>
                        <a:pt x="37380" y="15012"/>
                      </a:lnTo>
                      <a:lnTo>
                        <a:pt x="39892" y="17344"/>
                      </a:lnTo>
                      <a:lnTo>
                        <a:pt x="41207" y="18600"/>
                      </a:lnTo>
                      <a:lnTo>
                        <a:pt x="45813" y="24341"/>
                      </a:lnTo>
                      <a:lnTo>
                        <a:pt x="45334" y="26016"/>
                      </a:lnTo>
                      <a:lnTo>
                        <a:pt x="45274" y="26195"/>
                      </a:lnTo>
                      <a:lnTo>
                        <a:pt x="44497" y="28887"/>
                      </a:lnTo>
                      <a:lnTo>
                        <a:pt x="43001" y="34210"/>
                      </a:lnTo>
                      <a:lnTo>
                        <a:pt x="42523" y="35884"/>
                      </a:lnTo>
                      <a:lnTo>
                        <a:pt x="41985" y="36423"/>
                      </a:lnTo>
                      <a:lnTo>
                        <a:pt x="38097" y="40430"/>
                      </a:lnTo>
                      <a:lnTo>
                        <a:pt x="36303" y="40190"/>
                      </a:lnTo>
                      <a:lnTo>
                        <a:pt x="35645" y="39772"/>
                      </a:lnTo>
                    </a:path>
                  </a:pathLst>
                </a:custGeom>
                <a:noFill/>
                <a:ln w="6350" cap="rnd">
                  <a:solidFill>
                    <a:schemeClr val="bg1">
                      <a:alpha val="40000"/>
                    </a:schemeClr>
                  </a:solidFill>
                  <a:prstDash val="solid"/>
                  <a:round/>
                </a:ln>
              </p:spPr>
              <p:txBody>
                <a:bodyPr rtlCol="0" anchor="ctr"/>
                <a:lstStyle/>
                <a:p>
                  <a:endParaRPr lang="en-GB"/>
                </a:p>
              </p:txBody>
            </p:sp>
            <p:sp>
              <p:nvSpPr>
                <p:cNvPr id="6705" name="Vrije vorm: vorm 6704">
                  <a:extLst>
                    <a:ext uri="{FF2B5EF4-FFF2-40B4-BE49-F238E27FC236}">
                      <a16:creationId xmlns:a16="http://schemas.microsoft.com/office/drawing/2014/main" id="{7C2349D3-3E24-4569-B104-4CD70FB2CC35}"/>
                    </a:ext>
                  </a:extLst>
                </p:cNvPr>
                <p:cNvSpPr/>
                <p:nvPr/>
              </p:nvSpPr>
              <p:spPr>
                <a:xfrm>
                  <a:off x="6640296" y="1958427"/>
                  <a:ext cx="28827" cy="16865"/>
                </a:xfrm>
                <a:custGeom>
                  <a:avLst/>
                  <a:gdLst>
                    <a:gd name="connsiteX0" fmla="*/ 26913 w 28827"/>
                    <a:gd name="connsiteY0" fmla="*/ 0 h 16865"/>
                    <a:gd name="connsiteX1" fmla="*/ 27332 w 28827"/>
                    <a:gd name="connsiteY1" fmla="*/ 299 h 16865"/>
                    <a:gd name="connsiteX2" fmla="*/ 27511 w 28827"/>
                    <a:gd name="connsiteY2" fmla="*/ 419 h 16865"/>
                    <a:gd name="connsiteX3" fmla="*/ 28827 w 28827"/>
                    <a:gd name="connsiteY3" fmla="*/ 1316 h 16865"/>
                    <a:gd name="connsiteX4" fmla="*/ 27332 w 28827"/>
                    <a:gd name="connsiteY4" fmla="*/ 7057 h 16865"/>
                    <a:gd name="connsiteX5" fmla="*/ 26016 w 28827"/>
                    <a:gd name="connsiteY5" fmla="*/ 8612 h 16865"/>
                    <a:gd name="connsiteX6" fmla="*/ 22428 w 28827"/>
                    <a:gd name="connsiteY6" fmla="*/ 12739 h 16865"/>
                    <a:gd name="connsiteX7" fmla="*/ 21889 w 28827"/>
                    <a:gd name="connsiteY7" fmla="*/ 13337 h 16865"/>
                    <a:gd name="connsiteX8" fmla="*/ 19856 w 28827"/>
                    <a:gd name="connsiteY8" fmla="*/ 15669 h 16865"/>
                    <a:gd name="connsiteX9" fmla="*/ 19198 w 28827"/>
                    <a:gd name="connsiteY9" fmla="*/ 16447 h 16865"/>
                    <a:gd name="connsiteX10" fmla="*/ 15012 w 28827"/>
                    <a:gd name="connsiteY10" fmla="*/ 16866 h 16865"/>
                    <a:gd name="connsiteX11" fmla="*/ 10287 w 28827"/>
                    <a:gd name="connsiteY11" fmla="*/ 16746 h 16865"/>
                    <a:gd name="connsiteX12" fmla="*/ 7715 w 28827"/>
                    <a:gd name="connsiteY12" fmla="*/ 16088 h 16865"/>
                    <a:gd name="connsiteX13" fmla="*/ 3110 w 28827"/>
                    <a:gd name="connsiteY13" fmla="*/ 14294 h 16865"/>
                    <a:gd name="connsiteX14" fmla="*/ 359 w 28827"/>
                    <a:gd name="connsiteY14" fmla="*/ 11722 h 16865"/>
                    <a:gd name="connsiteX15" fmla="*/ 0 w 28827"/>
                    <a:gd name="connsiteY15" fmla="*/ 9390 h 1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827" h="16865">
                      <a:moveTo>
                        <a:pt x="26913" y="0"/>
                      </a:moveTo>
                      <a:lnTo>
                        <a:pt x="27332" y="299"/>
                      </a:lnTo>
                      <a:lnTo>
                        <a:pt x="27511" y="419"/>
                      </a:lnTo>
                      <a:lnTo>
                        <a:pt x="28827" y="1316"/>
                      </a:lnTo>
                      <a:lnTo>
                        <a:pt x="27332" y="7057"/>
                      </a:lnTo>
                      <a:lnTo>
                        <a:pt x="26016" y="8612"/>
                      </a:lnTo>
                      <a:lnTo>
                        <a:pt x="22428" y="12739"/>
                      </a:lnTo>
                      <a:lnTo>
                        <a:pt x="21889" y="13337"/>
                      </a:lnTo>
                      <a:lnTo>
                        <a:pt x="19856" y="15669"/>
                      </a:lnTo>
                      <a:lnTo>
                        <a:pt x="19198" y="16447"/>
                      </a:lnTo>
                      <a:lnTo>
                        <a:pt x="15012" y="16866"/>
                      </a:lnTo>
                      <a:lnTo>
                        <a:pt x="10287" y="16746"/>
                      </a:lnTo>
                      <a:lnTo>
                        <a:pt x="7715" y="16088"/>
                      </a:lnTo>
                      <a:lnTo>
                        <a:pt x="3110" y="14294"/>
                      </a:lnTo>
                      <a:lnTo>
                        <a:pt x="359" y="11722"/>
                      </a:lnTo>
                      <a:lnTo>
                        <a:pt x="0" y="9390"/>
                      </a:lnTo>
                    </a:path>
                  </a:pathLst>
                </a:custGeom>
                <a:noFill/>
                <a:ln w="6350" cap="rnd">
                  <a:solidFill>
                    <a:schemeClr val="bg1">
                      <a:alpha val="40000"/>
                    </a:schemeClr>
                  </a:solidFill>
                  <a:prstDash val="solid"/>
                  <a:round/>
                </a:ln>
              </p:spPr>
              <p:txBody>
                <a:bodyPr rtlCol="0" anchor="ctr"/>
                <a:lstStyle/>
                <a:p>
                  <a:endParaRPr lang="en-GB"/>
                </a:p>
              </p:txBody>
            </p:sp>
            <p:sp>
              <p:nvSpPr>
                <p:cNvPr id="6706" name="Vrije vorm: vorm 6705">
                  <a:extLst>
                    <a:ext uri="{FF2B5EF4-FFF2-40B4-BE49-F238E27FC236}">
                      <a16:creationId xmlns:a16="http://schemas.microsoft.com/office/drawing/2014/main" id="{E6E93ADD-3D7A-4865-B8F0-0727BC22069A}"/>
                    </a:ext>
                  </a:extLst>
                </p:cNvPr>
                <p:cNvSpPr/>
                <p:nvPr/>
              </p:nvSpPr>
              <p:spPr>
                <a:xfrm>
                  <a:off x="6851116" y="1974815"/>
                  <a:ext cx="57714" cy="22487"/>
                </a:xfrm>
                <a:custGeom>
                  <a:avLst/>
                  <a:gdLst>
                    <a:gd name="connsiteX0" fmla="*/ 120 w 57714"/>
                    <a:gd name="connsiteY0" fmla="*/ 10825 h 22487"/>
                    <a:gd name="connsiteX1" fmla="*/ 0 w 57714"/>
                    <a:gd name="connsiteY1" fmla="*/ 8672 h 22487"/>
                    <a:gd name="connsiteX2" fmla="*/ 539 w 57714"/>
                    <a:gd name="connsiteY2" fmla="*/ 5741 h 22487"/>
                    <a:gd name="connsiteX3" fmla="*/ 539 w 57714"/>
                    <a:gd name="connsiteY3" fmla="*/ 5741 h 22487"/>
                    <a:gd name="connsiteX4" fmla="*/ 1077 w 57714"/>
                    <a:gd name="connsiteY4" fmla="*/ 4785 h 22487"/>
                    <a:gd name="connsiteX5" fmla="*/ 1555 w 57714"/>
                    <a:gd name="connsiteY5" fmla="*/ 3887 h 22487"/>
                    <a:gd name="connsiteX6" fmla="*/ 6998 w 57714"/>
                    <a:gd name="connsiteY6" fmla="*/ 2572 h 22487"/>
                    <a:gd name="connsiteX7" fmla="*/ 12500 w 57714"/>
                    <a:gd name="connsiteY7" fmla="*/ 1196 h 22487"/>
                    <a:gd name="connsiteX8" fmla="*/ 15491 w 57714"/>
                    <a:gd name="connsiteY8" fmla="*/ 957 h 22487"/>
                    <a:gd name="connsiteX9" fmla="*/ 27153 w 57714"/>
                    <a:gd name="connsiteY9" fmla="*/ 60 h 22487"/>
                    <a:gd name="connsiteX10" fmla="*/ 27751 w 57714"/>
                    <a:gd name="connsiteY10" fmla="*/ 0 h 22487"/>
                    <a:gd name="connsiteX11" fmla="*/ 29306 w 57714"/>
                    <a:gd name="connsiteY11" fmla="*/ 120 h 22487"/>
                    <a:gd name="connsiteX12" fmla="*/ 30023 w 57714"/>
                    <a:gd name="connsiteY12" fmla="*/ 179 h 22487"/>
                    <a:gd name="connsiteX13" fmla="*/ 30921 w 57714"/>
                    <a:gd name="connsiteY13" fmla="*/ 239 h 22487"/>
                    <a:gd name="connsiteX14" fmla="*/ 33014 w 57714"/>
                    <a:gd name="connsiteY14" fmla="*/ 419 h 22487"/>
                    <a:gd name="connsiteX15" fmla="*/ 33133 w 57714"/>
                    <a:gd name="connsiteY15" fmla="*/ 419 h 22487"/>
                    <a:gd name="connsiteX16" fmla="*/ 33253 w 57714"/>
                    <a:gd name="connsiteY16" fmla="*/ 419 h 22487"/>
                    <a:gd name="connsiteX17" fmla="*/ 34031 w 57714"/>
                    <a:gd name="connsiteY17" fmla="*/ 478 h 22487"/>
                    <a:gd name="connsiteX18" fmla="*/ 35346 w 57714"/>
                    <a:gd name="connsiteY18" fmla="*/ 598 h 22487"/>
                    <a:gd name="connsiteX19" fmla="*/ 37499 w 57714"/>
                    <a:gd name="connsiteY19" fmla="*/ 777 h 22487"/>
                    <a:gd name="connsiteX20" fmla="*/ 37499 w 57714"/>
                    <a:gd name="connsiteY20" fmla="*/ 777 h 22487"/>
                    <a:gd name="connsiteX21" fmla="*/ 37559 w 57714"/>
                    <a:gd name="connsiteY21" fmla="*/ 777 h 22487"/>
                    <a:gd name="connsiteX22" fmla="*/ 37978 w 57714"/>
                    <a:gd name="connsiteY22" fmla="*/ 837 h 22487"/>
                    <a:gd name="connsiteX23" fmla="*/ 41028 w 57714"/>
                    <a:gd name="connsiteY23" fmla="*/ 1794 h 22487"/>
                    <a:gd name="connsiteX24" fmla="*/ 47368 w 57714"/>
                    <a:gd name="connsiteY24" fmla="*/ 3768 h 22487"/>
                    <a:gd name="connsiteX25" fmla="*/ 48145 w 57714"/>
                    <a:gd name="connsiteY25" fmla="*/ 4007 h 22487"/>
                    <a:gd name="connsiteX26" fmla="*/ 48325 w 57714"/>
                    <a:gd name="connsiteY26" fmla="*/ 4127 h 22487"/>
                    <a:gd name="connsiteX27" fmla="*/ 50358 w 57714"/>
                    <a:gd name="connsiteY27" fmla="*/ 5143 h 22487"/>
                    <a:gd name="connsiteX28" fmla="*/ 53468 w 57714"/>
                    <a:gd name="connsiteY28" fmla="*/ 6698 h 22487"/>
                    <a:gd name="connsiteX29" fmla="*/ 53648 w 57714"/>
                    <a:gd name="connsiteY29" fmla="*/ 6758 h 22487"/>
                    <a:gd name="connsiteX30" fmla="*/ 53648 w 57714"/>
                    <a:gd name="connsiteY30" fmla="*/ 6758 h 22487"/>
                    <a:gd name="connsiteX31" fmla="*/ 54066 w 57714"/>
                    <a:gd name="connsiteY31" fmla="*/ 6938 h 22487"/>
                    <a:gd name="connsiteX32" fmla="*/ 54305 w 57714"/>
                    <a:gd name="connsiteY32" fmla="*/ 7057 h 22487"/>
                    <a:gd name="connsiteX33" fmla="*/ 55203 w 57714"/>
                    <a:gd name="connsiteY33" fmla="*/ 7536 h 22487"/>
                    <a:gd name="connsiteX34" fmla="*/ 55262 w 57714"/>
                    <a:gd name="connsiteY34" fmla="*/ 7715 h 22487"/>
                    <a:gd name="connsiteX35" fmla="*/ 55681 w 57714"/>
                    <a:gd name="connsiteY35" fmla="*/ 8851 h 22487"/>
                    <a:gd name="connsiteX36" fmla="*/ 55681 w 57714"/>
                    <a:gd name="connsiteY36" fmla="*/ 8851 h 22487"/>
                    <a:gd name="connsiteX37" fmla="*/ 56518 w 57714"/>
                    <a:gd name="connsiteY37" fmla="*/ 11184 h 22487"/>
                    <a:gd name="connsiteX38" fmla="*/ 56757 w 57714"/>
                    <a:gd name="connsiteY38" fmla="*/ 11782 h 22487"/>
                    <a:gd name="connsiteX39" fmla="*/ 57236 w 57714"/>
                    <a:gd name="connsiteY39" fmla="*/ 13098 h 22487"/>
                    <a:gd name="connsiteX40" fmla="*/ 57535 w 57714"/>
                    <a:gd name="connsiteY40" fmla="*/ 13935 h 22487"/>
                    <a:gd name="connsiteX41" fmla="*/ 57714 w 57714"/>
                    <a:gd name="connsiteY41" fmla="*/ 14473 h 22487"/>
                    <a:gd name="connsiteX42" fmla="*/ 57056 w 57714"/>
                    <a:gd name="connsiteY42" fmla="*/ 15849 h 22487"/>
                    <a:gd name="connsiteX43" fmla="*/ 54963 w 57714"/>
                    <a:gd name="connsiteY43" fmla="*/ 20394 h 22487"/>
                    <a:gd name="connsiteX44" fmla="*/ 54903 w 57714"/>
                    <a:gd name="connsiteY44" fmla="*/ 20454 h 22487"/>
                    <a:gd name="connsiteX45" fmla="*/ 52870 w 57714"/>
                    <a:gd name="connsiteY45" fmla="*/ 22308 h 22487"/>
                    <a:gd name="connsiteX46" fmla="*/ 52631 w 57714"/>
                    <a:gd name="connsiteY46" fmla="*/ 22487 h 22487"/>
                    <a:gd name="connsiteX47" fmla="*/ 52271 w 57714"/>
                    <a:gd name="connsiteY47" fmla="*/ 22308 h 22487"/>
                    <a:gd name="connsiteX48" fmla="*/ 51554 w 57714"/>
                    <a:gd name="connsiteY48" fmla="*/ 21889 h 22487"/>
                    <a:gd name="connsiteX49" fmla="*/ 50538 w 57714"/>
                    <a:gd name="connsiteY49" fmla="*/ 21291 h 22487"/>
                    <a:gd name="connsiteX50" fmla="*/ 50118 w 57714"/>
                    <a:gd name="connsiteY50" fmla="*/ 21052 h 22487"/>
                    <a:gd name="connsiteX51" fmla="*/ 50118 w 57714"/>
                    <a:gd name="connsiteY51" fmla="*/ 21052 h 22487"/>
                    <a:gd name="connsiteX52" fmla="*/ 50118 w 57714"/>
                    <a:gd name="connsiteY52" fmla="*/ 21052 h 22487"/>
                    <a:gd name="connsiteX53" fmla="*/ 49640 w 57714"/>
                    <a:gd name="connsiteY53" fmla="*/ 20753 h 2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714" h="22487">
                      <a:moveTo>
                        <a:pt x="120" y="10825"/>
                      </a:moveTo>
                      <a:lnTo>
                        <a:pt x="0" y="8672"/>
                      </a:lnTo>
                      <a:lnTo>
                        <a:pt x="539" y="5741"/>
                      </a:lnTo>
                      <a:lnTo>
                        <a:pt x="539" y="5741"/>
                      </a:lnTo>
                      <a:lnTo>
                        <a:pt x="1077" y="4785"/>
                      </a:lnTo>
                      <a:lnTo>
                        <a:pt x="1555" y="3887"/>
                      </a:lnTo>
                      <a:lnTo>
                        <a:pt x="6998" y="2572"/>
                      </a:lnTo>
                      <a:lnTo>
                        <a:pt x="12500" y="1196"/>
                      </a:lnTo>
                      <a:lnTo>
                        <a:pt x="15491" y="957"/>
                      </a:lnTo>
                      <a:lnTo>
                        <a:pt x="27153" y="60"/>
                      </a:lnTo>
                      <a:lnTo>
                        <a:pt x="27751" y="0"/>
                      </a:lnTo>
                      <a:lnTo>
                        <a:pt x="29306" y="120"/>
                      </a:lnTo>
                      <a:lnTo>
                        <a:pt x="30023" y="179"/>
                      </a:lnTo>
                      <a:lnTo>
                        <a:pt x="30921" y="239"/>
                      </a:lnTo>
                      <a:lnTo>
                        <a:pt x="33014" y="419"/>
                      </a:lnTo>
                      <a:lnTo>
                        <a:pt x="33133" y="419"/>
                      </a:lnTo>
                      <a:lnTo>
                        <a:pt x="33253" y="419"/>
                      </a:lnTo>
                      <a:lnTo>
                        <a:pt x="34031" y="478"/>
                      </a:lnTo>
                      <a:lnTo>
                        <a:pt x="35346" y="598"/>
                      </a:lnTo>
                      <a:lnTo>
                        <a:pt x="37499" y="777"/>
                      </a:lnTo>
                      <a:lnTo>
                        <a:pt x="37499" y="777"/>
                      </a:lnTo>
                      <a:lnTo>
                        <a:pt x="37559" y="777"/>
                      </a:lnTo>
                      <a:lnTo>
                        <a:pt x="37978" y="837"/>
                      </a:lnTo>
                      <a:lnTo>
                        <a:pt x="41028" y="1794"/>
                      </a:lnTo>
                      <a:lnTo>
                        <a:pt x="47368" y="3768"/>
                      </a:lnTo>
                      <a:lnTo>
                        <a:pt x="48145" y="4007"/>
                      </a:lnTo>
                      <a:lnTo>
                        <a:pt x="48325" y="4127"/>
                      </a:lnTo>
                      <a:lnTo>
                        <a:pt x="50358" y="5143"/>
                      </a:lnTo>
                      <a:lnTo>
                        <a:pt x="53468" y="6698"/>
                      </a:lnTo>
                      <a:lnTo>
                        <a:pt x="53648" y="6758"/>
                      </a:lnTo>
                      <a:lnTo>
                        <a:pt x="53648" y="6758"/>
                      </a:lnTo>
                      <a:lnTo>
                        <a:pt x="54066" y="6938"/>
                      </a:lnTo>
                      <a:lnTo>
                        <a:pt x="54305" y="7057"/>
                      </a:lnTo>
                      <a:lnTo>
                        <a:pt x="55203" y="7536"/>
                      </a:lnTo>
                      <a:lnTo>
                        <a:pt x="55262" y="7715"/>
                      </a:lnTo>
                      <a:lnTo>
                        <a:pt x="55681" y="8851"/>
                      </a:lnTo>
                      <a:lnTo>
                        <a:pt x="55681" y="8851"/>
                      </a:lnTo>
                      <a:lnTo>
                        <a:pt x="56518" y="11184"/>
                      </a:lnTo>
                      <a:lnTo>
                        <a:pt x="56757" y="11782"/>
                      </a:lnTo>
                      <a:lnTo>
                        <a:pt x="57236" y="13098"/>
                      </a:lnTo>
                      <a:lnTo>
                        <a:pt x="57535" y="13935"/>
                      </a:lnTo>
                      <a:lnTo>
                        <a:pt x="57714" y="14473"/>
                      </a:lnTo>
                      <a:lnTo>
                        <a:pt x="57056" y="15849"/>
                      </a:lnTo>
                      <a:lnTo>
                        <a:pt x="54963" y="20394"/>
                      </a:lnTo>
                      <a:lnTo>
                        <a:pt x="54903" y="20454"/>
                      </a:lnTo>
                      <a:lnTo>
                        <a:pt x="52870" y="22308"/>
                      </a:lnTo>
                      <a:lnTo>
                        <a:pt x="52631" y="22487"/>
                      </a:lnTo>
                      <a:lnTo>
                        <a:pt x="52271" y="22308"/>
                      </a:lnTo>
                      <a:lnTo>
                        <a:pt x="51554" y="21889"/>
                      </a:lnTo>
                      <a:lnTo>
                        <a:pt x="50538" y="21291"/>
                      </a:lnTo>
                      <a:lnTo>
                        <a:pt x="50118" y="21052"/>
                      </a:lnTo>
                      <a:lnTo>
                        <a:pt x="50118" y="21052"/>
                      </a:lnTo>
                      <a:lnTo>
                        <a:pt x="50118" y="21052"/>
                      </a:lnTo>
                      <a:lnTo>
                        <a:pt x="49640" y="20753"/>
                      </a:lnTo>
                    </a:path>
                  </a:pathLst>
                </a:custGeom>
                <a:noFill/>
                <a:ln w="6350" cap="rnd">
                  <a:solidFill>
                    <a:schemeClr val="bg1">
                      <a:alpha val="40000"/>
                    </a:schemeClr>
                  </a:solidFill>
                  <a:prstDash val="solid"/>
                  <a:round/>
                </a:ln>
              </p:spPr>
              <p:txBody>
                <a:bodyPr rtlCol="0" anchor="ctr"/>
                <a:lstStyle/>
                <a:p>
                  <a:endParaRPr lang="en-GB"/>
                </a:p>
              </p:txBody>
            </p:sp>
            <p:sp>
              <p:nvSpPr>
                <p:cNvPr id="6707" name="Vrije vorm: vorm 6706">
                  <a:extLst>
                    <a:ext uri="{FF2B5EF4-FFF2-40B4-BE49-F238E27FC236}">
                      <a16:creationId xmlns:a16="http://schemas.microsoft.com/office/drawing/2014/main" id="{E81CCC5C-9C7C-4A9E-8069-552829F5C8DA}"/>
                    </a:ext>
                  </a:extLst>
                </p:cNvPr>
                <p:cNvSpPr/>
                <p:nvPr/>
              </p:nvSpPr>
              <p:spPr>
                <a:xfrm>
                  <a:off x="6906916" y="1933787"/>
                  <a:ext cx="42522" cy="46410"/>
                </a:xfrm>
                <a:custGeom>
                  <a:avLst/>
                  <a:gdLst>
                    <a:gd name="connsiteX0" fmla="*/ 0 w 42522"/>
                    <a:gd name="connsiteY0" fmla="*/ 3170 h 46410"/>
                    <a:gd name="connsiteX1" fmla="*/ 1136 w 42522"/>
                    <a:gd name="connsiteY1" fmla="*/ 1615 h 46410"/>
                    <a:gd name="connsiteX2" fmla="*/ 1196 w 42522"/>
                    <a:gd name="connsiteY2" fmla="*/ 1495 h 46410"/>
                    <a:gd name="connsiteX3" fmla="*/ 1196 w 42522"/>
                    <a:gd name="connsiteY3" fmla="*/ 1495 h 46410"/>
                    <a:gd name="connsiteX4" fmla="*/ 1256 w 42522"/>
                    <a:gd name="connsiteY4" fmla="*/ 1435 h 46410"/>
                    <a:gd name="connsiteX5" fmla="*/ 1435 w 42522"/>
                    <a:gd name="connsiteY5" fmla="*/ 1196 h 46410"/>
                    <a:gd name="connsiteX6" fmla="*/ 1734 w 42522"/>
                    <a:gd name="connsiteY6" fmla="*/ 837 h 46410"/>
                    <a:gd name="connsiteX7" fmla="*/ 1914 w 42522"/>
                    <a:gd name="connsiteY7" fmla="*/ 598 h 46410"/>
                    <a:gd name="connsiteX8" fmla="*/ 2093 w 42522"/>
                    <a:gd name="connsiteY8" fmla="*/ 359 h 46410"/>
                    <a:gd name="connsiteX9" fmla="*/ 2871 w 42522"/>
                    <a:gd name="connsiteY9" fmla="*/ 0 h 46410"/>
                    <a:gd name="connsiteX10" fmla="*/ 4246 w 42522"/>
                    <a:gd name="connsiteY10" fmla="*/ 478 h 46410"/>
                    <a:gd name="connsiteX11" fmla="*/ 4724 w 42522"/>
                    <a:gd name="connsiteY11" fmla="*/ 658 h 46410"/>
                    <a:gd name="connsiteX12" fmla="*/ 5622 w 42522"/>
                    <a:gd name="connsiteY12" fmla="*/ 957 h 46410"/>
                    <a:gd name="connsiteX13" fmla="*/ 5681 w 42522"/>
                    <a:gd name="connsiteY13" fmla="*/ 957 h 46410"/>
                    <a:gd name="connsiteX14" fmla="*/ 6279 w 42522"/>
                    <a:gd name="connsiteY14" fmla="*/ 1196 h 46410"/>
                    <a:gd name="connsiteX15" fmla="*/ 8971 w 42522"/>
                    <a:gd name="connsiteY15" fmla="*/ 2093 h 46410"/>
                    <a:gd name="connsiteX16" fmla="*/ 11961 w 42522"/>
                    <a:gd name="connsiteY16" fmla="*/ 3110 h 46410"/>
                    <a:gd name="connsiteX17" fmla="*/ 12260 w 42522"/>
                    <a:gd name="connsiteY17" fmla="*/ 3230 h 46410"/>
                    <a:gd name="connsiteX18" fmla="*/ 13038 w 42522"/>
                    <a:gd name="connsiteY18" fmla="*/ 3648 h 46410"/>
                    <a:gd name="connsiteX19" fmla="*/ 15072 w 42522"/>
                    <a:gd name="connsiteY19" fmla="*/ 4785 h 46410"/>
                    <a:gd name="connsiteX20" fmla="*/ 17523 w 42522"/>
                    <a:gd name="connsiteY20" fmla="*/ 6160 h 46410"/>
                    <a:gd name="connsiteX21" fmla="*/ 19138 w 42522"/>
                    <a:gd name="connsiteY21" fmla="*/ 7057 h 46410"/>
                    <a:gd name="connsiteX22" fmla="*/ 19497 w 42522"/>
                    <a:gd name="connsiteY22" fmla="*/ 7296 h 46410"/>
                    <a:gd name="connsiteX23" fmla="*/ 20454 w 42522"/>
                    <a:gd name="connsiteY23" fmla="*/ 7835 h 46410"/>
                    <a:gd name="connsiteX24" fmla="*/ 22368 w 42522"/>
                    <a:gd name="connsiteY24" fmla="*/ 8911 h 46410"/>
                    <a:gd name="connsiteX25" fmla="*/ 23504 w 42522"/>
                    <a:gd name="connsiteY25" fmla="*/ 9569 h 46410"/>
                    <a:gd name="connsiteX26" fmla="*/ 23564 w 42522"/>
                    <a:gd name="connsiteY26" fmla="*/ 9569 h 46410"/>
                    <a:gd name="connsiteX27" fmla="*/ 24162 w 42522"/>
                    <a:gd name="connsiteY27" fmla="*/ 9868 h 46410"/>
                    <a:gd name="connsiteX28" fmla="*/ 24700 w 42522"/>
                    <a:gd name="connsiteY28" fmla="*/ 10287 h 46410"/>
                    <a:gd name="connsiteX29" fmla="*/ 24760 w 42522"/>
                    <a:gd name="connsiteY29" fmla="*/ 10347 h 46410"/>
                    <a:gd name="connsiteX30" fmla="*/ 25657 w 42522"/>
                    <a:gd name="connsiteY30" fmla="*/ 11064 h 46410"/>
                    <a:gd name="connsiteX31" fmla="*/ 26016 w 42522"/>
                    <a:gd name="connsiteY31" fmla="*/ 11363 h 46410"/>
                    <a:gd name="connsiteX32" fmla="*/ 27391 w 42522"/>
                    <a:gd name="connsiteY32" fmla="*/ 12440 h 46410"/>
                    <a:gd name="connsiteX33" fmla="*/ 28289 w 42522"/>
                    <a:gd name="connsiteY33" fmla="*/ 13158 h 46410"/>
                    <a:gd name="connsiteX34" fmla="*/ 30262 w 42522"/>
                    <a:gd name="connsiteY34" fmla="*/ 14713 h 46410"/>
                    <a:gd name="connsiteX35" fmla="*/ 31578 w 42522"/>
                    <a:gd name="connsiteY35" fmla="*/ 15789 h 46410"/>
                    <a:gd name="connsiteX36" fmla="*/ 33552 w 42522"/>
                    <a:gd name="connsiteY36" fmla="*/ 18062 h 46410"/>
                    <a:gd name="connsiteX37" fmla="*/ 34389 w 42522"/>
                    <a:gd name="connsiteY37" fmla="*/ 19019 h 46410"/>
                    <a:gd name="connsiteX38" fmla="*/ 34748 w 42522"/>
                    <a:gd name="connsiteY38" fmla="*/ 19437 h 46410"/>
                    <a:gd name="connsiteX39" fmla="*/ 35765 w 42522"/>
                    <a:gd name="connsiteY39" fmla="*/ 20574 h 46410"/>
                    <a:gd name="connsiteX40" fmla="*/ 38277 w 42522"/>
                    <a:gd name="connsiteY40" fmla="*/ 23504 h 46410"/>
                    <a:gd name="connsiteX41" fmla="*/ 38396 w 42522"/>
                    <a:gd name="connsiteY41" fmla="*/ 23684 h 46410"/>
                    <a:gd name="connsiteX42" fmla="*/ 41985 w 42522"/>
                    <a:gd name="connsiteY42" fmla="*/ 29126 h 46410"/>
                    <a:gd name="connsiteX43" fmla="*/ 41985 w 42522"/>
                    <a:gd name="connsiteY43" fmla="*/ 29186 h 46410"/>
                    <a:gd name="connsiteX44" fmla="*/ 42403 w 42522"/>
                    <a:gd name="connsiteY44" fmla="*/ 29784 h 46410"/>
                    <a:gd name="connsiteX45" fmla="*/ 42523 w 42522"/>
                    <a:gd name="connsiteY45" fmla="*/ 29963 h 46410"/>
                    <a:gd name="connsiteX46" fmla="*/ 42164 w 42522"/>
                    <a:gd name="connsiteY46" fmla="*/ 30861 h 46410"/>
                    <a:gd name="connsiteX47" fmla="*/ 41985 w 42522"/>
                    <a:gd name="connsiteY47" fmla="*/ 31279 h 46410"/>
                    <a:gd name="connsiteX48" fmla="*/ 41865 w 42522"/>
                    <a:gd name="connsiteY48" fmla="*/ 31578 h 46410"/>
                    <a:gd name="connsiteX49" fmla="*/ 41506 w 42522"/>
                    <a:gd name="connsiteY49" fmla="*/ 32356 h 46410"/>
                    <a:gd name="connsiteX50" fmla="*/ 41446 w 42522"/>
                    <a:gd name="connsiteY50" fmla="*/ 32415 h 46410"/>
                    <a:gd name="connsiteX51" fmla="*/ 41028 w 42522"/>
                    <a:gd name="connsiteY51" fmla="*/ 33372 h 46410"/>
                    <a:gd name="connsiteX52" fmla="*/ 40609 w 42522"/>
                    <a:gd name="connsiteY52" fmla="*/ 34389 h 46410"/>
                    <a:gd name="connsiteX53" fmla="*/ 40370 w 42522"/>
                    <a:gd name="connsiteY53" fmla="*/ 34927 h 46410"/>
                    <a:gd name="connsiteX54" fmla="*/ 40370 w 42522"/>
                    <a:gd name="connsiteY54" fmla="*/ 34987 h 46410"/>
                    <a:gd name="connsiteX55" fmla="*/ 40190 w 42522"/>
                    <a:gd name="connsiteY55" fmla="*/ 35406 h 46410"/>
                    <a:gd name="connsiteX56" fmla="*/ 40071 w 42522"/>
                    <a:gd name="connsiteY56" fmla="*/ 35705 h 46410"/>
                    <a:gd name="connsiteX57" fmla="*/ 40071 w 42522"/>
                    <a:gd name="connsiteY57" fmla="*/ 35765 h 46410"/>
                    <a:gd name="connsiteX58" fmla="*/ 39831 w 42522"/>
                    <a:gd name="connsiteY58" fmla="*/ 36303 h 46410"/>
                    <a:gd name="connsiteX59" fmla="*/ 39831 w 42522"/>
                    <a:gd name="connsiteY59" fmla="*/ 36303 h 46410"/>
                    <a:gd name="connsiteX60" fmla="*/ 39473 w 42522"/>
                    <a:gd name="connsiteY60" fmla="*/ 37140 h 46410"/>
                    <a:gd name="connsiteX61" fmla="*/ 39353 w 42522"/>
                    <a:gd name="connsiteY61" fmla="*/ 37499 h 46410"/>
                    <a:gd name="connsiteX62" fmla="*/ 39233 w 42522"/>
                    <a:gd name="connsiteY62" fmla="*/ 37798 h 46410"/>
                    <a:gd name="connsiteX63" fmla="*/ 38875 w 42522"/>
                    <a:gd name="connsiteY63" fmla="*/ 38635 h 46410"/>
                    <a:gd name="connsiteX64" fmla="*/ 38635 w 42522"/>
                    <a:gd name="connsiteY64" fmla="*/ 39234 h 46410"/>
                    <a:gd name="connsiteX65" fmla="*/ 38456 w 42522"/>
                    <a:gd name="connsiteY65" fmla="*/ 39592 h 46410"/>
                    <a:gd name="connsiteX66" fmla="*/ 38456 w 42522"/>
                    <a:gd name="connsiteY66" fmla="*/ 39592 h 46410"/>
                    <a:gd name="connsiteX67" fmla="*/ 37977 w 42522"/>
                    <a:gd name="connsiteY67" fmla="*/ 40729 h 46410"/>
                    <a:gd name="connsiteX68" fmla="*/ 37380 w 42522"/>
                    <a:gd name="connsiteY68" fmla="*/ 42164 h 46410"/>
                    <a:gd name="connsiteX69" fmla="*/ 36482 w 42522"/>
                    <a:gd name="connsiteY69" fmla="*/ 43001 h 46410"/>
                    <a:gd name="connsiteX70" fmla="*/ 34867 w 42522"/>
                    <a:gd name="connsiteY70" fmla="*/ 44556 h 46410"/>
                    <a:gd name="connsiteX71" fmla="*/ 33791 w 42522"/>
                    <a:gd name="connsiteY71" fmla="*/ 45573 h 46410"/>
                    <a:gd name="connsiteX72" fmla="*/ 33252 w 42522"/>
                    <a:gd name="connsiteY72" fmla="*/ 46111 h 46410"/>
                    <a:gd name="connsiteX73" fmla="*/ 32954 w 42522"/>
                    <a:gd name="connsiteY73" fmla="*/ 46410 h 46410"/>
                    <a:gd name="connsiteX74" fmla="*/ 32655 w 42522"/>
                    <a:gd name="connsiteY74" fmla="*/ 46291 h 46410"/>
                    <a:gd name="connsiteX75" fmla="*/ 32655 w 42522"/>
                    <a:gd name="connsiteY75" fmla="*/ 46291 h 46410"/>
                    <a:gd name="connsiteX76" fmla="*/ 32057 w 42522"/>
                    <a:gd name="connsiteY76" fmla="*/ 45992 h 46410"/>
                    <a:gd name="connsiteX77" fmla="*/ 31817 w 42522"/>
                    <a:gd name="connsiteY77" fmla="*/ 45872 h 46410"/>
                    <a:gd name="connsiteX78" fmla="*/ 31757 w 42522"/>
                    <a:gd name="connsiteY78" fmla="*/ 45812 h 46410"/>
                    <a:gd name="connsiteX79" fmla="*/ 31040 w 42522"/>
                    <a:gd name="connsiteY79" fmla="*/ 45334 h 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2522" h="46410">
                      <a:moveTo>
                        <a:pt x="0" y="3170"/>
                      </a:moveTo>
                      <a:lnTo>
                        <a:pt x="1136" y="1615"/>
                      </a:lnTo>
                      <a:lnTo>
                        <a:pt x="1196" y="1495"/>
                      </a:lnTo>
                      <a:lnTo>
                        <a:pt x="1196" y="1495"/>
                      </a:lnTo>
                      <a:lnTo>
                        <a:pt x="1256" y="1435"/>
                      </a:lnTo>
                      <a:lnTo>
                        <a:pt x="1435" y="1196"/>
                      </a:lnTo>
                      <a:lnTo>
                        <a:pt x="1734" y="837"/>
                      </a:lnTo>
                      <a:lnTo>
                        <a:pt x="1914" y="598"/>
                      </a:lnTo>
                      <a:lnTo>
                        <a:pt x="2093" y="359"/>
                      </a:lnTo>
                      <a:lnTo>
                        <a:pt x="2871" y="0"/>
                      </a:lnTo>
                      <a:lnTo>
                        <a:pt x="4246" y="478"/>
                      </a:lnTo>
                      <a:lnTo>
                        <a:pt x="4724" y="658"/>
                      </a:lnTo>
                      <a:lnTo>
                        <a:pt x="5622" y="957"/>
                      </a:lnTo>
                      <a:lnTo>
                        <a:pt x="5681" y="957"/>
                      </a:lnTo>
                      <a:lnTo>
                        <a:pt x="6279" y="1196"/>
                      </a:lnTo>
                      <a:lnTo>
                        <a:pt x="8971" y="2093"/>
                      </a:lnTo>
                      <a:lnTo>
                        <a:pt x="11961" y="3110"/>
                      </a:lnTo>
                      <a:lnTo>
                        <a:pt x="12260" y="3230"/>
                      </a:lnTo>
                      <a:lnTo>
                        <a:pt x="13038" y="3648"/>
                      </a:lnTo>
                      <a:lnTo>
                        <a:pt x="15072" y="4785"/>
                      </a:lnTo>
                      <a:lnTo>
                        <a:pt x="17523" y="6160"/>
                      </a:lnTo>
                      <a:lnTo>
                        <a:pt x="19138" y="7057"/>
                      </a:lnTo>
                      <a:lnTo>
                        <a:pt x="19497" y="7296"/>
                      </a:lnTo>
                      <a:lnTo>
                        <a:pt x="20454" y="7835"/>
                      </a:lnTo>
                      <a:lnTo>
                        <a:pt x="22368" y="8911"/>
                      </a:lnTo>
                      <a:lnTo>
                        <a:pt x="23504" y="9569"/>
                      </a:lnTo>
                      <a:lnTo>
                        <a:pt x="23564" y="9569"/>
                      </a:lnTo>
                      <a:lnTo>
                        <a:pt x="24162" y="9868"/>
                      </a:lnTo>
                      <a:lnTo>
                        <a:pt x="24700" y="10287"/>
                      </a:lnTo>
                      <a:lnTo>
                        <a:pt x="24760" y="10347"/>
                      </a:lnTo>
                      <a:lnTo>
                        <a:pt x="25657" y="11064"/>
                      </a:lnTo>
                      <a:lnTo>
                        <a:pt x="26016" y="11363"/>
                      </a:lnTo>
                      <a:lnTo>
                        <a:pt x="27391" y="12440"/>
                      </a:lnTo>
                      <a:lnTo>
                        <a:pt x="28289" y="13158"/>
                      </a:lnTo>
                      <a:lnTo>
                        <a:pt x="30262" y="14713"/>
                      </a:lnTo>
                      <a:lnTo>
                        <a:pt x="31578" y="15789"/>
                      </a:lnTo>
                      <a:lnTo>
                        <a:pt x="33552" y="18062"/>
                      </a:lnTo>
                      <a:lnTo>
                        <a:pt x="34389" y="19019"/>
                      </a:lnTo>
                      <a:lnTo>
                        <a:pt x="34748" y="19437"/>
                      </a:lnTo>
                      <a:lnTo>
                        <a:pt x="35765" y="20574"/>
                      </a:lnTo>
                      <a:lnTo>
                        <a:pt x="38277" y="23504"/>
                      </a:lnTo>
                      <a:lnTo>
                        <a:pt x="38396" y="23684"/>
                      </a:lnTo>
                      <a:lnTo>
                        <a:pt x="41985" y="29126"/>
                      </a:lnTo>
                      <a:lnTo>
                        <a:pt x="41985" y="29186"/>
                      </a:lnTo>
                      <a:lnTo>
                        <a:pt x="42403" y="29784"/>
                      </a:lnTo>
                      <a:lnTo>
                        <a:pt x="42523" y="29963"/>
                      </a:lnTo>
                      <a:lnTo>
                        <a:pt x="42164" y="30861"/>
                      </a:lnTo>
                      <a:lnTo>
                        <a:pt x="41985" y="31279"/>
                      </a:lnTo>
                      <a:lnTo>
                        <a:pt x="41865" y="31578"/>
                      </a:lnTo>
                      <a:lnTo>
                        <a:pt x="41506" y="32356"/>
                      </a:lnTo>
                      <a:lnTo>
                        <a:pt x="41446" y="32415"/>
                      </a:lnTo>
                      <a:lnTo>
                        <a:pt x="41028" y="33372"/>
                      </a:lnTo>
                      <a:lnTo>
                        <a:pt x="40609" y="34389"/>
                      </a:lnTo>
                      <a:lnTo>
                        <a:pt x="40370" y="34927"/>
                      </a:lnTo>
                      <a:lnTo>
                        <a:pt x="40370" y="34987"/>
                      </a:lnTo>
                      <a:lnTo>
                        <a:pt x="40190" y="35406"/>
                      </a:lnTo>
                      <a:lnTo>
                        <a:pt x="40071" y="35705"/>
                      </a:lnTo>
                      <a:lnTo>
                        <a:pt x="40071" y="35765"/>
                      </a:lnTo>
                      <a:lnTo>
                        <a:pt x="39831" y="36303"/>
                      </a:lnTo>
                      <a:lnTo>
                        <a:pt x="39831" y="36303"/>
                      </a:lnTo>
                      <a:lnTo>
                        <a:pt x="39473" y="37140"/>
                      </a:lnTo>
                      <a:lnTo>
                        <a:pt x="39353" y="37499"/>
                      </a:lnTo>
                      <a:lnTo>
                        <a:pt x="39233" y="37798"/>
                      </a:lnTo>
                      <a:lnTo>
                        <a:pt x="38875" y="38635"/>
                      </a:lnTo>
                      <a:lnTo>
                        <a:pt x="38635" y="39234"/>
                      </a:lnTo>
                      <a:lnTo>
                        <a:pt x="38456" y="39592"/>
                      </a:lnTo>
                      <a:lnTo>
                        <a:pt x="38456" y="39592"/>
                      </a:lnTo>
                      <a:lnTo>
                        <a:pt x="37977" y="40729"/>
                      </a:lnTo>
                      <a:lnTo>
                        <a:pt x="37380" y="42164"/>
                      </a:lnTo>
                      <a:lnTo>
                        <a:pt x="36482" y="43001"/>
                      </a:lnTo>
                      <a:lnTo>
                        <a:pt x="34867" y="44556"/>
                      </a:lnTo>
                      <a:lnTo>
                        <a:pt x="33791" y="45573"/>
                      </a:lnTo>
                      <a:lnTo>
                        <a:pt x="33252" y="46111"/>
                      </a:lnTo>
                      <a:lnTo>
                        <a:pt x="32954" y="46410"/>
                      </a:lnTo>
                      <a:lnTo>
                        <a:pt x="32655" y="46291"/>
                      </a:lnTo>
                      <a:lnTo>
                        <a:pt x="32655" y="46291"/>
                      </a:lnTo>
                      <a:lnTo>
                        <a:pt x="32057" y="45992"/>
                      </a:lnTo>
                      <a:lnTo>
                        <a:pt x="31817" y="45872"/>
                      </a:lnTo>
                      <a:lnTo>
                        <a:pt x="31757" y="45812"/>
                      </a:lnTo>
                      <a:lnTo>
                        <a:pt x="31040" y="45334"/>
                      </a:lnTo>
                    </a:path>
                  </a:pathLst>
                </a:custGeom>
                <a:noFill/>
                <a:ln w="6350" cap="rnd">
                  <a:solidFill>
                    <a:schemeClr val="bg1">
                      <a:alpha val="40000"/>
                    </a:schemeClr>
                  </a:solidFill>
                  <a:prstDash val="solid"/>
                  <a:round/>
                </a:ln>
              </p:spPr>
              <p:txBody>
                <a:bodyPr rtlCol="0" anchor="ctr"/>
                <a:lstStyle/>
                <a:p>
                  <a:endParaRPr lang="en-GB"/>
                </a:p>
              </p:txBody>
            </p:sp>
            <p:sp>
              <p:nvSpPr>
                <p:cNvPr id="6708" name="Vrije vorm: vorm 6707">
                  <a:extLst>
                    <a:ext uri="{FF2B5EF4-FFF2-40B4-BE49-F238E27FC236}">
                      <a16:creationId xmlns:a16="http://schemas.microsoft.com/office/drawing/2014/main" id="{0FDFA2C7-3FA4-4BE2-AADF-C04EFAE08BA5}"/>
                    </a:ext>
                  </a:extLst>
                </p:cNvPr>
                <p:cNvSpPr/>
                <p:nvPr/>
              </p:nvSpPr>
              <p:spPr>
                <a:xfrm>
                  <a:off x="6863855" y="2093891"/>
                  <a:ext cx="16148" cy="16686"/>
                </a:xfrm>
                <a:custGeom>
                  <a:avLst/>
                  <a:gdLst>
                    <a:gd name="connsiteX0" fmla="*/ 15431 w 16148"/>
                    <a:gd name="connsiteY0" fmla="*/ 0 h 16686"/>
                    <a:gd name="connsiteX1" fmla="*/ 16148 w 16148"/>
                    <a:gd name="connsiteY1" fmla="*/ 478 h 16686"/>
                    <a:gd name="connsiteX2" fmla="*/ 16148 w 16148"/>
                    <a:gd name="connsiteY2" fmla="*/ 1076 h 16686"/>
                    <a:gd name="connsiteX3" fmla="*/ 16148 w 16148"/>
                    <a:gd name="connsiteY3" fmla="*/ 4725 h 16686"/>
                    <a:gd name="connsiteX4" fmla="*/ 16148 w 16148"/>
                    <a:gd name="connsiteY4" fmla="*/ 4904 h 16686"/>
                    <a:gd name="connsiteX5" fmla="*/ 15789 w 16148"/>
                    <a:gd name="connsiteY5" fmla="*/ 5562 h 16686"/>
                    <a:gd name="connsiteX6" fmla="*/ 10048 w 16148"/>
                    <a:gd name="connsiteY6" fmla="*/ 15490 h 16686"/>
                    <a:gd name="connsiteX7" fmla="*/ 6698 w 16148"/>
                    <a:gd name="connsiteY7" fmla="*/ 16686 h 16686"/>
                    <a:gd name="connsiteX8" fmla="*/ 2273 w 16148"/>
                    <a:gd name="connsiteY8" fmla="*/ 15610 h 16686"/>
                    <a:gd name="connsiteX9" fmla="*/ 0 w 16148"/>
                    <a:gd name="connsiteY9" fmla="*/ 14354 h 1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48" h="16686">
                      <a:moveTo>
                        <a:pt x="15431" y="0"/>
                      </a:moveTo>
                      <a:lnTo>
                        <a:pt x="16148" y="478"/>
                      </a:lnTo>
                      <a:lnTo>
                        <a:pt x="16148" y="1076"/>
                      </a:lnTo>
                      <a:lnTo>
                        <a:pt x="16148" y="4725"/>
                      </a:lnTo>
                      <a:lnTo>
                        <a:pt x="16148" y="4904"/>
                      </a:lnTo>
                      <a:lnTo>
                        <a:pt x="15789" y="5562"/>
                      </a:lnTo>
                      <a:lnTo>
                        <a:pt x="10048" y="15490"/>
                      </a:lnTo>
                      <a:lnTo>
                        <a:pt x="6698" y="16686"/>
                      </a:lnTo>
                      <a:lnTo>
                        <a:pt x="2273" y="15610"/>
                      </a:lnTo>
                      <a:lnTo>
                        <a:pt x="0" y="14354"/>
                      </a:lnTo>
                    </a:path>
                  </a:pathLst>
                </a:custGeom>
                <a:noFill/>
                <a:ln w="6350" cap="rnd">
                  <a:solidFill>
                    <a:schemeClr val="bg1">
                      <a:alpha val="40000"/>
                    </a:schemeClr>
                  </a:solidFill>
                  <a:prstDash val="solid"/>
                  <a:round/>
                </a:ln>
              </p:spPr>
              <p:txBody>
                <a:bodyPr rtlCol="0" anchor="ctr"/>
                <a:lstStyle/>
                <a:p>
                  <a:endParaRPr lang="en-GB"/>
                </a:p>
              </p:txBody>
            </p:sp>
            <p:sp>
              <p:nvSpPr>
                <p:cNvPr id="6709" name="Vrije vorm: vorm 6708">
                  <a:extLst>
                    <a:ext uri="{FF2B5EF4-FFF2-40B4-BE49-F238E27FC236}">
                      <a16:creationId xmlns:a16="http://schemas.microsoft.com/office/drawing/2014/main" id="{A9E6AF68-928E-4CB6-9D7B-53409F10578D}"/>
                    </a:ext>
                  </a:extLst>
                </p:cNvPr>
                <p:cNvSpPr/>
                <p:nvPr/>
              </p:nvSpPr>
              <p:spPr>
                <a:xfrm>
                  <a:off x="6880242" y="2086953"/>
                  <a:ext cx="12978" cy="15848"/>
                </a:xfrm>
                <a:custGeom>
                  <a:avLst/>
                  <a:gdLst>
                    <a:gd name="connsiteX0" fmla="*/ 11005 w 12978"/>
                    <a:gd name="connsiteY0" fmla="*/ 0 h 15848"/>
                    <a:gd name="connsiteX1" fmla="*/ 11663 w 12978"/>
                    <a:gd name="connsiteY1" fmla="*/ 478 h 15848"/>
                    <a:gd name="connsiteX2" fmla="*/ 12679 w 12978"/>
                    <a:gd name="connsiteY2" fmla="*/ 2811 h 15848"/>
                    <a:gd name="connsiteX3" fmla="*/ 12978 w 12978"/>
                    <a:gd name="connsiteY3" fmla="*/ 3469 h 15848"/>
                    <a:gd name="connsiteX4" fmla="*/ 8971 w 12978"/>
                    <a:gd name="connsiteY4" fmla="*/ 13158 h 15848"/>
                    <a:gd name="connsiteX5" fmla="*/ 5144 w 12978"/>
                    <a:gd name="connsiteY5" fmla="*/ 15849 h 15848"/>
                    <a:gd name="connsiteX6" fmla="*/ 1555 w 12978"/>
                    <a:gd name="connsiteY6" fmla="*/ 13756 h 15848"/>
                    <a:gd name="connsiteX7" fmla="*/ 0 w 12978"/>
                    <a:gd name="connsiteY7" fmla="*/ 12141 h 1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78" h="15848">
                      <a:moveTo>
                        <a:pt x="11005" y="0"/>
                      </a:moveTo>
                      <a:lnTo>
                        <a:pt x="11663" y="478"/>
                      </a:lnTo>
                      <a:lnTo>
                        <a:pt x="12679" y="2811"/>
                      </a:lnTo>
                      <a:lnTo>
                        <a:pt x="12978" y="3469"/>
                      </a:lnTo>
                      <a:lnTo>
                        <a:pt x="8971" y="13158"/>
                      </a:lnTo>
                      <a:lnTo>
                        <a:pt x="5144" y="15849"/>
                      </a:lnTo>
                      <a:lnTo>
                        <a:pt x="1555" y="13756"/>
                      </a:lnTo>
                      <a:lnTo>
                        <a:pt x="0" y="12141"/>
                      </a:lnTo>
                    </a:path>
                  </a:pathLst>
                </a:custGeom>
                <a:noFill/>
                <a:ln w="6350" cap="rnd">
                  <a:solidFill>
                    <a:schemeClr val="bg1">
                      <a:alpha val="40000"/>
                    </a:schemeClr>
                  </a:solidFill>
                  <a:prstDash val="solid"/>
                  <a:round/>
                </a:ln>
              </p:spPr>
              <p:txBody>
                <a:bodyPr rtlCol="0" anchor="ctr"/>
                <a:lstStyle/>
                <a:p>
                  <a:endParaRPr lang="en-GB"/>
                </a:p>
              </p:txBody>
            </p:sp>
            <p:sp>
              <p:nvSpPr>
                <p:cNvPr id="6710" name="Vrije vorm: vorm 6709">
                  <a:extLst>
                    <a:ext uri="{FF2B5EF4-FFF2-40B4-BE49-F238E27FC236}">
                      <a16:creationId xmlns:a16="http://schemas.microsoft.com/office/drawing/2014/main" id="{EF4FF36A-C759-4E17-A79E-92EADC03CC94}"/>
                    </a:ext>
                  </a:extLst>
                </p:cNvPr>
                <p:cNvSpPr/>
                <p:nvPr/>
              </p:nvSpPr>
              <p:spPr>
                <a:xfrm>
                  <a:off x="6672053" y="1879063"/>
                  <a:ext cx="7535" cy="10645"/>
                </a:xfrm>
                <a:custGeom>
                  <a:avLst/>
                  <a:gdLst>
                    <a:gd name="connsiteX0" fmla="*/ 0 w 7535"/>
                    <a:gd name="connsiteY0" fmla="*/ 0 h 10645"/>
                    <a:gd name="connsiteX1" fmla="*/ 5502 w 7535"/>
                    <a:gd name="connsiteY1" fmla="*/ 1376 h 10645"/>
                    <a:gd name="connsiteX2" fmla="*/ 6280 w 7535"/>
                    <a:gd name="connsiteY2" fmla="*/ 1555 h 10645"/>
                    <a:gd name="connsiteX3" fmla="*/ 7236 w 7535"/>
                    <a:gd name="connsiteY3" fmla="*/ 1794 h 10645"/>
                    <a:gd name="connsiteX4" fmla="*/ 7536 w 7535"/>
                    <a:gd name="connsiteY4" fmla="*/ 1854 h 10645"/>
                    <a:gd name="connsiteX5" fmla="*/ 7536 w 7535"/>
                    <a:gd name="connsiteY5" fmla="*/ 4246 h 10645"/>
                    <a:gd name="connsiteX6" fmla="*/ 7536 w 7535"/>
                    <a:gd name="connsiteY6" fmla="*/ 6519 h 10645"/>
                    <a:gd name="connsiteX7" fmla="*/ 5562 w 7535"/>
                    <a:gd name="connsiteY7" fmla="*/ 9270 h 10645"/>
                    <a:gd name="connsiteX8" fmla="*/ 2691 w 7535"/>
                    <a:gd name="connsiteY8" fmla="*/ 10227 h 10645"/>
                    <a:gd name="connsiteX9" fmla="*/ 1914 w 7535"/>
                    <a:gd name="connsiteY9" fmla="*/ 10466 h 10645"/>
                    <a:gd name="connsiteX10" fmla="*/ 1316 w 7535"/>
                    <a:gd name="connsiteY10" fmla="*/ 10646 h 10645"/>
                    <a:gd name="connsiteX11" fmla="*/ 119 w 7535"/>
                    <a:gd name="connsiteY11" fmla="*/ 10287 h 1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5" h="10645">
                      <a:moveTo>
                        <a:pt x="0" y="0"/>
                      </a:moveTo>
                      <a:lnTo>
                        <a:pt x="5502" y="1376"/>
                      </a:lnTo>
                      <a:lnTo>
                        <a:pt x="6280" y="1555"/>
                      </a:lnTo>
                      <a:lnTo>
                        <a:pt x="7236" y="1794"/>
                      </a:lnTo>
                      <a:lnTo>
                        <a:pt x="7536" y="1854"/>
                      </a:lnTo>
                      <a:lnTo>
                        <a:pt x="7536" y="4246"/>
                      </a:lnTo>
                      <a:lnTo>
                        <a:pt x="7536" y="6519"/>
                      </a:lnTo>
                      <a:lnTo>
                        <a:pt x="5562" y="9270"/>
                      </a:lnTo>
                      <a:lnTo>
                        <a:pt x="2691" y="10227"/>
                      </a:lnTo>
                      <a:lnTo>
                        <a:pt x="1914" y="10466"/>
                      </a:lnTo>
                      <a:lnTo>
                        <a:pt x="1316" y="10646"/>
                      </a:lnTo>
                      <a:lnTo>
                        <a:pt x="119" y="10287"/>
                      </a:lnTo>
                    </a:path>
                  </a:pathLst>
                </a:custGeom>
                <a:noFill/>
                <a:ln w="6350" cap="rnd">
                  <a:solidFill>
                    <a:schemeClr val="bg1">
                      <a:alpha val="40000"/>
                    </a:schemeClr>
                  </a:solidFill>
                  <a:prstDash val="solid"/>
                  <a:round/>
                </a:ln>
              </p:spPr>
              <p:txBody>
                <a:bodyPr rtlCol="0" anchor="ctr"/>
                <a:lstStyle/>
                <a:p>
                  <a:endParaRPr lang="en-GB"/>
                </a:p>
              </p:txBody>
            </p:sp>
            <p:sp>
              <p:nvSpPr>
                <p:cNvPr id="6711" name="Vrije vorm: vorm 6710">
                  <a:extLst>
                    <a:ext uri="{FF2B5EF4-FFF2-40B4-BE49-F238E27FC236}">
                      <a16:creationId xmlns:a16="http://schemas.microsoft.com/office/drawing/2014/main" id="{D4E8FD64-C79B-4311-AD3F-E4793E2D641F}"/>
                    </a:ext>
                  </a:extLst>
                </p:cNvPr>
                <p:cNvSpPr/>
                <p:nvPr/>
              </p:nvSpPr>
              <p:spPr>
                <a:xfrm>
                  <a:off x="6740592" y="1853645"/>
                  <a:ext cx="1913" cy="897"/>
                </a:xfrm>
                <a:custGeom>
                  <a:avLst/>
                  <a:gdLst>
                    <a:gd name="connsiteX0" fmla="*/ 1914 w 1913"/>
                    <a:gd name="connsiteY0" fmla="*/ 0 h 897"/>
                    <a:gd name="connsiteX1" fmla="*/ 598 w 1913"/>
                    <a:gd name="connsiteY1" fmla="*/ 897 h 897"/>
                    <a:gd name="connsiteX2" fmla="*/ 0 w 1913"/>
                    <a:gd name="connsiteY2" fmla="*/ 478 h 897"/>
                  </a:gdLst>
                  <a:ahLst/>
                  <a:cxnLst>
                    <a:cxn ang="0">
                      <a:pos x="connsiteX0" y="connsiteY0"/>
                    </a:cxn>
                    <a:cxn ang="0">
                      <a:pos x="connsiteX1" y="connsiteY1"/>
                    </a:cxn>
                    <a:cxn ang="0">
                      <a:pos x="connsiteX2" y="connsiteY2"/>
                    </a:cxn>
                  </a:cxnLst>
                  <a:rect l="l" t="t" r="r" b="b"/>
                  <a:pathLst>
                    <a:path w="1913" h="897">
                      <a:moveTo>
                        <a:pt x="1914" y="0"/>
                      </a:moveTo>
                      <a:lnTo>
                        <a:pt x="598" y="897"/>
                      </a:lnTo>
                      <a:lnTo>
                        <a:pt x="0" y="478"/>
                      </a:lnTo>
                    </a:path>
                  </a:pathLst>
                </a:custGeom>
                <a:noFill/>
                <a:ln w="6350" cap="rnd">
                  <a:solidFill>
                    <a:schemeClr val="bg1">
                      <a:alpha val="40000"/>
                    </a:schemeClr>
                  </a:solidFill>
                  <a:prstDash val="solid"/>
                  <a:round/>
                </a:ln>
              </p:spPr>
              <p:txBody>
                <a:bodyPr rtlCol="0" anchor="ctr"/>
                <a:lstStyle/>
                <a:p>
                  <a:endParaRPr lang="en-GB"/>
                </a:p>
              </p:txBody>
            </p:sp>
            <p:sp>
              <p:nvSpPr>
                <p:cNvPr id="6712" name="Vrije vorm: vorm 6711">
                  <a:extLst>
                    <a:ext uri="{FF2B5EF4-FFF2-40B4-BE49-F238E27FC236}">
                      <a16:creationId xmlns:a16="http://schemas.microsoft.com/office/drawing/2014/main" id="{2281750D-53FA-403D-A978-3D4D1CEA7437}"/>
                    </a:ext>
                  </a:extLst>
                </p:cNvPr>
                <p:cNvSpPr/>
                <p:nvPr/>
              </p:nvSpPr>
              <p:spPr>
                <a:xfrm>
                  <a:off x="6625284" y="1950234"/>
                  <a:ext cx="36841" cy="17702"/>
                </a:xfrm>
                <a:custGeom>
                  <a:avLst/>
                  <a:gdLst>
                    <a:gd name="connsiteX0" fmla="*/ 35645 w 36841"/>
                    <a:gd name="connsiteY0" fmla="*/ 0 h 17702"/>
                    <a:gd name="connsiteX1" fmla="*/ 36243 w 36841"/>
                    <a:gd name="connsiteY1" fmla="*/ 419 h 17702"/>
                    <a:gd name="connsiteX2" fmla="*/ 36722 w 36841"/>
                    <a:gd name="connsiteY2" fmla="*/ 1734 h 17702"/>
                    <a:gd name="connsiteX3" fmla="*/ 36841 w 36841"/>
                    <a:gd name="connsiteY3" fmla="*/ 2093 h 17702"/>
                    <a:gd name="connsiteX4" fmla="*/ 34808 w 36841"/>
                    <a:gd name="connsiteY4" fmla="*/ 6459 h 17702"/>
                    <a:gd name="connsiteX5" fmla="*/ 34030 w 36841"/>
                    <a:gd name="connsiteY5" fmla="*/ 8074 h 17702"/>
                    <a:gd name="connsiteX6" fmla="*/ 33014 w 36841"/>
                    <a:gd name="connsiteY6" fmla="*/ 8911 h 17702"/>
                    <a:gd name="connsiteX7" fmla="*/ 24880 w 36841"/>
                    <a:gd name="connsiteY7" fmla="*/ 15610 h 17702"/>
                    <a:gd name="connsiteX8" fmla="*/ 23624 w 36841"/>
                    <a:gd name="connsiteY8" fmla="*/ 15789 h 17702"/>
                    <a:gd name="connsiteX9" fmla="*/ 23384 w 36841"/>
                    <a:gd name="connsiteY9" fmla="*/ 15849 h 17702"/>
                    <a:gd name="connsiteX10" fmla="*/ 20873 w 36841"/>
                    <a:gd name="connsiteY10" fmla="*/ 16208 h 17702"/>
                    <a:gd name="connsiteX11" fmla="*/ 19856 w 36841"/>
                    <a:gd name="connsiteY11" fmla="*/ 16387 h 17702"/>
                    <a:gd name="connsiteX12" fmla="*/ 16985 w 36841"/>
                    <a:gd name="connsiteY12" fmla="*/ 16746 h 17702"/>
                    <a:gd name="connsiteX13" fmla="*/ 14832 w 36841"/>
                    <a:gd name="connsiteY13" fmla="*/ 16985 h 17702"/>
                    <a:gd name="connsiteX14" fmla="*/ 14055 w 36841"/>
                    <a:gd name="connsiteY14" fmla="*/ 17105 h 17702"/>
                    <a:gd name="connsiteX15" fmla="*/ 13815 w 36841"/>
                    <a:gd name="connsiteY15" fmla="*/ 17105 h 17702"/>
                    <a:gd name="connsiteX16" fmla="*/ 10048 w 36841"/>
                    <a:gd name="connsiteY16" fmla="*/ 17703 h 17702"/>
                    <a:gd name="connsiteX17" fmla="*/ 6519 w 36841"/>
                    <a:gd name="connsiteY17" fmla="*/ 17703 h 17702"/>
                    <a:gd name="connsiteX18" fmla="*/ 5442 w 36841"/>
                    <a:gd name="connsiteY18" fmla="*/ 17105 h 17702"/>
                    <a:gd name="connsiteX19" fmla="*/ 3170 w 36841"/>
                    <a:gd name="connsiteY19" fmla="*/ 15669 h 17702"/>
                    <a:gd name="connsiteX20" fmla="*/ 1076 w 36841"/>
                    <a:gd name="connsiteY20" fmla="*/ 14414 h 17702"/>
                    <a:gd name="connsiteX21" fmla="*/ 0 w 36841"/>
                    <a:gd name="connsiteY21" fmla="*/ 13696 h 17702"/>
                    <a:gd name="connsiteX22" fmla="*/ 299 w 36841"/>
                    <a:gd name="connsiteY22" fmla="*/ 12859 h 17702"/>
                    <a:gd name="connsiteX23" fmla="*/ 1435 w 36841"/>
                    <a:gd name="connsiteY23" fmla="*/ 9868 h 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841" h="17702">
                      <a:moveTo>
                        <a:pt x="35645" y="0"/>
                      </a:moveTo>
                      <a:lnTo>
                        <a:pt x="36243" y="419"/>
                      </a:lnTo>
                      <a:lnTo>
                        <a:pt x="36722" y="1734"/>
                      </a:lnTo>
                      <a:lnTo>
                        <a:pt x="36841" y="2093"/>
                      </a:lnTo>
                      <a:lnTo>
                        <a:pt x="34808" y="6459"/>
                      </a:lnTo>
                      <a:lnTo>
                        <a:pt x="34030" y="8074"/>
                      </a:lnTo>
                      <a:lnTo>
                        <a:pt x="33014" y="8911"/>
                      </a:lnTo>
                      <a:lnTo>
                        <a:pt x="24880" y="15610"/>
                      </a:lnTo>
                      <a:lnTo>
                        <a:pt x="23624" y="15789"/>
                      </a:lnTo>
                      <a:lnTo>
                        <a:pt x="23384" y="15849"/>
                      </a:lnTo>
                      <a:lnTo>
                        <a:pt x="20873" y="16208"/>
                      </a:lnTo>
                      <a:lnTo>
                        <a:pt x="19856" y="16387"/>
                      </a:lnTo>
                      <a:lnTo>
                        <a:pt x="16985" y="16746"/>
                      </a:lnTo>
                      <a:lnTo>
                        <a:pt x="14832" y="16985"/>
                      </a:lnTo>
                      <a:lnTo>
                        <a:pt x="14055" y="17105"/>
                      </a:lnTo>
                      <a:lnTo>
                        <a:pt x="13815" y="17105"/>
                      </a:lnTo>
                      <a:lnTo>
                        <a:pt x="10048" y="17703"/>
                      </a:lnTo>
                      <a:lnTo>
                        <a:pt x="6519" y="17703"/>
                      </a:lnTo>
                      <a:lnTo>
                        <a:pt x="5442" y="17105"/>
                      </a:lnTo>
                      <a:lnTo>
                        <a:pt x="3170" y="15669"/>
                      </a:lnTo>
                      <a:lnTo>
                        <a:pt x="1076" y="14414"/>
                      </a:lnTo>
                      <a:lnTo>
                        <a:pt x="0" y="13696"/>
                      </a:lnTo>
                      <a:lnTo>
                        <a:pt x="299" y="12859"/>
                      </a:lnTo>
                      <a:lnTo>
                        <a:pt x="1435" y="9868"/>
                      </a:lnTo>
                    </a:path>
                  </a:pathLst>
                </a:custGeom>
                <a:noFill/>
                <a:ln w="6350" cap="rnd">
                  <a:solidFill>
                    <a:schemeClr val="bg1">
                      <a:alpha val="40000"/>
                    </a:schemeClr>
                  </a:solidFill>
                  <a:prstDash val="solid"/>
                  <a:round/>
                </a:ln>
              </p:spPr>
              <p:txBody>
                <a:bodyPr rtlCol="0" anchor="ctr"/>
                <a:lstStyle/>
                <a:p>
                  <a:endParaRPr lang="en-GB"/>
                </a:p>
              </p:txBody>
            </p:sp>
            <p:sp>
              <p:nvSpPr>
                <p:cNvPr id="6713" name="Vrije vorm: vorm 6712">
                  <a:extLst>
                    <a:ext uri="{FF2B5EF4-FFF2-40B4-BE49-F238E27FC236}">
                      <a16:creationId xmlns:a16="http://schemas.microsoft.com/office/drawing/2014/main" id="{F5A908E6-CABC-4328-9CF8-4B5658A85BD4}"/>
                    </a:ext>
                  </a:extLst>
                </p:cNvPr>
                <p:cNvSpPr/>
                <p:nvPr/>
              </p:nvSpPr>
              <p:spPr>
                <a:xfrm>
                  <a:off x="6697651" y="1829124"/>
                  <a:ext cx="9030" cy="3528"/>
                </a:xfrm>
                <a:custGeom>
                  <a:avLst/>
                  <a:gdLst>
                    <a:gd name="connsiteX0" fmla="*/ 9031 w 9030"/>
                    <a:gd name="connsiteY0" fmla="*/ 3529 h 3528"/>
                    <a:gd name="connsiteX1" fmla="*/ 8971 w 9030"/>
                    <a:gd name="connsiteY1" fmla="*/ 3469 h 3528"/>
                    <a:gd name="connsiteX2" fmla="*/ 1495 w 9030"/>
                    <a:gd name="connsiteY2" fmla="*/ 179 h 3528"/>
                    <a:gd name="connsiteX3" fmla="*/ 837 w 9030"/>
                    <a:gd name="connsiteY3" fmla="*/ 120 h 3528"/>
                    <a:gd name="connsiteX4" fmla="*/ 0 w 9030"/>
                    <a:gd name="connsiteY4" fmla="*/ 0 h 3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0" h="3528">
                      <a:moveTo>
                        <a:pt x="9031" y="3529"/>
                      </a:moveTo>
                      <a:lnTo>
                        <a:pt x="8971" y="3469"/>
                      </a:lnTo>
                      <a:lnTo>
                        <a:pt x="1495" y="179"/>
                      </a:lnTo>
                      <a:lnTo>
                        <a:pt x="837"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14" name="Vrije vorm: vorm 6713">
                  <a:extLst>
                    <a:ext uri="{FF2B5EF4-FFF2-40B4-BE49-F238E27FC236}">
                      <a16:creationId xmlns:a16="http://schemas.microsoft.com/office/drawing/2014/main" id="{CD1D27A4-0A35-4A0C-BA6F-BB0304507C98}"/>
                    </a:ext>
                  </a:extLst>
                </p:cNvPr>
                <p:cNvSpPr/>
                <p:nvPr/>
              </p:nvSpPr>
              <p:spPr>
                <a:xfrm>
                  <a:off x="6862061" y="1934983"/>
                  <a:ext cx="1913" cy="1255"/>
                </a:xfrm>
                <a:custGeom>
                  <a:avLst/>
                  <a:gdLst>
                    <a:gd name="connsiteX0" fmla="*/ 1914 w 1913"/>
                    <a:gd name="connsiteY0" fmla="*/ 0 h 1255"/>
                    <a:gd name="connsiteX1" fmla="*/ 1016 w 1913"/>
                    <a:gd name="connsiteY1" fmla="*/ 0 h 1255"/>
                    <a:gd name="connsiteX2" fmla="*/ 837 w 1913"/>
                    <a:gd name="connsiteY2" fmla="*/ 0 h 1255"/>
                    <a:gd name="connsiteX3" fmla="*/ 778 w 1913"/>
                    <a:gd name="connsiteY3" fmla="*/ 60 h 1255"/>
                    <a:gd name="connsiteX4" fmla="*/ 358 w 1913"/>
                    <a:gd name="connsiteY4" fmla="*/ 718 h 1255"/>
                    <a:gd name="connsiteX5" fmla="*/ 0 w 1913"/>
                    <a:gd name="connsiteY5" fmla="*/ 1256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3" h="1255">
                      <a:moveTo>
                        <a:pt x="1914" y="0"/>
                      </a:moveTo>
                      <a:lnTo>
                        <a:pt x="1016" y="0"/>
                      </a:lnTo>
                      <a:lnTo>
                        <a:pt x="837" y="0"/>
                      </a:lnTo>
                      <a:lnTo>
                        <a:pt x="778" y="60"/>
                      </a:lnTo>
                      <a:lnTo>
                        <a:pt x="358" y="718"/>
                      </a:lnTo>
                      <a:lnTo>
                        <a:pt x="0" y="1256"/>
                      </a:lnTo>
                    </a:path>
                  </a:pathLst>
                </a:custGeom>
                <a:noFill/>
                <a:ln w="6350" cap="rnd">
                  <a:solidFill>
                    <a:schemeClr val="bg1">
                      <a:alpha val="40000"/>
                    </a:schemeClr>
                  </a:solidFill>
                  <a:prstDash val="solid"/>
                  <a:round/>
                </a:ln>
              </p:spPr>
              <p:txBody>
                <a:bodyPr rtlCol="0" anchor="ctr"/>
                <a:lstStyle/>
                <a:p>
                  <a:endParaRPr lang="en-GB"/>
                </a:p>
              </p:txBody>
            </p:sp>
            <p:sp>
              <p:nvSpPr>
                <p:cNvPr id="6715" name="Vrije vorm: vorm 6714">
                  <a:extLst>
                    <a:ext uri="{FF2B5EF4-FFF2-40B4-BE49-F238E27FC236}">
                      <a16:creationId xmlns:a16="http://schemas.microsoft.com/office/drawing/2014/main" id="{D825ECCA-83E9-4884-97F9-42FA21010A86}"/>
                    </a:ext>
                  </a:extLst>
                </p:cNvPr>
                <p:cNvSpPr/>
                <p:nvPr/>
              </p:nvSpPr>
              <p:spPr>
                <a:xfrm>
                  <a:off x="6799024" y="1995149"/>
                  <a:ext cx="16327" cy="56637"/>
                </a:xfrm>
                <a:custGeom>
                  <a:avLst/>
                  <a:gdLst>
                    <a:gd name="connsiteX0" fmla="*/ 16327 w 16327"/>
                    <a:gd name="connsiteY0" fmla="*/ 56159 h 56637"/>
                    <a:gd name="connsiteX1" fmla="*/ 13696 w 16327"/>
                    <a:gd name="connsiteY1" fmla="*/ 56637 h 56637"/>
                    <a:gd name="connsiteX2" fmla="*/ 11364 w 16327"/>
                    <a:gd name="connsiteY2" fmla="*/ 56099 h 56637"/>
                    <a:gd name="connsiteX3" fmla="*/ 8792 w 16327"/>
                    <a:gd name="connsiteY3" fmla="*/ 45334 h 56637"/>
                    <a:gd name="connsiteX4" fmla="*/ 5682 w 16327"/>
                    <a:gd name="connsiteY4" fmla="*/ 31578 h 56637"/>
                    <a:gd name="connsiteX5" fmla="*/ 4246 w 16327"/>
                    <a:gd name="connsiteY5" fmla="*/ 24581 h 56637"/>
                    <a:gd name="connsiteX6" fmla="*/ 3888 w 16327"/>
                    <a:gd name="connsiteY6" fmla="*/ 22906 h 56637"/>
                    <a:gd name="connsiteX7" fmla="*/ 3529 w 16327"/>
                    <a:gd name="connsiteY7" fmla="*/ 21590 h 56637"/>
                    <a:gd name="connsiteX8" fmla="*/ 3409 w 16327"/>
                    <a:gd name="connsiteY8" fmla="*/ 21172 h 56637"/>
                    <a:gd name="connsiteX9" fmla="*/ 3170 w 16327"/>
                    <a:gd name="connsiteY9" fmla="*/ 20275 h 56637"/>
                    <a:gd name="connsiteX10" fmla="*/ 2572 w 16327"/>
                    <a:gd name="connsiteY10" fmla="*/ 18122 h 56637"/>
                    <a:gd name="connsiteX11" fmla="*/ 2333 w 16327"/>
                    <a:gd name="connsiteY11" fmla="*/ 17284 h 56637"/>
                    <a:gd name="connsiteX12" fmla="*/ 2153 w 16327"/>
                    <a:gd name="connsiteY12" fmla="*/ 16686 h 56637"/>
                    <a:gd name="connsiteX13" fmla="*/ 1495 w 16327"/>
                    <a:gd name="connsiteY13" fmla="*/ 14294 h 56637"/>
                    <a:gd name="connsiteX14" fmla="*/ 1435 w 16327"/>
                    <a:gd name="connsiteY14" fmla="*/ 13995 h 56637"/>
                    <a:gd name="connsiteX15" fmla="*/ 419 w 16327"/>
                    <a:gd name="connsiteY15" fmla="*/ 10347 h 56637"/>
                    <a:gd name="connsiteX16" fmla="*/ 359 w 16327"/>
                    <a:gd name="connsiteY16" fmla="*/ 10167 h 56637"/>
                    <a:gd name="connsiteX17" fmla="*/ 0 w 16327"/>
                    <a:gd name="connsiteY17" fmla="*/ 8911 h 56637"/>
                    <a:gd name="connsiteX18" fmla="*/ 180 w 16327"/>
                    <a:gd name="connsiteY18" fmla="*/ 8552 h 56637"/>
                    <a:gd name="connsiteX19" fmla="*/ 1136 w 16327"/>
                    <a:gd name="connsiteY19" fmla="*/ 6698 h 56637"/>
                    <a:gd name="connsiteX20" fmla="*/ 2811 w 16327"/>
                    <a:gd name="connsiteY20" fmla="*/ 3409 h 56637"/>
                    <a:gd name="connsiteX21" fmla="*/ 3588 w 16327"/>
                    <a:gd name="connsiteY21" fmla="*/ 3050 h 56637"/>
                    <a:gd name="connsiteX22" fmla="*/ 10347 w 16327"/>
                    <a:gd name="connsiteY22" fmla="*/ 0 h 56637"/>
                    <a:gd name="connsiteX23" fmla="*/ 10526 w 16327"/>
                    <a:gd name="connsiteY23" fmla="*/ 359 h 5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27" h="56637">
                      <a:moveTo>
                        <a:pt x="16327" y="56159"/>
                      </a:moveTo>
                      <a:lnTo>
                        <a:pt x="13696" y="56637"/>
                      </a:lnTo>
                      <a:lnTo>
                        <a:pt x="11364" y="56099"/>
                      </a:lnTo>
                      <a:lnTo>
                        <a:pt x="8792" y="45334"/>
                      </a:lnTo>
                      <a:lnTo>
                        <a:pt x="5682" y="31578"/>
                      </a:lnTo>
                      <a:lnTo>
                        <a:pt x="4246" y="24581"/>
                      </a:lnTo>
                      <a:lnTo>
                        <a:pt x="3888" y="22906"/>
                      </a:lnTo>
                      <a:lnTo>
                        <a:pt x="3529" y="21590"/>
                      </a:lnTo>
                      <a:lnTo>
                        <a:pt x="3409" y="21172"/>
                      </a:lnTo>
                      <a:lnTo>
                        <a:pt x="3170" y="20275"/>
                      </a:lnTo>
                      <a:lnTo>
                        <a:pt x="2572" y="18122"/>
                      </a:lnTo>
                      <a:lnTo>
                        <a:pt x="2333" y="17284"/>
                      </a:lnTo>
                      <a:lnTo>
                        <a:pt x="2153" y="16686"/>
                      </a:lnTo>
                      <a:lnTo>
                        <a:pt x="1495" y="14294"/>
                      </a:lnTo>
                      <a:lnTo>
                        <a:pt x="1435" y="13995"/>
                      </a:lnTo>
                      <a:lnTo>
                        <a:pt x="419" y="10347"/>
                      </a:lnTo>
                      <a:lnTo>
                        <a:pt x="359" y="10167"/>
                      </a:lnTo>
                      <a:lnTo>
                        <a:pt x="0" y="8911"/>
                      </a:lnTo>
                      <a:lnTo>
                        <a:pt x="180" y="8552"/>
                      </a:lnTo>
                      <a:lnTo>
                        <a:pt x="1136" y="6698"/>
                      </a:lnTo>
                      <a:lnTo>
                        <a:pt x="2811" y="3409"/>
                      </a:lnTo>
                      <a:lnTo>
                        <a:pt x="3588" y="3050"/>
                      </a:lnTo>
                      <a:lnTo>
                        <a:pt x="10347" y="0"/>
                      </a:lnTo>
                      <a:lnTo>
                        <a:pt x="10526" y="359"/>
                      </a:lnTo>
                    </a:path>
                  </a:pathLst>
                </a:custGeom>
                <a:noFill/>
                <a:ln w="6350" cap="rnd">
                  <a:solidFill>
                    <a:schemeClr val="bg1">
                      <a:alpha val="40000"/>
                    </a:schemeClr>
                  </a:solidFill>
                  <a:prstDash val="solid"/>
                  <a:round/>
                </a:ln>
              </p:spPr>
              <p:txBody>
                <a:bodyPr rtlCol="0" anchor="ctr"/>
                <a:lstStyle/>
                <a:p>
                  <a:endParaRPr lang="en-GB"/>
                </a:p>
              </p:txBody>
            </p:sp>
            <p:sp>
              <p:nvSpPr>
                <p:cNvPr id="6716" name="Vrije vorm: vorm 6715">
                  <a:extLst>
                    <a:ext uri="{FF2B5EF4-FFF2-40B4-BE49-F238E27FC236}">
                      <a16:creationId xmlns:a16="http://schemas.microsoft.com/office/drawing/2014/main" id="{1FE8FCCA-E740-4C8A-B4F2-9CBD1CD0504D}"/>
                    </a:ext>
                  </a:extLst>
                </p:cNvPr>
                <p:cNvSpPr/>
                <p:nvPr/>
              </p:nvSpPr>
              <p:spPr>
                <a:xfrm>
                  <a:off x="6634973" y="1909505"/>
                  <a:ext cx="13935" cy="1913"/>
                </a:xfrm>
                <a:custGeom>
                  <a:avLst/>
                  <a:gdLst>
                    <a:gd name="connsiteX0" fmla="*/ 13935 w 13935"/>
                    <a:gd name="connsiteY0" fmla="*/ 0 h 1913"/>
                    <a:gd name="connsiteX1" fmla="*/ 7835 w 13935"/>
                    <a:gd name="connsiteY1" fmla="*/ 239 h 1913"/>
                    <a:gd name="connsiteX2" fmla="*/ 0 w 13935"/>
                    <a:gd name="connsiteY2" fmla="*/ 1914 h 1913"/>
                  </a:gdLst>
                  <a:ahLst/>
                  <a:cxnLst>
                    <a:cxn ang="0">
                      <a:pos x="connsiteX0" y="connsiteY0"/>
                    </a:cxn>
                    <a:cxn ang="0">
                      <a:pos x="connsiteX1" y="connsiteY1"/>
                    </a:cxn>
                    <a:cxn ang="0">
                      <a:pos x="connsiteX2" y="connsiteY2"/>
                    </a:cxn>
                  </a:cxnLst>
                  <a:rect l="l" t="t" r="r" b="b"/>
                  <a:pathLst>
                    <a:path w="13935" h="1913">
                      <a:moveTo>
                        <a:pt x="13935" y="0"/>
                      </a:moveTo>
                      <a:lnTo>
                        <a:pt x="7835" y="239"/>
                      </a:lnTo>
                      <a:lnTo>
                        <a:pt x="0" y="1914"/>
                      </a:lnTo>
                    </a:path>
                  </a:pathLst>
                </a:custGeom>
                <a:noFill/>
                <a:ln w="6350" cap="rnd">
                  <a:solidFill>
                    <a:schemeClr val="bg1">
                      <a:alpha val="40000"/>
                    </a:schemeClr>
                  </a:solidFill>
                  <a:prstDash val="solid"/>
                  <a:round/>
                </a:ln>
              </p:spPr>
              <p:txBody>
                <a:bodyPr rtlCol="0" anchor="ctr"/>
                <a:lstStyle/>
                <a:p>
                  <a:endParaRPr lang="en-GB"/>
                </a:p>
              </p:txBody>
            </p:sp>
            <p:sp>
              <p:nvSpPr>
                <p:cNvPr id="6717" name="Vrije vorm: vorm 6716">
                  <a:extLst>
                    <a:ext uri="{FF2B5EF4-FFF2-40B4-BE49-F238E27FC236}">
                      <a16:creationId xmlns:a16="http://schemas.microsoft.com/office/drawing/2014/main" id="{01993912-05BB-4ECD-B40A-398EBD34C69B}"/>
                    </a:ext>
                  </a:extLst>
                </p:cNvPr>
                <p:cNvSpPr/>
                <p:nvPr/>
              </p:nvSpPr>
              <p:spPr>
                <a:xfrm>
                  <a:off x="6716370" y="1822605"/>
                  <a:ext cx="6997" cy="4963"/>
                </a:xfrm>
                <a:custGeom>
                  <a:avLst/>
                  <a:gdLst>
                    <a:gd name="connsiteX0" fmla="*/ 6997 w 6997"/>
                    <a:gd name="connsiteY0" fmla="*/ 4964 h 4963"/>
                    <a:gd name="connsiteX1" fmla="*/ 6758 w 6997"/>
                    <a:gd name="connsiteY1" fmla="*/ 4785 h 4963"/>
                    <a:gd name="connsiteX2" fmla="*/ 4725 w 6997"/>
                    <a:gd name="connsiteY2" fmla="*/ 3289 h 4963"/>
                    <a:gd name="connsiteX3" fmla="*/ 419 w 6997"/>
                    <a:gd name="connsiteY3" fmla="*/ 120 h 4963"/>
                    <a:gd name="connsiteX4" fmla="*/ 0 w 6997"/>
                    <a:gd name="connsiteY4" fmla="*/ 0 h 4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7" h="4963">
                      <a:moveTo>
                        <a:pt x="6997" y="4964"/>
                      </a:moveTo>
                      <a:lnTo>
                        <a:pt x="6758" y="4785"/>
                      </a:lnTo>
                      <a:lnTo>
                        <a:pt x="4725" y="3289"/>
                      </a:lnTo>
                      <a:lnTo>
                        <a:pt x="419"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18" name="Vrije vorm: vorm 6717">
                  <a:extLst>
                    <a:ext uri="{FF2B5EF4-FFF2-40B4-BE49-F238E27FC236}">
                      <a16:creationId xmlns:a16="http://schemas.microsoft.com/office/drawing/2014/main" id="{DEC72454-CB24-4A3D-AD58-3323C513E1D6}"/>
                    </a:ext>
                  </a:extLst>
                </p:cNvPr>
                <p:cNvSpPr/>
                <p:nvPr/>
              </p:nvSpPr>
              <p:spPr>
                <a:xfrm>
                  <a:off x="6630188" y="1931813"/>
                  <a:ext cx="9509" cy="2332"/>
                </a:xfrm>
                <a:custGeom>
                  <a:avLst/>
                  <a:gdLst>
                    <a:gd name="connsiteX0" fmla="*/ 9509 w 9509"/>
                    <a:gd name="connsiteY0" fmla="*/ 0 h 2332"/>
                    <a:gd name="connsiteX1" fmla="*/ 6818 w 9509"/>
                    <a:gd name="connsiteY1" fmla="*/ 419 h 2332"/>
                    <a:gd name="connsiteX2" fmla="*/ 2153 w 9509"/>
                    <a:gd name="connsiteY2" fmla="*/ 1734 h 2332"/>
                    <a:gd name="connsiteX3" fmla="*/ 0 w 9509"/>
                    <a:gd name="connsiteY3" fmla="*/ 2332 h 2332"/>
                  </a:gdLst>
                  <a:ahLst/>
                  <a:cxnLst>
                    <a:cxn ang="0">
                      <a:pos x="connsiteX0" y="connsiteY0"/>
                    </a:cxn>
                    <a:cxn ang="0">
                      <a:pos x="connsiteX1" y="connsiteY1"/>
                    </a:cxn>
                    <a:cxn ang="0">
                      <a:pos x="connsiteX2" y="connsiteY2"/>
                    </a:cxn>
                    <a:cxn ang="0">
                      <a:pos x="connsiteX3" y="connsiteY3"/>
                    </a:cxn>
                  </a:cxnLst>
                  <a:rect l="l" t="t" r="r" b="b"/>
                  <a:pathLst>
                    <a:path w="9509" h="2332">
                      <a:moveTo>
                        <a:pt x="9509" y="0"/>
                      </a:moveTo>
                      <a:lnTo>
                        <a:pt x="6818" y="419"/>
                      </a:lnTo>
                      <a:lnTo>
                        <a:pt x="2153" y="1734"/>
                      </a:lnTo>
                      <a:lnTo>
                        <a:pt x="0" y="2332"/>
                      </a:lnTo>
                    </a:path>
                  </a:pathLst>
                </a:custGeom>
                <a:noFill/>
                <a:ln w="6350" cap="rnd">
                  <a:solidFill>
                    <a:schemeClr val="bg1">
                      <a:alpha val="40000"/>
                    </a:schemeClr>
                  </a:solidFill>
                  <a:prstDash val="solid"/>
                  <a:round/>
                </a:ln>
              </p:spPr>
              <p:txBody>
                <a:bodyPr rtlCol="0" anchor="ctr"/>
                <a:lstStyle/>
                <a:p>
                  <a:endParaRPr lang="en-GB"/>
                </a:p>
              </p:txBody>
            </p:sp>
            <p:sp>
              <p:nvSpPr>
                <p:cNvPr id="6719" name="Vrije vorm: vorm 6718">
                  <a:extLst>
                    <a:ext uri="{FF2B5EF4-FFF2-40B4-BE49-F238E27FC236}">
                      <a16:creationId xmlns:a16="http://schemas.microsoft.com/office/drawing/2014/main" id="{D3BE2363-8A73-4D15-BD1F-64ECB8C7A0C3}"/>
                    </a:ext>
                  </a:extLst>
                </p:cNvPr>
                <p:cNvSpPr/>
                <p:nvPr/>
              </p:nvSpPr>
              <p:spPr>
                <a:xfrm>
                  <a:off x="6829525" y="1952507"/>
                  <a:ext cx="8014" cy="11363"/>
                </a:xfrm>
                <a:custGeom>
                  <a:avLst/>
                  <a:gdLst>
                    <a:gd name="connsiteX0" fmla="*/ 658 w 8014"/>
                    <a:gd name="connsiteY0" fmla="*/ 11363 h 11363"/>
                    <a:gd name="connsiteX1" fmla="*/ 479 w 8014"/>
                    <a:gd name="connsiteY1" fmla="*/ 9629 h 11363"/>
                    <a:gd name="connsiteX2" fmla="*/ 479 w 8014"/>
                    <a:gd name="connsiteY2" fmla="*/ 9569 h 11363"/>
                    <a:gd name="connsiteX3" fmla="*/ 239 w 8014"/>
                    <a:gd name="connsiteY3" fmla="*/ 6818 h 11363"/>
                    <a:gd name="connsiteX4" fmla="*/ 60 w 8014"/>
                    <a:gd name="connsiteY4" fmla="*/ 5024 h 11363"/>
                    <a:gd name="connsiteX5" fmla="*/ 0 w 8014"/>
                    <a:gd name="connsiteY5" fmla="*/ 4545 h 11363"/>
                    <a:gd name="connsiteX6" fmla="*/ 3588 w 8014"/>
                    <a:gd name="connsiteY6" fmla="*/ 658 h 11363"/>
                    <a:gd name="connsiteX7" fmla="*/ 4187 w 8014"/>
                    <a:gd name="connsiteY7" fmla="*/ 0 h 11363"/>
                    <a:gd name="connsiteX8" fmla="*/ 8015 w 8014"/>
                    <a:gd name="connsiteY8" fmla="*/ 4426 h 1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14" h="11363">
                      <a:moveTo>
                        <a:pt x="658" y="11363"/>
                      </a:moveTo>
                      <a:lnTo>
                        <a:pt x="479" y="9629"/>
                      </a:lnTo>
                      <a:lnTo>
                        <a:pt x="479" y="9569"/>
                      </a:lnTo>
                      <a:lnTo>
                        <a:pt x="239" y="6818"/>
                      </a:lnTo>
                      <a:lnTo>
                        <a:pt x="60" y="5024"/>
                      </a:lnTo>
                      <a:lnTo>
                        <a:pt x="0" y="4545"/>
                      </a:lnTo>
                      <a:lnTo>
                        <a:pt x="3588" y="658"/>
                      </a:lnTo>
                      <a:lnTo>
                        <a:pt x="4187" y="0"/>
                      </a:lnTo>
                      <a:lnTo>
                        <a:pt x="8015" y="4426"/>
                      </a:lnTo>
                    </a:path>
                  </a:pathLst>
                </a:custGeom>
                <a:noFill/>
                <a:ln w="6350" cap="rnd">
                  <a:solidFill>
                    <a:schemeClr val="bg1">
                      <a:alpha val="40000"/>
                    </a:schemeClr>
                  </a:solidFill>
                  <a:prstDash val="solid"/>
                  <a:round/>
                </a:ln>
              </p:spPr>
              <p:txBody>
                <a:bodyPr rtlCol="0" anchor="ctr"/>
                <a:lstStyle/>
                <a:p>
                  <a:endParaRPr lang="en-GB"/>
                </a:p>
              </p:txBody>
            </p:sp>
            <p:sp>
              <p:nvSpPr>
                <p:cNvPr id="6720" name="Vrije vorm: vorm 6719">
                  <a:extLst>
                    <a:ext uri="{FF2B5EF4-FFF2-40B4-BE49-F238E27FC236}">
                      <a16:creationId xmlns:a16="http://schemas.microsoft.com/office/drawing/2014/main" id="{6BAE16EC-CD12-44E6-BD39-41ADBD65756A}"/>
                    </a:ext>
                  </a:extLst>
                </p:cNvPr>
                <p:cNvSpPr/>
                <p:nvPr/>
              </p:nvSpPr>
              <p:spPr>
                <a:xfrm>
                  <a:off x="6852492" y="2054896"/>
                  <a:ext cx="8791" cy="777"/>
                </a:xfrm>
                <a:custGeom>
                  <a:avLst/>
                  <a:gdLst>
                    <a:gd name="connsiteX0" fmla="*/ 8791 w 8791"/>
                    <a:gd name="connsiteY0" fmla="*/ 0 h 777"/>
                    <a:gd name="connsiteX1" fmla="*/ 7834 w 8791"/>
                    <a:gd name="connsiteY1" fmla="*/ 179 h 777"/>
                    <a:gd name="connsiteX2" fmla="*/ 7236 w 8791"/>
                    <a:gd name="connsiteY2" fmla="*/ 299 h 777"/>
                    <a:gd name="connsiteX3" fmla="*/ 4724 w 8791"/>
                    <a:gd name="connsiteY3" fmla="*/ 778 h 777"/>
                    <a:gd name="connsiteX4" fmla="*/ 0 w 8791"/>
                    <a:gd name="connsiteY4" fmla="*/ 658 h 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 h="777">
                      <a:moveTo>
                        <a:pt x="8791" y="0"/>
                      </a:moveTo>
                      <a:lnTo>
                        <a:pt x="7834" y="179"/>
                      </a:lnTo>
                      <a:lnTo>
                        <a:pt x="7236" y="299"/>
                      </a:lnTo>
                      <a:lnTo>
                        <a:pt x="4724" y="778"/>
                      </a:lnTo>
                      <a:lnTo>
                        <a:pt x="0" y="658"/>
                      </a:lnTo>
                    </a:path>
                  </a:pathLst>
                </a:custGeom>
                <a:noFill/>
                <a:ln w="6350" cap="rnd">
                  <a:solidFill>
                    <a:schemeClr val="bg1">
                      <a:alpha val="40000"/>
                    </a:schemeClr>
                  </a:solidFill>
                  <a:prstDash val="solid"/>
                  <a:round/>
                </a:ln>
              </p:spPr>
              <p:txBody>
                <a:bodyPr rtlCol="0" anchor="ctr"/>
                <a:lstStyle/>
                <a:p>
                  <a:endParaRPr lang="en-GB"/>
                </a:p>
              </p:txBody>
            </p:sp>
            <p:sp>
              <p:nvSpPr>
                <p:cNvPr id="6721" name="Vrije vorm: vorm 6720">
                  <a:extLst>
                    <a:ext uri="{FF2B5EF4-FFF2-40B4-BE49-F238E27FC236}">
                      <a16:creationId xmlns:a16="http://schemas.microsoft.com/office/drawing/2014/main" id="{92941B55-FA9C-4B08-9A10-D12ACBAE0450}"/>
                    </a:ext>
                  </a:extLst>
                </p:cNvPr>
                <p:cNvSpPr/>
                <p:nvPr/>
              </p:nvSpPr>
              <p:spPr>
                <a:xfrm>
                  <a:off x="6845494" y="1946645"/>
                  <a:ext cx="2452" cy="2751"/>
                </a:xfrm>
                <a:custGeom>
                  <a:avLst/>
                  <a:gdLst>
                    <a:gd name="connsiteX0" fmla="*/ 2452 w 2452"/>
                    <a:gd name="connsiteY0" fmla="*/ 478 h 2751"/>
                    <a:gd name="connsiteX1" fmla="*/ 1136 w 2452"/>
                    <a:gd name="connsiteY1" fmla="*/ 0 h 2751"/>
                    <a:gd name="connsiteX2" fmla="*/ 0 w 2452"/>
                    <a:gd name="connsiteY2" fmla="*/ 2751 h 2751"/>
                    <a:gd name="connsiteX3" fmla="*/ 0 w 2452"/>
                    <a:gd name="connsiteY3" fmla="*/ 2751 h 2751"/>
                  </a:gdLst>
                  <a:ahLst/>
                  <a:cxnLst>
                    <a:cxn ang="0">
                      <a:pos x="connsiteX0" y="connsiteY0"/>
                    </a:cxn>
                    <a:cxn ang="0">
                      <a:pos x="connsiteX1" y="connsiteY1"/>
                    </a:cxn>
                    <a:cxn ang="0">
                      <a:pos x="connsiteX2" y="connsiteY2"/>
                    </a:cxn>
                    <a:cxn ang="0">
                      <a:pos x="connsiteX3" y="connsiteY3"/>
                    </a:cxn>
                  </a:cxnLst>
                  <a:rect l="l" t="t" r="r" b="b"/>
                  <a:pathLst>
                    <a:path w="2452" h="2751">
                      <a:moveTo>
                        <a:pt x="2452" y="478"/>
                      </a:moveTo>
                      <a:lnTo>
                        <a:pt x="1136" y="0"/>
                      </a:lnTo>
                      <a:lnTo>
                        <a:pt x="0" y="2751"/>
                      </a:lnTo>
                      <a:lnTo>
                        <a:pt x="0" y="2751"/>
                      </a:lnTo>
                    </a:path>
                  </a:pathLst>
                </a:custGeom>
                <a:noFill/>
                <a:ln w="6350" cap="rnd">
                  <a:solidFill>
                    <a:schemeClr val="bg1">
                      <a:alpha val="40000"/>
                    </a:schemeClr>
                  </a:solidFill>
                  <a:prstDash val="solid"/>
                  <a:round/>
                </a:ln>
              </p:spPr>
              <p:txBody>
                <a:bodyPr rtlCol="0" anchor="ctr"/>
                <a:lstStyle/>
                <a:p>
                  <a:endParaRPr lang="en-GB"/>
                </a:p>
              </p:txBody>
            </p:sp>
            <p:sp>
              <p:nvSpPr>
                <p:cNvPr id="6722" name="Vrije vorm: vorm 6721">
                  <a:extLst>
                    <a:ext uri="{FF2B5EF4-FFF2-40B4-BE49-F238E27FC236}">
                      <a16:creationId xmlns:a16="http://schemas.microsoft.com/office/drawing/2014/main" id="{A95ADA24-B541-46B7-8DC6-527075B3D25C}"/>
                    </a:ext>
                  </a:extLst>
                </p:cNvPr>
                <p:cNvSpPr/>
                <p:nvPr/>
              </p:nvSpPr>
              <p:spPr>
                <a:xfrm>
                  <a:off x="6844896" y="1936179"/>
                  <a:ext cx="15011" cy="13456"/>
                </a:xfrm>
                <a:custGeom>
                  <a:avLst/>
                  <a:gdLst>
                    <a:gd name="connsiteX0" fmla="*/ 478 w 15011"/>
                    <a:gd name="connsiteY0" fmla="*/ 13457 h 13456"/>
                    <a:gd name="connsiteX1" fmla="*/ 0 w 15011"/>
                    <a:gd name="connsiteY1" fmla="*/ 12978 h 13456"/>
                    <a:gd name="connsiteX2" fmla="*/ 1914 w 15011"/>
                    <a:gd name="connsiteY2" fmla="*/ 5502 h 13456"/>
                    <a:gd name="connsiteX3" fmla="*/ 2511 w 15011"/>
                    <a:gd name="connsiteY3" fmla="*/ 3230 h 13456"/>
                    <a:gd name="connsiteX4" fmla="*/ 5562 w 15011"/>
                    <a:gd name="connsiteY4" fmla="*/ 897 h 13456"/>
                    <a:gd name="connsiteX5" fmla="*/ 6160 w 15011"/>
                    <a:gd name="connsiteY5" fmla="*/ 419 h 13456"/>
                    <a:gd name="connsiteX6" fmla="*/ 6758 w 15011"/>
                    <a:gd name="connsiteY6" fmla="*/ 0 h 13456"/>
                    <a:gd name="connsiteX7" fmla="*/ 7236 w 15011"/>
                    <a:gd name="connsiteY7" fmla="*/ 359 h 13456"/>
                    <a:gd name="connsiteX8" fmla="*/ 7236 w 15011"/>
                    <a:gd name="connsiteY8" fmla="*/ 359 h 13456"/>
                    <a:gd name="connsiteX9" fmla="*/ 8014 w 15011"/>
                    <a:gd name="connsiteY9" fmla="*/ 957 h 13456"/>
                    <a:gd name="connsiteX10" fmla="*/ 9868 w 15011"/>
                    <a:gd name="connsiteY10" fmla="*/ 2273 h 13456"/>
                    <a:gd name="connsiteX11" fmla="*/ 11244 w 15011"/>
                    <a:gd name="connsiteY11" fmla="*/ 4007 h 13456"/>
                    <a:gd name="connsiteX12" fmla="*/ 13337 w 15011"/>
                    <a:gd name="connsiteY12" fmla="*/ 6758 h 13456"/>
                    <a:gd name="connsiteX13" fmla="*/ 13875 w 15011"/>
                    <a:gd name="connsiteY13" fmla="*/ 8313 h 13456"/>
                    <a:gd name="connsiteX14" fmla="*/ 15012 w 15011"/>
                    <a:gd name="connsiteY14" fmla="*/ 11722 h 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1" h="13456">
                      <a:moveTo>
                        <a:pt x="478" y="13457"/>
                      </a:moveTo>
                      <a:lnTo>
                        <a:pt x="0" y="12978"/>
                      </a:lnTo>
                      <a:lnTo>
                        <a:pt x="1914" y="5502"/>
                      </a:lnTo>
                      <a:lnTo>
                        <a:pt x="2511" y="3230"/>
                      </a:lnTo>
                      <a:lnTo>
                        <a:pt x="5562" y="897"/>
                      </a:lnTo>
                      <a:lnTo>
                        <a:pt x="6160" y="419"/>
                      </a:lnTo>
                      <a:lnTo>
                        <a:pt x="6758" y="0"/>
                      </a:lnTo>
                      <a:lnTo>
                        <a:pt x="7236" y="359"/>
                      </a:lnTo>
                      <a:lnTo>
                        <a:pt x="7236" y="359"/>
                      </a:lnTo>
                      <a:lnTo>
                        <a:pt x="8014" y="957"/>
                      </a:lnTo>
                      <a:lnTo>
                        <a:pt x="9868" y="2273"/>
                      </a:lnTo>
                      <a:lnTo>
                        <a:pt x="11244" y="4007"/>
                      </a:lnTo>
                      <a:lnTo>
                        <a:pt x="13337" y="6758"/>
                      </a:lnTo>
                      <a:lnTo>
                        <a:pt x="13875" y="8313"/>
                      </a:lnTo>
                      <a:lnTo>
                        <a:pt x="15012" y="11722"/>
                      </a:lnTo>
                    </a:path>
                  </a:pathLst>
                </a:custGeom>
                <a:noFill/>
                <a:ln w="6350" cap="rnd">
                  <a:solidFill>
                    <a:schemeClr val="bg1">
                      <a:alpha val="40000"/>
                    </a:schemeClr>
                  </a:solidFill>
                  <a:prstDash val="solid"/>
                  <a:round/>
                </a:ln>
              </p:spPr>
              <p:txBody>
                <a:bodyPr rtlCol="0" anchor="ctr"/>
                <a:lstStyle/>
                <a:p>
                  <a:endParaRPr lang="en-GB"/>
                </a:p>
              </p:txBody>
            </p:sp>
            <p:sp>
              <p:nvSpPr>
                <p:cNvPr id="6723" name="Vrije vorm: vorm 6722">
                  <a:extLst>
                    <a:ext uri="{FF2B5EF4-FFF2-40B4-BE49-F238E27FC236}">
                      <a16:creationId xmlns:a16="http://schemas.microsoft.com/office/drawing/2014/main" id="{003483D0-6EBC-4107-B12D-8B6692218581}"/>
                    </a:ext>
                  </a:extLst>
                </p:cNvPr>
                <p:cNvSpPr/>
                <p:nvPr/>
              </p:nvSpPr>
              <p:spPr>
                <a:xfrm>
                  <a:off x="6655008" y="1834866"/>
                  <a:ext cx="54604" cy="24939"/>
                </a:xfrm>
                <a:custGeom>
                  <a:avLst/>
                  <a:gdLst>
                    <a:gd name="connsiteX0" fmla="*/ 120 w 54604"/>
                    <a:gd name="connsiteY0" fmla="*/ 8911 h 24939"/>
                    <a:gd name="connsiteX1" fmla="*/ 0 w 54604"/>
                    <a:gd name="connsiteY1" fmla="*/ 6041 h 24939"/>
                    <a:gd name="connsiteX2" fmla="*/ 778 w 54604"/>
                    <a:gd name="connsiteY2" fmla="*/ 3588 h 24939"/>
                    <a:gd name="connsiteX3" fmla="*/ 1914 w 54604"/>
                    <a:gd name="connsiteY3" fmla="*/ 2034 h 24939"/>
                    <a:gd name="connsiteX4" fmla="*/ 12380 w 54604"/>
                    <a:gd name="connsiteY4" fmla="*/ 120 h 24939"/>
                    <a:gd name="connsiteX5" fmla="*/ 26734 w 54604"/>
                    <a:gd name="connsiteY5" fmla="*/ 0 h 24939"/>
                    <a:gd name="connsiteX6" fmla="*/ 36423 w 54604"/>
                    <a:gd name="connsiteY6" fmla="*/ 1495 h 24939"/>
                    <a:gd name="connsiteX7" fmla="*/ 45813 w 54604"/>
                    <a:gd name="connsiteY7" fmla="*/ 5323 h 24939"/>
                    <a:gd name="connsiteX8" fmla="*/ 49580 w 54604"/>
                    <a:gd name="connsiteY8" fmla="*/ 7596 h 24939"/>
                    <a:gd name="connsiteX9" fmla="*/ 49640 w 54604"/>
                    <a:gd name="connsiteY9" fmla="*/ 7655 h 24939"/>
                    <a:gd name="connsiteX10" fmla="*/ 49700 w 54604"/>
                    <a:gd name="connsiteY10" fmla="*/ 7655 h 24939"/>
                    <a:gd name="connsiteX11" fmla="*/ 49760 w 54604"/>
                    <a:gd name="connsiteY11" fmla="*/ 7715 h 24939"/>
                    <a:gd name="connsiteX12" fmla="*/ 52272 w 54604"/>
                    <a:gd name="connsiteY12" fmla="*/ 9210 h 24939"/>
                    <a:gd name="connsiteX13" fmla="*/ 53827 w 54604"/>
                    <a:gd name="connsiteY13" fmla="*/ 14832 h 24939"/>
                    <a:gd name="connsiteX14" fmla="*/ 54604 w 54604"/>
                    <a:gd name="connsiteY14" fmla="*/ 17643 h 24939"/>
                    <a:gd name="connsiteX15" fmla="*/ 51793 w 54604"/>
                    <a:gd name="connsiteY15" fmla="*/ 23445 h 24939"/>
                    <a:gd name="connsiteX16" fmla="*/ 51315 w 54604"/>
                    <a:gd name="connsiteY16" fmla="*/ 23743 h 24939"/>
                    <a:gd name="connsiteX17" fmla="*/ 49401 w 54604"/>
                    <a:gd name="connsiteY17" fmla="*/ 24940 h 24939"/>
                    <a:gd name="connsiteX18" fmla="*/ 48743 w 54604"/>
                    <a:gd name="connsiteY18" fmla="*/ 24521 h 2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604" h="24939">
                      <a:moveTo>
                        <a:pt x="120" y="8911"/>
                      </a:moveTo>
                      <a:lnTo>
                        <a:pt x="0" y="6041"/>
                      </a:lnTo>
                      <a:lnTo>
                        <a:pt x="778" y="3588"/>
                      </a:lnTo>
                      <a:lnTo>
                        <a:pt x="1914" y="2034"/>
                      </a:lnTo>
                      <a:lnTo>
                        <a:pt x="12380" y="120"/>
                      </a:lnTo>
                      <a:lnTo>
                        <a:pt x="26734" y="0"/>
                      </a:lnTo>
                      <a:lnTo>
                        <a:pt x="36423" y="1495"/>
                      </a:lnTo>
                      <a:lnTo>
                        <a:pt x="45813" y="5323"/>
                      </a:lnTo>
                      <a:lnTo>
                        <a:pt x="49580" y="7596"/>
                      </a:lnTo>
                      <a:lnTo>
                        <a:pt x="49640" y="7655"/>
                      </a:lnTo>
                      <a:lnTo>
                        <a:pt x="49700" y="7655"/>
                      </a:lnTo>
                      <a:lnTo>
                        <a:pt x="49760" y="7715"/>
                      </a:lnTo>
                      <a:lnTo>
                        <a:pt x="52272" y="9210"/>
                      </a:lnTo>
                      <a:lnTo>
                        <a:pt x="53827" y="14832"/>
                      </a:lnTo>
                      <a:lnTo>
                        <a:pt x="54604" y="17643"/>
                      </a:lnTo>
                      <a:lnTo>
                        <a:pt x="51793" y="23445"/>
                      </a:lnTo>
                      <a:lnTo>
                        <a:pt x="51315" y="23743"/>
                      </a:lnTo>
                      <a:lnTo>
                        <a:pt x="49401" y="24940"/>
                      </a:lnTo>
                      <a:lnTo>
                        <a:pt x="48743" y="24521"/>
                      </a:lnTo>
                    </a:path>
                  </a:pathLst>
                </a:custGeom>
                <a:noFill/>
                <a:ln w="6350" cap="rnd">
                  <a:solidFill>
                    <a:schemeClr val="bg1">
                      <a:alpha val="40000"/>
                    </a:schemeClr>
                  </a:solidFill>
                  <a:prstDash val="solid"/>
                  <a:round/>
                </a:ln>
              </p:spPr>
              <p:txBody>
                <a:bodyPr rtlCol="0" anchor="ctr"/>
                <a:lstStyle/>
                <a:p>
                  <a:endParaRPr lang="en-GB"/>
                </a:p>
              </p:txBody>
            </p:sp>
            <p:sp>
              <p:nvSpPr>
                <p:cNvPr id="6724" name="Vrije vorm: vorm 6723">
                  <a:extLst>
                    <a:ext uri="{FF2B5EF4-FFF2-40B4-BE49-F238E27FC236}">
                      <a16:creationId xmlns:a16="http://schemas.microsoft.com/office/drawing/2014/main" id="{1D3A68EC-8B51-4BBE-9CF9-34E39DBB25A1}"/>
                    </a:ext>
                  </a:extLst>
                </p:cNvPr>
                <p:cNvSpPr/>
                <p:nvPr/>
              </p:nvSpPr>
              <p:spPr>
                <a:xfrm>
                  <a:off x="6894117" y="1925952"/>
                  <a:ext cx="22128" cy="9987"/>
                </a:xfrm>
                <a:custGeom>
                  <a:avLst/>
                  <a:gdLst>
                    <a:gd name="connsiteX0" fmla="*/ 0 w 22128"/>
                    <a:gd name="connsiteY0" fmla="*/ 120 h 9987"/>
                    <a:gd name="connsiteX1" fmla="*/ 837 w 22128"/>
                    <a:gd name="connsiteY1" fmla="*/ 0 h 9987"/>
                    <a:gd name="connsiteX2" fmla="*/ 2333 w 22128"/>
                    <a:gd name="connsiteY2" fmla="*/ 0 h 9987"/>
                    <a:gd name="connsiteX3" fmla="*/ 5083 w 22128"/>
                    <a:gd name="connsiteY3" fmla="*/ 0 h 9987"/>
                    <a:gd name="connsiteX4" fmla="*/ 5741 w 22128"/>
                    <a:gd name="connsiteY4" fmla="*/ 0 h 9987"/>
                    <a:gd name="connsiteX5" fmla="*/ 6399 w 22128"/>
                    <a:gd name="connsiteY5" fmla="*/ 0 h 9987"/>
                    <a:gd name="connsiteX6" fmla="*/ 6818 w 22128"/>
                    <a:gd name="connsiteY6" fmla="*/ 0 h 9987"/>
                    <a:gd name="connsiteX7" fmla="*/ 7356 w 22128"/>
                    <a:gd name="connsiteY7" fmla="*/ 60 h 9987"/>
                    <a:gd name="connsiteX8" fmla="*/ 9509 w 22128"/>
                    <a:gd name="connsiteY8" fmla="*/ 359 h 9987"/>
                    <a:gd name="connsiteX9" fmla="*/ 10706 w 22128"/>
                    <a:gd name="connsiteY9" fmla="*/ 478 h 9987"/>
                    <a:gd name="connsiteX10" fmla="*/ 12081 w 22128"/>
                    <a:gd name="connsiteY10" fmla="*/ 1136 h 9987"/>
                    <a:gd name="connsiteX11" fmla="*/ 14593 w 22128"/>
                    <a:gd name="connsiteY11" fmla="*/ 2273 h 9987"/>
                    <a:gd name="connsiteX12" fmla="*/ 14952 w 22128"/>
                    <a:gd name="connsiteY12" fmla="*/ 2452 h 9987"/>
                    <a:gd name="connsiteX13" fmla="*/ 15191 w 22128"/>
                    <a:gd name="connsiteY13" fmla="*/ 2572 h 9987"/>
                    <a:gd name="connsiteX14" fmla="*/ 16925 w 22128"/>
                    <a:gd name="connsiteY14" fmla="*/ 3409 h 9987"/>
                    <a:gd name="connsiteX15" fmla="*/ 17942 w 22128"/>
                    <a:gd name="connsiteY15" fmla="*/ 3887 h 9987"/>
                    <a:gd name="connsiteX16" fmla="*/ 19377 w 22128"/>
                    <a:gd name="connsiteY16" fmla="*/ 4605 h 9987"/>
                    <a:gd name="connsiteX17" fmla="*/ 20035 w 22128"/>
                    <a:gd name="connsiteY17" fmla="*/ 4904 h 9987"/>
                    <a:gd name="connsiteX18" fmla="*/ 21231 w 22128"/>
                    <a:gd name="connsiteY18" fmla="*/ 6459 h 9987"/>
                    <a:gd name="connsiteX19" fmla="*/ 22128 w 22128"/>
                    <a:gd name="connsiteY19" fmla="*/ 7595 h 9987"/>
                    <a:gd name="connsiteX20" fmla="*/ 22069 w 22128"/>
                    <a:gd name="connsiteY20" fmla="*/ 7835 h 9987"/>
                    <a:gd name="connsiteX21" fmla="*/ 21949 w 22128"/>
                    <a:gd name="connsiteY21" fmla="*/ 8493 h 9987"/>
                    <a:gd name="connsiteX22" fmla="*/ 21890 w 22128"/>
                    <a:gd name="connsiteY22" fmla="*/ 8672 h 9987"/>
                    <a:gd name="connsiteX23" fmla="*/ 21770 w 22128"/>
                    <a:gd name="connsiteY23" fmla="*/ 9330 h 9987"/>
                    <a:gd name="connsiteX24" fmla="*/ 21650 w 22128"/>
                    <a:gd name="connsiteY24" fmla="*/ 9988 h 9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128" h="9987">
                      <a:moveTo>
                        <a:pt x="0" y="120"/>
                      </a:moveTo>
                      <a:lnTo>
                        <a:pt x="837" y="0"/>
                      </a:lnTo>
                      <a:lnTo>
                        <a:pt x="2333" y="0"/>
                      </a:lnTo>
                      <a:lnTo>
                        <a:pt x="5083" y="0"/>
                      </a:lnTo>
                      <a:lnTo>
                        <a:pt x="5741" y="0"/>
                      </a:lnTo>
                      <a:lnTo>
                        <a:pt x="6399" y="0"/>
                      </a:lnTo>
                      <a:lnTo>
                        <a:pt x="6818" y="0"/>
                      </a:lnTo>
                      <a:lnTo>
                        <a:pt x="7356" y="60"/>
                      </a:lnTo>
                      <a:lnTo>
                        <a:pt x="9509" y="359"/>
                      </a:lnTo>
                      <a:lnTo>
                        <a:pt x="10706" y="478"/>
                      </a:lnTo>
                      <a:lnTo>
                        <a:pt x="12081" y="1136"/>
                      </a:lnTo>
                      <a:lnTo>
                        <a:pt x="14593" y="2273"/>
                      </a:lnTo>
                      <a:lnTo>
                        <a:pt x="14952" y="2452"/>
                      </a:lnTo>
                      <a:lnTo>
                        <a:pt x="15191" y="2572"/>
                      </a:lnTo>
                      <a:lnTo>
                        <a:pt x="16925" y="3409"/>
                      </a:lnTo>
                      <a:lnTo>
                        <a:pt x="17942" y="3887"/>
                      </a:lnTo>
                      <a:lnTo>
                        <a:pt x="19377" y="4605"/>
                      </a:lnTo>
                      <a:lnTo>
                        <a:pt x="20035" y="4904"/>
                      </a:lnTo>
                      <a:lnTo>
                        <a:pt x="21231" y="6459"/>
                      </a:lnTo>
                      <a:lnTo>
                        <a:pt x="22128" y="7595"/>
                      </a:lnTo>
                      <a:lnTo>
                        <a:pt x="22069" y="7835"/>
                      </a:lnTo>
                      <a:lnTo>
                        <a:pt x="21949" y="8493"/>
                      </a:lnTo>
                      <a:lnTo>
                        <a:pt x="21890" y="8672"/>
                      </a:lnTo>
                      <a:lnTo>
                        <a:pt x="21770" y="9330"/>
                      </a:lnTo>
                      <a:lnTo>
                        <a:pt x="21650" y="9988"/>
                      </a:lnTo>
                    </a:path>
                  </a:pathLst>
                </a:custGeom>
                <a:noFill/>
                <a:ln w="6350" cap="rnd">
                  <a:solidFill>
                    <a:schemeClr val="bg1">
                      <a:alpha val="40000"/>
                    </a:schemeClr>
                  </a:solidFill>
                  <a:prstDash val="solid"/>
                  <a:round/>
                </a:ln>
              </p:spPr>
              <p:txBody>
                <a:bodyPr rtlCol="0" anchor="ctr"/>
                <a:lstStyle/>
                <a:p>
                  <a:endParaRPr lang="en-GB"/>
                </a:p>
              </p:txBody>
            </p:sp>
            <p:sp>
              <p:nvSpPr>
                <p:cNvPr id="6725" name="Vrije vorm: vorm 6724">
                  <a:extLst>
                    <a:ext uri="{FF2B5EF4-FFF2-40B4-BE49-F238E27FC236}">
                      <a16:creationId xmlns:a16="http://schemas.microsoft.com/office/drawing/2014/main" id="{407F7E25-82DA-43AE-9C45-DB7906891E83}"/>
                    </a:ext>
                  </a:extLst>
                </p:cNvPr>
                <p:cNvSpPr/>
                <p:nvPr/>
              </p:nvSpPr>
              <p:spPr>
                <a:xfrm>
                  <a:off x="6881438" y="1917041"/>
                  <a:ext cx="6996" cy="6638"/>
                </a:xfrm>
                <a:custGeom>
                  <a:avLst/>
                  <a:gdLst>
                    <a:gd name="connsiteX0" fmla="*/ 6997 w 6996"/>
                    <a:gd name="connsiteY0" fmla="*/ 0 h 6638"/>
                    <a:gd name="connsiteX1" fmla="*/ 6459 w 6996"/>
                    <a:gd name="connsiteY1" fmla="*/ 120 h 6638"/>
                    <a:gd name="connsiteX2" fmla="*/ 5323 w 6996"/>
                    <a:gd name="connsiteY2" fmla="*/ 299 h 6638"/>
                    <a:gd name="connsiteX3" fmla="*/ 3170 w 6996"/>
                    <a:gd name="connsiteY3" fmla="*/ 1794 h 6638"/>
                    <a:gd name="connsiteX4" fmla="*/ 2571 w 6996"/>
                    <a:gd name="connsiteY4" fmla="*/ 2691 h 6638"/>
                    <a:gd name="connsiteX5" fmla="*/ 2452 w 6996"/>
                    <a:gd name="connsiteY5" fmla="*/ 2871 h 6638"/>
                    <a:gd name="connsiteX6" fmla="*/ 1973 w 6996"/>
                    <a:gd name="connsiteY6" fmla="*/ 3648 h 6638"/>
                    <a:gd name="connsiteX7" fmla="*/ 120 w 6996"/>
                    <a:gd name="connsiteY7" fmla="*/ 6519 h 6638"/>
                    <a:gd name="connsiteX8" fmla="*/ 0 w 6996"/>
                    <a:gd name="connsiteY8" fmla="*/ 6639 h 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96" h="6638">
                      <a:moveTo>
                        <a:pt x="6997" y="0"/>
                      </a:moveTo>
                      <a:lnTo>
                        <a:pt x="6459" y="120"/>
                      </a:lnTo>
                      <a:lnTo>
                        <a:pt x="5323" y="299"/>
                      </a:lnTo>
                      <a:lnTo>
                        <a:pt x="3170" y="1794"/>
                      </a:lnTo>
                      <a:lnTo>
                        <a:pt x="2571" y="2691"/>
                      </a:lnTo>
                      <a:lnTo>
                        <a:pt x="2452" y="2871"/>
                      </a:lnTo>
                      <a:lnTo>
                        <a:pt x="1973" y="3648"/>
                      </a:lnTo>
                      <a:lnTo>
                        <a:pt x="120" y="6519"/>
                      </a:lnTo>
                      <a:lnTo>
                        <a:pt x="0" y="6639"/>
                      </a:lnTo>
                    </a:path>
                  </a:pathLst>
                </a:custGeom>
                <a:noFill/>
                <a:ln w="6350" cap="rnd">
                  <a:solidFill>
                    <a:schemeClr val="bg1">
                      <a:alpha val="40000"/>
                    </a:schemeClr>
                  </a:solidFill>
                  <a:prstDash val="solid"/>
                  <a:round/>
                </a:ln>
              </p:spPr>
              <p:txBody>
                <a:bodyPr rtlCol="0" anchor="ctr"/>
                <a:lstStyle/>
                <a:p>
                  <a:endParaRPr lang="en-GB"/>
                </a:p>
              </p:txBody>
            </p:sp>
            <p:sp>
              <p:nvSpPr>
                <p:cNvPr id="6726" name="Vrije vorm: vorm 6725">
                  <a:extLst>
                    <a:ext uri="{FF2B5EF4-FFF2-40B4-BE49-F238E27FC236}">
                      <a16:creationId xmlns:a16="http://schemas.microsoft.com/office/drawing/2014/main" id="{946C9C4A-85FD-42DC-9F74-F934B0CDEFBD}"/>
                    </a:ext>
                  </a:extLst>
                </p:cNvPr>
                <p:cNvSpPr/>
                <p:nvPr/>
              </p:nvSpPr>
              <p:spPr>
                <a:xfrm>
                  <a:off x="6689756" y="1801075"/>
                  <a:ext cx="19317" cy="11183"/>
                </a:xfrm>
                <a:custGeom>
                  <a:avLst/>
                  <a:gdLst>
                    <a:gd name="connsiteX0" fmla="*/ 0 w 19317"/>
                    <a:gd name="connsiteY0" fmla="*/ 1854 h 11183"/>
                    <a:gd name="connsiteX1" fmla="*/ 837 w 19317"/>
                    <a:gd name="connsiteY1" fmla="*/ 778 h 11183"/>
                    <a:gd name="connsiteX2" fmla="*/ 4725 w 19317"/>
                    <a:gd name="connsiteY2" fmla="*/ 120 h 11183"/>
                    <a:gd name="connsiteX3" fmla="*/ 9091 w 19317"/>
                    <a:gd name="connsiteY3" fmla="*/ 0 h 11183"/>
                    <a:gd name="connsiteX4" fmla="*/ 11483 w 19317"/>
                    <a:gd name="connsiteY4" fmla="*/ 478 h 11183"/>
                    <a:gd name="connsiteX5" fmla="*/ 16268 w 19317"/>
                    <a:gd name="connsiteY5" fmla="*/ 2033 h 11183"/>
                    <a:gd name="connsiteX6" fmla="*/ 18899 w 19317"/>
                    <a:gd name="connsiteY6" fmla="*/ 4486 h 11183"/>
                    <a:gd name="connsiteX7" fmla="*/ 19079 w 19317"/>
                    <a:gd name="connsiteY7" fmla="*/ 5622 h 11183"/>
                    <a:gd name="connsiteX8" fmla="*/ 19318 w 19317"/>
                    <a:gd name="connsiteY8" fmla="*/ 7177 h 11183"/>
                    <a:gd name="connsiteX9" fmla="*/ 19258 w 19317"/>
                    <a:gd name="connsiteY9" fmla="*/ 7476 h 11183"/>
                    <a:gd name="connsiteX10" fmla="*/ 19019 w 19317"/>
                    <a:gd name="connsiteY10" fmla="*/ 9569 h 11183"/>
                    <a:gd name="connsiteX11" fmla="*/ 18839 w 19317"/>
                    <a:gd name="connsiteY11" fmla="*/ 11184 h 1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317" h="11183">
                      <a:moveTo>
                        <a:pt x="0" y="1854"/>
                      </a:moveTo>
                      <a:lnTo>
                        <a:pt x="837" y="778"/>
                      </a:lnTo>
                      <a:lnTo>
                        <a:pt x="4725" y="120"/>
                      </a:lnTo>
                      <a:lnTo>
                        <a:pt x="9091" y="0"/>
                      </a:lnTo>
                      <a:lnTo>
                        <a:pt x="11483" y="478"/>
                      </a:lnTo>
                      <a:lnTo>
                        <a:pt x="16268" y="2033"/>
                      </a:lnTo>
                      <a:lnTo>
                        <a:pt x="18899" y="4486"/>
                      </a:lnTo>
                      <a:lnTo>
                        <a:pt x="19079" y="5622"/>
                      </a:lnTo>
                      <a:lnTo>
                        <a:pt x="19318" y="7177"/>
                      </a:lnTo>
                      <a:lnTo>
                        <a:pt x="19258" y="7476"/>
                      </a:lnTo>
                      <a:lnTo>
                        <a:pt x="19019" y="9569"/>
                      </a:lnTo>
                      <a:lnTo>
                        <a:pt x="18839" y="11184"/>
                      </a:lnTo>
                    </a:path>
                  </a:pathLst>
                </a:custGeom>
                <a:noFill/>
                <a:ln w="6350" cap="rnd">
                  <a:solidFill>
                    <a:schemeClr val="bg1">
                      <a:alpha val="40000"/>
                    </a:schemeClr>
                  </a:solidFill>
                  <a:prstDash val="solid"/>
                  <a:round/>
                </a:ln>
              </p:spPr>
              <p:txBody>
                <a:bodyPr rtlCol="0" anchor="ctr"/>
                <a:lstStyle/>
                <a:p>
                  <a:endParaRPr lang="en-GB"/>
                </a:p>
              </p:txBody>
            </p:sp>
            <p:sp>
              <p:nvSpPr>
                <p:cNvPr id="6727" name="Vrije vorm: vorm 6726">
                  <a:extLst>
                    <a:ext uri="{FF2B5EF4-FFF2-40B4-BE49-F238E27FC236}">
                      <a16:creationId xmlns:a16="http://schemas.microsoft.com/office/drawing/2014/main" id="{19D04D69-BC6F-4975-A534-3853124CD34B}"/>
                    </a:ext>
                  </a:extLst>
                </p:cNvPr>
                <p:cNvSpPr/>
                <p:nvPr/>
              </p:nvSpPr>
              <p:spPr>
                <a:xfrm>
                  <a:off x="6927310" y="2039047"/>
                  <a:ext cx="8672" cy="11483"/>
                </a:xfrm>
                <a:custGeom>
                  <a:avLst/>
                  <a:gdLst>
                    <a:gd name="connsiteX0" fmla="*/ 6878 w 8672"/>
                    <a:gd name="connsiteY0" fmla="*/ 0 h 11483"/>
                    <a:gd name="connsiteX1" fmla="*/ 6938 w 8672"/>
                    <a:gd name="connsiteY1" fmla="*/ 239 h 11483"/>
                    <a:gd name="connsiteX2" fmla="*/ 7237 w 8672"/>
                    <a:gd name="connsiteY2" fmla="*/ 1017 h 11483"/>
                    <a:gd name="connsiteX3" fmla="*/ 7596 w 8672"/>
                    <a:gd name="connsiteY3" fmla="*/ 1974 h 11483"/>
                    <a:gd name="connsiteX4" fmla="*/ 8672 w 8672"/>
                    <a:gd name="connsiteY4" fmla="*/ 4844 h 11483"/>
                    <a:gd name="connsiteX5" fmla="*/ 7596 w 8672"/>
                    <a:gd name="connsiteY5" fmla="*/ 6579 h 11483"/>
                    <a:gd name="connsiteX6" fmla="*/ 5503 w 8672"/>
                    <a:gd name="connsiteY6" fmla="*/ 9928 h 11483"/>
                    <a:gd name="connsiteX7" fmla="*/ 2333 w 8672"/>
                    <a:gd name="connsiteY7" fmla="*/ 10825 h 11483"/>
                    <a:gd name="connsiteX8" fmla="*/ 1974 w 8672"/>
                    <a:gd name="connsiteY8" fmla="*/ 10945 h 11483"/>
                    <a:gd name="connsiteX9" fmla="*/ 120 w 8672"/>
                    <a:gd name="connsiteY9" fmla="*/ 11483 h 11483"/>
                    <a:gd name="connsiteX10" fmla="*/ 0 w 8672"/>
                    <a:gd name="connsiteY10" fmla="*/ 11184 h 1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72" h="11483">
                      <a:moveTo>
                        <a:pt x="6878" y="0"/>
                      </a:moveTo>
                      <a:lnTo>
                        <a:pt x="6938" y="239"/>
                      </a:lnTo>
                      <a:lnTo>
                        <a:pt x="7237" y="1017"/>
                      </a:lnTo>
                      <a:lnTo>
                        <a:pt x="7596" y="1974"/>
                      </a:lnTo>
                      <a:lnTo>
                        <a:pt x="8672" y="4844"/>
                      </a:lnTo>
                      <a:lnTo>
                        <a:pt x="7596" y="6579"/>
                      </a:lnTo>
                      <a:lnTo>
                        <a:pt x="5503" y="9928"/>
                      </a:lnTo>
                      <a:lnTo>
                        <a:pt x="2333" y="10825"/>
                      </a:lnTo>
                      <a:lnTo>
                        <a:pt x="1974" y="10945"/>
                      </a:lnTo>
                      <a:lnTo>
                        <a:pt x="120" y="11483"/>
                      </a:lnTo>
                      <a:lnTo>
                        <a:pt x="0" y="11184"/>
                      </a:lnTo>
                    </a:path>
                  </a:pathLst>
                </a:custGeom>
                <a:noFill/>
                <a:ln w="6350" cap="rnd">
                  <a:solidFill>
                    <a:schemeClr val="bg1">
                      <a:alpha val="40000"/>
                    </a:schemeClr>
                  </a:solidFill>
                  <a:prstDash val="solid"/>
                  <a:round/>
                </a:ln>
              </p:spPr>
              <p:txBody>
                <a:bodyPr rtlCol="0" anchor="ctr"/>
                <a:lstStyle/>
                <a:p>
                  <a:endParaRPr lang="en-GB"/>
                </a:p>
              </p:txBody>
            </p:sp>
            <p:sp>
              <p:nvSpPr>
                <p:cNvPr id="6728" name="Vrije vorm: vorm 6727">
                  <a:extLst>
                    <a:ext uri="{FF2B5EF4-FFF2-40B4-BE49-F238E27FC236}">
                      <a16:creationId xmlns:a16="http://schemas.microsoft.com/office/drawing/2014/main" id="{2F0E1F2A-E484-4719-8163-1636F4A76FC7}"/>
                    </a:ext>
                  </a:extLst>
                </p:cNvPr>
                <p:cNvSpPr/>
                <p:nvPr/>
              </p:nvSpPr>
              <p:spPr>
                <a:xfrm>
                  <a:off x="6622712" y="1831516"/>
                  <a:ext cx="8971" cy="10765"/>
                </a:xfrm>
                <a:custGeom>
                  <a:avLst/>
                  <a:gdLst>
                    <a:gd name="connsiteX0" fmla="*/ 1555 w 8971"/>
                    <a:gd name="connsiteY0" fmla="*/ 10765 h 10765"/>
                    <a:gd name="connsiteX1" fmla="*/ 0 w 8971"/>
                    <a:gd name="connsiteY1" fmla="*/ 4486 h 10765"/>
                    <a:gd name="connsiteX2" fmla="*/ 4007 w 8971"/>
                    <a:gd name="connsiteY2" fmla="*/ 0 h 10765"/>
                    <a:gd name="connsiteX3" fmla="*/ 8971 w 8971"/>
                    <a:gd name="connsiteY3" fmla="*/ 3230 h 10765"/>
                  </a:gdLst>
                  <a:ahLst/>
                  <a:cxnLst>
                    <a:cxn ang="0">
                      <a:pos x="connsiteX0" y="connsiteY0"/>
                    </a:cxn>
                    <a:cxn ang="0">
                      <a:pos x="connsiteX1" y="connsiteY1"/>
                    </a:cxn>
                    <a:cxn ang="0">
                      <a:pos x="connsiteX2" y="connsiteY2"/>
                    </a:cxn>
                    <a:cxn ang="0">
                      <a:pos x="connsiteX3" y="connsiteY3"/>
                    </a:cxn>
                  </a:cxnLst>
                  <a:rect l="l" t="t" r="r" b="b"/>
                  <a:pathLst>
                    <a:path w="8971" h="10765">
                      <a:moveTo>
                        <a:pt x="1555" y="10765"/>
                      </a:moveTo>
                      <a:lnTo>
                        <a:pt x="0" y="4486"/>
                      </a:lnTo>
                      <a:lnTo>
                        <a:pt x="4007" y="0"/>
                      </a:lnTo>
                      <a:lnTo>
                        <a:pt x="8971" y="3230"/>
                      </a:lnTo>
                    </a:path>
                  </a:pathLst>
                </a:custGeom>
                <a:noFill/>
                <a:ln w="6350" cap="rnd">
                  <a:solidFill>
                    <a:schemeClr val="bg1">
                      <a:alpha val="40000"/>
                    </a:schemeClr>
                  </a:solidFill>
                  <a:prstDash val="solid"/>
                  <a:round/>
                </a:ln>
              </p:spPr>
              <p:txBody>
                <a:bodyPr rtlCol="0" anchor="ctr"/>
                <a:lstStyle/>
                <a:p>
                  <a:endParaRPr lang="en-GB"/>
                </a:p>
              </p:txBody>
            </p:sp>
            <p:sp>
              <p:nvSpPr>
                <p:cNvPr id="6729" name="Vrije vorm: vorm 6728">
                  <a:extLst>
                    <a:ext uri="{FF2B5EF4-FFF2-40B4-BE49-F238E27FC236}">
                      <a16:creationId xmlns:a16="http://schemas.microsoft.com/office/drawing/2014/main" id="{CAEED2DC-9EDD-4A4B-A5D0-545E32316149}"/>
                    </a:ext>
                  </a:extLst>
                </p:cNvPr>
                <p:cNvSpPr/>
                <p:nvPr/>
              </p:nvSpPr>
              <p:spPr>
                <a:xfrm>
                  <a:off x="6914332" y="2059920"/>
                  <a:ext cx="7296" cy="10346"/>
                </a:xfrm>
                <a:custGeom>
                  <a:avLst/>
                  <a:gdLst>
                    <a:gd name="connsiteX0" fmla="*/ 6399 w 7296"/>
                    <a:gd name="connsiteY0" fmla="*/ 0 h 10346"/>
                    <a:gd name="connsiteX1" fmla="*/ 6399 w 7296"/>
                    <a:gd name="connsiteY1" fmla="*/ 0 h 10346"/>
                    <a:gd name="connsiteX2" fmla="*/ 6639 w 7296"/>
                    <a:gd name="connsiteY2" fmla="*/ 359 h 10346"/>
                    <a:gd name="connsiteX3" fmla="*/ 7117 w 7296"/>
                    <a:gd name="connsiteY3" fmla="*/ 4246 h 10346"/>
                    <a:gd name="connsiteX4" fmla="*/ 7236 w 7296"/>
                    <a:gd name="connsiteY4" fmla="*/ 5084 h 10346"/>
                    <a:gd name="connsiteX5" fmla="*/ 7296 w 7296"/>
                    <a:gd name="connsiteY5" fmla="*/ 5742 h 10346"/>
                    <a:gd name="connsiteX6" fmla="*/ 7117 w 7296"/>
                    <a:gd name="connsiteY6" fmla="*/ 5981 h 10346"/>
                    <a:gd name="connsiteX7" fmla="*/ 6938 w 7296"/>
                    <a:gd name="connsiteY7" fmla="*/ 6160 h 10346"/>
                    <a:gd name="connsiteX8" fmla="*/ 3588 w 7296"/>
                    <a:gd name="connsiteY8" fmla="*/ 10347 h 10346"/>
                    <a:gd name="connsiteX9" fmla="*/ 1316 w 7296"/>
                    <a:gd name="connsiteY9" fmla="*/ 9150 h 10346"/>
                    <a:gd name="connsiteX10" fmla="*/ 120 w 7296"/>
                    <a:gd name="connsiteY10" fmla="*/ 8493 h 10346"/>
                    <a:gd name="connsiteX11" fmla="*/ 0 w 7296"/>
                    <a:gd name="connsiteY11" fmla="*/ 8253 h 1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96" h="10346">
                      <a:moveTo>
                        <a:pt x="6399" y="0"/>
                      </a:moveTo>
                      <a:lnTo>
                        <a:pt x="6399" y="0"/>
                      </a:lnTo>
                      <a:lnTo>
                        <a:pt x="6639" y="359"/>
                      </a:lnTo>
                      <a:lnTo>
                        <a:pt x="7117" y="4246"/>
                      </a:lnTo>
                      <a:lnTo>
                        <a:pt x="7236" y="5084"/>
                      </a:lnTo>
                      <a:lnTo>
                        <a:pt x="7296" y="5742"/>
                      </a:lnTo>
                      <a:lnTo>
                        <a:pt x="7117" y="5981"/>
                      </a:lnTo>
                      <a:lnTo>
                        <a:pt x="6938" y="6160"/>
                      </a:lnTo>
                      <a:lnTo>
                        <a:pt x="3588" y="10347"/>
                      </a:lnTo>
                      <a:lnTo>
                        <a:pt x="1316" y="9150"/>
                      </a:lnTo>
                      <a:lnTo>
                        <a:pt x="120" y="8493"/>
                      </a:lnTo>
                      <a:lnTo>
                        <a:pt x="0" y="8253"/>
                      </a:lnTo>
                    </a:path>
                  </a:pathLst>
                </a:custGeom>
                <a:noFill/>
                <a:ln w="6350" cap="rnd">
                  <a:solidFill>
                    <a:schemeClr val="bg1">
                      <a:alpha val="40000"/>
                    </a:schemeClr>
                  </a:solidFill>
                  <a:prstDash val="solid"/>
                  <a:round/>
                </a:ln>
              </p:spPr>
              <p:txBody>
                <a:bodyPr rtlCol="0" anchor="ctr"/>
                <a:lstStyle/>
                <a:p>
                  <a:endParaRPr lang="en-GB"/>
                </a:p>
              </p:txBody>
            </p:sp>
            <p:sp>
              <p:nvSpPr>
                <p:cNvPr id="6730" name="Vrije vorm: vorm 6729">
                  <a:extLst>
                    <a:ext uri="{FF2B5EF4-FFF2-40B4-BE49-F238E27FC236}">
                      <a16:creationId xmlns:a16="http://schemas.microsoft.com/office/drawing/2014/main" id="{F91C613B-FA83-4111-9586-3D24CAA6FF82}"/>
                    </a:ext>
                  </a:extLst>
                </p:cNvPr>
                <p:cNvSpPr/>
                <p:nvPr/>
              </p:nvSpPr>
              <p:spPr>
                <a:xfrm>
                  <a:off x="6809131" y="2078042"/>
                  <a:ext cx="777" cy="1016"/>
                </a:xfrm>
                <a:custGeom>
                  <a:avLst/>
                  <a:gdLst>
                    <a:gd name="connsiteX0" fmla="*/ 0 w 777"/>
                    <a:gd name="connsiteY0" fmla="*/ 0 h 1016"/>
                    <a:gd name="connsiteX1" fmla="*/ 0 w 777"/>
                    <a:gd name="connsiteY1" fmla="*/ 0 h 1016"/>
                    <a:gd name="connsiteX2" fmla="*/ 778 w 777"/>
                    <a:gd name="connsiteY2" fmla="*/ 1017 h 1016"/>
                  </a:gdLst>
                  <a:ahLst/>
                  <a:cxnLst>
                    <a:cxn ang="0">
                      <a:pos x="connsiteX0" y="connsiteY0"/>
                    </a:cxn>
                    <a:cxn ang="0">
                      <a:pos x="connsiteX1" y="connsiteY1"/>
                    </a:cxn>
                    <a:cxn ang="0">
                      <a:pos x="connsiteX2" y="connsiteY2"/>
                    </a:cxn>
                  </a:cxnLst>
                  <a:rect l="l" t="t" r="r" b="b"/>
                  <a:pathLst>
                    <a:path w="777" h="1016">
                      <a:moveTo>
                        <a:pt x="0" y="0"/>
                      </a:moveTo>
                      <a:lnTo>
                        <a:pt x="0" y="0"/>
                      </a:lnTo>
                      <a:lnTo>
                        <a:pt x="778" y="1017"/>
                      </a:lnTo>
                    </a:path>
                  </a:pathLst>
                </a:custGeom>
                <a:noFill/>
                <a:ln w="6350" cap="rnd">
                  <a:solidFill>
                    <a:schemeClr val="bg1">
                      <a:alpha val="40000"/>
                    </a:schemeClr>
                  </a:solidFill>
                  <a:prstDash val="solid"/>
                  <a:round/>
                </a:ln>
              </p:spPr>
              <p:txBody>
                <a:bodyPr rtlCol="0" anchor="ctr"/>
                <a:lstStyle/>
                <a:p>
                  <a:endParaRPr lang="en-GB"/>
                </a:p>
              </p:txBody>
            </p:sp>
            <p:sp>
              <p:nvSpPr>
                <p:cNvPr id="6731" name="Vrije vorm: vorm 6730">
                  <a:extLst>
                    <a:ext uri="{FF2B5EF4-FFF2-40B4-BE49-F238E27FC236}">
                      <a16:creationId xmlns:a16="http://schemas.microsoft.com/office/drawing/2014/main" id="{D218B7E9-EA8C-49EF-914E-54179843B125}"/>
                    </a:ext>
                  </a:extLst>
                </p:cNvPr>
                <p:cNvSpPr/>
                <p:nvPr/>
              </p:nvSpPr>
              <p:spPr>
                <a:xfrm>
                  <a:off x="6916306" y="2075470"/>
                  <a:ext cx="28228" cy="40848"/>
                </a:xfrm>
                <a:custGeom>
                  <a:avLst/>
                  <a:gdLst>
                    <a:gd name="connsiteX0" fmla="*/ 28229 w 28228"/>
                    <a:gd name="connsiteY0" fmla="*/ 40848 h 40848"/>
                    <a:gd name="connsiteX1" fmla="*/ 25658 w 28228"/>
                    <a:gd name="connsiteY1" fmla="*/ 39054 h 40848"/>
                    <a:gd name="connsiteX2" fmla="*/ 24222 w 28228"/>
                    <a:gd name="connsiteY2" fmla="*/ 37798 h 40848"/>
                    <a:gd name="connsiteX3" fmla="*/ 14533 w 28228"/>
                    <a:gd name="connsiteY3" fmla="*/ 28887 h 40848"/>
                    <a:gd name="connsiteX4" fmla="*/ 9091 w 28228"/>
                    <a:gd name="connsiteY4" fmla="*/ 21590 h 40848"/>
                    <a:gd name="connsiteX5" fmla="*/ 3888 w 28228"/>
                    <a:gd name="connsiteY5" fmla="*/ 12440 h 40848"/>
                    <a:gd name="connsiteX6" fmla="*/ 1017 w 28228"/>
                    <a:gd name="connsiteY6" fmla="*/ 5502 h 40848"/>
                    <a:gd name="connsiteX7" fmla="*/ 0 w 28228"/>
                    <a:gd name="connsiteY7" fmla="*/ 2751 h 40848"/>
                    <a:gd name="connsiteX8" fmla="*/ 1675 w 28228"/>
                    <a:gd name="connsiteY8" fmla="*/ 0 h 4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28" h="40848">
                      <a:moveTo>
                        <a:pt x="28229" y="40848"/>
                      </a:moveTo>
                      <a:lnTo>
                        <a:pt x="25658" y="39054"/>
                      </a:lnTo>
                      <a:lnTo>
                        <a:pt x="24222" y="37798"/>
                      </a:lnTo>
                      <a:lnTo>
                        <a:pt x="14533" y="28887"/>
                      </a:lnTo>
                      <a:lnTo>
                        <a:pt x="9091" y="21590"/>
                      </a:lnTo>
                      <a:lnTo>
                        <a:pt x="3888" y="12440"/>
                      </a:lnTo>
                      <a:lnTo>
                        <a:pt x="1017" y="5502"/>
                      </a:lnTo>
                      <a:lnTo>
                        <a:pt x="0" y="2751"/>
                      </a:lnTo>
                      <a:lnTo>
                        <a:pt x="1675" y="0"/>
                      </a:lnTo>
                    </a:path>
                  </a:pathLst>
                </a:custGeom>
                <a:noFill/>
                <a:ln w="6350" cap="rnd">
                  <a:solidFill>
                    <a:schemeClr val="bg1">
                      <a:alpha val="40000"/>
                    </a:schemeClr>
                  </a:solidFill>
                  <a:prstDash val="solid"/>
                  <a:round/>
                </a:ln>
              </p:spPr>
              <p:txBody>
                <a:bodyPr rtlCol="0" anchor="ctr"/>
                <a:lstStyle/>
                <a:p>
                  <a:endParaRPr lang="en-GB"/>
                </a:p>
              </p:txBody>
            </p:sp>
            <p:sp>
              <p:nvSpPr>
                <p:cNvPr id="6732" name="Vrije vorm: vorm 6731">
                  <a:extLst>
                    <a:ext uri="{FF2B5EF4-FFF2-40B4-BE49-F238E27FC236}">
                      <a16:creationId xmlns:a16="http://schemas.microsoft.com/office/drawing/2014/main" id="{04D39D68-B77B-4CB9-BA92-35DC658C33CC}"/>
                    </a:ext>
                  </a:extLst>
                </p:cNvPr>
                <p:cNvSpPr/>
                <p:nvPr/>
              </p:nvSpPr>
              <p:spPr>
                <a:xfrm>
                  <a:off x="6898663" y="2076726"/>
                  <a:ext cx="8671" cy="12081"/>
                </a:xfrm>
                <a:custGeom>
                  <a:avLst/>
                  <a:gdLst>
                    <a:gd name="connsiteX0" fmla="*/ 8253 w 8671"/>
                    <a:gd name="connsiteY0" fmla="*/ 0 h 12081"/>
                    <a:gd name="connsiteX1" fmla="*/ 8672 w 8671"/>
                    <a:gd name="connsiteY1" fmla="*/ 359 h 12081"/>
                    <a:gd name="connsiteX2" fmla="*/ 6997 w 8671"/>
                    <a:gd name="connsiteY2" fmla="*/ 8253 h 12081"/>
                    <a:gd name="connsiteX3" fmla="*/ 3050 w 8671"/>
                    <a:gd name="connsiteY3" fmla="*/ 12081 h 12081"/>
                    <a:gd name="connsiteX4" fmla="*/ 180 w 8671"/>
                    <a:gd name="connsiteY4" fmla="*/ 8911 h 12081"/>
                    <a:gd name="connsiteX5" fmla="*/ 0 w 8671"/>
                    <a:gd name="connsiteY5" fmla="*/ 8552 h 12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1" h="12081">
                      <a:moveTo>
                        <a:pt x="8253" y="0"/>
                      </a:moveTo>
                      <a:lnTo>
                        <a:pt x="8672" y="359"/>
                      </a:lnTo>
                      <a:lnTo>
                        <a:pt x="6997" y="8253"/>
                      </a:lnTo>
                      <a:lnTo>
                        <a:pt x="3050" y="12081"/>
                      </a:lnTo>
                      <a:lnTo>
                        <a:pt x="180" y="8911"/>
                      </a:lnTo>
                      <a:lnTo>
                        <a:pt x="0" y="8552"/>
                      </a:lnTo>
                    </a:path>
                  </a:pathLst>
                </a:custGeom>
                <a:noFill/>
                <a:ln w="6350" cap="rnd">
                  <a:solidFill>
                    <a:schemeClr val="bg1">
                      <a:alpha val="40000"/>
                    </a:schemeClr>
                  </a:solidFill>
                  <a:prstDash val="solid"/>
                  <a:round/>
                </a:ln>
              </p:spPr>
              <p:txBody>
                <a:bodyPr rtlCol="0" anchor="ctr"/>
                <a:lstStyle/>
                <a:p>
                  <a:endParaRPr lang="en-GB"/>
                </a:p>
              </p:txBody>
            </p:sp>
            <p:sp>
              <p:nvSpPr>
                <p:cNvPr id="6733" name="Vrije vorm: vorm 6732">
                  <a:extLst>
                    <a:ext uri="{FF2B5EF4-FFF2-40B4-BE49-F238E27FC236}">
                      <a16:creationId xmlns:a16="http://schemas.microsoft.com/office/drawing/2014/main" id="{72102A5A-8440-449B-BAFD-270B86C3BEE4}"/>
                    </a:ext>
                  </a:extLst>
                </p:cNvPr>
                <p:cNvSpPr/>
                <p:nvPr/>
              </p:nvSpPr>
              <p:spPr>
                <a:xfrm>
                  <a:off x="6755903" y="1854482"/>
                  <a:ext cx="3110" cy="8373"/>
                </a:xfrm>
                <a:custGeom>
                  <a:avLst/>
                  <a:gdLst>
                    <a:gd name="connsiteX0" fmla="*/ 0 w 3110"/>
                    <a:gd name="connsiteY0" fmla="*/ 0 h 8373"/>
                    <a:gd name="connsiteX1" fmla="*/ 1735 w 3110"/>
                    <a:gd name="connsiteY1" fmla="*/ 4187 h 8373"/>
                    <a:gd name="connsiteX2" fmla="*/ 3110 w 3110"/>
                    <a:gd name="connsiteY2" fmla="*/ 8373 h 8373"/>
                  </a:gdLst>
                  <a:ahLst/>
                  <a:cxnLst>
                    <a:cxn ang="0">
                      <a:pos x="connsiteX0" y="connsiteY0"/>
                    </a:cxn>
                    <a:cxn ang="0">
                      <a:pos x="connsiteX1" y="connsiteY1"/>
                    </a:cxn>
                    <a:cxn ang="0">
                      <a:pos x="connsiteX2" y="connsiteY2"/>
                    </a:cxn>
                  </a:cxnLst>
                  <a:rect l="l" t="t" r="r" b="b"/>
                  <a:pathLst>
                    <a:path w="3110" h="8373">
                      <a:moveTo>
                        <a:pt x="0" y="0"/>
                      </a:moveTo>
                      <a:lnTo>
                        <a:pt x="1735" y="4187"/>
                      </a:lnTo>
                      <a:lnTo>
                        <a:pt x="3110" y="8373"/>
                      </a:lnTo>
                    </a:path>
                  </a:pathLst>
                </a:custGeom>
                <a:noFill/>
                <a:ln w="6350" cap="rnd">
                  <a:solidFill>
                    <a:schemeClr val="bg1">
                      <a:alpha val="40000"/>
                    </a:schemeClr>
                  </a:solidFill>
                  <a:prstDash val="solid"/>
                  <a:round/>
                </a:ln>
              </p:spPr>
              <p:txBody>
                <a:bodyPr rtlCol="0" anchor="ctr"/>
                <a:lstStyle/>
                <a:p>
                  <a:endParaRPr lang="en-GB"/>
                </a:p>
              </p:txBody>
            </p:sp>
            <p:sp>
              <p:nvSpPr>
                <p:cNvPr id="6734" name="Vrije vorm: vorm 6733">
                  <a:extLst>
                    <a:ext uri="{FF2B5EF4-FFF2-40B4-BE49-F238E27FC236}">
                      <a16:creationId xmlns:a16="http://schemas.microsoft.com/office/drawing/2014/main" id="{E3D8C790-E174-411A-B18E-F3BD85AFE48D}"/>
                    </a:ext>
                  </a:extLst>
                </p:cNvPr>
                <p:cNvSpPr/>
                <p:nvPr/>
              </p:nvSpPr>
              <p:spPr>
                <a:xfrm>
                  <a:off x="6824382" y="2032588"/>
                  <a:ext cx="25238" cy="7774"/>
                </a:xfrm>
                <a:custGeom>
                  <a:avLst/>
                  <a:gdLst>
                    <a:gd name="connsiteX0" fmla="*/ 25238 w 25238"/>
                    <a:gd name="connsiteY0" fmla="*/ 0 h 7774"/>
                    <a:gd name="connsiteX1" fmla="*/ 20574 w 25238"/>
                    <a:gd name="connsiteY1" fmla="*/ 718 h 7774"/>
                    <a:gd name="connsiteX2" fmla="*/ 18899 w 25238"/>
                    <a:gd name="connsiteY2" fmla="*/ 1196 h 7774"/>
                    <a:gd name="connsiteX3" fmla="*/ 8553 w 25238"/>
                    <a:gd name="connsiteY3" fmla="*/ 4186 h 7774"/>
                    <a:gd name="connsiteX4" fmla="*/ 0 w 25238"/>
                    <a:gd name="connsiteY4" fmla="*/ 7775 h 7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8" h="7774">
                      <a:moveTo>
                        <a:pt x="25238" y="0"/>
                      </a:moveTo>
                      <a:lnTo>
                        <a:pt x="20574" y="718"/>
                      </a:lnTo>
                      <a:lnTo>
                        <a:pt x="18899" y="1196"/>
                      </a:lnTo>
                      <a:lnTo>
                        <a:pt x="8553" y="4186"/>
                      </a:lnTo>
                      <a:lnTo>
                        <a:pt x="0" y="7775"/>
                      </a:lnTo>
                    </a:path>
                  </a:pathLst>
                </a:custGeom>
                <a:noFill/>
                <a:ln w="6350" cap="rnd">
                  <a:solidFill>
                    <a:schemeClr val="bg1">
                      <a:alpha val="40000"/>
                    </a:schemeClr>
                  </a:solidFill>
                  <a:prstDash val="solid"/>
                  <a:round/>
                </a:ln>
              </p:spPr>
              <p:txBody>
                <a:bodyPr rtlCol="0" anchor="ctr"/>
                <a:lstStyle/>
                <a:p>
                  <a:endParaRPr lang="en-GB"/>
                </a:p>
              </p:txBody>
            </p:sp>
            <p:sp>
              <p:nvSpPr>
                <p:cNvPr id="6735" name="Vrije vorm: vorm 6734">
                  <a:extLst>
                    <a:ext uri="{FF2B5EF4-FFF2-40B4-BE49-F238E27FC236}">
                      <a16:creationId xmlns:a16="http://schemas.microsoft.com/office/drawing/2014/main" id="{4635F3EB-40B9-4BBA-90B7-277D807B6466}"/>
                    </a:ext>
                  </a:extLst>
                </p:cNvPr>
                <p:cNvSpPr/>
                <p:nvPr/>
              </p:nvSpPr>
              <p:spPr>
                <a:xfrm>
                  <a:off x="6940109" y="1964528"/>
                  <a:ext cx="957" cy="6040"/>
                </a:xfrm>
                <a:custGeom>
                  <a:avLst/>
                  <a:gdLst>
                    <a:gd name="connsiteX0" fmla="*/ 239 w 957"/>
                    <a:gd name="connsiteY0" fmla="*/ 6040 h 6040"/>
                    <a:gd name="connsiteX1" fmla="*/ 299 w 957"/>
                    <a:gd name="connsiteY1" fmla="*/ 5682 h 6040"/>
                    <a:gd name="connsiteX2" fmla="*/ 299 w 957"/>
                    <a:gd name="connsiteY2" fmla="*/ 5682 h 6040"/>
                    <a:gd name="connsiteX3" fmla="*/ 359 w 957"/>
                    <a:gd name="connsiteY3" fmla="*/ 5263 h 6040"/>
                    <a:gd name="connsiteX4" fmla="*/ 957 w 957"/>
                    <a:gd name="connsiteY4" fmla="*/ 2093 h 6040"/>
                    <a:gd name="connsiteX5" fmla="*/ 837 w 957"/>
                    <a:gd name="connsiteY5" fmla="*/ 1854 h 6040"/>
                    <a:gd name="connsiteX6" fmla="*/ 718 w 957"/>
                    <a:gd name="connsiteY6" fmla="*/ 1555 h 6040"/>
                    <a:gd name="connsiteX7" fmla="*/ 419 w 957"/>
                    <a:gd name="connsiteY7" fmla="*/ 897 h 6040"/>
                    <a:gd name="connsiteX8" fmla="*/ 120 w 957"/>
                    <a:gd name="connsiteY8" fmla="*/ 239 h 6040"/>
                    <a:gd name="connsiteX9" fmla="*/ 0 w 957"/>
                    <a:gd name="connsiteY9" fmla="*/ 0 h 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7" h="6040">
                      <a:moveTo>
                        <a:pt x="239" y="6040"/>
                      </a:moveTo>
                      <a:lnTo>
                        <a:pt x="299" y="5682"/>
                      </a:lnTo>
                      <a:lnTo>
                        <a:pt x="299" y="5682"/>
                      </a:lnTo>
                      <a:lnTo>
                        <a:pt x="359" y="5263"/>
                      </a:lnTo>
                      <a:lnTo>
                        <a:pt x="957" y="2093"/>
                      </a:lnTo>
                      <a:lnTo>
                        <a:pt x="837" y="1854"/>
                      </a:lnTo>
                      <a:lnTo>
                        <a:pt x="718" y="1555"/>
                      </a:lnTo>
                      <a:lnTo>
                        <a:pt x="419" y="897"/>
                      </a:lnTo>
                      <a:lnTo>
                        <a:pt x="120" y="23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36" name="Vrije vorm: vorm 6735">
                  <a:extLst>
                    <a:ext uri="{FF2B5EF4-FFF2-40B4-BE49-F238E27FC236}">
                      <a16:creationId xmlns:a16="http://schemas.microsoft.com/office/drawing/2014/main" id="{53A25401-515B-41EC-8624-F553C9776DE8}"/>
                    </a:ext>
                  </a:extLst>
                </p:cNvPr>
                <p:cNvSpPr/>
                <p:nvPr/>
              </p:nvSpPr>
              <p:spPr>
                <a:xfrm>
                  <a:off x="6843162" y="2095446"/>
                  <a:ext cx="27032" cy="16566"/>
                </a:xfrm>
                <a:custGeom>
                  <a:avLst/>
                  <a:gdLst>
                    <a:gd name="connsiteX0" fmla="*/ 26315 w 27032"/>
                    <a:gd name="connsiteY0" fmla="*/ 0 h 16566"/>
                    <a:gd name="connsiteX1" fmla="*/ 27033 w 27032"/>
                    <a:gd name="connsiteY1" fmla="*/ 478 h 16566"/>
                    <a:gd name="connsiteX2" fmla="*/ 25658 w 27032"/>
                    <a:gd name="connsiteY2" fmla="*/ 6040 h 16566"/>
                    <a:gd name="connsiteX3" fmla="*/ 25538 w 27032"/>
                    <a:gd name="connsiteY3" fmla="*/ 6220 h 16566"/>
                    <a:gd name="connsiteX4" fmla="*/ 24043 w 27032"/>
                    <a:gd name="connsiteY4" fmla="*/ 8253 h 16566"/>
                    <a:gd name="connsiteX5" fmla="*/ 21770 w 27032"/>
                    <a:gd name="connsiteY5" fmla="*/ 11304 h 16566"/>
                    <a:gd name="connsiteX6" fmla="*/ 20693 w 27032"/>
                    <a:gd name="connsiteY6" fmla="*/ 12799 h 16566"/>
                    <a:gd name="connsiteX7" fmla="*/ 17882 w 27032"/>
                    <a:gd name="connsiteY7" fmla="*/ 16567 h 16566"/>
                    <a:gd name="connsiteX8" fmla="*/ 13277 w 27032"/>
                    <a:gd name="connsiteY8" fmla="*/ 16447 h 16566"/>
                    <a:gd name="connsiteX9" fmla="*/ 9988 w 27032"/>
                    <a:gd name="connsiteY9" fmla="*/ 15909 h 16566"/>
                    <a:gd name="connsiteX10" fmla="*/ 3947 w 27032"/>
                    <a:gd name="connsiteY10" fmla="*/ 14653 h 16566"/>
                    <a:gd name="connsiteX11" fmla="*/ 60 w 27032"/>
                    <a:gd name="connsiteY11" fmla="*/ 12380 h 16566"/>
                    <a:gd name="connsiteX12" fmla="*/ 0 w 27032"/>
                    <a:gd name="connsiteY12" fmla="*/ 12260 h 1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32" h="16566">
                      <a:moveTo>
                        <a:pt x="26315" y="0"/>
                      </a:moveTo>
                      <a:lnTo>
                        <a:pt x="27033" y="478"/>
                      </a:lnTo>
                      <a:lnTo>
                        <a:pt x="25658" y="6040"/>
                      </a:lnTo>
                      <a:lnTo>
                        <a:pt x="25538" y="6220"/>
                      </a:lnTo>
                      <a:lnTo>
                        <a:pt x="24043" y="8253"/>
                      </a:lnTo>
                      <a:lnTo>
                        <a:pt x="21770" y="11304"/>
                      </a:lnTo>
                      <a:lnTo>
                        <a:pt x="20693" y="12799"/>
                      </a:lnTo>
                      <a:lnTo>
                        <a:pt x="17882" y="16567"/>
                      </a:lnTo>
                      <a:lnTo>
                        <a:pt x="13277" y="16447"/>
                      </a:lnTo>
                      <a:lnTo>
                        <a:pt x="9988" y="15909"/>
                      </a:lnTo>
                      <a:lnTo>
                        <a:pt x="3947" y="14653"/>
                      </a:lnTo>
                      <a:lnTo>
                        <a:pt x="60" y="12380"/>
                      </a:lnTo>
                      <a:lnTo>
                        <a:pt x="0" y="12260"/>
                      </a:lnTo>
                    </a:path>
                  </a:pathLst>
                </a:custGeom>
                <a:noFill/>
                <a:ln w="6350" cap="rnd">
                  <a:solidFill>
                    <a:schemeClr val="bg1">
                      <a:alpha val="40000"/>
                    </a:schemeClr>
                  </a:solidFill>
                  <a:prstDash val="solid"/>
                  <a:round/>
                </a:ln>
              </p:spPr>
              <p:txBody>
                <a:bodyPr rtlCol="0" anchor="ctr"/>
                <a:lstStyle/>
                <a:p>
                  <a:endParaRPr lang="en-GB"/>
                </a:p>
              </p:txBody>
            </p:sp>
            <p:sp>
              <p:nvSpPr>
                <p:cNvPr id="6737" name="Vrije vorm: vorm 6736">
                  <a:extLst>
                    <a:ext uri="{FF2B5EF4-FFF2-40B4-BE49-F238E27FC236}">
                      <a16:creationId xmlns:a16="http://schemas.microsoft.com/office/drawing/2014/main" id="{F8B244CE-8478-45D3-8E52-A55E81271E15}"/>
                    </a:ext>
                  </a:extLst>
                </p:cNvPr>
                <p:cNvSpPr/>
                <p:nvPr/>
              </p:nvSpPr>
              <p:spPr>
                <a:xfrm>
                  <a:off x="6823904" y="2090063"/>
                  <a:ext cx="39652" cy="17762"/>
                </a:xfrm>
                <a:custGeom>
                  <a:avLst/>
                  <a:gdLst>
                    <a:gd name="connsiteX0" fmla="*/ 38277 w 39652"/>
                    <a:gd name="connsiteY0" fmla="*/ 0 h 17762"/>
                    <a:gd name="connsiteX1" fmla="*/ 38994 w 39652"/>
                    <a:gd name="connsiteY1" fmla="*/ 478 h 17762"/>
                    <a:gd name="connsiteX2" fmla="*/ 39652 w 39652"/>
                    <a:gd name="connsiteY2" fmla="*/ 1734 h 17762"/>
                    <a:gd name="connsiteX3" fmla="*/ 37020 w 39652"/>
                    <a:gd name="connsiteY3" fmla="*/ 7954 h 17762"/>
                    <a:gd name="connsiteX4" fmla="*/ 35167 w 39652"/>
                    <a:gd name="connsiteY4" fmla="*/ 9868 h 17762"/>
                    <a:gd name="connsiteX5" fmla="*/ 33850 w 39652"/>
                    <a:gd name="connsiteY5" fmla="*/ 11244 h 17762"/>
                    <a:gd name="connsiteX6" fmla="*/ 30382 w 39652"/>
                    <a:gd name="connsiteY6" fmla="*/ 14952 h 17762"/>
                    <a:gd name="connsiteX7" fmla="*/ 29306 w 39652"/>
                    <a:gd name="connsiteY7" fmla="*/ 16088 h 17762"/>
                    <a:gd name="connsiteX8" fmla="*/ 28229 w 39652"/>
                    <a:gd name="connsiteY8" fmla="*/ 17284 h 17762"/>
                    <a:gd name="connsiteX9" fmla="*/ 28229 w 39652"/>
                    <a:gd name="connsiteY9" fmla="*/ 17344 h 17762"/>
                    <a:gd name="connsiteX10" fmla="*/ 22786 w 39652"/>
                    <a:gd name="connsiteY10" fmla="*/ 17763 h 17762"/>
                    <a:gd name="connsiteX11" fmla="*/ 19198 w 39652"/>
                    <a:gd name="connsiteY11" fmla="*/ 17703 h 17762"/>
                    <a:gd name="connsiteX12" fmla="*/ 16208 w 39652"/>
                    <a:gd name="connsiteY12" fmla="*/ 17643 h 17762"/>
                    <a:gd name="connsiteX13" fmla="*/ 11842 w 39652"/>
                    <a:gd name="connsiteY13" fmla="*/ 17165 h 17762"/>
                    <a:gd name="connsiteX14" fmla="*/ 7476 w 39652"/>
                    <a:gd name="connsiteY14" fmla="*/ 15131 h 17762"/>
                    <a:gd name="connsiteX15" fmla="*/ 2332 w 39652"/>
                    <a:gd name="connsiteY15" fmla="*/ 12440 h 17762"/>
                    <a:gd name="connsiteX16" fmla="*/ 0 w 39652"/>
                    <a:gd name="connsiteY16" fmla="*/ 10107 h 17762"/>
                    <a:gd name="connsiteX17" fmla="*/ 658 w 39652"/>
                    <a:gd name="connsiteY17" fmla="*/ 7895 h 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652" h="17762">
                      <a:moveTo>
                        <a:pt x="38277" y="0"/>
                      </a:moveTo>
                      <a:lnTo>
                        <a:pt x="38994" y="478"/>
                      </a:lnTo>
                      <a:lnTo>
                        <a:pt x="39652" y="1734"/>
                      </a:lnTo>
                      <a:lnTo>
                        <a:pt x="37020" y="7954"/>
                      </a:lnTo>
                      <a:lnTo>
                        <a:pt x="35167" y="9868"/>
                      </a:lnTo>
                      <a:lnTo>
                        <a:pt x="33850" y="11244"/>
                      </a:lnTo>
                      <a:lnTo>
                        <a:pt x="30382" y="14952"/>
                      </a:lnTo>
                      <a:lnTo>
                        <a:pt x="29306" y="16088"/>
                      </a:lnTo>
                      <a:lnTo>
                        <a:pt x="28229" y="17284"/>
                      </a:lnTo>
                      <a:lnTo>
                        <a:pt x="28229" y="17344"/>
                      </a:lnTo>
                      <a:lnTo>
                        <a:pt x="22786" y="17763"/>
                      </a:lnTo>
                      <a:lnTo>
                        <a:pt x="19198" y="17703"/>
                      </a:lnTo>
                      <a:lnTo>
                        <a:pt x="16208" y="17643"/>
                      </a:lnTo>
                      <a:lnTo>
                        <a:pt x="11842" y="17165"/>
                      </a:lnTo>
                      <a:lnTo>
                        <a:pt x="7476" y="15131"/>
                      </a:lnTo>
                      <a:lnTo>
                        <a:pt x="2332" y="12440"/>
                      </a:lnTo>
                      <a:lnTo>
                        <a:pt x="0" y="10107"/>
                      </a:lnTo>
                      <a:lnTo>
                        <a:pt x="658" y="7895"/>
                      </a:lnTo>
                    </a:path>
                  </a:pathLst>
                </a:custGeom>
                <a:noFill/>
                <a:ln w="6350" cap="rnd">
                  <a:solidFill>
                    <a:schemeClr val="bg1">
                      <a:alpha val="40000"/>
                    </a:schemeClr>
                  </a:solidFill>
                  <a:prstDash val="solid"/>
                  <a:round/>
                </a:ln>
              </p:spPr>
              <p:txBody>
                <a:bodyPr rtlCol="0" anchor="ctr"/>
                <a:lstStyle/>
                <a:p>
                  <a:endParaRPr lang="en-GB"/>
                </a:p>
              </p:txBody>
            </p:sp>
            <p:sp>
              <p:nvSpPr>
                <p:cNvPr id="6738" name="Vrije vorm: vorm 6737">
                  <a:extLst>
                    <a:ext uri="{FF2B5EF4-FFF2-40B4-BE49-F238E27FC236}">
                      <a16:creationId xmlns:a16="http://schemas.microsoft.com/office/drawing/2014/main" id="{8738AB3C-CBFB-4682-A12E-2B89FBEA27BD}"/>
                    </a:ext>
                  </a:extLst>
                </p:cNvPr>
                <p:cNvSpPr/>
                <p:nvPr/>
              </p:nvSpPr>
              <p:spPr>
                <a:xfrm>
                  <a:off x="6854585" y="1985341"/>
                  <a:ext cx="12798" cy="2930"/>
                </a:xfrm>
                <a:custGeom>
                  <a:avLst/>
                  <a:gdLst>
                    <a:gd name="connsiteX0" fmla="*/ 12799 w 12798"/>
                    <a:gd name="connsiteY0" fmla="*/ 0 h 2930"/>
                    <a:gd name="connsiteX1" fmla="*/ 9270 w 12798"/>
                    <a:gd name="connsiteY1" fmla="*/ 419 h 2930"/>
                    <a:gd name="connsiteX2" fmla="*/ 5024 w 12798"/>
                    <a:gd name="connsiteY2" fmla="*/ 1555 h 2930"/>
                    <a:gd name="connsiteX3" fmla="*/ 5024 w 12798"/>
                    <a:gd name="connsiteY3" fmla="*/ 1555 h 2930"/>
                    <a:gd name="connsiteX4" fmla="*/ 358 w 12798"/>
                    <a:gd name="connsiteY4" fmla="*/ 2811 h 2930"/>
                    <a:gd name="connsiteX5" fmla="*/ 0 w 12798"/>
                    <a:gd name="connsiteY5" fmla="*/ 2931 h 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98" h="2930">
                      <a:moveTo>
                        <a:pt x="12799" y="0"/>
                      </a:moveTo>
                      <a:lnTo>
                        <a:pt x="9270" y="419"/>
                      </a:lnTo>
                      <a:lnTo>
                        <a:pt x="5024" y="1555"/>
                      </a:lnTo>
                      <a:lnTo>
                        <a:pt x="5024" y="1555"/>
                      </a:lnTo>
                      <a:lnTo>
                        <a:pt x="358" y="2811"/>
                      </a:lnTo>
                      <a:lnTo>
                        <a:pt x="0" y="2931"/>
                      </a:lnTo>
                    </a:path>
                  </a:pathLst>
                </a:custGeom>
                <a:noFill/>
                <a:ln w="6350" cap="rnd">
                  <a:solidFill>
                    <a:schemeClr val="bg1">
                      <a:alpha val="40000"/>
                    </a:schemeClr>
                  </a:solidFill>
                  <a:prstDash val="solid"/>
                  <a:round/>
                </a:ln>
              </p:spPr>
              <p:txBody>
                <a:bodyPr rtlCol="0" anchor="ctr"/>
                <a:lstStyle/>
                <a:p>
                  <a:endParaRPr lang="en-GB"/>
                </a:p>
              </p:txBody>
            </p:sp>
            <p:sp>
              <p:nvSpPr>
                <p:cNvPr id="6739" name="Vrije vorm: vorm 6738">
                  <a:extLst>
                    <a:ext uri="{FF2B5EF4-FFF2-40B4-BE49-F238E27FC236}">
                      <a16:creationId xmlns:a16="http://schemas.microsoft.com/office/drawing/2014/main" id="{0D7DA76A-7A2A-43C4-BF4D-94B972ADA1AA}"/>
                    </a:ext>
                  </a:extLst>
                </p:cNvPr>
                <p:cNvSpPr/>
                <p:nvPr/>
              </p:nvSpPr>
              <p:spPr>
                <a:xfrm>
                  <a:off x="6856918" y="2045028"/>
                  <a:ext cx="12738" cy="10107"/>
                </a:xfrm>
                <a:custGeom>
                  <a:avLst/>
                  <a:gdLst>
                    <a:gd name="connsiteX0" fmla="*/ 10347 w 12738"/>
                    <a:gd name="connsiteY0" fmla="*/ 0 h 10107"/>
                    <a:gd name="connsiteX1" fmla="*/ 11244 w 12738"/>
                    <a:gd name="connsiteY1" fmla="*/ 0 h 10107"/>
                    <a:gd name="connsiteX2" fmla="*/ 12739 w 12738"/>
                    <a:gd name="connsiteY2" fmla="*/ 2273 h 10107"/>
                    <a:gd name="connsiteX3" fmla="*/ 11303 w 12738"/>
                    <a:gd name="connsiteY3" fmla="*/ 5323 h 10107"/>
                    <a:gd name="connsiteX4" fmla="*/ 6937 w 12738"/>
                    <a:gd name="connsiteY4" fmla="*/ 9808 h 10107"/>
                    <a:gd name="connsiteX5" fmla="*/ 4366 w 12738"/>
                    <a:gd name="connsiteY5" fmla="*/ 9928 h 10107"/>
                    <a:gd name="connsiteX6" fmla="*/ 2811 w 12738"/>
                    <a:gd name="connsiteY6" fmla="*/ 9988 h 10107"/>
                    <a:gd name="connsiteX7" fmla="*/ 2751 w 12738"/>
                    <a:gd name="connsiteY7" fmla="*/ 9988 h 10107"/>
                    <a:gd name="connsiteX8" fmla="*/ 0 w 12738"/>
                    <a:gd name="connsiteY8" fmla="*/ 10107 h 1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38" h="10107">
                      <a:moveTo>
                        <a:pt x="10347" y="0"/>
                      </a:moveTo>
                      <a:lnTo>
                        <a:pt x="11244" y="0"/>
                      </a:lnTo>
                      <a:lnTo>
                        <a:pt x="12739" y="2273"/>
                      </a:lnTo>
                      <a:lnTo>
                        <a:pt x="11303" y="5323"/>
                      </a:lnTo>
                      <a:lnTo>
                        <a:pt x="6937" y="9808"/>
                      </a:lnTo>
                      <a:lnTo>
                        <a:pt x="4366" y="9928"/>
                      </a:lnTo>
                      <a:lnTo>
                        <a:pt x="2811" y="9988"/>
                      </a:lnTo>
                      <a:lnTo>
                        <a:pt x="2751" y="9988"/>
                      </a:lnTo>
                      <a:lnTo>
                        <a:pt x="0" y="10107"/>
                      </a:lnTo>
                    </a:path>
                  </a:pathLst>
                </a:custGeom>
                <a:noFill/>
                <a:ln w="6350" cap="rnd">
                  <a:solidFill>
                    <a:schemeClr val="bg1">
                      <a:alpha val="40000"/>
                    </a:schemeClr>
                  </a:solidFill>
                  <a:prstDash val="solid"/>
                  <a:round/>
                </a:ln>
              </p:spPr>
              <p:txBody>
                <a:bodyPr rtlCol="0" anchor="ctr"/>
                <a:lstStyle/>
                <a:p>
                  <a:endParaRPr lang="en-GB"/>
                </a:p>
              </p:txBody>
            </p:sp>
            <p:sp>
              <p:nvSpPr>
                <p:cNvPr id="6740" name="Vrije vorm: vorm 6739">
                  <a:extLst>
                    <a:ext uri="{FF2B5EF4-FFF2-40B4-BE49-F238E27FC236}">
                      <a16:creationId xmlns:a16="http://schemas.microsoft.com/office/drawing/2014/main" id="{1242891A-CA7C-4C3E-8420-93B3A8E68498}"/>
                    </a:ext>
                  </a:extLst>
                </p:cNvPr>
                <p:cNvSpPr/>
                <p:nvPr/>
              </p:nvSpPr>
              <p:spPr>
                <a:xfrm>
                  <a:off x="6811883" y="2055614"/>
                  <a:ext cx="5562" cy="9389"/>
                </a:xfrm>
                <a:custGeom>
                  <a:avLst/>
                  <a:gdLst>
                    <a:gd name="connsiteX0" fmla="*/ 5562 w 5562"/>
                    <a:gd name="connsiteY0" fmla="*/ 8493 h 9389"/>
                    <a:gd name="connsiteX1" fmla="*/ 3648 w 5562"/>
                    <a:gd name="connsiteY1" fmla="*/ 9091 h 9389"/>
                    <a:gd name="connsiteX2" fmla="*/ 2632 w 5562"/>
                    <a:gd name="connsiteY2" fmla="*/ 9390 h 9389"/>
                    <a:gd name="connsiteX3" fmla="*/ 658 w 5562"/>
                    <a:gd name="connsiteY3" fmla="*/ 7177 h 9389"/>
                    <a:gd name="connsiteX4" fmla="*/ 0 w 5562"/>
                    <a:gd name="connsiteY4" fmla="*/ 4366 h 9389"/>
                    <a:gd name="connsiteX5" fmla="*/ 60 w 5562"/>
                    <a:gd name="connsiteY5" fmla="*/ 3469 h 9389"/>
                    <a:gd name="connsiteX6" fmla="*/ 119 w 5562"/>
                    <a:gd name="connsiteY6" fmla="*/ 2572 h 9389"/>
                    <a:gd name="connsiteX7" fmla="*/ 2153 w 5562"/>
                    <a:gd name="connsiteY7" fmla="*/ 0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 h="9389">
                      <a:moveTo>
                        <a:pt x="5562" y="8493"/>
                      </a:moveTo>
                      <a:lnTo>
                        <a:pt x="3648" y="9091"/>
                      </a:lnTo>
                      <a:lnTo>
                        <a:pt x="2632" y="9390"/>
                      </a:lnTo>
                      <a:lnTo>
                        <a:pt x="658" y="7177"/>
                      </a:lnTo>
                      <a:lnTo>
                        <a:pt x="0" y="4366"/>
                      </a:lnTo>
                      <a:lnTo>
                        <a:pt x="60" y="3469"/>
                      </a:lnTo>
                      <a:lnTo>
                        <a:pt x="119" y="2572"/>
                      </a:lnTo>
                      <a:lnTo>
                        <a:pt x="2153" y="0"/>
                      </a:lnTo>
                    </a:path>
                  </a:pathLst>
                </a:custGeom>
                <a:noFill/>
                <a:ln w="6350" cap="rnd">
                  <a:solidFill>
                    <a:schemeClr val="bg1">
                      <a:alpha val="40000"/>
                    </a:schemeClr>
                  </a:solidFill>
                  <a:prstDash val="solid"/>
                  <a:round/>
                </a:ln>
              </p:spPr>
              <p:txBody>
                <a:bodyPr rtlCol="0" anchor="ctr"/>
                <a:lstStyle/>
                <a:p>
                  <a:endParaRPr lang="en-GB"/>
                </a:p>
              </p:txBody>
            </p:sp>
            <p:sp>
              <p:nvSpPr>
                <p:cNvPr id="6741" name="Vrije vorm: vorm 6740">
                  <a:extLst>
                    <a:ext uri="{FF2B5EF4-FFF2-40B4-BE49-F238E27FC236}">
                      <a16:creationId xmlns:a16="http://schemas.microsoft.com/office/drawing/2014/main" id="{F767306B-7F60-4EDF-B70C-E1C76A467EBF}"/>
                    </a:ext>
                  </a:extLst>
                </p:cNvPr>
                <p:cNvSpPr/>
                <p:nvPr/>
              </p:nvSpPr>
              <p:spPr>
                <a:xfrm>
                  <a:off x="6896689" y="1990364"/>
                  <a:ext cx="3349" cy="4306"/>
                </a:xfrm>
                <a:custGeom>
                  <a:avLst/>
                  <a:gdLst>
                    <a:gd name="connsiteX0" fmla="*/ 3350 w 3349"/>
                    <a:gd name="connsiteY0" fmla="*/ 4306 h 4306"/>
                    <a:gd name="connsiteX1" fmla="*/ 3290 w 3349"/>
                    <a:gd name="connsiteY1" fmla="*/ 4246 h 4306"/>
                    <a:gd name="connsiteX2" fmla="*/ 2273 w 3349"/>
                    <a:gd name="connsiteY2" fmla="*/ 2452 h 4306"/>
                    <a:gd name="connsiteX3" fmla="*/ 2034 w 3349"/>
                    <a:gd name="connsiteY3" fmla="*/ 2034 h 4306"/>
                    <a:gd name="connsiteX4" fmla="*/ 1854 w 3349"/>
                    <a:gd name="connsiteY4" fmla="*/ 1675 h 4306"/>
                    <a:gd name="connsiteX5" fmla="*/ 1795 w 3349"/>
                    <a:gd name="connsiteY5" fmla="*/ 1555 h 4306"/>
                    <a:gd name="connsiteX6" fmla="*/ 1615 w 3349"/>
                    <a:gd name="connsiteY6" fmla="*/ 1256 h 4306"/>
                    <a:gd name="connsiteX7" fmla="*/ 1495 w 3349"/>
                    <a:gd name="connsiteY7" fmla="*/ 1017 h 4306"/>
                    <a:gd name="connsiteX8" fmla="*/ 1256 w 3349"/>
                    <a:gd name="connsiteY8" fmla="*/ 837 h 4306"/>
                    <a:gd name="connsiteX9" fmla="*/ 599 w 3349"/>
                    <a:gd name="connsiteY9" fmla="*/ 419 h 4306"/>
                    <a:gd name="connsiteX10" fmla="*/ 539 w 3349"/>
                    <a:gd name="connsiteY10" fmla="*/ 359 h 4306"/>
                    <a:gd name="connsiteX11" fmla="*/ 539 w 3349"/>
                    <a:gd name="connsiteY11" fmla="*/ 359 h 4306"/>
                    <a:gd name="connsiteX12" fmla="*/ 419 w 3349"/>
                    <a:gd name="connsiteY12" fmla="*/ 299 h 4306"/>
                    <a:gd name="connsiteX13" fmla="*/ 419 w 3349"/>
                    <a:gd name="connsiteY13" fmla="*/ 299 h 4306"/>
                    <a:gd name="connsiteX14" fmla="*/ 180 w 3349"/>
                    <a:gd name="connsiteY14" fmla="*/ 120 h 4306"/>
                    <a:gd name="connsiteX15" fmla="*/ 0 w 3349"/>
                    <a:gd name="connsiteY15" fmla="*/ 0 h 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49" h="4306">
                      <a:moveTo>
                        <a:pt x="3350" y="4306"/>
                      </a:moveTo>
                      <a:lnTo>
                        <a:pt x="3290" y="4246"/>
                      </a:lnTo>
                      <a:lnTo>
                        <a:pt x="2273" y="2452"/>
                      </a:lnTo>
                      <a:lnTo>
                        <a:pt x="2034" y="2034"/>
                      </a:lnTo>
                      <a:lnTo>
                        <a:pt x="1854" y="1675"/>
                      </a:lnTo>
                      <a:lnTo>
                        <a:pt x="1795" y="1555"/>
                      </a:lnTo>
                      <a:lnTo>
                        <a:pt x="1615" y="1256"/>
                      </a:lnTo>
                      <a:lnTo>
                        <a:pt x="1495" y="1017"/>
                      </a:lnTo>
                      <a:lnTo>
                        <a:pt x="1256" y="837"/>
                      </a:lnTo>
                      <a:lnTo>
                        <a:pt x="599" y="419"/>
                      </a:lnTo>
                      <a:lnTo>
                        <a:pt x="539" y="359"/>
                      </a:lnTo>
                      <a:lnTo>
                        <a:pt x="539" y="359"/>
                      </a:lnTo>
                      <a:lnTo>
                        <a:pt x="419" y="299"/>
                      </a:lnTo>
                      <a:lnTo>
                        <a:pt x="419" y="299"/>
                      </a:lnTo>
                      <a:lnTo>
                        <a:pt x="180"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42" name="Vrije vorm: vorm 6741">
                  <a:extLst>
                    <a:ext uri="{FF2B5EF4-FFF2-40B4-BE49-F238E27FC236}">
                      <a16:creationId xmlns:a16="http://schemas.microsoft.com/office/drawing/2014/main" id="{AED0BD33-E872-45EF-A163-D50EDE1D4636}"/>
                    </a:ext>
                  </a:extLst>
                </p:cNvPr>
                <p:cNvSpPr/>
                <p:nvPr/>
              </p:nvSpPr>
              <p:spPr>
                <a:xfrm>
                  <a:off x="6863317" y="2032349"/>
                  <a:ext cx="9210" cy="1554"/>
                </a:xfrm>
                <a:custGeom>
                  <a:avLst/>
                  <a:gdLst>
                    <a:gd name="connsiteX0" fmla="*/ 9211 w 9210"/>
                    <a:gd name="connsiteY0" fmla="*/ 1555 h 1554"/>
                    <a:gd name="connsiteX1" fmla="*/ 5921 w 9210"/>
                    <a:gd name="connsiteY1" fmla="*/ 1017 h 1554"/>
                    <a:gd name="connsiteX2" fmla="*/ 4605 w 9210"/>
                    <a:gd name="connsiteY2" fmla="*/ 837 h 1554"/>
                    <a:gd name="connsiteX3" fmla="*/ 0 w 9210"/>
                    <a:gd name="connsiteY3" fmla="*/ 0 h 1554"/>
                  </a:gdLst>
                  <a:ahLst/>
                  <a:cxnLst>
                    <a:cxn ang="0">
                      <a:pos x="connsiteX0" y="connsiteY0"/>
                    </a:cxn>
                    <a:cxn ang="0">
                      <a:pos x="connsiteX1" y="connsiteY1"/>
                    </a:cxn>
                    <a:cxn ang="0">
                      <a:pos x="connsiteX2" y="connsiteY2"/>
                    </a:cxn>
                    <a:cxn ang="0">
                      <a:pos x="connsiteX3" y="connsiteY3"/>
                    </a:cxn>
                  </a:cxnLst>
                  <a:rect l="l" t="t" r="r" b="b"/>
                  <a:pathLst>
                    <a:path w="9210" h="1554">
                      <a:moveTo>
                        <a:pt x="9211" y="1555"/>
                      </a:moveTo>
                      <a:lnTo>
                        <a:pt x="5921" y="1017"/>
                      </a:lnTo>
                      <a:lnTo>
                        <a:pt x="4605" y="83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43" name="Vrije vorm: vorm 6742">
                  <a:extLst>
                    <a:ext uri="{FF2B5EF4-FFF2-40B4-BE49-F238E27FC236}">
                      <a16:creationId xmlns:a16="http://schemas.microsoft.com/office/drawing/2014/main" id="{69777A3F-2F25-4315-B416-092E29EFF386}"/>
                    </a:ext>
                  </a:extLst>
                </p:cNvPr>
                <p:cNvSpPr/>
                <p:nvPr/>
              </p:nvSpPr>
              <p:spPr>
                <a:xfrm>
                  <a:off x="6872527" y="2024275"/>
                  <a:ext cx="7236" cy="9868"/>
                </a:xfrm>
                <a:custGeom>
                  <a:avLst/>
                  <a:gdLst>
                    <a:gd name="connsiteX0" fmla="*/ 6519 w 7236"/>
                    <a:gd name="connsiteY0" fmla="*/ 0 h 9868"/>
                    <a:gd name="connsiteX1" fmla="*/ 7177 w 7236"/>
                    <a:gd name="connsiteY1" fmla="*/ 120 h 9868"/>
                    <a:gd name="connsiteX2" fmla="*/ 7177 w 7236"/>
                    <a:gd name="connsiteY2" fmla="*/ 478 h 9868"/>
                    <a:gd name="connsiteX3" fmla="*/ 7236 w 7236"/>
                    <a:gd name="connsiteY3" fmla="*/ 4067 h 9868"/>
                    <a:gd name="connsiteX4" fmla="*/ 6818 w 7236"/>
                    <a:gd name="connsiteY4" fmla="*/ 4725 h 9868"/>
                    <a:gd name="connsiteX5" fmla="*/ 6639 w 7236"/>
                    <a:gd name="connsiteY5" fmla="*/ 5024 h 9868"/>
                    <a:gd name="connsiteX6" fmla="*/ 5861 w 7236"/>
                    <a:gd name="connsiteY6" fmla="*/ 6220 h 9868"/>
                    <a:gd name="connsiteX7" fmla="*/ 5323 w 7236"/>
                    <a:gd name="connsiteY7" fmla="*/ 7057 h 9868"/>
                    <a:gd name="connsiteX8" fmla="*/ 5024 w 7236"/>
                    <a:gd name="connsiteY8" fmla="*/ 7237 h 9868"/>
                    <a:gd name="connsiteX9" fmla="*/ 2631 w 7236"/>
                    <a:gd name="connsiteY9" fmla="*/ 8851 h 9868"/>
                    <a:gd name="connsiteX10" fmla="*/ 2511 w 7236"/>
                    <a:gd name="connsiteY10" fmla="*/ 8971 h 9868"/>
                    <a:gd name="connsiteX11" fmla="*/ 1854 w 7236"/>
                    <a:gd name="connsiteY11" fmla="*/ 9449 h 9868"/>
                    <a:gd name="connsiteX12" fmla="*/ 1615 w 7236"/>
                    <a:gd name="connsiteY12" fmla="*/ 9629 h 9868"/>
                    <a:gd name="connsiteX13" fmla="*/ 1256 w 7236"/>
                    <a:gd name="connsiteY13" fmla="*/ 9868 h 9868"/>
                    <a:gd name="connsiteX14" fmla="*/ 0 w 7236"/>
                    <a:gd name="connsiteY14" fmla="*/ 9569 h 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6" h="9868">
                      <a:moveTo>
                        <a:pt x="6519" y="0"/>
                      </a:moveTo>
                      <a:lnTo>
                        <a:pt x="7177" y="120"/>
                      </a:lnTo>
                      <a:lnTo>
                        <a:pt x="7177" y="478"/>
                      </a:lnTo>
                      <a:lnTo>
                        <a:pt x="7236" y="4067"/>
                      </a:lnTo>
                      <a:lnTo>
                        <a:pt x="6818" y="4725"/>
                      </a:lnTo>
                      <a:lnTo>
                        <a:pt x="6639" y="5024"/>
                      </a:lnTo>
                      <a:lnTo>
                        <a:pt x="5861" y="6220"/>
                      </a:lnTo>
                      <a:lnTo>
                        <a:pt x="5323" y="7057"/>
                      </a:lnTo>
                      <a:lnTo>
                        <a:pt x="5024" y="7237"/>
                      </a:lnTo>
                      <a:lnTo>
                        <a:pt x="2631" y="8851"/>
                      </a:lnTo>
                      <a:lnTo>
                        <a:pt x="2511" y="8971"/>
                      </a:lnTo>
                      <a:lnTo>
                        <a:pt x="1854" y="9449"/>
                      </a:lnTo>
                      <a:lnTo>
                        <a:pt x="1615" y="9629"/>
                      </a:lnTo>
                      <a:lnTo>
                        <a:pt x="1256" y="9868"/>
                      </a:lnTo>
                      <a:lnTo>
                        <a:pt x="0" y="9569"/>
                      </a:lnTo>
                    </a:path>
                  </a:pathLst>
                </a:custGeom>
                <a:noFill/>
                <a:ln w="6350" cap="rnd">
                  <a:solidFill>
                    <a:schemeClr val="bg1">
                      <a:alpha val="40000"/>
                    </a:schemeClr>
                  </a:solidFill>
                  <a:prstDash val="solid"/>
                  <a:round/>
                </a:ln>
              </p:spPr>
              <p:txBody>
                <a:bodyPr rtlCol="0" anchor="ctr"/>
                <a:lstStyle/>
                <a:p>
                  <a:endParaRPr lang="en-GB"/>
                </a:p>
              </p:txBody>
            </p:sp>
            <p:sp>
              <p:nvSpPr>
                <p:cNvPr id="6744" name="Vrije vorm: vorm 6743">
                  <a:extLst>
                    <a:ext uri="{FF2B5EF4-FFF2-40B4-BE49-F238E27FC236}">
                      <a16:creationId xmlns:a16="http://schemas.microsoft.com/office/drawing/2014/main" id="{AD60E834-5807-427B-B905-29AB1CDF6D94}"/>
                    </a:ext>
                  </a:extLst>
                </p:cNvPr>
                <p:cNvSpPr/>
                <p:nvPr/>
              </p:nvSpPr>
              <p:spPr>
                <a:xfrm>
                  <a:off x="6790352" y="2015184"/>
                  <a:ext cx="21590" cy="59029"/>
                </a:xfrm>
                <a:custGeom>
                  <a:avLst/>
                  <a:gdLst>
                    <a:gd name="connsiteX0" fmla="*/ 21591 w 21590"/>
                    <a:gd name="connsiteY0" fmla="*/ 57415 h 59029"/>
                    <a:gd name="connsiteX1" fmla="*/ 18600 w 21590"/>
                    <a:gd name="connsiteY1" fmla="*/ 59030 h 59029"/>
                    <a:gd name="connsiteX2" fmla="*/ 18481 w 21590"/>
                    <a:gd name="connsiteY2" fmla="*/ 58970 h 59029"/>
                    <a:gd name="connsiteX3" fmla="*/ 16507 w 21590"/>
                    <a:gd name="connsiteY3" fmla="*/ 58252 h 59029"/>
                    <a:gd name="connsiteX4" fmla="*/ 13397 w 21590"/>
                    <a:gd name="connsiteY4" fmla="*/ 51374 h 59029"/>
                    <a:gd name="connsiteX5" fmla="*/ 12201 w 21590"/>
                    <a:gd name="connsiteY5" fmla="*/ 48683 h 59029"/>
                    <a:gd name="connsiteX6" fmla="*/ 11124 w 21590"/>
                    <a:gd name="connsiteY6" fmla="*/ 45872 h 59029"/>
                    <a:gd name="connsiteX7" fmla="*/ 10048 w 21590"/>
                    <a:gd name="connsiteY7" fmla="*/ 43061 h 59029"/>
                    <a:gd name="connsiteX8" fmla="*/ 8194 w 21590"/>
                    <a:gd name="connsiteY8" fmla="*/ 38277 h 59029"/>
                    <a:gd name="connsiteX9" fmla="*/ 7237 w 21590"/>
                    <a:gd name="connsiteY9" fmla="*/ 35824 h 59029"/>
                    <a:gd name="connsiteX10" fmla="*/ 6399 w 21590"/>
                    <a:gd name="connsiteY10" fmla="*/ 33193 h 59029"/>
                    <a:gd name="connsiteX11" fmla="*/ 6160 w 21590"/>
                    <a:gd name="connsiteY11" fmla="*/ 32356 h 59029"/>
                    <a:gd name="connsiteX12" fmla="*/ 4725 w 21590"/>
                    <a:gd name="connsiteY12" fmla="*/ 27870 h 59029"/>
                    <a:gd name="connsiteX13" fmla="*/ 4486 w 21590"/>
                    <a:gd name="connsiteY13" fmla="*/ 27212 h 59029"/>
                    <a:gd name="connsiteX14" fmla="*/ 4306 w 21590"/>
                    <a:gd name="connsiteY14" fmla="*/ 26674 h 59029"/>
                    <a:gd name="connsiteX15" fmla="*/ 3529 w 21590"/>
                    <a:gd name="connsiteY15" fmla="*/ 24162 h 59029"/>
                    <a:gd name="connsiteX16" fmla="*/ 2691 w 21590"/>
                    <a:gd name="connsiteY16" fmla="*/ 21471 h 59029"/>
                    <a:gd name="connsiteX17" fmla="*/ 1615 w 21590"/>
                    <a:gd name="connsiteY17" fmla="*/ 18062 h 59029"/>
                    <a:gd name="connsiteX18" fmla="*/ 0 w 21590"/>
                    <a:gd name="connsiteY18" fmla="*/ 12021 h 59029"/>
                    <a:gd name="connsiteX19" fmla="*/ 1675 w 21590"/>
                    <a:gd name="connsiteY19" fmla="*/ 6938 h 59029"/>
                    <a:gd name="connsiteX20" fmla="*/ 10167 w 21590"/>
                    <a:gd name="connsiteY20" fmla="*/ 0 h 59029"/>
                    <a:gd name="connsiteX21" fmla="*/ 10406 w 21590"/>
                    <a:gd name="connsiteY21" fmla="*/ 120 h 5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590" h="59029">
                      <a:moveTo>
                        <a:pt x="21591" y="57415"/>
                      </a:moveTo>
                      <a:lnTo>
                        <a:pt x="18600" y="59030"/>
                      </a:lnTo>
                      <a:lnTo>
                        <a:pt x="18481" y="58970"/>
                      </a:lnTo>
                      <a:lnTo>
                        <a:pt x="16507" y="58252"/>
                      </a:lnTo>
                      <a:lnTo>
                        <a:pt x="13397" y="51374"/>
                      </a:lnTo>
                      <a:lnTo>
                        <a:pt x="12201" y="48683"/>
                      </a:lnTo>
                      <a:lnTo>
                        <a:pt x="11124" y="45872"/>
                      </a:lnTo>
                      <a:lnTo>
                        <a:pt x="10048" y="43061"/>
                      </a:lnTo>
                      <a:lnTo>
                        <a:pt x="8194" y="38277"/>
                      </a:lnTo>
                      <a:lnTo>
                        <a:pt x="7237" y="35824"/>
                      </a:lnTo>
                      <a:lnTo>
                        <a:pt x="6399" y="33193"/>
                      </a:lnTo>
                      <a:lnTo>
                        <a:pt x="6160" y="32356"/>
                      </a:lnTo>
                      <a:lnTo>
                        <a:pt x="4725" y="27870"/>
                      </a:lnTo>
                      <a:lnTo>
                        <a:pt x="4486" y="27212"/>
                      </a:lnTo>
                      <a:lnTo>
                        <a:pt x="4306" y="26674"/>
                      </a:lnTo>
                      <a:lnTo>
                        <a:pt x="3529" y="24162"/>
                      </a:lnTo>
                      <a:lnTo>
                        <a:pt x="2691" y="21471"/>
                      </a:lnTo>
                      <a:lnTo>
                        <a:pt x="1615" y="18062"/>
                      </a:lnTo>
                      <a:lnTo>
                        <a:pt x="0" y="12021"/>
                      </a:lnTo>
                      <a:lnTo>
                        <a:pt x="1675" y="6938"/>
                      </a:lnTo>
                      <a:lnTo>
                        <a:pt x="10167" y="0"/>
                      </a:lnTo>
                      <a:lnTo>
                        <a:pt x="10406" y="120"/>
                      </a:lnTo>
                    </a:path>
                  </a:pathLst>
                </a:custGeom>
                <a:noFill/>
                <a:ln w="6350" cap="rnd">
                  <a:solidFill>
                    <a:schemeClr val="bg1">
                      <a:alpha val="40000"/>
                    </a:schemeClr>
                  </a:solidFill>
                  <a:prstDash val="solid"/>
                  <a:round/>
                </a:ln>
              </p:spPr>
              <p:txBody>
                <a:bodyPr rtlCol="0" anchor="ctr"/>
                <a:lstStyle/>
                <a:p>
                  <a:endParaRPr lang="en-GB"/>
                </a:p>
              </p:txBody>
            </p:sp>
            <p:sp>
              <p:nvSpPr>
                <p:cNvPr id="6745" name="Vrije vorm: vorm 6744">
                  <a:extLst>
                    <a:ext uri="{FF2B5EF4-FFF2-40B4-BE49-F238E27FC236}">
                      <a16:creationId xmlns:a16="http://schemas.microsoft.com/office/drawing/2014/main" id="{C99B5DAF-65B1-4ED7-A2C9-BB79304230DA}"/>
                    </a:ext>
                  </a:extLst>
                </p:cNvPr>
                <p:cNvSpPr/>
                <p:nvPr/>
              </p:nvSpPr>
              <p:spPr>
                <a:xfrm>
                  <a:off x="6820076" y="2031093"/>
                  <a:ext cx="4246" cy="9270"/>
                </a:xfrm>
                <a:custGeom>
                  <a:avLst/>
                  <a:gdLst>
                    <a:gd name="connsiteX0" fmla="*/ 4246 w 4246"/>
                    <a:gd name="connsiteY0" fmla="*/ 9270 h 9270"/>
                    <a:gd name="connsiteX1" fmla="*/ 1914 w 4246"/>
                    <a:gd name="connsiteY1" fmla="*/ 8971 h 9270"/>
                    <a:gd name="connsiteX2" fmla="*/ 119 w 4246"/>
                    <a:gd name="connsiteY2" fmla="*/ 6579 h 9270"/>
                    <a:gd name="connsiteX3" fmla="*/ 0 w 4246"/>
                    <a:gd name="connsiteY3" fmla="*/ 3469 h 9270"/>
                    <a:gd name="connsiteX4" fmla="*/ 538 w 4246"/>
                    <a:gd name="connsiteY4" fmla="*/ 1435 h 9270"/>
                    <a:gd name="connsiteX5" fmla="*/ 2213 w 4246"/>
                    <a:gd name="connsiteY5" fmla="*/ 0 h 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6" h="9270">
                      <a:moveTo>
                        <a:pt x="4246" y="9270"/>
                      </a:moveTo>
                      <a:lnTo>
                        <a:pt x="1914" y="8971"/>
                      </a:lnTo>
                      <a:lnTo>
                        <a:pt x="119" y="6579"/>
                      </a:lnTo>
                      <a:lnTo>
                        <a:pt x="0" y="3469"/>
                      </a:lnTo>
                      <a:lnTo>
                        <a:pt x="538" y="1435"/>
                      </a:lnTo>
                      <a:lnTo>
                        <a:pt x="2213" y="0"/>
                      </a:lnTo>
                    </a:path>
                  </a:pathLst>
                </a:custGeom>
                <a:noFill/>
                <a:ln w="6350" cap="rnd">
                  <a:solidFill>
                    <a:schemeClr val="bg1">
                      <a:alpha val="40000"/>
                    </a:schemeClr>
                  </a:solidFill>
                  <a:prstDash val="solid"/>
                  <a:round/>
                </a:ln>
              </p:spPr>
              <p:txBody>
                <a:bodyPr rtlCol="0" anchor="ctr"/>
                <a:lstStyle/>
                <a:p>
                  <a:endParaRPr lang="en-GB"/>
                </a:p>
              </p:txBody>
            </p:sp>
            <p:sp>
              <p:nvSpPr>
                <p:cNvPr id="6746" name="Vrije vorm: vorm 6745">
                  <a:extLst>
                    <a:ext uri="{FF2B5EF4-FFF2-40B4-BE49-F238E27FC236}">
                      <a16:creationId xmlns:a16="http://schemas.microsoft.com/office/drawing/2014/main" id="{23761B51-C0AB-46C9-A4E6-1157AB82975F}"/>
                    </a:ext>
                  </a:extLst>
                </p:cNvPr>
                <p:cNvSpPr/>
                <p:nvPr/>
              </p:nvSpPr>
              <p:spPr>
                <a:xfrm>
                  <a:off x="6642449" y="1839710"/>
                  <a:ext cx="956" cy="11482"/>
                </a:xfrm>
                <a:custGeom>
                  <a:avLst/>
                  <a:gdLst>
                    <a:gd name="connsiteX0" fmla="*/ 479 w 956"/>
                    <a:gd name="connsiteY0" fmla="*/ 11483 h 11482"/>
                    <a:gd name="connsiteX1" fmla="*/ 0 w 956"/>
                    <a:gd name="connsiteY1" fmla="*/ 9031 h 11482"/>
                    <a:gd name="connsiteX2" fmla="*/ 897 w 956"/>
                    <a:gd name="connsiteY2" fmla="*/ 777 h 11482"/>
                    <a:gd name="connsiteX3" fmla="*/ 957 w 956"/>
                    <a:gd name="connsiteY3" fmla="*/ 0 h 11482"/>
                  </a:gdLst>
                  <a:ahLst/>
                  <a:cxnLst>
                    <a:cxn ang="0">
                      <a:pos x="connsiteX0" y="connsiteY0"/>
                    </a:cxn>
                    <a:cxn ang="0">
                      <a:pos x="connsiteX1" y="connsiteY1"/>
                    </a:cxn>
                    <a:cxn ang="0">
                      <a:pos x="connsiteX2" y="connsiteY2"/>
                    </a:cxn>
                    <a:cxn ang="0">
                      <a:pos x="connsiteX3" y="connsiteY3"/>
                    </a:cxn>
                  </a:cxnLst>
                  <a:rect l="l" t="t" r="r" b="b"/>
                  <a:pathLst>
                    <a:path w="956" h="11482">
                      <a:moveTo>
                        <a:pt x="479" y="11483"/>
                      </a:moveTo>
                      <a:lnTo>
                        <a:pt x="0" y="9031"/>
                      </a:lnTo>
                      <a:lnTo>
                        <a:pt x="897" y="777"/>
                      </a:lnTo>
                      <a:lnTo>
                        <a:pt x="957" y="0"/>
                      </a:lnTo>
                    </a:path>
                  </a:pathLst>
                </a:custGeom>
                <a:noFill/>
                <a:ln w="6350" cap="rnd">
                  <a:solidFill>
                    <a:schemeClr val="bg1">
                      <a:alpha val="40000"/>
                    </a:schemeClr>
                  </a:solidFill>
                  <a:prstDash val="solid"/>
                  <a:round/>
                </a:ln>
              </p:spPr>
              <p:txBody>
                <a:bodyPr rtlCol="0" anchor="ctr"/>
                <a:lstStyle/>
                <a:p>
                  <a:endParaRPr lang="en-GB"/>
                </a:p>
              </p:txBody>
            </p:sp>
            <p:sp>
              <p:nvSpPr>
                <p:cNvPr id="6747" name="Vrije vorm: vorm 6746">
                  <a:extLst>
                    <a:ext uri="{FF2B5EF4-FFF2-40B4-BE49-F238E27FC236}">
                      <a16:creationId xmlns:a16="http://schemas.microsoft.com/office/drawing/2014/main" id="{697D464C-EC29-4FBE-AA21-C0D88DC5A30B}"/>
                    </a:ext>
                  </a:extLst>
                </p:cNvPr>
                <p:cNvSpPr/>
                <p:nvPr/>
              </p:nvSpPr>
              <p:spPr>
                <a:xfrm>
                  <a:off x="6870733" y="1955736"/>
                  <a:ext cx="52750" cy="30202"/>
                </a:xfrm>
                <a:custGeom>
                  <a:avLst/>
                  <a:gdLst>
                    <a:gd name="connsiteX0" fmla="*/ 0 w 52750"/>
                    <a:gd name="connsiteY0" fmla="*/ 5143 h 30202"/>
                    <a:gd name="connsiteX1" fmla="*/ 897 w 52750"/>
                    <a:gd name="connsiteY1" fmla="*/ 2512 h 30202"/>
                    <a:gd name="connsiteX2" fmla="*/ 1973 w 52750"/>
                    <a:gd name="connsiteY2" fmla="*/ 1076 h 30202"/>
                    <a:gd name="connsiteX3" fmla="*/ 6220 w 52750"/>
                    <a:gd name="connsiteY3" fmla="*/ 658 h 30202"/>
                    <a:gd name="connsiteX4" fmla="*/ 11244 w 52750"/>
                    <a:gd name="connsiteY4" fmla="*/ 179 h 30202"/>
                    <a:gd name="connsiteX5" fmla="*/ 12978 w 52750"/>
                    <a:gd name="connsiteY5" fmla="*/ 0 h 30202"/>
                    <a:gd name="connsiteX6" fmla="*/ 13995 w 52750"/>
                    <a:gd name="connsiteY6" fmla="*/ 60 h 30202"/>
                    <a:gd name="connsiteX7" fmla="*/ 13995 w 52750"/>
                    <a:gd name="connsiteY7" fmla="*/ 60 h 30202"/>
                    <a:gd name="connsiteX8" fmla="*/ 14294 w 52750"/>
                    <a:gd name="connsiteY8" fmla="*/ 60 h 30202"/>
                    <a:gd name="connsiteX9" fmla="*/ 19019 w 52750"/>
                    <a:gd name="connsiteY9" fmla="*/ 419 h 30202"/>
                    <a:gd name="connsiteX10" fmla="*/ 19677 w 52750"/>
                    <a:gd name="connsiteY10" fmla="*/ 478 h 30202"/>
                    <a:gd name="connsiteX11" fmla="*/ 20035 w 52750"/>
                    <a:gd name="connsiteY11" fmla="*/ 478 h 30202"/>
                    <a:gd name="connsiteX12" fmla="*/ 20275 w 52750"/>
                    <a:gd name="connsiteY12" fmla="*/ 478 h 30202"/>
                    <a:gd name="connsiteX13" fmla="*/ 24162 w 52750"/>
                    <a:gd name="connsiteY13" fmla="*/ 778 h 30202"/>
                    <a:gd name="connsiteX14" fmla="*/ 25179 w 52750"/>
                    <a:gd name="connsiteY14" fmla="*/ 837 h 30202"/>
                    <a:gd name="connsiteX15" fmla="*/ 25238 w 52750"/>
                    <a:gd name="connsiteY15" fmla="*/ 837 h 30202"/>
                    <a:gd name="connsiteX16" fmla="*/ 25418 w 52750"/>
                    <a:gd name="connsiteY16" fmla="*/ 837 h 30202"/>
                    <a:gd name="connsiteX17" fmla="*/ 27511 w 52750"/>
                    <a:gd name="connsiteY17" fmla="*/ 1017 h 30202"/>
                    <a:gd name="connsiteX18" fmla="*/ 27811 w 52750"/>
                    <a:gd name="connsiteY18" fmla="*/ 1017 h 30202"/>
                    <a:gd name="connsiteX19" fmla="*/ 29006 w 52750"/>
                    <a:gd name="connsiteY19" fmla="*/ 1316 h 30202"/>
                    <a:gd name="connsiteX20" fmla="*/ 34987 w 52750"/>
                    <a:gd name="connsiteY20" fmla="*/ 2871 h 30202"/>
                    <a:gd name="connsiteX21" fmla="*/ 37439 w 52750"/>
                    <a:gd name="connsiteY21" fmla="*/ 3529 h 30202"/>
                    <a:gd name="connsiteX22" fmla="*/ 37977 w 52750"/>
                    <a:gd name="connsiteY22" fmla="*/ 3828 h 30202"/>
                    <a:gd name="connsiteX23" fmla="*/ 40908 w 52750"/>
                    <a:gd name="connsiteY23" fmla="*/ 5383 h 30202"/>
                    <a:gd name="connsiteX24" fmla="*/ 43958 w 52750"/>
                    <a:gd name="connsiteY24" fmla="*/ 6997 h 30202"/>
                    <a:gd name="connsiteX25" fmla="*/ 46590 w 52750"/>
                    <a:gd name="connsiteY25" fmla="*/ 8433 h 30202"/>
                    <a:gd name="connsiteX26" fmla="*/ 47606 w 52750"/>
                    <a:gd name="connsiteY26" fmla="*/ 9210 h 30202"/>
                    <a:gd name="connsiteX27" fmla="*/ 47786 w 52750"/>
                    <a:gd name="connsiteY27" fmla="*/ 9330 h 30202"/>
                    <a:gd name="connsiteX28" fmla="*/ 47786 w 52750"/>
                    <a:gd name="connsiteY28" fmla="*/ 9330 h 30202"/>
                    <a:gd name="connsiteX29" fmla="*/ 48145 w 52750"/>
                    <a:gd name="connsiteY29" fmla="*/ 9629 h 30202"/>
                    <a:gd name="connsiteX30" fmla="*/ 48623 w 52750"/>
                    <a:gd name="connsiteY30" fmla="*/ 9988 h 30202"/>
                    <a:gd name="connsiteX31" fmla="*/ 49161 w 52750"/>
                    <a:gd name="connsiteY31" fmla="*/ 10406 h 30202"/>
                    <a:gd name="connsiteX32" fmla="*/ 50896 w 52750"/>
                    <a:gd name="connsiteY32" fmla="*/ 11722 h 30202"/>
                    <a:gd name="connsiteX33" fmla="*/ 51016 w 52750"/>
                    <a:gd name="connsiteY33" fmla="*/ 11842 h 30202"/>
                    <a:gd name="connsiteX34" fmla="*/ 51016 w 52750"/>
                    <a:gd name="connsiteY34" fmla="*/ 11842 h 30202"/>
                    <a:gd name="connsiteX35" fmla="*/ 51195 w 52750"/>
                    <a:gd name="connsiteY35" fmla="*/ 11961 h 30202"/>
                    <a:gd name="connsiteX36" fmla="*/ 52750 w 52750"/>
                    <a:gd name="connsiteY36" fmla="*/ 13158 h 30202"/>
                    <a:gd name="connsiteX37" fmla="*/ 52571 w 52750"/>
                    <a:gd name="connsiteY37" fmla="*/ 17284 h 30202"/>
                    <a:gd name="connsiteX38" fmla="*/ 52331 w 52750"/>
                    <a:gd name="connsiteY38" fmla="*/ 22906 h 30202"/>
                    <a:gd name="connsiteX39" fmla="*/ 50716 w 52750"/>
                    <a:gd name="connsiteY39" fmla="*/ 25538 h 30202"/>
                    <a:gd name="connsiteX40" fmla="*/ 48623 w 52750"/>
                    <a:gd name="connsiteY40" fmla="*/ 28887 h 30202"/>
                    <a:gd name="connsiteX41" fmla="*/ 47487 w 52750"/>
                    <a:gd name="connsiteY41" fmla="*/ 29605 h 30202"/>
                    <a:gd name="connsiteX42" fmla="*/ 46530 w 52750"/>
                    <a:gd name="connsiteY42" fmla="*/ 30203 h 30202"/>
                    <a:gd name="connsiteX43" fmla="*/ 45813 w 52750"/>
                    <a:gd name="connsiteY43" fmla="*/ 29724 h 3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2750" h="30202">
                      <a:moveTo>
                        <a:pt x="0" y="5143"/>
                      </a:moveTo>
                      <a:lnTo>
                        <a:pt x="897" y="2512"/>
                      </a:lnTo>
                      <a:lnTo>
                        <a:pt x="1973" y="1076"/>
                      </a:lnTo>
                      <a:lnTo>
                        <a:pt x="6220" y="658"/>
                      </a:lnTo>
                      <a:lnTo>
                        <a:pt x="11244" y="179"/>
                      </a:lnTo>
                      <a:lnTo>
                        <a:pt x="12978" y="0"/>
                      </a:lnTo>
                      <a:lnTo>
                        <a:pt x="13995" y="60"/>
                      </a:lnTo>
                      <a:lnTo>
                        <a:pt x="13995" y="60"/>
                      </a:lnTo>
                      <a:lnTo>
                        <a:pt x="14294" y="60"/>
                      </a:lnTo>
                      <a:lnTo>
                        <a:pt x="19019" y="419"/>
                      </a:lnTo>
                      <a:lnTo>
                        <a:pt x="19677" y="478"/>
                      </a:lnTo>
                      <a:lnTo>
                        <a:pt x="20035" y="478"/>
                      </a:lnTo>
                      <a:lnTo>
                        <a:pt x="20275" y="478"/>
                      </a:lnTo>
                      <a:lnTo>
                        <a:pt x="24162" y="778"/>
                      </a:lnTo>
                      <a:lnTo>
                        <a:pt x="25179" y="837"/>
                      </a:lnTo>
                      <a:lnTo>
                        <a:pt x="25238" y="837"/>
                      </a:lnTo>
                      <a:lnTo>
                        <a:pt x="25418" y="837"/>
                      </a:lnTo>
                      <a:lnTo>
                        <a:pt x="27511" y="1017"/>
                      </a:lnTo>
                      <a:lnTo>
                        <a:pt x="27811" y="1017"/>
                      </a:lnTo>
                      <a:lnTo>
                        <a:pt x="29006" y="1316"/>
                      </a:lnTo>
                      <a:lnTo>
                        <a:pt x="34987" y="2871"/>
                      </a:lnTo>
                      <a:lnTo>
                        <a:pt x="37439" y="3529"/>
                      </a:lnTo>
                      <a:lnTo>
                        <a:pt x="37977" y="3828"/>
                      </a:lnTo>
                      <a:lnTo>
                        <a:pt x="40908" y="5383"/>
                      </a:lnTo>
                      <a:lnTo>
                        <a:pt x="43958" y="6997"/>
                      </a:lnTo>
                      <a:lnTo>
                        <a:pt x="46590" y="8433"/>
                      </a:lnTo>
                      <a:lnTo>
                        <a:pt x="47606" y="9210"/>
                      </a:lnTo>
                      <a:lnTo>
                        <a:pt x="47786" y="9330"/>
                      </a:lnTo>
                      <a:lnTo>
                        <a:pt x="47786" y="9330"/>
                      </a:lnTo>
                      <a:lnTo>
                        <a:pt x="48145" y="9629"/>
                      </a:lnTo>
                      <a:lnTo>
                        <a:pt x="48623" y="9988"/>
                      </a:lnTo>
                      <a:lnTo>
                        <a:pt x="49161" y="10406"/>
                      </a:lnTo>
                      <a:lnTo>
                        <a:pt x="50896" y="11722"/>
                      </a:lnTo>
                      <a:lnTo>
                        <a:pt x="51016" y="11842"/>
                      </a:lnTo>
                      <a:lnTo>
                        <a:pt x="51016" y="11842"/>
                      </a:lnTo>
                      <a:lnTo>
                        <a:pt x="51195" y="11961"/>
                      </a:lnTo>
                      <a:lnTo>
                        <a:pt x="52750" y="13158"/>
                      </a:lnTo>
                      <a:lnTo>
                        <a:pt x="52571" y="17284"/>
                      </a:lnTo>
                      <a:lnTo>
                        <a:pt x="52331" y="22906"/>
                      </a:lnTo>
                      <a:lnTo>
                        <a:pt x="50716" y="25538"/>
                      </a:lnTo>
                      <a:lnTo>
                        <a:pt x="48623" y="28887"/>
                      </a:lnTo>
                      <a:lnTo>
                        <a:pt x="47487" y="29605"/>
                      </a:lnTo>
                      <a:lnTo>
                        <a:pt x="46530" y="30203"/>
                      </a:lnTo>
                      <a:lnTo>
                        <a:pt x="45813" y="29724"/>
                      </a:lnTo>
                    </a:path>
                  </a:pathLst>
                </a:custGeom>
                <a:noFill/>
                <a:ln w="6350" cap="rnd">
                  <a:solidFill>
                    <a:schemeClr val="bg1">
                      <a:alpha val="40000"/>
                    </a:schemeClr>
                  </a:solidFill>
                  <a:prstDash val="solid"/>
                  <a:round/>
                </a:ln>
              </p:spPr>
              <p:txBody>
                <a:bodyPr rtlCol="0" anchor="ctr"/>
                <a:lstStyle/>
                <a:p>
                  <a:endParaRPr lang="en-GB"/>
                </a:p>
              </p:txBody>
            </p:sp>
            <p:sp>
              <p:nvSpPr>
                <p:cNvPr id="6748" name="Vrije vorm: vorm 6747">
                  <a:extLst>
                    <a:ext uri="{FF2B5EF4-FFF2-40B4-BE49-F238E27FC236}">
                      <a16:creationId xmlns:a16="http://schemas.microsoft.com/office/drawing/2014/main" id="{10559198-C2AD-4EAA-B88D-0892C760389C}"/>
                    </a:ext>
                  </a:extLst>
                </p:cNvPr>
                <p:cNvSpPr/>
                <p:nvPr/>
              </p:nvSpPr>
              <p:spPr>
                <a:xfrm>
                  <a:off x="6926712" y="1964288"/>
                  <a:ext cx="2512" cy="9987"/>
                </a:xfrm>
                <a:custGeom>
                  <a:avLst/>
                  <a:gdLst>
                    <a:gd name="connsiteX0" fmla="*/ 2392 w 2512"/>
                    <a:gd name="connsiteY0" fmla="*/ 9988 h 9987"/>
                    <a:gd name="connsiteX1" fmla="*/ 2452 w 2512"/>
                    <a:gd name="connsiteY1" fmla="*/ 6878 h 9987"/>
                    <a:gd name="connsiteX2" fmla="*/ 2452 w 2512"/>
                    <a:gd name="connsiteY2" fmla="*/ 6639 h 9987"/>
                    <a:gd name="connsiteX3" fmla="*/ 2512 w 2512"/>
                    <a:gd name="connsiteY3" fmla="*/ 3828 h 9987"/>
                    <a:gd name="connsiteX4" fmla="*/ 0 w 2512"/>
                    <a:gd name="connsiteY4" fmla="*/ 0 h 9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 h="9987">
                      <a:moveTo>
                        <a:pt x="2392" y="9988"/>
                      </a:moveTo>
                      <a:lnTo>
                        <a:pt x="2452" y="6878"/>
                      </a:lnTo>
                      <a:lnTo>
                        <a:pt x="2452" y="6639"/>
                      </a:lnTo>
                      <a:lnTo>
                        <a:pt x="2512" y="382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49" name="Vrije vorm: vorm 6748">
                  <a:extLst>
                    <a:ext uri="{FF2B5EF4-FFF2-40B4-BE49-F238E27FC236}">
                      <a16:creationId xmlns:a16="http://schemas.microsoft.com/office/drawing/2014/main" id="{D8BC6379-4159-46B4-945E-79B1F3CE4B30}"/>
                    </a:ext>
                  </a:extLst>
                </p:cNvPr>
                <p:cNvSpPr/>
                <p:nvPr/>
              </p:nvSpPr>
              <p:spPr>
                <a:xfrm>
                  <a:off x="6936640" y="2014407"/>
                  <a:ext cx="10645" cy="16925"/>
                </a:xfrm>
                <a:custGeom>
                  <a:avLst/>
                  <a:gdLst>
                    <a:gd name="connsiteX0" fmla="*/ 8373 w 10645"/>
                    <a:gd name="connsiteY0" fmla="*/ 0 h 16925"/>
                    <a:gd name="connsiteX1" fmla="*/ 8732 w 10645"/>
                    <a:gd name="connsiteY1" fmla="*/ 1136 h 16925"/>
                    <a:gd name="connsiteX2" fmla="*/ 8851 w 10645"/>
                    <a:gd name="connsiteY2" fmla="*/ 1555 h 16925"/>
                    <a:gd name="connsiteX3" fmla="*/ 8911 w 10645"/>
                    <a:gd name="connsiteY3" fmla="*/ 1794 h 16925"/>
                    <a:gd name="connsiteX4" fmla="*/ 8971 w 10645"/>
                    <a:gd name="connsiteY4" fmla="*/ 1914 h 16925"/>
                    <a:gd name="connsiteX5" fmla="*/ 9091 w 10645"/>
                    <a:gd name="connsiteY5" fmla="*/ 2213 h 16925"/>
                    <a:gd name="connsiteX6" fmla="*/ 9330 w 10645"/>
                    <a:gd name="connsiteY6" fmla="*/ 2990 h 16925"/>
                    <a:gd name="connsiteX7" fmla="*/ 9569 w 10645"/>
                    <a:gd name="connsiteY7" fmla="*/ 3648 h 16925"/>
                    <a:gd name="connsiteX8" fmla="*/ 9629 w 10645"/>
                    <a:gd name="connsiteY8" fmla="*/ 3888 h 16925"/>
                    <a:gd name="connsiteX9" fmla="*/ 9808 w 10645"/>
                    <a:gd name="connsiteY9" fmla="*/ 4486 h 16925"/>
                    <a:gd name="connsiteX10" fmla="*/ 9808 w 10645"/>
                    <a:gd name="connsiteY10" fmla="*/ 4486 h 16925"/>
                    <a:gd name="connsiteX11" fmla="*/ 10107 w 10645"/>
                    <a:gd name="connsiteY11" fmla="*/ 5323 h 16925"/>
                    <a:gd name="connsiteX12" fmla="*/ 10287 w 10645"/>
                    <a:gd name="connsiteY12" fmla="*/ 5921 h 16925"/>
                    <a:gd name="connsiteX13" fmla="*/ 10347 w 10645"/>
                    <a:gd name="connsiteY13" fmla="*/ 6160 h 16925"/>
                    <a:gd name="connsiteX14" fmla="*/ 10646 w 10645"/>
                    <a:gd name="connsiteY14" fmla="*/ 7057 h 16925"/>
                    <a:gd name="connsiteX15" fmla="*/ 9988 w 10645"/>
                    <a:gd name="connsiteY15" fmla="*/ 8493 h 16925"/>
                    <a:gd name="connsiteX16" fmla="*/ 8253 w 10645"/>
                    <a:gd name="connsiteY16" fmla="*/ 12141 h 16925"/>
                    <a:gd name="connsiteX17" fmla="*/ 6160 w 10645"/>
                    <a:gd name="connsiteY17" fmla="*/ 13636 h 16925"/>
                    <a:gd name="connsiteX18" fmla="*/ 5263 w 10645"/>
                    <a:gd name="connsiteY18" fmla="*/ 14234 h 16925"/>
                    <a:gd name="connsiteX19" fmla="*/ 4246 w 10645"/>
                    <a:gd name="connsiteY19" fmla="*/ 14952 h 16925"/>
                    <a:gd name="connsiteX20" fmla="*/ 1675 w 10645"/>
                    <a:gd name="connsiteY20" fmla="*/ 16806 h 16925"/>
                    <a:gd name="connsiteX21" fmla="*/ 1495 w 10645"/>
                    <a:gd name="connsiteY21" fmla="*/ 16925 h 16925"/>
                    <a:gd name="connsiteX22" fmla="*/ 1316 w 10645"/>
                    <a:gd name="connsiteY22" fmla="*/ 16686 h 16925"/>
                    <a:gd name="connsiteX23" fmla="*/ 0 w 10645"/>
                    <a:gd name="connsiteY23" fmla="*/ 14952 h 16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645" h="16925">
                      <a:moveTo>
                        <a:pt x="8373" y="0"/>
                      </a:moveTo>
                      <a:lnTo>
                        <a:pt x="8732" y="1136"/>
                      </a:lnTo>
                      <a:lnTo>
                        <a:pt x="8851" y="1555"/>
                      </a:lnTo>
                      <a:lnTo>
                        <a:pt x="8911" y="1794"/>
                      </a:lnTo>
                      <a:lnTo>
                        <a:pt x="8971" y="1914"/>
                      </a:lnTo>
                      <a:lnTo>
                        <a:pt x="9091" y="2213"/>
                      </a:lnTo>
                      <a:lnTo>
                        <a:pt x="9330" y="2990"/>
                      </a:lnTo>
                      <a:lnTo>
                        <a:pt x="9569" y="3648"/>
                      </a:lnTo>
                      <a:lnTo>
                        <a:pt x="9629" y="3888"/>
                      </a:lnTo>
                      <a:lnTo>
                        <a:pt x="9808" y="4486"/>
                      </a:lnTo>
                      <a:lnTo>
                        <a:pt x="9808" y="4486"/>
                      </a:lnTo>
                      <a:lnTo>
                        <a:pt x="10107" y="5323"/>
                      </a:lnTo>
                      <a:lnTo>
                        <a:pt x="10287" y="5921"/>
                      </a:lnTo>
                      <a:lnTo>
                        <a:pt x="10347" y="6160"/>
                      </a:lnTo>
                      <a:lnTo>
                        <a:pt x="10646" y="7057"/>
                      </a:lnTo>
                      <a:lnTo>
                        <a:pt x="9988" y="8493"/>
                      </a:lnTo>
                      <a:lnTo>
                        <a:pt x="8253" y="12141"/>
                      </a:lnTo>
                      <a:lnTo>
                        <a:pt x="6160" y="13636"/>
                      </a:lnTo>
                      <a:lnTo>
                        <a:pt x="5263" y="14234"/>
                      </a:lnTo>
                      <a:lnTo>
                        <a:pt x="4246" y="14952"/>
                      </a:lnTo>
                      <a:lnTo>
                        <a:pt x="1675" y="16806"/>
                      </a:lnTo>
                      <a:lnTo>
                        <a:pt x="1495" y="16925"/>
                      </a:lnTo>
                      <a:lnTo>
                        <a:pt x="1316" y="16686"/>
                      </a:lnTo>
                      <a:lnTo>
                        <a:pt x="0" y="14952"/>
                      </a:lnTo>
                    </a:path>
                  </a:pathLst>
                </a:custGeom>
                <a:noFill/>
                <a:ln w="6350" cap="rnd">
                  <a:solidFill>
                    <a:schemeClr val="bg1">
                      <a:alpha val="40000"/>
                    </a:schemeClr>
                  </a:solidFill>
                  <a:prstDash val="solid"/>
                  <a:round/>
                </a:ln>
              </p:spPr>
              <p:txBody>
                <a:bodyPr rtlCol="0" anchor="ctr"/>
                <a:lstStyle/>
                <a:p>
                  <a:endParaRPr lang="en-GB"/>
                </a:p>
              </p:txBody>
            </p:sp>
            <p:sp>
              <p:nvSpPr>
                <p:cNvPr id="6750" name="Vrije vorm: vorm 6749">
                  <a:extLst>
                    <a:ext uri="{FF2B5EF4-FFF2-40B4-BE49-F238E27FC236}">
                      <a16:creationId xmlns:a16="http://schemas.microsoft.com/office/drawing/2014/main" id="{41AE8AF2-2AF6-4493-A7C6-D7A81DA4518C}"/>
                    </a:ext>
                  </a:extLst>
                </p:cNvPr>
                <p:cNvSpPr/>
                <p:nvPr/>
              </p:nvSpPr>
              <p:spPr>
                <a:xfrm>
                  <a:off x="6729169" y="1835524"/>
                  <a:ext cx="1555" cy="7894"/>
                </a:xfrm>
                <a:custGeom>
                  <a:avLst/>
                  <a:gdLst>
                    <a:gd name="connsiteX0" fmla="*/ 1196 w 1555"/>
                    <a:gd name="connsiteY0" fmla="*/ 7895 h 7894"/>
                    <a:gd name="connsiteX1" fmla="*/ 1555 w 1555"/>
                    <a:gd name="connsiteY1" fmla="*/ 2691 h 7894"/>
                    <a:gd name="connsiteX2" fmla="*/ 0 w 1555"/>
                    <a:gd name="connsiteY2" fmla="*/ 0 h 7894"/>
                  </a:gdLst>
                  <a:ahLst/>
                  <a:cxnLst>
                    <a:cxn ang="0">
                      <a:pos x="connsiteX0" y="connsiteY0"/>
                    </a:cxn>
                    <a:cxn ang="0">
                      <a:pos x="connsiteX1" y="connsiteY1"/>
                    </a:cxn>
                    <a:cxn ang="0">
                      <a:pos x="connsiteX2" y="connsiteY2"/>
                    </a:cxn>
                  </a:cxnLst>
                  <a:rect l="l" t="t" r="r" b="b"/>
                  <a:pathLst>
                    <a:path w="1555" h="7894">
                      <a:moveTo>
                        <a:pt x="1196" y="7895"/>
                      </a:moveTo>
                      <a:lnTo>
                        <a:pt x="1555" y="2691"/>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51" name="Vrije vorm: vorm 6750">
                  <a:extLst>
                    <a:ext uri="{FF2B5EF4-FFF2-40B4-BE49-F238E27FC236}">
                      <a16:creationId xmlns:a16="http://schemas.microsoft.com/office/drawing/2014/main" id="{C74CCAD5-73F5-4DAC-970E-D918FF9CE385}"/>
                    </a:ext>
                  </a:extLst>
                </p:cNvPr>
                <p:cNvSpPr/>
                <p:nvPr/>
              </p:nvSpPr>
              <p:spPr>
                <a:xfrm>
                  <a:off x="6814275" y="2084680"/>
                  <a:ext cx="1435" cy="2870"/>
                </a:xfrm>
                <a:custGeom>
                  <a:avLst/>
                  <a:gdLst>
                    <a:gd name="connsiteX0" fmla="*/ 0 w 1435"/>
                    <a:gd name="connsiteY0" fmla="*/ 0 h 2870"/>
                    <a:gd name="connsiteX1" fmla="*/ 1435 w 1435"/>
                    <a:gd name="connsiteY1" fmla="*/ 1854 h 2870"/>
                    <a:gd name="connsiteX2" fmla="*/ 1376 w 1435"/>
                    <a:gd name="connsiteY2" fmla="*/ 2273 h 2870"/>
                    <a:gd name="connsiteX3" fmla="*/ 1316 w 1435"/>
                    <a:gd name="connsiteY3" fmla="*/ 2871 h 2870"/>
                  </a:gdLst>
                  <a:ahLst/>
                  <a:cxnLst>
                    <a:cxn ang="0">
                      <a:pos x="connsiteX0" y="connsiteY0"/>
                    </a:cxn>
                    <a:cxn ang="0">
                      <a:pos x="connsiteX1" y="connsiteY1"/>
                    </a:cxn>
                    <a:cxn ang="0">
                      <a:pos x="connsiteX2" y="connsiteY2"/>
                    </a:cxn>
                    <a:cxn ang="0">
                      <a:pos x="connsiteX3" y="connsiteY3"/>
                    </a:cxn>
                  </a:cxnLst>
                  <a:rect l="l" t="t" r="r" b="b"/>
                  <a:pathLst>
                    <a:path w="1435" h="2870">
                      <a:moveTo>
                        <a:pt x="0" y="0"/>
                      </a:moveTo>
                      <a:lnTo>
                        <a:pt x="1435" y="1854"/>
                      </a:lnTo>
                      <a:lnTo>
                        <a:pt x="1376" y="2273"/>
                      </a:lnTo>
                      <a:lnTo>
                        <a:pt x="1316" y="2871"/>
                      </a:lnTo>
                    </a:path>
                  </a:pathLst>
                </a:custGeom>
                <a:noFill/>
                <a:ln w="6350" cap="rnd">
                  <a:solidFill>
                    <a:schemeClr val="bg1">
                      <a:alpha val="40000"/>
                    </a:schemeClr>
                  </a:solidFill>
                  <a:prstDash val="solid"/>
                  <a:round/>
                </a:ln>
              </p:spPr>
              <p:txBody>
                <a:bodyPr rtlCol="0" anchor="ctr"/>
                <a:lstStyle/>
                <a:p>
                  <a:endParaRPr lang="en-GB"/>
                </a:p>
              </p:txBody>
            </p:sp>
            <p:sp>
              <p:nvSpPr>
                <p:cNvPr id="6752" name="Vrije vorm: vorm 6751">
                  <a:extLst>
                    <a:ext uri="{FF2B5EF4-FFF2-40B4-BE49-F238E27FC236}">
                      <a16:creationId xmlns:a16="http://schemas.microsoft.com/office/drawing/2014/main" id="{FD873F74-FA37-4615-913C-6E6A1E699115}"/>
                    </a:ext>
                  </a:extLst>
                </p:cNvPr>
                <p:cNvSpPr/>
                <p:nvPr/>
              </p:nvSpPr>
              <p:spPr>
                <a:xfrm>
                  <a:off x="6660211" y="1961418"/>
                  <a:ext cx="19138" cy="15549"/>
                </a:xfrm>
                <a:custGeom>
                  <a:avLst/>
                  <a:gdLst>
                    <a:gd name="connsiteX0" fmla="*/ 18540 w 19138"/>
                    <a:gd name="connsiteY0" fmla="*/ 0 h 15549"/>
                    <a:gd name="connsiteX1" fmla="*/ 19138 w 19138"/>
                    <a:gd name="connsiteY1" fmla="*/ 419 h 15549"/>
                    <a:gd name="connsiteX2" fmla="*/ 19019 w 19138"/>
                    <a:gd name="connsiteY2" fmla="*/ 5203 h 15549"/>
                    <a:gd name="connsiteX3" fmla="*/ 19019 w 19138"/>
                    <a:gd name="connsiteY3" fmla="*/ 5383 h 15549"/>
                    <a:gd name="connsiteX4" fmla="*/ 18062 w 19138"/>
                    <a:gd name="connsiteY4" fmla="*/ 6938 h 15549"/>
                    <a:gd name="connsiteX5" fmla="*/ 16567 w 19138"/>
                    <a:gd name="connsiteY5" fmla="*/ 9330 h 15549"/>
                    <a:gd name="connsiteX6" fmla="*/ 12679 w 19138"/>
                    <a:gd name="connsiteY6" fmla="*/ 15490 h 15549"/>
                    <a:gd name="connsiteX7" fmla="*/ 9211 w 19138"/>
                    <a:gd name="connsiteY7" fmla="*/ 15550 h 15549"/>
                    <a:gd name="connsiteX8" fmla="*/ 5323 w 19138"/>
                    <a:gd name="connsiteY8" fmla="*/ 15311 h 15549"/>
                    <a:gd name="connsiteX9" fmla="*/ 1196 w 19138"/>
                    <a:gd name="connsiteY9" fmla="*/ 13995 h 15549"/>
                    <a:gd name="connsiteX10" fmla="*/ 0 w 19138"/>
                    <a:gd name="connsiteY10" fmla="*/ 12679 h 1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138" h="15549">
                      <a:moveTo>
                        <a:pt x="18540" y="0"/>
                      </a:moveTo>
                      <a:lnTo>
                        <a:pt x="19138" y="419"/>
                      </a:lnTo>
                      <a:lnTo>
                        <a:pt x="19019" y="5203"/>
                      </a:lnTo>
                      <a:lnTo>
                        <a:pt x="19019" y="5383"/>
                      </a:lnTo>
                      <a:lnTo>
                        <a:pt x="18062" y="6938"/>
                      </a:lnTo>
                      <a:lnTo>
                        <a:pt x="16567" y="9330"/>
                      </a:lnTo>
                      <a:lnTo>
                        <a:pt x="12679" y="15490"/>
                      </a:lnTo>
                      <a:lnTo>
                        <a:pt x="9211" y="15550"/>
                      </a:lnTo>
                      <a:lnTo>
                        <a:pt x="5323" y="15311"/>
                      </a:lnTo>
                      <a:lnTo>
                        <a:pt x="1196" y="13995"/>
                      </a:lnTo>
                      <a:lnTo>
                        <a:pt x="0" y="12679"/>
                      </a:lnTo>
                    </a:path>
                  </a:pathLst>
                </a:custGeom>
                <a:noFill/>
                <a:ln w="6350" cap="rnd">
                  <a:solidFill>
                    <a:schemeClr val="bg1">
                      <a:alpha val="40000"/>
                    </a:schemeClr>
                  </a:solidFill>
                  <a:prstDash val="solid"/>
                  <a:round/>
                </a:ln>
              </p:spPr>
              <p:txBody>
                <a:bodyPr rtlCol="0" anchor="ctr"/>
                <a:lstStyle/>
                <a:p>
                  <a:endParaRPr lang="en-GB"/>
                </a:p>
              </p:txBody>
            </p:sp>
            <p:sp>
              <p:nvSpPr>
                <p:cNvPr id="6753" name="Vrije vorm: vorm 6752">
                  <a:extLst>
                    <a:ext uri="{FF2B5EF4-FFF2-40B4-BE49-F238E27FC236}">
                      <a16:creationId xmlns:a16="http://schemas.microsoft.com/office/drawing/2014/main" id="{081DB4FB-DDCA-4CF2-A8C6-A76CFA93CBA3}"/>
                    </a:ext>
                  </a:extLst>
                </p:cNvPr>
                <p:cNvSpPr/>
                <p:nvPr/>
              </p:nvSpPr>
              <p:spPr>
                <a:xfrm>
                  <a:off x="6679768" y="1843298"/>
                  <a:ext cx="8313" cy="1734"/>
                </a:xfrm>
                <a:custGeom>
                  <a:avLst/>
                  <a:gdLst>
                    <a:gd name="connsiteX0" fmla="*/ 8313 w 8313"/>
                    <a:gd name="connsiteY0" fmla="*/ 1734 h 1734"/>
                    <a:gd name="connsiteX1" fmla="*/ 6399 w 8313"/>
                    <a:gd name="connsiteY1" fmla="*/ 1316 h 1734"/>
                    <a:gd name="connsiteX2" fmla="*/ 6041 w 8313"/>
                    <a:gd name="connsiteY2" fmla="*/ 1256 h 1734"/>
                    <a:gd name="connsiteX3" fmla="*/ 0 w 8313"/>
                    <a:gd name="connsiteY3" fmla="*/ 0 h 1734"/>
                  </a:gdLst>
                  <a:ahLst/>
                  <a:cxnLst>
                    <a:cxn ang="0">
                      <a:pos x="connsiteX0" y="connsiteY0"/>
                    </a:cxn>
                    <a:cxn ang="0">
                      <a:pos x="connsiteX1" y="connsiteY1"/>
                    </a:cxn>
                    <a:cxn ang="0">
                      <a:pos x="connsiteX2" y="connsiteY2"/>
                    </a:cxn>
                    <a:cxn ang="0">
                      <a:pos x="connsiteX3" y="connsiteY3"/>
                    </a:cxn>
                  </a:cxnLst>
                  <a:rect l="l" t="t" r="r" b="b"/>
                  <a:pathLst>
                    <a:path w="8313" h="1734">
                      <a:moveTo>
                        <a:pt x="8313" y="1734"/>
                      </a:moveTo>
                      <a:lnTo>
                        <a:pt x="6399" y="1316"/>
                      </a:lnTo>
                      <a:lnTo>
                        <a:pt x="6041" y="125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54" name="Vrije vorm: vorm 6753">
                  <a:extLst>
                    <a:ext uri="{FF2B5EF4-FFF2-40B4-BE49-F238E27FC236}">
                      <a16:creationId xmlns:a16="http://schemas.microsoft.com/office/drawing/2014/main" id="{7F2E42A7-DB0A-4C20-ACAB-8CE8A2D5F53C}"/>
                    </a:ext>
                  </a:extLst>
                </p:cNvPr>
                <p:cNvSpPr/>
                <p:nvPr/>
              </p:nvSpPr>
              <p:spPr>
                <a:xfrm>
                  <a:off x="6617329" y="1948141"/>
                  <a:ext cx="3827" cy="1255"/>
                </a:xfrm>
                <a:custGeom>
                  <a:avLst/>
                  <a:gdLst>
                    <a:gd name="connsiteX0" fmla="*/ 0 w 3827"/>
                    <a:gd name="connsiteY0" fmla="*/ 1256 h 1255"/>
                    <a:gd name="connsiteX1" fmla="*/ 3648 w 3827"/>
                    <a:gd name="connsiteY1" fmla="*/ 60 h 1255"/>
                    <a:gd name="connsiteX2" fmla="*/ 3828 w 3827"/>
                    <a:gd name="connsiteY2" fmla="*/ 0 h 1255"/>
                  </a:gdLst>
                  <a:ahLst/>
                  <a:cxnLst>
                    <a:cxn ang="0">
                      <a:pos x="connsiteX0" y="connsiteY0"/>
                    </a:cxn>
                    <a:cxn ang="0">
                      <a:pos x="connsiteX1" y="connsiteY1"/>
                    </a:cxn>
                    <a:cxn ang="0">
                      <a:pos x="connsiteX2" y="connsiteY2"/>
                    </a:cxn>
                  </a:cxnLst>
                  <a:rect l="l" t="t" r="r" b="b"/>
                  <a:pathLst>
                    <a:path w="3827" h="1255">
                      <a:moveTo>
                        <a:pt x="0" y="1256"/>
                      </a:moveTo>
                      <a:lnTo>
                        <a:pt x="3648" y="60"/>
                      </a:lnTo>
                      <a:lnTo>
                        <a:pt x="3828" y="0"/>
                      </a:lnTo>
                    </a:path>
                  </a:pathLst>
                </a:custGeom>
                <a:noFill/>
                <a:ln w="6350" cap="rnd">
                  <a:solidFill>
                    <a:schemeClr val="bg1">
                      <a:alpha val="40000"/>
                    </a:schemeClr>
                  </a:solidFill>
                  <a:prstDash val="solid"/>
                  <a:round/>
                </a:ln>
              </p:spPr>
              <p:txBody>
                <a:bodyPr rtlCol="0" anchor="ctr"/>
                <a:lstStyle/>
                <a:p>
                  <a:endParaRPr lang="en-GB"/>
                </a:p>
              </p:txBody>
            </p:sp>
            <p:sp>
              <p:nvSpPr>
                <p:cNvPr id="6755" name="Vrije vorm: vorm 6754">
                  <a:extLst>
                    <a:ext uri="{FF2B5EF4-FFF2-40B4-BE49-F238E27FC236}">
                      <a16:creationId xmlns:a16="http://schemas.microsoft.com/office/drawing/2014/main" id="{402B353F-BD30-4659-A597-EB87F87EF9C4}"/>
                    </a:ext>
                  </a:extLst>
                </p:cNvPr>
                <p:cNvSpPr/>
                <p:nvPr/>
              </p:nvSpPr>
              <p:spPr>
                <a:xfrm>
                  <a:off x="6695737" y="1849399"/>
                  <a:ext cx="5562" cy="7356"/>
                </a:xfrm>
                <a:custGeom>
                  <a:avLst/>
                  <a:gdLst>
                    <a:gd name="connsiteX0" fmla="*/ 5562 w 5562"/>
                    <a:gd name="connsiteY0" fmla="*/ 7356 h 7356"/>
                    <a:gd name="connsiteX1" fmla="*/ 5144 w 5562"/>
                    <a:gd name="connsiteY1" fmla="*/ 6399 h 7356"/>
                    <a:gd name="connsiteX2" fmla="*/ 3469 w 5562"/>
                    <a:gd name="connsiteY2" fmla="*/ 2691 h 7356"/>
                    <a:gd name="connsiteX3" fmla="*/ 3349 w 5562"/>
                    <a:gd name="connsiteY3" fmla="*/ 2632 h 7356"/>
                    <a:gd name="connsiteX4" fmla="*/ 0 w 5562"/>
                    <a:gd name="connsiteY4" fmla="*/ 0 h 7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7356">
                      <a:moveTo>
                        <a:pt x="5562" y="7356"/>
                      </a:moveTo>
                      <a:lnTo>
                        <a:pt x="5144" y="6399"/>
                      </a:lnTo>
                      <a:lnTo>
                        <a:pt x="3469" y="2691"/>
                      </a:lnTo>
                      <a:lnTo>
                        <a:pt x="3349" y="2632"/>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56" name="Vrije vorm: vorm 6755">
                  <a:extLst>
                    <a:ext uri="{FF2B5EF4-FFF2-40B4-BE49-F238E27FC236}">
                      <a16:creationId xmlns:a16="http://schemas.microsoft.com/office/drawing/2014/main" id="{9CF56725-6800-4788-8FDF-1AF7E6565394}"/>
                    </a:ext>
                  </a:extLst>
                </p:cNvPr>
                <p:cNvSpPr/>
                <p:nvPr/>
              </p:nvSpPr>
              <p:spPr>
                <a:xfrm>
                  <a:off x="6910624" y="1922902"/>
                  <a:ext cx="1435" cy="6937"/>
                </a:xfrm>
                <a:custGeom>
                  <a:avLst/>
                  <a:gdLst>
                    <a:gd name="connsiteX0" fmla="*/ 1435 w 1435"/>
                    <a:gd name="connsiteY0" fmla="*/ 6938 h 6937"/>
                    <a:gd name="connsiteX1" fmla="*/ 1375 w 1435"/>
                    <a:gd name="connsiteY1" fmla="*/ 6340 h 6937"/>
                    <a:gd name="connsiteX2" fmla="*/ 1256 w 1435"/>
                    <a:gd name="connsiteY2" fmla="*/ 4545 h 6937"/>
                    <a:gd name="connsiteX3" fmla="*/ 1136 w 1435"/>
                    <a:gd name="connsiteY3" fmla="*/ 2931 h 6937"/>
                    <a:gd name="connsiteX4" fmla="*/ 1136 w 1435"/>
                    <a:gd name="connsiteY4" fmla="*/ 2452 h 6937"/>
                    <a:gd name="connsiteX5" fmla="*/ 0 w 1435"/>
                    <a:gd name="connsiteY5" fmla="*/ 0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 h="6937">
                      <a:moveTo>
                        <a:pt x="1435" y="6938"/>
                      </a:moveTo>
                      <a:lnTo>
                        <a:pt x="1375" y="6340"/>
                      </a:lnTo>
                      <a:lnTo>
                        <a:pt x="1256" y="4545"/>
                      </a:lnTo>
                      <a:lnTo>
                        <a:pt x="1136" y="2931"/>
                      </a:lnTo>
                      <a:lnTo>
                        <a:pt x="1136" y="2452"/>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57" name="Vrije vorm: vorm 6756">
                  <a:extLst>
                    <a:ext uri="{FF2B5EF4-FFF2-40B4-BE49-F238E27FC236}">
                      <a16:creationId xmlns:a16="http://schemas.microsoft.com/office/drawing/2014/main" id="{D0858F0F-291B-4C36-9374-07FB4E79EE87}"/>
                    </a:ext>
                  </a:extLst>
                </p:cNvPr>
                <p:cNvSpPr/>
                <p:nvPr/>
              </p:nvSpPr>
              <p:spPr>
                <a:xfrm>
                  <a:off x="6726896" y="1812976"/>
                  <a:ext cx="25238" cy="25896"/>
                </a:xfrm>
                <a:custGeom>
                  <a:avLst/>
                  <a:gdLst>
                    <a:gd name="connsiteX0" fmla="*/ 0 w 25238"/>
                    <a:gd name="connsiteY0" fmla="*/ 1256 h 25896"/>
                    <a:gd name="connsiteX1" fmla="*/ 1256 w 25238"/>
                    <a:gd name="connsiteY1" fmla="*/ 0 h 25896"/>
                    <a:gd name="connsiteX2" fmla="*/ 2632 w 25238"/>
                    <a:gd name="connsiteY2" fmla="*/ 897 h 25896"/>
                    <a:gd name="connsiteX3" fmla="*/ 9928 w 25238"/>
                    <a:gd name="connsiteY3" fmla="*/ 6758 h 25896"/>
                    <a:gd name="connsiteX4" fmla="*/ 18421 w 25238"/>
                    <a:gd name="connsiteY4" fmla="*/ 15550 h 25896"/>
                    <a:gd name="connsiteX5" fmla="*/ 23086 w 25238"/>
                    <a:gd name="connsiteY5" fmla="*/ 22129 h 25896"/>
                    <a:gd name="connsiteX6" fmla="*/ 25239 w 25238"/>
                    <a:gd name="connsiteY6" fmla="*/ 25897 h 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38" h="25896">
                      <a:moveTo>
                        <a:pt x="0" y="1256"/>
                      </a:moveTo>
                      <a:lnTo>
                        <a:pt x="1256" y="0"/>
                      </a:lnTo>
                      <a:lnTo>
                        <a:pt x="2632" y="897"/>
                      </a:lnTo>
                      <a:lnTo>
                        <a:pt x="9928" y="6758"/>
                      </a:lnTo>
                      <a:lnTo>
                        <a:pt x="18421" y="15550"/>
                      </a:lnTo>
                      <a:lnTo>
                        <a:pt x="23086" y="22129"/>
                      </a:lnTo>
                      <a:lnTo>
                        <a:pt x="25239" y="25897"/>
                      </a:lnTo>
                    </a:path>
                  </a:pathLst>
                </a:custGeom>
                <a:noFill/>
                <a:ln w="6350" cap="rnd">
                  <a:solidFill>
                    <a:schemeClr val="bg1">
                      <a:alpha val="40000"/>
                    </a:schemeClr>
                  </a:solidFill>
                  <a:prstDash val="solid"/>
                  <a:round/>
                </a:ln>
              </p:spPr>
              <p:txBody>
                <a:bodyPr rtlCol="0" anchor="ctr"/>
                <a:lstStyle/>
                <a:p>
                  <a:endParaRPr lang="en-GB"/>
                </a:p>
              </p:txBody>
            </p:sp>
            <p:sp>
              <p:nvSpPr>
                <p:cNvPr id="6758" name="Vrije vorm: vorm 6757">
                  <a:extLst>
                    <a:ext uri="{FF2B5EF4-FFF2-40B4-BE49-F238E27FC236}">
                      <a16:creationId xmlns:a16="http://schemas.microsoft.com/office/drawing/2014/main" id="{8AE7E1FC-477D-422F-914C-F4B00716CB6A}"/>
                    </a:ext>
                  </a:extLst>
                </p:cNvPr>
                <p:cNvSpPr/>
                <p:nvPr/>
              </p:nvSpPr>
              <p:spPr>
                <a:xfrm>
                  <a:off x="6916186" y="1933607"/>
                  <a:ext cx="11363" cy="4186"/>
                </a:xfrm>
                <a:custGeom>
                  <a:avLst/>
                  <a:gdLst>
                    <a:gd name="connsiteX0" fmla="*/ 0 w 11363"/>
                    <a:gd name="connsiteY0" fmla="*/ 120 h 4186"/>
                    <a:gd name="connsiteX1" fmla="*/ 2512 w 11363"/>
                    <a:gd name="connsiteY1" fmla="*/ 0 h 4186"/>
                    <a:gd name="connsiteX2" fmla="*/ 3290 w 11363"/>
                    <a:gd name="connsiteY2" fmla="*/ 0 h 4186"/>
                    <a:gd name="connsiteX3" fmla="*/ 3469 w 11363"/>
                    <a:gd name="connsiteY3" fmla="*/ 0 h 4186"/>
                    <a:gd name="connsiteX4" fmla="*/ 6160 w 11363"/>
                    <a:gd name="connsiteY4" fmla="*/ 419 h 4186"/>
                    <a:gd name="connsiteX5" fmla="*/ 8613 w 11363"/>
                    <a:gd name="connsiteY5" fmla="*/ 1914 h 4186"/>
                    <a:gd name="connsiteX6" fmla="*/ 10108 w 11363"/>
                    <a:gd name="connsiteY6" fmla="*/ 2990 h 4186"/>
                    <a:gd name="connsiteX7" fmla="*/ 10526 w 11363"/>
                    <a:gd name="connsiteY7" fmla="*/ 3289 h 4186"/>
                    <a:gd name="connsiteX8" fmla="*/ 11364 w 11363"/>
                    <a:gd name="connsiteY8" fmla="*/ 4067 h 4186"/>
                    <a:gd name="connsiteX9" fmla="*/ 11304 w 11363"/>
                    <a:gd name="connsiteY9" fmla="*/ 4186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63" h="4186">
                      <a:moveTo>
                        <a:pt x="0" y="120"/>
                      </a:moveTo>
                      <a:lnTo>
                        <a:pt x="2512" y="0"/>
                      </a:lnTo>
                      <a:lnTo>
                        <a:pt x="3290" y="0"/>
                      </a:lnTo>
                      <a:lnTo>
                        <a:pt x="3469" y="0"/>
                      </a:lnTo>
                      <a:lnTo>
                        <a:pt x="6160" y="419"/>
                      </a:lnTo>
                      <a:lnTo>
                        <a:pt x="8613" y="1914"/>
                      </a:lnTo>
                      <a:lnTo>
                        <a:pt x="10108" y="2990"/>
                      </a:lnTo>
                      <a:lnTo>
                        <a:pt x="10526" y="3289"/>
                      </a:lnTo>
                      <a:lnTo>
                        <a:pt x="11364" y="4067"/>
                      </a:lnTo>
                      <a:lnTo>
                        <a:pt x="11304" y="4186"/>
                      </a:lnTo>
                    </a:path>
                  </a:pathLst>
                </a:custGeom>
                <a:noFill/>
                <a:ln w="6350" cap="rnd">
                  <a:solidFill>
                    <a:schemeClr val="bg1">
                      <a:alpha val="40000"/>
                    </a:schemeClr>
                  </a:solidFill>
                  <a:prstDash val="solid"/>
                  <a:round/>
                </a:ln>
              </p:spPr>
              <p:txBody>
                <a:bodyPr rtlCol="0" anchor="ctr"/>
                <a:lstStyle/>
                <a:p>
                  <a:endParaRPr lang="en-GB"/>
                </a:p>
              </p:txBody>
            </p:sp>
            <p:sp>
              <p:nvSpPr>
                <p:cNvPr id="6759" name="Vrije vorm: vorm 6758">
                  <a:extLst>
                    <a:ext uri="{FF2B5EF4-FFF2-40B4-BE49-F238E27FC236}">
                      <a16:creationId xmlns:a16="http://schemas.microsoft.com/office/drawing/2014/main" id="{8AF15A3A-42C8-4206-8C5C-FB26D74B8851}"/>
                    </a:ext>
                  </a:extLst>
                </p:cNvPr>
                <p:cNvSpPr/>
                <p:nvPr/>
              </p:nvSpPr>
              <p:spPr>
                <a:xfrm>
                  <a:off x="6639518" y="1967339"/>
                  <a:ext cx="5203" cy="2751"/>
                </a:xfrm>
                <a:custGeom>
                  <a:avLst/>
                  <a:gdLst>
                    <a:gd name="connsiteX0" fmla="*/ 5203 w 5203"/>
                    <a:gd name="connsiteY0" fmla="*/ 2751 h 2751"/>
                    <a:gd name="connsiteX1" fmla="*/ 778 w 5203"/>
                    <a:gd name="connsiteY1" fmla="*/ 419 h 2751"/>
                    <a:gd name="connsiteX2" fmla="*/ 0 w 5203"/>
                    <a:gd name="connsiteY2" fmla="*/ 0 h 2751"/>
                  </a:gdLst>
                  <a:ahLst/>
                  <a:cxnLst>
                    <a:cxn ang="0">
                      <a:pos x="connsiteX0" y="connsiteY0"/>
                    </a:cxn>
                    <a:cxn ang="0">
                      <a:pos x="connsiteX1" y="connsiteY1"/>
                    </a:cxn>
                    <a:cxn ang="0">
                      <a:pos x="connsiteX2" y="connsiteY2"/>
                    </a:cxn>
                  </a:cxnLst>
                  <a:rect l="l" t="t" r="r" b="b"/>
                  <a:pathLst>
                    <a:path w="5203" h="2751">
                      <a:moveTo>
                        <a:pt x="5203" y="2751"/>
                      </a:moveTo>
                      <a:lnTo>
                        <a:pt x="778" y="41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60" name="Vrije vorm: vorm 6759">
                  <a:extLst>
                    <a:ext uri="{FF2B5EF4-FFF2-40B4-BE49-F238E27FC236}">
                      <a16:creationId xmlns:a16="http://schemas.microsoft.com/office/drawing/2014/main" id="{76669814-5C6B-43A3-A878-5C4D1AFD9B68}"/>
                    </a:ext>
                  </a:extLst>
                </p:cNvPr>
                <p:cNvSpPr/>
                <p:nvPr/>
              </p:nvSpPr>
              <p:spPr>
                <a:xfrm>
                  <a:off x="6852073" y="2107288"/>
                  <a:ext cx="1315" cy="239"/>
                </a:xfrm>
                <a:custGeom>
                  <a:avLst/>
                  <a:gdLst>
                    <a:gd name="connsiteX0" fmla="*/ 1316 w 1315"/>
                    <a:gd name="connsiteY0" fmla="*/ 239 h 239"/>
                    <a:gd name="connsiteX1" fmla="*/ 0 w 1315"/>
                    <a:gd name="connsiteY1" fmla="*/ 0 h 239"/>
                  </a:gdLst>
                  <a:ahLst/>
                  <a:cxnLst>
                    <a:cxn ang="0">
                      <a:pos x="connsiteX0" y="connsiteY0"/>
                    </a:cxn>
                    <a:cxn ang="0">
                      <a:pos x="connsiteX1" y="connsiteY1"/>
                    </a:cxn>
                  </a:cxnLst>
                  <a:rect l="l" t="t" r="r" b="b"/>
                  <a:pathLst>
                    <a:path w="1315" h="239">
                      <a:moveTo>
                        <a:pt x="1316" y="239"/>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61" name="Vrije vorm: vorm 6760">
                  <a:extLst>
                    <a:ext uri="{FF2B5EF4-FFF2-40B4-BE49-F238E27FC236}">
                      <a16:creationId xmlns:a16="http://schemas.microsoft.com/office/drawing/2014/main" id="{039264E3-4386-411A-AACF-752FC5D4340F}"/>
                    </a:ext>
                  </a:extLst>
                </p:cNvPr>
                <p:cNvSpPr/>
                <p:nvPr/>
              </p:nvSpPr>
              <p:spPr>
                <a:xfrm>
                  <a:off x="6708775" y="1806696"/>
                  <a:ext cx="4903" cy="1973"/>
                </a:xfrm>
                <a:custGeom>
                  <a:avLst/>
                  <a:gdLst>
                    <a:gd name="connsiteX0" fmla="*/ 0 w 4903"/>
                    <a:gd name="connsiteY0" fmla="*/ 0 h 1973"/>
                    <a:gd name="connsiteX1" fmla="*/ 1555 w 4903"/>
                    <a:gd name="connsiteY1" fmla="*/ 419 h 1973"/>
                    <a:gd name="connsiteX2" fmla="*/ 3349 w 4903"/>
                    <a:gd name="connsiteY2" fmla="*/ 1256 h 1973"/>
                    <a:gd name="connsiteX3" fmla="*/ 4904 w 4903"/>
                    <a:gd name="connsiteY3" fmla="*/ 1974 h 1973"/>
                  </a:gdLst>
                  <a:ahLst/>
                  <a:cxnLst>
                    <a:cxn ang="0">
                      <a:pos x="connsiteX0" y="connsiteY0"/>
                    </a:cxn>
                    <a:cxn ang="0">
                      <a:pos x="connsiteX1" y="connsiteY1"/>
                    </a:cxn>
                    <a:cxn ang="0">
                      <a:pos x="connsiteX2" y="connsiteY2"/>
                    </a:cxn>
                    <a:cxn ang="0">
                      <a:pos x="connsiteX3" y="connsiteY3"/>
                    </a:cxn>
                  </a:cxnLst>
                  <a:rect l="l" t="t" r="r" b="b"/>
                  <a:pathLst>
                    <a:path w="4903" h="1973">
                      <a:moveTo>
                        <a:pt x="0" y="0"/>
                      </a:moveTo>
                      <a:lnTo>
                        <a:pt x="1555" y="419"/>
                      </a:lnTo>
                      <a:lnTo>
                        <a:pt x="3349" y="1256"/>
                      </a:lnTo>
                      <a:lnTo>
                        <a:pt x="4904" y="1974"/>
                      </a:lnTo>
                    </a:path>
                  </a:pathLst>
                </a:custGeom>
                <a:noFill/>
                <a:ln w="6350" cap="rnd">
                  <a:solidFill>
                    <a:schemeClr val="bg1">
                      <a:alpha val="40000"/>
                    </a:schemeClr>
                  </a:solidFill>
                  <a:prstDash val="solid"/>
                  <a:round/>
                </a:ln>
              </p:spPr>
              <p:txBody>
                <a:bodyPr rtlCol="0" anchor="ctr"/>
                <a:lstStyle/>
                <a:p>
                  <a:endParaRPr lang="en-GB"/>
                </a:p>
              </p:txBody>
            </p:sp>
            <p:sp>
              <p:nvSpPr>
                <p:cNvPr id="6762" name="Vrije vorm: vorm 6761">
                  <a:extLst>
                    <a:ext uri="{FF2B5EF4-FFF2-40B4-BE49-F238E27FC236}">
                      <a16:creationId xmlns:a16="http://schemas.microsoft.com/office/drawing/2014/main" id="{7D7A4EDE-981B-4FB3-BF3D-3E0C45294753}"/>
                    </a:ext>
                  </a:extLst>
                </p:cNvPr>
                <p:cNvSpPr/>
                <p:nvPr/>
              </p:nvSpPr>
              <p:spPr>
                <a:xfrm>
                  <a:off x="6667926" y="1804783"/>
                  <a:ext cx="5801" cy="2153"/>
                </a:xfrm>
                <a:custGeom>
                  <a:avLst/>
                  <a:gdLst>
                    <a:gd name="connsiteX0" fmla="*/ 0 w 5801"/>
                    <a:gd name="connsiteY0" fmla="*/ 2153 h 2153"/>
                    <a:gd name="connsiteX1" fmla="*/ 3349 w 5801"/>
                    <a:gd name="connsiteY1" fmla="*/ 419 h 2153"/>
                    <a:gd name="connsiteX2" fmla="*/ 5801 w 5801"/>
                    <a:gd name="connsiteY2" fmla="*/ 0 h 2153"/>
                  </a:gdLst>
                  <a:ahLst/>
                  <a:cxnLst>
                    <a:cxn ang="0">
                      <a:pos x="connsiteX0" y="connsiteY0"/>
                    </a:cxn>
                    <a:cxn ang="0">
                      <a:pos x="connsiteX1" y="connsiteY1"/>
                    </a:cxn>
                    <a:cxn ang="0">
                      <a:pos x="connsiteX2" y="connsiteY2"/>
                    </a:cxn>
                  </a:cxnLst>
                  <a:rect l="l" t="t" r="r" b="b"/>
                  <a:pathLst>
                    <a:path w="5801" h="2153">
                      <a:moveTo>
                        <a:pt x="0" y="2153"/>
                      </a:moveTo>
                      <a:lnTo>
                        <a:pt x="3349" y="419"/>
                      </a:lnTo>
                      <a:lnTo>
                        <a:pt x="5801" y="0"/>
                      </a:lnTo>
                    </a:path>
                  </a:pathLst>
                </a:custGeom>
                <a:noFill/>
                <a:ln w="6350" cap="rnd">
                  <a:solidFill>
                    <a:schemeClr val="bg1">
                      <a:alpha val="40000"/>
                    </a:schemeClr>
                  </a:solidFill>
                  <a:prstDash val="solid"/>
                  <a:round/>
                </a:ln>
              </p:spPr>
              <p:txBody>
                <a:bodyPr rtlCol="0" anchor="ctr"/>
                <a:lstStyle/>
                <a:p>
                  <a:endParaRPr lang="en-GB"/>
                </a:p>
              </p:txBody>
            </p:sp>
            <p:sp>
              <p:nvSpPr>
                <p:cNvPr id="6763" name="Vrije vorm: vorm 6762">
                  <a:extLst>
                    <a:ext uri="{FF2B5EF4-FFF2-40B4-BE49-F238E27FC236}">
                      <a16:creationId xmlns:a16="http://schemas.microsoft.com/office/drawing/2014/main" id="{9160B106-BF76-4C79-A8DC-17D09642491C}"/>
                    </a:ext>
                  </a:extLst>
                </p:cNvPr>
                <p:cNvSpPr/>
                <p:nvPr/>
              </p:nvSpPr>
              <p:spPr>
                <a:xfrm>
                  <a:off x="6648011" y="1812677"/>
                  <a:ext cx="8672" cy="6518"/>
                </a:xfrm>
                <a:custGeom>
                  <a:avLst/>
                  <a:gdLst>
                    <a:gd name="connsiteX0" fmla="*/ 0 w 8672"/>
                    <a:gd name="connsiteY0" fmla="*/ 6519 h 6518"/>
                    <a:gd name="connsiteX1" fmla="*/ 6758 w 8672"/>
                    <a:gd name="connsiteY1" fmla="*/ 957 h 6518"/>
                    <a:gd name="connsiteX2" fmla="*/ 8672 w 8672"/>
                    <a:gd name="connsiteY2" fmla="*/ 0 h 6518"/>
                  </a:gdLst>
                  <a:ahLst/>
                  <a:cxnLst>
                    <a:cxn ang="0">
                      <a:pos x="connsiteX0" y="connsiteY0"/>
                    </a:cxn>
                    <a:cxn ang="0">
                      <a:pos x="connsiteX1" y="connsiteY1"/>
                    </a:cxn>
                    <a:cxn ang="0">
                      <a:pos x="connsiteX2" y="connsiteY2"/>
                    </a:cxn>
                  </a:cxnLst>
                  <a:rect l="l" t="t" r="r" b="b"/>
                  <a:pathLst>
                    <a:path w="8672" h="6518">
                      <a:moveTo>
                        <a:pt x="0" y="6519"/>
                      </a:moveTo>
                      <a:lnTo>
                        <a:pt x="6758" y="957"/>
                      </a:lnTo>
                      <a:lnTo>
                        <a:pt x="8672" y="0"/>
                      </a:lnTo>
                    </a:path>
                  </a:pathLst>
                </a:custGeom>
                <a:noFill/>
                <a:ln w="6350" cap="rnd">
                  <a:solidFill>
                    <a:schemeClr val="bg1">
                      <a:alpha val="40000"/>
                    </a:schemeClr>
                  </a:solidFill>
                  <a:prstDash val="solid"/>
                  <a:round/>
                </a:ln>
              </p:spPr>
              <p:txBody>
                <a:bodyPr rtlCol="0" anchor="ctr"/>
                <a:lstStyle/>
                <a:p>
                  <a:endParaRPr lang="en-GB"/>
                </a:p>
              </p:txBody>
            </p:sp>
            <p:sp>
              <p:nvSpPr>
                <p:cNvPr id="6764" name="Vrije vorm: vorm 6763">
                  <a:extLst>
                    <a:ext uri="{FF2B5EF4-FFF2-40B4-BE49-F238E27FC236}">
                      <a16:creationId xmlns:a16="http://schemas.microsoft.com/office/drawing/2014/main" id="{3D28CDDE-CFC9-46C8-AAB0-12292AF6AC9F}"/>
                    </a:ext>
                  </a:extLst>
                </p:cNvPr>
                <p:cNvSpPr/>
                <p:nvPr/>
              </p:nvSpPr>
              <p:spPr>
                <a:xfrm>
                  <a:off x="6837301" y="1947124"/>
                  <a:ext cx="10705" cy="10167"/>
                </a:xfrm>
                <a:custGeom>
                  <a:avLst/>
                  <a:gdLst>
                    <a:gd name="connsiteX0" fmla="*/ 0 w 10705"/>
                    <a:gd name="connsiteY0" fmla="*/ 10167 h 10167"/>
                    <a:gd name="connsiteX1" fmla="*/ 299 w 10705"/>
                    <a:gd name="connsiteY1" fmla="*/ 9868 h 10167"/>
                    <a:gd name="connsiteX2" fmla="*/ 358 w 10705"/>
                    <a:gd name="connsiteY2" fmla="*/ 9808 h 10167"/>
                    <a:gd name="connsiteX3" fmla="*/ 5861 w 10705"/>
                    <a:gd name="connsiteY3" fmla="*/ 4545 h 10167"/>
                    <a:gd name="connsiteX4" fmla="*/ 6579 w 10705"/>
                    <a:gd name="connsiteY4" fmla="*/ 3888 h 10167"/>
                    <a:gd name="connsiteX5" fmla="*/ 8074 w 10705"/>
                    <a:gd name="connsiteY5" fmla="*/ 2452 h 10167"/>
                    <a:gd name="connsiteX6" fmla="*/ 8253 w 10705"/>
                    <a:gd name="connsiteY6" fmla="*/ 2332 h 10167"/>
                    <a:gd name="connsiteX7" fmla="*/ 10706 w 10705"/>
                    <a:gd name="connsiteY7" fmla="*/ 0 h 1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05" h="10167">
                      <a:moveTo>
                        <a:pt x="0" y="10167"/>
                      </a:moveTo>
                      <a:lnTo>
                        <a:pt x="299" y="9868"/>
                      </a:lnTo>
                      <a:lnTo>
                        <a:pt x="358" y="9808"/>
                      </a:lnTo>
                      <a:lnTo>
                        <a:pt x="5861" y="4545"/>
                      </a:lnTo>
                      <a:lnTo>
                        <a:pt x="6579" y="3888"/>
                      </a:lnTo>
                      <a:lnTo>
                        <a:pt x="8074" y="2452"/>
                      </a:lnTo>
                      <a:lnTo>
                        <a:pt x="8253" y="2332"/>
                      </a:lnTo>
                      <a:lnTo>
                        <a:pt x="10706" y="0"/>
                      </a:lnTo>
                    </a:path>
                  </a:pathLst>
                </a:custGeom>
                <a:noFill/>
                <a:ln w="6350" cap="rnd">
                  <a:solidFill>
                    <a:schemeClr val="bg1">
                      <a:alpha val="40000"/>
                    </a:schemeClr>
                  </a:solidFill>
                  <a:prstDash val="solid"/>
                  <a:round/>
                </a:ln>
              </p:spPr>
              <p:txBody>
                <a:bodyPr rtlCol="0" anchor="ctr"/>
                <a:lstStyle/>
                <a:p>
                  <a:endParaRPr lang="en-GB"/>
                </a:p>
              </p:txBody>
            </p:sp>
            <p:sp>
              <p:nvSpPr>
                <p:cNvPr id="6765" name="Vrije vorm: vorm 6764">
                  <a:extLst>
                    <a:ext uri="{FF2B5EF4-FFF2-40B4-BE49-F238E27FC236}">
                      <a16:creationId xmlns:a16="http://schemas.microsoft.com/office/drawing/2014/main" id="{964D1231-8F6A-41F0-B5A1-7E46E0DE239F}"/>
                    </a:ext>
                  </a:extLst>
                </p:cNvPr>
                <p:cNvSpPr/>
                <p:nvPr/>
              </p:nvSpPr>
              <p:spPr>
                <a:xfrm>
                  <a:off x="6631683" y="1825237"/>
                  <a:ext cx="8971" cy="9509"/>
                </a:xfrm>
                <a:custGeom>
                  <a:avLst/>
                  <a:gdLst>
                    <a:gd name="connsiteX0" fmla="*/ 0 w 8971"/>
                    <a:gd name="connsiteY0" fmla="*/ 9509 h 9509"/>
                    <a:gd name="connsiteX1" fmla="*/ 6459 w 8971"/>
                    <a:gd name="connsiteY1" fmla="*/ 2034 h 9509"/>
                    <a:gd name="connsiteX2" fmla="*/ 8373 w 8971"/>
                    <a:gd name="connsiteY2" fmla="*/ 478 h 9509"/>
                    <a:gd name="connsiteX3" fmla="*/ 8672 w 8971"/>
                    <a:gd name="connsiteY3" fmla="*/ 239 h 9509"/>
                    <a:gd name="connsiteX4" fmla="*/ 8732 w 8971"/>
                    <a:gd name="connsiteY4" fmla="*/ 239 h 9509"/>
                    <a:gd name="connsiteX5" fmla="*/ 8971 w 8971"/>
                    <a:gd name="connsiteY5" fmla="*/ 0 h 9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1" h="9509">
                      <a:moveTo>
                        <a:pt x="0" y="9509"/>
                      </a:moveTo>
                      <a:lnTo>
                        <a:pt x="6459" y="2034"/>
                      </a:lnTo>
                      <a:lnTo>
                        <a:pt x="8373" y="478"/>
                      </a:lnTo>
                      <a:lnTo>
                        <a:pt x="8672" y="239"/>
                      </a:lnTo>
                      <a:lnTo>
                        <a:pt x="8732" y="239"/>
                      </a:lnTo>
                      <a:lnTo>
                        <a:pt x="8971" y="0"/>
                      </a:lnTo>
                    </a:path>
                  </a:pathLst>
                </a:custGeom>
                <a:noFill/>
                <a:ln w="6350" cap="rnd">
                  <a:solidFill>
                    <a:schemeClr val="bg1">
                      <a:alpha val="40000"/>
                    </a:schemeClr>
                  </a:solidFill>
                  <a:prstDash val="solid"/>
                  <a:round/>
                </a:ln>
              </p:spPr>
              <p:txBody>
                <a:bodyPr rtlCol="0" anchor="ctr"/>
                <a:lstStyle/>
                <a:p>
                  <a:endParaRPr lang="en-GB"/>
                </a:p>
              </p:txBody>
            </p:sp>
            <p:sp>
              <p:nvSpPr>
                <p:cNvPr id="6766" name="Vrije vorm: vorm 6765">
                  <a:extLst>
                    <a:ext uri="{FF2B5EF4-FFF2-40B4-BE49-F238E27FC236}">
                      <a16:creationId xmlns:a16="http://schemas.microsoft.com/office/drawing/2014/main" id="{C6555F53-9ECD-4BF0-BA89-B2DB7D023448}"/>
                    </a:ext>
                  </a:extLst>
                </p:cNvPr>
                <p:cNvSpPr/>
                <p:nvPr/>
              </p:nvSpPr>
              <p:spPr>
                <a:xfrm>
                  <a:off x="6837958" y="1747069"/>
                  <a:ext cx="4186" cy="7117"/>
                </a:xfrm>
                <a:custGeom>
                  <a:avLst/>
                  <a:gdLst>
                    <a:gd name="connsiteX0" fmla="*/ 0 w 4186"/>
                    <a:gd name="connsiteY0" fmla="*/ 7117 h 7117"/>
                    <a:gd name="connsiteX1" fmla="*/ 0 w 4186"/>
                    <a:gd name="connsiteY1" fmla="*/ 6818 h 7117"/>
                    <a:gd name="connsiteX2" fmla="*/ 3947 w 4186"/>
                    <a:gd name="connsiteY2" fmla="*/ 120 h 7117"/>
                    <a:gd name="connsiteX3" fmla="*/ 4186 w 4186"/>
                    <a:gd name="connsiteY3" fmla="*/ 0 h 7117"/>
                  </a:gdLst>
                  <a:ahLst/>
                  <a:cxnLst>
                    <a:cxn ang="0">
                      <a:pos x="connsiteX0" y="connsiteY0"/>
                    </a:cxn>
                    <a:cxn ang="0">
                      <a:pos x="connsiteX1" y="connsiteY1"/>
                    </a:cxn>
                    <a:cxn ang="0">
                      <a:pos x="connsiteX2" y="connsiteY2"/>
                    </a:cxn>
                    <a:cxn ang="0">
                      <a:pos x="connsiteX3" y="connsiteY3"/>
                    </a:cxn>
                  </a:cxnLst>
                  <a:rect l="l" t="t" r="r" b="b"/>
                  <a:pathLst>
                    <a:path w="4186" h="7117">
                      <a:moveTo>
                        <a:pt x="0" y="7117"/>
                      </a:moveTo>
                      <a:lnTo>
                        <a:pt x="0" y="6818"/>
                      </a:lnTo>
                      <a:lnTo>
                        <a:pt x="3947" y="120"/>
                      </a:lnTo>
                      <a:lnTo>
                        <a:pt x="4186" y="0"/>
                      </a:lnTo>
                    </a:path>
                  </a:pathLst>
                </a:custGeom>
                <a:noFill/>
                <a:ln w="6350" cap="rnd">
                  <a:solidFill>
                    <a:schemeClr val="bg1">
                      <a:alpha val="40000"/>
                    </a:schemeClr>
                  </a:solidFill>
                  <a:prstDash val="solid"/>
                  <a:round/>
                </a:ln>
              </p:spPr>
              <p:txBody>
                <a:bodyPr rtlCol="0" anchor="ctr"/>
                <a:lstStyle/>
                <a:p>
                  <a:endParaRPr lang="en-GB"/>
                </a:p>
              </p:txBody>
            </p:sp>
            <p:sp>
              <p:nvSpPr>
                <p:cNvPr id="6767" name="Vrije vorm: vorm 6766">
                  <a:extLst>
                    <a:ext uri="{FF2B5EF4-FFF2-40B4-BE49-F238E27FC236}">
                      <a16:creationId xmlns:a16="http://schemas.microsoft.com/office/drawing/2014/main" id="{893B1062-F1E5-432F-8A7A-59920D0934F3}"/>
                    </a:ext>
                  </a:extLst>
                </p:cNvPr>
                <p:cNvSpPr/>
                <p:nvPr/>
              </p:nvSpPr>
              <p:spPr>
                <a:xfrm>
                  <a:off x="6892921" y="2085278"/>
                  <a:ext cx="5741" cy="4485"/>
                </a:xfrm>
                <a:custGeom>
                  <a:avLst/>
                  <a:gdLst>
                    <a:gd name="connsiteX0" fmla="*/ 5742 w 5741"/>
                    <a:gd name="connsiteY0" fmla="*/ 0 h 4485"/>
                    <a:gd name="connsiteX1" fmla="*/ 5742 w 5741"/>
                    <a:gd name="connsiteY1" fmla="*/ 0 h 4485"/>
                    <a:gd name="connsiteX2" fmla="*/ 0 w 5741"/>
                    <a:gd name="connsiteY2" fmla="*/ 4486 h 4485"/>
                  </a:gdLst>
                  <a:ahLst/>
                  <a:cxnLst>
                    <a:cxn ang="0">
                      <a:pos x="connsiteX0" y="connsiteY0"/>
                    </a:cxn>
                    <a:cxn ang="0">
                      <a:pos x="connsiteX1" y="connsiteY1"/>
                    </a:cxn>
                    <a:cxn ang="0">
                      <a:pos x="connsiteX2" y="connsiteY2"/>
                    </a:cxn>
                  </a:cxnLst>
                  <a:rect l="l" t="t" r="r" b="b"/>
                  <a:pathLst>
                    <a:path w="5741" h="4485">
                      <a:moveTo>
                        <a:pt x="5742" y="0"/>
                      </a:moveTo>
                      <a:lnTo>
                        <a:pt x="5742" y="0"/>
                      </a:lnTo>
                      <a:lnTo>
                        <a:pt x="0" y="4486"/>
                      </a:lnTo>
                    </a:path>
                  </a:pathLst>
                </a:custGeom>
                <a:noFill/>
                <a:ln w="6350" cap="rnd">
                  <a:solidFill>
                    <a:schemeClr val="bg1">
                      <a:alpha val="40000"/>
                    </a:schemeClr>
                  </a:solidFill>
                  <a:prstDash val="solid"/>
                  <a:round/>
                </a:ln>
              </p:spPr>
              <p:txBody>
                <a:bodyPr rtlCol="0" anchor="ctr"/>
                <a:lstStyle/>
                <a:p>
                  <a:endParaRPr lang="en-GB"/>
                </a:p>
              </p:txBody>
            </p:sp>
            <p:sp>
              <p:nvSpPr>
                <p:cNvPr id="6768" name="Vrije vorm: vorm 6767">
                  <a:extLst>
                    <a:ext uri="{FF2B5EF4-FFF2-40B4-BE49-F238E27FC236}">
                      <a16:creationId xmlns:a16="http://schemas.microsoft.com/office/drawing/2014/main" id="{B981A1FC-38E8-49E9-975F-612424148066}"/>
                    </a:ext>
                  </a:extLst>
                </p:cNvPr>
                <p:cNvSpPr/>
                <p:nvPr/>
              </p:nvSpPr>
              <p:spPr>
                <a:xfrm>
                  <a:off x="7016483" y="2099572"/>
                  <a:ext cx="13696" cy="17762"/>
                </a:xfrm>
                <a:custGeom>
                  <a:avLst/>
                  <a:gdLst>
                    <a:gd name="connsiteX0" fmla="*/ 11663 w 13696"/>
                    <a:gd name="connsiteY0" fmla="*/ 0 h 17762"/>
                    <a:gd name="connsiteX1" fmla="*/ 12440 w 13696"/>
                    <a:gd name="connsiteY1" fmla="*/ 478 h 17762"/>
                    <a:gd name="connsiteX2" fmla="*/ 13516 w 13696"/>
                    <a:gd name="connsiteY2" fmla="*/ 2930 h 17762"/>
                    <a:gd name="connsiteX3" fmla="*/ 13696 w 13696"/>
                    <a:gd name="connsiteY3" fmla="*/ 3409 h 17762"/>
                    <a:gd name="connsiteX4" fmla="*/ 9151 w 13696"/>
                    <a:gd name="connsiteY4" fmla="*/ 14234 h 17762"/>
                    <a:gd name="connsiteX5" fmla="*/ 5024 w 13696"/>
                    <a:gd name="connsiteY5" fmla="*/ 17763 h 17762"/>
                    <a:gd name="connsiteX6" fmla="*/ 1017 w 13696"/>
                    <a:gd name="connsiteY6" fmla="*/ 15311 h 17762"/>
                    <a:gd name="connsiteX7" fmla="*/ 0 w 13696"/>
                    <a:gd name="connsiteY7" fmla="*/ 14174 h 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96" h="17762">
                      <a:moveTo>
                        <a:pt x="11663" y="0"/>
                      </a:moveTo>
                      <a:lnTo>
                        <a:pt x="12440" y="478"/>
                      </a:lnTo>
                      <a:lnTo>
                        <a:pt x="13516" y="2930"/>
                      </a:lnTo>
                      <a:lnTo>
                        <a:pt x="13696" y="3409"/>
                      </a:lnTo>
                      <a:lnTo>
                        <a:pt x="9151" y="14234"/>
                      </a:lnTo>
                      <a:lnTo>
                        <a:pt x="5024" y="17763"/>
                      </a:lnTo>
                      <a:lnTo>
                        <a:pt x="1017" y="15311"/>
                      </a:lnTo>
                      <a:lnTo>
                        <a:pt x="0" y="14174"/>
                      </a:lnTo>
                    </a:path>
                  </a:pathLst>
                </a:custGeom>
                <a:noFill/>
                <a:ln w="6350" cap="rnd">
                  <a:solidFill>
                    <a:schemeClr val="bg1">
                      <a:alpha val="40000"/>
                    </a:schemeClr>
                  </a:solidFill>
                  <a:prstDash val="solid"/>
                  <a:round/>
                </a:ln>
              </p:spPr>
              <p:txBody>
                <a:bodyPr rtlCol="0" anchor="ctr"/>
                <a:lstStyle/>
                <a:p>
                  <a:endParaRPr lang="en-GB"/>
                </a:p>
              </p:txBody>
            </p:sp>
            <p:sp>
              <p:nvSpPr>
                <p:cNvPr id="6769" name="Vrije vorm: vorm 6768">
                  <a:extLst>
                    <a:ext uri="{FF2B5EF4-FFF2-40B4-BE49-F238E27FC236}">
                      <a16:creationId xmlns:a16="http://schemas.microsoft.com/office/drawing/2014/main" id="{B2A2BB77-CAAF-4EE4-A38D-5FCCCD20B77E}"/>
                    </a:ext>
                  </a:extLst>
                </p:cNvPr>
                <p:cNvSpPr/>
                <p:nvPr/>
              </p:nvSpPr>
              <p:spPr>
                <a:xfrm>
                  <a:off x="7047284" y="1957171"/>
                  <a:ext cx="19197" cy="29783"/>
                </a:xfrm>
                <a:custGeom>
                  <a:avLst/>
                  <a:gdLst>
                    <a:gd name="connsiteX0" fmla="*/ 0 w 19197"/>
                    <a:gd name="connsiteY0" fmla="*/ 0 h 29783"/>
                    <a:gd name="connsiteX1" fmla="*/ 2333 w 19197"/>
                    <a:gd name="connsiteY1" fmla="*/ 419 h 29783"/>
                    <a:gd name="connsiteX2" fmla="*/ 7536 w 19197"/>
                    <a:gd name="connsiteY2" fmla="*/ 2930 h 29783"/>
                    <a:gd name="connsiteX3" fmla="*/ 7596 w 19197"/>
                    <a:gd name="connsiteY3" fmla="*/ 2930 h 29783"/>
                    <a:gd name="connsiteX4" fmla="*/ 12440 w 19197"/>
                    <a:gd name="connsiteY4" fmla="*/ 5263 h 29783"/>
                    <a:gd name="connsiteX5" fmla="*/ 17464 w 19197"/>
                    <a:gd name="connsiteY5" fmla="*/ 8851 h 29783"/>
                    <a:gd name="connsiteX6" fmla="*/ 19198 w 19197"/>
                    <a:gd name="connsiteY6" fmla="*/ 10107 h 29783"/>
                    <a:gd name="connsiteX7" fmla="*/ 18540 w 19197"/>
                    <a:gd name="connsiteY7" fmla="*/ 19916 h 29783"/>
                    <a:gd name="connsiteX8" fmla="*/ 18480 w 19197"/>
                    <a:gd name="connsiteY8" fmla="*/ 20873 h 29783"/>
                    <a:gd name="connsiteX9" fmla="*/ 18062 w 19197"/>
                    <a:gd name="connsiteY9" fmla="*/ 21590 h 29783"/>
                    <a:gd name="connsiteX10" fmla="*/ 14294 w 19197"/>
                    <a:gd name="connsiteY10" fmla="*/ 27990 h 29783"/>
                    <a:gd name="connsiteX11" fmla="*/ 11961 w 19197"/>
                    <a:gd name="connsiteY11" fmla="*/ 29784 h 29783"/>
                    <a:gd name="connsiteX12" fmla="*/ 11184 w 19197"/>
                    <a:gd name="connsiteY12" fmla="*/ 29305 h 2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197" h="29783">
                      <a:moveTo>
                        <a:pt x="0" y="0"/>
                      </a:moveTo>
                      <a:lnTo>
                        <a:pt x="2333" y="419"/>
                      </a:lnTo>
                      <a:lnTo>
                        <a:pt x="7536" y="2930"/>
                      </a:lnTo>
                      <a:lnTo>
                        <a:pt x="7596" y="2930"/>
                      </a:lnTo>
                      <a:lnTo>
                        <a:pt x="12440" y="5263"/>
                      </a:lnTo>
                      <a:lnTo>
                        <a:pt x="17464" y="8851"/>
                      </a:lnTo>
                      <a:lnTo>
                        <a:pt x="19198" y="10107"/>
                      </a:lnTo>
                      <a:lnTo>
                        <a:pt x="18540" y="19916"/>
                      </a:lnTo>
                      <a:lnTo>
                        <a:pt x="18480" y="20873"/>
                      </a:lnTo>
                      <a:lnTo>
                        <a:pt x="18062" y="21590"/>
                      </a:lnTo>
                      <a:lnTo>
                        <a:pt x="14294" y="27990"/>
                      </a:lnTo>
                      <a:lnTo>
                        <a:pt x="11961" y="29784"/>
                      </a:lnTo>
                      <a:lnTo>
                        <a:pt x="11184" y="29305"/>
                      </a:lnTo>
                    </a:path>
                  </a:pathLst>
                </a:custGeom>
                <a:noFill/>
                <a:ln w="6350" cap="rnd">
                  <a:solidFill>
                    <a:schemeClr val="bg1">
                      <a:alpha val="40000"/>
                    </a:schemeClr>
                  </a:solidFill>
                  <a:prstDash val="solid"/>
                  <a:round/>
                </a:ln>
              </p:spPr>
              <p:txBody>
                <a:bodyPr rtlCol="0" anchor="ctr"/>
                <a:lstStyle/>
                <a:p>
                  <a:endParaRPr lang="en-GB"/>
                </a:p>
              </p:txBody>
            </p:sp>
            <p:sp>
              <p:nvSpPr>
                <p:cNvPr id="6770" name="Vrije vorm: vorm 6769">
                  <a:extLst>
                    <a:ext uri="{FF2B5EF4-FFF2-40B4-BE49-F238E27FC236}">
                      <a16:creationId xmlns:a16="http://schemas.microsoft.com/office/drawing/2014/main" id="{A252E8CD-B374-4F2A-B604-D2B57CF5F5AA}"/>
                    </a:ext>
                  </a:extLst>
                </p:cNvPr>
                <p:cNvSpPr/>
                <p:nvPr/>
              </p:nvSpPr>
              <p:spPr>
                <a:xfrm>
                  <a:off x="7085022" y="1988331"/>
                  <a:ext cx="13397" cy="22308"/>
                </a:xfrm>
                <a:custGeom>
                  <a:avLst/>
                  <a:gdLst>
                    <a:gd name="connsiteX0" fmla="*/ 10945 w 13397"/>
                    <a:gd name="connsiteY0" fmla="*/ 0 h 22308"/>
                    <a:gd name="connsiteX1" fmla="*/ 11304 w 13397"/>
                    <a:gd name="connsiteY1" fmla="*/ 897 h 22308"/>
                    <a:gd name="connsiteX2" fmla="*/ 13397 w 13397"/>
                    <a:gd name="connsiteY2" fmla="*/ 7476 h 22308"/>
                    <a:gd name="connsiteX3" fmla="*/ 11723 w 13397"/>
                    <a:gd name="connsiteY3" fmla="*/ 12619 h 22308"/>
                    <a:gd name="connsiteX4" fmla="*/ 3589 w 13397"/>
                    <a:gd name="connsiteY4" fmla="*/ 22308 h 22308"/>
                    <a:gd name="connsiteX5" fmla="*/ 3469 w 13397"/>
                    <a:gd name="connsiteY5" fmla="*/ 22308 h 22308"/>
                    <a:gd name="connsiteX6" fmla="*/ 1854 w 13397"/>
                    <a:gd name="connsiteY6" fmla="*/ 22129 h 22308"/>
                    <a:gd name="connsiteX7" fmla="*/ 778 w 13397"/>
                    <a:gd name="connsiteY7" fmla="*/ 22009 h 22308"/>
                    <a:gd name="connsiteX8" fmla="*/ 0 w 13397"/>
                    <a:gd name="connsiteY8" fmla="*/ 21531 h 2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97" h="22308">
                      <a:moveTo>
                        <a:pt x="10945" y="0"/>
                      </a:moveTo>
                      <a:lnTo>
                        <a:pt x="11304" y="897"/>
                      </a:lnTo>
                      <a:lnTo>
                        <a:pt x="13397" y="7476"/>
                      </a:lnTo>
                      <a:lnTo>
                        <a:pt x="11723" y="12619"/>
                      </a:lnTo>
                      <a:lnTo>
                        <a:pt x="3589" y="22308"/>
                      </a:lnTo>
                      <a:lnTo>
                        <a:pt x="3469" y="22308"/>
                      </a:lnTo>
                      <a:lnTo>
                        <a:pt x="1854" y="22129"/>
                      </a:lnTo>
                      <a:lnTo>
                        <a:pt x="778" y="22009"/>
                      </a:lnTo>
                      <a:lnTo>
                        <a:pt x="0" y="21531"/>
                      </a:lnTo>
                    </a:path>
                  </a:pathLst>
                </a:custGeom>
                <a:noFill/>
                <a:ln w="6350" cap="rnd">
                  <a:solidFill>
                    <a:schemeClr val="bg1">
                      <a:alpha val="40000"/>
                    </a:schemeClr>
                  </a:solidFill>
                  <a:prstDash val="solid"/>
                  <a:round/>
                </a:ln>
              </p:spPr>
              <p:txBody>
                <a:bodyPr rtlCol="0" anchor="ctr"/>
                <a:lstStyle/>
                <a:p>
                  <a:endParaRPr lang="en-GB"/>
                </a:p>
              </p:txBody>
            </p:sp>
            <p:sp>
              <p:nvSpPr>
                <p:cNvPr id="6771" name="Vrije vorm: vorm 6770">
                  <a:extLst>
                    <a:ext uri="{FF2B5EF4-FFF2-40B4-BE49-F238E27FC236}">
                      <a16:creationId xmlns:a16="http://schemas.microsoft.com/office/drawing/2014/main" id="{15E41D63-BE9C-48FB-88AD-94694D1603E6}"/>
                    </a:ext>
                  </a:extLst>
                </p:cNvPr>
                <p:cNvSpPr/>
                <p:nvPr/>
              </p:nvSpPr>
              <p:spPr>
                <a:xfrm>
                  <a:off x="6618705" y="1915067"/>
                  <a:ext cx="6519" cy="3468"/>
                </a:xfrm>
                <a:custGeom>
                  <a:avLst/>
                  <a:gdLst>
                    <a:gd name="connsiteX0" fmla="*/ 6519 w 6519"/>
                    <a:gd name="connsiteY0" fmla="*/ 0 h 3468"/>
                    <a:gd name="connsiteX1" fmla="*/ 0 w 6519"/>
                    <a:gd name="connsiteY1" fmla="*/ 3469 h 3468"/>
                  </a:gdLst>
                  <a:ahLst/>
                  <a:cxnLst>
                    <a:cxn ang="0">
                      <a:pos x="connsiteX0" y="connsiteY0"/>
                    </a:cxn>
                    <a:cxn ang="0">
                      <a:pos x="connsiteX1" y="connsiteY1"/>
                    </a:cxn>
                  </a:cxnLst>
                  <a:rect l="l" t="t" r="r" b="b"/>
                  <a:pathLst>
                    <a:path w="6519" h="3468">
                      <a:moveTo>
                        <a:pt x="6519" y="0"/>
                      </a:moveTo>
                      <a:lnTo>
                        <a:pt x="0" y="3469"/>
                      </a:lnTo>
                    </a:path>
                  </a:pathLst>
                </a:custGeom>
                <a:noFill/>
                <a:ln w="6350" cap="rnd">
                  <a:solidFill>
                    <a:schemeClr val="bg1">
                      <a:alpha val="40000"/>
                    </a:schemeClr>
                  </a:solidFill>
                  <a:prstDash val="solid"/>
                  <a:round/>
                </a:ln>
              </p:spPr>
              <p:txBody>
                <a:bodyPr rtlCol="0" anchor="ctr"/>
                <a:lstStyle/>
                <a:p>
                  <a:endParaRPr lang="en-GB"/>
                </a:p>
              </p:txBody>
            </p:sp>
            <p:sp>
              <p:nvSpPr>
                <p:cNvPr id="6772" name="Vrije vorm: vorm 6771">
                  <a:extLst>
                    <a:ext uri="{FF2B5EF4-FFF2-40B4-BE49-F238E27FC236}">
                      <a16:creationId xmlns:a16="http://schemas.microsoft.com/office/drawing/2014/main" id="{0F5866ED-913B-4A1D-BA16-4C672AF4A704}"/>
                    </a:ext>
                  </a:extLst>
                </p:cNvPr>
                <p:cNvSpPr/>
                <p:nvPr/>
              </p:nvSpPr>
              <p:spPr>
                <a:xfrm>
                  <a:off x="7092019" y="1993355"/>
                  <a:ext cx="1495" cy="5023"/>
                </a:xfrm>
                <a:custGeom>
                  <a:avLst/>
                  <a:gdLst>
                    <a:gd name="connsiteX0" fmla="*/ 0 w 1495"/>
                    <a:gd name="connsiteY0" fmla="*/ 5024 h 5023"/>
                    <a:gd name="connsiteX1" fmla="*/ 1495 w 1495"/>
                    <a:gd name="connsiteY1" fmla="*/ 1734 h 5023"/>
                    <a:gd name="connsiteX2" fmla="*/ 1077 w 1495"/>
                    <a:gd name="connsiteY2" fmla="*/ 0 h 5023"/>
                  </a:gdLst>
                  <a:ahLst/>
                  <a:cxnLst>
                    <a:cxn ang="0">
                      <a:pos x="connsiteX0" y="connsiteY0"/>
                    </a:cxn>
                    <a:cxn ang="0">
                      <a:pos x="connsiteX1" y="connsiteY1"/>
                    </a:cxn>
                    <a:cxn ang="0">
                      <a:pos x="connsiteX2" y="connsiteY2"/>
                    </a:cxn>
                  </a:cxnLst>
                  <a:rect l="l" t="t" r="r" b="b"/>
                  <a:pathLst>
                    <a:path w="1495" h="5023">
                      <a:moveTo>
                        <a:pt x="0" y="5024"/>
                      </a:moveTo>
                      <a:lnTo>
                        <a:pt x="1495" y="1734"/>
                      </a:lnTo>
                      <a:lnTo>
                        <a:pt x="1077" y="0"/>
                      </a:lnTo>
                    </a:path>
                  </a:pathLst>
                </a:custGeom>
                <a:noFill/>
                <a:ln w="6350" cap="rnd">
                  <a:solidFill>
                    <a:schemeClr val="bg1">
                      <a:alpha val="40000"/>
                    </a:schemeClr>
                  </a:solidFill>
                  <a:prstDash val="solid"/>
                  <a:round/>
                </a:ln>
              </p:spPr>
              <p:txBody>
                <a:bodyPr rtlCol="0" anchor="ctr"/>
                <a:lstStyle/>
                <a:p>
                  <a:endParaRPr lang="en-GB"/>
                </a:p>
              </p:txBody>
            </p:sp>
            <p:sp>
              <p:nvSpPr>
                <p:cNvPr id="6773" name="Vrije vorm: vorm 6772">
                  <a:extLst>
                    <a:ext uri="{FF2B5EF4-FFF2-40B4-BE49-F238E27FC236}">
                      <a16:creationId xmlns:a16="http://schemas.microsoft.com/office/drawing/2014/main" id="{AF8D538C-9B8E-4C34-9F41-6BB03BB719C6}"/>
                    </a:ext>
                  </a:extLst>
                </p:cNvPr>
                <p:cNvSpPr/>
                <p:nvPr/>
              </p:nvSpPr>
              <p:spPr>
                <a:xfrm>
                  <a:off x="7036339" y="2086056"/>
                  <a:ext cx="9269" cy="13516"/>
                </a:xfrm>
                <a:custGeom>
                  <a:avLst/>
                  <a:gdLst>
                    <a:gd name="connsiteX0" fmla="*/ 9031 w 9269"/>
                    <a:gd name="connsiteY0" fmla="*/ 0 h 13516"/>
                    <a:gd name="connsiteX1" fmla="*/ 9270 w 9269"/>
                    <a:gd name="connsiteY1" fmla="*/ 239 h 13516"/>
                    <a:gd name="connsiteX2" fmla="*/ 7236 w 9269"/>
                    <a:gd name="connsiteY2" fmla="*/ 8732 h 13516"/>
                    <a:gd name="connsiteX3" fmla="*/ 2930 w 9269"/>
                    <a:gd name="connsiteY3" fmla="*/ 13516 h 13516"/>
                    <a:gd name="connsiteX4" fmla="*/ 0 w 9269"/>
                    <a:gd name="connsiteY4" fmla="*/ 10167 h 1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9" h="13516">
                      <a:moveTo>
                        <a:pt x="9031" y="0"/>
                      </a:moveTo>
                      <a:lnTo>
                        <a:pt x="9270" y="239"/>
                      </a:lnTo>
                      <a:lnTo>
                        <a:pt x="7236" y="8732"/>
                      </a:lnTo>
                      <a:lnTo>
                        <a:pt x="2930" y="13516"/>
                      </a:lnTo>
                      <a:lnTo>
                        <a:pt x="0" y="10167"/>
                      </a:lnTo>
                    </a:path>
                  </a:pathLst>
                </a:custGeom>
                <a:noFill/>
                <a:ln w="6350" cap="rnd">
                  <a:solidFill>
                    <a:schemeClr val="bg1">
                      <a:alpha val="40000"/>
                    </a:schemeClr>
                  </a:solidFill>
                  <a:prstDash val="solid"/>
                  <a:round/>
                </a:ln>
              </p:spPr>
              <p:txBody>
                <a:bodyPr rtlCol="0" anchor="ctr"/>
                <a:lstStyle/>
                <a:p>
                  <a:endParaRPr lang="en-GB"/>
                </a:p>
              </p:txBody>
            </p:sp>
            <p:sp>
              <p:nvSpPr>
                <p:cNvPr id="6774" name="Vrije vorm: vorm 6773">
                  <a:extLst>
                    <a:ext uri="{FF2B5EF4-FFF2-40B4-BE49-F238E27FC236}">
                      <a16:creationId xmlns:a16="http://schemas.microsoft.com/office/drawing/2014/main" id="{4BF34822-5F22-426F-9FB4-EE07D765BBC5}"/>
                    </a:ext>
                  </a:extLst>
                </p:cNvPr>
                <p:cNvSpPr/>
                <p:nvPr/>
              </p:nvSpPr>
              <p:spPr>
                <a:xfrm>
                  <a:off x="7015167" y="1966083"/>
                  <a:ext cx="14234" cy="1614"/>
                </a:xfrm>
                <a:custGeom>
                  <a:avLst/>
                  <a:gdLst>
                    <a:gd name="connsiteX0" fmla="*/ 14234 w 14234"/>
                    <a:gd name="connsiteY0" fmla="*/ 0 h 1614"/>
                    <a:gd name="connsiteX1" fmla="*/ 6399 w 14234"/>
                    <a:gd name="connsiteY1" fmla="*/ 299 h 1614"/>
                    <a:gd name="connsiteX2" fmla="*/ 1615 w 14234"/>
                    <a:gd name="connsiteY2" fmla="*/ 1316 h 1614"/>
                    <a:gd name="connsiteX3" fmla="*/ 180 w 14234"/>
                    <a:gd name="connsiteY3" fmla="*/ 1615 h 1614"/>
                    <a:gd name="connsiteX4" fmla="*/ 120 w 14234"/>
                    <a:gd name="connsiteY4" fmla="*/ 1615 h 1614"/>
                    <a:gd name="connsiteX5" fmla="*/ 0 w 14234"/>
                    <a:gd name="connsiteY5" fmla="*/ 1615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4" h="1614">
                      <a:moveTo>
                        <a:pt x="14234" y="0"/>
                      </a:moveTo>
                      <a:lnTo>
                        <a:pt x="6399" y="299"/>
                      </a:lnTo>
                      <a:lnTo>
                        <a:pt x="1615" y="1316"/>
                      </a:lnTo>
                      <a:lnTo>
                        <a:pt x="180" y="1615"/>
                      </a:lnTo>
                      <a:lnTo>
                        <a:pt x="120" y="1615"/>
                      </a:lnTo>
                      <a:lnTo>
                        <a:pt x="0" y="1615"/>
                      </a:lnTo>
                    </a:path>
                  </a:pathLst>
                </a:custGeom>
                <a:noFill/>
                <a:ln w="6350" cap="rnd">
                  <a:solidFill>
                    <a:schemeClr val="bg1">
                      <a:alpha val="40000"/>
                    </a:schemeClr>
                  </a:solidFill>
                  <a:prstDash val="solid"/>
                  <a:round/>
                </a:ln>
              </p:spPr>
              <p:txBody>
                <a:bodyPr rtlCol="0" anchor="ctr"/>
                <a:lstStyle/>
                <a:p>
                  <a:endParaRPr lang="en-GB"/>
                </a:p>
              </p:txBody>
            </p:sp>
            <p:sp>
              <p:nvSpPr>
                <p:cNvPr id="6775" name="Vrije vorm: vorm 6774">
                  <a:extLst>
                    <a:ext uri="{FF2B5EF4-FFF2-40B4-BE49-F238E27FC236}">
                      <a16:creationId xmlns:a16="http://schemas.microsoft.com/office/drawing/2014/main" id="{620CE3D3-DE08-4E2C-B1F5-1C30E8924C7C}"/>
                    </a:ext>
                  </a:extLst>
                </p:cNvPr>
                <p:cNvSpPr/>
                <p:nvPr/>
              </p:nvSpPr>
              <p:spPr>
                <a:xfrm>
                  <a:off x="6999079" y="2109261"/>
                  <a:ext cx="16925" cy="19317"/>
                </a:xfrm>
                <a:custGeom>
                  <a:avLst/>
                  <a:gdLst>
                    <a:gd name="connsiteX0" fmla="*/ 16148 w 16925"/>
                    <a:gd name="connsiteY0" fmla="*/ 0 h 19317"/>
                    <a:gd name="connsiteX1" fmla="*/ 16926 w 16925"/>
                    <a:gd name="connsiteY1" fmla="*/ 478 h 19317"/>
                    <a:gd name="connsiteX2" fmla="*/ 16806 w 16925"/>
                    <a:gd name="connsiteY2" fmla="*/ 3768 h 19317"/>
                    <a:gd name="connsiteX3" fmla="*/ 16746 w 16925"/>
                    <a:gd name="connsiteY3" fmla="*/ 4904 h 19317"/>
                    <a:gd name="connsiteX4" fmla="*/ 16746 w 16925"/>
                    <a:gd name="connsiteY4" fmla="*/ 5203 h 19317"/>
                    <a:gd name="connsiteX5" fmla="*/ 9928 w 16925"/>
                    <a:gd name="connsiteY5" fmla="*/ 17404 h 19317"/>
                    <a:gd name="connsiteX6" fmla="*/ 6340 w 16925"/>
                    <a:gd name="connsiteY6" fmla="*/ 19318 h 19317"/>
                    <a:gd name="connsiteX7" fmla="*/ 1436 w 16925"/>
                    <a:gd name="connsiteY7" fmla="*/ 18062 h 19317"/>
                    <a:gd name="connsiteX8" fmla="*/ 0 w 16925"/>
                    <a:gd name="connsiteY8" fmla="*/ 17225 h 1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25" h="19317">
                      <a:moveTo>
                        <a:pt x="16148" y="0"/>
                      </a:moveTo>
                      <a:lnTo>
                        <a:pt x="16926" y="478"/>
                      </a:lnTo>
                      <a:lnTo>
                        <a:pt x="16806" y="3768"/>
                      </a:lnTo>
                      <a:lnTo>
                        <a:pt x="16746" y="4904"/>
                      </a:lnTo>
                      <a:lnTo>
                        <a:pt x="16746" y="5203"/>
                      </a:lnTo>
                      <a:lnTo>
                        <a:pt x="9928" y="17404"/>
                      </a:lnTo>
                      <a:lnTo>
                        <a:pt x="6340" y="19318"/>
                      </a:lnTo>
                      <a:lnTo>
                        <a:pt x="1436" y="18062"/>
                      </a:lnTo>
                      <a:lnTo>
                        <a:pt x="0" y="17225"/>
                      </a:lnTo>
                    </a:path>
                  </a:pathLst>
                </a:custGeom>
                <a:noFill/>
                <a:ln w="6350" cap="rnd">
                  <a:solidFill>
                    <a:schemeClr val="bg1">
                      <a:alpha val="40000"/>
                    </a:schemeClr>
                  </a:solidFill>
                  <a:prstDash val="solid"/>
                  <a:round/>
                </a:ln>
              </p:spPr>
              <p:txBody>
                <a:bodyPr rtlCol="0" anchor="ctr"/>
                <a:lstStyle/>
                <a:p>
                  <a:endParaRPr lang="en-GB"/>
                </a:p>
              </p:txBody>
            </p:sp>
            <p:sp>
              <p:nvSpPr>
                <p:cNvPr id="6776" name="Vrije vorm: vorm 6775">
                  <a:extLst>
                    <a:ext uri="{FF2B5EF4-FFF2-40B4-BE49-F238E27FC236}">
                      <a16:creationId xmlns:a16="http://schemas.microsoft.com/office/drawing/2014/main" id="{831B9804-6D05-4006-AD18-29E751F9B3FC}"/>
                    </a:ext>
                  </a:extLst>
                </p:cNvPr>
                <p:cNvSpPr/>
                <p:nvPr/>
              </p:nvSpPr>
              <p:spPr>
                <a:xfrm>
                  <a:off x="6939451" y="2081630"/>
                  <a:ext cx="59209" cy="25657"/>
                </a:xfrm>
                <a:custGeom>
                  <a:avLst/>
                  <a:gdLst>
                    <a:gd name="connsiteX0" fmla="*/ 58432 w 59209"/>
                    <a:gd name="connsiteY0" fmla="*/ 0 h 25657"/>
                    <a:gd name="connsiteX1" fmla="*/ 59209 w 59209"/>
                    <a:gd name="connsiteY1" fmla="*/ 538 h 25657"/>
                    <a:gd name="connsiteX2" fmla="*/ 59090 w 59209"/>
                    <a:gd name="connsiteY2" fmla="*/ 1017 h 25657"/>
                    <a:gd name="connsiteX3" fmla="*/ 58372 w 59209"/>
                    <a:gd name="connsiteY3" fmla="*/ 3529 h 25657"/>
                    <a:gd name="connsiteX4" fmla="*/ 54424 w 59209"/>
                    <a:gd name="connsiteY4" fmla="*/ 9330 h 25657"/>
                    <a:gd name="connsiteX5" fmla="*/ 53647 w 59209"/>
                    <a:gd name="connsiteY5" fmla="*/ 10466 h 25657"/>
                    <a:gd name="connsiteX6" fmla="*/ 51434 w 59209"/>
                    <a:gd name="connsiteY6" fmla="*/ 11842 h 25657"/>
                    <a:gd name="connsiteX7" fmla="*/ 44377 w 59209"/>
                    <a:gd name="connsiteY7" fmla="*/ 16268 h 25657"/>
                    <a:gd name="connsiteX8" fmla="*/ 36901 w 59209"/>
                    <a:gd name="connsiteY8" fmla="*/ 17284 h 25657"/>
                    <a:gd name="connsiteX9" fmla="*/ 31758 w 59209"/>
                    <a:gd name="connsiteY9" fmla="*/ 18122 h 25657"/>
                    <a:gd name="connsiteX10" fmla="*/ 27033 w 59209"/>
                    <a:gd name="connsiteY10" fmla="*/ 18899 h 25657"/>
                    <a:gd name="connsiteX11" fmla="*/ 20694 w 59209"/>
                    <a:gd name="connsiteY11" fmla="*/ 20574 h 25657"/>
                    <a:gd name="connsiteX12" fmla="*/ 19318 w 59209"/>
                    <a:gd name="connsiteY12" fmla="*/ 20933 h 25657"/>
                    <a:gd name="connsiteX13" fmla="*/ 14772 w 59209"/>
                    <a:gd name="connsiteY13" fmla="*/ 22248 h 25657"/>
                    <a:gd name="connsiteX14" fmla="*/ 9749 w 59209"/>
                    <a:gd name="connsiteY14" fmla="*/ 23684 h 25657"/>
                    <a:gd name="connsiteX15" fmla="*/ 9569 w 59209"/>
                    <a:gd name="connsiteY15" fmla="*/ 23743 h 25657"/>
                    <a:gd name="connsiteX16" fmla="*/ 6519 w 59209"/>
                    <a:gd name="connsiteY16" fmla="*/ 24820 h 25657"/>
                    <a:gd name="connsiteX17" fmla="*/ 5263 w 59209"/>
                    <a:gd name="connsiteY17" fmla="*/ 25239 h 25657"/>
                    <a:gd name="connsiteX18" fmla="*/ 4067 w 59209"/>
                    <a:gd name="connsiteY18" fmla="*/ 25657 h 25657"/>
                    <a:gd name="connsiteX19" fmla="*/ 1675 w 59209"/>
                    <a:gd name="connsiteY19" fmla="*/ 23564 h 25657"/>
                    <a:gd name="connsiteX20" fmla="*/ 359 w 59209"/>
                    <a:gd name="connsiteY20" fmla="*/ 21112 h 25657"/>
                    <a:gd name="connsiteX21" fmla="*/ 0 w 59209"/>
                    <a:gd name="connsiteY21" fmla="*/ 19557 h 25657"/>
                    <a:gd name="connsiteX22" fmla="*/ 239 w 59209"/>
                    <a:gd name="connsiteY22" fmla="*/ 19138 h 25657"/>
                    <a:gd name="connsiteX23" fmla="*/ 299 w 59209"/>
                    <a:gd name="connsiteY23" fmla="*/ 19019 h 25657"/>
                    <a:gd name="connsiteX24" fmla="*/ 1197 w 59209"/>
                    <a:gd name="connsiteY24" fmla="*/ 17344 h 25657"/>
                    <a:gd name="connsiteX25" fmla="*/ 2273 w 59209"/>
                    <a:gd name="connsiteY25" fmla="*/ 15370 h 2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209" h="25657">
                      <a:moveTo>
                        <a:pt x="58432" y="0"/>
                      </a:moveTo>
                      <a:lnTo>
                        <a:pt x="59209" y="538"/>
                      </a:lnTo>
                      <a:lnTo>
                        <a:pt x="59090" y="1017"/>
                      </a:lnTo>
                      <a:lnTo>
                        <a:pt x="58372" y="3529"/>
                      </a:lnTo>
                      <a:lnTo>
                        <a:pt x="54424" y="9330"/>
                      </a:lnTo>
                      <a:lnTo>
                        <a:pt x="53647" y="10466"/>
                      </a:lnTo>
                      <a:lnTo>
                        <a:pt x="51434" y="11842"/>
                      </a:lnTo>
                      <a:lnTo>
                        <a:pt x="44377" y="16268"/>
                      </a:lnTo>
                      <a:lnTo>
                        <a:pt x="36901" y="17284"/>
                      </a:lnTo>
                      <a:lnTo>
                        <a:pt x="31758" y="18122"/>
                      </a:lnTo>
                      <a:lnTo>
                        <a:pt x="27033" y="18899"/>
                      </a:lnTo>
                      <a:lnTo>
                        <a:pt x="20694" y="20574"/>
                      </a:lnTo>
                      <a:lnTo>
                        <a:pt x="19318" y="20933"/>
                      </a:lnTo>
                      <a:lnTo>
                        <a:pt x="14772" y="22248"/>
                      </a:lnTo>
                      <a:lnTo>
                        <a:pt x="9749" y="23684"/>
                      </a:lnTo>
                      <a:lnTo>
                        <a:pt x="9569" y="23743"/>
                      </a:lnTo>
                      <a:lnTo>
                        <a:pt x="6519" y="24820"/>
                      </a:lnTo>
                      <a:lnTo>
                        <a:pt x="5263" y="25239"/>
                      </a:lnTo>
                      <a:lnTo>
                        <a:pt x="4067" y="25657"/>
                      </a:lnTo>
                      <a:lnTo>
                        <a:pt x="1675" y="23564"/>
                      </a:lnTo>
                      <a:lnTo>
                        <a:pt x="359" y="21112"/>
                      </a:lnTo>
                      <a:lnTo>
                        <a:pt x="0" y="19557"/>
                      </a:lnTo>
                      <a:lnTo>
                        <a:pt x="239" y="19138"/>
                      </a:lnTo>
                      <a:lnTo>
                        <a:pt x="299" y="19019"/>
                      </a:lnTo>
                      <a:lnTo>
                        <a:pt x="1197" y="17344"/>
                      </a:lnTo>
                      <a:lnTo>
                        <a:pt x="2273" y="15370"/>
                      </a:lnTo>
                    </a:path>
                  </a:pathLst>
                </a:custGeom>
                <a:noFill/>
                <a:ln w="6350" cap="rnd">
                  <a:solidFill>
                    <a:schemeClr val="bg1">
                      <a:alpha val="40000"/>
                    </a:schemeClr>
                  </a:solidFill>
                  <a:prstDash val="solid"/>
                  <a:round/>
                </a:ln>
              </p:spPr>
              <p:txBody>
                <a:bodyPr rtlCol="0" anchor="ctr"/>
                <a:lstStyle/>
                <a:p>
                  <a:endParaRPr lang="en-GB"/>
                </a:p>
              </p:txBody>
            </p:sp>
            <p:sp>
              <p:nvSpPr>
                <p:cNvPr id="6777" name="Vrije vorm: vorm 6776">
                  <a:extLst>
                    <a:ext uri="{FF2B5EF4-FFF2-40B4-BE49-F238E27FC236}">
                      <a16:creationId xmlns:a16="http://schemas.microsoft.com/office/drawing/2014/main" id="{0D8F2006-CA0B-44BC-9D8C-77F97C57BA39}"/>
                    </a:ext>
                  </a:extLst>
                </p:cNvPr>
                <p:cNvSpPr/>
                <p:nvPr/>
              </p:nvSpPr>
              <p:spPr>
                <a:xfrm>
                  <a:off x="6768343" y="1987015"/>
                  <a:ext cx="3887" cy="2392"/>
                </a:xfrm>
                <a:custGeom>
                  <a:avLst/>
                  <a:gdLst>
                    <a:gd name="connsiteX0" fmla="*/ 3888 w 3887"/>
                    <a:gd name="connsiteY0" fmla="*/ 0 h 2392"/>
                    <a:gd name="connsiteX1" fmla="*/ 2392 w 3887"/>
                    <a:gd name="connsiteY1" fmla="*/ 1017 h 2392"/>
                    <a:gd name="connsiteX2" fmla="*/ 1615 w 3887"/>
                    <a:gd name="connsiteY2" fmla="*/ 1555 h 2392"/>
                    <a:gd name="connsiteX3" fmla="*/ 1375 w 3887"/>
                    <a:gd name="connsiteY3" fmla="*/ 1734 h 2392"/>
                    <a:gd name="connsiteX4" fmla="*/ 1136 w 3887"/>
                    <a:gd name="connsiteY4" fmla="*/ 1914 h 2392"/>
                    <a:gd name="connsiteX5" fmla="*/ 419 w 3887"/>
                    <a:gd name="connsiteY5" fmla="*/ 2392 h 2392"/>
                    <a:gd name="connsiteX6" fmla="*/ 0 w 3887"/>
                    <a:gd name="connsiteY6" fmla="*/ 2213 h 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7" h="2392">
                      <a:moveTo>
                        <a:pt x="3888" y="0"/>
                      </a:moveTo>
                      <a:lnTo>
                        <a:pt x="2392" y="1017"/>
                      </a:lnTo>
                      <a:lnTo>
                        <a:pt x="1615" y="1555"/>
                      </a:lnTo>
                      <a:lnTo>
                        <a:pt x="1375" y="1734"/>
                      </a:lnTo>
                      <a:lnTo>
                        <a:pt x="1136" y="1914"/>
                      </a:lnTo>
                      <a:lnTo>
                        <a:pt x="419" y="2392"/>
                      </a:lnTo>
                      <a:lnTo>
                        <a:pt x="0" y="2213"/>
                      </a:lnTo>
                    </a:path>
                  </a:pathLst>
                </a:custGeom>
                <a:noFill/>
                <a:ln w="6350" cap="rnd">
                  <a:solidFill>
                    <a:schemeClr val="bg1">
                      <a:alpha val="40000"/>
                    </a:schemeClr>
                  </a:solidFill>
                  <a:prstDash val="solid"/>
                  <a:round/>
                </a:ln>
              </p:spPr>
              <p:txBody>
                <a:bodyPr rtlCol="0" anchor="ctr"/>
                <a:lstStyle/>
                <a:p>
                  <a:endParaRPr lang="en-GB"/>
                </a:p>
              </p:txBody>
            </p:sp>
            <p:sp>
              <p:nvSpPr>
                <p:cNvPr id="6778" name="Vrije vorm: vorm 6777">
                  <a:extLst>
                    <a:ext uri="{FF2B5EF4-FFF2-40B4-BE49-F238E27FC236}">
                      <a16:creationId xmlns:a16="http://schemas.microsoft.com/office/drawing/2014/main" id="{2C179744-A071-4AE0-840B-31C5DD27CEFB}"/>
                    </a:ext>
                  </a:extLst>
                </p:cNvPr>
                <p:cNvSpPr/>
                <p:nvPr/>
              </p:nvSpPr>
              <p:spPr>
                <a:xfrm>
                  <a:off x="6942143" y="2075051"/>
                  <a:ext cx="6040" cy="10825"/>
                </a:xfrm>
                <a:custGeom>
                  <a:avLst/>
                  <a:gdLst>
                    <a:gd name="connsiteX0" fmla="*/ 6041 w 6040"/>
                    <a:gd name="connsiteY0" fmla="*/ 9330 h 10825"/>
                    <a:gd name="connsiteX1" fmla="*/ 4964 w 6040"/>
                    <a:gd name="connsiteY1" fmla="*/ 9808 h 10825"/>
                    <a:gd name="connsiteX2" fmla="*/ 2871 w 6040"/>
                    <a:gd name="connsiteY2" fmla="*/ 10825 h 10825"/>
                    <a:gd name="connsiteX3" fmla="*/ 718 w 6040"/>
                    <a:gd name="connsiteY3" fmla="*/ 8433 h 10825"/>
                    <a:gd name="connsiteX4" fmla="*/ 0 w 6040"/>
                    <a:gd name="connsiteY4" fmla="*/ 5323 h 10825"/>
                    <a:gd name="connsiteX5" fmla="*/ 179 w 6040"/>
                    <a:gd name="connsiteY5" fmla="*/ 3289 h 10825"/>
                    <a:gd name="connsiteX6" fmla="*/ 2392 w 6040"/>
                    <a:gd name="connsiteY6" fmla="*/ 0 h 1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0" h="10825">
                      <a:moveTo>
                        <a:pt x="6041" y="9330"/>
                      </a:moveTo>
                      <a:lnTo>
                        <a:pt x="4964" y="9808"/>
                      </a:lnTo>
                      <a:lnTo>
                        <a:pt x="2871" y="10825"/>
                      </a:lnTo>
                      <a:lnTo>
                        <a:pt x="718" y="8433"/>
                      </a:lnTo>
                      <a:lnTo>
                        <a:pt x="0" y="5323"/>
                      </a:lnTo>
                      <a:lnTo>
                        <a:pt x="179" y="3289"/>
                      </a:lnTo>
                      <a:lnTo>
                        <a:pt x="2392" y="0"/>
                      </a:lnTo>
                    </a:path>
                  </a:pathLst>
                </a:custGeom>
                <a:noFill/>
                <a:ln w="6350" cap="rnd">
                  <a:solidFill>
                    <a:schemeClr val="bg1">
                      <a:alpha val="40000"/>
                    </a:schemeClr>
                  </a:solidFill>
                  <a:prstDash val="solid"/>
                  <a:round/>
                </a:ln>
              </p:spPr>
              <p:txBody>
                <a:bodyPr rtlCol="0" anchor="ctr"/>
                <a:lstStyle/>
                <a:p>
                  <a:endParaRPr lang="en-GB"/>
                </a:p>
              </p:txBody>
            </p:sp>
            <p:sp>
              <p:nvSpPr>
                <p:cNvPr id="6779" name="Vrije vorm: vorm 6778">
                  <a:extLst>
                    <a:ext uri="{FF2B5EF4-FFF2-40B4-BE49-F238E27FC236}">
                      <a16:creationId xmlns:a16="http://schemas.microsoft.com/office/drawing/2014/main" id="{046E58E5-F75F-4FC6-96A5-509C23AA6E3B}"/>
                    </a:ext>
                  </a:extLst>
                </p:cNvPr>
                <p:cNvSpPr/>
                <p:nvPr/>
              </p:nvSpPr>
              <p:spPr>
                <a:xfrm>
                  <a:off x="6999438" y="2046105"/>
                  <a:ext cx="10107" cy="717"/>
                </a:xfrm>
                <a:custGeom>
                  <a:avLst/>
                  <a:gdLst>
                    <a:gd name="connsiteX0" fmla="*/ 10107 w 10107"/>
                    <a:gd name="connsiteY0" fmla="*/ 718 h 717"/>
                    <a:gd name="connsiteX1" fmla="*/ 6758 w 10107"/>
                    <a:gd name="connsiteY1" fmla="*/ 598 h 717"/>
                    <a:gd name="connsiteX2" fmla="*/ 5083 w 10107"/>
                    <a:gd name="connsiteY2" fmla="*/ 538 h 717"/>
                    <a:gd name="connsiteX3" fmla="*/ 0 w 10107"/>
                    <a:gd name="connsiteY3" fmla="*/ 0 h 717"/>
                  </a:gdLst>
                  <a:ahLst/>
                  <a:cxnLst>
                    <a:cxn ang="0">
                      <a:pos x="connsiteX0" y="connsiteY0"/>
                    </a:cxn>
                    <a:cxn ang="0">
                      <a:pos x="connsiteX1" y="connsiteY1"/>
                    </a:cxn>
                    <a:cxn ang="0">
                      <a:pos x="connsiteX2" y="connsiteY2"/>
                    </a:cxn>
                    <a:cxn ang="0">
                      <a:pos x="connsiteX3" y="connsiteY3"/>
                    </a:cxn>
                  </a:cxnLst>
                  <a:rect l="l" t="t" r="r" b="b"/>
                  <a:pathLst>
                    <a:path w="10107" h="717">
                      <a:moveTo>
                        <a:pt x="10107" y="718"/>
                      </a:moveTo>
                      <a:lnTo>
                        <a:pt x="6758" y="598"/>
                      </a:lnTo>
                      <a:lnTo>
                        <a:pt x="5083" y="53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80" name="Vrije vorm: vorm 6779">
                  <a:extLst>
                    <a:ext uri="{FF2B5EF4-FFF2-40B4-BE49-F238E27FC236}">
                      <a16:creationId xmlns:a16="http://schemas.microsoft.com/office/drawing/2014/main" id="{D6956587-BB68-4B37-949E-BB7697756BAD}"/>
                    </a:ext>
                  </a:extLst>
                </p:cNvPr>
                <p:cNvSpPr/>
                <p:nvPr/>
              </p:nvSpPr>
              <p:spPr>
                <a:xfrm>
                  <a:off x="7034664" y="1993474"/>
                  <a:ext cx="6279" cy="6698"/>
                </a:xfrm>
                <a:custGeom>
                  <a:avLst/>
                  <a:gdLst>
                    <a:gd name="connsiteX0" fmla="*/ 6279 w 6279"/>
                    <a:gd name="connsiteY0" fmla="*/ 6698 h 6698"/>
                    <a:gd name="connsiteX1" fmla="*/ 4066 w 6279"/>
                    <a:gd name="connsiteY1" fmla="*/ 2751 h 6698"/>
                    <a:gd name="connsiteX2" fmla="*/ 3888 w 6279"/>
                    <a:gd name="connsiteY2" fmla="*/ 2392 h 6698"/>
                    <a:gd name="connsiteX3" fmla="*/ 0 w 6279"/>
                    <a:gd name="connsiteY3" fmla="*/ 0 h 6698"/>
                  </a:gdLst>
                  <a:ahLst/>
                  <a:cxnLst>
                    <a:cxn ang="0">
                      <a:pos x="connsiteX0" y="connsiteY0"/>
                    </a:cxn>
                    <a:cxn ang="0">
                      <a:pos x="connsiteX1" y="connsiteY1"/>
                    </a:cxn>
                    <a:cxn ang="0">
                      <a:pos x="connsiteX2" y="connsiteY2"/>
                    </a:cxn>
                    <a:cxn ang="0">
                      <a:pos x="connsiteX3" y="connsiteY3"/>
                    </a:cxn>
                  </a:cxnLst>
                  <a:rect l="l" t="t" r="r" b="b"/>
                  <a:pathLst>
                    <a:path w="6279" h="6698">
                      <a:moveTo>
                        <a:pt x="6279" y="6698"/>
                      </a:moveTo>
                      <a:lnTo>
                        <a:pt x="4066" y="2751"/>
                      </a:lnTo>
                      <a:lnTo>
                        <a:pt x="3888" y="2392"/>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81" name="Vrije vorm: vorm 6780">
                  <a:extLst>
                    <a:ext uri="{FF2B5EF4-FFF2-40B4-BE49-F238E27FC236}">
                      <a16:creationId xmlns:a16="http://schemas.microsoft.com/office/drawing/2014/main" id="{600A1813-48C1-4CAD-8564-DAF8CC7E6CEF}"/>
                    </a:ext>
                  </a:extLst>
                </p:cNvPr>
                <p:cNvSpPr/>
                <p:nvPr/>
              </p:nvSpPr>
              <p:spPr>
                <a:xfrm>
                  <a:off x="7088730" y="1968296"/>
                  <a:ext cx="13217" cy="25776"/>
                </a:xfrm>
                <a:custGeom>
                  <a:avLst/>
                  <a:gdLst>
                    <a:gd name="connsiteX0" fmla="*/ 10167 w 13217"/>
                    <a:gd name="connsiteY0" fmla="*/ 0 h 25776"/>
                    <a:gd name="connsiteX1" fmla="*/ 10645 w 13217"/>
                    <a:gd name="connsiteY1" fmla="*/ 1017 h 25776"/>
                    <a:gd name="connsiteX2" fmla="*/ 12140 w 13217"/>
                    <a:gd name="connsiteY2" fmla="*/ 4964 h 25776"/>
                    <a:gd name="connsiteX3" fmla="*/ 13217 w 13217"/>
                    <a:gd name="connsiteY3" fmla="*/ 7835 h 25776"/>
                    <a:gd name="connsiteX4" fmla="*/ 12798 w 13217"/>
                    <a:gd name="connsiteY4" fmla="*/ 11842 h 25776"/>
                    <a:gd name="connsiteX5" fmla="*/ 7296 w 13217"/>
                    <a:gd name="connsiteY5" fmla="*/ 20035 h 25776"/>
                    <a:gd name="connsiteX6" fmla="*/ 4664 w 13217"/>
                    <a:gd name="connsiteY6" fmla="*/ 23923 h 25776"/>
                    <a:gd name="connsiteX7" fmla="*/ 4605 w 13217"/>
                    <a:gd name="connsiteY7" fmla="*/ 24042 h 25776"/>
                    <a:gd name="connsiteX8" fmla="*/ 4246 w 13217"/>
                    <a:gd name="connsiteY8" fmla="*/ 24222 h 25776"/>
                    <a:gd name="connsiteX9" fmla="*/ 777 w 13217"/>
                    <a:gd name="connsiteY9" fmla="*/ 25777 h 25776"/>
                    <a:gd name="connsiteX10" fmla="*/ 0 w 13217"/>
                    <a:gd name="connsiteY10" fmla="*/ 25298 h 25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17" h="25776">
                      <a:moveTo>
                        <a:pt x="10167" y="0"/>
                      </a:moveTo>
                      <a:lnTo>
                        <a:pt x="10645" y="1017"/>
                      </a:lnTo>
                      <a:lnTo>
                        <a:pt x="12140" y="4964"/>
                      </a:lnTo>
                      <a:lnTo>
                        <a:pt x="13217" y="7835"/>
                      </a:lnTo>
                      <a:lnTo>
                        <a:pt x="12798" y="11842"/>
                      </a:lnTo>
                      <a:lnTo>
                        <a:pt x="7296" y="20035"/>
                      </a:lnTo>
                      <a:lnTo>
                        <a:pt x="4664" y="23923"/>
                      </a:lnTo>
                      <a:lnTo>
                        <a:pt x="4605" y="24042"/>
                      </a:lnTo>
                      <a:lnTo>
                        <a:pt x="4246" y="24222"/>
                      </a:lnTo>
                      <a:lnTo>
                        <a:pt x="777" y="25777"/>
                      </a:lnTo>
                      <a:lnTo>
                        <a:pt x="0" y="25298"/>
                      </a:lnTo>
                    </a:path>
                  </a:pathLst>
                </a:custGeom>
                <a:noFill/>
                <a:ln w="6350" cap="rnd">
                  <a:solidFill>
                    <a:schemeClr val="bg1">
                      <a:alpha val="40000"/>
                    </a:schemeClr>
                  </a:solidFill>
                  <a:prstDash val="solid"/>
                  <a:round/>
                </a:ln>
              </p:spPr>
              <p:txBody>
                <a:bodyPr rtlCol="0" anchor="ctr"/>
                <a:lstStyle/>
                <a:p>
                  <a:endParaRPr lang="en-GB"/>
                </a:p>
              </p:txBody>
            </p:sp>
            <p:sp>
              <p:nvSpPr>
                <p:cNvPr id="6782" name="Vrije vorm: vorm 6781">
                  <a:extLst>
                    <a:ext uri="{FF2B5EF4-FFF2-40B4-BE49-F238E27FC236}">
                      <a16:creationId xmlns:a16="http://schemas.microsoft.com/office/drawing/2014/main" id="{95F85257-8A9F-4365-A60A-D9B70E615BE9}"/>
                    </a:ext>
                  </a:extLst>
                </p:cNvPr>
                <p:cNvSpPr/>
                <p:nvPr/>
              </p:nvSpPr>
              <p:spPr>
                <a:xfrm>
                  <a:off x="6986281" y="1990364"/>
                  <a:ext cx="119" cy="3110"/>
                </a:xfrm>
                <a:custGeom>
                  <a:avLst/>
                  <a:gdLst>
                    <a:gd name="connsiteX0" fmla="*/ 119 w 119"/>
                    <a:gd name="connsiteY0" fmla="*/ 3110 h 3110"/>
                    <a:gd name="connsiteX1" fmla="*/ 59 w 119"/>
                    <a:gd name="connsiteY1" fmla="*/ 1734 h 3110"/>
                    <a:gd name="connsiteX2" fmla="*/ 59 w 119"/>
                    <a:gd name="connsiteY2" fmla="*/ 1615 h 3110"/>
                    <a:gd name="connsiteX3" fmla="*/ 0 w 119"/>
                    <a:gd name="connsiteY3" fmla="*/ 478 h 3110"/>
                    <a:gd name="connsiteX4" fmla="*/ 59 w 119"/>
                    <a:gd name="connsiteY4" fmla="*/ 0 h 3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 h="3110">
                      <a:moveTo>
                        <a:pt x="119" y="3110"/>
                      </a:moveTo>
                      <a:lnTo>
                        <a:pt x="59" y="1734"/>
                      </a:lnTo>
                      <a:lnTo>
                        <a:pt x="59" y="1615"/>
                      </a:lnTo>
                      <a:lnTo>
                        <a:pt x="0" y="478"/>
                      </a:lnTo>
                      <a:lnTo>
                        <a:pt x="59" y="0"/>
                      </a:lnTo>
                    </a:path>
                  </a:pathLst>
                </a:custGeom>
                <a:noFill/>
                <a:ln w="6350" cap="rnd">
                  <a:solidFill>
                    <a:schemeClr val="bg1">
                      <a:alpha val="40000"/>
                    </a:schemeClr>
                  </a:solidFill>
                  <a:prstDash val="solid"/>
                  <a:round/>
                </a:ln>
              </p:spPr>
              <p:txBody>
                <a:bodyPr rtlCol="0" anchor="ctr"/>
                <a:lstStyle/>
                <a:p>
                  <a:endParaRPr lang="en-GB"/>
                </a:p>
              </p:txBody>
            </p:sp>
            <p:sp>
              <p:nvSpPr>
                <p:cNvPr id="6783" name="Vrije vorm: vorm 6782">
                  <a:extLst>
                    <a:ext uri="{FF2B5EF4-FFF2-40B4-BE49-F238E27FC236}">
                      <a16:creationId xmlns:a16="http://schemas.microsoft.com/office/drawing/2014/main" id="{32D81F54-71BD-4DE7-8010-F1E46343D6BD}"/>
                    </a:ext>
                  </a:extLst>
                </p:cNvPr>
                <p:cNvSpPr/>
                <p:nvPr/>
              </p:nvSpPr>
              <p:spPr>
                <a:xfrm>
                  <a:off x="7008110" y="1955676"/>
                  <a:ext cx="13815" cy="6877"/>
                </a:xfrm>
                <a:custGeom>
                  <a:avLst/>
                  <a:gdLst>
                    <a:gd name="connsiteX0" fmla="*/ 0 w 13815"/>
                    <a:gd name="connsiteY0" fmla="*/ 6878 h 6877"/>
                    <a:gd name="connsiteX1" fmla="*/ 897 w 13815"/>
                    <a:gd name="connsiteY1" fmla="*/ 4306 h 6877"/>
                    <a:gd name="connsiteX2" fmla="*/ 1017 w 13815"/>
                    <a:gd name="connsiteY2" fmla="*/ 3887 h 6877"/>
                    <a:gd name="connsiteX3" fmla="*/ 2213 w 13815"/>
                    <a:gd name="connsiteY3" fmla="*/ 2093 h 6877"/>
                    <a:gd name="connsiteX4" fmla="*/ 13816 w 13815"/>
                    <a:gd name="connsiteY4" fmla="*/ 0 h 6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5" h="6877">
                      <a:moveTo>
                        <a:pt x="0" y="6878"/>
                      </a:moveTo>
                      <a:lnTo>
                        <a:pt x="897" y="4306"/>
                      </a:lnTo>
                      <a:lnTo>
                        <a:pt x="1017" y="3887"/>
                      </a:lnTo>
                      <a:lnTo>
                        <a:pt x="2213" y="2093"/>
                      </a:lnTo>
                      <a:lnTo>
                        <a:pt x="13816" y="0"/>
                      </a:lnTo>
                    </a:path>
                  </a:pathLst>
                </a:custGeom>
                <a:noFill/>
                <a:ln w="6350" cap="rnd">
                  <a:solidFill>
                    <a:schemeClr val="bg1">
                      <a:alpha val="40000"/>
                    </a:schemeClr>
                  </a:solidFill>
                  <a:prstDash val="solid"/>
                  <a:round/>
                </a:ln>
              </p:spPr>
              <p:txBody>
                <a:bodyPr rtlCol="0" anchor="ctr"/>
                <a:lstStyle/>
                <a:p>
                  <a:endParaRPr lang="en-GB"/>
                </a:p>
              </p:txBody>
            </p:sp>
            <p:sp>
              <p:nvSpPr>
                <p:cNvPr id="6784" name="Vrije vorm: vorm 6783">
                  <a:extLst>
                    <a:ext uri="{FF2B5EF4-FFF2-40B4-BE49-F238E27FC236}">
                      <a16:creationId xmlns:a16="http://schemas.microsoft.com/office/drawing/2014/main" id="{B47222A9-D9DE-4871-8743-4B0EDBDA1315}"/>
                    </a:ext>
                  </a:extLst>
                </p:cNvPr>
                <p:cNvSpPr/>
                <p:nvPr/>
              </p:nvSpPr>
              <p:spPr>
                <a:xfrm>
                  <a:off x="7066841" y="1944373"/>
                  <a:ext cx="15789" cy="33791"/>
                </a:xfrm>
                <a:custGeom>
                  <a:avLst/>
                  <a:gdLst>
                    <a:gd name="connsiteX0" fmla="*/ 0 w 15789"/>
                    <a:gd name="connsiteY0" fmla="*/ 0 h 33791"/>
                    <a:gd name="connsiteX1" fmla="*/ 1316 w 15789"/>
                    <a:gd name="connsiteY1" fmla="*/ 598 h 33791"/>
                    <a:gd name="connsiteX2" fmla="*/ 1734 w 15789"/>
                    <a:gd name="connsiteY2" fmla="*/ 897 h 33791"/>
                    <a:gd name="connsiteX3" fmla="*/ 7775 w 15789"/>
                    <a:gd name="connsiteY3" fmla="*/ 5502 h 33791"/>
                    <a:gd name="connsiteX4" fmla="*/ 9749 w 15789"/>
                    <a:gd name="connsiteY4" fmla="*/ 6997 h 33791"/>
                    <a:gd name="connsiteX5" fmla="*/ 10107 w 15789"/>
                    <a:gd name="connsiteY5" fmla="*/ 7237 h 33791"/>
                    <a:gd name="connsiteX6" fmla="*/ 10107 w 15789"/>
                    <a:gd name="connsiteY6" fmla="*/ 7237 h 33791"/>
                    <a:gd name="connsiteX7" fmla="*/ 14174 w 15789"/>
                    <a:gd name="connsiteY7" fmla="*/ 11603 h 33791"/>
                    <a:gd name="connsiteX8" fmla="*/ 14414 w 15789"/>
                    <a:gd name="connsiteY8" fmla="*/ 11842 h 33791"/>
                    <a:gd name="connsiteX9" fmla="*/ 15072 w 15789"/>
                    <a:gd name="connsiteY9" fmla="*/ 12559 h 33791"/>
                    <a:gd name="connsiteX10" fmla="*/ 15789 w 15789"/>
                    <a:gd name="connsiteY10" fmla="*/ 13337 h 33791"/>
                    <a:gd name="connsiteX11" fmla="*/ 15072 w 15789"/>
                    <a:gd name="connsiteY11" fmla="*/ 15969 h 33791"/>
                    <a:gd name="connsiteX12" fmla="*/ 14473 w 15789"/>
                    <a:gd name="connsiteY12" fmla="*/ 18241 h 33791"/>
                    <a:gd name="connsiteX13" fmla="*/ 14354 w 15789"/>
                    <a:gd name="connsiteY13" fmla="*/ 18660 h 33791"/>
                    <a:gd name="connsiteX14" fmla="*/ 13815 w 15789"/>
                    <a:gd name="connsiteY14" fmla="*/ 20693 h 33791"/>
                    <a:gd name="connsiteX15" fmla="*/ 12859 w 15789"/>
                    <a:gd name="connsiteY15" fmla="*/ 24162 h 33791"/>
                    <a:gd name="connsiteX16" fmla="*/ 12200 w 15789"/>
                    <a:gd name="connsiteY16" fmla="*/ 26554 h 33791"/>
                    <a:gd name="connsiteX17" fmla="*/ 10167 w 15789"/>
                    <a:gd name="connsiteY17" fmla="*/ 29365 h 33791"/>
                    <a:gd name="connsiteX18" fmla="*/ 8552 w 15789"/>
                    <a:gd name="connsiteY18" fmla="*/ 31638 h 33791"/>
                    <a:gd name="connsiteX19" fmla="*/ 7476 w 15789"/>
                    <a:gd name="connsiteY19" fmla="*/ 33133 h 33791"/>
                    <a:gd name="connsiteX20" fmla="*/ 5622 w 15789"/>
                    <a:gd name="connsiteY20" fmla="*/ 33791 h 33791"/>
                    <a:gd name="connsiteX21" fmla="*/ 4844 w 15789"/>
                    <a:gd name="connsiteY21" fmla="*/ 33313 h 3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89" h="33791">
                      <a:moveTo>
                        <a:pt x="0" y="0"/>
                      </a:moveTo>
                      <a:lnTo>
                        <a:pt x="1316" y="598"/>
                      </a:lnTo>
                      <a:lnTo>
                        <a:pt x="1734" y="897"/>
                      </a:lnTo>
                      <a:lnTo>
                        <a:pt x="7775" y="5502"/>
                      </a:lnTo>
                      <a:lnTo>
                        <a:pt x="9749" y="6997"/>
                      </a:lnTo>
                      <a:lnTo>
                        <a:pt x="10107" y="7237"/>
                      </a:lnTo>
                      <a:lnTo>
                        <a:pt x="10107" y="7237"/>
                      </a:lnTo>
                      <a:lnTo>
                        <a:pt x="14174" y="11603"/>
                      </a:lnTo>
                      <a:lnTo>
                        <a:pt x="14414" y="11842"/>
                      </a:lnTo>
                      <a:lnTo>
                        <a:pt x="15072" y="12559"/>
                      </a:lnTo>
                      <a:lnTo>
                        <a:pt x="15789" y="13337"/>
                      </a:lnTo>
                      <a:lnTo>
                        <a:pt x="15072" y="15969"/>
                      </a:lnTo>
                      <a:lnTo>
                        <a:pt x="14473" y="18241"/>
                      </a:lnTo>
                      <a:lnTo>
                        <a:pt x="14354" y="18660"/>
                      </a:lnTo>
                      <a:lnTo>
                        <a:pt x="13815" y="20693"/>
                      </a:lnTo>
                      <a:lnTo>
                        <a:pt x="12859" y="24162"/>
                      </a:lnTo>
                      <a:lnTo>
                        <a:pt x="12200" y="26554"/>
                      </a:lnTo>
                      <a:lnTo>
                        <a:pt x="10167" y="29365"/>
                      </a:lnTo>
                      <a:lnTo>
                        <a:pt x="8552" y="31638"/>
                      </a:lnTo>
                      <a:lnTo>
                        <a:pt x="7476" y="33133"/>
                      </a:lnTo>
                      <a:lnTo>
                        <a:pt x="5622" y="33791"/>
                      </a:lnTo>
                      <a:lnTo>
                        <a:pt x="4844" y="33313"/>
                      </a:lnTo>
                    </a:path>
                  </a:pathLst>
                </a:custGeom>
                <a:noFill/>
                <a:ln w="6350" cap="rnd">
                  <a:solidFill>
                    <a:schemeClr val="bg1">
                      <a:alpha val="40000"/>
                    </a:schemeClr>
                  </a:solidFill>
                  <a:prstDash val="solid"/>
                  <a:round/>
                </a:ln>
              </p:spPr>
              <p:txBody>
                <a:bodyPr rtlCol="0" anchor="ctr"/>
                <a:lstStyle/>
                <a:p>
                  <a:endParaRPr lang="en-GB"/>
                </a:p>
              </p:txBody>
            </p:sp>
            <p:sp>
              <p:nvSpPr>
                <p:cNvPr id="6785" name="Vrije vorm: vorm 6784">
                  <a:extLst>
                    <a:ext uri="{FF2B5EF4-FFF2-40B4-BE49-F238E27FC236}">
                      <a16:creationId xmlns:a16="http://schemas.microsoft.com/office/drawing/2014/main" id="{AFC538F9-70F6-42A2-91B6-159B34A45E8E}"/>
                    </a:ext>
                  </a:extLst>
                </p:cNvPr>
                <p:cNvSpPr/>
                <p:nvPr/>
              </p:nvSpPr>
              <p:spPr>
                <a:xfrm>
                  <a:off x="7077068" y="1937734"/>
                  <a:ext cx="17284" cy="38874"/>
                </a:xfrm>
                <a:custGeom>
                  <a:avLst/>
                  <a:gdLst>
                    <a:gd name="connsiteX0" fmla="*/ 0 w 17284"/>
                    <a:gd name="connsiteY0" fmla="*/ 0 h 38874"/>
                    <a:gd name="connsiteX1" fmla="*/ 5203 w 17284"/>
                    <a:gd name="connsiteY1" fmla="*/ 3947 h 38874"/>
                    <a:gd name="connsiteX2" fmla="*/ 5383 w 17284"/>
                    <a:gd name="connsiteY2" fmla="*/ 4067 h 38874"/>
                    <a:gd name="connsiteX3" fmla="*/ 10825 w 17284"/>
                    <a:gd name="connsiteY3" fmla="*/ 10227 h 38874"/>
                    <a:gd name="connsiteX4" fmla="*/ 12141 w 17284"/>
                    <a:gd name="connsiteY4" fmla="*/ 11722 h 38874"/>
                    <a:gd name="connsiteX5" fmla="*/ 12321 w 17284"/>
                    <a:gd name="connsiteY5" fmla="*/ 11961 h 38874"/>
                    <a:gd name="connsiteX6" fmla="*/ 12679 w 17284"/>
                    <a:gd name="connsiteY6" fmla="*/ 12320 h 38874"/>
                    <a:gd name="connsiteX7" fmla="*/ 14055 w 17284"/>
                    <a:gd name="connsiteY7" fmla="*/ 14413 h 38874"/>
                    <a:gd name="connsiteX8" fmla="*/ 14055 w 17284"/>
                    <a:gd name="connsiteY8" fmla="*/ 14473 h 38874"/>
                    <a:gd name="connsiteX9" fmla="*/ 16029 w 17284"/>
                    <a:gd name="connsiteY9" fmla="*/ 17404 h 38874"/>
                    <a:gd name="connsiteX10" fmla="*/ 17284 w 17284"/>
                    <a:gd name="connsiteY10" fmla="*/ 19318 h 38874"/>
                    <a:gd name="connsiteX11" fmla="*/ 16925 w 17284"/>
                    <a:gd name="connsiteY11" fmla="*/ 20215 h 38874"/>
                    <a:gd name="connsiteX12" fmla="*/ 16507 w 17284"/>
                    <a:gd name="connsiteY12" fmla="*/ 21172 h 38874"/>
                    <a:gd name="connsiteX13" fmla="*/ 16447 w 17284"/>
                    <a:gd name="connsiteY13" fmla="*/ 21291 h 38874"/>
                    <a:gd name="connsiteX14" fmla="*/ 15072 w 17284"/>
                    <a:gd name="connsiteY14" fmla="*/ 24581 h 38874"/>
                    <a:gd name="connsiteX15" fmla="*/ 14892 w 17284"/>
                    <a:gd name="connsiteY15" fmla="*/ 24999 h 38874"/>
                    <a:gd name="connsiteX16" fmla="*/ 14832 w 17284"/>
                    <a:gd name="connsiteY16" fmla="*/ 25119 h 38874"/>
                    <a:gd name="connsiteX17" fmla="*/ 14772 w 17284"/>
                    <a:gd name="connsiteY17" fmla="*/ 25298 h 38874"/>
                    <a:gd name="connsiteX18" fmla="*/ 14772 w 17284"/>
                    <a:gd name="connsiteY18" fmla="*/ 25298 h 38874"/>
                    <a:gd name="connsiteX19" fmla="*/ 14712 w 17284"/>
                    <a:gd name="connsiteY19" fmla="*/ 25418 h 38874"/>
                    <a:gd name="connsiteX20" fmla="*/ 14653 w 17284"/>
                    <a:gd name="connsiteY20" fmla="*/ 25538 h 38874"/>
                    <a:gd name="connsiteX21" fmla="*/ 14593 w 17284"/>
                    <a:gd name="connsiteY21" fmla="*/ 25717 h 38874"/>
                    <a:gd name="connsiteX22" fmla="*/ 14414 w 17284"/>
                    <a:gd name="connsiteY22" fmla="*/ 26195 h 38874"/>
                    <a:gd name="connsiteX23" fmla="*/ 13995 w 17284"/>
                    <a:gd name="connsiteY23" fmla="*/ 27212 h 38874"/>
                    <a:gd name="connsiteX24" fmla="*/ 13158 w 17284"/>
                    <a:gd name="connsiteY24" fmla="*/ 29246 h 38874"/>
                    <a:gd name="connsiteX25" fmla="*/ 13098 w 17284"/>
                    <a:gd name="connsiteY25" fmla="*/ 29365 h 38874"/>
                    <a:gd name="connsiteX26" fmla="*/ 12261 w 17284"/>
                    <a:gd name="connsiteY26" fmla="*/ 31339 h 38874"/>
                    <a:gd name="connsiteX27" fmla="*/ 12081 w 17284"/>
                    <a:gd name="connsiteY27" fmla="*/ 31817 h 38874"/>
                    <a:gd name="connsiteX28" fmla="*/ 11364 w 17284"/>
                    <a:gd name="connsiteY28" fmla="*/ 33492 h 38874"/>
                    <a:gd name="connsiteX29" fmla="*/ 10466 w 17284"/>
                    <a:gd name="connsiteY29" fmla="*/ 34509 h 38874"/>
                    <a:gd name="connsiteX30" fmla="*/ 6459 w 17284"/>
                    <a:gd name="connsiteY30" fmla="*/ 38875 h 38874"/>
                    <a:gd name="connsiteX31" fmla="*/ 6280 w 17284"/>
                    <a:gd name="connsiteY31" fmla="*/ 38815 h 38874"/>
                    <a:gd name="connsiteX32" fmla="*/ 5203 w 17284"/>
                    <a:gd name="connsiteY32" fmla="*/ 38456 h 38874"/>
                    <a:gd name="connsiteX33" fmla="*/ 4426 w 17284"/>
                    <a:gd name="connsiteY33" fmla="*/ 37978 h 3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284" h="38874">
                      <a:moveTo>
                        <a:pt x="0" y="0"/>
                      </a:moveTo>
                      <a:lnTo>
                        <a:pt x="5203" y="3947"/>
                      </a:lnTo>
                      <a:lnTo>
                        <a:pt x="5383" y="4067"/>
                      </a:lnTo>
                      <a:lnTo>
                        <a:pt x="10825" y="10227"/>
                      </a:lnTo>
                      <a:lnTo>
                        <a:pt x="12141" y="11722"/>
                      </a:lnTo>
                      <a:lnTo>
                        <a:pt x="12321" y="11961"/>
                      </a:lnTo>
                      <a:lnTo>
                        <a:pt x="12679" y="12320"/>
                      </a:lnTo>
                      <a:lnTo>
                        <a:pt x="14055" y="14413"/>
                      </a:lnTo>
                      <a:lnTo>
                        <a:pt x="14055" y="14473"/>
                      </a:lnTo>
                      <a:lnTo>
                        <a:pt x="16029" y="17404"/>
                      </a:lnTo>
                      <a:lnTo>
                        <a:pt x="17284" y="19318"/>
                      </a:lnTo>
                      <a:lnTo>
                        <a:pt x="16925" y="20215"/>
                      </a:lnTo>
                      <a:lnTo>
                        <a:pt x="16507" y="21172"/>
                      </a:lnTo>
                      <a:lnTo>
                        <a:pt x="16447" y="21291"/>
                      </a:lnTo>
                      <a:lnTo>
                        <a:pt x="15072" y="24581"/>
                      </a:lnTo>
                      <a:lnTo>
                        <a:pt x="14892" y="24999"/>
                      </a:lnTo>
                      <a:lnTo>
                        <a:pt x="14832" y="25119"/>
                      </a:lnTo>
                      <a:lnTo>
                        <a:pt x="14772" y="25298"/>
                      </a:lnTo>
                      <a:lnTo>
                        <a:pt x="14772" y="25298"/>
                      </a:lnTo>
                      <a:lnTo>
                        <a:pt x="14712" y="25418"/>
                      </a:lnTo>
                      <a:lnTo>
                        <a:pt x="14653" y="25538"/>
                      </a:lnTo>
                      <a:lnTo>
                        <a:pt x="14593" y="25717"/>
                      </a:lnTo>
                      <a:lnTo>
                        <a:pt x="14414" y="26195"/>
                      </a:lnTo>
                      <a:lnTo>
                        <a:pt x="13995" y="27212"/>
                      </a:lnTo>
                      <a:lnTo>
                        <a:pt x="13158" y="29246"/>
                      </a:lnTo>
                      <a:lnTo>
                        <a:pt x="13098" y="29365"/>
                      </a:lnTo>
                      <a:lnTo>
                        <a:pt x="12261" y="31339"/>
                      </a:lnTo>
                      <a:lnTo>
                        <a:pt x="12081" y="31817"/>
                      </a:lnTo>
                      <a:lnTo>
                        <a:pt x="11364" y="33492"/>
                      </a:lnTo>
                      <a:lnTo>
                        <a:pt x="10466" y="34509"/>
                      </a:lnTo>
                      <a:lnTo>
                        <a:pt x="6459" y="38875"/>
                      </a:lnTo>
                      <a:lnTo>
                        <a:pt x="6280" y="38815"/>
                      </a:lnTo>
                      <a:lnTo>
                        <a:pt x="5203" y="38456"/>
                      </a:lnTo>
                      <a:lnTo>
                        <a:pt x="4426" y="37978"/>
                      </a:lnTo>
                    </a:path>
                  </a:pathLst>
                </a:custGeom>
                <a:noFill/>
                <a:ln w="6350" cap="rnd">
                  <a:solidFill>
                    <a:schemeClr val="bg1">
                      <a:alpha val="40000"/>
                    </a:schemeClr>
                  </a:solidFill>
                  <a:prstDash val="solid"/>
                  <a:round/>
                </a:ln>
              </p:spPr>
              <p:txBody>
                <a:bodyPr rtlCol="0" anchor="ctr"/>
                <a:lstStyle/>
                <a:p>
                  <a:endParaRPr lang="en-GB"/>
                </a:p>
              </p:txBody>
            </p:sp>
            <p:sp>
              <p:nvSpPr>
                <p:cNvPr id="6786" name="Vrije vorm: vorm 6785">
                  <a:extLst>
                    <a:ext uri="{FF2B5EF4-FFF2-40B4-BE49-F238E27FC236}">
                      <a16:creationId xmlns:a16="http://schemas.microsoft.com/office/drawing/2014/main" id="{47275E8A-D639-4F37-AF45-D39328E177C6}"/>
                    </a:ext>
                  </a:extLst>
                </p:cNvPr>
                <p:cNvSpPr/>
                <p:nvPr/>
              </p:nvSpPr>
              <p:spPr>
                <a:xfrm>
                  <a:off x="7080716" y="1936358"/>
                  <a:ext cx="20155" cy="46051"/>
                </a:xfrm>
                <a:custGeom>
                  <a:avLst/>
                  <a:gdLst>
                    <a:gd name="connsiteX0" fmla="*/ 0 w 20155"/>
                    <a:gd name="connsiteY0" fmla="*/ 0 h 46051"/>
                    <a:gd name="connsiteX1" fmla="*/ 239 w 20155"/>
                    <a:gd name="connsiteY1" fmla="*/ 179 h 46051"/>
                    <a:gd name="connsiteX2" fmla="*/ 718 w 20155"/>
                    <a:gd name="connsiteY2" fmla="*/ 538 h 46051"/>
                    <a:gd name="connsiteX3" fmla="*/ 1256 w 20155"/>
                    <a:gd name="connsiteY3" fmla="*/ 1017 h 46051"/>
                    <a:gd name="connsiteX4" fmla="*/ 2034 w 20155"/>
                    <a:gd name="connsiteY4" fmla="*/ 1675 h 46051"/>
                    <a:gd name="connsiteX5" fmla="*/ 4665 w 20155"/>
                    <a:gd name="connsiteY5" fmla="*/ 3888 h 46051"/>
                    <a:gd name="connsiteX6" fmla="*/ 5861 w 20155"/>
                    <a:gd name="connsiteY6" fmla="*/ 5323 h 46051"/>
                    <a:gd name="connsiteX7" fmla="*/ 6160 w 20155"/>
                    <a:gd name="connsiteY7" fmla="*/ 5682 h 46051"/>
                    <a:gd name="connsiteX8" fmla="*/ 6520 w 20155"/>
                    <a:gd name="connsiteY8" fmla="*/ 6100 h 46051"/>
                    <a:gd name="connsiteX9" fmla="*/ 6579 w 20155"/>
                    <a:gd name="connsiteY9" fmla="*/ 6160 h 46051"/>
                    <a:gd name="connsiteX10" fmla="*/ 6938 w 20155"/>
                    <a:gd name="connsiteY10" fmla="*/ 6579 h 46051"/>
                    <a:gd name="connsiteX11" fmla="*/ 6998 w 20155"/>
                    <a:gd name="connsiteY11" fmla="*/ 6698 h 46051"/>
                    <a:gd name="connsiteX12" fmla="*/ 9928 w 20155"/>
                    <a:gd name="connsiteY12" fmla="*/ 10227 h 46051"/>
                    <a:gd name="connsiteX13" fmla="*/ 10406 w 20155"/>
                    <a:gd name="connsiteY13" fmla="*/ 10765 h 46051"/>
                    <a:gd name="connsiteX14" fmla="*/ 10526 w 20155"/>
                    <a:gd name="connsiteY14" fmla="*/ 11005 h 46051"/>
                    <a:gd name="connsiteX15" fmla="*/ 14713 w 20155"/>
                    <a:gd name="connsiteY15" fmla="*/ 17524 h 46051"/>
                    <a:gd name="connsiteX16" fmla="*/ 15012 w 20155"/>
                    <a:gd name="connsiteY16" fmla="*/ 18002 h 46051"/>
                    <a:gd name="connsiteX17" fmla="*/ 15012 w 20155"/>
                    <a:gd name="connsiteY17" fmla="*/ 18002 h 46051"/>
                    <a:gd name="connsiteX18" fmla="*/ 15969 w 20155"/>
                    <a:gd name="connsiteY18" fmla="*/ 19497 h 46051"/>
                    <a:gd name="connsiteX19" fmla="*/ 16806 w 20155"/>
                    <a:gd name="connsiteY19" fmla="*/ 21172 h 46051"/>
                    <a:gd name="connsiteX20" fmla="*/ 17524 w 20155"/>
                    <a:gd name="connsiteY20" fmla="*/ 22667 h 46051"/>
                    <a:gd name="connsiteX21" fmla="*/ 17584 w 20155"/>
                    <a:gd name="connsiteY21" fmla="*/ 22727 h 46051"/>
                    <a:gd name="connsiteX22" fmla="*/ 18720 w 20155"/>
                    <a:gd name="connsiteY22" fmla="*/ 25119 h 46051"/>
                    <a:gd name="connsiteX23" fmla="*/ 18780 w 20155"/>
                    <a:gd name="connsiteY23" fmla="*/ 25179 h 46051"/>
                    <a:gd name="connsiteX24" fmla="*/ 19258 w 20155"/>
                    <a:gd name="connsiteY24" fmla="*/ 26136 h 46051"/>
                    <a:gd name="connsiteX25" fmla="*/ 20155 w 20155"/>
                    <a:gd name="connsiteY25" fmla="*/ 28588 h 46051"/>
                    <a:gd name="connsiteX26" fmla="*/ 18301 w 20155"/>
                    <a:gd name="connsiteY26" fmla="*/ 31937 h 46051"/>
                    <a:gd name="connsiteX27" fmla="*/ 16267 w 20155"/>
                    <a:gd name="connsiteY27" fmla="*/ 35705 h 46051"/>
                    <a:gd name="connsiteX28" fmla="*/ 15371 w 20155"/>
                    <a:gd name="connsiteY28" fmla="*/ 37380 h 46051"/>
                    <a:gd name="connsiteX29" fmla="*/ 14772 w 20155"/>
                    <a:gd name="connsiteY29" fmla="*/ 38516 h 46051"/>
                    <a:gd name="connsiteX30" fmla="*/ 12739 w 20155"/>
                    <a:gd name="connsiteY30" fmla="*/ 42224 h 46051"/>
                    <a:gd name="connsiteX31" fmla="*/ 12679 w 20155"/>
                    <a:gd name="connsiteY31" fmla="*/ 42344 h 46051"/>
                    <a:gd name="connsiteX32" fmla="*/ 12141 w 20155"/>
                    <a:gd name="connsiteY32" fmla="*/ 42822 h 46051"/>
                    <a:gd name="connsiteX33" fmla="*/ 9808 w 20155"/>
                    <a:gd name="connsiteY33" fmla="*/ 44736 h 46051"/>
                    <a:gd name="connsiteX34" fmla="*/ 8194 w 20155"/>
                    <a:gd name="connsiteY34" fmla="*/ 46052 h 46051"/>
                    <a:gd name="connsiteX35" fmla="*/ 7416 w 20155"/>
                    <a:gd name="connsiteY35" fmla="*/ 45573 h 4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155" h="46051">
                      <a:moveTo>
                        <a:pt x="0" y="0"/>
                      </a:moveTo>
                      <a:lnTo>
                        <a:pt x="239" y="179"/>
                      </a:lnTo>
                      <a:lnTo>
                        <a:pt x="718" y="538"/>
                      </a:lnTo>
                      <a:lnTo>
                        <a:pt x="1256" y="1017"/>
                      </a:lnTo>
                      <a:lnTo>
                        <a:pt x="2034" y="1675"/>
                      </a:lnTo>
                      <a:lnTo>
                        <a:pt x="4665" y="3888"/>
                      </a:lnTo>
                      <a:lnTo>
                        <a:pt x="5861" y="5323"/>
                      </a:lnTo>
                      <a:lnTo>
                        <a:pt x="6160" y="5682"/>
                      </a:lnTo>
                      <a:lnTo>
                        <a:pt x="6520" y="6100"/>
                      </a:lnTo>
                      <a:lnTo>
                        <a:pt x="6579" y="6160"/>
                      </a:lnTo>
                      <a:lnTo>
                        <a:pt x="6938" y="6579"/>
                      </a:lnTo>
                      <a:lnTo>
                        <a:pt x="6998" y="6698"/>
                      </a:lnTo>
                      <a:lnTo>
                        <a:pt x="9928" y="10227"/>
                      </a:lnTo>
                      <a:lnTo>
                        <a:pt x="10406" y="10765"/>
                      </a:lnTo>
                      <a:lnTo>
                        <a:pt x="10526" y="11005"/>
                      </a:lnTo>
                      <a:lnTo>
                        <a:pt x="14713" y="17524"/>
                      </a:lnTo>
                      <a:lnTo>
                        <a:pt x="15012" y="18002"/>
                      </a:lnTo>
                      <a:lnTo>
                        <a:pt x="15012" y="18002"/>
                      </a:lnTo>
                      <a:lnTo>
                        <a:pt x="15969" y="19497"/>
                      </a:lnTo>
                      <a:lnTo>
                        <a:pt x="16806" y="21172"/>
                      </a:lnTo>
                      <a:lnTo>
                        <a:pt x="17524" y="22667"/>
                      </a:lnTo>
                      <a:lnTo>
                        <a:pt x="17584" y="22727"/>
                      </a:lnTo>
                      <a:lnTo>
                        <a:pt x="18720" y="25119"/>
                      </a:lnTo>
                      <a:lnTo>
                        <a:pt x="18780" y="25179"/>
                      </a:lnTo>
                      <a:lnTo>
                        <a:pt x="19258" y="26136"/>
                      </a:lnTo>
                      <a:lnTo>
                        <a:pt x="20155" y="28588"/>
                      </a:lnTo>
                      <a:lnTo>
                        <a:pt x="18301" y="31937"/>
                      </a:lnTo>
                      <a:lnTo>
                        <a:pt x="16267" y="35705"/>
                      </a:lnTo>
                      <a:lnTo>
                        <a:pt x="15371" y="37380"/>
                      </a:lnTo>
                      <a:lnTo>
                        <a:pt x="14772" y="38516"/>
                      </a:lnTo>
                      <a:lnTo>
                        <a:pt x="12739" y="42224"/>
                      </a:lnTo>
                      <a:lnTo>
                        <a:pt x="12679" y="42344"/>
                      </a:lnTo>
                      <a:lnTo>
                        <a:pt x="12141" y="42822"/>
                      </a:lnTo>
                      <a:lnTo>
                        <a:pt x="9808" y="44736"/>
                      </a:lnTo>
                      <a:lnTo>
                        <a:pt x="8194" y="46052"/>
                      </a:lnTo>
                      <a:lnTo>
                        <a:pt x="7416" y="45573"/>
                      </a:lnTo>
                    </a:path>
                  </a:pathLst>
                </a:custGeom>
                <a:noFill/>
                <a:ln w="6350" cap="rnd">
                  <a:solidFill>
                    <a:schemeClr val="bg1">
                      <a:alpha val="40000"/>
                    </a:schemeClr>
                  </a:solidFill>
                  <a:prstDash val="solid"/>
                  <a:round/>
                </a:ln>
              </p:spPr>
              <p:txBody>
                <a:bodyPr rtlCol="0" anchor="ctr"/>
                <a:lstStyle/>
                <a:p>
                  <a:endParaRPr lang="en-GB"/>
                </a:p>
              </p:txBody>
            </p:sp>
            <p:sp>
              <p:nvSpPr>
                <p:cNvPr id="6787" name="Vrije vorm: vorm 6786">
                  <a:extLst>
                    <a:ext uri="{FF2B5EF4-FFF2-40B4-BE49-F238E27FC236}">
                      <a16:creationId xmlns:a16="http://schemas.microsoft.com/office/drawing/2014/main" id="{6E03E10A-F4DE-4E7A-8B39-9C00E2815050}"/>
                    </a:ext>
                  </a:extLst>
                </p:cNvPr>
                <p:cNvSpPr/>
                <p:nvPr/>
              </p:nvSpPr>
              <p:spPr>
                <a:xfrm>
                  <a:off x="7077665" y="2012912"/>
                  <a:ext cx="12200" cy="19018"/>
                </a:xfrm>
                <a:custGeom>
                  <a:avLst/>
                  <a:gdLst>
                    <a:gd name="connsiteX0" fmla="*/ 10048 w 12200"/>
                    <a:gd name="connsiteY0" fmla="*/ 0 h 19018"/>
                    <a:gd name="connsiteX1" fmla="*/ 10287 w 12200"/>
                    <a:gd name="connsiteY1" fmla="*/ 718 h 19018"/>
                    <a:gd name="connsiteX2" fmla="*/ 12201 w 12200"/>
                    <a:gd name="connsiteY2" fmla="*/ 6818 h 19018"/>
                    <a:gd name="connsiteX3" fmla="*/ 9510 w 12200"/>
                    <a:gd name="connsiteY3" fmla="*/ 12619 h 19018"/>
                    <a:gd name="connsiteX4" fmla="*/ 2273 w 12200"/>
                    <a:gd name="connsiteY4" fmla="*/ 19019 h 19018"/>
                    <a:gd name="connsiteX5" fmla="*/ 2153 w 12200"/>
                    <a:gd name="connsiteY5" fmla="*/ 18899 h 19018"/>
                    <a:gd name="connsiteX6" fmla="*/ 0 w 12200"/>
                    <a:gd name="connsiteY6" fmla="*/ 16268 h 1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0" h="19018">
                      <a:moveTo>
                        <a:pt x="10048" y="0"/>
                      </a:moveTo>
                      <a:lnTo>
                        <a:pt x="10287" y="718"/>
                      </a:lnTo>
                      <a:lnTo>
                        <a:pt x="12201" y="6818"/>
                      </a:lnTo>
                      <a:lnTo>
                        <a:pt x="9510" y="12619"/>
                      </a:lnTo>
                      <a:lnTo>
                        <a:pt x="2273" y="19019"/>
                      </a:lnTo>
                      <a:lnTo>
                        <a:pt x="2153" y="18899"/>
                      </a:lnTo>
                      <a:lnTo>
                        <a:pt x="0" y="16268"/>
                      </a:lnTo>
                    </a:path>
                  </a:pathLst>
                </a:custGeom>
                <a:noFill/>
                <a:ln w="6350" cap="rnd">
                  <a:solidFill>
                    <a:schemeClr val="bg1">
                      <a:alpha val="40000"/>
                    </a:schemeClr>
                  </a:solidFill>
                  <a:prstDash val="solid"/>
                  <a:round/>
                </a:ln>
              </p:spPr>
              <p:txBody>
                <a:bodyPr rtlCol="0" anchor="ctr"/>
                <a:lstStyle/>
                <a:p>
                  <a:endParaRPr lang="en-GB"/>
                </a:p>
              </p:txBody>
            </p:sp>
            <p:sp>
              <p:nvSpPr>
                <p:cNvPr id="6788" name="Vrije vorm: vorm 6787">
                  <a:extLst>
                    <a:ext uri="{FF2B5EF4-FFF2-40B4-BE49-F238E27FC236}">
                      <a16:creationId xmlns:a16="http://schemas.microsoft.com/office/drawing/2014/main" id="{3CA38058-253A-4FF7-8FDB-91374A35A560}"/>
                    </a:ext>
                  </a:extLst>
                </p:cNvPr>
                <p:cNvSpPr/>
                <p:nvPr/>
              </p:nvSpPr>
              <p:spPr>
                <a:xfrm>
                  <a:off x="6964690" y="2046404"/>
                  <a:ext cx="24341" cy="7176"/>
                </a:xfrm>
                <a:custGeom>
                  <a:avLst/>
                  <a:gdLst>
                    <a:gd name="connsiteX0" fmla="*/ 24342 w 24341"/>
                    <a:gd name="connsiteY0" fmla="*/ 0 h 7176"/>
                    <a:gd name="connsiteX1" fmla="*/ 24222 w 24341"/>
                    <a:gd name="connsiteY1" fmla="*/ 0 h 7176"/>
                    <a:gd name="connsiteX2" fmla="*/ 20036 w 24341"/>
                    <a:gd name="connsiteY2" fmla="*/ 897 h 7176"/>
                    <a:gd name="connsiteX3" fmla="*/ 19797 w 24341"/>
                    <a:gd name="connsiteY3" fmla="*/ 957 h 7176"/>
                    <a:gd name="connsiteX4" fmla="*/ 14294 w 24341"/>
                    <a:gd name="connsiteY4" fmla="*/ 2153 h 7176"/>
                    <a:gd name="connsiteX5" fmla="*/ 11244 w 24341"/>
                    <a:gd name="connsiteY5" fmla="*/ 3230 h 7176"/>
                    <a:gd name="connsiteX6" fmla="*/ 11184 w 24341"/>
                    <a:gd name="connsiteY6" fmla="*/ 3230 h 7176"/>
                    <a:gd name="connsiteX7" fmla="*/ 8912 w 24341"/>
                    <a:gd name="connsiteY7" fmla="*/ 4007 h 7176"/>
                    <a:gd name="connsiteX8" fmla="*/ 8493 w 24341"/>
                    <a:gd name="connsiteY8" fmla="*/ 4186 h 7176"/>
                    <a:gd name="connsiteX9" fmla="*/ 6938 w 24341"/>
                    <a:gd name="connsiteY9" fmla="*/ 4725 h 7176"/>
                    <a:gd name="connsiteX10" fmla="*/ 6579 w 24341"/>
                    <a:gd name="connsiteY10" fmla="*/ 4844 h 7176"/>
                    <a:gd name="connsiteX11" fmla="*/ 5682 w 24341"/>
                    <a:gd name="connsiteY11" fmla="*/ 5143 h 7176"/>
                    <a:gd name="connsiteX12" fmla="*/ 3828 w 24341"/>
                    <a:gd name="connsiteY12" fmla="*/ 5801 h 7176"/>
                    <a:gd name="connsiteX13" fmla="*/ 2632 w 24341"/>
                    <a:gd name="connsiteY13" fmla="*/ 6220 h 7176"/>
                    <a:gd name="connsiteX14" fmla="*/ 1914 w 24341"/>
                    <a:gd name="connsiteY14" fmla="*/ 6459 h 7176"/>
                    <a:gd name="connsiteX15" fmla="*/ 837 w 24341"/>
                    <a:gd name="connsiteY15" fmla="*/ 6818 h 7176"/>
                    <a:gd name="connsiteX16" fmla="*/ 0 w 24341"/>
                    <a:gd name="connsiteY16" fmla="*/ 7177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341" h="7176">
                      <a:moveTo>
                        <a:pt x="24342" y="0"/>
                      </a:moveTo>
                      <a:lnTo>
                        <a:pt x="24222" y="0"/>
                      </a:lnTo>
                      <a:lnTo>
                        <a:pt x="20036" y="897"/>
                      </a:lnTo>
                      <a:lnTo>
                        <a:pt x="19797" y="957"/>
                      </a:lnTo>
                      <a:lnTo>
                        <a:pt x="14294" y="2153"/>
                      </a:lnTo>
                      <a:lnTo>
                        <a:pt x="11244" y="3230"/>
                      </a:lnTo>
                      <a:lnTo>
                        <a:pt x="11184" y="3230"/>
                      </a:lnTo>
                      <a:lnTo>
                        <a:pt x="8912" y="4007"/>
                      </a:lnTo>
                      <a:lnTo>
                        <a:pt x="8493" y="4186"/>
                      </a:lnTo>
                      <a:lnTo>
                        <a:pt x="6938" y="4725"/>
                      </a:lnTo>
                      <a:lnTo>
                        <a:pt x="6579" y="4844"/>
                      </a:lnTo>
                      <a:lnTo>
                        <a:pt x="5682" y="5143"/>
                      </a:lnTo>
                      <a:lnTo>
                        <a:pt x="3828" y="5801"/>
                      </a:lnTo>
                      <a:lnTo>
                        <a:pt x="2632" y="6220"/>
                      </a:lnTo>
                      <a:lnTo>
                        <a:pt x="1914" y="6459"/>
                      </a:lnTo>
                      <a:lnTo>
                        <a:pt x="837" y="6818"/>
                      </a:lnTo>
                      <a:lnTo>
                        <a:pt x="0" y="7177"/>
                      </a:lnTo>
                    </a:path>
                  </a:pathLst>
                </a:custGeom>
                <a:noFill/>
                <a:ln w="6350" cap="rnd">
                  <a:solidFill>
                    <a:schemeClr val="bg1">
                      <a:alpha val="40000"/>
                    </a:schemeClr>
                  </a:solidFill>
                  <a:prstDash val="solid"/>
                  <a:round/>
                </a:ln>
              </p:spPr>
              <p:txBody>
                <a:bodyPr rtlCol="0" anchor="ctr"/>
                <a:lstStyle/>
                <a:p>
                  <a:endParaRPr lang="en-GB"/>
                </a:p>
              </p:txBody>
            </p:sp>
            <p:sp>
              <p:nvSpPr>
                <p:cNvPr id="6789" name="Vrije vorm: vorm 6788">
                  <a:extLst>
                    <a:ext uri="{FF2B5EF4-FFF2-40B4-BE49-F238E27FC236}">
                      <a16:creationId xmlns:a16="http://schemas.microsoft.com/office/drawing/2014/main" id="{EA5F0E0E-DFDC-4196-828F-3043E64B9508}"/>
                    </a:ext>
                  </a:extLst>
                </p:cNvPr>
                <p:cNvSpPr/>
                <p:nvPr/>
              </p:nvSpPr>
              <p:spPr>
                <a:xfrm>
                  <a:off x="7053444" y="2065722"/>
                  <a:ext cx="7774" cy="11303"/>
                </a:xfrm>
                <a:custGeom>
                  <a:avLst/>
                  <a:gdLst>
                    <a:gd name="connsiteX0" fmla="*/ 7117 w 7774"/>
                    <a:gd name="connsiteY0" fmla="*/ 0 h 11303"/>
                    <a:gd name="connsiteX1" fmla="*/ 7236 w 7774"/>
                    <a:gd name="connsiteY1" fmla="*/ 179 h 11303"/>
                    <a:gd name="connsiteX2" fmla="*/ 7775 w 7774"/>
                    <a:gd name="connsiteY2" fmla="*/ 5682 h 11303"/>
                    <a:gd name="connsiteX3" fmla="*/ 3708 w 7774"/>
                    <a:gd name="connsiteY3" fmla="*/ 11304 h 11303"/>
                    <a:gd name="connsiteX4" fmla="*/ 120 w 7774"/>
                    <a:gd name="connsiteY4" fmla="*/ 10107 h 11303"/>
                    <a:gd name="connsiteX5" fmla="*/ 0 w 7774"/>
                    <a:gd name="connsiteY5" fmla="*/ 9868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 h="11303">
                      <a:moveTo>
                        <a:pt x="7117" y="0"/>
                      </a:moveTo>
                      <a:lnTo>
                        <a:pt x="7236" y="179"/>
                      </a:lnTo>
                      <a:lnTo>
                        <a:pt x="7775" y="5682"/>
                      </a:lnTo>
                      <a:lnTo>
                        <a:pt x="3708" y="11304"/>
                      </a:lnTo>
                      <a:lnTo>
                        <a:pt x="120" y="10107"/>
                      </a:lnTo>
                      <a:lnTo>
                        <a:pt x="0" y="9868"/>
                      </a:lnTo>
                    </a:path>
                  </a:pathLst>
                </a:custGeom>
                <a:noFill/>
                <a:ln w="6350" cap="rnd">
                  <a:solidFill>
                    <a:schemeClr val="bg1">
                      <a:alpha val="40000"/>
                    </a:schemeClr>
                  </a:solidFill>
                  <a:prstDash val="solid"/>
                  <a:round/>
                </a:ln>
              </p:spPr>
              <p:txBody>
                <a:bodyPr rtlCol="0" anchor="ctr"/>
                <a:lstStyle/>
                <a:p>
                  <a:endParaRPr lang="en-GB"/>
                </a:p>
              </p:txBody>
            </p:sp>
            <p:sp>
              <p:nvSpPr>
                <p:cNvPr id="6790" name="Vrije vorm: vorm 6789">
                  <a:extLst>
                    <a:ext uri="{FF2B5EF4-FFF2-40B4-BE49-F238E27FC236}">
                      <a16:creationId xmlns:a16="http://schemas.microsoft.com/office/drawing/2014/main" id="{55A614DD-6ECF-41B2-B257-A8BC55406887}"/>
                    </a:ext>
                  </a:extLst>
                </p:cNvPr>
                <p:cNvSpPr/>
                <p:nvPr/>
              </p:nvSpPr>
              <p:spPr>
                <a:xfrm>
                  <a:off x="6784491" y="2003103"/>
                  <a:ext cx="5322" cy="1554"/>
                </a:xfrm>
                <a:custGeom>
                  <a:avLst/>
                  <a:gdLst>
                    <a:gd name="connsiteX0" fmla="*/ 0 w 5322"/>
                    <a:gd name="connsiteY0" fmla="*/ 0 h 1554"/>
                    <a:gd name="connsiteX1" fmla="*/ 2392 w 5322"/>
                    <a:gd name="connsiteY1" fmla="*/ 1316 h 1554"/>
                    <a:gd name="connsiteX2" fmla="*/ 2512 w 5322"/>
                    <a:gd name="connsiteY2" fmla="*/ 1316 h 1554"/>
                    <a:gd name="connsiteX3" fmla="*/ 5323 w 5322"/>
                    <a:gd name="connsiteY3" fmla="*/ 1555 h 1554"/>
                  </a:gdLst>
                  <a:ahLst/>
                  <a:cxnLst>
                    <a:cxn ang="0">
                      <a:pos x="connsiteX0" y="connsiteY0"/>
                    </a:cxn>
                    <a:cxn ang="0">
                      <a:pos x="connsiteX1" y="connsiteY1"/>
                    </a:cxn>
                    <a:cxn ang="0">
                      <a:pos x="connsiteX2" y="connsiteY2"/>
                    </a:cxn>
                    <a:cxn ang="0">
                      <a:pos x="connsiteX3" y="connsiteY3"/>
                    </a:cxn>
                  </a:cxnLst>
                  <a:rect l="l" t="t" r="r" b="b"/>
                  <a:pathLst>
                    <a:path w="5322" h="1554">
                      <a:moveTo>
                        <a:pt x="0" y="0"/>
                      </a:moveTo>
                      <a:lnTo>
                        <a:pt x="2392" y="1316"/>
                      </a:lnTo>
                      <a:lnTo>
                        <a:pt x="2512" y="1316"/>
                      </a:lnTo>
                      <a:lnTo>
                        <a:pt x="5323" y="1555"/>
                      </a:lnTo>
                    </a:path>
                  </a:pathLst>
                </a:custGeom>
                <a:noFill/>
                <a:ln w="6350" cap="rnd">
                  <a:solidFill>
                    <a:schemeClr val="bg1">
                      <a:alpha val="40000"/>
                    </a:schemeClr>
                  </a:solidFill>
                  <a:prstDash val="solid"/>
                  <a:round/>
                </a:ln>
              </p:spPr>
              <p:txBody>
                <a:bodyPr rtlCol="0" anchor="ctr"/>
                <a:lstStyle/>
                <a:p>
                  <a:endParaRPr lang="en-GB"/>
                </a:p>
              </p:txBody>
            </p:sp>
            <p:sp>
              <p:nvSpPr>
                <p:cNvPr id="6791" name="Vrije vorm: vorm 6790">
                  <a:extLst>
                    <a:ext uri="{FF2B5EF4-FFF2-40B4-BE49-F238E27FC236}">
                      <a16:creationId xmlns:a16="http://schemas.microsoft.com/office/drawing/2014/main" id="{6453E375-63D6-4CA8-85EC-59BD7B2AF1C0}"/>
                    </a:ext>
                  </a:extLst>
                </p:cNvPr>
                <p:cNvSpPr/>
                <p:nvPr/>
              </p:nvSpPr>
              <p:spPr>
                <a:xfrm>
                  <a:off x="6949798" y="2120026"/>
                  <a:ext cx="1136" cy="418"/>
                </a:xfrm>
                <a:custGeom>
                  <a:avLst/>
                  <a:gdLst>
                    <a:gd name="connsiteX0" fmla="*/ 1137 w 1136"/>
                    <a:gd name="connsiteY0" fmla="*/ 120 h 418"/>
                    <a:gd name="connsiteX1" fmla="*/ 897 w 1136"/>
                    <a:gd name="connsiteY1" fmla="*/ 419 h 418"/>
                    <a:gd name="connsiteX2" fmla="*/ 479 w 1136"/>
                    <a:gd name="connsiteY2" fmla="*/ 299 h 418"/>
                    <a:gd name="connsiteX3" fmla="*/ 0 w 1136"/>
                    <a:gd name="connsiteY3" fmla="*/ 0 h 418"/>
                  </a:gdLst>
                  <a:ahLst/>
                  <a:cxnLst>
                    <a:cxn ang="0">
                      <a:pos x="connsiteX0" y="connsiteY0"/>
                    </a:cxn>
                    <a:cxn ang="0">
                      <a:pos x="connsiteX1" y="connsiteY1"/>
                    </a:cxn>
                    <a:cxn ang="0">
                      <a:pos x="connsiteX2" y="connsiteY2"/>
                    </a:cxn>
                    <a:cxn ang="0">
                      <a:pos x="connsiteX3" y="connsiteY3"/>
                    </a:cxn>
                  </a:cxnLst>
                  <a:rect l="l" t="t" r="r" b="b"/>
                  <a:pathLst>
                    <a:path w="1136" h="418">
                      <a:moveTo>
                        <a:pt x="1137" y="120"/>
                      </a:moveTo>
                      <a:lnTo>
                        <a:pt x="897" y="419"/>
                      </a:lnTo>
                      <a:lnTo>
                        <a:pt x="479" y="29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92" name="Vrije vorm: vorm 6791">
                  <a:extLst>
                    <a:ext uri="{FF2B5EF4-FFF2-40B4-BE49-F238E27FC236}">
                      <a16:creationId xmlns:a16="http://schemas.microsoft.com/office/drawing/2014/main" id="{BFE233AA-C97B-442B-8AE8-095BC2405BA3}"/>
                    </a:ext>
                  </a:extLst>
                </p:cNvPr>
                <p:cNvSpPr/>
                <p:nvPr/>
              </p:nvSpPr>
              <p:spPr>
                <a:xfrm>
                  <a:off x="6915768" y="2069250"/>
                  <a:ext cx="29963" cy="43479"/>
                </a:xfrm>
                <a:custGeom>
                  <a:avLst/>
                  <a:gdLst>
                    <a:gd name="connsiteX0" fmla="*/ 29963 w 29963"/>
                    <a:gd name="connsiteY0" fmla="*/ 39891 h 43479"/>
                    <a:gd name="connsiteX1" fmla="*/ 29006 w 29963"/>
                    <a:gd name="connsiteY1" fmla="*/ 40729 h 43479"/>
                    <a:gd name="connsiteX2" fmla="*/ 28887 w 29963"/>
                    <a:gd name="connsiteY2" fmla="*/ 40848 h 43479"/>
                    <a:gd name="connsiteX3" fmla="*/ 28707 w 29963"/>
                    <a:gd name="connsiteY3" fmla="*/ 41028 h 43479"/>
                    <a:gd name="connsiteX4" fmla="*/ 28229 w 29963"/>
                    <a:gd name="connsiteY4" fmla="*/ 41446 h 43479"/>
                    <a:gd name="connsiteX5" fmla="*/ 26315 w 29963"/>
                    <a:gd name="connsiteY5" fmla="*/ 43121 h 43479"/>
                    <a:gd name="connsiteX6" fmla="*/ 25598 w 29963"/>
                    <a:gd name="connsiteY6" fmla="*/ 43480 h 43479"/>
                    <a:gd name="connsiteX7" fmla="*/ 23624 w 29963"/>
                    <a:gd name="connsiteY7" fmla="*/ 42344 h 43479"/>
                    <a:gd name="connsiteX8" fmla="*/ 17045 w 29963"/>
                    <a:gd name="connsiteY8" fmla="*/ 34389 h 43479"/>
                    <a:gd name="connsiteX9" fmla="*/ 9449 w 29963"/>
                    <a:gd name="connsiteY9" fmla="*/ 22547 h 43479"/>
                    <a:gd name="connsiteX10" fmla="*/ 5263 w 29963"/>
                    <a:gd name="connsiteY10" fmla="*/ 13815 h 43479"/>
                    <a:gd name="connsiteX11" fmla="*/ 2213 w 29963"/>
                    <a:gd name="connsiteY11" fmla="*/ 6340 h 43479"/>
                    <a:gd name="connsiteX12" fmla="*/ 1196 w 29963"/>
                    <a:gd name="connsiteY12" fmla="*/ 3828 h 43479"/>
                    <a:gd name="connsiteX13" fmla="*/ 0 w 29963"/>
                    <a:gd name="connsiteY13" fmla="*/ 0 h 43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963" h="43479">
                      <a:moveTo>
                        <a:pt x="29963" y="39891"/>
                      </a:moveTo>
                      <a:lnTo>
                        <a:pt x="29006" y="40729"/>
                      </a:lnTo>
                      <a:lnTo>
                        <a:pt x="28887" y="40848"/>
                      </a:lnTo>
                      <a:lnTo>
                        <a:pt x="28707" y="41028"/>
                      </a:lnTo>
                      <a:lnTo>
                        <a:pt x="28229" y="41446"/>
                      </a:lnTo>
                      <a:lnTo>
                        <a:pt x="26315" y="43121"/>
                      </a:lnTo>
                      <a:lnTo>
                        <a:pt x="25598" y="43480"/>
                      </a:lnTo>
                      <a:lnTo>
                        <a:pt x="23624" y="42344"/>
                      </a:lnTo>
                      <a:lnTo>
                        <a:pt x="17045" y="34389"/>
                      </a:lnTo>
                      <a:lnTo>
                        <a:pt x="9449" y="22547"/>
                      </a:lnTo>
                      <a:lnTo>
                        <a:pt x="5263" y="13815"/>
                      </a:lnTo>
                      <a:lnTo>
                        <a:pt x="2213" y="6340"/>
                      </a:lnTo>
                      <a:lnTo>
                        <a:pt x="1196" y="382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793" name="Vrije vorm: vorm 6792">
                  <a:extLst>
                    <a:ext uri="{FF2B5EF4-FFF2-40B4-BE49-F238E27FC236}">
                      <a16:creationId xmlns:a16="http://schemas.microsoft.com/office/drawing/2014/main" id="{EC6CC81E-C897-42DC-9EE2-EA2826C09CF6}"/>
                    </a:ext>
                  </a:extLst>
                </p:cNvPr>
                <p:cNvSpPr/>
                <p:nvPr/>
              </p:nvSpPr>
              <p:spPr>
                <a:xfrm>
                  <a:off x="6771393" y="1984204"/>
                  <a:ext cx="1555" cy="777"/>
                </a:xfrm>
                <a:custGeom>
                  <a:avLst/>
                  <a:gdLst>
                    <a:gd name="connsiteX0" fmla="*/ 1555 w 1555"/>
                    <a:gd name="connsiteY0" fmla="*/ 0 h 777"/>
                    <a:gd name="connsiteX1" fmla="*/ 180 w 1555"/>
                    <a:gd name="connsiteY1" fmla="*/ 778 h 777"/>
                    <a:gd name="connsiteX2" fmla="*/ 0 w 1555"/>
                    <a:gd name="connsiteY2" fmla="*/ 598 h 777"/>
                  </a:gdLst>
                  <a:ahLst/>
                  <a:cxnLst>
                    <a:cxn ang="0">
                      <a:pos x="connsiteX0" y="connsiteY0"/>
                    </a:cxn>
                    <a:cxn ang="0">
                      <a:pos x="connsiteX1" y="connsiteY1"/>
                    </a:cxn>
                    <a:cxn ang="0">
                      <a:pos x="connsiteX2" y="connsiteY2"/>
                    </a:cxn>
                  </a:cxnLst>
                  <a:rect l="l" t="t" r="r" b="b"/>
                  <a:pathLst>
                    <a:path w="1555" h="777">
                      <a:moveTo>
                        <a:pt x="1555" y="0"/>
                      </a:moveTo>
                      <a:lnTo>
                        <a:pt x="180" y="778"/>
                      </a:lnTo>
                      <a:lnTo>
                        <a:pt x="0" y="598"/>
                      </a:lnTo>
                    </a:path>
                  </a:pathLst>
                </a:custGeom>
                <a:noFill/>
                <a:ln w="6350" cap="rnd">
                  <a:solidFill>
                    <a:schemeClr val="bg1">
                      <a:alpha val="40000"/>
                    </a:schemeClr>
                  </a:solidFill>
                  <a:prstDash val="solid"/>
                  <a:round/>
                </a:ln>
              </p:spPr>
              <p:txBody>
                <a:bodyPr rtlCol="0" anchor="ctr"/>
                <a:lstStyle/>
                <a:p>
                  <a:endParaRPr lang="en-GB"/>
                </a:p>
              </p:txBody>
            </p:sp>
            <p:sp>
              <p:nvSpPr>
                <p:cNvPr id="6794" name="Vrije vorm: vorm 6793">
                  <a:extLst>
                    <a:ext uri="{FF2B5EF4-FFF2-40B4-BE49-F238E27FC236}">
                      <a16:creationId xmlns:a16="http://schemas.microsoft.com/office/drawing/2014/main" id="{D91E5536-2D55-465E-966A-4C147BBAFFF8}"/>
                    </a:ext>
                  </a:extLst>
                </p:cNvPr>
                <p:cNvSpPr/>
                <p:nvPr/>
              </p:nvSpPr>
              <p:spPr>
                <a:xfrm>
                  <a:off x="7082091" y="1941442"/>
                  <a:ext cx="179" cy="239"/>
                </a:xfrm>
                <a:custGeom>
                  <a:avLst/>
                  <a:gdLst>
                    <a:gd name="connsiteX0" fmla="*/ 0 w 179"/>
                    <a:gd name="connsiteY0" fmla="*/ 0 h 239"/>
                    <a:gd name="connsiteX1" fmla="*/ 180 w 179"/>
                    <a:gd name="connsiteY1" fmla="*/ 239 h 239"/>
                  </a:gdLst>
                  <a:ahLst/>
                  <a:cxnLst>
                    <a:cxn ang="0">
                      <a:pos x="connsiteX0" y="connsiteY0"/>
                    </a:cxn>
                    <a:cxn ang="0">
                      <a:pos x="connsiteX1" y="connsiteY1"/>
                    </a:cxn>
                  </a:cxnLst>
                  <a:rect l="l" t="t" r="r" b="b"/>
                  <a:pathLst>
                    <a:path w="179" h="239">
                      <a:moveTo>
                        <a:pt x="0" y="0"/>
                      </a:moveTo>
                      <a:lnTo>
                        <a:pt x="180" y="239"/>
                      </a:lnTo>
                    </a:path>
                  </a:pathLst>
                </a:custGeom>
                <a:noFill/>
                <a:ln w="6350" cap="rnd">
                  <a:solidFill>
                    <a:schemeClr val="bg1">
                      <a:alpha val="40000"/>
                    </a:schemeClr>
                  </a:solidFill>
                  <a:prstDash val="solid"/>
                  <a:round/>
                </a:ln>
              </p:spPr>
              <p:txBody>
                <a:bodyPr rtlCol="0" anchor="ctr"/>
                <a:lstStyle/>
                <a:p>
                  <a:endParaRPr lang="en-GB"/>
                </a:p>
              </p:txBody>
            </p:sp>
            <p:sp>
              <p:nvSpPr>
                <p:cNvPr id="6795" name="Vrije vorm: vorm 6794">
                  <a:extLst>
                    <a:ext uri="{FF2B5EF4-FFF2-40B4-BE49-F238E27FC236}">
                      <a16:creationId xmlns:a16="http://schemas.microsoft.com/office/drawing/2014/main" id="{C1A899AF-5524-4ACC-B050-9975F0DC931C}"/>
                    </a:ext>
                  </a:extLst>
                </p:cNvPr>
                <p:cNvSpPr/>
                <p:nvPr/>
              </p:nvSpPr>
              <p:spPr>
                <a:xfrm>
                  <a:off x="7045310" y="2075530"/>
                  <a:ext cx="8073" cy="10526"/>
                </a:xfrm>
                <a:custGeom>
                  <a:avLst/>
                  <a:gdLst>
                    <a:gd name="connsiteX0" fmla="*/ 8074 w 8073"/>
                    <a:gd name="connsiteY0" fmla="*/ 0 h 10526"/>
                    <a:gd name="connsiteX1" fmla="*/ 2153 w 8073"/>
                    <a:gd name="connsiteY1" fmla="*/ 8134 h 10526"/>
                    <a:gd name="connsiteX2" fmla="*/ 0 w 8073"/>
                    <a:gd name="connsiteY2" fmla="*/ 10526 h 10526"/>
                  </a:gdLst>
                  <a:ahLst/>
                  <a:cxnLst>
                    <a:cxn ang="0">
                      <a:pos x="connsiteX0" y="connsiteY0"/>
                    </a:cxn>
                    <a:cxn ang="0">
                      <a:pos x="connsiteX1" y="connsiteY1"/>
                    </a:cxn>
                    <a:cxn ang="0">
                      <a:pos x="connsiteX2" y="connsiteY2"/>
                    </a:cxn>
                  </a:cxnLst>
                  <a:rect l="l" t="t" r="r" b="b"/>
                  <a:pathLst>
                    <a:path w="8073" h="10526">
                      <a:moveTo>
                        <a:pt x="8074" y="0"/>
                      </a:moveTo>
                      <a:lnTo>
                        <a:pt x="2153" y="8134"/>
                      </a:lnTo>
                      <a:lnTo>
                        <a:pt x="0" y="10526"/>
                      </a:lnTo>
                    </a:path>
                  </a:pathLst>
                </a:custGeom>
                <a:noFill/>
                <a:ln w="6350" cap="rnd">
                  <a:solidFill>
                    <a:schemeClr val="bg1">
                      <a:alpha val="40000"/>
                    </a:schemeClr>
                  </a:solidFill>
                  <a:prstDash val="solid"/>
                  <a:round/>
                </a:ln>
              </p:spPr>
              <p:txBody>
                <a:bodyPr rtlCol="0" anchor="ctr"/>
                <a:lstStyle/>
                <a:p>
                  <a:endParaRPr lang="en-GB"/>
                </a:p>
              </p:txBody>
            </p:sp>
            <p:sp>
              <p:nvSpPr>
                <p:cNvPr id="6796" name="Vrije vorm: vorm 6795">
                  <a:extLst>
                    <a:ext uri="{FF2B5EF4-FFF2-40B4-BE49-F238E27FC236}">
                      <a16:creationId xmlns:a16="http://schemas.microsoft.com/office/drawing/2014/main" id="{6377432F-91F4-4856-8516-0D9CB5A90B53}"/>
                    </a:ext>
                  </a:extLst>
                </p:cNvPr>
                <p:cNvSpPr/>
                <p:nvPr/>
              </p:nvSpPr>
              <p:spPr>
                <a:xfrm>
                  <a:off x="6938733" y="2099273"/>
                  <a:ext cx="1136" cy="1435"/>
                </a:xfrm>
                <a:custGeom>
                  <a:avLst/>
                  <a:gdLst>
                    <a:gd name="connsiteX0" fmla="*/ 0 w 1136"/>
                    <a:gd name="connsiteY0" fmla="*/ 0 h 1435"/>
                    <a:gd name="connsiteX1" fmla="*/ 1137 w 1136"/>
                    <a:gd name="connsiteY1" fmla="*/ 1435 h 1435"/>
                  </a:gdLst>
                  <a:ahLst/>
                  <a:cxnLst>
                    <a:cxn ang="0">
                      <a:pos x="connsiteX0" y="connsiteY0"/>
                    </a:cxn>
                    <a:cxn ang="0">
                      <a:pos x="connsiteX1" y="connsiteY1"/>
                    </a:cxn>
                  </a:cxnLst>
                  <a:rect l="l" t="t" r="r" b="b"/>
                  <a:pathLst>
                    <a:path w="1136" h="1435">
                      <a:moveTo>
                        <a:pt x="0" y="0"/>
                      </a:moveTo>
                      <a:lnTo>
                        <a:pt x="1137" y="1435"/>
                      </a:lnTo>
                    </a:path>
                  </a:pathLst>
                </a:custGeom>
                <a:noFill/>
                <a:ln w="6350" cap="rnd">
                  <a:solidFill>
                    <a:schemeClr val="bg1">
                      <a:alpha val="40000"/>
                    </a:schemeClr>
                  </a:solidFill>
                  <a:prstDash val="solid"/>
                  <a:round/>
                </a:ln>
              </p:spPr>
              <p:txBody>
                <a:bodyPr rtlCol="0" anchor="ctr"/>
                <a:lstStyle/>
                <a:p>
                  <a:endParaRPr lang="en-GB"/>
                </a:p>
              </p:txBody>
            </p:sp>
            <p:sp>
              <p:nvSpPr>
                <p:cNvPr id="6797" name="Vrije vorm: vorm 6796">
                  <a:extLst>
                    <a:ext uri="{FF2B5EF4-FFF2-40B4-BE49-F238E27FC236}">
                      <a16:creationId xmlns:a16="http://schemas.microsoft.com/office/drawing/2014/main" id="{9A2B2CD3-4004-44A0-881A-B6CFBDD65458}"/>
                    </a:ext>
                  </a:extLst>
                </p:cNvPr>
                <p:cNvSpPr/>
                <p:nvPr/>
              </p:nvSpPr>
              <p:spPr>
                <a:xfrm>
                  <a:off x="6678931" y="1958069"/>
                  <a:ext cx="14114" cy="15669"/>
                </a:xfrm>
                <a:custGeom>
                  <a:avLst/>
                  <a:gdLst>
                    <a:gd name="connsiteX0" fmla="*/ 12261 w 14114"/>
                    <a:gd name="connsiteY0" fmla="*/ 0 h 15669"/>
                    <a:gd name="connsiteX1" fmla="*/ 12859 w 14114"/>
                    <a:gd name="connsiteY1" fmla="*/ 419 h 15669"/>
                    <a:gd name="connsiteX2" fmla="*/ 14115 w 14114"/>
                    <a:gd name="connsiteY2" fmla="*/ 4186 h 15669"/>
                    <a:gd name="connsiteX3" fmla="*/ 13457 w 14114"/>
                    <a:gd name="connsiteY3" fmla="*/ 5742 h 15669"/>
                    <a:gd name="connsiteX4" fmla="*/ 9988 w 14114"/>
                    <a:gd name="connsiteY4" fmla="*/ 14055 h 15669"/>
                    <a:gd name="connsiteX5" fmla="*/ 6041 w 14114"/>
                    <a:gd name="connsiteY5" fmla="*/ 15669 h 15669"/>
                    <a:gd name="connsiteX6" fmla="*/ 2990 w 14114"/>
                    <a:gd name="connsiteY6" fmla="*/ 14533 h 15669"/>
                    <a:gd name="connsiteX7" fmla="*/ 0 w 14114"/>
                    <a:gd name="connsiteY7" fmla="*/ 11961 h 15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14" h="15669">
                      <a:moveTo>
                        <a:pt x="12261" y="0"/>
                      </a:moveTo>
                      <a:lnTo>
                        <a:pt x="12859" y="419"/>
                      </a:lnTo>
                      <a:lnTo>
                        <a:pt x="14115" y="4186"/>
                      </a:lnTo>
                      <a:lnTo>
                        <a:pt x="13457" y="5742"/>
                      </a:lnTo>
                      <a:lnTo>
                        <a:pt x="9988" y="14055"/>
                      </a:lnTo>
                      <a:lnTo>
                        <a:pt x="6041" y="15669"/>
                      </a:lnTo>
                      <a:lnTo>
                        <a:pt x="2990" y="14533"/>
                      </a:lnTo>
                      <a:lnTo>
                        <a:pt x="0" y="11961"/>
                      </a:lnTo>
                    </a:path>
                  </a:pathLst>
                </a:custGeom>
                <a:noFill/>
                <a:ln w="6350" cap="rnd">
                  <a:solidFill>
                    <a:schemeClr val="bg1">
                      <a:alpha val="40000"/>
                    </a:schemeClr>
                  </a:solidFill>
                  <a:prstDash val="solid"/>
                  <a:round/>
                </a:ln>
              </p:spPr>
              <p:txBody>
                <a:bodyPr rtlCol="0" anchor="ctr"/>
                <a:lstStyle/>
                <a:p>
                  <a:endParaRPr lang="en-GB"/>
                </a:p>
              </p:txBody>
            </p:sp>
            <p:sp>
              <p:nvSpPr>
                <p:cNvPr id="6798" name="Vrije vorm: vorm 6797">
                  <a:extLst>
                    <a:ext uri="{FF2B5EF4-FFF2-40B4-BE49-F238E27FC236}">
                      <a16:creationId xmlns:a16="http://schemas.microsoft.com/office/drawing/2014/main" id="{B5897E93-8928-4FA1-BDA3-C91B763C6146}"/>
                    </a:ext>
                  </a:extLst>
                </p:cNvPr>
                <p:cNvSpPr/>
                <p:nvPr/>
              </p:nvSpPr>
              <p:spPr>
                <a:xfrm>
                  <a:off x="6947346" y="1968953"/>
                  <a:ext cx="1435" cy="7595"/>
                </a:xfrm>
                <a:custGeom>
                  <a:avLst/>
                  <a:gdLst>
                    <a:gd name="connsiteX0" fmla="*/ 0 w 1435"/>
                    <a:gd name="connsiteY0" fmla="*/ 7595 h 7595"/>
                    <a:gd name="connsiteX1" fmla="*/ 538 w 1435"/>
                    <a:gd name="connsiteY1" fmla="*/ 5921 h 7595"/>
                    <a:gd name="connsiteX2" fmla="*/ 538 w 1435"/>
                    <a:gd name="connsiteY2" fmla="*/ 5921 h 7595"/>
                    <a:gd name="connsiteX3" fmla="*/ 658 w 1435"/>
                    <a:gd name="connsiteY3" fmla="*/ 5502 h 7595"/>
                    <a:gd name="connsiteX4" fmla="*/ 1136 w 1435"/>
                    <a:gd name="connsiteY4" fmla="*/ 3947 h 7595"/>
                    <a:gd name="connsiteX5" fmla="*/ 1196 w 1435"/>
                    <a:gd name="connsiteY5" fmla="*/ 3708 h 7595"/>
                    <a:gd name="connsiteX6" fmla="*/ 1316 w 1435"/>
                    <a:gd name="connsiteY6" fmla="*/ 3349 h 7595"/>
                    <a:gd name="connsiteX7" fmla="*/ 1375 w 1435"/>
                    <a:gd name="connsiteY7" fmla="*/ 3110 h 7595"/>
                    <a:gd name="connsiteX8" fmla="*/ 1375 w 1435"/>
                    <a:gd name="connsiteY8" fmla="*/ 3110 h 7595"/>
                    <a:gd name="connsiteX9" fmla="*/ 1435 w 1435"/>
                    <a:gd name="connsiteY9" fmla="*/ 2990 h 7595"/>
                    <a:gd name="connsiteX10" fmla="*/ 1256 w 1435"/>
                    <a:gd name="connsiteY10" fmla="*/ 2392 h 7595"/>
                    <a:gd name="connsiteX11" fmla="*/ 1196 w 1435"/>
                    <a:gd name="connsiteY11" fmla="*/ 2273 h 7595"/>
                    <a:gd name="connsiteX12" fmla="*/ 956 w 1435"/>
                    <a:gd name="connsiteY12" fmla="*/ 1495 h 7595"/>
                    <a:gd name="connsiteX13" fmla="*/ 718 w 1435"/>
                    <a:gd name="connsiteY13" fmla="*/ 837 h 7595"/>
                    <a:gd name="connsiteX14" fmla="*/ 718 w 1435"/>
                    <a:gd name="connsiteY14" fmla="*/ 837 h 7595"/>
                    <a:gd name="connsiteX15" fmla="*/ 418 w 1435"/>
                    <a:gd name="connsiteY15" fmla="*/ 0 h 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35" h="7595">
                      <a:moveTo>
                        <a:pt x="0" y="7595"/>
                      </a:moveTo>
                      <a:lnTo>
                        <a:pt x="538" y="5921"/>
                      </a:lnTo>
                      <a:lnTo>
                        <a:pt x="538" y="5921"/>
                      </a:lnTo>
                      <a:lnTo>
                        <a:pt x="658" y="5502"/>
                      </a:lnTo>
                      <a:lnTo>
                        <a:pt x="1136" y="3947"/>
                      </a:lnTo>
                      <a:lnTo>
                        <a:pt x="1196" y="3708"/>
                      </a:lnTo>
                      <a:lnTo>
                        <a:pt x="1316" y="3349"/>
                      </a:lnTo>
                      <a:lnTo>
                        <a:pt x="1375" y="3110"/>
                      </a:lnTo>
                      <a:lnTo>
                        <a:pt x="1375" y="3110"/>
                      </a:lnTo>
                      <a:lnTo>
                        <a:pt x="1435" y="2990"/>
                      </a:lnTo>
                      <a:lnTo>
                        <a:pt x="1256" y="2392"/>
                      </a:lnTo>
                      <a:lnTo>
                        <a:pt x="1196" y="2273"/>
                      </a:lnTo>
                      <a:lnTo>
                        <a:pt x="956" y="1495"/>
                      </a:lnTo>
                      <a:lnTo>
                        <a:pt x="718" y="837"/>
                      </a:lnTo>
                      <a:lnTo>
                        <a:pt x="718" y="837"/>
                      </a:lnTo>
                      <a:lnTo>
                        <a:pt x="418" y="0"/>
                      </a:lnTo>
                    </a:path>
                  </a:pathLst>
                </a:custGeom>
                <a:noFill/>
                <a:ln w="6350" cap="rnd">
                  <a:solidFill>
                    <a:schemeClr val="bg1">
                      <a:alpha val="40000"/>
                    </a:schemeClr>
                  </a:solidFill>
                  <a:prstDash val="solid"/>
                  <a:round/>
                </a:ln>
              </p:spPr>
              <p:txBody>
                <a:bodyPr rtlCol="0" anchor="ctr"/>
                <a:lstStyle/>
                <a:p>
                  <a:endParaRPr lang="en-GB"/>
                </a:p>
              </p:txBody>
            </p:sp>
            <p:sp>
              <p:nvSpPr>
                <p:cNvPr id="6799" name="Vrije vorm: vorm 6798">
                  <a:extLst>
                    <a:ext uri="{FF2B5EF4-FFF2-40B4-BE49-F238E27FC236}">
                      <a16:creationId xmlns:a16="http://schemas.microsoft.com/office/drawing/2014/main" id="{B88C44F6-0669-41F8-BFE5-7B89F7A5BCF8}"/>
                    </a:ext>
                  </a:extLst>
                </p:cNvPr>
                <p:cNvSpPr/>
                <p:nvPr/>
              </p:nvSpPr>
              <p:spPr>
                <a:xfrm>
                  <a:off x="6868520" y="1935641"/>
                  <a:ext cx="3349" cy="4425"/>
                </a:xfrm>
                <a:custGeom>
                  <a:avLst/>
                  <a:gdLst>
                    <a:gd name="connsiteX0" fmla="*/ 3350 w 3349"/>
                    <a:gd name="connsiteY0" fmla="*/ 4426 h 4425"/>
                    <a:gd name="connsiteX1" fmla="*/ 3170 w 3349"/>
                    <a:gd name="connsiteY1" fmla="*/ 3469 h 4425"/>
                    <a:gd name="connsiteX2" fmla="*/ 3170 w 3349"/>
                    <a:gd name="connsiteY2" fmla="*/ 3349 h 4425"/>
                    <a:gd name="connsiteX3" fmla="*/ 3110 w 3349"/>
                    <a:gd name="connsiteY3" fmla="*/ 3170 h 4425"/>
                    <a:gd name="connsiteX4" fmla="*/ 837 w 3349"/>
                    <a:gd name="connsiteY4" fmla="*/ 179 h 4425"/>
                    <a:gd name="connsiteX5" fmla="*/ 0 w 3349"/>
                    <a:gd name="connsiteY5" fmla="*/ 0 h 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9" h="4425">
                      <a:moveTo>
                        <a:pt x="3350" y="4426"/>
                      </a:moveTo>
                      <a:lnTo>
                        <a:pt x="3170" y="3469"/>
                      </a:lnTo>
                      <a:lnTo>
                        <a:pt x="3170" y="3349"/>
                      </a:lnTo>
                      <a:lnTo>
                        <a:pt x="3110" y="3170"/>
                      </a:lnTo>
                      <a:lnTo>
                        <a:pt x="837" y="17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00" name="Vrije vorm: vorm 6799">
                  <a:extLst>
                    <a:ext uri="{FF2B5EF4-FFF2-40B4-BE49-F238E27FC236}">
                      <a16:creationId xmlns:a16="http://schemas.microsoft.com/office/drawing/2014/main" id="{7B75E195-CE89-474C-A889-CA7D64D6401E}"/>
                    </a:ext>
                  </a:extLst>
                </p:cNvPr>
                <p:cNvSpPr/>
                <p:nvPr/>
              </p:nvSpPr>
              <p:spPr>
                <a:xfrm>
                  <a:off x="6715174" y="1840787"/>
                  <a:ext cx="1614" cy="6578"/>
                </a:xfrm>
                <a:custGeom>
                  <a:avLst/>
                  <a:gdLst>
                    <a:gd name="connsiteX0" fmla="*/ 1615 w 1614"/>
                    <a:gd name="connsiteY0" fmla="*/ 6579 h 6578"/>
                    <a:gd name="connsiteX1" fmla="*/ 837 w 1614"/>
                    <a:gd name="connsiteY1" fmla="*/ 1017 h 6578"/>
                    <a:gd name="connsiteX2" fmla="*/ 120 w 1614"/>
                    <a:gd name="connsiteY2" fmla="*/ 120 h 6578"/>
                    <a:gd name="connsiteX3" fmla="*/ 120 w 1614"/>
                    <a:gd name="connsiteY3" fmla="*/ 120 h 6578"/>
                    <a:gd name="connsiteX4" fmla="*/ 0 w 1614"/>
                    <a:gd name="connsiteY4" fmla="*/ 0 h 6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 h="6578">
                      <a:moveTo>
                        <a:pt x="1615" y="6579"/>
                      </a:moveTo>
                      <a:lnTo>
                        <a:pt x="837" y="1017"/>
                      </a:lnTo>
                      <a:lnTo>
                        <a:pt x="120" y="120"/>
                      </a:lnTo>
                      <a:lnTo>
                        <a:pt x="120"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01" name="Vrije vorm: vorm 6800">
                  <a:extLst>
                    <a:ext uri="{FF2B5EF4-FFF2-40B4-BE49-F238E27FC236}">
                      <a16:creationId xmlns:a16="http://schemas.microsoft.com/office/drawing/2014/main" id="{63DAF08E-2CA9-4CCC-B85A-5B903F6FF8AB}"/>
                    </a:ext>
                  </a:extLst>
                </p:cNvPr>
                <p:cNvSpPr/>
                <p:nvPr/>
              </p:nvSpPr>
              <p:spPr>
                <a:xfrm>
                  <a:off x="6860206" y="1926131"/>
                  <a:ext cx="21829" cy="19317"/>
                </a:xfrm>
                <a:custGeom>
                  <a:avLst/>
                  <a:gdLst>
                    <a:gd name="connsiteX0" fmla="*/ 0 w 21829"/>
                    <a:gd name="connsiteY0" fmla="*/ 11304 h 19317"/>
                    <a:gd name="connsiteX1" fmla="*/ 658 w 21829"/>
                    <a:gd name="connsiteY1" fmla="*/ 9868 h 19317"/>
                    <a:gd name="connsiteX2" fmla="*/ 897 w 21829"/>
                    <a:gd name="connsiteY2" fmla="*/ 9330 h 19317"/>
                    <a:gd name="connsiteX3" fmla="*/ 1555 w 21829"/>
                    <a:gd name="connsiteY3" fmla="*/ 7895 h 19317"/>
                    <a:gd name="connsiteX4" fmla="*/ 4426 w 21829"/>
                    <a:gd name="connsiteY4" fmla="*/ 1615 h 19317"/>
                    <a:gd name="connsiteX5" fmla="*/ 7296 w 21829"/>
                    <a:gd name="connsiteY5" fmla="*/ 419 h 19317"/>
                    <a:gd name="connsiteX6" fmla="*/ 7715 w 21829"/>
                    <a:gd name="connsiteY6" fmla="*/ 239 h 19317"/>
                    <a:gd name="connsiteX7" fmla="*/ 8253 w 21829"/>
                    <a:gd name="connsiteY7" fmla="*/ 0 h 19317"/>
                    <a:gd name="connsiteX8" fmla="*/ 11483 w 21829"/>
                    <a:gd name="connsiteY8" fmla="*/ 837 h 19317"/>
                    <a:gd name="connsiteX9" fmla="*/ 11902 w 21829"/>
                    <a:gd name="connsiteY9" fmla="*/ 957 h 19317"/>
                    <a:gd name="connsiteX10" fmla="*/ 12261 w 21829"/>
                    <a:gd name="connsiteY10" fmla="*/ 1076 h 19317"/>
                    <a:gd name="connsiteX11" fmla="*/ 13038 w 21829"/>
                    <a:gd name="connsiteY11" fmla="*/ 1555 h 19317"/>
                    <a:gd name="connsiteX12" fmla="*/ 15431 w 21829"/>
                    <a:gd name="connsiteY12" fmla="*/ 3050 h 19317"/>
                    <a:gd name="connsiteX13" fmla="*/ 15969 w 21829"/>
                    <a:gd name="connsiteY13" fmla="*/ 3409 h 19317"/>
                    <a:gd name="connsiteX14" fmla="*/ 16686 w 21829"/>
                    <a:gd name="connsiteY14" fmla="*/ 3828 h 19317"/>
                    <a:gd name="connsiteX15" fmla="*/ 16866 w 21829"/>
                    <a:gd name="connsiteY15" fmla="*/ 4127 h 19317"/>
                    <a:gd name="connsiteX16" fmla="*/ 16985 w 21829"/>
                    <a:gd name="connsiteY16" fmla="*/ 4366 h 19317"/>
                    <a:gd name="connsiteX17" fmla="*/ 17105 w 21829"/>
                    <a:gd name="connsiteY17" fmla="*/ 4605 h 19317"/>
                    <a:gd name="connsiteX18" fmla="*/ 17284 w 21829"/>
                    <a:gd name="connsiteY18" fmla="*/ 4904 h 19317"/>
                    <a:gd name="connsiteX19" fmla="*/ 17464 w 21829"/>
                    <a:gd name="connsiteY19" fmla="*/ 5263 h 19317"/>
                    <a:gd name="connsiteX20" fmla="*/ 18421 w 21829"/>
                    <a:gd name="connsiteY20" fmla="*/ 6818 h 19317"/>
                    <a:gd name="connsiteX21" fmla="*/ 18959 w 21829"/>
                    <a:gd name="connsiteY21" fmla="*/ 7715 h 19317"/>
                    <a:gd name="connsiteX22" fmla="*/ 19199 w 21829"/>
                    <a:gd name="connsiteY22" fmla="*/ 8134 h 19317"/>
                    <a:gd name="connsiteX23" fmla="*/ 19199 w 21829"/>
                    <a:gd name="connsiteY23" fmla="*/ 8134 h 19317"/>
                    <a:gd name="connsiteX24" fmla="*/ 19437 w 21829"/>
                    <a:gd name="connsiteY24" fmla="*/ 9091 h 19317"/>
                    <a:gd name="connsiteX25" fmla="*/ 20454 w 21829"/>
                    <a:gd name="connsiteY25" fmla="*/ 12799 h 19317"/>
                    <a:gd name="connsiteX26" fmla="*/ 20634 w 21829"/>
                    <a:gd name="connsiteY26" fmla="*/ 13576 h 19317"/>
                    <a:gd name="connsiteX27" fmla="*/ 21052 w 21829"/>
                    <a:gd name="connsiteY27" fmla="*/ 15071 h 19317"/>
                    <a:gd name="connsiteX28" fmla="*/ 21411 w 21829"/>
                    <a:gd name="connsiteY28" fmla="*/ 16327 h 19317"/>
                    <a:gd name="connsiteX29" fmla="*/ 21530 w 21829"/>
                    <a:gd name="connsiteY29" fmla="*/ 17284 h 19317"/>
                    <a:gd name="connsiteX30" fmla="*/ 21590 w 21829"/>
                    <a:gd name="connsiteY30" fmla="*/ 17583 h 19317"/>
                    <a:gd name="connsiteX31" fmla="*/ 21830 w 21829"/>
                    <a:gd name="connsiteY31" fmla="*/ 19318 h 1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829" h="19317">
                      <a:moveTo>
                        <a:pt x="0" y="11304"/>
                      </a:moveTo>
                      <a:lnTo>
                        <a:pt x="658" y="9868"/>
                      </a:lnTo>
                      <a:lnTo>
                        <a:pt x="897" y="9330"/>
                      </a:lnTo>
                      <a:lnTo>
                        <a:pt x="1555" y="7895"/>
                      </a:lnTo>
                      <a:lnTo>
                        <a:pt x="4426" y="1615"/>
                      </a:lnTo>
                      <a:lnTo>
                        <a:pt x="7296" y="419"/>
                      </a:lnTo>
                      <a:lnTo>
                        <a:pt x="7715" y="239"/>
                      </a:lnTo>
                      <a:lnTo>
                        <a:pt x="8253" y="0"/>
                      </a:lnTo>
                      <a:lnTo>
                        <a:pt x="11483" y="837"/>
                      </a:lnTo>
                      <a:lnTo>
                        <a:pt x="11902" y="957"/>
                      </a:lnTo>
                      <a:lnTo>
                        <a:pt x="12261" y="1076"/>
                      </a:lnTo>
                      <a:lnTo>
                        <a:pt x="13038" y="1555"/>
                      </a:lnTo>
                      <a:lnTo>
                        <a:pt x="15431" y="3050"/>
                      </a:lnTo>
                      <a:lnTo>
                        <a:pt x="15969" y="3409"/>
                      </a:lnTo>
                      <a:lnTo>
                        <a:pt x="16686" y="3828"/>
                      </a:lnTo>
                      <a:lnTo>
                        <a:pt x="16866" y="4127"/>
                      </a:lnTo>
                      <a:lnTo>
                        <a:pt x="16985" y="4366"/>
                      </a:lnTo>
                      <a:lnTo>
                        <a:pt x="17105" y="4605"/>
                      </a:lnTo>
                      <a:lnTo>
                        <a:pt x="17284" y="4904"/>
                      </a:lnTo>
                      <a:lnTo>
                        <a:pt x="17464" y="5263"/>
                      </a:lnTo>
                      <a:lnTo>
                        <a:pt x="18421" y="6818"/>
                      </a:lnTo>
                      <a:lnTo>
                        <a:pt x="18959" y="7715"/>
                      </a:lnTo>
                      <a:lnTo>
                        <a:pt x="19199" y="8134"/>
                      </a:lnTo>
                      <a:lnTo>
                        <a:pt x="19199" y="8134"/>
                      </a:lnTo>
                      <a:lnTo>
                        <a:pt x="19437" y="9091"/>
                      </a:lnTo>
                      <a:lnTo>
                        <a:pt x="20454" y="12799"/>
                      </a:lnTo>
                      <a:lnTo>
                        <a:pt x="20634" y="13576"/>
                      </a:lnTo>
                      <a:lnTo>
                        <a:pt x="21052" y="15071"/>
                      </a:lnTo>
                      <a:lnTo>
                        <a:pt x="21411" y="16327"/>
                      </a:lnTo>
                      <a:lnTo>
                        <a:pt x="21530" y="17284"/>
                      </a:lnTo>
                      <a:lnTo>
                        <a:pt x="21590" y="17583"/>
                      </a:lnTo>
                      <a:lnTo>
                        <a:pt x="21830" y="19318"/>
                      </a:lnTo>
                    </a:path>
                  </a:pathLst>
                </a:custGeom>
                <a:noFill/>
                <a:ln w="6350" cap="rnd">
                  <a:solidFill>
                    <a:schemeClr val="bg1">
                      <a:alpha val="40000"/>
                    </a:schemeClr>
                  </a:solidFill>
                  <a:prstDash val="solid"/>
                  <a:round/>
                </a:ln>
              </p:spPr>
              <p:txBody>
                <a:bodyPr rtlCol="0" anchor="ctr"/>
                <a:lstStyle/>
                <a:p>
                  <a:endParaRPr lang="en-GB"/>
                </a:p>
              </p:txBody>
            </p:sp>
            <p:sp>
              <p:nvSpPr>
                <p:cNvPr id="6802" name="Vrije vorm: vorm 6801">
                  <a:extLst>
                    <a:ext uri="{FF2B5EF4-FFF2-40B4-BE49-F238E27FC236}">
                      <a16:creationId xmlns:a16="http://schemas.microsoft.com/office/drawing/2014/main" id="{CFCDC1A0-4C7B-4BC7-A63C-741D75BC13D0}"/>
                    </a:ext>
                  </a:extLst>
                </p:cNvPr>
                <p:cNvSpPr/>
                <p:nvPr/>
              </p:nvSpPr>
              <p:spPr>
                <a:xfrm>
                  <a:off x="6646037" y="1885343"/>
                  <a:ext cx="13755" cy="956"/>
                </a:xfrm>
                <a:custGeom>
                  <a:avLst/>
                  <a:gdLst>
                    <a:gd name="connsiteX0" fmla="*/ 13756 w 13755"/>
                    <a:gd name="connsiteY0" fmla="*/ 658 h 956"/>
                    <a:gd name="connsiteX1" fmla="*/ 8433 w 13755"/>
                    <a:gd name="connsiteY1" fmla="*/ 0 h 956"/>
                    <a:gd name="connsiteX2" fmla="*/ 5323 w 13755"/>
                    <a:gd name="connsiteY2" fmla="*/ 359 h 956"/>
                    <a:gd name="connsiteX3" fmla="*/ 0 w 13755"/>
                    <a:gd name="connsiteY3" fmla="*/ 957 h 956"/>
                  </a:gdLst>
                  <a:ahLst/>
                  <a:cxnLst>
                    <a:cxn ang="0">
                      <a:pos x="connsiteX0" y="connsiteY0"/>
                    </a:cxn>
                    <a:cxn ang="0">
                      <a:pos x="connsiteX1" y="connsiteY1"/>
                    </a:cxn>
                    <a:cxn ang="0">
                      <a:pos x="connsiteX2" y="connsiteY2"/>
                    </a:cxn>
                    <a:cxn ang="0">
                      <a:pos x="connsiteX3" y="connsiteY3"/>
                    </a:cxn>
                  </a:cxnLst>
                  <a:rect l="l" t="t" r="r" b="b"/>
                  <a:pathLst>
                    <a:path w="13755" h="956">
                      <a:moveTo>
                        <a:pt x="13756" y="658"/>
                      </a:moveTo>
                      <a:lnTo>
                        <a:pt x="8433" y="0"/>
                      </a:lnTo>
                      <a:lnTo>
                        <a:pt x="5323" y="359"/>
                      </a:lnTo>
                      <a:lnTo>
                        <a:pt x="0" y="957"/>
                      </a:lnTo>
                    </a:path>
                  </a:pathLst>
                </a:custGeom>
                <a:noFill/>
                <a:ln w="6350" cap="rnd">
                  <a:solidFill>
                    <a:schemeClr val="bg1">
                      <a:alpha val="40000"/>
                    </a:schemeClr>
                  </a:solidFill>
                  <a:prstDash val="solid"/>
                  <a:round/>
                </a:ln>
              </p:spPr>
              <p:txBody>
                <a:bodyPr rtlCol="0" anchor="ctr"/>
                <a:lstStyle/>
                <a:p>
                  <a:endParaRPr lang="en-GB"/>
                </a:p>
              </p:txBody>
            </p:sp>
            <p:sp>
              <p:nvSpPr>
                <p:cNvPr id="6803" name="Vrije vorm: vorm 6802">
                  <a:extLst>
                    <a:ext uri="{FF2B5EF4-FFF2-40B4-BE49-F238E27FC236}">
                      <a16:creationId xmlns:a16="http://schemas.microsoft.com/office/drawing/2014/main" id="{C54A0A27-B956-4D86-ADF5-58E33371CB4E}"/>
                    </a:ext>
                  </a:extLst>
                </p:cNvPr>
                <p:cNvSpPr/>
                <p:nvPr/>
              </p:nvSpPr>
              <p:spPr>
                <a:xfrm>
                  <a:off x="6835746" y="1986058"/>
                  <a:ext cx="597" cy="12380"/>
                </a:xfrm>
                <a:custGeom>
                  <a:avLst/>
                  <a:gdLst>
                    <a:gd name="connsiteX0" fmla="*/ 598 w 597"/>
                    <a:gd name="connsiteY0" fmla="*/ 12380 h 12380"/>
                    <a:gd name="connsiteX1" fmla="*/ 0 w 597"/>
                    <a:gd name="connsiteY1" fmla="*/ 10706 h 12380"/>
                    <a:gd name="connsiteX2" fmla="*/ 0 w 597"/>
                    <a:gd name="connsiteY2" fmla="*/ 10287 h 12380"/>
                    <a:gd name="connsiteX3" fmla="*/ 0 w 597"/>
                    <a:gd name="connsiteY3" fmla="*/ 8732 h 12380"/>
                    <a:gd name="connsiteX4" fmla="*/ 0 w 597"/>
                    <a:gd name="connsiteY4" fmla="*/ 6579 h 12380"/>
                    <a:gd name="connsiteX5" fmla="*/ 0 w 597"/>
                    <a:gd name="connsiteY5" fmla="*/ 1256 h 12380"/>
                    <a:gd name="connsiteX6" fmla="*/ 0 w 597"/>
                    <a:gd name="connsiteY6" fmla="*/ 0 h 1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 h="12380">
                      <a:moveTo>
                        <a:pt x="598" y="12380"/>
                      </a:moveTo>
                      <a:lnTo>
                        <a:pt x="0" y="10706"/>
                      </a:lnTo>
                      <a:lnTo>
                        <a:pt x="0" y="10287"/>
                      </a:lnTo>
                      <a:lnTo>
                        <a:pt x="0" y="8732"/>
                      </a:lnTo>
                      <a:lnTo>
                        <a:pt x="0" y="6579"/>
                      </a:lnTo>
                      <a:lnTo>
                        <a:pt x="0" y="125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04" name="Vrije vorm: vorm 6803">
                  <a:extLst>
                    <a:ext uri="{FF2B5EF4-FFF2-40B4-BE49-F238E27FC236}">
                      <a16:creationId xmlns:a16="http://schemas.microsoft.com/office/drawing/2014/main" id="{FDF78877-7AC8-4EE2-ABF9-4436DC9E8416}"/>
                    </a:ext>
                  </a:extLst>
                </p:cNvPr>
                <p:cNvSpPr/>
                <p:nvPr/>
              </p:nvSpPr>
              <p:spPr>
                <a:xfrm>
                  <a:off x="6832456" y="1967458"/>
                  <a:ext cx="2093" cy="8552"/>
                </a:xfrm>
                <a:custGeom>
                  <a:avLst/>
                  <a:gdLst>
                    <a:gd name="connsiteX0" fmla="*/ 2094 w 2093"/>
                    <a:gd name="connsiteY0" fmla="*/ 8552 h 8552"/>
                    <a:gd name="connsiteX1" fmla="*/ 1795 w 2093"/>
                    <a:gd name="connsiteY1" fmla="*/ 6639 h 8552"/>
                    <a:gd name="connsiteX2" fmla="*/ 1256 w 2093"/>
                    <a:gd name="connsiteY2" fmla="*/ 3409 h 8552"/>
                    <a:gd name="connsiteX3" fmla="*/ 1017 w 2093"/>
                    <a:gd name="connsiteY3" fmla="*/ 2213 h 8552"/>
                    <a:gd name="connsiteX4" fmla="*/ 0 w 2093"/>
                    <a:gd name="connsiteY4" fmla="*/ 0 h 8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 h="8552">
                      <a:moveTo>
                        <a:pt x="2094" y="8552"/>
                      </a:moveTo>
                      <a:lnTo>
                        <a:pt x="1795" y="6639"/>
                      </a:lnTo>
                      <a:lnTo>
                        <a:pt x="1256" y="3409"/>
                      </a:lnTo>
                      <a:lnTo>
                        <a:pt x="1017" y="2213"/>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05" name="Vrije vorm: vorm 6804">
                  <a:extLst>
                    <a:ext uri="{FF2B5EF4-FFF2-40B4-BE49-F238E27FC236}">
                      <a16:creationId xmlns:a16="http://schemas.microsoft.com/office/drawing/2014/main" id="{772C8C7F-51BA-43A6-A3F0-E0303A6E507F}"/>
                    </a:ext>
                  </a:extLst>
                </p:cNvPr>
                <p:cNvSpPr/>
                <p:nvPr/>
              </p:nvSpPr>
              <p:spPr>
                <a:xfrm>
                  <a:off x="6678512" y="1865906"/>
                  <a:ext cx="7356" cy="5322"/>
                </a:xfrm>
                <a:custGeom>
                  <a:avLst/>
                  <a:gdLst>
                    <a:gd name="connsiteX0" fmla="*/ 7357 w 7356"/>
                    <a:gd name="connsiteY0" fmla="*/ 5323 h 5322"/>
                    <a:gd name="connsiteX1" fmla="*/ 4605 w 7356"/>
                    <a:gd name="connsiteY1" fmla="*/ 2632 h 5322"/>
                    <a:gd name="connsiteX2" fmla="*/ 3947 w 7356"/>
                    <a:gd name="connsiteY2" fmla="*/ 1974 h 5322"/>
                    <a:gd name="connsiteX3" fmla="*/ 0 w 7356"/>
                    <a:gd name="connsiteY3" fmla="*/ 0 h 5322"/>
                  </a:gdLst>
                  <a:ahLst/>
                  <a:cxnLst>
                    <a:cxn ang="0">
                      <a:pos x="connsiteX0" y="connsiteY0"/>
                    </a:cxn>
                    <a:cxn ang="0">
                      <a:pos x="connsiteX1" y="connsiteY1"/>
                    </a:cxn>
                    <a:cxn ang="0">
                      <a:pos x="connsiteX2" y="connsiteY2"/>
                    </a:cxn>
                    <a:cxn ang="0">
                      <a:pos x="connsiteX3" y="connsiteY3"/>
                    </a:cxn>
                  </a:cxnLst>
                  <a:rect l="l" t="t" r="r" b="b"/>
                  <a:pathLst>
                    <a:path w="7356" h="5322">
                      <a:moveTo>
                        <a:pt x="7357" y="5323"/>
                      </a:moveTo>
                      <a:lnTo>
                        <a:pt x="4605" y="2632"/>
                      </a:lnTo>
                      <a:lnTo>
                        <a:pt x="3947" y="1974"/>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06" name="Vrije vorm: vorm 6805">
                  <a:extLst>
                    <a:ext uri="{FF2B5EF4-FFF2-40B4-BE49-F238E27FC236}">
                      <a16:creationId xmlns:a16="http://schemas.microsoft.com/office/drawing/2014/main" id="{284BFA1E-2A86-4A7A-A58B-6EA916A1A213}"/>
                    </a:ext>
                  </a:extLst>
                </p:cNvPr>
                <p:cNvSpPr/>
                <p:nvPr/>
              </p:nvSpPr>
              <p:spPr>
                <a:xfrm>
                  <a:off x="6850578" y="1949097"/>
                  <a:ext cx="2392" cy="5502"/>
                </a:xfrm>
                <a:custGeom>
                  <a:avLst/>
                  <a:gdLst>
                    <a:gd name="connsiteX0" fmla="*/ 2392 w 2392"/>
                    <a:gd name="connsiteY0" fmla="*/ 5502 h 5502"/>
                    <a:gd name="connsiteX1" fmla="*/ 1555 w 2392"/>
                    <a:gd name="connsiteY1" fmla="*/ 2871 h 5502"/>
                    <a:gd name="connsiteX2" fmla="*/ 897 w 2392"/>
                    <a:gd name="connsiteY2" fmla="*/ 778 h 5502"/>
                    <a:gd name="connsiteX3" fmla="*/ 837 w 2392"/>
                    <a:gd name="connsiteY3" fmla="*/ 718 h 5502"/>
                    <a:gd name="connsiteX4" fmla="*/ 0 w 2392"/>
                    <a:gd name="connsiteY4" fmla="*/ 0 h 5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2" h="5502">
                      <a:moveTo>
                        <a:pt x="2392" y="5502"/>
                      </a:moveTo>
                      <a:lnTo>
                        <a:pt x="1555" y="2871"/>
                      </a:lnTo>
                      <a:lnTo>
                        <a:pt x="897" y="778"/>
                      </a:lnTo>
                      <a:lnTo>
                        <a:pt x="837" y="71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07" name="Vrije vorm: vorm 6806">
                  <a:extLst>
                    <a:ext uri="{FF2B5EF4-FFF2-40B4-BE49-F238E27FC236}">
                      <a16:creationId xmlns:a16="http://schemas.microsoft.com/office/drawing/2014/main" id="{585DE2C1-CDDC-4FC8-9E2E-B9E54F757216}"/>
                    </a:ext>
                  </a:extLst>
                </p:cNvPr>
                <p:cNvSpPr/>
                <p:nvPr/>
              </p:nvSpPr>
              <p:spPr>
                <a:xfrm>
                  <a:off x="6884907" y="1929182"/>
                  <a:ext cx="3229" cy="1315"/>
                </a:xfrm>
                <a:custGeom>
                  <a:avLst/>
                  <a:gdLst>
                    <a:gd name="connsiteX0" fmla="*/ 3230 w 3229"/>
                    <a:gd name="connsiteY0" fmla="*/ 1316 h 1315"/>
                    <a:gd name="connsiteX1" fmla="*/ 2213 w 3229"/>
                    <a:gd name="connsiteY1" fmla="*/ 897 h 1315"/>
                    <a:gd name="connsiteX2" fmla="*/ 2093 w 3229"/>
                    <a:gd name="connsiteY2" fmla="*/ 837 h 1315"/>
                    <a:gd name="connsiteX3" fmla="*/ 0 w 3229"/>
                    <a:gd name="connsiteY3" fmla="*/ 0 h 1315"/>
                  </a:gdLst>
                  <a:ahLst/>
                  <a:cxnLst>
                    <a:cxn ang="0">
                      <a:pos x="connsiteX0" y="connsiteY0"/>
                    </a:cxn>
                    <a:cxn ang="0">
                      <a:pos x="connsiteX1" y="connsiteY1"/>
                    </a:cxn>
                    <a:cxn ang="0">
                      <a:pos x="connsiteX2" y="connsiteY2"/>
                    </a:cxn>
                    <a:cxn ang="0">
                      <a:pos x="connsiteX3" y="connsiteY3"/>
                    </a:cxn>
                  </a:cxnLst>
                  <a:rect l="l" t="t" r="r" b="b"/>
                  <a:pathLst>
                    <a:path w="3229" h="1315">
                      <a:moveTo>
                        <a:pt x="3230" y="1316"/>
                      </a:moveTo>
                      <a:lnTo>
                        <a:pt x="2213" y="897"/>
                      </a:lnTo>
                      <a:lnTo>
                        <a:pt x="2093" y="83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08" name="Vrije vorm: vorm 6807">
                  <a:extLst>
                    <a:ext uri="{FF2B5EF4-FFF2-40B4-BE49-F238E27FC236}">
                      <a16:creationId xmlns:a16="http://schemas.microsoft.com/office/drawing/2014/main" id="{19C2D7B0-0742-4507-8C0B-AB45C5E81F86}"/>
                    </a:ext>
                  </a:extLst>
                </p:cNvPr>
                <p:cNvSpPr/>
                <p:nvPr/>
              </p:nvSpPr>
              <p:spPr>
                <a:xfrm>
                  <a:off x="6875637" y="1923679"/>
                  <a:ext cx="24819" cy="17045"/>
                </a:xfrm>
                <a:custGeom>
                  <a:avLst/>
                  <a:gdLst>
                    <a:gd name="connsiteX0" fmla="*/ 0 w 24819"/>
                    <a:gd name="connsiteY0" fmla="*/ 5383 h 17045"/>
                    <a:gd name="connsiteX1" fmla="*/ 3409 w 24819"/>
                    <a:gd name="connsiteY1" fmla="*/ 0 h 17045"/>
                    <a:gd name="connsiteX2" fmla="*/ 5861 w 24819"/>
                    <a:gd name="connsiteY2" fmla="*/ 0 h 17045"/>
                    <a:gd name="connsiteX3" fmla="*/ 5981 w 24819"/>
                    <a:gd name="connsiteY3" fmla="*/ 0 h 17045"/>
                    <a:gd name="connsiteX4" fmla="*/ 6997 w 24819"/>
                    <a:gd name="connsiteY4" fmla="*/ 0 h 17045"/>
                    <a:gd name="connsiteX5" fmla="*/ 7595 w 24819"/>
                    <a:gd name="connsiteY5" fmla="*/ 0 h 17045"/>
                    <a:gd name="connsiteX6" fmla="*/ 8313 w 24819"/>
                    <a:gd name="connsiteY6" fmla="*/ 0 h 17045"/>
                    <a:gd name="connsiteX7" fmla="*/ 9449 w 24819"/>
                    <a:gd name="connsiteY7" fmla="*/ 60 h 17045"/>
                    <a:gd name="connsiteX8" fmla="*/ 10585 w 24819"/>
                    <a:gd name="connsiteY8" fmla="*/ 120 h 17045"/>
                    <a:gd name="connsiteX9" fmla="*/ 11303 w 24819"/>
                    <a:gd name="connsiteY9" fmla="*/ 120 h 17045"/>
                    <a:gd name="connsiteX10" fmla="*/ 16387 w 24819"/>
                    <a:gd name="connsiteY10" fmla="*/ 1196 h 17045"/>
                    <a:gd name="connsiteX11" fmla="*/ 16865 w 24819"/>
                    <a:gd name="connsiteY11" fmla="*/ 1316 h 17045"/>
                    <a:gd name="connsiteX12" fmla="*/ 16925 w 24819"/>
                    <a:gd name="connsiteY12" fmla="*/ 1376 h 17045"/>
                    <a:gd name="connsiteX13" fmla="*/ 18301 w 24819"/>
                    <a:gd name="connsiteY13" fmla="*/ 2273 h 17045"/>
                    <a:gd name="connsiteX14" fmla="*/ 18540 w 24819"/>
                    <a:gd name="connsiteY14" fmla="*/ 2392 h 17045"/>
                    <a:gd name="connsiteX15" fmla="*/ 20454 w 24819"/>
                    <a:gd name="connsiteY15" fmla="*/ 3648 h 17045"/>
                    <a:gd name="connsiteX16" fmla="*/ 20513 w 24819"/>
                    <a:gd name="connsiteY16" fmla="*/ 3648 h 17045"/>
                    <a:gd name="connsiteX17" fmla="*/ 21231 w 24819"/>
                    <a:gd name="connsiteY17" fmla="*/ 4785 h 17045"/>
                    <a:gd name="connsiteX18" fmla="*/ 21710 w 24819"/>
                    <a:gd name="connsiteY18" fmla="*/ 5562 h 17045"/>
                    <a:gd name="connsiteX19" fmla="*/ 21949 w 24819"/>
                    <a:gd name="connsiteY19" fmla="*/ 5921 h 17045"/>
                    <a:gd name="connsiteX20" fmla="*/ 22966 w 24819"/>
                    <a:gd name="connsiteY20" fmla="*/ 7476 h 17045"/>
                    <a:gd name="connsiteX21" fmla="*/ 23923 w 24819"/>
                    <a:gd name="connsiteY21" fmla="*/ 8971 h 17045"/>
                    <a:gd name="connsiteX22" fmla="*/ 23982 w 24819"/>
                    <a:gd name="connsiteY22" fmla="*/ 9390 h 17045"/>
                    <a:gd name="connsiteX23" fmla="*/ 23982 w 24819"/>
                    <a:gd name="connsiteY23" fmla="*/ 9450 h 17045"/>
                    <a:gd name="connsiteX24" fmla="*/ 24102 w 24819"/>
                    <a:gd name="connsiteY24" fmla="*/ 10167 h 17045"/>
                    <a:gd name="connsiteX25" fmla="*/ 24102 w 24819"/>
                    <a:gd name="connsiteY25" fmla="*/ 10167 h 17045"/>
                    <a:gd name="connsiteX26" fmla="*/ 24341 w 24819"/>
                    <a:gd name="connsiteY26" fmla="*/ 11304 h 17045"/>
                    <a:gd name="connsiteX27" fmla="*/ 24461 w 24819"/>
                    <a:gd name="connsiteY27" fmla="*/ 12021 h 17045"/>
                    <a:gd name="connsiteX28" fmla="*/ 24461 w 24819"/>
                    <a:gd name="connsiteY28" fmla="*/ 12081 h 17045"/>
                    <a:gd name="connsiteX29" fmla="*/ 24819 w 24819"/>
                    <a:gd name="connsiteY29" fmla="*/ 13995 h 17045"/>
                    <a:gd name="connsiteX30" fmla="*/ 24760 w 24819"/>
                    <a:gd name="connsiteY30" fmla="*/ 14832 h 17045"/>
                    <a:gd name="connsiteX31" fmla="*/ 24760 w 24819"/>
                    <a:gd name="connsiteY31" fmla="*/ 15251 h 17045"/>
                    <a:gd name="connsiteX32" fmla="*/ 24760 w 24819"/>
                    <a:gd name="connsiteY32" fmla="*/ 15311 h 17045"/>
                    <a:gd name="connsiteX33" fmla="*/ 24760 w 24819"/>
                    <a:gd name="connsiteY33" fmla="*/ 15490 h 17045"/>
                    <a:gd name="connsiteX34" fmla="*/ 24700 w 24819"/>
                    <a:gd name="connsiteY34" fmla="*/ 17045 h 1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819" h="17045">
                      <a:moveTo>
                        <a:pt x="0" y="5383"/>
                      </a:moveTo>
                      <a:lnTo>
                        <a:pt x="3409" y="0"/>
                      </a:lnTo>
                      <a:lnTo>
                        <a:pt x="5861" y="0"/>
                      </a:lnTo>
                      <a:lnTo>
                        <a:pt x="5981" y="0"/>
                      </a:lnTo>
                      <a:lnTo>
                        <a:pt x="6997" y="0"/>
                      </a:lnTo>
                      <a:lnTo>
                        <a:pt x="7595" y="0"/>
                      </a:lnTo>
                      <a:lnTo>
                        <a:pt x="8313" y="0"/>
                      </a:lnTo>
                      <a:lnTo>
                        <a:pt x="9449" y="60"/>
                      </a:lnTo>
                      <a:lnTo>
                        <a:pt x="10585" y="120"/>
                      </a:lnTo>
                      <a:lnTo>
                        <a:pt x="11303" y="120"/>
                      </a:lnTo>
                      <a:lnTo>
                        <a:pt x="16387" y="1196"/>
                      </a:lnTo>
                      <a:lnTo>
                        <a:pt x="16865" y="1316"/>
                      </a:lnTo>
                      <a:lnTo>
                        <a:pt x="16925" y="1376"/>
                      </a:lnTo>
                      <a:lnTo>
                        <a:pt x="18301" y="2273"/>
                      </a:lnTo>
                      <a:lnTo>
                        <a:pt x="18540" y="2392"/>
                      </a:lnTo>
                      <a:lnTo>
                        <a:pt x="20454" y="3648"/>
                      </a:lnTo>
                      <a:lnTo>
                        <a:pt x="20513" y="3648"/>
                      </a:lnTo>
                      <a:lnTo>
                        <a:pt x="21231" y="4785"/>
                      </a:lnTo>
                      <a:lnTo>
                        <a:pt x="21710" y="5562"/>
                      </a:lnTo>
                      <a:lnTo>
                        <a:pt x="21949" y="5921"/>
                      </a:lnTo>
                      <a:lnTo>
                        <a:pt x="22966" y="7476"/>
                      </a:lnTo>
                      <a:lnTo>
                        <a:pt x="23923" y="8971"/>
                      </a:lnTo>
                      <a:lnTo>
                        <a:pt x="23982" y="9390"/>
                      </a:lnTo>
                      <a:lnTo>
                        <a:pt x="23982" y="9450"/>
                      </a:lnTo>
                      <a:lnTo>
                        <a:pt x="24102" y="10167"/>
                      </a:lnTo>
                      <a:lnTo>
                        <a:pt x="24102" y="10167"/>
                      </a:lnTo>
                      <a:lnTo>
                        <a:pt x="24341" y="11304"/>
                      </a:lnTo>
                      <a:lnTo>
                        <a:pt x="24461" y="12021"/>
                      </a:lnTo>
                      <a:lnTo>
                        <a:pt x="24461" y="12081"/>
                      </a:lnTo>
                      <a:lnTo>
                        <a:pt x="24819" y="13995"/>
                      </a:lnTo>
                      <a:lnTo>
                        <a:pt x="24760" y="14832"/>
                      </a:lnTo>
                      <a:lnTo>
                        <a:pt x="24760" y="15251"/>
                      </a:lnTo>
                      <a:lnTo>
                        <a:pt x="24760" y="15311"/>
                      </a:lnTo>
                      <a:lnTo>
                        <a:pt x="24760" y="15490"/>
                      </a:lnTo>
                      <a:lnTo>
                        <a:pt x="24700" y="17045"/>
                      </a:lnTo>
                    </a:path>
                  </a:pathLst>
                </a:custGeom>
                <a:noFill/>
                <a:ln w="6350" cap="rnd">
                  <a:solidFill>
                    <a:schemeClr val="bg1">
                      <a:alpha val="40000"/>
                    </a:schemeClr>
                  </a:solidFill>
                  <a:prstDash val="solid"/>
                  <a:round/>
                </a:ln>
              </p:spPr>
              <p:txBody>
                <a:bodyPr rtlCol="0" anchor="ctr"/>
                <a:lstStyle/>
                <a:p>
                  <a:endParaRPr lang="en-GB"/>
                </a:p>
              </p:txBody>
            </p:sp>
            <p:sp>
              <p:nvSpPr>
                <p:cNvPr id="6809" name="Vrije vorm: vorm 6808">
                  <a:extLst>
                    <a:ext uri="{FF2B5EF4-FFF2-40B4-BE49-F238E27FC236}">
                      <a16:creationId xmlns:a16="http://schemas.microsoft.com/office/drawing/2014/main" id="{A10E1200-45A5-4B91-9065-936C3C1AB962}"/>
                    </a:ext>
                  </a:extLst>
                </p:cNvPr>
                <p:cNvSpPr/>
                <p:nvPr/>
              </p:nvSpPr>
              <p:spPr>
                <a:xfrm>
                  <a:off x="6741489" y="1840966"/>
                  <a:ext cx="1435" cy="5861"/>
                </a:xfrm>
                <a:custGeom>
                  <a:avLst/>
                  <a:gdLst>
                    <a:gd name="connsiteX0" fmla="*/ 0 w 1435"/>
                    <a:gd name="connsiteY0" fmla="*/ 5861 h 5861"/>
                    <a:gd name="connsiteX1" fmla="*/ 897 w 1435"/>
                    <a:gd name="connsiteY1" fmla="*/ 2093 h 5861"/>
                    <a:gd name="connsiteX2" fmla="*/ 1196 w 1435"/>
                    <a:gd name="connsiteY2" fmla="*/ 897 h 5861"/>
                    <a:gd name="connsiteX3" fmla="*/ 1435 w 1435"/>
                    <a:gd name="connsiteY3" fmla="*/ 0 h 5861"/>
                  </a:gdLst>
                  <a:ahLst/>
                  <a:cxnLst>
                    <a:cxn ang="0">
                      <a:pos x="connsiteX0" y="connsiteY0"/>
                    </a:cxn>
                    <a:cxn ang="0">
                      <a:pos x="connsiteX1" y="connsiteY1"/>
                    </a:cxn>
                    <a:cxn ang="0">
                      <a:pos x="connsiteX2" y="connsiteY2"/>
                    </a:cxn>
                    <a:cxn ang="0">
                      <a:pos x="connsiteX3" y="connsiteY3"/>
                    </a:cxn>
                  </a:cxnLst>
                  <a:rect l="l" t="t" r="r" b="b"/>
                  <a:pathLst>
                    <a:path w="1435" h="5861">
                      <a:moveTo>
                        <a:pt x="0" y="5861"/>
                      </a:moveTo>
                      <a:lnTo>
                        <a:pt x="897" y="2093"/>
                      </a:lnTo>
                      <a:lnTo>
                        <a:pt x="1196" y="897"/>
                      </a:lnTo>
                      <a:lnTo>
                        <a:pt x="1435" y="0"/>
                      </a:lnTo>
                    </a:path>
                  </a:pathLst>
                </a:custGeom>
                <a:noFill/>
                <a:ln w="6350" cap="rnd">
                  <a:solidFill>
                    <a:schemeClr val="bg1">
                      <a:alpha val="40000"/>
                    </a:schemeClr>
                  </a:solidFill>
                  <a:prstDash val="solid"/>
                  <a:round/>
                </a:ln>
              </p:spPr>
              <p:txBody>
                <a:bodyPr rtlCol="0" anchor="ctr"/>
                <a:lstStyle/>
                <a:p>
                  <a:endParaRPr lang="en-GB"/>
                </a:p>
              </p:txBody>
            </p:sp>
            <p:sp>
              <p:nvSpPr>
                <p:cNvPr id="6810" name="Vrije vorm: vorm 6809">
                  <a:extLst>
                    <a:ext uri="{FF2B5EF4-FFF2-40B4-BE49-F238E27FC236}">
                      <a16:creationId xmlns:a16="http://schemas.microsoft.com/office/drawing/2014/main" id="{1B23BBA5-A9CD-4F88-ADDC-1AF612AF9844}"/>
                    </a:ext>
                  </a:extLst>
                </p:cNvPr>
                <p:cNvSpPr/>
                <p:nvPr/>
              </p:nvSpPr>
              <p:spPr>
                <a:xfrm>
                  <a:off x="6626480" y="1889769"/>
                  <a:ext cx="8133" cy="3767"/>
                </a:xfrm>
                <a:custGeom>
                  <a:avLst/>
                  <a:gdLst>
                    <a:gd name="connsiteX0" fmla="*/ 8134 w 8133"/>
                    <a:gd name="connsiteY0" fmla="*/ 0 h 3767"/>
                    <a:gd name="connsiteX1" fmla="*/ 0 w 8133"/>
                    <a:gd name="connsiteY1" fmla="*/ 3768 h 3767"/>
                  </a:gdLst>
                  <a:ahLst/>
                  <a:cxnLst>
                    <a:cxn ang="0">
                      <a:pos x="connsiteX0" y="connsiteY0"/>
                    </a:cxn>
                    <a:cxn ang="0">
                      <a:pos x="connsiteX1" y="connsiteY1"/>
                    </a:cxn>
                  </a:cxnLst>
                  <a:rect l="l" t="t" r="r" b="b"/>
                  <a:pathLst>
                    <a:path w="8133" h="3767">
                      <a:moveTo>
                        <a:pt x="8134" y="0"/>
                      </a:moveTo>
                      <a:lnTo>
                        <a:pt x="0" y="3768"/>
                      </a:lnTo>
                    </a:path>
                  </a:pathLst>
                </a:custGeom>
                <a:noFill/>
                <a:ln w="6350" cap="rnd">
                  <a:solidFill>
                    <a:schemeClr val="bg1">
                      <a:alpha val="40000"/>
                    </a:schemeClr>
                  </a:solidFill>
                  <a:prstDash val="solid"/>
                  <a:round/>
                </a:ln>
              </p:spPr>
              <p:txBody>
                <a:bodyPr rtlCol="0" anchor="ctr"/>
                <a:lstStyle/>
                <a:p>
                  <a:endParaRPr lang="en-GB"/>
                </a:p>
              </p:txBody>
            </p:sp>
            <p:sp>
              <p:nvSpPr>
                <p:cNvPr id="6811" name="Vrije vorm: vorm 6810">
                  <a:extLst>
                    <a:ext uri="{FF2B5EF4-FFF2-40B4-BE49-F238E27FC236}">
                      <a16:creationId xmlns:a16="http://schemas.microsoft.com/office/drawing/2014/main" id="{B9080205-F519-4AFB-B72A-68D524F2DD3C}"/>
                    </a:ext>
                  </a:extLst>
                </p:cNvPr>
                <p:cNvSpPr/>
                <p:nvPr/>
              </p:nvSpPr>
              <p:spPr>
                <a:xfrm>
                  <a:off x="6948721" y="1997242"/>
                  <a:ext cx="1315" cy="4545"/>
                </a:xfrm>
                <a:custGeom>
                  <a:avLst/>
                  <a:gdLst>
                    <a:gd name="connsiteX0" fmla="*/ 0 w 1315"/>
                    <a:gd name="connsiteY0" fmla="*/ 4545 h 4545"/>
                    <a:gd name="connsiteX1" fmla="*/ 1316 w 1315"/>
                    <a:gd name="connsiteY1" fmla="*/ 1974 h 4545"/>
                    <a:gd name="connsiteX2" fmla="*/ 837 w 1315"/>
                    <a:gd name="connsiteY2" fmla="*/ 0 h 4545"/>
                  </a:gdLst>
                  <a:ahLst/>
                  <a:cxnLst>
                    <a:cxn ang="0">
                      <a:pos x="connsiteX0" y="connsiteY0"/>
                    </a:cxn>
                    <a:cxn ang="0">
                      <a:pos x="connsiteX1" y="connsiteY1"/>
                    </a:cxn>
                    <a:cxn ang="0">
                      <a:pos x="connsiteX2" y="connsiteY2"/>
                    </a:cxn>
                  </a:cxnLst>
                  <a:rect l="l" t="t" r="r" b="b"/>
                  <a:pathLst>
                    <a:path w="1315" h="4545">
                      <a:moveTo>
                        <a:pt x="0" y="4545"/>
                      </a:moveTo>
                      <a:lnTo>
                        <a:pt x="1316" y="1974"/>
                      </a:lnTo>
                      <a:lnTo>
                        <a:pt x="837" y="0"/>
                      </a:lnTo>
                    </a:path>
                  </a:pathLst>
                </a:custGeom>
                <a:noFill/>
                <a:ln w="6350" cap="rnd">
                  <a:solidFill>
                    <a:schemeClr val="bg1">
                      <a:alpha val="40000"/>
                    </a:schemeClr>
                  </a:solidFill>
                  <a:prstDash val="solid"/>
                  <a:round/>
                </a:ln>
              </p:spPr>
              <p:txBody>
                <a:bodyPr rtlCol="0" anchor="ctr"/>
                <a:lstStyle/>
                <a:p>
                  <a:endParaRPr lang="en-GB"/>
                </a:p>
              </p:txBody>
            </p:sp>
            <p:sp>
              <p:nvSpPr>
                <p:cNvPr id="6812" name="Vrije vorm: vorm 6811">
                  <a:extLst>
                    <a:ext uri="{FF2B5EF4-FFF2-40B4-BE49-F238E27FC236}">
                      <a16:creationId xmlns:a16="http://schemas.microsoft.com/office/drawing/2014/main" id="{1A93A899-C861-44E4-BB8C-CFF26676C273}"/>
                    </a:ext>
                  </a:extLst>
                </p:cNvPr>
                <p:cNvSpPr/>
                <p:nvPr/>
              </p:nvSpPr>
              <p:spPr>
                <a:xfrm>
                  <a:off x="6815949" y="2073736"/>
                  <a:ext cx="4246" cy="956"/>
                </a:xfrm>
                <a:custGeom>
                  <a:avLst/>
                  <a:gdLst>
                    <a:gd name="connsiteX0" fmla="*/ 0 w 4246"/>
                    <a:gd name="connsiteY0" fmla="*/ 957 h 956"/>
                    <a:gd name="connsiteX1" fmla="*/ 2033 w 4246"/>
                    <a:gd name="connsiteY1" fmla="*/ 419 h 956"/>
                    <a:gd name="connsiteX2" fmla="*/ 4246 w 4246"/>
                    <a:gd name="connsiteY2" fmla="*/ 0 h 956"/>
                  </a:gdLst>
                  <a:ahLst/>
                  <a:cxnLst>
                    <a:cxn ang="0">
                      <a:pos x="connsiteX0" y="connsiteY0"/>
                    </a:cxn>
                    <a:cxn ang="0">
                      <a:pos x="connsiteX1" y="connsiteY1"/>
                    </a:cxn>
                    <a:cxn ang="0">
                      <a:pos x="connsiteX2" y="connsiteY2"/>
                    </a:cxn>
                  </a:cxnLst>
                  <a:rect l="l" t="t" r="r" b="b"/>
                  <a:pathLst>
                    <a:path w="4246" h="956">
                      <a:moveTo>
                        <a:pt x="0" y="957"/>
                      </a:moveTo>
                      <a:lnTo>
                        <a:pt x="2033" y="419"/>
                      </a:lnTo>
                      <a:lnTo>
                        <a:pt x="4246" y="0"/>
                      </a:lnTo>
                    </a:path>
                  </a:pathLst>
                </a:custGeom>
                <a:noFill/>
                <a:ln w="6350" cap="rnd">
                  <a:solidFill>
                    <a:schemeClr val="bg1">
                      <a:alpha val="40000"/>
                    </a:schemeClr>
                  </a:solidFill>
                  <a:prstDash val="solid"/>
                  <a:round/>
                </a:ln>
              </p:spPr>
              <p:txBody>
                <a:bodyPr rtlCol="0" anchor="ctr"/>
                <a:lstStyle/>
                <a:p>
                  <a:endParaRPr lang="en-GB"/>
                </a:p>
              </p:txBody>
            </p:sp>
            <p:sp>
              <p:nvSpPr>
                <p:cNvPr id="6813" name="Vrije vorm: vorm 6812">
                  <a:extLst>
                    <a:ext uri="{FF2B5EF4-FFF2-40B4-BE49-F238E27FC236}">
                      <a16:creationId xmlns:a16="http://schemas.microsoft.com/office/drawing/2014/main" id="{E99A9D4E-A5D0-4637-84FA-F6DC40483E0B}"/>
                    </a:ext>
                  </a:extLst>
                </p:cNvPr>
                <p:cNvSpPr/>
                <p:nvPr/>
              </p:nvSpPr>
              <p:spPr>
                <a:xfrm>
                  <a:off x="6821392" y="2056392"/>
                  <a:ext cx="21710" cy="6160"/>
                </a:xfrm>
                <a:custGeom>
                  <a:avLst/>
                  <a:gdLst>
                    <a:gd name="connsiteX0" fmla="*/ 21710 w 21710"/>
                    <a:gd name="connsiteY0" fmla="*/ 0 h 6160"/>
                    <a:gd name="connsiteX1" fmla="*/ 18241 w 21710"/>
                    <a:gd name="connsiteY1" fmla="*/ 778 h 6160"/>
                    <a:gd name="connsiteX2" fmla="*/ 13457 w 21710"/>
                    <a:gd name="connsiteY2" fmla="*/ 1794 h 6160"/>
                    <a:gd name="connsiteX3" fmla="*/ 8194 w 21710"/>
                    <a:gd name="connsiteY3" fmla="*/ 3349 h 6160"/>
                    <a:gd name="connsiteX4" fmla="*/ 3050 w 21710"/>
                    <a:gd name="connsiteY4" fmla="*/ 4904 h 6160"/>
                    <a:gd name="connsiteX5" fmla="*/ 2632 w 21710"/>
                    <a:gd name="connsiteY5" fmla="*/ 5084 h 6160"/>
                    <a:gd name="connsiteX6" fmla="*/ 0 w 21710"/>
                    <a:gd name="connsiteY6" fmla="*/ 6160 h 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0" h="6160">
                      <a:moveTo>
                        <a:pt x="21710" y="0"/>
                      </a:moveTo>
                      <a:lnTo>
                        <a:pt x="18241" y="778"/>
                      </a:lnTo>
                      <a:lnTo>
                        <a:pt x="13457" y="1794"/>
                      </a:lnTo>
                      <a:lnTo>
                        <a:pt x="8194" y="3349"/>
                      </a:lnTo>
                      <a:lnTo>
                        <a:pt x="3050" y="4904"/>
                      </a:lnTo>
                      <a:lnTo>
                        <a:pt x="2632" y="5084"/>
                      </a:lnTo>
                      <a:lnTo>
                        <a:pt x="0" y="6160"/>
                      </a:lnTo>
                    </a:path>
                  </a:pathLst>
                </a:custGeom>
                <a:noFill/>
                <a:ln w="6350" cap="rnd">
                  <a:solidFill>
                    <a:schemeClr val="bg1">
                      <a:alpha val="40000"/>
                    </a:schemeClr>
                  </a:solidFill>
                  <a:prstDash val="solid"/>
                  <a:round/>
                </a:ln>
              </p:spPr>
              <p:txBody>
                <a:bodyPr rtlCol="0" anchor="ctr"/>
                <a:lstStyle/>
                <a:p>
                  <a:endParaRPr lang="en-GB"/>
                </a:p>
              </p:txBody>
            </p:sp>
            <p:sp>
              <p:nvSpPr>
                <p:cNvPr id="6814" name="Vrije vorm: vorm 6813">
                  <a:extLst>
                    <a:ext uri="{FF2B5EF4-FFF2-40B4-BE49-F238E27FC236}">
                      <a16:creationId xmlns:a16="http://schemas.microsoft.com/office/drawing/2014/main" id="{89CD27A8-01D6-46AC-90CB-89EB483ECED7}"/>
                    </a:ext>
                  </a:extLst>
                </p:cNvPr>
                <p:cNvSpPr/>
                <p:nvPr/>
              </p:nvSpPr>
              <p:spPr>
                <a:xfrm>
                  <a:off x="6751956" y="1860164"/>
                  <a:ext cx="2093" cy="7236"/>
                </a:xfrm>
                <a:custGeom>
                  <a:avLst/>
                  <a:gdLst>
                    <a:gd name="connsiteX0" fmla="*/ 0 w 2093"/>
                    <a:gd name="connsiteY0" fmla="*/ 7237 h 7236"/>
                    <a:gd name="connsiteX1" fmla="*/ 359 w 2093"/>
                    <a:gd name="connsiteY1" fmla="*/ 6579 h 7236"/>
                    <a:gd name="connsiteX2" fmla="*/ 2093 w 2093"/>
                    <a:gd name="connsiteY2" fmla="*/ 3588 h 7236"/>
                    <a:gd name="connsiteX3" fmla="*/ 1375 w 2093"/>
                    <a:gd name="connsiteY3" fmla="*/ 0 h 7236"/>
                  </a:gdLst>
                  <a:ahLst/>
                  <a:cxnLst>
                    <a:cxn ang="0">
                      <a:pos x="connsiteX0" y="connsiteY0"/>
                    </a:cxn>
                    <a:cxn ang="0">
                      <a:pos x="connsiteX1" y="connsiteY1"/>
                    </a:cxn>
                    <a:cxn ang="0">
                      <a:pos x="connsiteX2" y="connsiteY2"/>
                    </a:cxn>
                    <a:cxn ang="0">
                      <a:pos x="connsiteX3" y="connsiteY3"/>
                    </a:cxn>
                  </a:cxnLst>
                  <a:rect l="l" t="t" r="r" b="b"/>
                  <a:pathLst>
                    <a:path w="2093" h="7236">
                      <a:moveTo>
                        <a:pt x="0" y="7237"/>
                      </a:moveTo>
                      <a:lnTo>
                        <a:pt x="359" y="6579"/>
                      </a:lnTo>
                      <a:lnTo>
                        <a:pt x="2093" y="3588"/>
                      </a:lnTo>
                      <a:lnTo>
                        <a:pt x="1375" y="0"/>
                      </a:lnTo>
                    </a:path>
                  </a:pathLst>
                </a:custGeom>
                <a:noFill/>
                <a:ln w="6350" cap="rnd">
                  <a:solidFill>
                    <a:schemeClr val="bg1">
                      <a:alpha val="40000"/>
                    </a:schemeClr>
                  </a:solidFill>
                  <a:prstDash val="solid"/>
                  <a:round/>
                </a:ln>
              </p:spPr>
              <p:txBody>
                <a:bodyPr rtlCol="0" anchor="ctr"/>
                <a:lstStyle/>
                <a:p>
                  <a:endParaRPr lang="en-GB"/>
                </a:p>
              </p:txBody>
            </p:sp>
            <p:sp>
              <p:nvSpPr>
                <p:cNvPr id="6815" name="Vrije vorm: vorm 6814">
                  <a:extLst>
                    <a:ext uri="{FF2B5EF4-FFF2-40B4-BE49-F238E27FC236}">
                      <a16:creationId xmlns:a16="http://schemas.microsoft.com/office/drawing/2014/main" id="{8060AA6F-8424-472E-95D3-CCBDF47BDF0A}"/>
                    </a:ext>
                  </a:extLst>
                </p:cNvPr>
                <p:cNvSpPr/>
                <p:nvPr/>
              </p:nvSpPr>
              <p:spPr>
                <a:xfrm>
                  <a:off x="7072402" y="1850057"/>
                  <a:ext cx="2990" cy="9688"/>
                </a:xfrm>
                <a:custGeom>
                  <a:avLst/>
                  <a:gdLst>
                    <a:gd name="connsiteX0" fmla="*/ 2990 w 2990"/>
                    <a:gd name="connsiteY0" fmla="*/ 0 h 9688"/>
                    <a:gd name="connsiteX1" fmla="*/ 1316 w 2990"/>
                    <a:gd name="connsiteY1" fmla="*/ 5861 h 9688"/>
                    <a:gd name="connsiteX2" fmla="*/ 0 w 2990"/>
                    <a:gd name="connsiteY2" fmla="*/ 9689 h 9688"/>
                  </a:gdLst>
                  <a:ahLst/>
                  <a:cxnLst>
                    <a:cxn ang="0">
                      <a:pos x="connsiteX0" y="connsiteY0"/>
                    </a:cxn>
                    <a:cxn ang="0">
                      <a:pos x="connsiteX1" y="connsiteY1"/>
                    </a:cxn>
                    <a:cxn ang="0">
                      <a:pos x="connsiteX2" y="connsiteY2"/>
                    </a:cxn>
                  </a:cxnLst>
                  <a:rect l="l" t="t" r="r" b="b"/>
                  <a:pathLst>
                    <a:path w="2990" h="9688">
                      <a:moveTo>
                        <a:pt x="2990" y="0"/>
                      </a:moveTo>
                      <a:lnTo>
                        <a:pt x="1316" y="5861"/>
                      </a:lnTo>
                      <a:lnTo>
                        <a:pt x="0" y="9689"/>
                      </a:lnTo>
                    </a:path>
                  </a:pathLst>
                </a:custGeom>
                <a:noFill/>
                <a:ln w="6350" cap="rnd">
                  <a:solidFill>
                    <a:schemeClr val="bg1">
                      <a:alpha val="40000"/>
                    </a:schemeClr>
                  </a:solidFill>
                  <a:prstDash val="solid"/>
                  <a:round/>
                </a:ln>
              </p:spPr>
              <p:txBody>
                <a:bodyPr rtlCol="0" anchor="ctr"/>
                <a:lstStyle/>
                <a:p>
                  <a:endParaRPr lang="en-GB"/>
                </a:p>
              </p:txBody>
            </p:sp>
            <p:sp>
              <p:nvSpPr>
                <p:cNvPr id="6816" name="Vrije vorm: vorm 6815">
                  <a:extLst>
                    <a:ext uri="{FF2B5EF4-FFF2-40B4-BE49-F238E27FC236}">
                      <a16:creationId xmlns:a16="http://schemas.microsoft.com/office/drawing/2014/main" id="{7B83BC3E-0EE3-4CAB-BD23-5A04ED32AA97}"/>
                    </a:ext>
                  </a:extLst>
                </p:cNvPr>
                <p:cNvSpPr/>
                <p:nvPr/>
              </p:nvSpPr>
              <p:spPr>
                <a:xfrm>
                  <a:off x="6640296" y="1825057"/>
                  <a:ext cx="358" cy="418"/>
                </a:xfrm>
                <a:custGeom>
                  <a:avLst/>
                  <a:gdLst>
                    <a:gd name="connsiteX0" fmla="*/ 359 w 358"/>
                    <a:gd name="connsiteY0" fmla="*/ 179 h 418"/>
                    <a:gd name="connsiteX1" fmla="*/ 60 w 358"/>
                    <a:gd name="connsiteY1" fmla="*/ 0 h 418"/>
                    <a:gd name="connsiteX2" fmla="*/ 0 w 358"/>
                    <a:gd name="connsiteY2" fmla="*/ 0 h 418"/>
                    <a:gd name="connsiteX3" fmla="*/ 0 w 358"/>
                    <a:gd name="connsiteY3" fmla="*/ 419 h 418"/>
                  </a:gdLst>
                  <a:ahLst/>
                  <a:cxnLst>
                    <a:cxn ang="0">
                      <a:pos x="connsiteX0" y="connsiteY0"/>
                    </a:cxn>
                    <a:cxn ang="0">
                      <a:pos x="connsiteX1" y="connsiteY1"/>
                    </a:cxn>
                    <a:cxn ang="0">
                      <a:pos x="connsiteX2" y="connsiteY2"/>
                    </a:cxn>
                    <a:cxn ang="0">
                      <a:pos x="connsiteX3" y="connsiteY3"/>
                    </a:cxn>
                  </a:cxnLst>
                  <a:rect l="l" t="t" r="r" b="b"/>
                  <a:pathLst>
                    <a:path w="358" h="418">
                      <a:moveTo>
                        <a:pt x="359" y="179"/>
                      </a:moveTo>
                      <a:lnTo>
                        <a:pt x="60" y="0"/>
                      </a:lnTo>
                      <a:lnTo>
                        <a:pt x="0" y="0"/>
                      </a:lnTo>
                      <a:lnTo>
                        <a:pt x="0" y="419"/>
                      </a:lnTo>
                    </a:path>
                  </a:pathLst>
                </a:custGeom>
                <a:noFill/>
                <a:ln w="6350" cap="rnd">
                  <a:solidFill>
                    <a:schemeClr val="bg1">
                      <a:alpha val="40000"/>
                    </a:schemeClr>
                  </a:solidFill>
                  <a:prstDash val="solid"/>
                  <a:round/>
                </a:ln>
              </p:spPr>
              <p:txBody>
                <a:bodyPr rtlCol="0" anchor="ctr"/>
                <a:lstStyle/>
                <a:p>
                  <a:endParaRPr lang="en-GB"/>
                </a:p>
              </p:txBody>
            </p:sp>
            <p:sp>
              <p:nvSpPr>
                <p:cNvPr id="6817" name="Vrije vorm: vorm 6816">
                  <a:extLst>
                    <a:ext uri="{FF2B5EF4-FFF2-40B4-BE49-F238E27FC236}">
                      <a16:creationId xmlns:a16="http://schemas.microsoft.com/office/drawing/2014/main" id="{4209CC18-7152-46DE-9F4A-F2DFBF9F9C69}"/>
                    </a:ext>
                  </a:extLst>
                </p:cNvPr>
                <p:cNvSpPr/>
                <p:nvPr/>
              </p:nvSpPr>
              <p:spPr>
                <a:xfrm>
                  <a:off x="6912179" y="1974276"/>
                  <a:ext cx="3110" cy="6219"/>
                </a:xfrm>
                <a:custGeom>
                  <a:avLst/>
                  <a:gdLst>
                    <a:gd name="connsiteX0" fmla="*/ 3110 w 3110"/>
                    <a:gd name="connsiteY0" fmla="*/ 6220 h 6219"/>
                    <a:gd name="connsiteX1" fmla="*/ 3110 w 3110"/>
                    <a:gd name="connsiteY1" fmla="*/ 6100 h 6219"/>
                    <a:gd name="connsiteX2" fmla="*/ 3110 w 3110"/>
                    <a:gd name="connsiteY2" fmla="*/ 6100 h 6219"/>
                    <a:gd name="connsiteX3" fmla="*/ 2811 w 3110"/>
                    <a:gd name="connsiteY3" fmla="*/ 4545 h 6219"/>
                    <a:gd name="connsiteX4" fmla="*/ 2631 w 3110"/>
                    <a:gd name="connsiteY4" fmla="*/ 3588 h 6219"/>
                    <a:gd name="connsiteX5" fmla="*/ 2392 w 3110"/>
                    <a:gd name="connsiteY5" fmla="*/ 2392 h 6219"/>
                    <a:gd name="connsiteX6" fmla="*/ 2213 w 3110"/>
                    <a:gd name="connsiteY6" fmla="*/ 2213 h 6219"/>
                    <a:gd name="connsiteX7" fmla="*/ 1316 w 3110"/>
                    <a:gd name="connsiteY7" fmla="*/ 1316 h 6219"/>
                    <a:gd name="connsiteX8" fmla="*/ 1016 w 3110"/>
                    <a:gd name="connsiteY8" fmla="*/ 1017 h 6219"/>
                    <a:gd name="connsiteX9" fmla="*/ 1016 w 3110"/>
                    <a:gd name="connsiteY9" fmla="*/ 1017 h 6219"/>
                    <a:gd name="connsiteX10" fmla="*/ 956 w 3110"/>
                    <a:gd name="connsiteY10" fmla="*/ 957 h 6219"/>
                    <a:gd name="connsiteX11" fmla="*/ 0 w 3110"/>
                    <a:gd name="connsiteY11" fmla="*/ 0 h 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10" h="6219">
                      <a:moveTo>
                        <a:pt x="3110" y="6220"/>
                      </a:moveTo>
                      <a:lnTo>
                        <a:pt x="3110" y="6100"/>
                      </a:lnTo>
                      <a:lnTo>
                        <a:pt x="3110" y="6100"/>
                      </a:lnTo>
                      <a:lnTo>
                        <a:pt x="2811" y="4545"/>
                      </a:lnTo>
                      <a:lnTo>
                        <a:pt x="2631" y="3588"/>
                      </a:lnTo>
                      <a:lnTo>
                        <a:pt x="2392" y="2392"/>
                      </a:lnTo>
                      <a:lnTo>
                        <a:pt x="2213" y="2213"/>
                      </a:lnTo>
                      <a:lnTo>
                        <a:pt x="1316" y="1316"/>
                      </a:lnTo>
                      <a:lnTo>
                        <a:pt x="1016" y="1017"/>
                      </a:lnTo>
                      <a:lnTo>
                        <a:pt x="1016" y="1017"/>
                      </a:lnTo>
                      <a:lnTo>
                        <a:pt x="956" y="95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18" name="Vrije vorm: vorm 6817">
                  <a:extLst>
                    <a:ext uri="{FF2B5EF4-FFF2-40B4-BE49-F238E27FC236}">
                      <a16:creationId xmlns:a16="http://schemas.microsoft.com/office/drawing/2014/main" id="{EBC064F3-F402-4A87-87A6-FA9E93D8F2F2}"/>
                    </a:ext>
                  </a:extLst>
                </p:cNvPr>
                <p:cNvSpPr/>
                <p:nvPr/>
              </p:nvSpPr>
              <p:spPr>
                <a:xfrm>
                  <a:off x="6950217" y="1980137"/>
                  <a:ext cx="1555" cy="6877"/>
                </a:xfrm>
                <a:custGeom>
                  <a:avLst/>
                  <a:gdLst>
                    <a:gd name="connsiteX0" fmla="*/ 0 w 1555"/>
                    <a:gd name="connsiteY0" fmla="*/ 6878 h 6877"/>
                    <a:gd name="connsiteX1" fmla="*/ 239 w 1555"/>
                    <a:gd name="connsiteY1" fmla="*/ 6220 h 6877"/>
                    <a:gd name="connsiteX2" fmla="*/ 299 w 1555"/>
                    <a:gd name="connsiteY2" fmla="*/ 6100 h 6877"/>
                    <a:gd name="connsiteX3" fmla="*/ 658 w 1555"/>
                    <a:gd name="connsiteY3" fmla="*/ 5203 h 6877"/>
                    <a:gd name="connsiteX4" fmla="*/ 1256 w 1555"/>
                    <a:gd name="connsiteY4" fmla="*/ 3708 h 6877"/>
                    <a:gd name="connsiteX5" fmla="*/ 1375 w 1555"/>
                    <a:gd name="connsiteY5" fmla="*/ 3349 h 6877"/>
                    <a:gd name="connsiteX6" fmla="*/ 1555 w 1555"/>
                    <a:gd name="connsiteY6" fmla="*/ 2930 h 6877"/>
                    <a:gd name="connsiteX7" fmla="*/ 1495 w 1555"/>
                    <a:gd name="connsiteY7" fmla="*/ 2691 h 6877"/>
                    <a:gd name="connsiteX8" fmla="*/ 1196 w 1555"/>
                    <a:gd name="connsiteY8" fmla="*/ 1615 h 6877"/>
                    <a:gd name="connsiteX9" fmla="*/ 1016 w 1555"/>
                    <a:gd name="connsiteY9" fmla="*/ 957 h 6877"/>
                    <a:gd name="connsiteX10" fmla="*/ 778 w 1555"/>
                    <a:gd name="connsiteY10" fmla="*/ 0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5" h="6877">
                      <a:moveTo>
                        <a:pt x="0" y="6878"/>
                      </a:moveTo>
                      <a:lnTo>
                        <a:pt x="239" y="6220"/>
                      </a:lnTo>
                      <a:lnTo>
                        <a:pt x="299" y="6100"/>
                      </a:lnTo>
                      <a:lnTo>
                        <a:pt x="658" y="5203"/>
                      </a:lnTo>
                      <a:lnTo>
                        <a:pt x="1256" y="3708"/>
                      </a:lnTo>
                      <a:lnTo>
                        <a:pt x="1375" y="3349"/>
                      </a:lnTo>
                      <a:lnTo>
                        <a:pt x="1555" y="2930"/>
                      </a:lnTo>
                      <a:lnTo>
                        <a:pt x="1495" y="2691"/>
                      </a:lnTo>
                      <a:lnTo>
                        <a:pt x="1196" y="1615"/>
                      </a:lnTo>
                      <a:lnTo>
                        <a:pt x="1016" y="957"/>
                      </a:lnTo>
                      <a:lnTo>
                        <a:pt x="778" y="0"/>
                      </a:lnTo>
                    </a:path>
                  </a:pathLst>
                </a:custGeom>
                <a:noFill/>
                <a:ln w="6350" cap="rnd">
                  <a:solidFill>
                    <a:schemeClr val="bg1">
                      <a:alpha val="40000"/>
                    </a:schemeClr>
                  </a:solidFill>
                  <a:prstDash val="solid"/>
                  <a:round/>
                </a:ln>
              </p:spPr>
              <p:txBody>
                <a:bodyPr rtlCol="0" anchor="ctr"/>
                <a:lstStyle/>
                <a:p>
                  <a:endParaRPr lang="en-GB"/>
                </a:p>
              </p:txBody>
            </p:sp>
            <p:sp>
              <p:nvSpPr>
                <p:cNvPr id="6819" name="Vrije vorm: vorm 6818">
                  <a:extLst>
                    <a:ext uri="{FF2B5EF4-FFF2-40B4-BE49-F238E27FC236}">
                      <a16:creationId xmlns:a16="http://schemas.microsoft.com/office/drawing/2014/main" id="{759729B8-959D-4AB9-A179-1BEE05542AE8}"/>
                    </a:ext>
                  </a:extLst>
                </p:cNvPr>
                <p:cNvSpPr/>
                <p:nvPr/>
              </p:nvSpPr>
              <p:spPr>
                <a:xfrm>
                  <a:off x="6943399" y="2018294"/>
                  <a:ext cx="418" cy="956"/>
                </a:xfrm>
                <a:custGeom>
                  <a:avLst/>
                  <a:gdLst>
                    <a:gd name="connsiteX0" fmla="*/ 0 w 418"/>
                    <a:gd name="connsiteY0" fmla="*/ 957 h 956"/>
                    <a:gd name="connsiteX1" fmla="*/ 418 w 418"/>
                    <a:gd name="connsiteY1" fmla="*/ 299 h 956"/>
                    <a:gd name="connsiteX2" fmla="*/ 418 w 418"/>
                    <a:gd name="connsiteY2" fmla="*/ 299 h 956"/>
                    <a:gd name="connsiteX3" fmla="*/ 358 w 418"/>
                    <a:gd name="connsiteY3" fmla="*/ 0 h 956"/>
                  </a:gdLst>
                  <a:ahLst/>
                  <a:cxnLst>
                    <a:cxn ang="0">
                      <a:pos x="connsiteX0" y="connsiteY0"/>
                    </a:cxn>
                    <a:cxn ang="0">
                      <a:pos x="connsiteX1" y="connsiteY1"/>
                    </a:cxn>
                    <a:cxn ang="0">
                      <a:pos x="connsiteX2" y="connsiteY2"/>
                    </a:cxn>
                    <a:cxn ang="0">
                      <a:pos x="connsiteX3" y="connsiteY3"/>
                    </a:cxn>
                  </a:cxnLst>
                  <a:rect l="l" t="t" r="r" b="b"/>
                  <a:pathLst>
                    <a:path w="418" h="956">
                      <a:moveTo>
                        <a:pt x="0" y="957"/>
                      </a:moveTo>
                      <a:lnTo>
                        <a:pt x="418" y="299"/>
                      </a:lnTo>
                      <a:lnTo>
                        <a:pt x="418" y="299"/>
                      </a:lnTo>
                      <a:lnTo>
                        <a:pt x="358" y="0"/>
                      </a:lnTo>
                    </a:path>
                  </a:pathLst>
                </a:custGeom>
                <a:noFill/>
                <a:ln w="6350" cap="rnd">
                  <a:solidFill>
                    <a:schemeClr val="bg1">
                      <a:alpha val="40000"/>
                    </a:schemeClr>
                  </a:solidFill>
                  <a:prstDash val="solid"/>
                  <a:round/>
                </a:ln>
              </p:spPr>
              <p:txBody>
                <a:bodyPr rtlCol="0" anchor="ctr"/>
                <a:lstStyle/>
                <a:p>
                  <a:endParaRPr lang="en-GB"/>
                </a:p>
              </p:txBody>
            </p:sp>
            <p:sp>
              <p:nvSpPr>
                <p:cNvPr id="6820" name="Vrije vorm: vorm 6819">
                  <a:extLst>
                    <a:ext uri="{FF2B5EF4-FFF2-40B4-BE49-F238E27FC236}">
                      <a16:creationId xmlns:a16="http://schemas.microsoft.com/office/drawing/2014/main" id="{6A6E0B88-A6F9-417C-9DA0-5788C660027D}"/>
                    </a:ext>
                  </a:extLst>
                </p:cNvPr>
                <p:cNvSpPr/>
                <p:nvPr/>
              </p:nvSpPr>
              <p:spPr>
                <a:xfrm>
                  <a:off x="6683297" y="1964707"/>
                  <a:ext cx="2691" cy="2751"/>
                </a:xfrm>
                <a:custGeom>
                  <a:avLst/>
                  <a:gdLst>
                    <a:gd name="connsiteX0" fmla="*/ 0 w 2691"/>
                    <a:gd name="connsiteY0" fmla="*/ 2751 h 2751"/>
                    <a:gd name="connsiteX1" fmla="*/ 2632 w 2691"/>
                    <a:gd name="connsiteY1" fmla="*/ 60 h 2751"/>
                    <a:gd name="connsiteX2" fmla="*/ 2691 w 2691"/>
                    <a:gd name="connsiteY2" fmla="*/ 0 h 2751"/>
                  </a:gdLst>
                  <a:ahLst/>
                  <a:cxnLst>
                    <a:cxn ang="0">
                      <a:pos x="connsiteX0" y="connsiteY0"/>
                    </a:cxn>
                    <a:cxn ang="0">
                      <a:pos x="connsiteX1" y="connsiteY1"/>
                    </a:cxn>
                    <a:cxn ang="0">
                      <a:pos x="connsiteX2" y="connsiteY2"/>
                    </a:cxn>
                  </a:cxnLst>
                  <a:rect l="l" t="t" r="r" b="b"/>
                  <a:pathLst>
                    <a:path w="2691" h="2751">
                      <a:moveTo>
                        <a:pt x="0" y="2751"/>
                      </a:moveTo>
                      <a:lnTo>
                        <a:pt x="2632" y="60"/>
                      </a:lnTo>
                      <a:lnTo>
                        <a:pt x="2691" y="0"/>
                      </a:lnTo>
                    </a:path>
                  </a:pathLst>
                </a:custGeom>
                <a:noFill/>
                <a:ln w="6350" cap="rnd">
                  <a:solidFill>
                    <a:schemeClr val="bg1">
                      <a:alpha val="40000"/>
                    </a:schemeClr>
                  </a:solidFill>
                  <a:prstDash val="solid"/>
                  <a:round/>
                </a:ln>
              </p:spPr>
              <p:txBody>
                <a:bodyPr rtlCol="0" anchor="ctr"/>
                <a:lstStyle/>
                <a:p>
                  <a:endParaRPr lang="en-GB"/>
                </a:p>
              </p:txBody>
            </p:sp>
            <p:sp>
              <p:nvSpPr>
                <p:cNvPr id="6821" name="Vrije vorm: vorm 6820">
                  <a:extLst>
                    <a:ext uri="{FF2B5EF4-FFF2-40B4-BE49-F238E27FC236}">
                      <a16:creationId xmlns:a16="http://schemas.microsoft.com/office/drawing/2014/main" id="{C199D670-4030-4086-9E2C-187E7DF94B57}"/>
                    </a:ext>
                  </a:extLst>
                </p:cNvPr>
                <p:cNvSpPr/>
                <p:nvPr/>
              </p:nvSpPr>
              <p:spPr>
                <a:xfrm>
                  <a:off x="6668943" y="1966621"/>
                  <a:ext cx="4066" cy="3588"/>
                </a:xfrm>
                <a:custGeom>
                  <a:avLst/>
                  <a:gdLst>
                    <a:gd name="connsiteX0" fmla="*/ 0 w 4066"/>
                    <a:gd name="connsiteY0" fmla="*/ 3588 h 3588"/>
                    <a:gd name="connsiteX1" fmla="*/ 4067 w 4066"/>
                    <a:gd name="connsiteY1" fmla="*/ 0 h 3588"/>
                  </a:gdLst>
                  <a:ahLst/>
                  <a:cxnLst>
                    <a:cxn ang="0">
                      <a:pos x="connsiteX0" y="connsiteY0"/>
                    </a:cxn>
                    <a:cxn ang="0">
                      <a:pos x="connsiteX1" y="connsiteY1"/>
                    </a:cxn>
                  </a:cxnLst>
                  <a:rect l="l" t="t" r="r" b="b"/>
                  <a:pathLst>
                    <a:path w="4066" h="3588">
                      <a:moveTo>
                        <a:pt x="0" y="3588"/>
                      </a:moveTo>
                      <a:lnTo>
                        <a:pt x="4067" y="0"/>
                      </a:lnTo>
                    </a:path>
                  </a:pathLst>
                </a:custGeom>
                <a:noFill/>
                <a:ln w="6350" cap="rnd">
                  <a:solidFill>
                    <a:schemeClr val="bg1">
                      <a:alpha val="40000"/>
                    </a:schemeClr>
                  </a:solidFill>
                  <a:prstDash val="solid"/>
                  <a:round/>
                </a:ln>
              </p:spPr>
              <p:txBody>
                <a:bodyPr rtlCol="0" anchor="ctr"/>
                <a:lstStyle/>
                <a:p>
                  <a:endParaRPr lang="en-GB"/>
                </a:p>
              </p:txBody>
            </p:sp>
            <p:sp>
              <p:nvSpPr>
                <p:cNvPr id="6822" name="Vrije vorm: vorm 6821">
                  <a:extLst>
                    <a:ext uri="{FF2B5EF4-FFF2-40B4-BE49-F238E27FC236}">
                      <a16:creationId xmlns:a16="http://schemas.microsoft.com/office/drawing/2014/main" id="{ECA86143-8E16-484A-8A4C-D3EAE72DE9A6}"/>
                    </a:ext>
                  </a:extLst>
                </p:cNvPr>
                <p:cNvSpPr/>
                <p:nvPr/>
              </p:nvSpPr>
              <p:spPr>
                <a:xfrm>
                  <a:off x="6813976" y="2088747"/>
                  <a:ext cx="1555" cy="1435"/>
                </a:xfrm>
                <a:custGeom>
                  <a:avLst/>
                  <a:gdLst>
                    <a:gd name="connsiteX0" fmla="*/ 0 w 1555"/>
                    <a:gd name="connsiteY0" fmla="*/ 0 h 1435"/>
                    <a:gd name="connsiteX1" fmla="*/ 837 w 1555"/>
                    <a:gd name="connsiteY1" fmla="*/ 897 h 1435"/>
                    <a:gd name="connsiteX2" fmla="*/ 1555 w 1555"/>
                    <a:gd name="connsiteY2" fmla="*/ 1435 h 1435"/>
                  </a:gdLst>
                  <a:ahLst/>
                  <a:cxnLst>
                    <a:cxn ang="0">
                      <a:pos x="connsiteX0" y="connsiteY0"/>
                    </a:cxn>
                    <a:cxn ang="0">
                      <a:pos x="connsiteX1" y="connsiteY1"/>
                    </a:cxn>
                    <a:cxn ang="0">
                      <a:pos x="connsiteX2" y="connsiteY2"/>
                    </a:cxn>
                  </a:cxnLst>
                  <a:rect l="l" t="t" r="r" b="b"/>
                  <a:pathLst>
                    <a:path w="1555" h="1435">
                      <a:moveTo>
                        <a:pt x="0" y="0"/>
                      </a:moveTo>
                      <a:lnTo>
                        <a:pt x="837" y="897"/>
                      </a:lnTo>
                      <a:lnTo>
                        <a:pt x="1555" y="1435"/>
                      </a:lnTo>
                    </a:path>
                  </a:pathLst>
                </a:custGeom>
                <a:noFill/>
                <a:ln w="6350" cap="rnd">
                  <a:solidFill>
                    <a:schemeClr val="bg1">
                      <a:alpha val="40000"/>
                    </a:schemeClr>
                  </a:solidFill>
                  <a:prstDash val="solid"/>
                  <a:round/>
                </a:ln>
              </p:spPr>
              <p:txBody>
                <a:bodyPr rtlCol="0" anchor="ctr"/>
                <a:lstStyle/>
                <a:p>
                  <a:endParaRPr lang="en-GB"/>
                </a:p>
              </p:txBody>
            </p:sp>
            <p:sp>
              <p:nvSpPr>
                <p:cNvPr id="6823" name="Vrije vorm: vorm 6822">
                  <a:extLst>
                    <a:ext uri="{FF2B5EF4-FFF2-40B4-BE49-F238E27FC236}">
                      <a16:creationId xmlns:a16="http://schemas.microsoft.com/office/drawing/2014/main" id="{EA3B2059-EB5D-4D87-845B-783722B97E28}"/>
                    </a:ext>
                  </a:extLst>
                </p:cNvPr>
                <p:cNvSpPr/>
                <p:nvPr/>
              </p:nvSpPr>
              <p:spPr>
                <a:xfrm>
                  <a:off x="6649984" y="1952925"/>
                  <a:ext cx="6518" cy="3708"/>
                </a:xfrm>
                <a:custGeom>
                  <a:avLst/>
                  <a:gdLst>
                    <a:gd name="connsiteX0" fmla="*/ 0 w 6518"/>
                    <a:gd name="connsiteY0" fmla="*/ 3708 h 3708"/>
                    <a:gd name="connsiteX1" fmla="*/ 2691 w 6518"/>
                    <a:gd name="connsiteY1" fmla="*/ 2153 h 3708"/>
                    <a:gd name="connsiteX2" fmla="*/ 6519 w 6518"/>
                    <a:gd name="connsiteY2" fmla="*/ 0 h 3708"/>
                  </a:gdLst>
                  <a:ahLst/>
                  <a:cxnLst>
                    <a:cxn ang="0">
                      <a:pos x="connsiteX0" y="connsiteY0"/>
                    </a:cxn>
                    <a:cxn ang="0">
                      <a:pos x="connsiteX1" y="connsiteY1"/>
                    </a:cxn>
                    <a:cxn ang="0">
                      <a:pos x="connsiteX2" y="connsiteY2"/>
                    </a:cxn>
                  </a:cxnLst>
                  <a:rect l="l" t="t" r="r" b="b"/>
                  <a:pathLst>
                    <a:path w="6518" h="3708">
                      <a:moveTo>
                        <a:pt x="0" y="3708"/>
                      </a:moveTo>
                      <a:lnTo>
                        <a:pt x="2691" y="2153"/>
                      </a:lnTo>
                      <a:lnTo>
                        <a:pt x="6519" y="0"/>
                      </a:lnTo>
                    </a:path>
                  </a:pathLst>
                </a:custGeom>
                <a:noFill/>
                <a:ln w="6350" cap="rnd">
                  <a:solidFill>
                    <a:schemeClr val="bg1">
                      <a:alpha val="40000"/>
                    </a:schemeClr>
                  </a:solidFill>
                  <a:prstDash val="solid"/>
                  <a:round/>
                </a:ln>
              </p:spPr>
              <p:txBody>
                <a:bodyPr rtlCol="0" anchor="ctr"/>
                <a:lstStyle/>
                <a:p>
                  <a:endParaRPr lang="en-GB"/>
                </a:p>
              </p:txBody>
            </p:sp>
            <p:sp>
              <p:nvSpPr>
                <p:cNvPr id="6824" name="Vrije vorm: vorm 6823">
                  <a:extLst>
                    <a:ext uri="{FF2B5EF4-FFF2-40B4-BE49-F238E27FC236}">
                      <a16:creationId xmlns:a16="http://schemas.microsoft.com/office/drawing/2014/main" id="{162F060C-C495-42E7-BAC2-C3AD3C3C3C86}"/>
                    </a:ext>
                  </a:extLst>
                </p:cNvPr>
                <p:cNvSpPr/>
                <p:nvPr/>
              </p:nvSpPr>
              <p:spPr>
                <a:xfrm>
                  <a:off x="6809849" y="2060578"/>
                  <a:ext cx="4425" cy="11961"/>
                </a:xfrm>
                <a:custGeom>
                  <a:avLst/>
                  <a:gdLst>
                    <a:gd name="connsiteX0" fmla="*/ 0 w 4425"/>
                    <a:gd name="connsiteY0" fmla="*/ 0 h 11961"/>
                    <a:gd name="connsiteX1" fmla="*/ 1017 w 4425"/>
                    <a:gd name="connsiteY1" fmla="*/ 2093 h 11961"/>
                    <a:gd name="connsiteX2" fmla="*/ 4426 w 4425"/>
                    <a:gd name="connsiteY2" fmla="*/ 9330 h 11961"/>
                    <a:gd name="connsiteX3" fmla="*/ 3768 w 4425"/>
                    <a:gd name="connsiteY3" fmla="*/ 10825 h 11961"/>
                    <a:gd name="connsiteX4" fmla="*/ 3708 w 4425"/>
                    <a:gd name="connsiteY4" fmla="*/ 10945 h 11961"/>
                    <a:gd name="connsiteX5" fmla="*/ 2153 w 4425"/>
                    <a:gd name="connsiteY5" fmla="*/ 11961 h 1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5" h="11961">
                      <a:moveTo>
                        <a:pt x="0" y="0"/>
                      </a:moveTo>
                      <a:lnTo>
                        <a:pt x="1017" y="2093"/>
                      </a:lnTo>
                      <a:lnTo>
                        <a:pt x="4426" y="9330"/>
                      </a:lnTo>
                      <a:lnTo>
                        <a:pt x="3768" y="10825"/>
                      </a:lnTo>
                      <a:lnTo>
                        <a:pt x="3708" y="10945"/>
                      </a:lnTo>
                      <a:lnTo>
                        <a:pt x="2153" y="11961"/>
                      </a:lnTo>
                    </a:path>
                  </a:pathLst>
                </a:custGeom>
                <a:noFill/>
                <a:ln w="6350" cap="rnd">
                  <a:solidFill>
                    <a:schemeClr val="bg1">
                      <a:alpha val="40000"/>
                    </a:schemeClr>
                  </a:solidFill>
                  <a:prstDash val="solid"/>
                  <a:round/>
                </a:ln>
              </p:spPr>
              <p:txBody>
                <a:bodyPr rtlCol="0" anchor="ctr"/>
                <a:lstStyle/>
                <a:p>
                  <a:endParaRPr lang="en-GB"/>
                </a:p>
              </p:txBody>
            </p:sp>
            <p:sp>
              <p:nvSpPr>
                <p:cNvPr id="6825" name="Vrije vorm: vorm 6824">
                  <a:extLst>
                    <a:ext uri="{FF2B5EF4-FFF2-40B4-BE49-F238E27FC236}">
                      <a16:creationId xmlns:a16="http://schemas.microsoft.com/office/drawing/2014/main" id="{CF78ADBB-101F-4E70-A856-D424E65A916E}"/>
                    </a:ext>
                  </a:extLst>
                </p:cNvPr>
                <p:cNvSpPr/>
                <p:nvPr/>
              </p:nvSpPr>
              <p:spPr>
                <a:xfrm>
                  <a:off x="6641671" y="1923261"/>
                  <a:ext cx="19856" cy="7894"/>
                </a:xfrm>
                <a:custGeom>
                  <a:avLst/>
                  <a:gdLst>
                    <a:gd name="connsiteX0" fmla="*/ 19856 w 19856"/>
                    <a:gd name="connsiteY0" fmla="*/ 0 h 7894"/>
                    <a:gd name="connsiteX1" fmla="*/ 19676 w 19856"/>
                    <a:gd name="connsiteY1" fmla="*/ 658 h 7894"/>
                    <a:gd name="connsiteX2" fmla="*/ 19497 w 19856"/>
                    <a:gd name="connsiteY2" fmla="*/ 1316 h 7894"/>
                    <a:gd name="connsiteX3" fmla="*/ 18720 w 19856"/>
                    <a:gd name="connsiteY3" fmla="*/ 2153 h 7894"/>
                    <a:gd name="connsiteX4" fmla="*/ 18540 w 19856"/>
                    <a:gd name="connsiteY4" fmla="*/ 2333 h 7894"/>
                    <a:gd name="connsiteX5" fmla="*/ 15072 w 19856"/>
                    <a:gd name="connsiteY5" fmla="*/ 5981 h 7894"/>
                    <a:gd name="connsiteX6" fmla="*/ 11364 w 19856"/>
                    <a:gd name="connsiteY6" fmla="*/ 6639 h 7894"/>
                    <a:gd name="connsiteX7" fmla="*/ 8313 w 19856"/>
                    <a:gd name="connsiteY7" fmla="*/ 7177 h 7894"/>
                    <a:gd name="connsiteX8" fmla="*/ 6399 w 19856"/>
                    <a:gd name="connsiteY8" fmla="*/ 7536 h 7894"/>
                    <a:gd name="connsiteX9" fmla="*/ 4127 w 19856"/>
                    <a:gd name="connsiteY9" fmla="*/ 7655 h 7894"/>
                    <a:gd name="connsiteX10" fmla="*/ 3768 w 19856"/>
                    <a:gd name="connsiteY10" fmla="*/ 7655 h 7894"/>
                    <a:gd name="connsiteX11" fmla="*/ 239 w 19856"/>
                    <a:gd name="connsiteY11" fmla="*/ 7895 h 7894"/>
                    <a:gd name="connsiteX12" fmla="*/ 0 w 19856"/>
                    <a:gd name="connsiteY12" fmla="*/ 7895 h 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56" h="7894">
                      <a:moveTo>
                        <a:pt x="19856" y="0"/>
                      </a:moveTo>
                      <a:lnTo>
                        <a:pt x="19676" y="658"/>
                      </a:lnTo>
                      <a:lnTo>
                        <a:pt x="19497" y="1316"/>
                      </a:lnTo>
                      <a:lnTo>
                        <a:pt x="18720" y="2153"/>
                      </a:lnTo>
                      <a:lnTo>
                        <a:pt x="18540" y="2333"/>
                      </a:lnTo>
                      <a:lnTo>
                        <a:pt x="15072" y="5981"/>
                      </a:lnTo>
                      <a:lnTo>
                        <a:pt x="11364" y="6639"/>
                      </a:lnTo>
                      <a:lnTo>
                        <a:pt x="8313" y="7177"/>
                      </a:lnTo>
                      <a:lnTo>
                        <a:pt x="6399" y="7536"/>
                      </a:lnTo>
                      <a:lnTo>
                        <a:pt x="4127" y="7655"/>
                      </a:lnTo>
                      <a:lnTo>
                        <a:pt x="3768" y="7655"/>
                      </a:lnTo>
                      <a:lnTo>
                        <a:pt x="239" y="7895"/>
                      </a:lnTo>
                      <a:lnTo>
                        <a:pt x="0" y="7895"/>
                      </a:lnTo>
                    </a:path>
                  </a:pathLst>
                </a:custGeom>
                <a:noFill/>
                <a:ln w="6350" cap="rnd">
                  <a:solidFill>
                    <a:schemeClr val="bg1">
                      <a:alpha val="40000"/>
                    </a:schemeClr>
                  </a:solidFill>
                  <a:prstDash val="solid"/>
                  <a:round/>
                </a:ln>
              </p:spPr>
              <p:txBody>
                <a:bodyPr rtlCol="0" anchor="ctr"/>
                <a:lstStyle/>
                <a:p>
                  <a:endParaRPr lang="en-GB"/>
                </a:p>
              </p:txBody>
            </p:sp>
            <p:sp>
              <p:nvSpPr>
                <p:cNvPr id="6826" name="Vrije vorm: vorm 6825">
                  <a:extLst>
                    <a:ext uri="{FF2B5EF4-FFF2-40B4-BE49-F238E27FC236}">
                      <a16:creationId xmlns:a16="http://schemas.microsoft.com/office/drawing/2014/main" id="{C7AC2E2A-6924-4EC9-A3B3-E65D0C9B5144}"/>
                    </a:ext>
                  </a:extLst>
                </p:cNvPr>
                <p:cNvSpPr/>
                <p:nvPr/>
              </p:nvSpPr>
              <p:spPr>
                <a:xfrm>
                  <a:off x="6658298" y="1920211"/>
                  <a:ext cx="358" cy="5980"/>
                </a:xfrm>
                <a:custGeom>
                  <a:avLst/>
                  <a:gdLst>
                    <a:gd name="connsiteX0" fmla="*/ 0 w 358"/>
                    <a:gd name="connsiteY0" fmla="*/ 0 h 5980"/>
                    <a:gd name="connsiteX1" fmla="*/ 359 w 358"/>
                    <a:gd name="connsiteY1" fmla="*/ 0 h 5980"/>
                  </a:gdLst>
                  <a:ahLst/>
                  <a:cxnLst>
                    <a:cxn ang="0">
                      <a:pos x="connsiteX0" y="connsiteY0"/>
                    </a:cxn>
                    <a:cxn ang="0">
                      <a:pos x="connsiteX1" y="connsiteY1"/>
                    </a:cxn>
                  </a:cxnLst>
                  <a:rect l="l" t="t" r="r" b="b"/>
                  <a:pathLst>
                    <a:path w="358" h="5980">
                      <a:moveTo>
                        <a:pt x="0" y="0"/>
                      </a:moveTo>
                      <a:lnTo>
                        <a:pt x="359" y="0"/>
                      </a:lnTo>
                    </a:path>
                  </a:pathLst>
                </a:custGeom>
                <a:noFill/>
                <a:ln w="6350" cap="rnd">
                  <a:solidFill>
                    <a:schemeClr val="bg1">
                      <a:alpha val="40000"/>
                    </a:schemeClr>
                  </a:solidFill>
                  <a:prstDash val="solid"/>
                  <a:round/>
                </a:ln>
              </p:spPr>
              <p:txBody>
                <a:bodyPr rtlCol="0" anchor="ctr"/>
                <a:lstStyle/>
                <a:p>
                  <a:endParaRPr lang="en-GB"/>
                </a:p>
              </p:txBody>
            </p:sp>
            <p:sp>
              <p:nvSpPr>
                <p:cNvPr id="6827" name="Vrije vorm: vorm 6826">
                  <a:extLst>
                    <a:ext uri="{FF2B5EF4-FFF2-40B4-BE49-F238E27FC236}">
                      <a16:creationId xmlns:a16="http://schemas.microsoft.com/office/drawing/2014/main" id="{A9CB445C-4DB9-46D6-813E-F8915C598B2C}"/>
                    </a:ext>
                  </a:extLst>
                </p:cNvPr>
                <p:cNvSpPr/>
                <p:nvPr/>
              </p:nvSpPr>
              <p:spPr>
                <a:xfrm>
                  <a:off x="6896749" y="1928524"/>
                  <a:ext cx="5980" cy="1136"/>
                </a:xfrm>
                <a:custGeom>
                  <a:avLst/>
                  <a:gdLst>
                    <a:gd name="connsiteX0" fmla="*/ 0 w 5980"/>
                    <a:gd name="connsiteY0" fmla="*/ 0 h 1136"/>
                    <a:gd name="connsiteX1" fmla="*/ 0 w 5980"/>
                    <a:gd name="connsiteY1" fmla="*/ 0 h 1136"/>
                    <a:gd name="connsiteX2" fmla="*/ 837 w 5980"/>
                    <a:gd name="connsiteY2" fmla="*/ 179 h 1136"/>
                    <a:gd name="connsiteX3" fmla="*/ 2930 w 5980"/>
                    <a:gd name="connsiteY3" fmla="*/ 538 h 1136"/>
                    <a:gd name="connsiteX4" fmla="*/ 3589 w 5980"/>
                    <a:gd name="connsiteY4" fmla="*/ 658 h 1136"/>
                    <a:gd name="connsiteX5" fmla="*/ 4127 w 5980"/>
                    <a:gd name="connsiteY5" fmla="*/ 778 h 1136"/>
                    <a:gd name="connsiteX6" fmla="*/ 5981 w 5980"/>
                    <a:gd name="connsiteY6" fmla="*/ 1136 h 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 h="1136">
                      <a:moveTo>
                        <a:pt x="0" y="0"/>
                      </a:moveTo>
                      <a:lnTo>
                        <a:pt x="0" y="0"/>
                      </a:lnTo>
                      <a:lnTo>
                        <a:pt x="837" y="179"/>
                      </a:lnTo>
                      <a:lnTo>
                        <a:pt x="2930" y="538"/>
                      </a:lnTo>
                      <a:lnTo>
                        <a:pt x="3589" y="658"/>
                      </a:lnTo>
                      <a:lnTo>
                        <a:pt x="4127" y="778"/>
                      </a:lnTo>
                      <a:lnTo>
                        <a:pt x="5981" y="1136"/>
                      </a:lnTo>
                    </a:path>
                  </a:pathLst>
                </a:custGeom>
                <a:noFill/>
                <a:ln w="6350" cap="rnd">
                  <a:solidFill>
                    <a:schemeClr val="bg1">
                      <a:alpha val="40000"/>
                    </a:schemeClr>
                  </a:solidFill>
                  <a:prstDash val="solid"/>
                  <a:round/>
                </a:ln>
              </p:spPr>
              <p:txBody>
                <a:bodyPr rtlCol="0" anchor="ctr"/>
                <a:lstStyle/>
                <a:p>
                  <a:endParaRPr lang="en-GB"/>
                </a:p>
              </p:txBody>
            </p:sp>
            <p:sp>
              <p:nvSpPr>
                <p:cNvPr id="6828" name="Vrije vorm: vorm 6827">
                  <a:extLst>
                    <a:ext uri="{FF2B5EF4-FFF2-40B4-BE49-F238E27FC236}">
                      <a16:creationId xmlns:a16="http://schemas.microsoft.com/office/drawing/2014/main" id="{9AB656EC-F5F8-4026-BE83-CE194B397796}"/>
                    </a:ext>
                  </a:extLst>
                </p:cNvPr>
                <p:cNvSpPr/>
                <p:nvPr/>
              </p:nvSpPr>
              <p:spPr>
                <a:xfrm>
                  <a:off x="6809729" y="1986238"/>
                  <a:ext cx="5562" cy="9210"/>
                </a:xfrm>
                <a:custGeom>
                  <a:avLst/>
                  <a:gdLst>
                    <a:gd name="connsiteX0" fmla="*/ 0 w 5562"/>
                    <a:gd name="connsiteY0" fmla="*/ 9210 h 9210"/>
                    <a:gd name="connsiteX1" fmla="*/ 180 w 5562"/>
                    <a:gd name="connsiteY1" fmla="*/ 8732 h 9210"/>
                    <a:gd name="connsiteX2" fmla="*/ 359 w 5562"/>
                    <a:gd name="connsiteY2" fmla="*/ 8373 h 9210"/>
                    <a:gd name="connsiteX3" fmla="*/ 1914 w 5562"/>
                    <a:gd name="connsiteY3" fmla="*/ 5921 h 9210"/>
                    <a:gd name="connsiteX4" fmla="*/ 2213 w 5562"/>
                    <a:gd name="connsiteY4" fmla="*/ 5442 h 9210"/>
                    <a:gd name="connsiteX5" fmla="*/ 2751 w 5562"/>
                    <a:gd name="connsiteY5" fmla="*/ 4605 h 9210"/>
                    <a:gd name="connsiteX6" fmla="*/ 3649 w 5562"/>
                    <a:gd name="connsiteY6" fmla="*/ 3170 h 9210"/>
                    <a:gd name="connsiteX7" fmla="*/ 4665 w 5562"/>
                    <a:gd name="connsiteY7" fmla="*/ 1495 h 9210"/>
                    <a:gd name="connsiteX8" fmla="*/ 5084 w 5562"/>
                    <a:gd name="connsiteY8" fmla="*/ 777 h 9210"/>
                    <a:gd name="connsiteX9" fmla="*/ 5323 w 5562"/>
                    <a:gd name="connsiteY9" fmla="*/ 359 h 9210"/>
                    <a:gd name="connsiteX10" fmla="*/ 5503 w 5562"/>
                    <a:gd name="connsiteY10" fmla="*/ 120 h 9210"/>
                    <a:gd name="connsiteX11" fmla="*/ 5562 w 5562"/>
                    <a:gd name="connsiteY11" fmla="*/ 0 h 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62" h="9210">
                      <a:moveTo>
                        <a:pt x="0" y="9210"/>
                      </a:moveTo>
                      <a:lnTo>
                        <a:pt x="180" y="8732"/>
                      </a:lnTo>
                      <a:lnTo>
                        <a:pt x="359" y="8373"/>
                      </a:lnTo>
                      <a:lnTo>
                        <a:pt x="1914" y="5921"/>
                      </a:lnTo>
                      <a:lnTo>
                        <a:pt x="2213" y="5442"/>
                      </a:lnTo>
                      <a:lnTo>
                        <a:pt x="2751" y="4605"/>
                      </a:lnTo>
                      <a:lnTo>
                        <a:pt x="3649" y="3170"/>
                      </a:lnTo>
                      <a:lnTo>
                        <a:pt x="4665" y="1495"/>
                      </a:lnTo>
                      <a:lnTo>
                        <a:pt x="5084" y="777"/>
                      </a:lnTo>
                      <a:lnTo>
                        <a:pt x="5323" y="359"/>
                      </a:lnTo>
                      <a:lnTo>
                        <a:pt x="5503" y="120"/>
                      </a:lnTo>
                      <a:lnTo>
                        <a:pt x="5562" y="0"/>
                      </a:lnTo>
                    </a:path>
                  </a:pathLst>
                </a:custGeom>
                <a:noFill/>
                <a:ln w="6350" cap="rnd">
                  <a:solidFill>
                    <a:schemeClr val="bg1">
                      <a:alpha val="40000"/>
                    </a:schemeClr>
                  </a:solidFill>
                  <a:prstDash val="solid"/>
                  <a:round/>
                </a:ln>
              </p:spPr>
              <p:txBody>
                <a:bodyPr rtlCol="0" anchor="ctr"/>
                <a:lstStyle/>
                <a:p>
                  <a:endParaRPr lang="en-GB"/>
                </a:p>
              </p:txBody>
            </p:sp>
            <p:sp>
              <p:nvSpPr>
                <p:cNvPr id="6829" name="Vrije vorm: vorm 6828">
                  <a:extLst>
                    <a:ext uri="{FF2B5EF4-FFF2-40B4-BE49-F238E27FC236}">
                      <a16:creationId xmlns:a16="http://schemas.microsoft.com/office/drawing/2014/main" id="{ADEFA384-653D-4F64-9812-D2353BF58EF1}"/>
                    </a:ext>
                  </a:extLst>
                </p:cNvPr>
                <p:cNvSpPr/>
                <p:nvPr/>
              </p:nvSpPr>
              <p:spPr>
                <a:xfrm>
                  <a:off x="6797469" y="2013271"/>
                  <a:ext cx="4186" cy="12798"/>
                </a:xfrm>
                <a:custGeom>
                  <a:avLst/>
                  <a:gdLst>
                    <a:gd name="connsiteX0" fmla="*/ 0 w 4186"/>
                    <a:gd name="connsiteY0" fmla="*/ 12799 h 12798"/>
                    <a:gd name="connsiteX1" fmla="*/ 2093 w 4186"/>
                    <a:gd name="connsiteY1" fmla="*/ 5323 h 12798"/>
                    <a:gd name="connsiteX2" fmla="*/ 3349 w 4186"/>
                    <a:gd name="connsiteY2" fmla="*/ 2153 h 12798"/>
                    <a:gd name="connsiteX3" fmla="*/ 3768 w 4186"/>
                    <a:gd name="connsiteY3" fmla="*/ 1077 h 12798"/>
                    <a:gd name="connsiteX4" fmla="*/ 4187 w 4186"/>
                    <a:gd name="connsiteY4" fmla="*/ 0 h 12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6" h="12798">
                      <a:moveTo>
                        <a:pt x="0" y="12799"/>
                      </a:moveTo>
                      <a:lnTo>
                        <a:pt x="2093" y="5323"/>
                      </a:lnTo>
                      <a:lnTo>
                        <a:pt x="3349" y="2153"/>
                      </a:lnTo>
                      <a:lnTo>
                        <a:pt x="3768" y="1077"/>
                      </a:lnTo>
                      <a:lnTo>
                        <a:pt x="4187" y="0"/>
                      </a:lnTo>
                    </a:path>
                  </a:pathLst>
                </a:custGeom>
                <a:noFill/>
                <a:ln w="6350" cap="rnd">
                  <a:solidFill>
                    <a:schemeClr val="bg1">
                      <a:alpha val="40000"/>
                    </a:schemeClr>
                  </a:solidFill>
                  <a:prstDash val="solid"/>
                  <a:round/>
                </a:ln>
              </p:spPr>
              <p:txBody>
                <a:bodyPr rtlCol="0" anchor="ctr"/>
                <a:lstStyle/>
                <a:p>
                  <a:endParaRPr lang="en-GB"/>
                </a:p>
              </p:txBody>
            </p:sp>
            <p:sp>
              <p:nvSpPr>
                <p:cNvPr id="6830" name="Vrije vorm: vorm 6829">
                  <a:extLst>
                    <a:ext uri="{FF2B5EF4-FFF2-40B4-BE49-F238E27FC236}">
                      <a16:creationId xmlns:a16="http://schemas.microsoft.com/office/drawing/2014/main" id="{1BD75D74-427F-481B-93BF-A9E9295567C4}"/>
                    </a:ext>
                  </a:extLst>
                </p:cNvPr>
                <p:cNvSpPr/>
                <p:nvPr/>
              </p:nvSpPr>
              <p:spPr>
                <a:xfrm>
                  <a:off x="6920612" y="2050172"/>
                  <a:ext cx="6698" cy="9928"/>
                </a:xfrm>
                <a:custGeom>
                  <a:avLst/>
                  <a:gdLst>
                    <a:gd name="connsiteX0" fmla="*/ 6698 w 6698"/>
                    <a:gd name="connsiteY0" fmla="*/ 0 h 9928"/>
                    <a:gd name="connsiteX1" fmla="*/ 6041 w 6698"/>
                    <a:gd name="connsiteY1" fmla="*/ 1017 h 9928"/>
                    <a:gd name="connsiteX2" fmla="*/ 5981 w 6698"/>
                    <a:gd name="connsiteY2" fmla="*/ 1136 h 9928"/>
                    <a:gd name="connsiteX3" fmla="*/ 5562 w 6698"/>
                    <a:gd name="connsiteY3" fmla="*/ 1794 h 9928"/>
                    <a:gd name="connsiteX4" fmla="*/ 4964 w 6698"/>
                    <a:gd name="connsiteY4" fmla="*/ 2811 h 9928"/>
                    <a:gd name="connsiteX5" fmla="*/ 4845 w 6698"/>
                    <a:gd name="connsiteY5" fmla="*/ 2990 h 9928"/>
                    <a:gd name="connsiteX6" fmla="*/ 4725 w 6698"/>
                    <a:gd name="connsiteY6" fmla="*/ 3170 h 9928"/>
                    <a:gd name="connsiteX7" fmla="*/ 4545 w 6698"/>
                    <a:gd name="connsiteY7" fmla="*/ 3409 h 9928"/>
                    <a:gd name="connsiteX8" fmla="*/ 4247 w 6698"/>
                    <a:gd name="connsiteY8" fmla="*/ 3888 h 9928"/>
                    <a:gd name="connsiteX9" fmla="*/ 4187 w 6698"/>
                    <a:gd name="connsiteY9" fmla="*/ 4007 h 9928"/>
                    <a:gd name="connsiteX10" fmla="*/ 3828 w 6698"/>
                    <a:gd name="connsiteY10" fmla="*/ 4605 h 9928"/>
                    <a:gd name="connsiteX11" fmla="*/ 3828 w 6698"/>
                    <a:gd name="connsiteY11" fmla="*/ 4665 h 9928"/>
                    <a:gd name="connsiteX12" fmla="*/ 3768 w 6698"/>
                    <a:gd name="connsiteY12" fmla="*/ 4725 h 9928"/>
                    <a:gd name="connsiteX13" fmla="*/ 3768 w 6698"/>
                    <a:gd name="connsiteY13" fmla="*/ 4785 h 9928"/>
                    <a:gd name="connsiteX14" fmla="*/ 3708 w 6698"/>
                    <a:gd name="connsiteY14" fmla="*/ 4844 h 9928"/>
                    <a:gd name="connsiteX15" fmla="*/ 3409 w 6698"/>
                    <a:gd name="connsiteY15" fmla="*/ 5263 h 9928"/>
                    <a:gd name="connsiteX16" fmla="*/ 3170 w 6698"/>
                    <a:gd name="connsiteY16" fmla="*/ 5622 h 9928"/>
                    <a:gd name="connsiteX17" fmla="*/ 3170 w 6698"/>
                    <a:gd name="connsiteY17" fmla="*/ 5622 h 9928"/>
                    <a:gd name="connsiteX18" fmla="*/ 3050 w 6698"/>
                    <a:gd name="connsiteY18" fmla="*/ 5861 h 9928"/>
                    <a:gd name="connsiteX19" fmla="*/ 2811 w 6698"/>
                    <a:gd name="connsiteY19" fmla="*/ 6160 h 9928"/>
                    <a:gd name="connsiteX20" fmla="*/ 2213 w 6698"/>
                    <a:gd name="connsiteY20" fmla="*/ 6878 h 9928"/>
                    <a:gd name="connsiteX21" fmla="*/ 2034 w 6698"/>
                    <a:gd name="connsiteY21" fmla="*/ 7117 h 9928"/>
                    <a:gd name="connsiteX22" fmla="*/ 1854 w 6698"/>
                    <a:gd name="connsiteY22" fmla="*/ 7356 h 9928"/>
                    <a:gd name="connsiteX23" fmla="*/ 1795 w 6698"/>
                    <a:gd name="connsiteY23" fmla="*/ 7416 h 9928"/>
                    <a:gd name="connsiteX24" fmla="*/ 1675 w 6698"/>
                    <a:gd name="connsiteY24" fmla="*/ 7596 h 9928"/>
                    <a:gd name="connsiteX25" fmla="*/ 1017 w 6698"/>
                    <a:gd name="connsiteY25" fmla="*/ 8493 h 9928"/>
                    <a:gd name="connsiteX26" fmla="*/ 120 w 6698"/>
                    <a:gd name="connsiteY26" fmla="*/ 9689 h 9928"/>
                    <a:gd name="connsiteX27" fmla="*/ 120 w 6698"/>
                    <a:gd name="connsiteY27" fmla="*/ 9749 h 9928"/>
                    <a:gd name="connsiteX28" fmla="*/ 0 w 6698"/>
                    <a:gd name="connsiteY28" fmla="*/ 9928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698" h="9928">
                      <a:moveTo>
                        <a:pt x="6698" y="0"/>
                      </a:moveTo>
                      <a:lnTo>
                        <a:pt x="6041" y="1017"/>
                      </a:lnTo>
                      <a:lnTo>
                        <a:pt x="5981" y="1136"/>
                      </a:lnTo>
                      <a:lnTo>
                        <a:pt x="5562" y="1794"/>
                      </a:lnTo>
                      <a:lnTo>
                        <a:pt x="4964" y="2811"/>
                      </a:lnTo>
                      <a:lnTo>
                        <a:pt x="4845" y="2990"/>
                      </a:lnTo>
                      <a:lnTo>
                        <a:pt x="4725" y="3170"/>
                      </a:lnTo>
                      <a:lnTo>
                        <a:pt x="4545" y="3409"/>
                      </a:lnTo>
                      <a:lnTo>
                        <a:pt x="4247" y="3888"/>
                      </a:lnTo>
                      <a:lnTo>
                        <a:pt x="4187" y="4007"/>
                      </a:lnTo>
                      <a:lnTo>
                        <a:pt x="3828" y="4605"/>
                      </a:lnTo>
                      <a:lnTo>
                        <a:pt x="3828" y="4665"/>
                      </a:lnTo>
                      <a:lnTo>
                        <a:pt x="3768" y="4725"/>
                      </a:lnTo>
                      <a:lnTo>
                        <a:pt x="3768" y="4785"/>
                      </a:lnTo>
                      <a:lnTo>
                        <a:pt x="3708" y="4844"/>
                      </a:lnTo>
                      <a:lnTo>
                        <a:pt x="3409" y="5263"/>
                      </a:lnTo>
                      <a:lnTo>
                        <a:pt x="3170" y="5622"/>
                      </a:lnTo>
                      <a:lnTo>
                        <a:pt x="3170" y="5622"/>
                      </a:lnTo>
                      <a:lnTo>
                        <a:pt x="3050" y="5861"/>
                      </a:lnTo>
                      <a:lnTo>
                        <a:pt x="2811" y="6160"/>
                      </a:lnTo>
                      <a:lnTo>
                        <a:pt x="2213" y="6878"/>
                      </a:lnTo>
                      <a:lnTo>
                        <a:pt x="2034" y="7117"/>
                      </a:lnTo>
                      <a:lnTo>
                        <a:pt x="1854" y="7356"/>
                      </a:lnTo>
                      <a:lnTo>
                        <a:pt x="1795" y="7416"/>
                      </a:lnTo>
                      <a:lnTo>
                        <a:pt x="1675" y="7596"/>
                      </a:lnTo>
                      <a:lnTo>
                        <a:pt x="1017" y="8493"/>
                      </a:lnTo>
                      <a:lnTo>
                        <a:pt x="120" y="9689"/>
                      </a:lnTo>
                      <a:lnTo>
                        <a:pt x="120" y="9749"/>
                      </a:lnTo>
                      <a:lnTo>
                        <a:pt x="0" y="9928"/>
                      </a:lnTo>
                    </a:path>
                  </a:pathLst>
                </a:custGeom>
                <a:noFill/>
                <a:ln w="6350" cap="rnd">
                  <a:solidFill>
                    <a:schemeClr val="bg1">
                      <a:alpha val="40000"/>
                    </a:schemeClr>
                  </a:solidFill>
                  <a:prstDash val="solid"/>
                  <a:round/>
                </a:ln>
              </p:spPr>
              <p:txBody>
                <a:bodyPr rtlCol="0" anchor="ctr"/>
                <a:lstStyle/>
                <a:p>
                  <a:endParaRPr lang="en-GB"/>
                </a:p>
              </p:txBody>
            </p:sp>
            <p:sp>
              <p:nvSpPr>
                <p:cNvPr id="6831" name="Vrije vorm: vorm 6830">
                  <a:extLst>
                    <a:ext uri="{FF2B5EF4-FFF2-40B4-BE49-F238E27FC236}">
                      <a16:creationId xmlns:a16="http://schemas.microsoft.com/office/drawing/2014/main" id="{21021FB7-B01F-47CE-B950-90C7CC384AB6}"/>
                    </a:ext>
                  </a:extLst>
                </p:cNvPr>
                <p:cNvSpPr/>
                <p:nvPr/>
              </p:nvSpPr>
              <p:spPr>
                <a:xfrm>
                  <a:off x="6933470" y="2031093"/>
                  <a:ext cx="4545" cy="9030"/>
                </a:xfrm>
                <a:custGeom>
                  <a:avLst/>
                  <a:gdLst>
                    <a:gd name="connsiteX0" fmla="*/ 4545 w 4545"/>
                    <a:gd name="connsiteY0" fmla="*/ 0 h 9030"/>
                    <a:gd name="connsiteX1" fmla="*/ 2930 w 4545"/>
                    <a:gd name="connsiteY1" fmla="*/ 3409 h 9030"/>
                    <a:gd name="connsiteX2" fmla="*/ 1555 w 4545"/>
                    <a:gd name="connsiteY2" fmla="*/ 6280 h 9030"/>
                    <a:gd name="connsiteX3" fmla="*/ 897 w 4545"/>
                    <a:gd name="connsiteY3" fmla="*/ 7655 h 9030"/>
                    <a:gd name="connsiteX4" fmla="*/ 718 w 4545"/>
                    <a:gd name="connsiteY4" fmla="*/ 7954 h 9030"/>
                    <a:gd name="connsiteX5" fmla="*/ 359 w 4545"/>
                    <a:gd name="connsiteY5" fmla="*/ 8493 h 9030"/>
                    <a:gd name="connsiteX6" fmla="*/ 239 w 4545"/>
                    <a:gd name="connsiteY6" fmla="*/ 8672 h 9030"/>
                    <a:gd name="connsiteX7" fmla="*/ 0 w 4545"/>
                    <a:gd name="connsiteY7" fmla="*/ 9031 h 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5" h="9030">
                      <a:moveTo>
                        <a:pt x="4545" y="0"/>
                      </a:moveTo>
                      <a:lnTo>
                        <a:pt x="2930" y="3409"/>
                      </a:lnTo>
                      <a:lnTo>
                        <a:pt x="1555" y="6280"/>
                      </a:lnTo>
                      <a:lnTo>
                        <a:pt x="897" y="7655"/>
                      </a:lnTo>
                      <a:lnTo>
                        <a:pt x="718" y="7954"/>
                      </a:lnTo>
                      <a:lnTo>
                        <a:pt x="359" y="8493"/>
                      </a:lnTo>
                      <a:lnTo>
                        <a:pt x="239" y="8672"/>
                      </a:lnTo>
                      <a:lnTo>
                        <a:pt x="0" y="9031"/>
                      </a:lnTo>
                    </a:path>
                  </a:pathLst>
                </a:custGeom>
                <a:noFill/>
                <a:ln w="6350" cap="rnd">
                  <a:solidFill>
                    <a:schemeClr val="bg1">
                      <a:alpha val="40000"/>
                    </a:schemeClr>
                  </a:solidFill>
                  <a:prstDash val="solid"/>
                  <a:round/>
                </a:ln>
              </p:spPr>
              <p:txBody>
                <a:bodyPr rtlCol="0" anchor="ctr"/>
                <a:lstStyle/>
                <a:p>
                  <a:endParaRPr lang="en-GB"/>
                </a:p>
              </p:txBody>
            </p:sp>
            <p:sp>
              <p:nvSpPr>
                <p:cNvPr id="6832" name="Vrije vorm: vorm 6831">
                  <a:extLst>
                    <a:ext uri="{FF2B5EF4-FFF2-40B4-BE49-F238E27FC236}">
                      <a16:creationId xmlns:a16="http://schemas.microsoft.com/office/drawing/2014/main" id="{1423CBEF-1A4E-48C2-A621-750B7FE03E5B}"/>
                    </a:ext>
                  </a:extLst>
                </p:cNvPr>
                <p:cNvSpPr/>
                <p:nvPr/>
              </p:nvSpPr>
              <p:spPr>
                <a:xfrm>
                  <a:off x="7060561" y="2053999"/>
                  <a:ext cx="7177" cy="11662"/>
                </a:xfrm>
                <a:custGeom>
                  <a:avLst/>
                  <a:gdLst>
                    <a:gd name="connsiteX0" fmla="*/ 7177 w 7177"/>
                    <a:gd name="connsiteY0" fmla="*/ 0 h 11662"/>
                    <a:gd name="connsiteX1" fmla="*/ 538 w 7177"/>
                    <a:gd name="connsiteY1" fmla="*/ 10885 h 11662"/>
                    <a:gd name="connsiteX2" fmla="*/ 0 w 7177"/>
                    <a:gd name="connsiteY2" fmla="*/ 11662 h 11662"/>
                  </a:gdLst>
                  <a:ahLst/>
                  <a:cxnLst>
                    <a:cxn ang="0">
                      <a:pos x="connsiteX0" y="connsiteY0"/>
                    </a:cxn>
                    <a:cxn ang="0">
                      <a:pos x="connsiteX1" y="connsiteY1"/>
                    </a:cxn>
                    <a:cxn ang="0">
                      <a:pos x="connsiteX2" y="connsiteY2"/>
                    </a:cxn>
                  </a:cxnLst>
                  <a:rect l="l" t="t" r="r" b="b"/>
                  <a:pathLst>
                    <a:path w="7177" h="11662">
                      <a:moveTo>
                        <a:pt x="7177" y="0"/>
                      </a:moveTo>
                      <a:lnTo>
                        <a:pt x="538" y="10885"/>
                      </a:lnTo>
                      <a:lnTo>
                        <a:pt x="0" y="11662"/>
                      </a:lnTo>
                    </a:path>
                  </a:pathLst>
                </a:custGeom>
                <a:noFill/>
                <a:ln w="6350" cap="rnd">
                  <a:solidFill>
                    <a:schemeClr val="bg1">
                      <a:alpha val="40000"/>
                    </a:schemeClr>
                  </a:solidFill>
                  <a:prstDash val="solid"/>
                  <a:round/>
                </a:ln>
              </p:spPr>
              <p:txBody>
                <a:bodyPr rtlCol="0" anchor="ctr"/>
                <a:lstStyle/>
                <a:p>
                  <a:endParaRPr lang="en-GB"/>
                </a:p>
              </p:txBody>
            </p:sp>
            <p:sp>
              <p:nvSpPr>
                <p:cNvPr id="6833" name="Vrije vorm: vorm 6832">
                  <a:extLst>
                    <a:ext uri="{FF2B5EF4-FFF2-40B4-BE49-F238E27FC236}">
                      <a16:creationId xmlns:a16="http://schemas.microsoft.com/office/drawing/2014/main" id="{AE92AB31-0D27-44A4-8924-1EF019F3AFA4}"/>
                    </a:ext>
                  </a:extLst>
                </p:cNvPr>
                <p:cNvSpPr/>
                <p:nvPr/>
              </p:nvSpPr>
              <p:spPr>
                <a:xfrm>
                  <a:off x="6879524" y="2094967"/>
                  <a:ext cx="6579" cy="4425"/>
                </a:xfrm>
                <a:custGeom>
                  <a:avLst/>
                  <a:gdLst>
                    <a:gd name="connsiteX0" fmla="*/ 6579 w 6579"/>
                    <a:gd name="connsiteY0" fmla="*/ 0 h 4425"/>
                    <a:gd name="connsiteX1" fmla="*/ 718 w 6579"/>
                    <a:gd name="connsiteY1" fmla="*/ 3947 h 4425"/>
                    <a:gd name="connsiteX2" fmla="*/ 0 w 6579"/>
                    <a:gd name="connsiteY2" fmla="*/ 4426 h 4425"/>
                  </a:gdLst>
                  <a:ahLst/>
                  <a:cxnLst>
                    <a:cxn ang="0">
                      <a:pos x="connsiteX0" y="connsiteY0"/>
                    </a:cxn>
                    <a:cxn ang="0">
                      <a:pos x="connsiteX1" y="connsiteY1"/>
                    </a:cxn>
                    <a:cxn ang="0">
                      <a:pos x="connsiteX2" y="connsiteY2"/>
                    </a:cxn>
                  </a:cxnLst>
                  <a:rect l="l" t="t" r="r" b="b"/>
                  <a:pathLst>
                    <a:path w="6579" h="4425">
                      <a:moveTo>
                        <a:pt x="6579" y="0"/>
                      </a:moveTo>
                      <a:lnTo>
                        <a:pt x="718" y="3947"/>
                      </a:lnTo>
                      <a:lnTo>
                        <a:pt x="0" y="4426"/>
                      </a:lnTo>
                    </a:path>
                  </a:pathLst>
                </a:custGeom>
                <a:noFill/>
                <a:ln w="6350" cap="rnd">
                  <a:solidFill>
                    <a:schemeClr val="bg1">
                      <a:alpha val="40000"/>
                    </a:schemeClr>
                  </a:solidFill>
                  <a:prstDash val="solid"/>
                  <a:round/>
                </a:ln>
              </p:spPr>
              <p:txBody>
                <a:bodyPr rtlCol="0" anchor="ctr"/>
                <a:lstStyle/>
                <a:p>
                  <a:endParaRPr lang="en-GB"/>
                </a:p>
              </p:txBody>
            </p:sp>
            <p:sp>
              <p:nvSpPr>
                <p:cNvPr id="6834" name="Vrije vorm: vorm 6833">
                  <a:extLst>
                    <a:ext uri="{FF2B5EF4-FFF2-40B4-BE49-F238E27FC236}">
                      <a16:creationId xmlns:a16="http://schemas.microsoft.com/office/drawing/2014/main" id="{C49D07C0-FDFA-459D-9624-B525D1429E4C}"/>
                    </a:ext>
                  </a:extLst>
                </p:cNvPr>
                <p:cNvSpPr/>
                <p:nvPr/>
              </p:nvSpPr>
              <p:spPr>
                <a:xfrm>
                  <a:off x="6712184" y="1864291"/>
                  <a:ext cx="3947" cy="837"/>
                </a:xfrm>
                <a:custGeom>
                  <a:avLst/>
                  <a:gdLst>
                    <a:gd name="connsiteX0" fmla="*/ 3947 w 3947"/>
                    <a:gd name="connsiteY0" fmla="*/ 837 h 837"/>
                    <a:gd name="connsiteX1" fmla="*/ 1136 w 3947"/>
                    <a:gd name="connsiteY1" fmla="*/ 239 h 837"/>
                    <a:gd name="connsiteX2" fmla="*/ 0 w 3947"/>
                    <a:gd name="connsiteY2" fmla="*/ 0 h 837"/>
                  </a:gdLst>
                  <a:ahLst/>
                  <a:cxnLst>
                    <a:cxn ang="0">
                      <a:pos x="connsiteX0" y="connsiteY0"/>
                    </a:cxn>
                    <a:cxn ang="0">
                      <a:pos x="connsiteX1" y="connsiteY1"/>
                    </a:cxn>
                    <a:cxn ang="0">
                      <a:pos x="connsiteX2" y="connsiteY2"/>
                    </a:cxn>
                  </a:cxnLst>
                  <a:rect l="l" t="t" r="r" b="b"/>
                  <a:pathLst>
                    <a:path w="3947" h="837">
                      <a:moveTo>
                        <a:pt x="3947" y="837"/>
                      </a:moveTo>
                      <a:lnTo>
                        <a:pt x="1136" y="23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35" name="Vrije vorm: vorm 6834">
                  <a:extLst>
                    <a:ext uri="{FF2B5EF4-FFF2-40B4-BE49-F238E27FC236}">
                      <a16:creationId xmlns:a16="http://schemas.microsoft.com/office/drawing/2014/main" id="{D7541D42-464B-48C1-AA94-D8FA6D051805}"/>
                    </a:ext>
                  </a:extLst>
                </p:cNvPr>
                <p:cNvSpPr/>
                <p:nvPr/>
              </p:nvSpPr>
              <p:spPr>
                <a:xfrm>
                  <a:off x="6749982" y="1888274"/>
                  <a:ext cx="14294" cy="12439"/>
                </a:xfrm>
                <a:custGeom>
                  <a:avLst/>
                  <a:gdLst>
                    <a:gd name="connsiteX0" fmla="*/ 0 w 14294"/>
                    <a:gd name="connsiteY0" fmla="*/ 12440 h 12439"/>
                    <a:gd name="connsiteX1" fmla="*/ 1735 w 14294"/>
                    <a:gd name="connsiteY1" fmla="*/ 10406 h 12439"/>
                    <a:gd name="connsiteX2" fmla="*/ 3947 w 14294"/>
                    <a:gd name="connsiteY2" fmla="*/ 7895 h 12439"/>
                    <a:gd name="connsiteX3" fmla="*/ 4605 w 14294"/>
                    <a:gd name="connsiteY3" fmla="*/ 7117 h 12439"/>
                    <a:gd name="connsiteX4" fmla="*/ 4844 w 14294"/>
                    <a:gd name="connsiteY4" fmla="*/ 6878 h 12439"/>
                    <a:gd name="connsiteX5" fmla="*/ 5024 w 14294"/>
                    <a:gd name="connsiteY5" fmla="*/ 6698 h 12439"/>
                    <a:gd name="connsiteX6" fmla="*/ 5263 w 14294"/>
                    <a:gd name="connsiteY6" fmla="*/ 6399 h 12439"/>
                    <a:gd name="connsiteX7" fmla="*/ 5742 w 14294"/>
                    <a:gd name="connsiteY7" fmla="*/ 5861 h 12439"/>
                    <a:gd name="connsiteX8" fmla="*/ 6399 w 14294"/>
                    <a:gd name="connsiteY8" fmla="*/ 5143 h 12439"/>
                    <a:gd name="connsiteX9" fmla="*/ 6459 w 14294"/>
                    <a:gd name="connsiteY9" fmla="*/ 5084 h 12439"/>
                    <a:gd name="connsiteX10" fmla="*/ 7357 w 14294"/>
                    <a:gd name="connsiteY10" fmla="*/ 4067 h 12439"/>
                    <a:gd name="connsiteX11" fmla="*/ 8373 w 14294"/>
                    <a:gd name="connsiteY11" fmla="*/ 2871 h 12439"/>
                    <a:gd name="connsiteX12" fmla="*/ 10885 w 14294"/>
                    <a:gd name="connsiteY12" fmla="*/ 0 h 12439"/>
                    <a:gd name="connsiteX13" fmla="*/ 12500 w 14294"/>
                    <a:gd name="connsiteY13" fmla="*/ 1017 h 12439"/>
                    <a:gd name="connsiteX14" fmla="*/ 13696 w 14294"/>
                    <a:gd name="connsiteY14" fmla="*/ 1794 h 12439"/>
                    <a:gd name="connsiteX15" fmla="*/ 14294 w 14294"/>
                    <a:gd name="connsiteY15" fmla="*/ 2153 h 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294" h="12439">
                      <a:moveTo>
                        <a:pt x="0" y="12440"/>
                      </a:moveTo>
                      <a:lnTo>
                        <a:pt x="1735" y="10406"/>
                      </a:lnTo>
                      <a:lnTo>
                        <a:pt x="3947" y="7895"/>
                      </a:lnTo>
                      <a:lnTo>
                        <a:pt x="4605" y="7117"/>
                      </a:lnTo>
                      <a:lnTo>
                        <a:pt x="4844" y="6878"/>
                      </a:lnTo>
                      <a:lnTo>
                        <a:pt x="5024" y="6698"/>
                      </a:lnTo>
                      <a:lnTo>
                        <a:pt x="5263" y="6399"/>
                      </a:lnTo>
                      <a:lnTo>
                        <a:pt x="5742" y="5861"/>
                      </a:lnTo>
                      <a:lnTo>
                        <a:pt x="6399" y="5143"/>
                      </a:lnTo>
                      <a:lnTo>
                        <a:pt x="6459" y="5084"/>
                      </a:lnTo>
                      <a:lnTo>
                        <a:pt x="7357" y="4067"/>
                      </a:lnTo>
                      <a:lnTo>
                        <a:pt x="8373" y="2871"/>
                      </a:lnTo>
                      <a:lnTo>
                        <a:pt x="10885" y="0"/>
                      </a:lnTo>
                      <a:lnTo>
                        <a:pt x="12500" y="1017"/>
                      </a:lnTo>
                      <a:lnTo>
                        <a:pt x="13696" y="1794"/>
                      </a:lnTo>
                      <a:lnTo>
                        <a:pt x="14294" y="2153"/>
                      </a:lnTo>
                    </a:path>
                  </a:pathLst>
                </a:custGeom>
                <a:noFill/>
                <a:ln w="6350" cap="rnd">
                  <a:solidFill>
                    <a:schemeClr val="bg1">
                      <a:alpha val="40000"/>
                    </a:schemeClr>
                  </a:solidFill>
                  <a:prstDash val="solid"/>
                  <a:round/>
                </a:ln>
              </p:spPr>
              <p:txBody>
                <a:bodyPr rtlCol="0" anchor="ctr"/>
                <a:lstStyle/>
                <a:p>
                  <a:endParaRPr lang="en-GB"/>
                </a:p>
              </p:txBody>
            </p:sp>
            <p:sp>
              <p:nvSpPr>
                <p:cNvPr id="6836" name="Vrije vorm: vorm 6835">
                  <a:extLst>
                    <a:ext uri="{FF2B5EF4-FFF2-40B4-BE49-F238E27FC236}">
                      <a16:creationId xmlns:a16="http://schemas.microsoft.com/office/drawing/2014/main" id="{8C7BE026-5119-4B15-8519-69271E076B9F}"/>
                    </a:ext>
                  </a:extLst>
                </p:cNvPr>
                <p:cNvSpPr/>
                <p:nvPr/>
              </p:nvSpPr>
              <p:spPr>
                <a:xfrm>
                  <a:off x="6751956" y="1897185"/>
                  <a:ext cx="9748" cy="7116"/>
                </a:xfrm>
                <a:custGeom>
                  <a:avLst/>
                  <a:gdLst>
                    <a:gd name="connsiteX0" fmla="*/ 9749 w 9748"/>
                    <a:gd name="connsiteY0" fmla="*/ 0 h 7116"/>
                    <a:gd name="connsiteX1" fmla="*/ 9749 w 9748"/>
                    <a:gd name="connsiteY1" fmla="*/ 0 h 7116"/>
                    <a:gd name="connsiteX2" fmla="*/ 9629 w 9748"/>
                    <a:gd name="connsiteY2" fmla="*/ 120 h 7116"/>
                    <a:gd name="connsiteX3" fmla="*/ 9390 w 9748"/>
                    <a:gd name="connsiteY3" fmla="*/ 359 h 7116"/>
                    <a:gd name="connsiteX4" fmla="*/ 9210 w 9748"/>
                    <a:gd name="connsiteY4" fmla="*/ 538 h 7116"/>
                    <a:gd name="connsiteX5" fmla="*/ 9151 w 9748"/>
                    <a:gd name="connsiteY5" fmla="*/ 598 h 7116"/>
                    <a:gd name="connsiteX6" fmla="*/ 9091 w 9748"/>
                    <a:gd name="connsiteY6" fmla="*/ 658 h 7116"/>
                    <a:gd name="connsiteX7" fmla="*/ 8732 w 9748"/>
                    <a:gd name="connsiteY7" fmla="*/ 1076 h 7116"/>
                    <a:gd name="connsiteX8" fmla="*/ 8552 w 9748"/>
                    <a:gd name="connsiteY8" fmla="*/ 1316 h 7116"/>
                    <a:gd name="connsiteX9" fmla="*/ 8433 w 9748"/>
                    <a:gd name="connsiteY9" fmla="*/ 1435 h 7116"/>
                    <a:gd name="connsiteX10" fmla="*/ 8313 w 9748"/>
                    <a:gd name="connsiteY10" fmla="*/ 1615 h 7116"/>
                    <a:gd name="connsiteX11" fmla="*/ 7954 w 9748"/>
                    <a:gd name="connsiteY11" fmla="*/ 2033 h 7116"/>
                    <a:gd name="connsiteX12" fmla="*/ 7596 w 9748"/>
                    <a:gd name="connsiteY12" fmla="*/ 2452 h 7116"/>
                    <a:gd name="connsiteX13" fmla="*/ 5323 w 9748"/>
                    <a:gd name="connsiteY13" fmla="*/ 5084 h 7116"/>
                    <a:gd name="connsiteX14" fmla="*/ 3588 w 9748"/>
                    <a:gd name="connsiteY14" fmla="*/ 7117 h 7116"/>
                    <a:gd name="connsiteX15" fmla="*/ 0 w 9748"/>
                    <a:gd name="connsiteY15" fmla="*/ 4785 h 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48" h="7116">
                      <a:moveTo>
                        <a:pt x="9749" y="0"/>
                      </a:moveTo>
                      <a:lnTo>
                        <a:pt x="9749" y="0"/>
                      </a:lnTo>
                      <a:lnTo>
                        <a:pt x="9629" y="120"/>
                      </a:lnTo>
                      <a:lnTo>
                        <a:pt x="9390" y="359"/>
                      </a:lnTo>
                      <a:lnTo>
                        <a:pt x="9210" y="538"/>
                      </a:lnTo>
                      <a:lnTo>
                        <a:pt x="9151" y="598"/>
                      </a:lnTo>
                      <a:lnTo>
                        <a:pt x="9091" y="658"/>
                      </a:lnTo>
                      <a:lnTo>
                        <a:pt x="8732" y="1076"/>
                      </a:lnTo>
                      <a:lnTo>
                        <a:pt x="8552" y="1316"/>
                      </a:lnTo>
                      <a:lnTo>
                        <a:pt x="8433" y="1435"/>
                      </a:lnTo>
                      <a:lnTo>
                        <a:pt x="8313" y="1615"/>
                      </a:lnTo>
                      <a:lnTo>
                        <a:pt x="7954" y="2033"/>
                      </a:lnTo>
                      <a:lnTo>
                        <a:pt x="7596" y="2452"/>
                      </a:lnTo>
                      <a:lnTo>
                        <a:pt x="5323" y="5084"/>
                      </a:lnTo>
                      <a:lnTo>
                        <a:pt x="3588" y="7117"/>
                      </a:lnTo>
                      <a:lnTo>
                        <a:pt x="0" y="4785"/>
                      </a:lnTo>
                    </a:path>
                  </a:pathLst>
                </a:custGeom>
                <a:noFill/>
                <a:ln w="6350" cap="rnd">
                  <a:solidFill>
                    <a:schemeClr val="bg1">
                      <a:alpha val="40000"/>
                    </a:schemeClr>
                  </a:solidFill>
                  <a:prstDash val="solid"/>
                  <a:round/>
                </a:ln>
              </p:spPr>
              <p:txBody>
                <a:bodyPr rtlCol="0" anchor="ctr"/>
                <a:lstStyle/>
                <a:p>
                  <a:endParaRPr lang="en-GB"/>
                </a:p>
              </p:txBody>
            </p:sp>
            <p:sp>
              <p:nvSpPr>
                <p:cNvPr id="6837" name="Vrije vorm: vorm 6836">
                  <a:extLst>
                    <a:ext uri="{FF2B5EF4-FFF2-40B4-BE49-F238E27FC236}">
                      <a16:creationId xmlns:a16="http://schemas.microsoft.com/office/drawing/2014/main" id="{2DBBBD10-494F-4761-8453-0F5BC8D225F0}"/>
                    </a:ext>
                  </a:extLst>
                </p:cNvPr>
                <p:cNvSpPr/>
                <p:nvPr/>
              </p:nvSpPr>
              <p:spPr>
                <a:xfrm>
                  <a:off x="6975335" y="2004838"/>
                  <a:ext cx="3648" cy="4066"/>
                </a:xfrm>
                <a:custGeom>
                  <a:avLst/>
                  <a:gdLst>
                    <a:gd name="connsiteX0" fmla="*/ 3588 w 3648"/>
                    <a:gd name="connsiteY0" fmla="*/ 0 h 4066"/>
                    <a:gd name="connsiteX1" fmla="*/ 3648 w 3648"/>
                    <a:gd name="connsiteY1" fmla="*/ 777 h 4066"/>
                    <a:gd name="connsiteX2" fmla="*/ 2333 w 3648"/>
                    <a:gd name="connsiteY2" fmla="*/ 2153 h 4066"/>
                    <a:gd name="connsiteX3" fmla="*/ 1197 w 3648"/>
                    <a:gd name="connsiteY3" fmla="*/ 3349 h 4066"/>
                    <a:gd name="connsiteX4" fmla="*/ 0 w 3648"/>
                    <a:gd name="connsiteY4" fmla="*/ 4067 h 4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8" h="4066">
                      <a:moveTo>
                        <a:pt x="3588" y="0"/>
                      </a:moveTo>
                      <a:lnTo>
                        <a:pt x="3648" y="777"/>
                      </a:lnTo>
                      <a:lnTo>
                        <a:pt x="2333" y="2153"/>
                      </a:lnTo>
                      <a:lnTo>
                        <a:pt x="1197" y="3349"/>
                      </a:lnTo>
                      <a:lnTo>
                        <a:pt x="0" y="4067"/>
                      </a:lnTo>
                    </a:path>
                  </a:pathLst>
                </a:custGeom>
                <a:noFill/>
                <a:ln w="6350" cap="rnd">
                  <a:solidFill>
                    <a:schemeClr val="bg1">
                      <a:alpha val="40000"/>
                    </a:schemeClr>
                  </a:solidFill>
                  <a:prstDash val="solid"/>
                  <a:round/>
                </a:ln>
              </p:spPr>
              <p:txBody>
                <a:bodyPr rtlCol="0" anchor="ctr"/>
                <a:lstStyle/>
                <a:p>
                  <a:endParaRPr lang="en-GB"/>
                </a:p>
              </p:txBody>
            </p:sp>
            <p:sp>
              <p:nvSpPr>
                <p:cNvPr id="6838" name="Vrije vorm: vorm 6837">
                  <a:extLst>
                    <a:ext uri="{FF2B5EF4-FFF2-40B4-BE49-F238E27FC236}">
                      <a16:creationId xmlns:a16="http://schemas.microsoft.com/office/drawing/2014/main" id="{F8346115-3591-45CA-B5AB-63C2D92ECA1F}"/>
                    </a:ext>
                  </a:extLst>
                </p:cNvPr>
                <p:cNvSpPr/>
                <p:nvPr/>
              </p:nvSpPr>
              <p:spPr>
                <a:xfrm>
                  <a:off x="6926772" y="1875116"/>
                  <a:ext cx="8433" cy="19915"/>
                </a:xfrm>
                <a:custGeom>
                  <a:avLst/>
                  <a:gdLst>
                    <a:gd name="connsiteX0" fmla="*/ 8433 w 8433"/>
                    <a:gd name="connsiteY0" fmla="*/ 0 h 19915"/>
                    <a:gd name="connsiteX1" fmla="*/ 6998 w 8433"/>
                    <a:gd name="connsiteY1" fmla="*/ 3469 h 19915"/>
                    <a:gd name="connsiteX2" fmla="*/ 5921 w 8433"/>
                    <a:gd name="connsiteY2" fmla="*/ 5981 h 19915"/>
                    <a:gd name="connsiteX3" fmla="*/ 5263 w 8433"/>
                    <a:gd name="connsiteY3" fmla="*/ 7536 h 19915"/>
                    <a:gd name="connsiteX4" fmla="*/ 5143 w 8433"/>
                    <a:gd name="connsiteY4" fmla="*/ 7895 h 19915"/>
                    <a:gd name="connsiteX5" fmla="*/ 598 w 8433"/>
                    <a:gd name="connsiteY5" fmla="*/ 18720 h 19915"/>
                    <a:gd name="connsiteX6" fmla="*/ 0 w 8433"/>
                    <a:gd name="connsiteY6" fmla="*/ 19916 h 19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33" h="19915">
                      <a:moveTo>
                        <a:pt x="8433" y="0"/>
                      </a:moveTo>
                      <a:lnTo>
                        <a:pt x="6998" y="3469"/>
                      </a:lnTo>
                      <a:lnTo>
                        <a:pt x="5921" y="5981"/>
                      </a:lnTo>
                      <a:lnTo>
                        <a:pt x="5263" y="7536"/>
                      </a:lnTo>
                      <a:lnTo>
                        <a:pt x="5143" y="7895"/>
                      </a:lnTo>
                      <a:lnTo>
                        <a:pt x="598" y="18720"/>
                      </a:lnTo>
                      <a:lnTo>
                        <a:pt x="0" y="19916"/>
                      </a:lnTo>
                    </a:path>
                  </a:pathLst>
                </a:custGeom>
                <a:noFill/>
                <a:ln w="6350" cap="rnd">
                  <a:solidFill>
                    <a:schemeClr val="bg1">
                      <a:alpha val="40000"/>
                    </a:schemeClr>
                  </a:solidFill>
                  <a:prstDash val="solid"/>
                  <a:round/>
                </a:ln>
              </p:spPr>
              <p:txBody>
                <a:bodyPr rtlCol="0" anchor="ctr"/>
                <a:lstStyle/>
                <a:p>
                  <a:endParaRPr lang="en-GB"/>
                </a:p>
              </p:txBody>
            </p:sp>
            <p:sp>
              <p:nvSpPr>
                <p:cNvPr id="6839" name="Vrije vorm: vorm 6838">
                  <a:extLst>
                    <a:ext uri="{FF2B5EF4-FFF2-40B4-BE49-F238E27FC236}">
                      <a16:creationId xmlns:a16="http://schemas.microsoft.com/office/drawing/2014/main" id="{543A60CB-43F8-4086-9BE9-F940F49FB616}"/>
                    </a:ext>
                  </a:extLst>
                </p:cNvPr>
                <p:cNvSpPr/>
                <p:nvPr/>
              </p:nvSpPr>
              <p:spPr>
                <a:xfrm>
                  <a:off x="6948243" y="2074633"/>
                  <a:ext cx="28528" cy="9688"/>
                </a:xfrm>
                <a:custGeom>
                  <a:avLst/>
                  <a:gdLst>
                    <a:gd name="connsiteX0" fmla="*/ 28528 w 28528"/>
                    <a:gd name="connsiteY0" fmla="*/ 0 h 9688"/>
                    <a:gd name="connsiteX1" fmla="*/ 19378 w 28528"/>
                    <a:gd name="connsiteY1" fmla="*/ 2512 h 9688"/>
                    <a:gd name="connsiteX2" fmla="*/ 18122 w 28528"/>
                    <a:gd name="connsiteY2" fmla="*/ 2930 h 9688"/>
                    <a:gd name="connsiteX3" fmla="*/ 10108 w 28528"/>
                    <a:gd name="connsiteY3" fmla="*/ 5622 h 9688"/>
                    <a:gd name="connsiteX4" fmla="*/ 7775 w 28528"/>
                    <a:gd name="connsiteY4" fmla="*/ 6399 h 9688"/>
                    <a:gd name="connsiteX5" fmla="*/ 5084 w 28528"/>
                    <a:gd name="connsiteY5" fmla="*/ 7536 h 9688"/>
                    <a:gd name="connsiteX6" fmla="*/ 0 w 28528"/>
                    <a:gd name="connsiteY6" fmla="*/ 9689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28" h="9688">
                      <a:moveTo>
                        <a:pt x="28528" y="0"/>
                      </a:moveTo>
                      <a:lnTo>
                        <a:pt x="19378" y="2512"/>
                      </a:lnTo>
                      <a:lnTo>
                        <a:pt x="18122" y="2930"/>
                      </a:lnTo>
                      <a:lnTo>
                        <a:pt x="10108" y="5622"/>
                      </a:lnTo>
                      <a:lnTo>
                        <a:pt x="7775" y="6399"/>
                      </a:lnTo>
                      <a:lnTo>
                        <a:pt x="5084" y="7536"/>
                      </a:lnTo>
                      <a:lnTo>
                        <a:pt x="0" y="9689"/>
                      </a:lnTo>
                    </a:path>
                  </a:pathLst>
                </a:custGeom>
                <a:noFill/>
                <a:ln w="6350" cap="rnd">
                  <a:solidFill>
                    <a:schemeClr val="bg1">
                      <a:alpha val="40000"/>
                    </a:schemeClr>
                  </a:solidFill>
                  <a:prstDash val="solid"/>
                  <a:round/>
                </a:ln>
              </p:spPr>
              <p:txBody>
                <a:bodyPr rtlCol="0" anchor="ctr"/>
                <a:lstStyle/>
                <a:p>
                  <a:endParaRPr lang="en-GB"/>
                </a:p>
              </p:txBody>
            </p:sp>
            <p:sp>
              <p:nvSpPr>
                <p:cNvPr id="6840" name="Vrije vorm: vorm 6839">
                  <a:extLst>
                    <a:ext uri="{FF2B5EF4-FFF2-40B4-BE49-F238E27FC236}">
                      <a16:creationId xmlns:a16="http://schemas.microsoft.com/office/drawing/2014/main" id="{150134DE-CFB9-4C14-A38C-7DFDFB789E16}"/>
                    </a:ext>
                  </a:extLst>
                </p:cNvPr>
                <p:cNvSpPr/>
                <p:nvPr/>
              </p:nvSpPr>
              <p:spPr>
                <a:xfrm>
                  <a:off x="6945911" y="2110936"/>
                  <a:ext cx="119" cy="5980"/>
                </a:xfrm>
                <a:custGeom>
                  <a:avLst/>
                  <a:gdLst>
                    <a:gd name="connsiteX0" fmla="*/ 0 w 119"/>
                    <a:gd name="connsiteY0" fmla="*/ 0 h 5980"/>
                    <a:gd name="connsiteX1" fmla="*/ 119 w 119"/>
                    <a:gd name="connsiteY1" fmla="*/ 0 h 5980"/>
                  </a:gdLst>
                  <a:ahLst/>
                  <a:cxnLst>
                    <a:cxn ang="0">
                      <a:pos x="connsiteX0" y="connsiteY0"/>
                    </a:cxn>
                    <a:cxn ang="0">
                      <a:pos x="connsiteX1" y="connsiteY1"/>
                    </a:cxn>
                  </a:cxnLst>
                  <a:rect l="l" t="t" r="r" b="b"/>
                  <a:pathLst>
                    <a:path w="119" h="5980">
                      <a:moveTo>
                        <a:pt x="0" y="0"/>
                      </a:moveTo>
                      <a:lnTo>
                        <a:pt x="119" y="0"/>
                      </a:lnTo>
                    </a:path>
                  </a:pathLst>
                </a:custGeom>
                <a:noFill/>
                <a:ln w="6350" cap="rnd">
                  <a:solidFill>
                    <a:schemeClr val="bg1">
                      <a:alpha val="40000"/>
                    </a:schemeClr>
                  </a:solidFill>
                  <a:prstDash val="solid"/>
                  <a:round/>
                </a:ln>
              </p:spPr>
              <p:txBody>
                <a:bodyPr rtlCol="0" anchor="ctr"/>
                <a:lstStyle/>
                <a:p>
                  <a:endParaRPr lang="en-GB"/>
                </a:p>
              </p:txBody>
            </p:sp>
            <p:sp>
              <p:nvSpPr>
                <p:cNvPr id="6841" name="Vrije vorm: vorm 6840">
                  <a:extLst>
                    <a:ext uri="{FF2B5EF4-FFF2-40B4-BE49-F238E27FC236}">
                      <a16:creationId xmlns:a16="http://schemas.microsoft.com/office/drawing/2014/main" id="{A49AFB8B-FF75-4D39-A1DB-3BC9CCA73FD1}"/>
                    </a:ext>
                  </a:extLst>
                </p:cNvPr>
                <p:cNvSpPr/>
                <p:nvPr/>
              </p:nvSpPr>
              <p:spPr>
                <a:xfrm>
                  <a:off x="6948662" y="2093891"/>
                  <a:ext cx="6339" cy="1375"/>
                </a:xfrm>
                <a:custGeom>
                  <a:avLst/>
                  <a:gdLst>
                    <a:gd name="connsiteX0" fmla="*/ 0 w 6339"/>
                    <a:gd name="connsiteY0" fmla="*/ 1376 h 1375"/>
                    <a:gd name="connsiteX1" fmla="*/ 538 w 6339"/>
                    <a:gd name="connsiteY1" fmla="*/ 1256 h 1375"/>
                    <a:gd name="connsiteX2" fmla="*/ 6339 w 6339"/>
                    <a:gd name="connsiteY2" fmla="*/ 0 h 1375"/>
                  </a:gdLst>
                  <a:ahLst/>
                  <a:cxnLst>
                    <a:cxn ang="0">
                      <a:pos x="connsiteX0" y="connsiteY0"/>
                    </a:cxn>
                    <a:cxn ang="0">
                      <a:pos x="connsiteX1" y="connsiteY1"/>
                    </a:cxn>
                    <a:cxn ang="0">
                      <a:pos x="connsiteX2" y="connsiteY2"/>
                    </a:cxn>
                  </a:cxnLst>
                  <a:rect l="l" t="t" r="r" b="b"/>
                  <a:pathLst>
                    <a:path w="6339" h="1375">
                      <a:moveTo>
                        <a:pt x="0" y="1376"/>
                      </a:moveTo>
                      <a:lnTo>
                        <a:pt x="538" y="1256"/>
                      </a:lnTo>
                      <a:lnTo>
                        <a:pt x="6339" y="0"/>
                      </a:lnTo>
                    </a:path>
                  </a:pathLst>
                </a:custGeom>
                <a:noFill/>
                <a:ln w="6350" cap="rnd">
                  <a:solidFill>
                    <a:schemeClr val="bg1">
                      <a:alpha val="40000"/>
                    </a:schemeClr>
                  </a:solidFill>
                  <a:prstDash val="solid"/>
                  <a:round/>
                </a:ln>
              </p:spPr>
              <p:txBody>
                <a:bodyPr rtlCol="0" anchor="ctr"/>
                <a:lstStyle/>
                <a:p>
                  <a:endParaRPr lang="en-GB"/>
                </a:p>
              </p:txBody>
            </p:sp>
            <p:sp>
              <p:nvSpPr>
                <p:cNvPr id="6842" name="Vrije vorm: vorm 6841">
                  <a:extLst>
                    <a:ext uri="{FF2B5EF4-FFF2-40B4-BE49-F238E27FC236}">
                      <a16:creationId xmlns:a16="http://schemas.microsoft.com/office/drawing/2014/main" id="{F7FE3DDC-A066-4EBD-B902-88E9C16DC12A}"/>
                    </a:ext>
                  </a:extLst>
                </p:cNvPr>
                <p:cNvSpPr/>
                <p:nvPr/>
              </p:nvSpPr>
              <p:spPr>
                <a:xfrm>
                  <a:off x="6977608" y="2017158"/>
                  <a:ext cx="27092" cy="6698"/>
                </a:xfrm>
                <a:custGeom>
                  <a:avLst/>
                  <a:gdLst>
                    <a:gd name="connsiteX0" fmla="*/ 27093 w 27092"/>
                    <a:gd name="connsiteY0" fmla="*/ 0 h 6698"/>
                    <a:gd name="connsiteX1" fmla="*/ 21292 w 27092"/>
                    <a:gd name="connsiteY1" fmla="*/ 658 h 6698"/>
                    <a:gd name="connsiteX2" fmla="*/ 20514 w 27092"/>
                    <a:gd name="connsiteY2" fmla="*/ 718 h 6698"/>
                    <a:gd name="connsiteX3" fmla="*/ 18122 w 27092"/>
                    <a:gd name="connsiteY3" fmla="*/ 957 h 6698"/>
                    <a:gd name="connsiteX4" fmla="*/ 18122 w 27092"/>
                    <a:gd name="connsiteY4" fmla="*/ 957 h 6698"/>
                    <a:gd name="connsiteX5" fmla="*/ 15550 w 27092"/>
                    <a:gd name="connsiteY5" fmla="*/ 1675 h 6698"/>
                    <a:gd name="connsiteX6" fmla="*/ 13158 w 27092"/>
                    <a:gd name="connsiteY6" fmla="*/ 2392 h 6698"/>
                    <a:gd name="connsiteX7" fmla="*/ 11663 w 27092"/>
                    <a:gd name="connsiteY7" fmla="*/ 2811 h 6698"/>
                    <a:gd name="connsiteX8" fmla="*/ 11603 w 27092"/>
                    <a:gd name="connsiteY8" fmla="*/ 2811 h 6698"/>
                    <a:gd name="connsiteX9" fmla="*/ 8553 w 27092"/>
                    <a:gd name="connsiteY9" fmla="*/ 3708 h 6698"/>
                    <a:gd name="connsiteX10" fmla="*/ 3469 w 27092"/>
                    <a:gd name="connsiteY10" fmla="*/ 5203 h 6698"/>
                    <a:gd name="connsiteX11" fmla="*/ 538 w 27092"/>
                    <a:gd name="connsiteY11" fmla="*/ 6459 h 6698"/>
                    <a:gd name="connsiteX12" fmla="*/ 0 w 27092"/>
                    <a:gd name="connsiteY12" fmla="*/ 6698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92" h="6698">
                      <a:moveTo>
                        <a:pt x="27093" y="0"/>
                      </a:moveTo>
                      <a:lnTo>
                        <a:pt x="21292" y="658"/>
                      </a:lnTo>
                      <a:lnTo>
                        <a:pt x="20514" y="718"/>
                      </a:lnTo>
                      <a:lnTo>
                        <a:pt x="18122" y="957"/>
                      </a:lnTo>
                      <a:lnTo>
                        <a:pt x="18122" y="957"/>
                      </a:lnTo>
                      <a:lnTo>
                        <a:pt x="15550" y="1675"/>
                      </a:lnTo>
                      <a:lnTo>
                        <a:pt x="13158" y="2392"/>
                      </a:lnTo>
                      <a:lnTo>
                        <a:pt x="11663" y="2811"/>
                      </a:lnTo>
                      <a:lnTo>
                        <a:pt x="11603" y="2811"/>
                      </a:lnTo>
                      <a:lnTo>
                        <a:pt x="8553" y="3708"/>
                      </a:lnTo>
                      <a:lnTo>
                        <a:pt x="3469" y="5203"/>
                      </a:lnTo>
                      <a:lnTo>
                        <a:pt x="538" y="6459"/>
                      </a:lnTo>
                      <a:lnTo>
                        <a:pt x="0" y="6698"/>
                      </a:lnTo>
                    </a:path>
                  </a:pathLst>
                </a:custGeom>
                <a:noFill/>
                <a:ln w="6350" cap="rnd">
                  <a:solidFill>
                    <a:schemeClr val="bg1">
                      <a:alpha val="40000"/>
                    </a:schemeClr>
                  </a:solidFill>
                  <a:prstDash val="solid"/>
                  <a:round/>
                </a:ln>
              </p:spPr>
              <p:txBody>
                <a:bodyPr rtlCol="0" anchor="ctr"/>
                <a:lstStyle/>
                <a:p>
                  <a:endParaRPr lang="en-GB"/>
                </a:p>
              </p:txBody>
            </p:sp>
            <p:sp>
              <p:nvSpPr>
                <p:cNvPr id="6843" name="Vrije vorm: vorm 6842">
                  <a:extLst>
                    <a:ext uri="{FF2B5EF4-FFF2-40B4-BE49-F238E27FC236}">
                      <a16:creationId xmlns:a16="http://schemas.microsoft.com/office/drawing/2014/main" id="{C41AAE4B-F33A-4486-A3AA-3C348548A737}"/>
                    </a:ext>
                  </a:extLst>
                </p:cNvPr>
                <p:cNvSpPr/>
                <p:nvPr/>
              </p:nvSpPr>
              <p:spPr>
                <a:xfrm>
                  <a:off x="7015825" y="2018474"/>
                  <a:ext cx="7775" cy="3349"/>
                </a:xfrm>
                <a:custGeom>
                  <a:avLst/>
                  <a:gdLst>
                    <a:gd name="connsiteX0" fmla="*/ 7775 w 7775"/>
                    <a:gd name="connsiteY0" fmla="*/ 3349 h 3349"/>
                    <a:gd name="connsiteX1" fmla="*/ 4665 w 7775"/>
                    <a:gd name="connsiteY1" fmla="*/ 1495 h 3349"/>
                    <a:gd name="connsiteX2" fmla="*/ 0 w 7775"/>
                    <a:gd name="connsiteY2" fmla="*/ 0 h 3349"/>
                  </a:gdLst>
                  <a:ahLst/>
                  <a:cxnLst>
                    <a:cxn ang="0">
                      <a:pos x="connsiteX0" y="connsiteY0"/>
                    </a:cxn>
                    <a:cxn ang="0">
                      <a:pos x="connsiteX1" y="connsiteY1"/>
                    </a:cxn>
                    <a:cxn ang="0">
                      <a:pos x="connsiteX2" y="connsiteY2"/>
                    </a:cxn>
                  </a:cxnLst>
                  <a:rect l="l" t="t" r="r" b="b"/>
                  <a:pathLst>
                    <a:path w="7775" h="3349">
                      <a:moveTo>
                        <a:pt x="7775" y="3349"/>
                      </a:moveTo>
                      <a:lnTo>
                        <a:pt x="4665" y="149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44" name="Vrije vorm: vorm 6843">
                  <a:extLst>
                    <a:ext uri="{FF2B5EF4-FFF2-40B4-BE49-F238E27FC236}">
                      <a16:creationId xmlns:a16="http://schemas.microsoft.com/office/drawing/2014/main" id="{A6E1B4EE-6DA7-4960-814D-F709245F2254}"/>
                    </a:ext>
                  </a:extLst>
                </p:cNvPr>
                <p:cNvSpPr/>
                <p:nvPr/>
              </p:nvSpPr>
              <p:spPr>
                <a:xfrm>
                  <a:off x="6608478" y="1927148"/>
                  <a:ext cx="3528" cy="6818"/>
                </a:xfrm>
                <a:custGeom>
                  <a:avLst/>
                  <a:gdLst>
                    <a:gd name="connsiteX0" fmla="*/ 0 w 3528"/>
                    <a:gd name="connsiteY0" fmla="*/ 0 h 6818"/>
                    <a:gd name="connsiteX1" fmla="*/ 2273 w 3528"/>
                    <a:gd name="connsiteY1" fmla="*/ 4725 h 6818"/>
                    <a:gd name="connsiteX2" fmla="*/ 3050 w 3528"/>
                    <a:gd name="connsiteY2" fmla="*/ 6040 h 6818"/>
                    <a:gd name="connsiteX3" fmla="*/ 3528 w 3528"/>
                    <a:gd name="connsiteY3" fmla="*/ 6818 h 6818"/>
                  </a:gdLst>
                  <a:ahLst/>
                  <a:cxnLst>
                    <a:cxn ang="0">
                      <a:pos x="connsiteX0" y="connsiteY0"/>
                    </a:cxn>
                    <a:cxn ang="0">
                      <a:pos x="connsiteX1" y="connsiteY1"/>
                    </a:cxn>
                    <a:cxn ang="0">
                      <a:pos x="connsiteX2" y="connsiteY2"/>
                    </a:cxn>
                    <a:cxn ang="0">
                      <a:pos x="connsiteX3" y="connsiteY3"/>
                    </a:cxn>
                  </a:cxnLst>
                  <a:rect l="l" t="t" r="r" b="b"/>
                  <a:pathLst>
                    <a:path w="3528" h="6818">
                      <a:moveTo>
                        <a:pt x="0" y="0"/>
                      </a:moveTo>
                      <a:lnTo>
                        <a:pt x="2273" y="4725"/>
                      </a:lnTo>
                      <a:lnTo>
                        <a:pt x="3050" y="6040"/>
                      </a:lnTo>
                      <a:lnTo>
                        <a:pt x="3528" y="6818"/>
                      </a:lnTo>
                    </a:path>
                  </a:pathLst>
                </a:custGeom>
                <a:noFill/>
                <a:ln w="6350" cap="rnd">
                  <a:solidFill>
                    <a:schemeClr val="bg1">
                      <a:alpha val="40000"/>
                    </a:schemeClr>
                  </a:solidFill>
                  <a:prstDash val="solid"/>
                  <a:round/>
                </a:ln>
              </p:spPr>
              <p:txBody>
                <a:bodyPr rtlCol="0" anchor="ctr"/>
                <a:lstStyle/>
                <a:p>
                  <a:endParaRPr lang="en-GB"/>
                </a:p>
              </p:txBody>
            </p:sp>
            <p:sp>
              <p:nvSpPr>
                <p:cNvPr id="6845" name="Vrije vorm: vorm 6844">
                  <a:extLst>
                    <a:ext uri="{FF2B5EF4-FFF2-40B4-BE49-F238E27FC236}">
                      <a16:creationId xmlns:a16="http://schemas.microsoft.com/office/drawing/2014/main" id="{00942BFD-06C0-4AAF-AAE4-E2EDADC1E667}"/>
                    </a:ext>
                  </a:extLst>
                </p:cNvPr>
                <p:cNvSpPr/>
                <p:nvPr/>
              </p:nvSpPr>
              <p:spPr>
                <a:xfrm>
                  <a:off x="7094053" y="1974815"/>
                  <a:ext cx="1974" cy="7715"/>
                </a:xfrm>
                <a:custGeom>
                  <a:avLst/>
                  <a:gdLst>
                    <a:gd name="connsiteX0" fmla="*/ 0 w 1974"/>
                    <a:gd name="connsiteY0" fmla="*/ 7715 h 7715"/>
                    <a:gd name="connsiteX1" fmla="*/ 1795 w 1974"/>
                    <a:gd name="connsiteY1" fmla="*/ 3050 h 7715"/>
                    <a:gd name="connsiteX2" fmla="*/ 1974 w 1974"/>
                    <a:gd name="connsiteY2" fmla="*/ 2632 h 7715"/>
                    <a:gd name="connsiteX3" fmla="*/ 1914 w 1974"/>
                    <a:gd name="connsiteY3" fmla="*/ 2392 h 7715"/>
                    <a:gd name="connsiteX4" fmla="*/ 1316 w 1974"/>
                    <a:gd name="connsiteY4" fmla="*/ 0 h 7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4" h="7715">
                      <a:moveTo>
                        <a:pt x="0" y="7715"/>
                      </a:moveTo>
                      <a:lnTo>
                        <a:pt x="1795" y="3050"/>
                      </a:lnTo>
                      <a:lnTo>
                        <a:pt x="1974" y="2632"/>
                      </a:lnTo>
                      <a:lnTo>
                        <a:pt x="1914" y="2392"/>
                      </a:lnTo>
                      <a:lnTo>
                        <a:pt x="1316" y="0"/>
                      </a:lnTo>
                    </a:path>
                  </a:pathLst>
                </a:custGeom>
                <a:noFill/>
                <a:ln w="6350" cap="rnd">
                  <a:solidFill>
                    <a:schemeClr val="bg1">
                      <a:alpha val="40000"/>
                    </a:schemeClr>
                  </a:solidFill>
                  <a:prstDash val="solid"/>
                  <a:round/>
                </a:ln>
              </p:spPr>
              <p:txBody>
                <a:bodyPr rtlCol="0" anchor="ctr"/>
                <a:lstStyle/>
                <a:p>
                  <a:endParaRPr lang="en-GB"/>
                </a:p>
              </p:txBody>
            </p:sp>
            <p:sp>
              <p:nvSpPr>
                <p:cNvPr id="6846" name="Vrije vorm: vorm 6845">
                  <a:extLst>
                    <a:ext uri="{FF2B5EF4-FFF2-40B4-BE49-F238E27FC236}">
                      <a16:creationId xmlns:a16="http://schemas.microsoft.com/office/drawing/2014/main" id="{7DEA6EA3-5E3A-4DB5-B86F-181EA84E788E}"/>
                    </a:ext>
                  </a:extLst>
                </p:cNvPr>
                <p:cNvSpPr/>
                <p:nvPr/>
              </p:nvSpPr>
              <p:spPr>
                <a:xfrm>
                  <a:off x="7071506" y="1963391"/>
                  <a:ext cx="1135" cy="7416"/>
                </a:xfrm>
                <a:custGeom>
                  <a:avLst/>
                  <a:gdLst>
                    <a:gd name="connsiteX0" fmla="*/ 897 w 1135"/>
                    <a:gd name="connsiteY0" fmla="*/ 7416 h 7416"/>
                    <a:gd name="connsiteX1" fmla="*/ 1136 w 1135"/>
                    <a:gd name="connsiteY1" fmla="*/ 1734 h 7416"/>
                    <a:gd name="connsiteX2" fmla="*/ 0 w 1135"/>
                    <a:gd name="connsiteY2" fmla="*/ 0 h 7416"/>
                  </a:gdLst>
                  <a:ahLst/>
                  <a:cxnLst>
                    <a:cxn ang="0">
                      <a:pos x="connsiteX0" y="connsiteY0"/>
                    </a:cxn>
                    <a:cxn ang="0">
                      <a:pos x="connsiteX1" y="connsiteY1"/>
                    </a:cxn>
                    <a:cxn ang="0">
                      <a:pos x="connsiteX2" y="connsiteY2"/>
                    </a:cxn>
                  </a:cxnLst>
                  <a:rect l="l" t="t" r="r" b="b"/>
                  <a:pathLst>
                    <a:path w="1135" h="7416">
                      <a:moveTo>
                        <a:pt x="897" y="7416"/>
                      </a:moveTo>
                      <a:lnTo>
                        <a:pt x="1136" y="1734"/>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47" name="Vrije vorm: vorm 6846">
                  <a:extLst>
                    <a:ext uri="{FF2B5EF4-FFF2-40B4-BE49-F238E27FC236}">
                      <a16:creationId xmlns:a16="http://schemas.microsoft.com/office/drawing/2014/main" id="{2A3822B9-F1EB-454F-8C2C-D8EB67A23E7B}"/>
                    </a:ext>
                  </a:extLst>
                </p:cNvPr>
                <p:cNvSpPr/>
                <p:nvPr/>
              </p:nvSpPr>
              <p:spPr>
                <a:xfrm>
                  <a:off x="7083646" y="1958009"/>
                  <a:ext cx="1555" cy="8911"/>
                </a:xfrm>
                <a:custGeom>
                  <a:avLst/>
                  <a:gdLst>
                    <a:gd name="connsiteX0" fmla="*/ 599 w 1555"/>
                    <a:gd name="connsiteY0" fmla="*/ 8911 h 8911"/>
                    <a:gd name="connsiteX1" fmla="*/ 778 w 1555"/>
                    <a:gd name="connsiteY1" fmla="*/ 7835 h 8911"/>
                    <a:gd name="connsiteX2" fmla="*/ 897 w 1555"/>
                    <a:gd name="connsiteY2" fmla="*/ 7117 h 8911"/>
                    <a:gd name="connsiteX3" fmla="*/ 957 w 1555"/>
                    <a:gd name="connsiteY3" fmla="*/ 6698 h 8911"/>
                    <a:gd name="connsiteX4" fmla="*/ 1555 w 1555"/>
                    <a:gd name="connsiteY4" fmla="*/ 3409 h 8911"/>
                    <a:gd name="connsiteX5" fmla="*/ 0 w 1555"/>
                    <a:gd name="connsiteY5" fmla="*/ 0 h 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5" h="8911">
                      <a:moveTo>
                        <a:pt x="599" y="8911"/>
                      </a:moveTo>
                      <a:lnTo>
                        <a:pt x="778" y="7835"/>
                      </a:lnTo>
                      <a:lnTo>
                        <a:pt x="897" y="7117"/>
                      </a:lnTo>
                      <a:lnTo>
                        <a:pt x="957" y="6698"/>
                      </a:lnTo>
                      <a:lnTo>
                        <a:pt x="1555" y="340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48" name="Vrije vorm: vorm 6847">
                  <a:extLst>
                    <a:ext uri="{FF2B5EF4-FFF2-40B4-BE49-F238E27FC236}">
                      <a16:creationId xmlns:a16="http://schemas.microsoft.com/office/drawing/2014/main" id="{37F94773-6990-42A1-BE34-4DD4CD26E30E}"/>
                    </a:ext>
                  </a:extLst>
                </p:cNvPr>
                <p:cNvSpPr/>
                <p:nvPr/>
              </p:nvSpPr>
              <p:spPr>
                <a:xfrm>
                  <a:off x="6944834" y="2106869"/>
                  <a:ext cx="1016" cy="2272"/>
                </a:xfrm>
                <a:custGeom>
                  <a:avLst/>
                  <a:gdLst>
                    <a:gd name="connsiteX0" fmla="*/ 0 w 1016"/>
                    <a:gd name="connsiteY0" fmla="*/ 0 h 2272"/>
                    <a:gd name="connsiteX1" fmla="*/ 1017 w 1016"/>
                    <a:gd name="connsiteY1" fmla="*/ 1316 h 2272"/>
                    <a:gd name="connsiteX2" fmla="*/ 897 w 1016"/>
                    <a:gd name="connsiteY2" fmla="*/ 2273 h 2272"/>
                  </a:gdLst>
                  <a:ahLst/>
                  <a:cxnLst>
                    <a:cxn ang="0">
                      <a:pos x="connsiteX0" y="connsiteY0"/>
                    </a:cxn>
                    <a:cxn ang="0">
                      <a:pos x="connsiteX1" y="connsiteY1"/>
                    </a:cxn>
                    <a:cxn ang="0">
                      <a:pos x="connsiteX2" y="connsiteY2"/>
                    </a:cxn>
                  </a:cxnLst>
                  <a:rect l="l" t="t" r="r" b="b"/>
                  <a:pathLst>
                    <a:path w="1016" h="2272">
                      <a:moveTo>
                        <a:pt x="0" y="0"/>
                      </a:moveTo>
                      <a:lnTo>
                        <a:pt x="1017" y="1316"/>
                      </a:lnTo>
                      <a:lnTo>
                        <a:pt x="897" y="2273"/>
                      </a:lnTo>
                    </a:path>
                  </a:pathLst>
                </a:custGeom>
                <a:noFill/>
                <a:ln w="6350" cap="rnd">
                  <a:solidFill>
                    <a:schemeClr val="bg1">
                      <a:alpha val="40000"/>
                    </a:schemeClr>
                  </a:solidFill>
                  <a:prstDash val="solid"/>
                  <a:round/>
                </a:ln>
              </p:spPr>
              <p:txBody>
                <a:bodyPr rtlCol="0" anchor="ctr"/>
                <a:lstStyle/>
                <a:p>
                  <a:endParaRPr lang="en-GB"/>
                </a:p>
              </p:txBody>
            </p:sp>
            <p:sp>
              <p:nvSpPr>
                <p:cNvPr id="6849" name="Vrije vorm: vorm 6848">
                  <a:extLst>
                    <a:ext uri="{FF2B5EF4-FFF2-40B4-BE49-F238E27FC236}">
                      <a16:creationId xmlns:a16="http://schemas.microsoft.com/office/drawing/2014/main" id="{E099730A-11AD-414C-A4DC-B9AEF986DBE8}"/>
                    </a:ext>
                  </a:extLst>
                </p:cNvPr>
                <p:cNvSpPr/>
                <p:nvPr/>
              </p:nvSpPr>
              <p:spPr>
                <a:xfrm>
                  <a:off x="6626899" y="1960162"/>
                  <a:ext cx="2631" cy="717"/>
                </a:xfrm>
                <a:custGeom>
                  <a:avLst/>
                  <a:gdLst>
                    <a:gd name="connsiteX0" fmla="*/ 0 w 2631"/>
                    <a:gd name="connsiteY0" fmla="*/ 0 h 717"/>
                    <a:gd name="connsiteX1" fmla="*/ 897 w 2631"/>
                    <a:gd name="connsiteY1" fmla="*/ 299 h 717"/>
                    <a:gd name="connsiteX2" fmla="*/ 1973 w 2631"/>
                    <a:gd name="connsiteY2" fmla="*/ 718 h 717"/>
                    <a:gd name="connsiteX3" fmla="*/ 2632 w 2631"/>
                    <a:gd name="connsiteY3" fmla="*/ 718 h 717"/>
                  </a:gdLst>
                  <a:ahLst/>
                  <a:cxnLst>
                    <a:cxn ang="0">
                      <a:pos x="connsiteX0" y="connsiteY0"/>
                    </a:cxn>
                    <a:cxn ang="0">
                      <a:pos x="connsiteX1" y="connsiteY1"/>
                    </a:cxn>
                    <a:cxn ang="0">
                      <a:pos x="connsiteX2" y="connsiteY2"/>
                    </a:cxn>
                    <a:cxn ang="0">
                      <a:pos x="connsiteX3" y="connsiteY3"/>
                    </a:cxn>
                  </a:cxnLst>
                  <a:rect l="l" t="t" r="r" b="b"/>
                  <a:pathLst>
                    <a:path w="2631" h="717">
                      <a:moveTo>
                        <a:pt x="0" y="0"/>
                      </a:moveTo>
                      <a:lnTo>
                        <a:pt x="897" y="299"/>
                      </a:lnTo>
                      <a:lnTo>
                        <a:pt x="1973" y="718"/>
                      </a:lnTo>
                      <a:lnTo>
                        <a:pt x="2632" y="718"/>
                      </a:lnTo>
                    </a:path>
                  </a:pathLst>
                </a:custGeom>
                <a:noFill/>
                <a:ln w="6350" cap="rnd">
                  <a:solidFill>
                    <a:schemeClr val="bg1">
                      <a:alpha val="40000"/>
                    </a:schemeClr>
                  </a:solidFill>
                  <a:prstDash val="solid"/>
                  <a:round/>
                </a:ln>
              </p:spPr>
              <p:txBody>
                <a:bodyPr rtlCol="0" anchor="ctr"/>
                <a:lstStyle/>
                <a:p>
                  <a:endParaRPr lang="en-GB"/>
                </a:p>
              </p:txBody>
            </p:sp>
            <p:sp>
              <p:nvSpPr>
                <p:cNvPr id="6850" name="Vrije vorm: vorm 6849">
                  <a:extLst>
                    <a:ext uri="{FF2B5EF4-FFF2-40B4-BE49-F238E27FC236}">
                      <a16:creationId xmlns:a16="http://schemas.microsoft.com/office/drawing/2014/main" id="{D6AC4EA9-8E84-4393-8BBE-74D6DD636C41}"/>
                    </a:ext>
                  </a:extLst>
                </p:cNvPr>
                <p:cNvSpPr/>
                <p:nvPr/>
              </p:nvSpPr>
              <p:spPr>
                <a:xfrm>
                  <a:off x="6938554" y="2077862"/>
                  <a:ext cx="5920" cy="15789"/>
                </a:xfrm>
                <a:custGeom>
                  <a:avLst/>
                  <a:gdLst>
                    <a:gd name="connsiteX0" fmla="*/ 0 w 5920"/>
                    <a:gd name="connsiteY0" fmla="*/ 0 h 15789"/>
                    <a:gd name="connsiteX1" fmla="*/ 718 w 5920"/>
                    <a:gd name="connsiteY1" fmla="*/ 1734 h 15789"/>
                    <a:gd name="connsiteX2" fmla="*/ 2512 w 5920"/>
                    <a:gd name="connsiteY2" fmla="*/ 5622 h 15789"/>
                    <a:gd name="connsiteX3" fmla="*/ 3828 w 5920"/>
                    <a:gd name="connsiteY3" fmla="*/ 8433 h 15789"/>
                    <a:gd name="connsiteX4" fmla="*/ 5921 w 5920"/>
                    <a:gd name="connsiteY4" fmla="*/ 12918 h 15789"/>
                    <a:gd name="connsiteX5" fmla="*/ 5084 w 5920"/>
                    <a:gd name="connsiteY5" fmla="*/ 14713 h 15789"/>
                    <a:gd name="connsiteX6" fmla="*/ 3350 w 5920"/>
                    <a:gd name="connsiteY6" fmla="*/ 15789 h 1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0" h="15789">
                      <a:moveTo>
                        <a:pt x="0" y="0"/>
                      </a:moveTo>
                      <a:lnTo>
                        <a:pt x="718" y="1734"/>
                      </a:lnTo>
                      <a:lnTo>
                        <a:pt x="2512" y="5622"/>
                      </a:lnTo>
                      <a:lnTo>
                        <a:pt x="3828" y="8433"/>
                      </a:lnTo>
                      <a:lnTo>
                        <a:pt x="5921" y="12918"/>
                      </a:lnTo>
                      <a:lnTo>
                        <a:pt x="5084" y="14713"/>
                      </a:lnTo>
                      <a:lnTo>
                        <a:pt x="3350" y="15789"/>
                      </a:lnTo>
                    </a:path>
                  </a:pathLst>
                </a:custGeom>
                <a:noFill/>
                <a:ln w="6350" cap="rnd">
                  <a:solidFill>
                    <a:schemeClr val="bg1">
                      <a:alpha val="40000"/>
                    </a:schemeClr>
                  </a:solidFill>
                  <a:prstDash val="solid"/>
                  <a:round/>
                </a:ln>
              </p:spPr>
              <p:txBody>
                <a:bodyPr rtlCol="0" anchor="ctr"/>
                <a:lstStyle/>
                <a:p>
                  <a:endParaRPr lang="en-GB"/>
                </a:p>
              </p:txBody>
            </p:sp>
            <p:sp>
              <p:nvSpPr>
                <p:cNvPr id="6851" name="Vrije vorm: vorm 6850">
                  <a:extLst>
                    <a:ext uri="{FF2B5EF4-FFF2-40B4-BE49-F238E27FC236}">
                      <a16:creationId xmlns:a16="http://schemas.microsoft.com/office/drawing/2014/main" id="{47CEA11E-1C9C-44EF-9E7E-FCB2A5FAC138}"/>
                    </a:ext>
                  </a:extLst>
                </p:cNvPr>
                <p:cNvSpPr/>
                <p:nvPr/>
              </p:nvSpPr>
              <p:spPr>
                <a:xfrm>
                  <a:off x="6917561" y="1907711"/>
                  <a:ext cx="3887" cy="7416"/>
                </a:xfrm>
                <a:custGeom>
                  <a:avLst/>
                  <a:gdLst>
                    <a:gd name="connsiteX0" fmla="*/ 0 w 3887"/>
                    <a:gd name="connsiteY0" fmla="*/ 0 h 7416"/>
                    <a:gd name="connsiteX1" fmla="*/ 60 w 3887"/>
                    <a:gd name="connsiteY1" fmla="*/ 538 h 7416"/>
                    <a:gd name="connsiteX2" fmla="*/ 60 w 3887"/>
                    <a:gd name="connsiteY2" fmla="*/ 598 h 7416"/>
                    <a:gd name="connsiteX3" fmla="*/ 60 w 3887"/>
                    <a:gd name="connsiteY3" fmla="*/ 718 h 7416"/>
                    <a:gd name="connsiteX4" fmla="*/ 120 w 3887"/>
                    <a:gd name="connsiteY4" fmla="*/ 1256 h 7416"/>
                    <a:gd name="connsiteX5" fmla="*/ 180 w 3887"/>
                    <a:gd name="connsiteY5" fmla="*/ 1376 h 7416"/>
                    <a:gd name="connsiteX6" fmla="*/ 479 w 3887"/>
                    <a:gd name="connsiteY6" fmla="*/ 1914 h 7416"/>
                    <a:gd name="connsiteX7" fmla="*/ 599 w 3887"/>
                    <a:gd name="connsiteY7" fmla="*/ 2093 h 7416"/>
                    <a:gd name="connsiteX8" fmla="*/ 659 w 3887"/>
                    <a:gd name="connsiteY8" fmla="*/ 2153 h 7416"/>
                    <a:gd name="connsiteX9" fmla="*/ 1017 w 3887"/>
                    <a:gd name="connsiteY9" fmla="*/ 2751 h 7416"/>
                    <a:gd name="connsiteX10" fmla="*/ 1197 w 3887"/>
                    <a:gd name="connsiteY10" fmla="*/ 3050 h 7416"/>
                    <a:gd name="connsiteX11" fmla="*/ 1436 w 3887"/>
                    <a:gd name="connsiteY11" fmla="*/ 3469 h 7416"/>
                    <a:gd name="connsiteX12" fmla="*/ 1854 w 3887"/>
                    <a:gd name="connsiteY12" fmla="*/ 4127 h 7416"/>
                    <a:gd name="connsiteX13" fmla="*/ 2214 w 3887"/>
                    <a:gd name="connsiteY13" fmla="*/ 4725 h 7416"/>
                    <a:gd name="connsiteX14" fmla="*/ 2752 w 3887"/>
                    <a:gd name="connsiteY14" fmla="*/ 5562 h 7416"/>
                    <a:gd name="connsiteX15" fmla="*/ 3050 w 3887"/>
                    <a:gd name="connsiteY15" fmla="*/ 6040 h 7416"/>
                    <a:gd name="connsiteX16" fmla="*/ 3409 w 3887"/>
                    <a:gd name="connsiteY16" fmla="*/ 6639 h 7416"/>
                    <a:gd name="connsiteX17" fmla="*/ 3768 w 3887"/>
                    <a:gd name="connsiteY17" fmla="*/ 7177 h 7416"/>
                    <a:gd name="connsiteX18" fmla="*/ 3888 w 3887"/>
                    <a:gd name="connsiteY18" fmla="*/ 7416 h 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87" h="7416">
                      <a:moveTo>
                        <a:pt x="0" y="0"/>
                      </a:moveTo>
                      <a:lnTo>
                        <a:pt x="60" y="538"/>
                      </a:lnTo>
                      <a:lnTo>
                        <a:pt x="60" y="598"/>
                      </a:lnTo>
                      <a:lnTo>
                        <a:pt x="60" y="718"/>
                      </a:lnTo>
                      <a:lnTo>
                        <a:pt x="120" y="1256"/>
                      </a:lnTo>
                      <a:lnTo>
                        <a:pt x="180" y="1376"/>
                      </a:lnTo>
                      <a:lnTo>
                        <a:pt x="479" y="1914"/>
                      </a:lnTo>
                      <a:lnTo>
                        <a:pt x="599" y="2093"/>
                      </a:lnTo>
                      <a:lnTo>
                        <a:pt x="659" y="2153"/>
                      </a:lnTo>
                      <a:lnTo>
                        <a:pt x="1017" y="2751"/>
                      </a:lnTo>
                      <a:lnTo>
                        <a:pt x="1197" y="3050"/>
                      </a:lnTo>
                      <a:lnTo>
                        <a:pt x="1436" y="3469"/>
                      </a:lnTo>
                      <a:lnTo>
                        <a:pt x="1854" y="4127"/>
                      </a:lnTo>
                      <a:lnTo>
                        <a:pt x="2214" y="4725"/>
                      </a:lnTo>
                      <a:lnTo>
                        <a:pt x="2752" y="5562"/>
                      </a:lnTo>
                      <a:lnTo>
                        <a:pt x="3050" y="6040"/>
                      </a:lnTo>
                      <a:lnTo>
                        <a:pt x="3409" y="6639"/>
                      </a:lnTo>
                      <a:lnTo>
                        <a:pt x="3768" y="7177"/>
                      </a:lnTo>
                      <a:lnTo>
                        <a:pt x="3888" y="7416"/>
                      </a:lnTo>
                    </a:path>
                  </a:pathLst>
                </a:custGeom>
                <a:noFill/>
                <a:ln w="6350" cap="rnd">
                  <a:solidFill>
                    <a:schemeClr val="bg1">
                      <a:alpha val="40000"/>
                    </a:schemeClr>
                  </a:solidFill>
                  <a:prstDash val="solid"/>
                  <a:round/>
                </a:ln>
              </p:spPr>
              <p:txBody>
                <a:bodyPr rtlCol="0" anchor="ctr"/>
                <a:lstStyle/>
                <a:p>
                  <a:endParaRPr lang="en-GB"/>
                </a:p>
              </p:txBody>
            </p:sp>
            <p:sp>
              <p:nvSpPr>
                <p:cNvPr id="6852" name="Vrije vorm: vorm 6851">
                  <a:extLst>
                    <a:ext uri="{FF2B5EF4-FFF2-40B4-BE49-F238E27FC236}">
                      <a16:creationId xmlns:a16="http://schemas.microsoft.com/office/drawing/2014/main" id="{646DAB76-1A37-4E0E-B7F8-67A22F9A5E90}"/>
                    </a:ext>
                  </a:extLst>
                </p:cNvPr>
                <p:cNvSpPr/>
                <p:nvPr/>
              </p:nvSpPr>
              <p:spPr>
                <a:xfrm>
                  <a:off x="6866067" y="1696831"/>
                  <a:ext cx="1854" cy="3947"/>
                </a:xfrm>
                <a:custGeom>
                  <a:avLst/>
                  <a:gdLst>
                    <a:gd name="connsiteX0" fmla="*/ 1854 w 1854"/>
                    <a:gd name="connsiteY0" fmla="*/ 0 h 3947"/>
                    <a:gd name="connsiteX1" fmla="*/ 837 w 1854"/>
                    <a:gd name="connsiteY1" fmla="*/ 2631 h 3947"/>
                    <a:gd name="connsiteX2" fmla="*/ 0 w 1854"/>
                    <a:gd name="connsiteY2" fmla="*/ 3947 h 3947"/>
                  </a:gdLst>
                  <a:ahLst/>
                  <a:cxnLst>
                    <a:cxn ang="0">
                      <a:pos x="connsiteX0" y="connsiteY0"/>
                    </a:cxn>
                    <a:cxn ang="0">
                      <a:pos x="connsiteX1" y="connsiteY1"/>
                    </a:cxn>
                    <a:cxn ang="0">
                      <a:pos x="connsiteX2" y="connsiteY2"/>
                    </a:cxn>
                  </a:cxnLst>
                  <a:rect l="l" t="t" r="r" b="b"/>
                  <a:pathLst>
                    <a:path w="1854" h="3947">
                      <a:moveTo>
                        <a:pt x="1854" y="0"/>
                      </a:moveTo>
                      <a:lnTo>
                        <a:pt x="837" y="2631"/>
                      </a:lnTo>
                      <a:lnTo>
                        <a:pt x="0" y="3947"/>
                      </a:lnTo>
                    </a:path>
                  </a:pathLst>
                </a:custGeom>
                <a:noFill/>
                <a:ln w="6350" cap="rnd">
                  <a:solidFill>
                    <a:schemeClr val="bg1">
                      <a:alpha val="40000"/>
                    </a:schemeClr>
                  </a:solidFill>
                  <a:prstDash val="solid"/>
                  <a:round/>
                </a:ln>
              </p:spPr>
              <p:txBody>
                <a:bodyPr rtlCol="0" anchor="ctr"/>
                <a:lstStyle/>
                <a:p>
                  <a:endParaRPr lang="en-GB"/>
                </a:p>
              </p:txBody>
            </p:sp>
            <p:sp>
              <p:nvSpPr>
                <p:cNvPr id="6853" name="Vrije vorm: vorm 6852">
                  <a:extLst>
                    <a:ext uri="{FF2B5EF4-FFF2-40B4-BE49-F238E27FC236}">
                      <a16:creationId xmlns:a16="http://schemas.microsoft.com/office/drawing/2014/main" id="{F7940EB1-B808-4A06-85F2-016BB10BB35C}"/>
                    </a:ext>
                  </a:extLst>
                </p:cNvPr>
                <p:cNvSpPr/>
                <p:nvPr/>
              </p:nvSpPr>
              <p:spPr>
                <a:xfrm>
                  <a:off x="6766130" y="1859088"/>
                  <a:ext cx="4724" cy="10227"/>
                </a:xfrm>
                <a:custGeom>
                  <a:avLst/>
                  <a:gdLst>
                    <a:gd name="connsiteX0" fmla="*/ 598 w 4724"/>
                    <a:gd name="connsiteY0" fmla="*/ 10227 h 10227"/>
                    <a:gd name="connsiteX1" fmla="*/ 0 w 4724"/>
                    <a:gd name="connsiteY1" fmla="*/ 9749 h 10227"/>
                    <a:gd name="connsiteX2" fmla="*/ 180 w 4724"/>
                    <a:gd name="connsiteY2" fmla="*/ 9390 h 10227"/>
                    <a:gd name="connsiteX3" fmla="*/ 897 w 4724"/>
                    <a:gd name="connsiteY3" fmla="*/ 7895 h 10227"/>
                    <a:gd name="connsiteX4" fmla="*/ 1256 w 4724"/>
                    <a:gd name="connsiteY4" fmla="*/ 7177 h 10227"/>
                    <a:gd name="connsiteX5" fmla="*/ 1854 w 4724"/>
                    <a:gd name="connsiteY5" fmla="*/ 5981 h 10227"/>
                    <a:gd name="connsiteX6" fmla="*/ 4725 w 4724"/>
                    <a:gd name="connsiteY6" fmla="*/ 0 h 1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 h="10227">
                      <a:moveTo>
                        <a:pt x="598" y="10227"/>
                      </a:moveTo>
                      <a:lnTo>
                        <a:pt x="0" y="9749"/>
                      </a:lnTo>
                      <a:lnTo>
                        <a:pt x="180" y="9390"/>
                      </a:lnTo>
                      <a:lnTo>
                        <a:pt x="897" y="7895"/>
                      </a:lnTo>
                      <a:lnTo>
                        <a:pt x="1256" y="7177"/>
                      </a:lnTo>
                      <a:lnTo>
                        <a:pt x="1854" y="5981"/>
                      </a:lnTo>
                      <a:lnTo>
                        <a:pt x="4725" y="0"/>
                      </a:lnTo>
                    </a:path>
                  </a:pathLst>
                </a:custGeom>
                <a:noFill/>
                <a:ln w="6350" cap="rnd">
                  <a:solidFill>
                    <a:schemeClr val="bg1">
                      <a:alpha val="40000"/>
                    </a:schemeClr>
                  </a:solidFill>
                  <a:prstDash val="solid"/>
                  <a:round/>
                </a:ln>
              </p:spPr>
              <p:txBody>
                <a:bodyPr rtlCol="0" anchor="ctr"/>
                <a:lstStyle/>
                <a:p>
                  <a:endParaRPr lang="en-GB"/>
                </a:p>
              </p:txBody>
            </p:sp>
            <p:sp>
              <p:nvSpPr>
                <p:cNvPr id="6854" name="Vrije vorm: vorm 6853">
                  <a:extLst>
                    <a:ext uri="{FF2B5EF4-FFF2-40B4-BE49-F238E27FC236}">
                      <a16:creationId xmlns:a16="http://schemas.microsoft.com/office/drawing/2014/main" id="{016E5F1C-3ECF-4633-8E4C-B20D827CB903}"/>
                    </a:ext>
                  </a:extLst>
                </p:cNvPr>
                <p:cNvSpPr/>
                <p:nvPr/>
              </p:nvSpPr>
              <p:spPr>
                <a:xfrm>
                  <a:off x="6946329" y="1721352"/>
                  <a:ext cx="9030" cy="9329"/>
                </a:xfrm>
                <a:custGeom>
                  <a:avLst/>
                  <a:gdLst>
                    <a:gd name="connsiteX0" fmla="*/ 3409 w 9030"/>
                    <a:gd name="connsiteY0" fmla="*/ 9330 h 9329"/>
                    <a:gd name="connsiteX1" fmla="*/ 1017 w 9030"/>
                    <a:gd name="connsiteY1" fmla="*/ 8014 h 9329"/>
                    <a:gd name="connsiteX2" fmla="*/ 658 w 9030"/>
                    <a:gd name="connsiteY2" fmla="*/ 7177 h 9329"/>
                    <a:gd name="connsiteX3" fmla="*/ 598 w 9030"/>
                    <a:gd name="connsiteY3" fmla="*/ 6938 h 9329"/>
                    <a:gd name="connsiteX4" fmla="*/ 239 w 9030"/>
                    <a:gd name="connsiteY4" fmla="*/ 6040 h 9329"/>
                    <a:gd name="connsiteX5" fmla="*/ 120 w 9030"/>
                    <a:gd name="connsiteY5" fmla="*/ 5742 h 9329"/>
                    <a:gd name="connsiteX6" fmla="*/ 0 w 9030"/>
                    <a:gd name="connsiteY6" fmla="*/ 5442 h 9329"/>
                    <a:gd name="connsiteX7" fmla="*/ 60 w 9030"/>
                    <a:gd name="connsiteY7" fmla="*/ 5143 h 9329"/>
                    <a:gd name="connsiteX8" fmla="*/ 60 w 9030"/>
                    <a:gd name="connsiteY8" fmla="*/ 5143 h 9329"/>
                    <a:gd name="connsiteX9" fmla="*/ 120 w 9030"/>
                    <a:gd name="connsiteY9" fmla="*/ 4904 h 9329"/>
                    <a:gd name="connsiteX10" fmla="*/ 120 w 9030"/>
                    <a:gd name="connsiteY10" fmla="*/ 4785 h 9329"/>
                    <a:gd name="connsiteX11" fmla="*/ 180 w 9030"/>
                    <a:gd name="connsiteY11" fmla="*/ 4486 h 9329"/>
                    <a:gd name="connsiteX12" fmla="*/ 299 w 9030"/>
                    <a:gd name="connsiteY12" fmla="*/ 3947 h 9329"/>
                    <a:gd name="connsiteX13" fmla="*/ 299 w 9030"/>
                    <a:gd name="connsiteY13" fmla="*/ 3828 h 9329"/>
                    <a:gd name="connsiteX14" fmla="*/ 478 w 9030"/>
                    <a:gd name="connsiteY14" fmla="*/ 2990 h 9329"/>
                    <a:gd name="connsiteX15" fmla="*/ 478 w 9030"/>
                    <a:gd name="connsiteY15" fmla="*/ 2990 h 9329"/>
                    <a:gd name="connsiteX16" fmla="*/ 538 w 9030"/>
                    <a:gd name="connsiteY16" fmla="*/ 2632 h 9329"/>
                    <a:gd name="connsiteX17" fmla="*/ 538 w 9030"/>
                    <a:gd name="connsiteY17" fmla="*/ 2572 h 9329"/>
                    <a:gd name="connsiteX18" fmla="*/ 1256 w 9030"/>
                    <a:gd name="connsiteY18" fmla="*/ 1914 h 9329"/>
                    <a:gd name="connsiteX19" fmla="*/ 1316 w 9030"/>
                    <a:gd name="connsiteY19" fmla="*/ 1854 h 9329"/>
                    <a:gd name="connsiteX20" fmla="*/ 1555 w 9030"/>
                    <a:gd name="connsiteY20" fmla="*/ 1615 h 9329"/>
                    <a:gd name="connsiteX21" fmla="*/ 1615 w 9030"/>
                    <a:gd name="connsiteY21" fmla="*/ 1555 h 9329"/>
                    <a:gd name="connsiteX22" fmla="*/ 1675 w 9030"/>
                    <a:gd name="connsiteY22" fmla="*/ 1495 h 9329"/>
                    <a:gd name="connsiteX23" fmla="*/ 2751 w 9030"/>
                    <a:gd name="connsiteY23" fmla="*/ 478 h 9329"/>
                    <a:gd name="connsiteX24" fmla="*/ 5562 w 9030"/>
                    <a:gd name="connsiteY24" fmla="*/ 0 h 9329"/>
                    <a:gd name="connsiteX25" fmla="*/ 7954 w 9030"/>
                    <a:gd name="connsiteY25" fmla="*/ 1316 h 9329"/>
                    <a:gd name="connsiteX26" fmla="*/ 9031 w 9030"/>
                    <a:gd name="connsiteY26" fmla="*/ 3888 h 9329"/>
                    <a:gd name="connsiteX27" fmla="*/ 9031 w 9030"/>
                    <a:gd name="connsiteY27" fmla="*/ 3888 h 9329"/>
                    <a:gd name="connsiteX28" fmla="*/ 8791 w 9030"/>
                    <a:gd name="connsiteY28" fmla="*/ 5024 h 9329"/>
                    <a:gd name="connsiteX29" fmla="*/ 8732 w 9030"/>
                    <a:gd name="connsiteY29" fmla="*/ 5383 h 9329"/>
                    <a:gd name="connsiteX30" fmla="*/ 8612 w 9030"/>
                    <a:gd name="connsiteY30" fmla="*/ 5921 h 9329"/>
                    <a:gd name="connsiteX31" fmla="*/ 8612 w 9030"/>
                    <a:gd name="connsiteY31" fmla="*/ 6040 h 9329"/>
                    <a:gd name="connsiteX32" fmla="*/ 8553 w 9030"/>
                    <a:gd name="connsiteY32" fmla="*/ 6399 h 9329"/>
                    <a:gd name="connsiteX33" fmla="*/ 8553 w 9030"/>
                    <a:gd name="connsiteY33" fmla="*/ 6399 h 9329"/>
                    <a:gd name="connsiteX34" fmla="*/ 8433 w 9030"/>
                    <a:gd name="connsiteY34" fmla="*/ 6818 h 9329"/>
                    <a:gd name="connsiteX35" fmla="*/ 7416 w 9030"/>
                    <a:gd name="connsiteY35" fmla="*/ 7835 h 9329"/>
                    <a:gd name="connsiteX36" fmla="*/ 7356 w 9030"/>
                    <a:gd name="connsiteY36" fmla="*/ 7895 h 9329"/>
                    <a:gd name="connsiteX37" fmla="*/ 7236 w 9030"/>
                    <a:gd name="connsiteY37" fmla="*/ 8014 h 9329"/>
                    <a:gd name="connsiteX38" fmla="*/ 6818 w 9030"/>
                    <a:gd name="connsiteY38" fmla="*/ 8433 h 9329"/>
                    <a:gd name="connsiteX39" fmla="*/ 6758 w 9030"/>
                    <a:gd name="connsiteY39" fmla="*/ 8493 h 9329"/>
                    <a:gd name="connsiteX40" fmla="*/ 6698 w 9030"/>
                    <a:gd name="connsiteY40" fmla="*/ 8493 h 9329"/>
                    <a:gd name="connsiteX41" fmla="*/ 6698 w 9030"/>
                    <a:gd name="connsiteY41" fmla="*/ 8493 h 9329"/>
                    <a:gd name="connsiteX42" fmla="*/ 6579 w 9030"/>
                    <a:gd name="connsiteY42" fmla="*/ 8612 h 9329"/>
                    <a:gd name="connsiteX43" fmla="*/ 6280 w 9030"/>
                    <a:gd name="connsiteY43" fmla="*/ 8911 h 9329"/>
                    <a:gd name="connsiteX44" fmla="*/ 6100 w 9030"/>
                    <a:gd name="connsiteY44" fmla="*/ 8911 h 9329"/>
                    <a:gd name="connsiteX45" fmla="*/ 5503 w 9030"/>
                    <a:gd name="connsiteY45" fmla="*/ 9031 h 9329"/>
                    <a:gd name="connsiteX46" fmla="*/ 5323 w 9030"/>
                    <a:gd name="connsiteY46" fmla="*/ 9031 h 9329"/>
                    <a:gd name="connsiteX47" fmla="*/ 4665 w 9030"/>
                    <a:gd name="connsiteY47" fmla="*/ 9150 h 9329"/>
                    <a:gd name="connsiteX48" fmla="*/ 4366 w 9030"/>
                    <a:gd name="connsiteY48" fmla="*/ 9210 h 9329"/>
                    <a:gd name="connsiteX49" fmla="*/ 3409 w 9030"/>
                    <a:gd name="connsiteY49" fmla="*/ 9330 h 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030" h="9329">
                      <a:moveTo>
                        <a:pt x="3409" y="9330"/>
                      </a:moveTo>
                      <a:lnTo>
                        <a:pt x="1017" y="8014"/>
                      </a:lnTo>
                      <a:lnTo>
                        <a:pt x="658" y="7177"/>
                      </a:lnTo>
                      <a:lnTo>
                        <a:pt x="598" y="6938"/>
                      </a:lnTo>
                      <a:lnTo>
                        <a:pt x="239" y="6040"/>
                      </a:lnTo>
                      <a:lnTo>
                        <a:pt x="120" y="5742"/>
                      </a:lnTo>
                      <a:lnTo>
                        <a:pt x="0" y="5442"/>
                      </a:lnTo>
                      <a:lnTo>
                        <a:pt x="60" y="5143"/>
                      </a:lnTo>
                      <a:lnTo>
                        <a:pt x="60" y="5143"/>
                      </a:lnTo>
                      <a:lnTo>
                        <a:pt x="120" y="4904"/>
                      </a:lnTo>
                      <a:lnTo>
                        <a:pt x="120" y="4785"/>
                      </a:lnTo>
                      <a:lnTo>
                        <a:pt x="180" y="4486"/>
                      </a:lnTo>
                      <a:lnTo>
                        <a:pt x="299" y="3947"/>
                      </a:lnTo>
                      <a:lnTo>
                        <a:pt x="299" y="3828"/>
                      </a:lnTo>
                      <a:lnTo>
                        <a:pt x="478" y="2990"/>
                      </a:lnTo>
                      <a:lnTo>
                        <a:pt x="478" y="2990"/>
                      </a:lnTo>
                      <a:lnTo>
                        <a:pt x="538" y="2632"/>
                      </a:lnTo>
                      <a:lnTo>
                        <a:pt x="538" y="2572"/>
                      </a:lnTo>
                      <a:lnTo>
                        <a:pt x="1256" y="1914"/>
                      </a:lnTo>
                      <a:lnTo>
                        <a:pt x="1316" y="1854"/>
                      </a:lnTo>
                      <a:lnTo>
                        <a:pt x="1555" y="1615"/>
                      </a:lnTo>
                      <a:lnTo>
                        <a:pt x="1615" y="1555"/>
                      </a:lnTo>
                      <a:lnTo>
                        <a:pt x="1675" y="1495"/>
                      </a:lnTo>
                      <a:lnTo>
                        <a:pt x="2751" y="478"/>
                      </a:lnTo>
                      <a:lnTo>
                        <a:pt x="5562" y="0"/>
                      </a:lnTo>
                      <a:lnTo>
                        <a:pt x="7954" y="1316"/>
                      </a:lnTo>
                      <a:lnTo>
                        <a:pt x="9031" y="3888"/>
                      </a:lnTo>
                      <a:lnTo>
                        <a:pt x="9031" y="3888"/>
                      </a:lnTo>
                      <a:lnTo>
                        <a:pt x="8791" y="5024"/>
                      </a:lnTo>
                      <a:lnTo>
                        <a:pt x="8732" y="5383"/>
                      </a:lnTo>
                      <a:lnTo>
                        <a:pt x="8612" y="5921"/>
                      </a:lnTo>
                      <a:lnTo>
                        <a:pt x="8612" y="6040"/>
                      </a:lnTo>
                      <a:lnTo>
                        <a:pt x="8553" y="6399"/>
                      </a:lnTo>
                      <a:lnTo>
                        <a:pt x="8553" y="6399"/>
                      </a:lnTo>
                      <a:lnTo>
                        <a:pt x="8433" y="6818"/>
                      </a:lnTo>
                      <a:lnTo>
                        <a:pt x="7416" y="7835"/>
                      </a:lnTo>
                      <a:lnTo>
                        <a:pt x="7356" y="7895"/>
                      </a:lnTo>
                      <a:lnTo>
                        <a:pt x="7236" y="8014"/>
                      </a:lnTo>
                      <a:lnTo>
                        <a:pt x="6818" y="8433"/>
                      </a:lnTo>
                      <a:lnTo>
                        <a:pt x="6758" y="8493"/>
                      </a:lnTo>
                      <a:lnTo>
                        <a:pt x="6698" y="8493"/>
                      </a:lnTo>
                      <a:lnTo>
                        <a:pt x="6698" y="8493"/>
                      </a:lnTo>
                      <a:lnTo>
                        <a:pt x="6579" y="8612"/>
                      </a:lnTo>
                      <a:lnTo>
                        <a:pt x="6280" y="8911"/>
                      </a:lnTo>
                      <a:lnTo>
                        <a:pt x="6100" y="8911"/>
                      </a:lnTo>
                      <a:lnTo>
                        <a:pt x="5503" y="9031"/>
                      </a:lnTo>
                      <a:lnTo>
                        <a:pt x="5323" y="9031"/>
                      </a:lnTo>
                      <a:lnTo>
                        <a:pt x="4665" y="9150"/>
                      </a:lnTo>
                      <a:lnTo>
                        <a:pt x="4366" y="9210"/>
                      </a:lnTo>
                      <a:lnTo>
                        <a:pt x="3409" y="9330"/>
                      </a:lnTo>
                    </a:path>
                  </a:pathLst>
                </a:custGeom>
                <a:noFill/>
                <a:ln w="6350" cap="rnd">
                  <a:solidFill>
                    <a:schemeClr val="bg1">
                      <a:alpha val="40000"/>
                    </a:schemeClr>
                  </a:solidFill>
                  <a:prstDash val="solid"/>
                  <a:round/>
                </a:ln>
              </p:spPr>
              <p:txBody>
                <a:bodyPr rtlCol="0" anchor="ctr"/>
                <a:lstStyle/>
                <a:p>
                  <a:endParaRPr lang="en-GB"/>
                </a:p>
              </p:txBody>
            </p:sp>
            <p:sp>
              <p:nvSpPr>
                <p:cNvPr id="6855" name="Vrije vorm: vorm 6854">
                  <a:extLst>
                    <a:ext uri="{FF2B5EF4-FFF2-40B4-BE49-F238E27FC236}">
                      <a16:creationId xmlns:a16="http://schemas.microsoft.com/office/drawing/2014/main" id="{D818FBBC-6445-4BD0-B727-37B02E32FA7D}"/>
                    </a:ext>
                  </a:extLst>
                </p:cNvPr>
                <p:cNvSpPr/>
                <p:nvPr/>
              </p:nvSpPr>
              <p:spPr>
                <a:xfrm>
                  <a:off x="6784012" y="1840906"/>
                  <a:ext cx="957" cy="3050"/>
                </a:xfrm>
                <a:custGeom>
                  <a:avLst/>
                  <a:gdLst>
                    <a:gd name="connsiteX0" fmla="*/ 957 w 957"/>
                    <a:gd name="connsiteY0" fmla="*/ 0 h 3050"/>
                    <a:gd name="connsiteX1" fmla="*/ 0 w 957"/>
                    <a:gd name="connsiteY1" fmla="*/ 3050 h 3050"/>
                  </a:gdLst>
                  <a:ahLst/>
                  <a:cxnLst>
                    <a:cxn ang="0">
                      <a:pos x="connsiteX0" y="connsiteY0"/>
                    </a:cxn>
                    <a:cxn ang="0">
                      <a:pos x="connsiteX1" y="connsiteY1"/>
                    </a:cxn>
                  </a:cxnLst>
                  <a:rect l="l" t="t" r="r" b="b"/>
                  <a:pathLst>
                    <a:path w="957" h="3050">
                      <a:moveTo>
                        <a:pt x="957" y="0"/>
                      </a:moveTo>
                      <a:lnTo>
                        <a:pt x="0" y="3050"/>
                      </a:lnTo>
                    </a:path>
                  </a:pathLst>
                </a:custGeom>
                <a:noFill/>
                <a:ln w="6350" cap="rnd">
                  <a:solidFill>
                    <a:schemeClr val="bg1">
                      <a:alpha val="40000"/>
                    </a:schemeClr>
                  </a:solidFill>
                  <a:prstDash val="solid"/>
                  <a:round/>
                </a:ln>
              </p:spPr>
              <p:txBody>
                <a:bodyPr rtlCol="0" anchor="ctr"/>
                <a:lstStyle/>
                <a:p>
                  <a:endParaRPr lang="en-GB"/>
                </a:p>
              </p:txBody>
            </p:sp>
            <p:sp>
              <p:nvSpPr>
                <p:cNvPr id="6856" name="Vrije vorm: vorm 6855">
                  <a:extLst>
                    <a:ext uri="{FF2B5EF4-FFF2-40B4-BE49-F238E27FC236}">
                      <a16:creationId xmlns:a16="http://schemas.microsoft.com/office/drawing/2014/main" id="{D0C99734-0A33-4EED-92D0-4ED8EC296A35}"/>
                    </a:ext>
                  </a:extLst>
                </p:cNvPr>
                <p:cNvSpPr/>
                <p:nvPr/>
              </p:nvSpPr>
              <p:spPr>
                <a:xfrm>
                  <a:off x="6759611" y="1961777"/>
                  <a:ext cx="2332" cy="2990"/>
                </a:xfrm>
                <a:custGeom>
                  <a:avLst/>
                  <a:gdLst>
                    <a:gd name="connsiteX0" fmla="*/ 0 w 2332"/>
                    <a:gd name="connsiteY0" fmla="*/ 2990 h 2990"/>
                    <a:gd name="connsiteX1" fmla="*/ 658 w 2332"/>
                    <a:gd name="connsiteY1" fmla="*/ 1376 h 2990"/>
                    <a:gd name="connsiteX2" fmla="*/ 718 w 2332"/>
                    <a:gd name="connsiteY2" fmla="*/ 1316 h 2990"/>
                    <a:gd name="connsiteX3" fmla="*/ 837 w 2332"/>
                    <a:gd name="connsiteY3" fmla="*/ 1196 h 2990"/>
                    <a:gd name="connsiteX4" fmla="*/ 1674 w 2332"/>
                    <a:gd name="connsiteY4" fmla="*/ 538 h 2990"/>
                    <a:gd name="connsiteX5" fmla="*/ 1734 w 2332"/>
                    <a:gd name="connsiteY5" fmla="*/ 478 h 2990"/>
                    <a:gd name="connsiteX6" fmla="*/ 2332 w 2332"/>
                    <a:gd name="connsiteY6" fmla="*/ 0 h 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2" h="2990">
                      <a:moveTo>
                        <a:pt x="0" y="2990"/>
                      </a:moveTo>
                      <a:lnTo>
                        <a:pt x="658" y="1376"/>
                      </a:lnTo>
                      <a:lnTo>
                        <a:pt x="718" y="1316"/>
                      </a:lnTo>
                      <a:lnTo>
                        <a:pt x="837" y="1196"/>
                      </a:lnTo>
                      <a:lnTo>
                        <a:pt x="1674" y="538"/>
                      </a:lnTo>
                      <a:lnTo>
                        <a:pt x="1734" y="478"/>
                      </a:lnTo>
                      <a:lnTo>
                        <a:pt x="2332" y="0"/>
                      </a:lnTo>
                    </a:path>
                  </a:pathLst>
                </a:custGeom>
                <a:noFill/>
                <a:ln w="6350" cap="rnd">
                  <a:solidFill>
                    <a:schemeClr val="bg1">
                      <a:alpha val="40000"/>
                    </a:schemeClr>
                  </a:solidFill>
                  <a:prstDash val="solid"/>
                  <a:round/>
                </a:ln>
              </p:spPr>
              <p:txBody>
                <a:bodyPr rtlCol="0" anchor="ctr"/>
                <a:lstStyle/>
                <a:p>
                  <a:endParaRPr lang="en-GB"/>
                </a:p>
              </p:txBody>
            </p:sp>
            <p:sp>
              <p:nvSpPr>
                <p:cNvPr id="6857" name="Vrije vorm: vorm 6856">
                  <a:extLst>
                    <a:ext uri="{FF2B5EF4-FFF2-40B4-BE49-F238E27FC236}">
                      <a16:creationId xmlns:a16="http://schemas.microsoft.com/office/drawing/2014/main" id="{7EBA5ABE-B408-47D5-8FBE-0BBA736A6C64}"/>
                    </a:ext>
                  </a:extLst>
                </p:cNvPr>
                <p:cNvSpPr/>
                <p:nvPr/>
              </p:nvSpPr>
              <p:spPr>
                <a:xfrm>
                  <a:off x="6738798" y="1943176"/>
                  <a:ext cx="8193" cy="5442"/>
                </a:xfrm>
                <a:custGeom>
                  <a:avLst/>
                  <a:gdLst>
                    <a:gd name="connsiteX0" fmla="*/ 8194 w 8193"/>
                    <a:gd name="connsiteY0" fmla="*/ 5442 h 5442"/>
                    <a:gd name="connsiteX1" fmla="*/ 837 w 8193"/>
                    <a:gd name="connsiteY1" fmla="*/ 538 h 5442"/>
                    <a:gd name="connsiteX2" fmla="*/ 0 w 8193"/>
                    <a:gd name="connsiteY2" fmla="*/ 0 h 5442"/>
                  </a:gdLst>
                  <a:ahLst/>
                  <a:cxnLst>
                    <a:cxn ang="0">
                      <a:pos x="connsiteX0" y="connsiteY0"/>
                    </a:cxn>
                    <a:cxn ang="0">
                      <a:pos x="connsiteX1" y="connsiteY1"/>
                    </a:cxn>
                    <a:cxn ang="0">
                      <a:pos x="connsiteX2" y="connsiteY2"/>
                    </a:cxn>
                  </a:cxnLst>
                  <a:rect l="l" t="t" r="r" b="b"/>
                  <a:pathLst>
                    <a:path w="8193" h="5442">
                      <a:moveTo>
                        <a:pt x="8194" y="5442"/>
                      </a:moveTo>
                      <a:lnTo>
                        <a:pt x="837" y="53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58" name="Vrije vorm: vorm 6857">
                  <a:extLst>
                    <a:ext uri="{FF2B5EF4-FFF2-40B4-BE49-F238E27FC236}">
                      <a16:creationId xmlns:a16="http://schemas.microsoft.com/office/drawing/2014/main" id="{C7444DBB-E183-4BE0-B615-2F7F9F288887}"/>
                    </a:ext>
                  </a:extLst>
                </p:cNvPr>
                <p:cNvSpPr/>
                <p:nvPr/>
              </p:nvSpPr>
              <p:spPr>
                <a:xfrm>
                  <a:off x="6764993" y="1993355"/>
                  <a:ext cx="3169" cy="4784"/>
                </a:xfrm>
                <a:custGeom>
                  <a:avLst/>
                  <a:gdLst>
                    <a:gd name="connsiteX0" fmla="*/ 1734 w 3169"/>
                    <a:gd name="connsiteY0" fmla="*/ 0 h 4784"/>
                    <a:gd name="connsiteX1" fmla="*/ 3170 w 3169"/>
                    <a:gd name="connsiteY1" fmla="*/ 598 h 4784"/>
                    <a:gd name="connsiteX2" fmla="*/ 2871 w 3169"/>
                    <a:gd name="connsiteY2" fmla="*/ 1316 h 4784"/>
                    <a:gd name="connsiteX3" fmla="*/ 2691 w 3169"/>
                    <a:gd name="connsiteY3" fmla="*/ 1794 h 4784"/>
                    <a:gd name="connsiteX4" fmla="*/ 2512 w 3169"/>
                    <a:gd name="connsiteY4" fmla="*/ 2273 h 4784"/>
                    <a:gd name="connsiteX5" fmla="*/ 1794 w 3169"/>
                    <a:gd name="connsiteY5" fmla="*/ 3888 h 4784"/>
                    <a:gd name="connsiteX6" fmla="*/ 1375 w 3169"/>
                    <a:gd name="connsiteY6" fmla="*/ 4785 h 4784"/>
                    <a:gd name="connsiteX7" fmla="*/ 0 w 3169"/>
                    <a:gd name="connsiteY7" fmla="*/ 4187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9" h="4784">
                      <a:moveTo>
                        <a:pt x="1734" y="0"/>
                      </a:moveTo>
                      <a:lnTo>
                        <a:pt x="3170" y="598"/>
                      </a:lnTo>
                      <a:lnTo>
                        <a:pt x="2871" y="1316"/>
                      </a:lnTo>
                      <a:lnTo>
                        <a:pt x="2691" y="1794"/>
                      </a:lnTo>
                      <a:lnTo>
                        <a:pt x="2512" y="2273"/>
                      </a:lnTo>
                      <a:lnTo>
                        <a:pt x="1794" y="3888"/>
                      </a:lnTo>
                      <a:lnTo>
                        <a:pt x="1375" y="4785"/>
                      </a:lnTo>
                      <a:lnTo>
                        <a:pt x="0" y="4187"/>
                      </a:lnTo>
                    </a:path>
                  </a:pathLst>
                </a:custGeom>
                <a:noFill/>
                <a:ln w="6350" cap="rnd">
                  <a:solidFill>
                    <a:schemeClr val="bg1">
                      <a:alpha val="40000"/>
                    </a:schemeClr>
                  </a:solidFill>
                  <a:prstDash val="solid"/>
                  <a:round/>
                </a:ln>
              </p:spPr>
              <p:txBody>
                <a:bodyPr rtlCol="0" anchor="ctr"/>
                <a:lstStyle/>
                <a:p>
                  <a:endParaRPr lang="en-GB"/>
                </a:p>
              </p:txBody>
            </p:sp>
            <p:sp>
              <p:nvSpPr>
                <p:cNvPr id="6859" name="Vrije vorm: vorm 6858">
                  <a:extLst>
                    <a:ext uri="{FF2B5EF4-FFF2-40B4-BE49-F238E27FC236}">
                      <a16:creationId xmlns:a16="http://schemas.microsoft.com/office/drawing/2014/main" id="{08F38419-92DD-4204-A58B-352EDE4DD856}"/>
                    </a:ext>
                  </a:extLst>
                </p:cNvPr>
                <p:cNvSpPr/>
                <p:nvPr/>
              </p:nvSpPr>
              <p:spPr>
                <a:xfrm>
                  <a:off x="6734671" y="1928344"/>
                  <a:ext cx="6579" cy="17942"/>
                </a:xfrm>
                <a:custGeom>
                  <a:avLst/>
                  <a:gdLst>
                    <a:gd name="connsiteX0" fmla="*/ 0 w 6579"/>
                    <a:gd name="connsiteY0" fmla="*/ 0 h 17942"/>
                    <a:gd name="connsiteX1" fmla="*/ 837 w 6579"/>
                    <a:gd name="connsiteY1" fmla="*/ 538 h 17942"/>
                    <a:gd name="connsiteX2" fmla="*/ 2632 w 6579"/>
                    <a:gd name="connsiteY2" fmla="*/ 1734 h 17942"/>
                    <a:gd name="connsiteX3" fmla="*/ 4127 w 6579"/>
                    <a:gd name="connsiteY3" fmla="*/ 2691 h 17942"/>
                    <a:gd name="connsiteX4" fmla="*/ 6579 w 6579"/>
                    <a:gd name="connsiteY4" fmla="*/ 4306 h 17942"/>
                    <a:gd name="connsiteX5" fmla="*/ 6579 w 6579"/>
                    <a:gd name="connsiteY5" fmla="*/ 4605 h 17942"/>
                    <a:gd name="connsiteX6" fmla="*/ 6579 w 6579"/>
                    <a:gd name="connsiteY6" fmla="*/ 4665 h 17942"/>
                    <a:gd name="connsiteX7" fmla="*/ 6579 w 6579"/>
                    <a:gd name="connsiteY7" fmla="*/ 4725 h 17942"/>
                    <a:gd name="connsiteX8" fmla="*/ 6579 w 6579"/>
                    <a:gd name="connsiteY8" fmla="*/ 5143 h 17942"/>
                    <a:gd name="connsiteX9" fmla="*/ 6579 w 6579"/>
                    <a:gd name="connsiteY9" fmla="*/ 5143 h 17942"/>
                    <a:gd name="connsiteX10" fmla="*/ 6519 w 6579"/>
                    <a:gd name="connsiteY10" fmla="*/ 6280 h 17942"/>
                    <a:gd name="connsiteX11" fmla="*/ 6519 w 6579"/>
                    <a:gd name="connsiteY11" fmla="*/ 6459 h 17942"/>
                    <a:gd name="connsiteX12" fmla="*/ 6459 w 6579"/>
                    <a:gd name="connsiteY12" fmla="*/ 7596 h 17942"/>
                    <a:gd name="connsiteX13" fmla="*/ 6459 w 6579"/>
                    <a:gd name="connsiteY13" fmla="*/ 7895 h 17942"/>
                    <a:gd name="connsiteX14" fmla="*/ 6459 w 6579"/>
                    <a:gd name="connsiteY14" fmla="*/ 8194 h 17942"/>
                    <a:gd name="connsiteX15" fmla="*/ 6459 w 6579"/>
                    <a:gd name="connsiteY15" fmla="*/ 8971 h 17942"/>
                    <a:gd name="connsiteX16" fmla="*/ 6399 w 6579"/>
                    <a:gd name="connsiteY16" fmla="*/ 11304 h 17942"/>
                    <a:gd name="connsiteX17" fmla="*/ 4187 w 6579"/>
                    <a:gd name="connsiteY17" fmla="*/ 14713 h 17942"/>
                    <a:gd name="connsiteX18" fmla="*/ 3050 w 6579"/>
                    <a:gd name="connsiteY18" fmla="*/ 16447 h 17942"/>
                    <a:gd name="connsiteX19" fmla="*/ 1017 w 6579"/>
                    <a:gd name="connsiteY19" fmla="*/ 17942 h 1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79" h="17942">
                      <a:moveTo>
                        <a:pt x="0" y="0"/>
                      </a:moveTo>
                      <a:lnTo>
                        <a:pt x="837" y="538"/>
                      </a:lnTo>
                      <a:lnTo>
                        <a:pt x="2632" y="1734"/>
                      </a:lnTo>
                      <a:lnTo>
                        <a:pt x="4127" y="2691"/>
                      </a:lnTo>
                      <a:lnTo>
                        <a:pt x="6579" y="4306"/>
                      </a:lnTo>
                      <a:lnTo>
                        <a:pt x="6579" y="4605"/>
                      </a:lnTo>
                      <a:lnTo>
                        <a:pt x="6579" y="4665"/>
                      </a:lnTo>
                      <a:lnTo>
                        <a:pt x="6579" y="4725"/>
                      </a:lnTo>
                      <a:lnTo>
                        <a:pt x="6579" y="5143"/>
                      </a:lnTo>
                      <a:lnTo>
                        <a:pt x="6579" y="5143"/>
                      </a:lnTo>
                      <a:lnTo>
                        <a:pt x="6519" y="6280"/>
                      </a:lnTo>
                      <a:lnTo>
                        <a:pt x="6519" y="6459"/>
                      </a:lnTo>
                      <a:lnTo>
                        <a:pt x="6459" y="7596"/>
                      </a:lnTo>
                      <a:lnTo>
                        <a:pt x="6459" y="7895"/>
                      </a:lnTo>
                      <a:lnTo>
                        <a:pt x="6459" y="8194"/>
                      </a:lnTo>
                      <a:lnTo>
                        <a:pt x="6459" y="8971"/>
                      </a:lnTo>
                      <a:lnTo>
                        <a:pt x="6399" y="11304"/>
                      </a:lnTo>
                      <a:lnTo>
                        <a:pt x="4187" y="14713"/>
                      </a:lnTo>
                      <a:lnTo>
                        <a:pt x="3050" y="16447"/>
                      </a:lnTo>
                      <a:lnTo>
                        <a:pt x="1017" y="17942"/>
                      </a:lnTo>
                    </a:path>
                  </a:pathLst>
                </a:custGeom>
                <a:noFill/>
                <a:ln w="6350" cap="rnd">
                  <a:solidFill>
                    <a:schemeClr val="bg1">
                      <a:alpha val="40000"/>
                    </a:schemeClr>
                  </a:solidFill>
                  <a:prstDash val="solid"/>
                  <a:round/>
                </a:ln>
              </p:spPr>
              <p:txBody>
                <a:bodyPr rtlCol="0" anchor="ctr"/>
                <a:lstStyle/>
                <a:p>
                  <a:endParaRPr lang="en-GB"/>
                </a:p>
              </p:txBody>
            </p:sp>
            <p:sp>
              <p:nvSpPr>
                <p:cNvPr id="6860" name="Vrije vorm: vorm 6859">
                  <a:extLst>
                    <a:ext uri="{FF2B5EF4-FFF2-40B4-BE49-F238E27FC236}">
                      <a16:creationId xmlns:a16="http://schemas.microsoft.com/office/drawing/2014/main" id="{927F440C-EA1A-4E13-8B61-1C497548BBF2}"/>
                    </a:ext>
                  </a:extLst>
                </p:cNvPr>
                <p:cNvSpPr/>
                <p:nvPr/>
              </p:nvSpPr>
              <p:spPr>
                <a:xfrm>
                  <a:off x="6966126" y="1839590"/>
                  <a:ext cx="3946" cy="3349"/>
                </a:xfrm>
                <a:custGeom>
                  <a:avLst/>
                  <a:gdLst>
                    <a:gd name="connsiteX0" fmla="*/ 3947 w 3946"/>
                    <a:gd name="connsiteY0" fmla="*/ 3230 h 3349"/>
                    <a:gd name="connsiteX1" fmla="*/ 3887 w 3946"/>
                    <a:gd name="connsiteY1" fmla="*/ 3289 h 3349"/>
                    <a:gd name="connsiteX2" fmla="*/ 3827 w 3946"/>
                    <a:gd name="connsiteY2" fmla="*/ 3349 h 3349"/>
                    <a:gd name="connsiteX3" fmla="*/ 2392 w 3946"/>
                    <a:gd name="connsiteY3" fmla="*/ 2392 h 3349"/>
                    <a:gd name="connsiteX4" fmla="*/ 1196 w 3946"/>
                    <a:gd name="connsiteY4" fmla="*/ 1615 h 3349"/>
                    <a:gd name="connsiteX5" fmla="*/ 0 w 3946"/>
                    <a:gd name="connsiteY5" fmla="*/ 837 h 3349"/>
                    <a:gd name="connsiteX6" fmla="*/ 0 w 3946"/>
                    <a:gd name="connsiteY6" fmla="*/ 778 h 3349"/>
                    <a:gd name="connsiteX7" fmla="*/ 0 w 3946"/>
                    <a:gd name="connsiteY7" fmla="*/ 718 h 3349"/>
                    <a:gd name="connsiteX8" fmla="*/ 0 w 3946"/>
                    <a:gd name="connsiteY8" fmla="*/ 658 h 3349"/>
                    <a:gd name="connsiteX9" fmla="*/ 0 w 3946"/>
                    <a:gd name="connsiteY9" fmla="*/ 299 h 3349"/>
                    <a:gd name="connsiteX10" fmla="*/ 299 w 3946"/>
                    <a:gd name="connsiteY10" fmla="*/ 0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46" h="3349">
                      <a:moveTo>
                        <a:pt x="3947" y="3230"/>
                      </a:moveTo>
                      <a:lnTo>
                        <a:pt x="3887" y="3289"/>
                      </a:lnTo>
                      <a:lnTo>
                        <a:pt x="3827" y="3349"/>
                      </a:lnTo>
                      <a:lnTo>
                        <a:pt x="2392" y="2392"/>
                      </a:lnTo>
                      <a:lnTo>
                        <a:pt x="1196" y="1615"/>
                      </a:lnTo>
                      <a:lnTo>
                        <a:pt x="0" y="837"/>
                      </a:lnTo>
                      <a:lnTo>
                        <a:pt x="0" y="778"/>
                      </a:lnTo>
                      <a:lnTo>
                        <a:pt x="0" y="718"/>
                      </a:lnTo>
                      <a:lnTo>
                        <a:pt x="0" y="658"/>
                      </a:lnTo>
                      <a:lnTo>
                        <a:pt x="0" y="299"/>
                      </a:lnTo>
                      <a:lnTo>
                        <a:pt x="299" y="0"/>
                      </a:lnTo>
                    </a:path>
                  </a:pathLst>
                </a:custGeom>
                <a:noFill/>
                <a:ln w="6350" cap="rnd">
                  <a:solidFill>
                    <a:schemeClr val="bg1">
                      <a:alpha val="40000"/>
                    </a:schemeClr>
                  </a:solidFill>
                  <a:prstDash val="solid"/>
                  <a:round/>
                </a:ln>
              </p:spPr>
              <p:txBody>
                <a:bodyPr rtlCol="0" anchor="ctr"/>
                <a:lstStyle/>
                <a:p>
                  <a:endParaRPr lang="en-GB"/>
                </a:p>
              </p:txBody>
            </p:sp>
            <p:sp>
              <p:nvSpPr>
                <p:cNvPr id="6861" name="Vrije vorm: vorm 6860">
                  <a:extLst>
                    <a:ext uri="{FF2B5EF4-FFF2-40B4-BE49-F238E27FC236}">
                      <a16:creationId xmlns:a16="http://schemas.microsoft.com/office/drawing/2014/main" id="{7CD4A122-2E47-49A9-919B-3EC58AF94295}"/>
                    </a:ext>
                  </a:extLst>
                </p:cNvPr>
                <p:cNvSpPr/>
                <p:nvPr/>
              </p:nvSpPr>
              <p:spPr>
                <a:xfrm>
                  <a:off x="6775340" y="1960999"/>
                  <a:ext cx="4485" cy="2153"/>
                </a:xfrm>
                <a:custGeom>
                  <a:avLst/>
                  <a:gdLst>
                    <a:gd name="connsiteX0" fmla="*/ 4486 w 4485"/>
                    <a:gd name="connsiteY0" fmla="*/ 0 h 2153"/>
                    <a:gd name="connsiteX1" fmla="*/ 3469 w 4485"/>
                    <a:gd name="connsiteY1" fmla="*/ 1316 h 2153"/>
                    <a:gd name="connsiteX2" fmla="*/ 2871 w 4485"/>
                    <a:gd name="connsiteY2" fmla="*/ 2093 h 2153"/>
                    <a:gd name="connsiteX3" fmla="*/ 2811 w 4485"/>
                    <a:gd name="connsiteY3" fmla="*/ 2153 h 2153"/>
                    <a:gd name="connsiteX4" fmla="*/ 1376 w 4485"/>
                    <a:gd name="connsiteY4" fmla="*/ 1435 h 2153"/>
                    <a:gd name="connsiteX5" fmla="*/ 778 w 4485"/>
                    <a:gd name="connsiteY5" fmla="*/ 1136 h 2153"/>
                    <a:gd name="connsiteX6" fmla="*/ 0 w 4485"/>
                    <a:gd name="connsiteY6" fmla="*/ 777 h 2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5" h="2153">
                      <a:moveTo>
                        <a:pt x="4486" y="0"/>
                      </a:moveTo>
                      <a:lnTo>
                        <a:pt x="3469" y="1316"/>
                      </a:lnTo>
                      <a:lnTo>
                        <a:pt x="2871" y="2093"/>
                      </a:lnTo>
                      <a:lnTo>
                        <a:pt x="2811" y="2153"/>
                      </a:lnTo>
                      <a:lnTo>
                        <a:pt x="1376" y="1435"/>
                      </a:lnTo>
                      <a:lnTo>
                        <a:pt x="778" y="1136"/>
                      </a:lnTo>
                      <a:lnTo>
                        <a:pt x="0" y="777"/>
                      </a:lnTo>
                    </a:path>
                  </a:pathLst>
                </a:custGeom>
                <a:noFill/>
                <a:ln w="6350" cap="rnd">
                  <a:solidFill>
                    <a:schemeClr val="bg1">
                      <a:alpha val="40000"/>
                    </a:schemeClr>
                  </a:solidFill>
                  <a:prstDash val="solid"/>
                  <a:round/>
                </a:ln>
              </p:spPr>
              <p:txBody>
                <a:bodyPr rtlCol="0" anchor="ctr"/>
                <a:lstStyle/>
                <a:p>
                  <a:endParaRPr lang="en-GB"/>
                </a:p>
              </p:txBody>
            </p:sp>
            <p:sp>
              <p:nvSpPr>
                <p:cNvPr id="6862" name="Vrije vorm: vorm 6861">
                  <a:extLst>
                    <a:ext uri="{FF2B5EF4-FFF2-40B4-BE49-F238E27FC236}">
                      <a16:creationId xmlns:a16="http://schemas.microsoft.com/office/drawing/2014/main" id="{BD5BBA3C-8D9F-4B1F-B43E-A2F3A22ABE8C}"/>
                    </a:ext>
                  </a:extLst>
                </p:cNvPr>
                <p:cNvSpPr/>
                <p:nvPr/>
              </p:nvSpPr>
              <p:spPr>
                <a:xfrm>
                  <a:off x="6728989" y="1919074"/>
                  <a:ext cx="12918" cy="13277"/>
                </a:xfrm>
                <a:custGeom>
                  <a:avLst/>
                  <a:gdLst>
                    <a:gd name="connsiteX0" fmla="*/ 12919 w 12918"/>
                    <a:gd name="connsiteY0" fmla="*/ 0 h 13277"/>
                    <a:gd name="connsiteX1" fmla="*/ 12440 w 12918"/>
                    <a:gd name="connsiteY1" fmla="*/ 598 h 13277"/>
                    <a:gd name="connsiteX2" fmla="*/ 8852 w 12918"/>
                    <a:gd name="connsiteY2" fmla="*/ 5203 h 13277"/>
                    <a:gd name="connsiteX3" fmla="*/ 8313 w 12918"/>
                    <a:gd name="connsiteY3" fmla="*/ 5921 h 13277"/>
                    <a:gd name="connsiteX4" fmla="*/ 8014 w 12918"/>
                    <a:gd name="connsiteY4" fmla="*/ 6340 h 13277"/>
                    <a:gd name="connsiteX5" fmla="*/ 7596 w 12918"/>
                    <a:gd name="connsiteY5" fmla="*/ 6878 h 13277"/>
                    <a:gd name="connsiteX6" fmla="*/ 6878 w 12918"/>
                    <a:gd name="connsiteY6" fmla="*/ 7835 h 13277"/>
                    <a:gd name="connsiteX7" fmla="*/ 6878 w 12918"/>
                    <a:gd name="connsiteY7" fmla="*/ 7835 h 13277"/>
                    <a:gd name="connsiteX8" fmla="*/ 6160 w 12918"/>
                    <a:gd name="connsiteY8" fmla="*/ 8792 h 13277"/>
                    <a:gd name="connsiteX9" fmla="*/ 6100 w 12918"/>
                    <a:gd name="connsiteY9" fmla="*/ 8852 h 13277"/>
                    <a:gd name="connsiteX10" fmla="*/ 6100 w 12918"/>
                    <a:gd name="connsiteY10" fmla="*/ 8852 h 13277"/>
                    <a:gd name="connsiteX11" fmla="*/ 5981 w 12918"/>
                    <a:gd name="connsiteY11" fmla="*/ 8971 h 13277"/>
                    <a:gd name="connsiteX12" fmla="*/ 5921 w 12918"/>
                    <a:gd name="connsiteY12" fmla="*/ 9091 h 13277"/>
                    <a:gd name="connsiteX13" fmla="*/ 5742 w 12918"/>
                    <a:gd name="connsiteY13" fmla="*/ 9330 h 13277"/>
                    <a:gd name="connsiteX14" fmla="*/ 5562 w 12918"/>
                    <a:gd name="connsiteY14" fmla="*/ 9569 h 13277"/>
                    <a:gd name="connsiteX15" fmla="*/ 5204 w 12918"/>
                    <a:gd name="connsiteY15" fmla="*/ 9988 h 13277"/>
                    <a:gd name="connsiteX16" fmla="*/ 5204 w 12918"/>
                    <a:gd name="connsiteY16" fmla="*/ 9988 h 13277"/>
                    <a:gd name="connsiteX17" fmla="*/ 5144 w 12918"/>
                    <a:gd name="connsiteY17" fmla="*/ 10107 h 13277"/>
                    <a:gd name="connsiteX18" fmla="*/ 4545 w 12918"/>
                    <a:gd name="connsiteY18" fmla="*/ 10885 h 13277"/>
                    <a:gd name="connsiteX19" fmla="*/ 4187 w 12918"/>
                    <a:gd name="connsiteY19" fmla="*/ 11304 h 13277"/>
                    <a:gd name="connsiteX20" fmla="*/ 4127 w 12918"/>
                    <a:gd name="connsiteY20" fmla="*/ 11363 h 13277"/>
                    <a:gd name="connsiteX21" fmla="*/ 4007 w 12918"/>
                    <a:gd name="connsiteY21" fmla="*/ 11543 h 13277"/>
                    <a:gd name="connsiteX22" fmla="*/ 3649 w 12918"/>
                    <a:gd name="connsiteY22" fmla="*/ 11961 h 13277"/>
                    <a:gd name="connsiteX23" fmla="*/ 3349 w 12918"/>
                    <a:gd name="connsiteY23" fmla="*/ 12380 h 13277"/>
                    <a:gd name="connsiteX24" fmla="*/ 3230 w 12918"/>
                    <a:gd name="connsiteY24" fmla="*/ 12500 h 13277"/>
                    <a:gd name="connsiteX25" fmla="*/ 3170 w 12918"/>
                    <a:gd name="connsiteY25" fmla="*/ 12560 h 13277"/>
                    <a:gd name="connsiteX26" fmla="*/ 2632 w 12918"/>
                    <a:gd name="connsiteY26" fmla="*/ 13217 h 13277"/>
                    <a:gd name="connsiteX27" fmla="*/ 2572 w 12918"/>
                    <a:gd name="connsiteY27" fmla="*/ 13277 h 13277"/>
                    <a:gd name="connsiteX28" fmla="*/ 1436 w 12918"/>
                    <a:gd name="connsiteY28" fmla="*/ 12739 h 13277"/>
                    <a:gd name="connsiteX29" fmla="*/ 0 w 12918"/>
                    <a:gd name="connsiteY29" fmla="*/ 12081 h 1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918" h="13277">
                      <a:moveTo>
                        <a:pt x="12919" y="0"/>
                      </a:moveTo>
                      <a:lnTo>
                        <a:pt x="12440" y="598"/>
                      </a:lnTo>
                      <a:lnTo>
                        <a:pt x="8852" y="5203"/>
                      </a:lnTo>
                      <a:lnTo>
                        <a:pt x="8313" y="5921"/>
                      </a:lnTo>
                      <a:lnTo>
                        <a:pt x="8014" y="6340"/>
                      </a:lnTo>
                      <a:lnTo>
                        <a:pt x="7596" y="6878"/>
                      </a:lnTo>
                      <a:lnTo>
                        <a:pt x="6878" y="7835"/>
                      </a:lnTo>
                      <a:lnTo>
                        <a:pt x="6878" y="7835"/>
                      </a:lnTo>
                      <a:lnTo>
                        <a:pt x="6160" y="8792"/>
                      </a:lnTo>
                      <a:lnTo>
                        <a:pt x="6100" y="8852"/>
                      </a:lnTo>
                      <a:lnTo>
                        <a:pt x="6100" y="8852"/>
                      </a:lnTo>
                      <a:lnTo>
                        <a:pt x="5981" y="8971"/>
                      </a:lnTo>
                      <a:lnTo>
                        <a:pt x="5921" y="9091"/>
                      </a:lnTo>
                      <a:lnTo>
                        <a:pt x="5742" y="9330"/>
                      </a:lnTo>
                      <a:lnTo>
                        <a:pt x="5562" y="9569"/>
                      </a:lnTo>
                      <a:lnTo>
                        <a:pt x="5204" y="9988"/>
                      </a:lnTo>
                      <a:lnTo>
                        <a:pt x="5204" y="9988"/>
                      </a:lnTo>
                      <a:lnTo>
                        <a:pt x="5144" y="10107"/>
                      </a:lnTo>
                      <a:lnTo>
                        <a:pt x="4545" y="10885"/>
                      </a:lnTo>
                      <a:lnTo>
                        <a:pt x="4187" y="11304"/>
                      </a:lnTo>
                      <a:lnTo>
                        <a:pt x="4127" y="11363"/>
                      </a:lnTo>
                      <a:lnTo>
                        <a:pt x="4007" y="11543"/>
                      </a:lnTo>
                      <a:lnTo>
                        <a:pt x="3649" y="11961"/>
                      </a:lnTo>
                      <a:lnTo>
                        <a:pt x="3349" y="12380"/>
                      </a:lnTo>
                      <a:lnTo>
                        <a:pt x="3230" y="12500"/>
                      </a:lnTo>
                      <a:lnTo>
                        <a:pt x="3170" y="12560"/>
                      </a:lnTo>
                      <a:lnTo>
                        <a:pt x="2632" y="13217"/>
                      </a:lnTo>
                      <a:lnTo>
                        <a:pt x="2572" y="13277"/>
                      </a:lnTo>
                      <a:lnTo>
                        <a:pt x="1436" y="12739"/>
                      </a:lnTo>
                      <a:lnTo>
                        <a:pt x="0" y="12081"/>
                      </a:lnTo>
                    </a:path>
                  </a:pathLst>
                </a:custGeom>
                <a:noFill/>
                <a:ln w="6350" cap="rnd">
                  <a:solidFill>
                    <a:schemeClr val="bg1">
                      <a:alpha val="40000"/>
                    </a:schemeClr>
                  </a:solidFill>
                  <a:prstDash val="solid"/>
                  <a:round/>
                </a:ln>
              </p:spPr>
              <p:txBody>
                <a:bodyPr rtlCol="0" anchor="ctr"/>
                <a:lstStyle/>
                <a:p>
                  <a:endParaRPr lang="en-GB"/>
                </a:p>
              </p:txBody>
            </p:sp>
            <p:sp>
              <p:nvSpPr>
                <p:cNvPr id="6863" name="Vrije vorm: vorm 6862">
                  <a:extLst>
                    <a:ext uri="{FF2B5EF4-FFF2-40B4-BE49-F238E27FC236}">
                      <a16:creationId xmlns:a16="http://schemas.microsoft.com/office/drawing/2014/main" id="{6B2794A4-0B6F-4C09-BA10-E5C2BCD6FA3F}"/>
                    </a:ext>
                  </a:extLst>
                </p:cNvPr>
                <p:cNvSpPr/>
                <p:nvPr/>
              </p:nvSpPr>
              <p:spPr>
                <a:xfrm>
                  <a:off x="6966783" y="1838933"/>
                  <a:ext cx="2272" cy="1255"/>
                </a:xfrm>
                <a:custGeom>
                  <a:avLst/>
                  <a:gdLst>
                    <a:gd name="connsiteX0" fmla="*/ 0 w 2272"/>
                    <a:gd name="connsiteY0" fmla="*/ 299 h 1255"/>
                    <a:gd name="connsiteX1" fmla="*/ 0 w 2272"/>
                    <a:gd name="connsiteY1" fmla="*/ 299 h 1255"/>
                    <a:gd name="connsiteX2" fmla="*/ 299 w 2272"/>
                    <a:gd name="connsiteY2" fmla="*/ 0 h 1255"/>
                    <a:gd name="connsiteX3" fmla="*/ 538 w 2272"/>
                    <a:gd name="connsiteY3" fmla="*/ 120 h 1255"/>
                    <a:gd name="connsiteX4" fmla="*/ 2273 w 2272"/>
                    <a:gd name="connsiteY4" fmla="*/ 1256 h 1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2" h="1255">
                      <a:moveTo>
                        <a:pt x="0" y="299"/>
                      </a:moveTo>
                      <a:lnTo>
                        <a:pt x="0" y="299"/>
                      </a:lnTo>
                      <a:lnTo>
                        <a:pt x="299" y="0"/>
                      </a:lnTo>
                      <a:lnTo>
                        <a:pt x="538" y="120"/>
                      </a:lnTo>
                      <a:lnTo>
                        <a:pt x="2273" y="1256"/>
                      </a:lnTo>
                    </a:path>
                  </a:pathLst>
                </a:custGeom>
                <a:noFill/>
                <a:ln w="6350" cap="rnd">
                  <a:solidFill>
                    <a:schemeClr val="bg1">
                      <a:alpha val="40000"/>
                    </a:schemeClr>
                  </a:solidFill>
                  <a:prstDash val="solid"/>
                  <a:round/>
                </a:ln>
              </p:spPr>
              <p:txBody>
                <a:bodyPr rtlCol="0" anchor="ctr"/>
                <a:lstStyle/>
                <a:p>
                  <a:endParaRPr lang="en-GB"/>
                </a:p>
              </p:txBody>
            </p:sp>
            <p:sp>
              <p:nvSpPr>
                <p:cNvPr id="6864" name="Vrije vorm: vorm 6863">
                  <a:extLst>
                    <a:ext uri="{FF2B5EF4-FFF2-40B4-BE49-F238E27FC236}">
                      <a16:creationId xmlns:a16="http://schemas.microsoft.com/office/drawing/2014/main" id="{F95A52C5-6A38-4462-ADA6-745199BDB71E}"/>
                    </a:ext>
                  </a:extLst>
                </p:cNvPr>
                <p:cNvSpPr/>
                <p:nvPr/>
              </p:nvSpPr>
              <p:spPr>
                <a:xfrm>
                  <a:off x="6934547" y="2055674"/>
                  <a:ext cx="2930" cy="1973"/>
                </a:xfrm>
                <a:custGeom>
                  <a:avLst/>
                  <a:gdLst>
                    <a:gd name="connsiteX0" fmla="*/ 0 w 2930"/>
                    <a:gd name="connsiteY0" fmla="*/ 0 h 1973"/>
                    <a:gd name="connsiteX1" fmla="*/ 2930 w 2930"/>
                    <a:gd name="connsiteY1" fmla="*/ 1974 h 1973"/>
                  </a:gdLst>
                  <a:ahLst/>
                  <a:cxnLst>
                    <a:cxn ang="0">
                      <a:pos x="connsiteX0" y="connsiteY0"/>
                    </a:cxn>
                    <a:cxn ang="0">
                      <a:pos x="connsiteX1" y="connsiteY1"/>
                    </a:cxn>
                  </a:cxnLst>
                  <a:rect l="l" t="t" r="r" b="b"/>
                  <a:pathLst>
                    <a:path w="2930" h="1973">
                      <a:moveTo>
                        <a:pt x="0" y="0"/>
                      </a:moveTo>
                      <a:lnTo>
                        <a:pt x="2930" y="1974"/>
                      </a:lnTo>
                    </a:path>
                  </a:pathLst>
                </a:custGeom>
                <a:noFill/>
                <a:ln w="6350" cap="rnd">
                  <a:solidFill>
                    <a:schemeClr val="bg1">
                      <a:alpha val="40000"/>
                    </a:schemeClr>
                  </a:solidFill>
                  <a:prstDash val="solid"/>
                  <a:round/>
                </a:ln>
              </p:spPr>
              <p:txBody>
                <a:bodyPr rtlCol="0" anchor="ctr"/>
                <a:lstStyle/>
                <a:p>
                  <a:endParaRPr lang="en-GB"/>
                </a:p>
              </p:txBody>
            </p:sp>
            <p:sp>
              <p:nvSpPr>
                <p:cNvPr id="6865" name="Vrije vorm: vorm 6864">
                  <a:extLst>
                    <a:ext uri="{FF2B5EF4-FFF2-40B4-BE49-F238E27FC236}">
                      <a16:creationId xmlns:a16="http://schemas.microsoft.com/office/drawing/2014/main" id="{B4DE2BB9-13BE-45C3-A8F9-86A8A163DDAD}"/>
                    </a:ext>
                  </a:extLst>
                </p:cNvPr>
                <p:cNvSpPr/>
                <p:nvPr/>
              </p:nvSpPr>
              <p:spPr>
                <a:xfrm>
                  <a:off x="6961341" y="2040423"/>
                  <a:ext cx="10166" cy="3468"/>
                </a:xfrm>
                <a:custGeom>
                  <a:avLst/>
                  <a:gdLst>
                    <a:gd name="connsiteX0" fmla="*/ 0 w 10166"/>
                    <a:gd name="connsiteY0" fmla="*/ 3469 h 3468"/>
                    <a:gd name="connsiteX1" fmla="*/ 3290 w 10166"/>
                    <a:gd name="connsiteY1" fmla="*/ 2033 h 3468"/>
                    <a:gd name="connsiteX2" fmla="*/ 3768 w 10166"/>
                    <a:gd name="connsiteY2" fmla="*/ 1914 h 3468"/>
                    <a:gd name="connsiteX3" fmla="*/ 4426 w 10166"/>
                    <a:gd name="connsiteY3" fmla="*/ 1734 h 3468"/>
                    <a:gd name="connsiteX4" fmla="*/ 4545 w 10166"/>
                    <a:gd name="connsiteY4" fmla="*/ 1675 h 3468"/>
                    <a:gd name="connsiteX5" fmla="*/ 7356 w 10166"/>
                    <a:gd name="connsiteY5" fmla="*/ 837 h 3468"/>
                    <a:gd name="connsiteX6" fmla="*/ 10167 w 10166"/>
                    <a:gd name="connsiteY6" fmla="*/ 0 h 3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66" h="3468">
                      <a:moveTo>
                        <a:pt x="0" y="3469"/>
                      </a:moveTo>
                      <a:lnTo>
                        <a:pt x="3290" y="2033"/>
                      </a:lnTo>
                      <a:lnTo>
                        <a:pt x="3768" y="1914"/>
                      </a:lnTo>
                      <a:lnTo>
                        <a:pt x="4426" y="1734"/>
                      </a:lnTo>
                      <a:lnTo>
                        <a:pt x="4545" y="1675"/>
                      </a:lnTo>
                      <a:lnTo>
                        <a:pt x="7356" y="837"/>
                      </a:lnTo>
                      <a:lnTo>
                        <a:pt x="10167" y="0"/>
                      </a:lnTo>
                    </a:path>
                  </a:pathLst>
                </a:custGeom>
                <a:noFill/>
                <a:ln w="6350" cap="rnd">
                  <a:solidFill>
                    <a:schemeClr val="bg1">
                      <a:alpha val="40000"/>
                    </a:schemeClr>
                  </a:solidFill>
                  <a:prstDash val="solid"/>
                  <a:round/>
                </a:ln>
              </p:spPr>
              <p:txBody>
                <a:bodyPr rtlCol="0" anchor="ctr"/>
                <a:lstStyle/>
                <a:p>
                  <a:endParaRPr lang="en-GB"/>
                </a:p>
              </p:txBody>
            </p:sp>
            <p:sp>
              <p:nvSpPr>
                <p:cNvPr id="6866" name="Vrije vorm: vorm 6865">
                  <a:extLst>
                    <a:ext uri="{FF2B5EF4-FFF2-40B4-BE49-F238E27FC236}">
                      <a16:creationId xmlns:a16="http://schemas.microsoft.com/office/drawing/2014/main" id="{15F91E99-157E-4342-8252-CC529323A780}"/>
                    </a:ext>
                  </a:extLst>
                </p:cNvPr>
                <p:cNvSpPr/>
                <p:nvPr/>
              </p:nvSpPr>
              <p:spPr>
                <a:xfrm>
                  <a:off x="6899261" y="1924098"/>
                  <a:ext cx="1076" cy="1854"/>
                </a:xfrm>
                <a:custGeom>
                  <a:avLst/>
                  <a:gdLst>
                    <a:gd name="connsiteX0" fmla="*/ 0 w 1076"/>
                    <a:gd name="connsiteY0" fmla="*/ 1854 h 1854"/>
                    <a:gd name="connsiteX1" fmla="*/ 538 w 1076"/>
                    <a:gd name="connsiteY1" fmla="*/ 957 h 1854"/>
                    <a:gd name="connsiteX2" fmla="*/ 658 w 1076"/>
                    <a:gd name="connsiteY2" fmla="*/ 718 h 1854"/>
                    <a:gd name="connsiteX3" fmla="*/ 1077 w 1076"/>
                    <a:gd name="connsiteY3" fmla="*/ 0 h 1854"/>
                  </a:gdLst>
                  <a:ahLst/>
                  <a:cxnLst>
                    <a:cxn ang="0">
                      <a:pos x="connsiteX0" y="connsiteY0"/>
                    </a:cxn>
                    <a:cxn ang="0">
                      <a:pos x="connsiteX1" y="connsiteY1"/>
                    </a:cxn>
                    <a:cxn ang="0">
                      <a:pos x="connsiteX2" y="connsiteY2"/>
                    </a:cxn>
                    <a:cxn ang="0">
                      <a:pos x="connsiteX3" y="connsiteY3"/>
                    </a:cxn>
                  </a:cxnLst>
                  <a:rect l="l" t="t" r="r" b="b"/>
                  <a:pathLst>
                    <a:path w="1076" h="1854">
                      <a:moveTo>
                        <a:pt x="0" y="1854"/>
                      </a:moveTo>
                      <a:lnTo>
                        <a:pt x="538" y="957"/>
                      </a:lnTo>
                      <a:lnTo>
                        <a:pt x="658" y="718"/>
                      </a:lnTo>
                      <a:lnTo>
                        <a:pt x="1077" y="0"/>
                      </a:lnTo>
                    </a:path>
                  </a:pathLst>
                </a:custGeom>
                <a:noFill/>
                <a:ln w="6350" cap="rnd">
                  <a:solidFill>
                    <a:schemeClr val="bg1">
                      <a:alpha val="40000"/>
                    </a:schemeClr>
                  </a:solidFill>
                  <a:prstDash val="solid"/>
                  <a:round/>
                </a:ln>
              </p:spPr>
              <p:txBody>
                <a:bodyPr rtlCol="0" anchor="ctr"/>
                <a:lstStyle/>
                <a:p>
                  <a:endParaRPr lang="en-GB"/>
                </a:p>
              </p:txBody>
            </p:sp>
            <p:sp>
              <p:nvSpPr>
                <p:cNvPr id="6867" name="Vrije vorm: vorm 6866">
                  <a:extLst>
                    <a:ext uri="{FF2B5EF4-FFF2-40B4-BE49-F238E27FC236}">
                      <a16:creationId xmlns:a16="http://schemas.microsoft.com/office/drawing/2014/main" id="{62032BE8-01A9-4A57-AF1E-608E81D94F6E}"/>
                    </a:ext>
                  </a:extLst>
                </p:cNvPr>
                <p:cNvSpPr/>
                <p:nvPr/>
              </p:nvSpPr>
              <p:spPr>
                <a:xfrm>
                  <a:off x="6597473" y="1892819"/>
                  <a:ext cx="2691" cy="13038"/>
                </a:xfrm>
                <a:custGeom>
                  <a:avLst/>
                  <a:gdLst>
                    <a:gd name="connsiteX0" fmla="*/ 0 w 2691"/>
                    <a:gd name="connsiteY0" fmla="*/ 13038 h 13038"/>
                    <a:gd name="connsiteX1" fmla="*/ 2691 w 2691"/>
                    <a:gd name="connsiteY1" fmla="*/ 0 h 13038"/>
                  </a:gdLst>
                  <a:ahLst/>
                  <a:cxnLst>
                    <a:cxn ang="0">
                      <a:pos x="connsiteX0" y="connsiteY0"/>
                    </a:cxn>
                    <a:cxn ang="0">
                      <a:pos x="connsiteX1" y="connsiteY1"/>
                    </a:cxn>
                  </a:cxnLst>
                  <a:rect l="l" t="t" r="r" b="b"/>
                  <a:pathLst>
                    <a:path w="2691" h="13038">
                      <a:moveTo>
                        <a:pt x="0" y="13038"/>
                      </a:moveTo>
                      <a:lnTo>
                        <a:pt x="2691" y="0"/>
                      </a:lnTo>
                    </a:path>
                  </a:pathLst>
                </a:custGeom>
                <a:noFill/>
                <a:ln w="6350" cap="rnd">
                  <a:solidFill>
                    <a:schemeClr val="bg1">
                      <a:alpha val="40000"/>
                    </a:schemeClr>
                  </a:solidFill>
                  <a:prstDash val="solid"/>
                  <a:round/>
                </a:ln>
              </p:spPr>
              <p:txBody>
                <a:bodyPr rtlCol="0" anchor="ctr"/>
                <a:lstStyle/>
                <a:p>
                  <a:endParaRPr lang="en-GB"/>
                </a:p>
              </p:txBody>
            </p:sp>
            <p:sp>
              <p:nvSpPr>
                <p:cNvPr id="6868" name="Vrije vorm: vorm 6867">
                  <a:extLst>
                    <a:ext uri="{FF2B5EF4-FFF2-40B4-BE49-F238E27FC236}">
                      <a16:creationId xmlns:a16="http://schemas.microsoft.com/office/drawing/2014/main" id="{960BA9C9-E236-4DEB-8680-50442A96777D}"/>
                    </a:ext>
                  </a:extLst>
                </p:cNvPr>
                <p:cNvSpPr/>
                <p:nvPr/>
              </p:nvSpPr>
              <p:spPr>
                <a:xfrm>
                  <a:off x="6944475" y="2110218"/>
                  <a:ext cx="1316" cy="1016"/>
                </a:xfrm>
                <a:custGeom>
                  <a:avLst/>
                  <a:gdLst>
                    <a:gd name="connsiteX0" fmla="*/ 0 w 1316"/>
                    <a:gd name="connsiteY0" fmla="*/ 0 h 1016"/>
                    <a:gd name="connsiteX1" fmla="*/ 299 w 1316"/>
                    <a:gd name="connsiteY1" fmla="*/ 299 h 1016"/>
                    <a:gd name="connsiteX2" fmla="*/ 1316 w 1316"/>
                    <a:gd name="connsiteY2" fmla="*/ 1017 h 1016"/>
                  </a:gdLst>
                  <a:ahLst/>
                  <a:cxnLst>
                    <a:cxn ang="0">
                      <a:pos x="connsiteX0" y="connsiteY0"/>
                    </a:cxn>
                    <a:cxn ang="0">
                      <a:pos x="connsiteX1" y="connsiteY1"/>
                    </a:cxn>
                    <a:cxn ang="0">
                      <a:pos x="connsiteX2" y="connsiteY2"/>
                    </a:cxn>
                  </a:cxnLst>
                  <a:rect l="l" t="t" r="r" b="b"/>
                  <a:pathLst>
                    <a:path w="1316" h="1016">
                      <a:moveTo>
                        <a:pt x="0" y="0"/>
                      </a:moveTo>
                      <a:lnTo>
                        <a:pt x="299" y="299"/>
                      </a:lnTo>
                      <a:lnTo>
                        <a:pt x="1316" y="1017"/>
                      </a:lnTo>
                    </a:path>
                  </a:pathLst>
                </a:custGeom>
                <a:noFill/>
                <a:ln w="6350" cap="rnd">
                  <a:solidFill>
                    <a:schemeClr val="bg1">
                      <a:alpha val="40000"/>
                    </a:schemeClr>
                  </a:solidFill>
                  <a:prstDash val="solid"/>
                  <a:round/>
                </a:ln>
              </p:spPr>
              <p:txBody>
                <a:bodyPr rtlCol="0" anchor="ctr"/>
                <a:lstStyle/>
                <a:p>
                  <a:endParaRPr lang="en-GB"/>
                </a:p>
              </p:txBody>
            </p:sp>
            <p:sp>
              <p:nvSpPr>
                <p:cNvPr id="6869" name="Vrije vorm: vorm 6868">
                  <a:extLst>
                    <a:ext uri="{FF2B5EF4-FFF2-40B4-BE49-F238E27FC236}">
                      <a16:creationId xmlns:a16="http://schemas.microsoft.com/office/drawing/2014/main" id="{8C9A5D5B-733E-4D0E-AF0B-0D9349A16891}"/>
                    </a:ext>
                  </a:extLst>
                </p:cNvPr>
                <p:cNvSpPr/>
                <p:nvPr/>
              </p:nvSpPr>
              <p:spPr>
                <a:xfrm>
                  <a:off x="7053145" y="1973559"/>
                  <a:ext cx="4067" cy="7236"/>
                </a:xfrm>
                <a:custGeom>
                  <a:avLst/>
                  <a:gdLst>
                    <a:gd name="connsiteX0" fmla="*/ 4067 w 4067"/>
                    <a:gd name="connsiteY0" fmla="*/ 7237 h 7236"/>
                    <a:gd name="connsiteX1" fmla="*/ 3409 w 4067"/>
                    <a:gd name="connsiteY1" fmla="*/ 3409 h 7236"/>
                    <a:gd name="connsiteX2" fmla="*/ 0 w 4067"/>
                    <a:gd name="connsiteY2" fmla="*/ 0 h 7236"/>
                  </a:gdLst>
                  <a:ahLst/>
                  <a:cxnLst>
                    <a:cxn ang="0">
                      <a:pos x="connsiteX0" y="connsiteY0"/>
                    </a:cxn>
                    <a:cxn ang="0">
                      <a:pos x="connsiteX1" y="connsiteY1"/>
                    </a:cxn>
                    <a:cxn ang="0">
                      <a:pos x="connsiteX2" y="connsiteY2"/>
                    </a:cxn>
                  </a:cxnLst>
                  <a:rect l="l" t="t" r="r" b="b"/>
                  <a:pathLst>
                    <a:path w="4067" h="7236">
                      <a:moveTo>
                        <a:pt x="4067" y="7237"/>
                      </a:moveTo>
                      <a:lnTo>
                        <a:pt x="3409" y="340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70" name="Vrije vorm: vorm 6869">
                  <a:extLst>
                    <a:ext uri="{FF2B5EF4-FFF2-40B4-BE49-F238E27FC236}">
                      <a16:creationId xmlns:a16="http://schemas.microsoft.com/office/drawing/2014/main" id="{EE85CAB2-AE69-4D04-92D1-D02169C24253}"/>
                    </a:ext>
                  </a:extLst>
                </p:cNvPr>
                <p:cNvSpPr/>
                <p:nvPr/>
              </p:nvSpPr>
              <p:spPr>
                <a:xfrm>
                  <a:off x="6740891" y="1899996"/>
                  <a:ext cx="9987" cy="7655"/>
                </a:xfrm>
                <a:custGeom>
                  <a:avLst/>
                  <a:gdLst>
                    <a:gd name="connsiteX0" fmla="*/ 0 w 9987"/>
                    <a:gd name="connsiteY0" fmla="*/ 0 h 7655"/>
                    <a:gd name="connsiteX1" fmla="*/ 957 w 9987"/>
                    <a:gd name="connsiteY1" fmla="*/ 419 h 7655"/>
                    <a:gd name="connsiteX2" fmla="*/ 2273 w 9987"/>
                    <a:gd name="connsiteY2" fmla="*/ 1017 h 7655"/>
                    <a:gd name="connsiteX3" fmla="*/ 2930 w 9987"/>
                    <a:gd name="connsiteY3" fmla="*/ 1316 h 7655"/>
                    <a:gd name="connsiteX4" fmla="*/ 3588 w 9987"/>
                    <a:gd name="connsiteY4" fmla="*/ 1794 h 7655"/>
                    <a:gd name="connsiteX5" fmla="*/ 3648 w 9987"/>
                    <a:gd name="connsiteY5" fmla="*/ 1794 h 7655"/>
                    <a:gd name="connsiteX6" fmla="*/ 3827 w 9987"/>
                    <a:gd name="connsiteY6" fmla="*/ 1974 h 7655"/>
                    <a:gd name="connsiteX7" fmla="*/ 5203 w 9987"/>
                    <a:gd name="connsiteY7" fmla="*/ 2990 h 7655"/>
                    <a:gd name="connsiteX8" fmla="*/ 6100 w 9987"/>
                    <a:gd name="connsiteY8" fmla="*/ 3648 h 7655"/>
                    <a:gd name="connsiteX9" fmla="*/ 6280 w 9987"/>
                    <a:gd name="connsiteY9" fmla="*/ 3768 h 7655"/>
                    <a:gd name="connsiteX10" fmla="*/ 7954 w 9987"/>
                    <a:gd name="connsiteY10" fmla="*/ 5084 h 7655"/>
                    <a:gd name="connsiteX11" fmla="*/ 8134 w 9987"/>
                    <a:gd name="connsiteY11" fmla="*/ 5323 h 7655"/>
                    <a:gd name="connsiteX12" fmla="*/ 9988 w 9987"/>
                    <a:gd name="connsiteY12" fmla="*/ 7655 h 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7" h="7655">
                      <a:moveTo>
                        <a:pt x="0" y="0"/>
                      </a:moveTo>
                      <a:lnTo>
                        <a:pt x="957" y="419"/>
                      </a:lnTo>
                      <a:lnTo>
                        <a:pt x="2273" y="1017"/>
                      </a:lnTo>
                      <a:lnTo>
                        <a:pt x="2930" y="1316"/>
                      </a:lnTo>
                      <a:lnTo>
                        <a:pt x="3588" y="1794"/>
                      </a:lnTo>
                      <a:lnTo>
                        <a:pt x="3648" y="1794"/>
                      </a:lnTo>
                      <a:lnTo>
                        <a:pt x="3827" y="1974"/>
                      </a:lnTo>
                      <a:lnTo>
                        <a:pt x="5203" y="2990"/>
                      </a:lnTo>
                      <a:lnTo>
                        <a:pt x="6100" y="3648"/>
                      </a:lnTo>
                      <a:lnTo>
                        <a:pt x="6280" y="3768"/>
                      </a:lnTo>
                      <a:lnTo>
                        <a:pt x="7954" y="5084"/>
                      </a:lnTo>
                      <a:lnTo>
                        <a:pt x="8134" y="5323"/>
                      </a:lnTo>
                      <a:lnTo>
                        <a:pt x="9988" y="7655"/>
                      </a:lnTo>
                    </a:path>
                  </a:pathLst>
                </a:custGeom>
                <a:noFill/>
                <a:ln w="6350" cap="rnd">
                  <a:solidFill>
                    <a:schemeClr val="bg1">
                      <a:alpha val="40000"/>
                    </a:schemeClr>
                  </a:solidFill>
                  <a:prstDash val="solid"/>
                  <a:round/>
                </a:ln>
              </p:spPr>
              <p:txBody>
                <a:bodyPr rtlCol="0" anchor="ctr"/>
                <a:lstStyle/>
                <a:p>
                  <a:endParaRPr lang="en-GB"/>
                </a:p>
              </p:txBody>
            </p:sp>
            <p:sp>
              <p:nvSpPr>
                <p:cNvPr id="6871" name="Vrije vorm: vorm 6870">
                  <a:extLst>
                    <a:ext uri="{FF2B5EF4-FFF2-40B4-BE49-F238E27FC236}">
                      <a16:creationId xmlns:a16="http://schemas.microsoft.com/office/drawing/2014/main" id="{24A1918D-42CC-43FF-8049-90323E2458D7}"/>
                    </a:ext>
                  </a:extLst>
                </p:cNvPr>
                <p:cNvSpPr/>
                <p:nvPr/>
              </p:nvSpPr>
              <p:spPr>
                <a:xfrm>
                  <a:off x="6894775" y="1821887"/>
                  <a:ext cx="20334" cy="9329"/>
                </a:xfrm>
                <a:custGeom>
                  <a:avLst/>
                  <a:gdLst>
                    <a:gd name="connsiteX0" fmla="*/ 0 w 20334"/>
                    <a:gd name="connsiteY0" fmla="*/ 0 h 9329"/>
                    <a:gd name="connsiteX1" fmla="*/ 6878 w 20334"/>
                    <a:gd name="connsiteY1" fmla="*/ 3170 h 9329"/>
                    <a:gd name="connsiteX2" fmla="*/ 8553 w 20334"/>
                    <a:gd name="connsiteY2" fmla="*/ 3947 h 9329"/>
                    <a:gd name="connsiteX3" fmla="*/ 20335 w 20334"/>
                    <a:gd name="connsiteY3" fmla="*/ 9330 h 9329"/>
                  </a:gdLst>
                  <a:ahLst/>
                  <a:cxnLst>
                    <a:cxn ang="0">
                      <a:pos x="connsiteX0" y="connsiteY0"/>
                    </a:cxn>
                    <a:cxn ang="0">
                      <a:pos x="connsiteX1" y="connsiteY1"/>
                    </a:cxn>
                    <a:cxn ang="0">
                      <a:pos x="connsiteX2" y="connsiteY2"/>
                    </a:cxn>
                    <a:cxn ang="0">
                      <a:pos x="connsiteX3" y="connsiteY3"/>
                    </a:cxn>
                  </a:cxnLst>
                  <a:rect l="l" t="t" r="r" b="b"/>
                  <a:pathLst>
                    <a:path w="20334" h="9329">
                      <a:moveTo>
                        <a:pt x="0" y="0"/>
                      </a:moveTo>
                      <a:lnTo>
                        <a:pt x="6878" y="3170"/>
                      </a:lnTo>
                      <a:lnTo>
                        <a:pt x="8553" y="3947"/>
                      </a:lnTo>
                      <a:lnTo>
                        <a:pt x="20335" y="9330"/>
                      </a:lnTo>
                    </a:path>
                  </a:pathLst>
                </a:custGeom>
                <a:noFill/>
                <a:ln w="6350" cap="rnd">
                  <a:solidFill>
                    <a:schemeClr val="bg1">
                      <a:alpha val="40000"/>
                    </a:schemeClr>
                  </a:solidFill>
                  <a:prstDash val="solid"/>
                  <a:round/>
                </a:ln>
              </p:spPr>
              <p:txBody>
                <a:bodyPr rtlCol="0" anchor="ctr"/>
                <a:lstStyle/>
                <a:p>
                  <a:endParaRPr lang="en-GB"/>
                </a:p>
              </p:txBody>
            </p:sp>
            <p:sp>
              <p:nvSpPr>
                <p:cNvPr id="6872" name="Vrije vorm: vorm 6871">
                  <a:extLst>
                    <a:ext uri="{FF2B5EF4-FFF2-40B4-BE49-F238E27FC236}">
                      <a16:creationId xmlns:a16="http://schemas.microsoft.com/office/drawing/2014/main" id="{1F620B99-DBAA-4709-A808-A67EED71D147}"/>
                    </a:ext>
                  </a:extLst>
                </p:cNvPr>
                <p:cNvSpPr/>
                <p:nvPr/>
              </p:nvSpPr>
              <p:spPr>
                <a:xfrm>
                  <a:off x="6993457" y="1990544"/>
                  <a:ext cx="16686" cy="4306"/>
                </a:xfrm>
                <a:custGeom>
                  <a:avLst/>
                  <a:gdLst>
                    <a:gd name="connsiteX0" fmla="*/ 16686 w 16686"/>
                    <a:gd name="connsiteY0" fmla="*/ 0 h 4306"/>
                    <a:gd name="connsiteX1" fmla="*/ 10107 w 16686"/>
                    <a:gd name="connsiteY1" fmla="*/ 1256 h 4306"/>
                    <a:gd name="connsiteX2" fmla="*/ 6998 w 16686"/>
                    <a:gd name="connsiteY2" fmla="*/ 1854 h 4306"/>
                    <a:gd name="connsiteX3" fmla="*/ 2213 w 16686"/>
                    <a:gd name="connsiteY3" fmla="*/ 3529 h 4306"/>
                    <a:gd name="connsiteX4" fmla="*/ 0 w 16686"/>
                    <a:gd name="connsiteY4" fmla="*/ 4306 h 4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6" h="4306">
                      <a:moveTo>
                        <a:pt x="16686" y="0"/>
                      </a:moveTo>
                      <a:lnTo>
                        <a:pt x="10107" y="1256"/>
                      </a:lnTo>
                      <a:lnTo>
                        <a:pt x="6998" y="1854"/>
                      </a:lnTo>
                      <a:lnTo>
                        <a:pt x="2213" y="3529"/>
                      </a:lnTo>
                      <a:lnTo>
                        <a:pt x="0" y="4306"/>
                      </a:lnTo>
                    </a:path>
                  </a:pathLst>
                </a:custGeom>
                <a:noFill/>
                <a:ln w="6350" cap="rnd">
                  <a:solidFill>
                    <a:schemeClr val="bg1">
                      <a:alpha val="40000"/>
                    </a:schemeClr>
                  </a:solidFill>
                  <a:prstDash val="solid"/>
                  <a:round/>
                </a:ln>
              </p:spPr>
              <p:txBody>
                <a:bodyPr rtlCol="0" anchor="ctr"/>
                <a:lstStyle/>
                <a:p>
                  <a:endParaRPr lang="en-GB"/>
                </a:p>
              </p:txBody>
            </p:sp>
            <p:sp>
              <p:nvSpPr>
                <p:cNvPr id="6873" name="Vrije vorm: vorm 6872">
                  <a:extLst>
                    <a:ext uri="{FF2B5EF4-FFF2-40B4-BE49-F238E27FC236}">
                      <a16:creationId xmlns:a16="http://schemas.microsoft.com/office/drawing/2014/main" id="{24894006-D461-4119-B5E1-DF59DA937D81}"/>
                    </a:ext>
                  </a:extLst>
                </p:cNvPr>
                <p:cNvSpPr/>
                <p:nvPr/>
              </p:nvSpPr>
              <p:spPr>
                <a:xfrm>
                  <a:off x="6952429" y="1912914"/>
                  <a:ext cx="6040" cy="8373"/>
                </a:xfrm>
                <a:custGeom>
                  <a:avLst/>
                  <a:gdLst>
                    <a:gd name="connsiteX0" fmla="*/ 0 w 6040"/>
                    <a:gd name="connsiteY0" fmla="*/ 8373 h 8373"/>
                    <a:gd name="connsiteX1" fmla="*/ 1256 w 6040"/>
                    <a:gd name="connsiteY1" fmla="*/ 6519 h 8373"/>
                    <a:gd name="connsiteX2" fmla="*/ 1555 w 6040"/>
                    <a:gd name="connsiteY2" fmla="*/ 6100 h 8373"/>
                    <a:gd name="connsiteX3" fmla="*/ 1675 w 6040"/>
                    <a:gd name="connsiteY3" fmla="*/ 5921 h 8373"/>
                    <a:gd name="connsiteX4" fmla="*/ 2273 w 6040"/>
                    <a:gd name="connsiteY4" fmla="*/ 5084 h 8373"/>
                    <a:gd name="connsiteX5" fmla="*/ 2392 w 6040"/>
                    <a:gd name="connsiteY5" fmla="*/ 4904 h 8373"/>
                    <a:gd name="connsiteX6" fmla="*/ 2691 w 6040"/>
                    <a:gd name="connsiteY6" fmla="*/ 4486 h 8373"/>
                    <a:gd name="connsiteX7" fmla="*/ 6041 w 6040"/>
                    <a:gd name="connsiteY7" fmla="*/ 0 h 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0" h="8373">
                      <a:moveTo>
                        <a:pt x="0" y="8373"/>
                      </a:moveTo>
                      <a:lnTo>
                        <a:pt x="1256" y="6519"/>
                      </a:lnTo>
                      <a:lnTo>
                        <a:pt x="1555" y="6100"/>
                      </a:lnTo>
                      <a:lnTo>
                        <a:pt x="1675" y="5921"/>
                      </a:lnTo>
                      <a:lnTo>
                        <a:pt x="2273" y="5084"/>
                      </a:lnTo>
                      <a:lnTo>
                        <a:pt x="2392" y="4904"/>
                      </a:lnTo>
                      <a:lnTo>
                        <a:pt x="2691" y="4486"/>
                      </a:lnTo>
                      <a:lnTo>
                        <a:pt x="6041" y="0"/>
                      </a:lnTo>
                    </a:path>
                  </a:pathLst>
                </a:custGeom>
                <a:noFill/>
                <a:ln w="6350" cap="rnd">
                  <a:solidFill>
                    <a:schemeClr val="bg1">
                      <a:alpha val="40000"/>
                    </a:schemeClr>
                  </a:solidFill>
                  <a:prstDash val="solid"/>
                  <a:round/>
                </a:ln>
              </p:spPr>
              <p:txBody>
                <a:bodyPr rtlCol="0" anchor="ctr"/>
                <a:lstStyle/>
                <a:p>
                  <a:endParaRPr lang="en-GB"/>
                </a:p>
              </p:txBody>
            </p:sp>
            <p:sp>
              <p:nvSpPr>
                <p:cNvPr id="6874" name="Vrije vorm: vorm 6873">
                  <a:extLst>
                    <a:ext uri="{FF2B5EF4-FFF2-40B4-BE49-F238E27FC236}">
                      <a16:creationId xmlns:a16="http://schemas.microsoft.com/office/drawing/2014/main" id="{03592331-98E8-45C8-899A-59AA51E8E990}"/>
                    </a:ext>
                  </a:extLst>
                </p:cNvPr>
                <p:cNvSpPr/>
                <p:nvPr/>
              </p:nvSpPr>
              <p:spPr>
                <a:xfrm>
                  <a:off x="6612665" y="1944911"/>
                  <a:ext cx="4246" cy="5203"/>
                </a:xfrm>
                <a:custGeom>
                  <a:avLst/>
                  <a:gdLst>
                    <a:gd name="connsiteX0" fmla="*/ 0 w 4246"/>
                    <a:gd name="connsiteY0" fmla="*/ 0 h 5203"/>
                    <a:gd name="connsiteX1" fmla="*/ 778 w 4246"/>
                    <a:gd name="connsiteY1" fmla="*/ 1017 h 5203"/>
                    <a:gd name="connsiteX2" fmla="*/ 2572 w 4246"/>
                    <a:gd name="connsiteY2" fmla="*/ 3469 h 5203"/>
                    <a:gd name="connsiteX3" fmla="*/ 4246 w 4246"/>
                    <a:gd name="connsiteY3" fmla="*/ 5203 h 5203"/>
                  </a:gdLst>
                  <a:ahLst/>
                  <a:cxnLst>
                    <a:cxn ang="0">
                      <a:pos x="connsiteX0" y="connsiteY0"/>
                    </a:cxn>
                    <a:cxn ang="0">
                      <a:pos x="connsiteX1" y="connsiteY1"/>
                    </a:cxn>
                    <a:cxn ang="0">
                      <a:pos x="connsiteX2" y="connsiteY2"/>
                    </a:cxn>
                    <a:cxn ang="0">
                      <a:pos x="connsiteX3" y="connsiteY3"/>
                    </a:cxn>
                  </a:cxnLst>
                  <a:rect l="l" t="t" r="r" b="b"/>
                  <a:pathLst>
                    <a:path w="4246" h="5203">
                      <a:moveTo>
                        <a:pt x="0" y="0"/>
                      </a:moveTo>
                      <a:lnTo>
                        <a:pt x="778" y="1017"/>
                      </a:lnTo>
                      <a:lnTo>
                        <a:pt x="2572" y="3469"/>
                      </a:lnTo>
                      <a:lnTo>
                        <a:pt x="4246" y="5203"/>
                      </a:lnTo>
                    </a:path>
                  </a:pathLst>
                </a:custGeom>
                <a:noFill/>
                <a:ln w="6350" cap="rnd">
                  <a:solidFill>
                    <a:schemeClr val="bg1">
                      <a:alpha val="40000"/>
                    </a:schemeClr>
                  </a:solidFill>
                  <a:prstDash val="solid"/>
                  <a:round/>
                </a:ln>
              </p:spPr>
              <p:txBody>
                <a:bodyPr rtlCol="0" anchor="ctr"/>
                <a:lstStyle/>
                <a:p>
                  <a:endParaRPr lang="en-GB"/>
                </a:p>
              </p:txBody>
            </p:sp>
            <p:sp>
              <p:nvSpPr>
                <p:cNvPr id="6875" name="Vrije vorm: vorm 6874">
                  <a:extLst>
                    <a:ext uri="{FF2B5EF4-FFF2-40B4-BE49-F238E27FC236}">
                      <a16:creationId xmlns:a16="http://schemas.microsoft.com/office/drawing/2014/main" id="{5168C883-0884-4323-85C7-AB7EA3E2D7AE}"/>
                    </a:ext>
                  </a:extLst>
                </p:cNvPr>
                <p:cNvSpPr/>
                <p:nvPr/>
              </p:nvSpPr>
              <p:spPr>
                <a:xfrm>
                  <a:off x="6815351" y="2047720"/>
                  <a:ext cx="3528" cy="3648"/>
                </a:xfrm>
                <a:custGeom>
                  <a:avLst/>
                  <a:gdLst>
                    <a:gd name="connsiteX0" fmla="*/ 3529 w 3528"/>
                    <a:gd name="connsiteY0" fmla="*/ 0 h 3648"/>
                    <a:gd name="connsiteX1" fmla="*/ 2213 w 3528"/>
                    <a:gd name="connsiteY1" fmla="*/ 2093 h 3648"/>
                    <a:gd name="connsiteX2" fmla="*/ 0 w 3528"/>
                    <a:gd name="connsiteY2" fmla="*/ 3648 h 3648"/>
                  </a:gdLst>
                  <a:ahLst/>
                  <a:cxnLst>
                    <a:cxn ang="0">
                      <a:pos x="connsiteX0" y="connsiteY0"/>
                    </a:cxn>
                    <a:cxn ang="0">
                      <a:pos x="connsiteX1" y="connsiteY1"/>
                    </a:cxn>
                    <a:cxn ang="0">
                      <a:pos x="connsiteX2" y="connsiteY2"/>
                    </a:cxn>
                  </a:cxnLst>
                  <a:rect l="l" t="t" r="r" b="b"/>
                  <a:pathLst>
                    <a:path w="3528" h="3648">
                      <a:moveTo>
                        <a:pt x="3529" y="0"/>
                      </a:moveTo>
                      <a:lnTo>
                        <a:pt x="2213" y="2093"/>
                      </a:lnTo>
                      <a:lnTo>
                        <a:pt x="0" y="3648"/>
                      </a:lnTo>
                    </a:path>
                  </a:pathLst>
                </a:custGeom>
                <a:noFill/>
                <a:ln w="6350" cap="rnd">
                  <a:solidFill>
                    <a:schemeClr val="bg1">
                      <a:alpha val="40000"/>
                    </a:schemeClr>
                  </a:solidFill>
                  <a:prstDash val="solid"/>
                  <a:round/>
                </a:ln>
              </p:spPr>
              <p:txBody>
                <a:bodyPr rtlCol="0" anchor="ctr"/>
                <a:lstStyle/>
                <a:p>
                  <a:endParaRPr lang="en-GB"/>
                </a:p>
              </p:txBody>
            </p:sp>
            <p:sp>
              <p:nvSpPr>
                <p:cNvPr id="6876" name="Vrije vorm: vorm 6875">
                  <a:extLst>
                    <a:ext uri="{FF2B5EF4-FFF2-40B4-BE49-F238E27FC236}">
                      <a16:creationId xmlns:a16="http://schemas.microsoft.com/office/drawing/2014/main" id="{F3ACE646-0FEF-478F-B7F8-A6ADB26E87F2}"/>
                    </a:ext>
                  </a:extLst>
                </p:cNvPr>
                <p:cNvSpPr/>
                <p:nvPr/>
              </p:nvSpPr>
              <p:spPr>
                <a:xfrm>
                  <a:off x="6964032" y="1947602"/>
                  <a:ext cx="23863" cy="38097"/>
                </a:xfrm>
                <a:custGeom>
                  <a:avLst/>
                  <a:gdLst>
                    <a:gd name="connsiteX0" fmla="*/ 0 w 23863"/>
                    <a:gd name="connsiteY0" fmla="*/ 0 h 38097"/>
                    <a:gd name="connsiteX1" fmla="*/ 2273 w 23863"/>
                    <a:gd name="connsiteY1" fmla="*/ 2811 h 38097"/>
                    <a:gd name="connsiteX2" fmla="*/ 5503 w 23863"/>
                    <a:gd name="connsiteY2" fmla="*/ 6818 h 38097"/>
                    <a:gd name="connsiteX3" fmla="*/ 7835 w 23863"/>
                    <a:gd name="connsiteY3" fmla="*/ 9749 h 38097"/>
                    <a:gd name="connsiteX4" fmla="*/ 8253 w 23863"/>
                    <a:gd name="connsiteY4" fmla="*/ 10287 h 38097"/>
                    <a:gd name="connsiteX5" fmla="*/ 8553 w 23863"/>
                    <a:gd name="connsiteY5" fmla="*/ 10705 h 38097"/>
                    <a:gd name="connsiteX6" fmla="*/ 8672 w 23863"/>
                    <a:gd name="connsiteY6" fmla="*/ 10825 h 38097"/>
                    <a:gd name="connsiteX7" fmla="*/ 8732 w 23863"/>
                    <a:gd name="connsiteY7" fmla="*/ 10885 h 38097"/>
                    <a:gd name="connsiteX8" fmla="*/ 9808 w 23863"/>
                    <a:gd name="connsiteY8" fmla="*/ 12201 h 38097"/>
                    <a:gd name="connsiteX9" fmla="*/ 10586 w 23863"/>
                    <a:gd name="connsiteY9" fmla="*/ 13217 h 38097"/>
                    <a:gd name="connsiteX10" fmla="*/ 10766 w 23863"/>
                    <a:gd name="connsiteY10" fmla="*/ 13397 h 38097"/>
                    <a:gd name="connsiteX11" fmla="*/ 19377 w 23863"/>
                    <a:gd name="connsiteY11" fmla="*/ 24102 h 38097"/>
                    <a:gd name="connsiteX12" fmla="*/ 21411 w 23863"/>
                    <a:gd name="connsiteY12" fmla="*/ 26614 h 38097"/>
                    <a:gd name="connsiteX13" fmla="*/ 23325 w 23863"/>
                    <a:gd name="connsiteY13" fmla="*/ 29007 h 38097"/>
                    <a:gd name="connsiteX14" fmla="*/ 23863 w 23863"/>
                    <a:gd name="connsiteY14" fmla="*/ 29664 h 38097"/>
                    <a:gd name="connsiteX15" fmla="*/ 23205 w 23863"/>
                    <a:gd name="connsiteY15" fmla="*/ 31399 h 38097"/>
                    <a:gd name="connsiteX16" fmla="*/ 22847 w 23863"/>
                    <a:gd name="connsiteY16" fmla="*/ 32236 h 38097"/>
                    <a:gd name="connsiteX17" fmla="*/ 22727 w 23863"/>
                    <a:gd name="connsiteY17" fmla="*/ 32535 h 38097"/>
                    <a:gd name="connsiteX18" fmla="*/ 20514 w 23863"/>
                    <a:gd name="connsiteY18" fmla="*/ 38097 h 3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863" h="38097">
                      <a:moveTo>
                        <a:pt x="0" y="0"/>
                      </a:moveTo>
                      <a:lnTo>
                        <a:pt x="2273" y="2811"/>
                      </a:lnTo>
                      <a:lnTo>
                        <a:pt x="5503" y="6818"/>
                      </a:lnTo>
                      <a:lnTo>
                        <a:pt x="7835" y="9749"/>
                      </a:lnTo>
                      <a:lnTo>
                        <a:pt x="8253" y="10287"/>
                      </a:lnTo>
                      <a:lnTo>
                        <a:pt x="8553" y="10705"/>
                      </a:lnTo>
                      <a:lnTo>
                        <a:pt x="8672" y="10825"/>
                      </a:lnTo>
                      <a:lnTo>
                        <a:pt x="8732" y="10885"/>
                      </a:lnTo>
                      <a:lnTo>
                        <a:pt x="9808" y="12201"/>
                      </a:lnTo>
                      <a:lnTo>
                        <a:pt x="10586" y="13217"/>
                      </a:lnTo>
                      <a:lnTo>
                        <a:pt x="10766" y="13397"/>
                      </a:lnTo>
                      <a:lnTo>
                        <a:pt x="19377" y="24102"/>
                      </a:lnTo>
                      <a:lnTo>
                        <a:pt x="21411" y="26614"/>
                      </a:lnTo>
                      <a:lnTo>
                        <a:pt x="23325" y="29007"/>
                      </a:lnTo>
                      <a:lnTo>
                        <a:pt x="23863" y="29664"/>
                      </a:lnTo>
                      <a:lnTo>
                        <a:pt x="23205" y="31399"/>
                      </a:lnTo>
                      <a:lnTo>
                        <a:pt x="22847" y="32236"/>
                      </a:lnTo>
                      <a:lnTo>
                        <a:pt x="22727" y="32535"/>
                      </a:lnTo>
                      <a:lnTo>
                        <a:pt x="20514" y="38097"/>
                      </a:lnTo>
                    </a:path>
                  </a:pathLst>
                </a:custGeom>
                <a:noFill/>
                <a:ln w="6350" cap="rnd">
                  <a:solidFill>
                    <a:schemeClr val="bg1">
                      <a:alpha val="40000"/>
                    </a:schemeClr>
                  </a:solidFill>
                  <a:prstDash val="solid"/>
                  <a:round/>
                </a:ln>
              </p:spPr>
              <p:txBody>
                <a:bodyPr rtlCol="0" anchor="ctr"/>
                <a:lstStyle/>
                <a:p>
                  <a:endParaRPr lang="en-GB"/>
                </a:p>
              </p:txBody>
            </p:sp>
            <p:sp>
              <p:nvSpPr>
                <p:cNvPr id="6877" name="Vrije vorm: vorm 6876">
                  <a:extLst>
                    <a:ext uri="{FF2B5EF4-FFF2-40B4-BE49-F238E27FC236}">
                      <a16:creationId xmlns:a16="http://schemas.microsoft.com/office/drawing/2014/main" id="{07899A64-64B8-41F1-A55B-A8BBB17503DB}"/>
                    </a:ext>
                  </a:extLst>
                </p:cNvPr>
                <p:cNvSpPr/>
                <p:nvPr/>
              </p:nvSpPr>
              <p:spPr>
                <a:xfrm>
                  <a:off x="6677615" y="1918416"/>
                  <a:ext cx="25358" cy="17523"/>
                </a:xfrm>
                <a:custGeom>
                  <a:avLst/>
                  <a:gdLst>
                    <a:gd name="connsiteX0" fmla="*/ 0 w 25358"/>
                    <a:gd name="connsiteY0" fmla="*/ 0 h 17523"/>
                    <a:gd name="connsiteX1" fmla="*/ 658 w 25358"/>
                    <a:gd name="connsiteY1" fmla="*/ 598 h 17523"/>
                    <a:gd name="connsiteX2" fmla="*/ 6220 w 25358"/>
                    <a:gd name="connsiteY2" fmla="*/ 4366 h 17523"/>
                    <a:gd name="connsiteX3" fmla="*/ 15072 w 25358"/>
                    <a:gd name="connsiteY3" fmla="*/ 10406 h 17523"/>
                    <a:gd name="connsiteX4" fmla="*/ 16567 w 25358"/>
                    <a:gd name="connsiteY4" fmla="*/ 11423 h 17523"/>
                    <a:gd name="connsiteX5" fmla="*/ 17165 w 25358"/>
                    <a:gd name="connsiteY5" fmla="*/ 11842 h 17523"/>
                    <a:gd name="connsiteX6" fmla="*/ 19138 w 25358"/>
                    <a:gd name="connsiteY6" fmla="*/ 13217 h 17523"/>
                    <a:gd name="connsiteX7" fmla="*/ 24760 w 25358"/>
                    <a:gd name="connsiteY7" fmla="*/ 17105 h 17523"/>
                    <a:gd name="connsiteX8" fmla="*/ 24880 w 25358"/>
                    <a:gd name="connsiteY8" fmla="*/ 17225 h 17523"/>
                    <a:gd name="connsiteX9" fmla="*/ 24880 w 25358"/>
                    <a:gd name="connsiteY9" fmla="*/ 17225 h 17523"/>
                    <a:gd name="connsiteX10" fmla="*/ 25358 w 25358"/>
                    <a:gd name="connsiteY10" fmla="*/ 17524 h 1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58" h="17523">
                      <a:moveTo>
                        <a:pt x="0" y="0"/>
                      </a:moveTo>
                      <a:lnTo>
                        <a:pt x="658" y="598"/>
                      </a:lnTo>
                      <a:lnTo>
                        <a:pt x="6220" y="4366"/>
                      </a:lnTo>
                      <a:lnTo>
                        <a:pt x="15072" y="10406"/>
                      </a:lnTo>
                      <a:lnTo>
                        <a:pt x="16567" y="11423"/>
                      </a:lnTo>
                      <a:lnTo>
                        <a:pt x="17165" y="11842"/>
                      </a:lnTo>
                      <a:lnTo>
                        <a:pt x="19138" y="13217"/>
                      </a:lnTo>
                      <a:lnTo>
                        <a:pt x="24760" y="17105"/>
                      </a:lnTo>
                      <a:lnTo>
                        <a:pt x="24880" y="17225"/>
                      </a:lnTo>
                      <a:lnTo>
                        <a:pt x="24880" y="17225"/>
                      </a:lnTo>
                      <a:lnTo>
                        <a:pt x="25358" y="17524"/>
                      </a:lnTo>
                    </a:path>
                  </a:pathLst>
                </a:custGeom>
                <a:noFill/>
                <a:ln w="6350" cap="rnd">
                  <a:solidFill>
                    <a:schemeClr val="bg1">
                      <a:alpha val="40000"/>
                    </a:schemeClr>
                  </a:solidFill>
                  <a:prstDash val="solid"/>
                  <a:round/>
                </a:ln>
              </p:spPr>
              <p:txBody>
                <a:bodyPr rtlCol="0" anchor="ctr"/>
                <a:lstStyle/>
                <a:p>
                  <a:endParaRPr lang="en-GB"/>
                </a:p>
              </p:txBody>
            </p:sp>
            <p:sp>
              <p:nvSpPr>
                <p:cNvPr id="6878" name="Vrije vorm: vorm 6877">
                  <a:extLst>
                    <a:ext uri="{FF2B5EF4-FFF2-40B4-BE49-F238E27FC236}">
                      <a16:creationId xmlns:a16="http://schemas.microsoft.com/office/drawing/2014/main" id="{23CFE8F1-FEA2-4821-87DC-E9FD5C885C44}"/>
                    </a:ext>
                  </a:extLst>
                </p:cNvPr>
                <p:cNvSpPr/>
                <p:nvPr/>
              </p:nvSpPr>
              <p:spPr>
                <a:xfrm>
                  <a:off x="6750460" y="1907651"/>
                  <a:ext cx="358" cy="478"/>
                </a:xfrm>
                <a:custGeom>
                  <a:avLst/>
                  <a:gdLst>
                    <a:gd name="connsiteX0" fmla="*/ 359 w 358"/>
                    <a:gd name="connsiteY0" fmla="*/ 0 h 478"/>
                    <a:gd name="connsiteX1" fmla="*/ 0 w 358"/>
                    <a:gd name="connsiteY1" fmla="*/ 478 h 478"/>
                  </a:gdLst>
                  <a:ahLst/>
                  <a:cxnLst>
                    <a:cxn ang="0">
                      <a:pos x="connsiteX0" y="connsiteY0"/>
                    </a:cxn>
                    <a:cxn ang="0">
                      <a:pos x="connsiteX1" y="connsiteY1"/>
                    </a:cxn>
                  </a:cxnLst>
                  <a:rect l="l" t="t" r="r" b="b"/>
                  <a:pathLst>
                    <a:path w="358" h="478">
                      <a:moveTo>
                        <a:pt x="359" y="0"/>
                      </a:moveTo>
                      <a:lnTo>
                        <a:pt x="0" y="478"/>
                      </a:lnTo>
                    </a:path>
                  </a:pathLst>
                </a:custGeom>
                <a:noFill/>
                <a:ln w="6350" cap="rnd">
                  <a:solidFill>
                    <a:schemeClr val="bg1">
                      <a:alpha val="40000"/>
                    </a:schemeClr>
                  </a:solidFill>
                  <a:prstDash val="solid"/>
                  <a:round/>
                </a:ln>
              </p:spPr>
              <p:txBody>
                <a:bodyPr rtlCol="0" anchor="ctr"/>
                <a:lstStyle/>
                <a:p>
                  <a:endParaRPr lang="en-GB"/>
                </a:p>
              </p:txBody>
            </p:sp>
            <p:sp>
              <p:nvSpPr>
                <p:cNvPr id="6879" name="Vrije vorm: vorm 6878">
                  <a:extLst>
                    <a:ext uri="{FF2B5EF4-FFF2-40B4-BE49-F238E27FC236}">
                      <a16:creationId xmlns:a16="http://schemas.microsoft.com/office/drawing/2014/main" id="{829B8B00-EEC5-43EE-AC5B-6F73DA2861FC}"/>
                    </a:ext>
                  </a:extLst>
                </p:cNvPr>
                <p:cNvSpPr/>
                <p:nvPr/>
              </p:nvSpPr>
              <p:spPr>
                <a:xfrm>
                  <a:off x="6703153" y="1889470"/>
                  <a:ext cx="538" cy="299"/>
                </a:xfrm>
                <a:custGeom>
                  <a:avLst/>
                  <a:gdLst>
                    <a:gd name="connsiteX0" fmla="*/ 0 w 538"/>
                    <a:gd name="connsiteY0" fmla="*/ 0 h 299"/>
                    <a:gd name="connsiteX1" fmla="*/ 538 w 538"/>
                    <a:gd name="connsiteY1" fmla="*/ 299 h 299"/>
                  </a:gdLst>
                  <a:ahLst/>
                  <a:cxnLst>
                    <a:cxn ang="0">
                      <a:pos x="connsiteX0" y="connsiteY0"/>
                    </a:cxn>
                    <a:cxn ang="0">
                      <a:pos x="connsiteX1" y="connsiteY1"/>
                    </a:cxn>
                  </a:cxnLst>
                  <a:rect l="l" t="t" r="r" b="b"/>
                  <a:pathLst>
                    <a:path w="538" h="299">
                      <a:moveTo>
                        <a:pt x="0" y="0"/>
                      </a:moveTo>
                      <a:lnTo>
                        <a:pt x="538" y="299"/>
                      </a:lnTo>
                    </a:path>
                  </a:pathLst>
                </a:custGeom>
                <a:noFill/>
                <a:ln w="6350" cap="rnd">
                  <a:solidFill>
                    <a:schemeClr val="bg1">
                      <a:alpha val="40000"/>
                    </a:schemeClr>
                  </a:solidFill>
                  <a:prstDash val="solid"/>
                  <a:round/>
                </a:ln>
              </p:spPr>
              <p:txBody>
                <a:bodyPr rtlCol="0" anchor="ctr"/>
                <a:lstStyle/>
                <a:p>
                  <a:endParaRPr lang="en-GB"/>
                </a:p>
              </p:txBody>
            </p:sp>
            <p:sp>
              <p:nvSpPr>
                <p:cNvPr id="6880" name="Vrije vorm: vorm 6879">
                  <a:extLst>
                    <a:ext uri="{FF2B5EF4-FFF2-40B4-BE49-F238E27FC236}">
                      <a16:creationId xmlns:a16="http://schemas.microsoft.com/office/drawing/2014/main" id="{BEB2D408-B864-4F0C-BF5C-DDCC9476D4CB}"/>
                    </a:ext>
                  </a:extLst>
                </p:cNvPr>
                <p:cNvSpPr/>
                <p:nvPr/>
              </p:nvSpPr>
              <p:spPr>
                <a:xfrm>
                  <a:off x="6723906" y="1859985"/>
                  <a:ext cx="18300" cy="34329"/>
                </a:xfrm>
                <a:custGeom>
                  <a:avLst/>
                  <a:gdLst>
                    <a:gd name="connsiteX0" fmla="*/ 18301 w 18300"/>
                    <a:gd name="connsiteY0" fmla="*/ 0 h 34329"/>
                    <a:gd name="connsiteX1" fmla="*/ 18181 w 18300"/>
                    <a:gd name="connsiteY1" fmla="*/ 179 h 34329"/>
                    <a:gd name="connsiteX2" fmla="*/ 15909 w 18300"/>
                    <a:gd name="connsiteY2" fmla="*/ 4426 h 34329"/>
                    <a:gd name="connsiteX3" fmla="*/ 14593 w 18300"/>
                    <a:gd name="connsiteY3" fmla="*/ 6938 h 34329"/>
                    <a:gd name="connsiteX4" fmla="*/ 10586 w 18300"/>
                    <a:gd name="connsiteY4" fmla="*/ 14473 h 34329"/>
                    <a:gd name="connsiteX5" fmla="*/ 8074 w 18300"/>
                    <a:gd name="connsiteY5" fmla="*/ 19198 h 34329"/>
                    <a:gd name="connsiteX6" fmla="*/ 6459 w 18300"/>
                    <a:gd name="connsiteY6" fmla="*/ 22248 h 34329"/>
                    <a:gd name="connsiteX7" fmla="*/ 4007 w 18300"/>
                    <a:gd name="connsiteY7" fmla="*/ 26794 h 34329"/>
                    <a:gd name="connsiteX8" fmla="*/ 1974 w 18300"/>
                    <a:gd name="connsiteY8" fmla="*/ 30621 h 34329"/>
                    <a:gd name="connsiteX9" fmla="*/ 598 w 18300"/>
                    <a:gd name="connsiteY9" fmla="*/ 33193 h 34329"/>
                    <a:gd name="connsiteX10" fmla="*/ 538 w 18300"/>
                    <a:gd name="connsiteY10" fmla="*/ 33313 h 34329"/>
                    <a:gd name="connsiteX11" fmla="*/ 0 w 18300"/>
                    <a:gd name="connsiteY11" fmla="*/ 34329 h 34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00" h="34329">
                      <a:moveTo>
                        <a:pt x="18301" y="0"/>
                      </a:moveTo>
                      <a:lnTo>
                        <a:pt x="18181" y="179"/>
                      </a:lnTo>
                      <a:lnTo>
                        <a:pt x="15909" y="4426"/>
                      </a:lnTo>
                      <a:lnTo>
                        <a:pt x="14593" y="6938"/>
                      </a:lnTo>
                      <a:lnTo>
                        <a:pt x="10586" y="14473"/>
                      </a:lnTo>
                      <a:lnTo>
                        <a:pt x="8074" y="19198"/>
                      </a:lnTo>
                      <a:lnTo>
                        <a:pt x="6459" y="22248"/>
                      </a:lnTo>
                      <a:lnTo>
                        <a:pt x="4007" y="26794"/>
                      </a:lnTo>
                      <a:lnTo>
                        <a:pt x="1974" y="30621"/>
                      </a:lnTo>
                      <a:lnTo>
                        <a:pt x="598" y="33193"/>
                      </a:lnTo>
                      <a:lnTo>
                        <a:pt x="538" y="33313"/>
                      </a:lnTo>
                      <a:lnTo>
                        <a:pt x="0" y="34329"/>
                      </a:lnTo>
                    </a:path>
                  </a:pathLst>
                </a:custGeom>
                <a:noFill/>
                <a:ln w="6350" cap="rnd">
                  <a:solidFill>
                    <a:schemeClr val="bg1">
                      <a:alpha val="40000"/>
                    </a:schemeClr>
                  </a:solidFill>
                  <a:prstDash val="solid"/>
                  <a:round/>
                </a:ln>
              </p:spPr>
              <p:txBody>
                <a:bodyPr rtlCol="0" anchor="ctr"/>
                <a:lstStyle/>
                <a:p>
                  <a:endParaRPr lang="en-GB"/>
                </a:p>
              </p:txBody>
            </p:sp>
            <p:sp>
              <p:nvSpPr>
                <p:cNvPr id="6881" name="Vrije vorm: vorm 6880">
                  <a:extLst>
                    <a:ext uri="{FF2B5EF4-FFF2-40B4-BE49-F238E27FC236}">
                      <a16:creationId xmlns:a16="http://schemas.microsoft.com/office/drawing/2014/main" id="{FCE85D57-6B92-44E3-B1D2-A19E8D597943}"/>
                    </a:ext>
                  </a:extLst>
                </p:cNvPr>
                <p:cNvSpPr/>
                <p:nvPr/>
              </p:nvSpPr>
              <p:spPr>
                <a:xfrm>
                  <a:off x="6693046" y="1877508"/>
                  <a:ext cx="13516" cy="9389"/>
                </a:xfrm>
                <a:custGeom>
                  <a:avLst/>
                  <a:gdLst>
                    <a:gd name="connsiteX0" fmla="*/ 0 w 13516"/>
                    <a:gd name="connsiteY0" fmla="*/ 0 h 9389"/>
                    <a:gd name="connsiteX1" fmla="*/ 837 w 13516"/>
                    <a:gd name="connsiteY1" fmla="*/ 538 h 9389"/>
                    <a:gd name="connsiteX2" fmla="*/ 7356 w 13516"/>
                    <a:gd name="connsiteY2" fmla="*/ 4785 h 9389"/>
                    <a:gd name="connsiteX3" fmla="*/ 7356 w 13516"/>
                    <a:gd name="connsiteY3" fmla="*/ 4785 h 9389"/>
                    <a:gd name="connsiteX4" fmla="*/ 8732 w 13516"/>
                    <a:gd name="connsiteY4" fmla="*/ 5682 h 9389"/>
                    <a:gd name="connsiteX5" fmla="*/ 11244 w 13516"/>
                    <a:gd name="connsiteY5" fmla="*/ 7296 h 9389"/>
                    <a:gd name="connsiteX6" fmla="*/ 13038 w 13516"/>
                    <a:gd name="connsiteY6" fmla="*/ 8433 h 9389"/>
                    <a:gd name="connsiteX7" fmla="*/ 13516 w 13516"/>
                    <a:gd name="connsiteY7" fmla="*/ 9390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16" h="9389">
                      <a:moveTo>
                        <a:pt x="0" y="0"/>
                      </a:moveTo>
                      <a:lnTo>
                        <a:pt x="837" y="538"/>
                      </a:lnTo>
                      <a:lnTo>
                        <a:pt x="7356" y="4785"/>
                      </a:lnTo>
                      <a:lnTo>
                        <a:pt x="7356" y="4785"/>
                      </a:lnTo>
                      <a:lnTo>
                        <a:pt x="8732" y="5682"/>
                      </a:lnTo>
                      <a:lnTo>
                        <a:pt x="11244" y="7296"/>
                      </a:lnTo>
                      <a:lnTo>
                        <a:pt x="13038" y="8433"/>
                      </a:lnTo>
                      <a:lnTo>
                        <a:pt x="13516" y="9390"/>
                      </a:lnTo>
                    </a:path>
                  </a:pathLst>
                </a:custGeom>
                <a:noFill/>
                <a:ln w="6350" cap="rnd">
                  <a:solidFill>
                    <a:schemeClr val="bg1">
                      <a:alpha val="40000"/>
                    </a:schemeClr>
                  </a:solidFill>
                  <a:prstDash val="solid"/>
                  <a:round/>
                </a:ln>
              </p:spPr>
              <p:txBody>
                <a:bodyPr rtlCol="0" anchor="ctr"/>
                <a:lstStyle/>
                <a:p>
                  <a:endParaRPr lang="en-GB"/>
                </a:p>
              </p:txBody>
            </p:sp>
            <p:sp>
              <p:nvSpPr>
                <p:cNvPr id="6882" name="Vrije vorm: vorm 6881">
                  <a:extLst>
                    <a:ext uri="{FF2B5EF4-FFF2-40B4-BE49-F238E27FC236}">
                      <a16:creationId xmlns:a16="http://schemas.microsoft.com/office/drawing/2014/main" id="{CEA18D6E-D343-42FC-BEFD-1AC45F0807FA}"/>
                    </a:ext>
                  </a:extLst>
                </p:cNvPr>
                <p:cNvSpPr/>
                <p:nvPr/>
              </p:nvSpPr>
              <p:spPr>
                <a:xfrm>
                  <a:off x="6769240" y="1982410"/>
                  <a:ext cx="2870" cy="4844"/>
                </a:xfrm>
                <a:custGeom>
                  <a:avLst/>
                  <a:gdLst>
                    <a:gd name="connsiteX0" fmla="*/ 1375 w 2870"/>
                    <a:gd name="connsiteY0" fmla="*/ 0 h 4844"/>
                    <a:gd name="connsiteX1" fmla="*/ 1375 w 2870"/>
                    <a:gd name="connsiteY1" fmla="*/ 0 h 4844"/>
                    <a:gd name="connsiteX2" fmla="*/ 1734 w 2870"/>
                    <a:gd name="connsiteY2" fmla="*/ 179 h 4844"/>
                    <a:gd name="connsiteX3" fmla="*/ 2871 w 2870"/>
                    <a:gd name="connsiteY3" fmla="*/ 658 h 4844"/>
                    <a:gd name="connsiteX4" fmla="*/ 2691 w 2870"/>
                    <a:gd name="connsiteY4" fmla="*/ 1136 h 4844"/>
                    <a:gd name="connsiteX5" fmla="*/ 2392 w 2870"/>
                    <a:gd name="connsiteY5" fmla="*/ 1854 h 4844"/>
                    <a:gd name="connsiteX6" fmla="*/ 2153 w 2870"/>
                    <a:gd name="connsiteY6" fmla="*/ 2392 h 4844"/>
                    <a:gd name="connsiteX7" fmla="*/ 1495 w 2870"/>
                    <a:gd name="connsiteY7" fmla="*/ 3947 h 4844"/>
                    <a:gd name="connsiteX8" fmla="*/ 1495 w 2870"/>
                    <a:gd name="connsiteY8" fmla="*/ 3947 h 4844"/>
                    <a:gd name="connsiteX9" fmla="*/ 1076 w 2870"/>
                    <a:gd name="connsiteY9" fmla="*/ 4844 h 4844"/>
                    <a:gd name="connsiteX10" fmla="*/ 478 w 2870"/>
                    <a:gd name="connsiteY10" fmla="*/ 4605 h 4844"/>
                    <a:gd name="connsiteX11" fmla="*/ 0 w 2870"/>
                    <a:gd name="connsiteY11" fmla="*/ 4426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70" h="4844">
                      <a:moveTo>
                        <a:pt x="1375" y="0"/>
                      </a:moveTo>
                      <a:lnTo>
                        <a:pt x="1375" y="0"/>
                      </a:lnTo>
                      <a:lnTo>
                        <a:pt x="1734" y="179"/>
                      </a:lnTo>
                      <a:lnTo>
                        <a:pt x="2871" y="658"/>
                      </a:lnTo>
                      <a:lnTo>
                        <a:pt x="2691" y="1136"/>
                      </a:lnTo>
                      <a:lnTo>
                        <a:pt x="2392" y="1854"/>
                      </a:lnTo>
                      <a:lnTo>
                        <a:pt x="2153" y="2392"/>
                      </a:lnTo>
                      <a:lnTo>
                        <a:pt x="1495" y="3947"/>
                      </a:lnTo>
                      <a:lnTo>
                        <a:pt x="1495" y="3947"/>
                      </a:lnTo>
                      <a:lnTo>
                        <a:pt x="1076" y="4844"/>
                      </a:lnTo>
                      <a:lnTo>
                        <a:pt x="478" y="4605"/>
                      </a:lnTo>
                      <a:lnTo>
                        <a:pt x="0" y="4426"/>
                      </a:lnTo>
                    </a:path>
                  </a:pathLst>
                </a:custGeom>
                <a:noFill/>
                <a:ln w="6350" cap="rnd">
                  <a:solidFill>
                    <a:schemeClr val="bg1">
                      <a:alpha val="40000"/>
                    </a:schemeClr>
                  </a:solidFill>
                  <a:prstDash val="solid"/>
                  <a:round/>
                </a:ln>
              </p:spPr>
              <p:txBody>
                <a:bodyPr rtlCol="0" anchor="ctr"/>
                <a:lstStyle/>
                <a:p>
                  <a:endParaRPr lang="en-GB"/>
                </a:p>
              </p:txBody>
            </p:sp>
            <p:sp>
              <p:nvSpPr>
                <p:cNvPr id="6883" name="Vrije vorm: vorm 6882">
                  <a:extLst>
                    <a:ext uri="{FF2B5EF4-FFF2-40B4-BE49-F238E27FC236}">
                      <a16:creationId xmlns:a16="http://schemas.microsoft.com/office/drawing/2014/main" id="{86C01EB9-022E-4DB5-A904-0B09810C3EBA}"/>
                    </a:ext>
                  </a:extLst>
                </p:cNvPr>
                <p:cNvSpPr/>
                <p:nvPr/>
              </p:nvSpPr>
              <p:spPr>
                <a:xfrm>
                  <a:off x="6752434" y="1979121"/>
                  <a:ext cx="358" cy="777"/>
                </a:xfrm>
                <a:custGeom>
                  <a:avLst/>
                  <a:gdLst>
                    <a:gd name="connsiteX0" fmla="*/ 359 w 358"/>
                    <a:gd name="connsiteY0" fmla="*/ 777 h 777"/>
                    <a:gd name="connsiteX1" fmla="*/ 0 w 358"/>
                    <a:gd name="connsiteY1" fmla="*/ 658 h 777"/>
                    <a:gd name="connsiteX2" fmla="*/ 239 w 358"/>
                    <a:gd name="connsiteY2" fmla="*/ 0 h 777"/>
                  </a:gdLst>
                  <a:ahLst/>
                  <a:cxnLst>
                    <a:cxn ang="0">
                      <a:pos x="connsiteX0" y="connsiteY0"/>
                    </a:cxn>
                    <a:cxn ang="0">
                      <a:pos x="connsiteX1" y="connsiteY1"/>
                    </a:cxn>
                    <a:cxn ang="0">
                      <a:pos x="connsiteX2" y="connsiteY2"/>
                    </a:cxn>
                  </a:cxnLst>
                  <a:rect l="l" t="t" r="r" b="b"/>
                  <a:pathLst>
                    <a:path w="358" h="777">
                      <a:moveTo>
                        <a:pt x="359" y="777"/>
                      </a:moveTo>
                      <a:lnTo>
                        <a:pt x="0" y="658"/>
                      </a:lnTo>
                      <a:lnTo>
                        <a:pt x="239" y="0"/>
                      </a:lnTo>
                    </a:path>
                  </a:pathLst>
                </a:custGeom>
                <a:noFill/>
                <a:ln w="6350" cap="rnd">
                  <a:solidFill>
                    <a:schemeClr val="bg1">
                      <a:alpha val="40000"/>
                    </a:schemeClr>
                  </a:solidFill>
                  <a:prstDash val="solid"/>
                  <a:round/>
                </a:ln>
              </p:spPr>
              <p:txBody>
                <a:bodyPr rtlCol="0" anchor="ctr"/>
                <a:lstStyle/>
                <a:p>
                  <a:endParaRPr lang="en-GB"/>
                </a:p>
              </p:txBody>
            </p:sp>
            <p:sp>
              <p:nvSpPr>
                <p:cNvPr id="6884" name="Vrije vorm: vorm 6883">
                  <a:extLst>
                    <a:ext uri="{FF2B5EF4-FFF2-40B4-BE49-F238E27FC236}">
                      <a16:creationId xmlns:a16="http://schemas.microsoft.com/office/drawing/2014/main" id="{E1CC1ECA-BB7A-4D51-B457-6B62F050A7DB}"/>
                    </a:ext>
                  </a:extLst>
                </p:cNvPr>
                <p:cNvSpPr/>
                <p:nvPr/>
              </p:nvSpPr>
              <p:spPr>
                <a:xfrm>
                  <a:off x="6838018" y="2009204"/>
                  <a:ext cx="14772" cy="4545"/>
                </a:xfrm>
                <a:custGeom>
                  <a:avLst/>
                  <a:gdLst>
                    <a:gd name="connsiteX0" fmla="*/ 14772 w 14772"/>
                    <a:gd name="connsiteY0" fmla="*/ 0 h 4545"/>
                    <a:gd name="connsiteX1" fmla="*/ 13277 w 14772"/>
                    <a:gd name="connsiteY1" fmla="*/ 359 h 4545"/>
                    <a:gd name="connsiteX2" fmla="*/ 10047 w 14772"/>
                    <a:gd name="connsiteY2" fmla="*/ 1076 h 4545"/>
                    <a:gd name="connsiteX3" fmla="*/ 9749 w 14772"/>
                    <a:gd name="connsiteY3" fmla="*/ 1136 h 4545"/>
                    <a:gd name="connsiteX4" fmla="*/ 8493 w 14772"/>
                    <a:gd name="connsiteY4" fmla="*/ 1435 h 4545"/>
                    <a:gd name="connsiteX5" fmla="*/ 6998 w 14772"/>
                    <a:gd name="connsiteY5" fmla="*/ 1974 h 4545"/>
                    <a:gd name="connsiteX6" fmla="*/ 0 w 14772"/>
                    <a:gd name="connsiteY6" fmla="*/ 4545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72" h="4545">
                      <a:moveTo>
                        <a:pt x="14772" y="0"/>
                      </a:moveTo>
                      <a:lnTo>
                        <a:pt x="13277" y="359"/>
                      </a:lnTo>
                      <a:lnTo>
                        <a:pt x="10047" y="1076"/>
                      </a:lnTo>
                      <a:lnTo>
                        <a:pt x="9749" y="1136"/>
                      </a:lnTo>
                      <a:lnTo>
                        <a:pt x="8493" y="1435"/>
                      </a:lnTo>
                      <a:lnTo>
                        <a:pt x="6998" y="1974"/>
                      </a:lnTo>
                      <a:lnTo>
                        <a:pt x="0" y="4545"/>
                      </a:lnTo>
                    </a:path>
                  </a:pathLst>
                </a:custGeom>
                <a:noFill/>
                <a:ln w="6350" cap="rnd">
                  <a:solidFill>
                    <a:schemeClr val="bg1">
                      <a:alpha val="40000"/>
                    </a:schemeClr>
                  </a:solidFill>
                  <a:prstDash val="solid"/>
                  <a:round/>
                </a:ln>
              </p:spPr>
              <p:txBody>
                <a:bodyPr rtlCol="0" anchor="ctr"/>
                <a:lstStyle/>
                <a:p>
                  <a:endParaRPr lang="en-GB"/>
                </a:p>
              </p:txBody>
            </p:sp>
            <p:sp>
              <p:nvSpPr>
                <p:cNvPr id="6885" name="Vrije vorm: vorm 6884">
                  <a:extLst>
                    <a:ext uri="{FF2B5EF4-FFF2-40B4-BE49-F238E27FC236}">
                      <a16:creationId xmlns:a16="http://schemas.microsoft.com/office/drawing/2014/main" id="{F3879EBC-1BB6-4C83-A61C-AAE8919AE6CA}"/>
                    </a:ext>
                  </a:extLst>
                </p:cNvPr>
                <p:cNvSpPr/>
                <p:nvPr/>
              </p:nvSpPr>
              <p:spPr>
                <a:xfrm>
                  <a:off x="6830841" y="1799579"/>
                  <a:ext cx="15788" cy="8672"/>
                </a:xfrm>
                <a:custGeom>
                  <a:avLst/>
                  <a:gdLst>
                    <a:gd name="connsiteX0" fmla="*/ 0 w 15788"/>
                    <a:gd name="connsiteY0" fmla="*/ 8672 h 8672"/>
                    <a:gd name="connsiteX1" fmla="*/ 5980 w 15788"/>
                    <a:gd name="connsiteY1" fmla="*/ 4067 h 8672"/>
                    <a:gd name="connsiteX2" fmla="*/ 14354 w 15788"/>
                    <a:gd name="connsiteY2" fmla="*/ 299 h 8672"/>
                    <a:gd name="connsiteX3" fmla="*/ 15789 w 15788"/>
                    <a:gd name="connsiteY3" fmla="*/ 0 h 8672"/>
                  </a:gdLst>
                  <a:ahLst/>
                  <a:cxnLst>
                    <a:cxn ang="0">
                      <a:pos x="connsiteX0" y="connsiteY0"/>
                    </a:cxn>
                    <a:cxn ang="0">
                      <a:pos x="connsiteX1" y="connsiteY1"/>
                    </a:cxn>
                    <a:cxn ang="0">
                      <a:pos x="connsiteX2" y="connsiteY2"/>
                    </a:cxn>
                    <a:cxn ang="0">
                      <a:pos x="connsiteX3" y="connsiteY3"/>
                    </a:cxn>
                  </a:cxnLst>
                  <a:rect l="l" t="t" r="r" b="b"/>
                  <a:pathLst>
                    <a:path w="15788" h="8672">
                      <a:moveTo>
                        <a:pt x="0" y="8672"/>
                      </a:moveTo>
                      <a:lnTo>
                        <a:pt x="5980" y="4067"/>
                      </a:lnTo>
                      <a:lnTo>
                        <a:pt x="14354" y="299"/>
                      </a:lnTo>
                      <a:lnTo>
                        <a:pt x="15789" y="0"/>
                      </a:lnTo>
                    </a:path>
                  </a:pathLst>
                </a:custGeom>
                <a:noFill/>
                <a:ln w="6350" cap="rnd">
                  <a:solidFill>
                    <a:schemeClr val="bg1">
                      <a:alpha val="40000"/>
                    </a:schemeClr>
                  </a:solidFill>
                  <a:prstDash val="solid"/>
                  <a:round/>
                </a:ln>
              </p:spPr>
              <p:txBody>
                <a:bodyPr rtlCol="0" anchor="ctr"/>
                <a:lstStyle/>
                <a:p>
                  <a:endParaRPr lang="en-GB"/>
                </a:p>
              </p:txBody>
            </p:sp>
            <p:sp>
              <p:nvSpPr>
                <p:cNvPr id="6886" name="Vrije vorm: vorm 6885">
                  <a:extLst>
                    <a:ext uri="{FF2B5EF4-FFF2-40B4-BE49-F238E27FC236}">
                      <a16:creationId xmlns:a16="http://schemas.microsoft.com/office/drawing/2014/main" id="{C8A427C8-65BE-48BC-AF93-FAB9DB05D205}"/>
                    </a:ext>
                  </a:extLst>
                </p:cNvPr>
                <p:cNvSpPr/>
                <p:nvPr/>
              </p:nvSpPr>
              <p:spPr>
                <a:xfrm>
                  <a:off x="6863676" y="1722309"/>
                  <a:ext cx="67163" cy="70512"/>
                </a:xfrm>
                <a:custGeom>
                  <a:avLst/>
                  <a:gdLst>
                    <a:gd name="connsiteX0" fmla="*/ 0 w 67163"/>
                    <a:gd name="connsiteY0" fmla="*/ 70513 h 70512"/>
                    <a:gd name="connsiteX1" fmla="*/ 15250 w 67163"/>
                    <a:gd name="connsiteY1" fmla="*/ 51075 h 70512"/>
                    <a:gd name="connsiteX2" fmla="*/ 32415 w 67163"/>
                    <a:gd name="connsiteY2" fmla="*/ 32595 h 70512"/>
                    <a:gd name="connsiteX3" fmla="*/ 50118 w 67163"/>
                    <a:gd name="connsiteY3" fmla="*/ 15430 h 70512"/>
                    <a:gd name="connsiteX4" fmla="*/ 50297 w 67163"/>
                    <a:gd name="connsiteY4" fmla="*/ 15251 h 70512"/>
                    <a:gd name="connsiteX5" fmla="*/ 64951 w 67163"/>
                    <a:gd name="connsiteY5" fmla="*/ 1974 h 70512"/>
                    <a:gd name="connsiteX6" fmla="*/ 67163 w 67163"/>
                    <a:gd name="connsiteY6" fmla="*/ 0 h 7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63" h="70512">
                      <a:moveTo>
                        <a:pt x="0" y="70513"/>
                      </a:moveTo>
                      <a:lnTo>
                        <a:pt x="15250" y="51075"/>
                      </a:lnTo>
                      <a:lnTo>
                        <a:pt x="32415" y="32595"/>
                      </a:lnTo>
                      <a:lnTo>
                        <a:pt x="50118" y="15430"/>
                      </a:lnTo>
                      <a:lnTo>
                        <a:pt x="50297" y="15251"/>
                      </a:lnTo>
                      <a:lnTo>
                        <a:pt x="64951" y="1974"/>
                      </a:lnTo>
                      <a:lnTo>
                        <a:pt x="67163" y="0"/>
                      </a:lnTo>
                    </a:path>
                  </a:pathLst>
                </a:custGeom>
                <a:noFill/>
                <a:ln w="6350" cap="rnd">
                  <a:solidFill>
                    <a:schemeClr val="bg1">
                      <a:alpha val="40000"/>
                    </a:schemeClr>
                  </a:solidFill>
                  <a:prstDash val="solid"/>
                  <a:round/>
                </a:ln>
              </p:spPr>
              <p:txBody>
                <a:bodyPr rtlCol="0" anchor="ctr"/>
                <a:lstStyle/>
                <a:p>
                  <a:endParaRPr lang="en-GB"/>
                </a:p>
              </p:txBody>
            </p:sp>
            <p:sp>
              <p:nvSpPr>
                <p:cNvPr id="6887" name="Vrije vorm: vorm 6886">
                  <a:extLst>
                    <a:ext uri="{FF2B5EF4-FFF2-40B4-BE49-F238E27FC236}">
                      <a16:creationId xmlns:a16="http://schemas.microsoft.com/office/drawing/2014/main" id="{026261B5-4F48-4986-934E-D2A4EEB0DB14}"/>
                    </a:ext>
                  </a:extLst>
                </p:cNvPr>
                <p:cNvSpPr/>
                <p:nvPr/>
              </p:nvSpPr>
              <p:spPr>
                <a:xfrm>
                  <a:off x="6617628" y="1935461"/>
                  <a:ext cx="9270" cy="4246"/>
                </a:xfrm>
                <a:custGeom>
                  <a:avLst/>
                  <a:gdLst>
                    <a:gd name="connsiteX0" fmla="*/ 9270 w 9270"/>
                    <a:gd name="connsiteY0" fmla="*/ 0 h 4246"/>
                    <a:gd name="connsiteX1" fmla="*/ 6519 w 9270"/>
                    <a:gd name="connsiteY1" fmla="*/ 1076 h 4246"/>
                    <a:gd name="connsiteX2" fmla="*/ 4725 w 9270"/>
                    <a:gd name="connsiteY2" fmla="*/ 1734 h 4246"/>
                    <a:gd name="connsiteX3" fmla="*/ 1316 w 9270"/>
                    <a:gd name="connsiteY3" fmla="*/ 3529 h 4246"/>
                    <a:gd name="connsiteX4" fmla="*/ 0 w 9270"/>
                    <a:gd name="connsiteY4" fmla="*/ 4246 h 4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0" h="4246">
                      <a:moveTo>
                        <a:pt x="9270" y="0"/>
                      </a:moveTo>
                      <a:lnTo>
                        <a:pt x="6519" y="1076"/>
                      </a:lnTo>
                      <a:lnTo>
                        <a:pt x="4725" y="1734"/>
                      </a:lnTo>
                      <a:lnTo>
                        <a:pt x="1316" y="3529"/>
                      </a:lnTo>
                      <a:lnTo>
                        <a:pt x="0" y="4246"/>
                      </a:lnTo>
                    </a:path>
                  </a:pathLst>
                </a:custGeom>
                <a:noFill/>
                <a:ln w="6350" cap="rnd">
                  <a:solidFill>
                    <a:schemeClr val="bg1">
                      <a:alpha val="40000"/>
                    </a:schemeClr>
                  </a:solidFill>
                  <a:prstDash val="solid"/>
                  <a:round/>
                </a:ln>
              </p:spPr>
              <p:txBody>
                <a:bodyPr rtlCol="0" anchor="ctr"/>
                <a:lstStyle/>
                <a:p>
                  <a:endParaRPr lang="en-GB"/>
                </a:p>
              </p:txBody>
            </p:sp>
            <p:sp>
              <p:nvSpPr>
                <p:cNvPr id="6888" name="Vrije vorm: vorm 6887">
                  <a:extLst>
                    <a:ext uri="{FF2B5EF4-FFF2-40B4-BE49-F238E27FC236}">
                      <a16:creationId xmlns:a16="http://schemas.microsoft.com/office/drawing/2014/main" id="{0A7C177E-616E-4F81-918B-749CBA043AE3}"/>
                    </a:ext>
                  </a:extLst>
                </p:cNvPr>
                <p:cNvSpPr/>
                <p:nvPr/>
              </p:nvSpPr>
              <p:spPr>
                <a:xfrm>
                  <a:off x="6786345" y="1976728"/>
                  <a:ext cx="3050" cy="1255"/>
                </a:xfrm>
                <a:custGeom>
                  <a:avLst/>
                  <a:gdLst>
                    <a:gd name="connsiteX0" fmla="*/ 3050 w 3050"/>
                    <a:gd name="connsiteY0" fmla="*/ 0 h 1255"/>
                    <a:gd name="connsiteX1" fmla="*/ 2930 w 3050"/>
                    <a:gd name="connsiteY1" fmla="*/ 60 h 1255"/>
                    <a:gd name="connsiteX2" fmla="*/ 180 w 3050"/>
                    <a:gd name="connsiteY2" fmla="*/ 1196 h 1255"/>
                    <a:gd name="connsiteX3" fmla="*/ 0 w 3050"/>
                    <a:gd name="connsiteY3" fmla="*/ 1256 h 1255"/>
                  </a:gdLst>
                  <a:ahLst/>
                  <a:cxnLst>
                    <a:cxn ang="0">
                      <a:pos x="connsiteX0" y="connsiteY0"/>
                    </a:cxn>
                    <a:cxn ang="0">
                      <a:pos x="connsiteX1" y="connsiteY1"/>
                    </a:cxn>
                    <a:cxn ang="0">
                      <a:pos x="connsiteX2" y="connsiteY2"/>
                    </a:cxn>
                    <a:cxn ang="0">
                      <a:pos x="connsiteX3" y="connsiteY3"/>
                    </a:cxn>
                  </a:cxnLst>
                  <a:rect l="l" t="t" r="r" b="b"/>
                  <a:pathLst>
                    <a:path w="3050" h="1255">
                      <a:moveTo>
                        <a:pt x="3050" y="0"/>
                      </a:moveTo>
                      <a:lnTo>
                        <a:pt x="2930" y="60"/>
                      </a:lnTo>
                      <a:lnTo>
                        <a:pt x="180" y="1196"/>
                      </a:lnTo>
                      <a:lnTo>
                        <a:pt x="0" y="1256"/>
                      </a:lnTo>
                    </a:path>
                  </a:pathLst>
                </a:custGeom>
                <a:noFill/>
                <a:ln w="6350" cap="rnd">
                  <a:solidFill>
                    <a:schemeClr val="bg1">
                      <a:alpha val="40000"/>
                    </a:schemeClr>
                  </a:solidFill>
                  <a:prstDash val="solid"/>
                  <a:round/>
                </a:ln>
              </p:spPr>
              <p:txBody>
                <a:bodyPr rtlCol="0" anchor="ctr"/>
                <a:lstStyle/>
                <a:p>
                  <a:endParaRPr lang="en-GB"/>
                </a:p>
              </p:txBody>
            </p:sp>
            <p:sp>
              <p:nvSpPr>
                <p:cNvPr id="6889" name="Vrije vorm: vorm 6888">
                  <a:extLst>
                    <a:ext uri="{FF2B5EF4-FFF2-40B4-BE49-F238E27FC236}">
                      <a16:creationId xmlns:a16="http://schemas.microsoft.com/office/drawing/2014/main" id="{F135326F-B1DA-4DEA-9491-B3791BE662EC}"/>
                    </a:ext>
                  </a:extLst>
                </p:cNvPr>
                <p:cNvSpPr/>
                <p:nvPr/>
              </p:nvSpPr>
              <p:spPr>
                <a:xfrm>
                  <a:off x="6899919" y="1817163"/>
                  <a:ext cx="2392" cy="1375"/>
                </a:xfrm>
                <a:custGeom>
                  <a:avLst/>
                  <a:gdLst>
                    <a:gd name="connsiteX0" fmla="*/ 2392 w 2392"/>
                    <a:gd name="connsiteY0" fmla="*/ 1376 h 1375"/>
                    <a:gd name="connsiteX1" fmla="*/ 1854 w 2392"/>
                    <a:gd name="connsiteY1" fmla="*/ 1076 h 1375"/>
                    <a:gd name="connsiteX2" fmla="*/ 1854 w 2392"/>
                    <a:gd name="connsiteY2" fmla="*/ 1076 h 1375"/>
                    <a:gd name="connsiteX3" fmla="*/ 1735 w 2392"/>
                    <a:gd name="connsiteY3" fmla="*/ 1017 h 1375"/>
                    <a:gd name="connsiteX4" fmla="*/ 0 w 2392"/>
                    <a:gd name="connsiteY4" fmla="*/ 0 h 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2" h="1375">
                      <a:moveTo>
                        <a:pt x="2392" y="1376"/>
                      </a:moveTo>
                      <a:lnTo>
                        <a:pt x="1854" y="1076"/>
                      </a:lnTo>
                      <a:lnTo>
                        <a:pt x="1854" y="1076"/>
                      </a:lnTo>
                      <a:lnTo>
                        <a:pt x="1735" y="101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90" name="Vrije vorm: vorm 6889">
                  <a:extLst>
                    <a:ext uri="{FF2B5EF4-FFF2-40B4-BE49-F238E27FC236}">
                      <a16:creationId xmlns:a16="http://schemas.microsoft.com/office/drawing/2014/main" id="{72A33659-46A4-44DE-B6EF-BA83EABB1A09}"/>
                    </a:ext>
                  </a:extLst>
                </p:cNvPr>
                <p:cNvSpPr/>
                <p:nvPr/>
              </p:nvSpPr>
              <p:spPr>
                <a:xfrm>
                  <a:off x="6849800" y="1798383"/>
                  <a:ext cx="3349" cy="657"/>
                </a:xfrm>
                <a:custGeom>
                  <a:avLst/>
                  <a:gdLst>
                    <a:gd name="connsiteX0" fmla="*/ 0 w 3349"/>
                    <a:gd name="connsiteY0" fmla="*/ 658 h 657"/>
                    <a:gd name="connsiteX1" fmla="*/ 2811 w 3349"/>
                    <a:gd name="connsiteY1" fmla="*/ 120 h 657"/>
                    <a:gd name="connsiteX2" fmla="*/ 3350 w 3349"/>
                    <a:gd name="connsiteY2" fmla="*/ 0 h 657"/>
                  </a:gdLst>
                  <a:ahLst/>
                  <a:cxnLst>
                    <a:cxn ang="0">
                      <a:pos x="connsiteX0" y="connsiteY0"/>
                    </a:cxn>
                    <a:cxn ang="0">
                      <a:pos x="connsiteX1" y="connsiteY1"/>
                    </a:cxn>
                    <a:cxn ang="0">
                      <a:pos x="connsiteX2" y="connsiteY2"/>
                    </a:cxn>
                  </a:cxnLst>
                  <a:rect l="l" t="t" r="r" b="b"/>
                  <a:pathLst>
                    <a:path w="3349" h="657">
                      <a:moveTo>
                        <a:pt x="0" y="658"/>
                      </a:moveTo>
                      <a:lnTo>
                        <a:pt x="2811" y="120"/>
                      </a:lnTo>
                      <a:lnTo>
                        <a:pt x="3350" y="0"/>
                      </a:lnTo>
                    </a:path>
                  </a:pathLst>
                </a:custGeom>
                <a:noFill/>
                <a:ln w="6350" cap="rnd">
                  <a:solidFill>
                    <a:schemeClr val="bg1">
                      <a:alpha val="40000"/>
                    </a:schemeClr>
                  </a:solidFill>
                  <a:prstDash val="solid"/>
                  <a:round/>
                </a:ln>
              </p:spPr>
              <p:txBody>
                <a:bodyPr rtlCol="0" anchor="ctr"/>
                <a:lstStyle/>
                <a:p>
                  <a:endParaRPr lang="en-GB"/>
                </a:p>
              </p:txBody>
            </p:sp>
            <p:sp>
              <p:nvSpPr>
                <p:cNvPr id="6891" name="Vrije vorm: vorm 6890">
                  <a:extLst>
                    <a:ext uri="{FF2B5EF4-FFF2-40B4-BE49-F238E27FC236}">
                      <a16:creationId xmlns:a16="http://schemas.microsoft.com/office/drawing/2014/main" id="{FE5A8440-B5DC-4310-8F30-F70DDF849F10}"/>
                    </a:ext>
                  </a:extLst>
                </p:cNvPr>
                <p:cNvSpPr/>
                <p:nvPr/>
              </p:nvSpPr>
              <p:spPr>
                <a:xfrm>
                  <a:off x="6772230" y="1984503"/>
                  <a:ext cx="1196" cy="2511"/>
                </a:xfrm>
                <a:custGeom>
                  <a:avLst/>
                  <a:gdLst>
                    <a:gd name="connsiteX0" fmla="*/ 1196 w 1196"/>
                    <a:gd name="connsiteY0" fmla="*/ 0 h 2511"/>
                    <a:gd name="connsiteX1" fmla="*/ 1017 w 1196"/>
                    <a:gd name="connsiteY1" fmla="*/ 1555 h 2511"/>
                    <a:gd name="connsiteX2" fmla="*/ 0 w 1196"/>
                    <a:gd name="connsiteY2" fmla="*/ 2512 h 2511"/>
                  </a:gdLst>
                  <a:ahLst/>
                  <a:cxnLst>
                    <a:cxn ang="0">
                      <a:pos x="connsiteX0" y="connsiteY0"/>
                    </a:cxn>
                    <a:cxn ang="0">
                      <a:pos x="connsiteX1" y="connsiteY1"/>
                    </a:cxn>
                    <a:cxn ang="0">
                      <a:pos x="connsiteX2" y="connsiteY2"/>
                    </a:cxn>
                  </a:cxnLst>
                  <a:rect l="l" t="t" r="r" b="b"/>
                  <a:pathLst>
                    <a:path w="1196" h="2511">
                      <a:moveTo>
                        <a:pt x="1196" y="0"/>
                      </a:moveTo>
                      <a:lnTo>
                        <a:pt x="1017" y="1555"/>
                      </a:lnTo>
                      <a:lnTo>
                        <a:pt x="0" y="2512"/>
                      </a:lnTo>
                    </a:path>
                  </a:pathLst>
                </a:custGeom>
                <a:noFill/>
                <a:ln w="6350" cap="rnd">
                  <a:solidFill>
                    <a:schemeClr val="bg1">
                      <a:alpha val="40000"/>
                    </a:schemeClr>
                  </a:solidFill>
                  <a:prstDash val="solid"/>
                  <a:round/>
                </a:ln>
              </p:spPr>
              <p:txBody>
                <a:bodyPr rtlCol="0" anchor="ctr"/>
                <a:lstStyle/>
                <a:p>
                  <a:endParaRPr lang="en-GB"/>
                </a:p>
              </p:txBody>
            </p:sp>
            <p:sp>
              <p:nvSpPr>
                <p:cNvPr id="6892" name="Vrije vorm: vorm 6891">
                  <a:extLst>
                    <a:ext uri="{FF2B5EF4-FFF2-40B4-BE49-F238E27FC236}">
                      <a16:creationId xmlns:a16="http://schemas.microsoft.com/office/drawing/2014/main" id="{D14B871D-4074-492E-8C06-ABCCFB7EB614}"/>
                    </a:ext>
                  </a:extLst>
                </p:cNvPr>
                <p:cNvSpPr/>
                <p:nvPr/>
              </p:nvSpPr>
              <p:spPr>
                <a:xfrm>
                  <a:off x="7015467" y="1989527"/>
                  <a:ext cx="1375" cy="59"/>
                </a:xfrm>
                <a:custGeom>
                  <a:avLst/>
                  <a:gdLst>
                    <a:gd name="connsiteX0" fmla="*/ 1375 w 1375"/>
                    <a:gd name="connsiteY0" fmla="*/ 60 h 59"/>
                    <a:gd name="connsiteX1" fmla="*/ 956 w 1375"/>
                    <a:gd name="connsiteY1" fmla="*/ 60 h 59"/>
                    <a:gd name="connsiteX2" fmla="*/ 59 w 1375"/>
                    <a:gd name="connsiteY2" fmla="*/ 0 h 59"/>
                    <a:gd name="connsiteX3" fmla="*/ 0 w 1375"/>
                    <a:gd name="connsiteY3" fmla="*/ 0 h 59"/>
                  </a:gdLst>
                  <a:ahLst/>
                  <a:cxnLst>
                    <a:cxn ang="0">
                      <a:pos x="connsiteX0" y="connsiteY0"/>
                    </a:cxn>
                    <a:cxn ang="0">
                      <a:pos x="connsiteX1" y="connsiteY1"/>
                    </a:cxn>
                    <a:cxn ang="0">
                      <a:pos x="connsiteX2" y="connsiteY2"/>
                    </a:cxn>
                    <a:cxn ang="0">
                      <a:pos x="connsiteX3" y="connsiteY3"/>
                    </a:cxn>
                  </a:cxnLst>
                  <a:rect l="l" t="t" r="r" b="b"/>
                  <a:pathLst>
                    <a:path w="1375" h="59">
                      <a:moveTo>
                        <a:pt x="1375" y="60"/>
                      </a:moveTo>
                      <a:lnTo>
                        <a:pt x="956" y="60"/>
                      </a:lnTo>
                      <a:lnTo>
                        <a:pt x="59" y="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93" name="Vrije vorm: vorm 6892">
                  <a:extLst>
                    <a:ext uri="{FF2B5EF4-FFF2-40B4-BE49-F238E27FC236}">
                      <a16:creationId xmlns:a16="http://schemas.microsoft.com/office/drawing/2014/main" id="{B2C2A2B8-5D3F-4D5F-BA52-8B946DB5FBE7}"/>
                    </a:ext>
                  </a:extLst>
                </p:cNvPr>
                <p:cNvSpPr/>
                <p:nvPr/>
              </p:nvSpPr>
              <p:spPr>
                <a:xfrm>
                  <a:off x="7010981" y="1952327"/>
                  <a:ext cx="3767" cy="2810"/>
                </a:xfrm>
                <a:custGeom>
                  <a:avLst/>
                  <a:gdLst>
                    <a:gd name="connsiteX0" fmla="*/ 3767 w 3767"/>
                    <a:gd name="connsiteY0" fmla="*/ 2811 h 2810"/>
                    <a:gd name="connsiteX1" fmla="*/ 59 w 3767"/>
                    <a:gd name="connsiteY1" fmla="*/ 1854 h 2810"/>
                    <a:gd name="connsiteX2" fmla="*/ 0 w 3767"/>
                    <a:gd name="connsiteY2" fmla="*/ 0 h 2810"/>
                  </a:gdLst>
                  <a:ahLst/>
                  <a:cxnLst>
                    <a:cxn ang="0">
                      <a:pos x="connsiteX0" y="connsiteY0"/>
                    </a:cxn>
                    <a:cxn ang="0">
                      <a:pos x="connsiteX1" y="connsiteY1"/>
                    </a:cxn>
                    <a:cxn ang="0">
                      <a:pos x="connsiteX2" y="connsiteY2"/>
                    </a:cxn>
                  </a:cxnLst>
                  <a:rect l="l" t="t" r="r" b="b"/>
                  <a:pathLst>
                    <a:path w="3767" h="2810">
                      <a:moveTo>
                        <a:pt x="3767" y="2811"/>
                      </a:moveTo>
                      <a:lnTo>
                        <a:pt x="59" y="1854"/>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94" name="Vrije vorm: vorm 6893">
                  <a:extLst>
                    <a:ext uri="{FF2B5EF4-FFF2-40B4-BE49-F238E27FC236}">
                      <a16:creationId xmlns:a16="http://schemas.microsoft.com/office/drawing/2014/main" id="{8690E964-AF4F-4A53-8207-21C91360DEC8}"/>
                    </a:ext>
                  </a:extLst>
                </p:cNvPr>
                <p:cNvSpPr/>
                <p:nvPr/>
              </p:nvSpPr>
              <p:spPr>
                <a:xfrm>
                  <a:off x="6820076" y="2089824"/>
                  <a:ext cx="3827" cy="119"/>
                </a:xfrm>
                <a:custGeom>
                  <a:avLst/>
                  <a:gdLst>
                    <a:gd name="connsiteX0" fmla="*/ 0 w 3827"/>
                    <a:gd name="connsiteY0" fmla="*/ 120 h 119"/>
                    <a:gd name="connsiteX1" fmla="*/ 119 w 3827"/>
                    <a:gd name="connsiteY1" fmla="*/ 120 h 119"/>
                    <a:gd name="connsiteX2" fmla="*/ 3828 w 3827"/>
                    <a:gd name="connsiteY2" fmla="*/ 0 h 119"/>
                  </a:gdLst>
                  <a:ahLst/>
                  <a:cxnLst>
                    <a:cxn ang="0">
                      <a:pos x="connsiteX0" y="connsiteY0"/>
                    </a:cxn>
                    <a:cxn ang="0">
                      <a:pos x="connsiteX1" y="connsiteY1"/>
                    </a:cxn>
                    <a:cxn ang="0">
                      <a:pos x="connsiteX2" y="connsiteY2"/>
                    </a:cxn>
                  </a:cxnLst>
                  <a:rect l="l" t="t" r="r" b="b"/>
                  <a:pathLst>
                    <a:path w="3827" h="119">
                      <a:moveTo>
                        <a:pt x="0" y="120"/>
                      </a:moveTo>
                      <a:lnTo>
                        <a:pt x="119" y="120"/>
                      </a:lnTo>
                      <a:lnTo>
                        <a:pt x="3828" y="0"/>
                      </a:lnTo>
                    </a:path>
                  </a:pathLst>
                </a:custGeom>
                <a:noFill/>
                <a:ln w="6350" cap="rnd">
                  <a:solidFill>
                    <a:schemeClr val="bg1">
                      <a:alpha val="40000"/>
                    </a:schemeClr>
                  </a:solidFill>
                  <a:prstDash val="solid"/>
                  <a:round/>
                </a:ln>
              </p:spPr>
              <p:txBody>
                <a:bodyPr rtlCol="0" anchor="ctr"/>
                <a:lstStyle/>
                <a:p>
                  <a:endParaRPr lang="en-GB"/>
                </a:p>
              </p:txBody>
            </p:sp>
            <p:sp>
              <p:nvSpPr>
                <p:cNvPr id="6895" name="Vrije vorm: vorm 6894">
                  <a:extLst>
                    <a:ext uri="{FF2B5EF4-FFF2-40B4-BE49-F238E27FC236}">
                      <a16:creationId xmlns:a16="http://schemas.microsoft.com/office/drawing/2014/main" id="{818B2C47-7E06-4FD4-8077-E8CA828E96AD}"/>
                    </a:ext>
                  </a:extLst>
                </p:cNvPr>
                <p:cNvSpPr/>
                <p:nvPr/>
              </p:nvSpPr>
              <p:spPr>
                <a:xfrm>
                  <a:off x="6777792" y="2002745"/>
                  <a:ext cx="5562" cy="3588"/>
                </a:xfrm>
                <a:custGeom>
                  <a:avLst/>
                  <a:gdLst>
                    <a:gd name="connsiteX0" fmla="*/ 5562 w 5562"/>
                    <a:gd name="connsiteY0" fmla="*/ 3588 h 3588"/>
                    <a:gd name="connsiteX1" fmla="*/ 2632 w 5562"/>
                    <a:gd name="connsiteY1" fmla="*/ 2033 h 3588"/>
                    <a:gd name="connsiteX2" fmla="*/ 0 w 5562"/>
                    <a:gd name="connsiteY2" fmla="*/ 0 h 3588"/>
                  </a:gdLst>
                  <a:ahLst/>
                  <a:cxnLst>
                    <a:cxn ang="0">
                      <a:pos x="connsiteX0" y="connsiteY0"/>
                    </a:cxn>
                    <a:cxn ang="0">
                      <a:pos x="connsiteX1" y="connsiteY1"/>
                    </a:cxn>
                    <a:cxn ang="0">
                      <a:pos x="connsiteX2" y="connsiteY2"/>
                    </a:cxn>
                  </a:cxnLst>
                  <a:rect l="l" t="t" r="r" b="b"/>
                  <a:pathLst>
                    <a:path w="5562" h="3588">
                      <a:moveTo>
                        <a:pt x="5562" y="3588"/>
                      </a:moveTo>
                      <a:lnTo>
                        <a:pt x="2632" y="2033"/>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96" name="Vrije vorm: vorm 6895">
                  <a:extLst>
                    <a:ext uri="{FF2B5EF4-FFF2-40B4-BE49-F238E27FC236}">
                      <a16:creationId xmlns:a16="http://schemas.microsoft.com/office/drawing/2014/main" id="{246374A1-1B5E-4392-900E-B26CD3701BDD}"/>
                    </a:ext>
                  </a:extLst>
                </p:cNvPr>
                <p:cNvSpPr/>
                <p:nvPr/>
              </p:nvSpPr>
              <p:spPr>
                <a:xfrm>
                  <a:off x="6822049" y="2024694"/>
                  <a:ext cx="3050" cy="777"/>
                </a:xfrm>
                <a:custGeom>
                  <a:avLst/>
                  <a:gdLst>
                    <a:gd name="connsiteX0" fmla="*/ 3050 w 3050"/>
                    <a:gd name="connsiteY0" fmla="*/ 778 h 777"/>
                    <a:gd name="connsiteX1" fmla="*/ 0 w 3050"/>
                    <a:gd name="connsiteY1" fmla="*/ 0 h 777"/>
                  </a:gdLst>
                  <a:ahLst/>
                  <a:cxnLst>
                    <a:cxn ang="0">
                      <a:pos x="connsiteX0" y="connsiteY0"/>
                    </a:cxn>
                    <a:cxn ang="0">
                      <a:pos x="connsiteX1" y="connsiteY1"/>
                    </a:cxn>
                  </a:cxnLst>
                  <a:rect l="l" t="t" r="r" b="b"/>
                  <a:pathLst>
                    <a:path w="3050" h="777">
                      <a:moveTo>
                        <a:pt x="3050" y="778"/>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97" name="Vrije vorm: vorm 6896">
                  <a:extLst>
                    <a:ext uri="{FF2B5EF4-FFF2-40B4-BE49-F238E27FC236}">
                      <a16:creationId xmlns:a16="http://schemas.microsoft.com/office/drawing/2014/main" id="{1D07E80F-9722-4ACD-ABF9-771B2153D9DA}"/>
                    </a:ext>
                  </a:extLst>
                </p:cNvPr>
                <p:cNvSpPr/>
                <p:nvPr/>
              </p:nvSpPr>
              <p:spPr>
                <a:xfrm>
                  <a:off x="6836343" y="1998498"/>
                  <a:ext cx="3229" cy="717"/>
                </a:xfrm>
                <a:custGeom>
                  <a:avLst/>
                  <a:gdLst>
                    <a:gd name="connsiteX0" fmla="*/ 3230 w 3229"/>
                    <a:gd name="connsiteY0" fmla="*/ 718 h 717"/>
                    <a:gd name="connsiteX1" fmla="*/ 2692 w 3229"/>
                    <a:gd name="connsiteY1" fmla="*/ 598 h 717"/>
                    <a:gd name="connsiteX2" fmla="*/ 2572 w 3229"/>
                    <a:gd name="connsiteY2" fmla="*/ 598 h 717"/>
                    <a:gd name="connsiteX3" fmla="*/ 0 w 3229"/>
                    <a:gd name="connsiteY3" fmla="*/ 0 h 717"/>
                  </a:gdLst>
                  <a:ahLst/>
                  <a:cxnLst>
                    <a:cxn ang="0">
                      <a:pos x="connsiteX0" y="connsiteY0"/>
                    </a:cxn>
                    <a:cxn ang="0">
                      <a:pos x="connsiteX1" y="connsiteY1"/>
                    </a:cxn>
                    <a:cxn ang="0">
                      <a:pos x="connsiteX2" y="connsiteY2"/>
                    </a:cxn>
                    <a:cxn ang="0">
                      <a:pos x="connsiteX3" y="connsiteY3"/>
                    </a:cxn>
                  </a:cxnLst>
                  <a:rect l="l" t="t" r="r" b="b"/>
                  <a:pathLst>
                    <a:path w="3229" h="717">
                      <a:moveTo>
                        <a:pt x="3230" y="718"/>
                      </a:moveTo>
                      <a:lnTo>
                        <a:pt x="2692" y="598"/>
                      </a:lnTo>
                      <a:lnTo>
                        <a:pt x="2572" y="59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98" name="Vrije vorm: vorm 6897">
                  <a:extLst>
                    <a:ext uri="{FF2B5EF4-FFF2-40B4-BE49-F238E27FC236}">
                      <a16:creationId xmlns:a16="http://schemas.microsoft.com/office/drawing/2014/main" id="{41A5D1E7-C32F-4A41-859B-0093C213BB59}"/>
                    </a:ext>
                  </a:extLst>
                </p:cNvPr>
                <p:cNvSpPr/>
                <p:nvPr/>
              </p:nvSpPr>
              <p:spPr>
                <a:xfrm>
                  <a:off x="6989689" y="1973260"/>
                  <a:ext cx="6518" cy="6818"/>
                </a:xfrm>
                <a:custGeom>
                  <a:avLst/>
                  <a:gdLst>
                    <a:gd name="connsiteX0" fmla="*/ 6519 w 6518"/>
                    <a:gd name="connsiteY0" fmla="*/ 5442 h 6818"/>
                    <a:gd name="connsiteX1" fmla="*/ 3648 w 6518"/>
                    <a:gd name="connsiteY1" fmla="*/ 6818 h 6818"/>
                    <a:gd name="connsiteX2" fmla="*/ 3350 w 6518"/>
                    <a:gd name="connsiteY2" fmla="*/ 6758 h 6818"/>
                    <a:gd name="connsiteX3" fmla="*/ 1256 w 6518"/>
                    <a:gd name="connsiteY3" fmla="*/ 6280 h 6818"/>
                    <a:gd name="connsiteX4" fmla="*/ 0 w 6518"/>
                    <a:gd name="connsiteY4" fmla="*/ 5981 h 6818"/>
                    <a:gd name="connsiteX5" fmla="*/ 0 w 6518"/>
                    <a:gd name="connsiteY5" fmla="*/ 4486 h 6818"/>
                    <a:gd name="connsiteX6" fmla="*/ 0 w 6518"/>
                    <a:gd name="connsiteY6" fmla="*/ 2632 h 6818"/>
                    <a:gd name="connsiteX7" fmla="*/ 0 w 6518"/>
                    <a:gd name="connsiteY7" fmla="*/ 1615 h 6818"/>
                    <a:gd name="connsiteX8" fmla="*/ 0 w 6518"/>
                    <a:gd name="connsiteY8" fmla="*/ 0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8" h="6818">
                      <a:moveTo>
                        <a:pt x="6519" y="5442"/>
                      </a:moveTo>
                      <a:lnTo>
                        <a:pt x="3648" y="6818"/>
                      </a:lnTo>
                      <a:lnTo>
                        <a:pt x="3350" y="6758"/>
                      </a:lnTo>
                      <a:lnTo>
                        <a:pt x="1256" y="6280"/>
                      </a:lnTo>
                      <a:lnTo>
                        <a:pt x="0" y="5981"/>
                      </a:lnTo>
                      <a:lnTo>
                        <a:pt x="0" y="4486"/>
                      </a:lnTo>
                      <a:lnTo>
                        <a:pt x="0" y="2632"/>
                      </a:lnTo>
                      <a:lnTo>
                        <a:pt x="0" y="161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899" name="Vrije vorm: vorm 6898">
                  <a:extLst>
                    <a:ext uri="{FF2B5EF4-FFF2-40B4-BE49-F238E27FC236}">
                      <a16:creationId xmlns:a16="http://schemas.microsoft.com/office/drawing/2014/main" id="{93AB7EF1-2AEC-4CD8-BA02-6E7279E3D7F7}"/>
                    </a:ext>
                  </a:extLst>
                </p:cNvPr>
                <p:cNvSpPr/>
                <p:nvPr/>
              </p:nvSpPr>
              <p:spPr>
                <a:xfrm>
                  <a:off x="6799443" y="2012015"/>
                  <a:ext cx="1794" cy="2272"/>
                </a:xfrm>
                <a:custGeom>
                  <a:avLst/>
                  <a:gdLst>
                    <a:gd name="connsiteX0" fmla="*/ 1794 w 1794"/>
                    <a:gd name="connsiteY0" fmla="*/ 2273 h 2272"/>
                    <a:gd name="connsiteX1" fmla="*/ 60 w 1794"/>
                    <a:gd name="connsiteY1" fmla="*/ 419 h 2272"/>
                    <a:gd name="connsiteX2" fmla="*/ 0 w 1794"/>
                    <a:gd name="connsiteY2" fmla="*/ 0 h 2272"/>
                  </a:gdLst>
                  <a:ahLst/>
                  <a:cxnLst>
                    <a:cxn ang="0">
                      <a:pos x="connsiteX0" y="connsiteY0"/>
                    </a:cxn>
                    <a:cxn ang="0">
                      <a:pos x="connsiteX1" y="connsiteY1"/>
                    </a:cxn>
                    <a:cxn ang="0">
                      <a:pos x="connsiteX2" y="connsiteY2"/>
                    </a:cxn>
                  </a:cxnLst>
                  <a:rect l="l" t="t" r="r" b="b"/>
                  <a:pathLst>
                    <a:path w="1794" h="2272">
                      <a:moveTo>
                        <a:pt x="1794" y="2273"/>
                      </a:moveTo>
                      <a:lnTo>
                        <a:pt x="60" y="41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00" name="Vrije vorm: vorm 6899">
                  <a:extLst>
                    <a:ext uri="{FF2B5EF4-FFF2-40B4-BE49-F238E27FC236}">
                      <a16:creationId xmlns:a16="http://schemas.microsoft.com/office/drawing/2014/main" id="{5ADD74AF-B4FB-4BF5-A7F8-64082D685520}"/>
                    </a:ext>
                  </a:extLst>
                </p:cNvPr>
                <p:cNvSpPr/>
                <p:nvPr/>
              </p:nvSpPr>
              <p:spPr>
                <a:xfrm>
                  <a:off x="6637783" y="1865367"/>
                  <a:ext cx="11184" cy="3289"/>
                </a:xfrm>
                <a:custGeom>
                  <a:avLst/>
                  <a:gdLst>
                    <a:gd name="connsiteX0" fmla="*/ 11184 w 11184"/>
                    <a:gd name="connsiteY0" fmla="*/ 0 h 3289"/>
                    <a:gd name="connsiteX1" fmla="*/ 1795 w 11184"/>
                    <a:gd name="connsiteY1" fmla="*/ 3289 h 3289"/>
                    <a:gd name="connsiteX2" fmla="*/ 0 w 11184"/>
                    <a:gd name="connsiteY2" fmla="*/ 837 h 3289"/>
                  </a:gdLst>
                  <a:ahLst/>
                  <a:cxnLst>
                    <a:cxn ang="0">
                      <a:pos x="connsiteX0" y="connsiteY0"/>
                    </a:cxn>
                    <a:cxn ang="0">
                      <a:pos x="connsiteX1" y="connsiteY1"/>
                    </a:cxn>
                    <a:cxn ang="0">
                      <a:pos x="connsiteX2" y="connsiteY2"/>
                    </a:cxn>
                  </a:cxnLst>
                  <a:rect l="l" t="t" r="r" b="b"/>
                  <a:pathLst>
                    <a:path w="11184" h="3289">
                      <a:moveTo>
                        <a:pt x="11184" y="0"/>
                      </a:moveTo>
                      <a:lnTo>
                        <a:pt x="1795" y="3289"/>
                      </a:lnTo>
                      <a:lnTo>
                        <a:pt x="0" y="837"/>
                      </a:lnTo>
                    </a:path>
                  </a:pathLst>
                </a:custGeom>
                <a:noFill/>
                <a:ln w="6350" cap="rnd">
                  <a:solidFill>
                    <a:schemeClr val="bg1">
                      <a:alpha val="40000"/>
                    </a:schemeClr>
                  </a:solidFill>
                  <a:prstDash val="solid"/>
                  <a:round/>
                </a:ln>
              </p:spPr>
              <p:txBody>
                <a:bodyPr rtlCol="0" anchor="ctr"/>
                <a:lstStyle/>
                <a:p>
                  <a:endParaRPr lang="en-GB"/>
                </a:p>
              </p:txBody>
            </p:sp>
            <p:sp>
              <p:nvSpPr>
                <p:cNvPr id="6901" name="Vrije vorm: vorm 6900">
                  <a:extLst>
                    <a:ext uri="{FF2B5EF4-FFF2-40B4-BE49-F238E27FC236}">
                      <a16:creationId xmlns:a16="http://schemas.microsoft.com/office/drawing/2014/main" id="{F535F514-F236-4D22-8F2D-479BF2889DE3}"/>
                    </a:ext>
                  </a:extLst>
                </p:cNvPr>
                <p:cNvSpPr/>
                <p:nvPr/>
              </p:nvSpPr>
              <p:spPr>
                <a:xfrm>
                  <a:off x="6620260" y="1959085"/>
                  <a:ext cx="5502" cy="4066"/>
                </a:xfrm>
                <a:custGeom>
                  <a:avLst/>
                  <a:gdLst>
                    <a:gd name="connsiteX0" fmla="*/ 5503 w 5502"/>
                    <a:gd name="connsiteY0" fmla="*/ 4067 h 4066"/>
                    <a:gd name="connsiteX1" fmla="*/ 3050 w 5502"/>
                    <a:gd name="connsiteY1" fmla="*/ 2572 h 4066"/>
                    <a:gd name="connsiteX2" fmla="*/ 0 w 5502"/>
                    <a:gd name="connsiteY2" fmla="*/ 0 h 4066"/>
                  </a:gdLst>
                  <a:ahLst/>
                  <a:cxnLst>
                    <a:cxn ang="0">
                      <a:pos x="connsiteX0" y="connsiteY0"/>
                    </a:cxn>
                    <a:cxn ang="0">
                      <a:pos x="connsiteX1" y="connsiteY1"/>
                    </a:cxn>
                    <a:cxn ang="0">
                      <a:pos x="connsiteX2" y="connsiteY2"/>
                    </a:cxn>
                  </a:cxnLst>
                  <a:rect l="l" t="t" r="r" b="b"/>
                  <a:pathLst>
                    <a:path w="5502" h="4066">
                      <a:moveTo>
                        <a:pt x="5503" y="4067"/>
                      </a:moveTo>
                      <a:lnTo>
                        <a:pt x="3050" y="2572"/>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02" name="Vrije vorm: vorm 6901">
                  <a:extLst>
                    <a:ext uri="{FF2B5EF4-FFF2-40B4-BE49-F238E27FC236}">
                      <a16:creationId xmlns:a16="http://schemas.microsoft.com/office/drawing/2014/main" id="{6BAEC721-953E-445A-AFCE-3DA97D98CDEA}"/>
                    </a:ext>
                  </a:extLst>
                </p:cNvPr>
                <p:cNvSpPr/>
                <p:nvPr/>
              </p:nvSpPr>
              <p:spPr>
                <a:xfrm>
                  <a:off x="6655188" y="1843777"/>
                  <a:ext cx="1614" cy="2272"/>
                </a:xfrm>
                <a:custGeom>
                  <a:avLst/>
                  <a:gdLst>
                    <a:gd name="connsiteX0" fmla="*/ 1615 w 1614"/>
                    <a:gd name="connsiteY0" fmla="*/ 2273 h 2272"/>
                    <a:gd name="connsiteX1" fmla="*/ 0 w 1614"/>
                    <a:gd name="connsiteY1" fmla="*/ 0 h 2272"/>
                  </a:gdLst>
                  <a:ahLst/>
                  <a:cxnLst>
                    <a:cxn ang="0">
                      <a:pos x="connsiteX0" y="connsiteY0"/>
                    </a:cxn>
                    <a:cxn ang="0">
                      <a:pos x="connsiteX1" y="connsiteY1"/>
                    </a:cxn>
                  </a:cxnLst>
                  <a:rect l="l" t="t" r="r" b="b"/>
                  <a:pathLst>
                    <a:path w="1614" h="2272">
                      <a:moveTo>
                        <a:pt x="1615" y="2273"/>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03" name="Vrije vorm: vorm 6902">
                  <a:extLst>
                    <a:ext uri="{FF2B5EF4-FFF2-40B4-BE49-F238E27FC236}">
                      <a16:creationId xmlns:a16="http://schemas.microsoft.com/office/drawing/2014/main" id="{2439D0D5-1D8D-45E2-B3D6-C775D7CAC18E}"/>
                    </a:ext>
                  </a:extLst>
                </p:cNvPr>
                <p:cNvSpPr/>
                <p:nvPr/>
              </p:nvSpPr>
              <p:spPr>
                <a:xfrm>
                  <a:off x="6664876" y="1905438"/>
                  <a:ext cx="3110" cy="3110"/>
                </a:xfrm>
                <a:custGeom>
                  <a:avLst/>
                  <a:gdLst>
                    <a:gd name="connsiteX0" fmla="*/ 3110 w 3110"/>
                    <a:gd name="connsiteY0" fmla="*/ 0 h 3110"/>
                    <a:gd name="connsiteX1" fmla="*/ 2452 w 3110"/>
                    <a:gd name="connsiteY1" fmla="*/ 1376 h 3110"/>
                    <a:gd name="connsiteX2" fmla="*/ 0 w 3110"/>
                    <a:gd name="connsiteY2" fmla="*/ 3110 h 3110"/>
                  </a:gdLst>
                  <a:ahLst/>
                  <a:cxnLst>
                    <a:cxn ang="0">
                      <a:pos x="connsiteX0" y="connsiteY0"/>
                    </a:cxn>
                    <a:cxn ang="0">
                      <a:pos x="connsiteX1" y="connsiteY1"/>
                    </a:cxn>
                    <a:cxn ang="0">
                      <a:pos x="connsiteX2" y="connsiteY2"/>
                    </a:cxn>
                  </a:cxnLst>
                  <a:rect l="l" t="t" r="r" b="b"/>
                  <a:pathLst>
                    <a:path w="3110" h="3110">
                      <a:moveTo>
                        <a:pt x="3110" y="0"/>
                      </a:moveTo>
                      <a:lnTo>
                        <a:pt x="2452" y="1376"/>
                      </a:lnTo>
                      <a:lnTo>
                        <a:pt x="0" y="3110"/>
                      </a:lnTo>
                    </a:path>
                  </a:pathLst>
                </a:custGeom>
                <a:noFill/>
                <a:ln w="6350" cap="rnd">
                  <a:solidFill>
                    <a:schemeClr val="bg1">
                      <a:alpha val="40000"/>
                    </a:schemeClr>
                  </a:solidFill>
                  <a:prstDash val="solid"/>
                  <a:round/>
                </a:ln>
              </p:spPr>
              <p:txBody>
                <a:bodyPr rtlCol="0" anchor="ctr"/>
                <a:lstStyle/>
                <a:p>
                  <a:endParaRPr lang="en-GB"/>
                </a:p>
              </p:txBody>
            </p:sp>
            <p:sp>
              <p:nvSpPr>
                <p:cNvPr id="6904" name="Vrije vorm: vorm 6903">
                  <a:extLst>
                    <a:ext uri="{FF2B5EF4-FFF2-40B4-BE49-F238E27FC236}">
                      <a16:creationId xmlns:a16="http://schemas.microsoft.com/office/drawing/2014/main" id="{D9C6989F-3DD7-4725-BC0A-C633187180E9}"/>
                    </a:ext>
                  </a:extLst>
                </p:cNvPr>
                <p:cNvSpPr/>
                <p:nvPr/>
              </p:nvSpPr>
              <p:spPr>
                <a:xfrm>
                  <a:off x="6822049" y="2051607"/>
                  <a:ext cx="3648" cy="897"/>
                </a:xfrm>
                <a:custGeom>
                  <a:avLst/>
                  <a:gdLst>
                    <a:gd name="connsiteX0" fmla="*/ 0 w 3648"/>
                    <a:gd name="connsiteY0" fmla="*/ 897 h 897"/>
                    <a:gd name="connsiteX1" fmla="*/ 3649 w 3648"/>
                    <a:gd name="connsiteY1" fmla="*/ 0 h 897"/>
                  </a:gdLst>
                  <a:ahLst/>
                  <a:cxnLst>
                    <a:cxn ang="0">
                      <a:pos x="connsiteX0" y="connsiteY0"/>
                    </a:cxn>
                    <a:cxn ang="0">
                      <a:pos x="connsiteX1" y="connsiteY1"/>
                    </a:cxn>
                  </a:cxnLst>
                  <a:rect l="l" t="t" r="r" b="b"/>
                  <a:pathLst>
                    <a:path w="3648" h="897">
                      <a:moveTo>
                        <a:pt x="0" y="897"/>
                      </a:moveTo>
                      <a:lnTo>
                        <a:pt x="3649" y="0"/>
                      </a:lnTo>
                    </a:path>
                  </a:pathLst>
                </a:custGeom>
                <a:noFill/>
                <a:ln w="6350" cap="rnd">
                  <a:solidFill>
                    <a:schemeClr val="bg1">
                      <a:alpha val="40000"/>
                    </a:schemeClr>
                  </a:solidFill>
                  <a:prstDash val="solid"/>
                  <a:round/>
                </a:ln>
              </p:spPr>
              <p:txBody>
                <a:bodyPr rtlCol="0" anchor="ctr"/>
                <a:lstStyle/>
                <a:p>
                  <a:endParaRPr lang="en-GB"/>
                </a:p>
              </p:txBody>
            </p:sp>
            <p:sp>
              <p:nvSpPr>
                <p:cNvPr id="6905" name="Vrije vorm: vorm 6904">
                  <a:extLst>
                    <a:ext uri="{FF2B5EF4-FFF2-40B4-BE49-F238E27FC236}">
                      <a16:creationId xmlns:a16="http://schemas.microsoft.com/office/drawing/2014/main" id="{7CEBB020-D3A8-434F-9887-37D127CD3E36}"/>
                    </a:ext>
                  </a:extLst>
                </p:cNvPr>
                <p:cNvSpPr/>
                <p:nvPr/>
              </p:nvSpPr>
              <p:spPr>
                <a:xfrm>
                  <a:off x="6936940" y="1839112"/>
                  <a:ext cx="1614" cy="956"/>
                </a:xfrm>
                <a:custGeom>
                  <a:avLst/>
                  <a:gdLst>
                    <a:gd name="connsiteX0" fmla="*/ 1614 w 1614"/>
                    <a:gd name="connsiteY0" fmla="*/ 957 h 956"/>
                    <a:gd name="connsiteX1" fmla="*/ 0 w 1614"/>
                    <a:gd name="connsiteY1" fmla="*/ 0 h 956"/>
                  </a:gdLst>
                  <a:ahLst/>
                  <a:cxnLst>
                    <a:cxn ang="0">
                      <a:pos x="connsiteX0" y="connsiteY0"/>
                    </a:cxn>
                    <a:cxn ang="0">
                      <a:pos x="connsiteX1" y="connsiteY1"/>
                    </a:cxn>
                  </a:cxnLst>
                  <a:rect l="l" t="t" r="r" b="b"/>
                  <a:pathLst>
                    <a:path w="1614" h="956">
                      <a:moveTo>
                        <a:pt x="1614" y="957"/>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06" name="Vrije vorm: vorm 6905">
                  <a:extLst>
                    <a:ext uri="{FF2B5EF4-FFF2-40B4-BE49-F238E27FC236}">
                      <a16:creationId xmlns:a16="http://schemas.microsoft.com/office/drawing/2014/main" id="{0B873EEE-7608-4035-B8A1-7384555F1234}"/>
                    </a:ext>
                  </a:extLst>
                </p:cNvPr>
                <p:cNvSpPr/>
                <p:nvPr/>
              </p:nvSpPr>
              <p:spPr>
                <a:xfrm>
                  <a:off x="6854046" y="1973917"/>
                  <a:ext cx="3349" cy="897"/>
                </a:xfrm>
                <a:custGeom>
                  <a:avLst/>
                  <a:gdLst>
                    <a:gd name="connsiteX0" fmla="*/ 3350 w 3349"/>
                    <a:gd name="connsiteY0" fmla="*/ 897 h 897"/>
                    <a:gd name="connsiteX1" fmla="*/ 0 w 3349"/>
                    <a:gd name="connsiteY1" fmla="*/ 0 h 897"/>
                  </a:gdLst>
                  <a:ahLst/>
                  <a:cxnLst>
                    <a:cxn ang="0">
                      <a:pos x="connsiteX0" y="connsiteY0"/>
                    </a:cxn>
                    <a:cxn ang="0">
                      <a:pos x="connsiteX1" y="connsiteY1"/>
                    </a:cxn>
                  </a:cxnLst>
                  <a:rect l="l" t="t" r="r" b="b"/>
                  <a:pathLst>
                    <a:path w="3349" h="897">
                      <a:moveTo>
                        <a:pt x="3350" y="897"/>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07" name="Vrije vorm: vorm 6906">
                  <a:extLst>
                    <a:ext uri="{FF2B5EF4-FFF2-40B4-BE49-F238E27FC236}">
                      <a16:creationId xmlns:a16="http://schemas.microsoft.com/office/drawing/2014/main" id="{371CD48B-1BA0-4ECB-9BAC-2C7C58DA03A1}"/>
                    </a:ext>
                  </a:extLst>
                </p:cNvPr>
                <p:cNvSpPr/>
                <p:nvPr/>
              </p:nvSpPr>
              <p:spPr>
                <a:xfrm>
                  <a:off x="6661766" y="1823921"/>
                  <a:ext cx="777" cy="7236"/>
                </a:xfrm>
                <a:custGeom>
                  <a:avLst/>
                  <a:gdLst>
                    <a:gd name="connsiteX0" fmla="*/ 0 w 777"/>
                    <a:gd name="connsiteY0" fmla="*/ 7237 h 7236"/>
                    <a:gd name="connsiteX1" fmla="*/ 778 w 777"/>
                    <a:gd name="connsiteY1" fmla="*/ 0 h 7236"/>
                  </a:gdLst>
                  <a:ahLst/>
                  <a:cxnLst>
                    <a:cxn ang="0">
                      <a:pos x="connsiteX0" y="connsiteY0"/>
                    </a:cxn>
                    <a:cxn ang="0">
                      <a:pos x="connsiteX1" y="connsiteY1"/>
                    </a:cxn>
                  </a:cxnLst>
                  <a:rect l="l" t="t" r="r" b="b"/>
                  <a:pathLst>
                    <a:path w="777" h="7236">
                      <a:moveTo>
                        <a:pt x="0" y="7237"/>
                      </a:moveTo>
                      <a:lnTo>
                        <a:pt x="778" y="0"/>
                      </a:lnTo>
                    </a:path>
                  </a:pathLst>
                </a:custGeom>
                <a:noFill/>
                <a:ln w="6350" cap="rnd">
                  <a:solidFill>
                    <a:schemeClr val="bg1">
                      <a:alpha val="40000"/>
                    </a:schemeClr>
                  </a:solidFill>
                  <a:prstDash val="solid"/>
                  <a:round/>
                </a:ln>
              </p:spPr>
              <p:txBody>
                <a:bodyPr rtlCol="0" anchor="ctr"/>
                <a:lstStyle/>
                <a:p>
                  <a:endParaRPr lang="en-GB"/>
                </a:p>
              </p:txBody>
            </p:sp>
            <p:sp>
              <p:nvSpPr>
                <p:cNvPr id="6908" name="Vrije vorm: vorm 6907">
                  <a:extLst>
                    <a:ext uri="{FF2B5EF4-FFF2-40B4-BE49-F238E27FC236}">
                      <a16:creationId xmlns:a16="http://schemas.microsoft.com/office/drawing/2014/main" id="{9B342CBE-E978-4B03-B88B-4E92FDDB909E}"/>
                    </a:ext>
                  </a:extLst>
                </p:cNvPr>
                <p:cNvSpPr/>
                <p:nvPr/>
              </p:nvSpPr>
              <p:spPr>
                <a:xfrm>
                  <a:off x="7073360" y="2031811"/>
                  <a:ext cx="6399" cy="12918"/>
                </a:xfrm>
                <a:custGeom>
                  <a:avLst/>
                  <a:gdLst>
                    <a:gd name="connsiteX0" fmla="*/ 6400 w 6399"/>
                    <a:gd name="connsiteY0" fmla="*/ 0 h 12918"/>
                    <a:gd name="connsiteX1" fmla="*/ 1914 w 6399"/>
                    <a:gd name="connsiteY1" fmla="*/ 9031 h 12918"/>
                    <a:gd name="connsiteX2" fmla="*/ 0 w 6399"/>
                    <a:gd name="connsiteY2" fmla="*/ 12918 h 12918"/>
                  </a:gdLst>
                  <a:ahLst/>
                  <a:cxnLst>
                    <a:cxn ang="0">
                      <a:pos x="connsiteX0" y="connsiteY0"/>
                    </a:cxn>
                    <a:cxn ang="0">
                      <a:pos x="connsiteX1" y="connsiteY1"/>
                    </a:cxn>
                    <a:cxn ang="0">
                      <a:pos x="connsiteX2" y="connsiteY2"/>
                    </a:cxn>
                  </a:cxnLst>
                  <a:rect l="l" t="t" r="r" b="b"/>
                  <a:pathLst>
                    <a:path w="6399" h="12918">
                      <a:moveTo>
                        <a:pt x="6400" y="0"/>
                      </a:moveTo>
                      <a:lnTo>
                        <a:pt x="1914" y="9031"/>
                      </a:lnTo>
                      <a:lnTo>
                        <a:pt x="0" y="12918"/>
                      </a:lnTo>
                    </a:path>
                  </a:pathLst>
                </a:custGeom>
                <a:noFill/>
                <a:ln w="6350" cap="rnd">
                  <a:solidFill>
                    <a:schemeClr val="bg1">
                      <a:alpha val="40000"/>
                    </a:schemeClr>
                  </a:solidFill>
                  <a:prstDash val="solid"/>
                  <a:round/>
                </a:ln>
              </p:spPr>
              <p:txBody>
                <a:bodyPr rtlCol="0" anchor="ctr"/>
                <a:lstStyle/>
                <a:p>
                  <a:endParaRPr lang="en-GB"/>
                </a:p>
              </p:txBody>
            </p:sp>
            <p:sp>
              <p:nvSpPr>
                <p:cNvPr id="6909" name="Vrije vorm: vorm 6908">
                  <a:extLst>
                    <a:ext uri="{FF2B5EF4-FFF2-40B4-BE49-F238E27FC236}">
                      <a16:creationId xmlns:a16="http://schemas.microsoft.com/office/drawing/2014/main" id="{15B3221E-D1B6-46FF-A40A-0E3D8E39EB00}"/>
                    </a:ext>
                  </a:extLst>
                </p:cNvPr>
                <p:cNvSpPr/>
                <p:nvPr/>
              </p:nvSpPr>
              <p:spPr>
                <a:xfrm>
                  <a:off x="7083407" y="2010639"/>
                  <a:ext cx="5143" cy="13815"/>
                </a:xfrm>
                <a:custGeom>
                  <a:avLst/>
                  <a:gdLst>
                    <a:gd name="connsiteX0" fmla="*/ 5143 w 5143"/>
                    <a:gd name="connsiteY0" fmla="*/ 0 h 13815"/>
                    <a:gd name="connsiteX1" fmla="*/ 4306 w 5143"/>
                    <a:gd name="connsiteY1" fmla="*/ 2273 h 13815"/>
                    <a:gd name="connsiteX2" fmla="*/ 0 w 5143"/>
                    <a:gd name="connsiteY2" fmla="*/ 13816 h 13815"/>
                  </a:gdLst>
                  <a:ahLst/>
                  <a:cxnLst>
                    <a:cxn ang="0">
                      <a:pos x="connsiteX0" y="connsiteY0"/>
                    </a:cxn>
                    <a:cxn ang="0">
                      <a:pos x="connsiteX1" y="connsiteY1"/>
                    </a:cxn>
                    <a:cxn ang="0">
                      <a:pos x="connsiteX2" y="connsiteY2"/>
                    </a:cxn>
                  </a:cxnLst>
                  <a:rect l="l" t="t" r="r" b="b"/>
                  <a:pathLst>
                    <a:path w="5143" h="13815">
                      <a:moveTo>
                        <a:pt x="5143" y="0"/>
                      </a:moveTo>
                      <a:lnTo>
                        <a:pt x="4306" y="2273"/>
                      </a:lnTo>
                      <a:lnTo>
                        <a:pt x="0" y="13816"/>
                      </a:lnTo>
                    </a:path>
                  </a:pathLst>
                </a:custGeom>
                <a:noFill/>
                <a:ln w="6350" cap="rnd">
                  <a:solidFill>
                    <a:schemeClr val="bg1">
                      <a:alpha val="40000"/>
                    </a:schemeClr>
                  </a:solidFill>
                  <a:prstDash val="solid"/>
                  <a:round/>
                </a:ln>
              </p:spPr>
              <p:txBody>
                <a:bodyPr rtlCol="0" anchor="ctr"/>
                <a:lstStyle/>
                <a:p>
                  <a:endParaRPr lang="en-GB"/>
                </a:p>
              </p:txBody>
            </p:sp>
            <p:sp>
              <p:nvSpPr>
                <p:cNvPr id="6910" name="Vrije vorm: vorm 6909">
                  <a:extLst>
                    <a:ext uri="{FF2B5EF4-FFF2-40B4-BE49-F238E27FC236}">
                      <a16:creationId xmlns:a16="http://schemas.microsoft.com/office/drawing/2014/main" id="{40B75755-7C49-4CD2-A775-958FB4FFB29A}"/>
                    </a:ext>
                  </a:extLst>
                </p:cNvPr>
                <p:cNvSpPr/>
                <p:nvPr/>
              </p:nvSpPr>
              <p:spPr>
                <a:xfrm>
                  <a:off x="7092019" y="1992218"/>
                  <a:ext cx="1315" cy="6100"/>
                </a:xfrm>
                <a:custGeom>
                  <a:avLst/>
                  <a:gdLst>
                    <a:gd name="connsiteX0" fmla="*/ 1316 w 1315"/>
                    <a:gd name="connsiteY0" fmla="*/ 0 h 6100"/>
                    <a:gd name="connsiteX1" fmla="*/ 1077 w 1315"/>
                    <a:gd name="connsiteY1" fmla="*/ 1136 h 6100"/>
                    <a:gd name="connsiteX2" fmla="*/ 0 w 1315"/>
                    <a:gd name="connsiteY2" fmla="*/ 6100 h 6100"/>
                  </a:gdLst>
                  <a:ahLst/>
                  <a:cxnLst>
                    <a:cxn ang="0">
                      <a:pos x="connsiteX0" y="connsiteY0"/>
                    </a:cxn>
                    <a:cxn ang="0">
                      <a:pos x="connsiteX1" y="connsiteY1"/>
                    </a:cxn>
                    <a:cxn ang="0">
                      <a:pos x="connsiteX2" y="connsiteY2"/>
                    </a:cxn>
                  </a:cxnLst>
                  <a:rect l="l" t="t" r="r" b="b"/>
                  <a:pathLst>
                    <a:path w="1315" h="6100">
                      <a:moveTo>
                        <a:pt x="1316" y="0"/>
                      </a:moveTo>
                      <a:lnTo>
                        <a:pt x="1077" y="1136"/>
                      </a:lnTo>
                      <a:lnTo>
                        <a:pt x="0" y="6100"/>
                      </a:lnTo>
                    </a:path>
                  </a:pathLst>
                </a:custGeom>
                <a:noFill/>
                <a:ln w="6350" cap="rnd">
                  <a:solidFill>
                    <a:schemeClr val="bg1">
                      <a:alpha val="40000"/>
                    </a:schemeClr>
                  </a:solidFill>
                  <a:prstDash val="solid"/>
                  <a:round/>
                </a:ln>
              </p:spPr>
              <p:txBody>
                <a:bodyPr rtlCol="0" anchor="ctr"/>
                <a:lstStyle/>
                <a:p>
                  <a:endParaRPr lang="en-GB"/>
                </a:p>
              </p:txBody>
            </p:sp>
            <p:sp>
              <p:nvSpPr>
                <p:cNvPr id="6911" name="Vrije vorm: vorm 6910">
                  <a:extLst>
                    <a:ext uri="{FF2B5EF4-FFF2-40B4-BE49-F238E27FC236}">
                      <a16:creationId xmlns:a16="http://schemas.microsoft.com/office/drawing/2014/main" id="{DED3A16E-9E03-4067-B884-ECEE560078DB}"/>
                    </a:ext>
                  </a:extLst>
                </p:cNvPr>
                <p:cNvSpPr/>
                <p:nvPr/>
              </p:nvSpPr>
              <p:spPr>
                <a:xfrm>
                  <a:off x="6992022" y="2082587"/>
                  <a:ext cx="2750" cy="1136"/>
                </a:xfrm>
                <a:custGeom>
                  <a:avLst/>
                  <a:gdLst>
                    <a:gd name="connsiteX0" fmla="*/ 0 w 2750"/>
                    <a:gd name="connsiteY0" fmla="*/ 1136 h 1136"/>
                    <a:gd name="connsiteX1" fmla="*/ 2751 w 2750"/>
                    <a:gd name="connsiteY1" fmla="*/ 0 h 1136"/>
                  </a:gdLst>
                  <a:ahLst/>
                  <a:cxnLst>
                    <a:cxn ang="0">
                      <a:pos x="connsiteX0" y="connsiteY0"/>
                    </a:cxn>
                    <a:cxn ang="0">
                      <a:pos x="connsiteX1" y="connsiteY1"/>
                    </a:cxn>
                  </a:cxnLst>
                  <a:rect l="l" t="t" r="r" b="b"/>
                  <a:pathLst>
                    <a:path w="2750" h="1136">
                      <a:moveTo>
                        <a:pt x="0" y="1136"/>
                      </a:moveTo>
                      <a:lnTo>
                        <a:pt x="2751" y="0"/>
                      </a:lnTo>
                    </a:path>
                  </a:pathLst>
                </a:custGeom>
                <a:noFill/>
                <a:ln w="6350" cap="rnd">
                  <a:solidFill>
                    <a:schemeClr val="bg1">
                      <a:alpha val="40000"/>
                    </a:schemeClr>
                  </a:solidFill>
                  <a:prstDash val="solid"/>
                  <a:round/>
                </a:ln>
              </p:spPr>
              <p:txBody>
                <a:bodyPr rtlCol="0" anchor="ctr"/>
                <a:lstStyle/>
                <a:p>
                  <a:endParaRPr lang="en-GB"/>
                </a:p>
              </p:txBody>
            </p:sp>
            <p:sp>
              <p:nvSpPr>
                <p:cNvPr id="6912" name="Vrije vorm: vorm 6911">
                  <a:extLst>
                    <a:ext uri="{FF2B5EF4-FFF2-40B4-BE49-F238E27FC236}">
                      <a16:creationId xmlns:a16="http://schemas.microsoft.com/office/drawing/2014/main" id="{C069697F-F1FC-499B-ACD9-718A0750D488}"/>
                    </a:ext>
                  </a:extLst>
                </p:cNvPr>
                <p:cNvSpPr/>
                <p:nvPr/>
              </p:nvSpPr>
              <p:spPr>
                <a:xfrm>
                  <a:off x="7015167" y="2035220"/>
                  <a:ext cx="1495" cy="59"/>
                </a:xfrm>
                <a:custGeom>
                  <a:avLst/>
                  <a:gdLst>
                    <a:gd name="connsiteX0" fmla="*/ 0 w 1495"/>
                    <a:gd name="connsiteY0" fmla="*/ 0 h 59"/>
                    <a:gd name="connsiteX1" fmla="*/ 1495 w 1495"/>
                    <a:gd name="connsiteY1" fmla="*/ 60 h 59"/>
                  </a:gdLst>
                  <a:ahLst/>
                  <a:cxnLst>
                    <a:cxn ang="0">
                      <a:pos x="connsiteX0" y="connsiteY0"/>
                    </a:cxn>
                    <a:cxn ang="0">
                      <a:pos x="connsiteX1" y="connsiteY1"/>
                    </a:cxn>
                  </a:cxnLst>
                  <a:rect l="l" t="t" r="r" b="b"/>
                  <a:pathLst>
                    <a:path w="1495" h="59">
                      <a:moveTo>
                        <a:pt x="0" y="0"/>
                      </a:moveTo>
                      <a:lnTo>
                        <a:pt x="1495" y="60"/>
                      </a:lnTo>
                    </a:path>
                  </a:pathLst>
                </a:custGeom>
                <a:noFill/>
                <a:ln w="6350" cap="rnd">
                  <a:solidFill>
                    <a:schemeClr val="bg1">
                      <a:alpha val="40000"/>
                    </a:schemeClr>
                  </a:solidFill>
                  <a:prstDash val="solid"/>
                  <a:round/>
                </a:ln>
              </p:spPr>
              <p:txBody>
                <a:bodyPr rtlCol="0" anchor="ctr"/>
                <a:lstStyle/>
                <a:p>
                  <a:endParaRPr lang="en-GB"/>
                </a:p>
              </p:txBody>
            </p:sp>
            <p:sp>
              <p:nvSpPr>
                <p:cNvPr id="6913" name="Vrije vorm: vorm 6912">
                  <a:extLst>
                    <a:ext uri="{FF2B5EF4-FFF2-40B4-BE49-F238E27FC236}">
                      <a16:creationId xmlns:a16="http://schemas.microsoft.com/office/drawing/2014/main" id="{13AB469E-A049-4B3A-B4D1-D114711F576F}"/>
                    </a:ext>
                  </a:extLst>
                </p:cNvPr>
                <p:cNvSpPr/>
                <p:nvPr/>
              </p:nvSpPr>
              <p:spPr>
                <a:xfrm>
                  <a:off x="6944714" y="2110039"/>
                  <a:ext cx="777" cy="478"/>
                </a:xfrm>
                <a:custGeom>
                  <a:avLst/>
                  <a:gdLst>
                    <a:gd name="connsiteX0" fmla="*/ 778 w 777"/>
                    <a:gd name="connsiteY0" fmla="*/ 478 h 478"/>
                    <a:gd name="connsiteX1" fmla="*/ 0 w 777"/>
                    <a:gd name="connsiteY1" fmla="*/ 0 h 478"/>
                  </a:gdLst>
                  <a:ahLst/>
                  <a:cxnLst>
                    <a:cxn ang="0">
                      <a:pos x="connsiteX0" y="connsiteY0"/>
                    </a:cxn>
                    <a:cxn ang="0">
                      <a:pos x="connsiteX1" y="connsiteY1"/>
                    </a:cxn>
                  </a:cxnLst>
                  <a:rect l="l" t="t" r="r" b="b"/>
                  <a:pathLst>
                    <a:path w="777" h="478">
                      <a:moveTo>
                        <a:pt x="778" y="478"/>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14" name="Vrije vorm: vorm 6913">
                  <a:extLst>
                    <a:ext uri="{FF2B5EF4-FFF2-40B4-BE49-F238E27FC236}">
                      <a16:creationId xmlns:a16="http://schemas.microsoft.com/office/drawing/2014/main" id="{B0BCF944-F3CD-4EC3-A746-E38CC938C7AF}"/>
                    </a:ext>
                  </a:extLst>
                </p:cNvPr>
                <p:cNvSpPr/>
                <p:nvPr/>
              </p:nvSpPr>
              <p:spPr>
                <a:xfrm>
                  <a:off x="7082630" y="1870690"/>
                  <a:ext cx="358" cy="59"/>
                </a:xfrm>
                <a:custGeom>
                  <a:avLst/>
                  <a:gdLst>
                    <a:gd name="connsiteX0" fmla="*/ 0 w 358"/>
                    <a:gd name="connsiteY0" fmla="*/ 0 h 59"/>
                    <a:gd name="connsiteX1" fmla="*/ 358 w 358"/>
                    <a:gd name="connsiteY1" fmla="*/ 60 h 59"/>
                  </a:gdLst>
                  <a:ahLst/>
                  <a:cxnLst>
                    <a:cxn ang="0">
                      <a:pos x="connsiteX0" y="connsiteY0"/>
                    </a:cxn>
                    <a:cxn ang="0">
                      <a:pos x="connsiteX1" y="connsiteY1"/>
                    </a:cxn>
                  </a:cxnLst>
                  <a:rect l="l" t="t" r="r" b="b"/>
                  <a:pathLst>
                    <a:path w="358" h="59">
                      <a:moveTo>
                        <a:pt x="0" y="0"/>
                      </a:moveTo>
                      <a:lnTo>
                        <a:pt x="358" y="60"/>
                      </a:lnTo>
                    </a:path>
                  </a:pathLst>
                </a:custGeom>
                <a:noFill/>
                <a:ln w="6350" cap="rnd">
                  <a:solidFill>
                    <a:schemeClr val="bg1">
                      <a:alpha val="40000"/>
                    </a:schemeClr>
                  </a:solidFill>
                  <a:prstDash val="solid"/>
                  <a:round/>
                </a:ln>
              </p:spPr>
              <p:txBody>
                <a:bodyPr rtlCol="0" anchor="ctr"/>
                <a:lstStyle/>
                <a:p>
                  <a:endParaRPr lang="en-GB"/>
                </a:p>
              </p:txBody>
            </p:sp>
            <p:sp>
              <p:nvSpPr>
                <p:cNvPr id="6915" name="Vrije vorm: vorm 6914">
                  <a:extLst>
                    <a:ext uri="{FF2B5EF4-FFF2-40B4-BE49-F238E27FC236}">
                      <a16:creationId xmlns:a16="http://schemas.microsoft.com/office/drawing/2014/main" id="{B59B8BFD-F44C-4DC6-9162-30488AF85C0D}"/>
                    </a:ext>
                  </a:extLst>
                </p:cNvPr>
                <p:cNvSpPr/>
                <p:nvPr/>
              </p:nvSpPr>
              <p:spPr>
                <a:xfrm>
                  <a:off x="7065644" y="1893716"/>
                  <a:ext cx="957" cy="657"/>
                </a:xfrm>
                <a:custGeom>
                  <a:avLst/>
                  <a:gdLst>
                    <a:gd name="connsiteX0" fmla="*/ 0 w 957"/>
                    <a:gd name="connsiteY0" fmla="*/ 658 h 657"/>
                    <a:gd name="connsiteX1" fmla="*/ 957 w 957"/>
                    <a:gd name="connsiteY1" fmla="*/ 0 h 657"/>
                  </a:gdLst>
                  <a:ahLst/>
                  <a:cxnLst>
                    <a:cxn ang="0">
                      <a:pos x="connsiteX0" y="connsiteY0"/>
                    </a:cxn>
                    <a:cxn ang="0">
                      <a:pos x="connsiteX1" y="connsiteY1"/>
                    </a:cxn>
                  </a:cxnLst>
                  <a:rect l="l" t="t" r="r" b="b"/>
                  <a:pathLst>
                    <a:path w="957" h="657">
                      <a:moveTo>
                        <a:pt x="0" y="658"/>
                      </a:moveTo>
                      <a:lnTo>
                        <a:pt x="957" y="0"/>
                      </a:lnTo>
                    </a:path>
                  </a:pathLst>
                </a:custGeom>
                <a:noFill/>
                <a:ln w="6350" cap="rnd">
                  <a:solidFill>
                    <a:schemeClr val="bg1">
                      <a:alpha val="40000"/>
                    </a:schemeClr>
                  </a:solidFill>
                  <a:prstDash val="solid"/>
                  <a:round/>
                </a:ln>
              </p:spPr>
              <p:txBody>
                <a:bodyPr rtlCol="0" anchor="ctr"/>
                <a:lstStyle/>
                <a:p>
                  <a:endParaRPr lang="en-GB"/>
                </a:p>
              </p:txBody>
            </p:sp>
            <p:sp>
              <p:nvSpPr>
                <p:cNvPr id="6916" name="Vrije vorm: vorm 6915">
                  <a:extLst>
                    <a:ext uri="{FF2B5EF4-FFF2-40B4-BE49-F238E27FC236}">
                      <a16:creationId xmlns:a16="http://schemas.microsoft.com/office/drawing/2014/main" id="{678724AF-F79D-4399-BCA0-ED773DE0A33B}"/>
                    </a:ext>
                  </a:extLst>
                </p:cNvPr>
                <p:cNvSpPr/>
                <p:nvPr/>
              </p:nvSpPr>
              <p:spPr>
                <a:xfrm>
                  <a:off x="7059843" y="1895092"/>
                  <a:ext cx="419" cy="777"/>
                </a:xfrm>
                <a:custGeom>
                  <a:avLst/>
                  <a:gdLst>
                    <a:gd name="connsiteX0" fmla="*/ 0 w 419"/>
                    <a:gd name="connsiteY0" fmla="*/ 778 h 777"/>
                    <a:gd name="connsiteX1" fmla="*/ 419 w 419"/>
                    <a:gd name="connsiteY1" fmla="*/ 0 h 777"/>
                  </a:gdLst>
                  <a:ahLst/>
                  <a:cxnLst>
                    <a:cxn ang="0">
                      <a:pos x="connsiteX0" y="connsiteY0"/>
                    </a:cxn>
                    <a:cxn ang="0">
                      <a:pos x="connsiteX1" y="connsiteY1"/>
                    </a:cxn>
                  </a:cxnLst>
                  <a:rect l="l" t="t" r="r" b="b"/>
                  <a:pathLst>
                    <a:path w="419" h="777">
                      <a:moveTo>
                        <a:pt x="0" y="778"/>
                      </a:moveTo>
                      <a:lnTo>
                        <a:pt x="419" y="0"/>
                      </a:lnTo>
                    </a:path>
                  </a:pathLst>
                </a:custGeom>
                <a:noFill/>
                <a:ln w="6350" cap="rnd">
                  <a:solidFill>
                    <a:schemeClr val="bg1">
                      <a:alpha val="40000"/>
                    </a:schemeClr>
                  </a:solidFill>
                  <a:prstDash val="solid"/>
                  <a:round/>
                </a:ln>
              </p:spPr>
              <p:txBody>
                <a:bodyPr rtlCol="0" anchor="ctr"/>
                <a:lstStyle/>
                <a:p>
                  <a:endParaRPr lang="en-GB"/>
                </a:p>
              </p:txBody>
            </p:sp>
            <p:sp>
              <p:nvSpPr>
                <p:cNvPr id="6917" name="Vrije vorm: vorm 6916">
                  <a:extLst>
                    <a:ext uri="{FF2B5EF4-FFF2-40B4-BE49-F238E27FC236}">
                      <a16:creationId xmlns:a16="http://schemas.microsoft.com/office/drawing/2014/main" id="{D7E2AB80-626D-44F9-B53B-31FE6AA7583B}"/>
                    </a:ext>
                  </a:extLst>
                </p:cNvPr>
                <p:cNvSpPr/>
                <p:nvPr/>
              </p:nvSpPr>
              <p:spPr>
                <a:xfrm>
                  <a:off x="6957752" y="2069370"/>
                  <a:ext cx="2631" cy="777"/>
                </a:xfrm>
                <a:custGeom>
                  <a:avLst/>
                  <a:gdLst>
                    <a:gd name="connsiteX0" fmla="*/ 0 w 2631"/>
                    <a:gd name="connsiteY0" fmla="*/ 778 h 777"/>
                    <a:gd name="connsiteX1" fmla="*/ 2631 w 2631"/>
                    <a:gd name="connsiteY1" fmla="*/ 0 h 777"/>
                  </a:gdLst>
                  <a:ahLst/>
                  <a:cxnLst>
                    <a:cxn ang="0">
                      <a:pos x="connsiteX0" y="connsiteY0"/>
                    </a:cxn>
                    <a:cxn ang="0">
                      <a:pos x="connsiteX1" y="connsiteY1"/>
                    </a:cxn>
                  </a:cxnLst>
                  <a:rect l="l" t="t" r="r" b="b"/>
                  <a:pathLst>
                    <a:path w="2631" h="777">
                      <a:moveTo>
                        <a:pt x="0" y="778"/>
                      </a:moveTo>
                      <a:lnTo>
                        <a:pt x="2631" y="0"/>
                      </a:lnTo>
                    </a:path>
                  </a:pathLst>
                </a:custGeom>
                <a:noFill/>
                <a:ln w="6350" cap="rnd">
                  <a:solidFill>
                    <a:schemeClr val="bg1">
                      <a:alpha val="40000"/>
                    </a:schemeClr>
                  </a:solidFill>
                  <a:prstDash val="solid"/>
                  <a:round/>
                </a:ln>
              </p:spPr>
              <p:txBody>
                <a:bodyPr rtlCol="0" anchor="ctr"/>
                <a:lstStyle/>
                <a:p>
                  <a:endParaRPr lang="en-GB"/>
                </a:p>
              </p:txBody>
            </p:sp>
            <p:sp>
              <p:nvSpPr>
                <p:cNvPr id="6918" name="Vrije vorm: vorm 6917">
                  <a:extLst>
                    <a:ext uri="{FF2B5EF4-FFF2-40B4-BE49-F238E27FC236}">
                      <a16:creationId xmlns:a16="http://schemas.microsoft.com/office/drawing/2014/main" id="{9A004C4D-494F-435D-926E-ED5EDE51BFB7}"/>
                    </a:ext>
                  </a:extLst>
                </p:cNvPr>
                <p:cNvSpPr/>
                <p:nvPr/>
              </p:nvSpPr>
              <p:spPr>
                <a:xfrm>
                  <a:off x="7059305" y="1890606"/>
                  <a:ext cx="7475" cy="4425"/>
                </a:xfrm>
                <a:custGeom>
                  <a:avLst/>
                  <a:gdLst>
                    <a:gd name="connsiteX0" fmla="*/ 0 w 7475"/>
                    <a:gd name="connsiteY0" fmla="*/ 0 h 4425"/>
                    <a:gd name="connsiteX1" fmla="*/ 2691 w 7475"/>
                    <a:gd name="connsiteY1" fmla="*/ 1615 h 4425"/>
                    <a:gd name="connsiteX2" fmla="*/ 4964 w 7475"/>
                    <a:gd name="connsiteY2" fmla="*/ 2931 h 4425"/>
                    <a:gd name="connsiteX3" fmla="*/ 5143 w 7475"/>
                    <a:gd name="connsiteY3" fmla="*/ 3050 h 4425"/>
                    <a:gd name="connsiteX4" fmla="*/ 5143 w 7475"/>
                    <a:gd name="connsiteY4" fmla="*/ 3050 h 4425"/>
                    <a:gd name="connsiteX5" fmla="*/ 5681 w 7475"/>
                    <a:gd name="connsiteY5" fmla="*/ 3349 h 4425"/>
                    <a:gd name="connsiteX6" fmla="*/ 6339 w 7475"/>
                    <a:gd name="connsiteY6" fmla="*/ 3768 h 4425"/>
                    <a:gd name="connsiteX7" fmla="*/ 6818 w 7475"/>
                    <a:gd name="connsiteY7" fmla="*/ 4067 h 4425"/>
                    <a:gd name="connsiteX8" fmla="*/ 7476 w 7475"/>
                    <a:gd name="connsiteY8" fmla="*/ 4426 h 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75" h="4425">
                      <a:moveTo>
                        <a:pt x="0" y="0"/>
                      </a:moveTo>
                      <a:lnTo>
                        <a:pt x="2691" y="1615"/>
                      </a:lnTo>
                      <a:lnTo>
                        <a:pt x="4964" y="2931"/>
                      </a:lnTo>
                      <a:lnTo>
                        <a:pt x="5143" y="3050"/>
                      </a:lnTo>
                      <a:lnTo>
                        <a:pt x="5143" y="3050"/>
                      </a:lnTo>
                      <a:lnTo>
                        <a:pt x="5681" y="3349"/>
                      </a:lnTo>
                      <a:lnTo>
                        <a:pt x="6339" y="3768"/>
                      </a:lnTo>
                      <a:lnTo>
                        <a:pt x="6818" y="4067"/>
                      </a:lnTo>
                      <a:lnTo>
                        <a:pt x="7476" y="4426"/>
                      </a:lnTo>
                    </a:path>
                  </a:pathLst>
                </a:custGeom>
                <a:noFill/>
                <a:ln w="6350" cap="rnd">
                  <a:solidFill>
                    <a:schemeClr val="bg1">
                      <a:alpha val="40000"/>
                    </a:schemeClr>
                  </a:solidFill>
                  <a:prstDash val="solid"/>
                  <a:round/>
                </a:ln>
              </p:spPr>
              <p:txBody>
                <a:bodyPr rtlCol="0" anchor="ctr"/>
                <a:lstStyle/>
                <a:p>
                  <a:endParaRPr lang="en-GB"/>
                </a:p>
              </p:txBody>
            </p:sp>
            <p:sp>
              <p:nvSpPr>
                <p:cNvPr id="6919" name="Vrije vorm: vorm 6918">
                  <a:extLst>
                    <a:ext uri="{FF2B5EF4-FFF2-40B4-BE49-F238E27FC236}">
                      <a16:creationId xmlns:a16="http://schemas.microsoft.com/office/drawing/2014/main" id="{4263FC47-6753-4169-B0F4-89B6B3C2B665}"/>
                    </a:ext>
                  </a:extLst>
                </p:cNvPr>
                <p:cNvSpPr/>
                <p:nvPr/>
              </p:nvSpPr>
              <p:spPr>
                <a:xfrm>
                  <a:off x="7055357" y="1892879"/>
                  <a:ext cx="1076" cy="837"/>
                </a:xfrm>
                <a:custGeom>
                  <a:avLst/>
                  <a:gdLst>
                    <a:gd name="connsiteX0" fmla="*/ 1077 w 1076"/>
                    <a:gd name="connsiteY0" fmla="*/ 0 h 837"/>
                    <a:gd name="connsiteX1" fmla="*/ 0 w 1076"/>
                    <a:gd name="connsiteY1" fmla="*/ 837 h 837"/>
                  </a:gdLst>
                  <a:ahLst/>
                  <a:cxnLst>
                    <a:cxn ang="0">
                      <a:pos x="connsiteX0" y="connsiteY0"/>
                    </a:cxn>
                    <a:cxn ang="0">
                      <a:pos x="connsiteX1" y="connsiteY1"/>
                    </a:cxn>
                  </a:cxnLst>
                  <a:rect l="l" t="t" r="r" b="b"/>
                  <a:pathLst>
                    <a:path w="1076" h="837">
                      <a:moveTo>
                        <a:pt x="1077" y="0"/>
                      </a:moveTo>
                      <a:lnTo>
                        <a:pt x="0" y="837"/>
                      </a:lnTo>
                    </a:path>
                  </a:pathLst>
                </a:custGeom>
                <a:noFill/>
                <a:ln w="6350" cap="rnd">
                  <a:solidFill>
                    <a:schemeClr val="bg1">
                      <a:alpha val="40000"/>
                    </a:schemeClr>
                  </a:solidFill>
                  <a:prstDash val="solid"/>
                  <a:round/>
                </a:ln>
              </p:spPr>
              <p:txBody>
                <a:bodyPr rtlCol="0" anchor="ctr"/>
                <a:lstStyle/>
                <a:p>
                  <a:endParaRPr lang="en-GB"/>
                </a:p>
              </p:txBody>
            </p:sp>
            <p:sp>
              <p:nvSpPr>
                <p:cNvPr id="6920" name="Vrije vorm: vorm 6919">
                  <a:extLst>
                    <a:ext uri="{FF2B5EF4-FFF2-40B4-BE49-F238E27FC236}">
                      <a16:creationId xmlns:a16="http://schemas.microsoft.com/office/drawing/2014/main" id="{CA1F52A0-1A26-4C61-ADA4-C149C41795BB}"/>
                    </a:ext>
                  </a:extLst>
                </p:cNvPr>
                <p:cNvSpPr/>
                <p:nvPr/>
              </p:nvSpPr>
              <p:spPr>
                <a:xfrm>
                  <a:off x="6952070" y="2071463"/>
                  <a:ext cx="1136" cy="478"/>
                </a:xfrm>
                <a:custGeom>
                  <a:avLst/>
                  <a:gdLst>
                    <a:gd name="connsiteX0" fmla="*/ 0 w 1136"/>
                    <a:gd name="connsiteY0" fmla="*/ 478 h 478"/>
                    <a:gd name="connsiteX1" fmla="*/ 1137 w 1136"/>
                    <a:gd name="connsiteY1" fmla="*/ 0 h 478"/>
                  </a:gdLst>
                  <a:ahLst/>
                  <a:cxnLst>
                    <a:cxn ang="0">
                      <a:pos x="connsiteX0" y="connsiteY0"/>
                    </a:cxn>
                    <a:cxn ang="0">
                      <a:pos x="connsiteX1" y="connsiteY1"/>
                    </a:cxn>
                  </a:cxnLst>
                  <a:rect l="l" t="t" r="r" b="b"/>
                  <a:pathLst>
                    <a:path w="1136" h="478">
                      <a:moveTo>
                        <a:pt x="0" y="478"/>
                      </a:moveTo>
                      <a:lnTo>
                        <a:pt x="1137" y="0"/>
                      </a:lnTo>
                    </a:path>
                  </a:pathLst>
                </a:custGeom>
                <a:noFill/>
                <a:ln w="6350" cap="rnd">
                  <a:solidFill>
                    <a:schemeClr val="bg1">
                      <a:alpha val="40000"/>
                    </a:schemeClr>
                  </a:solidFill>
                  <a:prstDash val="solid"/>
                  <a:round/>
                </a:ln>
              </p:spPr>
              <p:txBody>
                <a:bodyPr rtlCol="0" anchor="ctr"/>
                <a:lstStyle/>
                <a:p>
                  <a:endParaRPr lang="en-GB"/>
                </a:p>
              </p:txBody>
            </p:sp>
            <p:sp>
              <p:nvSpPr>
                <p:cNvPr id="6921" name="Vrije vorm: vorm 6920">
                  <a:extLst>
                    <a:ext uri="{FF2B5EF4-FFF2-40B4-BE49-F238E27FC236}">
                      <a16:creationId xmlns:a16="http://schemas.microsoft.com/office/drawing/2014/main" id="{7C63A91A-4F5D-4609-9894-408A4C584BD2}"/>
                    </a:ext>
                  </a:extLst>
                </p:cNvPr>
                <p:cNvSpPr/>
                <p:nvPr/>
              </p:nvSpPr>
              <p:spPr>
                <a:xfrm>
                  <a:off x="6945970" y="2069430"/>
                  <a:ext cx="1196" cy="837"/>
                </a:xfrm>
                <a:custGeom>
                  <a:avLst/>
                  <a:gdLst>
                    <a:gd name="connsiteX0" fmla="*/ 1197 w 1196"/>
                    <a:gd name="connsiteY0" fmla="*/ 0 h 837"/>
                    <a:gd name="connsiteX1" fmla="*/ 778 w 1196"/>
                    <a:gd name="connsiteY1" fmla="*/ 299 h 837"/>
                    <a:gd name="connsiteX2" fmla="*/ 0 w 1196"/>
                    <a:gd name="connsiteY2" fmla="*/ 837 h 837"/>
                  </a:gdLst>
                  <a:ahLst/>
                  <a:cxnLst>
                    <a:cxn ang="0">
                      <a:pos x="connsiteX0" y="connsiteY0"/>
                    </a:cxn>
                    <a:cxn ang="0">
                      <a:pos x="connsiteX1" y="connsiteY1"/>
                    </a:cxn>
                    <a:cxn ang="0">
                      <a:pos x="connsiteX2" y="connsiteY2"/>
                    </a:cxn>
                  </a:cxnLst>
                  <a:rect l="l" t="t" r="r" b="b"/>
                  <a:pathLst>
                    <a:path w="1196" h="837">
                      <a:moveTo>
                        <a:pt x="1197" y="0"/>
                      </a:moveTo>
                      <a:lnTo>
                        <a:pt x="778" y="299"/>
                      </a:lnTo>
                      <a:lnTo>
                        <a:pt x="0" y="837"/>
                      </a:lnTo>
                    </a:path>
                  </a:pathLst>
                </a:custGeom>
                <a:noFill/>
                <a:ln w="6350" cap="rnd">
                  <a:solidFill>
                    <a:schemeClr val="bg1">
                      <a:alpha val="40000"/>
                    </a:schemeClr>
                  </a:solidFill>
                  <a:prstDash val="solid"/>
                  <a:round/>
                </a:ln>
              </p:spPr>
              <p:txBody>
                <a:bodyPr rtlCol="0" anchor="ctr"/>
                <a:lstStyle/>
                <a:p>
                  <a:endParaRPr lang="en-GB"/>
                </a:p>
              </p:txBody>
            </p:sp>
            <p:sp>
              <p:nvSpPr>
                <p:cNvPr id="6922" name="Vrije vorm: vorm 6921">
                  <a:extLst>
                    <a:ext uri="{FF2B5EF4-FFF2-40B4-BE49-F238E27FC236}">
                      <a16:creationId xmlns:a16="http://schemas.microsoft.com/office/drawing/2014/main" id="{475B6761-05A0-43BB-A793-592551A9BAA6}"/>
                    </a:ext>
                  </a:extLst>
                </p:cNvPr>
                <p:cNvSpPr/>
                <p:nvPr/>
              </p:nvSpPr>
              <p:spPr>
                <a:xfrm>
                  <a:off x="7044114" y="1881994"/>
                  <a:ext cx="1555" cy="2093"/>
                </a:xfrm>
                <a:custGeom>
                  <a:avLst/>
                  <a:gdLst>
                    <a:gd name="connsiteX0" fmla="*/ 1555 w 1555"/>
                    <a:gd name="connsiteY0" fmla="*/ 0 h 2093"/>
                    <a:gd name="connsiteX1" fmla="*/ 1555 w 1555"/>
                    <a:gd name="connsiteY1" fmla="*/ 0 h 2093"/>
                    <a:gd name="connsiteX2" fmla="*/ 1316 w 1555"/>
                    <a:gd name="connsiteY2" fmla="*/ 299 h 2093"/>
                    <a:gd name="connsiteX3" fmla="*/ 1197 w 1555"/>
                    <a:gd name="connsiteY3" fmla="*/ 478 h 2093"/>
                    <a:gd name="connsiteX4" fmla="*/ 1197 w 1555"/>
                    <a:gd name="connsiteY4" fmla="*/ 478 h 2093"/>
                    <a:gd name="connsiteX5" fmla="*/ 1197 w 1555"/>
                    <a:gd name="connsiteY5" fmla="*/ 478 h 2093"/>
                    <a:gd name="connsiteX6" fmla="*/ 1197 w 1555"/>
                    <a:gd name="connsiteY6" fmla="*/ 478 h 2093"/>
                    <a:gd name="connsiteX7" fmla="*/ 837 w 1555"/>
                    <a:gd name="connsiteY7" fmla="*/ 957 h 2093"/>
                    <a:gd name="connsiteX8" fmla="*/ 658 w 1555"/>
                    <a:gd name="connsiteY8" fmla="*/ 1196 h 2093"/>
                    <a:gd name="connsiteX9" fmla="*/ 658 w 1555"/>
                    <a:gd name="connsiteY9" fmla="*/ 1196 h 2093"/>
                    <a:gd name="connsiteX10" fmla="*/ 479 w 1555"/>
                    <a:gd name="connsiteY10" fmla="*/ 1435 h 2093"/>
                    <a:gd name="connsiteX11" fmla="*/ 479 w 1555"/>
                    <a:gd name="connsiteY11" fmla="*/ 1435 h 2093"/>
                    <a:gd name="connsiteX12" fmla="*/ 299 w 1555"/>
                    <a:gd name="connsiteY12" fmla="*/ 1675 h 2093"/>
                    <a:gd name="connsiteX13" fmla="*/ 0 w 1555"/>
                    <a:gd name="connsiteY13" fmla="*/ 2093 h 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5" h="2093">
                      <a:moveTo>
                        <a:pt x="1555" y="0"/>
                      </a:moveTo>
                      <a:lnTo>
                        <a:pt x="1555" y="0"/>
                      </a:lnTo>
                      <a:lnTo>
                        <a:pt x="1316" y="299"/>
                      </a:lnTo>
                      <a:lnTo>
                        <a:pt x="1197" y="478"/>
                      </a:lnTo>
                      <a:lnTo>
                        <a:pt x="1197" y="478"/>
                      </a:lnTo>
                      <a:lnTo>
                        <a:pt x="1197" y="478"/>
                      </a:lnTo>
                      <a:lnTo>
                        <a:pt x="1197" y="478"/>
                      </a:lnTo>
                      <a:lnTo>
                        <a:pt x="837" y="957"/>
                      </a:lnTo>
                      <a:lnTo>
                        <a:pt x="658" y="1196"/>
                      </a:lnTo>
                      <a:lnTo>
                        <a:pt x="658" y="1196"/>
                      </a:lnTo>
                      <a:lnTo>
                        <a:pt x="479" y="1435"/>
                      </a:lnTo>
                      <a:lnTo>
                        <a:pt x="479" y="1435"/>
                      </a:lnTo>
                      <a:lnTo>
                        <a:pt x="299" y="1675"/>
                      </a:lnTo>
                      <a:lnTo>
                        <a:pt x="0" y="2093"/>
                      </a:lnTo>
                    </a:path>
                  </a:pathLst>
                </a:custGeom>
                <a:noFill/>
                <a:ln w="6350" cap="rnd">
                  <a:solidFill>
                    <a:schemeClr val="bg1">
                      <a:alpha val="40000"/>
                    </a:schemeClr>
                  </a:solidFill>
                  <a:prstDash val="solid"/>
                  <a:round/>
                </a:ln>
              </p:spPr>
              <p:txBody>
                <a:bodyPr rtlCol="0" anchor="ctr"/>
                <a:lstStyle/>
                <a:p>
                  <a:endParaRPr lang="en-GB"/>
                </a:p>
              </p:txBody>
            </p:sp>
            <p:sp>
              <p:nvSpPr>
                <p:cNvPr id="6923" name="Vrije vorm: vorm 6922">
                  <a:extLst>
                    <a:ext uri="{FF2B5EF4-FFF2-40B4-BE49-F238E27FC236}">
                      <a16:creationId xmlns:a16="http://schemas.microsoft.com/office/drawing/2014/main" id="{D7B326C6-0489-4C3A-AD3A-68FBEB941B7C}"/>
                    </a:ext>
                  </a:extLst>
                </p:cNvPr>
                <p:cNvSpPr/>
                <p:nvPr/>
              </p:nvSpPr>
              <p:spPr>
                <a:xfrm>
                  <a:off x="6952908" y="2029957"/>
                  <a:ext cx="13994" cy="35286"/>
                </a:xfrm>
                <a:custGeom>
                  <a:avLst/>
                  <a:gdLst>
                    <a:gd name="connsiteX0" fmla="*/ 13995 w 13994"/>
                    <a:gd name="connsiteY0" fmla="*/ 0 h 35286"/>
                    <a:gd name="connsiteX1" fmla="*/ 13576 w 13994"/>
                    <a:gd name="connsiteY1" fmla="*/ 1136 h 35286"/>
                    <a:gd name="connsiteX2" fmla="*/ 12321 w 13994"/>
                    <a:gd name="connsiteY2" fmla="*/ 4246 h 35286"/>
                    <a:gd name="connsiteX3" fmla="*/ 8433 w 13994"/>
                    <a:gd name="connsiteY3" fmla="*/ 13935 h 35286"/>
                    <a:gd name="connsiteX4" fmla="*/ 8253 w 13994"/>
                    <a:gd name="connsiteY4" fmla="*/ 14413 h 35286"/>
                    <a:gd name="connsiteX5" fmla="*/ 7596 w 13994"/>
                    <a:gd name="connsiteY5" fmla="*/ 16148 h 35286"/>
                    <a:gd name="connsiteX6" fmla="*/ 3050 w 13994"/>
                    <a:gd name="connsiteY6" fmla="*/ 27571 h 35286"/>
                    <a:gd name="connsiteX7" fmla="*/ 2990 w 13994"/>
                    <a:gd name="connsiteY7" fmla="*/ 27751 h 35286"/>
                    <a:gd name="connsiteX8" fmla="*/ 0 w 13994"/>
                    <a:gd name="connsiteY8" fmla="*/ 35286 h 3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4" h="35286">
                      <a:moveTo>
                        <a:pt x="13995" y="0"/>
                      </a:moveTo>
                      <a:lnTo>
                        <a:pt x="13576" y="1136"/>
                      </a:lnTo>
                      <a:lnTo>
                        <a:pt x="12321" y="4246"/>
                      </a:lnTo>
                      <a:lnTo>
                        <a:pt x="8433" y="13935"/>
                      </a:lnTo>
                      <a:lnTo>
                        <a:pt x="8253" y="14413"/>
                      </a:lnTo>
                      <a:lnTo>
                        <a:pt x="7596" y="16148"/>
                      </a:lnTo>
                      <a:lnTo>
                        <a:pt x="3050" y="27571"/>
                      </a:lnTo>
                      <a:lnTo>
                        <a:pt x="2990" y="27751"/>
                      </a:lnTo>
                      <a:lnTo>
                        <a:pt x="0" y="35286"/>
                      </a:lnTo>
                    </a:path>
                  </a:pathLst>
                </a:custGeom>
                <a:noFill/>
                <a:ln w="6350" cap="rnd">
                  <a:solidFill>
                    <a:schemeClr val="bg1">
                      <a:alpha val="40000"/>
                    </a:schemeClr>
                  </a:solidFill>
                  <a:prstDash val="solid"/>
                  <a:round/>
                </a:ln>
              </p:spPr>
              <p:txBody>
                <a:bodyPr rtlCol="0" anchor="ctr"/>
                <a:lstStyle/>
                <a:p>
                  <a:endParaRPr lang="en-GB"/>
                </a:p>
              </p:txBody>
            </p:sp>
            <p:sp>
              <p:nvSpPr>
                <p:cNvPr id="6924" name="Vrije vorm: vorm 6923">
                  <a:extLst>
                    <a:ext uri="{FF2B5EF4-FFF2-40B4-BE49-F238E27FC236}">
                      <a16:creationId xmlns:a16="http://schemas.microsoft.com/office/drawing/2014/main" id="{9C40464D-A962-4374-A2E1-4B15EEDBBD45}"/>
                    </a:ext>
                  </a:extLst>
                </p:cNvPr>
                <p:cNvSpPr/>
                <p:nvPr/>
              </p:nvSpPr>
              <p:spPr>
                <a:xfrm>
                  <a:off x="6968637" y="1988989"/>
                  <a:ext cx="14593" cy="36482"/>
                </a:xfrm>
                <a:custGeom>
                  <a:avLst/>
                  <a:gdLst>
                    <a:gd name="connsiteX0" fmla="*/ 14593 w 14593"/>
                    <a:gd name="connsiteY0" fmla="*/ 0 h 36482"/>
                    <a:gd name="connsiteX1" fmla="*/ 13876 w 14593"/>
                    <a:gd name="connsiteY1" fmla="*/ 1734 h 36482"/>
                    <a:gd name="connsiteX2" fmla="*/ 12978 w 14593"/>
                    <a:gd name="connsiteY2" fmla="*/ 3947 h 36482"/>
                    <a:gd name="connsiteX3" fmla="*/ 12859 w 14593"/>
                    <a:gd name="connsiteY3" fmla="*/ 4186 h 36482"/>
                    <a:gd name="connsiteX4" fmla="*/ 12739 w 14593"/>
                    <a:gd name="connsiteY4" fmla="*/ 4426 h 36482"/>
                    <a:gd name="connsiteX5" fmla="*/ 12619 w 14593"/>
                    <a:gd name="connsiteY5" fmla="*/ 4785 h 36482"/>
                    <a:gd name="connsiteX6" fmla="*/ 11902 w 14593"/>
                    <a:gd name="connsiteY6" fmla="*/ 6519 h 36482"/>
                    <a:gd name="connsiteX7" fmla="*/ 11782 w 14593"/>
                    <a:gd name="connsiteY7" fmla="*/ 6878 h 36482"/>
                    <a:gd name="connsiteX8" fmla="*/ 11663 w 14593"/>
                    <a:gd name="connsiteY8" fmla="*/ 7177 h 36482"/>
                    <a:gd name="connsiteX9" fmla="*/ 9928 w 14593"/>
                    <a:gd name="connsiteY9" fmla="*/ 11483 h 36482"/>
                    <a:gd name="connsiteX10" fmla="*/ 6519 w 14593"/>
                    <a:gd name="connsiteY10" fmla="*/ 19976 h 36482"/>
                    <a:gd name="connsiteX11" fmla="*/ 4845 w 14593"/>
                    <a:gd name="connsiteY11" fmla="*/ 24162 h 36482"/>
                    <a:gd name="connsiteX12" fmla="*/ 4725 w 14593"/>
                    <a:gd name="connsiteY12" fmla="*/ 24461 h 36482"/>
                    <a:gd name="connsiteX13" fmla="*/ 4246 w 14593"/>
                    <a:gd name="connsiteY13" fmla="*/ 25717 h 36482"/>
                    <a:gd name="connsiteX14" fmla="*/ 4246 w 14593"/>
                    <a:gd name="connsiteY14" fmla="*/ 25777 h 36482"/>
                    <a:gd name="connsiteX15" fmla="*/ 4187 w 14593"/>
                    <a:gd name="connsiteY15" fmla="*/ 25897 h 36482"/>
                    <a:gd name="connsiteX16" fmla="*/ 3110 w 14593"/>
                    <a:gd name="connsiteY16" fmla="*/ 28588 h 36482"/>
                    <a:gd name="connsiteX17" fmla="*/ 2930 w 14593"/>
                    <a:gd name="connsiteY17" fmla="*/ 29126 h 36482"/>
                    <a:gd name="connsiteX18" fmla="*/ 419 w 14593"/>
                    <a:gd name="connsiteY18" fmla="*/ 35466 h 36482"/>
                    <a:gd name="connsiteX19" fmla="*/ 359 w 14593"/>
                    <a:gd name="connsiteY19" fmla="*/ 35585 h 36482"/>
                    <a:gd name="connsiteX20" fmla="*/ 0 w 14593"/>
                    <a:gd name="connsiteY20" fmla="*/ 36423 h 36482"/>
                    <a:gd name="connsiteX21" fmla="*/ 0 w 14593"/>
                    <a:gd name="connsiteY21" fmla="*/ 36482 h 3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593" h="36482">
                      <a:moveTo>
                        <a:pt x="14593" y="0"/>
                      </a:moveTo>
                      <a:lnTo>
                        <a:pt x="13876" y="1734"/>
                      </a:lnTo>
                      <a:lnTo>
                        <a:pt x="12978" y="3947"/>
                      </a:lnTo>
                      <a:lnTo>
                        <a:pt x="12859" y="4186"/>
                      </a:lnTo>
                      <a:lnTo>
                        <a:pt x="12739" y="4426"/>
                      </a:lnTo>
                      <a:lnTo>
                        <a:pt x="12619" y="4785"/>
                      </a:lnTo>
                      <a:lnTo>
                        <a:pt x="11902" y="6519"/>
                      </a:lnTo>
                      <a:lnTo>
                        <a:pt x="11782" y="6878"/>
                      </a:lnTo>
                      <a:lnTo>
                        <a:pt x="11663" y="7177"/>
                      </a:lnTo>
                      <a:lnTo>
                        <a:pt x="9928" y="11483"/>
                      </a:lnTo>
                      <a:lnTo>
                        <a:pt x="6519" y="19976"/>
                      </a:lnTo>
                      <a:lnTo>
                        <a:pt x="4845" y="24162"/>
                      </a:lnTo>
                      <a:lnTo>
                        <a:pt x="4725" y="24461"/>
                      </a:lnTo>
                      <a:lnTo>
                        <a:pt x="4246" y="25717"/>
                      </a:lnTo>
                      <a:lnTo>
                        <a:pt x="4246" y="25777"/>
                      </a:lnTo>
                      <a:lnTo>
                        <a:pt x="4187" y="25897"/>
                      </a:lnTo>
                      <a:lnTo>
                        <a:pt x="3110" y="28588"/>
                      </a:lnTo>
                      <a:lnTo>
                        <a:pt x="2930" y="29126"/>
                      </a:lnTo>
                      <a:lnTo>
                        <a:pt x="419" y="35466"/>
                      </a:lnTo>
                      <a:lnTo>
                        <a:pt x="359" y="35585"/>
                      </a:lnTo>
                      <a:lnTo>
                        <a:pt x="0" y="36423"/>
                      </a:lnTo>
                      <a:lnTo>
                        <a:pt x="0" y="36482"/>
                      </a:lnTo>
                    </a:path>
                  </a:pathLst>
                </a:custGeom>
                <a:noFill/>
                <a:ln w="6350" cap="rnd">
                  <a:solidFill>
                    <a:schemeClr val="bg1">
                      <a:alpha val="40000"/>
                    </a:schemeClr>
                  </a:solidFill>
                  <a:prstDash val="solid"/>
                  <a:round/>
                </a:ln>
              </p:spPr>
              <p:txBody>
                <a:bodyPr rtlCol="0" anchor="ctr"/>
                <a:lstStyle/>
                <a:p>
                  <a:endParaRPr lang="en-GB"/>
                </a:p>
              </p:txBody>
            </p:sp>
            <p:sp>
              <p:nvSpPr>
                <p:cNvPr id="6925" name="Vrije vorm: vorm 6924">
                  <a:extLst>
                    <a:ext uri="{FF2B5EF4-FFF2-40B4-BE49-F238E27FC236}">
                      <a16:creationId xmlns:a16="http://schemas.microsoft.com/office/drawing/2014/main" id="{C3729BAC-6C8A-48B0-9851-44267F2FC53E}"/>
                    </a:ext>
                  </a:extLst>
                </p:cNvPr>
                <p:cNvSpPr/>
                <p:nvPr/>
              </p:nvSpPr>
              <p:spPr>
                <a:xfrm>
                  <a:off x="7047224" y="1870032"/>
                  <a:ext cx="4246" cy="9808"/>
                </a:xfrm>
                <a:custGeom>
                  <a:avLst/>
                  <a:gdLst>
                    <a:gd name="connsiteX0" fmla="*/ 4246 w 4246"/>
                    <a:gd name="connsiteY0" fmla="*/ 0 h 9808"/>
                    <a:gd name="connsiteX1" fmla="*/ 0 w 4246"/>
                    <a:gd name="connsiteY1" fmla="*/ 9808 h 9808"/>
                  </a:gdLst>
                  <a:ahLst/>
                  <a:cxnLst>
                    <a:cxn ang="0">
                      <a:pos x="connsiteX0" y="connsiteY0"/>
                    </a:cxn>
                    <a:cxn ang="0">
                      <a:pos x="connsiteX1" y="connsiteY1"/>
                    </a:cxn>
                  </a:cxnLst>
                  <a:rect l="l" t="t" r="r" b="b"/>
                  <a:pathLst>
                    <a:path w="4246" h="9808">
                      <a:moveTo>
                        <a:pt x="4246" y="0"/>
                      </a:moveTo>
                      <a:lnTo>
                        <a:pt x="0" y="9808"/>
                      </a:lnTo>
                    </a:path>
                  </a:pathLst>
                </a:custGeom>
                <a:noFill/>
                <a:ln w="6350" cap="rnd">
                  <a:solidFill>
                    <a:schemeClr val="bg1">
                      <a:alpha val="40000"/>
                    </a:schemeClr>
                  </a:solidFill>
                  <a:prstDash val="solid"/>
                  <a:round/>
                </a:ln>
              </p:spPr>
              <p:txBody>
                <a:bodyPr rtlCol="0" anchor="ctr"/>
                <a:lstStyle/>
                <a:p>
                  <a:endParaRPr lang="en-GB"/>
                </a:p>
              </p:txBody>
            </p:sp>
            <p:sp>
              <p:nvSpPr>
                <p:cNvPr id="6926" name="Vrije vorm: vorm 6925">
                  <a:extLst>
                    <a:ext uri="{FF2B5EF4-FFF2-40B4-BE49-F238E27FC236}">
                      <a16:creationId xmlns:a16="http://schemas.microsoft.com/office/drawing/2014/main" id="{63F6A073-2440-445F-9671-8F712FEDC510}"/>
                    </a:ext>
                  </a:extLst>
                </p:cNvPr>
                <p:cNvSpPr/>
                <p:nvPr/>
              </p:nvSpPr>
              <p:spPr>
                <a:xfrm>
                  <a:off x="7083826" y="1805799"/>
                  <a:ext cx="239" cy="598"/>
                </a:xfrm>
                <a:custGeom>
                  <a:avLst/>
                  <a:gdLst>
                    <a:gd name="connsiteX0" fmla="*/ 0 w 239"/>
                    <a:gd name="connsiteY0" fmla="*/ 0 h 598"/>
                    <a:gd name="connsiteX1" fmla="*/ 60 w 239"/>
                    <a:gd name="connsiteY1" fmla="*/ 60 h 598"/>
                    <a:gd name="connsiteX2" fmla="*/ 239 w 239"/>
                    <a:gd name="connsiteY2" fmla="*/ 598 h 598"/>
                  </a:gdLst>
                  <a:ahLst/>
                  <a:cxnLst>
                    <a:cxn ang="0">
                      <a:pos x="connsiteX0" y="connsiteY0"/>
                    </a:cxn>
                    <a:cxn ang="0">
                      <a:pos x="connsiteX1" y="connsiteY1"/>
                    </a:cxn>
                    <a:cxn ang="0">
                      <a:pos x="connsiteX2" y="connsiteY2"/>
                    </a:cxn>
                  </a:cxnLst>
                  <a:rect l="l" t="t" r="r" b="b"/>
                  <a:pathLst>
                    <a:path w="239" h="598">
                      <a:moveTo>
                        <a:pt x="0" y="0"/>
                      </a:moveTo>
                      <a:lnTo>
                        <a:pt x="60" y="60"/>
                      </a:lnTo>
                      <a:lnTo>
                        <a:pt x="239" y="598"/>
                      </a:lnTo>
                    </a:path>
                  </a:pathLst>
                </a:custGeom>
                <a:noFill/>
                <a:ln w="6350" cap="rnd">
                  <a:solidFill>
                    <a:schemeClr val="bg1">
                      <a:alpha val="40000"/>
                    </a:schemeClr>
                  </a:solidFill>
                  <a:prstDash val="solid"/>
                  <a:round/>
                </a:ln>
              </p:spPr>
              <p:txBody>
                <a:bodyPr rtlCol="0" anchor="ctr"/>
                <a:lstStyle/>
                <a:p>
                  <a:endParaRPr lang="en-GB"/>
                </a:p>
              </p:txBody>
            </p:sp>
            <p:sp>
              <p:nvSpPr>
                <p:cNvPr id="6927" name="Vrije vorm: vorm 6926">
                  <a:extLst>
                    <a:ext uri="{FF2B5EF4-FFF2-40B4-BE49-F238E27FC236}">
                      <a16:creationId xmlns:a16="http://schemas.microsoft.com/office/drawing/2014/main" id="{FFB5E1BF-FAB2-42CD-928F-34820D805683}"/>
                    </a:ext>
                  </a:extLst>
                </p:cNvPr>
                <p:cNvSpPr/>
                <p:nvPr/>
              </p:nvSpPr>
              <p:spPr>
                <a:xfrm>
                  <a:off x="6949379" y="2065722"/>
                  <a:ext cx="2392" cy="1614"/>
                </a:xfrm>
                <a:custGeom>
                  <a:avLst/>
                  <a:gdLst>
                    <a:gd name="connsiteX0" fmla="*/ 0 w 2392"/>
                    <a:gd name="connsiteY0" fmla="*/ 0 h 1614"/>
                    <a:gd name="connsiteX1" fmla="*/ 538 w 2392"/>
                    <a:gd name="connsiteY1" fmla="*/ 359 h 1614"/>
                    <a:gd name="connsiteX2" fmla="*/ 957 w 2392"/>
                    <a:gd name="connsiteY2" fmla="*/ 658 h 1614"/>
                    <a:gd name="connsiteX3" fmla="*/ 2392 w 2392"/>
                    <a:gd name="connsiteY3" fmla="*/ 1615 h 1614"/>
                  </a:gdLst>
                  <a:ahLst/>
                  <a:cxnLst>
                    <a:cxn ang="0">
                      <a:pos x="connsiteX0" y="connsiteY0"/>
                    </a:cxn>
                    <a:cxn ang="0">
                      <a:pos x="connsiteX1" y="connsiteY1"/>
                    </a:cxn>
                    <a:cxn ang="0">
                      <a:pos x="connsiteX2" y="connsiteY2"/>
                    </a:cxn>
                    <a:cxn ang="0">
                      <a:pos x="connsiteX3" y="connsiteY3"/>
                    </a:cxn>
                  </a:cxnLst>
                  <a:rect l="l" t="t" r="r" b="b"/>
                  <a:pathLst>
                    <a:path w="2392" h="1614">
                      <a:moveTo>
                        <a:pt x="0" y="0"/>
                      </a:moveTo>
                      <a:lnTo>
                        <a:pt x="538" y="359"/>
                      </a:lnTo>
                      <a:lnTo>
                        <a:pt x="957" y="658"/>
                      </a:lnTo>
                      <a:lnTo>
                        <a:pt x="2392" y="1615"/>
                      </a:lnTo>
                    </a:path>
                  </a:pathLst>
                </a:custGeom>
                <a:noFill/>
                <a:ln w="6350" cap="rnd">
                  <a:solidFill>
                    <a:schemeClr val="bg1">
                      <a:alpha val="40000"/>
                    </a:schemeClr>
                  </a:solidFill>
                  <a:prstDash val="solid"/>
                  <a:round/>
                </a:ln>
              </p:spPr>
              <p:txBody>
                <a:bodyPr rtlCol="0" anchor="ctr"/>
                <a:lstStyle/>
                <a:p>
                  <a:endParaRPr lang="en-GB"/>
                </a:p>
              </p:txBody>
            </p:sp>
            <p:sp>
              <p:nvSpPr>
                <p:cNvPr id="6928" name="Vrije vorm: vorm 6927">
                  <a:extLst>
                    <a:ext uri="{FF2B5EF4-FFF2-40B4-BE49-F238E27FC236}">
                      <a16:creationId xmlns:a16="http://schemas.microsoft.com/office/drawing/2014/main" id="{DDD5A9FF-1F84-4BA6-BF57-07BACB7584ED}"/>
                    </a:ext>
                  </a:extLst>
                </p:cNvPr>
                <p:cNvSpPr/>
                <p:nvPr/>
              </p:nvSpPr>
              <p:spPr>
                <a:xfrm>
                  <a:off x="6943757" y="2061954"/>
                  <a:ext cx="4127" cy="2751"/>
                </a:xfrm>
                <a:custGeom>
                  <a:avLst/>
                  <a:gdLst>
                    <a:gd name="connsiteX0" fmla="*/ 0 w 4127"/>
                    <a:gd name="connsiteY0" fmla="*/ 0 h 2751"/>
                    <a:gd name="connsiteX1" fmla="*/ 1017 w 4127"/>
                    <a:gd name="connsiteY1" fmla="*/ 658 h 2751"/>
                    <a:gd name="connsiteX2" fmla="*/ 4127 w 4127"/>
                    <a:gd name="connsiteY2" fmla="*/ 2751 h 2751"/>
                  </a:gdLst>
                  <a:ahLst/>
                  <a:cxnLst>
                    <a:cxn ang="0">
                      <a:pos x="connsiteX0" y="connsiteY0"/>
                    </a:cxn>
                    <a:cxn ang="0">
                      <a:pos x="connsiteX1" y="connsiteY1"/>
                    </a:cxn>
                    <a:cxn ang="0">
                      <a:pos x="connsiteX2" y="connsiteY2"/>
                    </a:cxn>
                  </a:cxnLst>
                  <a:rect l="l" t="t" r="r" b="b"/>
                  <a:pathLst>
                    <a:path w="4127" h="2751">
                      <a:moveTo>
                        <a:pt x="0" y="0"/>
                      </a:moveTo>
                      <a:lnTo>
                        <a:pt x="1017" y="658"/>
                      </a:lnTo>
                      <a:lnTo>
                        <a:pt x="4127" y="2751"/>
                      </a:lnTo>
                    </a:path>
                  </a:pathLst>
                </a:custGeom>
                <a:noFill/>
                <a:ln w="6350" cap="rnd">
                  <a:solidFill>
                    <a:schemeClr val="bg1">
                      <a:alpha val="40000"/>
                    </a:schemeClr>
                  </a:solidFill>
                  <a:prstDash val="solid"/>
                  <a:round/>
                </a:ln>
              </p:spPr>
              <p:txBody>
                <a:bodyPr rtlCol="0" anchor="ctr"/>
                <a:lstStyle/>
                <a:p>
                  <a:endParaRPr lang="en-GB"/>
                </a:p>
              </p:txBody>
            </p:sp>
            <p:sp>
              <p:nvSpPr>
                <p:cNvPr id="6929" name="Vrije vorm: vorm 6928">
                  <a:extLst>
                    <a:ext uri="{FF2B5EF4-FFF2-40B4-BE49-F238E27FC236}">
                      <a16:creationId xmlns:a16="http://schemas.microsoft.com/office/drawing/2014/main" id="{D124FB7A-B02D-4A07-86E8-54119F3D630A}"/>
                    </a:ext>
                  </a:extLst>
                </p:cNvPr>
                <p:cNvSpPr/>
                <p:nvPr/>
              </p:nvSpPr>
              <p:spPr>
                <a:xfrm>
                  <a:off x="6940109" y="2059442"/>
                  <a:ext cx="2691" cy="1794"/>
                </a:xfrm>
                <a:custGeom>
                  <a:avLst/>
                  <a:gdLst>
                    <a:gd name="connsiteX0" fmla="*/ 0 w 2691"/>
                    <a:gd name="connsiteY0" fmla="*/ 0 h 1794"/>
                    <a:gd name="connsiteX1" fmla="*/ 239 w 2691"/>
                    <a:gd name="connsiteY1" fmla="*/ 179 h 1794"/>
                    <a:gd name="connsiteX2" fmla="*/ 2692 w 2691"/>
                    <a:gd name="connsiteY2" fmla="*/ 1794 h 1794"/>
                  </a:gdLst>
                  <a:ahLst/>
                  <a:cxnLst>
                    <a:cxn ang="0">
                      <a:pos x="connsiteX0" y="connsiteY0"/>
                    </a:cxn>
                    <a:cxn ang="0">
                      <a:pos x="connsiteX1" y="connsiteY1"/>
                    </a:cxn>
                    <a:cxn ang="0">
                      <a:pos x="connsiteX2" y="connsiteY2"/>
                    </a:cxn>
                  </a:cxnLst>
                  <a:rect l="l" t="t" r="r" b="b"/>
                  <a:pathLst>
                    <a:path w="2691" h="1794">
                      <a:moveTo>
                        <a:pt x="0" y="0"/>
                      </a:moveTo>
                      <a:lnTo>
                        <a:pt x="239" y="179"/>
                      </a:lnTo>
                      <a:lnTo>
                        <a:pt x="2692" y="1794"/>
                      </a:lnTo>
                    </a:path>
                  </a:pathLst>
                </a:custGeom>
                <a:noFill/>
                <a:ln w="6350" cap="rnd">
                  <a:solidFill>
                    <a:schemeClr val="bg1">
                      <a:alpha val="40000"/>
                    </a:schemeClr>
                  </a:solidFill>
                  <a:prstDash val="solid"/>
                  <a:round/>
                </a:ln>
              </p:spPr>
              <p:txBody>
                <a:bodyPr rtlCol="0" anchor="ctr"/>
                <a:lstStyle/>
                <a:p>
                  <a:endParaRPr lang="en-GB"/>
                </a:p>
              </p:txBody>
            </p:sp>
            <p:sp>
              <p:nvSpPr>
                <p:cNvPr id="6930" name="Vrije vorm: vorm 6929">
                  <a:extLst>
                    <a:ext uri="{FF2B5EF4-FFF2-40B4-BE49-F238E27FC236}">
                      <a16:creationId xmlns:a16="http://schemas.microsoft.com/office/drawing/2014/main" id="{855DE518-544D-4C78-A8D6-2E96057FC986}"/>
                    </a:ext>
                  </a:extLst>
                </p:cNvPr>
                <p:cNvSpPr/>
                <p:nvPr/>
              </p:nvSpPr>
              <p:spPr>
                <a:xfrm>
                  <a:off x="6931617" y="2059083"/>
                  <a:ext cx="22547" cy="7894"/>
                </a:xfrm>
                <a:custGeom>
                  <a:avLst/>
                  <a:gdLst>
                    <a:gd name="connsiteX0" fmla="*/ 0 w 22547"/>
                    <a:gd name="connsiteY0" fmla="*/ 0 h 7894"/>
                    <a:gd name="connsiteX1" fmla="*/ 120 w 22547"/>
                    <a:gd name="connsiteY1" fmla="*/ 60 h 7894"/>
                    <a:gd name="connsiteX2" fmla="*/ 5323 w 22547"/>
                    <a:gd name="connsiteY2" fmla="*/ 1854 h 7894"/>
                    <a:gd name="connsiteX3" fmla="*/ 6519 w 22547"/>
                    <a:gd name="connsiteY3" fmla="*/ 2273 h 7894"/>
                    <a:gd name="connsiteX4" fmla="*/ 6758 w 22547"/>
                    <a:gd name="connsiteY4" fmla="*/ 2332 h 7894"/>
                    <a:gd name="connsiteX5" fmla="*/ 9270 w 22547"/>
                    <a:gd name="connsiteY5" fmla="*/ 3230 h 7894"/>
                    <a:gd name="connsiteX6" fmla="*/ 13217 w 22547"/>
                    <a:gd name="connsiteY6" fmla="*/ 4605 h 7894"/>
                    <a:gd name="connsiteX7" fmla="*/ 13995 w 22547"/>
                    <a:gd name="connsiteY7" fmla="*/ 4904 h 7894"/>
                    <a:gd name="connsiteX8" fmla="*/ 16208 w 22547"/>
                    <a:gd name="connsiteY8" fmla="*/ 5682 h 7894"/>
                    <a:gd name="connsiteX9" fmla="*/ 17942 w 22547"/>
                    <a:gd name="connsiteY9" fmla="*/ 6280 h 7894"/>
                    <a:gd name="connsiteX10" fmla="*/ 18062 w 22547"/>
                    <a:gd name="connsiteY10" fmla="*/ 6340 h 7894"/>
                    <a:gd name="connsiteX11" fmla="*/ 19078 w 22547"/>
                    <a:gd name="connsiteY11" fmla="*/ 6698 h 7894"/>
                    <a:gd name="connsiteX12" fmla="*/ 20693 w 22547"/>
                    <a:gd name="connsiteY12" fmla="*/ 7237 h 7894"/>
                    <a:gd name="connsiteX13" fmla="*/ 22547 w 22547"/>
                    <a:gd name="connsiteY13" fmla="*/ 7895 h 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47" h="7894">
                      <a:moveTo>
                        <a:pt x="0" y="0"/>
                      </a:moveTo>
                      <a:lnTo>
                        <a:pt x="120" y="60"/>
                      </a:lnTo>
                      <a:lnTo>
                        <a:pt x="5323" y="1854"/>
                      </a:lnTo>
                      <a:lnTo>
                        <a:pt x="6519" y="2273"/>
                      </a:lnTo>
                      <a:lnTo>
                        <a:pt x="6758" y="2332"/>
                      </a:lnTo>
                      <a:lnTo>
                        <a:pt x="9270" y="3230"/>
                      </a:lnTo>
                      <a:lnTo>
                        <a:pt x="13217" y="4605"/>
                      </a:lnTo>
                      <a:lnTo>
                        <a:pt x="13995" y="4904"/>
                      </a:lnTo>
                      <a:lnTo>
                        <a:pt x="16208" y="5682"/>
                      </a:lnTo>
                      <a:lnTo>
                        <a:pt x="17942" y="6280"/>
                      </a:lnTo>
                      <a:lnTo>
                        <a:pt x="18062" y="6340"/>
                      </a:lnTo>
                      <a:lnTo>
                        <a:pt x="19078" y="6698"/>
                      </a:lnTo>
                      <a:lnTo>
                        <a:pt x="20693" y="7237"/>
                      </a:lnTo>
                      <a:lnTo>
                        <a:pt x="22547" y="7895"/>
                      </a:lnTo>
                    </a:path>
                  </a:pathLst>
                </a:custGeom>
                <a:noFill/>
                <a:ln w="6350" cap="rnd">
                  <a:solidFill>
                    <a:schemeClr val="bg1">
                      <a:alpha val="40000"/>
                    </a:schemeClr>
                  </a:solidFill>
                  <a:prstDash val="solid"/>
                  <a:round/>
                </a:ln>
              </p:spPr>
              <p:txBody>
                <a:bodyPr rtlCol="0" anchor="ctr"/>
                <a:lstStyle/>
                <a:p>
                  <a:endParaRPr lang="en-GB"/>
                </a:p>
              </p:txBody>
            </p:sp>
            <p:sp>
              <p:nvSpPr>
                <p:cNvPr id="6931" name="Vrije vorm: vorm 6930">
                  <a:extLst>
                    <a:ext uri="{FF2B5EF4-FFF2-40B4-BE49-F238E27FC236}">
                      <a16:creationId xmlns:a16="http://schemas.microsoft.com/office/drawing/2014/main" id="{FE2F60DA-6DB2-4733-AABF-CDA4D36E8986}"/>
                    </a:ext>
                  </a:extLst>
                </p:cNvPr>
                <p:cNvSpPr/>
                <p:nvPr/>
              </p:nvSpPr>
              <p:spPr>
                <a:xfrm>
                  <a:off x="7068156" y="1812378"/>
                  <a:ext cx="5562" cy="16267"/>
                </a:xfrm>
                <a:custGeom>
                  <a:avLst/>
                  <a:gdLst>
                    <a:gd name="connsiteX0" fmla="*/ 5562 w 5562"/>
                    <a:gd name="connsiteY0" fmla="*/ 0 h 16267"/>
                    <a:gd name="connsiteX1" fmla="*/ 0 w 5562"/>
                    <a:gd name="connsiteY1" fmla="*/ 16268 h 16267"/>
                  </a:gdLst>
                  <a:ahLst/>
                  <a:cxnLst>
                    <a:cxn ang="0">
                      <a:pos x="connsiteX0" y="connsiteY0"/>
                    </a:cxn>
                    <a:cxn ang="0">
                      <a:pos x="connsiteX1" y="connsiteY1"/>
                    </a:cxn>
                  </a:cxnLst>
                  <a:rect l="l" t="t" r="r" b="b"/>
                  <a:pathLst>
                    <a:path w="5562" h="16267">
                      <a:moveTo>
                        <a:pt x="5562" y="0"/>
                      </a:moveTo>
                      <a:lnTo>
                        <a:pt x="0" y="16268"/>
                      </a:lnTo>
                    </a:path>
                  </a:pathLst>
                </a:custGeom>
                <a:noFill/>
                <a:ln w="6350" cap="rnd">
                  <a:solidFill>
                    <a:schemeClr val="bg1">
                      <a:alpha val="40000"/>
                    </a:schemeClr>
                  </a:solidFill>
                  <a:prstDash val="solid"/>
                  <a:round/>
                </a:ln>
              </p:spPr>
              <p:txBody>
                <a:bodyPr rtlCol="0" anchor="ctr"/>
                <a:lstStyle/>
                <a:p>
                  <a:endParaRPr lang="en-GB"/>
                </a:p>
              </p:txBody>
            </p:sp>
            <p:sp>
              <p:nvSpPr>
                <p:cNvPr id="6932" name="Vrije vorm: vorm 6931">
                  <a:extLst>
                    <a:ext uri="{FF2B5EF4-FFF2-40B4-BE49-F238E27FC236}">
                      <a16:creationId xmlns:a16="http://schemas.microsoft.com/office/drawing/2014/main" id="{348314E5-E58D-4DEB-8507-BB4EE8BF0468}"/>
                    </a:ext>
                  </a:extLst>
                </p:cNvPr>
                <p:cNvSpPr/>
                <p:nvPr/>
              </p:nvSpPr>
              <p:spPr>
                <a:xfrm>
                  <a:off x="6965168" y="2025232"/>
                  <a:ext cx="2152" cy="1495"/>
                </a:xfrm>
                <a:custGeom>
                  <a:avLst/>
                  <a:gdLst>
                    <a:gd name="connsiteX0" fmla="*/ 0 w 2152"/>
                    <a:gd name="connsiteY0" fmla="*/ 0 h 1495"/>
                    <a:gd name="connsiteX1" fmla="*/ 957 w 2152"/>
                    <a:gd name="connsiteY1" fmla="*/ 658 h 1495"/>
                    <a:gd name="connsiteX2" fmla="*/ 1734 w 2152"/>
                    <a:gd name="connsiteY2" fmla="*/ 1196 h 1495"/>
                    <a:gd name="connsiteX3" fmla="*/ 1794 w 2152"/>
                    <a:gd name="connsiteY3" fmla="*/ 1256 h 1495"/>
                    <a:gd name="connsiteX4" fmla="*/ 2153 w 2152"/>
                    <a:gd name="connsiteY4" fmla="*/ 1495 h 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 h="1495">
                      <a:moveTo>
                        <a:pt x="0" y="0"/>
                      </a:moveTo>
                      <a:lnTo>
                        <a:pt x="957" y="658"/>
                      </a:lnTo>
                      <a:lnTo>
                        <a:pt x="1734" y="1196"/>
                      </a:lnTo>
                      <a:lnTo>
                        <a:pt x="1794" y="1256"/>
                      </a:lnTo>
                      <a:lnTo>
                        <a:pt x="2153" y="1495"/>
                      </a:lnTo>
                    </a:path>
                  </a:pathLst>
                </a:custGeom>
                <a:noFill/>
                <a:ln w="6350" cap="rnd">
                  <a:solidFill>
                    <a:schemeClr val="bg1">
                      <a:alpha val="40000"/>
                    </a:schemeClr>
                  </a:solidFill>
                  <a:prstDash val="solid"/>
                  <a:round/>
                </a:ln>
              </p:spPr>
              <p:txBody>
                <a:bodyPr rtlCol="0" anchor="ctr"/>
                <a:lstStyle/>
                <a:p>
                  <a:endParaRPr lang="en-GB"/>
                </a:p>
              </p:txBody>
            </p:sp>
            <p:sp>
              <p:nvSpPr>
                <p:cNvPr id="6933" name="Vrije vorm: vorm 6932">
                  <a:extLst>
                    <a:ext uri="{FF2B5EF4-FFF2-40B4-BE49-F238E27FC236}">
                      <a16:creationId xmlns:a16="http://schemas.microsoft.com/office/drawing/2014/main" id="{3637B5EF-834E-4FCA-A7AD-9015E707CB83}"/>
                    </a:ext>
                  </a:extLst>
                </p:cNvPr>
                <p:cNvSpPr/>
                <p:nvPr/>
              </p:nvSpPr>
              <p:spPr>
                <a:xfrm>
                  <a:off x="6960743" y="2022361"/>
                  <a:ext cx="3110" cy="2033"/>
                </a:xfrm>
                <a:custGeom>
                  <a:avLst/>
                  <a:gdLst>
                    <a:gd name="connsiteX0" fmla="*/ 0 w 3110"/>
                    <a:gd name="connsiteY0" fmla="*/ 0 h 2033"/>
                    <a:gd name="connsiteX1" fmla="*/ 478 w 3110"/>
                    <a:gd name="connsiteY1" fmla="*/ 299 h 2033"/>
                    <a:gd name="connsiteX2" fmla="*/ 658 w 3110"/>
                    <a:gd name="connsiteY2" fmla="*/ 419 h 2033"/>
                    <a:gd name="connsiteX3" fmla="*/ 3110 w 3110"/>
                    <a:gd name="connsiteY3" fmla="*/ 2033 h 2033"/>
                  </a:gdLst>
                  <a:ahLst/>
                  <a:cxnLst>
                    <a:cxn ang="0">
                      <a:pos x="connsiteX0" y="connsiteY0"/>
                    </a:cxn>
                    <a:cxn ang="0">
                      <a:pos x="connsiteX1" y="connsiteY1"/>
                    </a:cxn>
                    <a:cxn ang="0">
                      <a:pos x="connsiteX2" y="connsiteY2"/>
                    </a:cxn>
                    <a:cxn ang="0">
                      <a:pos x="connsiteX3" y="connsiteY3"/>
                    </a:cxn>
                  </a:cxnLst>
                  <a:rect l="l" t="t" r="r" b="b"/>
                  <a:pathLst>
                    <a:path w="3110" h="2033">
                      <a:moveTo>
                        <a:pt x="0" y="0"/>
                      </a:moveTo>
                      <a:lnTo>
                        <a:pt x="478" y="299"/>
                      </a:lnTo>
                      <a:lnTo>
                        <a:pt x="658" y="419"/>
                      </a:lnTo>
                      <a:lnTo>
                        <a:pt x="3110" y="2033"/>
                      </a:lnTo>
                    </a:path>
                  </a:pathLst>
                </a:custGeom>
                <a:noFill/>
                <a:ln w="6350" cap="rnd">
                  <a:solidFill>
                    <a:schemeClr val="bg1">
                      <a:alpha val="40000"/>
                    </a:schemeClr>
                  </a:solidFill>
                  <a:prstDash val="solid"/>
                  <a:round/>
                </a:ln>
              </p:spPr>
              <p:txBody>
                <a:bodyPr rtlCol="0" anchor="ctr"/>
                <a:lstStyle/>
                <a:p>
                  <a:endParaRPr lang="en-GB"/>
                </a:p>
              </p:txBody>
            </p:sp>
            <p:sp>
              <p:nvSpPr>
                <p:cNvPr id="6934" name="Vrije vorm: vorm 6933">
                  <a:extLst>
                    <a:ext uri="{FF2B5EF4-FFF2-40B4-BE49-F238E27FC236}">
                      <a16:creationId xmlns:a16="http://schemas.microsoft.com/office/drawing/2014/main" id="{737CBDCB-15C8-408D-87C1-6EFD0148D866}"/>
                    </a:ext>
                  </a:extLst>
                </p:cNvPr>
                <p:cNvSpPr/>
                <p:nvPr/>
              </p:nvSpPr>
              <p:spPr>
                <a:xfrm>
                  <a:off x="6955659" y="2019012"/>
                  <a:ext cx="3169" cy="2093"/>
                </a:xfrm>
                <a:custGeom>
                  <a:avLst/>
                  <a:gdLst>
                    <a:gd name="connsiteX0" fmla="*/ 0 w 3169"/>
                    <a:gd name="connsiteY0" fmla="*/ 0 h 2093"/>
                    <a:gd name="connsiteX1" fmla="*/ 956 w 3169"/>
                    <a:gd name="connsiteY1" fmla="*/ 658 h 2093"/>
                    <a:gd name="connsiteX2" fmla="*/ 3169 w 3169"/>
                    <a:gd name="connsiteY2" fmla="*/ 2093 h 2093"/>
                  </a:gdLst>
                  <a:ahLst/>
                  <a:cxnLst>
                    <a:cxn ang="0">
                      <a:pos x="connsiteX0" y="connsiteY0"/>
                    </a:cxn>
                    <a:cxn ang="0">
                      <a:pos x="connsiteX1" y="connsiteY1"/>
                    </a:cxn>
                    <a:cxn ang="0">
                      <a:pos x="connsiteX2" y="connsiteY2"/>
                    </a:cxn>
                  </a:cxnLst>
                  <a:rect l="l" t="t" r="r" b="b"/>
                  <a:pathLst>
                    <a:path w="3169" h="2093">
                      <a:moveTo>
                        <a:pt x="0" y="0"/>
                      </a:moveTo>
                      <a:lnTo>
                        <a:pt x="956" y="658"/>
                      </a:lnTo>
                      <a:lnTo>
                        <a:pt x="3169" y="2093"/>
                      </a:lnTo>
                    </a:path>
                  </a:pathLst>
                </a:custGeom>
                <a:noFill/>
                <a:ln w="6350" cap="rnd">
                  <a:solidFill>
                    <a:schemeClr val="bg1">
                      <a:alpha val="40000"/>
                    </a:schemeClr>
                  </a:solidFill>
                  <a:prstDash val="solid"/>
                  <a:round/>
                </a:ln>
              </p:spPr>
              <p:txBody>
                <a:bodyPr rtlCol="0" anchor="ctr"/>
                <a:lstStyle/>
                <a:p>
                  <a:endParaRPr lang="en-GB"/>
                </a:p>
              </p:txBody>
            </p:sp>
            <p:sp>
              <p:nvSpPr>
                <p:cNvPr id="6935" name="Vrije vorm: vorm 6934">
                  <a:extLst>
                    <a:ext uri="{FF2B5EF4-FFF2-40B4-BE49-F238E27FC236}">
                      <a16:creationId xmlns:a16="http://schemas.microsoft.com/office/drawing/2014/main" id="{5E889686-797F-4D24-84D6-122DC6965562}"/>
                    </a:ext>
                  </a:extLst>
                </p:cNvPr>
                <p:cNvSpPr/>
                <p:nvPr/>
              </p:nvSpPr>
              <p:spPr>
                <a:xfrm>
                  <a:off x="6936162" y="2051428"/>
                  <a:ext cx="1016" cy="4605"/>
                </a:xfrm>
                <a:custGeom>
                  <a:avLst/>
                  <a:gdLst>
                    <a:gd name="connsiteX0" fmla="*/ 1016 w 1016"/>
                    <a:gd name="connsiteY0" fmla="*/ 4605 h 4605"/>
                    <a:gd name="connsiteX1" fmla="*/ 0 w 1016"/>
                    <a:gd name="connsiteY1" fmla="*/ 0 h 4605"/>
                  </a:gdLst>
                  <a:ahLst/>
                  <a:cxnLst>
                    <a:cxn ang="0">
                      <a:pos x="connsiteX0" y="connsiteY0"/>
                    </a:cxn>
                    <a:cxn ang="0">
                      <a:pos x="connsiteX1" y="connsiteY1"/>
                    </a:cxn>
                  </a:cxnLst>
                  <a:rect l="l" t="t" r="r" b="b"/>
                  <a:pathLst>
                    <a:path w="1016" h="4605">
                      <a:moveTo>
                        <a:pt x="1016" y="4605"/>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36" name="Vrije vorm: vorm 6935">
                  <a:extLst>
                    <a:ext uri="{FF2B5EF4-FFF2-40B4-BE49-F238E27FC236}">
                      <a16:creationId xmlns:a16="http://schemas.microsoft.com/office/drawing/2014/main" id="{EB6F4F1B-3DCE-4D7F-871B-5579342A4F08}"/>
                    </a:ext>
                  </a:extLst>
                </p:cNvPr>
                <p:cNvSpPr/>
                <p:nvPr/>
              </p:nvSpPr>
              <p:spPr>
                <a:xfrm>
                  <a:off x="6956197" y="1982410"/>
                  <a:ext cx="13336" cy="35226"/>
                </a:xfrm>
                <a:custGeom>
                  <a:avLst/>
                  <a:gdLst>
                    <a:gd name="connsiteX0" fmla="*/ 0 w 13336"/>
                    <a:gd name="connsiteY0" fmla="*/ 35226 h 35226"/>
                    <a:gd name="connsiteX1" fmla="*/ 897 w 13336"/>
                    <a:gd name="connsiteY1" fmla="*/ 32834 h 35226"/>
                    <a:gd name="connsiteX2" fmla="*/ 957 w 13336"/>
                    <a:gd name="connsiteY2" fmla="*/ 32655 h 35226"/>
                    <a:gd name="connsiteX3" fmla="*/ 1136 w 13336"/>
                    <a:gd name="connsiteY3" fmla="*/ 32236 h 35226"/>
                    <a:gd name="connsiteX4" fmla="*/ 1316 w 13336"/>
                    <a:gd name="connsiteY4" fmla="*/ 31758 h 35226"/>
                    <a:gd name="connsiteX5" fmla="*/ 1973 w 13336"/>
                    <a:gd name="connsiteY5" fmla="*/ 30023 h 35226"/>
                    <a:gd name="connsiteX6" fmla="*/ 2571 w 13336"/>
                    <a:gd name="connsiteY6" fmla="*/ 28408 h 35226"/>
                    <a:gd name="connsiteX7" fmla="*/ 3349 w 13336"/>
                    <a:gd name="connsiteY7" fmla="*/ 26315 h 35226"/>
                    <a:gd name="connsiteX8" fmla="*/ 3469 w 13336"/>
                    <a:gd name="connsiteY8" fmla="*/ 26076 h 35226"/>
                    <a:gd name="connsiteX9" fmla="*/ 3528 w 13336"/>
                    <a:gd name="connsiteY9" fmla="*/ 26016 h 35226"/>
                    <a:gd name="connsiteX10" fmla="*/ 4066 w 13336"/>
                    <a:gd name="connsiteY10" fmla="*/ 24521 h 35226"/>
                    <a:gd name="connsiteX11" fmla="*/ 5203 w 13336"/>
                    <a:gd name="connsiteY11" fmla="*/ 21531 h 35226"/>
                    <a:gd name="connsiteX12" fmla="*/ 6997 w 13336"/>
                    <a:gd name="connsiteY12" fmla="*/ 16866 h 35226"/>
                    <a:gd name="connsiteX13" fmla="*/ 9210 w 13336"/>
                    <a:gd name="connsiteY13" fmla="*/ 11005 h 35226"/>
                    <a:gd name="connsiteX14" fmla="*/ 11483 w 13336"/>
                    <a:gd name="connsiteY14" fmla="*/ 5024 h 35226"/>
                    <a:gd name="connsiteX15" fmla="*/ 11542 w 13336"/>
                    <a:gd name="connsiteY15" fmla="*/ 4844 h 35226"/>
                    <a:gd name="connsiteX16" fmla="*/ 12440 w 13336"/>
                    <a:gd name="connsiteY16" fmla="*/ 2452 h 35226"/>
                    <a:gd name="connsiteX17" fmla="*/ 12619 w 13336"/>
                    <a:gd name="connsiteY17" fmla="*/ 1914 h 35226"/>
                    <a:gd name="connsiteX18" fmla="*/ 12739 w 13336"/>
                    <a:gd name="connsiteY18" fmla="*/ 1615 h 35226"/>
                    <a:gd name="connsiteX19" fmla="*/ 13337 w 13336"/>
                    <a:gd name="connsiteY19" fmla="*/ 0 h 35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336" h="35226">
                      <a:moveTo>
                        <a:pt x="0" y="35226"/>
                      </a:moveTo>
                      <a:lnTo>
                        <a:pt x="897" y="32834"/>
                      </a:lnTo>
                      <a:lnTo>
                        <a:pt x="957" y="32655"/>
                      </a:lnTo>
                      <a:lnTo>
                        <a:pt x="1136" y="32236"/>
                      </a:lnTo>
                      <a:lnTo>
                        <a:pt x="1316" y="31758"/>
                      </a:lnTo>
                      <a:lnTo>
                        <a:pt x="1973" y="30023"/>
                      </a:lnTo>
                      <a:lnTo>
                        <a:pt x="2571" y="28408"/>
                      </a:lnTo>
                      <a:lnTo>
                        <a:pt x="3349" y="26315"/>
                      </a:lnTo>
                      <a:lnTo>
                        <a:pt x="3469" y="26076"/>
                      </a:lnTo>
                      <a:lnTo>
                        <a:pt x="3528" y="26016"/>
                      </a:lnTo>
                      <a:lnTo>
                        <a:pt x="4066" y="24521"/>
                      </a:lnTo>
                      <a:lnTo>
                        <a:pt x="5203" y="21531"/>
                      </a:lnTo>
                      <a:lnTo>
                        <a:pt x="6997" y="16866"/>
                      </a:lnTo>
                      <a:lnTo>
                        <a:pt x="9210" y="11005"/>
                      </a:lnTo>
                      <a:lnTo>
                        <a:pt x="11483" y="5024"/>
                      </a:lnTo>
                      <a:lnTo>
                        <a:pt x="11542" y="4844"/>
                      </a:lnTo>
                      <a:lnTo>
                        <a:pt x="12440" y="2452"/>
                      </a:lnTo>
                      <a:lnTo>
                        <a:pt x="12619" y="1914"/>
                      </a:lnTo>
                      <a:lnTo>
                        <a:pt x="12739" y="1615"/>
                      </a:lnTo>
                      <a:lnTo>
                        <a:pt x="13337" y="0"/>
                      </a:lnTo>
                    </a:path>
                  </a:pathLst>
                </a:custGeom>
                <a:noFill/>
                <a:ln w="6350" cap="rnd">
                  <a:solidFill>
                    <a:schemeClr val="bg1">
                      <a:alpha val="40000"/>
                    </a:schemeClr>
                  </a:solidFill>
                  <a:prstDash val="solid"/>
                  <a:round/>
                </a:ln>
              </p:spPr>
              <p:txBody>
                <a:bodyPr rtlCol="0" anchor="ctr"/>
                <a:lstStyle/>
                <a:p>
                  <a:endParaRPr lang="en-GB"/>
                </a:p>
              </p:txBody>
            </p:sp>
            <p:sp>
              <p:nvSpPr>
                <p:cNvPr id="6937" name="Vrije vorm: vorm 6936">
                  <a:extLst>
                    <a:ext uri="{FF2B5EF4-FFF2-40B4-BE49-F238E27FC236}">
                      <a16:creationId xmlns:a16="http://schemas.microsoft.com/office/drawing/2014/main" id="{B6AE6EDF-7F35-459F-856E-36B3006C0844}"/>
                    </a:ext>
                  </a:extLst>
                </p:cNvPr>
                <p:cNvSpPr/>
                <p:nvPr/>
              </p:nvSpPr>
              <p:spPr>
                <a:xfrm>
                  <a:off x="6941186" y="2024455"/>
                  <a:ext cx="12499" cy="33013"/>
                </a:xfrm>
                <a:custGeom>
                  <a:avLst/>
                  <a:gdLst>
                    <a:gd name="connsiteX0" fmla="*/ 0 w 12499"/>
                    <a:gd name="connsiteY0" fmla="*/ 33014 h 33013"/>
                    <a:gd name="connsiteX1" fmla="*/ 3768 w 12499"/>
                    <a:gd name="connsiteY1" fmla="*/ 22966 h 33013"/>
                    <a:gd name="connsiteX2" fmla="*/ 3828 w 12499"/>
                    <a:gd name="connsiteY2" fmla="*/ 22846 h 33013"/>
                    <a:gd name="connsiteX3" fmla="*/ 4007 w 12499"/>
                    <a:gd name="connsiteY3" fmla="*/ 22428 h 33013"/>
                    <a:gd name="connsiteX4" fmla="*/ 6878 w 12499"/>
                    <a:gd name="connsiteY4" fmla="*/ 14772 h 33013"/>
                    <a:gd name="connsiteX5" fmla="*/ 7296 w 12499"/>
                    <a:gd name="connsiteY5" fmla="*/ 13636 h 33013"/>
                    <a:gd name="connsiteX6" fmla="*/ 8493 w 12499"/>
                    <a:gd name="connsiteY6" fmla="*/ 10406 h 33013"/>
                    <a:gd name="connsiteX7" fmla="*/ 8612 w 12499"/>
                    <a:gd name="connsiteY7" fmla="*/ 10167 h 33013"/>
                    <a:gd name="connsiteX8" fmla="*/ 9689 w 12499"/>
                    <a:gd name="connsiteY8" fmla="*/ 7356 h 33013"/>
                    <a:gd name="connsiteX9" fmla="*/ 10167 w 12499"/>
                    <a:gd name="connsiteY9" fmla="*/ 6160 h 33013"/>
                    <a:gd name="connsiteX10" fmla="*/ 10586 w 12499"/>
                    <a:gd name="connsiteY10" fmla="*/ 5143 h 33013"/>
                    <a:gd name="connsiteX11" fmla="*/ 11542 w 12499"/>
                    <a:gd name="connsiteY11" fmla="*/ 2572 h 33013"/>
                    <a:gd name="connsiteX12" fmla="*/ 12500 w 12499"/>
                    <a:gd name="connsiteY12" fmla="*/ 0 h 33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99" h="33013">
                      <a:moveTo>
                        <a:pt x="0" y="33014"/>
                      </a:moveTo>
                      <a:lnTo>
                        <a:pt x="3768" y="22966"/>
                      </a:lnTo>
                      <a:lnTo>
                        <a:pt x="3828" y="22846"/>
                      </a:lnTo>
                      <a:lnTo>
                        <a:pt x="4007" y="22428"/>
                      </a:lnTo>
                      <a:lnTo>
                        <a:pt x="6878" y="14772"/>
                      </a:lnTo>
                      <a:lnTo>
                        <a:pt x="7296" y="13636"/>
                      </a:lnTo>
                      <a:lnTo>
                        <a:pt x="8493" y="10406"/>
                      </a:lnTo>
                      <a:lnTo>
                        <a:pt x="8612" y="10167"/>
                      </a:lnTo>
                      <a:lnTo>
                        <a:pt x="9689" y="7356"/>
                      </a:lnTo>
                      <a:lnTo>
                        <a:pt x="10167" y="6160"/>
                      </a:lnTo>
                      <a:lnTo>
                        <a:pt x="10586" y="5143"/>
                      </a:lnTo>
                      <a:lnTo>
                        <a:pt x="11542" y="2572"/>
                      </a:lnTo>
                      <a:lnTo>
                        <a:pt x="12500" y="0"/>
                      </a:lnTo>
                    </a:path>
                  </a:pathLst>
                </a:custGeom>
                <a:noFill/>
                <a:ln w="6350" cap="rnd">
                  <a:solidFill>
                    <a:schemeClr val="bg1">
                      <a:alpha val="40000"/>
                    </a:schemeClr>
                  </a:solidFill>
                  <a:prstDash val="solid"/>
                  <a:round/>
                </a:ln>
              </p:spPr>
              <p:txBody>
                <a:bodyPr rtlCol="0" anchor="ctr"/>
                <a:lstStyle/>
                <a:p>
                  <a:endParaRPr lang="en-GB"/>
                </a:p>
              </p:txBody>
            </p:sp>
            <p:sp>
              <p:nvSpPr>
                <p:cNvPr id="6938" name="Vrije vorm: vorm 6937">
                  <a:extLst>
                    <a:ext uri="{FF2B5EF4-FFF2-40B4-BE49-F238E27FC236}">
                      <a16:creationId xmlns:a16="http://schemas.microsoft.com/office/drawing/2014/main" id="{27B3D012-787F-43B5-883F-E1E4F9BFE0C2}"/>
                    </a:ext>
                  </a:extLst>
                </p:cNvPr>
                <p:cNvSpPr/>
                <p:nvPr/>
              </p:nvSpPr>
              <p:spPr>
                <a:xfrm>
                  <a:off x="6953327" y="2020089"/>
                  <a:ext cx="16387" cy="6698"/>
                </a:xfrm>
                <a:custGeom>
                  <a:avLst/>
                  <a:gdLst>
                    <a:gd name="connsiteX0" fmla="*/ 0 w 16387"/>
                    <a:gd name="connsiteY0" fmla="*/ 0 h 6698"/>
                    <a:gd name="connsiteX1" fmla="*/ 179 w 16387"/>
                    <a:gd name="connsiteY1" fmla="*/ 60 h 6698"/>
                    <a:gd name="connsiteX2" fmla="*/ 837 w 16387"/>
                    <a:gd name="connsiteY2" fmla="*/ 299 h 6698"/>
                    <a:gd name="connsiteX3" fmla="*/ 956 w 16387"/>
                    <a:gd name="connsiteY3" fmla="*/ 359 h 6698"/>
                    <a:gd name="connsiteX4" fmla="*/ 1674 w 16387"/>
                    <a:gd name="connsiteY4" fmla="*/ 658 h 6698"/>
                    <a:gd name="connsiteX5" fmla="*/ 2571 w 16387"/>
                    <a:gd name="connsiteY5" fmla="*/ 1017 h 6698"/>
                    <a:gd name="connsiteX6" fmla="*/ 4126 w 16387"/>
                    <a:gd name="connsiteY6" fmla="*/ 1675 h 6698"/>
                    <a:gd name="connsiteX7" fmla="*/ 5801 w 16387"/>
                    <a:gd name="connsiteY7" fmla="*/ 2392 h 6698"/>
                    <a:gd name="connsiteX8" fmla="*/ 5981 w 16387"/>
                    <a:gd name="connsiteY8" fmla="*/ 2452 h 6698"/>
                    <a:gd name="connsiteX9" fmla="*/ 6041 w 16387"/>
                    <a:gd name="connsiteY9" fmla="*/ 2452 h 6698"/>
                    <a:gd name="connsiteX10" fmla="*/ 6639 w 16387"/>
                    <a:gd name="connsiteY10" fmla="*/ 2691 h 6698"/>
                    <a:gd name="connsiteX11" fmla="*/ 7057 w 16387"/>
                    <a:gd name="connsiteY11" fmla="*/ 2871 h 6698"/>
                    <a:gd name="connsiteX12" fmla="*/ 7775 w 16387"/>
                    <a:gd name="connsiteY12" fmla="*/ 3170 h 6698"/>
                    <a:gd name="connsiteX13" fmla="*/ 8432 w 16387"/>
                    <a:gd name="connsiteY13" fmla="*/ 3469 h 6698"/>
                    <a:gd name="connsiteX14" fmla="*/ 10526 w 16387"/>
                    <a:gd name="connsiteY14" fmla="*/ 4366 h 6698"/>
                    <a:gd name="connsiteX15" fmla="*/ 12021 w 16387"/>
                    <a:gd name="connsiteY15" fmla="*/ 4964 h 6698"/>
                    <a:gd name="connsiteX16" fmla="*/ 13097 w 16387"/>
                    <a:gd name="connsiteY16" fmla="*/ 5383 h 6698"/>
                    <a:gd name="connsiteX17" fmla="*/ 13516 w 16387"/>
                    <a:gd name="connsiteY17" fmla="*/ 5562 h 6698"/>
                    <a:gd name="connsiteX18" fmla="*/ 13516 w 16387"/>
                    <a:gd name="connsiteY18" fmla="*/ 5562 h 6698"/>
                    <a:gd name="connsiteX19" fmla="*/ 14952 w 16387"/>
                    <a:gd name="connsiteY19" fmla="*/ 6160 h 6698"/>
                    <a:gd name="connsiteX20" fmla="*/ 15012 w 16387"/>
                    <a:gd name="connsiteY20" fmla="*/ 6160 h 6698"/>
                    <a:gd name="connsiteX21" fmla="*/ 15012 w 16387"/>
                    <a:gd name="connsiteY21" fmla="*/ 6160 h 6698"/>
                    <a:gd name="connsiteX22" fmla="*/ 16088 w 16387"/>
                    <a:gd name="connsiteY22" fmla="*/ 6579 h 6698"/>
                    <a:gd name="connsiteX23" fmla="*/ 16387 w 16387"/>
                    <a:gd name="connsiteY23" fmla="*/ 6698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87" h="6698">
                      <a:moveTo>
                        <a:pt x="0" y="0"/>
                      </a:moveTo>
                      <a:lnTo>
                        <a:pt x="179" y="60"/>
                      </a:lnTo>
                      <a:lnTo>
                        <a:pt x="837" y="299"/>
                      </a:lnTo>
                      <a:lnTo>
                        <a:pt x="956" y="359"/>
                      </a:lnTo>
                      <a:lnTo>
                        <a:pt x="1674" y="658"/>
                      </a:lnTo>
                      <a:lnTo>
                        <a:pt x="2571" y="1017"/>
                      </a:lnTo>
                      <a:lnTo>
                        <a:pt x="4126" y="1675"/>
                      </a:lnTo>
                      <a:lnTo>
                        <a:pt x="5801" y="2392"/>
                      </a:lnTo>
                      <a:lnTo>
                        <a:pt x="5981" y="2452"/>
                      </a:lnTo>
                      <a:lnTo>
                        <a:pt x="6041" y="2452"/>
                      </a:lnTo>
                      <a:lnTo>
                        <a:pt x="6639" y="2691"/>
                      </a:lnTo>
                      <a:lnTo>
                        <a:pt x="7057" y="2871"/>
                      </a:lnTo>
                      <a:lnTo>
                        <a:pt x="7775" y="3170"/>
                      </a:lnTo>
                      <a:lnTo>
                        <a:pt x="8432" y="3469"/>
                      </a:lnTo>
                      <a:lnTo>
                        <a:pt x="10526" y="4366"/>
                      </a:lnTo>
                      <a:lnTo>
                        <a:pt x="12021" y="4964"/>
                      </a:lnTo>
                      <a:lnTo>
                        <a:pt x="13097" y="5383"/>
                      </a:lnTo>
                      <a:lnTo>
                        <a:pt x="13516" y="5562"/>
                      </a:lnTo>
                      <a:lnTo>
                        <a:pt x="13516" y="5562"/>
                      </a:lnTo>
                      <a:lnTo>
                        <a:pt x="14952" y="6160"/>
                      </a:lnTo>
                      <a:lnTo>
                        <a:pt x="15012" y="6160"/>
                      </a:lnTo>
                      <a:lnTo>
                        <a:pt x="15012" y="6160"/>
                      </a:lnTo>
                      <a:lnTo>
                        <a:pt x="16088" y="6579"/>
                      </a:lnTo>
                      <a:lnTo>
                        <a:pt x="16387" y="6698"/>
                      </a:lnTo>
                    </a:path>
                  </a:pathLst>
                </a:custGeom>
                <a:noFill/>
                <a:ln w="6350" cap="rnd">
                  <a:solidFill>
                    <a:schemeClr val="bg1">
                      <a:alpha val="40000"/>
                    </a:schemeClr>
                  </a:solidFill>
                  <a:prstDash val="solid"/>
                  <a:round/>
                </a:ln>
              </p:spPr>
              <p:txBody>
                <a:bodyPr rtlCol="0" anchor="ctr"/>
                <a:lstStyle/>
                <a:p>
                  <a:endParaRPr lang="en-GB"/>
                </a:p>
              </p:txBody>
            </p:sp>
            <p:sp>
              <p:nvSpPr>
                <p:cNvPr id="6939" name="Vrije vorm: vorm 6938">
                  <a:extLst>
                    <a:ext uri="{FF2B5EF4-FFF2-40B4-BE49-F238E27FC236}">
                      <a16:creationId xmlns:a16="http://schemas.microsoft.com/office/drawing/2014/main" id="{C4E2365F-6CC6-4D17-9935-8B38A8C9D6CF}"/>
                    </a:ext>
                  </a:extLst>
                </p:cNvPr>
                <p:cNvSpPr/>
                <p:nvPr/>
              </p:nvSpPr>
              <p:spPr>
                <a:xfrm>
                  <a:off x="7078144" y="1799400"/>
                  <a:ext cx="5143" cy="6578"/>
                </a:xfrm>
                <a:custGeom>
                  <a:avLst/>
                  <a:gdLst>
                    <a:gd name="connsiteX0" fmla="*/ 0 w 5143"/>
                    <a:gd name="connsiteY0" fmla="*/ 0 h 6578"/>
                    <a:gd name="connsiteX1" fmla="*/ 120 w 5143"/>
                    <a:gd name="connsiteY1" fmla="*/ 179 h 6578"/>
                    <a:gd name="connsiteX2" fmla="*/ 1136 w 5143"/>
                    <a:gd name="connsiteY2" fmla="*/ 1435 h 6578"/>
                    <a:gd name="connsiteX3" fmla="*/ 1435 w 5143"/>
                    <a:gd name="connsiteY3" fmla="*/ 1794 h 6578"/>
                    <a:gd name="connsiteX4" fmla="*/ 1495 w 5143"/>
                    <a:gd name="connsiteY4" fmla="*/ 1914 h 6578"/>
                    <a:gd name="connsiteX5" fmla="*/ 5143 w 5143"/>
                    <a:gd name="connsiteY5" fmla="*/ 6579 h 6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3" h="6578">
                      <a:moveTo>
                        <a:pt x="0" y="0"/>
                      </a:moveTo>
                      <a:lnTo>
                        <a:pt x="120" y="179"/>
                      </a:lnTo>
                      <a:lnTo>
                        <a:pt x="1136" y="1435"/>
                      </a:lnTo>
                      <a:lnTo>
                        <a:pt x="1435" y="1794"/>
                      </a:lnTo>
                      <a:lnTo>
                        <a:pt x="1495" y="1914"/>
                      </a:lnTo>
                      <a:lnTo>
                        <a:pt x="5143" y="6579"/>
                      </a:lnTo>
                    </a:path>
                  </a:pathLst>
                </a:custGeom>
                <a:noFill/>
                <a:ln w="6350" cap="rnd">
                  <a:solidFill>
                    <a:schemeClr val="bg1">
                      <a:alpha val="40000"/>
                    </a:schemeClr>
                  </a:solidFill>
                  <a:prstDash val="solid"/>
                  <a:round/>
                </a:ln>
              </p:spPr>
              <p:txBody>
                <a:bodyPr rtlCol="0" anchor="ctr"/>
                <a:lstStyle/>
                <a:p>
                  <a:endParaRPr lang="en-GB"/>
                </a:p>
              </p:txBody>
            </p:sp>
            <p:sp>
              <p:nvSpPr>
                <p:cNvPr id="6940" name="Vrije vorm: vorm 6939">
                  <a:extLst>
                    <a:ext uri="{FF2B5EF4-FFF2-40B4-BE49-F238E27FC236}">
                      <a16:creationId xmlns:a16="http://schemas.microsoft.com/office/drawing/2014/main" id="{E14FDE1B-A395-436D-A016-9AEC6EB04072}"/>
                    </a:ext>
                  </a:extLst>
                </p:cNvPr>
                <p:cNvSpPr/>
                <p:nvPr/>
              </p:nvSpPr>
              <p:spPr>
                <a:xfrm>
                  <a:off x="6920731" y="2059920"/>
                  <a:ext cx="5980" cy="59"/>
                </a:xfrm>
                <a:custGeom>
                  <a:avLst/>
                  <a:gdLst>
                    <a:gd name="connsiteX0" fmla="*/ 0 w 5980"/>
                    <a:gd name="connsiteY0" fmla="*/ 0 h 59"/>
                    <a:gd name="connsiteX1" fmla="*/ 0 w 5980"/>
                    <a:gd name="connsiteY1" fmla="*/ 60 h 59"/>
                  </a:gdLst>
                  <a:ahLst/>
                  <a:cxnLst>
                    <a:cxn ang="0">
                      <a:pos x="connsiteX0" y="connsiteY0"/>
                    </a:cxn>
                    <a:cxn ang="0">
                      <a:pos x="connsiteX1" y="connsiteY1"/>
                    </a:cxn>
                  </a:cxnLst>
                  <a:rect l="l" t="t" r="r" b="b"/>
                  <a:pathLst>
                    <a:path w="5980" h="59">
                      <a:moveTo>
                        <a:pt x="0" y="0"/>
                      </a:moveTo>
                      <a:lnTo>
                        <a:pt x="0" y="60"/>
                      </a:lnTo>
                    </a:path>
                  </a:pathLst>
                </a:custGeom>
                <a:noFill/>
                <a:ln w="6350" cap="rnd">
                  <a:solidFill>
                    <a:schemeClr val="bg1">
                      <a:alpha val="40000"/>
                    </a:schemeClr>
                  </a:solidFill>
                  <a:prstDash val="solid"/>
                  <a:round/>
                </a:ln>
              </p:spPr>
              <p:txBody>
                <a:bodyPr rtlCol="0" anchor="ctr"/>
                <a:lstStyle/>
                <a:p>
                  <a:endParaRPr lang="en-GB"/>
                </a:p>
              </p:txBody>
            </p:sp>
            <p:sp>
              <p:nvSpPr>
                <p:cNvPr id="6941" name="Vrije vorm: vorm 6940">
                  <a:extLst>
                    <a:ext uri="{FF2B5EF4-FFF2-40B4-BE49-F238E27FC236}">
                      <a16:creationId xmlns:a16="http://schemas.microsoft.com/office/drawing/2014/main" id="{2B5979A9-F184-4F2D-97A1-27BAB5C5E620}"/>
                    </a:ext>
                  </a:extLst>
                </p:cNvPr>
                <p:cNvSpPr/>
                <p:nvPr/>
              </p:nvSpPr>
              <p:spPr>
                <a:xfrm>
                  <a:off x="6932454" y="2057588"/>
                  <a:ext cx="17882" cy="6339"/>
                </a:xfrm>
                <a:custGeom>
                  <a:avLst/>
                  <a:gdLst>
                    <a:gd name="connsiteX0" fmla="*/ 0 w 17882"/>
                    <a:gd name="connsiteY0" fmla="*/ 0 h 6339"/>
                    <a:gd name="connsiteX1" fmla="*/ 418 w 17882"/>
                    <a:gd name="connsiteY1" fmla="*/ 179 h 6339"/>
                    <a:gd name="connsiteX2" fmla="*/ 5442 w 17882"/>
                    <a:gd name="connsiteY2" fmla="*/ 1974 h 6339"/>
                    <a:gd name="connsiteX3" fmla="*/ 7834 w 17882"/>
                    <a:gd name="connsiteY3" fmla="*/ 2811 h 6339"/>
                    <a:gd name="connsiteX4" fmla="*/ 7894 w 17882"/>
                    <a:gd name="connsiteY4" fmla="*/ 2811 h 6339"/>
                    <a:gd name="connsiteX5" fmla="*/ 10287 w 17882"/>
                    <a:gd name="connsiteY5" fmla="*/ 3648 h 6339"/>
                    <a:gd name="connsiteX6" fmla="*/ 11423 w 17882"/>
                    <a:gd name="connsiteY6" fmla="*/ 4067 h 6339"/>
                    <a:gd name="connsiteX7" fmla="*/ 12559 w 17882"/>
                    <a:gd name="connsiteY7" fmla="*/ 4486 h 6339"/>
                    <a:gd name="connsiteX8" fmla="*/ 16686 w 17882"/>
                    <a:gd name="connsiteY8" fmla="*/ 5921 h 6339"/>
                    <a:gd name="connsiteX9" fmla="*/ 17882 w 17882"/>
                    <a:gd name="connsiteY9" fmla="*/ 6340 h 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2" h="6339">
                      <a:moveTo>
                        <a:pt x="0" y="0"/>
                      </a:moveTo>
                      <a:lnTo>
                        <a:pt x="418" y="179"/>
                      </a:lnTo>
                      <a:lnTo>
                        <a:pt x="5442" y="1974"/>
                      </a:lnTo>
                      <a:lnTo>
                        <a:pt x="7834" y="2811"/>
                      </a:lnTo>
                      <a:lnTo>
                        <a:pt x="7894" y="2811"/>
                      </a:lnTo>
                      <a:lnTo>
                        <a:pt x="10287" y="3648"/>
                      </a:lnTo>
                      <a:lnTo>
                        <a:pt x="11423" y="4067"/>
                      </a:lnTo>
                      <a:lnTo>
                        <a:pt x="12559" y="4486"/>
                      </a:lnTo>
                      <a:lnTo>
                        <a:pt x="16686" y="5921"/>
                      </a:lnTo>
                      <a:lnTo>
                        <a:pt x="17882" y="6340"/>
                      </a:lnTo>
                    </a:path>
                  </a:pathLst>
                </a:custGeom>
                <a:noFill/>
                <a:ln w="6350" cap="rnd">
                  <a:solidFill>
                    <a:schemeClr val="bg1">
                      <a:alpha val="40000"/>
                    </a:schemeClr>
                  </a:solidFill>
                  <a:prstDash val="solid"/>
                  <a:round/>
                </a:ln>
              </p:spPr>
              <p:txBody>
                <a:bodyPr rtlCol="0" anchor="ctr"/>
                <a:lstStyle/>
                <a:p>
                  <a:endParaRPr lang="en-GB"/>
                </a:p>
              </p:txBody>
            </p:sp>
            <p:sp>
              <p:nvSpPr>
                <p:cNvPr id="6942" name="Vrije vorm: vorm 6941">
                  <a:extLst>
                    <a:ext uri="{FF2B5EF4-FFF2-40B4-BE49-F238E27FC236}">
                      <a16:creationId xmlns:a16="http://schemas.microsoft.com/office/drawing/2014/main" id="{77AAC3C8-99AE-4EE8-AE06-2E3C2B03905D}"/>
                    </a:ext>
                  </a:extLst>
                </p:cNvPr>
                <p:cNvSpPr/>
                <p:nvPr/>
              </p:nvSpPr>
              <p:spPr>
                <a:xfrm>
                  <a:off x="7066183" y="1810524"/>
                  <a:ext cx="1016" cy="1674"/>
                </a:xfrm>
                <a:custGeom>
                  <a:avLst/>
                  <a:gdLst>
                    <a:gd name="connsiteX0" fmla="*/ 1016 w 1016"/>
                    <a:gd name="connsiteY0" fmla="*/ 0 h 1674"/>
                    <a:gd name="connsiteX1" fmla="*/ 0 w 1016"/>
                    <a:gd name="connsiteY1" fmla="*/ 1675 h 1674"/>
                  </a:gdLst>
                  <a:ahLst/>
                  <a:cxnLst>
                    <a:cxn ang="0">
                      <a:pos x="connsiteX0" y="connsiteY0"/>
                    </a:cxn>
                    <a:cxn ang="0">
                      <a:pos x="connsiteX1" y="connsiteY1"/>
                    </a:cxn>
                  </a:cxnLst>
                  <a:rect l="l" t="t" r="r" b="b"/>
                  <a:pathLst>
                    <a:path w="1016" h="1674">
                      <a:moveTo>
                        <a:pt x="1016" y="0"/>
                      </a:moveTo>
                      <a:lnTo>
                        <a:pt x="0" y="1675"/>
                      </a:lnTo>
                    </a:path>
                  </a:pathLst>
                </a:custGeom>
                <a:noFill/>
                <a:ln w="6350" cap="rnd">
                  <a:solidFill>
                    <a:schemeClr val="bg1">
                      <a:alpha val="40000"/>
                    </a:schemeClr>
                  </a:solidFill>
                  <a:prstDash val="solid"/>
                  <a:round/>
                </a:ln>
              </p:spPr>
              <p:txBody>
                <a:bodyPr rtlCol="0" anchor="ctr"/>
                <a:lstStyle/>
                <a:p>
                  <a:endParaRPr lang="en-GB"/>
                </a:p>
              </p:txBody>
            </p:sp>
            <p:sp>
              <p:nvSpPr>
                <p:cNvPr id="6943" name="Vrije vorm: vorm 6942">
                  <a:extLst>
                    <a:ext uri="{FF2B5EF4-FFF2-40B4-BE49-F238E27FC236}">
                      <a16:creationId xmlns:a16="http://schemas.microsoft.com/office/drawing/2014/main" id="{96D573CA-8739-430B-B72B-0DC3EDFDDB2C}"/>
                    </a:ext>
                  </a:extLst>
                </p:cNvPr>
                <p:cNvSpPr/>
                <p:nvPr/>
              </p:nvSpPr>
              <p:spPr>
                <a:xfrm>
                  <a:off x="6921808" y="2058903"/>
                  <a:ext cx="538" cy="4664"/>
                </a:xfrm>
                <a:custGeom>
                  <a:avLst/>
                  <a:gdLst>
                    <a:gd name="connsiteX0" fmla="*/ 0 w 538"/>
                    <a:gd name="connsiteY0" fmla="*/ 4665 h 4664"/>
                    <a:gd name="connsiteX1" fmla="*/ 538 w 538"/>
                    <a:gd name="connsiteY1" fmla="*/ 0 h 4664"/>
                  </a:gdLst>
                  <a:ahLst/>
                  <a:cxnLst>
                    <a:cxn ang="0">
                      <a:pos x="connsiteX0" y="connsiteY0"/>
                    </a:cxn>
                    <a:cxn ang="0">
                      <a:pos x="connsiteX1" y="connsiteY1"/>
                    </a:cxn>
                  </a:cxnLst>
                  <a:rect l="l" t="t" r="r" b="b"/>
                  <a:pathLst>
                    <a:path w="538" h="4664">
                      <a:moveTo>
                        <a:pt x="0" y="4665"/>
                      </a:moveTo>
                      <a:lnTo>
                        <a:pt x="538" y="0"/>
                      </a:lnTo>
                    </a:path>
                  </a:pathLst>
                </a:custGeom>
                <a:noFill/>
                <a:ln w="6350" cap="rnd">
                  <a:solidFill>
                    <a:schemeClr val="bg1">
                      <a:alpha val="40000"/>
                    </a:schemeClr>
                  </a:solidFill>
                  <a:prstDash val="solid"/>
                  <a:round/>
                </a:ln>
              </p:spPr>
              <p:txBody>
                <a:bodyPr rtlCol="0" anchor="ctr"/>
                <a:lstStyle/>
                <a:p>
                  <a:endParaRPr lang="en-GB"/>
                </a:p>
              </p:txBody>
            </p:sp>
            <p:sp>
              <p:nvSpPr>
                <p:cNvPr id="6944" name="Vrije vorm: vorm 6943">
                  <a:extLst>
                    <a:ext uri="{FF2B5EF4-FFF2-40B4-BE49-F238E27FC236}">
                      <a16:creationId xmlns:a16="http://schemas.microsoft.com/office/drawing/2014/main" id="{3D571126-932B-4734-AB75-937BF470E54D}"/>
                    </a:ext>
                  </a:extLst>
                </p:cNvPr>
                <p:cNvSpPr/>
                <p:nvPr/>
              </p:nvSpPr>
              <p:spPr>
                <a:xfrm>
                  <a:off x="7064388" y="1809866"/>
                  <a:ext cx="777" cy="1315"/>
                </a:xfrm>
                <a:custGeom>
                  <a:avLst/>
                  <a:gdLst>
                    <a:gd name="connsiteX0" fmla="*/ 0 w 777"/>
                    <a:gd name="connsiteY0" fmla="*/ 1316 h 1315"/>
                    <a:gd name="connsiteX1" fmla="*/ 778 w 777"/>
                    <a:gd name="connsiteY1" fmla="*/ 0 h 1315"/>
                  </a:gdLst>
                  <a:ahLst/>
                  <a:cxnLst>
                    <a:cxn ang="0">
                      <a:pos x="connsiteX0" y="connsiteY0"/>
                    </a:cxn>
                    <a:cxn ang="0">
                      <a:pos x="connsiteX1" y="connsiteY1"/>
                    </a:cxn>
                  </a:cxnLst>
                  <a:rect l="l" t="t" r="r" b="b"/>
                  <a:pathLst>
                    <a:path w="777" h="1315">
                      <a:moveTo>
                        <a:pt x="0" y="1316"/>
                      </a:moveTo>
                      <a:lnTo>
                        <a:pt x="778" y="0"/>
                      </a:lnTo>
                    </a:path>
                  </a:pathLst>
                </a:custGeom>
                <a:noFill/>
                <a:ln w="6350" cap="rnd">
                  <a:solidFill>
                    <a:schemeClr val="bg1">
                      <a:alpha val="40000"/>
                    </a:schemeClr>
                  </a:solidFill>
                  <a:prstDash val="solid"/>
                  <a:round/>
                </a:ln>
              </p:spPr>
              <p:txBody>
                <a:bodyPr rtlCol="0" anchor="ctr"/>
                <a:lstStyle/>
                <a:p>
                  <a:endParaRPr lang="en-GB"/>
                </a:p>
              </p:txBody>
            </p:sp>
            <p:sp>
              <p:nvSpPr>
                <p:cNvPr id="6945" name="Vrije vorm: vorm 6944">
                  <a:extLst>
                    <a:ext uri="{FF2B5EF4-FFF2-40B4-BE49-F238E27FC236}">
                      <a16:creationId xmlns:a16="http://schemas.microsoft.com/office/drawing/2014/main" id="{1D7DB494-5B73-48CF-B123-8FB792F082FB}"/>
                    </a:ext>
                  </a:extLst>
                </p:cNvPr>
                <p:cNvSpPr/>
                <p:nvPr/>
              </p:nvSpPr>
              <p:spPr>
                <a:xfrm>
                  <a:off x="6980359" y="1984264"/>
                  <a:ext cx="1794" cy="1136"/>
                </a:xfrm>
                <a:custGeom>
                  <a:avLst/>
                  <a:gdLst>
                    <a:gd name="connsiteX0" fmla="*/ 0 w 1794"/>
                    <a:gd name="connsiteY0" fmla="*/ 0 h 1136"/>
                    <a:gd name="connsiteX1" fmla="*/ 957 w 1794"/>
                    <a:gd name="connsiteY1" fmla="*/ 598 h 1136"/>
                    <a:gd name="connsiteX2" fmla="*/ 1436 w 1794"/>
                    <a:gd name="connsiteY2" fmla="*/ 897 h 1136"/>
                    <a:gd name="connsiteX3" fmla="*/ 1795 w 1794"/>
                    <a:gd name="connsiteY3" fmla="*/ 1136 h 1136"/>
                  </a:gdLst>
                  <a:ahLst/>
                  <a:cxnLst>
                    <a:cxn ang="0">
                      <a:pos x="connsiteX0" y="connsiteY0"/>
                    </a:cxn>
                    <a:cxn ang="0">
                      <a:pos x="connsiteX1" y="connsiteY1"/>
                    </a:cxn>
                    <a:cxn ang="0">
                      <a:pos x="connsiteX2" y="connsiteY2"/>
                    </a:cxn>
                    <a:cxn ang="0">
                      <a:pos x="connsiteX3" y="connsiteY3"/>
                    </a:cxn>
                  </a:cxnLst>
                  <a:rect l="l" t="t" r="r" b="b"/>
                  <a:pathLst>
                    <a:path w="1794" h="1136">
                      <a:moveTo>
                        <a:pt x="0" y="0"/>
                      </a:moveTo>
                      <a:lnTo>
                        <a:pt x="957" y="598"/>
                      </a:lnTo>
                      <a:lnTo>
                        <a:pt x="1436" y="897"/>
                      </a:lnTo>
                      <a:lnTo>
                        <a:pt x="1795" y="1136"/>
                      </a:lnTo>
                    </a:path>
                  </a:pathLst>
                </a:custGeom>
                <a:noFill/>
                <a:ln w="6350" cap="rnd">
                  <a:solidFill>
                    <a:schemeClr val="bg1">
                      <a:alpha val="40000"/>
                    </a:schemeClr>
                  </a:solidFill>
                  <a:prstDash val="solid"/>
                  <a:round/>
                </a:ln>
              </p:spPr>
              <p:txBody>
                <a:bodyPr rtlCol="0" anchor="ctr"/>
                <a:lstStyle/>
                <a:p>
                  <a:endParaRPr lang="en-GB"/>
                </a:p>
              </p:txBody>
            </p:sp>
            <p:sp>
              <p:nvSpPr>
                <p:cNvPr id="6946" name="Vrije vorm: vorm 6945">
                  <a:extLst>
                    <a:ext uri="{FF2B5EF4-FFF2-40B4-BE49-F238E27FC236}">
                      <a16:creationId xmlns:a16="http://schemas.microsoft.com/office/drawing/2014/main" id="{06917C13-0C6F-4BE9-A74E-7D6A210A7C73}"/>
                    </a:ext>
                  </a:extLst>
                </p:cNvPr>
                <p:cNvSpPr/>
                <p:nvPr/>
              </p:nvSpPr>
              <p:spPr>
                <a:xfrm>
                  <a:off x="6976113" y="1981513"/>
                  <a:ext cx="3110" cy="1913"/>
                </a:xfrm>
                <a:custGeom>
                  <a:avLst/>
                  <a:gdLst>
                    <a:gd name="connsiteX0" fmla="*/ 0 w 3110"/>
                    <a:gd name="connsiteY0" fmla="*/ 0 h 1913"/>
                    <a:gd name="connsiteX1" fmla="*/ 419 w 3110"/>
                    <a:gd name="connsiteY1" fmla="*/ 239 h 1913"/>
                    <a:gd name="connsiteX2" fmla="*/ 658 w 3110"/>
                    <a:gd name="connsiteY2" fmla="*/ 359 h 1913"/>
                    <a:gd name="connsiteX3" fmla="*/ 3050 w 3110"/>
                    <a:gd name="connsiteY3" fmla="*/ 1854 h 1913"/>
                    <a:gd name="connsiteX4" fmla="*/ 3110 w 3110"/>
                    <a:gd name="connsiteY4" fmla="*/ 1914 h 1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0" h="1913">
                      <a:moveTo>
                        <a:pt x="0" y="0"/>
                      </a:moveTo>
                      <a:lnTo>
                        <a:pt x="419" y="239"/>
                      </a:lnTo>
                      <a:lnTo>
                        <a:pt x="658" y="359"/>
                      </a:lnTo>
                      <a:lnTo>
                        <a:pt x="3050" y="1854"/>
                      </a:lnTo>
                      <a:lnTo>
                        <a:pt x="3110" y="1914"/>
                      </a:lnTo>
                    </a:path>
                  </a:pathLst>
                </a:custGeom>
                <a:noFill/>
                <a:ln w="6350" cap="rnd">
                  <a:solidFill>
                    <a:schemeClr val="bg1">
                      <a:alpha val="40000"/>
                    </a:schemeClr>
                  </a:solidFill>
                  <a:prstDash val="solid"/>
                  <a:round/>
                </a:ln>
              </p:spPr>
              <p:txBody>
                <a:bodyPr rtlCol="0" anchor="ctr"/>
                <a:lstStyle/>
                <a:p>
                  <a:endParaRPr lang="en-GB"/>
                </a:p>
              </p:txBody>
            </p:sp>
            <p:sp>
              <p:nvSpPr>
                <p:cNvPr id="6947" name="Vrije vorm: vorm 6946">
                  <a:extLst>
                    <a:ext uri="{FF2B5EF4-FFF2-40B4-BE49-F238E27FC236}">
                      <a16:creationId xmlns:a16="http://schemas.microsoft.com/office/drawing/2014/main" id="{7E6DD75E-77D7-4771-8D5E-4EDB26988B89}"/>
                    </a:ext>
                  </a:extLst>
                </p:cNvPr>
                <p:cNvSpPr/>
                <p:nvPr/>
              </p:nvSpPr>
              <p:spPr>
                <a:xfrm>
                  <a:off x="6970970" y="1978283"/>
                  <a:ext cx="3229" cy="2093"/>
                </a:xfrm>
                <a:custGeom>
                  <a:avLst/>
                  <a:gdLst>
                    <a:gd name="connsiteX0" fmla="*/ 0 w 3229"/>
                    <a:gd name="connsiteY0" fmla="*/ 0 h 2093"/>
                    <a:gd name="connsiteX1" fmla="*/ 3230 w 3229"/>
                    <a:gd name="connsiteY1" fmla="*/ 2093 h 2093"/>
                  </a:gdLst>
                  <a:ahLst/>
                  <a:cxnLst>
                    <a:cxn ang="0">
                      <a:pos x="connsiteX0" y="connsiteY0"/>
                    </a:cxn>
                    <a:cxn ang="0">
                      <a:pos x="connsiteX1" y="connsiteY1"/>
                    </a:cxn>
                  </a:cxnLst>
                  <a:rect l="l" t="t" r="r" b="b"/>
                  <a:pathLst>
                    <a:path w="3229" h="2093">
                      <a:moveTo>
                        <a:pt x="0" y="0"/>
                      </a:moveTo>
                      <a:lnTo>
                        <a:pt x="3230" y="2093"/>
                      </a:lnTo>
                    </a:path>
                  </a:pathLst>
                </a:custGeom>
                <a:noFill/>
                <a:ln w="6350" cap="rnd">
                  <a:solidFill>
                    <a:schemeClr val="bg1">
                      <a:alpha val="40000"/>
                    </a:schemeClr>
                  </a:solidFill>
                  <a:prstDash val="solid"/>
                  <a:round/>
                </a:ln>
              </p:spPr>
              <p:txBody>
                <a:bodyPr rtlCol="0" anchor="ctr"/>
                <a:lstStyle/>
                <a:p>
                  <a:endParaRPr lang="en-GB"/>
                </a:p>
              </p:txBody>
            </p:sp>
            <p:sp>
              <p:nvSpPr>
                <p:cNvPr id="6948" name="Vrije vorm: vorm 6947">
                  <a:extLst>
                    <a:ext uri="{FF2B5EF4-FFF2-40B4-BE49-F238E27FC236}">
                      <a16:creationId xmlns:a16="http://schemas.microsoft.com/office/drawing/2014/main" id="{BEDF948D-5098-45B8-9464-5CD5E0017762}"/>
                    </a:ext>
                  </a:extLst>
                </p:cNvPr>
                <p:cNvSpPr/>
                <p:nvPr/>
              </p:nvSpPr>
              <p:spPr>
                <a:xfrm>
                  <a:off x="6967441" y="1976070"/>
                  <a:ext cx="1733" cy="1076"/>
                </a:xfrm>
                <a:custGeom>
                  <a:avLst/>
                  <a:gdLst>
                    <a:gd name="connsiteX0" fmla="*/ 0 w 1733"/>
                    <a:gd name="connsiteY0" fmla="*/ 0 h 1076"/>
                    <a:gd name="connsiteX1" fmla="*/ 1734 w 1733"/>
                    <a:gd name="connsiteY1" fmla="*/ 1077 h 1076"/>
                  </a:gdLst>
                  <a:ahLst/>
                  <a:cxnLst>
                    <a:cxn ang="0">
                      <a:pos x="connsiteX0" y="connsiteY0"/>
                    </a:cxn>
                    <a:cxn ang="0">
                      <a:pos x="connsiteX1" y="connsiteY1"/>
                    </a:cxn>
                  </a:cxnLst>
                  <a:rect l="l" t="t" r="r" b="b"/>
                  <a:pathLst>
                    <a:path w="1733" h="1076">
                      <a:moveTo>
                        <a:pt x="0" y="0"/>
                      </a:moveTo>
                      <a:lnTo>
                        <a:pt x="1734" y="1077"/>
                      </a:lnTo>
                    </a:path>
                  </a:pathLst>
                </a:custGeom>
                <a:noFill/>
                <a:ln w="6350" cap="rnd">
                  <a:solidFill>
                    <a:schemeClr val="bg1">
                      <a:alpha val="40000"/>
                    </a:schemeClr>
                  </a:solidFill>
                  <a:prstDash val="solid"/>
                  <a:round/>
                </a:ln>
              </p:spPr>
              <p:txBody>
                <a:bodyPr rtlCol="0" anchor="ctr"/>
                <a:lstStyle/>
                <a:p>
                  <a:endParaRPr lang="en-GB"/>
                </a:p>
              </p:txBody>
            </p:sp>
            <p:sp>
              <p:nvSpPr>
                <p:cNvPr id="6949" name="Vrije vorm: vorm 6948">
                  <a:extLst>
                    <a:ext uri="{FF2B5EF4-FFF2-40B4-BE49-F238E27FC236}">
                      <a16:creationId xmlns:a16="http://schemas.microsoft.com/office/drawing/2014/main" id="{0B51AEE7-472D-4725-897B-3DC0B9A48517}"/>
                    </a:ext>
                  </a:extLst>
                </p:cNvPr>
                <p:cNvSpPr/>
                <p:nvPr/>
              </p:nvSpPr>
              <p:spPr>
                <a:xfrm>
                  <a:off x="6932454" y="2057887"/>
                  <a:ext cx="8611" cy="5861"/>
                </a:xfrm>
                <a:custGeom>
                  <a:avLst/>
                  <a:gdLst>
                    <a:gd name="connsiteX0" fmla="*/ 0 w 8611"/>
                    <a:gd name="connsiteY0" fmla="*/ 0 h 5861"/>
                    <a:gd name="connsiteX1" fmla="*/ 2990 w 8611"/>
                    <a:gd name="connsiteY1" fmla="*/ 2033 h 5861"/>
                    <a:gd name="connsiteX2" fmla="*/ 4486 w 8611"/>
                    <a:gd name="connsiteY2" fmla="*/ 3050 h 5861"/>
                    <a:gd name="connsiteX3" fmla="*/ 6040 w 8611"/>
                    <a:gd name="connsiteY3" fmla="*/ 4127 h 5861"/>
                    <a:gd name="connsiteX4" fmla="*/ 8313 w 8611"/>
                    <a:gd name="connsiteY4" fmla="*/ 5682 h 5861"/>
                    <a:gd name="connsiteX5" fmla="*/ 8612 w 8611"/>
                    <a:gd name="connsiteY5" fmla="*/ 5861 h 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1" h="5861">
                      <a:moveTo>
                        <a:pt x="0" y="0"/>
                      </a:moveTo>
                      <a:lnTo>
                        <a:pt x="2990" y="2033"/>
                      </a:lnTo>
                      <a:lnTo>
                        <a:pt x="4486" y="3050"/>
                      </a:lnTo>
                      <a:lnTo>
                        <a:pt x="6040" y="4127"/>
                      </a:lnTo>
                      <a:lnTo>
                        <a:pt x="8313" y="5682"/>
                      </a:lnTo>
                      <a:lnTo>
                        <a:pt x="8612" y="5861"/>
                      </a:lnTo>
                    </a:path>
                  </a:pathLst>
                </a:custGeom>
                <a:noFill/>
                <a:ln w="6350" cap="rnd">
                  <a:solidFill>
                    <a:schemeClr val="bg1">
                      <a:alpha val="40000"/>
                    </a:schemeClr>
                  </a:solidFill>
                  <a:prstDash val="solid"/>
                  <a:round/>
                </a:ln>
              </p:spPr>
              <p:txBody>
                <a:bodyPr rtlCol="0" anchor="ctr"/>
                <a:lstStyle/>
                <a:p>
                  <a:endParaRPr lang="en-GB"/>
                </a:p>
              </p:txBody>
            </p:sp>
            <p:sp>
              <p:nvSpPr>
                <p:cNvPr id="6950" name="Vrije vorm: vorm 6949">
                  <a:extLst>
                    <a:ext uri="{FF2B5EF4-FFF2-40B4-BE49-F238E27FC236}">
                      <a16:creationId xmlns:a16="http://schemas.microsoft.com/office/drawing/2014/main" id="{1F9850BB-BB19-4351-BFBA-DE2BAB3DCBB6}"/>
                    </a:ext>
                  </a:extLst>
                </p:cNvPr>
                <p:cNvSpPr/>
                <p:nvPr/>
              </p:nvSpPr>
              <p:spPr>
                <a:xfrm>
                  <a:off x="6942920" y="2012613"/>
                  <a:ext cx="2691" cy="8731"/>
                </a:xfrm>
                <a:custGeom>
                  <a:avLst/>
                  <a:gdLst>
                    <a:gd name="connsiteX0" fmla="*/ 2691 w 2691"/>
                    <a:gd name="connsiteY0" fmla="*/ 0 h 8731"/>
                    <a:gd name="connsiteX1" fmla="*/ 2571 w 2691"/>
                    <a:gd name="connsiteY1" fmla="*/ 419 h 8731"/>
                    <a:gd name="connsiteX2" fmla="*/ 2213 w 2691"/>
                    <a:gd name="connsiteY2" fmla="*/ 1555 h 8731"/>
                    <a:gd name="connsiteX3" fmla="*/ 2153 w 2691"/>
                    <a:gd name="connsiteY3" fmla="*/ 1794 h 8731"/>
                    <a:gd name="connsiteX4" fmla="*/ 2153 w 2691"/>
                    <a:gd name="connsiteY4" fmla="*/ 1794 h 8731"/>
                    <a:gd name="connsiteX5" fmla="*/ 1854 w 2691"/>
                    <a:gd name="connsiteY5" fmla="*/ 2632 h 8731"/>
                    <a:gd name="connsiteX6" fmla="*/ 1734 w 2691"/>
                    <a:gd name="connsiteY6" fmla="*/ 3050 h 8731"/>
                    <a:gd name="connsiteX7" fmla="*/ 1614 w 2691"/>
                    <a:gd name="connsiteY7" fmla="*/ 3469 h 8731"/>
                    <a:gd name="connsiteX8" fmla="*/ 1435 w 2691"/>
                    <a:gd name="connsiteY8" fmla="*/ 4067 h 8731"/>
                    <a:gd name="connsiteX9" fmla="*/ 1375 w 2691"/>
                    <a:gd name="connsiteY9" fmla="*/ 4306 h 8731"/>
                    <a:gd name="connsiteX10" fmla="*/ 1076 w 2691"/>
                    <a:gd name="connsiteY10" fmla="*/ 5203 h 8731"/>
                    <a:gd name="connsiteX11" fmla="*/ 956 w 2691"/>
                    <a:gd name="connsiteY11" fmla="*/ 5622 h 8731"/>
                    <a:gd name="connsiteX12" fmla="*/ 897 w 2691"/>
                    <a:gd name="connsiteY12" fmla="*/ 5861 h 8731"/>
                    <a:gd name="connsiteX13" fmla="*/ 658 w 2691"/>
                    <a:gd name="connsiteY13" fmla="*/ 6639 h 8731"/>
                    <a:gd name="connsiteX14" fmla="*/ 478 w 2691"/>
                    <a:gd name="connsiteY14" fmla="*/ 7177 h 8731"/>
                    <a:gd name="connsiteX15" fmla="*/ 239 w 2691"/>
                    <a:gd name="connsiteY15" fmla="*/ 7954 h 8731"/>
                    <a:gd name="connsiteX16" fmla="*/ 0 w 2691"/>
                    <a:gd name="connsiteY16" fmla="*/ 8732 h 8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91" h="8731">
                      <a:moveTo>
                        <a:pt x="2691" y="0"/>
                      </a:moveTo>
                      <a:lnTo>
                        <a:pt x="2571" y="419"/>
                      </a:lnTo>
                      <a:lnTo>
                        <a:pt x="2213" y="1555"/>
                      </a:lnTo>
                      <a:lnTo>
                        <a:pt x="2153" y="1794"/>
                      </a:lnTo>
                      <a:lnTo>
                        <a:pt x="2153" y="1794"/>
                      </a:lnTo>
                      <a:lnTo>
                        <a:pt x="1854" y="2632"/>
                      </a:lnTo>
                      <a:lnTo>
                        <a:pt x="1734" y="3050"/>
                      </a:lnTo>
                      <a:lnTo>
                        <a:pt x="1614" y="3469"/>
                      </a:lnTo>
                      <a:lnTo>
                        <a:pt x="1435" y="4067"/>
                      </a:lnTo>
                      <a:lnTo>
                        <a:pt x="1375" y="4306"/>
                      </a:lnTo>
                      <a:lnTo>
                        <a:pt x="1076" y="5203"/>
                      </a:lnTo>
                      <a:lnTo>
                        <a:pt x="956" y="5622"/>
                      </a:lnTo>
                      <a:lnTo>
                        <a:pt x="897" y="5861"/>
                      </a:lnTo>
                      <a:lnTo>
                        <a:pt x="658" y="6639"/>
                      </a:lnTo>
                      <a:lnTo>
                        <a:pt x="478" y="7177"/>
                      </a:lnTo>
                      <a:lnTo>
                        <a:pt x="239" y="7954"/>
                      </a:lnTo>
                      <a:lnTo>
                        <a:pt x="0" y="8732"/>
                      </a:lnTo>
                    </a:path>
                  </a:pathLst>
                </a:custGeom>
                <a:noFill/>
                <a:ln w="6350" cap="rnd">
                  <a:solidFill>
                    <a:schemeClr val="bg1">
                      <a:alpha val="40000"/>
                    </a:schemeClr>
                  </a:solidFill>
                  <a:prstDash val="solid"/>
                  <a:round/>
                </a:ln>
              </p:spPr>
              <p:txBody>
                <a:bodyPr rtlCol="0" anchor="ctr"/>
                <a:lstStyle/>
                <a:p>
                  <a:endParaRPr lang="en-GB"/>
                </a:p>
              </p:txBody>
            </p:sp>
            <p:sp>
              <p:nvSpPr>
                <p:cNvPr id="6951" name="Vrije vorm: vorm 6950">
                  <a:extLst>
                    <a:ext uri="{FF2B5EF4-FFF2-40B4-BE49-F238E27FC236}">
                      <a16:creationId xmlns:a16="http://schemas.microsoft.com/office/drawing/2014/main" id="{62497022-F181-4158-9851-07C60A87FD0C}"/>
                    </a:ext>
                  </a:extLst>
                </p:cNvPr>
                <p:cNvSpPr/>
                <p:nvPr/>
              </p:nvSpPr>
              <p:spPr>
                <a:xfrm>
                  <a:off x="6967202" y="1977805"/>
                  <a:ext cx="17822" cy="8372"/>
                </a:xfrm>
                <a:custGeom>
                  <a:avLst/>
                  <a:gdLst>
                    <a:gd name="connsiteX0" fmla="*/ 0 w 17822"/>
                    <a:gd name="connsiteY0" fmla="*/ 0 h 8372"/>
                    <a:gd name="connsiteX1" fmla="*/ 2273 w 17822"/>
                    <a:gd name="connsiteY1" fmla="*/ 1076 h 8372"/>
                    <a:gd name="connsiteX2" fmla="*/ 3409 w 17822"/>
                    <a:gd name="connsiteY2" fmla="*/ 1615 h 8372"/>
                    <a:gd name="connsiteX3" fmla="*/ 3588 w 17822"/>
                    <a:gd name="connsiteY3" fmla="*/ 1734 h 8372"/>
                    <a:gd name="connsiteX4" fmla="*/ 7656 w 17822"/>
                    <a:gd name="connsiteY4" fmla="*/ 3648 h 8372"/>
                    <a:gd name="connsiteX5" fmla="*/ 8672 w 17822"/>
                    <a:gd name="connsiteY5" fmla="*/ 4127 h 8372"/>
                    <a:gd name="connsiteX6" fmla="*/ 9091 w 17822"/>
                    <a:gd name="connsiteY6" fmla="*/ 4306 h 8372"/>
                    <a:gd name="connsiteX7" fmla="*/ 9629 w 17822"/>
                    <a:gd name="connsiteY7" fmla="*/ 4545 h 8372"/>
                    <a:gd name="connsiteX8" fmla="*/ 11961 w 17822"/>
                    <a:gd name="connsiteY8" fmla="*/ 5622 h 8372"/>
                    <a:gd name="connsiteX9" fmla="*/ 12021 w 17822"/>
                    <a:gd name="connsiteY9" fmla="*/ 5682 h 8372"/>
                    <a:gd name="connsiteX10" fmla="*/ 13337 w 17822"/>
                    <a:gd name="connsiteY10" fmla="*/ 6280 h 8372"/>
                    <a:gd name="connsiteX11" fmla="*/ 14354 w 17822"/>
                    <a:gd name="connsiteY11" fmla="*/ 6758 h 8372"/>
                    <a:gd name="connsiteX12" fmla="*/ 14892 w 17822"/>
                    <a:gd name="connsiteY12" fmla="*/ 6997 h 8372"/>
                    <a:gd name="connsiteX13" fmla="*/ 16029 w 17822"/>
                    <a:gd name="connsiteY13" fmla="*/ 7536 h 8372"/>
                    <a:gd name="connsiteX14" fmla="*/ 17284 w 17822"/>
                    <a:gd name="connsiteY14" fmla="*/ 8134 h 8372"/>
                    <a:gd name="connsiteX15" fmla="*/ 17284 w 17822"/>
                    <a:gd name="connsiteY15" fmla="*/ 8134 h 8372"/>
                    <a:gd name="connsiteX16" fmla="*/ 17822 w 17822"/>
                    <a:gd name="connsiteY16" fmla="*/ 8373 h 8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22" h="8372">
                      <a:moveTo>
                        <a:pt x="0" y="0"/>
                      </a:moveTo>
                      <a:lnTo>
                        <a:pt x="2273" y="1076"/>
                      </a:lnTo>
                      <a:lnTo>
                        <a:pt x="3409" y="1615"/>
                      </a:lnTo>
                      <a:lnTo>
                        <a:pt x="3588" y="1734"/>
                      </a:lnTo>
                      <a:lnTo>
                        <a:pt x="7656" y="3648"/>
                      </a:lnTo>
                      <a:lnTo>
                        <a:pt x="8672" y="4127"/>
                      </a:lnTo>
                      <a:lnTo>
                        <a:pt x="9091" y="4306"/>
                      </a:lnTo>
                      <a:lnTo>
                        <a:pt x="9629" y="4545"/>
                      </a:lnTo>
                      <a:lnTo>
                        <a:pt x="11961" y="5622"/>
                      </a:lnTo>
                      <a:lnTo>
                        <a:pt x="12021" y="5682"/>
                      </a:lnTo>
                      <a:lnTo>
                        <a:pt x="13337" y="6280"/>
                      </a:lnTo>
                      <a:lnTo>
                        <a:pt x="14354" y="6758"/>
                      </a:lnTo>
                      <a:lnTo>
                        <a:pt x="14892" y="6997"/>
                      </a:lnTo>
                      <a:lnTo>
                        <a:pt x="16029" y="7536"/>
                      </a:lnTo>
                      <a:lnTo>
                        <a:pt x="17284" y="8134"/>
                      </a:lnTo>
                      <a:lnTo>
                        <a:pt x="17284" y="8134"/>
                      </a:lnTo>
                      <a:lnTo>
                        <a:pt x="17822" y="8373"/>
                      </a:lnTo>
                    </a:path>
                  </a:pathLst>
                </a:custGeom>
                <a:noFill/>
                <a:ln w="6350" cap="rnd">
                  <a:solidFill>
                    <a:schemeClr val="bg1">
                      <a:alpha val="40000"/>
                    </a:schemeClr>
                  </a:solidFill>
                  <a:prstDash val="solid"/>
                  <a:round/>
                </a:ln>
              </p:spPr>
              <p:txBody>
                <a:bodyPr rtlCol="0" anchor="ctr"/>
                <a:lstStyle/>
                <a:p>
                  <a:endParaRPr lang="en-GB"/>
                </a:p>
              </p:txBody>
            </p:sp>
            <p:sp>
              <p:nvSpPr>
                <p:cNvPr id="6952" name="Vrije vorm: vorm 6951">
                  <a:extLst>
                    <a:ext uri="{FF2B5EF4-FFF2-40B4-BE49-F238E27FC236}">
                      <a16:creationId xmlns:a16="http://schemas.microsoft.com/office/drawing/2014/main" id="{3CBA562D-3AD8-412A-9568-70F816D2AB0A}"/>
                    </a:ext>
                  </a:extLst>
                </p:cNvPr>
                <p:cNvSpPr/>
                <p:nvPr/>
              </p:nvSpPr>
              <p:spPr>
                <a:xfrm>
                  <a:off x="6953745" y="2019012"/>
                  <a:ext cx="12141" cy="5023"/>
                </a:xfrm>
                <a:custGeom>
                  <a:avLst/>
                  <a:gdLst>
                    <a:gd name="connsiteX0" fmla="*/ 0 w 12141"/>
                    <a:gd name="connsiteY0" fmla="*/ 0 h 5023"/>
                    <a:gd name="connsiteX1" fmla="*/ 120 w 12141"/>
                    <a:gd name="connsiteY1" fmla="*/ 60 h 5023"/>
                    <a:gd name="connsiteX2" fmla="*/ 419 w 12141"/>
                    <a:gd name="connsiteY2" fmla="*/ 179 h 5023"/>
                    <a:gd name="connsiteX3" fmla="*/ 1675 w 12141"/>
                    <a:gd name="connsiteY3" fmla="*/ 718 h 5023"/>
                    <a:gd name="connsiteX4" fmla="*/ 2691 w 12141"/>
                    <a:gd name="connsiteY4" fmla="*/ 1136 h 5023"/>
                    <a:gd name="connsiteX5" fmla="*/ 5143 w 12141"/>
                    <a:gd name="connsiteY5" fmla="*/ 2153 h 5023"/>
                    <a:gd name="connsiteX6" fmla="*/ 5921 w 12141"/>
                    <a:gd name="connsiteY6" fmla="*/ 2452 h 5023"/>
                    <a:gd name="connsiteX7" fmla="*/ 5981 w 12141"/>
                    <a:gd name="connsiteY7" fmla="*/ 2452 h 5023"/>
                    <a:gd name="connsiteX8" fmla="*/ 6160 w 12141"/>
                    <a:gd name="connsiteY8" fmla="*/ 2512 h 5023"/>
                    <a:gd name="connsiteX9" fmla="*/ 6160 w 12141"/>
                    <a:gd name="connsiteY9" fmla="*/ 2512 h 5023"/>
                    <a:gd name="connsiteX10" fmla="*/ 7236 w 12141"/>
                    <a:gd name="connsiteY10" fmla="*/ 2930 h 5023"/>
                    <a:gd name="connsiteX11" fmla="*/ 7775 w 12141"/>
                    <a:gd name="connsiteY11" fmla="*/ 3170 h 5023"/>
                    <a:gd name="connsiteX12" fmla="*/ 7775 w 12141"/>
                    <a:gd name="connsiteY12" fmla="*/ 3170 h 5023"/>
                    <a:gd name="connsiteX13" fmla="*/ 7895 w 12141"/>
                    <a:gd name="connsiteY13" fmla="*/ 3230 h 5023"/>
                    <a:gd name="connsiteX14" fmla="*/ 10885 w 12141"/>
                    <a:gd name="connsiteY14" fmla="*/ 4486 h 5023"/>
                    <a:gd name="connsiteX15" fmla="*/ 12141 w 12141"/>
                    <a:gd name="connsiteY15" fmla="*/ 5024 h 5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41" h="5023">
                      <a:moveTo>
                        <a:pt x="0" y="0"/>
                      </a:moveTo>
                      <a:lnTo>
                        <a:pt x="120" y="60"/>
                      </a:lnTo>
                      <a:lnTo>
                        <a:pt x="419" y="179"/>
                      </a:lnTo>
                      <a:lnTo>
                        <a:pt x="1675" y="718"/>
                      </a:lnTo>
                      <a:lnTo>
                        <a:pt x="2691" y="1136"/>
                      </a:lnTo>
                      <a:lnTo>
                        <a:pt x="5143" y="2153"/>
                      </a:lnTo>
                      <a:lnTo>
                        <a:pt x="5921" y="2452"/>
                      </a:lnTo>
                      <a:lnTo>
                        <a:pt x="5981" y="2452"/>
                      </a:lnTo>
                      <a:lnTo>
                        <a:pt x="6160" y="2512"/>
                      </a:lnTo>
                      <a:lnTo>
                        <a:pt x="6160" y="2512"/>
                      </a:lnTo>
                      <a:lnTo>
                        <a:pt x="7236" y="2930"/>
                      </a:lnTo>
                      <a:lnTo>
                        <a:pt x="7775" y="3170"/>
                      </a:lnTo>
                      <a:lnTo>
                        <a:pt x="7775" y="3170"/>
                      </a:lnTo>
                      <a:lnTo>
                        <a:pt x="7895" y="3230"/>
                      </a:lnTo>
                      <a:lnTo>
                        <a:pt x="10885" y="4486"/>
                      </a:lnTo>
                      <a:lnTo>
                        <a:pt x="12141" y="5024"/>
                      </a:lnTo>
                    </a:path>
                  </a:pathLst>
                </a:custGeom>
                <a:noFill/>
                <a:ln w="6350" cap="rnd">
                  <a:solidFill>
                    <a:schemeClr val="bg1">
                      <a:alpha val="40000"/>
                    </a:schemeClr>
                  </a:solidFill>
                  <a:prstDash val="solid"/>
                  <a:round/>
                </a:ln>
              </p:spPr>
              <p:txBody>
                <a:bodyPr rtlCol="0" anchor="ctr"/>
                <a:lstStyle/>
                <a:p>
                  <a:endParaRPr lang="en-GB"/>
                </a:p>
              </p:txBody>
            </p:sp>
            <p:sp>
              <p:nvSpPr>
                <p:cNvPr id="6953" name="Vrije vorm: vorm 6952">
                  <a:extLst>
                    <a:ext uri="{FF2B5EF4-FFF2-40B4-BE49-F238E27FC236}">
                      <a16:creationId xmlns:a16="http://schemas.microsoft.com/office/drawing/2014/main" id="{20DAB749-BF64-49EE-B7AA-CE4B810F5D33}"/>
                    </a:ext>
                  </a:extLst>
                </p:cNvPr>
                <p:cNvSpPr/>
                <p:nvPr/>
              </p:nvSpPr>
              <p:spPr>
                <a:xfrm>
                  <a:off x="6933351" y="2056152"/>
                  <a:ext cx="11423" cy="4066"/>
                </a:xfrm>
                <a:custGeom>
                  <a:avLst/>
                  <a:gdLst>
                    <a:gd name="connsiteX0" fmla="*/ 0 w 11423"/>
                    <a:gd name="connsiteY0" fmla="*/ 0 h 4066"/>
                    <a:gd name="connsiteX1" fmla="*/ 60 w 11423"/>
                    <a:gd name="connsiteY1" fmla="*/ 0 h 4066"/>
                    <a:gd name="connsiteX2" fmla="*/ 718 w 11423"/>
                    <a:gd name="connsiteY2" fmla="*/ 239 h 4066"/>
                    <a:gd name="connsiteX3" fmla="*/ 4127 w 11423"/>
                    <a:gd name="connsiteY3" fmla="*/ 1435 h 4066"/>
                    <a:gd name="connsiteX4" fmla="*/ 4187 w 11423"/>
                    <a:gd name="connsiteY4" fmla="*/ 1435 h 4066"/>
                    <a:gd name="connsiteX5" fmla="*/ 6460 w 11423"/>
                    <a:gd name="connsiteY5" fmla="*/ 2273 h 4066"/>
                    <a:gd name="connsiteX6" fmla="*/ 7297 w 11423"/>
                    <a:gd name="connsiteY6" fmla="*/ 2572 h 4066"/>
                    <a:gd name="connsiteX7" fmla="*/ 11423 w 11423"/>
                    <a:gd name="connsiteY7" fmla="*/ 4067 h 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23" h="4066">
                      <a:moveTo>
                        <a:pt x="0" y="0"/>
                      </a:moveTo>
                      <a:lnTo>
                        <a:pt x="60" y="0"/>
                      </a:lnTo>
                      <a:lnTo>
                        <a:pt x="718" y="239"/>
                      </a:lnTo>
                      <a:lnTo>
                        <a:pt x="4127" y="1435"/>
                      </a:lnTo>
                      <a:lnTo>
                        <a:pt x="4187" y="1435"/>
                      </a:lnTo>
                      <a:lnTo>
                        <a:pt x="6460" y="2273"/>
                      </a:lnTo>
                      <a:lnTo>
                        <a:pt x="7297" y="2572"/>
                      </a:lnTo>
                      <a:lnTo>
                        <a:pt x="11423" y="4067"/>
                      </a:lnTo>
                    </a:path>
                  </a:pathLst>
                </a:custGeom>
                <a:noFill/>
                <a:ln w="6350" cap="rnd">
                  <a:solidFill>
                    <a:schemeClr val="bg1">
                      <a:alpha val="40000"/>
                    </a:schemeClr>
                  </a:solidFill>
                  <a:prstDash val="solid"/>
                  <a:round/>
                </a:ln>
              </p:spPr>
              <p:txBody>
                <a:bodyPr rtlCol="0" anchor="ctr"/>
                <a:lstStyle/>
                <a:p>
                  <a:endParaRPr lang="en-GB"/>
                </a:p>
              </p:txBody>
            </p:sp>
            <p:sp>
              <p:nvSpPr>
                <p:cNvPr id="6954" name="Vrije vorm: vorm 6953">
                  <a:extLst>
                    <a:ext uri="{FF2B5EF4-FFF2-40B4-BE49-F238E27FC236}">
                      <a16:creationId xmlns:a16="http://schemas.microsoft.com/office/drawing/2014/main" id="{CA6B92D4-CA4E-4423-80CD-27BE42D8D5AA}"/>
                    </a:ext>
                  </a:extLst>
                </p:cNvPr>
                <p:cNvSpPr/>
                <p:nvPr/>
              </p:nvSpPr>
              <p:spPr>
                <a:xfrm>
                  <a:off x="6948721" y="1997242"/>
                  <a:ext cx="837" cy="4545"/>
                </a:xfrm>
                <a:custGeom>
                  <a:avLst/>
                  <a:gdLst>
                    <a:gd name="connsiteX0" fmla="*/ 837 w 837"/>
                    <a:gd name="connsiteY0" fmla="*/ 0 h 4545"/>
                    <a:gd name="connsiteX1" fmla="*/ 0 w 837"/>
                    <a:gd name="connsiteY1" fmla="*/ 4545 h 4545"/>
                  </a:gdLst>
                  <a:ahLst/>
                  <a:cxnLst>
                    <a:cxn ang="0">
                      <a:pos x="connsiteX0" y="connsiteY0"/>
                    </a:cxn>
                    <a:cxn ang="0">
                      <a:pos x="connsiteX1" y="connsiteY1"/>
                    </a:cxn>
                  </a:cxnLst>
                  <a:rect l="l" t="t" r="r" b="b"/>
                  <a:pathLst>
                    <a:path w="837" h="4545">
                      <a:moveTo>
                        <a:pt x="837" y="0"/>
                      </a:moveTo>
                      <a:lnTo>
                        <a:pt x="0" y="4545"/>
                      </a:lnTo>
                    </a:path>
                  </a:pathLst>
                </a:custGeom>
                <a:noFill/>
                <a:ln w="6350" cap="rnd">
                  <a:solidFill>
                    <a:schemeClr val="bg1">
                      <a:alpha val="40000"/>
                    </a:schemeClr>
                  </a:solidFill>
                  <a:prstDash val="solid"/>
                  <a:round/>
                </a:ln>
              </p:spPr>
              <p:txBody>
                <a:bodyPr rtlCol="0" anchor="ctr"/>
                <a:lstStyle/>
                <a:p>
                  <a:endParaRPr lang="en-GB"/>
                </a:p>
              </p:txBody>
            </p:sp>
            <p:sp>
              <p:nvSpPr>
                <p:cNvPr id="6955" name="Vrije vorm: vorm 6954">
                  <a:extLst>
                    <a:ext uri="{FF2B5EF4-FFF2-40B4-BE49-F238E27FC236}">
                      <a16:creationId xmlns:a16="http://schemas.microsoft.com/office/drawing/2014/main" id="{D2FEF0BC-B9D1-4201-B53C-3A9BC9800882}"/>
                    </a:ext>
                  </a:extLst>
                </p:cNvPr>
                <p:cNvSpPr/>
                <p:nvPr/>
              </p:nvSpPr>
              <p:spPr>
                <a:xfrm>
                  <a:off x="6954941" y="2020926"/>
                  <a:ext cx="2931" cy="1973"/>
                </a:xfrm>
                <a:custGeom>
                  <a:avLst/>
                  <a:gdLst>
                    <a:gd name="connsiteX0" fmla="*/ 0 w 2931"/>
                    <a:gd name="connsiteY0" fmla="*/ 0 h 1973"/>
                    <a:gd name="connsiteX1" fmla="*/ 599 w 2931"/>
                    <a:gd name="connsiteY1" fmla="*/ 419 h 1973"/>
                    <a:gd name="connsiteX2" fmla="*/ 778 w 2931"/>
                    <a:gd name="connsiteY2" fmla="*/ 538 h 1973"/>
                    <a:gd name="connsiteX3" fmla="*/ 2931 w 2931"/>
                    <a:gd name="connsiteY3" fmla="*/ 1974 h 1973"/>
                  </a:gdLst>
                  <a:ahLst/>
                  <a:cxnLst>
                    <a:cxn ang="0">
                      <a:pos x="connsiteX0" y="connsiteY0"/>
                    </a:cxn>
                    <a:cxn ang="0">
                      <a:pos x="connsiteX1" y="connsiteY1"/>
                    </a:cxn>
                    <a:cxn ang="0">
                      <a:pos x="connsiteX2" y="connsiteY2"/>
                    </a:cxn>
                    <a:cxn ang="0">
                      <a:pos x="connsiteX3" y="connsiteY3"/>
                    </a:cxn>
                  </a:cxnLst>
                  <a:rect l="l" t="t" r="r" b="b"/>
                  <a:pathLst>
                    <a:path w="2931" h="1973">
                      <a:moveTo>
                        <a:pt x="0" y="0"/>
                      </a:moveTo>
                      <a:lnTo>
                        <a:pt x="599" y="419"/>
                      </a:lnTo>
                      <a:lnTo>
                        <a:pt x="778" y="538"/>
                      </a:lnTo>
                      <a:lnTo>
                        <a:pt x="2931" y="1974"/>
                      </a:lnTo>
                    </a:path>
                  </a:pathLst>
                </a:custGeom>
                <a:noFill/>
                <a:ln w="6350" cap="rnd">
                  <a:solidFill>
                    <a:schemeClr val="bg1">
                      <a:alpha val="40000"/>
                    </a:schemeClr>
                  </a:solidFill>
                  <a:prstDash val="solid"/>
                  <a:round/>
                </a:ln>
              </p:spPr>
              <p:txBody>
                <a:bodyPr rtlCol="0" anchor="ctr"/>
                <a:lstStyle/>
                <a:p>
                  <a:endParaRPr lang="en-GB"/>
                </a:p>
              </p:txBody>
            </p:sp>
            <p:sp>
              <p:nvSpPr>
                <p:cNvPr id="6956" name="Vrije vorm: vorm 6955">
                  <a:extLst>
                    <a:ext uri="{FF2B5EF4-FFF2-40B4-BE49-F238E27FC236}">
                      <a16:creationId xmlns:a16="http://schemas.microsoft.com/office/drawing/2014/main" id="{CCE38E73-84A5-4384-8587-18251FDE3528}"/>
                    </a:ext>
                  </a:extLst>
                </p:cNvPr>
                <p:cNvSpPr/>
                <p:nvPr/>
              </p:nvSpPr>
              <p:spPr>
                <a:xfrm>
                  <a:off x="6953387" y="2019909"/>
                  <a:ext cx="777" cy="478"/>
                </a:xfrm>
                <a:custGeom>
                  <a:avLst/>
                  <a:gdLst>
                    <a:gd name="connsiteX0" fmla="*/ 0 w 777"/>
                    <a:gd name="connsiteY0" fmla="*/ 0 h 478"/>
                    <a:gd name="connsiteX1" fmla="*/ 179 w 777"/>
                    <a:gd name="connsiteY1" fmla="*/ 120 h 478"/>
                    <a:gd name="connsiteX2" fmla="*/ 778 w 777"/>
                    <a:gd name="connsiteY2" fmla="*/ 478 h 478"/>
                  </a:gdLst>
                  <a:ahLst/>
                  <a:cxnLst>
                    <a:cxn ang="0">
                      <a:pos x="connsiteX0" y="connsiteY0"/>
                    </a:cxn>
                    <a:cxn ang="0">
                      <a:pos x="connsiteX1" y="connsiteY1"/>
                    </a:cxn>
                    <a:cxn ang="0">
                      <a:pos x="connsiteX2" y="connsiteY2"/>
                    </a:cxn>
                  </a:cxnLst>
                  <a:rect l="l" t="t" r="r" b="b"/>
                  <a:pathLst>
                    <a:path w="777" h="478">
                      <a:moveTo>
                        <a:pt x="0" y="0"/>
                      </a:moveTo>
                      <a:lnTo>
                        <a:pt x="179" y="120"/>
                      </a:lnTo>
                      <a:lnTo>
                        <a:pt x="778" y="478"/>
                      </a:lnTo>
                    </a:path>
                  </a:pathLst>
                </a:custGeom>
                <a:noFill/>
                <a:ln w="6350" cap="rnd">
                  <a:solidFill>
                    <a:schemeClr val="bg1">
                      <a:alpha val="40000"/>
                    </a:schemeClr>
                  </a:solidFill>
                  <a:prstDash val="solid"/>
                  <a:round/>
                </a:ln>
              </p:spPr>
              <p:txBody>
                <a:bodyPr rtlCol="0" anchor="ctr"/>
                <a:lstStyle/>
                <a:p>
                  <a:endParaRPr lang="en-GB"/>
                </a:p>
              </p:txBody>
            </p:sp>
            <p:sp>
              <p:nvSpPr>
                <p:cNvPr id="6957" name="Vrije vorm: vorm 6956">
                  <a:extLst>
                    <a:ext uri="{FF2B5EF4-FFF2-40B4-BE49-F238E27FC236}">
                      <a16:creationId xmlns:a16="http://schemas.microsoft.com/office/drawing/2014/main" id="{9444190A-116C-42E9-A8F8-DB9CEBA824E4}"/>
                    </a:ext>
                  </a:extLst>
                </p:cNvPr>
                <p:cNvSpPr/>
                <p:nvPr/>
              </p:nvSpPr>
              <p:spPr>
                <a:xfrm>
                  <a:off x="6967262" y="1977087"/>
                  <a:ext cx="13576" cy="6399"/>
                </a:xfrm>
                <a:custGeom>
                  <a:avLst/>
                  <a:gdLst>
                    <a:gd name="connsiteX0" fmla="*/ 0 w 13576"/>
                    <a:gd name="connsiteY0" fmla="*/ 0 h 6399"/>
                    <a:gd name="connsiteX1" fmla="*/ 2512 w 13576"/>
                    <a:gd name="connsiteY1" fmla="*/ 1196 h 6399"/>
                    <a:gd name="connsiteX2" fmla="*/ 3528 w 13576"/>
                    <a:gd name="connsiteY2" fmla="*/ 1675 h 6399"/>
                    <a:gd name="connsiteX3" fmla="*/ 6938 w 13576"/>
                    <a:gd name="connsiteY3" fmla="*/ 3289 h 6399"/>
                    <a:gd name="connsiteX4" fmla="*/ 7954 w 13576"/>
                    <a:gd name="connsiteY4" fmla="*/ 3768 h 6399"/>
                    <a:gd name="connsiteX5" fmla="*/ 8971 w 13576"/>
                    <a:gd name="connsiteY5" fmla="*/ 4246 h 6399"/>
                    <a:gd name="connsiteX6" fmla="*/ 9389 w 13576"/>
                    <a:gd name="connsiteY6" fmla="*/ 4426 h 6399"/>
                    <a:gd name="connsiteX7" fmla="*/ 9389 w 13576"/>
                    <a:gd name="connsiteY7" fmla="*/ 4426 h 6399"/>
                    <a:gd name="connsiteX8" fmla="*/ 12201 w 13576"/>
                    <a:gd name="connsiteY8" fmla="*/ 5742 h 6399"/>
                    <a:gd name="connsiteX9" fmla="*/ 13576 w 13576"/>
                    <a:gd name="connsiteY9" fmla="*/ 6399 h 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76" h="6399">
                      <a:moveTo>
                        <a:pt x="0" y="0"/>
                      </a:moveTo>
                      <a:lnTo>
                        <a:pt x="2512" y="1196"/>
                      </a:lnTo>
                      <a:lnTo>
                        <a:pt x="3528" y="1675"/>
                      </a:lnTo>
                      <a:lnTo>
                        <a:pt x="6938" y="3289"/>
                      </a:lnTo>
                      <a:lnTo>
                        <a:pt x="7954" y="3768"/>
                      </a:lnTo>
                      <a:lnTo>
                        <a:pt x="8971" y="4246"/>
                      </a:lnTo>
                      <a:lnTo>
                        <a:pt x="9389" y="4426"/>
                      </a:lnTo>
                      <a:lnTo>
                        <a:pt x="9389" y="4426"/>
                      </a:lnTo>
                      <a:lnTo>
                        <a:pt x="12201" y="5742"/>
                      </a:lnTo>
                      <a:lnTo>
                        <a:pt x="13576" y="6399"/>
                      </a:lnTo>
                    </a:path>
                  </a:pathLst>
                </a:custGeom>
                <a:noFill/>
                <a:ln w="6350" cap="rnd">
                  <a:solidFill>
                    <a:schemeClr val="bg1">
                      <a:alpha val="40000"/>
                    </a:schemeClr>
                  </a:solidFill>
                  <a:prstDash val="solid"/>
                  <a:round/>
                </a:ln>
              </p:spPr>
              <p:txBody>
                <a:bodyPr rtlCol="0" anchor="ctr"/>
                <a:lstStyle/>
                <a:p>
                  <a:endParaRPr lang="en-GB"/>
                </a:p>
              </p:txBody>
            </p:sp>
            <p:sp>
              <p:nvSpPr>
                <p:cNvPr id="6958" name="Vrije vorm: vorm 6957">
                  <a:extLst>
                    <a:ext uri="{FF2B5EF4-FFF2-40B4-BE49-F238E27FC236}">
                      <a16:creationId xmlns:a16="http://schemas.microsoft.com/office/drawing/2014/main" id="{621069AB-2264-478A-A33C-F2DDFE3816E8}"/>
                    </a:ext>
                  </a:extLst>
                </p:cNvPr>
                <p:cNvSpPr/>
                <p:nvPr/>
              </p:nvSpPr>
              <p:spPr>
                <a:xfrm>
                  <a:off x="6954223" y="2017936"/>
                  <a:ext cx="6040" cy="2511"/>
                </a:xfrm>
                <a:custGeom>
                  <a:avLst/>
                  <a:gdLst>
                    <a:gd name="connsiteX0" fmla="*/ 0 w 6040"/>
                    <a:gd name="connsiteY0" fmla="*/ 0 h 2511"/>
                    <a:gd name="connsiteX1" fmla="*/ 599 w 6040"/>
                    <a:gd name="connsiteY1" fmla="*/ 239 h 2511"/>
                    <a:gd name="connsiteX2" fmla="*/ 1615 w 6040"/>
                    <a:gd name="connsiteY2" fmla="*/ 658 h 2511"/>
                    <a:gd name="connsiteX3" fmla="*/ 2692 w 6040"/>
                    <a:gd name="connsiteY3" fmla="*/ 1136 h 2511"/>
                    <a:gd name="connsiteX4" fmla="*/ 5263 w 6040"/>
                    <a:gd name="connsiteY4" fmla="*/ 2213 h 2511"/>
                    <a:gd name="connsiteX5" fmla="*/ 6041 w 6040"/>
                    <a:gd name="connsiteY5" fmla="*/ 2512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40" h="2511">
                      <a:moveTo>
                        <a:pt x="0" y="0"/>
                      </a:moveTo>
                      <a:lnTo>
                        <a:pt x="599" y="239"/>
                      </a:lnTo>
                      <a:lnTo>
                        <a:pt x="1615" y="658"/>
                      </a:lnTo>
                      <a:lnTo>
                        <a:pt x="2692" y="1136"/>
                      </a:lnTo>
                      <a:lnTo>
                        <a:pt x="5263" y="2213"/>
                      </a:lnTo>
                      <a:lnTo>
                        <a:pt x="6041" y="2512"/>
                      </a:lnTo>
                    </a:path>
                  </a:pathLst>
                </a:custGeom>
                <a:noFill/>
                <a:ln w="6350" cap="rnd">
                  <a:solidFill>
                    <a:schemeClr val="bg1">
                      <a:alpha val="40000"/>
                    </a:schemeClr>
                  </a:solidFill>
                  <a:prstDash val="solid"/>
                  <a:round/>
                </a:ln>
              </p:spPr>
              <p:txBody>
                <a:bodyPr rtlCol="0" anchor="ctr"/>
                <a:lstStyle/>
                <a:p>
                  <a:endParaRPr lang="en-GB"/>
                </a:p>
              </p:txBody>
            </p:sp>
            <p:sp>
              <p:nvSpPr>
                <p:cNvPr id="6959" name="Vrije vorm: vorm 6958">
                  <a:extLst>
                    <a:ext uri="{FF2B5EF4-FFF2-40B4-BE49-F238E27FC236}">
                      <a16:creationId xmlns:a16="http://schemas.microsoft.com/office/drawing/2014/main" id="{45D03410-336B-440C-A11D-494EDD65C95B}"/>
                    </a:ext>
                  </a:extLst>
                </p:cNvPr>
                <p:cNvSpPr/>
                <p:nvPr/>
              </p:nvSpPr>
              <p:spPr>
                <a:xfrm>
                  <a:off x="6967262" y="1977326"/>
                  <a:ext cx="6698" cy="4246"/>
                </a:xfrm>
                <a:custGeom>
                  <a:avLst/>
                  <a:gdLst>
                    <a:gd name="connsiteX0" fmla="*/ 0 w 6698"/>
                    <a:gd name="connsiteY0" fmla="*/ 0 h 4246"/>
                    <a:gd name="connsiteX1" fmla="*/ 2273 w 6698"/>
                    <a:gd name="connsiteY1" fmla="*/ 1435 h 4246"/>
                    <a:gd name="connsiteX2" fmla="*/ 3290 w 6698"/>
                    <a:gd name="connsiteY2" fmla="*/ 2093 h 4246"/>
                    <a:gd name="connsiteX3" fmla="*/ 3469 w 6698"/>
                    <a:gd name="connsiteY3" fmla="*/ 2213 h 4246"/>
                    <a:gd name="connsiteX4" fmla="*/ 6698 w 6698"/>
                    <a:gd name="connsiteY4" fmla="*/ 4246 h 4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8" h="4246">
                      <a:moveTo>
                        <a:pt x="0" y="0"/>
                      </a:moveTo>
                      <a:lnTo>
                        <a:pt x="2273" y="1435"/>
                      </a:lnTo>
                      <a:lnTo>
                        <a:pt x="3290" y="2093"/>
                      </a:lnTo>
                      <a:lnTo>
                        <a:pt x="3469" y="2213"/>
                      </a:lnTo>
                      <a:lnTo>
                        <a:pt x="6698" y="4246"/>
                      </a:lnTo>
                    </a:path>
                  </a:pathLst>
                </a:custGeom>
                <a:noFill/>
                <a:ln w="6350" cap="rnd">
                  <a:solidFill>
                    <a:schemeClr val="bg1">
                      <a:alpha val="40000"/>
                    </a:schemeClr>
                  </a:solidFill>
                  <a:prstDash val="solid"/>
                  <a:round/>
                </a:ln>
              </p:spPr>
              <p:txBody>
                <a:bodyPr rtlCol="0" anchor="ctr"/>
                <a:lstStyle/>
                <a:p>
                  <a:endParaRPr lang="en-GB"/>
                </a:p>
              </p:txBody>
            </p:sp>
            <p:sp>
              <p:nvSpPr>
                <p:cNvPr id="6960" name="Vrije vorm: vorm 6959">
                  <a:extLst>
                    <a:ext uri="{FF2B5EF4-FFF2-40B4-BE49-F238E27FC236}">
                      <a16:creationId xmlns:a16="http://schemas.microsoft.com/office/drawing/2014/main" id="{1EED2707-351C-4BA7-A8EF-EF1EF49A7807}"/>
                    </a:ext>
                  </a:extLst>
                </p:cNvPr>
                <p:cNvSpPr/>
                <p:nvPr/>
              </p:nvSpPr>
              <p:spPr>
                <a:xfrm>
                  <a:off x="7052547" y="1805381"/>
                  <a:ext cx="12679" cy="4485"/>
                </a:xfrm>
                <a:custGeom>
                  <a:avLst/>
                  <a:gdLst>
                    <a:gd name="connsiteX0" fmla="*/ 12679 w 12679"/>
                    <a:gd name="connsiteY0" fmla="*/ 4486 h 4485"/>
                    <a:gd name="connsiteX1" fmla="*/ 10167 w 12679"/>
                    <a:gd name="connsiteY1" fmla="*/ 3588 h 4485"/>
                    <a:gd name="connsiteX2" fmla="*/ 2811 w 12679"/>
                    <a:gd name="connsiteY2" fmla="*/ 1017 h 4485"/>
                    <a:gd name="connsiteX3" fmla="*/ 1615 w 12679"/>
                    <a:gd name="connsiteY3" fmla="*/ 598 h 4485"/>
                    <a:gd name="connsiteX4" fmla="*/ 1375 w 12679"/>
                    <a:gd name="connsiteY4" fmla="*/ 478 h 4485"/>
                    <a:gd name="connsiteX5" fmla="*/ 0 w 12679"/>
                    <a:gd name="connsiteY5" fmla="*/ 0 h 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79" h="4485">
                      <a:moveTo>
                        <a:pt x="12679" y="4486"/>
                      </a:moveTo>
                      <a:lnTo>
                        <a:pt x="10167" y="3588"/>
                      </a:lnTo>
                      <a:lnTo>
                        <a:pt x="2811" y="1017"/>
                      </a:lnTo>
                      <a:lnTo>
                        <a:pt x="1615" y="598"/>
                      </a:lnTo>
                      <a:lnTo>
                        <a:pt x="1375" y="47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61" name="Vrije vorm: vorm 6960">
                  <a:extLst>
                    <a:ext uri="{FF2B5EF4-FFF2-40B4-BE49-F238E27FC236}">
                      <a16:creationId xmlns:a16="http://schemas.microsoft.com/office/drawing/2014/main" id="{9F84DCC8-F657-4847-BEE2-F61FDAB7DF35}"/>
                    </a:ext>
                  </a:extLst>
                </p:cNvPr>
                <p:cNvSpPr/>
                <p:nvPr/>
              </p:nvSpPr>
              <p:spPr>
                <a:xfrm>
                  <a:off x="6954642" y="2016979"/>
                  <a:ext cx="2571" cy="1076"/>
                </a:xfrm>
                <a:custGeom>
                  <a:avLst/>
                  <a:gdLst>
                    <a:gd name="connsiteX0" fmla="*/ 0 w 2571"/>
                    <a:gd name="connsiteY0" fmla="*/ 0 h 1076"/>
                    <a:gd name="connsiteX1" fmla="*/ 778 w 2571"/>
                    <a:gd name="connsiteY1" fmla="*/ 299 h 1076"/>
                    <a:gd name="connsiteX2" fmla="*/ 1017 w 2571"/>
                    <a:gd name="connsiteY2" fmla="*/ 419 h 1076"/>
                    <a:gd name="connsiteX3" fmla="*/ 1555 w 2571"/>
                    <a:gd name="connsiteY3" fmla="*/ 658 h 1076"/>
                    <a:gd name="connsiteX4" fmla="*/ 2571 w 2571"/>
                    <a:gd name="connsiteY4" fmla="*/ 1076 h 1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 h="1076">
                      <a:moveTo>
                        <a:pt x="0" y="0"/>
                      </a:moveTo>
                      <a:lnTo>
                        <a:pt x="778" y="299"/>
                      </a:lnTo>
                      <a:lnTo>
                        <a:pt x="1017" y="419"/>
                      </a:lnTo>
                      <a:lnTo>
                        <a:pt x="1555" y="658"/>
                      </a:lnTo>
                      <a:lnTo>
                        <a:pt x="2571" y="1076"/>
                      </a:lnTo>
                    </a:path>
                  </a:pathLst>
                </a:custGeom>
                <a:noFill/>
                <a:ln w="6350" cap="rnd">
                  <a:solidFill>
                    <a:schemeClr val="bg1">
                      <a:alpha val="40000"/>
                    </a:schemeClr>
                  </a:solidFill>
                  <a:prstDash val="solid"/>
                  <a:round/>
                </a:ln>
              </p:spPr>
              <p:txBody>
                <a:bodyPr rtlCol="0" anchor="ctr"/>
                <a:lstStyle/>
                <a:p>
                  <a:endParaRPr lang="en-GB"/>
                </a:p>
              </p:txBody>
            </p:sp>
            <p:sp>
              <p:nvSpPr>
                <p:cNvPr id="6962" name="Vrije vorm: vorm 6961">
                  <a:extLst>
                    <a:ext uri="{FF2B5EF4-FFF2-40B4-BE49-F238E27FC236}">
                      <a16:creationId xmlns:a16="http://schemas.microsoft.com/office/drawing/2014/main" id="{07408D2F-85E4-4728-9878-4575EB49042F}"/>
                    </a:ext>
                  </a:extLst>
                </p:cNvPr>
                <p:cNvSpPr/>
                <p:nvPr/>
              </p:nvSpPr>
              <p:spPr>
                <a:xfrm>
                  <a:off x="6967381" y="1976310"/>
                  <a:ext cx="8253" cy="3887"/>
                </a:xfrm>
                <a:custGeom>
                  <a:avLst/>
                  <a:gdLst>
                    <a:gd name="connsiteX0" fmla="*/ 0 w 8253"/>
                    <a:gd name="connsiteY0" fmla="*/ 0 h 3887"/>
                    <a:gd name="connsiteX1" fmla="*/ 1794 w 8253"/>
                    <a:gd name="connsiteY1" fmla="*/ 837 h 3887"/>
                    <a:gd name="connsiteX2" fmla="*/ 2811 w 8253"/>
                    <a:gd name="connsiteY2" fmla="*/ 1316 h 3887"/>
                    <a:gd name="connsiteX3" fmla="*/ 3708 w 8253"/>
                    <a:gd name="connsiteY3" fmla="*/ 1734 h 3887"/>
                    <a:gd name="connsiteX4" fmla="*/ 8253 w 8253"/>
                    <a:gd name="connsiteY4" fmla="*/ 3887 h 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3" h="3887">
                      <a:moveTo>
                        <a:pt x="0" y="0"/>
                      </a:moveTo>
                      <a:lnTo>
                        <a:pt x="1794" y="837"/>
                      </a:lnTo>
                      <a:lnTo>
                        <a:pt x="2811" y="1316"/>
                      </a:lnTo>
                      <a:lnTo>
                        <a:pt x="3708" y="1734"/>
                      </a:lnTo>
                      <a:lnTo>
                        <a:pt x="8253" y="3887"/>
                      </a:lnTo>
                    </a:path>
                  </a:pathLst>
                </a:custGeom>
                <a:noFill/>
                <a:ln w="6350" cap="rnd">
                  <a:solidFill>
                    <a:schemeClr val="bg1">
                      <a:alpha val="40000"/>
                    </a:schemeClr>
                  </a:solidFill>
                  <a:prstDash val="solid"/>
                  <a:round/>
                </a:ln>
              </p:spPr>
              <p:txBody>
                <a:bodyPr rtlCol="0" anchor="ctr"/>
                <a:lstStyle/>
                <a:p>
                  <a:endParaRPr lang="en-GB"/>
                </a:p>
              </p:txBody>
            </p:sp>
            <p:sp>
              <p:nvSpPr>
                <p:cNvPr id="6963" name="Vrije vorm: vorm 6962">
                  <a:extLst>
                    <a:ext uri="{FF2B5EF4-FFF2-40B4-BE49-F238E27FC236}">
                      <a16:creationId xmlns:a16="http://schemas.microsoft.com/office/drawing/2014/main" id="{7CEFC36E-BBC1-4875-9172-4C8E34BF89C4}"/>
                    </a:ext>
                  </a:extLst>
                </p:cNvPr>
                <p:cNvSpPr/>
                <p:nvPr/>
              </p:nvSpPr>
              <p:spPr>
                <a:xfrm>
                  <a:off x="6984964" y="1919194"/>
                  <a:ext cx="2990" cy="2930"/>
                </a:xfrm>
                <a:custGeom>
                  <a:avLst/>
                  <a:gdLst>
                    <a:gd name="connsiteX0" fmla="*/ 2990 w 2990"/>
                    <a:gd name="connsiteY0" fmla="*/ 0 h 2930"/>
                    <a:gd name="connsiteX1" fmla="*/ 2273 w 2990"/>
                    <a:gd name="connsiteY1" fmla="*/ 718 h 2930"/>
                    <a:gd name="connsiteX2" fmla="*/ 2153 w 2990"/>
                    <a:gd name="connsiteY2" fmla="*/ 837 h 2930"/>
                    <a:gd name="connsiteX3" fmla="*/ 0 w 2990"/>
                    <a:gd name="connsiteY3" fmla="*/ 2931 h 2930"/>
                  </a:gdLst>
                  <a:ahLst/>
                  <a:cxnLst>
                    <a:cxn ang="0">
                      <a:pos x="connsiteX0" y="connsiteY0"/>
                    </a:cxn>
                    <a:cxn ang="0">
                      <a:pos x="connsiteX1" y="connsiteY1"/>
                    </a:cxn>
                    <a:cxn ang="0">
                      <a:pos x="connsiteX2" y="connsiteY2"/>
                    </a:cxn>
                    <a:cxn ang="0">
                      <a:pos x="connsiteX3" y="connsiteY3"/>
                    </a:cxn>
                  </a:cxnLst>
                  <a:rect l="l" t="t" r="r" b="b"/>
                  <a:pathLst>
                    <a:path w="2990" h="2930">
                      <a:moveTo>
                        <a:pt x="2990" y="0"/>
                      </a:moveTo>
                      <a:lnTo>
                        <a:pt x="2273" y="718"/>
                      </a:lnTo>
                      <a:lnTo>
                        <a:pt x="2153" y="837"/>
                      </a:lnTo>
                      <a:lnTo>
                        <a:pt x="0" y="2931"/>
                      </a:lnTo>
                    </a:path>
                  </a:pathLst>
                </a:custGeom>
                <a:noFill/>
                <a:ln w="6350" cap="rnd">
                  <a:solidFill>
                    <a:schemeClr val="bg1">
                      <a:alpha val="40000"/>
                    </a:schemeClr>
                  </a:solidFill>
                  <a:prstDash val="solid"/>
                  <a:round/>
                </a:ln>
              </p:spPr>
              <p:txBody>
                <a:bodyPr rtlCol="0" anchor="ctr"/>
                <a:lstStyle/>
                <a:p>
                  <a:endParaRPr lang="en-GB"/>
                </a:p>
              </p:txBody>
            </p:sp>
            <p:sp>
              <p:nvSpPr>
                <p:cNvPr id="6964" name="Vrije vorm: vorm 6963">
                  <a:extLst>
                    <a:ext uri="{FF2B5EF4-FFF2-40B4-BE49-F238E27FC236}">
                      <a16:creationId xmlns:a16="http://schemas.microsoft.com/office/drawing/2014/main" id="{3B039E9C-10B1-4816-96FC-006EE66E47C6}"/>
                    </a:ext>
                  </a:extLst>
                </p:cNvPr>
                <p:cNvSpPr/>
                <p:nvPr/>
              </p:nvSpPr>
              <p:spPr>
                <a:xfrm>
                  <a:off x="6967501" y="1975532"/>
                  <a:ext cx="4844" cy="2392"/>
                </a:xfrm>
                <a:custGeom>
                  <a:avLst/>
                  <a:gdLst>
                    <a:gd name="connsiteX0" fmla="*/ 0 w 4844"/>
                    <a:gd name="connsiteY0" fmla="*/ 0 h 2392"/>
                    <a:gd name="connsiteX1" fmla="*/ 3050 w 4844"/>
                    <a:gd name="connsiteY1" fmla="*/ 1495 h 2392"/>
                    <a:gd name="connsiteX2" fmla="*/ 3169 w 4844"/>
                    <a:gd name="connsiteY2" fmla="*/ 1555 h 2392"/>
                    <a:gd name="connsiteX3" fmla="*/ 4844 w 4844"/>
                    <a:gd name="connsiteY3" fmla="*/ 2392 h 2392"/>
                  </a:gdLst>
                  <a:ahLst/>
                  <a:cxnLst>
                    <a:cxn ang="0">
                      <a:pos x="connsiteX0" y="connsiteY0"/>
                    </a:cxn>
                    <a:cxn ang="0">
                      <a:pos x="connsiteX1" y="connsiteY1"/>
                    </a:cxn>
                    <a:cxn ang="0">
                      <a:pos x="connsiteX2" y="connsiteY2"/>
                    </a:cxn>
                    <a:cxn ang="0">
                      <a:pos x="connsiteX3" y="connsiteY3"/>
                    </a:cxn>
                  </a:cxnLst>
                  <a:rect l="l" t="t" r="r" b="b"/>
                  <a:pathLst>
                    <a:path w="4844" h="2392">
                      <a:moveTo>
                        <a:pt x="0" y="0"/>
                      </a:moveTo>
                      <a:lnTo>
                        <a:pt x="3050" y="1495"/>
                      </a:lnTo>
                      <a:lnTo>
                        <a:pt x="3169" y="1555"/>
                      </a:lnTo>
                      <a:lnTo>
                        <a:pt x="4844" y="2392"/>
                      </a:lnTo>
                    </a:path>
                  </a:pathLst>
                </a:custGeom>
                <a:noFill/>
                <a:ln w="6350" cap="rnd">
                  <a:solidFill>
                    <a:schemeClr val="bg1">
                      <a:alpha val="40000"/>
                    </a:schemeClr>
                  </a:solidFill>
                  <a:prstDash val="solid"/>
                  <a:round/>
                </a:ln>
              </p:spPr>
              <p:txBody>
                <a:bodyPr rtlCol="0" anchor="ctr"/>
                <a:lstStyle/>
                <a:p>
                  <a:endParaRPr lang="en-GB"/>
                </a:p>
              </p:txBody>
            </p:sp>
            <p:sp>
              <p:nvSpPr>
                <p:cNvPr id="6965" name="Vrije vorm: vorm 6964">
                  <a:extLst>
                    <a:ext uri="{FF2B5EF4-FFF2-40B4-BE49-F238E27FC236}">
                      <a16:creationId xmlns:a16="http://schemas.microsoft.com/office/drawing/2014/main" id="{9D942CC2-4EBD-40E7-A752-F119F8F059D0}"/>
                    </a:ext>
                  </a:extLst>
                </p:cNvPr>
                <p:cNvSpPr/>
                <p:nvPr/>
              </p:nvSpPr>
              <p:spPr>
                <a:xfrm>
                  <a:off x="7063551" y="1779066"/>
                  <a:ext cx="14653" cy="11363"/>
                </a:xfrm>
                <a:custGeom>
                  <a:avLst/>
                  <a:gdLst>
                    <a:gd name="connsiteX0" fmla="*/ 0 w 14653"/>
                    <a:gd name="connsiteY0" fmla="*/ 0 h 11363"/>
                    <a:gd name="connsiteX1" fmla="*/ 479 w 14653"/>
                    <a:gd name="connsiteY1" fmla="*/ 419 h 11363"/>
                    <a:gd name="connsiteX2" fmla="*/ 14653 w 14653"/>
                    <a:gd name="connsiteY2" fmla="*/ 11363 h 11363"/>
                  </a:gdLst>
                  <a:ahLst/>
                  <a:cxnLst>
                    <a:cxn ang="0">
                      <a:pos x="connsiteX0" y="connsiteY0"/>
                    </a:cxn>
                    <a:cxn ang="0">
                      <a:pos x="connsiteX1" y="connsiteY1"/>
                    </a:cxn>
                    <a:cxn ang="0">
                      <a:pos x="connsiteX2" y="connsiteY2"/>
                    </a:cxn>
                  </a:cxnLst>
                  <a:rect l="l" t="t" r="r" b="b"/>
                  <a:pathLst>
                    <a:path w="14653" h="11363">
                      <a:moveTo>
                        <a:pt x="0" y="0"/>
                      </a:moveTo>
                      <a:lnTo>
                        <a:pt x="479" y="419"/>
                      </a:lnTo>
                      <a:lnTo>
                        <a:pt x="14653" y="11363"/>
                      </a:lnTo>
                    </a:path>
                  </a:pathLst>
                </a:custGeom>
                <a:noFill/>
                <a:ln w="6350" cap="rnd">
                  <a:solidFill>
                    <a:schemeClr val="bg1">
                      <a:alpha val="40000"/>
                    </a:schemeClr>
                  </a:solidFill>
                  <a:prstDash val="solid"/>
                  <a:round/>
                </a:ln>
              </p:spPr>
              <p:txBody>
                <a:bodyPr rtlCol="0" anchor="ctr"/>
                <a:lstStyle/>
                <a:p>
                  <a:endParaRPr lang="en-GB"/>
                </a:p>
              </p:txBody>
            </p:sp>
            <p:sp>
              <p:nvSpPr>
                <p:cNvPr id="6966" name="Vrije vorm: vorm 6965">
                  <a:extLst>
                    <a:ext uri="{FF2B5EF4-FFF2-40B4-BE49-F238E27FC236}">
                      <a16:creationId xmlns:a16="http://schemas.microsoft.com/office/drawing/2014/main" id="{5F20B068-7F4C-4D0A-BCB7-005EBD7AE732}"/>
                    </a:ext>
                  </a:extLst>
                </p:cNvPr>
                <p:cNvSpPr/>
                <p:nvPr/>
              </p:nvSpPr>
              <p:spPr>
                <a:xfrm>
                  <a:off x="6967800" y="1973439"/>
                  <a:ext cx="2870" cy="3588"/>
                </a:xfrm>
                <a:custGeom>
                  <a:avLst/>
                  <a:gdLst>
                    <a:gd name="connsiteX0" fmla="*/ 2871 w 2870"/>
                    <a:gd name="connsiteY0" fmla="*/ 3588 h 3588"/>
                    <a:gd name="connsiteX1" fmla="*/ 2811 w 2870"/>
                    <a:gd name="connsiteY1" fmla="*/ 3469 h 3588"/>
                    <a:gd name="connsiteX2" fmla="*/ 1974 w 2870"/>
                    <a:gd name="connsiteY2" fmla="*/ 2392 h 3588"/>
                    <a:gd name="connsiteX3" fmla="*/ 0 w 2870"/>
                    <a:gd name="connsiteY3" fmla="*/ 0 h 3588"/>
                  </a:gdLst>
                  <a:ahLst/>
                  <a:cxnLst>
                    <a:cxn ang="0">
                      <a:pos x="connsiteX0" y="connsiteY0"/>
                    </a:cxn>
                    <a:cxn ang="0">
                      <a:pos x="connsiteX1" y="connsiteY1"/>
                    </a:cxn>
                    <a:cxn ang="0">
                      <a:pos x="connsiteX2" y="connsiteY2"/>
                    </a:cxn>
                    <a:cxn ang="0">
                      <a:pos x="connsiteX3" y="connsiteY3"/>
                    </a:cxn>
                  </a:cxnLst>
                  <a:rect l="l" t="t" r="r" b="b"/>
                  <a:pathLst>
                    <a:path w="2870" h="3588">
                      <a:moveTo>
                        <a:pt x="2871" y="3588"/>
                      </a:moveTo>
                      <a:lnTo>
                        <a:pt x="2811" y="3469"/>
                      </a:lnTo>
                      <a:lnTo>
                        <a:pt x="1974" y="2392"/>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67" name="Vrije vorm: vorm 6966">
                  <a:extLst>
                    <a:ext uri="{FF2B5EF4-FFF2-40B4-BE49-F238E27FC236}">
                      <a16:creationId xmlns:a16="http://schemas.microsoft.com/office/drawing/2014/main" id="{D3BAE65D-C31A-46A6-8006-CC89AFB65F5B}"/>
                    </a:ext>
                  </a:extLst>
                </p:cNvPr>
                <p:cNvSpPr/>
                <p:nvPr/>
              </p:nvSpPr>
              <p:spPr>
                <a:xfrm>
                  <a:off x="6999677" y="1851612"/>
                  <a:ext cx="2093" cy="3588"/>
                </a:xfrm>
                <a:custGeom>
                  <a:avLst/>
                  <a:gdLst>
                    <a:gd name="connsiteX0" fmla="*/ 2093 w 2093"/>
                    <a:gd name="connsiteY0" fmla="*/ 0 h 3588"/>
                    <a:gd name="connsiteX1" fmla="*/ 538 w 2093"/>
                    <a:gd name="connsiteY1" fmla="*/ 2572 h 3588"/>
                    <a:gd name="connsiteX2" fmla="*/ 478 w 2093"/>
                    <a:gd name="connsiteY2" fmla="*/ 2691 h 3588"/>
                    <a:gd name="connsiteX3" fmla="*/ 299 w 2093"/>
                    <a:gd name="connsiteY3" fmla="*/ 3050 h 3588"/>
                    <a:gd name="connsiteX4" fmla="*/ 0 w 2093"/>
                    <a:gd name="connsiteY4" fmla="*/ 3588 h 3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 h="3588">
                      <a:moveTo>
                        <a:pt x="2093" y="0"/>
                      </a:moveTo>
                      <a:lnTo>
                        <a:pt x="538" y="2572"/>
                      </a:lnTo>
                      <a:lnTo>
                        <a:pt x="478" y="2691"/>
                      </a:lnTo>
                      <a:lnTo>
                        <a:pt x="299" y="3050"/>
                      </a:lnTo>
                      <a:lnTo>
                        <a:pt x="0" y="3588"/>
                      </a:lnTo>
                    </a:path>
                  </a:pathLst>
                </a:custGeom>
                <a:noFill/>
                <a:ln w="6350" cap="rnd">
                  <a:solidFill>
                    <a:schemeClr val="bg1">
                      <a:alpha val="40000"/>
                    </a:schemeClr>
                  </a:solidFill>
                  <a:prstDash val="solid"/>
                  <a:round/>
                </a:ln>
              </p:spPr>
              <p:txBody>
                <a:bodyPr rtlCol="0" anchor="ctr"/>
                <a:lstStyle/>
                <a:p>
                  <a:endParaRPr lang="en-GB"/>
                </a:p>
              </p:txBody>
            </p:sp>
            <p:sp>
              <p:nvSpPr>
                <p:cNvPr id="6968" name="Vrije vorm: vorm 6967">
                  <a:extLst>
                    <a:ext uri="{FF2B5EF4-FFF2-40B4-BE49-F238E27FC236}">
                      <a16:creationId xmlns:a16="http://schemas.microsoft.com/office/drawing/2014/main" id="{99D49DB7-A459-4E58-B8EF-92775CB68D10}"/>
                    </a:ext>
                  </a:extLst>
                </p:cNvPr>
                <p:cNvSpPr/>
                <p:nvPr/>
              </p:nvSpPr>
              <p:spPr>
                <a:xfrm>
                  <a:off x="6996507" y="1849817"/>
                  <a:ext cx="2093" cy="3528"/>
                </a:xfrm>
                <a:custGeom>
                  <a:avLst/>
                  <a:gdLst>
                    <a:gd name="connsiteX0" fmla="*/ 0 w 2093"/>
                    <a:gd name="connsiteY0" fmla="*/ 3529 h 3528"/>
                    <a:gd name="connsiteX1" fmla="*/ 658 w 2093"/>
                    <a:gd name="connsiteY1" fmla="*/ 2452 h 3528"/>
                    <a:gd name="connsiteX2" fmla="*/ 1375 w 2093"/>
                    <a:gd name="connsiteY2" fmla="*/ 1196 h 3528"/>
                    <a:gd name="connsiteX3" fmla="*/ 1375 w 2093"/>
                    <a:gd name="connsiteY3" fmla="*/ 1196 h 3528"/>
                    <a:gd name="connsiteX4" fmla="*/ 2093 w 2093"/>
                    <a:gd name="connsiteY4" fmla="*/ 0 h 3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 h="3528">
                      <a:moveTo>
                        <a:pt x="0" y="3529"/>
                      </a:moveTo>
                      <a:lnTo>
                        <a:pt x="658" y="2452"/>
                      </a:lnTo>
                      <a:lnTo>
                        <a:pt x="1375" y="1196"/>
                      </a:lnTo>
                      <a:lnTo>
                        <a:pt x="1375" y="1196"/>
                      </a:lnTo>
                      <a:lnTo>
                        <a:pt x="2093" y="0"/>
                      </a:lnTo>
                    </a:path>
                  </a:pathLst>
                </a:custGeom>
                <a:noFill/>
                <a:ln w="6350" cap="rnd">
                  <a:solidFill>
                    <a:schemeClr val="bg1">
                      <a:alpha val="40000"/>
                    </a:schemeClr>
                  </a:solidFill>
                  <a:prstDash val="solid"/>
                  <a:round/>
                </a:ln>
              </p:spPr>
              <p:txBody>
                <a:bodyPr rtlCol="0" anchor="ctr"/>
                <a:lstStyle/>
                <a:p>
                  <a:endParaRPr lang="en-GB"/>
                </a:p>
              </p:txBody>
            </p:sp>
            <p:sp>
              <p:nvSpPr>
                <p:cNvPr id="6969" name="Vrije vorm: vorm 6968">
                  <a:extLst>
                    <a:ext uri="{FF2B5EF4-FFF2-40B4-BE49-F238E27FC236}">
                      <a16:creationId xmlns:a16="http://schemas.microsoft.com/office/drawing/2014/main" id="{C8E08B06-7338-476F-981E-50522C575A48}"/>
                    </a:ext>
                  </a:extLst>
                </p:cNvPr>
                <p:cNvSpPr/>
                <p:nvPr/>
              </p:nvSpPr>
              <p:spPr>
                <a:xfrm>
                  <a:off x="6985204" y="1870750"/>
                  <a:ext cx="59" cy="59"/>
                </a:xfrm>
                <a:custGeom>
                  <a:avLst/>
                  <a:gdLst>
                    <a:gd name="connsiteX0" fmla="*/ 0 w 59"/>
                    <a:gd name="connsiteY0" fmla="*/ 60 h 59"/>
                    <a:gd name="connsiteX1" fmla="*/ 60 w 59"/>
                    <a:gd name="connsiteY1" fmla="*/ 0 h 59"/>
                  </a:gdLst>
                  <a:ahLst/>
                  <a:cxnLst>
                    <a:cxn ang="0">
                      <a:pos x="connsiteX0" y="connsiteY0"/>
                    </a:cxn>
                    <a:cxn ang="0">
                      <a:pos x="connsiteX1" y="connsiteY1"/>
                    </a:cxn>
                  </a:cxnLst>
                  <a:rect l="l" t="t" r="r" b="b"/>
                  <a:pathLst>
                    <a:path w="59" h="59">
                      <a:moveTo>
                        <a:pt x="0" y="60"/>
                      </a:moveTo>
                      <a:lnTo>
                        <a:pt x="60" y="0"/>
                      </a:lnTo>
                    </a:path>
                  </a:pathLst>
                </a:custGeom>
                <a:noFill/>
                <a:ln w="6350" cap="rnd">
                  <a:solidFill>
                    <a:schemeClr val="bg1">
                      <a:alpha val="40000"/>
                    </a:schemeClr>
                  </a:solidFill>
                  <a:prstDash val="solid"/>
                  <a:round/>
                </a:ln>
              </p:spPr>
              <p:txBody>
                <a:bodyPr rtlCol="0" anchor="ctr"/>
                <a:lstStyle/>
                <a:p>
                  <a:endParaRPr lang="en-GB"/>
                </a:p>
              </p:txBody>
            </p:sp>
            <p:sp>
              <p:nvSpPr>
                <p:cNvPr id="6970" name="Vrije vorm: vorm 6969">
                  <a:extLst>
                    <a:ext uri="{FF2B5EF4-FFF2-40B4-BE49-F238E27FC236}">
                      <a16:creationId xmlns:a16="http://schemas.microsoft.com/office/drawing/2014/main" id="{F57BB1CD-78B6-444E-98D9-0F9C731F60D0}"/>
                    </a:ext>
                  </a:extLst>
                </p:cNvPr>
                <p:cNvSpPr/>
                <p:nvPr/>
              </p:nvSpPr>
              <p:spPr>
                <a:xfrm>
                  <a:off x="6856798" y="2094010"/>
                  <a:ext cx="1135" cy="657"/>
                </a:xfrm>
                <a:custGeom>
                  <a:avLst/>
                  <a:gdLst>
                    <a:gd name="connsiteX0" fmla="*/ 0 w 1135"/>
                    <a:gd name="connsiteY0" fmla="*/ 658 h 657"/>
                    <a:gd name="connsiteX1" fmla="*/ 1136 w 1135"/>
                    <a:gd name="connsiteY1" fmla="*/ 0 h 657"/>
                  </a:gdLst>
                  <a:ahLst/>
                  <a:cxnLst>
                    <a:cxn ang="0">
                      <a:pos x="connsiteX0" y="connsiteY0"/>
                    </a:cxn>
                    <a:cxn ang="0">
                      <a:pos x="connsiteX1" y="connsiteY1"/>
                    </a:cxn>
                  </a:cxnLst>
                  <a:rect l="l" t="t" r="r" b="b"/>
                  <a:pathLst>
                    <a:path w="1135" h="657">
                      <a:moveTo>
                        <a:pt x="0" y="658"/>
                      </a:moveTo>
                      <a:lnTo>
                        <a:pt x="1136" y="0"/>
                      </a:lnTo>
                    </a:path>
                  </a:pathLst>
                </a:custGeom>
                <a:noFill/>
                <a:ln w="6350" cap="rnd">
                  <a:solidFill>
                    <a:schemeClr val="bg1">
                      <a:alpha val="40000"/>
                    </a:schemeClr>
                  </a:solidFill>
                  <a:prstDash val="solid"/>
                  <a:round/>
                </a:ln>
              </p:spPr>
              <p:txBody>
                <a:bodyPr rtlCol="0" anchor="ctr"/>
                <a:lstStyle/>
                <a:p>
                  <a:endParaRPr lang="en-GB"/>
                </a:p>
              </p:txBody>
            </p:sp>
            <p:sp>
              <p:nvSpPr>
                <p:cNvPr id="6971" name="Vrije vorm: vorm 6970">
                  <a:extLst>
                    <a:ext uri="{FF2B5EF4-FFF2-40B4-BE49-F238E27FC236}">
                      <a16:creationId xmlns:a16="http://schemas.microsoft.com/office/drawing/2014/main" id="{CA23B051-8336-437F-8F74-7E450E35FAD0}"/>
                    </a:ext>
                  </a:extLst>
                </p:cNvPr>
                <p:cNvSpPr/>
                <p:nvPr/>
              </p:nvSpPr>
              <p:spPr>
                <a:xfrm>
                  <a:off x="6995252" y="1849100"/>
                  <a:ext cx="2093" cy="3528"/>
                </a:xfrm>
                <a:custGeom>
                  <a:avLst/>
                  <a:gdLst>
                    <a:gd name="connsiteX0" fmla="*/ 0 w 2093"/>
                    <a:gd name="connsiteY0" fmla="*/ 3529 h 3528"/>
                    <a:gd name="connsiteX1" fmla="*/ 2093 w 2093"/>
                    <a:gd name="connsiteY1" fmla="*/ 0 h 3528"/>
                  </a:gdLst>
                  <a:ahLst/>
                  <a:cxnLst>
                    <a:cxn ang="0">
                      <a:pos x="connsiteX0" y="connsiteY0"/>
                    </a:cxn>
                    <a:cxn ang="0">
                      <a:pos x="connsiteX1" y="connsiteY1"/>
                    </a:cxn>
                  </a:cxnLst>
                  <a:rect l="l" t="t" r="r" b="b"/>
                  <a:pathLst>
                    <a:path w="2093" h="3528">
                      <a:moveTo>
                        <a:pt x="0" y="3529"/>
                      </a:moveTo>
                      <a:lnTo>
                        <a:pt x="2093" y="0"/>
                      </a:lnTo>
                    </a:path>
                  </a:pathLst>
                </a:custGeom>
                <a:noFill/>
                <a:ln w="6350" cap="rnd">
                  <a:solidFill>
                    <a:schemeClr val="bg1">
                      <a:alpha val="40000"/>
                    </a:schemeClr>
                  </a:solidFill>
                  <a:prstDash val="solid"/>
                  <a:round/>
                </a:ln>
              </p:spPr>
              <p:txBody>
                <a:bodyPr rtlCol="0" anchor="ctr"/>
                <a:lstStyle/>
                <a:p>
                  <a:endParaRPr lang="en-GB"/>
                </a:p>
              </p:txBody>
            </p:sp>
            <p:sp>
              <p:nvSpPr>
                <p:cNvPr id="6972" name="Vrije vorm: vorm 6971">
                  <a:extLst>
                    <a:ext uri="{FF2B5EF4-FFF2-40B4-BE49-F238E27FC236}">
                      <a16:creationId xmlns:a16="http://schemas.microsoft.com/office/drawing/2014/main" id="{4AFD86C9-0476-4625-867F-E68294489071}"/>
                    </a:ext>
                  </a:extLst>
                </p:cNvPr>
                <p:cNvSpPr/>
                <p:nvPr/>
              </p:nvSpPr>
              <p:spPr>
                <a:xfrm>
                  <a:off x="7035502" y="1782893"/>
                  <a:ext cx="1793" cy="2810"/>
                </a:xfrm>
                <a:custGeom>
                  <a:avLst/>
                  <a:gdLst>
                    <a:gd name="connsiteX0" fmla="*/ 0 w 1793"/>
                    <a:gd name="connsiteY0" fmla="*/ 2811 h 2810"/>
                    <a:gd name="connsiteX1" fmla="*/ 1495 w 1793"/>
                    <a:gd name="connsiteY1" fmla="*/ 538 h 2810"/>
                    <a:gd name="connsiteX2" fmla="*/ 1674 w 1793"/>
                    <a:gd name="connsiteY2" fmla="*/ 239 h 2810"/>
                    <a:gd name="connsiteX3" fmla="*/ 1674 w 1793"/>
                    <a:gd name="connsiteY3" fmla="*/ 239 h 2810"/>
                    <a:gd name="connsiteX4" fmla="*/ 1794 w 1793"/>
                    <a:gd name="connsiteY4" fmla="*/ 0 h 2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 h="2810">
                      <a:moveTo>
                        <a:pt x="0" y="2811"/>
                      </a:moveTo>
                      <a:lnTo>
                        <a:pt x="1495" y="538"/>
                      </a:lnTo>
                      <a:lnTo>
                        <a:pt x="1674" y="239"/>
                      </a:lnTo>
                      <a:lnTo>
                        <a:pt x="1674" y="239"/>
                      </a:lnTo>
                      <a:lnTo>
                        <a:pt x="1794" y="0"/>
                      </a:lnTo>
                    </a:path>
                  </a:pathLst>
                </a:custGeom>
                <a:noFill/>
                <a:ln w="6350" cap="rnd">
                  <a:solidFill>
                    <a:schemeClr val="bg1">
                      <a:alpha val="40000"/>
                    </a:schemeClr>
                  </a:solidFill>
                  <a:prstDash val="solid"/>
                  <a:round/>
                </a:ln>
              </p:spPr>
              <p:txBody>
                <a:bodyPr rtlCol="0" anchor="ctr"/>
                <a:lstStyle/>
                <a:p>
                  <a:endParaRPr lang="en-GB"/>
                </a:p>
              </p:txBody>
            </p:sp>
            <p:sp>
              <p:nvSpPr>
                <p:cNvPr id="6973" name="Vrije vorm: vorm 6972">
                  <a:extLst>
                    <a:ext uri="{FF2B5EF4-FFF2-40B4-BE49-F238E27FC236}">
                      <a16:creationId xmlns:a16="http://schemas.microsoft.com/office/drawing/2014/main" id="{100194A6-B98B-43F3-BE95-1C0A0E40EDB3}"/>
                    </a:ext>
                  </a:extLst>
                </p:cNvPr>
                <p:cNvSpPr/>
                <p:nvPr/>
              </p:nvSpPr>
              <p:spPr>
                <a:xfrm>
                  <a:off x="6970012" y="1842880"/>
                  <a:ext cx="9450" cy="7236"/>
                </a:xfrm>
                <a:custGeom>
                  <a:avLst/>
                  <a:gdLst>
                    <a:gd name="connsiteX0" fmla="*/ 0 w 9450"/>
                    <a:gd name="connsiteY0" fmla="*/ 0 h 7236"/>
                    <a:gd name="connsiteX1" fmla="*/ 9450 w 9450"/>
                    <a:gd name="connsiteY1" fmla="*/ 7237 h 7236"/>
                  </a:gdLst>
                  <a:ahLst/>
                  <a:cxnLst>
                    <a:cxn ang="0">
                      <a:pos x="connsiteX0" y="connsiteY0"/>
                    </a:cxn>
                    <a:cxn ang="0">
                      <a:pos x="connsiteX1" y="connsiteY1"/>
                    </a:cxn>
                  </a:cxnLst>
                  <a:rect l="l" t="t" r="r" b="b"/>
                  <a:pathLst>
                    <a:path w="9450" h="7236">
                      <a:moveTo>
                        <a:pt x="0" y="0"/>
                      </a:moveTo>
                      <a:lnTo>
                        <a:pt x="9450" y="7237"/>
                      </a:lnTo>
                    </a:path>
                  </a:pathLst>
                </a:custGeom>
                <a:noFill/>
                <a:ln w="6350" cap="rnd">
                  <a:solidFill>
                    <a:schemeClr val="bg1">
                      <a:alpha val="40000"/>
                    </a:schemeClr>
                  </a:solidFill>
                  <a:prstDash val="solid"/>
                  <a:round/>
                </a:ln>
              </p:spPr>
              <p:txBody>
                <a:bodyPr rtlCol="0" anchor="ctr"/>
                <a:lstStyle/>
                <a:p>
                  <a:endParaRPr lang="en-GB"/>
                </a:p>
              </p:txBody>
            </p:sp>
            <p:sp>
              <p:nvSpPr>
                <p:cNvPr id="6974" name="Vrije vorm: vorm 6973">
                  <a:extLst>
                    <a:ext uri="{FF2B5EF4-FFF2-40B4-BE49-F238E27FC236}">
                      <a16:creationId xmlns:a16="http://schemas.microsoft.com/office/drawing/2014/main" id="{6DC52C42-DBD5-4FAE-8482-D6B601D47297}"/>
                    </a:ext>
                  </a:extLst>
                </p:cNvPr>
                <p:cNvSpPr/>
                <p:nvPr/>
              </p:nvSpPr>
              <p:spPr>
                <a:xfrm>
                  <a:off x="6920433" y="1913213"/>
                  <a:ext cx="1793" cy="1136"/>
                </a:xfrm>
                <a:custGeom>
                  <a:avLst/>
                  <a:gdLst>
                    <a:gd name="connsiteX0" fmla="*/ 0 w 1793"/>
                    <a:gd name="connsiteY0" fmla="*/ 0 h 1136"/>
                    <a:gd name="connsiteX1" fmla="*/ 1794 w 1793"/>
                    <a:gd name="connsiteY1" fmla="*/ 1136 h 1136"/>
                  </a:gdLst>
                  <a:ahLst/>
                  <a:cxnLst>
                    <a:cxn ang="0">
                      <a:pos x="connsiteX0" y="connsiteY0"/>
                    </a:cxn>
                    <a:cxn ang="0">
                      <a:pos x="connsiteX1" y="connsiteY1"/>
                    </a:cxn>
                  </a:cxnLst>
                  <a:rect l="l" t="t" r="r" b="b"/>
                  <a:pathLst>
                    <a:path w="1793" h="1136">
                      <a:moveTo>
                        <a:pt x="0" y="0"/>
                      </a:moveTo>
                      <a:lnTo>
                        <a:pt x="1794" y="1136"/>
                      </a:lnTo>
                    </a:path>
                  </a:pathLst>
                </a:custGeom>
                <a:noFill/>
                <a:ln w="6350" cap="rnd">
                  <a:solidFill>
                    <a:schemeClr val="bg1">
                      <a:alpha val="40000"/>
                    </a:schemeClr>
                  </a:solidFill>
                  <a:prstDash val="solid"/>
                  <a:round/>
                </a:ln>
              </p:spPr>
              <p:txBody>
                <a:bodyPr rtlCol="0" anchor="ctr"/>
                <a:lstStyle/>
                <a:p>
                  <a:endParaRPr lang="en-GB"/>
                </a:p>
              </p:txBody>
            </p:sp>
            <p:sp>
              <p:nvSpPr>
                <p:cNvPr id="6975" name="Vrije vorm: vorm 6974">
                  <a:extLst>
                    <a:ext uri="{FF2B5EF4-FFF2-40B4-BE49-F238E27FC236}">
                      <a16:creationId xmlns:a16="http://schemas.microsoft.com/office/drawing/2014/main" id="{E044C175-7F15-458D-A5EA-6237824BBB71}"/>
                    </a:ext>
                  </a:extLst>
                </p:cNvPr>
                <p:cNvSpPr/>
                <p:nvPr/>
              </p:nvSpPr>
              <p:spPr>
                <a:xfrm>
                  <a:off x="6916007" y="1934445"/>
                  <a:ext cx="4544" cy="2153"/>
                </a:xfrm>
                <a:custGeom>
                  <a:avLst/>
                  <a:gdLst>
                    <a:gd name="connsiteX0" fmla="*/ 0 w 4544"/>
                    <a:gd name="connsiteY0" fmla="*/ 0 h 2153"/>
                    <a:gd name="connsiteX1" fmla="*/ 2511 w 4544"/>
                    <a:gd name="connsiteY1" fmla="*/ 1196 h 2153"/>
                    <a:gd name="connsiteX2" fmla="*/ 4545 w 4544"/>
                    <a:gd name="connsiteY2" fmla="*/ 2153 h 2153"/>
                  </a:gdLst>
                  <a:ahLst/>
                  <a:cxnLst>
                    <a:cxn ang="0">
                      <a:pos x="connsiteX0" y="connsiteY0"/>
                    </a:cxn>
                    <a:cxn ang="0">
                      <a:pos x="connsiteX1" y="connsiteY1"/>
                    </a:cxn>
                    <a:cxn ang="0">
                      <a:pos x="connsiteX2" y="connsiteY2"/>
                    </a:cxn>
                  </a:cxnLst>
                  <a:rect l="l" t="t" r="r" b="b"/>
                  <a:pathLst>
                    <a:path w="4544" h="2153">
                      <a:moveTo>
                        <a:pt x="0" y="0"/>
                      </a:moveTo>
                      <a:lnTo>
                        <a:pt x="2511" y="1196"/>
                      </a:lnTo>
                      <a:lnTo>
                        <a:pt x="4545" y="2153"/>
                      </a:lnTo>
                    </a:path>
                  </a:pathLst>
                </a:custGeom>
                <a:noFill/>
                <a:ln w="6350" cap="rnd">
                  <a:solidFill>
                    <a:schemeClr val="bg1">
                      <a:alpha val="40000"/>
                    </a:schemeClr>
                  </a:solidFill>
                  <a:prstDash val="solid"/>
                  <a:round/>
                </a:ln>
              </p:spPr>
              <p:txBody>
                <a:bodyPr rtlCol="0" anchor="ctr"/>
                <a:lstStyle/>
                <a:p>
                  <a:endParaRPr lang="en-GB"/>
                </a:p>
              </p:txBody>
            </p:sp>
            <p:sp>
              <p:nvSpPr>
                <p:cNvPr id="6976" name="Vrije vorm: vorm 6975">
                  <a:extLst>
                    <a:ext uri="{FF2B5EF4-FFF2-40B4-BE49-F238E27FC236}">
                      <a16:creationId xmlns:a16="http://schemas.microsoft.com/office/drawing/2014/main" id="{5F7AE467-DFC2-4A56-869D-27787AF191F7}"/>
                    </a:ext>
                  </a:extLst>
                </p:cNvPr>
                <p:cNvSpPr/>
                <p:nvPr/>
              </p:nvSpPr>
              <p:spPr>
                <a:xfrm>
                  <a:off x="6918997" y="1901072"/>
                  <a:ext cx="4724" cy="9688"/>
                </a:xfrm>
                <a:custGeom>
                  <a:avLst/>
                  <a:gdLst>
                    <a:gd name="connsiteX0" fmla="*/ 4724 w 4724"/>
                    <a:gd name="connsiteY0" fmla="*/ 0 h 9688"/>
                    <a:gd name="connsiteX1" fmla="*/ 4545 w 4724"/>
                    <a:gd name="connsiteY1" fmla="*/ 419 h 9688"/>
                    <a:gd name="connsiteX2" fmla="*/ 4246 w 4724"/>
                    <a:gd name="connsiteY2" fmla="*/ 1017 h 9688"/>
                    <a:gd name="connsiteX3" fmla="*/ 4066 w 4724"/>
                    <a:gd name="connsiteY3" fmla="*/ 1435 h 9688"/>
                    <a:gd name="connsiteX4" fmla="*/ 3229 w 4724"/>
                    <a:gd name="connsiteY4" fmla="*/ 3110 h 9688"/>
                    <a:gd name="connsiteX5" fmla="*/ 2751 w 4724"/>
                    <a:gd name="connsiteY5" fmla="*/ 4127 h 9688"/>
                    <a:gd name="connsiteX6" fmla="*/ 1495 w 4724"/>
                    <a:gd name="connsiteY6" fmla="*/ 6639 h 9688"/>
                    <a:gd name="connsiteX7" fmla="*/ 1495 w 4724"/>
                    <a:gd name="connsiteY7" fmla="*/ 6639 h 9688"/>
                    <a:gd name="connsiteX8" fmla="*/ 1316 w 4724"/>
                    <a:gd name="connsiteY8" fmla="*/ 7057 h 9688"/>
                    <a:gd name="connsiteX9" fmla="*/ 1196 w 4724"/>
                    <a:gd name="connsiteY9" fmla="*/ 7356 h 9688"/>
                    <a:gd name="connsiteX10" fmla="*/ 718 w 4724"/>
                    <a:gd name="connsiteY10" fmla="*/ 8253 h 9688"/>
                    <a:gd name="connsiteX11" fmla="*/ 658 w 4724"/>
                    <a:gd name="connsiteY11" fmla="*/ 8373 h 9688"/>
                    <a:gd name="connsiteX12" fmla="*/ 598 w 4724"/>
                    <a:gd name="connsiteY12" fmla="*/ 8493 h 9688"/>
                    <a:gd name="connsiteX13" fmla="*/ 0 w 4724"/>
                    <a:gd name="connsiteY13" fmla="*/ 9689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24" h="9688">
                      <a:moveTo>
                        <a:pt x="4724" y="0"/>
                      </a:moveTo>
                      <a:lnTo>
                        <a:pt x="4545" y="419"/>
                      </a:lnTo>
                      <a:lnTo>
                        <a:pt x="4246" y="1017"/>
                      </a:lnTo>
                      <a:lnTo>
                        <a:pt x="4066" y="1435"/>
                      </a:lnTo>
                      <a:lnTo>
                        <a:pt x="3229" y="3110"/>
                      </a:lnTo>
                      <a:lnTo>
                        <a:pt x="2751" y="4127"/>
                      </a:lnTo>
                      <a:lnTo>
                        <a:pt x="1495" y="6639"/>
                      </a:lnTo>
                      <a:lnTo>
                        <a:pt x="1495" y="6639"/>
                      </a:lnTo>
                      <a:lnTo>
                        <a:pt x="1316" y="7057"/>
                      </a:lnTo>
                      <a:lnTo>
                        <a:pt x="1196" y="7356"/>
                      </a:lnTo>
                      <a:lnTo>
                        <a:pt x="718" y="8253"/>
                      </a:lnTo>
                      <a:lnTo>
                        <a:pt x="658" y="8373"/>
                      </a:lnTo>
                      <a:lnTo>
                        <a:pt x="598" y="8493"/>
                      </a:lnTo>
                      <a:lnTo>
                        <a:pt x="0" y="9689"/>
                      </a:lnTo>
                    </a:path>
                  </a:pathLst>
                </a:custGeom>
                <a:noFill/>
                <a:ln w="6350" cap="rnd">
                  <a:solidFill>
                    <a:schemeClr val="bg1">
                      <a:alpha val="40000"/>
                    </a:schemeClr>
                  </a:solidFill>
                  <a:prstDash val="solid"/>
                  <a:round/>
                </a:ln>
              </p:spPr>
              <p:txBody>
                <a:bodyPr rtlCol="0" anchor="ctr"/>
                <a:lstStyle/>
                <a:p>
                  <a:endParaRPr lang="en-GB"/>
                </a:p>
              </p:txBody>
            </p:sp>
            <p:sp>
              <p:nvSpPr>
                <p:cNvPr id="6977" name="Vrije vorm: vorm 6976">
                  <a:extLst>
                    <a:ext uri="{FF2B5EF4-FFF2-40B4-BE49-F238E27FC236}">
                      <a16:creationId xmlns:a16="http://schemas.microsoft.com/office/drawing/2014/main" id="{C27A97E7-1A72-4BF7-A920-7819A25F0E31}"/>
                    </a:ext>
                  </a:extLst>
                </p:cNvPr>
                <p:cNvSpPr/>
                <p:nvPr/>
              </p:nvSpPr>
              <p:spPr>
                <a:xfrm>
                  <a:off x="6935623" y="1869554"/>
                  <a:ext cx="3469" cy="5861"/>
                </a:xfrm>
                <a:custGeom>
                  <a:avLst/>
                  <a:gdLst>
                    <a:gd name="connsiteX0" fmla="*/ 0 w 3469"/>
                    <a:gd name="connsiteY0" fmla="*/ 5861 h 5861"/>
                    <a:gd name="connsiteX1" fmla="*/ 837 w 3469"/>
                    <a:gd name="connsiteY1" fmla="*/ 4426 h 5861"/>
                    <a:gd name="connsiteX2" fmla="*/ 897 w 3469"/>
                    <a:gd name="connsiteY2" fmla="*/ 4366 h 5861"/>
                    <a:gd name="connsiteX3" fmla="*/ 1137 w 3469"/>
                    <a:gd name="connsiteY3" fmla="*/ 3947 h 5861"/>
                    <a:gd name="connsiteX4" fmla="*/ 2034 w 3469"/>
                    <a:gd name="connsiteY4" fmla="*/ 2392 h 5861"/>
                    <a:gd name="connsiteX5" fmla="*/ 3409 w 3469"/>
                    <a:gd name="connsiteY5" fmla="*/ 120 h 5861"/>
                    <a:gd name="connsiteX6" fmla="*/ 3469 w 3469"/>
                    <a:gd name="connsiteY6" fmla="*/ 0 h 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9" h="5861">
                      <a:moveTo>
                        <a:pt x="0" y="5861"/>
                      </a:moveTo>
                      <a:lnTo>
                        <a:pt x="837" y="4426"/>
                      </a:lnTo>
                      <a:lnTo>
                        <a:pt x="897" y="4366"/>
                      </a:lnTo>
                      <a:lnTo>
                        <a:pt x="1137" y="3947"/>
                      </a:lnTo>
                      <a:lnTo>
                        <a:pt x="2034" y="2392"/>
                      </a:lnTo>
                      <a:lnTo>
                        <a:pt x="3409" y="120"/>
                      </a:lnTo>
                      <a:lnTo>
                        <a:pt x="3469" y="0"/>
                      </a:lnTo>
                    </a:path>
                  </a:pathLst>
                </a:custGeom>
                <a:noFill/>
                <a:ln w="6350" cap="rnd">
                  <a:solidFill>
                    <a:schemeClr val="bg1">
                      <a:alpha val="40000"/>
                    </a:schemeClr>
                  </a:solidFill>
                  <a:prstDash val="solid"/>
                  <a:round/>
                </a:ln>
              </p:spPr>
              <p:txBody>
                <a:bodyPr rtlCol="0" anchor="ctr"/>
                <a:lstStyle/>
                <a:p>
                  <a:endParaRPr lang="en-GB"/>
                </a:p>
              </p:txBody>
            </p:sp>
            <p:sp>
              <p:nvSpPr>
                <p:cNvPr id="6978" name="Vrije vorm: vorm 6977">
                  <a:extLst>
                    <a:ext uri="{FF2B5EF4-FFF2-40B4-BE49-F238E27FC236}">
                      <a16:creationId xmlns:a16="http://schemas.microsoft.com/office/drawing/2014/main" id="{688E6B38-27CC-4D6F-B99D-67EBBD7E092C}"/>
                    </a:ext>
                  </a:extLst>
                </p:cNvPr>
                <p:cNvSpPr/>
                <p:nvPr/>
              </p:nvSpPr>
              <p:spPr>
                <a:xfrm>
                  <a:off x="6933770" y="1875415"/>
                  <a:ext cx="1913" cy="3169"/>
                </a:xfrm>
                <a:custGeom>
                  <a:avLst/>
                  <a:gdLst>
                    <a:gd name="connsiteX0" fmla="*/ 0 w 1913"/>
                    <a:gd name="connsiteY0" fmla="*/ 3170 h 3169"/>
                    <a:gd name="connsiteX1" fmla="*/ 1914 w 1913"/>
                    <a:gd name="connsiteY1" fmla="*/ 0 h 3169"/>
                  </a:gdLst>
                  <a:ahLst/>
                  <a:cxnLst>
                    <a:cxn ang="0">
                      <a:pos x="connsiteX0" y="connsiteY0"/>
                    </a:cxn>
                    <a:cxn ang="0">
                      <a:pos x="connsiteX1" y="connsiteY1"/>
                    </a:cxn>
                  </a:cxnLst>
                  <a:rect l="l" t="t" r="r" b="b"/>
                  <a:pathLst>
                    <a:path w="1913" h="3169">
                      <a:moveTo>
                        <a:pt x="0" y="3170"/>
                      </a:moveTo>
                      <a:lnTo>
                        <a:pt x="1914" y="0"/>
                      </a:lnTo>
                    </a:path>
                  </a:pathLst>
                </a:custGeom>
                <a:noFill/>
                <a:ln w="6350" cap="rnd">
                  <a:solidFill>
                    <a:schemeClr val="bg1">
                      <a:alpha val="40000"/>
                    </a:schemeClr>
                  </a:solidFill>
                  <a:prstDash val="solid"/>
                  <a:round/>
                </a:ln>
              </p:spPr>
              <p:txBody>
                <a:bodyPr rtlCol="0" anchor="ctr"/>
                <a:lstStyle/>
                <a:p>
                  <a:endParaRPr lang="en-GB"/>
                </a:p>
              </p:txBody>
            </p:sp>
            <p:sp>
              <p:nvSpPr>
                <p:cNvPr id="6979" name="Vrije vorm: vorm 6978">
                  <a:extLst>
                    <a:ext uri="{FF2B5EF4-FFF2-40B4-BE49-F238E27FC236}">
                      <a16:creationId xmlns:a16="http://schemas.microsoft.com/office/drawing/2014/main" id="{AFD45564-8751-484A-9D52-95EA86D83822}"/>
                    </a:ext>
                  </a:extLst>
                </p:cNvPr>
                <p:cNvSpPr/>
                <p:nvPr/>
              </p:nvSpPr>
              <p:spPr>
                <a:xfrm>
                  <a:off x="6891187" y="1949875"/>
                  <a:ext cx="2870" cy="119"/>
                </a:xfrm>
                <a:custGeom>
                  <a:avLst/>
                  <a:gdLst>
                    <a:gd name="connsiteX0" fmla="*/ 2871 w 2870"/>
                    <a:gd name="connsiteY0" fmla="*/ 120 h 119"/>
                    <a:gd name="connsiteX1" fmla="*/ 1555 w 2870"/>
                    <a:gd name="connsiteY1" fmla="*/ 60 h 119"/>
                    <a:gd name="connsiteX2" fmla="*/ 0 w 2870"/>
                    <a:gd name="connsiteY2" fmla="*/ 0 h 119"/>
                  </a:gdLst>
                  <a:ahLst/>
                  <a:cxnLst>
                    <a:cxn ang="0">
                      <a:pos x="connsiteX0" y="connsiteY0"/>
                    </a:cxn>
                    <a:cxn ang="0">
                      <a:pos x="connsiteX1" y="connsiteY1"/>
                    </a:cxn>
                    <a:cxn ang="0">
                      <a:pos x="connsiteX2" y="connsiteY2"/>
                    </a:cxn>
                  </a:cxnLst>
                  <a:rect l="l" t="t" r="r" b="b"/>
                  <a:pathLst>
                    <a:path w="2870" h="119">
                      <a:moveTo>
                        <a:pt x="2871" y="120"/>
                      </a:moveTo>
                      <a:lnTo>
                        <a:pt x="1555" y="6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80" name="Vrije vorm: vorm 6979">
                  <a:extLst>
                    <a:ext uri="{FF2B5EF4-FFF2-40B4-BE49-F238E27FC236}">
                      <a16:creationId xmlns:a16="http://schemas.microsoft.com/office/drawing/2014/main" id="{D6B03AA2-B402-40E8-BAE2-F191E9CE9639}"/>
                    </a:ext>
                  </a:extLst>
                </p:cNvPr>
                <p:cNvSpPr/>
                <p:nvPr/>
              </p:nvSpPr>
              <p:spPr>
                <a:xfrm>
                  <a:off x="6903686" y="1923620"/>
                  <a:ext cx="1555" cy="2691"/>
                </a:xfrm>
                <a:custGeom>
                  <a:avLst/>
                  <a:gdLst>
                    <a:gd name="connsiteX0" fmla="*/ 1555 w 1555"/>
                    <a:gd name="connsiteY0" fmla="*/ 0 h 2691"/>
                    <a:gd name="connsiteX1" fmla="*/ 0 w 1555"/>
                    <a:gd name="connsiteY1" fmla="*/ 2691 h 2691"/>
                  </a:gdLst>
                  <a:ahLst/>
                  <a:cxnLst>
                    <a:cxn ang="0">
                      <a:pos x="connsiteX0" y="connsiteY0"/>
                    </a:cxn>
                    <a:cxn ang="0">
                      <a:pos x="connsiteX1" y="connsiteY1"/>
                    </a:cxn>
                  </a:cxnLst>
                  <a:rect l="l" t="t" r="r" b="b"/>
                  <a:pathLst>
                    <a:path w="1555" h="2691">
                      <a:moveTo>
                        <a:pt x="1555" y="0"/>
                      </a:moveTo>
                      <a:lnTo>
                        <a:pt x="0" y="2691"/>
                      </a:lnTo>
                    </a:path>
                  </a:pathLst>
                </a:custGeom>
                <a:noFill/>
                <a:ln w="6350" cap="rnd">
                  <a:solidFill>
                    <a:schemeClr val="bg1">
                      <a:alpha val="40000"/>
                    </a:schemeClr>
                  </a:solidFill>
                  <a:prstDash val="solid"/>
                  <a:round/>
                </a:ln>
              </p:spPr>
              <p:txBody>
                <a:bodyPr rtlCol="0" anchor="ctr"/>
                <a:lstStyle/>
                <a:p>
                  <a:endParaRPr lang="en-GB"/>
                </a:p>
              </p:txBody>
            </p:sp>
            <p:sp>
              <p:nvSpPr>
                <p:cNvPr id="6981" name="Vrije vorm: vorm 6980">
                  <a:extLst>
                    <a:ext uri="{FF2B5EF4-FFF2-40B4-BE49-F238E27FC236}">
                      <a16:creationId xmlns:a16="http://schemas.microsoft.com/office/drawing/2014/main" id="{9423F50A-84F6-4D90-B30B-5DB220C9D6BA}"/>
                    </a:ext>
                  </a:extLst>
                </p:cNvPr>
                <p:cNvSpPr/>
                <p:nvPr/>
              </p:nvSpPr>
              <p:spPr>
                <a:xfrm>
                  <a:off x="7007153" y="1762020"/>
                  <a:ext cx="2750" cy="1554"/>
                </a:xfrm>
                <a:custGeom>
                  <a:avLst/>
                  <a:gdLst>
                    <a:gd name="connsiteX0" fmla="*/ 2751 w 2750"/>
                    <a:gd name="connsiteY0" fmla="*/ 1555 h 1554"/>
                    <a:gd name="connsiteX1" fmla="*/ 0 w 2750"/>
                    <a:gd name="connsiteY1" fmla="*/ 0 h 1554"/>
                  </a:gdLst>
                  <a:ahLst/>
                  <a:cxnLst>
                    <a:cxn ang="0">
                      <a:pos x="connsiteX0" y="connsiteY0"/>
                    </a:cxn>
                    <a:cxn ang="0">
                      <a:pos x="connsiteX1" y="connsiteY1"/>
                    </a:cxn>
                  </a:cxnLst>
                  <a:rect l="l" t="t" r="r" b="b"/>
                  <a:pathLst>
                    <a:path w="2750" h="1554">
                      <a:moveTo>
                        <a:pt x="2751" y="1555"/>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82" name="Vrije vorm: vorm 6981">
                  <a:extLst>
                    <a:ext uri="{FF2B5EF4-FFF2-40B4-BE49-F238E27FC236}">
                      <a16:creationId xmlns:a16="http://schemas.microsoft.com/office/drawing/2014/main" id="{723FC3F1-739A-40E2-81DE-605D211314AB}"/>
                    </a:ext>
                  </a:extLst>
                </p:cNvPr>
                <p:cNvSpPr/>
                <p:nvPr/>
              </p:nvSpPr>
              <p:spPr>
                <a:xfrm>
                  <a:off x="7016064" y="1767104"/>
                  <a:ext cx="11781" cy="6638"/>
                </a:xfrm>
                <a:custGeom>
                  <a:avLst/>
                  <a:gdLst>
                    <a:gd name="connsiteX0" fmla="*/ 11782 w 11781"/>
                    <a:gd name="connsiteY0" fmla="*/ 6639 h 6638"/>
                    <a:gd name="connsiteX1" fmla="*/ 0 w 11781"/>
                    <a:gd name="connsiteY1" fmla="*/ 0 h 6638"/>
                  </a:gdLst>
                  <a:ahLst/>
                  <a:cxnLst>
                    <a:cxn ang="0">
                      <a:pos x="connsiteX0" y="connsiteY0"/>
                    </a:cxn>
                    <a:cxn ang="0">
                      <a:pos x="connsiteX1" y="connsiteY1"/>
                    </a:cxn>
                  </a:cxnLst>
                  <a:rect l="l" t="t" r="r" b="b"/>
                  <a:pathLst>
                    <a:path w="11781" h="6638">
                      <a:moveTo>
                        <a:pt x="11782" y="6639"/>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83" name="Vrije vorm: vorm 6982">
                  <a:extLst>
                    <a:ext uri="{FF2B5EF4-FFF2-40B4-BE49-F238E27FC236}">
                      <a16:creationId xmlns:a16="http://schemas.microsoft.com/office/drawing/2014/main" id="{ACA216BD-EBBD-4BD1-B01F-426F7A24FD85}"/>
                    </a:ext>
                  </a:extLst>
                </p:cNvPr>
                <p:cNvSpPr/>
                <p:nvPr/>
              </p:nvSpPr>
              <p:spPr>
                <a:xfrm>
                  <a:off x="6958590" y="1835583"/>
                  <a:ext cx="7535" cy="4724"/>
                </a:xfrm>
                <a:custGeom>
                  <a:avLst/>
                  <a:gdLst>
                    <a:gd name="connsiteX0" fmla="*/ 0 w 7535"/>
                    <a:gd name="connsiteY0" fmla="*/ 0 h 4724"/>
                    <a:gd name="connsiteX1" fmla="*/ 1076 w 7535"/>
                    <a:gd name="connsiteY1" fmla="*/ 658 h 4724"/>
                    <a:gd name="connsiteX2" fmla="*/ 3289 w 7535"/>
                    <a:gd name="connsiteY2" fmla="*/ 2033 h 4724"/>
                    <a:gd name="connsiteX3" fmla="*/ 5382 w 7535"/>
                    <a:gd name="connsiteY3" fmla="*/ 3349 h 4724"/>
                    <a:gd name="connsiteX4" fmla="*/ 6459 w 7535"/>
                    <a:gd name="connsiteY4" fmla="*/ 4007 h 4724"/>
                    <a:gd name="connsiteX5" fmla="*/ 6519 w 7535"/>
                    <a:gd name="connsiteY5" fmla="*/ 4067 h 4724"/>
                    <a:gd name="connsiteX6" fmla="*/ 7536 w 7535"/>
                    <a:gd name="connsiteY6"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5" h="4724">
                      <a:moveTo>
                        <a:pt x="0" y="0"/>
                      </a:moveTo>
                      <a:lnTo>
                        <a:pt x="1076" y="658"/>
                      </a:lnTo>
                      <a:lnTo>
                        <a:pt x="3289" y="2033"/>
                      </a:lnTo>
                      <a:lnTo>
                        <a:pt x="5382" y="3349"/>
                      </a:lnTo>
                      <a:lnTo>
                        <a:pt x="6459" y="4007"/>
                      </a:lnTo>
                      <a:lnTo>
                        <a:pt x="6519" y="4067"/>
                      </a:lnTo>
                      <a:lnTo>
                        <a:pt x="7536" y="4725"/>
                      </a:lnTo>
                    </a:path>
                  </a:pathLst>
                </a:custGeom>
                <a:noFill/>
                <a:ln w="6350" cap="rnd">
                  <a:solidFill>
                    <a:schemeClr val="bg1">
                      <a:alpha val="40000"/>
                    </a:schemeClr>
                  </a:solidFill>
                  <a:prstDash val="solid"/>
                  <a:round/>
                </a:ln>
              </p:spPr>
              <p:txBody>
                <a:bodyPr rtlCol="0" anchor="ctr"/>
                <a:lstStyle/>
                <a:p>
                  <a:endParaRPr lang="en-GB"/>
                </a:p>
              </p:txBody>
            </p:sp>
            <p:sp>
              <p:nvSpPr>
                <p:cNvPr id="6984" name="Vrije vorm: vorm 6983">
                  <a:extLst>
                    <a:ext uri="{FF2B5EF4-FFF2-40B4-BE49-F238E27FC236}">
                      <a16:creationId xmlns:a16="http://schemas.microsoft.com/office/drawing/2014/main" id="{A0D92499-ADB3-4F94-872C-71A652E9041D}"/>
                    </a:ext>
                  </a:extLst>
                </p:cNvPr>
                <p:cNvSpPr/>
                <p:nvPr/>
              </p:nvSpPr>
              <p:spPr>
                <a:xfrm>
                  <a:off x="6896510" y="1922782"/>
                  <a:ext cx="1076" cy="3229"/>
                </a:xfrm>
                <a:custGeom>
                  <a:avLst/>
                  <a:gdLst>
                    <a:gd name="connsiteX0" fmla="*/ 1076 w 1076"/>
                    <a:gd name="connsiteY0" fmla="*/ 0 h 3229"/>
                    <a:gd name="connsiteX1" fmla="*/ 0 w 1076"/>
                    <a:gd name="connsiteY1" fmla="*/ 3230 h 3229"/>
                  </a:gdLst>
                  <a:ahLst/>
                  <a:cxnLst>
                    <a:cxn ang="0">
                      <a:pos x="connsiteX0" y="connsiteY0"/>
                    </a:cxn>
                    <a:cxn ang="0">
                      <a:pos x="connsiteX1" y="connsiteY1"/>
                    </a:cxn>
                  </a:cxnLst>
                  <a:rect l="l" t="t" r="r" b="b"/>
                  <a:pathLst>
                    <a:path w="1076" h="3229">
                      <a:moveTo>
                        <a:pt x="1076" y="0"/>
                      </a:moveTo>
                      <a:lnTo>
                        <a:pt x="0" y="3230"/>
                      </a:lnTo>
                    </a:path>
                  </a:pathLst>
                </a:custGeom>
                <a:noFill/>
                <a:ln w="6350" cap="rnd">
                  <a:solidFill>
                    <a:schemeClr val="bg1">
                      <a:alpha val="40000"/>
                    </a:schemeClr>
                  </a:solidFill>
                  <a:prstDash val="solid"/>
                  <a:round/>
                </a:ln>
              </p:spPr>
              <p:txBody>
                <a:bodyPr rtlCol="0" anchor="ctr"/>
                <a:lstStyle/>
                <a:p>
                  <a:endParaRPr lang="en-GB"/>
                </a:p>
              </p:txBody>
            </p:sp>
            <p:sp>
              <p:nvSpPr>
                <p:cNvPr id="6985" name="Vrije vorm: vorm 6984">
                  <a:extLst>
                    <a:ext uri="{FF2B5EF4-FFF2-40B4-BE49-F238E27FC236}">
                      <a16:creationId xmlns:a16="http://schemas.microsoft.com/office/drawing/2014/main" id="{24E1697B-A441-4680-8895-70D699E77405}"/>
                    </a:ext>
                  </a:extLst>
                </p:cNvPr>
                <p:cNvSpPr/>
                <p:nvPr/>
              </p:nvSpPr>
              <p:spPr>
                <a:xfrm>
                  <a:off x="6814035" y="2088687"/>
                  <a:ext cx="1555" cy="1375"/>
                </a:xfrm>
                <a:custGeom>
                  <a:avLst/>
                  <a:gdLst>
                    <a:gd name="connsiteX0" fmla="*/ 1555 w 1555"/>
                    <a:gd name="connsiteY0" fmla="*/ 1376 h 1375"/>
                    <a:gd name="connsiteX1" fmla="*/ 0 w 1555"/>
                    <a:gd name="connsiteY1" fmla="*/ 0 h 1375"/>
                  </a:gdLst>
                  <a:ahLst/>
                  <a:cxnLst>
                    <a:cxn ang="0">
                      <a:pos x="connsiteX0" y="connsiteY0"/>
                    </a:cxn>
                    <a:cxn ang="0">
                      <a:pos x="connsiteX1" y="connsiteY1"/>
                    </a:cxn>
                  </a:cxnLst>
                  <a:rect l="l" t="t" r="r" b="b"/>
                  <a:pathLst>
                    <a:path w="1555" h="1375">
                      <a:moveTo>
                        <a:pt x="1555" y="1376"/>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86" name="Vrije vorm: vorm 6985">
                  <a:extLst>
                    <a:ext uri="{FF2B5EF4-FFF2-40B4-BE49-F238E27FC236}">
                      <a16:creationId xmlns:a16="http://schemas.microsoft.com/office/drawing/2014/main" id="{E776C1CA-0CB7-4524-A1C8-45BD28C0DD97}"/>
                    </a:ext>
                  </a:extLst>
                </p:cNvPr>
                <p:cNvSpPr/>
                <p:nvPr/>
              </p:nvSpPr>
              <p:spPr>
                <a:xfrm>
                  <a:off x="6961161" y="1836301"/>
                  <a:ext cx="7416" cy="4485"/>
                </a:xfrm>
                <a:custGeom>
                  <a:avLst/>
                  <a:gdLst>
                    <a:gd name="connsiteX0" fmla="*/ 7416 w 7416"/>
                    <a:gd name="connsiteY0" fmla="*/ 4486 h 4485"/>
                    <a:gd name="connsiteX1" fmla="*/ 7416 w 7416"/>
                    <a:gd name="connsiteY1" fmla="*/ 4486 h 4485"/>
                    <a:gd name="connsiteX2" fmla="*/ 6400 w 7416"/>
                    <a:gd name="connsiteY2" fmla="*/ 3887 h 4485"/>
                    <a:gd name="connsiteX3" fmla="*/ 5323 w 7416"/>
                    <a:gd name="connsiteY3" fmla="*/ 3230 h 4485"/>
                    <a:gd name="connsiteX4" fmla="*/ 4067 w 7416"/>
                    <a:gd name="connsiteY4" fmla="*/ 2452 h 4485"/>
                    <a:gd name="connsiteX5" fmla="*/ 2572 w 7416"/>
                    <a:gd name="connsiteY5" fmla="*/ 1555 h 4485"/>
                    <a:gd name="connsiteX6" fmla="*/ 1256 w 7416"/>
                    <a:gd name="connsiteY6" fmla="*/ 778 h 4485"/>
                    <a:gd name="connsiteX7" fmla="*/ 0 w 7416"/>
                    <a:gd name="connsiteY7" fmla="*/ 0 h 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6" h="4485">
                      <a:moveTo>
                        <a:pt x="7416" y="4486"/>
                      </a:moveTo>
                      <a:lnTo>
                        <a:pt x="7416" y="4486"/>
                      </a:lnTo>
                      <a:lnTo>
                        <a:pt x="6400" y="3887"/>
                      </a:lnTo>
                      <a:lnTo>
                        <a:pt x="5323" y="3230"/>
                      </a:lnTo>
                      <a:lnTo>
                        <a:pt x="4067" y="2452"/>
                      </a:lnTo>
                      <a:lnTo>
                        <a:pt x="2572" y="1555"/>
                      </a:lnTo>
                      <a:lnTo>
                        <a:pt x="1256" y="77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87" name="Vrije vorm: vorm 6986">
                  <a:extLst>
                    <a:ext uri="{FF2B5EF4-FFF2-40B4-BE49-F238E27FC236}">
                      <a16:creationId xmlns:a16="http://schemas.microsoft.com/office/drawing/2014/main" id="{7005DED6-882F-434E-9090-5BFB81FF2FE3}"/>
                    </a:ext>
                  </a:extLst>
                </p:cNvPr>
                <p:cNvSpPr/>
                <p:nvPr/>
              </p:nvSpPr>
              <p:spPr>
                <a:xfrm>
                  <a:off x="6884010" y="1917160"/>
                  <a:ext cx="3887" cy="6638"/>
                </a:xfrm>
                <a:custGeom>
                  <a:avLst/>
                  <a:gdLst>
                    <a:gd name="connsiteX0" fmla="*/ 3888 w 3887"/>
                    <a:gd name="connsiteY0" fmla="*/ 0 h 6638"/>
                    <a:gd name="connsiteX1" fmla="*/ 1435 w 3887"/>
                    <a:gd name="connsiteY1" fmla="*/ 4186 h 6638"/>
                    <a:gd name="connsiteX2" fmla="*/ 1197 w 3887"/>
                    <a:gd name="connsiteY2" fmla="*/ 4605 h 6638"/>
                    <a:gd name="connsiteX3" fmla="*/ 0 w 3887"/>
                    <a:gd name="connsiteY3" fmla="*/ 6639 h 6638"/>
                  </a:gdLst>
                  <a:ahLst/>
                  <a:cxnLst>
                    <a:cxn ang="0">
                      <a:pos x="connsiteX0" y="connsiteY0"/>
                    </a:cxn>
                    <a:cxn ang="0">
                      <a:pos x="connsiteX1" y="connsiteY1"/>
                    </a:cxn>
                    <a:cxn ang="0">
                      <a:pos x="connsiteX2" y="connsiteY2"/>
                    </a:cxn>
                    <a:cxn ang="0">
                      <a:pos x="connsiteX3" y="connsiteY3"/>
                    </a:cxn>
                  </a:cxnLst>
                  <a:rect l="l" t="t" r="r" b="b"/>
                  <a:pathLst>
                    <a:path w="3887" h="6638">
                      <a:moveTo>
                        <a:pt x="3888" y="0"/>
                      </a:moveTo>
                      <a:lnTo>
                        <a:pt x="1435" y="4186"/>
                      </a:lnTo>
                      <a:lnTo>
                        <a:pt x="1197" y="4605"/>
                      </a:lnTo>
                      <a:lnTo>
                        <a:pt x="0" y="6639"/>
                      </a:lnTo>
                    </a:path>
                  </a:pathLst>
                </a:custGeom>
                <a:noFill/>
                <a:ln w="6350" cap="rnd">
                  <a:solidFill>
                    <a:schemeClr val="bg1">
                      <a:alpha val="40000"/>
                    </a:schemeClr>
                  </a:solidFill>
                  <a:prstDash val="solid"/>
                  <a:round/>
                </a:ln>
              </p:spPr>
              <p:txBody>
                <a:bodyPr rtlCol="0" anchor="ctr"/>
                <a:lstStyle/>
                <a:p>
                  <a:endParaRPr lang="en-GB"/>
                </a:p>
              </p:txBody>
            </p:sp>
            <p:sp>
              <p:nvSpPr>
                <p:cNvPr id="6988" name="Vrije vorm: vorm 6987">
                  <a:extLst>
                    <a:ext uri="{FF2B5EF4-FFF2-40B4-BE49-F238E27FC236}">
                      <a16:creationId xmlns:a16="http://schemas.microsoft.com/office/drawing/2014/main" id="{ACA641B7-DFB3-47B1-B747-FBD6244773B4}"/>
                    </a:ext>
                  </a:extLst>
                </p:cNvPr>
                <p:cNvSpPr/>
                <p:nvPr/>
              </p:nvSpPr>
              <p:spPr>
                <a:xfrm>
                  <a:off x="6889572" y="1913034"/>
                  <a:ext cx="777" cy="1255"/>
                </a:xfrm>
                <a:custGeom>
                  <a:avLst/>
                  <a:gdLst>
                    <a:gd name="connsiteX0" fmla="*/ 778 w 777"/>
                    <a:gd name="connsiteY0" fmla="*/ 0 h 1255"/>
                    <a:gd name="connsiteX1" fmla="*/ 0 w 777"/>
                    <a:gd name="connsiteY1" fmla="*/ 1256 h 1255"/>
                  </a:gdLst>
                  <a:ahLst/>
                  <a:cxnLst>
                    <a:cxn ang="0">
                      <a:pos x="connsiteX0" y="connsiteY0"/>
                    </a:cxn>
                    <a:cxn ang="0">
                      <a:pos x="connsiteX1" y="connsiteY1"/>
                    </a:cxn>
                  </a:cxnLst>
                  <a:rect l="l" t="t" r="r" b="b"/>
                  <a:pathLst>
                    <a:path w="777" h="1255">
                      <a:moveTo>
                        <a:pt x="778" y="0"/>
                      </a:moveTo>
                      <a:lnTo>
                        <a:pt x="0" y="1256"/>
                      </a:lnTo>
                    </a:path>
                  </a:pathLst>
                </a:custGeom>
                <a:noFill/>
                <a:ln w="6350" cap="rnd">
                  <a:solidFill>
                    <a:schemeClr val="bg1">
                      <a:alpha val="40000"/>
                    </a:schemeClr>
                  </a:solidFill>
                  <a:prstDash val="solid"/>
                  <a:round/>
                </a:ln>
              </p:spPr>
              <p:txBody>
                <a:bodyPr rtlCol="0" anchor="ctr"/>
                <a:lstStyle/>
                <a:p>
                  <a:endParaRPr lang="en-GB"/>
                </a:p>
              </p:txBody>
            </p:sp>
            <p:sp>
              <p:nvSpPr>
                <p:cNvPr id="6989" name="Vrije vorm: vorm 6988">
                  <a:extLst>
                    <a:ext uri="{FF2B5EF4-FFF2-40B4-BE49-F238E27FC236}">
                      <a16:creationId xmlns:a16="http://schemas.microsoft.com/office/drawing/2014/main" id="{442C3F0C-46FF-40EE-BB90-0A44E597DB49}"/>
                    </a:ext>
                  </a:extLst>
                </p:cNvPr>
                <p:cNvSpPr/>
                <p:nvPr/>
              </p:nvSpPr>
              <p:spPr>
                <a:xfrm>
                  <a:off x="6891307" y="1908429"/>
                  <a:ext cx="298" cy="418"/>
                </a:xfrm>
                <a:custGeom>
                  <a:avLst/>
                  <a:gdLst>
                    <a:gd name="connsiteX0" fmla="*/ 299 w 298"/>
                    <a:gd name="connsiteY0" fmla="*/ 0 h 418"/>
                    <a:gd name="connsiteX1" fmla="*/ 0 w 298"/>
                    <a:gd name="connsiteY1" fmla="*/ 419 h 418"/>
                  </a:gdLst>
                  <a:ahLst/>
                  <a:cxnLst>
                    <a:cxn ang="0">
                      <a:pos x="connsiteX0" y="connsiteY0"/>
                    </a:cxn>
                    <a:cxn ang="0">
                      <a:pos x="connsiteX1" y="connsiteY1"/>
                    </a:cxn>
                  </a:cxnLst>
                  <a:rect l="l" t="t" r="r" b="b"/>
                  <a:pathLst>
                    <a:path w="298" h="418">
                      <a:moveTo>
                        <a:pt x="299" y="0"/>
                      </a:moveTo>
                      <a:lnTo>
                        <a:pt x="0" y="419"/>
                      </a:lnTo>
                    </a:path>
                  </a:pathLst>
                </a:custGeom>
                <a:noFill/>
                <a:ln w="6350" cap="rnd">
                  <a:solidFill>
                    <a:schemeClr val="bg1">
                      <a:alpha val="40000"/>
                    </a:schemeClr>
                  </a:solidFill>
                  <a:prstDash val="solid"/>
                  <a:round/>
                </a:ln>
              </p:spPr>
              <p:txBody>
                <a:bodyPr rtlCol="0" anchor="ctr"/>
                <a:lstStyle/>
                <a:p>
                  <a:endParaRPr lang="en-GB"/>
                </a:p>
              </p:txBody>
            </p:sp>
            <p:sp>
              <p:nvSpPr>
                <p:cNvPr id="6990" name="Vrije vorm: vorm 6989">
                  <a:extLst>
                    <a:ext uri="{FF2B5EF4-FFF2-40B4-BE49-F238E27FC236}">
                      <a16:creationId xmlns:a16="http://schemas.microsoft.com/office/drawing/2014/main" id="{F952552D-4DD1-41D1-B11A-4920F9A90387}"/>
                    </a:ext>
                  </a:extLst>
                </p:cNvPr>
                <p:cNvSpPr/>
                <p:nvPr/>
              </p:nvSpPr>
              <p:spPr>
                <a:xfrm>
                  <a:off x="6876175" y="1927866"/>
                  <a:ext cx="4844" cy="1555"/>
                </a:xfrm>
                <a:custGeom>
                  <a:avLst/>
                  <a:gdLst>
                    <a:gd name="connsiteX0" fmla="*/ 0 w 4844"/>
                    <a:gd name="connsiteY0" fmla="*/ 1555 h 1555"/>
                    <a:gd name="connsiteX1" fmla="*/ 2033 w 4844"/>
                    <a:gd name="connsiteY1" fmla="*/ 897 h 1555"/>
                    <a:gd name="connsiteX2" fmla="*/ 2691 w 4844"/>
                    <a:gd name="connsiteY2" fmla="*/ 658 h 1555"/>
                    <a:gd name="connsiteX3" fmla="*/ 4066 w 4844"/>
                    <a:gd name="connsiteY3" fmla="*/ 239 h 1555"/>
                    <a:gd name="connsiteX4" fmla="*/ 4126 w 4844"/>
                    <a:gd name="connsiteY4" fmla="*/ 239 h 1555"/>
                    <a:gd name="connsiteX5" fmla="*/ 4844 w 4844"/>
                    <a:gd name="connsiteY5" fmla="*/ 0 h 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4" h="1555">
                      <a:moveTo>
                        <a:pt x="0" y="1555"/>
                      </a:moveTo>
                      <a:lnTo>
                        <a:pt x="2033" y="897"/>
                      </a:lnTo>
                      <a:lnTo>
                        <a:pt x="2691" y="658"/>
                      </a:lnTo>
                      <a:lnTo>
                        <a:pt x="4066" y="239"/>
                      </a:lnTo>
                      <a:lnTo>
                        <a:pt x="4126" y="239"/>
                      </a:lnTo>
                      <a:lnTo>
                        <a:pt x="4844" y="0"/>
                      </a:lnTo>
                    </a:path>
                  </a:pathLst>
                </a:custGeom>
                <a:noFill/>
                <a:ln w="6350" cap="rnd">
                  <a:solidFill>
                    <a:schemeClr val="bg1">
                      <a:alpha val="40000"/>
                    </a:schemeClr>
                  </a:solidFill>
                  <a:prstDash val="solid"/>
                  <a:round/>
                </a:ln>
              </p:spPr>
              <p:txBody>
                <a:bodyPr rtlCol="0" anchor="ctr"/>
                <a:lstStyle/>
                <a:p>
                  <a:endParaRPr lang="en-GB"/>
                </a:p>
              </p:txBody>
            </p:sp>
            <p:sp>
              <p:nvSpPr>
                <p:cNvPr id="6991" name="Vrije vorm: vorm 6990">
                  <a:extLst>
                    <a:ext uri="{FF2B5EF4-FFF2-40B4-BE49-F238E27FC236}">
                      <a16:creationId xmlns:a16="http://schemas.microsoft.com/office/drawing/2014/main" id="{86F02400-1DE9-4BF3-AF42-5CB7F9AC41C1}"/>
                    </a:ext>
                  </a:extLst>
                </p:cNvPr>
                <p:cNvSpPr/>
                <p:nvPr/>
              </p:nvSpPr>
              <p:spPr>
                <a:xfrm>
                  <a:off x="6933710" y="1819914"/>
                  <a:ext cx="3408" cy="1913"/>
                </a:xfrm>
                <a:custGeom>
                  <a:avLst/>
                  <a:gdLst>
                    <a:gd name="connsiteX0" fmla="*/ 3409 w 3408"/>
                    <a:gd name="connsiteY0" fmla="*/ 1914 h 1913"/>
                    <a:gd name="connsiteX1" fmla="*/ 2093 w 3408"/>
                    <a:gd name="connsiteY1" fmla="*/ 1196 h 1913"/>
                    <a:gd name="connsiteX2" fmla="*/ 538 w 3408"/>
                    <a:gd name="connsiteY2" fmla="*/ 299 h 1913"/>
                    <a:gd name="connsiteX3" fmla="*/ 0 w 3408"/>
                    <a:gd name="connsiteY3" fmla="*/ 0 h 1913"/>
                  </a:gdLst>
                  <a:ahLst/>
                  <a:cxnLst>
                    <a:cxn ang="0">
                      <a:pos x="connsiteX0" y="connsiteY0"/>
                    </a:cxn>
                    <a:cxn ang="0">
                      <a:pos x="connsiteX1" y="connsiteY1"/>
                    </a:cxn>
                    <a:cxn ang="0">
                      <a:pos x="connsiteX2" y="connsiteY2"/>
                    </a:cxn>
                    <a:cxn ang="0">
                      <a:pos x="connsiteX3" y="connsiteY3"/>
                    </a:cxn>
                  </a:cxnLst>
                  <a:rect l="l" t="t" r="r" b="b"/>
                  <a:pathLst>
                    <a:path w="3408" h="1913">
                      <a:moveTo>
                        <a:pt x="3409" y="1914"/>
                      </a:moveTo>
                      <a:lnTo>
                        <a:pt x="2093" y="1196"/>
                      </a:lnTo>
                      <a:lnTo>
                        <a:pt x="538" y="29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92" name="Vrije vorm: vorm 6991">
                  <a:extLst>
                    <a:ext uri="{FF2B5EF4-FFF2-40B4-BE49-F238E27FC236}">
                      <a16:creationId xmlns:a16="http://schemas.microsoft.com/office/drawing/2014/main" id="{4AB4C884-BCD7-4154-987C-35918D08921D}"/>
                    </a:ext>
                  </a:extLst>
                </p:cNvPr>
                <p:cNvSpPr/>
                <p:nvPr/>
              </p:nvSpPr>
              <p:spPr>
                <a:xfrm>
                  <a:off x="6856200" y="1934624"/>
                  <a:ext cx="8312" cy="5502"/>
                </a:xfrm>
                <a:custGeom>
                  <a:avLst/>
                  <a:gdLst>
                    <a:gd name="connsiteX0" fmla="*/ 0 w 8312"/>
                    <a:gd name="connsiteY0" fmla="*/ 5502 h 5502"/>
                    <a:gd name="connsiteX1" fmla="*/ 4066 w 8312"/>
                    <a:gd name="connsiteY1" fmla="*/ 2811 h 5502"/>
                    <a:gd name="connsiteX2" fmla="*/ 5921 w 8312"/>
                    <a:gd name="connsiteY2" fmla="*/ 1615 h 5502"/>
                    <a:gd name="connsiteX3" fmla="*/ 7057 w 8312"/>
                    <a:gd name="connsiteY3" fmla="*/ 837 h 5502"/>
                    <a:gd name="connsiteX4" fmla="*/ 7834 w 8312"/>
                    <a:gd name="connsiteY4" fmla="*/ 299 h 5502"/>
                    <a:gd name="connsiteX5" fmla="*/ 8313 w 8312"/>
                    <a:gd name="connsiteY5" fmla="*/ 0 h 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12" h="5502">
                      <a:moveTo>
                        <a:pt x="0" y="5502"/>
                      </a:moveTo>
                      <a:lnTo>
                        <a:pt x="4066" y="2811"/>
                      </a:lnTo>
                      <a:lnTo>
                        <a:pt x="5921" y="1615"/>
                      </a:lnTo>
                      <a:lnTo>
                        <a:pt x="7057" y="837"/>
                      </a:lnTo>
                      <a:lnTo>
                        <a:pt x="7834" y="299"/>
                      </a:lnTo>
                      <a:lnTo>
                        <a:pt x="8313" y="0"/>
                      </a:lnTo>
                    </a:path>
                  </a:pathLst>
                </a:custGeom>
                <a:noFill/>
                <a:ln w="6350" cap="rnd">
                  <a:solidFill>
                    <a:schemeClr val="bg1">
                      <a:alpha val="40000"/>
                    </a:schemeClr>
                  </a:solidFill>
                  <a:prstDash val="solid"/>
                  <a:round/>
                </a:ln>
              </p:spPr>
              <p:txBody>
                <a:bodyPr rtlCol="0" anchor="ctr"/>
                <a:lstStyle/>
                <a:p>
                  <a:endParaRPr lang="en-GB"/>
                </a:p>
              </p:txBody>
            </p:sp>
            <p:sp>
              <p:nvSpPr>
                <p:cNvPr id="6993" name="Vrije vorm: vorm 6992">
                  <a:extLst>
                    <a:ext uri="{FF2B5EF4-FFF2-40B4-BE49-F238E27FC236}">
                      <a16:creationId xmlns:a16="http://schemas.microsoft.com/office/drawing/2014/main" id="{EB5A5D10-088D-4A9A-9AC2-E938189F3134}"/>
                    </a:ext>
                  </a:extLst>
                </p:cNvPr>
                <p:cNvSpPr/>
                <p:nvPr/>
              </p:nvSpPr>
              <p:spPr>
                <a:xfrm>
                  <a:off x="6793522" y="2039406"/>
                  <a:ext cx="418" cy="6818"/>
                </a:xfrm>
                <a:custGeom>
                  <a:avLst/>
                  <a:gdLst>
                    <a:gd name="connsiteX0" fmla="*/ 0 w 418"/>
                    <a:gd name="connsiteY0" fmla="*/ 6818 h 6818"/>
                    <a:gd name="connsiteX1" fmla="*/ 419 w 418"/>
                    <a:gd name="connsiteY1" fmla="*/ 0 h 6818"/>
                  </a:gdLst>
                  <a:ahLst/>
                  <a:cxnLst>
                    <a:cxn ang="0">
                      <a:pos x="connsiteX0" y="connsiteY0"/>
                    </a:cxn>
                    <a:cxn ang="0">
                      <a:pos x="connsiteX1" y="connsiteY1"/>
                    </a:cxn>
                  </a:cxnLst>
                  <a:rect l="l" t="t" r="r" b="b"/>
                  <a:pathLst>
                    <a:path w="418" h="6818">
                      <a:moveTo>
                        <a:pt x="0" y="6818"/>
                      </a:moveTo>
                      <a:lnTo>
                        <a:pt x="419" y="0"/>
                      </a:lnTo>
                    </a:path>
                  </a:pathLst>
                </a:custGeom>
                <a:noFill/>
                <a:ln w="6350" cap="rnd">
                  <a:solidFill>
                    <a:schemeClr val="bg1">
                      <a:alpha val="40000"/>
                    </a:schemeClr>
                  </a:solidFill>
                  <a:prstDash val="solid"/>
                  <a:round/>
                </a:ln>
              </p:spPr>
              <p:txBody>
                <a:bodyPr rtlCol="0" anchor="ctr"/>
                <a:lstStyle/>
                <a:p>
                  <a:endParaRPr lang="en-GB"/>
                </a:p>
              </p:txBody>
            </p:sp>
            <p:sp>
              <p:nvSpPr>
                <p:cNvPr id="6994" name="Vrije vorm: vorm 6993">
                  <a:extLst>
                    <a:ext uri="{FF2B5EF4-FFF2-40B4-BE49-F238E27FC236}">
                      <a16:creationId xmlns:a16="http://schemas.microsoft.com/office/drawing/2014/main" id="{C3AA0D48-57CF-4403-823E-9B1F64729963}"/>
                    </a:ext>
                  </a:extLst>
                </p:cNvPr>
                <p:cNvSpPr/>
                <p:nvPr/>
              </p:nvSpPr>
              <p:spPr>
                <a:xfrm>
                  <a:off x="6822588" y="1964707"/>
                  <a:ext cx="8193" cy="10167"/>
                </a:xfrm>
                <a:custGeom>
                  <a:avLst/>
                  <a:gdLst>
                    <a:gd name="connsiteX0" fmla="*/ 0 w 8193"/>
                    <a:gd name="connsiteY0" fmla="*/ 10167 h 10167"/>
                    <a:gd name="connsiteX1" fmla="*/ 120 w 8193"/>
                    <a:gd name="connsiteY1" fmla="*/ 10048 h 10167"/>
                    <a:gd name="connsiteX2" fmla="*/ 957 w 8193"/>
                    <a:gd name="connsiteY2" fmla="*/ 9031 h 10167"/>
                    <a:gd name="connsiteX3" fmla="*/ 1136 w 8193"/>
                    <a:gd name="connsiteY3" fmla="*/ 8792 h 10167"/>
                    <a:gd name="connsiteX4" fmla="*/ 1615 w 8193"/>
                    <a:gd name="connsiteY4" fmla="*/ 8194 h 10167"/>
                    <a:gd name="connsiteX5" fmla="*/ 2333 w 8193"/>
                    <a:gd name="connsiteY5" fmla="*/ 7296 h 10167"/>
                    <a:gd name="connsiteX6" fmla="*/ 2930 w 8193"/>
                    <a:gd name="connsiteY6" fmla="*/ 6579 h 10167"/>
                    <a:gd name="connsiteX7" fmla="*/ 7237 w 8193"/>
                    <a:gd name="connsiteY7" fmla="*/ 1196 h 10167"/>
                    <a:gd name="connsiteX8" fmla="*/ 7775 w 8193"/>
                    <a:gd name="connsiteY8" fmla="*/ 538 h 10167"/>
                    <a:gd name="connsiteX9" fmla="*/ 8134 w 8193"/>
                    <a:gd name="connsiteY9" fmla="*/ 60 h 10167"/>
                    <a:gd name="connsiteX10" fmla="*/ 8134 w 8193"/>
                    <a:gd name="connsiteY10" fmla="*/ 60 h 10167"/>
                    <a:gd name="connsiteX11" fmla="*/ 8194 w 8193"/>
                    <a:gd name="connsiteY11" fmla="*/ 0 h 1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93" h="10167">
                      <a:moveTo>
                        <a:pt x="0" y="10167"/>
                      </a:moveTo>
                      <a:lnTo>
                        <a:pt x="120" y="10048"/>
                      </a:lnTo>
                      <a:lnTo>
                        <a:pt x="957" y="9031"/>
                      </a:lnTo>
                      <a:lnTo>
                        <a:pt x="1136" y="8792"/>
                      </a:lnTo>
                      <a:lnTo>
                        <a:pt x="1615" y="8194"/>
                      </a:lnTo>
                      <a:lnTo>
                        <a:pt x="2333" y="7296"/>
                      </a:lnTo>
                      <a:lnTo>
                        <a:pt x="2930" y="6579"/>
                      </a:lnTo>
                      <a:lnTo>
                        <a:pt x="7237" y="1196"/>
                      </a:lnTo>
                      <a:lnTo>
                        <a:pt x="7775" y="538"/>
                      </a:lnTo>
                      <a:lnTo>
                        <a:pt x="8134" y="60"/>
                      </a:lnTo>
                      <a:lnTo>
                        <a:pt x="8134" y="60"/>
                      </a:lnTo>
                      <a:lnTo>
                        <a:pt x="8194" y="0"/>
                      </a:lnTo>
                    </a:path>
                  </a:pathLst>
                </a:custGeom>
                <a:noFill/>
                <a:ln w="6350" cap="rnd">
                  <a:solidFill>
                    <a:schemeClr val="bg1">
                      <a:alpha val="40000"/>
                    </a:schemeClr>
                  </a:solidFill>
                  <a:prstDash val="solid"/>
                  <a:round/>
                </a:ln>
              </p:spPr>
              <p:txBody>
                <a:bodyPr rtlCol="0" anchor="ctr"/>
                <a:lstStyle/>
                <a:p>
                  <a:endParaRPr lang="en-GB"/>
                </a:p>
              </p:txBody>
            </p:sp>
            <p:sp>
              <p:nvSpPr>
                <p:cNvPr id="6995" name="Vrije vorm: vorm 6994">
                  <a:extLst>
                    <a:ext uri="{FF2B5EF4-FFF2-40B4-BE49-F238E27FC236}">
                      <a16:creationId xmlns:a16="http://schemas.microsoft.com/office/drawing/2014/main" id="{B59F1096-906B-4CFF-94CF-D07B68837A97}"/>
                    </a:ext>
                  </a:extLst>
                </p:cNvPr>
                <p:cNvSpPr/>
                <p:nvPr/>
              </p:nvSpPr>
              <p:spPr>
                <a:xfrm>
                  <a:off x="6821750" y="1973080"/>
                  <a:ext cx="777" cy="1315"/>
                </a:xfrm>
                <a:custGeom>
                  <a:avLst/>
                  <a:gdLst>
                    <a:gd name="connsiteX0" fmla="*/ 0 w 777"/>
                    <a:gd name="connsiteY0" fmla="*/ 1316 h 1315"/>
                    <a:gd name="connsiteX1" fmla="*/ 778 w 777"/>
                    <a:gd name="connsiteY1" fmla="*/ 0 h 1315"/>
                  </a:gdLst>
                  <a:ahLst/>
                  <a:cxnLst>
                    <a:cxn ang="0">
                      <a:pos x="connsiteX0" y="connsiteY0"/>
                    </a:cxn>
                    <a:cxn ang="0">
                      <a:pos x="connsiteX1" y="connsiteY1"/>
                    </a:cxn>
                  </a:cxnLst>
                  <a:rect l="l" t="t" r="r" b="b"/>
                  <a:pathLst>
                    <a:path w="777" h="1315">
                      <a:moveTo>
                        <a:pt x="0" y="1316"/>
                      </a:moveTo>
                      <a:lnTo>
                        <a:pt x="778" y="0"/>
                      </a:lnTo>
                    </a:path>
                  </a:pathLst>
                </a:custGeom>
                <a:noFill/>
                <a:ln w="6350" cap="rnd">
                  <a:solidFill>
                    <a:schemeClr val="bg1">
                      <a:alpha val="40000"/>
                    </a:schemeClr>
                  </a:solidFill>
                  <a:prstDash val="solid"/>
                  <a:round/>
                </a:ln>
              </p:spPr>
              <p:txBody>
                <a:bodyPr rtlCol="0" anchor="ctr"/>
                <a:lstStyle/>
                <a:p>
                  <a:endParaRPr lang="en-GB"/>
                </a:p>
              </p:txBody>
            </p:sp>
            <p:sp>
              <p:nvSpPr>
                <p:cNvPr id="6996" name="Vrije vorm: vorm 6995">
                  <a:extLst>
                    <a:ext uri="{FF2B5EF4-FFF2-40B4-BE49-F238E27FC236}">
                      <a16:creationId xmlns:a16="http://schemas.microsoft.com/office/drawing/2014/main" id="{C1BCC50A-8081-485B-9711-0DBD4E967B65}"/>
                    </a:ext>
                  </a:extLst>
                </p:cNvPr>
                <p:cNvSpPr/>
                <p:nvPr/>
              </p:nvSpPr>
              <p:spPr>
                <a:xfrm>
                  <a:off x="6800459" y="2011895"/>
                  <a:ext cx="957" cy="478"/>
                </a:xfrm>
                <a:custGeom>
                  <a:avLst/>
                  <a:gdLst>
                    <a:gd name="connsiteX0" fmla="*/ 957 w 957"/>
                    <a:gd name="connsiteY0" fmla="*/ 478 h 478"/>
                    <a:gd name="connsiteX1" fmla="*/ 0 w 957"/>
                    <a:gd name="connsiteY1" fmla="*/ 0 h 478"/>
                  </a:gdLst>
                  <a:ahLst/>
                  <a:cxnLst>
                    <a:cxn ang="0">
                      <a:pos x="connsiteX0" y="connsiteY0"/>
                    </a:cxn>
                    <a:cxn ang="0">
                      <a:pos x="connsiteX1" y="connsiteY1"/>
                    </a:cxn>
                  </a:cxnLst>
                  <a:rect l="l" t="t" r="r" b="b"/>
                  <a:pathLst>
                    <a:path w="957" h="478">
                      <a:moveTo>
                        <a:pt x="957" y="478"/>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6997" name="Vrije vorm: vorm 6996">
                  <a:extLst>
                    <a:ext uri="{FF2B5EF4-FFF2-40B4-BE49-F238E27FC236}">
                      <a16:creationId xmlns:a16="http://schemas.microsoft.com/office/drawing/2014/main" id="{6F950C09-8E76-4486-BE14-2C56450DB42E}"/>
                    </a:ext>
                  </a:extLst>
                </p:cNvPr>
                <p:cNvSpPr/>
                <p:nvPr/>
              </p:nvSpPr>
              <p:spPr>
                <a:xfrm>
                  <a:off x="6823784" y="1934325"/>
                  <a:ext cx="3169" cy="5322"/>
                </a:xfrm>
                <a:custGeom>
                  <a:avLst/>
                  <a:gdLst>
                    <a:gd name="connsiteX0" fmla="*/ 3170 w 3169"/>
                    <a:gd name="connsiteY0" fmla="*/ 0 h 5322"/>
                    <a:gd name="connsiteX1" fmla="*/ 2153 w 3169"/>
                    <a:gd name="connsiteY1" fmla="*/ 1675 h 5322"/>
                    <a:gd name="connsiteX2" fmla="*/ 0 w 3169"/>
                    <a:gd name="connsiteY2" fmla="*/ 5323 h 5322"/>
                  </a:gdLst>
                  <a:ahLst/>
                  <a:cxnLst>
                    <a:cxn ang="0">
                      <a:pos x="connsiteX0" y="connsiteY0"/>
                    </a:cxn>
                    <a:cxn ang="0">
                      <a:pos x="connsiteX1" y="connsiteY1"/>
                    </a:cxn>
                    <a:cxn ang="0">
                      <a:pos x="connsiteX2" y="connsiteY2"/>
                    </a:cxn>
                  </a:cxnLst>
                  <a:rect l="l" t="t" r="r" b="b"/>
                  <a:pathLst>
                    <a:path w="3169" h="5322">
                      <a:moveTo>
                        <a:pt x="3170" y="0"/>
                      </a:moveTo>
                      <a:lnTo>
                        <a:pt x="2153" y="1675"/>
                      </a:lnTo>
                      <a:lnTo>
                        <a:pt x="0" y="5323"/>
                      </a:lnTo>
                    </a:path>
                  </a:pathLst>
                </a:custGeom>
                <a:noFill/>
                <a:ln w="6350" cap="rnd">
                  <a:solidFill>
                    <a:schemeClr val="bg1">
                      <a:alpha val="40000"/>
                    </a:schemeClr>
                  </a:solidFill>
                  <a:prstDash val="solid"/>
                  <a:round/>
                </a:ln>
              </p:spPr>
              <p:txBody>
                <a:bodyPr rtlCol="0" anchor="ctr"/>
                <a:lstStyle/>
                <a:p>
                  <a:endParaRPr lang="en-GB"/>
                </a:p>
              </p:txBody>
            </p:sp>
            <p:sp>
              <p:nvSpPr>
                <p:cNvPr id="6998" name="Vrije vorm: vorm 6997">
                  <a:extLst>
                    <a:ext uri="{FF2B5EF4-FFF2-40B4-BE49-F238E27FC236}">
                      <a16:creationId xmlns:a16="http://schemas.microsoft.com/office/drawing/2014/main" id="{E4EE9293-3EFC-4BB6-8AA6-85B8607E84A1}"/>
                    </a:ext>
                  </a:extLst>
                </p:cNvPr>
                <p:cNvSpPr/>
                <p:nvPr/>
              </p:nvSpPr>
              <p:spPr>
                <a:xfrm>
                  <a:off x="6806978" y="1962554"/>
                  <a:ext cx="14413" cy="9389"/>
                </a:xfrm>
                <a:custGeom>
                  <a:avLst/>
                  <a:gdLst>
                    <a:gd name="connsiteX0" fmla="*/ 0 w 14413"/>
                    <a:gd name="connsiteY0" fmla="*/ 0 h 9389"/>
                    <a:gd name="connsiteX1" fmla="*/ 10227 w 14413"/>
                    <a:gd name="connsiteY1" fmla="*/ 6698 h 9389"/>
                    <a:gd name="connsiteX2" fmla="*/ 10227 w 14413"/>
                    <a:gd name="connsiteY2" fmla="*/ 6698 h 9389"/>
                    <a:gd name="connsiteX3" fmla="*/ 10645 w 14413"/>
                    <a:gd name="connsiteY3" fmla="*/ 6938 h 9389"/>
                    <a:gd name="connsiteX4" fmla="*/ 14413 w 14413"/>
                    <a:gd name="connsiteY4" fmla="*/ 9390 h 9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13" h="9389">
                      <a:moveTo>
                        <a:pt x="0" y="0"/>
                      </a:moveTo>
                      <a:lnTo>
                        <a:pt x="10227" y="6698"/>
                      </a:lnTo>
                      <a:lnTo>
                        <a:pt x="10227" y="6698"/>
                      </a:lnTo>
                      <a:lnTo>
                        <a:pt x="10645" y="6938"/>
                      </a:lnTo>
                      <a:lnTo>
                        <a:pt x="14413" y="9390"/>
                      </a:lnTo>
                    </a:path>
                  </a:pathLst>
                </a:custGeom>
                <a:noFill/>
                <a:ln w="6350" cap="rnd">
                  <a:solidFill>
                    <a:schemeClr val="bg1">
                      <a:alpha val="40000"/>
                    </a:schemeClr>
                  </a:solidFill>
                  <a:prstDash val="solid"/>
                  <a:round/>
                </a:ln>
              </p:spPr>
              <p:txBody>
                <a:bodyPr rtlCol="0" anchor="ctr"/>
                <a:lstStyle/>
                <a:p>
                  <a:endParaRPr lang="en-GB"/>
                </a:p>
              </p:txBody>
            </p:sp>
            <p:sp>
              <p:nvSpPr>
                <p:cNvPr id="6999" name="Vrije vorm: vorm 6998">
                  <a:extLst>
                    <a:ext uri="{FF2B5EF4-FFF2-40B4-BE49-F238E27FC236}">
                      <a16:creationId xmlns:a16="http://schemas.microsoft.com/office/drawing/2014/main" id="{26F4F00A-27A0-450C-BB93-9105FE3338A3}"/>
                    </a:ext>
                  </a:extLst>
                </p:cNvPr>
                <p:cNvSpPr/>
                <p:nvPr/>
              </p:nvSpPr>
              <p:spPr>
                <a:xfrm>
                  <a:off x="6781201" y="2000771"/>
                  <a:ext cx="3229" cy="2511"/>
                </a:xfrm>
                <a:custGeom>
                  <a:avLst/>
                  <a:gdLst>
                    <a:gd name="connsiteX0" fmla="*/ 3229 w 3229"/>
                    <a:gd name="connsiteY0" fmla="*/ 2512 h 2511"/>
                    <a:gd name="connsiteX1" fmla="*/ 0 w 3229"/>
                    <a:gd name="connsiteY1" fmla="*/ 0 h 2511"/>
                  </a:gdLst>
                  <a:ahLst/>
                  <a:cxnLst>
                    <a:cxn ang="0">
                      <a:pos x="connsiteX0" y="connsiteY0"/>
                    </a:cxn>
                    <a:cxn ang="0">
                      <a:pos x="connsiteX1" y="connsiteY1"/>
                    </a:cxn>
                  </a:cxnLst>
                  <a:rect l="l" t="t" r="r" b="b"/>
                  <a:pathLst>
                    <a:path w="3229" h="2511">
                      <a:moveTo>
                        <a:pt x="3229" y="2512"/>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00" name="Vrije vorm: vorm 6999">
                  <a:extLst>
                    <a:ext uri="{FF2B5EF4-FFF2-40B4-BE49-F238E27FC236}">
                      <a16:creationId xmlns:a16="http://schemas.microsoft.com/office/drawing/2014/main" id="{5D7EE2F5-8761-420F-B343-85100CF11A8E}"/>
                    </a:ext>
                  </a:extLst>
                </p:cNvPr>
                <p:cNvSpPr/>
                <p:nvPr/>
              </p:nvSpPr>
              <p:spPr>
                <a:xfrm>
                  <a:off x="6796512" y="1929959"/>
                  <a:ext cx="12200" cy="20454"/>
                </a:xfrm>
                <a:custGeom>
                  <a:avLst/>
                  <a:gdLst>
                    <a:gd name="connsiteX0" fmla="*/ 0 w 12200"/>
                    <a:gd name="connsiteY0" fmla="*/ 20454 h 20454"/>
                    <a:gd name="connsiteX1" fmla="*/ 179 w 12200"/>
                    <a:gd name="connsiteY1" fmla="*/ 20155 h 20454"/>
                    <a:gd name="connsiteX2" fmla="*/ 1076 w 12200"/>
                    <a:gd name="connsiteY2" fmla="*/ 18660 h 20454"/>
                    <a:gd name="connsiteX3" fmla="*/ 1196 w 12200"/>
                    <a:gd name="connsiteY3" fmla="*/ 18421 h 20454"/>
                    <a:gd name="connsiteX4" fmla="*/ 1854 w 12200"/>
                    <a:gd name="connsiteY4" fmla="*/ 17344 h 20454"/>
                    <a:gd name="connsiteX5" fmla="*/ 2033 w 12200"/>
                    <a:gd name="connsiteY5" fmla="*/ 17045 h 20454"/>
                    <a:gd name="connsiteX6" fmla="*/ 2273 w 12200"/>
                    <a:gd name="connsiteY6" fmla="*/ 16686 h 20454"/>
                    <a:gd name="connsiteX7" fmla="*/ 3050 w 12200"/>
                    <a:gd name="connsiteY7" fmla="*/ 15370 h 20454"/>
                    <a:gd name="connsiteX8" fmla="*/ 3229 w 12200"/>
                    <a:gd name="connsiteY8" fmla="*/ 15071 h 20454"/>
                    <a:gd name="connsiteX9" fmla="*/ 3289 w 12200"/>
                    <a:gd name="connsiteY9" fmla="*/ 14952 h 20454"/>
                    <a:gd name="connsiteX10" fmla="*/ 3947 w 12200"/>
                    <a:gd name="connsiteY10" fmla="*/ 13875 h 20454"/>
                    <a:gd name="connsiteX11" fmla="*/ 6937 w 12200"/>
                    <a:gd name="connsiteY11" fmla="*/ 8792 h 20454"/>
                    <a:gd name="connsiteX12" fmla="*/ 7715 w 12200"/>
                    <a:gd name="connsiteY12" fmla="*/ 7476 h 20454"/>
                    <a:gd name="connsiteX13" fmla="*/ 7835 w 12200"/>
                    <a:gd name="connsiteY13" fmla="*/ 7296 h 20454"/>
                    <a:gd name="connsiteX14" fmla="*/ 8612 w 12200"/>
                    <a:gd name="connsiteY14" fmla="*/ 6040 h 20454"/>
                    <a:gd name="connsiteX15" fmla="*/ 9868 w 12200"/>
                    <a:gd name="connsiteY15" fmla="*/ 3887 h 20454"/>
                    <a:gd name="connsiteX16" fmla="*/ 9928 w 12200"/>
                    <a:gd name="connsiteY16" fmla="*/ 3768 h 20454"/>
                    <a:gd name="connsiteX17" fmla="*/ 9988 w 12200"/>
                    <a:gd name="connsiteY17" fmla="*/ 3708 h 20454"/>
                    <a:gd name="connsiteX18" fmla="*/ 10406 w 12200"/>
                    <a:gd name="connsiteY18" fmla="*/ 2990 h 20454"/>
                    <a:gd name="connsiteX19" fmla="*/ 12201 w 12200"/>
                    <a:gd name="connsiteY19" fmla="*/ 0 h 2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200" h="20454">
                      <a:moveTo>
                        <a:pt x="0" y="20454"/>
                      </a:moveTo>
                      <a:lnTo>
                        <a:pt x="179" y="20155"/>
                      </a:lnTo>
                      <a:lnTo>
                        <a:pt x="1076" y="18660"/>
                      </a:lnTo>
                      <a:lnTo>
                        <a:pt x="1196" y="18421"/>
                      </a:lnTo>
                      <a:lnTo>
                        <a:pt x="1854" y="17344"/>
                      </a:lnTo>
                      <a:lnTo>
                        <a:pt x="2033" y="17045"/>
                      </a:lnTo>
                      <a:lnTo>
                        <a:pt x="2273" y="16686"/>
                      </a:lnTo>
                      <a:lnTo>
                        <a:pt x="3050" y="15370"/>
                      </a:lnTo>
                      <a:lnTo>
                        <a:pt x="3229" y="15071"/>
                      </a:lnTo>
                      <a:lnTo>
                        <a:pt x="3289" y="14952"/>
                      </a:lnTo>
                      <a:lnTo>
                        <a:pt x="3947" y="13875"/>
                      </a:lnTo>
                      <a:lnTo>
                        <a:pt x="6937" y="8792"/>
                      </a:lnTo>
                      <a:lnTo>
                        <a:pt x="7715" y="7476"/>
                      </a:lnTo>
                      <a:lnTo>
                        <a:pt x="7835" y="7296"/>
                      </a:lnTo>
                      <a:lnTo>
                        <a:pt x="8612" y="6040"/>
                      </a:lnTo>
                      <a:lnTo>
                        <a:pt x="9868" y="3887"/>
                      </a:lnTo>
                      <a:lnTo>
                        <a:pt x="9928" y="3768"/>
                      </a:lnTo>
                      <a:lnTo>
                        <a:pt x="9988" y="3708"/>
                      </a:lnTo>
                      <a:lnTo>
                        <a:pt x="10406" y="2990"/>
                      </a:lnTo>
                      <a:lnTo>
                        <a:pt x="12201" y="0"/>
                      </a:lnTo>
                    </a:path>
                  </a:pathLst>
                </a:custGeom>
                <a:noFill/>
                <a:ln w="6350" cap="rnd">
                  <a:solidFill>
                    <a:schemeClr val="bg1">
                      <a:alpha val="40000"/>
                    </a:schemeClr>
                  </a:solidFill>
                  <a:prstDash val="solid"/>
                  <a:round/>
                </a:ln>
              </p:spPr>
              <p:txBody>
                <a:bodyPr rtlCol="0" anchor="ctr"/>
                <a:lstStyle/>
                <a:p>
                  <a:endParaRPr lang="en-GB"/>
                </a:p>
              </p:txBody>
            </p:sp>
            <p:sp>
              <p:nvSpPr>
                <p:cNvPr id="7001" name="Vrije vorm: vorm 7000">
                  <a:extLst>
                    <a:ext uri="{FF2B5EF4-FFF2-40B4-BE49-F238E27FC236}">
                      <a16:creationId xmlns:a16="http://schemas.microsoft.com/office/drawing/2014/main" id="{B8481AB6-05D3-4F0D-9459-C7905696B5E8}"/>
                    </a:ext>
                  </a:extLst>
                </p:cNvPr>
                <p:cNvSpPr/>
                <p:nvPr/>
              </p:nvSpPr>
              <p:spPr>
                <a:xfrm>
                  <a:off x="6821033" y="1925414"/>
                  <a:ext cx="2152" cy="1375"/>
                </a:xfrm>
                <a:custGeom>
                  <a:avLst/>
                  <a:gdLst>
                    <a:gd name="connsiteX0" fmla="*/ 0 w 2152"/>
                    <a:gd name="connsiteY0" fmla="*/ 0 h 1375"/>
                    <a:gd name="connsiteX1" fmla="*/ 2153 w 2152"/>
                    <a:gd name="connsiteY1" fmla="*/ 1376 h 1375"/>
                  </a:gdLst>
                  <a:ahLst/>
                  <a:cxnLst>
                    <a:cxn ang="0">
                      <a:pos x="connsiteX0" y="connsiteY0"/>
                    </a:cxn>
                    <a:cxn ang="0">
                      <a:pos x="connsiteX1" y="connsiteY1"/>
                    </a:cxn>
                  </a:cxnLst>
                  <a:rect l="l" t="t" r="r" b="b"/>
                  <a:pathLst>
                    <a:path w="2152" h="1375">
                      <a:moveTo>
                        <a:pt x="0" y="0"/>
                      </a:moveTo>
                      <a:lnTo>
                        <a:pt x="2153" y="1376"/>
                      </a:lnTo>
                    </a:path>
                  </a:pathLst>
                </a:custGeom>
                <a:noFill/>
                <a:ln w="6350" cap="rnd">
                  <a:solidFill>
                    <a:schemeClr val="bg1">
                      <a:alpha val="40000"/>
                    </a:schemeClr>
                  </a:solidFill>
                  <a:prstDash val="solid"/>
                  <a:round/>
                </a:ln>
              </p:spPr>
              <p:txBody>
                <a:bodyPr rtlCol="0" anchor="ctr"/>
                <a:lstStyle/>
                <a:p>
                  <a:endParaRPr lang="en-GB"/>
                </a:p>
              </p:txBody>
            </p:sp>
            <p:sp>
              <p:nvSpPr>
                <p:cNvPr id="7002" name="Vrije vorm: vorm 7001">
                  <a:extLst>
                    <a:ext uri="{FF2B5EF4-FFF2-40B4-BE49-F238E27FC236}">
                      <a16:creationId xmlns:a16="http://schemas.microsoft.com/office/drawing/2014/main" id="{BDBA8011-8A10-43D7-BA85-EE2CDFAF7047}"/>
                    </a:ext>
                  </a:extLst>
                </p:cNvPr>
                <p:cNvSpPr/>
                <p:nvPr/>
              </p:nvSpPr>
              <p:spPr>
                <a:xfrm>
                  <a:off x="6796751" y="1960401"/>
                  <a:ext cx="7774" cy="2751"/>
                </a:xfrm>
                <a:custGeom>
                  <a:avLst/>
                  <a:gdLst>
                    <a:gd name="connsiteX0" fmla="*/ 7775 w 7774"/>
                    <a:gd name="connsiteY0" fmla="*/ 2751 h 2751"/>
                    <a:gd name="connsiteX1" fmla="*/ 1017 w 7774"/>
                    <a:gd name="connsiteY1" fmla="*/ 359 h 2751"/>
                    <a:gd name="connsiteX2" fmla="*/ 239 w 7774"/>
                    <a:gd name="connsiteY2" fmla="*/ 60 h 2751"/>
                    <a:gd name="connsiteX3" fmla="*/ 0 w 7774"/>
                    <a:gd name="connsiteY3" fmla="*/ 0 h 2751"/>
                  </a:gdLst>
                  <a:ahLst/>
                  <a:cxnLst>
                    <a:cxn ang="0">
                      <a:pos x="connsiteX0" y="connsiteY0"/>
                    </a:cxn>
                    <a:cxn ang="0">
                      <a:pos x="connsiteX1" y="connsiteY1"/>
                    </a:cxn>
                    <a:cxn ang="0">
                      <a:pos x="connsiteX2" y="connsiteY2"/>
                    </a:cxn>
                    <a:cxn ang="0">
                      <a:pos x="connsiteX3" y="connsiteY3"/>
                    </a:cxn>
                  </a:cxnLst>
                  <a:rect l="l" t="t" r="r" b="b"/>
                  <a:pathLst>
                    <a:path w="7774" h="2751">
                      <a:moveTo>
                        <a:pt x="7775" y="2751"/>
                      </a:moveTo>
                      <a:lnTo>
                        <a:pt x="1017" y="359"/>
                      </a:lnTo>
                      <a:lnTo>
                        <a:pt x="239" y="6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03" name="Vrije vorm: vorm 7002">
                  <a:extLst>
                    <a:ext uri="{FF2B5EF4-FFF2-40B4-BE49-F238E27FC236}">
                      <a16:creationId xmlns:a16="http://schemas.microsoft.com/office/drawing/2014/main" id="{7A80D860-FE6A-4E21-BE0C-73C84DE42A0D}"/>
                    </a:ext>
                  </a:extLst>
                </p:cNvPr>
                <p:cNvSpPr/>
                <p:nvPr/>
              </p:nvSpPr>
              <p:spPr>
                <a:xfrm>
                  <a:off x="6925696" y="1716806"/>
                  <a:ext cx="12319" cy="6758"/>
                </a:xfrm>
                <a:custGeom>
                  <a:avLst/>
                  <a:gdLst>
                    <a:gd name="connsiteX0" fmla="*/ 12320 w 12319"/>
                    <a:gd name="connsiteY0" fmla="*/ 6758 h 6758"/>
                    <a:gd name="connsiteX1" fmla="*/ 11961 w 12319"/>
                    <a:gd name="connsiteY1" fmla="*/ 6579 h 6758"/>
                    <a:gd name="connsiteX2" fmla="*/ 8851 w 12319"/>
                    <a:gd name="connsiteY2" fmla="*/ 4844 h 6758"/>
                    <a:gd name="connsiteX3" fmla="*/ 5981 w 12319"/>
                    <a:gd name="connsiteY3" fmla="*/ 3289 h 6758"/>
                    <a:gd name="connsiteX4" fmla="*/ 5083 w 12319"/>
                    <a:gd name="connsiteY4" fmla="*/ 2811 h 6758"/>
                    <a:gd name="connsiteX5" fmla="*/ 3349 w 12319"/>
                    <a:gd name="connsiteY5" fmla="*/ 1854 h 6758"/>
                    <a:gd name="connsiteX6" fmla="*/ 2093 w 12319"/>
                    <a:gd name="connsiteY6" fmla="*/ 1136 h 6758"/>
                    <a:gd name="connsiteX7" fmla="*/ 0 w 12319"/>
                    <a:gd name="connsiteY7" fmla="*/ 0 h 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19" h="6758">
                      <a:moveTo>
                        <a:pt x="12320" y="6758"/>
                      </a:moveTo>
                      <a:lnTo>
                        <a:pt x="11961" y="6579"/>
                      </a:lnTo>
                      <a:lnTo>
                        <a:pt x="8851" y="4844"/>
                      </a:lnTo>
                      <a:lnTo>
                        <a:pt x="5981" y="3289"/>
                      </a:lnTo>
                      <a:lnTo>
                        <a:pt x="5083" y="2811"/>
                      </a:lnTo>
                      <a:lnTo>
                        <a:pt x="3349" y="1854"/>
                      </a:lnTo>
                      <a:lnTo>
                        <a:pt x="2093" y="113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04" name="Vrije vorm: vorm 7003">
                  <a:extLst>
                    <a:ext uri="{FF2B5EF4-FFF2-40B4-BE49-F238E27FC236}">
                      <a16:creationId xmlns:a16="http://schemas.microsoft.com/office/drawing/2014/main" id="{6F07C4F3-A238-4678-8E51-CCE09AB52642}"/>
                    </a:ext>
                  </a:extLst>
                </p:cNvPr>
                <p:cNvSpPr/>
                <p:nvPr/>
              </p:nvSpPr>
              <p:spPr>
                <a:xfrm>
                  <a:off x="6943937" y="1726914"/>
                  <a:ext cx="2691" cy="1435"/>
                </a:xfrm>
                <a:custGeom>
                  <a:avLst/>
                  <a:gdLst>
                    <a:gd name="connsiteX0" fmla="*/ 2692 w 2691"/>
                    <a:gd name="connsiteY0" fmla="*/ 1435 h 1435"/>
                    <a:gd name="connsiteX1" fmla="*/ 718 w 2691"/>
                    <a:gd name="connsiteY1" fmla="*/ 359 h 1435"/>
                    <a:gd name="connsiteX2" fmla="*/ 0 w 2691"/>
                    <a:gd name="connsiteY2" fmla="*/ 0 h 1435"/>
                  </a:gdLst>
                  <a:ahLst/>
                  <a:cxnLst>
                    <a:cxn ang="0">
                      <a:pos x="connsiteX0" y="connsiteY0"/>
                    </a:cxn>
                    <a:cxn ang="0">
                      <a:pos x="connsiteX1" y="connsiteY1"/>
                    </a:cxn>
                    <a:cxn ang="0">
                      <a:pos x="connsiteX2" y="connsiteY2"/>
                    </a:cxn>
                  </a:cxnLst>
                  <a:rect l="l" t="t" r="r" b="b"/>
                  <a:pathLst>
                    <a:path w="2691" h="1435">
                      <a:moveTo>
                        <a:pt x="2692" y="1435"/>
                      </a:moveTo>
                      <a:lnTo>
                        <a:pt x="718" y="35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05" name="Vrije vorm: vorm 7004">
                  <a:extLst>
                    <a:ext uri="{FF2B5EF4-FFF2-40B4-BE49-F238E27FC236}">
                      <a16:creationId xmlns:a16="http://schemas.microsoft.com/office/drawing/2014/main" id="{F380B695-F184-4F50-99C1-AED03704EC66}"/>
                    </a:ext>
                  </a:extLst>
                </p:cNvPr>
                <p:cNvSpPr/>
                <p:nvPr/>
              </p:nvSpPr>
              <p:spPr>
                <a:xfrm>
                  <a:off x="6792804" y="1967040"/>
                  <a:ext cx="15370" cy="10107"/>
                </a:xfrm>
                <a:custGeom>
                  <a:avLst/>
                  <a:gdLst>
                    <a:gd name="connsiteX0" fmla="*/ 0 w 15370"/>
                    <a:gd name="connsiteY0" fmla="*/ 0 h 10107"/>
                    <a:gd name="connsiteX1" fmla="*/ 9210 w 15370"/>
                    <a:gd name="connsiteY1" fmla="*/ 6040 h 10107"/>
                    <a:gd name="connsiteX2" fmla="*/ 9330 w 15370"/>
                    <a:gd name="connsiteY2" fmla="*/ 6100 h 10107"/>
                    <a:gd name="connsiteX3" fmla="*/ 15371 w 15370"/>
                    <a:gd name="connsiteY3" fmla="*/ 10107 h 10107"/>
                  </a:gdLst>
                  <a:ahLst/>
                  <a:cxnLst>
                    <a:cxn ang="0">
                      <a:pos x="connsiteX0" y="connsiteY0"/>
                    </a:cxn>
                    <a:cxn ang="0">
                      <a:pos x="connsiteX1" y="connsiteY1"/>
                    </a:cxn>
                    <a:cxn ang="0">
                      <a:pos x="connsiteX2" y="connsiteY2"/>
                    </a:cxn>
                    <a:cxn ang="0">
                      <a:pos x="connsiteX3" y="connsiteY3"/>
                    </a:cxn>
                  </a:cxnLst>
                  <a:rect l="l" t="t" r="r" b="b"/>
                  <a:pathLst>
                    <a:path w="15370" h="10107">
                      <a:moveTo>
                        <a:pt x="0" y="0"/>
                      </a:moveTo>
                      <a:lnTo>
                        <a:pt x="9210" y="6040"/>
                      </a:lnTo>
                      <a:lnTo>
                        <a:pt x="9330" y="6100"/>
                      </a:lnTo>
                      <a:lnTo>
                        <a:pt x="15371" y="10107"/>
                      </a:lnTo>
                    </a:path>
                  </a:pathLst>
                </a:custGeom>
                <a:noFill/>
                <a:ln w="6350" cap="rnd">
                  <a:solidFill>
                    <a:schemeClr val="bg1">
                      <a:alpha val="40000"/>
                    </a:schemeClr>
                  </a:solidFill>
                  <a:prstDash val="solid"/>
                  <a:round/>
                </a:ln>
              </p:spPr>
              <p:txBody>
                <a:bodyPr rtlCol="0" anchor="ctr"/>
                <a:lstStyle/>
                <a:p>
                  <a:endParaRPr lang="en-GB"/>
                </a:p>
              </p:txBody>
            </p:sp>
            <p:sp>
              <p:nvSpPr>
                <p:cNvPr id="7006" name="Vrije vorm: vorm 7005">
                  <a:extLst>
                    <a:ext uri="{FF2B5EF4-FFF2-40B4-BE49-F238E27FC236}">
                      <a16:creationId xmlns:a16="http://schemas.microsoft.com/office/drawing/2014/main" id="{7568FCC0-5163-4C0D-B80D-2FE7A6D96FAA}"/>
                    </a:ext>
                  </a:extLst>
                </p:cNvPr>
                <p:cNvSpPr/>
                <p:nvPr/>
              </p:nvSpPr>
              <p:spPr>
                <a:xfrm>
                  <a:off x="6790890" y="1970269"/>
                  <a:ext cx="15310" cy="10107"/>
                </a:xfrm>
                <a:custGeom>
                  <a:avLst/>
                  <a:gdLst>
                    <a:gd name="connsiteX0" fmla="*/ 15311 w 15310"/>
                    <a:gd name="connsiteY0" fmla="*/ 10107 h 10107"/>
                    <a:gd name="connsiteX1" fmla="*/ 5981 w 15310"/>
                    <a:gd name="connsiteY1" fmla="*/ 3947 h 10107"/>
                    <a:gd name="connsiteX2" fmla="*/ 0 w 15310"/>
                    <a:gd name="connsiteY2" fmla="*/ 0 h 10107"/>
                  </a:gdLst>
                  <a:ahLst/>
                  <a:cxnLst>
                    <a:cxn ang="0">
                      <a:pos x="connsiteX0" y="connsiteY0"/>
                    </a:cxn>
                    <a:cxn ang="0">
                      <a:pos x="connsiteX1" y="connsiteY1"/>
                    </a:cxn>
                    <a:cxn ang="0">
                      <a:pos x="connsiteX2" y="connsiteY2"/>
                    </a:cxn>
                  </a:cxnLst>
                  <a:rect l="l" t="t" r="r" b="b"/>
                  <a:pathLst>
                    <a:path w="15310" h="10107">
                      <a:moveTo>
                        <a:pt x="15311" y="10107"/>
                      </a:moveTo>
                      <a:lnTo>
                        <a:pt x="5981" y="394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07" name="Vrije vorm: vorm 7006">
                  <a:extLst>
                    <a:ext uri="{FF2B5EF4-FFF2-40B4-BE49-F238E27FC236}">
                      <a16:creationId xmlns:a16="http://schemas.microsoft.com/office/drawing/2014/main" id="{CAE6321D-F7C2-4EBF-8309-5FE3759146C9}"/>
                    </a:ext>
                  </a:extLst>
                </p:cNvPr>
                <p:cNvSpPr/>
                <p:nvPr/>
              </p:nvSpPr>
              <p:spPr>
                <a:xfrm>
                  <a:off x="6924739" y="1717225"/>
                  <a:ext cx="3050" cy="717"/>
                </a:xfrm>
                <a:custGeom>
                  <a:avLst/>
                  <a:gdLst>
                    <a:gd name="connsiteX0" fmla="*/ 3050 w 3050"/>
                    <a:gd name="connsiteY0" fmla="*/ 718 h 717"/>
                    <a:gd name="connsiteX1" fmla="*/ 0 w 3050"/>
                    <a:gd name="connsiteY1" fmla="*/ 0 h 717"/>
                  </a:gdLst>
                  <a:ahLst/>
                  <a:cxnLst>
                    <a:cxn ang="0">
                      <a:pos x="connsiteX0" y="connsiteY0"/>
                    </a:cxn>
                    <a:cxn ang="0">
                      <a:pos x="connsiteX1" y="connsiteY1"/>
                    </a:cxn>
                  </a:cxnLst>
                  <a:rect l="l" t="t" r="r" b="b"/>
                  <a:pathLst>
                    <a:path w="3050" h="717">
                      <a:moveTo>
                        <a:pt x="3050" y="718"/>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08" name="Vrije vorm: vorm 7007">
                  <a:extLst>
                    <a:ext uri="{FF2B5EF4-FFF2-40B4-BE49-F238E27FC236}">
                      <a16:creationId xmlns:a16="http://schemas.microsoft.com/office/drawing/2014/main" id="{38BD8DED-4FA6-44F7-A4B6-871117AD6D60}"/>
                    </a:ext>
                  </a:extLst>
                </p:cNvPr>
                <p:cNvSpPr/>
                <p:nvPr/>
              </p:nvSpPr>
              <p:spPr>
                <a:xfrm>
                  <a:off x="6771453" y="1961418"/>
                  <a:ext cx="4246" cy="5562"/>
                </a:xfrm>
                <a:custGeom>
                  <a:avLst/>
                  <a:gdLst>
                    <a:gd name="connsiteX0" fmla="*/ 4246 w 4246"/>
                    <a:gd name="connsiteY0" fmla="*/ 0 h 5562"/>
                    <a:gd name="connsiteX1" fmla="*/ 4007 w 4246"/>
                    <a:gd name="connsiteY1" fmla="*/ 299 h 5562"/>
                    <a:gd name="connsiteX2" fmla="*/ 3947 w 4246"/>
                    <a:gd name="connsiteY2" fmla="*/ 359 h 5562"/>
                    <a:gd name="connsiteX3" fmla="*/ 3828 w 4246"/>
                    <a:gd name="connsiteY3" fmla="*/ 538 h 5562"/>
                    <a:gd name="connsiteX4" fmla="*/ 3229 w 4246"/>
                    <a:gd name="connsiteY4" fmla="*/ 1316 h 5562"/>
                    <a:gd name="connsiteX5" fmla="*/ 3170 w 4246"/>
                    <a:gd name="connsiteY5" fmla="*/ 1376 h 5562"/>
                    <a:gd name="connsiteX6" fmla="*/ 2153 w 4246"/>
                    <a:gd name="connsiteY6" fmla="*/ 2751 h 5562"/>
                    <a:gd name="connsiteX7" fmla="*/ 0 w 4246"/>
                    <a:gd name="connsiteY7" fmla="*/ 5562 h 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46" h="5562">
                      <a:moveTo>
                        <a:pt x="4246" y="0"/>
                      </a:moveTo>
                      <a:lnTo>
                        <a:pt x="4007" y="299"/>
                      </a:lnTo>
                      <a:lnTo>
                        <a:pt x="3947" y="359"/>
                      </a:lnTo>
                      <a:lnTo>
                        <a:pt x="3828" y="538"/>
                      </a:lnTo>
                      <a:lnTo>
                        <a:pt x="3229" y="1316"/>
                      </a:lnTo>
                      <a:lnTo>
                        <a:pt x="3170" y="1376"/>
                      </a:lnTo>
                      <a:lnTo>
                        <a:pt x="2153" y="2751"/>
                      </a:lnTo>
                      <a:lnTo>
                        <a:pt x="0" y="5562"/>
                      </a:lnTo>
                    </a:path>
                  </a:pathLst>
                </a:custGeom>
                <a:noFill/>
                <a:ln w="6350" cap="rnd">
                  <a:solidFill>
                    <a:schemeClr val="bg1">
                      <a:alpha val="40000"/>
                    </a:schemeClr>
                  </a:solidFill>
                  <a:prstDash val="solid"/>
                  <a:round/>
                </a:ln>
              </p:spPr>
              <p:txBody>
                <a:bodyPr rtlCol="0" anchor="ctr"/>
                <a:lstStyle/>
                <a:p>
                  <a:endParaRPr lang="en-GB"/>
                </a:p>
              </p:txBody>
            </p:sp>
            <p:sp>
              <p:nvSpPr>
                <p:cNvPr id="7009" name="Vrije vorm: vorm 7008">
                  <a:extLst>
                    <a:ext uri="{FF2B5EF4-FFF2-40B4-BE49-F238E27FC236}">
                      <a16:creationId xmlns:a16="http://schemas.microsoft.com/office/drawing/2014/main" id="{62D3548A-0BD2-4495-9FD9-9C558052226C}"/>
                    </a:ext>
                  </a:extLst>
                </p:cNvPr>
                <p:cNvSpPr/>
                <p:nvPr/>
              </p:nvSpPr>
              <p:spPr>
                <a:xfrm>
                  <a:off x="6769300" y="1957829"/>
                  <a:ext cx="896" cy="1196"/>
                </a:xfrm>
                <a:custGeom>
                  <a:avLst/>
                  <a:gdLst>
                    <a:gd name="connsiteX0" fmla="*/ 0 w 896"/>
                    <a:gd name="connsiteY0" fmla="*/ 1196 h 1196"/>
                    <a:gd name="connsiteX1" fmla="*/ 837 w 896"/>
                    <a:gd name="connsiteY1" fmla="*/ 60 h 1196"/>
                    <a:gd name="connsiteX2" fmla="*/ 897 w 896"/>
                    <a:gd name="connsiteY2" fmla="*/ 0 h 1196"/>
                  </a:gdLst>
                  <a:ahLst/>
                  <a:cxnLst>
                    <a:cxn ang="0">
                      <a:pos x="connsiteX0" y="connsiteY0"/>
                    </a:cxn>
                    <a:cxn ang="0">
                      <a:pos x="connsiteX1" y="connsiteY1"/>
                    </a:cxn>
                    <a:cxn ang="0">
                      <a:pos x="connsiteX2" y="connsiteY2"/>
                    </a:cxn>
                  </a:cxnLst>
                  <a:rect l="l" t="t" r="r" b="b"/>
                  <a:pathLst>
                    <a:path w="896" h="1196">
                      <a:moveTo>
                        <a:pt x="0" y="1196"/>
                      </a:moveTo>
                      <a:lnTo>
                        <a:pt x="837" y="60"/>
                      </a:lnTo>
                      <a:lnTo>
                        <a:pt x="897" y="0"/>
                      </a:lnTo>
                    </a:path>
                  </a:pathLst>
                </a:custGeom>
                <a:noFill/>
                <a:ln w="6350" cap="rnd">
                  <a:solidFill>
                    <a:schemeClr val="bg1">
                      <a:alpha val="40000"/>
                    </a:schemeClr>
                  </a:solidFill>
                  <a:prstDash val="solid"/>
                  <a:round/>
                </a:ln>
              </p:spPr>
              <p:txBody>
                <a:bodyPr rtlCol="0" anchor="ctr"/>
                <a:lstStyle/>
                <a:p>
                  <a:endParaRPr lang="en-GB"/>
                </a:p>
              </p:txBody>
            </p:sp>
            <p:sp>
              <p:nvSpPr>
                <p:cNvPr id="7010" name="Vrije vorm: vorm 7009">
                  <a:extLst>
                    <a:ext uri="{FF2B5EF4-FFF2-40B4-BE49-F238E27FC236}">
                      <a16:creationId xmlns:a16="http://schemas.microsoft.com/office/drawing/2014/main" id="{98619101-52BA-4BB6-81A0-4090F062EA30}"/>
                    </a:ext>
                  </a:extLst>
                </p:cNvPr>
                <p:cNvSpPr/>
                <p:nvPr/>
              </p:nvSpPr>
              <p:spPr>
                <a:xfrm>
                  <a:off x="6786823" y="1915486"/>
                  <a:ext cx="5083" cy="8552"/>
                </a:xfrm>
                <a:custGeom>
                  <a:avLst/>
                  <a:gdLst>
                    <a:gd name="connsiteX0" fmla="*/ 5083 w 5083"/>
                    <a:gd name="connsiteY0" fmla="*/ 0 h 8552"/>
                    <a:gd name="connsiteX1" fmla="*/ 3708 w 5083"/>
                    <a:gd name="connsiteY1" fmla="*/ 2332 h 8552"/>
                    <a:gd name="connsiteX2" fmla="*/ 3588 w 5083"/>
                    <a:gd name="connsiteY2" fmla="*/ 2512 h 8552"/>
                    <a:gd name="connsiteX3" fmla="*/ 2871 w 5083"/>
                    <a:gd name="connsiteY3" fmla="*/ 3708 h 8552"/>
                    <a:gd name="connsiteX4" fmla="*/ 1914 w 5083"/>
                    <a:gd name="connsiteY4" fmla="*/ 5323 h 8552"/>
                    <a:gd name="connsiteX5" fmla="*/ 0 w 5083"/>
                    <a:gd name="connsiteY5" fmla="*/ 8552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3" h="8552">
                      <a:moveTo>
                        <a:pt x="5083" y="0"/>
                      </a:moveTo>
                      <a:lnTo>
                        <a:pt x="3708" y="2332"/>
                      </a:lnTo>
                      <a:lnTo>
                        <a:pt x="3588" y="2512"/>
                      </a:lnTo>
                      <a:lnTo>
                        <a:pt x="2871" y="3708"/>
                      </a:lnTo>
                      <a:lnTo>
                        <a:pt x="1914" y="5323"/>
                      </a:lnTo>
                      <a:lnTo>
                        <a:pt x="0" y="8552"/>
                      </a:lnTo>
                    </a:path>
                  </a:pathLst>
                </a:custGeom>
                <a:noFill/>
                <a:ln w="6350" cap="rnd">
                  <a:solidFill>
                    <a:schemeClr val="bg1">
                      <a:alpha val="40000"/>
                    </a:schemeClr>
                  </a:solidFill>
                  <a:prstDash val="solid"/>
                  <a:round/>
                </a:ln>
              </p:spPr>
              <p:txBody>
                <a:bodyPr rtlCol="0" anchor="ctr"/>
                <a:lstStyle/>
                <a:p>
                  <a:endParaRPr lang="en-GB"/>
                </a:p>
              </p:txBody>
            </p:sp>
            <p:sp>
              <p:nvSpPr>
                <p:cNvPr id="7011" name="Vrije vorm: vorm 7010">
                  <a:extLst>
                    <a:ext uri="{FF2B5EF4-FFF2-40B4-BE49-F238E27FC236}">
                      <a16:creationId xmlns:a16="http://schemas.microsoft.com/office/drawing/2014/main" id="{B7754200-DB47-42AF-92D6-FDEA7EB4EEE8}"/>
                    </a:ext>
                  </a:extLst>
                </p:cNvPr>
                <p:cNvSpPr/>
                <p:nvPr/>
              </p:nvSpPr>
              <p:spPr>
                <a:xfrm>
                  <a:off x="6858473" y="1798323"/>
                  <a:ext cx="1016" cy="1614"/>
                </a:xfrm>
                <a:custGeom>
                  <a:avLst/>
                  <a:gdLst>
                    <a:gd name="connsiteX0" fmla="*/ 0 w 1016"/>
                    <a:gd name="connsiteY0" fmla="*/ 1615 h 1614"/>
                    <a:gd name="connsiteX1" fmla="*/ 956 w 1016"/>
                    <a:gd name="connsiteY1" fmla="*/ 60 h 1614"/>
                    <a:gd name="connsiteX2" fmla="*/ 1016 w 1016"/>
                    <a:gd name="connsiteY2" fmla="*/ 0 h 1614"/>
                  </a:gdLst>
                  <a:ahLst/>
                  <a:cxnLst>
                    <a:cxn ang="0">
                      <a:pos x="connsiteX0" y="connsiteY0"/>
                    </a:cxn>
                    <a:cxn ang="0">
                      <a:pos x="connsiteX1" y="connsiteY1"/>
                    </a:cxn>
                    <a:cxn ang="0">
                      <a:pos x="connsiteX2" y="connsiteY2"/>
                    </a:cxn>
                  </a:cxnLst>
                  <a:rect l="l" t="t" r="r" b="b"/>
                  <a:pathLst>
                    <a:path w="1016" h="1614">
                      <a:moveTo>
                        <a:pt x="0" y="1615"/>
                      </a:moveTo>
                      <a:lnTo>
                        <a:pt x="956" y="60"/>
                      </a:lnTo>
                      <a:lnTo>
                        <a:pt x="1016" y="0"/>
                      </a:lnTo>
                    </a:path>
                  </a:pathLst>
                </a:custGeom>
                <a:noFill/>
                <a:ln w="6350" cap="rnd">
                  <a:solidFill>
                    <a:schemeClr val="bg1">
                      <a:alpha val="40000"/>
                    </a:schemeClr>
                  </a:solidFill>
                  <a:prstDash val="solid"/>
                  <a:round/>
                </a:ln>
              </p:spPr>
              <p:txBody>
                <a:bodyPr rtlCol="0" anchor="ctr"/>
                <a:lstStyle/>
                <a:p>
                  <a:endParaRPr lang="en-GB"/>
                </a:p>
              </p:txBody>
            </p:sp>
            <p:sp>
              <p:nvSpPr>
                <p:cNvPr id="7012" name="Vrije vorm: vorm 7011">
                  <a:extLst>
                    <a:ext uri="{FF2B5EF4-FFF2-40B4-BE49-F238E27FC236}">
                      <a16:creationId xmlns:a16="http://schemas.microsoft.com/office/drawing/2014/main" id="{C12FEAEA-037A-41F5-A89E-329586E0DCDA}"/>
                    </a:ext>
                  </a:extLst>
                </p:cNvPr>
                <p:cNvSpPr/>
                <p:nvPr/>
              </p:nvSpPr>
              <p:spPr>
                <a:xfrm>
                  <a:off x="6863735" y="1789472"/>
                  <a:ext cx="1256" cy="1794"/>
                </a:xfrm>
                <a:custGeom>
                  <a:avLst/>
                  <a:gdLst>
                    <a:gd name="connsiteX0" fmla="*/ 1256 w 1256"/>
                    <a:gd name="connsiteY0" fmla="*/ 0 h 1794"/>
                    <a:gd name="connsiteX1" fmla="*/ 0 w 1256"/>
                    <a:gd name="connsiteY1" fmla="*/ 1794 h 1794"/>
                  </a:gdLst>
                  <a:ahLst/>
                  <a:cxnLst>
                    <a:cxn ang="0">
                      <a:pos x="connsiteX0" y="connsiteY0"/>
                    </a:cxn>
                    <a:cxn ang="0">
                      <a:pos x="connsiteX1" y="connsiteY1"/>
                    </a:cxn>
                  </a:cxnLst>
                  <a:rect l="l" t="t" r="r" b="b"/>
                  <a:pathLst>
                    <a:path w="1256" h="1794">
                      <a:moveTo>
                        <a:pt x="1256" y="0"/>
                      </a:moveTo>
                      <a:lnTo>
                        <a:pt x="0" y="1794"/>
                      </a:lnTo>
                    </a:path>
                  </a:pathLst>
                </a:custGeom>
                <a:noFill/>
                <a:ln w="6350" cap="rnd">
                  <a:solidFill>
                    <a:schemeClr val="bg1">
                      <a:alpha val="40000"/>
                    </a:schemeClr>
                  </a:solidFill>
                  <a:prstDash val="solid"/>
                  <a:round/>
                </a:ln>
              </p:spPr>
              <p:txBody>
                <a:bodyPr rtlCol="0" anchor="ctr"/>
                <a:lstStyle/>
                <a:p>
                  <a:endParaRPr lang="en-GB"/>
                </a:p>
              </p:txBody>
            </p:sp>
            <p:sp>
              <p:nvSpPr>
                <p:cNvPr id="7013" name="Vrije vorm: vorm 7012">
                  <a:extLst>
                    <a:ext uri="{FF2B5EF4-FFF2-40B4-BE49-F238E27FC236}">
                      <a16:creationId xmlns:a16="http://schemas.microsoft.com/office/drawing/2014/main" id="{274E15F1-DA35-4704-A012-D53578DBE48A}"/>
                    </a:ext>
                  </a:extLst>
                </p:cNvPr>
                <p:cNvSpPr/>
                <p:nvPr/>
              </p:nvSpPr>
              <p:spPr>
                <a:xfrm>
                  <a:off x="6859190" y="1798383"/>
                  <a:ext cx="238" cy="179"/>
                </a:xfrm>
                <a:custGeom>
                  <a:avLst/>
                  <a:gdLst>
                    <a:gd name="connsiteX0" fmla="*/ 0 w 238"/>
                    <a:gd name="connsiteY0" fmla="*/ 179 h 179"/>
                    <a:gd name="connsiteX1" fmla="*/ 239 w 238"/>
                    <a:gd name="connsiteY1" fmla="*/ 0 h 179"/>
                  </a:gdLst>
                  <a:ahLst/>
                  <a:cxnLst>
                    <a:cxn ang="0">
                      <a:pos x="connsiteX0" y="connsiteY0"/>
                    </a:cxn>
                    <a:cxn ang="0">
                      <a:pos x="connsiteX1" y="connsiteY1"/>
                    </a:cxn>
                  </a:cxnLst>
                  <a:rect l="l" t="t" r="r" b="b"/>
                  <a:pathLst>
                    <a:path w="238" h="179">
                      <a:moveTo>
                        <a:pt x="0" y="179"/>
                      </a:moveTo>
                      <a:lnTo>
                        <a:pt x="239" y="0"/>
                      </a:lnTo>
                    </a:path>
                  </a:pathLst>
                </a:custGeom>
                <a:noFill/>
                <a:ln w="6350" cap="rnd">
                  <a:solidFill>
                    <a:schemeClr val="bg1">
                      <a:alpha val="40000"/>
                    </a:schemeClr>
                  </a:solidFill>
                  <a:prstDash val="solid"/>
                  <a:round/>
                </a:ln>
              </p:spPr>
              <p:txBody>
                <a:bodyPr rtlCol="0" anchor="ctr"/>
                <a:lstStyle/>
                <a:p>
                  <a:endParaRPr lang="en-GB"/>
                </a:p>
              </p:txBody>
            </p:sp>
            <p:sp>
              <p:nvSpPr>
                <p:cNvPr id="7014" name="Vrije vorm: vorm 7013">
                  <a:extLst>
                    <a:ext uri="{FF2B5EF4-FFF2-40B4-BE49-F238E27FC236}">
                      <a16:creationId xmlns:a16="http://schemas.microsoft.com/office/drawing/2014/main" id="{C0CC4724-9149-43A2-BBFA-86F23C582131}"/>
                    </a:ext>
                  </a:extLst>
                </p:cNvPr>
                <p:cNvSpPr/>
                <p:nvPr/>
              </p:nvSpPr>
              <p:spPr>
                <a:xfrm>
                  <a:off x="6766967" y="1956514"/>
                  <a:ext cx="1973" cy="1495"/>
                </a:xfrm>
                <a:custGeom>
                  <a:avLst/>
                  <a:gdLst>
                    <a:gd name="connsiteX0" fmla="*/ 0 w 1973"/>
                    <a:gd name="connsiteY0" fmla="*/ 1495 h 1495"/>
                    <a:gd name="connsiteX1" fmla="*/ 179 w 1973"/>
                    <a:gd name="connsiteY1" fmla="*/ 1376 h 1495"/>
                    <a:gd name="connsiteX2" fmla="*/ 299 w 1973"/>
                    <a:gd name="connsiteY2" fmla="*/ 1316 h 1495"/>
                    <a:gd name="connsiteX3" fmla="*/ 419 w 1973"/>
                    <a:gd name="connsiteY3" fmla="*/ 1196 h 1495"/>
                    <a:gd name="connsiteX4" fmla="*/ 1974 w 1973"/>
                    <a:gd name="connsiteY4" fmla="*/ 0 h 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 h="1495">
                      <a:moveTo>
                        <a:pt x="0" y="1495"/>
                      </a:moveTo>
                      <a:lnTo>
                        <a:pt x="179" y="1376"/>
                      </a:lnTo>
                      <a:lnTo>
                        <a:pt x="299" y="1316"/>
                      </a:lnTo>
                      <a:lnTo>
                        <a:pt x="419" y="1196"/>
                      </a:lnTo>
                      <a:lnTo>
                        <a:pt x="1974" y="0"/>
                      </a:lnTo>
                    </a:path>
                  </a:pathLst>
                </a:custGeom>
                <a:noFill/>
                <a:ln w="6350" cap="rnd">
                  <a:solidFill>
                    <a:schemeClr val="bg1">
                      <a:alpha val="40000"/>
                    </a:schemeClr>
                  </a:solidFill>
                  <a:prstDash val="solid"/>
                  <a:round/>
                </a:ln>
              </p:spPr>
              <p:txBody>
                <a:bodyPr rtlCol="0" anchor="ctr"/>
                <a:lstStyle/>
                <a:p>
                  <a:endParaRPr lang="en-GB"/>
                </a:p>
              </p:txBody>
            </p:sp>
            <p:sp>
              <p:nvSpPr>
                <p:cNvPr id="7015" name="Vrije vorm: vorm 7014">
                  <a:extLst>
                    <a:ext uri="{FF2B5EF4-FFF2-40B4-BE49-F238E27FC236}">
                      <a16:creationId xmlns:a16="http://schemas.microsoft.com/office/drawing/2014/main" id="{B36192A4-7E8B-404C-B748-913FA6C4D8B2}"/>
                    </a:ext>
                  </a:extLst>
                </p:cNvPr>
                <p:cNvSpPr/>
                <p:nvPr/>
              </p:nvSpPr>
              <p:spPr>
                <a:xfrm>
                  <a:off x="6783474" y="1912735"/>
                  <a:ext cx="4066" cy="6937"/>
                </a:xfrm>
                <a:custGeom>
                  <a:avLst/>
                  <a:gdLst>
                    <a:gd name="connsiteX0" fmla="*/ 0 w 4066"/>
                    <a:gd name="connsiteY0" fmla="*/ 6938 h 6937"/>
                    <a:gd name="connsiteX1" fmla="*/ 778 w 4066"/>
                    <a:gd name="connsiteY1" fmla="*/ 5622 h 6937"/>
                    <a:gd name="connsiteX2" fmla="*/ 4067 w 4066"/>
                    <a:gd name="connsiteY2" fmla="*/ 0 h 6937"/>
                  </a:gdLst>
                  <a:ahLst/>
                  <a:cxnLst>
                    <a:cxn ang="0">
                      <a:pos x="connsiteX0" y="connsiteY0"/>
                    </a:cxn>
                    <a:cxn ang="0">
                      <a:pos x="connsiteX1" y="connsiteY1"/>
                    </a:cxn>
                    <a:cxn ang="0">
                      <a:pos x="connsiteX2" y="connsiteY2"/>
                    </a:cxn>
                  </a:cxnLst>
                  <a:rect l="l" t="t" r="r" b="b"/>
                  <a:pathLst>
                    <a:path w="4066" h="6937">
                      <a:moveTo>
                        <a:pt x="0" y="6938"/>
                      </a:moveTo>
                      <a:lnTo>
                        <a:pt x="778" y="5622"/>
                      </a:lnTo>
                      <a:lnTo>
                        <a:pt x="4067" y="0"/>
                      </a:lnTo>
                    </a:path>
                  </a:pathLst>
                </a:custGeom>
                <a:noFill/>
                <a:ln w="6350" cap="rnd">
                  <a:solidFill>
                    <a:schemeClr val="bg1">
                      <a:alpha val="40000"/>
                    </a:schemeClr>
                  </a:solidFill>
                  <a:prstDash val="solid"/>
                  <a:round/>
                </a:ln>
              </p:spPr>
              <p:txBody>
                <a:bodyPr rtlCol="0" anchor="ctr"/>
                <a:lstStyle/>
                <a:p>
                  <a:endParaRPr lang="en-GB"/>
                </a:p>
              </p:txBody>
            </p:sp>
            <p:sp>
              <p:nvSpPr>
                <p:cNvPr id="7016" name="Vrije vorm: vorm 7015">
                  <a:extLst>
                    <a:ext uri="{FF2B5EF4-FFF2-40B4-BE49-F238E27FC236}">
                      <a16:creationId xmlns:a16="http://schemas.microsoft.com/office/drawing/2014/main" id="{22DDDAB0-B223-4FCB-9F39-7042F4E991A9}"/>
                    </a:ext>
                  </a:extLst>
                </p:cNvPr>
                <p:cNvSpPr/>
                <p:nvPr/>
              </p:nvSpPr>
              <p:spPr>
                <a:xfrm>
                  <a:off x="6798366" y="1878166"/>
                  <a:ext cx="2631" cy="5681"/>
                </a:xfrm>
                <a:custGeom>
                  <a:avLst/>
                  <a:gdLst>
                    <a:gd name="connsiteX0" fmla="*/ 0 w 2631"/>
                    <a:gd name="connsiteY0" fmla="*/ 5682 h 5681"/>
                    <a:gd name="connsiteX1" fmla="*/ 120 w 2631"/>
                    <a:gd name="connsiteY1" fmla="*/ 5442 h 5681"/>
                    <a:gd name="connsiteX2" fmla="*/ 120 w 2631"/>
                    <a:gd name="connsiteY2" fmla="*/ 5383 h 5681"/>
                    <a:gd name="connsiteX3" fmla="*/ 179 w 2631"/>
                    <a:gd name="connsiteY3" fmla="*/ 5263 h 5681"/>
                    <a:gd name="connsiteX4" fmla="*/ 299 w 2631"/>
                    <a:gd name="connsiteY4" fmla="*/ 5084 h 5681"/>
                    <a:gd name="connsiteX5" fmla="*/ 479 w 2631"/>
                    <a:gd name="connsiteY5" fmla="*/ 4665 h 5681"/>
                    <a:gd name="connsiteX6" fmla="*/ 538 w 2631"/>
                    <a:gd name="connsiteY6" fmla="*/ 4486 h 5681"/>
                    <a:gd name="connsiteX7" fmla="*/ 1375 w 2631"/>
                    <a:gd name="connsiteY7" fmla="*/ 2751 h 5681"/>
                    <a:gd name="connsiteX8" fmla="*/ 1495 w 2631"/>
                    <a:gd name="connsiteY8" fmla="*/ 2452 h 5681"/>
                    <a:gd name="connsiteX9" fmla="*/ 1555 w 2631"/>
                    <a:gd name="connsiteY9" fmla="*/ 2273 h 5681"/>
                    <a:gd name="connsiteX10" fmla="*/ 2333 w 2631"/>
                    <a:gd name="connsiteY10" fmla="*/ 658 h 5681"/>
                    <a:gd name="connsiteX11" fmla="*/ 2632 w 2631"/>
                    <a:gd name="connsiteY11" fmla="*/ 0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1" h="5681">
                      <a:moveTo>
                        <a:pt x="0" y="5682"/>
                      </a:moveTo>
                      <a:lnTo>
                        <a:pt x="120" y="5442"/>
                      </a:lnTo>
                      <a:lnTo>
                        <a:pt x="120" y="5383"/>
                      </a:lnTo>
                      <a:lnTo>
                        <a:pt x="179" y="5263"/>
                      </a:lnTo>
                      <a:lnTo>
                        <a:pt x="299" y="5084"/>
                      </a:lnTo>
                      <a:lnTo>
                        <a:pt x="479" y="4665"/>
                      </a:lnTo>
                      <a:lnTo>
                        <a:pt x="538" y="4486"/>
                      </a:lnTo>
                      <a:lnTo>
                        <a:pt x="1375" y="2751"/>
                      </a:lnTo>
                      <a:lnTo>
                        <a:pt x="1495" y="2452"/>
                      </a:lnTo>
                      <a:lnTo>
                        <a:pt x="1555" y="2273"/>
                      </a:lnTo>
                      <a:lnTo>
                        <a:pt x="2333" y="658"/>
                      </a:lnTo>
                      <a:lnTo>
                        <a:pt x="2632" y="0"/>
                      </a:lnTo>
                    </a:path>
                  </a:pathLst>
                </a:custGeom>
                <a:noFill/>
                <a:ln w="6350" cap="rnd">
                  <a:solidFill>
                    <a:schemeClr val="bg1">
                      <a:alpha val="40000"/>
                    </a:schemeClr>
                  </a:solidFill>
                  <a:prstDash val="solid"/>
                  <a:round/>
                </a:ln>
              </p:spPr>
              <p:txBody>
                <a:bodyPr rtlCol="0" anchor="ctr"/>
                <a:lstStyle/>
                <a:p>
                  <a:endParaRPr lang="en-GB"/>
                </a:p>
              </p:txBody>
            </p:sp>
            <p:sp>
              <p:nvSpPr>
                <p:cNvPr id="7017" name="Vrije vorm: vorm 7016">
                  <a:extLst>
                    <a:ext uri="{FF2B5EF4-FFF2-40B4-BE49-F238E27FC236}">
                      <a16:creationId xmlns:a16="http://schemas.microsoft.com/office/drawing/2014/main" id="{17E6515D-95E7-4FBD-84FC-EF5AD530C69D}"/>
                    </a:ext>
                  </a:extLst>
                </p:cNvPr>
                <p:cNvSpPr/>
                <p:nvPr/>
              </p:nvSpPr>
              <p:spPr>
                <a:xfrm>
                  <a:off x="6810387" y="1858011"/>
                  <a:ext cx="2152" cy="6040"/>
                </a:xfrm>
                <a:custGeom>
                  <a:avLst/>
                  <a:gdLst>
                    <a:gd name="connsiteX0" fmla="*/ 0 w 2152"/>
                    <a:gd name="connsiteY0" fmla="*/ 6040 h 6040"/>
                    <a:gd name="connsiteX1" fmla="*/ 1017 w 2152"/>
                    <a:gd name="connsiteY1" fmla="*/ 3230 h 6040"/>
                    <a:gd name="connsiteX2" fmla="*/ 1017 w 2152"/>
                    <a:gd name="connsiteY2" fmla="*/ 3170 h 6040"/>
                    <a:gd name="connsiteX3" fmla="*/ 1256 w 2152"/>
                    <a:gd name="connsiteY3" fmla="*/ 2512 h 6040"/>
                    <a:gd name="connsiteX4" fmla="*/ 1555 w 2152"/>
                    <a:gd name="connsiteY4" fmla="*/ 1615 h 6040"/>
                    <a:gd name="connsiteX5" fmla="*/ 1555 w 2152"/>
                    <a:gd name="connsiteY5" fmla="*/ 1615 h 6040"/>
                    <a:gd name="connsiteX6" fmla="*/ 2153 w 2152"/>
                    <a:gd name="connsiteY6" fmla="*/ 0 h 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2" h="6040">
                      <a:moveTo>
                        <a:pt x="0" y="6040"/>
                      </a:moveTo>
                      <a:lnTo>
                        <a:pt x="1017" y="3230"/>
                      </a:lnTo>
                      <a:lnTo>
                        <a:pt x="1017" y="3170"/>
                      </a:lnTo>
                      <a:lnTo>
                        <a:pt x="1256" y="2512"/>
                      </a:lnTo>
                      <a:lnTo>
                        <a:pt x="1555" y="1615"/>
                      </a:lnTo>
                      <a:lnTo>
                        <a:pt x="1555" y="1615"/>
                      </a:lnTo>
                      <a:lnTo>
                        <a:pt x="2153" y="0"/>
                      </a:lnTo>
                    </a:path>
                  </a:pathLst>
                </a:custGeom>
                <a:noFill/>
                <a:ln w="6350" cap="rnd">
                  <a:solidFill>
                    <a:schemeClr val="bg1">
                      <a:alpha val="40000"/>
                    </a:schemeClr>
                  </a:solidFill>
                  <a:prstDash val="solid"/>
                  <a:round/>
                </a:ln>
              </p:spPr>
              <p:txBody>
                <a:bodyPr rtlCol="0" anchor="ctr"/>
                <a:lstStyle/>
                <a:p>
                  <a:endParaRPr lang="en-GB"/>
                </a:p>
              </p:txBody>
            </p:sp>
            <p:sp>
              <p:nvSpPr>
                <p:cNvPr id="7018" name="Vrije vorm: vorm 7017">
                  <a:extLst>
                    <a:ext uri="{FF2B5EF4-FFF2-40B4-BE49-F238E27FC236}">
                      <a16:creationId xmlns:a16="http://schemas.microsoft.com/office/drawing/2014/main" id="{0B58A89C-9C79-4620-A0AF-A3627B79A8BC}"/>
                    </a:ext>
                  </a:extLst>
                </p:cNvPr>
                <p:cNvSpPr/>
                <p:nvPr/>
              </p:nvSpPr>
              <p:spPr>
                <a:xfrm>
                  <a:off x="6762242" y="1940306"/>
                  <a:ext cx="11602" cy="7595"/>
                </a:xfrm>
                <a:custGeom>
                  <a:avLst/>
                  <a:gdLst>
                    <a:gd name="connsiteX0" fmla="*/ 11603 w 11602"/>
                    <a:gd name="connsiteY0" fmla="*/ 7596 h 7595"/>
                    <a:gd name="connsiteX1" fmla="*/ 9031 w 11602"/>
                    <a:gd name="connsiteY1" fmla="*/ 5921 h 7595"/>
                    <a:gd name="connsiteX2" fmla="*/ 5323 w 11602"/>
                    <a:gd name="connsiteY2" fmla="*/ 3469 h 7595"/>
                    <a:gd name="connsiteX3" fmla="*/ 4127 w 11602"/>
                    <a:gd name="connsiteY3" fmla="*/ 2691 h 7595"/>
                    <a:gd name="connsiteX4" fmla="*/ 1675 w 11602"/>
                    <a:gd name="connsiteY4" fmla="*/ 1077 h 7595"/>
                    <a:gd name="connsiteX5" fmla="*/ 778 w 11602"/>
                    <a:gd name="connsiteY5" fmla="*/ 478 h 7595"/>
                    <a:gd name="connsiteX6" fmla="*/ 299 w 11602"/>
                    <a:gd name="connsiteY6" fmla="*/ 179 h 7595"/>
                    <a:gd name="connsiteX7" fmla="*/ 0 w 11602"/>
                    <a:gd name="connsiteY7" fmla="*/ 0 h 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02" h="7595">
                      <a:moveTo>
                        <a:pt x="11603" y="7596"/>
                      </a:moveTo>
                      <a:lnTo>
                        <a:pt x="9031" y="5921"/>
                      </a:lnTo>
                      <a:lnTo>
                        <a:pt x="5323" y="3469"/>
                      </a:lnTo>
                      <a:lnTo>
                        <a:pt x="4127" y="2691"/>
                      </a:lnTo>
                      <a:lnTo>
                        <a:pt x="1675" y="1077"/>
                      </a:lnTo>
                      <a:lnTo>
                        <a:pt x="778" y="478"/>
                      </a:lnTo>
                      <a:lnTo>
                        <a:pt x="299" y="17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19" name="Vrije vorm: vorm 7018">
                  <a:extLst>
                    <a:ext uri="{FF2B5EF4-FFF2-40B4-BE49-F238E27FC236}">
                      <a16:creationId xmlns:a16="http://schemas.microsoft.com/office/drawing/2014/main" id="{D2F7E19F-2EF0-41AC-99AE-76D7854DCCDC}"/>
                    </a:ext>
                  </a:extLst>
                </p:cNvPr>
                <p:cNvSpPr/>
                <p:nvPr/>
              </p:nvSpPr>
              <p:spPr>
                <a:xfrm>
                  <a:off x="6748905" y="1954420"/>
                  <a:ext cx="657" cy="837"/>
                </a:xfrm>
                <a:custGeom>
                  <a:avLst/>
                  <a:gdLst>
                    <a:gd name="connsiteX0" fmla="*/ 0 w 657"/>
                    <a:gd name="connsiteY0" fmla="*/ 837 h 837"/>
                    <a:gd name="connsiteX1" fmla="*/ 658 w 657"/>
                    <a:gd name="connsiteY1" fmla="*/ 0 h 837"/>
                  </a:gdLst>
                  <a:ahLst/>
                  <a:cxnLst>
                    <a:cxn ang="0">
                      <a:pos x="connsiteX0" y="connsiteY0"/>
                    </a:cxn>
                    <a:cxn ang="0">
                      <a:pos x="connsiteX1" y="connsiteY1"/>
                    </a:cxn>
                  </a:cxnLst>
                  <a:rect l="l" t="t" r="r" b="b"/>
                  <a:pathLst>
                    <a:path w="657" h="837">
                      <a:moveTo>
                        <a:pt x="0" y="837"/>
                      </a:moveTo>
                      <a:lnTo>
                        <a:pt x="658" y="0"/>
                      </a:lnTo>
                    </a:path>
                  </a:pathLst>
                </a:custGeom>
                <a:noFill/>
                <a:ln w="6350" cap="rnd">
                  <a:solidFill>
                    <a:schemeClr val="bg1">
                      <a:alpha val="40000"/>
                    </a:schemeClr>
                  </a:solidFill>
                  <a:prstDash val="solid"/>
                  <a:round/>
                </a:ln>
              </p:spPr>
              <p:txBody>
                <a:bodyPr rtlCol="0" anchor="ctr"/>
                <a:lstStyle/>
                <a:p>
                  <a:endParaRPr lang="en-GB"/>
                </a:p>
              </p:txBody>
            </p:sp>
            <p:sp>
              <p:nvSpPr>
                <p:cNvPr id="7020" name="Vrije vorm: vorm 7019">
                  <a:extLst>
                    <a:ext uri="{FF2B5EF4-FFF2-40B4-BE49-F238E27FC236}">
                      <a16:creationId xmlns:a16="http://schemas.microsoft.com/office/drawing/2014/main" id="{A3F9634A-5419-4123-ACF2-162F16CEC27E}"/>
                    </a:ext>
                  </a:extLst>
                </p:cNvPr>
                <p:cNvSpPr/>
                <p:nvPr/>
              </p:nvSpPr>
              <p:spPr>
                <a:xfrm>
                  <a:off x="6750759" y="1955198"/>
                  <a:ext cx="538" cy="1614"/>
                </a:xfrm>
                <a:custGeom>
                  <a:avLst/>
                  <a:gdLst>
                    <a:gd name="connsiteX0" fmla="*/ 538 w 538"/>
                    <a:gd name="connsiteY0" fmla="*/ 1615 h 1614"/>
                    <a:gd name="connsiteX1" fmla="*/ 0 w 538"/>
                    <a:gd name="connsiteY1" fmla="*/ 0 h 1614"/>
                  </a:gdLst>
                  <a:ahLst/>
                  <a:cxnLst>
                    <a:cxn ang="0">
                      <a:pos x="connsiteX0" y="connsiteY0"/>
                    </a:cxn>
                    <a:cxn ang="0">
                      <a:pos x="connsiteX1" y="connsiteY1"/>
                    </a:cxn>
                  </a:cxnLst>
                  <a:rect l="l" t="t" r="r" b="b"/>
                  <a:pathLst>
                    <a:path w="538" h="1614">
                      <a:moveTo>
                        <a:pt x="538" y="1615"/>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21" name="Vrije vorm: vorm 7020">
                  <a:extLst>
                    <a:ext uri="{FF2B5EF4-FFF2-40B4-BE49-F238E27FC236}">
                      <a16:creationId xmlns:a16="http://schemas.microsoft.com/office/drawing/2014/main" id="{145B5178-1F95-46BE-9A53-6D2946315C5D}"/>
                    </a:ext>
                  </a:extLst>
                </p:cNvPr>
                <p:cNvSpPr/>
                <p:nvPr/>
              </p:nvSpPr>
              <p:spPr>
                <a:xfrm>
                  <a:off x="6786584" y="1884625"/>
                  <a:ext cx="119" cy="837"/>
                </a:xfrm>
                <a:custGeom>
                  <a:avLst/>
                  <a:gdLst>
                    <a:gd name="connsiteX0" fmla="*/ 120 w 119"/>
                    <a:gd name="connsiteY0" fmla="*/ 0 h 837"/>
                    <a:gd name="connsiteX1" fmla="*/ 0 w 119"/>
                    <a:gd name="connsiteY1" fmla="*/ 837 h 837"/>
                  </a:gdLst>
                  <a:ahLst/>
                  <a:cxnLst>
                    <a:cxn ang="0">
                      <a:pos x="connsiteX0" y="connsiteY0"/>
                    </a:cxn>
                    <a:cxn ang="0">
                      <a:pos x="connsiteX1" y="connsiteY1"/>
                    </a:cxn>
                  </a:cxnLst>
                  <a:rect l="l" t="t" r="r" b="b"/>
                  <a:pathLst>
                    <a:path w="119" h="837">
                      <a:moveTo>
                        <a:pt x="120" y="0"/>
                      </a:moveTo>
                      <a:lnTo>
                        <a:pt x="0" y="837"/>
                      </a:lnTo>
                    </a:path>
                  </a:pathLst>
                </a:custGeom>
                <a:noFill/>
                <a:ln w="6350" cap="rnd">
                  <a:solidFill>
                    <a:schemeClr val="bg1">
                      <a:alpha val="40000"/>
                    </a:schemeClr>
                  </a:solidFill>
                  <a:prstDash val="solid"/>
                  <a:round/>
                </a:ln>
              </p:spPr>
              <p:txBody>
                <a:bodyPr rtlCol="0" anchor="ctr"/>
                <a:lstStyle/>
                <a:p>
                  <a:endParaRPr lang="en-GB"/>
                </a:p>
              </p:txBody>
            </p:sp>
            <p:sp>
              <p:nvSpPr>
                <p:cNvPr id="7022" name="Vrije vorm: vorm 7021">
                  <a:extLst>
                    <a:ext uri="{FF2B5EF4-FFF2-40B4-BE49-F238E27FC236}">
                      <a16:creationId xmlns:a16="http://schemas.microsoft.com/office/drawing/2014/main" id="{C57303EA-6610-42A2-B8AF-192211787863}"/>
                    </a:ext>
                  </a:extLst>
                </p:cNvPr>
                <p:cNvSpPr/>
                <p:nvPr/>
              </p:nvSpPr>
              <p:spPr>
                <a:xfrm>
                  <a:off x="6838437" y="1776913"/>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23" name="Vrije vorm: vorm 7022">
                  <a:extLst>
                    <a:ext uri="{FF2B5EF4-FFF2-40B4-BE49-F238E27FC236}">
                      <a16:creationId xmlns:a16="http://schemas.microsoft.com/office/drawing/2014/main" id="{95A8D983-5277-436D-B738-186ABFAD34C5}"/>
                    </a:ext>
                  </a:extLst>
                </p:cNvPr>
                <p:cNvSpPr/>
                <p:nvPr/>
              </p:nvSpPr>
              <p:spPr>
                <a:xfrm>
                  <a:off x="6844179" y="1760645"/>
                  <a:ext cx="1973" cy="3408"/>
                </a:xfrm>
                <a:custGeom>
                  <a:avLst/>
                  <a:gdLst>
                    <a:gd name="connsiteX0" fmla="*/ 1973 w 1973"/>
                    <a:gd name="connsiteY0" fmla="*/ 0 h 3408"/>
                    <a:gd name="connsiteX1" fmla="*/ 0 w 1973"/>
                    <a:gd name="connsiteY1" fmla="*/ 3409 h 3408"/>
                  </a:gdLst>
                  <a:ahLst/>
                  <a:cxnLst>
                    <a:cxn ang="0">
                      <a:pos x="connsiteX0" y="connsiteY0"/>
                    </a:cxn>
                    <a:cxn ang="0">
                      <a:pos x="connsiteX1" y="connsiteY1"/>
                    </a:cxn>
                  </a:cxnLst>
                  <a:rect l="l" t="t" r="r" b="b"/>
                  <a:pathLst>
                    <a:path w="1973" h="3408">
                      <a:moveTo>
                        <a:pt x="1973" y="0"/>
                      </a:moveTo>
                      <a:lnTo>
                        <a:pt x="0" y="3409"/>
                      </a:lnTo>
                    </a:path>
                  </a:pathLst>
                </a:custGeom>
                <a:noFill/>
                <a:ln w="6350" cap="rnd">
                  <a:solidFill>
                    <a:schemeClr val="bg1">
                      <a:alpha val="40000"/>
                    </a:schemeClr>
                  </a:solidFill>
                  <a:prstDash val="solid"/>
                  <a:round/>
                </a:ln>
              </p:spPr>
              <p:txBody>
                <a:bodyPr rtlCol="0" anchor="ctr"/>
                <a:lstStyle/>
                <a:p>
                  <a:endParaRPr lang="en-GB"/>
                </a:p>
              </p:txBody>
            </p:sp>
            <p:sp>
              <p:nvSpPr>
                <p:cNvPr id="7024" name="Vrije vorm: vorm 7023">
                  <a:extLst>
                    <a:ext uri="{FF2B5EF4-FFF2-40B4-BE49-F238E27FC236}">
                      <a16:creationId xmlns:a16="http://schemas.microsoft.com/office/drawing/2014/main" id="{B49FD956-CE64-4B78-8F26-F40F352AD136}"/>
                    </a:ext>
                  </a:extLst>
                </p:cNvPr>
                <p:cNvSpPr/>
                <p:nvPr/>
              </p:nvSpPr>
              <p:spPr>
                <a:xfrm>
                  <a:off x="6877551" y="1704725"/>
                  <a:ext cx="837" cy="1435"/>
                </a:xfrm>
                <a:custGeom>
                  <a:avLst/>
                  <a:gdLst>
                    <a:gd name="connsiteX0" fmla="*/ 837 w 837"/>
                    <a:gd name="connsiteY0" fmla="*/ 0 h 1435"/>
                    <a:gd name="connsiteX1" fmla="*/ 0 w 837"/>
                    <a:gd name="connsiteY1" fmla="*/ 1435 h 1435"/>
                  </a:gdLst>
                  <a:ahLst/>
                  <a:cxnLst>
                    <a:cxn ang="0">
                      <a:pos x="connsiteX0" y="connsiteY0"/>
                    </a:cxn>
                    <a:cxn ang="0">
                      <a:pos x="connsiteX1" y="connsiteY1"/>
                    </a:cxn>
                  </a:cxnLst>
                  <a:rect l="l" t="t" r="r" b="b"/>
                  <a:pathLst>
                    <a:path w="837" h="1435">
                      <a:moveTo>
                        <a:pt x="837" y="0"/>
                      </a:moveTo>
                      <a:lnTo>
                        <a:pt x="0" y="1435"/>
                      </a:lnTo>
                    </a:path>
                  </a:pathLst>
                </a:custGeom>
                <a:noFill/>
                <a:ln w="6350" cap="rnd">
                  <a:solidFill>
                    <a:schemeClr val="bg1">
                      <a:alpha val="40000"/>
                    </a:schemeClr>
                  </a:solidFill>
                  <a:prstDash val="solid"/>
                  <a:round/>
                </a:ln>
              </p:spPr>
              <p:txBody>
                <a:bodyPr rtlCol="0" anchor="ctr"/>
                <a:lstStyle/>
                <a:p>
                  <a:endParaRPr lang="en-GB"/>
                </a:p>
              </p:txBody>
            </p:sp>
            <p:sp>
              <p:nvSpPr>
                <p:cNvPr id="7025" name="Vrije vorm: vorm 7024">
                  <a:extLst>
                    <a:ext uri="{FF2B5EF4-FFF2-40B4-BE49-F238E27FC236}">
                      <a16:creationId xmlns:a16="http://schemas.microsoft.com/office/drawing/2014/main" id="{7FBEDFAE-3D51-4729-9035-C2C1935379AB}"/>
                    </a:ext>
                  </a:extLst>
                </p:cNvPr>
                <p:cNvSpPr/>
                <p:nvPr/>
              </p:nvSpPr>
              <p:spPr>
                <a:xfrm>
                  <a:off x="6875936" y="1703529"/>
                  <a:ext cx="957" cy="1614"/>
                </a:xfrm>
                <a:custGeom>
                  <a:avLst/>
                  <a:gdLst>
                    <a:gd name="connsiteX0" fmla="*/ 0 w 957"/>
                    <a:gd name="connsiteY0" fmla="*/ 1615 h 1614"/>
                    <a:gd name="connsiteX1" fmla="*/ 957 w 957"/>
                    <a:gd name="connsiteY1" fmla="*/ 0 h 1614"/>
                  </a:gdLst>
                  <a:ahLst/>
                  <a:cxnLst>
                    <a:cxn ang="0">
                      <a:pos x="connsiteX0" y="connsiteY0"/>
                    </a:cxn>
                    <a:cxn ang="0">
                      <a:pos x="connsiteX1" y="connsiteY1"/>
                    </a:cxn>
                  </a:cxnLst>
                  <a:rect l="l" t="t" r="r" b="b"/>
                  <a:pathLst>
                    <a:path w="957" h="1614">
                      <a:moveTo>
                        <a:pt x="0" y="1615"/>
                      </a:moveTo>
                      <a:lnTo>
                        <a:pt x="957" y="0"/>
                      </a:lnTo>
                    </a:path>
                  </a:pathLst>
                </a:custGeom>
                <a:noFill/>
                <a:ln w="6350" cap="rnd">
                  <a:solidFill>
                    <a:schemeClr val="bg1">
                      <a:alpha val="40000"/>
                    </a:schemeClr>
                  </a:solidFill>
                  <a:prstDash val="solid"/>
                  <a:round/>
                </a:ln>
              </p:spPr>
              <p:txBody>
                <a:bodyPr rtlCol="0" anchor="ctr"/>
                <a:lstStyle/>
                <a:p>
                  <a:endParaRPr lang="en-GB"/>
                </a:p>
              </p:txBody>
            </p:sp>
            <p:sp>
              <p:nvSpPr>
                <p:cNvPr id="7026" name="Vrije vorm: vorm 7025">
                  <a:extLst>
                    <a:ext uri="{FF2B5EF4-FFF2-40B4-BE49-F238E27FC236}">
                      <a16:creationId xmlns:a16="http://schemas.microsoft.com/office/drawing/2014/main" id="{91FFB320-0CBB-4E07-BAE8-C0C259CD1974}"/>
                    </a:ext>
                  </a:extLst>
                </p:cNvPr>
                <p:cNvSpPr/>
                <p:nvPr/>
              </p:nvSpPr>
              <p:spPr>
                <a:xfrm>
                  <a:off x="6841307" y="1758970"/>
                  <a:ext cx="1974" cy="3408"/>
                </a:xfrm>
                <a:custGeom>
                  <a:avLst/>
                  <a:gdLst>
                    <a:gd name="connsiteX0" fmla="*/ 0 w 1974"/>
                    <a:gd name="connsiteY0" fmla="*/ 3409 h 3408"/>
                    <a:gd name="connsiteX1" fmla="*/ 1974 w 1974"/>
                    <a:gd name="connsiteY1" fmla="*/ 0 h 3408"/>
                  </a:gdLst>
                  <a:ahLst/>
                  <a:cxnLst>
                    <a:cxn ang="0">
                      <a:pos x="connsiteX0" y="connsiteY0"/>
                    </a:cxn>
                    <a:cxn ang="0">
                      <a:pos x="connsiteX1" y="connsiteY1"/>
                    </a:cxn>
                  </a:cxnLst>
                  <a:rect l="l" t="t" r="r" b="b"/>
                  <a:pathLst>
                    <a:path w="1974" h="3408">
                      <a:moveTo>
                        <a:pt x="0" y="3409"/>
                      </a:moveTo>
                      <a:lnTo>
                        <a:pt x="1974" y="0"/>
                      </a:lnTo>
                    </a:path>
                  </a:pathLst>
                </a:custGeom>
                <a:noFill/>
                <a:ln w="6350" cap="rnd">
                  <a:solidFill>
                    <a:schemeClr val="bg1">
                      <a:alpha val="40000"/>
                    </a:schemeClr>
                  </a:solidFill>
                  <a:prstDash val="solid"/>
                  <a:round/>
                </a:ln>
              </p:spPr>
              <p:txBody>
                <a:bodyPr rtlCol="0" anchor="ctr"/>
                <a:lstStyle/>
                <a:p>
                  <a:endParaRPr lang="en-GB"/>
                </a:p>
              </p:txBody>
            </p:sp>
            <p:sp>
              <p:nvSpPr>
                <p:cNvPr id="7027" name="Vrije vorm: vorm 7026">
                  <a:extLst>
                    <a:ext uri="{FF2B5EF4-FFF2-40B4-BE49-F238E27FC236}">
                      <a16:creationId xmlns:a16="http://schemas.microsoft.com/office/drawing/2014/main" id="{4AEDB775-BCAB-4A20-880D-593F276FFFD4}"/>
                    </a:ext>
                  </a:extLst>
                </p:cNvPr>
                <p:cNvSpPr/>
                <p:nvPr/>
              </p:nvSpPr>
              <p:spPr>
                <a:xfrm>
                  <a:off x="6778031" y="1878944"/>
                  <a:ext cx="1495" cy="1016"/>
                </a:xfrm>
                <a:custGeom>
                  <a:avLst/>
                  <a:gdLst>
                    <a:gd name="connsiteX0" fmla="*/ 0 w 1495"/>
                    <a:gd name="connsiteY0" fmla="*/ 0 h 1016"/>
                    <a:gd name="connsiteX1" fmla="*/ 239 w 1495"/>
                    <a:gd name="connsiteY1" fmla="*/ 179 h 1016"/>
                    <a:gd name="connsiteX2" fmla="*/ 1495 w 1495"/>
                    <a:gd name="connsiteY2" fmla="*/ 1017 h 1016"/>
                  </a:gdLst>
                  <a:ahLst/>
                  <a:cxnLst>
                    <a:cxn ang="0">
                      <a:pos x="connsiteX0" y="connsiteY0"/>
                    </a:cxn>
                    <a:cxn ang="0">
                      <a:pos x="connsiteX1" y="connsiteY1"/>
                    </a:cxn>
                    <a:cxn ang="0">
                      <a:pos x="connsiteX2" y="connsiteY2"/>
                    </a:cxn>
                  </a:cxnLst>
                  <a:rect l="l" t="t" r="r" b="b"/>
                  <a:pathLst>
                    <a:path w="1495" h="1016">
                      <a:moveTo>
                        <a:pt x="0" y="0"/>
                      </a:moveTo>
                      <a:lnTo>
                        <a:pt x="239" y="179"/>
                      </a:lnTo>
                      <a:lnTo>
                        <a:pt x="1495" y="1017"/>
                      </a:lnTo>
                    </a:path>
                  </a:pathLst>
                </a:custGeom>
                <a:noFill/>
                <a:ln w="6350" cap="rnd">
                  <a:solidFill>
                    <a:schemeClr val="bg1">
                      <a:alpha val="40000"/>
                    </a:schemeClr>
                  </a:solidFill>
                  <a:prstDash val="solid"/>
                  <a:round/>
                </a:ln>
              </p:spPr>
              <p:txBody>
                <a:bodyPr rtlCol="0" anchor="ctr"/>
                <a:lstStyle/>
                <a:p>
                  <a:endParaRPr lang="en-GB"/>
                </a:p>
              </p:txBody>
            </p:sp>
            <p:sp>
              <p:nvSpPr>
                <p:cNvPr id="7028" name="Vrije vorm: vorm 7027">
                  <a:extLst>
                    <a:ext uri="{FF2B5EF4-FFF2-40B4-BE49-F238E27FC236}">
                      <a16:creationId xmlns:a16="http://schemas.microsoft.com/office/drawing/2014/main" id="{C75F3746-6D05-4160-9201-1AD2835FFE9E}"/>
                    </a:ext>
                  </a:extLst>
                </p:cNvPr>
                <p:cNvSpPr/>
                <p:nvPr/>
              </p:nvSpPr>
              <p:spPr>
                <a:xfrm>
                  <a:off x="6772230" y="1882233"/>
                  <a:ext cx="4604" cy="2990"/>
                </a:xfrm>
                <a:custGeom>
                  <a:avLst/>
                  <a:gdLst>
                    <a:gd name="connsiteX0" fmla="*/ 4605 w 4604"/>
                    <a:gd name="connsiteY0" fmla="*/ 2990 h 2990"/>
                    <a:gd name="connsiteX1" fmla="*/ 2751 w 4604"/>
                    <a:gd name="connsiteY1" fmla="*/ 1794 h 2990"/>
                    <a:gd name="connsiteX2" fmla="*/ 2691 w 4604"/>
                    <a:gd name="connsiteY2" fmla="*/ 1734 h 2990"/>
                    <a:gd name="connsiteX3" fmla="*/ 0 w 4604"/>
                    <a:gd name="connsiteY3" fmla="*/ 0 h 2990"/>
                  </a:gdLst>
                  <a:ahLst/>
                  <a:cxnLst>
                    <a:cxn ang="0">
                      <a:pos x="connsiteX0" y="connsiteY0"/>
                    </a:cxn>
                    <a:cxn ang="0">
                      <a:pos x="connsiteX1" y="connsiteY1"/>
                    </a:cxn>
                    <a:cxn ang="0">
                      <a:pos x="connsiteX2" y="connsiteY2"/>
                    </a:cxn>
                    <a:cxn ang="0">
                      <a:pos x="connsiteX3" y="connsiteY3"/>
                    </a:cxn>
                  </a:cxnLst>
                  <a:rect l="l" t="t" r="r" b="b"/>
                  <a:pathLst>
                    <a:path w="4604" h="2990">
                      <a:moveTo>
                        <a:pt x="4605" y="2990"/>
                      </a:moveTo>
                      <a:lnTo>
                        <a:pt x="2751" y="1794"/>
                      </a:lnTo>
                      <a:lnTo>
                        <a:pt x="2691" y="1734"/>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29" name="Vrije vorm: vorm 7028">
                  <a:extLst>
                    <a:ext uri="{FF2B5EF4-FFF2-40B4-BE49-F238E27FC236}">
                      <a16:creationId xmlns:a16="http://schemas.microsoft.com/office/drawing/2014/main" id="{BEAB1C31-37B8-4C8F-BE73-622BF8E1C4D0}"/>
                    </a:ext>
                  </a:extLst>
                </p:cNvPr>
                <p:cNvSpPr/>
                <p:nvPr/>
              </p:nvSpPr>
              <p:spPr>
                <a:xfrm>
                  <a:off x="6725640" y="1939827"/>
                  <a:ext cx="34927" cy="23085"/>
                </a:xfrm>
                <a:custGeom>
                  <a:avLst/>
                  <a:gdLst>
                    <a:gd name="connsiteX0" fmla="*/ 0 w 34927"/>
                    <a:gd name="connsiteY0" fmla="*/ 0 h 23085"/>
                    <a:gd name="connsiteX1" fmla="*/ 9988 w 34927"/>
                    <a:gd name="connsiteY1" fmla="*/ 6639 h 23085"/>
                    <a:gd name="connsiteX2" fmla="*/ 23265 w 34927"/>
                    <a:gd name="connsiteY2" fmla="*/ 15430 h 23085"/>
                    <a:gd name="connsiteX3" fmla="*/ 25658 w 34927"/>
                    <a:gd name="connsiteY3" fmla="*/ 17045 h 23085"/>
                    <a:gd name="connsiteX4" fmla="*/ 27033 w 34927"/>
                    <a:gd name="connsiteY4" fmla="*/ 17942 h 23085"/>
                    <a:gd name="connsiteX5" fmla="*/ 29545 w 34927"/>
                    <a:gd name="connsiteY5" fmla="*/ 19617 h 23085"/>
                    <a:gd name="connsiteX6" fmla="*/ 29784 w 34927"/>
                    <a:gd name="connsiteY6" fmla="*/ 19736 h 23085"/>
                    <a:gd name="connsiteX7" fmla="*/ 30681 w 34927"/>
                    <a:gd name="connsiteY7" fmla="*/ 20335 h 23085"/>
                    <a:gd name="connsiteX8" fmla="*/ 33253 w 34927"/>
                    <a:gd name="connsiteY8" fmla="*/ 22009 h 23085"/>
                    <a:gd name="connsiteX9" fmla="*/ 34808 w 34927"/>
                    <a:gd name="connsiteY9" fmla="*/ 23026 h 23085"/>
                    <a:gd name="connsiteX10" fmla="*/ 34928 w 34927"/>
                    <a:gd name="connsiteY10" fmla="*/ 23086 h 2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927" h="23085">
                      <a:moveTo>
                        <a:pt x="0" y="0"/>
                      </a:moveTo>
                      <a:lnTo>
                        <a:pt x="9988" y="6639"/>
                      </a:lnTo>
                      <a:lnTo>
                        <a:pt x="23265" y="15430"/>
                      </a:lnTo>
                      <a:lnTo>
                        <a:pt x="25658" y="17045"/>
                      </a:lnTo>
                      <a:lnTo>
                        <a:pt x="27033" y="17942"/>
                      </a:lnTo>
                      <a:lnTo>
                        <a:pt x="29545" y="19617"/>
                      </a:lnTo>
                      <a:lnTo>
                        <a:pt x="29784" y="19736"/>
                      </a:lnTo>
                      <a:lnTo>
                        <a:pt x="30681" y="20335"/>
                      </a:lnTo>
                      <a:lnTo>
                        <a:pt x="33253" y="22009"/>
                      </a:lnTo>
                      <a:lnTo>
                        <a:pt x="34808" y="23026"/>
                      </a:lnTo>
                      <a:lnTo>
                        <a:pt x="34928" y="23086"/>
                      </a:lnTo>
                    </a:path>
                  </a:pathLst>
                </a:custGeom>
                <a:noFill/>
                <a:ln w="6350" cap="rnd">
                  <a:solidFill>
                    <a:schemeClr val="bg1">
                      <a:alpha val="40000"/>
                    </a:schemeClr>
                  </a:solidFill>
                  <a:prstDash val="solid"/>
                  <a:round/>
                </a:ln>
              </p:spPr>
              <p:txBody>
                <a:bodyPr rtlCol="0" anchor="ctr"/>
                <a:lstStyle/>
                <a:p>
                  <a:endParaRPr lang="en-GB"/>
                </a:p>
              </p:txBody>
            </p:sp>
            <p:sp>
              <p:nvSpPr>
                <p:cNvPr id="7030" name="Vrije vorm: vorm 7029">
                  <a:extLst>
                    <a:ext uri="{FF2B5EF4-FFF2-40B4-BE49-F238E27FC236}">
                      <a16:creationId xmlns:a16="http://schemas.microsoft.com/office/drawing/2014/main" id="{58FCDA0F-A837-4629-8A66-06AE2CDF89EE}"/>
                    </a:ext>
                  </a:extLst>
                </p:cNvPr>
                <p:cNvSpPr/>
                <p:nvPr/>
              </p:nvSpPr>
              <p:spPr>
                <a:xfrm>
                  <a:off x="6737841" y="1924277"/>
                  <a:ext cx="5681" cy="3708"/>
                </a:xfrm>
                <a:custGeom>
                  <a:avLst/>
                  <a:gdLst>
                    <a:gd name="connsiteX0" fmla="*/ 5682 w 5681"/>
                    <a:gd name="connsiteY0" fmla="*/ 3708 h 3708"/>
                    <a:gd name="connsiteX1" fmla="*/ 0 w 5681"/>
                    <a:gd name="connsiteY1" fmla="*/ 0 h 3708"/>
                  </a:gdLst>
                  <a:ahLst/>
                  <a:cxnLst>
                    <a:cxn ang="0">
                      <a:pos x="connsiteX0" y="connsiteY0"/>
                    </a:cxn>
                    <a:cxn ang="0">
                      <a:pos x="connsiteX1" y="connsiteY1"/>
                    </a:cxn>
                  </a:cxnLst>
                  <a:rect l="l" t="t" r="r" b="b"/>
                  <a:pathLst>
                    <a:path w="5681" h="3708">
                      <a:moveTo>
                        <a:pt x="5682" y="3708"/>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31" name="Vrije vorm: vorm 7030">
                  <a:extLst>
                    <a:ext uri="{FF2B5EF4-FFF2-40B4-BE49-F238E27FC236}">
                      <a16:creationId xmlns:a16="http://schemas.microsoft.com/office/drawing/2014/main" id="{E7E22E1E-6E67-4071-9174-13D85AF32C2F}"/>
                    </a:ext>
                  </a:extLst>
                </p:cNvPr>
                <p:cNvSpPr/>
                <p:nvPr/>
              </p:nvSpPr>
              <p:spPr>
                <a:xfrm>
                  <a:off x="6715772" y="1950832"/>
                  <a:ext cx="37678" cy="25238"/>
                </a:xfrm>
                <a:custGeom>
                  <a:avLst/>
                  <a:gdLst>
                    <a:gd name="connsiteX0" fmla="*/ 37678 w 37678"/>
                    <a:gd name="connsiteY0" fmla="*/ 25239 h 25238"/>
                    <a:gd name="connsiteX1" fmla="*/ 6100 w 37678"/>
                    <a:gd name="connsiteY1" fmla="*/ 4067 h 25238"/>
                    <a:gd name="connsiteX2" fmla="*/ 0 w 37678"/>
                    <a:gd name="connsiteY2" fmla="*/ 0 h 25238"/>
                  </a:gdLst>
                  <a:ahLst/>
                  <a:cxnLst>
                    <a:cxn ang="0">
                      <a:pos x="connsiteX0" y="connsiteY0"/>
                    </a:cxn>
                    <a:cxn ang="0">
                      <a:pos x="connsiteX1" y="connsiteY1"/>
                    </a:cxn>
                    <a:cxn ang="0">
                      <a:pos x="connsiteX2" y="connsiteY2"/>
                    </a:cxn>
                  </a:cxnLst>
                  <a:rect l="l" t="t" r="r" b="b"/>
                  <a:pathLst>
                    <a:path w="37678" h="25238">
                      <a:moveTo>
                        <a:pt x="37678" y="25239"/>
                      </a:moveTo>
                      <a:lnTo>
                        <a:pt x="6100" y="406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32" name="Vrije vorm: vorm 7031">
                  <a:extLst>
                    <a:ext uri="{FF2B5EF4-FFF2-40B4-BE49-F238E27FC236}">
                      <a16:creationId xmlns:a16="http://schemas.microsoft.com/office/drawing/2014/main" id="{DA329489-B5B6-4AFF-987A-FA069024ED0F}"/>
                    </a:ext>
                  </a:extLst>
                </p:cNvPr>
                <p:cNvSpPr/>
                <p:nvPr/>
              </p:nvSpPr>
              <p:spPr>
                <a:xfrm>
                  <a:off x="6758175" y="1881456"/>
                  <a:ext cx="837" cy="59"/>
                </a:xfrm>
                <a:custGeom>
                  <a:avLst/>
                  <a:gdLst>
                    <a:gd name="connsiteX0" fmla="*/ 0 w 837"/>
                    <a:gd name="connsiteY0" fmla="*/ 60 h 59"/>
                    <a:gd name="connsiteX1" fmla="*/ 239 w 837"/>
                    <a:gd name="connsiteY1" fmla="*/ 60 h 59"/>
                    <a:gd name="connsiteX2" fmla="*/ 299 w 837"/>
                    <a:gd name="connsiteY2" fmla="*/ 60 h 59"/>
                    <a:gd name="connsiteX3" fmla="*/ 299 w 837"/>
                    <a:gd name="connsiteY3" fmla="*/ 60 h 59"/>
                    <a:gd name="connsiteX4" fmla="*/ 837 w 837"/>
                    <a:gd name="connsiteY4" fmla="*/ 0 h 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7" h="59">
                      <a:moveTo>
                        <a:pt x="0" y="60"/>
                      </a:moveTo>
                      <a:lnTo>
                        <a:pt x="239" y="60"/>
                      </a:lnTo>
                      <a:lnTo>
                        <a:pt x="299" y="60"/>
                      </a:lnTo>
                      <a:lnTo>
                        <a:pt x="299" y="60"/>
                      </a:lnTo>
                      <a:lnTo>
                        <a:pt x="837" y="0"/>
                      </a:lnTo>
                    </a:path>
                  </a:pathLst>
                </a:custGeom>
                <a:noFill/>
                <a:ln w="6350" cap="rnd">
                  <a:solidFill>
                    <a:schemeClr val="bg1">
                      <a:alpha val="40000"/>
                    </a:schemeClr>
                  </a:solidFill>
                  <a:prstDash val="solid"/>
                  <a:round/>
                </a:ln>
              </p:spPr>
              <p:txBody>
                <a:bodyPr rtlCol="0" anchor="ctr"/>
                <a:lstStyle/>
                <a:p>
                  <a:endParaRPr lang="en-GB"/>
                </a:p>
              </p:txBody>
            </p:sp>
            <p:sp>
              <p:nvSpPr>
                <p:cNvPr id="7033" name="Vrije vorm: vorm 7032">
                  <a:extLst>
                    <a:ext uri="{FF2B5EF4-FFF2-40B4-BE49-F238E27FC236}">
                      <a16:creationId xmlns:a16="http://schemas.microsoft.com/office/drawing/2014/main" id="{E4E2799F-220B-4FC2-899F-ACA9861FB5E8}"/>
                    </a:ext>
                  </a:extLst>
                </p:cNvPr>
                <p:cNvSpPr/>
                <p:nvPr/>
              </p:nvSpPr>
              <p:spPr>
                <a:xfrm>
                  <a:off x="6744480" y="1901311"/>
                  <a:ext cx="298" cy="478"/>
                </a:xfrm>
                <a:custGeom>
                  <a:avLst/>
                  <a:gdLst>
                    <a:gd name="connsiteX0" fmla="*/ 0 w 298"/>
                    <a:gd name="connsiteY0" fmla="*/ 478 h 478"/>
                    <a:gd name="connsiteX1" fmla="*/ 239 w 298"/>
                    <a:gd name="connsiteY1" fmla="*/ 120 h 478"/>
                    <a:gd name="connsiteX2" fmla="*/ 299 w 298"/>
                    <a:gd name="connsiteY2" fmla="*/ 0 h 478"/>
                  </a:gdLst>
                  <a:ahLst/>
                  <a:cxnLst>
                    <a:cxn ang="0">
                      <a:pos x="connsiteX0" y="connsiteY0"/>
                    </a:cxn>
                    <a:cxn ang="0">
                      <a:pos x="connsiteX1" y="connsiteY1"/>
                    </a:cxn>
                    <a:cxn ang="0">
                      <a:pos x="connsiteX2" y="connsiteY2"/>
                    </a:cxn>
                  </a:cxnLst>
                  <a:rect l="l" t="t" r="r" b="b"/>
                  <a:pathLst>
                    <a:path w="298" h="478">
                      <a:moveTo>
                        <a:pt x="0" y="478"/>
                      </a:moveTo>
                      <a:lnTo>
                        <a:pt x="239" y="120"/>
                      </a:lnTo>
                      <a:lnTo>
                        <a:pt x="299" y="0"/>
                      </a:lnTo>
                    </a:path>
                  </a:pathLst>
                </a:custGeom>
                <a:noFill/>
                <a:ln w="6350" cap="rnd">
                  <a:solidFill>
                    <a:schemeClr val="bg1">
                      <a:alpha val="40000"/>
                    </a:schemeClr>
                  </a:solidFill>
                  <a:prstDash val="solid"/>
                  <a:round/>
                </a:ln>
              </p:spPr>
              <p:txBody>
                <a:bodyPr rtlCol="0" anchor="ctr"/>
                <a:lstStyle/>
                <a:p>
                  <a:endParaRPr lang="en-GB"/>
                </a:p>
              </p:txBody>
            </p:sp>
            <p:sp>
              <p:nvSpPr>
                <p:cNvPr id="7034" name="Vrije vorm: vorm 7033">
                  <a:extLst>
                    <a:ext uri="{FF2B5EF4-FFF2-40B4-BE49-F238E27FC236}">
                      <a16:creationId xmlns:a16="http://schemas.microsoft.com/office/drawing/2014/main" id="{01C8A1AE-E161-47F6-8FC0-EBF439C55614}"/>
                    </a:ext>
                  </a:extLst>
                </p:cNvPr>
                <p:cNvSpPr/>
                <p:nvPr/>
              </p:nvSpPr>
              <p:spPr>
                <a:xfrm>
                  <a:off x="6724982" y="1930737"/>
                  <a:ext cx="4246" cy="5382"/>
                </a:xfrm>
                <a:custGeom>
                  <a:avLst/>
                  <a:gdLst>
                    <a:gd name="connsiteX0" fmla="*/ 4246 w 4246"/>
                    <a:gd name="connsiteY0" fmla="*/ 0 h 5382"/>
                    <a:gd name="connsiteX1" fmla="*/ 3947 w 4246"/>
                    <a:gd name="connsiteY1" fmla="*/ 359 h 5382"/>
                    <a:gd name="connsiteX2" fmla="*/ 1076 w 4246"/>
                    <a:gd name="connsiteY2" fmla="*/ 4007 h 5382"/>
                    <a:gd name="connsiteX3" fmla="*/ 0 w 4246"/>
                    <a:gd name="connsiteY3" fmla="*/ 5383 h 5382"/>
                  </a:gdLst>
                  <a:ahLst/>
                  <a:cxnLst>
                    <a:cxn ang="0">
                      <a:pos x="connsiteX0" y="connsiteY0"/>
                    </a:cxn>
                    <a:cxn ang="0">
                      <a:pos x="connsiteX1" y="connsiteY1"/>
                    </a:cxn>
                    <a:cxn ang="0">
                      <a:pos x="connsiteX2" y="connsiteY2"/>
                    </a:cxn>
                    <a:cxn ang="0">
                      <a:pos x="connsiteX3" y="connsiteY3"/>
                    </a:cxn>
                  </a:cxnLst>
                  <a:rect l="l" t="t" r="r" b="b"/>
                  <a:pathLst>
                    <a:path w="4246" h="5382">
                      <a:moveTo>
                        <a:pt x="4246" y="0"/>
                      </a:moveTo>
                      <a:lnTo>
                        <a:pt x="3947" y="359"/>
                      </a:lnTo>
                      <a:lnTo>
                        <a:pt x="1076" y="4007"/>
                      </a:lnTo>
                      <a:lnTo>
                        <a:pt x="0" y="5383"/>
                      </a:lnTo>
                    </a:path>
                  </a:pathLst>
                </a:custGeom>
                <a:noFill/>
                <a:ln w="6350" cap="rnd">
                  <a:solidFill>
                    <a:schemeClr val="bg1">
                      <a:alpha val="40000"/>
                    </a:schemeClr>
                  </a:solidFill>
                  <a:prstDash val="solid"/>
                  <a:round/>
                </a:ln>
              </p:spPr>
              <p:txBody>
                <a:bodyPr rtlCol="0" anchor="ctr"/>
                <a:lstStyle/>
                <a:p>
                  <a:endParaRPr lang="en-GB"/>
                </a:p>
              </p:txBody>
            </p:sp>
            <p:sp>
              <p:nvSpPr>
                <p:cNvPr id="7035" name="Vrije vorm: vorm 7034">
                  <a:extLst>
                    <a:ext uri="{FF2B5EF4-FFF2-40B4-BE49-F238E27FC236}">
                      <a16:creationId xmlns:a16="http://schemas.microsoft.com/office/drawing/2014/main" id="{100656B5-C296-431B-BE7C-C265699B8D08}"/>
                    </a:ext>
                  </a:extLst>
                </p:cNvPr>
                <p:cNvSpPr/>
                <p:nvPr/>
              </p:nvSpPr>
              <p:spPr>
                <a:xfrm>
                  <a:off x="6790591" y="1902209"/>
                  <a:ext cx="12679" cy="8193"/>
                </a:xfrm>
                <a:custGeom>
                  <a:avLst/>
                  <a:gdLst>
                    <a:gd name="connsiteX0" fmla="*/ 0 w 12679"/>
                    <a:gd name="connsiteY0" fmla="*/ 0 h 8193"/>
                    <a:gd name="connsiteX1" fmla="*/ 658 w 12679"/>
                    <a:gd name="connsiteY1" fmla="*/ 419 h 8193"/>
                    <a:gd name="connsiteX2" fmla="*/ 1375 w 12679"/>
                    <a:gd name="connsiteY2" fmla="*/ 897 h 8193"/>
                    <a:gd name="connsiteX3" fmla="*/ 4067 w 12679"/>
                    <a:gd name="connsiteY3" fmla="*/ 2632 h 8193"/>
                    <a:gd name="connsiteX4" fmla="*/ 8074 w 12679"/>
                    <a:gd name="connsiteY4" fmla="*/ 5203 h 8193"/>
                    <a:gd name="connsiteX5" fmla="*/ 9150 w 12679"/>
                    <a:gd name="connsiteY5" fmla="*/ 5921 h 8193"/>
                    <a:gd name="connsiteX6" fmla="*/ 9689 w 12679"/>
                    <a:gd name="connsiteY6" fmla="*/ 6280 h 8193"/>
                    <a:gd name="connsiteX7" fmla="*/ 10466 w 12679"/>
                    <a:gd name="connsiteY7" fmla="*/ 6758 h 8193"/>
                    <a:gd name="connsiteX8" fmla="*/ 11961 w 12679"/>
                    <a:gd name="connsiteY8" fmla="*/ 7715 h 8193"/>
                    <a:gd name="connsiteX9" fmla="*/ 11961 w 12679"/>
                    <a:gd name="connsiteY9" fmla="*/ 7715 h 8193"/>
                    <a:gd name="connsiteX10" fmla="*/ 12679 w 12679"/>
                    <a:gd name="connsiteY10" fmla="*/ 8194 h 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79" h="8193">
                      <a:moveTo>
                        <a:pt x="0" y="0"/>
                      </a:moveTo>
                      <a:lnTo>
                        <a:pt x="658" y="419"/>
                      </a:lnTo>
                      <a:lnTo>
                        <a:pt x="1375" y="897"/>
                      </a:lnTo>
                      <a:lnTo>
                        <a:pt x="4067" y="2632"/>
                      </a:lnTo>
                      <a:lnTo>
                        <a:pt x="8074" y="5203"/>
                      </a:lnTo>
                      <a:lnTo>
                        <a:pt x="9150" y="5921"/>
                      </a:lnTo>
                      <a:lnTo>
                        <a:pt x="9689" y="6280"/>
                      </a:lnTo>
                      <a:lnTo>
                        <a:pt x="10466" y="6758"/>
                      </a:lnTo>
                      <a:lnTo>
                        <a:pt x="11961" y="7715"/>
                      </a:lnTo>
                      <a:lnTo>
                        <a:pt x="11961" y="7715"/>
                      </a:lnTo>
                      <a:lnTo>
                        <a:pt x="12679" y="8194"/>
                      </a:lnTo>
                    </a:path>
                  </a:pathLst>
                </a:custGeom>
                <a:noFill/>
                <a:ln w="6350" cap="rnd">
                  <a:solidFill>
                    <a:schemeClr val="bg1">
                      <a:alpha val="40000"/>
                    </a:schemeClr>
                  </a:solidFill>
                  <a:prstDash val="solid"/>
                  <a:round/>
                </a:ln>
              </p:spPr>
              <p:txBody>
                <a:bodyPr rtlCol="0" anchor="ctr"/>
                <a:lstStyle/>
                <a:p>
                  <a:endParaRPr lang="en-GB"/>
                </a:p>
              </p:txBody>
            </p:sp>
            <p:sp>
              <p:nvSpPr>
                <p:cNvPr id="7036" name="Vrije vorm: vorm 7035">
                  <a:extLst>
                    <a:ext uri="{FF2B5EF4-FFF2-40B4-BE49-F238E27FC236}">
                      <a16:creationId xmlns:a16="http://schemas.microsoft.com/office/drawing/2014/main" id="{90F08787-534A-4BAD-AB84-BC1F75B56597}"/>
                    </a:ext>
                  </a:extLst>
                </p:cNvPr>
                <p:cNvSpPr/>
                <p:nvPr/>
              </p:nvSpPr>
              <p:spPr>
                <a:xfrm>
                  <a:off x="6756501" y="1880439"/>
                  <a:ext cx="9329" cy="5920"/>
                </a:xfrm>
                <a:custGeom>
                  <a:avLst/>
                  <a:gdLst>
                    <a:gd name="connsiteX0" fmla="*/ 0 w 9329"/>
                    <a:gd name="connsiteY0" fmla="*/ 0 h 5920"/>
                    <a:gd name="connsiteX1" fmla="*/ 538 w 9329"/>
                    <a:gd name="connsiteY1" fmla="*/ 359 h 5920"/>
                    <a:gd name="connsiteX2" fmla="*/ 1674 w 9329"/>
                    <a:gd name="connsiteY2" fmla="*/ 1076 h 5920"/>
                    <a:gd name="connsiteX3" fmla="*/ 1914 w 9329"/>
                    <a:gd name="connsiteY3" fmla="*/ 1256 h 5920"/>
                    <a:gd name="connsiteX4" fmla="*/ 1974 w 9329"/>
                    <a:gd name="connsiteY4" fmla="*/ 1316 h 5920"/>
                    <a:gd name="connsiteX5" fmla="*/ 1974 w 9329"/>
                    <a:gd name="connsiteY5" fmla="*/ 1316 h 5920"/>
                    <a:gd name="connsiteX6" fmla="*/ 2512 w 9329"/>
                    <a:gd name="connsiteY6" fmla="*/ 1675 h 5920"/>
                    <a:gd name="connsiteX7" fmla="*/ 5382 w 9329"/>
                    <a:gd name="connsiteY7" fmla="*/ 3469 h 5920"/>
                    <a:gd name="connsiteX8" fmla="*/ 8552 w 9329"/>
                    <a:gd name="connsiteY8" fmla="*/ 5502 h 5920"/>
                    <a:gd name="connsiteX9" fmla="*/ 9270 w 9329"/>
                    <a:gd name="connsiteY9" fmla="*/ 5921 h 5920"/>
                    <a:gd name="connsiteX10" fmla="*/ 9330 w 9329"/>
                    <a:gd name="connsiteY10" fmla="*/ 5921 h 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29" h="5920">
                      <a:moveTo>
                        <a:pt x="0" y="0"/>
                      </a:moveTo>
                      <a:lnTo>
                        <a:pt x="538" y="359"/>
                      </a:lnTo>
                      <a:lnTo>
                        <a:pt x="1674" y="1076"/>
                      </a:lnTo>
                      <a:lnTo>
                        <a:pt x="1914" y="1256"/>
                      </a:lnTo>
                      <a:lnTo>
                        <a:pt x="1974" y="1316"/>
                      </a:lnTo>
                      <a:lnTo>
                        <a:pt x="1974" y="1316"/>
                      </a:lnTo>
                      <a:lnTo>
                        <a:pt x="2512" y="1675"/>
                      </a:lnTo>
                      <a:lnTo>
                        <a:pt x="5382" y="3469"/>
                      </a:lnTo>
                      <a:lnTo>
                        <a:pt x="8552" y="5502"/>
                      </a:lnTo>
                      <a:lnTo>
                        <a:pt x="9270" y="5921"/>
                      </a:lnTo>
                      <a:lnTo>
                        <a:pt x="9330" y="5921"/>
                      </a:lnTo>
                    </a:path>
                  </a:pathLst>
                </a:custGeom>
                <a:noFill/>
                <a:ln w="6350" cap="rnd">
                  <a:solidFill>
                    <a:schemeClr val="bg1">
                      <a:alpha val="40000"/>
                    </a:schemeClr>
                  </a:solidFill>
                  <a:prstDash val="solid"/>
                  <a:round/>
                </a:ln>
              </p:spPr>
              <p:txBody>
                <a:bodyPr rtlCol="0" anchor="ctr"/>
                <a:lstStyle/>
                <a:p>
                  <a:endParaRPr lang="en-GB"/>
                </a:p>
              </p:txBody>
            </p:sp>
            <p:sp>
              <p:nvSpPr>
                <p:cNvPr id="7037" name="Vrije vorm: vorm 7036">
                  <a:extLst>
                    <a:ext uri="{FF2B5EF4-FFF2-40B4-BE49-F238E27FC236}">
                      <a16:creationId xmlns:a16="http://schemas.microsoft.com/office/drawing/2014/main" id="{7B6C2A78-D261-43CD-BE54-12CE7B6D5D74}"/>
                    </a:ext>
                  </a:extLst>
                </p:cNvPr>
                <p:cNvSpPr/>
                <p:nvPr/>
              </p:nvSpPr>
              <p:spPr>
                <a:xfrm>
                  <a:off x="6754766" y="1870212"/>
                  <a:ext cx="2631" cy="2751"/>
                </a:xfrm>
                <a:custGeom>
                  <a:avLst/>
                  <a:gdLst>
                    <a:gd name="connsiteX0" fmla="*/ 2632 w 2631"/>
                    <a:gd name="connsiteY0" fmla="*/ 0 h 2751"/>
                    <a:gd name="connsiteX1" fmla="*/ 0 w 2631"/>
                    <a:gd name="connsiteY1" fmla="*/ 2751 h 2751"/>
                  </a:gdLst>
                  <a:ahLst/>
                  <a:cxnLst>
                    <a:cxn ang="0">
                      <a:pos x="connsiteX0" y="connsiteY0"/>
                    </a:cxn>
                    <a:cxn ang="0">
                      <a:pos x="connsiteX1" y="connsiteY1"/>
                    </a:cxn>
                  </a:cxnLst>
                  <a:rect l="l" t="t" r="r" b="b"/>
                  <a:pathLst>
                    <a:path w="2631" h="2751">
                      <a:moveTo>
                        <a:pt x="2632" y="0"/>
                      </a:moveTo>
                      <a:lnTo>
                        <a:pt x="0" y="2751"/>
                      </a:lnTo>
                    </a:path>
                  </a:pathLst>
                </a:custGeom>
                <a:noFill/>
                <a:ln w="6350" cap="rnd">
                  <a:solidFill>
                    <a:schemeClr val="bg1">
                      <a:alpha val="40000"/>
                    </a:schemeClr>
                  </a:solidFill>
                  <a:prstDash val="solid"/>
                  <a:round/>
                </a:ln>
              </p:spPr>
              <p:txBody>
                <a:bodyPr rtlCol="0" anchor="ctr"/>
                <a:lstStyle/>
                <a:p>
                  <a:endParaRPr lang="en-GB"/>
                </a:p>
              </p:txBody>
            </p:sp>
            <p:sp>
              <p:nvSpPr>
                <p:cNvPr id="7038" name="Vrije vorm: vorm 7037">
                  <a:extLst>
                    <a:ext uri="{FF2B5EF4-FFF2-40B4-BE49-F238E27FC236}">
                      <a16:creationId xmlns:a16="http://schemas.microsoft.com/office/drawing/2014/main" id="{088A1B63-3F05-4804-BBE9-BC6FEDABD2B3}"/>
                    </a:ext>
                  </a:extLst>
                </p:cNvPr>
                <p:cNvSpPr/>
                <p:nvPr/>
              </p:nvSpPr>
              <p:spPr>
                <a:xfrm>
                  <a:off x="6715473" y="1926490"/>
                  <a:ext cx="8911" cy="11363"/>
                </a:xfrm>
                <a:custGeom>
                  <a:avLst/>
                  <a:gdLst>
                    <a:gd name="connsiteX0" fmla="*/ 0 w 8911"/>
                    <a:gd name="connsiteY0" fmla="*/ 11363 h 11363"/>
                    <a:gd name="connsiteX1" fmla="*/ 4127 w 8911"/>
                    <a:gd name="connsiteY1" fmla="*/ 6040 h 11363"/>
                    <a:gd name="connsiteX2" fmla="*/ 4186 w 8911"/>
                    <a:gd name="connsiteY2" fmla="*/ 5981 h 11363"/>
                    <a:gd name="connsiteX3" fmla="*/ 5203 w 8911"/>
                    <a:gd name="connsiteY3" fmla="*/ 4725 h 11363"/>
                    <a:gd name="connsiteX4" fmla="*/ 6698 w 8911"/>
                    <a:gd name="connsiteY4" fmla="*/ 2871 h 11363"/>
                    <a:gd name="connsiteX5" fmla="*/ 8313 w 8911"/>
                    <a:gd name="connsiteY5" fmla="*/ 778 h 11363"/>
                    <a:gd name="connsiteX6" fmla="*/ 8373 w 8911"/>
                    <a:gd name="connsiteY6" fmla="*/ 718 h 11363"/>
                    <a:gd name="connsiteX7" fmla="*/ 8911 w 8911"/>
                    <a:gd name="connsiteY7" fmla="*/ 0 h 1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11" h="11363">
                      <a:moveTo>
                        <a:pt x="0" y="11363"/>
                      </a:moveTo>
                      <a:lnTo>
                        <a:pt x="4127" y="6040"/>
                      </a:lnTo>
                      <a:lnTo>
                        <a:pt x="4186" y="5981"/>
                      </a:lnTo>
                      <a:lnTo>
                        <a:pt x="5203" y="4725"/>
                      </a:lnTo>
                      <a:lnTo>
                        <a:pt x="6698" y="2871"/>
                      </a:lnTo>
                      <a:lnTo>
                        <a:pt x="8313" y="778"/>
                      </a:lnTo>
                      <a:lnTo>
                        <a:pt x="8373" y="718"/>
                      </a:lnTo>
                      <a:lnTo>
                        <a:pt x="8911" y="0"/>
                      </a:lnTo>
                    </a:path>
                  </a:pathLst>
                </a:custGeom>
                <a:noFill/>
                <a:ln w="6350" cap="rnd">
                  <a:solidFill>
                    <a:schemeClr val="bg1">
                      <a:alpha val="40000"/>
                    </a:schemeClr>
                  </a:solidFill>
                  <a:prstDash val="solid"/>
                  <a:round/>
                </a:ln>
              </p:spPr>
              <p:txBody>
                <a:bodyPr rtlCol="0" anchor="ctr"/>
                <a:lstStyle/>
                <a:p>
                  <a:endParaRPr lang="en-GB"/>
                </a:p>
              </p:txBody>
            </p:sp>
            <p:sp>
              <p:nvSpPr>
                <p:cNvPr id="7039" name="Vrije vorm: vorm 7038">
                  <a:extLst>
                    <a:ext uri="{FF2B5EF4-FFF2-40B4-BE49-F238E27FC236}">
                      <a16:creationId xmlns:a16="http://schemas.microsoft.com/office/drawing/2014/main" id="{C44BF0F6-1A6F-4401-9D26-57513D02EC6D}"/>
                    </a:ext>
                  </a:extLst>
                </p:cNvPr>
                <p:cNvSpPr/>
                <p:nvPr/>
              </p:nvSpPr>
              <p:spPr>
                <a:xfrm>
                  <a:off x="6692387" y="1960042"/>
                  <a:ext cx="6160" cy="3767"/>
                </a:xfrm>
                <a:custGeom>
                  <a:avLst/>
                  <a:gdLst>
                    <a:gd name="connsiteX0" fmla="*/ 6160 w 6160"/>
                    <a:gd name="connsiteY0" fmla="*/ 0 h 3767"/>
                    <a:gd name="connsiteX1" fmla="*/ 0 w 6160"/>
                    <a:gd name="connsiteY1" fmla="*/ 3768 h 3767"/>
                  </a:gdLst>
                  <a:ahLst/>
                  <a:cxnLst>
                    <a:cxn ang="0">
                      <a:pos x="connsiteX0" y="connsiteY0"/>
                    </a:cxn>
                    <a:cxn ang="0">
                      <a:pos x="connsiteX1" y="connsiteY1"/>
                    </a:cxn>
                  </a:cxnLst>
                  <a:rect l="l" t="t" r="r" b="b"/>
                  <a:pathLst>
                    <a:path w="6160" h="3767">
                      <a:moveTo>
                        <a:pt x="6160" y="0"/>
                      </a:moveTo>
                      <a:lnTo>
                        <a:pt x="0" y="3768"/>
                      </a:lnTo>
                    </a:path>
                  </a:pathLst>
                </a:custGeom>
                <a:noFill/>
                <a:ln w="6350" cap="rnd">
                  <a:solidFill>
                    <a:schemeClr val="bg1">
                      <a:alpha val="40000"/>
                    </a:schemeClr>
                  </a:solidFill>
                  <a:prstDash val="solid"/>
                  <a:round/>
                </a:ln>
              </p:spPr>
              <p:txBody>
                <a:bodyPr rtlCol="0" anchor="ctr"/>
                <a:lstStyle/>
                <a:p>
                  <a:endParaRPr lang="en-GB"/>
                </a:p>
              </p:txBody>
            </p:sp>
            <p:sp>
              <p:nvSpPr>
                <p:cNvPr id="7040" name="Vrije vorm: vorm 7039">
                  <a:extLst>
                    <a:ext uri="{FF2B5EF4-FFF2-40B4-BE49-F238E27FC236}">
                      <a16:creationId xmlns:a16="http://schemas.microsoft.com/office/drawing/2014/main" id="{8816C02F-57C1-447D-A2D3-5AB4E2129C96}"/>
                    </a:ext>
                  </a:extLst>
                </p:cNvPr>
                <p:cNvSpPr/>
                <p:nvPr/>
              </p:nvSpPr>
              <p:spPr>
                <a:xfrm>
                  <a:off x="6741250" y="1933069"/>
                  <a:ext cx="4365" cy="2870"/>
                </a:xfrm>
                <a:custGeom>
                  <a:avLst/>
                  <a:gdLst>
                    <a:gd name="connsiteX0" fmla="*/ 0 w 4365"/>
                    <a:gd name="connsiteY0" fmla="*/ 0 h 2870"/>
                    <a:gd name="connsiteX1" fmla="*/ 119 w 4365"/>
                    <a:gd name="connsiteY1" fmla="*/ 60 h 2870"/>
                    <a:gd name="connsiteX2" fmla="*/ 239 w 4365"/>
                    <a:gd name="connsiteY2" fmla="*/ 120 h 2870"/>
                    <a:gd name="connsiteX3" fmla="*/ 1316 w 4365"/>
                    <a:gd name="connsiteY3" fmla="*/ 837 h 2870"/>
                    <a:gd name="connsiteX4" fmla="*/ 4366 w 4365"/>
                    <a:gd name="connsiteY4" fmla="*/ 2871 h 2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5" h="2870">
                      <a:moveTo>
                        <a:pt x="0" y="0"/>
                      </a:moveTo>
                      <a:lnTo>
                        <a:pt x="119" y="60"/>
                      </a:lnTo>
                      <a:lnTo>
                        <a:pt x="239" y="120"/>
                      </a:lnTo>
                      <a:lnTo>
                        <a:pt x="1316" y="837"/>
                      </a:lnTo>
                      <a:lnTo>
                        <a:pt x="4366" y="2871"/>
                      </a:lnTo>
                    </a:path>
                  </a:pathLst>
                </a:custGeom>
                <a:noFill/>
                <a:ln w="6350" cap="rnd">
                  <a:solidFill>
                    <a:schemeClr val="bg1">
                      <a:alpha val="40000"/>
                    </a:schemeClr>
                  </a:solidFill>
                  <a:prstDash val="solid"/>
                  <a:round/>
                </a:ln>
              </p:spPr>
              <p:txBody>
                <a:bodyPr rtlCol="0" anchor="ctr"/>
                <a:lstStyle/>
                <a:p>
                  <a:endParaRPr lang="en-GB"/>
                </a:p>
              </p:txBody>
            </p:sp>
            <p:sp>
              <p:nvSpPr>
                <p:cNvPr id="7041" name="Vrije vorm: vorm 7040">
                  <a:extLst>
                    <a:ext uri="{FF2B5EF4-FFF2-40B4-BE49-F238E27FC236}">
                      <a16:creationId xmlns:a16="http://schemas.microsoft.com/office/drawing/2014/main" id="{16369443-BBA2-4E72-A5C7-4F6868D24C06}"/>
                    </a:ext>
                  </a:extLst>
                </p:cNvPr>
                <p:cNvSpPr/>
                <p:nvPr/>
              </p:nvSpPr>
              <p:spPr>
                <a:xfrm>
                  <a:off x="6741130" y="1937435"/>
                  <a:ext cx="2631" cy="1734"/>
                </a:xfrm>
                <a:custGeom>
                  <a:avLst/>
                  <a:gdLst>
                    <a:gd name="connsiteX0" fmla="*/ 2632 w 2631"/>
                    <a:gd name="connsiteY0" fmla="*/ 1734 h 1734"/>
                    <a:gd name="connsiteX1" fmla="*/ 0 w 2631"/>
                    <a:gd name="connsiteY1" fmla="*/ 0 h 1734"/>
                  </a:gdLst>
                  <a:ahLst/>
                  <a:cxnLst>
                    <a:cxn ang="0">
                      <a:pos x="connsiteX0" y="connsiteY0"/>
                    </a:cxn>
                    <a:cxn ang="0">
                      <a:pos x="connsiteX1" y="connsiteY1"/>
                    </a:cxn>
                  </a:cxnLst>
                  <a:rect l="l" t="t" r="r" b="b"/>
                  <a:pathLst>
                    <a:path w="2631" h="1734">
                      <a:moveTo>
                        <a:pt x="2632" y="1734"/>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42" name="Vrije vorm: vorm 7041">
                  <a:extLst>
                    <a:ext uri="{FF2B5EF4-FFF2-40B4-BE49-F238E27FC236}">
                      <a16:creationId xmlns:a16="http://schemas.microsoft.com/office/drawing/2014/main" id="{B7D3F8CF-3CA6-475C-8A6A-0DD6284CD998}"/>
                    </a:ext>
                  </a:extLst>
                </p:cNvPr>
                <p:cNvSpPr/>
                <p:nvPr/>
              </p:nvSpPr>
              <p:spPr>
                <a:xfrm>
                  <a:off x="6724504" y="1893178"/>
                  <a:ext cx="957" cy="657"/>
                </a:xfrm>
                <a:custGeom>
                  <a:avLst/>
                  <a:gdLst>
                    <a:gd name="connsiteX0" fmla="*/ 0 w 957"/>
                    <a:gd name="connsiteY0" fmla="*/ 0 h 657"/>
                    <a:gd name="connsiteX1" fmla="*/ 957 w 957"/>
                    <a:gd name="connsiteY1" fmla="*/ 658 h 657"/>
                  </a:gdLst>
                  <a:ahLst/>
                  <a:cxnLst>
                    <a:cxn ang="0">
                      <a:pos x="connsiteX0" y="connsiteY0"/>
                    </a:cxn>
                    <a:cxn ang="0">
                      <a:pos x="connsiteX1" y="connsiteY1"/>
                    </a:cxn>
                  </a:cxnLst>
                  <a:rect l="l" t="t" r="r" b="b"/>
                  <a:pathLst>
                    <a:path w="957" h="657">
                      <a:moveTo>
                        <a:pt x="0" y="0"/>
                      </a:moveTo>
                      <a:lnTo>
                        <a:pt x="957" y="658"/>
                      </a:lnTo>
                    </a:path>
                  </a:pathLst>
                </a:custGeom>
                <a:noFill/>
                <a:ln w="6350" cap="rnd">
                  <a:solidFill>
                    <a:schemeClr val="bg1">
                      <a:alpha val="40000"/>
                    </a:schemeClr>
                  </a:solidFill>
                  <a:prstDash val="solid"/>
                  <a:round/>
                </a:ln>
              </p:spPr>
              <p:txBody>
                <a:bodyPr rtlCol="0" anchor="ctr"/>
                <a:lstStyle/>
                <a:p>
                  <a:endParaRPr lang="en-GB"/>
                </a:p>
              </p:txBody>
            </p:sp>
            <p:sp>
              <p:nvSpPr>
                <p:cNvPr id="7043" name="Vrije vorm: vorm 7042">
                  <a:extLst>
                    <a:ext uri="{FF2B5EF4-FFF2-40B4-BE49-F238E27FC236}">
                      <a16:creationId xmlns:a16="http://schemas.microsoft.com/office/drawing/2014/main" id="{B6E17B28-4A2A-4E40-9026-5B17FF9056BE}"/>
                    </a:ext>
                  </a:extLst>
                </p:cNvPr>
                <p:cNvSpPr/>
                <p:nvPr/>
              </p:nvSpPr>
              <p:spPr>
                <a:xfrm>
                  <a:off x="6707459" y="1899398"/>
                  <a:ext cx="777" cy="2332"/>
                </a:xfrm>
                <a:custGeom>
                  <a:avLst/>
                  <a:gdLst>
                    <a:gd name="connsiteX0" fmla="*/ 778 w 777"/>
                    <a:gd name="connsiteY0" fmla="*/ 0 h 2332"/>
                    <a:gd name="connsiteX1" fmla="*/ 239 w 777"/>
                    <a:gd name="connsiteY1" fmla="*/ 1555 h 2332"/>
                    <a:gd name="connsiteX2" fmla="*/ 0 w 777"/>
                    <a:gd name="connsiteY2" fmla="*/ 2332 h 2332"/>
                  </a:gdLst>
                  <a:ahLst/>
                  <a:cxnLst>
                    <a:cxn ang="0">
                      <a:pos x="connsiteX0" y="connsiteY0"/>
                    </a:cxn>
                    <a:cxn ang="0">
                      <a:pos x="connsiteX1" y="connsiteY1"/>
                    </a:cxn>
                    <a:cxn ang="0">
                      <a:pos x="connsiteX2" y="connsiteY2"/>
                    </a:cxn>
                  </a:cxnLst>
                  <a:rect l="l" t="t" r="r" b="b"/>
                  <a:pathLst>
                    <a:path w="777" h="2332">
                      <a:moveTo>
                        <a:pt x="778" y="0"/>
                      </a:moveTo>
                      <a:lnTo>
                        <a:pt x="239" y="1555"/>
                      </a:lnTo>
                      <a:lnTo>
                        <a:pt x="0" y="2332"/>
                      </a:lnTo>
                    </a:path>
                  </a:pathLst>
                </a:custGeom>
                <a:noFill/>
                <a:ln w="6350" cap="rnd">
                  <a:solidFill>
                    <a:schemeClr val="bg1">
                      <a:alpha val="40000"/>
                    </a:schemeClr>
                  </a:solidFill>
                  <a:prstDash val="solid"/>
                  <a:round/>
                </a:ln>
              </p:spPr>
              <p:txBody>
                <a:bodyPr rtlCol="0" anchor="ctr"/>
                <a:lstStyle/>
                <a:p>
                  <a:endParaRPr lang="en-GB"/>
                </a:p>
              </p:txBody>
            </p:sp>
            <p:sp>
              <p:nvSpPr>
                <p:cNvPr id="7044" name="Vrije vorm: vorm 7043">
                  <a:extLst>
                    <a:ext uri="{FF2B5EF4-FFF2-40B4-BE49-F238E27FC236}">
                      <a16:creationId xmlns:a16="http://schemas.microsoft.com/office/drawing/2014/main" id="{C1DC141E-1A6D-4855-B661-5654A23507D3}"/>
                    </a:ext>
                  </a:extLst>
                </p:cNvPr>
                <p:cNvSpPr/>
                <p:nvPr/>
              </p:nvSpPr>
              <p:spPr>
                <a:xfrm>
                  <a:off x="6714097" y="1891025"/>
                  <a:ext cx="119" cy="59"/>
                </a:xfrm>
                <a:custGeom>
                  <a:avLst/>
                  <a:gdLst>
                    <a:gd name="connsiteX0" fmla="*/ 0 w 119"/>
                    <a:gd name="connsiteY0" fmla="*/ 0 h 59"/>
                    <a:gd name="connsiteX1" fmla="*/ 120 w 119"/>
                    <a:gd name="connsiteY1" fmla="*/ 60 h 59"/>
                  </a:gdLst>
                  <a:ahLst/>
                  <a:cxnLst>
                    <a:cxn ang="0">
                      <a:pos x="connsiteX0" y="connsiteY0"/>
                    </a:cxn>
                    <a:cxn ang="0">
                      <a:pos x="connsiteX1" y="connsiteY1"/>
                    </a:cxn>
                  </a:cxnLst>
                  <a:rect l="l" t="t" r="r" b="b"/>
                  <a:pathLst>
                    <a:path w="119" h="59">
                      <a:moveTo>
                        <a:pt x="0" y="0"/>
                      </a:moveTo>
                      <a:lnTo>
                        <a:pt x="120" y="60"/>
                      </a:lnTo>
                    </a:path>
                  </a:pathLst>
                </a:custGeom>
                <a:noFill/>
                <a:ln w="6350" cap="rnd">
                  <a:solidFill>
                    <a:schemeClr val="bg1">
                      <a:alpha val="40000"/>
                    </a:schemeClr>
                  </a:solidFill>
                  <a:prstDash val="solid"/>
                  <a:round/>
                </a:ln>
              </p:spPr>
              <p:txBody>
                <a:bodyPr rtlCol="0" anchor="ctr"/>
                <a:lstStyle/>
                <a:p>
                  <a:endParaRPr lang="en-GB"/>
                </a:p>
              </p:txBody>
            </p:sp>
            <p:sp>
              <p:nvSpPr>
                <p:cNvPr id="7045" name="Vrije vorm: vorm 7044">
                  <a:extLst>
                    <a:ext uri="{FF2B5EF4-FFF2-40B4-BE49-F238E27FC236}">
                      <a16:creationId xmlns:a16="http://schemas.microsoft.com/office/drawing/2014/main" id="{3659712A-C1FC-482F-8DF7-CCCED676785D}"/>
                    </a:ext>
                  </a:extLst>
                </p:cNvPr>
                <p:cNvSpPr/>
                <p:nvPr/>
              </p:nvSpPr>
              <p:spPr>
                <a:xfrm>
                  <a:off x="6657879" y="1962674"/>
                  <a:ext cx="4904" cy="3528"/>
                </a:xfrm>
                <a:custGeom>
                  <a:avLst/>
                  <a:gdLst>
                    <a:gd name="connsiteX0" fmla="*/ 0 w 4904"/>
                    <a:gd name="connsiteY0" fmla="*/ 3529 h 3528"/>
                    <a:gd name="connsiteX1" fmla="*/ 538 w 4904"/>
                    <a:gd name="connsiteY1" fmla="*/ 3170 h 3528"/>
                    <a:gd name="connsiteX2" fmla="*/ 4904 w 4904"/>
                    <a:gd name="connsiteY2" fmla="*/ 0 h 3528"/>
                  </a:gdLst>
                  <a:ahLst/>
                  <a:cxnLst>
                    <a:cxn ang="0">
                      <a:pos x="connsiteX0" y="connsiteY0"/>
                    </a:cxn>
                    <a:cxn ang="0">
                      <a:pos x="connsiteX1" y="connsiteY1"/>
                    </a:cxn>
                    <a:cxn ang="0">
                      <a:pos x="connsiteX2" y="connsiteY2"/>
                    </a:cxn>
                  </a:cxnLst>
                  <a:rect l="l" t="t" r="r" b="b"/>
                  <a:pathLst>
                    <a:path w="4904" h="3528">
                      <a:moveTo>
                        <a:pt x="0" y="3529"/>
                      </a:moveTo>
                      <a:lnTo>
                        <a:pt x="538" y="3170"/>
                      </a:lnTo>
                      <a:lnTo>
                        <a:pt x="4904" y="0"/>
                      </a:lnTo>
                    </a:path>
                  </a:pathLst>
                </a:custGeom>
                <a:noFill/>
                <a:ln w="6350" cap="rnd">
                  <a:solidFill>
                    <a:schemeClr val="bg1">
                      <a:alpha val="40000"/>
                    </a:schemeClr>
                  </a:solidFill>
                  <a:prstDash val="solid"/>
                  <a:round/>
                </a:ln>
              </p:spPr>
              <p:txBody>
                <a:bodyPr rtlCol="0" anchor="ctr"/>
                <a:lstStyle/>
                <a:p>
                  <a:endParaRPr lang="en-GB"/>
                </a:p>
              </p:txBody>
            </p:sp>
            <p:sp>
              <p:nvSpPr>
                <p:cNvPr id="7046" name="Vrije vorm: vorm 7045">
                  <a:extLst>
                    <a:ext uri="{FF2B5EF4-FFF2-40B4-BE49-F238E27FC236}">
                      <a16:creationId xmlns:a16="http://schemas.microsoft.com/office/drawing/2014/main" id="{FF4494A7-53C6-4F74-9C54-A25B5A5358C0}"/>
                    </a:ext>
                  </a:extLst>
                </p:cNvPr>
                <p:cNvSpPr/>
                <p:nvPr/>
              </p:nvSpPr>
              <p:spPr>
                <a:xfrm>
                  <a:off x="6688201" y="1902687"/>
                  <a:ext cx="31039" cy="20633"/>
                </a:xfrm>
                <a:custGeom>
                  <a:avLst/>
                  <a:gdLst>
                    <a:gd name="connsiteX0" fmla="*/ 31040 w 31039"/>
                    <a:gd name="connsiteY0" fmla="*/ 20633 h 20633"/>
                    <a:gd name="connsiteX1" fmla="*/ 30801 w 31039"/>
                    <a:gd name="connsiteY1" fmla="*/ 20454 h 20633"/>
                    <a:gd name="connsiteX2" fmla="*/ 30741 w 31039"/>
                    <a:gd name="connsiteY2" fmla="*/ 20394 h 20633"/>
                    <a:gd name="connsiteX3" fmla="*/ 30681 w 31039"/>
                    <a:gd name="connsiteY3" fmla="*/ 20334 h 20633"/>
                    <a:gd name="connsiteX4" fmla="*/ 24461 w 31039"/>
                    <a:gd name="connsiteY4" fmla="*/ 16208 h 20633"/>
                    <a:gd name="connsiteX5" fmla="*/ 23086 w 31039"/>
                    <a:gd name="connsiteY5" fmla="*/ 15311 h 20633"/>
                    <a:gd name="connsiteX6" fmla="*/ 20813 w 31039"/>
                    <a:gd name="connsiteY6" fmla="*/ 13815 h 20633"/>
                    <a:gd name="connsiteX7" fmla="*/ 18540 w 31039"/>
                    <a:gd name="connsiteY7" fmla="*/ 12320 h 20633"/>
                    <a:gd name="connsiteX8" fmla="*/ 18360 w 31039"/>
                    <a:gd name="connsiteY8" fmla="*/ 12201 h 20633"/>
                    <a:gd name="connsiteX9" fmla="*/ 17344 w 31039"/>
                    <a:gd name="connsiteY9" fmla="*/ 11543 h 20633"/>
                    <a:gd name="connsiteX10" fmla="*/ 13337 w 31039"/>
                    <a:gd name="connsiteY10" fmla="*/ 8911 h 20633"/>
                    <a:gd name="connsiteX11" fmla="*/ 11902 w 31039"/>
                    <a:gd name="connsiteY11" fmla="*/ 7954 h 20633"/>
                    <a:gd name="connsiteX12" fmla="*/ 11064 w 31039"/>
                    <a:gd name="connsiteY12" fmla="*/ 7416 h 20633"/>
                    <a:gd name="connsiteX13" fmla="*/ 7954 w 31039"/>
                    <a:gd name="connsiteY13" fmla="*/ 5323 h 20633"/>
                    <a:gd name="connsiteX14" fmla="*/ 2691 w 31039"/>
                    <a:gd name="connsiteY14" fmla="*/ 1854 h 20633"/>
                    <a:gd name="connsiteX15" fmla="*/ 2632 w 31039"/>
                    <a:gd name="connsiteY15" fmla="*/ 1794 h 20633"/>
                    <a:gd name="connsiteX16" fmla="*/ 1136 w 31039"/>
                    <a:gd name="connsiteY16" fmla="*/ 777 h 20633"/>
                    <a:gd name="connsiteX17" fmla="*/ 538 w 31039"/>
                    <a:gd name="connsiteY17" fmla="*/ 359 h 20633"/>
                    <a:gd name="connsiteX18" fmla="*/ 0 w 31039"/>
                    <a:gd name="connsiteY18" fmla="*/ 0 h 2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039" h="20633">
                      <a:moveTo>
                        <a:pt x="31040" y="20633"/>
                      </a:moveTo>
                      <a:lnTo>
                        <a:pt x="30801" y="20454"/>
                      </a:lnTo>
                      <a:lnTo>
                        <a:pt x="30741" y="20394"/>
                      </a:lnTo>
                      <a:lnTo>
                        <a:pt x="30681" y="20334"/>
                      </a:lnTo>
                      <a:lnTo>
                        <a:pt x="24461" y="16208"/>
                      </a:lnTo>
                      <a:lnTo>
                        <a:pt x="23086" y="15311"/>
                      </a:lnTo>
                      <a:lnTo>
                        <a:pt x="20813" y="13815"/>
                      </a:lnTo>
                      <a:lnTo>
                        <a:pt x="18540" y="12320"/>
                      </a:lnTo>
                      <a:lnTo>
                        <a:pt x="18360" y="12201"/>
                      </a:lnTo>
                      <a:lnTo>
                        <a:pt x="17344" y="11543"/>
                      </a:lnTo>
                      <a:lnTo>
                        <a:pt x="13337" y="8911"/>
                      </a:lnTo>
                      <a:lnTo>
                        <a:pt x="11902" y="7954"/>
                      </a:lnTo>
                      <a:lnTo>
                        <a:pt x="11064" y="7416"/>
                      </a:lnTo>
                      <a:lnTo>
                        <a:pt x="7954" y="5323"/>
                      </a:lnTo>
                      <a:lnTo>
                        <a:pt x="2691" y="1854"/>
                      </a:lnTo>
                      <a:lnTo>
                        <a:pt x="2632" y="1794"/>
                      </a:lnTo>
                      <a:lnTo>
                        <a:pt x="1136" y="777"/>
                      </a:lnTo>
                      <a:lnTo>
                        <a:pt x="538" y="35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47" name="Vrije vorm: vorm 7046">
                  <a:extLst>
                    <a:ext uri="{FF2B5EF4-FFF2-40B4-BE49-F238E27FC236}">
                      <a16:creationId xmlns:a16="http://schemas.microsoft.com/office/drawing/2014/main" id="{0728A003-AA2A-440C-8651-01DD2BFC7503}"/>
                    </a:ext>
                  </a:extLst>
                </p:cNvPr>
                <p:cNvSpPr/>
                <p:nvPr/>
              </p:nvSpPr>
              <p:spPr>
                <a:xfrm>
                  <a:off x="6732040" y="1823323"/>
                  <a:ext cx="1016" cy="1196"/>
                </a:xfrm>
                <a:custGeom>
                  <a:avLst/>
                  <a:gdLst>
                    <a:gd name="connsiteX0" fmla="*/ 1017 w 1016"/>
                    <a:gd name="connsiteY0" fmla="*/ 1196 h 1196"/>
                    <a:gd name="connsiteX1" fmla="*/ 0 w 1016"/>
                    <a:gd name="connsiteY1" fmla="*/ 0 h 1196"/>
                  </a:gdLst>
                  <a:ahLst/>
                  <a:cxnLst>
                    <a:cxn ang="0">
                      <a:pos x="connsiteX0" y="connsiteY0"/>
                    </a:cxn>
                    <a:cxn ang="0">
                      <a:pos x="connsiteX1" y="connsiteY1"/>
                    </a:cxn>
                  </a:cxnLst>
                  <a:rect l="l" t="t" r="r" b="b"/>
                  <a:pathLst>
                    <a:path w="1016" h="1196">
                      <a:moveTo>
                        <a:pt x="1017" y="1196"/>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48" name="Vrije vorm: vorm 7047">
                  <a:extLst>
                    <a:ext uri="{FF2B5EF4-FFF2-40B4-BE49-F238E27FC236}">
                      <a16:creationId xmlns:a16="http://schemas.microsoft.com/office/drawing/2014/main" id="{8AF6A49C-728F-4914-A512-8DA0828ED93F}"/>
                    </a:ext>
                  </a:extLst>
                </p:cNvPr>
                <p:cNvSpPr/>
                <p:nvPr/>
              </p:nvSpPr>
              <p:spPr>
                <a:xfrm>
                  <a:off x="6651659" y="1938332"/>
                  <a:ext cx="3289" cy="1315"/>
                </a:xfrm>
                <a:custGeom>
                  <a:avLst/>
                  <a:gdLst>
                    <a:gd name="connsiteX0" fmla="*/ 0 w 3289"/>
                    <a:gd name="connsiteY0" fmla="*/ 1316 h 1315"/>
                    <a:gd name="connsiteX1" fmla="*/ 3290 w 3289"/>
                    <a:gd name="connsiteY1" fmla="*/ 0 h 1315"/>
                  </a:gdLst>
                  <a:ahLst/>
                  <a:cxnLst>
                    <a:cxn ang="0">
                      <a:pos x="connsiteX0" y="connsiteY0"/>
                    </a:cxn>
                    <a:cxn ang="0">
                      <a:pos x="connsiteX1" y="connsiteY1"/>
                    </a:cxn>
                  </a:cxnLst>
                  <a:rect l="l" t="t" r="r" b="b"/>
                  <a:pathLst>
                    <a:path w="3289" h="1315">
                      <a:moveTo>
                        <a:pt x="0" y="1316"/>
                      </a:moveTo>
                      <a:lnTo>
                        <a:pt x="3290" y="0"/>
                      </a:lnTo>
                    </a:path>
                  </a:pathLst>
                </a:custGeom>
                <a:noFill/>
                <a:ln w="6350" cap="rnd">
                  <a:solidFill>
                    <a:schemeClr val="bg1">
                      <a:alpha val="40000"/>
                    </a:schemeClr>
                  </a:solidFill>
                  <a:prstDash val="solid"/>
                  <a:round/>
                </a:ln>
              </p:spPr>
              <p:txBody>
                <a:bodyPr rtlCol="0" anchor="ctr"/>
                <a:lstStyle/>
                <a:p>
                  <a:endParaRPr lang="en-GB"/>
                </a:p>
              </p:txBody>
            </p:sp>
            <p:sp>
              <p:nvSpPr>
                <p:cNvPr id="7049" name="Vrije vorm: vorm 7048">
                  <a:extLst>
                    <a:ext uri="{FF2B5EF4-FFF2-40B4-BE49-F238E27FC236}">
                      <a16:creationId xmlns:a16="http://schemas.microsoft.com/office/drawing/2014/main" id="{59A70D91-BE8A-4679-99F9-0B3D420E7D7A}"/>
                    </a:ext>
                  </a:extLst>
                </p:cNvPr>
                <p:cNvSpPr/>
                <p:nvPr/>
              </p:nvSpPr>
              <p:spPr>
                <a:xfrm>
                  <a:off x="6692088" y="1877508"/>
                  <a:ext cx="957" cy="239"/>
                </a:xfrm>
                <a:custGeom>
                  <a:avLst/>
                  <a:gdLst>
                    <a:gd name="connsiteX0" fmla="*/ 0 w 957"/>
                    <a:gd name="connsiteY0" fmla="*/ 239 h 239"/>
                    <a:gd name="connsiteX1" fmla="*/ 957 w 957"/>
                    <a:gd name="connsiteY1" fmla="*/ 0 h 239"/>
                  </a:gdLst>
                  <a:ahLst/>
                  <a:cxnLst>
                    <a:cxn ang="0">
                      <a:pos x="connsiteX0" y="connsiteY0"/>
                    </a:cxn>
                    <a:cxn ang="0">
                      <a:pos x="connsiteX1" y="connsiteY1"/>
                    </a:cxn>
                  </a:cxnLst>
                  <a:rect l="l" t="t" r="r" b="b"/>
                  <a:pathLst>
                    <a:path w="957" h="239">
                      <a:moveTo>
                        <a:pt x="0" y="239"/>
                      </a:moveTo>
                      <a:lnTo>
                        <a:pt x="957" y="0"/>
                      </a:lnTo>
                    </a:path>
                  </a:pathLst>
                </a:custGeom>
                <a:noFill/>
                <a:ln w="6350" cap="rnd">
                  <a:solidFill>
                    <a:schemeClr val="bg1">
                      <a:alpha val="40000"/>
                    </a:schemeClr>
                  </a:solidFill>
                  <a:prstDash val="solid"/>
                  <a:round/>
                </a:ln>
              </p:spPr>
              <p:txBody>
                <a:bodyPr rtlCol="0" anchor="ctr"/>
                <a:lstStyle/>
                <a:p>
                  <a:endParaRPr lang="en-GB"/>
                </a:p>
              </p:txBody>
            </p:sp>
            <p:sp>
              <p:nvSpPr>
                <p:cNvPr id="7050" name="Vrije vorm: vorm 7049">
                  <a:extLst>
                    <a:ext uri="{FF2B5EF4-FFF2-40B4-BE49-F238E27FC236}">
                      <a16:creationId xmlns:a16="http://schemas.microsoft.com/office/drawing/2014/main" id="{A74BD924-06C2-43B7-B27E-FED5458B9A3A}"/>
                    </a:ext>
                  </a:extLst>
                </p:cNvPr>
                <p:cNvSpPr/>
                <p:nvPr/>
              </p:nvSpPr>
              <p:spPr>
                <a:xfrm>
                  <a:off x="6655606" y="1920211"/>
                  <a:ext cx="2691" cy="598"/>
                </a:xfrm>
                <a:custGeom>
                  <a:avLst/>
                  <a:gdLst>
                    <a:gd name="connsiteX0" fmla="*/ 0 w 2691"/>
                    <a:gd name="connsiteY0" fmla="*/ 598 h 598"/>
                    <a:gd name="connsiteX1" fmla="*/ 1375 w 2691"/>
                    <a:gd name="connsiteY1" fmla="*/ 299 h 598"/>
                    <a:gd name="connsiteX2" fmla="*/ 2691 w 2691"/>
                    <a:gd name="connsiteY2" fmla="*/ 0 h 598"/>
                  </a:gdLst>
                  <a:ahLst/>
                  <a:cxnLst>
                    <a:cxn ang="0">
                      <a:pos x="connsiteX0" y="connsiteY0"/>
                    </a:cxn>
                    <a:cxn ang="0">
                      <a:pos x="connsiteX1" y="connsiteY1"/>
                    </a:cxn>
                    <a:cxn ang="0">
                      <a:pos x="connsiteX2" y="connsiteY2"/>
                    </a:cxn>
                  </a:cxnLst>
                  <a:rect l="l" t="t" r="r" b="b"/>
                  <a:pathLst>
                    <a:path w="2691" h="598">
                      <a:moveTo>
                        <a:pt x="0" y="598"/>
                      </a:moveTo>
                      <a:lnTo>
                        <a:pt x="1375" y="299"/>
                      </a:lnTo>
                      <a:lnTo>
                        <a:pt x="2691" y="0"/>
                      </a:lnTo>
                    </a:path>
                  </a:pathLst>
                </a:custGeom>
                <a:noFill/>
                <a:ln w="6350" cap="rnd">
                  <a:solidFill>
                    <a:schemeClr val="bg1">
                      <a:alpha val="40000"/>
                    </a:schemeClr>
                  </a:solidFill>
                  <a:prstDash val="solid"/>
                  <a:round/>
                </a:ln>
              </p:spPr>
              <p:txBody>
                <a:bodyPr rtlCol="0" anchor="ctr"/>
                <a:lstStyle/>
                <a:p>
                  <a:endParaRPr lang="en-GB"/>
                </a:p>
              </p:txBody>
            </p:sp>
            <p:sp>
              <p:nvSpPr>
                <p:cNvPr id="7051" name="Vrije vorm: vorm 7050">
                  <a:extLst>
                    <a:ext uri="{FF2B5EF4-FFF2-40B4-BE49-F238E27FC236}">
                      <a16:creationId xmlns:a16="http://schemas.microsoft.com/office/drawing/2014/main" id="{EC583C40-24F7-4C0F-88EC-75FB3E5DB5BF}"/>
                    </a:ext>
                  </a:extLst>
                </p:cNvPr>
                <p:cNvSpPr/>
                <p:nvPr/>
              </p:nvSpPr>
              <p:spPr>
                <a:xfrm>
                  <a:off x="6712722" y="1809208"/>
                  <a:ext cx="597" cy="717"/>
                </a:xfrm>
                <a:custGeom>
                  <a:avLst/>
                  <a:gdLst>
                    <a:gd name="connsiteX0" fmla="*/ 0 w 597"/>
                    <a:gd name="connsiteY0" fmla="*/ 718 h 717"/>
                    <a:gd name="connsiteX1" fmla="*/ 598 w 597"/>
                    <a:gd name="connsiteY1" fmla="*/ 0 h 717"/>
                  </a:gdLst>
                  <a:ahLst/>
                  <a:cxnLst>
                    <a:cxn ang="0">
                      <a:pos x="connsiteX0" y="connsiteY0"/>
                    </a:cxn>
                    <a:cxn ang="0">
                      <a:pos x="connsiteX1" y="connsiteY1"/>
                    </a:cxn>
                  </a:cxnLst>
                  <a:rect l="l" t="t" r="r" b="b"/>
                  <a:pathLst>
                    <a:path w="597" h="717">
                      <a:moveTo>
                        <a:pt x="0" y="718"/>
                      </a:moveTo>
                      <a:lnTo>
                        <a:pt x="598" y="0"/>
                      </a:lnTo>
                    </a:path>
                  </a:pathLst>
                </a:custGeom>
                <a:noFill/>
                <a:ln w="6350" cap="rnd">
                  <a:solidFill>
                    <a:schemeClr val="bg1">
                      <a:alpha val="40000"/>
                    </a:schemeClr>
                  </a:solidFill>
                  <a:prstDash val="solid"/>
                  <a:round/>
                </a:ln>
              </p:spPr>
              <p:txBody>
                <a:bodyPr rtlCol="0" anchor="ctr"/>
                <a:lstStyle/>
                <a:p>
                  <a:endParaRPr lang="en-GB"/>
                </a:p>
              </p:txBody>
            </p:sp>
            <p:sp>
              <p:nvSpPr>
                <p:cNvPr id="7052" name="Vrije vorm: vorm 7051">
                  <a:extLst>
                    <a:ext uri="{FF2B5EF4-FFF2-40B4-BE49-F238E27FC236}">
                      <a16:creationId xmlns:a16="http://schemas.microsoft.com/office/drawing/2014/main" id="{58979072-0679-44EF-ABBC-FD02BB68A244}"/>
                    </a:ext>
                  </a:extLst>
                </p:cNvPr>
                <p:cNvSpPr/>
                <p:nvPr/>
              </p:nvSpPr>
              <p:spPr>
                <a:xfrm>
                  <a:off x="6652795" y="1909505"/>
                  <a:ext cx="1495" cy="119"/>
                </a:xfrm>
                <a:custGeom>
                  <a:avLst/>
                  <a:gdLst>
                    <a:gd name="connsiteX0" fmla="*/ 1495 w 1495"/>
                    <a:gd name="connsiteY0" fmla="*/ 120 h 119"/>
                    <a:gd name="connsiteX1" fmla="*/ 0 w 1495"/>
                    <a:gd name="connsiteY1" fmla="*/ 0 h 119"/>
                  </a:gdLst>
                  <a:ahLst/>
                  <a:cxnLst>
                    <a:cxn ang="0">
                      <a:pos x="connsiteX0" y="connsiteY0"/>
                    </a:cxn>
                    <a:cxn ang="0">
                      <a:pos x="connsiteX1" y="connsiteY1"/>
                    </a:cxn>
                  </a:cxnLst>
                  <a:rect l="l" t="t" r="r" b="b"/>
                  <a:pathLst>
                    <a:path w="1495" h="119">
                      <a:moveTo>
                        <a:pt x="1495" y="12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53" name="Vrije vorm: vorm 7052">
                  <a:extLst>
                    <a:ext uri="{FF2B5EF4-FFF2-40B4-BE49-F238E27FC236}">
                      <a16:creationId xmlns:a16="http://schemas.microsoft.com/office/drawing/2014/main" id="{1BF027BA-7EA4-4D6D-9C59-7962736A6EE4}"/>
                    </a:ext>
                  </a:extLst>
                </p:cNvPr>
                <p:cNvSpPr/>
                <p:nvPr/>
              </p:nvSpPr>
              <p:spPr>
                <a:xfrm>
                  <a:off x="6622652" y="1956872"/>
                  <a:ext cx="119" cy="119"/>
                </a:xfrm>
                <a:custGeom>
                  <a:avLst/>
                  <a:gdLst>
                    <a:gd name="connsiteX0" fmla="*/ 120 w 119"/>
                    <a:gd name="connsiteY0" fmla="*/ 0 h 119"/>
                    <a:gd name="connsiteX1" fmla="*/ 0 w 119"/>
                    <a:gd name="connsiteY1" fmla="*/ 120 h 119"/>
                  </a:gdLst>
                  <a:ahLst/>
                  <a:cxnLst>
                    <a:cxn ang="0">
                      <a:pos x="connsiteX0" y="connsiteY0"/>
                    </a:cxn>
                    <a:cxn ang="0">
                      <a:pos x="connsiteX1" y="connsiteY1"/>
                    </a:cxn>
                  </a:cxnLst>
                  <a:rect l="l" t="t" r="r" b="b"/>
                  <a:pathLst>
                    <a:path w="119" h="119">
                      <a:moveTo>
                        <a:pt x="120" y="0"/>
                      </a:moveTo>
                      <a:lnTo>
                        <a:pt x="0" y="120"/>
                      </a:lnTo>
                    </a:path>
                  </a:pathLst>
                </a:custGeom>
                <a:noFill/>
                <a:ln w="6350" cap="rnd">
                  <a:solidFill>
                    <a:schemeClr val="bg1">
                      <a:alpha val="40000"/>
                    </a:schemeClr>
                  </a:solidFill>
                  <a:prstDash val="solid"/>
                  <a:round/>
                </a:ln>
              </p:spPr>
              <p:txBody>
                <a:bodyPr rtlCol="0" anchor="ctr"/>
                <a:lstStyle/>
                <a:p>
                  <a:endParaRPr lang="en-GB"/>
                </a:p>
              </p:txBody>
            </p:sp>
            <p:sp>
              <p:nvSpPr>
                <p:cNvPr id="7054" name="Vrije vorm: vorm 7053">
                  <a:extLst>
                    <a:ext uri="{FF2B5EF4-FFF2-40B4-BE49-F238E27FC236}">
                      <a16:creationId xmlns:a16="http://schemas.microsoft.com/office/drawing/2014/main" id="{E95BE4D3-FD7F-4B54-BF4B-CDBD492B30D4}"/>
                    </a:ext>
                  </a:extLst>
                </p:cNvPr>
                <p:cNvSpPr/>
                <p:nvPr/>
              </p:nvSpPr>
              <p:spPr>
                <a:xfrm>
                  <a:off x="6622772" y="1956813"/>
                  <a:ext cx="4963" cy="3648"/>
                </a:xfrm>
                <a:custGeom>
                  <a:avLst/>
                  <a:gdLst>
                    <a:gd name="connsiteX0" fmla="*/ 4964 w 4963"/>
                    <a:gd name="connsiteY0" fmla="*/ 3648 h 3648"/>
                    <a:gd name="connsiteX1" fmla="*/ 0 w 4963"/>
                    <a:gd name="connsiteY1" fmla="*/ 0 h 3648"/>
                  </a:gdLst>
                  <a:ahLst/>
                  <a:cxnLst>
                    <a:cxn ang="0">
                      <a:pos x="connsiteX0" y="connsiteY0"/>
                    </a:cxn>
                    <a:cxn ang="0">
                      <a:pos x="connsiteX1" y="connsiteY1"/>
                    </a:cxn>
                  </a:cxnLst>
                  <a:rect l="l" t="t" r="r" b="b"/>
                  <a:pathLst>
                    <a:path w="4963" h="3648">
                      <a:moveTo>
                        <a:pt x="4964" y="3648"/>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55" name="Vrije vorm: vorm 7054">
                  <a:extLst>
                    <a:ext uri="{FF2B5EF4-FFF2-40B4-BE49-F238E27FC236}">
                      <a16:creationId xmlns:a16="http://schemas.microsoft.com/office/drawing/2014/main" id="{6A67B571-D193-4EFC-BF52-543A1A199F46}"/>
                    </a:ext>
                  </a:extLst>
                </p:cNvPr>
                <p:cNvSpPr/>
                <p:nvPr/>
              </p:nvSpPr>
              <p:spPr>
                <a:xfrm>
                  <a:off x="6688739" y="1802869"/>
                  <a:ext cx="8791" cy="837"/>
                </a:xfrm>
                <a:custGeom>
                  <a:avLst/>
                  <a:gdLst>
                    <a:gd name="connsiteX0" fmla="*/ 0 w 8791"/>
                    <a:gd name="connsiteY0" fmla="*/ 0 h 837"/>
                    <a:gd name="connsiteX1" fmla="*/ 1017 w 8791"/>
                    <a:gd name="connsiteY1" fmla="*/ 120 h 837"/>
                    <a:gd name="connsiteX2" fmla="*/ 8792 w 8791"/>
                    <a:gd name="connsiteY2" fmla="*/ 837 h 837"/>
                  </a:gdLst>
                  <a:ahLst/>
                  <a:cxnLst>
                    <a:cxn ang="0">
                      <a:pos x="connsiteX0" y="connsiteY0"/>
                    </a:cxn>
                    <a:cxn ang="0">
                      <a:pos x="connsiteX1" y="connsiteY1"/>
                    </a:cxn>
                    <a:cxn ang="0">
                      <a:pos x="connsiteX2" y="connsiteY2"/>
                    </a:cxn>
                  </a:cxnLst>
                  <a:rect l="l" t="t" r="r" b="b"/>
                  <a:pathLst>
                    <a:path w="8791" h="837">
                      <a:moveTo>
                        <a:pt x="0" y="0"/>
                      </a:moveTo>
                      <a:lnTo>
                        <a:pt x="1017" y="120"/>
                      </a:lnTo>
                      <a:lnTo>
                        <a:pt x="8792" y="837"/>
                      </a:lnTo>
                    </a:path>
                  </a:pathLst>
                </a:custGeom>
                <a:noFill/>
                <a:ln w="6350" cap="rnd">
                  <a:solidFill>
                    <a:schemeClr val="bg1">
                      <a:alpha val="40000"/>
                    </a:schemeClr>
                  </a:solidFill>
                  <a:prstDash val="solid"/>
                  <a:round/>
                </a:ln>
              </p:spPr>
              <p:txBody>
                <a:bodyPr rtlCol="0" anchor="ctr"/>
                <a:lstStyle/>
                <a:p>
                  <a:endParaRPr lang="en-GB"/>
                </a:p>
              </p:txBody>
            </p:sp>
            <p:sp>
              <p:nvSpPr>
                <p:cNvPr id="7056" name="Vrije vorm: vorm 7055">
                  <a:extLst>
                    <a:ext uri="{FF2B5EF4-FFF2-40B4-BE49-F238E27FC236}">
                      <a16:creationId xmlns:a16="http://schemas.microsoft.com/office/drawing/2014/main" id="{55CAF9D0-B87A-4D6F-8CDC-518BD7C4C247}"/>
                    </a:ext>
                  </a:extLst>
                </p:cNvPr>
                <p:cNvSpPr/>
                <p:nvPr/>
              </p:nvSpPr>
              <p:spPr>
                <a:xfrm>
                  <a:off x="6640415" y="1825057"/>
                  <a:ext cx="5980" cy="358"/>
                </a:xfrm>
                <a:custGeom>
                  <a:avLst/>
                  <a:gdLst>
                    <a:gd name="connsiteX0" fmla="*/ 0 w 5980"/>
                    <a:gd name="connsiteY0" fmla="*/ 0 h 358"/>
                    <a:gd name="connsiteX1" fmla="*/ 0 w 5980"/>
                    <a:gd name="connsiteY1" fmla="*/ 359 h 358"/>
                  </a:gdLst>
                  <a:ahLst/>
                  <a:cxnLst>
                    <a:cxn ang="0">
                      <a:pos x="connsiteX0" y="connsiteY0"/>
                    </a:cxn>
                    <a:cxn ang="0">
                      <a:pos x="connsiteX1" y="connsiteY1"/>
                    </a:cxn>
                  </a:cxnLst>
                  <a:rect l="l" t="t" r="r" b="b"/>
                  <a:pathLst>
                    <a:path w="5980" h="358">
                      <a:moveTo>
                        <a:pt x="0" y="0"/>
                      </a:moveTo>
                      <a:lnTo>
                        <a:pt x="0" y="359"/>
                      </a:lnTo>
                    </a:path>
                  </a:pathLst>
                </a:custGeom>
                <a:noFill/>
                <a:ln w="6350" cap="rnd">
                  <a:solidFill>
                    <a:schemeClr val="bg1">
                      <a:alpha val="40000"/>
                    </a:schemeClr>
                  </a:solidFill>
                  <a:prstDash val="solid"/>
                  <a:round/>
                </a:ln>
              </p:spPr>
              <p:txBody>
                <a:bodyPr rtlCol="0" anchor="ctr"/>
                <a:lstStyle/>
                <a:p>
                  <a:endParaRPr lang="en-GB"/>
                </a:p>
              </p:txBody>
            </p:sp>
            <p:sp>
              <p:nvSpPr>
                <p:cNvPr id="7057" name="Vrije vorm: vorm 7056">
                  <a:extLst>
                    <a:ext uri="{FF2B5EF4-FFF2-40B4-BE49-F238E27FC236}">
                      <a16:creationId xmlns:a16="http://schemas.microsoft.com/office/drawing/2014/main" id="{C6C8AE15-4DD4-4E29-9315-443E44C97B2A}"/>
                    </a:ext>
                  </a:extLst>
                </p:cNvPr>
                <p:cNvSpPr/>
                <p:nvPr/>
              </p:nvSpPr>
              <p:spPr>
                <a:xfrm>
                  <a:off x="6624327" y="1842282"/>
                  <a:ext cx="299" cy="657"/>
                </a:xfrm>
                <a:custGeom>
                  <a:avLst/>
                  <a:gdLst>
                    <a:gd name="connsiteX0" fmla="*/ 299 w 299"/>
                    <a:gd name="connsiteY0" fmla="*/ 658 h 657"/>
                    <a:gd name="connsiteX1" fmla="*/ 0 w 299"/>
                    <a:gd name="connsiteY1" fmla="*/ 0 h 657"/>
                  </a:gdLst>
                  <a:ahLst/>
                  <a:cxnLst>
                    <a:cxn ang="0">
                      <a:pos x="connsiteX0" y="connsiteY0"/>
                    </a:cxn>
                    <a:cxn ang="0">
                      <a:pos x="connsiteX1" y="connsiteY1"/>
                    </a:cxn>
                  </a:cxnLst>
                  <a:rect l="l" t="t" r="r" b="b"/>
                  <a:pathLst>
                    <a:path w="299" h="657">
                      <a:moveTo>
                        <a:pt x="299" y="658"/>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7058" name="Vrije vorm: vorm 7057">
                  <a:extLst>
                    <a:ext uri="{FF2B5EF4-FFF2-40B4-BE49-F238E27FC236}">
                      <a16:creationId xmlns:a16="http://schemas.microsoft.com/office/drawing/2014/main" id="{F0739BC4-6D36-4506-99E9-D4D2A91B7EBF}"/>
                    </a:ext>
                  </a:extLst>
                </p:cNvPr>
                <p:cNvSpPr/>
                <p:nvPr/>
              </p:nvSpPr>
              <p:spPr>
                <a:xfrm>
                  <a:off x="6602617" y="1866504"/>
                  <a:ext cx="7057" cy="16985"/>
                </a:xfrm>
                <a:custGeom>
                  <a:avLst/>
                  <a:gdLst>
                    <a:gd name="connsiteX0" fmla="*/ 0 w 7057"/>
                    <a:gd name="connsiteY0" fmla="*/ 16985 h 16985"/>
                    <a:gd name="connsiteX1" fmla="*/ 4785 w 7057"/>
                    <a:gd name="connsiteY1" fmla="*/ 5442 h 16985"/>
                    <a:gd name="connsiteX2" fmla="*/ 7057 w 7057"/>
                    <a:gd name="connsiteY2" fmla="*/ 0 h 16985"/>
                  </a:gdLst>
                  <a:ahLst/>
                  <a:cxnLst>
                    <a:cxn ang="0">
                      <a:pos x="connsiteX0" y="connsiteY0"/>
                    </a:cxn>
                    <a:cxn ang="0">
                      <a:pos x="connsiteX1" y="connsiteY1"/>
                    </a:cxn>
                    <a:cxn ang="0">
                      <a:pos x="connsiteX2" y="connsiteY2"/>
                    </a:cxn>
                  </a:cxnLst>
                  <a:rect l="l" t="t" r="r" b="b"/>
                  <a:pathLst>
                    <a:path w="7057" h="16985">
                      <a:moveTo>
                        <a:pt x="0" y="16985"/>
                      </a:moveTo>
                      <a:lnTo>
                        <a:pt x="4785" y="5442"/>
                      </a:lnTo>
                      <a:lnTo>
                        <a:pt x="7057" y="0"/>
                      </a:lnTo>
                    </a:path>
                  </a:pathLst>
                </a:custGeom>
                <a:noFill/>
                <a:ln w="6350" cap="rnd">
                  <a:solidFill>
                    <a:schemeClr val="bg1">
                      <a:alpha val="40000"/>
                    </a:schemeClr>
                  </a:solidFill>
                  <a:prstDash val="solid"/>
                  <a:round/>
                </a:ln>
              </p:spPr>
              <p:txBody>
                <a:bodyPr rtlCol="0" anchor="ctr"/>
                <a:lstStyle/>
                <a:p>
                  <a:endParaRPr lang="en-GB"/>
                </a:p>
              </p:txBody>
            </p:sp>
            <p:sp>
              <p:nvSpPr>
                <p:cNvPr id="7059" name="Vrije vorm: vorm 7058">
                  <a:extLst>
                    <a:ext uri="{FF2B5EF4-FFF2-40B4-BE49-F238E27FC236}">
                      <a16:creationId xmlns:a16="http://schemas.microsoft.com/office/drawing/2014/main" id="{4A36679B-0BCA-472E-9851-10FB94DCDDBF}"/>
                    </a:ext>
                  </a:extLst>
                </p:cNvPr>
                <p:cNvSpPr/>
                <p:nvPr/>
              </p:nvSpPr>
              <p:spPr>
                <a:xfrm>
                  <a:off x="6623729" y="1839112"/>
                  <a:ext cx="1375" cy="6219"/>
                </a:xfrm>
                <a:custGeom>
                  <a:avLst/>
                  <a:gdLst>
                    <a:gd name="connsiteX0" fmla="*/ 1375 w 1375"/>
                    <a:gd name="connsiteY0" fmla="*/ 6220 h 6219"/>
                    <a:gd name="connsiteX1" fmla="*/ 897 w 1375"/>
                    <a:gd name="connsiteY1" fmla="*/ 4007 h 6219"/>
                    <a:gd name="connsiteX2" fmla="*/ 837 w 1375"/>
                    <a:gd name="connsiteY2" fmla="*/ 3828 h 6219"/>
                    <a:gd name="connsiteX3" fmla="*/ 718 w 1375"/>
                    <a:gd name="connsiteY3" fmla="*/ 3349 h 6219"/>
                    <a:gd name="connsiteX4" fmla="*/ 0 w 1375"/>
                    <a:gd name="connsiteY4" fmla="*/ 0 h 6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 h="6219">
                      <a:moveTo>
                        <a:pt x="1375" y="6220"/>
                      </a:moveTo>
                      <a:lnTo>
                        <a:pt x="897" y="4007"/>
                      </a:lnTo>
                      <a:lnTo>
                        <a:pt x="837" y="3828"/>
                      </a:lnTo>
                      <a:lnTo>
                        <a:pt x="718" y="3349"/>
                      </a:lnTo>
                      <a:lnTo>
                        <a:pt x="0" y="0"/>
                      </a:lnTo>
                    </a:path>
                  </a:pathLst>
                </a:custGeom>
                <a:noFill/>
                <a:ln w="6350" cap="rnd">
                  <a:solidFill>
                    <a:schemeClr val="bg1">
                      <a:alpha val="40000"/>
                    </a:schemeClr>
                  </a:solidFill>
                  <a:prstDash val="solid"/>
                  <a:round/>
                </a:ln>
              </p:spPr>
              <p:txBody>
                <a:bodyPr rtlCol="0" anchor="ctr"/>
                <a:lstStyle/>
                <a:p>
                  <a:endParaRPr lang="en-GB"/>
                </a:p>
              </p:txBody>
            </p:sp>
          </p:grpSp>
          <p:grpSp>
            <p:nvGrpSpPr>
              <p:cNvPr id="5359" name="Graphic 3">
                <a:extLst>
                  <a:ext uri="{FF2B5EF4-FFF2-40B4-BE49-F238E27FC236}">
                    <a16:creationId xmlns:a16="http://schemas.microsoft.com/office/drawing/2014/main" id="{A8ACB5AC-494E-42C6-9E51-70B6B9D9E7FA}"/>
                  </a:ext>
                </a:extLst>
              </p:cNvPr>
              <p:cNvGrpSpPr/>
              <p:nvPr/>
            </p:nvGrpSpPr>
            <p:grpSpPr>
              <a:xfrm>
                <a:off x="7045041" y="1643512"/>
                <a:ext cx="68667" cy="60805"/>
                <a:chOff x="7045041" y="1643512"/>
                <a:chExt cx="68667" cy="60805"/>
              </a:xfrm>
              <a:solidFill>
                <a:srgbClr val="FFFFFF"/>
              </a:solidFill>
            </p:grpSpPr>
            <p:sp>
              <p:nvSpPr>
                <p:cNvPr id="6356" name="Vrije vorm: vorm 6355">
                  <a:extLst>
                    <a:ext uri="{FF2B5EF4-FFF2-40B4-BE49-F238E27FC236}">
                      <a16:creationId xmlns:a16="http://schemas.microsoft.com/office/drawing/2014/main" id="{9DBFE82B-A108-4F59-9F32-2C4414B2CA2A}"/>
                    </a:ext>
                  </a:extLst>
                </p:cNvPr>
                <p:cNvSpPr/>
                <p:nvPr/>
              </p:nvSpPr>
              <p:spPr>
                <a:xfrm>
                  <a:off x="7050654" y="1687320"/>
                  <a:ext cx="18882" cy="16997"/>
                </a:xfrm>
                <a:custGeom>
                  <a:avLst/>
                  <a:gdLst>
                    <a:gd name="connsiteX0" fmla="*/ 13495 w 18882"/>
                    <a:gd name="connsiteY0" fmla="*/ 16388 h 16997"/>
                    <a:gd name="connsiteX1" fmla="*/ 13256 w 18882"/>
                    <a:gd name="connsiteY1" fmla="*/ 16209 h 16997"/>
                    <a:gd name="connsiteX2" fmla="*/ 1175 w 18882"/>
                    <a:gd name="connsiteY2" fmla="*/ 6101 h 16997"/>
                    <a:gd name="connsiteX3" fmla="*/ 697 w 18882"/>
                    <a:gd name="connsiteY3" fmla="*/ 1675 h 16997"/>
                    <a:gd name="connsiteX4" fmla="*/ 5183 w 18882"/>
                    <a:gd name="connsiteY4" fmla="*/ 420 h 16997"/>
                    <a:gd name="connsiteX5" fmla="*/ 18160 w 18882"/>
                    <a:gd name="connsiteY5" fmla="*/ 11304 h 16997"/>
                    <a:gd name="connsiteX6" fmla="*/ 17682 w 18882"/>
                    <a:gd name="connsiteY6" fmla="*/ 15910 h 16997"/>
                    <a:gd name="connsiteX7" fmla="*/ 13495 w 18882"/>
                    <a:gd name="connsiteY7" fmla="*/ 16388 h 1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82" h="16997">
                      <a:moveTo>
                        <a:pt x="13495" y="16388"/>
                      </a:moveTo>
                      <a:cubicBezTo>
                        <a:pt x="13435" y="16328"/>
                        <a:pt x="13376" y="16268"/>
                        <a:pt x="13256" y="16209"/>
                      </a:cubicBezTo>
                      <a:cubicBezTo>
                        <a:pt x="8891" y="11544"/>
                        <a:pt x="6558" y="9570"/>
                        <a:pt x="1175" y="6101"/>
                      </a:cubicBezTo>
                      <a:cubicBezTo>
                        <a:pt x="-200" y="5264"/>
                        <a:pt x="-380" y="3231"/>
                        <a:pt x="697" y="1675"/>
                      </a:cubicBezTo>
                      <a:cubicBezTo>
                        <a:pt x="1833" y="121"/>
                        <a:pt x="3806" y="-478"/>
                        <a:pt x="5183" y="420"/>
                      </a:cubicBezTo>
                      <a:cubicBezTo>
                        <a:pt x="10864" y="4128"/>
                        <a:pt x="13495" y="6340"/>
                        <a:pt x="18160" y="11304"/>
                      </a:cubicBezTo>
                      <a:cubicBezTo>
                        <a:pt x="19297" y="12501"/>
                        <a:pt x="19058" y="14534"/>
                        <a:pt x="17682" y="15910"/>
                      </a:cubicBezTo>
                      <a:cubicBezTo>
                        <a:pt x="16426" y="17166"/>
                        <a:pt x="14632" y="17345"/>
                        <a:pt x="13495" y="16388"/>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6357" name="Vrije vorm: vorm 6356">
                  <a:extLst>
                    <a:ext uri="{FF2B5EF4-FFF2-40B4-BE49-F238E27FC236}">
                      <a16:creationId xmlns:a16="http://schemas.microsoft.com/office/drawing/2014/main" id="{5222E0EC-A6C0-4B42-8BDC-AD1265B426DE}"/>
                    </a:ext>
                  </a:extLst>
                </p:cNvPr>
                <p:cNvSpPr/>
                <p:nvPr/>
              </p:nvSpPr>
              <p:spPr>
                <a:xfrm>
                  <a:off x="7050657" y="1672750"/>
                  <a:ext cx="33224" cy="28993"/>
                </a:xfrm>
                <a:custGeom>
                  <a:avLst/>
                  <a:gdLst>
                    <a:gd name="connsiteX0" fmla="*/ 933 w 33224"/>
                    <a:gd name="connsiteY0" fmla="*/ 5959 h 28993"/>
                    <a:gd name="connsiteX1" fmla="*/ 574 w 33224"/>
                    <a:gd name="connsiteY1" fmla="*/ 1952 h 28993"/>
                    <a:gd name="connsiteX2" fmla="*/ 5000 w 33224"/>
                    <a:gd name="connsiteY2" fmla="*/ 277 h 28993"/>
                    <a:gd name="connsiteX3" fmla="*/ 20191 w 33224"/>
                    <a:gd name="connsiteY3" fmla="*/ 10265 h 28993"/>
                    <a:gd name="connsiteX4" fmla="*/ 32691 w 33224"/>
                    <a:gd name="connsiteY4" fmla="*/ 23482 h 28993"/>
                    <a:gd name="connsiteX5" fmla="*/ 31854 w 33224"/>
                    <a:gd name="connsiteY5" fmla="*/ 28088 h 28993"/>
                    <a:gd name="connsiteX6" fmla="*/ 27428 w 33224"/>
                    <a:gd name="connsiteY6" fmla="*/ 27968 h 28993"/>
                    <a:gd name="connsiteX7" fmla="*/ 15705 w 33224"/>
                    <a:gd name="connsiteY7" fmla="*/ 15588 h 28993"/>
                    <a:gd name="connsiteX8" fmla="*/ 1471 w 33224"/>
                    <a:gd name="connsiteY8" fmla="*/ 6198 h 28993"/>
                    <a:gd name="connsiteX9" fmla="*/ 933 w 33224"/>
                    <a:gd name="connsiteY9" fmla="*/ 5959 h 2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24" h="28993">
                      <a:moveTo>
                        <a:pt x="933" y="5959"/>
                      </a:moveTo>
                      <a:cubicBezTo>
                        <a:pt x="-143" y="5062"/>
                        <a:pt x="-323" y="3387"/>
                        <a:pt x="574" y="1952"/>
                      </a:cubicBezTo>
                      <a:cubicBezTo>
                        <a:pt x="1531" y="277"/>
                        <a:pt x="3505" y="-441"/>
                        <a:pt x="5000" y="277"/>
                      </a:cubicBezTo>
                      <a:cubicBezTo>
                        <a:pt x="10741" y="3208"/>
                        <a:pt x="15287" y="6198"/>
                        <a:pt x="20191" y="10265"/>
                      </a:cubicBezTo>
                      <a:cubicBezTo>
                        <a:pt x="25095" y="14392"/>
                        <a:pt x="28803" y="18339"/>
                        <a:pt x="32691" y="23482"/>
                      </a:cubicBezTo>
                      <a:cubicBezTo>
                        <a:pt x="33647" y="24798"/>
                        <a:pt x="33289" y="26832"/>
                        <a:pt x="31854" y="28088"/>
                      </a:cubicBezTo>
                      <a:cubicBezTo>
                        <a:pt x="30418" y="29343"/>
                        <a:pt x="28444" y="29284"/>
                        <a:pt x="27428" y="27968"/>
                      </a:cubicBezTo>
                      <a:cubicBezTo>
                        <a:pt x="22882" y="21927"/>
                        <a:pt x="18935" y="18279"/>
                        <a:pt x="15705" y="15588"/>
                      </a:cubicBezTo>
                      <a:cubicBezTo>
                        <a:pt x="12476" y="12896"/>
                        <a:pt x="8229" y="9607"/>
                        <a:pt x="1471" y="6198"/>
                      </a:cubicBezTo>
                      <a:cubicBezTo>
                        <a:pt x="1292" y="6198"/>
                        <a:pt x="1113" y="6078"/>
                        <a:pt x="933" y="5959"/>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6358" name="Vrije vorm: vorm 6357">
                  <a:extLst>
                    <a:ext uri="{FF2B5EF4-FFF2-40B4-BE49-F238E27FC236}">
                      <a16:creationId xmlns:a16="http://schemas.microsoft.com/office/drawing/2014/main" id="{398DE21C-E6A4-4BC8-9131-480F04486727}"/>
                    </a:ext>
                  </a:extLst>
                </p:cNvPr>
                <p:cNvSpPr/>
                <p:nvPr/>
              </p:nvSpPr>
              <p:spPr>
                <a:xfrm>
                  <a:off x="7047802" y="1657561"/>
                  <a:ext cx="51474" cy="44488"/>
                </a:xfrm>
                <a:custGeom>
                  <a:avLst/>
                  <a:gdLst>
                    <a:gd name="connsiteX0" fmla="*/ 46072 w 51474"/>
                    <a:gd name="connsiteY0" fmla="*/ 43875 h 44488"/>
                    <a:gd name="connsiteX1" fmla="*/ 45533 w 51474"/>
                    <a:gd name="connsiteY1" fmla="*/ 43217 h 44488"/>
                    <a:gd name="connsiteX2" fmla="*/ 33273 w 51474"/>
                    <a:gd name="connsiteY2" fmla="*/ 26949 h 44488"/>
                    <a:gd name="connsiteX3" fmla="*/ 19817 w 51474"/>
                    <a:gd name="connsiteY3" fmla="*/ 15646 h 44488"/>
                    <a:gd name="connsiteX4" fmla="*/ 1695 w 51474"/>
                    <a:gd name="connsiteY4" fmla="*/ 6376 h 44488"/>
                    <a:gd name="connsiteX5" fmla="*/ 379 w 51474"/>
                    <a:gd name="connsiteY5" fmla="*/ 2249 h 44488"/>
                    <a:gd name="connsiteX6" fmla="*/ 4685 w 51474"/>
                    <a:gd name="connsiteY6" fmla="*/ 156 h 44488"/>
                    <a:gd name="connsiteX7" fmla="*/ 23883 w 51474"/>
                    <a:gd name="connsiteY7" fmla="*/ 9964 h 44488"/>
                    <a:gd name="connsiteX8" fmla="*/ 38117 w 51474"/>
                    <a:gd name="connsiteY8" fmla="*/ 21925 h 44488"/>
                    <a:gd name="connsiteX9" fmla="*/ 51096 w 51474"/>
                    <a:gd name="connsiteY9" fmla="*/ 39150 h 44488"/>
                    <a:gd name="connsiteX10" fmla="*/ 49780 w 51474"/>
                    <a:gd name="connsiteY10" fmla="*/ 43755 h 44488"/>
                    <a:gd name="connsiteX11" fmla="*/ 46072 w 51474"/>
                    <a:gd name="connsiteY11" fmla="*/ 43875 h 4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74" h="44488">
                      <a:moveTo>
                        <a:pt x="46072" y="43875"/>
                      </a:moveTo>
                      <a:cubicBezTo>
                        <a:pt x="45833" y="43695"/>
                        <a:pt x="45653" y="43456"/>
                        <a:pt x="45533" y="43217"/>
                      </a:cubicBezTo>
                      <a:cubicBezTo>
                        <a:pt x="42005" y="37116"/>
                        <a:pt x="38117" y="31973"/>
                        <a:pt x="33273" y="26949"/>
                      </a:cubicBezTo>
                      <a:cubicBezTo>
                        <a:pt x="29086" y="22583"/>
                        <a:pt x="24840" y="18995"/>
                        <a:pt x="19817" y="15646"/>
                      </a:cubicBezTo>
                      <a:cubicBezTo>
                        <a:pt x="14015" y="11758"/>
                        <a:pt x="8273" y="8828"/>
                        <a:pt x="1695" y="6376"/>
                      </a:cubicBezTo>
                      <a:cubicBezTo>
                        <a:pt x="140" y="5837"/>
                        <a:pt x="-458" y="3923"/>
                        <a:pt x="379" y="2249"/>
                      </a:cubicBezTo>
                      <a:cubicBezTo>
                        <a:pt x="1217" y="514"/>
                        <a:pt x="3130" y="-383"/>
                        <a:pt x="4685" y="156"/>
                      </a:cubicBezTo>
                      <a:cubicBezTo>
                        <a:pt x="11683" y="2727"/>
                        <a:pt x="17783" y="5837"/>
                        <a:pt x="23883" y="9964"/>
                      </a:cubicBezTo>
                      <a:cubicBezTo>
                        <a:pt x="29206" y="13552"/>
                        <a:pt x="33692" y="17320"/>
                        <a:pt x="38117" y="21925"/>
                      </a:cubicBezTo>
                      <a:cubicBezTo>
                        <a:pt x="43201" y="27248"/>
                        <a:pt x="47328" y="32691"/>
                        <a:pt x="51096" y="39150"/>
                      </a:cubicBezTo>
                      <a:cubicBezTo>
                        <a:pt x="51933" y="40585"/>
                        <a:pt x="51335" y="42619"/>
                        <a:pt x="49780" y="43755"/>
                      </a:cubicBezTo>
                      <a:cubicBezTo>
                        <a:pt x="48524" y="44712"/>
                        <a:pt x="47028" y="44712"/>
                        <a:pt x="46072" y="43875"/>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6359" name="Vrije vorm: vorm 6358">
                  <a:extLst>
                    <a:ext uri="{FF2B5EF4-FFF2-40B4-BE49-F238E27FC236}">
                      <a16:creationId xmlns:a16="http://schemas.microsoft.com/office/drawing/2014/main" id="{7E66C678-6FC3-4953-A560-9CB1FCE8145A}"/>
                    </a:ext>
                  </a:extLst>
                </p:cNvPr>
                <p:cNvSpPr/>
                <p:nvPr/>
              </p:nvSpPr>
              <p:spPr>
                <a:xfrm>
                  <a:off x="7045041" y="1643512"/>
                  <a:ext cx="68667" cy="58845"/>
                </a:xfrm>
                <a:custGeom>
                  <a:avLst/>
                  <a:gdLst>
                    <a:gd name="connsiteX0" fmla="*/ 63246 w 68667"/>
                    <a:gd name="connsiteY0" fmla="*/ 58223 h 58845"/>
                    <a:gd name="connsiteX1" fmla="*/ 62588 w 68667"/>
                    <a:gd name="connsiteY1" fmla="*/ 57386 h 58845"/>
                    <a:gd name="connsiteX2" fmla="*/ 46739 w 68667"/>
                    <a:gd name="connsiteY2" fmla="*/ 33642 h 58845"/>
                    <a:gd name="connsiteX3" fmla="*/ 28019 w 68667"/>
                    <a:gd name="connsiteY3" fmla="*/ 17913 h 58845"/>
                    <a:gd name="connsiteX4" fmla="*/ 1883 w 68667"/>
                    <a:gd name="connsiteY4" fmla="*/ 6430 h 58845"/>
                    <a:gd name="connsiteX5" fmla="*/ 269 w 68667"/>
                    <a:gd name="connsiteY5" fmla="*/ 2483 h 58845"/>
                    <a:gd name="connsiteX6" fmla="*/ 4455 w 68667"/>
                    <a:gd name="connsiteY6" fmla="*/ 90 h 58845"/>
                    <a:gd name="connsiteX7" fmla="*/ 31967 w 68667"/>
                    <a:gd name="connsiteY7" fmla="*/ 12231 h 58845"/>
                    <a:gd name="connsiteX8" fmla="*/ 51703 w 68667"/>
                    <a:gd name="connsiteY8" fmla="*/ 28798 h 58845"/>
                    <a:gd name="connsiteX9" fmla="*/ 68389 w 68667"/>
                    <a:gd name="connsiteY9" fmla="*/ 53797 h 58845"/>
                    <a:gd name="connsiteX10" fmla="*/ 66775 w 68667"/>
                    <a:gd name="connsiteY10" fmla="*/ 58343 h 58845"/>
                    <a:gd name="connsiteX11" fmla="*/ 63246 w 68667"/>
                    <a:gd name="connsiteY11" fmla="*/ 58223 h 5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667" h="58845">
                      <a:moveTo>
                        <a:pt x="63246" y="58223"/>
                      </a:moveTo>
                      <a:cubicBezTo>
                        <a:pt x="62947" y="57984"/>
                        <a:pt x="62768" y="57685"/>
                        <a:pt x="62588" y="57386"/>
                      </a:cubicBezTo>
                      <a:cubicBezTo>
                        <a:pt x="58342" y="48355"/>
                        <a:pt x="53318" y="40819"/>
                        <a:pt x="46739" y="33642"/>
                      </a:cubicBezTo>
                      <a:cubicBezTo>
                        <a:pt x="41057" y="27422"/>
                        <a:pt x="35137" y="22398"/>
                        <a:pt x="28019" y="17913"/>
                      </a:cubicBezTo>
                      <a:cubicBezTo>
                        <a:pt x="19826" y="12710"/>
                        <a:pt x="11513" y="9061"/>
                        <a:pt x="1883" y="6430"/>
                      </a:cubicBezTo>
                      <a:cubicBezTo>
                        <a:pt x="329" y="6011"/>
                        <a:pt x="-448" y="4217"/>
                        <a:pt x="269" y="2483"/>
                      </a:cubicBezTo>
                      <a:cubicBezTo>
                        <a:pt x="987" y="748"/>
                        <a:pt x="2841" y="-328"/>
                        <a:pt x="4455" y="90"/>
                      </a:cubicBezTo>
                      <a:cubicBezTo>
                        <a:pt x="14622" y="2842"/>
                        <a:pt x="23355" y="6729"/>
                        <a:pt x="31967" y="12231"/>
                      </a:cubicBezTo>
                      <a:cubicBezTo>
                        <a:pt x="39443" y="17016"/>
                        <a:pt x="45723" y="22279"/>
                        <a:pt x="51703" y="28798"/>
                      </a:cubicBezTo>
                      <a:cubicBezTo>
                        <a:pt x="58641" y="36393"/>
                        <a:pt x="63903" y="44348"/>
                        <a:pt x="68389" y="53797"/>
                      </a:cubicBezTo>
                      <a:cubicBezTo>
                        <a:pt x="69107" y="55292"/>
                        <a:pt x="68389" y="57326"/>
                        <a:pt x="66775" y="58343"/>
                      </a:cubicBezTo>
                      <a:cubicBezTo>
                        <a:pt x="65578" y="59060"/>
                        <a:pt x="64143" y="59000"/>
                        <a:pt x="63246" y="58223"/>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grpSp>
          <p:grpSp>
            <p:nvGrpSpPr>
              <p:cNvPr id="5360" name="Graphic 3">
                <a:extLst>
                  <a:ext uri="{FF2B5EF4-FFF2-40B4-BE49-F238E27FC236}">
                    <a16:creationId xmlns:a16="http://schemas.microsoft.com/office/drawing/2014/main" id="{E19506DE-14DB-4BF7-A1FF-603BCB033AA3}"/>
                  </a:ext>
                </a:extLst>
              </p:cNvPr>
              <p:cNvGrpSpPr/>
              <p:nvPr/>
            </p:nvGrpSpPr>
            <p:grpSpPr>
              <a:xfrm>
                <a:off x="7504031" y="2629105"/>
                <a:ext cx="285519" cy="228164"/>
                <a:chOff x="7504031" y="2629105"/>
                <a:chExt cx="285519" cy="228164"/>
              </a:xfrm>
            </p:grpSpPr>
            <p:sp>
              <p:nvSpPr>
                <p:cNvPr id="5883" name="Vrije vorm: vorm 5882">
                  <a:extLst>
                    <a:ext uri="{FF2B5EF4-FFF2-40B4-BE49-F238E27FC236}">
                      <a16:creationId xmlns:a16="http://schemas.microsoft.com/office/drawing/2014/main" id="{7DA4E9DC-C5FC-45A4-AB10-543F557995C5}"/>
                    </a:ext>
                  </a:extLst>
                </p:cNvPr>
                <p:cNvSpPr/>
                <p:nvPr/>
              </p:nvSpPr>
              <p:spPr>
                <a:xfrm>
                  <a:off x="7631540" y="2756734"/>
                  <a:ext cx="17822" cy="13576"/>
                </a:xfrm>
                <a:custGeom>
                  <a:avLst/>
                  <a:gdLst>
                    <a:gd name="connsiteX0" fmla="*/ 17823 w 17822"/>
                    <a:gd name="connsiteY0" fmla="*/ 0 h 13576"/>
                    <a:gd name="connsiteX1" fmla="*/ 0 w 17822"/>
                    <a:gd name="connsiteY1" fmla="*/ 13576 h 13576"/>
                  </a:gdLst>
                  <a:ahLst/>
                  <a:cxnLst>
                    <a:cxn ang="0">
                      <a:pos x="connsiteX0" y="connsiteY0"/>
                    </a:cxn>
                    <a:cxn ang="0">
                      <a:pos x="connsiteX1" y="connsiteY1"/>
                    </a:cxn>
                  </a:cxnLst>
                  <a:rect l="l" t="t" r="r" b="b"/>
                  <a:pathLst>
                    <a:path w="17822" h="13576">
                      <a:moveTo>
                        <a:pt x="17823" y="0"/>
                      </a:moveTo>
                      <a:lnTo>
                        <a:pt x="0" y="13576"/>
                      </a:lnTo>
                    </a:path>
                  </a:pathLst>
                </a:custGeom>
                <a:ln w="6350" cap="rnd">
                  <a:solidFill>
                    <a:schemeClr val="bg1">
                      <a:alpha val="40000"/>
                    </a:schemeClr>
                  </a:solidFill>
                  <a:prstDash val="solid"/>
                  <a:round/>
                </a:ln>
              </p:spPr>
              <p:txBody>
                <a:bodyPr rtlCol="0" anchor="ctr"/>
                <a:lstStyle/>
                <a:p>
                  <a:endParaRPr lang="en-GB"/>
                </a:p>
              </p:txBody>
            </p:sp>
            <p:sp>
              <p:nvSpPr>
                <p:cNvPr id="5884" name="Vrije vorm: vorm 5883">
                  <a:extLst>
                    <a:ext uri="{FF2B5EF4-FFF2-40B4-BE49-F238E27FC236}">
                      <a16:creationId xmlns:a16="http://schemas.microsoft.com/office/drawing/2014/main" id="{6D0E1AAF-40B6-4153-A301-F8A487CBA396}"/>
                    </a:ext>
                  </a:extLst>
                </p:cNvPr>
                <p:cNvSpPr/>
                <p:nvPr/>
              </p:nvSpPr>
              <p:spPr>
                <a:xfrm>
                  <a:off x="7572929" y="2678506"/>
                  <a:ext cx="119" cy="13217"/>
                </a:xfrm>
                <a:custGeom>
                  <a:avLst/>
                  <a:gdLst>
                    <a:gd name="connsiteX0" fmla="*/ 120 w 119"/>
                    <a:gd name="connsiteY0" fmla="*/ 0 h 13217"/>
                    <a:gd name="connsiteX1" fmla="*/ 0 w 119"/>
                    <a:gd name="connsiteY1" fmla="*/ 13217 h 13217"/>
                  </a:gdLst>
                  <a:ahLst/>
                  <a:cxnLst>
                    <a:cxn ang="0">
                      <a:pos x="connsiteX0" y="connsiteY0"/>
                    </a:cxn>
                    <a:cxn ang="0">
                      <a:pos x="connsiteX1" y="connsiteY1"/>
                    </a:cxn>
                  </a:cxnLst>
                  <a:rect l="l" t="t" r="r" b="b"/>
                  <a:pathLst>
                    <a:path w="119" h="13217">
                      <a:moveTo>
                        <a:pt x="120" y="0"/>
                      </a:moveTo>
                      <a:lnTo>
                        <a:pt x="0" y="13217"/>
                      </a:lnTo>
                    </a:path>
                  </a:pathLst>
                </a:custGeom>
                <a:ln w="6350" cap="rnd">
                  <a:solidFill>
                    <a:schemeClr val="bg1">
                      <a:alpha val="40000"/>
                    </a:schemeClr>
                  </a:solidFill>
                  <a:prstDash val="solid"/>
                  <a:round/>
                </a:ln>
              </p:spPr>
              <p:txBody>
                <a:bodyPr rtlCol="0" anchor="ctr"/>
                <a:lstStyle/>
                <a:p>
                  <a:endParaRPr lang="en-GB"/>
                </a:p>
              </p:txBody>
            </p:sp>
            <p:sp>
              <p:nvSpPr>
                <p:cNvPr id="5885" name="Vrije vorm: vorm 5884">
                  <a:extLst>
                    <a:ext uri="{FF2B5EF4-FFF2-40B4-BE49-F238E27FC236}">
                      <a16:creationId xmlns:a16="http://schemas.microsoft.com/office/drawing/2014/main" id="{D8F28F70-C03C-4DF8-9B76-1AC1DC97656E}"/>
                    </a:ext>
                  </a:extLst>
                </p:cNvPr>
                <p:cNvSpPr/>
                <p:nvPr/>
              </p:nvSpPr>
              <p:spPr>
                <a:xfrm>
                  <a:off x="7556243" y="2719115"/>
                  <a:ext cx="17164" cy="8851"/>
                </a:xfrm>
                <a:custGeom>
                  <a:avLst/>
                  <a:gdLst>
                    <a:gd name="connsiteX0" fmla="*/ 17165 w 17164"/>
                    <a:gd name="connsiteY0" fmla="*/ 0 h 8851"/>
                    <a:gd name="connsiteX1" fmla="*/ 0 w 17164"/>
                    <a:gd name="connsiteY1" fmla="*/ 8852 h 8851"/>
                  </a:gdLst>
                  <a:ahLst/>
                  <a:cxnLst>
                    <a:cxn ang="0">
                      <a:pos x="connsiteX0" y="connsiteY0"/>
                    </a:cxn>
                    <a:cxn ang="0">
                      <a:pos x="connsiteX1" y="connsiteY1"/>
                    </a:cxn>
                  </a:cxnLst>
                  <a:rect l="l" t="t" r="r" b="b"/>
                  <a:pathLst>
                    <a:path w="17164" h="8851">
                      <a:moveTo>
                        <a:pt x="17165" y="0"/>
                      </a:moveTo>
                      <a:lnTo>
                        <a:pt x="0" y="8852"/>
                      </a:lnTo>
                    </a:path>
                  </a:pathLst>
                </a:custGeom>
                <a:ln w="6350" cap="rnd">
                  <a:solidFill>
                    <a:schemeClr val="bg1">
                      <a:alpha val="40000"/>
                    </a:schemeClr>
                  </a:solidFill>
                  <a:prstDash val="solid"/>
                  <a:round/>
                </a:ln>
              </p:spPr>
              <p:txBody>
                <a:bodyPr rtlCol="0" anchor="ctr"/>
                <a:lstStyle/>
                <a:p>
                  <a:endParaRPr lang="en-GB"/>
                </a:p>
              </p:txBody>
            </p:sp>
            <p:sp>
              <p:nvSpPr>
                <p:cNvPr id="5886" name="Vrije vorm: vorm 5885">
                  <a:extLst>
                    <a:ext uri="{FF2B5EF4-FFF2-40B4-BE49-F238E27FC236}">
                      <a16:creationId xmlns:a16="http://schemas.microsoft.com/office/drawing/2014/main" id="{536573CE-B708-41DE-A6E9-861F852A9C7A}"/>
                    </a:ext>
                  </a:extLst>
                </p:cNvPr>
                <p:cNvSpPr/>
                <p:nvPr/>
              </p:nvSpPr>
              <p:spPr>
                <a:xfrm>
                  <a:off x="7631540" y="2749557"/>
                  <a:ext cx="9329" cy="20753"/>
                </a:xfrm>
                <a:custGeom>
                  <a:avLst/>
                  <a:gdLst>
                    <a:gd name="connsiteX0" fmla="*/ 9330 w 9329"/>
                    <a:gd name="connsiteY0" fmla="*/ 0 h 20753"/>
                    <a:gd name="connsiteX1" fmla="*/ 0 w 9329"/>
                    <a:gd name="connsiteY1" fmla="*/ 20753 h 20753"/>
                  </a:gdLst>
                  <a:ahLst/>
                  <a:cxnLst>
                    <a:cxn ang="0">
                      <a:pos x="connsiteX0" y="connsiteY0"/>
                    </a:cxn>
                    <a:cxn ang="0">
                      <a:pos x="connsiteX1" y="connsiteY1"/>
                    </a:cxn>
                  </a:cxnLst>
                  <a:rect l="l" t="t" r="r" b="b"/>
                  <a:pathLst>
                    <a:path w="9329" h="20753">
                      <a:moveTo>
                        <a:pt x="9330" y="0"/>
                      </a:moveTo>
                      <a:lnTo>
                        <a:pt x="0" y="20753"/>
                      </a:lnTo>
                    </a:path>
                  </a:pathLst>
                </a:custGeom>
                <a:ln w="6350" cap="rnd">
                  <a:solidFill>
                    <a:schemeClr val="bg1">
                      <a:alpha val="40000"/>
                    </a:schemeClr>
                  </a:solidFill>
                  <a:prstDash val="solid"/>
                  <a:round/>
                </a:ln>
              </p:spPr>
              <p:txBody>
                <a:bodyPr rtlCol="0" anchor="ctr"/>
                <a:lstStyle/>
                <a:p>
                  <a:endParaRPr lang="en-GB"/>
                </a:p>
              </p:txBody>
            </p:sp>
            <p:sp>
              <p:nvSpPr>
                <p:cNvPr id="5887" name="Vrije vorm: vorm 5886">
                  <a:extLst>
                    <a:ext uri="{FF2B5EF4-FFF2-40B4-BE49-F238E27FC236}">
                      <a16:creationId xmlns:a16="http://schemas.microsoft.com/office/drawing/2014/main" id="{332A84B6-F413-4369-AA8A-DE7D6AA99204}"/>
                    </a:ext>
                  </a:extLst>
                </p:cNvPr>
                <p:cNvSpPr/>
                <p:nvPr/>
              </p:nvSpPr>
              <p:spPr>
                <a:xfrm>
                  <a:off x="7603850" y="2749557"/>
                  <a:ext cx="37020" cy="34987"/>
                </a:xfrm>
                <a:custGeom>
                  <a:avLst/>
                  <a:gdLst>
                    <a:gd name="connsiteX0" fmla="*/ 37021 w 37020"/>
                    <a:gd name="connsiteY0" fmla="*/ 0 h 34987"/>
                    <a:gd name="connsiteX1" fmla="*/ 0 w 37020"/>
                    <a:gd name="connsiteY1" fmla="*/ 34987 h 34987"/>
                  </a:gdLst>
                  <a:ahLst/>
                  <a:cxnLst>
                    <a:cxn ang="0">
                      <a:pos x="connsiteX0" y="connsiteY0"/>
                    </a:cxn>
                    <a:cxn ang="0">
                      <a:pos x="connsiteX1" y="connsiteY1"/>
                    </a:cxn>
                  </a:cxnLst>
                  <a:rect l="l" t="t" r="r" b="b"/>
                  <a:pathLst>
                    <a:path w="37020" h="34987">
                      <a:moveTo>
                        <a:pt x="37021" y="0"/>
                      </a:moveTo>
                      <a:lnTo>
                        <a:pt x="0" y="34987"/>
                      </a:lnTo>
                    </a:path>
                  </a:pathLst>
                </a:custGeom>
                <a:ln w="6350" cap="rnd">
                  <a:solidFill>
                    <a:schemeClr val="bg1">
                      <a:alpha val="40000"/>
                    </a:schemeClr>
                  </a:solidFill>
                  <a:prstDash val="solid"/>
                  <a:round/>
                </a:ln>
              </p:spPr>
              <p:txBody>
                <a:bodyPr rtlCol="0" anchor="ctr"/>
                <a:lstStyle/>
                <a:p>
                  <a:endParaRPr lang="en-GB"/>
                </a:p>
              </p:txBody>
            </p:sp>
            <p:sp>
              <p:nvSpPr>
                <p:cNvPr id="5888" name="Vrije vorm: vorm 5887">
                  <a:extLst>
                    <a:ext uri="{FF2B5EF4-FFF2-40B4-BE49-F238E27FC236}">
                      <a16:creationId xmlns:a16="http://schemas.microsoft.com/office/drawing/2014/main" id="{7028DD5B-F0AA-4D86-AADA-B85B60265C1F}"/>
                    </a:ext>
                  </a:extLst>
                </p:cNvPr>
                <p:cNvSpPr/>
                <p:nvPr/>
              </p:nvSpPr>
              <p:spPr>
                <a:xfrm>
                  <a:off x="7561267" y="2691724"/>
                  <a:ext cx="11662" cy="7356"/>
                </a:xfrm>
                <a:custGeom>
                  <a:avLst/>
                  <a:gdLst>
                    <a:gd name="connsiteX0" fmla="*/ 0 w 11662"/>
                    <a:gd name="connsiteY0" fmla="*/ 7356 h 7356"/>
                    <a:gd name="connsiteX1" fmla="*/ 11663 w 11662"/>
                    <a:gd name="connsiteY1" fmla="*/ 0 h 7356"/>
                  </a:gdLst>
                  <a:ahLst/>
                  <a:cxnLst>
                    <a:cxn ang="0">
                      <a:pos x="connsiteX0" y="connsiteY0"/>
                    </a:cxn>
                    <a:cxn ang="0">
                      <a:pos x="connsiteX1" y="connsiteY1"/>
                    </a:cxn>
                  </a:cxnLst>
                  <a:rect l="l" t="t" r="r" b="b"/>
                  <a:pathLst>
                    <a:path w="11662" h="7356">
                      <a:moveTo>
                        <a:pt x="0" y="7356"/>
                      </a:moveTo>
                      <a:lnTo>
                        <a:pt x="11663" y="0"/>
                      </a:lnTo>
                    </a:path>
                  </a:pathLst>
                </a:custGeom>
                <a:ln w="6350" cap="rnd">
                  <a:solidFill>
                    <a:schemeClr val="bg1">
                      <a:alpha val="40000"/>
                    </a:schemeClr>
                  </a:solidFill>
                  <a:prstDash val="solid"/>
                  <a:round/>
                </a:ln>
              </p:spPr>
              <p:txBody>
                <a:bodyPr rtlCol="0" anchor="ctr"/>
                <a:lstStyle/>
                <a:p>
                  <a:endParaRPr lang="en-GB"/>
                </a:p>
              </p:txBody>
            </p:sp>
            <p:sp>
              <p:nvSpPr>
                <p:cNvPr id="5889" name="Vrije vorm: vorm 5888">
                  <a:extLst>
                    <a:ext uri="{FF2B5EF4-FFF2-40B4-BE49-F238E27FC236}">
                      <a16:creationId xmlns:a16="http://schemas.microsoft.com/office/drawing/2014/main" id="{429DA709-A240-4351-8E0B-463F72F8CF32}"/>
                    </a:ext>
                  </a:extLst>
                </p:cNvPr>
                <p:cNvSpPr/>
                <p:nvPr/>
              </p:nvSpPr>
              <p:spPr>
                <a:xfrm>
                  <a:off x="7763236" y="2755358"/>
                  <a:ext cx="4664" cy="4904"/>
                </a:xfrm>
                <a:custGeom>
                  <a:avLst/>
                  <a:gdLst>
                    <a:gd name="connsiteX0" fmla="*/ 0 w 4664"/>
                    <a:gd name="connsiteY0" fmla="*/ 0 h 4904"/>
                    <a:gd name="connsiteX1" fmla="*/ 4665 w 4664"/>
                    <a:gd name="connsiteY1" fmla="*/ 4904 h 4904"/>
                  </a:gdLst>
                  <a:ahLst/>
                  <a:cxnLst>
                    <a:cxn ang="0">
                      <a:pos x="connsiteX0" y="connsiteY0"/>
                    </a:cxn>
                    <a:cxn ang="0">
                      <a:pos x="connsiteX1" y="connsiteY1"/>
                    </a:cxn>
                  </a:cxnLst>
                  <a:rect l="l" t="t" r="r" b="b"/>
                  <a:pathLst>
                    <a:path w="4664" h="4904">
                      <a:moveTo>
                        <a:pt x="0" y="0"/>
                      </a:moveTo>
                      <a:lnTo>
                        <a:pt x="4665" y="4904"/>
                      </a:lnTo>
                    </a:path>
                  </a:pathLst>
                </a:custGeom>
                <a:ln w="6350" cap="rnd">
                  <a:solidFill>
                    <a:schemeClr val="bg1">
                      <a:alpha val="40000"/>
                    </a:schemeClr>
                  </a:solidFill>
                  <a:prstDash val="solid"/>
                  <a:round/>
                </a:ln>
              </p:spPr>
              <p:txBody>
                <a:bodyPr rtlCol="0" anchor="ctr"/>
                <a:lstStyle/>
                <a:p>
                  <a:endParaRPr lang="en-GB"/>
                </a:p>
              </p:txBody>
            </p:sp>
            <p:sp>
              <p:nvSpPr>
                <p:cNvPr id="5890" name="Vrije vorm: vorm 5889">
                  <a:extLst>
                    <a:ext uri="{FF2B5EF4-FFF2-40B4-BE49-F238E27FC236}">
                      <a16:creationId xmlns:a16="http://schemas.microsoft.com/office/drawing/2014/main" id="{3DEDDC9B-DA0B-46B0-9E3A-7041377E76CC}"/>
                    </a:ext>
                  </a:extLst>
                </p:cNvPr>
                <p:cNvSpPr/>
                <p:nvPr/>
              </p:nvSpPr>
              <p:spPr>
                <a:xfrm>
                  <a:off x="7679625" y="2676114"/>
                  <a:ext cx="16147" cy="19915"/>
                </a:xfrm>
                <a:custGeom>
                  <a:avLst/>
                  <a:gdLst>
                    <a:gd name="connsiteX0" fmla="*/ 16148 w 16147"/>
                    <a:gd name="connsiteY0" fmla="*/ 19916 h 19915"/>
                    <a:gd name="connsiteX1" fmla="*/ 0 w 16147"/>
                    <a:gd name="connsiteY1" fmla="*/ 0 h 19915"/>
                  </a:gdLst>
                  <a:ahLst/>
                  <a:cxnLst>
                    <a:cxn ang="0">
                      <a:pos x="connsiteX0" y="connsiteY0"/>
                    </a:cxn>
                    <a:cxn ang="0">
                      <a:pos x="connsiteX1" y="connsiteY1"/>
                    </a:cxn>
                  </a:cxnLst>
                  <a:rect l="l" t="t" r="r" b="b"/>
                  <a:pathLst>
                    <a:path w="16147" h="19915">
                      <a:moveTo>
                        <a:pt x="16148" y="1991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891" name="Vrije vorm: vorm 5890">
                  <a:extLst>
                    <a:ext uri="{FF2B5EF4-FFF2-40B4-BE49-F238E27FC236}">
                      <a16:creationId xmlns:a16="http://schemas.microsoft.com/office/drawing/2014/main" id="{CD814910-C120-479D-B418-43F4D815FB70}"/>
                    </a:ext>
                  </a:extLst>
                </p:cNvPr>
                <p:cNvSpPr/>
                <p:nvPr/>
              </p:nvSpPr>
              <p:spPr>
                <a:xfrm>
                  <a:off x="7695773" y="2696030"/>
                  <a:ext cx="2631" cy="9509"/>
                </a:xfrm>
                <a:custGeom>
                  <a:avLst/>
                  <a:gdLst>
                    <a:gd name="connsiteX0" fmla="*/ 2632 w 2631"/>
                    <a:gd name="connsiteY0" fmla="*/ 9509 h 9509"/>
                    <a:gd name="connsiteX1" fmla="*/ 0 w 2631"/>
                    <a:gd name="connsiteY1" fmla="*/ 0 h 9509"/>
                  </a:gdLst>
                  <a:ahLst/>
                  <a:cxnLst>
                    <a:cxn ang="0">
                      <a:pos x="connsiteX0" y="connsiteY0"/>
                    </a:cxn>
                    <a:cxn ang="0">
                      <a:pos x="connsiteX1" y="connsiteY1"/>
                    </a:cxn>
                  </a:cxnLst>
                  <a:rect l="l" t="t" r="r" b="b"/>
                  <a:pathLst>
                    <a:path w="2631" h="9509">
                      <a:moveTo>
                        <a:pt x="2632" y="9509"/>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892" name="Vrije vorm: vorm 5891">
                  <a:extLst>
                    <a:ext uri="{FF2B5EF4-FFF2-40B4-BE49-F238E27FC236}">
                      <a16:creationId xmlns:a16="http://schemas.microsoft.com/office/drawing/2014/main" id="{16E079BF-55A2-4D97-B5C2-A8BA4C943E66}"/>
                    </a:ext>
                  </a:extLst>
                </p:cNvPr>
                <p:cNvSpPr/>
                <p:nvPr/>
              </p:nvSpPr>
              <p:spPr>
                <a:xfrm>
                  <a:off x="7695773" y="2696030"/>
                  <a:ext cx="16566" cy="8612"/>
                </a:xfrm>
                <a:custGeom>
                  <a:avLst/>
                  <a:gdLst>
                    <a:gd name="connsiteX0" fmla="*/ 16566 w 16566"/>
                    <a:gd name="connsiteY0" fmla="*/ 8612 h 8612"/>
                    <a:gd name="connsiteX1" fmla="*/ 0 w 16566"/>
                    <a:gd name="connsiteY1" fmla="*/ 0 h 8612"/>
                  </a:gdLst>
                  <a:ahLst/>
                  <a:cxnLst>
                    <a:cxn ang="0">
                      <a:pos x="connsiteX0" y="connsiteY0"/>
                    </a:cxn>
                    <a:cxn ang="0">
                      <a:pos x="connsiteX1" y="connsiteY1"/>
                    </a:cxn>
                  </a:cxnLst>
                  <a:rect l="l" t="t" r="r" b="b"/>
                  <a:pathLst>
                    <a:path w="16566" h="8612">
                      <a:moveTo>
                        <a:pt x="16566" y="861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893" name="Vrije vorm: vorm 5892">
                  <a:extLst>
                    <a:ext uri="{FF2B5EF4-FFF2-40B4-BE49-F238E27FC236}">
                      <a16:creationId xmlns:a16="http://schemas.microsoft.com/office/drawing/2014/main" id="{98143393-0093-4436-BF90-D7FB0BB963E1}"/>
                    </a:ext>
                  </a:extLst>
                </p:cNvPr>
                <p:cNvSpPr/>
                <p:nvPr/>
              </p:nvSpPr>
              <p:spPr>
                <a:xfrm>
                  <a:off x="7767901" y="2755179"/>
                  <a:ext cx="2571" cy="5083"/>
                </a:xfrm>
                <a:custGeom>
                  <a:avLst/>
                  <a:gdLst>
                    <a:gd name="connsiteX0" fmla="*/ 2572 w 2571"/>
                    <a:gd name="connsiteY0" fmla="*/ 0 h 5083"/>
                    <a:gd name="connsiteX1" fmla="*/ 0 w 2571"/>
                    <a:gd name="connsiteY1" fmla="*/ 5084 h 5083"/>
                  </a:gdLst>
                  <a:ahLst/>
                  <a:cxnLst>
                    <a:cxn ang="0">
                      <a:pos x="connsiteX0" y="connsiteY0"/>
                    </a:cxn>
                    <a:cxn ang="0">
                      <a:pos x="connsiteX1" y="connsiteY1"/>
                    </a:cxn>
                  </a:cxnLst>
                  <a:rect l="l" t="t" r="r" b="b"/>
                  <a:pathLst>
                    <a:path w="2571" h="5083">
                      <a:moveTo>
                        <a:pt x="2572" y="0"/>
                      </a:moveTo>
                      <a:lnTo>
                        <a:pt x="0" y="5084"/>
                      </a:lnTo>
                    </a:path>
                  </a:pathLst>
                </a:custGeom>
                <a:ln w="6350" cap="rnd">
                  <a:solidFill>
                    <a:schemeClr val="bg1">
                      <a:alpha val="40000"/>
                    </a:schemeClr>
                  </a:solidFill>
                  <a:prstDash val="solid"/>
                  <a:round/>
                </a:ln>
              </p:spPr>
              <p:txBody>
                <a:bodyPr rtlCol="0" anchor="ctr"/>
                <a:lstStyle/>
                <a:p>
                  <a:endParaRPr lang="en-GB"/>
                </a:p>
              </p:txBody>
            </p:sp>
            <p:sp>
              <p:nvSpPr>
                <p:cNvPr id="5894" name="Vrije vorm: vorm 5893">
                  <a:extLst>
                    <a:ext uri="{FF2B5EF4-FFF2-40B4-BE49-F238E27FC236}">
                      <a16:creationId xmlns:a16="http://schemas.microsoft.com/office/drawing/2014/main" id="{E8F8B05E-18B4-4025-A869-C3490C482395}"/>
                    </a:ext>
                  </a:extLst>
                </p:cNvPr>
                <p:cNvSpPr/>
                <p:nvPr/>
              </p:nvSpPr>
              <p:spPr>
                <a:xfrm>
                  <a:off x="7731119" y="2740586"/>
                  <a:ext cx="6638" cy="4007"/>
                </a:xfrm>
                <a:custGeom>
                  <a:avLst/>
                  <a:gdLst>
                    <a:gd name="connsiteX0" fmla="*/ 0 w 6638"/>
                    <a:gd name="connsiteY0" fmla="*/ 0 h 4007"/>
                    <a:gd name="connsiteX1" fmla="*/ 6638 w 6638"/>
                    <a:gd name="connsiteY1" fmla="*/ 4007 h 4007"/>
                  </a:gdLst>
                  <a:ahLst/>
                  <a:cxnLst>
                    <a:cxn ang="0">
                      <a:pos x="connsiteX0" y="connsiteY0"/>
                    </a:cxn>
                    <a:cxn ang="0">
                      <a:pos x="connsiteX1" y="connsiteY1"/>
                    </a:cxn>
                  </a:cxnLst>
                  <a:rect l="l" t="t" r="r" b="b"/>
                  <a:pathLst>
                    <a:path w="6638" h="4007">
                      <a:moveTo>
                        <a:pt x="0" y="0"/>
                      </a:moveTo>
                      <a:lnTo>
                        <a:pt x="6638" y="4007"/>
                      </a:lnTo>
                    </a:path>
                  </a:pathLst>
                </a:custGeom>
                <a:ln w="6350" cap="rnd">
                  <a:solidFill>
                    <a:schemeClr val="bg1">
                      <a:alpha val="40000"/>
                    </a:schemeClr>
                  </a:solidFill>
                  <a:prstDash val="solid"/>
                  <a:round/>
                </a:ln>
              </p:spPr>
              <p:txBody>
                <a:bodyPr rtlCol="0" anchor="ctr"/>
                <a:lstStyle/>
                <a:p>
                  <a:endParaRPr lang="en-GB"/>
                </a:p>
              </p:txBody>
            </p:sp>
            <p:sp>
              <p:nvSpPr>
                <p:cNvPr id="5895" name="Vrije vorm: vorm 5894">
                  <a:extLst>
                    <a:ext uri="{FF2B5EF4-FFF2-40B4-BE49-F238E27FC236}">
                      <a16:creationId xmlns:a16="http://schemas.microsoft.com/office/drawing/2014/main" id="{EFE8865E-291F-4680-B664-CCA346FAA921}"/>
                    </a:ext>
                  </a:extLst>
                </p:cNvPr>
                <p:cNvSpPr/>
                <p:nvPr/>
              </p:nvSpPr>
              <p:spPr>
                <a:xfrm>
                  <a:off x="7712340" y="2704642"/>
                  <a:ext cx="18779" cy="35944"/>
                </a:xfrm>
                <a:custGeom>
                  <a:avLst/>
                  <a:gdLst>
                    <a:gd name="connsiteX0" fmla="*/ 18779 w 18779"/>
                    <a:gd name="connsiteY0" fmla="*/ 35944 h 35944"/>
                    <a:gd name="connsiteX1" fmla="*/ 0 w 18779"/>
                    <a:gd name="connsiteY1" fmla="*/ 0 h 35944"/>
                  </a:gdLst>
                  <a:ahLst/>
                  <a:cxnLst>
                    <a:cxn ang="0">
                      <a:pos x="connsiteX0" y="connsiteY0"/>
                    </a:cxn>
                    <a:cxn ang="0">
                      <a:pos x="connsiteX1" y="connsiteY1"/>
                    </a:cxn>
                  </a:cxnLst>
                  <a:rect l="l" t="t" r="r" b="b"/>
                  <a:pathLst>
                    <a:path w="18779" h="35944">
                      <a:moveTo>
                        <a:pt x="18779" y="3594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896" name="Vrije vorm: vorm 5895">
                  <a:extLst>
                    <a:ext uri="{FF2B5EF4-FFF2-40B4-BE49-F238E27FC236}">
                      <a16:creationId xmlns:a16="http://schemas.microsoft.com/office/drawing/2014/main" id="{0B72C76C-6F87-4A91-97D7-A8E16C6FF74E}"/>
                    </a:ext>
                  </a:extLst>
                </p:cNvPr>
                <p:cNvSpPr/>
                <p:nvPr/>
              </p:nvSpPr>
              <p:spPr>
                <a:xfrm>
                  <a:off x="7712340" y="2704642"/>
                  <a:ext cx="25238" cy="39831"/>
                </a:xfrm>
                <a:custGeom>
                  <a:avLst/>
                  <a:gdLst>
                    <a:gd name="connsiteX0" fmla="*/ 25239 w 25238"/>
                    <a:gd name="connsiteY0" fmla="*/ 39832 h 39831"/>
                    <a:gd name="connsiteX1" fmla="*/ 0 w 25238"/>
                    <a:gd name="connsiteY1" fmla="*/ 0 h 39831"/>
                  </a:gdLst>
                  <a:ahLst/>
                  <a:cxnLst>
                    <a:cxn ang="0">
                      <a:pos x="connsiteX0" y="connsiteY0"/>
                    </a:cxn>
                    <a:cxn ang="0">
                      <a:pos x="connsiteX1" y="connsiteY1"/>
                    </a:cxn>
                  </a:cxnLst>
                  <a:rect l="l" t="t" r="r" b="b"/>
                  <a:pathLst>
                    <a:path w="25238" h="39831">
                      <a:moveTo>
                        <a:pt x="25239" y="3983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897" name="Vrije vorm: vorm 5896">
                  <a:extLst>
                    <a:ext uri="{FF2B5EF4-FFF2-40B4-BE49-F238E27FC236}">
                      <a16:creationId xmlns:a16="http://schemas.microsoft.com/office/drawing/2014/main" id="{0CC323BA-5F35-4E9B-BF70-3437066BB361}"/>
                    </a:ext>
                  </a:extLst>
                </p:cNvPr>
                <p:cNvSpPr/>
                <p:nvPr/>
              </p:nvSpPr>
              <p:spPr>
                <a:xfrm>
                  <a:off x="7655463" y="2649141"/>
                  <a:ext cx="837" cy="18420"/>
                </a:xfrm>
                <a:custGeom>
                  <a:avLst/>
                  <a:gdLst>
                    <a:gd name="connsiteX0" fmla="*/ 837 w 837"/>
                    <a:gd name="connsiteY0" fmla="*/ 18421 h 18420"/>
                    <a:gd name="connsiteX1" fmla="*/ 0 w 837"/>
                    <a:gd name="connsiteY1" fmla="*/ 0 h 18420"/>
                  </a:gdLst>
                  <a:ahLst/>
                  <a:cxnLst>
                    <a:cxn ang="0">
                      <a:pos x="connsiteX0" y="connsiteY0"/>
                    </a:cxn>
                    <a:cxn ang="0">
                      <a:pos x="connsiteX1" y="connsiteY1"/>
                    </a:cxn>
                  </a:cxnLst>
                  <a:rect l="l" t="t" r="r" b="b"/>
                  <a:pathLst>
                    <a:path w="837" h="18420">
                      <a:moveTo>
                        <a:pt x="837" y="1842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898" name="Vrije vorm: vorm 5897">
                  <a:extLst>
                    <a:ext uri="{FF2B5EF4-FFF2-40B4-BE49-F238E27FC236}">
                      <a16:creationId xmlns:a16="http://schemas.microsoft.com/office/drawing/2014/main" id="{1780A2F1-BF58-4FB2-99B1-0073365E40A6}"/>
                    </a:ext>
                  </a:extLst>
                </p:cNvPr>
                <p:cNvSpPr/>
                <p:nvPr/>
              </p:nvSpPr>
              <p:spPr>
                <a:xfrm>
                  <a:off x="7680702" y="2694415"/>
                  <a:ext cx="15071" cy="1614"/>
                </a:xfrm>
                <a:custGeom>
                  <a:avLst/>
                  <a:gdLst>
                    <a:gd name="connsiteX0" fmla="*/ 0 w 15071"/>
                    <a:gd name="connsiteY0" fmla="*/ 0 h 1614"/>
                    <a:gd name="connsiteX1" fmla="*/ 15072 w 15071"/>
                    <a:gd name="connsiteY1" fmla="*/ 1615 h 1614"/>
                  </a:gdLst>
                  <a:ahLst/>
                  <a:cxnLst>
                    <a:cxn ang="0">
                      <a:pos x="connsiteX0" y="connsiteY0"/>
                    </a:cxn>
                    <a:cxn ang="0">
                      <a:pos x="connsiteX1" y="connsiteY1"/>
                    </a:cxn>
                  </a:cxnLst>
                  <a:rect l="l" t="t" r="r" b="b"/>
                  <a:pathLst>
                    <a:path w="15071" h="1614">
                      <a:moveTo>
                        <a:pt x="0" y="0"/>
                      </a:moveTo>
                      <a:lnTo>
                        <a:pt x="15072" y="1615"/>
                      </a:lnTo>
                    </a:path>
                  </a:pathLst>
                </a:custGeom>
                <a:ln w="6350" cap="rnd">
                  <a:solidFill>
                    <a:schemeClr val="bg1">
                      <a:alpha val="40000"/>
                    </a:schemeClr>
                  </a:solidFill>
                  <a:prstDash val="solid"/>
                  <a:round/>
                </a:ln>
              </p:spPr>
              <p:txBody>
                <a:bodyPr rtlCol="0" anchor="ctr"/>
                <a:lstStyle/>
                <a:p>
                  <a:endParaRPr lang="en-GB"/>
                </a:p>
              </p:txBody>
            </p:sp>
            <p:sp>
              <p:nvSpPr>
                <p:cNvPr id="5899" name="Vrije vorm: vorm 5898">
                  <a:extLst>
                    <a:ext uri="{FF2B5EF4-FFF2-40B4-BE49-F238E27FC236}">
                      <a16:creationId xmlns:a16="http://schemas.microsoft.com/office/drawing/2014/main" id="{C4788B39-F796-4F57-A796-3BE9832EF6DE}"/>
                    </a:ext>
                  </a:extLst>
                </p:cNvPr>
                <p:cNvSpPr/>
                <p:nvPr/>
              </p:nvSpPr>
              <p:spPr>
                <a:xfrm>
                  <a:off x="7603850" y="2762117"/>
                  <a:ext cx="17463" cy="22427"/>
                </a:xfrm>
                <a:custGeom>
                  <a:avLst/>
                  <a:gdLst>
                    <a:gd name="connsiteX0" fmla="*/ 17464 w 17463"/>
                    <a:gd name="connsiteY0" fmla="*/ 0 h 22427"/>
                    <a:gd name="connsiteX1" fmla="*/ 0 w 17463"/>
                    <a:gd name="connsiteY1" fmla="*/ 22428 h 22427"/>
                  </a:gdLst>
                  <a:ahLst/>
                  <a:cxnLst>
                    <a:cxn ang="0">
                      <a:pos x="connsiteX0" y="connsiteY0"/>
                    </a:cxn>
                    <a:cxn ang="0">
                      <a:pos x="connsiteX1" y="connsiteY1"/>
                    </a:cxn>
                  </a:cxnLst>
                  <a:rect l="l" t="t" r="r" b="b"/>
                  <a:pathLst>
                    <a:path w="17463" h="22427">
                      <a:moveTo>
                        <a:pt x="17464" y="0"/>
                      </a:moveTo>
                      <a:lnTo>
                        <a:pt x="0" y="22428"/>
                      </a:lnTo>
                    </a:path>
                  </a:pathLst>
                </a:custGeom>
                <a:ln w="6350" cap="rnd">
                  <a:solidFill>
                    <a:schemeClr val="bg1">
                      <a:alpha val="40000"/>
                    </a:schemeClr>
                  </a:solidFill>
                  <a:prstDash val="solid"/>
                  <a:round/>
                </a:ln>
              </p:spPr>
              <p:txBody>
                <a:bodyPr rtlCol="0" anchor="ctr"/>
                <a:lstStyle/>
                <a:p>
                  <a:endParaRPr lang="en-GB"/>
                </a:p>
              </p:txBody>
            </p:sp>
            <p:sp>
              <p:nvSpPr>
                <p:cNvPr id="5900" name="Vrije vorm: vorm 5899">
                  <a:extLst>
                    <a:ext uri="{FF2B5EF4-FFF2-40B4-BE49-F238E27FC236}">
                      <a16:creationId xmlns:a16="http://schemas.microsoft.com/office/drawing/2014/main" id="{3C8EA0AD-F330-4A91-9D02-4119D19BE404}"/>
                    </a:ext>
                  </a:extLst>
                </p:cNvPr>
                <p:cNvSpPr/>
                <p:nvPr/>
              </p:nvSpPr>
              <p:spPr>
                <a:xfrm>
                  <a:off x="7621313" y="2749557"/>
                  <a:ext cx="19556" cy="12559"/>
                </a:xfrm>
                <a:custGeom>
                  <a:avLst/>
                  <a:gdLst>
                    <a:gd name="connsiteX0" fmla="*/ 0 w 19556"/>
                    <a:gd name="connsiteY0" fmla="*/ 12560 h 12559"/>
                    <a:gd name="connsiteX1" fmla="*/ 19557 w 19556"/>
                    <a:gd name="connsiteY1" fmla="*/ 0 h 12559"/>
                  </a:gdLst>
                  <a:ahLst/>
                  <a:cxnLst>
                    <a:cxn ang="0">
                      <a:pos x="connsiteX0" y="connsiteY0"/>
                    </a:cxn>
                    <a:cxn ang="0">
                      <a:pos x="connsiteX1" y="connsiteY1"/>
                    </a:cxn>
                  </a:cxnLst>
                  <a:rect l="l" t="t" r="r" b="b"/>
                  <a:pathLst>
                    <a:path w="19556" h="12559">
                      <a:moveTo>
                        <a:pt x="0" y="12560"/>
                      </a:moveTo>
                      <a:lnTo>
                        <a:pt x="19557" y="0"/>
                      </a:lnTo>
                    </a:path>
                  </a:pathLst>
                </a:custGeom>
                <a:ln w="6350" cap="rnd">
                  <a:solidFill>
                    <a:schemeClr val="bg1">
                      <a:alpha val="40000"/>
                    </a:schemeClr>
                  </a:solidFill>
                  <a:prstDash val="solid"/>
                  <a:round/>
                </a:ln>
              </p:spPr>
              <p:txBody>
                <a:bodyPr rtlCol="0" anchor="ctr"/>
                <a:lstStyle/>
                <a:p>
                  <a:endParaRPr lang="en-GB"/>
                </a:p>
              </p:txBody>
            </p:sp>
            <p:sp>
              <p:nvSpPr>
                <p:cNvPr id="5901" name="Vrije vorm: vorm 5900">
                  <a:extLst>
                    <a:ext uri="{FF2B5EF4-FFF2-40B4-BE49-F238E27FC236}">
                      <a16:creationId xmlns:a16="http://schemas.microsoft.com/office/drawing/2014/main" id="{274EA5EC-004A-46C4-BB0A-2A25A1318135}"/>
                    </a:ext>
                  </a:extLst>
                </p:cNvPr>
                <p:cNvSpPr/>
                <p:nvPr/>
              </p:nvSpPr>
              <p:spPr>
                <a:xfrm>
                  <a:off x="7619280" y="2762117"/>
                  <a:ext cx="2033" cy="2153"/>
                </a:xfrm>
                <a:custGeom>
                  <a:avLst/>
                  <a:gdLst>
                    <a:gd name="connsiteX0" fmla="*/ 2033 w 2033"/>
                    <a:gd name="connsiteY0" fmla="*/ 0 h 2153"/>
                    <a:gd name="connsiteX1" fmla="*/ 0 w 2033"/>
                    <a:gd name="connsiteY1" fmla="*/ 2153 h 2153"/>
                  </a:gdLst>
                  <a:ahLst/>
                  <a:cxnLst>
                    <a:cxn ang="0">
                      <a:pos x="connsiteX0" y="connsiteY0"/>
                    </a:cxn>
                    <a:cxn ang="0">
                      <a:pos x="connsiteX1" y="connsiteY1"/>
                    </a:cxn>
                  </a:cxnLst>
                  <a:rect l="l" t="t" r="r" b="b"/>
                  <a:pathLst>
                    <a:path w="2033" h="2153">
                      <a:moveTo>
                        <a:pt x="2033" y="0"/>
                      </a:moveTo>
                      <a:lnTo>
                        <a:pt x="0" y="2153"/>
                      </a:lnTo>
                    </a:path>
                  </a:pathLst>
                </a:custGeom>
                <a:ln w="6350" cap="rnd">
                  <a:solidFill>
                    <a:schemeClr val="bg1">
                      <a:alpha val="40000"/>
                    </a:schemeClr>
                  </a:solidFill>
                  <a:prstDash val="solid"/>
                  <a:round/>
                </a:ln>
              </p:spPr>
              <p:txBody>
                <a:bodyPr rtlCol="0" anchor="ctr"/>
                <a:lstStyle/>
                <a:p>
                  <a:endParaRPr lang="en-GB"/>
                </a:p>
              </p:txBody>
            </p:sp>
            <p:sp>
              <p:nvSpPr>
                <p:cNvPr id="5902" name="Vrije vorm: vorm 5901">
                  <a:extLst>
                    <a:ext uri="{FF2B5EF4-FFF2-40B4-BE49-F238E27FC236}">
                      <a16:creationId xmlns:a16="http://schemas.microsoft.com/office/drawing/2014/main" id="{02B0C9C3-E1A7-415A-9F32-0211614D5F92}"/>
                    </a:ext>
                  </a:extLst>
                </p:cNvPr>
                <p:cNvSpPr/>
                <p:nvPr/>
              </p:nvSpPr>
              <p:spPr>
                <a:xfrm>
                  <a:off x="7573049" y="2678506"/>
                  <a:ext cx="19796" cy="6160"/>
                </a:xfrm>
                <a:custGeom>
                  <a:avLst/>
                  <a:gdLst>
                    <a:gd name="connsiteX0" fmla="*/ 19796 w 19796"/>
                    <a:gd name="connsiteY0" fmla="*/ 6160 h 6160"/>
                    <a:gd name="connsiteX1" fmla="*/ 0 w 19796"/>
                    <a:gd name="connsiteY1" fmla="*/ 0 h 6160"/>
                  </a:gdLst>
                  <a:ahLst/>
                  <a:cxnLst>
                    <a:cxn ang="0">
                      <a:pos x="connsiteX0" y="connsiteY0"/>
                    </a:cxn>
                    <a:cxn ang="0">
                      <a:pos x="connsiteX1" y="connsiteY1"/>
                    </a:cxn>
                  </a:cxnLst>
                  <a:rect l="l" t="t" r="r" b="b"/>
                  <a:pathLst>
                    <a:path w="19796" h="6160">
                      <a:moveTo>
                        <a:pt x="19796" y="616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03" name="Vrije vorm: vorm 5902">
                  <a:extLst>
                    <a:ext uri="{FF2B5EF4-FFF2-40B4-BE49-F238E27FC236}">
                      <a16:creationId xmlns:a16="http://schemas.microsoft.com/office/drawing/2014/main" id="{FDF553A6-7013-421D-A37A-43B8CE851A26}"/>
                    </a:ext>
                  </a:extLst>
                </p:cNvPr>
                <p:cNvSpPr/>
                <p:nvPr/>
              </p:nvSpPr>
              <p:spPr>
                <a:xfrm>
                  <a:off x="7597630" y="2770310"/>
                  <a:ext cx="33910" cy="27212"/>
                </a:xfrm>
                <a:custGeom>
                  <a:avLst/>
                  <a:gdLst>
                    <a:gd name="connsiteX0" fmla="*/ 0 w 33910"/>
                    <a:gd name="connsiteY0" fmla="*/ 27212 h 27212"/>
                    <a:gd name="connsiteX1" fmla="*/ 33910 w 33910"/>
                    <a:gd name="connsiteY1" fmla="*/ 0 h 27212"/>
                  </a:gdLst>
                  <a:ahLst/>
                  <a:cxnLst>
                    <a:cxn ang="0">
                      <a:pos x="connsiteX0" y="connsiteY0"/>
                    </a:cxn>
                    <a:cxn ang="0">
                      <a:pos x="connsiteX1" y="connsiteY1"/>
                    </a:cxn>
                  </a:cxnLst>
                  <a:rect l="l" t="t" r="r" b="b"/>
                  <a:pathLst>
                    <a:path w="33910" h="27212">
                      <a:moveTo>
                        <a:pt x="0" y="27212"/>
                      </a:moveTo>
                      <a:lnTo>
                        <a:pt x="33910" y="0"/>
                      </a:lnTo>
                    </a:path>
                  </a:pathLst>
                </a:custGeom>
                <a:ln w="6350" cap="rnd">
                  <a:solidFill>
                    <a:schemeClr val="bg1">
                      <a:alpha val="40000"/>
                    </a:schemeClr>
                  </a:solidFill>
                  <a:prstDash val="solid"/>
                  <a:round/>
                </a:ln>
              </p:spPr>
              <p:txBody>
                <a:bodyPr rtlCol="0" anchor="ctr"/>
                <a:lstStyle/>
                <a:p>
                  <a:endParaRPr lang="en-GB"/>
                </a:p>
              </p:txBody>
            </p:sp>
            <p:sp>
              <p:nvSpPr>
                <p:cNvPr id="5904" name="Vrije vorm: vorm 5903">
                  <a:extLst>
                    <a:ext uri="{FF2B5EF4-FFF2-40B4-BE49-F238E27FC236}">
                      <a16:creationId xmlns:a16="http://schemas.microsoft.com/office/drawing/2014/main" id="{4DDF8F39-F7B2-4A38-B3B0-2B2A02A79B26}"/>
                    </a:ext>
                  </a:extLst>
                </p:cNvPr>
                <p:cNvSpPr/>
                <p:nvPr/>
              </p:nvSpPr>
              <p:spPr>
                <a:xfrm>
                  <a:off x="7597630" y="2749557"/>
                  <a:ext cx="43240" cy="47965"/>
                </a:xfrm>
                <a:custGeom>
                  <a:avLst/>
                  <a:gdLst>
                    <a:gd name="connsiteX0" fmla="*/ 0 w 43240"/>
                    <a:gd name="connsiteY0" fmla="*/ 47965 h 47965"/>
                    <a:gd name="connsiteX1" fmla="*/ 43241 w 43240"/>
                    <a:gd name="connsiteY1" fmla="*/ 0 h 47965"/>
                  </a:gdLst>
                  <a:ahLst/>
                  <a:cxnLst>
                    <a:cxn ang="0">
                      <a:pos x="connsiteX0" y="connsiteY0"/>
                    </a:cxn>
                    <a:cxn ang="0">
                      <a:pos x="connsiteX1" y="connsiteY1"/>
                    </a:cxn>
                  </a:cxnLst>
                  <a:rect l="l" t="t" r="r" b="b"/>
                  <a:pathLst>
                    <a:path w="43240" h="47965">
                      <a:moveTo>
                        <a:pt x="0" y="47965"/>
                      </a:moveTo>
                      <a:lnTo>
                        <a:pt x="43241" y="0"/>
                      </a:lnTo>
                    </a:path>
                  </a:pathLst>
                </a:custGeom>
                <a:ln w="6350" cap="rnd">
                  <a:solidFill>
                    <a:schemeClr val="bg1">
                      <a:alpha val="40000"/>
                    </a:schemeClr>
                  </a:solidFill>
                  <a:prstDash val="solid"/>
                  <a:round/>
                </a:ln>
              </p:spPr>
              <p:txBody>
                <a:bodyPr rtlCol="0" anchor="ctr"/>
                <a:lstStyle/>
                <a:p>
                  <a:endParaRPr lang="en-GB"/>
                </a:p>
              </p:txBody>
            </p:sp>
            <p:sp>
              <p:nvSpPr>
                <p:cNvPr id="5905" name="Vrije vorm: vorm 5904">
                  <a:extLst>
                    <a:ext uri="{FF2B5EF4-FFF2-40B4-BE49-F238E27FC236}">
                      <a16:creationId xmlns:a16="http://schemas.microsoft.com/office/drawing/2014/main" id="{8533C9BE-FEA3-4404-9B16-35AEFF2DE5C6}"/>
                    </a:ext>
                  </a:extLst>
                </p:cNvPr>
                <p:cNvSpPr/>
                <p:nvPr/>
              </p:nvSpPr>
              <p:spPr>
                <a:xfrm>
                  <a:off x="7568743" y="2700575"/>
                  <a:ext cx="9270" cy="10346"/>
                </a:xfrm>
                <a:custGeom>
                  <a:avLst/>
                  <a:gdLst>
                    <a:gd name="connsiteX0" fmla="*/ 0 w 9270"/>
                    <a:gd name="connsiteY0" fmla="*/ 10347 h 10346"/>
                    <a:gd name="connsiteX1" fmla="*/ 9270 w 9270"/>
                    <a:gd name="connsiteY1" fmla="*/ 0 h 10346"/>
                  </a:gdLst>
                  <a:ahLst/>
                  <a:cxnLst>
                    <a:cxn ang="0">
                      <a:pos x="connsiteX0" y="connsiteY0"/>
                    </a:cxn>
                    <a:cxn ang="0">
                      <a:pos x="connsiteX1" y="connsiteY1"/>
                    </a:cxn>
                  </a:cxnLst>
                  <a:rect l="l" t="t" r="r" b="b"/>
                  <a:pathLst>
                    <a:path w="9270" h="10346">
                      <a:moveTo>
                        <a:pt x="0" y="10347"/>
                      </a:moveTo>
                      <a:lnTo>
                        <a:pt x="9270" y="0"/>
                      </a:lnTo>
                    </a:path>
                  </a:pathLst>
                </a:custGeom>
                <a:ln w="6350" cap="rnd">
                  <a:solidFill>
                    <a:schemeClr val="bg1">
                      <a:alpha val="40000"/>
                    </a:schemeClr>
                  </a:solidFill>
                  <a:prstDash val="solid"/>
                  <a:round/>
                </a:ln>
              </p:spPr>
              <p:txBody>
                <a:bodyPr rtlCol="0" anchor="ctr"/>
                <a:lstStyle/>
                <a:p>
                  <a:endParaRPr lang="en-GB"/>
                </a:p>
              </p:txBody>
            </p:sp>
            <p:sp>
              <p:nvSpPr>
                <p:cNvPr id="5906" name="Vrije vorm: vorm 5905">
                  <a:extLst>
                    <a:ext uri="{FF2B5EF4-FFF2-40B4-BE49-F238E27FC236}">
                      <a16:creationId xmlns:a16="http://schemas.microsoft.com/office/drawing/2014/main" id="{FEA8B749-5942-4504-AB1E-9413A14D0CF3}"/>
                    </a:ext>
                  </a:extLst>
                </p:cNvPr>
                <p:cNvSpPr/>
                <p:nvPr/>
              </p:nvSpPr>
              <p:spPr>
                <a:xfrm>
                  <a:off x="7513302" y="2719534"/>
                  <a:ext cx="3409" cy="16566"/>
                </a:xfrm>
                <a:custGeom>
                  <a:avLst/>
                  <a:gdLst>
                    <a:gd name="connsiteX0" fmla="*/ 0 w 3409"/>
                    <a:gd name="connsiteY0" fmla="*/ 16567 h 16566"/>
                    <a:gd name="connsiteX1" fmla="*/ 3409 w 3409"/>
                    <a:gd name="connsiteY1" fmla="*/ 0 h 16566"/>
                  </a:gdLst>
                  <a:ahLst/>
                  <a:cxnLst>
                    <a:cxn ang="0">
                      <a:pos x="connsiteX0" y="connsiteY0"/>
                    </a:cxn>
                    <a:cxn ang="0">
                      <a:pos x="connsiteX1" y="connsiteY1"/>
                    </a:cxn>
                  </a:cxnLst>
                  <a:rect l="l" t="t" r="r" b="b"/>
                  <a:pathLst>
                    <a:path w="3409" h="16566">
                      <a:moveTo>
                        <a:pt x="0" y="16567"/>
                      </a:moveTo>
                      <a:lnTo>
                        <a:pt x="3409" y="0"/>
                      </a:lnTo>
                    </a:path>
                  </a:pathLst>
                </a:custGeom>
                <a:ln w="6350" cap="rnd">
                  <a:solidFill>
                    <a:schemeClr val="bg1">
                      <a:alpha val="40000"/>
                    </a:schemeClr>
                  </a:solidFill>
                  <a:prstDash val="solid"/>
                  <a:round/>
                </a:ln>
              </p:spPr>
              <p:txBody>
                <a:bodyPr rtlCol="0" anchor="ctr"/>
                <a:lstStyle/>
                <a:p>
                  <a:endParaRPr lang="en-GB"/>
                </a:p>
              </p:txBody>
            </p:sp>
            <p:sp>
              <p:nvSpPr>
                <p:cNvPr id="5907" name="Vrije vorm: vorm 5906">
                  <a:extLst>
                    <a:ext uri="{FF2B5EF4-FFF2-40B4-BE49-F238E27FC236}">
                      <a16:creationId xmlns:a16="http://schemas.microsoft.com/office/drawing/2014/main" id="{CF467F4C-D9B7-4B7F-8DAF-CD680C3AA06C}"/>
                    </a:ext>
                  </a:extLst>
                </p:cNvPr>
                <p:cNvSpPr/>
                <p:nvPr/>
              </p:nvSpPr>
              <p:spPr>
                <a:xfrm>
                  <a:off x="7564496" y="2708230"/>
                  <a:ext cx="4246" cy="2691"/>
                </a:xfrm>
                <a:custGeom>
                  <a:avLst/>
                  <a:gdLst>
                    <a:gd name="connsiteX0" fmla="*/ 0 w 4246"/>
                    <a:gd name="connsiteY0" fmla="*/ 0 h 2691"/>
                    <a:gd name="connsiteX1" fmla="*/ 4246 w 4246"/>
                    <a:gd name="connsiteY1" fmla="*/ 2691 h 2691"/>
                  </a:gdLst>
                  <a:ahLst/>
                  <a:cxnLst>
                    <a:cxn ang="0">
                      <a:pos x="connsiteX0" y="connsiteY0"/>
                    </a:cxn>
                    <a:cxn ang="0">
                      <a:pos x="connsiteX1" y="connsiteY1"/>
                    </a:cxn>
                  </a:cxnLst>
                  <a:rect l="l" t="t" r="r" b="b"/>
                  <a:pathLst>
                    <a:path w="4246" h="2691">
                      <a:moveTo>
                        <a:pt x="0" y="0"/>
                      </a:moveTo>
                      <a:lnTo>
                        <a:pt x="4246" y="2691"/>
                      </a:lnTo>
                    </a:path>
                  </a:pathLst>
                </a:custGeom>
                <a:ln w="6350" cap="rnd">
                  <a:solidFill>
                    <a:schemeClr val="bg1">
                      <a:alpha val="40000"/>
                    </a:schemeClr>
                  </a:solidFill>
                  <a:prstDash val="solid"/>
                  <a:round/>
                </a:ln>
              </p:spPr>
              <p:txBody>
                <a:bodyPr rtlCol="0" anchor="ctr"/>
                <a:lstStyle/>
                <a:p>
                  <a:endParaRPr lang="en-GB"/>
                </a:p>
              </p:txBody>
            </p:sp>
            <p:sp>
              <p:nvSpPr>
                <p:cNvPr id="5908" name="Vrije vorm: vorm 5907">
                  <a:extLst>
                    <a:ext uri="{FF2B5EF4-FFF2-40B4-BE49-F238E27FC236}">
                      <a16:creationId xmlns:a16="http://schemas.microsoft.com/office/drawing/2014/main" id="{ACADC2FE-D745-4587-B13F-6FFBB892A399}"/>
                    </a:ext>
                  </a:extLst>
                </p:cNvPr>
                <p:cNvSpPr/>
                <p:nvPr/>
              </p:nvSpPr>
              <p:spPr>
                <a:xfrm>
                  <a:off x="7631540" y="2770310"/>
                  <a:ext cx="1554" cy="10705"/>
                </a:xfrm>
                <a:custGeom>
                  <a:avLst/>
                  <a:gdLst>
                    <a:gd name="connsiteX0" fmla="*/ 1555 w 1554"/>
                    <a:gd name="connsiteY0" fmla="*/ 10706 h 10705"/>
                    <a:gd name="connsiteX1" fmla="*/ 0 w 1554"/>
                    <a:gd name="connsiteY1" fmla="*/ 0 h 10705"/>
                  </a:gdLst>
                  <a:ahLst/>
                  <a:cxnLst>
                    <a:cxn ang="0">
                      <a:pos x="connsiteX0" y="connsiteY0"/>
                    </a:cxn>
                    <a:cxn ang="0">
                      <a:pos x="connsiteX1" y="connsiteY1"/>
                    </a:cxn>
                  </a:cxnLst>
                  <a:rect l="l" t="t" r="r" b="b"/>
                  <a:pathLst>
                    <a:path w="1554" h="10705">
                      <a:moveTo>
                        <a:pt x="1555" y="1070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09" name="Vrije vorm: vorm 5908">
                  <a:extLst>
                    <a:ext uri="{FF2B5EF4-FFF2-40B4-BE49-F238E27FC236}">
                      <a16:creationId xmlns:a16="http://schemas.microsoft.com/office/drawing/2014/main" id="{3A0C3BC6-F424-4C64-B114-3C08172FFC26}"/>
                    </a:ext>
                  </a:extLst>
                </p:cNvPr>
                <p:cNvSpPr/>
                <p:nvPr/>
              </p:nvSpPr>
              <p:spPr>
                <a:xfrm>
                  <a:off x="7608694" y="2770310"/>
                  <a:ext cx="22846" cy="28587"/>
                </a:xfrm>
                <a:custGeom>
                  <a:avLst/>
                  <a:gdLst>
                    <a:gd name="connsiteX0" fmla="*/ 0 w 22846"/>
                    <a:gd name="connsiteY0" fmla="*/ 28588 h 28587"/>
                    <a:gd name="connsiteX1" fmla="*/ 22846 w 22846"/>
                    <a:gd name="connsiteY1" fmla="*/ 0 h 28587"/>
                  </a:gdLst>
                  <a:ahLst/>
                  <a:cxnLst>
                    <a:cxn ang="0">
                      <a:pos x="connsiteX0" y="connsiteY0"/>
                    </a:cxn>
                    <a:cxn ang="0">
                      <a:pos x="connsiteX1" y="connsiteY1"/>
                    </a:cxn>
                  </a:cxnLst>
                  <a:rect l="l" t="t" r="r" b="b"/>
                  <a:pathLst>
                    <a:path w="22846" h="28587">
                      <a:moveTo>
                        <a:pt x="0" y="28588"/>
                      </a:moveTo>
                      <a:lnTo>
                        <a:pt x="22846" y="0"/>
                      </a:lnTo>
                    </a:path>
                  </a:pathLst>
                </a:custGeom>
                <a:ln w="6350" cap="rnd">
                  <a:solidFill>
                    <a:schemeClr val="bg1">
                      <a:alpha val="40000"/>
                    </a:schemeClr>
                  </a:solidFill>
                  <a:prstDash val="solid"/>
                  <a:round/>
                </a:ln>
              </p:spPr>
              <p:txBody>
                <a:bodyPr rtlCol="0" anchor="ctr"/>
                <a:lstStyle/>
                <a:p>
                  <a:endParaRPr lang="en-GB"/>
                </a:p>
              </p:txBody>
            </p:sp>
            <p:sp>
              <p:nvSpPr>
                <p:cNvPr id="5910" name="Vrije vorm: vorm 5909">
                  <a:extLst>
                    <a:ext uri="{FF2B5EF4-FFF2-40B4-BE49-F238E27FC236}">
                      <a16:creationId xmlns:a16="http://schemas.microsoft.com/office/drawing/2014/main" id="{538BD61F-2BB1-4397-9E81-D281913475A6}"/>
                    </a:ext>
                  </a:extLst>
                </p:cNvPr>
                <p:cNvSpPr/>
                <p:nvPr/>
              </p:nvSpPr>
              <p:spPr>
                <a:xfrm>
                  <a:off x="7597630" y="2797523"/>
                  <a:ext cx="11064" cy="1375"/>
                </a:xfrm>
                <a:custGeom>
                  <a:avLst/>
                  <a:gdLst>
                    <a:gd name="connsiteX0" fmla="*/ 11064 w 11064"/>
                    <a:gd name="connsiteY0" fmla="*/ 1376 h 1375"/>
                    <a:gd name="connsiteX1" fmla="*/ 0 w 11064"/>
                    <a:gd name="connsiteY1" fmla="*/ 0 h 1375"/>
                  </a:gdLst>
                  <a:ahLst/>
                  <a:cxnLst>
                    <a:cxn ang="0">
                      <a:pos x="connsiteX0" y="connsiteY0"/>
                    </a:cxn>
                    <a:cxn ang="0">
                      <a:pos x="connsiteX1" y="connsiteY1"/>
                    </a:cxn>
                  </a:cxnLst>
                  <a:rect l="l" t="t" r="r" b="b"/>
                  <a:pathLst>
                    <a:path w="11064" h="1375">
                      <a:moveTo>
                        <a:pt x="11064" y="137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11" name="Vrije vorm: vorm 5910">
                  <a:extLst>
                    <a:ext uri="{FF2B5EF4-FFF2-40B4-BE49-F238E27FC236}">
                      <a16:creationId xmlns:a16="http://schemas.microsoft.com/office/drawing/2014/main" id="{A1148283-7343-4D43-A081-244C54DC397C}"/>
                    </a:ext>
                  </a:extLst>
                </p:cNvPr>
                <p:cNvSpPr/>
                <p:nvPr/>
              </p:nvSpPr>
              <p:spPr>
                <a:xfrm>
                  <a:off x="7608694" y="2781016"/>
                  <a:ext cx="24401" cy="17882"/>
                </a:xfrm>
                <a:custGeom>
                  <a:avLst/>
                  <a:gdLst>
                    <a:gd name="connsiteX0" fmla="*/ 0 w 24401"/>
                    <a:gd name="connsiteY0" fmla="*/ 17882 h 17882"/>
                    <a:gd name="connsiteX1" fmla="*/ 24401 w 24401"/>
                    <a:gd name="connsiteY1" fmla="*/ 0 h 17882"/>
                  </a:gdLst>
                  <a:ahLst/>
                  <a:cxnLst>
                    <a:cxn ang="0">
                      <a:pos x="connsiteX0" y="connsiteY0"/>
                    </a:cxn>
                    <a:cxn ang="0">
                      <a:pos x="connsiteX1" y="connsiteY1"/>
                    </a:cxn>
                  </a:cxnLst>
                  <a:rect l="l" t="t" r="r" b="b"/>
                  <a:pathLst>
                    <a:path w="24401" h="17882">
                      <a:moveTo>
                        <a:pt x="0" y="17882"/>
                      </a:moveTo>
                      <a:lnTo>
                        <a:pt x="24401" y="0"/>
                      </a:lnTo>
                    </a:path>
                  </a:pathLst>
                </a:custGeom>
                <a:ln w="6350" cap="rnd">
                  <a:solidFill>
                    <a:schemeClr val="bg1">
                      <a:alpha val="40000"/>
                    </a:schemeClr>
                  </a:solidFill>
                  <a:prstDash val="solid"/>
                  <a:round/>
                </a:ln>
              </p:spPr>
              <p:txBody>
                <a:bodyPr rtlCol="0" anchor="ctr"/>
                <a:lstStyle/>
                <a:p>
                  <a:endParaRPr lang="en-GB"/>
                </a:p>
              </p:txBody>
            </p:sp>
            <p:sp>
              <p:nvSpPr>
                <p:cNvPr id="5912" name="Vrije vorm: vorm 5911">
                  <a:extLst>
                    <a:ext uri="{FF2B5EF4-FFF2-40B4-BE49-F238E27FC236}">
                      <a16:creationId xmlns:a16="http://schemas.microsoft.com/office/drawing/2014/main" id="{FD67CF5F-9536-4F24-A573-A5E9E30D01B9}"/>
                    </a:ext>
                  </a:extLst>
                </p:cNvPr>
                <p:cNvSpPr/>
                <p:nvPr/>
              </p:nvSpPr>
              <p:spPr>
                <a:xfrm>
                  <a:off x="7572391" y="2716304"/>
                  <a:ext cx="1913" cy="5023"/>
                </a:xfrm>
                <a:custGeom>
                  <a:avLst/>
                  <a:gdLst>
                    <a:gd name="connsiteX0" fmla="*/ 1914 w 1913"/>
                    <a:gd name="connsiteY0" fmla="*/ 5024 h 5023"/>
                    <a:gd name="connsiteX1" fmla="*/ 0 w 1913"/>
                    <a:gd name="connsiteY1" fmla="*/ 0 h 5023"/>
                  </a:gdLst>
                  <a:ahLst/>
                  <a:cxnLst>
                    <a:cxn ang="0">
                      <a:pos x="connsiteX0" y="connsiteY0"/>
                    </a:cxn>
                    <a:cxn ang="0">
                      <a:pos x="connsiteX1" y="connsiteY1"/>
                    </a:cxn>
                  </a:cxnLst>
                  <a:rect l="l" t="t" r="r" b="b"/>
                  <a:pathLst>
                    <a:path w="1913" h="5023">
                      <a:moveTo>
                        <a:pt x="1914" y="502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13" name="Vrije vorm: vorm 5912">
                  <a:extLst>
                    <a:ext uri="{FF2B5EF4-FFF2-40B4-BE49-F238E27FC236}">
                      <a16:creationId xmlns:a16="http://schemas.microsoft.com/office/drawing/2014/main" id="{B2A4F92C-2751-4A1A-B025-8FD8855EC529}"/>
                    </a:ext>
                  </a:extLst>
                </p:cNvPr>
                <p:cNvSpPr/>
                <p:nvPr/>
              </p:nvSpPr>
              <p:spPr>
                <a:xfrm>
                  <a:off x="7538301" y="2699080"/>
                  <a:ext cx="22965" cy="7894"/>
                </a:xfrm>
                <a:custGeom>
                  <a:avLst/>
                  <a:gdLst>
                    <a:gd name="connsiteX0" fmla="*/ 0 w 22965"/>
                    <a:gd name="connsiteY0" fmla="*/ 7895 h 7894"/>
                    <a:gd name="connsiteX1" fmla="*/ 22966 w 22965"/>
                    <a:gd name="connsiteY1" fmla="*/ 0 h 7894"/>
                  </a:gdLst>
                  <a:ahLst/>
                  <a:cxnLst>
                    <a:cxn ang="0">
                      <a:pos x="connsiteX0" y="connsiteY0"/>
                    </a:cxn>
                    <a:cxn ang="0">
                      <a:pos x="connsiteX1" y="connsiteY1"/>
                    </a:cxn>
                  </a:cxnLst>
                  <a:rect l="l" t="t" r="r" b="b"/>
                  <a:pathLst>
                    <a:path w="22965" h="7894">
                      <a:moveTo>
                        <a:pt x="0" y="7895"/>
                      </a:moveTo>
                      <a:lnTo>
                        <a:pt x="22966" y="0"/>
                      </a:lnTo>
                    </a:path>
                  </a:pathLst>
                </a:custGeom>
                <a:ln w="6350" cap="rnd">
                  <a:solidFill>
                    <a:schemeClr val="bg1">
                      <a:alpha val="40000"/>
                    </a:schemeClr>
                  </a:solidFill>
                  <a:prstDash val="solid"/>
                  <a:round/>
                </a:ln>
              </p:spPr>
              <p:txBody>
                <a:bodyPr rtlCol="0" anchor="ctr"/>
                <a:lstStyle/>
                <a:p>
                  <a:endParaRPr lang="en-GB"/>
                </a:p>
              </p:txBody>
            </p:sp>
            <p:sp>
              <p:nvSpPr>
                <p:cNvPr id="5914" name="Vrije vorm: vorm 5913">
                  <a:extLst>
                    <a:ext uri="{FF2B5EF4-FFF2-40B4-BE49-F238E27FC236}">
                      <a16:creationId xmlns:a16="http://schemas.microsoft.com/office/drawing/2014/main" id="{54C0DEB2-E8E3-4DF8-ADAB-4FCC87ADFFF4}"/>
                    </a:ext>
                  </a:extLst>
                </p:cNvPr>
                <p:cNvSpPr/>
                <p:nvPr/>
              </p:nvSpPr>
              <p:spPr>
                <a:xfrm>
                  <a:off x="7516711" y="2700336"/>
                  <a:ext cx="18301" cy="19198"/>
                </a:xfrm>
                <a:custGeom>
                  <a:avLst/>
                  <a:gdLst>
                    <a:gd name="connsiteX0" fmla="*/ 18301 w 18301"/>
                    <a:gd name="connsiteY0" fmla="*/ 0 h 19198"/>
                    <a:gd name="connsiteX1" fmla="*/ 0 w 18301"/>
                    <a:gd name="connsiteY1" fmla="*/ 19198 h 19198"/>
                  </a:gdLst>
                  <a:ahLst/>
                  <a:cxnLst>
                    <a:cxn ang="0">
                      <a:pos x="connsiteX0" y="connsiteY0"/>
                    </a:cxn>
                    <a:cxn ang="0">
                      <a:pos x="connsiteX1" y="connsiteY1"/>
                    </a:cxn>
                  </a:cxnLst>
                  <a:rect l="l" t="t" r="r" b="b"/>
                  <a:pathLst>
                    <a:path w="18301" h="19198">
                      <a:moveTo>
                        <a:pt x="18301" y="0"/>
                      </a:moveTo>
                      <a:lnTo>
                        <a:pt x="0" y="19198"/>
                      </a:lnTo>
                    </a:path>
                  </a:pathLst>
                </a:custGeom>
                <a:ln w="6350" cap="rnd">
                  <a:solidFill>
                    <a:schemeClr val="bg1">
                      <a:alpha val="40000"/>
                    </a:schemeClr>
                  </a:solidFill>
                  <a:prstDash val="solid"/>
                  <a:round/>
                </a:ln>
              </p:spPr>
              <p:txBody>
                <a:bodyPr rtlCol="0" anchor="ctr"/>
                <a:lstStyle/>
                <a:p>
                  <a:endParaRPr lang="en-GB"/>
                </a:p>
              </p:txBody>
            </p:sp>
            <p:sp>
              <p:nvSpPr>
                <p:cNvPr id="5915" name="Vrije vorm: vorm 5914">
                  <a:extLst>
                    <a:ext uri="{FF2B5EF4-FFF2-40B4-BE49-F238E27FC236}">
                      <a16:creationId xmlns:a16="http://schemas.microsoft.com/office/drawing/2014/main" id="{3646D571-D8B1-41C0-9BAE-1B59E8311FC0}"/>
                    </a:ext>
                  </a:extLst>
                </p:cNvPr>
                <p:cNvSpPr/>
                <p:nvPr/>
              </p:nvSpPr>
              <p:spPr>
                <a:xfrm>
                  <a:off x="7535012" y="2700336"/>
                  <a:ext cx="3289" cy="6638"/>
                </a:xfrm>
                <a:custGeom>
                  <a:avLst/>
                  <a:gdLst>
                    <a:gd name="connsiteX0" fmla="*/ 0 w 3289"/>
                    <a:gd name="connsiteY0" fmla="*/ 0 h 6638"/>
                    <a:gd name="connsiteX1" fmla="*/ 3289 w 3289"/>
                    <a:gd name="connsiteY1" fmla="*/ 6639 h 6638"/>
                  </a:gdLst>
                  <a:ahLst/>
                  <a:cxnLst>
                    <a:cxn ang="0">
                      <a:pos x="connsiteX0" y="connsiteY0"/>
                    </a:cxn>
                    <a:cxn ang="0">
                      <a:pos x="connsiteX1" y="connsiteY1"/>
                    </a:cxn>
                  </a:cxnLst>
                  <a:rect l="l" t="t" r="r" b="b"/>
                  <a:pathLst>
                    <a:path w="3289" h="6638">
                      <a:moveTo>
                        <a:pt x="0" y="0"/>
                      </a:moveTo>
                      <a:lnTo>
                        <a:pt x="3289" y="6639"/>
                      </a:lnTo>
                    </a:path>
                  </a:pathLst>
                </a:custGeom>
                <a:ln w="6350" cap="rnd">
                  <a:solidFill>
                    <a:schemeClr val="bg1">
                      <a:alpha val="40000"/>
                    </a:schemeClr>
                  </a:solidFill>
                  <a:prstDash val="solid"/>
                  <a:round/>
                </a:ln>
              </p:spPr>
              <p:txBody>
                <a:bodyPr rtlCol="0" anchor="ctr"/>
                <a:lstStyle/>
                <a:p>
                  <a:endParaRPr lang="en-GB"/>
                </a:p>
              </p:txBody>
            </p:sp>
            <p:sp>
              <p:nvSpPr>
                <p:cNvPr id="5916" name="Vrije vorm: vorm 5915">
                  <a:extLst>
                    <a:ext uri="{FF2B5EF4-FFF2-40B4-BE49-F238E27FC236}">
                      <a16:creationId xmlns:a16="http://schemas.microsoft.com/office/drawing/2014/main" id="{DCD72CF5-AE86-4EA9-96D1-F3F2C18D155A}"/>
                    </a:ext>
                  </a:extLst>
                </p:cNvPr>
                <p:cNvSpPr/>
                <p:nvPr/>
              </p:nvSpPr>
              <p:spPr>
                <a:xfrm>
                  <a:off x="7762339" y="2758947"/>
                  <a:ext cx="5562" cy="1315"/>
                </a:xfrm>
                <a:custGeom>
                  <a:avLst/>
                  <a:gdLst>
                    <a:gd name="connsiteX0" fmla="*/ 0 w 5562"/>
                    <a:gd name="connsiteY0" fmla="*/ 0 h 1315"/>
                    <a:gd name="connsiteX1" fmla="*/ 5562 w 5562"/>
                    <a:gd name="connsiteY1" fmla="*/ 1316 h 1315"/>
                  </a:gdLst>
                  <a:ahLst/>
                  <a:cxnLst>
                    <a:cxn ang="0">
                      <a:pos x="connsiteX0" y="connsiteY0"/>
                    </a:cxn>
                    <a:cxn ang="0">
                      <a:pos x="connsiteX1" y="connsiteY1"/>
                    </a:cxn>
                  </a:cxnLst>
                  <a:rect l="l" t="t" r="r" b="b"/>
                  <a:pathLst>
                    <a:path w="5562" h="1315">
                      <a:moveTo>
                        <a:pt x="0" y="0"/>
                      </a:moveTo>
                      <a:lnTo>
                        <a:pt x="5562" y="1316"/>
                      </a:lnTo>
                    </a:path>
                  </a:pathLst>
                </a:custGeom>
                <a:ln w="6350" cap="rnd">
                  <a:solidFill>
                    <a:schemeClr val="bg1">
                      <a:alpha val="40000"/>
                    </a:schemeClr>
                  </a:solidFill>
                  <a:prstDash val="solid"/>
                  <a:round/>
                </a:ln>
              </p:spPr>
              <p:txBody>
                <a:bodyPr rtlCol="0" anchor="ctr"/>
                <a:lstStyle/>
                <a:p>
                  <a:endParaRPr lang="en-GB"/>
                </a:p>
              </p:txBody>
            </p:sp>
            <p:sp>
              <p:nvSpPr>
                <p:cNvPr id="5917" name="Vrije vorm: vorm 5916">
                  <a:extLst>
                    <a:ext uri="{FF2B5EF4-FFF2-40B4-BE49-F238E27FC236}">
                      <a16:creationId xmlns:a16="http://schemas.microsoft.com/office/drawing/2014/main" id="{D09DB8E2-1B25-4594-8AAC-89F1682491FD}"/>
                    </a:ext>
                  </a:extLst>
                </p:cNvPr>
                <p:cNvSpPr/>
                <p:nvPr/>
              </p:nvSpPr>
              <p:spPr>
                <a:xfrm>
                  <a:off x="7762339" y="2755358"/>
                  <a:ext cx="897" cy="3588"/>
                </a:xfrm>
                <a:custGeom>
                  <a:avLst/>
                  <a:gdLst>
                    <a:gd name="connsiteX0" fmla="*/ 0 w 897"/>
                    <a:gd name="connsiteY0" fmla="*/ 3588 h 3588"/>
                    <a:gd name="connsiteX1" fmla="*/ 897 w 897"/>
                    <a:gd name="connsiteY1" fmla="*/ 0 h 3588"/>
                  </a:gdLst>
                  <a:ahLst/>
                  <a:cxnLst>
                    <a:cxn ang="0">
                      <a:pos x="connsiteX0" y="connsiteY0"/>
                    </a:cxn>
                    <a:cxn ang="0">
                      <a:pos x="connsiteX1" y="connsiteY1"/>
                    </a:cxn>
                  </a:cxnLst>
                  <a:rect l="l" t="t" r="r" b="b"/>
                  <a:pathLst>
                    <a:path w="897" h="3588">
                      <a:moveTo>
                        <a:pt x="0" y="3588"/>
                      </a:moveTo>
                      <a:lnTo>
                        <a:pt x="897" y="0"/>
                      </a:lnTo>
                    </a:path>
                  </a:pathLst>
                </a:custGeom>
                <a:ln w="6350" cap="rnd">
                  <a:solidFill>
                    <a:schemeClr val="bg1">
                      <a:alpha val="40000"/>
                    </a:schemeClr>
                  </a:solidFill>
                  <a:prstDash val="solid"/>
                  <a:round/>
                </a:ln>
              </p:spPr>
              <p:txBody>
                <a:bodyPr rtlCol="0" anchor="ctr"/>
                <a:lstStyle/>
                <a:p>
                  <a:endParaRPr lang="en-GB"/>
                </a:p>
              </p:txBody>
            </p:sp>
            <p:sp>
              <p:nvSpPr>
                <p:cNvPr id="5918" name="Vrije vorm: vorm 5917">
                  <a:extLst>
                    <a:ext uri="{FF2B5EF4-FFF2-40B4-BE49-F238E27FC236}">
                      <a16:creationId xmlns:a16="http://schemas.microsoft.com/office/drawing/2014/main" id="{84C9244A-BC02-46DA-B0F2-6C2A879CC29A}"/>
                    </a:ext>
                  </a:extLst>
                </p:cNvPr>
                <p:cNvSpPr/>
                <p:nvPr/>
              </p:nvSpPr>
              <p:spPr>
                <a:xfrm>
                  <a:off x="7588240" y="2684666"/>
                  <a:ext cx="4605" cy="23564"/>
                </a:xfrm>
                <a:custGeom>
                  <a:avLst/>
                  <a:gdLst>
                    <a:gd name="connsiteX0" fmla="*/ 0 w 4605"/>
                    <a:gd name="connsiteY0" fmla="*/ 23564 h 23564"/>
                    <a:gd name="connsiteX1" fmla="*/ 4605 w 4605"/>
                    <a:gd name="connsiteY1" fmla="*/ 0 h 23564"/>
                  </a:gdLst>
                  <a:ahLst/>
                  <a:cxnLst>
                    <a:cxn ang="0">
                      <a:pos x="connsiteX0" y="connsiteY0"/>
                    </a:cxn>
                    <a:cxn ang="0">
                      <a:pos x="connsiteX1" y="connsiteY1"/>
                    </a:cxn>
                  </a:cxnLst>
                  <a:rect l="l" t="t" r="r" b="b"/>
                  <a:pathLst>
                    <a:path w="4605" h="23564">
                      <a:moveTo>
                        <a:pt x="0" y="23564"/>
                      </a:moveTo>
                      <a:lnTo>
                        <a:pt x="4605" y="0"/>
                      </a:lnTo>
                    </a:path>
                  </a:pathLst>
                </a:custGeom>
                <a:ln w="6350" cap="rnd">
                  <a:solidFill>
                    <a:schemeClr val="bg1">
                      <a:alpha val="40000"/>
                    </a:schemeClr>
                  </a:solidFill>
                  <a:prstDash val="solid"/>
                  <a:round/>
                </a:ln>
              </p:spPr>
              <p:txBody>
                <a:bodyPr rtlCol="0" anchor="ctr"/>
                <a:lstStyle/>
                <a:p>
                  <a:endParaRPr lang="en-GB"/>
                </a:p>
              </p:txBody>
            </p:sp>
            <p:sp>
              <p:nvSpPr>
                <p:cNvPr id="5919" name="Vrije vorm: vorm 5918">
                  <a:extLst>
                    <a:ext uri="{FF2B5EF4-FFF2-40B4-BE49-F238E27FC236}">
                      <a16:creationId xmlns:a16="http://schemas.microsoft.com/office/drawing/2014/main" id="{E7947E80-77C2-4B76-BF0C-6A734957FBB2}"/>
                    </a:ext>
                  </a:extLst>
                </p:cNvPr>
                <p:cNvSpPr/>
                <p:nvPr/>
              </p:nvSpPr>
              <p:spPr>
                <a:xfrm>
                  <a:off x="7588240" y="2708230"/>
                  <a:ext cx="2212" cy="16207"/>
                </a:xfrm>
                <a:custGeom>
                  <a:avLst/>
                  <a:gdLst>
                    <a:gd name="connsiteX0" fmla="*/ 0 w 2212"/>
                    <a:gd name="connsiteY0" fmla="*/ 0 h 16207"/>
                    <a:gd name="connsiteX1" fmla="*/ 2213 w 2212"/>
                    <a:gd name="connsiteY1" fmla="*/ 16208 h 16207"/>
                  </a:gdLst>
                  <a:ahLst/>
                  <a:cxnLst>
                    <a:cxn ang="0">
                      <a:pos x="connsiteX0" y="connsiteY0"/>
                    </a:cxn>
                    <a:cxn ang="0">
                      <a:pos x="connsiteX1" y="connsiteY1"/>
                    </a:cxn>
                  </a:cxnLst>
                  <a:rect l="l" t="t" r="r" b="b"/>
                  <a:pathLst>
                    <a:path w="2212" h="16207">
                      <a:moveTo>
                        <a:pt x="0" y="0"/>
                      </a:moveTo>
                      <a:lnTo>
                        <a:pt x="2213" y="16208"/>
                      </a:lnTo>
                    </a:path>
                  </a:pathLst>
                </a:custGeom>
                <a:ln w="6350" cap="rnd">
                  <a:solidFill>
                    <a:schemeClr val="bg1">
                      <a:alpha val="40000"/>
                    </a:schemeClr>
                  </a:solidFill>
                  <a:prstDash val="solid"/>
                  <a:round/>
                </a:ln>
              </p:spPr>
              <p:txBody>
                <a:bodyPr rtlCol="0" anchor="ctr"/>
                <a:lstStyle/>
                <a:p>
                  <a:endParaRPr lang="en-GB"/>
                </a:p>
              </p:txBody>
            </p:sp>
            <p:sp>
              <p:nvSpPr>
                <p:cNvPr id="5920" name="Vrije vorm: vorm 5919">
                  <a:extLst>
                    <a:ext uri="{FF2B5EF4-FFF2-40B4-BE49-F238E27FC236}">
                      <a16:creationId xmlns:a16="http://schemas.microsoft.com/office/drawing/2014/main" id="{89C75033-821D-4879-87FD-EB5BC5D7DC62}"/>
                    </a:ext>
                  </a:extLst>
                </p:cNvPr>
                <p:cNvSpPr/>
                <p:nvPr/>
              </p:nvSpPr>
              <p:spPr>
                <a:xfrm>
                  <a:off x="7629926" y="2633113"/>
                  <a:ext cx="10167" cy="1315"/>
                </a:xfrm>
                <a:custGeom>
                  <a:avLst/>
                  <a:gdLst>
                    <a:gd name="connsiteX0" fmla="*/ 0 w 10167"/>
                    <a:gd name="connsiteY0" fmla="*/ 1316 h 1315"/>
                    <a:gd name="connsiteX1" fmla="*/ 10167 w 10167"/>
                    <a:gd name="connsiteY1" fmla="*/ 0 h 1315"/>
                  </a:gdLst>
                  <a:ahLst/>
                  <a:cxnLst>
                    <a:cxn ang="0">
                      <a:pos x="connsiteX0" y="connsiteY0"/>
                    </a:cxn>
                    <a:cxn ang="0">
                      <a:pos x="connsiteX1" y="connsiteY1"/>
                    </a:cxn>
                  </a:cxnLst>
                  <a:rect l="l" t="t" r="r" b="b"/>
                  <a:pathLst>
                    <a:path w="10167" h="1315">
                      <a:moveTo>
                        <a:pt x="0" y="1316"/>
                      </a:moveTo>
                      <a:lnTo>
                        <a:pt x="10167" y="0"/>
                      </a:lnTo>
                    </a:path>
                  </a:pathLst>
                </a:custGeom>
                <a:ln w="6350" cap="rnd">
                  <a:solidFill>
                    <a:schemeClr val="bg1">
                      <a:alpha val="40000"/>
                    </a:schemeClr>
                  </a:solidFill>
                  <a:prstDash val="solid"/>
                  <a:round/>
                </a:ln>
              </p:spPr>
              <p:txBody>
                <a:bodyPr rtlCol="0" anchor="ctr"/>
                <a:lstStyle/>
                <a:p>
                  <a:endParaRPr lang="en-GB"/>
                </a:p>
              </p:txBody>
            </p:sp>
            <p:sp>
              <p:nvSpPr>
                <p:cNvPr id="5921" name="Vrije vorm: vorm 5920">
                  <a:extLst>
                    <a:ext uri="{FF2B5EF4-FFF2-40B4-BE49-F238E27FC236}">
                      <a16:creationId xmlns:a16="http://schemas.microsoft.com/office/drawing/2014/main" id="{CDCBC11E-79D9-4DD1-A108-209196EB9233}"/>
                    </a:ext>
                  </a:extLst>
                </p:cNvPr>
                <p:cNvSpPr/>
                <p:nvPr/>
              </p:nvSpPr>
              <p:spPr>
                <a:xfrm>
                  <a:off x="7589197" y="2684666"/>
                  <a:ext cx="3648" cy="16566"/>
                </a:xfrm>
                <a:custGeom>
                  <a:avLst/>
                  <a:gdLst>
                    <a:gd name="connsiteX0" fmla="*/ 0 w 3648"/>
                    <a:gd name="connsiteY0" fmla="*/ 16567 h 16566"/>
                    <a:gd name="connsiteX1" fmla="*/ 3648 w 3648"/>
                    <a:gd name="connsiteY1" fmla="*/ 0 h 16566"/>
                  </a:gdLst>
                  <a:ahLst/>
                  <a:cxnLst>
                    <a:cxn ang="0">
                      <a:pos x="connsiteX0" y="connsiteY0"/>
                    </a:cxn>
                    <a:cxn ang="0">
                      <a:pos x="connsiteX1" y="connsiteY1"/>
                    </a:cxn>
                  </a:cxnLst>
                  <a:rect l="l" t="t" r="r" b="b"/>
                  <a:pathLst>
                    <a:path w="3648" h="16566">
                      <a:moveTo>
                        <a:pt x="0" y="16567"/>
                      </a:moveTo>
                      <a:lnTo>
                        <a:pt x="3648" y="0"/>
                      </a:lnTo>
                    </a:path>
                  </a:pathLst>
                </a:custGeom>
                <a:ln w="6350" cap="rnd">
                  <a:solidFill>
                    <a:schemeClr val="bg1">
                      <a:alpha val="40000"/>
                    </a:schemeClr>
                  </a:solidFill>
                  <a:prstDash val="solid"/>
                  <a:round/>
                </a:ln>
              </p:spPr>
              <p:txBody>
                <a:bodyPr rtlCol="0" anchor="ctr"/>
                <a:lstStyle/>
                <a:p>
                  <a:endParaRPr lang="en-GB"/>
                </a:p>
              </p:txBody>
            </p:sp>
            <p:sp>
              <p:nvSpPr>
                <p:cNvPr id="5922" name="Vrije vorm: vorm 5921">
                  <a:extLst>
                    <a:ext uri="{FF2B5EF4-FFF2-40B4-BE49-F238E27FC236}">
                      <a16:creationId xmlns:a16="http://schemas.microsoft.com/office/drawing/2014/main" id="{D8BC54AD-588C-4F44-8654-CFA8D479DE69}"/>
                    </a:ext>
                  </a:extLst>
                </p:cNvPr>
                <p:cNvSpPr/>
                <p:nvPr/>
              </p:nvSpPr>
              <p:spPr>
                <a:xfrm>
                  <a:off x="7588240" y="2701233"/>
                  <a:ext cx="956" cy="6997"/>
                </a:xfrm>
                <a:custGeom>
                  <a:avLst/>
                  <a:gdLst>
                    <a:gd name="connsiteX0" fmla="*/ 957 w 956"/>
                    <a:gd name="connsiteY0" fmla="*/ 0 h 6997"/>
                    <a:gd name="connsiteX1" fmla="*/ 0 w 956"/>
                    <a:gd name="connsiteY1" fmla="*/ 6997 h 6997"/>
                  </a:gdLst>
                  <a:ahLst/>
                  <a:cxnLst>
                    <a:cxn ang="0">
                      <a:pos x="connsiteX0" y="connsiteY0"/>
                    </a:cxn>
                    <a:cxn ang="0">
                      <a:pos x="connsiteX1" y="connsiteY1"/>
                    </a:cxn>
                  </a:cxnLst>
                  <a:rect l="l" t="t" r="r" b="b"/>
                  <a:pathLst>
                    <a:path w="956" h="6997">
                      <a:moveTo>
                        <a:pt x="957" y="0"/>
                      </a:moveTo>
                      <a:lnTo>
                        <a:pt x="0" y="6997"/>
                      </a:lnTo>
                    </a:path>
                  </a:pathLst>
                </a:custGeom>
                <a:ln w="6350" cap="rnd">
                  <a:solidFill>
                    <a:schemeClr val="bg1">
                      <a:alpha val="40000"/>
                    </a:schemeClr>
                  </a:solidFill>
                  <a:prstDash val="solid"/>
                  <a:round/>
                </a:ln>
              </p:spPr>
              <p:txBody>
                <a:bodyPr rtlCol="0" anchor="ctr"/>
                <a:lstStyle/>
                <a:p>
                  <a:endParaRPr lang="en-GB"/>
                </a:p>
              </p:txBody>
            </p:sp>
            <p:sp>
              <p:nvSpPr>
                <p:cNvPr id="5923" name="Vrije vorm: vorm 5922">
                  <a:extLst>
                    <a:ext uri="{FF2B5EF4-FFF2-40B4-BE49-F238E27FC236}">
                      <a16:creationId xmlns:a16="http://schemas.microsoft.com/office/drawing/2014/main" id="{3FF7F539-6674-44FE-8953-04D596C50415}"/>
                    </a:ext>
                  </a:extLst>
                </p:cNvPr>
                <p:cNvSpPr/>
                <p:nvPr/>
              </p:nvSpPr>
              <p:spPr>
                <a:xfrm>
                  <a:off x="7548468" y="2678506"/>
                  <a:ext cx="24580" cy="8672"/>
                </a:xfrm>
                <a:custGeom>
                  <a:avLst/>
                  <a:gdLst>
                    <a:gd name="connsiteX0" fmla="*/ 0 w 24580"/>
                    <a:gd name="connsiteY0" fmla="*/ 8672 h 8672"/>
                    <a:gd name="connsiteX1" fmla="*/ 24581 w 24580"/>
                    <a:gd name="connsiteY1" fmla="*/ 0 h 8672"/>
                  </a:gdLst>
                  <a:ahLst/>
                  <a:cxnLst>
                    <a:cxn ang="0">
                      <a:pos x="connsiteX0" y="connsiteY0"/>
                    </a:cxn>
                    <a:cxn ang="0">
                      <a:pos x="connsiteX1" y="connsiteY1"/>
                    </a:cxn>
                  </a:cxnLst>
                  <a:rect l="l" t="t" r="r" b="b"/>
                  <a:pathLst>
                    <a:path w="24580" h="8672">
                      <a:moveTo>
                        <a:pt x="0" y="8672"/>
                      </a:moveTo>
                      <a:lnTo>
                        <a:pt x="24581" y="0"/>
                      </a:lnTo>
                    </a:path>
                  </a:pathLst>
                </a:custGeom>
                <a:ln w="6350" cap="rnd">
                  <a:solidFill>
                    <a:schemeClr val="bg1">
                      <a:alpha val="40000"/>
                    </a:schemeClr>
                  </a:solidFill>
                  <a:prstDash val="solid"/>
                  <a:round/>
                </a:ln>
              </p:spPr>
              <p:txBody>
                <a:bodyPr rtlCol="0" anchor="ctr"/>
                <a:lstStyle/>
                <a:p>
                  <a:endParaRPr lang="en-GB"/>
                </a:p>
              </p:txBody>
            </p:sp>
            <p:sp>
              <p:nvSpPr>
                <p:cNvPr id="5924" name="Vrije vorm: vorm 5923">
                  <a:extLst>
                    <a:ext uri="{FF2B5EF4-FFF2-40B4-BE49-F238E27FC236}">
                      <a16:creationId xmlns:a16="http://schemas.microsoft.com/office/drawing/2014/main" id="{1A971B0B-1FEE-4228-A64E-39235CC604E0}"/>
                    </a:ext>
                  </a:extLst>
                </p:cNvPr>
                <p:cNvSpPr/>
                <p:nvPr/>
              </p:nvSpPr>
              <p:spPr>
                <a:xfrm>
                  <a:off x="7662341" y="2782272"/>
                  <a:ext cx="9569" cy="15669"/>
                </a:xfrm>
                <a:custGeom>
                  <a:avLst/>
                  <a:gdLst>
                    <a:gd name="connsiteX0" fmla="*/ 9569 w 9569"/>
                    <a:gd name="connsiteY0" fmla="*/ 0 h 15669"/>
                    <a:gd name="connsiteX1" fmla="*/ 0 w 9569"/>
                    <a:gd name="connsiteY1" fmla="*/ 15669 h 15669"/>
                  </a:gdLst>
                  <a:ahLst/>
                  <a:cxnLst>
                    <a:cxn ang="0">
                      <a:pos x="connsiteX0" y="connsiteY0"/>
                    </a:cxn>
                    <a:cxn ang="0">
                      <a:pos x="connsiteX1" y="connsiteY1"/>
                    </a:cxn>
                  </a:cxnLst>
                  <a:rect l="l" t="t" r="r" b="b"/>
                  <a:pathLst>
                    <a:path w="9569" h="15669">
                      <a:moveTo>
                        <a:pt x="9569" y="0"/>
                      </a:moveTo>
                      <a:lnTo>
                        <a:pt x="0" y="15669"/>
                      </a:lnTo>
                    </a:path>
                  </a:pathLst>
                </a:custGeom>
                <a:ln w="6350" cap="rnd">
                  <a:solidFill>
                    <a:schemeClr val="bg1">
                      <a:alpha val="40000"/>
                    </a:schemeClr>
                  </a:solidFill>
                  <a:prstDash val="solid"/>
                  <a:round/>
                </a:ln>
              </p:spPr>
              <p:txBody>
                <a:bodyPr rtlCol="0" anchor="ctr"/>
                <a:lstStyle/>
                <a:p>
                  <a:endParaRPr lang="en-GB"/>
                </a:p>
              </p:txBody>
            </p:sp>
            <p:sp>
              <p:nvSpPr>
                <p:cNvPr id="5925" name="Vrije vorm: vorm 5924">
                  <a:extLst>
                    <a:ext uri="{FF2B5EF4-FFF2-40B4-BE49-F238E27FC236}">
                      <a16:creationId xmlns:a16="http://schemas.microsoft.com/office/drawing/2014/main" id="{AD6DDC02-4C36-4CF0-920A-FD58877B020A}"/>
                    </a:ext>
                  </a:extLst>
                </p:cNvPr>
                <p:cNvSpPr/>
                <p:nvPr/>
              </p:nvSpPr>
              <p:spPr>
                <a:xfrm>
                  <a:off x="7586625" y="2656856"/>
                  <a:ext cx="18181" cy="2452"/>
                </a:xfrm>
                <a:custGeom>
                  <a:avLst/>
                  <a:gdLst>
                    <a:gd name="connsiteX0" fmla="*/ 18181 w 18181"/>
                    <a:gd name="connsiteY0" fmla="*/ 2452 h 2452"/>
                    <a:gd name="connsiteX1" fmla="*/ 0 w 18181"/>
                    <a:gd name="connsiteY1" fmla="*/ 0 h 2452"/>
                  </a:gdLst>
                  <a:ahLst/>
                  <a:cxnLst>
                    <a:cxn ang="0">
                      <a:pos x="connsiteX0" y="connsiteY0"/>
                    </a:cxn>
                    <a:cxn ang="0">
                      <a:pos x="connsiteX1" y="connsiteY1"/>
                    </a:cxn>
                  </a:cxnLst>
                  <a:rect l="l" t="t" r="r" b="b"/>
                  <a:pathLst>
                    <a:path w="18181" h="2452">
                      <a:moveTo>
                        <a:pt x="18181" y="245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26" name="Vrije vorm: vorm 5925">
                  <a:extLst>
                    <a:ext uri="{FF2B5EF4-FFF2-40B4-BE49-F238E27FC236}">
                      <a16:creationId xmlns:a16="http://schemas.microsoft.com/office/drawing/2014/main" id="{3EFE8005-2191-4E2D-A41C-93B25F88046D}"/>
                    </a:ext>
                  </a:extLst>
                </p:cNvPr>
                <p:cNvSpPr/>
                <p:nvPr/>
              </p:nvSpPr>
              <p:spPr>
                <a:xfrm>
                  <a:off x="7751873" y="2821984"/>
                  <a:ext cx="17583" cy="3349"/>
                </a:xfrm>
                <a:custGeom>
                  <a:avLst/>
                  <a:gdLst>
                    <a:gd name="connsiteX0" fmla="*/ 0 w 17583"/>
                    <a:gd name="connsiteY0" fmla="*/ 0 h 3349"/>
                    <a:gd name="connsiteX1" fmla="*/ 17583 w 17583"/>
                    <a:gd name="connsiteY1" fmla="*/ 3349 h 3349"/>
                  </a:gdLst>
                  <a:ahLst/>
                  <a:cxnLst>
                    <a:cxn ang="0">
                      <a:pos x="connsiteX0" y="connsiteY0"/>
                    </a:cxn>
                    <a:cxn ang="0">
                      <a:pos x="connsiteX1" y="connsiteY1"/>
                    </a:cxn>
                  </a:cxnLst>
                  <a:rect l="l" t="t" r="r" b="b"/>
                  <a:pathLst>
                    <a:path w="17583" h="3349">
                      <a:moveTo>
                        <a:pt x="0" y="0"/>
                      </a:moveTo>
                      <a:lnTo>
                        <a:pt x="17583" y="3349"/>
                      </a:lnTo>
                    </a:path>
                  </a:pathLst>
                </a:custGeom>
                <a:ln w="6350" cap="rnd">
                  <a:solidFill>
                    <a:schemeClr val="bg1">
                      <a:alpha val="40000"/>
                    </a:schemeClr>
                  </a:solidFill>
                  <a:prstDash val="solid"/>
                  <a:round/>
                </a:ln>
              </p:spPr>
              <p:txBody>
                <a:bodyPr rtlCol="0" anchor="ctr"/>
                <a:lstStyle/>
                <a:p>
                  <a:endParaRPr lang="en-GB"/>
                </a:p>
              </p:txBody>
            </p:sp>
            <p:sp>
              <p:nvSpPr>
                <p:cNvPr id="5927" name="Vrije vorm: vorm 5926">
                  <a:extLst>
                    <a:ext uri="{FF2B5EF4-FFF2-40B4-BE49-F238E27FC236}">
                      <a16:creationId xmlns:a16="http://schemas.microsoft.com/office/drawing/2014/main" id="{DA40B9E3-423C-4A5B-AAAB-01F5AF937286}"/>
                    </a:ext>
                  </a:extLst>
                </p:cNvPr>
                <p:cNvSpPr/>
                <p:nvPr/>
              </p:nvSpPr>
              <p:spPr>
                <a:xfrm>
                  <a:off x="7720952" y="2745251"/>
                  <a:ext cx="34149" cy="13815"/>
                </a:xfrm>
                <a:custGeom>
                  <a:avLst/>
                  <a:gdLst>
                    <a:gd name="connsiteX0" fmla="*/ 34150 w 34149"/>
                    <a:gd name="connsiteY0" fmla="*/ 13815 h 13815"/>
                    <a:gd name="connsiteX1" fmla="*/ 0 w 34149"/>
                    <a:gd name="connsiteY1" fmla="*/ 0 h 13815"/>
                  </a:gdLst>
                  <a:ahLst/>
                  <a:cxnLst>
                    <a:cxn ang="0">
                      <a:pos x="connsiteX0" y="connsiteY0"/>
                    </a:cxn>
                    <a:cxn ang="0">
                      <a:pos x="connsiteX1" y="connsiteY1"/>
                    </a:cxn>
                  </a:cxnLst>
                  <a:rect l="l" t="t" r="r" b="b"/>
                  <a:pathLst>
                    <a:path w="34149" h="13815">
                      <a:moveTo>
                        <a:pt x="34150" y="13815"/>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28" name="Vrije vorm: vorm 5927">
                  <a:extLst>
                    <a:ext uri="{FF2B5EF4-FFF2-40B4-BE49-F238E27FC236}">
                      <a16:creationId xmlns:a16="http://schemas.microsoft.com/office/drawing/2014/main" id="{EDA2C9EF-A8CB-4CF4-8749-1B972B602F07}"/>
                    </a:ext>
                  </a:extLst>
                </p:cNvPr>
                <p:cNvSpPr/>
                <p:nvPr/>
              </p:nvSpPr>
              <p:spPr>
                <a:xfrm>
                  <a:off x="7748643" y="2752009"/>
                  <a:ext cx="6459" cy="7057"/>
                </a:xfrm>
                <a:custGeom>
                  <a:avLst/>
                  <a:gdLst>
                    <a:gd name="connsiteX0" fmla="*/ 6459 w 6459"/>
                    <a:gd name="connsiteY0" fmla="*/ 7057 h 7057"/>
                    <a:gd name="connsiteX1" fmla="*/ 0 w 6459"/>
                    <a:gd name="connsiteY1" fmla="*/ 0 h 7057"/>
                  </a:gdLst>
                  <a:ahLst/>
                  <a:cxnLst>
                    <a:cxn ang="0">
                      <a:pos x="connsiteX0" y="connsiteY0"/>
                    </a:cxn>
                    <a:cxn ang="0">
                      <a:pos x="connsiteX1" y="connsiteY1"/>
                    </a:cxn>
                  </a:cxnLst>
                  <a:rect l="l" t="t" r="r" b="b"/>
                  <a:pathLst>
                    <a:path w="6459" h="7057">
                      <a:moveTo>
                        <a:pt x="6459" y="705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29" name="Vrije vorm: vorm 5928">
                  <a:extLst>
                    <a:ext uri="{FF2B5EF4-FFF2-40B4-BE49-F238E27FC236}">
                      <a16:creationId xmlns:a16="http://schemas.microsoft.com/office/drawing/2014/main" id="{E95E0DA3-5FF6-4842-9AE0-A92C18E00798}"/>
                    </a:ext>
                  </a:extLst>
                </p:cNvPr>
                <p:cNvSpPr/>
                <p:nvPr/>
              </p:nvSpPr>
              <p:spPr>
                <a:xfrm>
                  <a:off x="7644040" y="2649141"/>
                  <a:ext cx="11423" cy="2452"/>
                </a:xfrm>
                <a:custGeom>
                  <a:avLst/>
                  <a:gdLst>
                    <a:gd name="connsiteX0" fmla="*/ 0 w 11423"/>
                    <a:gd name="connsiteY0" fmla="*/ 2452 h 2452"/>
                    <a:gd name="connsiteX1" fmla="*/ 11423 w 11423"/>
                    <a:gd name="connsiteY1" fmla="*/ 0 h 2452"/>
                  </a:gdLst>
                  <a:ahLst/>
                  <a:cxnLst>
                    <a:cxn ang="0">
                      <a:pos x="connsiteX0" y="connsiteY0"/>
                    </a:cxn>
                    <a:cxn ang="0">
                      <a:pos x="connsiteX1" y="connsiteY1"/>
                    </a:cxn>
                  </a:cxnLst>
                  <a:rect l="l" t="t" r="r" b="b"/>
                  <a:pathLst>
                    <a:path w="11423" h="2452">
                      <a:moveTo>
                        <a:pt x="0" y="2452"/>
                      </a:moveTo>
                      <a:lnTo>
                        <a:pt x="11423" y="0"/>
                      </a:lnTo>
                    </a:path>
                  </a:pathLst>
                </a:custGeom>
                <a:ln w="6350" cap="rnd">
                  <a:solidFill>
                    <a:schemeClr val="bg1">
                      <a:alpha val="40000"/>
                    </a:schemeClr>
                  </a:solidFill>
                  <a:prstDash val="solid"/>
                  <a:round/>
                </a:ln>
              </p:spPr>
              <p:txBody>
                <a:bodyPr rtlCol="0" anchor="ctr"/>
                <a:lstStyle/>
                <a:p>
                  <a:endParaRPr lang="en-GB"/>
                </a:p>
              </p:txBody>
            </p:sp>
            <p:sp>
              <p:nvSpPr>
                <p:cNvPr id="5930" name="Vrije vorm: vorm 5929">
                  <a:extLst>
                    <a:ext uri="{FF2B5EF4-FFF2-40B4-BE49-F238E27FC236}">
                      <a16:creationId xmlns:a16="http://schemas.microsoft.com/office/drawing/2014/main" id="{D211AE31-804B-4ADD-9161-61A17AC5CFCC}"/>
                    </a:ext>
                  </a:extLst>
                </p:cNvPr>
                <p:cNvSpPr/>
                <p:nvPr/>
              </p:nvSpPr>
              <p:spPr>
                <a:xfrm>
                  <a:off x="7631540" y="2770310"/>
                  <a:ext cx="17164" cy="6997"/>
                </a:xfrm>
                <a:custGeom>
                  <a:avLst/>
                  <a:gdLst>
                    <a:gd name="connsiteX0" fmla="*/ 17164 w 17164"/>
                    <a:gd name="connsiteY0" fmla="*/ 6998 h 6997"/>
                    <a:gd name="connsiteX1" fmla="*/ 0 w 17164"/>
                    <a:gd name="connsiteY1" fmla="*/ 0 h 6997"/>
                  </a:gdLst>
                  <a:ahLst/>
                  <a:cxnLst>
                    <a:cxn ang="0">
                      <a:pos x="connsiteX0" y="connsiteY0"/>
                    </a:cxn>
                    <a:cxn ang="0">
                      <a:pos x="connsiteX1" y="connsiteY1"/>
                    </a:cxn>
                  </a:cxnLst>
                  <a:rect l="l" t="t" r="r" b="b"/>
                  <a:pathLst>
                    <a:path w="17164" h="6997">
                      <a:moveTo>
                        <a:pt x="17164" y="699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31" name="Vrije vorm: vorm 5930">
                  <a:extLst>
                    <a:ext uri="{FF2B5EF4-FFF2-40B4-BE49-F238E27FC236}">
                      <a16:creationId xmlns:a16="http://schemas.microsoft.com/office/drawing/2014/main" id="{019236DD-06C7-4DDC-9843-63132AA15AE1}"/>
                    </a:ext>
                  </a:extLst>
                </p:cNvPr>
                <p:cNvSpPr/>
                <p:nvPr/>
              </p:nvSpPr>
              <p:spPr>
                <a:xfrm>
                  <a:off x="7633095" y="2777308"/>
                  <a:ext cx="15609" cy="3708"/>
                </a:xfrm>
                <a:custGeom>
                  <a:avLst/>
                  <a:gdLst>
                    <a:gd name="connsiteX0" fmla="*/ 15609 w 15609"/>
                    <a:gd name="connsiteY0" fmla="*/ 0 h 3708"/>
                    <a:gd name="connsiteX1" fmla="*/ 0 w 15609"/>
                    <a:gd name="connsiteY1" fmla="*/ 3708 h 3708"/>
                  </a:gdLst>
                  <a:ahLst/>
                  <a:cxnLst>
                    <a:cxn ang="0">
                      <a:pos x="connsiteX0" y="connsiteY0"/>
                    </a:cxn>
                    <a:cxn ang="0">
                      <a:pos x="connsiteX1" y="connsiteY1"/>
                    </a:cxn>
                  </a:cxnLst>
                  <a:rect l="l" t="t" r="r" b="b"/>
                  <a:pathLst>
                    <a:path w="15609" h="3708">
                      <a:moveTo>
                        <a:pt x="15609" y="0"/>
                      </a:moveTo>
                      <a:lnTo>
                        <a:pt x="0" y="3708"/>
                      </a:lnTo>
                    </a:path>
                  </a:pathLst>
                </a:custGeom>
                <a:ln w="6350" cap="rnd">
                  <a:solidFill>
                    <a:schemeClr val="bg1">
                      <a:alpha val="40000"/>
                    </a:schemeClr>
                  </a:solidFill>
                  <a:prstDash val="solid"/>
                  <a:round/>
                </a:ln>
              </p:spPr>
              <p:txBody>
                <a:bodyPr rtlCol="0" anchor="ctr"/>
                <a:lstStyle/>
                <a:p>
                  <a:endParaRPr lang="en-GB"/>
                </a:p>
              </p:txBody>
            </p:sp>
            <p:sp>
              <p:nvSpPr>
                <p:cNvPr id="5932" name="Vrije vorm: vorm 5931">
                  <a:extLst>
                    <a:ext uri="{FF2B5EF4-FFF2-40B4-BE49-F238E27FC236}">
                      <a16:creationId xmlns:a16="http://schemas.microsoft.com/office/drawing/2014/main" id="{E65FE97E-05B3-4A2E-8230-745CABD6D3D7}"/>
                    </a:ext>
                  </a:extLst>
                </p:cNvPr>
                <p:cNvSpPr/>
                <p:nvPr/>
              </p:nvSpPr>
              <p:spPr>
                <a:xfrm>
                  <a:off x="7648705" y="2777308"/>
                  <a:ext cx="13636" cy="20633"/>
                </a:xfrm>
                <a:custGeom>
                  <a:avLst/>
                  <a:gdLst>
                    <a:gd name="connsiteX0" fmla="*/ 0 w 13636"/>
                    <a:gd name="connsiteY0" fmla="*/ 0 h 20633"/>
                    <a:gd name="connsiteX1" fmla="*/ 13636 w 13636"/>
                    <a:gd name="connsiteY1" fmla="*/ 20633 h 20633"/>
                  </a:gdLst>
                  <a:ahLst/>
                  <a:cxnLst>
                    <a:cxn ang="0">
                      <a:pos x="connsiteX0" y="connsiteY0"/>
                    </a:cxn>
                    <a:cxn ang="0">
                      <a:pos x="connsiteX1" y="connsiteY1"/>
                    </a:cxn>
                  </a:cxnLst>
                  <a:rect l="l" t="t" r="r" b="b"/>
                  <a:pathLst>
                    <a:path w="13636" h="20633">
                      <a:moveTo>
                        <a:pt x="0" y="0"/>
                      </a:moveTo>
                      <a:lnTo>
                        <a:pt x="13636" y="20633"/>
                      </a:lnTo>
                    </a:path>
                  </a:pathLst>
                </a:custGeom>
                <a:ln w="6350" cap="rnd">
                  <a:solidFill>
                    <a:schemeClr val="bg1">
                      <a:alpha val="40000"/>
                    </a:schemeClr>
                  </a:solidFill>
                  <a:prstDash val="solid"/>
                  <a:round/>
                </a:ln>
              </p:spPr>
              <p:txBody>
                <a:bodyPr rtlCol="0" anchor="ctr"/>
                <a:lstStyle/>
                <a:p>
                  <a:endParaRPr lang="en-GB"/>
                </a:p>
              </p:txBody>
            </p:sp>
            <p:sp>
              <p:nvSpPr>
                <p:cNvPr id="5933" name="Vrije vorm: vorm 5932">
                  <a:extLst>
                    <a:ext uri="{FF2B5EF4-FFF2-40B4-BE49-F238E27FC236}">
                      <a16:creationId xmlns:a16="http://schemas.microsoft.com/office/drawing/2014/main" id="{D97041EC-4BB3-45AE-B869-C03B09F8246C}"/>
                    </a:ext>
                  </a:extLst>
                </p:cNvPr>
                <p:cNvSpPr/>
                <p:nvPr/>
              </p:nvSpPr>
              <p:spPr>
                <a:xfrm>
                  <a:off x="7594879" y="2821864"/>
                  <a:ext cx="24520" cy="15310"/>
                </a:xfrm>
                <a:custGeom>
                  <a:avLst/>
                  <a:gdLst>
                    <a:gd name="connsiteX0" fmla="*/ 24521 w 24520"/>
                    <a:gd name="connsiteY0" fmla="*/ 0 h 15310"/>
                    <a:gd name="connsiteX1" fmla="*/ 0 w 24520"/>
                    <a:gd name="connsiteY1" fmla="*/ 15311 h 15310"/>
                  </a:gdLst>
                  <a:ahLst/>
                  <a:cxnLst>
                    <a:cxn ang="0">
                      <a:pos x="connsiteX0" y="connsiteY0"/>
                    </a:cxn>
                    <a:cxn ang="0">
                      <a:pos x="connsiteX1" y="connsiteY1"/>
                    </a:cxn>
                  </a:cxnLst>
                  <a:rect l="l" t="t" r="r" b="b"/>
                  <a:pathLst>
                    <a:path w="24520" h="15310">
                      <a:moveTo>
                        <a:pt x="24521" y="0"/>
                      </a:moveTo>
                      <a:lnTo>
                        <a:pt x="0" y="15311"/>
                      </a:lnTo>
                    </a:path>
                  </a:pathLst>
                </a:custGeom>
                <a:ln w="6350" cap="rnd">
                  <a:solidFill>
                    <a:schemeClr val="bg1">
                      <a:alpha val="40000"/>
                    </a:schemeClr>
                  </a:solidFill>
                  <a:prstDash val="solid"/>
                  <a:round/>
                </a:ln>
              </p:spPr>
              <p:txBody>
                <a:bodyPr rtlCol="0" anchor="ctr"/>
                <a:lstStyle/>
                <a:p>
                  <a:endParaRPr lang="en-GB"/>
                </a:p>
              </p:txBody>
            </p:sp>
            <p:sp>
              <p:nvSpPr>
                <p:cNvPr id="5934" name="Vrije vorm: vorm 5933">
                  <a:extLst>
                    <a:ext uri="{FF2B5EF4-FFF2-40B4-BE49-F238E27FC236}">
                      <a16:creationId xmlns:a16="http://schemas.microsoft.com/office/drawing/2014/main" id="{E1CFB2F4-E927-440A-B5B0-50389FA14872}"/>
                    </a:ext>
                  </a:extLst>
                </p:cNvPr>
                <p:cNvSpPr/>
                <p:nvPr/>
              </p:nvSpPr>
              <p:spPr>
                <a:xfrm>
                  <a:off x="7634890" y="2633113"/>
                  <a:ext cx="5203" cy="14353"/>
                </a:xfrm>
                <a:custGeom>
                  <a:avLst/>
                  <a:gdLst>
                    <a:gd name="connsiteX0" fmla="*/ 0 w 5203"/>
                    <a:gd name="connsiteY0" fmla="*/ 14354 h 14353"/>
                    <a:gd name="connsiteX1" fmla="*/ 5203 w 5203"/>
                    <a:gd name="connsiteY1" fmla="*/ 0 h 14353"/>
                  </a:gdLst>
                  <a:ahLst/>
                  <a:cxnLst>
                    <a:cxn ang="0">
                      <a:pos x="connsiteX0" y="connsiteY0"/>
                    </a:cxn>
                    <a:cxn ang="0">
                      <a:pos x="connsiteX1" y="connsiteY1"/>
                    </a:cxn>
                  </a:cxnLst>
                  <a:rect l="l" t="t" r="r" b="b"/>
                  <a:pathLst>
                    <a:path w="5203" h="14353">
                      <a:moveTo>
                        <a:pt x="0" y="14354"/>
                      </a:moveTo>
                      <a:lnTo>
                        <a:pt x="5203" y="0"/>
                      </a:lnTo>
                    </a:path>
                  </a:pathLst>
                </a:custGeom>
                <a:ln w="6350" cap="rnd">
                  <a:solidFill>
                    <a:schemeClr val="bg1">
                      <a:alpha val="40000"/>
                    </a:schemeClr>
                  </a:solidFill>
                  <a:prstDash val="solid"/>
                  <a:round/>
                </a:ln>
              </p:spPr>
              <p:txBody>
                <a:bodyPr rtlCol="0" anchor="ctr"/>
                <a:lstStyle/>
                <a:p>
                  <a:endParaRPr lang="en-GB"/>
                </a:p>
              </p:txBody>
            </p:sp>
            <p:sp>
              <p:nvSpPr>
                <p:cNvPr id="5935" name="Vrije vorm: vorm 5934">
                  <a:extLst>
                    <a:ext uri="{FF2B5EF4-FFF2-40B4-BE49-F238E27FC236}">
                      <a16:creationId xmlns:a16="http://schemas.microsoft.com/office/drawing/2014/main" id="{FF8AFB5C-BDB4-4F65-9789-F44394702D52}"/>
                    </a:ext>
                  </a:extLst>
                </p:cNvPr>
                <p:cNvSpPr/>
                <p:nvPr/>
              </p:nvSpPr>
              <p:spPr>
                <a:xfrm>
                  <a:off x="7767901" y="2759904"/>
                  <a:ext cx="5681" cy="358"/>
                </a:xfrm>
                <a:custGeom>
                  <a:avLst/>
                  <a:gdLst>
                    <a:gd name="connsiteX0" fmla="*/ 5681 w 5681"/>
                    <a:gd name="connsiteY0" fmla="*/ 0 h 358"/>
                    <a:gd name="connsiteX1" fmla="*/ 0 w 5681"/>
                    <a:gd name="connsiteY1" fmla="*/ 359 h 358"/>
                  </a:gdLst>
                  <a:ahLst/>
                  <a:cxnLst>
                    <a:cxn ang="0">
                      <a:pos x="connsiteX0" y="connsiteY0"/>
                    </a:cxn>
                    <a:cxn ang="0">
                      <a:pos x="connsiteX1" y="connsiteY1"/>
                    </a:cxn>
                  </a:cxnLst>
                  <a:rect l="l" t="t" r="r" b="b"/>
                  <a:pathLst>
                    <a:path w="5681" h="358">
                      <a:moveTo>
                        <a:pt x="5681" y="0"/>
                      </a:moveTo>
                      <a:lnTo>
                        <a:pt x="0" y="359"/>
                      </a:lnTo>
                    </a:path>
                  </a:pathLst>
                </a:custGeom>
                <a:ln w="6350" cap="rnd">
                  <a:solidFill>
                    <a:schemeClr val="bg1">
                      <a:alpha val="40000"/>
                    </a:schemeClr>
                  </a:solidFill>
                  <a:prstDash val="solid"/>
                  <a:round/>
                </a:ln>
              </p:spPr>
              <p:txBody>
                <a:bodyPr rtlCol="0" anchor="ctr"/>
                <a:lstStyle/>
                <a:p>
                  <a:endParaRPr lang="en-GB"/>
                </a:p>
              </p:txBody>
            </p:sp>
            <p:sp>
              <p:nvSpPr>
                <p:cNvPr id="5936" name="Vrije vorm: vorm 5935">
                  <a:extLst>
                    <a:ext uri="{FF2B5EF4-FFF2-40B4-BE49-F238E27FC236}">
                      <a16:creationId xmlns:a16="http://schemas.microsoft.com/office/drawing/2014/main" id="{C26B40FA-8A1F-4E22-9D73-90D3FD6049AC}"/>
                    </a:ext>
                  </a:extLst>
                </p:cNvPr>
                <p:cNvSpPr/>
                <p:nvPr/>
              </p:nvSpPr>
              <p:spPr>
                <a:xfrm>
                  <a:off x="7773583" y="2757691"/>
                  <a:ext cx="119" cy="2212"/>
                </a:xfrm>
                <a:custGeom>
                  <a:avLst/>
                  <a:gdLst>
                    <a:gd name="connsiteX0" fmla="*/ 0 w 119"/>
                    <a:gd name="connsiteY0" fmla="*/ 2213 h 2212"/>
                    <a:gd name="connsiteX1" fmla="*/ 119 w 119"/>
                    <a:gd name="connsiteY1" fmla="*/ 0 h 2212"/>
                  </a:gdLst>
                  <a:ahLst/>
                  <a:cxnLst>
                    <a:cxn ang="0">
                      <a:pos x="connsiteX0" y="connsiteY0"/>
                    </a:cxn>
                    <a:cxn ang="0">
                      <a:pos x="connsiteX1" y="connsiteY1"/>
                    </a:cxn>
                  </a:cxnLst>
                  <a:rect l="l" t="t" r="r" b="b"/>
                  <a:pathLst>
                    <a:path w="119" h="2212">
                      <a:moveTo>
                        <a:pt x="0" y="2213"/>
                      </a:moveTo>
                      <a:lnTo>
                        <a:pt x="119" y="0"/>
                      </a:lnTo>
                    </a:path>
                  </a:pathLst>
                </a:custGeom>
                <a:ln w="6350" cap="rnd">
                  <a:solidFill>
                    <a:schemeClr val="bg1">
                      <a:alpha val="40000"/>
                    </a:schemeClr>
                  </a:solidFill>
                  <a:prstDash val="solid"/>
                  <a:round/>
                </a:ln>
              </p:spPr>
              <p:txBody>
                <a:bodyPr rtlCol="0" anchor="ctr"/>
                <a:lstStyle/>
                <a:p>
                  <a:endParaRPr lang="en-GB"/>
                </a:p>
              </p:txBody>
            </p:sp>
            <p:sp>
              <p:nvSpPr>
                <p:cNvPr id="5937" name="Vrije vorm: vorm 5936">
                  <a:extLst>
                    <a:ext uri="{FF2B5EF4-FFF2-40B4-BE49-F238E27FC236}">
                      <a16:creationId xmlns:a16="http://schemas.microsoft.com/office/drawing/2014/main" id="{2520CD8A-D3B5-4079-935C-F3A7ABE6341D}"/>
                    </a:ext>
                  </a:extLst>
                </p:cNvPr>
                <p:cNvSpPr/>
                <p:nvPr/>
              </p:nvSpPr>
              <p:spPr>
                <a:xfrm>
                  <a:off x="7773583" y="2759904"/>
                  <a:ext cx="8014" cy="4485"/>
                </a:xfrm>
                <a:custGeom>
                  <a:avLst/>
                  <a:gdLst>
                    <a:gd name="connsiteX0" fmla="*/ 0 w 8014"/>
                    <a:gd name="connsiteY0" fmla="*/ 0 h 4485"/>
                    <a:gd name="connsiteX1" fmla="*/ 8014 w 8014"/>
                    <a:gd name="connsiteY1" fmla="*/ 4486 h 4485"/>
                  </a:gdLst>
                  <a:ahLst/>
                  <a:cxnLst>
                    <a:cxn ang="0">
                      <a:pos x="connsiteX0" y="connsiteY0"/>
                    </a:cxn>
                    <a:cxn ang="0">
                      <a:pos x="connsiteX1" y="connsiteY1"/>
                    </a:cxn>
                  </a:cxnLst>
                  <a:rect l="l" t="t" r="r" b="b"/>
                  <a:pathLst>
                    <a:path w="8014" h="4485">
                      <a:moveTo>
                        <a:pt x="0" y="0"/>
                      </a:moveTo>
                      <a:lnTo>
                        <a:pt x="8014" y="4486"/>
                      </a:lnTo>
                    </a:path>
                  </a:pathLst>
                </a:custGeom>
                <a:ln w="6350" cap="rnd">
                  <a:solidFill>
                    <a:schemeClr val="bg1">
                      <a:alpha val="40000"/>
                    </a:schemeClr>
                  </a:solidFill>
                  <a:prstDash val="solid"/>
                  <a:round/>
                </a:ln>
              </p:spPr>
              <p:txBody>
                <a:bodyPr rtlCol="0" anchor="ctr"/>
                <a:lstStyle/>
                <a:p>
                  <a:endParaRPr lang="en-GB"/>
                </a:p>
              </p:txBody>
            </p:sp>
            <p:sp>
              <p:nvSpPr>
                <p:cNvPr id="5938" name="Vrije vorm: vorm 5937">
                  <a:extLst>
                    <a:ext uri="{FF2B5EF4-FFF2-40B4-BE49-F238E27FC236}">
                      <a16:creationId xmlns:a16="http://schemas.microsoft.com/office/drawing/2014/main" id="{793ADDA4-0362-4D5E-9719-841D297151E3}"/>
                    </a:ext>
                  </a:extLst>
                </p:cNvPr>
                <p:cNvSpPr/>
                <p:nvPr/>
              </p:nvSpPr>
              <p:spPr>
                <a:xfrm>
                  <a:off x="7590453" y="2721508"/>
                  <a:ext cx="6160" cy="2990"/>
                </a:xfrm>
                <a:custGeom>
                  <a:avLst/>
                  <a:gdLst>
                    <a:gd name="connsiteX0" fmla="*/ 6160 w 6160"/>
                    <a:gd name="connsiteY0" fmla="*/ 0 h 2990"/>
                    <a:gd name="connsiteX1" fmla="*/ 0 w 6160"/>
                    <a:gd name="connsiteY1" fmla="*/ 2990 h 2990"/>
                  </a:gdLst>
                  <a:ahLst/>
                  <a:cxnLst>
                    <a:cxn ang="0">
                      <a:pos x="connsiteX0" y="connsiteY0"/>
                    </a:cxn>
                    <a:cxn ang="0">
                      <a:pos x="connsiteX1" y="connsiteY1"/>
                    </a:cxn>
                  </a:cxnLst>
                  <a:rect l="l" t="t" r="r" b="b"/>
                  <a:pathLst>
                    <a:path w="6160" h="2990">
                      <a:moveTo>
                        <a:pt x="6160" y="0"/>
                      </a:moveTo>
                      <a:lnTo>
                        <a:pt x="0" y="2990"/>
                      </a:lnTo>
                    </a:path>
                  </a:pathLst>
                </a:custGeom>
                <a:ln w="6350" cap="rnd">
                  <a:solidFill>
                    <a:schemeClr val="bg1">
                      <a:alpha val="40000"/>
                    </a:schemeClr>
                  </a:solidFill>
                  <a:prstDash val="solid"/>
                  <a:round/>
                </a:ln>
              </p:spPr>
              <p:txBody>
                <a:bodyPr rtlCol="0" anchor="ctr"/>
                <a:lstStyle/>
                <a:p>
                  <a:endParaRPr lang="en-GB"/>
                </a:p>
              </p:txBody>
            </p:sp>
            <p:sp>
              <p:nvSpPr>
                <p:cNvPr id="5939" name="Vrije vorm: vorm 5938">
                  <a:extLst>
                    <a:ext uri="{FF2B5EF4-FFF2-40B4-BE49-F238E27FC236}">
                      <a16:creationId xmlns:a16="http://schemas.microsoft.com/office/drawing/2014/main" id="{7DB1A520-DFBD-4A9F-A4EB-3D109C169A36}"/>
                    </a:ext>
                  </a:extLst>
                </p:cNvPr>
                <p:cNvSpPr/>
                <p:nvPr/>
              </p:nvSpPr>
              <p:spPr>
                <a:xfrm>
                  <a:off x="7588240" y="2708230"/>
                  <a:ext cx="8373" cy="13277"/>
                </a:xfrm>
                <a:custGeom>
                  <a:avLst/>
                  <a:gdLst>
                    <a:gd name="connsiteX0" fmla="*/ 8373 w 8373"/>
                    <a:gd name="connsiteY0" fmla="*/ 13277 h 13277"/>
                    <a:gd name="connsiteX1" fmla="*/ 0 w 8373"/>
                    <a:gd name="connsiteY1" fmla="*/ 0 h 13277"/>
                  </a:gdLst>
                  <a:ahLst/>
                  <a:cxnLst>
                    <a:cxn ang="0">
                      <a:pos x="connsiteX0" y="connsiteY0"/>
                    </a:cxn>
                    <a:cxn ang="0">
                      <a:pos x="connsiteX1" y="connsiteY1"/>
                    </a:cxn>
                  </a:cxnLst>
                  <a:rect l="l" t="t" r="r" b="b"/>
                  <a:pathLst>
                    <a:path w="8373" h="13277">
                      <a:moveTo>
                        <a:pt x="8373" y="1327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40" name="Vrije vorm: vorm 5939">
                  <a:extLst>
                    <a:ext uri="{FF2B5EF4-FFF2-40B4-BE49-F238E27FC236}">
                      <a16:creationId xmlns:a16="http://schemas.microsoft.com/office/drawing/2014/main" id="{41C9B1F8-827C-4F1B-A249-368693A4989E}"/>
                    </a:ext>
                  </a:extLst>
                </p:cNvPr>
                <p:cNvSpPr/>
                <p:nvPr/>
              </p:nvSpPr>
              <p:spPr>
                <a:xfrm>
                  <a:off x="7610249" y="2821146"/>
                  <a:ext cx="9150" cy="717"/>
                </a:xfrm>
                <a:custGeom>
                  <a:avLst/>
                  <a:gdLst>
                    <a:gd name="connsiteX0" fmla="*/ 0 w 9150"/>
                    <a:gd name="connsiteY0" fmla="*/ 0 h 717"/>
                    <a:gd name="connsiteX1" fmla="*/ 9151 w 9150"/>
                    <a:gd name="connsiteY1" fmla="*/ 718 h 717"/>
                  </a:gdLst>
                  <a:ahLst/>
                  <a:cxnLst>
                    <a:cxn ang="0">
                      <a:pos x="connsiteX0" y="connsiteY0"/>
                    </a:cxn>
                    <a:cxn ang="0">
                      <a:pos x="connsiteX1" y="connsiteY1"/>
                    </a:cxn>
                  </a:cxnLst>
                  <a:rect l="l" t="t" r="r" b="b"/>
                  <a:pathLst>
                    <a:path w="9150" h="717">
                      <a:moveTo>
                        <a:pt x="0" y="0"/>
                      </a:moveTo>
                      <a:lnTo>
                        <a:pt x="9151" y="718"/>
                      </a:lnTo>
                    </a:path>
                  </a:pathLst>
                </a:custGeom>
                <a:ln w="6350" cap="rnd">
                  <a:solidFill>
                    <a:schemeClr val="bg1">
                      <a:alpha val="40000"/>
                    </a:schemeClr>
                  </a:solidFill>
                  <a:prstDash val="solid"/>
                  <a:round/>
                </a:ln>
              </p:spPr>
              <p:txBody>
                <a:bodyPr rtlCol="0" anchor="ctr"/>
                <a:lstStyle/>
                <a:p>
                  <a:endParaRPr lang="en-GB"/>
                </a:p>
              </p:txBody>
            </p:sp>
            <p:sp>
              <p:nvSpPr>
                <p:cNvPr id="5941" name="Vrije vorm: vorm 5940">
                  <a:extLst>
                    <a:ext uri="{FF2B5EF4-FFF2-40B4-BE49-F238E27FC236}">
                      <a16:creationId xmlns:a16="http://schemas.microsoft.com/office/drawing/2014/main" id="{6E0D46AE-893A-4BA4-8F5B-4BCBA8AA5992}"/>
                    </a:ext>
                  </a:extLst>
                </p:cNvPr>
                <p:cNvSpPr/>
                <p:nvPr/>
              </p:nvSpPr>
              <p:spPr>
                <a:xfrm>
                  <a:off x="7676635" y="2676114"/>
                  <a:ext cx="2990" cy="5023"/>
                </a:xfrm>
                <a:custGeom>
                  <a:avLst/>
                  <a:gdLst>
                    <a:gd name="connsiteX0" fmla="*/ 0 w 2990"/>
                    <a:gd name="connsiteY0" fmla="*/ 5024 h 5023"/>
                    <a:gd name="connsiteX1" fmla="*/ 2990 w 2990"/>
                    <a:gd name="connsiteY1" fmla="*/ 0 h 5023"/>
                  </a:gdLst>
                  <a:ahLst/>
                  <a:cxnLst>
                    <a:cxn ang="0">
                      <a:pos x="connsiteX0" y="connsiteY0"/>
                    </a:cxn>
                    <a:cxn ang="0">
                      <a:pos x="connsiteX1" y="connsiteY1"/>
                    </a:cxn>
                  </a:cxnLst>
                  <a:rect l="l" t="t" r="r" b="b"/>
                  <a:pathLst>
                    <a:path w="2990" h="5023">
                      <a:moveTo>
                        <a:pt x="0" y="5024"/>
                      </a:moveTo>
                      <a:lnTo>
                        <a:pt x="2990" y="0"/>
                      </a:lnTo>
                    </a:path>
                  </a:pathLst>
                </a:custGeom>
                <a:ln w="6350" cap="rnd">
                  <a:solidFill>
                    <a:schemeClr val="bg1">
                      <a:alpha val="40000"/>
                    </a:schemeClr>
                  </a:solidFill>
                  <a:prstDash val="solid"/>
                  <a:round/>
                </a:ln>
              </p:spPr>
              <p:txBody>
                <a:bodyPr rtlCol="0" anchor="ctr"/>
                <a:lstStyle/>
                <a:p>
                  <a:endParaRPr lang="en-GB"/>
                </a:p>
              </p:txBody>
            </p:sp>
            <p:sp>
              <p:nvSpPr>
                <p:cNvPr id="5942" name="Vrije vorm: vorm 5941">
                  <a:extLst>
                    <a:ext uri="{FF2B5EF4-FFF2-40B4-BE49-F238E27FC236}">
                      <a16:creationId xmlns:a16="http://schemas.microsoft.com/office/drawing/2014/main" id="{19EE01A5-858E-428D-AF15-A47F24D0673C}"/>
                    </a:ext>
                  </a:extLst>
                </p:cNvPr>
                <p:cNvSpPr/>
                <p:nvPr/>
              </p:nvSpPr>
              <p:spPr>
                <a:xfrm>
                  <a:off x="7676635" y="2681138"/>
                  <a:ext cx="19138" cy="14891"/>
                </a:xfrm>
                <a:custGeom>
                  <a:avLst/>
                  <a:gdLst>
                    <a:gd name="connsiteX0" fmla="*/ 0 w 19138"/>
                    <a:gd name="connsiteY0" fmla="*/ 0 h 14891"/>
                    <a:gd name="connsiteX1" fmla="*/ 19139 w 19138"/>
                    <a:gd name="connsiteY1" fmla="*/ 14892 h 14891"/>
                  </a:gdLst>
                  <a:ahLst/>
                  <a:cxnLst>
                    <a:cxn ang="0">
                      <a:pos x="connsiteX0" y="connsiteY0"/>
                    </a:cxn>
                    <a:cxn ang="0">
                      <a:pos x="connsiteX1" y="connsiteY1"/>
                    </a:cxn>
                  </a:cxnLst>
                  <a:rect l="l" t="t" r="r" b="b"/>
                  <a:pathLst>
                    <a:path w="19138" h="14891">
                      <a:moveTo>
                        <a:pt x="0" y="0"/>
                      </a:moveTo>
                      <a:lnTo>
                        <a:pt x="19139" y="14892"/>
                      </a:lnTo>
                    </a:path>
                  </a:pathLst>
                </a:custGeom>
                <a:ln w="6350" cap="rnd">
                  <a:solidFill>
                    <a:schemeClr val="bg1">
                      <a:alpha val="40000"/>
                    </a:schemeClr>
                  </a:solidFill>
                  <a:prstDash val="solid"/>
                  <a:round/>
                </a:ln>
              </p:spPr>
              <p:txBody>
                <a:bodyPr rtlCol="0" anchor="ctr"/>
                <a:lstStyle/>
                <a:p>
                  <a:endParaRPr lang="en-GB"/>
                </a:p>
              </p:txBody>
            </p:sp>
            <p:sp>
              <p:nvSpPr>
                <p:cNvPr id="5943" name="Vrije vorm: vorm 5942">
                  <a:extLst>
                    <a:ext uri="{FF2B5EF4-FFF2-40B4-BE49-F238E27FC236}">
                      <a16:creationId xmlns:a16="http://schemas.microsoft.com/office/drawing/2014/main" id="{BAD58755-A7DE-4647-B6E6-C1C72D4F6E50}"/>
                    </a:ext>
                  </a:extLst>
                </p:cNvPr>
                <p:cNvSpPr/>
                <p:nvPr/>
              </p:nvSpPr>
              <p:spPr>
                <a:xfrm>
                  <a:off x="7610249" y="2815106"/>
                  <a:ext cx="12559" cy="6040"/>
                </a:xfrm>
                <a:custGeom>
                  <a:avLst/>
                  <a:gdLst>
                    <a:gd name="connsiteX0" fmla="*/ 12559 w 12559"/>
                    <a:gd name="connsiteY0" fmla="*/ 0 h 6040"/>
                    <a:gd name="connsiteX1" fmla="*/ 0 w 12559"/>
                    <a:gd name="connsiteY1" fmla="*/ 6041 h 6040"/>
                  </a:gdLst>
                  <a:ahLst/>
                  <a:cxnLst>
                    <a:cxn ang="0">
                      <a:pos x="connsiteX0" y="connsiteY0"/>
                    </a:cxn>
                    <a:cxn ang="0">
                      <a:pos x="connsiteX1" y="connsiteY1"/>
                    </a:cxn>
                  </a:cxnLst>
                  <a:rect l="l" t="t" r="r" b="b"/>
                  <a:pathLst>
                    <a:path w="12559" h="6040">
                      <a:moveTo>
                        <a:pt x="12559" y="0"/>
                      </a:moveTo>
                      <a:lnTo>
                        <a:pt x="0" y="6041"/>
                      </a:lnTo>
                    </a:path>
                  </a:pathLst>
                </a:custGeom>
                <a:ln w="6350" cap="rnd">
                  <a:solidFill>
                    <a:schemeClr val="bg1">
                      <a:alpha val="40000"/>
                    </a:schemeClr>
                  </a:solidFill>
                  <a:prstDash val="solid"/>
                  <a:round/>
                </a:ln>
              </p:spPr>
              <p:txBody>
                <a:bodyPr rtlCol="0" anchor="ctr"/>
                <a:lstStyle/>
                <a:p>
                  <a:endParaRPr lang="en-GB"/>
                </a:p>
              </p:txBody>
            </p:sp>
            <p:sp>
              <p:nvSpPr>
                <p:cNvPr id="5944" name="Vrije vorm: vorm 5943">
                  <a:extLst>
                    <a:ext uri="{FF2B5EF4-FFF2-40B4-BE49-F238E27FC236}">
                      <a16:creationId xmlns:a16="http://schemas.microsoft.com/office/drawing/2014/main" id="{B4BDD226-7B7E-4A9A-80AF-5487A3150434}"/>
                    </a:ext>
                  </a:extLst>
                </p:cNvPr>
                <p:cNvSpPr/>
                <p:nvPr/>
              </p:nvSpPr>
              <p:spPr>
                <a:xfrm>
                  <a:off x="7573049" y="2668339"/>
                  <a:ext cx="4246" cy="10167"/>
                </a:xfrm>
                <a:custGeom>
                  <a:avLst/>
                  <a:gdLst>
                    <a:gd name="connsiteX0" fmla="*/ 4246 w 4246"/>
                    <a:gd name="connsiteY0" fmla="*/ 0 h 10167"/>
                    <a:gd name="connsiteX1" fmla="*/ 0 w 4246"/>
                    <a:gd name="connsiteY1" fmla="*/ 10167 h 10167"/>
                  </a:gdLst>
                  <a:ahLst/>
                  <a:cxnLst>
                    <a:cxn ang="0">
                      <a:pos x="connsiteX0" y="connsiteY0"/>
                    </a:cxn>
                    <a:cxn ang="0">
                      <a:pos x="connsiteX1" y="connsiteY1"/>
                    </a:cxn>
                  </a:cxnLst>
                  <a:rect l="l" t="t" r="r" b="b"/>
                  <a:pathLst>
                    <a:path w="4246" h="10167">
                      <a:moveTo>
                        <a:pt x="4246" y="0"/>
                      </a:moveTo>
                      <a:lnTo>
                        <a:pt x="0" y="10167"/>
                      </a:lnTo>
                    </a:path>
                  </a:pathLst>
                </a:custGeom>
                <a:ln w="6350" cap="rnd">
                  <a:solidFill>
                    <a:schemeClr val="bg1">
                      <a:alpha val="40000"/>
                    </a:schemeClr>
                  </a:solidFill>
                  <a:prstDash val="solid"/>
                  <a:round/>
                </a:ln>
              </p:spPr>
              <p:txBody>
                <a:bodyPr rtlCol="0" anchor="ctr"/>
                <a:lstStyle/>
                <a:p>
                  <a:endParaRPr lang="en-GB"/>
                </a:p>
              </p:txBody>
            </p:sp>
            <p:sp>
              <p:nvSpPr>
                <p:cNvPr id="5945" name="Vrije vorm: vorm 5944">
                  <a:extLst>
                    <a:ext uri="{FF2B5EF4-FFF2-40B4-BE49-F238E27FC236}">
                      <a16:creationId xmlns:a16="http://schemas.microsoft.com/office/drawing/2014/main" id="{3E3C3110-9E33-4E9B-8551-EE077673DD0D}"/>
                    </a:ext>
                  </a:extLst>
                </p:cNvPr>
                <p:cNvSpPr/>
                <p:nvPr/>
              </p:nvSpPr>
              <p:spPr>
                <a:xfrm>
                  <a:off x="7577295" y="2656856"/>
                  <a:ext cx="9329" cy="11482"/>
                </a:xfrm>
                <a:custGeom>
                  <a:avLst/>
                  <a:gdLst>
                    <a:gd name="connsiteX0" fmla="*/ 0 w 9329"/>
                    <a:gd name="connsiteY0" fmla="*/ 11483 h 11482"/>
                    <a:gd name="connsiteX1" fmla="*/ 9330 w 9329"/>
                    <a:gd name="connsiteY1" fmla="*/ 0 h 11482"/>
                  </a:gdLst>
                  <a:ahLst/>
                  <a:cxnLst>
                    <a:cxn ang="0">
                      <a:pos x="connsiteX0" y="connsiteY0"/>
                    </a:cxn>
                    <a:cxn ang="0">
                      <a:pos x="connsiteX1" y="connsiteY1"/>
                    </a:cxn>
                  </a:cxnLst>
                  <a:rect l="l" t="t" r="r" b="b"/>
                  <a:pathLst>
                    <a:path w="9329" h="11482">
                      <a:moveTo>
                        <a:pt x="0" y="11483"/>
                      </a:moveTo>
                      <a:lnTo>
                        <a:pt x="9330" y="0"/>
                      </a:lnTo>
                    </a:path>
                  </a:pathLst>
                </a:custGeom>
                <a:ln w="6350" cap="rnd">
                  <a:solidFill>
                    <a:schemeClr val="bg1">
                      <a:alpha val="40000"/>
                    </a:schemeClr>
                  </a:solidFill>
                  <a:prstDash val="solid"/>
                  <a:round/>
                </a:ln>
              </p:spPr>
              <p:txBody>
                <a:bodyPr rtlCol="0" anchor="ctr"/>
                <a:lstStyle/>
                <a:p>
                  <a:endParaRPr lang="en-GB"/>
                </a:p>
              </p:txBody>
            </p:sp>
            <p:sp>
              <p:nvSpPr>
                <p:cNvPr id="5946" name="Vrije vorm: vorm 5945">
                  <a:extLst>
                    <a:ext uri="{FF2B5EF4-FFF2-40B4-BE49-F238E27FC236}">
                      <a16:creationId xmlns:a16="http://schemas.microsoft.com/office/drawing/2014/main" id="{22615553-B29D-4EBC-A3F5-9460E5C4C413}"/>
                    </a:ext>
                  </a:extLst>
                </p:cNvPr>
                <p:cNvSpPr/>
                <p:nvPr/>
              </p:nvSpPr>
              <p:spPr>
                <a:xfrm>
                  <a:off x="7720115" y="2777068"/>
                  <a:ext cx="8014" cy="18001"/>
                </a:xfrm>
                <a:custGeom>
                  <a:avLst/>
                  <a:gdLst>
                    <a:gd name="connsiteX0" fmla="*/ 0 w 8014"/>
                    <a:gd name="connsiteY0" fmla="*/ 18002 h 18001"/>
                    <a:gd name="connsiteX1" fmla="*/ 8014 w 8014"/>
                    <a:gd name="connsiteY1" fmla="*/ 0 h 18001"/>
                  </a:gdLst>
                  <a:ahLst/>
                  <a:cxnLst>
                    <a:cxn ang="0">
                      <a:pos x="connsiteX0" y="connsiteY0"/>
                    </a:cxn>
                    <a:cxn ang="0">
                      <a:pos x="connsiteX1" y="connsiteY1"/>
                    </a:cxn>
                  </a:cxnLst>
                  <a:rect l="l" t="t" r="r" b="b"/>
                  <a:pathLst>
                    <a:path w="8014" h="18001">
                      <a:moveTo>
                        <a:pt x="0" y="18002"/>
                      </a:moveTo>
                      <a:lnTo>
                        <a:pt x="8014" y="0"/>
                      </a:lnTo>
                    </a:path>
                  </a:pathLst>
                </a:custGeom>
                <a:ln w="6350" cap="rnd">
                  <a:solidFill>
                    <a:schemeClr val="bg1">
                      <a:alpha val="40000"/>
                    </a:schemeClr>
                  </a:solidFill>
                  <a:prstDash val="solid"/>
                  <a:round/>
                </a:ln>
              </p:spPr>
              <p:txBody>
                <a:bodyPr rtlCol="0" anchor="ctr"/>
                <a:lstStyle/>
                <a:p>
                  <a:endParaRPr lang="en-GB"/>
                </a:p>
              </p:txBody>
            </p:sp>
            <p:sp>
              <p:nvSpPr>
                <p:cNvPr id="5947" name="Vrije vorm: vorm 5946">
                  <a:extLst>
                    <a:ext uri="{FF2B5EF4-FFF2-40B4-BE49-F238E27FC236}">
                      <a16:creationId xmlns:a16="http://schemas.microsoft.com/office/drawing/2014/main" id="{BB4F5F12-54F4-4DC6-84ED-BAA3CE089F30}"/>
                    </a:ext>
                  </a:extLst>
                </p:cNvPr>
                <p:cNvSpPr/>
                <p:nvPr/>
              </p:nvSpPr>
              <p:spPr>
                <a:xfrm>
                  <a:off x="7769456" y="2797941"/>
                  <a:ext cx="6339" cy="27391"/>
                </a:xfrm>
                <a:custGeom>
                  <a:avLst/>
                  <a:gdLst>
                    <a:gd name="connsiteX0" fmla="*/ 6339 w 6339"/>
                    <a:gd name="connsiteY0" fmla="*/ 0 h 27391"/>
                    <a:gd name="connsiteX1" fmla="*/ 0 w 6339"/>
                    <a:gd name="connsiteY1" fmla="*/ 27392 h 27391"/>
                  </a:gdLst>
                  <a:ahLst/>
                  <a:cxnLst>
                    <a:cxn ang="0">
                      <a:pos x="connsiteX0" y="connsiteY0"/>
                    </a:cxn>
                    <a:cxn ang="0">
                      <a:pos x="connsiteX1" y="connsiteY1"/>
                    </a:cxn>
                  </a:cxnLst>
                  <a:rect l="l" t="t" r="r" b="b"/>
                  <a:pathLst>
                    <a:path w="6339" h="27391">
                      <a:moveTo>
                        <a:pt x="6339" y="0"/>
                      </a:moveTo>
                      <a:lnTo>
                        <a:pt x="0" y="27392"/>
                      </a:lnTo>
                    </a:path>
                  </a:pathLst>
                </a:custGeom>
                <a:ln w="6350" cap="rnd">
                  <a:solidFill>
                    <a:schemeClr val="bg1">
                      <a:alpha val="40000"/>
                    </a:schemeClr>
                  </a:solidFill>
                  <a:prstDash val="solid"/>
                  <a:round/>
                </a:ln>
              </p:spPr>
              <p:txBody>
                <a:bodyPr rtlCol="0" anchor="ctr"/>
                <a:lstStyle/>
                <a:p>
                  <a:endParaRPr lang="en-GB"/>
                </a:p>
              </p:txBody>
            </p:sp>
            <p:sp>
              <p:nvSpPr>
                <p:cNvPr id="5948" name="Vrije vorm: vorm 5947">
                  <a:extLst>
                    <a:ext uri="{FF2B5EF4-FFF2-40B4-BE49-F238E27FC236}">
                      <a16:creationId xmlns:a16="http://schemas.microsoft.com/office/drawing/2014/main" id="{EAE84744-022F-4C46-B206-541CBCAA626A}"/>
                    </a:ext>
                  </a:extLst>
                </p:cNvPr>
                <p:cNvSpPr/>
                <p:nvPr/>
              </p:nvSpPr>
              <p:spPr>
                <a:xfrm>
                  <a:off x="7775795" y="2764389"/>
                  <a:ext cx="5801" cy="33551"/>
                </a:xfrm>
                <a:custGeom>
                  <a:avLst/>
                  <a:gdLst>
                    <a:gd name="connsiteX0" fmla="*/ 0 w 5801"/>
                    <a:gd name="connsiteY0" fmla="*/ 33552 h 33551"/>
                    <a:gd name="connsiteX1" fmla="*/ 5802 w 5801"/>
                    <a:gd name="connsiteY1" fmla="*/ 0 h 33551"/>
                  </a:gdLst>
                  <a:ahLst/>
                  <a:cxnLst>
                    <a:cxn ang="0">
                      <a:pos x="connsiteX0" y="connsiteY0"/>
                    </a:cxn>
                    <a:cxn ang="0">
                      <a:pos x="connsiteX1" y="connsiteY1"/>
                    </a:cxn>
                  </a:cxnLst>
                  <a:rect l="l" t="t" r="r" b="b"/>
                  <a:pathLst>
                    <a:path w="5801" h="33551">
                      <a:moveTo>
                        <a:pt x="0" y="33552"/>
                      </a:moveTo>
                      <a:lnTo>
                        <a:pt x="5802" y="0"/>
                      </a:lnTo>
                    </a:path>
                  </a:pathLst>
                </a:custGeom>
                <a:ln w="6350" cap="rnd">
                  <a:solidFill>
                    <a:schemeClr val="bg1">
                      <a:alpha val="40000"/>
                    </a:schemeClr>
                  </a:solidFill>
                  <a:prstDash val="solid"/>
                  <a:round/>
                </a:ln>
              </p:spPr>
              <p:txBody>
                <a:bodyPr rtlCol="0" anchor="ctr"/>
                <a:lstStyle/>
                <a:p>
                  <a:endParaRPr lang="en-GB"/>
                </a:p>
              </p:txBody>
            </p:sp>
            <p:sp>
              <p:nvSpPr>
                <p:cNvPr id="5949" name="Vrije vorm: vorm 5948">
                  <a:extLst>
                    <a:ext uri="{FF2B5EF4-FFF2-40B4-BE49-F238E27FC236}">
                      <a16:creationId xmlns:a16="http://schemas.microsoft.com/office/drawing/2014/main" id="{3C60E122-741C-4900-9F55-9667D6543D43}"/>
                    </a:ext>
                  </a:extLst>
                </p:cNvPr>
                <p:cNvSpPr/>
                <p:nvPr/>
              </p:nvSpPr>
              <p:spPr>
                <a:xfrm>
                  <a:off x="7690690" y="2777068"/>
                  <a:ext cx="37439" cy="13157"/>
                </a:xfrm>
                <a:custGeom>
                  <a:avLst/>
                  <a:gdLst>
                    <a:gd name="connsiteX0" fmla="*/ 0 w 37439"/>
                    <a:gd name="connsiteY0" fmla="*/ 13158 h 13157"/>
                    <a:gd name="connsiteX1" fmla="*/ 37439 w 37439"/>
                    <a:gd name="connsiteY1" fmla="*/ 0 h 13157"/>
                  </a:gdLst>
                  <a:ahLst/>
                  <a:cxnLst>
                    <a:cxn ang="0">
                      <a:pos x="connsiteX0" y="connsiteY0"/>
                    </a:cxn>
                    <a:cxn ang="0">
                      <a:pos x="connsiteX1" y="connsiteY1"/>
                    </a:cxn>
                  </a:cxnLst>
                  <a:rect l="l" t="t" r="r" b="b"/>
                  <a:pathLst>
                    <a:path w="37439" h="13157">
                      <a:moveTo>
                        <a:pt x="0" y="13158"/>
                      </a:moveTo>
                      <a:lnTo>
                        <a:pt x="37439" y="0"/>
                      </a:lnTo>
                    </a:path>
                  </a:pathLst>
                </a:custGeom>
                <a:ln w="6350" cap="rnd">
                  <a:solidFill>
                    <a:schemeClr val="bg1">
                      <a:alpha val="40000"/>
                    </a:schemeClr>
                  </a:solidFill>
                  <a:prstDash val="solid"/>
                  <a:round/>
                </a:ln>
              </p:spPr>
              <p:txBody>
                <a:bodyPr rtlCol="0" anchor="ctr"/>
                <a:lstStyle/>
                <a:p>
                  <a:endParaRPr lang="en-GB"/>
                </a:p>
              </p:txBody>
            </p:sp>
            <p:sp>
              <p:nvSpPr>
                <p:cNvPr id="5950" name="Vrije vorm: vorm 5949">
                  <a:extLst>
                    <a:ext uri="{FF2B5EF4-FFF2-40B4-BE49-F238E27FC236}">
                      <a16:creationId xmlns:a16="http://schemas.microsoft.com/office/drawing/2014/main" id="{43833DE2-55B9-4FF3-A8E6-E8313387CAAF}"/>
                    </a:ext>
                  </a:extLst>
                </p:cNvPr>
                <p:cNvSpPr/>
                <p:nvPr/>
              </p:nvSpPr>
              <p:spPr>
                <a:xfrm>
                  <a:off x="7681539" y="2770609"/>
                  <a:ext cx="9150" cy="19616"/>
                </a:xfrm>
                <a:custGeom>
                  <a:avLst/>
                  <a:gdLst>
                    <a:gd name="connsiteX0" fmla="*/ 9150 w 9150"/>
                    <a:gd name="connsiteY0" fmla="*/ 19617 h 19616"/>
                    <a:gd name="connsiteX1" fmla="*/ 0 w 9150"/>
                    <a:gd name="connsiteY1" fmla="*/ 0 h 19616"/>
                  </a:gdLst>
                  <a:ahLst/>
                  <a:cxnLst>
                    <a:cxn ang="0">
                      <a:pos x="connsiteX0" y="connsiteY0"/>
                    </a:cxn>
                    <a:cxn ang="0">
                      <a:pos x="connsiteX1" y="connsiteY1"/>
                    </a:cxn>
                  </a:cxnLst>
                  <a:rect l="l" t="t" r="r" b="b"/>
                  <a:pathLst>
                    <a:path w="9150" h="19616">
                      <a:moveTo>
                        <a:pt x="9150" y="1961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51" name="Vrije vorm: vorm 5950">
                  <a:extLst>
                    <a:ext uri="{FF2B5EF4-FFF2-40B4-BE49-F238E27FC236}">
                      <a16:creationId xmlns:a16="http://schemas.microsoft.com/office/drawing/2014/main" id="{B51AC69B-882C-434C-A8B8-21D0F31E98DF}"/>
                    </a:ext>
                  </a:extLst>
                </p:cNvPr>
                <p:cNvSpPr/>
                <p:nvPr/>
              </p:nvSpPr>
              <p:spPr>
                <a:xfrm>
                  <a:off x="7662341" y="2790226"/>
                  <a:ext cx="28348" cy="7715"/>
                </a:xfrm>
                <a:custGeom>
                  <a:avLst/>
                  <a:gdLst>
                    <a:gd name="connsiteX0" fmla="*/ 28348 w 28348"/>
                    <a:gd name="connsiteY0" fmla="*/ 0 h 7715"/>
                    <a:gd name="connsiteX1" fmla="*/ 0 w 28348"/>
                    <a:gd name="connsiteY1" fmla="*/ 7715 h 7715"/>
                  </a:gdLst>
                  <a:ahLst/>
                  <a:cxnLst>
                    <a:cxn ang="0">
                      <a:pos x="connsiteX0" y="connsiteY0"/>
                    </a:cxn>
                    <a:cxn ang="0">
                      <a:pos x="connsiteX1" y="connsiteY1"/>
                    </a:cxn>
                  </a:cxnLst>
                  <a:rect l="l" t="t" r="r" b="b"/>
                  <a:pathLst>
                    <a:path w="28348" h="7715">
                      <a:moveTo>
                        <a:pt x="28348" y="0"/>
                      </a:moveTo>
                      <a:lnTo>
                        <a:pt x="0" y="7715"/>
                      </a:lnTo>
                    </a:path>
                  </a:pathLst>
                </a:custGeom>
                <a:ln w="6350" cap="rnd">
                  <a:solidFill>
                    <a:schemeClr val="bg1">
                      <a:alpha val="40000"/>
                    </a:schemeClr>
                  </a:solidFill>
                  <a:prstDash val="solid"/>
                  <a:round/>
                </a:ln>
              </p:spPr>
              <p:txBody>
                <a:bodyPr rtlCol="0" anchor="ctr"/>
                <a:lstStyle/>
                <a:p>
                  <a:endParaRPr lang="en-GB"/>
                </a:p>
              </p:txBody>
            </p:sp>
            <p:sp>
              <p:nvSpPr>
                <p:cNvPr id="5952" name="Vrije vorm: vorm 5951">
                  <a:extLst>
                    <a:ext uri="{FF2B5EF4-FFF2-40B4-BE49-F238E27FC236}">
                      <a16:creationId xmlns:a16="http://schemas.microsoft.com/office/drawing/2014/main" id="{8A5FED35-04B4-4243-B685-D4FD3639339C}"/>
                    </a:ext>
                  </a:extLst>
                </p:cNvPr>
                <p:cNvSpPr/>
                <p:nvPr/>
              </p:nvSpPr>
              <p:spPr>
                <a:xfrm>
                  <a:off x="7671910" y="2782272"/>
                  <a:ext cx="18779" cy="7954"/>
                </a:xfrm>
                <a:custGeom>
                  <a:avLst/>
                  <a:gdLst>
                    <a:gd name="connsiteX0" fmla="*/ 18779 w 18779"/>
                    <a:gd name="connsiteY0" fmla="*/ 7954 h 7954"/>
                    <a:gd name="connsiteX1" fmla="*/ 0 w 18779"/>
                    <a:gd name="connsiteY1" fmla="*/ 0 h 7954"/>
                  </a:gdLst>
                  <a:ahLst/>
                  <a:cxnLst>
                    <a:cxn ang="0">
                      <a:pos x="connsiteX0" y="connsiteY0"/>
                    </a:cxn>
                    <a:cxn ang="0">
                      <a:pos x="connsiteX1" y="connsiteY1"/>
                    </a:cxn>
                  </a:cxnLst>
                  <a:rect l="l" t="t" r="r" b="b"/>
                  <a:pathLst>
                    <a:path w="18779" h="7954">
                      <a:moveTo>
                        <a:pt x="18779" y="795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53" name="Vrije vorm: vorm 5952">
                  <a:extLst>
                    <a:ext uri="{FF2B5EF4-FFF2-40B4-BE49-F238E27FC236}">
                      <a16:creationId xmlns:a16="http://schemas.microsoft.com/office/drawing/2014/main" id="{47E43D2E-213A-4725-B814-0339ABC1D9D2}"/>
                    </a:ext>
                  </a:extLst>
                </p:cNvPr>
                <p:cNvSpPr/>
                <p:nvPr/>
              </p:nvSpPr>
              <p:spPr>
                <a:xfrm>
                  <a:off x="7690690" y="2790226"/>
                  <a:ext cx="5203" cy="837"/>
                </a:xfrm>
                <a:custGeom>
                  <a:avLst/>
                  <a:gdLst>
                    <a:gd name="connsiteX0" fmla="*/ 0 w 5203"/>
                    <a:gd name="connsiteY0" fmla="*/ 0 h 837"/>
                    <a:gd name="connsiteX1" fmla="*/ 5203 w 5203"/>
                    <a:gd name="connsiteY1" fmla="*/ 837 h 837"/>
                  </a:gdLst>
                  <a:ahLst/>
                  <a:cxnLst>
                    <a:cxn ang="0">
                      <a:pos x="connsiteX0" y="connsiteY0"/>
                    </a:cxn>
                    <a:cxn ang="0">
                      <a:pos x="connsiteX1" y="connsiteY1"/>
                    </a:cxn>
                  </a:cxnLst>
                  <a:rect l="l" t="t" r="r" b="b"/>
                  <a:pathLst>
                    <a:path w="5203" h="837">
                      <a:moveTo>
                        <a:pt x="0" y="0"/>
                      </a:moveTo>
                      <a:lnTo>
                        <a:pt x="5203" y="837"/>
                      </a:lnTo>
                    </a:path>
                  </a:pathLst>
                </a:custGeom>
                <a:ln w="6350" cap="rnd">
                  <a:solidFill>
                    <a:schemeClr val="bg1">
                      <a:alpha val="40000"/>
                    </a:schemeClr>
                  </a:solidFill>
                  <a:prstDash val="solid"/>
                  <a:round/>
                </a:ln>
              </p:spPr>
              <p:txBody>
                <a:bodyPr rtlCol="0" anchor="ctr"/>
                <a:lstStyle/>
                <a:p>
                  <a:endParaRPr lang="en-GB"/>
                </a:p>
              </p:txBody>
            </p:sp>
            <p:sp>
              <p:nvSpPr>
                <p:cNvPr id="5954" name="Vrije vorm: vorm 5953">
                  <a:extLst>
                    <a:ext uri="{FF2B5EF4-FFF2-40B4-BE49-F238E27FC236}">
                      <a16:creationId xmlns:a16="http://schemas.microsoft.com/office/drawing/2014/main" id="{E381FDE6-A0D0-4188-8A04-C7D7F5612E6A}"/>
                    </a:ext>
                  </a:extLst>
                </p:cNvPr>
                <p:cNvSpPr/>
                <p:nvPr/>
              </p:nvSpPr>
              <p:spPr>
                <a:xfrm>
                  <a:off x="7649004" y="2797881"/>
                  <a:ext cx="21829" cy="3349"/>
                </a:xfrm>
                <a:custGeom>
                  <a:avLst/>
                  <a:gdLst>
                    <a:gd name="connsiteX0" fmla="*/ 21830 w 21829"/>
                    <a:gd name="connsiteY0" fmla="*/ 0 h 3349"/>
                    <a:gd name="connsiteX1" fmla="*/ 0 w 21829"/>
                    <a:gd name="connsiteY1" fmla="*/ 3349 h 3349"/>
                  </a:gdLst>
                  <a:ahLst/>
                  <a:cxnLst>
                    <a:cxn ang="0">
                      <a:pos x="connsiteX0" y="connsiteY0"/>
                    </a:cxn>
                    <a:cxn ang="0">
                      <a:pos x="connsiteX1" y="connsiteY1"/>
                    </a:cxn>
                  </a:cxnLst>
                  <a:rect l="l" t="t" r="r" b="b"/>
                  <a:pathLst>
                    <a:path w="21829" h="3349">
                      <a:moveTo>
                        <a:pt x="21830" y="0"/>
                      </a:moveTo>
                      <a:lnTo>
                        <a:pt x="0" y="3349"/>
                      </a:lnTo>
                    </a:path>
                  </a:pathLst>
                </a:custGeom>
                <a:ln w="6350" cap="rnd">
                  <a:solidFill>
                    <a:schemeClr val="bg1">
                      <a:alpha val="40000"/>
                    </a:schemeClr>
                  </a:solidFill>
                  <a:prstDash val="solid"/>
                  <a:round/>
                </a:ln>
              </p:spPr>
              <p:txBody>
                <a:bodyPr rtlCol="0" anchor="ctr"/>
                <a:lstStyle/>
                <a:p>
                  <a:endParaRPr lang="en-GB"/>
                </a:p>
              </p:txBody>
            </p:sp>
            <p:sp>
              <p:nvSpPr>
                <p:cNvPr id="5955" name="Vrije vorm: vorm 5954">
                  <a:extLst>
                    <a:ext uri="{FF2B5EF4-FFF2-40B4-BE49-F238E27FC236}">
                      <a16:creationId xmlns:a16="http://schemas.microsoft.com/office/drawing/2014/main" id="{F201A916-F4F5-4152-82C8-DFAA5E0CA62A}"/>
                    </a:ext>
                  </a:extLst>
                </p:cNvPr>
                <p:cNvSpPr/>
                <p:nvPr/>
              </p:nvSpPr>
              <p:spPr>
                <a:xfrm>
                  <a:off x="7621313" y="2733648"/>
                  <a:ext cx="22128" cy="28468"/>
                </a:xfrm>
                <a:custGeom>
                  <a:avLst/>
                  <a:gdLst>
                    <a:gd name="connsiteX0" fmla="*/ 22129 w 22128"/>
                    <a:gd name="connsiteY0" fmla="*/ 0 h 28468"/>
                    <a:gd name="connsiteX1" fmla="*/ 0 w 22128"/>
                    <a:gd name="connsiteY1" fmla="*/ 28468 h 28468"/>
                  </a:gdLst>
                  <a:ahLst/>
                  <a:cxnLst>
                    <a:cxn ang="0">
                      <a:pos x="connsiteX0" y="connsiteY0"/>
                    </a:cxn>
                    <a:cxn ang="0">
                      <a:pos x="connsiteX1" y="connsiteY1"/>
                    </a:cxn>
                  </a:cxnLst>
                  <a:rect l="l" t="t" r="r" b="b"/>
                  <a:pathLst>
                    <a:path w="22128" h="28468">
                      <a:moveTo>
                        <a:pt x="22129" y="0"/>
                      </a:moveTo>
                      <a:lnTo>
                        <a:pt x="0" y="28468"/>
                      </a:lnTo>
                    </a:path>
                  </a:pathLst>
                </a:custGeom>
                <a:ln w="6350" cap="rnd">
                  <a:solidFill>
                    <a:schemeClr val="bg1">
                      <a:alpha val="40000"/>
                    </a:schemeClr>
                  </a:solidFill>
                  <a:prstDash val="solid"/>
                  <a:round/>
                </a:ln>
              </p:spPr>
              <p:txBody>
                <a:bodyPr rtlCol="0" anchor="ctr"/>
                <a:lstStyle/>
                <a:p>
                  <a:endParaRPr lang="en-GB"/>
                </a:p>
              </p:txBody>
            </p:sp>
            <p:sp>
              <p:nvSpPr>
                <p:cNvPr id="5956" name="Vrije vorm: vorm 5955">
                  <a:extLst>
                    <a:ext uri="{FF2B5EF4-FFF2-40B4-BE49-F238E27FC236}">
                      <a16:creationId xmlns:a16="http://schemas.microsoft.com/office/drawing/2014/main" id="{63852E71-CC8F-4158-93C1-64E81602C6DE}"/>
                    </a:ext>
                  </a:extLst>
                </p:cNvPr>
                <p:cNvSpPr/>
                <p:nvPr/>
              </p:nvSpPr>
              <p:spPr>
                <a:xfrm>
                  <a:off x="7690690" y="2760083"/>
                  <a:ext cx="11662" cy="30142"/>
                </a:xfrm>
                <a:custGeom>
                  <a:avLst/>
                  <a:gdLst>
                    <a:gd name="connsiteX0" fmla="*/ 11663 w 11662"/>
                    <a:gd name="connsiteY0" fmla="*/ 0 h 30142"/>
                    <a:gd name="connsiteX1" fmla="*/ 0 w 11662"/>
                    <a:gd name="connsiteY1" fmla="*/ 30143 h 30142"/>
                  </a:gdLst>
                  <a:ahLst/>
                  <a:cxnLst>
                    <a:cxn ang="0">
                      <a:pos x="connsiteX0" y="connsiteY0"/>
                    </a:cxn>
                    <a:cxn ang="0">
                      <a:pos x="connsiteX1" y="connsiteY1"/>
                    </a:cxn>
                  </a:cxnLst>
                  <a:rect l="l" t="t" r="r" b="b"/>
                  <a:pathLst>
                    <a:path w="11662" h="30142">
                      <a:moveTo>
                        <a:pt x="11663" y="0"/>
                      </a:moveTo>
                      <a:lnTo>
                        <a:pt x="0" y="30143"/>
                      </a:lnTo>
                    </a:path>
                  </a:pathLst>
                </a:custGeom>
                <a:ln w="6350" cap="rnd">
                  <a:solidFill>
                    <a:schemeClr val="bg1">
                      <a:alpha val="40000"/>
                    </a:schemeClr>
                  </a:solidFill>
                  <a:prstDash val="solid"/>
                  <a:round/>
                </a:ln>
              </p:spPr>
              <p:txBody>
                <a:bodyPr rtlCol="0" anchor="ctr"/>
                <a:lstStyle/>
                <a:p>
                  <a:endParaRPr lang="en-GB"/>
                </a:p>
              </p:txBody>
            </p:sp>
            <p:sp>
              <p:nvSpPr>
                <p:cNvPr id="5957" name="Vrije vorm: vorm 5956">
                  <a:extLst>
                    <a:ext uri="{FF2B5EF4-FFF2-40B4-BE49-F238E27FC236}">
                      <a16:creationId xmlns:a16="http://schemas.microsoft.com/office/drawing/2014/main" id="{E8DE7B14-5341-4518-9129-AC8D5C7118A7}"/>
                    </a:ext>
                  </a:extLst>
                </p:cNvPr>
                <p:cNvSpPr/>
                <p:nvPr/>
              </p:nvSpPr>
              <p:spPr>
                <a:xfrm>
                  <a:off x="7643083" y="2787056"/>
                  <a:ext cx="4784" cy="5502"/>
                </a:xfrm>
                <a:custGeom>
                  <a:avLst/>
                  <a:gdLst>
                    <a:gd name="connsiteX0" fmla="*/ 4785 w 4784"/>
                    <a:gd name="connsiteY0" fmla="*/ 5502 h 5502"/>
                    <a:gd name="connsiteX1" fmla="*/ 0 w 4784"/>
                    <a:gd name="connsiteY1" fmla="*/ 0 h 5502"/>
                  </a:gdLst>
                  <a:ahLst/>
                  <a:cxnLst>
                    <a:cxn ang="0">
                      <a:pos x="connsiteX0" y="connsiteY0"/>
                    </a:cxn>
                    <a:cxn ang="0">
                      <a:pos x="connsiteX1" y="connsiteY1"/>
                    </a:cxn>
                  </a:cxnLst>
                  <a:rect l="l" t="t" r="r" b="b"/>
                  <a:pathLst>
                    <a:path w="4784" h="5502">
                      <a:moveTo>
                        <a:pt x="4785" y="550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58" name="Vrije vorm: vorm 5957">
                  <a:extLst>
                    <a:ext uri="{FF2B5EF4-FFF2-40B4-BE49-F238E27FC236}">
                      <a16:creationId xmlns:a16="http://schemas.microsoft.com/office/drawing/2014/main" id="{CCBE7086-F5A0-4422-942D-8589521AD436}"/>
                    </a:ext>
                  </a:extLst>
                </p:cNvPr>
                <p:cNvSpPr/>
                <p:nvPr/>
              </p:nvSpPr>
              <p:spPr>
                <a:xfrm>
                  <a:off x="7647868" y="2792559"/>
                  <a:ext cx="14473" cy="5382"/>
                </a:xfrm>
                <a:custGeom>
                  <a:avLst/>
                  <a:gdLst>
                    <a:gd name="connsiteX0" fmla="*/ 0 w 14473"/>
                    <a:gd name="connsiteY0" fmla="*/ 0 h 5382"/>
                    <a:gd name="connsiteX1" fmla="*/ 14473 w 14473"/>
                    <a:gd name="connsiteY1" fmla="*/ 5383 h 5382"/>
                  </a:gdLst>
                  <a:ahLst/>
                  <a:cxnLst>
                    <a:cxn ang="0">
                      <a:pos x="connsiteX0" y="connsiteY0"/>
                    </a:cxn>
                    <a:cxn ang="0">
                      <a:pos x="connsiteX1" y="connsiteY1"/>
                    </a:cxn>
                  </a:cxnLst>
                  <a:rect l="l" t="t" r="r" b="b"/>
                  <a:pathLst>
                    <a:path w="14473" h="5382">
                      <a:moveTo>
                        <a:pt x="0" y="0"/>
                      </a:moveTo>
                      <a:lnTo>
                        <a:pt x="14473" y="5383"/>
                      </a:lnTo>
                    </a:path>
                  </a:pathLst>
                </a:custGeom>
                <a:ln w="6350" cap="rnd">
                  <a:solidFill>
                    <a:schemeClr val="bg1">
                      <a:alpha val="40000"/>
                    </a:schemeClr>
                  </a:solidFill>
                  <a:prstDash val="solid"/>
                  <a:round/>
                </a:ln>
              </p:spPr>
              <p:txBody>
                <a:bodyPr rtlCol="0" anchor="ctr"/>
                <a:lstStyle/>
                <a:p>
                  <a:endParaRPr lang="en-GB"/>
                </a:p>
              </p:txBody>
            </p:sp>
            <p:sp>
              <p:nvSpPr>
                <p:cNvPr id="5959" name="Vrije vorm: vorm 5958">
                  <a:extLst>
                    <a:ext uri="{FF2B5EF4-FFF2-40B4-BE49-F238E27FC236}">
                      <a16:creationId xmlns:a16="http://schemas.microsoft.com/office/drawing/2014/main" id="{62BC1286-C11A-407A-872C-E200993B8E76}"/>
                    </a:ext>
                  </a:extLst>
                </p:cNvPr>
                <p:cNvSpPr/>
                <p:nvPr/>
              </p:nvSpPr>
              <p:spPr>
                <a:xfrm>
                  <a:off x="7647868" y="2777308"/>
                  <a:ext cx="837" cy="15250"/>
                </a:xfrm>
                <a:custGeom>
                  <a:avLst/>
                  <a:gdLst>
                    <a:gd name="connsiteX0" fmla="*/ 0 w 837"/>
                    <a:gd name="connsiteY0" fmla="*/ 15251 h 15250"/>
                    <a:gd name="connsiteX1" fmla="*/ 837 w 837"/>
                    <a:gd name="connsiteY1" fmla="*/ 0 h 15250"/>
                  </a:gdLst>
                  <a:ahLst/>
                  <a:cxnLst>
                    <a:cxn ang="0">
                      <a:pos x="connsiteX0" y="connsiteY0"/>
                    </a:cxn>
                    <a:cxn ang="0">
                      <a:pos x="connsiteX1" y="connsiteY1"/>
                    </a:cxn>
                  </a:cxnLst>
                  <a:rect l="l" t="t" r="r" b="b"/>
                  <a:pathLst>
                    <a:path w="837" h="15250">
                      <a:moveTo>
                        <a:pt x="0" y="15251"/>
                      </a:moveTo>
                      <a:lnTo>
                        <a:pt x="837" y="0"/>
                      </a:lnTo>
                    </a:path>
                  </a:pathLst>
                </a:custGeom>
                <a:ln w="6350" cap="rnd">
                  <a:solidFill>
                    <a:schemeClr val="bg1">
                      <a:alpha val="40000"/>
                    </a:schemeClr>
                  </a:solidFill>
                  <a:prstDash val="solid"/>
                  <a:round/>
                </a:ln>
              </p:spPr>
              <p:txBody>
                <a:bodyPr rtlCol="0" anchor="ctr"/>
                <a:lstStyle/>
                <a:p>
                  <a:endParaRPr lang="en-GB"/>
                </a:p>
              </p:txBody>
            </p:sp>
            <p:sp>
              <p:nvSpPr>
                <p:cNvPr id="5960" name="Vrije vorm: vorm 5959">
                  <a:extLst>
                    <a:ext uri="{FF2B5EF4-FFF2-40B4-BE49-F238E27FC236}">
                      <a16:creationId xmlns:a16="http://schemas.microsoft.com/office/drawing/2014/main" id="{FD4BF466-9219-4A8B-8C65-9C05AAC399CD}"/>
                    </a:ext>
                  </a:extLst>
                </p:cNvPr>
                <p:cNvSpPr/>
                <p:nvPr/>
              </p:nvSpPr>
              <p:spPr>
                <a:xfrm>
                  <a:off x="7662521" y="2797881"/>
                  <a:ext cx="8313" cy="837"/>
                </a:xfrm>
                <a:custGeom>
                  <a:avLst/>
                  <a:gdLst>
                    <a:gd name="connsiteX0" fmla="*/ 0 w 8313"/>
                    <a:gd name="connsiteY0" fmla="*/ 837 h 837"/>
                    <a:gd name="connsiteX1" fmla="*/ 8313 w 8313"/>
                    <a:gd name="connsiteY1" fmla="*/ 0 h 837"/>
                  </a:gdLst>
                  <a:ahLst/>
                  <a:cxnLst>
                    <a:cxn ang="0">
                      <a:pos x="connsiteX0" y="connsiteY0"/>
                    </a:cxn>
                    <a:cxn ang="0">
                      <a:pos x="connsiteX1" y="connsiteY1"/>
                    </a:cxn>
                  </a:cxnLst>
                  <a:rect l="l" t="t" r="r" b="b"/>
                  <a:pathLst>
                    <a:path w="8313" h="837">
                      <a:moveTo>
                        <a:pt x="0" y="837"/>
                      </a:moveTo>
                      <a:lnTo>
                        <a:pt x="8313" y="0"/>
                      </a:lnTo>
                    </a:path>
                  </a:pathLst>
                </a:custGeom>
                <a:ln w="6350" cap="rnd">
                  <a:solidFill>
                    <a:schemeClr val="bg1">
                      <a:alpha val="40000"/>
                    </a:schemeClr>
                  </a:solidFill>
                  <a:prstDash val="solid"/>
                  <a:round/>
                </a:ln>
              </p:spPr>
              <p:txBody>
                <a:bodyPr rtlCol="0" anchor="ctr"/>
                <a:lstStyle/>
                <a:p>
                  <a:endParaRPr lang="en-GB"/>
                </a:p>
              </p:txBody>
            </p:sp>
            <p:sp>
              <p:nvSpPr>
                <p:cNvPr id="5961" name="Vrije vorm: vorm 5960">
                  <a:extLst>
                    <a:ext uri="{FF2B5EF4-FFF2-40B4-BE49-F238E27FC236}">
                      <a16:creationId xmlns:a16="http://schemas.microsoft.com/office/drawing/2014/main" id="{A3A3946D-DF3A-4356-87DA-196C82B58AA9}"/>
                    </a:ext>
                  </a:extLst>
                </p:cNvPr>
                <p:cNvSpPr/>
                <p:nvPr/>
              </p:nvSpPr>
              <p:spPr>
                <a:xfrm>
                  <a:off x="7647868" y="2792559"/>
                  <a:ext cx="14652" cy="6160"/>
                </a:xfrm>
                <a:custGeom>
                  <a:avLst/>
                  <a:gdLst>
                    <a:gd name="connsiteX0" fmla="*/ 14653 w 14652"/>
                    <a:gd name="connsiteY0" fmla="*/ 6160 h 6160"/>
                    <a:gd name="connsiteX1" fmla="*/ 0 w 14652"/>
                    <a:gd name="connsiteY1" fmla="*/ 0 h 6160"/>
                  </a:gdLst>
                  <a:ahLst/>
                  <a:cxnLst>
                    <a:cxn ang="0">
                      <a:pos x="connsiteX0" y="connsiteY0"/>
                    </a:cxn>
                    <a:cxn ang="0">
                      <a:pos x="connsiteX1" y="connsiteY1"/>
                    </a:cxn>
                  </a:cxnLst>
                  <a:rect l="l" t="t" r="r" b="b"/>
                  <a:pathLst>
                    <a:path w="14652" h="6160">
                      <a:moveTo>
                        <a:pt x="14653" y="616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62" name="Vrije vorm: vorm 5961">
                  <a:extLst>
                    <a:ext uri="{FF2B5EF4-FFF2-40B4-BE49-F238E27FC236}">
                      <a16:creationId xmlns:a16="http://schemas.microsoft.com/office/drawing/2014/main" id="{E8AAA4DB-8B00-44EA-9E54-2BA9AF8FC796}"/>
                    </a:ext>
                  </a:extLst>
                </p:cNvPr>
                <p:cNvSpPr/>
                <p:nvPr/>
              </p:nvSpPr>
              <p:spPr>
                <a:xfrm>
                  <a:off x="7670834" y="2796207"/>
                  <a:ext cx="7954" cy="1674"/>
                </a:xfrm>
                <a:custGeom>
                  <a:avLst/>
                  <a:gdLst>
                    <a:gd name="connsiteX0" fmla="*/ 7954 w 7954"/>
                    <a:gd name="connsiteY0" fmla="*/ 0 h 1674"/>
                    <a:gd name="connsiteX1" fmla="*/ 0 w 7954"/>
                    <a:gd name="connsiteY1" fmla="*/ 1675 h 1674"/>
                  </a:gdLst>
                  <a:ahLst/>
                  <a:cxnLst>
                    <a:cxn ang="0">
                      <a:pos x="connsiteX0" y="connsiteY0"/>
                    </a:cxn>
                    <a:cxn ang="0">
                      <a:pos x="connsiteX1" y="connsiteY1"/>
                    </a:cxn>
                  </a:cxnLst>
                  <a:rect l="l" t="t" r="r" b="b"/>
                  <a:pathLst>
                    <a:path w="7954" h="1674">
                      <a:moveTo>
                        <a:pt x="7954" y="0"/>
                      </a:moveTo>
                      <a:lnTo>
                        <a:pt x="0" y="1675"/>
                      </a:lnTo>
                    </a:path>
                  </a:pathLst>
                </a:custGeom>
                <a:ln w="6350" cap="rnd">
                  <a:solidFill>
                    <a:schemeClr val="bg1">
                      <a:alpha val="40000"/>
                    </a:schemeClr>
                  </a:solidFill>
                  <a:prstDash val="solid"/>
                  <a:round/>
                </a:ln>
              </p:spPr>
              <p:txBody>
                <a:bodyPr rtlCol="0" anchor="ctr"/>
                <a:lstStyle/>
                <a:p>
                  <a:endParaRPr lang="en-GB"/>
                </a:p>
              </p:txBody>
            </p:sp>
            <p:sp>
              <p:nvSpPr>
                <p:cNvPr id="5963" name="Vrije vorm: vorm 5962">
                  <a:extLst>
                    <a:ext uri="{FF2B5EF4-FFF2-40B4-BE49-F238E27FC236}">
                      <a16:creationId xmlns:a16="http://schemas.microsoft.com/office/drawing/2014/main" id="{F6D3FABE-52FB-4331-BBB9-B7570AD0D9EA}"/>
                    </a:ext>
                  </a:extLst>
                </p:cNvPr>
                <p:cNvSpPr/>
                <p:nvPr/>
              </p:nvSpPr>
              <p:spPr>
                <a:xfrm>
                  <a:off x="7662521" y="2792798"/>
                  <a:ext cx="32176" cy="5920"/>
                </a:xfrm>
                <a:custGeom>
                  <a:avLst/>
                  <a:gdLst>
                    <a:gd name="connsiteX0" fmla="*/ 32176 w 32176"/>
                    <a:gd name="connsiteY0" fmla="*/ 0 h 5920"/>
                    <a:gd name="connsiteX1" fmla="*/ 0 w 32176"/>
                    <a:gd name="connsiteY1" fmla="*/ 5921 h 5920"/>
                  </a:gdLst>
                  <a:ahLst/>
                  <a:cxnLst>
                    <a:cxn ang="0">
                      <a:pos x="connsiteX0" y="connsiteY0"/>
                    </a:cxn>
                    <a:cxn ang="0">
                      <a:pos x="connsiteX1" y="connsiteY1"/>
                    </a:cxn>
                  </a:cxnLst>
                  <a:rect l="l" t="t" r="r" b="b"/>
                  <a:pathLst>
                    <a:path w="32176" h="5920">
                      <a:moveTo>
                        <a:pt x="32176" y="0"/>
                      </a:moveTo>
                      <a:lnTo>
                        <a:pt x="0" y="5921"/>
                      </a:lnTo>
                    </a:path>
                  </a:pathLst>
                </a:custGeom>
                <a:ln w="6350" cap="rnd">
                  <a:solidFill>
                    <a:schemeClr val="bg1">
                      <a:alpha val="40000"/>
                    </a:schemeClr>
                  </a:solidFill>
                  <a:prstDash val="solid"/>
                  <a:round/>
                </a:ln>
              </p:spPr>
              <p:txBody>
                <a:bodyPr rtlCol="0" anchor="ctr"/>
                <a:lstStyle/>
                <a:p>
                  <a:endParaRPr lang="en-GB"/>
                </a:p>
              </p:txBody>
            </p:sp>
            <p:sp>
              <p:nvSpPr>
                <p:cNvPr id="5964" name="Vrije vorm: vorm 5963">
                  <a:extLst>
                    <a:ext uri="{FF2B5EF4-FFF2-40B4-BE49-F238E27FC236}">
                      <a16:creationId xmlns:a16="http://schemas.microsoft.com/office/drawing/2014/main" id="{EC0343F7-EE94-4D6E-A1C9-71E863F0FACD}"/>
                    </a:ext>
                  </a:extLst>
                </p:cNvPr>
                <p:cNvSpPr/>
                <p:nvPr/>
              </p:nvSpPr>
              <p:spPr>
                <a:xfrm>
                  <a:off x="7748643" y="2745909"/>
                  <a:ext cx="12260" cy="6100"/>
                </a:xfrm>
                <a:custGeom>
                  <a:avLst/>
                  <a:gdLst>
                    <a:gd name="connsiteX0" fmla="*/ 12260 w 12260"/>
                    <a:gd name="connsiteY0" fmla="*/ 0 h 6100"/>
                    <a:gd name="connsiteX1" fmla="*/ 0 w 12260"/>
                    <a:gd name="connsiteY1" fmla="*/ 6100 h 6100"/>
                  </a:gdLst>
                  <a:ahLst/>
                  <a:cxnLst>
                    <a:cxn ang="0">
                      <a:pos x="connsiteX0" y="connsiteY0"/>
                    </a:cxn>
                    <a:cxn ang="0">
                      <a:pos x="connsiteX1" y="connsiteY1"/>
                    </a:cxn>
                  </a:cxnLst>
                  <a:rect l="l" t="t" r="r" b="b"/>
                  <a:pathLst>
                    <a:path w="12260" h="6100">
                      <a:moveTo>
                        <a:pt x="12260" y="0"/>
                      </a:moveTo>
                      <a:lnTo>
                        <a:pt x="0" y="6100"/>
                      </a:lnTo>
                    </a:path>
                  </a:pathLst>
                </a:custGeom>
                <a:ln w="6350" cap="rnd">
                  <a:solidFill>
                    <a:schemeClr val="bg1">
                      <a:alpha val="40000"/>
                    </a:schemeClr>
                  </a:solidFill>
                  <a:prstDash val="solid"/>
                  <a:round/>
                </a:ln>
              </p:spPr>
              <p:txBody>
                <a:bodyPr rtlCol="0" anchor="ctr"/>
                <a:lstStyle/>
                <a:p>
                  <a:endParaRPr lang="en-GB"/>
                </a:p>
              </p:txBody>
            </p:sp>
            <p:sp>
              <p:nvSpPr>
                <p:cNvPr id="5965" name="Vrije vorm: vorm 5964">
                  <a:extLst>
                    <a:ext uri="{FF2B5EF4-FFF2-40B4-BE49-F238E27FC236}">
                      <a16:creationId xmlns:a16="http://schemas.microsoft.com/office/drawing/2014/main" id="{F76E5AE9-4D37-4B03-83EB-A4A3DB7E1E43}"/>
                    </a:ext>
                  </a:extLst>
                </p:cNvPr>
                <p:cNvSpPr/>
                <p:nvPr/>
              </p:nvSpPr>
              <p:spPr>
                <a:xfrm>
                  <a:off x="7760903" y="2745909"/>
                  <a:ext cx="1435" cy="13037"/>
                </a:xfrm>
                <a:custGeom>
                  <a:avLst/>
                  <a:gdLst>
                    <a:gd name="connsiteX0" fmla="*/ 0 w 1435"/>
                    <a:gd name="connsiteY0" fmla="*/ 0 h 13037"/>
                    <a:gd name="connsiteX1" fmla="*/ 1435 w 1435"/>
                    <a:gd name="connsiteY1" fmla="*/ 13038 h 13037"/>
                  </a:gdLst>
                  <a:ahLst/>
                  <a:cxnLst>
                    <a:cxn ang="0">
                      <a:pos x="connsiteX0" y="connsiteY0"/>
                    </a:cxn>
                    <a:cxn ang="0">
                      <a:pos x="connsiteX1" y="connsiteY1"/>
                    </a:cxn>
                  </a:cxnLst>
                  <a:rect l="l" t="t" r="r" b="b"/>
                  <a:pathLst>
                    <a:path w="1435" h="13037">
                      <a:moveTo>
                        <a:pt x="0" y="0"/>
                      </a:moveTo>
                      <a:lnTo>
                        <a:pt x="1435" y="13038"/>
                      </a:lnTo>
                    </a:path>
                  </a:pathLst>
                </a:custGeom>
                <a:ln w="6350" cap="rnd">
                  <a:solidFill>
                    <a:schemeClr val="bg1">
                      <a:alpha val="40000"/>
                    </a:schemeClr>
                  </a:solidFill>
                  <a:prstDash val="solid"/>
                  <a:round/>
                </a:ln>
              </p:spPr>
              <p:txBody>
                <a:bodyPr rtlCol="0" anchor="ctr"/>
                <a:lstStyle/>
                <a:p>
                  <a:endParaRPr lang="en-GB"/>
                </a:p>
              </p:txBody>
            </p:sp>
            <p:sp>
              <p:nvSpPr>
                <p:cNvPr id="5966" name="Vrije vorm: vorm 5965">
                  <a:extLst>
                    <a:ext uri="{FF2B5EF4-FFF2-40B4-BE49-F238E27FC236}">
                      <a16:creationId xmlns:a16="http://schemas.microsoft.com/office/drawing/2014/main" id="{7330ED51-BD08-4C1F-8747-ED4D26EE26E1}"/>
                    </a:ext>
                  </a:extLst>
                </p:cNvPr>
                <p:cNvSpPr/>
                <p:nvPr/>
              </p:nvSpPr>
              <p:spPr>
                <a:xfrm>
                  <a:off x="7755102" y="2745909"/>
                  <a:ext cx="5801" cy="13157"/>
                </a:xfrm>
                <a:custGeom>
                  <a:avLst/>
                  <a:gdLst>
                    <a:gd name="connsiteX0" fmla="*/ 5801 w 5801"/>
                    <a:gd name="connsiteY0" fmla="*/ 0 h 13157"/>
                    <a:gd name="connsiteX1" fmla="*/ 0 w 5801"/>
                    <a:gd name="connsiteY1" fmla="*/ 13158 h 13157"/>
                  </a:gdLst>
                  <a:ahLst/>
                  <a:cxnLst>
                    <a:cxn ang="0">
                      <a:pos x="connsiteX0" y="connsiteY0"/>
                    </a:cxn>
                    <a:cxn ang="0">
                      <a:pos x="connsiteX1" y="connsiteY1"/>
                    </a:cxn>
                  </a:cxnLst>
                  <a:rect l="l" t="t" r="r" b="b"/>
                  <a:pathLst>
                    <a:path w="5801" h="13157">
                      <a:moveTo>
                        <a:pt x="5801" y="0"/>
                      </a:moveTo>
                      <a:lnTo>
                        <a:pt x="0" y="13158"/>
                      </a:lnTo>
                    </a:path>
                  </a:pathLst>
                </a:custGeom>
                <a:ln w="6350" cap="rnd">
                  <a:solidFill>
                    <a:schemeClr val="bg1">
                      <a:alpha val="40000"/>
                    </a:schemeClr>
                  </a:solidFill>
                  <a:prstDash val="solid"/>
                  <a:round/>
                </a:ln>
              </p:spPr>
              <p:txBody>
                <a:bodyPr rtlCol="0" anchor="ctr"/>
                <a:lstStyle/>
                <a:p>
                  <a:endParaRPr lang="en-GB"/>
                </a:p>
              </p:txBody>
            </p:sp>
            <p:sp>
              <p:nvSpPr>
                <p:cNvPr id="5967" name="Vrije vorm: vorm 5966">
                  <a:extLst>
                    <a:ext uri="{FF2B5EF4-FFF2-40B4-BE49-F238E27FC236}">
                      <a16:creationId xmlns:a16="http://schemas.microsoft.com/office/drawing/2014/main" id="{53B307FF-C85D-4280-8566-6E8076BFCD28}"/>
                    </a:ext>
                  </a:extLst>
                </p:cNvPr>
                <p:cNvSpPr/>
                <p:nvPr/>
              </p:nvSpPr>
              <p:spPr>
                <a:xfrm>
                  <a:off x="7566530" y="2814089"/>
                  <a:ext cx="10526" cy="12439"/>
                </a:xfrm>
                <a:custGeom>
                  <a:avLst/>
                  <a:gdLst>
                    <a:gd name="connsiteX0" fmla="*/ 0 w 10526"/>
                    <a:gd name="connsiteY0" fmla="*/ 12440 h 12439"/>
                    <a:gd name="connsiteX1" fmla="*/ 10526 w 10526"/>
                    <a:gd name="connsiteY1" fmla="*/ 0 h 12439"/>
                  </a:gdLst>
                  <a:ahLst/>
                  <a:cxnLst>
                    <a:cxn ang="0">
                      <a:pos x="connsiteX0" y="connsiteY0"/>
                    </a:cxn>
                    <a:cxn ang="0">
                      <a:pos x="connsiteX1" y="connsiteY1"/>
                    </a:cxn>
                  </a:cxnLst>
                  <a:rect l="l" t="t" r="r" b="b"/>
                  <a:pathLst>
                    <a:path w="10526" h="12439">
                      <a:moveTo>
                        <a:pt x="0" y="12440"/>
                      </a:moveTo>
                      <a:lnTo>
                        <a:pt x="10526" y="0"/>
                      </a:lnTo>
                    </a:path>
                  </a:pathLst>
                </a:custGeom>
                <a:ln w="6350" cap="rnd">
                  <a:solidFill>
                    <a:schemeClr val="bg1">
                      <a:alpha val="40000"/>
                    </a:schemeClr>
                  </a:solidFill>
                  <a:prstDash val="solid"/>
                  <a:round/>
                </a:ln>
              </p:spPr>
              <p:txBody>
                <a:bodyPr rtlCol="0" anchor="ctr"/>
                <a:lstStyle/>
                <a:p>
                  <a:endParaRPr lang="en-GB"/>
                </a:p>
              </p:txBody>
            </p:sp>
            <p:sp>
              <p:nvSpPr>
                <p:cNvPr id="5968" name="Vrije vorm: vorm 5967">
                  <a:extLst>
                    <a:ext uri="{FF2B5EF4-FFF2-40B4-BE49-F238E27FC236}">
                      <a16:creationId xmlns:a16="http://schemas.microsoft.com/office/drawing/2014/main" id="{49C7D1B6-1170-4F37-82DD-E566F19331EA}"/>
                    </a:ext>
                  </a:extLst>
                </p:cNvPr>
                <p:cNvSpPr/>
                <p:nvPr/>
              </p:nvSpPr>
              <p:spPr>
                <a:xfrm>
                  <a:off x="7566530" y="2818216"/>
                  <a:ext cx="12738" cy="8313"/>
                </a:xfrm>
                <a:custGeom>
                  <a:avLst/>
                  <a:gdLst>
                    <a:gd name="connsiteX0" fmla="*/ 0 w 12738"/>
                    <a:gd name="connsiteY0" fmla="*/ 8313 h 8313"/>
                    <a:gd name="connsiteX1" fmla="*/ 12739 w 12738"/>
                    <a:gd name="connsiteY1" fmla="*/ 0 h 8313"/>
                  </a:gdLst>
                  <a:ahLst/>
                  <a:cxnLst>
                    <a:cxn ang="0">
                      <a:pos x="connsiteX0" y="connsiteY0"/>
                    </a:cxn>
                    <a:cxn ang="0">
                      <a:pos x="connsiteX1" y="connsiteY1"/>
                    </a:cxn>
                  </a:cxnLst>
                  <a:rect l="l" t="t" r="r" b="b"/>
                  <a:pathLst>
                    <a:path w="12738" h="8313">
                      <a:moveTo>
                        <a:pt x="0" y="8313"/>
                      </a:moveTo>
                      <a:lnTo>
                        <a:pt x="12739" y="0"/>
                      </a:lnTo>
                    </a:path>
                  </a:pathLst>
                </a:custGeom>
                <a:ln w="6350" cap="rnd">
                  <a:solidFill>
                    <a:schemeClr val="bg1">
                      <a:alpha val="40000"/>
                    </a:schemeClr>
                  </a:solidFill>
                  <a:prstDash val="solid"/>
                  <a:round/>
                </a:ln>
              </p:spPr>
              <p:txBody>
                <a:bodyPr rtlCol="0" anchor="ctr"/>
                <a:lstStyle/>
                <a:p>
                  <a:endParaRPr lang="en-GB"/>
                </a:p>
              </p:txBody>
            </p:sp>
            <p:sp>
              <p:nvSpPr>
                <p:cNvPr id="5969" name="Vrije vorm: vorm 5968">
                  <a:extLst>
                    <a:ext uri="{FF2B5EF4-FFF2-40B4-BE49-F238E27FC236}">
                      <a16:creationId xmlns:a16="http://schemas.microsoft.com/office/drawing/2014/main" id="{1190D02F-79A2-4DC6-BD0C-1640BBA09EA2}"/>
                    </a:ext>
                  </a:extLst>
                </p:cNvPr>
                <p:cNvSpPr/>
                <p:nvPr/>
              </p:nvSpPr>
              <p:spPr>
                <a:xfrm>
                  <a:off x="7687341" y="2791123"/>
                  <a:ext cx="7356" cy="1674"/>
                </a:xfrm>
                <a:custGeom>
                  <a:avLst/>
                  <a:gdLst>
                    <a:gd name="connsiteX0" fmla="*/ 0 w 7356"/>
                    <a:gd name="connsiteY0" fmla="*/ 0 h 1674"/>
                    <a:gd name="connsiteX1" fmla="*/ 7356 w 7356"/>
                    <a:gd name="connsiteY1" fmla="*/ 1675 h 1674"/>
                  </a:gdLst>
                  <a:ahLst/>
                  <a:cxnLst>
                    <a:cxn ang="0">
                      <a:pos x="connsiteX0" y="connsiteY0"/>
                    </a:cxn>
                    <a:cxn ang="0">
                      <a:pos x="connsiteX1" y="connsiteY1"/>
                    </a:cxn>
                  </a:cxnLst>
                  <a:rect l="l" t="t" r="r" b="b"/>
                  <a:pathLst>
                    <a:path w="7356" h="1674">
                      <a:moveTo>
                        <a:pt x="0" y="0"/>
                      </a:moveTo>
                      <a:lnTo>
                        <a:pt x="7356" y="1675"/>
                      </a:lnTo>
                    </a:path>
                  </a:pathLst>
                </a:custGeom>
                <a:ln w="6350" cap="rnd">
                  <a:solidFill>
                    <a:schemeClr val="bg1">
                      <a:alpha val="40000"/>
                    </a:schemeClr>
                  </a:solidFill>
                  <a:prstDash val="solid"/>
                  <a:round/>
                </a:ln>
              </p:spPr>
              <p:txBody>
                <a:bodyPr rtlCol="0" anchor="ctr"/>
                <a:lstStyle/>
                <a:p>
                  <a:endParaRPr lang="en-GB"/>
                </a:p>
              </p:txBody>
            </p:sp>
            <p:sp>
              <p:nvSpPr>
                <p:cNvPr id="5970" name="Vrije vorm: vorm 5969">
                  <a:extLst>
                    <a:ext uri="{FF2B5EF4-FFF2-40B4-BE49-F238E27FC236}">
                      <a16:creationId xmlns:a16="http://schemas.microsoft.com/office/drawing/2014/main" id="{90CFD6F7-F2C4-4293-A6C5-0DCCB063B9F4}"/>
                    </a:ext>
                  </a:extLst>
                </p:cNvPr>
                <p:cNvSpPr/>
                <p:nvPr/>
              </p:nvSpPr>
              <p:spPr>
                <a:xfrm>
                  <a:off x="7595656" y="2737835"/>
                  <a:ext cx="17702" cy="23085"/>
                </a:xfrm>
                <a:custGeom>
                  <a:avLst/>
                  <a:gdLst>
                    <a:gd name="connsiteX0" fmla="*/ 0 w 17702"/>
                    <a:gd name="connsiteY0" fmla="*/ 0 h 23085"/>
                    <a:gd name="connsiteX1" fmla="*/ 17703 w 17702"/>
                    <a:gd name="connsiteY1" fmla="*/ 23086 h 23085"/>
                  </a:gdLst>
                  <a:ahLst/>
                  <a:cxnLst>
                    <a:cxn ang="0">
                      <a:pos x="connsiteX0" y="connsiteY0"/>
                    </a:cxn>
                    <a:cxn ang="0">
                      <a:pos x="connsiteX1" y="connsiteY1"/>
                    </a:cxn>
                  </a:cxnLst>
                  <a:rect l="l" t="t" r="r" b="b"/>
                  <a:pathLst>
                    <a:path w="17702" h="23085">
                      <a:moveTo>
                        <a:pt x="0" y="0"/>
                      </a:moveTo>
                      <a:lnTo>
                        <a:pt x="17703" y="23086"/>
                      </a:lnTo>
                    </a:path>
                  </a:pathLst>
                </a:custGeom>
                <a:ln w="6350" cap="rnd">
                  <a:solidFill>
                    <a:schemeClr val="bg1">
                      <a:alpha val="40000"/>
                    </a:schemeClr>
                  </a:solidFill>
                  <a:prstDash val="solid"/>
                  <a:round/>
                </a:ln>
              </p:spPr>
              <p:txBody>
                <a:bodyPr rtlCol="0" anchor="ctr"/>
                <a:lstStyle/>
                <a:p>
                  <a:endParaRPr lang="en-GB"/>
                </a:p>
              </p:txBody>
            </p:sp>
            <p:sp>
              <p:nvSpPr>
                <p:cNvPr id="5971" name="Vrije vorm: vorm 5970">
                  <a:extLst>
                    <a:ext uri="{FF2B5EF4-FFF2-40B4-BE49-F238E27FC236}">
                      <a16:creationId xmlns:a16="http://schemas.microsoft.com/office/drawing/2014/main" id="{31683502-C40A-4908-8D5C-6302A2DB26C9}"/>
                    </a:ext>
                  </a:extLst>
                </p:cNvPr>
                <p:cNvSpPr/>
                <p:nvPr/>
              </p:nvSpPr>
              <p:spPr>
                <a:xfrm>
                  <a:off x="7595656" y="2721508"/>
                  <a:ext cx="956" cy="16327"/>
                </a:xfrm>
                <a:custGeom>
                  <a:avLst/>
                  <a:gdLst>
                    <a:gd name="connsiteX0" fmla="*/ 0 w 956"/>
                    <a:gd name="connsiteY0" fmla="*/ 16327 h 16327"/>
                    <a:gd name="connsiteX1" fmla="*/ 957 w 956"/>
                    <a:gd name="connsiteY1" fmla="*/ 0 h 16327"/>
                  </a:gdLst>
                  <a:ahLst/>
                  <a:cxnLst>
                    <a:cxn ang="0">
                      <a:pos x="connsiteX0" y="connsiteY0"/>
                    </a:cxn>
                    <a:cxn ang="0">
                      <a:pos x="connsiteX1" y="connsiteY1"/>
                    </a:cxn>
                  </a:cxnLst>
                  <a:rect l="l" t="t" r="r" b="b"/>
                  <a:pathLst>
                    <a:path w="956" h="16327">
                      <a:moveTo>
                        <a:pt x="0" y="16327"/>
                      </a:moveTo>
                      <a:lnTo>
                        <a:pt x="957" y="0"/>
                      </a:lnTo>
                    </a:path>
                  </a:pathLst>
                </a:custGeom>
                <a:ln w="6350" cap="rnd">
                  <a:solidFill>
                    <a:schemeClr val="bg1">
                      <a:alpha val="40000"/>
                    </a:schemeClr>
                  </a:solidFill>
                  <a:prstDash val="solid"/>
                  <a:round/>
                </a:ln>
              </p:spPr>
              <p:txBody>
                <a:bodyPr rtlCol="0" anchor="ctr"/>
                <a:lstStyle/>
                <a:p>
                  <a:endParaRPr lang="en-GB"/>
                </a:p>
              </p:txBody>
            </p:sp>
            <p:sp>
              <p:nvSpPr>
                <p:cNvPr id="5972" name="Vrije vorm: vorm 5971">
                  <a:extLst>
                    <a:ext uri="{FF2B5EF4-FFF2-40B4-BE49-F238E27FC236}">
                      <a16:creationId xmlns:a16="http://schemas.microsoft.com/office/drawing/2014/main" id="{01B23BD5-588C-463D-905D-BDAC188FC6C1}"/>
                    </a:ext>
                  </a:extLst>
                </p:cNvPr>
                <p:cNvSpPr/>
                <p:nvPr/>
              </p:nvSpPr>
              <p:spPr>
                <a:xfrm>
                  <a:off x="7773702" y="2757751"/>
                  <a:ext cx="7894" cy="6638"/>
                </a:xfrm>
                <a:custGeom>
                  <a:avLst/>
                  <a:gdLst>
                    <a:gd name="connsiteX0" fmla="*/ 0 w 7894"/>
                    <a:gd name="connsiteY0" fmla="*/ 0 h 6638"/>
                    <a:gd name="connsiteX1" fmla="*/ 7895 w 7894"/>
                    <a:gd name="connsiteY1" fmla="*/ 6639 h 6638"/>
                  </a:gdLst>
                  <a:ahLst/>
                  <a:cxnLst>
                    <a:cxn ang="0">
                      <a:pos x="connsiteX0" y="connsiteY0"/>
                    </a:cxn>
                    <a:cxn ang="0">
                      <a:pos x="connsiteX1" y="connsiteY1"/>
                    </a:cxn>
                  </a:cxnLst>
                  <a:rect l="l" t="t" r="r" b="b"/>
                  <a:pathLst>
                    <a:path w="7894" h="6638">
                      <a:moveTo>
                        <a:pt x="0" y="0"/>
                      </a:moveTo>
                      <a:lnTo>
                        <a:pt x="7895" y="6639"/>
                      </a:lnTo>
                    </a:path>
                  </a:pathLst>
                </a:custGeom>
                <a:ln w="6350" cap="rnd">
                  <a:solidFill>
                    <a:schemeClr val="bg1">
                      <a:alpha val="40000"/>
                    </a:schemeClr>
                  </a:solidFill>
                  <a:prstDash val="solid"/>
                  <a:round/>
                </a:ln>
              </p:spPr>
              <p:txBody>
                <a:bodyPr rtlCol="0" anchor="ctr"/>
                <a:lstStyle/>
                <a:p>
                  <a:endParaRPr lang="en-GB"/>
                </a:p>
              </p:txBody>
            </p:sp>
            <p:sp>
              <p:nvSpPr>
                <p:cNvPr id="5973" name="Vrije vorm: vorm 5972">
                  <a:extLst>
                    <a:ext uri="{FF2B5EF4-FFF2-40B4-BE49-F238E27FC236}">
                      <a16:creationId xmlns:a16="http://schemas.microsoft.com/office/drawing/2014/main" id="{CF947530-CE20-4DC5-9C52-0F1EDDE85674}"/>
                    </a:ext>
                  </a:extLst>
                </p:cNvPr>
                <p:cNvSpPr/>
                <p:nvPr/>
              </p:nvSpPr>
              <p:spPr>
                <a:xfrm>
                  <a:off x="7552356" y="2691724"/>
                  <a:ext cx="20573" cy="2810"/>
                </a:xfrm>
                <a:custGeom>
                  <a:avLst/>
                  <a:gdLst>
                    <a:gd name="connsiteX0" fmla="*/ 0 w 20573"/>
                    <a:gd name="connsiteY0" fmla="*/ 2811 h 2810"/>
                    <a:gd name="connsiteX1" fmla="*/ 20574 w 20573"/>
                    <a:gd name="connsiteY1" fmla="*/ 0 h 2810"/>
                  </a:gdLst>
                  <a:ahLst/>
                  <a:cxnLst>
                    <a:cxn ang="0">
                      <a:pos x="connsiteX0" y="connsiteY0"/>
                    </a:cxn>
                    <a:cxn ang="0">
                      <a:pos x="connsiteX1" y="connsiteY1"/>
                    </a:cxn>
                  </a:cxnLst>
                  <a:rect l="l" t="t" r="r" b="b"/>
                  <a:pathLst>
                    <a:path w="20573" h="2810">
                      <a:moveTo>
                        <a:pt x="0" y="2811"/>
                      </a:moveTo>
                      <a:lnTo>
                        <a:pt x="20574" y="0"/>
                      </a:lnTo>
                    </a:path>
                  </a:pathLst>
                </a:custGeom>
                <a:ln w="6350" cap="rnd">
                  <a:solidFill>
                    <a:schemeClr val="bg1">
                      <a:alpha val="40000"/>
                    </a:schemeClr>
                  </a:solidFill>
                  <a:prstDash val="solid"/>
                  <a:round/>
                </a:ln>
              </p:spPr>
              <p:txBody>
                <a:bodyPr rtlCol="0" anchor="ctr"/>
                <a:lstStyle/>
                <a:p>
                  <a:endParaRPr lang="en-GB"/>
                </a:p>
              </p:txBody>
            </p:sp>
            <p:sp>
              <p:nvSpPr>
                <p:cNvPr id="5974" name="Vrije vorm: vorm 5973">
                  <a:extLst>
                    <a:ext uri="{FF2B5EF4-FFF2-40B4-BE49-F238E27FC236}">
                      <a16:creationId xmlns:a16="http://schemas.microsoft.com/office/drawing/2014/main" id="{4842AE30-9628-4E42-96C2-04960637586D}"/>
                    </a:ext>
                  </a:extLst>
                </p:cNvPr>
                <p:cNvSpPr/>
                <p:nvPr/>
              </p:nvSpPr>
              <p:spPr>
                <a:xfrm>
                  <a:off x="7552356" y="2678506"/>
                  <a:ext cx="20693" cy="16028"/>
                </a:xfrm>
                <a:custGeom>
                  <a:avLst/>
                  <a:gdLst>
                    <a:gd name="connsiteX0" fmla="*/ 0 w 20693"/>
                    <a:gd name="connsiteY0" fmla="*/ 16028 h 16028"/>
                    <a:gd name="connsiteX1" fmla="*/ 20694 w 20693"/>
                    <a:gd name="connsiteY1" fmla="*/ 0 h 16028"/>
                  </a:gdLst>
                  <a:ahLst/>
                  <a:cxnLst>
                    <a:cxn ang="0">
                      <a:pos x="connsiteX0" y="connsiteY0"/>
                    </a:cxn>
                    <a:cxn ang="0">
                      <a:pos x="connsiteX1" y="connsiteY1"/>
                    </a:cxn>
                  </a:cxnLst>
                  <a:rect l="l" t="t" r="r" b="b"/>
                  <a:pathLst>
                    <a:path w="20693" h="16028">
                      <a:moveTo>
                        <a:pt x="0" y="16028"/>
                      </a:moveTo>
                      <a:lnTo>
                        <a:pt x="20694" y="0"/>
                      </a:lnTo>
                    </a:path>
                  </a:pathLst>
                </a:custGeom>
                <a:ln w="6350" cap="rnd">
                  <a:solidFill>
                    <a:schemeClr val="bg1">
                      <a:alpha val="40000"/>
                    </a:schemeClr>
                  </a:solidFill>
                  <a:prstDash val="solid"/>
                  <a:round/>
                </a:ln>
              </p:spPr>
              <p:txBody>
                <a:bodyPr rtlCol="0" anchor="ctr"/>
                <a:lstStyle/>
                <a:p>
                  <a:endParaRPr lang="en-GB"/>
                </a:p>
              </p:txBody>
            </p:sp>
            <p:sp>
              <p:nvSpPr>
                <p:cNvPr id="5975" name="Vrije vorm: vorm 5974">
                  <a:extLst>
                    <a:ext uri="{FF2B5EF4-FFF2-40B4-BE49-F238E27FC236}">
                      <a16:creationId xmlns:a16="http://schemas.microsoft.com/office/drawing/2014/main" id="{9A45BBB5-5131-46D0-83C5-11FB15294400}"/>
                    </a:ext>
                  </a:extLst>
                </p:cNvPr>
                <p:cNvSpPr/>
                <p:nvPr/>
              </p:nvSpPr>
              <p:spPr>
                <a:xfrm>
                  <a:off x="7552356" y="2694535"/>
                  <a:ext cx="8911" cy="4545"/>
                </a:xfrm>
                <a:custGeom>
                  <a:avLst/>
                  <a:gdLst>
                    <a:gd name="connsiteX0" fmla="*/ 0 w 8911"/>
                    <a:gd name="connsiteY0" fmla="*/ 0 h 4545"/>
                    <a:gd name="connsiteX1" fmla="*/ 8911 w 8911"/>
                    <a:gd name="connsiteY1" fmla="*/ 4545 h 4545"/>
                  </a:gdLst>
                  <a:ahLst/>
                  <a:cxnLst>
                    <a:cxn ang="0">
                      <a:pos x="connsiteX0" y="connsiteY0"/>
                    </a:cxn>
                    <a:cxn ang="0">
                      <a:pos x="connsiteX1" y="connsiteY1"/>
                    </a:cxn>
                  </a:cxnLst>
                  <a:rect l="l" t="t" r="r" b="b"/>
                  <a:pathLst>
                    <a:path w="8911" h="4545">
                      <a:moveTo>
                        <a:pt x="0" y="0"/>
                      </a:moveTo>
                      <a:lnTo>
                        <a:pt x="8911" y="4545"/>
                      </a:lnTo>
                    </a:path>
                  </a:pathLst>
                </a:custGeom>
                <a:ln w="6350" cap="rnd">
                  <a:solidFill>
                    <a:schemeClr val="bg1">
                      <a:alpha val="40000"/>
                    </a:schemeClr>
                  </a:solidFill>
                  <a:prstDash val="solid"/>
                  <a:round/>
                </a:ln>
              </p:spPr>
              <p:txBody>
                <a:bodyPr rtlCol="0" anchor="ctr"/>
                <a:lstStyle/>
                <a:p>
                  <a:endParaRPr lang="en-GB"/>
                </a:p>
              </p:txBody>
            </p:sp>
            <p:sp>
              <p:nvSpPr>
                <p:cNvPr id="5976" name="Vrije vorm: vorm 5975">
                  <a:extLst>
                    <a:ext uri="{FF2B5EF4-FFF2-40B4-BE49-F238E27FC236}">
                      <a16:creationId xmlns:a16="http://schemas.microsoft.com/office/drawing/2014/main" id="{B815EC82-CF8C-42D9-8F16-1FAF81D05D66}"/>
                    </a:ext>
                  </a:extLst>
                </p:cNvPr>
                <p:cNvSpPr/>
                <p:nvPr/>
              </p:nvSpPr>
              <p:spPr>
                <a:xfrm>
                  <a:off x="7535012" y="2694535"/>
                  <a:ext cx="17344" cy="5801"/>
                </a:xfrm>
                <a:custGeom>
                  <a:avLst/>
                  <a:gdLst>
                    <a:gd name="connsiteX0" fmla="*/ 17344 w 17344"/>
                    <a:gd name="connsiteY0" fmla="*/ 0 h 5801"/>
                    <a:gd name="connsiteX1" fmla="*/ 0 w 17344"/>
                    <a:gd name="connsiteY1" fmla="*/ 5801 h 5801"/>
                  </a:gdLst>
                  <a:ahLst/>
                  <a:cxnLst>
                    <a:cxn ang="0">
                      <a:pos x="connsiteX0" y="connsiteY0"/>
                    </a:cxn>
                    <a:cxn ang="0">
                      <a:pos x="connsiteX1" y="connsiteY1"/>
                    </a:cxn>
                  </a:cxnLst>
                  <a:rect l="l" t="t" r="r" b="b"/>
                  <a:pathLst>
                    <a:path w="17344" h="5801">
                      <a:moveTo>
                        <a:pt x="17344" y="0"/>
                      </a:moveTo>
                      <a:lnTo>
                        <a:pt x="0" y="5801"/>
                      </a:lnTo>
                    </a:path>
                  </a:pathLst>
                </a:custGeom>
                <a:ln w="6350" cap="rnd">
                  <a:solidFill>
                    <a:schemeClr val="bg1">
                      <a:alpha val="40000"/>
                    </a:schemeClr>
                  </a:solidFill>
                  <a:prstDash val="solid"/>
                  <a:round/>
                </a:ln>
              </p:spPr>
              <p:txBody>
                <a:bodyPr rtlCol="0" anchor="ctr"/>
                <a:lstStyle/>
                <a:p>
                  <a:endParaRPr lang="en-GB"/>
                </a:p>
              </p:txBody>
            </p:sp>
            <p:sp>
              <p:nvSpPr>
                <p:cNvPr id="5977" name="Vrije vorm: vorm 5976">
                  <a:extLst>
                    <a:ext uri="{FF2B5EF4-FFF2-40B4-BE49-F238E27FC236}">
                      <a16:creationId xmlns:a16="http://schemas.microsoft.com/office/drawing/2014/main" id="{A0AFEDD7-B2F7-425D-86CE-CE9F618D29A9}"/>
                    </a:ext>
                  </a:extLst>
                </p:cNvPr>
                <p:cNvSpPr/>
                <p:nvPr/>
              </p:nvSpPr>
              <p:spPr>
                <a:xfrm>
                  <a:off x="7548468" y="2687178"/>
                  <a:ext cx="3887" cy="7356"/>
                </a:xfrm>
                <a:custGeom>
                  <a:avLst/>
                  <a:gdLst>
                    <a:gd name="connsiteX0" fmla="*/ 3887 w 3887"/>
                    <a:gd name="connsiteY0" fmla="*/ 7356 h 7356"/>
                    <a:gd name="connsiteX1" fmla="*/ 0 w 3887"/>
                    <a:gd name="connsiteY1" fmla="*/ 0 h 7356"/>
                  </a:gdLst>
                  <a:ahLst/>
                  <a:cxnLst>
                    <a:cxn ang="0">
                      <a:pos x="connsiteX0" y="connsiteY0"/>
                    </a:cxn>
                    <a:cxn ang="0">
                      <a:pos x="connsiteX1" y="connsiteY1"/>
                    </a:cxn>
                  </a:cxnLst>
                  <a:rect l="l" t="t" r="r" b="b"/>
                  <a:pathLst>
                    <a:path w="3887" h="7356">
                      <a:moveTo>
                        <a:pt x="3887" y="735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78" name="Vrije vorm: vorm 5977">
                  <a:extLst>
                    <a:ext uri="{FF2B5EF4-FFF2-40B4-BE49-F238E27FC236}">
                      <a16:creationId xmlns:a16="http://schemas.microsoft.com/office/drawing/2014/main" id="{24165D79-2DAF-42D4-95B1-DF5044FE02D6}"/>
                    </a:ext>
                  </a:extLst>
                </p:cNvPr>
                <p:cNvSpPr/>
                <p:nvPr/>
              </p:nvSpPr>
              <p:spPr>
                <a:xfrm>
                  <a:off x="7596613" y="2721508"/>
                  <a:ext cx="8073" cy="9927"/>
                </a:xfrm>
                <a:custGeom>
                  <a:avLst/>
                  <a:gdLst>
                    <a:gd name="connsiteX0" fmla="*/ 8074 w 8073"/>
                    <a:gd name="connsiteY0" fmla="*/ 9928 h 9927"/>
                    <a:gd name="connsiteX1" fmla="*/ 0 w 8073"/>
                    <a:gd name="connsiteY1" fmla="*/ 0 h 9927"/>
                  </a:gdLst>
                  <a:ahLst/>
                  <a:cxnLst>
                    <a:cxn ang="0">
                      <a:pos x="connsiteX0" y="connsiteY0"/>
                    </a:cxn>
                    <a:cxn ang="0">
                      <a:pos x="connsiteX1" y="connsiteY1"/>
                    </a:cxn>
                  </a:cxnLst>
                  <a:rect l="l" t="t" r="r" b="b"/>
                  <a:pathLst>
                    <a:path w="8073" h="9927">
                      <a:moveTo>
                        <a:pt x="8074" y="992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79" name="Vrije vorm: vorm 5978">
                  <a:extLst>
                    <a:ext uri="{FF2B5EF4-FFF2-40B4-BE49-F238E27FC236}">
                      <a16:creationId xmlns:a16="http://schemas.microsoft.com/office/drawing/2014/main" id="{00D1121E-7CDE-456D-89E6-6384AD230466}"/>
                    </a:ext>
                  </a:extLst>
                </p:cNvPr>
                <p:cNvSpPr/>
                <p:nvPr/>
              </p:nvSpPr>
              <p:spPr>
                <a:xfrm>
                  <a:off x="7573049" y="2667502"/>
                  <a:ext cx="16985" cy="11004"/>
                </a:xfrm>
                <a:custGeom>
                  <a:avLst/>
                  <a:gdLst>
                    <a:gd name="connsiteX0" fmla="*/ 16985 w 16985"/>
                    <a:gd name="connsiteY0" fmla="*/ 0 h 11004"/>
                    <a:gd name="connsiteX1" fmla="*/ 0 w 16985"/>
                    <a:gd name="connsiteY1" fmla="*/ 11004 h 11004"/>
                  </a:gdLst>
                  <a:ahLst/>
                  <a:cxnLst>
                    <a:cxn ang="0">
                      <a:pos x="connsiteX0" y="connsiteY0"/>
                    </a:cxn>
                    <a:cxn ang="0">
                      <a:pos x="connsiteX1" y="connsiteY1"/>
                    </a:cxn>
                  </a:cxnLst>
                  <a:rect l="l" t="t" r="r" b="b"/>
                  <a:pathLst>
                    <a:path w="16985" h="11004">
                      <a:moveTo>
                        <a:pt x="16985" y="0"/>
                      </a:moveTo>
                      <a:lnTo>
                        <a:pt x="0" y="11004"/>
                      </a:lnTo>
                    </a:path>
                  </a:pathLst>
                </a:custGeom>
                <a:ln w="6350" cap="rnd">
                  <a:solidFill>
                    <a:schemeClr val="bg1">
                      <a:alpha val="40000"/>
                    </a:schemeClr>
                  </a:solidFill>
                  <a:prstDash val="solid"/>
                  <a:round/>
                </a:ln>
              </p:spPr>
              <p:txBody>
                <a:bodyPr rtlCol="0" anchor="ctr"/>
                <a:lstStyle/>
                <a:p>
                  <a:endParaRPr lang="en-GB"/>
                </a:p>
              </p:txBody>
            </p:sp>
            <p:sp>
              <p:nvSpPr>
                <p:cNvPr id="5980" name="Vrije vorm: vorm 5979">
                  <a:extLst>
                    <a:ext uri="{FF2B5EF4-FFF2-40B4-BE49-F238E27FC236}">
                      <a16:creationId xmlns:a16="http://schemas.microsoft.com/office/drawing/2014/main" id="{0BD3D3B5-CE87-46C8-8B3F-4D4436560E0B}"/>
                    </a:ext>
                  </a:extLst>
                </p:cNvPr>
                <p:cNvSpPr/>
                <p:nvPr/>
              </p:nvSpPr>
              <p:spPr>
                <a:xfrm>
                  <a:off x="7586625" y="2656856"/>
                  <a:ext cx="3409" cy="10645"/>
                </a:xfrm>
                <a:custGeom>
                  <a:avLst/>
                  <a:gdLst>
                    <a:gd name="connsiteX0" fmla="*/ 3409 w 3409"/>
                    <a:gd name="connsiteY0" fmla="*/ 10646 h 10645"/>
                    <a:gd name="connsiteX1" fmla="*/ 0 w 3409"/>
                    <a:gd name="connsiteY1" fmla="*/ 0 h 10645"/>
                  </a:gdLst>
                  <a:ahLst/>
                  <a:cxnLst>
                    <a:cxn ang="0">
                      <a:pos x="connsiteX0" y="connsiteY0"/>
                    </a:cxn>
                    <a:cxn ang="0">
                      <a:pos x="connsiteX1" y="connsiteY1"/>
                    </a:cxn>
                  </a:cxnLst>
                  <a:rect l="l" t="t" r="r" b="b"/>
                  <a:pathLst>
                    <a:path w="3409" h="10645">
                      <a:moveTo>
                        <a:pt x="3409" y="1064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81" name="Vrije vorm: vorm 5980">
                  <a:extLst>
                    <a:ext uri="{FF2B5EF4-FFF2-40B4-BE49-F238E27FC236}">
                      <a16:creationId xmlns:a16="http://schemas.microsoft.com/office/drawing/2014/main" id="{83D33BDF-CB0E-4064-9EC0-CCFD8207025A}"/>
                    </a:ext>
                  </a:extLst>
                </p:cNvPr>
                <p:cNvSpPr/>
                <p:nvPr/>
              </p:nvSpPr>
              <p:spPr>
                <a:xfrm>
                  <a:off x="7577295" y="2667502"/>
                  <a:ext cx="12738" cy="837"/>
                </a:xfrm>
                <a:custGeom>
                  <a:avLst/>
                  <a:gdLst>
                    <a:gd name="connsiteX0" fmla="*/ 12739 w 12738"/>
                    <a:gd name="connsiteY0" fmla="*/ 0 h 837"/>
                    <a:gd name="connsiteX1" fmla="*/ 0 w 12738"/>
                    <a:gd name="connsiteY1" fmla="*/ 837 h 837"/>
                  </a:gdLst>
                  <a:ahLst/>
                  <a:cxnLst>
                    <a:cxn ang="0">
                      <a:pos x="connsiteX0" y="connsiteY0"/>
                    </a:cxn>
                    <a:cxn ang="0">
                      <a:pos x="connsiteX1" y="connsiteY1"/>
                    </a:cxn>
                  </a:cxnLst>
                  <a:rect l="l" t="t" r="r" b="b"/>
                  <a:pathLst>
                    <a:path w="12738" h="837">
                      <a:moveTo>
                        <a:pt x="12739" y="0"/>
                      </a:moveTo>
                      <a:lnTo>
                        <a:pt x="0" y="837"/>
                      </a:lnTo>
                    </a:path>
                  </a:pathLst>
                </a:custGeom>
                <a:ln w="6350" cap="rnd">
                  <a:solidFill>
                    <a:schemeClr val="bg1">
                      <a:alpha val="40000"/>
                    </a:schemeClr>
                  </a:solidFill>
                  <a:prstDash val="solid"/>
                  <a:round/>
                </a:ln>
              </p:spPr>
              <p:txBody>
                <a:bodyPr rtlCol="0" anchor="ctr"/>
                <a:lstStyle/>
                <a:p>
                  <a:endParaRPr lang="en-GB"/>
                </a:p>
              </p:txBody>
            </p:sp>
            <p:sp>
              <p:nvSpPr>
                <p:cNvPr id="5982" name="Vrije vorm: vorm 5981">
                  <a:extLst>
                    <a:ext uri="{FF2B5EF4-FFF2-40B4-BE49-F238E27FC236}">
                      <a16:creationId xmlns:a16="http://schemas.microsoft.com/office/drawing/2014/main" id="{DBAA8B60-1C81-4987-80C3-54AEC5BAE318}"/>
                    </a:ext>
                  </a:extLst>
                </p:cNvPr>
                <p:cNvSpPr/>
                <p:nvPr/>
              </p:nvSpPr>
              <p:spPr>
                <a:xfrm>
                  <a:off x="7572929" y="2691724"/>
                  <a:ext cx="10406" cy="9270"/>
                </a:xfrm>
                <a:custGeom>
                  <a:avLst/>
                  <a:gdLst>
                    <a:gd name="connsiteX0" fmla="*/ 10407 w 10406"/>
                    <a:gd name="connsiteY0" fmla="*/ 9270 h 9270"/>
                    <a:gd name="connsiteX1" fmla="*/ 0 w 10406"/>
                    <a:gd name="connsiteY1" fmla="*/ 0 h 9270"/>
                  </a:gdLst>
                  <a:ahLst/>
                  <a:cxnLst>
                    <a:cxn ang="0">
                      <a:pos x="connsiteX0" y="connsiteY0"/>
                    </a:cxn>
                    <a:cxn ang="0">
                      <a:pos x="connsiteX1" y="connsiteY1"/>
                    </a:cxn>
                  </a:cxnLst>
                  <a:rect l="l" t="t" r="r" b="b"/>
                  <a:pathLst>
                    <a:path w="10406" h="9270">
                      <a:moveTo>
                        <a:pt x="10407" y="927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83" name="Vrije vorm: vorm 5982">
                  <a:extLst>
                    <a:ext uri="{FF2B5EF4-FFF2-40B4-BE49-F238E27FC236}">
                      <a16:creationId xmlns:a16="http://schemas.microsoft.com/office/drawing/2014/main" id="{AD3730BE-92CF-4E4F-ACCA-5D7B2A65371F}"/>
                    </a:ext>
                  </a:extLst>
                </p:cNvPr>
                <p:cNvSpPr/>
                <p:nvPr/>
              </p:nvSpPr>
              <p:spPr>
                <a:xfrm>
                  <a:off x="7565214" y="2699439"/>
                  <a:ext cx="18121" cy="1554"/>
                </a:xfrm>
                <a:custGeom>
                  <a:avLst/>
                  <a:gdLst>
                    <a:gd name="connsiteX0" fmla="*/ 18122 w 18121"/>
                    <a:gd name="connsiteY0" fmla="*/ 1555 h 1554"/>
                    <a:gd name="connsiteX1" fmla="*/ 0 w 18121"/>
                    <a:gd name="connsiteY1" fmla="*/ 0 h 1554"/>
                  </a:gdLst>
                  <a:ahLst/>
                  <a:cxnLst>
                    <a:cxn ang="0">
                      <a:pos x="connsiteX0" y="connsiteY0"/>
                    </a:cxn>
                    <a:cxn ang="0">
                      <a:pos x="connsiteX1" y="connsiteY1"/>
                    </a:cxn>
                  </a:cxnLst>
                  <a:rect l="l" t="t" r="r" b="b"/>
                  <a:pathLst>
                    <a:path w="18121" h="1554">
                      <a:moveTo>
                        <a:pt x="18122" y="1555"/>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84" name="Vrije vorm: vorm 5983">
                  <a:extLst>
                    <a:ext uri="{FF2B5EF4-FFF2-40B4-BE49-F238E27FC236}">
                      <a16:creationId xmlns:a16="http://schemas.microsoft.com/office/drawing/2014/main" id="{734F068F-17A8-4022-92F4-D249C79B0E2A}"/>
                    </a:ext>
                  </a:extLst>
                </p:cNvPr>
                <p:cNvSpPr/>
                <p:nvPr/>
              </p:nvSpPr>
              <p:spPr>
                <a:xfrm>
                  <a:off x="7583336" y="2684666"/>
                  <a:ext cx="9509" cy="16327"/>
                </a:xfrm>
                <a:custGeom>
                  <a:avLst/>
                  <a:gdLst>
                    <a:gd name="connsiteX0" fmla="*/ 0 w 9509"/>
                    <a:gd name="connsiteY0" fmla="*/ 16327 h 16327"/>
                    <a:gd name="connsiteX1" fmla="*/ 9509 w 9509"/>
                    <a:gd name="connsiteY1" fmla="*/ 0 h 16327"/>
                  </a:gdLst>
                  <a:ahLst/>
                  <a:cxnLst>
                    <a:cxn ang="0">
                      <a:pos x="connsiteX0" y="connsiteY0"/>
                    </a:cxn>
                    <a:cxn ang="0">
                      <a:pos x="connsiteX1" y="connsiteY1"/>
                    </a:cxn>
                  </a:cxnLst>
                  <a:rect l="l" t="t" r="r" b="b"/>
                  <a:pathLst>
                    <a:path w="9509" h="16327">
                      <a:moveTo>
                        <a:pt x="0" y="16327"/>
                      </a:moveTo>
                      <a:lnTo>
                        <a:pt x="9509" y="0"/>
                      </a:lnTo>
                    </a:path>
                  </a:pathLst>
                </a:custGeom>
                <a:ln w="6350" cap="rnd">
                  <a:solidFill>
                    <a:schemeClr val="bg1">
                      <a:alpha val="40000"/>
                    </a:schemeClr>
                  </a:solidFill>
                  <a:prstDash val="solid"/>
                  <a:round/>
                </a:ln>
              </p:spPr>
              <p:txBody>
                <a:bodyPr rtlCol="0" anchor="ctr"/>
                <a:lstStyle/>
                <a:p>
                  <a:endParaRPr lang="en-GB"/>
                </a:p>
              </p:txBody>
            </p:sp>
            <p:sp>
              <p:nvSpPr>
                <p:cNvPr id="5985" name="Vrije vorm: vorm 5984">
                  <a:extLst>
                    <a:ext uri="{FF2B5EF4-FFF2-40B4-BE49-F238E27FC236}">
                      <a16:creationId xmlns:a16="http://schemas.microsoft.com/office/drawing/2014/main" id="{83CA014D-61B3-4018-B3BF-6D04C821DE83}"/>
                    </a:ext>
                  </a:extLst>
                </p:cNvPr>
                <p:cNvSpPr/>
                <p:nvPr/>
              </p:nvSpPr>
              <p:spPr>
                <a:xfrm>
                  <a:off x="7565633" y="2710862"/>
                  <a:ext cx="3050" cy="5562"/>
                </a:xfrm>
                <a:custGeom>
                  <a:avLst/>
                  <a:gdLst>
                    <a:gd name="connsiteX0" fmla="*/ 3051 w 3050"/>
                    <a:gd name="connsiteY0" fmla="*/ 0 h 5562"/>
                    <a:gd name="connsiteX1" fmla="*/ 0 w 3050"/>
                    <a:gd name="connsiteY1" fmla="*/ 5562 h 5562"/>
                  </a:gdLst>
                  <a:ahLst/>
                  <a:cxnLst>
                    <a:cxn ang="0">
                      <a:pos x="connsiteX0" y="connsiteY0"/>
                    </a:cxn>
                    <a:cxn ang="0">
                      <a:pos x="connsiteX1" y="connsiteY1"/>
                    </a:cxn>
                  </a:cxnLst>
                  <a:rect l="l" t="t" r="r" b="b"/>
                  <a:pathLst>
                    <a:path w="3050" h="5562">
                      <a:moveTo>
                        <a:pt x="3051" y="0"/>
                      </a:moveTo>
                      <a:lnTo>
                        <a:pt x="0" y="5562"/>
                      </a:lnTo>
                    </a:path>
                  </a:pathLst>
                </a:custGeom>
                <a:ln w="6350" cap="rnd">
                  <a:solidFill>
                    <a:schemeClr val="bg1">
                      <a:alpha val="40000"/>
                    </a:schemeClr>
                  </a:solidFill>
                  <a:prstDash val="solid"/>
                  <a:round/>
                </a:ln>
              </p:spPr>
              <p:txBody>
                <a:bodyPr rtlCol="0" anchor="ctr"/>
                <a:lstStyle/>
                <a:p>
                  <a:endParaRPr lang="en-GB"/>
                </a:p>
              </p:txBody>
            </p:sp>
            <p:sp>
              <p:nvSpPr>
                <p:cNvPr id="5986" name="Vrije vorm: vorm 5985">
                  <a:extLst>
                    <a:ext uri="{FF2B5EF4-FFF2-40B4-BE49-F238E27FC236}">
                      <a16:creationId xmlns:a16="http://schemas.microsoft.com/office/drawing/2014/main" id="{EFFC1818-1030-493B-88ED-C1E09F02918F}"/>
                    </a:ext>
                  </a:extLst>
                </p:cNvPr>
                <p:cNvSpPr/>
                <p:nvPr/>
              </p:nvSpPr>
              <p:spPr>
                <a:xfrm>
                  <a:off x="7565633" y="2716424"/>
                  <a:ext cx="7176" cy="956"/>
                </a:xfrm>
                <a:custGeom>
                  <a:avLst/>
                  <a:gdLst>
                    <a:gd name="connsiteX0" fmla="*/ 7177 w 7176"/>
                    <a:gd name="connsiteY0" fmla="*/ 957 h 956"/>
                    <a:gd name="connsiteX1" fmla="*/ 0 w 7176"/>
                    <a:gd name="connsiteY1" fmla="*/ 0 h 956"/>
                  </a:gdLst>
                  <a:ahLst/>
                  <a:cxnLst>
                    <a:cxn ang="0">
                      <a:pos x="connsiteX0" y="connsiteY0"/>
                    </a:cxn>
                    <a:cxn ang="0">
                      <a:pos x="connsiteX1" y="connsiteY1"/>
                    </a:cxn>
                  </a:cxnLst>
                  <a:rect l="l" t="t" r="r" b="b"/>
                  <a:pathLst>
                    <a:path w="7176" h="956">
                      <a:moveTo>
                        <a:pt x="7177" y="95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87" name="Vrije vorm: vorm 5986">
                  <a:extLst>
                    <a:ext uri="{FF2B5EF4-FFF2-40B4-BE49-F238E27FC236}">
                      <a16:creationId xmlns:a16="http://schemas.microsoft.com/office/drawing/2014/main" id="{6E2184AF-1FEA-4601-90C1-EEC0770BA57E}"/>
                    </a:ext>
                  </a:extLst>
                </p:cNvPr>
                <p:cNvSpPr/>
                <p:nvPr/>
              </p:nvSpPr>
              <p:spPr>
                <a:xfrm>
                  <a:off x="7665272" y="2665588"/>
                  <a:ext cx="14353" cy="10526"/>
                </a:xfrm>
                <a:custGeom>
                  <a:avLst/>
                  <a:gdLst>
                    <a:gd name="connsiteX0" fmla="*/ 0 w 14353"/>
                    <a:gd name="connsiteY0" fmla="*/ 0 h 10526"/>
                    <a:gd name="connsiteX1" fmla="*/ 14354 w 14353"/>
                    <a:gd name="connsiteY1" fmla="*/ 10526 h 10526"/>
                  </a:gdLst>
                  <a:ahLst/>
                  <a:cxnLst>
                    <a:cxn ang="0">
                      <a:pos x="connsiteX0" y="connsiteY0"/>
                    </a:cxn>
                    <a:cxn ang="0">
                      <a:pos x="connsiteX1" y="connsiteY1"/>
                    </a:cxn>
                  </a:cxnLst>
                  <a:rect l="l" t="t" r="r" b="b"/>
                  <a:pathLst>
                    <a:path w="14353" h="10526">
                      <a:moveTo>
                        <a:pt x="0" y="0"/>
                      </a:moveTo>
                      <a:lnTo>
                        <a:pt x="14354" y="10526"/>
                      </a:lnTo>
                    </a:path>
                  </a:pathLst>
                </a:custGeom>
                <a:ln w="6350" cap="rnd">
                  <a:solidFill>
                    <a:schemeClr val="bg1">
                      <a:alpha val="40000"/>
                    </a:schemeClr>
                  </a:solidFill>
                  <a:prstDash val="solid"/>
                  <a:round/>
                </a:ln>
              </p:spPr>
              <p:txBody>
                <a:bodyPr rtlCol="0" anchor="ctr"/>
                <a:lstStyle/>
                <a:p>
                  <a:endParaRPr lang="en-GB"/>
                </a:p>
              </p:txBody>
            </p:sp>
            <p:sp>
              <p:nvSpPr>
                <p:cNvPr id="5988" name="Vrije vorm: vorm 5987">
                  <a:extLst>
                    <a:ext uri="{FF2B5EF4-FFF2-40B4-BE49-F238E27FC236}">
                      <a16:creationId xmlns:a16="http://schemas.microsoft.com/office/drawing/2014/main" id="{9253993F-2150-49DD-A0A3-C8E6A42B0304}"/>
                    </a:ext>
                  </a:extLst>
                </p:cNvPr>
                <p:cNvSpPr/>
                <p:nvPr/>
              </p:nvSpPr>
              <p:spPr>
                <a:xfrm>
                  <a:off x="7655463" y="2649141"/>
                  <a:ext cx="9808" cy="16446"/>
                </a:xfrm>
                <a:custGeom>
                  <a:avLst/>
                  <a:gdLst>
                    <a:gd name="connsiteX0" fmla="*/ 9808 w 9808"/>
                    <a:gd name="connsiteY0" fmla="*/ 16447 h 16446"/>
                    <a:gd name="connsiteX1" fmla="*/ 0 w 9808"/>
                    <a:gd name="connsiteY1" fmla="*/ 0 h 16446"/>
                  </a:gdLst>
                  <a:ahLst/>
                  <a:cxnLst>
                    <a:cxn ang="0">
                      <a:pos x="connsiteX0" y="connsiteY0"/>
                    </a:cxn>
                    <a:cxn ang="0">
                      <a:pos x="connsiteX1" y="connsiteY1"/>
                    </a:cxn>
                  </a:cxnLst>
                  <a:rect l="l" t="t" r="r" b="b"/>
                  <a:pathLst>
                    <a:path w="9808" h="16446">
                      <a:moveTo>
                        <a:pt x="9808" y="1644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89" name="Vrije vorm: vorm 5988">
                  <a:extLst>
                    <a:ext uri="{FF2B5EF4-FFF2-40B4-BE49-F238E27FC236}">
                      <a16:creationId xmlns:a16="http://schemas.microsoft.com/office/drawing/2014/main" id="{41CB165E-A64A-4B63-869E-9774F83C74DB}"/>
                    </a:ext>
                  </a:extLst>
                </p:cNvPr>
                <p:cNvSpPr/>
                <p:nvPr/>
              </p:nvSpPr>
              <p:spPr>
                <a:xfrm>
                  <a:off x="7588240" y="2691425"/>
                  <a:ext cx="8552" cy="16805"/>
                </a:xfrm>
                <a:custGeom>
                  <a:avLst/>
                  <a:gdLst>
                    <a:gd name="connsiteX0" fmla="*/ 8552 w 8552"/>
                    <a:gd name="connsiteY0" fmla="*/ 0 h 16805"/>
                    <a:gd name="connsiteX1" fmla="*/ 0 w 8552"/>
                    <a:gd name="connsiteY1" fmla="*/ 16806 h 16805"/>
                  </a:gdLst>
                  <a:ahLst/>
                  <a:cxnLst>
                    <a:cxn ang="0">
                      <a:pos x="connsiteX0" y="connsiteY0"/>
                    </a:cxn>
                    <a:cxn ang="0">
                      <a:pos x="connsiteX1" y="connsiteY1"/>
                    </a:cxn>
                  </a:cxnLst>
                  <a:rect l="l" t="t" r="r" b="b"/>
                  <a:pathLst>
                    <a:path w="8552" h="16805">
                      <a:moveTo>
                        <a:pt x="8552" y="0"/>
                      </a:moveTo>
                      <a:lnTo>
                        <a:pt x="0" y="16806"/>
                      </a:lnTo>
                    </a:path>
                  </a:pathLst>
                </a:custGeom>
                <a:ln w="6350" cap="rnd">
                  <a:solidFill>
                    <a:schemeClr val="bg1">
                      <a:alpha val="40000"/>
                    </a:schemeClr>
                  </a:solidFill>
                  <a:prstDash val="solid"/>
                  <a:round/>
                </a:ln>
              </p:spPr>
              <p:txBody>
                <a:bodyPr rtlCol="0" anchor="ctr"/>
                <a:lstStyle/>
                <a:p>
                  <a:endParaRPr lang="en-GB"/>
                </a:p>
              </p:txBody>
            </p:sp>
            <p:sp>
              <p:nvSpPr>
                <p:cNvPr id="5990" name="Vrije vorm: vorm 5989">
                  <a:extLst>
                    <a:ext uri="{FF2B5EF4-FFF2-40B4-BE49-F238E27FC236}">
                      <a16:creationId xmlns:a16="http://schemas.microsoft.com/office/drawing/2014/main" id="{56797F34-3347-45BF-832F-2A7A7ECE430E}"/>
                    </a:ext>
                  </a:extLst>
                </p:cNvPr>
                <p:cNvSpPr/>
                <p:nvPr/>
              </p:nvSpPr>
              <p:spPr>
                <a:xfrm>
                  <a:off x="7596613" y="2691425"/>
                  <a:ext cx="179" cy="30083"/>
                </a:xfrm>
                <a:custGeom>
                  <a:avLst/>
                  <a:gdLst>
                    <a:gd name="connsiteX0" fmla="*/ 179 w 179"/>
                    <a:gd name="connsiteY0" fmla="*/ 0 h 30083"/>
                    <a:gd name="connsiteX1" fmla="*/ 0 w 179"/>
                    <a:gd name="connsiteY1" fmla="*/ 30083 h 30083"/>
                  </a:gdLst>
                  <a:ahLst/>
                  <a:cxnLst>
                    <a:cxn ang="0">
                      <a:pos x="connsiteX0" y="connsiteY0"/>
                    </a:cxn>
                    <a:cxn ang="0">
                      <a:pos x="connsiteX1" y="connsiteY1"/>
                    </a:cxn>
                  </a:cxnLst>
                  <a:rect l="l" t="t" r="r" b="b"/>
                  <a:pathLst>
                    <a:path w="179" h="30083">
                      <a:moveTo>
                        <a:pt x="179" y="0"/>
                      </a:moveTo>
                      <a:lnTo>
                        <a:pt x="0" y="30083"/>
                      </a:lnTo>
                    </a:path>
                  </a:pathLst>
                </a:custGeom>
                <a:ln w="6350" cap="rnd">
                  <a:solidFill>
                    <a:schemeClr val="bg1">
                      <a:alpha val="40000"/>
                    </a:schemeClr>
                  </a:solidFill>
                  <a:prstDash val="solid"/>
                  <a:round/>
                </a:ln>
              </p:spPr>
              <p:txBody>
                <a:bodyPr rtlCol="0" anchor="ctr"/>
                <a:lstStyle/>
                <a:p>
                  <a:endParaRPr lang="en-GB"/>
                </a:p>
              </p:txBody>
            </p:sp>
            <p:sp>
              <p:nvSpPr>
                <p:cNvPr id="5991" name="Vrije vorm: vorm 5990">
                  <a:extLst>
                    <a:ext uri="{FF2B5EF4-FFF2-40B4-BE49-F238E27FC236}">
                      <a16:creationId xmlns:a16="http://schemas.microsoft.com/office/drawing/2014/main" id="{E34EF417-9762-4C57-8DF7-566B8FC965C2}"/>
                    </a:ext>
                  </a:extLst>
                </p:cNvPr>
                <p:cNvSpPr/>
                <p:nvPr/>
              </p:nvSpPr>
              <p:spPr>
                <a:xfrm>
                  <a:off x="7621672" y="2630062"/>
                  <a:ext cx="8253" cy="4365"/>
                </a:xfrm>
                <a:custGeom>
                  <a:avLst/>
                  <a:gdLst>
                    <a:gd name="connsiteX0" fmla="*/ 0 w 8253"/>
                    <a:gd name="connsiteY0" fmla="*/ 0 h 4365"/>
                    <a:gd name="connsiteX1" fmla="*/ 8254 w 8253"/>
                    <a:gd name="connsiteY1" fmla="*/ 4366 h 4365"/>
                  </a:gdLst>
                  <a:ahLst/>
                  <a:cxnLst>
                    <a:cxn ang="0">
                      <a:pos x="connsiteX0" y="connsiteY0"/>
                    </a:cxn>
                    <a:cxn ang="0">
                      <a:pos x="connsiteX1" y="connsiteY1"/>
                    </a:cxn>
                  </a:cxnLst>
                  <a:rect l="l" t="t" r="r" b="b"/>
                  <a:pathLst>
                    <a:path w="8253" h="4365">
                      <a:moveTo>
                        <a:pt x="0" y="0"/>
                      </a:moveTo>
                      <a:lnTo>
                        <a:pt x="8254" y="4366"/>
                      </a:lnTo>
                    </a:path>
                  </a:pathLst>
                </a:custGeom>
                <a:ln w="6350" cap="rnd">
                  <a:solidFill>
                    <a:schemeClr val="bg1">
                      <a:alpha val="40000"/>
                    </a:schemeClr>
                  </a:solidFill>
                  <a:prstDash val="solid"/>
                  <a:round/>
                </a:ln>
              </p:spPr>
              <p:txBody>
                <a:bodyPr rtlCol="0" anchor="ctr"/>
                <a:lstStyle/>
                <a:p>
                  <a:endParaRPr lang="en-GB"/>
                </a:p>
              </p:txBody>
            </p:sp>
            <p:sp>
              <p:nvSpPr>
                <p:cNvPr id="5992" name="Vrije vorm: vorm 5991">
                  <a:extLst>
                    <a:ext uri="{FF2B5EF4-FFF2-40B4-BE49-F238E27FC236}">
                      <a16:creationId xmlns:a16="http://schemas.microsoft.com/office/drawing/2014/main" id="{67FACB21-7828-4C3B-B2EB-316F37AAB224}"/>
                    </a:ext>
                  </a:extLst>
                </p:cNvPr>
                <p:cNvSpPr/>
                <p:nvPr/>
              </p:nvSpPr>
              <p:spPr>
                <a:xfrm>
                  <a:off x="7516711" y="2719534"/>
                  <a:ext cx="2631" cy="4126"/>
                </a:xfrm>
                <a:custGeom>
                  <a:avLst/>
                  <a:gdLst>
                    <a:gd name="connsiteX0" fmla="*/ 2632 w 2631"/>
                    <a:gd name="connsiteY0" fmla="*/ 4127 h 4126"/>
                    <a:gd name="connsiteX1" fmla="*/ 0 w 2631"/>
                    <a:gd name="connsiteY1" fmla="*/ 0 h 4126"/>
                  </a:gdLst>
                  <a:ahLst/>
                  <a:cxnLst>
                    <a:cxn ang="0">
                      <a:pos x="connsiteX0" y="connsiteY0"/>
                    </a:cxn>
                    <a:cxn ang="0">
                      <a:pos x="connsiteX1" y="connsiteY1"/>
                    </a:cxn>
                  </a:cxnLst>
                  <a:rect l="l" t="t" r="r" b="b"/>
                  <a:pathLst>
                    <a:path w="2631" h="4126">
                      <a:moveTo>
                        <a:pt x="2632" y="412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93" name="Vrije vorm: vorm 5992">
                  <a:extLst>
                    <a:ext uri="{FF2B5EF4-FFF2-40B4-BE49-F238E27FC236}">
                      <a16:creationId xmlns:a16="http://schemas.microsoft.com/office/drawing/2014/main" id="{4C31A517-CEDA-406A-B521-C5F803330213}"/>
                    </a:ext>
                  </a:extLst>
                </p:cNvPr>
                <p:cNvSpPr/>
                <p:nvPr/>
              </p:nvSpPr>
              <p:spPr>
                <a:xfrm>
                  <a:off x="7519342" y="2706974"/>
                  <a:ext cx="18958" cy="16686"/>
                </a:xfrm>
                <a:custGeom>
                  <a:avLst/>
                  <a:gdLst>
                    <a:gd name="connsiteX0" fmla="*/ 0 w 18958"/>
                    <a:gd name="connsiteY0" fmla="*/ 16686 h 16686"/>
                    <a:gd name="connsiteX1" fmla="*/ 18959 w 18958"/>
                    <a:gd name="connsiteY1" fmla="*/ 0 h 16686"/>
                  </a:gdLst>
                  <a:ahLst/>
                  <a:cxnLst>
                    <a:cxn ang="0">
                      <a:pos x="connsiteX0" y="connsiteY0"/>
                    </a:cxn>
                    <a:cxn ang="0">
                      <a:pos x="connsiteX1" y="connsiteY1"/>
                    </a:cxn>
                  </a:cxnLst>
                  <a:rect l="l" t="t" r="r" b="b"/>
                  <a:pathLst>
                    <a:path w="18958" h="16686">
                      <a:moveTo>
                        <a:pt x="0" y="16686"/>
                      </a:moveTo>
                      <a:lnTo>
                        <a:pt x="18959" y="0"/>
                      </a:lnTo>
                    </a:path>
                  </a:pathLst>
                </a:custGeom>
                <a:ln w="6350" cap="rnd">
                  <a:solidFill>
                    <a:schemeClr val="bg1">
                      <a:alpha val="40000"/>
                    </a:schemeClr>
                  </a:solidFill>
                  <a:prstDash val="solid"/>
                  <a:round/>
                </a:ln>
              </p:spPr>
              <p:txBody>
                <a:bodyPr rtlCol="0" anchor="ctr"/>
                <a:lstStyle/>
                <a:p>
                  <a:endParaRPr lang="en-GB"/>
                </a:p>
              </p:txBody>
            </p:sp>
            <p:sp>
              <p:nvSpPr>
                <p:cNvPr id="5994" name="Vrije vorm: vorm 5993">
                  <a:extLst>
                    <a:ext uri="{FF2B5EF4-FFF2-40B4-BE49-F238E27FC236}">
                      <a16:creationId xmlns:a16="http://schemas.microsoft.com/office/drawing/2014/main" id="{43D42001-2A71-4224-BCEE-BA838CCB5168}"/>
                    </a:ext>
                  </a:extLst>
                </p:cNvPr>
                <p:cNvSpPr/>
                <p:nvPr/>
              </p:nvSpPr>
              <p:spPr>
                <a:xfrm>
                  <a:off x="7720952" y="2745251"/>
                  <a:ext cx="24879" cy="6877"/>
                </a:xfrm>
                <a:custGeom>
                  <a:avLst/>
                  <a:gdLst>
                    <a:gd name="connsiteX0" fmla="*/ 24880 w 24879"/>
                    <a:gd name="connsiteY0" fmla="*/ 6878 h 6877"/>
                    <a:gd name="connsiteX1" fmla="*/ 0 w 24879"/>
                    <a:gd name="connsiteY1" fmla="*/ 0 h 6877"/>
                  </a:gdLst>
                  <a:ahLst/>
                  <a:cxnLst>
                    <a:cxn ang="0">
                      <a:pos x="connsiteX0" y="connsiteY0"/>
                    </a:cxn>
                    <a:cxn ang="0">
                      <a:pos x="connsiteX1" y="connsiteY1"/>
                    </a:cxn>
                  </a:cxnLst>
                  <a:rect l="l" t="t" r="r" b="b"/>
                  <a:pathLst>
                    <a:path w="24879" h="6877">
                      <a:moveTo>
                        <a:pt x="24880" y="687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95" name="Vrije vorm: vorm 5994">
                  <a:extLst>
                    <a:ext uri="{FF2B5EF4-FFF2-40B4-BE49-F238E27FC236}">
                      <a16:creationId xmlns:a16="http://schemas.microsoft.com/office/drawing/2014/main" id="{614543FC-A418-4290-80C2-465E4B1B8AFC}"/>
                    </a:ext>
                  </a:extLst>
                </p:cNvPr>
                <p:cNvSpPr/>
                <p:nvPr/>
              </p:nvSpPr>
              <p:spPr>
                <a:xfrm>
                  <a:off x="7731119" y="2740586"/>
                  <a:ext cx="14712" cy="11542"/>
                </a:xfrm>
                <a:custGeom>
                  <a:avLst/>
                  <a:gdLst>
                    <a:gd name="connsiteX0" fmla="*/ 14713 w 14712"/>
                    <a:gd name="connsiteY0" fmla="*/ 11543 h 11542"/>
                    <a:gd name="connsiteX1" fmla="*/ 0 w 14712"/>
                    <a:gd name="connsiteY1" fmla="*/ 0 h 11542"/>
                  </a:gdLst>
                  <a:ahLst/>
                  <a:cxnLst>
                    <a:cxn ang="0">
                      <a:pos x="connsiteX0" y="connsiteY0"/>
                    </a:cxn>
                    <a:cxn ang="0">
                      <a:pos x="connsiteX1" y="connsiteY1"/>
                    </a:cxn>
                  </a:cxnLst>
                  <a:rect l="l" t="t" r="r" b="b"/>
                  <a:pathLst>
                    <a:path w="14712" h="11542">
                      <a:moveTo>
                        <a:pt x="14713" y="11543"/>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5996" name="Vrije vorm: vorm 5995">
                  <a:extLst>
                    <a:ext uri="{FF2B5EF4-FFF2-40B4-BE49-F238E27FC236}">
                      <a16:creationId xmlns:a16="http://schemas.microsoft.com/office/drawing/2014/main" id="{C5E56087-57D8-4830-A320-CF7358BF05E0}"/>
                    </a:ext>
                  </a:extLst>
                </p:cNvPr>
                <p:cNvSpPr/>
                <p:nvPr/>
              </p:nvSpPr>
              <p:spPr>
                <a:xfrm>
                  <a:off x="7745832" y="2752129"/>
                  <a:ext cx="3468" cy="538"/>
                </a:xfrm>
                <a:custGeom>
                  <a:avLst/>
                  <a:gdLst>
                    <a:gd name="connsiteX0" fmla="*/ 0 w 3468"/>
                    <a:gd name="connsiteY0" fmla="*/ 0 h 538"/>
                    <a:gd name="connsiteX1" fmla="*/ 3469 w 3468"/>
                    <a:gd name="connsiteY1" fmla="*/ 538 h 538"/>
                  </a:gdLst>
                  <a:ahLst/>
                  <a:cxnLst>
                    <a:cxn ang="0">
                      <a:pos x="connsiteX0" y="connsiteY0"/>
                    </a:cxn>
                    <a:cxn ang="0">
                      <a:pos x="connsiteX1" y="connsiteY1"/>
                    </a:cxn>
                  </a:cxnLst>
                  <a:rect l="l" t="t" r="r" b="b"/>
                  <a:pathLst>
                    <a:path w="3468" h="538">
                      <a:moveTo>
                        <a:pt x="0" y="0"/>
                      </a:moveTo>
                      <a:lnTo>
                        <a:pt x="3469" y="538"/>
                      </a:lnTo>
                    </a:path>
                  </a:pathLst>
                </a:custGeom>
                <a:ln w="6350" cap="rnd">
                  <a:solidFill>
                    <a:schemeClr val="bg1">
                      <a:alpha val="40000"/>
                    </a:schemeClr>
                  </a:solidFill>
                  <a:prstDash val="solid"/>
                  <a:round/>
                </a:ln>
              </p:spPr>
              <p:txBody>
                <a:bodyPr rtlCol="0" anchor="ctr"/>
                <a:lstStyle/>
                <a:p>
                  <a:endParaRPr lang="en-GB"/>
                </a:p>
              </p:txBody>
            </p:sp>
            <p:sp>
              <p:nvSpPr>
                <p:cNvPr id="5997" name="Vrije vorm: vorm 5996">
                  <a:extLst>
                    <a:ext uri="{FF2B5EF4-FFF2-40B4-BE49-F238E27FC236}">
                      <a16:creationId xmlns:a16="http://schemas.microsoft.com/office/drawing/2014/main" id="{12F8A5DA-A0BE-4C9A-9A22-8A1E7DFE6E1D}"/>
                    </a:ext>
                  </a:extLst>
                </p:cNvPr>
                <p:cNvSpPr/>
                <p:nvPr/>
              </p:nvSpPr>
              <p:spPr>
                <a:xfrm>
                  <a:off x="7745832" y="2752129"/>
                  <a:ext cx="9270" cy="6937"/>
                </a:xfrm>
                <a:custGeom>
                  <a:avLst/>
                  <a:gdLst>
                    <a:gd name="connsiteX0" fmla="*/ 0 w 9270"/>
                    <a:gd name="connsiteY0" fmla="*/ 0 h 6937"/>
                    <a:gd name="connsiteX1" fmla="*/ 9270 w 9270"/>
                    <a:gd name="connsiteY1" fmla="*/ 6938 h 6937"/>
                  </a:gdLst>
                  <a:ahLst/>
                  <a:cxnLst>
                    <a:cxn ang="0">
                      <a:pos x="connsiteX0" y="connsiteY0"/>
                    </a:cxn>
                    <a:cxn ang="0">
                      <a:pos x="connsiteX1" y="connsiteY1"/>
                    </a:cxn>
                  </a:cxnLst>
                  <a:rect l="l" t="t" r="r" b="b"/>
                  <a:pathLst>
                    <a:path w="9270" h="6937">
                      <a:moveTo>
                        <a:pt x="0" y="0"/>
                      </a:moveTo>
                      <a:lnTo>
                        <a:pt x="9270" y="6938"/>
                      </a:lnTo>
                    </a:path>
                  </a:pathLst>
                </a:custGeom>
                <a:ln w="6350" cap="rnd">
                  <a:solidFill>
                    <a:schemeClr val="bg1">
                      <a:alpha val="40000"/>
                    </a:schemeClr>
                  </a:solidFill>
                  <a:prstDash val="solid"/>
                  <a:round/>
                </a:ln>
              </p:spPr>
              <p:txBody>
                <a:bodyPr rtlCol="0" anchor="ctr"/>
                <a:lstStyle/>
                <a:p>
                  <a:endParaRPr lang="en-GB"/>
                </a:p>
              </p:txBody>
            </p:sp>
            <p:sp>
              <p:nvSpPr>
                <p:cNvPr id="5998" name="Vrije vorm: vorm 5997">
                  <a:extLst>
                    <a:ext uri="{FF2B5EF4-FFF2-40B4-BE49-F238E27FC236}">
                      <a16:creationId xmlns:a16="http://schemas.microsoft.com/office/drawing/2014/main" id="{1A02E7AF-F2D3-4358-9A44-7BFCDA19844A}"/>
                    </a:ext>
                  </a:extLst>
                </p:cNvPr>
                <p:cNvSpPr/>
                <p:nvPr/>
              </p:nvSpPr>
              <p:spPr>
                <a:xfrm>
                  <a:off x="7582558" y="2722165"/>
                  <a:ext cx="7535" cy="358"/>
                </a:xfrm>
                <a:custGeom>
                  <a:avLst/>
                  <a:gdLst>
                    <a:gd name="connsiteX0" fmla="*/ 0 w 7535"/>
                    <a:gd name="connsiteY0" fmla="*/ 359 h 358"/>
                    <a:gd name="connsiteX1" fmla="*/ 7536 w 7535"/>
                    <a:gd name="connsiteY1" fmla="*/ 0 h 358"/>
                  </a:gdLst>
                  <a:ahLst/>
                  <a:cxnLst>
                    <a:cxn ang="0">
                      <a:pos x="connsiteX0" y="connsiteY0"/>
                    </a:cxn>
                    <a:cxn ang="0">
                      <a:pos x="connsiteX1" y="connsiteY1"/>
                    </a:cxn>
                  </a:cxnLst>
                  <a:rect l="l" t="t" r="r" b="b"/>
                  <a:pathLst>
                    <a:path w="7535" h="358">
                      <a:moveTo>
                        <a:pt x="0" y="359"/>
                      </a:moveTo>
                      <a:lnTo>
                        <a:pt x="7536" y="0"/>
                      </a:lnTo>
                    </a:path>
                  </a:pathLst>
                </a:custGeom>
                <a:ln w="6350" cap="rnd">
                  <a:solidFill>
                    <a:schemeClr val="bg1">
                      <a:alpha val="40000"/>
                    </a:schemeClr>
                  </a:solidFill>
                  <a:prstDash val="solid"/>
                  <a:round/>
                </a:ln>
              </p:spPr>
              <p:txBody>
                <a:bodyPr rtlCol="0" anchor="ctr"/>
                <a:lstStyle/>
                <a:p>
                  <a:endParaRPr lang="en-GB"/>
                </a:p>
              </p:txBody>
            </p:sp>
            <p:sp>
              <p:nvSpPr>
                <p:cNvPr id="5999" name="Vrije vorm: vorm 5998">
                  <a:extLst>
                    <a:ext uri="{FF2B5EF4-FFF2-40B4-BE49-F238E27FC236}">
                      <a16:creationId xmlns:a16="http://schemas.microsoft.com/office/drawing/2014/main" id="{CA8EF551-12B8-42CD-9DB6-9C0FBD4A2C0D}"/>
                    </a:ext>
                  </a:extLst>
                </p:cNvPr>
                <p:cNvSpPr/>
                <p:nvPr/>
              </p:nvSpPr>
              <p:spPr>
                <a:xfrm>
                  <a:off x="7574305" y="2721328"/>
                  <a:ext cx="8253" cy="1196"/>
                </a:xfrm>
                <a:custGeom>
                  <a:avLst/>
                  <a:gdLst>
                    <a:gd name="connsiteX0" fmla="*/ 8253 w 8253"/>
                    <a:gd name="connsiteY0" fmla="*/ 1196 h 1196"/>
                    <a:gd name="connsiteX1" fmla="*/ 0 w 8253"/>
                    <a:gd name="connsiteY1" fmla="*/ 0 h 1196"/>
                  </a:gdLst>
                  <a:ahLst/>
                  <a:cxnLst>
                    <a:cxn ang="0">
                      <a:pos x="connsiteX0" y="connsiteY0"/>
                    </a:cxn>
                    <a:cxn ang="0">
                      <a:pos x="connsiteX1" y="connsiteY1"/>
                    </a:cxn>
                  </a:cxnLst>
                  <a:rect l="l" t="t" r="r" b="b"/>
                  <a:pathLst>
                    <a:path w="8253" h="1196">
                      <a:moveTo>
                        <a:pt x="8253" y="119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00" name="Vrije vorm: vorm 5999">
                  <a:extLst>
                    <a:ext uri="{FF2B5EF4-FFF2-40B4-BE49-F238E27FC236}">
                      <a16:creationId xmlns:a16="http://schemas.microsoft.com/office/drawing/2014/main" id="{DB216C06-435F-44BB-9985-34E6B90DCA79}"/>
                    </a:ext>
                  </a:extLst>
                </p:cNvPr>
                <p:cNvSpPr/>
                <p:nvPr/>
              </p:nvSpPr>
              <p:spPr>
                <a:xfrm>
                  <a:off x="7582558" y="2719833"/>
                  <a:ext cx="7236" cy="2691"/>
                </a:xfrm>
                <a:custGeom>
                  <a:avLst/>
                  <a:gdLst>
                    <a:gd name="connsiteX0" fmla="*/ 0 w 7236"/>
                    <a:gd name="connsiteY0" fmla="*/ 2691 h 2691"/>
                    <a:gd name="connsiteX1" fmla="*/ 7236 w 7236"/>
                    <a:gd name="connsiteY1" fmla="*/ 0 h 2691"/>
                  </a:gdLst>
                  <a:ahLst/>
                  <a:cxnLst>
                    <a:cxn ang="0">
                      <a:pos x="connsiteX0" y="connsiteY0"/>
                    </a:cxn>
                    <a:cxn ang="0">
                      <a:pos x="connsiteX1" y="connsiteY1"/>
                    </a:cxn>
                  </a:cxnLst>
                  <a:rect l="l" t="t" r="r" b="b"/>
                  <a:pathLst>
                    <a:path w="7236" h="2691">
                      <a:moveTo>
                        <a:pt x="0" y="2691"/>
                      </a:moveTo>
                      <a:lnTo>
                        <a:pt x="7236" y="0"/>
                      </a:lnTo>
                    </a:path>
                  </a:pathLst>
                </a:custGeom>
                <a:ln w="6350" cap="rnd">
                  <a:solidFill>
                    <a:schemeClr val="bg1">
                      <a:alpha val="40000"/>
                    </a:schemeClr>
                  </a:solidFill>
                  <a:prstDash val="solid"/>
                  <a:round/>
                </a:ln>
              </p:spPr>
              <p:txBody>
                <a:bodyPr rtlCol="0" anchor="ctr"/>
                <a:lstStyle/>
                <a:p>
                  <a:endParaRPr lang="en-GB"/>
                </a:p>
              </p:txBody>
            </p:sp>
            <p:sp>
              <p:nvSpPr>
                <p:cNvPr id="6001" name="Vrije vorm: vorm 6000">
                  <a:extLst>
                    <a:ext uri="{FF2B5EF4-FFF2-40B4-BE49-F238E27FC236}">
                      <a16:creationId xmlns:a16="http://schemas.microsoft.com/office/drawing/2014/main" id="{8D27D318-10F3-4AF9-B292-39828B7D3BDD}"/>
                    </a:ext>
                  </a:extLst>
                </p:cNvPr>
                <p:cNvSpPr/>
                <p:nvPr/>
              </p:nvSpPr>
              <p:spPr>
                <a:xfrm>
                  <a:off x="7529210" y="2713972"/>
                  <a:ext cx="33013" cy="28647"/>
                </a:xfrm>
                <a:custGeom>
                  <a:avLst/>
                  <a:gdLst>
                    <a:gd name="connsiteX0" fmla="*/ 0 w 33013"/>
                    <a:gd name="connsiteY0" fmla="*/ 28648 h 28647"/>
                    <a:gd name="connsiteX1" fmla="*/ 33013 w 33013"/>
                    <a:gd name="connsiteY1" fmla="*/ 0 h 28647"/>
                  </a:gdLst>
                  <a:ahLst/>
                  <a:cxnLst>
                    <a:cxn ang="0">
                      <a:pos x="connsiteX0" y="connsiteY0"/>
                    </a:cxn>
                    <a:cxn ang="0">
                      <a:pos x="connsiteX1" y="connsiteY1"/>
                    </a:cxn>
                  </a:cxnLst>
                  <a:rect l="l" t="t" r="r" b="b"/>
                  <a:pathLst>
                    <a:path w="33013" h="28647">
                      <a:moveTo>
                        <a:pt x="0" y="28648"/>
                      </a:moveTo>
                      <a:lnTo>
                        <a:pt x="33013" y="0"/>
                      </a:lnTo>
                    </a:path>
                  </a:pathLst>
                </a:custGeom>
                <a:ln w="6350" cap="rnd">
                  <a:solidFill>
                    <a:schemeClr val="bg1">
                      <a:alpha val="40000"/>
                    </a:schemeClr>
                  </a:solidFill>
                  <a:prstDash val="solid"/>
                  <a:round/>
                </a:ln>
              </p:spPr>
              <p:txBody>
                <a:bodyPr rtlCol="0" anchor="ctr"/>
                <a:lstStyle/>
                <a:p>
                  <a:endParaRPr lang="en-GB"/>
                </a:p>
              </p:txBody>
            </p:sp>
            <p:sp>
              <p:nvSpPr>
                <p:cNvPr id="6002" name="Vrije vorm: vorm 6001">
                  <a:extLst>
                    <a:ext uri="{FF2B5EF4-FFF2-40B4-BE49-F238E27FC236}">
                      <a16:creationId xmlns:a16="http://schemas.microsoft.com/office/drawing/2014/main" id="{E865E72F-1D3E-4531-AE3C-EEB735615F53}"/>
                    </a:ext>
                  </a:extLst>
                </p:cNvPr>
                <p:cNvSpPr/>
                <p:nvPr/>
              </p:nvSpPr>
              <p:spPr>
                <a:xfrm>
                  <a:off x="7771250" y="2797941"/>
                  <a:ext cx="4545" cy="31458"/>
                </a:xfrm>
                <a:custGeom>
                  <a:avLst/>
                  <a:gdLst>
                    <a:gd name="connsiteX0" fmla="*/ 0 w 4545"/>
                    <a:gd name="connsiteY0" fmla="*/ 31459 h 31458"/>
                    <a:gd name="connsiteX1" fmla="*/ 4545 w 4545"/>
                    <a:gd name="connsiteY1" fmla="*/ 0 h 31458"/>
                  </a:gdLst>
                  <a:ahLst/>
                  <a:cxnLst>
                    <a:cxn ang="0">
                      <a:pos x="connsiteX0" y="connsiteY0"/>
                    </a:cxn>
                    <a:cxn ang="0">
                      <a:pos x="connsiteX1" y="connsiteY1"/>
                    </a:cxn>
                  </a:cxnLst>
                  <a:rect l="l" t="t" r="r" b="b"/>
                  <a:pathLst>
                    <a:path w="4545" h="31458">
                      <a:moveTo>
                        <a:pt x="0" y="31459"/>
                      </a:moveTo>
                      <a:lnTo>
                        <a:pt x="4545" y="0"/>
                      </a:lnTo>
                    </a:path>
                  </a:pathLst>
                </a:custGeom>
                <a:ln w="6350" cap="rnd">
                  <a:solidFill>
                    <a:schemeClr val="bg1">
                      <a:alpha val="40000"/>
                    </a:schemeClr>
                  </a:solidFill>
                  <a:prstDash val="solid"/>
                  <a:round/>
                </a:ln>
              </p:spPr>
              <p:txBody>
                <a:bodyPr rtlCol="0" anchor="ctr"/>
                <a:lstStyle/>
                <a:p>
                  <a:endParaRPr lang="en-GB"/>
                </a:p>
              </p:txBody>
            </p:sp>
            <p:sp>
              <p:nvSpPr>
                <p:cNvPr id="6003" name="Vrije vorm: vorm 6002">
                  <a:extLst>
                    <a:ext uri="{FF2B5EF4-FFF2-40B4-BE49-F238E27FC236}">
                      <a16:creationId xmlns:a16="http://schemas.microsoft.com/office/drawing/2014/main" id="{67CD8133-69B0-4BC2-8476-A198587EF729}"/>
                    </a:ext>
                  </a:extLst>
                </p:cNvPr>
                <p:cNvSpPr/>
                <p:nvPr/>
              </p:nvSpPr>
              <p:spPr>
                <a:xfrm>
                  <a:off x="7594879" y="2837175"/>
                  <a:ext cx="598" cy="20095"/>
                </a:xfrm>
                <a:custGeom>
                  <a:avLst/>
                  <a:gdLst>
                    <a:gd name="connsiteX0" fmla="*/ 598 w 598"/>
                    <a:gd name="connsiteY0" fmla="*/ 20095 h 20095"/>
                    <a:gd name="connsiteX1" fmla="*/ 0 w 598"/>
                    <a:gd name="connsiteY1" fmla="*/ 0 h 20095"/>
                  </a:gdLst>
                  <a:ahLst/>
                  <a:cxnLst>
                    <a:cxn ang="0">
                      <a:pos x="connsiteX0" y="connsiteY0"/>
                    </a:cxn>
                    <a:cxn ang="0">
                      <a:pos x="connsiteX1" y="connsiteY1"/>
                    </a:cxn>
                  </a:cxnLst>
                  <a:rect l="l" t="t" r="r" b="b"/>
                  <a:pathLst>
                    <a:path w="598" h="20095">
                      <a:moveTo>
                        <a:pt x="598" y="20095"/>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04" name="Vrije vorm: vorm 6003">
                  <a:extLst>
                    <a:ext uri="{FF2B5EF4-FFF2-40B4-BE49-F238E27FC236}">
                      <a16:creationId xmlns:a16="http://schemas.microsoft.com/office/drawing/2014/main" id="{46E67106-049F-487F-9B96-3A99818EB26B}"/>
                    </a:ext>
                  </a:extLst>
                </p:cNvPr>
                <p:cNvSpPr/>
                <p:nvPr/>
              </p:nvSpPr>
              <p:spPr>
                <a:xfrm>
                  <a:off x="7748643" y="2750275"/>
                  <a:ext cx="239" cy="1734"/>
                </a:xfrm>
                <a:custGeom>
                  <a:avLst/>
                  <a:gdLst>
                    <a:gd name="connsiteX0" fmla="*/ 239 w 239"/>
                    <a:gd name="connsiteY0" fmla="*/ 0 h 1734"/>
                    <a:gd name="connsiteX1" fmla="*/ 0 w 239"/>
                    <a:gd name="connsiteY1" fmla="*/ 1734 h 1734"/>
                  </a:gdLst>
                  <a:ahLst/>
                  <a:cxnLst>
                    <a:cxn ang="0">
                      <a:pos x="connsiteX0" y="connsiteY0"/>
                    </a:cxn>
                    <a:cxn ang="0">
                      <a:pos x="connsiteX1" y="connsiteY1"/>
                    </a:cxn>
                  </a:cxnLst>
                  <a:rect l="l" t="t" r="r" b="b"/>
                  <a:pathLst>
                    <a:path w="239" h="1734">
                      <a:moveTo>
                        <a:pt x="239" y="0"/>
                      </a:moveTo>
                      <a:lnTo>
                        <a:pt x="0" y="1734"/>
                      </a:lnTo>
                    </a:path>
                  </a:pathLst>
                </a:custGeom>
                <a:ln w="6350" cap="rnd">
                  <a:solidFill>
                    <a:schemeClr val="bg1">
                      <a:alpha val="40000"/>
                    </a:schemeClr>
                  </a:solidFill>
                  <a:prstDash val="solid"/>
                  <a:round/>
                </a:ln>
              </p:spPr>
              <p:txBody>
                <a:bodyPr rtlCol="0" anchor="ctr"/>
                <a:lstStyle/>
                <a:p>
                  <a:endParaRPr lang="en-GB"/>
                </a:p>
              </p:txBody>
            </p:sp>
            <p:sp>
              <p:nvSpPr>
                <p:cNvPr id="6005" name="Vrije vorm: vorm 6004">
                  <a:extLst>
                    <a:ext uri="{FF2B5EF4-FFF2-40B4-BE49-F238E27FC236}">
                      <a16:creationId xmlns:a16="http://schemas.microsoft.com/office/drawing/2014/main" id="{F0723511-E70A-4C60-B7CC-2C83600F97E6}"/>
                    </a:ext>
                  </a:extLst>
                </p:cNvPr>
                <p:cNvSpPr/>
                <p:nvPr/>
              </p:nvSpPr>
              <p:spPr>
                <a:xfrm>
                  <a:off x="7596613" y="2721508"/>
                  <a:ext cx="11662" cy="27571"/>
                </a:xfrm>
                <a:custGeom>
                  <a:avLst/>
                  <a:gdLst>
                    <a:gd name="connsiteX0" fmla="*/ 11663 w 11662"/>
                    <a:gd name="connsiteY0" fmla="*/ 27571 h 27571"/>
                    <a:gd name="connsiteX1" fmla="*/ 0 w 11662"/>
                    <a:gd name="connsiteY1" fmla="*/ 0 h 27571"/>
                  </a:gdLst>
                  <a:ahLst/>
                  <a:cxnLst>
                    <a:cxn ang="0">
                      <a:pos x="connsiteX0" y="connsiteY0"/>
                    </a:cxn>
                    <a:cxn ang="0">
                      <a:pos x="connsiteX1" y="connsiteY1"/>
                    </a:cxn>
                  </a:cxnLst>
                  <a:rect l="l" t="t" r="r" b="b"/>
                  <a:pathLst>
                    <a:path w="11662" h="27571">
                      <a:moveTo>
                        <a:pt x="11663" y="2757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06" name="Vrije vorm: vorm 6005">
                  <a:extLst>
                    <a:ext uri="{FF2B5EF4-FFF2-40B4-BE49-F238E27FC236}">
                      <a16:creationId xmlns:a16="http://schemas.microsoft.com/office/drawing/2014/main" id="{93A9FA17-75D3-4BBB-8AA5-9FC5A50662F6}"/>
                    </a:ext>
                  </a:extLst>
                </p:cNvPr>
                <p:cNvSpPr/>
                <p:nvPr/>
              </p:nvSpPr>
              <p:spPr>
                <a:xfrm>
                  <a:off x="7595656" y="2737835"/>
                  <a:ext cx="12619" cy="11243"/>
                </a:xfrm>
                <a:custGeom>
                  <a:avLst/>
                  <a:gdLst>
                    <a:gd name="connsiteX0" fmla="*/ 12620 w 12619"/>
                    <a:gd name="connsiteY0" fmla="*/ 11244 h 11243"/>
                    <a:gd name="connsiteX1" fmla="*/ 0 w 12619"/>
                    <a:gd name="connsiteY1" fmla="*/ 0 h 11243"/>
                  </a:gdLst>
                  <a:ahLst/>
                  <a:cxnLst>
                    <a:cxn ang="0">
                      <a:pos x="connsiteX0" y="connsiteY0"/>
                    </a:cxn>
                    <a:cxn ang="0">
                      <a:pos x="connsiteX1" y="connsiteY1"/>
                    </a:cxn>
                  </a:cxnLst>
                  <a:rect l="l" t="t" r="r" b="b"/>
                  <a:pathLst>
                    <a:path w="12619" h="11243">
                      <a:moveTo>
                        <a:pt x="12620" y="1124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07" name="Vrije vorm: vorm 6006">
                  <a:extLst>
                    <a:ext uri="{FF2B5EF4-FFF2-40B4-BE49-F238E27FC236}">
                      <a16:creationId xmlns:a16="http://schemas.microsoft.com/office/drawing/2014/main" id="{3A1B1531-3DE6-4061-B9B3-A77912859D45}"/>
                    </a:ext>
                  </a:extLst>
                </p:cNvPr>
                <p:cNvSpPr/>
                <p:nvPr/>
              </p:nvSpPr>
              <p:spPr>
                <a:xfrm>
                  <a:off x="7736801" y="2759067"/>
                  <a:ext cx="18301" cy="6997"/>
                </a:xfrm>
                <a:custGeom>
                  <a:avLst/>
                  <a:gdLst>
                    <a:gd name="connsiteX0" fmla="*/ 0 w 18301"/>
                    <a:gd name="connsiteY0" fmla="*/ 6997 h 6997"/>
                    <a:gd name="connsiteX1" fmla="*/ 18301 w 18301"/>
                    <a:gd name="connsiteY1" fmla="*/ 0 h 6997"/>
                  </a:gdLst>
                  <a:ahLst/>
                  <a:cxnLst>
                    <a:cxn ang="0">
                      <a:pos x="connsiteX0" y="connsiteY0"/>
                    </a:cxn>
                    <a:cxn ang="0">
                      <a:pos x="connsiteX1" y="connsiteY1"/>
                    </a:cxn>
                  </a:cxnLst>
                  <a:rect l="l" t="t" r="r" b="b"/>
                  <a:pathLst>
                    <a:path w="18301" h="6997">
                      <a:moveTo>
                        <a:pt x="0" y="6997"/>
                      </a:moveTo>
                      <a:lnTo>
                        <a:pt x="18301" y="0"/>
                      </a:lnTo>
                    </a:path>
                  </a:pathLst>
                </a:custGeom>
                <a:ln w="6350" cap="rnd">
                  <a:solidFill>
                    <a:schemeClr val="bg1">
                      <a:alpha val="40000"/>
                    </a:schemeClr>
                  </a:solidFill>
                  <a:prstDash val="solid"/>
                  <a:round/>
                </a:ln>
              </p:spPr>
              <p:txBody>
                <a:bodyPr rtlCol="0" anchor="ctr"/>
                <a:lstStyle/>
                <a:p>
                  <a:endParaRPr lang="en-GB"/>
                </a:p>
              </p:txBody>
            </p:sp>
            <p:sp>
              <p:nvSpPr>
                <p:cNvPr id="6008" name="Vrije vorm: vorm 6007">
                  <a:extLst>
                    <a:ext uri="{FF2B5EF4-FFF2-40B4-BE49-F238E27FC236}">
                      <a16:creationId xmlns:a16="http://schemas.microsoft.com/office/drawing/2014/main" id="{6147CABA-781F-4208-9C51-90D7B71BFB76}"/>
                    </a:ext>
                  </a:extLst>
                </p:cNvPr>
                <p:cNvSpPr/>
                <p:nvPr/>
              </p:nvSpPr>
              <p:spPr>
                <a:xfrm>
                  <a:off x="7568145" y="2710922"/>
                  <a:ext cx="598" cy="2751"/>
                </a:xfrm>
                <a:custGeom>
                  <a:avLst/>
                  <a:gdLst>
                    <a:gd name="connsiteX0" fmla="*/ 0 w 598"/>
                    <a:gd name="connsiteY0" fmla="*/ 2751 h 2751"/>
                    <a:gd name="connsiteX1" fmla="*/ 598 w 598"/>
                    <a:gd name="connsiteY1" fmla="*/ 0 h 2751"/>
                  </a:gdLst>
                  <a:ahLst/>
                  <a:cxnLst>
                    <a:cxn ang="0">
                      <a:pos x="connsiteX0" y="connsiteY0"/>
                    </a:cxn>
                    <a:cxn ang="0">
                      <a:pos x="connsiteX1" y="connsiteY1"/>
                    </a:cxn>
                  </a:cxnLst>
                  <a:rect l="l" t="t" r="r" b="b"/>
                  <a:pathLst>
                    <a:path w="598" h="2751">
                      <a:moveTo>
                        <a:pt x="0" y="2751"/>
                      </a:moveTo>
                      <a:lnTo>
                        <a:pt x="598" y="0"/>
                      </a:lnTo>
                    </a:path>
                  </a:pathLst>
                </a:custGeom>
                <a:ln w="6350" cap="rnd">
                  <a:solidFill>
                    <a:schemeClr val="bg1">
                      <a:alpha val="40000"/>
                    </a:schemeClr>
                  </a:solidFill>
                  <a:prstDash val="solid"/>
                  <a:round/>
                </a:ln>
              </p:spPr>
              <p:txBody>
                <a:bodyPr rtlCol="0" anchor="ctr"/>
                <a:lstStyle/>
                <a:p>
                  <a:endParaRPr lang="en-GB"/>
                </a:p>
              </p:txBody>
            </p:sp>
            <p:sp>
              <p:nvSpPr>
                <p:cNvPr id="6009" name="Vrije vorm: vorm 6008">
                  <a:extLst>
                    <a:ext uri="{FF2B5EF4-FFF2-40B4-BE49-F238E27FC236}">
                      <a16:creationId xmlns:a16="http://schemas.microsoft.com/office/drawing/2014/main" id="{01C0004F-2F5D-46D6-AB04-419ED726837C}"/>
                    </a:ext>
                  </a:extLst>
                </p:cNvPr>
                <p:cNvSpPr/>
                <p:nvPr/>
              </p:nvSpPr>
              <p:spPr>
                <a:xfrm>
                  <a:off x="7568145" y="2713673"/>
                  <a:ext cx="14413" cy="8851"/>
                </a:xfrm>
                <a:custGeom>
                  <a:avLst/>
                  <a:gdLst>
                    <a:gd name="connsiteX0" fmla="*/ 0 w 14413"/>
                    <a:gd name="connsiteY0" fmla="*/ 0 h 8851"/>
                    <a:gd name="connsiteX1" fmla="*/ 14414 w 14413"/>
                    <a:gd name="connsiteY1" fmla="*/ 8852 h 8851"/>
                  </a:gdLst>
                  <a:ahLst/>
                  <a:cxnLst>
                    <a:cxn ang="0">
                      <a:pos x="connsiteX0" y="connsiteY0"/>
                    </a:cxn>
                    <a:cxn ang="0">
                      <a:pos x="connsiteX1" y="connsiteY1"/>
                    </a:cxn>
                  </a:cxnLst>
                  <a:rect l="l" t="t" r="r" b="b"/>
                  <a:pathLst>
                    <a:path w="14413" h="8851">
                      <a:moveTo>
                        <a:pt x="0" y="0"/>
                      </a:moveTo>
                      <a:lnTo>
                        <a:pt x="14414" y="8852"/>
                      </a:lnTo>
                    </a:path>
                  </a:pathLst>
                </a:custGeom>
                <a:ln w="6350" cap="rnd">
                  <a:solidFill>
                    <a:schemeClr val="bg1">
                      <a:alpha val="40000"/>
                    </a:schemeClr>
                  </a:solidFill>
                  <a:prstDash val="solid"/>
                  <a:round/>
                </a:ln>
              </p:spPr>
              <p:txBody>
                <a:bodyPr rtlCol="0" anchor="ctr"/>
                <a:lstStyle/>
                <a:p>
                  <a:endParaRPr lang="en-GB"/>
                </a:p>
              </p:txBody>
            </p:sp>
            <p:sp>
              <p:nvSpPr>
                <p:cNvPr id="6010" name="Vrije vorm: vorm 6009">
                  <a:extLst>
                    <a:ext uri="{FF2B5EF4-FFF2-40B4-BE49-F238E27FC236}">
                      <a16:creationId xmlns:a16="http://schemas.microsoft.com/office/drawing/2014/main" id="{5E2EFBE5-560E-404D-9BB9-1B3E688E410E}"/>
                    </a:ext>
                  </a:extLst>
                </p:cNvPr>
                <p:cNvSpPr/>
                <p:nvPr/>
              </p:nvSpPr>
              <p:spPr>
                <a:xfrm>
                  <a:off x="7751873" y="2821984"/>
                  <a:ext cx="6160" cy="7535"/>
                </a:xfrm>
                <a:custGeom>
                  <a:avLst/>
                  <a:gdLst>
                    <a:gd name="connsiteX0" fmla="*/ 6160 w 6160"/>
                    <a:gd name="connsiteY0" fmla="*/ 7536 h 7535"/>
                    <a:gd name="connsiteX1" fmla="*/ 0 w 6160"/>
                    <a:gd name="connsiteY1" fmla="*/ 0 h 7535"/>
                  </a:gdLst>
                  <a:ahLst/>
                  <a:cxnLst>
                    <a:cxn ang="0">
                      <a:pos x="connsiteX0" y="connsiteY0"/>
                    </a:cxn>
                    <a:cxn ang="0">
                      <a:pos x="connsiteX1" y="connsiteY1"/>
                    </a:cxn>
                  </a:cxnLst>
                  <a:rect l="l" t="t" r="r" b="b"/>
                  <a:pathLst>
                    <a:path w="6160" h="7535">
                      <a:moveTo>
                        <a:pt x="6160" y="753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11" name="Vrije vorm: vorm 6010">
                  <a:extLst>
                    <a:ext uri="{FF2B5EF4-FFF2-40B4-BE49-F238E27FC236}">
                      <a16:creationId xmlns:a16="http://schemas.microsoft.com/office/drawing/2014/main" id="{CC27F972-3E4B-44AA-BDB6-0A871ACE0D46}"/>
                    </a:ext>
                  </a:extLst>
                </p:cNvPr>
                <p:cNvSpPr/>
                <p:nvPr/>
              </p:nvSpPr>
              <p:spPr>
                <a:xfrm>
                  <a:off x="7758033" y="2829519"/>
                  <a:ext cx="1016" cy="4904"/>
                </a:xfrm>
                <a:custGeom>
                  <a:avLst/>
                  <a:gdLst>
                    <a:gd name="connsiteX0" fmla="*/ 0 w 1016"/>
                    <a:gd name="connsiteY0" fmla="*/ 0 h 4904"/>
                    <a:gd name="connsiteX1" fmla="*/ 1017 w 1016"/>
                    <a:gd name="connsiteY1" fmla="*/ 4904 h 4904"/>
                  </a:gdLst>
                  <a:ahLst/>
                  <a:cxnLst>
                    <a:cxn ang="0">
                      <a:pos x="connsiteX0" y="connsiteY0"/>
                    </a:cxn>
                    <a:cxn ang="0">
                      <a:pos x="connsiteX1" y="connsiteY1"/>
                    </a:cxn>
                  </a:cxnLst>
                  <a:rect l="l" t="t" r="r" b="b"/>
                  <a:pathLst>
                    <a:path w="1016" h="4904">
                      <a:moveTo>
                        <a:pt x="0" y="0"/>
                      </a:moveTo>
                      <a:lnTo>
                        <a:pt x="1017" y="4904"/>
                      </a:lnTo>
                    </a:path>
                  </a:pathLst>
                </a:custGeom>
                <a:ln w="6350" cap="rnd">
                  <a:solidFill>
                    <a:schemeClr val="bg1">
                      <a:alpha val="40000"/>
                    </a:schemeClr>
                  </a:solidFill>
                  <a:prstDash val="solid"/>
                  <a:round/>
                </a:ln>
              </p:spPr>
              <p:txBody>
                <a:bodyPr rtlCol="0" anchor="ctr"/>
                <a:lstStyle/>
                <a:p>
                  <a:endParaRPr lang="en-GB"/>
                </a:p>
              </p:txBody>
            </p:sp>
            <p:sp>
              <p:nvSpPr>
                <p:cNvPr id="6012" name="Vrije vorm: vorm 6011">
                  <a:extLst>
                    <a:ext uri="{FF2B5EF4-FFF2-40B4-BE49-F238E27FC236}">
                      <a16:creationId xmlns:a16="http://schemas.microsoft.com/office/drawing/2014/main" id="{A23239B5-96A0-4FFF-BBD9-5E90C0AD22BD}"/>
                    </a:ext>
                  </a:extLst>
                </p:cNvPr>
                <p:cNvSpPr/>
                <p:nvPr/>
              </p:nvSpPr>
              <p:spPr>
                <a:xfrm>
                  <a:off x="7767901" y="2760263"/>
                  <a:ext cx="2452" cy="19796"/>
                </a:xfrm>
                <a:custGeom>
                  <a:avLst/>
                  <a:gdLst>
                    <a:gd name="connsiteX0" fmla="*/ 2452 w 2452"/>
                    <a:gd name="connsiteY0" fmla="*/ 19796 h 19796"/>
                    <a:gd name="connsiteX1" fmla="*/ 0 w 2452"/>
                    <a:gd name="connsiteY1" fmla="*/ 0 h 19796"/>
                  </a:gdLst>
                  <a:ahLst/>
                  <a:cxnLst>
                    <a:cxn ang="0">
                      <a:pos x="connsiteX0" y="connsiteY0"/>
                    </a:cxn>
                    <a:cxn ang="0">
                      <a:pos x="connsiteX1" y="connsiteY1"/>
                    </a:cxn>
                  </a:cxnLst>
                  <a:rect l="l" t="t" r="r" b="b"/>
                  <a:pathLst>
                    <a:path w="2452" h="19796">
                      <a:moveTo>
                        <a:pt x="2452" y="1979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13" name="Vrije vorm: vorm 6012">
                  <a:extLst>
                    <a:ext uri="{FF2B5EF4-FFF2-40B4-BE49-F238E27FC236}">
                      <a16:creationId xmlns:a16="http://schemas.microsoft.com/office/drawing/2014/main" id="{358F445F-E432-45E3-9422-9FFF35B270D8}"/>
                    </a:ext>
                  </a:extLst>
                </p:cNvPr>
                <p:cNvSpPr/>
                <p:nvPr/>
              </p:nvSpPr>
              <p:spPr>
                <a:xfrm>
                  <a:off x="7770353" y="2759904"/>
                  <a:ext cx="3229" cy="20155"/>
                </a:xfrm>
                <a:custGeom>
                  <a:avLst/>
                  <a:gdLst>
                    <a:gd name="connsiteX0" fmla="*/ 0 w 3229"/>
                    <a:gd name="connsiteY0" fmla="*/ 20155 h 20155"/>
                    <a:gd name="connsiteX1" fmla="*/ 3229 w 3229"/>
                    <a:gd name="connsiteY1" fmla="*/ 0 h 20155"/>
                  </a:gdLst>
                  <a:ahLst/>
                  <a:cxnLst>
                    <a:cxn ang="0">
                      <a:pos x="connsiteX0" y="connsiteY0"/>
                    </a:cxn>
                    <a:cxn ang="0">
                      <a:pos x="connsiteX1" y="connsiteY1"/>
                    </a:cxn>
                  </a:cxnLst>
                  <a:rect l="l" t="t" r="r" b="b"/>
                  <a:pathLst>
                    <a:path w="3229" h="20155">
                      <a:moveTo>
                        <a:pt x="0" y="20155"/>
                      </a:moveTo>
                      <a:lnTo>
                        <a:pt x="3229" y="0"/>
                      </a:lnTo>
                    </a:path>
                  </a:pathLst>
                </a:custGeom>
                <a:ln w="6350" cap="rnd">
                  <a:solidFill>
                    <a:schemeClr val="bg1">
                      <a:alpha val="40000"/>
                    </a:schemeClr>
                  </a:solidFill>
                  <a:prstDash val="solid"/>
                  <a:round/>
                </a:ln>
              </p:spPr>
              <p:txBody>
                <a:bodyPr rtlCol="0" anchor="ctr"/>
                <a:lstStyle/>
                <a:p>
                  <a:endParaRPr lang="en-GB"/>
                </a:p>
              </p:txBody>
            </p:sp>
            <p:sp>
              <p:nvSpPr>
                <p:cNvPr id="6014" name="Vrije vorm: vorm 6013">
                  <a:extLst>
                    <a:ext uri="{FF2B5EF4-FFF2-40B4-BE49-F238E27FC236}">
                      <a16:creationId xmlns:a16="http://schemas.microsoft.com/office/drawing/2014/main" id="{3F25D367-6B2D-4D08-AE10-B2A572268566}"/>
                    </a:ext>
                  </a:extLst>
                </p:cNvPr>
                <p:cNvSpPr/>
                <p:nvPr/>
              </p:nvSpPr>
              <p:spPr>
                <a:xfrm>
                  <a:off x="7642425" y="2778803"/>
                  <a:ext cx="5442" cy="13755"/>
                </a:xfrm>
                <a:custGeom>
                  <a:avLst/>
                  <a:gdLst>
                    <a:gd name="connsiteX0" fmla="*/ 0 w 5442"/>
                    <a:gd name="connsiteY0" fmla="*/ 0 h 13755"/>
                    <a:gd name="connsiteX1" fmla="*/ 5443 w 5442"/>
                    <a:gd name="connsiteY1" fmla="*/ 13756 h 13755"/>
                  </a:gdLst>
                  <a:ahLst/>
                  <a:cxnLst>
                    <a:cxn ang="0">
                      <a:pos x="connsiteX0" y="connsiteY0"/>
                    </a:cxn>
                    <a:cxn ang="0">
                      <a:pos x="connsiteX1" y="connsiteY1"/>
                    </a:cxn>
                  </a:cxnLst>
                  <a:rect l="l" t="t" r="r" b="b"/>
                  <a:pathLst>
                    <a:path w="5442" h="13755">
                      <a:moveTo>
                        <a:pt x="0" y="0"/>
                      </a:moveTo>
                      <a:lnTo>
                        <a:pt x="5443" y="13756"/>
                      </a:lnTo>
                    </a:path>
                  </a:pathLst>
                </a:custGeom>
                <a:ln w="6350" cap="rnd">
                  <a:solidFill>
                    <a:schemeClr val="bg1">
                      <a:alpha val="40000"/>
                    </a:schemeClr>
                  </a:solidFill>
                  <a:prstDash val="solid"/>
                  <a:round/>
                </a:ln>
              </p:spPr>
              <p:txBody>
                <a:bodyPr rtlCol="0" anchor="ctr"/>
                <a:lstStyle/>
                <a:p>
                  <a:endParaRPr lang="en-GB"/>
                </a:p>
              </p:txBody>
            </p:sp>
            <p:sp>
              <p:nvSpPr>
                <p:cNvPr id="6015" name="Vrije vorm: vorm 6014">
                  <a:extLst>
                    <a:ext uri="{FF2B5EF4-FFF2-40B4-BE49-F238E27FC236}">
                      <a16:creationId xmlns:a16="http://schemas.microsoft.com/office/drawing/2014/main" id="{CF89ABD9-5EE8-4745-8449-5D9B70FC3D1E}"/>
                    </a:ext>
                  </a:extLst>
                </p:cNvPr>
                <p:cNvSpPr/>
                <p:nvPr/>
              </p:nvSpPr>
              <p:spPr>
                <a:xfrm>
                  <a:off x="7769456" y="2797582"/>
                  <a:ext cx="1734" cy="27750"/>
                </a:xfrm>
                <a:custGeom>
                  <a:avLst/>
                  <a:gdLst>
                    <a:gd name="connsiteX0" fmla="*/ 1735 w 1734"/>
                    <a:gd name="connsiteY0" fmla="*/ 0 h 27750"/>
                    <a:gd name="connsiteX1" fmla="*/ 0 w 1734"/>
                    <a:gd name="connsiteY1" fmla="*/ 27751 h 27750"/>
                  </a:gdLst>
                  <a:ahLst/>
                  <a:cxnLst>
                    <a:cxn ang="0">
                      <a:pos x="connsiteX0" y="connsiteY0"/>
                    </a:cxn>
                    <a:cxn ang="0">
                      <a:pos x="connsiteX1" y="connsiteY1"/>
                    </a:cxn>
                  </a:cxnLst>
                  <a:rect l="l" t="t" r="r" b="b"/>
                  <a:pathLst>
                    <a:path w="1734" h="27750">
                      <a:moveTo>
                        <a:pt x="1735" y="0"/>
                      </a:moveTo>
                      <a:lnTo>
                        <a:pt x="0" y="27751"/>
                      </a:lnTo>
                    </a:path>
                  </a:pathLst>
                </a:custGeom>
                <a:ln w="6350" cap="rnd">
                  <a:solidFill>
                    <a:schemeClr val="bg1">
                      <a:alpha val="40000"/>
                    </a:schemeClr>
                  </a:solidFill>
                  <a:prstDash val="solid"/>
                  <a:round/>
                </a:ln>
              </p:spPr>
              <p:txBody>
                <a:bodyPr rtlCol="0" anchor="ctr"/>
                <a:lstStyle/>
                <a:p>
                  <a:endParaRPr lang="en-GB"/>
                </a:p>
              </p:txBody>
            </p:sp>
            <p:sp>
              <p:nvSpPr>
                <p:cNvPr id="6016" name="Vrije vorm: vorm 6015">
                  <a:extLst>
                    <a:ext uri="{FF2B5EF4-FFF2-40B4-BE49-F238E27FC236}">
                      <a16:creationId xmlns:a16="http://schemas.microsoft.com/office/drawing/2014/main" id="{CC2D9332-2DA7-4D29-ADBD-BCE1DA5758E8}"/>
                    </a:ext>
                  </a:extLst>
                </p:cNvPr>
                <p:cNvSpPr/>
                <p:nvPr/>
              </p:nvSpPr>
              <p:spPr>
                <a:xfrm>
                  <a:off x="7523828" y="2740825"/>
                  <a:ext cx="11243" cy="6279"/>
                </a:xfrm>
                <a:custGeom>
                  <a:avLst/>
                  <a:gdLst>
                    <a:gd name="connsiteX0" fmla="*/ 0 w 11243"/>
                    <a:gd name="connsiteY0" fmla="*/ 6280 h 6279"/>
                    <a:gd name="connsiteX1" fmla="*/ 11243 w 11243"/>
                    <a:gd name="connsiteY1" fmla="*/ 0 h 6279"/>
                  </a:gdLst>
                  <a:ahLst/>
                  <a:cxnLst>
                    <a:cxn ang="0">
                      <a:pos x="connsiteX0" y="connsiteY0"/>
                    </a:cxn>
                    <a:cxn ang="0">
                      <a:pos x="connsiteX1" y="connsiteY1"/>
                    </a:cxn>
                  </a:cxnLst>
                  <a:rect l="l" t="t" r="r" b="b"/>
                  <a:pathLst>
                    <a:path w="11243" h="6279">
                      <a:moveTo>
                        <a:pt x="0" y="6280"/>
                      </a:moveTo>
                      <a:lnTo>
                        <a:pt x="11243" y="0"/>
                      </a:lnTo>
                    </a:path>
                  </a:pathLst>
                </a:custGeom>
                <a:ln w="6350" cap="rnd">
                  <a:solidFill>
                    <a:schemeClr val="bg1">
                      <a:alpha val="40000"/>
                    </a:schemeClr>
                  </a:solidFill>
                  <a:prstDash val="solid"/>
                  <a:round/>
                </a:ln>
              </p:spPr>
              <p:txBody>
                <a:bodyPr rtlCol="0" anchor="ctr"/>
                <a:lstStyle/>
                <a:p>
                  <a:endParaRPr lang="en-GB"/>
                </a:p>
              </p:txBody>
            </p:sp>
            <p:sp>
              <p:nvSpPr>
                <p:cNvPr id="6017" name="Vrije vorm: vorm 6016">
                  <a:extLst>
                    <a:ext uri="{FF2B5EF4-FFF2-40B4-BE49-F238E27FC236}">
                      <a16:creationId xmlns:a16="http://schemas.microsoft.com/office/drawing/2014/main" id="{55252233-EEDA-404F-A8B7-051915585C57}"/>
                    </a:ext>
                  </a:extLst>
                </p:cNvPr>
                <p:cNvSpPr/>
                <p:nvPr/>
              </p:nvSpPr>
              <p:spPr>
                <a:xfrm>
                  <a:off x="7568743" y="2710922"/>
                  <a:ext cx="11602" cy="4784"/>
                </a:xfrm>
                <a:custGeom>
                  <a:avLst/>
                  <a:gdLst>
                    <a:gd name="connsiteX0" fmla="*/ 11603 w 11602"/>
                    <a:gd name="connsiteY0" fmla="*/ 4785 h 4784"/>
                    <a:gd name="connsiteX1" fmla="*/ 0 w 11602"/>
                    <a:gd name="connsiteY1" fmla="*/ 0 h 4784"/>
                  </a:gdLst>
                  <a:ahLst/>
                  <a:cxnLst>
                    <a:cxn ang="0">
                      <a:pos x="connsiteX0" y="connsiteY0"/>
                    </a:cxn>
                    <a:cxn ang="0">
                      <a:pos x="connsiteX1" y="connsiteY1"/>
                    </a:cxn>
                  </a:cxnLst>
                  <a:rect l="l" t="t" r="r" b="b"/>
                  <a:pathLst>
                    <a:path w="11602" h="4784">
                      <a:moveTo>
                        <a:pt x="11603" y="4785"/>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18" name="Vrije vorm: vorm 6017">
                  <a:extLst>
                    <a:ext uri="{FF2B5EF4-FFF2-40B4-BE49-F238E27FC236}">
                      <a16:creationId xmlns:a16="http://schemas.microsoft.com/office/drawing/2014/main" id="{3968F9F7-4873-4477-8166-F6D8DADC2F28}"/>
                    </a:ext>
                  </a:extLst>
                </p:cNvPr>
                <p:cNvSpPr/>
                <p:nvPr/>
              </p:nvSpPr>
              <p:spPr>
                <a:xfrm>
                  <a:off x="7580345" y="2715706"/>
                  <a:ext cx="2212" cy="6818"/>
                </a:xfrm>
                <a:custGeom>
                  <a:avLst/>
                  <a:gdLst>
                    <a:gd name="connsiteX0" fmla="*/ 0 w 2212"/>
                    <a:gd name="connsiteY0" fmla="*/ 0 h 6818"/>
                    <a:gd name="connsiteX1" fmla="*/ 2213 w 2212"/>
                    <a:gd name="connsiteY1" fmla="*/ 6818 h 6818"/>
                  </a:gdLst>
                  <a:ahLst/>
                  <a:cxnLst>
                    <a:cxn ang="0">
                      <a:pos x="connsiteX0" y="connsiteY0"/>
                    </a:cxn>
                    <a:cxn ang="0">
                      <a:pos x="connsiteX1" y="connsiteY1"/>
                    </a:cxn>
                  </a:cxnLst>
                  <a:rect l="l" t="t" r="r" b="b"/>
                  <a:pathLst>
                    <a:path w="2212" h="6818">
                      <a:moveTo>
                        <a:pt x="0" y="0"/>
                      </a:moveTo>
                      <a:lnTo>
                        <a:pt x="2213" y="6818"/>
                      </a:lnTo>
                    </a:path>
                  </a:pathLst>
                </a:custGeom>
                <a:ln w="6350" cap="rnd">
                  <a:solidFill>
                    <a:schemeClr val="bg1">
                      <a:alpha val="40000"/>
                    </a:schemeClr>
                  </a:solidFill>
                  <a:prstDash val="solid"/>
                  <a:round/>
                </a:ln>
              </p:spPr>
              <p:txBody>
                <a:bodyPr rtlCol="0" anchor="ctr"/>
                <a:lstStyle/>
                <a:p>
                  <a:endParaRPr lang="en-GB"/>
                </a:p>
              </p:txBody>
            </p:sp>
            <p:sp>
              <p:nvSpPr>
                <p:cNvPr id="6019" name="Vrije vorm: vorm 6018">
                  <a:extLst>
                    <a:ext uri="{FF2B5EF4-FFF2-40B4-BE49-F238E27FC236}">
                      <a16:creationId xmlns:a16="http://schemas.microsoft.com/office/drawing/2014/main" id="{E3AB16D9-A00F-44C4-8115-2B56C9C8DB1D}"/>
                    </a:ext>
                  </a:extLst>
                </p:cNvPr>
                <p:cNvSpPr/>
                <p:nvPr/>
              </p:nvSpPr>
              <p:spPr>
                <a:xfrm>
                  <a:off x="7568145" y="2713673"/>
                  <a:ext cx="12200" cy="2033"/>
                </a:xfrm>
                <a:custGeom>
                  <a:avLst/>
                  <a:gdLst>
                    <a:gd name="connsiteX0" fmla="*/ 12201 w 12200"/>
                    <a:gd name="connsiteY0" fmla="*/ 2033 h 2033"/>
                    <a:gd name="connsiteX1" fmla="*/ 0 w 12200"/>
                    <a:gd name="connsiteY1" fmla="*/ 0 h 2033"/>
                  </a:gdLst>
                  <a:ahLst/>
                  <a:cxnLst>
                    <a:cxn ang="0">
                      <a:pos x="connsiteX0" y="connsiteY0"/>
                    </a:cxn>
                    <a:cxn ang="0">
                      <a:pos x="connsiteX1" y="connsiteY1"/>
                    </a:cxn>
                  </a:cxnLst>
                  <a:rect l="l" t="t" r="r" b="b"/>
                  <a:pathLst>
                    <a:path w="12200" h="2033">
                      <a:moveTo>
                        <a:pt x="12201" y="2033"/>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20" name="Vrije vorm: vorm 6019">
                  <a:extLst>
                    <a:ext uri="{FF2B5EF4-FFF2-40B4-BE49-F238E27FC236}">
                      <a16:creationId xmlns:a16="http://schemas.microsoft.com/office/drawing/2014/main" id="{13E0C13C-A594-4404-8560-79DC4718176D}"/>
                    </a:ext>
                  </a:extLst>
                </p:cNvPr>
                <p:cNvSpPr/>
                <p:nvPr/>
              </p:nvSpPr>
              <p:spPr>
                <a:xfrm>
                  <a:off x="7720115" y="2795070"/>
                  <a:ext cx="22666" cy="2810"/>
                </a:xfrm>
                <a:custGeom>
                  <a:avLst/>
                  <a:gdLst>
                    <a:gd name="connsiteX0" fmla="*/ 22667 w 22666"/>
                    <a:gd name="connsiteY0" fmla="*/ 2811 h 2810"/>
                    <a:gd name="connsiteX1" fmla="*/ 0 w 22666"/>
                    <a:gd name="connsiteY1" fmla="*/ 0 h 2810"/>
                  </a:gdLst>
                  <a:ahLst/>
                  <a:cxnLst>
                    <a:cxn ang="0">
                      <a:pos x="connsiteX0" y="connsiteY0"/>
                    </a:cxn>
                    <a:cxn ang="0">
                      <a:pos x="connsiteX1" y="connsiteY1"/>
                    </a:cxn>
                  </a:cxnLst>
                  <a:rect l="l" t="t" r="r" b="b"/>
                  <a:pathLst>
                    <a:path w="22666" h="2810">
                      <a:moveTo>
                        <a:pt x="22667" y="281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21" name="Vrije vorm: vorm 6020">
                  <a:extLst>
                    <a:ext uri="{FF2B5EF4-FFF2-40B4-BE49-F238E27FC236}">
                      <a16:creationId xmlns:a16="http://schemas.microsoft.com/office/drawing/2014/main" id="{B7409575-9F24-4A0D-9AE7-8B242A8666FE}"/>
                    </a:ext>
                  </a:extLst>
                </p:cNvPr>
                <p:cNvSpPr/>
                <p:nvPr/>
              </p:nvSpPr>
              <p:spPr>
                <a:xfrm>
                  <a:off x="7627474" y="2748062"/>
                  <a:ext cx="2571" cy="6100"/>
                </a:xfrm>
                <a:custGeom>
                  <a:avLst/>
                  <a:gdLst>
                    <a:gd name="connsiteX0" fmla="*/ 0 w 2571"/>
                    <a:gd name="connsiteY0" fmla="*/ 6100 h 6100"/>
                    <a:gd name="connsiteX1" fmla="*/ 2571 w 2571"/>
                    <a:gd name="connsiteY1" fmla="*/ 0 h 6100"/>
                  </a:gdLst>
                  <a:ahLst/>
                  <a:cxnLst>
                    <a:cxn ang="0">
                      <a:pos x="connsiteX0" y="connsiteY0"/>
                    </a:cxn>
                    <a:cxn ang="0">
                      <a:pos x="connsiteX1" y="connsiteY1"/>
                    </a:cxn>
                  </a:cxnLst>
                  <a:rect l="l" t="t" r="r" b="b"/>
                  <a:pathLst>
                    <a:path w="2571" h="6100">
                      <a:moveTo>
                        <a:pt x="0" y="6100"/>
                      </a:moveTo>
                      <a:lnTo>
                        <a:pt x="2571" y="0"/>
                      </a:lnTo>
                    </a:path>
                  </a:pathLst>
                </a:custGeom>
                <a:ln w="6350" cap="rnd">
                  <a:solidFill>
                    <a:schemeClr val="bg1">
                      <a:alpha val="40000"/>
                    </a:schemeClr>
                  </a:solidFill>
                  <a:prstDash val="solid"/>
                  <a:round/>
                </a:ln>
              </p:spPr>
              <p:txBody>
                <a:bodyPr rtlCol="0" anchor="ctr"/>
                <a:lstStyle/>
                <a:p>
                  <a:endParaRPr lang="en-GB"/>
                </a:p>
              </p:txBody>
            </p:sp>
            <p:sp>
              <p:nvSpPr>
                <p:cNvPr id="6022" name="Vrije vorm: vorm 6021">
                  <a:extLst>
                    <a:ext uri="{FF2B5EF4-FFF2-40B4-BE49-F238E27FC236}">
                      <a16:creationId xmlns:a16="http://schemas.microsoft.com/office/drawing/2014/main" id="{AD68EA98-C24F-4E5D-BD12-F14CC8C945B8}"/>
                    </a:ext>
                  </a:extLst>
                </p:cNvPr>
                <p:cNvSpPr/>
                <p:nvPr/>
              </p:nvSpPr>
              <p:spPr>
                <a:xfrm>
                  <a:off x="7596613" y="2707154"/>
                  <a:ext cx="11482" cy="14353"/>
                </a:xfrm>
                <a:custGeom>
                  <a:avLst/>
                  <a:gdLst>
                    <a:gd name="connsiteX0" fmla="*/ 11483 w 11482"/>
                    <a:gd name="connsiteY0" fmla="*/ 0 h 14353"/>
                    <a:gd name="connsiteX1" fmla="*/ 0 w 11482"/>
                    <a:gd name="connsiteY1" fmla="*/ 14354 h 14353"/>
                  </a:gdLst>
                  <a:ahLst/>
                  <a:cxnLst>
                    <a:cxn ang="0">
                      <a:pos x="connsiteX0" y="connsiteY0"/>
                    </a:cxn>
                    <a:cxn ang="0">
                      <a:pos x="connsiteX1" y="connsiteY1"/>
                    </a:cxn>
                  </a:cxnLst>
                  <a:rect l="l" t="t" r="r" b="b"/>
                  <a:pathLst>
                    <a:path w="11482" h="14353">
                      <a:moveTo>
                        <a:pt x="11483" y="0"/>
                      </a:moveTo>
                      <a:lnTo>
                        <a:pt x="0" y="14354"/>
                      </a:lnTo>
                    </a:path>
                  </a:pathLst>
                </a:custGeom>
                <a:ln w="6350" cap="rnd">
                  <a:solidFill>
                    <a:schemeClr val="bg1">
                      <a:alpha val="40000"/>
                    </a:schemeClr>
                  </a:solidFill>
                  <a:prstDash val="solid"/>
                  <a:round/>
                </a:ln>
              </p:spPr>
              <p:txBody>
                <a:bodyPr rtlCol="0" anchor="ctr"/>
                <a:lstStyle/>
                <a:p>
                  <a:endParaRPr lang="en-GB"/>
                </a:p>
              </p:txBody>
            </p:sp>
            <p:sp>
              <p:nvSpPr>
                <p:cNvPr id="6023" name="Vrije vorm: vorm 6022">
                  <a:extLst>
                    <a:ext uri="{FF2B5EF4-FFF2-40B4-BE49-F238E27FC236}">
                      <a16:creationId xmlns:a16="http://schemas.microsoft.com/office/drawing/2014/main" id="{C85EF14A-C198-4C0D-AE79-F66C777183D4}"/>
                    </a:ext>
                  </a:extLst>
                </p:cNvPr>
                <p:cNvSpPr/>
                <p:nvPr/>
              </p:nvSpPr>
              <p:spPr>
                <a:xfrm>
                  <a:off x="7564676" y="2678147"/>
                  <a:ext cx="8373" cy="358"/>
                </a:xfrm>
                <a:custGeom>
                  <a:avLst/>
                  <a:gdLst>
                    <a:gd name="connsiteX0" fmla="*/ 0 w 8373"/>
                    <a:gd name="connsiteY0" fmla="*/ 0 h 358"/>
                    <a:gd name="connsiteX1" fmla="*/ 8373 w 8373"/>
                    <a:gd name="connsiteY1" fmla="*/ 359 h 358"/>
                  </a:gdLst>
                  <a:ahLst/>
                  <a:cxnLst>
                    <a:cxn ang="0">
                      <a:pos x="connsiteX0" y="connsiteY0"/>
                    </a:cxn>
                    <a:cxn ang="0">
                      <a:pos x="connsiteX1" y="connsiteY1"/>
                    </a:cxn>
                  </a:cxnLst>
                  <a:rect l="l" t="t" r="r" b="b"/>
                  <a:pathLst>
                    <a:path w="8373" h="358">
                      <a:moveTo>
                        <a:pt x="0" y="0"/>
                      </a:moveTo>
                      <a:lnTo>
                        <a:pt x="8373" y="359"/>
                      </a:lnTo>
                    </a:path>
                  </a:pathLst>
                </a:custGeom>
                <a:ln w="6350" cap="rnd">
                  <a:solidFill>
                    <a:schemeClr val="bg1">
                      <a:alpha val="40000"/>
                    </a:schemeClr>
                  </a:solidFill>
                  <a:prstDash val="solid"/>
                  <a:round/>
                </a:ln>
              </p:spPr>
              <p:txBody>
                <a:bodyPr rtlCol="0" anchor="ctr"/>
                <a:lstStyle/>
                <a:p>
                  <a:endParaRPr lang="en-GB"/>
                </a:p>
              </p:txBody>
            </p:sp>
            <p:sp>
              <p:nvSpPr>
                <p:cNvPr id="6024" name="Vrije vorm: vorm 6023">
                  <a:extLst>
                    <a:ext uri="{FF2B5EF4-FFF2-40B4-BE49-F238E27FC236}">
                      <a16:creationId xmlns:a16="http://schemas.microsoft.com/office/drawing/2014/main" id="{934F5911-AB1B-45A1-9E14-18D393C31EBE}"/>
                    </a:ext>
                  </a:extLst>
                </p:cNvPr>
                <p:cNvSpPr/>
                <p:nvPr/>
              </p:nvSpPr>
              <p:spPr>
                <a:xfrm>
                  <a:off x="7548468" y="2678147"/>
                  <a:ext cx="16207" cy="9030"/>
                </a:xfrm>
                <a:custGeom>
                  <a:avLst/>
                  <a:gdLst>
                    <a:gd name="connsiteX0" fmla="*/ 16208 w 16207"/>
                    <a:gd name="connsiteY0" fmla="*/ 0 h 9030"/>
                    <a:gd name="connsiteX1" fmla="*/ 0 w 16207"/>
                    <a:gd name="connsiteY1" fmla="*/ 9031 h 9030"/>
                  </a:gdLst>
                  <a:ahLst/>
                  <a:cxnLst>
                    <a:cxn ang="0">
                      <a:pos x="connsiteX0" y="connsiteY0"/>
                    </a:cxn>
                    <a:cxn ang="0">
                      <a:pos x="connsiteX1" y="connsiteY1"/>
                    </a:cxn>
                  </a:cxnLst>
                  <a:rect l="l" t="t" r="r" b="b"/>
                  <a:pathLst>
                    <a:path w="16207" h="9030">
                      <a:moveTo>
                        <a:pt x="16208" y="0"/>
                      </a:moveTo>
                      <a:lnTo>
                        <a:pt x="0" y="9031"/>
                      </a:lnTo>
                    </a:path>
                  </a:pathLst>
                </a:custGeom>
                <a:ln w="6350" cap="rnd">
                  <a:solidFill>
                    <a:schemeClr val="bg1">
                      <a:alpha val="40000"/>
                    </a:schemeClr>
                  </a:solidFill>
                  <a:prstDash val="solid"/>
                  <a:round/>
                </a:ln>
              </p:spPr>
              <p:txBody>
                <a:bodyPr rtlCol="0" anchor="ctr"/>
                <a:lstStyle/>
                <a:p>
                  <a:endParaRPr lang="en-GB"/>
                </a:p>
              </p:txBody>
            </p:sp>
            <p:sp>
              <p:nvSpPr>
                <p:cNvPr id="6025" name="Vrije vorm: vorm 6024">
                  <a:extLst>
                    <a:ext uri="{FF2B5EF4-FFF2-40B4-BE49-F238E27FC236}">
                      <a16:creationId xmlns:a16="http://schemas.microsoft.com/office/drawing/2014/main" id="{27B37247-DC8F-4275-97D0-B3BD4FB005AB}"/>
                    </a:ext>
                  </a:extLst>
                </p:cNvPr>
                <p:cNvSpPr/>
                <p:nvPr/>
              </p:nvSpPr>
              <p:spPr>
                <a:xfrm>
                  <a:off x="7582678" y="2722584"/>
                  <a:ext cx="7475" cy="717"/>
                </a:xfrm>
                <a:custGeom>
                  <a:avLst/>
                  <a:gdLst>
                    <a:gd name="connsiteX0" fmla="*/ 0 w 7475"/>
                    <a:gd name="connsiteY0" fmla="*/ 718 h 717"/>
                    <a:gd name="connsiteX1" fmla="*/ 7476 w 7475"/>
                    <a:gd name="connsiteY1" fmla="*/ 0 h 717"/>
                  </a:gdLst>
                  <a:ahLst/>
                  <a:cxnLst>
                    <a:cxn ang="0">
                      <a:pos x="connsiteX0" y="connsiteY0"/>
                    </a:cxn>
                    <a:cxn ang="0">
                      <a:pos x="connsiteX1" y="connsiteY1"/>
                    </a:cxn>
                  </a:cxnLst>
                  <a:rect l="l" t="t" r="r" b="b"/>
                  <a:pathLst>
                    <a:path w="7475" h="717">
                      <a:moveTo>
                        <a:pt x="0" y="718"/>
                      </a:moveTo>
                      <a:lnTo>
                        <a:pt x="7476" y="0"/>
                      </a:lnTo>
                    </a:path>
                  </a:pathLst>
                </a:custGeom>
                <a:ln w="6350" cap="rnd">
                  <a:solidFill>
                    <a:schemeClr val="bg1">
                      <a:alpha val="40000"/>
                    </a:schemeClr>
                  </a:solidFill>
                  <a:prstDash val="solid"/>
                  <a:round/>
                </a:ln>
              </p:spPr>
              <p:txBody>
                <a:bodyPr rtlCol="0" anchor="ctr"/>
                <a:lstStyle/>
                <a:p>
                  <a:endParaRPr lang="en-GB"/>
                </a:p>
              </p:txBody>
            </p:sp>
            <p:sp>
              <p:nvSpPr>
                <p:cNvPr id="6026" name="Vrije vorm: vorm 6025">
                  <a:extLst>
                    <a:ext uri="{FF2B5EF4-FFF2-40B4-BE49-F238E27FC236}">
                      <a16:creationId xmlns:a16="http://schemas.microsoft.com/office/drawing/2014/main" id="{27996226-4AF5-4333-8EF7-0224DAF10F84}"/>
                    </a:ext>
                  </a:extLst>
                </p:cNvPr>
                <p:cNvSpPr/>
                <p:nvPr/>
              </p:nvSpPr>
              <p:spPr>
                <a:xfrm>
                  <a:off x="7574305" y="2721328"/>
                  <a:ext cx="8373" cy="1973"/>
                </a:xfrm>
                <a:custGeom>
                  <a:avLst/>
                  <a:gdLst>
                    <a:gd name="connsiteX0" fmla="*/ 8373 w 8373"/>
                    <a:gd name="connsiteY0" fmla="*/ 1974 h 1973"/>
                    <a:gd name="connsiteX1" fmla="*/ 0 w 8373"/>
                    <a:gd name="connsiteY1" fmla="*/ 0 h 1973"/>
                  </a:gdLst>
                  <a:ahLst/>
                  <a:cxnLst>
                    <a:cxn ang="0">
                      <a:pos x="connsiteX0" y="connsiteY0"/>
                    </a:cxn>
                    <a:cxn ang="0">
                      <a:pos x="connsiteX1" y="connsiteY1"/>
                    </a:cxn>
                  </a:cxnLst>
                  <a:rect l="l" t="t" r="r" b="b"/>
                  <a:pathLst>
                    <a:path w="8373" h="1973">
                      <a:moveTo>
                        <a:pt x="8373" y="197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27" name="Vrije vorm: vorm 6026">
                  <a:extLst>
                    <a:ext uri="{FF2B5EF4-FFF2-40B4-BE49-F238E27FC236}">
                      <a16:creationId xmlns:a16="http://schemas.microsoft.com/office/drawing/2014/main" id="{FACA6EBF-E104-4C43-AD34-3E61DF7910C4}"/>
                    </a:ext>
                  </a:extLst>
                </p:cNvPr>
                <p:cNvSpPr/>
                <p:nvPr/>
              </p:nvSpPr>
              <p:spPr>
                <a:xfrm>
                  <a:off x="7574783" y="2721508"/>
                  <a:ext cx="239" cy="777"/>
                </a:xfrm>
                <a:custGeom>
                  <a:avLst/>
                  <a:gdLst>
                    <a:gd name="connsiteX0" fmla="*/ 239 w 239"/>
                    <a:gd name="connsiteY0" fmla="*/ 0 h 777"/>
                    <a:gd name="connsiteX1" fmla="*/ 0 w 239"/>
                    <a:gd name="connsiteY1" fmla="*/ 777 h 777"/>
                  </a:gdLst>
                  <a:ahLst/>
                  <a:cxnLst>
                    <a:cxn ang="0">
                      <a:pos x="connsiteX0" y="connsiteY0"/>
                    </a:cxn>
                    <a:cxn ang="0">
                      <a:pos x="connsiteX1" y="connsiteY1"/>
                    </a:cxn>
                  </a:cxnLst>
                  <a:rect l="l" t="t" r="r" b="b"/>
                  <a:pathLst>
                    <a:path w="239" h="777">
                      <a:moveTo>
                        <a:pt x="239" y="0"/>
                      </a:moveTo>
                      <a:lnTo>
                        <a:pt x="0" y="777"/>
                      </a:lnTo>
                    </a:path>
                  </a:pathLst>
                </a:custGeom>
                <a:ln w="6350" cap="rnd">
                  <a:solidFill>
                    <a:schemeClr val="bg1">
                      <a:alpha val="40000"/>
                    </a:schemeClr>
                  </a:solidFill>
                  <a:prstDash val="solid"/>
                  <a:round/>
                </a:ln>
              </p:spPr>
              <p:txBody>
                <a:bodyPr rtlCol="0" anchor="ctr"/>
                <a:lstStyle/>
                <a:p>
                  <a:endParaRPr lang="en-GB"/>
                </a:p>
              </p:txBody>
            </p:sp>
            <p:sp>
              <p:nvSpPr>
                <p:cNvPr id="6028" name="Vrije vorm: vorm 6027">
                  <a:extLst>
                    <a:ext uri="{FF2B5EF4-FFF2-40B4-BE49-F238E27FC236}">
                      <a16:creationId xmlns:a16="http://schemas.microsoft.com/office/drawing/2014/main" id="{314195FF-D25A-4D3B-8B2F-1D5B1D749FF2}"/>
                    </a:ext>
                  </a:extLst>
                </p:cNvPr>
                <p:cNvSpPr/>
                <p:nvPr/>
              </p:nvSpPr>
              <p:spPr>
                <a:xfrm>
                  <a:off x="7574783" y="2722285"/>
                  <a:ext cx="15669" cy="2153"/>
                </a:xfrm>
                <a:custGeom>
                  <a:avLst/>
                  <a:gdLst>
                    <a:gd name="connsiteX0" fmla="*/ 15669 w 15669"/>
                    <a:gd name="connsiteY0" fmla="*/ 2153 h 2153"/>
                    <a:gd name="connsiteX1" fmla="*/ 0 w 15669"/>
                    <a:gd name="connsiteY1" fmla="*/ 0 h 2153"/>
                  </a:gdLst>
                  <a:ahLst/>
                  <a:cxnLst>
                    <a:cxn ang="0">
                      <a:pos x="connsiteX0" y="connsiteY0"/>
                    </a:cxn>
                    <a:cxn ang="0">
                      <a:pos x="connsiteX1" y="connsiteY1"/>
                    </a:cxn>
                  </a:cxnLst>
                  <a:rect l="l" t="t" r="r" b="b"/>
                  <a:pathLst>
                    <a:path w="15669" h="2153">
                      <a:moveTo>
                        <a:pt x="15669" y="2153"/>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29" name="Vrije vorm: vorm 6028">
                  <a:extLst>
                    <a:ext uri="{FF2B5EF4-FFF2-40B4-BE49-F238E27FC236}">
                      <a16:creationId xmlns:a16="http://schemas.microsoft.com/office/drawing/2014/main" id="{3B9B5BA3-E121-4D41-A45C-96135CF6F1F8}"/>
                    </a:ext>
                  </a:extLst>
                </p:cNvPr>
                <p:cNvSpPr/>
                <p:nvPr/>
              </p:nvSpPr>
              <p:spPr>
                <a:xfrm>
                  <a:off x="7589915" y="2722584"/>
                  <a:ext cx="299" cy="119"/>
                </a:xfrm>
                <a:custGeom>
                  <a:avLst/>
                  <a:gdLst>
                    <a:gd name="connsiteX0" fmla="*/ 299 w 299"/>
                    <a:gd name="connsiteY0" fmla="*/ 120 h 119"/>
                    <a:gd name="connsiteX1" fmla="*/ 0 w 299"/>
                    <a:gd name="connsiteY1" fmla="*/ 0 h 119"/>
                  </a:gdLst>
                  <a:ahLst/>
                  <a:cxnLst>
                    <a:cxn ang="0">
                      <a:pos x="connsiteX0" y="connsiteY0"/>
                    </a:cxn>
                    <a:cxn ang="0">
                      <a:pos x="connsiteX1" y="connsiteY1"/>
                    </a:cxn>
                  </a:cxnLst>
                  <a:rect l="l" t="t" r="r" b="b"/>
                  <a:pathLst>
                    <a:path w="299" h="119">
                      <a:moveTo>
                        <a:pt x="299" y="12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30" name="Vrije vorm: vorm 6029">
                  <a:extLst>
                    <a:ext uri="{FF2B5EF4-FFF2-40B4-BE49-F238E27FC236}">
                      <a16:creationId xmlns:a16="http://schemas.microsoft.com/office/drawing/2014/main" id="{C18183E8-15B6-41D6-A982-CC9CF758B195}"/>
                    </a:ext>
                  </a:extLst>
                </p:cNvPr>
                <p:cNvSpPr/>
                <p:nvPr/>
              </p:nvSpPr>
              <p:spPr>
                <a:xfrm>
                  <a:off x="7668621" y="2664452"/>
                  <a:ext cx="6160" cy="6638"/>
                </a:xfrm>
                <a:custGeom>
                  <a:avLst/>
                  <a:gdLst>
                    <a:gd name="connsiteX0" fmla="*/ 6160 w 6160"/>
                    <a:gd name="connsiteY0" fmla="*/ 6639 h 6638"/>
                    <a:gd name="connsiteX1" fmla="*/ 0 w 6160"/>
                    <a:gd name="connsiteY1" fmla="*/ 0 h 6638"/>
                  </a:gdLst>
                  <a:ahLst/>
                  <a:cxnLst>
                    <a:cxn ang="0">
                      <a:pos x="connsiteX0" y="connsiteY0"/>
                    </a:cxn>
                    <a:cxn ang="0">
                      <a:pos x="connsiteX1" y="connsiteY1"/>
                    </a:cxn>
                  </a:cxnLst>
                  <a:rect l="l" t="t" r="r" b="b"/>
                  <a:pathLst>
                    <a:path w="6160" h="6638">
                      <a:moveTo>
                        <a:pt x="6160" y="6639"/>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31" name="Vrije vorm: vorm 6030">
                  <a:extLst>
                    <a:ext uri="{FF2B5EF4-FFF2-40B4-BE49-F238E27FC236}">
                      <a16:creationId xmlns:a16="http://schemas.microsoft.com/office/drawing/2014/main" id="{2663043C-C79F-4841-8350-2CF951C25B6D}"/>
                    </a:ext>
                  </a:extLst>
                </p:cNvPr>
                <p:cNvSpPr/>
                <p:nvPr/>
              </p:nvSpPr>
              <p:spPr>
                <a:xfrm>
                  <a:off x="7647389" y="2643758"/>
                  <a:ext cx="3947" cy="2631"/>
                </a:xfrm>
                <a:custGeom>
                  <a:avLst/>
                  <a:gdLst>
                    <a:gd name="connsiteX0" fmla="*/ 3947 w 3947"/>
                    <a:gd name="connsiteY0" fmla="*/ 2631 h 2631"/>
                    <a:gd name="connsiteX1" fmla="*/ 0 w 3947"/>
                    <a:gd name="connsiteY1" fmla="*/ 0 h 2631"/>
                  </a:gdLst>
                  <a:ahLst/>
                  <a:cxnLst>
                    <a:cxn ang="0">
                      <a:pos x="connsiteX0" y="connsiteY0"/>
                    </a:cxn>
                    <a:cxn ang="0">
                      <a:pos x="connsiteX1" y="connsiteY1"/>
                    </a:cxn>
                  </a:cxnLst>
                  <a:rect l="l" t="t" r="r" b="b"/>
                  <a:pathLst>
                    <a:path w="3947" h="2631">
                      <a:moveTo>
                        <a:pt x="3947" y="263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32" name="Vrije vorm: vorm 6031">
                  <a:extLst>
                    <a:ext uri="{FF2B5EF4-FFF2-40B4-BE49-F238E27FC236}">
                      <a16:creationId xmlns:a16="http://schemas.microsoft.com/office/drawing/2014/main" id="{5DE56E2E-3308-4435-AEBD-AFE9D67EB111}"/>
                    </a:ext>
                  </a:extLst>
                </p:cNvPr>
                <p:cNvSpPr/>
                <p:nvPr/>
              </p:nvSpPr>
              <p:spPr>
                <a:xfrm>
                  <a:off x="7746071" y="2749617"/>
                  <a:ext cx="2810" cy="956"/>
                </a:xfrm>
                <a:custGeom>
                  <a:avLst/>
                  <a:gdLst>
                    <a:gd name="connsiteX0" fmla="*/ 2811 w 2810"/>
                    <a:gd name="connsiteY0" fmla="*/ 957 h 956"/>
                    <a:gd name="connsiteX1" fmla="*/ 0 w 2810"/>
                    <a:gd name="connsiteY1" fmla="*/ 0 h 956"/>
                  </a:gdLst>
                  <a:ahLst/>
                  <a:cxnLst>
                    <a:cxn ang="0">
                      <a:pos x="connsiteX0" y="connsiteY0"/>
                    </a:cxn>
                    <a:cxn ang="0">
                      <a:pos x="connsiteX1" y="connsiteY1"/>
                    </a:cxn>
                  </a:cxnLst>
                  <a:rect l="l" t="t" r="r" b="b"/>
                  <a:pathLst>
                    <a:path w="2810" h="956">
                      <a:moveTo>
                        <a:pt x="2811" y="95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33" name="Vrije vorm: vorm 6032">
                  <a:extLst>
                    <a:ext uri="{FF2B5EF4-FFF2-40B4-BE49-F238E27FC236}">
                      <a16:creationId xmlns:a16="http://schemas.microsoft.com/office/drawing/2014/main" id="{2BDF5FE4-89E1-4B4B-9389-A359AA3DA152}"/>
                    </a:ext>
                  </a:extLst>
                </p:cNvPr>
                <p:cNvSpPr/>
                <p:nvPr/>
              </p:nvSpPr>
              <p:spPr>
                <a:xfrm>
                  <a:off x="7737758" y="2744593"/>
                  <a:ext cx="8313" cy="5023"/>
                </a:xfrm>
                <a:custGeom>
                  <a:avLst/>
                  <a:gdLst>
                    <a:gd name="connsiteX0" fmla="*/ 0 w 8313"/>
                    <a:gd name="connsiteY0" fmla="*/ 0 h 5023"/>
                    <a:gd name="connsiteX1" fmla="*/ 8313 w 8313"/>
                    <a:gd name="connsiteY1" fmla="*/ 5024 h 5023"/>
                  </a:gdLst>
                  <a:ahLst/>
                  <a:cxnLst>
                    <a:cxn ang="0">
                      <a:pos x="connsiteX0" y="connsiteY0"/>
                    </a:cxn>
                    <a:cxn ang="0">
                      <a:pos x="connsiteX1" y="connsiteY1"/>
                    </a:cxn>
                  </a:cxnLst>
                  <a:rect l="l" t="t" r="r" b="b"/>
                  <a:pathLst>
                    <a:path w="8313" h="5023">
                      <a:moveTo>
                        <a:pt x="0" y="0"/>
                      </a:moveTo>
                      <a:lnTo>
                        <a:pt x="8313" y="5024"/>
                      </a:lnTo>
                    </a:path>
                  </a:pathLst>
                </a:custGeom>
                <a:ln w="6350" cap="rnd">
                  <a:solidFill>
                    <a:schemeClr val="bg1">
                      <a:alpha val="40000"/>
                    </a:schemeClr>
                  </a:solidFill>
                  <a:prstDash val="solid"/>
                  <a:round/>
                </a:ln>
              </p:spPr>
              <p:txBody>
                <a:bodyPr rtlCol="0" anchor="ctr"/>
                <a:lstStyle/>
                <a:p>
                  <a:endParaRPr lang="en-GB"/>
                </a:p>
              </p:txBody>
            </p:sp>
            <p:sp>
              <p:nvSpPr>
                <p:cNvPr id="6034" name="Vrije vorm: vorm 6033">
                  <a:extLst>
                    <a:ext uri="{FF2B5EF4-FFF2-40B4-BE49-F238E27FC236}">
                      <a16:creationId xmlns:a16="http://schemas.microsoft.com/office/drawing/2014/main" id="{84E9B11B-F0E7-43C7-8B3F-FEE57A4E37C6}"/>
                    </a:ext>
                  </a:extLst>
                </p:cNvPr>
                <p:cNvSpPr/>
                <p:nvPr/>
              </p:nvSpPr>
              <p:spPr>
                <a:xfrm>
                  <a:off x="7720593" y="2711699"/>
                  <a:ext cx="17164" cy="32893"/>
                </a:xfrm>
                <a:custGeom>
                  <a:avLst/>
                  <a:gdLst>
                    <a:gd name="connsiteX0" fmla="*/ 17164 w 17164"/>
                    <a:gd name="connsiteY0" fmla="*/ 32894 h 32893"/>
                    <a:gd name="connsiteX1" fmla="*/ 0 w 17164"/>
                    <a:gd name="connsiteY1" fmla="*/ 0 h 32893"/>
                  </a:gdLst>
                  <a:ahLst/>
                  <a:cxnLst>
                    <a:cxn ang="0">
                      <a:pos x="connsiteX0" y="connsiteY0"/>
                    </a:cxn>
                    <a:cxn ang="0">
                      <a:pos x="connsiteX1" y="connsiteY1"/>
                    </a:cxn>
                  </a:cxnLst>
                  <a:rect l="l" t="t" r="r" b="b"/>
                  <a:pathLst>
                    <a:path w="17164" h="32893">
                      <a:moveTo>
                        <a:pt x="17164" y="3289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35" name="Vrije vorm: vorm 6034">
                  <a:extLst>
                    <a:ext uri="{FF2B5EF4-FFF2-40B4-BE49-F238E27FC236}">
                      <a16:creationId xmlns:a16="http://schemas.microsoft.com/office/drawing/2014/main" id="{CA659B04-1818-46B1-B764-759D8C242645}"/>
                    </a:ext>
                  </a:extLst>
                </p:cNvPr>
                <p:cNvSpPr/>
                <p:nvPr/>
              </p:nvSpPr>
              <p:spPr>
                <a:xfrm>
                  <a:off x="7624962" y="2733648"/>
                  <a:ext cx="3109" cy="19138"/>
                </a:xfrm>
                <a:custGeom>
                  <a:avLst/>
                  <a:gdLst>
                    <a:gd name="connsiteX0" fmla="*/ 3110 w 3109"/>
                    <a:gd name="connsiteY0" fmla="*/ 19138 h 19138"/>
                    <a:gd name="connsiteX1" fmla="*/ 0 w 3109"/>
                    <a:gd name="connsiteY1" fmla="*/ 0 h 19138"/>
                  </a:gdLst>
                  <a:ahLst/>
                  <a:cxnLst>
                    <a:cxn ang="0">
                      <a:pos x="connsiteX0" y="connsiteY0"/>
                    </a:cxn>
                    <a:cxn ang="0">
                      <a:pos x="connsiteX1" y="connsiteY1"/>
                    </a:cxn>
                  </a:cxnLst>
                  <a:rect l="l" t="t" r="r" b="b"/>
                  <a:pathLst>
                    <a:path w="3109" h="19138">
                      <a:moveTo>
                        <a:pt x="3110" y="1913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36" name="Vrije vorm: vorm 6035">
                  <a:extLst>
                    <a:ext uri="{FF2B5EF4-FFF2-40B4-BE49-F238E27FC236}">
                      <a16:creationId xmlns:a16="http://schemas.microsoft.com/office/drawing/2014/main" id="{D79AE8E6-22E2-4941-8810-4FD1F7C963B6}"/>
                    </a:ext>
                  </a:extLst>
                </p:cNvPr>
                <p:cNvSpPr/>
                <p:nvPr/>
              </p:nvSpPr>
              <p:spPr>
                <a:xfrm>
                  <a:off x="7645715" y="2641366"/>
                  <a:ext cx="1674" cy="2392"/>
                </a:xfrm>
                <a:custGeom>
                  <a:avLst/>
                  <a:gdLst>
                    <a:gd name="connsiteX0" fmla="*/ 0 w 1674"/>
                    <a:gd name="connsiteY0" fmla="*/ 0 h 2392"/>
                    <a:gd name="connsiteX1" fmla="*/ 1674 w 1674"/>
                    <a:gd name="connsiteY1" fmla="*/ 2392 h 2392"/>
                  </a:gdLst>
                  <a:ahLst/>
                  <a:cxnLst>
                    <a:cxn ang="0">
                      <a:pos x="connsiteX0" y="connsiteY0"/>
                    </a:cxn>
                    <a:cxn ang="0">
                      <a:pos x="connsiteX1" y="connsiteY1"/>
                    </a:cxn>
                  </a:cxnLst>
                  <a:rect l="l" t="t" r="r" b="b"/>
                  <a:pathLst>
                    <a:path w="1674" h="2392">
                      <a:moveTo>
                        <a:pt x="0" y="0"/>
                      </a:moveTo>
                      <a:lnTo>
                        <a:pt x="1674" y="2392"/>
                      </a:lnTo>
                    </a:path>
                  </a:pathLst>
                </a:custGeom>
                <a:ln w="6350" cap="rnd">
                  <a:solidFill>
                    <a:schemeClr val="bg1">
                      <a:alpha val="40000"/>
                    </a:schemeClr>
                  </a:solidFill>
                  <a:prstDash val="solid"/>
                  <a:round/>
                </a:ln>
              </p:spPr>
              <p:txBody>
                <a:bodyPr rtlCol="0" anchor="ctr"/>
                <a:lstStyle/>
                <a:p>
                  <a:endParaRPr lang="en-GB"/>
                </a:p>
              </p:txBody>
            </p:sp>
            <p:sp>
              <p:nvSpPr>
                <p:cNvPr id="6037" name="Vrije vorm: vorm 6036">
                  <a:extLst>
                    <a:ext uri="{FF2B5EF4-FFF2-40B4-BE49-F238E27FC236}">
                      <a16:creationId xmlns:a16="http://schemas.microsoft.com/office/drawing/2014/main" id="{9C034CF1-E933-4F9C-89D7-E7BAE34C469E}"/>
                    </a:ext>
                  </a:extLst>
                </p:cNvPr>
                <p:cNvSpPr/>
                <p:nvPr/>
              </p:nvSpPr>
              <p:spPr>
                <a:xfrm>
                  <a:off x="7594639" y="2764270"/>
                  <a:ext cx="24640" cy="26255"/>
                </a:xfrm>
                <a:custGeom>
                  <a:avLst/>
                  <a:gdLst>
                    <a:gd name="connsiteX0" fmla="*/ 24641 w 24640"/>
                    <a:gd name="connsiteY0" fmla="*/ 0 h 26255"/>
                    <a:gd name="connsiteX1" fmla="*/ 0 w 24640"/>
                    <a:gd name="connsiteY1" fmla="*/ 26255 h 26255"/>
                  </a:gdLst>
                  <a:ahLst/>
                  <a:cxnLst>
                    <a:cxn ang="0">
                      <a:pos x="connsiteX0" y="connsiteY0"/>
                    </a:cxn>
                    <a:cxn ang="0">
                      <a:pos x="connsiteX1" y="connsiteY1"/>
                    </a:cxn>
                  </a:cxnLst>
                  <a:rect l="l" t="t" r="r" b="b"/>
                  <a:pathLst>
                    <a:path w="24640" h="26255">
                      <a:moveTo>
                        <a:pt x="24641" y="0"/>
                      </a:moveTo>
                      <a:lnTo>
                        <a:pt x="0" y="26255"/>
                      </a:lnTo>
                    </a:path>
                  </a:pathLst>
                </a:custGeom>
                <a:ln w="6350" cap="rnd">
                  <a:solidFill>
                    <a:schemeClr val="bg1">
                      <a:alpha val="40000"/>
                    </a:schemeClr>
                  </a:solidFill>
                  <a:prstDash val="solid"/>
                  <a:round/>
                </a:ln>
              </p:spPr>
              <p:txBody>
                <a:bodyPr rtlCol="0" anchor="ctr"/>
                <a:lstStyle/>
                <a:p>
                  <a:endParaRPr lang="en-GB"/>
                </a:p>
              </p:txBody>
            </p:sp>
            <p:sp>
              <p:nvSpPr>
                <p:cNvPr id="6038" name="Vrije vorm: vorm 6037">
                  <a:extLst>
                    <a:ext uri="{FF2B5EF4-FFF2-40B4-BE49-F238E27FC236}">
                      <a16:creationId xmlns:a16="http://schemas.microsoft.com/office/drawing/2014/main" id="{0E8CB044-A73E-40B1-AE2A-8FA0CF8A7D00}"/>
                    </a:ext>
                  </a:extLst>
                </p:cNvPr>
                <p:cNvSpPr/>
                <p:nvPr/>
              </p:nvSpPr>
              <p:spPr>
                <a:xfrm>
                  <a:off x="7613359" y="2760921"/>
                  <a:ext cx="5920" cy="3349"/>
                </a:xfrm>
                <a:custGeom>
                  <a:avLst/>
                  <a:gdLst>
                    <a:gd name="connsiteX0" fmla="*/ 5921 w 5920"/>
                    <a:gd name="connsiteY0" fmla="*/ 3349 h 3349"/>
                    <a:gd name="connsiteX1" fmla="*/ 0 w 5920"/>
                    <a:gd name="connsiteY1" fmla="*/ 0 h 3349"/>
                  </a:gdLst>
                  <a:ahLst/>
                  <a:cxnLst>
                    <a:cxn ang="0">
                      <a:pos x="connsiteX0" y="connsiteY0"/>
                    </a:cxn>
                    <a:cxn ang="0">
                      <a:pos x="connsiteX1" y="connsiteY1"/>
                    </a:cxn>
                  </a:cxnLst>
                  <a:rect l="l" t="t" r="r" b="b"/>
                  <a:pathLst>
                    <a:path w="5920" h="3349">
                      <a:moveTo>
                        <a:pt x="5921" y="3349"/>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39" name="Vrije vorm: vorm 6038">
                  <a:extLst>
                    <a:ext uri="{FF2B5EF4-FFF2-40B4-BE49-F238E27FC236}">
                      <a16:creationId xmlns:a16="http://schemas.microsoft.com/office/drawing/2014/main" id="{24E53C79-A9F0-4002-B1CA-0619652250CB}"/>
                    </a:ext>
                  </a:extLst>
                </p:cNvPr>
                <p:cNvSpPr/>
                <p:nvPr/>
              </p:nvSpPr>
              <p:spPr>
                <a:xfrm>
                  <a:off x="7746071" y="2749617"/>
                  <a:ext cx="2751" cy="1136"/>
                </a:xfrm>
                <a:custGeom>
                  <a:avLst/>
                  <a:gdLst>
                    <a:gd name="connsiteX0" fmla="*/ 2751 w 2751"/>
                    <a:gd name="connsiteY0" fmla="*/ 1136 h 1136"/>
                    <a:gd name="connsiteX1" fmla="*/ 0 w 2751"/>
                    <a:gd name="connsiteY1" fmla="*/ 0 h 1136"/>
                  </a:gdLst>
                  <a:ahLst/>
                  <a:cxnLst>
                    <a:cxn ang="0">
                      <a:pos x="connsiteX0" y="connsiteY0"/>
                    </a:cxn>
                    <a:cxn ang="0">
                      <a:pos x="connsiteX1" y="connsiteY1"/>
                    </a:cxn>
                  </a:cxnLst>
                  <a:rect l="l" t="t" r="r" b="b"/>
                  <a:pathLst>
                    <a:path w="2751" h="1136">
                      <a:moveTo>
                        <a:pt x="2751" y="113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40" name="Vrije vorm: vorm 6039">
                  <a:extLst>
                    <a:ext uri="{FF2B5EF4-FFF2-40B4-BE49-F238E27FC236}">
                      <a16:creationId xmlns:a16="http://schemas.microsoft.com/office/drawing/2014/main" id="{6C34C45A-5C56-4722-B0FB-70BFC390B0AE}"/>
                    </a:ext>
                  </a:extLst>
                </p:cNvPr>
                <p:cNvSpPr/>
                <p:nvPr/>
              </p:nvSpPr>
              <p:spPr>
                <a:xfrm>
                  <a:off x="7735067" y="2806613"/>
                  <a:ext cx="10167" cy="12320"/>
                </a:xfrm>
                <a:custGeom>
                  <a:avLst/>
                  <a:gdLst>
                    <a:gd name="connsiteX0" fmla="*/ 0 w 10167"/>
                    <a:gd name="connsiteY0" fmla="*/ 0 h 12320"/>
                    <a:gd name="connsiteX1" fmla="*/ 10167 w 10167"/>
                    <a:gd name="connsiteY1" fmla="*/ 12320 h 12320"/>
                  </a:gdLst>
                  <a:ahLst/>
                  <a:cxnLst>
                    <a:cxn ang="0">
                      <a:pos x="connsiteX0" y="connsiteY0"/>
                    </a:cxn>
                    <a:cxn ang="0">
                      <a:pos x="connsiteX1" y="connsiteY1"/>
                    </a:cxn>
                  </a:cxnLst>
                  <a:rect l="l" t="t" r="r" b="b"/>
                  <a:pathLst>
                    <a:path w="10167" h="12320">
                      <a:moveTo>
                        <a:pt x="0" y="0"/>
                      </a:moveTo>
                      <a:lnTo>
                        <a:pt x="10167" y="12320"/>
                      </a:lnTo>
                    </a:path>
                  </a:pathLst>
                </a:custGeom>
                <a:ln w="6350" cap="rnd">
                  <a:solidFill>
                    <a:schemeClr val="bg1">
                      <a:alpha val="40000"/>
                    </a:schemeClr>
                  </a:solidFill>
                  <a:prstDash val="solid"/>
                  <a:round/>
                </a:ln>
              </p:spPr>
              <p:txBody>
                <a:bodyPr rtlCol="0" anchor="ctr"/>
                <a:lstStyle/>
                <a:p>
                  <a:endParaRPr lang="en-GB"/>
                </a:p>
              </p:txBody>
            </p:sp>
            <p:sp>
              <p:nvSpPr>
                <p:cNvPr id="6041" name="Vrije vorm: vorm 6040">
                  <a:extLst>
                    <a:ext uri="{FF2B5EF4-FFF2-40B4-BE49-F238E27FC236}">
                      <a16:creationId xmlns:a16="http://schemas.microsoft.com/office/drawing/2014/main" id="{211C4E8B-9D24-4944-97B9-3D7C4236E637}"/>
                    </a:ext>
                  </a:extLst>
                </p:cNvPr>
                <p:cNvSpPr/>
                <p:nvPr/>
              </p:nvSpPr>
              <p:spPr>
                <a:xfrm>
                  <a:off x="7578731" y="2700635"/>
                  <a:ext cx="9748" cy="6100"/>
                </a:xfrm>
                <a:custGeom>
                  <a:avLst/>
                  <a:gdLst>
                    <a:gd name="connsiteX0" fmla="*/ 9749 w 9748"/>
                    <a:gd name="connsiteY0" fmla="*/ 6100 h 6100"/>
                    <a:gd name="connsiteX1" fmla="*/ 0 w 9748"/>
                    <a:gd name="connsiteY1" fmla="*/ 0 h 6100"/>
                  </a:gdLst>
                  <a:ahLst/>
                  <a:cxnLst>
                    <a:cxn ang="0">
                      <a:pos x="connsiteX0" y="connsiteY0"/>
                    </a:cxn>
                    <a:cxn ang="0">
                      <a:pos x="connsiteX1" y="connsiteY1"/>
                    </a:cxn>
                  </a:cxnLst>
                  <a:rect l="l" t="t" r="r" b="b"/>
                  <a:pathLst>
                    <a:path w="9748" h="6100">
                      <a:moveTo>
                        <a:pt x="9749" y="610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42" name="Vrije vorm: vorm 6041">
                  <a:extLst>
                    <a:ext uri="{FF2B5EF4-FFF2-40B4-BE49-F238E27FC236}">
                      <a16:creationId xmlns:a16="http://schemas.microsoft.com/office/drawing/2014/main" id="{F0FF9AA5-9109-48F8-8C59-5A694A2AEF03}"/>
                    </a:ext>
                  </a:extLst>
                </p:cNvPr>
                <p:cNvSpPr/>
                <p:nvPr/>
              </p:nvSpPr>
              <p:spPr>
                <a:xfrm>
                  <a:off x="7562224" y="2712237"/>
                  <a:ext cx="5681" cy="1734"/>
                </a:xfrm>
                <a:custGeom>
                  <a:avLst/>
                  <a:gdLst>
                    <a:gd name="connsiteX0" fmla="*/ 5682 w 5681"/>
                    <a:gd name="connsiteY0" fmla="*/ 0 h 1734"/>
                    <a:gd name="connsiteX1" fmla="*/ 0 w 5681"/>
                    <a:gd name="connsiteY1" fmla="*/ 1734 h 1734"/>
                  </a:gdLst>
                  <a:ahLst/>
                  <a:cxnLst>
                    <a:cxn ang="0">
                      <a:pos x="connsiteX0" y="connsiteY0"/>
                    </a:cxn>
                    <a:cxn ang="0">
                      <a:pos x="connsiteX1" y="connsiteY1"/>
                    </a:cxn>
                  </a:cxnLst>
                  <a:rect l="l" t="t" r="r" b="b"/>
                  <a:pathLst>
                    <a:path w="5681" h="1734">
                      <a:moveTo>
                        <a:pt x="5682" y="0"/>
                      </a:moveTo>
                      <a:lnTo>
                        <a:pt x="0" y="1734"/>
                      </a:lnTo>
                    </a:path>
                  </a:pathLst>
                </a:custGeom>
                <a:ln w="6350" cap="rnd">
                  <a:solidFill>
                    <a:schemeClr val="bg1">
                      <a:alpha val="40000"/>
                    </a:schemeClr>
                  </a:solidFill>
                  <a:prstDash val="solid"/>
                  <a:round/>
                </a:ln>
              </p:spPr>
              <p:txBody>
                <a:bodyPr rtlCol="0" anchor="ctr"/>
                <a:lstStyle/>
                <a:p>
                  <a:endParaRPr lang="en-GB"/>
                </a:p>
              </p:txBody>
            </p:sp>
            <p:sp>
              <p:nvSpPr>
                <p:cNvPr id="6043" name="Vrije vorm: vorm 6042">
                  <a:extLst>
                    <a:ext uri="{FF2B5EF4-FFF2-40B4-BE49-F238E27FC236}">
                      <a16:creationId xmlns:a16="http://schemas.microsoft.com/office/drawing/2014/main" id="{A3F9B225-9744-4DAB-B56A-F0A9D5E85621}"/>
                    </a:ext>
                  </a:extLst>
                </p:cNvPr>
                <p:cNvSpPr/>
                <p:nvPr/>
              </p:nvSpPr>
              <p:spPr>
                <a:xfrm>
                  <a:off x="7613359" y="2760921"/>
                  <a:ext cx="6100" cy="3169"/>
                </a:xfrm>
                <a:custGeom>
                  <a:avLst/>
                  <a:gdLst>
                    <a:gd name="connsiteX0" fmla="*/ 6101 w 6100"/>
                    <a:gd name="connsiteY0" fmla="*/ 3170 h 3169"/>
                    <a:gd name="connsiteX1" fmla="*/ 0 w 6100"/>
                    <a:gd name="connsiteY1" fmla="*/ 0 h 3169"/>
                  </a:gdLst>
                  <a:ahLst/>
                  <a:cxnLst>
                    <a:cxn ang="0">
                      <a:pos x="connsiteX0" y="connsiteY0"/>
                    </a:cxn>
                    <a:cxn ang="0">
                      <a:pos x="connsiteX1" y="connsiteY1"/>
                    </a:cxn>
                  </a:cxnLst>
                  <a:rect l="l" t="t" r="r" b="b"/>
                  <a:pathLst>
                    <a:path w="6100" h="3169">
                      <a:moveTo>
                        <a:pt x="6101" y="317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44" name="Vrije vorm: vorm 6043">
                  <a:extLst>
                    <a:ext uri="{FF2B5EF4-FFF2-40B4-BE49-F238E27FC236}">
                      <a16:creationId xmlns:a16="http://schemas.microsoft.com/office/drawing/2014/main" id="{C2FE5059-FACD-4225-BEF8-B7244CF71F26}"/>
                    </a:ext>
                  </a:extLst>
                </p:cNvPr>
                <p:cNvSpPr/>
                <p:nvPr/>
              </p:nvSpPr>
              <p:spPr>
                <a:xfrm>
                  <a:off x="7590453" y="2724438"/>
                  <a:ext cx="5980" cy="59"/>
                </a:xfrm>
                <a:custGeom>
                  <a:avLst/>
                  <a:gdLst>
                    <a:gd name="connsiteX0" fmla="*/ 0 w 5980"/>
                    <a:gd name="connsiteY0" fmla="*/ 0 h 59"/>
                    <a:gd name="connsiteX1" fmla="*/ 0 w 5980"/>
                    <a:gd name="connsiteY1" fmla="*/ 60 h 59"/>
                  </a:gdLst>
                  <a:ahLst/>
                  <a:cxnLst>
                    <a:cxn ang="0">
                      <a:pos x="connsiteX0" y="connsiteY0"/>
                    </a:cxn>
                    <a:cxn ang="0">
                      <a:pos x="connsiteX1" y="connsiteY1"/>
                    </a:cxn>
                  </a:cxnLst>
                  <a:rect l="l" t="t" r="r" b="b"/>
                  <a:pathLst>
                    <a:path w="5980" h="59">
                      <a:moveTo>
                        <a:pt x="0" y="0"/>
                      </a:moveTo>
                      <a:lnTo>
                        <a:pt x="0" y="60"/>
                      </a:lnTo>
                    </a:path>
                  </a:pathLst>
                </a:custGeom>
                <a:ln w="6350" cap="rnd">
                  <a:solidFill>
                    <a:schemeClr val="bg1">
                      <a:alpha val="40000"/>
                    </a:schemeClr>
                  </a:solidFill>
                  <a:prstDash val="solid"/>
                  <a:round/>
                </a:ln>
              </p:spPr>
              <p:txBody>
                <a:bodyPr rtlCol="0" anchor="ctr"/>
                <a:lstStyle/>
                <a:p>
                  <a:endParaRPr lang="en-GB"/>
                </a:p>
              </p:txBody>
            </p:sp>
            <p:sp>
              <p:nvSpPr>
                <p:cNvPr id="6045" name="Vrije vorm: vorm 6044">
                  <a:extLst>
                    <a:ext uri="{FF2B5EF4-FFF2-40B4-BE49-F238E27FC236}">
                      <a16:creationId xmlns:a16="http://schemas.microsoft.com/office/drawing/2014/main" id="{E1C5FAC8-5017-4EB7-8ED6-05BD7449E3E9}"/>
                    </a:ext>
                  </a:extLst>
                </p:cNvPr>
                <p:cNvSpPr/>
                <p:nvPr/>
              </p:nvSpPr>
              <p:spPr>
                <a:xfrm>
                  <a:off x="7645715" y="2641366"/>
                  <a:ext cx="5621" cy="5023"/>
                </a:xfrm>
                <a:custGeom>
                  <a:avLst/>
                  <a:gdLst>
                    <a:gd name="connsiteX0" fmla="*/ 0 w 5621"/>
                    <a:gd name="connsiteY0" fmla="*/ 0 h 5023"/>
                    <a:gd name="connsiteX1" fmla="*/ 5622 w 5621"/>
                    <a:gd name="connsiteY1" fmla="*/ 5024 h 5023"/>
                  </a:gdLst>
                  <a:ahLst/>
                  <a:cxnLst>
                    <a:cxn ang="0">
                      <a:pos x="connsiteX0" y="connsiteY0"/>
                    </a:cxn>
                    <a:cxn ang="0">
                      <a:pos x="connsiteX1" y="connsiteY1"/>
                    </a:cxn>
                  </a:cxnLst>
                  <a:rect l="l" t="t" r="r" b="b"/>
                  <a:pathLst>
                    <a:path w="5621" h="5023">
                      <a:moveTo>
                        <a:pt x="0" y="0"/>
                      </a:moveTo>
                      <a:lnTo>
                        <a:pt x="5622" y="5024"/>
                      </a:lnTo>
                    </a:path>
                  </a:pathLst>
                </a:custGeom>
                <a:ln w="6350" cap="rnd">
                  <a:solidFill>
                    <a:schemeClr val="bg1">
                      <a:alpha val="40000"/>
                    </a:schemeClr>
                  </a:solidFill>
                  <a:prstDash val="solid"/>
                  <a:round/>
                </a:ln>
              </p:spPr>
              <p:txBody>
                <a:bodyPr rtlCol="0" anchor="ctr"/>
                <a:lstStyle/>
                <a:p>
                  <a:endParaRPr lang="en-GB"/>
                </a:p>
              </p:txBody>
            </p:sp>
            <p:sp>
              <p:nvSpPr>
                <p:cNvPr id="6046" name="Vrije vorm: vorm 6045">
                  <a:extLst>
                    <a:ext uri="{FF2B5EF4-FFF2-40B4-BE49-F238E27FC236}">
                      <a16:creationId xmlns:a16="http://schemas.microsoft.com/office/drawing/2014/main" id="{CE68EB55-C042-483C-BD01-AD1B18B373C8}"/>
                    </a:ext>
                  </a:extLst>
                </p:cNvPr>
                <p:cNvSpPr/>
                <p:nvPr/>
              </p:nvSpPr>
              <p:spPr>
                <a:xfrm>
                  <a:off x="7782554" y="2780896"/>
                  <a:ext cx="6997" cy="897"/>
                </a:xfrm>
                <a:custGeom>
                  <a:avLst/>
                  <a:gdLst>
                    <a:gd name="connsiteX0" fmla="*/ 0 w 6997"/>
                    <a:gd name="connsiteY0" fmla="*/ 0 h 897"/>
                    <a:gd name="connsiteX1" fmla="*/ 6997 w 6997"/>
                    <a:gd name="connsiteY1" fmla="*/ 897 h 897"/>
                  </a:gdLst>
                  <a:ahLst/>
                  <a:cxnLst>
                    <a:cxn ang="0">
                      <a:pos x="connsiteX0" y="connsiteY0"/>
                    </a:cxn>
                    <a:cxn ang="0">
                      <a:pos x="connsiteX1" y="connsiteY1"/>
                    </a:cxn>
                  </a:cxnLst>
                  <a:rect l="l" t="t" r="r" b="b"/>
                  <a:pathLst>
                    <a:path w="6997" h="897">
                      <a:moveTo>
                        <a:pt x="0" y="0"/>
                      </a:moveTo>
                      <a:lnTo>
                        <a:pt x="6997" y="897"/>
                      </a:lnTo>
                    </a:path>
                  </a:pathLst>
                </a:custGeom>
                <a:ln w="6350" cap="rnd">
                  <a:solidFill>
                    <a:schemeClr val="bg1">
                      <a:alpha val="40000"/>
                    </a:schemeClr>
                  </a:solidFill>
                  <a:prstDash val="solid"/>
                  <a:round/>
                </a:ln>
              </p:spPr>
              <p:txBody>
                <a:bodyPr rtlCol="0" anchor="ctr"/>
                <a:lstStyle/>
                <a:p>
                  <a:endParaRPr lang="en-GB"/>
                </a:p>
              </p:txBody>
            </p:sp>
            <p:sp>
              <p:nvSpPr>
                <p:cNvPr id="6047" name="Vrije vorm: vorm 6046">
                  <a:extLst>
                    <a:ext uri="{FF2B5EF4-FFF2-40B4-BE49-F238E27FC236}">
                      <a16:creationId xmlns:a16="http://schemas.microsoft.com/office/drawing/2014/main" id="{822D2073-7B16-47D0-8E62-2F2AB233DB67}"/>
                    </a:ext>
                  </a:extLst>
                </p:cNvPr>
                <p:cNvSpPr/>
                <p:nvPr/>
              </p:nvSpPr>
              <p:spPr>
                <a:xfrm>
                  <a:off x="7782255" y="2776052"/>
                  <a:ext cx="7296" cy="5741"/>
                </a:xfrm>
                <a:custGeom>
                  <a:avLst/>
                  <a:gdLst>
                    <a:gd name="connsiteX0" fmla="*/ 0 w 7296"/>
                    <a:gd name="connsiteY0" fmla="*/ 0 h 5741"/>
                    <a:gd name="connsiteX1" fmla="*/ 7296 w 7296"/>
                    <a:gd name="connsiteY1" fmla="*/ 5742 h 5741"/>
                  </a:gdLst>
                  <a:ahLst/>
                  <a:cxnLst>
                    <a:cxn ang="0">
                      <a:pos x="connsiteX0" y="connsiteY0"/>
                    </a:cxn>
                    <a:cxn ang="0">
                      <a:pos x="connsiteX1" y="connsiteY1"/>
                    </a:cxn>
                  </a:cxnLst>
                  <a:rect l="l" t="t" r="r" b="b"/>
                  <a:pathLst>
                    <a:path w="7296" h="5741">
                      <a:moveTo>
                        <a:pt x="0" y="0"/>
                      </a:moveTo>
                      <a:lnTo>
                        <a:pt x="7296" y="5742"/>
                      </a:lnTo>
                    </a:path>
                  </a:pathLst>
                </a:custGeom>
                <a:ln w="6350" cap="rnd">
                  <a:solidFill>
                    <a:schemeClr val="bg1">
                      <a:alpha val="40000"/>
                    </a:schemeClr>
                  </a:solidFill>
                  <a:prstDash val="solid"/>
                  <a:round/>
                </a:ln>
              </p:spPr>
              <p:txBody>
                <a:bodyPr rtlCol="0" anchor="ctr"/>
                <a:lstStyle/>
                <a:p>
                  <a:endParaRPr lang="en-GB"/>
                </a:p>
              </p:txBody>
            </p:sp>
            <p:sp>
              <p:nvSpPr>
                <p:cNvPr id="6048" name="Vrije vorm: vorm 6047">
                  <a:extLst>
                    <a:ext uri="{FF2B5EF4-FFF2-40B4-BE49-F238E27FC236}">
                      <a16:creationId xmlns:a16="http://schemas.microsoft.com/office/drawing/2014/main" id="{095A88E2-9A36-4FC4-9025-EC0878CC5B69}"/>
                    </a:ext>
                  </a:extLst>
                </p:cNvPr>
                <p:cNvSpPr/>
                <p:nvPr/>
              </p:nvSpPr>
              <p:spPr>
                <a:xfrm>
                  <a:off x="7527835" y="2700336"/>
                  <a:ext cx="7176" cy="5621"/>
                </a:xfrm>
                <a:custGeom>
                  <a:avLst/>
                  <a:gdLst>
                    <a:gd name="connsiteX0" fmla="*/ 0 w 7176"/>
                    <a:gd name="connsiteY0" fmla="*/ 5622 h 5621"/>
                    <a:gd name="connsiteX1" fmla="*/ 7177 w 7176"/>
                    <a:gd name="connsiteY1" fmla="*/ 0 h 5621"/>
                  </a:gdLst>
                  <a:ahLst/>
                  <a:cxnLst>
                    <a:cxn ang="0">
                      <a:pos x="connsiteX0" y="connsiteY0"/>
                    </a:cxn>
                    <a:cxn ang="0">
                      <a:pos x="connsiteX1" y="connsiteY1"/>
                    </a:cxn>
                  </a:cxnLst>
                  <a:rect l="l" t="t" r="r" b="b"/>
                  <a:pathLst>
                    <a:path w="7176" h="5621">
                      <a:moveTo>
                        <a:pt x="0" y="5622"/>
                      </a:moveTo>
                      <a:lnTo>
                        <a:pt x="7177" y="0"/>
                      </a:lnTo>
                    </a:path>
                  </a:pathLst>
                </a:custGeom>
                <a:ln w="6350" cap="rnd">
                  <a:solidFill>
                    <a:schemeClr val="bg1">
                      <a:alpha val="40000"/>
                    </a:schemeClr>
                  </a:solidFill>
                  <a:prstDash val="solid"/>
                  <a:round/>
                </a:ln>
              </p:spPr>
              <p:txBody>
                <a:bodyPr rtlCol="0" anchor="ctr"/>
                <a:lstStyle/>
                <a:p>
                  <a:endParaRPr lang="en-GB"/>
                </a:p>
              </p:txBody>
            </p:sp>
            <p:sp>
              <p:nvSpPr>
                <p:cNvPr id="6049" name="Vrije vorm: vorm 6048">
                  <a:extLst>
                    <a:ext uri="{FF2B5EF4-FFF2-40B4-BE49-F238E27FC236}">
                      <a16:creationId xmlns:a16="http://schemas.microsoft.com/office/drawing/2014/main" id="{18E2E556-BFC2-4EE0-B412-3A699CFD60D2}"/>
                    </a:ext>
                  </a:extLst>
                </p:cNvPr>
                <p:cNvSpPr/>
                <p:nvPr/>
              </p:nvSpPr>
              <p:spPr>
                <a:xfrm>
                  <a:off x="7773702" y="2747883"/>
                  <a:ext cx="598" cy="9808"/>
                </a:xfrm>
                <a:custGeom>
                  <a:avLst/>
                  <a:gdLst>
                    <a:gd name="connsiteX0" fmla="*/ 0 w 598"/>
                    <a:gd name="connsiteY0" fmla="*/ 9808 h 9808"/>
                    <a:gd name="connsiteX1" fmla="*/ 598 w 598"/>
                    <a:gd name="connsiteY1" fmla="*/ 0 h 9808"/>
                  </a:gdLst>
                  <a:ahLst/>
                  <a:cxnLst>
                    <a:cxn ang="0">
                      <a:pos x="connsiteX0" y="connsiteY0"/>
                    </a:cxn>
                    <a:cxn ang="0">
                      <a:pos x="connsiteX1" y="connsiteY1"/>
                    </a:cxn>
                  </a:cxnLst>
                  <a:rect l="l" t="t" r="r" b="b"/>
                  <a:pathLst>
                    <a:path w="598" h="9808">
                      <a:moveTo>
                        <a:pt x="0" y="9808"/>
                      </a:moveTo>
                      <a:lnTo>
                        <a:pt x="598" y="0"/>
                      </a:lnTo>
                    </a:path>
                  </a:pathLst>
                </a:custGeom>
                <a:ln w="6350" cap="rnd">
                  <a:solidFill>
                    <a:schemeClr val="bg1">
                      <a:alpha val="40000"/>
                    </a:schemeClr>
                  </a:solidFill>
                  <a:prstDash val="solid"/>
                  <a:round/>
                </a:ln>
              </p:spPr>
              <p:txBody>
                <a:bodyPr rtlCol="0" anchor="ctr"/>
                <a:lstStyle/>
                <a:p>
                  <a:endParaRPr lang="en-GB"/>
                </a:p>
              </p:txBody>
            </p:sp>
            <p:sp>
              <p:nvSpPr>
                <p:cNvPr id="6050" name="Vrije vorm: vorm 6049">
                  <a:extLst>
                    <a:ext uri="{FF2B5EF4-FFF2-40B4-BE49-F238E27FC236}">
                      <a16:creationId xmlns:a16="http://schemas.microsoft.com/office/drawing/2014/main" id="{2672EA0E-0B86-40A9-9169-67D79351BFB3}"/>
                    </a:ext>
                  </a:extLst>
                </p:cNvPr>
                <p:cNvSpPr/>
                <p:nvPr/>
              </p:nvSpPr>
              <p:spPr>
                <a:xfrm>
                  <a:off x="7728129" y="2799915"/>
                  <a:ext cx="2870" cy="1794"/>
                </a:xfrm>
                <a:custGeom>
                  <a:avLst/>
                  <a:gdLst>
                    <a:gd name="connsiteX0" fmla="*/ 0 w 2870"/>
                    <a:gd name="connsiteY0" fmla="*/ 0 h 1794"/>
                    <a:gd name="connsiteX1" fmla="*/ 2870 w 2870"/>
                    <a:gd name="connsiteY1" fmla="*/ 1794 h 1794"/>
                  </a:gdLst>
                  <a:ahLst/>
                  <a:cxnLst>
                    <a:cxn ang="0">
                      <a:pos x="connsiteX0" y="connsiteY0"/>
                    </a:cxn>
                    <a:cxn ang="0">
                      <a:pos x="connsiteX1" y="connsiteY1"/>
                    </a:cxn>
                  </a:cxnLst>
                  <a:rect l="l" t="t" r="r" b="b"/>
                  <a:pathLst>
                    <a:path w="2870" h="1794">
                      <a:moveTo>
                        <a:pt x="0" y="0"/>
                      </a:moveTo>
                      <a:lnTo>
                        <a:pt x="2870" y="1794"/>
                      </a:lnTo>
                    </a:path>
                  </a:pathLst>
                </a:custGeom>
                <a:ln w="6350" cap="rnd">
                  <a:solidFill>
                    <a:schemeClr val="bg1">
                      <a:alpha val="40000"/>
                    </a:schemeClr>
                  </a:solidFill>
                  <a:prstDash val="solid"/>
                  <a:round/>
                </a:ln>
              </p:spPr>
              <p:txBody>
                <a:bodyPr rtlCol="0" anchor="ctr"/>
                <a:lstStyle/>
                <a:p>
                  <a:endParaRPr lang="en-GB"/>
                </a:p>
              </p:txBody>
            </p:sp>
            <p:sp>
              <p:nvSpPr>
                <p:cNvPr id="6051" name="Vrije vorm: vorm 6050">
                  <a:extLst>
                    <a:ext uri="{FF2B5EF4-FFF2-40B4-BE49-F238E27FC236}">
                      <a16:creationId xmlns:a16="http://schemas.microsoft.com/office/drawing/2014/main" id="{441C7BE7-FFDD-4DCA-8BBC-CCFF902B2715}"/>
                    </a:ext>
                  </a:extLst>
                </p:cNvPr>
                <p:cNvSpPr/>
                <p:nvPr/>
              </p:nvSpPr>
              <p:spPr>
                <a:xfrm>
                  <a:off x="7622809" y="2794233"/>
                  <a:ext cx="29006" cy="20872"/>
                </a:xfrm>
                <a:custGeom>
                  <a:avLst/>
                  <a:gdLst>
                    <a:gd name="connsiteX0" fmla="*/ 29006 w 29006"/>
                    <a:gd name="connsiteY0" fmla="*/ 0 h 20872"/>
                    <a:gd name="connsiteX1" fmla="*/ 0 w 29006"/>
                    <a:gd name="connsiteY1" fmla="*/ 20873 h 20872"/>
                  </a:gdLst>
                  <a:ahLst/>
                  <a:cxnLst>
                    <a:cxn ang="0">
                      <a:pos x="connsiteX0" y="connsiteY0"/>
                    </a:cxn>
                    <a:cxn ang="0">
                      <a:pos x="connsiteX1" y="connsiteY1"/>
                    </a:cxn>
                  </a:cxnLst>
                  <a:rect l="l" t="t" r="r" b="b"/>
                  <a:pathLst>
                    <a:path w="29006" h="20872">
                      <a:moveTo>
                        <a:pt x="29006" y="0"/>
                      </a:moveTo>
                      <a:lnTo>
                        <a:pt x="0" y="20873"/>
                      </a:lnTo>
                    </a:path>
                  </a:pathLst>
                </a:custGeom>
                <a:ln w="6350" cap="rnd">
                  <a:solidFill>
                    <a:schemeClr val="bg1">
                      <a:alpha val="40000"/>
                    </a:schemeClr>
                  </a:solidFill>
                  <a:prstDash val="solid"/>
                  <a:round/>
                </a:ln>
              </p:spPr>
              <p:txBody>
                <a:bodyPr rtlCol="0" anchor="ctr"/>
                <a:lstStyle/>
                <a:p>
                  <a:endParaRPr lang="en-GB"/>
                </a:p>
              </p:txBody>
            </p:sp>
            <p:sp>
              <p:nvSpPr>
                <p:cNvPr id="6052" name="Vrije vorm: vorm 6051">
                  <a:extLst>
                    <a:ext uri="{FF2B5EF4-FFF2-40B4-BE49-F238E27FC236}">
                      <a16:creationId xmlns:a16="http://schemas.microsoft.com/office/drawing/2014/main" id="{CBB217BA-33A8-4AE1-818A-84A9CCB14AB9}"/>
                    </a:ext>
                  </a:extLst>
                </p:cNvPr>
                <p:cNvSpPr/>
                <p:nvPr/>
              </p:nvSpPr>
              <p:spPr>
                <a:xfrm>
                  <a:off x="7649004" y="2794652"/>
                  <a:ext cx="3827" cy="6578"/>
                </a:xfrm>
                <a:custGeom>
                  <a:avLst/>
                  <a:gdLst>
                    <a:gd name="connsiteX0" fmla="*/ 3828 w 3827"/>
                    <a:gd name="connsiteY0" fmla="*/ 0 h 6578"/>
                    <a:gd name="connsiteX1" fmla="*/ 0 w 3827"/>
                    <a:gd name="connsiteY1" fmla="*/ 6579 h 6578"/>
                  </a:gdLst>
                  <a:ahLst/>
                  <a:cxnLst>
                    <a:cxn ang="0">
                      <a:pos x="connsiteX0" y="connsiteY0"/>
                    </a:cxn>
                    <a:cxn ang="0">
                      <a:pos x="connsiteX1" y="connsiteY1"/>
                    </a:cxn>
                  </a:cxnLst>
                  <a:rect l="l" t="t" r="r" b="b"/>
                  <a:pathLst>
                    <a:path w="3827" h="6578">
                      <a:moveTo>
                        <a:pt x="3828" y="0"/>
                      </a:moveTo>
                      <a:lnTo>
                        <a:pt x="0" y="6579"/>
                      </a:lnTo>
                    </a:path>
                  </a:pathLst>
                </a:custGeom>
                <a:ln w="6350" cap="rnd">
                  <a:solidFill>
                    <a:schemeClr val="bg1">
                      <a:alpha val="40000"/>
                    </a:schemeClr>
                  </a:solidFill>
                  <a:prstDash val="solid"/>
                  <a:round/>
                </a:ln>
              </p:spPr>
              <p:txBody>
                <a:bodyPr rtlCol="0" anchor="ctr"/>
                <a:lstStyle/>
                <a:p>
                  <a:endParaRPr lang="en-GB"/>
                </a:p>
              </p:txBody>
            </p:sp>
            <p:sp>
              <p:nvSpPr>
                <p:cNvPr id="6053" name="Vrije vorm: vorm 6052">
                  <a:extLst>
                    <a:ext uri="{FF2B5EF4-FFF2-40B4-BE49-F238E27FC236}">
                      <a16:creationId xmlns:a16="http://schemas.microsoft.com/office/drawing/2014/main" id="{245921B0-B0A3-4A6A-8FD2-8D1BD630DD30}"/>
                    </a:ext>
                  </a:extLst>
                </p:cNvPr>
                <p:cNvSpPr/>
                <p:nvPr/>
              </p:nvSpPr>
              <p:spPr>
                <a:xfrm>
                  <a:off x="7695893" y="2791063"/>
                  <a:ext cx="24221" cy="4007"/>
                </a:xfrm>
                <a:custGeom>
                  <a:avLst/>
                  <a:gdLst>
                    <a:gd name="connsiteX0" fmla="*/ 0 w 24221"/>
                    <a:gd name="connsiteY0" fmla="*/ 0 h 4007"/>
                    <a:gd name="connsiteX1" fmla="*/ 24222 w 24221"/>
                    <a:gd name="connsiteY1" fmla="*/ 4007 h 4007"/>
                  </a:gdLst>
                  <a:ahLst/>
                  <a:cxnLst>
                    <a:cxn ang="0">
                      <a:pos x="connsiteX0" y="connsiteY0"/>
                    </a:cxn>
                    <a:cxn ang="0">
                      <a:pos x="connsiteX1" y="connsiteY1"/>
                    </a:cxn>
                  </a:cxnLst>
                  <a:rect l="l" t="t" r="r" b="b"/>
                  <a:pathLst>
                    <a:path w="24221" h="4007">
                      <a:moveTo>
                        <a:pt x="0" y="0"/>
                      </a:moveTo>
                      <a:lnTo>
                        <a:pt x="24222" y="4007"/>
                      </a:lnTo>
                    </a:path>
                  </a:pathLst>
                </a:custGeom>
                <a:ln w="6350" cap="rnd">
                  <a:solidFill>
                    <a:schemeClr val="bg1">
                      <a:alpha val="40000"/>
                    </a:schemeClr>
                  </a:solidFill>
                  <a:prstDash val="solid"/>
                  <a:round/>
                </a:ln>
              </p:spPr>
              <p:txBody>
                <a:bodyPr rtlCol="0" anchor="ctr"/>
                <a:lstStyle/>
                <a:p>
                  <a:endParaRPr lang="en-GB"/>
                </a:p>
              </p:txBody>
            </p:sp>
            <p:sp>
              <p:nvSpPr>
                <p:cNvPr id="6054" name="Vrije vorm: vorm 6053">
                  <a:extLst>
                    <a:ext uri="{FF2B5EF4-FFF2-40B4-BE49-F238E27FC236}">
                      <a16:creationId xmlns:a16="http://schemas.microsoft.com/office/drawing/2014/main" id="{5A0C0C6B-A3BB-4716-B6A7-65284122D53B}"/>
                    </a:ext>
                  </a:extLst>
                </p:cNvPr>
                <p:cNvSpPr/>
                <p:nvPr/>
              </p:nvSpPr>
              <p:spPr>
                <a:xfrm>
                  <a:off x="7613658" y="2788492"/>
                  <a:ext cx="30681" cy="20334"/>
                </a:xfrm>
                <a:custGeom>
                  <a:avLst/>
                  <a:gdLst>
                    <a:gd name="connsiteX0" fmla="*/ 30681 w 30681"/>
                    <a:gd name="connsiteY0" fmla="*/ 0 h 20334"/>
                    <a:gd name="connsiteX1" fmla="*/ 0 w 30681"/>
                    <a:gd name="connsiteY1" fmla="*/ 20334 h 20334"/>
                  </a:gdLst>
                  <a:ahLst/>
                  <a:cxnLst>
                    <a:cxn ang="0">
                      <a:pos x="connsiteX0" y="connsiteY0"/>
                    </a:cxn>
                    <a:cxn ang="0">
                      <a:pos x="connsiteX1" y="connsiteY1"/>
                    </a:cxn>
                  </a:cxnLst>
                  <a:rect l="l" t="t" r="r" b="b"/>
                  <a:pathLst>
                    <a:path w="30681" h="20334">
                      <a:moveTo>
                        <a:pt x="30681" y="0"/>
                      </a:moveTo>
                      <a:lnTo>
                        <a:pt x="0" y="20334"/>
                      </a:lnTo>
                    </a:path>
                  </a:pathLst>
                </a:custGeom>
                <a:ln w="6350" cap="rnd">
                  <a:solidFill>
                    <a:schemeClr val="bg1">
                      <a:alpha val="40000"/>
                    </a:schemeClr>
                  </a:solidFill>
                  <a:prstDash val="solid"/>
                  <a:round/>
                </a:ln>
              </p:spPr>
              <p:txBody>
                <a:bodyPr rtlCol="0" anchor="ctr"/>
                <a:lstStyle/>
                <a:p>
                  <a:endParaRPr lang="en-GB"/>
                </a:p>
              </p:txBody>
            </p:sp>
            <p:sp>
              <p:nvSpPr>
                <p:cNvPr id="6055" name="Vrije vorm: vorm 6054">
                  <a:extLst>
                    <a:ext uri="{FF2B5EF4-FFF2-40B4-BE49-F238E27FC236}">
                      <a16:creationId xmlns:a16="http://schemas.microsoft.com/office/drawing/2014/main" id="{6B4DED19-E339-4252-B499-BE1ADA0CBB9F}"/>
                    </a:ext>
                  </a:extLst>
                </p:cNvPr>
                <p:cNvSpPr/>
                <p:nvPr/>
              </p:nvSpPr>
              <p:spPr>
                <a:xfrm>
                  <a:off x="7613538" y="2788492"/>
                  <a:ext cx="30800" cy="20693"/>
                </a:xfrm>
                <a:custGeom>
                  <a:avLst/>
                  <a:gdLst>
                    <a:gd name="connsiteX0" fmla="*/ 30800 w 30800"/>
                    <a:gd name="connsiteY0" fmla="*/ 0 h 20693"/>
                    <a:gd name="connsiteX1" fmla="*/ 0 w 30800"/>
                    <a:gd name="connsiteY1" fmla="*/ 20693 h 20693"/>
                  </a:gdLst>
                  <a:ahLst/>
                  <a:cxnLst>
                    <a:cxn ang="0">
                      <a:pos x="connsiteX0" y="connsiteY0"/>
                    </a:cxn>
                    <a:cxn ang="0">
                      <a:pos x="connsiteX1" y="connsiteY1"/>
                    </a:cxn>
                  </a:cxnLst>
                  <a:rect l="l" t="t" r="r" b="b"/>
                  <a:pathLst>
                    <a:path w="30800" h="20693">
                      <a:moveTo>
                        <a:pt x="30800" y="0"/>
                      </a:moveTo>
                      <a:lnTo>
                        <a:pt x="0" y="20693"/>
                      </a:lnTo>
                    </a:path>
                  </a:pathLst>
                </a:custGeom>
                <a:ln w="6350" cap="rnd">
                  <a:solidFill>
                    <a:schemeClr val="bg1">
                      <a:alpha val="40000"/>
                    </a:schemeClr>
                  </a:solidFill>
                  <a:prstDash val="solid"/>
                  <a:round/>
                </a:ln>
              </p:spPr>
              <p:txBody>
                <a:bodyPr rtlCol="0" anchor="ctr"/>
                <a:lstStyle/>
                <a:p>
                  <a:endParaRPr lang="en-GB"/>
                </a:p>
              </p:txBody>
            </p:sp>
            <p:sp>
              <p:nvSpPr>
                <p:cNvPr id="6056" name="Vrije vorm: vorm 6055">
                  <a:extLst>
                    <a:ext uri="{FF2B5EF4-FFF2-40B4-BE49-F238E27FC236}">
                      <a16:creationId xmlns:a16="http://schemas.microsoft.com/office/drawing/2014/main" id="{FD137DB0-0CB3-40E1-96C6-219E571D59D1}"/>
                    </a:ext>
                  </a:extLst>
                </p:cNvPr>
                <p:cNvSpPr/>
                <p:nvPr/>
              </p:nvSpPr>
              <p:spPr>
                <a:xfrm>
                  <a:off x="7637102" y="2780178"/>
                  <a:ext cx="5980" cy="6877"/>
                </a:xfrm>
                <a:custGeom>
                  <a:avLst/>
                  <a:gdLst>
                    <a:gd name="connsiteX0" fmla="*/ 5981 w 5980"/>
                    <a:gd name="connsiteY0" fmla="*/ 6878 h 6877"/>
                    <a:gd name="connsiteX1" fmla="*/ 0 w 5980"/>
                    <a:gd name="connsiteY1" fmla="*/ 0 h 6877"/>
                  </a:gdLst>
                  <a:ahLst/>
                  <a:cxnLst>
                    <a:cxn ang="0">
                      <a:pos x="connsiteX0" y="connsiteY0"/>
                    </a:cxn>
                    <a:cxn ang="0">
                      <a:pos x="connsiteX1" y="connsiteY1"/>
                    </a:cxn>
                  </a:cxnLst>
                  <a:rect l="l" t="t" r="r" b="b"/>
                  <a:pathLst>
                    <a:path w="5980" h="6877">
                      <a:moveTo>
                        <a:pt x="5981" y="687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57" name="Vrije vorm: vorm 6056">
                  <a:extLst>
                    <a:ext uri="{FF2B5EF4-FFF2-40B4-BE49-F238E27FC236}">
                      <a16:creationId xmlns:a16="http://schemas.microsoft.com/office/drawing/2014/main" id="{3E1EC05E-204A-4D22-85A5-7905018E3564}"/>
                    </a:ext>
                  </a:extLst>
                </p:cNvPr>
                <p:cNvSpPr/>
                <p:nvPr/>
              </p:nvSpPr>
              <p:spPr>
                <a:xfrm>
                  <a:off x="7762757" y="2753445"/>
                  <a:ext cx="478" cy="1913"/>
                </a:xfrm>
                <a:custGeom>
                  <a:avLst/>
                  <a:gdLst>
                    <a:gd name="connsiteX0" fmla="*/ 0 w 478"/>
                    <a:gd name="connsiteY0" fmla="*/ 0 h 1913"/>
                    <a:gd name="connsiteX1" fmla="*/ 478 w 478"/>
                    <a:gd name="connsiteY1" fmla="*/ 1914 h 1913"/>
                  </a:gdLst>
                  <a:ahLst/>
                  <a:cxnLst>
                    <a:cxn ang="0">
                      <a:pos x="connsiteX0" y="connsiteY0"/>
                    </a:cxn>
                    <a:cxn ang="0">
                      <a:pos x="connsiteX1" y="connsiteY1"/>
                    </a:cxn>
                  </a:cxnLst>
                  <a:rect l="l" t="t" r="r" b="b"/>
                  <a:pathLst>
                    <a:path w="478" h="1913">
                      <a:moveTo>
                        <a:pt x="0" y="0"/>
                      </a:moveTo>
                      <a:lnTo>
                        <a:pt x="478" y="1914"/>
                      </a:lnTo>
                    </a:path>
                  </a:pathLst>
                </a:custGeom>
                <a:ln w="6350" cap="rnd">
                  <a:solidFill>
                    <a:schemeClr val="bg1">
                      <a:alpha val="40000"/>
                    </a:schemeClr>
                  </a:solidFill>
                  <a:prstDash val="solid"/>
                  <a:round/>
                </a:ln>
              </p:spPr>
              <p:txBody>
                <a:bodyPr rtlCol="0" anchor="ctr"/>
                <a:lstStyle/>
                <a:p>
                  <a:endParaRPr lang="en-GB"/>
                </a:p>
              </p:txBody>
            </p:sp>
            <p:sp>
              <p:nvSpPr>
                <p:cNvPr id="6058" name="Vrije vorm: vorm 6057">
                  <a:extLst>
                    <a:ext uri="{FF2B5EF4-FFF2-40B4-BE49-F238E27FC236}">
                      <a16:creationId xmlns:a16="http://schemas.microsoft.com/office/drawing/2014/main" id="{525271B7-8C4E-4E70-A561-53BC98FE94F1}"/>
                    </a:ext>
                  </a:extLst>
                </p:cNvPr>
                <p:cNvSpPr/>
                <p:nvPr/>
              </p:nvSpPr>
              <p:spPr>
                <a:xfrm>
                  <a:off x="7662521" y="2797044"/>
                  <a:ext cx="3109" cy="1674"/>
                </a:xfrm>
                <a:custGeom>
                  <a:avLst/>
                  <a:gdLst>
                    <a:gd name="connsiteX0" fmla="*/ 3110 w 3109"/>
                    <a:gd name="connsiteY0" fmla="*/ 0 h 1674"/>
                    <a:gd name="connsiteX1" fmla="*/ 0 w 3109"/>
                    <a:gd name="connsiteY1" fmla="*/ 1675 h 1674"/>
                  </a:gdLst>
                  <a:ahLst/>
                  <a:cxnLst>
                    <a:cxn ang="0">
                      <a:pos x="connsiteX0" y="connsiteY0"/>
                    </a:cxn>
                    <a:cxn ang="0">
                      <a:pos x="connsiteX1" y="connsiteY1"/>
                    </a:cxn>
                  </a:cxnLst>
                  <a:rect l="l" t="t" r="r" b="b"/>
                  <a:pathLst>
                    <a:path w="3109" h="1674">
                      <a:moveTo>
                        <a:pt x="3110" y="0"/>
                      </a:moveTo>
                      <a:lnTo>
                        <a:pt x="0" y="1675"/>
                      </a:lnTo>
                    </a:path>
                  </a:pathLst>
                </a:custGeom>
                <a:ln w="6350" cap="rnd">
                  <a:solidFill>
                    <a:schemeClr val="bg1">
                      <a:alpha val="40000"/>
                    </a:schemeClr>
                  </a:solidFill>
                  <a:prstDash val="solid"/>
                  <a:round/>
                </a:ln>
              </p:spPr>
              <p:txBody>
                <a:bodyPr rtlCol="0" anchor="ctr"/>
                <a:lstStyle/>
                <a:p>
                  <a:endParaRPr lang="en-GB"/>
                </a:p>
              </p:txBody>
            </p:sp>
            <p:sp>
              <p:nvSpPr>
                <p:cNvPr id="6059" name="Vrije vorm: vorm 6058">
                  <a:extLst>
                    <a:ext uri="{FF2B5EF4-FFF2-40B4-BE49-F238E27FC236}">
                      <a16:creationId xmlns:a16="http://schemas.microsoft.com/office/drawing/2014/main" id="{245DE158-1C72-466F-B1A9-4DCF4F571BD0}"/>
                    </a:ext>
                  </a:extLst>
                </p:cNvPr>
                <p:cNvSpPr/>
                <p:nvPr/>
              </p:nvSpPr>
              <p:spPr>
                <a:xfrm>
                  <a:off x="7694697" y="2790884"/>
                  <a:ext cx="59" cy="1913"/>
                </a:xfrm>
                <a:custGeom>
                  <a:avLst/>
                  <a:gdLst>
                    <a:gd name="connsiteX0" fmla="*/ 60 w 59"/>
                    <a:gd name="connsiteY0" fmla="*/ 0 h 1913"/>
                    <a:gd name="connsiteX1" fmla="*/ 0 w 59"/>
                    <a:gd name="connsiteY1" fmla="*/ 1914 h 1913"/>
                  </a:gdLst>
                  <a:ahLst/>
                  <a:cxnLst>
                    <a:cxn ang="0">
                      <a:pos x="connsiteX0" y="connsiteY0"/>
                    </a:cxn>
                    <a:cxn ang="0">
                      <a:pos x="connsiteX1" y="connsiteY1"/>
                    </a:cxn>
                  </a:cxnLst>
                  <a:rect l="l" t="t" r="r" b="b"/>
                  <a:pathLst>
                    <a:path w="59" h="1913">
                      <a:moveTo>
                        <a:pt x="60" y="0"/>
                      </a:moveTo>
                      <a:lnTo>
                        <a:pt x="0" y="1914"/>
                      </a:lnTo>
                    </a:path>
                  </a:pathLst>
                </a:custGeom>
                <a:ln w="6350" cap="rnd">
                  <a:solidFill>
                    <a:schemeClr val="bg1">
                      <a:alpha val="40000"/>
                    </a:schemeClr>
                  </a:solidFill>
                  <a:prstDash val="solid"/>
                  <a:round/>
                </a:ln>
              </p:spPr>
              <p:txBody>
                <a:bodyPr rtlCol="0" anchor="ctr"/>
                <a:lstStyle/>
                <a:p>
                  <a:endParaRPr lang="en-GB"/>
                </a:p>
              </p:txBody>
            </p:sp>
            <p:sp>
              <p:nvSpPr>
                <p:cNvPr id="6060" name="Vrije vorm: vorm 6059">
                  <a:extLst>
                    <a:ext uri="{FF2B5EF4-FFF2-40B4-BE49-F238E27FC236}">
                      <a16:creationId xmlns:a16="http://schemas.microsoft.com/office/drawing/2014/main" id="{7BE60254-3A97-411E-A822-F322CF6B0EAB}"/>
                    </a:ext>
                  </a:extLst>
                </p:cNvPr>
                <p:cNvSpPr/>
                <p:nvPr/>
              </p:nvSpPr>
              <p:spPr>
                <a:xfrm>
                  <a:off x="7762757" y="2753445"/>
                  <a:ext cx="7715" cy="1734"/>
                </a:xfrm>
                <a:custGeom>
                  <a:avLst/>
                  <a:gdLst>
                    <a:gd name="connsiteX0" fmla="*/ 7715 w 7715"/>
                    <a:gd name="connsiteY0" fmla="*/ 1734 h 1734"/>
                    <a:gd name="connsiteX1" fmla="*/ 0 w 7715"/>
                    <a:gd name="connsiteY1" fmla="*/ 0 h 1734"/>
                  </a:gdLst>
                  <a:ahLst/>
                  <a:cxnLst>
                    <a:cxn ang="0">
                      <a:pos x="connsiteX0" y="connsiteY0"/>
                    </a:cxn>
                    <a:cxn ang="0">
                      <a:pos x="connsiteX1" y="connsiteY1"/>
                    </a:cxn>
                  </a:cxnLst>
                  <a:rect l="l" t="t" r="r" b="b"/>
                  <a:pathLst>
                    <a:path w="7715" h="1734">
                      <a:moveTo>
                        <a:pt x="7715" y="173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61" name="Vrije vorm: vorm 6060">
                  <a:extLst>
                    <a:ext uri="{FF2B5EF4-FFF2-40B4-BE49-F238E27FC236}">
                      <a16:creationId xmlns:a16="http://schemas.microsoft.com/office/drawing/2014/main" id="{781B163C-9723-4C33-BF66-FF227CD79DBC}"/>
                    </a:ext>
                  </a:extLst>
                </p:cNvPr>
                <p:cNvSpPr/>
                <p:nvPr/>
              </p:nvSpPr>
              <p:spPr>
                <a:xfrm>
                  <a:off x="7746071" y="2749617"/>
                  <a:ext cx="2810" cy="657"/>
                </a:xfrm>
                <a:custGeom>
                  <a:avLst/>
                  <a:gdLst>
                    <a:gd name="connsiteX0" fmla="*/ 2811 w 2810"/>
                    <a:gd name="connsiteY0" fmla="*/ 658 h 657"/>
                    <a:gd name="connsiteX1" fmla="*/ 0 w 2810"/>
                    <a:gd name="connsiteY1" fmla="*/ 0 h 657"/>
                  </a:gdLst>
                  <a:ahLst/>
                  <a:cxnLst>
                    <a:cxn ang="0">
                      <a:pos x="connsiteX0" y="connsiteY0"/>
                    </a:cxn>
                    <a:cxn ang="0">
                      <a:pos x="connsiteX1" y="connsiteY1"/>
                    </a:cxn>
                  </a:cxnLst>
                  <a:rect l="l" t="t" r="r" b="b"/>
                  <a:pathLst>
                    <a:path w="2810" h="657">
                      <a:moveTo>
                        <a:pt x="2811" y="65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62" name="Vrije vorm: vorm 6061">
                  <a:extLst>
                    <a:ext uri="{FF2B5EF4-FFF2-40B4-BE49-F238E27FC236}">
                      <a16:creationId xmlns:a16="http://schemas.microsoft.com/office/drawing/2014/main" id="{629BFDB6-4FD8-48EB-A235-3CE8302E47E7}"/>
                    </a:ext>
                  </a:extLst>
                </p:cNvPr>
                <p:cNvSpPr/>
                <p:nvPr/>
              </p:nvSpPr>
              <p:spPr>
                <a:xfrm>
                  <a:off x="7763236" y="2755299"/>
                  <a:ext cx="7236" cy="59"/>
                </a:xfrm>
                <a:custGeom>
                  <a:avLst/>
                  <a:gdLst>
                    <a:gd name="connsiteX0" fmla="*/ 7237 w 7236"/>
                    <a:gd name="connsiteY0" fmla="*/ 0 h 59"/>
                    <a:gd name="connsiteX1" fmla="*/ 0 w 7236"/>
                    <a:gd name="connsiteY1" fmla="*/ 60 h 59"/>
                  </a:gdLst>
                  <a:ahLst/>
                  <a:cxnLst>
                    <a:cxn ang="0">
                      <a:pos x="connsiteX0" y="connsiteY0"/>
                    </a:cxn>
                    <a:cxn ang="0">
                      <a:pos x="connsiteX1" y="connsiteY1"/>
                    </a:cxn>
                  </a:cxnLst>
                  <a:rect l="l" t="t" r="r" b="b"/>
                  <a:pathLst>
                    <a:path w="7236" h="59">
                      <a:moveTo>
                        <a:pt x="7237" y="0"/>
                      </a:moveTo>
                      <a:lnTo>
                        <a:pt x="0" y="60"/>
                      </a:lnTo>
                    </a:path>
                  </a:pathLst>
                </a:custGeom>
                <a:ln w="6350" cap="rnd">
                  <a:solidFill>
                    <a:schemeClr val="bg1">
                      <a:alpha val="40000"/>
                    </a:schemeClr>
                  </a:solidFill>
                  <a:prstDash val="solid"/>
                  <a:round/>
                </a:ln>
              </p:spPr>
              <p:txBody>
                <a:bodyPr rtlCol="0" anchor="ctr"/>
                <a:lstStyle/>
                <a:p>
                  <a:endParaRPr lang="en-GB"/>
                </a:p>
              </p:txBody>
            </p:sp>
            <p:sp>
              <p:nvSpPr>
                <p:cNvPr id="6063" name="Vrije vorm: vorm 6062">
                  <a:extLst>
                    <a:ext uri="{FF2B5EF4-FFF2-40B4-BE49-F238E27FC236}">
                      <a16:creationId xmlns:a16="http://schemas.microsoft.com/office/drawing/2014/main" id="{569F305E-379D-458E-B990-CD4B00E3A128}"/>
                    </a:ext>
                  </a:extLst>
                </p:cNvPr>
                <p:cNvSpPr/>
                <p:nvPr/>
              </p:nvSpPr>
              <p:spPr>
                <a:xfrm>
                  <a:off x="7773702" y="2757691"/>
                  <a:ext cx="7535" cy="6279"/>
                </a:xfrm>
                <a:custGeom>
                  <a:avLst/>
                  <a:gdLst>
                    <a:gd name="connsiteX0" fmla="*/ 0 w 7535"/>
                    <a:gd name="connsiteY0" fmla="*/ 0 h 6279"/>
                    <a:gd name="connsiteX1" fmla="*/ 7536 w 7535"/>
                    <a:gd name="connsiteY1" fmla="*/ 6280 h 6279"/>
                  </a:gdLst>
                  <a:ahLst/>
                  <a:cxnLst>
                    <a:cxn ang="0">
                      <a:pos x="connsiteX0" y="connsiteY0"/>
                    </a:cxn>
                    <a:cxn ang="0">
                      <a:pos x="connsiteX1" y="connsiteY1"/>
                    </a:cxn>
                  </a:cxnLst>
                  <a:rect l="l" t="t" r="r" b="b"/>
                  <a:pathLst>
                    <a:path w="7535" h="6279">
                      <a:moveTo>
                        <a:pt x="0" y="0"/>
                      </a:moveTo>
                      <a:lnTo>
                        <a:pt x="7536" y="6280"/>
                      </a:lnTo>
                    </a:path>
                  </a:pathLst>
                </a:custGeom>
                <a:ln w="6350" cap="rnd">
                  <a:solidFill>
                    <a:schemeClr val="bg1">
                      <a:alpha val="40000"/>
                    </a:schemeClr>
                  </a:solidFill>
                  <a:prstDash val="solid"/>
                  <a:round/>
                </a:ln>
              </p:spPr>
              <p:txBody>
                <a:bodyPr rtlCol="0" anchor="ctr"/>
                <a:lstStyle/>
                <a:p>
                  <a:endParaRPr lang="en-GB"/>
                </a:p>
              </p:txBody>
            </p:sp>
            <p:sp>
              <p:nvSpPr>
                <p:cNvPr id="6064" name="Vrije vorm: vorm 6063">
                  <a:extLst>
                    <a:ext uri="{FF2B5EF4-FFF2-40B4-BE49-F238E27FC236}">
                      <a16:creationId xmlns:a16="http://schemas.microsoft.com/office/drawing/2014/main" id="{657FA566-8E2F-4539-85D6-B4CF80214EE7}"/>
                    </a:ext>
                  </a:extLst>
                </p:cNvPr>
                <p:cNvSpPr/>
                <p:nvPr/>
              </p:nvSpPr>
              <p:spPr>
                <a:xfrm>
                  <a:off x="7728129" y="2799915"/>
                  <a:ext cx="6937" cy="6698"/>
                </a:xfrm>
                <a:custGeom>
                  <a:avLst/>
                  <a:gdLst>
                    <a:gd name="connsiteX0" fmla="*/ 6938 w 6937"/>
                    <a:gd name="connsiteY0" fmla="*/ 6698 h 6698"/>
                    <a:gd name="connsiteX1" fmla="*/ 0 w 6937"/>
                    <a:gd name="connsiteY1" fmla="*/ 0 h 6698"/>
                  </a:gdLst>
                  <a:ahLst/>
                  <a:cxnLst>
                    <a:cxn ang="0">
                      <a:pos x="connsiteX0" y="connsiteY0"/>
                    </a:cxn>
                    <a:cxn ang="0">
                      <a:pos x="connsiteX1" y="connsiteY1"/>
                    </a:cxn>
                  </a:cxnLst>
                  <a:rect l="l" t="t" r="r" b="b"/>
                  <a:pathLst>
                    <a:path w="6937" h="6698">
                      <a:moveTo>
                        <a:pt x="6938" y="669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65" name="Vrije vorm: vorm 6064">
                  <a:extLst>
                    <a:ext uri="{FF2B5EF4-FFF2-40B4-BE49-F238E27FC236}">
                      <a16:creationId xmlns:a16="http://schemas.microsoft.com/office/drawing/2014/main" id="{883894BD-2A50-4090-9880-D6C580DAEAE5}"/>
                    </a:ext>
                  </a:extLst>
                </p:cNvPr>
                <p:cNvSpPr/>
                <p:nvPr/>
              </p:nvSpPr>
              <p:spPr>
                <a:xfrm>
                  <a:off x="7563839" y="2699319"/>
                  <a:ext cx="1375" cy="119"/>
                </a:xfrm>
                <a:custGeom>
                  <a:avLst/>
                  <a:gdLst>
                    <a:gd name="connsiteX0" fmla="*/ 1375 w 1375"/>
                    <a:gd name="connsiteY0" fmla="*/ 120 h 119"/>
                    <a:gd name="connsiteX1" fmla="*/ 0 w 1375"/>
                    <a:gd name="connsiteY1" fmla="*/ 0 h 119"/>
                  </a:gdLst>
                  <a:ahLst/>
                  <a:cxnLst>
                    <a:cxn ang="0">
                      <a:pos x="connsiteX0" y="connsiteY0"/>
                    </a:cxn>
                    <a:cxn ang="0">
                      <a:pos x="connsiteX1" y="connsiteY1"/>
                    </a:cxn>
                  </a:cxnLst>
                  <a:rect l="l" t="t" r="r" b="b"/>
                  <a:pathLst>
                    <a:path w="1375" h="119">
                      <a:moveTo>
                        <a:pt x="1375" y="12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66" name="Vrije vorm: vorm 6065">
                  <a:extLst>
                    <a:ext uri="{FF2B5EF4-FFF2-40B4-BE49-F238E27FC236}">
                      <a16:creationId xmlns:a16="http://schemas.microsoft.com/office/drawing/2014/main" id="{21352DAA-C4DB-4578-8FD8-A488F1EC7694}"/>
                    </a:ext>
                  </a:extLst>
                </p:cNvPr>
                <p:cNvSpPr/>
                <p:nvPr/>
              </p:nvSpPr>
              <p:spPr>
                <a:xfrm>
                  <a:off x="7561267" y="2699080"/>
                  <a:ext cx="2571" cy="239"/>
                </a:xfrm>
                <a:custGeom>
                  <a:avLst/>
                  <a:gdLst>
                    <a:gd name="connsiteX0" fmla="*/ 2572 w 2571"/>
                    <a:gd name="connsiteY0" fmla="*/ 239 h 239"/>
                    <a:gd name="connsiteX1" fmla="*/ 0 w 2571"/>
                    <a:gd name="connsiteY1" fmla="*/ 0 h 239"/>
                  </a:gdLst>
                  <a:ahLst/>
                  <a:cxnLst>
                    <a:cxn ang="0">
                      <a:pos x="connsiteX0" y="connsiteY0"/>
                    </a:cxn>
                    <a:cxn ang="0">
                      <a:pos x="connsiteX1" y="connsiteY1"/>
                    </a:cxn>
                  </a:cxnLst>
                  <a:rect l="l" t="t" r="r" b="b"/>
                  <a:pathLst>
                    <a:path w="2571" h="239">
                      <a:moveTo>
                        <a:pt x="2572" y="239"/>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67" name="Vrije vorm: vorm 6066">
                  <a:extLst>
                    <a:ext uri="{FF2B5EF4-FFF2-40B4-BE49-F238E27FC236}">
                      <a16:creationId xmlns:a16="http://schemas.microsoft.com/office/drawing/2014/main" id="{FEB64264-E953-4867-AE8F-668D69044E11}"/>
                    </a:ext>
                  </a:extLst>
                </p:cNvPr>
                <p:cNvSpPr/>
                <p:nvPr/>
              </p:nvSpPr>
              <p:spPr>
                <a:xfrm>
                  <a:off x="7578671" y="2818216"/>
                  <a:ext cx="598" cy="1734"/>
                </a:xfrm>
                <a:custGeom>
                  <a:avLst/>
                  <a:gdLst>
                    <a:gd name="connsiteX0" fmla="*/ 0 w 598"/>
                    <a:gd name="connsiteY0" fmla="*/ 1734 h 1734"/>
                    <a:gd name="connsiteX1" fmla="*/ 598 w 598"/>
                    <a:gd name="connsiteY1" fmla="*/ 0 h 1734"/>
                  </a:gdLst>
                  <a:ahLst/>
                  <a:cxnLst>
                    <a:cxn ang="0">
                      <a:pos x="connsiteX0" y="connsiteY0"/>
                    </a:cxn>
                    <a:cxn ang="0">
                      <a:pos x="connsiteX1" y="connsiteY1"/>
                    </a:cxn>
                  </a:cxnLst>
                  <a:rect l="l" t="t" r="r" b="b"/>
                  <a:pathLst>
                    <a:path w="598" h="1734">
                      <a:moveTo>
                        <a:pt x="0" y="1734"/>
                      </a:moveTo>
                      <a:lnTo>
                        <a:pt x="598" y="0"/>
                      </a:lnTo>
                    </a:path>
                  </a:pathLst>
                </a:custGeom>
                <a:ln w="6350" cap="rnd">
                  <a:solidFill>
                    <a:schemeClr val="bg1">
                      <a:alpha val="40000"/>
                    </a:schemeClr>
                  </a:solidFill>
                  <a:prstDash val="solid"/>
                  <a:round/>
                </a:ln>
              </p:spPr>
              <p:txBody>
                <a:bodyPr rtlCol="0" anchor="ctr"/>
                <a:lstStyle/>
                <a:p>
                  <a:endParaRPr lang="en-GB"/>
                </a:p>
              </p:txBody>
            </p:sp>
            <p:sp>
              <p:nvSpPr>
                <p:cNvPr id="6068" name="Vrije vorm: vorm 6067">
                  <a:extLst>
                    <a:ext uri="{FF2B5EF4-FFF2-40B4-BE49-F238E27FC236}">
                      <a16:creationId xmlns:a16="http://schemas.microsoft.com/office/drawing/2014/main" id="{58735348-FD87-4DC1-AA0A-ED1C26F0965F}"/>
                    </a:ext>
                  </a:extLst>
                </p:cNvPr>
                <p:cNvSpPr/>
                <p:nvPr/>
              </p:nvSpPr>
              <p:spPr>
                <a:xfrm>
                  <a:off x="7750258" y="2831194"/>
                  <a:ext cx="7715" cy="1375"/>
                </a:xfrm>
                <a:custGeom>
                  <a:avLst/>
                  <a:gdLst>
                    <a:gd name="connsiteX0" fmla="*/ 7715 w 7715"/>
                    <a:gd name="connsiteY0" fmla="*/ 1376 h 1375"/>
                    <a:gd name="connsiteX1" fmla="*/ 0 w 7715"/>
                    <a:gd name="connsiteY1" fmla="*/ 0 h 1375"/>
                  </a:gdLst>
                  <a:ahLst/>
                  <a:cxnLst>
                    <a:cxn ang="0">
                      <a:pos x="connsiteX0" y="connsiteY0"/>
                    </a:cxn>
                    <a:cxn ang="0">
                      <a:pos x="connsiteX1" y="connsiteY1"/>
                    </a:cxn>
                  </a:cxnLst>
                  <a:rect l="l" t="t" r="r" b="b"/>
                  <a:pathLst>
                    <a:path w="7715" h="1375">
                      <a:moveTo>
                        <a:pt x="7715" y="137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69" name="Vrije vorm: vorm 6068">
                  <a:extLst>
                    <a:ext uri="{FF2B5EF4-FFF2-40B4-BE49-F238E27FC236}">
                      <a16:creationId xmlns:a16="http://schemas.microsoft.com/office/drawing/2014/main" id="{45E200D2-A927-47BE-B2BF-D531AB8ABB64}"/>
                    </a:ext>
                  </a:extLst>
                </p:cNvPr>
                <p:cNvSpPr/>
                <p:nvPr/>
              </p:nvSpPr>
              <p:spPr>
                <a:xfrm>
                  <a:off x="7782255" y="2776052"/>
                  <a:ext cx="299" cy="4844"/>
                </a:xfrm>
                <a:custGeom>
                  <a:avLst/>
                  <a:gdLst>
                    <a:gd name="connsiteX0" fmla="*/ 299 w 299"/>
                    <a:gd name="connsiteY0" fmla="*/ 4844 h 4844"/>
                    <a:gd name="connsiteX1" fmla="*/ 0 w 299"/>
                    <a:gd name="connsiteY1" fmla="*/ 0 h 4844"/>
                  </a:gdLst>
                  <a:ahLst/>
                  <a:cxnLst>
                    <a:cxn ang="0">
                      <a:pos x="connsiteX0" y="connsiteY0"/>
                    </a:cxn>
                    <a:cxn ang="0">
                      <a:pos x="connsiteX1" y="connsiteY1"/>
                    </a:cxn>
                  </a:cxnLst>
                  <a:rect l="l" t="t" r="r" b="b"/>
                  <a:pathLst>
                    <a:path w="299" h="4844">
                      <a:moveTo>
                        <a:pt x="299" y="484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70" name="Vrije vorm: vorm 6069">
                  <a:extLst>
                    <a:ext uri="{FF2B5EF4-FFF2-40B4-BE49-F238E27FC236}">
                      <a16:creationId xmlns:a16="http://schemas.microsoft.com/office/drawing/2014/main" id="{DB2E7327-91DE-4922-B13D-18CBCC9A36B4}"/>
                    </a:ext>
                  </a:extLst>
                </p:cNvPr>
                <p:cNvSpPr/>
                <p:nvPr/>
              </p:nvSpPr>
              <p:spPr>
                <a:xfrm>
                  <a:off x="7781597" y="2764389"/>
                  <a:ext cx="657" cy="11662"/>
                </a:xfrm>
                <a:custGeom>
                  <a:avLst/>
                  <a:gdLst>
                    <a:gd name="connsiteX0" fmla="*/ 658 w 657"/>
                    <a:gd name="connsiteY0" fmla="*/ 11662 h 11662"/>
                    <a:gd name="connsiteX1" fmla="*/ 0 w 657"/>
                    <a:gd name="connsiteY1" fmla="*/ 0 h 11662"/>
                  </a:gdLst>
                  <a:ahLst/>
                  <a:cxnLst>
                    <a:cxn ang="0">
                      <a:pos x="connsiteX0" y="connsiteY0"/>
                    </a:cxn>
                    <a:cxn ang="0">
                      <a:pos x="connsiteX1" y="connsiteY1"/>
                    </a:cxn>
                  </a:cxnLst>
                  <a:rect l="l" t="t" r="r" b="b"/>
                  <a:pathLst>
                    <a:path w="657" h="11662">
                      <a:moveTo>
                        <a:pt x="658" y="1166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71" name="Vrije vorm: vorm 6070">
                  <a:extLst>
                    <a:ext uri="{FF2B5EF4-FFF2-40B4-BE49-F238E27FC236}">
                      <a16:creationId xmlns:a16="http://schemas.microsoft.com/office/drawing/2014/main" id="{FBFC8BFE-743A-4014-8F2C-A6ED895253DD}"/>
                    </a:ext>
                  </a:extLst>
                </p:cNvPr>
                <p:cNvSpPr/>
                <p:nvPr/>
              </p:nvSpPr>
              <p:spPr>
                <a:xfrm>
                  <a:off x="7674781" y="2671090"/>
                  <a:ext cx="4844" cy="5023"/>
                </a:xfrm>
                <a:custGeom>
                  <a:avLst/>
                  <a:gdLst>
                    <a:gd name="connsiteX0" fmla="*/ 0 w 4844"/>
                    <a:gd name="connsiteY0" fmla="*/ 0 h 5023"/>
                    <a:gd name="connsiteX1" fmla="*/ 4844 w 4844"/>
                    <a:gd name="connsiteY1" fmla="*/ 5024 h 5023"/>
                  </a:gdLst>
                  <a:ahLst/>
                  <a:cxnLst>
                    <a:cxn ang="0">
                      <a:pos x="connsiteX0" y="connsiteY0"/>
                    </a:cxn>
                    <a:cxn ang="0">
                      <a:pos x="connsiteX1" y="connsiteY1"/>
                    </a:cxn>
                  </a:cxnLst>
                  <a:rect l="l" t="t" r="r" b="b"/>
                  <a:pathLst>
                    <a:path w="4844" h="5023">
                      <a:moveTo>
                        <a:pt x="0" y="0"/>
                      </a:moveTo>
                      <a:lnTo>
                        <a:pt x="4844" y="5024"/>
                      </a:lnTo>
                    </a:path>
                  </a:pathLst>
                </a:custGeom>
                <a:ln w="6350" cap="rnd">
                  <a:solidFill>
                    <a:schemeClr val="bg1">
                      <a:alpha val="40000"/>
                    </a:schemeClr>
                  </a:solidFill>
                  <a:prstDash val="solid"/>
                  <a:round/>
                </a:ln>
              </p:spPr>
              <p:txBody>
                <a:bodyPr rtlCol="0" anchor="ctr"/>
                <a:lstStyle/>
                <a:p>
                  <a:endParaRPr lang="en-GB"/>
                </a:p>
              </p:txBody>
            </p:sp>
            <p:sp>
              <p:nvSpPr>
                <p:cNvPr id="6072" name="Vrije vorm: vorm 6071">
                  <a:extLst>
                    <a:ext uri="{FF2B5EF4-FFF2-40B4-BE49-F238E27FC236}">
                      <a16:creationId xmlns:a16="http://schemas.microsoft.com/office/drawing/2014/main" id="{77CF9013-3ED0-47F8-A329-DC862D48C810}"/>
                    </a:ext>
                  </a:extLst>
                </p:cNvPr>
                <p:cNvSpPr/>
                <p:nvPr/>
              </p:nvSpPr>
              <p:spPr>
                <a:xfrm>
                  <a:off x="7655463" y="2649141"/>
                  <a:ext cx="13157" cy="15310"/>
                </a:xfrm>
                <a:custGeom>
                  <a:avLst/>
                  <a:gdLst>
                    <a:gd name="connsiteX0" fmla="*/ 13158 w 13157"/>
                    <a:gd name="connsiteY0" fmla="*/ 15311 h 15310"/>
                    <a:gd name="connsiteX1" fmla="*/ 0 w 13157"/>
                    <a:gd name="connsiteY1" fmla="*/ 0 h 15310"/>
                  </a:gdLst>
                  <a:ahLst/>
                  <a:cxnLst>
                    <a:cxn ang="0">
                      <a:pos x="connsiteX0" y="connsiteY0"/>
                    </a:cxn>
                    <a:cxn ang="0">
                      <a:pos x="connsiteX1" y="connsiteY1"/>
                    </a:cxn>
                  </a:cxnLst>
                  <a:rect l="l" t="t" r="r" b="b"/>
                  <a:pathLst>
                    <a:path w="13157" h="15310">
                      <a:moveTo>
                        <a:pt x="13158" y="1531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73" name="Vrije vorm: vorm 6072">
                  <a:extLst>
                    <a:ext uri="{FF2B5EF4-FFF2-40B4-BE49-F238E27FC236}">
                      <a16:creationId xmlns:a16="http://schemas.microsoft.com/office/drawing/2014/main" id="{51AEFE63-159A-4251-B50A-3D9534D91FF4}"/>
                    </a:ext>
                  </a:extLst>
                </p:cNvPr>
                <p:cNvSpPr/>
                <p:nvPr/>
              </p:nvSpPr>
              <p:spPr>
                <a:xfrm>
                  <a:off x="7751873" y="2821984"/>
                  <a:ext cx="6100" cy="10585"/>
                </a:xfrm>
                <a:custGeom>
                  <a:avLst/>
                  <a:gdLst>
                    <a:gd name="connsiteX0" fmla="*/ 6100 w 6100"/>
                    <a:gd name="connsiteY0" fmla="*/ 10586 h 10585"/>
                    <a:gd name="connsiteX1" fmla="*/ 0 w 6100"/>
                    <a:gd name="connsiteY1" fmla="*/ 0 h 10585"/>
                  </a:gdLst>
                  <a:ahLst/>
                  <a:cxnLst>
                    <a:cxn ang="0">
                      <a:pos x="connsiteX0" y="connsiteY0"/>
                    </a:cxn>
                    <a:cxn ang="0">
                      <a:pos x="connsiteX1" y="connsiteY1"/>
                    </a:cxn>
                  </a:cxnLst>
                  <a:rect l="l" t="t" r="r" b="b"/>
                  <a:pathLst>
                    <a:path w="6100" h="10585">
                      <a:moveTo>
                        <a:pt x="6100" y="1058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74" name="Vrije vorm: vorm 6073">
                  <a:extLst>
                    <a:ext uri="{FF2B5EF4-FFF2-40B4-BE49-F238E27FC236}">
                      <a16:creationId xmlns:a16="http://schemas.microsoft.com/office/drawing/2014/main" id="{42D88E55-B13F-4609-B4D4-90367F32C6DB}"/>
                    </a:ext>
                  </a:extLst>
                </p:cNvPr>
                <p:cNvSpPr/>
                <p:nvPr/>
              </p:nvSpPr>
              <p:spPr>
                <a:xfrm>
                  <a:off x="7637102" y="2779999"/>
                  <a:ext cx="299" cy="179"/>
                </a:xfrm>
                <a:custGeom>
                  <a:avLst/>
                  <a:gdLst>
                    <a:gd name="connsiteX0" fmla="*/ 299 w 299"/>
                    <a:gd name="connsiteY0" fmla="*/ 0 h 179"/>
                    <a:gd name="connsiteX1" fmla="*/ 0 w 299"/>
                    <a:gd name="connsiteY1" fmla="*/ 179 h 179"/>
                  </a:gdLst>
                  <a:ahLst/>
                  <a:cxnLst>
                    <a:cxn ang="0">
                      <a:pos x="connsiteX0" y="connsiteY0"/>
                    </a:cxn>
                    <a:cxn ang="0">
                      <a:pos x="connsiteX1" y="connsiteY1"/>
                    </a:cxn>
                  </a:cxnLst>
                  <a:rect l="l" t="t" r="r" b="b"/>
                  <a:pathLst>
                    <a:path w="299" h="179">
                      <a:moveTo>
                        <a:pt x="299" y="0"/>
                      </a:moveTo>
                      <a:lnTo>
                        <a:pt x="0" y="179"/>
                      </a:lnTo>
                    </a:path>
                  </a:pathLst>
                </a:custGeom>
                <a:ln w="6350" cap="rnd">
                  <a:solidFill>
                    <a:schemeClr val="bg1">
                      <a:alpha val="40000"/>
                    </a:schemeClr>
                  </a:solidFill>
                  <a:prstDash val="solid"/>
                  <a:round/>
                </a:ln>
              </p:spPr>
              <p:txBody>
                <a:bodyPr rtlCol="0" anchor="ctr"/>
                <a:lstStyle/>
                <a:p>
                  <a:endParaRPr lang="en-GB"/>
                </a:p>
              </p:txBody>
            </p:sp>
            <p:sp>
              <p:nvSpPr>
                <p:cNvPr id="6075" name="Vrije vorm: vorm 6074">
                  <a:extLst>
                    <a:ext uri="{FF2B5EF4-FFF2-40B4-BE49-F238E27FC236}">
                      <a16:creationId xmlns:a16="http://schemas.microsoft.com/office/drawing/2014/main" id="{4C55CEEF-52E8-49F4-B72A-69F4B25E907C}"/>
                    </a:ext>
                  </a:extLst>
                </p:cNvPr>
                <p:cNvSpPr/>
                <p:nvPr/>
              </p:nvSpPr>
              <p:spPr>
                <a:xfrm>
                  <a:off x="7608694" y="2780178"/>
                  <a:ext cx="28408" cy="18719"/>
                </a:xfrm>
                <a:custGeom>
                  <a:avLst/>
                  <a:gdLst>
                    <a:gd name="connsiteX0" fmla="*/ 28408 w 28408"/>
                    <a:gd name="connsiteY0" fmla="*/ 0 h 18719"/>
                    <a:gd name="connsiteX1" fmla="*/ 0 w 28408"/>
                    <a:gd name="connsiteY1" fmla="*/ 18720 h 18719"/>
                  </a:gdLst>
                  <a:ahLst/>
                  <a:cxnLst>
                    <a:cxn ang="0">
                      <a:pos x="connsiteX0" y="connsiteY0"/>
                    </a:cxn>
                    <a:cxn ang="0">
                      <a:pos x="connsiteX1" y="connsiteY1"/>
                    </a:cxn>
                  </a:cxnLst>
                  <a:rect l="l" t="t" r="r" b="b"/>
                  <a:pathLst>
                    <a:path w="28408" h="18719">
                      <a:moveTo>
                        <a:pt x="28408" y="0"/>
                      </a:moveTo>
                      <a:lnTo>
                        <a:pt x="0" y="18720"/>
                      </a:lnTo>
                    </a:path>
                  </a:pathLst>
                </a:custGeom>
                <a:ln w="6350" cap="rnd">
                  <a:solidFill>
                    <a:schemeClr val="bg1">
                      <a:alpha val="40000"/>
                    </a:schemeClr>
                  </a:solidFill>
                  <a:prstDash val="solid"/>
                  <a:round/>
                </a:ln>
              </p:spPr>
              <p:txBody>
                <a:bodyPr rtlCol="0" anchor="ctr"/>
                <a:lstStyle/>
                <a:p>
                  <a:endParaRPr lang="en-GB"/>
                </a:p>
              </p:txBody>
            </p:sp>
            <p:sp>
              <p:nvSpPr>
                <p:cNvPr id="6076" name="Vrije vorm: vorm 6075">
                  <a:extLst>
                    <a:ext uri="{FF2B5EF4-FFF2-40B4-BE49-F238E27FC236}">
                      <a16:creationId xmlns:a16="http://schemas.microsoft.com/office/drawing/2014/main" id="{BF308929-7726-4D62-A9AC-F0F21D1C9199}"/>
                    </a:ext>
                  </a:extLst>
                </p:cNvPr>
                <p:cNvSpPr/>
                <p:nvPr/>
              </p:nvSpPr>
              <p:spPr>
                <a:xfrm>
                  <a:off x="7556243" y="2722285"/>
                  <a:ext cx="18540" cy="5681"/>
                </a:xfrm>
                <a:custGeom>
                  <a:avLst/>
                  <a:gdLst>
                    <a:gd name="connsiteX0" fmla="*/ 18540 w 18540"/>
                    <a:gd name="connsiteY0" fmla="*/ 0 h 5681"/>
                    <a:gd name="connsiteX1" fmla="*/ 0 w 18540"/>
                    <a:gd name="connsiteY1" fmla="*/ 5682 h 5681"/>
                  </a:gdLst>
                  <a:ahLst/>
                  <a:cxnLst>
                    <a:cxn ang="0">
                      <a:pos x="connsiteX0" y="connsiteY0"/>
                    </a:cxn>
                    <a:cxn ang="0">
                      <a:pos x="connsiteX1" y="connsiteY1"/>
                    </a:cxn>
                  </a:cxnLst>
                  <a:rect l="l" t="t" r="r" b="b"/>
                  <a:pathLst>
                    <a:path w="18540" h="5681">
                      <a:moveTo>
                        <a:pt x="18540" y="0"/>
                      </a:moveTo>
                      <a:lnTo>
                        <a:pt x="0" y="5682"/>
                      </a:lnTo>
                    </a:path>
                  </a:pathLst>
                </a:custGeom>
                <a:ln w="6350" cap="rnd">
                  <a:solidFill>
                    <a:schemeClr val="bg1">
                      <a:alpha val="40000"/>
                    </a:schemeClr>
                  </a:solidFill>
                  <a:prstDash val="solid"/>
                  <a:round/>
                </a:ln>
              </p:spPr>
              <p:txBody>
                <a:bodyPr rtlCol="0" anchor="ctr"/>
                <a:lstStyle/>
                <a:p>
                  <a:endParaRPr lang="en-GB"/>
                </a:p>
              </p:txBody>
            </p:sp>
            <p:sp>
              <p:nvSpPr>
                <p:cNvPr id="6077" name="Vrije vorm: vorm 6076">
                  <a:extLst>
                    <a:ext uri="{FF2B5EF4-FFF2-40B4-BE49-F238E27FC236}">
                      <a16:creationId xmlns:a16="http://schemas.microsoft.com/office/drawing/2014/main" id="{74D64161-6A9C-4211-9E30-793AE8ECCEFD}"/>
                    </a:ext>
                  </a:extLst>
                </p:cNvPr>
                <p:cNvSpPr/>
                <p:nvPr/>
              </p:nvSpPr>
              <p:spPr>
                <a:xfrm>
                  <a:off x="7640870" y="2749557"/>
                  <a:ext cx="8492" cy="7176"/>
                </a:xfrm>
                <a:custGeom>
                  <a:avLst/>
                  <a:gdLst>
                    <a:gd name="connsiteX0" fmla="*/ 0 w 8492"/>
                    <a:gd name="connsiteY0" fmla="*/ 0 h 7176"/>
                    <a:gd name="connsiteX1" fmla="*/ 8493 w 8492"/>
                    <a:gd name="connsiteY1" fmla="*/ 7177 h 7176"/>
                  </a:gdLst>
                  <a:ahLst/>
                  <a:cxnLst>
                    <a:cxn ang="0">
                      <a:pos x="connsiteX0" y="connsiteY0"/>
                    </a:cxn>
                    <a:cxn ang="0">
                      <a:pos x="connsiteX1" y="connsiteY1"/>
                    </a:cxn>
                  </a:cxnLst>
                  <a:rect l="l" t="t" r="r" b="b"/>
                  <a:pathLst>
                    <a:path w="8492" h="7176">
                      <a:moveTo>
                        <a:pt x="0" y="0"/>
                      </a:moveTo>
                      <a:lnTo>
                        <a:pt x="8493" y="7177"/>
                      </a:lnTo>
                    </a:path>
                  </a:pathLst>
                </a:custGeom>
                <a:ln w="6350" cap="rnd">
                  <a:solidFill>
                    <a:schemeClr val="bg1">
                      <a:alpha val="40000"/>
                    </a:schemeClr>
                  </a:solidFill>
                  <a:prstDash val="solid"/>
                  <a:round/>
                </a:ln>
              </p:spPr>
              <p:txBody>
                <a:bodyPr rtlCol="0" anchor="ctr"/>
                <a:lstStyle/>
                <a:p>
                  <a:endParaRPr lang="en-GB"/>
                </a:p>
              </p:txBody>
            </p:sp>
            <p:sp>
              <p:nvSpPr>
                <p:cNvPr id="6078" name="Vrije vorm: vorm 6077">
                  <a:extLst>
                    <a:ext uri="{FF2B5EF4-FFF2-40B4-BE49-F238E27FC236}">
                      <a16:creationId xmlns:a16="http://schemas.microsoft.com/office/drawing/2014/main" id="{B4D3CFE3-E312-470E-AA2C-AF70EC27FB1D}"/>
                    </a:ext>
                  </a:extLst>
                </p:cNvPr>
                <p:cNvSpPr/>
                <p:nvPr/>
              </p:nvSpPr>
              <p:spPr>
                <a:xfrm>
                  <a:off x="7625141" y="2689331"/>
                  <a:ext cx="33970" cy="1196"/>
                </a:xfrm>
                <a:custGeom>
                  <a:avLst/>
                  <a:gdLst>
                    <a:gd name="connsiteX0" fmla="*/ 33971 w 33970"/>
                    <a:gd name="connsiteY0" fmla="*/ 1196 h 1196"/>
                    <a:gd name="connsiteX1" fmla="*/ 0 w 33970"/>
                    <a:gd name="connsiteY1" fmla="*/ 0 h 1196"/>
                  </a:gdLst>
                  <a:ahLst/>
                  <a:cxnLst>
                    <a:cxn ang="0">
                      <a:pos x="connsiteX0" y="connsiteY0"/>
                    </a:cxn>
                    <a:cxn ang="0">
                      <a:pos x="connsiteX1" y="connsiteY1"/>
                    </a:cxn>
                  </a:cxnLst>
                  <a:rect l="l" t="t" r="r" b="b"/>
                  <a:pathLst>
                    <a:path w="33970" h="1196">
                      <a:moveTo>
                        <a:pt x="33971" y="119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79" name="Vrije vorm: vorm 6078">
                  <a:extLst>
                    <a:ext uri="{FF2B5EF4-FFF2-40B4-BE49-F238E27FC236}">
                      <a16:creationId xmlns:a16="http://schemas.microsoft.com/office/drawing/2014/main" id="{A4404C6E-2FFC-42E6-AD29-3462A6126B32}"/>
                    </a:ext>
                  </a:extLst>
                </p:cNvPr>
                <p:cNvSpPr/>
                <p:nvPr/>
              </p:nvSpPr>
              <p:spPr>
                <a:xfrm>
                  <a:off x="7655164" y="2690527"/>
                  <a:ext cx="3947" cy="26674"/>
                </a:xfrm>
                <a:custGeom>
                  <a:avLst/>
                  <a:gdLst>
                    <a:gd name="connsiteX0" fmla="*/ 0 w 3947"/>
                    <a:gd name="connsiteY0" fmla="*/ 26674 h 26674"/>
                    <a:gd name="connsiteX1" fmla="*/ 3948 w 3947"/>
                    <a:gd name="connsiteY1" fmla="*/ 0 h 26674"/>
                  </a:gdLst>
                  <a:ahLst/>
                  <a:cxnLst>
                    <a:cxn ang="0">
                      <a:pos x="connsiteX0" y="connsiteY0"/>
                    </a:cxn>
                    <a:cxn ang="0">
                      <a:pos x="connsiteX1" y="connsiteY1"/>
                    </a:cxn>
                  </a:cxnLst>
                  <a:rect l="l" t="t" r="r" b="b"/>
                  <a:pathLst>
                    <a:path w="3947" h="26674">
                      <a:moveTo>
                        <a:pt x="0" y="26674"/>
                      </a:moveTo>
                      <a:lnTo>
                        <a:pt x="3948" y="0"/>
                      </a:lnTo>
                    </a:path>
                  </a:pathLst>
                </a:custGeom>
                <a:ln w="6350" cap="rnd">
                  <a:solidFill>
                    <a:schemeClr val="bg1">
                      <a:alpha val="40000"/>
                    </a:schemeClr>
                  </a:solidFill>
                  <a:prstDash val="solid"/>
                  <a:round/>
                </a:ln>
              </p:spPr>
              <p:txBody>
                <a:bodyPr rtlCol="0" anchor="ctr"/>
                <a:lstStyle/>
                <a:p>
                  <a:endParaRPr lang="en-GB"/>
                </a:p>
              </p:txBody>
            </p:sp>
            <p:sp>
              <p:nvSpPr>
                <p:cNvPr id="6080" name="Vrije vorm: vorm 6079">
                  <a:extLst>
                    <a:ext uri="{FF2B5EF4-FFF2-40B4-BE49-F238E27FC236}">
                      <a16:creationId xmlns:a16="http://schemas.microsoft.com/office/drawing/2014/main" id="{A8D3D9E3-E405-45BD-91F1-7C4A6B74B488}"/>
                    </a:ext>
                  </a:extLst>
                </p:cNvPr>
                <p:cNvSpPr/>
                <p:nvPr/>
              </p:nvSpPr>
              <p:spPr>
                <a:xfrm>
                  <a:off x="7651337" y="2646390"/>
                  <a:ext cx="4126" cy="2751"/>
                </a:xfrm>
                <a:custGeom>
                  <a:avLst/>
                  <a:gdLst>
                    <a:gd name="connsiteX0" fmla="*/ 4126 w 4126"/>
                    <a:gd name="connsiteY0" fmla="*/ 2751 h 2751"/>
                    <a:gd name="connsiteX1" fmla="*/ 0 w 4126"/>
                    <a:gd name="connsiteY1" fmla="*/ 0 h 2751"/>
                  </a:gdLst>
                  <a:ahLst/>
                  <a:cxnLst>
                    <a:cxn ang="0">
                      <a:pos x="connsiteX0" y="connsiteY0"/>
                    </a:cxn>
                    <a:cxn ang="0">
                      <a:pos x="connsiteX1" y="connsiteY1"/>
                    </a:cxn>
                  </a:cxnLst>
                  <a:rect l="l" t="t" r="r" b="b"/>
                  <a:pathLst>
                    <a:path w="4126" h="2751">
                      <a:moveTo>
                        <a:pt x="4126" y="275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81" name="Vrije vorm: vorm 6080">
                  <a:extLst>
                    <a:ext uri="{FF2B5EF4-FFF2-40B4-BE49-F238E27FC236}">
                      <a16:creationId xmlns:a16="http://schemas.microsoft.com/office/drawing/2014/main" id="{44C23398-08EE-4608-9D86-0ABCFC259270}"/>
                    </a:ext>
                  </a:extLst>
                </p:cNvPr>
                <p:cNvSpPr/>
                <p:nvPr/>
              </p:nvSpPr>
              <p:spPr>
                <a:xfrm>
                  <a:off x="7695714" y="2705539"/>
                  <a:ext cx="2691" cy="17045"/>
                </a:xfrm>
                <a:custGeom>
                  <a:avLst/>
                  <a:gdLst>
                    <a:gd name="connsiteX0" fmla="*/ 2691 w 2691"/>
                    <a:gd name="connsiteY0" fmla="*/ 0 h 17045"/>
                    <a:gd name="connsiteX1" fmla="*/ 0 w 2691"/>
                    <a:gd name="connsiteY1" fmla="*/ 17045 h 17045"/>
                  </a:gdLst>
                  <a:ahLst/>
                  <a:cxnLst>
                    <a:cxn ang="0">
                      <a:pos x="connsiteX0" y="connsiteY0"/>
                    </a:cxn>
                    <a:cxn ang="0">
                      <a:pos x="connsiteX1" y="connsiteY1"/>
                    </a:cxn>
                  </a:cxnLst>
                  <a:rect l="l" t="t" r="r" b="b"/>
                  <a:pathLst>
                    <a:path w="2691" h="17045">
                      <a:moveTo>
                        <a:pt x="2691" y="0"/>
                      </a:moveTo>
                      <a:lnTo>
                        <a:pt x="0" y="17045"/>
                      </a:lnTo>
                    </a:path>
                  </a:pathLst>
                </a:custGeom>
                <a:ln w="6350" cap="rnd">
                  <a:solidFill>
                    <a:schemeClr val="bg1">
                      <a:alpha val="40000"/>
                    </a:schemeClr>
                  </a:solidFill>
                  <a:prstDash val="solid"/>
                  <a:round/>
                </a:ln>
              </p:spPr>
              <p:txBody>
                <a:bodyPr rtlCol="0" anchor="ctr"/>
                <a:lstStyle/>
                <a:p>
                  <a:endParaRPr lang="en-GB"/>
                </a:p>
              </p:txBody>
            </p:sp>
            <p:sp>
              <p:nvSpPr>
                <p:cNvPr id="6082" name="Vrije vorm: vorm 6081">
                  <a:extLst>
                    <a:ext uri="{FF2B5EF4-FFF2-40B4-BE49-F238E27FC236}">
                      <a16:creationId xmlns:a16="http://schemas.microsoft.com/office/drawing/2014/main" id="{1E100728-8BE3-430C-B430-FDD5A3C9CBAC}"/>
                    </a:ext>
                  </a:extLst>
                </p:cNvPr>
                <p:cNvSpPr/>
                <p:nvPr/>
              </p:nvSpPr>
              <p:spPr>
                <a:xfrm>
                  <a:off x="7659112" y="2690527"/>
                  <a:ext cx="39293" cy="15011"/>
                </a:xfrm>
                <a:custGeom>
                  <a:avLst/>
                  <a:gdLst>
                    <a:gd name="connsiteX0" fmla="*/ 39293 w 39293"/>
                    <a:gd name="connsiteY0" fmla="*/ 15012 h 15011"/>
                    <a:gd name="connsiteX1" fmla="*/ 0 w 39293"/>
                    <a:gd name="connsiteY1" fmla="*/ 0 h 15011"/>
                  </a:gdLst>
                  <a:ahLst/>
                  <a:cxnLst>
                    <a:cxn ang="0">
                      <a:pos x="connsiteX0" y="connsiteY0"/>
                    </a:cxn>
                    <a:cxn ang="0">
                      <a:pos x="connsiteX1" y="connsiteY1"/>
                    </a:cxn>
                  </a:cxnLst>
                  <a:rect l="l" t="t" r="r" b="b"/>
                  <a:pathLst>
                    <a:path w="39293" h="15011">
                      <a:moveTo>
                        <a:pt x="39293" y="1501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83" name="Vrije vorm: vorm 6082">
                  <a:extLst>
                    <a:ext uri="{FF2B5EF4-FFF2-40B4-BE49-F238E27FC236}">
                      <a16:creationId xmlns:a16="http://schemas.microsoft.com/office/drawing/2014/main" id="{510C850F-D872-49CD-8165-D02F4290FE95}"/>
                    </a:ext>
                  </a:extLst>
                </p:cNvPr>
                <p:cNvSpPr/>
                <p:nvPr/>
              </p:nvSpPr>
              <p:spPr>
                <a:xfrm>
                  <a:off x="7698405" y="2704642"/>
                  <a:ext cx="13935" cy="897"/>
                </a:xfrm>
                <a:custGeom>
                  <a:avLst/>
                  <a:gdLst>
                    <a:gd name="connsiteX0" fmla="*/ 13935 w 13935"/>
                    <a:gd name="connsiteY0" fmla="*/ 0 h 897"/>
                    <a:gd name="connsiteX1" fmla="*/ 0 w 13935"/>
                    <a:gd name="connsiteY1" fmla="*/ 897 h 897"/>
                  </a:gdLst>
                  <a:ahLst/>
                  <a:cxnLst>
                    <a:cxn ang="0">
                      <a:pos x="connsiteX0" y="connsiteY0"/>
                    </a:cxn>
                    <a:cxn ang="0">
                      <a:pos x="connsiteX1" y="connsiteY1"/>
                    </a:cxn>
                  </a:cxnLst>
                  <a:rect l="l" t="t" r="r" b="b"/>
                  <a:pathLst>
                    <a:path w="13935" h="897">
                      <a:moveTo>
                        <a:pt x="13935" y="0"/>
                      </a:moveTo>
                      <a:lnTo>
                        <a:pt x="0" y="897"/>
                      </a:lnTo>
                    </a:path>
                  </a:pathLst>
                </a:custGeom>
                <a:ln w="6350" cap="rnd">
                  <a:solidFill>
                    <a:schemeClr val="bg1">
                      <a:alpha val="40000"/>
                    </a:schemeClr>
                  </a:solidFill>
                  <a:prstDash val="solid"/>
                  <a:round/>
                </a:ln>
              </p:spPr>
              <p:txBody>
                <a:bodyPr rtlCol="0" anchor="ctr"/>
                <a:lstStyle/>
                <a:p>
                  <a:endParaRPr lang="en-GB"/>
                </a:p>
              </p:txBody>
            </p:sp>
            <p:sp>
              <p:nvSpPr>
                <p:cNvPr id="6084" name="Vrije vorm: vorm 6083">
                  <a:extLst>
                    <a:ext uri="{FF2B5EF4-FFF2-40B4-BE49-F238E27FC236}">
                      <a16:creationId xmlns:a16="http://schemas.microsoft.com/office/drawing/2014/main" id="{33DFD220-DC87-4A8A-B150-0AE4EA22D713}"/>
                    </a:ext>
                  </a:extLst>
                </p:cNvPr>
                <p:cNvSpPr/>
                <p:nvPr/>
              </p:nvSpPr>
              <p:spPr>
                <a:xfrm>
                  <a:off x="7679625" y="2676114"/>
                  <a:ext cx="26135" cy="24700"/>
                </a:xfrm>
                <a:custGeom>
                  <a:avLst/>
                  <a:gdLst>
                    <a:gd name="connsiteX0" fmla="*/ 26136 w 26135"/>
                    <a:gd name="connsiteY0" fmla="*/ 24700 h 24700"/>
                    <a:gd name="connsiteX1" fmla="*/ 0 w 26135"/>
                    <a:gd name="connsiteY1" fmla="*/ 0 h 24700"/>
                  </a:gdLst>
                  <a:ahLst/>
                  <a:cxnLst>
                    <a:cxn ang="0">
                      <a:pos x="connsiteX0" y="connsiteY0"/>
                    </a:cxn>
                    <a:cxn ang="0">
                      <a:pos x="connsiteX1" y="connsiteY1"/>
                    </a:cxn>
                  </a:cxnLst>
                  <a:rect l="l" t="t" r="r" b="b"/>
                  <a:pathLst>
                    <a:path w="26135" h="24700">
                      <a:moveTo>
                        <a:pt x="26136" y="2470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85" name="Vrije vorm: vorm 6084">
                  <a:extLst>
                    <a:ext uri="{FF2B5EF4-FFF2-40B4-BE49-F238E27FC236}">
                      <a16:creationId xmlns:a16="http://schemas.microsoft.com/office/drawing/2014/main" id="{1E9D5E9F-3C9E-42CB-9254-520CE3654FBD}"/>
                    </a:ext>
                  </a:extLst>
                </p:cNvPr>
                <p:cNvSpPr/>
                <p:nvPr/>
              </p:nvSpPr>
              <p:spPr>
                <a:xfrm>
                  <a:off x="7695773" y="2696030"/>
                  <a:ext cx="9987" cy="4784"/>
                </a:xfrm>
                <a:custGeom>
                  <a:avLst/>
                  <a:gdLst>
                    <a:gd name="connsiteX0" fmla="*/ 9988 w 9987"/>
                    <a:gd name="connsiteY0" fmla="*/ 4785 h 4784"/>
                    <a:gd name="connsiteX1" fmla="*/ 0 w 9987"/>
                    <a:gd name="connsiteY1" fmla="*/ 0 h 4784"/>
                  </a:gdLst>
                  <a:ahLst/>
                  <a:cxnLst>
                    <a:cxn ang="0">
                      <a:pos x="connsiteX0" y="connsiteY0"/>
                    </a:cxn>
                    <a:cxn ang="0">
                      <a:pos x="connsiteX1" y="connsiteY1"/>
                    </a:cxn>
                  </a:cxnLst>
                  <a:rect l="l" t="t" r="r" b="b"/>
                  <a:pathLst>
                    <a:path w="9987" h="4784">
                      <a:moveTo>
                        <a:pt x="9988" y="4785"/>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86" name="Vrije vorm: vorm 6085">
                  <a:extLst>
                    <a:ext uri="{FF2B5EF4-FFF2-40B4-BE49-F238E27FC236}">
                      <a16:creationId xmlns:a16="http://schemas.microsoft.com/office/drawing/2014/main" id="{D957053D-BDA5-41A5-AF6F-99ABE9F05933}"/>
                    </a:ext>
                  </a:extLst>
                </p:cNvPr>
                <p:cNvSpPr/>
                <p:nvPr/>
              </p:nvSpPr>
              <p:spPr>
                <a:xfrm>
                  <a:off x="7705761" y="2700814"/>
                  <a:ext cx="6578" cy="3827"/>
                </a:xfrm>
                <a:custGeom>
                  <a:avLst/>
                  <a:gdLst>
                    <a:gd name="connsiteX0" fmla="*/ 0 w 6578"/>
                    <a:gd name="connsiteY0" fmla="*/ 0 h 3827"/>
                    <a:gd name="connsiteX1" fmla="*/ 6579 w 6578"/>
                    <a:gd name="connsiteY1" fmla="*/ 3828 h 3827"/>
                  </a:gdLst>
                  <a:ahLst/>
                  <a:cxnLst>
                    <a:cxn ang="0">
                      <a:pos x="connsiteX0" y="connsiteY0"/>
                    </a:cxn>
                    <a:cxn ang="0">
                      <a:pos x="connsiteX1" y="connsiteY1"/>
                    </a:cxn>
                  </a:cxnLst>
                  <a:rect l="l" t="t" r="r" b="b"/>
                  <a:pathLst>
                    <a:path w="6578" h="3827">
                      <a:moveTo>
                        <a:pt x="0" y="0"/>
                      </a:moveTo>
                      <a:lnTo>
                        <a:pt x="6579" y="3828"/>
                      </a:lnTo>
                    </a:path>
                  </a:pathLst>
                </a:custGeom>
                <a:ln w="6350" cap="rnd">
                  <a:solidFill>
                    <a:schemeClr val="bg1">
                      <a:alpha val="40000"/>
                    </a:schemeClr>
                  </a:solidFill>
                  <a:prstDash val="solid"/>
                  <a:round/>
                </a:ln>
              </p:spPr>
              <p:txBody>
                <a:bodyPr rtlCol="0" anchor="ctr"/>
                <a:lstStyle/>
                <a:p>
                  <a:endParaRPr lang="en-GB"/>
                </a:p>
              </p:txBody>
            </p:sp>
            <p:sp>
              <p:nvSpPr>
                <p:cNvPr id="6087" name="Vrije vorm: vorm 6086">
                  <a:extLst>
                    <a:ext uri="{FF2B5EF4-FFF2-40B4-BE49-F238E27FC236}">
                      <a16:creationId xmlns:a16="http://schemas.microsoft.com/office/drawing/2014/main" id="{54564915-90E6-497D-BE5C-2D4FC055CD58}"/>
                    </a:ext>
                  </a:extLst>
                </p:cNvPr>
                <p:cNvSpPr/>
                <p:nvPr/>
              </p:nvSpPr>
              <p:spPr>
                <a:xfrm>
                  <a:off x="7695714" y="2722584"/>
                  <a:ext cx="16207" cy="6219"/>
                </a:xfrm>
                <a:custGeom>
                  <a:avLst/>
                  <a:gdLst>
                    <a:gd name="connsiteX0" fmla="*/ 16208 w 16207"/>
                    <a:gd name="connsiteY0" fmla="*/ 6220 h 6219"/>
                    <a:gd name="connsiteX1" fmla="*/ 0 w 16207"/>
                    <a:gd name="connsiteY1" fmla="*/ 0 h 6219"/>
                  </a:gdLst>
                  <a:ahLst/>
                  <a:cxnLst>
                    <a:cxn ang="0">
                      <a:pos x="connsiteX0" y="connsiteY0"/>
                    </a:cxn>
                    <a:cxn ang="0">
                      <a:pos x="connsiteX1" y="connsiteY1"/>
                    </a:cxn>
                  </a:cxnLst>
                  <a:rect l="l" t="t" r="r" b="b"/>
                  <a:pathLst>
                    <a:path w="16207" h="6219">
                      <a:moveTo>
                        <a:pt x="16208" y="622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88" name="Vrije vorm: vorm 6087">
                  <a:extLst>
                    <a:ext uri="{FF2B5EF4-FFF2-40B4-BE49-F238E27FC236}">
                      <a16:creationId xmlns:a16="http://schemas.microsoft.com/office/drawing/2014/main" id="{62BA59A0-EA0B-4B4D-933C-647D5FE6A65B}"/>
                    </a:ext>
                  </a:extLst>
                </p:cNvPr>
                <p:cNvSpPr/>
                <p:nvPr/>
              </p:nvSpPr>
              <p:spPr>
                <a:xfrm>
                  <a:off x="7711921" y="2728804"/>
                  <a:ext cx="9030" cy="16446"/>
                </a:xfrm>
                <a:custGeom>
                  <a:avLst/>
                  <a:gdLst>
                    <a:gd name="connsiteX0" fmla="*/ 0 w 9030"/>
                    <a:gd name="connsiteY0" fmla="*/ 0 h 16446"/>
                    <a:gd name="connsiteX1" fmla="*/ 9031 w 9030"/>
                    <a:gd name="connsiteY1" fmla="*/ 16447 h 16446"/>
                  </a:gdLst>
                  <a:ahLst/>
                  <a:cxnLst>
                    <a:cxn ang="0">
                      <a:pos x="connsiteX0" y="connsiteY0"/>
                    </a:cxn>
                    <a:cxn ang="0">
                      <a:pos x="connsiteX1" y="connsiteY1"/>
                    </a:cxn>
                  </a:cxnLst>
                  <a:rect l="l" t="t" r="r" b="b"/>
                  <a:pathLst>
                    <a:path w="9030" h="16446">
                      <a:moveTo>
                        <a:pt x="0" y="0"/>
                      </a:moveTo>
                      <a:lnTo>
                        <a:pt x="9031" y="16447"/>
                      </a:lnTo>
                    </a:path>
                  </a:pathLst>
                </a:custGeom>
                <a:ln w="6350" cap="rnd">
                  <a:solidFill>
                    <a:schemeClr val="bg1">
                      <a:alpha val="40000"/>
                    </a:schemeClr>
                  </a:solidFill>
                  <a:prstDash val="solid"/>
                  <a:round/>
                </a:ln>
              </p:spPr>
              <p:txBody>
                <a:bodyPr rtlCol="0" anchor="ctr"/>
                <a:lstStyle/>
                <a:p>
                  <a:endParaRPr lang="en-GB"/>
                </a:p>
              </p:txBody>
            </p:sp>
            <p:sp>
              <p:nvSpPr>
                <p:cNvPr id="6089" name="Vrije vorm: vorm 6088">
                  <a:extLst>
                    <a:ext uri="{FF2B5EF4-FFF2-40B4-BE49-F238E27FC236}">
                      <a16:creationId xmlns:a16="http://schemas.microsoft.com/office/drawing/2014/main" id="{1074CD07-0A52-4805-889F-8D6AA6360354}"/>
                    </a:ext>
                  </a:extLst>
                </p:cNvPr>
                <p:cNvSpPr/>
                <p:nvPr/>
              </p:nvSpPr>
              <p:spPr>
                <a:xfrm>
                  <a:off x="7698405" y="2705539"/>
                  <a:ext cx="13516" cy="23265"/>
                </a:xfrm>
                <a:custGeom>
                  <a:avLst/>
                  <a:gdLst>
                    <a:gd name="connsiteX0" fmla="*/ 13516 w 13516"/>
                    <a:gd name="connsiteY0" fmla="*/ 23265 h 23265"/>
                    <a:gd name="connsiteX1" fmla="*/ 0 w 13516"/>
                    <a:gd name="connsiteY1" fmla="*/ 0 h 23265"/>
                  </a:gdLst>
                  <a:ahLst/>
                  <a:cxnLst>
                    <a:cxn ang="0">
                      <a:pos x="connsiteX0" y="connsiteY0"/>
                    </a:cxn>
                    <a:cxn ang="0">
                      <a:pos x="connsiteX1" y="connsiteY1"/>
                    </a:cxn>
                  </a:cxnLst>
                  <a:rect l="l" t="t" r="r" b="b"/>
                  <a:pathLst>
                    <a:path w="13516" h="23265">
                      <a:moveTo>
                        <a:pt x="13516" y="23265"/>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90" name="Vrije vorm: vorm 6089">
                  <a:extLst>
                    <a:ext uri="{FF2B5EF4-FFF2-40B4-BE49-F238E27FC236}">
                      <a16:creationId xmlns:a16="http://schemas.microsoft.com/office/drawing/2014/main" id="{82592B65-73A1-4E8B-B8B6-F5894371FC13}"/>
                    </a:ext>
                  </a:extLst>
                </p:cNvPr>
                <p:cNvSpPr/>
                <p:nvPr/>
              </p:nvSpPr>
              <p:spPr>
                <a:xfrm>
                  <a:off x="7770473" y="2747883"/>
                  <a:ext cx="3827" cy="7296"/>
                </a:xfrm>
                <a:custGeom>
                  <a:avLst/>
                  <a:gdLst>
                    <a:gd name="connsiteX0" fmla="*/ 3827 w 3827"/>
                    <a:gd name="connsiteY0" fmla="*/ 0 h 7296"/>
                    <a:gd name="connsiteX1" fmla="*/ 0 w 3827"/>
                    <a:gd name="connsiteY1" fmla="*/ 7296 h 7296"/>
                  </a:gdLst>
                  <a:ahLst/>
                  <a:cxnLst>
                    <a:cxn ang="0">
                      <a:pos x="connsiteX0" y="connsiteY0"/>
                    </a:cxn>
                    <a:cxn ang="0">
                      <a:pos x="connsiteX1" y="connsiteY1"/>
                    </a:cxn>
                  </a:cxnLst>
                  <a:rect l="l" t="t" r="r" b="b"/>
                  <a:pathLst>
                    <a:path w="3827" h="7296">
                      <a:moveTo>
                        <a:pt x="3827" y="0"/>
                      </a:moveTo>
                      <a:lnTo>
                        <a:pt x="0" y="7296"/>
                      </a:lnTo>
                    </a:path>
                  </a:pathLst>
                </a:custGeom>
                <a:ln w="6350" cap="rnd">
                  <a:solidFill>
                    <a:schemeClr val="bg1">
                      <a:alpha val="40000"/>
                    </a:schemeClr>
                  </a:solidFill>
                  <a:prstDash val="solid"/>
                  <a:round/>
                </a:ln>
              </p:spPr>
              <p:txBody>
                <a:bodyPr rtlCol="0" anchor="ctr"/>
                <a:lstStyle/>
                <a:p>
                  <a:endParaRPr lang="en-GB"/>
                </a:p>
              </p:txBody>
            </p:sp>
            <p:sp>
              <p:nvSpPr>
                <p:cNvPr id="6091" name="Vrije vorm: vorm 6090">
                  <a:extLst>
                    <a:ext uri="{FF2B5EF4-FFF2-40B4-BE49-F238E27FC236}">
                      <a16:creationId xmlns:a16="http://schemas.microsoft.com/office/drawing/2014/main" id="{BE2EE54F-6FB7-47F5-A4B0-7755FCF0F87F}"/>
                    </a:ext>
                  </a:extLst>
                </p:cNvPr>
                <p:cNvSpPr/>
                <p:nvPr/>
              </p:nvSpPr>
              <p:spPr>
                <a:xfrm>
                  <a:off x="7720952" y="2740586"/>
                  <a:ext cx="10167" cy="4664"/>
                </a:xfrm>
                <a:custGeom>
                  <a:avLst/>
                  <a:gdLst>
                    <a:gd name="connsiteX0" fmla="*/ 10167 w 10167"/>
                    <a:gd name="connsiteY0" fmla="*/ 0 h 4664"/>
                    <a:gd name="connsiteX1" fmla="*/ 0 w 10167"/>
                    <a:gd name="connsiteY1" fmla="*/ 4665 h 4664"/>
                  </a:gdLst>
                  <a:ahLst/>
                  <a:cxnLst>
                    <a:cxn ang="0">
                      <a:pos x="connsiteX0" y="connsiteY0"/>
                    </a:cxn>
                    <a:cxn ang="0">
                      <a:pos x="connsiteX1" y="connsiteY1"/>
                    </a:cxn>
                  </a:cxnLst>
                  <a:rect l="l" t="t" r="r" b="b"/>
                  <a:pathLst>
                    <a:path w="10167" h="4664">
                      <a:moveTo>
                        <a:pt x="10167" y="0"/>
                      </a:moveTo>
                      <a:lnTo>
                        <a:pt x="0" y="4665"/>
                      </a:lnTo>
                    </a:path>
                  </a:pathLst>
                </a:custGeom>
                <a:ln w="6350" cap="rnd">
                  <a:solidFill>
                    <a:schemeClr val="bg1">
                      <a:alpha val="40000"/>
                    </a:schemeClr>
                  </a:solidFill>
                  <a:prstDash val="solid"/>
                  <a:round/>
                </a:ln>
              </p:spPr>
              <p:txBody>
                <a:bodyPr rtlCol="0" anchor="ctr"/>
                <a:lstStyle/>
                <a:p>
                  <a:endParaRPr lang="en-GB"/>
                </a:p>
              </p:txBody>
            </p:sp>
            <p:sp>
              <p:nvSpPr>
                <p:cNvPr id="6092" name="Vrije vorm: vorm 6091">
                  <a:extLst>
                    <a:ext uri="{FF2B5EF4-FFF2-40B4-BE49-F238E27FC236}">
                      <a16:creationId xmlns:a16="http://schemas.microsoft.com/office/drawing/2014/main" id="{71723107-0800-4161-B681-D4DB08312F88}"/>
                    </a:ext>
                  </a:extLst>
                </p:cNvPr>
                <p:cNvSpPr/>
                <p:nvPr/>
              </p:nvSpPr>
              <p:spPr>
                <a:xfrm>
                  <a:off x="7711921" y="2728804"/>
                  <a:ext cx="19198" cy="11782"/>
                </a:xfrm>
                <a:custGeom>
                  <a:avLst/>
                  <a:gdLst>
                    <a:gd name="connsiteX0" fmla="*/ 19198 w 19198"/>
                    <a:gd name="connsiteY0" fmla="*/ 11782 h 11782"/>
                    <a:gd name="connsiteX1" fmla="*/ 0 w 19198"/>
                    <a:gd name="connsiteY1" fmla="*/ 0 h 11782"/>
                  </a:gdLst>
                  <a:ahLst/>
                  <a:cxnLst>
                    <a:cxn ang="0">
                      <a:pos x="connsiteX0" y="connsiteY0"/>
                    </a:cxn>
                    <a:cxn ang="0">
                      <a:pos x="connsiteX1" y="connsiteY1"/>
                    </a:cxn>
                  </a:cxnLst>
                  <a:rect l="l" t="t" r="r" b="b"/>
                  <a:pathLst>
                    <a:path w="19198" h="11782">
                      <a:moveTo>
                        <a:pt x="19198" y="1178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93" name="Vrije vorm: vorm 6092">
                  <a:extLst>
                    <a:ext uri="{FF2B5EF4-FFF2-40B4-BE49-F238E27FC236}">
                      <a16:creationId xmlns:a16="http://schemas.microsoft.com/office/drawing/2014/main" id="{DF507FF8-47DD-402B-BFB7-F61D95994D82}"/>
                    </a:ext>
                  </a:extLst>
                </p:cNvPr>
                <p:cNvSpPr/>
                <p:nvPr/>
              </p:nvSpPr>
              <p:spPr>
                <a:xfrm>
                  <a:off x="7594639" y="2784544"/>
                  <a:ext cx="9210" cy="5980"/>
                </a:xfrm>
                <a:custGeom>
                  <a:avLst/>
                  <a:gdLst>
                    <a:gd name="connsiteX0" fmla="*/ 0 w 9210"/>
                    <a:gd name="connsiteY0" fmla="*/ 5981 h 5980"/>
                    <a:gd name="connsiteX1" fmla="*/ 9210 w 9210"/>
                    <a:gd name="connsiteY1" fmla="*/ 0 h 5980"/>
                  </a:gdLst>
                  <a:ahLst/>
                  <a:cxnLst>
                    <a:cxn ang="0">
                      <a:pos x="connsiteX0" y="connsiteY0"/>
                    </a:cxn>
                    <a:cxn ang="0">
                      <a:pos x="connsiteX1" y="connsiteY1"/>
                    </a:cxn>
                  </a:cxnLst>
                  <a:rect l="l" t="t" r="r" b="b"/>
                  <a:pathLst>
                    <a:path w="9210" h="5980">
                      <a:moveTo>
                        <a:pt x="0" y="5981"/>
                      </a:moveTo>
                      <a:lnTo>
                        <a:pt x="9210" y="0"/>
                      </a:lnTo>
                    </a:path>
                  </a:pathLst>
                </a:custGeom>
                <a:ln w="6350" cap="rnd">
                  <a:solidFill>
                    <a:schemeClr val="bg1">
                      <a:alpha val="40000"/>
                    </a:schemeClr>
                  </a:solidFill>
                  <a:prstDash val="solid"/>
                  <a:round/>
                </a:ln>
              </p:spPr>
              <p:txBody>
                <a:bodyPr rtlCol="0" anchor="ctr"/>
                <a:lstStyle/>
                <a:p>
                  <a:endParaRPr lang="en-GB"/>
                </a:p>
              </p:txBody>
            </p:sp>
            <p:sp>
              <p:nvSpPr>
                <p:cNvPr id="6094" name="Vrije vorm: vorm 6093">
                  <a:extLst>
                    <a:ext uri="{FF2B5EF4-FFF2-40B4-BE49-F238E27FC236}">
                      <a16:creationId xmlns:a16="http://schemas.microsoft.com/office/drawing/2014/main" id="{08FF83B7-3DB2-4F6D-B094-FAEFB3900AC4}"/>
                    </a:ext>
                  </a:extLst>
                </p:cNvPr>
                <p:cNvSpPr/>
                <p:nvPr/>
              </p:nvSpPr>
              <p:spPr>
                <a:xfrm>
                  <a:off x="7566111" y="2790525"/>
                  <a:ext cx="28528" cy="25298"/>
                </a:xfrm>
                <a:custGeom>
                  <a:avLst/>
                  <a:gdLst>
                    <a:gd name="connsiteX0" fmla="*/ 28528 w 28528"/>
                    <a:gd name="connsiteY0" fmla="*/ 0 h 25298"/>
                    <a:gd name="connsiteX1" fmla="*/ 0 w 28528"/>
                    <a:gd name="connsiteY1" fmla="*/ 25299 h 25298"/>
                  </a:gdLst>
                  <a:ahLst/>
                  <a:cxnLst>
                    <a:cxn ang="0">
                      <a:pos x="connsiteX0" y="connsiteY0"/>
                    </a:cxn>
                    <a:cxn ang="0">
                      <a:pos x="connsiteX1" y="connsiteY1"/>
                    </a:cxn>
                  </a:cxnLst>
                  <a:rect l="l" t="t" r="r" b="b"/>
                  <a:pathLst>
                    <a:path w="28528" h="25298">
                      <a:moveTo>
                        <a:pt x="28528" y="0"/>
                      </a:moveTo>
                      <a:lnTo>
                        <a:pt x="0" y="25299"/>
                      </a:lnTo>
                    </a:path>
                  </a:pathLst>
                </a:custGeom>
                <a:ln w="6350" cap="rnd">
                  <a:solidFill>
                    <a:schemeClr val="bg1">
                      <a:alpha val="40000"/>
                    </a:schemeClr>
                  </a:solidFill>
                  <a:prstDash val="solid"/>
                  <a:round/>
                </a:ln>
              </p:spPr>
              <p:txBody>
                <a:bodyPr rtlCol="0" anchor="ctr"/>
                <a:lstStyle/>
                <a:p>
                  <a:endParaRPr lang="en-GB"/>
                </a:p>
              </p:txBody>
            </p:sp>
            <p:sp>
              <p:nvSpPr>
                <p:cNvPr id="6095" name="Vrije vorm: vorm 6094">
                  <a:extLst>
                    <a:ext uri="{FF2B5EF4-FFF2-40B4-BE49-F238E27FC236}">
                      <a16:creationId xmlns:a16="http://schemas.microsoft.com/office/drawing/2014/main" id="{FF1332B1-4EB4-431E-909F-F04E4D2F0F56}"/>
                    </a:ext>
                  </a:extLst>
                </p:cNvPr>
                <p:cNvSpPr/>
                <p:nvPr/>
              </p:nvSpPr>
              <p:spPr>
                <a:xfrm>
                  <a:off x="7712340" y="2704642"/>
                  <a:ext cx="8253" cy="7057"/>
                </a:xfrm>
                <a:custGeom>
                  <a:avLst/>
                  <a:gdLst>
                    <a:gd name="connsiteX0" fmla="*/ 8253 w 8253"/>
                    <a:gd name="connsiteY0" fmla="*/ 7057 h 7057"/>
                    <a:gd name="connsiteX1" fmla="*/ 0 w 8253"/>
                    <a:gd name="connsiteY1" fmla="*/ 0 h 7057"/>
                  </a:gdLst>
                  <a:ahLst/>
                  <a:cxnLst>
                    <a:cxn ang="0">
                      <a:pos x="connsiteX0" y="connsiteY0"/>
                    </a:cxn>
                    <a:cxn ang="0">
                      <a:pos x="connsiteX1" y="connsiteY1"/>
                    </a:cxn>
                  </a:cxnLst>
                  <a:rect l="l" t="t" r="r" b="b"/>
                  <a:pathLst>
                    <a:path w="8253" h="7057">
                      <a:moveTo>
                        <a:pt x="8253" y="705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096" name="Vrije vorm: vorm 6095">
                  <a:extLst>
                    <a:ext uri="{FF2B5EF4-FFF2-40B4-BE49-F238E27FC236}">
                      <a16:creationId xmlns:a16="http://schemas.microsoft.com/office/drawing/2014/main" id="{96E9F8AE-F807-4CE1-A3D3-6D284448B572}"/>
                    </a:ext>
                  </a:extLst>
                </p:cNvPr>
                <p:cNvSpPr/>
                <p:nvPr/>
              </p:nvSpPr>
              <p:spPr>
                <a:xfrm>
                  <a:off x="7625141" y="2676293"/>
                  <a:ext cx="17583" cy="13037"/>
                </a:xfrm>
                <a:custGeom>
                  <a:avLst/>
                  <a:gdLst>
                    <a:gd name="connsiteX0" fmla="*/ 17583 w 17583"/>
                    <a:gd name="connsiteY0" fmla="*/ 0 h 13037"/>
                    <a:gd name="connsiteX1" fmla="*/ 0 w 17583"/>
                    <a:gd name="connsiteY1" fmla="*/ 13038 h 13037"/>
                  </a:gdLst>
                  <a:ahLst/>
                  <a:cxnLst>
                    <a:cxn ang="0">
                      <a:pos x="connsiteX0" y="connsiteY0"/>
                    </a:cxn>
                    <a:cxn ang="0">
                      <a:pos x="connsiteX1" y="connsiteY1"/>
                    </a:cxn>
                  </a:cxnLst>
                  <a:rect l="l" t="t" r="r" b="b"/>
                  <a:pathLst>
                    <a:path w="17583" h="13037">
                      <a:moveTo>
                        <a:pt x="17583" y="0"/>
                      </a:moveTo>
                      <a:lnTo>
                        <a:pt x="0" y="13038"/>
                      </a:lnTo>
                    </a:path>
                  </a:pathLst>
                </a:custGeom>
                <a:ln w="6350" cap="rnd">
                  <a:solidFill>
                    <a:schemeClr val="bg1">
                      <a:alpha val="40000"/>
                    </a:schemeClr>
                  </a:solidFill>
                  <a:prstDash val="solid"/>
                  <a:round/>
                </a:ln>
              </p:spPr>
              <p:txBody>
                <a:bodyPr rtlCol="0" anchor="ctr"/>
                <a:lstStyle/>
                <a:p>
                  <a:endParaRPr lang="en-GB"/>
                </a:p>
              </p:txBody>
            </p:sp>
            <p:sp>
              <p:nvSpPr>
                <p:cNvPr id="6097" name="Vrije vorm: vorm 6096">
                  <a:extLst>
                    <a:ext uri="{FF2B5EF4-FFF2-40B4-BE49-F238E27FC236}">
                      <a16:creationId xmlns:a16="http://schemas.microsoft.com/office/drawing/2014/main" id="{854AD87B-9EFA-44CA-9A8E-8F888B89B6BB}"/>
                    </a:ext>
                  </a:extLst>
                </p:cNvPr>
                <p:cNvSpPr/>
                <p:nvPr/>
              </p:nvSpPr>
              <p:spPr>
                <a:xfrm>
                  <a:off x="7642724" y="2676293"/>
                  <a:ext cx="16387" cy="14234"/>
                </a:xfrm>
                <a:custGeom>
                  <a:avLst/>
                  <a:gdLst>
                    <a:gd name="connsiteX0" fmla="*/ 0 w 16387"/>
                    <a:gd name="connsiteY0" fmla="*/ 0 h 14234"/>
                    <a:gd name="connsiteX1" fmla="*/ 16388 w 16387"/>
                    <a:gd name="connsiteY1" fmla="*/ 14234 h 14234"/>
                  </a:gdLst>
                  <a:ahLst/>
                  <a:cxnLst>
                    <a:cxn ang="0">
                      <a:pos x="connsiteX0" y="connsiteY0"/>
                    </a:cxn>
                    <a:cxn ang="0">
                      <a:pos x="connsiteX1" y="connsiteY1"/>
                    </a:cxn>
                  </a:cxnLst>
                  <a:rect l="l" t="t" r="r" b="b"/>
                  <a:pathLst>
                    <a:path w="16387" h="14234">
                      <a:moveTo>
                        <a:pt x="0" y="0"/>
                      </a:moveTo>
                      <a:lnTo>
                        <a:pt x="16388" y="14234"/>
                      </a:lnTo>
                    </a:path>
                  </a:pathLst>
                </a:custGeom>
                <a:ln w="6350" cap="rnd">
                  <a:solidFill>
                    <a:schemeClr val="bg1">
                      <a:alpha val="40000"/>
                    </a:schemeClr>
                  </a:solidFill>
                  <a:prstDash val="solid"/>
                  <a:round/>
                </a:ln>
              </p:spPr>
              <p:txBody>
                <a:bodyPr rtlCol="0" anchor="ctr"/>
                <a:lstStyle/>
                <a:p>
                  <a:endParaRPr lang="en-GB"/>
                </a:p>
              </p:txBody>
            </p:sp>
            <p:sp>
              <p:nvSpPr>
                <p:cNvPr id="6098" name="Vrije vorm: vorm 6097">
                  <a:extLst>
                    <a:ext uri="{FF2B5EF4-FFF2-40B4-BE49-F238E27FC236}">
                      <a16:creationId xmlns:a16="http://schemas.microsoft.com/office/drawing/2014/main" id="{B14EB074-41F7-4F2E-B0C9-812083324464}"/>
                    </a:ext>
                  </a:extLst>
                </p:cNvPr>
                <p:cNvSpPr/>
                <p:nvPr/>
              </p:nvSpPr>
              <p:spPr>
                <a:xfrm>
                  <a:off x="7539198" y="2727967"/>
                  <a:ext cx="17045" cy="16147"/>
                </a:xfrm>
                <a:custGeom>
                  <a:avLst/>
                  <a:gdLst>
                    <a:gd name="connsiteX0" fmla="*/ 0 w 17045"/>
                    <a:gd name="connsiteY0" fmla="*/ 16148 h 16147"/>
                    <a:gd name="connsiteX1" fmla="*/ 17045 w 17045"/>
                    <a:gd name="connsiteY1" fmla="*/ 0 h 16147"/>
                  </a:gdLst>
                  <a:ahLst/>
                  <a:cxnLst>
                    <a:cxn ang="0">
                      <a:pos x="connsiteX0" y="connsiteY0"/>
                    </a:cxn>
                    <a:cxn ang="0">
                      <a:pos x="connsiteX1" y="connsiteY1"/>
                    </a:cxn>
                  </a:cxnLst>
                  <a:rect l="l" t="t" r="r" b="b"/>
                  <a:pathLst>
                    <a:path w="17045" h="16147">
                      <a:moveTo>
                        <a:pt x="0" y="16148"/>
                      </a:moveTo>
                      <a:lnTo>
                        <a:pt x="17045" y="0"/>
                      </a:lnTo>
                    </a:path>
                  </a:pathLst>
                </a:custGeom>
                <a:ln w="6350" cap="rnd">
                  <a:solidFill>
                    <a:schemeClr val="bg1">
                      <a:alpha val="40000"/>
                    </a:schemeClr>
                  </a:solidFill>
                  <a:prstDash val="solid"/>
                  <a:round/>
                </a:ln>
              </p:spPr>
              <p:txBody>
                <a:bodyPr rtlCol="0" anchor="ctr"/>
                <a:lstStyle/>
                <a:p>
                  <a:endParaRPr lang="en-GB"/>
                </a:p>
              </p:txBody>
            </p:sp>
            <p:sp>
              <p:nvSpPr>
                <p:cNvPr id="6099" name="Vrije vorm: vorm 6098">
                  <a:extLst>
                    <a:ext uri="{FF2B5EF4-FFF2-40B4-BE49-F238E27FC236}">
                      <a16:creationId xmlns:a16="http://schemas.microsoft.com/office/drawing/2014/main" id="{C01739B3-3F32-48A7-AB20-B9A13402081E}"/>
                    </a:ext>
                  </a:extLst>
                </p:cNvPr>
                <p:cNvSpPr/>
                <p:nvPr/>
              </p:nvSpPr>
              <p:spPr>
                <a:xfrm>
                  <a:off x="7642724" y="2667561"/>
                  <a:ext cx="13576" cy="8731"/>
                </a:xfrm>
                <a:custGeom>
                  <a:avLst/>
                  <a:gdLst>
                    <a:gd name="connsiteX0" fmla="*/ 13576 w 13576"/>
                    <a:gd name="connsiteY0" fmla="*/ 0 h 8731"/>
                    <a:gd name="connsiteX1" fmla="*/ 0 w 13576"/>
                    <a:gd name="connsiteY1" fmla="*/ 8732 h 8731"/>
                  </a:gdLst>
                  <a:ahLst/>
                  <a:cxnLst>
                    <a:cxn ang="0">
                      <a:pos x="connsiteX0" y="connsiteY0"/>
                    </a:cxn>
                    <a:cxn ang="0">
                      <a:pos x="connsiteX1" y="connsiteY1"/>
                    </a:cxn>
                  </a:cxnLst>
                  <a:rect l="l" t="t" r="r" b="b"/>
                  <a:pathLst>
                    <a:path w="13576" h="8731">
                      <a:moveTo>
                        <a:pt x="13576" y="0"/>
                      </a:moveTo>
                      <a:lnTo>
                        <a:pt x="0" y="8732"/>
                      </a:lnTo>
                    </a:path>
                  </a:pathLst>
                </a:custGeom>
                <a:ln w="6350" cap="rnd">
                  <a:solidFill>
                    <a:schemeClr val="bg1">
                      <a:alpha val="40000"/>
                    </a:schemeClr>
                  </a:solidFill>
                  <a:prstDash val="solid"/>
                  <a:round/>
                </a:ln>
              </p:spPr>
              <p:txBody>
                <a:bodyPr rtlCol="0" anchor="ctr"/>
                <a:lstStyle/>
                <a:p>
                  <a:endParaRPr lang="en-GB"/>
                </a:p>
              </p:txBody>
            </p:sp>
            <p:sp>
              <p:nvSpPr>
                <p:cNvPr id="6100" name="Vrije vorm: vorm 6099">
                  <a:extLst>
                    <a:ext uri="{FF2B5EF4-FFF2-40B4-BE49-F238E27FC236}">
                      <a16:creationId xmlns:a16="http://schemas.microsoft.com/office/drawing/2014/main" id="{A3164E41-74F2-4CA6-9280-8EB54E971251}"/>
                    </a:ext>
                  </a:extLst>
                </p:cNvPr>
                <p:cNvSpPr/>
                <p:nvPr/>
              </p:nvSpPr>
              <p:spPr>
                <a:xfrm>
                  <a:off x="7659112" y="2690527"/>
                  <a:ext cx="21590" cy="3887"/>
                </a:xfrm>
                <a:custGeom>
                  <a:avLst/>
                  <a:gdLst>
                    <a:gd name="connsiteX0" fmla="*/ 21591 w 21590"/>
                    <a:gd name="connsiteY0" fmla="*/ 3887 h 3887"/>
                    <a:gd name="connsiteX1" fmla="*/ 0 w 21590"/>
                    <a:gd name="connsiteY1" fmla="*/ 0 h 3887"/>
                  </a:gdLst>
                  <a:ahLst/>
                  <a:cxnLst>
                    <a:cxn ang="0">
                      <a:pos x="connsiteX0" y="connsiteY0"/>
                    </a:cxn>
                    <a:cxn ang="0">
                      <a:pos x="connsiteX1" y="connsiteY1"/>
                    </a:cxn>
                  </a:cxnLst>
                  <a:rect l="l" t="t" r="r" b="b"/>
                  <a:pathLst>
                    <a:path w="21590" h="3887">
                      <a:moveTo>
                        <a:pt x="21591" y="388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01" name="Vrije vorm: vorm 6100">
                  <a:extLst>
                    <a:ext uri="{FF2B5EF4-FFF2-40B4-BE49-F238E27FC236}">
                      <a16:creationId xmlns:a16="http://schemas.microsoft.com/office/drawing/2014/main" id="{64B24DB6-3508-463A-BCAC-7B527BC1D34E}"/>
                    </a:ext>
                  </a:extLst>
                </p:cNvPr>
                <p:cNvSpPr/>
                <p:nvPr/>
              </p:nvSpPr>
              <p:spPr>
                <a:xfrm>
                  <a:off x="7680702" y="2694415"/>
                  <a:ext cx="17702" cy="11124"/>
                </a:xfrm>
                <a:custGeom>
                  <a:avLst/>
                  <a:gdLst>
                    <a:gd name="connsiteX0" fmla="*/ 0 w 17702"/>
                    <a:gd name="connsiteY0" fmla="*/ 0 h 11124"/>
                    <a:gd name="connsiteX1" fmla="*/ 17703 w 17702"/>
                    <a:gd name="connsiteY1" fmla="*/ 11124 h 11124"/>
                  </a:gdLst>
                  <a:ahLst/>
                  <a:cxnLst>
                    <a:cxn ang="0">
                      <a:pos x="connsiteX0" y="connsiteY0"/>
                    </a:cxn>
                    <a:cxn ang="0">
                      <a:pos x="connsiteX1" y="connsiteY1"/>
                    </a:cxn>
                  </a:cxnLst>
                  <a:rect l="l" t="t" r="r" b="b"/>
                  <a:pathLst>
                    <a:path w="17702" h="11124">
                      <a:moveTo>
                        <a:pt x="0" y="0"/>
                      </a:moveTo>
                      <a:lnTo>
                        <a:pt x="17703" y="11124"/>
                      </a:lnTo>
                    </a:path>
                  </a:pathLst>
                </a:custGeom>
                <a:ln w="6350" cap="rnd">
                  <a:solidFill>
                    <a:schemeClr val="bg1">
                      <a:alpha val="40000"/>
                    </a:schemeClr>
                  </a:solidFill>
                  <a:prstDash val="solid"/>
                  <a:round/>
                </a:ln>
              </p:spPr>
              <p:txBody>
                <a:bodyPr rtlCol="0" anchor="ctr"/>
                <a:lstStyle/>
                <a:p>
                  <a:endParaRPr lang="en-GB"/>
                </a:p>
              </p:txBody>
            </p:sp>
            <p:sp>
              <p:nvSpPr>
                <p:cNvPr id="6102" name="Vrije vorm: vorm 6101">
                  <a:extLst>
                    <a:ext uri="{FF2B5EF4-FFF2-40B4-BE49-F238E27FC236}">
                      <a16:creationId xmlns:a16="http://schemas.microsoft.com/office/drawing/2014/main" id="{1EAF6074-5C9E-4456-96AA-F0F3BCD37FE6}"/>
                    </a:ext>
                  </a:extLst>
                </p:cNvPr>
                <p:cNvSpPr/>
                <p:nvPr/>
              </p:nvSpPr>
              <p:spPr>
                <a:xfrm>
                  <a:off x="7679027" y="2722584"/>
                  <a:ext cx="16686" cy="12619"/>
                </a:xfrm>
                <a:custGeom>
                  <a:avLst/>
                  <a:gdLst>
                    <a:gd name="connsiteX0" fmla="*/ 0 w 16686"/>
                    <a:gd name="connsiteY0" fmla="*/ 12619 h 12619"/>
                    <a:gd name="connsiteX1" fmla="*/ 16687 w 16686"/>
                    <a:gd name="connsiteY1" fmla="*/ 0 h 12619"/>
                  </a:gdLst>
                  <a:ahLst/>
                  <a:cxnLst>
                    <a:cxn ang="0">
                      <a:pos x="connsiteX0" y="connsiteY0"/>
                    </a:cxn>
                    <a:cxn ang="0">
                      <a:pos x="connsiteX1" y="connsiteY1"/>
                    </a:cxn>
                  </a:cxnLst>
                  <a:rect l="l" t="t" r="r" b="b"/>
                  <a:pathLst>
                    <a:path w="16686" h="12619">
                      <a:moveTo>
                        <a:pt x="0" y="12619"/>
                      </a:moveTo>
                      <a:lnTo>
                        <a:pt x="16687" y="0"/>
                      </a:lnTo>
                    </a:path>
                  </a:pathLst>
                </a:custGeom>
                <a:ln w="6350" cap="rnd">
                  <a:solidFill>
                    <a:schemeClr val="bg1">
                      <a:alpha val="40000"/>
                    </a:schemeClr>
                  </a:solidFill>
                  <a:prstDash val="solid"/>
                  <a:round/>
                </a:ln>
              </p:spPr>
              <p:txBody>
                <a:bodyPr rtlCol="0" anchor="ctr"/>
                <a:lstStyle/>
                <a:p>
                  <a:endParaRPr lang="en-GB"/>
                </a:p>
              </p:txBody>
            </p:sp>
            <p:sp>
              <p:nvSpPr>
                <p:cNvPr id="6103" name="Vrije vorm: vorm 6102">
                  <a:extLst>
                    <a:ext uri="{FF2B5EF4-FFF2-40B4-BE49-F238E27FC236}">
                      <a16:creationId xmlns:a16="http://schemas.microsoft.com/office/drawing/2014/main" id="{44DD8CAC-E389-414A-A3AE-894FD2A497BA}"/>
                    </a:ext>
                  </a:extLst>
                </p:cNvPr>
                <p:cNvSpPr/>
                <p:nvPr/>
              </p:nvSpPr>
              <p:spPr>
                <a:xfrm>
                  <a:off x="7599962" y="2747284"/>
                  <a:ext cx="13396" cy="13636"/>
                </a:xfrm>
                <a:custGeom>
                  <a:avLst/>
                  <a:gdLst>
                    <a:gd name="connsiteX0" fmla="*/ 0 w 13396"/>
                    <a:gd name="connsiteY0" fmla="*/ 0 h 13636"/>
                    <a:gd name="connsiteX1" fmla="*/ 13397 w 13396"/>
                    <a:gd name="connsiteY1" fmla="*/ 13636 h 13636"/>
                  </a:gdLst>
                  <a:ahLst/>
                  <a:cxnLst>
                    <a:cxn ang="0">
                      <a:pos x="connsiteX0" y="connsiteY0"/>
                    </a:cxn>
                    <a:cxn ang="0">
                      <a:pos x="connsiteX1" y="connsiteY1"/>
                    </a:cxn>
                  </a:cxnLst>
                  <a:rect l="l" t="t" r="r" b="b"/>
                  <a:pathLst>
                    <a:path w="13396" h="13636">
                      <a:moveTo>
                        <a:pt x="0" y="0"/>
                      </a:moveTo>
                      <a:lnTo>
                        <a:pt x="13397" y="13636"/>
                      </a:lnTo>
                    </a:path>
                  </a:pathLst>
                </a:custGeom>
                <a:ln w="6350" cap="rnd">
                  <a:solidFill>
                    <a:schemeClr val="bg1">
                      <a:alpha val="40000"/>
                    </a:schemeClr>
                  </a:solidFill>
                  <a:prstDash val="solid"/>
                  <a:round/>
                </a:ln>
              </p:spPr>
              <p:txBody>
                <a:bodyPr rtlCol="0" anchor="ctr"/>
                <a:lstStyle/>
                <a:p>
                  <a:endParaRPr lang="en-GB"/>
                </a:p>
              </p:txBody>
            </p:sp>
            <p:sp>
              <p:nvSpPr>
                <p:cNvPr id="6104" name="Vrije vorm: vorm 6103">
                  <a:extLst>
                    <a:ext uri="{FF2B5EF4-FFF2-40B4-BE49-F238E27FC236}">
                      <a16:creationId xmlns:a16="http://schemas.microsoft.com/office/drawing/2014/main" id="{08F6F95F-07B9-42A9-A5E9-D29034E1865C}"/>
                    </a:ext>
                  </a:extLst>
                </p:cNvPr>
                <p:cNvSpPr/>
                <p:nvPr/>
              </p:nvSpPr>
              <p:spPr>
                <a:xfrm>
                  <a:off x="7566111" y="2814089"/>
                  <a:ext cx="10944" cy="1734"/>
                </a:xfrm>
                <a:custGeom>
                  <a:avLst/>
                  <a:gdLst>
                    <a:gd name="connsiteX0" fmla="*/ 10944 w 10944"/>
                    <a:gd name="connsiteY0" fmla="*/ 0 h 1734"/>
                    <a:gd name="connsiteX1" fmla="*/ 0 w 10944"/>
                    <a:gd name="connsiteY1" fmla="*/ 1734 h 1734"/>
                  </a:gdLst>
                  <a:ahLst/>
                  <a:cxnLst>
                    <a:cxn ang="0">
                      <a:pos x="connsiteX0" y="connsiteY0"/>
                    </a:cxn>
                    <a:cxn ang="0">
                      <a:pos x="connsiteX1" y="connsiteY1"/>
                    </a:cxn>
                  </a:cxnLst>
                  <a:rect l="l" t="t" r="r" b="b"/>
                  <a:pathLst>
                    <a:path w="10944" h="1734">
                      <a:moveTo>
                        <a:pt x="10944" y="0"/>
                      </a:moveTo>
                      <a:lnTo>
                        <a:pt x="0" y="1734"/>
                      </a:lnTo>
                    </a:path>
                  </a:pathLst>
                </a:custGeom>
                <a:ln w="6350" cap="rnd">
                  <a:solidFill>
                    <a:schemeClr val="bg1">
                      <a:alpha val="40000"/>
                    </a:schemeClr>
                  </a:solidFill>
                  <a:prstDash val="solid"/>
                  <a:round/>
                </a:ln>
              </p:spPr>
              <p:txBody>
                <a:bodyPr rtlCol="0" anchor="ctr"/>
                <a:lstStyle/>
                <a:p>
                  <a:endParaRPr lang="en-GB"/>
                </a:p>
              </p:txBody>
            </p:sp>
            <p:sp>
              <p:nvSpPr>
                <p:cNvPr id="6105" name="Vrije vorm: vorm 6104">
                  <a:extLst>
                    <a:ext uri="{FF2B5EF4-FFF2-40B4-BE49-F238E27FC236}">
                      <a16:creationId xmlns:a16="http://schemas.microsoft.com/office/drawing/2014/main" id="{2F8C67ED-86CF-4071-805A-8F18BF5BE5C4}"/>
                    </a:ext>
                  </a:extLst>
                </p:cNvPr>
                <p:cNvSpPr/>
                <p:nvPr/>
              </p:nvSpPr>
              <p:spPr>
                <a:xfrm>
                  <a:off x="7577056" y="2790525"/>
                  <a:ext cx="17583" cy="23564"/>
                </a:xfrm>
                <a:custGeom>
                  <a:avLst/>
                  <a:gdLst>
                    <a:gd name="connsiteX0" fmla="*/ 0 w 17583"/>
                    <a:gd name="connsiteY0" fmla="*/ 23564 h 23564"/>
                    <a:gd name="connsiteX1" fmla="*/ 17583 w 17583"/>
                    <a:gd name="connsiteY1" fmla="*/ 0 h 23564"/>
                  </a:gdLst>
                  <a:ahLst/>
                  <a:cxnLst>
                    <a:cxn ang="0">
                      <a:pos x="connsiteX0" y="connsiteY0"/>
                    </a:cxn>
                    <a:cxn ang="0">
                      <a:pos x="connsiteX1" y="connsiteY1"/>
                    </a:cxn>
                  </a:cxnLst>
                  <a:rect l="l" t="t" r="r" b="b"/>
                  <a:pathLst>
                    <a:path w="17583" h="23564">
                      <a:moveTo>
                        <a:pt x="0" y="23564"/>
                      </a:moveTo>
                      <a:lnTo>
                        <a:pt x="17583" y="0"/>
                      </a:lnTo>
                    </a:path>
                  </a:pathLst>
                </a:custGeom>
                <a:ln w="6350" cap="rnd">
                  <a:solidFill>
                    <a:schemeClr val="bg1">
                      <a:alpha val="40000"/>
                    </a:schemeClr>
                  </a:solidFill>
                  <a:prstDash val="solid"/>
                  <a:round/>
                </a:ln>
              </p:spPr>
              <p:txBody>
                <a:bodyPr rtlCol="0" anchor="ctr"/>
                <a:lstStyle/>
                <a:p>
                  <a:endParaRPr lang="en-GB"/>
                </a:p>
              </p:txBody>
            </p:sp>
            <p:sp>
              <p:nvSpPr>
                <p:cNvPr id="6106" name="Vrije vorm: vorm 6105">
                  <a:extLst>
                    <a:ext uri="{FF2B5EF4-FFF2-40B4-BE49-F238E27FC236}">
                      <a16:creationId xmlns:a16="http://schemas.microsoft.com/office/drawing/2014/main" id="{BDFCABC0-A064-4972-801F-AA59D1004EF3}"/>
                    </a:ext>
                  </a:extLst>
                </p:cNvPr>
                <p:cNvSpPr/>
                <p:nvPr/>
              </p:nvSpPr>
              <p:spPr>
                <a:xfrm>
                  <a:off x="7640093" y="2633113"/>
                  <a:ext cx="5621" cy="8253"/>
                </a:xfrm>
                <a:custGeom>
                  <a:avLst/>
                  <a:gdLst>
                    <a:gd name="connsiteX0" fmla="*/ 0 w 5621"/>
                    <a:gd name="connsiteY0" fmla="*/ 0 h 8253"/>
                    <a:gd name="connsiteX1" fmla="*/ 5622 w 5621"/>
                    <a:gd name="connsiteY1" fmla="*/ 8253 h 8253"/>
                  </a:gdLst>
                  <a:ahLst/>
                  <a:cxnLst>
                    <a:cxn ang="0">
                      <a:pos x="connsiteX0" y="connsiteY0"/>
                    </a:cxn>
                    <a:cxn ang="0">
                      <a:pos x="connsiteX1" y="connsiteY1"/>
                    </a:cxn>
                  </a:cxnLst>
                  <a:rect l="l" t="t" r="r" b="b"/>
                  <a:pathLst>
                    <a:path w="5621" h="8253">
                      <a:moveTo>
                        <a:pt x="0" y="0"/>
                      </a:moveTo>
                      <a:lnTo>
                        <a:pt x="5622" y="8253"/>
                      </a:lnTo>
                    </a:path>
                  </a:pathLst>
                </a:custGeom>
                <a:ln w="6350" cap="rnd">
                  <a:solidFill>
                    <a:schemeClr val="bg1">
                      <a:alpha val="40000"/>
                    </a:schemeClr>
                  </a:solidFill>
                  <a:prstDash val="solid"/>
                  <a:round/>
                </a:ln>
              </p:spPr>
              <p:txBody>
                <a:bodyPr rtlCol="0" anchor="ctr"/>
                <a:lstStyle/>
                <a:p>
                  <a:endParaRPr lang="en-GB"/>
                </a:p>
              </p:txBody>
            </p:sp>
            <p:sp>
              <p:nvSpPr>
                <p:cNvPr id="6107" name="Vrije vorm: vorm 6106">
                  <a:extLst>
                    <a:ext uri="{FF2B5EF4-FFF2-40B4-BE49-F238E27FC236}">
                      <a16:creationId xmlns:a16="http://schemas.microsoft.com/office/drawing/2014/main" id="{5F8B06FA-1BE3-4310-88A6-1FC9BE363301}"/>
                    </a:ext>
                  </a:extLst>
                </p:cNvPr>
                <p:cNvSpPr/>
                <p:nvPr/>
              </p:nvSpPr>
              <p:spPr>
                <a:xfrm>
                  <a:off x="7632258" y="2629105"/>
                  <a:ext cx="7834" cy="4007"/>
                </a:xfrm>
                <a:custGeom>
                  <a:avLst/>
                  <a:gdLst>
                    <a:gd name="connsiteX0" fmla="*/ 7835 w 7834"/>
                    <a:gd name="connsiteY0" fmla="*/ 4007 h 4007"/>
                    <a:gd name="connsiteX1" fmla="*/ 0 w 7834"/>
                    <a:gd name="connsiteY1" fmla="*/ 0 h 4007"/>
                  </a:gdLst>
                  <a:ahLst/>
                  <a:cxnLst>
                    <a:cxn ang="0">
                      <a:pos x="connsiteX0" y="connsiteY0"/>
                    </a:cxn>
                    <a:cxn ang="0">
                      <a:pos x="connsiteX1" y="connsiteY1"/>
                    </a:cxn>
                  </a:cxnLst>
                  <a:rect l="l" t="t" r="r" b="b"/>
                  <a:pathLst>
                    <a:path w="7834" h="4007">
                      <a:moveTo>
                        <a:pt x="7835" y="400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08" name="Vrije vorm: vorm 6107">
                  <a:extLst>
                    <a:ext uri="{FF2B5EF4-FFF2-40B4-BE49-F238E27FC236}">
                      <a16:creationId xmlns:a16="http://schemas.microsoft.com/office/drawing/2014/main" id="{B18DD2A0-EE4E-4034-A5D8-57DC65C0CA27}"/>
                    </a:ext>
                  </a:extLst>
                </p:cNvPr>
                <p:cNvSpPr/>
                <p:nvPr/>
              </p:nvSpPr>
              <p:spPr>
                <a:xfrm>
                  <a:off x="7677891" y="2796207"/>
                  <a:ext cx="897" cy="478"/>
                </a:xfrm>
                <a:custGeom>
                  <a:avLst/>
                  <a:gdLst>
                    <a:gd name="connsiteX0" fmla="*/ 0 w 897"/>
                    <a:gd name="connsiteY0" fmla="*/ 478 h 478"/>
                    <a:gd name="connsiteX1" fmla="*/ 897 w 897"/>
                    <a:gd name="connsiteY1" fmla="*/ 0 h 478"/>
                  </a:gdLst>
                  <a:ahLst/>
                  <a:cxnLst>
                    <a:cxn ang="0">
                      <a:pos x="connsiteX0" y="connsiteY0"/>
                    </a:cxn>
                    <a:cxn ang="0">
                      <a:pos x="connsiteX1" y="connsiteY1"/>
                    </a:cxn>
                  </a:cxnLst>
                  <a:rect l="l" t="t" r="r" b="b"/>
                  <a:pathLst>
                    <a:path w="897" h="478">
                      <a:moveTo>
                        <a:pt x="0" y="478"/>
                      </a:moveTo>
                      <a:lnTo>
                        <a:pt x="897" y="0"/>
                      </a:lnTo>
                    </a:path>
                  </a:pathLst>
                </a:custGeom>
                <a:ln w="6350" cap="rnd">
                  <a:solidFill>
                    <a:schemeClr val="bg1">
                      <a:alpha val="40000"/>
                    </a:schemeClr>
                  </a:solidFill>
                  <a:prstDash val="solid"/>
                  <a:round/>
                </a:ln>
              </p:spPr>
              <p:txBody>
                <a:bodyPr rtlCol="0" anchor="ctr"/>
                <a:lstStyle/>
                <a:p>
                  <a:endParaRPr lang="en-GB"/>
                </a:p>
              </p:txBody>
            </p:sp>
            <p:sp>
              <p:nvSpPr>
                <p:cNvPr id="6109" name="Vrije vorm: vorm 6108">
                  <a:extLst>
                    <a:ext uri="{FF2B5EF4-FFF2-40B4-BE49-F238E27FC236}">
                      <a16:creationId xmlns:a16="http://schemas.microsoft.com/office/drawing/2014/main" id="{79C3029E-9CB4-4F0F-8889-EA40C156949E}"/>
                    </a:ext>
                  </a:extLst>
                </p:cNvPr>
                <p:cNvSpPr/>
                <p:nvPr/>
              </p:nvSpPr>
              <p:spPr>
                <a:xfrm>
                  <a:off x="7625141" y="2689331"/>
                  <a:ext cx="15669" cy="15131"/>
                </a:xfrm>
                <a:custGeom>
                  <a:avLst/>
                  <a:gdLst>
                    <a:gd name="connsiteX0" fmla="*/ 15669 w 15669"/>
                    <a:gd name="connsiteY0" fmla="*/ 15131 h 15131"/>
                    <a:gd name="connsiteX1" fmla="*/ 0 w 15669"/>
                    <a:gd name="connsiteY1" fmla="*/ 0 h 15131"/>
                  </a:gdLst>
                  <a:ahLst/>
                  <a:cxnLst>
                    <a:cxn ang="0">
                      <a:pos x="connsiteX0" y="connsiteY0"/>
                    </a:cxn>
                    <a:cxn ang="0">
                      <a:pos x="connsiteX1" y="connsiteY1"/>
                    </a:cxn>
                  </a:cxnLst>
                  <a:rect l="l" t="t" r="r" b="b"/>
                  <a:pathLst>
                    <a:path w="15669" h="15131">
                      <a:moveTo>
                        <a:pt x="15669" y="1513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10" name="Vrije vorm: vorm 6109">
                  <a:extLst>
                    <a:ext uri="{FF2B5EF4-FFF2-40B4-BE49-F238E27FC236}">
                      <a16:creationId xmlns:a16="http://schemas.microsoft.com/office/drawing/2014/main" id="{344BB1B9-0D0C-4395-8292-320B1776F231}"/>
                    </a:ext>
                  </a:extLst>
                </p:cNvPr>
                <p:cNvSpPr/>
                <p:nvPr/>
              </p:nvSpPr>
              <p:spPr>
                <a:xfrm>
                  <a:off x="7640811" y="2690527"/>
                  <a:ext cx="18301" cy="13935"/>
                </a:xfrm>
                <a:custGeom>
                  <a:avLst/>
                  <a:gdLst>
                    <a:gd name="connsiteX0" fmla="*/ 0 w 18301"/>
                    <a:gd name="connsiteY0" fmla="*/ 13935 h 13935"/>
                    <a:gd name="connsiteX1" fmla="*/ 18301 w 18301"/>
                    <a:gd name="connsiteY1" fmla="*/ 0 h 13935"/>
                  </a:gdLst>
                  <a:ahLst/>
                  <a:cxnLst>
                    <a:cxn ang="0">
                      <a:pos x="connsiteX0" y="connsiteY0"/>
                    </a:cxn>
                    <a:cxn ang="0">
                      <a:pos x="connsiteX1" y="connsiteY1"/>
                    </a:cxn>
                  </a:cxnLst>
                  <a:rect l="l" t="t" r="r" b="b"/>
                  <a:pathLst>
                    <a:path w="18301" h="13935">
                      <a:moveTo>
                        <a:pt x="0" y="13935"/>
                      </a:moveTo>
                      <a:lnTo>
                        <a:pt x="18301" y="0"/>
                      </a:lnTo>
                    </a:path>
                  </a:pathLst>
                </a:custGeom>
                <a:ln w="6350" cap="rnd">
                  <a:solidFill>
                    <a:schemeClr val="bg1">
                      <a:alpha val="40000"/>
                    </a:schemeClr>
                  </a:solidFill>
                  <a:prstDash val="solid"/>
                  <a:round/>
                </a:ln>
              </p:spPr>
              <p:txBody>
                <a:bodyPr rtlCol="0" anchor="ctr"/>
                <a:lstStyle/>
                <a:p>
                  <a:endParaRPr lang="en-GB"/>
                </a:p>
              </p:txBody>
            </p:sp>
            <p:sp>
              <p:nvSpPr>
                <p:cNvPr id="6111" name="Vrije vorm: vorm 6110">
                  <a:extLst>
                    <a:ext uri="{FF2B5EF4-FFF2-40B4-BE49-F238E27FC236}">
                      <a16:creationId xmlns:a16="http://schemas.microsoft.com/office/drawing/2014/main" id="{68661140-1589-4277-B93F-B99B9DD38798}"/>
                    </a:ext>
                  </a:extLst>
                </p:cNvPr>
                <p:cNvSpPr/>
                <p:nvPr/>
              </p:nvSpPr>
              <p:spPr>
                <a:xfrm>
                  <a:off x="7640811" y="2704463"/>
                  <a:ext cx="14353" cy="12738"/>
                </a:xfrm>
                <a:custGeom>
                  <a:avLst/>
                  <a:gdLst>
                    <a:gd name="connsiteX0" fmla="*/ 0 w 14353"/>
                    <a:gd name="connsiteY0" fmla="*/ 0 h 12738"/>
                    <a:gd name="connsiteX1" fmla="*/ 14354 w 14353"/>
                    <a:gd name="connsiteY1" fmla="*/ 12739 h 12738"/>
                  </a:gdLst>
                  <a:ahLst/>
                  <a:cxnLst>
                    <a:cxn ang="0">
                      <a:pos x="connsiteX0" y="connsiteY0"/>
                    </a:cxn>
                    <a:cxn ang="0">
                      <a:pos x="connsiteX1" y="connsiteY1"/>
                    </a:cxn>
                  </a:cxnLst>
                  <a:rect l="l" t="t" r="r" b="b"/>
                  <a:pathLst>
                    <a:path w="14353" h="12738">
                      <a:moveTo>
                        <a:pt x="0" y="0"/>
                      </a:moveTo>
                      <a:lnTo>
                        <a:pt x="14354" y="12739"/>
                      </a:lnTo>
                    </a:path>
                  </a:pathLst>
                </a:custGeom>
                <a:ln w="6350" cap="rnd">
                  <a:solidFill>
                    <a:schemeClr val="bg1">
                      <a:alpha val="40000"/>
                    </a:schemeClr>
                  </a:solidFill>
                  <a:prstDash val="solid"/>
                  <a:round/>
                </a:ln>
              </p:spPr>
              <p:txBody>
                <a:bodyPr rtlCol="0" anchor="ctr"/>
                <a:lstStyle/>
                <a:p>
                  <a:endParaRPr lang="en-GB"/>
                </a:p>
              </p:txBody>
            </p:sp>
            <p:sp>
              <p:nvSpPr>
                <p:cNvPr id="6112" name="Vrije vorm: vorm 6111">
                  <a:extLst>
                    <a:ext uri="{FF2B5EF4-FFF2-40B4-BE49-F238E27FC236}">
                      <a16:creationId xmlns:a16="http://schemas.microsoft.com/office/drawing/2014/main" id="{9BD3770A-35F2-47F0-AFE0-3214DAD427C0}"/>
                    </a:ext>
                  </a:extLst>
                </p:cNvPr>
                <p:cNvSpPr/>
                <p:nvPr/>
              </p:nvSpPr>
              <p:spPr>
                <a:xfrm>
                  <a:off x="7572929" y="2684666"/>
                  <a:ext cx="19915" cy="7057"/>
                </a:xfrm>
                <a:custGeom>
                  <a:avLst/>
                  <a:gdLst>
                    <a:gd name="connsiteX0" fmla="*/ 19916 w 19915"/>
                    <a:gd name="connsiteY0" fmla="*/ 0 h 7057"/>
                    <a:gd name="connsiteX1" fmla="*/ 0 w 19915"/>
                    <a:gd name="connsiteY1" fmla="*/ 7057 h 7057"/>
                  </a:gdLst>
                  <a:ahLst/>
                  <a:cxnLst>
                    <a:cxn ang="0">
                      <a:pos x="connsiteX0" y="connsiteY0"/>
                    </a:cxn>
                    <a:cxn ang="0">
                      <a:pos x="connsiteX1" y="connsiteY1"/>
                    </a:cxn>
                  </a:cxnLst>
                  <a:rect l="l" t="t" r="r" b="b"/>
                  <a:pathLst>
                    <a:path w="19915" h="7057">
                      <a:moveTo>
                        <a:pt x="19916" y="0"/>
                      </a:moveTo>
                      <a:lnTo>
                        <a:pt x="0" y="7057"/>
                      </a:lnTo>
                    </a:path>
                  </a:pathLst>
                </a:custGeom>
                <a:ln w="6350" cap="rnd">
                  <a:solidFill>
                    <a:schemeClr val="bg1">
                      <a:alpha val="40000"/>
                    </a:schemeClr>
                  </a:solidFill>
                  <a:prstDash val="solid"/>
                  <a:round/>
                </a:ln>
              </p:spPr>
              <p:txBody>
                <a:bodyPr rtlCol="0" anchor="ctr"/>
                <a:lstStyle/>
                <a:p>
                  <a:endParaRPr lang="en-GB"/>
                </a:p>
              </p:txBody>
            </p:sp>
            <p:sp>
              <p:nvSpPr>
                <p:cNvPr id="6113" name="Vrije vorm: vorm 6112">
                  <a:extLst>
                    <a:ext uri="{FF2B5EF4-FFF2-40B4-BE49-F238E27FC236}">
                      <a16:creationId xmlns:a16="http://schemas.microsoft.com/office/drawing/2014/main" id="{25130046-C1AA-456B-920C-33560832827A}"/>
                    </a:ext>
                  </a:extLst>
                </p:cNvPr>
                <p:cNvSpPr/>
                <p:nvPr/>
              </p:nvSpPr>
              <p:spPr>
                <a:xfrm>
                  <a:off x="7592845" y="2670612"/>
                  <a:ext cx="19377" cy="14054"/>
                </a:xfrm>
                <a:custGeom>
                  <a:avLst/>
                  <a:gdLst>
                    <a:gd name="connsiteX0" fmla="*/ 0 w 19377"/>
                    <a:gd name="connsiteY0" fmla="*/ 14055 h 14054"/>
                    <a:gd name="connsiteX1" fmla="*/ 19377 w 19377"/>
                    <a:gd name="connsiteY1" fmla="*/ 0 h 14054"/>
                  </a:gdLst>
                  <a:ahLst/>
                  <a:cxnLst>
                    <a:cxn ang="0">
                      <a:pos x="connsiteX0" y="connsiteY0"/>
                    </a:cxn>
                    <a:cxn ang="0">
                      <a:pos x="connsiteX1" y="connsiteY1"/>
                    </a:cxn>
                  </a:cxnLst>
                  <a:rect l="l" t="t" r="r" b="b"/>
                  <a:pathLst>
                    <a:path w="19377" h="14054">
                      <a:moveTo>
                        <a:pt x="0" y="14055"/>
                      </a:moveTo>
                      <a:lnTo>
                        <a:pt x="19377" y="0"/>
                      </a:lnTo>
                    </a:path>
                  </a:pathLst>
                </a:custGeom>
                <a:ln w="6350" cap="rnd">
                  <a:solidFill>
                    <a:schemeClr val="bg1">
                      <a:alpha val="40000"/>
                    </a:schemeClr>
                  </a:solidFill>
                  <a:prstDash val="solid"/>
                  <a:round/>
                </a:ln>
              </p:spPr>
              <p:txBody>
                <a:bodyPr rtlCol="0" anchor="ctr"/>
                <a:lstStyle/>
                <a:p>
                  <a:endParaRPr lang="en-GB"/>
                </a:p>
              </p:txBody>
            </p:sp>
            <p:sp>
              <p:nvSpPr>
                <p:cNvPr id="6114" name="Vrije vorm: vorm 6113">
                  <a:extLst>
                    <a:ext uri="{FF2B5EF4-FFF2-40B4-BE49-F238E27FC236}">
                      <a16:creationId xmlns:a16="http://schemas.microsoft.com/office/drawing/2014/main" id="{80377820-7E89-4F38-9756-350E87147ADA}"/>
                    </a:ext>
                  </a:extLst>
                </p:cNvPr>
                <p:cNvSpPr/>
                <p:nvPr/>
              </p:nvSpPr>
              <p:spPr>
                <a:xfrm>
                  <a:off x="7613658" y="2787056"/>
                  <a:ext cx="29425" cy="21769"/>
                </a:xfrm>
                <a:custGeom>
                  <a:avLst/>
                  <a:gdLst>
                    <a:gd name="connsiteX0" fmla="*/ 0 w 29425"/>
                    <a:gd name="connsiteY0" fmla="*/ 21770 h 21769"/>
                    <a:gd name="connsiteX1" fmla="*/ 29425 w 29425"/>
                    <a:gd name="connsiteY1" fmla="*/ 0 h 21769"/>
                  </a:gdLst>
                  <a:ahLst/>
                  <a:cxnLst>
                    <a:cxn ang="0">
                      <a:pos x="connsiteX0" y="connsiteY0"/>
                    </a:cxn>
                    <a:cxn ang="0">
                      <a:pos x="connsiteX1" y="connsiteY1"/>
                    </a:cxn>
                  </a:cxnLst>
                  <a:rect l="l" t="t" r="r" b="b"/>
                  <a:pathLst>
                    <a:path w="29425" h="21769">
                      <a:moveTo>
                        <a:pt x="0" y="21770"/>
                      </a:moveTo>
                      <a:lnTo>
                        <a:pt x="29425" y="0"/>
                      </a:lnTo>
                    </a:path>
                  </a:pathLst>
                </a:custGeom>
                <a:ln w="6350" cap="rnd">
                  <a:solidFill>
                    <a:schemeClr val="bg1">
                      <a:alpha val="40000"/>
                    </a:schemeClr>
                  </a:solidFill>
                  <a:prstDash val="solid"/>
                  <a:round/>
                </a:ln>
              </p:spPr>
              <p:txBody>
                <a:bodyPr rtlCol="0" anchor="ctr"/>
                <a:lstStyle/>
                <a:p>
                  <a:endParaRPr lang="en-GB"/>
                </a:p>
              </p:txBody>
            </p:sp>
            <p:sp>
              <p:nvSpPr>
                <p:cNvPr id="6115" name="Vrije vorm: vorm 6114">
                  <a:extLst>
                    <a:ext uri="{FF2B5EF4-FFF2-40B4-BE49-F238E27FC236}">
                      <a16:creationId xmlns:a16="http://schemas.microsoft.com/office/drawing/2014/main" id="{179DC0E6-39DD-4550-9BC9-72715C2F3F7F}"/>
                    </a:ext>
                  </a:extLst>
                </p:cNvPr>
                <p:cNvSpPr/>
                <p:nvPr/>
              </p:nvSpPr>
              <p:spPr>
                <a:xfrm>
                  <a:off x="7731000" y="2801709"/>
                  <a:ext cx="4066" cy="4904"/>
                </a:xfrm>
                <a:custGeom>
                  <a:avLst/>
                  <a:gdLst>
                    <a:gd name="connsiteX0" fmla="*/ 0 w 4066"/>
                    <a:gd name="connsiteY0" fmla="*/ 0 h 4904"/>
                    <a:gd name="connsiteX1" fmla="*/ 4067 w 4066"/>
                    <a:gd name="connsiteY1" fmla="*/ 4904 h 4904"/>
                  </a:gdLst>
                  <a:ahLst/>
                  <a:cxnLst>
                    <a:cxn ang="0">
                      <a:pos x="connsiteX0" y="connsiteY0"/>
                    </a:cxn>
                    <a:cxn ang="0">
                      <a:pos x="connsiteX1" y="connsiteY1"/>
                    </a:cxn>
                  </a:cxnLst>
                  <a:rect l="l" t="t" r="r" b="b"/>
                  <a:pathLst>
                    <a:path w="4066" h="4904">
                      <a:moveTo>
                        <a:pt x="0" y="0"/>
                      </a:moveTo>
                      <a:lnTo>
                        <a:pt x="4067" y="4904"/>
                      </a:lnTo>
                    </a:path>
                  </a:pathLst>
                </a:custGeom>
                <a:ln w="6350" cap="rnd">
                  <a:solidFill>
                    <a:schemeClr val="bg1">
                      <a:alpha val="40000"/>
                    </a:schemeClr>
                  </a:solidFill>
                  <a:prstDash val="solid"/>
                  <a:round/>
                </a:ln>
              </p:spPr>
              <p:txBody>
                <a:bodyPr rtlCol="0" anchor="ctr"/>
                <a:lstStyle/>
                <a:p>
                  <a:endParaRPr lang="en-GB"/>
                </a:p>
              </p:txBody>
            </p:sp>
            <p:sp>
              <p:nvSpPr>
                <p:cNvPr id="6116" name="Vrije vorm: vorm 6115">
                  <a:extLst>
                    <a:ext uri="{FF2B5EF4-FFF2-40B4-BE49-F238E27FC236}">
                      <a16:creationId xmlns:a16="http://schemas.microsoft.com/office/drawing/2014/main" id="{4944F7C5-00C7-438A-BC0B-BF2DAF56D663}"/>
                    </a:ext>
                  </a:extLst>
                </p:cNvPr>
                <p:cNvSpPr/>
                <p:nvPr/>
              </p:nvSpPr>
              <p:spPr>
                <a:xfrm>
                  <a:off x="7597630" y="2784544"/>
                  <a:ext cx="6219" cy="12978"/>
                </a:xfrm>
                <a:custGeom>
                  <a:avLst/>
                  <a:gdLst>
                    <a:gd name="connsiteX0" fmla="*/ 0 w 6219"/>
                    <a:gd name="connsiteY0" fmla="*/ 12978 h 12978"/>
                    <a:gd name="connsiteX1" fmla="*/ 6220 w 6219"/>
                    <a:gd name="connsiteY1" fmla="*/ 0 h 12978"/>
                  </a:gdLst>
                  <a:ahLst/>
                  <a:cxnLst>
                    <a:cxn ang="0">
                      <a:pos x="connsiteX0" y="connsiteY0"/>
                    </a:cxn>
                    <a:cxn ang="0">
                      <a:pos x="connsiteX1" y="connsiteY1"/>
                    </a:cxn>
                  </a:cxnLst>
                  <a:rect l="l" t="t" r="r" b="b"/>
                  <a:pathLst>
                    <a:path w="6219" h="12978">
                      <a:moveTo>
                        <a:pt x="0" y="12978"/>
                      </a:moveTo>
                      <a:lnTo>
                        <a:pt x="6220" y="0"/>
                      </a:lnTo>
                    </a:path>
                  </a:pathLst>
                </a:custGeom>
                <a:ln w="6350" cap="rnd">
                  <a:solidFill>
                    <a:schemeClr val="bg1">
                      <a:alpha val="40000"/>
                    </a:schemeClr>
                  </a:solidFill>
                  <a:prstDash val="solid"/>
                  <a:round/>
                </a:ln>
              </p:spPr>
              <p:txBody>
                <a:bodyPr rtlCol="0" anchor="ctr"/>
                <a:lstStyle/>
                <a:p>
                  <a:endParaRPr lang="en-GB"/>
                </a:p>
              </p:txBody>
            </p:sp>
            <p:sp>
              <p:nvSpPr>
                <p:cNvPr id="6117" name="Vrije vorm: vorm 6116">
                  <a:extLst>
                    <a:ext uri="{FF2B5EF4-FFF2-40B4-BE49-F238E27FC236}">
                      <a16:creationId xmlns:a16="http://schemas.microsoft.com/office/drawing/2014/main" id="{EA7FEFD2-728C-47D9-8858-6DD33E7ECFF9}"/>
                    </a:ext>
                  </a:extLst>
                </p:cNvPr>
                <p:cNvSpPr/>
                <p:nvPr/>
              </p:nvSpPr>
              <p:spPr>
                <a:xfrm>
                  <a:off x="7594639" y="2790525"/>
                  <a:ext cx="2990" cy="6997"/>
                </a:xfrm>
                <a:custGeom>
                  <a:avLst/>
                  <a:gdLst>
                    <a:gd name="connsiteX0" fmla="*/ 2991 w 2990"/>
                    <a:gd name="connsiteY0" fmla="*/ 6997 h 6997"/>
                    <a:gd name="connsiteX1" fmla="*/ 0 w 2990"/>
                    <a:gd name="connsiteY1" fmla="*/ 0 h 6997"/>
                  </a:gdLst>
                  <a:ahLst/>
                  <a:cxnLst>
                    <a:cxn ang="0">
                      <a:pos x="connsiteX0" y="connsiteY0"/>
                    </a:cxn>
                    <a:cxn ang="0">
                      <a:pos x="connsiteX1" y="connsiteY1"/>
                    </a:cxn>
                  </a:cxnLst>
                  <a:rect l="l" t="t" r="r" b="b"/>
                  <a:pathLst>
                    <a:path w="2990" h="6997">
                      <a:moveTo>
                        <a:pt x="2991" y="699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18" name="Vrije vorm: vorm 6117">
                  <a:extLst>
                    <a:ext uri="{FF2B5EF4-FFF2-40B4-BE49-F238E27FC236}">
                      <a16:creationId xmlns:a16="http://schemas.microsoft.com/office/drawing/2014/main" id="{0D693BB0-FF80-4319-9824-53CFC609444A}"/>
                    </a:ext>
                  </a:extLst>
                </p:cNvPr>
                <p:cNvSpPr/>
                <p:nvPr/>
              </p:nvSpPr>
              <p:spPr>
                <a:xfrm>
                  <a:off x="7577056" y="2797523"/>
                  <a:ext cx="20573" cy="16566"/>
                </a:xfrm>
                <a:custGeom>
                  <a:avLst/>
                  <a:gdLst>
                    <a:gd name="connsiteX0" fmla="*/ 20574 w 20573"/>
                    <a:gd name="connsiteY0" fmla="*/ 0 h 16566"/>
                    <a:gd name="connsiteX1" fmla="*/ 0 w 20573"/>
                    <a:gd name="connsiteY1" fmla="*/ 16567 h 16566"/>
                  </a:gdLst>
                  <a:ahLst/>
                  <a:cxnLst>
                    <a:cxn ang="0">
                      <a:pos x="connsiteX0" y="connsiteY0"/>
                    </a:cxn>
                    <a:cxn ang="0">
                      <a:pos x="connsiteX1" y="connsiteY1"/>
                    </a:cxn>
                  </a:cxnLst>
                  <a:rect l="l" t="t" r="r" b="b"/>
                  <a:pathLst>
                    <a:path w="20573" h="16566">
                      <a:moveTo>
                        <a:pt x="20574" y="0"/>
                      </a:moveTo>
                      <a:lnTo>
                        <a:pt x="0" y="16567"/>
                      </a:lnTo>
                    </a:path>
                  </a:pathLst>
                </a:custGeom>
                <a:ln w="6350" cap="rnd">
                  <a:solidFill>
                    <a:schemeClr val="bg1">
                      <a:alpha val="40000"/>
                    </a:schemeClr>
                  </a:solidFill>
                  <a:prstDash val="solid"/>
                  <a:round/>
                </a:ln>
              </p:spPr>
              <p:txBody>
                <a:bodyPr rtlCol="0" anchor="ctr"/>
                <a:lstStyle/>
                <a:p>
                  <a:endParaRPr lang="en-GB"/>
                </a:p>
              </p:txBody>
            </p:sp>
            <p:sp>
              <p:nvSpPr>
                <p:cNvPr id="6119" name="Vrije vorm: vorm 6118">
                  <a:extLst>
                    <a:ext uri="{FF2B5EF4-FFF2-40B4-BE49-F238E27FC236}">
                      <a16:creationId xmlns:a16="http://schemas.microsoft.com/office/drawing/2014/main" id="{649370A5-E67B-4B5A-B1C7-F9C823504AB4}"/>
                    </a:ext>
                  </a:extLst>
                </p:cNvPr>
                <p:cNvSpPr/>
                <p:nvPr/>
              </p:nvSpPr>
              <p:spPr>
                <a:xfrm>
                  <a:off x="7613538" y="2808826"/>
                  <a:ext cx="119" cy="358"/>
                </a:xfrm>
                <a:custGeom>
                  <a:avLst/>
                  <a:gdLst>
                    <a:gd name="connsiteX0" fmla="*/ 0 w 119"/>
                    <a:gd name="connsiteY0" fmla="*/ 359 h 358"/>
                    <a:gd name="connsiteX1" fmla="*/ 119 w 119"/>
                    <a:gd name="connsiteY1" fmla="*/ 0 h 358"/>
                  </a:gdLst>
                  <a:ahLst/>
                  <a:cxnLst>
                    <a:cxn ang="0">
                      <a:pos x="connsiteX0" y="connsiteY0"/>
                    </a:cxn>
                    <a:cxn ang="0">
                      <a:pos x="connsiteX1" y="connsiteY1"/>
                    </a:cxn>
                  </a:cxnLst>
                  <a:rect l="l" t="t" r="r" b="b"/>
                  <a:pathLst>
                    <a:path w="119" h="358">
                      <a:moveTo>
                        <a:pt x="0" y="359"/>
                      </a:moveTo>
                      <a:lnTo>
                        <a:pt x="119" y="0"/>
                      </a:lnTo>
                    </a:path>
                  </a:pathLst>
                </a:custGeom>
                <a:ln w="6350" cap="rnd">
                  <a:solidFill>
                    <a:schemeClr val="bg1">
                      <a:alpha val="40000"/>
                    </a:schemeClr>
                  </a:solidFill>
                  <a:prstDash val="solid"/>
                  <a:round/>
                </a:ln>
              </p:spPr>
              <p:txBody>
                <a:bodyPr rtlCol="0" anchor="ctr"/>
                <a:lstStyle/>
                <a:p>
                  <a:endParaRPr lang="en-GB"/>
                </a:p>
              </p:txBody>
            </p:sp>
            <p:sp>
              <p:nvSpPr>
                <p:cNvPr id="6120" name="Vrije vorm: vorm 6119">
                  <a:extLst>
                    <a:ext uri="{FF2B5EF4-FFF2-40B4-BE49-F238E27FC236}">
                      <a16:creationId xmlns:a16="http://schemas.microsoft.com/office/drawing/2014/main" id="{7BEDAC3E-49FE-402E-94C2-7E5262F71DAD}"/>
                    </a:ext>
                  </a:extLst>
                </p:cNvPr>
                <p:cNvSpPr/>
                <p:nvPr/>
              </p:nvSpPr>
              <p:spPr>
                <a:xfrm>
                  <a:off x="7510790" y="2733409"/>
                  <a:ext cx="2511" cy="2691"/>
                </a:xfrm>
                <a:custGeom>
                  <a:avLst/>
                  <a:gdLst>
                    <a:gd name="connsiteX0" fmla="*/ 0 w 2511"/>
                    <a:gd name="connsiteY0" fmla="*/ 0 h 2691"/>
                    <a:gd name="connsiteX1" fmla="*/ 2512 w 2511"/>
                    <a:gd name="connsiteY1" fmla="*/ 2691 h 2691"/>
                  </a:gdLst>
                  <a:ahLst/>
                  <a:cxnLst>
                    <a:cxn ang="0">
                      <a:pos x="connsiteX0" y="connsiteY0"/>
                    </a:cxn>
                    <a:cxn ang="0">
                      <a:pos x="connsiteX1" y="connsiteY1"/>
                    </a:cxn>
                  </a:cxnLst>
                  <a:rect l="l" t="t" r="r" b="b"/>
                  <a:pathLst>
                    <a:path w="2511" h="2691">
                      <a:moveTo>
                        <a:pt x="0" y="0"/>
                      </a:moveTo>
                      <a:lnTo>
                        <a:pt x="2512" y="2691"/>
                      </a:lnTo>
                    </a:path>
                  </a:pathLst>
                </a:custGeom>
                <a:ln w="6350" cap="rnd">
                  <a:solidFill>
                    <a:schemeClr val="bg1">
                      <a:alpha val="40000"/>
                    </a:schemeClr>
                  </a:solidFill>
                  <a:prstDash val="solid"/>
                  <a:round/>
                </a:ln>
              </p:spPr>
              <p:txBody>
                <a:bodyPr rtlCol="0" anchor="ctr"/>
                <a:lstStyle/>
                <a:p>
                  <a:endParaRPr lang="en-GB"/>
                </a:p>
              </p:txBody>
            </p:sp>
            <p:sp>
              <p:nvSpPr>
                <p:cNvPr id="6121" name="Vrije vorm: vorm 6120">
                  <a:extLst>
                    <a:ext uri="{FF2B5EF4-FFF2-40B4-BE49-F238E27FC236}">
                      <a16:creationId xmlns:a16="http://schemas.microsoft.com/office/drawing/2014/main" id="{C8A7E7FC-7238-476E-B8D8-CFDA01F71DE4}"/>
                    </a:ext>
                  </a:extLst>
                </p:cNvPr>
                <p:cNvSpPr/>
                <p:nvPr/>
              </p:nvSpPr>
              <p:spPr>
                <a:xfrm>
                  <a:off x="7591470" y="2809185"/>
                  <a:ext cx="22068" cy="27032"/>
                </a:xfrm>
                <a:custGeom>
                  <a:avLst/>
                  <a:gdLst>
                    <a:gd name="connsiteX0" fmla="*/ 0 w 22068"/>
                    <a:gd name="connsiteY0" fmla="*/ 27033 h 27032"/>
                    <a:gd name="connsiteX1" fmla="*/ 22069 w 22068"/>
                    <a:gd name="connsiteY1" fmla="*/ 0 h 27032"/>
                  </a:gdLst>
                  <a:ahLst/>
                  <a:cxnLst>
                    <a:cxn ang="0">
                      <a:pos x="connsiteX0" y="connsiteY0"/>
                    </a:cxn>
                    <a:cxn ang="0">
                      <a:pos x="connsiteX1" y="connsiteY1"/>
                    </a:cxn>
                  </a:cxnLst>
                  <a:rect l="l" t="t" r="r" b="b"/>
                  <a:pathLst>
                    <a:path w="22068" h="27032">
                      <a:moveTo>
                        <a:pt x="0" y="27033"/>
                      </a:moveTo>
                      <a:lnTo>
                        <a:pt x="22069" y="0"/>
                      </a:lnTo>
                    </a:path>
                  </a:pathLst>
                </a:custGeom>
                <a:ln w="6350" cap="rnd">
                  <a:solidFill>
                    <a:schemeClr val="bg1">
                      <a:alpha val="40000"/>
                    </a:schemeClr>
                  </a:solidFill>
                  <a:prstDash val="solid"/>
                  <a:round/>
                </a:ln>
              </p:spPr>
              <p:txBody>
                <a:bodyPr rtlCol="0" anchor="ctr"/>
                <a:lstStyle/>
                <a:p>
                  <a:endParaRPr lang="en-GB"/>
                </a:p>
              </p:txBody>
            </p:sp>
            <p:sp>
              <p:nvSpPr>
                <p:cNvPr id="6122" name="Vrije vorm: vorm 6121">
                  <a:extLst>
                    <a:ext uri="{FF2B5EF4-FFF2-40B4-BE49-F238E27FC236}">
                      <a16:creationId xmlns:a16="http://schemas.microsoft.com/office/drawing/2014/main" id="{FB8D9AA3-8A7A-490E-B009-5769A28E45E0}"/>
                    </a:ext>
                  </a:extLst>
                </p:cNvPr>
                <p:cNvSpPr/>
                <p:nvPr/>
              </p:nvSpPr>
              <p:spPr>
                <a:xfrm>
                  <a:off x="7562702" y="2699618"/>
                  <a:ext cx="4963" cy="7535"/>
                </a:xfrm>
                <a:custGeom>
                  <a:avLst/>
                  <a:gdLst>
                    <a:gd name="connsiteX0" fmla="*/ 0 w 4963"/>
                    <a:gd name="connsiteY0" fmla="*/ 7536 h 7535"/>
                    <a:gd name="connsiteX1" fmla="*/ 4964 w 4963"/>
                    <a:gd name="connsiteY1" fmla="*/ 0 h 7535"/>
                  </a:gdLst>
                  <a:ahLst/>
                  <a:cxnLst>
                    <a:cxn ang="0">
                      <a:pos x="connsiteX0" y="connsiteY0"/>
                    </a:cxn>
                    <a:cxn ang="0">
                      <a:pos x="connsiteX1" y="connsiteY1"/>
                    </a:cxn>
                  </a:cxnLst>
                  <a:rect l="l" t="t" r="r" b="b"/>
                  <a:pathLst>
                    <a:path w="4963" h="7535">
                      <a:moveTo>
                        <a:pt x="0" y="7536"/>
                      </a:moveTo>
                      <a:lnTo>
                        <a:pt x="4964" y="0"/>
                      </a:lnTo>
                    </a:path>
                  </a:pathLst>
                </a:custGeom>
                <a:ln w="6350" cap="rnd">
                  <a:solidFill>
                    <a:schemeClr val="bg1">
                      <a:alpha val="40000"/>
                    </a:schemeClr>
                  </a:solidFill>
                  <a:prstDash val="solid"/>
                  <a:round/>
                </a:ln>
              </p:spPr>
              <p:txBody>
                <a:bodyPr rtlCol="0" anchor="ctr"/>
                <a:lstStyle/>
                <a:p>
                  <a:endParaRPr lang="en-GB"/>
                </a:p>
              </p:txBody>
            </p:sp>
            <p:sp>
              <p:nvSpPr>
                <p:cNvPr id="6123" name="Vrije vorm: vorm 6122">
                  <a:extLst>
                    <a:ext uri="{FF2B5EF4-FFF2-40B4-BE49-F238E27FC236}">
                      <a16:creationId xmlns:a16="http://schemas.microsoft.com/office/drawing/2014/main" id="{E68B3DDC-A0BB-4AC8-9F79-29C640DC3D7F}"/>
                    </a:ext>
                  </a:extLst>
                </p:cNvPr>
                <p:cNvSpPr/>
                <p:nvPr/>
              </p:nvSpPr>
              <p:spPr>
                <a:xfrm>
                  <a:off x="7562702" y="2699439"/>
                  <a:ext cx="2511" cy="7715"/>
                </a:xfrm>
                <a:custGeom>
                  <a:avLst/>
                  <a:gdLst>
                    <a:gd name="connsiteX0" fmla="*/ 0 w 2511"/>
                    <a:gd name="connsiteY0" fmla="*/ 7715 h 7715"/>
                    <a:gd name="connsiteX1" fmla="*/ 2512 w 2511"/>
                    <a:gd name="connsiteY1" fmla="*/ 0 h 7715"/>
                  </a:gdLst>
                  <a:ahLst/>
                  <a:cxnLst>
                    <a:cxn ang="0">
                      <a:pos x="connsiteX0" y="connsiteY0"/>
                    </a:cxn>
                    <a:cxn ang="0">
                      <a:pos x="connsiteX1" y="connsiteY1"/>
                    </a:cxn>
                  </a:cxnLst>
                  <a:rect l="l" t="t" r="r" b="b"/>
                  <a:pathLst>
                    <a:path w="2511" h="7715">
                      <a:moveTo>
                        <a:pt x="0" y="7715"/>
                      </a:moveTo>
                      <a:lnTo>
                        <a:pt x="2512" y="0"/>
                      </a:lnTo>
                    </a:path>
                  </a:pathLst>
                </a:custGeom>
                <a:ln w="6350" cap="rnd">
                  <a:solidFill>
                    <a:schemeClr val="bg1">
                      <a:alpha val="40000"/>
                    </a:schemeClr>
                  </a:solidFill>
                  <a:prstDash val="solid"/>
                  <a:round/>
                </a:ln>
              </p:spPr>
              <p:txBody>
                <a:bodyPr rtlCol="0" anchor="ctr"/>
                <a:lstStyle/>
                <a:p>
                  <a:endParaRPr lang="en-GB"/>
                </a:p>
              </p:txBody>
            </p:sp>
            <p:sp>
              <p:nvSpPr>
                <p:cNvPr id="6124" name="Vrije vorm: vorm 6123">
                  <a:extLst>
                    <a:ext uri="{FF2B5EF4-FFF2-40B4-BE49-F238E27FC236}">
                      <a16:creationId xmlns:a16="http://schemas.microsoft.com/office/drawing/2014/main" id="{25E2AE9D-54A4-41AA-AE48-51BDD2905478}"/>
                    </a:ext>
                  </a:extLst>
                </p:cNvPr>
                <p:cNvSpPr/>
                <p:nvPr/>
              </p:nvSpPr>
              <p:spPr>
                <a:xfrm>
                  <a:off x="7562702" y="2700515"/>
                  <a:ext cx="15071" cy="6638"/>
                </a:xfrm>
                <a:custGeom>
                  <a:avLst/>
                  <a:gdLst>
                    <a:gd name="connsiteX0" fmla="*/ 0 w 15071"/>
                    <a:gd name="connsiteY0" fmla="*/ 6639 h 6638"/>
                    <a:gd name="connsiteX1" fmla="*/ 15071 w 15071"/>
                    <a:gd name="connsiteY1" fmla="*/ 0 h 6638"/>
                  </a:gdLst>
                  <a:ahLst/>
                  <a:cxnLst>
                    <a:cxn ang="0">
                      <a:pos x="connsiteX0" y="connsiteY0"/>
                    </a:cxn>
                    <a:cxn ang="0">
                      <a:pos x="connsiteX1" y="connsiteY1"/>
                    </a:cxn>
                  </a:cxnLst>
                  <a:rect l="l" t="t" r="r" b="b"/>
                  <a:pathLst>
                    <a:path w="15071" h="6638">
                      <a:moveTo>
                        <a:pt x="0" y="6639"/>
                      </a:moveTo>
                      <a:lnTo>
                        <a:pt x="15071" y="0"/>
                      </a:lnTo>
                    </a:path>
                  </a:pathLst>
                </a:custGeom>
                <a:ln w="6350" cap="rnd">
                  <a:solidFill>
                    <a:schemeClr val="bg1">
                      <a:alpha val="40000"/>
                    </a:schemeClr>
                  </a:solidFill>
                  <a:prstDash val="solid"/>
                  <a:round/>
                </a:ln>
              </p:spPr>
              <p:txBody>
                <a:bodyPr rtlCol="0" anchor="ctr"/>
                <a:lstStyle/>
                <a:p>
                  <a:endParaRPr lang="en-GB"/>
                </a:p>
              </p:txBody>
            </p:sp>
            <p:sp>
              <p:nvSpPr>
                <p:cNvPr id="6125" name="Vrije vorm: vorm 6124">
                  <a:extLst>
                    <a:ext uri="{FF2B5EF4-FFF2-40B4-BE49-F238E27FC236}">
                      <a16:creationId xmlns:a16="http://schemas.microsoft.com/office/drawing/2014/main" id="{CDDC9FFB-1396-4A67-A8B2-5A28C163A307}"/>
                    </a:ext>
                  </a:extLst>
                </p:cNvPr>
                <p:cNvSpPr/>
                <p:nvPr/>
              </p:nvSpPr>
              <p:spPr>
                <a:xfrm>
                  <a:off x="7562702" y="2707154"/>
                  <a:ext cx="1794" cy="1076"/>
                </a:xfrm>
                <a:custGeom>
                  <a:avLst/>
                  <a:gdLst>
                    <a:gd name="connsiteX0" fmla="*/ 0 w 1794"/>
                    <a:gd name="connsiteY0" fmla="*/ 0 h 1076"/>
                    <a:gd name="connsiteX1" fmla="*/ 1794 w 1794"/>
                    <a:gd name="connsiteY1" fmla="*/ 1076 h 1076"/>
                  </a:gdLst>
                  <a:ahLst/>
                  <a:cxnLst>
                    <a:cxn ang="0">
                      <a:pos x="connsiteX0" y="connsiteY0"/>
                    </a:cxn>
                    <a:cxn ang="0">
                      <a:pos x="connsiteX1" y="connsiteY1"/>
                    </a:cxn>
                  </a:cxnLst>
                  <a:rect l="l" t="t" r="r" b="b"/>
                  <a:pathLst>
                    <a:path w="1794" h="1076">
                      <a:moveTo>
                        <a:pt x="0" y="0"/>
                      </a:moveTo>
                      <a:lnTo>
                        <a:pt x="1794" y="1076"/>
                      </a:lnTo>
                    </a:path>
                  </a:pathLst>
                </a:custGeom>
                <a:ln w="6350" cap="rnd">
                  <a:solidFill>
                    <a:schemeClr val="bg1">
                      <a:alpha val="40000"/>
                    </a:schemeClr>
                  </a:solidFill>
                  <a:prstDash val="solid"/>
                  <a:round/>
                </a:ln>
              </p:spPr>
              <p:txBody>
                <a:bodyPr rtlCol="0" anchor="ctr"/>
                <a:lstStyle/>
                <a:p>
                  <a:endParaRPr lang="en-GB"/>
                </a:p>
              </p:txBody>
            </p:sp>
            <p:sp>
              <p:nvSpPr>
                <p:cNvPr id="6126" name="Vrije vorm: vorm 6125">
                  <a:extLst>
                    <a:ext uri="{FF2B5EF4-FFF2-40B4-BE49-F238E27FC236}">
                      <a16:creationId xmlns:a16="http://schemas.microsoft.com/office/drawing/2014/main" id="{48601779-E0D5-4BC1-B25A-84539777DD95}"/>
                    </a:ext>
                  </a:extLst>
                </p:cNvPr>
                <p:cNvSpPr/>
                <p:nvPr/>
              </p:nvSpPr>
              <p:spPr>
                <a:xfrm>
                  <a:off x="7586625" y="2649679"/>
                  <a:ext cx="12439" cy="7176"/>
                </a:xfrm>
                <a:custGeom>
                  <a:avLst/>
                  <a:gdLst>
                    <a:gd name="connsiteX0" fmla="*/ 0 w 12439"/>
                    <a:gd name="connsiteY0" fmla="*/ 7177 h 7176"/>
                    <a:gd name="connsiteX1" fmla="*/ 12440 w 12439"/>
                    <a:gd name="connsiteY1" fmla="*/ 0 h 7176"/>
                  </a:gdLst>
                  <a:ahLst/>
                  <a:cxnLst>
                    <a:cxn ang="0">
                      <a:pos x="connsiteX0" y="connsiteY0"/>
                    </a:cxn>
                    <a:cxn ang="0">
                      <a:pos x="connsiteX1" y="connsiteY1"/>
                    </a:cxn>
                  </a:cxnLst>
                  <a:rect l="l" t="t" r="r" b="b"/>
                  <a:pathLst>
                    <a:path w="12439" h="7176">
                      <a:moveTo>
                        <a:pt x="0" y="7177"/>
                      </a:moveTo>
                      <a:lnTo>
                        <a:pt x="12440" y="0"/>
                      </a:lnTo>
                    </a:path>
                  </a:pathLst>
                </a:custGeom>
                <a:ln w="6350" cap="rnd">
                  <a:solidFill>
                    <a:schemeClr val="bg1">
                      <a:alpha val="40000"/>
                    </a:schemeClr>
                  </a:solidFill>
                  <a:prstDash val="solid"/>
                  <a:round/>
                </a:ln>
              </p:spPr>
              <p:txBody>
                <a:bodyPr rtlCol="0" anchor="ctr"/>
                <a:lstStyle/>
                <a:p>
                  <a:endParaRPr lang="en-GB"/>
                </a:p>
              </p:txBody>
            </p:sp>
            <p:sp>
              <p:nvSpPr>
                <p:cNvPr id="6127" name="Vrije vorm: vorm 6126">
                  <a:extLst>
                    <a:ext uri="{FF2B5EF4-FFF2-40B4-BE49-F238E27FC236}">
                      <a16:creationId xmlns:a16="http://schemas.microsoft.com/office/drawing/2014/main" id="{327A910F-C56C-4BD4-BA8B-06F2948C9E8C}"/>
                    </a:ext>
                  </a:extLst>
                </p:cNvPr>
                <p:cNvSpPr/>
                <p:nvPr/>
              </p:nvSpPr>
              <p:spPr>
                <a:xfrm>
                  <a:off x="7634830" y="2668638"/>
                  <a:ext cx="7894" cy="7655"/>
                </a:xfrm>
                <a:custGeom>
                  <a:avLst/>
                  <a:gdLst>
                    <a:gd name="connsiteX0" fmla="*/ 0 w 7894"/>
                    <a:gd name="connsiteY0" fmla="*/ 0 h 7655"/>
                    <a:gd name="connsiteX1" fmla="*/ 7894 w 7894"/>
                    <a:gd name="connsiteY1" fmla="*/ 7655 h 7655"/>
                  </a:gdLst>
                  <a:ahLst/>
                  <a:cxnLst>
                    <a:cxn ang="0">
                      <a:pos x="connsiteX0" y="connsiteY0"/>
                    </a:cxn>
                    <a:cxn ang="0">
                      <a:pos x="connsiteX1" y="connsiteY1"/>
                    </a:cxn>
                  </a:cxnLst>
                  <a:rect l="l" t="t" r="r" b="b"/>
                  <a:pathLst>
                    <a:path w="7894" h="7655">
                      <a:moveTo>
                        <a:pt x="0" y="0"/>
                      </a:moveTo>
                      <a:lnTo>
                        <a:pt x="7894" y="7655"/>
                      </a:lnTo>
                    </a:path>
                  </a:pathLst>
                </a:custGeom>
                <a:ln w="6350" cap="rnd">
                  <a:solidFill>
                    <a:schemeClr val="bg1">
                      <a:alpha val="40000"/>
                    </a:schemeClr>
                  </a:solidFill>
                  <a:prstDash val="solid"/>
                  <a:round/>
                </a:ln>
              </p:spPr>
              <p:txBody>
                <a:bodyPr rtlCol="0" anchor="ctr"/>
                <a:lstStyle/>
                <a:p>
                  <a:endParaRPr lang="en-GB"/>
                </a:p>
              </p:txBody>
            </p:sp>
            <p:sp>
              <p:nvSpPr>
                <p:cNvPr id="6128" name="Vrije vorm: vorm 6127">
                  <a:extLst>
                    <a:ext uri="{FF2B5EF4-FFF2-40B4-BE49-F238E27FC236}">
                      <a16:creationId xmlns:a16="http://schemas.microsoft.com/office/drawing/2014/main" id="{D6E43C2D-FFFF-401A-AA45-D30152FC7B6F}"/>
                    </a:ext>
                  </a:extLst>
                </p:cNvPr>
                <p:cNvSpPr/>
                <p:nvPr/>
              </p:nvSpPr>
              <p:spPr>
                <a:xfrm>
                  <a:off x="7612223" y="2668638"/>
                  <a:ext cx="22607" cy="1973"/>
                </a:xfrm>
                <a:custGeom>
                  <a:avLst/>
                  <a:gdLst>
                    <a:gd name="connsiteX0" fmla="*/ 22607 w 22607"/>
                    <a:gd name="connsiteY0" fmla="*/ 0 h 1973"/>
                    <a:gd name="connsiteX1" fmla="*/ 0 w 22607"/>
                    <a:gd name="connsiteY1" fmla="*/ 1974 h 1973"/>
                  </a:gdLst>
                  <a:ahLst/>
                  <a:cxnLst>
                    <a:cxn ang="0">
                      <a:pos x="connsiteX0" y="connsiteY0"/>
                    </a:cxn>
                    <a:cxn ang="0">
                      <a:pos x="connsiteX1" y="connsiteY1"/>
                    </a:cxn>
                  </a:cxnLst>
                  <a:rect l="l" t="t" r="r" b="b"/>
                  <a:pathLst>
                    <a:path w="22607" h="1973">
                      <a:moveTo>
                        <a:pt x="22607" y="0"/>
                      </a:moveTo>
                      <a:lnTo>
                        <a:pt x="0" y="1974"/>
                      </a:lnTo>
                    </a:path>
                  </a:pathLst>
                </a:custGeom>
                <a:ln w="6350" cap="rnd">
                  <a:solidFill>
                    <a:schemeClr val="bg1">
                      <a:alpha val="40000"/>
                    </a:schemeClr>
                  </a:solidFill>
                  <a:prstDash val="solid"/>
                  <a:round/>
                </a:ln>
              </p:spPr>
              <p:txBody>
                <a:bodyPr rtlCol="0" anchor="ctr"/>
                <a:lstStyle/>
                <a:p>
                  <a:endParaRPr lang="en-GB"/>
                </a:p>
              </p:txBody>
            </p:sp>
            <p:sp>
              <p:nvSpPr>
                <p:cNvPr id="6129" name="Vrije vorm: vorm 6128">
                  <a:extLst>
                    <a:ext uri="{FF2B5EF4-FFF2-40B4-BE49-F238E27FC236}">
                      <a16:creationId xmlns:a16="http://schemas.microsoft.com/office/drawing/2014/main" id="{A7C3BD5F-B7CB-4D16-A68D-F6BB20976740}"/>
                    </a:ext>
                  </a:extLst>
                </p:cNvPr>
                <p:cNvSpPr/>
                <p:nvPr/>
              </p:nvSpPr>
              <p:spPr>
                <a:xfrm>
                  <a:off x="7634830" y="2667561"/>
                  <a:ext cx="21470" cy="1076"/>
                </a:xfrm>
                <a:custGeom>
                  <a:avLst/>
                  <a:gdLst>
                    <a:gd name="connsiteX0" fmla="*/ 0 w 21470"/>
                    <a:gd name="connsiteY0" fmla="*/ 1077 h 1076"/>
                    <a:gd name="connsiteX1" fmla="*/ 21471 w 21470"/>
                    <a:gd name="connsiteY1" fmla="*/ 0 h 1076"/>
                  </a:gdLst>
                  <a:ahLst/>
                  <a:cxnLst>
                    <a:cxn ang="0">
                      <a:pos x="connsiteX0" y="connsiteY0"/>
                    </a:cxn>
                    <a:cxn ang="0">
                      <a:pos x="connsiteX1" y="connsiteY1"/>
                    </a:cxn>
                  </a:cxnLst>
                  <a:rect l="l" t="t" r="r" b="b"/>
                  <a:pathLst>
                    <a:path w="21470" h="1076">
                      <a:moveTo>
                        <a:pt x="0" y="1077"/>
                      </a:moveTo>
                      <a:lnTo>
                        <a:pt x="21471" y="0"/>
                      </a:lnTo>
                    </a:path>
                  </a:pathLst>
                </a:custGeom>
                <a:ln w="6350" cap="rnd">
                  <a:solidFill>
                    <a:schemeClr val="bg1">
                      <a:alpha val="40000"/>
                    </a:schemeClr>
                  </a:solidFill>
                  <a:prstDash val="solid"/>
                  <a:round/>
                </a:ln>
              </p:spPr>
              <p:txBody>
                <a:bodyPr rtlCol="0" anchor="ctr"/>
                <a:lstStyle/>
                <a:p>
                  <a:endParaRPr lang="en-GB"/>
                </a:p>
              </p:txBody>
            </p:sp>
            <p:sp>
              <p:nvSpPr>
                <p:cNvPr id="6130" name="Vrije vorm: vorm 6129">
                  <a:extLst>
                    <a:ext uri="{FF2B5EF4-FFF2-40B4-BE49-F238E27FC236}">
                      <a16:creationId xmlns:a16="http://schemas.microsoft.com/office/drawing/2014/main" id="{A17DE658-74F2-4BC8-8B1B-C07799E2BF75}"/>
                    </a:ext>
                  </a:extLst>
                </p:cNvPr>
                <p:cNvSpPr/>
                <p:nvPr/>
              </p:nvSpPr>
              <p:spPr>
                <a:xfrm>
                  <a:off x="7556243" y="2713972"/>
                  <a:ext cx="5980" cy="13994"/>
                </a:xfrm>
                <a:custGeom>
                  <a:avLst/>
                  <a:gdLst>
                    <a:gd name="connsiteX0" fmla="*/ 5981 w 5980"/>
                    <a:gd name="connsiteY0" fmla="*/ 0 h 13994"/>
                    <a:gd name="connsiteX1" fmla="*/ 0 w 5980"/>
                    <a:gd name="connsiteY1" fmla="*/ 13995 h 13994"/>
                  </a:gdLst>
                  <a:ahLst/>
                  <a:cxnLst>
                    <a:cxn ang="0">
                      <a:pos x="connsiteX0" y="connsiteY0"/>
                    </a:cxn>
                    <a:cxn ang="0">
                      <a:pos x="connsiteX1" y="connsiteY1"/>
                    </a:cxn>
                  </a:cxnLst>
                  <a:rect l="l" t="t" r="r" b="b"/>
                  <a:pathLst>
                    <a:path w="5980" h="13994">
                      <a:moveTo>
                        <a:pt x="5981" y="0"/>
                      </a:moveTo>
                      <a:lnTo>
                        <a:pt x="0" y="13995"/>
                      </a:lnTo>
                    </a:path>
                  </a:pathLst>
                </a:custGeom>
                <a:ln w="6350" cap="rnd">
                  <a:solidFill>
                    <a:schemeClr val="bg1">
                      <a:alpha val="40000"/>
                    </a:schemeClr>
                  </a:solidFill>
                  <a:prstDash val="solid"/>
                  <a:round/>
                </a:ln>
              </p:spPr>
              <p:txBody>
                <a:bodyPr rtlCol="0" anchor="ctr"/>
                <a:lstStyle/>
                <a:p>
                  <a:endParaRPr lang="en-GB"/>
                </a:p>
              </p:txBody>
            </p:sp>
            <p:sp>
              <p:nvSpPr>
                <p:cNvPr id="6131" name="Vrije vorm: vorm 6130">
                  <a:extLst>
                    <a:ext uri="{FF2B5EF4-FFF2-40B4-BE49-F238E27FC236}">
                      <a16:creationId xmlns:a16="http://schemas.microsoft.com/office/drawing/2014/main" id="{6C6116FA-330D-4A42-929B-4E97BA189645}"/>
                    </a:ext>
                  </a:extLst>
                </p:cNvPr>
                <p:cNvSpPr/>
                <p:nvPr/>
              </p:nvSpPr>
              <p:spPr>
                <a:xfrm>
                  <a:off x="7562224" y="2708769"/>
                  <a:ext cx="3050" cy="5203"/>
                </a:xfrm>
                <a:custGeom>
                  <a:avLst/>
                  <a:gdLst>
                    <a:gd name="connsiteX0" fmla="*/ 0 w 3050"/>
                    <a:gd name="connsiteY0" fmla="*/ 5203 h 5203"/>
                    <a:gd name="connsiteX1" fmla="*/ 3050 w 3050"/>
                    <a:gd name="connsiteY1" fmla="*/ 0 h 5203"/>
                  </a:gdLst>
                  <a:ahLst/>
                  <a:cxnLst>
                    <a:cxn ang="0">
                      <a:pos x="connsiteX0" y="connsiteY0"/>
                    </a:cxn>
                    <a:cxn ang="0">
                      <a:pos x="connsiteX1" y="connsiteY1"/>
                    </a:cxn>
                  </a:cxnLst>
                  <a:rect l="l" t="t" r="r" b="b"/>
                  <a:pathLst>
                    <a:path w="3050" h="5203">
                      <a:moveTo>
                        <a:pt x="0" y="5203"/>
                      </a:moveTo>
                      <a:lnTo>
                        <a:pt x="3050" y="0"/>
                      </a:lnTo>
                    </a:path>
                  </a:pathLst>
                </a:custGeom>
                <a:ln w="6350" cap="rnd">
                  <a:solidFill>
                    <a:schemeClr val="bg1">
                      <a:alpha val="40000"/>
                    </a:schemeClr>
                  </a:solidFill>
                  <a:prstDash val="solid"/>
                  <a:round/>
                </a:ln>
              </p:spPr>
              <p:txBody>
                <a:bodyPr rtlCol="0" anchor="ctr"/>
                <a:lstStyle/>
                <a:p>
                  <a:endParaRPr lang="en-GB"/>
                </a:p>
              </p:txBody>
            </p:sp>
            <p:sp>
              <p:nvSpPr>
                <p:cNvPr id="6132" name="Vrije vorm: vorm 6131">
                  <a:extLst>
                    <a:ext uri="{FF2B5EF4-FFF2-40B4-BE49-F238E27FC236}">
                      <a16:creationId xmlns:a16="http://schemas.microsoft.com/office/drawing/2014/main" id="{9E7D441C-F675-4005-88A3-54E466C8D0E7}"/>
                    </a:ext>
                  </a:extLst>
                </p:cNvPr>
                <p:cNvSpPr/>
                <p:nvPr/>
              </p:nvSpPr>
              <p:spPr>
                <a:xfrm>
                  <a:off x="7577056" y="2814089"/>
                  <a:ext cx="2212" cy="4126"/>
                </a:xfrm>
                <a:custGeom>
                  <a:avLst/>
                  <a:gdLst>
                    <a:gd name="connsiteX0" fmla="*/ 2213 w 2212"/>
                    <a:gd name="connsiteY0" fmla="*/ 4127 h 4126"/>
                    <a:gd name="connsiteX1" fmla="*/ 0 w 2212"/>
                    <a:gd name="connsiteY1" fmla="*/ 0 h 4126"/>
                  </a:gdLst>
                  <a:ahLst/>
                  <a:cxnLst>
                    <a:cxn ang="0">
                      <a:pos x="connsiteX0" y="connsiteY0"/>
                    </a:cxn>
                    <a:cxn ang="0">
                      <a:pos x="connsiteX1" y="connsiteY1"/>
                    </a:cxn>
                  </a:cxnLst>
                  <a:rect l="l" t="t" r="r" b="b"/>
                  <a:pathLst>
                    <a:path w="2212" h="4126">
                      <a:moveTo>
                        <a:pt x="2213" y="412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33" name="Vrije vorm: vorm 6132">
                  <a:extLst>
                    <a:ext uri="{FF2B5EF4-FFF2-40B4-BE49-F238E27FC236}">
                      <a16:creationId xmlns:a16="http://schemas.microsoft.com/office/drawing/2014/main" id="{9B6AEC5B-1744-410E-B846-57F9271A25E7}"/>
                    </a:ext>
                  </a:extLst>
                </p:cNvPr>
                <p:cNvSpPr/>
                <p:nvPr/>
              </p:nvSpPr>
              <p:spPr>
                <a:xfrm>
                  <a:off x="7579269" y="2797523"/>
                  <a:ext cx="18360" cy="20693"/>
                </a:xfrm>
                <a:custGeom>
                  <a:avLst/>
                  <a:gdLst>
                    <a:gd name="connsiteX0" fmla="*/ 0 w 18360"/>
                    <a:gd name="connsiteY0" fmla="*/ 20693 h 20693"/>
                    <a:gd name="connsiteX1" fmla="*/ 18361 w 18360"/>
                    <a:gd name="connsiteY1" fmla="*/ 0 h 20693"/>
                  </a:gdLst>
                  <a:ahLst/>
                  <a:cxnLst>
                    <a:cxn ang="0">
                      <a:pos x="connsiteX0" y="connsiteY0"/>
                    </a:cxn>
                    <a:cxn ang="0">
                      <a:pos x="connsiteX1" y="connsiteY1"/>
                    </a:cxn>
                  </a:cxnLst>
                  <a:rect l="l" t="t" r="r" b="b"/>
                  <a:pathLst>
                    <a:path w="18360" h="20693">
                      <a:moveTo>
                        <a:pt x="0" y="20693"/>
                      </a:moveTo>
                      <a:lnTo>
                        <a:pt x="18361" y="0"/>
                      </a:lnTo>
                    </a:path>
                  </a:pathLst>
                </a:custGeom>
                <a:ln w="6350" cap="rnd">
                  <a:solidFill>
                    <a:schemeClr val="bg1">
                      <a:alpha val="40000"/>
                    </a:schemeClr>
                  </a:solidFill>
                  <a:prstDash val="solid"/>
                  <a:round/>
                </a:ln>
              </p:spPr>
              <p:txBody>
                <a:bodyPr rtlCol="0" anchor="ctr"/>
                <a:lstStyle/>
                <a:p>
                  <a:endParaRPr lang="en-GB"/>
                </a:p>
              </p:txBody>
            </p:sp>
            <p:sp>
              <p:nvSpPr>
                <p:cNvPr id="6134" name="Vrije vorm: vorm 6133">
                  <a:extLst>
                    <a:ext uri="{FF2B5EF4-FFF2-40B4-BE49-F238E27FC236}">
                      <a16:creationId xmlns:a16="http://schemas.microsoft.com/office/drawing/2014/main" id="{0921FF6A-D2AA-4C8B-81FA-B4012AA8D50E}"/>
                    </a:ext>
                  </a:extLst>
                </p:cNvPr>
                <p:cNvSpPr/>
                <p:nvPr/>
              </p:nvSpPr>
              <p:spPr>
                <a:xfrm>
                  <a:off x="7516711" y="2706974"/>
                  <a:ext cx="21590" cy="12559"/>
                </a:xfrm>
                <a:custGeom>
                  <a:avLst/>
                  <a:gdLst>
                    <a:gd name="connsiteX0" fmla="*/ 21590 w 21590"/>
                    <a:gd name="connsiteY0" fmla="*/ 0 h 12559"/>
                    <a:gd name="connsiteX1" fmla="*/ 0 w 21590"/>
                    <a:gd name="connsiteY1" fmla="*/ 12560 h 12559"/>
                  </a:gdLst>
                  <a:ahLst/>
                  <a:cxnLst>
                    <a:cxn ang="0">
                      <a:pos x="connsiteX0" y="connsiteY0"/>
                    </a:cxn>
                    <a:cxn ang="0">
                      <a:pos x="connsiteX1" y="connsiteY1"/>
                    </a:cxn>
                  </a:cxnLst>
                  <a:rect l="l" t="t" r="r" b="b"/>
                  <a:pathLst>
                    <a:path w="21590" h="12559">
                      <a:moveTo>
                        <a:pt x="21590" y="0"/>
                      </a:moveTo>
                      <a:lnTo>
                        <a:pt x="0" y="12560"/>
                      </a:lnTo>
                    </a:path>
                  </a:pathLst>
                </a:custGeom>
                <a:ln w="6350" cap="rnd">
                  <a:solidFill>
                    <a:schemeClr val="bg1">
                      <a:alpha val="40000"/>
                    </a:schemeClr>
                  </a:solidFill>
                  <a:prstDash val="solid"/>
                  <a:round/>
                </a:ln>
              </p:spPr>
              <p:txBody>
                <a:bodyPr rtlCol="0" anchor="ctr"/>
                <a:lstStyle/>
                <a:p>
                  <a:endParaRPr lang="en-GB"/>
                </a:p>
              </p:txBody>
            </p:sp>
            <p:sp>
              <p:nvSpPr>
                <p:cNvPr id="6135" name="Vrije vorm: vorm 6134">
                  <a:extLst>
                    <a:ext uri="{FF2B5EF4-FFF2-40B4-BE49-F238E27FC236}">
                      <a16:creationId xmlns:a16="http://schemas.microsoft.com/office/drawing/2014/main" id="{11B3ADC2-9BF0-40C7-A289-401F1D1798CB}"/>
                    </a:ext>
                  </a:extLst>
                </p:cNvPr>
                <p:cNvSpPr/>
                <p:nvPr/>
              </p:nvSpPr>
              <p:spPr>
                <a:xfrm>
                  <a:off x="7781238" y="2763971"/>
                  <a:ext cx="358" cy="418"/>
                </a:xfrm>
                <a:custGeom>
                  <a:avLst/>
                  <a:gdLst>
                    <a:gd name="connsiteX0" fmla="*/ 0 w 358"/>
                    <a:gd name="connsiteY0" fmla="*/ 0 h 418"/>
                    <a:gd name="connsiteX1" fmla="*/ 359 w 358"/>
                    <a:gd name="connsiteY1" fmla="*/ 419 h 418"/>
                  </a:gdLst>
                  <a:ahLst/>
                  <a:cxnLst>
                    <a:cxn ang="0">
                      <a:pos x="connsiteX0" y="connsiteY0"/>
                    </a:cxn>
                    <a:cxn ang="0">
                      <a:pos x="connsiteX1" y="connsiteY1"/>
                    </a:cxn>
                  </a:cxnLst>
                  <a:rect l="l" t="t" r="r" b="b"/>
                  <a:pathLst>
                    <a:path w="358" h="418">
                      <a:moveTo>
                        <a:pt x="0" y="0"/>
                      </a:moveTo>
                      <a:lnTo>
                        <a:pt x="359" y="419"/>
                      </a:lnTo>
                    </a:path>
                  </a:pathLst>
                </a:custGeom>
                <a:ln w="6350" cap="rnd">
                  <a:solidFill>
                    <a:schemeClr val="bg1">
                      <a:alpha val="40000"/>
                    </a:schemeClr>
                  </a:solidFill>
                  <a:prstDash val="solid"/>
                  <a:round/>
                </a:ln>
              </p:spPr>
              <p:txBody>
                <a:bodyPr rtlCol="0" anchor="ctr"/>
                <a:lstStyle/>
                <a:p>
                  <a:endParaRPr lang="en-GB"/>
                </a:p>
              </p:txBody>
            </p:sp>
            <p:sp>
              <p:nvSpPr>
                <p:cNvPr id="6136" name="Vrije vorm: vorm 6135">
                  <a:extLst>
                    <a:ext uri="{FF2B5EF4-FFF2-40B4-BE49-F238E27FC236}">
                      <a16:creationId xmlns:a16="http://schemas.microsoft.com/office/drawing/2014/main" id="{EB80B8C0-A7AB-49DF-941F-64345240B63E}"/>
                    </a:ext>
                  </a:extLst>
                </p:cNvPr>
                <p:cNvSpPr/>
                <p:nvPr/>
              </p:nvSpPr>
              <p:spPr>
                <a:xfrm>
                  <a:off x="7583097" y="2656856"/>
                  <a:ext cx="3528" cy="2153"/>
                </a:xfrm>
                <a:custGeom>
                  <a:avLst/>
                  <a:gdLst>
                    <a:gd name="connsiteX0" fmla="*/ 0 w 3528"/>
                    <a:gd name="connsiteY0" fmla="*/ 2153 h 2153"/>
                    <a:gd name="connsiteX1" fmla="*/ 3529 w 3528"/>
                    <a:gd name="connsiteY1" fmla="*/ 0 h 2153"/>
                  </a:gdLst>
                  <a:ahLst/>
                  <a:cxnLst>
                    <a:cxn ang="0">
                      <a:pos x="connsiteX0" y="connsiteY0"/>
                    </a:cxn>
                    <a:cxn ang="0">
                      <a:pos x="connsiteX1" y="connsiteY1"/>
                    </a:cxn>
                  </a:cxnLst>
                  <a:rect l="l" t="t" r="r" b="b"/>
                  <a:pathLst>
                    <a:path w="3528" h="2153">
                      <a:moveTo>
                        <a:pt x="0" y="2153"/>
                      </a:moveTo>
                      <a:lnTo>
                        <a:pt x="3529" y="0"/>
                      </a:lnTo>
                    </a:path>
                  </a:pathLst>
                </a:custGeom>
                <a:ln w="6350" cap="rnd">
                  <a:solidFill>
                    <a:schemeClr val="bg1">
                      <a:alpha val="40000"/>
                    </a:schemeClr>
                  </a:solidFill>
                  <a:prstDash val="solid"/>
                  <a:round/>
                </a:ln>
              </p:spPr>
              <p:txBody>
                <a:bodyPr rtlCol="0" anchor="ctr"/>
                <a:lstStyle/>
                <a:p>
                  <a:endParaRPr lang="en-GB"/>
                </a:p>
              </p:txBody>
            </p:sp>
            <p:sp>
              <p:nvSpPr>
                <p:cNvPr id="6137" name="Vrije vorm: vorm 6136">
                  <a:extLst>
                    <a:ext uri="{FF2B5EF4-FFF2-40B4-BE49-F238E27FC236}">
                      <a16:creationId xmlns:a16="http://schemas.microsoft.com/office/drawing/2014/main" id="{6E739B7D-4BFD-4C98-8452-B0A639D83AD8}"/>
                    </a:ext>
                  </a:extLst>
                </p:cNvPr>
                <p:cNvSpPr/>
                <p:nvPr/>
              </p:nvSpPr>
              <p:spPr>
                <a:xfrm>
                  <a:off x="7594879" y="2809185"/>
                  <a:ext cx="18659" cy="27989"/>
                </a:xfrm>
                <a:custGeom>
                  <a:avLst/>
                  <a:gdLst>
                    <a:gd name="connsiteX0" fmla="*/ 0 w 18659"/>
                    <a:gd name="connsiteY0" fmla="*/ 27990 h 27989"/>
                    <a:gd name="connsiteX1" fmla="*/ 18660 w 18659"/>
                    <a:gd name="connsiteY1" fmla="*/ 0 h 27989"/>
                  </a:gdLst>
                  <a:ahLst/>
                  <a:cxnLst>
                    <a:cxn ang="0">
                      <a:pos x="connsiteX0" y="connsiteY0"/>
                    </a:cxn>
                    <a:cxn ang="0">
                      <a:pos x="connsiteX1" y="connsiteY1"/>
                    </a:cxn>
                  </a:cxnLst>
                  <a:rect l="l" t="t" r="r" b="b"/>
                  <a:pathLst>
                    <a:path w="18659" h="27989">
                      <a:moveTo>
                        <a:pt x="0" y="27990"/>
                      </a:moveTo>
                      <a:lnTo>
                        <a:pt x="18660" y="0"/>
                      </a:lnTo>
                    </a:path>
                  </a:pathLst>
                </a:custGeom>
                <a:ln w="6350" cap="rnd">
                  <a:solidFill>
                    <a:schemeClr val="bg1">
                      <a:alpha val="40000"/>
                    </a:schemeClr>
                  </a:solidFill>
                  <a:prstDash val="solid"/>
                  <a:round/>
                </a:ln>
              </p:spPr>
              <p:txBody>
                <a:bodyPr rtlCol="0" anchor="ctr"/>
                <a:lstStyle/>
                <a:p>
                  <a:endParaRPr lang="en-GB"/>
                </a:p>
              </p:txBody>
            </p:sp>
            <p:sp>
              <p:nvSpPr>
                <p:cNvPr id="6138" name="Vrije vorm: vorm 6137">
                  <a:extLst>
                    <a:ext uri="{FF2B5EF4-FFF2-40B4-BE49-F238E27FC236}">
                      <a16:creationId xmlns:a16="http://schemas.microsoft.com/office/drawing/2014/main" id="{4F8EDA3D-DD89-40AF-B1CA-F4564B8A1640}"/>
                    </a:ext>
                  </a:extLst>
                </p:cNvPr>
                <p:cNvSpPr/>
                <p:nvPr/>
              </p:nvSpPr>
              <p:spPr>
                <a:xfrm>
                  <a:off x="7591470" y="2836218"/>
                  <a:ext cx="3409" cy="956"/>
                </a:xfrm>
                <a:custGeom>
                  <a:avLst/>
                  <a:gdLst>
                    <a:gd name="connsiteX0" fmla="*/ 3409 w 3409"/>
                    <a:gd name="connsiteY0" fmla="*/ 957 h 956"/>
                    <a:gd name="connsiteX1" fmla="*/ 0 w 3409"/>
                    <a:gd name="connsiteY1" fmla="*/ 0 h 956"/>
                  </a:gdLst>
                  <a:ahLst/>
                  <a:cxnLst>
                    <a:cxn ang="0">
                      <a:pos x="connsiteX0" y="connsiteY0"/>
                    </a:cxn>
                    <a:cxn ang="0">
                      <a:pos x="connsiteX1" y="connsiteY1"/>
                    </a:cxn>
                  </a:cxnLst>
                  <a:rect l="l" t="t" r="r" b="b"/>
                  <a:pathLst>
                    <a:path w="3409" h="956">
                      <a:moveTo>
                        <a:pt x="3409" y="95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39" name="Vrije vorm: vorm 6138">
                  <a:extLst>
                    <a:ext uri="{FF2B5EF4-FFF2-40B4-BE49-F238E27FC236}">
                      <a16:creationId xmlns:a16="http://schemas.microsoft.com/office/drawing/2014/main" id="{7B9A3E45-004B-46C8-80C8-A6D2CAEA1028}"/>
                    </a:ext>
                  </a:extLst>
                </p:cNvPr>
                <p:cNvSpPr/>
                <p:nvPr/>
              </p:nvSpPr>
              <p:spPr>
                <a:xfrm>
                  <a:off x="7594879" y="2837175"/>
                  <a:ext cx="5681" cy="1973"/>
                </a:xfrm>
                <a:custGeom>
                  <a:avLst/>
                  <a:gdLst>
                    <a:gd name="connsiteX0" fmla="*/ 0 w 5681"/>
                    <a:gd name="connsiteY0" fmla="*/ 0 h 1973"/>
                    <a:gd name="connsiteX1" fmla="*/ 5682 w 5681"/>
                    <a:gd name="connsiteY1" fmla="*/ 1974 h 1973"/>
                  </a:gdLst>
                  <a:ahLst/>
                  <a:cxnLst>
                    <a:cxn ang="0">
                      <a:pos x="connsiteX0" y="connsiteY0"/>
                    </a:cxn>
                    <a:cxn ang="0">
                      <a:pos x="connsiteX1" y="connsiteY1"/>
                    </a:cxn>
                  </a:cxnLst>
                  <a:rect l="l" t="t" r="r" b="b"/>
                  <a:pathLst>
                    <a:path w="5681" h="1973">
                      <a:moveTo>
                        <a:pt x="0" y="0"/>
                      </a:moveTo>
                      <a:lnTo>
                        <a:pt x="5682" y="1974"/>
                      </a:lnTo>
                    </a:path>
                  </a:pathLst>
                </a:custGeom>
                <a:ln w="6350" cap="rnd">
                  <a:solidFill>
                    <a:schemeClr val="bg1">
                      <a:alpha val="40000"/>
                    </a:schemeClr>
                  </a:solidFill>
                  <a:prstDash val="solid"/>
                  <a:round/>
                </a:ln>
              </p:spPr>
              <p:txBody>
                <a:bodyPr rtlCol="0" anchor="ctr"/>
                <a:lstStyle/>
                <a:p>
                  <a:endParaRPr lang="en-GB"/>
                </a:p>
              </p:txBody>
            </p:sp>
            <p:sp>
              <p:nvSpPr>
                <p:cNvPr id="6140" name="Vrije vorm: vorm 6139">
                  <a:extLst>
                    <a:ext uri="{FF2B5EF4-FFF2-40B4-BE49-F238E27FC236}">
                      <a16:creationId xmlns:a16="http://schemas.microsoft.com/office/drawing/2014/main" id="{043B1BEB-A28D-4931-AB9A-A35DE29996B0}"/>
                    </a:ext>
                  </a:extLst>
                </p:cNvPr>
                <p:cNvSpPr/>
                <p:nvPr/>
              </p:nvSpPr>
              <p:spPr>
                <a:xfrm>
                  <a:off x="7629926" y="2629105"/>
                  <a:ext cx="2332" cy="5322"/>
                </a:xfrm>
                <a:custGeom>
                  <a:avLst/>
                  <a:gdLst>
                    <a:gd name="connsiteX0" fmla="*/ 0 w 2332"/>
                    <a:gd name="connsiteY0" fmla="*/ 5323 h 5322"/>
                    <a:gd name="connsiteX1" fmla="*/ 2332 w 2332"/>
                    <a:gd name="connsiteY1" fmla="*/ 0 h 5322"/>
                  </a:gdLst>
                  <a:ahLst/>
                  <a:cxnLst>
                    <a:cxn ang="0">
                      <a:pos x="connsiteX0" y="connsiteY0"/>
                    </a:cxn>
                    <a:cxn ang="0">
                      <a:pos x="connsiteX1" y="connsiteY1"/>
                    </a:cxn>
                  </a:cxnLst>
                  <a:rect l="l" t="t" r="r" b="b"/>
                  <a:pathLst>
                    <a:path w="2332" h="5322">
                      <a:moveTo>
                        <a:pt x="0" y="5323"/>
                      </a:moveTo>
                      <a:lnTo>
                        <a:pt x="2332" y="0"/>
                      </a:lnTo>
                    </a:path>
                  </a:pathLst>
                </a:custGeom>
                <a:ln w="6350" cap="rnd">
                  <a:solidFill>
                    <a:schemeClr val="bg1">
                      <a:alpha val="40000"/>
                    </a:schemeClr>
                  </a:solidFill>
                  <a:prstDash val="solid"/>
                  <a:round/>
                </a:ln>
              </p:spPr>
              <p:txBody>
                <a:bodyPr rtlCol="0" anchor="ctr"/>
                <a:lstStyle/>
                <a:p>
                  <a:endParaRPr lang="en-GB"/>
                </a:p>
              </p:txBody>
            </p:sp>
            <p:sp>
              <p:nvSpPr>
                <p:cNvPr id="6141" name="Vrije vorm: vorm 6140">
                  <a:extLst>
                    <a:ext uri="{FF2B5EF4-FFF2-40B4-BE49-F238E27FC236}">
                      <a16:creationId xmlns:a16="http://schemas.microsoft.com/office/drawing/2014/main" id="{DAA4062F-92C2-49C2-9899-664944F45DD7}"/>
                    </a:ext>
                  </a:extLst>
                </p:cNvPr>
                <p:cNvSpPr/>
                <p:nvPr/>
              </p:nvSpPr>
              <p:spPr>
                <a:xfrm>
                  <a:off x="7535012" y="2687178"/>
                  <a:ext cx="13456" cy="13157"/>
                </a:xfrm>
                <a:custGeom>
                  <a:avLst/>
                  <a:gdLst>
                    <a:gd name="connsiteX0" fmla="*/ 13457 w 13456"/>
                    <a:gd name="connsiteY0" fmla="*/ 0 h 13157"/>
                    <a:gd name="connsiteX1" fmla="*/ 0 w 13456"/>
                    <a:gd name="connsiteY1" fmla="*/ 13157 h 13157"/>
                  </a:gdLst>
                  <a:ahLst/>
                  <a:cxnLst>
                    <a:cxn ang="0">
                      <a:pos x="connsiteX0" y="connsiteY0"/>
                    </a:cxn>
                    <a:cxn ang="0">
                      <a:pos x="connsiteX1" y="connsiteY1"/>
                    </a:cxn>
                  </a:cxnLst>
                  <a:rect l="l" t="t" r="r" b="b"/>
                  <a:pathLst>
                    <a:path w="13456" h="13157">
                      <a:moveTo>
                        <a:pt x="13457" y="0"/>
                      </a:moveTo>
                      <a:lnTo>
                        <a:pt x="0" y="13157"/>
                      </a:lnTo>
                    </a:path>
                  </a:pathLst>
                </a:custGeom>
                <a:ln w="6350" cap="rnd">
                  <a:solidFill>
                    <a:schemeClr val="bg1">
                      <a:alpha val="40000"/>
                    </a:schemeClr>
                  </a:solidFill>
                  <a:prstDash val="solid"/>
                  <a:round/>
                </a:ln>
              </p:spPr>
              <p:txBody>
                <a:bodyPr rtlCol="0" anchor="ctr"/>
                <a:lstStyle/>
                <a:p>
                  <a:endParaRPr lang="en-GB"/>
                </a:p>
              </p:txBody>
            </p:sp>
            <p:sp>
              <p:nvSpPr>
                <p:cNvPr id="6142" name="Vrije vorm: vorm 6141">
                  <a:extLst>
                    <a:ext uri="{FF2B5EF4-FFF2-40B4-BE49-F238E27FC236}">
                      <a16:creationId xmlns:a16="http://schemas.microsoft.com/office/drawing/2014/main" id="{2EA73FC5-08BF-4A4D-A849-B9242B8C0B49}"/>
                    </a:ext>
                  </a:extLst>
                </p:cNvPr>
                <p:cNvSpPr/>
                <p:nvPr/>
              </p:nvSpPr>
              <p:spPr>
                <a:xfrm>
                  <a:off x="7671910" y="2770609"/>
                  <a:ext cx="9628" cy="11662"/>
                </a:xfrm>
                <a:custGeom>
                  <a:avLst/>
                  <a:gdLst>
                    <a:gd name="connsiteX0" fmla="*/ 0 w 9628"/>
                    <a:gd name="connsiteY0" fmla="*/ 11662 h 11662"/>
                    <a:gd name="connsiteX1" fmla="*/ 9629 w 9628"/>
                    <a:gd name="connsiteY1" fmla="*/ 0 h 11662"/>
                  </a:gdLst>
                  <a:ahLst/>
                  <a:cxnLst>
                    <a:cxn ang="0">
                      <a:pos x="connsiteX0" y="connsiteY0"/>
                    </a:cxn>
                    <a:cxn ang="0">
                      <a:pos x="connsiteX1" y="connsiteY1"/>
                    </a:cxn>
                  </a:cxnLst>
                  <a:rect l="l" t="t" r="r" b="b"/>
                  <a:pathLst>
                    <a:path w="9628" h="11662">
                      <a:moveTo>
                        <a:pt x="0" y="11662"/>
                      </a:moveTo>
                      <a:lnTo>
                        <a:pt x="9629" y="0"/>
                      </a:lnTo>
                    </a:path>
                  </a:pathLst>
                </a:custGeom>
                <a:ln w="6350" cap="rnd">
                  <a:solidFill>
                    <a:schemeClr val="bg1">
                      <a:alpha val="40000"/>
                    </a:schemeClr>
                  </a:solidFill>
                  <a:prstDash val="solid"/>
                  <a:round/>
                </a:ln>
              </p:spPr>
              <p:txBody>
                <a:bodyPr rtlCol="0" anchor="ctr"/>
                <a:lstStyle/>
                <a:p>
                  <a:endParaRPr lang="en-GB"/>
                </a:p>
              </p:txBody>
            </p:sp>
            <p:sp>
              <p:nvSpPr>
                <p:cNvPr id="6143" name="Vrije vorm: vorm 6142">
                  <a:extLst>
                    <a:ext uri="{FF2B5EF4-FFF2-40B4-BE49-F238E27FC236}">
                      <a16:creationId xmlns:a16="http://schemas.microsoft.com/office/drawing/2014/main" id="{14633349-3E99-44E6-8E81-39335475C795}"/>
                    </a:ext>
                  </a:extLst>
                </p:cNvPr>
                <p:cNvSpPr/>
                <p:nvPr/>
              </p:nvSpPr>
              <p:spPr>
                <a:xfrm>
                  <a:off x="7599065" y="2649679"/>
                  <a:ext cx="5741" cy="9628"/>
                </a:xfrm>
                <a:custGeom>
                  <a:avLst/>
                  <a:gdLst>
                    <a:gd name="connsiteX0" fmla="*/ 5741 w 5741"/>
                    <a:gd name="connsiteY0" fmla="*/ 9629 h 9628"/>
                    <a:gd name="connsiteX1" fmla="*/ 0 w 5741"/>
                    <a:gd name="connsiteY1" fmla="*/ 0 h 9628"/>
                  </a:gdLst>
                  <a:ahLst/>
                  <a:cxnLst>
                    <a:cxn ang="0">
                      <a:pos x="connsiteX0" y="connsiteY0"/>
                    </a:cxn>
                    <a:cxn ang="0">
                      <a:pos x="connsiteX1" y="connsiteY1"/>
                    </a:cxn>
                  </a:cxnLst>
                  <a:rect l="l" t="t" r="r" b="b"/>
                  <a:pathLst>
                    <a:path w="5741" h="9628">
                      <a:moveTo>
                        <a:pt x="5741" y="9629"/>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44" name="Vrije vorm: vorm 6143">
                  <a:extLst>
                    <a:ext uri="{FF2B5EF4-FFF2-40B4-BE49-F238E27FC236}">
                      <a16:creationId xmlns:a16="http://schemas.microsoft.com/office/drawing/2014/main" id="{09A3F7FD-A12B-412C-A022-605CCC972DCB}"/>
                    </a:ext>
                  </a:extLst>
                </p:cNvPr>
                <p:cNvSpPr/>
                <p:nvPr/>
              </p:nvSpPr>
              <p:spPr>
                <a:xfrm>
                  <a:off x="7745234" y="2818934"/>
                  <a:ext cx="6638" cy="3050"/>
                </a:xfrm>
                <a:custGeom>
                  <a:avLst/>
                  <a:gdLst>
                    <a:gd name="connsiteX0" fmla="*/ 6638 w 6638"/>
                    <a:gd name="connsiteY0" fmla="*/ 3050 h 3050"/>
                    <a:gd name="connsiteX1" fmla="*/ 0 w 6638"/>
                    <a:gd name="connsiteY1" fmla="*/ 0 h 3050"/>
                  </a:gdLst>
                  <a:ahLst/>
                  <a:cxnLst>
                    <a:cxn ang="0">
                      <a:pos x="connsiteX0" y="connsiteY0"/>
                    </a:cxn>
                    <a:cxn ang="0">
                      <a:pos x="connsiteX1" y="connsiteY1"/>
                    </a:cxn>
                  </a:cxnLst>
                  <a:rect l="l" t="t" r="r" b="b"/>
                  <a:pathLst>
                    <a:path w="6638" h="3050">
                      <a:moveTo>
                        <a:pt x="6638" y="305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45" name="Vrije vorm: vorm 6144">
                  <a:extLst>
                    <a:ext uri="{FF2B5EF4-FFF2-40B4-BE49-F238E27FC236}">
                      <a16:creationId xmlns:a16="http://schemas.microsoft.com/office/drawing/2014/main" id="{4F9DC0C2-BA78-46FC-BDD7-FA3D8FA064B1}"/>
                    </a:ext>
                  </a:extLst>
                </p:cNvPr>
                <p:cNvSpPr/>
                <p:nvPr/>
              </p:nvSpPr>
              <p:spPr>
                <a:xfrm>
                  <a:off x="7599065" y="2639273"/>
                  <a:ext cx="8492" cy="10406"/>
                </a:xfrm>
                <a:custGeom>
                  <a:avLst/>
                  <a:gdLst>
                    <a:gd name="connsiteX0" fmla="*/ 8493 w 8492"/>
                    <a:gd name="connsiteY0" fmla="*/ 0 h 10406"/>
                    <a:gd name="connsiteX1" fmla="*/ 0 w 8492"/>
                    <a:gd name="connsiteY1" fmla="*/ 10407 h 10406"/>
                  </a:gdLst>
                  <a:ahLst/>
                  <a:cxnLst>
                    <a:cxn ang="0">
                      <a:pos x="connsiteX0" y="connsiteY0"/>
                    </a:cxn>
                    <a:cxn ang="0">
                      <a:pos x="connsiteX1" y="connsiteY1"/>
                    </a:cxn>
                  </a:cxnLst>
                  <a:rect l="l" t="t" r="r" b="b"/>
                  <a:pathLst>
                    <a:path w="8492" h="10406">
                      <a:moveTo>
                        <a:pt x="8493" y="0"/>
                      </a:moveTo>
                      <a:lnTo>
                        <a:pt x="0" y="10407"/>
                      </a:lnTo>
                    </a:path>
                  </a:pathLst>
                </a:custGeom>
                <a:ln w="6350" cap="rnd">
                  <a:solidFill>
                    <a:schemeClr val="bg1">
                      <a:alpha val="40000"/>
                    </a:schemeClr>
                  </a:solidFill>
                  <a:prstDash val="solid"/>
                  <a:round/>
                </a:ln>
              </p:spPr>
              <p:txBody>
                <a:bodyPr rtlCol="0" anchor="ctr"/>
                <a:lstStyle/>
                <a:p>
                  <a:endParaRPr lang="en-GB"/>
                </a:p>
              </p:txBody>
            </p:sp>
            <p:sp>
              <p:nvSpPr>
                <p:cNvPr id="6146" name="Vrije vorm: vorm 6145">
                  <a:extLst>
                    <a:ext uri="{FF2B5EF4-FFF2-40B4-BE49-F238E27FC236}">
                      <a16:creationId xmlns:a16="http://schemas.microsoft.com/office/drawing/2014/main" id="{1564BAC0-1E5F-4DF0-9F80-2E180CE548B7}"/>
                    </a:ext>
                  </a:extLst>
                </p:cNvPr>
                <p:cNvSpPr/>
                <p:nvPr/>
              </p:nvSpPr>
              <p:spPr>
                <a:xfrm>
                  <a:off x="7583097" y="2639273"/>
                  <a:ext cx="24461" cy="19736"/>
                </a:xfrm>
                <a:custGeom>
                  <a:avLst/>
                  <a:gdLst>
                    <a:gd name="connsiteX0" fmla="*/ 24462 w 24461"/>
                    <a:gd name="connsiteY0" fmla="*/ 0 h 19736"/>
                    <a:gd name="connsiteX1" fmla="*/ 0 w 24461"/>
                    <a:gd name="connsiteY1" fmla="*/ 19736 h 19736"/>
                  </a:gdLst>
                  <a:ahLst/>
                  <a:cxnLst>
                    <a:cxn ang="0">
                      <a:pos x="connsiteX0" y="connsiteY0"/>
                    </a:cxn>
                    <a:cxn ang="0">
                      <a:pos x="connsiteX1" y="connsiteY1"/>
                    </a:cxn>
                  </a:cxnLst>
                  <a:rect l="l" t="t" r="r" b="b"/>
                  <a:pathLst>
                    <a:path w="24461" h="19736">
                      <a:moveTo>
                        <a:pt x="24462" y="0"/>
                      </a:moveTo>
                      <a:lnTo>
                        <a:pt x="0" y="19736"/>
                      </a:lnTo>
                    </a:path>
                  </a:pathLst>
                </a:custGeom>
                <a:ln w="6350" cap="rnd">
                  <a:solidFill>
                    <a:schemeClr val="bg1">
                      <a:alpha val="40000"/>
                    </a:schemeClr>
                  </a:solidFill>
                  <a:prstDash val="solid"/>
                  <a:round/>
                </a:ln>
              </p:spPr>
              <p:txBody>
                <a:bodyPr rtlCol="0" anchor="ctr"/>
                <a:lstStyle/>
                <a:p>
                  <a:endParaRPr lang="en-GB"/>
                </a:p>
              </p:txBody>
            </p:sp>
            <p:sp>
              <p:nvSpPr>
                <p:cNvPr id="6147" name="Vrije vorm: vorm 6146">
                  <a:extLst>
                    <a:ext uri="{FF2B5EF4-FFF2-40B4-BE49-F238E27FC236}">
                      <a16:creationId xmlns:a16="http://schemas.microsoft.com/office/drawing/2014/main" id="{89F4CE70-C48A-4C73-82FF-05D432B9E014}"/>
                    </a:ext>
                  </a:extLst>
                </p:cNvPr>
                <p:cNvSpPr/>
                <p:nvPr/>
              </p:nvSpPr>
              <p:spPr>
                <a:xfrm>
                  <a:off x="7607558" y="2634428"/>
                  <a:ext cx="22367" cy="4844"/>
                </a:xfrm>
                <a:custGeom>
                  <a:avLst/>
                  <a:gdLst>
                    <a:gd name="connsiteX0" fmla="*/ 0 w 22367"/>
                    <a:gd name="connsiteY0" fmla="*/ 4844 h 4844"/>
                    <a:gd name="connsiteX1" fmla="*/ 22368 w 22367"/>
                    <a:gd name="connsiteY1" fmla="*/ 0 h 4844"/>
                  </a:gdLst>
                  <a:ahLst/>
                  <a:cxnLst>
                    <a:cxn ang="0">
                      <a:pos x="connsiteX0" y="connsiteY0"/>
                    </a:cxn>
                    <a:cxn ang="0">
                      <a:pos x="connsiteX1" y="connsiteY1"/>
                    </a:cxn>
                  </a:cxnLst>
                  <a:rect l="l" t="t" r="r" b="b"/>
                  <a:pathLst>
                    <a:path w="22367" h="4844">
                      <a:moveTo>
                        <a:pt x="0" y="4844"/>
                      </a:moveTo>
                      <a:lnTo>
                        <a:pt x="22368" y="0"/>
                      </a:lnTo>
                    </a:path>
                  </a:pathLst>
                </a:custGeom>
                <a:ln w="6350" cap="rnd">
                  <a:solidFill>
                    <a:schemeClr val="bg1">
                      <a:alpha val="40000"/>
                    </a:schemeClr>
                  </a:solidFill>
                  <a:prstDash val="solid"/>
                  <a:round/>
                </a:ln>
              </p:spPr>
              <p:txBody>
                <a:bodyPr rtlCol="0" anchor="ctr"/>
                <a:lstStyle/>
                <a:p>
                  <a:endParaRPr lang="en-GB"/>
                </a:p>
              </p:txBody>
            </p:sp>
            <p:sp>
              <p:nvSpPr>
                <p:cNvPr id="6148" name="Vrije vorm: vorm 6147">
                  <a:extLst>
                    <a:ext uri="{FF2B5EF4-FFF2-40B4-BE49-F238E27FC236}">
                      <a16:creationId xmlns:a16="http://schemas.microsoft.com/office/drawing/2014/main" id="{AA17005D-7848-46F4-A49E-9942E90F2337}"/>
                    </a:ext>
                  </a:extLst>
                </p:cNvPr>
                <p:cNvSpPr/>
                <p:nvPr/>
              </p:nvSpPr>
              <p:spPr>
                <a:xfrm>
                  <a:off x="7634112" y="2717201"/>
                  <a:ext cx="21052" cy="19018"/>
                </a:xfrm>
                <a:custGeom>
                  <a:avLst/>
                  <a:gdLst>
                    <a:gd name="connsiteX0" fmla="*/ 0 w 21052"/>
                    <a:gd name="connsiteY0" fmla="*/ 19019 h 19018"/>
                    <a:gd name="connsiteX1" fmla="*/ 21052 w 21052"/>
                    <a:gd name="connsiteY1" fmla="*/ 0 h 19018"/>
                  </a:gdLst>
                  <a:ahLst/>
                  <a:cxnLst>
                    <a:cxn ang="0">
                      <a:pos x="connsiteX0" y="connsiteY0"/>
                    </a:cxn>
                    <a:cxn ang="0">
                      <a:pos x="connsiteX1" y="connsiteY1"/>
                    </a:cxn>
                  </a:cxnLst>
                  <a:rect l="l" t="t" r="r" b="b"/>
                  <a:pathLst>
                    <a:path w="21052" h="19018">
                      <a:moveTo>
                        <a:pt x="0" y="19019"/>
                      </a:moveTo>
                      <a:lnTo>
                        <a:pt x="21052" y="0"/>
                      </a:lnTo>
                    </a:path>
                  </a:pathLst>
                </a:custGeom>
                <a:ln w="6350" cap="rnd">
                  <a:solidFill>
                    <a:schemeClr val="bg1">
                      <a:alpha val="40000"/>
                    </a:schemeClr>
                  </a:solidFill>
                  <a:prstDash val="solid"/>
                  <a:round/>
                </a:ln>
              </p:spPr>
              <p:txBody>
                <a:bodyPr rtlCol="0" anchor="ctr"/>
                <a:lstStyle/>
                <a:p>
                  <a:endParaRPr lang="en-GB"/>
                </a:p>
              </p:txBody>
            </p:sp>
            <p:sp>
              <p:nvSpPr>
                <p:cNvPr id="6149" name="Vrije vorm: vorm 6148">
                  <a:extLst>
                    <a:ext uri="{FF2B5EF4-FFF2-40B4-BE49-F238E27FC236}">
                      <a16:creationId xmlns:a16="http://schemas.microsoft.com/office/drawing/2014/main" id="{88459D88-A87B-40CE-821F-25F56DD5E2C6}"/>
                    </a:ext>
                  </a:extLst>
                </p:cNvPr>
                <p:cNvSpPr/>
                <p:nvPr/>
              </p:nvSpPr>
              <p:spPr>
                <a:xfrm>
                  <a:off x="7624962" y="2733648"/>
                  <a:ext cx="9150" cy="2571"/>
                </a:xfrm>
                <a:custGeom>
                  <a:avLst/>
                  <a:gdLst>
                    <a:gd name="connsiteX0" fmla="*/ 9151 w 9150"/>
                    <a:gd name="connsiteY0" fmla="*/ 2572 h 2571"/>
                    <a:gd name="connsiteX1" fmla="*/ 0 w 9150"/>
                    <a:gd name="connsiteY1" fmla="*/ 0 h 2571"/>
                  </a:gdLst>
                  <a:ahLst/>
                  <a:cxnLst>
                    <a:cxn ang="0">
                      <a:pos x="connsiteX0" y="connsiteY0"/>
                    </a:cxn>
                    <a:cxn ang="0">
                      <a:pos x="connsiteX1" y="connsiteY1"/>
                    </a:cxn>
                  </a:cxnLst>
                  <a:rect l="l" t="t" r="r" b="b"/>
                  <a:pathLst>
                    <a:path w="9150" h="2571">
                      <a:moveTo>
                        <a:pt x="9151" y="257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50" name="Vrije vorm: vorm 6149">
                  <a:extLst>
                    <a:ext uri="{FF2B5EF4-FFF2-40B4-BE49-F238E27FC236}">
                      <a16:creationId xmlns:a16="http://schemas.microsoft.com/office/drawing/2014/main" id="{F58EED1D-13B0-4AA4-A3C1-B57363869F1B}"/>
                    </a:ext>
                  </a:extLst>
                </p:cNvPr>
                <p:cNvSpPr/>
                <p:nvPr/>
              </p:nvSpPr>
              <p:spPr>
                <a:xfrm>
                  <a:off x="7755102" y="2758947"/>
                  <a:ext cx="7236" cy="119"/>
                </a:xfrm>
                <a:custGeom>
                  <a:avLst/>
                  <a:gdLst>
                    <a:gd name="connsiteX0" fmla="*/ 0 w 7236"/>
                    <a:gd name="connsiteY0" fmla="*/ 120 h 119"/>
                    <a:gd name="connsiteX1" fmla="*/ 7236 w 7236"/>
                    <a:gd name="connsiteY1" fmla="*/ 0 h 119"/>
                  </a:gdLst>
                  <a:ahLst/>
                  <a:cxnLst>
                    <a:cxn ang="0">
                      <a:pos x="connsiteX0" y="connsiteY0"/>
                    </a:cxn>
                    <a:cxn ang="0">
                      <a:pos x="connsiteX1" y="connsiteY1"/>
                    </a:cxn>
                  </a:cxnLst>
                  <a:rect l="l" t="t" r="r" b="b"/>
                  <a:pathLst>
                    <a:path w="7236" h="119">
                      <a:moveTo>
                        <a:pt x="0" y="120"/>
                      </a:moveTo>
                      <a:lnTo>
                        <a:pt x="7236" y="0"/>
                      </a:lnTo>
                    </a:path>
                  </a:pathLst>
                </a:custGeom>
                <a:ln w="6350" cap="rnd">
                  <a:solidFill>
                    <a:schemeClr val="bg1">
                      <a:alpha val="40000"/>
                    </a:schemeClr>
                  </a:solidFill>
                  <a:prstDash val="solid"/>
                  <a:round/>
                </a:ln>
              </p:spPr>
              <p:txBody>
                <a:bodyPr rtlCol="0" anchor="ctr"/>
                <a:lstStyle/>
                <a:p>
                  <a:endParaRPr lang="en-GB"/>
                </a:p>
              </p:txBody>
            </p:sp>
            <p:sp>
              <p:nvSpPr>
                <p:cNvPr id="6151" name="Vrije vorm: vorm 6150">
                  <a:extLst>
                    <a:ext uri="{FF2B5EF4-FFF2-40B4-BE49-F238E27FC236}">
                      <a16:creationId xmlns:a16="http://schemas.microsoft.com/office/drawing/2014/main" id="{E9B7106F-8737-4D3B-827D-9DB9919A643E}"/>
                    </a:ext>
                  </a:extLst>
                </p:cNvPr>
                <p:cNvSpPr/>
                <p:nvPr/>
              </p:nvSpPr>
              <p:spPr>
                <a:xfrm>
                  <a:off x="7644040" y="2643758"/>
                  <a:ext cx="3349" cy="7834"/>
                </a:xfrm>
                <a:custGeom>
                  <a:avLst/>
                  <a:gdLst>
                    <a:gd name="connsiteX0" fmla="*/ 0 w 3349"/>
                    <a:gd name="connsiteY0" fmla="*/ 7835 h 7834"/>
                    <a:gd name="connsiteX1" fmla="*/ 3349 w 3349"/>
                    <a:gd name="connsiteY1" fmla="*/ 0 h 7834"/>
                  </a:gdLst>
                  <a:ahLst/>
                  <a:cxnLst>
                    <a:cxn ang="0">
                      <a:pos x="connsiteX0" y="connsiteY0"/>
                    </a:cxn>
                    <a:cxn ang="0">
                      <a:pos x="connsiteX1" y="connsiteY1"/>
                    </a:cxn>
                  </a:cxnLst>
                  <a:rect l="l" t="t" r="r" b="b"/>
                  <a:pathLst>
                    <a:path w="3349" h="7834">
                      <a:moveTo>
                        <a:pt x="0" y="7835"/>
                      </a:moveTo>
                      <a:lnTo>
                        <a:pt x="3349" y="0"/>
                      </a:lnTo>
                    </a:path>
                  </a:pathLst>
                </a:custGeom>
                <a:ln w="6350" cap="rnd">
                  <a:solidFill>
                    <a:schemeClr val="bg1">
                      <a:alpha val="40000"/>
                    </a:schemeClr>
                  </a:solidFill>
                  <a:prstDash val="solid"/>
                  <a:round/>
                </a:ln>
              </p:spPr>
              <p:txBody>
                <a:bodyPr rtlCol="0" anchor="ctr"/>
                <a:lstStyle/>
                <a:p>
                  <a:endParaRPr lang="en-GB"/>
                </a:p>
              </p:txBody>
            </p:sp>
            <p:sp>
              <p:nvSpPr>
                <p:cNvPr id="6152" name="Vrije vorm: vorm 6151">
                  <a:extLst>
                    <a:ext uri="{FF2B5EF4-FFF2-40B4-BE49-F238E27FC236}">
                      <a16:creationId xmlns:a16="http://schemas.microsoft.com/office/drawing/2014/main" id="{D07BF97C-8217-4A4F-87A5-C1CCF6E3B7D8}"/>
                    </a:ext>
                  </a:extLst>
                </p:cNvPr>
                <p:cNvSpPr/>
                <p:nvPr/>
              </p:nvSpPr>
              <p:spPr>
                <a:xfrm>
                  <a:off x="7644040" y="2651593"/>
                  <a:ext cx="12260" cy="15968"/>
                </a:xfrm>
                <a:custGeom>
                  <a:avLst/>
                  <a:gdLst>
                    <a:gd name="connsiteX0" fmla="*/ 0 w 12260"/>
                    <a:gd name="connsiteY0" fmla="*/ 0 h 15968"/>
                    <a:gd name="connsiteX1" fmla="*/ 12260 w 12260"/>
                    <a:gd name="connsiteY1" fmla="*/ 15969 h 15968"/>
                  </a:gdLst>
                  <a:ahLst/>
                  <a:cxnLst>
                    <a:cxn ang="0">
                      <a:pos x="connsiteX0" y="connsiteY0"/>
                    </a:cxn>
                    <a:cxn ang="0">
                      <a:pos x="connsiteX1" y="connsiteY1"/>
                    </a:cxn>
                  </a:cxnLst>
                  <a:rect l="l" t="t" r="r" b="b"/>
                  <a:pathLst>
                    <a:path w="12260" h="15968">
                      <a:moveTo>
                        <a:pt x="0" y="0"/>
                      </a:moveTo>
                      <a:lnTo>
                        <a:pt x="12260" y="15969"/>
                      </a:lnTo>
                    </a:path>
                  </a:pathLst>
                </a:custGeom>
                <a:ln w="6350" cap="rnd">
                  <a:solidFill>
                    <a:schemeClr val="bg1">
                      <a:alpha val="40000"/>
                    </a:schemeClr>
                  </a:solidFill>
                  <a:prstDash val="solid"/>
                  <a:round/>
                </a:ln>
              </p:spPr>
              <p:txBody>
                <a:bodyPr rtlCol="0" anchor="ctr"/>
                <a:lstStyle/>
                <a:p>
                  <a:endParaRPr lang="en-GB"/>
                </a:p>
              </p:txBody>
            </p:sp>
            <p:sp>
              <p:nvSpPr>
                <p:cNvPr id="6153" name="Vrije vorm: vorm 6152">
                  <a:extLst>
                    <a:ext uri="{FF2B5EF4-FFF2-40B4-BE49-F238E27FC236}">
                      <a16:creationId xmlns:a16="http://schemas.microsoft.com/office/drawing/2014/main" id="{DA94ECFE-A443-4F91-97F3-ED3935F83B9C}"/>
                    </a:ext>
                  </a:extLst>
                </p:cNvPr>
                <p:cNvSpPr/>
                <p:nvPr/>
              </p:nvSpPr>
              <p:spPr>
                <a:xfrm>
                  <a:off x="7634830" y="2651593"/>
                  <a:ext cx="9210" cy="17045"/>
                </a:xfrm>
                <a:custGeom>
                  <a:avLst/>
                  <a:gdLst>
                    <a:gd name="connsiteX0" fmla="*/ 9211 w 9210"/>
                    <a:gd name="connsiteY0" fmla="*/ 0 h 17045"/>
                    <a:gd name="connsiteX1" fmla="*/ 0 w 9210"/>
                    <a:gd name="connsiteY1" fmla="*/ 17045 h 17045"/>
                  </a:gdLst>
                  <a:ahLst/>
                  <a:cxnLst>
                    <a:cxn ang="0">
                      <a:pos x="connsiteX0" y="connsiteY0"/>
                    </a:cxn>
                    <a:cxn ang="0">
                      <a:pos x="connsiteX1" y="connsiteY1"/>
                    </a:cxn>
                  </a:cxnLst>
                  <a:rect l="l" t="t" r="r" b="b"/>
                  <a:pathLst>
                    <a:path w="9210" h="17045">
                      <a:moveTo>
                        <a:pt x="9211" y="0"/>
                      </a:moveTo>
                      <a:lnTo>
                        <a:pt x="0" y="17045"/>
                      </a:lnTo>
                    </a:path>
                  </a:pathLst>
                </a:custGeom>
                <a:ln w="6350" cap="rnd">
                  <a:solidFill>
                    <a:schemeClr val="bg1">
                      <a:alpha val="40000"/>
                    </a:schemeClr>
                  </a:solidFill>
                  <a:prstDash val="solid"/>
                  <a:round/>
                </a:ln>
              </p:spPr>
              <p:txBody>
                <a:bodyPr rtlCol="0" anchor="ctr"/>
                <a:lstStyle/>
                <a:p>
                  <a:endParaRPr lang="en-GB"/>
                </a:p>
              </p:txBody>
            </p:sp>
            <p:sp>
              <p:nvSpPr>
                <p:cNvPr id="6154" name="Vrije vorm: vorm 6153">
                  <a:extLst>
                    <a:ext uri="{FF2B5EF4-FFF2-40B4-BE49-F238E27FC236}">
                      <a16:creationId xmlns:a16="http://schemas.microsoft.com/office/drawing/2014/main" id="{28D1A0EC-8F4A-4E7A-9DAD-ED4204C8C181}"/>
                    </a:ext>
                  </a:extLst>
                </p:cNvPr>
                <p:cNvSpPr/>
                <p:nvPr/>
              </p:nvSpPr>
              <p:spPr>
                <a:xfrm>
                  <a:off x="7659052" y="2796685"/>
                  <a:ext cx="18839" cy="6518"/>
                </a:xfrm>
                <a:custGeom>
                  <a:avLst/>
                  <a:gdLst>
                    <a:gd name="connsiteX0" fmla="*/ 0 w 18839"/>
                    <a:gd name="connsiteY0" fmla="*/ 6519 h 6518"/>
                    <a:gd name="connsiteX1" fmla="*/ 18839 w 18839"/>
                    <a:gd name="connsiteY1" fmla="*/ 0 h 6518"/>
                  </a:gdLst>
                  <a:ahLst/>
                  <a:cxnLst>
                    <a:cxn ang="0">
                      <a:pos x="connsiteX0" y="connsiteY0"/>
                    </a:cxn>
                    <a:cxn ang="0">
                      <a:pos x="connsiteX1" y="connsiteY1"/>
                    </a:cxn>
                  </a:cxnLst>
                  <a:rect l="l" t="t" r="r" b="b"/>
                  <a:pathLst>
                    <a:path w="18839" h="6518">
                      <a:moveTo>
                        <a:pt x="0" y="6519"/>
                      </a:moveTo>
                      <a:lnTo>
                        <a:pt x="18839" y="0"/>
                      </a:lnTo>
                    </a:path>
                  </a:pathLst>
                </a:custGeom>
                <a:ln w="6350" cap="rnd">
                  <a:solidFill>
                    <a:schemeClr val="bg1">
                      <a:alpha val="40000"/>
                    </a:schemeClr>
                  </a:solidFill>
                  <a:prstDash val="solid"/>
                  <a:round/>
                </a:ln>
              </p:spPr>
              <p:txBody>
                <a:bodyPr rtlCol="0" anchor="ctr"/>
                <a:lstStyle/>
                <a:p>
                  <a:endParaRPr lang="en-GB"/>
                </a:p>
              </p:txBody>
            </p:sp>
            <p:sp>
              <p:nvSpPr>
                <p:cNvPr id="6155" name="Vrije vorm: vorm 6154">
                  <a:extLst>
                    <a:ext uri="{FF2B5EF4-FFF2-40B4-BE49-F238E27FC236}">
                      <a16:creationId xmlns:a16="http://schemas.microsoft.com/office/drawing/2014/main" id="{013D0ABA-E3AF-4188-B0D8-8E50A96A07B6}"/>
                    </a:ext>
                  </a:extLst>
                </p:cNvPr>
                <p:cNvSpPr/>
                <p:nvPr/>
              </p:nvSpPr>
              <p:spPr>
                <a:xfrm>
                  <a:off x="7648705" y="2756734"/>
                  <a:ext cx="657" cy="20573"/>
                </a:xfrm>
                <a:custGeom>
                  <a:avLst/>
                  <a:gdLst>
                    <a:gd name="connsiteX0" fmla="*/ 0 w 657"/>
                    <a:gd name="connsiteY0" fmla="*/ 20574 h 20573"/>
                    <a:gd name="connsiteX1" fmla="*/ 658 w 657"/>
                    <a:gd name="connsiteY1" fmla="*/ 0 h 20573"/>
                  </a:gdLst>
                  <a:ahLst/>
                  <a:cxnLst>
                    <a:cxn ang="0">
                      <a:pos x="connsiteX0" y="connsiteY0"/>
                    </a:cxn>
                    <a:cxn ang="0">
                      <a:pos x="connsiteX1" y="connsiteY1"/>
                    </a:cxn>
                  </a:cxnLst>
                  <a:rect l="l" t="t" r="r" b="b"/>
                  <a:pathLst>
                    <a:path w="657" h="20573">
                      <a:moveTo>
                        <a:pt x="0" y="20574"/>
                      </a:moveTo>
                      <a:lnTo>
                        <a:pt x="658" y="0"/>
                      </a:lnTo>
                    </a:path>
                  </a:pathLst>
                </a:custGeom>
                <a:ln w="6350" cap="rnd">
                  <a:solidFill>
                    <a:schemeClr val="bg1">
                      <a:alpha val="40000"/>
                    </a:schemeClr>
                  </a:solidFill>
                  <a:prstDash val="solid"/>
                  <a:round/>
                </a:ln>
              </p:spPr>
              <p:txBody>
                <a:bodyPr rtlCol="0" anchor="ctr"/>
                <a:lstStyle/>
                <a:p>
                  <a:endParaRPr lang="en-GB"/>
                </a:p>
              </p:txBody>
            </p:sp>
            <p:sp>
              <p:nvSpPr>
                <p:cNvPr id="6156" name="Vrije vorm: vorm 6155">
                  <a:extLst>
                    <a:ext uri="{FF2B5EF4-FFF2-40B4-BE49-F238E27FC236}">
                      <a16:creationId xmlns:a16="http://schemas.microsoft.com/office/drawing/2014/main" id="{58ACD24A-6493-43B6-B390-17D8F4DD612A}"/>
                    </a:ext>
                  </a:extLst>
                </p:cNvPr>
                <p:cNvSpPr/>
                <p:nvPr/>
              </p:nvSpPr>
              <p:spPr>
                <a:xfrm>
                  <a:off x="7648705" y="2777308"/>
                  <a:ext cx="23205" cy="4963"/>
                </a:xfrm>
                <a:custGeom>
                  <a:avLst/>
                  <a:gdLst>
                    <a:gd name="connsiteX0" fmla="*/ 0 w 23205"/>
                    <a:gd name="connsiteY0" fmla="*/ 0 h 4963"/>
                    <a:gd name="connsiteX1" fmla="*/ 23205 w 23205"/>
                    <a:gd name="connsiteY1" fmla="*/ 4964 h 4963"/>
                  </a:gdLst>
                  <a:ahLst/>
                  <a:cxnLst>
                    <a:cxn ang="0">
                      <a:pos x="connsiteX0" y="connsiteY0"/>
                    </a:cxn>
                    <a:cxn ang="0">
                      <a:pos x="connsiteX1" y="connsiteY1"/>
                    </a:cxn>
                  </a:cxnLst>
                  <a:rect l="l" t="t" r="r" b="b"/>
                  <a:pathLst>
                    <a:path w="23205" h="4963">
                      <a:moveTo>
                        <a:pt x="0" y="0"/>
                      </a:moveTo>
                      <a:lnTo>
                        <a:pt x="23205" y="4964"/>
                      </a:lnTo>
                    </a:path>
                  </a:pathLst>
                </a:custGeom>
                <a:ln w="6350" cap="rnd">
                  <a:solidFill>
                    <a:schemeClr val="bg1">
                      <a:alpha val="40000"/>
                    </a:schemeClr>
                  </a:solidFill>
                  <a:prstDash val="solid"/>
                  <a:round/>
                </a:ln>
              </p:spPr>
              <p:txBody>
                <a:bodyPr rtlCol="0" anchor="ctr"/>
                <a:lstStyle/>
                <a:p>
                  <a:endParaRPr lang="en-GB"/>
                </a:p>
              </p:txBody>
            </p:sp>
            <p:sp>
              <p:nvSpPr>
                <p:cNvPr id="6157" name="Vrije vorm: vorm 6156">
                  <a:extLst>
                    <a:ext uri="{FF2B5EF4-FFF2-40B4-BE49-F238E27FC236}">
                      <a16:creationId xmlns:a16="http://schemas.microsoft.com/office/drawing/2014/main" id="{1DE7B87B-84C9-47A1-9504-20B79BA2EB9E}"/>
                    </a:ext>
                  </a:extLst>
                </p:cNvPr>
                <p:cNvSpPr/>
                <p:nvPr/>
              </p:nvSpPr>
              <p:spPr>
                <a:xfrm>
                  <a:off x="7508756" y="2719534"/>
                  <a:ext cx="7954" cy="1375"/>
                </a:xfrm>
                <a:custGeom>
                  <a:avLst/>
                  <a:gdLst>
                    <a:gd name="connsiteX0" fmla="*/ 0 w 7954"/>
                    <a:gd name="connsiteY0" fmla="*/ 1375 h 1375"/>
                    <a:gd name="connsiteX1" fmla="*/ 7954 w 7954"/>
                    <a:gd name="connsiteY1" fmla="*/ 0 h 1375"/>
                  </a:gdLst>
                  <a:ahLst/>
                  <a:cxnLst>
                    <a:cxn ang="0">
                      <a:pos x="connsiteX0" y="connsiteY0"/>
                    </a:cxn>
                    <a:cxn ang="0">
                      <a:pos x="connsiteX1" y="connsiteY1"/>
                    </a:cxn>
                  </a:cxnLst>
                  <a:rect l="l" t="t" r="r" b="b"/>
                  <a:pathLst>
                    <a:path w="7954" h="1375">
                      <a:moveTo>
                        <a:pt x="0" y="1375"/>
                      </a:moveTo>
                      <a:lnTo>
                        <a:pt x="7954" y="0"/>
                      </a:lnTo>
                    </a:path>
                  </a:pathLst>
                </a:custGeom>
                <a:ln w="6350" cap="rnd">
                  <a:solidFill>
                    <a:schemeClr val="bg1">
                      <a:alpha val="40000"/>
                    </a:schemeClr>
                  </a:solidFill>
                  <a:prstDash val="solid"/>
                  <a:round/>
                </a:ln>
              </p:spPr>
              <p:txBody>
                <a:bodyPr rtlCol="0" anchor="ctr"/>
                <a:lstStyle/>
                <a:p>
                  <a:endParaRPr lang="en-GB"/>
                </a:p>
              </p:txBody>
            </p:sp>
            <p:sp>
              <p:nvSpPr>
                <p:cNvPr id="6158" name="Vrije vorm: vorm 6157">
                  <a:extLst>
                    <a:ext uri="{FF2B5EF4-FFF2-40B4-BE49-F238E27FC236}">
                      <a16:creationId xmlns:a16="http://schemas.microsoft.com/office/drawing/2014/main" id="{737EFADF-FA62-4BA0-A955-17C1B3674D16}"/>
                    </a:ext>
                  </a:extLst>
                </p:cNvPr>
                <p:cNvSpPr/>
                <p:nvPr/>
              </p:nvSpPr>
              <p:spPr>
                <a:xfrm>
                  <a:off x="7508756" y="2705958"/>
                  <a:ext cx="19078" cy="14951"/>
                </a:xfrm>
                <a:custGeom>
                  <a:avLst/>
                  <a:gdLst>
                    <a:gd name="connsiteX0" fmla="*/ 0 w 19078"/>
                    <a:gd name="connsiteY0" fmla="*/ 14952 h 14951"/>
                    <a:gd name="connsiteX1" fmla="*/ 19078 w 19078"/>
                    <a:gd name="connsiteY1" fmla="*/ 0 h 14951"/>
                  </a:gdLst>
                  <a:ahLst/>
                  <a:cxnLst>
                    <a:cxn ang="0">
                      <a:pos x="connsiteX0" y="connsiteY0"/>
                    </a:cxn>
                    <a:cxn ang="0">
                      <a:pos x="connsiteX1" y="connsiteY1"/>
                    </a:cxn>
                  </a:cxnLst>
                  <a:rect l="l" t="t" r="r" b="b"/>
                  <a:pathLst>
                    <a:path w="19078" h="14951">
                      <a:moveTo>
                        <a:pt x="0" y="14952"/>
                      </a:moveTo>
                      <a:lnTo>
                        <a:pt x="19078" y="0"/>
                      </a:lnTo>
                    </a:path>
                  </a:pathLst>
                </a:custGeom>
                <a:ln w="6350" cap="rnd">
                  <a:solidFill>
                    <a:schemeClr val="bg1">
                      <a:alpha val="40000"/>
                    </a:schemeClr>
                  </a:solidFill>
                  <a:prstDash val="solid"/>
                  <a:round/>
                </a:ln>
              </p:spPr>
              <p:txBody>
                <a:bodyPr rtlCol="0" anchor="ctr"/>
                <a:lstStyle/>
                <a:p>
                  <a:endParaRPr lang="en-GB"/>
                </a:p>
              </p:txBody>
            </p:sp>
            <p:sp>
              <p:nvSpPr>
                <p:cNvPr id="6159" name="Vrije vorm: vorm 6158">
                  <a:extLst>
                    <a:ext uri="{FF2B5EF4-FFF2-40B4-BE49-F238E27FC236}">
                      <a16:creationId xmlns:a16="http://schemas.microsoft.com/office/drawing/2014/main" id="{FDDBF203-A408-4628-B91E-124A14DABCC5}"/>
                    </a:ext>
                  </a:extLst>
                </p:cNvPr>
                <p:cNvSpPr/>
                <p:nvPr/>
              </p:nvSpPr>
              <p:spPr>
                <a:xfrm>
                  <a:off x="7600560" y="2821864"/>
                  <a:ext cx="18839" cy="17284"/>
                </a:xfrm>
                <a:custGeom>
                  <a:avLst/>
                  <a:gdLst>
                    <a:gd name="connsiteX0" fmla="*/ 18840 w 18839"/>
                    <a:gd name="connsiteY0" fmla="*/ 0 h 17284"/>
                    <a:gd name="connsiteX1" fmla="*/ 0 w 18839"/>
                    <a:gd name="connsiteY1" fmla="*/ 17284 h 17284"/>
                  </a:gdLst>
                  <a:ahLst/>
                  <a:cxnLst>
                    <a:cxn ang="0">
                      <a:pos x="connsiteX0" y="connsiteY0"/>
                    </a:cxn>
                    <a:cxn ang="0">
                      <a:pos x="connsiteX1" y="connsiteY1"/>
                    </a:cxn>
                  </a:cxnLst>
                  <a:rect l="l" t="t" r="r" b="b"/>
                  <a:pathLst>
                    <a:path w="18839" h="17284">
                      <a:moveTo>
                        <a:pt x="18840" y="0"/>
                      </a:moveTo>
                      <a:lnTo>
                        <a:pt x="0" y="17284"/>
                      </a:lnTo>
                    </a:path>
                  </a:pathLst>
                </a:custGeom>
                <a:ln w="6350" cap="rnd">
                  <a:solidFill>
                    <a:schemeClr val="bg1">
                      <a:alpha val="40000"/>
                    </a:schemeClr>
                  </a:solidFill>
                  <a:prstDash val="solid"/>
                  <a:round/>
                </a:ln>
              </p:spPr>
              <p:txBody>
                <a:bodyPr rtlCol="0" anchor="ctr"/>
                <a:lstStyle/>
                <a:p>
                  <a:endParaRPr lang="en-GB"/>
                </a:p>
              </p:txBody>
            </p:sp>
            <p:sp>
              <p:nvSpPr>
                <p:cNvPr id="6160" name="Vrije vorm: vorm 6159">
                  <a:extLst>
                    <a:ext uri="{FF2B5EF4-FFF2-40B4-BE49-F238E27FC236}">
                      <a16:creationId xmlns:a16="http://schemas.microsoft.com/office/drawing/2014/main" id="{3E191097-D4C0-4EE1-A51D-832AFA45E474}"/>
                    </a:ext>
                  </a:extLst>
                </p:cNvPr>
                <p:cNvSpPr/>
                <p:nvPr/>
              </p:nvSpPr>
              <p:spPr>
                <a:xfrm>
                  <a:off x="7619400" y="2803204"/>
                  <a:ext cx="39652" cy="18659"/>
                </a:xfrm>
                <a:custGeom>
                  <a:avLst/>
                  <a:gdLst>
                    <a:gd name="connsiteX0" fmla="*/ 0 w 39652"/>
                    <a:gd name="connsiteY0" fmla="*/ 18660 h 18659"/>
                    <a:gd name="connsiteX1" fmla="*/ 39652 w 39652"/>
                    <a:gd name="connsiteY1" fmla="*/ 0 h 18659"/>
                  </a:gdLst>
                  <a:ahLst/>
                  <a:cxnLst>
                    <a:cxn ang="0">
                      <a:pos x="connsiteX0" y="connsiteY0"/>
                    </a:cxn>
                    <a:cxn ang="0">
                      <a:pos x="connsiteX1" y="connsiteY1"/>
                    </a:cxn>
                  </a:cxnLst>
                  <a:rect l="l" t="t" r="r" b="b"/>
                  <a:pathLst>
                    <a:path w="39652" h="18659">
                      <a:moveTo>
                        <a:pt x="0" y="18660"/>
                      </a:moveTo>
                      <a:lnTo>
                        <a:pt x="39652" y="0"/>
                      </a:lnTo>
                    </a:path>
                  </a:pathLst>
                </a:custGeom>
                <a:ln w="6350" cap="rnd">
                  <a:solidFill>
                    <a:schemeClr val="bg1">
                      <a:alpha val="40000"/>
                    </a:schemeClr>
                  </a:solidFill>
                  <a:prstDash val="solid"/>
                  <a:round/>
                </a:ln>
              </p:spPr>
              <p:txBody>
                <a:bodyPr rtlCol="0" anchor="ctr"/>
                <a:lstStyle/>
                <a:p>
                  <a:endParaRPr lang="en-GB"/>
                </a:p>
              </p:txBody>
            </p:sp>
            <p:sp>
              <p:nvSpPr>
                <p:cNvPr id="6161" name="Vrije vorm: vorm 6160">
                  <a:extLst>
                    <a:ext uri="{FF2B5EF4-FFF2-40B4-BE49-F238E27FC236}">
                      <a16:creationId xmlns:a16="http://schemas.microsoft.com/office/drawing/2014/main" id="{56C1E640-8128-4D49-87A4-B9015171AB64}"/>
                    </a:ext>
                  </a:extLst>
                </p:cNvPr>
                <p:cNvSpPr/>
                <p:nvPr/>
              </p:nvSpPr>
              <p:spPr>
                <a:xfrm>
                  <a:off x="7553372" y="2699319"/>
                  <a:ext cx="10466" cy="3827"/>
                </a:xfrm>
                <a:custGeom>
                  <a:avLst/>
                  <a:gdLst>
                    <a:gd name="connsiteX0" fmla="*/ 0 w 10466"/>
                    <a:gd name="connsiteY0" fmla="*/ 3828 h 3827"/>
                    <a:gd name="connsiteX1" fmla="*/ 10466 w 10466"/>
                    <a:gd name="connsiteY1" fmla="*/ 0 h 3827"/>
                  </a:gdLst>
                  <a:ahLst/>
                  <a:cxnLst>
                    <a:cxn ang="0">
                      <a:pos x="connsiteX0" y="connsiteY0"/>
                    </a:cxn>
                    <a:cxn ang="0">
                      <a:pos x="connsiteX1" y="connsiteY1"/>
                    </a:cxn>
                  </a:cxnLst>
                  <a:rect l="l" t="t" r="r" b="b"/>
                  <a:pathLst>
                    <a:path w="10466" h="3827">
                      <a:moveTo>
                        <a:pt x="0" y="3828"/>
                      </a:moveTo>
                      <a:lnTo>
                        <a:pt x="10466" y="0"/>
                      </a:lnTo>
                    </a:path>
                  </a:pathLst>
                </a:custGeom>
                <a:ln w="6350" cap="rnd">
                  <a:solidFill>
                    <a:schemeClr val="bg1">
                      <a:alpha val="40000"/>
                    </a:schemeClr>
                  </a:solidFill>
                  <a:prstDash val="solid"/>
                  <a:round/>
                </a:ln>
              </p:spPr>
              <p:txBody>
                <a:bodyPr rtlCol="0" anchor="ctr"/>
                <a:lstStyle/>
                <a:p>
                  <a:endParaRPr lang="en-GB"/>
                </a:p>
              </p:txBody>
            </p:sp>
            <p:sp>
              <p:nvSpPr>
                <p:cNvPr id="6162" name="Vrije vorm: vorm 6161">
                  <a:extLst>
                    <a:ext uri="{FF2B5EF4-FFF2-40B4-BE49-F238E27FC236}">
                      <a16:creationId xmlns:a16="http://schemas.microsoft.com/office/drawing/2014/main" id="{F833B2A3-F7A7-40FD-8158-A68DD0118B64}"/>
                    </a:ext>
                  </a:extLst>
                </p:cNvPr>
                <p:cNvSpPr/>
                <p:nvPr/>
              </p:nvSpPr>
              <p:spPr>
                <a:xfrm>
                  <a:off x="7538301" y="2703147"/>
                  <a:ext cx="15071" cy="3827"/>
                </a:xfrm>
                <a:custGeom>
                  <a:avLst/>
                  <a:gdLst>
                    <a:gd name="connsiteX0" fmla="*/ 15071 w 15071"/>
                    <a:gd name="connsiteY0" fmla="*/ 0 h 3827"/>
                    <a:gd name="connsiteX1" fmla="*/ 0 w 15071"/>
                    <a:gd name="connsiteY1" fmla="*/ 3828 h 3827"/>
                  </a:gdLst>
                  <a:ahLst/>
                  <a:cxnLst>
                    <a:cxn ang="0">
                      <a:pos x="connsiteX0" y="connsiteY0"/>
                    </a:cxn>
                    <a:cxn ang="0">
                      <a:pos x="connsiteX1" y="connsiteY1"/>
                    </a:cxn>
                  </a:cxnLst>
                  <a:rect l="l" t="t" r="r" b="b"/>
                  <a:pathLst>
                    <a:path w="15071" h="3827">
                      <a:moveTo>
                        <a:pt x="15071" y="0"/>
                      </a:moveTo>
                      <a:lnTo>
                        <a:pt x="0" y="3828"/>
                      </a:lnTo>
                    </a:path>
                  </a:pathLst>
                </a:custGeom>
                <a:ln w="6350" cap="rnd">
                  <a:solidFill>
                    <a:schemeClr val="bg1">
                      <a:alpha val="40000"/>
                    </a:schemeClr>
                  </a:solidFill>
                  <a:prstDash val="solid"/>
                  <a:round/>
                </a:ln>
              </p:spPr>
              <p:txBody>
                <a:bodyPr rtlCol="0" anchor="ctr"/>
                <a:lstStyle/>
                <a:p>
                  <a:endParaRPr lang="en-GB"/>
                </a:p>
              </p:txBody>
            </p:sp>
            <p:sp>
              <p:nvSpPr>
                <p:cNvPr id="6163" name="Vrije vorm: vorm 6162">
                  <a:extLst>
                    <a:ext uri="{FF2B5EF4-FFF2-40B4-BE49-F238E27FC236}">
                      <a16:creationId xmlns:a16="http://schemas.microsoft.com/office/drawing/2014/main" id="{AD57296B-0D3A-49C1-9D4F-8AF5D5912189}"/>
                    </a:ext>
                  </a:extLst>
                </p:cNvPr>
                <p:cNvSpPr/>
                <p:nvPr/>
              </p:nvSpPr>
              <p:spPr>
                <a:xfrm>
                  <a:off x="7669279" y="2722584"/>
                  <a:ext cx="26434" cy="239"/>
                </a:xfrm>
                <a:custGeom>
                  <a:avLst/>
                  <a:gdLst>
                    <a:gd name="connsiteX0" fmla="*/ 0 w 26434"/>
                    <a:gd name="connsiteY0" fmla="*/ 239 h 239"/>
                    <a:gd name="connsiteX1" fmla="*/ 26435 w 26434"/>
                    <a:gd name="connsiteY1" fmla="*/ 0 h 239"/>
                  </a:gdLst>
                  <a:ahLst/>
                  <a:cxnLst>
                    <a:cxn ang="0">
                      <a:pos x="connsiteX0" y="connsiteY0"/>
                    </a:cxn>
                    <a:cxn ang="0">
                      <a:pos x="connsiteX1" y="connsiteY1"/>
                    </a:cxn>
                  </a:cxnLst>
                  <a:rect l="l" t="t" r="r" b="b"/>
                  <a:pathLst>
                    <a:path w="26434" h="239">
                      <a:moveTo>
                        <a:pt x="0" y="239"/>
                      </a:moveTo>
                      <a:lnTo>
                        <a:pt x="26435" y="0"/>
                      </a:lnTo>
                    </a:path>
                  </a:pathLst>
                </a:custGeom>
                <a:ln w="6350" cap="rnd">
                  <a:solidFill>
                    <a:schemeClr val="bg1">
                      <a:alpha val="40000"/>
                    </a:schemeClr>
                  </a:solidFill>
                  <a:prstDash val="solid"/>
                  <a:round/>
                </a:ln>
              </p:spPr>
              <p:txBody>
                <a:bodyPr rtlCol="0" anchor="ctr"/>
                <a:lstStyle/>
                <a:p>
                  <a:endParaRPr lang="en-GB"/>
                </a:p>
              </p:txBody>
            </p:sp>
            <p:sp>
              <p:nvSpPr>
                <p:cNvPr id="6164" name="Vrije vorm: vorm 6163">
                  <a:extLst>
                    <a:ext uri="{FF2B5EF4-FFF2-40B4-BE49-F238E27FC236}">
                      <a16:creationId xmlns:a16="http://schemas.microsoft.com/office/drawing/2014/main" id="{00F4FD36-3165-4CE7-9DA3-998CD7865E2A}"/>
                    </a:ext>
                  </a:extLst>
                </p:cNvPr>
                <p:cNvSpPr/>
                <p:nvPr/>
              </p:nvSpPr>
              <p:spPr>
                <a:xfrm>
                  <a:off x="7659112" y="2690527"/>
                  <a:ext cx="10167" cy="32295"/>
                </a:xfrm>
                <a:custGeom>
                  <a:avLst/>
                  <a:gdLst>
                    <a:gd name="connsiteX0" fmla="*/ 10167 w 10167"/>
                    <a:gd name="connsiteY0" fmla="*/ 32296 h 32295"/>
                    <a:gd name="connsiteX1" fmla="*/ 0 w 10167"/>
                    <a:gd name="connsiteY1" fmla="*/ 0 h 32295"/>
                  </a:gdLst>
                  <a:ahLst/>
                  <a:cxnLst>
                    <a:cxn ang="0">
                      <a:pos x="connsiteX0" y="connsiteY0"/>
                    </a:cxn>
                    <a:cxn ang="0">
                      <a:pos x="connsiteX1" y="connsiteY1"/>
                    </a:cxn>
                  </a:cxnLst>
                  <a:rect l="l" t="t" r="r" b="b"/>
                  <a:pathLst>
                    <a:path w="10167" h="32295">
                      <a:moveTo>
                        <a:pt x="10167" y="3229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65" name="Vrije vorm: vorm 6164">
                  <a:extLst>
                    <a:ext uri="{FF2B5EF4-FFF2-40B4-BE49-F238E27FC236}">
                      <a16:creationId xmlns:a16="http://schemas.microsoft.com/office/drawing/2014/main" id="{B4D25D2C-BCD4-412B-A785-C9EC684A1EDA}"/>
                    </a:ext>
                  </a:extLst>
                </p:cNvPr>
                <p:cNvSpPr/>
                <p:nvPr/>
              </p:nvSpPr>
              <p:spPr>
                <a:xfrm>
                  <a:off x="7655164" y="2717201"/>
                  <a:ext cx="14114" cy="5621"/>
                </a:xfrm>
                <a:custGeom>
                  <a:avLst/>
                  <a:gdLst>
                    <a:gd name="connsiteX0" fmla="*/ 14115 w 14114"/>
                    <a:gd name="connsiteY0" fmla="*/ 5622 h 5621"/>
                    <a:gd name="connsiteX1" fmla="*/ 0 w 14114"/>
                    <a:gd name="connsiteY1" fmla="*/ 0 h 5621"/>
                  </a:gdLst>
                  <a:ahLst/>
                  <a:cxnLst>
                    <a:cxn ang="0">
                      <a:pos x="connsiteX0" y="connsiteY0"/>
                    </a:cxn>
                    <a:cxn ang="0">
                      <a:pos x="connsiteX1" y="connsiteY1"/>
                    </a:cxn>
                  </a:cxnLst>
                  <a:rect l="l" t="t" r="r" b="b"/>
                  <a:pathLst>
                    <a:path w="14114" h="5621">
                      <a:moveTo>
                        <a:pt x="14115" y="562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66" name="Vrije vorm: vorm 6165">
                  <a:extLst>
                    <a:ext uri="{FF2B5EF4-FFF2-40B4-BE49-F238E27FC236}">
                      <a16:creationId xmlns:a16="http://schemas.microsoft.com/office/drawing/2014/main" id="{59EE637C-A581-44C8-BF4E-6F8F43645D40}"/>
                    </a:ext>
                  </a:extLst>
                </p:cNvPr>
                <p:cNvSpPr/>
                <p:nvPr/>
              </p:nvSpPr>
              <p:spPr>
                <a:xfrm>
                  <a:off x="7669279" y="2722823"/>
                  <a:ext cx="9748" cy="12380"/>
                </a:xfrm>
                <a:custGeom>
                  <a:avLst/>
                  <a:gdLst>
                    <a:gd name="connsiteX0" fmla="*/ 0 w 9748"/>
                    <a:gd name="connsiteY0" fmla="*/ 0 h 12380"/>
                    <a:gd name="connsiteX1" fmla="*/ 9749 w 9748"/>
                    <a:gd name="connsiteY1" fmla="*/ 12380 h 12380"/>
                  </a:gdLst>
                  <a:ahLst/>
                  <a:cxnLst>
                    <a:cxn ang="0">
                      <a:pos x="connsiteX0" y="connsiteY0"/>
                    </a:cxn>
                    <a:cxn ang="0">
                      <a:pos x="connsiteX1" y="connsiteY1"/>
                    </a:cxn>
                  </a:cxnLst>
                  <a:rect l="l" t="t" r="r" b="b"/>
                  <a:pathLst>
                    <a:path w="9748" h="12380">
                      <a:moveTo>
                        <a:pt x="0" y="0"/>
                      </a:moveTo>
                      <a:lnTo>
                        <a:pt x="9749" y="12380"/>
                      </a:lnTo>
                    </a:path>
                  </a:pathLst>
                </a:custGeom>
                <a:ln w="6350" cap="rnd">
                  <a:solidFill>
                    <a:schemeClr val="bg1">
                      <a:alpha val="40000"/>
                    </a:schemeClr>
                  </a:solidFill>
                  <a:prstDash val="solid"/>
                  <a:round/>
                </a:ln>
              </p:spPr>
              <p:txBody>
                <a:bodyPr rtlCol="0" anchor="ctr"/>
                <a:lstStyle/>
                <a:p>
                  <a:endParaRPr lang="en-GB"/>
                </a:p>
              </p:txBody>
            </p:sp>
            <p:sp>
              <p:nvSpPr>
                <p:cNvPr id="6167" name="Vrije vorm: vorm 6166">
                  <a:extLst>
                    <a:ext uri="{FF2B5EF4-FFF2-40B4-BE49-F238E27FC236}">
                      <a16:creationId xmlns:a16="http://schemas.microsoft.com/office/drawing/2014/main" id="{7BEB99C9-4628-4C54-8FC0-FBE06DFA18D7}"/>
                    </a:ext>
                  </a:extLst>
                </p:cNvPr>
                <p:cNvSpPr/>
                <p:nvPr/>
              </p:nvSpPr>
              <p:spPr>
                <a:xfrm>
                  <a:off x="7599065" y="2639990"/>
                  <a:ext cx="17523" cy="9688"/>
                </a:xfrm>
                <a:custGeom>
                  <a:avLst/>
                  <a:gdLst>
                    <a:gd name="connsiteX0" fmla="*/ 17523 w 17523"/>
                    <a:gd name="connsiteY0" fmla="*/ 0 h 9688"/>
                    <a:gd name="connsiteX1" fmla="*/ 0 w 17523"/>
                    <a:gd name="connsiteY1" fmla="*/ 9689 h 9688"/>
                  </a:gdLst>
                  <a:ahLst/>
                  <a:cxnLst>
                    <a:cxn ang="0">
                      <a:pos x="connsiteX0" y="connsiteY0"/>
                    </a:cxn>
                    <a:cxn ang="0">
                      <a:pos x="connsiteX1" y="connsiteY1"/>
                    </a:cxn>
                  </a:cxnLst>
                  <a:rect l="l" t="t" r="r" b="b"/>
                  <a:pathLst>
                    <a:path w="17523" h="9688">
                      <a:moveTo>
                        <a:pt x="17523" y="0"/>
                      </a:moveTo>
                      <a:lnTo>
                        <a:pt x="0" y="9689"/>
                      </a:lnTo>
                    </a:path>
                  </a:pathLst>
                </a:custGeom>
                <a:ln w="6350" cap="rnd">
                  <a:solidFill>
                    <a:schemeClr val="bg1">
                      <a:alpha val="40000"/>
                    </a:schemeClr>
                  </a:solidFill>
                  <a:prstDash val="solid"/>
                  <a:round/>
                </a:ln>
              </p:spPr>
              <p:txBody>
                <a:bodyPr rtlCol="0" anchor="ctr"/>
                <a:lstStyle/>
                <a:p>
                  <a:endParaRPr lang="en-GB"/>
                </a:p>
              </p:txBody>
            </p:sp>
            <p:sp>
              <p:nvSpPr>
                <p:cNvPr id="6168" name="Vrije vorm: vorm 6167">
                  <a:extLst>
                    <a:ext uri="{FF2B5EF4-FFF2-40B4-BE49-F238E27FC236}">
                      <a16:creationId xmlns:a16="http://schemas.microsoft.com/office/drawing/2014/main" id="{B94DA35D-655A-4BC8-B9C4-C4878E299F94}"/>
                    </a:ext>
                  </a:extLst>
                </p:cNvPr>
                <p:cNvSpPr/>
                <p:nvPr/>
              </p:nvSpPr>
              <p:spPr>
                <a:xfrm>
                  <a:off x="7616589" y="2634428"/>
                  <a:ext cx="13337" cy="5562"/>
                </a:xfrm>
                <a:custGeom>
                  <a:avLst/>
                  <a:gdLst>
                    <a:gd name="connsiteX0" fmla="*/ 0 w 13337"/>
                    <a:gd name="connsiteY0" fmla="*/ 5562 h 5562"/>
                    <a:gd name="connsiteX1" fmla="*/ 13337 w 13337"/>
                    <a:gd name="connsiteY1" fmla="*/ 0 h 5562"/>
                  </a:gdLst>
                  <a:ahLst/>
                  <a:cxnLst>
                    <a:cxn ang="0">
                      <a:pos x="connsiteX0" y="connsiteY0"/>
                    </a:cxn>
                    <a:cxn ang="0">
                      <a:pos x="connsiteX1" y="connsiteY1"/>
                    </a:cxn>
                  </a:cxnLst>
                  <a:rect l="l" t="t" r="r" b="b"/>
                  <a:pathLst>
                    <a:path w="13337" h="5562">
                      <a:moveTo>
                        <a:pt x="0" y="5562"/>
                      </a:moveTo>
                      <a:lnTo>
                        <a:pt x="13337" y="0"/>
                      </a:lnTo>
                    </a:path>
                  </a:pathLst>
                </a:custGeom>
                <a:ln w="6350" cap="rnd">
                  <a:solidFill>
                    <a:schemeClr val="bg1">
                      <a:alpha val="40000"/>
                    </a:schemeClr>
                  </a:solidFill>
                  <a:prstDash val="solid"/>
                  <a:round/>
                </a:ln>
              </p:spPr>
              <p:txBody>
                <a:bodyPr rtlCol="0" anchor="ctr"/>
                <a:lstStyle/>
                <a:p>
                  <a:endParaRPr lang="en-GB"/>
                </a:p>
              </p:txBody>
            </p:sp>
            <p:sp>
              <p:nvSpPr>
                <p:cNvPr id="6169" name="Vrije vorm: vorm 6168">
                  <a:extLst>
                    <a:ext uri="{FF2B5EF4-FFF2-40B4-BE49-F238E27FC236}">
                      <a16:creationId xmlns:a16="http://schemas.microsoft.com/office/drawing/2014/main" id="{8778D7F2-EBB3-460D-A6C4-B2A66A2EEE0D}"/>
                    </a:ext>
                  </a:extLst>
                </p:cNvPr>
                <p:cNvSpPr/>
                <p:nvPr/>
              </p:nvSpPr>
              <p:spPr>
                <a:xfrm>
                  <a:off x="7607558" y="2639273"/>
                  <a:ext cx="9030" cy="717"/>
                </a:xfrm>
                <a:custGeom>
                  <a:avLst/>
                  <a:gdLst>
                    <a:gd name="connsiteX0" fmla="*/ 9031 w 9030"/>
                    <a:gd name="connsiteY0" fmla="*/ 718 h 717"/>
                    <a:gd name="connsiteX1" fmla="*/ 0 w 9030"/>
                    <a:gd name="connsiteY1" fmla="*/ 0 h 717"/>
                  </a:gdLst>
                  <a:ahLst/>
                  <a:cxnLst>
                    <a:cxn ang="0">
                      <a:pos x="connsiteX0" y="connsiteY0"/>
                    </a:cxn>
                    <a:cxn ang="0">
                      <a:pos x="connsiteX1" y="connsiteY1"/>
                    </a:cxn>
                  </a:cxnLst>
                  <a:rect l="l" t="t" r="r" b="b"/>
                  <a:pathLst>
                    <a:path w="9030" h="717">
                      <a:moveTo>
                        <a:pt x="9031" y="71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70" name="Vrije vorm: vorm 6169">
                  <a:extLst>
                    <a:ext uri="{FF2B5EF4-FFF2-40B4-BE49-F238E27FC236}">
                      <a16:creationId xmlns:a16="http://schemas.microsoft.com/office/drawing/2014/main" id="{D36818C4-C073-4489-8A7E-31F333CA87F5}"/>
                    </a:ext>
                  </a:extLst>
                </p:cNvPr>
                <p:cNvSpPr/>
                <p:nvPr/>
              </p:nvSpPr>
              <p:spPr>
                <a:xfrm>
                  <a:off x="7634890" y="2643758"/>
                  <a:ext cx="12499" cy="3708"/>
                </a:xfrm>
                <a:custGeom>
                  <a:avLst/>
                  <a:gdLst>
                    <a:gd name="connsiteX0" fmla="*/ 0 w 12499"/>
                    <a:gd name="connsiteY0" fmla="*/ 3708 h 3708"/>
                    <a:gd name="connsiteX1" fmla="*/ 12500 w 12499"/>
                    <a:gd name="connsiteY1" fmla="*/ 0 h 3708"/>
                  </a:gdLst>
                  <a:ahLst/>
                  <a:cxnLst>
                    <a:cxn ang="0">
                      <a:pos x="connsiteX0" y="connsiteY0"/>
                    </a:cxn>
                    <a:cxn ang="0">
                      <a:pos x="connsiteX1" y="connsiteY1"/>
                    </a:cxn>
                  </a:cxnLst>
                  <a:rect l="l" t="t" r="r" b="b"/>
                  <a:pathLst>
                    <a:path w="12499" h="3708">
                      <a:moveTo>
                        <a:pt x="0" y="3708"/>
                      </a:moveTo>
                      <a:lnTo>
                        <a:pt x="12500" y="0"/>
                      </a:lnTo>
                    </a:path>
                  </a:pathLst>
                </a:custGeom>
                <a:ln w="6350" cap="rnd">
                  <a:solidFill>
                    <a:schemeClr val="bg1">
                      <a:alpha val="40000"/>
                    </a:schemeClr>
                  </a:solidFill>
                  <a:prstDash val="solid"/>
                  <a:round/>
                </a:ln>
              </p:spPr>
              <p:txBody>
                <a:bodyPr rtlCol="0" anchor="ctr"/>
                <a:lstStyle/>
                <a:p>
                  <a:endParaRPr lang="en-GB"/>
                </a:p>
              </p:txBody>
            </p:sp>
            <p:sp>
              <p:nvSpPr>
                <p:cNvPr id="6171" name="Vrije vorm: vorm 6170">
                  <a:extLst>
                    <a:ext uri="{FF2B5EF4-FFF2-40B4-BE49-F238E27FC236}">
                      <a16:creationId xmlns:a16="http://schemas.microsoft.com/office/drawing/2014/main" id="{3FB505BF-8FC5-4C14-99DB-9385B1A29E30}"/>
                    </a:ext>
                  </a:extLst>
                </p:cNvPr>
                <p:cNvSpPr/>
                <p:nvPr/>
              </p:nvSpPr>
              <p:spPr>
                <a:xfrm>
                  <a:off x="7599065" y="2647466"/>
                  <a:ext cx="35824" cy="2212"/>
                </a:xfrm>
                <a:custGeom>
                  <a:avLst/>
                  <a:gdLst>
                    <a:gd name="connsiteX0" fmla="*/ 35825 w 35824"/>
                    <a:gd name="connsiteY0" fmla="*/ 0 h 2212"/>
                    <a:gd name="connsiteX1" fmla="*/ 0 w 35824"/>
                    <a:gd name="connsiteY1" fmla="*/ 2213 h 2212"/>
                  </a:gdLst>
                  <a:ahLst/>
                  <a:cxnLst>
                    <a:cxn ang="0">
                      <a:pos x="connsiteX0" y="connsiteY0"/>
                    </a:cxn>
                    <a:cxn ang="0">
                      <a:pos x="connsiteX1" y="connsiteY1"/>
                    </a:cxn>
                  </a:cxnLst>
                  <a:rect l="l" t="t" r="r" b="b"/>
                  <a:pathLst>
                    <a:path w="35824" h="2212">
                      <a:moveTo>
                        <a:pt x="35825" y="0"/>
                      </a:moveTo>
                      <a:lnTo>
                        <a:pt x="0" y="2213"/>
                      </a:lnTo>
                    </a:path>
                  </a:pathLst>
                </a:custGeom>
                <a:ln w="6350" cap="rnd">
                  <a:solidFill>
                    <a:schemeClr val="bg1">
                      <a:alpha val="40000"/>
                    </a:schemeClr>
                  </a:solidFill>
                  <a:prstDash val="solid"/>
                  <a:round/>
                </a:ln>
              </p:spPr>
              <p:txBody>
                <a:bodyPr rtlCol="0" anchor="ctr"/>
                <a:lstStyle/>
                <a:p>
                  <a:endParaRPr lang="en-GB"/>
                </a:p>
              </p:txBody>
            </p:sp>
            <p:sp>
              <p:nvSpPr>
                <p:cNvPr id="6172" name="Vrije vorm: vorm 6171">
                  <a:extLst>
                    <a:ext uri="{FF2B5EF4-FFF2-40B4-BE49-F238E27FC236}">
                      <a16:creationId xmlns:a16="http://schemas.microsoft.com/office/drawing/2014/main" id="{C600EF23-C0DD-4E89-A075-17203D3A88B2}"/>
                    </a:ext>
                  </a:extLst>
                </p:cNvPr>
                <p:cNvSpPr/>
                <p:nvPr/>
              </p:nvSpPr>
              <p:spPr>
                <a:xfrm>
                  <a:off x="7629926" y="2634428"/>
                  <a:ext cx="4963" cy="13037"/>
                </a:xfrm>
                <a:custGeom>
                  <a:avLst/>
                  <a:gdLst>
                    <a:gd name="connsiteX0" fmla="*/ 4964 w 4963"/>
                    <a:gd name="connsiteY0" fmla="*/ 13038 h 13037"/>
                    <a:gd name="connsiteX1" fmla="*/ 0 w 4963"/>
                    <a:gd name="connsiteY1" fmla="*/ 0 h 13037"/>
                  </a:gdLst>
                  <a:ahLst/>
                  <a:cxnLst>
                    <a:cxn ang="0">
                      <a:pos x="connsiteX0" y="connsiteY0"/>
                    </a:cxn>
                    <a:cxn ang="0">
                      <a:pos x="connsiteX1" y="connsiteY1"/>
                    </a:cxn>
                  </a:cxnLst>
                  <a:rect l="l" t="t" r="r" b="b"/>
                  <a:pathLst>
                    <a:path w="4963" h="13037">
                      <a:moveTo>
                        <a:pt x="4964" y="1303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73" name="Vrije vorm: vorm 6172">
                  <a:extLst>
                    <a:ext uri="{FF2B5EF4-FFF2-40B4-BE49-F238E27FC236}">
                      <a16:creationId xmlns:a16="http://schemas.microsoft.com/office/drawing/2014/main" id="{D80911F3-4849-4A6A-B6A4-CA54439F806A}"/>
                    </a:ext>
                  </a:extLst>
                </p:cNvPr>
                <p:cNvSpPr/>
                <p:nvPr/>
              </p:nvSpPr>
              <p:spPr>
                <a:xfrm>
                  <a:off x="7604807" y="2647466"/>
                  <a:ext cx="30083" cy="11841"/>
                </a:xfrm>
                <a:custGeom>
                  <a:avLst/>
                  <a:gdLst>
                    <a:gd name="connsiteX0" fmla="*/ 30083 w 30083"/>
                    <a:gd name="connsiteY0" fmla="*/ 0 h 11841"/>
                    <a:gd name="connsiteX1" fmla="*/ 0 w 30083"/>
                    <a:gd name="connsiteY1" fmla="*/ 11842 h 11841"/>
                  </a:gdLst>
                  <a:ahLst/>
                  <a:cxnLst>
                    <a:cxn ang="0">
                      <a:pos x="connsiteX0" y="connsiteY0"/>
                    </a:cxn>
                    <a:cxn ang="0">
                      <a:pos x="connsiteX1" y="connsiteY1"/>
                    </a:cxn>
                  </a:cxnLst>
                  <a:rect l="l" t="t" r="r" b="b"/>
                  <a:pathLst>
                    <a:path w="30083" h="11841">
                      <a:moveTo>
                        <a:pt x="30083" y="0"/>
                      </a:moveTo>
                      <a:lnTo>
                        <a:pt x="0" y="11842"/>
                      </a:lnTo>
                    </a:path>
                  </a:pathLst>
                </a:custGeom>
                <a:ln w="6350" cap="rnd">
                  <a:solidFill>
                    <a:schemeClr val="bg1">
                      <a:alpha val="40000"/>
                    </a:schemeClr>
                  </a:solidFill>
                  <a:prstDash val="solid"/>
                  <a:round/>
                </a:ln>
              </p:spPr>
              <p:txBody>
                <a:bodyPr rtlCol="0" anchor="ctr"/>
                <a:lstStyle/>
                <a:p>
                  <a:endParaRPr lang="en-GB"/>
                </a:p>
              </p:txBody>
            </p:sp>
            <p:sp>
              <p:nvSpPr>
                <p:cNvPr id="6174" name="Vrije vorm: vorm 6173">
                  <a:extLst>
                    <a:ext uri="{FF2B5EF4-FFF2-40B4-BE49-F238E27FC236}">
                      <a16:creationId xmlns:a16="http://schemas.microsoft.com/office/drawing/2014/main" id="{42F6EFE5-3F10-4965-B03F-6B8F323175BE}"/>
                    </a:ext>
                  </a:extLst>
                </p:cNvPr>
                <p:cNvSpPr/>
                <p:nvPr/>
              </p:nvSpPr>
              <p:spPr>
                <a:xfrm>
                  <a:off x="7634890" y="2647466"/>
                  <a:ext cx="9150" cy="4126"/>
                </a:xfrm>
                <a:custGeom>
                  <a:avLst/>
                  <a:gdLst>
                    <a:gd name="connsiteX0" fmla="*/ 0 w 9150"/>
                    <a:gd name="connsiteY0" fmla="*/ 0 h 4126"/>
                    <a:gd name="connsiteX1" fmla="*/ 9151 w 9150"/>
                    <a:gd name="connsiteY1" fmla="*/ 4127 h 4126"/>
                  </a:gdLst>
                  <a:ahLst/>
                  <a:cxnLst>
                    <a:cxn ang="0">
                      <a:pos x="connsiteX0" y="connsiteY0"/>
                    </a:cxn>
                    <a:cxn ang="0">
                      <a:pos x="connsiteX1" y="connsiteY1"/>
                    </a:cxn>
                  </a:cxnLst>
                  <a:rect l="l" t="t" r="r" b="b"/>
                  <a:pathLst>
                    <a:path w="9150" h="4126">
                      <a:moveTo>
                        <a:pt x="0" y="0"/>
                      </a:moveTo>
                      <a:lnTo>
                        <a:pt x="9151" y="4127"/>
                      </a:lnTo>
                    </a:path>
                  </a:pathLst>
                </a:custGeom>
                <a:ln w="6350" cap="rnd">
                  <a:solidFill>
                    <a:schemeClr val="bg1">
                      <a:alpha val="40000"/>
                    </a:schemeClr>
                  </a:solidFill>
                  <a:prstDash val="solid"/>
                  <a:round/>
                </a:ln>
              </p:spPr>
              <p:txBody>
                <a:bodyPr rtlCol="0" anchor="ctr"/>
                <a:lstStyle/>
                <a:p>
                  <a:endParaRPr lang="en-GB"/>
                </a:p>
              </p:txBody>
            </p:sp>
            <p:sp>
              <p:nvSpPr>
                <p:cNvPr id="6175" name="Vrije vorm: vorm 6174">
                  <a:extLst>
                    <a:ext uri="{FF2B5EF4-FFF2-40B4-BE49-F238E27FC236}">
                      <a16:creationId xmlns:a16="http://schemas.microsoft.com/office/drawing/2014/main" id="{56D817C0-9942-428A-B100-05FE69338DC7}"/>
                    </a:ext>
                  </a:extLst>
                </p:cNvPr>
                <p:cNvSpPr/>
                <p:nvPr/>
              </p:nvSpPr>
              <p:spPr>
                <a:xfrm>
                  <a:off x="7616589" y="2639990"/>
                  <a:ext cx="18301" cy="7475"/>
                </a:xfrm>
                <a:custGeom>
                  <a:avLst/>
                  <a:gdLst>
                    <a:gd name="connsiteX0" fmla="*/ 18301 w 18301"/>
                    <a:gd name="connsiteY0" fmla="*/ 7476 h 7475"/>
                    <a:gd name="connsiteX1" fmla="*/ 0 w 18301"/>
                    <a:gd name="connsiteY1" fmla="*/ 0 h 7475"/>
                  </a:gdLst>
                  <a:ahLst/>
                  <a:cxnLst>
                    <a:cxn ang="0">
                      <a:pos x="connsiteX0" y="connsiteY0"/>
                    </a:cxn>
                    <a:cxn ang="0">
                      <a:pos x="connsiteX1" y="connsiteY1"/>
                    </a:cxn>
                  </a:cxnLst>
                  <a:rect l="l" t="t" r="r" b="b"/>
                  <a:pathLst>
                    <a:path w="18301" h="7475">
                      <a:moveTo>
                        <a:pt x="18301" y="747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76" name="Vrije vorm: vorm 6175">
                  <a:extLst>
                    <a:ext uri="{FF2B5EF4-FFF2-40B4-BE49-F238E27FC236}">
                      <a16:creationId xmlns:a16="http://schemas.microsoft.com/office/drawing/2014/main" id="{4F4501B9-6685-4F2C-8FAA-59A2A758B596}"/>
                    </a:ext>
                  </a:extLst>
                </p:cNvPr>
                <p:cNvSpPr/>
                <p:nvPr/>
              </p:nvSpPr>
              <p:spPr>
                <a:xfrm>
                  <a:off x="7610249" y="2809185"/>
                  <a:ext cx="3289" cy="11961"/>
                </a:xfrm>
                <a:custGeom>
                  <a:avLst/>
                  <a:gdLst>
                    <a:gd name="connsiteX0" fmla="*/ 0 w 3289"/>
                    <a:gd name="connsiteY0" fmla="*/ 11961 h 11961"/>
                    <a:gd name="connsiteX1" fmla="*/ 3290 w 3289"/>
                    <a:gd name="connsiteY1" fmla="*/ 0 h 11961"/>
                  </a:gdLst>
                  <a:ahLst/>
                  <a:cxnLst>
                    <a:cxn ang="0">
                      <a:pos x="connsiteX0" y="connsiteY0"/>
                    </a:cxn>
                    <a:cxn ang="0">
                      <a:pos x="connsiteX1" y="connsiteY1"/>
                    </a:cxn>
                  </a:cxnLst>
                  <a:rect l="l" t="t" r="r" b="b"/>
                  <a:pathLst>
                    <a:path w="3289" h="11961">
                      <a:moveTo>
                        <a:pt x="0" y="11961"/>
                      </a:moveTo>
                      <a:lnTo>
                        <a:pt x="3290" y="0"/>
                      </a:lnTo>
                    </a:path>
                  </a:pathLst>
                </a:custGeom>
                <a:ln w="6350" cap="rnd">
                  <a:solidFill>
                    <a:schemeClr val="bg1">
                      <a:alpha val="40000"/>
                    </a:schemeClr>
                  </a:solidFill>
                  <a:prstDash val="solid"/>
                  <a:round/>
                </a:ln>
              </p:spPr>
              <p:txBody>
                <a:bodyPr rtlCol="0" anchor="ctr"/>
                <a:lstStyle/>
                <a:p>
                  <a:endParaRPr lang="en-GB"/>
                </a:p>
              </p:txBody>
            </p:sp>
            <p:sp>
              <p:nvSpPr>
                <p:cNvPr id="6177" name="Vrije vorm: vorm 6176">
                  <a:extLst>
                    <a:ext uri="{FF2B5EF4-FFF2-40B4-BE49-F238E27FC236}">
                      <a16:creationId xmlns:a16="http://schemas.microsoft.com/office/drawing/2014/main" id="{BE4AD1B1-89C8-4837-B53B-8129AB7DC0EE}"/>
                    </a:ext>
                  </a:extLst>
                </p:cNvPr>
                <p:cNvSpPr/>
                <p:nvPr/>
              </p:nvSpPr>
              <p:spPr>
                <a:xfrm>
                  <a:off x="7594879" y="2821146"/>
                  <a:ext cx="15370" cy="16028"/>
                </a:xfrm>
                <a:custGeom>
                  <a:avLst/>
                  <a:gdLst>
                    <a:gd name="connsiteX0" fmla="*/ 15371 w 15370"/>
                    <a:gd name="connsiteY0" fmla="*/ 0 h 16028"/>
                    <a:gd name="connsiteX1" fmla="*/ 0 w 15370"/>
                    <a:gd name="connsiteY1" fmla="*/ 16028 h 16028"/>
                  </a:gdLst>
                  <a:ahLst/>
                  <a:cxnLst>
                    <a:cxn ang="0">
                      <a:pos x="connsiteX0" y="connsiteY0"/>
                    </a:cxn>
                    <a:cxn ang="0">
                      <a:pos x="connsiteX1" y="connsiteY1"/>
                    </a:cxn>
                  </a:cxnLst>
                  <a:rect l="l" t="t" r="r" b="b"/>
                  <a:pathLst>
                    <a:path w="15370" h="16028">
                      <a:moveTo>
                        <a:pt x="15371" y="0"/>
                      </a:moveTo>
                      <a:lnTo>
                        <a:pt x="0" y="16028"/>
                      </a:lnTo>
                    </a:path>
                  </a:pathLst>
                </a:custGeom>
                <a:ln w="6350" cap="rnd">
                  <a:solidFill>
                    <a:schemeClr val="bg1">
                      <a:alpha val="40000"/>
                    </a:schemeClr>
                  </a:solidFill>
                  <a:prstDash val="solid"/>
                  <a:round/>
                </a:ln>
              </p:spPr>
              <p:txBody>
                <a:bodyPr rtlCol="0" anchor="ctr"/>
                <a:lstStyle/>
                <a:p>
                  <a:endParaRPr lang="en-GB"/>
                </a:p>
              </p:txBody>
            </p:sp>
            <p:sp>
              <p:nvSpPr>
                <p:cNvPr id="6178" name="Vrije vorm: vorm 6177">
                  <a:extLst>
                    <a:ext uri="{FF2B5EF4-FFF2-40B4-BE49-F238E27FC236}">
                      <a16:creationId xmlns:a16="http://schemas.microsoft.com/office/drawing/2014/main" id="{4BE43D6A-F8A4-4456-85BB-892FBD16A019}"/>
                    </a:ext>
                  </a:extLst>
                </p:cNvPr>
                <p:cNvSpPr/>
                <p:nvPr/>
              </p:nvSpPr>
              <p:spPr>
                <a:xfrm>
                  <a:off x="7659112" y="2681138"/>
                  <a:ext cx="17523" cy="9389"/>
                </a:xfrm>
                <a:custGeom>
                  <a:avLst/>
                  <a:gdLst>
                    <a:gd name="connsiteX0" fmla="*/ 17523 w 17523"/>
                    <a:gd name="connsiteY0" fmla="*/ 0 h 9389"/>
                    <a:gd name="connsiteX1" fmla="*/ 0 w 17523"/>
                    <a:gd name="connsiteY1" fmla="*/ 9390 h 9389"/>
                  </a:gdLst>
                  <a:ahLst/>
                  <a:cxnLst>
                    <a:cxn ang="0">
                      <a:pos x="connsiteX0" y="connsiteY0"/>
                    </a:cxn>
                    <a:cxn ang="0">
                      <a:pos x="connsiteX1" y="connsiteY1"/>
                    </a:cxn>
                  </a:cxnLst>
                  <a:rect l="l" t="t" r="r" b="b"/>
                  <a:pathLst>
                    <a:path w="17523" h="9389">
                      <a:moveTo>
                        <a:pt x="17523" y="0"/>
                      </a:moveTo>
                      <a:lnTo>
                        <a:pt x="0" y="9390"/>
                      </a:lnTo>
                    </a:path>
                  </a:pathLst>
                </a:custGeom>
                <a:ln w="6350" cap="rnd">
                  <a:solidFill>
                    <a:schemeClr val="bg1">
                      <a:alpha val="40000"/>
                    </a:schemeClr>
                  </a:solidFill>
                  <a:prstDash val="solid"/>
                  <a:round/>
                </a:ln>
              </p:spPr>
              <p:txBody>
                <a:bodyPr rtlCol="0" anchor="ctr"/>
                <a:lstStyle/>
                <a:p>
                  <a:endParaRPr lang="en-GB"/>
                </a:p>
              </p:txBody>
            </p:sp>
            <p:sp>
              <p:nvSpPr>
                <p:cNvPr id="6179" name="Vrije vorm: vorm 6178">
                  <a:extLst>
                    <a:ext uri="{FF2B5EF4-FFF2-40B4-BE49-F238E27FC236}">
                      <a16:creationId xmlns:a16="http://schemas.microsoft.com/office/drawing/2014/main" id="{59F5618D-03CD-4CE0-A040-FCE6C50AF850}"/>
                    </a:ext>
                  </a:extLst>
                </p:cNvPr>
                <p:cNvSpPr/>
                <p:nvPr/>
              </p:nvSpPr>
              <p:spPr>
                <a:xfrm>
                  <a:off x="7642724" y="2676293"/>
                  <a:ext cx="33910" cy="4844"/>
                </a:xfrm>
                <a:custGeom>
                  <a:avLst/>
                  <a:gdLst>
                    <a:gd name="connsiteX0" fmla="*/ 33911 w 33910"/>
                    <a:gd name="connsiteY0" fmla="*/ 4844 h 4844"/>
                    <a:gd name="connsiteX1" fmla="*/ 0 w 33910"/>
                    <a:gd name="connsiteY1" fmla="*/ 0 h 4844"/>
                  </a:gdLst>
                  <a:ahLst/>
                  <a:cxnLst>
                    <a:cxn ang="0">
                      <a:pos x="connsiteX0" y="connsiteY0"/>
                    </a:cxn>
                    <a:cxn ang="0">
                      <a:pos x="connsiteX1" y="connsiteY1"/>
                    </a:cxn>
                  </a:cxnLst>
                  <a:rect l="l" t="t" r="r" b="b"/>
                  <a:pathLst>
                    <a:path w="33910" h="4844">
                      <a:moveTo>
                        <a:pt x="33911" y="484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80" name="Vrije vorm: vorm 6179">
                  <a:extLst>
                    <a:ext uri="{FF2B5EF4-FFF2-40B4-BE49-F238E27FC236}">
                      <a16:creationId xmlns:a16="http://schemas.microsoft.com/office/drawing/2014/main" id="{7AE3A8C1-BD15-4ADE-8DB1-E80851533C16}"/>
                    </a:ext>
                  </a:extLst>
                </p:cNvPr>
                <p:cNvSpPr/>
                <p:nvPr/>
              </p:nvSpPr>
              <p:spPr>
                <a:xfrm>
                  <a:off x="7656301" y="2667561"/>
                  <a:ext cx="20334" cy="13576"/>
                </a:xfrm>
                <a:custGeom>
                  <a:avLst/>
                  <a:gdLst>
                    <a:gd name="connsiteX0" fmla="*/ 20334 w 20334"/>
                    <a:gd name="connsiteY0" fmla="*/ 13576 h 13576"/>
                    <a:gd name="connsiteX1" fmla="*/ 0 w 20334"/>
                    <a:gd name="connsiteY1" fmla="*/ 0 h 13576"/>
                  </a:gdLst>
                  <a:ahLst/>
                  <a:cxnLst>
                    <a:cxn ang="0">
                      <a:pos x="connsiteX0" y="connsiteY0"/>
                    </a:cxn>
                    <a:cxn ang="0">
                      <a:pos x="connsiteX1" y="connsiteY1"/>
                    </a:cxn>
                  </a:cxnLst>
                  <a:rect l="l" t="t" r="r" b="b"/>
                  <a:pathLst>
                    <a:path w="20334" h="13576">
                      <a:moveTo>
                        <a:pt x="20334" y="13576"/>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81" name="Vrije vorm: vorm 6180">
                  <a:extLst>
                    <a:ext uri="{FF2B5EF4-FFF2-40B4-BE49-F238E27FC236}">
                      <a16:creationId xmlns:a16="http://schemas.microsoft.com/office/drawing/2014/main" id="{7BFED14C-5680-418D-8639-15A577151D76}"/>
                    </a:ext>
                  </a:extLst>
                </p:cNvPr>
                <p:cNvSpPr/>
                <p:nvPr/>
              </p:nvSpPr>
              <p:spPr>
                <a:xfrm>
                  <a:off x="7676635" y="2681138"/>
                  <a:ext cx="4066" cy="13277"/>
                </a:xfrm>
                <a:custGeom>
                  <a:avLst/>
                  <a:gdLst>
                    <a:gd name="connsiteX0" fmla="*/ 0 w 4066"/>
                    <a:gd name="connsiteY0" fmla="*/ 0 h 13277"/>
                    <a:gd name="connsiteX1" fmla="*/ 4067 w 4066"/>
                    <a:gd name="connsiteY1" fmla="*/ 13277 h 13277"/>
                  </a:gdLst>
                  <a:ahLst/>
                  <a:cxnLst>
                    <a:cxn ang="0">
                      <a:pos x="connsiteX0" y="connsiteY0"/>
                    </a:cxn>
                    <a:cxn ang="0">
                      <a:pos x="connsiteX1" y="connsiteY1"/>
                    </a:cxn>
                  </a:cxnLst>
                  <a:rect l="l" t="t" r="r" b="b"/>
                  <a:pathLst>
                    <a:path w="4066" h="13277">
                      <a:moveTo>
                        <a:pt x="0" y="0"/>
                      </a:moveTo>
                      <a:lnTo>
                        <a:pt x="4067" y="13277"/>
                      </a:lnTo>
                    </a:path>
                  </a:pathLst>
                </a:custGeom>
                <a:ln w="6350" cap="rnd">
                  <a:solidFill>
                    <a:schemeClr val="bg1">
                      <a:alpha val="40000"/>
                    </a:schemeClr>
                  </a:solidFill>
                  <a:prstDash val="solid"/>
                  <a:round/>
                </a:ln>
              </p:spPr>
              <p:txBody>
                <a:bodyPr rtlCol="0" anchor="ctr"/>
                <a:lstStyle/>
                <a:p>
                  <a:endParaRPr lang="en-GB"/>
                </a:p>
              </p:txBody>
            </p:sp>
            <p:sp>
              <p:nvSpPr>
                <p:cNvPr id="6182" name="Vrije vorm: vorm 6181">
                  <a:extLst>
                    <a:ext uri="{FF2B5EF4-FFF2-40B4-BE49-F238E27FC236}">
                      <a16:creationId xmlns:a16="http://schemas.microsoft.com/office/drawing/2014/main" id="{08BE5C42-3839-4975-B18E-152403DBF68C}"/>
                    </a:ext>
                  </a:extLst>
                </p:cNvPr>
                <p:cNvSpPr/>
                <p:nvPr/>
              </p:nvSpPr>
              <p:spPr>
                <a:xfrm>
                  <a:off x="7613538" y="2809185"/>
                  <a:ext cx="9270" cy="5920"/>
                </a:xfrm>
                <a:custGeom>
                  <a:avLst/>
                  <a:gdLst>
                    <a:gd name="connsiteX0" fmla="*/ 9270 w 9270"/>
                    <a:gd name="connsiteY0" fmla="*/ 5921 h 5920"/>
                    <a:gd name="connsiteX1" fmla="*/ 0 w 9270"/>
                    <a:gd name="connsiteY1" fmla="*/ 0 h 5920"/>
                  </a:gdLst>
                  <a:ahLst/>
                  <a:cxnLst>
                    <a:cxn ang="0">
                      <a:pos x="connsiteX0" y="connsiteY0"/>
                    </a:cxn>
                    <a:cxn ang="0">
                      <a:pos x="connsiteX1" y="connsiteY1"/>
                    </a:cxn>
                  </a:cxnLst>
                  <a:rect l="l" t="t" r="r" b="b"/>
                  <a:pathLst>
                    <a:path w="9270" h="5920">
                      <a:moveTo>
                        <a:pt x="9270" y="592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83" name="Vrije vorm: vorm 6182">
                  <a:extLst>
                    <a:ext uri="{FF2B5EF4-FFF2-40B4-BE49-F238E27FC236}">
                      <a16:creationId xmlns:a16="http://schemas.microsoft.com/office/drawing/2014/main" id="{EE159131-549F-407C-917C-F1C43F04AD90}"/>
                    </a:ext>
                  </a:extLst>
                </p:cNvPr>
                <p:cNvSpPr/>
                <p:nvPr/>
              </p:nvSpPr>
              <p:spPr>
                <a:xfrm>
                  <a:off x="7622809" y="2803204"/>
                  <a:ext cx="36243" cy="11901"/>
                </a:xfrm>
                <a:custGeom>
                  <a:avLst/>
                  <a:gdLst>
                    <a:gd name="connsiteX0" fmla="*/ 0 w 36243"/>
                    <a:gd name="connsiteY0" fmla="*/ 11902 h 11901"/>
                    <a:gd name="connsiteX1" fmla="*/ 36243 w 36243"/>
                    <a:gd name="connsiteY1" fmla="*/ 0 h 11901"/>
                  </a:gdLst>
                  <a:ahLst/>
                  <a:cxnLst>
                    <a:cxn ang="0">
                      <a:pos x="connsiteX0" y="connsiteY0"/>
                    </a:cxn>
                    <a:cxn ang="0">
                      <a:pos x="connsiteX1" y="connsiteY1"/>
                    </a:cxn>
                  </a:cxnLst>
                  <a:rect l="l" t="t" r="r" b="b"/>
                  <a:pathLst>
                    <a:path w="36243" h="11901">
                      <a:moveTo>
                        <a:pt x="0" y="11902"/>
                      </a:moveTo>
                      <a:lnTo>
                        <a:pt x="36243" y="0"/>
                      </a:lnTo>
                    </a:path>
                  </a:pathLst>
                </a:custGeom>
                <a:ln w="6350" cap="rnd">
                  <a:solidFill>
                    <a:schemeClr val="bg1">
                      <a:alpha val="40000"/>
                    </a:schemeClr>
                  </a:solidFill>
                  <a:prstDash val="solid"/>
                  <a:round/>
                </a:ln>
              </p:spPr>
              <p:txBody>
                <a:bodyPr rtlCol="0" anchor="ctr"/>
                <a:lstStyle/>
                <a:p>
                  <a:endParaRPr lang="en-GB"/>
                </a:p>
              </p:txBody>
            </p:sp>
            <p:sp>
              <p:nvSpPr>
                <p:cNvPr id="6184" name="Vrije vorm: vorm 6183">
                  <a:extLst>
                    <a:ext uri="{FF2B5EF4-FFF2-40B4-BE49-F238E27FC236}">
                      <a16:creationId xmlns:a16="http://schemas.microsoft.com/office/drawing/2014/main" id="{78C68CA5-482D-4EBE-B8D0-FD5DD8145CB9}"/>
                    </a:ext>
                  </a:extLst>
                </p:cNvPr>
                <p:cNvSpPr/>
                <p:nvPr/>
              </p:nvSpPr>
              <p:spPr>
                <a:xfrm>
                  <a:off x="7619400" y="2815106"/>
                  <a:ext cx="3409" cy="6758"/>
                </a:xfrm>
                <a:custGeom>
                  <a:avLst/>
                  <a:gdLst>
                    <a:gd name="connsiteX0" fmla="*/ 3409 w 3409"/>
                    <a:gd name="connsiteY0" fmla="*/ 0 h 6758"/>
                    <a:gd name="connsiteX1" fmla="*/ 0 w 3409"/>
                    <a:gd name="connsiteY1" fmla="*/ 6758 h 6758"/>
                  </a:gdLst>
                  <a:ahLst/>
                  <a:cxnLst>
                    <a:cxn ang="0">
                      <a:pos x="connsiteX0" y="connsiteY0"/>
                    </a:cxn>
                    <a:cxn ang="0">
                      <a:pos x="connsiteX1" y="connsiteY1"/>
                    </a:cxn>
                  </a:cxnLst>
                  <a:rect l="l" t="t" r="r" b="b"/>
                  <a:pathLst>
                    <a:path w="3409" h="6758">
                      <a:moveTo>
                        <a:pt x="3409" y="0"/>
                      </a:moveTo>
                      <a:lnTo>
                        <a:pt x="0" y="6758"/>
                      </a:lnTo>
                    </a:path>
                  </a:pathLst>
                </a:custGeom>
                <a:ln w="6350" cap="rnd">
                  <a:solidFill>
                    <a:schemeClr val="bg1">
                      <a:alpha val="40000"/>
                    </a:schemeClr>
                  </a:solidFill>
                  <a:prstDash val="solid"/>
                  <a:round/>
                </a:ln>
              </p:spPr>
              <p:txBody>
                <a:bodyPr rtlCol="0" anchor="ctr"/>
                <a:lstStyle/>
                <a:p>
                  <a:endParaRPr lang="en-GB"/>
                </a:p>
              </p:txBody>
            </p:sp>
            <p:sp>
              <p:nvSpPr>
                <p:cNvPr id="6185" name="Vrije vorm: vorm 6184">
                  <a:extLst>
                    <a:ext uri="{FF2B5EF4-FFF2-40B4-BE49-F238E27FC236}">
                      <a16:creationId xmlns:a16="http://schemas.microsoft.com/office/drawing/2014/main" id="{374F5033-3507-47BA-B249-7328F8692786}"/>
                    </a:ext>
                  </a:extLst>
                </p:cNvPr>
                <p:cNvSpPr/>
                <p:nvPr/>
              </p:nvSpPr>
              <p:spPr>
                <a:xfrm>
                  <a:off x="7686742" y="2722584"/>
                  <a:ext cx="8971" cy="27989"/>
                </a:xfrm>
                <a:custGeom>
                  <a:avLst/>
                  <a:gdLst>
                    <a:gd name="connsiteX0" fmla="*/ 0 w 8971"/>
                    <a:gd name="connsiteY0" fmla="*/ 27990 h 27989"/>
                    <a:gd name="connsiteX1" fmla="*/ 8971 w 8971"/>
                    <a:gd name="connsiteY1" fmla="*/ 0 h 27989"/>
                  </a:gdLst>
                  <a:ahLst/>
                  <a:cxnLst>
                    <a:cxn ang="0">
                      <a:pos x="connsiteX0" y="connsiteY0"/>
                    </a:cxn>
                    <a:cxn ang="0">
                      <a:pos x="connsiteX1" y="connsiteY1"/>
                    </a:cxn>
                  </a:cxnLst>
                  <a:rect l="l" t="t" r="r" b="b"/>
                  <a:pathLst>
                    <a:path w="8971" h="27989">
                      <a:moveTo>
                        <a:pt x="0" y="27990"/>
                      </a:moveTo>
                      <a:lnTo>
                        <a:pt x="8971" y="0"/>
                      </a:lnTo>
                    </a:path>
                  </a:pathLst>
                </a:custGeom>
                <a:ln w="6350" cap="rnd">
                  <a:solidFill>
                    <a:schemeClr val="bg1">
                      <a:alpha val="40000"/>
                    </a:schemeClr>
                  </a:solidFill>
                  <a:prstDash val="solid"/>
                  <a:round/>
                </a:ln>
              </p:spPr>
              <p:txBody>
                <a:bodyPr rtlCol="0" anchor="ctr"/>
                <a:lstStyle/>
                <a:p>
                  <a:endParaRPr lang="en-GB"/>
                </a:p>
              </p:txBody>
            </p:sp>
            <p:sp>
              <p:nvSpPr>
                <p:cNvPr id="6186" name="Vrije vorm: vorm 6185">
                  <a:extLst>
                    <a:ext uri="{FF2B5EF4-FFF2-40B4-BE49-F238E27FC236}">
                      <a16:creationId xmlns:a16="http://schemas.microsoft.com/office/drawing/2014/main" id="{15ABEDD2-E93C-48B3-8DA3-C1F12B416E16}"/>
                    </a:ext>
                  </a:extLst>
                </p:cNvPr>
                <p:cNvSpPr/>
                <p:nvPr/>
              </p:nvSpPr>
              <p:spPr>
                <a:xfrm>
                  <a:off x="7679027" y="2735203"/>
                  <a:ext cx="7715" cy="15370"/>
                </a:xfrm>
                <a:custGeom>
                  <a:avLst/>
                  <a:gdLst>
                    <a:gd name="connsiteX0" fmla="*/ 7715 w 7715"/>
                    <a:gd name="connsiteY0" fmla="*/ 15371 h 15370"/>
                    <a:gd name="connsiteX1" fmla="*/ 0 w 7715"/>
                    <a:gd name="connsiteY1" fmla="*/ 0 h 15370"/>
                  </a:gdLst>
                  <a:ahLst/>
                  <a:cxnLst>
                    <a:cxn ang="0">
                      <a:pos x="connsiteX0" y="connsiteY0"/>
                    </a:cxn>
                    <a:cxn ang="0">
                      <a:pos x="connsiteX1" y="connsiteY1"/>
                    </a:cxn>
                  </a:cxnLst>
                  <a:rect l="l" t="t" r="r" b="b"/>
                  <a:pathLst>
                    <a:path w="7715" h="15370">
                      <a:moveTo>
                        <a:pt x="7715" y="1537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87" name="Vrije vorm: vorm 6186">
                  <a:extLst>
                    <a:ext uri="{FF2B5EF4-FFF2-40B4-BE49-F238E27FC236}">
                      <a16:creationId xmlns:a16="http://schemas.microsoft.com/office/drawing/2014/main" id="{12A57DCD-87BD-460C-95A0-A7343C632449}"/>
                    </a:ext>
                  </a:extLst>
                </p:cNvPr>
                <p:cNvSpPr/>
                <p:nvPr/>
              </p:nvSpPr>
              <p:spPr>
                <a:xfrm>
                  <a:off x="7681539" y="2750574"/>
                  <a:ext cx="5203" cy="20035"/>
                </a:xfrm>
                <a:custGeom>
                  <a:avLst/>
                  <a:gdLst>
                    <a:gd name="connsiteX0" fmla="*/ 5204 w 5203"/>
                    <a:gd name="connsiteY0" fmla="*/ 0 h 20035"/>
                    <a:gd name="connsiteX1" fmla="*/ 0 w 5203"/>
                    <a:gd name="connsiteY1" fmla="*/ 20035 h 20035"/>
                  </a:gdLst>
                  <a:ahLst/>
                  <a:cxnLst>
                    <a:cxn ang="0">
                      <a:pos x="connsiteX0" y="connsiteY0"/>
                    </a:cxn>
                    <a:cxn ang="0">
                      <a:pos x="connsiteX1" y="connsiteY1"/>
                    </a:cxn>
                  </a:cxnLst>
                  <a:rect l="l" t="t" r="r" b="b"/>
                  <a:pathLst>
                    <a:path w="5203" h="20035">
                      <a:moveTo>
                        <a:pt x="5204" y="0"/>
                      </a:moveTo>
                      <a:lnTo>
                        <a:pt x="0" y="20035"/>
                      </a:lnTo>
                    </a:path>
                  </a:pathLst>
                </a:custGeom>
                <a:ln w="6350" cap="rnd">
                  <a:solidFill>
                    <a:schemeClr val="bg1">
                      <a:alpha val="40000"/>
                    </a:schemeClr>
                  </a:solidFill>
                  <a:prstDash val="solid"/>
                  <a:round/>
                </a:ln>
              </p:spPr>
              <p:txBody>
                <a:bodyPr rtlCol="0" anchor="ctr"/>
                <a:lstStyle/>
                <a:p>
                  <a:endParaRPr lang="en-GB"/>
                </a:p>
              </p:txBody>
            </p:sp>
            <p:sp>
              <p:nvSpPr>
                <p:cNvPr id="6188" name="Vrije vorm: vorm 6187">
                  <a:extLst>
                    <a:ext uri="{FF2B5EF4-FFF2-40B4-BE49-F238E27FC236}">
                      <a16:creationId xmlns:a16="http://schemas.microsoft.com/office/drawing/2014/main" id="{583E012D-870C-4AB2-BBDA-7D7068E5A750}"/>
                    </a:ext>
                  </a:extLst>
                </p:cNvPr>
                <p:cNvSpPr/>
                <p:nvPr/>
              </p:nvSpPr>
              <p:spPr>
                <a:xfrm>
                  <a:off x="7577295" y="2659009"/>
                  <a:ext cx="5801" cy="9329"/>
                </a:xfrm>
                <a:custGeom>
                  <a:avLst/>
                  <a:gdLst>
                    <a:gd name="connsiteX0" fmla="*/ 0 w 5801"/>
                    <a:gd name="connsiteY0" fmla="*/ 9330 h 9329"/>
                    <a:gd name="connsiteX1" fmla="*/ 5801 w 5801"/>
                    <a:gd name="connsiteY1" fmla="*/ 0 h 9329"/>
                  </a:gdLst>
                  <a:ahLst/>
                  <a:cxnLst>
                    <a:cxn ang="0">
                      <a:pos x="connsiteX0" y="connsiteY0"/>
                    </a:cxn>
                    <a:cxn ang="0">
                      <a:pos x="connsiteX1" y="connsiteY1"/>
                    </a:cxn>
                  </a:cxnLst>
                  <a:rect l="l" t="t" r="r" b="b"/>
                  <a:pathLst>
                    <a:path w="5801" h="9329">
                      <a:moveTo>
                        <a:pt x="0" y="9330"/>
                      </a:moveTo>
                      <a:lnTo>
                        <a:pt x="5801" y="0"/>
                      </a:lnTo>
                    </a:path>
                  </a:pathLst>
                </a:custGeom>
                <a:ln w="6350" cap="rnd">
                  <a:solidFill>
                    <a:schemeClr val="bg1">
                      <a:alpha val="40000"/>
                    </a:schemeClr>
                  </a:solidFill>
                  <a:prstDash val="solid"/>
                  <a:round/>
                </a:ln>
              </p:spPr>
              <p:txBody>
                <a:bodyPr rtlCol="0" anchor="ctr"/>
                <a:lstStyle/>
                <a:p>
                  <a:endParaRPr lang="en-GB"/>
                </a:p>
              </p:txBody>
            </p:sp>
            <p:sp>
              <p:nvSpPr>
                <p:cNvPr id="6189" name="Vrije vorm: vorm 6188">
                  <a:extLst>
                    <a:ext uri="{FF2B5EF4-FFF2-40B4-BE49-F238E27FC236}">
                      <a16:creationId xmlns:a16="http://schemas.microsoft.com/office/drawing/2014/main" id="{02C170A5-C200-4458-B80D-A74F18858BCF}"/>
                    </a:ext>
                  </a:extLst>
                </p:cNvPr>
                <p:cNvSpPr/>
                <p:nvPr/>
              </p:nvSpPr>
              <p:spPr>
                <a:xfrm>
                  <a:off x="7649004" y="2801231"/>
                  <a:ext cx="10047" cy="1973"/>
                </a:xfrm>
                <a:custGeom>
                  <a:avLst/>
                  <a:gdLst>
                    <a:gd name="connsiteX0" fmla="*/ 0 w 10047"/>
                    <a:gd name="connsiteY0" fmla="*/ 0 h 1973"/>
                    <a:gd name="connsiteX1" fmla="*/ 10048 w 10047"/>
                    <a:gd name="connsiteY1" fmla="*/ 1974 h 1973"/>
                  </a:gdLst>
                  <a:ahLst/>
                  <a:cxnLst>
                    <a:cxn ang="0">
                      <a:pos x="connsiteX0" y="connsiteY0"/>
                    </a:cxn>
                    <a:cxn ang="0">
                      <a:pos x="connsiteX1" y="connsiteY1"/>
                    </a:cxn>
                  </a:cxnLst>
                  <a:rect l="l" t="t" r="r" b="b"/>
                  <a:pathLst>
                    <a:path w="10047" h="1973">
                      <a:moveTo>
                        <a:pt x="0" y="0"/>
                      </a:moveTo>
                      <a:lnTo>
                        <a:pt x="10048" y="1974"/>
                      </a:lnTo>
                    </a:path>
                  </a:pathLst>
                </a:custGeom>
                <a:ln w="6350" cap="rnd">
                  <a:solidFill>
                    <a:schemeClr val="bg1">
                      <a:alpha val="40000"/>
                    </a:schemeClr>
                  </a:solidFill>
                  <a:prstDash val="solid"/>
                  <a:round/>
                </a:ln>
              </p:spPr>
              <p:txBody>
                <a:bodyPr rtlCol="0" anchor="ctr"/>
                <a:lstStyle/>
                <a:p>
                  <a:endParaRPr lang="en-GB"/>
                </a:p>
              </p:txBody>
            </p:sp>
            <p:sp>
              <p:nvSpPr>
                <p:cNvPr id="6190" name="Vrije vorm: vorm 6189">
                  <a:extLst>
                    <a:ext uri="{FF2B5EF4-FFF2-40B4-BE49-F238E27FC236}">
                      <a16:creationId xmlns:a16="http://schemas.microsoft.com/office/drawing/2014/main" id="{8B55686B-B1F6-4781-9622-7AE24F425C71}"/>
                    </a:ext>
                  </a:extLst>
                </p:cNvPr>
                <p:cNvSpPr/>
                <p:nvPr/>
              </p:nvSpPr>
              <p:spPr>
                <a:xfrm>
                  <a:off x="7622809" y="2801231"/>
                  <a:ext cx="26195" cy="13875"/>
                </a:xfrm>
                <a:custGeom>
                  <a:avLst/>
                  <a:gdLst>
                    <a:gd name="connsiteX0" fmla="*/ 26196 w 26195"/>
                    <a:gd name="connsiteY0" fmla="*/ 0 h 13875"/>
                    <a:gd name="connsiteX1" fmla="*/ 0 w 26195"/>
                    <a:gd name="connsiteY1" fmla="*/ 13875 h 13875"/>
                  </a:gdLst>
                  <a:ahLst/>
                  <a:cxnLst>
                    <a:cxn ang="0">
                      <a:pos x="connsiteX0" y="connsiteY0"/>
                    </a:cxn>
                    <a:cxn ang="0">
                      <a:pos x="connsiteX1" y="connsiteY1"/>
                    </a:cxn>
                  </a:cxnLst>
                  <a:rect l="l" t="t" r="r" b="b"/>
                  <a:pathLst>
                    <a:path w="26195" h="13875">
                      <a:moveTo>
                        <a:pt x="26196" y="0"/>
                      </a:moveTo>
                      <a:lnTo>
                        <a:pt x="0" y="13875"/>
                      </a:lnTo>
                    </a:path>
                  </a:pathLst>
                </a:custGeom>
                <a:ln w="6350" cap="rnd">
                  <a:solidFill>
                    <a:schemeClr val="bg1">
                      <a:alpha val="40000"/>
                    </a:schemeClr>
                  </a:solidFill>
                  <a:prstDash val="solid"/>
                  <a:round/>
                </a:ln>
              </p:spPr>
              <p:txBody>
                <a:bodyPr rtlCol="0" anchor="ctr"/>
                <a:lstStyle/>
                <a:p>
                  <a:endParaRPr lang="en-GB"/>
                </a:p>
              </p:txBody>
            </p:sp>
            <p:sp>
              <p:nvSpPr>
                <p:cNvPr id="6191" name="Vrije vorm: vorm 6190">
                  <a:extLst>
                    <a:ext uri="{FF2B5EF4-FFF2-40B4-BE49-F238E27FC236}">
                      <a16:creationId xmlns:a16="http://schemas.microsoft.com/office/drawing/2014/main" id="{C642D86F-5F35-4326-9A99-FFF09285682C}"/>
                    </a:ext>
                  </a:extLst>
                </p:cNvPr>
                <p:cNvSpPr/>
                <p:nvPr/>
              </p:nvSpPr>
              <p:spPr>
                <a:xfrm>
                  <a:off x="7649363" y="2756734"/>
                  <a:ext cx="23743" cy="12260"/>
                </a:xfrm>
                <a:custGeom>
                  <a:avLst/>
                  <a:gdLst>
                    <a:gd name="connsiteX0" fmla="*/ 23744 w 23743"/>
                    <a:gd name="connsiteY0" fmla="*/ 12260 h 12260"/>
                    <a:gd name="connsiteX1" fmla="*/ 0 w 23743"/>
                    <a:gd name="connsiteY1" fmla="*/ 0 h 12260"/>
                  </a:gdLst>
                  <a:ahLst/>
                  <a:cxnLst>
                    <a:cxn ang="0">
                      <a:pos x="connsiteX0" y="connsiteY0"/>
                    </a:cxn>
                    <a:cxn ang="0">
                      <a:pos x="connsiteX1" y="connsiteY1"/>
                    </a:cxn>
                  </a:cxnLst>
                  <a:rect l="l" t="t" r="r" b="b"/>
                  <a:pathLst>
                    <a:path w="23743" h="12260">
                      <a:moveTo>
                        <a:pt x="23744" y="1226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192" name="Vrije vorm: vorm 6191">
                  <a:extLst>
                    <a:ext uri="{FF2B5EF4-FFF2-40B4-BE49-F238E27FC236}">
                      <a16:creationId xmlns:a16="http://schemas.microsoft.com/office/drawing/2014/main" id="{47049A09-BEE3-491F-A246-9959E2FDE499}"/>
                    </a:ext>
                  </a:extLst>
                </p:cNvPr>
                <p:cNvSpPr/>
                <p:nvPr/>
              </p:nvSpPr>
              <p:spPr>
                <a:xfrm>
                  <a:off x="7673106" y="2768995"/>
                  <a:ext cx="8432" cy="1614"/>
                </a:xfrm>
                <a:custGeom>
                  <a:avLst/>
                  <a:gdLst>
                    <a:gd name="connsiteX0" fmla="*/ 0 w 8432"/>
                    <a:gd name="connsiteY0" fmla="*/ 0 h 1614"/>
                    <a:gd name="connsiteX1" fmla="*/ 8433 w 8432"/>
                    <a:gd name="connsiteY1" fmla="*/ 1615 h 1614"/>
                  </a:gdLst>
                  <a:ahLst/>
                  <a:cxnLst>
                    <a:cxn ang="0">
                      <a:pos x="connsiteX0" y="connsiteY0"/>
                    </a:cxn>
                    <a:cxn ang="0">
                      <a:pos x="connsiteX1" y="connsiteY1"/>
                    </a:cxn>
                  </a:cxnLst>
                  <a:rect l="l" t="t" r="r" b="b"/>
                  <a:pathLst>
                    <a:path w="8432" h="1614">
                      <a:moveTo>
                        <a:pt x="0" y="0"/>
                      </a:moveTo>
                      <a:lnTo>
                        <a:pt x="8433" y="1615"/>
                      </a:lnTo>
                    </a:path>
                  </a:pathLst>
                </a:custGeom>
                <a:ln w="6350" cap="rnd">
                  <a:solidFill>
                    <a:schemeClr val="bg1">
                      <a:alpha val="40000"/>
                    </a:schemeClr>
                  </a:solidFill>
                  <a:prstDash val="solid"/>
                  <a:round/>
                </a:ln>
              </p:spPr>
              <p:txBody>
                <a:bodyPr rtlCol="0" anchor="ctr"/>
                <a:lstStyle/>
                <a:p>
                  <a:endParaRPr lang="en-GB"/>
                </a:p>
              </p:txBody>
            </p:sp>
            <p:sp>
              <p:nvSpPr>
                <p:cNvPr id="6193" name="Vrije vorm: vorm 6192">
                  <a:extLst>
                    <a:ext uri="{FF2B5EF4-FFF2-40B4-BE49-F238E27FC236}">
                      <a16:creationId xmlns:a16="http://schemas.microsoft.com/office/drawing/2014/main" id="{77B53350-C0A0-49C5-B605-F7E145E7D424}"/>
                    </a:ext>
                  </a:extLst>
                </p:cNvPr>
                <p:cNvSpPr/>
                <p:nvPr/>
              </p:nvSpPr>
              <p:spPr>
                <a:xfrm>
                  <a:off x="7671910" y="2768995"/>
                  <a:ext cx="1196" cy="13277"/>
                </a:xfrm>
                <a:custGeom>
                  <a:avLst/>
                  <a:gdLst>
                    <a:gd name="connsiteX0" fmla="*/ 1196 w 1196"/>
                    <a:gd name="connsiteY0" fmla="*/ 0 h 13277"/>
                    <a:gd name="connsiteX1" fmla="*/ 0 w 1196"/>
                    <a:gd name="connsiteY1" fmla="*/ 13277 h 13277"/>
                  </a:gdLst>
                  <a:ahLst/>
                  <a:cxnLst>
                    <a:cxn ang="0">
                      <a:pos x="connsiteX0" y="connsiteY0"/>
                    </a:cxn>
                    <a:cxn ang="0">
                      <a:pos x="connsiteX1" y="connsiteY1"/>
                    </a:cxn>
                  </a:cxnLst>
                  <a:rect l="l" t="t" r="r" b="b"/>
                  <a:pathLst>
                    <a:path w="1196" h="13277">
                      <a:moveTo>
                        <a:pt x="1196" y="0"/>
                      </a:moveTo>
                      <a:lnTo>
                        <a:pt x="0" y="13277"/>
                      </a:lnTo>
                    </a:path>
                  </a:pathLst>
                </a:custGeom>
                <a:ln w="6350" cap="rnd">
                  <a:solidFill>
                    <a:schemeClr val="bg1">
                      <a:alpha val="40000"/>
                    </a:schemeClr>
                  </a:solidFill>
                  <a:prstDash val="solid"/>
                  <a:round/>
                </a:ln>
              </p:spPr>
              <p:txBody>
                <a:bodyPr rtlCol="0" anchor="ctr"/>
                <a:lstStyle/>
                <a:p>
                  <a:endParaRPr lang="en-GB"/>
                </a:p>
              </p:txBody>
            </p:sp>
            <p:sp>
              <p:nvSpPr>
                <p:cNvPr id="6194" name="Vrije vorm: vorm 6193">
                  <a:extLst>
                    <a:ext uri="{FF2B5EF4-FFF2-40B4-BE49-F238E27FC236}">
                      <a16:creationId xmlns:a16="http://schemas.microsoft.com/office/drawing/2014/main" id="{5906DB2C-98D9-4DAA-9C15-6DA0F2E54592}"/>
                    </a:ext>
                  </a:extLst>
                </p:cNvPr>
                <p:cNvSpPr/>
                <p:nvPr/>
              </p:nvSpPr>
              <p:spPr>
                <a:xfrm>
                  <a:off x="7648705" y="2768995"/>
                  <a:ext cx="24401" cy="8313"/>
                </a:xfrm>
                <a:custGeom>
                  <a:avLst/>
                  <a:gdLst>
                    <a:gd name="connsiteX0" fmla="*/ 24401 w 24401"/>
                    <a:gd name="connsiteY0" fmla="*/ 0 h 8313"/>
                    <a:gd name="connsiteX1" fmla="*/ 0 w 24401"/>
                    <a:gd name="connsiteY1" fmla="*/ 8313 h 8313"/>
                  </a:gdLst>
                  <a:ahLst/>
                  <a:cxnLst>
                    <a:cxn ang="0">
                      <a:pos x="connsiteX0" y="connsiteY0"/>
                    </a:cxn>
                    <a:cxn ang="0">
                      <a:pos x="connsiteX1" y="connsiteY1"/>
                    </a:cxn>
                  </a:cxnLst>
                  <a:rect l="l" t="t" r="r" b="b"/>
                  <a:pathLst>
                    <a:path w="24401" h="8313">
                      <a:moveTo>
                        <a:pt x="24401" y="0"/>
                      </a:moveTo>
                      <a:lnTo>
                        <a:pt x="0" y="8313"/>
                      </a:lnTo>
                    </a:path>
                  </a:pathLst>
                </a:custGeom>
                <a:ln w="6350" cap="rnd">
                  <a:solidFill>
                    <a:schemeClr val="bg1">
                      <a:alpha val="40000"/>
                    </a:schemeClr>
                  </a:solidFill>
                  <a:prstDash val="solid"/>
                  <a:round/>
                </a:ln>
              </p:spPr>
              <p:txBody>
                <a:bodyPr rtlCol="0" anchor="ctr"/>
                <a:lstStyle/>
                <a:p>
                  <a:endParaRPr lang="en-GB"/>
                </a:p>
              </p:txBody>
            </p:sp>
            <p:sp>
              <p:nvSpPr>
                <p:cNvPr id="6195" name="Vrije vorm: vorm 6194">
                  <a:extLst>
                    <a:ext uri="{FF2B5EF4-FFF2-40B4-BE49-F238E27FC236}">
                      <a16:creationId xmlns:a16="http://schemas.microsoft.com/office/drawing/2014/main" id="{4CDFE436-F115-4B33-8E9B-5F55F18B8DD3}"/>
                    </a:ext>
                  </a:extLst>
                </p:cNvPr>
                <p:cNvSpPr/>
                <p:nvPr/>
              </p:nvSpPr>
              <p:spPr>
                <a:xfrm>
                  <a:off x="7673106" y="2750574"/>
                  <a:ext cx="13636" cy="18420"/>
                </a:xfrm>
                <a:custGeom>
                  <a:avLst/>
                  <a:gdLst>
                    <a:gd name="connsiteX0" fmla="*/ 0 w 13636"/>
                    <a:gd name="connsiteY0" fmla="*/ 18421 h 18420"/>
                    <a:gd name="connsiteX1" fmla="*/ 13636 w 13636"/>
                    <a:gd name="connsiteY1" fmla="*/ 0 h 18420"/>
                  </a:gdLst>
                  <a:ahLst/>
                  <a:cxnLst>
                    <a:cxn ang="0">
                      <a:pos x="connsiteX0" y="connsiteY0"/>
                    </a:cxn>
                    <a:cxn ang="0">
                      <a:pos x="connsiteX1" y="connsiteY1"/>
                    </a:cxn>
                  </a:cxnLst>
                  <a:rect l="l" t="t" r="r" b="b"/>
                  <a:pathLst>
                    <a:path w="13636" h="18420">
                      <a:moveTo>
                        <a:pt x="0" y="18421"/>
                      </a:moveTo>
                      <a:lnTo>
                        <a:pt x="13636" y="0"/>
                      </a:lnTo>
                    </a:path>
                  </a:pathLst>
                </a:custGeom>
                <a:ln w="6350" cap="rnd">
                  <a:solidFill>
                    <a:schemeClr val="bg1">
                      <a:alpha val="40000"/>
                    </a:schemeClr>
                  </a:solidFill>
                  <a:prstDash val="solid"/>
                  <a:round/>
                </a:ln>
              </p:spPr>
              <p:txBody>
                <a:bodyPr rtlCol="0" anchor="ctr"/>
                <a:lstStyle/>
                <a:p>
                  <a:endParaRPr lang="en-GB"/>
                </a:p>
              </p:txBody>
            </p:sp>
            <p:sp>
              <p:nvSpPr>
                <p:cNvPr id="6196" name="Vrije vorm: vorm 6195">
                  <a:extLst>
                    <a:ext uri="{FF2B5EF4-FFF2-40B4-BE49-F238E27FC236}">
                      <a16:creationId xmlns:a16="http://schemas.microsoft.com/office/drawing/2014/main" id="{6FCDF614-2B54-48B1-83F1-471FBC3BAAB2}"/>
                    </a:ext>
                  </a:extLst>
                </p:cNvPr>
                <p:cNvSpPr/>
                <p:nvPr/>
              </p:nvSpPr>
              <p:spPr>
                <a:xfrm>
                  <a:off x="7720115" y="2795070"/>
                  <a:ext cx="8014" cy="4844"/>
                </a:xfrm>
                <a:custGeom>
                  <a:avLst/>
                  <a:gdLst>
                    <a:gd name="connsiteX0" fmla="*/ 0 w 8014"/>
                    <a:gd name="connsiteY0" fmla="*/ 0 h 4844"/>
                    <a:gd name="connsiteX1" fmla="*/ 8014 w 8014"/>
                    <a:gd name="connsiteY1" fmla="*/ 4844 h 4844"/>
                  </a:gdLst>
                  <a:ahLst/>
                  <a:cxnLst>
                    <a:cxn ang="0">
                      <a:pos x="connsiteX0" y="connsiteY0"/>
                    </a:cxn>
                    <a:cxn ang="0">
                      <a:pos x="connsiteX1" y="connsiteY1"/>
                    </a:cxn>
                  </a:cxnLst>
                  <a:rect l="l" t="t" r="r" b="b"/>
                  <a:pathLst>
                    <a:path w="8014" h="4844">
                      <a:moveTo>
                        <a:pt x="0" y="0"/>
                      </a:moveTo>
                      <a:lnTo>
                        <a:pt x="8014" y="4844"/>
                      </a:lnTo>
                    </a:path>
                  </a:pathLst>
                </a:custGeom>
                <a:ln w="6350" cap="rnd">
                  <a:solidFill>
                    <a:schemeClr val="bg1">
                      <a:alpha val="40000"/>
                    </a:schemeClr>
                  </a:solidFill>
                  <a:prstDash val="solid"/>
                  <a:round/>
                </a:ln>
              </p:spPr>
              <p:txBody>
                <a:bodyPr rtlCol="0" anchor="ctr"/>
                <a:lstStyle/>
                <a:p>
                  <a:endParaRPr lang="en-GB"/>
                </a:p>
              </p:txBody>
            </p:sp>
            <p:sp>
              <p:nvSpPr>
                <p:cNvPr id="6197" name="Vrije vorm: vorm 6196">
                  <a:extLst>
                    <a:ext uri="{FF2B5EF4-FFF2-40B4-BE49-F238E27FC236}">
                      <a16:creationId xmlns:a16="http://schemas.microsoft.com/office/drawing/2014/main" id="{6D2ADB48-21A6-4418-B999-C8DF9F37E67E}"/>
                    </a:ext>
                  </a:extLst>
                </p:cNvPr>
                <p:cNvSpPr/>
                <p:nvPr/>
              </p:nvSpPr>
              <p:spPr>
                <a:xfrm>
                  <a:off x="7670834" y="2796685"/>
                  <a:ext cx="7057" cy="1196"/>
                </a:xfrm>
                <a:custGeom>
                  <a:avLst/>
                  <a:gdLst>
                    <a:gd name="connsiteX0" fmla="*/ 0 w 7057"/>
                    <a:gd name="connsiteY0" fmla="*/ 1196 h 1196"/>
                    <a:gd name="connsiteX1" fmla="*/ 7057 w 7057"/>
                    <a:gd name="connsiteY1" fmla="*/ 0 h 1196"/>
                  </a:gdLst>
                  <a:ahLst/>
                  <a:cxnLst>
                    <a:cxn ang="0">
                      <a:pos x="connsiteX0" y="connsiteY0"/>
                    </a:cxn>
                    <a:cxn ang="0">
                      <a:pos x="connsiteX1" y="connsiteY1"/>
                    </a:cxn>
                  </a:cxnLst>
                  <a:rect l="l" t="t" r="r" b="b"/>
                  <a:pathLst>
                    <a:path w="7057" h="1196">
                      <a:moveTo>
                        <a:pt x="0" y="1196"/>
                      </a:moveTo>
                      <a:lnTo>
                        <a:pt x="7057" y="0"/>
                      </a:lnTo>
                    </a:path>
                  </a:pathLst>
                </a:custGeom>
                <a:ln w="6350" cap="rnd">
                  <a:solidFill>
                    <a:schemeClr val="bg1">
                      <a:alpha val="40000"/>
                    </a:schemeClr>
                  </a:solidFill>
                  <a:prstDash val="solid"/>
                  <a:round/>
                </a:ln>
              </p:spPr>
              <p:txBody>
                <a:bodyPr rtlCol="0" anchor="ctr"/>
                <a:lstStyle/>
                <a:p>
                  <a:endParaRPr lang="en-GB"/>
                </a:p>
              </p:txBody>
            </p:sp>
            <p:sp>
              <p:nvSpPr>
                <p:cNvPr id="6198" name="Vrije vorm: vorm 6197">
                  <a:extLst>
                    <a:ext uri="{FF2B5EF4-FFF2-40B4-BE49-F238E27FC236}">
                      <a16:creationId xmlns:a16="http://schemas.microsoft.com/office/drawing/2014/main" id="{5575815B-D8B3-4AEF-8219-CA5C1E062EE9}"/>
                    </a:ext>
                  </a:extLst>
                </p:cNvPr>
                <p:cNvSpPr/>
                <p:nvPr/>
              </p:nvSpPr>
              <p:spPr>
                <a:xfrm>
                  <a:off x="7659052" y="2797881"/>
                  <a:ext cx="11782" cy="5322"/>
                </a:xfrm>
                <a:custGeom>
                  <a:avLst/>
                  <a:gdLst>
                    <a:gd name="connsiteX0" fmla="*/ 11782 w 11782"/>
                    <a:gd name="connsiteY0" fmla="*/ 0 h 5322"/>
                    <a:gd name="connsiteX1" fmla="*/ 0 w 11782"/>
                    <a:gd name="connsiteY1" fmla="*/ 5323 h 5322"/>
                  </a:gdLst>
                  <a:ahLst/>
                  <a:cxnLst>
                    <a:cxn ang="0">
                      <a:pos x="connsiteX0" y="connsiteY0"/>
                    </a:cxn>
                    <a:cxn ang="0">
                      <a:pos x="connsiteX1" y="connsiteY1"/>
                    </a:cxn>
                  </a:cxnLst>
                  <a:rect l="l" t="t" r="r" b="b"/>
                  <a:pathLst>
                    <a:path w="11782" h="5322">
                      <a:moveTo>
                        <a:pt x="11782" y="0"/>
                      </a:moveTo>
                      <a:lnTo>
                        <a:pt x="0" y="5323"/>
                      </a:lnTo>
                    </a:path>
                  </a:pathLst>
                </a:custGeom>
                <a:ln w="6350" cap="rnd">
                  <a:solidFill>
                    <a:schemeClr val="bg1">
                      <a:alpha val="40000"/>
                    </a:schemeClr>
                  </a:solidFill>
                  <a:prstDash val="solid"/>
                  <a:round/>
                </a:ln>
              </p:spPr>
              <p:txBody>
                <a:bodyPr rtlCol="0" anchor="ctr"/>
                <a:lstStyle/>
                <a:p>
                  <a:endParaRPr lang="en-GB"/>
                </a:p>
              </p:txBody>
            </p:sp>
            <p:sp>
              <p:nvSpPr>
                <p:cNvPr id="6199" name="Vrije vorm: vorm 6198">
                  <a:extLst>
                    <a:ext uri="{FF2B5EF4-FFF2-40B4-BE49-F238E27FC236}">
                      <a16:creationId xmlns:a16="http://schemas.microsoft.com/office/drawing/2014/main" id="{CE06A736-F538-4FDF-951C-61958D23916B}"/>
                    </a:ext>
                  </a:extLst>
                </p:cNvPr>
                <p:cNvSpPr/>
                <p:nvPr/>
              </p:nvSpPr>
              <p:spPr>
                <a:xfrm>
                  <a:off x="7583994" y="2836218"/>
                  <a:ext cx="7475" cy="6100"/>
                </a:xfrm>
                <a:custGeom>
                  <a:avLst/>
                  <a:gdLst>
                    <a:gd name="connsiteX0" fmla="*/ 0 w 7475"/>
                    <a:gd name="connsiteY0" fmla="*/ 6100 h 6100"/>
                    <a:gd name="connsiteX1" fmla="*/ 7476 w 7475"/>
                    <a:gd name="connsiteY1" fmla="*/ 0 h 6100"/>
                  </a:gdLst>
                  <a:ahLst/>
                  <a:cxnLst>
                    <a:cxn ang="0">
                      <a:pos x="connsiteX0" y="connsiteY0"/>
                    </a:cxn>
                    <a:cxn ang="0">
                      <a:pos x="connsiteX1" y="connsiteY1"/>
                    </a:cxn>
                  </a:cxnLst>
                  <a:rect l="l" t="t" r="r" b="b"/>
                  <a:pathLst>
                    <a:path w="7475" h="6100">
                      <a:moveTo>
                        <a:pt x="0" y="6100"/>
                      </a:moveTo>
                      <a:lnTo>
                        <a:pt x="7476" y="0"/>
                      </a:lnTo>
                    </a:path>
                  </a:pathLst>
                </a:custGeom>
                <a:ln w="6350" cap="rnd">
                  <a:solidFill>
                    <a:schemeClr val="bg1">
                      <a:alpha val="40000"/>
                    </a:schemeClr>
                  </a:solidFill>
                  <a:prstDash val="solid"/>
                  <a:round/>
                </a:ln>
              </p:spPr>
              <p:txBody>
                <a:bodyPr rtlCol="0" anchor="ctr"/>
                <a:lstStyle/>
                <a:p>
                  <a:endParaRPr lang="en-GB"/>
                </a:p>
              </p:txBody>
            </p:sp>
            <p:sp>
              <p:nvSpPr>
                <p:cNvPr id="6200" name="Vrije vorm: vorm 6199">
                  <a:extLst>
                    <a:ext uri="{FF2B5EF4-FFF2-40B4-BE49-F238E27FC236}">
                      <a16:creationId xmlns:a16="http://schemas.microsoft.com/office/drawing/2014/main" id="{BA3FC569-D968-44A1-B05E-7B42C9BF6924}"/>
                    </a:ext>
                  </a:extLst>
                </p:cNvPr>
                <p:cNvSpPr/>
                <p:nvPr/>
              </p:nvSpPr>
              <p:spPr>
                <a:xfrm>
                  <a:off x="7583994" y="2837175"/>
                  <a:ext cx="10884" cy="5143"/>
                </a:xfrm>
                <a:custGeom>
                  <a:avLst/>
                  <a:gdLst>
                    <a:gd name="connsiteX0" fmla="*/ 0 w 10884"/>
                    <a:gd name="connsiteY0" fmla="*/ 5143 h 5143"/>
                    <a:gd name="connsiteX1" fmla="*/ 10885 w 10884"/>
                    <a:gd name="connsiteY1" fmla="*/ 0 h 5143"/>
                  </a:gdLst>
                  <a:ahLst/>
                  <a:cxnLst>
                    <a:cxn ang="0">
                      <a:pos x="connsiteX0" y="connsiteY0"/>
                    </a:cxn>
                    <a:cxn ang="0">
                      <a:pos x="connsiteX1" y="connsiteY1"/>
                    </a:cxn>
                  </a:cxnLst>
                  <a:rect l="l" t="t" r="r" b="b"/>
                  <a:pathLst>
                    <a:path w="10884" h="5143">
                      <a:moveTo>
                        <a:pt x="0" y="5143"/>
                      </a:moveTo>
                      <a:lnTo>
                        <a:pt x="10885" y="0"/>
                      </a:lnTo>
                    </a:path>
                  </a:pathLst>
                </a:custGeom>
                <a:ln w="6350" cap="rnd">
                  <a:solidFill>
                    <a:schemeClr val="bg1">
                      <a:alpha val="40000"/>
                    </a:schemeClr>
                  </a:solidFill>
                  <a:prstDash val="solid"/>
                  <a:round/>
                </a:ln>
              </p:spPr>
              <p:txBody>
                <a:bodyPr rtlCol="0" anchor="ctr"/>
                <a:lstStyle/>
                <a:p>
                  <a:endParaRPr lang="en-GB"/>
                </a:p>
              </p:txBody>
            </p:sp>
            <p:sp>
              <p:nvSpPr>
                <p:cNvPr id="6201" name="Vrije vorm: vorm 6200">
                  <a:extLst>
                    <a:ext uri="{FF2B5EF4-FFF2-40B4-BE49-F238E27FC236}">
                      <a16:creationId xmlns:a16="http://schemas.microsoft.com/office/drawing/2014/main" id="{4F261348-3A4C-4CEE-8813-EF32E37A4854}"/>
                    </a:ext>
                  </a:extLst>
                </p:cNvPr>
                <p:cNvSpPr/>
                <p:nvPr/>
              </p:nvSpPr>
              <p:spPr>
                <a:xfrm>
                  <a:off x="7640870" y="2733648"/>
                  <a:ext cx="2571" cy="15908"/>
                </a:xfrm>
                <a:custGeom>
                  <a:avLst/>
                  <a:gdLst>
                    <a:gd name="connsiteX0" fmla="*/ 2572 w 2571"/>
                    <a:gd name="connsiteY0" fmla="*/ 0 h 15908"/>
                    <a:gd name="connsiteX1" fmla="*/ 0 w 2571"/>
                    <a:gd name="connsiteY1" fmla="*/ 15909 h 15908"/>
                  </a:gdLst>
                  <a:ahLst/>
                  <a:cxnLst>
                    <a:cxn ang="0">
                      <a:pos x="connsiteX0" y="connsiteY0"/>
                    </a:cxn>
                    <a:cxn ang="0">
                      <a:pos x="connsiteX1" y="connsiteY1"/>
                    </a:cxn>
                  </a:cxnLst>
                  <a:rect l="l" t="t" r="r" b="b"/>
                  <a:pathLst>
                    <a:path w="2571" h="15908">
                      <a:moveTo>
                        <a:pt x="2572" y="0"/>
                      </a:moveTo>
                      <a:lnTo>
                        <a:pt x="0" y="15909"/>
                      </a:lnTo>
                    </a:path>
                  </a:pathLst>
                </a:custGeom>
                <a:ln w="6350" cap="rnd">
                  <a:solidFill>
                    <a:schemeClr val="bg1">
                      <a:alpha val="40000"/>
                    </a:schemeClr>
                  </a:solidFill>
                  <a:prstDash val="solid"/>
                  <a:round/>
                </a:ln>
              </p:spPr>
              <p:txBody>
                <a:bodyPr rtlCol="0" anchor="ctr"/>
                <a:lstStyle/>
                <a:p>
                  <a:endParaRPr lang="en-GB"/>
                </a:p>
              </p:txBody>
            </p:sp>
            <p:sp>
              <p:nvSpPr>
                <p:cNvPr id="6202" name="Vrije vorm: vorm 6201">
                  <a:extLst>
                    <a:ext uri="{FF2B5EF4-FFF2-40B4-BE49-F238E27FC236}">
                      <a16:creationId xmlns:a16="http://schemas.microsoft.com/office/drawing/2014/main" id="{765479EA-B74C-4995-B95B-C17DED61B1EA}"/>
                    </a:ext>
                  </a:extLst>
                </p:cNvPr>
                <p:cNvSpPr/>
                <p:nvPr/>
              </p:nvSpPr>
              <p:spPr>
                <a:xfrm>
                  <a:off x="7643442" y="2717201"/>
                  <a:ext cx="11722" cy="16446"/>
                </a:xfrm>
                <a:custGeom>
                  <a:avLst/>
                  <a:gdLst>
                    <a:gd name="connsiteX0" fmla="*/ 0 w 11722"/>
                    <a:gd name="connsiteY0" fmla="*/ 16447 h 16446"/>
                    <a:gd name="connsiteX1" fmla="*/ 11722 w 11722"/>
                    <a:gd name="connsiteY1" fmla="*/ 0 h 16446"/>
                  </a:gdLst>
                  <a:ahLst/>
                  <a:cxnLst>
                    <a:cxn ang="0">
                      <a:pos x="connsiteX0" y="connsiteY0"/>
                    </a:cxn>
                    <a:cxn ang="0">
                      <a:pos x="connsiteX1" y="connsiteY1"/>
                    </a:cxn>
                  </a:cxnLst>
                  <a:rect l="l" t="t" r="r" b="b"/>
                  <a:pathLst>
                    <a:path w="11722" h="16446">
                      <a:moveTo>
                        <a:pt x="0" y="16447"/>
                      </a:moveTo>
                      <a:lnTo>
                        <a:pt x="11722" y="0"/>
                      </a:lnTo>
                    </a:path>
                  </a:pathLst>
                </a:custGeom>
                <a:ln w="6350" cap="rnd">
                  <a:solidFill>
                    <a:schemeClr val="bg1">
                      <a:alpha val="40000"/>
                    </a:schemeClr>
                  </a:solidFill>
                  <a:prstDash val="solid"/>
                  <a:round/>
                </a:ln>
              </p:spPr>
              <p:txBody>
                <a:bodyPr rtlCol="0" anchor="ctr"/>
                <a:lstStyle/>
                <a:p>
                  <a:endParaRPr lang="en-GB"/>
                </a:p>
              </p:txBody>
            </p:sp>
            <p:sp>
              <p:nvSpPr>
                <p:cNvPr id="6203" name="Vrije vorm: vorm 6202">
                  <a:extLst>
                    <a:ext uri="{FF2B5EF4-FFF2-40B4-BE49-F238E27FC236}">
                      <a16:creationId xmlns:a16="http://schemas.microsoft.com/office/drawing/2014/main" id="{86CE15DC-D31C-4BF7-B358-8E2A8206933D}"/>
                    </a:ext>
                  </a:extLst>
                </p:cNvPr>
                <p:cNvSpPr/>
                <p:nvPr/>
              </p:nvSpPr>
              <p:spPr>
                <a:xfrm>
                  <a:off x="7634112" y="2733648"/>
                  <a:ext cx="9329" cy="2571"/>
                </a:xfrm>
                <a:custGeom>
                  <a:avLst/>
                  <a:gdLst>
                    <a:gd name="connsiteX0" fmla="*/ 9330 w 9329"/>
                    <a:gd name="connsiteY0" fmla="*/ 0 h 2571"/>
                    <a:gd name="connsiteX1" fmla="*/ 0 w 9329"/>
                    <a:gd name="connsiteY1" fmla="*/ 2572 h 2571"/>
                  </a:gdLst>
                  <a:ahLst/>
                  <a:cxnLst>
                    <a:cxn ang="0">
                      <a:pos x="connsiteX0" y="connsiteY0"/>
                    </a:cxn>
                    <a:cxn ang="0">
                      <a:pos x="connsiteX1" y="connsiteY1"/>
                    </a:cxn>
                  </a:cxnLst>
                  <a:rect l="l" t="t" r="r" b="b"/>
                  <a:pathLst>
                    <a:path w="9329" h="2571">
                      <a:moveTo>
                        <a:pt x="9330" y="0"/>
                      </a:moveTo>
                      <a:lnTo>
                        <a:pt x="0" y="2572"/>
                      </a:lnTo>
                    </a:path>
                  </a:pathLst>
                </a:custGeom>
                <a:ln w="6350" cap="rnd">
                  <a:solidFill>
                    <a:schemeClr val="bg1">
                      <a:alpha val="40000"/>
                    </a:schemeClr>
                  </a:solidFill>
                  <a:prstDash val="solid"/>
                  <a:round/>
                </a:ln>
              </p:spPr>
              <p:txBody>
                <a:bodyPr rtlCol="0" anchor="ctr"/>
                <a:lstStyle/>
                <a:p>
                  <a:endParaRPr lang="en-GB"/>
                </a:p>
              </p:txBody>
            </p:sp>
            <p:sp>
              <p:nvSpPr>
                <p:cNvPr id="6204" name="Vrije vorm: vorm 6203">
                  <a:extLst>
                    <a:ext uri="{FF2B5EF4-FFF2-40B4-BE49-F238E27FC236}">
                      <a16:creationId xmlns:a16="http://schemas.microsoft.com/office/drawing/2014/main" id="{E13229D4-AF6B-4663-A1A0-7E7203518DE3}"/>
                    </a:ext>
                  </a:extLst>
                </p:cNvPr>
                <p:cNvSpPr/>
                <p:nvPr/>
              </p:nvSpPr>
              <p:spPr>
                <a:xfrm>
                  <a:off x="7702352" y="2760083"/>
                  <a:ext cx="25776" cy="16985"/>
                </a:xfrm>
                <a:custGeom>
                  <a:avLst/>
                  <a:gdLst>
                    <a:gd name="connsiteX0" fmla="*/ 0 w 25776"/>
                    <a:gd name="connsiteY0" fmla="*/ 0 h 16985"/>
                    <a:gd name="connsiteX1" fmla="*/ 25777 w 25776"/>
                    <a:gd name="connsiteY1" fmla="*/ 16985 h 16985"/>
                  </a:gdLst>
                  <a:ahLst/>
                  <a:cxnLst>
                    <a:cxn ang="0">
                      <a:pos x="connsiteX0" y="connsiteY0"/>
                    </a:cxn>
                    <a:cxn ang="0">
                      <a:pos x="connsiteX1" y="connsiteY1"/>
                    </a:cxn>
                  </a:cxnLst>
                  <a:rect l="l" t="t" r="r" b="b"/>
                  <a:pathLst>
                    <a:path w="25776" h="16985">
                      <a:moveTo>
                        <a:pt x="0" y="0"/>
                      </a:moveTo>
                      <a:lnTo>
                        <a:pt x="25777" y="16985"/>
                      </a:lnTo>
                    </a:path>
                  </a:pathLst>
                </a:custGeom>
                <a:ln w="6350" cap="rnd">
                  <a:solidFill>
                    <a:schemeClr val="bg1">
                      <a:alpha val="40000"/>
                    </a:schemeClr>
                  </a:solidFill>
                  <a:prstDash val="solid"/>
                  <a:round/>
                </a:ln>
              </p:spPr>
              <p:txBody>
                <a:bodyPr rtlCol="0" anchor="ctr"/>
                <a:lstStyle/>
                <a:p>
                  <a:endParaRPr lang="en-GB"/>
                </a:p>
              </p:txBody>
            </p:sp>
            <p:sp>
              <p:nvSpPr>
                <p:cNvPr id="6205" name="Vrije vorm: vorm 6204">
                  <a:extLst>
                    <a:ext uri="{FF2B5EF4-FFF2-40B4-BE49-F238E27FC236}">
                      <a16:creationId xmlns:a16="http://schemas.microsoft.com/office/drawing/2014/main" id="{C595F4EB-60A8-4642-9B3C-7F9D6C419A2F}"/>
                    </a:ext>
                  </a:extLst>
                </p:cNvPr>
                <p:cNvSpPr/>
                <p:nvPr/>
              </p:nvSpPr>
              <p:spPr>
                <a:xfrm>
                  <a:off x="7681539" y="2760083"/>
                  <a:ext cx="20812" cy="10526"/>
                </a:xfrm>
                <a:custGeom>
                  <a:avLst/>
                  <a:gdLst>
                    <a:gd name="connsiteX0" fmla="*/ 20813 w 20812"/>
                    <a:gd name="connsiteY0" fmla="*/ 0 h 10526"/>
                    <a:gd name="connsiteX1" fmla="*/ 0 w 20812"/>
                    <a:gd name="connsiteY1" fmla="*/ 10526 h 10526"/>
                  </a:gdLst>
                  <a:ahLst/>
                  <a:cxnLst>
                    <a:cxn ang="0">
                      <a:pos x="connsiteX0" y="connsiteY0"/>
                    </a:cxn>
                    <a:cxn ang="0">
                      <a:pos x="connsiteX1" y="connsiteY1"/>
                    </a:cxn>
                  </a:cxnLst>
                  <a:rect l="l" t="t" r="r" b="b"/>
                  <a:pathLst>
                    <a:path w="20812" h="10526">
                      <a:moveTo>
                        <a:pt x="20813" y="0"/>
                      </a:moveTo>
                      <a:lnTo>
                        <a:pt x="0" y="10526"/>
                      </a:lnTo>
                    </a:path>
                  </a:pathLst>
                </a:custGeom>
                <a:ln w="6350" cap="rnd">
                  <a:solidFill>
                    <a:schemeClr val="bg1">
                      <a:alpha val="40000"/>
                    </a:schemeClr>
                  </a:solidFill>
                  <a:prstDash val="solid"/>
                  <a:round/>
                </a:ln>
              </p:spPr>
              <p:txBody>
                <a:bodyPr rtlCol="0" anchor="ctr"/>
                <a:lstStyle/>
                <a:p>
                  <a:endParaRPr lang="en-GB"/>
                </a:p>
              </p:txBody>
            </p:sp>
            <p:sp>
              <p:nvSpPr>
                <p:cNvPr id="6206" name="Vrije vorm: vorm 6205">
                  <a:extLst>
                    <a:ext uri="{FF2B5EF4-FFF2-40B4-BE49-F238E27FC236}">
                      <a16:creationId xmlns:a16="http://schemas.microsoft.com/office/drawing/2014/main" id="{E4973383-C497-4F80-ADE7-2B12C8868C5C}"/>
                    </a:ext>
                  </a:extLst>
                </p:cNvPr>
                <p:cNvSpPr/>
                <p:nvPr/>
              </p:nvSpPr>
              <p:spPr>
                <a:xfrm>
                  <a:off x="7686742" y="2750574"/>
                  <a:ext cx="15609" cy="9509"/>
                </a:xfrm>
                <a:custGeom>
                  <a:avLst/>
                  <a:gdLst>
                    <a:gd name="connsiteX0" fmla="*/ 15610 w 15609"/>
                    <a:gd name="connsiteY0" fmla="*/ 9509 h 9509"/>
                    <a:gd name="connsiteX1" fmla="*/ 0 w 15609"/>
                    <a:gd name="connsiteY1" fmla="*/ 0 h 9509"/>
                  </a:gdLst>
                  <a:ahLst/>
                  <a:cxnLst>
                    <a:cxn ang="0">
                      <a:pos x="connsiteX0" y="connsiteY0"/>
                    </a:cxn>
                    <a:cxn ang="0">
                      <a:pos x="connsiteX1" y="connsiteY1"/>
                    </a:cxn>
                  </a:cxnLst>
                  <a:rect l="l" t="t" r="r" b="b"/>
                  <a:pathLst>
                    <a:path w="15609" h="9509">
                      <a:moveTo>
                        <a:pt x="15610" y="9509"/>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07" name="Vrije vorm: vorm 6206">
                  <a:extLst>
                    <a:ext uri="{FF2B5EF4-FFF2-40B4-BE49-F238E27FC236}">
                      <a16:creationId xmlns:a16="http://schemas.microsoft.com/office/drawing/2014/main" id="{13C2626A-1FD0-4948-AB4C-F2B3311B8AEE}"/>
                    </a:ext>
                  </a:extLst>
                </p:cNvPr>
                <p:cNvSpPr/>
                <p:nvPr/>
              </p:nvSpPr>
              <p:spPr>
                <a:xfrm>
                  <a:off x="7662341" y="2797941"/>
                  <a:ext cx="179" cy="777"/>
                </a:xfrm>
                <a:custGeom>
                  <a:avLst/>
                  <a:gdLst>
                    <a:gd name="connsiteX0" fmla="*/ 179 w 179"/>
                    <a:gd name="connsiteY0" fmla="*/ 777 h 777"/>
                    <a:gd name="connsiteX1" fmla="*/ 0 w 179"/>
                    <a:gd name="connsiteY1" fmla="*/ 0 h 777"/>
                  </a:gdLst>
                  <a:ahLst/>
                  <a:cxnLst>
                    <a:cxn ang="0">
                      <a:pos x="connsiteX0" y="connsiteY0"/>
                    </a:cxn>
                    <a:cxn ang="0">
                      <a:pos x="connsiteX1" y="connsiteY1"/>
                    </a:cxn>
                  </a:cxnLst>
                  <a:rect l="l" t="t" r="r" b="b"/>
                  <a:pathLst>
                    <a:path w="179" h="777">
                      <a:moveTo>
                        <a:pt x="179" y="77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08" name="Vrije vorm: vorm 6207">
                  <a:extLst>
                    <a:ext uri="{FF2B5EF4-FFF2-40B4-BE49-F238E27FC236}">
                      <a16:creationId xmlns:a16="http://schemas.microsoft.com/office/drawing/2014/main" id="{29C1AAD8-694C-48E5-B267-F8587F4FA14E}"/>
                    </a:ext>
                  </a:extLst>
                </p:cNvPr>
                <p:cNvSpPr/>
                <p:nvPr/>
              </p:nvSpPr>
              <p:spPr>
                <a:xfrm>
                  <a:off x="7649363" y="2745610"/>
                  <a:ext cx="15848" cy="11124"/>
                </a:xfrm>
                <a:custGeom>
                  <a:avLst/>
                  <a:gdLst>
                    <a:gd name="connsiteX0" fmla="*/ 15849 w 15848"/>
                    <a:gd name="connsiteY0" fmla="*/ 0 h 11124"/>
                    <a:gd name="connsiteX1" fmla="*/ 0 w 15848"/>
                    <a:gd name="connsiteY1" fmla="*/ 11124 h 11124"/>
                  </a:gdLst>
                  <a:ahLst/>
                  <a:cxnLst>
                    <a:cxn ang="0">
                      <a:pos x="connsiteX0" y="connsiteY0"/>
                    </a:cxn>
                    <a:cxn ang="0">
                      <a:pos x="connsiteX1" y="connsiteY1"/>
                    </a:cxn>
                  </a:cxnLst>
                  <a:rect l="l" t="t" r="r" b="b"/>
                  <a:pathLst>
                    <a:path w="15848" h="11124">
                      <a:moveTo>
                        <a:pt x="15849" y="0"/>
                      </a:moveTo>
                      <a:lnTo>
                        <a:pt x="0" y="11124"/>
                      </a:lnTo>
                    </a:path>
                  </a:pathLst>
                </a:custGeom>
                <a:ln w="6350" cap="rnd">
                  <a:solidFill>
                    <a:schemeClr val="bg1">
                      <a:alpha val="40000"/>
                    </a:schemeClr>
                  </a:solidFill>
                  <a:prstDash val="solid"/>
                  <a:round/>
                </a:ln>
              </p:spPr>
              <p:txBody>
                <a:bodyPr rtlCol="0" anchor="ctr"/>
                <a:lstStyle/>
                <a:p>
                  <a:endParaRPr lang="en-GB"/>
                </a:p>
              </p:txBody>
            </p:sp>
            <p:sp>
              <p:nvSpPr>
                <p:cNvPr id="6209" name="Vrije vorm: vorm 6208">
                  <a:extLst>
                    <a:ext uri="{FF2B5EF4-FFF2-40B4-BE49-F238E27FC236}">
                      <a16:creationId xmlns:a16="http://schemas.microsoft.com/office/drawing/2014/main" id="{94BB9E0F-1ED4-4D5F-89A1-8A0D1ED4639B}"/>
                    </a:ext>
                  </a:extLst>
                </p:cNvPr>
                <p:cNvSpPr/>
                <p:nvPr/>
              </p:nvSpPr>
              <p:spPr>
                <a:xfrm>
                  <a:off x="7665212" y="2735203"/>
                  <a:ext cx="13815" cy="10406"/>
                </a:xfrm>
                <a:custGeom>
                  <a:avLst/>
                  <a:gdLst>
                    <a:gd name="connsiteX0" fmla="*/ 0 w 13815"/>
                    <a:gd name="connsiteY0" fmla="*/ 10406 h 10406"/>
                    <a:gd name="connsiteX1" fmla="*/ 13816 w 13815"/>
                    <a:gd name="connsiteY1" fmla="*/ 0 h 10406"/>
                  </a:gdLst>
                  <a:ahLst/>
                  <a:cxnLst>
                    <a:cxn ang="0">
                      <a:pos x="connsiteX0" y="connsiteY0"/>
                    </a:cxn>
                    <a:cxn ang="0">
                      <a:pos x="connsiteX1" y="connsiteY1"/>
                    </a:cxn>
                  </a:cxnLst>
                  <a:rect l="l" t="t" r="r" b="b"/>
                  <a:pathLst>
                    <a:path w="13815" h="10406">
                      <a:moveTo>
                        <a:pt x="0" y="10406"/>
                      </a:moveTo>
                      <a:lnTo>
                        <a:pt x="13816" y="0"/>
                      </a:lnTo>
                    </a:path>
                  </a:pathLst>
                </a:custGeom>
                <a:ln w="6350" cap="rnd">
                  <a:solidFill>
                    <a:schemeClr val="bg1">
                      <a:alpha val="40000"/>
                    </a:schemeClr>
                  </a:solidFill>
                  <a:prstDash val="solid"/>
                  <a:round/>
                </a:ln>
              </p:spPr>
              <p:txBody>
                <a:bodyPr rtlCol="0" anchor="ctr"/>
                <a:lstStyle/>
                <a:p>
                  <a:endParaRPr lang="en-GB"/>
                </a:p>
              </p:txBody>
            </p:sp>
            <p:sp>
              <p:nvSpPr>
                <p:cNvPr id="6210" name="Vrije vorm: vorm 6209">
                  <a:extLst>
                    <a:ext uri="{FF2B5EF4-FFF2-40B4-BE49-F238E27FC236}">
                      <a16:creationId xmlns:a16="http://schemas.microsoft.com/office/drawing/2014/main" id="{030C1566-A7E7-4E6F-8E47-E7CCB75D1345}"/>
                    </a:ext>
                  </a:extLst>
                </p:cNvPr>
                <p:cNvSpPr/>
                <p:nvPr/>
              </p:nvSpPr>
              <p:spPr>
                <a:xfrm>
                  <a:off x="7665212" y="2745610"/>
                  <a:ext cx="21530" cy="4963"/>
                </a:xfrm>
                <a:custGeom>
                  <a:avLst/>
                  <a:gdLst>
                    <a:gd name="connsiteX0" fmla="*/ 0 w 21530"/>
                    <a:gd name="connsiteY0" fmla="*/ 0 h 4963"/>
                    <a:gd name="connsiteX1" fmla="*/ 21531 w 21530"/>
                    <a:gd name="connsiteY1" fmla="*/ 4964 h 4963"/>
                  </a:gdLst>
                  <a:ahLst/>
                  <a:cxnLst>
                    <a:cxn ang="0">
                      <a:pos x="connsiteX0" y="connsiteY0"/>
                    </a:cxn>
                    <a:cxn ang="0">
                      <a:pos x="connsiteX1" y="connsiteY1"/>
                    </a:cxn>
                  </a:cxnLst>
                  <a:rect l="l" t="t" r="r" b="b"/>
                  <a:pathLst>
                    <a:path w="21530" h="4963">
                      <a:moveTo>
                        <a:pt x="0" y="0"/>
                      </a:moveTo>
                      <a:lnTo>
                        <a:pt x="21531" y="4964"/>
                      </a:lnTo>
                    </a:path>
                  </a:pathLst>
                </a:custGeom>
                <a:ln w="6350" cap="rnd">
                  <a:solidFill>
                    <a:schemeClr val="bg1">
                      <a:alpha val="40000"/>
                    </a:schemeClr>
                  </a:solidFill>
                  <a:prstDash val="solid"/>
                  <a:round/>
                </a:ln>
              </p:spPr>
              <p:txBody>
                <a:bodyPr rtlCol="0" anchor="ctr"/>
                <a:lstStyle/>
                <a:p>
                  <a:endParaRPr lang="en-GB"/>
                </a:p>
              </p:txBody>
            </p:sp>
            <p:sp>
              <p:nvSpPr>
                <p:cNvPr id="6211" name="Vrije vorm: vorm 6210">
                  <a:extLst>
                    <a:ext uri="{FF2B5EF4-FFF2-40B4-BE49-F238E27FC236}">
                      <a16:creationId xmlns:a16="http://schemas.microsoft.com/office/drawing/2014/main" id="{EA485033-9C4A-4C33-A211-EA1C2D6586D9}"/>
                    </a:ext>
                  </a:extLst>
                </p:cNvPr>
                <p:cNvSpPr/>
                <p:nvPr/>
              </p:nvSpPr>
              <p:spPr>
                <a:xfrm>
                  <a:off x="7665212" y="2745610"/>
                  <a:ext cx="7894" cy="23384"/>
                </a:xfrm>
                <a:custGeom>
                  <a:avLst/>
                  <a:gdLst>
                    <a:gd name="connsiteX0" fmla="*/ 0 w 7894"/>
                    <a:gd name="connsiteY0" fmla="*/ 0 h 23384"/>
                    <a:gd name="connsiteX1" fmla="*/ 7895 w 7894"/>
                    <a:gd name="connsiteY1" fmla="*/ 23385 h 23384"/>
                  </a:gdLst>
                  <a:ahLst/>
                  <a:cxnLst>
                    <a:cxn ang="0">
                      <a:pos x="connsiteX0" y="connsiteY0"/>
                    </a:cxn>
                    <a:cxn ang="0">
                      <a:pos x="connsiteX1" y="connsiteY1"/>
                    </a:cxn>
                  </a:cxnLst>
                  <a:rect l="l" t="t" r="r" b="b"/>
                  <a:pathLst>
                    <a:path w="7894" h="23384">
                      <a:moveTo>
                        <a:pt x="0" y="0"/>
                      </a:moveTo>
                      <a:lnTo>
                        <a:pt x="7895" y="23385"/>
                      </a:lnTo>
                    </a:path>
                  </a:pathLst>
                </a:custGeom>
                <a:ln w="6350" cap="rnd">
                  <a:solidFill>
                    <a:schemeClr val="bg1">
                      <a:alpha val="40000"/>
                    </a:schemeClr>
                  </a:solidFill>
                  <a:prstDash val="solid"/>
                  <a:round/>
                </a:ln>
              </p:spPr>
              <p:txBody>
                <a:bodyPr rtlCol="0" anchor="ctr"/>
                <a:lstStyle/>
                <a:p>
                  <a:endParaRPr lang="en-GB"/>
                </a:p>
              </p:txBody>
            </p:sp>
            <p:sp>
              <p:nvSpPr>
                <p:cNvPr id="6212" name="Vrije vorm: vorm 6211">
                  <a:extLst>
                    <a:ext uri="{FF2B5EF4-FFF2-40B4-BE49-F238E27FC236}">
                      <a16:creationId xmlns:a16="http://schemas.microsoft.com/office/drawing/2014/main" id="{8050905D-B9DB-4766-B7F6-7671475ED22D}"/>
                    </a:ext>
                  </a:extLst>
                </p:cNvPr>
                <p:cNvSpPr/>
                <p:nvPr/>
              </p:nvSpPr>
              <p:spPr>
                <a:xfrm>
                  <a:off x="7694697" y="2791063"/>
                  <a:ext cx="1196" cy="1734"/>
                </a:xfrm>
                <a:custGeom>
                  <a:avLst/>
                  <a:gdLst>
                    <a:gd name="connsiteX0" fmla="*/ 0 w 1196"/>
                    <a:gd name="connsiteY0" fmla="*/ 1734 h 1734"/>
                    <a:gd name="connsiteX1" fmla="*/ 1196 w 1196"/>
                    <a:gd name="connsiteY1" fmla="*/ 0 h 1734"/>
                  </a:gdLst>
                  <a:ahLst/>
                  <a:cxnLst>
                    <a:cxn ang="0">
                      <a:pos x="connsiteX0" y="connsiteY0"/>
                    </a:cxn>
                    <a:cxn ang="0">
                      <a:pos x="connsiteX1" y="connsiteY1"/>
                    </a:cxn>
                  </a:cxnLst>
                  <a:rect l="l" t="t" r="r" b="b"/>
                  <a:pathLst>
                    <a:path w="1196" h="1734">
                      <a:moveTo>
                        <a:pt x="0" y="1734"/>
                      </a:moveTo>
                      <a:lnTo>
                        <a:pt x="1196" y="0"/>
                      </a:lnTo>
                    </a:path>
                  </a:pathLst>
                </a:custGeom>
                <a:ln w="6350" cap="rnd">
                  <a:solidFill>
                    <a:schemeClr val="bg1">
                      <a:alpha val="40000"/>
                    </a:schemeClr>
                  </a:solidFill>
                  <a:prstDash val="solid"/>
                  <a:round/>
                </a:ln>
              </p:spPr>
              <p:txBody>
                <a:bodyPr rtlCol="0" anchor="ctr"/>
                <a:lstStyle/>
                <a:p>
                  <a:endParaRPr lang="en-GB"/>
                </a:p>
              </p:txBody>
            </p:sp>
            <p:sp>
              <p:nvSpPr>
                <p:cNvPr id="6213" name="Vrije vorm: vorm 6212">
                  <a:extLst>
                    <a:ext uri="{FF2B5EF4-FFF2-40B4-BE49-F238E27FC236}">
                      <a16:creationId xmlns:a16="http://schemas.microsoft.com/office/drawing/2014/main" id="{C197ECE2-B851-4A13-8FD6-E314A3FF7C45}"/>
                    </a:ext>
                  </a:extLst>
                </p:cNvPr>
                <p:cNvSpPr/>
                <p:nvPr/>
              </p:nvSpPr>
              <p:spPr>
                <a:xfrm>
                  <a:off x="7678788" y="2792798"/>
                  <a:ext cx="15908" cy="3409"/>
                </a:xfrm>
                <a:custGeom>
                  <a:avLst/>
                  <a:gdLst>
                    <a:gd name="connsiteX0" fmla="*/ 15909 w 15908"/>
                    <a:gd name="connsiteY0" fmla="*/ 0 h 3409"/>
                    <a:gd name="connsiteX1" fmla="*/ 0 w 15908"/>
                    <a:gd name="connsiteY1" fmla="*/ 3409 h 3409"/>
                  </a:gdLst>
                  <a:ahLst/>
                  <a:cxnLst>
                    <a:cxn ang="0">
                      <a:pos x="connsiteX0" y="connsiteY0"/>
                    </a:cxn>
                    <a:cxn ang="0">
                      <a:pos x="connsiteX1" y="connsiteY1"/>
                    </a:cxn>
                  </a:cxnLst>
                  <a:rect l="l" t="t" r="r" b="b"/>
                  <a:pathLst>
                    <a:path w="15908" h="3409">
                      <a:moveTo>
                        <a:pt x="15909" y="0"/>
                      </a:moveTo>
                      <a:lnTo>
                        <a:pt x="0" y="3409"/>
                      </a:lnTo>
                    </a:path>
                  </a:pathLst>
                </a:custGeom>
                <a:ln w="6350" cap="rnd">
                  <a:solidFill>
                    <a:schemeClr val="bg1">
                      <a:alpha val="40000"/>
                    </a:schemeClr>
                  </a:solidFill>
                  <a:prstDash val="solid"/>
                  <a:round/>
                </a:ln>
              </p:spPr>
              <p:txBody>
                <a:bodyPr rtlCol="0" anchor="ctr"/>
                <a:lstStyle/>
                <a:p>
                  <a:endParaRPr lang="en-GB"/>
                </a:p>
              </p:txBody>
            </p:sp>
            <p:sp>
              <p:nvSpPr>
                <p:cNvPr id="6214" name="Vrije vorm: vorm 6213">
                  <a:extLst>
                    <a:ext uri="{FF2B5EF4-FFF2-40B4-BE49-F238E27FC236}">
                      <a16:creationId xmlns:a16="http://schemas.microsoft.com/office/drawing/2014/main" id="{842B393F-9B34-4905-ACC8-6755A7996384}"/>
                    </a:ext>
                  </a:extLst>
                </p:cNvPr>
                <p:cNvSpPr/>
                <p:nvPr/>
              </p:nvSpPr>
              <p:spPr>
                <a:xfrm>
                  <a:off x="7760903" y="2745909"/>
                  <a:ext cx="1854" cy="7535"/>
                </a:xfrm>
                <a:custGeom>
                  <a:avLst/>
                  <a:gdLst>
                    <a:gd name="connsiteX0" fmla="*/ 0 w 1854"/>
                    <a:gd name="connsiteY0" fmla="*/ 0 h 7535"/>
                    <a:gd name="connsiteX1" fmla="*/ 1854 w 1854"/>
                    <a:gd name="connsiteY1" fmla="*/ 7536 h 7535"/>
                  </a:gdLst>
                  <a:ahLst/>
                  <a:cxnLst>
                    <a:cxn ang="0">
                      <a:pos x="connsiteX0" y="connsiteY0"/>
                    </a:cxn>
                    <a:cxn ang="0">
                      <a:pos x="connsiteX1" y="connsiteY1"/>
                    </a:cxn>
                  </a:cxnLst>
                  <a:rect l="l" t="t" r="r" b="b"/>
                  <a:pathLst>
                    <a:path w="1854" h="7535">
                      <a:moveTo>
                        <a:pt x="0" y="0"/>
                      </a:moveTo>
                      <a:lnTo>
                        <a:pt x="1854" y="7536"/>
                      </a:lnTo>
                    </a:path>
                  </a:pathLst>
                </a:custGeom>
                <a:ln w="6350" cap="rnd">
                  <a:solidFill>
                    <a:schemeClr val="bg1">
                      <a:alpha val="40000"/>
                    </a:schemeClr>
                  </a:solidFill>
                  <a:prstDash val="solid"/>
                  <a:round/>
                </a:ln>
              </p:spPr>
              <p:txBody>
                <a:bodyPr rtlCol="0" anchor="ctr"/>
                <a:lstStyle/>
                <a:p>
                  <a:endParaRPr lang="en-GB"/>
                </a:p>
              </p:txBody>
            </p:sp>
            <p:sp>
              <p:nvSpPr>
                <p:cNvPr id="6215" name="Vrije vorm: vorm 6214">
                  <a:extLst>
                    <a:ext uri="{FF2B5EF4-FFF2-40B4-BE49-F238E27FC236}">
                      <a16:creationId xmlns:a16="http://schemas.microsoft.com/office/drawing/2014/main" id="{98D48E92-02AD-4965-A8DA-A3326E00E13F}"/>
                    </a:ext>
                  </a:extLst>
                </p:cNvPr>
                <p:cNvSpPr/>
                <p:nvPr/>
              </p:nvSpPr>
              <p:spPr>
                <a:xfrm>
                  <a:off x="7566111" y="2815824"/>
                  <a:ext cx="418" cy="10705"/>
                </a:xfrm>
                <a:custGeom>
                  <a:avLst/>
                  <a:gdLst>
                    <a:gd name="connsiteX0" fmla="*/ 418 w 418"/>
                    <a:gd name="connsiteY0" fmla="*/ 10705 h 10705"/>
                    <a:gd name="connsiteX1" fmla="*/ 0 w 418"/>
                    <a:gd name="connsiteY1" fmla="*/ 0 h 10705"/>
                  </a:gdLst>
                  <a:ahLst/>
                  <a:cxnLst>
                    <a:cxn ang="0">
                      <a:pos x="connsiteX0" y="connsiteY0"/>
                    </a:cxn>
                    <a:cxn ang="0">
                      <a:pos x="connsiteX1" y="connsiteY1"/>
                    </a:cxn>
                  </a:cxnLst>
                  <a:rect l="l" t="t" r="r" b="b"/>
                  <a:pathLst>
                    <a:path w="418" h="10705">
                      <a:moveTo>
                        <a:pt x="418" y="10705"/>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16" name="Vrije vorm: vorm 6215">
                  <a:extLst>
                    <a:ext uri="{FF2B5EF4-FFF2-40B4-BE49-F238E27FC236}">
                      <a16:creationId xmlns:a16="http://schemas.microsoft.com/office/drawing/2014/main" id="{4B7C9F40-1942-4B50-B572-CCB31CEAB119}"/>
                    </a:ext>
                  </a:extLst>
                </p:cNvPr>
                <p:cNvSpPr/>
                <p:nvPr/>
              </p:nvSpPr>
              <p:spPr>
                <a:xfrm>
                  <a:off x="7595656" y="2737835"/>
                  <a:ext cx="4306" cy="9449"/>
                </a:xfrm>
                <a:custGeom>
                  <a:avLst/>
                  <a:gdLst>
                    <a:gd name="connsiteX0" fmla="*/ 0 w 4306"/>
                    <a:gd name="connsiteY0" fmla="*/ 0 h 9449"/>
                    <a:gd name="connsiteX1" fmla="*/ 4306 w 4306"/>
                    <a:gd name="connsiteY1" fmla="*/ 9449 h 9449"/>
                  </a:gdLst>
                  <a:ahLst/>
                  <a:cxnLst>
                    <a:cxn ang="0">
                      <a:pos x="connsiteX0" y="connsiteY0"/>
                    </a:cxn>
                    <a:cxn ang="0">
                      <a:pos x="connsiteX1" y="connsiteY1"/>
                    </a:cxn>
                  </a:cxnLst>
                  <a:rect l="l" t="t" r="r" b="b"/>
                  <a:pathLst>
                    <a:path w="4306" h="9449">
                      <a:moveTo>
                        <a:pt x="0" y="0"/>
                      </a:moveTo>
                      <a:lnTo>
                        <a:pt x="4306" y="9449"/>
                      </a:lnTo>
                    </a:path>
                  </a:pathLst>
                </a:custGeom>
                <a:ln w="6350" cap="rnd">
                  <a:solidFill>
                    <a:schemeClr val="bg1">
                      <a:alpha val="40000"/>
                    </a:schemeClr>
                  </a:solidFill>
                  <a:prstDash val="solid"/>
                  <a:round/>
                </a:ln>
              </p:spPr>
              <p:txBody>
                <a:bodyPr rtlCol="0" anchor="ctr"/>
                <a:lstStyle/>
                <a:p>
                  <a:endParaRPr lang="en-GB"/>
                </a:p>
              </p:txBody>
            </p:sp>
            <p:sp>
              <p:nvSpPr>
                <p:cNvPr id="6217" name="Vrije vorm: vorm 6216">
                  <a:extLst>
                    <a:ext uri="{FF2B5EF4-FFF2-40B4-BE49-F238E27FC236}">
                      <a16:creationId xmlns:a16="http://schemas.microsoft.com/office/drawing/2014/main" id="{CEA9F326-F454-4AF4-BFFC-E7FFB60008B4}"/>
                    </a:ext>
                  </a:extLst>
                </p:cNvPr>
                <p:cNvSpPr/>
                <p:nvPr/>
              </p:nvSpPr>
              <p:spPr>
                <a:xfrm>
                  <a:off x="7590453" y="2724498"/>
                  <a:ext cx="5203" cy="13337"/>
                </a:xfrm>
                <a:custGeom>
                  <a:avLst/>
                  <a:gdLst>
                    <a:gd name="connsiteX0" fmla="*/ 5203 w 5203"/>
                    <a:gd name="connsiteY0" fmla="*/ 13337 h 13337"/>
                    <a:gd name="connsiteX1" fmla="*/ 0 w 5203"/>
                    <a:gd name="connsiteY1" fmla="*/ 0 h 13337"/>
                  </a:gdLst>
                  <a:ahLst/>
                  <a:cxnLst>
                    <a:cxn ang="0">
                      <a:pos x="connsiteX0" y="connsiteY0"/>
                    </a:cxn>
                    <a:cxn ang="0">
                      <a:pos x="connsiteX1" y="connsiteY1"/>
                    </a:cxn>
                  </a:cxnLst>
                  <a:rect l="l" t="t" r="r" b="b"/>
                  <a:pathLst>
                    <a:path w="5203" h="13337">
                      <a:moveTo>
                        <a:pt x="5203" y="1333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18" name="Vrije vorm: vorm 6217">
                  <a:extLst>
                    <a:ext uri="{FF2B5EF4-FFF2-40B4-BE49-F238E27FC236}">
                      <a16:creationId xmlns:a16="http://schemas.microsoft.com/office/drawing/2014/main" id="{107A9507-0505-4C8E-804C-9FB1550E44E1}"/>
                    </a:ext>
                  </a:extLst>
                </p:cNvPr>
                <p:cNvSpPr/>
                <p:nvPr/>
              </p:nvSpPr>
              <p:spPr>
                <a:xfrm>
                  <a:off x="7624962" y="2733648"/>
                  <a:ext cx="5083" cy="14413"/>
                </a:xfrm>
                <a:custGeom>
                  <a:avLst/>
                  <a:gdLst>
                    <a:gd name="connsiteX0" fmla="*/ 5083 w 5083"/>
                    <a:gd name="connsiteY0" fmla="*/ 14414 h 14413"/>
                    <a:gd name="connsiteX1" fmla="*/ 0 w 5083"/>
                    <a:gd name="connsiteY1" fmla="*/ 0 h 14413"/>
                  </a:gdLst>
                  <a:ahLst/>
                  <a:cxnLst>
                    <a:cxn ang="0">
                      <a:pos x="connsiteX0" y="connsiteY0"/>
                    </a:cxn>
                    <a:cxn ang="0">
                      <a:pos x="connsiteX1" y="connsiteY1"/>
                    </a:cxn>
                  </a:cxnLst>
                  <a:rect l="l" t="t" r="r" b="b"/>
                  <a:pathLst>
                    <a:path w="5083" h="14413">
                      <a:moveTo>
                        <a:pt x="5083" y="1441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19" name="Vrije vorm: vorm 6218">
                  <a:extLst>
                    <a:ext uri="{FF2B5EF4-FFF2-40B4-BE49-F238E27FC236}">
                      <a16:creationId xmlns:a16="http://schemas.microsoft.com/office/drawing/2014/main" id="{68587263-C16E-401A-B329-D7E1DC5EABBE}"/>
                    </a:ext>
                  </a:extLst>
                </p:cNvPr>
                <p:cNvSpPr/>
                <p:nvPr/>
              </p:nvSpPr>
              <p:spPr>
                <a:xfrm>
                  <a:off x="7630045" y="2736220"/>
                  <a:ext cx="4066" cy="11841"/>
                </a:xfrm>
                <a:custGeom>
                  <a:avLst/>
                  <a:gdLst>
                    <a:gd name="connsiteX0" fmla="*/ 0 w 4066"/>
                    <a:gd name="connsiteY0" fmla="*/ 11842 h 11841"/>
                    <a:gd name="connsiteX1" fmla="*/ 4067 w 4066"/>
                    <a:gd name="connsiteY1" fmla="*/ 0 h 11841"/>
                  </a:gdLst>
                  <a:ahLst/>
                  <a:cxnLst>
                    <a:cxn ang="0">
                      <a:pos x="connsiteX0" y="connsiteY0"/>
                    </a:cxn>
                    <a:cxn ang="0">
                      <a:pos x="connsiteX1" y="connsiteY1"/>
                    </a:cxn>
                  </a:cxnLst>
                  <a:rect l="l" t="t" r="r" b="b"/>
                  <a:pathLst>
                    <a:path w="4066" h="11841">
                      <a:moveTo>
                        <a:pt x="0" y="11842"/>
                      </a:moveTo>
                      <a:lnTo>
                        <a:pt x="4067" y="0"/>
                      </a:lnTo>
                    </a:path>
                  </a:pathLst>
                </a:custGeom>
                <a:ln w="6350" cap="rnd">
                  <a:solidFill>
                    <a:schemeClr val="bg1">
                      <a:alpha val="40000"/>
                    </a:schemeClr>
                  </a:solidFill>
                  <a:prstDash val="solid"/>
                  <a:round/>
                </a:ln>
              </p:spPr>
              <p:txBody>
                <a:bodyPr rtlCol="0" anchor="ctr"/>
                <a:lstStyle/>
                <a:p>
                  <a:endParaRPr lang="en-GB"/>
                </a:p>
              </p:txBody>
            </p:sp>
            <p:sp>
              <p:nvSpPr>
                <p:cNvPr id="6220" name="Vrije vorm: vorm 6219">
                  <a:extLst>
                    <a:ext uri="{FF2B5EF4-FFF2-40B4-BE49-F238E27FC236}">
                      <a16:creationId xmlns:a16="http://schemas.microsoft.com/office/drawing/2014/main" id="{7654405C-2481-4B06-9B7B-F9121BFCCDDC}"/>
                    </a:ext>
                  </a:extLst>
                </p:cNvPr>
                <p:cNvSpPr/>
                <p:nvPr/>
              </p:nvSpPr>
              <p:spPr>
                <a:xfrm>
                  <a:off x="7630045" y="2733648"/>
                  <a:ext cx="13396" cy="14413"/>
                </a:xfrm>
                <a:custGeom>
                  <a:avLst/>
                  <a:gdLst>
                    <a:gd name="connsiteX0" fmla="*/ 0 w 13396"/>
                    <a:gd name="connsiteY0" fmla="*/ 14414 h 14413"/>
                    <a:gd name="connsiteX1" fmla="*/ 13397 w 13396"/>
                    <a:gd name="connsiteY1" fmla="*/ 0 h 14413"/>
                  </a:gdLst>
                  <a:ahLst/>
                  <a:cxnLst>
                    <a:cxn ang="0">
                      <a:pos x="connsiteX0" y="connsiteY0"/>
                    </a:cxn>
                    <a:cxn ang="0">
                      <a:pos x="connsiteX1" y="connsiteY1"/>
                    </a:cxn>
                  </a:cxnLst>
                  <a:rect l="l" t="t" r="r" b="b"/>
                  <a:pathLst>
                    <a:path w="13396" h="14413">
                      <a:moveTo>
                        <a:pt x="0" y="14414"/>
                      </a:moveTo>
                      <a:lnTo>
                        <a:pt x="13397" y="0"/>
                      </a:lnTo>
                    </a:path>
                  </a:pathLst>
                </a:custGeom>
                <a:ln w="6350" cap="rnd">
                  <a:solidFill>
                    <a:schemeClr val="bg1">
                      <a:alpha val="40000"/>
                    </a:schemeClr>
                  </a:solidFill>
                  <a:prstDash val="solid"/>
                  <a:round/>
                </a:ln>
              </p:spPr>
              <p:txBody>
                <a:bodyPr rtlCol="0" anchor="ctr"/>
                <a:lstStyle/>
                <a:p>
                  <a:endParaRPr lang="en-GB"/>
                </a:p>
              </p:txBody>
            </p:sp>
            <p:sp>
              <p:nvSpPr>
                <p:cNvPr id="6221" name="Vrije vorm: vorm 6220">
                  <a:extLst>
                    <a:ext uri="{FF2B5EF4-FFF2-40B4-BE49-F238E27FC236}">
                      <a16:creationId xmlns:a16="http://schemas.microsoft.com/office/drawing/2014/main" id="{34A653A3-AC2D-40A7-97D9-6247E3A08A18}"/>
                    </a:ext>
                  </a:extLst>
                </p:cNvPr>
                <p:cNvSpPr/>
                <p:nvPr/>
              </p:nvSpPr>
              <p:spPr>
                <a:xfrm>
                  <a:off x="7617605" y="2722764"/>
                  <a:ext cx="7356" cy="10884"/>
                </a:xfrm>
                <a:custGeom>
                  <a:avLst/>
                  <a:gdLst>
                    <a:gd name="connsiteX0" fmla="*/ 0 w 7356"/>
                    <a:gd name="connsiteY0" fmla="*/ 0 h 10884"/>
                    <a:gd name="connsiteX1" fmla="*/ 7356 w 7356"/>
                    <a:gd name="connsiteY1" fmla="*/ 10885 h 10884"/>
                  </a:gdLst>
                  <a:ahLst/>
                  <a:cxnLst>
                    <a:cxn ang="0">
                      <a:pos x="connsiteX0" y="connsiteY0"/>
                    </a:cxn>
                    <a:cxn ang="0">
                      <a:pos x="connsiteX1" y="connsiteY1"/>
                    </a:cxn>
                  </a:cxnLst>
                  <a:rect l="l" t="t" r="r" b="b"/>
                  <a:pathLst>
                    <a:path w="7356" h="10884">
                      <a:moveTo>
                        <a:pt x="0" y="0"/>
                      </a:moveTo>
                      <a:lnTo>
                        <a:pt x="7356" y="10885"/>
                      </a:lnTo>
                    </a:path>
                  </a:pathLst>
                </a:custGeom>
                <a:ln w="6350" cap="rnd">
                  <a:solidFill>
                    <a:schemeClr val="bg1">
                      <a:alpha val="40000"/>
                    </a:schemeClr>
                  </a:solidFill>
                  <a:prstDash val="solid"/>
                  <a:round/>
                </a:ln>
              </p:spPr>
              <p:txBody>
                <a:bodyPr rtlCol="0" anchor="ctr"/>
                <a:lstStyle/>
                <a:p>
                  <a:endParaRPr lang="en-GB"/>
                </a:p>
              </p:txBody>
            </p:sp>
            <p:sp>
              <p:nvSpPr>
                <p:cNvPr id="6222" name="Vrije vorm: vorm 6221">
                  <a:extLst>
                    <a:ext uri="{FF2B5EF4-FFF2-40B4-BE49-F238E27FC236}">
                      <a16:creationId xmlns:a16="http://schemas.microsoft.com/office/drawing/2014/main" id="{3BEF5DC9-39CD-4322-8659-1AFD68AF8355}"/>
                    </a:ext>
                  </a:extLst>
                </p:cNvPr>
                <p:cNvSpPr/>
                <p:nvPr/>
              </p:nvSpPr>
              <p:spPr>
                <a:xfrm>
                  <a:off x="7617605" y="2704463"/>
                  <a:ext cx="23205" cy="18301"/>
                </a:xfrm>
                <a:custGeom>
                  <a:avLst/>
                  <a:gdLst>
                    <a:gd name="connsiteX0" fmla="*/ 0 w 23205"/>
                    <a:gd name="connsiteY0" fmla="*/ 18301 h 18301"/>
                    <a:gd name="connsiteX1" fmla="*/ 23205 w 23205"/>
                    <a:gd name="connsiteY1" fmla="*/ 0 h 18301"/>
                  </a:gdLst>
                  <a:ahLst/>
                  <a:cxnLst>
                    <a:cxn ang="0">
                      <a:pos x="connsiteX0" y="connsiteY0"/>
                    </a:cxn>
                    <a:cxn ang="0">
                      <a:pos x="connsiteX1" y="connsiteY1"/>
                    </a:cxn>
                  </a:cxnLst>
                  <a:rect l="l" t="t" r="r" b="b"/>
                  <a:pathLst>
                    <a:path w="23205" h="18301">
                      <a:moveTo>
                        <a:pt x="0" y="18301"/>
                      </a:moveTo>
                      <a:lnTo>
                        <a:pt x="23205" y="0"/>
                      </a:lnTo>
                    </a:path>
                  </a:pathLst>
                </a:custGeom>
                <a:ln w="6350" cap="rnd">
                  <a:solidFill>
                    <a:schemeClr val="bg1">
                      <a:alpha val="40000"/>
                    </a:schemeClr>
                  </a:solidFill>
                  <a:prstDash val="solid"/>
                  <a:round/>
                </a:ln>
              </p:spPr>
              <p:txBody>
                <a:bodyPr rtlCol="0" anchor="ctr"/>
                <a:lstStyle/>
                <a:p>
                  <a:endParaRPr lang="en-GB"/>
                </a:p>
              </p:txBody>
            </p:sp>
            <p:sp>
              <p:nvSpPr>
                <p:cNvPr id="6223" name="Vrije vorm: vorm 6222">
                  <a:extLst>
                    <a:ext uri="{FF2B5EF4-FFF2-40B4-BE49-F238E27FC236}">
                      <a16:creationId xmlns:a16="http://schemas.microsoft.com/office/drawing/2014/main" id="{CDD32256-49FF-46EE-84AD-DA6B3E751CFD}"/>
                    </a:ext>
                  </a:extLst>
                </p:cNvPr>
                <p:cNvSpPr/>
                <p:nvPr/>
              </p:nvSpPr>
              <p:spPr>
                <a:xfrm>
                  <a:off x="7538301" y="2694535"/>
                  <a:ext cx="14054" cy="12439"/>
                </a:xfrm>
                <a:custGeom>
                  <a:avLst/>
                  <a:gdLst>
                    <a:gd name="connsiteX0" fmla="*/ 14054 w 14054"/>
                    <a:gd name="connsiteY0" fmla="*/ 0 h 12439"/>
                    <a:gd name="connsiteX1" fmla="*/ 0 w 14054"/>
                    <a:gd name="connsiteY1" fmla="*/ 12440 h 12439"/>
                  </a:gdLst>
                  <a:ahLst/>
                  <a:cxnLst>
                    <a:cxn ang="0">
                      <a:pos x="connsiteX0" y="connsiteY0"/>
                    </a:cxn>
                    <a:cxn ang="0">
                      <a:pos x="connsiteX1" y="connsiteY1"/>
                    </a:cxn>
                  </a:cxnLst>
                  <a:rect l="l" t="t" r="r" b="b"/>
                  <a:pathLst>
                    <a:path w="14054" h="12439">
                      <a:moveTo>
                        <a:pt x="14054" y="0"/>
                      </a:moveTo>
                      <a:lnTo>
                        <a:pt x="0" y="12440"/>
                      </a:lnTo>
                    </a:path>
                  </a:pathLst>
                </a:custGeom>
                <a:ln w="6350" cap="rnd">
                  <a:solidFill>
                    <a:schemeClr val="bg1">
                      <a:alpha val="40000"/>
                    </a:schemeClr>
                  </a:solidFill>
                  <a:prstDash val="solid"/>
                  <a:round/>
                </a:ln>
              </p:spPr>
              <p:txBody>
                <a:bodyPr rtlCol="0" anchor="ctr"/>
                <a:lstStyle/>
                <a:p>
                  <a:endParaRPr lang="en-GB"/>
                </a:p>
              </p:txBody>
            </p:sp>
            <p:sp>
              <p:nvSpPr>
                <p:cNvPr id="6224" name="Vrije vorm: vorm 6223">
                  <a:extLst>
                    <a:ext uri="{FF2B5EF4-FFF2-40B4-BE49-F238E27FC236}">
                      <a16:creationId xmlns:a16="http://schemas.microsoft.com/office/drawing/2014/main" id="{CBA63B53-0CFB-4125-9786-17443E0CB50D}"/>
                    </a:ext>
                  </a:extLst>
                </p:cNvPr>
                <p:cNvSpPr/>
                <p:nvPr/>
              </p:nvSpPr>
              <p:spPr>
                <a:xfrm>
                  <a:off x="7604687" y="2722764"/>
                  <a:ext cx="12918" cy="8672"/>
                </a:xfrm>
                <a:custGeom>
                  <a:avLst/>
                  <a:gdLst>
                    <a:gd name="connsiteX0" fmla="*/ 0 w 12918"/>
                    <a:gd name="connsiteY0" fmla="*/ 8672 h 8672"/>
                    <a:gd name="connsiteX1" fmla="*/ 12918 w 12918"/>
                    <a:gd name="connsiteY1" fmla="*/ 0 h 8672"/>
                  </a:gdLst>
                  <a:ahLst/>
                  <a:cxnLst>
                    <a:cxn ang="0">
                      <a:pos x="connsiteX0" y="connsiteY0"/>
                    </a:cxn>
                    <a:cxn ang="0">
                      <a:pos x="connsiteX1" y="connsiteY1"/>
                    </a:cxn>
                  </a:cxnLst>
                  <a:rect l="l" t="t" r="r" b="b"/>
                  <a:pathLst>
                    <a:path w="12918" h="8672">
                      <a:moveTo>
                        <a:pt x="0" y="8672"/>
                      </a:moveTo>
                      <a:lnTo>
                        <a:pt x="12918" y="0"/>
                      </a:lnTo>
                    </a:path>
                  </a:pathLst>
                </a:custGeom>
                <a:ln w="6350" cap="rnd">
                  <a:solidFill>
                    <a:schemeClr val="bg1">
                      <a:alpha val="40000"/>
                    </a:schemeClr>
                  </a:solidFill>
                  <a:prstDash val="solid"/>
                  <a:round/>
                </a:ln>
              </p:spPr>
              <p:txBody>
                <a:bodyPr rtlCol="0" anchor="ctr"/>
                <a:lstStyle/>
                <a:p>
                  <a:endParaRPr lang="en-GB"/>
                </a:p>
              </p:txBody>
            </p:sp>
            <p:sp>
              <p:nvSpPr>
                <p:cNvPr id="6225" name="Vrije vorm: vorm 6224">
                  <a:extLst>
                    <a:ext uri="{FF2B5EF4-FFF2-40B4-BE49-F238E27FC236}">
                      <a16:creationId xmlns:a16="http://schemas.microsoft.com/office/drawing/2014/main" id="{C89DFC53-3143-49A1-88BD-C1882AE681B5}"/>
                    </a:ext>
                  </a:extLst>
                </p:cNvPr>
                <p:cNvSpPr/>
                <p:nvPr/>
              </p:nvSpPr>
              <p:spPr>
                <a:xfrm>
                  <a:off x="7615034" y="2677071"/>
                  <a:ext cx="10107" cy="12260"/>
                </a:xfrm>
                <a:custGeom>
                  <a:avLst/>
                  <a:gdLst>
                    <a:gd name="connsiteX0" fmla="*/ 0 w 10107"/>
                    <a:gd name="connsiteY0" fmla="*/ 0 h 12260"/>
                    <a:gd name="connsiteX1" fmla="*/ 10107 w 10107"/>
                    <a:gd name="connsiteY1" fmla="*/ 12260 h 12260"/>
                  </a:gdLst>
                  <a:ahLst/>
                  <a:cxnLst>
                    <a:cxn ang="0">
                      <a:pos x="connsiteX0" y="connsiteY0"/>
                    </a:cxn>
                    <a:cxn ang="0">
                      <a:pos x="connsiteX1" y="connsiteY1"/>
                    </a:cxn>
                  </a:cxnLst>
                  <a:rect l="l" t="t" r="r" b="b"/>
                  <a:pathLst>
                    <a:path w="10107" h="12260">
                      <a:moveTo>
                        <a:pt x="0" y="0"/>
                      </a:moveTo>
                      <a:lnTo>
                        <a:pt x="10107" y="12260"/>
                      </a:lnTo>
                    </a:path>
                  </a:pathLst>
                </a:custGeom>
                <a:ln w="6350" cap="rnd">
                  <a:solidFill>
                    <a:schemeClr val="bg1">
                      <a:alpha val="40000"/>
                    </a:schemeClr>
                  </a:solidFill>
                  <a:prstDash val="solid"/>
                  <a:round/>
                </a:ln>
              </p:spPr>
              <p:txBody>
                <a:bodyPr rtlCol="0" anchor="ctr"/>
                <a:lstStyle/>
                <a:p>
                  <a:endParaRPr lang="en-GB"/>
                </a:p>
              </p:txBody>
            </p:sp>
            <p:sp>
              <p:nvSpPr>
                <p:cNvPr id="6226" name="Vrije vorm: vorm 6225">
                  <a:extLst>
                    <a:ext uri="{FF2B5EF4-FFF2-40B4-BE49-F238E27FC236}">
                      <a16:creationId xmlns:a16="http://schemas.microsoft.com/office/drawing/2014/main" id="{9A9027D3-67FA-442C-9355-7810FC0DD6C8}"/>
                    </a:ext>
                  </a:extLst>
                </p:cNvPr>
                <p:cNvSpPr/>
                <p:nvPr/>
              </p:nvSpPr>
              <p:spPr>
                <a:xfrm>
                  <a:off x="7615034" y="2676293"/>
                  <a:ext cx="27690" cy="777"/>
                </a:xfrm>
                <a:custGeom>
                  <a:avLst/>
                  <a:gdLst>
                    <a:gd name="connsiteX0" fmla="*/ 0 w 27690"/>
                    <a:gd name="connsiteY0" fmla="*/ 778 h 777"/>
                    <a:gd name="connsiteX1" fmla="*/ 27690 w 27690"/>
                    <a:gd name="connsiteY1" fmla="*/ 0 h 777"/>
                  </a:gdLst>
                  <a:ahLst/>
                  <a:cxnLst>
                    <a:cxn ang="0">
                      <a:pos x="connsiteX0" y="connsiteY0"/>
                    </a:cxn>
                    <a:cxn ang="0">
                      <a:pos x="connsiteX1" y="connsiteY1"/>
                    </a:cxn>
                  </a:cxnLst>
                  <a:rect l="l" t="t" r="r" b="b"/>
                  <a:pathLst>
                    <a:path w="27690" h="777">
                      <a:moveTo>
                        <a:pt x="0" y="778"/>
                      </a:moveTo>
                      <a:lnTo>
                        <a:pt x="27690" y="0"/>
                      </a:lnTo>
                    </a:path>
                  </a:pathLst>
                </a:custGeom>
                <a:ln w="6350" cap="rnd">
                  <a:solidFill>
                    <a:schemeClr val="bg1">
                      <a:alpha val="40000"/>
                    </a:schemeClr>
                  </a:solidFill>
                  <a:prstDash val="solid"/>
                  <a:round/>
                </a:ln>
              </p:spPr>
              <p:txBody>
                <a:bodyPr rtlCol="0" anchor="ctr"/>
                <a:lstStyle/>
                <a:p>
                  <a:endParaRPr lang="en-GB"/>
                </a:p>
              </p:txBody>
            </p:sp>
            <p:sp>
              <p:nvSpPr>
                <p:cNvPr id="6227" name="Vrije vorm: vorm 6226">
                  <a:extLst>
                    <a:ext uri="{FF2B5EF4-FFF2-40B4-BE49-F238E27FC236}">
                      <a16:creationId xmlns:a16="http://schemas.microsoft.com/office/drawing/2014/main" id="{37F6A8D4-65AC-41F5-9590-38BFA0CD1B5A}"/>
                    </a:ext>
                  </a:extLst>
                </p:cNvPr>
                <p:cNvSpPr/>
                <p:nvPr/>
              </p:nvSpPr>
              <p:spPr>
                <a:xfrm>
                  <a:off x="7612223" y="2670612"/>
                  <a:ext cx="2810" cy="6459"/>
                </a:xfrm>
                <a:custGeom>
                  <a:avLst/>
                  <a:gdLst>
                    <a:gd name="connsiteX0" fmla="*/ 2811 w 2810"/>
                    <a:gd name="connsiteY0" fmla="*/ 6459 h 6459"/>
                    <a:gd name="connsiteX1" fmla="*/ 0 w 2810"/>
                    <a:gd name="connsiteY1" fmla="*/ 0 h 6459"/>
                  </a:gdLst>
                  <a:ahLst/>
                  <a:cxnLst>
                    <a:cxn ang="0">
                      <a:pos x="connsiteX0" y="connsiteY0"/>
                    </a:cxn>
                    <a:cxn ang="0">
                      <a:pos x="connsiteX1" y="connsiteY1"/>
                    </a:cxn>
                  </a:cxnLst>
                  <a:rect l="l" t="t" r="r" b="b"/>
                  <a:pathLst>
                    <a:path w="2810" h="6459">
                      <a:moveTo>
                        <a:pt x="2811" y="6459"/>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28" name="Vrije vorm: vorm 6227">
                  <a:extLst>
                    <a:ext uri="{FF2B5EF4-FFF2-40B4-BE49-F238E27FC236}">
                      <a16:creationId xmlns:a16="http://schemas.microsoft.com/office/drawing/2014/main" id="{A9595D33-26DE-4180-BF25-64DE350BEB59}"/>
                    </a:ext>
                  </a:extLst>
                </p:cNvPr>
                <p:cNvSpPr/>
                <p:nvPr/>
              </p:nvSpPr>
              <p:spPr>
                <a:xfrm>
                  <a:off x="7615034" y="2668638"/>
                  <a:ext cx="19796" cy="8432"/>
                </a:xfrm>
                <a:custGeom>
                  <a:avLst/>
                  <a:gdLst>
                    <a:gd name="connsiteX0" fmla="*/ 0 w 19796"/>
                    <a:gd name="connsiteY0" fmla="*/ 8433 h 8432"/>
                    <a:gd name="connsiteX1" fmla="*/ 19796 w 19796"/>
                    <a:gd name="connsiteY1" fmla="*/ 0 h 8432"/>
                  </a:gdLst>
                  <a:ahLst/>
                  <a:cxnLst>
                    <a:cxn ang="0">
                      <a:pos x="connsiteX0" y="connsiteY0"/>
                    </a:cxn>
                    <a:cxn ang="0">
                      <a:pos x="connsiteX1" y="connsiteY1"/>
                    </a:cxn>
                  </a:cxnLst>
                  <a:rect l="l" t="t" r="r" b="b"/>
                  <a:pathLst>
                    <a:path w="19796" h="8432">
                      <a:moveTo>
                        <a:pt x="0" y="8433"/>
                      </a:moveTo>
                      <a:lnTo>
                        <a:pt x="19796" y="0"/>
                      </a:lnTo>
                    </a:path>
                  </a:pathLst>
                </a:custGeom>
                <a:ln w="6350" cap="rnd">
                  <a:solidFill>
                    <a:schemeClr val="bg1">
                      <a:alpha val="40000"/>
                    </a:schemeClr>
                  </a:solidFill>
                  <a:prstDash val="solid"/>
                  <a:round/>
                </a:ln>
              </p:spPr>
              <p:txBody>
                <a:bodyPr rtlCol="0" anchor="ctr"/>
                <a:lstStyle/>
                <a:p>
                  <a:endParaRPr lang="en-GB"/>
                </a:p>
              </p:txBody>
            </p:sp>
            <p:sp>
              <p:nvSpPr>
                <p:cNvPr id="6229" name="Vrije vorm: vorm 6228">
                  <a:extLst>
                    <a:ext uri="{FF2B5EF4-FFF2-40B4-BE49-F238E27FC236}">
                      <a16:creationId xmlns:a16="http://schemas.microsoft.com/office/drawing/2014/main" id="{D97FFE7E-01A8-41AD-963A-09CCAB2AA0CC}"/>
                    </a:ext>
                  </a:extLst>
                </p:cNvPr>
                <p:cNvSpPr/>
                <p:nvPr/>
              </p:nvSpPr>
              <p:spPr>
                <a:xfrm>
                  <a:off x="7590034" y="2667502"/>
                  <a:ext cx="22188" cy="3109"/>
                </a:xfrm>
                <a:custGeom>
                  <a:avLst/>
                  <a:gdLst>
                    <a:gd name="connsiteX0" fmla="*/ 0 w 22188"/>
                    <a:gd name="connsiteY0" fmla="*/ 0 h 3109"/>
                    <a:gd name="connsiteX1" fmla="*/ 22188 w 22188"/>
                    <a:gd name="connsiteY1" fmla="*/ 3110 h 3109"/>
                  </a:gdLst>
                  <a:ahLst/>
                  <a:cxnLst>
                    <a:cxn ang="0">
                      <a:pos x="connsiteX0" y="connsiteY0"/>
                    </a:cxn>
                    <a:cxn ang="0">
                      <a:pos x="connsiteX1" y="connsiteY1"/>
                    </a:cxn>
                  </a:cxnLst>
                  <a:rect l="l" t="t" r="r" b="b"/>
                  <a:pathLst>
                    <a:path w="22188" h="3109">
                      <a:moveTo>
                        <a:pt x="0" y="0"/>
                      </a:moveTo>
                      <a:lnTo>
                        <a:pt x="22188" y="3110"/>
                      </a:lnTo>
                    </a:path>
                  </a:pathLst>
                </a:custGeom>
                <a:ln w="6350" cap="rnd">
                  <a:solidFill>
                    <a:schemeClr val="bg1">
                      <a:alpha val="40000"/>
                    </a:schemeClr>
                  </a:solidFill>
                  <a:prstDash val="solid"/>
                  <a:round/>
                </a:ln>
              </p:spPr>
              <p:txBody>
                <a:bodyPr rtlCol="0" anchor="ctr"/>
                <a:lstStyle/>
                <a:p>
                  <a:endParaRPr lang="en-GB"/>
                </a:p>
              </p:txBody>
            </p:sp>
            <p:sp>
              <p:nvSpPr>
                <p:cNvPr id="6230" name="Vrije vorm: vorm 6229">
                  <a:extLst>
                    <a:ext uri="{FF2B5EF4-FFF2-40B4-BE49-F238E27FC236}">
                      <a16:creationId xmlns:a16="http://schemas.microsoft.com/office/drawing/2014/main" id="{5EE1B397-40A0-4CDE-818A-C14541E990F5}"/>
                    </a:ext>
                  </a:extLst>
                </p:cNvPr>
                <p:cNvSpPr/>
                <p:nvPr/>
              </p:nvSpPr>
              <p:spPr>
                <a:xfrm>
                  <a:off x="7590034" y="2667502"/>
                  <a:ext cx="2810" cy="17164"/>
                </a:xfrm>
                <a:custGeom>
                  <a:avLst/>
                  <a:gdLst>
                    <a:gd name="connsiteX0" fmla="*/ 0 w 2810"/>
                    <a:gd name="connsiteY0" fmla="*/ 0 h 17164"/>
                    <a:gd name="connsiteX1" fmla="*/ 2811 w 2810"/>
                    <a:gd name="connsiteY1" fmla="*/ 17165 h 17164"/>
                  </a:gdLst>
                  <a:ahLst/>
                  <a:cxnLst>
                    <a:cxn ang="0">
                      <a:pos x="connsiteX0" y="connsiteY0"/>
                    </a:cxn>
                    <a:cxn ang="0">
                      <a:pos x="connsiteX1" y="connsiteY1"/>
                    </a:cxn>
                  </a:cxnLst>
                  <a:rect l="l" t="t" r="r" b="b"/>
                  <a:pathLst>
                    <a:path w="2810" h="17164">
                      <a:moveTo>
                        <a:pt x="0" y="0"/>
                      </a:moveTo>
                      <a:lnTo>
                        <a:pt x="2811" y="17165"/>
                      </a:lnTo>
                    </a:path>
                  </a:pathLst>
                </a:custGeom>
                <a:ln w="6350" cap="rnd">
                  <a:solidFill>
                    <a:schemeClr val="bg1">
                      <a:alpha val="40000"/>
                    </a:schemeClr>
                  </a:solidFill>
                  <a:prstDash val="solid"/>
                  <a:round/>
                </a:ln>
              </p:spPr>
              <p:txBody>
                <a:bodyPr rtlCol="0" anchor="ctr"/>
                <a:lstStyle/>
                <a:p>
                  <a:endParaRPr lang="en-GB"/>
                </a:p>
              </p:txBody>
            </p:sp>
            <p:sp>
              <p:nvSpPr>
                <p:cNvPr id="6231" name="Vrije vorm: vorm 6230">
                  <a:extLst>
                    <a:ext uri="{FF2B5EF4-FFF2-40B4-BE49-F238E27FC236}">
                      <a16:creationId xmlns:a16="http://schemas.microsoft.com/office/drawing/2014/main" id="{DBABC1DF-5238-4E10-AD6F-3156C43E537C}"/>
                    </a:ext>
                  </a:extLst>
                </p:cNvPr>
                <p:cNvSpPr/>
                <p:nvPr/>
              </p:nvSpPr>
              <p:spPr>
                <a:xfrm>
                  <a:off x="7590034" y="2659308"/>
                  <a:ext cx="14772" cy="8193"/>
                </a:xfrm>
                <a:custGeom>
                  <a:avLst/>
                  <a:gdLst>
                    <a:gd name="connsiteX0" fmla="*/ 0 w 14772"/>
                    <a:gd name="connsiteY0" fmla="*/ 8194 h 8193"/>
                    <a:gd name="connsiteX1" fmla="*/ 14772 w 14772"/>
                    <a:gd name="connsiteY1" fmla="*/ 0 h 8193"/>
                  </a:gdLst>
                  <a:ahLst/>
                  <a:cxnLst>
                    <a:cxn ang="0">
                      <a:pos x="connsiteX0" y="connsiteY0"/>
                    </a:cxn>
                    <a:cxn ang="0">
                      <a:pos x="connsiteX1" y="connsiteY1"/>
                    </a:cxn>
                  </a:cxnLst>
                  <a:rect l="l" t="t" r="r" b="b"/>
                  <a:pathLst>
                    <a:path w="14772" h="8193">
                      <a:moveTo>
                        <a:pt x="0" y="8194"/>
                      </a:moveTo>
                      <a:lnTo>
                        <a:pt x="14772" y="0"/>
                      </a:lnTo>
                    </a:path>
                  </a:pathLst>
                </a:custGeom>
                <a:ln w="6350" cap="rnd">
                  <a:solidFill>
                    <a:schemeClr val="bg1">
                      <a:alpha val="40000"/>
                    </a:schemeClr>
                  </a:solidFill>
                  <a:prstDash val="solid"/>
                  <a:round/>
                </a:ln>
              </p:spPr>
              <p:txBody>
                <a:bodyPr rtlCol="0" anchor="ctr"/>
                <a:lstStyle/>
                <a:p>
                  <a:endParaRPr lang="en-GB"/>
                </a:p>
              </p:txBody>
            </p:sp>
            <p:sp>
              <p:nvSpPr>
                <p:cNvPr id="6232" name="Vrije vorm: vorm 6231">
                  <a:extLst>
                    <a:ext uri="{FF2B5EF4-FFF2-40B4-BE49-F238E27FC236}">
                      <a16:creationId xmlns:a16="http://schemas.microsoft.com/office/drawing/2014/main" id="{D90848F9-B5E8-4BB3-88C0-01F4725692E9}"/>
                    </a:ext>
                  </a:extLst>
                </p:cNvPr>
                <p:cNvSpPr/>
                <p:nvPr/>
              </p:nvSpPr>
              <p:spPr>
                <a:xfrm>
                  <a:off x="7745354" y="2780178"/>
                  <a:ext cx="18001" cy="10167"/>
                </a:xfrm>
                <a:custGeom>
                  <a:avLst/>
                  <a:gdLst>
                    <a:gd name="connsiteX0" fmla="*/ 0 w 18001"/>
                    <a:gd name="connsiteY0" fmla="*/ 10167 h 10167"/>
                    <a:gd name="connsiteX1" fmla="*/ 18002 w 18001"/>
                    <a:gd name="connsiteY1" fmla="*/ 0 h 10167"/>
                  </a:gdLst>
                  <a:ahLst/>
                  <a:cxnLst>
                    <a:cxn ang="0">
                      <a:pos x="connsiteX0" y="connsiteY0"/>
                    </a:cxn>
                    <a:cxn ang="0">
                      <a:pos x="connsiteX1" y="connsiteY1"/>
                    </a:cxn>
                  </a:cxnLst>
                  <a:rect l="l" t="t" r="r" b="b"/>
                  <a:pathLst>
                    <a:path w="18001" h="10167">
                      <a:moveTo>
                        <a:pt x="0" y="10167"/>
                      </a:moveTo>
                      <a:lnTo>
                        <a:pt x="18002" y="0"/>
                      </a:lnTo>
                    </a:path>
                  </a:pathLst>
                </a:custGeom>
                <a:ln w="6350" cap="rnd">
                  <a:solidFill>
                    <a:schemeClr val="bg1">
                      <a:alpha val="40000"/>
                    </a:schemeClr>
                  </a:solidFill>
                  <a:prstDash val="solid"/>
                  <a:round/>
                </a:ln>
              </p:spPr>
              <p:txBody>
                <a:bodyPr rtlCol="0" anchor="ctr"/>
                <a:lstStyle/>
                <a:p>
                  <a:endParaRPr lang="en-GB"/>
                </a:p>
              </p:txBody>
            </p:sp>
            <p:sp>
              <p:nvSpPr>
                <p:cNvPr id="6233" name="Vrije vorm: vorm 6232">
                  <a:extLst>
                    <a:ext uri="{FF2B5EF4-FFF2-40B4-BE49-F238E27FC236}">
                      <a16:creationId xmlns:a16="http://schemas.microsoft.com/office/drawing/2014/main" id="{86EBAF63-CF2C-41F0-956E-EFB8E38C7552}"/>
                    </a:ext>
                  </a:extLst>
                </p:cNvPr>
                <p:cNvSpPr/>
                <p:nvPr/>
              </p:nvSpPr>
              <p:spPr>
                <a:xfrm>
                  <a:off x="7745354" y="2790346"/>
                  <a:ext cx="24102" cy="34987"/>
                </a:xfrm>
                <a:custGeom>
                  <a:avLst/>
                  <a:gdLst>
                    <a:gd name="connsiteX0" fmla="*/ 0 w 24102"/>
                    <a:gd name="connsiteY0" fmla="*/ 0 h 34987"/>
                    <a:gd name="connsiteX1" fmla="*/ 24102 w 24102"/>
                    <a:gd name="connsiteY1" fmla="*/ 34987 h 34987"/>
                  </a:gdLst>
                  <a:ahLst/>
                  <a:cxnLst>
                    <a:cxn ang="0">
                      <a:pos x="connsiteX0" y="connsiteY0"/>
                    </a:cxn>
                    <a:cxn ang="0">
                      <a:pos x="connsiteX1" y="connsiteY1"/>
                    </a:cxn>
                  </a:cxnLst>
                  <a:rect l="l" t="t" r="r" b="b"/>
                  <a:pathLst>
                    <a:path w="24102" h="34987">
                      <a:moveTo>
                        <a:pt x="0" y="0"/>
                      </a:moveTo>
                      <a:lnTo>
                        <a:pt x="24102" y="34987"/>
                      </a:lnTo>
                    </a:path>
                  </a:pathLst>
                </a:custGeom>
                <a:ln w="6350" cap="rnd">
                  <a:solidFill>
                    <a:schemeClr val="bg1">
                      <a:alpha val="40000"/>
                    </a:schemeClr>
                  </a:solidFill>
                  <a:prstDash val="solid"/>
                  <a:round/>
                </a:ln>
              </p:spPr>
              <p:txBody>
                <a:bodyPr rtlCol="0" anchor="ctr"/>
                <a:lstStyle/>
                <a:p>
                  <a:endParaRPr lang="en-GB"/>
                </a:p>
              </p:txBody>
            </p:sp>
            <p:sp>
              <p:nvSpPr>
                <p:cNvPr id="6234" name="Vrije vorm: vorm 6233">
                  <a:extLst>
                    <a:ext uri="{FF2B5EF4-FFF2-40B4-BE49-F238E27FC236}">
                      <a16:creationId xmlns:a16="http://schemas.microsoft.com/office/drawing/2014/main" id="{533C6971-F594-490F-84B3-C7AC898FFA45}"/>
                    </a:ext>
                  </a:extLst>
                </p:cNvPr>
                <p:cNvSpPr/>
                <p:nvPr/>
              </p:nvSpPr>
              <p:spPr>
                <a:xfrm>
                  <a:off x="7728129" y="2777068"/>
                  <a:ext cx="17224" cy="13277"/>
                </a:xfrm>
                <a:custGeom>
                  <a:avLst/>
                  <a:gdLst>
                    <a:gd name="connsiteX0" fmla="*/ 17224 w 17224"/>
                    <a:gd name="connsiteY0" fmla="*/ 13277 h 13277"/>
                    <a:gd name="connsiteX1" fmla="*/ 0 w 17224"/>
                    <a:gd name="connsiteY1" fmla="*/ 0 h 13277"/>
                  </a:gdLst>
                  <a:ahLst/>
                  <a:cxnLst>
                    <a:cxn ang="0">
                      <a:pos x="connsiteX0" y="connsiteY0"/>
                    </a:cxn>
                    <a:cxn ang="0">
                      <a:pos x="connsiteX1" y="connsiteY1"/>
                    </a:cxn>
                  </a:cxnLst>
                  <a:rect l="l" t="t" r="r" b="b"/>
                  <a:pathLst>
                    <a:path w="17224" h="13277">
                      <a:moveTo>
                        <a:pt x="17224" y="1327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35" name="Vrije vorm: vorm 6234">
                  <a:extLst>
                    <a:ext uri="{FF2B5EF4-FFF2-40B4-BE49-F238E27FC236}">
                      <a16:creationId xmlns:a16="http://schemas.microsoft.com/office/drawing/2014/main" id="{5C530495-16AE-4794-9305-9806C64C1606}"/>
                    </a:ext>
                  </a:extLst>
                </p:cNvPr>
                <p:cNvSpPr/>
                <p:nvPr/>
              </p:nvSpPr>
              <p:spPr>
                <a:xfrm>
                  <a:off x="7745354" y="2790346"/>
                  <a:ext cx="6518" cy="31638"/>
                </a:xfrm>
                <a:custGeom>
                  <a:avLst/>
                  <a:gdLst>
                    <a:gd name="connsiteX0" fmla="*/ 0 w 6518"/>
                    <a:gd name="connsiteY0" fmla="*/ 0 h 31638"/>
                    <a:gd name="connsiteX1" fmla="*/ 6519 w 6518"/>
                    <a:gd name="connsiteY1" fmla="*/ 31638 h 31638"/>
                  </a:gdLst>
                  <a:ahLst/>
                  <a:cxnLst>
                    <a:cxn ang="0">
                      <a:pos x="connsiteX0" y="connsiteY0"/>
                    </a:cxn>
                    <a:cxn ang="0">
                      <a:pos x="connsiteX1" y="connsiteY1"/>
                    </a:cxn>
                  </a:cxnLst>
                  <a:rect l="l" t="t" r="r" b="b"/>
                  <a:pathLst>
                    <a:path w="6518" h="31638">
                      <a:moveTo>
                        <a:pt x="0" y="0"/>
                      </a:moveTo>
                      <a:lnTo>
                        <a:pt x="6519" y="31638"/>
                      </a:lnTo>
                    </a:path>
                  </a:pathLst>
                </a:custGeom>
                <a:ln w="6350" cap="rnd">
                  <a:solidFill>
                    <a:schemeClr val="bg1">
                      <a:alpha val="40000"/>
                    </a:schemeClr>
                  </a:solidFill>
                  <a:prstDash val="solid"/>
                  <a:round/>
                </a:ln>
              </p:spPr>
              <p:txBody>
                <a:bodyPr rtlCol="0" anchor="ctr"/>
                <a:lstStyle/>
                <a:p>
                  <a:endParaRPr lang="en-GB"/>
                </a:p>
              </p:txBody>
            </p:sp>
            <p:sp>
              <p:nvSpPr>
                <p:cNvPr id="6236" name="Vrije vorm: vorm 6235">
                  <a:extLst>
                    <a:ext uri="{FF2B5EF4-FFF2-40B4-BE49-F238E27FC236}">
                      <a16:creationId xmlns:a16="http://schemas.microsoft.com/office/drawing/2014/main" id="{A9DDB7AF-61B7-4B92-8F38-6A77915BD64D}"/>
                    </a:ext>
                  </a:extLst>
                </p:cNvPr>
                <p:cNvSpPr/>
                <p:nvPr/>
              </p:nvSpPr>
              <p:spPr>
                <a:xfrm>
                  <a:off x="7583336" y="2700994"/>
                  <a:ext cx="5861" cy="239"/>
                </a:xfrm>
                <a:custGeom>
                  <a:avLst/>
                  <a:gdLst>
                    <a:gd name="connsiteX0" fmla="*/ 0 w 5861"/>
                    <a:gd name="connsiteY0" fmla="*/ 0 h 239"/>
                    <a:gd name="connsiteX1" fmla="*/ 5861 w 5861"/>
                    <a:gd name="connsiteY1" fmla="*/ 239 h 239"/>
                  </a:gdLst>
                  <a:ahLst/>
                  <a:cxnLst>
                    <a:cxn ang="0">
                      <a:pos x="connsiteX0" y="connsiteY0"/>
                    </a:cxn>
                    <a:cxn ang="0">
                      <a:pos x="connsiteX1" y="connsiteY1"/>
                    </a:cxn>
                  </a:cxnLst>
                  <a:rect l="l" t="t" r="r" b="b"/>
                  <a:pathLst>
                    <a:path w="5861" h="239">
                      <a:moveTo>
                        <a:pt x="0" y="0"/>
                      </a:moveTo>
                      <a:lnTo>
                        <a:pt x="5861" y="239"/>
                      </a:lnTo>
                    </a:path>
                  </a:pathLst>
                </a:custGeom>
                <a:ln w="6350" cap="rnd">
                  <a:solidFill>
                    <a:schemeClr val="bg1">
                      <a:alpha val="40000"/>
                    </a:schemeClr>
                  </a:solidFill>
                  <a:prstDash val="solid"/>
                  <a:round/>
                </a:ln>
              </p:spPr>
              <p:txBody>
                <a:bodyPr rtlCol="0" anchor="ctr"/>
                <a:lstStyle/>
                <a:p>
                  <a:endParaRPr lang="en-GB"/>
                </a:p>
              </p:txBody>
            </p:sp>
            <p:sp>
              <p:nvSpPr>
                <p:cNvPr id="6237" name="Vrije vorm: vorm 6236">
                  <a:extLst>
                    <a:ext uri="{FF2B5EF4-FFF2-40B4-BE49-F238E27FC236}">
                      <a16:creationId xmlns:a16="http://schemas.microsoft.com/office/drawing/2014/main" id="{6C2962DD-B403-4347-B288-6E7165AAD974}"/>
                    </a:ext>
                  </a:extLst>
                </p:cNvPr>
                <p:cNvSpPr/>
                <p:nvPr/>
              </p:nvSpPr>
              <p:spPr>
                <a:xfrm>
                  <a:off x="7695714" y="2722584"/>
                  <a:ext cx="11782" cy="20155"/>
                </a:xfrm>
                <a:custGeom>
                  <a:avLst/>
                  <a:gdLst>
                    <a:gd name="connsiteX0" fmla="*/ 11782 w 11782"/>
                    <a:gd name="connsiteY0" fmla="*/ 20155 h 20155"/>
                    <a:gd name="connsiteX1" fmla="*/ 0 w 11782"/>
                    <a:gd name="connsiteY1" fmla="*/ 0 h 20155"/>
                  </a:gdLst>
                  <a:ahLst/>
                  <a:cxnLst>
                    <a:cxn ang="0">
                      <a:pos x="connsiteX0" y="connsiteY0"/>
                    </a:cxn>
                    <a:cxn ang="0">
                      <a:pos x="connsiteX1" y="connsiteY1"/>
                    </a:cxn>
                  </a:cxnLst>
                  <a:rect l="l" t="t" r="r" b="b"/>
                  <a:pathLst>
                    <a:path w="11782" h="20155">
                      <a:moveTo>
                        <a:pt x="11782" y="20155"/>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38" name="Vrije vorm: vorm 6237">
                  <a:extLst>
                    <a:ext uri="{FF2B5EF4-FFF2-40B4-BE49-F238E27FC236}">
                      <a16:creationId xmlns:a16="http://schemas.microsoft.com/office/drawing/2014/main" id="{867C428A-0F56-4564-8C3C-40594DEF73E2}"/>
                    </a:ext>
                  </a:extLst>
                </p:cNvPr>
                <p:cNvSpPr/>
                <p:nvPr/>
              </p:nvSpPr>
              <p:spPr>
                <a:xfrm>
                  <a:off x="7707496" y="2742739"/>
                  <a:ext cx="13456" cy="2511"/>
                </a:xfrm>
                <a:custGeom>
                  <a:avLst/>
                  <a:gdLst>
                    <a:gd name="connsiteX0" fmla="*/ 0 w 13456"/>
                    <a:gd name="connsiteY0" fmla="*/ 0 h 2511"/>
                    <a:gd name="connsiteX1" fmla="*/ 13457 w 13456"/>
                    <a:gd name="connsiteY1" fmla="*/ 2512 h 2511"/>
                  </a:gdLst>
                  <a:ahLst/>
                  <a:cxnLst>
                    <a:cxn ang="0">
                      <a:pos x="connsiteX0" y="connsiteY0"/>
                    </a:cxn>
                    <a:cxn ang="0">
                      <a:pos x="connsiteX1" y="connsiteY1"/>
                    </a:cxn>
                  </a:cxnLst>
                  <a:rect l="l" t="t" r="r" b="b"/>
                  <a:pathLst>
                    <a:path w="13456" h="2511">
                      <a:moveTo>
                        <a:pt x="0" y="0"/>
                      </a:moveTo>
                      <a:lnTo>
                        <a:pt x="13457" y="2512"/>
                      </a:lnTo>
                    </a:path>
                  </a:pathLst>
                </a:custGeom>
                <a:ln w="6350" cap="rnd">
                  <a:solidFill>
                    <a:schemeClr val="bg1">
                      <a:alpha val="40000"/>
                    </a:schemeClr>
                  </a:solidFill>
                  <a:prstDash val="solid"/>
                  <a:round/>
                </a:ln>
              </p:spPr>
              <p:txBody>
                <a:bodyPr rtlCol="0" anchor="ctr"/>
                <a:lstStyle/>
                <a:p>
                  <a:endParaRPr lang="en-GB"/>
                </a:p>
              </p:txBody>
            </p:sp>
            <p:sp>
              <p:nvSpPr>
                <p:cNvPr id="6239" name="Vrije vorm: vorm 6238">
                  <a:extLst>
                    <a:ext uri="{FF2B5EF4-FFF2-40B4-BE49-F238E27FC236}">
                      <a16:creationId xmlns:a16="http://schemas.microsoft.com/office/drawing/2014/main" id="{48A8D2FE-63C6-4328-AFC0-C0F02C082569}"/>
                    </a:ext>
                  </a:extLst>
                </p:cNvPr>
                <p:cNvSpPr/>
                <p:nvPr/>
              </p:nvSpPr>
              <p:spPr>
                <a:xfrm>
                  <a:off x="7707496" y="2728804"/>
                  <a:ext cx="4425" cy="13935"/>
                </a:xfrm>
                <a:custGeom>
                  <a:avLst/>
                  <a:gdLst>
                    <a:gd name="connsiteX0" fmla="*/ 0 w 4425"/>
                    <a:gd name="connsiteY0" fmla="*/ 13935 h 13935"/>
                    <a:gd name="connsiteX1" fmla="*/ 4426 w 4425"/>
                    <a:gd name="connsiteY1" fmla="*/ 0 h 13935"/>
                  </a:gdLst>
                  <a:ahLst/>
                  <a:cxnLst>
                    <a:cxn ang="0">
                      <a:pos x="connsiteX0" y="connsiteY0"/>
                    </a:cxn>
                    <a:cxn ang="0">
                      <a:pos x="connsiteX1" y="connsiteY1"/>
                    </a:cxn>
                  </a:cxnLst>
                  <a:rect l="l" t="t" r="r" b="b"/>
                  <a:pathLst>
                    <a:path w="4425" h="13935">
                      <a:moveTo>
                        <a:pt x="0" y="13935"/>
                      </a:moveTo>
                      <a:lnTo>
                        <a:pt x="4426" y="0"/>
                      </a:lnTo>
                    </a:path>
                  </a:pathLst>
                </a:custGeom>
                <a:ln w="6350" cap="rnd">
                  <a:solidFill>
                    <a:schemeClr val="bg1">
                      <a:alpha val="40000"/>
                    </a:schemeClr>
                  </a:solidFill>
                  <a:prstDash val="solid"/>
                  <a:round/>
                </a:ln>
              </p:spPr>
              <p:txBody>
                <a:bodyPr rtlCol="0" anchor="ctr"/>
                <a:lstStyle/>
                <a:p>
                  <a:endParaRPr lang="en-GB"/>
                </a:p>
              </p:txBody>
            </p:sp>
            <p:sp>
              <p:nvSpPr>
                <p:cNvPr id="6240" name="Vrije vorm: vorm 6239">
                  <a:extLst>
                    <a:ext uri="{FF2B5EF4-FFF2-40B4-BE49-F238E27FC236}">
                      <a16:creationId xmlns:a16="http://schemas.microsoft.com/office/drawing/2014/main" id="{C9A740BA-47D8-4882-AFB7-B324024FB853}"/>
                    </a:ext>
                  </a:extLst>
                </p:cNvPr>
                <p:cNvSpPr/>
                <p:nvPr/>
              </p:nvSpPr>
              <p:spPr>
                <a:xfrm>
                  <a:off x="7686742" y="2742739"/>
                  <a:ext cx="20753" cy="7834"/>
                </a:xfrm>
                <a:custGeom>
                  <a:avLst/>
                  <a:gdLst>
                    <a:gd name="connsiteX0" fmla="*/ 20753 w 20753"/>
                    <a:gd name="connsiteY0" fmla="*/ 0 h 7834"/>
                    <a:gd name="connsiteX1" fmla="*/ 0 w 20753"/>
                    <a:gd name="connsiteY1" fmla="*/ 7835 h 7834"/>
                  </a:gdLst>
                  <a:ahLst/>
                  <a:cxnLst>
                    <a:cxn ang="0">
                      <a:pos x="connsiteX0" y="connsiteY0"/>
                    </a:cxn>
                    <a:cxn ang="0">
                      <a:pos x="connsiteX1" y="connsiteY1"/>
                    </a:cxn>
                  </a:cxnLst>
                  <a:rect l="l" t="t" r="r" b="b"/>
                  <a:pathLst>
                    <a:path w="20753" h="7834">
                      <a:moveTo>
                        <a:pt x="20753" y="0"/>
                      </a:moveTo>
                      <a:lnTo>
                        <a:pt x="0" y="7835"/>
                      </a:lnTo>
                    </a:path>
                  </a:pathLst>
                </a:custGeom>
                <a:ln w="6350" cap="rnd">
                  <a:solidFill>
                    <a:schemeClr val="bg1">
                      <a:alpha val="40000"/>
                    </a:schemeClr>
                  </a:solidFill>
                  <a:prstDash val="solid"/>
                  <a:round/>
                </a:ln>
              </p:spPr>
              <p:txBody>
                <a:bodyPr rtlCol="0" anchor="ctr"/>
                <a:lstStyle/>
                <a:p>
                  <a:endParaRPr lang="en-GB"/>
                </a:p>
              </p:txBody>
            </p:sp>
            <p:sp>
              <p:nvSpPr>
                <p:cNvPr id="6241" name="Vrije vorm: vorm 6240">
                  <a:extLst>
                    <a:ext uri="{FF2B5EF4-FFF2-40B4-BE49-F238E27FC236}">
                      <a16:creationId xmlns:a16="http://schemas.microsoft.com/office/drawing/2014/main" id="{5DC6F864-3B79-47E7-86AB-D06921C0EEB2}"/>
                    </a:ext>
                  </a:extLst>
                </p:cNvPr>
                <p:cNvSpPr/>
                <p:nvPr/>
              </p:nvSpPr>
              <p:spPr>
                <a:xfrm>
                  <a:off x="7702352" y="2742739"/>
                  <a:ext cx="5143" cy="17344"/>
                </a:xfrm>
                <a:custGeom>
                  <a:avLst/>
                  <a:gdLst>
                    <a:gd name="connsiteX0" fmla="*/ 5144 w 5143"/>
                    <a:gd name="connsiteY0" fmla="*/ 0 h 17344"/>
                    <a:gd name="connsiteX1" fmla="*/ 0 w 5143"/>
                    <a:gd name="connsiteY1" fmla="*/ 17344 h 17344"/>
                  </a:gdLst>
                  <a:ahLst/>
                  <a:cxnLst>
                    <a:cxn ang="0">
                      <a:pos x="connsiteX0" y="connsiteY0"/>
                    </a:cxn>
                    <a:cxn ang="0">
                      <a:pos x="connsiteX1" y="connsiteY1"/>
                    </a:cxn>
                  </a:cxnLst>
                  <a:rect l="l" t="t" r="r" b="b"/>
                  <a:pathLst>
                    <a:path w="5143" h="17344">
                      <a:moveTo>
                        <a:pt x="5144" y="0"/>
                      </a:moveTo>
                      <a:lnTo>
                        <a:pt x="0" y="17344"/>
                      </a:lnTo>
                    </a:path>
                  </a:pathLst>
                </a:custGeom>
                <a:ln w="6350" cap="rnd">
                  <a:solidFill>
                    <a:schemeClr val="bg1">
                      <a:alpha val="40000"/>
                    </a:schemeClr>
                  </a:solidFill>
                  <a:prstDash val="solid"/>
                  <a:round/>
                </a:ln>
              </p:spPr>
              <p:txBody>
                <a:bodyPr rtlCol="0" anchor="ctr"/>
                <a:lstStyle/>
                <a:p>
                  <a:endParaRPr lang="en-GB"/>
                </a:p>
              </p:txBody>
            </p:sp>
            <p:sp>
              <p:nvSpPr>
                <p:cNvPr id="6242" name="Vrije vorm: vorm 6241">
                  <a:extLst>
                    <a:ext uri="{FF2B5EF4-FFF2-40B4-BE49-F238E27FC236}">
                      <a16:creationId xmlns:a16="http://schemas.microsoft.com/office/drawing/2014/main" id="{04E7EAF2-7CAD-4136-A1B3-AD2B45DBF153}"/>
                    </a:ext>
                  </a:extLst>
                </p:cNvPr>
                <p:cNvSpPr/>
                <p:nvPr/>
              </p:nvSpPr>
              <p:spPr>
                <a:xfrm>
                  <a:off x="7573527" y="2819950"/>
                  <a:ext cx="5143" cy="15669"/>
                </a:xfrm>
                <a:custGeom>
                  <a:avLst/>
                  <a:gdLst>
                    <a:gd name="connsiteX0" fmla="*/ 0 w 5143"/>
                    <a:gd name="connsiteY0" fmla="*/ 15670 h 15669"/>
                    <a:gd name="connsiteX1" fmla="*/ 5143 w 5143"/>
                    <a:gd name="connsiteY1" fmla="*/ 0 h 15669"/>
                  </a:gdLst>
                  <a:ahLst/>
                  <a:cxnLst>
                    <a:cxn ang="0">
                      <a:pos x="connsiteX0" y="connsiteY0"/>
                    </a:cxn>
                    <a:cxn ang="0">
                      <a:pos x="connsiteX1" y="connsiteY1"/>
                    </a:cxn>
                  </a:cxnLst>
                  <a:rect l="l" t="t" r="r" b="b"/>
                  <a:pathLst>
                    <a:path w="5143" h="15669">
                      <a:moveTo>
                        <a:pt x="0" y="15670"/>
                      </a:moveTo>
                      <a:lnTo>
                        <a:pt x="5143" y="0"/>
                      </a:lnTo>
                    </a:path>
                  </a:pathLst>
                </a:custGeom>
                <a:ln w="6350" cap="rnd">
                  <a:solidFill>
                    <a:schemeClr val="bg1">
                      <a:alpha val="40000"/>
                    </a:schemeClr>
                  </a:solidFill>
                  <a:prstDash val="solid"/>
                  <a:round/>
                </a:ln>
              </p:spPr>
              <p:txBody>
                <a:bodyPr rtlCol="0" anchor="ctr"/>
                <a:lstStyle/>
                <a:p>
                  <a:endParaRPr lang="en-GB"/>
                </a:p>
              </p:txBody>
            </p:sp>
            <p:sp>
              <p:nvSpPr>
                <p:cNvPr id="6243" name="Vrije vorm: vorm 6242">
                  <a:extLst>
                    <a:ext uri="{FF2B5EF4-FFF2-40B4-BE49-F238E27FC236}">
                      <a16:creationId xmlns:a16="http://schemas.microsoft.com/office/drawing/2014/main" id="{8E079974-941D-436A-8AD7-A6BC8BE6AE8C}"/>
                    </a:ext>
                  </a:extLst>
                </p:cNvPr>
                <p:cNvSpPr/>
                <p:nvPr/>
              </p:nvSpPr>
              <p:spPr>
                <a:xfrm>
                  <a:off x="7566530" y="2826529"/>
                  <a:ext cx="6997" cy="9090"/>
                </a:xfrm>
                <a:custGeom>
                  <a:avLst/>
                  <a:gdLst>
                    <a:gd name="connsiteX0" fmla="*/ 6997 w 6997"/>
                    <a:gd name="connsiteY0" fmla="*/ 9091 h 9090"/>
                    <a:gd name="connsiteX1" fmla="*/ 0 w 6997"/>
                    <a:gd name="connsiteY1" fmla="*/ 0 h 9090"/>
                  </a:gdLst>
                  <a:ahLst/>
                  <a:cxnLst>
                    <a:cxn ang="0">
                      <a:pos x="connsiteX0" y="connsiteY0"/>
                    </a:cxn>
                    <a:cxn ang="0">
                      <a:pos x="connsiteX1" y="connsiteY1"/>
                    </a:cxn>
                  </a:cxnLst>
                  <a:rect l="l" t="t" r="r" b="b"/>
                  <a:pathLst>
                    <a:path w="6997" h="9090">
                      <a:moveTo>
                        <a:pt x="6997" y="909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44" name="Vrije vorm: vorm 6243">
                  <a:extLst>
                    <a:ext uri="{FF2B5EF4-FFF2-40B4-BE49-F238E27FC236}">
                      <a16:creationId xmlns:a16="http://schemas.microsoft.com/office/drawing/2014/main" id="{120AF402-2D4E-46B1-9824-3C848CE70CDA}"/>
                    </a:ext>
                  </a:extLst>
                </p:cNvPr>
                <p:cNvSpPr/>
                <p:nvPr/>
              </p:nvSpPr>
              <p:spPr>
                <a:xfrm>
                  <a:off x="7745234" y="2818934"/>
                  <a:ext cx="5023" cy="12260"/>
                </a:xfrm>
                <a:custGeom>
                  <a:avLst/>
                  <a:gdLst>
                    <a:gd name="connsiteX0" fmla="*/ 5024 w 5023"/>
                    <a:gd name="connsiteY0" fmla="*/ 12260 h 12260"/>
                    <a:gd name="connsiteX1" fmla="*/ 0 w 5023"/>
                    <a:gd name="connsiteY1" fmla="*/ 0 h 12260"/>
                  </a:gdLst>
                  <a:ahLst/>
                  <a:cxnLst>
                    <a:cxn ang="0">
                      <a:pos x="connsiteX0" y="connsiteY0"/>
                    </a:cxn>
                    <a:cxn ang="0">
                      <a:pos x="connsiteX1" y="connsiteY1"/>
                    </a:cxn>
                  </a:cxnLst>
                  <a:rect l="l" t="t" r="r" b="b"/>
                  <a:pathLst>
                    <a:path w="5023" h="12260">
                      <a:moveTo>
                        <a:pt x="5024" y="12260"/>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45" name="Vrije vorm: vorm 6244">
                  <a:extLst>
                    <a:ext uri="{FF2B5EF4-FFF2-40B4-BE49-F238E27FC236}">
                      <a16:creationId xmlns:a16="http://schemas.microsoft.com/office/drawing/2014/main" id="{91C6579E-65DE-415F-8748-316B5BAB396C}"/>
                    </a:ext>
                  </a:extLst>
                </p:cNvPr>
                <p:cNvSpPr/>
                <p:nvPr/>
              </p:nvSpPr>
              <p:spPr>
                <a:xfrm>
                  <a:off x="7750258" y="2821984"/>
                  <a:ext cx="1614" cy="9210"/>
                </a:xfrm>
                <a:custGeom>
                  <a:avLst/>
                  <a:gdLst>
                    <a:gd name="connsiteX0" fmla="*/ 0 w 1614"/>
                    <a:gd name="connsiteY0" fmla="*/ 9210 h 9210"/>
                    <a:gd name="connsiteX1" fmla="*/ 1614 w 1614"/>
                    <a:gd name="connsiteY1" fmla="*/ 0 h 9210"/>
                  </a:gdLst>
                  <a:ahLst/>
                  <a:cxnLst>
                    <a:cxn ang="0">
                      <a:pos x="connsiteX0" y="connsiteY0"/>
                    </a:cxn>
                    <a:cxn ang="0">
                      <a:pos x="connsiteX1" y="connsiteY1"/>
                    </a:cxn>
                  </a:cxnLst>
                  <a:rect l="l" t="t" r="r" b="b"/>
                  <a:pathLst>
                    <a:path w="1614" h="9210">
                      <a:moveTo>
                        <a:pt x="0" y="9210"/>
                      </a:moveTo>
                      <a:lnTo>
                        <a:pt x="1614" y="0"/>
                      </a:lnTo>
                    </a:path>
                  </a:pathLst>
                </a:custGeom>
                <a:ln w="6350" cap="rnd">
                  <a:solidFill>
                    <a:schemeClr val="bg1">
                      <a:alpha val="40000"/>
                    </a:schemeClr>
                  </a:solidFill>
                  <a:prstDash val="solid"/>
                  <a:round/>
                </a:ln>
              </p:spPr>
              <p:txBody>
                <a:bodyPr rtlCol="0" anchor="ctr"/>
                <a:lstStyle/>
                <a:p>
                  <a:endParaRPr lang="en-GB"/>
                </a:p>
              </p:txBody>
            </p:sp>
            <p:sp>
              <p:nvSpPr>
                <p:cNvPr id="6246" name="Vrije vorm: vorm 6245">
                  <a:extLst>
                    <a:ext uri="{FF2B5EF4-FFF2-40B4-BE49-F238E27FC236}">
                      <a16:creationId xmlns:a16="http://schemas.microsoft.com/office/drawing/2014/main" id="{83B50879-4A64-4CB4-90A1-9F898A5D2A15}"/>
                    </a:ext>
                  </a:extLst>
                </p:cNvPr>
                <p:cNvSpPr/>
                <p:nvPr/>
              </p:nvSpPr>
              <p:spPr>
                <a:xfrm>
                  <a:off x="7649363" y="2735203"/>
                  <a:ext cx="6818" cy="21530"/>
                </a:xfrm>
                <a:custGeom>
                  <a:avLst/>
                  <a:gdLst>
                    <a:gd name="connsiteX0" fmla="*/ 6818 w 6818"/>
                    <a:gd name="connsiteY0" fmla="*/ 0 h 21530"/>
                    <a:gd name="connsiteX1" fmla="*/ 0 w 6818"/>
                    <a:gd name="connsiteY1" fmla="*/ 21531 h 21530"/>
                  </a:gdLst>
                  <a:ahLst/>
                  <a:cxnLst>
                    <a:cxn ang="0">
                      <a:pos x="connsiteX0" y="connsiteY0"/>
                    </a:cxn>
                    <a:cxn ang="0">
                      <a:pos x="connsiteX1" y="connsiteY1"/>
                    </a:cxn>
                  </a:cxnLst>
                  <a:rect l="l" t="t" r="r" b="b"/>
                  <a:pathLst>
                    <a:path w="6818" h="21530">
                      <a:moveTo>
                        <a:pt x="6818" y="0"/>
                      </a:moveTo>
                      <a:lnTo>
                        <a:pt x="0" y="21531"/>
                      </a:lnTo>
                    </a:path>
                  </a:pathLst>
                </a:custGeom>
                <a:ln w="6350" cap="rnd">
                  <a:solidFill>
                    <a:schemeClr val="bg1">
                      <a:alpha val="40000"/>
                    </a:schemeClr>
                  </a:solidFill>
                  <a:prstDash val="solid"/>
                  <a:round/>
                </a:ln>
              </p:spPr>
              <p:txBody>
                <a:bodyPr rtlCol="0" anchor="ctr"/>
                <a:lstStyle/>
                <a:p>
                  <a:endParaRPr lang="en-GB"/>
                </a:p>
              </p:txBody>
            </p:sp>
            <p:sp>
              <p:nvSpPr>
                <p:cNvPr id="6247" name="Vrije vorm: vorm 6246">
                  <a:extLst>
                    <a:ext uri="{FF2B5EF4-FFF2-40B4-BE49-F238E27FC236}">
                      <a16:creationId xmlns:a16="http://schemas.microsoft.com/office/drawing/2014/main" id="{DC350285-95BF-40CF-8FDF-A40689D6A153}"/>
                    </a:ext>
                  </a:extLst>
                </p:cNvPr>
                <p:cNvSpPr/>
                <p:nvPr/>
              </p:nvSpPr>
              <p:spPr>
                <a:xfrm>
                  <a:off x="7640870" y="2735203"/>
                  <a:ext cx="15310" cy="14353"/>
                </a:xfrm>
                <a:custGeom>
                  <a:avLst/>
                  <a:gdLst>
                    <a:gd name="connsiteX0" fmla="*/ 15310 w 15310"/>
                    <a:gd name="connsiteY0" fmla="*/ 0 h 14353"/>
                    <a:gd name="connsiteX1" fmla="*/ 0 w 15310"/>
                    <a:gd name="connsiteY1" fmla="*/ 14354 h 14353"/>
                  </a:gdLst>
                  <a:ahLst/>
                  <a:cxnLst>
                    <a:cxn ang="0">
                      <a:pos x="connsiteX0" y="connsiteY0"/>
                    </a:cxn>
                    <a:cxn ang="0">
                      <a:pos x="connsiteX1" y="connsiteY1"/>
                    </a:cxn>
                  </a:cxnLst>
                  <a:rect l="l" t="t" r="r" b="b"/>
                  <a:pathLst>
                    <a:path w="15310" h="14353">
                      <a:moveTo>
                        <a:pt x="15310" y="0"/>
                      </a:moveTo>
                      <a:lnTo>
                        <a:pt x="0" y="14354"/>
                      </a:lnTo>
                    </a:path>
                  </a:pathLst>
                </a:custGeom>
                <a:ln w="6350" cap="rnd">
                  <a:solidFill>
                    <a:schemeClr val="bg1">
                      <a:alpha val="40000"/>
                    </a:schemeClr>
                  </a:solidFill>
                  <a:prstDash val="solid"/>
                  <a:round/>
                </a:ln>
              </p:spPr>
              <p:txBody>
                <a:bodyPr rtlCol="0" anchor="ctr"/>
                <a:lstStyle/>
                <a:p>
                  <a:endParaRPr lang="en-GB"/>
                </a:p>
              </p:txBody>
            </p:sp>
            <p:sp>
              <p:nvSpPr>
                <p:cNvPr id="6248" name="Vrije vorm: vorm 6247">
                  <a:extLst>
                    <a:ext uri="{FF2B5EF4-FFF2-40B4-BE49-F238E27FC236}">
                      <a16:creationId xmlns:a16="http://schemas.microsoft.com/office/drawing/2014/main" id="{253BB290-642A-4370-BFEA-D776842ADA19}"/>
                    </a:ext>
                  </a:extLst>
                </p:cNvPr>
                <p:cNvSpPr/>
                <p:nvPr/>
              </p:nvSpPr>
              <p:spPr>
                <a:xfrm>
                  <a:off x="7655164" y="2717201"/>
                  <a:ext cx="1016" cy="18001"/>
                </a:xfrm>
                <a:custGeom>
                  <a:avLst/>
                  <a:gdLst>
                    <a:gd name="connsiteX0" fmla="*/ 1016 w 1016"/>
                    <a:gd name="connsiteY0" fmla="*/ 18002 h 18001"/>
                    <a:gd name="connsiteX1" fmla="*/ 0 w 1016"/>
                    <a:gd name="connsiteY1" fmla="*/ 0 h 18001"/>
                  </a:gdLst>
                  <a:ahLst/>
                  <a:cxnLst>
                    <a:cxn ang="0">
                      <a:pos x="connsiteX0" y="connsiteY0"/>
                    </a:cxn>
                    <a:cxn ang="0">
                      <a:pos x="connsiteX1" y="connsiteY1"/>
                    </a:cxn>
                  </a:cxnLst>
                  <a:rect l="l" t="t" r="r" b="b"/>
                  <a:pathLst>
                    <a:path w="1016" h="18001">
                      <a:moveTo>
                        <a:pt x="1016" y="1800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49" name="Vrije vorm: vorm 6248">
                  <a:extLst>
                    <a:ext uri="{FF2B5EF4-FFF2-40B4-BE49-F238E27FC236}">
                      <a16:creationId xmlns:a16="http://schemas.microsoft.com/office/drawing/2014/main" id="{F5B016DB-9583-4689-9589-501961E5E6B3}"/>
                    </a:ext>
                  </a:extLst>
                </p:cNvPr>
                <p:cNvSpPr/>
                <p:nvPr/>
              </p:nvSpPr>
              <p:spPr>
                <a:xfrm>
                  <a:off x="7656181" y="2735203"/>
                  <a:ext cx="22846" cy="5980"/>
                </a:xfrm>
                <a:custGeom>
                  <a:avLst/>
                  <a:gdLst>
                    <a:gd name="connsiteX0" fmla="*/ 0 w 22846"/>
                    <a:gd name="connsiteY0" fmla="*/ 0 h 5980"/>
                    <a:gd name="connsiteX1" fmla="*/ 22846 w 22846"/>
                    <a:gd name="connsiteY1" fmla="*/ 0 h 5980"/>
                  </a:gdLst>
                  <a:ahLst/>
                  <a:cxnLst>
                    <a:cxn ang="0">
                      <a:pos x="connsiteX0" y="connsiteY0"/>
                    </a:cxn>
                    <a:cxn ang="0">
                      <a:pos x="connsiteX1" y="connsiteY1"/>
                    </a:cxn>
                  </a:cxnLst>
                  <a:rect l="l" t="t" r="r" b="b"/>
                  <a:pathLst>
                    <a:path w="22846" h="5980">
                      <a:moveTo>
                        <a:pt x="0" y="0"/>
                      </a:moveTo>
                      <a:lnTo>
                        <a:pt x="22846" y="0"/>
                      </a:lnTo>
                    </a:path>
                  </a:pathLst>
                </a:custGeom>
                <a:ln w="6350" cap="rnd">
                  <a:solidFill>
                    <a:schemeClr val="bg1">
                      <a:alpha val="40000"/>
                    </a:schemeClr>
                  </a:solidFill>
                  <a:prstDash val="solid"/>
                  <a:round/>
                </a:ln>
              </p:spPr>
              <p:txBody>
                <a:bodyPr rtlCol="0" anchor="ctr"/>
                <a:lstStyle/>
                <a:p>
                  <a:endParaRPr lang="en-GB"/>
                </a:p>
              </p:txBody>
            </p:sp>
            <p:sp>
              <p:nvSpPr>
                <p:cNvPr id="6250" name="Vrije vorm: vorm 6249">
                  <a:extLst>
                    <a:ext uri="{FF2B5EF4-FFF2-40B4-BE49-F238E27FC236}">
                      <a16:creationId xmlns:a16="http://schemas.microsoft.com/office/drawing/2014/main" id="{3FC2842B-BF53-4DB6-8E27-CA742B35CB10}"/>
                    </a:ext>
                  </a:extLst>
                </p:cNvPr>
                <p:cNvSpPr/>
                <p:nvPr/>
              </p:nvSpPr>
              <p:spPr>
                <a:xfrm>
                  <a:off x="7656181" y="2722823"/>
                  <a:ext cx="13097" cy="12380"/>
                </a:xfrm>
                <a:custGeom>
                  <a:avLst/>
                  <a:gdLst>
                    <a:gd name="connsiteX0" fmla="*/ 0 w 13097"/>
                    <a:gd name="connsiteY0" fmla="*/ 12380 h 12380"/>
                    <a:gd name="connsiteX1" fmla="*/ 13098 w 13097"/>
                    <a:gd name="connsiteY1" fmla="*/ 0 h 12380"/>
                  </a:gdLst>
                  <a:ahLst/>
                  <a:cxnLst>
                    <a:cxn ang="0">
                      <a:pos x="connsiteX0" y="connsiteY0"/>
                    </a:cxn>
                    <a:cxn ang="0">
                      <a:pos x="connsiteX1" y="connsiteY1"/>
                    </a:cxn>
                  </a:cxnLst>
                  <a:rect l="l" t="t" r="r" b="b"/>
                  <a:pathLst>
                    <a:path w="13097" h="12380">
                      <a:moveTo>
                        <a:pt x="0" y="12380"/>
                      </a:moveTo>
                      <a:lnTo>
                        <a:pt x="13098" y="0"/>
                      </a:lnTo>
                    </a:path>
                  </a:pathLst>
                </a:custGeom>
                <a:ln w="6350" cap="rnd">
                  <a:solidFill>
                    <a:schemeClr val="bg1">
                      <a:alpha val="40000"/>
                    </a:schemeClr>
                  </a:solidFill>
                  <a:prstDash val="solid"/>
                  <a:round/>
                </a:ln>
              </p:spPr>
              <p:txBody>
                <a:bodyPr rtlCol="0" anchor="ctr"/>
                <a:lstStyle/>
                <a:p>
                  <a:endParaRPr lang="en-GB"/>
                </a:p>
              </p:txBody>
            </p:sp>
            <p:sp>
              <p:nvSpPr>
                <p:cNvPr id="6251" name="Vrije vorm: vorm 6250">
                  <a:extLst>
                    <a:ext uri="{FF2B5EF4-FFF2-40B4-BE49-F238E27FC236}">
                      <a16:creationId xmlns:a16="http://schemas.microsoft.com/office/drawing/2014/main" id="{0F1CC36D-F021-429C-884E-D161C86D1246}"/>
                    </a:ext>
                  </a:extLst>
                </p:cNvPr>
                <p:cNvSpPr/>
                <p:nvPr/>
              </p:nvSpPr>
              <p:spPr>
                <a:xfrm>
                  <a:off x="7643442" y="2733648"/>
                  <a:ext cx="12738" cy="1554"/>
                </a:xfrm>
                <a:custGeom>
                  <a:avLst/>
                  <a:gdLst>
                    <a:gd name="connsiteX0" fmla="*/ 12739 w 12738"/>
                    <a:gd name="connsiteY0" fmla="*/ 1555 h 1554"/>
                    <a:gd name="connsiteX1" fmla="*/ 0 w 12738"/>
                    <a:gd name="connsiteY1" fmla="*/ 0 h 1554"/>
                  </a:gdLst>
                  <a:ahLst/>
                  <a:cxnLst>
                    <a:cxn ang="0">
                      <a:pos x="connsiteX0" y="connsiteY0"/>
                    </a:cxn>
                    <a:cxn ang="0">
                      <a:pos x="connsiteX1" y="connsiteY1"/>
                    </a:cxn>
                  </a:cxnLst>
                  <a:rect l="l" t="t" r="r" b="b"/>
                  <a:pathLst>
                    <a:path w="12738" h="1554">
                      <a:moveTo>
                        <a:pt x="12739" y="1555"/>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52" name="Vrije vorm: vorm 6251">
                  <a:extLst>
                    <a:ext uri="{FF2B5EF4-FFF2-40B4-BE49-F238E27FC236}">
                      <a16:creationId xmlns:a16="http://schemas.microsoft.com/office/drawing/2014/main" id="{B53DE37B-DDE7-4022-8240-117F4C1C524E}"/>
                    </a:ext>
                  </a:extLst>
                </p:cNvPr>
                <p:cNvSpPr/>
                <p:nvPr/>
              </p:nvSpPr>
              <p:spPr>
                <a:xfrm>
                  <a:off x="7656181" y="2735203"/>
                  <a:ext cx="9030" cy="10406"/>
                </a:xfrm>
                <a:custGeom>
                  <a:avLst/>
                  <a:gdLst>
                    <a:gd name="connsiteX0" fmla="*/ 0 w 9030"/>
                    <a:gd name="connsiteY0" fmla="*/ 0 h 10406"/>
                    <a:gd name="connsiteX1" fmla="*/ 9031 w 9030"/>
                    <a:gd name="connsiteY1" fmla="*/ 10406 h 10406"/>
                  </a:gdLst>
                  <a:ahLst/>
                  <a:cxnLst>
                    <a:cxn ang="0">
                      <a:pos x="connsiteX0" y="connsiteY0"/>
                    </a:cxn>
                    <a:cxn ang="0">
                      <a:pos x="connsiteX1" y="connsiteY1"/>
                    </a:cxn>
                  </a:cxnLst>
                  <a:rect l="l" t="t" r="r" b="b"/>
                  <a:pathLst>
                    <a:path w="9030" h="10406">
                      <a:moveTo>
                        <a:pt x="0" y="0"/>
                      </a:moveTo>
                      <a:lnTo>
                        <a:pt x="9031" y="10406"/>
                      </a:lnTo>
                    </a:path>
                  </a:pathLst>
                </a:custGeom>
                <a:ln w="6350" cap="rnd">
                  <a:solidFill>
                    <a:schemeClr val="bg1">
                      <a:alpha val="40000"/>
                    </a:schemeClr>
                  </a:solidFill>
                  <a:prstDash val="solid"/>
                  <a:round/>
                </a:ln>
              </p:spPr>
              <p:txBody>
                <a:bodyPr rtlCol="0" anchor="ctr"/>
                <a:lstStyle/>
                <a:p>
                  <a:endParaRPr lang="en-GB"/>
                </a:p>
              </p:txBody>
            </p:sp>
            <p:sp>
              <p:nvSpPr>
                <p:cNvPr id="6253" name="Vrije vorm: vorm 6252">
                  <a:extLst>
                    <a:ext uri="{FF2B5EF4-FFF2-40B4-BE49-F238E27FC236}">
                      <a16:creationId xmlns:a16="http://schemas.microsoft.com/office/drawing/2014/main" id="{D73AFD82-A9F2-4382-B4C6-0DE594234C81}"/>
                    </a:ext>
                  </a:extLst>
                </p:cNvPr>
                <p:cNvSpPr/>
                <p:nvPr/>
              </p:nvSpPr>
              <p:spPr>
                <a:xfrm>
                  <a:off x="7656301" y="2665588"/>
                  <a:ext cx="8971" cy="1973"/>
                </a:xfrm>
                <a:custGeom>
                  <a:avLst/>
                  <a:gdLst>
                    <a:gd name="connsiteX0" fmla="*/ 8971 w 8971"/>
                    <a:gd name="connsiteY0" fmla="*/ 0 h 1973"/>
                    <a:gd name="connsiteX1" fmla="*/ 0 w 8971"/>
                    <a:gd name="connsiteY1" fmla="*/ 1974 h 1973"/>
                  </a:gdLst>
                  <a:ahLst/>
                  <a:cxnLst>
                    <a:cxn ang="0">
                      <a:pos x="connsiteX0" y="connsiteY0"/>
                    </a:cxn>
                    <a:cxn ang="0">
                      <a:pos x="connsiteX1" y="connsiteY1"/>
                    </a:cxn>
                  </a:cxnLst>
                  <a:rect l="l" t="t" r="r" b="b"/>
                  <a:pathLst>
                    <a:path w="8971" h="1973">
                      <a:moveTo>
                        <a:pt x="8971" y="0"/>
                      </a:moveTo>
                      <a:lnTo>
                        <a:pt x="0" y="1974"/>
                      </a:lnTo>
                    </a:path>
                  </a:pathLst>
                </a:custGeom>
                <a:ln w="6350" cap="rnd">
                  <a:solidFill>
                    <a:schemeClr val="bg1">
                      <a:alpha val="40000"/>
                    </a:schemeClr>
                  </a:solidFill>
                  <a:prstDash val="solid"/>
                  <a:round/>
                </a:ln>
              </p:spPr>
              <p:txBody>
                <a:bodyPr rtlCol="0" anchor="ctr"/>
                <a:lstStyle/>
                <a:p>
                  <a:endParaRPr lang="en-GB"/>
                </a:p>
              </p:txBody>
            </p:sp>
            <p:sp>
              <p:nvSpPr>
                <p:cNvPr id="6254" name="Vrije vorm: vorm 6253">
                  <a:extLst>
                    <a:ext uri="{FF2B5EF4-FFF2-40B4-BE49-F238E27FC236}">
                      <a16:creationId xmlns:a16="http://schemas.microsoft.com/office/drawing/2014/main" id="{CCC33DE4-FE34-4BB0-B729-5DD356E3D2A9}"/>
                    </a:ext>
                  </a:extLst>
                </p:cNvPr>
                <p:cNvSpPr/>
                <p:nvPr/>
              </p:nvSpPr>
              <p:spPr>
                <a:xfrm>
                  <a:off x="7665272" y="2665588"/>
                  <a:ext cx="11363" cy="15549"/>
                </a:xfrm>
                <a:custGeom>
                  <a:avLst/>
                  <a:gdLst>
                    <a:gd name="connsiteX0" fmla="*/ 0 w 11363"/>
                    <a:gd name="connsiteY0" fmla="*/ 0 h 15549"/>
                    <a:gd name="connsiteX1" fmla="*/ 11363 w 11363"/>
                    <a:gd name="connsiteY1" fmla="*/ 15550 h 15549"/>
                  </a:gdLst>
                  <a:ahLst/>
                  <a:cxnLst>
                    <a:cxn ang="0">
                      <a:pos x="connsiteX0" y="connsiteY0"/>
                    </a:cxn>
                    <a:cxn ang="0">
                      <a:pos x="connsiteX1" y="connsiteY1"/>
                    </a:cxn>
                  </a:cxnLst>
                  <a:rect l="l" t="t" r="r" b="b"/>
                  <a:pathLst>
                    <a:path w="11363" h="15549">
                      <a:moveTo>
                        <a:pt x="0" y="0"/>
                      </a:moveTo>
                      <a:lnTo>
                        <a:pt x="11363" y="15550"/>
                      </a:lnTo>
                    </a:path>
                  </a:pathLst>
                </a:custGeom>
                <a:ln w="6350" cap="rnd">
                  <a:solidFill>
                    <a:schemeClr val="bg1">
                      <a:alpha val="40000"/>
                    </a:schemeClr>
                  </a:solidFill>
                  <a:prstDash val="solid"/>
                  <a:round/>
                </a:ln>
              </p:spPr>
              <p:txBody>
                <a:bodyPr rtlCol="0" anchor="ctr"/>
                <a:lstStyle/>
                <a:p>
                  <a:endParaRPr lang="en-GB"/>
                </a:p>
              </p:txBody>
            </p:sp>
            <p:sp>
              <p:nvSpPr>
                <p:cNvPr id="6255" name="Vrije vorm: vorm 6254">
                  <a:extLst>
                    <a:ext uri="{FF2B5EF4-FFF2-40B4-BE49-F238E27FC236}">
                      <a16:creationId xmlns:a16="http://schemas.microsoft.com/office/drawing/2014/main" id="{CDB1B6E6-8F05-48F2-A8B3-6CD0F42913FB}"/>
                    </a:ext>
                  </a:extLst>
                </p:cNvPr>
                <p:cNvSpPr/>
                <p:nvPr/>
              </p:nvSpPr>
              <p:spPr>
                <a:xfrm>
                  <a:off x="7596792" y="2689331"/>
                  <a:ext cx="28348" cy="2093"/>
                </a:xfrm>
                <a:custGeom>
                  <a:avLst/>
                  <a:gdLst>
                    <a:gd name="connsiteX0" fmla="*/ 0 w 28348"/>
                    <a:gd name="connsiteY0" fmla="*/ 2093 h 2093"/>
                    <a:gd name="connsiteX1" fmla="*/ 28349 w 28348"/>
                    <a:gd name="connsiteY1" fmla="*/ 0 h 2093"/>
                  </a:gdLst>
                  <a:ahLst/>
                  <a:cxnLst>
                    <a:cxn ang="0">
                      <a:pos x="connsiteX0" y="connsiteY0"/>
                    </a:cxn>
                    <a:cxn ang="0">
                      <a:pos x="connsiteX1" y="connsiteY1"/>
                    </a:cxn>
                  </a:cxnLst>
                  <a:rect l="l" t="t" r="r" b="b"/>
                  <a:pathLst>
                    <a:path w="28348" h="2093">
                      <a:moveTo>
                        <a:pt x="0" y="2093"/>
                      </a:moveTo>
                      <a:lnTo>
                        <a:pt x="28349" y="0"/>
                      </a:lnTo>
                    </a:path>
                  </a:pathLst>
                </a:custGeom>
                <a:ln w="6350" cap="rnd">
                  <a:solidFill>
                    <a:schemeClr val="bg1">
                      <a:alpha val="40000"/>
                    </a:schemeClr>
                  </a:solidFill>
                  <a:prstDash val="solid"/>
                  <a:round/>
                </a:ln>
              </p:spPr>
              <p:txBody>
                <a:bodyPr rtlCol="0" anchor="ctr"/>
                <a:lstStyle/>
                <a:p>
                  <a:endParaRPr lang="en-GB"/>
                </a:p>
              </p:txBody>
            </p:sp>
            <p:sp>
              <p:nvSpPr>
                <p:cNvPr id="6256" name="Vrije vorm: vorm 6255">
                  <a:extLst>
                    <a:ext uri="{FF2B5EF4-FFF2-40B4-BE49-F238E27FC236}">
                      <a16:creationId xmlns:a16="http://schemas.microsoft.com/office/drawing/2014/main" id="{69BFCE83-D345-4E6B-9AF7-366031F99A1C}"/>
                    </a:ext>
                  </a:extLst>
                </p:cNvPr>
                <p:cNvSpPr/>
                <p:nvPr/>
              </p:nvSpPr>
              <p:spPr>
                <a:xfrm>
                  <a:off x="7596792" y="2670612"/>
                  <a:ext cx="15430" cy="20812"/>
                </a:xfrm>
                <a:custGeom>
                  <a:avLst/>
                  <a:gdLst>
                    <a:gd name="connsiteX0" fmla="*/ 0 w 15430"/>
                    <a:gd name="connsiteY0" fmla="*/ 20813 h 20812"/>
                    <a:gd name="connsiteX1" fmla="*/ 15430 w 15430"/>
                    <a:gd name="connsiteY1" fmla="*/ 0 h 20812"/>
                  </a:gdLst>
                  <a:ahLst/>
                  <a:cxnLst>
                    <a:cxn ang="0">
                      <a:pos x="connsiteX0" y="connsiteY0"/>
                    </a:cxn>
                    <a:cxn ang="0">
                      <a:pos x="connsiteX1" y="connsiteY1"/>
                    </a:cxn>
                  </a:cxnLst>
                  <a:rect l="l" t="t" r="r" b="b"/>
                  <a:pathLst>
                    <a:path w="15430" h="20812">
                      <a:moveTo>
                        <a:pt x="0" y="20813"/>
                      </a:moveTo>
                      <a:lnTo>
                        <a:pt x="15430" y="0"/>
                      </a:lnTo>
                    </a:path>
                  </a:pathLst>
                </a:custGeom>
                <a:ln w="6350" cap="rnd">
                  <a:solidFill>
                    <a:schemeClr val="bg1">
                      <a:alpha val="40000"/>
                    </a:schemeClr>
                  </a:solidFill>
                  <a:prstDash val="solid"/>
                  <a:round/>
                </a:ln>
              </p:spPr>
              <p:txBody>
                <a:bodyPr rtlCol="0" anchor="ctr"/>
                <a:lstStyle/>
                <a:p>
                  <a:endParaRPr lang="en-GB"/>
                </a:p>
              </p:txBody>
            </p:sp>
            <p:sp>
              <p:nvSpPr>
                <p:cNvPr id="6257" name="Vrije vorm: vorm 6256">
                  <a:extLst>
                    <a:ext uri="{FF2B5EF4-FFF2-40B4-BE49-F238E27FC236}">
                      <a16:creationId xmlns:a16="http://schemas.microsoft.com/office/drawing/2014/main" id="{68D86DF9-0E4A-42FD-827F-3682C6387C19}"/>
                    </a:ext>
                  </a:extLst>
                </p:cNvPr>
                <p:cNvSpPr/>
                <p:nvPr/>
              </p:nvSpPr>
              <p:spPr>
                <a:xfrm>
                  <a:off x="7592845" y="2684666"/>
                  <a:ext cx="3947" cy="6758"/>
                </a:xfrm>
                <a:custGeom>
                  <a:avLst/>
                  <a:gdLst>
                    <a:gd name="connsiteX0" fmla="*/ 3947 w 3947"/>
                    <a:gd name="connsiteY0" fmla="*/ 6758 h 6758"/>
                    <a:gd name="connsiteX1" fmla="*/ 0 w 3947"/>
                    <a:gd name="connsiteY1" fmla="*/ 0 h 6758"/>
                  </a:gdLst>
                  <a:ahLst/>
                  <a:cxnLst>
                    <a:cxn ang="0">
                      <a:pos x="connsiteX0" y="connsiteY0"/>
                    </a:cxn>
                    <a:cxn ang="0">
                      <a:pos x="connsiteX1" y="connsiteY1"/>
                    </a:cxn>
                  </a:cxnLst>
                  <a:rect l="l" t="t" r="r" b="b"/>
                  <a:pathLst>
                    <a:path w="3947" h="6758">
                      <a:moveTo>
                        <a:pt x="3947" y="675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58" name="Vrije vorm: vorm 6257">
                  <a:extLst>
                    <a:ext uri="{FF2B5EF4-FFF2-40B4-BE49-F238E27FC236}">
                      <a16:creationId xmlns:a16="http://schemas.microsoft.com/office/drawing/2014/main" id="{39D61B73-89FC-4C98-BE6C-3FF205C768A4}"/>
                    </a:ext>
                  </a:extLst>
                </p:cNvPr>
                <p:cNvSpPr/>
                <p:nvPr/>
              </p:nvSpPr>
              <p:spPr>
                <a:xfrm>
                  <a:off x="7596792" y="2677071"/>
                  <a:ext cx="18241" cy="14353"/>
                </a:xfrm>
                <a:custGeom>
                  <a:avLst/>
                  <a:gdLst>
                    <a:gd name="connsiteX0" fmla="*/ 0 w 18241"/>
                    <a:gd name="connsiteY0" fmla="*/ 14354 h 14353"/>
                    <a:gd name="connsiteX1" fmla="*/ 18242 w 18241"/>
                    <a:gd name="connsiteY1" fmla="*/ 0 h 14353"/>
                  </a:gdLst>
                  <a:ahLst/>
                  <a:cxnLst>
                    <a:cxn ang="0">
                      <a:pos x="connsiteX0" y="connsiteY0"/>
                    </a:cxn>
                    <a:cxn ang="0">
                      <a:pos x="connsiteX1" y="connsiteY1"/>
                    </a:cxn>
                  </a:cxnLst>
                  <a:rect l="l" t="t" r="r" b="b"/>
                  <a:pathLst>
                    <a:path w="18241" h="14353">
                      <a:moveTo>
                        <a:pt x="0" y="14354"/>
                      </a:moveTo>
                      <a:lnTo>
                        <a:pt x="18242" y="0"/>
                      </a:lnTo>
                    </a:path>
                  </a:pathLst>
                </a:custGeom>
                <a:ln w="6350" cap="rnd">
                  <a:solidFill>
                    <a:schemeClr val="bg1">
                      <a:alpha val="40000"/>
                    </a:schemeClr>
                  </a:solidFill>
                  <a:prstDash val="solid"/>
                  <a:round/>
                </a:ln>
              </p:spPr>
              <p:txBody>
                <a:bodyPr rtlCol="0" anchor="ctr"/>
                <a:lstStyle/>
                <a:p>
                  <a:endParaRPr lang="en-GB"/>
                </a:p>
              </p:txBody>
            </p:sp>
            <p:sp>
              <p:nvSpPr>
                <p:cNvPr id="6259" name="Vrije vorm: vorm 6258">
                  <a:extLst>
                    <a:ext uri="{FF2B5EF4-FFF2-40B4-BE49-F238E27FC236}">
                      <a16:creationId xmlns:a16="http://schemas.microsoft.com/office/drawing/2014/main" id="{835C319E-1C26-4835-AE83-F41E3CBA2D27}"/>
                    </a:ext>
                  </a:extLst>
                </p:cNvPr>
                <p:cNvSpPr/>
                <p:nvPr/>
              </p:nvSpPr>
              <p:spPr>
                <a:xfrm>
                  <a:off x="7621672" y="2629105"/>
                  <a:ext cx="10585" cy="956"/>
                </a:xfrm>
                <a:custGeom>
                  <a:avLst/>
                  <a:gdLst>
                    <a:gd name="connsiteX0" fmla="*/ 0 w 10585"/>
                    <a:gd name="connsiteY0" fmla="*/ 957 h 956"/>
                    <a:gd name="connsiteX1" fmla="*/ 10586 w 10585"/>
                    <a:gd name="connsiteY1" fmla="*/ 0 h 956"/>
                  </a:gdLst>
                  <a:ahLst/>
                  <a:cxnLst>
                    <a:cxn ang="0">
                      <a:pos x="connsiteX0" y="connsiteY0"/>
                    </a:cxn>
                    <a:cxn ang="0">
                      <a:pos x="connsiteX1" y="connsiteY1"/>
                    </a:cxn>
                  </a:cxnLst>
                  <a:rect l="l" t="t" r="r" b="b"/>
                  <a:pathLst>
                    <a:path w="10585" h="956">
                      <a:moveTo>
                        <a:pt x="0" y="957"/>
                      </a:moveTo>
                      <a:lnTo>
                        <a:pt x="10586" y="0"/>
                      </a:lnTo>
                    </a:path>
                  </a:pathLst>
                </a:custGeom>
                <a:ln w="6350" cap="rnd">
                  <a:solidFill>
                    <a:schemeClr val="bg1">
                      <a:alpha val="40000"/>
                    </a:schemeClr>
                  </a:solidFill>
                  <a:prstDash val="solid"/>
                  <a:round/>
                </a:ln>
              </p:spPr>
              <p:txBody>
                <a:bodyPr rtlCol="0" anchor="ctr"/>
                <a:lstStyle/>
                <a:p>
                  <a:endParaRPr lang="en-GB"/>
                </a:p>
              </p:txBody>
            </p:sp>
            <p:sp>
              <p:nvSpPr>
                <p:cNvPr id="6260" name="Vrije vorm: vorm 6259">
                  <a:extLst>
                    <a:ext uri="{FF2B5EF4-FFF2-40B4-BE49-F238E27FC236}">
                      <a16:creationId xmlns:a16="http://schemas.microsoft.com/office/drawing/2014/main" id="{6B74D97E-BA9F-40B4-8A5E-C77AA4EDE5F2}"/>
                    </a:ext>
                  </a:extLst>
                </p:cNvPr>
                <p:cNvSpPr/>
                <p:nvPr/>
              </p:nvSpPr>
              <p:spPr>
                <a:xfrm>
                  <a:off x="7607558" y="2630062"/>
                  <a:ext cx="14114" cy="9210"/>
                </a:xfrm>
                <a:custGeom>
                  <a:avLst/>
                  <a:gdLst>
                    <a:gd name="connsiteX0" fmla="*/ 14115 w 14114"/>
                    <a:gd name="connsiteY0" fmla="*/ 0 h 9210"/>
                    <a:gd name="connsiteX1" fmla="*/ 0 w 14114"/>
                    <a:gd name="connsiteY1" fmla="*/ 9210 h 9210"/>
                  </a:gdLst>
                  <a:ahLst/>
                  <a:cxnLst>
                    <a:cxn ang="0">
                      <a:pos x="connsiteX0" y="connsiteY0"/>
                    </a:cxn>
                    <a:cxn ang="0">
                      <a:pos x="connsiteX1" y="connsiteY1"/>
                    </a:cxn>
                  </a:cxnLst>
                  <a:rect l="l" t="t" r="r" b="b"/>
                  <a:pathLst>
                    <a:path w="14114" h="9210">
                      <a:moveTo>
                        <a:pt x="14115" y="0"/>
                      </a:moveTo>
                      <a:lnTo>
                        <a:pt x="0" y="9210"/>
                      </a:lnTo>
                    </a:path>
                  </a:pathLst>
                </a:custGeom>
                <a:ln w="6350" cap="rnd">
                  <a:solidFill>
                    <a:schemeClr val="bg1">
                      <a:alpha val="40000"/>
                    </a:schemeClr>
                  </a:solidFill>
                  <a:prstDash val="solid"/>
                  <a:round/>
                </a:ln>
              </p:spPr>
              <p:txBody>
                <a:bodyPr rtlCol="0" anchor="ctr"/>
                <a:lstStyle/>
                <a:p>
                  <a:endParaRPr lang="en-GB"/>
                </a:p>
              </p:txBody>
            </p:sp>
            <p:sp>
              <p:nvSpPr>
                <p:cNvPr id="6261" name="Vrije vorm: vorm 6260">
                  <a:extLst>
                    <a:ext uri="{FF2B5EF4-FFF2-40B4-BE49-F238E27FC236}">
                      <a16:creationId xmlns:a16="http://schemas.microsoft.com/office/drawing/2014/main" id="{F1866C40-9651-42B6-BBDA-FD7649D10E10}"/>
                    </a:ext>
                  </a:extLst>
                </p:cNvPr>
                <p:cNvSpPr/>
                <p:nvPr/>
              </p:nvSpPr>
              <p:spPr>
                <a:xfrm>
                  <a:off x="7782554" y="2780896"/>
                  <a:ext cx="179" cy="3767"/>
                </a:xfrm>
                <a:custGeom>
                  <a:avLst/>
                  <a:gdLst>
                    <a:gd name="connsiteX0" fmla="*/ 179 w 179"/>
                    <a:gd name="connsiteY0" fmla="*/ 3768 h 3767"/>
                    <a:gd name="connsiteX1" fmla="*/ 0 w 179"/>
                    <a:gd name="connsiteY1" fmla="*/ 0 h 3767"/>
                  </a:gdLst>
                  <a:ahLst/>
                  <a:cxnLst>
                    <a:cxn ang="0">
                      <a:pos x="connsiteX0" y="connsiteY0"/>
                    </a:cxn>
                    <a:cxn ang="0">
                      <a:pos x="connsiteX1" y="connsiteY1"/>
                    </a:cxn>
                  </a:cxnLst>
                  <a:rect l="l" t="t" r="r" b="b"/>
                  <a:pathLst>
                    <a:path w="179" h="3767">
                      <a:moveTo>
                        <a:pt x="179" y="376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62" name="Vrije vorm: vorm 6261">
                  <a:extLst>
                    <a:ext uri="{FF2B5EF4-FFF2-40B4-BE49-F238E27FC236}">
                      <a16:creationId xmlns:a16="http://schemas.microsoft.com/office/drawing/2014/main" id="{A9DD7C67-F01B-44F5-9AE7-D7E8053B63B3}"/>
                    </a:ext>
                  </a:extLst>
                </p:cNvPr>
                <p:cNvSpPr/>
                <p:nvPr/>
              </p:nvSpPr>
              <p:spPr>
                <a:xfrm>
                  <a:off x="7775795" y="2784664"/>
                  <a:ext cx="6937" cy="13277"/>
                </a:xfrm>
                <a:custGeom>
                  <a:avLst/>
                  <a:gdLst>
                    <a:gd name="connsiteX0" fmla="*/ 6937 w 6937"/>
                    <a:gd name="connsiteY0" fmla="*/ 0 h 13277"/>
                    <a:gd name="connsiteX1" fmla="*/ 0 w 6937"/>
                    <a:gd name="connsiteY1" fmla="*/ 13277 h 13277"/>
                  </a:gdLst>
                  <a:ahLst/>
                  <a:cxnLst>
                    <a:cxn ang="0">
                      <a:pos x="connsiteX0" y="connsiteY0"/>
                    </a:cxn>
                    <a:cxn ang="0">
                      <a:pos x="connsiteX1" y="connsiteY1"/>
                    </a:cxn>
                  </a:cxnLst>
                  <a:rect l="l" t="t" r="r" b="b"/>
                  <a:pathLst>
                    <a:path w="6937" h="13277">
                      <a:moveTo>
                        <a:pt x="6937" y="0"/>
                      </a:moveTo>
                      <a:lnTo>
                        <a:pt x="0" y="13277"/>
                      </a:lnTo>
                    </a:path>
                  </a:pathLst>
                </a:custGeom>
                <a:ln w="6350" cap="rnd">
                  <a:solidFill>
                    <a:schemeClr val="bg1">
                      <a:alpha val="40000"/>
                    </a:schemeClr>
                  </a:solidFill>
                  <a:prstDash val="solid"/>
                  <a:round/>
                </a:ln>
              </p:spPr>
              <p:txBody>
                <a:bodyPr rtlCol="0" anchor="ctr"/>
                <a:lstStyle/>
                <a:p>
                  <a:endParaRPr lang="en-GB"/>
                </a:p>
              </p:txBody>
            </p:sp>
            <p:sp>
              <p:nvSpPr>
                <p:cNvPr id="6263" name="Vrije vorm: vorm 6262">
                  <a:extLst>
                    <a:ext uri="{FF2B5EF4-FFF2-40B4-BE49-F238E27FC236}">
                      <a16:creationId xmlns:a16="http://schemas.microsoft.com/office/drawing/2014/main" id="{59B71FA8-3330-49C6-BC99-9CF35A825845}"/>
                    </a:ext>
                  </a:extLst>
                </p:cNvPr>
                <p:cNvSpPr/>
                <p:nvPr/>
              </p:nvSpPr>
              <p:spPr>
                <a:xfrm>
                  <a:off x="7753966" y="2769054"/>
                  <a:ext cx="9389" cy="11124"/>
                </a:xfrm>
                <a:custGeom>
                  <a:avLst/>
                  <a:gdLst>
                    <a:gd name="connsiteX0" fmla="*/ 0 w 9389"/>
                    <a:gd name="connsiteY0" fmla="*/ 0 h 11124"/>
                    <a:gd name="connsiteX1" fmla="*/ 9390 w 9389"/>
                    <a:gd name="connsiteY1" fmla="*/ 11124 h 11124"/>
                  </a:gdLst>
                  <a:ahLst/>
                  <a:cxnLst>
                    <a:cxn ang="0">
                      <a:pos x="connsiteX0" y="connsiteY0"/>
                    </a:cxn>
                    <a:cxn ang="0">
                      <a:pos x="connsiteX1" y="connsiteY1"/>
                    </a:cxn>
                  </a:cxnLst>
                  <a:rect l="l" t="t" r="r" b="b"/>
                  <a:pathLst>
                    <a:path w="9389" h="11124">
                      <a:moveTo>
                        <a:pt x="0" y="0"/>
                      </a:moveTo>
                      <a:lnTo>
                        <a:pt x="9390" y="11124"/>
                      </a:lnTo>
                    </a:path>
                  </a:pathLst>
                </a:custGeom>
                <a:ln w="6350" cap="rnd">
                  <a:solidFill>
                    <a:schemeClr val="bg1">
                      <a:alpha val="40000"/>
                    </a:schemeClr>
                  </a:solidFill>
                  <a:prstDash val="solid"/>
                  <a:round/>
                </a:ln>
              </p:spPr>
              <p:txBody>
                <a:bodyPr rtlCol="0" anchor="ctr"/>
                <a:lstStyle/>
                <a:p>
                  <a:endParaRPr lang="en-GB"/>
                </a:p>
              </p:txBody>
            </p:sp>
            <p:sp>
              <p:nvSpPr>
                <p:cNvPr id="6264" name="Vrije vorm: vorm 6263">
                  <a:extLst>
                    <a:ext uri="{FF2B5EF4-FFF2-40B4-BE49-F238E27FC236}">
                      <a16:creationId xmlns:a16="http://schemas.microsoft.com/office/drawing/2014/main" id="{4089E039-B22D-4242-B5B0-7D1E990ECA1E}"/>
                    </a:ext>
                  </a:extLst>
                </p:cNvPr>
                <p:cNvSpPr/>
                <p:nvPr/>
              </p:nvSpPr>
              <p:spPr>
                <a:xfrm>
                  <a:off x="7728129" y="2769054"/>
                  <a:ext cx="25836" cy="8014"/>
                </a:xfrm>
                <a:custGeom>
                  <a:avLst/>
                  <a:gdLst>
                    <a:gd name="connsiteX0" fmla="*/ 25837 w 25836"/>
                    <a:gd name="connsiteY0" fmla="*/ 0 h 8014"/>
                    <a:gd name="connsiteX1" fmla="*/ 0 w 25836"/>
                    <a:gd name="connsiteY1" fmla="*/ 8014 h 8014"/>
                  </a:gdLst>
                  <a:ahLst/>
                  <a:cxnLst>
                    <a:cxn ang="0">
                      <a:pos x="connsiteX0" y="connsiteY0"/>
                    </a:cxn>
                    <a:cxn ang="0">
                      <a:pos x="connsiteX1" y="connsiteY1"/>
                    </a:cxn>
                  </a:cxnLst>
                  <a:rect l="l" t="t" r="r" b="b"/>
                  <a:pathLst>
                    <a:path w="25836" h="8014">
                      <a:moveTo>
                        <a:pt x="25837" y="0"/>
                      </a:moveTo>
                      <a:lnTo>
                        <a:pt x="0" y="8014"/>
                      </a:lnTo>
                    </a:path>
                  </a:pathLst>
                </a:custGeom>
                <a:ln w="6350" cap="rnd">
                  <a:solidFill>
                    <a:schemeClr val="bg1">
                      <a:alpha val="40000"/>
                    </a:schemeClr>
                  </a:solidFill>
                  <a:prstDash val="solid"/>
                  <a:round/>
                </a:ln>
              </p:spPr>
              <p:txBody>
                <a:bodyPr rtlCol="0" anchor="ctr"/>
                <a:lstStyle/>
                <a:p>
                  <a:endParaRPr lang="en-GB"/>
                </a:p>
              </p:txBody>
            </p:sp>
            <p:sp>
              <p:nvSpPr>
                <p:cNvPr id="6265" name="Vrije vorm: vorm 6264">
                  <a:extLst>
                    <a:ext uri="{FF2B5EF4-FFF2-40B4-BE49-F238E27FC236}">
                      <a16:creationId xmlns:a16="http://schemas.microsoft.com/office/drawing/2014/main" id="{1482D03A-115D-42D2-85AC-5DC10C22D747}"/>
                    </a:ext>
                  </a:extLst>
                </p:cNvPr>
                <p:cNvSpPr/>
                <p:nvPr/>
              </p:nvSpPr>
              <p:spPr>
                <a:xfrm>
                  <a:off x="7753966" y="2758947"/>
                  <a:ext cx="8373" cy="10107"/>
                </a:xfrm>
                <a:custGeom>
                  <a:avLst/>
                  <a:gdLst>
                    <a:gd name="connsiteX0" fmla="*/ 0 w 8373"/>
                    <a:gd name="connsiteY0" fmla="*/ 10107 h 10107"/>
                    <a:gd name="connsiteX1" fmla="*/ 8373 w 8373"/>
                    <a:gd name="connsiteY1" fmla="*/ 0 h 10107"/>
                  </a:gdLst>
                  <a:ahLst/>
                  <a:cxnLst>
                    <a:cxn ang="0">
                      <a:pos x="connsiteX0" y="connsiteY0"/>
                    </a:cxn>
                    <a:cxn ang="0">
                      <a:pos x="connsiteX1" y="connsiteY1"/>
                    </a:cxn>
                  </a:cxnLst>
                  <a:rect l="l" t="t" r="r" b="b"/>
                  <a:pathLst>
                    <a:path w="8373" h="10107">
                      <a:moveTo>
                        <a:pt x="0" y="10107"/>
                      </a:moveTo>
                      <a:lnTo>
                        <a:pt x="8373" y="0"/>
                      </a:lnTo>
                    </a:path>
                  </a:pathLst>
                </a:custGeom>
                <a:ln w="6350" cap="rnd">
                  <a:solidFill>
                    <a:schemeClr val="bg1">
                      <a:alpha val="40000"/>
                    </a:schemeClr>
                  </a:solidFill>
                  <a:prstDash val="solid"/>
                  <a:round/>
                </a:ln>
              </p:spPr>
              <p:txBody>
                <a:bodyPr rtlCol="0" anchor="ctr"/>
                <a:lstStyle/>
                <a:p>
                  <a:endParaRPr lang="en-GB"/>
                </a:p>
              </p:txBody>
            </p:sp>
            <p:sp>
              <p:nvSpPr>
                <p:cNvPr id="6266" name="Vrije vorm: vorm 6265">
                  <a:extLst>
                    <a:ext uri="{FF2B5EF4-FFF2-40B4-BE49-F238E27FC236}">
                      <a16:creationId xmlns:a16="http://schemas.microsoft.com/office/drawing/2014/main" id="{11CCA282-66E0-4CA8-A832-A0A6153EFEB9}"/>
                    </a:ext>
                  </a:extLst>
                </p:cNvPr>
                <p:cNvSpPr/>
                <p:nvPr/>
              </p:nvSpPr>
              <p:spPr>
                <a:xfrm>
                  <a:off x="7753966" y="2759067"/>
                  <a:ext cx="1136" cy="9987"/>
                </a:xfrm>
                <a:custGeom>
                  <a:avLst/>
                  <a:gdLst>
                    <a:gd name="connsiteX0" fmla="*/ 0 w 1136"/>
                    <a:gd name="connsiteY0" fmla="*/ 9988 h 9987"/>
                    <a:gd name="connsiteX1" fmla="*/ 1136 w 1136"/>
                    <a:gd name="connsiteY1" fmla="*/ 0 h 9987"/>
                  </a:gdLst>
                  <a:ahLst/>
                  <a:cxnLst>
                    <a:cxn ang="0">
                      <a:pos x="connsiteX0" y="connsiteY0"/>
                    </a:cxn>
                    <a:cxn ang="0">
                      <a:pos x="connsiteX1" y="connsiteY1"/>
                    </a:cxn>
                  </a:cxnLst>
                  <a:rect l="l" t="t" r="r" b="b"/>
                  <a:pathLst>
                    <a:path w="1136" h="9987">
                      <a:moveTo>
                        <a:pt x="0" y="9988"/>
                      </a:moveTo>
                      <a:lnTo>
                        <a:pt x="1136" y="0"/>
                      </a:lnTo>
                    </a:path>
                  </a:pathLst>
                </a:custGeom>
                <a:ln w="6350" cap="rnd">
                  <a:solidFill>
                    <a:schemeClr val="bg1">
                      <a:alpha val="40000"/>
                    </a:schemeClr>
                  </a:solidFill>
                  <a:prstDash val="solid"/>
                  <a:round/>
                </a:ln>
              </p:spPr>
              <p:txBody>
                <a:bodyPr rtlCol="0" anchor="ctr"/>
                <a:lstStyle/>
                <a:p>
                  <a:endParaRPr lang="en-GB"/>
                </a:p>
              </p:txBody>
            </p:sp>
            <p:sp>
              <p:nvSpPr>
                <p:cNvPr id="6267" name="Vrije vorm: vorm 6266">
                  <a:extLst>
                    <a:ext uri="{FF2B5EF4-FFF2-40B4-BE49-F238E27FC236}">
                      <a16:creationId xmlns:a16="http://schemas.microsoft.com/office/drawing/2014/main" id="{FEB036FC-8926-48EE-B62E-26F9926B5757}"/>
                    </a:ext>
                  </a:extLst>
                </p:cNvPr>
                <p:cNvSpPr/>
                <p:nvPr/>
              </p:nvSpPr>
              <p:spPr>
                <a:xfrm>
                  <a:off x="7745354" y="2769054"/>
                  <a:ext cx="8612" cy="21291"/>
                </a:xfrm>
                <a:custGeom>
                  <a:avLst/>
                  <a:gdLst>
                    <a:gd name="connsiteX0" fmla="*/ 8612 w 8612"/>
                    <a:gd name="connsiteY0" fmla="*/ 0 h 21291"/>
                    <a:gd name="connsiteX1" fmla="*/ 0 w 8612"/>
                    <a:gd name="connsiteY1" fmla="*/ 21291 h 21291"/>
                  </a:gdLst>
                  <a:ahLst/>
                  <a:cxnLst>
                    <a:cxn ang="0">
                      <a:pos x="connsiteX0" y="connsiteY0"/>
                    </a:cxn>
                    <a:cxn ang="0">
                      <a:pos x="connsiteX1" y="connsiteY1"/>
                    </a:cxn>
                  </a:cxnLst>
                  <a:rect l="l" t="t" r="r" b="b"/>
                  <a:pathLst>
                    <a:path w="8612" h="21291">
                      <a:moveTo>
                        <a:pt x="8612" y="0"/>
                      </a:moveTo>
                      <a:lnTo>
                        <a:pt x="0" y="21291"/>
                      </a:lnTo>
                    </a:path>
                  </a:pathLst>
                </a:custGeom>
                <a:ln w="6350" cap="rnd">
                  <a:solidFill>
                    <a:schemeClr val="bg1">
                      <a:alpha val="40000"/>
                    </a:schemeClr>
                  </a:solidFill>
                  <a:prstDash val="solid"/>
                  <a:round/>
                </a:ln>
              </p:spPr>
              <p:txBody>
                <a:bodyPr rtlCol="0" anchor="ctr"/>
                <a:lstStyle/>
                <a:p>
                  <a:endParaRPr lang="en-GB"/>
                </a:p>
              </p:txBody>
            </p:sp>
            <p:sp>
              <p:nvSpPr>
                <p:cNvPr id="6268" name="Vrije vorm: vorm 6267">
                  <a:extLst>
                    <a:ext uri="{FF2B5EF4-FFF2-40B4-BE49-F238E27FC236}">
                      <a16:creationId xmlns:a16="http://schemas.microsoft.com/office/drawing/2014/main" id="{4AA5A7A2-7021-4507-BA11-17DEFB20A6D8}"/>
                    </a:ext>
                  </a:extLst>
                </p:cNvPr>
                <p:cNvSpPr/>
                <p:nvPr/>
              </p:nvSpPr>
              <p:spPr>
                <a:xfrm>
                  <a:off x="7774838" y="2797941"/>
                  <a:ext cx="956" cy="6877"/>
                </a:xfrm>
                <a:custGeom>
                  <a:avLst/>
                  <a:gdLst>
                    <a:gd name="connsiteX0" fmla="*/ 0 w 956"/>
                    <a:gd name="connsiteY0" fmla="*/ 6878 h 6877"/>
                    <a:gd name="connsiteX1" fmla="*/ 957 w 956"/>
                    <a:gd name="connsiteY1" fmla="*/ 0 h 6877"/>
                  </a:gdLst>
                  <a:ahLst/>
                  <a:cxnLst>
                    <a:cxn ang="0">
                      <a:pos x="connsiteX0" y="connsiteY0"/>
                    </a:cxn>
                    <a:cxn ang="0">
                      <a:pos x="connsiteX1" y="connsiteY1"/>
                    </a:cxn>
                  </a:cxnLst>
                  <a:rect l="l" t="t" r="r" b="b"/>
                  <a:pathLst>
                    <a:path w="956" h="6877">
                      <a:moveTo>
                        <a:pt x="0" y="6878"/>
                      </a:moveTo>
                      <a:lnTo>
                        <a:pt x="957" y="0"/>
                      </a:lnTo>
                    </a:path>
                  </a:pathLst>
                </a:custGeom>
                <a:ln w="6350" cap="rnd">
                  <a:solidFill>
                    <a:schemeClr val="bg1">
                      <a:alpha val="40000"/>
                    </a:schemeClr>
                  </a:solidFill>
                  <a:prstDash val="solid"/>
                  <a:round/>
                </a:ln>
              </p:spPr>
              <p:txBody>
                <a:bodyPr rtlCol="0" anchor="ctr"/>
                <a:lstStyle/>
                <a:p>
                  <a:endParaRPr lang="en-GB"/>
                </a:p>
              </p:txBody>
            </p:sp>
            <p:sp>
              <p:nvSpPr>
                <p:cNvPr id="6269" name="Vrije vorm: vorm 6268">
                  <a:extLst>
                    <a:ext uri="{FF2B5EF4-FFF2-40B4-BE49-F238E27FC236}">
                      <a16:creationId xmlns:a16="http://schemas.microsoft.com/office/drawing/2014/main" id="{8B071068-E323-4385-9C5C-EF640F33FD4C}"/>
                    </a:ext>
                  </a:extLst>
                </p:cNvPr>
                <p:cNvSpPr/>
                <p:nvPr/>
              </p:nvSpPr>
              <p:spPr>
                <a:xfrm>
                  <a:off x="7774838" y="2784664"/>
                  <a:ext cx="7894" cy="20155"/>
                </a:xfrm>
                <a:custGeom>
                  <a:avLst/>
                  <a:gdLst>
                    <a:gd name="connsiteX0" fmla="*/ 0 w 7894"/>
                    <a:gd name="connsiteY0" fmla="*/ 20155 h 20155"/>
                    <a:gd name="connsiteX1" fmla="*/ 7894 w 7894"/>
                    <a:gd name="connsiteY1" fmla="*/ 0 h 20155"/>
                  </a:gdLst>
                  <a:ahLst/>
                  <a:cxnLst>
                    <a:cxn ang="0">
                      <a:pos x="connsiteX0" y="connsiteY0"/>
                    </a:cxn>
                    <a:cxn ang="0">
                      <a:pos x="connsiteX1" y="connsiteY1"/>
                    </a:cxn>
                  </a:cxnLst>
                  <a:rect l="l" t="t" r="r" b="b"/>
                  <a:pathLst>
                    <a:path w="7894" h="20155">
                      <a:moveTo>
                        <a:pt x="0" y="20155"/>
                      </a:moveTo>
                      <a:lnTo>
                        <a:pt x="7894" y="0"/>
                      </a:lnTo>
                    </a:path>
                  </a:pathLst>
                </a:custGeom>
                <a:ln w="6350" cap="rnd">
                  <a:solidFill>
                    <a:schemeClr val="bg1">
                      <a:alpha val="40000"/>
                    </a:schemeClr>
                  </a:solidFill>
                  <a:prstDash val="solid"/>
                  <a:round/>
                </a:ln>
              </p:spPr>
              <p:txBody>
                <a:bodyPr rtlCol="0" anchor="ctr"/>
                <a:lstStyle/>
                <a:p>
                  <a:endParaRPr lang="en-GB"/>
                </a:p>
              </p:txBody>
            </p:sp>
            <p:sp>
              <p:nvSpPr>
                <p:cNvPr id="6270" name="Vrije vorm: vorm 6269">
                  <a:extLst>
                    <a:ext uri="{FF2B5EF4-FFF2-40B4-BE49-F238E27FC236}">
                      <a16:creationId xmlns:a16="http://schemas.microsoft.com/office/drawing/2014/main" id="{676BB453-6D0A-4CB5-8507-0C3214A478D8}"/>
                    </a:ext>
                  </a:extLst>
                </p:cNvPr>
                <p:cNvSpPr/>
                <p:nvPr/>
              </p:nvSpPr>
              <p:spPr>
                <a:xfrm>
                  <a:off x="7685666" y="2707812"/>
                  <a:ext cx="10047" cy="14772"/>
                </a:xfrm>
                <a:custGeom>
                  <a:avLst/>
                  <a:gdLst>
                    <a:gd name="connsiteX0" fmla="*/ 0 w 10047"/>
                    <a:gd name="connsiteY0" fmla="*/ 0 h 14772"/>
                    <a:gd name="connsiteX1" fmla="*/ 10048 w 10047"/>
                    <a:gd name="connsiteY1" fmla="*/ 14772 h 14772"/>
                  </a:gdLst>
                  <a:ahLst/>
                  <a:cxnLst>
                    <a:cxn ang="0">
                      <a:pos x="connsiteX0" y="connsiteY0"/>
                    </a:cxn>
                    <a:cxn ang="0">
                      <a:pos x="connsiteX1" y="connsiteY1"/>
                    </a:cxn>
                  </a:cxnLst>
                  <a:rect l="l" t="t" r="r" b="b"/>
                  <a:pathLst>
                    <a:path w="10047" h="14772">
                      <a:moveTo>
                        <a:pt x="0" y="0"/>
                      </a:moveTo>
                      <a:lnTo>
                        <a:pt x="10048" y="14772"/>
                      </a:lnTo>
                    </a:path>
                  </a:pathLst>
                </a:custGeom>
                <a:ln w="6350" cap="rnd">
                  <a:solidFill>
                    <a:schemeClr val="bg1">
                      <a:alpha val="40000"/>
                    </a:schemeClr>
                  </a:solidFill>
                  <a:prstDash val="solid"/>
                  <a:round/>
                </a:ln>
              </p:spPr>
              <p:txBody>
                <a:bodyPr rtlCol="0" anchor="ctr"/>
                <a:lstStyle/>
                <a:p>
                  <a:endParaRPr lang="en-GB"/>
                </a:p>
              </p:txBody>
            </p:sp>
            <p:sp>
              <p:nvSpPr>
                <p:cNvPr id="6271" name="Vrije vorm: vorm 6270">
                  <a:extLst>
                    <a:ext uri="{FF2B5EF4-FFF2-40B4-BE49-F238E27FC236}">
                      <a16:creationId xmlns:a16="http://schemas.microsoft.com/office/drawing/2014/main" id="{23AC494D-646A-4827-A2F8-83C61A7951EE}"/>
                    </a:ext>
                  </a:extLst>
                </p:cNvPr>
                <p:cNvSpPr/>
                <p:nvPr/>
              </p:nvSpPr>
              <p:spPr>
                <a:xfrm>
                  <a:off x="7659112" y="2690527"/>
                  <a:ext cx="26554" cy="17284"/>
                </a:xfrm>
                <a:custGeom>
                  <a:avLst/>
                  <a:gdLst>
                    <a:gd name="connsiteX0" fmla="*/ 26554 w 26554"/>
                    <a:gd name="connsiteY0" fmla="*/ 17284 h 17284"/>
                    <a:gd name="connsiteX1" fmla="*/ 0 w 26554"/>
                    <a:gd name="connsiteY1" fmla="*/ 0 h 17284"/>
                  </a:gdLst>
                  <a:ahLst/>
                  <a:cxnLst>
                    <a:cxn ang="0">
                      <a:pos x="connsiteX0" y="connsiteY0"/>
                    </a:cxn>
                    <a:cxn ang="0">
                      <a:pos x="connsiteX1" y="connsiteY1"/>
                    </a:cxn>
                  </a:cxnLst>
                  <a:rect l="l" t="t" r="r" b="b"/>
                  <a:pathLst>
                    <a:path w="26554" h="17284">
                      <a:moveTo>
                        <a:pt x="26554" y="1728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72" name="Vrije vorm: vorm 6271">
                  <a:extLst>
                    <a:ext uri="{FF2B5EF4-FFF2-40B4-BE49-F238E27FC236}">
                      <a16:creationId xmlns:a16="http://schemas.microsoft.com/office/drawing/2014/main" id="{33FEEFD9-321D-4455-8D6C-FA0AB8E28AD8}"/>
                    </a:ext>
                  </a:extLst>
                </p:cNvPr>
                <p:cNvSpPr/>
                <p:nvPr/>
              </p:nvSpPr>
              <p:spPr>
                <a:xfrm>
                  <a:off x="7685666" y="2705539"/>
                  <a:ext cx="12738" cy="2272"/>
                </a:xfrm>
                <a:custGeom>
                  <a:avLst/>
                  <a:gdLst>
                    <a:gd name="connsiteX0" fmla="*/ 0 w 12738"/>
                    <a:gd name="connsiteY0" fmla="*/ 2273 h 2272"/>
                    <a:gd name="connsiteX1" fmla="*/ 12739 w 12738"/>
                    <a:gd name="connsiteY1" fmla="*/ 0 h 2272"/>
                  </a:gdLst>
                  <a:ahLst/>
                  <a:cxnLst>
                    <a:cxn ang="0">
                      <a:pos x="connsiteX0" y="connsiteY0"/>
                    </a:cxn>
                    <a:cxn ang="0">
                      <a:pos x="connsiteX1" y="connsiteY1"/>
                    </a:cxn>
                  </a:cxnLst>
                  <a:rect l="l" t="t" r="r" b="b"/>
                  <a:pathLst>
                    <a:path w="12738" h="2272">
                      <a:moveTo>
                        <a:pt x="0" y="2273"/>
                      </a:moveTo>
                      <a:lnTo>
                        <a:pt x="12739" y="0"/>
                      </a:lnTo>
                    </a:path>
                  </a:pathLst>
                </a:custGeom>
                <a:ln w="6350" cap="rnd">
                  <a:solidFill>
                    <a:schemeClr val="bg1">
                      <a:alpha val="40000"/>
                    </a:schemeClr>
                  </a:solidFill>
                  <a:prstDash val="solid"/>
                  <a:round/>
                </a:ln>
              </p:spPr>
              <p:txBody>
                <a:bodyPr rtlCol="0" anchor="ctr"/>
                <a:lstStyle/>
                <a:p>
                  <a:endParaRPr lang="en-GB"/>
                </a:p>
              </p:txBody>
            </p:sp>
            <p:sp>
              <p:nvSpPr>
                <p:cNvPr id="6273" name="Vrije vorm: vorm 6272">
                  <a:extLst>
                    <a:ext uri="{FF2B5EF4-FFF2-40B4-BE49-F238E27FC236}">
                      <a16:creationId xmlns:a16="http://schemas.microsoft.com/office/drawing/2014/main" id="{6E44104B-B200-4999-AA0F-0A21329BEE32}"/>
                    </a:ext>
                  </a:extLst>
                </p:cNvPr>
                <p:cNvSpPr/>
                <p:nvPr/>
              </p:nvSpPr>
              <p:spPr>
                <a:xfrm>
                  <a:off x="7669279" y="2707812"/>
                  <a:ext cx="16387" cy="15011"/>
                </a:xfrm>
                <a:custGeom>
                  <a:avLst/>
                  <a:gdLst>
                    <a:gd name="connsiteX0" fmla="*/ 16387 w 16387"/>
                    <a:gd name="connsiteY0" fmla="*/ 0 h 15011"/>
                    <a:gd name="connsiteX1" fmla="*/ 0 w 16387"/>
                    <a:gd name="connsiteY1" fmla="*/ 15012 h 15011"/>
                  </a:gdLst>
                  <a:ahLst/>
                  <a:cxnLst>
                    <a:cxn ang="0">
                      <a:pos x="connsiteX0" y="connsiteY0"/>
                    </a:cxn>
                    <a:cxn ang="0">
                      <a:pos x="connsiteX1" y="connsiteY1"/>
                    </a:cxn>
                  </a:cxnLst>
                  <a:rect l="l" t="t" r="r" b="b"/>
                  <a:pathLst>
                    <a:path w="16387" h="15011">
                      <a:moveTo>
                        <a:pt x="16387" y="0"/>
                      </a:moveTo>
                      <a:lnTo>
                        <a:pt x="0" y="15012"/>
                      </a:lnTo>
                    </a:path>
                  </a:pathLst>
                </a:custGeom>
                <a:ln w="6350" cap="rnd">
                  <a:solidFill>
                    <a:schemeClr val="bg1">
                      <a:alpha val="40000"/>
                    </a:schemeClr>
                  </a:solidFill>
                  <a:prstDash val="solid"/>
                  <a:round/>
                </a:ln>
              </p:spPr>
              <p:txBody>
                <a:bodyPr rtlCol="0" anchor="ctr"/>
                <a:lstStyle/>
                <a:p>
                  <a:endParaRPr lang="en-GB"/>
                </a:p>
              </p:txBody>
            </p:sp>
            <p:sp>
              <p:nvSpPr>
                <p:cNvPr id="6274" name="Vrije vorm: vorm 6273">
                  <a:extLst>
                    <a:ext uri="{FF2B5EF4-FFF2-40B4-BE49-F238E27FC236}">
                      <a16:creationId xmlns:a16="http://schemas.microsoft.com/office/drawing/2014/main" id="{7E7AD61F-4190-4D7D-A33D-5C9E612D0CB8}"/>
                    </a:ext>
                  </a:extLst>
                </p:cNvPr>
                <p:cNvSpPr/>
                <p:nvPr/>
              </p:nvSpPr>
              <p:spPr>
                <a:xfrm>
                  <a:off x="7513302" y="2723661"/>
                  <a:ext cx="6040" cy="12439"/>
                </a:xfrm>
                <a:custGeom>
                  <a:avLst/>
                  <a:gdLst>
                    <a:gd name="connsiteX0" fmla="*/ 6041 w 6040"/>
                    <a:gd name="connsiteY0" fmla="*/ 0 h 12439"/>
                    <a:gd name="connsiteX1" fmla="*/ 0 w 6040"/>
                    <a:gd name="connsiteY1" fmla="*/ 12440 h 12439"/>
                  </a:gdLst>
                  <a:ahLst/>
                  <a:cxnLst>
                    <a:cxn ang="0">
                      <a:pos x="connsiteX0" y="connsiteY0"/>
                    </a:cxn>
                    <a:cxn ang="0">
                      <a:pos x="connsiteX1" y="connsiteY1"/>
                    </a:cxn>
                  </a:cxnLst>
                  <a:rect l="l" t="t" r="r" b="b"/>
                  <a:pathLst>
                    <a:path w="6040" h="12439">
                      <a:moveTo>
                        <a:pt x="6041" y="0"/>
                      </a:moveTo>
                      <a:lnTo>
                        <a:pt x="0" y="12440"/>
                      </a:lnTo>
                    </a:path>
                  </a:pathLst>
                </a:custGeom>
                <a:ln w="6350" cap="rnd">
                  <a:solidFill>
                    <a:schemeClr val="bg1">
                      <a:alpha val="40000"/>
                    </a:schemeClr>
                  </a:solidFill>
                  <a:prstDash val="solid"/>
                  <a:round/>
                </a:ln>
              </p:spPr>
              <p:txBody>
                <a:bodyPr rtlCol="0" anchor="ctr"/>
                <a:lstStyle/>
                <a:p>
                  <a:endParaRPr lang="en-GB"/>
                </a:p>
              </p:txBody>
            </p:sp>
            <p:sp>
              <p:nvSpPr>
                <p:cNvPr id="6275" name="Vrije vorm: vorm 6274">
                  <a:extLst>
                    <a:ext uri="{FF2B5EF4-FFF2-40B4-BE49-F238E27FC236}">
                      <a16:creationId xmlns:a16="http://schemas.microsoft.com/office/drawing/2014/main" id="{ECCA4882-F0A2-4A9E-9437-A0C8FD30CC44}"/>
                    </a:ext>
                  </a:extLst>
                </p:cNvPr>
                <p:cNvSpPr/>
                <p:nvPr/>
              </p:nvSpPr>
              <p:spPr>
                <a:xfrm>
                  <a:off x="7519342" y="2703147"/>
                  <a:ext cx="34030" cy="20513"/>
                </a:xfrm>
                <a:custGeom>
                  <a:avLst/>
                  <a:gdLst>
                    <a:gd name="connsiteX0" fmla="*/ 0 w 34030"/>
                    <a:gd name="connsiteY0" fmla="*/ 20514 h 20513"/>
                    <a:gd name="connsiteX1" fmla="*/ 34030 w 34030"/>
                    <a:gd name="connsiteY1" fmla="*/ 0 h 20513"/>
                  </a:gdLst>
                  <a:ahLst/>
                  <a:cxnLst>
                    <a:cxn ang="0">
                      <a:pos x="connsiteX0" y="connsiteY0"/>
                    </a:cxn>
                    <a:cxn ang="0">
                      <a:pos x="connsiteX1" y="connsiteY1"/>
                    </a:cxn>
                  </a:cxnLst>
                  <a:rect l="l" t="t" r="r" b="b"/>
                  <a:pathLst>
                    <a:path w="34030" h="20513">
                      <a:moveTo>
                        <a:pt x="0" y="20514"/>
                      </a:moveTo>
                      <a:lnTo>
                        <a:pt x="34030" y="0"/>
                      </a:lnTo>
                    </a:path>
                  </a:pathLst>
                </a:custGeom>
                <a:ln w="6350" cap="rnd">
                  <a:solidFill>
                    <a:schemeClr val="bg1">
                      <a:alpha val="40000"/>
                    </a:schemeClr>
                  </a:solidFill>
                  <a:prstDash val="solid"/>
                  <a:round/>
                </a:ln>
              </p:spPr>
              <p:txBody>
                <a:bodyPr rtlCol="0" anchor="ctr"/>
                <a:lstStyle/>
                <a:p>
                  <a:endParaRPr lang="en-GB"/>
                </a:p>
              </p:txBody>
            </p:sp>
            <p:sp>
              <p:nvSpPr>
                <p:cNvPr id="6276" name="Vrije vorm: vorm 6275">
                  <a:extLst>
                    <a:ext uri="{FF2B5EF4-FFF2-40B4-BE49-F238E27FC236}">
                      <a16:creationId xmlns:a16="http://schemas.microsoft.com/office/drawing/2014/main" id="{B4C1308B-E16E-4016-A1BF-A5CE3FD8F8B8}"/>
                    </a:ext>
                  </a:extLst>
                </p:cNvPr>
                <p:cNvSpPr/>
                <p:nvPr/>
              </p:nvSpPr>
              <p:spPr>
                <a:xfrm>
                  <a:off x="7745832" y="2749617"/>
                  <a:ext cx="239" cy="2511"/>
                </a:xfrm>
                <a:custGeom>
                  <a:avLst/>
                  <a:gdLst>
                    <a:gd name="connsiteX0" fmla="*/ 0 w 239"/>
                    <a:gd name="connsiteY0" fmla="*/ 2512 h 2511"/>
                    <a:gd name="connsiteX1" fmla="*/ 239 w 239"/>
                    <a:gd name="connsiteY1" fmla="*/ 0 h 2511"/>
                  </a:gdLst>
                  <a:ahLst/>
                  <a:cxnLst>
                    <a:cxn ang="0">
                      <a:pos x="connsiteX0" y="connsiteY0"/>
                    </a:cxn>
                    <a:cxn ang="0">
                      <a:pos x="connsiteX1" y="connsiteY1"/>
                    </a:cxn>
                  </a:cxnLst>
                  <a:rect l="l" t="t" r="r" b="b"/>
                  <a:pathLst>
                    <a:path w="239" h="2511">
                      <a:moveTo>
                        <a:pt x="0" y="2512"/>
                      </a:moveTo>
                      <a:lnTo>
                        <a:pt x="239" y="0"/>
                      </a:lnTo>
                    </a:path>
                  </a:pathLst>
                </a:custGeom>
                <a:ln w="6350" cap="rnd">
                  <a:solidFill>
                    <a:schemeClr val="bg1">
                      <a:alpha val="40000"/>
                    </a:schemeClr>
                  </a:solidFill>
                  <a:prstDash val="solid"/>
                  <a:round/>
                </a:ln>
              </p:spPr>
              <p:txBody>
                <a:bodyPr rtlCol="0" anchor="ctr"/>
                <a:lstStyle/>
                <a:p>
                  <a:endParaRPr lang="en-GB"/>
                </a:p>
              </p:txBody>
            </p:sp>
            <p:sp>
              <p:nvSpPr>
                <p:cNvPr id="6277" name="Vrije vorm: vorm 6276">
                  <a:extLst>
                    <a:ext uri="{FF2B5EF4-FFF2-40B4-BE49-F238E27FC236}">
                      <a16:creationId xmlns:a16="http://schemas.microsoft.com/office/drawing/2014/main" id="{C8E92A51-F798-42A8-8E61-8982D0CCABF9}"/>
                    </a:ext>
                  </a:extLst>
                </p:cNvPr>
                <p:cNvSpPr/>
                <p:nvPr/>
              </p:nvSpPr>
              <p:spPr>
                <a:xfrm>
                  <a:off x="7529210" y="2708230"/>
                  <a:ext cx="35286" cy="34389"/>
                </a:xfrm>
                <a:custGeom>
                  <a:avLst/>
                  <a:gdLst>
                    <a:gd name="connsiteX0" fmla="*/ 0 w 35286"/>
                    <a:gd name="connsiteY0" fmla="*/ 34389 h 34389"/>
                    <a:gd name="connsiteX1" fmla="*/ 35286 w 35286"/>
                    <a:gd name="connsiteY1" fmla="*/ 0 h 34389"/>
                  </a:gdLst>
                  <a:ahLst/>
                  <a:cxnLst>
                    <a:cxn ang="0">
                      <a:pos x="connsiteX0" y="connsiteY0"/>
                    </a:cxn>
                    <a:cxn ang="0">
                      <a:pos x="connsiteX1" y="connsiteY1"/>
                    </a:cxn>
                  </a:cxnLst>
                  <a:rect l="l" t="t" r="r" b="b"/>
                  <a:pathLst>
                    <a:path w="35286" h="34389">
                      <a:moveTo>
                        <a:pt x="0" y="34389"/>
                      </a:moveTo>
                      <a:lnTo>
                        <a:pt x="35286" y="0"/>
                      </a:lnTo>
                    </a:path>
                  </a:pathLst>
                </a:custGeom>
                <a:ln w="6350" cap="rnd">
                  <a:solidFill>
                    <a:schemeClr val="bg1">
                      <a:alpha val="40000"/>
                    </a:schemeClr>
                  </a:solidFill>
                  <a:prstDash val="solid"/>
                  <a:round/>
                </a:ln>
              </p:spPr>
              <p:txBody>
                <a:bodyPr rtlCol="0" anchor="ctr"/>
                <a:lstStyle/>
                <a:p>
                  <a:endParaRPr lang="en-GB"/>
                </a:p>
              </p:txBody>
            </p:sp>
            <p:sp>
              <p:nvSpPr>
                <p:cNvPr id="6278" name="Vrije vorm: vorm 6277">
                  <a:extLst>
                    <a:ext uri="{FF2B5EF4-FFF2-40B4-BE49-F238E27FC236}">
                      <a16:creationId xmlns:a16="http://schemas.microsoft.com/office/drawing/2014/main" id="{E5260102-C616-41FF-A187-7A1676AD45D7}"/>
                    </a:ext>
                  </a:extLst>
                </p:cNvPr>
                <p:cNvSpPr/>
                <p:nvPr/>
              </p:nvSpPr>
              <p:spPr>
                <a:xfrm>
                  <a:off x="7769456" y="2825333"/>
                  <a:ext cx="1794" cy="4066"/>
                </a:xfrm>
                <a:custGeom>
                  <a:avLst/>
                  <a:gdLst>
                    <a:gd name="connsiteX0" fmla="*/ 1795 w 1794"/>
                    <a:gd name="connsiteY0" fmla="*/ 4067 h 4066"/>
                    <a:gd name="connsiteX1" fmla="*/ 0 w 1794"/>
                    <a:gd name="connsiteY1" fmla="*/ 0 h 4066"/>
                  </a:gdLst>
                  <a:ahLst/>
                  <a:cxnLst>
                    <a:cxn ang="0">
                      <a:pos x="connsiteX0" y="connsiteY0"/>
                    </a:cxn>
                    <a:cxn ang="0">
                      <a:pos x="connsiteX1" y="connsiteY1"/>
                    </a:cxn>
                  </a:cxnLst>
                  <a:rect l="l" t="t" r="r" b="b"/>
                  <a:pathLst>
                    <a:path w="1794" h="4066">
                      <a:moveTo>
                        <a:pt x="1795" y="406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79" name="Vrije vorm: vorm 6278">
                  <a:extLst>
                    <a:ext uri="{FF2B5EF4-FFF2-40B4-BE49-F238E27FC236}">
                      <a16:creationId xmlns:a16="http://schemas.microsoft.com/office/drawing/2014/main" id="{D31ACB7C-73D5-4F73-9158-168705B42A89}"/>
                    </a:ext>
                  </a:extLst>
                </p:cNvPr>
                <p:cNvSpPr/>
                <p:nvPr/>
              </p:nvSpPr>
              <p:spPr>
                <a:xfrm>
                  <a:off x="7771250" y="2804819"/>
                  <a:ext cx="3588" cy="24580"/>
                </a:xfrm>
                <a:custGeom>
                  <a:avLst/>
                  <a:gdLst>
                    <a:gd name="connsiteX0" fmla="*/ 0 w 3588"/>
                    <a:gd name="connsiteY0" fmla="*/ 24581 h 24580"/>
                    <a:gd name="connsiteX1" fmla="*/ 3589 w 3588"/>
                    <a:gd name="connsiteY1" fmla="*/ 0 h 24580"/>
                  </a:gdLst>
                  <a:ahLst/>
                  <a:cxnLst>
                    <a:cxn ang="0">
                      <a:pos x="connsiteX0" y="connsiteY0"/>
                    </a:cxn>
                    <a:cxn ang="0">
                      <a:pos x="connsiteX1" y="connsiteY1"/>
                    </a:cxn>
                  </a:cxnLst>
                  <a:rect l="l" t="t" r="r" b="b"/>
                  <a:pathLst>
                    <a:path w="3588" h="24580">
                      <a:moveTo>
                        <a:pt x="0" y="24581"/>
                      </a:moveTo>
                      <a:lnTo>
                        <a:pt x="3589" y="0"/>
                      </a:lnTo>
                    </a:path>
                  </a:pathLst>
                </a:custGeom>
                <a:ln w="6350" cap="rnd">
                  <a:solidFill>
                    <a:schemeClr val="bg1">
                      <a:alpha val="40000"/>
                    </a:schemeClr>
                  </a:solidFill>
                  <a:prstDash val="solid"/>
                  <a:round/>
                </a:ln>
              </p:spPr>
              <p:txBody>
                <a:bodyPr rtlCol="0" anchor="ctr"/>
                <a:lstStyle/>
                <a:p>
                  <a:endParaRPr lang="en-GB"/>
                </a:p>
              </p:txBody>
            </p:sp>
            <p:sp>
              <p:nvSpPr>
                <p:cNvPr id="6280" name="Vrije vorm: vorm 6279">
                  <a:extLst>
                    <a:ext uri="{FF2B5EF4-FFF2-40B4-BE49-F238E27FC236}">
                      <a16:creationId xmlns:a16="http://schemas.microsoft.com/office/drawing/2014/main" id="{B3879A91-21FC-4D34-BC65-4F38DECAB8D4}"/>
                    </a:ext>
                  </a:extLst>
                </p:cNvPr>
                <p:cNvSpPr/>
                <p:nvPr/>
              </p:nvSpPr>
              <p:spPr>
                <a:xfrm>
                  <a:off x="7670415" y="2666605"/>
                  <a:ext cx="4365" cy="4485"/>
                </a:xfrm>
                <a:custGeom>
                  <a:avLst/>
                  <a:gdLst>
                    <a:gd name="connsiteX0" fmla="*/ 0 w 4365"/>
                    <a:gd name="connsiteY0" fmla="*/ 0 h 4485"/>
                    <a:gd name="connsiteX1" fmla="*/ 4366 w 4365"/>
                    <a:gd name="connsiteY1" fmla="*/ 4486 h 4485"/>
                  </a:gdLst>
                  <a:ahLst/>
                  <a:cxnLst>
                    <a:cxn ang="0">
                      <a:pos x="connsiteX0" y="connsiteY0"/>
                    </a:cxn>
                    <a:cxn ang="0">
                      <a:pos x="connsiteX1" y="connsiteY1"/>
                    </a:cxn>
                  </a:cxnLst>
                  <a:rect l="l" t="t" r="r" b="b"/>
                  <a:pathLst>
                    <a:path w="4365" h="4485">
                      <a:moveTo>
                        <a:pt x="0" y="0"/>
                      </a:moveTo>
                      <a:lnTo>
                        <a:pt x="4366" y="4486"/>
                      </a:lnTo>
                    </a:path>
                  </a:pathLst>
                </a:custGeom>
                <a:ln w="6350" cap="rnd">
                  <a:solidFill>
                    <a:schemeClr val="bg1">
                      <a:alpha val="40000"/>
                    </a:schemeClr>
                  </a:solidFill>
                  <a:prstDash val="solid"/>
                  <a:round/>
                </a:ln>
              </p:spPr>
              <p:txBody>
                <a:bodyPr rtlCol="0" anchor="ctr"/>
                <a:lstStyle/>
                <a:p>
                  <a:endParaRPr lang="en-GB"/>
                </a:p>
              </p:txBody>
            </p:sp>
            <p:sp>
              <p:nvSpPr>
                <p:cNvPr id="6281" name="Vrije vorm: vorm 6280">
                  <a:extLst>
                    <a:ext uri="{FF2B5EF4-FFF2-40B4-BE49-F238E27FC236}">
                      <a16:creationId xmlns:a16="http://schemas.microsoft.com/office/drawing/2014/main" id="{995BD790-2FAE-4364-A7CD-4C039DDFFA82}"/>
                    </a:ext>
                  </a:extLst>
                </p:cNvPr>
                <p:cNvSpPr/>
                <p:nvPr/>
              </p:nvSpPr>
              <p:spPr>
                <a:xfrm>
                  <a:off x="7668621" y="2664452"/>
                  <a:ext cx="1794" cy="2153"/>
                </a:xfrm>
                <a:custGeom>
                  <a:avLst/>
                  <a:gdLst>
                    <a:gd name="connsiteX0" fmla="*/ 1794 w 1794"/>
                    <a:gd name="connsiteY0" fmla="*/ 2153 h 2153"/>
                    <a:gd name="connsiteX1" fmla="*/ 0 w 1794"/>
                    <a:gd name="connsiteY1" fmla="*/ 0 h 2153"/>
                  </a:gdLst>
                  <a:ahLst/>
                  <a:cxnLst>
                    <a:cxn ang="0">
                      <a:pos x="connsiteX0" y="connsiteY0"/>
                    </a:cxn>
                    <a:cxn ang="0">
                      <a:pos x="connsiteX1" y="connsiteY1"/>
                    </a:cxn>
                  </a:cxnLst>
                  <a:rect l="l" t="t" r="r" b="b"/>
                  <a:pathLst>
                    <a:path w="1794" h="2153">
                      <a:moveTo>
                        <a:pt x="1794" y="2153"/>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82" name="Vrije vorm: vorm 6281">
                  <a:extLst>
                    <a:ext uri="{FF2B5EF4-FFF2-40B4-BE49-F238E27FC236}">
                      <a16:creationId xmlns:a16="http://schemas.microsoft.com/office/drawing/2014/main" id="{DEFC93DC-C9E6-44BF-887C-3A778E958BE0}"/>
                    </a:ext>
                  </a:extLst>
                </p:cNvPr>
                <p:cNvSpPr/>
                <p:nvPr/>
              </p:nvSpPr>
              <p:spPr>
                <a:xfrm>
                  <a:off x="7665272" y="2665588"/>
                  <a:ext cx="5143" cy="1016"/>
                </a:xfrm>
                <a:custGeom>
                  <a:avLst/>
                  <a:gdLst>
                    <a:gd name="connsiteX0" fmla="*/ 5143 w 5143"/>
                    <a:gd name="connsiteY0" fmla="*/ 1017 h 1016"/>
                    <a:gd name="connsiteX1" fmla="*/ 0 w 5143"/>
                    <a:gd name="connsiteY1" fmla="*/ 0 h 1016"/>
                  </a:gdLst>
                  <a:ahLst/>
                  <a:cxnLst>
                    <a:cxn ang="0">
                      <a:pos x="connsiteX0" y="connsiteY0"/>
                    </a:cxn>
                    <a:cxn ang="0">
                      <a:pos x="connsiteX1" y="connsiteY1"/>
                    </a:cxn>
                  </a:cxnLst>
                  <a:rect l="l" t="t" r="r" b="b"/>
                  <a:pathLst>
                    <a:path w="5143" h="1016">
                      <a:moveTo>
                        <a:pt x="5143" y="101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83" name="Vrije vorm: vorm 6282">
                  <a:extLst>
                    <a:ext uri="{FF2B5EF4-FFF2-40B4-BE49-F238E27FC236}">
                      <a16:creationId xmlns:a16="http://schemas.microsoft.com/office/drawing/2014/main" id="{60BD5319-44AE-47C1-B58B-C616E2DCFA02}"/>
                    </a:ext>
                  </a:extLst>
                </p:cNvPr>
                <p:cNvSpPr/>
                <p:nvPr/>
              </p:nvSpPr>
              <p:spPr>
                <a:xfrm>
                  <a:off x="7504031" y="2719534"/>
                  <a:ext cx="12679" cy="6040"/>
                </a:xfrm>
                <a:custGeom>
                  <a:avLst/>
                  <a:gdLst>
                    <a:gd name="connsiteX0" fmla="*/ 0 w 12679"/>
                    <a:gd name="connsiteY0" fmla="*/ 6040 h 6040"/>
                    <a:gd name="connsiteX1" fmla="*/ 12679 w 12679"/>
                    <a:gd name="connsiteY1" fmla="*/ 0 h 6040"/>
                  </a:gdLst>
                  <a:ahLst/>
                  <a:cxnLst>
                    <a:cxn ang="0">
                      <a:pos x="connsiteX0" y="connsiteY0"/>
                    </a:cxn>
                    <a:cxn ang="0">
                      <a:pos x="connsiteX1" y="connsiteY1"/>
                    </a:cxn>
                  </a:cxnLst>
                  <a:rect l="l" t="t" r="r" b="b"/>
                  <a:pathLst>
                    <a:path w="12679" h="6040">
                      <a:moveTo>
                        <a:pt x="0" y="6040"/>
                      </a:moveTo>
                      <a:lnTo>
                        <a:pt x="12679" y="0"/>
                      </a:lnTo>
                    </a:path>
                  </a:pathLst>
                </a:custGeom>
                <a:ln w="6350" cap="rnd">
                  <a:solidFill>
                    <a:schemeClr val="bg1">
                      <a:alpha val="40000"/>
                    </a:schemeClr>
                  </a:solidFill>
                  <a:prstDash val="solid"/>
                  <a:round/>
                </a:ln>
              </p:spPr>
              <p:txBody>
                <a:bodyPr rtlCol="0" anchor="ctr"/>
                <a:lstStyle/>
                <a:p>
                  <a:endParaRPr lang="en-GB"/>
                </a:p>
              </p:txBody>
            </p:sp>
            <p:sp>
              <p:nvSpPr>
                <p:cNvPr id="6284" name="Vrije vorm: vorm 6283">
                  <a:extLst>
                    <a:ext uri="{FF2B5EF4-FFF2-40B4-BE49-F238E27FC236}">
                      <a16:creationId xmlns:a16="http://schemas.microsoft.com/office/drawing/2014/main" id="{444144E0-D1E4-4C53-808C-FABE10D318A5}"/>
                    </a:ext>
                  </a:extLst>
                </p:cNvPr>
                <p:cNvSpPr/>
                <p:nvPr/>
              </p:nvSpPr>
              <p:spPr>
                <a:xfrm>
                  <a:off x="7504031" y="2725574"/>
                  <a:ext cx="9270" cy="10526"/>
                </a:xfrm>
                <a:custGeom>
                  <a:avLst/>
                  <a:gdLst>
                    <a:gd name="connsiteX0" fmla="*/ 0 w 9270"/>
                    <a:gd name="connsiteY0" fmla="*/ 0 h 10526"/>
                    <a:gd name="connsiteX1" fmla="*/ 9270 w 9270"/>
                    <a:gd name="connsiteY1" fmla="*/ 10526 h 10526"/>
                  </a:gdLst>
                  <a:ahLst/>
                  <a:cxnLst>
                    <a:cxn ang="0">
                      <a:pos x="connsiteX0" y="connsiteY0"/>
                    </a:cxn>
                    <a:cxn ang="0">
                      <a:pos x="connsiteX1" y="connsiteY1"/>
                    </a:cxn>
                  </a:cxnLst>
                  <a:rect l="l" t="t" r="r" b="b"/>
                  <a:pathLst>
                    <a:path w="9270" h="10526">
                      <a:moveTo>
                        <a:pt x="0" y="0"/>
                      </a:moveTo>
                      <a:lnTo>
                        <a:pt x="9270" y="10526"/>
                      </a:lnTo>
                    </a:path>
                  </a:pathLst>
                </a:custGeom>
                <a:ln w="6350" cap="rnd">
                  <a:solidFill>
                    <a:schemeClr val="bg1">
                      <a:alpha val="40000"/>
                    </a:schemeClr>
                  </a:solidFill>
                  <a:prstDash val="solid"/>
                  <a:round/>
                </a:ln>
              </p:spPr>
              <p:txBody>
                <a:bodyPr rtlCol="0" anchor="ctr"/>
                <a:lstStyle/>
                <a:p>
                  <a:endParaRPr lang="en-GB"/>
                </a:p>
              </p:txBody>
            </p:sp>
            <p:sp>
              <p:nvSpPr>
                <p:cNvPr id="6285" name="Vrije vorm: vorm 6284">
                  <a:extLst>
                    <a:ext uri="{FF2B5EF4-FFF2-40B4-BE49-F238E27FC236}">
                      <a16:creationId xmlns:a16="http://schemas.microsoft.com/office/drawing/2014/main" id="{05ED3156-2DFE-433E-976D-040ADFE55582}"/>
                    </a:ext>
                  </a:extLst>
                </p:cNvPr>
                <p:cNvSpPr/>
                <p:nvPr/>
              </p:nvSpPr>
              <p:spPr>
                <a:xfrm>
                  <a:off x="7504031" y="2725574"/>
                  <a:ext cx="6758" cy="7834"/>
                </a:xfrm>
                <a:custGeom>
                  <a:avLst/>
                  <a:gdLst>
                    <a:gd name="connsiteX0" fmla="*/ 0 w 6758"/>
                    <a:gd name="connsiteY0" fmla="*/ 0 h 7834"/>
                    <a:gd name="connsiteX1" fmla="*/ 6758 w 6758"/>
                    <a:gd name="connsiteY1" fmla="*/ 7835 h 7834"/>
                  </a:gdLst>
                  <a:ahLst/>
                  <a:cxnLst>
                    <a:cxn ang="0">
                      <a:pos x="connsiteX0" y="connsiteY0"/>
                    </a:cxn>
                    <a:cxn ang="0">
                      <a:pos x="connsiteX1" y="connsiteY1"/>
                    </a:cxn>
                  </a:cxnLst>
                  <a:rect l="l" t="t" r="r" b="b"/>
                  <a:pathLst>
                    <a:path w="6758" h="7834">
                      <a:moveTo>
                        <a:pt x="0" y="0"/>
                      </a:moveTo>
                      <a:lnTo>
                        <a:pt x="6758" y="7835"/>
                      </a:lnTo>
                    </a:path>
                  </a:pathLst>
                </a:custGeom>
                <a:ln w="6350" cap="rnd">
                  <a:solidFill>
                    <a:schemeClr val="bg1">
                      <a:alpha val="40000"/>
                    </a:schemeClr>
                  </a:solidFill>
                  <a:prstDash val="solid"/>
                  <a:round/>
                </a:ln>
              </p:spPr>
              <p:txBody>
                <a:bodyPr rtlCol="0" anchor="ctr"/>
                <a:lstStyle/>
                <a:p>
                  <a:endParaRPr lang="en-GB"/>
                </a:p>
              </p:txBody>
            </p:sp>
            <p:sp>
              <p:nvSpPr>
                <p:cNvPr id="6286" name="Vrije vorm: vorm 6285">
                  <a:extLst>
                    <a:ext uri="{FF2B5EF4-FFF2-40B4-BE49-F238E27FC236}">
                      <a16:creationId xmlns:a16="http://schemas.microsoft.com/office/drawing/2014/main" id="{D32A8FFF-4934-4431-8DE9-7F30BFB7F0D0}"/>
                    </a:ext>
                  </a:extLst>
                </p:cNvPr>
                <p:cNvSpPr/>
                <p:nvPr/>
              </p:nvSpPr>
              <p:spPr>
                <a:xfrm>
                  <a:off x="7504031" y="2720910"/>
                  <a:ext cx="4724" cy="4664"/>
                </a:xfrm>
                <a:custGeom>
                  <a:avLst/>
                  <a:gdLst>
                    <a:gd name="connsiteX0" fmla="*/ 0 w 4724"/>
                    <a:gd name="connsiteY0" fmla="*/ 4665 h 4664"/>
                    <a:gd name="connsiteX1" fmla="*/ 4725 w 4724"/>
                    <a:gd name="connsiteY1" fmla="*/ 0 h 4664"/>
                  </a:gdLst>
                  <a:ahLst/>
                  <a:cxnLst>
                    <a:cxn ang="0">
                      <a:pos x="connsiteX0" y="connsiteY0"/>
                    </a:cxn>
                    <a:cxn ang="0">
                      <a:pos x="connsiteX1" y="connsiteY1"/>
                    </a:cxn>
                  </a:cxnLst>
                  <a:rect l="l" t="t" r="r" b="b"/>
                  <a:pathLst>
                    <a:path w="4724" h="4664">
                      <a:moveTo>
                        <a:pt x="0" y="4665"/>
                      </a:moveTo>
                      <a:lnTo>
                        <a:pt x="4725" y="0"/>
                      </a:lnTo>
                    </a:path>
                  </a:pathLst>
                </a:custGeom>
                <a:ln w="6350" cap="rnd">
                  <a:solidFill>
                    <a:schemeClr val="bg1">
                      <a:alpha val="40000"/>
                    </a:schemeClr>
                  </a:solidFill>
                  <a:prstDash val="solid"/>
                  <a:round/>
                </a:ln>
              </p:spPr>
              <p:txBody>
                <a:bodyPr rtlCol="0" anchor="ctr"/>
                <a:lstStyle/>
                <a:p>
                  <a:endParaRPr lang="en-GB"/>
                </a:p>
              </p:txBody>
            </p:sp>
            <p:sp>
              <p:nvSpPr>
                <p:cNvPr id="6287" name="Vrije vorm: vorm 6286">
                  <a:extLst>
                    <a:ext uri="{FF2B5EF4-FFF2-40B4-BE49-F238E27FC236}">
                      <a16:creationId xmlns:a16="http://schemas.microsoft.com/office/drawing/2014/main" id="{E898E7C8-D8A0-44C3-A193-0A2283266433}"/>
                    </a:ext>
                  </a:extLst>
                </p:cNvPr>
                <p:cNvSpPr/>
                <p:nvPr/>
              </p:nvSpPr>
              <p:spPr>
                <a:xfrm>
                  <a:off x="7595477" y="2839148"/>
                  <a:ext cx="5083" cy="18121"/>
                </a:xfrm>
                <a:custGeom>
                  <a:avLst/>
                  <a:gdLst>
                    <a:gd name="connsiteX0" fmla="*/ 0 w 5083"/>
                    <a:gd name="connsiteY0" fmla="*/ 18122 h 18121"/>
                    <a:gd name="connsiteX1" fmla="*/ 5084 w 5083"/>
                    <a:gd name="connsiteY1" fmla="*/ 0 h 18121"/>
                  </a:gdLst>
                  <a:ahLst/>
                  <a:cxnLst>
                    <a:cxn ang="0">
                      <a:pos x="connsiteX0" y="connsiteY0"/>
                    </a:cxn>
                    <a:cxn ang="0">
                      <a:pos x="connsiteX1" y="connsiteY1"/>
                    </a:cxn>
                  </a:cxnLst>
                  <a:rect l="l" t="t" r="r" b="b"/>
                  <a:pathLst>
                    <a:path w="5083" h="18121">
                      <a:moveTo>
                        <a:pt x="0" y="18122"/>
                      </a:moveTo>
                      <a:lnTo>
                        <a:pt x="5084" y="0"/>
                      </a:lnTo>
                    </a:path>
                  </a:pathLst>
                </a:custGeom>
                <a:ln w="6350" cap="rnd">
                  <a:solidFill>
                    <a:schemeClr val="bg1">
                      <a:alpha val="40000"/>
                    </a:schemeClr>
                  </a:solidFill>
                  <a:prstDash val="solid"/>
                  <a:round/>
                </a:ln>
              </p:spPr>
              <p:txBody>
                <a:bodyPr rtlCol="0" anchor="ctr"/>
                <a:lstStyle/>
                <a:p>
                  <a:endParaRPr lang="en-GB"/>
                </a:p>
              </p:txBody>
            </p:sp>
            <p:sp>
              <p:nvSpPr>
                <p:cNvPr id="6288" name="Vrije vorm: vorm 6287">
                  <a:extLst>
                    <a:ext uri="{FF2B5EF4-FFF2-40B4-BE49-F238E27FC236}">
                      <a16:creationId xmlns:a16="http://schemas.microsoft.com/office/drawing/2014/main" id="{CB1EAD47-0A2F-497D-B8DB-63DBF2B13E93}"/>
                    </a:ext>
                  </a:extLst>
                </p:cNvPr>
                <p:cNvSpPr/>
                <p:nvPr/>
              </p:nvSpPr>
              <p:spPr>
                <a:xfrm>
                  <a:off x="7583994" y="2842318"/>
                  <a:ext cx="11482" cy="14951"/>
                </a:xfrm>
                <a:custGeom>
                  <a:avLst/>
                  <a:gdLst>
                    <a:gd name="connsiteX0" fmla="*/ 11483 w 11482"/>
                    <a:gd name="connsiteY0" fmla="*/ 14952 h 14951"/>
                    <a:gd name="connsiteX1" fmla="*/ 0 w 11482"/>
                    <a:gd name="connsiteY1" fmla="*/ 0 h 14951"/>
                  </a:gdLst>
                  <a:ahLst/>
                  <a:cxnLst>
                    <a:cxn ang="0">
                      <a:pos x="connsiteX0" y="connsiteY0"/>
                    </a:cxn>
                    <a:cxn ang="0">
                      <a:pos x="connsiteX1" y="connsiteY1"/>
                    </a:cxn>
                  </a:cxnLst>
                  <a:rect l="l" t="t" r="r" b="b"/>
                  <a:pathLst>
                    <a:path w="11482" h="14951">
                      <a:moveTo>
                        <a:pt x="11483" y="1495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89" name="Vrije vorm: vorm 6288">
                  <a:extLst>
                    <a:ext uri="{FF2B5EF4-FFF2-40B4-BE49-F238E27FC236}">
                      <a16:creationId xmlns:a16="http://schemas.microsoft.com/office/drawing/2014/main" id="{0C36DE97-B062-490F-AEA1-FBE949FCB08E}"/>
                    </a:ext>
                  </a:extLst>
                </p:cNvPr>
                <p:cNvSpPr/>
                <p:nvPr/>
              </p:nvSpPr>
              <p:spPr>
                <a:xfrm>
                  <a:off x="7748882" y="2747284"/>
                  <a:ext cx="418" cy="2990"/>
                </a:xfrm>
                <a:custGeom>
                  <a:avLst/>
                  <a:gdLst>
                    <a:gd name="connsiteX0" fmla="*/ 419 w 418"/>
                    <a:gd name="connsiteY0" fmla="*/ 0 h 2990"/>
                    <a:gd name="connsiteX1" fmla="*/ 0 w 418"/>
                    <a:gd name="connsiteY1" fmla="*/ 2990 h 2990"/>
                  </a:gdLst>
                  <a:ahLst/>
                  <a:cxnLst>
                    <a:cxn ang="0">
                      <a:pos x="connsiteX0" y="connsiteY0"/>
                    </a:cxn>
                    <a:cxn ang="0">
                      <a:pos x="connsiteX1" y="connsiteY1"/>
                    </a:cxn>
                  </a:cxnLst>
                  <a:rect l="l" t="t" r="r" b="b"/>
                  <a:pathLst>
                    <a:path w="418" h="2990">
                      <a:moveTo>
                        <a:pt x="419" y="0"/>
                      </a:moveTo>
                      <a:lnTo>
                        <a:pt x="0" y="2990"/>
                      </a:lnTo>
                    </a:path>
                  </a:pathLst>
                </a:custGeom>
                <a:ln w="6350" cap="rnd">
                  <a:solidFill>
                    <a:schemeClr val="bg1">
                      <a:alpha val="40000"/>
                    </a:schemeClr>
                  </a:solidFill>
                  <a:prstDash val="solid"/>
                  <a:round/>
                </a:ln>
              </p:spPr>
              <p:txBody>
                <a:bodyPr rtlCol="0" anchor="ctr"/>
                <a:lstStyle/>
                <a:p>
                  <a:endParaRPr lang="en-GB"/>
                </a:p>
              </p:txBody>
            </p:sp>
            <p:sp>
              <p:nvSpPr>
                <p:cNvPr id="6290" name="Vrije vorm: vorm 6289">
                  <a:extLst>
                    <a:ext uri="{FF2B5EF4-FFF2-40B4-BE49-F238E27FC236}">
                      <a16:creationId xmlns:a16="http://schemas.microsoft.com/office/drawing/2014/main" id="{7D43DD75-19E2-4453-8147-65002D460442}"/>
                    </a:ext>
                  </a:extLst>
                </p:cNvPr>
                <p:cNvSpPr/>
                <p:nvPr/>
              </p:nvSpPr>
              <p:spPr>
                <a:xfrm>
                  <a:off x="7749301" y="2745909"/>
                  <a:ext cx="11602" cy="1375"/>
                </a:xfrm>
                <a:custGeom>
                  <a:avLst/>
                  <a:gdLst>
                    <a:gd name="connsiteX0" fmla="*/ 0 w 11602"/>
                    <a:gd name="connsiteY0" fmla="*/ 1376 h 1375"/>
                    <a:gd name="connsiteX1" fmla="*/ 11602 w 11602"/>
                    <a:gd name="connsiteY1" fmla="*/ 0 h 1375"/>
                  </a:gdLst>
                  <a:ahLst/>
                  <a:cxnLst>
                    <a:cxn ang="0">
                      <a:pos x="connsiteX0" y="connsiteY0"/>
                    </a:cxn>
                    <a:cxn ang="0">
                      <a:pos x="connsiteX1" y="connsiteY1"/>
                    </a:cxn>
                  </a:cxnLst>
                  <a:rect l="l" t="t" r="r" b="b"/>
                  <a:pathLst>
                    <a:path w="11602" h="1375">
                      <a:moveTo>
                        <a:pt x="0" y="1376"/>
                      </a:moveTo>
                      <a:lnTo>
                        <a:pt x="11602" y="0"/>
                      </a:lnTo>
                    </a:path>
                  </a:pathLst>
                </a:custGeom>
                <a:ln w="6350" cap="rnd">
                  <a:solidFill>
                    <a:schemeClr val="bg1">
                      <a:alpha val="40000"/>
                    </a:schemeClr>
                  </a:solidFill>
                  <a:prstDash val="solid"/>
                  <a:round/>
                </a:ln>
              </p:spPr>
              <p:txBody>
                <a:bodyPr rtlCol="0" anchor="ctr"/>
                <a:lstStyle/>
                <a:p>
                  <a:endParaRPr lang="en-GB"/>
                </a:p>
              </p:txBody>
            </p:sp>
            <p:sp>
              <p:nvSpPr>
                <p:cNvPr id="6291" name="Vrije vorm: vorm 6290">
                  <a:extLst>
                    <a:ext uri="{FF2B5EF4-FFF2-40B4-BE49-F238E27FC236}">
                      <a16:creationId xmlns:a16="http://schemas.microsoft.com/office/drawing/2014/main" id="{0D2B4EF7-AE01-458E-8DDD-E5BBC0126312}"/>
                    </a:ext>
                  </a:extLst>
                </p:cNvPr>
                <p:cNvSpPr/>
                <p:nvPr/>
              </p:nvSpPr>
              <p:spPr>
                <a:xfrm>
                  <a:off x="7608275" y="2749079"/>
                  <a:ext cx="5083" cy="11841"/>
                </a:xfrm>
                <a:custGeom>
                  <a:avLst/>
                  <a:gdLst>
                    <a:gd name="connsiteX0" fmla="*/ 0 w 5083"/>
                    <a:gd name="connsiteY0" fmla="*/ 0 h 11841"/>
                    <a:gd name="connsiteX1" fmla="*/ 5084 w 5083"/>
                    <a:gd name="connsiteY1" fmla="*/ 11842 h 11841"/>
                  </a:gdLst>
                  <a:ahLst/>
                  <a:cxnLst>
                    <a:cxn ang="0">
                      <a:pos x="connsiteX0" y="connsiteY0"/>
                    </a:cxn>
                    <a:cxn ang="0">
                      <a:pos x="connsiteX1" y="connsiteY1"/>
                    </a:cxn>
                  </a:cxnLst>
                  <a:rect l="l" t="t" r="r" b="b"/>
                  <a:pathLst>
                    <a:path w="5083" h="11841">
                      <a:moveTo>
                        <a:pt x="0" y="0"/>
                      </a:moveTo>
                      <a:lnTo>
                        <a:pt x="5084" y="11842"/>
                      </a:lnTo>
                    </a:path>
                  </a:pathLst>
                </a:custGeom>
                <a:ln w="6350" cap="rnd">
                  <a:solidFill>
                    <a:schemeClr val="bg1">
                      <a:alpha val="40000"/>
                    </a:schemeClr>
                  </a:solidFill>
                  <a:prstDash val="solid"/>
                  <a:round/>
                </a:ln>
              </p:spPr>
              <p:txBody>
                <a:bodyPr rtlCol="0" anchor="ctr"/>
                <a:lstStyle/>
                <a:p>
                  <a:endParaRPr lang="en-GB"/>
                </a:p>
              </p:txBody>
            </p:sp>
            <p:sp>
              <p:nvSpPr>
                <p:cNvPr id="6292" name="Vrije vorm: vorm 6291">
                  <a:extLst>
                    <a:ext uri="{FF2B5EF4-FFF2-40B4-BE49-F238E27FC236}">
                      <a16:creationId xmlns:a16="http://schemas.microsoft.com/office/drawing/2014/main" id="{D14A12EA-6193-4E02-811A-605949D3E596}"/>
                    </a:ext>
                  </a:extLst>
                </p:cNvPr>
                <p:cNvSpPr/>
                <p:nvPr/>
              </p:nvSpPr>
              <p:spPr>
                <a:xfrm>
                  <a:off x="7608275" y="2733648"/>
                  <a:ext cx="16686" cy="15430"/>
                </a:xfrm>
                <a:custGeom>
                  <a:avLst/>
                  <a:gdLst>
                    <a:gd name="connsiteX0" fmla="*/ 0 w 16686"/>
                    <a:gd name="connsiteY0" fmla="*/ 15430 h 15430"/>
                    <a:gd name="connsiteX1" fmla="*/ 16686 w 16686"/>
                    <a:gd name="connsiteY1" fmla="*/ 0 h 15430"/>
                  </a:gdLst>
                  <a:ahLst/>
                  <a:cxnLst>
                    <a:cxn ang="0">
                      <a:pos x="connsiteX0" y="connsiteY0"/>
                    </a:cxn>
                    <a:cxn ang="0">
                      <a:pos x="connsiteX1" y="connsiteY1"/>
                    </a:cxn>
                  </a:cxnLst>
                  <a:rect l="l" t="t" r="r" b="b"/>
                  <a:pathLst>
                    <a:path w="16686" h="15430">
                      <a:moveTo>
                        <a:pt x="0" y="15430"/>
                      </a:moveTo>
                      <a:lnTo>
                        <a:pt x="16686" y="0"/>
                      </a:lnTo>
                    </a:path>
                  </a:pathLst>
                </a:custGeom>
                <a:ln w="6350" cap="rnd">
                  <a:solidFill>
                    <a:schemeClr val="bg1">
                      <a:alpha val="40000"/>
                    </a:schemeClr>
                  </a:solidFill>
                  <a:prstDash val="solid"/>
                  <a:round/>
                </a:ln>
              </p:spPr>
              <p:txBody>
                <a:bodyPr rtlCol="0" anchor="ctr"/>
                <a:lstStyle/>
                <a:p>
                  <a:endParaRPr lang="en-GB"/>
                </a:p>
              </p:txBody>
            </p:sp>
            <p:sp>
              <p:nvSpPr>
                <p:cNvPr id="6293" name="Vrije vorm: vorm 6292">
                  <a:extLst>
                    <a:ext uri="{FF2B5EF4-FFF2-40B4-BE49-F238E27FC236}">
                      <a16:creationId xmlns:a16="http://schemas.microsoft.com/office/drawing/2014/main" id="{990FDE9F-1E44-4879-BA27-6814A1C2A41F}"/>
                    </a:ext>
                  </a:extLst>
                </p:cNvPr>
                <p:cNvSpPr/>
                <p:nvPr/>
              </p:nvSpPr>
              <p:spPr>
                <a:xfrm>
                  <a:off x="7608275" y="2749079"/>
                  <a:ext cx="14891" cy="10645"/>
                </a:xfrm>
                <a:custGeom>
                  <a:avLst/>
                  <a:gdLst>
                    <a:gd name="connsiteX0" fmla="*/ 0 w 14891"/>
                    <a:gd name="connsiteY0" fmla="*/ 0 h 10645"/>
                    <a:gd name="connsiteX1" fmla="*/ 14892 w 14891"/>
                    <a:gd name="connsiteY1" fmla="*/ 10646 h 10645"/>
                  </a:gdLst>
                  <a:ahLst/>
                  <a:cxnLst>
                    <a:cxn ang="0">
                      <a:pos x="connsiteX0" y="connsiteY0"/>
                    </a:cxn>
                    <a:cxn ang="0">
                      <a:pos x="connsiteX1" y="connsiteY1"/>
                    </a:cxn>
                  </a:cxnLst>
                  <a:rect l="l" t="t" r="r" b="b"/>
                  <a:pathLst>
                    <a:path w="14891" h="10645">
                      <a:moveTo>
                        <a:pt x="0" y="0"/>
                      </a:moveTo>
                      <a:lnTo>
                        <a:pt x="14892" y="10646"/>
                      </a:lnTo>
                    </a:path>
                  </a:pathLst>
                </a:custGeom>
                <a:ln w="6350" cap="rnd">
                  <a:solidFill>
                    <a:schemeClr val="bg1">
                      <a:alpha val="40000"/>
                    </a:schemeClr>
                  </a:solidFill>
                  <a:prstDash val="solid"/>
                  <a:round/>
                </a:ln>
              </p:spPr>
              <p:txBody>
                <a:bodyPr rtlCol="0" anchor="ctr"/>
                <a:lstStyle/>
                <a:p>
                  <a:endParaRPr lang="en-GB"/>
                </a:p>
              </p:txBody>
            </p:sp>
            <p:sp>
              <p:nvSpPr>
                <p:cNvPr id="6294" name="Vrije vorm: vorm 6293">
                  <a:extLst>
                    <a:ext uri="{FF2B5EF4-FFF2-40B4-BE49-F238E27FC236}">
                      <a16:creationId xmlns:a16="http://schemas.microsoft.com/office/drawing/2014/main" id="{60ACBFFE-5E82-4579-886E-37DF461DAA8A}"/>
                    </a:ext>
                  </a:extLst>
                </p:cNvPr>
                <p:cNvSpPr/>
                <p:nvPr/>
              </p:nvSpPr>
              <p:spPr>
                <a:xfrm>
                  <a:off x="7608275" y="2749079"/>
                  <a:ext cx="12798" cy="13277"/>
                </a:xfrm>
                <a:custGeom>
                  <a:avLst/>
                  <a:gdLst>
                    <a:gd name="connsiteX0" fmla="*/ 0 w 12798"/>
                    <a:gd name="connsiteY0" fmla="*/ 0 h 13277"/>
                    <a:gd name="connsiteX1" fmla="*/ 12798 w 12798"/>
                    <a:gd name="connsiteY1" fmla="*/ 13277 h 13277"/>
                  </a:gdLst>
                  <a:ahLst/>
                  <a:cxnLst>
                    <a:cxn ang="0">
                      <a:pos x="connsiteX0" y="connsiteY0"/>
                    </a:cxn>
                    <a:cxn ang="0">
                      <a:pos x="connsiteX1" y="connsiteY1"/>
                    </a:cxn>
                  </a:cxnLst>
                  <a:rect l="l" t="t" r="r" b="b"/>
                  <a:pathLst>
                    <a:path w="12798" h="13277">
                      <a:moveTo>
                        <a:pt x="0" y="0"/>
                      </a:moveTo>
                      <a:lnTo>
                        <a:pt x="12798" y="13277"/>
                      </a:lnTo>
                    </a:path>
                  </a:pathLst>
                </a:custGeom>
                <a:ln w="6350" cap="rnd">
                  <a:solidFill>
                    <a:schemeClr val="bg1">
                      <a:alpha val="40000"/>
                    </a:schemeClr>
                  </a:solidFill>
                  <a:prstDash val="solid"/>
                  <a:round/>
                </a:ln>
              </p:spPr>
              <p:txBody>
                <a:bodyPr rtlCol="0" anchor="ctr"/>
                <a:lstStyle/>
                <a:p>
                  <a:endParaRPr lang="en-GB"/>
                </a:p>
              </p:txBody>
            </p:sp>
            <p:sp>
              <p:nvSpPr>
                <p:cNvPr id="6295" name="Vrije vorm: vorm 6294">
                  <a:extLst>
                    <a:ext uri="{FF2B5EF4-FFF2-40B4-BE49-F238E27FC236}">
                      <a16:creationId xmlns:a16="http://schemas.microsoft.com/office/drawing/2014/main" id="{AA79CCB0-A219-495A-A59E-10EEF89368B1}"/>
                    </a:ext>
                  </a:extLst>
                </p:cNvPr>
                <p:cNvSpPr/>
                <p:nvPr/>
              </p:nvSpPr>
              <p:spPr>
                <a:xfrm>
                  <a:off x="7608275" y="2722764"/>
                  <a:ext cx="9329" cy="26315"/>
                </a:xfrm>
                <a:custGeom>
                  <a:avLst/>
                  <a:gdLst>
                    <a:gd name="connsiteX0" fmla="*/ 0 w 9329"/>
                    <a:gd name="connsiteY0" fmla="*/ 26315 h 26315"/>
                    <a:gd name="connsiteX1" fmla="*/ 9330 w 9329"/>
                    <a:gd name="connsiteY1" fmla="*/ 0 h 26315"/>
                  </a:gdLst>
                  <a:ahLst/>
                  <a:cxnLst>
                    <a:cxn ang="0">
                      <a:pos x="connsiteX0" y="connsiteY0"/>
                    </a:cxn>
                    <a:cxn ang="0">
                      <a:pos x="connsiteX1" y="connsiteY1"/>
                    </a:cxn>
                  </a:cxnLst>
                  <a:rect l="l" t="t" r="r" b="b"/>
                  <a:pathLst>
                    <a:path w="9329" h="26315">
                      <a:moveTo>
                        <a:pt x="0" y="26315"/>
                      </a:moveTo>
                      <a:lnTo>
                        <a:pt x="9330" y="0"/>
                      </a:lnTo>
                    </a:path>
                  </a:pathLst>
                </a:custGeom>
                <a:ln w="6350" cap="rnd">
                  <a:solidFill>
                    <a:schemeClr val="bg1">
                      <a:alpha val="40000"/>
                    </a:schemeClr>
                  </a:solidFill>
                  <a:prstDash val="solid"/>
                  <a:round/>
                </a:ln>
              </p:spPr>
              <p:txBody>
                <a:bodyPr rtlCol="0" anchor="ctr"/>
                <a:lstStyle/>
                <a:p>
                  <a:endParaRPr lang="en-GB"/>
                </a:p>
              </p:txBody>
            </p:sp>
            <p:sp>
              <p:nvSpPr>
                <p:cNvPr id="6296" name="Vrije vorm: vorm 6295">
                  <a:extLst>
                    <a:ext uri="{FF2B5EF4-FFF2-40B4-BE49-F238E27FC236}">
                      <a16:creationId xmlns:a16="http://schemas.microsoft.com/office/drawing/2014/main" id="{217F86EE-67B6-405D-8FB1-4C066E6B4537}"/>
                    </a:ext>
                  </a:extLst>
                </p:cNvPr>
                <p:cNvSpPr/>
                <p:nvPr/>
              </p:nvSpPr>
              <p:spPr>
                <a:xfrm>
                  <a:off x="7604687" y="2731436"/>
                  <a:ext cx="3588" cy="17643"/>
                </a:xfrm>
                <a:custGeom>
                  <a:avLst/>
                  <a:gdLst>
                    <a:gd name="connsiteX0" fmla="*/ 3589 w 3588"/>
                    <a:gd name="connsiteY0" fmla="*/ 17643 h 17643"/>
                    <a:gd name="connsiteX1" fmla="*/ 0 w 3588"/>
                    <a:gd name="connsiteY1" fmla="*/ 0 h 17643"/>
                  </a:gdLst>
                  <a:ahLst/>
                  <a:cxnLst>
                    <a:cxn ang="0">
                      <a:pos x="connsiteX0" y="connsiteY0"/>
                    </a:cxn>
                    <a:cxn ang="0">
                      <a:pos x="connsiteX1" y="connsiteY1"/>
                    </a:cxn>
                  </a:cxnLst>
                  <a:rect l="l" t="t" r="r" b="b"/>
                  <a:pathLst>
                    <a:path w="3588" h="17643">
                      <a:moveTo>
                        <a:pt x="3589" y="17643"/>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97" name="Vrije vorm: vorm 6296">
                  <a:extLst>
                    <a:ext uri="{FF2B5EF4-FFF2-40B4-BE49-F238E27FC236}">
                      <a16:creationId xmlns:a16="http://schemas.microsoft.com/office/drawing/2014/main" id="{925BCB86-DAC4-44CC-8E2C-789BF5B12678}"/>
                    </a:ext>
                  </a:extLst>
                </p:cNvPr>
                <p:cNvSpPr/>
                <p:nvPr/>
              </p:nvSpPr>
              <p:spPr>
                <a:xfrm>
                  <a:off x="7720952" y="2745251"/>
                  <a:ext cx="15848" cy="20812"/>
                </a:xfrm>
                <a:custGeom>
                  <a:avLst/>
                  <a:gdLst>
                    <a:gd name="connsiteX0" fmla="*/ 15849 w 15848"/>
                    <a:gd name="connsiteY0" fmla="*/ 20813 h 20812"/>
                    <a:gd name="connsiteX1" fmla="*/ 0 w 15848"/>
                    <a:gd name="connsiteY1" fmla="*/ 0 h 20812"/>
                  </a:gdLst>
                  <a:ahLst/>
                  <a:cxnLst>
                    <a:cxn ang="0">
                      <a:pos x="connsiteX0" y="connsiteY0"/>
                    </a:cxn>
                    <a:cxn ang="0">
                      <a:pos x="connsiteX1" y="connsiteY1"/>
                    </a:cxn>
                  </a:cxnLst>
                  <a:rect l="l" t="t" r="r" b="b"/>
                  <a:pathLst>
                    <a:path w="15848" h="20812">
                      <a:moveTo>
                        <a:pt x="15849" y="20813"/>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298" name="Vrije vorm: vorm 6297">
                  <a:extLst>
                    <a:ext uri="{FF2B5EF4-FFF2-40B4-BE49-F238E27FC236}">
                      <a16:creationId xmlns:a16="http://schemas.microsoft.com/office/drawing/2014/main" id="{F2146432-8963-44C2-BC19-A9E8FEBCD8BD}"/>
                    </a:ext>
                  </a:extLst>
                </p:cNvPr>
                <p:cNvSpPr/>
                <p:nvPr/>
              </p:nvSpPr>
              <p:spPr>
                <a:xfrm>
                  <a:off x="7728129" y="2766064"/>
                  <a:ext cx="8672" cy="11004"/>
                </a:xfrm>
                <a:custGeom>
                  <a:avLst/>
                  <a:gdLst>
                    <a:gd name="connsiteX0" fmla="*/ 8672 w 8672"/>
                    <a:gd name="connsiteY0" fmla="*/ 0 h 11004"/>
                    <a:gd name="connsiteX1" fmla="*/ 0 w 8672"/>
                    <a:gd name="connsiteY1" fmla="*/ 11005 h 11004"/>
                  </a:gdLst>
                  <a:ahLst/>
                  <a:cxnLst>
                    <a:cxn ang="0">
                      <a:pos x="connsiteX0" y="connsiteY0"/>
                    </a:cxn>
                    <a:cxn ang="0">
                      <a:pos x="connsiteX1" y="connsiteY1"/>
                    </a:cxn>
                  </a:cxnLst>
                  <a:rect l="l" t="t" r="r" b="b"/>
                  <a:pathLst>
                    <a:path w="8672" h="11004">
                      <a:moveTo>
                        <a:pt x="8672" y="0"/>
                      </a:moveTo>
                      <a:lnTo>
                        <a:pt x="0" y="11005"/>
                      </a:lnTo>
                    </a:path>
                  </a:pathLst>
                </a:custGeom>
                <a:ln w="6350" cap="rnd">
                  <a:solidFill>
                    <a:schemeClr val="bg1">
                      <a:alpha val="40000"/>
                    </a:schemeClr>
                  </a:solidFill>
                  <a:prstDash val="solid"/>
                  <a:round/>
                </a:ln>
              </p:spPr>
              <p:txBody>
                <a:bodyPr rtlCol="0" anchor="ctr"/>
                <a:lstStyle/>
                <a:p>
                  <a:endParaRPr lang="en-GB"/>
                </a:p>
              </p:txBody>
            </p:sp>
            <p:sp>
              <p:nvSpPr>
                <p:cNvPr id="6299" name="Vrije vorm: vorm 6298">
                  <a:extLst>
                    <a:ext uri="{FF2B5EF4-FFF2-40B4-BE49-F238E27FC236}">
                      <a16:creationId xmlns:a16="http://schemas.microsoft.com/office/drawing/2014/main" id="{E059A57C-5AF9-4121-A07A-1507F593041F}"/>
                    </a:ext>
                  </a:extLst>
                </p:cNvPr>
                <p:cNvSpPr/>
                <p:nvPr/>
              </p:nvSpPr>
              <p:spPr>
                <a:xfrm>
                  <a:off x="7702352" y="2760083"/>
                  <a:ext cx="34448" cy="5980"/>
                </a:xfrm>
                <a:custGeom>
                  <a:avLst/>
                  <a:gdLst>
                    <a:gd name="connsiteX0" fmla="*/ 34449 w 34448"/>
                    <a:gd name="connsiteY0" fmla="*/ 5981 h 5980"/>
                    <a:gd name="connsiteX1" fmla="*/ 0 w 34448"/>
                    <a:gd name="connsiteY1" fmla="*/ 0 h 5980"/>
                  </a:gdLst>
                  <a:ahLst/>
                  <a:cxnLst>
                    <a:cxn ang="0">
                      <a:pos x="connsiteX0" y="connsiteY0"/>
                    </a:cxn>
                    <a:cxn ang="0">
                      <a:pos x="connsiteX1" y="connsiteY1"/>
                    </a:cxn>
                  </a:cxnLst>
                  <a:rect l="l" t="t" r="r" b="b"/>
                  <a:pathLst>
                    <a:path w="34448" h="5980">
                      <a:moveTo>
                        <a:pt x="34449" y="598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00" name="Vrije vorm: vorm 6299">
                  <a:extLst>
                    <a:ext uri="{FF2B5EF4-FFF2-40B4-BE49-F238E27FC236}">
                      <a16:creationId xmlns:a16="http://schemas.microsoft.com/office/drawing/2014/main" id="{0BF388AD-5A3C-4733-A497-CD3F18ACD0DE}"/>
                    </a:ext>
                  </a:extLst>
                </p:cNvPr>
                <p:cNvSpPr/>
                <p:nvPr/>
              </p:nvSpPr>
              <p:spPr>
                <a:xfrm>
                  <a:off x="7707496" y="2742739"/>
                  <a:ext cx="29305" cy="23324"/>
                </a:xfrm>
                <a:custGeom>
                  <a:avLst/>
                  <a:gdLst>
                    <a:gd name="connsiteX0" fmla="*/ 29306 w 29305"/>
                    <a:gd name="connsiteY0" fmla="*/ 23325 h 23324"/>
                    <a:gd name="connsiteX1" fmla="*/ 0 w 29305"/>
                    <a:gd name="connsiteY1" fmla="*/ 0 h 23324"/>
                  </a:gdLst>
                  <a:ahLst/>
                  <a:cxnLst>
                    <a:cxn ang="0">
                      <a:pos x="connsiteX0" y="connsiteY0"/>
                    </a:cxn>
                    <a:cxn ang="0">
                      <a:pos x="connsiteX1" y="connsiteY1"/>
                    </a:cxn>
                  </a:cxnLst>
                  <a:rect l="l" t="t" r="r" b="b"/>
                  <a:pathLst>
                    <a:path w="29305" h="23324">
                      <a:moveTo>
                        <a:pt x="29306" y="23325"/>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01" name="Vrije vorm: vorm 6300">
                  <a:extLst>
                    <a:ext uri="{FF2B5EF4-FFF2-40B4-BE49-F238E27FC236}">
                      <a16:creationId xmlns:a16="http://schemas.microsoft.com/office/drawing/2014/main" id="{7DD2D2BB-FA44-4528-AF25-7F15F3D70852}"/>
                    </a:ext>
                  </a:extLst>
                </p:cNvPr>
                <p:cNvSpPr/>
                <p:nvPr/>
              </p:nvSpPr>
              <p:spPr>
                <a:xfrm>
                  <a:off x="7736801" y="2766064"/>
                  <a:ext cx="17164" cy="2990"/>
                </a:xfrm>
                <a:custGeom>
                  <a:avLst/>
                  <a:gdLst>
                    <a:gd name="connsiteX0" fmla="*/ 0 w 17164"/>
                    <a:gd name="connsiteY0" fmla="*/ 0 h 2990"/>
                    <a:gd name="connsiteX1" fmla="*/ 17165 w 17164"/>
                    <a:gd name="connsiteY1" fmla="*/ 2990 h 2990"/>
                  </a:gdLst>
                  <a:ahLst/>
                  <a:cxnLst>
                    <a:cxn ang="0">
                      <a:pos x="connsiteX0" y="connsiteY0"/>
                    </a:cxn>
                    <a:cxn ang="0">
                      <a:pos x="connsiteX1" y="connsiteY1"/>
                    </a:cxn>
                  </a:cxnLst>
                  <a:rect l="l" t="t" r="r" b="b"/>
                  <a:pathLst>
                    <a:path w="17164" h="2990">
                      <a:moveTo>
                        <a:pt x="0" y="0"/>
                      </a:moveTo>
                      <a:lnTo>
                        <a:pt x="17165" y="2990"/>
                      </a:lnTo>
                    </a:path>
                  </a:pathLst>
                </a:custGeom>
                <a:ln w="6350" cap="rnd">
                  <a:solidFill>
                    <a:schemeClr val="bg1">
                      <a:alpha val="40000"/>
                    </a:schemeClr>
                  </a:solidFill>
                  <a:prstDash val="solid"/>
                  <a:round/>
                </a:ln>
              </p:spPr>
              <p:txBody>
                <a:bodyPr rtlCol="0" anchor="ctr"/>
                <a:lstStyle/>
                <a:p>
                  <a:endParaRPr lang="en-GB"/>
                </a:p>
              </p:txBody>
            </p:sp>
            <p:sp>
              <p:nvSpPr>
                <p:cNvPr id="6302" name="Vrije vorm: vorm 6301">
                  <a:extLst>
                    <a:ext uri="{FF2B5EF4-FFF2-40B4-BE49-F238E27FC236}">
                      <a16:creationId xmlns:a16="http://schemas.microsoft.com/office/drawing/2014/main" id="{205A6B7B-1EE4-46AB-9088-1BF60E88373D}"/>
                    </a:ext>
                  </a:extLst>
                </p:cNvPr>
                <p:cNvSpPr/>
                <p:nvPr/>
              </p:nvSpPr>
              <p:spPr>
                <a:xfrm>
                  <a:off x="7612223" y="2659188"/>
                  <a:ext cx="15609" cy="11423"/>
                </a:xfrm>
                <a:custGeom>
                  <a:avLst/>
                  <a:gdLst>
                    <a:gd name="connsiteX0" fmla="*/ 15609 w 15609"/>
                    <a:gd name="connsiteY0" fmla="*/ 0 h 11423"/>
                    <a:gd name="connsiteX1" fmla="*/ 0 w 15609"/>
                    <a:gd name="connsiteY1" fmla="*/ 11423 h 11423"/>
                  </a:gdLst>
                  <a:ahLst/>
                  <a:cxnLst>
                    <a:cxn ang="0">
                      <a:pos x="connsiteX0" y="connsiteY0"/>
                    </a:cxn>
                    <a:cxn ang="0">
                      <a:pos x="connsiteX1" y="connsiteY1"/>
                    </a:cxn>
                  </a:cxnLst>
                  <a:rect l="l" t="t" r="r" b="b"/>
                  <a:pathLst>
                    <a:path w="15609" h="11423">
                      <a:moveTo>
                        <a:pt x="15609" y="0"/>
                      </a:moveTo>
                      <a:lnTo>
                        <a:pt x="0" y="11423"/>
                      </a:lnTo>
                    </a:path>
                  </a:pathLst>
                </a:custGeom>
                <a:ln w="6350" cap="rnd">
                  <a:solidFill>
                    <a:schemeClr val="bg1">
                      <a:alpha val="40000"/>
                    </a:schemeClr>
                  </a:solidFill>
                  <a:prstDash val="solid"/>
                  <a:round/>
                </a:ln>
              </p:spPr>
              <p:txBody>
                <a:bodyPr rtlCol="0" anchor="ctr"/>
                <a:lstStyle/>
                <a:p>
                  <a:endParaRPr lang="en-GB"/>
                </a:p>
              </p:txBody>
            </p:sp>
            <p:sp>
              <p:nvSpPr>
                <p:cNvPr id="6303" name="Vrije vorm: vorm 6302">
                  <a:extLst>
                    <a:ext uri="{FF2B5EF4-FFF2-40B4-BE49-F238E27FC236}">
                      <a16:creationId xmlns:a16="http://schemas.microsoft.com/office/drawing/2014/main" id="{FD53E2A2-4297-4955-AC4E-9EEDFBFD2E3E}"/>
                    </a:ext>
                  </a:extLst>
                </p:cNvPr>
                <p:cNvSpPr/>
                <p:nvPr/>
              </p:nvSpPr>
              <p:spPr>
                <a:xfrm>
                  <a:off x="7627832" y="2659188"/>
                  <a:ext cx="6997" cy="9449"/>
                </a:xfrm>
                <a:custGeom>
                  <a:avLst/>
                  <a:gdLst>
                    <a:gd name="connsiteX0" fmla="*/ 0 w 6997"/>
                    <a:gd name="connsiteY0" fmla="*/ 0 h 9449"/>
                    <a:gd name="connsiteX1" fmla="*/ 6997 w 6997"/>
                    <a:gd name="connsiteY1" fmla="*/ 9450 h 9449"/>
                  </a:gdLst>
                  <a:ahLst/>
                  <a:cxnLst>
                    <a:cxn ang="0">
                      <a:pos x="connsiteX0" y="connsiteY0"/>
                    </a:cxn>
                    <a:cxn ang="0">
                      <a:pos x="connsiteX1" y="connsiteY1"/>
                    </a:cxn>
                  </a:cxnLst>
                  <a:rect l="l" t="t" r="r" b="b"/>
                  <a:pathLst>
                    <a:path w="6997" h="9449">
                      <a:moveTo>
                        <a:pt x="0" y="0"/>
                      </a:moveTo>
                      <a:lnTo>
                        <a:pt x="6997" y="9450"/>
                      </a:lnTo>
                    </a:path>
                  </a:pathLst>
                </a:custGeom>
                <a:ln w="6350" cap="rnd">
                  <a:solidFill>
                    <a:schemeClr val="bg1">
                      <a:alpha val="40000"/>
                    </a:schemeClr>
                  </a:solidFill>
                  <a:prstDash val="solid"/>
                  <a:round/>
                </a:ln>
              </p:spPr>
              <p:txBody>
                <a:bodyPr rtlCol="0" anchor="ctr"/>
                <a:lstStyle/>
                <a:p>
                  <a:endParaRPr lang="en-GB"/>
                </a:p>
              </p:txBody>
            </p:sp>
            <p:sp>
              <p:nvSpPr>
                <p:cNvPr id="6304" name="Vrije vorm: vorm 6303">
                  <a:extLst>
                    <a:ext uri="{FF2B5EF4-FFF2-40B4-BE49-F238E27FC236}">
                      <a16:creationId xmlns:a16="http://schemas.microsoft.com/office/drawing/2014/main" id="{D4B9B280-953B-4250-A740-7FFC1F4E3F2D}"/>
                    </a:ext>
                  </a:extLst>
                </p:cNvPr>
                <p:cNvSpPr/>
                <p:nvPr/>
              </p:nvSpPr>
              <p:spPr>
                <a:xfrm>
                  <a:off x="7604807" y="2659188"/>
                  <a:ext cx="23025" cy="119"/>
                </a:xfrm>
                <a:custGeom>
                  <a:avLst/>
                  <a:gdLst>
                    <a:gd name="connsiteX0" fmla="*/ 23025 w 23025"/>
                    <a:gd name="connsiteY0" fmla="*/ 0 h 119"/>
                    <a:gd name="connsiteX1" fmla="*/ 0 w 23025"/>
                    <a:gd name="connsiteY1" fmla="*/ 120 h 119"/>
                  </a:gdLst>
                  <a:ahLst/>
                  <a:cxnLst>
                    <a:cxn ang="0">
                      <a:pos x="connsiteX0" y="connsiteY0"/>
                    </a:cxn>
                    <a:cxn ang="0">
                      <a:pos x="connsiteX1" y="connsiteY1"/>
                    </a:cxn>
                  </a:cxnLst>
                  <a:rect l="l" t="t" r="r" b="b"/>
                  <a:pathLst>
                    <a:path w="23025" h="119">
                      <a:moveTo>
                        <a:pt x="23025" y="0"/>
                      </a:moveTo>
                      <a:lnTo>
                        <a:pt x="0" y="120"/>
                      </a:lnTo>
                    </a:path>
                  </a:pathLst>
                </a:custGeom>
                <a:ln w="6350" cap="rnd">
                  <a:solidFill>
                    <a:schemeClr val="bg1">
                      <a:alpha val="40000"/>
                    </a:schemeClr>
                  </a:solidFill>
                  <a:prstDash val="solid"/>
                  <a:round/>
                </a:ln>
              </p:spPr>
              <p:txBody>
                <a:bodyPr rtlCol="0" anchor="ctr"/>
                <a:lstStyle/>
                <a:p>
                  <a:endParaRPr lang="en-GB"/>
                </a:p>
              </p:txBody>
            </p:sp>
            <p:sp>
              <p:nvSpPr>
                <p:cNvPr id="6305" name="Vrije vorm: vorm 6304">
                  <a:extLst>
                    <a:ext uri="{FF2B5EF4-FFF2-40B4-BE49-F238E27FC236}">
                      <a16:creationId xmlns:a16="http://schemas.microsoft.com/office/drawing/2014/main" id="{142047C6-8CA4-4EAD-B74B-279BFB43A98E}"/>
                    </a:ext>
                  </a:extLst>
                </p:cNvPr>
                <p:cNvSpPr/>
                <p:nvPr/>
              </p:nvSpPr>
              <p:spPr>
                <a:xfrm>
                  <a:off x="7627832" y="2651593"/>
                  <a:ext cx="16207" cy="7595"/>
                </a:xfrm>
                <a:custGeom>
                  <a:avLst/>
                  <a:gdLst>
                    <a:gd name="connsiteX0" fmla="*/ 0 w 16207"/>
                    <a:gd name="connsiteY0" fmla="*/ 7596 h 7595"/>
                    <a:gd name="connsiteX1" fmla="*/ 16208 w 16207"/>
                    <a:gd name="connsiteY1" fmla="*/ 0 h 7595"/>
                  </a:gdLst>
                  <a:ahLst/>
                  <a:cxnLst>
                    <a:cxn ang="0">
                      <a:pos x="connsiteX0" y="connsiteY0"/>
                    </a:cxn>
                    <a:cxn ang="0">
                      <a:pos x="connsiteX1" y="connsiteY1"/>
                    </a:cxn>
                  </a:cxnLst>
                  <a:rect l="l" t="t" r="r" b="b"/>
                  <a:pathLst>
                    <a:path w="16207" h="7595">
                      <a:moveTo>
                        <a:pt x="0" y="7596"/>
                      </a:moveTo>
                      <a:lnTo>
                        <a:pt x="16208" y="0"/>
                      </a:lnTo>
                    </a:path>
                  </a:pathLst>
                </a:custGeom>
                <a:ln w="6350" cap="rnd">
                  <a:solidFill>
                    <a:schemeClr val="bg1">
                      <a:alpha val="40000"/>
                    </a:schemeClr>
                  </a:solidFill>
                  <a:prstDash val="solid"/>
                  <a:round/>
                </a:ln>
              </p:spPr>
              <p:txBody>
                <a:bodyPr rtlCol="0" anchor="ctr"/>
                <a:lstStyle/>
                <a:p>
                  <a:endParaRPr lang="en-GB"/>
                </a:p>
              </p:txBody>
            </p:sp>
            <p:sp>
              <p:nvSpPr>
                <p:cNvPr id="6306" name="Vrije vorm: vorm 6305">
                  <a:extLst>
                    <a:ext uri="{FF2B5EF4-FFF2-40B4-BE49-F238E27FC236}">
                      <a16:creationId xmlns:a16="http://schemas.microsoft.com/office/drawing/2014/main" id="{58DCFEAE-D589-47C2-A524-6F9ACDC68D84}"/>
                    </a:ext>
                  </a:extLst>
                </p:cNvPr>
                <p:cNvSpPr/>
                <p:nvPr/>
              </p:nvSpPr>
              <p:spPr>
                <a:xfrm>
                  <a:off x="7627832" y="2647466"/>
                  <a:ext cx="7057" cy="11722"/>
                </a:xfrm>
                <a:custGeom>
                  <a:avLst/>
                  <a:gdLst>
                    <a:gd name="connsiteX0" fmla="*/ 0 w 7057"/>
                    <a:gd name="connsiteY0" fmla="*/ 11722 h 11722"/>
                    <a:gd name="connsiteX1" fmla="*/ 7057 w 7057"/>
                    <a:gd name="connsiteY1" fmla="*/ 0 h 11722"/>
                  </a:gdLst>
                  <a:ahLst/>
                  <a:cxnLst>
                    <a:cxn ang="0">
                      <a:pos x="connsiteX0" y="connsiteY0"/>
                    </a:cxn>
                    <a:cxn ang="0">
                      <a:pos x="connsiteX1" y="connsiteY1"/>
                    </a:cxn>
                  </a:cxnLst>
                  <a:rect l="l" t="t" r="r" b="b"/>
                  <a:pathLst>
                    <a:path w="7057" h="11722">
                      <a:moveTo>
                        <a:pt x="0" y="11722"/>
                      </a:moveTo>
                      <a:lnTo>
                        <a:pt x="7057" y="0"/>
                      </a:lnTo>
                    </a:path>
                  </a:pathLst>
                </a:custGeom>
                <a:ln w="6350" cap="rnd">
                  <a:solidFill>
                    <a:schemeClr val="bg1">
                      <a:alpha val="40000"/>
                    </a:schemeClr>
                  </a:solidFill>
                  <a:prstDash val="solid"/>
                  <a:round/>
                </a:ln>
              </p:spPr>
              <p:txBody>
                <a:bodyPr rtlCol="0" anchor="ctr"/>
                <a:lstStyle/>
                <a:p>
                  <a:endParaRPr lang="en-GB"/>
                </a:p>
              </p:txBody>
            </p:sp>
            <p:sp>
              <p:nvSpPr>
                <p:cNvPr id="6307" name="Vrije vorm: vorm 6306">
                  <a:extLst>
                    <a:ext uri="{FF2B5EF4-FFF2-40B4-BE49-F238E27FC236}">
                      <a16:creationId xmlns:a16="http://schemas.microsoft.com/office/drawing/2014/main" id="{7BF44E43-5C9D-40DC-B0A5-334D24C7DA81}"/>
                    </a:ext>
                  </a:extLst>
                </p:cNvPr>
                <p:cNvSpPr/>
                <p:nvPr/>
              </p:nvSpPr>
              <p:spPr>
                <a:xfrm>
                  <a:off x="7759049" y="2825333"/>
                  <a:ext cx="10406" cy="9090"/>
                </a:xfrm>
                <a:custGeom>
                  <a:avLst/>
                  <a:gdLst>
                    <a:gd name="connsiteX0" fmla="*/ 0 w 10406"/>
                    <a:gd name="connsiteY0" fmla="*/ 9091 h 9090"/>
                    <a:gd name="connsiteX1" fmla="*/ 10406 w 10406"/>
                    <a:gd name="connsiteY1" fmla="*/ 0 h 9090"/>
                  </a:gdLst>
                  <a:ahLst/>
                  <a:cxnLst>
                    <a:cxn ang="0">
                      <a:pos x="connsiteX0" y="connsiteY0"/>
                    </a:cxn>
                    <a:cxn ang="0">
                      <a:pos x="connsiteX1" y="connsiteY1"/>
                    </a:cxn>
                  </a:cxnLst>
                  <a:rect l="l" t="t" r="r" b="b"/>
                  <a:pathLst>
                    <a:path w="10406" h="9090">
                      <a:moveTo>
                        <a:pt x="0" y="9091"/>
                      </a:moveTo>
                      <a:lnTo>
                        <a:pt x="10406" y="0"/>
                      </a:lnTo>
                    </a:path>
                  </a:pathLst>
                </a:custGeom>
                <a:ln w="6350" cap="rnd">
                  <a:solidFill>
                    <a:schemeClr val="bg1">
                      <a:alpha val="40000"/>
                    </a:schemeClr>
                  </a:solidFill>
                  <a:prstDash val="solid"/>
                  <a:round/>
                </a:ln>
              </p:spPr>
              <p:txBody>
                <a:bodyPr rtlCol="0" anchor="ctr"/>
                <a:lstStyle/>
                <a:p>
                  <a:endParaRPr lang="en-GB"/>
                </a:p>
              </p:txBody>
            </p:sp>
            <p:sp>
              <p:nvSpPr>
                <p:cNvPr id="6308" name="Vrije vorm: vorm 6307">
                  <a:extLst>
                    <a:ext uri="{FF2B5EF4-FFF2-40B4-BE49-F238E27FC236}">
                      <a16:creationId xmlns:a16="http://schemas.microsoft.com/office/drawing/2014/main" id="{D885FF42-0A44-43D9-BB37-56C1C1873F8C}"/>
                    </a:ext>
                  </a:extLst>
                </p:cNvPr>
                <p:cNvSpPr/>
                <p:nvPr/>
              </p:nvSpPr>
              <p:spPr>
                <a:xfrm>
                  <a:off x="7757973" y="2832570"/>
                  <a:ext cx="1076" cy="1854"/>
                </a:xfrm>
                <a:custGeom>
                  <a:avLst/>
                  <a:gdLst>
                    <a:gd name="connsiteX0" fmla="*/ 1077 w 1076"/>
                    <a:gd name="connsiteY0" fmla="*/ 1854 h 1854"/>
                    <a:gd name="connsiteX1" fmla="*/ 0 w 1076"/>
                    <a:gd name="connsiteY1" fmla="*/ 0 h 1854"/>
                  </a:gdLst>
                  <a:ahLst/>
                  <a:cxnLst>
                    <a:cxn ang="0">
                      <a:pos x="connsiteX0" y="connsiteY0"/>
                    </a:cxn>
                    <a:cxn ang="0">
                      <a:pos x="connsiteX1" y="connsiteY1"/>
                    </a:cxn>
                  </a:cxnLst>
                  <a:rect l="l" t="t" r="r" b="b"/>
                  <a:pathLst>
                    <a:path w="1076" h="1854">
                      <a:moveTo>
                        <a:pt x="1077" y="185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09" name="Vrije vorm: vorm 6308">
                  <a:extLst>
                    <a:ext uri="{FF2B5EF4-FFF2-40B4-BE49-F238E27FC236}">
                      <a16:creationId xmlns:a16="http://schemas.microsoft.com/office/drawing/2014/main" id="{ECA3E31E-D02F-4C65-9E82-B8CABFC1F443}"/>
                    </a:ext>
                  </a:extLst>
                </p:cNvPr>
                <p:cNvSpPr/>
                <p:nvPr/>
              </p:nvSpPr>
              <p:spPr>
                <a:xfrm>
                  <a:off x="7759049" y="2829400"/>
                  <a:ext cx="12200" cy="5023"/>
                </a:xfrm>
                <a:custGeom>
                  <a:avLst/>
                  <a:gdLst>
                    <a:gd name="connsiteX0" fmla="*/ 0 w 12200"/>
                    <a:gd name="connsiteY0" fmla="*/ 5024 h 5023"/>
                    <a:gd name="connsiteX1" fmla="*/ 12201 w 12200"/>
                    <a:gd name="connsiteY1" fmla="*/ 0 h 5023"/>
                  </a:gdLst>
                  <a:ahLst/>
                  <a:cxnLst>
                    <a:cxn ang="0">
                      <a:pos x="connsiteX0" y="connsiteY0"/>
                    </a:cxn>
                    <a:cxn ang="0">
                      <a:pos x="connsiteX1" y="connsiteY1"/>
                    </a:cxn>
                  </a:cxnLst>
                  <a:rect l="l" t="t" r="r" b="b"/>
                  <a:pathLst>
                    <a:path w="12200" h="5023">
                      <a:moveTo>
                        <a:pt x="0" y="5024"/>
                      </a:moveTo>
                      <a:lnTo>
                        <a:pt x="12201" y="0"/>
                      </a:lnTo>
                    </a:path>
                  </a:pathLst>
                </a:custGeom>
                <a:ln w="6350" cap="rnd">
                  <a:solidFill>
                    <a:schemeClr val="bg1">
                      <a:alpha val="40000"/>
                    </a:schemeClr>
                  </a:solidFill>
                  <a:prstDash val="solid"/>
                  <a:round/>
                </a:ln>
              </p:spPr>
              <p:txBody>
                <a:bodyPr rtlCol="0" anchor="ctr"/>
                <a:lstStyle/>
                <a:p>
                  <a:endParaRPr lang="en-GB"/>
                </a:p>
              </p:txBody>
            </p:sp>
            <p:sp>
              <p:nvSpPr>
                <p:cNvPr id="6310" name="Vrije vorm: vorm 6309">
                  <a:extLst>
                    <a:ext uri="{FF2B5EF4-FFF2-40B4-BE49-F238E27FC236}">
                      <a16:creationId xmlns:a16="http://schemas.microsoft.com/office/drawing/2014/main" id="{1EE620BD-6727-4951-B8BB-AE6E59C9598D}"/>
                    </a:ext>
                  </a:extLst>
                </p:cNvPr>
                <p:cNvSpPr/>
                <p:nvPr/>
              </p:nvSpPr>
              <p:spPr>
                <a:xfrm>
                  <a:off x="7758033" y="2825333"/>
                  <a:ext cx="11423" cy="4186"/>
                </a:xfrm>
                <a:custGeom>
                  <a:avLst/>
                  <a:gdLst>
                    <a:gd name="connsiteX0" fmla="*/ 0 w 11423"/>
                    <a:gd name="connsiteY0" fmla="*/ 4186 h 4186"/>
                    <a:gd name="connsiteX1" fmla="*/ 11423 w 11423"/>
                    <a:gd name="connsiteY1" fmla="*/ 0 h 4186"/>
                  </a:gdLst>
                  <a:ahLst/>
                  <a:cxnLst>
                    <a:cxn ang="0">
                      <a:pos x="connsiteX0" y="connsiteY0"/>
                    </a:cxn>
                    <a:cxn ang="0">
                      <a:pos x="connsiteX1" y="connsiteY1"/>
                    </a:cxn>
                  </a:cxnLst>
                  <a:rect l="l" t="t" r="r" b="b"/>
                  <a:pathLst>
                    <a:path w="11423" h="4186">
                      <a:moveTo>
                        <a:pt x="0" y="4186"/>
                      </a:moveTo>
                      <a:lnTo>
                        <a:pt x="11423" y="0"/>
                      </a:lnTo>
                    </a:path>
                  </a:pathLst>
                </a:custGeom>
                <a:ln w="6350" cap="rnd">
                  <a:solidFill>
                    <a:schemeClr val="bg1">
                      <a:alpha val="40000"/>
                    </a:schemeClr>
                  </a:solidFill>
                  <a:prstDash val="solid"/>
                  <a:round/>
                </a:ln>
              </p:spPr>
              <p:txBody>
                <a:bodyPr rtlCol="0" anchor="ctr"/>
                <a:lstStyle/>
                <a:p>
                  <a:endParaRPr lang="en-GB"/>
                </a:p>
              </p:txBody>
            </p:sp>
            <p:sp>
              <p:nvSpPr>
                <p:cNvPr id="6311" name="Vrije vorm: vorm 6310">
                  <a:extLst>
                    <a:ext uri="{FF2B5EF4-FFF2-40B4-BE49-F238E27FC236}">
                      <a16:creationId xmlns:a16="http://schemas.microsoft.com/office/drawing/2014/main" id="{520A9723-894F-42CD-AD26-4ED3B3F9B300}"/>
                    </a:ext>
                  </a:extLst>
                </p:cNvPr>
                <p:cNvSpPr/>
                <p:nvPr/>
              </p:nvSpPr>
              <p:spPr>
                <a:xfrm>
                  <a:off x="7535071" y="2727967"/>
                  <a:ext cx="21171" cy="12858"/>
                </a:xfrm>
                <a:custGeom>
                  <a:avLst/>
                  <a:gdLst>
                    <a:gd name="connsiteX0" fmla="*/ 0 w 21171"/>
                    <a:gd name="connsiteY0" fmla="*/ 12859 h 12858"/>
                    <a:gd name="connsiteX1" fmla="*/ 21172 w 21171"/>
                    <a:gd name="connsiteY1" fmla="*/ 0 h 12858"/>
                  </a:gdLst>
                  <a:ahLst/>
                  <a:cxnLst>
                    <a:cxn ang="0">
                      <a:pos x="connsiteX0" y="connsiteY0"/>
                    </a:cxn>
                    <a:cxn ang="0">
                      <a:pos x="connsiteX1" y="connsiteY1"/>
                    </a:cxn>
                  </a:cxnLst>
                  <a:rect l="l" t="t" r="r" b="b"/>
                  <a:pathLst>
                    <a:path w="21171" h="12858">
                      <a:moveTo>
                        <a:pt x="0" y="12859"/>
                      </a:moveTo>
                      <a:lnTo>
                        <a:pt x="21172" y="0"/>
                      </a:lnTo>
                    </a:path>
                  </a:pathLst>
                </a:custGeom>
                <a:ln w="6350" cap="rnd">
                  <a:solidFill>
                    <a:schemeClr val="bg1">
                      <a:alpha val="40000"/>
                    </a:schemeClr>
                  </a:solidFill>
                  <a:prstDash val="solid"/>
                  <a:round/>
                </a:ln>
              </p:spPr>
              <p:txBody>
                <a:bodyPr rtlCol="0" anchor="ctr"/>
                <a:lstStyle/>
                <a:p>
                  <a:endParaRPr lang="en-GB"/>
                </a:p>
              </p:txBody>
            </p:sp>
            <p:sp>
              <p:nvSpPr>
                <p:cNvPr id="6312" name="Vrije vorm: vorm 6311">
                  <a:extLst>
                    <a:ext uri="{FF2B5EF4-FFF2-40B4-BE49-F238E27FC236}">
                      <a16:creationId xmlns:a16="http://schemas.microsoft.com/office/drawing/2014/main" id="{19EE40F8-2984-4B97-9EF1-24345DCA2B9A}"/>
                    </a:ext>
                  </a:extLst>
                </p:cNvPr>
                <p:cNvSpPr/>
                <p:nvPr/>
              </p:nvSpPr>
              <p:spPr>
                <a:xfrm>
                  <a:off x="7535071" y="2740825"/>
                  <a:ext cx="4126" cy="3289"/>
                </a:xfrm>
                <a:custGeom>
                  <a:avLst/>
                  <a:gdLst>
                    <a:gd name="connsiteX0" fmla="*/ 0 w 4126"/>
                    <a:gd name="connsiteY0" fmla="*/ 0 h 3289"/>
                    <a:gd name="connsiteX1" fmla="*/ 4127 w 4126"/>
                    <a:gd name="connsiteY1" fmla="*/ 3289 h 3289"/>
                  </a:gdLst>
                  <a:ahLst/>
                  <a:cxnLst>
                    <a:cxn ang="0">
                      <a:pos x="connsiteX0" y="connsiteY0"/>
                    </a:cxn>
                    <a:cxn ang="0">
                      <a:pos x="connsiteX1" y="connsiteY1"/>
                    </a:cxn>
                  </a:cxnLst>
                  <a:rect l="l" t="t" r="r" b="b"/>
                  <a:pathLst>
                    <a:path w="4126" h="3289">
                      <a:moveTo>
                        <a:pt x="0" y="0"/>
                      </a:moveTo>
                      <a:lnTo>
                        <a:pt x="4127" y="3289"/>
                      </a:lnTo>
                    </a:path>
                  </a:pathLst>
                </a:custGeom>
                <a:ln w="6350" cap="rnd">
                  <a:solidFill>
                    <a:schemeClr val="bg1">
                      <a:alpha val="40000"/>
                    </a:schemeClr>
                  </a:solidFill>
                  <a:prstDash val="solid"/>
                  <a:round/>
                </a:ln>
              </p:spPr>
              <p:txBody>
                <a:bodyPr rtlCol="0" anchor="ctr"/>
                <a:lstStyle/>
                <a:p>
                  <a:endParaRPr lang="en-GB"/>
                </a:p>
              </p:txBody>
            </p:sp>
            <p:sp>
              <p:nvSpPr>
                <p:cNvPr id="6313" name="Vrije vorm: vorm 6312">
                  <a:extLst>
                    <a:ext uri="{FF2B5EF4-FFF2-40B4-BE49-F238E27FC236}">
                      <a16:creationId xmlns:a16="http://schemas.microsoft.com/office/drawing/2014/main" id="{8FAA5DE3-CB35-46E0-9D68-D3D6F440BF4D}"/>
                    </a:ext>
                  </a:extLst>
                </p:cNvPr>
                <p:cNvSpPr/>
                <p:nvPr/>
              </p:nvSpPr>
              <p:spPr>
                <a:xfrm>
                  <a:off x="7535071" y="2713972"/>
                  <a:ext cx="27152" cy="26853"/>
                </a:xfrm>
                <a:custGeom>
                  <a:avLst/>
                  <a:gdLst>
                    <a:gd name="connsiteX0" fmla="*/ 0 w 27152"/>
                    <a:gd name="connsiteY0" fmla="*/ 26853 h 26853"/>
                    <a:gd name="connsiteX1" fmla="*/ 27152 w 27152"/>
                    <a:gd name="connsiteY1" fmla="*/ 0 h 26853"/>
                  </a:gdLst>
                  <a:ahLst/>
                  <a:cxnLst>
                    <a:cxn ang="0">
                      <a:pos x="connsiteX0" y="connsiteY0"/>
                    </a:cxn>
                    <a:cxn ang="0">
                      <a:pos x="connsiteX1" y="connsiteY1"/>
                    </a:cxn>
                  </a:cxnLst>
                  <a:rect l="l" t="t" r="r" b="b"/>
                  <a:pathLst>
                    <a:path w="27152" h="26853">
                      <a:moveTo>
                        <a:pt x="0" y="26853"/>
                      </a:moveTo>
                      <a:lnTo>
                        <a:pt x="27152" y="0"/>
                      </a:lnTo>
                    </a:path>
                  </a:pathLst>
                </a:custGeom>
                <a:ln w="6350" cap="rnd">
                  <a:solidFill>
                    <a:schemeClr val="bg1">
                      <a:alpha val="40000"/>
                    </a:schemeClr>
                  </a:solidFill>
                  <a:prstDash val="solid"/>
                  <a:round/>
                </a:ln>
              </p:spPr>
              <p:txBody>
                <a:bodyPr rtlCol="0" anchor="ctr"/>
                <a:lstStyle/>
                <a:p>
                  <a:endParaRPr lang="en-GB"/>
                </a:p>
              </p:txBody>
            </p:sp>
            <p:sp>
              <p:nvSpPr>
                <p:cNvPr id="6314" name="Vrije vorm: vorm 6313">
                  <a:extLst>
                    <a:ext uri="{FF2B5EF4-FFF2-40B4-BE49-F238E27FC236}">
                      <a16:creationId xmlns:a16="http://schemas.microsoft.com/office/drawing/2014/main" id="{7D5D559B-C36F-48ED-88C7-F675A48CC0D9}"/>
                    </a:ext>
                  </a:extLst>
                </p:cNvPr>
                <p:cNvSpPr/>
                <p:nvPr/>
              </p:nvSpPr>
              <p:spPr>
                <a:xfrm>
                  <a:off x="7529210" y="2740825"/>
                  <a:ext cx="5861" cy="1794"/>
                </a:xfrm>
                <a:custGeom>
                  <a:avLst/>
                  <a:gdLst>
                    <a:gd name="connsiteX0" fmla="*/ 5861 w 5861"/>
                    <a:gd name="connsiteY0" fmla="*/ 0 h 1794"/>
                    <a:gd name="connsiteX1" fmla="*/ 0 w 5861"/>
                    <a:gd name="connsiteY1" fmla="*/ 1794 h 1794"/>
                  </a:gdLst>
                  <a:ahLst/>
                  <a:cxnLst>
                    <a:cxn ang="0">
                      <a:pos x="connsiteX0" y="connsiteY0"/>
                    </a:cxn>
                    <a:cxn ang="0">
                      <a:pos x="connsiteX1" y="connsiteY1"/>
                    </a:cxn>
                  </a:cxnLst>
                  <a:rect l="l" t="t" r="r" b="b"/>
                  <a:pathLst>
                    <a:path w="5861" h="1794">
                      <a:moveTo>
                        <a:pt x="5861" y="0"/>
                      </a:moveTo>
                      <a:lnTo>
                        <a:pt x="0" y="1794"/>
                      </a:lnTo>
                    </a:path>
                  </a:pathLst>
                </a:custGeom>
                <a:ln w="6350" cap="rnd">
                  <a:solidFill>
                    <a:schemeClr val="bg1">
                      <a:alpha val="40000"/>
                    </a:schemeClr>
                  </a:solidFill>
                  <a:prstDash val="solid"/>
                  <a:round/>
                </a:ln>
              </p:spPr>
              <p:txBody>
                <a:bodyPr rtlCol="0" anchor="ctr"/>
                <a:lstStyle/>
                <a:p>
                  <a:endParaRPr lang="en-GB"/>
                </a:p>
              </p:txBody>
            </p:sp>
            <p:sp>
              <p:nvSpPr>
                <p:cNvPr id="6315" name="Vrije vorm: vorm 6314">
                  <a:extLst>
                    <a:ext uri="{FF2B5EF4-FFF2-40B4-BE49-F238E27FC236}">
                      <a16:creationId xmlns:a16="http://schemas.microsoft.com/office/drawing/2014/main" id="{3BEE84F3-5AEE-4184-B031-1ADDF52AF4DE}"/>
                    </a:ext>
                  </a:extLst>
                </p:cNvPr>
                <p:cNvSpPr/>
                <p:nvPr/>
              </p:nvSpPr>
              <p:spPr>
                <a:xfrm>
                  <a:off x="7763356" y="2780059"/>
                  <a:ext cx="6997" cy="119"/>
                </a:xfrm>
                <a:custGeom>
                  <a:avLst/>
                  <a:gdLst>
                    <a:gd name="connsiteX0" fmla="*/ 6998 w 6997"/>
                    <a:gd name="connsiteY0" fmla="*/ 0 h 119"/>
                    <a:gd name="connsiteX1" fmla="*/ 0 w 6997"/>
                    <a:gd name="connsiteY1" fmla="*/ 120 h 119"/>
                  </a:gdLst>
                  <a:ahLst/>
                  <a:cxnLst>
                    <a:cxn ang="0">
                      <a:pos x="connsiteX0" y="connsiteY0"/>
                    </a:cxn>
                    <a:cxn ang="0">
                      <a:pos x="connsiteX1" y="connsiteY1"/>
                    </a:cxn>
                  </a:cxnLst>
                  <a:rect l="l" t="t" r="r" b="b"/>
                  <a:pathLst>
                    <a:path w="6997" h="119">
                      <a:moveTo>
                        <a:pt x="6998" y="0"/>
                      </a:moveTo>
                      <a:lnTo>
                        <a:pt x="0" y="120"/>
                      </a:lnTo>
                    </a:path>
                  </a:pathLst>
                </a:custGeom>
                <a:ln w="6350" cap="rnd">
                  <a:solidFill>
                    <a:schemeClr val="bg1">
                      <a:alpha val="40000"/>
                    </a:schemeClr>
                  </a:solidFill>
                  <a:prstDash val="solid"/>
                  <a:round/>
                </a:ln>
              </p:spPr>
              <p:txBody>
                <a:bodyPr rtlCol="0" anchor="ctr"/>
                <a:lstStyle/>
                <a:p>
                  <a:endParaRPr lang="en-GB"/>
                </a:p>
              </p:txBody>
            </p:sp>
            <p:sp>
              <p:nvSpPr>
                <p:cNvPr id="6316" name="Vrije vorm: vorm 6315">
                  <a:extLst>
                    <a:ext uri="{FF2B5EF4-FFF2-40B4-BE49-F238E27FC236}">
                      <a16:creationId xmlns:a16="http://schemas.microsoft.com/office/drawing/2014/main" id="{EA943E74-C9C1-43B8-B048-74744DE114F1}"/>
                    </a:ext>
                  </a:extLst>
                </p:cNvPr>
                <p:cNvSpPr/>
                <p:nvPr/>
              </p:nvSpPr>
              <p:spPr>
                <a:xfrm>
                  <a:off x="7770353" y="2764389"/>
                  <a:ext cx="11243" cy="15669"/>
                </a:xfrm>
                <a:custGeom>
                  <a:avLst/>
                  <a:gdLst>
                    <a:gd name="connsiteX0" fmla="*/ 0 w 11243"/>
                    <a:gd name="connsiteY0" fmla="*/ 15670 h 15669"/>
                    <a:gd name="connsiteX1" fmla="*/ 11244 w 11243"/>
                    <a:gd name="connsiteY1" fmla="*/ 0 h 15669"/>
                  </a:gdLst>
                  <a:ahLst/>
                  <a:cxnLst>
                    <a:cxn ang="0">
                      <a:pos x="connsiteX0" y="connsiteY0"/>
                    </a:cxn>
                    <a:cxn ang="0">
                      <a:pos x="connsiteX1" y="connsiteY1"/>
                    </a:cxn>
                  </a:cxnLst>
                  <a:rect l="l" t="t" r="r" b="b"/>
                  <a:pathLst>
                    <a:path w="11243" h="15669">
                      <a:moveTo>
                        <a:pt x="0" y="15670"/>
                      </a:moveTo>
                      <a:lnTo>
                        <a:pt x="11244" y="0"/>
                      </a:lnTo>
                    </a:path>
                  </a:pathLst>
                </a:custGeom>
                <a:ln w="6350" cap="rnd">
                  <a:solidFill>
                    <a:schemeClr val="bg1">
                      <a:alpha val="40000"/>
                    </a:schemeClr>
                  </a:solidFill>
                  <a:prstDash val="solid"/>
                  <a:round/>
                </a:ln>
              </p:spPr>
              <p:txBody>
                <a:bodyPr rtlCol="0" anchor="ctr"/>
                <a:lstStyle/>
                <a:p>
                  <a:endParaRPr lang="en-GB"/>
                </a:p>
              </p:txBody>
            </p:sp>
            <p:sp>
              <p:nvSpPr>
                <p:cNvPr id="6317" name="Vrije vorm: vorm 6316">
                  <a:extLst>
                    <a:ext uri="{FF2B5EF4-FFF2-40B4-BE49-F238E27FC236}">
                      <a16:creationId xmlns:a16="http://schemas.microsoft.com/office/drawing/2014/main" id="{4A7EE7DF-6A0E-45AB-93FF-BA72E29DB3BE}"/>
                    </a:ext>
                  </a:extLst>
                </p:cNvPr>
                <p:cNvSpPr/>
                <p:nvPr/>
              </p:nvSpPr>
              <p:spPr>
                <a:xfrm>
                  <a:off x="7762339" y="2758947"/>
                  <a:ext cx="8014" cy="21111"/>
                </a:xfrm>
                <a:custGeom>
                  <a:avLst/>
                  <a:gdLst>
                    <a:gd name="connsiteX0" fmla="*/ 8014 w 8014"/>
                    <a:gd name="connsiteY0" fmla="*/ 21112 h 21111"/>
                    <a:gd name="connsiteX1" fmla="*/ 0 w 8014"/>
                    <a:gd name="connsiteY1" fmla="*/ 0 h 21111"/>
                  </a:gdLst>
                  <a:ahLst/>
                  <a:cxnLst>
                    <a:cxn ang="0">
                      <a:pos x="connsiteX0" y="connsiteY0"/>
                    </a:cxn>
                    <a:cxn ang="0">
                      <a:pos x="connsiteX1" y="connsiteY1"/>
                    </a:cxn>
                  </a:cxnLst>
                  <a:rect l="l" t="t" r="r" b="b"/>
                  <a:pathLst>
                    <a:path w="8014" h="21111">
                      <a:moveTo>
                        <a:pt x="8014" y="21112"/>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18" name="Vrije vorm: vorm 6317">
                  <a:extLst>
                    <a:ext uri="{FF2B5EF4-FFF2-40B4-BE49-F238E27FC236}">
                      <a16:creationId xmlns:a16="http://schemas.microsoft.com/office/drawing/2014/main" id="{0FDAA628-2786-42F1-8B10-EB62F1FDE77E}"/>
                    </a:ext>
                  </a:extLst>
                </p:cNvPr>
                <p:cNvSpPr/>
                <p:nvPr/>
              </p:nvSpPr>
              <p:spPr>
                <a:xfrm>
                  <a:off x="7770353" y="2780059"/>
                  <a:ext cx="5442" cy="17882"/>
                </a:xfrm>
                <a:custGeom>
                  <a:avLst/>
                  <a:gdLst>
                    <a:gd name="connsiteX0" fmla="*/ 0 w 5442"/>
                    <a:gd name="connsiteY0" fmla="*/ 0 h 17882"/>
                    <a:gd name="connsiteX1" fmla="*/ 5442 w 5442"/>
                    <a:gd name="connsiteY1" fmla="*/ 17882 h 17882"/>
                  </a:gdLst>
                  <a:ahLst/>
                  <a:cxnLst>
                    <a:cxn ang="0">
                      <a:pos x="connsiteX0" y="connsiteY0"/>
                    </a:cxn>
                    <a:cxn ang="0">
                      <a:pos x="connsiteX1" y="connsiteY1"/>
                    </a:cxn>
                  </a:cxnLst>
                  <a:rect l="l" t="t" r="r" b="b"/>
                  <a:pathLst>
                    <a:path w="5442" h="17882">
                      <a:moveTo>
                        <a:pt x="0" y="0"/>
                      </a:moveTo>
                      <a:lnTo>
                        <a:pt x="5442" y="17882"/>
                      </a:lnTo>
                    </a:path>
                  </a:pathLst>
                </a:custGeom>
                <a:ln w="6350" cap="rnd">
                  <a:solidFill>
                    <a:schemeClr val="bg1">
                      <a:alpha val="40000"/>
                    </a:schemeClr>
                  </a:solidFill>
                  <a:prstDash val="solid"/>
                  <a:round/>
                </a:ln>
              </p:spPr>
              <p:txBody>
                <a:bodyPr rtlCol="0" anchor="ctr"/>
                <a:lstStyle/>
                <a:p>
                  <a:endParaRPr lang="en-GB"/>
                </a:p>
              </p:txBody>
            </p:sp>
            <p:sp>
              <p:nvSpPr>
                <p:cNvPr id="6319" name="Vrije vorm: vorm 6318">
                  <a:extLst>
                    <a:ext uri="{FF2B5EF4-FFF2-40B4-BE49-F238E27FC236}">
                      <a16:creationId xmlns:a16="http://schemas.microsoft.com/office/drawing/2014/main" id="{12AE7109-BE2C-4FF8-A601-0D8DDF9D0003}"/>
                    </a:ext>
                  </a:extLst>
                </p:cNvPr>
                <p:cNvSpPr/>
                <p:nvPr/>
              </p:nvSpPr>
              <p:spPr>
                <a:xfrm>
                  <a:off x="7753966" y="2769054"/>
                  <a:ext cx="16387" cy="11004"/>
                </a:xfrm>
                <a:custGeom>
                  <a:avLst/>
                  <a:gdLst>
                    <a:gd name="connsiteX0" fmla="*/ 16387 w 16387"/>
                    <a:gd name="connsiteY0" fmla="*/ 11005 h 11004"/>
                    <a:gd name="connsiteX1" fmla="*/ 0 w 16387"/>
                    <a:gd name="connsiteY1" fmla="*/ 0 h 11004"/>
                  </a:gdLst>
                  <a:ahLst/>
                  <a:cxnLst>
                    <a:cxn ang="0">
                      <a:pos x="connsiteX0" y="connsiteY0"/>
                    </a:cxn>
                    <a:cxn ang="0">
                      <a:pos x="connsiteX1" y="connsiteY1"/>
                    </a:cxn>
                  </a:cxnLst>
                  <a:rect l="l" t="t" r="r" b="b"/>
                  <a:pathLst>
                    <a:path w="16387" h="11004">
                      <a:moveTo>
                        <a:pt x="16387" y="11005"/>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20" name="Vrije vorm: vorm 6319">
                  <a:extLst>
                    <a:ext uri="{FF2B5EF4-FFF2-40B4-BE49-F238E27FC236}">
                      <a16:creationId xmlns:a16="http://schemas.microsoft.com/office/drawing/2014/main" id="{C93F44DC-46FF-4C70-AAED-B3DF4E33FCDA}"/>
                    </a:ext>
                  </a:extLst>
                </p:cNvPr>
                <p:cNvSpPr/>
                <p:nvPr/>
              </p:nvSpPr>
              <p:spPr>
                <a:xfrm>
                  <a:off x="7763356" y="2780178"/>
                  <a:ext cx="7834" cy="17403"/>
                </a:xfrm>
                <a:custGeom>
                  <a:avLst/>
                  <a:gdLst>
                    <a:gd name="connsiteX0" fmla="*/ 7835 w 7834"/>
                    <a:gd name="connsiteY0" fmla="*/ 17404 h 17403"/>
                    <a:gd name="connsiteX1" fmla="*/ 0 w 7834"/>
                    <a:gd name="connsiteY1" fmla="*/ 0 h 17403"/>
                  </a:gdLst>
                  <a:ahLst/>
                  <a:cxnLst>
                    <a:cxn ang="0">
                      <a:pos x="connsiteX0" y="connsiteY0"/>
                    </a:cxn>
                    <a:cxn ang="0">
                      <a:pos x="connsiteX1" y="connsiteY1"/>
                    </a:cxn>
                  </a:cxnLst>
                  <a:rect l="l" t="t" r="r" b="b"/>
                  <a:pathLst>
                    <a:path w="7834" h="17403">
                      <a:moveTo>
                        <a:pt x="7835" y="17404"/>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21" name="Vrije vorm: vorm 6320">
                  <a:extLst>
                    <a:ext uri="{FF2B5EF4-FFF2-40B4-BE49-F238E27FC236}">
                      <a16:creationId xmlns:a16="http://schemas.microsoft.com/office/drawing/2014/main" id="{102059F9-87F7-49C7-9022-76A46A055061}"/>
                    </a:ext>
                  </a:extLst>
                </p:cNvPr>
                <p:cNvSpPr/>
                <p:nvPr/>
              </p:nvSpPr>
              <p:spPr>
                <a:xfrm>
                  <a:off x="7771190" y="2797582"/>
                  <a:ext cx="4605" cy="358"/>
                </a:xfrm>
                <a:custGeom>
                  <a:avLst/>
                  <a:gdLst>
                    <a:gd name="connsiteX0" fmla="*/ 0 w 4605"/>
                    <a:gd name="connsiteY0" fmla="*/ 0 h 358"/>
                    <a:gd name="connsiteX1" fmla="*/ 4605 w 4605"/>
                    <a:gd name="connsiteY1" fmla="*/ 359 h 358"/>
                  </a:gdLst>
                  <a:ahLst/>
                  <a:cxnLst>
                    <a:cxn ang="0">
                      <a:pos x="connsiteX0" y="connsiteY0"/>
                    </a:cxn>
                    <a:cxn ang="0">
                      <a:pos x="connsiteX1" y="connsiteY1"/>
                    </a:cxn>
                  </a:cxnLst>
                  <a:rect l="l" t="t" r="r" b="b"/>
                  <a:pathLst>
                    <a:path w="4605" h="358">
                      <a:moveTo>
                        <a:pt x="0" y="0"/>
                      </a:moveTo>
                      <a:lnTo>
                        <a:pt x="4605" y="359"/>
                      </a:lnTo>
                    </a:path>
                  </a:pathLst>
                </a:custGeom>
                <a:ln w="6350" cap="rnd">
                  <a:solidFill>
                    <a:schemeClr val="bg1">
                      <a:alpha val="40000"/>
                    </a:schemeClr>
                  </a:solidFill>
                  <a:prstDash val="solid"/>
                  <a:round/>
                </a:ln>
              </p:spPr>
              <p:txBody>
                <a:bodyPr rtlCol="0" anchor="ctr"/>
                <a:lstStyle/>
                <a:p>
                  <a:endParaRPr lang="en-GB"/>
                </a:p>
              </p:txBody>
            </p:sp>
            <p:sp>
              <p:nvSpPr>
                <p:cNvPr id="6322" name="Vrije vorm: vorm 6321">
                  <a:extLst>
                    <a:ext uri="{FF2B5EF4-FFF2-40B4-BE49-F238E27FC236}">
                      <a16:creationId xmlns:a16="http://schemas.microsoft.com/office/drawing/2014/main" id="{E5CF8AEF-3BF0-46E4-BB62-9BB14F81E998}"/>
                    </a:ext>
                  </a:extLst>
                </p:cNvPr>
                <p:cNvSpPr/>
                <p:nvPr/>
              </p:nvSpPr>
              <p:spPr>
                <a:xfrm>
                  <a:off x="7745354" y="2790346"/>
                  <a:ext cx="25836" cy="7236"/>
                </a:xfrm>
                <a:custGeom>
                  <a:avLst/>
                  <a:gdLst>
                    <a:gd name="connsiteX0" fmla="*/ 25837 w 25836"/>
                    <a:gd name="connsiteY0" fmla="*/ 7237 h 7236"/>
                    <a:gd name="connsiteX1" fmla="*/ 0 w 25836"/>
                    <a:gd name="connsiteY1" fmla="*/ 0 h 7236"/>
                  </a:gdLst>
                  <a:ahLst/>
                  <a:cxnLst>
                    <a:cxn ang="0">
                      <a:pos x="connsiteX0" y="connsiteY0"/>
                    </a:cxn>
                    <a:cxn ang="0">
                      <a:pos x="connsiteX1" y="connsiteY1"/>
                    </a:cxn>
                  </a:cxnLst>
                  <a:rect l="l" t="t" r="r" b="b"/>
                  <a:pathLst>
                    <a:path w="25836" h="7236">
                      <a:moveTo>
                        <a:pt x="25837" y="7237"/>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23" name="Vrije vorm: vorm 6322">
                  <a:extLst>
                    <a:ext uri="{FF2B5EF4-FFF2-40B4-BE49-F238E27FC236}">
                      <a16:creationId xmlns:a16="http://schemas.microsoft.com/office/drawing/2014/main" id="{49A32007-6784-4AD6-9CB3-E22557C9D8F5}"/>
                    </a:ext>
                  </a:extLst>
                </p:cNvPr>
                <p:cNvSpPr/>
                <p:nvPr/>
              </p:nvSpPr>
              <p:spPr>
                <a:xfrm>
                  <a:off x="7770353" y="2780059"/>
                  <a:ext cx="837" cy="17523"/>
                </a:xfrm>
                <a:custGeom>
                  <a:avLst/>
                  <a:gdLst>
                    <a:gd name="connsiteX0" fmla="*/ 838 w 837"/>
                    <a:gd name="connsiteY0" fmla="*/ 17523 h 17523"/>
                    <a:gd name="connsiteX1" fmla="*/ 0 w 837"/>
                    <a:gd name="connsiteY1" fmla="*/ 0 h 17523"/>
                  </a:gdLst>
                  <a:ahLst/>
                  <a:cxnLst>
                    <a:cxn ang="0">
                      <a:pos x="connsiteX0" y="connsiteY0"/>
                    </a:cxn>
                    <a:cxn ang="0">
                      <a:pos x="connsiteX1" y="connsiteY1"/>
                    </a:cxn>
                  </a:cxnLst>
                  <a:rect l="l" t="t" r="r" b="b"/>
                  <a:pathLst>
                    <a:path w="837" h="17523">
                      <a:moveTo>
                        <a:pt x="838" y="17523"/>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24" name="Vrije vorm: vorm 6323">
                  <a:extLst>
                    <a:ext uri="{FF2B5EF4-FFF2-40B4-BE49-F238E27FC236}">
                      <a16:creationId xmlns:a16="http://schemas.microsoft.com/office/drawing/2014/main" id="{9D9C8779-0378-4FA8-B8BF-19C721F945A5}"/>
                    </a:ext>
                  </a:extLst>
                </p:cNvPr>
                <p:cNvSpPr/>
                <p:nvPr/>
              </p:nvSpPr>
              <p:spPr>
                <a:xfrm>
                  <a:off x="7533756" y="2744115"/>
                  <a:ext cx="5442" cy="13456"/>
                </a:xfrm>
                <a:custGeom>
                  <a:avLst/>
                  <a:gdLst>
                    <a:gd name="connsiteX0" fmla="*/ 0 w 5442"/>
                    <a:gd name="connsiteY0" fmla="*/ 13457 h 13456"/>
                    <a:gd name="connsiteX1" fmla="*/ 5442 w 5442"/>
                    <a:gd name="connsiteY1" fmla="*/ 0 h 13456"/>
                  </a:gdLst>
                  <a:ahLst/>
                  <a:cxnLst>
                    <a:cxn ang="0">
                      <a:pos x="connsiteX0" y="connsiteY0"/>
                    </a:cxn>
                    <a:cxn ang="0">
                      <a:pos x="connsiteX1" y="connsiteY1"/>
                    </a:cxn>
                  </a:cxnLst>
                  <a:rect l="l" t="t" r="r" b="b"/>
                  <a:pathLst>
                    <a:path w="5442" h="13456">
                      <a:moveTo>
                        <a:pt x="0" y="13457"/>
                      </a:moveTo>
                      <a:lnTo>
                        <a:pt x="5442" y="0"/>
                      </a:lnTo>
                    </a:path>
                  </a:pathLst>
                </a:custGeom>
                <a:ln w="6350" cap="rnd">
                  <a:solidFill>
                    <a:schemeClr val="bg1">
                      <a:alpha val="40000"/>
                    </a:schemeClr>
                  </a:solidFill>
                  <a:prstDash val="solid"/>
                  <a:round/>
                </a:ln>
              </p:spPr>
              <p:txBody>
                <a:bodyPr rtlCol="0" anchor="ctr"/>
                <a:lstStyle/>
                <a:p>
                  <a:endParaRPr lang="en-GB"/>
                </a:p>
              </p:txBody>
            </p:sp>
            <p:sp>
              <p:nvSpPr>
                <p:cNvPr id="6325" name="Vrije vorm: vorm 6324">
                  <a:extLst>
                    <a:ext uri="{FF2B5EF4-FFF2-40B4-BE49-F238E27FC236}">
                      <a16:creationId xmlns:a16="http://schemas.microsoft.com/office/drawing/2014/main" id="{1F6292DD-A319-45AF-B7C9-F743528FD56C}"/>
                    </a:ext>
                  </a:extLst>
                </p:cNvPr>
                <p:cNvSpPr/>
                <p:nvPr/>
              </p:nvSpPr>
              <p:spPr>
                <a:xfrm>
                  <a:off x="7533756" y="2740825"/>
                  <a:ext cx="1315" cy="16746"/>
                </a:xfrm>
                <a:custGeom>
                  <a:avLst/>
                  <a:gdLst>
                    <a:gd name="connsiteX0" fmla="*/ 0 w 1315"/>
                    <a:gd name="connsiteY0" fmla="*/ 16746 h 16746"/>
                    <a:gd name="connsiteX1" fmla="*/ 1315 w 1315"/>
                    <a:gd name="connsiteY1" fmla="*/ 0 h 16746"/>
                  </a:gdLst>
                  <a:ahLst/>
                  <a:cxnLst>
                    <a:cxn ang="0">
                      <a:pos x="connsiteX0" y="connsiteY0"/>
                    </a:cxn>
                    <a:cxn ang="0">
                      <a:pos x="connsiteX1" y="connsiteY1"/>
                    </a:cxn>
                  </a:cxnLst>
                  <a:rect l="l" t="t" r="r" b="b"/>
                  <a:pathLst>
                    <a:path w="1315" h="16746">
                      <a:moveTo>
                        <a:pt x="0" y="16746"/>
                      </a:moveTo>
                      <a:lnTo>
                        <a:pt x="1315" y="0"/>
                      </a:lnTo>
                    </a:path>
                  </a:pathLst>
                </a:custGeom>
                <a:ln w="6350" cap="rnd">
                  <a:solidFill>
                    <a:schemeClr val="bg1">
                      <a:alpha val="40000"/>
                    </a:schemeClr>
                  </a:solidFill>
                  <a:prstDash val="solid"/>
                  <a:round/>
                </a:ln>
              </p:spPr>
              <p:txBody>
                <a:bodyPr rtlCol="0" anchor="ctr"/>
                <a:lstStyle/>
                <a:p>
                  <a:endParaRPr lang="en-GB"/>
                </a:p>
              </p:txBody>
            </p:sp>
            <p:sp>
              <p:nvSpPr>
                <p:cNvPr id="6326" name="Vrije vorm: vorm 6325">
                  <a:extLst>
                    <a:ext uri="{FF2B5EF4-FFF2-40B4-BE49-F238E27FC236}">
                      <a16:creationId xmlns:a16="http://schemas.microsoft.com/office/drawing/2014/main" id="{563EAE57-6B45-44A2-8B33-328FA72DDFAA}"/>
                    </a:ext>
                  </a:extLst>
                </p:cNvPr>
                <p:cNvSpPr/>
                <p:nvPr/>
              </p:nvSpPr>
              <p:spPr>
                <a:xfrm>
                  <a:off x="7523828" y="2742620"/>
                  <a:ext cx="5382" cy="4485"/>
                </a:xfrm>
                <a:custGeom>
                  <a:avLst/>
                  <a:gdLst>
                    <a:gd name="connsiteX0" fmla="*/ 0 w 5382"/>
                    <a:gd name="connsiteY0" fmla="*/ 4485 h 4485"/>
                    <a:gd name="connsiteX1" fmla="*/ 5382 w 5382"/>
                    <a:gd name="connsiteY1" fmla="*/ 0 h 4485"/>
                  </a:gdLst>
                  <a:ahLst/>
                  <a:cxnLst>
                    <a:cxn ang="0">
                      <a:pos x="connsiteX0" y="connsiteY0"/>
                    </a:cxn>
                    <a:cxn ang="0">
                      <a:pos x="connsiteX1" y="connsiteY1"/>
                    </a:cxn>
                  </a:cxnLst>
                  <a:rect l="l" t="t" r="r" b="b"/>
                  <a:pathLst>
                    <a:path w="5382" h="4485">
                      <a:moveTo>
                        <a:pt x="0" y="4485"/>
                      </a:moveTo>
                      <a:lnTo>
                        <a:pt x="5382" y="0"/>
                      </a:lnTo>
                    </a:path>
                  </a:pathLst>
                </a:custGeom>
                <a:ln w="6350" cap="rnd">
                  <a:solidFill>
                    <a:schemeClr val="bg1">
                      <a:alpha val="40000"/>
                    </a:schemeClr>
                  </a:solidFill>
                  <a:prstDash val="solid"/>
                  <a:round/>
                </a:ln>
              </p:spPr>
              <p:txBody>
                <a:bodyPr rtlCol="0" anchor="ctr"/>
                <a:lstStyle/>
                <a:p>
                  <a:endParaRPr lang="en-GB"/>
                </a:p>
              </p:txBody>
            </p:sp>
            <p:sp>
              <p:nvSpPr>
                <p:cNvPr id="6327" name="Vrije vorm: vorm 6326">
                  <a:extLst>
                    <a:ext uri="{FF2B5EF4-FFF2-40B4-BE49-F238E27FC236}">
                      <a16:creationId xmlns:a16="http://schemas.microsoft.com/office/drawing/2014/main" id="{44752A4B-CA75-4385-A653-CDAA87758B24}"/>
                    </a:ext>
                  </a:extLst>
                </p:cNvPr>
                <p:cNvSpPr/>
                <p:nvPr/>
              </p:nvSpPr>
              <p:spPr>
                <a:xfrm>
                  <a:off x="7523828" y="2747105"/>
                  <a:ext cx="9927" cy="10466"/>
                </a:xfrm>
                <a:custGeom>
                  <a:avLst/>
                  <a:gdLst>
                    <a:gd name="connsiteX0" fmla="*/ 0 w 9927"/>
                    <a:gd name="connsiteY0" fmla="*/ 0 h 10466"/>
                    <a:gd name="connsiteX1" fmla="*/ 9928 w 9927"/>
                    <a:gd name="connsiteY1" fmla="*/ 10466 h 10466"/>
                  </a:gdLst>
                  <a:ahLst/>
                  <a:cxnLst>
                    <a:cxn ang="0">
                      <a:pos x="connsiteX0" y="connsiteY0"/>
                    </a:cxn>
                    <a:cxn ang="0">
                      <a:pos x="connsiteX1" y="connsiteY1"/>
                    </a:cxn>
                  </a:cxnLst>
                  <a:rect l="l" t="t" r="r" b="b"/>
                  <a:pathLst>
                    <a:path w="9927" h="10466">
                      <a:moveTo>
                        <a:pt x="0" y="0"/>
                      </a:moveTo>
                      <a:lnTo>
                        <a:pt x="9928" y="10466"/>
                      </a:lnTo>
                    </a:path>
                  </a:pathLst>
                </a:custGeom>
                <a:ln w="6350" cap="rnd">
                  <a:solidFill>
                    <a:schemeClr val="bg1">
                      <a:alpha val="40000"/>
                    </a:schemeClr>
                  </a:solidFill>
                  <a:prstDash val="solid"/>
                  <a:round/>
                </a:ln>
              </p:spPr>
              <p:txBody>
                <a:bodyPr rtlCol="0" anchor="ctr"/>
                <a:lstStyle/>
                <a:p>
                  <a:endParaRPr lang="en-GB"/>
                </a:p>
              </p:txBody>
            </p:sp>
            <p:sp>
              <p:nvSpPr>
                <p:cNvPr id="6328" name="Vrije vorm: vorm 6327">
                  <a:extLst>
                    <a:ext uri="{FF2B5EF4-FFF2-40B4-BE49-F238E27FC236}">
                      <a16:creationId xmlns:a16="http://schemas.microsoft.com/office/drawing/2014/main" id="{93E2DD4A-A590-4E4E-87BF-1A192AEC3421}"/>
                    </a:ext>
                  </a:extLst>
                </p:cNvPr>
                <p:cNvSpPr/>
                <p:nvPr/>
              </p:nvSpPr>
              <p:spPr>
                <a:xfrm>
                  <a:off x="7578312" y="2700575"/>
                  <a:ext cx="2033" cy="15131"/>
                </a:xfrm>
                <a:custGeom>
                  <a:avLst/>
                  <a:gdLst>
                    <a:gd name="connsiteX0" fmla="*/ 2034 w 2033"/>
                    <a:gd name="connsiteY0" fmla="*/ 15131 h 15131"/>
                    <a:gd name="connsiteX1" fmla="*/ 0 w 2033"/>
                    <a:gd name="connsiteY1" fmla="*/ 0 h 15131"/>
                  </a:gdLst>
                  <a:ahLst/>
                  <a:cxnLst>
                    <a:cxn ang="0">
                      <a:pos x="connsiteX0" y="connsiteY0"/>
                    </a:cxn>
                    <a:cxn ang="0">
                      <a:pos x="connsiteX1" y="connsiteY1"/>
                    </a:cxn>
                  </a:cxnLst>
                  <a:rect l="l" t="t" r="r" b="b"/>
                  <a:pathLst>
                    <a:path w="2033" h="15131">
                      <a:moveTo>
                        <a:pt x="2034" y="15131"/>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29" name="Vrije vorm: vorm 6328">
                  <a:extLst>
                    <a:ext uri="{FF2B5EF4-FFF2-40B4-BE49-F238E27FC236}">
                      <a16:creationId xmlns:a16="http://schemas.microsoft.com/office/drawing/2014/main" id="{FC3163EC-8FC1-4613-86CA-B2A4E2119A32}"/>
                    </a:ext>
                  </a:extLst>
                </p:cNvPr>
                <p:cNvSpPr/>
                <p:nvPr/>
              </p:nvSpPr>
              <p:spPr>
                <a:xfrm>
                  <a:off x="7580345" y="2709905"/>
                  <a:ext cx="8133" cy="5801"/>
                </a:xfrm>
                <a:custGeom>
                  <a:avLst/>
                  <a:gdLst>
                    <a:gd name="connsiteX0" fmla="*/ 0 w 8133"/>
                    <a:gd name="connsiteY0" fmla="*/ 5801 h 5801"/>
                    <a:gd name="connsiteX1" fmla="*/ 8134 w 8133"/>
                    <a:gd name="connsiteY1" fmla="*/ 0 h 5801"/>
                  </a:gdLst>
                  <a:ahLst/>
                  <a:cxnLst>
                    <a:cxn ang="0">
                      <a:pos x="connsiteX0" y="connsiteY0"/>
                    </a:cxn>
                    <a:cxn ang="0">
                      <a:pos x="connsiteX1" y="connsiteY1"/>
                    </a:cxn>
                  </a:cxnLst>
                  <a:rect l="l" t="t" r="r" b="b"/>
                  <a:pathLst>
                    <a:path w="8133" h="5801">
                      <a:moveTo>
                        <a:pt x="0" y="5801"/>
                      </a:moveTo>
                      <a:lnTo>
                        <a:pt x="8134" y="0"/>
                      </a:lnTo>
                    </a:path>
                  </a:pathLst>
                </a:custGeom>
                <a:ln w="6350" cap="rnd">
                  <a:solidFill>
                    <a:schemeClr val="bg1">
                      <a:alpha val="40000"/>
                    </a:schemeClr>
                  </a:solidFill>
                  <a:prstDash val="solid"/>
                  <a:round/>
                </a:ln>
              </p:spPr>
              <p:txBody>
                <a:bodyPr rtlCol="0" anchor="ctr"/>
                <a:lstStyle/>
                <a:p>
                  <a:endParaRPr lang="en-GB"/>
                </a:p>
              </p:txBody>
            </p:sp>
            <p:sp>
              <p:nvSpPr>
                <p:cNvPr id="6330" name="Vrije vorm: vorm 6329">
                  <a:extLst>
                    <a:ext uri="{FF2B5EF4-FFF2-40B4-BE49-F238E27FC236}">
                      <a16:creationId xmlns:a16="http://schemas.microsoft.com/office/drawing/2014/main" id="{4E563408-7FD2-4FCE-8A72-7E857E98E9A3}"/>
                    </a:ext>
                  </a:extLst>
                </p:cNvPr>
                <p:cNvSpPr/>
                <p:nvPr/>
              </p:nvSpPr>
              <p:spPr>
                <a:xfrm>
                  <a:off x="7580345" y="2715706"/>
                  <a:ext cx="9030" cy="1076"/>
                </a:xfrm>
                <a:custGeom>
                  <a:avLst/>
                  <a:gdLst>
                    <a:gd name="connsiteX0" fmla="*/ 0 w 9030"/>
                    <a:gd name="connsiteY0" fmla="*/ 0 h 1076"/>
                    <a:gd name="connsiteX1" fmla="*/ 9031 w 9030"/>
                    <a:gd name="connsiteY1" fmla="*/ 1076 h 1076"/>
                  </a:gdLst>
                  <a:ahLst/>
                  <a:cxnLst>
                    <a:cxn ang="0">
                      <a:pos x="connsiteX0" y="connsiteY0"/>
                    </a:cxn>
                    <a:cxn ang="0">
                      <a:pos x="connsiteX1" y="connsiteY1"/>
                    </a:cxn>
                  </a:cxnLst>
                  <a:rect l="l" t="t" r="r" b="b"/>
                  <a:pathLst>
                    <a:path w="9030" h="1076">
                      <a:moveTo>
                        <a:pt x="0" y="0"/>
                      </a:moveTo>
                      <a:lnTo>
                        <a:pt x="9031" y="1076"/>
                      </a:lnTo>
                    </a:path>
                  </a:pathLst>
                </a:custGeom>
                <a:ln w="6350" cap="rnd">
                  <a:solidFill>
                    <a:schemeClr val="bg1">
                      <a:alpha val="40000"/>
                    </a:schemeClr>
                  </a:solidFill>
                  <a:prstDash val="solid"/>
                  <a:round/>
                </a:ln>
              </p:spPr>
              <p:txBody>
                <a:bodyPr rtlCol="0" anchor="ctr"/>
                <a:lstStyle/>
                <a:p>
                  <a:endParaRPr lang="en-GB"/>
                </a:p>
              </p:txBody>
            </p:sp>
            <p:sp>
              <p:nvSpPr>
                <p:cNvPr id="6331" name="Vrije vorm: vorm 6330">
                  <a:extLst>
                    <a:ext uri="{FF2B5EF4-FFF2-40B4-BE49-F238E27FC236}">
                      <a16:creationId xmlns:a16="http://schemas.microsoft.com/office/drawing/2014/main" id="{9B832BE7-6C7A-46A0-B3A6-EC66FD7DD091}"/>
                    </a:ext>
                  </a:extLst>
                </p:cNvPr>
                <p:cNvSpPr/>
                <p:nvPr/>
              </p:nvSpPr>
              <p:spPr>
                <a:xfrm>
                  <a:off x="7637282" y="2717201"/>
                  <a:ext cx="17882" cy="3409"/>
                </a:xfrm>
                <a:custGeom>
                  <a:avLst/>
                  <a:gdLst>
                    <a:gd name="connsiteX0" fmla="*/ 0 w 17882"/>
                    <a:gd name="connsiteY0" fmla="*/ 3409 h 3409"/>
                    <a:gd name="connsiteX1" fmla="*/ 17882 w 17882"/>
                    <a:gd name="connsiteY1" fmla="*/ 0 h 3409"/>
                  </a:gdLst>
                  <a:ahLst/>
                  <a:cxnLst>
                    <a:cxn ang="0">
                      <a:pos x="connsiteX0" y="connsiteY0"/>
                    </a:cxn>
                    <a:cxn ang="0">
                      <a:pos x="connsiteX1" y="connsiteY1"/>
                    </a:cxn>
                  </a:cxnLst>
                  <a:rect l="l" t="t" r="r" b="b"/>
                  <a:pathLst>
                    <a:path w="17882" h="3409">
                      <a:moveTo>
                        <a:pt x="0" y="3409"/>
                      </a:moveTo>
                      <a:lnTo>
                        <a:pt x="17882" y="0"/>
                      </a:lnTo>
                    </a:path>
                  </a:pathLst>
                </a:custGeom>
                <a:ln w="6350" cap="rnd">
                  <a:solidFill>
                    <a:schemeClr val="bg1">
                      <a:alpha val="40000"/>
                    </a:schemeClr>
                  </a:solidFill>
                  <a:prstDash val="solid"/>
                  <a:round/>
                </a:ln>
              </p:spPr>
              <p:txBody>
                <a:bodyPr rtlCol="0" anchor="ctr"/>
                <a:lstStyle/>
                <a:p>
                  <a:endParaRPr lang="en-GB"/>
                </a:p>
              </p:txBody>
            </p:sp>
            <p:sp>
              <p:nvSpPr>
                <p:cNvPr id="6332" name="Vrije vorm: vorm 6331">
                  <a:extLst>
                    <a:ext uri="{FF2B5EF4-FFF2-40B4-BE49-F238E27FC236}">
                      <a16:creationId xmlns:a16="http://schemas.microsoft.com/office/drawing/2014/main" id="{A2C64255-9CE1-433B-B788-FB53ABECACCC}"/>
                    </a:ext>
                  </a:extLst>
                </p:cNvPr>
                <p:cNvSpPr/>
                <p:nvPr/>
              </p:nvSpPr>
              <p:spPr>
                <a:xfrm>
                  <a:off x="7624962" y="2720610"/>
                  <a:ext cx="12320" cy="13037"/>
                </a:xfrm>
                <a:custGeom>
                  <a:avLst/>
                  <a:gdLst>
                    <a:gd name="connsiteX0" fmla="*/ 12320 w 12320"/>
                    <a:gd name="connsiteY0" fmla="*/ 0 h 13037"/>
                    <a:gd name="connsiteX1" fmla="*/ 0 w 12320"/>
                    <a:gd name="connsiteY1" fmla="*/ 13038 h 13037"/>
                  </a:gdLst>
                  <a:ahLst/>
                  <a:cxnLst>
                    <a:cxn ang="0">
                      <a:pos x="connsiteX0" y="connsiteY0"/>
                    </a:cxn>
                    <a:cxn ang="0">
                      <a:pos x="connsiteX1" y="connsiteY1"/>
                    </a:cxn>
                  </a:cxnLst>
                  <a:rect l="l" t="t" r="r" b="b"/>
                  <a:pathLst>
                    <a:path w="12320" h="13037">
                      <a:moveTo>
                        <a:pt x="12320" y="0"/>
                      </a:moveTo>
                      <a:lnTo>
                        <a:pt x="0" y="13038"/>
                      </a:lnTo>
                    </a:path>
                  </a:pathLst>
                </a:custGeom>
                <a:ln w="6350" cap="rnd">
                  <a:solidFill>
                    <a:schemeClr val="bg1">
                      <a:alpha val="40000"/>
                    </a:schemeClr>
                  </a:solidFill>
                  <a:prstDash val="solid"/>
                  <a:round/>
                </a:ln>
              </p:spPr>
              <p:txBody>
                <a:bodyPr rtlCol="0" anchor="ctr"/>
                <a:lstStyle/>
                <a:p>
                  <a:endParaRPr lang="en-GB"/>
                </a:p>
              </p:txBody>
            </p:sp>
            <p:sp>
              <p:nvSpPr>
                <p:cNvPr id="6333" name="Vrije vorm: vorm 6332">
                  <a:extLst>
                    <a:ext uri="{FF2B5EF4-FFF2-40B4-BE49-F238E27FC236}">
                      <a16:creationId xmlns:a16="http://schemas.microsoft.com/office/drawing/2014/main" id="{7673C9C6-E67B-4A60-88EC-EEE44CE77996}"/>
                    </a:ext>
                  </a:extLst>
                </p:cNvPr>
                <p:cNvSpPr/>
                <p:nvPr/>
              </p:nvSpPr>
              <p:spPr>
                <a:xfrm>
                  <a:off x="7637282" y="2704463"/>
                  <a:ext cx="3528" cy="16147"/>
                </a:xfrm>
                <a:custGeom>
                  <a:avLst/>
                  <a:gdLst>
                    <a:gd name="connsiteX0" fmla="*/ 0 w 3528"/>
                    <a:gd name="connsiteY0" fmla="*/ 16148 h 16147"/>
                    <a:gd name="connsiteX1" fmla="*/ 3529 w 3528"/>
                    <a:gd name="connsiteY1" fmla="*/ 0 h 16147"/>
                  </a:gdLst>
                  <a:ahLst/>
                  <a:cxnLst>
                    <a:cxn ang="0">
                      <a:pos x="connsiteX0" y="connsiteY0"/>
                    </a:cxn>
                    <a:cxn ang="0">
                      <a:pos x="connsiteX1" y="connsiteY1"/>
                    </a:cxn>
                  </a:cxnLst>
                  <a:rect l="l" t="t" r="r" b="b"/>
                  <a:pathLst>
                    <a:path w="3528" h="16147">
                      <a:moveTo>
                        <a:pt x="0" y="16148"/>
                      </a:moveTo>
                      <a:lnTo>
                        <a:pt x="3529" y="0"/>
                      </a:lnTo>
                    </a:path>
                  </a:pathLst>
                </a:custGeom>
                <a:ln w="6350" cap="rnd">
                  <a:solidFill>
                    <a:schemeClr val="bg1">
                      <a:alpha val="40000"/>
                    </a:schemeClr>
                  </a:solidFill>
                  <a:prstDash val="solid"/>
                  <a:round/>
                </a:ln>
              </p:spPr>
              <p:txBody>
                <a:bodyPr rtlCol="0" anchor="ctr"/>
                <a:lstStyle/>
                <a:p>
                  <a:endParaRPr lang="en-GB"/>
                </a:p>
              </p:txBody>
            </p:sp>
            <p:sp>
              <p:nvSpPr>
                <p:cNvPr id="6334" name="Vrije vorm: vorm 6333">
                  <a:extLst>
                    <a:ext uri="{FF2B5EF4-FFF2-40B4-BE49-F238E27FC236}">
                      <a16:creationId xmlns:a16="http://schemas.microsoft.com/office/drawing/2014/main" id="{DC86664F-8133-49BC-8177-82540C43CF2F}"/>
                    </a:ext>
                  </a:extLst>
                </p:cNvPr>
                <p:cNvSpPr/>
                <p:nvPr/>
              </p:nvSpPr>
              <p:spPr>
                <a:xfrm>
                  <a:off x="7634112" y="2720610"/>
                  <a:ext cx="3169" cy="15609"/>
                </a:xfrm>
                <a:custGeom>
                  <a:avLst/>
                  <a:gdLst>
                    <a:gd name="connsiteX0" fmla="*/ 3170 w 3169"/>
                    <a:gd name="connsiteY0" fmla="*/ 0 h 15609"/>
                    <a:gd name="connsiteX1" fmla="*/ 0 w 3169"/>
                    <a:gd name="connsiteY1" fmla="*/ 15610 h 15609"/>
                  </a:gdLst>
                  <a:ahLst/>
                  <a:cxnLst>
                    <a:cxn ang="0">
                      <a:pos x="connsiteX0" y="connsiteY0"/>
                    </a:cxn>
                    <a:cxn ang="0">
                      <a:pos x="connsiteX1" y="connsiteY1"/>
                    </a:cxn>
                  </a:cxnLst>
                  <a:rect l="l" t="t" r="r" b="b"/>
                  <a:pathLst>
                    <a:path w="3169" h="15609">
                      <a:moveTo>
                        <a:pt x="3170" y="0"/>
                      </a:moveTo>
                      <a:lnTo>
                        <a:pt x="0" y="15610"/>
                      </a:lnTo>
                    </a:path>
                  </a:pathLst>
                </a:custGeom>
                <a:ln w="6350" cap="rnd">
                  <a:solidFill>
                    <a:schemeClr val="bg1">
                      <a:alpha val="40000"/>
                    </a:schemeClr>
                  </a:solidFill>
                  <a:prstDash val="solid"/>
                  <a:round/>
                </a:ln>
              </p:spPr>
              <p:txBody>
                <a:bodyPr rtlCol="0" anchor="ctr"/>
                <a:lstStyle/>
                <a:p>
                  <a:endParaRPr lang="en-GB"/>
                </a:p>
              </p:txBody>
            </p:sp>
            <p:sp>
              <p:nvSpPr>
                <p:cNvPr id="6335" name="Vrije vorm: vorm 6334">
                  <a:extLst>
                    <a:ext uri="{FF2B5EF4-FFF2-40B4-BE49-F238E27FC236}">
                      <a16:creationId xmlns:a16="http://schemas.microsoft.com/office/drawing/2014/main" id="{6DF32114-DBD6-47F9-889D-386A351572C7}"/>
                    </a:ext>
                  </a:extLst>
                </p:cNvPr>
                <p:cNvSpPr/>
                <p:nvPr/>
              </p:nvSpPr>
              <p:spPr>
                <a:xfrm>
                  <a:off x="7617605" y="2720610"/>
                  <a:ext cx="19676" cy="2153"/>
                </a:xfrm>
                <a:custGeom>
                  <a:avLst/>
                  <a:gdLst>
                    <a:gd name="connsiteX0" fmla="*/ 19677 w 19676"/>
                    <a:gd name="connsiteY0" fmla="*/ 0 h 2153"/>
                    <a:gd name="connsiteX1" fmla="*/ 0 w 19676"/>
                    <a:gd name="connsiteY1" fmla="*/ 2153 h 2153"/>
                  </a:gdLst>
                  <a:ahLst/>
                  <a:cxnLst>
                    <a:cxn ang="0">
                      <a:pos x="connsiteX0" y="connsiteY0"/>
                    </a:cxn>
                    <a:cxn ang="0">
                      <a:pos x="connsiteX1" y="connsiteY1"/>
                    </a:cxn>
                  </a:cxnLst>
                  <a:rect l="l" t="t" r="r" b="b"/>
                  <a:pathLst>
                    <a:path w="19676" h="2153">
                      <a:moveTo>
                        <a:pt x="19677" y="0"/>
                      </a:moveTo>
                      <a:lnTo>
                        <a:pt x="0" y="2153"/>
                      </a:lnTo>
                    </a:path>
                  </a:pathLst>
                </a:custGeom>
                <a:ln w="6350" cap="rnd">
                  <a:solidFill>
                    <a:schemeClr val="bg1">
                      <a:alpha val="40000"/>
                    </a:schemeClr>
                  </a:solidFill>
                  <a:prstDash val="solid"/>
                  <a:round/>
                </a:ln>
              </p:spPr>
              <p:txBody>
                <a:bodyPr rtlCol="0" anchor="ctr"/>
                <a:lstStyle/>
                <a:p>
                  <a:endParaRPr lang="en-GB"/>
                </a:p>
              </p:txBody>
            </p:sp>
            <p:sp>
              <p:nvSpPr>
                <p:cNvPr id="6336" name="Vrije vorm: vorm 6335">
                  <a:extLst>
                    <a:ext uri="{FF2B5EF4-FFF2-40B4-BE49-F238E27FC236}">
                      <a16:creationId xmlns:a16="http://schemas.microsoft.com/office/drawing/2014/main" id="{69C95310-6DDE-40EC-9A25-27B7D58F0A7A}"/>
                    </a:ext>
                  </a:extLst>
                </p:cNvPr>
                <p:cNvSpPr/>
                <p:nvPr/>
              </p:nvSpPr>
              <p:spPr>
                <a:xfrm>
                  <a:off x="7742782" y="2797881"/>
                  <a:ext cx="2452" cy="21052"/>
                </a:xfrm>
                <a:custGeom>
                  <a:avLst/>
                  <a:gdLst>
                    <a:gd name="connsiteX0" fmla="*/ 0 w 2452"/>
                    <a:gd name="connsiteY0" fmla="*/ 0 h 21052"/>
                    <a:gd name="connsiteX1" fmla="*/ 2452 w 2452"/>
                    <a:gd name="connsiteY1" fmla="*/ 21052 h 21052"/>
                  </a:gdLst>
                  <a:ahLst/>
                  <a:cxnLst>
                    <a:cxn ang="0">
                      <a:pos x="connsiteX0" y="connsiteY0"/>
                    </a:cxn>
                    <a:cxn ang="0">
                      <a:pos x="connsiteX1" y="connsiteY1"/>
                    </a:cxn>
                  </a:cxnLst>
                  <a:rect l="l" t="t" r="r" b="b"/>
                  <a:pathLst>
                    <a:path w="2452" h="21052">
                      <a:moveTo>
                        <a:pt x="0" y="0"/>
                      </a:moveTo>
                      <a:lnTo>
                        <a:pt x="2452" y="21052"/>
                      </a:lnTo>
                    </a:path>
                  </a:pathLst>
                </a:custGeom>
                <a:ln w="6350" cap="rnd">
                  <a:solidFill>
                    <a:schemeClr val="bg1">
                      <a:alpha val="40000"/>
                    </a:schemeClr>
                  </a:solidFill>
                  <a:prstDash val="solid"/>
                  <a:round/>
                </a:ln>
              </p:spPr>
              <p:txBody>
                <a:bodyPr rtlCol="0" anchor="ctr"/>
                <a:lstStyle/>
                <a:p>
                  <a:endParaRPr lang="en-GB"/>
                </a:p>
              </p:txBody>
            </p:sp>
            <p:sp>
              <p:nvSpPr>
                <p:cNvPr id="6337" name="Vrije vorm: vorm 6336">
                  <a:extLst>
                    <a:ext uri="{FF2B5EF4-FFF2-40B4-BE49-F238E27FC236}">
                      <a16:creationId xmlns:a16="http://schemas.microsoft.com/office/drawing/2014/main" id="{E8F05BFE-0FA3-4F5C-B1B4-94620B7878C4}"/>
                    </a:ext>
                  </a:extLst>
                </p:cNvPr>
                <p:cNvSpPr/>
                <p:nvPr/>
              </p:nvSpPr>
              <p:spPr>
                <a:xfrm>
                  <a:off x="7728129" y="2777068"/>
                  <a:ext cx="14652" cy="20812"/>
                </a:xfrm>
                <a:custGeom>
                  <a:avLst/>
                  <a:gdLst>
                    <a:gd name="connsiteX0" fmla="*/ 14653 w 14652"/>
                    <a:gd name="connsiteY0" fmla="*/ 20813 h 20812"/>
                    <a:gd name="connsiteX1" fmla="*/ 0 w 14652"/>
                    <a:gd name="connsiteY1" fmla="*/ 0 h 20812"/>
                  </a:gdLst>
                  <a:ahLst/>
                  <a:cxnLst>
                    <a:cxn ang="0">
                      <a:pos x="connsiteX0" y="connsiteY0"/>
                    </a:cxn>
                    <a:cxn ang="0">
                      <a:pos x="connsiteX1" y="connsiteY1"/>
                    </a:cxn>
                  </a:cxnLst>
                  <a:rect l="l" t="t" r="r" b="b"/>
                  <a:pathLst>
                    <a:path w="14652" h="20812">
                      <a:moveTo>
                        <a:pt x="14653" y="20813"/>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38" name="Vrije vorm: vorm 6337">
                  <a:extLst>
                    <a:ext uri="{FF2B5EF4-FFF2-40B4-BE49-F238E27FC236}">
                      <a16:creationId xmlns:a16="http://schemas.microsoft.com/office/drawing/2014/main" id="{3C257578-57D2-445B-BAE2-427C8AC6F46D}"/>
                    </a:ext>
                  </a:extLst>
                </p:cNvPr>
                <p:cNvSpPr/>
                <p:nvPr/>
              </p:nvSpPr>
              <p:spPr>
                <a:xfrm>
                  <a:off x="7742782" y="2797881"/>
                  <a:ext cx="9090" cy="24102"/>
                </a:xfrm>
                <a:custGeom>
                  <a:avLst/>
                  <a:gdLst>
                    <a:gd name="connsiteX0" fmla="*/ 0 w 9090"/>
                    <a:gd name="connsiteY0" fmla="*/ 0 h 24102"/>
                    <a:gd name="connsiteX1" fmla="*/ 9090 w 9090"/>
                    <a:gd name="connsiteY1" fmla="*/ 24102 h 24102"/>
                  </a:gdLst>
                  <a:ahLst/>
                  <a:cxnLst>
                    <a:cxn ang="0">
                      <a:pos x="connsiteX0" y="connsiteY0"/>
                    </a:cxn>
                    <a:cxn ang="0">
                      <a:pos x="connsiteX1" y="connsiteY1"/>
                    </a:cxn>
                  </a:cxnLst>
                  <a:rect l="l" t="t" r="r" b="b"/>
                  <a:pathLst>
                    <a:path w="9090" h="24102">
                      <a:moveTo>
                        <a:pt x="0" y="0"/>
                      </a:moveTo>
                      <a:lnTo>
                        <a:pt x="9090" y="24102"/>
                      </a:lnTo>
                    </a:path>
                  </a:pathLst>
                </a:custGeom>
                <a:ln w="6350" cap="rnd">
                  <a:solidFill>
                    <a:schemeClr val="bg1">
                      <a:alpha val="40000"/>
                    </a:schemeClr>
                  </a:solidFill>
                  <a:prstDash val="solid"/>
                  <a:round/>
                </a:ln>
              </p:spPr>
              <p:txBody>
                <a:bodyPr rtlCol="0" anchor="ctr"/>
                <a:lstStyle/>
                <a:p>
                  <a:endParaRPr lang="en-GB"/>
                </a:p>
              </p:txBody>
            </p:sp>
            <p:sp>
              <p:nvSpPr>
                <p:cNvPr id="6339" name="Vrije vorm: vorm 6338">
                  <a:extLst>
                    <a:ext uri="{FF2B5EF4-FFF2-40B4-BE49-F238E27FC236}">
                      <a16:creationId xmlns:a16="http://schemas.microsoft.com/office/drawing/2014/main" id="{DD9FADF7-6567-49E0-8BE0-7022F243FB99}"/>
                    </a:ext>
                  </a:extLst>
                </p:cNvPr>
                <p:cNvSpPr/>
                <p:nvPr/>
              </p:nvSpPr>
              <p:spPr>
                <a:xfrm>
                  <a:off x="7742782" y="2790346"/>
                  <a:ext cx="2571" cy="7535"/>
                </a:xfrm>
                <a:custGeom>
                  <a:avLst/>
                  <a:gdLst>
                    <a:gd name="connsiteX0" fmla="*/ 0 w 2571"/>
                    <a:gd name="connsiteY0" fmla="*/ 7536 h 7535"/>
                    <a:gd name="connsiteX1" fmla="*/ 2572 w 2571"/>
                    <a:gd name="connsiteY1" fmla="*/ 0 h 7535"/>
                  </a:gdLst>
                  <a:ahLst/>
                  <a:cxnLst>
                    <a:cxn ang="0">
                      <a:pos x="connsiteX0" y="connsiteY0"/>
                    </a:cxn>
                    <a:cxn ang="0">
                      <a:pos x="connsiteX1" y="connsiteY1"/>
                    </a:cxn>
                  </a:cxnLst>
                  <a:rect l="l" t="t" r="r" b="b"/>
                  <a:pathLst>
                    <a:path w="2571" h="7535">
                      <a:moveTo>
                        <a:pt x="0" y="7536"/>
                      </a:moveTo>
                      <a:lnTo>
                        <a:pt x="2572" y="0"/>
                      </a:lnTo>
                    </a:path>
                  </a:pathLst>
                </a:custGeom>
                <a:ln w="6350" cap="rnd">
                  <a:solidFill>
                    <a:schemeClr val="bg1">
                      <a:alpha val="40000"/>
                    </a:schemeClr>
                  </a:solidFill>
                  <a:prstDash val="solid"/>
                  <a:round/>
                </a:ln>
              </p:spPr>
              <p:txBody>
                <a:bodyPr rtlCol="0" anchor="ctr"/>
                <a:lstStyle/>
                <a:p>
                  <a:endParaRPr lang="en-GB"/>
                </a:p>
              </p:txBody>
            </p:sp>
            <p:sp>
              <p:nvSpPr>
                <p:cNvPr id="6340" name="Vrije vorm: vorm 6339">
                  <a:extLst>
                    <a:ext uri="{FF2B5EF4-FFF2-40B4-BE49-F238E27FC236}">
                      <a16:creationId xmlns:a16="http://schemas.microsoft.com/office/drawing/2014/main" id="{87FCA41B-FD03-4C57-8801-EFDDABA2F023}"/>
                    </a:ext>
                  </a:extLst>
                </p:cNvPr>
                <p:cNvSpPr/>
                <p:nvPr/>
              </p:nvSpPr>
              <p:spPr>
                <a:xfrm>
                  <a:off x="7608096" y="2689331"/>
                  <a:ext cx="17045" cy="17822"/>
                </a:xfrm>
                <a:custGeom>
                  <a:avLst/>
                  <a:gdLst>
                    <a:gd name="connsiteX0" fmla="*/ 0 w 17045"/>
                    <a:gd name="connsiteY0" fmla="*/ 17823 h 17822"/>
                    <a:gd name="connsiteX1" fmla="*/ 17045 w 17045"/>
                    <a:gd name="connsiteY1" fmla="*/ 0 h 17822"/>
                  </a:gdLst>
                  <a:ahLst/>
                  <a:cxnLst>
                    <a:cxn ang="0">
                      <a:pos x="connsiteX0" y="connsiteY0"/>
                    </a:cxn>
                    <a:cxn ang="0">
                      <a:pos x="connsiteX1" y="connsiteY1"/>
                    </a:cxn>
                  </a:cxnLst>
                  <a:rect l="l" t="t" r="r" b="b"/>
                  <a:pathLst>
                    <a:path w="17045" h="17822">
                      <a:moveTo>
                        <a:pt x="0" y="17823"/>
                      </a:moveTo>
                      <a:lnTo>
                        <a:pt x="17045" y="0"/>
                      </a:lnTo>
                    </a:path>
                  </a:pathLst>
                </a:custGeom>
                <a:ln w="6350" cap="rnd">
                  <a:solidFill>
                    <a:schemeClr val="bg1">
                      <a:alpha val="40000"/>
                    </a:schemeClr>
                  </a:solidFill>
                  <a:prstDash val="solid"/>
                  <a:round/>
                </a:ln>
              </p:spPr>
              <p:txBody>
                <a:bodyPr rtlCol="0" anchor="ctr"/>
                <a:lstStyle/>
                <a:p>
                  <a:endParaRPr lang="en-GB"/>
                </a:p>
              </p:txBody>
            </p:sp>
            <p:sp>
              <p:nvSpPr>
                <p:cNvPr id="6341" name="Vrije vorm: vorm 6340">
                  <a:extLst>
                    <a:ext uri="{FF2B5EF4-FFF2-40B4-BE49-F238E27FC236}">
                      <a16:creationId xmlns:a16="http://schemas.microsoft.com/office/drawing/2014/main" id="{74575B62-3F45-4BE0-8361-61618356E03C}"/>
                    </a:ext>
                  </a:extLst>
                </p:cNvPr>
                <p:cNvSpPr/>
                <p:nvPr/>
              </p:nvSpPr>
              <p:spPr>
                <a:xfrm>
                  <a:off x="7608096" y="2704463"/>
                  <a:ext cx="32714" cy="2691"/>
                </a:xfrm>
                <a:custGeom>
                  <a:avLst/>
                  <a:gdLst>
                    <a:gd name="connsiteX0" fmla="*/ 0 w 32714"/>
                    <a:gd name="connsiteY0" fmla="*/ 2691 h 2691"/>
                    <a:gd name="connsiteX1" fmla="*/ 32715 w 32714"/>
                    <a:gd name="connsiteY1" fmla="*/ 0 h 2691"/>
                  </a:gdLst>
                  <a:ahLst/>
                  <a:cxnLst>
                    <a:cxn ang="0">
                      <a:pos x="connsiteX0" y="connsiteY0"/>
                    </a:cxn>
                    <a:cxn ang="0">
                      <a:pos x="connsiteX1" y="connsiteY1"/>
                    </a:cxn>
                  </a:cxnLst>
                  <a:rect l="l" t="t" r="r" b="b"/>
                  <a:pathLst>
                    <a:path w="32714" h="2691">
                      <a:moveTo>
                        <a:pt x="0" y="2691"/>
                      </a:moveTo>
                      <a:lnTo>
                        <a:pt x="32715" y="0"/>
                      </a:lnTo>
                    </a:path>
                  </a:pathLst>
                </a:custGeom>
                <a:ln w="6350" cap="rnd">
                  <a:solidFill>
                    <a:schemeClr val="bg1">
                      <a:alpha val="40000"/>
                    </a:schemeClr>
                  </a:solidFill>
                  <a:prstDash val="solid"/>
                  <a:round/>
                </a:ln>
              </p:spPr>
              <p:txBody>
                <a:bodyPr rtlCol="0" anchor="ctr"/>
                <a:lstStyle/>
                <a:p>
                  <a:endParaRPr lang="en-GB"/>
                </a:p>
              </p:txBody>
            </p:sp>
            <p:sp>
              <p:nvSpPr>
                <p:cNvPr id="6342" name="Vrije vorm: vorm 6341">
                  <a:extLst>
                    <a:ext uri="{FF2B5EF4-FFF2-40B4-BE49-F238E27FC236}">
                      <a16:creationId xmlns:a16="http://schemas.microsoft.com/office/drawing/2014/main" id="{8E068507-BDD6-4F05-9B4D-CC5F8A77650D}"/>
                    </a:ext>
                  </a:extLst>
                </p:cNvPr>
                <p:cNvSpPr/>
                <p:nvPr/>
              </p:nvSpPr>
              <p:spPr>
                <a:xfrm>
                  <a:off x="7608096" y="2707154"/>
                  <a:ext cx="9509" cy="15609"/>
                </a:xfrm>
                <a:custGeom>
                  <a:avLst/>
                  <a:gdLst>
                    <a:gd name="connsiteX0" fmla="*/ 0 w 9509"/>
                    <a:gd name="connsiteY0" fmla="*/ 0 h 15609"/>
                    <a:gd name="connsiteX1" fmla="*/ 9509 w 9509"/>
                    <a:gd name="connsiteY1" fmla="*/ 15610 h 15609"/>
                  </a:gdLst>
                  <a:ahLst/>
                  <a:cxnLst>
                    <a:cxn ang="0">
                      <a:pos x="connsiteX0" y="connsiteY0"/>
                    </a:cxn>
                    <a:cxn ang="0">
                      <a:pos x="connsiteX1" y="connsiteY1"/>
                    </a:cxn>
                  </a:cxnLst>
                  <a:rect l="l" t="t" r="r" b="b"/>
                  <a:pathLst>
                    <a:path w="9509" h="15609">
                      <a:moveTo>
                        <a:pt x="0" y="0"/>
                      </a:moveTo>
                      <a:lnTo>
                        <a:pt x="9509" y="15610"/>
                      </a:lnTo>
                    </a:path>
                  </a:pathLst>
                </a:custGeom>
                <a:ln w="6350" cap="rnd">
                  <a:solidFill>
                    <a:schemeClr val="bg1">
                      <a:alpha val="40000"/>
                    </a:schemeClr>
                  </a:solidFill>
                  <a:prstDash val="solid"/>
                  <a:round/>
                </a:ln>
              </p:spPr>
              <p:txBody>
                <a:bodyPr rtlCol="0" anchor="ctr"/>
                <a:lstStyle/>
                <a:p>
                  <a:endParaRPr lang="en-GB"/>
                </a:p>
              </p:txBody>
            </p:sp>
            <p:sp>
              <p:nvSpPr>
                <p:cNvPr id="6343" name="Vrije vorm: vorm 6342">
                  <a:extLst>
                    <a:ext uri="{FF2B5EF4-FFF2-40B4-BE49-F238E27FC236}">
                      <a16:creationId xmlns:a16="http://schemas.microsoft.com/office/drawing/2014/main" id="{18F321BD-4721-414F-AD9A-73EA3D81080D}"/>
                    </a:ext>
                  </a:extLst>
                </p:cNvPr>
                <p:cNvSpPr/>
                <p:nvPr/>
              </p:nvSpPr>
              <p:spPr>
                <a:xfrm>
                  <a:off x="7604687" y="2707154"/>
                  <a:ext cx="3409" cy="24281"/>
                </a:xfrm>
                <a:custGeom>
                  <a:avLst/>
                  <a:gdLst>
                    <a:gd name="connsiteX0" fmla="*/ 3409 w 3409"/>
                    <a:gd name="connsiteY0" fmla="*/ 0 h 24281"/>
                    <a:gd name="connsiteX1" fmla="*/ 0 w 3409"/>
                    <a:gd name="connsiteY1" fmla="*/ 24282 h 24281"/>
                  </a:gdLst>
                  <a:ahLst/>
                  <a:cxnLst>
                    <a:cxn ang="0">
                      <a:pos x="connsiteX0" y="connsiteY0"/>
                    </a:cxn>
                    <a:cxn ang="0">
                      <a:pos x="connsiteX1" y="connsiteY1"/>
                    </a:cxn>
                  </a:cxnLst>
                  <a:rect l="l" t="t" r="r" b="b"/>
                  <a:pathLst>
                    <a:path w="3409" h="24281">
                      <a:moveTo>
                        <a:pt x="3409" y="0"/>
                      </a:moveTo>
                      <a:lnTo>
                        <a:pt x="0" y="24282"/>
                      </a:lnTo>
                    </a:path>
                  </a:pathLst>
                </a:custGeom>
                <a:ln w="6350" cap="rnd">
                  <a:solidFill>
                    <a:schemeClr val="bg1">
                      <a:alpha val="40000"/>
                    </a:schemeClr>
                  </a:solidFill>
                  <a:prstDash val="solid"/>
                  <a:round/>
                </a:ln>
              </p:spPr>
              <p:txBody>
                <a:bodyPr rtlCol="0" anchor="ctr"/>
                <a:lstStyle/>
                <a:p>
                  <a:endParaRPr lang="en-GB"/>
                </a:p>
              </p:txBody>
            </p:sp>
            <p:sp>
              <p:nvSpPr>
                <p:cNvPr id="6344" name="Vrije vorm: vorm 6343">
                  <a:extLst>
                    <a:ext uri="{FF2B5EF4-FFF2-40B4-BE49-F238E27FC236}">
                      <a16:creationId xmlns:a16="http://schemas.microsoft.com/office/drawing/2014/main" id="{9917A8D5-75C4-4702-90B8-64E3296248C9}"/>
                    </a:ext>
                  </a:extLst>
                </p:cNvPr>
                <p:cNvSpPr/>
                <p:nvPr/>
              </p:nvSpPr>
              <p:spPr>
                <a:xfrm>
                  <a:off x="7596792" y="2691425"/>
                  <a:ext cx="11303" cy="15729"/>
                </a:xfrm>
                <a:custGeom>
                  <a:avLst/>
                  <a:gdLst>
                    <a:gd name="connsiteX0" fmla="*/ 11304 w 11303"/>
                    <a:gd name="connsiteY0" fmla="*/ 15729 h 15729"/>
                    <a:gd name="connsiteX1" fmla="*/ 0 w 11303"/>
                    <a:gd name="connsiteY1" fmla="*/ 0 h 15729"/>
                  </a:gdLst>
                  <a:ahLst/>
                  <a:cxnLst>
                    <a:cxn ang="0">
                      <a:pos x="connsiteX0" y="connsiteY0"/>
                    </a:cxn>
                    <a:cxn ang="0">
                      <a:pos x="connsiteX1" y="connsiteY1"/>
                    </a:cxn>
                  </a:cxnLst>
                  <a:rect l="l" t="t" r="r" b="b"/>
                  <a:pathLst>
                    <a:path w="11303" h="15729">
                      <a:moveTo>
                        <a:pt x="11304" y="15729"/>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45" name="Vrije vorm: vorm 6344">
                  <a:extLst>
                    <a:ext uri="{FF2B5EF4-FFF2-40B4-BE49-F238E27FC236}">
                      <a16:creationId xmlns:a16="http://schemas.microsoft.com/office/drawing/2014/main" id="{83542CE4-98B7-49E3-9E4A-4CBD99E885C0}"/>
                    </a:ext>
                  </a:extLst>
                </p:cNvPr>
                <p:cNvSpPr/>
                <p:nvPr/>
              </p:nvSpPr>
              <p:spPr>
                <a:xfrm>
                  <a:off x="7564676" y="2659009"/>
                  <a:ext cx="18420" cy="19138"/>
                </a:xfrm>
                <a:custGeom>
                  <a:avLst/>
                  <a:gdLst>
                    <a:gd name="connsiteX0" fmla="*/ 0 w 18420"/>
                    <a:gd name="connsiteY0" fmla="*/ 19138 h 19138"/>
                    <a:gd name="connsiteX1" fmla="*/ 18420 w 18420"/>
                    <a:gd name="connsiteY1" fmla="*/ 0 h 19138"/>
                  </a:gdLst>
                  <a:ahLst/>
                  <a:cxnLst>
                    <a:cxn ang="0">
                      <a:pos x="connsiteX0" y="connsiteY0"/>
                    </a:cxn>
                    <a:cxn ang="0">
                      <a:pos x="connsiteX1" y="connsiteY1"/>
                    </a:cxn>
                  </a:cxnLst>
                  <a:rect l="l" t="t" r="r" b="b"/>
                  <a:pathLst>
                    <a:path w="18420" h="19138">
                      <a:moveTo>
                        <a:pt x="0" y="19138"/>
                      </a:moveTo>
                      <a:lnTo>
                        <a:pt x="18420" y="0"/>
                      </a:lnTo>
                    </a:path>
                  </a:pathLst>
                </a:custGeom>
                <a:ln w="6350" cap="rnd">
                  <a:solidFill>
                    <a:schemeClr val="bg1">
                      <a:alpha val="40000"/>
                    </a:schemeClr>
                  </a:solidFill>
                  <a:prstDash val="solid"/>
                  <a:round/>
                </a:ln>
              </p:spPr>
              <p:txBody>
                <a:bodyPr rtlCol="0" anchor="ctr"/>
                <a:lstStyle/>
                <a:p>
                  <a:endParaRPr lang="en-GB"/>
                </a:p>
              </p:txBody>
            </p:sp>
            <p:sp>
              <p:nvSpPr>
                <p:cNvPr id="6346" name="Vrije vorm: vorm 6345">
                  <a:extLst>
                    <a:ext uri="{FF2B5EF4-FFF2-40B4-BE49-F238E27FC236}">
                      <a16:creationId xmlns:a16="http://schemas.microsoft.com/office/drawing/2014/main" id="{3370347E-8A03-492C-ABA1-DC10D898E1A4}"/>
                    </a:ext>
                  </a:extLst>
                </p:cNvPr>
                <p:cNvSpPr/>
                <p:nvPr/>
              </p:nvSpPr>
              <p:spPr>
                <a:xfrm>
                  <a:off x="7564676" y="2668339"/>
                  <a:ext cx="12619" cy="9808"/>
                </a:xfrm>
                <a:custGeom>
                  <a:avLst/>
                  <a:gdLst>
                    <a:gd name="connsiteX0" fmla="*/ 0 w 12619"/>
                    <a:gd name="connsiteY0" fmla="*/ 9808 h 9808"/>
                    <a:gd name="connsiteX1" fmla="*/ 12619 w 12619"/>
                    <a:gd name="connsiteY1" fmla="*/ 0 h 9808"/>
                  </a:gdLst>
                  <a:ahLst/>
                  <a:cxnLst>
                    <a:cxn ang="0">
                      <a:pos x="connsiteX0" y="connsiteY0"/>
                    </a:cxn>
                    <a:cxn ang="0">
                      <a:pos x="connsiteX1" y="connsiteY1"/>
                    </a:cxn>
                  </a:cxnLst>
                  <a:rect l="l" t="t" r="r" b="b"/>
                  <a:pathLst>
                    <a:path w="12619" h="9808">
                      <a:moveTo>
                        <a:pt x="0" y="9808"/>
                      </a:moveTo>
                      <a:lnTo>
                        <a:pt x="12619" y="0"/>
                      </a:lnTo>
                    </a:path>
                  </a:pathLst>
                </a:custGeom>
                <a:ln w="6350" cap="rnd">
                  <a:solidFill>
                    <a:schemeClr val="bg1">
                      <a:alpha val="40000"/>
                    </a:schemeClr>
                  </a:solidFill>
                  <a:prstDash val="solid"/>
                  <a:round/>
                </a:ln>
              </p:spPr>
              <p:txBody>
                <a:bodyPr rtlCol="0" anchor="ctr"/>
                <a:lstStyle/>
                <a:p>
                  <a:endParaRPr lang="en-GB"/>
                </a:p>
              </p:txBody>
            </p:sp>
            <p:sp>
              <p:nvSpPr>
                <p:cNvPr id="6347" name="Vrije vorm: vorm 6346">
                  <a:extLst>
                    <a:ext uri="{FF2B5EF4-FFF2-40B4-BE49-F238E27FC236}">
                      <a16:creationId xmlns:a16="http://schemas.microsoft.com/office/drawing/2014/main" id="{AFBE222B-8663-4579-BC12-B074B9BEF290}"/>
                    </a:ext>
                  </a:extLst>
                </p:cNvPr>
                <p:cNvSpPr/>
                <p:nvPr/>
              </p:nvSpPr>
              <p:spPr>
                <a:xfrm>
                  <a:off x="7595776" y="2797523"/>
                  <a:ext cx="1854" cy="7715"/>
                </a:xfrm>
                <a:custGeom>
                  <a:avLst/>
                  <a:gdLst>
                    <a:gd name="connsiteX0" fmla="*/ 0 w 1854"/>
                    <a:gd name="connsiteY0" fmla="*/ 7715 h 7715"/>
                    <a:gd name="connsiteX1" fmla="*/ 1854 w 1854"/>
                    <a:gd name="connsiteY1" fmla="*/ 0 h 7715"/>
                  </a:gdLst>
                  <a:ahLst/>
                  <a:cxnLst>
                    <a:cxn ang="0">
                      <a:pos x="connsiteX0" y="connsiteY0"/>
                    </a:cxn>
                    <a:cxn ang="0">
                      <a:pos x="connsiteX1" y="connsiteY1"/>
                    </a:cxn>
                  </a:cxnLst>
                  <a:rect l="l" t="t" r="r" b="b"/>
                  <a:pathLst>
                    <a:path w="1854" h="7715">
                      <a:moveTo>
                        <a:pt x="0" y="7715"/>
                      </a:moveTo>
                      <a:lnTo>
                        <a:pt x="1854" y="0"/>
                      </a:lnTo>
                    </a:path>
                  </a:pathLst>
                </a:custGeom>
                <a:ln w="6350" cap="rnd">
                  <a:solidFill>
                    <a:schemeClr val="bg1">
                      <a:alpha val="40000"/>
                    </a:schemeClr>
                  </a:solidFill>
                  <a:prstDash val="solid"/>
                  <a:round/>
                </a:ln>
              </p:spPr>
              <p:txBody>
                <a:bodyPr rtlCol="0" anchor="ctr"/>
                <a:lstStyle/>
                <a:p>
                  <a:endParaRPr lang="en-GB"/>
                </a:p>
              </p:txBody>
            </p:sp>
            <p:sp>
              <p:nvSpPr>
                <p:cNvPr id="6348" name="Vrije vorm: vorm 6347">
                  <a:extLst>
                    <a:ext uri="{FF2B5EF4-FFF2-40B4-BE49-F238E27FC236}">
                      <a16:creationId xmlns:a16="http://schemas.microsoft.com/office/drawing/2014/main" id="{4D49AC85-0BC9-472A-809C-F1FD5F3513B6}"/>
                    </a:ext>
                  </a:extLst>
                </p:cNvPr>
                <p:cNvSpPr/>
                <p:nvPr/>
              </p:nvSpPr>
              <p:spPr>
                <a:xfrm>
                  <a:off x="7595776" y="2798898"/>
                  <a:ext cx="12918" cy="6339"/>
                </a:xfrm>
                <a:custGeom>
                  <a:avLst/>
                  <a:gdLst>
                    <a:gd name="connsiteX0" fmla="*/ 0 w 12918"/>
                    <a:gd name="connsiteY0" fmla="*/ 6340 h 6339"/>
                    <a:gd name="connsiteX1" fmla="*/ 12918 w 12918"/>
                    <a:gd name="connsiteY1" fmla="*/ 0 h 6339"/>
                  </a:gdLst>
                  <a:ahLst/>
                  <a:cxnLst>
                    <a:cxn ang="0">
                      <a:pos x="connsiteX0" y="connsiteY0"/>
                    </a:cxn>
                    <a:cxn ang="0">
                      <a:pos x="connsiteX1" y="connsiteY1"/>
                    </a:cxn>
                  </a:cxnLst>
                  <a:rect l="l" t="t" r="r" b="b"/>
                  <a:pathLst>
                    <a:path w="12918" h="6339">
                      <a:moveTo>
                        <a:pt x="0" y="6340"/>
                      </a:moveTo>
                      <a:lnTo>
                        <a:pt x="12918" y="0"/>
                      </a:lnTo>
                    </a:path>
                  </a:pathLst>
                </a:custGeom>
                <a:ln w="6350" cap="rnd">
                  <a:solidFill>
                    <a:schemeClr val="bg1">
                      <a:alpha val="40000"/>
                    </a:schemeClr>
                  </a:solidFill>
                  <a:prstDash val="solid"/>
                  <a:round/>
                </a:ln>
              </p:spPr>
              <p:txBody>
                <a:bodyPr rtlCol="0" anchor="ctr"/>
                <a:lstStyle/>
                <a:p>
                  <a:endParaRPr lang="en-GB"/>
                </a:p>
              </p:txBody>
            </p:sp>
            <p:sp>
              <p:nvSpPr>
                <p:cNvPr id="6349" name="Vrije vorm: vorm 6348">
                  <a:extLst>
                    <a:ext uri="{FF2B5EF4-FFF2-40B4-BE49-F238E27FC236}">
                      <a16:creationId xmlns:a16="http://schemas.microsoft.com/office/drawing/2014/main" id="{BFA3772A-A433-4FB0-988D-C2385E7ED4AD}"/>
                    </a:ext>
                  </a:extLst>
                </p:cNvPr>
                <p:cNvSpPr/>
                <p:nvPr/>
              </p:nvSpPr>
              <p:spPr>
                <a:xfrm>
                  <a:off x="7579269" y="2805238"/>
                  <a:ext cx="16506" cy="12978"/>
                </a:xfrm>
                <a:custGeom>
                  <a:avLst/>
                  <a:gdLst>
                    <a:gd name="connsiteX0" fmla="*/ 16507 w 16506"/>
                    <a:gd name="connsiteY0" fmla="*/ 0 h 12978"/>
                    <a:gd name="connsiteX1" fmla="*/ 0 w 16506"/>
                    <a:gd name="connsiteY1" fmla="*/ 12978 h 12978"/>
                  </a:gdLst>
                  <a:ahLst/>
                  <a:cxnLst>
                    <a:cxn ang="0">
                      <a:pos x="connsiteX0" y="connsiteY0"/>
                    </a:cxn>
                    <a:cxn ang="0">
                      <a:pos x="connsiteX1" y="connsiteY1"/>
                    </a:cxn>
                  </a:cxnLst>
                  <a:rect l="l" t="t" r="r" b="b"/>
                  <a:pathLst>
                    <a:path w="16506" h="12978">
                      <a:moveTo>
                        <a:pt x="16507" y="0"/>
                      </a:moveTo>
                      <a:lnTo>
                        <a:pt x="0" y="12978"/>
                      </a:lnTo>
                    </a:path>
                  </a:pathLst>
                </a:custGeom>
                <a:ln w="6350" cap="rnd">
                  <a:solidFill>
                    <a:schemeClr val="bg1">
                      <a:alpha val="40000"/>
                    </a:schemeClr>
                  </a:solidFill>
                  <a:prstDash val="solid"/>
                  <a:round/>
                </a:ln>
              </p:spPr>
              <p:txBody>
                <a:bodyPr rtlCol="0" anchor="ctr"/>
                <a:lstStyle/>
                <a:p>
                  <a:endParaRPr lang="en-GB"/>
                </a:p>
              </p:txBody>
            </p:sp>
            <p:sp>
              <p:nvSpPr>
                <p:cNvPr id="6350" name="Vrije vorm: vorm 6349">
                  <a:extLst>
                    <a:ext uri="{FF2B5EF4-FFF2-40B4-BE49-F238E27FC236}">
                      <a16:creationId xmlns:a16="http://schemas.microsoft.com/office/drawing/2014/main" id="{672B6C62-5053-450A-B223-F37AC0F20737}"/>
                    </a:ext>
                  </a:extLst>
                </p:cNvPr>
                <p:cNvSpPr/>
                <p:nvPr/>
              </p:nvSpPr>
              <p:spPr>
                <a:xfrm>
                  <a:off x="7578671" y="2805238"/>
                  <a:ext cx="17104" cy="14712"/>
                </a:xfrm>
                <a:custGeom>
                  <a:avLst/>
                  <a:gdLst>
                    <a:gd name="connsiteX0" fmla="*/ 17105 w 17104"/>
                    <a:gd name="connsiteY0" fmla="*/ 0 h 14712"/>
                    <a:gd name="connsiteX1" fmla="*/ 0 w 17104"/>
                    <a:gd name="connsiteY1" fmla="*/ 14712 h 14712"/>
                  </a:gdLst>
                  <a:ahLst/>
                  <a:cxnLst>
                    <a:cxn ang="0">
                      <a:pos x="connsiteX0" y="connsiteY0"/>
                    </a:cxn>
                    <a:cxn ang="0">
                      <a:pos x="connsiteX1" y="connsiteY1"/>
                    </a:cxn>
                  </a:cxnLst>
                  <a:rect l="l" t="t" r="r" b="b"/>
                  <a:pathLst>
                    <a:path w="17104" h="14712">
                      <a:moveTo>
                        <a:pt x="17105" y="0"/>
                      </a:moveTo>
                      <a:lnTo>
                        <a:pt x="0" y="14712"/>
                      </a:lnTo>
                    </a:path>
                  </a:pathLst>
                </a:custGeom>
                <a:ln w="6350" cap="rnd">
                  <a:solidFill>
                    <a:schemeClr val="bg1">
                      <a:alpha val="40000"/>
                    </a:schemeClr>
                  </a:solidFill>
                  <a:prstDash val="solid"/>
                  <a:round/>
                </a:ln>
              </p:spPr>
              <p:txBody>
                <a:bodyPr rtlCol="0" anchor="ctr"/>
                <a:lstStyle/>
                <a:p>
                  <a:endParaRPr lang="en-GB"/>
                </a:p>
              </p:txBody>
            </p:sp>
            <p:sp>
              <p:nvSpPr>
                <p:cNvPr id="6351" name="Vrije vorm: vorm 6350">
                  <a:extLst>
                    <a:ext uri="{FF2B5EF4-FFF2-40B4-BE49-F238E27FC236}">
                      <a16:creationId xmlns:a16="http://schemas.microsoft.com/office/drawing/2014/main" id="{44E19090-72AA-4D1C-9DF1-B2E38AAFE51E}"/>
                    </a:ext>
                  </a:extLst>
                </p:cNvPr>
                <p:cNvSpPr/>
                <p:nvPr/>
              </p:nvSpPr>
              <p:spPr>
                <a:xfrm>
                  <a:off x="7582558" y="2722524"/>
                  <a:ext cx="119" cy="777"/>
                </a:xfrm>
                <a:custGeom>
                  <a:avLst/>
                  <a:gdLst>
                    <a:gd name="connsiteX0" fmla="*/ 120 w 119"/>
                    <a:gd name="connsiteY0" fmla="*/ 778 h 777"/>
                    <a:gd name="connsiteX1" fmla="*/ 0 w 119"/>
                    <a:gd name="connsiteY1" fmla="*/ 0 h 777"/>
                  </a:gdLst>
                  <a:ahLst/>
                  <a:cxnLst>
                    <a:cxn ang="0">
                      <a:pos x="connsiteX0" y="connsiteY0"/>
                    </a:cxn>
                    <a:cxn ang="0">
                      <a:pos x="connsiteX1" y="connsiteY1"/>
                    </a:cxn>
                  </a:cxnLst>
                  <a:rect l="l" t="t" r="r" b="b"/>
                  <a:pathLst>
                    <a:path w="119" h="777">
                      <a:moveTo>
                        <a:pt x="120" y="778"/>
                      </a:moveTo>
                      <a:lnTo>
                        <a:pt x="0" y="0"/>
                      </a:lnTo>
                    </a:path>
                  </a:pathLst>
                </a:custGeom>
                <a:ln w="6350" cap="rnd">
                  <a:solidFill>
                    <a:schemeClr val="bg1">
                      <a:alpha val="40000"/>
                    </a:schemeClr>
                  </a:solidFill>
                  <a:prstDash val="solid"/>
                  <a:round/>
                </a:ln>
              </p:spPr>
              <p:txBody>
                <a:bodyPr rtlCol="0" anchor="ctr"/>
                <a:lstStyle/>
                <a:p>
                  <a:endParaRPr lang="en-GB"/>
                </a:p>
              </p:txBody>
            </p:sp>
            <p:sp>
              <p:nvSpPr>
                <p:cNvPr id="6352" name="Vrije vorm: vorm 6351">
                  <a:extLst>
                    <a:ext uri="{FF2B5EF4-FFF2-40B4-BE49-F238E27FC236}">
                      <a16:creationId xmlns:a16="http://schemas.microsoft.com/office/drawing/2014/main" id="{85509594-C44D-4822-B774-ADECBA820330}"/>
                    </a:ext>
                  </a:extLst>
                </p:cNvPr>
                <p:cNvSpPr/>
                <p:nvPr/>
              </p:nvSpPr>
              <p:spPr>
                <a:xfrm>
                  <a:off x="7535012" y="2685444"/>
                  <a:ext cx="14832" cy="14891"/>
                </a:xfrm>
                <a:custGeom>
                  <a:avLst/>
                  <a:gdLst>
                    <a:gd name="connsiteX0" fmla="*/ 14832 w 14832"/>
                    <a:gd name="connsiteY0" fmla="*/ 0 h 14891"/>
                    <a:gd name="connsiteX1" fmla="*/ 0 w 14832"/>
                    <a:gd name="connsiteY1" fmla="*/ 14892 h 14891"/>
                  </a:gdLst>
                  <a:ahLst/>
                  <a:cxnLst>
                    <a:cxn ang="0">
                      <a:pos x="connsiteX0" y="connsiteY0"/>
                    </a:cxn>
                    <a:cxn ang="0">
                      <a:pos x="connsiteX1" y="connsiteY1"/>
                    </a:cxn>
                  </a:cxnLst>
                  <a:rect l="l" t="t" r="r" b="b"/>
                  <a:pathLst>
                    <a:path w="14832" h="14891">
                      <a:moveTo>
                        <a:pt x="14832" y="0"/>
                      </a:moveTo>
                      <a:lnTo>
                        <a:pt x="0" y="14892"/>
                      </a:lnTo>
                    </a:path>
                  </a:pathLst>
                </a:custGeom>
                <a:ln w="6350" cap="rnd">
                  <a:solidFill>
                    <a:schemeClr val="bg1">
                      <a:alpha val="40000"/>
                    </a:schemeClr>
                  </a:solidFill>
                  <a:prstDash val="solid"/>
                  <a:round/>
                </a:ln>
              </p:spPr>
              <p:txBody>
                <a:bodyPr rtlCol="0" anchor="ctr"/>
                <a:lstStyle/>
                <a:p>
                  <a:endParaRPr lang="en-GB"/>
                </a:p>
              </p:txBody>
            </p:sp>
            <p:sp>
              <p:nvSpPr>
                <p:cNvPr id="6353" name="Vrije vorm: vorm 6352">
                  <a:extLst>
                    <a:ext uri="{FF2B5EF4-FFF2-40B4-BE49-F238E27FC236}">
                      <a16:creationId xmlns:a16="http://schemas.microsoft.com/office/drawing/2014/main" id="{CE3D334A-D32B-41A4-8C3E-572344AB08C6}"/>
                    </a:ext>
                  </a:extLst>
                </p:cNvPr>
                <p:cNvSpPr/>
                <p:nvPr/>
              </p:nvSpPr>
              <p:spPr>
                <a:xfrm>
                  <a:off x="7527835" y="2685444"/>
                  <a:ext cx="22009" cy="20513"/>
                </a:xfrm>
                <a:custGeom>
                  <a:avLst/>
                  <a:gdLst>
                    <a:gd name="connsiteX0" fmla="*/ 22009 w 22009"/>
                    <a:gd name="connsiteY0" fmla="*/ 0 h 20513"/>
                    <a:gd name="connsiteX1" fmla="*/ 0 w 22009"/>
                    <a:gd name="connsiteY1" fmla="*/ 20514 h 20513"/>
                  </a:gdLst>
                  <a:ahLst/>
                  <a:cxnLst>
                    <a:cxn ang="0">
                      <a:pos x="connsiteX0" y="connsiteY0"/>
                    </a:cxn>
                    <a:cxn ang="0">
                      <a:pos x="connsiteX1" y="connsiteY1"/>
                    </a:cxn>
                  </a:cxnLst>
                  <a:rect l="l" t="t" r="r" b="b"/>
                  <a:pathLst>
                    <a:path w="22009" h="20513">
                      <a:moveTo>
                        <a:pt x="22009" y="0"/>
                      </a:moveTo>
                      <a:lnTo>
                        <a:pt x="0" y="20514"/>
                      </a:lnTo>
                    </a:path>
                  </a:pathLst>
                </a:custGeom>
                <a:ln w="6350" cap="rnd">
                  <a:solidFill>
                    <a:schemeClr val="bg1">
                      <a:alpha val="40000"/>
                    </a:schemeClr>
                  </a:solidFill>
                  <a:prstDash val="solid"/>
                  <a:round/>
                </a:ln>
              </p:spPr>
              <p:txBody>
                <a:bodyPr rtlCol="0" anchor="ctr"/>
                <a:lstStyle/>
                <a:p>
                  <a:endParaRPr lang="en-GB"/>
                </a:p>
              </p:txBody>
            </p:sp>
            <p:sp>
              <p:nvSpPr>
                <p:cNvPr id="6354" name="Vrije vorm: vorm 6353">
                  <a:extLst>
                    <a:ext uri="{FF2B5EF4-FFF2-40B4-BE49-F238E27FC236}">
                      <a16:creationId xmlns:a16="http://schemas.microsoft.com/office/drawing/2014/main" id="{99E75010-6119-4B10-8456-E2D7B2B6B630}"/>
                    </a:ext>
                  </a:extLst>
                </p:cNvPr>
                <p:cNvSpPr/>
                <p:nvPr/>
              </p:nvSpPr>
              <p:spPr>
                <a:xfrm>
                  <a:off x="7548468" y="2685444"/>
                  <a:ext cx="1375" cy="1734"/>
                </a:xfrm>
                <a:custGeom>
                  <a:avLst/>
                  <a:gdLst>
                    <a:gd name="connsiteX0" fmla="*/ 1376 w 1375"/>
                    <a:gd name="connsiteY0" fmla="*/ 0 h 1734"/>
                    <a:gd name="connsiteX1" fmla="*/ 0 w 1375"/>
                    <a:gd name="connsiteY1" fmla="*/ 1734 h 1734"/>
                  </a:gdLst>
                  <a:ahLst/>
                  <a:cxnLst>
                    <a:cxn ang="0">
                      <a:pos x="connsiteX0" y="connsiteY0"/>
                    </a:cxn>
                    <a:cxn ang="0">
                      <a:pos x="connsiteX1" y="connsiteY1"/>
                    </a:cxn>
                  </a:cxnLst>
                  <a:rect l="l" t="t" r="r" b="b"/>
                  <a:pathLst>
                    <a:path w="1375" h="1734">
                      <a:moveTo>
                        <a:pt x="1376" y="0"/>
                      </a:moveTo>
                      <a:lnTo>
                        <a:pt x="0" y="1734"/>
                      </a:lnTo>
                    </a:path>
                  </a:pathLst>
                </a:custGeom>
                <a:ln w="6350" cap="rnd">
                  <a:solidFill>
                    <a:schemeClr val="bg1">
                      <a:alpha val="40000"/>
                    </a:schemeClr>
                  </a:solidFill>
                  <a:prstDash val="solid"/>
                  <a:round/>
                </a:ln>
              </p:spPr>
              <p:txBody>
                <a:bodyPr rtlCol="0" anchor="ctr"/>
                <a:lstStyle/>
                <a:p>
                  <a:endParaRPr lang="en-GB"/>
                </a:p>
              </p:txBody>
            </p:sp>
            <p:sp>
              <p:nvSpPr>
                <p:cNvPr id="6355" name="Vrije vorm: vorm 6354">
                  <a:extLst>
                    <a:ext uri="{FF2B5EF4-FFF2-40B4-BE49-F238E27FC236}">
                      <a16:creationId xmlns:a16="http://schemas.microsoft.com/office/drawing/2014/main" id="{EB10BED5-55B5-4C12-B15A-583817FE05B9}"/>
                    </a:ext>
                  </a:extLst>
                </p:cNvPr>
                <p:cNvSpPr/>
                <p:nvPr/>
              </p:nvSpPr>
              <p:spPr>
                <a:xfrm>
                  <a:off x="7549844" y="2678147"/>
                  <a:ext cx="14832" cy="7296"/>
                </a:xfrm>
                <a:custGeom>
                  <a:avLst/>
                  <a:gdLst>
                    <a:gd name="connsiteX0" fmla="*/ 0 w 14832"/>
                    <a:gd name="connsiteY0" fmla="*/ 7296 h 7296"/>
                    <a:gd name="connsiteX1" fmla="*/ 14832 w 14832"/>
                    <a:gd name="connsiteY1" fmla="*/ 0 h 7296"/>
                  </a:gdLst>
                  <a:ahLst/>
                  <a:cxnLst>
                    <a:cxn ang="0">
                      <a:pos x="connsiteX0" y="connsiteY0"/>
                    </a:cxn>
                    <a:cxn ang="0">
                      <a:pos x="connsiteX1" y="connsiteY1"/>
                    </a:cxn>
                  </a:cxnLst>
                  <a:rect l="l" t="t" r="r" b="b"/>
                  <a:pathLst>
                    <a:path w="14832" h="7296">
                      <a:moveTo>
                        <a:pt x="0" y="7296"/>
                      </a:moveTo>
                      <a:lnTo>
                        <a:pt x="14832" y="0"/>
                      </a:lnTo>
                    </a:path>
                  </a:pathLst>
                </a:custGeom>
                <a:ln w="6350" cap="rnd">
                  <a:solidFill>
                    <a:schemeClr val="bg1">
                      <a:alpha val="40000"/>
                    </a:schemeClr>
                  </a:solidFill>
                  <a:prstDash val="solid"/>
                  <a:round/>
                </a:ln>
              </p:spPr>
              <p:txBody>
                <a:bodyPr rtlCol="0" anchor="ctr"/>
                <a:lstStyle/>
                <a:p>
                  <a:endParaRPr lang="en-GB"/>
                </a:p>
              </p:txBody>
            </p:sp>
          </p:grpSp>
          <p:grpSp>
            <p:nvGrpSpPr>
              <p:cNvPr id="5361" name="Graphic 3">
                <a:extLst>
                  <a:ext uri="{FF2B5EF4-FFF2-40B4-BE49-F238E27FC236}">
                    <a16:creationId xmlns:a16="http://schemas.microsoft.com/office/drawing/2014/main" id="{2164C59E-EC04-4D21-990B-6E0D9694D802}"/>
                  </a:ext>
                </a:extLst>
              </p:cNvPr>
              <p:cNvGrpSpPr/>
              <p:nvPr/>
            </p:nvGrpSpPr>
            <p:grpSpPr>
              <a:xfrm>
                <a:off x="7820749" y="2747706"/>
                <a:ext cx="31414" cy="28103"/>
                <a:chOff x="7820749" y="2747706"/>
                <a:chExt cx="31414" cy="28103"/>
              </a:xfrm>
              <a:solidFill>
                <a:srgbClr val="FFFFFF"/>
              </a:solidFill>
            </p:grpSpPr>
            <p:sp>
              <p:nvSpPr>
                <p:cNvPr id="5879" name="Vrije vorm: vorm 5878">
                  <a:extLst>
                    <a:ext uri="{FF2B5EF4-FFF2-40B4-BE49-F238E27FC236}">
                      <a16:creationId xmlns:a16="http://schemas.microsoft.com/office/drawing/2014/main" id="{471A643C-019E-4479-98C5-B6CA6E3C1FCF}"/>
                    </a:ext>
                  </a:extLst>
                </p:cNvPr>
                <p:cNvSpPr/>
                <p:nvPr/>
              </p:nvSpPr>
              <p:spPr>
                <a:xfrm>
                  <a:off x="7823238" y="2767951"/>
                  <a:ext cx="8611" cy="7857"/>
                </a:xfrm>
                <a:custGeom>
                  <a:avLst/>
                  <a:gdLst>
                    <a:gd name="connsiteX0" fmla="*/ 6145 w 8611"/>
                    <a:gd name="connsiteY0" fmla="*/ 7562 h 7857"/>
                    <a:gd name="connsiteX1" fmla="*/ 6026 w 8611"/>
                    <a:gd name="connsiteY1" fmla="*/ 7443 h 7857"/>
                    <a:gd name="connsiteX2" fmla="*/ 523 w 8611"/>
                    <a:gd name="connsiteY2" fmla="*/ 2778 h 7857"/>
                    <a:gd name="connsiteX3" fmla="*/ 344 w 8611"/>
                    <a:gd name="connsiteY3" fmla="*/ 744 h 7857"/>
                    <a:gd name="connsiteX4" fmla="*/ 2377 w 8611"/>
                    <a:gd name="connsiteY4" fmla="*/ 206 h 7857"/>
                    <a:gd name="connsiteX5" fmla="*/ 8298 w 8611"/>
                    <a:gd name="connsiteY5" fmla="*/ 5230 h 7857"/>
                    <a:gd name="connsiteX6" fmla="*/ 8059 w 8611"/>
                    <a:gd name="connsiteY6" fmla="*/ 7323 h 7857"/>
                    <a:gd name="connsiteX7" fmla="*/ 6145 w 8611"/>
                    <a:gd name="connsiteY7" fmla="*/ 7562 h 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1" h="7857">
                      <a:moveTo>
                        <a:pt x="6145" y="7562"/>
                      </a:moveTo>
                      <a:cubicBezTo>
                        <a:pt x="6085" y="7562"/>
                        <a:pt x="6085" y="7503"/>
                        <a:pt x="6026" y="7443"/>
                      </a:cubicBezTo>
                      <a:cubicBezTo>
                        <a:pt x="4052" y="5289"/>
                        <a:pt x="2975" y="4392"/>
                        <a:pt x="523" y="2778"/>
                      </a:cubicBezTo>
                      <a:cubicBezTo>
                        <a:pt x="-75" y="2359"/>
                        <a:pt x="-195" y="1462"/>
                        <a:pt x="344" y="744"/>
                      </a:cubicBezTo>
                      <a:cubicBezTo>
                        <a:pt x="882" y="27"/>
                        <a:pt x="1779" y="-213"/>
                        <a:pt x="2377" y="206"/>
                      </a:cubicBezTo>
                      <a:cubicBezTo>
                        <a:pt x="5009" y="1940"/>
                        <a:pt x="6205" y="2957"/>
                        <a:pt x="8298" y="5230"/>
                      </a:cubicBezTo>
                      <a:cubicBezTo>
                        <a:pt x="8776" y="5768"/>
                        <a:pt x="8717" y="6725"/>
                        <a:pt x="8059" y="7323"/>
                      </a:cubicBezTo>
                      <a:cubicBezTo>
                        <a:pt x="7521" y="7921"/>
                        <a:pt x="6683" y="8041"/>
                        <a:pt x="6145" y="7562"/>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880" name="Vrije vorm: vorm 5879">
                  <a:extLst>
                    <a:ext uri="{FF2B5EF4-FFF2-40B4-BE49-F238E27FC236}">
                      <a16:creationId xmlns:a16="http://schemas.microsoft.com/office/drawing/2014/main" id="{E825CA02-4C33-4ADD-B923-2BAF4607F4E4}"/>
                    </a:ext>
                  </a:extLst>
                </p:cNvPr>
                <p:cNvSpPr/>
                <p:nvPr/>
              </p:nvSpPr>
              <p:spPr>
                <a:xfrm>
                  <a:off x="7823291" y="2761308"/>
                  <a:ext cx="15108" cy="13429"/>
                </a:xfrm>
                <a:custGeom>
                  <a:avLst/>
                  <a:gdLst>
                    <a:gd name="connsiteX0" fmla="*/ 410 w 15108"/>
                    <a:gd name="connsiteY0" fmla="*/ 2722 h 13429"/>
                    <a:gd name="connsiteX1" fmla="*/ 231 w 15108"/>
                    <a:gd name="connsiteY1" fmla="*/ 868 h 13429"/>
                    <a:gd name="connsiteX2" fmla="*/ 2264 w 15108"/>
                    <a:gd name="connsiteY2" fmla="*/ 151 h 13429"/>
                    <a:gd name="connsiteX3" fmla="*/ 9202 w 15108"/>
                    <a:gd name="connsiteY3" fmla="*/ 4816 h 13429"/>
                    <a:gd name="connsiteX4" fmla="*/ 14883 w 15108"/>
                    <a:gd name="connsiteY4" fmla="*/ 10916 h 13429"/>
                    <a:gd name="connsiteX5" fmla="*/ 14465 w 15108"/>
                    <a:gd name="connsiteY5" fmla="*/ 13009 h 13429"/>
                    <a:gd name="connsiteX6" fmla="*/ 12431 w 15108"/>
                    <a:gd name="connsiteY6" fmla="*/ 12949 h 13429"/>
                    <a:gd name="connsiteX7" fmla="*/ 7108 w 15108"/>
                    <a:gd name="connsiteY7" fmla="*/ 7208 h 13429"/>
                    <a:gd name="connsiteX8" fmla="*/ 589 w 15108"/>
                    <a:gd name="connsiteY8" fmla="*/ 2842 h 13429"/>
                    <a:gd name="connsiteX9" fmla="*/ 410 w 15108"/>
                    <a:gd name="connsiteY9" fmla="*/ 2722 h 1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08" h="13429">
                      <a:moveTo>
                        <a:pt x="410" y="2722"/>
                      </a:moveTo>
                      <a:cubicBezTo>
                        <a:pt x="-68" y="2304"/>
                        <a:pt x="-128" y="1526"/>
                        <a:pt x="231" y="868"/>
                      </a:cubicBezTo>
                      <a:cubicBezTo>
                        <a:pt x="709" y="91"/>
                        <a:pt x="1606" y="-208"/>
                        <a:pt x="2264" y="151"/>
                      </a:cubicBezTo>
                      <a:cubicBezTo>
                        <a:pt x="4895" y="1526"/>
                        <a:pt x="6989" y="2902"/>
                        <a:pt x="9202" y="4816"/>
                      </a:cubicBezTo>
                      <a:cubicBezTo>
                        <a:pt x="11415" y="6729"/>
                        <a:pt x="13149" y="8524"/>
                        <a:pt x="14883" y="10916"/>
                      </a:cubicBezTo>
                      <a:cubicBezTo>
                        <a:pt x="15302" y="11514"/>
                        <a:pt x="15123" y="12471"/>
                        <a:pt x="14465" y="13009"/>
                      </a:cubicBezTo>
                      <a:cubicBezTo>
                        <a:pt x="13807" y="13607"/>
                        <a:pt x="12910" y="13548"/>
                        <a:pt x="12431" y="12949"/>
                      </a:cubicBezTo>
                      <a:cubicBezTo>
                        <a:pt x="10338" y="10139"/>
                        <a:pt x="8544" y="8464"/>
                        <a:pt x="7108" y="7208"/>
                      </a:cubicBezTo>
                      <a:cubicBezTo>
                        <a:pt x="5613" y="5952"/>
                        <a:pt x="3700" y="4457"/>
                        <a:pt x="589" y="2842"/>
                      </a:cubicBezTo>
                      <a:cubicBezTo>
                        <a:pt x="589" y="2782"/>
                        <a:pt x="470" y="2722"/>
                        <a:pt x="410" y="2722"/>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881" name="Vrije vorm: vorm 5880">
                  <a:extLst>
                    <a:ext uri="{FF2B5EF4-FFF2-40B4-BE49-F238E27FC236}">
                      <a16:creationId xmlns:a16="http://schemas.microsoft.com/office/drawing/2014/main" id="{CA113E8A-632A-4FCB-A973-78BC2FAC0366}"/>
                    </a:ext>
                  </a:extLst>
                </p:cNvPr>
                <p:cNvSpPr/>
                <p:nvPr/>
              </p:nvSpPr>
              <p:spPr>
                <a:xfrm>
                  <a:off x="7821981" y="2754215"/>
                  <a:ext cx="23534" cy="20642"/>
                </a:xfrm>
                <a:custGeom>
                  <a:avLst/>
                  <a:gdLst>
                    <a:gd name="connsiteX0" fmla="*/ 21097 w 23534"/>
                    <a:gd name="connsiteY0" fmla="*/ 20342 h 20642"/>
                    <a:gd name="connsiteX1" fmla="*/ 20858 w 23534"/>
                    <a:gd name="connsiteY1" fmla="*/ 20043 h 20642"/>
                    <a:gd name="connsiteX2" fmla="*/ 15236 w 23534"/>
                    <a:gd name="connsiteY2" fmla="*/ 12507 h 20642"/>
                    <a:gd name="connsiteX3" fmla="*/ 9077 w 23534"/>
                    <a:gd name="connsiteY3" fmla="*/ 7244 h 20642"/>
                    <a:gd name="connsiteX4" fmla="*/ 763 w 23534"/>
                    <a:gd name="connsiteY4" fmla="*/ 2938 h 20642"/>
                    <a:gd name="connsiteX5" fmla="*/ 165 w 23534"/>
                    <a:gd name="connsiteY5" fmla="*/ 1024 h 20642"/>
                    <a:gd name="connsiteX6" fmla="*/ 2139 w 23534"/>
                    <a:gd name="connsiteY6" fmla="*/ 67 h 20642"/>
                    <a:gd name="connsiteX7" fmla="*/ 10930 w 23534"/>
                    <a:gd name="connsiteY7" fmla="*/ 4613 h 20642"/>
                    <a:gd name="connsiteX8" fmla="*/ 17449 w 23534"/>
                    <a:gd name="connsiteY8" fmla="*/ 10175 h 20642"/>
                    <a:gd name="connsiteX9" fmla="*/ 23370 w 23534"/>
                    <a:gd name="connsiteY9" fmla="*/ 18129 h 20642"/>
                    <a:gd name="connsiteX10" fmla="*/ 22772 w 23534"/>
                    <a:gd name="connsiteY10" fmla="*/ 20222 h 20642"/>
                    <a:gd name="connsiteX11" fmla="*/ 21097 w 23534"/>
                    <a:gd name="connsiteY11" fmla="*/ 20342 h 2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34" h="20642">
                      <a:moveTo>
                        <a:pt x="21097" y="20342"/>
                      </a:moveTo>
                      <a:cubicBezTo>
                        <a:pt x="20978" y="20282"/>
                        <a:pt x="20918" y="20162"/>
                        <a:pt x="20858" y="20043"/>
                      </a:cubicBezTo>
                      <a:cubicBezTo>
                        <a:pt x="19243" y="17232"/>
                        <a:pt x="17449" y="14840"/>
                        <a:pt x="15236" y="12507"/>
                      </a:cubicBezTo>
                      <a:cubicBezTo>
                        <a:pt x="13323" y="10474"/>
                        <a:pt x="11349" y="8859"/>
                        <a:pt x="9077" y="7244"/>
                      </a:cubicBezTo>
                      <a:cubicBezTo>
                        <a:pt x="6445" y="5450"/>
                        <a:pt x="3813" y="4074"/>
                        <a:pt x="763" y="2938"/>
                      </a:cubicBezTo>
                      <a:cubicBezTo>
                        <a:pt x="46" y="2699"/>
                        <a:pt x="-194" y="1802"/>
                        <a:pt x="165" y="1024"/>
                      </a:cubicBezTo>
                      <a:cubicBezTo>
                        <a:pt x="524" y="247"/>
                        <a:pt x="1421" y="-172"/>
                        <a:pt x="2139" y="67"/>
                      </a:cubicBezTo>
                      <a:cubicBezTo>
                        <a:pt x="5368" y="1263"/>
                        <a:pt x="8119" y="2699"/>
                        <a:pt x="10930" y="4613"/>
                      </a:cubicBezTo>
                      <a:cubicBezTo>
                        <a:pt x="13382" y="6287"/>
                        <a:pt x="15416" y="8021"/>
                        <a:pt x="17449" y="10175"/>
                      </a:cubicBezTo>
                      <a:cubicBezTo>
                        <a:pt x="19782" y="12627"/>
                        <a:pt x="21696" y="15139"/>
                        <a:pt x="23370" y="18129"/>
                      </a:cubicBezTo>
                      <a:cubicBezTo>
                        <a:pt x="23729" y="18787"/>
                        <a:pt x="23490" y="19744"/>
                        <a:pt x="22772" y="20222"/>
                      </a:cubicBezTo>
                      <a:cubicBezTo>
                        <a:pt x="22234" y="20760"/>
                        <a:pt x="21576" y="20760"/>
                        <a:pt x="21097" y="20342"/>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882" name="Vrije vorm: vorm 5881">
                  <a:extLst>
                    <a:ext uri="{FF2B5EF4-FFF2-40B4-BE49-F238E27FC236}">
                      <a16:creationId xmlns:a16="http://schemas.microsoft.com/office/drawing/2014/main" id="{27AFA9C0-0621-49F4-8227-3CFA393665A5}"/>
                    </a:ext>
                  </a:extLst>
                </p:cNvPr>
                <p:cNvSpPr/>
                <p:nvPr/>
              </p:nvSpPr>
              <p:spPr>
                <a:xfrm>
                  <a:off x="7820749" y="2747706"/>
                  <a:ext cx="31414" cy="27337"/>
                </a:xfrm>
                <a:custGeom>
                  <a:avLst/>
                  <a:gdLst>
                    <a:gd name="connsiteX0" fmla="*/ 28968 w 31414"/>
                    <a:gd name="connsiteY0" fmla="*/ 27090 h 27337"/>
                    <a:gd name="connsiteX1" fmla="*/ 28669 w 31414"/>
                    <a:gd name="connsiteY1" fmla="*/ 26671 h 27337"/>
                    <a:gd name="connsiteX2" fmla="*/ 21432 w 31414"/>
                    <a:gd name="connsiteY2" fmla="*/ 15667 h 27337"/>
                    <a:gd name="connsiteX3" fmla="*/ 12880 w 31414"/>
                    <a:gd name="connsiteY3" fmla="*/ 8370 h 27337"/>
                    <a:gd name="connsiteX4" fmla="*/ 858 w 31414"/>
                    <a:gd name="connsiteY4" fmla="*/ 2988 h 27337"/>
                    <a:gd name="connsiteX5" fmla="*/ 141 w 31414"/>
                    <a:gd name="connsiteY5" fmla="*/ 1134 h 27337"/>
                    <a:gd name="connsiteX6" fmla="*/ 2055 w 31414"/>
                    <a:gd name="connsiteY6" fmla="*/ 57 h 27337"/>
                    <a:gd name="connsiteX7" fmla="*/ 14674 w 31414"/>
                    <a:gd name="connsiteY7" fmla="*/ 5739 h 27337"/>
                    <a:gd name="connsiteX8" fmla="*/ 23705 w 31414"/>
                    <a:gd name="connsiteY8" fmla="*/ 13454 h 27337"/>
                    <a:gd name="connsiteX9" fmla="*/ 31300 w 31414"/>
                    <a:gd name="connsiteY9" fmla="*/ 24997 h 27337"/>
                    <a:gd name="connsiteX10" fmla="*/ 30523 w 31414"/>
                    <a:gd name="connsiteY10" fmla="*/ 27090 h 27337"/>
                    <a:gd name="connsiteX11" fmla="*/ 28968 w 31414"/>
                    <a:gd name="connsiteY11" fmla="*/ 27090 h 2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14" h="27337">
                      <a:moveTo>
                        <a:pt x="28968" y="27090"/>
                      </a:moveTo>
                      <a:cubicBezTo>
                        <a:pt x="28848" y="26971"/>
                        <a:pt x="28729" y="26851"/>
                        <a:pt x="28669" y="26671"/>
                      </a:cubicBezTo>
                      <a:cubicBezTo>
                        <a:pt x="26755" y="22485"/>
                        <a:pt x="24423" y="19016"/>
                        <a:pt x="21432" y="15667"/>
                      </a:cubicBezTo>
                      <a:cubicBezTo>
                        <a:pt x="18860" y="12796"/>
                        <a:pt x="16109" y="10464"/>
                        <a:pt x="12880" y="8370"/>
                      </a:cubicBezTo>
                      <a:cubicBezTo>
                        <a:pt x="9112" y="5918"/>
                        <a:pt x="5284" y="4244"/>
                        <a:pt x="858" y="2988"/>
                      </a:cubicBezTo>
                      <a:cubicBezTo>
                        <a:pt x="141" y="2749"/>
                        <a:pt x="-218" y="1971"/>
                        <a:pt x="141" y="1134"/>
                      </a:cubicBezTo>
                      <a:cubicBezTo>
                        <a:pt x="500" y="356"/>
                        <a:pt x="1337" y="-182"/>
                        <a:pt x="2055" y="57"/>
                      </a:cubicBezTo>
                      <a:cubicBezTo>
                        <a:pt x="6719" y="1373"/>
                        <a:pt x="10727" y="3167"/>
                        <a:pt x="14674" y="5739"/>
                      </a:cubicBezTo>
                      <a:cubicBezTo>
                        <a:pt x="18083" y="7952"/>
                        <a:pt x="20953" y="10404"/>
                        <a:pt x="23705" y="13454"/>
                      </a:cubicBezTo>
                      <a:cubicBezTo>
                        <a:pt x="26874" y="16983"/>
                        <a:pt x="29267" y="20631"/>
                        <a:pt x="31300" y="24997"/>
                      </a:cubicBezTo>
                      <a:cubicBezTo>
                        <a:pt x="31599" y="25715"/>
                        <a:pt x="31300" y="26612"/>
                        <a:pt x="30523" y="27090"/>
                      </a:cubicBezTo>
                      <a:cubicBezTo>
                        <a:pt x="30044" y="27449"/>
                        <a:pt x="29386" y="27389"/>
                        <a:pt x="28968" y="27090"/>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grpSp>
          <p:grpSp>
            <p:nvGrpSpPr>
              <p:cNvPr id="5362" name="Graphic 3">
                <a:extLst>
                  <a:ext uri="{FF2B5EF4-FFF2-40B4-BE49-F238E27FC236}">
                    <a16:creationId xmlns:a16="http://schemas.microsoft.com/office/drawing/2014/main" id="{A0EACD5F-FA49-44B2-8539-B0861565EE96}"/>
                  </a:ext>
                </a:extLst>
              </p:cNvPr>
              <p:cNvGrpSpPr/>
              <p:nvPr/>
            </p:nvGrpSpPr>
            <p:grpSpPr>
              <a:xfrm>
                <a:off x="7695774" y="2855296"/>
                <a:ext cx="169373" cy="220987"/>
                <a:chOff x="7695774" y="2855296"/>
                <a:chExt cx="169373" cy="220987"/>
              </a:xfrm>
              <a:solidFill>
                <a:schemeClr val="accent1"/>
              </a:solidFill>
            </p:grpSpPr>
            <p:grpSp>
              <p:nvGrpSpPr>
                <p:cNvPr id="5852" name="Graphic 3">
                  <a:extLst>
                    <a:ext uri="{FF2B5EF4-FFF2-40B4-BE49-F238E27FC236}">
                      <a16:creationId xmlns:a16="http://schemas.microsoft.com/office/drawing/2014/main" id="{F8ED83DE-27FE-47C7-BC23-1CF02C30E2FF}"/>
                    </a:ext>
                  </a:extLst>
                </p:cNvPr>
                <p:cNvGrpSpPr/>
                <p:nvPr/>
              </p:nvGrpSpPr>
              <p:grpSpPr>
                <a:xfrm>
                  <a:off x="7695774" y="2855296"/>
                  <a:ext cx="169373" cy="220987"/>
                  <a:chOff x="7695774" y="2855296"/>
                  <a:chExt cx="169373" cy="220987"/>
                </a:xfrm>
                <a:noFill/>
              </p:grpSpPr>
              <p:grpSp>
                <p:nvGrpSpPr>
                  <p:cNvPr id="5858" name="Graphic 3">
                    <a:extLst>
                      <a:ext uri="{FF2B5EF4-FFF2-40B4-BE49-F238E27FC236}">
                        <a16:creationId xmlns:a16="http://schemas.microsoft.com/office/drawing/2014/main" id="{8F74108C-9A88-4871-B839-659E8E3A4A2C}"/>
                      </a:ext>
                    </a:extLst>
                  </p:cNvPr>
                  <p:cNvGrpSpPr/>
                  <p:nvPr/>
                </p:nvGrpSpPr>
                <p:grpSpPr>
                  <a:xfrm>
                    <a:off x="7695774" y="2855296"/>
                    <a:ext cx="169373" cy="220987"/>
                    <a:chOff x="7695774" y="2855296"/>
                    <a:chExt cx="169373" cy="220987"/>
                  </a:xfrm>
                  <a:noFill/>
                </p:grpSpPr>
                <p:grpSp>
                  <p:nvGrpSpPr>
                    <p:cNvPr id="5860" name="Graphic 3">
                      <a:extLst>
                        <a:ext uri="{FF2B5EF4-FFF2-40B4-BE49-F238E27FC236}">
                          <a16:creationId xmlns:a16="http://schemas.microsoft.com/office/drawing/2014/main" id="{3B3B9F5B-C4F3-4D8F-80FA-DBA4829CC7FB}"/>
                        </a:ext>
                      </a:extLst>
                    </p:cNvPr>
                    <p:cNvGrpSpPr/>
                    <p:nvPr/>
                  </p:nvGrpSpPr>
                  <p:grpSpPr>
                    <a:xfrm>
                      <a:off x="7695774" y="2855296"/>
                      <a:ext cx="169373" cy="220987"/>
                      <a:chOff x="7695774" y="2855296"/>
                      <a:chExt cx="169373" cy="220987"/>
                    </a:xfrm>
                    <a:noFill/>
                  </p:grpSpPr>
                  <p:grpSp>
                    <p:nvGrpSpPr>
                      <p:cNvPr id="5862" name="Graphic 3">
                        <a:extLst>
                          <a:ext uri="{FF2B5EF4-FFF2-40B4-BE49-F238E27FC236}">
                            <a16:creationId xmlns:a16="http://schemas.microsoft.com/office/drawing/2014/main" id="{5A7CF53A-6F4F-43A1-B924-CEFADB45CE3C}"/>
                          </a:ext>
                        </a:extLst>
                      </p:cNvPr>
                      <p:cNvGrpSpPr/>
                      <p:nvPr/>
                    </p:nvGrpSpPr>
                    <p:grpSpPr>
                      <a:xfrm>
                        <a:off x="7695774" y="2902365"/>
                        <a:ext cx="169373" cy="173919"/>
                        <a:chOff x="7695774" y="2902365"/>
                        <a:chExt cx="169373" cy="173919"/>
                      </a:xfrm>
                      <a:noFill/>
                    </p:grpSpPr>
                    <p:sp>
                      <p:nvSpPr>
                        <p:cNvPr id="5868" name="Vrije vorm: vorm 5867">
                          <a:extLst>
                            <a:ext uri="{FF2B5EF4-FFF2-40B4-BE49-F238E27FC236}">
                              <a16:creationId xmlns:a16="http://schemas.microsoft.com/office/drawing/2014/main" id="{20157388-8EAA-453A-80A7-3F2675284D14}"/>
                            </a:ext>
                          </a:extLst>
                        </p:cNvPr>
                        <p:cNvSpPr/>
                        <p:nvPr/>
                      </p:nvSpPr>
                      <p:spPr>
                        <a:xfrm>
                          <a:off x="7757554" y="2960856"/>
                          <a:ext cx="20992" cy="54603"/>
                        </a:xfrm>
                        <a:custGeom>
                          <a:avLst/>
                          <a:gdLst>
                            <a:gd name="connsiteX0" fmla="*/ 10406 w 20992"/>
                            <a:gd name="connsiteY0" fmla="*/ 30920 h 54603"/>
                            <a:gd name="connsiteX1" fmla="*/ 10406 w 20992"/>
                            <a:gd name="connsiteY1" fmla="*/ 30920 h 54603"/>
                            <a:gd name="connsiteX2" fmla="*/ 10406 w 20992"/>
                            <a:gd name="connsiteY2" fmla="*/ 30920 h 54603"/>
                            <a:gd name="connsiteX3" fmla="*/ 5203 w 20992"/>
                            <a:gd name="connsiteY3" fmla="*/ 7715 h 54603"/>
                            <a:gd name="connsiteX4" fmla="*/ 0 w 20992"/>
                            <a:gd name="connsiteY4" fmla="*/ 1555 h 54603"/>
                            <a:gd name="connsiteX5" fmla="*/ 60 w 20992"/>
                            <a:gd name="connsiteY5" fmla="*/ 1256 h 54603"/>
                            <a:gd name="connsiteX6" fmla="*/ 5443 w 20992"/>
                            <a:gd name="connsiteY6" fmla="*/ 0 h 54603"/>
                            <a:gd name="connsiteX7" fmla="*/ 5562 w 20992"/>
                            <a:gd name="connsiteY7" fmla="*/ 60 h 54603"/>
                            <a:gd name="connsiteX8" fmla="*/ 5622 w 20992"/>
                            <a:gd name="connsiteY8" fmla="*/ 0 h 54603"/>
                            <a:gd name="connsiteX9" fmla="*/ 15131 w 20992"/>
                            <a:gd name="connsiteY9" fmla="*/ 6040 h 54603"/>
                            <a:gd name="connsiteX10" fmla="*/ 15191 w 20992"/>
                            <a:gd name="connsiteY10" fmla="*/ 6160 h 54603"/>
                            <a:gd name="connsiteX11" fmla="*/ 18780 w 20992"/>
                            <a:gd name="connsiteY11" fmla="*/ 25059 h 54603"/>
                            <a:gd name="connsiteX12" fmla="*/ 18780 w 20992"/>
                            <a:gd name="connsiteY12" fmla="*/ 25059 h 54603"/>
                            <a:gd name="connsiteX13" fmla="*/ 18780 w 20992"/>
                            <a:gd name="connsiteY13" fmla="*/ 25059 h 54603"/>
                            <a:gd name="connsiteX14" fmla="*/ 20992 w 20992"/>
                            <a:gd name="connsiteY14" fmla="*/ 54544 h 54603"/>
                            <a:gd name="connsiteX15" fmla="*/ 20693 w 20992"/>
                            <a:gd name="connsiteY15" fmla="*/ 54604 h 54603"/>
                            <a:gd name="connsiteX16" fmla="*/ 10406 w 20992"/>
                            <a:gd name="connsiteY16" fmla="*/ 30920 h 54603"/>
                            <a:gd name="connsiteX17" fmla="*/ 18480 w 20992"/>
                            <a:gd name="connsiteY17" fmla="*/ 25418 h 54603"/>
                            <a:gd name="connsiteX18" fmla="*/ 10765 w 20992"/>
                            <a:gd name="connsiteY18" fmla="*/ 30860 h 54603"/>
                            <a:gd name="connsiteX19" fmla="*/ 20573 w 20992"/>
                            <a:gd name="connsiteY19" fmla="*/ 53587 h 54603"/>
                            <a:gd name="connsiteX20" fmla="*/ 18480 w 20992"/>
                            <a:gd name="connsiteY20" fmla="*/ 25418 h 54603"/>
                            <a:gd name="connsiteX21" fmla="*/ 5681 w 20992"/>
                            <a:gd name="connsiteY21" fmla="*/ 8313 h 54603"/>
                            <a:gd name="connsiteX22" fmla="*/ 10706 w 20992"/>
                            <a:gd name="connsiteY22" fmla="*/ 30561 h 54603"/>
                            <a:gd name="connsiteX23" fmla="*/ 18420 w 20992"/>
                            <a:gd name="connsiteY23" fmla="*/ 25119 h 54603"/>
                            <a:gd name="connsiteX24" fmla="*/ 5681 w 20992"/>
                            <a:gd name="connsiteY24" fmla="*/ 8313 h 54603"/>
                            <a:gd name="connsiteX25" fmla="*/ 5383 w 20992"/>
                            <a:gd name="connsiteY25" fmla="*/ 419 h 54603"/>
                            <a:gd name="connsiteX26" fmla="*/ 478 w 20992"/>
                            <a:gd name="connsiteY26" fmla="*/ 1555 h 54603"/>
                            <a:gd name="connsiteX27" fmla="*/ 5263 w 20992"/>
                            <a:gd name="connsiteY27" fmla="*/ 7177 h 54603"/>
                            <a:gd name="connsiteX28" fmla="*/ 5383 w 20992"/>
                            <a:gd name="connsiteY28" fmla="*/ 419 h 54603"/>
                            <a:gd name="connsiteX29" fmla="*/ 5681 w 20992"/>
                            <a:gd name="connsiteY29" fmla="*/ 478 h 54603"/>
                            <a:gd name="connsiteX30" fmla="*/ 5503 w 20992"/>
                            <a:gd name="connsiteY30" fmla="*/ 7536 h 54603"/>
                            <a:gd name="connsiteX31" fmla="*/ 18301 w 20992"/>
                            <a:gd name="connsiteY31" fmla="*/ 24461 h 54603"/>
                            <a:gd name="connsiteX32" fmla="*/ 14892 w 20992"/>
                            <a:gd name="connsiteY32" fmla="*/ 6340 h 54603"/>
                            <a:gd name="connsiteX33" fmla="*/ 5681 w 20992"/>
                            <a:gd name="connsiteY33" fmla="*/ 478 h 5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992" h="54603">
                              <a:moveTo>
                                <a:pt x="10406" y="30920"/>
                              </a:moveTo>
                              <a:lnTo>
                                <a:pt x="10406" y="30920"/>
                              </a:lnTo>
                              <a:lnTo>
                                <a:pt x="10406" y="30920"/>
                              </a:lnTo>
                              <a:lnTo>
                                <a:pt x="5203" y="7715"/>
                              </a:lnTo>
                              <a:lnTo>
                                <a:pt x="0" y="1555"/>
                              </a:lnTo>
                              <a:lnTo>
                                <a:pt x="60" y="1256"/>
                              </a:lnTo>
                              <a:lnTo>
                                <a:pt x="5443" y="0"/>
                              </a:lnTo>
                              <a:lnTo>
                                <a:pt x="5562" y="60"/>
                              </a:lnTo>
                              <a:lnTo>
                                <a:pt x="5622" y="0"/>
                              </a:lnTo>
                              <a:lnTo>
                                <a:pt x="15131" y="6040"/>
                              </a:lnTo>
                              <a:lnTo>
                                <a:pt x="15191" y="6160"/>
                              </a:lnTo>
                              <a:lnTo>
                                <a:pt x="18780" y="25059"/>
                              </a:lnTo>
                              <a:lnTo>
                                <a:pt x="18780" y="25059"/>
                              </a:lnTo>
                              <a:lnTo>
                                <a:pt x="18780" y="25059"/>
                              </a:lnTo>
                              <a:lnTo>
                                <a:pt x="20992" y="54544"/>
                              </a:lnTo>
                              <a:lnTo>
                                <a:pt x="20693" y="54604"/>
                              </a:lnTo>
                              <a:lnTo>
                                <a:pt x="10406" y="30920"/>
                              </a:lnTo>
                              <a:close/>
                              <a:moveTo>
                                <a:pt x="18480" y="25418"/>
                              </a:moveTo>
                              <a:lnTo>
                                <a:pt x="10765" y="30860"/>
                              </a:lnTo>
                              <a:lnTo>
                                <a:pt x="20573" y="53587"/>
                              </a:lnTo>
                              <a:lnTo>
                                <a:pt x="18480" y="25418"/>
                              </a:lnTo>
                              <a:close/>
                              <a:moveTo>
                                <a:pt x="5681" y="8313"/>
                              </a:moveTo>
                              <a:lnTo>
                                <a:pt x="10706" y="30561"/>
                              </a:lnTo>
                              <a:lnTo>
                                <a:pt x="18420" y="25119"/>
                              </a:lnTo>
                              <a:lnTo>
                                <a:pt x="5681" y="8313"/>
                              </a:lnTo>
                              <a:close/>
                              <a:moveTo>
                                <a:pt x="5383" y="419"/>
                              </a:moveTo>
                              <a:lnTo>
                                <a:pt x="478" y="1555"/>
                              </a:lnTo>
                              <a:lnTo>
                                <a:pt x="5263" y="7177"/>
                              </a:lnTo>
                              <a:lnTo>
                                <a:pt x="5383" y="419"/>
                              </a:lnTo>
                              <a:close/>
                              <a:moveTo>
                                <a:pt x="5681" y="478"/>
                              </a:moveTo>
                              <a:lnTo>
                                <a:pt x="5503" y="7536"/>
                              </a:lnTo>
                              <a:lnTo>
                                <a:pt x="18301" y="24461"/>
                              </a:lnTo>
                              <a:lnTo>
                                <a:pt x="14892" y="6340"/>
                              </a:lnTo>
                              <a:lnTo>
                                <a:pt x="5681" y="478"/>
                              </a:lnTo>
                              <a:close/>
                            </a:path>
                          </a:pathLst>
                        </a:custGeom>
                        <a:noFill/>
                        <a:ln w="6350" cap="flat">
                          <a:solidFill>
                            <a:schemeClr val="bg1">
                              <a:alpha val="40000"/>
                            </a:schemeClr>
                          </a:solidFill>
                          <a:prstDash val="solid"/>
                          <a:miter/>
                        </a:ln>
                      </p:spPr>
                      <p:txBody>
                        <a:bodyPr rtlCol="0" anchor="ctr"/>
                        <a:lstStyle/>
                        <a:p>
                          <a:endParaRPr lang="en-GB"/>
                        </a:p>
                      </p:txBody>
                    </p:sp>
                    <p:sp>
                      <p:nvSpPr>
                        <p:cNvPr id="5869" name="Vrije vorm: vorm 5868">
                          <a:extLst>
                            <a:ext uri="{FF2B5EF4-FFF2-40B4-BE49-F238E27FC236}">
                              <a16:creationId xmlns:a16="http://schemas.microsoft.com/office/drawing/2014/main" id="{67185F8A-15F2-45FF-9228-DF748449BBB4}"/>
                            </a:ext>
                          </a:extLst>
                        </p:cNvPr>
                        <p:cNvSpPr/>
                        <p:nvPr/>
                      </p:nvSpPr>
                      <p:spPr>
                        <a:xfrm>
                          <a:off x="7723285" y="2902365"/>
                          <a:ext cx="141862" cy="172244"/>
                        </a:xfrm>
                        <a:custGeom>
                          <a:avLst/>
                          <a:gdLst>
                            <a:gd name="connsiteX0" fmla="*/ 16447 w 141862"/>
                            <a:gd name="connsiteY0" fmla="*/ 160702 h 172244"/>
                            <a:gd name="connsiteX1" fmla="*/ 16626 w 141862"/>
                            <a:gd name="connsiteY1" fmla="*/ 160463 h 172244"/>
                            <a:gd name="connsiteX2" fmla="*/ 25418 w 141862"/>
                            <a:gd name="connsiteY2" fmla="*/ 163154 h 172244"/>
                            <a:gd name="connsiteX3" fmla="*/ 41088 w 141862"/>
                            <a:gd name="connsiteY3" fmla="*/ 158669 h 172244"/>
                            <a:gd name="connsiteX4" fmla="*/ 46171 w 141862"/>
                            <a:gd name="connsiteY4" fmla="*/ 153585 h 172244"/>
                            <a:gd name="connsiteX5" fmla="*/ 46231 w 141862"/>
                            <a:gd name="connsiteY5" fmla="*/ 153645 h 172244"/>
                            <a:gd name="connsiteX6" fmla="*/ 46171 w 141862"/>
                            <a:gd name="connsiteY6" fmla="*/ 153585 h 172244"/>
                            <a:gd name="connsiteX7" fmla="*/ 68001 w 141862"/>
                            <a:gd name="connsiteY7" fmla="*/ 136181 h 172244"/>
                            <a:gd name="connsiteX8" fmla="*/ 67283 w 141862"/>
                            <a:gd name="connsiteY8" fmla="*/ 134267 h 172244"/>
                            <a:gd name="connsiteX9" fmla="*/ 54424 w 141862"/>
                            <a:gd name="connsiteY9" fmla="*/ 139111 h 172244"/>
                            <a:gd name="connsiteX10" fmla="*/ 54185 w 141862"/>
                            <a:gd name="connsiteY10" fmla="*/ 138992 h 172244"/>
                            <a:gd name="connsiteX11" fmla="*/ 52391 w 141862"/>
                            <a:gd name="connsiteY11" fmla="*/ 133370 h 172244"/>
                            <a:gd name="connsiteX12" fmla="*/ 50836 w 141862"/>
                            <a:gd name="connsiteY12" fmla="*/ 128645 h 172244"/>
                            <a:gd name="connsiteX13" fmla="*/ 50716 w 141862"/>
                            <a:gd name="connsiteY13" fmla="*/ 125117 h 172244"/>
                            <a:gd name="connsiteX14" fmla="*/ 50716 w 141862"/>
                            <a:gd name="connsiteY14" fmla="*/ 125117 h 172244"/>
                            <a:gd name="connsiteX15" fmla="*/ 50776 w 141862"/>
                            <a:gd name="connsiteY15" fmla="*/ 124997 h 172244"/>
                            <a:gd name="connsiteX16" fmla="*/ 63934 w 141862"/>
                            <a:gd name="connsiteY16" fmla="*/ 114770 h 172244"/>
                            <a:gd name="connsiteX17" fmla="*/ 55082 w 141862"/>
                            <a:gd name="connsiteY17" fmla="*/ 113335 h 172244"/>
                            <a:gd name="connsiteX18" fmla="*/ 55082 w 141862"/>
                            <a:gd name="connsiteY18" fmla="*/ 112976 h 172244"/>
                            <a:gd name="connsiteX19" fmla="*/ 67044 w 141862"/>
                            <a:gd name="connsiteY19" fmla="*/ 109866 h 172244"/>
                            <a:gd name="connsiteX20" fmla="*/ 52810 w 141862"/>
                            <a:gd name="connsiteY20" fmla="*/ 83730 h 172244"/>
                            <a:gd name="connsiteX21" fmla="*/ 52869 w 141862"/>
                            <a:gd name="connsiteY21" fmla="*/ 83670 h 172244"/>
                            <a:gd name="connsiteX22" fmla="*/ 52810 w 141862"/>
                            <a:gd name="connsiteY22" fmla="*/ 83551 h 172244"/>
                            <a:gd name="connsiteX23" fmla="*/ 67044 w 141862"/>
                            <a:gd name="connsiteY23" fmla="*/ 53767 h 172244"/>
                            <a:gd name="connsiteX24" fmla="*/ 49520 w 141862"/>
                            <a:gd name="connsiteY24" fmla="*/ 64891 h 172244"/>
                            <a:gd name="connsiteX25" fmla="*/ 49281 w 141862"/>
                            <a:gd name="connsiteY25" fmla="*/ 64711 h 172244"/>
                            <a:gd name="connsiteX26" fmla="*/ 52092 w 141862"/>
                            <a:gd name="connsiteY26" fmla="*/ 56039 h 172244"/>
                            <a:gd name="connsiteX27" fmla="*/ 39891 w 141862"/>
                            <a:gd name="connsiteY27" fmla="*/ 58910 h 172244"/>
                            <a:gd name="connsiteX28" fmla="*/ 39831 w 141862"/>
                            <a:gd name="connsiteY28" fmla="*/ 58850 h 172244"/>
                            <a:gd name="connsiteX29" fmla="*/ 39772 w 141862"/>
                            <a:gd name="connsiteY29" fmla="*/ 58910 h 172244"/>
                            <a:gd name="connsiteX30" fmla="*/ 35346 w 141862"/>
                            <a:gd name="connsiteY30" fmla="*/ 57714 h 172244"/>
                            <a:gd name="connsiteX31" fmla="*/ 34568 w 141862"/>
                            <a:gd name="connsiteY31" fmla="*/ 60046 h 172244"/>
                            <a:gd name="connsiteX32" fmla="*/ 34449 w 141862"/>
                            <a:gd name="connsiteY32" fmla="*/ 60106 h 172244"/>
                            <a:gd name="connsiteX33" fmla="*/ 34389 w 141862"/>
                            <a:gd name="connsiteY33" fmla="*/ 60166 h 172244"/>
                            <a:gd name="connsiteX34" fmla="*/ 12918 w 141862"/>
                            <a:gd name="connsiteY34" fmla="*/ 60286 h 172244"/>
                            <a:gd name="connsiteX35" fmla="*/ 5681 w 141862"/>
                            <a:gd name="connsiteY35" fmla="*/ 60525 h 172244"/>
                            <a:gd name="connsiteX36" fmla="*/ 5502 w 141862"/>
                            <a:gd name="connsiteY36" fmla="*/ 60345 h 172244"/>
                            <a:gd name="connsiteX37" fmla="*/ 5741 w 141862"/>
                            <a:gd name="connsiteY37" fmla="*/ 57654 h 172244"/>
                            <a:gd name="connsiteX38" fmla="*/ 60 w 141862"/>
                            <a:gd name="connsiteY38" fmla="*/ 55561 h 172244"/>
                            <a:gd name="connsiteX39" fmla="*/ 0 w 141862"/>
                            <a:gd name="connsiteY39" fmla="*/ 55262 h 172244"/>
                            <a:gd name="connsiteX40" fmla="*/ 6519 w 141862"/>
                            <a:gd name="connsiteY40" fmla="*/ 49700 h 172244"/>
                            <a:gd name="connsiteX41" fmla="*/ 6579 w 141862"/>
                            <a:gd name="connsiteY41" fmla="*/ 49700 h 172244"/>
                            <a:gd name="connsiteX42" fmla="*/ 6579 w 141862"/>
                            <a:gd name="connsiteY42" fmla="*/ 49700 h 172244"/>
                            <a:gd name="connsiteX43" fmla="*/ 24401 w 141862"/>
                            <a:gd name="connsiteY43" fmla="*/ 42523 h 172244"/>
                            <a:gd name="connsiteX44" fmla="*/ 22308 w 141862"/>
                            <a:gd name="connsiteY44" fmla="*/ 38037 h 172244"/>
                            <a:gd name="connsiteX45" fmla="*/ 22308 w 141862"/>
                            <a:gd name="connsiteY45" fmla="*/ 37858 h 172244"/>
                            <a:gd name="connsiteX46" fmla="*/ 28169 w 141862"/>
                            <a:gd name="connsiteY46" fmla="*/ 26734 h 172244"/>
                            <a:gd name="connsiteX47" fmla="*/ 29544 w 141862"/>
                            <a:gd name="connsiteY47" fmla="*/ 16925 h 172244"/>
                            <a:gd name="connsiteX48" fmla="*/ 29604 w 141862"/>
                            <a:gd name="connsiteY48" fmla="*/ 16925 h 172244"/>
                            <a:gd name="connsiteX49" fmla="*/ 29664 w 141862"/>
                            <a:gd name="connsiteY49" fmla="*/ 16865 h 172244"/>
                            <a:gd name="connsiteX50" fmla="*/ 29604 w 141862"/>
                            <a:gd name="connsiteY50" fmla="*/ 16806 h 172244"/>
                            <a:gd name="connsiteX51" fmla="*/ 49879 w 141862"/>
                            <a:gd name="connsiteY51" fmla="*/ 1435 h 172244"/>
                            <a:gd name="connsiteX52" fmla="*/ 50118 w 141862"/>
                            <a:gd name="connsiteY52" fmla="*/ 1615 h 172244"/>
                            <a:gd name="connsiteX53" fmla="*/ 48982 w 141862"/>
                            <a:gd name="connsiteY53" fmla="*/ 5801 h 172244"/>
                            <a:gd name="connsiteX54" fmla="*/ 60046 w 141862"/>
                            <a:gd name="connsiteY54" fmla="*/ 4186 h 172244"/>
                            <a:gd name="connsiteX55" fmla="*/ 66625 w 141862"/>
                            <a:gd name="connsiteY55" fmla="*/ 3289 h 172244"/>
                            <a:gd name="connsiteX56" fmla="*/ 77928 w 141862"/>
                            <a:gd name="connsiteY56" fmla="*/ 0 h 172244"/>
                            <a:gd name="connsiteX57" fmla="*/ 77988 w 141862"/>
                            <a:gd name="connsiteY57" fmla="*/ 120 h 172244"/>
                            <a:gd name="connsiteX58" fmla="*/ 78108 w 141862"/>
                            <a:gd name="connsiteY58" fmla="*/ 120 h 172244"/>
                            <a:gd name="connsiteX59" fmla="*/ 82534 w 141862"/>
                            <a:gd name="connsiteY59" fmla="*/ 8493 h 172244"/>
                            <a:gd name="connsiteX60" fmla="*/ 87079 w 141862"/>
                            <a:gd name="connsiteY60" fmla="*/ 8851 h 172244"/>
                            <a:gd name="connsiteX61" fmla="*/ 86301 w 141862"/>
                            <a:gd name="connsiteY61" fmla="*/ 3110 h 172244"/>
                            <a:gd name="connsiteX62" fmla="*/ 86601 w 141862"/>
                            <a:gd name="connsiteY62" fmla="*/ 2990 h 172244"/>
                            <a:gd name="connsiteX63" fmla="*/ 92342 w 141862"/>
                            <a:gd name="connsiteY63" fmla="*/ 9330 h 172244"/>
                            <a:gd name="connsiteX64" fmla="*/ 92342 w 141862"/>
                            <a:gd name="connsiteY64" fmla="*/ 9390 h 172244"/>
                            <a:gd name="connsiteX65" fmla="*/ 92342 w 141862"/>
                            <a:gd name="connsiteY65" fmla="*/ 9390 h 172244"/>
                            <a:gd name="connsiteX66" fmla="*/ 96409 w 141862"/>
                            <a:gd name="connsiteY66" fmla="*/ 26255 h 172244"/>
                            <a:gd name="connsiteX67" fmla="*/ 108251 w 141862"/>
                            <a:gd name="connsiteY67" fmla="*/ 66805 h 172244"/>
                            <a:gd name="connsiteX68" fmla="*/ 125116 w 141862"/>
                            <a:gd name="connsiteY68" fmla="*/ 99519 h 172244"/>
                            <a:gd name="connsiteX69" fmla="*/ 131934 w 141862"/>
                            <a:gd name="connsiteY69" fmla="*/ 107414 h 172244"/>
                            <a:gd name="connsiteX70" fmla="*/ 136240 w 141862"/>
                            <a:gd name="connsiteY70" fmla="*/ 117282 h 172244"/>
                            <a:gd name="connsiteX71" fmla="*/ 136181 w 141862"/>
                            <a:gd name="connsiteY71" fmla="*/ 117282 h 172244"/>
                            <a:gd name="connsiteX72" fmla="*/ 136181 w 141862"/>
                            <a:gd name="connsiteY72" fmla="*/ 117282 h 172244"/>
                            <a:gd name="connsiteX73" fmla="*/ 136240 w 141862"/>
                            <a:gd name="connsiteY73" fmla="*/ 117282 h 172244"/>
                            <a:gd name="connsiteX74" fmla="*/ 141863 w 141862"/>
                            <a:gd name="connsiteY74" fmla="*/ 132533 h 172244"/>
                            <a:gd name="connsiteX75" fmla="*/ 141803 w 141862"/>
                            <a:gd name="connsiteY75" fmla="*/ 132592 h 172244"/>
                            <a:gd name="connsiteX76" fmla="*/ 141863 w 141862"/>
                            <a:gd name="connsiteY76" fmla="*/ 132652 h 172244"/>
                            <a:gd name="connsiteX77" fmla="*/ 140487 w 141862"/>
                            <a:gd name="connsiteY77" fmla="*/ 138035 h 172244"/>
                            <a:gd name="connsiteX78" fmla="*/ 140188 w 141862"/>
                            <a:gd name="connsiteY78" fmla="*/ 138035 h 172244"/>
                            <a:gd name="connsiteX79" fmla="*/ 139231 w 141862"/>
                            <a:gd name="connsiteY79" fmla="*/ 133490 h 172244"/>
                            <a:gd name="connsiteX80" fmla="*/ 136839 w 141862"/>
                            <a:gd name="connsiteY80" fmla="*/ 134207 h 172244"/>
                            <a:gd name="connsiteX81" fmla="*/ 134686 w 141862"/>
                            <a:gd name="connsiteY81" fmla="*/ 138035 h 172244"/>
                            <a:gd name="connsiteX82" fmla="*/ 134626 w 141862"/>
                            <a:gd name="connsiteY82" fmla="*/ 138035 h 172244"/>
                            <a:gd name="connsiteX83" fmla="*/ 134626 w 141862"/>
                            <a:gd name="connsiteY83" fmla="*/ 138095 h 172244"/>
                            <a:gd name="connsiteX84" fmla="*/ 119255 w 141862"/>
                            <a:gd name="connsiteY84" fmla="*/ 147185 h 172244"/>
                            <a:gd name="connsiteX85" fmla="*/ 119195 w 141862"/>
                            <a:gd name="connsiteY85" fmla="*/ 147066 h 172244"/>
                            <a:gd name="connsiteX86" fmla="*/ 119195 w 141862"/>
                            <a:gd name="connsiteY86" fmla="*/ 147066 h 172244"/>
                            <a:gd name="connsiteX87" fmla="*/ 119195 w 141862"/>
                            <a:gd name="connsiteY87" fmla="*/ 147185 h 172244"/>
                            <a:gd name="connsiteX88" fmla="*/ 95632 w 141862"/>
                            <a:gd name="connsiteY88" fmla="*/ 153047 h 172244"/>
                            <a:gd name="connsiteX89" fmla="*/ 95632 w 141862"/>
                            <a:gd name="connsiteY89" fmla="*/ 152987 h 172244"/>
                            <a:gd name="connsiteX90" fmla="*/ 95632 w 141862"/>
                            <a:gd name="connsiteY90" fmla="*/ 153047 h 172244"/>
                            <a:gd name="connsiteX91" fmla="*/ 74759 w 141862"/>
                            <a:gd name="connsiteY91" fmla="*/ 155020 h 172244"/>
                            <a:gd name="connsiteX92" fmla="*/ 67642 w 141862"/>
                            <a:gd name="connsiteY92" fmla="*/ 159745 h 172244"/>
                            <a:gd name="connsiteX93" fmla="*/ 55740 w 141862"/>
                            <a:gd name="connsiteY93" fmla="*/ 161898 h 172244"/>
                            <a:gd name="connsiteX94" fmla="*/ 37320 w 141862"/>
                            <a:gd name="connsiteY94" fmla="*/ 166982 h 172244"/>
                            <a:gd name="connsiteX95" fmla="*/ 28169 w 141862"/>
                            <a:gd name="connsiteY95" fmla="*/ 172245 h 172244"/>
                            <a:gd name="connsiteX96" fmla="*/ 28049 w 141862"/>
                            <a:gd name="connsiteY96" fmla="*/ 172245 h 172244"/>
                            <a:gd name="connsiteX97" fmla="*/ 23205 w 141862"/>
                            <a:gd name="connsiteY97" fmla="*/ 170510 h 172244"/>
                            <a:gd name="connsiteX98" fmla="*/ 23145 w 141862"/>
                            <a:gd name="connsiteY98" fmla="*/ 170451 h 172244"/>
                            <a:gd name="connsiteX99" fmla="*/ 16447 w 141862"/>
                            <a:gd name="connsiteY99" fmla="*/ 160702 h 172244"/>
                            <a:gd name="connsiteX100" fmla="*/ 25298 w 141862"/>
                            <a:gd name="connsiteY100" fmla="*/ 163453 h 172244"/>
                            <a:gd name="connsiteX101" fmla="*/ 17045 w 141862"/>
                            <a:gd name="connsiteY101" fmla="*/ 160941 h 172244"/>
                            <a:gd name="connsiteX102" fmla="*/ 23325 w 141862"/>
                            <a:gd name="connsiteY102" fmla="*/ 169912 h 172244"/>
                            <a:gd name="connsiteX103" fmla="*/ 27811 w 141862"/>
                            <a:gd name="connsiteY103" fmla="*/ 171527 h 172244"/>
                            <a:gd name="connsiteX104" fmla="*/ 25298 w 141862"/>
                            <a:gd name="connsiteY104" fmla="*/ 163453 h 172244"/>
                            <a:gd name="connsiteX105" fmla="*/ 25657 w 141862"/>
                            <a:gd name="connsiteY105" fmla="*/ 163573 h 172244"/>
                            <a:gd name="connsiteX106" fmla="*/ 28109 w 141862"/>
                            <a:gd name="connsiteY106" fmla="*/ 171527 h 172244"/>
                            <a:gd name="connsiteX107" fmla="*/ 33850 w 141862"/>
                            <a:gd name="connsiteY107" fmla="*/ 165845 h 172244"/>
                            <a:gd name="connsiteX108" fmla="*/ 25657 w 141862"/>
                            <a:gd name="connsiteY108" fmla="*/ 163573 h 172244"/>
                            <a:gd name="connsiteX109" fmla="*/ 34210 w 141862"/>
                            <a:gd name="connsiteY109" fmla="*/ 165905 h 172244"/>
                            <a:gd name="connsiteX110" fmla="*/ 29066 w 141862"/>
                            <a:gd name="connsiteY110" fmla="*/ 170989 h 172244"/>
                            <a:gd name="connsiteX111" fmla="*/ 36782 w 141862"/>
                            <a:gd name="connsiteY111" fmla="*/ 166563 h 172244"/>
                            <a:gd name="connsiteX112" fmla="*/ 34210 w 141862"/>
                            <a:gd name="connsiteY112" fmla="*/ 165905 h 172244"/>
                            <a:gd name="connsiteX113" fmla="*/ 40549 w 141862"/>
                            <a:gd name="connsiteY113" fmla="*/ 159147 h 172244"/>
                            <a:gd name="connsiteX114" fmla="*/ 26016 w 141862"/>
                            <a:gd name="connsiteY114" fmla="*/ 163274 h 172244"/>
                            <a:gd name="connsiteX115" fmla="*/ 34090 w 141862"/>
                            <a:gd name="connsiteY115" fmla="*/ 165486 h 172244"/>
                            <a:gd name="connsiteX116" fmla="*/ 40549 w 141862"/>
                            <a:gd name="connsiteY116" fmla="*/ 159147 h 172244"/>
                            <a:gd name="connsiteX117" fmla="*/ 41207 w 141862"/>
                            <a:gd name="connsiteY117" fmla="*/ 158967 h 172244"/>
                            <a:gd name="connsiteX118" fmla="*/ 34509 w 141862"/>
                            <a:gd name="connsiteY118" fmla="*/ 165666 h 172244"/>
                            <a:gd name="connsiteX119" fmla="*/ 37200 w 141862"/>
                            <a:gd name="connsiteY119" fmla="*/ 166384 h 172244"/>
                            <a:gd name="connsiteX120" fmla="*/ 42583 w 141862"/>
                            <a:gd name="connsiteY120" fmla="*/ 158549 h 172244"/>
                            <a:gd name="connsiteX121" fmla="*/ 41207 w 141862"/>
                            <a:gd name="connsiteY121" fmla="*/ 158967 h 172244"/>
                            <a:gd name="connsiteX122" fmla="*/ 43061 w 141862"/>
                            <a:gd name="connsiteY122" fmla="*/ 158489 h 172244"/>
                            <a:gd name="connsiteX123" fmla="*/ 37678 w 141862"/>
                            <a:gd name="connsiteY123" fmla="*/ 166324 h 172244"/>
                            <a:gd name="connsiteX124" fmla="*/ 55022 w 141862"/>
                            <a:gd name="connsiteY124" fmla="*/ 161539 h 172244"/>
                            <a:gd name="connsiteX125" fmla="*/ 43061 w 141862"/>
                            <a:gd name="connsiteY125" fmla="*/ 158489 h 172244"/>
                            <a:gd name="connsiteX126" fmla="*/ 6399 w 141862"/>
                            <a:gd name="connsiteY126" fmla="*/ 50118 h 172244"/>
                            <a:gd name="connsiteX127" fmla="*/ 418 w 141862"/>
                            <a:gd name="connsiteY127" fmla="*/ 55202 h 172244"/>
                            <a:gd name="connsiteX128" fmla="*/ 5741 w 141862"/>
                            <a:gd name="connsiteY128" fmla="*/ 57176 h 172244"/>
                            <a:gd name="connsiteX129" fmla="*/ 6399 w 141862"/>
                            <a:gd name="connsiteY129" fmla="*/ 50118 h 172244"/>
                            <a:gd name="connsiteX130" fmla="*/ 44915 w 141862"/>
                            <a:gd name="connsiteY130" fmla="*/ 155319 h 172244"/>
                            <a:gd name="connsiteX131" fmla="*/ 41745 w 141862"/>
                            <a:gd name="connsiteY131" fmla="*/ 158429 h 172244"/>
                            <a:gd name="connsiteX132" fmla="*/ 42881 w 141862"/>
                            <a:gd name="connsiteY132" fmla="*/ 158130 h 172244"/>
                            <a:gd name="connsiteX133" fmla="*/ 44915 w 141862"/>
                            <a:gd name="connsiteY133" fmla="*/ 155319 h 172244"/>
                            <a:gd name="connsiteX134" fmla="*/ 46291 w 141862"/>
                            <a:gd name="connsiteY134" fmla="*/ 153944 h 172244"/>
                            <a:gd name="connsiteX135" fmla="*/ 43241 w 141862"/>
                            <a:gd name="connsiteY135" fmla="*/ 158190 h 172244"/>
                            <a:gd name="connsiteX136" fmla="*/ 54962 w 141862"/>
                            <a:gd name="connsiteY136" fmla="*/ 161180 h 172244"/>
                            <a:gd name="connsiteX137" fmla="*/ 46291 w 141862"/>
                            <a:gd name="connsiteY137" fmla="*/ 153944 h 172244"/>
                            <a:gd name="connsiteX138" fmla="*/ 6041 w 141862"/>
                            <a:gd name="connsiteY138" fmla="*/ 57654 h 172244"/>
                            <a:gd name="connsiteX139" fmla="*/ 5801 w 141862"/>
                            <a:gd name="connsiteY139" fmla="*/ 60106 h 172244"/>
                            <a:gd name="connsiteX140" fmla="*/ 12021 w 141862"/>
                            <a:gd name="connsiteY140" fmla="*/ 59927 h 172244"/>
                            <a:gd name="connsiteX141" fmla="*/ 6041 w 141862"/>
                            <a:gd name="connsiteY141" fmla="*/ 57654 h 172244"/>
                            <a:gd name="connsiteX142" fmla="*/ 6698 w 141862"/>
                            <a:gd name="connsiteY142" fmla="*/ 50238 h 172244"/>
                            <a:gd name="connsiteX143" fmla="*/ 6041 w 141862"/>
                            <a:gd name="connsiteY143" fmla="*/ 57355 h 172244"/>
                            <a:gd name="connsiteX144" fmla="*/ 12500 w 141862"/>
                            <a:gd name="connsiteY144" fmla="*/ 59747 h 172244"/>
                            <a:gd name="connsiteX145" fmla="*/ 6698 w 141862"/>
                            <a:gd name="connsiteY145" fmla="*/ 50238 h 172244"/>
                            <a:gd name="connsiteX146" fmla="*/ 60405 w 141862"/>
                            <a:gd name="connsiteY146" fmla="*/ 154362 h 172244"/>
                            <a:gd name="connsiteX147" fmla="*/ 46769 w 141862"/>
                            <a:gd name="connsiteY147" fmla="*/ 153884 h 172244"/>
                            <a:gd name="connsiteX148" fmla="*/ 55620 w 141862"/>
                            <a:gd name="connsiteY148" fmla="*/ 161240 h 172244"/>
                            <a:gd name="connsiteX149" fmla="*/ 60405 w 141862"/>
                            <a:gd name="connsiteY149" fmla="*/ 154362 h 172244"/>
                            <a:gd name="connsiteX150" fmla="*/ 69376 w 141862"/>
                            <a:gd name="connsiteY150" fmla="*/ 140068 h 172244"/>
                            <a:gd name="connsiteX151" fmla="*/ 46889 w 141862"/>
                            <a:gd name="connsiteY151" fmla="*/ 153525 h 172244"/>
                            <a:gd name="connsiteX152" fmla="*/ 60645 w 141862"/>
                            <a:gd name="connsiteY152" fmla="*/ 154004 h 172244"/>
                            <a:gd name="connsiteX153" fmla="*/ 69676 w 141862"/>
                            <a:gd name="connsiteY153" fmla="*/ 140965 h 172244"/>
                            <a:gd name="connsiteX154" fmla="*/ 69376 w 141862"/>
                            <a:gd name="connsiteY154" fmla="*/ 140068 h 172244"/>
                            <a:gd name="connsiteX155" fmla="*/ 33432 w 141862"/>
                            <a:gd name="connsiteY155" fmla="*/ 59747 h 172244"/>
                            <a:gd name="connsiteX156" fmla="*/ 6937 w 141862"/>
                            <a:gd name="connsiteY156" fmla="*/ 49999 h 172244"/>
                            <a:gd name="connsiteX157" fmla="*/ 12978 w 141862"/>
                            <a:gd name="connsiteY157" fmla="*/ 59867 h 172244"/>
                            <a:gd name="connsiteX158" fmla="*/ 33432 w 141862"/>
                            <a:gd name="connsiteY158" fmla="*/ 59747 h 172244"/>
                            <a:gd name="connsiteX159" fmla="*/ 30621 w 141862"/>
                            <a:gd name="connsiteY159" fmla="*/ 40190 h 172244"/>
                            <a:gd name="connsiteX160" fmla="*/ 24641 w 141862"/>
                            <a:gd name="connsiteY160" fmla="*/ 42583 h 172244"/>
                            <a:gd name="connsiteX161" fmla="*/ 7117 w 141862"/>
                            <a:gd name="connsiteY161" fmla="*/ 49640 h 172244"/>
                            <a:gd name="connsiteX162" fmla="*/ 33671 w 141862"/>
                            <a:gd name="connsiteY162" fmla="*/ 56817 h 172244"/>
                            <a:gd name="connsiteX163" fmla="*/ 30621 w 141862"/>
                            <a:gd name="connsiteY163" fmla="*/ 40190 h 172244"/>
                            <a:gd name="connsiteX164" fmla="*/ 68121 w 141862"/>
                            <a:gd name="connsiteY164" fmla="*/ 136480 h 172244"/>
                            <a:gd name="connsiteX165" fmla="*/ 48384 w 141862"/>
                            <a:gd name="connsiteY165" fmla="*/ 152209 h 172244"/>
                            <a:gd name="connsiteX166" fmla="*/ 69257 w 141862"/>
                            <a:gd name="connsiteY166" fmla="*/ 139710 h 172244"/>
                            <a:gd name="connsiteX167" fmla="*/ 68121 w 141862"/>
                            <a:gd name="connsiteY167" fmla="*/ 136480 h 172244"/>
                            <a:gd name="connsiteX168" fmla="*/ 33731 w 141862"/>
                            <a:gd name="connsiteY168" fmla="*/ 57235 h 172244"/>
                            <a:gd name="connsiteX169" fmla="*/ 10287 w 141862"/>
                            <a:gd name="connsiteY169" fmla="*/ 50896 h 172244"/>
                            <a:gd name="connsiteX170" fmla="*/ 34150 w 141862"/>
                            <a:gd name="connsiteY170" fmla="*/ 59687 h 172244"/>
                            <a:gd name="connsiteX171" fmla="*/ 33731 w 141862"/>
                            <a:gd name="connsiteY171" fmla="*/ 57235 h 172244"/>
                            <a:gd name="connsiteX172" fmla="*/ 60823 w 141862"/>
                            <a:gd name="connsiteY172" fmla="*/ 154362 h 172244"/>
                            <a:gd name="connsiteX173" fmla="*/ 56099 w 141862"/>
                            <a:gd name="connsiteY173" fmla="*/ 161120 h 172244"/>
                            <a:gd name="connsiteX174" fmla="*/ 73742 w 141862"/>
                            <a:gd name="connsiteY174" fmla="*/ 154781 h 172244"/>
                            <a:gd name="connsiteX175" fmla="*/ 60823 w 141862"/>
                            <a:gd name="connsiteY175" fmla="*/ 154362 h 172244"/>
                            <a:gd name="connsiteX176" fmla="*/ 73324 w 141862"/>
                            <a:gd name="connsiteY176" fmla="*/ 155319 h 172244"/>
                            <a:gd name="connsiteX177" fmla="*/ 57654 w 141862"/>
                            <a:gd name="connsiteY177" fmla="*/ 160941 h 172244"/>
                            <a:gd name="connsiteX178" fmla="*/ 67462 w 141862"/>
                            <a:gd name="connsiteY178" fmla="*/ 159147 h 172244"/>
                            <a:gd name="connsiteX179" fmla="*/ 73324 w 141862"/>
                            <a:gd name="connsiteY179" fmla="*/ 155319 h 172244"/>
                            <a:gd name="connsiteX180" fmla="*/ 52810 w 141862"/>
                            <a:gd name="connsiteY180" fmla="*/ 133430 h 172244"/>
                            <a:gd name="connsiteX181" fmla="*/ 54484 w 141862"/>
                            <a:gd name="connsiteY181" fmla="*/ 138633 h 172244"/>
                            <a:gd name="connsiteX182" fmla="*/ 66506 w 141862"/>
                            <a:gd name="connsiteY182" fmla="*/ 134088 h 172244"/>
                            <a:gd name="connsiteX183" fmla="*/ 52810 w 141862"/>
                            <a:gd name="connsiteY183" fmla="*/ 133430 h 172244"/>
                            <a:gd name="connsiteX184" fmla="*/ 51135 w 141862"/>
                            <a:gd name="connsiteY184" fmla="*/ 125296 h 172244"/>
                            <a:gd name="connsiteX185" fmla="*/ 52750 w 141862"/>
                            <a:gd name="connsiteY185" fmla="*/ 133071 h 172244"/>
                            <a:gd name="connsiteX186" fmla="*/ 67403 w 141862"/>
                            <a:gd name="connsiteY186" fmla="*/ 133789 h 172244"/>
                            <a:gd name="connsiteX187" fmla="*/ 67522 w 141862"/>
                            <a:gd name="connsiteY187" fmla="*/ 133848 h 172244"/>
                            <a:gd name="connsiteX188" fmla="*/ 71529 w 141862"/>
                            <a:gd name="connsiteY188" fmla="*/ 138214 h 172244"/>
                            <a:gd name="connsiteX189" fmla="*/ 75537 w 141862"/>
                            <a:gd name="connsiteY189" fmla="*/ 128765 h 172244"/>
                            <a:gd name="connsiteX190" fmla="*/ 51135 w 141862"/>
                            <a:gd name="connsiteY190" fmla="*/ 125296 h 172244"/>
                            <a:gd name="connsiteX191" fmla="*/ 69854 w 141862"/>
                            <a:gd name="connsiteY191" fmla="*/ 141384 h 172244"/>
                            <a:gd name="connsiteX192" fmla="*/ 61063 w 141862"/>
                            <a:gd name="connsiteY192" fmla="*/ 154004 h 172244"/>
                            <a:gd name="connsiteX193" fmla="*/ 74400 w 141862"/>
                            <a:gd name="connsiteY193" fmla="*/ 154482 h 172244"/>
                            <a:gd name="connsiteX194" fmla="*/ 69854 w 141862"/>
                            <a:gd name="connsiteY194" fmla="*/ 141384 h 172244"/>
                            <a:gd name="connsiteX195" fmla="*/ 51195 w 141862"/>
                            <a:gd name="connsiteY195" fmla="*/ 128526 h 172244"/>
                            <a:gd name="connsiteX196" fmla="*/ 51912 w 141862"/>
                            <a:gd name="connsiteY196" fmla="*/ 130559 h 172244"/>
                            <a:gd name="connsiteX197" fmla="*/ 51195 w 141862"/>
                            <a:gd name="connsiteY197" fmla="*/ 126971 h 172244"/>
                            <a:gd name="connsiteX198" fmla="*/ 51195 w 141862"/>
                            <a:gd name="connsiteY198" fmla="*/ 128526 h 172244"/>
                            <a:gd name="connsiteX199" fmla="*/ 64412 w 141862"/>
                            <a:gd name="connsiteY199" fmla="*/ 114830 h 172244"/>
                            <a:gd name="connsiteX200" fmla="*/ 51374 w 141862"/>
                            <a:gd name="connsiteY200" fmla="*/ 124997 h 172244"/>
                            <a:gd name="connsiteX201" fmla="*/ 75715 w 141862"/>
                            <a:gd name="connsiteY201" fmla="*/ 128526 h 172244"/>
                            <a:gd name="connsiteX202" fmla="*/ 78587 w 141862"/>
                            <a:gd name="connsiteY202" fmla="*/ 121767 h 172244"/>
                            <a:gd name="connsiteX203" fmla="*/ 64412 w 141862"/>
                            <a:gd name="connsiteY203" fmla="*/ 114830 h 172244"/>
                            <a:gd name="connsiteX204" fmla="*/ 27811 w 141862"/>
                            <a:gd name="connsiteY204" fmla="*/ 27870 h 172244"/>
                            <a:gd name="connsiteX205" fmla="*/ 22547 w 141862"/>
                            <a:gd name="connsiteY205" fmla="*/ 37798 h 172244"/>
                            <a:gd name="connsiteX206" fmla="*/ 24461 w 141862"/>
                            <a:gd name="connsiteY206" fmla="*/ 41925 h 172244"/>
                            <a:gd name="connsiteX207" fmla="*/ 27811 w 141862"/>
                            <a:gd name="connsiteY207" fmla="*/ 27870 h 172244"/>
                            <a:gd name="connsiteX208" fmla="*/ 28289 w 141862"/>
                            <a:gd name="connsiteY208" fmla="*/ 27451 h 172244"/>
                            <a:gd name="connsiteX209" fmla="*/ 24820 w 141862"/>
                            <a:gd name="connsiteY209" fmla="*/ 42164 h 172244"/>
                            <a:gd name="connsiteX210" fmla="*/ 30561 w 141862"/>
                            <a:gd name="connsiteY210" fmla="*/ 39891 h 172244"/>
                            <a:gd name="connsiteX211" fmla="*/ 28289 w 141862"/>
                            <a:gd name="connsiteY211" fmla="*/ 27451 h 172244"/>
                            <a:gd name="connsiteX212" fmla="*/ 34090 w 141862"/>
                            <a:gd name="connsiteY212" fmla="*/ 57295 h 172244"/>
                            <a:gd name="connsiteX213" fmla="*/ 34449 w 141862"/>
                            <a:gd name="connsiteY213" fmla="*/ 59209 h 172244"/>
                            <a:gd name="connsiteX214" fmla="*/ 34987 w 141862"/>
                            <a:gd name="connsiteY214" fmla="*/ 57535 h 172244"/>
                            <a:gd name="connsiteX215" fmla="*/ 34090 w 141862"/>
                            <a:gd name="connsiteY215" fmla="*/ 57295 h 172244"/>
                            <a:gd name="connsiteX216" fmla="*/ 66864 w 141862"/>
                            <a:gd name="connsiteY216" fmla="*/ 110225 h 172244"/>
                            <a:gd name="connsiteX217" fmla="*/ 55920 w 141862"/>
                            <a:gd name="connsiteY217" fmla="*/ 113095 h 172244"/>
                            <a:gd name="connsiteX218" fmla="*/ 64233 w 141862"/>
                            <a:gd name="connsiteY218" fmla="*/ 114411 h 172244"/>
                            <a:gd name="connsiteX219" fmla="*/ 66864 w 141862"/>
                            <a:gd name="connsiteY219" fmla="*/ 110225 h 172244"/>
                            <a:gd name="connsiteX220" fmla="*/ 31159 w 141862"/>
                            <a:gd name="connsiteY220" fmla="*/ 41147 h 172244"/>
                            <a:gd name="connsiteX221" fmla="*/ 34030 w 141862"/>
                            <a:gd name="connsiteY221" fmla="*/ 56936 h 172244"/>
                            <a:gd name="connsiteX222" fmla="*/ 35107 w 141862"/>
                            <a:gd name="connsiteY222" fmla="*/ 57235 h 172244"/>
                            <a:gd name="connsiteX223" fmla="*/ 36662 w 141862"/>
                            <a:gd name="connsiteY223" fmla="*/ 52630 h 172244"/>
                            <a:gd name="connsiteX224" fmla="*/ 31159 w 141862"/>
                            <a:gd name="connsiteY224" fmla="*/ 41147 h 172244"/>
                            <a:gd name="connsiteX225" fmla="*/ 36901 w 141862"/>
                            <a:gd name="connsiteY225" fmla="*/ 53049 h 172244"/>
                            <a:gd name="connsiteX226" fmla="*/ 35465 w 141862"/>
                            <a:gd name="connsiteY226" fmla="*/ 57355 h 172244"/>
                            <a:gd name="connsiteX227" fmla="*/ 39532 w 141862"/>
                            <a:gd name="connsiteY227" fmla="*/ 58432 h 172244"/>
                            <a:gd name="connsiteX228" fmla="*/ 36901 w 141862"/>
                            <a:gd name="connsiteY228" fmla="*/ 53049 h 172244"/>
                            <a:gd name="connsiteX229" fmla="*/ 70094 w 141862"/>
                            <a:gd name="connsiteY229" fmla="*/ 141025 h 172244"/>
                            <a:gd name="connsiteX230" fmla="*/ 74699 w 141862"/>
                            <a:gd name="connsiteY230" fmla="*/ 154243 h 172244"/>
                            <a:gd name="connsiteX231" fmla="*/ 81637 w 141862"/>
                            <a:gd name="connsiteY231" fmla="*/ 144614 h 172244"/>
                            <a:gd name="connsiteX232" fmla="*/ 71649 w 141862"/>
                            <a:gd name="connsiteY232" fmla="*/ 138753 h 172244"/>
                            <a:gd name="connsiteX233" fmla="*/ 70094 w 141862"/>
                            <a:gd name="connsiteY233" fmla="*/ 141025 h 172244"/>
                            <a:gd name="connsiteX234" fmla="*/ 69676 w 141862"/>
                            <a:gd name="connsiteY234" fmla="*/ 139889 h 172244"/>
                            <a:gd name="connsiteX235" fmla="*/ 69914 w 141862"/>
                            <a:gd name="connsiteY235" fmla="*/ 140607 h 172244"/>
                            <a:gd name="connsiteX236" fmla="*/ 70991 w 141862"/>
                            <a:gd name="connsiteY236" fmla="*/ 139111 h 172244"/>
                            <a:gd name="connsiteX237" fmla="*/ 69676 w 141862"/>
                            <a:gd name="connsiteY237" fmla="*/ 139889 h 172244"/>
                            <a:gd name="connsiteX238" fmla="*/ 68539 w 141862"/>
                            <a:gd name="connsiteY238" fmla="*/ 136600 h 172244"/>
                            <a:gd name="connsiteX239" fmla="*/ 69556 w 141862"/>
                            <a:gd name="connsiteY239" fmla="*/ 139530 h 172244"/>
                            <a:gd name="connsiteX240" fmla="*/ 71290 w 141862"/>
                            <a:gd name="connsiteY240" fmla="*/ 138513 h 172244"/>
                            <a:gd name="connsiteX241" fmla="*/ 68539 w 141862"/>
                            <a:gd name="connsiteY241" fmla="*/ 136600 h 172244"/>
                            <a:gd name="connsiteX242" fmla="*/ 67821 w 141862"/>
                            <a:gd name="connsiteY242" fmla="*/ 134746 h 172244"/>
                            <a:gd name="connsiteX243" fmla="*/ 68299 w 141862"/>
                            <a:gd name="connsiteY243" fmla="*/ 136121 h 172244"/>
                            <a:gd name="connsiteX244" fmla="*/ 70393 w 141862"/>
                            <a:gd name="connsiteY244" fmla="*/ 137557 h 172244"/>
                            <a:gd name="connsiteX245" fmla="*/ 67821 w 141862"/>
                            <a:gd name="connsiteY245" fmla="*/ 134746 h 172244"/>
                            <a:gd name="connsiteX246" fmla="*/ 88096 w 141862"/>
                            <a:gd name="connsiteY246" fmla="*/ 148441 h 172244"/>
                            <a:gd name="connsiteX247" fmla="*/ 75656 w 141862"/>
                            <a:gd name="connsiteY247" fmla="*/ 154362 h 172244"/>
                            <a:gd name="connsiteX248" fmla="*/ 95094 w 141862"/>
                            <a:gd name="connsiteY248" fmla="*/ 152508 h 172244"/>
                            <a:gd name="connsiteX249" fmla="*/ 88096 w 141862"/>
                            <a:gd name="connsiteY249" fmla="*/ 148441 h 172244"/>
                            <a:gd name="connsiteX250" fmla="*/ 81936 w 141862"/>
                            <a:gd name="connsiteY250" fmla="*/ 144853 h 172244"/>
                            <a:gd name="connsiteX251" fmla="*/ 75537 w 141862"/>
                            <a:gd name="connsiteY251" fmla="*/ 153704 h 172244"/>
                            <a:gd name="connsiteX252" fmla="*/ 84508 w 141862"/>
                            <a:gd name="connsiteY252" fmla="*/ 146408 h 172244"/>
                            <a:gd name="connsiteX253" fmla="*/ 81936 w 141862"/>
                            <a:gd name="connsiteY253" fmla="*/ 144853 h 172244"/>
                            <a:gd name="connsiteX254" fmla="*/ 84866 w 141862"/>
                            <a:gd name="connsiteY254" fmla="*/ 146528 h 172244"/>
                            <a:gd name="connsiteX255" fmla="*/ 75895 w 141862"/>
                            <a:gd name="connsiteY255" fmla="*/ 153824 h 172244"/>
                            <a:gd name="connsiteX256" fmla="*/ 87737 w 141862"/>
                            <a:gd name="connsiteY256" fmla="*/ 148202 h 172244"/>
                            <a:gd name="connsiteX257" fmla="*/ 84866 w 141862"/>
                            <a:gd name="connsiteY257" fmla="*/ 146528 h 172244"/>
                            <a:gd name="connsiteX258" fmla="*/ 44198 w 141862"/>
                            <a:gd name="connsiteY258" fmla="*/ 30322 h 172244"/>
                            <a:gd name="connsiteX259" fmla="*/ 30980 w 141862"/>
                            <a:gd name="connsiteY259" fmla="*/ 40071 h 172244"/>
                            <a:gd name="connsiteX260" fmla="*/ 36841 w 141862"/>
                            <a:gd name="connsiteY260" fmla="*/ 52212 h 172244"/>
                            <a:gd name="connsiteX261" fmla="*/ 44198 w 141862"/>
                            <a:gd name="connsiteY261" fmla="*/ 30322 h 172244"/>
                            <a:gd name="connsiteX262" fmla="*/ 29844 w 141862"/>
                            <a:gd name="connsiteY262" fmla="*/ 17165 h 172244"/>
                            <a:gd name="connsiteX263" fmla="*/ 30920 w 141862"/>
                            <a:gd name="connsiteY263" fmla="*/ 39652 h 172244"/>
                            <a:gd name="connsiteX264" fmla="*/ 44257 w 141862"/>
                            <a:gd name="connsiteY264" fmla="*/ 29844 h 172244"/>
                            <a:gd name="connsiteX265" fmla="*/ 29844 w 141862"/>
                            <a:gd name="connsiteY265" fmla="*/ 17165 h 172244"/>
                            <a:gd name="connsiteX266" fmla="*/ 28468 w 141862"/>
                            <a:gd name="connsiteY266" fmla="*/ 26614 h 172244"/>
                            <a:gd name="connsiteX267" fmla="*/ 30502 w 141862"/>
                            <a:gd name="connsiteY267" fmla="*/ 37499 h 172244"/>
                            <a:gd name="connsiteX268" fmla="*/ 29604 w 141862"/>
                            <a:gd name="connsiteY268" fmla="*/ 18600 h 172244"/>
                            <a:gd name="connsiteX269" fmla="*/ 28468 w 141862"/>
                            <a:gd name="connsiteY269" fmla="*/ 26614 h 172244"/>
                            <a:gd name="connsiteX270" fmla="*/ 44018 w 141862"/>
                            <a:gd name="connsiteY270" fmla="*/ 31877 h 172244"/>
                            <a:gd name="connsiteX271" fmla="*/ 37080 w 141862"/>
                            <a:gd name="connsiteY271" fmla="*/ 52570 h 172244"/>
                            <a:gd name="connsiteX272" fmla="*/ 39772 w 141862"/>
                            <a:gd name="connsiteY272" fmla="*/ 58132 h 172244"/>
                            <a:gd name="connsiteX273" fmla="*/ 44018 w 141862"/>
                            <a:gd name="connsiteY273" fmla="*/ 31877 h 172244"/>
                            <a:gd name="connsiteX274" fmla="*/ 44556 w 141862"/>
                            <a:gd name="connsiteY274" fmla="*/ 30621 h 172244"/>
                            <a:gd name="connsiteX275" fmla="*/ 40011 w 141862"/>
                            <a:gd name="connsiteY275" fmla="*/ 58491 h 172244"/>
                            <a:gd name="connsiteX276" fmla="*/ 52032 w 141862"/>
                            <a:gd name="connsiteY276" fmla="*/ 55681 h 172244"/>
                            <a:gd name="connsiteX277" fmla="*/ 44556 w 141862"/>
                            <a:gd name="connsiteY277" fmla="*/ 30621 h 172244"/>
                            <a:gd name="connsiteX278" fmla="*/ 82115 w 141862"/>
                            <a:gd name="connsiteY278" fmla="*/ 129782 h 172244"/>
                            <a:gd name="connsiteX279" fmla="*/ 72067 w 141862"/>
                            <a:gd name="connsiteY279" fmla="*/ 138394 h 172244"/>
                            <a:gd name="connsiteX280" fmla="*/ 86003 w 141862"/>
                            <a:gd name="connsiteY280" fmla="*/ 138693 h 172244"/>
                            <a:gd name="connsiteX281" fmla="*/ 88634 w 141862"/>
                            <a:gd name="connsiteY281" fmla="*/ 135045 h 172244"/>
                            <a:gd name="connsiteX282" fmla="*/ 82115 w 141862"/>
                            <a:gd name="connsiteY282" fmla="*/ 129782 h 172244"/>
                            <a:gd name="connsiteX283" fmla="*/ 85703 w 141862"/>
                            <a:gd name="connsiteY283" fmla="*/ 138992 h 172244"/>
                            <a:gd name="connsiteX284" fmla="*/ 72247 w 141862"/>
                            <a:gd name="connsiteY284" fmla="*/ 138693 h 172244"/>
                            <a:gd name="connsiteX285" fmla="*/ 81876 w 141862"/>
                            <a:gd name="connsiteY285" fmla="*/ 144315 h 172244"/>
                            <a:gd name="connsiteX286" fmla="*/ 85703 w 141862"/>
                            <a:gd name="connsiteY286" fmla="*/ 138992 h 172244"/>
                            <a:gd name="connsiteX287" fmla="*/ 75895 w 141862"/>
                            <a:gd name="connsiteY287" fmla="*/ 128825 h 172244"/>
                            <a:gd name="connsiteX288" fmla="*/ 72007 w 141862"/>
                            <a:gd name="connsiteY288" fmla="*/ 137915 h 172244"/>
                            <a:gd name="connsiteX289" fmla="*/ 81637 w 141862"/>
                            <a:gd name="connsiteY289" fmla="*/ 129662 h 172244"/>
                            <a:gd name="connsiteX290" fmla="*/ 75895 w 141862"/>
                            <a:gd name="connsiteY290" fmla="*/ 128825 h 172244"/>
                            <a:gd name="connsiteX291" fmla="*/ 67283 w 141862"/>
                            <a:gd name="connsiteY291" fmla="*/ 110225 h 172244"/>
                            <a:gd name="connsiteX292" fmla="*/ 64591 w 141862"/>
                            <a:gd name="connsiteY292" fmla="*/ 114531 h 172244"/>
                            <a:gd name="connsiteX293" fmla="*/ 77988 w 141862"/>
                            <a:gd name="connsiteY293" fmla="*/ 121050 h 172244"/>
                            <a:gd name="connsiteX294" fmla="*/ 67283 w 141862"/>
                            <a:gd name="connsiteY294" fmla="*/ 110225 h 172244"/>
                            <a:gd name="connsiteX295" fmla="*/ 84089 w 141862"/>
                            <a:gd name="connsiteY295" fmla="*/ 79304 h 172244"/>
                            <a:gd name="connsiteX296" fmla="*/ 53169 w 141862"/>
                            <a:gd name="connsiteY296" fmla="*/ 83730 h 172244"/>
                            <a:gd name="connsiteX297" fmla="*/ 67403 w 141862"/>
                            <a:gd name="connsiteY297" fmla="*/ 109806 h 172244"/>
                            <a:gd name="connsiteX298" fmla="*/ 78706 w 141862"/>
                            <a:gd name="connsiteY298" fmla="*/ 121229 h 172244"/>
                            <a:gd name="connsiteX299" fmla="*/ 84089 w 141862"/>
                            <a:gd name="connsiteY299" fmla="*/ 79304 h 172244"/>
                            <a:gd name="connsiteX300" fmla="*/ 67403 w 141862"/>
                            <a:gd name="connsiteY300" fmla="*/ 53647 h 172244"/>
                            <a:gd name="connsiteX301" fmla="*/ 53169 w 141862"/>
                            <a:gd name="connsiteY301" fmla="*/ 83431 h 172244"/>
                            <a:gd name="connsiteX302" fmla="*/ 83969 w 141862"/>
                            <a:gd name="connsiteY302" fmla="*/ 79005 h 172244"/>
                            <a:gd name="connsiteX303" fmla="*/ 67403 w 141862"/>
                            <a:gd name="connsiteY303" fmla="*/ 53647 h 172244"/>
                            <a:gd name="connsiteX304" fmla="*/ 46231 w 141862"/>
                            <a:gd name="connsiteY304" fmla="*/ 18959 h 172244"/>
                            <a:gd name="connsiteX305" fmla="*/ 30142 w 141862"/>
                            <a:gd name="connsiteY305" fmla="*/ 17045 h 172244"/>
                            <a:gd name="connsiteX306" fmla="*/ 44376 w 141862"/>
                            <a:gd name="connsiteY306" fmla="*/ 29545 h 172244"/>
                            <a:gd name="connsiteX307" fmla="*/ 46231 w 141862"/>
                            <a:gd name="connsiteY307" fmla="*/ 18959 h 172244"/>
                            <a:gd name="connsiteX308" fmla="*/ 48444 w 141862"/>
                            <a:gd name="connsiteY308" fmla="*/ 6160 h 172244"/>
                            <a:gd name="connsiteX309" fmla="*/ 30202 w 141862"/>
                            <a:gd name="connsiteY309" fmla="*/ 16626 h 172244"/>
                            <a:gd name="connsiteX310" fmla="*/ 46291 w 141862"/>
                            <a:gd name="connsiteY310" fmla="*/ 18540 h 172244"/>
                            <a:gd name="connsiteX311" fmla="*/ 48444 w 141862"/>
                            <a:gd name="connsiteY311" fmla="*/ 6160 h 172244"/>
                            <a:gd name="connsiteX312" fmla="*/ 52391 w 141862"/>
                            <a:gd name="connsiteY312" fmla="*/ 55920 h 172244"/>
                            <a:gd name="connsiteX313" fmla="*/ 49640 w 141862"/>
                            <a:gd name="connsiteY313" fmla="*/ 64352 h 172244"/>
                            <a:gd name="connsiteX314" fmla="*/ 66565 w 141862"/>
                            <a:gd name="connsiteY314" fmla="*/ 53587 h 172244"/>
                            <a:gd name="connsiteX315" fmla="*/ 52391 w 141862"/>
                            <a:gd name="connsiteY315" fmla="*/ 55920 h 172244"/>
                            <a:gd name="connsiteX316" fmla="*/ 86123 w 141862"/>
                            <a:gd name="connsiteY316" fmla="*/ 139052 h 172244"/>
                            <a:gd name="connsiteX317" fmla="*/ 82115 w 141862"/>
                            <a:gd name="connsiteY317" fmla="*/ 144554 h 172244"/>
                            <a:gd name="connsiteX318" fmla="*/ 84806 w 141862"/>
                            <a:gd name="connsiteY318" fmla="*/ 146109 h 172244"/>
                            <a:gd name="connsiteX319" fmla="*/ 93359 w 141862"/>
                            <a:gd name="connsiteY319" fmla="*/ 139171 h 172244"/>
                            <a:gd name="connsiteX320" fmla="*/ 86123 w 141862"/>
                            <a:gd name="connsiteY320" fmla="*/ 139052 h 172244"/>
                            <a:gd name="connsiteX321" fmla="*/ 78826 w 141862"/>
                            <a:gd name="connsiteY321" fmla="*/ 122066 h 172244"/>
                            <a:gd name="connsiteX322" fmla="*/ 76075 w 141862"/>
                            <a:gd name="connsiteY322" fmla="*/ 128526 h 172244"/>
                            <a:gd name="connsiteX323" fmla="*/ 81816 w 141862"/>
                            <a:gd name="connsiteY323" fmla="*/ 129363 h 172244"/>
                            <a:gd name="connsiteX324" fmla="*/ 78826 w 141862"/>
                            <a:gd name="connsiteY324" fmla="*/ 122066 h 172244"/>
                            <a:gd name="connsiteX325" fmla="*/ 49640 w 141862"/>
                            <a:gd name="connsiteY325" fmla="*/ 1854 h 172244"/>
                            <a:gd name="connsiteX326" fmla="*/ 31937 w 141862"/>
                            <a:gd name="connsiteY326" fmla="*/ 15251 h 172244"/>
                            <a:gd name="connsiteX327" fmla="*/ 48563 w 141862"/>
                            <a:gd name="connsiteY327" fmla="*/ 5682 h 172244"/>
                            <a:gd name="connsiteX328" fmla="*/ 49640 w 141862"/>
                            <a:gd name="connsiteY328" fmla="*/ 1854 h 172244"/>
                            <a:gd name="connsiteX329" fmla="*/ 93897 w 141862"/>
                            <a:gd name="connsiteY329" fmla="*/ 139231 h 172244"/>
                            <a:gd name="connsiteX330" fmla="*/ 85165 w 141862"/>
                            <a:gd name="connsiteY330" fmla="*/ 146348 h 172244"/>
                            <a:gd name="connsiteX331" fmla="*/ 88096 w 141862"/>
                            <a:gd name="connsiteY331" fmla="*/ 148083 h 172244"/>
                            <a:gd name="connsiteX332" fmla="*/ 101612 w 141862"/>
                            <a:gd name="connsiteY332" fmla="*/ 141623 h 172244"/>
                            <a:gd name="connsiteX333" fmla="*/ 93897 w 141862"/>
                            <a:gd name="connsiteY333" fmla="*/ 139231 h 172244"/>
                            <a:gd name="connsiteX334" fmla="*/ 102091 w 141862"/>
                            <a:gd name="connsiteY334" fmla="*/ 141743 h 172244"/>
                            <a:gd name="connsiteX335" fmla="*/ 88395 w 141862"/>
                            <a:gd name="connsiteY335" fmla="*/ 148262 h 172244"/>
                            <a:gd name="connsiteX336" fmla="*/ 95512 w 141862"/>
                            <a:gd name="connsiteY336" fmla="*/ 152449 h 172244"/>
                            <a:gd name="connsiteX337" fmla="*/ 105500 w 141862"/>
                            <a:gd name="connsiteY337" fmla="*/ 142819 h 172244"/>
                            <a:gd name="connsiteX338" fmla="*/ 102091 w 141862"/>
                            <a:gd name="connsiteY338" fmla="*/ 141743 h 172244"/>
                            <a:gd name="connsiteX339" fmla="*/ 44855 w 141862"/>
                            <a:gd name="connsiteY339" fmla="*/ 30442 h 172244"/>
                            <a:gd name="connsiteX340" fmla="*/ 52391 w 141862"/>
                            <a:gd name="connsiteY340" fmla="*/ 55561 h 172244"/>
                            <a:gd name="connsiteX341" fmla="*/ 67044 w 141862"/>
                            <a:gd name="connsiteY341" fmla="*/ 53169 h 172244"/>
                            <a:gd name="connsiteX342" fmla="*/ 44855 w 141862"/>
                            <a:gd name="connsiteY342" fmla="*/ 30442 h 172244"/>
                            <a:gd name="connsiteX343" fmla="*/ 83431 w 141862"/>
                            <a:gd name="connsiteY343" fmla="*/ 127210 h 172244"/>
                            <a:gd name="connsiteX344" fmla="*/ 79364 w 141862"/>
                            <a:gd name="connsiteY344" fmla="*/ 122485 h 172244"/>
                            <a:gd name="connsiteX345" fmla="*/ 82115 w 141862"/>
                            <a:gd name="connsiteY345" fmla="*/ 129183 h 172244"/>
                            <a:gd name="connsiteX346" fmla="*/ 83431 w 141862"/>
                            <a:gd name="connsiteY346" fmla="*/ 127210 h 172244"/>
                            <a:gd name="connsiteX347" fmla="*/ 84388 w 141862"/>
                            <a:gd name="connsiteY347" fmla="*/ 79544 h 172244"/>
                            <a:gd name="connsiteX348" fmla="*/ 79005 w 141862"/>
                            <a:gd name="connsiteY348" fmla="*/ 121349 h 172244"/>
                            <a:gd name="connsiteX349" fmla="*/ 90727 w 141862"/>
                            <a:gd name="connsiteY349" fmla="*/ 116325 h 172244"/>
                            <a:gd name="connsiteX350" fmla="*/ 100835 w 141862"/>
                            <a:gd name="connsiteY350" fmla="*/ 101254 h 172244"/>
                            <a:gd name="connsiteX351" fmla="*/ 84388 w 141862"/>
                            <a:gd name="connsiteY351" fmla="*/ 79544 h 172244"/>
                            <a:gd name="connsiteX352" fmla="*/ 86063 w 141862"/>
                            <a:gd name="connsiteY352" fmla="*/ 123322 h 172244"/>
                            <a:gd name="connsiteX353" fmla="*/ 79245 w 141862"/>
                            <a:gd name="connsiteY353" fmla="*/ 121887 h 172244"/>
                            <a:gd name="connsiteX354" fmla="*/ 83610 w 141862"/>
                            <a:gd name="connsiteY354" fmla="*/ 126971 h 172244"/>
                            <a:gd name="connsiteX355" fmla="*/ 86063 w 141862"/>
                            <a:gd name="connsiteY355" fmla="*/ 123322 h 172244"/>
                            <a:gd name="connsiteX356" fmla="*/ 84208 w 141862"/>
                            <a:gd name="connsiteY356" fmla="*/ 128107 h 172244"/>
                            <a:gd name="connsiteX357" fmla="*/ 82355 w 141862"/>
                            <a:gd name="connsiteY357" fmla="*/ 129542 h 172244"/>
                            <a:gd name="connsiteX358" fmla="*/ 88814 w 141862"/>
                            <a:gd name="connsiteY358" fmla="*/ 134746 h 172244"/>
                            <a:gd name="connsiteX359" fmla="*/ 89352 w 141862"/>
                            <a:gd name="connsiteY359" fmla="*/ 134028 h 172244"/>
                            <a:gd name="connsiteX360" fmla="*/ 84208 w 141862"/>
                            <a:gd name="connsiteY360" fmla="*/ 128107 h 172244"/>
                            <a:gd name="connsiteX361" fmla="*/ 90369 w 141862"/>
                            <a:gd name="connsiteY361" fmla="*/ 116863 h 172244"/>
                            <a:gd name="connsiteX362" fmla="*/ 79364 w 141862"/>
                            <a:gd name="connsiteY362" fmla="*/ 121528 h 172244"/>
                            <a:gd name="connsiteX363" fmla="*/ 86242 w 141862"/>
                            <a:gd name="connsiteY363" fmla="*/ 122964 h 172244"/>
                            <a:gd name="connsiteX364" fmla="*/ 90369 w 141862"/>
                            <a:gd name="connsiteY364" fmla="*/ 116863 h 172244"/>
                            <a:gd name="connsiteX365" fmla="*/ 88873 w 141862"/>
                            <a:gd name="connsiteY365" fmla="*/ 135224 h 172244"/>
                            <a:gd name="connsiteX366" fmla="*/ 86361 w 141862"/>
                            <a:gd name="connsiteY366" fmla="*/ 138693 h 172244"/>
                            <a:gd name="connsiteX367" fmla="*/ 93359 w 141862"/>
                            <a:gd name="connsiteY367" fmla="*/ 138812 h 172244"/>
                            <a:gd name="connsiteX368" fmla="*/ 88873 w 141862"/>
                            <a:gd name="connsiteY368" fmla="*/ 135224 h 172244"/>
                            <a:gd name="connsiteX369" fmla="*/ 83670 w 141862"/>
                            <a:gd name="connsiteY369" fmla="*/ 127509 h 172244"/>
                            <a:gd name="connsiteX370" fmla="*/ 82833 w 141862"/>
                            <a:gd name="connsiteY370" fmla="*/ 128765 h 172244"/>
                            <a:gd name="connsiteX371" fmla="*/ 83969 w 141862"/>
                            <a:gd name="connsiteY371" fmla="*/ 127868 h 172244"/>
                            <a:gd name="connsiteX372" fmla="*/ 83670 w 141862"/>
                            <a:gd name="connsiteY372" fmla="*/ 127509 h 172244"/>
                            <a:gd name="connsiteX373" fmla="*/ 63276 w 141862"/>
                            <a:gd name="connsiteY373" fmla="*/ 27093 h 172244"/>
                            <a:gd name="connsiteX374" fmla="*/ 44855 w 141862"/>
                            <a:gd name="connsiteY374" fmla="*/ 29963 h 172244"/>
                            <a:gd name="connsiteX375" fmla="*/ 67163 w 141862"/>
                            <a:gd name="connsiteY375" fmla="*/ 52810 h 172244"/>
                            <a:gd name="connsiteX376" fmla="*/ 63276 w 141862"/>
                            <a:gd name="connsiteY376" fmla="*/ 27093 h 172244"/>
                            <a:gd name="connsiteX377" fmla="*/ 46589 w 141862"/>
                            <a:gd name="connsiteY377" fmla="*/ 18959 h 172244"/>
                            <a:gd name="connsiteX378" fmla="*/ 44796 w 141862"/>
                            <a:gd name="connsiteY378" fmla="*/ 29246 h 172244"/>
                            <a:gd name="connsiteX379" fmla="*/ 52690 w 141862"/>
                            <a:gd name="connsiteY379" fmla="*/ 19736 h 172244"/>
                            <a:gd name="connsiteX380" fmla="*/ 46589 w 141862"/>
                            <a:gd name="connsiteY380" fmla="*/ 18959 h 172244"/>
                            <a:gd name="connsiteX381" fmla="*/ 86421 w 141862"/>
                            <a:gd name="connsiteY381" fmla="*/ 123382 h 172244"/>
                            <a:gd name="connsiteX382" fmla="*/ 83850 w 141862"/>
                            <a:gd name="connsiteY382" fmla="*/ 127210 h 172244"/>
                            <a:gd name="connsiteX383" fmla="*/ 84208 w 141862"/>
                            <a:gd name="connsiteY383" fmla="*/ 127629 h 172244"/>
                            <a:gd name="connsiteX384" fmla="*/ 88873 w 141862"/>
                            <a:gd name="connsiteY384" fmla="*/ 123920 h 172244"/>
                            <a:gd name="connsiteX385" fmla="*/ 86421 w 141862"/>
                            <a:gd name="connsiteY385" fmla="*/ 123382 h 172244"/>
                            <a:gd name="connsiteX386" fmla="*/ 53109 w 141862"/>
                            <a:gd name="connsiteY386" fmla="*/ 19736 h 172244"/>
                            <a:gd name="connsiteX387" fmla="*/ 45154 w 141862"/>
                            <a:gd name="connsiteY387" fmla="*/ 29305 h 172244"/>
                            <a:gd name="connsiteX388" fmla="*/ 61900 w 141862"/>
                            <a:gd name="connsiteY388" fmla="*/ 20813 h 172244"/>
                            <a:gd name="connsiteX389" fmla="*/ 53109 w 141862"/>
                            <a:gd name="connsiteY389" fmla="*/ 19736 h 172244"/>
                            <a:gd name="connsiteX390" fmla="*/ 89352 w 141862"/>
                            <a:gd name="connsiteY390" fmla="*/ 123980 h 172244"/>
                            <a:gd name="connsiteX391" fmla="*/ 84508 w 141862"/>
                            <a:gd name="connsiteY391" fmla="*/ 127868 h 172244"/>
                            <a:gd name="connsiteX392" fmla="*/ 89591 w 141862"/>
                            <a:gd name="connsiteY392" fmla="*/ 133729 h 172244"/>
                            <a:gd name="connsiteX393" fmla="*/ 95692 w 141862"/>
                            <a:gd name="connsiteY393" fmla="*/ 125296 h 172244"/>
                            <a:gd name="connsiteX394" fmla="*/ 89352 w 141862"/>
                            <a:gd name="connsiteY394" fmla="*/ 123980 h 172244"/>
                            <a:gd name="connsiteX395" fmla="*/ 62379 w 141862"/>
                            <a:gd name="connsiteY395" fmla="*/ 20992 h 172244"/>
                            <a:gd name="connsiteX396" fmla="*/ 45573 w 141862"/>
                            <a:gd name="connsiteY396" fmla="*/ 29545 h 172244"/>
                            <a:gd name="connsiteX397" fmla="*/ 63276 w 141862"/>
                            <a:gd name="connsiteY397" fmla="*/ 26794 h 172244"/>
                            <a:gd name="connsiteX398" fmla="*/ 62379 w 141862"/>
                            <a:gd name="connsiteY398" fmla="*/ 20992 h 172244"/>
                            <a:gd name="connsiteX399" fmla="*/ 89531 w 141862"/>
                            <a:gd name="connsiteY399" fmla="*/ 134327 h 172244"/>
                            <a:gd name="connsiteX400" fmla="*/ 89053 w 141862"/>
                            <a:gd name="connsiteY400" fmla="*/ 134985 h 172244"/>
                            <a:gd name="connsiteX401" fmla="*/ 92462 w 141862"/>
                            <a:gd name="connsiteY401" fmla="*/ 137736 h 172244"/>
                            <a:gd name="connsiteX402" fmla="*/ 89531 w 141862"/>
                            <a:gd name="connsiteY402" fmla="*/ 134327 h 172244"/>
                            <a:gd name="connsiteX403" fmla="*/ 105918 w 141862"/>
                            <a:gd name="connsiteY403" fmla="*/ 142939 h 172244"/>
                            <a:gd name="connsiteX404" fmla="*/ 96170 w 141862"/>
                            <a:gd name="connsiteY404" fmla="*/ 152329 h 172244"/>
                            <a:gd name="connsiteX405" fmla="*/ 118478 w 141862"/>
                            <a:gd name="connsiteY405" fmla="*/ 146767 h 172244"/>
                            <a:gd name="connsiteX406" fmla="*/ 105918 w 141862"/>
                            <a:gd name="connsiteY406" fmla="*/ 142939 h 172244"/>
                            <a:gd name="connsiteX407" fmla="*/ 95990 w 141862"/>
                            <a:gd name="connsiteY407" fmla="*/ 125416 h 172244"/>
                            <a:gd name="connsiteX408" fmla="*/ 89771 w 141862"/>
                            <a:gd name="connsiteY408" fmla="*/ 134028 h 172244"/>
                            <a:gd name="connsiteX409" fmla="*/ 93837 w 141862"/>
                            <a:gd name="connsiteY409" fmla="*/ 138693 h 172244"/>
                            <a:gd name="connsiteX410" fmla="*/ 99519 w 141862"/>
                            <a:gd name="connsiteY410" fmla="*/ 126133 h 172244"/>
                            <a:gd name="connsiteX411" fmla="*/ 95990 w 141862"/>
                            <a:gd name="connsiteY411" fmla="*/ 125416 h 172244"/>
                            <a:gd name="connsiteX412" fmla="*/ 90967 w 141862"/>
                            <a:gd name="connsiteY412" fmla="*/ 116624 h 172244"/>
                            <a:gd name="connsiteX413" fmla="*/ 86661 w 141862"/>
                            <a:gd name="connsiteY413" fmla="*/ 123083 h 172244"/>
                            <a:gd name="connsiteX414" fmla="*/ 89292 w 141862"/>
                            <a:gd name="connsiteY414" fmla="*/ 123621 h 172244"/>
                            <a:gd name="connsiteX415" fmla="*/ 106218 w 141862"/>
                            <a:gd name="connsiteY415" fmla="*/ 110105 h 172244"/>
                            <a:gd name="connsiteX416" fmla="*/ 90967 w 141862"/>
                            <a:gd name="connsiteY416" fmla="*/ 116624 h 172244"/>
                            <a:gd name="connsiteX417" fmla="*/ 48802 w 141862"/>
                            <a:gd name="connsiteY417" fmla="*/ 6220 h 172244"/>
                            <a:gd name="connsiteX418" fmla="*/ 46649 w 141862"/>
                            <a:gd name="connsiteY418" fmla="*/ 18660 h 172244"/>
                            <a:gd name="connsiteX419" fmla="*/ 52989 w 141862"/>
                            <a:gd name="connsiteY419" fmla="*/ 19437 h 172244"/>
                            <a:gd name="connsiteX420" fmla="*/ 56817 w 141862"/>
                            <a:gd name="connsiteY420" fmla="*/ 14832 h 172244"/>
                            <a:gd name="connsiteX421" fmla="*/ 48802 w 141862"/>
                            <a:gd name="connsiteY421" fmla="*/ 6220 h 172244"/>
                            <a:gd name="connsiteX422" fmla="*/ 99878 w 141862"/>
                            <a:gd name="connsiteY422" fmla="*/ 126253 h 172244"/>
                            <a:gd name="connsiteX423" fmla="*/ 94256 w 141862"/>
                            <a:gd name="connsiteY423" fmla="*/ 138633 h 172244"/>
                            <a:gd name="connsiteX424" fmla="*/ 110464 w 141862"/>
                            <a:gd name="connsiteY424" fmla="*/ 128765 h 172244"/>
                            <a:gd name="connsiteX425" fmla="*/ 110404 w 141862"/>
                            <a:gd name="connsiteY425" fmla="*/ 128526 h 172244"/>
                            <a:gd name="connsiteX426" fmla="*/ 99878 w 141862"/>
                            <a:gd name="connsiteY426" fmla="*/ 126253 h 172244"/>
                            <a:gd name="connsiteX427" fmla="*/ 111002 w 141862"/>
                            <a:gd name="connsiteY427" fmla="*/ 137138 h 172244"/>
                            <a:gd name="connsiteX428" fmla="*/ 94675 w 141862"/>
                            <a:gd name="connsiteY428" fmla="*/ 139111 h 172244"/>
                            <a:gd name="connsiteX429" fmla="*/ 102091 w 141862"/>
                            <a:gd name="connsiteY429" fmla="*/ 141384 h 172244"/>
                            <a:gd name="connsiteX430" fmla="*/ 111002 w 141862"/>
                            <a:gd name="connsiteY430" fmla="*/ 137138 h 172244"/>
                            <a:gd name="connsiteX431" fmla="*/ 110524 w 141862"/>
                            <a:gd name="connsiteY431" fmla="*/ 129064 h 172244"/>
                            <a:gd name="connsiteX432" fmla="*/ 94675 w 141862"/>
                            <a:gd name="connsiteY432" fmla="*/ 138753 h 172244"/>
                            <a:gd name="connsiteX433" fmla="*/ 111839 w 141862"/>
                            <a:gd name="connsiteY433" fmla="*/ 136659 h 172244"/>
                            <a:gd name="connsiteX434" fmla="*/ 110524 w 141862"/>
                            <a:gd name="connsiteY434" fmla="*/ 129064 h 172244"/>
                            <a:gd name="connsiteX435" fmla="*/ 106397 w 141862"/>
                            <a:gd name="connsiteY435" fmla="*/ 110404 h 172244"/>
                            <a:gd name="connsiteX436" fmla="*/ 89711 w 141862"/>
                            <a:gd name="connsiteY436" fmla="*/ 123741 h 172244"/>
                            <a:gd name="connsiteX437" fmla="*/ 95870 w 141862"/>
                            <a:gd name="connsiteY437" fmla="*/ 125057 h 172244"/>
                            <a:gd name="connsiteX438" fmla="*/ 106397 w 141862"/>
                            <a:gd name="connsiteY438" fmla="*/ 110404 h 172244"/>
                            <a:gd name="connsiteX439" fmla="*/ 101074 w 141862"/>
                            <a:gd name="connsiteY439" fmla="*/ 101553 h 172244"/>
                            <a:gd name="connsiteX440" fmla="*/ 91326 w 141862"/>
                            <a:gd name="connsiteY440" fmla="*/ 116086 h 172244"/>
                            <a:gd name="connsiteX441" fmla="*/ 106995 w 141862"/>
                            <a:gd name="connsiteY441" fmla="*/ 109387 h 172244"/>
                            <a:gd name="connsiteX442" fmla="*/ 101074 w 141862"/>
                            <a:gd name="connsiteY442" fmla="*/ 101553 h 172244"/>
                            <a:gd name="connsiteX443" fmla="*/ 56996 w 141862"/>
                            <a:gd name="connsiteY443" fmla="*/ 15071 h 172244"/>
                            <a:gd name="connsiteX444" fmla="*/ 53348 w 141862"/>
                            <a:gd name="connsiteY444" fmla="*/ 19437 h 172244"/>
                            <a:gd name="connsiteX445" fmla="*/ 62020 w 141862"/>
                            <a:gd name="connsiteY445" fmla="*/ 20454 h 172244"/>
                            <a:gd name="connsiteX446" fmla="*/ 56996 w 141862"/>
                            <a:gd name="connsiteY446" fmla="*/ 15071 h 172244"/>
                            <a:gd name="connsiteX447" fmla="*/ 111122 w 141862"/>
                            <a:gd name="connsiteY447" fmla="*/ 137437 h 172244"/>
                            <a:gd name="connsiteX448" fmla="*/ 102570 w 141862"/>
                            <a:gd name="connsiteY448" fmla="*/ 141504 h 172244"/>
                            <a:gd name="connsiteX449" fmla="*/ 105858 w 141862"/>
                            <a:gd name="connsiteY449" fmla="*/ 142521 h 172244"/>
                            <a:gd name="connsiteX450" fmla="*/ 111122 w 141862"/>
                            <a:gd name="connsiteY450" fmla="*/ 137437 h 172244"/>
                            <a:gd name="connsiteX451" fmla="*/ 80620 w 141862"/>
                            <a:gd name="connsiteY451" fmla="*/ 54664 h 172244"/>
                            <a:gd name="connsiteX452" fmla="*/ 67761 w 141862"/>
                            <a:gd name="connsiteY452" fmla="*/ 53527 h 172244"/>
                            <a:gd name="connsiteX453" fmla="*/ 84029 w 141862"/>
                            <a:gd name="connsiteY453" fmla="*/ 78467 h 172244"/>
                            <a:gd name="connsiteX454" fmla="*/ 80620 w 141862"/>
                            <a:gd name="connsiteY454" fmla="*/ 54664 h 172244"/>
                            <a:gd name="connsiteX455" fmla="*/ 63635 w 141862"/>
                            <a:gd name="connsiteY455" fmla="*/ 27093 h 172244"/>
                            <a:gd name="connsiteX456" fmla="*/ 67522 w 141862"/>
                            <a:gd name="connsiteY456" fmla="*/ 52870 h 172244"/>
                            <a:gd name="connsiteX457" fmla="*/ 78347 w 141862"/>
                            <a:gd name="connsiteY457" fmla="*/ 39114 h 172244"/>
                            <a:gd name="connsiteX458" fmla="*/ 67343 w 141862"/>
                            <a:gd name="connsiteY458" fmla="*/ 26495 h 172244"/>
                            <a:gd name="connsiteX459" fmla="*/ 63635 w 141862"/>
                            <a:gd name="connsiteY459" fmla="*/ 27093 h 172244"/>
                            <a:gd name="connsiteX460" fmla="*/ 106397 w 141862"/>
                            <a:gd name="connsiteY460" fmla="*/ 111002 h 172244"/>
                            <a:gd name="connsiteX461" fmla="*/ 96230 w 141862"/>
                            <a:gd name="connsiteY461" fmla="*/ 125117 h 172244"/>
                            <a:gd name="connsiteX462" fmla="*/ 99698 w 141862"/>
                            <a:gd name="connsiteY462" fmla="*/ 125834 h 172244"/>
                            <a:gd name="connsiteX463" fmla="*/ 106397 w 141862"/>
                            <a:gd name="connsiteY463" fmla="*/ 111002 h 172244"/>
                            <a:gd name="connsiteX464" fmla="*/ 78407 w 141862"/>
                            <a:gd name="connsiteY464" fmla="*/ 39532 h 172244"/>
                            <a:gd name="connsiteX465" fmla="*/ 67701 w 141862"/>
                            <a:gd name="connsiteY465" fmla="*/ 53109 h 172244"/>
                            <a:gd name="connsiteX466" fmla="*/ 80500 w 141862"/>
                            <a:gd name="connsiteY466" fmla="*/ 54245 h 172244"/>
                            <a:gd name="connsiteX467" fmla="*/ 78407 w 141862"/>
                            <a:gd name="connsiteY467" fmla="*/ 39532 h 172244"/>
                            <a:gd name="connsiteX468" fmla="*/ 63156 w 141862"/>
                            <a:gd name="connsiteY468" fmla="*/ 7117 h 172244"/>
                            <a:gd name="connsiteX469" fmla="*/ 49101 w 141862"/>
                            <a:gd name="connsiteY469" fmla="*/ 6040 h 172244"/>
                            <a:gd name="connsiteX470" fmla="*/ 56996 w 141862"/>
                            <a:gd name="connsiteY470" fmla="*/ 14533 h 172244"/>
                            <a:gd name="connsiteX471" fmla="*/ 63156 w 141862"/>
                            <a:gd name="connsiteY471" fmla="*/ 7117 h 172244"/>
                            <a:gd name="connsiteX472" fmla="*/ 66146 w 141862"/>
                            <a:gd name="connsiteY472" fmla="*/ 3529 h 172244"/>
                            <a:gd name="connsiteX473" fmla="*/ 60046 w 141862"/>
                            <a:gd name="connsiteY473" fmla="*/ 4366 h 172244"/>
                            <a:gd name="connsiteX474" fmla="*/ 50297 w 141862"/>
                            <a:gd name="connsiteY474" fmla="*/ 5801 h 172244"/>
                            <a:gd name="connsiteX475" fmla="*/ 63455 w 141862"/>
                            <a:gd name="connsiteY475" fmla="*/ 6818 h 172244"/>
                            <a:gd name="connsiteX476" fmla="*/ 66146 w 141862"/>
                            <a:gd name="connsiteY476" fmla="*/ 3529 h 172244"/>
                            <a:gd name="connsiteX477" fmla="*/ 112019 w 141862"/>
                            <a:gd name="connsiteY477" fmla="*/ 137078 h 172244"/>
                            <a:gd name="connsiteX478" fmla="*/ 106218 w 141862"/>
                            <a:gd name="connsiteY478" fmla="*/ 142640 h 172244"/>
                            <a:gd name="connsiteX479" fmla="*/ 118717 w 141862"/>
                            <a:gd name="connsiteY479" fmla="*/ 146468 h 172244"/>
                            <a:gd name="connsiteX480" fmla="*/ 112019 w 141862"/>
                            <a:gd name="connsiteY480" fmla="*/ 137078 h 172244"/>
                            <a:gd name="connsiteX481" fmla="*/ 107174 w 141862"/>
                            <a:gd name="connsiteY481" fmla="*/ 110045 h 172244"/>
                            <a:gd name="connsiteX482" fmla="*/ 99998 w 141862"/>
                            <a:gd name="connsiteY482" fmla="*/ 125894 h 172244"/>
                            <a:gd name="connsiteX483" fmla="*/ 110344 w 141862"/>
                            <a:gd name="connsiteY483" fmla="*/ 128047 h 172244"/>
                            <a:gd name="connsiteX484" fmla="*/ 107174 w 141862"/>
                            <a:gd name="connsiteY484" fmla="*/ 110045 h 172244"/>
                            <a:gd name="connsiteX485" fmla="*/ 63575 w 141862"/>
                            <a:gd name="connsiteY485" fmla="*/ 7177 h 172244"/>
                            <a:gd name="connsiteX486" fmla="*/ 57235 w 141862"/>
                            <a:gd name="connsiteY486" fmla="*/ 14772 h 172244"/>
                            <a:gd name="connsiteX487" fmla="*/ 62438 w 141862"/>
                            <a:gd name="connsiteY487" fmla="*/ 20334 h 172244"/>
                            <a:gd name="connsiteX488" fmla="*/ 65489 w 141862"/>
                            <a:gd name="connsiteY488" fmla="*/ 7296 h 172244"/>
                            <a:gd name="connsiteX489" fmla="*/ 63575 w 141862"/>
                            <a:gd name="connsiteY489" fmla="*/ 7177 h 172244"/>
                            <a:gd name="connsiteX490" fmla="*/ 62738 w 141862"/>
                            <a:gd name="connsiteY490" fmla="*/ 21291 h 172244"/>
                            <a:gd name="connsiteX491" fmla="*/ 63575 w 141862"/>
                            <a:gd name="connsiteY491" fmla="*/ 26734 h 172244"/>
                            <a:gd name="connsiteX492" fmla="*/ 67044 w 141862"/>
                            <a:gd name="connsiteY492" fmla="*/ 26195 h 172244"/>
                            <a:gd name="connsiteX493" fmla="*/ 62738 w 141862"/>
                            <a:gd name="connsiteY493" fmla="*/ 21291 h 172244"/>
                            <a:gd name="connsiteX494" fmla="*/ 80919 w 141862"/>
                            <a:gd name="connsiteY494" fmla="*/ 54664 h 172244"/>
                            <a:gd name="connsiteX495" fmla="*/ 84388 w 141862"/>
                            <a:gd name="connsiteY495" fmla="*/ 78646 h 172244"/>
                            <a:gd name="connsiteX496" fmla="*/ 100297 w 141862"/>
                            <a:gd name="connsiteY496" fmla="*/ 56398 h 172244"/>
                            <a:gd name="connsiteX497" fmla="*/ 80919 w 141862"/>
                            <a:gd name="connsiteY497" fmla="*/ 54664 h 172244"/>
                            <a:gd name="connsiteX498" fmla="*/ 100476 w 141862"/>
                            <a:gd name="connsiteY498" fmla="*/ 56697 h 172244"/>
                            <a:gd name="connsiteX499" fmla="*/ 84568 w 141862"/>
                            <a:gd name="connsiteY499" fmla="*/ 79005 h 172244"/>
                            <a:gd name="connsiteX500" fmla="*/ 103945 w 141862"/>
                            <a:gd name="connsiteY500" fmla="*/ 84448 h 172244"/>
                            <a:gd name="connsiteX501" fmla="*/ 100476 w 141862"/>
                            <a:gd name="connsiteY501" fmla="*/ 56697 h 172244"/>
                            <a:gd name="connsiteX502" fmla="*/ 104005 w 141862"/>
                            <a:gd name="connsiteY502" fmla="*/ 84866 h 172244"/>
                            <a:gd name="connsiteX503" fmla="*/ 84926 w 141862"/>
                            <a:gd name="connsiteY503" fmla="*/ 79484 h 172244"/>
                            <a:gd name="connsiteX504" fmla="*/ 103825 w 141862"/>
                            <a:gd name="connsiteY504" fmla="*/ 96768 h 172244"/>
                            <a:gd name="connsiteX505" fmla="*/ 105201 w 141862"/>
                            <a:gd name="connsiteY505" fmla="*/ 94675 h 172244"/>
                            <a:gd name="connsiteX506" fmla="*/ 104005 w 141862"/>
                            <a:gd name="connsiteY506" fmla="*/ 84866 h 172244"/>
                            <a:gd name="connsiteX507" fmla="*/ 103646 w 141862"/>
                            <a:gd name="connsiteY507" fmla="*/ 97067 h 172244"/>
                            <a:gd name="connsiteX508" fmla="*/ 85524 w 141862"/>
                            <a:gd name="connsiteY508" fmla="*/ 80500 h 172244"/>
                            <a:gd name="connsiteX509" fmla="*/ 101014 w 141862"/>
                            <a:gd name="connsiteY509" fmla="*/ 100954 h 172244"/>
                            <a:gd name="connsiteX510" fmla="*/ 103646 w 141862"/>
                            <a:gd name="connsiteY510" fmla="*/ 97067 h 172244"/>
                            <a:gd name="connsiteX511" fmla="*/ 77032 w 141862"/>
                            <a:gd name="connsiteY511" fmla="*/ 20813 h 172244"/>
                            <a:gd name="connsiteX512" fmla="*/ 62857 w 141862"/>
                            <a:gd name="connsiteY512" fmla="*/ 20873 h 172244"/>
                            <a:gd name="connsiteX513" fmla="*/ 67403 w 141862"/>
                            <a:gd name="connsiteY513" fmla="*/ 26136 h 172244"/>
                            <a:gd name="connsiteX514" fmla="*/ 76852 w 141862"/>
                            <a:gd name="connsiteY514" fmla="*/ 24700 h 172244"/>
                            <a:gd name="connsiteX515" fmla="*/ 77032 w 141862"/>
                            <a:gd name="connsiteY515" fmla="*/ 20813 h 172244"/>
                            <a:gd name="connsiteX516" fmla="*/ 72307 w 141862"/>
                            <a:gd name="connsiteY516" fmla="*/ 7835 h 172244"/>
                            <a:gd name="connsiteX517" fmla="*/ 62857 w 141862"/>
                            <a:gd name="connsiteY517" fmla="*/ 20514 h 172244"/>
                            <a:gd name="connsiteX518" fmla="*/ 77032 w 141862"/>
                            <a:gd name="connsiteY518" fmla="*/ 20454 h 172244"/>
                            <a:gd name="connsiteX519" fmla="*/ 77450 w 141862"/>
                            <a:gd name="connsiteY519" fmla="*/ 8253 h 172244"/>
                            <a:gd name="connsiteX520" fmla="*/ 72307 w 141862"/>
                            <a:gd name="connsiteY520" fmla="*/ 7835 h 172244"/>
                            <a:gd name="connsiteX521" fmla="*/ 65788 w 141862"/>
                            <a:gd name="connsiteY521" fmla="*/ 7356 h 172244"/>
                            <a:gd name="connsiteX522" fmla="*/ 62857 w 141862"/>
                            <a:gd name="connsiteY522" fmla="*/ 19976 h 172244"/>
                            <a:gd name="connsiteX523" fmla="*/ 71888 w 141862"/>
                            <a:gd name="connsiteY523" fmla="*/ 7835 h 172244"/>
                            <a:gd name="connsiteX524" fmla="*/ 65788 w 141862"/>
                            <a:gd name="connsiteY524" fmla="*/ 7356 h 172244"/>
                            <a:gd name="connsiteX525" fmla="*/ 76912 w 141862"/>
                            <a:gd name="connsiteY525" fmla="*/ 24999 h 172244"/>
                            <a:gd name="connsiteX526" fmla="*/ 67701 w 141862"/>
                            <a:gd name="connsiteY526" fmla="*/ 26435 h 172244"/>
                            <a:gd name="connsiteX527" fmla="*/ 78287 w 141862"/>
                            <a:gd name="connsiteY527" fmla="*/ 38635 h 172244"/>
                            <a:gd name="connsiteX528" fmla="*/ 76912 w 141862"/>
                            <a:gd name="connsiteY528" fmla="*/ 24999 h 172244"/>
                            <a:gd name="connsiteX529" fmla="*/ 110822 w 141862"/>
                            <a:gd name="connsiteY529" fmla="*/ 128884 h 172244"/>
                            <a:gd name="connsiteX530" fmla="*/ 112198 w 141862"/>
                            <a:gd name="connsiteY530" fmla="*/ 136659 h 172244"/>
                            <a:gd name="connsiteX531" fmla="*/ 131576 w 141862"/>
                            <a:gd name="connsiteY531" fmla="*/ 137437 h 172244"/>
                            <a:gd name="connsiteX532" fmla="*/ 133011 w 141862"/>
                            <a:gd name="connsiteY532" fmla="*/ 136360 h 172244"/>
                            <a:gd name="connsiteX533" fmla="*/ 129183 w 141862"/>
                            <a:gd name="connsiteY533" fmla="*/ 132413 h 172244"/>
                            <a:gd name="connsiteX534" fmla="*/ 111241 w 141862"/>
                            <a:gd name="connsiteY534" fmla="*/ 128645 h 172244"/>
                            <a:gd name="connsiteX535" fmla="*/ 110822 w 141862"/>
                            <a:gd name="connsiteY535" fmla="*/ 128884 h 172244"/>
                            <a:gd name="connsiteX536" fmla="*/ 131097 w 141862"/>
                            <a:gd name="connsiteY536" fmla="*/ 137736 h 172244"/>
                            <a:gd name="connsiteX537" fmla="*/ 112377 w 141862"/>
                            <a:gd name="connsiteY537" fmla="*/ 136958 h 172244"/>
                            <a:gd name="connsiteX538" fmla="*/ 119195 w 141862"/>
                            <a:gd name="connsiteY538" fmla="*/ 146528 h 172244"/>
                            <a:gd name="connsiteX539" fmla="*/ 131097 w 141862"/>
                            <a:gd name="connsiteY539" fmla="*/ 137736 h 172244"/>
                            <a:gd name="connsiteX540" fmla="*/ 78766 w 141862"/>
                            <a:gd name="connsiteY540" fmla="*/ 39532 h 172244"/>
                            <a:gd name="connsiteX541" fmla="*/ 80919 w 141862"/>
                            <a:gd name="connsiteY541" fmla="*/ 54305 h 172244"/>
                            <a:gd name="connsiteX542" fmla="*/ 100057 w 141862"/>
                            <a:gd name="connsiteY542" fmla="*/ 56039 h 172244"/>
                            <a:gd name="connsiteX543" fmla="*/ 78766 w 141862"/>
                            <a:gd name="connsiteY543" fmla="*/ 39532 h 172244"/>
                            <a:gd name="connsiteX544" fmla="*/ 107533 w 141862"/>
                            <a:gd name="connsiteY544" fmla="*/ 109985 h 172244"/>
                            <a:gd name="connsiteX545" fmla="*/ 110703 w 141862"/>
                            <a:gd name="connsiteY545" fmla="*/ 128167 h 172244"/>
                            <a:gd name="connsiteX546" fmla="*/ 111181 w 141862"/>
                            <a:gd name="connsiteY546" fmla="*/ 128286 h 172244"/>
                            <a:gd name="connsiteX547" fmla="*/ 119973 w 141862"/>
                            <a:gd name="connsiteY547" fmla="*/ 122904 h 172244"/>
                            <a:gd name="connsiteX548" fmla="*/ 107533 w 141862"/>
                            <a:gd name="connsiteY548" fmla="*/ 109985 h 172244"/>
                            <a:gd name="connsiteX549" fmla="*/ 120212 w 141862"/>
                            <a:gd name="connsiteY549" fmla="*/ 123143 h 172244"/>
                            <a:gd name="connsiteX550" fmla="*/ 111660 w 141862"/>
                            <a:gd name="connsiteY550" fmla="*/ 128346 h 172244"/>
                            <a:gd name="connsiteX551" fmla="*/ 128705 w 141862"/>
                            <a:gd name="connsiteY551" fmla="*/ 131935 h 172244"/>
                            <a:gd name="connsiteX552" fmla="*/ 120212 w 141862"/>
                            <a:gd name="connsiteY552" fmla="*/ 123143 h 172244"/>
                            <a:gd name="connsiteX553" fmla="*/ 103885 w 141862"/>
                            <a:gd name="connsiteY553" fmla="*/ 97306 h 172244"/>
                            <a:gd name="connsiteX554" fmla="*/ 101253 w 141862"/>
                            <a:gd name="connsiteY554" fmla="*/ 101254 h 172244"/>
                            <a:gd name="connsiteX555" fmla="*/ 106995 w 141862"/>
                            <a:gd name="connsiteY555" fmla="*/ 108849 h 172244"/>
                            <a:gd name="connsiteX556" fmla="*/ 105739 w 141862"/>
                            <a:gd name="connsiteY556" fmla="*/ 98981 h 172244"/>
                            <a:gd name="connsiteX557" fmla="*/ 103885 w 141862"/>
                            <a:gd name="connsiteY557" fmla="*/ 97306 h 172244"/>
                            <a:gd name="connsiteX558" fmla="*/ 66206 w 141862"/>
                            <a:gd name="connsiteY558" fmla="*/ 3947 h 172244"/>
                            <a:gd name="connsiteX559" fmla="*/ 63814 w 141862"/>
                            <a:gd name="connsiteY559" fmla="*/ 6818 h 172244"/>
                            <a:gd name="connsiteX560" fmla="*/ 65489 w 141862"/>
                            <a:gd name="connsiteY560" fmla="*/ 6937 h 172244"/>
                            <a:gd name="connsiteX561" fmla="*/ 66206 w 141862"/>
                            <a:gd name="connsiteY561" fmla="*/ 3947 h 172244"/>
                            <a:gd name="connsiteX562" fmla="*/ 66685 w 141862"/>
                            <a:gd name="connsiteY562" fmla="*/ 3409 h 172244"/>
                            <a:gd name="connsiteX563" fmla="*/ 65848 w 141862"/>
                            <a:gd name="connsiteY563" fmla="*/ 6997 h 172244"/>
                            <a:gd name="connsiteX564" fmla="*/ 72067 w 141862"/>
                            <a:gd name="connsiteY564" fmla="*/ 7476 h 172244"/>
                            <a:gd name="connsiteX565" fmla="*/ 77390 w 141862"/>
                            <a:gd name="connsiteY565" fmla="*/ 299 h 172244"/>
                            <a:gd name="connsiteX566" fmla="*/ 66685 w 141862"/>
                            <a:gd name="connsiteY566" fmla="*/ 3409 h 172244"/>
                            <a:gd name="connsiteX567" fmla="*/ 88754 w 141862"/>
                            <a:gd name="connsiteY567" fmla="*/ 20992 h 172244"/>
                            <a:gd name="connsiteX568" fmla="*/ 78766 w 141862"/>
                            <a:gd name="connsiteY568" fmla="*/ 39114 h 172244"/>
                            <a:gd name="connsiteX569" fmla="*/ 100297 w 141862"/>
                            <a:gd name="connsiteY569" fmla="*/ 55800 h 172244"/>
                            <a:gd name="connsiteX570" fmla="*/ 88754 w 141862"/>
                            <a:gd name="connsiteY570" fmla="*/ 20992 h 172244"/>
                            <a:gd name="connsiteX571" fmla="*/ 77270 w 141862"/>
                            <a:gd name="connsiteY571" fmla="*/ 24940 h 172244"/>
                            <a:gd name="connsiteX572" fmla="*/ 78647 w 141862"/>
                            <a:gd name="connsiteY572" fmla="*/ 38576 h 172244"/>
                            <a:gd name="connsiteX573" fmla="*/ 88395 w 141862"/>
                            <a:gd name="connsiteY573" fmla="*/ 20873 h 172244"/>
                            <a:gd name="connsiteX574" fmla="*/ 77270 w 141862"/>
                            <a:gd name="connsiteY574" fmla="*/ 24940 h 172244"/>
                            <a:gd name="connsiteX575" fmla="*/ 106158 w 141862"/>
                            <a:gd name="connsiteY575" fmla="*/ 99340 h 172244"/>
                            <a:gd name="connsiteX576" fmla="*/ 107414 w 141862"/>
                            <a:gd name="connsiteY576" fmla="*/ 109208 h 172244"/>
                            <a:gd name="connsiteX577" fmla="*/ 113275 w 141862"/>
                            <a:gd name="connsiteY577" fmla="*/ 105859 h 172244"/>
                            <a:gd name="connsiteX578" fmla="*/ 106158 w 141862"/>
                            <a:gd name="connsiteY578" fmla="*/ 99340 h 172244"/>
                            <a:gd name="connsiteX579" fmla="*/ 113514 w 141862"/>
                            <a:gd name="connsiteY579" fmla="*/ 106098 h 172244"/>
                            <a:gd name="connsiteX580" fmla="*/ 107653 w 141862"/>
                            <a:gd name="connsiteY580" fmla="*/ 109447 h 172244"/>
                            <a:gd name="connsiteX581" fmla="*/ 126492 w 141862"/>
                            <a:gd name="connsiteY581" fmla="*/ 117940 h 172244"/>
                            <a:gd name="connsiteX582" fmla="*/ 113514 w 141862"/>
                            <a:gd name="connsiteY582" fmla="*/ 106098 h 172244"/>
                            <a:gd name="connsiteX583" fmla="*/ 127030 w 141862"/>
                            <a:gd name="connsiteY583" fmla="*/ 118598 h 172244"/>
                            <a:gd name="connsiteX584" fmla="*/ 108011 w 141862"/>
                            <a:gd name="connsiteY584" fmla="*/ 109985 h 172244"/>
                            <a:gd name="connsiteX585" fmla="*/ 120272 w 141862"/>
                            <a:gd name="connsiteY585" fmla="*/ 122724 h 172244"/>
                            <a:gd name="connsiteX586" fmla="*/ 127030 w 141862"/>
                            <a:gd name="connsiteY586" fmla="*/ 118598 h 172244"/>
                            <a:gd name="connsiteX587" fmla="*/ 131696 w 141862"/>
                            <a:gd name="connsiteY587" fmla="*/ 137796 h 172244"/>
                            <a:gd name="connsiteX588" fmla="*/ 122007 w 141862"/>
                            <a:gd name="connsiteY588" fmla="*/ 144913 h 172244"/>
                            <a:gd name="connsiteX589" fmla="*/ 133908 w 141862"/>
                            <a:gd name="connsiteY589" fmla="*/ 137856 h 172244"/>
                            <a:gd name="connsiteX590" fmla="*/ 131696 w 141862"/>
                            <a:gd name="connsiteY590" fmla="*/ 137796 h 172244"/>
                            <a:gd name="connsiteX591" fmla="*/ 105320 w 141862"/>
                            <a:gd name="connsiteY591" fmla="*/ 95213 h 172244"/>
                            <a:gd name="connsiteX592" fmla="*/ 104124 w 141862"/>
                            <a:gd name="connsiteY592" fmla="*/ 97007 h 172244"/>
                            <a:gd name="connsiteX593" fmla="*/ 105739 w 141862"/>
                            <a:gd name="connsiteY593" fmla="*/ 98502 h 172244"/>
                            <a:gd name="connsiteX594" fmla="*/ 105320 w 141862"/>
                            <a:gd name="connsiteY594" fmla="*/ 95213 h 172244"/>
                            <a:gd name="connsiteX595" fmla="*/ 105560 w 141862"/>
                            <a:gd name="connsiteY595" fmla="*/ 94794 h 172244"/>
                            <a:gd name="connsiteX596" fmla="*/ 106098 w 141862"/>
                            <a:gd name="connsiteY596" fmla="*/ 98861 h 172244"/>
                            <a:gd name="connsiteX597" fmla="*/ 113574 w 141862"/>
                            <a:gd name="connsiteY597" fmla="*/ 105679 h 172244"/>
                            <a:gd name="connsiteX598" fmla="*/ 118957 w 141862"/>
                            <a:gd name="connsiteY598" fmla="*/ 102569 h 172244"/>
                            <a:gd name="connsiteX599" fmla="*/ 110822 w 141862"/>
                            <a:gd name="connsiteY599" fmla="*/ 86900 h 172244"/>
                            <a:gd name="connsiteX600" fmla="*/ 105560 w 141862"/>
                            <a:gd name="connsiteY600" fmla="*/ 94794 h 172244"/>
                            <a:gd name="connsiteX601" fmla="*/ 77390 w 141862"/>
                            <a:gd name="connsiteY601" fmla="*/ 20813 h 172244"/>
                            <a:gd name="connsiteX602" fmla="*/ 77270 w 141862"/>
                            <a:gd name="connsiteY602" fmla="*/ 24581 h 172244"/>
                            <a:gd name="connsiteX603" fmla="*/ 87797 w 141862"/>
                            <a:gd name="connsiteY603" fmla="*/ 20753 h 172244"/>
                            <a:gd name="connsiteX604" fmla="*/ 77390 w 141862"/>
                            <a:gd name="connsiteY604" fmla="*/ 20813 h 172244"/>
                            <a:gd name="connsiteX605" fmla="*/ 104363 w 141862"/>
                            <a:gd name="connsiteY605" fmla="*/ 84926 h 172244"/>
                            <a:gd name="connsiteX606" fmla="*/ 105500 w 141862"/>
                            <a:gd name="connsiteY606" fmla="*/ 94196 h 172244"/>
                            <a:gd name="connsiteX607" fmla="*/ 110524 w 141862"/>
                            <a:gd name="connsiteY607" fmla="*/ 86661 h 172244"/>
                            <a:gd name="connsiteX608" fmla="*/ 104363 w 141862"/>
                            <a:gd name="connsiteY608" fmla="*/ 84926 h 172244"/>
                            <a:gd name="connsiteX609" fmla="*/ 77809 w 141862"/>
                            <a:gd name="connsiteY609" fmla="*/ 8253 h 172244"/>
                            <a:gd name="connsiteX610" fmla="*/ 77390 w 141862"/>
                            <a:gd name="connsiteY610" fmla="*/ 20454 h 172244"/>
                            <a:gd name="connsiteX611" fmla="*/ 88514 w 141862"/>
                            <a:gd name="connsiteY611" fmla="*/ 20394 h 172244"/>
                            <a:gd name="connsiteX612" fmla="*/ 82295 w 141862"/>
                            <a:gd name="connsiteY612" fmla="*/ 8612 h 172244"/>
                            <a:gd name="connsiteX613" fmla="*/ 77809 w 141862"/>
                            <a:gd name="connsiteY613" fmla="*/ 8253 h 172244"/>
                            <a:gd name="connsiteX614" fmla="*/ 77690 w 141862"/>
                            <a:gd name="connsiteY614" fmla="*/ 538 h 172244"/>
                            <a:gd name="connsiteX615" fmla="*/ 72486 w 141862"/>
                            <a:gd name="connsiteY615" fmla="*/ 7536 h 172244"/>
                            <a:gd name="connsiteX616" fmla="*/ 77450 w 141862"/>
                            <a:gd name="connsiteY616" fmla="*/ 7894 h 172244"/>
                            <a:gd name="connsiteX617" fmla="*/ 77690 w 141862"/>
                            <a:gd name="connsiteY617" fmla="*/ 538 h 172244"/>
                            <a:gd name="connsiteX618" fmla="*/ 100955 w 141862"/>
                            <a:gd name="connsiteY618" fmla="*/ 57893 h 172244"/>
                            <a:gd name="connsiteX619" fmla="*/ 104303 w 141862"/>
                            <a:gd name="connsiteY619" fmla="*/ 84567 h 172244"/>
                            <a:gd name="connsiteX620" fmla="*/ 110584 w 141862"/>
                            <a:gd name="connsiteY620" fmla="*/ 86361 h 172244"/>
                            <a:gd name="connsiteX621" fmla="*/ 100955 w 141862"/>
                            <a:gd name="connsiteY621" fmla="*/ 57893 h 172244"/>
                            <a:gd name="connsiteX622" fmla="*/ 127329 w 141862"/>
                            <a:gd name="connsiteY622" fmla="*/ 118777 h 172244"/>
                            <a:gd name="connsiteX623" fmla="*/ 120512 w 141862"/>
                            <a:gd name="connsiteY623" fmla="*/ 122964 h 172244"/>
                            <a:gd name="connsiteX624" fmla="*/ 129303 w 141862"/>
                            <a:gd name="connsiteY624" fmla="*/ 132114 h 172244"/>
                            <a:gd name="connsiteX625" fmla="*/ 136360 w 141862"/>
                            <a:gd name="connsiteY625" fmla="*/ 133609 h 172244"/>
                            <a:gd name="connsiteX626" fmla="*/ 127329 w 141862"/>
                            <a:gd name="connsiteY626" fmla="*/ 118777 h 172244"/>
                            <a:gd name="connsiteX627" fmla="*/ 119076 w 141862"/>
                            <a:gd name="connsiteY627" fmla="*/ 102868 h 172244"/>
                            <a:gd name="connsiteX628" fmla="*/ 113813 w 141862"/>
                            <a:gd name="connsiteY628" fmla="*/ 105919 h 172244"/>
                            <a:gd name="connsiteX629" fmla="*/ 126791 w 141862"/>
                            <a:gd name="connsiteY629" fmla="*/ 117820 h 172244"/>
                            <a:gd name="connsiteX630" fmla="*/ 119076 w 141862"/>
                            <a:gd name="connsiteY630" fmla="*/ 102868 h 172244"/>
                            <a:gd name="connsiteX631" fmla="*/ 78048 w 141862"/>
                            <a:gd name="connsiteY631" fmla="*/ 598 h 172244"/>
                            <a:gd name="connsiteX632" fmla="*/ 77809 w 141862"/>
                            <a:gd name="connsiteY632" fmla="*/ 7894 h 172244"/>
                            <a:gd name="connsiteX633" fmla="*/ 82055 w 141862"/>
                            <a:gd name="connsiteY633" fmla="*/ 8253 h 172244"/>
                            <a:gd name="connsiteX634" fmla="*/ 78048 w 141862"/>
                            <a:gd name="connsiteY634" fmla="*/ 598 h 172244"/>
                            <a:gd name="connsiteX635" fmla="*/ 108371 w 141862"/>
                            <a:gd name="connsiteY635" fmla="*/ 67582 h 172244"/>
                            <a:gd name="connsiteX636" fmla="*/ 111002 w 141862"/>
                            <a:gd name="connsiteY636" fmla="*/ 86541 h 172244"/>
                            <a:gd name="connsiteX637" fmla="*/ 124399 w 141862"/>
                            <a:gd name="connsiteY637" fmla="*/ 98622 h 172244"/>
                            <a:gd name="connsiteX638" fmla="*/ 108371 w 141862"/>
                            <a:gd name="connsiteY638" fmla="*/ 67582 h 172244"/>
                            <a:gd name="connsiteX639" fmla="*/ 101133 w 141862"/>
                            <a:gd name="connsiteY639" fmla="*/ 57235 h 172244"/>
                            <a:gd name="connsiteX640" fmla="*/ 110464 w 141862"/>
                            <a:gd name="connsiteY640" fmla="*/ 84866 h 172244"/>
                            <a:gd name="connsiteX641" fmla="*/ 107952 w 141862"/>
                            <a:gd name="connsiteY641" fmla="*/ 66685 h 172244"/>
                            <a:gd name="connsiteX642" fmla="*/ 101133 w 141862"/>
                            <a:gd name="connsiteY642" fmla="*/ 57235 h 172244"/>
                            <a:gd name="connsiteX643" fmla="*/ 124638 w 141862"/>
                            <a:gd name="connsiteY643" fmla="*/ 99280 h 172244"/>
                            <a:gd name="connsiteX644" fmla="*/ 111421 w 141862"/>
                            <a:gd name="connsiteY644" fmla="*/ 87318 h 172244"/>
                            <a:gd name="connsiteX645" fmla="*/ 119255 w 141862"/>
                            <a:gd name="connsiteY645" fmla="*/ 102390 h 172244"/>
                            <a:gd name="connsiteX646" fmla="*/ 124638 w 141862"/>
                            <a:gd name="connsiteY646" fmla="*/ 99280 h 172244"/>
                            <a:gd name="connsiteX647" fmla="*/ 136300 w 141862"/>
                            <a:gd name="connsiteY647" fmla="*/ 133908 h 172244"/>
                            <a:gd name="connsiteX648" fmla="*/ 129722 w 141862"/>
                            <a:gd name="connsiteY648" fmla="*/ 132533 h 172244"/>
                            <a:gd name="connsiteX649" fmla="*/ 133250 w 141862"/>
                            <a:gd name="connsiteY649" fmla="*/ 136181 h 172244"/>
                            <a:gd name="connsiteX650" fmla="*/ 136300 w 141862"/>
                            <a:gd name="connsiteY650" fmla="*/ 133908 h 172244"/>
                            <a:gd name="connsiteX651" fmla="*/ 133250 w 141862"/>
                            <a:gd name="connsiteY651" fmla="*/ 136659 h 172244"/>
                            <a:gd name="connsiteX652" fmla="*/ 132114 w 141862"/>
                            <a:gd name="connsiteY652" fmla="*/ 137497 h 172244"/>
                            <a:gd name="connsiteX653" fmla="*/ 134087 w 141862"/>
                            <a:gd name="connsiteY653" fmla="*/ 137557 h 172244"/>
                            <a:gd name="connsiteX654" fmla="*/ 133250 w 141862"/>
                            <a:gd name="connsiteY654" fmla="*/ 136659 h 172244"/>
                            <a:gd name="connsiteX655" fmla="*/ 96768 w 141862"/>
                            <a:gd name="connsiteY655" fmla="*/ 28408 h 172244"/>
                            <a:gd name="connsiteX656" fmla="*/ 100775 w 141862"/>
                            <a:gd name="connsiteY656" fmla="*/ 56219 h 172244"/>
                            <a:gd name="connsiteX657" fmla="*/ 107653 w 141862"/>
                            <a:gd name="connsiteY657" fmla="*/ 65728 h 172244"/>
                            <a:gd name="connsiteX658" fmla="*/ 96768 w 141862"/>
                            <a:gd name="connsiteY658" fmla="*/ 28408 h 172244"/>
                            <a:gd name="connsiteX659" fmla="*/ 89113 w 141862"/>
                            <a:gd name="connsiteY659" fmla="*/ 20992 h 172244"/>
                            <a:gd name="connsiteX660" fmla="*/ 100177 w 141862"/>
                            <a:gd name="connsiteY660" fmla="*/ 54424 h 172244"/>
                            <a:gd name="connsiteX661" fmla="*/ 96110 w 141862"/>
                            <a:gd name="connsiteY661" fmla="*/ 26136 h 172244"/>
                            <a:gd name="connsiteX662" fmla="*/ 89113 w 141862"/>
                            <a:gd name="connsiteY662" fmla="*/ 20992 h 172244"/>
                            <a:gd name="connsiteX663" fmla="*/ 124818 w 141862"/>
                            <a:gd name="connsiteY663" fmla="*/ 99639 h 172244"/>
                            <a:gd name="connsiteX664" fmla="*/ 119375 w 141862"/>
                            <a:gd name="connsiteY664" fmla="*/ 102749 h 172244"/>
                            <a:gd name="connsiteX665" fmla="*/ 127090 w 141862"/>
                            <a:gd name="connsiteY665" fmla="*/ 117701 h 172244"/>
                            <a:gd name="connsiteX666" fmla="*/ 124818 w 141862"/>
                            <a:gd name="connsiteY666" fmla="*/ 99639 h 172244"/>
                            <a:gd name="connsiteX667" fmla="*/ 87079 w 141862"/>
                            <a:gd name="connsiteY667" fmla="*/ 8971 h 172244"/>
                            <a:gd name="connsiteX668" fmla="*/ 82713 w 141862"/>
                            <a:gd name="connsiteY668" fmla="*/ 8612 h 172244"/>
                            <a:gd name="connsiteX669" fmla="*/ 88514 w 141862"/>
                            <a:gd name="connsiteY669" fmla="*/ 19617 h 172244"/>
                            <a:gd name="connsiteX670" fmla="*/ 87079 w 141862"/>
                            <a:gd name="connsiteY670" fmla="*/ 8971 h 172244"/>
                            <a:gd name="connsiteX671" fmla="*/ 136181 w 141862"/>
                            <a:gd name="connsiteY671" fmla="*/ 134447 h 172244"/>
                            <a:gd name="connsiteX672" fmla="*/ 133489 w 141862"/>
                            <a:gd name="connsiteY672" fmla="*/ 136420 h 172244"/>
                            <a:gd name="connsiteX673" fmla="*/ 134447 w 141862"/>
                            <a:gd name="connsiteY673" fmla="*/ 137437 h 172244"/>
                            <a:gd name="connsiteX674" fmla="*/ 136181 w 141862"/>
                            <a:gd name="connsiteY674" fmla="*/ 134447 h 172244"/>
                            <a:gd name="connsiteX675" fmla="*/ 125236 w 141862"/>
                            <a:gd name="connsiteY675" fmla="*/ 100057 h 172244"/>
                            <a:gd name="connsiteX676" fmla="*/ 127569 w 141862"/>
                            <a:gd name="connsiteY676" fmla="*/ 118358 h 172244"/>
                            <a:gd name="connsiteX677" fmla="*/ 135762 w 141862"/>
                            <a:gd name="connsiteY677" fmla="*/ 116983 h 172244"/>
                            <a:gd name="connsiteX678" fmla="*/ 125236 w 141862"/>
                            <a:gd name="connsiteY678" fmla="*/ 100057 h 172244"/>
                            <a:gd name="connsiteX679" fmla="*/ 135882 w 141862"/>
                            <a:gd name="connsiteY679" fmla="*/ 117342 h 172244"/>
                            <a:gd name="connsiteX680" fmla="*/ 127748 w 141862"/>
                            <a:gd name="connsiteY680" fmla="*/ 118717 h 172244"/>
                            <a:gd name="connsiteX681" fmla="*/ 136240 w 141862"/>
                            <a:gd name="connsiteY681" fmla="*/ 126911 h 172244"/>
                            <a:gd name="connsiteX682" fmla="*/ 135882 w 141862"/>
                            <a:gd name="connsiteY682" fmla="*/ 117342 h 172244"/>
                            <a:gd name="connsiteX683" fmla="*/ 92162 w 141862"/>
                            <a:gd name="connsiteY683" fmla="*/ 9868 h 172244"/>
                            <a:gd name="connsiteX684" fmla="*/ 88933 w 141862"/>
                            <a:gd name="connsiteY684" fmla="*/ 20514 h 172244"/>
                            <a:gd name="connsiteX685" fmla="*/ 95990 w 141862"/>
                            <a:gd name="connsiteY685" fmla="*/ 25657 h 172244"/>
                            <a:gd name="connsiteX686" fmla="*/ 92162 w 141862"/>
                            <a:gd name="connsiteY686" fmla="*/ 9868 h 172244"/>
                            <a:gd name="connsiteX687" fmla="*/ 136300 w 141862"/>
                            <a:gd name="connsiteY687" fmla="*/ 127389 h 172244"/>
                            <a:gd name="connsiteX688" fmla="*/ 128226 w 141862"/>
                            <a:gd name="connsiteY688" fmla="*/ 119614 h 172244"/>
                            <a:gd name="connsiteX689" fmla="*/ 136540 w 141862"/>
                            <a:gd name="connsiteY689" fmla="*/ 133191 h 172244"/>
                            <a:gd name="connsiteX690" fmla="*/ 136300 w 141862"/>
                            <a:gd name="connsiteY690" fmla="*/ 127389 h 172244"/>
                            <a:gd name="connsiteX691" fmla="*/ 87378 w 141862"/>
                            <a:gd name="connsiteY691" fmla="*/ 9031 h 172244"/>
                            <a:gd name="connsiteX692" fmla="*/ 88814 w 141862"/>
                            <a:gd name="connsiteY692" fmla="*/ 19796 h 172244"/>
                            <a:gd name="connsiteX693" fmla="*/ 91924 w 141862"/>
                            <a:gd name="connsiteY693" fmla="*/ 9390 h 172244"/>
                            <a:gd name="connsiteX694" fmla="*/ 87378 w 141862"/>
                            <a:gd name="connsiteY694" fmla="*/ 9031 h 172244"/>
                            <a:gd name="connsiteX695" fmla="*/ 86661 w 141862"/>
                            <a:gd name="connsiteY695" fmla="*/ 3349 h 172244"/>
                            <a:gd name="connsiteX696" fmla="*/ 87378 w 141862"/>
                            <a:gd name="connsiteY696" fmla="*/ 8612 h 172244"/>
                            <a:gd name="connsiteX697" fmla="*/ 91804 w 141862"/>
                            <a:gd name="connsiteY697" fmla="*/ 8971 h 172244"/>
                            <a:gd name="connsiteX698" fmla="*/ 86661 w 141862"/>
                            <a:gd name="connsiteY698" fmla="*/ 3349 h 172244"/>
                            <a:gd name="connsiteX699" fmla="*/ 136659 w 141862"/>
                            <a:gd name="connsiteY699" fmla="*/ 127688 h 172244"/>
                            <a:gd name="connsiteX700" fmla="*/ 136899 w 141862"/>
                            <a:gd name="connsiteY700" fmla="*/ 133549 h 172244"/>
                            <a:gd name="connsiteX701" fmla="*/ 139172 w 141862"/>
                            <a:gd name="connsiteY701" fmla="*/ 132891 h 172244"/>
                            <a:gd name="connsiteX702" fmla="*/ 138454 w 141862"/>
                            <a:gd name="connsiteY702" fmla="*/ 129423 h 172244"/>
                            <a:gd name="connsiteX703" fmla="*/ 136659 w 141862"/>
                            <a:gd name="connsiteY703" fmla="*/ 127688 h 172244"/>
                            <a:gd name="connsiteX704" fmla="*/ 139530 w 141862"/>
                            <a:gd name="connsiteY704" fmla="*/ 133191 h 172244"/>
                            <a:gd name="connsiteX705" fmla="*/ 140308 w 141862"/>
                            <a:gd name="connsiteY705" fmla="*/ 137018 h 172244"/>
                            <a:gd name="connsiteX706" fmla="*/ 141444 w 141862"/>
                            <a:gd name="connsiteY706" fmla="*/ 132592 h 172244"/>
                            <a:gd name="connsiteX707" fmla="*/ 139530 w 141862"/>
                            <a:gd name="connsiteY707" fmla="*/ 133191 h 172244"/>
                            <a:gd name="connsiteX708" fmla="*/ 131636 w 141862"/>
                            <a:gd name="connsiteY708" fmla="*/ 107294 h 172244"/>
                            <a:gd name="connsiteX709" fmla="*/ 126253 w 141862"/>
                            <a:gd name="connsiteY709" fmla="*/ 101074 h 172244"/>
                            <a:gd name="connsiteX710" fmla="*/ 134985 w 141862"/>
                            <a:gd name="connsiteY710" fmla="*/ 115129 h 172244"/>
                            <a:gd name="connsiteX711" fmla="*/ 131636 w 141862"/>
                            <a:gd name="connsiteY711" fmla="*/ 107294 h 172244"/>
                            <a:gd name="connsiteX712" fmla="*/ 136300 w 141862"/>
                            <a:gd name="connsiteY712" fmla="*/ 119136 h 172244"/>
                            <a:gd name="connsiteX713" fmla="*/ 136600 w 141862"/>
                            <a:gd name="connsiteY713" fmla="*/ 127210 h 172244"/>
                            <a:gd name="connsiteX714" fmla="*/ 138274 w 141862"/>
                            <a:gd name="connsiteY714" fmla="*/ 128825 h 172244"/>
                            <a:gd name="connsiteX715" fmla="*/ 136300 w 141862"/>
                            <a:gd name="connsiteY715" fmla="*/ 119136 h 172244"/>
                            <a:gd name="connsiteX716" fmla="*/ 138872 w 141862"/>
                            <a:gd name="connsiteY716" fmla="*/ 129841 h 172244"/>
                            <a:gd name="connsiteX717" fmla="*/ 139470 w 141862"/>
                            <a:gd name="connsiteY717" fmla="*/ 132832 h 172244"/>
                            <a:gd name="connsiteX718" fmla="*/ 141325 w 141862"/>
                            <a:gd name="connsiteY718" fmla="*/ 132294 h 172244"/>
                            <a:gd name="connsiteX719" fmla="*/ 138872 w 141862"/>
                            <a:gd name="connsiteY719" fmla="*/ 129841 h 172244"/>
                            <a:gd name="connsiteX720" fmla="*/ 136659 w 141862"/>
                            <a:gd name="connsiteY720" fmla="*/ 119255 h 172244"/>
                            <a:gd name="connsiteX721" fmla="*/ 138752 w 141862"/>
                            <a:gd name="connsiteY721" fmla="*/ 129243 h 172244"/>
                            <a:gd name="connsiteX722" fmla="*/ 141265 w 141862"/>
                            <a:gd name="connsiteY722" fmla="*/ 131695 h 172244"/>
                            <a:gd name="connsiteX723" fmla="*/ 136659 w 141862"/>
                            <a:gd name="connsiteY723" fmla="*/ 119255 h 172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Lst>
                          <a:rect l="l" t="t" r="r" b="b"/>
                          <a:pathLst>
                            <a:path w="141862" h="172244">
                              <a:moveTo>
                                <a:pt x="16447" y="160702"/>
                              </a:moveTo>
                              <a:lnTo>
                                <a:pt x="16626" y="160463"/>
                              </a:lnTo>
                              <a:lnTo>
                                <a:pt x="25418" y="163154"/>
                              </a:lnTo>
                              <a:lnTo>
                                <a:pt x="41088" y="158669"/>
                              </a:lnTo>
                              <a:lnTo>
                                <a:pt x="46171" y="153585"/>
                              </a:lnTo>
                              <a:lnTo>
                                <a:pt x="46231" y="153645"/>
                              </a:lnTo>
                              <a:lnTo>
                                <a:pt x="46171" y="153585"/>
                              </a:lnTo>
                              <a:lnTo>
                                <a:pt x="68001" y="136181"/>
                              </a:lnTo>
                              <a:lnTo>
                                <a:pt x="67283" y="134267"/>
                              </a:lnTo>
                              <a:lnTo>
                                <a:pt x="54424" y="139111"/>
                              </a:lnTo>
                              <a:lnTo>
                                <a:pt x="54185" y="138992"/>
                              </a:lnTo>
                              <a:lnTo>
                                <a:pt x="52391" y="133370"/>
                              </a:lnTo>
                              <a:lnTo>
                                <a:pt x="50836" y="128645"/>
                              </a:lnTo>
                              <a:lnTo>
                                <a:pt x="50716" y="125117"/>
                              </a:lnTo>
                              <a:lnTo>
                                <a:pt x="50716" y="125117"/>
                              </a:lnTo>
                              <a:lnTo>
                                <a:pt x="50776" y="124997"/>
                              </a:lnTo>
                              <a:lnTo>
                                <a:pt x="63934" y="114770"/>
                              </a:lnTo>
                              <a:lnTo>
                                <a:pt x="55082" y="113335"/>
                              </a:lnTo>
                              <a:lnTo>
                                <a:pt x="55082" y="112976"/>
                              </a:lnTo>
                              <a:lnTo>
                                <a:pt x="67044" y="109866"/>
                              </a:lnTo>
                              <a:lnTo>
                                <a:pt x="52810" y="83730"/>
                              </a:lnTo>
                              <a:lnTo>
                                <a:pt x="52869" y="83670"/>
                              </a:lnTo>
                              <a:lnTo>
                                <a:pt x="52810" y="83551"/>
                              </a:lnTo>
                              <a:lnTo>
                                <a:pt x="67044" y="53767"/>
                              </a:lnTo>
                              <a:lnTo>
                                <a:pt x="49520" y="64891"/>
                              </a:lnTo>
                              <a:lnTo>
                                <a:pt x="49281" y="64711"/>
                              </a:lnTo>
                              <a:lnTo>
                                <a:pt x="52092" y="56039"/>
                              </a:lnTo>
                              <a:lnTo>
                                <a:pt x="39891" y="58910"/>
                              </a:lnTo>
                              <a:lnTo>
                                <a:pt x="39831" y="58850"/>
                              </a:lnTo>
                              <a:lnTo>
                                <a:pt x="39772" y="58910"/>
                              </a:lnTo>
                              <a:lnTo>
                                <a:pt x="35346" y="57714"/>
                              </a:lnTo>
                              <a:lnTo>
                                <a:pt x="34568" y="60046"/>
                              </a:lnTo>
                              <a:lnTo>
                                <a:pt x="34449" y="60106"/>
                              </a:lnTo>
                              <a:lnTo>
                                <a:pt x="34389" y="60166"/>
                              </a:lnTo>
                              <a:lnTo>
                                <a:pt x="12918" y="60286"/>
                              </a:lnTo>
                              <a:lnTo>
                                <a:pt x="5681" y="60525"/>
                              </a:lnTo>
                              <a:lnTo>
                                <a:pt x="5502" y="60345"/>
                              </a:lnTo>
                              <a:lnTo>
                                <a:pt x="5741" y="57654"/>
                              </a:lnTo>
                              <a:lnTo>
                                <a:pt x="60" y="55561"/>
                              </a:lnTo>
                              <a:lnTo>
                                <a:pt x="0" y="55262"/>
                              </a:lnTo>
                              <a:lnTo>
                                <a:pt x="6519" y="49700"/>
                              </a:lnTo>
                              <a:lnTo>
                                <a:pt x="6579" y="49700"/>
                              </a:lnTo>
                              <a:lnTo>
                                <a:pt x="6579" y="49700"/>
                              </a:lnTo>
                              <a:lnTo>
                                <a:pt x="24401" y="42523"/>
                              </a:lnTo>
                              <a:lnTo>
                                <a:pt x="22308" y="38037"/>
                              </a:lnTo>
                              <a:lnTo>
                                <a:pt x="22308" y="37858"/>
                              </a:lnTo>
                              <a:lnTo>
                                <a:pt x="28169" y="26734"/>
                              </a:lnTo>
                              <a:lnTo>
                                <a:pt x="29544" y="16925"/>
                              </a:lnTo>
                              <a:lnTo>
                                <a:pt x="29604" y="16925"/>
                              </a:lnTo>
                              <a:lnTo>
                                <a:pt x="29664" y="16865"/>
                              </a:lnTo>
                              <a:lnTo>
                                <a:pt x="29604" y="16806"/>
                              </a:lnTo>
                              <a:lnTo>
                                <a:pt x="49879" y="1435"/>
                              </a:lnTo>
                              <a:lnTo>
                                <a:pt x="50118" y="1615"/>
                              </a:lnTo>
                              <a:lnTo>
                                <a:pt x="48982" y="5801"/>
                              </a:lnTo>
                              <a:lnTo>
                                <a:pt x="60046" y="4186"/>
                              </a:lnTo>
                              <a:lnTo>
                                <a:pt x="66625" y="3289"/>
                              </a:lnTo>
                              <a:lnTo>
                                <a:pt x="77928" y="0"/>
                              </a:lnTo>
                              <a:lnTo>
                                <a:pt x="77988" y="120"/>
                              </a:lnTo>
                              <a:lnTo>
                                <a:pt x="78108" y="120"/>
                              </a:lnTo>
                              <a:lnTo>
                                <a:pt x="82534" y="8493"/>
                              </a:lnTo>
                              <a:lnTo>
                                <a:pt x="87079" y="8851"/>
                              </a:lnTo>
                              <a:lnTo>
                                <a:pt x="86301" y="3110"/>
                              </a:lnTo>
                              <a:lnTo>
                                <a:pt x="86601" y="2990"/>
                              </a:lnTo>
                              <a:lnTo>
                                <a:pt x="92342" y="9330"/>
                              </a:lnTo>
                              <a:lnTo>
                                <a:pt x="92342" y="9390"/>
                              </a:lnTo>
                              <a:lnTo>
                                <a:pt x="92342" y="9390"/>
                              </a:lnTo>
                              <a:lnTo>
                                <a:pt x="96409" y="26255"/>
                              </a:lnTo>
                              <a:lnTo>
                                <a:pt x="108251" y="66805"/>
                              </a:lnTo>
                              <a:lnTo>
                                <a:pt x="125116" y="99519"/>
                              </a:lnTo>
                              <a:lnTo>
                                <a:pt x="131934" y="107414"/>
                              </a:lnTo>
                              <a:lnTo>
                                <a:pt x="136240" y="117282"/>
                              </a:lnTo>
                              <a:lnTo>
                                <a:pt x="136181" y="117282"/>
                              </a:lnTo>
                              <a:lnTo>
                                <a:pt x="136181" y="117282"/>
                              </a:lnTo>
                              <a:lnTo>
                                <a:pt x="136240" y="117282"/>
                              </a:lnTo>
                              <a:lnTo>
                                <a:pt x="141863" y="132533"/>
                              </a:lnTo>
                              <a:lnTo>
                                <a:pt x="141803" y="132592"/>
                              </a:lnTo>
                              <a:lnTo>
                                <a:pt x="141863" y="132652"/>
                              </a:lnTo>
                              <a:lnTo>
                                <a:pt x="140487" y="138035"/>
                              </a:lnTo>
                              <a:lnTo>
                                <a:pt x="140188" y="138035"/>
                              </a:lnTo>
                              <a:lnTo>
                                <a:pt x="139231" y="133490"/>
                              </a:lnTo>
                              <a:lnTo>
                                <a:pt x="136839" y="134207"/>
                              </a:lnTo>
                              <a:lnTo>
                                <a:pt x="134686" y="138035"/>
                              </a:lnTo>
                              <a:lnTo>
                                <a:pt x="134626" y="138035"/>
                              </a:lnTo>
                              <a:lnTo>
                                <a:pt x="134626" y="138095"/>
                              </a:lnTo>
                              <a:lnTo>
                                <a:pt x="119255" y="147185"/>
                              </a:lnTo>
                              <a:lnTo>
                                <a:pt x="119195" y="147066"/>
                              </a:lnTo>
                              <a:lnTo>
                                <a:pt x="119195" y="147066"/>
                              </a:lnTo>
                              <a:lnTo>
                                <a:pt x="119195" y="147185"/>
                              </a:lnTo>
                              <a:lnTo>
                                <a:pt x="95632" y="153047"/>
                              </a:lnTo>
                              <a:lnTo>
                                <a:pt x="95632" y="152987"/>
                              </a:lnTo>
                              <a:lnTo>
                                <a:pt x="95632" y="153047"/>
                              </a:lnTo>
                              <a:lnTo>
                                <a:pt x="74759" y="155020"/>
                              </a:lnTo>
                              <a:lnTo>
                                <a:pt x="67642" y="159745"/>
                              </a:lnTo>
                              <a:lnTo>
                                <a:pt x="55740" y="161898"/>
                              </a:lnTo>
                              <a:lnTo>
                                <a:pt x="37320" y="166982"/>
                              </a:lnTo>
                              <a:lnTo>
                                <a:pt x="28169" y="172245"/>
                              </a:lnTo>
                              <a:lnTo>
                                <a:pt x="28049" y="172245"/>
                              </a:lnTo>
                              <a:lnTo>
                                <a:pt x="23205" y="170510"/>
                              </a:lnTo>
                              <a:lnTo>
                                <a:pt x="23145" y="170451"/>
                              </a:lnTo>
                              <a:lnTo>
                                <a:pt x="16447" y="160702"/>
                              </a:lnTo>
                              <a:close/>
                              <a:moveTo>
                                <a:pt x="25298" y="163453"/>
                              </a:moveTo>
                              <a:lnTo>
                                <a:pt x="17045" y="160941"/>
                              </a:lnTo>
                              <a:lnTo>
                                <a:pt x="23325" y="169912"/>
                              </a:lnTo>
                              <a:lnTo>
                                <a:pt x="27811" y="171527"/>
                              </a:lnTo>
                              <a:lnTo>
                                <a:pt x="25298" y="163453"/>
                              </a:lnTo>
                              <a:close/>
                              <a:moveTo>
                                <a:pt x="25657" y="163573"/>
                              </a:moveTo>
                              <a:lnTo>
                                <a:pt x="28109" y="171527"/>
                              </a:lnTo>
                              <a:lnTo>
                                <a:pt x="33850" y="165845"/>
                              </a:lnTo>
                              <a:lnTo>
                                <a:pt x="25657" y="163573"/>
                              </a:lnTo>
                              <a:close/>
                              <a:moveTo>
                                <a:pt x="34210" y="165905"/>
                              </a:moveTo>
                              <a:lnTo>
                                <a:pt x="29066" y="170989"/>
                              </a:lnTo>
                              <a:lnTo>
                                <a:pt x="36782" y="166563"/>
                              </a:lnTo>
                              <a:lnTo>
                                <a:pt x="34210" y="165905"/>
                              </a:lnTo>
                              <a:close/>
                              <a:moveTo>
                                <a:pt x="40549" y="159147"/>
                              </a:moveTo>
                              <a:lnTo>
                                <a:pt x="26016" y="163274"/>
                              </a:lnTo>
                              <a:lnTo>
                                <a:pt x="34090" y="165486"/>
                              </a:lnTo>
                              <a:lnTo>
                                <a:pt x="40549" y="159147"/>
                              </a:lnTo>
                              <a:close/>
                              <a:moveTo>
                                <a:pt x="41207" y="158967"/>
                              </a:moveTo>
                              <a:lnTo>
                                <a:pt x="34509" y="165666"/>
                              </a:lnTo>
                              <a:lnTo>
                                <a:pt x="37200" y="166384"/>
                              </a:lnTo>
                              <a:lnTo>
                                <a:pt x="42583" y="158549"/>
                              </a:lnTo>
                              <a:lnTo>
                                <a:pt x="41207" y="158967"/>
                              </a:lnTo>
                              <a:close/>
                              <a:moveTo>
                                <a:pt x="43061" y="158489"/>
                              </a:moveTo>
                              <a:lnTo>
                                <a:pt x="37678" y="166324"/>
                              </a:lnTo>
                              <a:lnTo>
                                <a:pt x="55022" y="161539"/>
                              </a:lnTo>
                              <a:lnTo>
                                <a:pt x="43061" y="158489"/>
                              </a:lnTo>
                              <a:close/>
                              <a:moveTo>
                                <a:pt x="6399" y="50118"/>
                              </a:moveTo>
                              <a:lnTo>
                                <a:pt x="418" y="55202"/>
                              </a:lnTo>
                              <a:lnTo>
                                <a:pt x="5741" y="57176"/>
                              </a:lnTo>
                              <a:lnTo>
                                <a:pt x="6399" y="50118"/>
                              </a:lnTo>
                              <a:close/>
                              <a:moveTo>
                                <a:pt x="44915" y="155319"/>
                              </a:moveTo>
                              <a:lnTo>
                                <a:pt x="41745" y="158429"/>
                              </a:lnTo>
                              <a:lnTo>
                                <a:pt x="42881" y="158130"/>
                              </a:lnTo>
                              <a:lnTo>
                                <a:pt x="44915" y="155319"/>
                              </a:lnTo>
                              <a:close/>
                              <a:moveTo>
                                <a:pt x="46291" y="153944"/>
                              </a:moveTo>
                              <a:lnTo>
                                <a:pt x="43241" y="158190"/>
                              </a:lnTo>
                              <a:lnTo>
                                <a:pt x="54962" y="161180"/>
                              </a:lnTo>
                              <a:lnTo>
                                <a:pt x="46291" y="153944"/>
                              </a:lnTo>
                              <a:close/>
                              <a:moveTo>
                                <a:pt x="6041" y="57654"/>
                              </a:moveTo>
                              <a:lnTo>
                                <a:pt x="5801" y="60106"/>
                              </a:lnTo>
                              <a:lnTo>
                                <a:pt x="12021" y="59927"/>
                              </a:lnTo>
                              <a:lnTo>
                                <a:pt x="6041" y="57654"/>
                              </a:lnTo>
                              <a:close/>
                              <a:moveTo>
                                <a:pt x="6698" y="50238"/>
                              </a:moveTo>
                              <a:lnTo>
                                <a:pt x="6041" y="57355"/>
                              </a:lnTo>
                              <a:lnTo>
                                <a:pt x="12500" y="59747"/>
                              </a:lnTo>
                              <a:lnTo>
                                <a:pt x="6698" y="50238"/>
                              </a:lnTo>
                              <a:close/>
                              <a:moveTo>
                                <a:pt x="60405" y="154362"/>
                              </a:moveTo>
                              <a:lnTo>
                                <a:pt x="46769" y="153884"/>
                              </a:lnTo>
                              <a:lnTo>
                                <a:pt x="55620" y="161240"/>
                              </a:lnTo>
                              <a:lnTo>
                                <a:pt x="60405" y="154362"/>
                              </a:lnTo>
                              <a:close/>
                              <a:moveTo>
                                <a:pt x="69376" y="140068"/>
                              </a:moveTo>
                              <a:lnTo>
                                <a:pt x="46889" y="153525"/>
                              </a:lnTo>
                              <a:lnTo>
                                <a:pt x="60645" y="154004"/>
                              </a:lnTo>
                              <a:lnTo>
                                <a:pt x="69676" y="140965"/>
                              </a:lnTo>
                              <a:lnTo>
                                <a:pt x="69376" y="140068"/>
                              </a:lnTo>
                              <a:close/>
                              <a:moveTo>
                                <a:pt x="33432" y="59747"/>
                              </a:moveTo>
                              <a:lnTo>
                                <a:pt x="6937" y="49999"/>
                              </a:lnTo>
                              <a:lnTo>
                                <a:pt x="12978" y="59867"/>
                              </a:lnTo>
                              <a:lnTo>
                                <a:pt x="33432" y="59747"/>
                              </a:lnTo>
                              <a:close/>
                              <a:moveTo>
                                <a:pt x="30621" y="40190"/>
                              </a:moveTo>
                              <a:lnTo>
                                <a:pt x="24641" y="42583"/>
                              </a:lnTo>
                              <a:lnTo>
                                <a:pt x="7117" y="49640"/>
                              </a:lnTo>
                              <a:lnTo>
                                <a:pt x="33671" y="56817"/>
                              </a:lnTo>
                              <a:lnTo>
                                <a:pt x="30621" y="40190"/>
                              </a:lnTo>
                              <a:close/>
                              <a:moveTo>
                                <a:pt x="68121" y="136480"/>
                              </a:moveTo>
                              <a:lnTo>
                                <a:pt x="48384" y="152209"/>
                              </a:lnTo>
                              <a:lnTo>
                                <a:pt x="69257" y="139710"/>
                              </a:lnTo>
                              <a:lnTo>
                                <a:pt x="68121" y="136480"/>
                              </a:lnTo>
                              <a:close/>
                              <a:moveTo>
                                <a:pt x="33731" y="57235"/>
                              </a:moveTo>
                              <a:lnTo>
                                <a:pt x="10287" y="50896"/>
                              </a:lnTo>
                              <a:lnTo>
                                <a:pt x="34150" y="59687"/>
                              </a:lnTo>
                              <a:lnTo>
                                <a:pt x="33731" y="57235"/>
                              </a:lnTo>
                              <a:close/>
                              <a:moveTo>
                                <a:pt x="60823" y="154362"/>
                              </a:moveTo>
                              <a:lnTo>
                                <a:pt x="56099" y="161120"/>
                              </a:lnTo>
                              <a:lnTo>
                                <a:pt x="73742" y="154781"/>
                              </a:lnTo>
                              <a:lnTo>
                                <a:pt x="60823" y="154362"/>
                              </a:lnTo>
                              <a:close/>
                              <a:moveTo>
                                <a:pt x="73324" y="155319"/>
                              </a:moveTo>
                              <a:lnTo>
                                <a:pt x="57654" y="160941"/>
                              </a:lnTo>
                              <a:lnTo>
                                <a:pt x="67462" y="159147"/>
                              </a:lnTo>
                              <a:lnTo>
                                <a:pt x="73324" y="155319"/>
                              </a:lnTo>
                              <a:close/>
                              <a:moveTo>
                                <a:pt x="52810" y="133430"/>
                              </a:moveTo>
                              <a:lnTo>
                                <a:pt x="54484" y="138633"/>
                              </a:lnTo>
                              <a:lnTo>
                                <a:pt x="66506" y="134088"/>
                              </a:lnTo>
                              <a:lnTo>
                                <a:pt x="52810" y="133430"/>
                              </a:lnTo>
                              <a:close/>
                              <a:moveTo>
                                <a:pt x="51135" y="125296"/>
                              </a:moveTo>
                              <a:lnTo>
                                <a:pt x="52750" y="133071"/>
                              </a:lnTo>
                              <a:lnTo>
                                <a:pt x="67403" y="133789"/>
                              </a:lnTo>
                              <a:lnTo>
                                <a:pt x="67522" y="133848"/>
                              </a:lnTo>
                              <a:lnTo>
                                <a:pt x="71529" y="138214"/>
                              </a:lnTo>
                              <a:lnTo>
                                <a:pt x="75537" y="128765"/>
                              </a:lnTo>
                              <a:lnTo>
                                <a:pt x="51135" y="125296"/>
                              </a:lnTo>
                              <a:close/>
                              <a:moveTo>
                                <a:pt x="69854" y="141384"/>
                              </a:moveTo>
                              <a:lnTo>
                                <a:pt x="61063" y="154004"/>
                              </a:lnTo>
                              <a:lnTo>
                                <a:pt x="74400" y="154482"/>
                              </a:lnTo>
                              <a:lnTo>
                                <a:pt x="69854" y="141384"/>
                              </a:lnTo>
                              <a:close/>
                              <a:moveTo>
                                <a:pt x="51195" y="128526"/>
                              </a:moveTo>
                              <a:lnTo>
                                <a:pt x="51912" y="130559"/>
                              </a:lnTo>
                              <a:lnTo>
                                <a:pt x="51195" y="126971"/>
                              </a:lnTo>
                              <a:lnTo>
                                <a:pt x="51195" y="128526"/>
                              </a:lnTo>
                              <a:close/>
                              <a:moveTo>
                                <a:pt x="64412" y="114830"/>
                              </a:moveTo>
                              <a:lnTo>
                                <a:pt x="51374" y="124997"/>
                              </a:lnTo>
                              <a:lnTo>
                                <a:pt x="75715" y="128526"/>
                              </a:lnTo>
                              <a:lnTo>
                                <a:pt x="78587" y="121767"/>
                              </a:lnTo>
                              <a:lnTo>
                                <a:pt x="64412" y="114830"/>
                              </a:lnTo>
                              <a:close/>
                              <a:moveTo>
                                <a:pt x="27811" y="27870"/>
                              </a:moveTo>
                              <a:lnTo>
                                <a:pt x="22547" y="37798"/>
                              </a:lnTo>
                              <a:lnTo>
                                <a:pt x="24461" y="41925"/>
                              </a:lnTo>
                              <a:lnTo>
                                <a:pt x="27811" y="27870"/>
                              </a:lnTo>
                              <a:close/>
                              <a:moveTo>
                                <a:pt x="28289" y="27451"/>
                              </a:moveTo>
                              <a:lnTo>
                                <a:pt x="24820" y="42164"/>
                              </a:lnTo>
                              <a:lnTo>
                                <a:pt x="30561" y="39891"/>
                              </a:lnTo>
                              <a:lnTo>
                                <a:pt x="28289" y="27451"/>
                              </a:lnTo>
                              <a:close/>
                              <a:moveTo>
                                <a:pt x="34090" y="57295"/>
                              </a:moveTo>
                              <a:lnTo>
                                <a:pt x="34449" y="59209"/>
                              </a:lnTo>
                              <a:lnTo>
                                <a:pt x="34987" y="57535"/>
                              </a:lnTo>
                              <a:lnTo>
                                <a:pt x="34090" y="57295"/>
                              </a:lnTo>
                              <a:close/>
                              <a:moveTo>
                                <a:pt x="66864" y="110225"/>
                              </a:moveTo>
                              <a:lnTo>
                                <a:pt x="55920" y="113095"/>
                              </a:lnTo>
                              <a:lnTo>
                                <a:pt x="64233" y="114411"/>
                              </a:lnTo>
                              <a:lnTo>
                                <a:pt x="66864" y="110225"/>
                              </a:lnTo>
                              <a:close/>
                              <a:moveTo>
                                <a:pt x="31159" y="41147"/>
                              </a:moveTo>
                              <a:lnTo>
                                <a:pt x="34030" y="56936"/>
                              </a:lnTo>
                              <a:lnTo>
                                <a:pt x="35107" y="57235"/>
                              </a:lnTo>
                              <a:lnTo>
                                <a:pt x="36662" y="52630"/>
                              </a:lnTo>
                              <a:lnTo>
                                <a:pt x="31159" y="41147"/>
                              </a:lnTo>
                              <a:close/>
                              <a:moveTo>
                                <a:pt x="36901" y="53049"/>
                              </a:moveTo>
                              <a:lnTo>
                                <a:pt x="35465" y="57355"/>
                              </a:lnTo>
                              <a:lnTo>
                                <a:pt x="39532" y="58432"/>
                              </a:lnTo>
                              <a:lnTo>
                                <a:pt x="36901" y="53049"/>
                              </a:lnTo>
                              <a:close/>
                              <a:moveTo>
                                <a:pt x="70094" y="141025"/>
                              </a:moveTo>
                              <a:lnTo>
                                <a:pt x="74699" y="154243"/>
                              </a:lnTo>
                              <a:lnTo>
                                <a:pt x="81637" y="144614"/>
                              </a:lnTo>
                              <a:lnTo>
                                <a:pt x="71649" y="138753"/>
                              </a:lnTo>
                              <a:lnTo>
                                <a:pt x="70094" y="141025"/>
                              </a:lnTo>
                              <a:close/>
                              <a:moveTo>
                                <a:pt x="69676" y="139889"/>
                              </a:moveTo>
                              <a:lnTo>
                                <a:pt x="69914" y="140607"/>
                              </a:lnTo>
                              <a:lnTo>
                                <a:pt x="70991" y="139111"/>
                              </a:lnTo>
                              <a:lnTo>
                                <a:pt x="69676" y="139889"/>
                              </a:lnTo>
                              <a:close/>
                              <a:moveTo>
                                <a:pt x="68539" y="136600"/>
                              </a:moveTo>
                              <a:lnTo>
                                <a:pt x="69556" y="139530"/>
                              </a:lnTo>
                              <a:lnTo>
                                <a:pt x="71290" y="138513"/>
                              </a:lnTo>
                              <a:lnTo>
                                <a:pt x="68539" y="136600"/>
                              </a:lnTo>
                              <a:close/>
                              <a:moveTo>
                                <a:pt x="67821" y="134746"/>
                              </a:moveTo>
                              <a:lnTo>
                                <a:pt x="68299" y="136121"/>
                              </a:lnTo>
                              <a:lnTo>
                                <a:pt x="70393" y="137557"/>
                              </a:lnTo>
                              <a:lnTo>
                                <a:pt x="67821" y="134746"/>
                              </a:lnTo>
                              <a:close/>
                              <a:moveTo>
                                <a:pt x="88096" y="148441"/>
                              </a:moveTo>
                              <a:lnTo>
                                <a:pt x="75656" y="154362"/>
                              </a:lnTo>
                              <a:lnTo>
                                <a:pt x="95094" y="152508"/>
                              </a:lnTo>
                              <a:lnTo>
                                <a:pt x="88096" y="148441"/>
                              </a:lnTo>
                              <a:close/>
                              <a:moveTo>
                                <a:pt x="81936" y="144853"/>
                              </a:moveTo>
                              <a:lnTo>
                                <a:pt x="75537" y="153704"/>
                              </a:lnTo>
                              <a:lnTo>
                                <a:pt x="84508" y="146408"/>
                              </a:lnTo>
                              <a:lnTo>
                                <a:pt x="81936" y="144853"/>
                              </a:lnTo>
                              <a:close/>
                              <a:moveTo>
                                <a:pt x="84866" y="146528"/>
                              </a:moveTo>
                              <a:lnTo>
                                <a:pt x="75895" y="153824"/>
                              </a:lnTo>
                              <a:lnTo>
                                <a:pt x="87737" y="148202"/>
                              </a:lnTo>
                              <a:lnTo>
                                <a:pt x="84866" y="146528"/>
                              </a:lnTo>
                              <a:close/>
                              <a:moveTo>
                                <a:pt x="44198" y="30322"/>
                              </a:moveTo>
                              <a:lnTo>
                                <a:pt x="30980" y="40071"/>
                              </a:lnTo>
                              <a:lnTo>
                                <a:pt x="36841" y="52212"/>
                              </a:lnTo>
                              <a:lnTo>
                                <a:pt x="44198" y="30322"/>
                              </a:lnTo>
                              <a:close/>
                              <a:moveTo>
                                <a:pt x="29844" y="17165"/>
                              </a:moveTo>
                              <a:lnTo>
                                <a:pt x="30920" y="39652"/>
                              </a:lnTo>
                              <a:lnTo>
                                <a:pt x="44257" y="29844"/>
                              </a:lnTo>
                              <a:lnTo>
                                <a:pt x="29844" y="17165"/>
                              </a:lnTo>
                              <a:close/>
                              <a:moveTo>
                                <a:pt x="28468" y="26614"/>
                              </a:moveTo>
                              <a:lnTo>
                                <a:pt x="30502" y="37499"/>
                              </a:lnTo>
                              <a:lnTo>
                                <a:pt x="29604" y="18600"/>
                              </a:lnTo>
                              <a:lnTo>
                                <a:pt x="28468" y="26614"/>
                              </a:lnTo>
                              <a:close/>
                              <a:moveTo>
                                <a:pt x="44018" y="31877"/>
                              </a:moveTo>
                              <a:lnTo>
                                <a:pt x="37080" y="52570"/>
                              </a:lnTo>
                              <a:lnTo>
                                <a:pt x="39772" y="58132"/>
                              </a:lnTo>
                              <a:lnTo>
                                <a:pt x="44018" y="31877"/>
                              </a:lnTo>
                              <a:close/>
                              <a:moveTo>
                                <a:pt x="44556" y="30621"/>
                              </a:moveTo>
                              <a:lnTo>
                                <a:pt x="40011" y="58491"/>
                              </a:lnTo>
                              <a:lnTo>
                                <a:pt x="52032" y="55681"/>
                              </a:lnTo>
                              <a:lnTo>
                                <a:pt x="44556" y="30621"/>
                              </a:lnTo>
                              <a:close/>
                              <a:moveTo>
                                <a:pt x="82115" y="129782"/>
                              </a:moveTo>
                              <a:lnTo>
                                <a:pt x="72067" y="138394"/>
                              </a:lnTo>
                              <a:lnTo>
                                <a:pt x="86003" y="138693"/>
                              </a:lnTo>
                              <a:lnTo>
                                <a:pt x="88634" y="135045"/>
                              </a:lnTo>
                              <a:lnTo>
                                <a:pt x="82115" y="129782"/>
                              </a:lnTo>
                              <a:close/>
                              <a:moveTo>
                                <a:pt x="85703" y="138992"/>
                              </a:moveTo>
                              <a:lnTo>
                                <a:pt x="72247" y="138693"/>
                              </a:lnTo>
                              <a:lnTo>
                                <a:pt x="81876" y="144315"/>
                              </a:lnTo>
                              <a:lnTo>
                                <a:pt x="85703" y="138992"/>
                              </a:lnTo>
                              <a:close/>
                              <a:moveTo>
                                <a:pt x="75895" y="128825"/>
                              </a:moveTo>
                              <a:lnTo>
                                <a:pt x="72007" y="137915"/>
                              </a:lnTo>
                              <a:lnTo>
                                <a:pt x="81637" y="129662"/>
                              </a:lnTo>
                              <a:lnTo>
                                <a:pt x="75895" y="128825"/>
                              </a:lnTo>
                              <a:close/>
                              <a:moveTo>
                                <a:pt x="67283" y="110225"/>
                              </a:moveTo>
                              <a:lnTo>
                                <a:pt x="64591" y="114531"/>
                              </a:lnTo>
                              <a:lnTo>
                                <a:pt x="77988" y="121050"/>
                              </a:lnTo>
                              <a:lnTo>
                                <a:pt x="67283" y="110225"/>
                              </a:lnTo>
                              <a:close/>
                              <a:moveTo>
                                <a:pt x="84089" y="79304"/>
                              </a:moveTo>
                              <a:lnTo>
                                <a:pt x="53169" y="83730"/>
                              </a:lnTo>
                              <a:lnTo>
                                <a:pt x="67403" y="109806"/>
                              </a:lnTo>
                              <a:lnTo>
                                <a:pt x="78706" y="121229"/>
                              </a:lnTo>
                              <a:lnTo>
                                <a:pt x="84089" y="79304"/>
                              </a:lnTo>
                              <a:close/>
                              <a:moveTo>
                                <a:pt x="67403" y="53647"/>
                              </a:moveTo>
                              <a:lnTo>
                                <a:pt x="53169" y="83431"/>
                              </a:lnTo>
                              <a:lnTo>
                                <a:pt x="83969" y="79005"/>
                              </a:lnTo>
                              <a:lnTo>
                                <a:pt x="67403" y="53647"/>
                              </a:lnTo>
                              <a:close/>
                              <a:moveTo>
                                <a:pt x="46231" y="18959"/>
                              </a:moveTo>
                              <a:lnTo>
                                <a:pt x="30142" y="17045"/>
                              </a:lnTo>
                              <a:lnTo>
                                <a:pt x="44376" y="29545"/>
                              </a:lnTo>
                              <a:lnTo>
                                <a:pt x="46231" y="18959"/>
                              </a:lnTo>
                              <a:close/>
                              <a:moveTo>
                                <a:pt x="48444" y="6160"/>
                              </a:moveTo>
                              <a:lnTo>
                                <a:pt x="30202" y="16626"/>
                              </a:lnTo>
                              <a:lnTo>
                                <a:pt x="46291" y="18540"/>
                              </a:lnTo>
                              <a:lnTo>
                                <a:pt x="48444" y="6160"/>
                              </a:lnTo>
                              <a:close/>
                              <a:moveTo>
                                <a:pt x="52391" y="55920"/>
                              </a:moveTo>
                              <a:lnTo>
                                <a:pt x="49640" y="64352"/>
                              </a:lnTo>
                              <a:lnTo>
                                <a:pt x="66565" y="53587"/>
                              </a:lnTo>
                              <a:lnTo>
                                <a:pt x="52391" y="55920"/>
                              </a:lnTo>
                              <a:close/>
                              <a:moveTo>
                                <a:pt x="86123" y="139052"/>
                              </a:moveTo>
                              <a:lnTo>
                                <a:pt x="82115" y="144554"/>
                              </a:lnTo>
                              <a:lnTo>
                                <a:pt x="84806" y="146109"/>
                              </a:lnTo>
                              <a:lnTo>
                                <a:pt x="93359" y="139171"/>
                              </a:lnTo>
                              <a:lnTo>
                                <a:pt x="86123" y="139052"/>
                              </a:lnTo>
                              <a:close/>
                              <a:moveTo>
                                <a:pt x="78826" y="122066"/>
                              </a:moveTo>
                              <a:lnTo>
                                <a:pt x="76075" y="128526"/>
                              </a:lnTo>
                              <a:lnTo>
                                <a:pt x="81816" y="129363"/>
                              </a:lnTo>
                              <a:lnTo>
                                <a:pt x="78826" y="122066"/>
                              </a:lnTo>
                              <a:close/>
                              <a:moveTo>
                                <a:pt x="49640" y="1854"/>
                              </a:moveTo>
                              <a:lnTo>
                                <a:pt x="31937" y="15251"/>
                              </a:lnTo>
                              <a:lnTo>
                                <a:pt x="48563" y="5682"/>
                              </a:lnTo>
                              <a:lnTo>
                                <a:pt x="49640" y="1854"/>
                              </a:lnTo>
                              <a:close/>
                              <a:moveTo>
                                <a:pt x="93897" y="139231"/>
                              </a:moveTo>
                              <a:lnTo>
                                <a:pt x="85165" y="146348"/>
                              </a:lnTo>
                              <a:lnTo>
                                <a:pt x="88096" y="148083"/>
                              </a:lnTo>
                              <a:lnTo>
                                <a:pt x="101612" y="141623"/>
                              </a:lnTo>
                              <a:lnTo>
                                <a:pt x="93897" y="139231"/>
                              </a:lnTo>
                              <a:close/>
                              <a:moveTo>
                                <a:pt x="102091" y="141743"/>
                              </a:moveTo>
                              <a:lnTo>
                                <a:pt x="88395" y="148262"/>
                              </a:lnTo>
                              <a:lnTo>
                                <a:pt x="95512" y="152449"/>
                              </a:lnTo>
                              <a:lnTo>
                                <a:pt x="105500" y="142819"/>
                              </a:lnTo>
                              <a:lnTo>
                                <a:pt x="102091" y="141743"/>
                              </a:lnTo>
                              <a:close/>
                              <a:moveTo>
                                <a:pt x="44855" y="30442"/>
                              </a:moveTo>
                              <a:lnTo>
                                <a:pt x="52391" y="55561"/>
                              </a:lnTo>
                              <a:lnTo>
                                <a:pt x="67044" y="53169"/>
                              </a:lnTo>
                              <a:lnTo>
                                <a:pt x="44855" y="30442"/>
                              </a:lnTo>
                              <a:close/>
                              <a:moveTo>
                                <a:pt x="83431" y="127210"/>
                              </a:moveTo>
                              <a:lnTo>
                                <a:pt x="79364" y="122485"/>
                              </a:lnTo>
                              <a:lnTo>
                                <a:pt x="82115" y="129183"/>
                              </a:lnTo>
                              <a:lnTo>
                                <a:pt x="83431" y="127210"/>
                              </a:lnTo>
                              <a:close/>
                              <a:moveTo>
                                <a:pt x="84388" y="79544"/>
                              </a:moveTo>
                              <a:lnTo>
                                <a:pt x="79005" y="121349"/>
                              </a:lnTo>
                              <a:lnTo>
                                <a:pt x="90727" y="116325"/>
                              </a:lnTo>
                              <a:lnTo>
                                <a:pt x="100835" y="101254"/>
                              </a:lnTo>
                              <a:lnTo>
                                <a:pt x="84388" y="79544"/>
                              </a:lnTo>
                              <a:close/>
                              <a:moveTo>
                                <a:pt x="86063" y="123322"/>
                              </a:moveTo>
                              <a:lnTo>
                                <a:pt x="79245" y="121887"/>
                              </a:lnTo>
                              <a:lnTo>
                                <a:pt x="83610" y="126971"/>
                              </a:lnTo>
                              <a:lnTo>
                                <a:pt x="86063" y="123322"/>
                              </a:lnTo>
                              <a:close/>
                              <a:moveTo>
                                <a:pt x="84208" y="128107"/>
                              </a:moveTo>
                              <a:lnTo>
                                <a:pt x="82355" y="129542"/>
                              </a:lnTo>
                              <a:lnTo>
                                <a:pt x="88814" y="134746"/>
                              </a:lnTo>
                              <a:lnTo>
                                <a:pt x="89352" y="134028"/>
                              </a:lnTo>
                              <a:lnTo>
                                <a:pt x="84208" y="128107"/>
                              </a:lnTo>
                              <a:close/>
                              <a:moveTo>
                                <a:pt x="90369" y="116863"/>
                              </a:moveTo>
                              <a:lnTo>
                                <a:pt x="79364" y="121528"/>
                              </a:lnTo>
                              <a:lnTo>
                                <a:pt x="86242" y="122964"/>
                              </a:lnTo>
                              <a:lnTo>
                                <a:pt x="90369" y="116863"/>
                              </a:lnTo>
                              <a:close/>
                              <a:moveTo>
                                <a:pt x="88873" y="135224"/>
                              </a:moveTo>
                              <a:lnTo>
                                <a:pt x="86361" y="138693"/>
                              </a:lnTo>
                              <a:lnTo>
                                <a:pt x="93359" y="138812"/>
                              </a:lnTo>
                              <a:lnTo>
                                <a:pt x="88873" y="135224"/>
                              </a:lnTo>
                              <a:close/>
                              <a:moveTo>
                                <a:pt x="83670" y="127509"/>
                              </a:moveTo>
                              <a:lnTo>
                                <a:pt x="82833" y="128765"/>
                              </a:lnTo>
                              <a:lnTo>
                                <a:pt x="83969" y="127868"/>
                              </a:lnTo>
                              <a:lnTo>
                                <a:pt x="83670" y="127509"/>
                              </a:lnTo>
                              <a:close/>
                              <a:moveTo>
                                <a:pt x="63276" y="27093"/>
                              </a:moveTo>
                              <a:lnTo>
                                <a:pt x="44855" y="29963"/>
                              </a:lnTo>
                              <a:lnTo>
                                <a:pt x="67163" y="52810"/>
                              </a:lnTo>
                              <a:lnTo>
                                <a:pt x="63276" y="27093"/>
                              </a:lnTo>
                              <a:close/>
                              <a:moveTo>
                                <a:pt x="46589" y="18959"/>
                              </a:moveTo>
                              <a:lnTo>
                                <a:pt x="44796" y="29246"/>
                              </a:lnTo>
                              <a:lnTo>
                                <a:pt x="52690" y="19736"/>
                              </a:lnTo>
                              <a:lnTo>
                                <a:pt x="46589" y="18959"/>
                              </a:lnTo>
                              <a:close/>
                              <a:moveTo>
                                <a:pt x="86421" y="123382"/>
                              </a:moveTo>
                              <a:lnTo>
                                <a:pt x="83850" y="127210"/>
                              </a:lnTo>
                              <a:lnTo>
                                <a:pt x="84208" y="127629"/>
                              </a:lnTo>
                              <a:lnTo>
                                <a:pt x="88873" y="123920"/>
                              </a:lnTo>
                              <a:lnTo>
                                <a:pt x="86421" y="123382"/>
                              </a:lnTo>
                              <a:close/>
                              <a:moveTo>
                                <a:pt x="53109" y="19736"/>
                              </a:moveTo>
                              <a:lnTo>
                                <a:pt x="45154" y="29305"/>
                              </a:lnTo>
                              <a:lnTo>
                                <a:pt x="61900" y="20813"/>
                              </a:lnTo>
                              <a:lnTo>
                                <a:pt x="53109" y="19736"/>
                              </a:lnTo>
                              <a:close/>
                              <a:moveTo>
                                <a:pt x="89352" y="123980"/>
                              </a:moveTo>
                              <a:lnTo>
                                <a:pt x="84508" y="127868"/>
                              </a:lnTo>
                              <a:lnTo>
                                <a:pt x="89591" y="133729"/>
                              </a:lnTo>
                              <a:lnTo>
                                <a:pt x="95692" y="125296"/>
                              </a:lnTo>
                              <a:lnTo>
                                <a:pt x="89352" y="123980"/>
                              </a:lnTo>
                              <a:close/>
                              <a:moveTo>
                                <a:pt x="62379" y="20992"/>
                              </a:moveTo>
                              <a:lnTo>
                                <a:pt x="45573" y="29545"/>
                              </a:lnTo>
                              <a:lnTo>
                                <a:pt x="63276" y="26794"/>
                              </a:lnTo>
                              <a:lnTo>
                                <a:pt x="62379" y="20992"/>
                              </a:lnTo>
                              <a:close/>
                              <a:moveTo>
                                <a:pt x="89531" y="134327"/>
                              </a:moveTo>
                              <a:lnTo>
                                <a:pt x="89053" y="134985"/>
                              </a:lnTo>
                              <a:lnTo>
                                <a:pt x="92462" y="137736"/>
                              </a:lnTo>
                              <a:lnTo>
                                <a:pt x="89531" y="134327"/>
                              </a:lnTo>
                              <a:close/>
                              <a:moveTo>
                                <a:pt x="105918" y="142939"/>
                              </a:moveTo>
                              <a:lnTo>
                                <a:pt x="96170" y="152329"/>
                              </a:lnTo>
                              <a:lnTo>
                                <a:pt x="118478" y="146767"/>
                              </a:lnTo>
                              <a:lnTo>
                                <a:pt x="105918" y="142939"/>
                              </a:lnTo>
                              <a:close/>
                              <a:moveTo>
                                <a:pt x="95990" y="125416"/>
                              </a:moveTo>
                              <a:lnTo>
                                <a:pt x="89771" y="134028"/>
                              </a:lnTo>
                              <a:lnTo>
                                <a:pt x="93837" y="138693"/>
                              </a:lnTo>
                              <a:lnTo>
                                <a:pt x="99519" y="126133"/>
                              </a:lnTo>
                              <a:lnTo>
                                <a:pt x="95990" y="125416"/>
                              </a:lnTo>
                              <a:close/>
                              <a:moveTo>
                                <a:pt x="90967" y="116624"/>
                              </a:moveTo>
                              <a:lnTo>
                                <a:pt x="86661" y="123083"/>
                              </a:lnTo>
                              <a:lnTo>
                                <a:pt x="89292" y="123621"/>
                              </a:lnTo>
                              <a:lnTo>
                                <a:pt x="106218" y="110105"/>
                              </a:lnTo>
                              <a:lnTo>
                                <a:pt x="90967" y="116624"/>
                              </a:lnTo>
                              <a:close/>
                              <a:moveTo>
                                <a:pt x="48802" y="6220"/>
                              </a:moveTo>
                              <a:lnTo>
                                <a:pt x="46649" y="18660"/>
                              </a:lnTo>
                              <a:lnTo>
                                <a:pt x="52989" y="19437"/>
                              </a:lnTo>
                              <a:lnTo>
                                <a:pt x="56817" y="14832"/>
                              </a:lnTo>
                              <a:lnTo>
                                <a:pt x="48802" y="6220"/>
                              </a:lnTo>
                              <a:close/>
                              <a:moveTo>
                                <a:pt x="99878" y="126253"/>
                              </a:moveTo>
                              <a:lnTo>
                                <a:pt x="94256" y="138633"/>
                              </a:lnTo>
                              <a:lnTo>
                                <a:pt x="110464" y="128765"/>
                              </a:lnTo>
                              <a:lnTo>
                                <a:pt x="110404" y="128526"/>
                              </a:lnTo>
                              <a:lnTo>
                                <a:pt x="99878" y="126253"/>
                              </a:lnTo>
                              <a:close/>
                              <a:moveTo>
                                <a:pt x="111002" y="137138"/>
                              </a:moveTo>
                              <a:lnTo>
                                <a:pt x="94675" y="139111"/>
                              </a:lnTo>
                              <a:lnTo>
                                <a:pt x="102091" y="141384"/>
                              </a:lnTo>
                              <a:lnTo>
                                <a:pt x="111002" y="137138"/>
                              </a:lnTo>
                              <a:close/>
                              <a:moveTo>
                                <a:pt x="110524" y="129064"/>
                              </a:moveTo>
                              <a:lnTo>
                                <a:pt x="94675" y="138753"/>
                              </a:lnTo>
                              <a:lnTo>
                                <a:pt x="111839" y="136659"/>
                              </a:lnTo>
                              <a:lnTo>
                                <a:pt x="110524" y="129064"/>
                              </a:lnTo>
                              <a:close/>
                              <a:moveTo>
                                <a:pt x="106397" y="110404"/>
                              </a:moveTo>
                              <a:lnTo>
                                <a:pt x="89711" y="123741"/>
                              </a:lnTo>
                              <a:lnTo>
                                <a:pt x="95870" y="125057"/>
                              </a:lnTo>
                              <a:lnTo>
                                <a:pt x="106397" y="110404"/>
                              </a:lnTo>
                              <a:close/>
                              <a:moveTo>
                                <a:pt x="101074" y="101553"/>
                              </a:moveTo>
                              <a:lnTo>
                                <a:pt x="91326" y="116086"/>
                              </a:lnTo>
                              <a:lnTo>
                                <a:pt x="106995" y="109387"/>
                              </a:lnTo>
                              <a:lnTo>
                                <a:pt x="101074" y="101553"/>
                              </a:lnTo>
                              <a:close/>
                              <a:moveTo>
                                <a:pt x="56996" y="15071"/>
                              </a:moveTo>
                              <a:lnTo>
                                <a:pt x="53348" y="19437"/>
                              </a:lnTo>
                              <a:lnTo>
                                <a:pt x="62020" y="20454"/>
                              </a:lnTo>
                              <a:lnTo>
                                <a:pt x="56996" y="15071"/>
                              </a:lnTo>
                              <a:close/>
                              <a:moveTo>
                                <a:pt x="111122" y="137437"/>
                              </a:moveTo>
                              <a:lnTo>
                                <a:pt x="102570" y="141504"/>
                              </a:lnTo>
                              <a:lnTo>
                                <a:pt x="105858" y="142521"/>
                              </a:lnTo>
                              <a:lnTo>
                                <a:pt x="111122" y="137437"/>
                              </a:lnTo>
                              <a:close/>
                              <a:moveTo>
                                <a:pt x="80620" y="54664"/>
                              </a:moveTo>
                              <a:lnTo>
                                <a:pt x="67761" y="53527"/>
                              </a:lnTo>
                              <a:lnTo>
                                <a:pt x="84029" y="78467"/>
                              </a:lnTo>
                              <a:lnTo>
                                <a:pt x="80620" y="54664"/>
                              </a:lnTo>
                              <a:close/>
                              <a:moveTo>
                                <a:pt x="63635" y="27093"/>
                              </a:moveTo>
                              <a:lnTo>
                                <a:pt x="67522" y="52870"/>
                              </a:lnTo>
                              <a:lnTo>
                                <a:pt x="78347" y="39114"/>
                              </a:lnTo>
                              <a:lnTo>
                                <a:pt x="67343" y="26495"/>
                              </a:lnTo>
                              <a:lnTo>
                                <a:pt x="63635" y="27093"/>
                              </a:lnTo>
                              <a:close/>
                              <a:moveTo>
                                <a:pt x="106397" y="111002"/>
                              </a:moveTo>
                              <a:lnTo>
                                <a:pt x="96230" y="125117"/>
                              </a:lnTo>
                              <a:lnTo>
                                <a:pt x="99698" y="125834"/>
                              </a:lnTo>
                              <a:lnTo>
                                <a:pt x="106397" y="111002"/>
                              </a:lnTo>
                              <a:close/>
                              <a:moveTo>
                                <a:pt x="78407" y="39532"/>
                              </a:moveTo>
                              <a:lnTo>
                                <a:pt x="67701" y="53109"/>
                              </a:lnTo>
                              <a:lnTo>
                                <a:pt x="80500" y="54245"/>
                              </a:lnTo>
                              <a:lnTo>
                                <a:pt x="78407" y="39532"/>
                              </a:lnTo>
                              <a:close/>
                              <a:moveTo>
                                <a:pt x="63156" y="7117"/>
                              </a:moveTo>
                              <a:lnTo>
                                <a:pt x="49101" y="6040"/>
                              </a:lnTo>
                              <a:lnTo>
                                <a:pt x="56996" y="14533"/>
                              </a:lnTo>
                              <a:lnTo>
                                <a:pt x="63156" y="7117"/>
                              </a:lnTo>
                              <a:close/>
                              <a:moveTo>
                                <a:pt x="66146" y="3529"/>
                              </a:moveTo>
                              <a:lnTo>
                                <a:pt x="60046" y="4366"/>
                              </a:lnTo>
                              <a:lnTo>
                                <a:pt x="50297" y="5801"/>
                              </a:lnTo>
                              <a:lnTo>
                                <a:pt x="63455" y="6818"/>
                              </a:lnTo>
                              <a:lnTo>
                                <a:pt x="66146" y="3529"/>
                              </a:lnTo>
                              <a:close/>
                              <a:moveTo>
                                <a:pt x="112019" y="137078"/>
                              </a:moveTo>
                              <a:lnTo>
                                <a:pt x="106218" y="142640"/>
                              </a:lnTo>
                              <a:lnTo>
                                <a:pt x="118717" y="146468"/>
                              </a:lnTo>
                              <a:lnTo>
                                <a:pt x="112019" y="137078"/>
                              </a:lnTo>
                              <a:close/>
                              <a:moveTo>
                                <a:pt x="107174" y="110045"/>
                              </a:moveTo>
                              <a:lnTo>
                                <a:pt x="99998" y="125894"/>
                              </a:lnTo>
                              <a:lnTo>
                                <a:pt x="110344" y="128047"/>
                              </a:lnTo>
                              <a:lnTo>
                                <a:pt x="107174" y="110045"/>
                              </a:lnTo>
                              <a:close/>
                              <a:moveTo>
                                <a:pt x="63575" y="7177"/>
                              </a:moveTo>
                              <a:lnTo>
                                <a:pt x="57235" y="14772"/>
                              </a:lnTo>
                              <a:lnTo>
                                <a:pt x="62438" y="20334"/>
                              </a:lnTo>
                              <a:lnTo>
                                <a:pt x="65489" y="7296"/>
                              </a:lnTo>
                              <a:lnTo>
                                <a:pt x="63575" y="7177"/>
                              </a:lnTo>
                              <a:close/>
                              <a:moveTo>
                                <a:pt x="62738" y="21291"/>
                              </a:moveTo>
                              <a:lnTo>
                                <a:pt x="63575" y="26734"/>
                              </a:lnTo>
                              <a:lnTo>
                                <a:pt x="67044" y="26195"/>
                              </a:lnTo>
                              <a:lnTo>
                                <a:pt x="62738" y="21291"/>
                              </a:lnTo>
                              <a:close/>
                              <a:moveTo>
                                <a:pt x="80919" y="54664"/>
                              </a:moveTo>
                              <a:lnTo>
                                <a:pt x="84388" y="78646"/>
                              </a:lnTo>
                              <a:lnTo>
                                <a:pt x="100297" y="56398"/>
                              </a:lnTo>
                              <a:lnTo>
                                <a:pt x="80919" y="54664"/>
                              </a:lnTo>
                              <a:close/>
                              <a:moveTo>
                                <a:pt x="100476" y="56697"/>
                              </a:moveTo>
                              <a:lnTo>
                                <a:pt x="84568" y="79005"/>
                              </a:lnTo>
                              <a:lnTo>
                                <a:pt x="103945" y="84448"/>
                              </a:lnTo>
                              <a:lnTo>
                                <a:pt x="100476" y="56697"/>
                              </a:lnTo>
                              <a:close/>
                              <a:moveTo>
                                <a:pt x="104005" y="84866"/>
                              </a:moveTo>
                              <a:lnTo>
                                <a:pt x="84926" y="79484"/>
                              </a:lnTo>
                              <a:lnTo>
                                <a:pt x="103825" y="96768"/>
                              </a:lnTo>
                              <a:lnTo>
                                <a:pt x="105201" y="94675"/>
                              </a:lnTo>
                              <a:lnTo>
                                <a:pt x="104005" y="84866"/>
                              </a:lnTo>
                              <a:close/>
                              <a:moveTo>
                                <a:pt x="103646" y="97067"/>
                              </a:moveTo>
                              <a:lnTo>
                                <a:pt x="85524" y="80500"/>
                              </a:lnTo>
                              <a:lnTo>
                                <a:pt x="101014" y="100954"/>
                              </a:lnTo>
                              <a:lnTo>
                                <a:pt x="103646" y="97067"/>
                              </a:lnTo>
                              <a:close/>
                              <a:moveTo>
                                <a:pt x="77032" y="20813"/>
                              </a:moveTo>
                              <a:lnTo>
                                <a:pt x="62857" y="20873"/>
                              </a:lnTo>
                              <a:lnTo>
                                <a:pt x="67403" y="26136"/>
                              </a:lnTo>
                              <a:lnTo>
                                <a:pt x="76852" y="24700"/>
                              </a:lnTo>
                              <a:lnTo>
                                <a:pt x="77032" y="20813"/>
                              </a:lnTo>
                              <a:close/>
                              <a:moveTo>
                                <a:pt x="72307" y="7835"/>
                              </a:moveTo>
                              <a:lnTo>
                                <a:pt x="62857" y="20514"/>
                              </a:lnTo>
                              <a:lnTo>
                                <a:pt x="77032" y="20454"/>
                              </a:lnTo>
                              <a:lnTo>
                                <a:pt x="77450" y="8253"/>
                              </a:lnTo>
                              <a:lnTo>
                                <a:pt x="72307" y="7835"/>
                              </a:lnTo>
                              <a:close/>
                              <a:moveTo>
                                <a:pt x="65788" y="7356"/>
                              </a:moveTo>
                              <a:lnTo>
                                <a:pt x="62857" y="19976"/>
                              </a:lnTo>
                              <a:lnTo>
                                <a:pt x="71888" y="7835"/>
                              </a:lnTo>
                              <a:lnTo>
                                <a:pt x="65788" y="7356"/>
                              </a:lnTo>
                              <a:close/>
                              <a:moveTo>
                                <a:pt x="76912" y="24999"/>
                              </a:moveTo>
                              <a:lnTo>
                                <a:pt x="67701" y="26435"/>
                              </a:lnTo>
                              <a:lnTo>
                                <a:pt x="78287" y="38635"/>
                              </a:lnTo>
                              <a:lnTo>
                                <a:pt x="76912" y="24999"/>
                              </a:lnTo>
                              <a:close/>
                              <a:moveTo>
                                <a:pt x="110822" y="128884"/>
                              </a:moveTo>
                              <a:lnTo>
                                <a:pt x="112198" y="136659"/>
                              </a:lnTo>
                              <a:lnTo>
                                <a:pt x="131576" y="137437"/>
                              </a:lnTo>
                              <a:lnTo>
                                <a:pt x="133011" y="136360"/>
                              </a:lnTo>
                              <a:lnTo>
                                <a:pt x="129183" y="132413"/>
                              </a:lnTo>
                              <a:lnTo>
                                <a:pt x="111241" y="128645"/>
                              </a:lnTo>
                              <a:lnTo>
                                <a:pt x="110822" y="128884"/>
                              </a:lnTo>
                              <a:close/>
                              <a:moveTo>
                                <a:pt x="131097" y="137736"/>
                              </a:moveTo>
                              <a:lnTo>
                                <a:pt x="112377" y="136958"/>
                              </a:lnTo>
                              <a:lnTo>
                                <a:pt x="119195" y="146528"/>
                              </a:lnTo>
                              <a:lnTo>
                                <a:pt x="131097" y="137736"/>
                              </a:lnTo>
                              <a:close/>
                              <a:moveTo>
                                <a:pt x="78766" y="39532"/>
                              </a:moveTo>
                              <a:lnTo>
                                <a:pt x="80919" y="54305"/>
                              </a:lnTo>
                              <a:lnTo>
                                <a:pt x="100057" y="56039"/>
                              </a:lnTo>
                              <a:lnTo>
                                <a:pt x="78766" y="39532"/>
                              </a:lnTo>
                              <a:close/>
                              <a:moveTo>
                                <a:pt x="107533" y="109985"/>
                              </a:moveTo>
                              <a:lnTo>
                                <a:pt x="110703" y="128167"/>
                              </a:lnTo>
                              <a:lnTo>
                                <a:pt x="111181" y="128286"/>
                              </a:lnTo>
                              <a:lnTo>
                                <a:pt x="119973" y="122904"/>
                              </a:lnTo>
                              <a:lnTo>
                                <a:pt x="107533" y="109985"/>
                              </a:lnTo>
                              <a:close/>
                              <a:moveTo>
                                <a:pt x="120212" y="123143"/>
                              </a:moveTo>
                              <a:lnTo>
                                <a:pt x="111660" y="128346"/>
                              </a:lnTo>
                              <a:lnTo>
                                <a:pt x="128705" y="131935"/>
                              </a:lnTo>
                              <a:lnTo>
                                <a:pt x="120212" y="123143"/>
                              </a:lnTo>
                              <a:close/>
                              <a:moveTo>
                                <a:pt x="103885" y="97306"/>
                              </a:moveTo>
                              <a:lnTo>
                                <a:pt x="101253" y="101254"/>
                              </a:lnTo>
                              <a:lnTo>
                                <a:pt x="106995" y="108849"/>
                              </a:lnTo>
                              <a:lnTo>
                                <a:pt x="105739" y="98981"/>
                              </a:lnTo>
                              <a:lnTo>
                                <a:pt x="103885" y="97306"/>
                              </a:lnTo>
                              <a:close/>
                              <a:moveTo>
                                <a:pt x="66206" y="3947"/>
                              </a:moveTo>
                              <a:lnTo>
                                <a:pt x="63814" y="6818"/>
                              </a:lnTo>
                              <a:lnTo>
                                <a:pt x="65489" y="6937"/>
                              </a:lnTo>
                              <a:lnTo>
                                <a:pt x="66206" y="3947"/>
                              </a:lnTo>
                              <a:close/>
                              <a:moveTo>
                                <a:pt x="66685" y="3409"/>
                              </a:moveTo>
                              <a:lnTo>
                                <a:pt x="65848" y="6997"/>
                              </a:lnTo>
                              <a:lnTo>
                                <a:pt x="72067" y="7476"/>
                              </a:lnTo>
                              <a:lnTo>
                                <a:pt x="77390" y="299"/>
                              </a:lnTo>
                              <a:lnTo>
                                <a:pt x="66685" y="3409"/>
                              </a:lnTo>
                              <a:close/>
                              <a:moveTo>
                                <a:pt x="88754" y="20992"/>
                              </a:moveTo>
                              <a:lnTo>
                                <a:pt x="78766" y="39114"/>
                              </a:lnTo>
                              <a:lnTo>
                                <a:pt x="100297" y="55800"/>
                              </a:lnTo>
                              <a:lnTo>
                                <a:pt x="88754" y="20992"/>
                              </a:lnTo>
                              <a:close/>
                              <a:moveTo>
                                <a:pt x="77270" y="24940"/>
                              </a:moveTo>
                              <a:lnTo>
                                <a:pt x="78647" y="38576"/>
                              </a:lnTo>
                              <a:lnTo>
                                <a:pt x="88395" y="20873"/>
                              </a:lnTo>
                              <a:lnTo>
                                <a:pt x="77270" y="24940"/>
                              </a:lnTo>
                              <a:close/>
                              <a:moveTo>
                                <a:pt x="106158" y="99340"/>
                              </a:moveTo>
                              <a:lnTo>
                                <a:pt x="107414" y="109208"/>
                              </a:lnTo>
                              <a:lnTo>
                                <a:pt x="113275" y="105859"/>
                              </a:lnTo>
                              <a:lnTo>
                                <a:pt x="106158" y="99340"/>
                              </a:lnTo>
                              <a:close/>
                              <a:moveTo>
                                <a:pt x="113514" y="106098"/>
                              </a:moveTo>
                              <a:lnTo>
                                <a:pt x="107653" y="109447"/>
                              </a:lnTo>
                              <a:lnTo>
                                <a:pt x="126492" y="117940"/>
                              </a:lnTo>
                              <a:lnTo>
                                <a:pt x="113514" y="106098"/>
                              </a:lnTo>
                              <a:close/>
                              <a:moveTo>
                                <a:pt x="127030" y="118598"/>
                              </a:moveTo>
                              <a:lnTo>
                                <a:pt x="108011" y="109985"/>
                              </a:lnTo>
                              <a:lnTo>
                                <a:pt x="120272" y="122724"/>
                              </a:lnTo>
                              <a:lnTo>
                                <a:pt x="127030" y="118598"/>
                              </a:lnTo>
                              <a:close/>
                              <a:moveTo>
                                <a:pt x="131696" y="137796"/>
                              </a:moveTo>
                              <a:lnTo>
                                <a:pt x="122007" y="144913"/>
                              </a:lnTo>
                              <a:lnTo>
                                <a:pt x="133908" y="137856"/>
                              </a:lnTo>
                              <a:lnTo>
                                <a:pt x="131696" y="137796"/>
                              </a:lnTo>
                              <a:close/>
                              <a:moveTo>
                                <a:pt x="105320" y="95213"/>
                              </a:moveTo>
                              <a:lnTo>
                                <a:pt x="104124" y="97007"/>
                              </a:lnTo>
                              <a:lnTo>
                                <a:pt x="105739" y="98502"/>
                              </a:lnTo>
                              <a:lnTo>
                                <a:pt x="105320" y="95213"/>
                              </a:lnTo>
                              <a:close/>
                              <a:moveTo>
                                <a:pt x="105560" y="94794"/>
                              </a:moveTo>
                              <a:lnTo>
                                <a:pt x="106098" y="98861"/>
                              </a:lnTo>
                              <a:lnTo>
                                <a:pt x="113574" y="105679"/>
                              </a:lnTo>
                              <a:lnTo>
                                <a:pt x="118957" y="102569"/>
                              </a:lnTo>
                              <a:lnTo>
                                <a:pt x="110822" y="86900"/>
                              </a:lnTo>
                              <a:lnTo>
                                <a:pt x="105560" y="94794"/>
                              </a:lnTo>
                              <a:close/>
                              <a:moveTo>
                                <a:pt x="77390" y="20813"/>
                              </a:moveTo>
                              <a:lnTo>
                                <a:pt x="77270" y="24581"/>
                              </a:lnTo>
                              <a:lnTo>
                                <a:pt x="87797" y="20753"/>
                              </a:lnTo>
                              <a:lnTo>
                                <a:pt x="77390" y="20813"/>
                              </a:lnTo>
                              <a:close/>
                              <a:moveTo>
                                <a:pt x="104363" y="84926"/>
                              </a:moveTo>
                              <a:lnTo>
                                <a:pt x="105500" y="94196"/>
                              </a:lnTo>
                              <a:lnTo>
                                <a:pt x="110524" y="86661"/>
                              </a:lnTo>
                              <a:lnTo>
                                <a:pt x="104363" y="84926"/>
                              </a:lnTo>
                              <a:close/>
                              <a:moveTo>
                                <a:pt x="77809" y="8253"/>
                              </a:moveTo>
                              <a:lnTo>
                                <a:pt x="77390" y="20454"/>
                              </a:lnTo>
                              <a:lnTo>
                                <a:pt x="88514" y="20394"/>
                              </a:lnTo>
                              <a:lnTo>
                                <a:pt x="82295" y="8612"/>
                              </a:lnTo>
                              <a:lnTo>
                                <a:pt x="77809" y="8253"/>
                              </a:lnTo>
                              <a:close/>
                              <a:moveTo>
                                <a:pt x="77690" y="538"/>
                              </a:moveTo>
                              <a:lnTo>
                                <a:pt x="72486" y="7536"/>
                              </a:lnTo>
                              <a:lnTo>
                                <a:pt x="77450" y="7894"/>
                              </a:lnTo>
                              <a:lnTo>
                                <a:pt x="77690" y="538"/>
                              </a:lnTo>
                              <a:close/>
                              <a:moveTo>
                                <a:pt x="100955" y="57893"/>
                              </a:moveTo>
                              <a:lnTo>
                                <a:pt x="104303" y="84567"/>
                              </a:lnTo>
                              <a:lnTo>
                                <a:pt x="110584" y="86361"/>
                              </a:lnTo>
                              <a:lnTo>
                                <a:pt x="100955" y="57893"/>
                              </a:lnTo>
                              <a:close/>
                              <a:moveTo>
                                <a:pt x="127329" y="118777"/>
                              </a:moveTo>
                              <a:lnTo>
                                <a:pt x="120512" y="122964"/>
                              </a:lnTo>
                              <a:lnTo>
                                <a:pt x="129303" y="132114"/>
                              </a:lnTo>
                              <a:lnTo>
                                <a:pt x="136360" y="133609"/>
                              </a:lnTo>
                              <a:lnTo>
                                <a:pt x="127329" y="118777"/>
                              </a:lnTo>
                              <a:close/>
                              <a:moveTo>
                                <a:pt x="119076" y="102868"/>
                              </a:moveTo>
                              <a:lnTo>
                                <a:pt x="113813" y="105919"/>
                              </a:lnTo>
                              <a:lnTo>
                                <a:pt x="126791" y="117820"/>
                              </a:lnTo>
                              <a:lnTo>
                                <a:pt x="119076" y="102868"/>
                              </a:lnTo>
                              <a:close/>
                              <a:moveTo>
                                <a:pt x="78048" y="598"/>
                              </a:moveTo>
                              <a:lnTo>
                                <a:pt x="77809" y="7894"/>
                              </a:lnTo>
                              <a:lnTo>
                                <a:pt x="82055" y="8253"/>
                              </a:lnTo>
                              <a:lnTo>
                                <a:pt x="78048" y="598"/>
                              </a:lnTo>
                              <a:close/>
                              <a:moveTo>
                                <a:pt x="108371" y="67582"/>
                              </a:moveTo>
                              <a:lnTo>
                                <a:pt x="111002" y="86541"/>
                              </a:lnTo>
                              <a:lnTo>
                                <a:pt x="124399" y="98622"/>
                              </a:lnTo>
                              <a:lnTo>
                                <a:pt x="108371" y="67582"/>
                              </a:lnTo>
                              <a:close/>
                              <a:moveTo>
                                <a:pt x="101133" y="57235"/>
                              </a:moveTo>
                              <a:lnTo>
                                <a:pt x="110464" y="84866"/>
                              </a:lnTo>
                              <a:lnTo>
                                <a:pt x="107952" y="66685"/>
                              </a:lnTo>
                              <a:lnTo>
                                <a:pt x="101133" y="57235"/>
                              </a:lnTo>
                              <a:close/>
                              <a:moveTo>
                                <a:pt x="124638" y="99280"/>
                              </a:moveTo>
                              <a:lnTo>
                                <a:pt x="111421" y="87318"/>
                              </a:lnTo>
                              <a:lnTo>
                                <a:pt x="119255" y="102390"/>
                              </a:lnTo>
                              <a:lnTo>
                                <a:pt x="124638" y="99280"/>
                              </a:lnTo>
                              <a:close/>
                              <a:moveTo>
                                <a:pt x="136300" y="133908"/>
                              </a:moveTo>
                              <a:lnTo>
                                <a:pt x="129722" y="132533"/>
                              </a:lnTo>
                              <a:lnTo>
                                <a:pt x="133250" y="136181"/>
                              </a:lnTo>
                              <a:lnTo>
                                <a:pt x="136300" y="133908"/>
                              </a:lnTo>
                              <a:close/>
                              <a:moveTo>
                                <a:pt x="133250" y="136659"/>
                              </a:moveTo>
                              <a:lnTo>
                                <a:pt x="132114" y="137497"/>
                              </a:lnTo>
                              <a:lnTo>
                                <a:pt x="134087" y="137557"/>
                              </a:lnTo>
                              <a:lnTo>
                                <a:pt x="133250" y="136659"/>
                              </a:lnTo>
                              <a:close/>
                              <a:moveTo>
                                <a:pt x="96768" y="28408"/>
                              </a:moveTo>
                              <a:lnTo>
                                <a:pt x="100775" y="56219"/>
                              </a:lnTo>
                              <a:lnTo>
                                <a:pt x="107653" y="65728"/>
                              </a:lnTo>
                              <a:lnTo>
                                <a:pt x="96768" y="28408"/>
                              </a:lnTo>
                              <a:close/>
                              <a:moveTo>
                                <a:pt x="89113" y="20992"/>
                              </a:moveTo>
                              <a:lnTo>
                                <a:pt x="100177" y="54424"/>
                              </a:lnTo>
                              <a:lnTo>
                                <a:pt x="96110" y="26136"/>
                              </a:lnTo>
                              <a:lnTo>
                                <a:pt x="89113" y="20992"/>
                              </a:lnTo>
                              <a:close/>
                              <a:moveTo>
                                <a:pt x="124818" y="99639"/>
                              </a:moveTo>
                              <a:lnTo>
                                <a:pt x="119375" y="102749"/>
                              </a:lnTo>
                              <a:lnTo>
                                <a:pt x="127090" y="117701"/>
                              </a:lnTo>
                              <a:lnTo>
                                <a:pt x="124818" y="99639"/>
                              </a:lnTo>
                              <a:close/>
                              <a:moveTo>
                                <a:pt x="87079" y="8971"/>
                              </a:moveTo>
                              <a:lnTo>
                                <a:pt x="82713" y="8612"/>
                              </a:lnTo>
                              <a:lnTo>
                                <a:pt x="88514" y="19617"/>
                              </a:lnTo>
                              <a:lnTo>
                                <a:pt x="87079" y="8971"/>
                              </a:lnTo>
                              <a:close/>
                              <a:moveTo>
                                <a:pt x="136181" y="134447"/>
                              </a:moveTo>
                              <a:lnTo>
                                <a:pt x="133489" y="136420"/>
                              </a:lnTo>
                              <a:lnTo>
                                <a:pt x="134447" y="137437"/>
                              </a:lnTo>
                              <a:lnTo>
                                <a:pt x="136181" y="134447"/>
                              </a:lnTo>
                              <a:close/>
                              <a:moveTo>
                                <a:pt x="125236" y="100057"/>
                              </a:moveTo>
                              <a:lnTo>
                                <a:pt x="127569" y="118358"/>
                              </a:lnTo>
                              <a:lnTo>
                                <a:pt x="135762" y="116983"/>
                              </a:lnTo>
                              <a:lnTo>
                                <a:pt x="125236" y="100057"/>
                              </a:lnTo>
                              <a:close/>
                              <a:moveTo>
                                <a:pt x="135882" y="117342"/>
                              </a:moveTo>
                              <a:lnTo>
                                <a:pt x="127748" y="118717"/>
                              </a:lnTo>
                              <a:lnTo>
                                <a:pt x="136240" y="126911"/>
                              </a:lnTo>
                              <a:lnTo>
                                <a:pt x="135882" y="117342"/>
                              </a:lnTo>
                              <a:close/>
                              <a:moveTo>
                                <a:pt x="92162" y="9868"/>
                              </a:moveTo>
                              <a:lnTo>
                                <a:pt x="88933" y="20514"/>
                              </a:lnTo>
                              <a:lnTo>
                                <a:pt x="95990" y="25657"/>
                              </a:lnTo>
                              <a:lnTo>
                                <a:pt x="92162" y="9868"/>
                              </a:lnTo>
                              <a:close/>
                              <a:moveTo>
                                <a:pt x="136300" y="127389"/>
                              </a:moveTo>
                              <a:lnTo>
                                <a:pt x="128226" y="119614"/>
                              </a:lnTo>
                              <a:lnTo>
                                <a:pt x="136540" y="133191"/>
                              </a:lnTo>
                              <a:lnTo>
                                <a:pt x="136300" y="127389"/>
                              </a:lnTo>
                              <a:close/>
                              <a:moveTo>
                                <a:pt x="87378" y="9031"/>
                              </a:moveTo>
                              <a:lnTo>
                                <a:pt x="88814" y="19796"/>
                              </a:lnTo>
                              <a:lnTo>
                                <a:pt x="91924" y="9390"/>
                              </a:lnTo>
                              <a:lnTo>
                                <a:pt x="87378" y="9031"/>
                              </a:lnTo>
                              <a:close/>
                              <a:moveTo>
                                <a:pt x="86661" y="3349"/>
                              </a:moveTo>
                              <a:lnTo>
                                <a:pt x="87378" y="8612"/>
                              </a:lnTo>
                              <a:lnTo>
                                <a:pt x="91804" y="8971"/>
                              </a:lnTo>
                              <a:lnTo>
                                <a:pt x="86661" y="3349"/>
                              </a:lnTo>
                              <a:close/>
                              <a:moveTo>
                                <a:pt x="136659" y="127688"/>
                              </a:moveTo>
                              <a:lnTo>
                                <a:pt x="136899" y="133549"/>
                              </a:lnTo>
                              <a:lnTo>
                                <a:pt x="139172" y="132891"/>
                              </a:lnTo>
                              <a:lnTo>
                                <a:pt x="138454" y="129423"/>
                              </a:lnTo>
                              <a:lnTo>
                                <a:pt x="136659" y="127688"/>
                              </a:lnTo>
                              <a:close/>
                              <a:moveTo>
                                <a:pt x="139530" y="133191"/>
                              </a:moveTo>
                              <a:lnTo>
                                <a:pt x="140308" y="137018"/>
                              </a:lnTo>
                              <a:lnTo>
                                <a:pt x="141444" y="132592"/>
                              </a:lnTo>
                              <a:lnTo>
                                <a:pt x="139530" y="133191"/>
                              </a:lnTo>
                              <a:close/>
                              <a:moveTo>
                                <a:pt x="131636" y="107294"/>
                              </a:moveTo>
                              <a:lnTo>
                                <a:pt x="126253" y="101074"/>
                              </a:lnTo>
                              <a:lnTo>
                                <a:pt x="134985" y="115129"/>
                              </a:lnTo>
                              <a:lnTo>
                                <a:pt x="131636" y="107294"/>
                              </a:lnTo>
                              <a:close/>
                              <a:moveTo>
                                <a:pt x="136300" y="119136"/>
                              </a:moveTo>
                              <a:lnTo>
                                <a:pt x="136600" y="127210"/>
                              </a:lnTo>
                              <a:lnTo>
                                <a:pt x="138274" y="128825"/>
                              </a:lnTo>
                              <a:lnTo>
                                <a:pt x="136300" y="119136"/>
                              </a:lnTo>
                              <a:close/>
                              <a:moveTo>
                                <a:pt x="138872" y="129841"/>
                              </a:moveTo>
                              <a:lnTo>
                                <a:pt x="139470" y="132832"/>
                              </a:lnTo>
                              <a:lnTo>
                                <a:pt x="141325" y="132294"/>
                              </a:lnTo>
                              <a:lnTo>
                                <a:pt x="138872" y="129841"/>
                              </a:lnTo>
                              <a:close/>
                              <a:moveTo>
                                <a:pt x="136659" y="119255"/>
                              </a:moveTo>
                              <a:lnTo>
                                <a:pt x="138752" y="129243"/>
                              </a:lnTo>
                              <a:lnTo>
                                <a:pt x="141265" y="131695"/>
                              </a:lnTo>
                              <a:lnTo>
                                <a:pt x="136659" y="119255"/>
                              </a:lnTo>
                              <a:close/>
                            </a:path>
                          </a:pathLst>
                        </a:custGeom>
                        <a:noFill/>
                        <a:ln w="6350" cap="flat">
                          <a:solidFill>
                            <a:schemeClr val="bg1">
                              <a:alpha val="40000"/>
                            </a:schemeClr>
                          </a:solidFill>
                          <a:prstDash val="solid"/>
                          <a:miter/>
                        </a:ln>
                      </p:spPr>
                      <p:txBody>
                        <a:bodyPr rtlCol="0" anchor="ctr"/>
                        <a:lstStyle/>
                        <a:p>
                          <a:endParaRPr lang="en-GB"/>
                        </a:p>
                      </p:txBody>
                    </p:sp>
                    <p:sp>
                      <p:nvSpPr>
                        <p:cNvPr id="5870" name="Vrije vorm: vorm 5869">
                          <a:extLst>
                            <a:ext uri="{FF2B5EF4-FFF2-40B4-BE49-F238E27FC236}">
                              <a16:creationId xmlns:a16="http://schemas.microsoft.com/office/drawing/2014/main" id="{E04CF9D3-1A57-40AE-941F-E790E7ABF8B3}"/>
                            </a:ext>
                          </a:extLst>
                        </p:cNvPr>
                        <p:cNvSpPr/>
                        <p:nvPr/>
                      </p:nvSpPr>
                      <p:spPr>
                        <a:xfrm>
                          <a:off x="7750557" y="3044646"/>
                          <a:ext cx="27690" cy="14592"/>
                        </a:xfrm>
                        <a:custGeom>
                          <a:avLst/>
                          <a:gdLst>
                            <a:gd name="connsiteX0" fmla="*/ 0 w 27690"/>
                            <a:gd name="connsiteY0" fmla="*/ 14294 h 14592"/>
                            <a:gd name="connsiteX1" fmla="*/ 27511 w 27690"/>
                            <a:gd name="connsiteY1" fmla="*/ 0 h 14592"/>
                            <a:gd name="connsiteX2" fmla="*/ 27691 w 27690"/>
                            <a:gd name="connsiteY2" fmla="*/ 299 h 14592"/>
                            <a:gd name="connsiteX3" fmla="*/ 14055 w 27690"/>
                            <a:gd name="connsiteY3" fmla="*/ 9988 h 14592"/>
                            <a:gd name="connsiteX4" fmla="*/ 180 w 27690"/>
                            <a:gd name="connsiteY4" fmla="*/ 14593 h 14592"/>
                            <a:gd name="connsiteX5" fmla="*/ 0 w 27690"/>
                            <a:gd name="connsiteY5" fmla="*/ 14294 h 14592"/>
                            <a:gd name="connsiteX6" fmla="*/ 25418 w 27690"/>
                            <a:gd name="connsiteY6" fmla="*/ 1435 h 14592"/>
                            <a:gd name="connsiteX7" fmla="*/ 2093 w 27690"/>
                            <a:gd name="connsiteY7" fmla="*/ 13576 h 14592"/>
                            <a:gd name="connsiteX8" fmla="*/ 13876 w 27690"/>
                            <a:gd name="connsiteY8" fmla="*/ 9629 h 14592"/>
                            <a:gd name="connsiteX9" fmla="*/ 25418 w 27690"/>
                            <a:gd name="connsiteY9" fmla="*/ 1435 h 1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90" h="14592">
                              <a:moveTo>
                                <a:pt x="0" y="14294"/>
                              </a:moveTo>
                              <a:lnTo>
                                <a:pt x="27511" y="0"/>
                              </a:lnTo>
                              <a:lnTo>
                                <a:pt x="27691" y="299"/>
                              </a:lnTo>
                              <a:lnTo>
                                <a:pt x="14055" y="9988"/>
                              </a:lnTo>
                              <a:lnTo>
                                <a:pt x="180" y="14593"/>
                              </a:lnTo>
                              <a:lnTo>
                                <a:pt x="0" y="14294"/>
                              </a:lnTo>
                              <a:close/>
                              <a:moveTo>
                                <a:pt x="25418" y="1435"/>
                              </a:moveTo>
                              <a:lnTo>
                                <a:pt x="2093" y="13576"/>
                              </a:lnTo>
                              <a:lnTo>
                                <a:pt x="13876" y="9629"/>
                              </a:lnTo>
                              <a:lnTo>
                                <a:pt x="25418" y="1435"/>
                              </a:lnTo>
                              <a:close/>
                            </a:path>
                          </a:pathLst>
                        </a:custGeom>
                        <a:noFill/>
                        <a:ln w="6350" cap="flat">
                          <a:solidFill>
                            <a:schemeClr val="bg1">
                              <a:alpha val="40000"/>
                            </a:schemeClr>
                          </a:solidFill>
                          <a:prstDash val="solid"/>
                          <a:miter/>
                        </a:ln>
                      </p:spPr>
                      <p:txBody>
                        <a:bodyPr rtlCol="0" anchor="ctr"/>
                        <a:lstStyle/>
                        <a:p>
                          <a:endParaRPr lang="en-GB"/>
                        </a:p>
                      </p:txBody>
                    </p:sp>
                    <p:sp>
                      <p:nvSpPr>
                        <p:cNvPr id="5871" name="Vrije vorm: vorm 5870">
                          <a:extLst>
                            <a:ext uri="{FF2B5EF4-FFF2-40B4-BE49-F238E27FC236}">
                              <a16:creationId xmlns:a16="http://schemas.microsoft.com/office/drawing/2014/main" id="{3ACBCE82-79C3-470A-AAC2-16D07E0BDE5E}"/>
                            </a:ext>
                          </a:extLst>
                        </p:cNvPr>
                        <p:cNvSpPr/>
                        <p:nvPr/>
                      </p:nvSpPr>
                      <p:spPr>
                        <a:xfrm>
                          <a:off x="7736920" y="3055471"/>
                          <a:ext cx="10167" cy="4904"/>
                        </a:xfrm>
                        <a:custGeom>
                          <a:avLst/>
                          <a:gdLst>
                            <a:gd name="connsiteX0" fmla="*/ 0 w 10167"/>
                            <a:gd name="connsiteY0" fmla="*/ 239 h 4904"/>
                            <a:gd name="connsiteX1" fmla="*/ 239 w 10167"/>
                            <a:gd name="connsiteY1" fmla="*/ 0 h 4904"/>
                            <a:gd name="connsiteX2" fmla="*/ 10168 w 10167"/>
                            <a:gd name="connsiteY2" fmla="*/ 4545 h 4904"/>
                            <a:gd name="connsiteX3" fmla="*/ 10108 w 10167"/>
                            <a:gd name="connsiteY3" fmla="*/ 4904 h 4904"/>
                            <a:gd name="connsiteX4" fmla="*/ 1974 w 10167"/>
                            <a:gd name="connsiteY4" fmla="*/ 4844 h 4904"/>
                            <a:gd name="connsiteX5" fmla="*/ 1795 w 10167"/>
                            <a:gd name="connsiteY5" fmla="*/ 4725 h 4904"/>
                            <a:gd name="connsiteX6" fmla="*/ 0 w 10167"/>
                            <a:gd name="connsiteY6" fmla="*/ 239 h 4904"/>
                            <a:gd name="connsiteX7" fmla="*/ 9330 w 10167"/>
                            <a:gd name="connsiteY7" fmla="*/ 4545 h 4904"/>
                            <a:gd name="connsiteX8" fmla="*/ 479 w 10167"/>
                            <a:gd name="connsiteY8" fmla="*/ 479 h 4904"/>
                            <a:gd name="connsiteX9" fmla="*/ 2094 w 10167"/>
                            <a:gd name="connsiteY9" fmla="*/ 4486 h 4904"/>
                            <a:gd name="connsiteX10" fmla="*/ 9330 w 10167"/>
                            <a:gd name="connsiteY10" fmla="*/ 4545 h 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67" h="4904">
                              <a:moveTo>
                                <a:pt x="0" y="239"/>
                              </a:moveTo>
                              <a:lnTo>
                                <a:pt x="239" y="0"/>
                              </a:lnTo>
                              <a:lnTo>
                                <a:pt x="10168" y="4545"/>
                              </a:lnTo>
                              <a:lnTo>
                                <a:pt x="10108" y="4904"/>
                              </a:lnTo>
                              <a:lnTo>
                                <a:pt x="1974" y="4844"/>
                              </a:lnTo>
                              <a:lnTo>
                                <a:pt x="1795" y="4725"/>
                              </a:lnTo>
                              <a:lnTo>
                                <a:pt x="0" y="239"/>
                              </a:lnTo>
                              <a:close/>
                              <a:moveTo>
                                <a:pt x="9330" y="4545"/>
                              </a:moveTo>
                              <a:lnTo>
                                <a:pt x="479" y="479"/>
                              </a:lnTo>
                              <a:lnTo>
                                <a:pt x="2094" y="4486"/>
                              </a:lnTo>
                              <a:lnTo>
                                <a:pt x="9330" y="4545"/>
                              </a:lnTo>
                              <a:close/>
                            </a:path>
                          </a:pathLst>
                        </a:custGeom>
                        <a:noFill/>
                        <a:ln w="6350" cap="flat">
                          <a:solidFill>
                            <a:schemeClr val="bg1">
                              <a:alpha val="40000"/>
                            </a:schemeClr>
                          </a:solidFill>
                          <a:prstDash val="solid"/>
                          <a:miter/>
                        </a:ln>
                      </p:spPr>
                      <p:txBody>
                        <a:bodyPr rtlCol="0" anchor="ctr"/>
                        <a:lstStyle/>
                        <a:p>
                          <a:endParaRPr lang="en-GB"/>
                        </a:p>
                      </p:txBody>
                    </p:sp>
                    <p:sp>
                      <p:nvSpPr>
                        <p:cNvPr id="5872" name="Vrije vorm: vorm 5871">
                          <a:extLst>
                            <a:ext uri="{FF2B5EF4-FFF2-40B4-BE49-F238E27FC236}">
                              <a16:creationId xmlns:a16="http://schemas.microsoft.com/office/drawing/2014/main" id="{80A6AEB9-FAA6-45ED-9B2C-E3AB20C25182}"/>
                            </a:ext>
                          </a:extLst>
                        </p:cNvPr>
                        <p:cNvSpPr/>
                        <p:nvPr/>
                      </p:nvSpPr>
                      <p:spPr>
                        <a:xfrm>
                          <a:off x="7805101" y="3036094"/>
                          <a:ext cx="58671" cy="33492"/>
                        </a:xfrm>
                        <a:custGeom>
                          <a:avLst/>
                          <a:gdLst>
                            <a:gd name="connsiteX0" fmla="*/ 0 w 58671"/>
                            <a:gd name="connsiteY0" fmla="*/ 33253 h 33492"/>
                            <a:gd name="connsiteX1" fmla="*/ 2752 w 58671"/>
                            <a:gd name="connsiteY1" fmla="*/ 30621 h 33492"/>
                            <a:gd name="connsiteX2" fmla="*/ 7835 w 58671"/>
                            <a:gd name="connsiteY2" fmla="*/ 28887 h 33492"/>
                            <a:gd name="connsiteX3" fmla="*/ 11124 w 58671"/>
                            <a:gd name="connsiteY3" fmla="*/ 28648 h 33492"/>
                            <a:gd name="connsiteX4" fmla="*/ 12919 w 58671"/>
                            <a:gd name="connsiteY4" fmla="*/ 27930 h 33492"/>
                            <a:gd name="connsiteX5" fmla="*/ 20394 w 58671"/>
                            <a:gd name="connsiteY5" fmla="*/ 23923 h 33492"/>
                            <a:gd name="connsiteX6" fmla="*/ 26973 w 58671"/>
                            <a:gd name="connsiteY6" fmla="*/ 22129 h 33492"/>
                            <a:gd name="connsiteX7" fmla="*/ 30083 w 58671"/>
                            <a:gd name="connsiteY7" fmla="*/ 20873 h 33492"/>
                            <a:gd name="connsiteX8" fmla="*/ 30323 w 58671"/>
                            <a:gd name="connsiteY8" fmla="*/ 21052 h 33492"/>
                            <a:gd name="connsiteX9" fmla="*/ 30263 w 58671"/>
                            <a:gd name="connsiteY9" fmla="*/ 21231 h 33492"/>
                            <a:gd name="connsiteX10" fmla="*/ 36363 w 58671"/>
                            <a:gd name="connsiteY10" fmla="*/ 19557 h 33492"/>
                            <a:gd name="connsiteX11" fmla="*/ 44317 w 58671"/>
                            <a:gd name="connsiteY11" fmla="*/ 15370 h 33492"/>
                            <a:gd name="connsiteX12" fmla="*/ 54066 w 58671"/>
                            <a:gd name="connsiteY12" fmla="*/ 7476 h 33492"/>
                            <a:gd name="connsiteX13" fmla="*/ 54784 w 58671"/>
                            <a:gd name="connsiteY13" fmla="*/ 120 h 33492"/>
                            <a:gd name="connsiteX14" fmla="*/ 55083 w 58671"/>
                            <a:gd name="connsiteY14" fmla="*/ 0 h 33492"/>
                            <a:gd name="connsiteX15" fmla="*/ 58671 w 58671"/>
                            <a:gd name="connsiteY15" fmla="*/ 3887 h 33492"/>
                            <a:gd name="connsiteX16" fmla="*/ 58671 w 58671"/>
                            <a:gd name="connsiteY16" fmla="*/ 4127 h 33492"/>
                            <a:gd name="connsiteX17" fmla="*/ 58671 w 58671"/>
                            <a:gd name="connsiteY17" fmla="*/ 4127 h 33492"/>
                            <a:gd name="connsiteX18" fmla="*/ 54186 w 58671"/>
                            <a:gd name="connsiteY18" fmla="*/ 9031 h 33492"/>
                            <a:gd name="connsiteX19" fmla="*/ 45095 w 58671"/>
                            <a:gd name="connsiteY19" fmla="*/ 17464 h 33492"/>
                            <a:gd name="connsiteX20" fmla="*/ 29844 w 58671"/>
                            <a:gd name="connsiteY20" fmla="*/ 23325 h 33492"/>
                            <a:gd name="connsiteX21" fmla="*/ 18720 w 58671"/>
                            <a:gd name="connsiteY21" fmla="*/ 26554 h 33492"/>
                            <a:gd name="connsiteX22" fmla="*/ 239 w 58671"/>
                            <a:gd name="connsiteY22" fmla="*/ 33492 h 33492"/>
                            <a:gd name="connsiteX23" fmla="*/ 0 w 58671"/>
                            <a:gd name="connsiteY23" fmla="*/ 33253 h 33492"/>
                            <a:gd name="connsiteX24" fmla="*/ 2930 w 58671"/>
                            <a:gd name="connsiteY24" fmla="*/ 30920 h 33492"/>
                            <a:gd name="connsiteX25" fmla="*/ 897 w 58671"/>
                            <a:gd name="connsiteY25" fmla="*/ 32894 h 33492"/>
                            <a:gd name="connsiteX26" fmla="*/ 10108 w 58671"/>
                            <a:gd name="connsiteY26" fmla="*/ 29066 h 33492"/>
                            <a:gd name="connsiteX27" fmla="*/ 7955 w 58671"/>
                            <a:gd name="connsiteY27" fmla="*/ 29246 h 33492"/>
                            <a:gd name="connsiteX28" fmla="*/ 2930 w 58671"/>
                            <a:gd name="connsiteY28" fmla="*/ 30920 h 33492"/>
                            <a:gd name="connsiteX29" fmla="*/ 11184 w 58671"/>
                            <a:gd name="connsiteY29" fmla="*/ 29007 h 33492"/>
                            <a:gd name="connsiteX30" fmla="*/ 10108 w 58671"/>
                            <a:gd name="connsiteY30" fmla="*/ 29485 h 33492"/>
                            <a:gd name="connsiteX31" fmla="*/ 11364 w 58671"/>
                            <a:gd name="connsiteY31" fmla="*/ 29007 h 33492"/>
                            <a:gd name="connsiteX32" fmla="*/ 11184 w 58671"/>
                            <a:gd name="connsiteY32" fmla="*/ 29007 h 33492"/>
                            <a:gd name="connsiteX33" fmla="*/ 13038 w 58671"/>
                            <a:gd name="connsiteY33" fmla="*/ 28229 h 33492"/>
                            <a:gd name="connsiteX34" fmla="*/ 12321 w 58671"/>
                            <a:gd name="connsiteY34" fmla="*/ 28588 h 33492"/>
                            <a:gd name="connsiteX35" fmla="*/ 18481 w 58671"/>
                            <a:gd name="connsiteY35" fmla="*/ 26255 h 33492"/>
                            <a:gd name="connsiteX36" fmla="*/ 29545 w 58671"/>
                            <a:gd name="connsiteY36" fmla="*/ 23026 h 33492"/>
                            <a:gd name="connsiteX37" fmla="*/ 29784 w 58671"/>
                            <a:gd name="connsiteY37" fmla="*/ 21650 h 33492"/>
                            <a:gd name="connsiteX38" fmla="*/ 27033 w 58671"/>
                            <a:gd name="connsiteY38" fmla="*/ 22428 h 33492"/>
                            <a:gd name="connsiteX39" fmla="*/ 13038 w 58671"/>
                            <a:gd name="connsiteY39" fmla="*/ 28229 h 33492"/>
                            <a:gd name="connsiteX40" fmla="*/ 24342 w 58671"/>
                            <a:gd name="connsiteY40" fmla="*/ 23145 h 33492"/>
                            <a:gd name="connsiteX41" fmla="*/ 20514 w 58671"/>
                            <a:gd name="connsiteY41" fmla="*/ 24222 h 33492"/>
                            <a:gd name="connsiteX42" fmla="*/ 16148 w 58671"/>
                            <a:gd name="connsiteY42" fmla="*/ 26554 h 33492"/>
                            <a:gd name="connsiteX43" fmla="*/ 24342 w 58671"/>
                            <a:gd name="connsiteY43" fmla="*/ 23145 h 33492"/>
                            <a:gd name="connsiteX44" fmla="*/ 30143 w 58671"/>
                            <a:gd name="connsiteY44" fmla="*/ 21590 h 33492"/>
                            <a:gd name="connsiteX45" fmla="*/ 29904 w 58671"/>
                            <a:gd name="connsiteY45" fmla="*/ 22906 h 33492"/>
                            <a:gd name="connsiteX46" fmla="*/ 34868 w 58671"/>
                            <a:gd name="connsiteY46" fmla="*/ 20275 h 33492"/>
                            <a:gd name="connsiteX47" fmla="*/ 30143 w 58671"/>
                            <a:gd name="connsiteY47" fmla="*/ 21590 h 33492"/>
                            <a:gd name="connsiteX48" fmla="*/ 29844 w 58671"/>
                            <a:gd name="connsiteY48" fmla="*/ 21231 h 33492"/>
                            <a:gd name="connsiteX49" fmla="*/ 29605 w 58671"/>
                            <a:gd name="connsiteY49" fmla="*/ 21351 h 33492"/>
                            <a:gd name="connsiteX50" fmla="*/ 29844 w 58671"/>
                            <a:gd name="connsiteY50" fmla="*/ 21231 h 33492"/>
                            <a:gd name="connsiteX51" fmla="*/ 29844 w 58671"/>
                            <a:gd name="connsiteY51" fmla="*/ 21231 h 33492"/>
                            <a:gd name="connsiteX52" fmla="*/ 36482 w 58671"/>
                            <a:gd name="connsiteY52" fmla="*/ 19856 h 33492"/>
                            <a:gd name="connsiteX53" fmla="*/ 32416 w 58671"/>
                            <a:gd name="connsiteY53" fmla="*/ 22009 h 33492"/>
                            <a:gd name="connsiteX54" fmla="*/ 41626 w 58671"/>
                            <a:gd name="connsiteY54" fmla="*/ 18480 h 33492"/>
                            <a:gd name="connsiteX55" fmla="*/ 36482 w 58671"/>
                            <a:gd name="connsiteY55" fmla="*/ 19856 h 33492"/>
                            <a:gd name="connsiteX56" fmla="*/ 44257 w 58671"/>
                            <a:gd name="connsiteY56" fmla="*/ 15729 h 33492"/>
                            <a:gd name="connsiteX57" fmla="*/ 37918 w 58671"/>
                            <a:gd name="connsiteY57" fmla="*/ 19079 h 33492"/>
                            <a:gd name="connsiteX58" fmla="*/ 44796 w 58671"/>
                            <a:gd name="connsiteY58" fmla="*/ 17165 h 33492"/>
                            <a:gd name="connsiteX59" fmla="*/ 44257 w 58671"/>
                            <a:gd name="connsiteY59" fmla="*/ 15729 h 33492"/>
                            <a:gd name="connsiteX60" fmla="*/ 44557 w 58671"/>
                            <a:gd name="connsiteY60" fmla="*/ 15550 h 33492"/>
                            <a:gd name="connsiteX61" fmla="*/ 45035 w 58671"/>
                            <a:gd name="connsiteY61" fmla="*/ 16985 h 33492"/>
                            <a:gd name="connsiteX62" fmla="*/ 52212 w 58671"/>
                            <a:gd name="connsiteY62" fmla="*/ 10347 h 33492"/>
                            <a:gd name="connsiteX63" fmla="*/ 44557 w 58671"/>
                            <a:gd name="connsiteY63" fmla="*/ 15550 h 33492"/>
                            <a:gd name="connsiteX64" fmla="*/ 53946 w 58671"/>
                            <a:gd name="connsiteY64" fmla="*/ 7954 h 33492"/>
                            <a:gd name="connsiteX65" fmla="*/ 47607 w 58671"/>
                            <a:gd name="connsiteY65" fmla="*/ 13098 h 33492"/>
                            <a:gd name="connsiteX66" fmla="*/ 53886 w 58671"/>
                            <a:gd name="connsiteY66" fmla="*/ 8852 h 33492"/>
                            <a:gd name="connsiteX67" fmla="*/ 53946 w 58671"/>
                            <a:gd name="connsiteY67" fmla="*/ 7954 h 33492"/>
                            <a:gd name="connsiteX68" fmla="*/ 54305 w 58671"/>
                            <a:gd name="connsiteY68" fmla="*/ 7655 h 33492"/>
                            <a:gd name="connsiteX69" fmla="*/ 54246 w 58671"/>
                            <a:gd name="connsiteY69" fmla="*/ 8493 h 33492"/>
                            <a:gd name="connsiteX70" fmla="*/ 56817 w 58671"/>
                            <a:gd name="connsiteY70" fmla="*/ 5682 h 33492"/>
                            <a:gd name="connsiteX71" fmla="*/ 54305 w 58671"/>
                            <a:gd name="connsiteY71" fmla="*/ 7655 h 33492"/>
                            <a:gd name="connsiteX72" fmla="*/ 55023 w 58671"/>
                            <a:gd name="connsiteY72" fmla="*/ 478 h 33492"/>
                            <a:gd name="connsiteX73" fmla="*/ 54365 w 58671"/>
                            <a:gd name="connsiteY73" fmla="*/ 7117 h 33492"/>
                            <a:gd name="connsiteX74" fmla="*/ 58252 w 58671"/>
                            <a:gd name="connsiteY74" fmla="*/ 3947 h 33492"/>
                            <a:gd name="connsiteX75" fmla="*/ 55023 w 58671"/>
                            <a:gd name="connsiteY75" fmla="*/ 478 h 3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8671" h="33492">
                              <a:moveTo>
                                <a:pt x="0" y="33253"/>
                              </a:moveTo>
                              <a:lnTo>
                                <a:pt x="2752" y="30621"/>
                              </a:lnTo>
                              <a:lnTo>
                                <a:pt x="7835" y="28887"/>
                              </a:lnTo>
                              <a:lnTo>
                                <a:pt x="11124" y="28648"/>
                              </a:lnTo>
                              <a:lnTo>
                                <a:pt x="12919" y="27930"/>
                              </a:lnTo>
                              <a:lnTo>
                                <a:pt x="20394" y="23923"/>
                              </a:lnTo>
                              <a:lnTo>
                                <a:pt x="26973" y="22129"/>
                              </a:lnTo>
                              <a:lnTo>
                                <a:pt x="30083" y="20873"/>
                              </a:lnTo>
                              <a:lnTo>
                                <a:pt x="30323" y="21052"/>
                              </a:lnTo>
                              <a:lnTo>
                                <a:pt x="30263" y="21231"/>
                              </a:lnTo>
                              <a:lnTo>
                                <a:pt x="36363" y="19557"/>
                              </a:lnTo>
                              <a:lnTo>
                                <a:pt x="44317" y="15370"/>
                              </a:lnTo>
                              <a:lnTo>
                                <a:pt x="54066" y="7476"/>
                              </a:lnTo>
                              <a:lnTo>
                                <a:pt x="54784" y="120"/>
                              </a:lnTo>
                              <a:lnTo>
                                <a:pt x="55083" y="0"/>
                              </a:lnTo>
                              <a:lnTo>
                                <a:pt x="58671" y="3887"/>
                              </a:lnTo>
                              <a:lnTo>
                                <a:pt x="58671" y="4127"/>
                              </a:lnTo>
                              <a:lnTo>
                                <a:pt x="58671" y="4127"/>
                              </a:lnTo>
                              <a:lnTo>
                                <a:pt x="54186" y="9031"/>
                              </a:lnTo>
                              <a:lnTo>
                                <a:pt x="45095" y="17464"/>
                              </a:lnTo>
                              <a:lnTo>
                                <a:pt x="29844" y="23325"/>
                              </a:lnTo>
                              <a:lnTo>
                                <a:pt x="18720" y="26554"/>
                              </a:lnTo>
                              <a:lnTo>
                                <a:pt x="239" y="33492"/>
                              </a:lnTo>
                              <a:lnTo>
                                <a:pt x="0" y="33253"/>
                              </a:lnTo>
                              <a:close/>
                              <a:moveTo>
                                <a:pt x="2930" y="30920"/>
                              </a:moveTo>
                              <a:lnTo>
                                <a:pt x="897" y="32894"/>
                              </a:lnTo>
                              <a:lnTo>
                                <a:pt x="10108" y="29066"/>
                              </a:lnTo>
                              <a:lnTo>
                                <a:pt x="7955" y="29246"/>
                              </a:lnTo>
                              <a:lnTo>
                                <a:pt x="2930" y="30920"/>
                              </a:lnTo>
                              <a:close/>
                              <a:moveTo>
                                <a:pt x="11184" y="29007"/>
                              </a:moveTo>
                              <a:lnTo>
                                <a:pt x="10108" y="29485"/>
                              </a:lnTo>
                              <a:lnTo>
                                <a:pt x="11364" y="29007"/>
                              </a:lnTo>
                              <a:lnTo>
                                <a:pt x="11184" y="29007"/>
                              </a:lnTo>
                              <a:close/>
                              <a:moveTo>
                                <a:pt x="13038" y="28229"/>
                              </a:moveTo>
                              <a:lnTo>
                                <a:pt x="12321" y="28588"/>
                              </a:lnTo>
                              <a:lnTo>
                                <a:pt x="18481" y="26255"/>
                              </a:lnTo>
                              <a:lnTo>
                                <a:pt x="29545" y="23026"/>
                              </a:lnTo>
                              <a:lnTo>
                                <a:pt x="29784" y="21650"/>
                              </a:lnTo>
                              <a:lnTo>
                                <a:pt x="27033" y="22428"/>
                              </a:lnTo>
                              <a:lnTo>
                                <a:pt x="13038" y="28229"/>
                              </a:lnTo>
                              <a:close/>
                              <a:moveTo>
                                <a:pt x="24342" y="23145"/>
                              </a:moveTo>
                              <a:lnTo>
                                <a:pt x="20514" y="24222"/>
                              </a:lnTo>
                              <a:lnTo>
                                <a:pt x="16148" y="26554"/>
                              </a:lnTo>
                              <a:lnTo>
                                <a:pt x="24342" y="23145"/>
                              </a:lnTo>
                              <a:close/>
                              <a:moveTo>
                                <a:pt x="30143" y="21590"/>
                              </a:moveTo>
                              <a:lnTo>
                                <a:pt x="29904" y="22906"/>
                              </a:lnTo>
                              <a:lnTo>
                                <a:pt x="34868" y="20275"/>
                              </a:lnTo>
                              <a:lnTo>
                                <a:pt x="30143" y="21590"/>
                              </a:lnTo>
                              <a:close/>
                              <a:moveTo>
                                <a:pt x="29844" y="21231"/>
                              </a:moveTo>
                              <a:lnTo>
                                <a:pt x="29605" y="21351"/>
                              </a:lnTo>
                              <a:lnTo>
                                <a:pt x="29844" y="21231"/>
                              </a:lnTo>
                              <a:lnTo>
                                <a:pt x="29844" y="21231"/>
                              </a:lnTo>
                              <a:close/>
                              <a:moveTo>
                                <a:pt x="36482" y="19856"/>
                              </a:moveTo>
                              <a:lnTo>
                                <a:pt x="32416" y="22009"/>
                              </a:lnTo>
                              <a:lnTo>
                                <a:pt x="41626" y="18480"/>
                              </a:lnTo>
                              <a:lnTo>
                                <a:pt x="36482" y="19856"/>
                              </a:lnTo>
                              <a:close/>
                              <a:moveTo>
                                <a:pt x="44257" y="15729"/>
                              </a:moveTo>
                              <a:lnTo>
                                <a:pt x="37918" y="19079"/>
                              </a:lnTo>
                              <a:lnTo>
                                <a:pt x="44796" y="17165"/>
                              </a:lnTo>
                              <a:lnTo>
                                <a:pt x="44257" y="15729"/>
                              </a:lnTo>
                              <a:close/>
                              <a:moveTo>
                                <a:pt x="44557" y="15550"/>
                              </a:moveTo>
                              <a:lnTo>
                                <a:pt x="45035" y="16985"/>
                              </a:lnTo>
                              <a:lnTo>
                                <a:pt x="52212" y="10347"/>
                              </a:lnTo>
                              <a:lnTo>
                                <a:pt x="44557" y="15550"/>
                              </a:lnTo>
                              <a:close/>
                              <a:moveTo>
                                <a:pt x="53946" y="7954"/>
                              </a:moveTo>
                              <a:lnTo>
                                <a:pt x="47607" y="13098"/>
                              </a:lnTo>
                              <a:lnTo>
                                <a:pt x="53886" y="8852"/>
                              </a:lnTo>
                              <a:lnTo>
                                <a:pt x="53946" y="7954"/>
                              </a:lnTo>
                              <a:close/>
                              <a:moveTo>
                                <a:pt x="54305" y="7655"/>
                              </a:moveTo>
                              <a:lnTo>
                                <a:pt x="54246" y="8493"/>
                              </a:lnTo>
                              <a:lnTo>
                                <a:pt x="56817" y="5682"/>
                              </a:lnTo>
                              <a:lnTo>
                                <a:pt x="54305" y="7655"/>
                              </a:lnTo>
                              <a:close/>
                              <a:moveTo>
                                <a:pt x="55023" y="478"/>
                              </a:moveTo>
                              <a:lnTo>
                                <a:pt x="54365" y="7117"/>
                              </a:lnTo>
                              <a:lnTo>
                                <a:pt x="58252" y="3947"/>
                              </a:lnTo>
                              <a:lnTo>
                                <a:pt x="55023" y="478"/>
                              </a:lnTo>
                              <a:close/>
                            </a:path>
                          </a:pathLst>
                        </a:custGeom>
                        <a:noFill/>
                        <a:ln w="6350" cap="flat">
                          <a:solidFill>
                            <a:schemeClr val="bg1">
                              <a:alpha val="40000"/>
                            </a:schemeClr>
                          </a:solidFill>
                          <a:prstDash val="solid"/>
                          <a:miter/>
                        </a:ln>
                      </p:spPr>
                      <p:txBody>
                        <a:bodyPr rtlCol="0" anchor="ctr"/>
                        <a:lstStyle/>
                        <a:p>
                          <a:endParaRPr lang="en-GB"/>
                        </a:p>
                      </p:txBody>
                    </p:sp>
                    <p:sp>
                      <p:nvSpPr>
                        <p:cNvPr id="5873" name="Vrije vorm: vorm 5872">
                          <a:extLst>
                            <a:ext uri="{FF2B5EF4-FFF2-40B4-BE49-F238E27FC236}">
                              <a16:creationId xmlns:a16="http://schemas.microsoft.com/office/drawing/2014/main" id="{C3D2C431-C796-4335-B510-BAE6AAC5706F}"/>
                            </a:ext>
                          </a:extLst>
                        </p:cNvPr>
                        <p:cNvSpPr/>
                        <p:nvPr/>
                      </p:nvSpPr>
                      <p:spPr>
                        <a:xfrm>
                          <a:off x="7777590" y="3066775"/>
                          <a:ext cx="30441" cy="9509"/>
                        </a:xfrm>
                        <a:custGeom>
                          <a:avLst/>
                          <a:gdLst>
                            <a:gd name="connsiteX0" fmla="*/ 0 w 30441"/>
                            <a:gd name="connsiteY0" fmla="*/ 8014 h 9509"/>
                            <a:gd name="connsiteX1" fmla="*/ 0 w 30441"/>
                            <a:gd name="connsiteY1" fmla="*/ 7655 h 9509"/>
                            <a:gd name="connsiteX2" fmla="*/ 12919 w 30441"/>
                            <a:gd name="connsiteY2" fmla="*/ 5263 h 9509"/>
                            <a:gd name="connsiteX3" fmla="*/ 17404 w 30441"/>
                            <a:gd name="connsiteY3" fmla="*/ 2691 h 9509"/>
                            <a:gd name="connsiteX4" fmla="*/ 17464 w 30441"/>
                            <a:gd name="connsiteY4" fmla="*/ 2691 h 9509"/>
                            <a:gd name="connsiteX5" fmla="*/ 30323 w 30441"/>
                            <a:gd name="connsiteY5" fmla="*/ 0 h 9509"/>
                            <a:gd name="connsiteX6" fmla="*/ 30442 w 30441"/>
                            <a:gd name="connsiteY6" fmla="*/ 299 h 9509"/>
                            <a:gd name="connsiteX7" fmla="*/ 27451 w 30441"/>
                            <a:gd name="connsiteY7" fmla="*/ 2632 h 9509"/>
                            <a:gd name="connsiteX8" fmla="*/ 27571 w 30441"/>
                            <a:gd name="connsiteY8" fmla="*/ 2632 h 9509"/>
                            <a:gd name="connsiteX9" fmla="*/ 27691 w 30441"/>
                            <a:gd name="connsiteY9" fmla="*/ 2930 h 9509"/>
                            <a:gd name="connsiteX10" fmla="*/ 18780 w 30441"/>
                            <a:gd name="connsiteY10" fmla="*/ 9449 h 9509"/>
                            <a:gd name="connsiteX11" fmla="*/ 18660 w 30441"/>
                            <a:gd name="connsiteY11" fmla="*/ 9509 h 9509"/>
                            <a:gd name="connsiteX12" fmla="*/ 7416 w 30441"/>
                            <a:gd name="connsiteY12" fmla="*/ 8911 h 9509"/>
                            <a:gd name="connsiteX13" fmla="*/ 7356 w 30441"/>
                            <a:gd name="connsiteY13" fmla="*/ 8612 h 9509"/>
                            <a:gd name="connsiteX14" fmla="*/ 0 w 30441"/>
                            <a:gd name="connsiteY14" fmla="*/ 8014 h 9509"/>
                            <a:gd name="connsiteX15" fmla="*/ 12021 w 30441"/>
                            <a:gd name="connsiteY15" fmla="*/ 5801 h 9509"/>
                            <a:gd name="connsiteX16" fmla="*/ 1375 w 30441"/>
                            <a:gd name="connsiteY16" fmla="*/ 7775 h 9509"/>
                            <a:gd name="connsiteX17" fmla="*/ 7835 w 30441"/>
                            <a:gd name="connsiteY17" fmla="*/ 8253 h 9509"/>
                            <a:gd name="connsiteX18" fmla="*/ 12021 w 30441"/>
                            <a:gd name="connsiteY18" fmla="*/ 5801 h 9509"/>
                            <a:gd name="connsiteX19" fmla="*/ 13038 w 30441"/>
                            <a:gd name="connsiteY19" fmla="*/ 5562 h 9509"/>
                            <a:gd name="connsiteX20" fmla="*/ 8433 w 30441"/>
                            <a:gd name="connsiteY20" fmla="*/ 8253 h 9509"/>
                            <a:gd name="connsiteX21" fmla="*/ 18660 w 30441"/>
                            <a:gd name="connsiteY21" fmla="*/ 9031 h 9509"/>
                            <a:gd name="connsiteX22" fmla="*/ 26136 w 30441"/>
                            <a:gd name="connsiteY22" fmla="*/ 3170 h 9509"/>
                            <a:gd name="connsiteX23" fmla="*/ 13038 w 30441"/>
                            <a:gd name="connsiteY23" fmla="*/ 5562 h 9509"/>
                            <a:gd name="connsiteX24" fmla="*/ 17524 w 30441"/>
                            <a:gd name="connsiteY24" fmla="*/ 2990 h 9509"/>
                            <a:gd name="connsiteX25" fmla="*/ 13935 w 30441"/>
                            <a:gd name="connsiteY25" fmla="*/ 5084 h 9509"/>
                            <a:gd name="connsiteX26" fmla="*/ 26734 w 30441"/>
                            <a:gd name="connsiteY26" fmla="*/ 2751 h 9509"/>
                            <a:gd name="connsiteX27" fmla="*/ 29664 w 30441"/>
                            <a:gd name="connsiteY27" fmla="*/ 478 h 9509"/>
                            <a:gd name="connsiteX28" fmla="*/ 17524 w 30441"/>
                            <a:gd name="connsiteY28" fmla="*/ 2990 h 9509"/>
                            <a:gd name="connsiteX29" fmla="*/ 26853 w 30441"/>
                            <a:gd name="connsiteY29" fmla="*/ 3050 h 9509"/>
                            <a:gd name="connsiteX30" fmla="*/ 26674 w 30441"/>
                            <a:gd name="connsiteY30" fmla="*/ 3230 h 9509"/>
                            <a:gd name="connsiteX31" fmla="*/ 26853 w 30441"/>
                            <a:gd name="connsiteY31" fmla="*/ 3050 h 9509"/>
                            <a:gd name="connsiteX32" fmla="*/ 26853 w 30441"/>
                            <a:gd name="connsiteY32" fmla="*/ 3050 h 9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441" h="9509">
                              <a:moveTo>
                                <a:pt x="0" y="8014"/>
                              </a:moveTo>
                              <a:lnTo>
                                <a:pt x="0" y="7655"/>
                              </a:lnTo>
                              <a:lnTo>
                                <a:pt x="12919" y="5263"/>
                              </a:lnTo>
                              <a:lnTo>
                                <a:pt x="17404" y="2691"/>
                              </a:lnTo>
                              <a:lnTo>
                                <a:pt x="17464" y="2691"/>
                              </a:lnTo>
                              <a:lnTo>
                                <a:pt x="30323" y="0"/>
                              </a:lnTo>
                              <a:lnTo>
                                <a:pt x="30442" y="299"/>
                              </a:lnTo>
                              <a:lnTo>
                                <a:pt x="27451" y="2632"/>
                              </a:lnTo>
                              <a:lnTo>
                                <a:pt x="27571" y="2632"/>
                              </a:lnTo>
                              <a:lnTo>
                                <a:pt x="27691" y="2930"/>
                              </a:lnTo>
                              <a:lnTo>
                                <a:pt x="18780" y="9449"/>
                              </a:lnTo>
                              <a:lnTo>
                                <a:pt x="18660" y="9509"/>
                              </a:lnTo>
                              <a:lnTo>
                                <a:pt x="7416" y="8911"/>
                              </a:lnTo>
                              <a:lnTo>
                                <a:pt x="7356" y="8612"/>
                              </a:lnTo>
                              <a:lnTo>
                                <a:pt x="0" y="8014"/>
                              </a:lnTo>
                              <a:close/>
                              <a:moveTo>
                                <a:pt x="12021" y="5801"/>
                              </a:moveTo>
                              <a:lnTo>
                                <a:pt x="1375" y="7775"/>
                              </a:lnTo>
                              <a:lnTo>
                                <a:pt x="7835" y="8253"/>
                              </a:lnTo>
                              <a:lnTo>
                                <a:pt x="12021" y="5801"/>
                              </a:lnTo>
                              <a:close/>
                              <a:moveTo>
                                <a:pt x="13038" y="5562"/>
                              </a:moveTo>
                              <a:lnTo>
                                <a:pt x="8433" y="8253"/>
                              </a:lnTo>
                              <a:lnTo>
                                <a:pt x="18660" y="9031"/>
                              </a:lnTo>
                              <a:lnTo>
                                <a:pt x="26136" y="3170"/>
                              </a:lnTo>
                              <a:lnTo>
                                <a:pt x="13038" y="5562"/>
                              </a:lnTo>
                              <a:close/>
                              <a:moveTo>
                                <a:pt x="17524" y="2990"/>
                              </a:moveTo>
                              <a:lnTo>
                                <a:pt x="13935" y="5084"/>
                              </a:lnTo>
                              <a:lnTo>
                                <a:pt x="26734" y="2751"/>
                              </a:lnTo>
                              <a:lnTo>
                                <a:pt x="29664" y="478"/>
                              </a:lnTo>
                              <a:lnTo>
                                <a:pt x="17524" y="2990"/>
                              </a:lnTo>
                              <a:close/>
                              <a:moveTo>
                                <a:pt x="26853" y="3050"/>
                              </a:moveTo>
                              <a:lnTo>
                                <a:pt x="26674" y="3230"/>
                              </a:lnTo>
                              <a:lnTo>
                                <a:pt x="26853" y="3050"/>
                              </a:lnTo>
                              <a:lnTo>
                                <a:pt x="26853" y="3050"/>
                              </a:lnTo>
                              <a:close/>
                            </a:path>
                          </a:pathLst>
                        </a:custGeom>
                        <a:noFill/>
                        <a:ln w="6350" cap="flat">
                          <a:solidFill>
                            <a:schemeClr val="bg1">
                              <a:alpha val="40000"/>
                            </a:schemeClr>
                          </a:solidFill>
                          <a:prstDash val="solid"/>
                          <a:miter/>
                        </a:ln>
                      </p:spPr>
                      <p:txBody>
                        <a:bodyPr rtlCol="0" anchor="ctr"/>
                        <a:lstStyle/>
                        <a:p>
                          <a:endParaRPr lang="en-GB"/>
                        </a:p>
                      </p:txBody>
                    </p:sp>
                    <p:sp>
                      <p:nvSpPr>
                        <p:cNvPr id="5874" name="Vrije vorm: vorm 5873">
                          <a:extLst>
                            <a:ext uri="{FF2B5EF4-FFF2-40B4-BE49-F238E27FC236}">
                              <a16:creationId xmlns:a16="http://schemas.microsoft.com/office/drawing/2014/main" id="{881A402F-6F8E-419F-8A62-DC52A8E2B1BC}"/>
                            </a:ext>
                          </a:extLst>
                        </p:cNvPr>
                        <p:cNvSpPr/>
                        <p:nvPr/>
                      </p:nvSpPr>
                      <p:spPr>
                        <a:xfrm>
                          <a:off x="7698465" y="2957447"/>
                          <a:ext cx="30501" cy="14054"/>
                        </a:xfrm>
                        <a:custGeom>
                          <a:avLst/>
                          <a:gdLst>
                            <a:gd name="connsiteX0" fmla="*/ 2452 w 30501"/>
                            <a:gd name="connsiteY0" fmla="*/ 11363 h 14054"/>
                            <a:gd name="connsiteX1" fmla="*/ 0 w 30501"/>
                            <a:gd name="connsiteY1" fmla="*/ 4725 h 14054"/>
                            <a:gd name="connsiteX2" fmla="*/ 120 w 30501"/>
                            <a:gd name="connsiteY2" fmla="*/ 4486 h 14054"/>
                            <a:gd name="connsiteX3" fmla="*/ 5861 w 30501"/>
                            <a:gd name="connsiteY3" fmla="*/ 2871 h 14054"/>
                            <a:gd name="connsiteX4" fmla="*/ 5921 w 30501"/>
                            <a:gd name="connsiteY4" fmla="*/ 2871 h 14054"/>
                            <a:gd name="connsiteX5" fmla="*/ 5921 w 30501"/>
                            <a:gd name="connsiteY5" fmla="*/ 2871 h 14054"/>
                            <a:gd name="connsiteX6" fmla="*/ 11842 w 30501"/>
                            <a:gd name="connsiteY6" fmla="*/ 3648 h 14054"/>
                            <a:gd name="connsiteX7" fmla="*/ 24820 w 30501"/>
                            <a:gd name="connsiteY7" fmla="*/ 0 h 14054"/>
                            <a:gd name="connsiteX8" fmla="*/ 24999 w 30501"/>
                            <a:gd name="connsiteY8" fmla="*/ 299 h 14054"/>
                            <a:gd name="connsiteX9" fmla="*/ 16746 w 30501"/>
                            <a:gd name="connsiteY9" fmla="*/ 11363 h 14054"/>
                            <a:gd name="connsiteX10" fmla="*/ 30382 w 30501"/>
                            <a:gd name="connsiteY10" fmla="*/ 5024 h 14054"/>
                            <a:gd name="connsiteX11" fmla="*/ 30502 w 30501"/>
                            <a:gd name="connsiteY11" fmla="*/ 5323 h 14054"/>
                            <a:gd name="connsiteX12" fmla="*/ 16327 w 30501"/>
                            <a:gd name="connsiteY12" fmla="*/ 11902 h 14054"/>
                            <a:gd name="connsiteX13" fmla="*/ 16267 w 30501"/>
                            <a:gd name="connsiteY13" fmla="*/ 11902 h 14054"/>
                            <a:gd name="connsiteX14" fmla="*/ 9749 w 30501"/>
                            <a:gd name="connsiteY14" fmla="*/ 13875 h 14054"/>
                            <a:gd name="connsiteX15" fmla="*/ 9689 w 30501"/>
                            <a:gd name="connsiteY15" fmla="*/ 13875 h 14054"/>
                            <a:gd name="connsiteX16" fmla="*/ 9689 w 30501"/>
                            <a:gd name="connsiteY16" fmla="*/ 13875 h 14054"/>
                            <a:gd name="connsiteX17" fmla="*/ 4186 w 30501"/>
                            <a:gd name="connsiteY17" fmla="*/ 14055 h 14054"/>
                            <a:gd name="connsiteX18" fmla="*/ 4007 w 30501"/>
                            <a:gd name="connsiteY18" fmla="*/ 13815 h 14054"/>
                            <a:gd name="connsiteX19" fmla="*/ 4844 w 30501"/>
                            <a:gd name="connsiteY19" fmla="*/ 12201 h 14054"/>
                            <a:gd name="connsiteX20" fmla="*/ 2571 w 30501"/>
                            <a:gd name="connsiteY20" fmla="*/ 11423 h 14054"/>
                            <a:gd name="connsiteX21" fmla="*/ 2452 w 30501"/>
                            <a:gd name="connsiteY21" fmla="*/ 11363 h 14054"/>
                            <a:gd name="connsiteX22" fmla="*/ 538 w 30501"/>
                            <a:gd name="connsiteY22" fmla="*/ 5024 h 14054"/>
                            <a:gd name="connsiteX23" fmla="*/ 2811 w 30501"/>
                            <a:gd name="connsiteY23" fmla="*/ 11184 h 14054"/>
                            <a:gd name="connsiteX24" fmla="*/ 5083 w 30501"/>
                            <a:gd name="connsiteY24" fmla="*/ 11961 h 14054"/>
                            <a:gd name="connsiteX25" fmla="*/ 6878 w 30501"/>
                            <a:gd name="connsiteY25" fmla="*/ 8433 h 14054"/>
                            <a:gd name="connsiteX26" fmla="*/ 538 w 30501"/>
                            <a:gd name="connsiteY26" fmla="*/ 5024 h 14054"/>
                            <a:gd name="connsiteX27" fmla="*/ 5801 w 30501"/>
                            <a:gd name="connsiteY27" fmla="*/ 3289 h 14054"/>
                            <a:gd name="connsiteX28" fmla="*/ 658 w 30501"/>
                            <a:gd name="connsiteY28" fmla="*/ 4785 h 14054"/>
                            <a:gd name="connsiteX29" fmla="*/ 6818 w 30501"/>
                            <a:gd name="connsiteY29" fmla="*/ 8134 h 14054"/>
                            <a:gd name="connsiteX30" fmla="*/ 5801 w 30501"/>
                            <a:gd name="connsiteY30" fmla="*/ 3289 h 14054"/>
                            <a:gd name="connsiteX31" fmla="*/ 5203 w 30501"/>
                            <a:gd name="connsiteY31" fmla="*/ 12380 h 14054"/>
                            <a:gd name="connsiteX32" fmla="*/ 4486 w 30501"/>
                            <a:gd name="connsiteY32" fmla="*/ 13756 h 14054"/>
                            <a:gd name="connsiteX33" fmla="*/ 8791 w 30501"/>
                            <a:gd name="connsiteY33" fmla="*/ 13636 h 14054"/>
                            <a:gd name="connsiteX34" fmla="*/ 5203 w 30501"/>
                            <a:gd name="connsiteY34" fmla="*/ 12380 h 14054"/>
                            <a:gd name="connsiteX35" fmla="*/ 7057 w 30501"/>
                            <a:gd name="connsiteY35" fmla="*/ 8792 h 14054"/>
                            <a:gd name="connsiteX36" fmla="*/ 5383 w 30501"/>
                            <a:gd name="connsiteY36" fmla="*/ 12141 h 14054"/>
                            <a:gd name="connsiteX37" fmla="*/ 9389 w 30501"/>
                            <a:gd name="connsiteY37" fmla="*/ 13576 h 14054"/>
                            <a:gd name="connsiteX38" fmla="*/ 7057 w 30501"/>
                            <a:gd name="connsiteY38" fmla="*/ 8792 h 14054"/>
                            <a:gd name="connsiteX39" fmla="*/ 15610 w 30501"/>
                            <a:gd name="connsiteY39" fmla="*/ 11842 h 14054"/>
                            <a:gd name="connsiteX40" fmla="*/ 7416 w 30501"/>
                            <a:gd name="connsiteY40" fmla="*/ 8732 h 14054"/>
                            <a:gd name="connsiteX41" fmla="*/ 9808 w 30501"/>
                            <a:gd name="connsiteY41" fmla="*/ 13636 h 14054"/>
                            <a:gd name="connsiteX42" fmla="*/ 15610 w 30501"/>
                            <a:gd name="connsiteY42" fmla="*/ 11842 h 14054"/>
                            <a:gd name="connsiteX43" fmla="*/ 6220 w 30501"/>
                            <a:gd name="connsiteY43" fmla="*/ 3529 h 14054"/>
                            <a:gd name="connsiteX44" fmla="*/ 7177 w 30501"/>
                            <a:gd name="connsiteY44" fmla="*/ 8074 h 14054"/>
                            <a:gd name="connsiteX45" fmla="*/ 9270 w 30501"/>
                            <a:gd name="connsiteY45" fmla="*/ 6100 h 14054"/>
                            <a:gd name="connsiteX46" fmla="*/ 6220 w 30501"/>
                            <a:gd name="connsiteY46" fmla="*/ 3529 h 14054"/>
                            <a:gd name="connsiteX47" fmla="*/ 9509 w 30501"/>
                            <a:gd name="connsiteY47" fmla="*/ 6340 h 14054"/>
                            <a:gd name="connsiteX48" fmla="*/ 7356 w 30501"/>
                            <a:gd name="connsiteY48" fmla="*/ 8373 h 14054"/>
                            <a:gd name="connsiteX49" fmla="*/ 15550 w 30501"/>
                            <a:gd name="connsiteY49" fmla="*/ 11483 h 14054"/>
                            <a:gd name="connsiteX50" fmla="*/ 9509 w 30501"/>
                            <a:gd name="connsiteY50" fmla="*/ 6340 h 14054"/>
                            <a:gd name="connsiteX51" fmla="*/ 11483 w 30501"/>
                            <a:gd name="connsiteY51" fmla="*/ 4007 h 14054"/>
                            <a:gd name="connsiteX52" fmla="*/ 6459 w 30501"/>
                            <a:gd name="connsiteY52" fmla="*/ 3349 h 14054"/>
                            <a:gd name="connsiteX53" fmla="*/ 9449 w 30501"/>
                            <a:gd name="connsiteY53" fmla="*/ 5921 h 14054"/>
                            <a:gd name="connsiteX54" fmla="*/ 11483 w 30501"/>
                            <a:gd name="connsiteY54" fmla="*/ 4007 h 14054"/>
                            <a:gd name="connsiteX55" fmla="*/ 11842 w 30501"/>
                            <a:gd name="connsiteY55" fmla="*/ 4127 h 14054"/>
                            <a:gd name="connsiteX56" fmla="*/ 9749 w 30501"/>
                            <a:gd name="connsiteY56" fmla="*/ 6100 h 14054"/>
                            <a:gd name="connsiteX57" fmla="*/ 15669 w 30501"/>
                            <a:gd name="connsiteY57" fmla="*/ 11124 h 14054"/>
                            <a:gd name="connsiteX58" fmla="*/ 11842 w 30501"/>
                            <a:gd name="connsiteY58" fmla="*/ 4127 h 14054"/>
                            <a:gd name="connsiteX59" fmla="*/ 24461 w 30501"/>
                            <a:gd name="connsiteY59" fmla="*/ 478 h 14054"/>
                            <a:gd name="connsiteX60" fmla="*/ 12141 w 30501"/>
                            <a:gd name="connsiteY60" fmla="*/ 3947 h 14054"/>
                            <a:gd name="connsiteX61" fmla="*/ 16267 w 30501"/>
                            <a:gd name="connsiteY61" fmla="*/ 11483 h 14054"/>
                            <a:gd name="connsiteX62" fmla="*/ 24461 w 30501"/>
                            <a:gd name="connsiteY62" fmla="*/ 478 h 1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0501" h="14054">
                              <a:moveTo>
                                <a:pt x="2452" y="11363"/>
                              </a:moveTo>
                              <a:lnTo>
                                <a:pt x="0" y="4725"/>
                              </a:lnTo>
                              <a:lnTo>
                                <a:pt x="120" y="4486"/>
                              </a:lnTo>
                              <a:lnTo>
                                <a:pt x="5861" y="2871"/>
                              </a:lnTo>
                              <a:lnTo>
                                <a:pt x="5921" y="2871"/>
                              </a:lnTo>
                              <a:lnTo>
                                <a:pt x="5921" y="2871"/>
                              </a:lnTo>
                              <a:lnTo>
                                <a:pt x="11842" y="3648"/>
                              </a:lnTo>
                              <a:lnTo>
                                <a:pt x="24820" y="0"/>
                              </a:lnTo>
                              <a:lnTo>
                                <a:pt x="24999" y="299"/>
                              </a:lnTo>
                              <a:lnTo>
                                <a:pt x="16746" y="11363"/>
                              </a:lnTo>
                              <a:lnTo>
                                <a:pt x="30382" y="5024"/>
                              </a:lnTo>
                              <a:lnTo>
                                <a:pt x="30502" y="5323"/>
                              </a:lnTo>
                              <a:lnTo>
                                <a:pt x="16327" y="11902"/>
                              </a:lnTo>
                              <a:cubicBezTo>
                                <a:pt x="16327" y="11902"/>
                                <a:pt x="16267" y="11902"/>
                                <a:pt x="16267" y="11902"/>
                              </a:cubicBezTo>
                              <a:lnTo>
                                <a:pt x="9749" y="13875"/>
                              </a:lnTo>
                              <a:lnTo>
                                <a:pt x="9689" y="13875"/>
                              </a:lnTo>
                              <a:lnTo>
                                <a:pt x="9689" y="13875"/>
                              </a:lnTo>
                              <a:lnTo>
                                <a:pt x="4186" y="14055"/>
                              </a:lnTo>
                              <a:lnTo>
                                <a:pt x="4007" y="13815"/>
                              </a:lnTo>
                              <a:lnTo>
                                <a:pt x="4844" y="12201"/>
                              </a:lnTo>
                              <a:lnTo>
                                <a:pt x="2571" y="11423"/>
                              </a:lnTo>
                              <a:lnTo>
                                <a:pt x="2452" y="11363"/>
                              </a:lnTo>
                              <a:close/>
                              <a:moveTo>
                                <a:pt x="538" y="5024"/>
                              </a:moveTo>
                              <a:lnTo>
                                <a:pt x="2811" y="11184"/>
                              </a:lnTo>
                              <a:lnTo>
                                <a:pt x="5083" y="11961"/>
                              </a:lnTo>
                              <a:lnTo>
                                <a:pt x="6878" y="8433"/>
                              </a:lnTo>
                              <a:lnTo>
                                <a:pt x="538" y="5024"/>
                              </a:lnTo>
                              <a:close/>
                              <a:moveTo>
                                <a:pt x="5801" y="3289"/>
                              </a:moveTo>
                              <a:lnTo>
                                <a:pt x="658" y="4785"/>
                              </a:lnTo>
                              <a:lnTo>
                                <a:pt x="6818" y="8134"/>
                              </a:lnTo>
                              <a:lnTo>
                                <a:pt x="5801" y="3289"/>
                              </a:lnTo>
                              <a:close/>
                              <a:moveTo>
                                <a:pt x="5203" y="12380"/>
                              </a:moveTo>
                              <a:lnTo>
                                <a:pt x="4486" y="13756"/>
                              </a:lnTo>
                              <a:lnTo>
                                <a:pt x="8791" y="13636"/>
                              </a:lnTo>
                              <a:lnTo>
                                <a:pt x="5203" y="12380"/>
                              </a:lnTo>
                              <a:close/>
                              <a:moveTo>
                                <a:pt x="7057" y="8792"/>
                              </a:moveTo>
                              <a:lnTo>
                                <a:pt x="5383" y="12141"/>
                              </a:lnTo>
                              <a:lnTo>
                                <a:pt x="9389" y="13576"/>
                              </a:lnTo>
                              <a:lnTo>
                                <a:pt x="7057" y="8792"/>
                              </a:lnTo>
                              <a:close/>
                              <a:moveTo>
                                <a:pt x="15610" y="11842"/>
                              </a:moveTo>
                              <a:cubicBezTo>
                                <a:pt x="14652" y="11543"/>
                                <a:pt x="12500" y="10765"/>
                                <a:pt x="7416" y="8732"/>
                              </a:cubicBezTo>
                              <a:lnTo>
                                <a:pt x="9808" y="13636"/>
                              </a:lnTo>
                              <a:lnTo>
                                <a:pt x="15610" y="11842"/>
                              </a:lnTo>
                              <a:close/>
                              <a:moveTo>
                                <a:pt x="6220" y="3529"/>
                              </a:moveTo>
                              <a:lnTo>
                                <a:pt x="7177" y="8074"/>
                              </a:lnTo>
                              <a:lnTo>
                                <a:pt x="9270" y="6100"/>
                              </a:lnTo>
                              <a:lnTo>
                                <a:pt x="6220" y="3529"/>
                              </a:lnTo>
                              <a:close/>
                              <a:moveTo>
                                <a:pt x="9509" y="6340"/>
                              </a:moveTo>
                              <a:lnTo>
                                <a:pt x="7356" y="8373"/>
                              </a:lnTo>
                              <a:cubicBezTo>
                                <a:pt x="10167" y="9509"/>
                                <a:pt x="14055" y="11005"/>
                                <a:pt x="15550" y="11483"/>
                              </a:cubicBezTo>
                              <a:lnTo>
                                <a:pt x="9509" y="6340"/>
                              </a:lnTo>
                              <a:close/>
                              <a:moveTo>
                                <a:pt x="11483" y="4007"/>
                              </a:moveTo>
                              <a:lnTo>
                                <a:pt x="6459" y="3349"/>
                              </a:lnTo>
                              <a:lnTo>
                                <a:pt x="9449" y="5921"/>
                              </a:lnTo>
                              <a:lnTo>
                                <a:pt x="11483" y="4007"/>
                              </a:lnTo>
                              <a:close/>
                              <a:moveTo>
                                <a:pt x="11842" y="4127"/>
                              </a:moveTo>
                              <a:lnTo>
                                <a:pt x="9749" y="6100"/>
                              </a:lnTo>
                              <a:lnTo>
                                <a:pt x="15669" y="11124"/>
                              </a:lnTo>
                              <a:cubicBezTo>
                                <a:pt x="14892" y="9689"/>
                                <a:pt x="13157" y="6519"/>
                                <a:pt x="11842" y="4127"/>
                              </a:cubicBezTo>
                              <a:close/>
                              <a:moveTo>
                                <a:pt x="24461" y="478"/>
                              </a:moveTo>
                              <a:lnTo>
                                <a:pt x="12141" y="3947"/>
                              </a:lnTo>
                              <a:cubicBezTo>
                                <a:pt x="12799" y="5143"/>
                                <a:pt x="15610" y="10227"/>
                                <a:pt x="16267" y="11483"/>
                              </a:cubicBezTo>
                              <a:lnTo>
                                <a:pt x="24461" y="478"/>
                              </a:lnTo>
                              <a:close/>
                            </a:path>
                          </a:pathLst>
                        </a:custGeom>
                        <a:noFill/>
                        <a:ln w="6350" cap="flat">
                          <a:solidFill>
                            <a:schemeClr val="bg1">
                              <a:alpha val="40000"/>
                            </a:schemeClr>
                          </a:solidFill>
                          <a:prstDash val="solid"/>
                          <a:miter/>
                        </a:ln>
                      </p:spPr>
                      <p:txBody>
                        <a:bodyPr rtlCol="0" anchor="ctr"/>
                        <a:lstStyle/>
                        <a:p>
                          <a:endParaRPr lang="en-GB"/>
                        </a:p>
                      </p:txBody>
                    </p:sp>
                    <p:sp>
                      <p:nvSpPr>
                        <p:cNvPr id="5875" name="Vrije vorm: vorm 5874">
                          <a:extLst>
                            <a:ext uri="{FF2B5EF4-FFF2-40B4-BE49-F238E27FC236}">
                              <a16:creationId xmlns:a16="http://schemas.microsoft.com/office/drawing/2014/main" id="{3AC48685-5EFF-43A0-B6B9-D4C3A5F4C707}"/>
                            </a:ext>
                          </a:extLst>
                        </p:cNvPr>
                        <p:cNvSpPr/>
                        <p:nvPr/>
                      </p:nvSpPr>
                      <p:spPr>
                        <a:xfrm>
                          <a:off x="7722507" y="2939983"/>
                          <a:ext cx="23205" cy="11662"/>
                        </a:xfrm>
                        <a:custGeom>
                          <a:avLst/>
                          <a:gdLst>
                            <a:gd name="connsiteX0" fmla="*/ 0 w 23205"/>
                            <a:gd name="connsiteY0" fmla="*/ 11423 h 11662"/>
                            <a:gd name="connsiteX1" fmla="*/ 3528 w 23205"/>
                            <a:gd name="connsiteY1" fmla="*/ 7536 h 11662"/>
                            <a:gd name="connsiteX2" fmla="*/ 23086 w 23205"/>
                            <a:gd name="connsiteY2" fmla="*/ 0 h 11662"/>
                            <a:gd name="connsiteX3" fmla="*/ 23205 w 23205"/>
                            <a:gd name="connsiteY3" fmla="*/ 299 h 11662"/>
                            <a:gd name="connsiteX4" fmla="*/ 180 w 23205"/>
                            <a:gd name="connsiteY4" fmla="*/ 11662 h 11662"/>
                            <a:gd name="connsiteX5" fmla="*/ 0 w 23205"/>
                            <a:gd name="connsiteY5" fmla="*/ 11423 h 11662"/>
                            <a:gd name="connsiteX6" fmla="*/ 3708 w 23205"/>
                            <a:gd name="connsiteY6" fmla="*/ 7835 h 11662"/>
                            <a:gd name="connsiteX7" fmla="*/ 897 w 23205"/>
                            <a:gd name="connsiteY7" fmla="*/ 10945 h 11662"/>
                            <a:gd name="connsiteX8" fmla="*/ 19617 w 23205"/>
                            <a:gd name="connsiteY8" fmla="*/ 1675 h 11662"/>
                            <a:gd name="connsiteX9" fmla="*/ 3708 w 23205"/>
                            <a:gd name="connsiteY9" fmla="*/ 7835 h 1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05" h="11662">
                              <a:moveTo>
                                <a:pt x="0" y="11423"/>
                              </a:moveTo>
                              <a:lnTo>
                                <a:pt x="3528" y="7536"/>
                              </a:lnTo>
                              <a:lnTo>
                                <a:pt x="23086" y="0"/>
                              </a:lnTo>
                              <a:lnTo>
                                <a:pt x="23205" y="299"/>
                              </a:lnTo>
                              <a:lnTo>
                                <a:pt x="180" y="11662"/>
                              </a:lnTo>
                              <a:lnTo>
                                <a:pt x="0" y="11423"/>
                              </a:lnTo>
                              <a:close/>
                              <a:moveTo>
                                <a:pt x="3708" y="7835"/>
                              </a:moveTo>
                              <a:lnTo>
                                <a:pt x="897" y="10945"/>
                              </a:lnTo>
                              <a:lnTo>
                                <a:pt x="19617" y="1675"/>
                              </a:lnTo>
                              <a:lnTo>
                                <a:pt x="3708" y="7835"/>
                              </a:lnTo>
                              <a:close/>
                            </a:path>
                          </a:pathLst>
                        </a:custGeom>
                        <a:noFill/>
                        <a:ln w="6350" cap="flat">
                          <a:solidFill>
                            <a:schemeClr val="bg1">
                              <a:alpha val="40000"/>
                            </a:schemeClr>
                          </a:solidFill>
                          <a:prstDash val="solid"/>
                          <a:miter/>
                        </a:ln>
                      </p:spPr>
                      <p:txBody>
                        <a:bodyPr rtlCol="0" anchor="ctr"/>
                        <a:lstStyle/>
                        <a:p>
                          <a:endParaRPr lang="en-GB"/>
                        </a:p>
                      </p:txBody>
                    </p:sp>
                    <p:sp>
                      <p:nvSpPr>
                        <p:cNvPr id="5876" name="Vrije vorm: vorm 5875">
                          <a:extLst>
                            <a:ext uri="{FF2B5EF4-FFF2-40B4-BE49-F238E27FC236}">
                              <a16:creationId xmlns:a16="http://schemas.microsoft.com/office/drawing/2014/main" id="{CE9C6070-0EC0-4991-9409-9DA8E3135867}"/>
                            </a:ext>
                          </a:extLst>
                        </p:cNvPr>
                        <p:cNvSpPr/>
                        <p:nvPr/>
                      </p:nvSpPr>
                      <p:spPr>
                        <a:xfrm>
                          <a:off x="7704745" y="2952722"/>
                          <a:ext cx="16327" cy="6818"/>
                        </a:xfrm>
                        <a:custGeom>
                          <a:avLst/>
                          <a:gdLst>
                            <a:gd name="connsiteX0" fmla="*/ 0 w 16327"/>
                            <a:gd name="connsiteY0" fmla="*/ 6519 h 6818"/>
                            <a:gd name="connsiteX1" fmla="*/ 4545 w 16327"/>
                            <a:gd name="connsiteY1" fmla="*/ 419 h 6818"/>
                            <a:gd name="connsiteX2" fmla="*/ 4664 w 16327"/>
                            <a:gd name="connsiteY2" fmla="*/ 359 h 6818"/>
                            <a:gd name="connsiteX3" fmla="*/ 16267 w 16327"/>
                            <a:gd name="connsiteY3" fmla="*/ 0 h 6818"/>
                            <a:gd name="connsiteX4" fmla="*/ 16327 w 16327"/>
                            <a:gd name="connsiteY4" fmla="*/ 359 h 6818"/>
                            <a:gd name="connsiteX5" fmla="*/ 179 w 16327"/>
                            <a:gd name="connsiteY5" fmla="*/ 6818 h 6818"/>
                            <a:gd name="connsiteX6" fmla="*/ 0 w 16327"/>
                            <a:gd name="connsiteY6" fmla="*/ 6519 h 6818"/>
                            <a:gd name="connsiteX7" fmla="*/ 4784 w 16327"/>
                            <a:gd name="connsiteY7" fmla="*/ 718 h 6818"/>
                            <a:gd name="connsiteX8" fmla="*/ 658 w 16327"/>
                            <a:gd name="connsiteY8" fmla="*/ 6220 h 6818"/>
                            <a:gd name="connsiteX9" fmla="*/ 15310 w 16327"/>
                            <a:gd name="connsiteY9" fmla="*/ 359 h 6818"/>
                            <a:gd name="connsiteX10" fmla="*/ 4784 w 16327"/>
                            <a:gd name="connsiteY10" fmla="*/ 718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6818">
                              <a:moveTo>
                                <a:pt x="0" y="6519"/>
                              </a:moveTo>
                              <a:lnTo>
                                <a:pt x="4545" y="419"/>
                              </a:lnTo>
                              <a:lnTo>
                                <a:pt x="4664" y="359"/>
                              </a:lnTo>
                              <a:lnTo>
                                <a:pt x="16267" y="0"/>
                              </a:lnTo>
                              <a:lnTo>
                                <a:pt x="16327" y="359"/>
                              </a:lnTo>
                              <a:lnTo>
                                <a:pt x="179" y="6818"/>
                              </a:lnTo>
                              <a:lnTo>
                                <a:pt x="0" y="6519"/>
                              </a:lnTo>
                              <a:close/>
                              <a:moveTo>
                                <a:pt x="4784" y="718"/>
                              </a:moveTo>
                              <a:lnTo>
                                <a:pt x="658" y="6220"/>
                              </a:lnTo>
                              <a:lnTo>
                                <a:pt x="15310" y="359"/>
                              </a:lnTo>
                              <a:lnTo>
                                <a:pt x="4784" y="718"/>
                              </a:lnTo>
                              <a:close/>
                            </a:path>
                          </a:pathLst>
                        </a:custGeom>
                        <a:noFill/>
                        <a:ln w="6350" cap="flat">
                          <a:solidFill>
                            <a:schemeClr val="bg1">
                              <a:alpha val="40000"/>
                            </a:schemeClr>
                          </a:solidFill>
                          <a:prstDash val="solid"/>
                          <a:miter/>
                        </a:ln>
                      </p:spPr>
                      <p:txBody>
                        <a:bodyPr rtlCol="0" anchor="ctr"/>
                        <a:lstStyle/>
                        <a:p>
                          <a:endParaRPr lang="en-GB"/>
                        </a:p>
                      </p:txBody>
                    </p:sp>
                    <p:sp>
                      <p:nvSpPr>
                        <p:cNvPr id="5877" name="Vrije vorm: vorm 5876">
                          <a:extLst>
                            <a:ext uri="{FF2B5EF4-FFF2-40B4-BE49-F238E27FC236}">
                              <a16:creationId xmlns:a16="http://schemas.microsoft.com/office/drawing/2014/main" id="{8C10AB3E-2008-4968-9B1B-86E327D2284A}"/>
                            </a:ext>
                          </a:extLst>
                        </p:cNvPr>
                        <p:cNvSpPr/>
                        <p:nvPr/>
                      </p:nvSpPr>
                      <p:spPr>
                        <a:xfrm>
                          <a:off x="7695774" y="2952842"/>
                          <a:ext cx="6219" cy="5023"/>
                        </a:xfrm>
                        <a:custGeom>
                          <a:avLst/>
                          <a:gdLst>
                            <a:gd name="connsiteX0" fmla="*/ 897 w 6219"/>
                            <a:gd name="connsiteY0" fmla="*/ 4964 h 5023"/>
                            <a:gd name="connsiteX1" fmla="*/ 0 w 6219"/>
                            <a:gd name="connsiteY1" fmla="*/ 2452 h 5023"/>
                            <a:gd name="connsiteX2" fmla="*/ 119 w 6219"/>
                            <a:gd name="connsiteY2" fmla="*/ 2213 h 5023"/>
                            <a:gd name="connsiteX3" fmla="*/ 6040 w 6219"/>
                            <a:gd name="connsiteY3" fmla="*/ 0 h 5023"/>
                            <a:gd name="connsiteX4" fmla="*/ 6219 w 6219"/>
                            <a:gd name="connsiteY4" fmla="*/ 299 h 5023"/>
                            <a:gd name="connsiteX5" fmla="*/ 1196 w 6219"/>
                            <a:gd name="connsiteY5" fmla="*/ 5024 h 5023"/>
                            <a:gd name="connsiteX6" fmla="*/ 897 w 6219"/>
                            <a:gd name="connsiteY6" fmla="*/ 4964 h 5023"/>
                            <a:gd name="connsiteX7" fmla="*/ 358 w 6219"/>
                            <a:gd name="connsiteY7" fmla="*/ 2512 h 5023"/>
                            <a:gd name="connsiteX8" fmla="*/ 1076 w 6219"/>
                            <a:gd name="connsiteY8" fmla="*/ 4605 h 5023"/>
                            <a:gd name="connsiteX9" fmla="*/ 5262 w 6219"/>
                            <a:gd name="connsiteY9" fmla="*/ 598 h 5023"/>
                            <a:gd name="connsiteX10" fmla="*/ 358 w 6219"/>
                            <a:gd name="connsiteY10" fmla="*/ 2512 h 5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9" h="5023">
                              <a:moveTo>
                                <a:pt x="897" y="4964"/>
                              </a:moveTo>
                              <a:lnTo>
                                <a:pt x="0" y="2452"/>
                              </a:lnTo>
                              <a:lnTo>
                                <a:pt x="119" y="2213"/>
                              </a:lnTo>
                              <a:lnTo>
                                <a:pt x="6040" y="0"/>
                              </a:lnTo>
                              <a:lnTo>
                                <a:pt x="6219" y="299"/>
                              </a:lnTo>
                              <a:lnTo>
                                <a:pt x="1196" y="5024"/>
                              </a:lnTo>
                              <a:lnTo>
                                <a:pt x="897" y="4964"/>
                              </a:lnTo>
                              <a:close/>
                              <a:moveTo>
                                <a:pt x="358" y="2512"/>
                              </a:moveTo>
                              <a:lnTo>
                                <a:pt x="1076" y="4605"/>
                              </a:lnTo>
                              <a:lnTo>
                                <a:pt x="5262" y="598"/>
                              </a:lnTo>
                              <a:lnTo>
                                <a:pt x="358" y="2512"/>
                              </a:lnTo>
                              <a:close/>
                            </a:path>
                          </a:pathLst>
                        </a:custGeom>
                        <a:noFill/>
                        <a:ln w="6350" cap="flat">
                          <a:solidFill>
                            <a:schemeClr val="bg1">
                              <a:alpha val="40000"/>
                            </a:schemeClr>
                          </a:solidFill>
                          <a:prstDash val="solid"/>
                          <a:miter/>
                        </a:ln>
                      </p:spPr>
                      <p:txBody>
                        <a:bodyPr rtlCol="0" anchor="ctr"/>
                        <a:lstStyle/>
                        <a:p>
                          <a:endParaRPr lang="en-GB"/>
                        </a:p>
                      </p:txBody>
                    </p:sp>
                    <p:sp>
                      <p:nvSpPr>
                        <p:cNvPr id="5878" name="Vrije vorm: vorm 5877">
                          <a:extLst>
                            <a:ext uri="{FF2B5EF4-FFF2-40B4-BE49-F238E27FC236}">
                              <a16:creationId xmlns:a16="http://schemas.microsoft.com/office/drawing/2014/main" id="{AAB79A15-679D-4470-A7C9-E04891796718}"/>
                            </a:ext>
                          </a:extLst>
                        </p:cNvPr>
                        <p:cNvSpPr/>
                        <p:nvPr/>
                      </p:nvSpPr>
                      <p:spPr>
                        <a:xfrm>
                          <a:off x="7695893" y="2952842"/>
                          <a:ext cx="8911" cy="2571"/>
                        </a:xfrm>
                        <a:custGeom>
                          <a:avLst/>
                          <a:gdLst>
                            <a:gd name="connsiteX0" fmla="*/ 60 w 8911"/>
                            <a:gd name="connsiteY0" fmla="*/ 2572 h 2571"/>
                            <a:gd name="connsiteX1" fmla="*/ 0 w 8911"/>
                            <a:gd name="connsiteY1" fmla="*/ 2213 h 2571"/>
                            <a:gd name="connsiteX2" fmla="*/ 5921 w 8911"/>
                            <a:gd name="connsiteY2" fmla="*/ 0 h 2571"/>
                            <a:gd name="connsiteX3" fmla="*/ 6041 w 8911"/>
                            <a:gd name="connsiteY3" fmla="*/ 0 h 2571"/>
                            <a:gd name="connsiteX4" fmla="*/ 8911 w 8911"/>
                            <a:gd name="connsiteY4" fmla="*/ 1316 h 2571"/>
                            <a:gd name="connsiteX5" fmla="*/ 8852 w 8911"/>
                            <a:gd name="connsiteY5" fmla="*/ 1675 h 2571"/>
                            <a:gd name="connsiteX6" fmla="*/ 60 w 8911"/>
                            <a:gd name="connsiteY6" fmla="*/ 2572 h 2571"/>
                            <a:gd name="connsiteX7" fmla="*/ 5921 w 8911"/>
                            <a:gd name="connsiteY7" fmla="*/ 359 h 2571"/>
                            <a:gd name="connsiteX8" fmla="*/ 1376 w 8911"/>
                            <a:gd name="connsiteY8" fmla="*/ 2093 h 2571"/>
                            <a:gd name="connsiteX9" fmla="*/ 8134 w 8911"/>
                            <a:gd name="connsiteY9" fmla="*/ 1376 h 2571"/>
                            <a:gd name="connsiteX10" fmla="*/ 5921 w 8911"/>
                            <a:gd name="connsiteY10" fmla="*/ 359 h 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11" h="2571">
                              <a:moveTo>
                                <a:pt x="60" y="2572"/>
                              </a:moveTo>
                              <a:lnTo>
                                <a:pt x="0" y="2213"/>
                              </a:lnTo>
                              <a:lnTo>
                                <a:pt x="5921" y="0"/>
                              </a:lnTo>
                              <a:lnTo>
                                <a:pt x="6041" y="0"/>
                              </a:lnTo>
                              <a:lnTo>
                                <a:pt x="8911" y="1316"/>
                              </a:lnTo>
                              <a:lnTo>
                                <a:pt x="8852" y="1675"/>
                              </a:lnTo>
                              <a:lnTo>
                                <a:pt x="60" y="2572"/>
                              </a:lnTo>
                              <a:close/>
                              <a:moveTo>
                                <a:pt x="5921" y="359"/>
                              </a:moveTo>
                              <a:lnTo>
                                <a:pt x="1376" y="2093"/>
                              </a:lnTo>
                              <a:lnTo>
                                <a:pt x="8134" y="1376"/>
                              </a:lnTo>
                              <a:lnTo>
                                <a:pt x="5921" y="359"/>
                              </a:lnTo>
                              <a:close/>
                            </a:path>
                          </a:pathLst>
                        </a:custGeom>
                        <a:noFill/>
                        <a:ln w="6350" cap="flat">
                          <a:solidFill>
                            <a:schemeClr val="bg1">
                              <a:alpha val="40000"/>
                            </a:schemeClr>
                          </a:solidFill>
                          <a:prstDash val="solid"/>
                          <a:miter/>
                        </a:ln>
                      </p:spPr>
                      <p:txBody>
                        <a:bodyPr rtlCol="0" anchor="ctr"/>
                        <a:lstStyle/>
                        <a:p>
                          <a:endParaRPr lang="en-GB"/>
                        </a:p>
                      </p:txBody>
                    </p:sp>
                  </p:grpSp>
                  <p:sp>
                    <p:nvSpPr>
                      <p:cNvPr id="5863" name="Vrije vorm: vorm 5862">
                        <a:extLst>
                          <a:ext uri="{FF2B5EF4-FFF2-40B4-BE49-F238E27FC236}">
                            <a16:creationId xmlns:a16="http://schemas.microsoft.com/office/drawing/2014/main" id="{08695ED0-6896-4B94-ADE1-3F1CD05ADB25}"/>
                          </a:ext>
                        </a:extLst>
                      </p:cNvPr>
                      <p:cNvSpPr/>
                      <p:nvPr/>
                    </p:nvSpPr>
                    <p:spPr>
                      <a:xfrm>
                        <a:off x="7768080" y="2855296"/>
                        <a:ext cx="51793" cy="67881"/>
                      </a:xfrm>
                      <a:custGeom>
                        <a:avLst/>
                        <a:gdLst>
                          <a:gd name="connsiteX0" fmla="*/ 4964 w 51793"/>
                          <a:gd name="connsiteY0" fmla="*/ 48444 h 67881"/>
                          <a:gd name="connsiteX1" fmla="*/ 6279 w 51793"/>
                          <a:gd name="connsiteY1" fmla="*/ 42583 h 67881"/>
                          <a:gd name="connsiteX2" fmla="*/ 3409 w 51793"/>
                          <a:gd name="connsiteY2" fmla="*/ 36662 h 67881"/>
                          <a:gd name="connsiteX3" fmla="*/ 3409 w 51793"/>
                          <a:gd name="connsiteY3" fmla="*/ 36662 h 67881"/>
                          <a:gd name="connsiteX4" fmla="*/ 3409 w 51793"/>
                          <a:gd name="connsiteY4" fmla="*/ 36662 h 67881"/>
                          <a:gd name="connsiteX5" fmla="*/ 0 w 51793"/>
                          <a:gd name="connsiteY5" fmla="*/ 29425 h 67881"/>
                          <a:gd name="connsiteX6" fmla="*/ 0 w 51793"/>
                          <a:gd name="connsiteY6" fmla="*/ 29306 h 67881"/>
                          <a:gd name="connsiteX7" fmla="*/ 1734 w 51793"/>
                          <a:gd name="connsiteY7" fmla="*/ 23743 h 67881"/>
                          <a:gd name="connsiteX8" fmla="*/ 1794 w 51793"/>
                          <a:gd name="connsiteY8" fmla="*/ 23743 h 67881"/>
                          <a:gd name="connsiteX9" fmla="*/ 1794 w 51793"/>
                          <a:gd name="connsiteY9" fmla="*/ 23624 h 67881"/>
                          <a:gd name="connsiteX10" fmla="*/ 7775 w 51793"/>
                          <a:gd name="connsiteY10" fmla="*/ 21112 h 67881"/>
                          <a:gd name="connsiteX11" fmla="*/ 7894 w 51793"/>
                          <a:gd name="connsiteY11" fmla="*/ 21112 h 67881"/>
                          <a:gd name="connsiteX12" fmla="*/ 12200 w 51793"/>
                          <a:gd name="connsiteY12" fmla="*/ 22727 h 67881"/>
                          <a:gd name="connsiteX13" fmla="*/ 22607 w 51793"/>
                          <a:gd name="connsiteY13" fmla="*/ 18660 h 67881"/>
                          <a:gd name="connsiteX14" fmla="*/ 24221 w 51793"/>
                          <a:gd name="connsiteY14" fmla="*/ 16806 h 67881"/>
                          <a:gd name="connsiteX15" fmla="*/ 24341 w 51793"/>
                          <a:gd name="connsiteY15" fmla="*/ 16746 h 67881"/>
                          <a:gd name="connsiteX16" fmla="*/ 26734 w 51793"/>
                          <a:gd name="connsiteY16" fmla="*/ 16268 h 67881"/>
                          <a:gd name="connsiteX17" fmla="*/ 28229 w 51793"/>
                          <a:gd name="connsiteY17" fmla="*/ 14055 h 67881"/>
                          <a:gd name="connsiteX18" fmla="*/ 26315 w 51793"/>
                          <a:gd name="connsiteY18" fmla="*/ 10048 h 67881"/>
                          <a:gd name="connsiteX19" fmla="*/ 26375 w 51793"/>
                          <a:gd name="connsiteY19" fmla="*/ 9988 h 67881"/>
                          <a:gd name="connsiteX20" fmla="*/ 26315 w 51793"/>
                          <a:gd name="connsiteY20" fmla="*/ 9928 h 67881"/>
                          <a:gd name="connsiteX21" fmla="*/ 29306 w 51793"/>
                          <a:gd name="connsiteY21" fmla="*/ 120 h 67881"/>
                          <a:gd name="connsiteX22" fmla="*/ 29425 w 51793"/>
                          <a:gd name="connsiteY22" fmla="*/ 120 h 67881"/>
                          <a:gd name="connsiteX23" fmla="*/ 29544 w 51793"/>
                          <a:gd name="connsiteY23" fmla="*/ 0 h 67881"/>
                          <a:gd name="connsiteX24" fmla="*/ 35167 w 51793"/>
                          <a:gd name="connsiteY24" fmla="*/ 4246 h 67881"/>
                          <a:gd name="connsiteX25" fmla="*/ 35167 w 51793"/>
                          <a:gd name="connsiteY25" fmla="*/ 4366 h 67881"/>
                          <a:gd name="connsiteX26" fmla="*/ 35227 w 51793"/>
                          <a:gd name="connsiteY26" fmla="*/ 4366 h 67881"/>
                          <a:gd name="connsiteX27" fmla="*/ 36960 w 51793"/>
                          <a:gd name="connsiteY27" fmla="*/ 13696 h 67881"/>
                          <a:gd name="connsiteX28" fmla="*/ 40190 w 51793"/>
                          <a:gd name="connsiteY28" fmla="*/ 15789 h 67881"/>
                          <a:gd name="connsiteX29" fmla="*/ 44556 w 51793"/>
                          <a:gd name="connsiteY29" fmla="*/ 17823 h 67881"/>
                          <a:gd name="connsiteX30" fmla="*/ 44496 w 51793"/>
                          <a:gd name="connsiteY30" fmla="*/ 17942 h 67881"/>
                          <a:gd name="connsiteX31" fmla="*/ 44616 w 51793"/>
                          <a:gd name="connsiteY31" fmla="*/ 17942 h 67881"/>
                          <a:gd name="connsiteX32" fmla="*/ 48743 w 51793"/>
                          <a:gd name="connsiteY32" fmla="*/ 27332 h 67881"/>
                          <a:gd name="connsiteX33" fmla="*/ 48623 w 51793"/>
                          <a:gd name="connsiteY33" fmla="*/ 27392 h 67881"/>
                          <a:gd name="connsiteX34" fmla="*/ 48743 w 51793"/>
                          <a:gd name="connsiteY34" fmla="*/ 27451 h 67881"/>
                          <a:gd name="connsiteX35" fmla="*/ 46470 w 51793"/>
                          <a:gd name="connsiteY35" fmla="*/ 37858 h 67881"/>
                          <a:gd name="connsiteX36" fmla="*/ 51494 w 51793"/>
                          <a:gd name="connsiteY36" fmla="*/ 44616 h 67881"/>
                          <a:gd name="connsiteX37" fmla="*/ 51494 w 51793"/>
                          <a:gd name="connsiteY37" fmla="*/ 44676 h 67881"/>
                          <a:gd name="connsiteX38" fmla="*/ 51554 w 51793"/>
                          <a:gd name="connsiteY38" fmla="*/ 44736 h 67881"/>
                          <a:gd name="connsiteX39" fmla="*/ 51793 w 51793"/>
                          <a:gd name="connsiteY39" fmla="*/ 54604 h 67881"/>
                          <a:gd name="connsiteX40" fmla="*/ 51674 w 51793"/>
                          <a:gd name="connsiteY40" fmla="*/ 54604 h 67881"/>
                          <a:gd name="connsiteX41" fmla="*/ 51614 w 51793"/>
                          <a:gd name="connsiteY41" fmla="*/ 54724 h 67881"/>
                          <a:gd name="connsiteX42" fmla="*/ 41506 w 51793"/>
                          <a:gd name="connsiteY42" fmla="*/ 50118 h 67881"/>
                          <a:gd name="connsiteX43" fmla="*/ 41446 w 51793"/>
                          <a:gd name="connsiteY43" fmla="*/ 50059 h 67881"/>
                          <a:gd name="connsiteX44" fmla="*/ 38994 w 51793"/>
                          <a:gd name="connsiteY44" fmla="*/ 45095 h 67881"/>
                          <a:gd name="connsiteX45" fmla="*/ 33133 w 51793"/>
                          <a:gd name="connsiteY45" fmla="*/ 47308 h 67881"/>
                          <a:gd name="connsiteX46" fmla="*/ 23564 w 51793"/>
                          <a:gd name="connsiteY46" fmla="*/ 48564 h 67881"/>
                          <a:gd name="connsiteX47" fmla="*/ 21830 w 51793"/>
                          <a:gd name="connsiteY47" fmla="*/ 50537 h 67881"/>
                          <a:gd name="connsiteX48" fmla="*/ 21590 w 51793"/>
                          <a:gd name="connsiteY48" fmla="*/ 50298 h 67881"/>
                          <a:gd name="connsiteX49" fmla="*/ 22666 w 51793"/>
                          <a:gd name="connsiteY49" fmla="*/ 48623 h 67881"/>
                          <a:gd name="connsiteX50" fmla="*/ 18480 w 51793"/>
                          <a:gd name="connsiteY50" fmla="*/ 49162 h 67881"/>
                          <a:gd name="connsiteX51" fmla="*/ 15310 w 51793"/>
                          <a:gd name="connsiteY51" fmla="*/ 51374 h 67881"/>
                          <a:gd name="connsiteX52" fmla="*/ 17822 w 51793"/>
                          <a:gd name="connsiteY52" fmla="*/ 67762 h 67881"/>
                          <a:gd name="connsiteX53" fmla="*/ 17523 w 51793"/>
                          <a:gd name="connsiteY53" fmla="*/ 67881 h 67881"/>
                          <a:gd name="connsiteX54" fmla="*/ 9509 w 51793"/>
                          <a:gd name="connsiteY54" fmla="*/ 49879 h 67881"/>
                          <a:gd name="connsiteX55" fmla="*/ 5083 w 51793"/>
                          <a:gd name="connsiteY55" fmla="*/ 48623 h 67881"/>
                          <a:gd name="connsiteX56" fmla="*/ 5083 w 51793"/>
                          <a:gd name="connsiteY56" fmla="*/ 48564 h 67881"/>
                          <a:gd name="connsiteX57" fmla="*/ 4964 w 51793"/>
                          <a:gd name="connsiteY57" fmla="*/ 48444 h 67881"/>
                          <a:gd name="connsiteX58" fmla="*/ 7596 w 51793"/>
                          <a:gd name="connsiteY58" fmla="*/ 45633 h 67881"/>
                          <a:gd name="connsiteX59" fmla="*/ 5443 w 51793"/>
                          <a:gd name="connsiteY59" fmla="*/ 48324 h 67881"/>
                          <a:gd name="connsiteX60" fmla="*/ 8851 w 51793"/>
                          <a:gd name="connsiteY60" fmla="*/ 48444 h 67881"/>
                          <a:gd name="connsiteX61" fmla="*/ 7596 w 51793"/>
                          <a:gd name="connsiteY61" fmla="*/ 45633 h 67881"/>
                          <a:gd name="connsiteX62" fmla="*/ 6459 w 51793"/>
                          <a:gd name="connsiteY62" fmla="*/ 43061 h 67881"/>
                          <a:gd name="connsiteX63" fmla="*/ 5443 w 51793"/>
                          <a:gd name="connsiteY63" fmla="*/ 47786 h 67881"/>
                          <a:gd name="connsiteX64" fmla="*/ 7476 w 51793"/>
                          <a:gd name="connsiteY64" fmla="*/ 45274 h 67881"/>
                          <a:gd name="connsiteX65" fmla="*/ 6459 w 51793"/>
                          <a:gd name="connsiteY65" fmla="*/ 43061 h 67881"/>
                          <a:gd name="connsiteX66" fmla="*/ 9031 w 51793"/>
                          <a:gd name="connsiteY66" fmla="*/ 48803 h 67881"/>
                          <a:gd name="connsiteX67" fmla="*/ 6579 w 51793"/>
                          <a:gd name="connsiteY67" fmla="*/ 48683 h 67881"/>
                          <a:gd name="connsiteX68" fmla="*/ 9330 w 51793"/>
                          <a:gd name="connsiteY68" fmla="*/ 49461 h 67881"/>
                          <a:gd name="connsiteX69" fmla="*/ 9031 w 51793"/>
                          <a:gd name="connsiteY69" fmla="*/ 48803 h 67881"/>
                          <a:gd name="connsiteX70" fmla="*/ 2631 w 51793"/>
                          <a:gd name="connsiteY70" fmla="*/ 31100 h 67881"/>
                          <a:gd name="connsiteX71" fmla="*/ 478 w 51793"/>
                          <a:gd name="connsiteY71" fmla="*/ 29784 h 67881"/>
                          <a:gd name="connsiteX72" fmla="*/ 3229 w 51793"/>
                          <a:gd name="connsiteY72" fmla="*/ 35526 h 67881"/>
                          <a:gd name="connsiteX73" fmla="*/ 2631 w 51793"/>
                          <a:gd name="connsiteY73" fmla="*/ 31100 h 67881"/>
                          <a:gd name="connsiteX74" fmla="*/ 2213 w 51793"/>
                          <a:gd name="connsiteY74" fmla="*/ 27811 h 67881"/>
                          <a:gd name="connsiteX75" fmla="*/ 418 w 51793"/>
                          <a:gd name="connsiteY75" fmla="*/ 29306 h 67881"/>
                          <a:gd name="connsiteX76" fmla="*/ 2631 w 51793"/>
                          <a:gd name="connsiteY76" fmla="*/ 30681 h 67881"/>
                          <a:gd name="connsiteX77" fmla="*/ 2213 w 51793"/>
                          <a:gd name="connsiteY77" fmla="*/ 27811 h 67881"/>
                          <a:gd name="connsiteX78" fmla="*/ 1794 w 51793"/>
                          <a:gd name="connsiteY78" fmla="*/ 24581 h 67881"/>
                          <a:gd name="connsiteX79" fmla="*/ 418 w 51793"/>
                          <a:gd name="connsiteY79" fmla="*/ 28827 h 67881"/>
                          <a:gd name="connsiteX80" fmla="*/ 2153 w 51793"/>
                          <a:gd name="connsiteY80" fmla="*/ 27392 h 67881"/>
                          <a:gd name="connsiteX81" fmla="*/ 1794 w 51793"/>
                          <a:gd name="connsiteY81" fmla="*/ 24581 h 67881"/>
                          <a:gd name="connsiteX82" fmla="*/ 2990 w 51793"/>
                          <a:gd name="connsiteY82" fmla="*/ 31339 h 67881"/>
                          <a:gd name="connsiteX83" fmla="*/ 3648 w 51793"/>
                          <a:gd name="connsiteY83" fmla="*/ 36303 h 67881"/>
                          <a:gd name="connsiteX84" fmla="*/ 6997 w 51793"/>
                          <a:gd name="connsiteY84" fmla="*/ 33851 h 67881"/>
                          <a:gd name="connsiteX85" fmla="*/ 2990 w 51793"/>
                          <a:gd name="connsiteY85" fmla="*/ 31339 h 67881"/>
                          <a:gd name="connsiteX86" fmla="*/ 7416 w 51793"/>
                          <a:gd name="connsiteY86" fmla="*/ 33971 h 67881"/>
                          <a:gd name="connsiteX87" fmla="*/ 3828 w 51793"/>
                          <a:gd name="connsiteY87" fmla="*/ 36602 h 67881"/>
                          <a:gd name="connsiteX88" fmla="*/ 10167 w 51793"/>
                          <a:gd name="connsiteY88" fmla="*/ 41865 h 67881"/>
                          <a:gd name="connsiteX89" fmla="*/ 13397 w 51793"/>
                          <a:gd name="connsiteY89" fmla="*/ 37798 h 67881"/>
                          <a:gd name="connsiteX90" fmla="*/ 11782 w 51793"/>
                          <a:gd name="connsiteY90" fmla="*/ 34090 h 67881"/>
                          <a:gd name="connsiteX91" fmla="*/ 7416 w 51793"/>
                          <a:gd name="connsiteY91" fmla="*/ 33971 h 67881"/>
                          <a:gd name="connsiteX92" fmla="*/ 8851 w 51793"/>
                          <a:gd name="connsiteY92" fmla="*/ 43540 h 67881"/>
                          <a:gd name="connsiteX93" fmla="*/ 4366 w 51793"/>
                          <a:gd name="connsiteY93" fmla="*/ 37858 h 67881"/>
                          <a:gd name="connsiteX94" fmla="*/ 6579 w 51793"/>
                          <a:gd name="connsiteY94" fmla="*/ 42403 h 67881"/>
                          <a:gd name="connsiteX95" fmla="*/ 8791 w 51793"/>
                          <a:gd name="connsiteY95" fmla="*/ 43600 h 67881"/>
                          <a:gd name="connsiteX96" fmla="*/ 8851 w 51793"/>
                          <a:gd name="connsiteY96" fmla="*/ 43540 h 67881"/>
                          <a:gd name="connsiteX97" fmla="*/ 9987 w 51793"/>
                          <a:gd name="connsiteY97" fmla="*/ 42104 h 67881"/>
                          <a:gd name="connsiteX98" fmla="*/ 4665 w 51793"/>
                          <a:gd name="connsiteY98" fmla="*/ 37679 h 67881"/>
                          <a:gd name="connsiteX99" fmla="*/ 9031 w 51793"/>
                          <a:gd name="connsiteY99" fmla="*/ 43241 h 67881"/>
                          <a:gd name="connsiteX100" fmla="*/ 9987 w 51793"/>
                          <a:gd name="connsiteY100" fmla="*/ 42104 h 67881"/>
                          <a:gd name="connsiteX101" fmla="*/ 8552 w 51793"/>
                          <a:gd name="connsiteY101" fmla="*/ 43898 h 67881"/>
                          <a:gd name="connsiteX102" fmla="*/ 6758 w 51793"/>
                          <a:gd name="connsiteY102" fmla="*/ 42942 h 67881"/>
                          <a:gd name="connsiteX103" fmla="*/ 7656 w 51793"/>
                          <a:gd name="connsiteY103" fmla="*/ 44975 h 67881"/>
                          <a:gd name="connsiteX104" fmla="*/ 8552 w 51793"/>
                          <a:gd name="connsiteY104" fmla="*/ 43898 h 67881"/>
                          <a:gd name="connsiteX105" fmla="*/ 8911 w 51793"/>
                          <a:gd name="connsiteY105" fmla="*/ 44018 h 67881"/>
                          <a:gd name="connsiteX106" fmla="*/ 7894 w 51793"/>
                          <a:gd name="connsiteY106" fmla="*/ 45274 h 67881"/>
                          <a:gd name="connsiteX107" fmla="*/ 9270 w 51793"/>
                          <a:gd name="connsiteY107" fmla="*/ 48384 h 67881"/>
                          <a:gd name="connsiteX108" fmla="*/ 12859 w 51793"/>
                          <a:gd name="connsiteY108" fmla="*/ 48504 h 67881"/>
                          <a:gd name="connsiteX109" fmla="*/ 9509 w 51793"/>
                          <a:gd name="connsiteY109" fmla="*/ 44317 h 67881"/>
                          <a:gd name="connsiteX110" fmla="*/ 8911 w 51793"/>
                          <a:gd name="connsiteY110" fmla="*/ 44018 h 67881"/>
                          <a:gd name="connsiteX111" fmla="*/ 13157 w 51793"/>
                          <a:gd name="connsiteY111" fmla="*/ 48982 h 67881"/>
                          <a:gd name="connsiteX112" fmla="*/ 9449 w 51793"/>
                          <a:gd name="connsiteY112" fmla="*/ 48863 h 67881"/>
                          <a:gd name="connsiteX113" fmla="*/ 9808 w 51793"/>
                          <a:gd name="connsiteY113" fmla="*/ 49640 h 67881"/>
                          <a:gd name="connsiteX114" fmla="*/ 14772 w 51793"/>
                          <a:gd name="connsiteY114" fmla="*/ 51016 h 67881"/>
                          <a:gd name="connsiteX115" fmla="*/ 13157 w 51793"/>
                          <a:gd name="connsiteY115" fmla="*/ 48982 h 67881"/>
                          <a:gd name="connsiteX116" fmla="*/ 15072 w 51793"/>
                          <a:gd name="connsiteY116" fmla="*/ 51434 h 67881"/>
                          <a:gd name="connsiteX117" fmla="*/ 9987 w 51793"/>
                          <a:gd name="connsiteY117" fmla="*/ 49999 h 67881"/>
                          <a:gd name="connsiteX118" fmla="*/ 17404 w 51793"/>
                          <a:gd name="connsiteY118" fmla="*/ 66625 h 67881"/>
                          <a:gd name="connsiteX119" fmla="*/ 15072 w 51793"/>
                          <a:gd name="connsiteY119" fmla="*/ 51434 h 67881"/>
                          <a:gd name="connsiteX120" fmla="*/ 2511 w 51793"/>
                          <a:gd name="connsiteY120" fmla="*/ 27511 h 67881"/>
                          <a:gd name="connsiteX121" fmla="*/ 2930 w 51793"/>
                          <a:gd name="connsiteY121" fmla="*/ 30861 h 67881"/>
                          <a:gd name="connsiteX122" fmla="*/ 7117 w 51793"/>
                          <a:gd name="connsiteY122" fmla="*/ 33432 h 67881"/>
                          <a:gd name="connsiteX123" fmla="*/ 6579 w 51793"/>
                          <a:gd name="connsiteY123" fmla="*/ 26854 h 67881"/>
                          <a:gd name="connsiteX124" fmla="*/ 4665 w 51793"/>
                          <a:gd name="connsiteY124" fmla="*/ 25657 h 67881"/>
                          <a:gd name="connsiteX125" fmla="*/ 2511 w 51793"/>
                          <a:gd name="connsiteY125" fmla="*/ 27511 h 67881"/>
                          <a:gd name="connsiteX126" fmla="*/ 2093 w 51793"/>
                          <a:gd name="connsiteY126" fmla="*/ 24102 h 67881"/>
                          <a:gd name="connsiteX127" fmla="*/ 2511 w 51793"/>
                          <a:gd name="connsiteY127" fmla="*/ 27153 h 67881"/>
                          <a:gd name="connsiteX128" fmla="*/ 4426 w 51793"/>
                          <a:gd name="connsiteY128" fmla="*/ 25538 h 67881"/>
                          <a:gd name="connsiteX129" fmla="*/ 2093 w 51793"/>
                          <a:gd name="connsiteY129" fmla="*/ 24102 h 67881"/>
                          <a:gd name="connsiteX130" fmla="*/ 10227 w 51793"/>
                          <a:gd name="connsiteY130" fmla="*/ 42344 h 67881"/>
                          <a:gd name="connsiteX131" fmla="*/ 9270 w 51793"/>
                          <a:gd name="connsiteY131" fmla="*/ 43540 h 67881"/>
                          <a:gd name="connsiteX132" fmla="*/ 9749 w 51793"/>
                          <a:gd name="connsiteY132" fmla="*/ 44078 h 67881"/>
                          <a:gd name="connsiteX133" fmla="*/ 17105 w 51793"/>
                          <a:gd name="connsiteY133" fmla="*/ 48025 h 67881"/>
                          <a:gd name="connsiteX134" fmla="*/ 10227 w 51793"/>
                          <a:gd name="connsiteY134" fmla="*/ 42344 h 67881"/>
                          <a:gd name="connsiteX135" fmla="*/ 17763 w 51793"/>
                          <a:gd name="connsiteY135" fmla="*/ 48803 h 67881"/>
                          <a:gd name="connsiteX136" fmla="*/ 10287 w 51793"/>
                          <a:gd name="connsiteY136" fmla="*/ 44796 h 67881"/>
                          <a:gd name="connsiteX137" fmla="*/ 13337 w 51793"/>
                          <a:gd name="connsiteY137" fmla="*/ 48623 h 67881"/>
                          <a:gd name="connsiteX138" fmla="*/ 17763 w 51793"/>
                          <a:gd name="connsiteY138" fmla="*/ 48803 h 67881"/>
                          <a:gd name="connsiteX139" fmla="*/ 7476 w 51793"/>
                          <a:gd name="connsiteY139" fmla="*/ 21590 h 67881"/>
                          <a:gd name="connsiteX140" fmla="*/ 2213 w 51793"/>
                          <a:gd name="connsiteY140" fmla="*/ 23803 h 67881"/>
                          <a:gd name="connsiteX141" fmla="*/ 4665 w 51793"/>
                          <a:gd name="connsiteY141" fmla="*/ 25299 h 67881"/>
                          <a:gd name="connsiteX142" fmla="*/ 6399 w 51793"/>
                          <a:gd name="connsiteY142" fmla="*/ 23863 h 67881"/>
                          <a:gd name="connsiteX143" fmla="*/ 7476 w 51793"/>
                          <a:gd name="connsiteY143" fmla="*/ 21590 h 67881"/>
                          <a:gd name="connsiteX144" fmla="*/ 13576 w 51793"/>
                          <a:gd name="connsiteY144" fmla="*/ 38157 h 67881"/>
                          <a:gd name="connsiteX145" fmla="*/ 10466 w 51793"/>
                          <a:gd name="connsiteY145" fmla="*/ 42044 h 67881"/>
                          <a:gd name="connsiteX146" fmla="*/ 18062 w 51793"/>
                          <a:gd name="connsiteY146" fmla="*/ 48384 h 67881"/>
                          <a:gd name="connsiteX147" fmla="*/ 13576 w 51793"/>
                          <a:gd name="connsiteY147" fmla="*/ 38157 h 67881"/>
                          <a:gd name="connsiteX148" fmla="*/ 17942 w 51793"/>
                          <a:gd name="connsiteY148" fmla="*/ 49162 h 67881"/>
                          <a:gd name="connsiteX149" fmla="*/ 13576 w 51793"/>
                          <a:gd name="connsiteY149" fmla="*/ 48982 h 67881"/>
                          <a:gd name="connsiteX150" fmla="*/ 15191 w 51793"/>
                          <a:gd name="connsiteY150" fmla="*/ 51075 h 67881"/>
                          <a:gd name="connsiteX151" fmla="*/ 17942 w 51793"/>
                          <a:gd name="connsiteY151" fmla="*/ 49162 h 67881"/>
                          <a:gd name="connsiteX152" fmla="*/ 6997 w 51793"/>
                          <a:gd name="connsiteY152" fmla="*/ 27093 h 67881"/>
                          <a:gd name="connsiteX153" fmla="*/ 7476 w 51793"/>
                          <a:gd name="connsiteY153" fmla="*/ 33073 h 67881"/>
                          <a:gd name="connsiteX154" fmla="*/ 9509 w 51793"/>
                          <a:gd name="connsiteY154" fmla="*/ 28588 h 67881"/>
                          <a:gd name="connsiteX155" fmla="*/ 6997 w 51793"/>
                          <a:gd name="connsiteY155" fmla="*/ 27093 h 67881"/>
                          <a:gd name="connsiteX156" fmla="*/ 10466 w 51793"/>
                          <a:gd name="connsiteY156" fmla="*/ 31279 h 67881"/>
                          <a:gd name="connsiteX157" fmla="*/ 7775 w 51793"/>
                          <a:gd name="connsiteY157" fmla="*/ 33671 h 67881"/>
                          <a:gd name="connsiteX158" fmla="*/ 11602 w 51793"/>
                          <a:gd name="connsiteY158" fmla="*/ 33791 h 67881"/>
                          <a:gd name="connsiteX159" fmla="*/ 10466 w 51793"/>
                          <a:gd name="connsiteY159" fmla="*/ 31279 h 67881"/>
                          <a:gd name="connsiteX160" fmla="*/ 9749 w 51793"/>
                          <a:gd name="connsiteY160" fmla="*/ 28827 h 67881"/>
                          <a:gd name="connsiteX161" fmla="*/ 7834 w 51793"/>
                          <a:gd name="connsiteY161" fmla="*/ 33073 h 67881"/>
                          <a:gd name="connsiteX162" fmla="*/ 10287 w 51793"/>
                          <a:gd name="connsiteY162" fmla="*/ 30861 h 67881"/>
                          <a:gd name="connsiteX163" fmla="*/ 9749 w 51793"/>
                          <a:gd name="connsiteY163" fmla="*/ 28827 h 67881"/>
                          <a:gd name="connsiteX164" fmla="*/ 6399 w 51793"/>
                          <a:gd name="connsiteY164" fmla="*/ 24282 h 67881"/>
                          <a:gd name="connsiteX165" fmla="*/ 4964 w 51793"/>
                          <a:gd name="connsiteY165" fmla="*/ 25478 h 67881"/>
                          <a:gd name="connsiteX166" fmla="*/ 6579 w 51793"/>
                          <a:gd name="connsiteY166" fmla="*/ 26435 h 67881"/>
                          <a:gd name="connsiteX167" fmla="*/ 6399 w 51793"/>
                          <a:gd name="connsiteY167" fmla="*/ 24282 h 67881"/>
                          <a:gd name="connsiteX168" fmla="*/ 6758 w 51793"/>
                          <a:gd name="connsiteY168" fmla="*/ 24102 h 67881"/>
                          <a:gd name="connsiteX169" fmla="*/ 6938 w 51793"/>
                          <a:gd name="connsiteY169" fmla="*/ 26674 h 67881"/>
                          <a:gd name="connsiteX170" fmla="*/ 9569 w 51793"/>
                          <a:gd name="connsiteY170" fmla="*/ 28289 h 67881"/>
                          <a:gd name="connsiteX171" fmla="*/ 8373 w 51793"/>
                          <a:gd name="connsiteY171" fmla="*/ 23803 h 67881"/>
                          <a:gd name="connsiteX172" fmla="*/ 6758 w 51793"/>
                          <a:gd name="connsiteY172" fmla="*/ 24102 h 67881"/>
                          <a:gd name="connsiteX173" fmla="*/ 7834 w 51793"/>
                          <a:gd name="connsiteY173" fmla="*/ 21770 h 67881"/>
                          <a:gd name="connsiteX174" fmla="*/ 6878 w 51793"/>
                          <a:gd name="connsiteY174" fmla="*/ 23743 h 67881"/>
                          <a:gd name="connsiteX175" fmla="*/ 8313 w 51793"/>
                          <a:gd name="connsiteY175" fmla="*/ 23504 h 67881"/>
                          <a:gd name="connsiteX176" fmla="*/ 7834 w 51793"/>
                          <a:gd name="connsiteY176" fmla="*/ 21770 h 67881"/>
                          <a:gd name="connsiteX177" fmla="*/ 10167 w 51793"/>
                          <a:gd name="connsiteY177" fmla="*/ 29066 h 67881"/>
                          <a:gd name="connsiteX178" fmla="*/ 10646 w 51793"/>
                          <a:gd name="connsiteY178" fmla="*/ 30861 h 67881"/>
                          <a:gd name="connsiteX179" fmla="*/ 13755 w 51793"/>
                          <a:gd name="connsiteY179" fmla="*/ 31279 h 67881"/>
                          <a:gd name="connsiteX180" fmla="*/ 10167 w 51793"/>
                          <a:gd name="connsiteY180" fmla="*/ 29066 h 67881"/>
                          <a:gd name="connsiteX181" fmla="*/ 14114 w 51793"/>
                          <a:gd name="connsiteY181" fmla="*/ 31638 h 67881"/>
                          <a:gd name="connsiteX182" fmla="*/ 10765 w 51793"/>
                          <a:gd name="connsiteY182" fmla="*/ 31160 h 67881"/>
                          <a:gd name="connsiteX183" fmla="*/ 11961 w 51793"/>
                          <a:gd name="connsiteY183" fmla="*/ 33671 h 67881"/>
                          <a:gd name="connsiteX184" fmla="*/ 14114 w 51793"/>
                          <a:gd name="connsiteY184" fmla="*/ 31638 h 67881"/>
                          <a:gd name="connsiteX185" fmla="*/ 14593 w 51793"/>
                          <a:gd name="connsiteY185" fmla="*/ 31698 h 67881"/>
                          <a:gd name="connsiteX186" fmla="*/ 12141 w 51793"/>
                          <a:gd name="connsiteY186" fmla="*/ 33971 h 67881"/>
                          <a:gd name="connsiteX187" fmla="*/ 13695 w 51793"/>
                          <a:gd name="connsiteY187" fmla="*/ 37499 h 67881"/>
                          <a:gd name="connsiteX188" fmla="*/ 18181 w 51793"/>
                          <a:gd name="connsiteY188" fmla="*/ 31877 h 67881"/>
                          <a:gd name="connsiteX189" fmla="*/ 14593 w 51793"/>
                          <a:gd name="connsiteY189" fmla="*/ 31698 h 67881"/>
                          <a:gd name="connsiteX190" fmla="*/ 9928 w 51793"/>
                          <a:gd name="connsiteY190" fmla="*/ 28349 h 67881"/>
                          <a:gd name="connsiteX191" fmla="*/ 9987 w 51793"/>
                          <a:gd name="connsiteY191" fmla="*/ 28588 h 67881"/>
                          <a:gd name="connsiteX192" fmla="*/ 14234 w 51793"/>
                          <a:gd name="connsiteY192" fmla="*/ 31160 h 67881"/>
                          <a:gd name="connsiteX193" fmla="*/ 12141 w 51793"/>
                          <a:gd name="connsiteY193" fmla="*/ 23445 h 67881"/>
                          <a:gd name="connsiteX194" fmla="*/ 9928 w 51793"/>
                          <a:gd name="connsiteY194" fmla="*/ 28349 h 67881"/>
                          <a:gd name="connsiteX195" fmla="*/ 8732 w 51793"/>
                          <a:gd name="connsiteY195" fmla="*/ 23743 h 67881"/>
                          <a:gd name="connsiteX196" fmla="*/ 9868 w 51793"/>
                          <a:gd name="connsiteY196" fmla="*/ 27811 h 67881"/>
                          <a:gd name="connsiteX197" fmla="*/ 11961 w 51793"/>
                          <a:gd name="connsiteY197" fmla="*/ 23146 h 67881"/>
                          <a:gd name="connsiteX198" fmla="*/ 8732 w 51793"/>
                          <a:gd name="connsiteY198" fmla="*/ 23743 h 67881"/>
                          <a:gd name="connsiteX199" fmla="*/ 18360 w 51793"/>
                          <a:gd name="connsiteY199" fmla="*/ 32236 h 67881"/>
                          <a:gd name="connsiteX200" fmla="*/ 13815 w 51793"/>
                          <a:gd name="connsiteY200" fmla="*/ 37918 h 67881"/>
                          <a:gd name="connsiteX201" fmla="*/ 18301 w 51793"/>
                          <a:gd name="connsiteY201" fmla="*/ 48205 h 67881"/>
                          <a:gd name="connsiteX202" fmla="*/ 18360 w 51793"/>
                          <a:gd name="connsiteY202" fmla="*/ 32236 h 67881"/>
                          <a:gd name="connsiteX203" fmla="*/ 8134 w 51793"/>
                          <a:gd name="connsiteY203" fmla="*/ 21531 h 67881"/>
                          <a:gd name="connsiteX204" fmla="*/ 8612 w 51793"/>
                          <a:gd name="connsiteY204" fmla="*/ 23385 h 67881"/>
                          <a:gd name="connsiteX205" fmla="*/ 11542 w 51793"/>
                          <a:gd name="connsiteY205" fmla="*/ 22846 h 67881"/>
                          <a:gd name="connsiteX206" fmla="*/ 8134 w 51793"/>
                          <a:gd name="connsiteY206" fmla="*/ 21531 h 67881"/>
                          <a:gd name="connsiteX207" fmla="*/ 18660 w 51793"/>
                          <a:gd name="connsiteY207" fmla="*/ 31937 h 67881"/>
                          <a:gd name="connsiteX208" fmla="*/ 18660 w 51793"/>
                          <a:gd name="connsiteY208" fmla="*/ 48384 h 67881"/>
                          <a:gd name="connsiteX209" fmla="*/ 28109 w 51793"/>
                          <a:gd name="connsiteY209" fmla="*/ 33492 h 67881"/>
                          <a:gd name="connsiteX210" fmla="*/ 18660 w 51793"/>
                          <a:gd name="connsiteY210" fmla="*/ 31937 h 67881"/>
                          <a:gd name="connsiteX211" fmla="*/ 29963 w 51793"/>
                          <a:gd name="connsiteY211" fmla="*/ 37619 h 67881"/>
                          <a:gd name="connsiteX212" fmla="*/ 19258 w 51793"/>
                          <a:gd name="connsiteY212" fmla="*/ 48444 h 67881"/>
                          <a:gd name="connsiteX213" fmla="*/ 24401 w 51793"/>
                          <a:gd name="connsiteY213" fmla="*/ 45992 h 67881"/>
                          <a:gd name="connsiteX214" fmla="*/ 29963 w 51793"/>
                          <a:gd name="connsiteY214" fmla="*/ 37619 h 67881"/>
                          <a:gd name="connsiteX215" fmla="*/ 24102 w 51793"/>
                          <a:gd name="connsiteY215" fmla="*/ 46530 h 67881"/>
                          <a:gd name="connsiteX216" fmla="*/ 19617 w 51793"/>
                          <a:gd name="connsiteY216" fmla="*/ 48623 h 67881"/>
                          <a:gd name="connsiteX217" fmla="*/ 23026 w 51793"/>
                          <a:gd name="connsiteY217" fmla="*/ 48145 h 67881"/>
                          <a:gd name="connsiteX218" fmla="*/ 24102 w 51793"/>
                          <a:gd name="connsiteY218" fmla="*/ 46530 h 67881"/>
                          <a:gd name="connsiteX219" fmla="*/ 28468 w 51793"/>
                          <a:gd name="connsiteY219" fmla="*/ 33552 h 67881"/>
                          <a:gd name="connsiteX220" fmla="*/ 19497 w 51793"/>
                          <a:gd name="connsiteY220" fmla="*/ 47726 h 67881"/>
                          <a:gd name="connsiteX221" fmla="*/ 30920 w 51793"/>
                          <a:gd name="connsiteY221" fmla="*/ 36124 h 67881"/>
                          <a:gd name="connsiteX222" fmla="*/ 31339 w 51793"/>
                          <a:gd name="connsiteY222" fmla="*/ 34030 h 67881"/>
                          <a:gd name="connsiteX223" fmla="*/ 28468 w 51793"/>
                          <a:gd name="connsiteY223" fmla="*/ 33552 h 67881"/>
                          <a:gd name="connsiteX224" fmla="*/ 12440 w 51793"/>
                          <a:gd name="connsiteY224" fmla="*/ 23086 h 67881"/>
                          <a:gd name="connsiteX225" fmla="*/ 14533 w 51793"/>
                          <a:gd name="connsiteY225" fmla="*/ 30801 h 67881"/>
                          <a:gd name="connsiteX226" fmla="*/ 16447 w 51793"/>
                          <a:gd name="connsiteY226" fmla="*/ 23146 h 67881"/>
                          <a:gd name="connsiteX227" fmla="*/ 12440 w 51793"/>
                          <a:gd name="connsiteY227" fmla="*/ 23086 h 67881"/>
                          <a:gd name="connsiteX228" fmla="*/ 16746 w 51793"/>
                          <a:gd name="connsiteY228" fmla="*/ 23265 h 67881"/>
                          <a:gd name="connsiteX229" fmla="*/ 14772 w 51793"/>
                          <a:gd name="connsiteY229" fmla="*/ 31399 h 67881"/>
                          <a:gd name="connsiteX230" fmla="*/ 18480 w 51793"/>
                          <a:gd name="connsiteY230" fmla="*/ 31578 h 67881"/>
                          <a:gd name="connsiteX231" fmla="*/ 23743 w 51793"/>
                          <a:gd name="connsiteY231" fmla="*/ 26315 h 67881"/>
                          <a:gd name="connsiteX232" fmla="*/ 16746 w 51793"/>
                          <a:gd name="connsiteY232" fmla="*/ 23265 h 67881"/>
                          <a:gd name="connsiteX233" fmla="*/ 21351 w 51793"/>
                          <a:gd name="connsiteY233" fmla="*/ 19557 h 67881"/>
                          <a:gd name="connsiteX234" fmla="*/ 13097 w 51793"/>
                          <a:gd name="connsiteY234" fmla="*/ 22787 h 67881"/>
                          <a:gd name="connsiteX235" fmla="*/ 16567 w 51793"/>
                          <a:gd name="connsiteY235" fmla="*/ 22846 h 67881"/>
                          <a:gd name="connsiteX236" fmla="*/ 21351 w 51793"/>
                          <a:gd name="connsiteY236" fmla="*/ 19557 h 67881"/>
                          <a:gd name="connsiteX237" fmla="*/ 24700 w 51793"/>
                          <a:gd name="connsiteY237" fmla="*/ 46291 h 67881"/>
                          <a:gd name="connsiteX238" fmla="*/ 23444 w 51793"/>
                          <a:gd name="connsiteY238" fmla="*/ 48205 h 67881"/>
                          <a:gd name="connsiteX239" fmla="*/ 23444 w 51793"/>
                          <a:gd name="connsiteY239" fmla="*/ 48205 h 67881"/>
                          <a:gd name="connsiteX240" fmla="*/ 25358 w 51793"/>
                          <a:gd name="connsiteY240" fmla="*/ 45992 h 67881"/>
                          <a:gd name="connsiteX241" fmla="*/ 24700 w 51793"/>
                          <a:gd name="connsiteY241" fmla="*/ 46291 h 67881"/>
                          <a:gd name="connsiteX242" fmla="*/ 26136 w 51793"/>
                          <a:gd name="connsiteY242" fmla="*/ 45573 h 67881"/>
                          <a:gd name="connsiteX243" fmla="*/ 23923 w 51793"/>
                          <a:gd name="connsiteY243" fmla="*/ 48085 h 67881"/>
                          <a:gd name="connsiteX244" fmla="*/ 33014 w 51793"/>
                          <a:gd name="connsiteY244" fmla="*/ 46889 h 67881"/>
                          <a:gd name="connsiteX245" fmla="*/ 38695 w 51793"/>
                          <a:gd name="connsiteY245" fmla="*/ 44736 h 67881"/>
                          <a:gd name="connsiteX246" fmla="*/ 35167 w 51793"/>
                          <a:gd name="connsiteY246" fmla="*/ 41267 h 67881"/>
                          <a:gd name="connsiteX247" fmla="*/ 26136 w 51793"/>
                          <a:gd name="connsiteY247" fmla="*/ 45573 h 67881"/>
                          <a:gd name="connsiteX248" fmla="*/ 24043 w 51793"/>
                          <a:gd name="connsiteY248" fmla="*/ 26495 h 67881"/>
                          <a:gd name="connsiteX249" fmla="*/ 19078 w 51793"/>
                          <a:gd name="connsiteY249" fmla="*/ 31519 h 67881"/>
                          <a:gd name="connsiteX250" fmla="*/ 30442 w 51793"/>
                          <a:gd name="connsiteY250" fmla="*/ 29306 h 67881"/>
                          <a:gd name="connsiteX251" fmla="*/ 24043 w 51793"/>
                          <a:gd name="connsiteY251" fmla="*/ 26495 h 67881"/>
                          <a:gd name="connsiteX252" fmla="*/ 30621 w 51793"/>
                          <a:gd name="connsiteY252" fmla="*/ 29605 h 67881"/>
                          <a:gd name="connsiteX253" fmla="*/ 19497 w 51793"/>
                          <a:gd name="connsiteY253" fmla="*/ 31758 h 67881"/>
                          <a:gd name="connsiteX254" fmla="*/ 28349 w 51793"/>
                          <a:gd name="connsiteY254" fmla="*/ 33193 h 67881"/>
                          <a:gd name="connsiteX255" fmla="*/ 30621 w 51793"/>
                          <a:gd name="connsiteY255" fmla="*/ 29605 h 67881"/>
                          <a:gd name="connsiteX256" fmla="*/ 31099 w 51793"/>
                          <a:gd name="connsiteY256" fmla="*/ 36542 h 67881"/>
                          <a:gd name="connsiteX257" fmla="*/ 25059 w 51793"/>
                          <a:gd name="connsiteY257" fmla="*/ 45693 h 67881"/>
                          <a:gd name="connsiteX258" fmla="*/ 25956 w 51793"/>
                          <a:gd name="connsiteY258" fmla="*/ 45274 h 67881"/>
                          <a:gd name="connsiteX259" fmla="*/ 32116 w 51793"/>
                          <a:gd name="connsiteY259" fmla="*/ 38217 h 67881"/>
                          <a:gd name="connsiteX260" fmla="*/ 31099 w 51793"/>
                          <a:gd name="connsiteY260" fmla="*/ 36542 h 67881"/>
                          <a:gd name="connsiteX261" fmla="*/ 27989 w 51793"/>
                          <a:gd name="connsiteY261" fmla="*/ 22009 h 67881"/>
                          <a:gd name="connsiteX262" fmla="*/ 17284 w 51793"/>
                          <a:gd name="connsiteY262" fmla="*/ 23086 h 67881"/>
                          <a:gd name="connsiteX263" fmla="*/ 23923 w 51793"/>
                          <a:gd name="connsiteY263" fmla="*/ 26016 h 67881"/>
                          <a:gd name="connsiteX264" fmla="*/ 27989 w 51793"/>
                          <a:gd name="connsiteY264" fmla="*/ 22009 h 67881"/>
                          <a:gd name="connsiteX265" fmla="*/ 32356 w 51793"/>
                          <a:gd name="connsiteY265" fmla="*/ 38456 h 67881"/>
                          <a:gd name="connsiteX266" fmla="*/ 26734 w 51793"/>
                          <a:gd name="connsiteY266" fmla="*/ 44915 h 67881"/>
                          <a:gd name="connsiteX267" fmla="*/ 34987 w 51793"/>
                          <a:gd name="connsiteY267" fmla="*/ 41028 h 67881"/>
                          <a:gd name="connsiteX268" fmla="*/ 32356 w 51793"/>
                          <a:gd name="connsiteY268" fmla="*/ 38456 h 67881"/>
                          <a:gd name="connsiteX269" fmla="*/ 22786 w 51793"/>
                          <a:gd name="connsiteY269" fmla="*/ 19019 h 67881"/>
                          <a:gd name="connsiteX270" fmla="*/ 17822 w 51793"/>
                          <a:gd name="connsiteY270" fmla="*/ 22428 h 67881"/>
                          <a:gd name="connsiteX271" fmla="*/ 32356 w 51793"/>
                          <a:gd name="connsiteY271" fmla="*/ 17225 h 67881"/>
                          <a:gd name="connsiteX272" fmla="*/ 25358 w 51793"/>
                          <a:gd name="connsiteY272" fmla="*/ 18899 h 67881"/>
                          <a:gd name="connsiteX273" fmla="*/ 22786 w 51793"/>
                          <a:gd name="connsiteY273" fmla="*/ 19019 h 67881"/>
                          <a:gd name="connsiteX274" fmla="*/ 34449 w 51793"/>
                          <a:gd name="connsiteY274" fmla="*/ 16806 h 67881"/>
                          <a:gd name="connsiteX275" fmla="*/ 18002 w 51793"/>
                          <a:gd name="connsiteY275" fmla="*/ 22667 h 67881"/>
                          <a:gd name="connsiteX276" fmla="*/ 28349 w 51793"/>
                          <a:gd name="connsiteY276" fmla="*/ 21590 h 67881"/>
                          <a:gd name="connsiteX277" fmla="*/ 34449 w 51793"/>
                          <a:gd name="connsiteY277" fmla="*/ 16806 h 67881"/>
                          <a:gd name="connsiteX278" fmla="*/ 28349 w 51793"/>
                          <a:gd name="connsiteY278" fmla="*/ 22129 h 67881"/>
                          <a:gd name="connsiteX279" fmla="*/ 24281 w 51793"/>
                          <a:gd name="connsiteY279" fmla="*/ 26196 h 67881"/>
                          <a:gd name="connsiteX280" fmla="*/ 30681 w 51793"/>
                          <a:gd name="connsiteY280" fmla="*/ 29007 h 67881"/>
                          <a:gd name="connsiteX281" fmla="*/ 28349 w 51793"/>
                          <a:gd name="connsiteY281" fmla="*/ 22129 h 67881"/>
                          <a:gd name="connsiteX282" fmla="*/ 30861 w 51793"/>
                          <a:gd name="connsiteY282" fmla="*/ 29844 h 67881"/>
                          <a:gd name="connsiteX283" fmla="*/ 28707 w 51793"/>
                          <a:gd name="connsiteY283" fmla="*/ 33253 h 67881"/>
                          <a:gd name="connsiteX284" fmla="*/ 31399 w 51793"/>
                          <a:gd name="connsiteY284" fmla="*/ 33671 h 67881"/>
                          <a:gd name="connsiteX285" fmla="*/ 30861 w 51793"/>
                          <a:gd name="connsiteY285" fmla="*/ 29844 h 67881"/>
                          <a:gd name="connsiteX286" fmla="*/ 24461 w 51793"/>
                          <a:gd name="connsiteY286" fmla="*/ 17105 h 67881"/>
                          <a:gd name="connsiteX287" fmla="*/ 23145 w 51793"/>
                          <a:gd name="connsiteY287" fmla="*/ 18660 h 67881"/>
                          <a:gd name="connsiteX288" fmla="*/ 25238 w 51793"/>
                          <a:gd name="connsiteY288" fmla="*/ 18540 h 67881"/>
                          <a:gd name="connsiteX289" fmla="*/ 26494 w 51793"/>
                          <a:gd name="connsiteY289" fmla="*/ 16746 h 67881"/>
                          <a:gd name="connsiteX290" fmla="*/ 24461 w 51793"/>
                          <a:gd name="connsiteY290" fmla="*/ 17105 h 67881"/>
                          <a:gd name="connsiteX291" fmla="*/ 33671 w 51793"/>
                          <a:gd name="connsiteY291" fmla="*/ 37918 h 67881"/>
                          <a:gd name="connsiteX292" fmla="*/ 31638 w 51793"/>
                          <a:gd name="connsiteY292" fmla="*/ 36722 h 67881"/>
                          <a:gd name="connsiteX293" fmla="*/ 32475 w 51793"/>
                          <a:gd name="connsiteY293" fmla="*/ 38037 h 67881"/>
                          <a:gd name="connsiteX294" fmla="*/ 33671 w 51793"/>
                          <a:gd name="connsiteY294" fmla="*/ 37918 h 67881"/>
                          <a:gd name="connsiteX295" fmla="*/ 31697 w 51793"/>
                          <a:gd name="connsiteY295" fmla="*/ 34150 h 67881"/>
                          <a:gd name="connsiteX296" fmla="*/ 31339 w 51793"/>
                          <a:gd name="connsiteY296" fmla="*/ 35944 h 67881"/>
                          <a:gd name="connsiteX297" fmla="*/ 33910 w 51793"/>
                          <a:gd name="connsiteY297" fmla="*/ 35107 h 67881"/>
                          <a:gd name="connsiteX298" fmla="*/ 31697 w 51793"/>
                          <a:gd name="connsiteY298" fmla="*/ 34150 h 67881"/>
                          <a:gd name="connsiteX299" fmla="*/ 34210 w 51793"/>
                          <a:gd name="connsiteY299" fmla="*/ 35406 h 67881"/>
                          <a:gd name="connsiteX300" fmla="*/ 31519 w 51793"/>
                          <a:gd name="connsiteY300" fmla="*/ 36243 h 67881"/>
                          <a:gd name="connsiteX301" fmla="*/ 34030 w 51793"/>
                          <a:gd name="connsiteY301" fmla="*/ 37738 h 67881"/>
                          <a:gd name="connsiteX302" fmla="*/ 34210 w 51793"/>
                          <a:gd name="connsiteY302" fmla="*/ 35406 h 67881"/>
                          <a:gd name="connsiteX303" fmla="*/ 34150 w 51793"/>
                          <a:gd name="connsiteY303" fmla="*/ 38217 h 67881"/>
                          <a:gd name="connsiteX304" fmla="*/ 32714 w 51793"/>
                          <a:gd name="connsiteY304" fmla="*/ 38336 h 67881"/>
                          <a:gd name="connsiteX305" fmla="*/ 35286 w 51793"/>
                          <a:gd name="connsiteY305" fmla="*/ 40848 h 67881"/>
                          <a:gd name="connsiteX306" fmla="*/ 37080 w 51793"/>
                          <a:gd name="connsiteY306" fmla="*/ 40011 h 67881"/>
                          <a:gd name="connsiteX307" fmla="*/ 34150 w 51793"/>
                          <a:gd name="connsiteY307" fmla="*/ 38217 h 67881"/>
                          <a:gd name="connsiteX308" fmla="*/ 31219 w 51793"/>
                          <a:gd name="connsiteY308" fmla="*/ 30143 h 67881"/>
                          <a:gd name="connsiteX309" fmla="*/ 31697 w 51793"/>
                          <a:gd name="connsiteY309" fmla="*/ 33791 h 67881"/>
                          <a:gd name="connsiteX310" fmla="*/ 33910 w 51793"/>
                          <a:gd name="connsiteY310" fmla="*/ 34808 h 67881"/>
                          <a:gd name="connsiteX311" fmla="*/ 31219 w 51793"/>
                          <a:gd name="connsiteY311" fmla="*/ 30143 h 67881"/>
                          <a:gd name="connsiteX312" fmla="*/ 26973 w 51793"/>
                          <a:gd name="connsiteY312" fmla="*/ 16626 h 67881"/>
                          <a:gd name="connsiteX313" fmla="*/ 26016 w 51793"/>
                          <a:gd name="connsiteY313" fmla="*/ 18062 h 67881"/>
                          <a:gd name="connsiteX314" fmla="*/ 28588 w 51793"/>
                          <a:gd name="connsiteY314" fmla="*/ 16327 h 67881"/>
                          <a:gd name="connsiteX315" fmla="*/ 26973 w 51793"/>
                          <a:gd name="connsiteY315" fmla="*/ 16626 h 67881"/>
                          <a:gd name="connsiteX316" fmla="*/ 29425 w 51793"/>
                          <a:gd name="connsiteY316" fmla="*/ 16148 h 67881"/>
                          <a:gd name="connsiteX317" fmla="*/ 26255 w 51793"/>
                          <a:gd name="connsiteY317" fmla="*/ 18301 h 67881"/>
                          <a:gd name="connsiteX318" fmla="*/ 34210 w 51793"/>
                          <a:gd name="connsiteY318" fmla="*/ 16387 h 67881"/>
                          <a:gd name="connsiteX319" fmla="*/ 29425 w 51793"/>
                          <a:gd name="connsiteY319" fmla="*/ 16148 h 67881"/>
                          <a:gd name="connsiteX320" fmla="*/ 37380 w 51793"/>
                          <a:gd name="connsiteY320" fmla="*/ 40310 h 67881"/>
                          <a:gd name="connsiteX321" fmla="*/ 35585 w 51793"/>
                          <a:gd name="connsiteY321" fmla="*/ 41147 h 67881"/>
                          <a:gd name="connsiteX322" fmla="*/ 38755 w 51793"/>
                          <a:gd name="connsiteY322" fmla="*/ 44198 h 67881"/>
                          <a:gd name="connsiteX323" fmla="*/ 37380 w 51793"/>
                          <a:gd name="connsiteY323" fmla="*/ 40310 h 67881"/>
                          <a:gd name="connsiteX324" fmla="*/ 34509 w 51793"/>
                          <a:gd name="connsiteY324" fmla="*/ 35705 h 67881"/>
                          <a:gd name="connsiteX325" fmla="*/ 34389 w 51793"/>
                          <a:gd name="connsiteY325" fmla="*/ 37918 h 67881"/>
                          <a:gd name="connsiteX326" fmla="*/ 36960 w 51793"/>
                          <a:gd name="connsiteY326" fmla="*/ 39473 h 67881"/>
                          <a:gd name="connsiteX327" fmla="*/ 34509 w 51793"/>
                          <a:gd name="connsiteY327" fmla="*/ 35705 h 67881"/>
                          <a:gd name="connsiteX328" fmla="*/ 28647 w 51793"/>
                          <a:gd name="connsiteY328" fmla="*/ 22009 h 67881"/>
                          <a:gd name="connsiteX329" fmla="*/ 31040 w 51793"/>
                          <a:gd name="connsiteY329" fmla="*/ 29126 h 67881"/>
                          <a:gd name="connsiteX330" fmla="*/ 44018 w 51793"/>
                          <a:gd name="connsiteY330" fmla="*/ 23803 h 67881"/>
                          <a:gd name="connsiteX331" fmla="*/ 28647 w 51793"/>
                          <a:gd name="connsiteY331" fmla="*/ 22009 h 67881"/>
                          <a:gd name="connsiteX332" fmla="*/ 40130 w 51793"/>
                          <a:gd name="connsiteY332" fmla="*/ 33612 h 67881"/>
                          <a:gd name="connsiteX333" fmla="*/ 31399 w 51793"/>
                          <a:gd name="connsiteY333" fmla="*/ 29724 h 67881"/>
                          <a:gd name="connsiteX334" fmla="*/ 34509 w 51793"/>
                          <a:gd name="connsiteY334" fmla="*/ 35047 h 67881"/>
                          <a:gd name="connsiteX335" fmla="*/ 38994 w 51793"/>
                          <a:gd name="connsiteY335" fmla="*/ 36303 h 67881"/>
                          <a:gd name="connsiteX336" fmla="*/ 40130 w 51793"/>
                          <a:gd name="connsiteY336" fmla="*/ 33612 h 67881"/>
                          <a:gd name="connsiteX337" fmla="*/ 44376 w 51793"/>
                          <a:gd name="connsiteY337" fmla="*/ 23983 h 67881"/>
                          <a:gd name="connsiteX338" fmla="*/ 31399 w 51793"/>
                          <a:gd name="connsiteY338" fmla="*/ 29306 h 67881"/>
                          <a:gd name="connsiteX339" fmla="*/ 40250 w 51793"/>
                          <a:gd name="connsiteY339" fmla="*/ 33253 h 67881"/>
                          <a:gd name="connsiteX340" fmla="*/ 44376 w 51793"/>
                          <a:gd name="connsiteY340" fmla="*/ 23983 h 67881"/>
                          <a:gd name="connsiteX341" fmla="*/ 35465 w 51793"/>
                          <a:gd name="connsiteY341" fmla="*/ 16507 h 67881"/>
                          <a:gd name="connsiteX342" fmla="*/ 28887 w 51793"/>
                          <a:gd name="connsiteY342" fmla="*/ 21710 h 67881"/>
                          <a:gd name="connsiteX343" fmla="*/ 44376 w 51793"/>
                          <a:gd name="connsiteY343" fmla="*/ 23504 h 67881"/>
                          <a:gd name="connsiteX344" fmla="*/ 39353 w 51793"/>
                          <a:gd name="connsiteY344" fmla="*/ 17225 h 67881"/>
                          <a:gd name="connsiteX345" fmla="*/ 35465 w 51793"/>
                          <a:gd name="connsiteY345" fmla="*/ 16507 h 67881"/>
                          <a:gd name="connsiteX346" fmla="*/ 38815 w 51793"/>
                          <a:gd name="connsiteY346" fmla="*/ 36602 h 67881"/>
                          <a:gd name="connsiteX347" fmla="*/ 34748 w 51793"/>
                          <a:gd name="connsiteY347" fmla="*/ 35466 h 67881"/>
                          <a:gd name="connsiteX348" fmla="*/ 37439 w 51793"/>
                          <a:gd name="connsiteY348" fmla="*/ 39652 h 67881"/>
                          <a:gd name="connsiteX349" fmla="*/ 38815 w 51793"/>
                          <a:gd name="connsiteY349" fmla="*/ 36602 h 67881"/>
                          <a:gd name="connsiteX350" fmla="*/ 28408 w 51793"/>
                          <a:gd name="connsiteY350" fmla="*/ 14473 h 67881"/>
                          <a:gd name="connsiteX351" fmla="*/ 27212 w 51793"/>
                          <a:gd name="connsiteY351" fmla="*/ 16208 h 67881"/>
                          <a:gd name="connsiteX352" fmla="*/ 29066 w 51793"/>
                          <a:gd name="connsiteY352" fmla="*/ 15849 h 67881"/>
                          <a:gd name="connsiteX353" fmla="*/ 28408 w 51793"/>
                          <a:gd name="connsiteY353" fmla="*/ 14473 h 67881"/>
                          <a:gd name="connsiteX354" fmla="*/ 37858 w 51793"/>
                          <a:gd name="connsiteY354" fmla="*/ 40669 h 67881"/>
                          <a:gd name="connsiteX355" fmla="*/ 39173 w 51793"/>
                          <a:gd name="connsiteY355" fmla="*/ 44497 h 67881"/>
                          <a:gd name="connsiteX356" fmla="*/ 40430 w 51793"/>
                          <a:gd name="connsiteY356" fmla="*/ 43301 h 67881"/>
                          <a:gd name="connsiteX357" fmla="*/ 37858 w 51793"/>
                          <a:gd name="connsiteY357" fmla="*/ 40669 h 67881"/>
                          <a:gd name="connsiteX358" fmla="*/ 42045 w 51793"/>
                          <a:gd name="connsiteY358" fmla="*/ 44975 h 67881"/>
                          <a:gd name="connsiteX359" fmla="*/ 39353 w 51793"/>
                          <a:gd name="connsiteY359" fmla="*/ 44975 h 67881"/>
                          <a:gd name="connsiteX360" fmla="*/ 41745 w 51793"/>
                          <a:gd name="connsiteY360" fmla="*/ 49820 h 67881"/>
                          <a:gd name="connsiteX361" fmla="*/ 50956 w 51793"/>
                          <a:gd name="connsiteY361" fmla="*/ 54066 h 67881"/>
                          <a:gd name="connsiteX362" fmla="*/ 42045 w 51793"/>
                          <a:gd name="connsiteY362" fmla="*/ 44975 h 67881"/>
                          <a:gd name="connsiteX363" fmla="*/ 40668 w 51793"/>
                          <a:gd name="connsiteY363" fmla="*/ 43540 h 67881"/>
                          <a:gd name="connsiteX364" fmla="*/ 39532 w 51793"/>
                          <a:gd name="connsiteY364" fmla="*/ 44616 h 67881"/>
                          <a:gd name="connsiteX365" fmla="*/ 41685 w 51793"/>
                          <a:gd name="connsiteY365" fmla="*/ 44616 h 67881"/>
                          <a:gd name="connsiteX366" fmla="*/ 40668 w 51793"/>
                          <a:gd name="connsiteY366" fmla="*/ 43540 h 67881"/>
                          <a:gd name="connsiteX367" fmla="*/ 42403 w 51793"/>
                          <a:gd name="connsiteY367" fmla="*/ 37619 h 67881"/>
                          <a:gd name="connsiteX368" fmla="*/ 37918 w 51793"/>
                          <a:gd name="connsiteY368" fmla="*/ 40011 h 67881"/>
                          <a:gd name="connsiteX369" fmla="*/ 42343 w 51793"/>
                          <a:gd name="connsiteY369" fmla="*/ 41506 h 67881"/>
                          <a:gd name="connsiteX370" fmla="*/ 45991 w 51793"/>
                          <a:gd name="connsiteY370" fmla="*/ 37978 h 67881"/>
                          <a:gd name="connsiteX371" fmla="*/ 42403 w 51793"/>
                          <a:gd name="connsiteY371" fmla="*/ 37619 h 67881"/>
                          <a:gd name="connsiteX372" fmla="*/ 42045 w 51793"/>
                          <a:gd name="connsiteY372" fmla="*/ 41746 h 67881"/>
                          <a:gd name="connsiteX373" fmla="*/ 38037 w 51793"/>
                          <a:gd name="connsiteY373" fmla="*/ 40430 h 67881"/>
                          <a:gd name="connsiteX374" fmla="*/ 40609 w 51793"/>
                          <a:gd name="connsiteY374" fmla="*/ 43061 h 67881"/>
                          <a:gd name="connsiteX375" fmla="*/ 42045 w 51793"/>
                          <a:gd name="connsiteY375" fmla="*/ 41746 h 67881"/>
                          <a:gd name="connsiteX376" fmla="*/ 39113 w 51793"/>
                          <a:gd name="connsiteY376" fmla="*/ 36722 h 67881"/>
                          <a:gd name="connsiteX377" fmla="*/ 37798 w 51793"/>
                          <a:gd name="connsiteY377" fmla="*/ 39652 h 67881"/>
                          <a:gd name="connsiteX378" fmla="*/ 41865 w 51793"/>
                          <a:gd name="connsiteY378" fmla="*/ 37499 h 67881"/>
                          <a:gd name="connsiteX379" fmla="*/ 39113 w 51793"/>
                          <a:gd name="connsiteY379" fmla="*/ 36722 h 67881"/>
                          <a:gd name="connsiteX380" fmla="*/ 29186 w 51793"/>
                          <a:gd name="connsiteY380" fmla="*/ 12141 h 67881"/>
                          <a:gd name="connsiteX381" fmla="*/ 26853 w 51793"/>
                          <a:gd name="connsiteY381" fmla="*/ 10526 h 67881"/>
                          <a:gd name="connsiteX382" fmla="*/ 28408 w 51793"/>
                          <a:gd name="connsiteY382" fmla="*/ 13756 h 67881"/>
                          <a:gd name="connsiteX383" fmla="*/ 29126 w 51793"/>
                          <a:gd name="connsiteY383" fmla="*/ 12679 h 67881"/>
                          <a:gd name="connsiteX384" fmla="*/ 29186 w 51793"/>
                          <a:gd name="connsiteY384" fmla="*/ 12141 h 67881"/>
                          <a:gd name="connsiteX385" fmla="*/ 29246 w 51793"/>
                          <a:gd name="connsiteY385" fmla="*/ 8433 h 67881"/>
                          <a:gd name="connsiteX386" fmla="*/ 26794 w 51793"/>
                          <a:gd name="connsiteY386" fmla="*/ 10048 h 67881"/>
                          <a:gd name="connsiteX387" fmla="*/ 29246 w 51793"/>
                          <a:gd name="connsiteY387" fmla="*/ 11722 h 67881"/>
                          <a:gd name="connsiteX388" fmla="*/ 29246 w 51793"/>
                          <a:gd name="connsiteY388" fmla="*/ 8433 h 67881"/>
                          <a:gd name="connsiteX389" fmla="*/ 29306 w 51793"/>
                          <a:gd name="connsiteY389" fmla="*/ 1376 h 67881"/>
                          <a:gd name="connsiteX390" fmla="*/ 26794 w 51793"/>
                          <a:gd name="connsiteY390" fmla="*/ 9629 h 67881"/>
                          <a:gd name="connsiteX391" fmla="*/ 29246 w 51793"/>
                          <a:gd name="connsiteY391" fmla="*/ 8014 h 67881"/>
                          <a:gd name="connsiteX392" fmla="*/ 29306 w 51793"/>
                          <a:gd name="connsiteY392" fmla="*/ 1376 h 67881"/>
                          <a:gd name="connsiteX393" fmla="*/ 29186 w 51793"/>
                          <a:gd name="connsiteY393" fmla="*/ 13337 h 67881"/>
                          <a:gd name="connsiteX394" fmla="*/ 28647 w 51793"/>
                          <a:gd name="connsiteY394" fmla="*/ 14174 h 67881"/>
                          <a:gd name="connsiteX395" fmla="*/ 29186 w 51793"/>
                          <a:gd name="connsiteY395" fmla="*/ 15311 h 67881"/>
                          <a:gd name="connsiteX396" fmla="*/ 29186 w 51793"/>
                          <a:gd name="connsiteY396" fmla="*/ 13337 h 67881"/>
                          <a:gd name="connsiteX397" fmla="*/ 29544 w 51793"/>
                          <a:gd name="connsiteY397" fmla="*/ 12859 h 67881"/>
                          <a:gd name="connsiteX398" fmla="*/ 29544 w 51793"/>
                          <a:gd name="connsiteY398" fmla="*/ 15849 h 67881"/>
                          <a:gd name="connsiteX399" fmla="*/ 34867 w 51793"/>
                          <a:gd name="connsiteY399" fmla="*/ 16148 h 67881"/>
                          <a:gd name="connsiteX400" fmla="*/ 29784 w 51793"/>
                          <a:gd name="connsiteY400" fmla="*/ 12619 h 67881"/>
                          <a:gd name="connsiteX401" fmla="*/ 29544 w 51793"/>
                          <a:gd name="connsiteY401" fmla="*/ 12859 h 67881"/>
                          <a:gd name="connsiteX402" fmla="*/ 42403 w 51793"/>
                          <a:gd name="connsiteY402" fmla="*/ 41865 h 67881"/>
                          <a:gd name="connsiteX403" fmla="*/ 40908 w 51793"/>
                          <a:gd name="connsiteY403" fmla="*/ 43301 h 67881"/>
                          <a:gd name="connsiteX404" fmla="*/ 42164 w 51793"/>
                          <a:gd name="connsiteY404" fmla="*/ 44616 h 67881"/>
                          <a:gd name="connsiteX405" fmla="*/ 48324 w 51793"/>
                          <a:gd name="connsiteY405" fmla="*/ 44556 h 67881"/>
                          <a:gd name="connsiteX406" fmla="*/ 48085 w 51793"/>
                          <a:gd name="connsiteY406" fmla="*/ 43779 h 67881"/>
                          <a:gd name="connsiteX407" fmla="*/ 42403 w 51793"/>
                          <a:gd name="connsiteY407" fmla="*/ 41865 h 67881"/>
                          <a:gd name="connsiteX408" fmla="*/ 48444 w 51793"/>
                          <a:gd name="connsiteY408" fmla="*/ 44915 h 67881"/>
                          <a:gd name="connsiteX409" fmla="*/ 42523 w 51793"/>
                          <a:gd name="connsiteY409" fmla="*/ 44975 h 67881"/>
                          <a:gd name="connsiteX410" fmla="*/ 51374 w 51793"/>
                          <a:gd name="connsiteY410" fmla="*/ 53946 h 67881"/>
                          <a:gd name="connsiteX411" fmla="*/ 48444 w 51793"/>
                          <a:gd name="connsiteY411" fmla="*/ 44915 h 67881"/>
                          <a:gd name="connsiteX412" fmla="*/ 29544 w 51793"/>
                          <a:gd name="connsiteY412" fmla="*/ 8253 h 67881"/>
                          <a:gd name="connsiteX413" fmla="*/ 29544 w 51793"/>
                          <a:gd name="connsiteY413" fmla="*/ 12021 h 67881"/>
                          <a:gd name="connsiteX414" fmla="*/ 29664 w 51793"/>
                          <a:gd name="connsiteY414" fmla="*/ 12081 h 67881"/>
                          <a:gd name="connsiteX415" fmla="*/ 32296 w 51793"/>
                          <a:gd name="connsiteY415" fmla="*/ 8253 h 67881"/>
                          <a:gd name="connsiteX416" fmla="*/ 31757 w 51793"/>
                          <a:gd name="connsiteY416" fmla="*/ 6818 h 67881"/>
                          <a:gd name="connsiteX417" fmla="*/ 29544 w 51793"/>
                          <a:gd name="connsiteY417" fmla="*/ 8253 h 67881"/>
                          <a:gd name="connsiteX418" fmla="*/ 40430 w 51793"/>
                          <a:gd name="connsiteY418" fmla="*/ 33731 h 67881"/>
                          <a:gd name="connsiteX419" fmla="*/ 39233 w 51793"/>
                          <a:gd name="connsiteY419" fmla="*/ 36423 h 67881"/>
                          <a:gd name="connsiteX420" fmla="*/ 42224 w 51793"/>
                          <a:gd name="connsiteY420" fmla="*/ 37260 h 67881"/>
                          <a:gd name="connsiteX421" fmla="*/ 43241 w 51793"/>
                          <a:gd name="connsiteY421" fmla="*/ 34987 h 67881"/>
                          <a:gd name="connsiteX422" fmla="*/ 40430 w 51793"/>
                          <a:gd name="connsiteY422" fmla="*/ 33731 h 67881"/>
                          <a:gd name="connsiteX423" fmla="*/ 32415 w 51793"/>
                          <a:gd name="connsiteY423" fmla="*/ 8672 h 67881"/>
                          <a:gd name="connsiteX424" fmla="*/ 29963 w 51793"/>
                          <a:gd name="connsiteY424" fmla="*/ 12261 h 67881"/>
                          <a:gd name="connsiteX425" fmla="*/ 35107 w 51793"/>
                          <a:gd name="connsiteY425" fmla="*/ 15849 h 67881"/>
                          <a:gd name="connsiteX426" fmla="*/ 32415 w 51793"/>
                          <a:gd name="connsiteY426" fmla="*/ 8672 h 67881"/>
                          <a:gd name="connsiteX427" fmla="*/ 46291 w 51793"/>
                          <a:gd name="connsiteY427" fmla="*/ 38157 h 67881"/>
                          <a:gd name="connsiteX428" fmla="*/ 42702 w 51793"/>
                          <a:gd name="connsiteY428" fmla="*/ 41626 h 67881"/>
                          <a:gd name="connsiteX429" fmla="*/ 47966 w 51793"/>
                          <a:gd name="connsiteY429" fmla="*/ 43360 h 67881"/>
                          <a:gd name="connsiteX430" fmla="*/ 46291 w 51793"/>
                          <a:gd name="connsiteY430" fmla="*/ 38157 h 67881"/>
                          <a:gd name="connsiteX431" fmla="*/ 29604 w 51793"/>
                          <a:gd name="connsiteY431" fmla="*/ 1136 h 67881"/>
                          <a:gd name="connsiteX432" fmla="*/ 29544 w 51793"/>
                          <a:gd name="connsiteY432" fmla="*/ 7835 h 67881"/>
                          <a:gd name="connsiteX433" fmla="*/ 31578 w 51793"/>
                          <a:gd name="connsiteY433" fmla="*/ 6519 h 67881"/>
                          <a:gd name="connsiteX434" fmla="*/ 29604 w 51793"/>
                          <a:gd name="connsiteY434" fmla="*/ 1136 h 67881"/>
                          <a:gd name="connsiteX435" fmla="*/ 44436 w 51793"/>
                          <a:gd name="connsiteY435" fmla="*/ 24760 h 67881"/>
                          <a:gd name="connsiteX436" fmla="*/ 40609 w 51793"/>
                          <a:gd name="connsiteY436" fmla="*/ 33432 h 67881"/>
                          <a:gd name="connsiteX437" fmla="*/ 43420 w 51793"/>
                          <a:gd name="connsiteY437" fmla="*/ 34688 h 67881"/>
                          <a:gd name="connsiteX438" fmla="*/ 44436 w 51793"/>
                          <a:gd name="connsiteY438" fmla="*/ 24760 h 67881"/>
                          <a:gd name="connsiteX439" fmla="*/ 43659 w 51793"/>
                          <a:gd name="connsiteY439" fmla="*/ 35047 h 67881"/>
                          <a:gd name="connsiteX440" fmla="*/ 42583 w 51793"/>
                          <a:gd name="connsiteY440" fmla="*/ 37320 h 67881"/>
                          <a:gd name="connsiteX441" fmla="*/ 46171 w 51793"/>
                          <a:gd name="connsiteY441" fmla="*/ 37679 h 67881"/>
                          <a:gd name="connsiteX442" fmla="*/ 45932 w 51793"/>
                          <a:gd name="connsiteY442" fmla="*/ 32894 h 67881"/>
                          <a:gd name="connsiteX443" fmla="*/ 43659 w 51793"/>
                          <a:gd name="connsiteY443" fmla="*/ 35047 h 67881"/>
                          <a:gd name="connsiteX444" fmla="*/ 32655 w 51793"/>
                          <a:gd name="connsiteY444" fmla="*/ 8313 h 67881"/>
                          <a:gd name="connsiteX445" fmla="*/ 35465 w 51793"/>
                          <a:gd name="connsiteY445" fmla="*/ 15909 h 67881"/>
                          <a:gd name="connsiteX446" fmla="*/ 36722 w 51793"/>
                          <a:gd name="connsiteY446" fmla="*/ 13815 h 67881"/>
                          <a:gd name="connsiteX447" fmla="*/ 35047 w 51793"/>
                          <a:gd name="connsiteY447" fmla="*/ 4844 h 67881"/>
                          <a:gd name="connsiteX448" fmla="*/ 32655 w 51793"/>
                          <a:gd name="connsiteY448" fmla="*/ 8313 h 67881"/>
                          <a:gd name="connsiteX449" fmla="*/ 36901 w 51793"/>
                          <a:gd name="connsiteY449" fmla="*/ 14174 h 67881"/>
                          <a:gd name="connsiteX450" fmla="*/ 35705 w 51793"/>
                          <a:gd name="connsiteY450" fmla="*/ 16208 h 67881"/>
                          <a:gd name="connsiteX451" fmla="*/ 39054 w 51793"/>
                          <a:gd name="connsiteY451" fmla="*/ 16806 h 67881"/>
                          <a:gd name="connsiteX452" fmla="*/ 36901 w 51793"/>
                          <a:gd name="connsiteY452" fmla="*/ 14174 h 67881"/>
                          <a:gd name="connsiteX453" fmla="*/ 31997 w 51793"/>
                          <a:gd name="connsiteY453" fmla="*/ 6639 h 67881"/>
                          <a:gd name="connsiteX454" fmla="*/ 32475 w 51793"/>
                          <a:gd name="connsiteY454" fmla="*/ 7895 h 67881"/>
                          <a:gd name="connsiteX455" fmla="*/ 34449 w 51793"/>
                          <a:gd name="connsiteY455" fmla="*/ 5024 h 67881"/>
                          <a:gd name="connsiteX456" fmla="*/ 31997 w 51793"/>
                          <a:gd name="connsiteY456" fmla="*/ 6639 h 67881"/>
                          <a:gd name="connsiteX457" fmla="*/ 29844 w 51793"/>
                          <a:gd name="connsiteY457" fmla="*/ 718 h 67881"/>
                          <a:gd name="connsiteX458" fmla="*/ 31937 w 51793"/>
                          <a:gd name="connsiteY458" fmla="*/ 6340 h 67881"/>
                          <a:gd name="connsiteX459" fmla="*/ 34867 w 51793"/>
                          <a:gd name="connsiteY459" fmla="*/ 4426 h 67881"/>
                          <a:gd name="connsiteX460" fmla="*/ 29844 w 51793"/>
                          <a:gd name="connsiteY460" fmla="*/ 718 h 67881"/>
                          <a:gd name="connsiteX461" fmla="*/ 44736 w 51793"/>
                          <a:gd name="connsiteY461" fmla="*/ 25000 h 67881"/>
                          <a:gd name="connsiteX462" fmla="*/ 43719 w 51793"/>
                          <a:gd name="connsiteY462" fmla="*/ 34509 h 67881"/>
                          <a:gd name="connsiteX463" fmla="*/ 45872 w 51793"/>
                          <a:gd name="connsiteY463" fmla="*/ 32475 h 67881"/>
                          <a:gd name="connsiteX464" fmla="*/ 44736 w 51793"/>
                          <a:gd name="connsiteY464" fmla="*/ 25000 h 67881"/>
                          <a:gd name="connsiteX465" fmla="*/ 48803 w 51793"/>
                          <a:gd name="connsiteY465" fmla="*/ 44915 h 67881"/>
                          <a:gd name="connsiteX466" fmla="*/ 51494 w 51793"/>
                          <a:gd name="connsiteY466" fmla="*/ 53408 h 67881"/>
                          <a:gd name="connsiteX467" fmla="*/ 51254 w 51793"/>
                          <a:gd name="connsiteY467" fmla="*/ 44915 h 67881"/>
                          <a:gd name="connsiteX468" fmla="*/ 48803 w 51793"/>
                          <a:gd name="connsiteY468" fmla="*/ 44915 h 67881"/>
                          <a:gd name="connsiteX469" fmla="*/ 48504 w 51793"/>
                          <a:gd name="connsiteY469" fmla="*/ 43898 h 67881"/>
                          <a:gd name="connsiteX470" fmla="*/ 48743 w 51793"/>
                          <a:gd name="connsiteY470" fmla="*/ 44556 h 67881"/>
                          <a:gd name="connsiteX471" fmla="*/ 50477 w 51793"/>
                          <a:gd name="connsiteY471" fmla="*/ 44556 h 67881"/>
                          <a:gd name="connsiteX472" fmla="*/ 48504 w 51793"/>
                          <a:gd name="connsiteY472" fmla="*/ 43898 h 67881"/>
                          <a:gd name="connsiteX473" fmla="*/ 46829 w 51793"/>
                          <a:gd name="connsiteY473" fmla="*/ 38755 h 67881"/>
                          <a:gd name="connsiteX474" fmla="*/ 48324 w 51793"/>
                          <a:gd name="connsiteY474" fmla="*/ 43480 h 67881"/>
                          <a:gd name="connsiteX475" fmla="*/ 50956 w 51793"/>
                          <a:gd name="connsiteY475" fmla="*/ 44377 h 67881"/>
                          <a:gd name="connsiteX476" fmla="*/ 46829 w 51793"/>
                          <a:gd name="connsiteY476" fmla="*/ 38755 h 67881"/>
                          <a:gd name="connsiteX477" fmla="*/ 43241 w 51793"/>
                          <a:gd name="connsiteY477" fmla="*/ 17583 h 67881"/>
                          <a:gd name="connsiteX478" fmla="*/ 40130 w 51793"/>
                          <a:gd name="connsiteY478" fmla="*/ 16148 h 67881"/>
                          <a:gd name="connsiteX479" fmla="*/ 37678 w 51793"/>
                          <a:gd name="connsiteY479" fmla="*/ 14593 h 67881"/>
                          <a:gd name="connsiteX480" fmla="*/ 39532 w 51793"/>
                          <a:gd name="connsiteY480" fmla="*/ 16926 h 67881"/>
                          <a:gd name="connsiteX481" fmla="*/ 43241 w 51793"/>
                          <a:gd name="connsiteY481" fmla="*/ 17583 h 67881"/>
                          <a:gd name="connsiteX482" fmla="*/ 46291 w 51793"/>
                          <a:gd name="connsiteY482" fmla="*/ 32535 h 67881"/>
                          <a:gd name="connsiteX483" fmla="*/ 46530 w 51793"/>
                          <a:gd name="connsiteY483" fmla="*/ 36602 h 67881"/>
                          <a:gd name="connsiteX484" fmla="*/ 48264 w 51793"/>
                          <a:gd name="connsiteY484" fmla="*/ 28708 h 67881"/>
                          <a:gd name="connsiteX485" fmla="*/ 46291 w 51793"/>
                          <a:gd name="connsiteY485" fmla="*/ 32535 h 67881"/>
                          <a:gd name="connsiteX486" fmla="*/ 44376 w 51793"/>
                          <a:gd name="connsiteY486" fmla="*/ 18122 h 67881"/>
                          <a:gd name="connsiteX487" fmla="*/ 39832 w 51793"/>
                          <a:gd name="connsiteY487" fmla="*/ 17284 h 67881"/>
                          <a:gd name="connsiteX488" fmla="*/ 44556 w 51793"/>
                          <a:gd name="connsiteY488" fmla="*/ 23146 h 67881"/>
                          <a:gd name="connsiteX489" fmla="*/ 44376 w 51793"/>
                          <a:gd name="connsiteY489" fmla="*/ 18122 h 67881"/>
                          <a:gd name="connsiteX490" fmla="*/ 44975 w 51793"/>
                          <a:gd name="connsiteY490" fmla="*/ 24162 h 67881"/>
                          <a:gd name="connsiteX491" fmla="*/ 46171 w 51793"/>
                          <a:gd name="connsiteY491" fmla="*/ 31997 h 67881"/>
                          <a:gd name="connsiteX492" fmla="*/ 48444 w 51793"/>
                          <a:gd name="connsiteY492" fmla="*/ 27451 h 67881"/>
                          <a:gd name="connsiteX493" fmla="*/ 44975 w 51793"/>
                          <a:gd name="connsiteY493" fmla="*/ 24162 h 67881"/>
                          <a:gd name="connsiteX494" fmla="*/ 44736 w 51793"/>
                          <a:gd name="connsiteY494" fmla="*/ 18839 h 67881"/>
                          <a:gd name="connsiteX495" fmla="*/ 44915 w 51793"/>
                          <a:gd name="connsiteY495" fmla="*/ 23564 h 67881"/>
                          <a:gd name="connsiteX496" fmla="*/ 48204 w 51793"/>
                          <a:gd name="connsiteY496" fmla="*/ 26674 h 67881"/>
                          <a:gd name="connsiteX497" fmla="*/ 44736 w 51793"/>
                          <a:gd name="connsiteY497" fmla="*/ 18839 h 6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Lst>
                        <a:rect l="l" t="t" r="r" b="b"/>
                        <a:pathLst>
                          <a:path w="51793" h="67881">
                            <a:moveTo>
                              <a:pt x="4964" y="48444"/>
                            </a:moveTo>
                            <a:lnTo>
                              <a:pt x="6279" y="42583"/>
                            </a:lnTo>
                            <a:lnTo>
                              <a:pt x="3409" y="36662"/>
                            </a:lnTo>
                            <a:lnTo>
                              <a:pt x="3409" y="36662"/>
                            </a:lnTo>
                            <a:lnTo>
                              <a:pt x="3409" y="36662"/>
                            </a:lnTo>
                            <a:lnTo>
                              <a:pt x="0" y="29425"/>
                            </a:lnTo>
                            <a:lnTo>
                              <a:pt x="0" y="29306"/>
                            </a:lnTo>
                            <a:lnTo>
                              <a:pt x="1734" y="23743"/>
                            </a:lnTo>
                            <a:lnTo>
                              <a:pt x="1794" y="23743"/>
                            </a:lnTo>
                            <a:lnTo>
                              <a:pt x="1794" y="23624"/>
                            </a:lnTo>
                            <a:lnTo>
                              <a:pt x="7775" y="21112"/>
                            </a:lnTo>
                            <a:lnTo>
                              <a:pt x="7894" y="21112"/>
                            </a:lnTo>
                            <a:lnTo>
                              <a:pt x="12200" y="22727"/>
                            </a:lnTo>
                            <a:lnTo>
                              <a:pt x="22607" y="18660"/>
                            </a:lnTo>
                            <a:lnTo>
                              <a:pt x="24221" y="16806"/>
                            </a:lnTo>
                            <a:lnTo>
                              <a:pt x="24341" y="16746"/>
                            </a:lnTo>
                            <a:lnTo>
                              <a:pt x="26734" y="16268"/>
                            </a:lnTo>
                            <a:lnTo>
                              <a:pt x="28229" y="14055"/>
                            </a:lnTo>
                            <a:lnTo>
                              <a:pt x="26315" y="10048"/>
                            </a:lnTo>
                            <a:lnTo>
                              <a:pt x="26375" y="9988"/>
                            </a:lnTo>
                            <a:lnTo>
                              <a:pt x="26315" y="9928"/>
                            </a:lnTo>
                            <a:lnTo>
                              <a:pt x="29306" y="120"/>
                            </a:lnTo>
                            <a:lnTo>
                              <a:pt x="29425" y="120"/>
                            </a:lnTo>
                            <a:lnTo>
                              <a:pt x="29544" y="0"/>
                            </a:lnTo>
                            <a:lnTo>
                              <a:pt x="35167" y="4246"/>
                            </a:lnTo>
                            <a:lnTo>
                              <a:pt x="35167" y="4366"/>
                            </a:lnTo>
                            <a:lnTo>
                              <a:pt x="35227" y="4366"/>
                            </a:lnTo>
                            <a:lnTo>
                              <a:pt x="36960" y="13696"/>
                            </a:lnTo>
                            <a:lnTo>
                              <a:pt x="40190" y="15789"/>
                            </a:lnTo>
                            <a:lnTo>
                              <a:pt x="44556" y="17823"/>
                            </a:lnTo>
                            <a:lnTo>
                              <a:pt x="44496" y="17942"/>
                            </a:lnTo>
                            <a:lnTo>
                              <a:pt x="44616" y="17942"/>
                            </a:lnTo>
                            <a:lnTo>
                              <a:pt x="48743" y="27332"/>
                            </a:lnTo>
                            <a:lnTo>
                              <a:pt x="48623" y="27392"/>
                            </a:lnTo>
                            <a:lnTo>
                              <a:pt x="48743" y="27451"/>
                            </a:lnTo>
                            <a:lnTo>
                              <a:pt x="46470" y="37858"/>
                            </a:lnTo>
                            <a:lnTo>
                              <a:pt x="51494" y="44616"/>
                            </a:lnTo>
                            <a:lnTo>
                              <a:pt x="51494" y="44676"/>
                            </a:lnTo>
                            <a:lnTo>
                              <a:pt x="51554" y="44736"/>
                            </a:lnTo>
                            <a:lnTo>
                              <a:pt x="51793" y="54604"/>
                            </a:lnTo>
                            <a:lnTo>
                              <a:pt x="51674" y="54604"/>
                            </a:lnTo>
                            <a:lnTo>
                              <a:pt x="51614" y="54724"/>
                            </a:lnTo>
                            <a:lnTo>
                              <a:pt x="41506" y="50118"/>
                            </a:lnTo>
                            <a:lnTo>
                              <a:pt x="41446" y="50059"/>
                            </a:lnTo>
                            <a:lnTo>
                              <a:pt x="38994" y="45095"/>
                            </a:lnTo>
                            <a:lnTo>
                              <a:pt x="33133" y="47308"/>
                            </a:lnTo>
                            <a:lnTo>
                              <a:pt x="23564" y="48564"/>
                            </a:lnTo>
                            <a:lnTo>
                              <a:pt x="21830" y="50537"/>
                            </a:lnTo>
                            <a:lnTo>
                              <a:pt x="21590" y="50298"/>
                            </a:lnTo>
                            <a:lnTo>
                              <a:pt x="22666" y="48623"/>
                            </a:lnTo>
                            <a:lnTo>
                              <a:pt x="18480" y="49162"/>
                            </a:lnTo>
                            <a:lnTo>
                              <a:pt x="15310" y="51374"/>
                            </a:lnTo>
                            <a:lnTo>
                              <a:pt x="17822" y="67762"/>
                            </a:lnTo>
                            <a:lnTo>
                              <a:pt x="17523" y="67881"/>
                            </a:lnTo>
                            <a:lnTo>
                              <a:pt x="9509" y="49879"/>
                            </a:lnTo>
                            <a:lnTo>
                              <a:pt x="5083" y="48623"/>
                            </a:lnTo>
                            <a:lnTo>
                              <a:pt x="5083" y="48564"/>
                            </a:lnTo>
                            <a:lnTo>
                              <a:pt x="4964" y="48444"/>
                            </a:lnTo>
                            <a:close/>
                            <a:moveTo>
                              <a:pt x="7596" y="45633"/>
                            </a:moveTo>
                            <a:lnTo>
                              <a:pt x="5443" y="48324"/>
                            </a:lnTo>
                            <a:lnTo>
                              <a:pt x="8851" y="48444"/>
                            </a:lnTo>
                            <a:lnTo>
                              <a:pt x="7596" y="45633"/>
                            </a:lnTo>
                            <a:close/>
                            <a:moveTo>
                              <a:pt x="6459" y="43061"/>
                            </a:moveTo>
                            <a:lnTo>
                              <a:pt x="5443" y="47786"/>
                            </a:lnTo>
                            <a:lnTo>
                              <a:pt x="7476" y="45274"/>
                            </a:lnTo>
                            <a:lnTo>
                              <a:pt x="6459" y="43061"/>
                            </a:lnTo>
                            <a:close/>
                            <a:moveTo>
                              <a:pt x="9031" y="48803"/>
                            </a:moveTo>
                            <a:lnTo>
                              <a:pt x="6579" y="48683"/>
                            </a:lnTo>
                            <a:lnTo>
                              <a:pt x="9330" y="49461"/>
                            </a:lnTo>
                            <a:lnTo>
                              <a:pt x="9031" y="48803"/>
                            </a:lnTo>
                            <a:close/>
                            <a:moveTo>
                              <a:pt x="2631" y="31100"/>
                            </a:moveTo>
                            <a:lnTo>
                              <a:pt x="478" y="29784"/>
                            </a:lnTo>
                            <a:lnTo>
                              <a:pt x="3229" y="35526"/>
                            </a:lnTo>
                            <a:lnTo>
                              <a:pt x="2631" y="31100"/>
                            </a:lnTo>
                            <a:close/>
                            <a:moveTo>
                              <a:pt x="2213" y="27811"/>
                            </a:moveTo>
                            <a:lnTo>
                              <a:pt x="418" y="29306"/>
                            </a:lnTo>
                            <a:lnTo>
                              <a:pt x="2631" y="30681"/>
                            </a:lnTo>
                            <a:lnTo>
                              <a:pt x="2213" y="27811"/>
                            </a:lnTo>
                            <a:close/>
                            <a:moveTo>
                              <a:pt x="1794" y="24581"/>
                            </a:moveTo>
                            <a:lnTo>
                              <a:pt x="418" y="28827"/>
                            </a:lnTo>
                            <a:lnTo>
                              <a:pt x="2153" y="27392"/>
                            </a:lnTo>
                            <a:lnTo>
                              <a:pt x="1794" y="24581"/>
                            </a:lnTo>
                            <a:close/>
                            <a:moveTo>
                              <a:pt x="2990" y="31339"/>
                            </a:moveTo>
                            <a:lnTo>
                              <a:pt x="3648" y="36303"/>
                            </a:lnTo>
                            <a:lnTo>
                              <a:pt x="6997" y="33851"/>
                            </a:lnTo>
                            <a:lnTo>
                              <a:pt x="2990" y="31339"/>
                            </a:lnTo>
                            <a:close/>
                            <a:moveTo>
                              <a:pt x="7416" y="33971"/>
                            </a:moveTo>
                            <a:lnTo>
                              <a:pt x="3828" y="36602"/>
                            </a:lnTo>
                            <a:lnTo>
                              <a:pt x="10167" y="41865"/>
                            </a:lnTo>
                            <a:lnTo>
                              <a:pt x="13397" y="37798"/>
                            </a:lnTo>
                            <a:lnTo>
                              <a:pt x="11782" y="34090"/>
                            </a:lnTo>
                            <a:lnTo>
                              <a:pt x="7416" y="33971"/>
                            </a:lnTo>
                            <a:close/>
                            <a:moveTo>
                              <a:pt x="8851" y="43540"/>
                            </a:moveTo>
                            <a:lnTo>
                              <a:pt x="4366" y="37858"/>
                            </a:lnTo>
                            <a:lnTo>
                              <a:pt x="6579" y="42403"/>
                            </a:lnTo>
                            <a:lnTo>
                              <a:pt x="8791" y="43600"/>
                            </a:lnTo>
                            <a:lnTo>
                              <a:pt x="8851" y="43540"/>
                            </a:lnTo>
                            <a:close/>
                            <a:moveTo>
                              <a:pt x="9987" y="42104"/>
                            </a:moveTo>
                            <a:lnTo>
                              <a:pt x="4665" y="37679"/>
                            </a:lnTo>
                            <a:lnTo>
                              <a:pt x="9031" y="43241"/>
                            </a:lnTo>
                            <a:lnTo>
                              <a:pt x="9987" y="42104"/>
                            </a:lnTo>
                            <a:close/>
                            <a:moveTo>
                              <a:pt x="8552" y="43898"/>
                            </a:moveTo>
                            <a:lnTo>
                              <a:pt x="6758" y="42942"/>
                            </a:lnTo>
                            <a:lnTo>
                              <a:pt x="7656" y="44975"/>
                            </a:lnTo>
                            <a:lnTo>
                              <a:pt x="8552" y="43898"/>
                            </a:lnTo>
                            <a:close/>
                            <a:moveTo>
                              <a:pt x="8911" y="44018"/>
                            </a:moveTo>
                            <a:lnTo>
                              <a:pt x="7894" y="45274"/>
                            </a:lnTo>
                            <a:lnTo>
                              <a:pt x="9270" y="48384"/>
                            </a:lnTo>
                            <a:lnTo>
                              <a:pt x="12859" y="48504"/>
                            </a:lnTo>
                            <a:lnTo>
                              <a:pt x="9509" y="44317"/>
                            </a:lnTo>
                            <a:lnTo>
                              <a:pt x="8911" y="44018"/>
                            </a:lnTo>
                            <a:close/>
                            <a:moveTo>
                              <a:pt x="13157" y="48982"/>
                            </a:moveTo>
                            <a:lnTo>
                              <a:pt x="9449" y="48863"/>
                            </a:lnTo>
                            <a:lnTo>
                              <a:pt x="9808" y="49640"/>
                            </a:lnTo>
                            <a:lnTo>
                              <a:pt x="14772" y="51016"/>
                            </a:lnTo>
                            <a:lnTo>
                              <a:pt x="13157" y="48982"/>
                            </a:lnTo>
                            <a:close/>
                            <a:moveTo>
                              <a:pt x="15072" y="51434"/>
                            </a:moveTo>
                            <a:lnTo>
                              <a:pt x="9987" y="49999"/>
                            </a:lnTo>
                            <a:lnTo>
                              <a:pt x="17404" y="66625"/>
                            </a:lnTo>
                            <a:lnTo>
                              <a:pt x="15072" y="51434"/>
                            </a:lnTo>
                            <a:close/>
                            <a:moveTo>
                              <a:pt x="2511" y="27511"/>
                            </a:moveTo>
                            <a:lnTo>
                              <a:pt x="2930" y="30861"/>
                            </a:lnTo>
                            <a:lnTo>
                              <a:pt x="7117" y="33432"/>
                            </a:lnTo>
                            <a:lnTo>
                              <a:pt x="6579" y="26854"/>
                            </a:lnTo>
                            <a:lnTo>
                              <a:pt x="4665" y="25657"/>
                            </a:lnTo>
                            <a:lnTo>
                              <a:pt x="2511" y="27511"/>
                            </a:lnTo>
                            <a:close/>
                            <a:moveTo>
                              <a:pt x="2093" y="24102"/>
                            </a:moveTo>
                            <a:lnTo>
                              <a:pt x="2511" y="27153"/>
                            </a:lnTo>
                            <a:lnTo>
                              <a:pt x="4426" y="25538"/>
                            </a:lnTo>
                            <a:lnTo>
                              <a:pt x="2093" y="24102"/>
                            </a:lnTo>
                            <a:close/>
                            <a:moveTo>
                              <a:pt x="10227" y="42344"/>
                            </a:moveTo>
                            <a:lnTo>
                              <a:pt x="9270" y="43540"/>
                            </a:lnTo>
                            <a:lnTo>
                              <a:pt x="9749" y="44078"/>
                            </a:lnTo>
                            <a:lnTo>
                              <a:pt x="17105" y="48025"/>
                            </a:lnTo>
                            <a:lnTo>
                              <a:pt x="10227" y="42344"/>
                            </a:lnTo>
                            <a:close/>
                            <a:moveTo>
                              <a:pt x="17763" y="48803"/>
                            </a:moveTo>
                            <a:lnTo>
                              <a:pt x="10287" y="44796"/>
                            </a:lnTo>
                            <a:lnTo>
                              <a:pt x="13337" y="48623"/>
                            </a:lnTo>
                            <a:lnTo>
                              <a:pt x="17763" y="48803"/>
                            </a:lnTo>
                            <a:close/>
                            <a:moveTo>
                              <a:pt x="7476" y="21590"/>
                            </a:moveTo>
                            <a:lnTo>
                              <a:pt x="2213" y="23803"/>
                            </a:lnTo>
                            <a:lnTo>
                              <a:pt x="4665" y="25299"/>
                            </a:lnTo>
                            <a:lnTo>
                              <a:pt x="6399" y="23863"/>
                            </a:lnTo>
                            <a:lnTo>
                              <a:pt x="7476" y="21590"/>
                            </a:lnTo>
                            <a:close/>
                            <a:moveTo>
                              <a:pt x="13576" y="38157"/>
                            </a:moveTo>
                            <a:lnTo>
                              <a:pt x="10466" y="42044"/>
                            </a:lnTo>
                            <a:lnTo>
                              <a:pt x="18062" y="48384"/>
                            </a:lnTo>
                            <a:lnTo>
                              <a:pt x="13576" y="38157"/>
                            </a:lnTo>
                            <a:close/>
                            <a:moveTo>
                              <a:pt x="17942" y="49162"/>
                            </a:moveTo>
                            <a:lnTo>
                              <a:pt x="13576" y="48982"/>
                            </a:lnTo>
                            <a:lnTo>
                              <a:pt x="15191" y="51075"/>
                            </a:lnTo>
                            <a:lnTo>
                              <a:pt x="17942" y="49162"/>
                            </a:lnTo>
                            <a:close/>
                            <a:moveTo>
                              <a:pt x="6997" y="27093"/>
                            </a:moveTo>
                            <a:lnTo>
                              <a:pt x="7476" y="33073"/>
                            </a:lnTo>
                            <a:lnTo>
                              <a:pt x="9509" y="28588"/>
                            </a:lnTo>
                            <a:lnTo>
                              <a:pt x="6997" y="27093"/>
                            </a:lnTo>
                            <a:close/>
                            <a:moveTo>
                              <a:pt x="10466" y="31279"/>
                            </a:moveTo>
                            <a:lnTo>
                              <a:pt x="7775" y="33671"/>
                            </a:lnTo>
                            <a:lnTo>
                              <a:pt x="11602" y="33791"/>
                            </a:lnTo>
                            <a:lnTo>
                              <a:pt x="10466" y="31279"/>
                            </a:lnTo>
                            <a:close/>
                            <a:moveTo>
                              <a:pt x="9749" y="28827"/>
                            </a:moveTo>
                            <a:lnTo>
                              <a:pt x="7834" y="33073"/>
                            </a:lnTo>
                            <a:lnTo>
                              <a:pt x="10287" y="30861"/>
                            </a:lnTo>
                            <a:lnTo>
                              <a:pt x="9749" y="28827"/>
                            </a:lnTo>
                            <a:close/>
                            <a:moveTo>
                              <a:pt x="6399" y="24282"/>
                            </a:moveTo>
                            <a:lnTo>
                              <a:pt x="4964" y="25478"/>
                            </a:lnTo>
                            <a:lnTo>
                              <a:pt x="6579" y="26435"/>
                            </a:lnTo>
                            <a:lnTo>
                              <a:pt x="6399" y="24282"/>
                            </a:lnTo>
                            <a:close/>
                            <a:moveTo>
                              <a:pt x="6758" y="24102"/>
                            </a:moveTo>
                            <a:lnTo>
                              <a:pt x="6938" y="26674"/>
                            </a:lnTo>
                            <a:lnTo>
                              <a:pt x="9569" y="28289"/>
                            </a:lnTo>
                            <a:lnTo>
                              <a:pt x="8373" y="23803"/>
                            </a:lnTo>
                            <a:lnTo>
                              <a:pt x="6758" y="24102"/>
                            </a:lnTo>
                            <a:close/>
                            <a:moveTo>
                              <a:pt x="7834" y="21770"/>
                            </a:moveTo>
                            <a:lnTo>
                              <a:pt x="6878" y="23743"/>
                            </a:lnTo>
                            <a:lnTo>
                              <a:pt x="8313" y="23504"/>
                            </a:lnTo>
                            <a:lnTo>
                              <a:pt x="7834" y="21770"/>
                            </a:lnTo>
                            <a:close/>
                            <a:moveTo>
                              <a:pt x="10167" y="29066"/>
                            </a:moveTo>
                            <a:lnTo>
                              <a:pt x="10646" y="30861"/>
                            </a:lnTo>
                            <a:lnTo>
                              <a:pt x="13755" y="31279"/>
                            </a:lnTo>
                            <a:lnTo>
                              <a:pt x="10167" y="29066"/>
                            </a:lnTo>
                            <a:close/>
                            <a:moveTo>
                              <a:pt x="14114" y="31638"/>
                            </a:moveTo>
                            <a:lnTo>
                              <a:pt x="10765" y="31160"/>
                            </a:lnTo>
                            <a:lnTo>
                              <a:pt x="11961" y="33671"/>
                            </a:lnTo>
                            <a:lnTo>
                              <a:pt x="14114" y="31638"/>
                            </a:lnTo>
                            <a:close/>
                            <a:moveTo>
                              <a:pt x="14593" y="31698"/>
                            </a:moveTo>
                            <a:lnTo>
                              <a:pt x="12141" y="33971"/>
                            </a:lnTo>
                            <a:lnTo>
                              <a:pt x="13695" y="37499"/>
                            </a:lnTo>
                            <a:lnTo>
                              <a:pt x="18181" y="31877"/>
                            </a:lnTo>
                            <a:lnTo>
                              <a:pt x="14593" y="31698"/>
                            </a:lnTo>
                            <a:close/>
                            <a:moveTo>
                              <a:pt x="9928" y="28349"/>
                            </a:moveTo>
                            <a:lnTo>
                              <a:pt x="9987" y="28588"/>
                            </a:lnTo>
                            <a:lnTo>
                              <a:pt x="14234" y="31160"/>
                            </a:lnTo>
                            <a:lnTo>
                              <a:pt x="12141" y="23445"/>
                            </a:lnTo>
                            <a:lnTo>
                              <a:pt x="9928" y="28349"/>
                            </a:lnTo>
                            <a:close/>
                            <a:moveTo>
                              <a:pt x="8732" y="23743"/>
                            </a:moveTo>
                            <a:lnTo>
                              <a:pt x="9868" y="27811"/>
                            </a:lnTo>
                            <a:lnTo>
                              <a:pt x="11961" y="23146"/>
                            </a:lnTo>
                            <a:lnTo>
                              <a:pt x="8732" y="23743"/>
                            </a:lnTo>
                            <a:close/>
                            <a:moveTo>
                              <a:pt x="18360" y="32236"/>
                            </a:moveTo>
                            <a:lnTo>
                              <a:pt x="13815" y="37918"/>
                            </a:lnTo>
                            <a:lnTo>
                              <a:pt x="18301" y="48205"/>
                            </a:lnTo>
                            <a:lnTo>
                              <a:pt x="18360" y="32236"/>
                            </a:lnTo>
                            <a:close/>
                            <a:moveTo>
                              <a:pt x="8134" y="21531"/>
                            </a:moveTo>
                            <a:lnTo>
                              <a:pt x="8612" y="23385"/>
                            </a:lnTo>
                            <a:lnTo>
                              <a:pt x="11542" y="22846"/>
                            </a:lnTo>
                            <a:lnTo>
                              <a:pt x="8134" y="21531"/>
                            </a:lnTo>
                            <a:close/>
                            <a:moveTo>
                              <a:pt x="18660" y="31937"/>
                            </a:moveTo>
                            <a:lnTo>
                              <a:pt x="18660" y="48384"/>
                            </a:lnTo>
                            <a:lnTo>
                              <a:pt x="28109" y="33492"/>
                            </a:lnTo>
                            <a:lnTo>
                              <a:pt x="18660" y="31937"/>
                            </a:lnTo>
                            <a:close/>
                            <a:moveTo>
                              <a:pt x="29963" y="37619"/>
                            </a:moveTo>
                            <a:lnTo>
                              <a:pt x="19258" y="48444"/>
                            </a:lnTo>
                            <a:lnTo>
                              <a:pt x="24401" y="45992"/>
                            </a:lnTo>
                            <a:lnTo>
                              <a:pt x="29963" y="37619"/>
                            </a:lnTo>
                            <a:close/>
                            <a:moveTo>
                              <a:pt x="24102" y="46530"/>
                            </a:moveTo>
                            <a:lnTo>
                              <a:pt x="19617" y="48623"/>
                            </a:lnTo>
                            <a:lnTo>
                              <a:pt x="23026" y="48145"/>
                            </a:lnTo>
                            <a:lnTo>
                              <a:pt x="24102" y="46530"/>
                            </a:lnTo>
                            <a:close/>
                            <a:moveTo>
                              <a:pt x="28468" y="33552"/>
                            </a:moveTo>
                            <a:lnTo>
                              <a:pt x="19497" y="47726"/>
                            </a:lnTo>
                            <a:lnTo>
                              <a:pt x="30920" y="36124"/>
                            </a:lnTo>
                            <a:lnTo>
                              <a:pt x="31339" y="34030"/>
                            </a:lnTo>
                            <a:lnTo>
                              <a:pt x="28468" y="33552"/>
                            </a:lnTo>
                            <a:close/>
                            <a:moveTo>
                              <a:pt x="12440" y="23086"/>
                            </a:moveTo>
                            <a:lnTo>
                              <a:pt x="14533" y="30801"/>
                            </a:lnTo>
                            <a:lnTo>
                              <a:pt x="16447" y="23146"/>
                            </a:lnTo>
                            <a:lnTo>
                              <a:pt x="12440" y="23086"/>
                            </a:lnTo>
                            <a:close/>
                            <a:moveTo>
                              <a:pt x="16746" y="23265"/>
                            </a:moveTo>
                            <a:lnTo>
                              <a:pt x="14772" y="31399"/>
                            </a:lnTo>
                            <a:lnTo>
                              <a:pt x="18480" y="31578"/>
                            </a:lnTo>
                            <a:lnTo>
                              <a:pt x="23743" y="26315"/>
                            </a:lnTo>
                            <a:lnTo>
                              <a:pt x="16746" y="23265"/>
                            </a:lnTo>
                            <a:close/>
                            <a:moveTo>
                              <a:pt x="21351" y="19557"/>
                            </a:moveTo>
                            <a:lnTo>
                              <a:pt x="13097" y="22787"/>
                            </a:lnTo>
                            <a:lnTo>
                              <a:pt x="16567" y="22846"/>
                            </a:lnTo>
                            <a:lnTo>
                              <a:pt x="21351" y="19557"/>
                            </a:lnTo>
                            <a:close/>
                            <a:moveTo>
                              <a:pt x="24700" y="46291"/>
                            </a:moveTo>
                            <a:lnTo>
                              <a:pt x="23444" y="48205"/>
                            </a:lnTo>
                            <a:lnTo>
                              <a:pt x="23444" y="48205"/>
                            </a:lnTo>
                            <a:lnTo>
                              <a:pt x="25358" y="45992"/>
                            </a:lnTo>
                            <a:lnTo>
                              <a:pt x="24700" y="46291"/>
                            </a:lnTo>
                            <a:close/>
                            <a:moveTo>
                              <a:pt x="26136" y="45573"/>
                            </a:moveTo>
                            <a:lnTo>
                              <a:pt x="23923" y="48085"/>
                            </a:lnTo>
                            <a:lnTo>
                              <a:pt x="33014" y="46889"/>
                            </a:lnTo>
                            <a:lnTo>
                              <a:pt x="38695" y="44736"/>
                            </a:lnTo>
                            <a:lnTo>
                              <a:pt x="35167" y="41267"/>
                            </a:lnTo>
                            <a:lnTo>
                              <a:pt x="26136" y="45573"/>
                            </a:lnTo>
                            <a:close/>
                            <a:moveTo>
                              <a:pt x="24043" y="26495"/>
                            </a:moveTo>
                            <a:lnTo>
                              <a:pt x="19078" y="31519"/>
                            </a:lnTo>
                            <a:lnTo>
                              <a:pt x="30442" y="29306"/>
                            </a:lnTo>
                            <a:lnTo>
                              <a:pt x="24043" y="26495"/>
                            </a:lnTo>
                            <a:close/>
                            <a:moveTo>
                              <a:pt x="30621" y="29605"/>
                            </a:moveTo>
                            <a:lnTo>
                              <a:pt x="19497" y="31758"/>
                            </a:lnTo>
                            <a:lnTo>
                              <a:pt x="28349" y="33193"/>
                            </a:lnTo>
                            <a:lnTo>
                              <a:pt x="30621" y="29605"/>
                            </a:lnTo>
                            <a:close/>
                            <a:moveTo>
                              <a:pt x="31099" y="36542"/>
                            </a:moveTo>
                            <a:lnTo>
                              <a:pt x="25059" y="45693"/>
                            </a:lnTo>
                            <a:lnTo>
                              <a:pt x="25956" y="45274"/>
                            </a:lnTo>
                            <a:lnTo>
                              <a:pt x="32116" y="38217"/>
                            </a:lnTo>
                            <a:lnTo>
                              <a:pt x="31099" y="36542"/>
                            </a:lnTo>
                            <a:close/>
                            <a:moveTo>
                              <a:pt x="27989" y="22009"/>
                            </a:moveTo>
                            <a:lnTo>
                              <a:pt x="17284" y="23086"/>
                            </a:lnTo>
                            <a:lnTo>
                              <a:pt x="23923" y="26016"/>
                            </a:lnTo>
                            <a:lnTo>
                              <a:pt x="27989" y="22009"/>
                            </a:lnTo>
                            <a:close/>
                            <a:moveTo>
                              <a:pt x="32356" y="38456"/>
                            </a:moveTo>
                            <a:lnTo>
                              <a:pt x="26734" y="44915"/>
                            </a:lnTo>
                            <a:lnTo>
                              <a:pt x="34987" y="41028"/>
                            </a:lnTo>
                            <a:lnTo>
                              <a:pt x="32356" y="38456"/>
                            </a:lnTo>
                            <a:close/>
                            <a:moveTo>
                              <a:pt x="22786" y="19019"/>
                            </a:moveTo>
                            <a:lnTo>
                              <a:pt x="17822" y="22428"/>
                            </a:lnTo>
                            <a:lnTo>
                              <a:pt x="32356" y="17225"/>
                            </a:lnTo>
                            <a:lnTo>
                              <a:pt x="25358" y="18899"/>
                            </a:lnTo>
                            <a:lnTo>
                              <a:pt x="22786" y="19019"/>
                            </a:lnTo>
                            <a:close/>
                            <a:moveTo>
                              <a:pt x="34449" y="16806"/>
                            </a:moveTo>
                            <a:lnTo>
                              <a:pt x="18002" y="22667"/>
                            </a:lnTo>
                            <a:lnTo>
                              <a:pt x="28349" y="21590"/>
                            </a:lnTo>
                            <a:lnTo>
                              <a:pt x="34449" y="16806"/>
                            </a:lnTo>
                            <a:close/>
                            <a:moveTo>
                              <a:pt x="28349" y="22129"/>
                            </a:moveTo>
                            <a:lnTo>
                              <a:pt x="24281" y="26196"/>
                            </a:lnTo>
                            <a:lnTo>
                              <a:pt x="30681" y="29007"/>
                            </a:lnTo>
                            <a:lnTo>
                              <a:pt x="28349" y="22129"/>
                            </a:lnTo>
                            <a:close/>
                            <a:moveTo>
                              <a:pt x="30861" y="29844"/>
                            </a:moveTo>
                            <a:lnTo>
                              <a:pt x="28707" y="33253"/>
                            </a:lnTo>
                            <a:lnTo>
                              <a:pt x="31399" y="33671"/>
                            </a:lnTo>
                            <a:lnTo>
                              <a:pt x="30861" y="29844"/>
                            </a:lnTo>
                            <a:close/>
                            <a:moveTo>
                              <a:pt x="24461" y="17105"/>
                            </a:moveTo>
                            <a:lnTo>
                              <a:pt x="23145" y="18660"/>
                            </a:lnTo>
                            <a:lnTo>
                              <a:pt x="25238" y="18540"/>
                            </a:lnTo>
                            <a:lnTo>
                              <a:pt x="26494" y="16746"/>
                            </a:lnTo>
                            <a:lnTo>
                              <a:pt x="24461" y="17105"/>
                            </a:lnTo>
                            <a:close/>
                            <a:moveTo>
                              <a:pt x="33671" y="37918"/>
                            </a:moveTo>
                            <a:lnTo>
                              <a:pt x="31638" y="36722"/>
                            </a:lnTo>
                            <a:lnTo>
                              <a:pt x="32475" y="38037"/>
                            </a:lnTo>
                            <a:lnTo>
                              <a:pt x="33671" y="37918"/>
                            </a:lnTo>
                            <a:close/>
                            <a:moveTo>
                              <a:pt x="31697" y="34150"/>
                            </a:moveTo>
                            <a:lnTo>
                              <a:pt x="31339" y="35944"/>
                            </a:lnTo>
                            <a:lnTo>
                              <a:pt x="33910" y="35107"/>
                            </a:lnTo>
                            <a:lnTo>
                              <a:pt x="31697" y="34150"/>
                            </a:lnTo>
                            <a:close/>
                            <a:moveTo>
                              <a:pt x="34210" y="35406"/>
                            </a:moveTo>
                            <a:lnTo>
                              <a:pt x="31519" y="36243"/>
                            </a:lnTo>
                            <a:lnTo>
                              <a:pt x="34030" y="37738"/>
                            </a:lnTo>
                            <a:lnTo>
                              <a:pt x="34210" y="35406"/>
                            </a:lnTo>
                            <a:close/>
                            <a:moveTo>
                              <a:pt x="34150" y="38217"/>
                            </a:moveTo>
                            <a:lnTo>
                              <a:pt x="32714" y="38336"/>
                            </a:lnTo>
                            <a:lnTo>
                              <a:pt x="35286" y="40848"/>
                            </a:lnTo>
                            <a:lnTo>
                              <a:pt x="37080" y="40011"/>
                            </a:lnTo>
                            <a:lnTo>
                              <a:pt x="34150" y="38217"/>
                            </a:lnTo>
                            <a:close/>
                            <a:moveTo>
                              <a:pt x="31219" y="30143"/>
                            </a:moveTo>
                            <a:lnTo>
                              <a:pt x="31697" y="33791"/>
                            </a:lnTo>
                            <a:lnTo>
                              <a:pt x="33910" y="34808"/>
                            </a:lnTo>
                            <a:lnTo>
                              <a:pt x="31219" y="30143"/>
                            </a:lnTo>
                            <a:close/>
                            <a:moveTo>
                              <a:pt x="26973" y="16626"/>
                            </a:moveTo>
                            <a:lnTo>
                              <a:pt x="26016" y="18062"/>
                            </a:lnTo>
                            <a:lnTo>
                              <a:pt x="28588" y="16327"/>
                            </a:lnTo>
                            <a:lnTo>
                              <a:pt x="26973" y="16626"/>
                            </a:lnTo>
                            <a:close/>
                            <a:moveTo>
                              <a:pt x="29425" y="16148"/>
                            </a:moveTo>
                            <a:lnTo>
                              <a:pt x="26255" y="18301"/>
                            </a:lnTo>
                            <a:lnTo>
                              <a:pt x="34210" y="16387"/>
                            </a:lnTo>
                            <a:lnTo>
                              <a:pt x="29425" y="16148"/>
                            </a:lnTo>
                            <a:close/>
                            <a:moveTo>
                              <a:pt x="37380" y="40310"/>
                            </a:moveTo>
                            <a:lnTo>
                              <a:pt x="35585" y="41147"/>
                            </a:lnTo>
                            <a:lnTo>
                              <a:pt x="38755" y="44198"/>
                            </a:lnTo>
                            <a:lnTo>
                              <a:pt x="37380" y="40310"/>
                            </a:lnTo>
                            <a:close/>
                            <a:moveTo>
                              <a:pt x="34509" y="35705"/>
                            </a:moveTo>
                            <a:lnTo>
                              <a:pt x="34389" y="37918"/>
                            </a:lnTo>
                            <a:lnTo>
                              <a:pt x="36960" y="39473"/>
                            </a:lnTo>
                            <a:lnTo>
                              <a:pt x="34509" y="35705"/>
                            </a:lnTo>
                            <a:close/>
                            <a:moveTo>
                              <a:pt x="28647" y="22009"/>
                            </a:moveTo>
                            <a:lnTo>
                              <a:pt x="31040" y="29126"/>
                            </a:lnTo>
                            <a:lnTo>
                              <a:pt x="44018" y="23803"/>
                            </a:lnTo>
                            <a:lnTo>
                              <a:pt x="28647" y="22009"/>
                            </a:lnTo>
                            <a:close/>
                            <a:moveTo>
                              <a:pt x="40130" y="33612"/>
                            </a:moveTo>
                            <a:lnTo>
                              <a:pt x="31399" y="29724"/>
                            </a:lnTo>
                            <a:lnTo>
                              <a:pt x="34509" y="35047"/>
                            </a:lnTo>
                            <a:lnTo>
                              <a:pt x="38994" y="36303"/>
                            </a:lnTo>
                            <a:lnTo>
                              <a:pt x="40130" y="33612"/>
                            </a:lnTo>
                            <a:close/>
                            <a:moveTo>
                              <a:pt x="44376" y="23983"/>
                            </a:moveTo>
                            <a:lnTo>
                              <a:pt x="31399" y="29306"/>
                            </a:lnTo>
                            <a:lnTo>
                              <a:pt x="40250" y="33253"/>
                            </a:lnTo>
                            <a:lnTo>
                              <a:pt x="44376" y="23983"/>
                            </a:lnTo>
                            <a:close/>
                            <a:moveTo>
                              <a:pt x="35465" y="16507"/>
                            </a:moveTo>
                            <a:lnTo>
                              <a:pt x="28887" y="21710"/>
                            </a:lnTo>
                            <a:lnTo>
                              <a:pt x="44376" y="23504"/>
                            </a:lnTo>
                            <a:lnTo>
                              <a:pt x="39353" y="17225"/>
                            </a:lnTo>
                            <a:lnTo>
                              <a:pt x="35465" y="16507"/>
                            </a:lnTo>
                            <a:close/>
                            <a:moveTo>
                              <a:pt x="38815" y="36602"/>
                            </a:moveTo>
                            <a:lnTo>
                              <a:pt x="34748" y="35466"/>
                            </a:lnTo>
                            <a:lnTo>
                              <a:pt x="37439" y="39652"/>
                            </a:lnTo>
                            <a:lnTo>
                              <a:pt x="38815" y="36602"/>
                            </a:lnTo>
                            <a:close/>
                            <a:moveTo>
                              <a:pt x="28408" y="14473"/>
                            </a:moveTo>
                            <a:lnTo>
                              <a:pt x="27212" y="16208"/>
                            </a:lnTo>
                            <a:lnTo>
                              <a:pt x="29066" y="15849"/>
                            </a:lnTo>
                            <a:lnTo>
                              <a:pt x="28408" y="14473"/>
                            </a:lnTo>
                            <a:close/>
                            <a:moveTo>
                              <a:pt x="37858" y="40669"/>
                            </a:moveTo>
                            <a:lnTo>
                              <a:pt x="39173" y="44497"/>
                            </a:lnTo>
                            <a:lnTo>
                              <a:pt x="40430" y="43301"/>
                            </a:lnTo>
                            <a:lnTo>
                              <a:pt x="37858" y="40669"/>
                            </a:lnTo>
                            <a:close/>
                            <a:moveTo>
                              <a:pt x="42045" y="44975"/>
                            </a:moveTo>
                            <a:lnTo>
                              <a:pt x="39353" y="44975"/>
                            </a:lnTo>
                            <a:lnTo>
                              <a:pt x="41745" y="49820"/>
                            </a:lnTo>
                            <a:lnTo>
                              <a:pt x="50956" y="54066"/>
                            </a:lnTo>
                            <a:lnTo>
                              <a:pt x="42045" y="44975"/>
                            </a:lnTo>
                            <a:close/>
                            <a:moveTo>
                              <a:pt x="40668" y="43540"/>
                            </a:moveTo>
                            <a:lnTo>
                              <a:pt x="39532" y="44616"/>
                            </a:lnTo>
                            <a:lnTo>
                              <a:pt x="41685" y="44616"/>
                            </a:lnTo>
                            <a:lnTo>
                              <a:pt x="40668" y="43540"/>
                            </a:lnTo>
                            <a:close/>
                            <a:moveTo>
                              <a:pt x="42403" y="37619"/>
                            </a:moveTo>
                            <a:lnTo>
                              <a:pt x="37918" y="40011"/>
                            </a:lnTo>
                            <a:lnTo>
                              <a:pt x="42343" y="41506"/>
                            </a:lnTo>
                            <a:lnTo>
                              <a:pt x="45991" y="37978"/>
                            </a:lnTo>
                            <a:lnTo>
                              <a:pt x="42403" y="37619"/>
                            </a:lnTo>
                            <a:close/>
                            <a:moveTo>
                              <a:pt x="42045" y="41746"/>
                            </a:moveTo>
                            <a:lnTo>
                              <a:pt x="38037" y="40430"/>
                            </a:lnTo>
                            <a:lnTo>
                              <a:pt x="40609" y="43061"/>
                            </a:lnTo>
                            <a:lnTo>
                              <a:pt x="42045" y="41746"/>
                            </a:lnTo>
                            <a:close/>
                            <a:moveTo>
                              <a:pt x="39113" y="36722"/>
                            </a:moveTo>
                            <a:lnTo>
                              <a:pt x="37798" y="39652"/>
                            </a:lnTo>
                            <a:lnTo>
                              <a:pt x="41865" y="37499"/>
                            </a:lnTo>
                            <a:lnTo>
                              <a:pt x="39113" y="36722"/>
                            </a:lnTo>
                            <a:close/>
                            <a:moveTo>
                              <a:pt x="29186" y="12141"/>
                            </a:moveTo>
                            <a:lnTo>
                              <a:pt x="26853" y="10526"/>
                            </a:lnTo>
                            <a:lnTo>
                              <a:pt x="28408" y="13756"/>
                            </a:lnTo>
                            <a:lnTo>
                              <a:pt x="29126" y="12679"/>
                            </a:lnTo>
                            <a:lnTo>
                              <a:pt x="29186" y="12141"/>
                            </a:lnTo>
                            <a:close/>
                            <a:moveTo>
                              <a:pt x="29246" y="8433"/>
                            </a:moveTo>
                            <a:lnTo>
                              <a:pt x="26794" y="10048"/>
                            </a:lnTo>
                            <a:lnTo>
                              <a:pt x="29246" y="11722"/>
                            </a:lnTo>
                            <a:lnTo>
                              <a:pt x="29246" y="8433"/>
                            </a:lnTo>
                            <a:close/>
                            <a:moveTo>
                              <a:pt x="29306" y="1376"/>
                            </a:moveTo>
                            <a:lnTo>
                              <a:pt x="26794" y="9629"/>
                            </a:lnTo>
                            <a:lnTo>
                              <a:pt x="29246" y="8014"/>
                            </a:lnTo>
                            <a:lnTo>
                              <a:pt x="29306" y="1376"/>
                            </a:lnTo>
                            <a:close/>
                            <a:moveTo>
                              <a:pt x="29186" y="13337"/>
                            </a:moveTo>
                            <a:lnTo>
                              <a:pt x="28647" y="14174"/>
                            </a:lnTo>
                            <a:lnTo>
                              <a:pt x="29186" y="15311"/>
                            </a:lnTo>
                            <a:lnTo>
                              <a:pt x="29186" y="13337"/>
                            </a:lnTo>
                            <a:close/>
                            <a:moveTo>
                              <a:pt x="29544" y="12859"/>
                            </a:moveTo>
                            <a:lnTo>
                              <a:pt x="29544" y="15849"/>
                            </a:lnTo>
                            <a:lnTo>
                              <a:pt x="34867" y="16148"/>
                            </a:lnTo>
                            <a:lnTo>
                              <a:pt x="29784" y="12619"/>
                            </a:lnTo>
                            <a:lnTo>
                              <a:pt x="29544" y="12859"/>
                            </a:lnTo>
                            <a:close/>
                            <a:moveTo>
                              <a:pt x="42403" y="41865"/>
                            </a:moveTo>
                            <a:lnTo>
                              <a:pt x="40908" y="43301"/>
                            </a:lnTo>
                            <a:lnTo>
                              <a:pt x="42164" y="44616"/>
                            </a:lnTo>
                            <a:lnTo>
                              <a:pt x="48324" y="44556"/>
                            </a:lnTo>
                            <a:lnTo>
                              <a:pt x="48085" y="43779"/>
                            </a:lnTo>
                            <a:lnTo>
                              <a:pt x="42403" y="41865"/>
                            </a:lnTo>
                            <a:close/>
                            <a:moveTo>
                              <a:pt x="48444" y="44915"/>
                            </a:moveTo>
                            <a:lnTo>
                              <a:pt x="42523" y="44975"/>
                            </a:lnTo>
                            <a:lnTo>
                              <a:pt x="51374" y="53946"/>
                            </a:lnTo>
                            <a:lnTo>
                              <a:pt x="48444" y="44915"/>
                            </a:lnTo>
                            <a:close/>
                            <a:moveTo>
                              <a:pt x="29544" y="8253"/>
                            </a:moveTo>
                            <a:lnTo>
                              <a:pt x="29544" y="12021"/>
                            </a:lnTo>
                            <a:lnTo>
                              <a:pt x="29664" y="12081"/>
                            </a:lnTo>
                            <a:lnTo>
                              <a:pt x="32296" y="8253"/>
                            </a:lnTo>
                            <a:lnTo>
                              <a:pt x="31757" y="6818"/>
                            </a:lnTo>
                            <a:lnTo>
                              <a:pt x="29544" y="8253"/>
                            </a:lnTo>
                            <a:close/>
                            <a:moveTo>
                              <a:pt x="40430" y="33731"/>
                            </a:moveTo>
                            <a:lnTo>
                              <a:pt x="39233" y="36423"/>
                            </a:lnTo>
                            <a:lnTo>
                              <a:pt x="42224" y="37260"/>
                            </a:lnTo>
                            <a:lnTo>
                              <a:pt x="43241" y="34987"/>
                            </a:lnTo>
                            <a:lnTo>
                              <a:pt x="40430" y="33731"/>
                            </a:lnTo>
                            <a:close/>
                            <a:moveTo>
                              <a:pt x="32415" y="8672"/>
                            </a:moveTo>
                            <a:lnTo>
                              <a:pt x="29963" y="12261"/>
                            </a:lnTo>
                            <a:lnTo>
                              <a:pt x="35107" y="15849"/>
                            </a:lnTo>
                            <a:lnTo>
                              <a:pt x="32415" y="8672"/>
                            </a:lnTo>
                            <a:close/>
                            <a:moveTo>
                              <a:pt x="46291" y="38157"/>
                            </a:moveTo>
                            <a:lnTo>
                              <a:pt x="42702" y="41626"/>
                            </a:lnTo>
                            <a:lnTo>
                              <a:pt x="47966" y="43360"/>
                            </a:lnTo>
                            <a:lnTo>
                              <a:pt x="46291" y="38157"/>
                            </a:lnTo>
                            <a:close/>
                            <a:moveTo>
                              <a:pt x="29604" y="1136"/>
                            </a:moveTo>
                            <a:lnTo>
                              <a:pt x="29544" y="7835"/>
                            </a:lnTo>
                            <a:lnTo>
                              <a:pt x="31578" y="6519"/>
                            </a:lnTo>
                            <a:lnTo>
                              <a:pt x="29604" y="1136"/>
                            </a:lnTo>
                            <a:close/>
                            <a:moveTo>
                              <a:pt x="44436" y="24760"/>
                            </a:moveTo>
                            <a:lnTo>
                              <a:pt x="40609" y="33432"/>
                            </a:lnTo>
                            <a:lnTo>
                              <a:pt x="43420" y="34688"/>
                            </a:lnTo>
                            <a:lnTo>
                              <a:pt x="44436" y="24760"/>
                            </a:lnTo>
                            <a:close/>
                            <a:moveTo>
                              <a:pt x="43659" y="35047"/>
                            </a:moveTo>
                            <a:lnTo>
                              <a:pt x="42583" y="37320"/>
                            </a:lnTo>
                            <a:lnTo>
                              <a:pt x="46171" y="37679"/>
                            </a:lnTo>
                            <a:lnTo>
                              <a:pt x="45932" y="32894"/>
                            </a:lnTo>
                            <a:lnTo>
                              <a:pt x="43659" y="35047"/>
                            </a:lnTo>
                            <a:close/>
                            <a:moveTo>
                              <a:pt x="32655" y="8313"/>
                            </a:moveTo>
                            <a:lnTo>
                              <a:pt x="35465" y="15909"/>
                            </a:lnTo>
                            <a:lnTo>
                              <a:pt x="36722" y="13815"/>
                            </a:lnTo>
                            <a:lnTo>
                              <a:pt x="35047" y="4844"/>
                            </a:lnTo>
                            <a:lnTo>
                              <a:pt x="32655" y="8313"/>
                            </a:lnTo>
                            <a:close/>
                            <a:moveTo>
                              <a:pt x="36901" y="14174"/>
                            </a:moveTo>
                            <a:lnTo>
                              <a:pt x="35705" y="16208"/>
                            </a:lnTo>
                            <a:lnTo>
                              <a:pt x="39054" y="16806"/>
                            </a:lnTo>
                            <a:lnTo>
                              <a:pt x="36901" y="14174"/>
                            </a:lnTo>
                            <a:close/>
                            <a:moveTo>
                              <a:pt x="31997" y="6639"/>
                            </a:moveTo>
                            <a:lnTo>
                              <a:pt x="32475" y="7895"/>
                            </a:lnTo>
                            <a:lnTo>
                              <a:pt x="34449" y="5024"/>
                            </a:lnTo>
                            <a:lnTo>
                              <a:pt x="31997" y="6639"/>
                            </a:lnTo>
                            <a:close/>
                            <a:moveTo>
                              <a:pt x="29844" y="718"/>
                            </a:moveTo>
                            <a:lnTo>
                              <a:pt x="31937" y="6340"/>
                            </a:lnTo>
                            <a:lnTo>
                              <a:pt x="34867" y="4426"/>
                            </a:lnTo>
                            <a:lnTo>
                              <a:pt x="29844" y="718"/>
                            </a:lnTo>
                            <a:close/>
                            <a:moveTo>
                              <a:pt x="44736" y="25000"/>
                            </a:moveTo>
                            <a:lnTo>
                              <a:pt x="43719" y="34509"/>
                            </a:lnTo>
                            <a:lnTo>
                              <a:pt x="45872" y="32475"/>
                            </a:lnTo>
                            <a:lnTo>
                              <a:pt x="44736" y="25000"/>
                            </a:lnTo>
                            <a:close/>
                            <a:moveTo>
                              <a:pt x="48803" y="44915"/>
                            </a:moveTo>
                            <a:lnTo>
                              <a:pt x="51494" y="53408"/>
                            </a:lnTo>
                            <a:lnTo>
                              <a:pt x="51254" y="44915"/>
                            </a:lnTo>
                            <a:lnTo>
                              <a:pt x="48803" y="44915"/>
                            </a:lnTo>
                            <a:close/>
                            <a:moveTo>
                              <a:pt x="48504" y="43898"/>
                            </a:moveTo>
                            <a:lnTo>
                              <a:pt x="48743" y="44556"/>
                            </a:lnTo>
                            <a:lnTo>
                              <a:pt x="50477" y="44556"/>
                            </a:lnTo>
                            <a:lnTo>
                              <a:pt x="48504" y="43898"/>
                            </a:lnTo>
                            <a:close/>
                            <a:moveTo>
                              <a:pt x="46829" y="38755"/>
                            </a:moveTo>
                            <a:lnTo>
                              <a:pt x="48324" y="43480"/>
                            </a:lnTo>
                            <a:lnTo>
                              <a:pt x="50956" y="44377"/>
                            </a:lnTo>
                            <a:lnTo>
                              <a:pt x="46829" y="38755"/>
                            </a:lnTo>
                            <a:close/>
                            <a:moveTo>
                              <a:pt x="43241" y="17583"/>
                            </a:moveTo>
                            <a:lnTo>
                              <a:pt x="40130" y="16148"/>
                            </a:lnTo>
                            <a:lnTo>
                              <a:pt x="37678" y="14593"/>
                            </a:lnTo>
                            <a:lnTo>
                              <a:pt x="39532" y="16926"/>
                            </a:lnTo>
                            <a:lnTo>
                              <a:pt x="43241" y="17583"/>
                            </a:lnTo>
                            <a:close/>
                            <a:moveTo>
                              <a:pt x="46291" y="32535"/>
                            </a:moveTo>
                            <a:lnTo>
                              <a:pt x="46530" y="36602"/>
                            </a:lnTo>
                            <a:lnTo>
                              <a:pt x="48264" y="28708"/>
                            </a:lnTo>
                            <a:lnTo>
                              <a:pt x="46291" y="32535"/>
                            </a:lnTo>
                            <a:close/>
                            <a:moveTo>
                              <a:pt x="44376" y="18122"/>
                            </a:moveTo>
                            <a:lnTo>
                              <a:pt x="39832" y="17284"/>
                            </a:lnTo>
                            <a:lnTo>
                              <a:pt x="44556" y="23146"/>
                            </a:lnTo>
                            <a:lnTo>
                              <a:pt x="44376" y="18122"/>
                            </a:lnTo>
                            <a:close/>
                            <a:moveTo>
                              <a:pt x="44975" y="24162"/>
                            </a:moveTo>
                            <a:lnTo>
                              <a:pt x="46171" y="31997"/>
                            </a:lnTo>
                            <a:lnTo>
                              <a:pt x="48444" y="27451"/>
                            </a:lnTo>
                            <a:lnTo>
                              <a:pt x="44975" y="24162"/>
                            </a:lnTo>
                            <a:close/>
                            <a:moveTo>
                              <a:pt x="44736" y="18839"/>
                            </a:moveTo>
                            <a:lnTo>
                              <a:pt x="44915" y="23564"/>
                            </a:lnTo>
                            <a:lnTo>
                              <a:pt x="48204" y="26674"/>
                            </a:lnTo>
                            <a:lnTo>
                              <a:pt x="44736" y="18839"/>
                            </a:lnTo>
                            <a:close/>
                          </a:path>
                        </a:pathLst>
                      </a:custGeom>
                      <a:noFill/>
                      <a:ln w="6350" cap="flat">
                        <a:solidFill>
                          <a:schemeClr val="bg1">
                            <a:alpha val="40000"/>
                          </a:schemeClr>
                        </a:solidFill>
                        <a:prstDash val="solid"/>
                        <a:miter/>
                      </a:ln>
                    </p:spPr>
                    <p:txBody>
                      <a:bodyPr rtlCol="0" anchor="ctr"/>
                      <a:lstStyle/>
                      <a:p>
                        <a:endParaRPr lang="en-GB"/>
                      </a:p>
                    </p:txBody>
                  </p:sp>
                  <p:sp>
                    <p:nvSpPr>
                      <p:cNvPr id="5864" name="Vrije vorm: vorm 5863">
                        <a:extLst>
                          <a:ext uri="{FF2B5EF4-FFF2-40B4-BE49-F238E27FC236}">
                            <a16:creationId xmlns:a16="http://schemas.microsoft.com/office/drawing/2014/main" id="{71EF89A4-B840-4EE5-A6FB-CFA1E4A42B3A}"/>
                          </a:ext>
                        </a:extLst>
                      </p:cNvPr>
                      <p:cNvSpPr/>
                      <p:nvPr/>
                    </p:nvSpPr>
                    <p:spPr>
                      <a:xfrm>
                        <a:off x="7739672" y="3062887"/>
                        <a:ext cx="6040" cy="10346"/>
                      </a:xfrm>
                      <a:custGeom>
                        <a:avLst/>
                        <a:gdLst>
                          <a:gd name="connsiteX0" fmla="*/ 3110 w 6040"/>
                          <a:gd name="connsiteY0" fmla="*/ 10287 h 10346"/>
                          <a:gd name="connsiteX1" fmla="*/ 0 w 6040"/>
                          <a:gd name="connsiteY1" fmla="*/ 179 h 10346"/>
                          <a:gd name="connsiteX2" fmla="*/ 239 w 6040"/>
                          <a:gd name="connsiteY2" fmla="*/ 0 h 10346"/>
                          <a:gd name="connsiteX3" fmla="*/ 5981 w 6040"/>
                          <a:gd name="connsiteY3" fmla="*/ 5024 h 10346"/>
                          <a:gd name="connsiteX4" fmla="*/ 6041 w 6040"/>
                          <a:gd name="connsiteY4" fmla="*/ 5263 h 10346"/>
                          <a:gd name="connsiteX5" fmla="*/ 3409 w 6040"/>
                          <a:gd name="connsiteY5" fmla="*/ 10347 h 10346"/>
                          <a:gd name="connsiteX6" fmla="*/ 3110 w 6040"/>
                          <a:gd name="connsiteY6" fmla="*/ 10287 h 10346"/>
                          <a:gd name="connsiteX7" fmla="*/ 538 w 6040"/>
                          <a:gd name="connsiteY7" fmla="*/ 598 h 10346"/>
                          <a:gd name="connsiteX8" fmla="*/ 3349 w 6040"/>
                          <a:gd name="connsiteY8" fmla="*/ 9748 h 10346"/>
                          <a:gd name="connsiteX9" fmla="*/ 5741 w 6040"/>
                          <a:gd name="connsiteY9" fmla="*/ 5143 h 10346"/>
                          <a:gd name="connsiteX10" fmla="*/ 538 w 6040"/>
                          <a:gd name="connsiteY10" fmla="*/ 598 h 1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40" h="10346">
                            <a:moveTo>
                              <a:pt x="3110" y="10287"/>
                            </a:moveTo>
                            <a:lnTo>
                              <a:pt x="0" y="179"/>
                            </a:lnTo>
                            <a:lnTo>
                              <a:pt x="239" y="0"/>
                            </a:lnTo>
                            <a:lnTo>
                              <a:pt x="5981" y="5024"/>
                            </a:lnTo>
                            <a:lnTo>
                              <a:pt x="6041" y="5263"/>
                            </a:lnTo>
                            <a:lnTo>
                              <a:pt x="3409" y="10347"/>
                            </a:lnTo>
                            <a:lnTo>
                              <a:pt x="3110" y="10287"/>
                            </a:lnTo>
                            <a:close/>
                            <a:moveTo>
                              <a:pt x="538" y="598"/>
                            </a:moveTo>
                            <a:lnTo>
                              <a:pt x="3349" y="9748"/>
                            </a:lnTo>
                            <a:lnTo>
                              <a:pt x="5741" y="5143"/>
                            </a:lnTo>
                            <a:lnTo>
                              <a:pt x="538" y="598"/>
                            </a:lnTo>
                            <a:close/>
                          </a:path>
                        </a:pathLst>
                      </a:custGeom>
                      <a:noFill/>
                      <a:ln w="6350" cap="flat">
                        <a:solidFill>
                          <a:schemeClr val="bg1">
                            <a:alpha val="40000"/>
                          </a:schemeClr>
                        </a:solidFill>
                        <a:prstDash val="solid"/>
                        <a:miter/>
                      </a:ln>
                    </p:spPr>
                    <p:txBody>
                      <a:bodyPr rtlCol="0" anchor="ctr"/>
                      <a:lstStyle/>
                      <a:p>
                        <a:endParaRPr lang="en-GB"/>
                      </a:p>
                    </p:txBody>
                  </p:sp>
                  <p:sp>
                    <p:nvSpPr>
                      <p:cNvPr id="5865" name="Vrije vorm: vorm 5864">
                        <a:extLst>
                          <a:ext uri="{FF2B5EF4-FFF2-40B4-BE49-F238E27FC236}">
                            <a16:creationId xmlns:a16="http://schemas.microsoft.com/office/drawing/2014/main" id="{FF308C4E-5066-41A0-8B62-4439FAB71590}"/>
                          </a:ext>
                        </a:extLst>
                      </p:cNvPr>
                      <p:cNvSpPr/>
                      <p:nvPr/>
                    </p:nvSpPr>
                    <p:spPr>
                      <a:xfrm>
                        <a:off x="7808091" y="2863550"/>
                        <a:ext cx="6997" cy="15609"/>
                      </a:xfrm>
                      <a:custGeom>
                        <a:avLst/>
                        <a:gdLst>
                          <a:gd name="connsiteX0" fmla="*/ 0 w 6997"/>
                          <a:gd name="connsiteY0" fmla="*/ 7655 h 15609"/>
                          <a:gd name="connsiteX1" fmla="*/ 1795 w 6997"/>
                          <a:gd name="connsiteY1" fmla="*/ 4187 h 15609"/>
                          <a:gd name="connsiteX2" fmla="*/ 6758 w 6997"/>
                          <a:gd name="connsiteY2" fmla="*/ 0 h 15609"/>
                          <a:gd name="connsiteX3" fmla="*/ 6998 w 6997"/>
                          <a:gd name="connsiteY3" fmla="*/ 239 h 15609"/>
                          <a:gd name="connsiteX4" fmla="*/ 4964 w 6997"/>
                          <a:gd name="connsiteY4" fmla="*/ 4067 h 15609"/>
                          <a:gd name="connsiteX5" fmla="*/ 4665 w 6997"/>
                          <a:gd name="connsiteY5" fmla="*/ 9749 h 15609"/>
                          <a:gd name="connsiteX6" fmla="*/ 4307 w 6997"/>
                          <a:gd name="connsiteY6" fmla="*/ 9749 h 15609"/>
                          <a:gd name="connsiteX7" fmla="*/ 4545 w 6997"/>
                          <a:gd name="connsiteY7" fmla="*/ 4426 h 15609"/>
                          <a:gd name="connsiteX8" fmla="*/ 2392 w 6997"/>
                          <a:gd name="connsiteY8" fmla="*/ 6160 h 15609"/>
                          <a:gd name="connsiteX9" fmla="*/ 4545 w 6997"/>
                          <a:gd name="connsiteY9" fmla="*/ 15550 h 15609"/>
                          <a:gd name="connsiteX10" fmla="*/ 4247 w 6997"/>
                          <a:gd name="connsiteY10" fmla="*/ 15610 h 15609"/>
                          <a:gd name="connsiteX11" fmla="*/ 2093 w 6997"/>
                          <a:gd name="connsiteY11" fmla="*/ 6399 h 15609"/>
                          <a:gd name="connsiteX12" fmla="*/ 180 w 6997"/>
                          <a:gd name="connsiteY12" fmla="*/ 7895 h 15609"/>
                          <a:gd name="connsiteX13" fmla="*/ 0 w 6997"/>
                          <a:gd name="connsiteY13" fmla="*/ 7655 h 15609"/>
                          <a:gd name="connsiteX14" fmla="*/ 1795 w 6997"/>
                          <a:gd name="connsiteY14" fmla="*/ 4785 h 15609"/>
                          <a:gd name="connsiteX15" fmla="*/ 658 w 6997"/>
                          <a:gd name="connsiteY15" fmla="*/ 7057 h 15609"/>
                          <a:gd name="connsiteX16" fmla="*/ 2093 w 6997"/>
                          <a:gd name="connsiteY16" fmla="*/ 5921 h 15609"/>
                          <a:gd name="connsiteX17" fmla="*/ 1795 w 6997"/>
                          <a:gd name="connsiteY17" fmla="*/ 4785 h 15609"/>
                          <a:gd name="connsiteX18" fmla="*/ 2093 w 6997"/>
                          <a:gd name="connsiteY18" fmla="*/ 4486 h 15609"/>
                          <a:gd name="connsiteX19" fmla="*/ 2392 w 6997"/>
                          <a:gd name="connsiteY19" fmla="*/ 5741 h 15609"/>
                          <a:gd name="connsiteX20" fmla="*/ 4247 w 6997"/>
                          <a:gd name="connsiteY20" fmla="*/ 4246 h 15609"/>
                          <a:gd name="connsiteX21" fmla="*/ 2093 w 6997"/>
                          <a:gd name="connsiteY21" fmla="*/ 4486 h 15609"/>
                          <a:gd name="connsiteX22" fmla="*/ 6280 w 6997"/>
                          <a:gd name="connsiteY22" fmla="*/ 837 h 15609"/>
                          <a:gd name="connsiteX23" fmla="*/ 2392 w 6997"/>
                          <a:gd name="connsiteY23" fmla="*/ 4067 h 15609"/>
                          <a:gd name="connsiteX24" fmla="*/ 4665 w 6997"/>
                          <a:gd name="connsiteY24" fmla="*/ 3828 h 15609"/>
                          <a:gd name="connsiteX25" fmla="*/ 6280 w 6997"/>
                          <a:gd name="connsiteY25" fmla="*/ 837 h 1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997" h="15609">
                            <a:moveTo>
                              <a:pt x="0" y="7655"/>
                            </a:moveTo>
                            <a:lnTo>
                              <a:pt x="1795" y="4187"/>
                            </a:lnTo>
                            <a:lnTo>
                              <a:pt x="6758" y="0"/>
                            </a:lnTo>
                            <a:lnTo>
                              <a:pt x="6998" y="239"/>
                            </a:lnTo>
                            <a:lnTo>
                              <a:pt x="4964" y="4067"/>
                            </a:lnTo>
                            <a:lnTo>
                              <a:pt x="4665" y="9749"/>
                            </a:lnTo>
                            <a:lnTo>
                              <a:pt x="4307" y="9749"/>
                            </a:lnTo>
                            <a:lnTo>
                              <a:pt x="4545" y="4426"/>
                            </a:lnTo>
                            <a:lnTo>
                              <a:pt x="2392" y="6160"/>
                            </a:lnTo>
                            <a:lnTo>
                              <a:pt x="4545" y="15550"/>
                            </a:lnTo>
                            <a:lnTo>
                              <a:pt x="4247" y="15610"/>
                            </a:lnTo>
                            <a:lnTo>
                              <a:pt x="2093" y="6399"/>
                            </a:lnTo>
                            <a:lnTo>
                              <a:pt x="180" y="7895"/>
                            </a:lnTo>
                            <a:lnTo>
                              <a:pt x="0" y="7655"/>
                            </a:lnTo>
                            <a:close/>
                            <a:moveTo>
                              <a:pt x="1795" y="4785"/>
                            </a:moveTo>
                            <a:lnTo>
                              <a:pt x="658" y="7057"/>
                            </a:lnTo>
                            <a:lnTo>
                              <a:pt x="2093" y="5921"/>
                            </a:lnTo>
                            <a:lnTo>
                              <a:pt x="1795" y="4785"/>
                            </a:lnTo>
                            <a:close/>
                            <a:moveTo>
                              <a:pt x="2093" y="4486"/>
                            </a:moveTo>
                            <a:lnTo>
                              <a:pt x="2392" y="5741"/>
                            </a:lnTo>
                            <a:lnTo>
                              <a:pt x="4247" y="4246"/>
                            </a:lnTo>
                            <a:lnTo>
                              <a:pt x="2093" y="4486"/>
                            </a:lnTo>
                            <a:close/>
                            <a:moveTo>
                              <a:pt x="6280" y="837"/>
                            </a:moveTo>
                            <a:lnTo>
                              <a:pt x="2392" y="4067"/>
                            </a:lnTo>
                            <a:lnTo>
                              <a:pt x="4665" y="3828"/>
                            </a:lnTo>
                            <a:lnTo>
                              <a:pt x="6280" y="837"/>
                            </a:lnTo>
                            <a:close/>
                          </a:path>
                        </a:pathLst>
                      </a:custGeom>
                      <a:noFill/>
                      <a:ln w="6350" cap="flat">
                        <a:solidFill>
                          <a:schemeClr val="bg1">
                            <a:alpha val="40000"/>
                          </a:schemeClr>
                        </a:solidFill>
                        <a:prstDash val="solid"/>
                        <a:miter/>
                      </a:ln>
                    </p:spPr>
                    <p:txBody>
                      <a:bodyPr rtlCol="0" anchor="ctr"/>
                      <a:lstStyle/>
                      <a:p>
                        <a:endParaRPr lang="en-GB"/>
                      </a:p>
                    </p:txBody>
                  </p:sp>
                  <p:sp>
                    <p:nvSpPr>
                      <p:cNvPr id="5866" name="Vrije vorm: vorm 5865">
                        <a:extLst>
                          <a:ext uri="{FF2B5EF4-FFF2-40B4-BE49-F238E27FC236}">
                            <a16:creationId xmlns:a16="http://schemas.microsoft.com/office/drawing/2014/main" id="{EDFE37BC-FD4B-498C-B945-8A26E8EFC14E}"/>
                          </a:ext>
                        </a:extLst>
                      </p:cNvPr>
                      <p:cNvSpPr/>
                      <p:nvPr/>
                    </p:nvSpPr>
                    <p:spPr>
                      <a:xfrm>
                        <a:off x="7814132" y="2882509"/>
                        <a:ext cx="11483" cy="7535"/>
                      </a:xfrm>
                      <a:custGeom>
                        <a:avLst/>
                        <a:gdLst>
                          <a:gd name="connsiteX0" fmla="*/ 0 w 11483"/>
                          <a:gd name="connsiteY0" fmla="*/ 5442 h 7535"/>
                          <a:gd name="connsiteX1" fmla="*/ 0 w 11483"/>
                          <a:gd name="connsiteY1" fmla="*/ 5084 h 7535"/>
                          <a:gd name="connsiteX2" fmla="*/ 6220 w 11483"/>
                          <a:gd name="connsiteY2" fmla="*/ 4246 h 7535"/>
                          <a:gd name="connsiteX3" fmla="*/ 2452 w 11483"/>
                          <a:gd name="connsiteY3" fmla="*/ 239 h 7535"/>
                          <a:gd name="connsiteX4" fmla="*/ 2692 w 11483"/>
                          <a:gd name="connsiteY4" fmla="*/ 0 h 7535"/>
                          <a:gd name="connsiteX5" fmla="*/ 6639 w 11483"/>
                          <a:gd name="connsiteY5" fmla="*/ 4186 h 7535"/>
                          <a:gd name="connsiteX6" fmla="*/ 11423 w 11483"/>
                          <a:gd name="connsiteY6" fmla="*/ 4964 h 7535"/>
                          <a:gd name="connsiteX7" fmla="*/ 11483 w 11483"/>
                          <a:gd name="connsiteY7" fmla="*/ 5323 h 7535"/>
                          <a:gd name="connsiteX8" fmla="*/ 5682 w 11483"/>
                          <a:gd name="connsiteY8" fmla="*/ 7536 h 7535"/>
                          <a:gd name="connsiteX9" fmla="*/ 5562 w 11483"/>
                          <a:gd name="connsiteY9" fmla="*/ 7536 h 7535"/>
                          <a:gd name="connsiteX10" fmla="*/ 0 w 11483"/>
                          <a:gd name="connsiteY10" fmla="*/ 5442 h 7535"/>
                          <a:gd name="connsiteX11" fmla="*/ 6340 w 11483"/>
                          <a:gd name="connsiteY11" fmla="*/ 4605 h 7535"/>
                          <a:gd name="connsiteX12" fmla="*/ 718 w 11483"/>
                          <a:gd name="connsiteY12" fmla="*/ 5383 h 7535"/>
                          <a:gd name="connsiteX13" fmla="*/ 5503 w 11483"/>
                          <a:gd name="connsiteY13" fmla="*/ 7177 h 7535"/>
                          <a:gd name="connsiteX14" fmla="*/ 6340 w 11483"/>
                          <a:gd name="connsiteY14" fmla="*/ 4605 h 7535"/>
                          <a:gd name="connsiteX15" fmla="*/ 6698 w 11483"/>
                          <a:gd name="connsiteY15" fmla="*/ 4605 h 7535"/>
                          <a:gd name="connsiteX16" fmla="*/ 5921 w 11483"/>
                          <a:gd name="connsiteY16" fmla="*/ 7117 h 7535"/>
                          <a:gd name="connsiteX17" fmla="*/ 10766 w 11483"/>
                          <a:gd name="connsiteY17" fmla="*/ 5263 h 7535"/>
                          <a:gd name="connsiteX18" fmla="*/ 6698 w 11483"/>
                          <a:gd name="connsiteY18" fmla="*/ 4605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83" h="7535">
                            <a:moveTo>
                              <a:pt x="0" y="5442"/>
                            </a:moveTo>
                            <a:lnTo>
                              <a:pt x="0" y="5084"/>
                            </a:lnTo>
                            <a:lnTo>
                              <a:pt x="6220" y="4246"/>
                            </a:lnTo>
                            <a:lnTo>
                              <a:pt x="2452" y="239"/>
                            </a:lnTo>
                            <a:lnTo>
                              <a:pt x="2692" y="0"/>
                            </a:lnTo>
                            <a:lnTo>
                              <a:pt x="6639" y="4186"/>
                            </a:lnTo>
                            <a:lnTo>
                              <a:pt x="11423" y="4964"/>
                            </a:lnTo>
                            <a:lnTo>
                              <a:pt x="11483" y="5323"/>
                            </a:lnTo>
                            <a:lnTo>
                              <a:pt x="5682" y="7536"/>
                            </a:lnTo>
                            <a:lnTo>
                              <a:pt x="5562" y="7536"/>
                            </a:lnTo>
                            <a:lnTo>
                              <a:pt x="0" y="5442"/>
                            </a:lnTo>
                            <a:close/>
                            <a:moveTo>
                              <a:pt x="6340" y="4605"/>
                            </a:moveTo>
                            <a:lnTo>
                              <a:pt x="718" y="5383"/>
                            </a:lnTo>
                            <a:lnTo>
                              <a:pt x="5503" y="7177"/>
                            </a:lnTo>
                            <a:lnTo>
                              <a:pt x="6340" y="4605"/>
                            </a:lnTo>
                            <a:close/>
                            <a:moveTo>
                              <a:pt x="6698" y="4605"/>
                            </a:moveTo>
                            <a:lnTo>
                              <a:pt x="5921" y="7117"/>
                            </a:lnTo>
                            <a:lnTo>
                              <a:pt x="10766" y="5263"/>
                            </a:lnTo>
                            <a:lnTo>
                              <a:pt x="6698" y="4605"/>
                            </a:lnTo>
                            <a:close/>
                          </a:path>
                        </a:pathLst>
                      </a:custGeom>
                      <a:noFill/>
                      <a:ln w="6350" cap="flat">
                        <a:solidFill>
                          <a:schemeClr val="bg1">
                            <a:alpha val="40000"/>
                          </a:schemeClr>
                        </a:solidFill>
                        <a:prstDash val="solid"/>
                        <a:miter/>
                      </a:ln>
                    </p:spPr>
                    <p:txBody>
                      <a:bodyPr rtlCol="0" anchor="ctr"/>
                      <a:lstStyle/>
                      <a:p>
                        <a:endParaRPr lang="en-GB"/>
                      </a:p>
                    </p:txBody>
                  </p:sp>
                  <p:sp>
                    <p:nvSpPr>
                      <p:cNvPr id="5867" name="Vrije vorm: vorm 5866">
                        <a:extLst>
                          <a:ext uri="{FF2B5EF4-FFF2-40B4-BE49-F238E27FC236}">
                            <a16:creationId xmlns:a16="http://schemas.microsoft.com/office/drawing/2014/main" id="{A0C6CFF4-D76F-4D96-9DF3-58A687393806}"/>
                          </a:ext>
                        </a:extLst>
                      </p:cNvPr>
                      <p:cNvSpPr/>
                      <p:nvPr/>
                    </p:nvSpPr>
                    <p:spPr>
                      <a:xfrm>
                        <a:off x="7772566" y="2966956"/>
                        <a:ext cx="35166" cy="45453"/>
                      </a:xfrm>
                      <a:custGeom>
                        <a:avLst/>
                        <a:gdLst>
                          <a:gd name="connsiteX0" fmla="*/ 0 w 35166"/>
                          <a:gd name="connsiteY0" fmla="*/ 299 h 45453"/>
                          <a:gd name="connsiteX1" fmla="*/ 120 w 35166"/>
                          <a:gd name="connsiteY1" fmla="*/ 0 h 45453"/>
                          <a:gd name="connsiteX2" fmla="*/ 35047 w 35166"/>
                          <a:gd name="connsiteY2" fmla="*/ 14354 h 45453"/>
                          <a:gd name="connsiteX3" fmla="*/ 35167 w 35166"/>
                          <a:gd name="connsiteY3" fmla="*/ 14593 h 45453"/>
                          <a:gd name="connsiteX4" fmla="*/ 18122 w 35166"/>
                          <a:gd name="connsiteY4" fmla="*/ 45454 h 45453"/>
                          <a:gd name="connsiteX5" fmla="*/ 17822 w 35166"/>
                          <a:gd name="connsiteY5" fmla="*/ 45274 h 45453"/>
                          <a:gd name="connsiteX6" fmla="*/ 34748 w 35166"/>
                          <a:gd name="connsiteY6" fmla="*/ 14593 h 4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66" h="45453">
                            <a:moveTo>
                              <a:pt x="0" y="299"/>
                            </a:moveTo>
                            <a:lnTo>
                              <a:pt x="120" y="0"/>
                            </a:lnTo>
                            <a:lnTo>
                              <a:pt x="35047" y="14354"/>
                            </a:lnTo>
                            <a:lnTo>
                              <a:pt x="35167" y="14593"/>
                            </a:lnTo>
                            <a:lnTo>
                              <a:pt x="18122" y="45454"/>
                            </a:lnTo>
                            <a:lnTo>
                              <a:pt x="17822" y="45274"/>
                            </a:lnTo>
                            <a:lnTo>
                              <a:pt x="34748" y="14593"/>
                            </a:lnTo>
                            <a:close/>
                          </a:path>
                        </a:pathLst>
                      </a:custGeom>
                      <a:noFill/>
                      <a:ln w="6350" cap="flat">
                        <a:solidFill>
                          <a:schemeClr val="bg1">
                            <a:alpha val="40000"/>
                          </a:schemeClr>
                        </a:solidFill>
                        <a:prstDash val="solid"/>
                        <a:miter/>
                      </a:ln>
                    </p:spPr>
                    <p:txBody>
                      <a:bodyPr rtlCol="0" anchor="ctr"/>
                      <a:lstStyle/>
                      <a:p>
                        <a:endParaRPr lang="en-GB"/>
                      </a:p>
                    </p:txBody>
                  </p:sp>
                </p:grpSp>
                <p:sp>
                  <p:nvSpPr>
                    <p:cNvPr id="5861" name="Vrije vorm: vorm 5860">
                      <a:extLst>
                        <a:ext uri="{FF2B5EF4-FFF2-40B4-BE49-F238E27FC236}">
                          <a16:creationId xmlns:a16="http://schemas.microsoft.com/office/drawing/2014/main" id="{0934F9CE-D2BA-4C17-917D-6F8CDEAF8450}"/>
                        </a:ext>
                      </a:extLst>
                    </p:cNvPr>
                    <p:cNvSpPr/>
                    <p:nvPr/>
                  </p:nvSpPr>
                  <p:spPr>
                    <a:xfrm>
                      <a:off x="7792302" y="2872162"/>
                      <a:ext cx="1256" cy="1913"/>
                    </a:xfrm>
                    <a:custGeom>
                      <a:avLst/>
                      <a:gdLst>
                        <a:gd name="connsiteX0" fmla="*/ 0 w 1256"/>
                        <a:gd name="connsiteY0" fmla="*/ 120 h 1913"/>
                        <a:gd name="connsiteX1" fmla="*/ 299 w 1256"/>
                        <a:gd name="connsiteY1" fmla="*/ 0 h 1913"/>
                        <a:gd name="connsiteX2" fmla="*/ 1256 w 1256"/>
                        <a:gd name="connsiteY2" fmla="*/ 1734 h 1913"/>
                        <a:gd name="connsiteX3" fmla="*/ 957 w 1256"/>
                        <a:gd name="connsiteY3" fmla="*/ 1914 h 1913"/>
                      </a:gdLst>
                      <a:ahLst/>
                      <a:cxnLst>
                        <a:cxn ang="0">
                          <a:pos x="connsiteX0" y="connsiteY0"/>
                        </a:cxn>
                        <a:cxn ang="0">
                          <a:pos x="connsiteX1" y="connsiteY1"/>
                        </a:cxn>
                        <a:cxn ang="0">
                          <a:pos x="connsiteX2" y="connsiteY2"/>
                        </a:cxn>
                        <a:cxn ang="0">
                          <a:pos x="connsiteX3" y="connsiteY3"/>
                        </a:cxn>
                      </a:cxnLst>
                      <a:rect l="l" t="t" r="r" b="b"/>
                      <a:pathLst>
                        <a:path w="1256" h="1913">
                          <a:moveTo>
                            <a:pt x="0" y="120"/>
                          </a:moveTo>
                          <a:lnTo>
                            <a:pt x="299" y="0"/>
                          </a:lnTo>
                          <a:lnTo>
                            <a:pt x="1256" y="1734"/>
                          </a:lnTo>
                          <a:lnTo>
                            <a:pt x="957" y="1914"/>
                          </a:lnTo>
                          <a:close/>
                        </a:path>
                      </a:pathLst>
                    </a:custGeom>
                    <a:noFill/>
                    <a:ln w="6350" cap="flat">
                      <a:solidFill>
                        <a:schemeClr val="bg1">
                          <a:alpha val="40000"/>
                        </a:schemeClr>
                      </a:solidFill>
                      <a:prstDash val="solid"/>
                      <a:miter/>
                    </a:ln>
                  </p:spPr>
                  <p:txBody>
                    <a:bodyPr rtlCol="0" anchor="ctr"/>
                    <a:lstStyle/>
                    <a:p>
                      <a:endParaRPr lang="en-GB"/>
                    </a:p>
                  </p:txBody>
                </p:sp>
              </p:grpSp>
              <p:sp>
                <p:nvSpPr>
                  <p:cNvPr id="5859" name="Vrije vorm: vorm 5858">
                    <a:extLst>
                      <a:ext uri="{FF2B5EF4-FFF2-40B4-BE49-F238E27FC236}">
                        <a16:creationId xmlns:a16="http://schemas.microsoft.com/office/drawing/2014/main" id="{310BAC57-3B52-4DD0-BA4C-27A609943A55}"/>
                      </a:ext>
                    </a:extLst>
                  </p:cNvPr>
                  <p:cNvSpPr/>
                  <p:nvPr/>
                </p:nvSpPr>
                <p:spPr>
                  <a:xfrm>
                    <a:off x="7769576" y="3015400"/>
                    <a:ext cx="32594" cy="32475"/>
                  </a:xfrm>
                  <a:custGeom>
                    <a:avLst/>
                    <a:gdLst>
                      <a:gd name="connsiteX0" fmla="*/ 2333 w 32594"/>
                      <a:gd name="connsiteY0" fmla="*/ 26255 h 32475"/>
                      <a:gd name="connsiteX1" fmla="*/ 2273 w 32594"/>
                      <a:gd name="connsiteY1" fmla="*/ 26016 h 32475"/>
                      <a:gd name="connsiteX2" fmla="*/ 2751 w 32594"/>
                      <a:gd name="connsiteY2" fmla="*/ 24880 h 32475"/>
                      <a:gd name="connsiteX3" fmla="*/ 2811 w 32594"/>
                      <a:gd name="connsiteY3" fmla="*/ 24880 h 32475"/>
                      <a:gd name="connsiteX4" fmla="*/ 2811 w 32594"/>
                      <a:gd name="connsiteY4" fmla="*/ 24820 h 32475"/>
                      <a:gd name="connsiteX5" fmla="*/ 6818 w 32594"/>
                      <a:gd name="connsiteY5" fmla="*/ 21949 h 32475"/>
                      <a:gd name="connsiteX6" fmla="*/ 7057 w 32594"/>
                      <a:gd name="connsiteY6" fmla="*/ 22188 h 32475"/>
                      <a:gd name="connsiteX7" fmla="*/ 5083 w 32594"/>
                      <a:gd name="connsiteY7" fmla="*/ 25179 h 32475"/>
                      <a:gd name="connsiteX8" fmla="*/ 8074 w 32594"/>
                      <a:gd name="connsiteY8" fmla="*/ 25777 h 32475"/>
                      <a:gd name="connsiteX9" fmla="*/ 9509 w 32594"/>
                      <a:gd name="connsiteY9" fmla="*/ 22308 h 32475"/>
                      <a:gd name="connsiteX10" fmla="*/ 4605 w 32594"/>
                      <a:gd name="connsiteY10" fmla="*/ 12201 h 32475"/>
                      <a:gd name="connsiteX11" fmla="*/ 3170 w 32594"/>
                      <a:gd name="connsiteY11" fmla="*/ 14653 h 32475"/>
                      <a:gd name="connsiteX12" fmla="*/ 4784 w 32594"/>
                      <a:gd name="connsiteY12" fmla="*/ 15370 h 32475"/>
                      <a:gd name="connsiteX13" fmla="*/ 4784 w 32594"/>
                      <a:gd name="connsiteY13" fmla="*/ 15669 h 32475"/>
                      <a:gd name="connsiteX14" fmla="*/ 2093 w 32594"/>
                      <a:gd name="connsiteY14" fmla="*/ 16447 h 32475"/>
                      <a:gd name="connsiteX15" fmla="*/ 2033 w 32594"/>
                      <a:gd name="connsiteY15" fmla="*/ 16387 h 32475"/>
                      <a:gd name="connsiteX16" fmla="*/ 1973 w 32594"/>
                      <a:gd name="connsiteY16" fmla="*/ 16447 h 32475"/>
                      <a:gd name="connsiteX17" fmla="*/ 120 w 32594"/>
                      <a:gd name="connsiteY17" fmla="*/ 15729 h 32475"/>
                      <a:gd name="connsiteX18" fmla="*/ 0 w 32594"/>
                      <a:gd name="connsiteY18" fmla="*/ 15550 h 32475"/>
                      <a:gd name="connsiteX19" fmla="*/ 299 w 32594"/>
                      <a:gd name="connsiteY19" fmla="*/ 13576 h 32475"/>
                      <a:gd name="connsiteX20" fmla="*/ 358 w 32594"/>
                      <a:gd name="connsiteY20" fmla="*/ 13516 h 32475"/>
                      <a:gd name="connsiteX21" fmla="*/ 358 w 32594"/>
                      <a:gd name="connsiteY21" fmla="*/ 13397 h 32475"/>
                      <a:gd name="connsiteX22" fmla="*/ 4486 w 32594"/>
                      <a:gd name="connsiteY22" fmla="*/ 11662 h 32475"/>
                      <a:gd name="connsiteX23" fmla="*/ 8672 w 32594"/>
                      <a:gd name="connsiteY23" fmla="*/ 0 h 32475"/>
                      <a:gd name="connsiteX24" fmla="*/ 8971 w 32594"/>
                      <a:gd name="connsiteY24" fmla="*/ 0 h 32475"/>
                      <a:gd name="connsiteX25" fmla="*/ 14593 w 32594"/>
                      <a:gd name="connsiteY25" fmla="*/ 9749 h 32475"/>
                      <a:gd name="connsiteX26" fmla="*/ 17942 w 32594"/>
                      <a:gd name="connsiteY26" fmla="*/ 1495 h 32475"/>
                      <a:gd name="connsiteX27" fmla="*/ 18241 w 32594"/>
                      <a:gd name="connsiteY27" fmla="*/ 1555 h 32475"/>
                      <a:gd name="connsiteX28" fmla="*/ 19437 w 32594"/>
                      <a:gd name="connsiteY28" fmla="*/ 9928 h 32475"/>
                      <a:gd name="connsiteX29" fmla="*/ 32475 w 32594"/>
                      <a:gd name="connsiteY29" fmla="*/ 8433 h 32475"/>
                      <a:gd name="connsiteX30" fmla="*/ 32595 w 32594"/>
                      <a:gd name="connsiteY30" fmla="*/ 8732 h 32475"/>
                      <a:gd name="connsiteX31" fmla="*/ 20513 w 32594"/>
                      <a:gd name="connsiteY31" fmla="*/ 17344 h 32475"/>
                      <a:gd name="connsiteX32" fmla="*/ 21052 w 32594"/>
                      <a:gd name="connsiteY32" fmla="*/ 21052 h 32475"/>
                      <a:gd name="connsiteX33" fmla="*/ 20992 w 32594"/>
                      <a:gd name="connsiteY33" fmla="*/ 21052 h 32475"/>
                      <a:gd name="connsiteX34" fmla="*/ 20992 w 32594"/>
                      <a:gd name="connsiteY34" fmla="*/ 21172 h 32475"/>
                      <a:gd name="connsiteX35" fmla="*/ 14533 w 32594"/>
                      <a:gd name="connsiteY35" fmla="*/ 32415 h 32475"/>
                      <a:gd name="connsiteX36" fmla="*/ 14294 w 32594"/>
                      <a:gd name="connsiteY36" fmla="*/ 32415 h 32475"/>
                      <a:gd name="connsiteX37" fmla="*/ 14234 w 32594"/>
                      <a:gd name="connsiteY37" fmla="*/ 32475 h 32475"/>
                      <a:gd name="connsiteX38" fmla="*/ 8014 w 32594"/>
                      <a:gd name="connsiteY38" fmla="*/ 26196 h 32475"/>
                      <a:gd name="connsiteX39" fmla="*/ 3648 w 32594"/>
                      <a:gd name="connsiteY39" fmla="*/ 27093 h 32475"/>
                      <a:gd name="connsiteX40" fmla="*/ 3588 w 32594"/>
                      <a:gd name="connsiteY40" fmla="*/ 27033 h 32475"/>
                      <a:gd name="connsiteX41" fmla="*/ 3528 w 32594"/>
                      <a:gd name="connsiteY41" fmla="*/ 27033 h 32475"/>
                      <a:gd name="connsiteX42" fmla="*/ 2333 w 32594"/>
                      <a:gd name="connsiteY42" fmla="*/ 26255 h 32475"/>
                      <a:gd name="connsiteX43" fmla="*/ 2930 w 32594"/>
                      <a:gd name="connsiteY43" fmla="*/ 25358 h 32475"/>
                      <a:gd name="connsiteX44" fmla="*/ 2691 w 32594"/>
                      <a:gd name="connsiteY44" fmla="*/ 26016 h 32475"/>
                      <a:gd name="connsiteX45" fmla="*/ 3409 w 32594"/>
                      <a:gd name="connsiteY45" fmla="*/ 26435 h 32475"/>
                      <a:gd name="connsiteX46" fmla="*/ 2930 w 32594"/>
                      <a:gd name="connsiteY46" fmla="*/ 25358 h 32475"/>
                      <a:gd name="connsiteX47" fmla="*/ 4486 w 32594"/>
                      <a:gd name="connsiteY47" fmla="*/ 25418 h 32475"/>
                      <a:gd name="connsiteX48" fmla="*/ 3170 w 32594"/>
                      <a:gd name="connsiteY48" fmla="*/ 25179 h 32475"/>
                      <a:gd name="connsiteX49" fmla="*/ 3768 w 32594"/>
                      <a:gd name="connsiteY49" fmla="*/ 26554 h 32475"/>
                      <a:gd name="connsiteX50" fmla="*/ 4486 w 32594"/>
                      <a:gd name="connsiteY50" fmla="*/ 25418 h 32475"/>
                      <a:gd name="connsiteX51" fmla="*/ 6219 w 32594"/>
                      <a:gd name="connsiteY51" fmla="*/ 22727 h 32475"/>
                      <a:gd name="connsiteX52" fmla="*/ 3289 w 32594"/>
                      <a:gd name="connsiteY52" fmla="*/ 24820 h 32475"/>
                      <a:gd name="connsiteX53" fmla="*/ 4665 w 32594"/>
                      <a:gd name="connsiteY53" fmla="*/ 25059 h 32475"/>
                      <a:gd name="connsiteX54" fmla="*/ 6219 w 32594"/>
                      <a:gd name="connsiteY54" fmla="*/ 22727 h 32475"/>
                      <a:gd name="connsiteX55" fmla="*/ 4844 w 32594"/>
                      <a:gd name="connsiteY55" fmla="*/ 25478 h 32475"/>
                      <a:gd name="connsiteX56" fmla="*/ 4066 w 32594"/>
                      <a:gd name="connsiteY56" fmla="*/ 26614 h 32475"/>
                      <a:gd name="connsiteX57" fmla="*/ 7236 w 32594"/>
                      <a:gd name="connsiteY57" fmla="*/ 25956 h 32475"/>
                      <a:gd name="connsiteX58" fmla="*/ 4844 w 32594"/>
                      <a:gd name="connsiteY58" fmla="*/ 25478 h 32475"/>
                      <a:gd name="connsiteX59" fmla="*/ 538 w 32594"/>
                      <a:gd name="connsiteY59" fmla="*/ 14055 h 32475"/>
                      <a:gd name="connsiteX60" fmla="*/ 358 w 32594"/>
                      <a:gd name="connsiteY60" fmla="*/ 15430 h 32475"/>
                      <a:gd name="connsiteX61" fmla="*/ 1675 w 32594"/>
                      <a:gd name="connsiteY61" fmla="*/ 15909 h 32475"/>
                      <a:gd name="connsiteX62" fmla="*/ 538 w 32594"/>
                      <a:gd name="connsiteY62" fmla="*/ 14055 h 32475"/>
                      <a:gd name="connsiteX63" fmla="*/ 2691 w 32594"/>
                      <a:gd name="connsiteY63" fmla="*/ 14772 h 32475"/>
                      <a:gd name="connsiteX64" fmla="*/ 837 w 32594"/>
                      <a:gd name="connsiteY64" fmla="*/ 13935 h 32475"/>
                      <a:gd name="connsiteX65" fmla="*/ 2033 w 32594"/>
                      <a:gd name="connsiteY65" fmla="*/ 15909 h 32475"/>
                      <a:gd name="connsiteX66" fmla="*/ 2691 w 32594"/>
                      <a:gd name="connsiteY66" fmla="*/ 14772 h 32475"/>
                      <a:gd name="connsiteX67" fmla="*/ 4186 w 32594"/>
                      <a:gd name="connsiteY67" fmla="*/ 12141 h 32475"/>
                      <a:gd name="connsiteX68" fmla="*/ 837 w 32594"/>
                      <a:gd name="connsiteY68" fmla="*/ 13576 h 32475"/>
                      <a:gd name="connsiteX69" fmla="*/ 2811 w 32594"/>
                      <a:gd name="connsiteY69" fmla="*/ 14473 h 32475"/>
                      <a:gd name="connsiteX70" fmla="*/ 4186 w 32594"/>
                      <a:gd name="connsiteY70" fmla="*/ 12141 h 32475"/>
                      <a:gd name="connsiteX71" fmla="*/ 2990 w 32594"/>
                      <a:gd name="connsiteY71" fmla="*/ 14952 h 32475"/>
                      <a:gd name="connsiteX72" fmla="*/ 2392 w 32594"/>
                      <a:gd name="connsiteY72" fmla="*/ 16028 h 32475"/>
                      <a:gd name="connsiteX73" fmla="*/ 4246 w 32594"/>
                      <a:gd name="connsiteY73" fmla="*/ 15490 h 32475"/>
                      <a:gd name="connsiteX74" fmla="*/ 2990 w 32594"/>
                      <a:gd name="connsiteY74" fmla="*/ 14952 h 32475"/>
                      <a:gd name="connsiteX75" fmla="*/ 10526 w 32594"/>
                      <a:gd name="connsiteY75" fmla="*/ 24521 h 32475"/>
                      <a:gd name="connsiteX76" fmla="*/ 8433 w 32594"/>
                      <a:gd name="connsiteY76" fmla="*/ 26016 h 32475"/>
                      <a:gd name="connsiteX77" fmla="*/ 13875 w 32594"/>
                      <a:gd name="connsiteY77" fmla="*/ 31458 h 32475"/>
                      <a:gd name="connsiteX78" fmla="*/ 10526 w 32594"/>
                      <a:gd name="connsiteY78" fmla="*/ 24521 h 32475"/>
                      <a:gd name="connsiteX79" fmla="*/ 9689 w 32594"/>
                      <a:gd name="connsiteY79" fmla="*/ 22727 h 32475"/>
                      <a:gd name="connsiteX80" fmla="*/ 8552 w 32594"/>
                      <a:gd name="connsiteY80" fmla="*/ 25478 h 32475"/>
                      <a:gd name="connsiteX81" fmla="*/ 10347 w 32594"/>
                      <a:gd name="connsiteY81" fmla="*/ 24162 h 32475"/>
                      <a:gd name="connsiteX82" fmla="*/ 9689 w 32594"/>
                      <a:gd name="connsiteY82" fmla="*/ 22727 h 32475"/>
                      <a:gd name="connsiteX83" fmla="*/ 11961 w 32594"/>
                      <a:gd name="connsiteY83" fmla="*/ 16208 h 32475"/>
                      <a:gd name="connsiteX84" fmla="*/ 4964 w 32594"/>
                      <a:gd name="connsiteY84" fmla="*/ 12260 h 32475"/>
                      <a:gd name="connsiteX85" fmla="*/ 9629 w 32594"/>
                      <a:gd name="connsiteY85" fmla="*/ 21949 h 32475"/>
                      <a:gd name="connsiteX86" fmla="*/ 11961 w 32594"/>
                      <a:gd name="connsiteY86" fmla="*/ 16208 h 32475"/>
                      <a:gd name="connsiteX87" fmla="*/ 8851 w 32594"/>
                      <a:gd name="connsiteY87" fmla="*/ 478 h 32475"/>
                      <a:gd name="connsiteX88" fmla="*/ 4844 w 32594"/>
                      <a:gd name="connsiteY88" fmla="*/ 11603 h 32475"/>
                      <a:gd name="connsiteX89" fmla="*/ 14234 w 32594"/>
                      <a:gd name="connsiteY89" fmla="*/ 10526 h 32475"/>
                      <a:gd name="connsiteX90" fmla="*/ 14414 w 32594"/>
                      <a:gd name="connsiteY90" fmla="*/ 10167 h 32475"/>
                      <a:gd name="connsiteX91" fmla="*/ 8851 w 32594"/>
                      <a:gd name="connsiteY91" fmla="*/ 478 h 32475"/>
                      <a:gd name="connsiteX92" fmla="*/ 14114 w 32594"/>
                      <a:gd name="connsiteY92" fmla="*/ 10885 h 32475"/>
                      <a:gd name="connsiteX93" fmla="*/ 5143 w 32594"/>
                      <a:gd name="connsiteY93" fmla="*/ 11902 h 32475"/>
                      <a:gd name="connsiteX94" fmla="*/ 12081 w 32594"/>
                      <a:gd name="connsiteY94" fmla="*/ 15849 h 32475"/>
                      <a:gd name="connsiteX95" fmla="*/ 14114 w 32594"/>
                      <a:gd name="connsiteY95" fmla="*/ 10885 h 32475"/>
                      <a:gd name="connsiteX96" fmla="*/ 12260 w 32594"/>
                      <a:gd name="connsiteY96" fmla="*/ 16327 h 32475"/>
                      <a:gd name="connsiteX97" fmla="*/ 9868 w 32594"/>
                      <a:gd name="connsiteY97" fmla="*/ 22248 h 32475"/>
                      <a:gd name="connsiteX98" fmla="*/ 10705 w 32594"/>
                      <a:gd name="connsiteY98" fmla="*/ 23923 h 32475"/>
                      <a:gd name="connsiteX99" fmla="*/ 17344 w 32594"/>
                      <a:gd name="connsiteY99" fmla="*/ 19138 h 32475"/>
                      <a:gd name="connsiteX100" fmla="*/ 12260 w 32594"/>
                      <a:gd name="connsiteY100" fmla="*/ 16327 h 32475"/>
                      <a:gd name="connsiteX101" fmla="*/ 17643 w 32594"/>
                      <a:gd name="connsiteY101" fmla="*/ 19377 h 32475"/>
                      <a:gd name="connsiteX102" fmla="*/ 10765 w 32594"/>
                      <a:gd name="connsiteY102" fmla="*/ 24282 h 32475"/>
                      <a:gd name="connsiteX103" fmla="*/ 14414 w 32594"/>
                      <a:gd name="connsiteY103" fmla="*/ 31877 h 32475"/>
                      <a:gd name="connsiteX104" fmla="*/ 20633 w 32594"/>
                      <a:gd name="connsiteY104" fmla="*/ 21052 h 32475"/>
                      <a:gd name="connsiteX105" fmla="*/ 17643 w 32594"/>
                      <a:gd name="connsiteY105" fmla="*/ 19377 h 32475"/>
                      <a:gd name="connsiteX106" fmla="*/ 14473 w 32594"/>
                      <a:gd name="connsiteY106" fmla="*/ 10825 h 32475"/>
                      <a:gd name="connsiteX107" fmla="*/ 12380 w 32594"/>
                      <a:gd name="connsiteY107" fmla="*/ 16028 h 32475"/>
                      <a:gd name="connsiteX108" fmla="*/ 17643 w 32594"/>
                      <a:gd name="connsiteY108" fmla="*/ 19019 h 32475"/>
                      <a:gd name="connsiteX109" fmla="*/ 19018 w 32594"/>
                      <a:gd name="connsiteY109" fmla="*/ 18062 h 32475"/>
                      <a:gd name="connsiteX110" fmla="*/ 14832 w 32594"/>
                      <a:gd name="connsiteY110" fmla="*/ 10825 h 32475"/>
                      <a:gd name="connsiteX111" fmla="*/ 14473 w 32594"/>
                      <a:gd name="connsiteY111" fmla="*/ 10825 h 32475"/>
                      <a:gd name="connsiteX112" fmla="*/ 19138 w 32594"/>
                      <a:gd name="connsiteY112" fmla="*/ 18361 h 32475"/>
                      <a:gd name="connsiteX113" fmla="*/ 17942 w 32594"/>
                      <a:gd name="connsiteY113" fmla="*/ 19198 h 32475"/>
                      <a:gd name="connsiteX114" fmla="*/ 20454 w 32594"/>
                      <a:gd name="connsiteY114" fmla="*/ 20633 h 32475"/>
                      <a:gd name="connsiteX115" fmla="*/ 19138 w 32594"/>
                      <a:gd name="connsiteY115" fmla="*/ 18361 h 32475"/>
                      <a:gd name="connsiteX116" fmla="*/ 18002 w 32594"/>
                      <a:gd name="connsiteY116" fmla="*/ 2213 h 32475"/>
                      <a:gd name="connsiteX117" fmla="*/ 14772 w 32594"/>
                      <a:gd name="connsiteY117" fmla="*/ 10107 h 32475"/>
                      <a:gd name="connsiteX118" fmla="*/ 14952 w 32594"/>
                      <a:gd name="connsiteY118" fmla="*/ 10406 h 32475"/>
                      <a:gd name="connsiteX119" fmla="*/ 19078 w 32594"/>
                      <a:gd name="connsiteY119" fmla="*/ 9928 h 32475"/>
                      <a:gd name="connsiteX120" fmla="*/ 18002 w 32594"/>
                      <a:gd name="connsiteY120" fmla="*/ 2213 h 32475"/>
                      <a:gd name="connsiteX121" fmla="*/ 19198 w 32594"/>
                      <a:gd name="connsiteY121" fmla="*/ 10287 h 32475"/>
                      <a:gd name="connsiteX122" fmla="*/ 15191 w 32594"/>
                      <a:gd name="connsiteY122" fmla="*/ 10765 h 32475"/>
                      <a:gd name="connsiteX123" fmla="*/ 19258 w 32594"/>
                      <a:gd name="connsiteY123" fmla="*/ 17822 h 32475"/>
                      <a:gd name="connsiteX124" fmla="*/ 20215 w 32594"/>
                      <a:gd name="connsiteY124" fmla="*/ 17165 h 32475"/>
                      <a:gd name="connsiteX125" fmla="*/ 19198 w 32594"/>
                      <a:gd name="connsiteY125" fmla="*/ 10287 h 32475"/>
                      <a:gd name="connsiteX126" fmla="*/ 20215 w 32594"/>
                      <a:gd name="connsiteY126" fmla="*/ 17583 h 32475"/>
                      <a:gd name="connsiteX127" fmla="*/ 19377 w 32594"/>
                      <a:gd name="connsiteY127" fmla="*/ 18181 h 32475"/>
                      <a:gd name="connsiteX128" fmla="*/ 20573 w 32594"/>
                      <a:gd name="connsiteY128" fmla="*/ 20275 h 32475"/>
                      <a:gd name="connsiteX129" fmla="*/ 20215 w 32594"/>
                      <a:gd name="connsiteY129" fmla="*/ 17583 h 32475"/>
                      <a:gd name="connsiteX130" fmla="*/ 19497 w 32594"/>
                      <a:gd name="connsiteY130" fmla="*/ 10227 h 32475"/>
                      <a:gd name="connsiteX131" fmla="*/ 20454 w 32594"/>
                      <a:gd name="connsiteY131" fmla="*/ 16925 h 32475"/>
                      <a:gd name="connsiteX132" fmla="*/ 31877 w 32594"/>
                      <a:gd name="connsiteY132" fmla="*/ 8792 h 32475"/>
                      <a:gd name="connsiteX133" fmla="*/ 19497 w 32594"/>
                      <a:gd name="connsiteY133" fmla="*/ 10227 h 3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32594" h="32475">
                        <a:moveTo>
                          <a:pt x="2333" y="26255"/>
                        </a:moveTo>
                        <a:lnTo>
                          <a:pt x="2273" y="26016"/>
                        </a:lnTo>
                        <a:lnTo>
                          <a:pt x="2751" y="24880"/>
                        </a:lnTo>
                        <a:lnTo>
                          <a:pt x="2811" y="24880"/>
                        </a:lnTo>
                        <a:lnTo>
                          <a:pt x="2811" y="24820"/>
                        </a:lnTo>
                        <a:lnTo>
                          <a:pt x="6818" y="21949"/>
                        </a:lnTo>
                        <a:lnTo>
                          <a:pt x="7057" y="22188"/>
                        </a:lnTo>
                        <a:lnTo>
                          <a:pt x="5083" y="25179"/>
                        </a:lnTo>
                        <a:lnTo>
                          <a:pt x="8074" y="25777"/>
                        </a:lnTo>
                        <a:lnTo>
                          <a:pt x="9509" y="22308"/>
                        </a:lnTo>
                        <a:lnTo>
                          <a:pt x="4605" y="12201"/>
                        </a:lnTo>
                        <a:lnTo>
                          <a:pt x="3170" y="14653"/>
                        </a:lnTo>
                        <a:lnTo>
                          <a:pt x="4784" y="15370"/>
                        </a:lnTo>
                        <a:lnTo>
                          <a:pt x="4784" y="15669"/>
                        </a:lnTo>
                        <a:lnTo>
                          <a:pt x="2093" y="16447"/>
                        </a:lnTo>
                        <a:lnTo>
                          <a:pt x="2033" y="16387"/>
                        </a:lnTo>
                        <a:lnTo>
                          <a:pt x="1973" y="16447"/>
                        </a:lnTo>
                        <a:lnTo>
                          <a:pt x="120" y="15729"/>
                        </a:lnTo>
                        <a:lnTo>
                          <a:pt x="0" y="15550"/>
                        </a:lnTo>
                        <a:lnTo>
                          <a:pt x="299" y="13576"/>
                        </a:lnTo>
                        <a:lnTo>
                          <a:pt x="358" y="13516"/>
                        </a:lnTo>
                        <a:lnTo>
                          <a:pt x="358" y="13397"/>
                        </a:lnTo>
                        <a:lnTo>
                          <a:pt x="4486" y="11662"/>
                        </a:lnTo>
                        <a:lnTo>
                          <a:pt x="8672" y="0"/>
                        </a:lnTo>
                        <a:lnTo>
                          <a:pt x="8971" y="0"/>
                        </a:lnTo>
                        <a:lnTo>
                          <a:pt x="14593" y="9749"/>
                        </a:lnTo>
                        <a:lnTo>
                          <a:pt x="17942" y="1495"/>
                        </a:lnTo>
                        <a:lnTo>
                          <a:pt x="18241" y="1555"/>
                        </a:lnTo>
                        <a:lnTo>
                          <a:pt x="19437" y="9928"/>
                        </a:lnTo>
                        <a:lnTo>
                          <a:pt x="32475" y="8433"/>
                        </a:lnTo>
                        <a:lnTo>
                          <a:pt x="32595" y="8732"/>
                        </a:lnTo>
                        <a:lnTo>
                          <a:pt x="20513" y="17344"/>
                        </a:lnTo>
                        <a:lnTo>
                          <a:pt x="21052" y="21052"/>
                        </a:lnTo>
                        <a:lnTo>
                          <a:pt x="20992" y="21052"/>
                        </a:lnTo>
                        <a:lnTo>
                          <a:pt x="20992" y="21172"/>
                        </a:lnTo>
                        <a:lnTo>
                          <a:pt x="14533" y="32415"/>
                        </a:lnTo>
                        <a:lnTo>
                          <a:pt x="14294" y="32415"/>
                        </a:lnTo>
                        <a:lnTo>
                          <a:pt x="14234" y="32475"/>
                        </a:lnTo>
                        <a:lnTo>
                          <a:pt x="8014" y="26196"/>
                        </a:lnTo>
                        <a:lnTo>
                          <a:pt x="3648" y="27093"/>
                        </a:lnTo>
                        <a:lnTo>
                          <a:pt x="3588" y="27033"/>
                        </a:lnTo>
                        <a:lnTo>
                          <a:pt x="3528" y="27033"/>
                        </a:lnTo>
                        <a:lnTo>
                          <a:pt x="2333" y="26255"/>
                        </a:lnTo>
                        <a:close/>
                        <a:moveTo>
                          <a:pt x="2930" y="25358"/>
                        </a:moveTo>
                        <a:lnTo>
                          <a:pt x="2691" y="26016"/>
                        </a:lnTo>
                        <a:lnTo>
                          <a:pt x="3409" y="26435"/>
                        </a:lnTo>
                        <a:lnTo>
                          <a:pt x="2930" y="25358"/>
                        </a:lnTo>
                        <a:close/>
                        <a:moveTo>
                          <a:pt x="4486" y="25418"/>
                        </a:moveTo>
                        <a:lnTo>
                          <a:pt x="3170" y="25179"/>
                        </a:lnTo>
                        <a:lnTo>
                          <a:pt x="3768" y="26554"/>
                        </a:lnTo>
                        <a:lnTo>
                          <a:pt x="4486" y="25418"/>
                        </a:lnTo>
                        <a:close/>
                        <a:moveTo>
                          <a:pt x="6219" y="22727"/>
                        </a:moveTo>
                        <a:lnTo>
                          <a:pt x="3289" y="24820"/>
                        </a:lnTo>
                        <a:lnTo>
                          <a:pt x="4665" y="25059"/>
                        </a:lnTo>
                        <a:lnTo>
                          <a:pt x="6219" y="22727"/>
                        </a:lnTo>
                        <a:close/>
                        <a:moveTo>
                          <a:pt x="4844" y="25478"/>
                        </a:moveTo>
                        <a:lnTo>
                          <a:pt x="4066" y="26614"/>
                        </a:lnTo>
                        <a:lnTo>
                          <a:pt x="7236" y="25956"/>
                        </a:lnTo>
                        <a:lnTo>
                          <a:pt x="4844" y="25478"/>
                        </a:lnTo>
                        <a:close/>
                        <a:moveTo>
                          <a:pt x="538" y="14055"/>
                        </a:moveTo>
                        <a:lnTo>
                          <a:pt x="358" y="15430"/>
                        </a:lnTo>
                        <a:lnTo>
                          <a:pt x="1675" y="15909"/>
                        </a:lnTo>
                        <a:lnTo>
                          <a:pt x="538" y="14055"/>
                        </a:lnTo>
                        <a:close/>
                        <a:moveTo>
                          <a:pt x="2691" y="14772"/>
                        </a:moveTo>
                        <a:lnTo>
                          <a:pt x="837" y="13935"/>
                        </a:lnTo>
                        <a:lnTo>
                          <a:pt x="2033" y="15909"/>
                        </a:lnTo>
                        <a:lnTo>
                          <a:pt x="2691" y="14772"/>
                        </a:lnTo>
                        <a:close/>
                        <a:moveTo>
                          <a:pt x="4186" y="12141"/>
                        </a:moveTo>
                        <a:lnTo>
                          <a:pt x="837" y="13576"/>
                        </a:lnTo>
                        <a:lnTo>
                          <a:pt x="2811" y="14473"/>
                        </a:lnTo>
                        <a:lnTo>
                          <a:pt x="4186" y="12141"/>
                        </a:lnTo>
                        <a:close/>
                        <a:moveTo>
                          <a:pt x="2990" y="14952"/>
                        </a:moveTo>
                        <a:lnTo>
                          <a:pt x="2392" y="16028"/>
                        </a:lnTo>
                        <a:lnTo>
                          <a:pt x="4246" y="15490"/>
                        </a:lnTo>
                        <a:lnTo>
                          <a:pt x="2990" y="14952"/>
                        </a:lnTo>
                        <a:close/>
                        <a:moveTo>
                          <a:pt x="10526" y="24521"/>
                        </a:moveTo>
                        <a:lnTo>
                          <a:pt x="8433" y="26016"/>
                        </a:lnTo>
                        <a:lnTo>
                          <a:pt x="13875" y="31458"/>
                        </a:lnTo>
                        <a:lnTo>
                          <a:pt x="10526" y="24521"/>
                        </a:lnTo>
                        <a:close/>
                        <a:moveTo>
                          <a:pt x="9689" y="22727"/>
                        </a:moveTo>
                        <a:lnTo>
                          <a:pt x="8552" y="25478"/>
                        </a:lnTo>
                        <a:lnTo>
                          <a:pt x="10347" y="24162"/>
                        </a:lnTo>
                        <a:lnTo>
                          <a:pt x="9689" y="22727"/>
                        </a:lnTo>
                        <a:close/>
                        <a:moveTo>
                          <a:pt x="11961" y="16208"/>
                        </a:moveTo>
                        <a:lnTo>
                          <a:pt x="4964" y="12260"/>
                        </a:lnTo>
                        <a:lnTo>
                          <a:pt x="9629" y="21949"/>
                        </a:lnTo>
                        <a:lnTo>
                          <a:pt x="11961" y="16208"/>
                        </a:lnTo>
                        <a:close/>
                        <a:moveTo>
                          <a:pt x="8851" y="478"/>
                        </a:moveTo>
                        <a:lnTo>
                          <a:pt x="4844" y="11603"/>
                        </a:lnTo>
                        <a:lnTo>
                          <a:pt x="14234" y="10526"/>
                        </a:lnTo>
                        <a:lnTo>
                          <a:pt x="14414" y="10167"/>
                        </a:lnTo>
                        <a:lnTo>
                          <a:pt x="8851" y="478"/>
                        </a:lnTo>
                        <a:close/>
                        <a:moveTo>
                          <a:pt x="14114" y="10885"/>
                        </a:moveTo>
                        <a:lnTo>
                          <a:pt x="5143" y="11902"/>
                        </a:lnTo>
                        <a:lnTo>
                          <a:pt x="12081" y="15849"/>
                        </a:lnTo>
                        <a:lnTo>
                          <a:pt x="14114" y="10885"/>
                        </a:lnTo>
                        <a:close/>
                        <a:moveTo>
                          <a:pt x="12260" y="16327"/>
                        </a:moveTo>
                        <a:lnTo>
                          <a:pt x="9868" y="22248"/>
                        </a:lnTo>
                        <a:lnTo>
                          <a:pt x="10705" y="23923"/>
                        </a:lnTo>
                        <a:lnTo>
                          <a:pt x="17344" y="19138"/>
                        </a:lnTo>
                        <a:lnTo>
                          <a:pt x="12260" y="16327"/>
                        </a:lnTo>
                        <a:close/>
                        <a:moveTo>
                          <a:pt x="17643" y="19377"/>
                        </a:moveTo>
                        <a:lnTo>
                          <a:pt x="10765" y="24282"/>
                        </a:lnTo>
                        <a:lnTo>
                          <a:pt x="14414" y="31877"/>
                        </a:lnTo>
                        <a:lnTo>
                          <a:pt x="20633" y="21052"/>
                        </a:lnTo>
                        <a:lnTo>
                          <a:pt x="17643" y="19377"/>
                        </a:lnTo>
                        <a:close/>
                        <a:moveTo>
                          <a:pt x="14473" y="10825"/>
                        </a:moveTo>
                        <a:lnTo>
                          <a:pt x="12380" y="16028"/>
                        </a:lnTo>
                        <a:lnTo>
                          <a:pt x="17643" y="19019"/>
                        </a:lnTo>
                        <a:lnTo>
                          <a:pt x="19018" y="18062"/>
                        </a:lnTo>
                        <a:lnTo>
                          <a:pt x="14832" y="10825"/>
                        </a:lnTo>
                        <a:lnTo>
                          <a:pt x="14473" y="10825"/>
                        </a:lnTo>
                        <a:close/>
                        <a:moveTo>
                          <a:pt x="19138" y="18361"/>
                        </a:moveTo>
                        <a:lnTo>
                          <a:pt x="17942" y="19198"/>
                        </a:lnTo>
                        <a:lnTo>
                          <a:pt x="20454" y="20633"/>
                        </a:lnTo>
                        <a:lnTo>
                          <a:pt x="19138" y="18361"/>
                        </a:lnTo>
                        <a:close/>
                        <a:moveTo>
                          <a:pt x="18002" y="2213"/>
                        </a:moveTo>
                        <a:lnTo>
                          <a:pt x="14772" y="10107"/>
                        </a:lnTo>
                        <a:lnTo>
                          <a:pt x="14952" y="10406"/>
                        </a:lnTo>
                        <a:lnTo>
                          <a:pt x="19078" y="9928"/>
                        </a:lnTo>
                        <a:lnTo>
                          <a:pt x="18002" y="2213"/>
                        </a:lnTo>
                        <a:close/>
                        <a:moveTo>
                          <a:pt x="19198" y="10287"/>
                        </a:moveTo>
                        <a:lnTo>
                          <a:pt x="15191" y="10765"/>
                        </a:lnTo>
                        <a:lnTo>
                          <a:pt x="19258" y="17822"/>
                        </a:lnTo>
                        <a:lnTo>
                          <a:pt x="20215" y="17165"/>
                        </a:lnTo>
                        <a:lnTo>
                          <a:pt x="19198" y="10287"/>
                        </a:lnTo>
                        <a:close/>
                        <a:moveTo>
                          <a:pt x="20215" y="17583"/>
                        </a:moveTo>
                        <a:lnTo>
                          <a:pt x="19377" y="18181"/>
                        </a:lnTo>
                        <a:lnTo>
                          <a:pt x="20573" y="20275"/>
                        </a:lnTo>
                        <a:lnTo>
                          <a:pt x="20215" y="17583"/>
                        </a:lnTo>
                        <a:close/>
                        <a:moveTo>
                          <a:pt x="19497" y="10227"/>
                        </a:moveTo>
                        <a:lnTo>
                          <a:pt x="20454" y="16925"/>
                        </a:lnTo>
                        <a:lnTo>
                          <a:pt x="31877" y="8792"/>
                        </a:lnTo>
                        <a:lnTo>
                          <a:pt x="19497" y="10227"/>
                        </a:lnTo>
                        <a:close/>
                      </a:path>
                    </a:pathLst>
                  </a:custGeom>
                  <a:noFill/>
                  <a:ln w="6350" cap="flat">
                    <a:solidFill>
                      <a:schemeClr val="bg1">
                        <a:alpha val="40000"/>
                      </a:schemeClr>
                    </a:solidFill>
                    <a:prstDash val="solid"/>
                    <a:miter/>
                  </a:ln>
                </p:spPr>
                <p:txBody>
                  <a:bodyPr rtlCol="0" anchor="ctr"/>
                  <a:lstStyle/>
                  <a:p>
                    <a:endParaRPr lang="en-GB"/>
                  </a:p>
                </p:txBody>
              </p:sp>
            </p:grpSp>
            <p:grpSp>
              <p:nvGrpSpPr>
                <p:cNvPr id="5853" name="Graphic 3">
                  <a:extLst>
                    <a:ext uri="{FF2B5EF4-FFF2-40B4-BE49-F238E27FC236}">
                      <a16:creationId xmlns:a16="http://schemas.microsoft.com/office/drawing/2014/main" id="{A7657370-E00F-4378-94A9-A62C74A07AED}"/>
                    </a:ext>
                  </a:extLst>
                </p:cNvPr>
                <p:cNvGrpSpPr/>
                <p:nvPr/>
              </p:nvGrpSpPr>
              <p:grpSpPr>
                <a:xfrm>
                  <a:off x="7837795" y="2857194"/>
                  <a:ext cx="24426" cy="37642"/>
                  <a:chOff x="7837795" y="2857194"/>
                  <a:chExt cx="24426" cy="37642"/>
                </a:xfrm>
                <a:solidFill>
                  <a:srgbClr val="FFFFFF"/>
                </a:solidFill>
              </p:grpSpPr>
              <p:sp>
                <p:nvSpPr>
                  <p:cNvPr id="5854" name="Vrije vorm: vorm 5853">
                    <a:extLst>
                      <a:ext uri="{FF2B5EF4-FFF2-40B4-BE49-F238E27FC236}">
                        <a16:creationId xmlns:a16="http://schemas.microsoft.com/office/drawing/2014/main" id="{101DC39D-6370-4016-9569-92C168CC71F9}"/>
                      </a:ext>
                    </a:extLst>
                  </p:cNvPr>
                  <p:cNvSpPr/>
                  <p:nvPr/>
                </p:nvSpPr>
                <p:spPr>
                  <a:xfrm>
                    <a:off x="7837795" y="2876200"/>
                    <a:ext cx="5915" cy="9799"/>
                  </a:xfrm>
                  <a:custGeom>
                    <a:avLst/>
                    <a:gdLst>
                      <a:gd name="connsiteX0" fmla="*/ 2891 w 5915"/>
                      <a:gd name="connsiteY0" fmla="*/ 9000 h 9799"/>
                      <a:gd name="connsiteX1" fmla="*/ 2831 w 5915"/>
                      <a:gd name="connsiteY1" fmla="*/ 8880 h 9799"/>
                      <a:gd name="connsiteX2" fmla="*/ 139 w 5915"/>
                      <a:gd name="connsiteY2" fmla="*/ 2122 h 9799"/>
                      <a:gd name="connsiteX3" fmla="*/ 917 w 5915"/>
                      <a:gd name="connsiteY3" fmla="*/ 208 h 9799"/>
                      <a:gd name="connsiteX4" fmla="*/ 3011 w 5915"/>
                      <a:gd name="connsiteY4" fmla="*/ 687 h 9799"/>
                      <a:gd name="connsiteX5" fmla="*/ 5881 w 5915"/>
                      <a:gd name="connsiteY5" fmla="*/ 7923 h 9799"/>
                      <a:gd name="connsiteX6" fmla="*/ 4685 w 5915"/>
                      <a:gd name="connsiteY6" fmla="*/ 9718 h 9799"/>
                      <a:gd name="connsiteX7" fmla="*/ 2891 w 5915"/>
                      <a:gd name="connsiteY7" fmla="*/ 9000 h 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15" h="9799">
                        <a:moveTo>
                          <a:pt x="2891" y="9000"/>
                        </a:moveTo>
                        <a:cubicBezTo>
                          <a:pt x="2891" y="8940"/>
                          <a:pt x="2831" y="8940"/>
                          <a:pt x="2831" y="8880"/>
                        </a:cubicBezTo>
                        <a:cubicBezTo>
                          <a:pt x="2114" y="6069"/>
                          <a:pt x="1575" y="4694"/>
                          <a:pt x="139" y="2122"/>
                        </a:cubicBezTo>
                        <a:cubicBezTo>
                          <a:pt x="-219" y="1464"/>
                          <a:pt x="139" y="627"/>
                          <a:pt x="917" y="208"/>
                        </a:cubicBezTo>
                        <a:cubicBezTo>
                          <a:pt x="1695" y="-210"/>
                          <a:pt x="2652" y="29"/>
                          <a:pt x="3011" y="687"/>
                        </a:cubicBezTo>
                        <a:cubicBezTo>
                          <a:pt x="4506" y="3438"/>
                          <a:pt x="5104" y="4933"/>
                          <a:pt x="5881" y="7923"/>
                        </a:cubicBezTo>
                        <a:cubicBezTo>
                          <a:pt x="6060" y="8641"/>
                          <a:pt x="5522" y="9419"/>
                          <a:pt x="4685" y="9718"/>
                        </a:cubicBezTo>
                        <a:cubicBezTo>
                          <a:pt x="3967" y="9957"/>
                          <a:pt x="3130" y="9658"/>
                          <a:pt x="2891" y="9000"/>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855" name="Vrije vorm: vorm 5854">
                    <a:extLst>
                      <a:ext uri="{FF2B5EF4-FFF2-40B4-BE49-F238E27FC236}">
                        <a16:creationId xmlns:a16="http://schemas.microsoft.com/office/drawing/2014/main" id="{117D5A27-0AC9-43D6-BF1F-2A5C08CF4693}"/>
                      </a:ext>
                    </a:extLst>
                  </p:cNvPr>
                  <p:cNvSpPr/>
                  <p:nvPr/>
                </p:nvSpPr>
                <p:spPr>
                  <a:xfrm>
                    <a:off x="7841023" y="2870333"/>
                    <a:ext cx="9068" cy="17718"/>
                  </a:xfrm>
                  <a:custGeom>
                    <a:avLst/>
                    <a:gdLst>
                      <a:gd name="connsiteX0" fmla="*/ 82 w 9068"/>
                      <a:gd name="connsiteY0" fmla="*/ 2008 h 17718"/>
                      <a:gd name="connsiteX1" fmla="*/ 800 w 9068"/>
                      <a:gd name="connsiteY1" fmla="*/ 274 h 17718"/>
                      <a:gd name="connsiteX2" fmla="*/ 2953 w 9068"/>
                      <a:gd name="connsiteY2" fmla="*/ 573 h 17718"/>
                      <a:gd name="connsiteX3" fmla="*/ 6900 w 9068"/>
                      <a:gd name="connsiteY3" fmla="*/ 7929 h 17718"/>
                      <a:gd name="connsiteX4" fmla="*/ 9053 w 9068"/>
                      <a:gd name="connsiteY4" fmla="*/ 16003 h 17718"/>
                      <a:gd name="connsiteX5" fmla="*/ 7678 w 9068"/>
                      <a:gd name="connsiteY5" fmla="*/ 17678 h 17718"/>
                      <a:gd name="connsiteX6" fmla="*/ 5943 w 9068"/>
                      <a:gd name="connsiteY6" fmla="*/ 16661 h 17718"/>
                      <a:gd name="connsiteX7" fmla="*/ 3910 w 9068"/>
                      <a:gd name="connsiteY7" fmla="*/ 9065 h 17718"/>
                      <a:gd name="connsiteX8" fmla="*/ 202 w 9068"/>
                      <a:gd name="connsiteY8" fmla="*/ 2128 h 17718"/>
                      <a:gd name="connsiteX9" fmla="*/ 82 w 9068"/>
                      <a:gd name="connsiteY9" fmla="*/ 2008 h 1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68" h="17718">
                        <a:moveTo>
                          <a:pt x="82" y="2008"/>
                        </a:moveTo>
                        <a:cubicBezTo>
                          <a:pt x="-158" y="1410"/>
                          <a:pt x="142" y="692"/>
                          <a:pt x="800" y="274"/>
                        </a:cubicBezTo>
                        <a:cubicBezTo>
                          <a:pt x="1577" y="-205"/>
                          <a:pt x="2534" y="-25"/>
                          <a:pt x="2953" y="573"/>
                        </a:cubicBezTo>
                        <a:cubicBezTo>
                          <a:pt x="4627" y="3025"/>
                          <a:pt x="5823" y="5178"/>
                          <a:pt x="6900" y="7929"/>
                        </a:cubicBezTo>
                        <a:cubicBezTo>
                          <a:pt x="7977" y="10680"/>
                          <a:pt x="8635" y="13073"/>
                          <a:pt x="9053" y="16003"/>
                        </a:cubicBezTo>
                        <a:cubicBezTo>
                          <a:pt x="9173" y="16721"/>
                          <a:pt x="8575" y="17498"/>
                          <a:pt x="7678" y="17678"/>
                        </a:cubicBezTo>
                        <a:cubicBezTo>
                          <a:pt x="6840" y="17857"/>
                          <a:pt x="6003" y="17439"/>
                          <a:pt x="5943" y="16661"/>
                        </a:cubicBezTo>
                        <a:cubicBezTo>
                          <a:pt x="5405" y="13192"/>
                          <a:pt x="4627" y="10919"/>
                          <a:pt x="3910" y="9065"/>
                        </a:cubicBezTo>
                        <a:cubicBezTo>
                          <a:pt x="3192" y="7271"/>
                          <a:pt x="2175" y="4999"/>
                          <a:pt x="202" y="2128"/>
                        </a:cubicBezTo>
                        <a:cubicBezTo>
                          <a:pt x="142" y="2188"/>
                          <a:pt x="82" y="2128"/>
                          <a:pt x="82" y="2008"/>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856" name="Vrije vorm: vorm 5855">
                    <a:extLst>
                      <a:ext uri="{FF2B5EF4-FFF2-40B4-BE49-F238E27FC236}">
                        <a16:creationId xmlns:a16="http://schemas.microsoft.com/office/drawing/2014/main" id="{9D4E660F-0D94-421D-AF23-F08189E1AA05}"/>
                      </a:ext>
                    </a:extLst>
                  </p:cNvPr>
                  <p:cNvSpPr/>
                  <p:nvPr/>
                </p:nvSpPr>
                <p:spPr>
                  <a:xfrm>
                    <a:off x="7843150" y="2863540"/>
                    <a:ext cx="13145" cy="28022"/>
                  </a:xfrm>
                  <a:custGeom>
                    <a:avLst/>
                    <a:gdLst>
                      <a:gd name="connsiteX0" fmla="*/ 10096 w 13145"/>
                      <a:gd name="connsiteY0" fmla="*/ 27222 h 28022"/>
                      <a:gd name="connsiteX1" fmla="*/ 10036 w 13145"/>
                      <a:gd name="connsiteY1" fmla="*/ 26864 h 28022"/>
                      <a:gd name="connsiteX2" fmla="*/ 8600 w 13145"/>
                      <a:gd name="connsiteY2" fmla="*/ 17593 h 28022"/>
                      <a:gd name="connsiteX3" fmla="*/ 5610 w 13145"/>
                      <a:gd name="connsiteY3" fmla="*/ 10058 h 28022"/>
                      <a:gd name="connsiteX4" fmla="*/ 287 w 13145"/>
                      <a:gd name="connsiteY4" fmla="*/ 2343 h 28022"/>
                      <a:gd name="connsiteX5" fmla="*/ 646 w 13145"/>
                      <a:gd name="connsiteY5" fmla="*/ 369 h 28022"/>
                      <a:gd name="connsiteX6" fmla="*/ 2859 w 13145"/>
                      <a:gd name="connsiteY6" fmla="*/ 489 h 28022"/>
                      <a:gd name="connsiteX7" fmla="*/ 8481 w 13145"/>
                      <a:gd name="connsiteY7" fmla="*/ 8682 h 28022"/>
                      <a:gd name="connsiteX8" fmla="*/ 11651 w 13145"/>
                      <a:gd name="connsiteY8" fmla="*/ 16636 h 28022"/>
                      <a:gd name="connsiteX9" fmla="*/ 13146 w 13145"/>
                      <a:gd name="connsiteY9" fmla="*/ 26445 h 28022"/>
                      <a:gd name="connsiteX10" fmla="*/ 11591 w 13145"/>
                      <a:gd name="connsiteY10" fmla="*/ 28000 h 28022"/>
                      <a:gd name="connsiteX11" fmla="*/ 10096 w 13145"/>
                      <a:gd name="connsiteY11" fmla="*/ 27222 h 28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145" h="28022">
                        <a:moveTo>
                          <a:pt x="10096" y="27222"/>
                        </a:moveTo>
                        <a:cubicBezTo>
                          <a:pt x="10036" y="27103"/>
                          <a:pt x="10036" y="26983"/>
                          <a:pt x="10036" y="26864"/>
                        </a:cubicBezTo>
                        <a:cubicBezTo>
                          <a:pt x="9916" y="23634"/>
                          <a:pt x="9498" y="20703"/>
                          <a:pt x="8600" y="17593"/>
                        </a:cubicBezTo>
                        <a:cubicBezTo>
                          <a:pt x="7883" y="14902"/>
                          <a:pt x="6926" y="12510"/>
                          <a:pt x="5610" y="10058"/>
                        </a:cubicBezTo>
                        <a:cubicBezTo>
                          <a:pt x="4115" y="7247"/>
                          <a:pt x="2440" y="4795"/>
                          <a:pt x="287" y="2343"/>
                        </a:cubicBezTo>
                        <a:cubicBezTo>
                          <a:pt x="-191" y="1804"/>
                          <a:pt x="-72" y="907"/>
                          <a:pt x="646" y="369"/>
                        </a:cubicBezTo>
                        <a:cubicBezTo>
                          <a:pt x="1364" y="-169"/>
                          <a:pt x="2320" y="-109"/>
                          <a:pt x="2859" y="489"/>
                        </a:cubicBezTo>
                        <a:cubicBezTo>
                          <a:pt x="5132" y="3060"/>
                          <a:pt x="6926" y="5632"/>
                          <a:pt x="8481" y="8682"/>
                        </a:cubicBezTo>
                        <a:cubicBezTo>
                          <a:pt x="9856" y="11314"/>
                          <a:pt x="10873" y="13826"/>
                          <a:pt x="11651" y="16636"/>
                        </a:cubicBezTo>
                        <a:cubicBezTo>
                          <a:pt x="12548" y="19926"/>
                          <a:pt x="13026" y="23036"/>
                          <a:pt x="13146" y="26445"/>
                        </a:cubicBezTo>
                        <a:cubicBezTo>
                          <a:pt x="13146" y="27222"/>
                          <a:pt x="12488" y="27880"/>
                          <a:pt x="11591" y="28000"/>
                        </a:cubicBezTo>
                        <a:cubicBezTo>
                          <a:pt x="10933" y="28120"/>
                          <a:pt x="10275" y="27761"/>
                          <a:pt x="10096" y="27222"/>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857" name="Vrije vorm: vorm 5856">
                    <a:extLst>
                      <a:ext uri="{FF2B5EF4-FFF2-40B4-BE49-F238E27FC236}">
                        <a16:creationId xmlns:a16="http://schemas.microsoft.com/office/drawing/2014/main" id="{166E8116-4256-4466-9C0A-91B8325052C5}"/>
                      </a:ext>
                    </a:extLst>
                  </p:cNvPr>
                  <p:cNvSpPr/>
                  <p:nvPr/>
                </p:nvSpPr>
                <p:spPr>
                  <a:xfrm>
                    <a:off x="7845173" y="2857194"/>
                    <a:ext cx="17049" cy="37642"/>
                  </a:xfrm>
                  <a:custGeom>
                    <a:avLst/>
                    <a:gdLst>
                      <a:gd name="connsiteX0" fmla="*/ 13814 w 17049"/>
                      <a:gd name="connsiteY0" fmla="*/ 36857 h 37642"/>
                      <a:gd name="connsiteX1" fmla="*/ 13755 w 17049"/>
                      <a:gd name="connsiteY1" fmla="*/ 36379 h 37642"/>
                      <a:gd name="connsiteX2" fmla="*/ 12559 w 17049"/>
                      <a:gd name="connsiteY2" fmla="*/ 23281 h 37642"/>
                      <a:gd name="connsiteX3" fmla="*/ 8432 w 17049"/>
                      <a:gd name="connsiteY3" fmla="*/ 12815 h 37642"/>
                      <a:gd name="connsiteX4" fmla="*/ 358 w 17049"/>
                      <a:gd name="connsiteY4" fmla="*/ 2408 h 37642"/>
                      <a:gd name="connsiteX5" fmla="*/ 597 w 17049"/>
                      <a:gd name="connsiteY5" fmla="*/ 435 h 37642"/>
                      <a:gd name="connsiteX6" fmla="*/ 2810 w 17049"/>
                      <a:gd name="connsiteY6" fmla="*/ 375 h 37642"/>
                      <a:gd name="connsiteX7" fmla="*/ 11303 w 17049"/>
                      <a:gd name="connsiteY7" fmla="*/ 11320 h 37642"/>
                      <a:gd name="connsiteX8" fmla="*/ 15669 w 17049"/>
                      <a:gd name="connsiteY8" fmla="*/ 22324 h 37642"/>
                      <a:gd name="connsiteX9" fmla="*/ 16984 w 17049"/>
                      <a:gd name="connsiteY9" fmla="*/ 36140 h 37642"/>
                      <a:gd name="connsiteX10" fmla="*/ 15310 w 17049"/>
                      <a:gd name="connsiteY10" fmla="*/ 37635 h 37642"/>
                      <a:gd name="connsiteX11" fmla="*/ 13814 w 17049"/>
                      <a:gd name="connsiteY11" fmla="*/ 36857 h 3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49" h="37642">
                        <a:moveTo>
                          <a:pt x="13814" y="36857"/>
                        </a:moveTo>
                        <a:cubicBezTo>
                          <a:pt x="13755" y="36678"/>
                          <a:pt x="13755" y="36558"/>
                          <a:pt x="13755" y="36379"/>
                        </a:cubicBezTo>
                        <a:cubicBezTo>
                          <a:pt x="13994" y="31774"/>
                          <a:pt x="13635" y="27647"/>
                          <a:pt x="12559" y="23281"/>
                        </a:cubicBezTo>
                        <a:cubicBezTo>
                          <a:pt x="11602" y="19513"/>
                          <a:pt x="10286" y="16224"/>
                          <a:pt x="8432" y="12815"/>
                        </a:cubicBezTo>
                        <a:cubicBezTo>
                          <a:pt x="6219" y="8927"/>
                          <a:pt x="3707" y="5578"/>
                          <a:pt x="358" y="2408"/>
                        </a:cubicBezTo>
                        <a:cubicBezTo>
                          <a:pt x="-180" y="1870"/>
                          <a:pt x="-120" y="1033"/>
                          <a:pt x="597" y="435"/>
                        </a:cubicBezTo>
                        <a:cubicBezTo>
                          <a:pt x="1255" y="-103"/>
                          <a:pt x="2272" y="-163"/>
                          <a:pt x="2810" y="375"/>
                        </a:cubicBezTo>
                        <a:cubicBezTo>
                          <a:pt x="6339" y="3724"/>
                          <a:pt x="9030" y="7193"/>
                          <a:pt x="11303" y="11320"/>
                        </a:cubicBezTo>
                        <a:cubicBezTo>
                          <a:pt x="13276" y="14908"/>
                          <a:pt x="14712" y="18377"/>
                          <a:pt x="15669" y="22324"/>
                        </a:cubicBezTo>
                        <a:cubicBezTo>
                          <a:pt x="16805" y="26929"/>
                          <a:pt x="17224" y="31295"/>
                          <a:pt x="16984" y="36140"/>
                        </a:cubicBezTo>
                        <a:cubicBezTo>
                          <a:pt x="16925" y="36917"/>
                          <a:pt x="16207" y="37575"/>
                          <a:pt x="15310" y="37635"/>
                        </a:cubicBezTo>
                        <a:cubicBezTo>
                          <a:pt x="14592" y="37695"/>
                          <a:pt x="14054" y="37396"/>
                          <a:pt x="13814" y="36857"/>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grpSp>
          </p:grpSp>
          <p:grpSp>
            <p:nvGrpSpPr>
              <p:cNvPr id="5363" name="Graphic 3">
                <a:extLst>
                  <a:ext uri="{FF2B5EF4-FFF2-40B4-BE49-F238E27FC236}">
                    <a16:creationId xmlns:a16="http://schemas.microsoft.com/office/drawing/2014/main" id="{69239E9D-128B-41ED-B773-D7A8428618FD}"/>
                  </a:ext>
                </a:extLst>
              </p:cNvPr>
              <p:cNvGrpSpPr/>
              <p:nvPr/>
            </p:nvGrpSpPr>
            <p:grpSpPr>
              <a:xfrm>
                <a:off x="7496128" y="1970000"/>
                <a:ext cx="34433" cy="32454"/>
                <a:chOff x="7496128" y="1970000"/>
                <a:chExt cx="34433" cy="32454"/>
              </a:xfrm>
              <a:solidFill>
                <a:srgbClr val="FFFFFF"/>
              </a:solidFill>
            </p:grpSpPr>
            <p:sp>
              <p:nvSpPr>
                <p:cNvPr id="5848" name="Vrije vorm: vorm 5847">
                  <a:extLst>
                    <a:ext uri="{FF2B5EF4-FFF2-40B4-BE49-F238E27FC236}">
                      <a16:creationId xmlns:a16="http://schemas.microsoft.com/office/drawing/2014/main" id="{49AED4D8-2336-417C-AC90-9CEA62A1E2A1}"/>
                    </a:ext>
                  </a:extLst>
                </p:cNvPr>
                <p:cNvSpPr/>
                <p:nvPr/>
              </p:nvSpPr>
              <p:spPr>
                <a:xfrm>
                  <a:off x="7497445" y="1993659"/>
                  <a:ext cx="9647" cy="8796"/>
                </a:xfrm>
                <a:custGeom>
                  <a:avLst/>
                  <a:gdLst>
                    <a:gd name="connsiteX0" fmla="*/ 6646 w 9647"/>
                    <a:gd name="connsiteY0" fmla="*/ 8547 h 8796"/>
                    <a:gd name="connsiteX1" fmla="*/ 6527 w 9647"/>
                    <a:gd name="connsiteY1" fmla="*/ 8427 h 8796"/>
                    <a:gd name="connsiteX2" fmla="*/ 546 w 9647"/>
                    <a:gd name="connsiteY2" fmla="*/ 3404 h 8796"/>
                    <a:gd name="connsiteX3" fmla="*/ 486 w 9647"/>
                    <a:gd name="connsiteY3" fmla="*/ 1011 h 8796"/>
                    <a:gd name="connsiteX4" fmla="*/ 2879 w 9647"/>
                    <a:gd name="connsiteY4" fmla="*/ 174 h 8796"/>
                    <a:gd name="connsiteX5" fmla="*/ 9337 w 9647"/>
                    <a:gd name="connsiteY5" fmla="*/ 5557 h 8796"/>
                    <a:gd name="connsiteX6" fmla="*/ 8919 w 9647"/>
                    <a:gd name="connsiteY6" fmla="*/ 8069 h 8796"/>
                    <a:gd name="connsiteX7" fmla="*/ 6646 w 9647"/>
                    <a:gd name="connsiteY7" fmla="*/ 8547 h 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47" h="8796">
                      <a:moveTo>
                        <a:pt x="6646" y="8547"/>
                      </a:moveTo>
                      <a:cubicBezTo>
                        <a:pt x="6587" y="8487"/>
                        <a:pt x="6587" y="8487"/>
                        <a:pt x="6527" y="8427"/>
                      </a:cubicBezTo>
                      <a:cubicBezTo>
                        <a:pt x="4374" y="6095"/>
                        <a:pt x="3237" y="5078"/>
                        <a:pt x="546" y="3404"/>
                      </a:cubicBezTo>
                      <a:cubicBezTo>
                        <a:pt x="-172" y="2985"/>
                        <a:pt x="-172" y="1908"/>
                        <a:pt x="486" y="1011"/>
                      </a:cubicBezTo>
                      <a:cubicBezTo>
                        <a:pt x="1144" y="114"/>
                        <a:pt x="2221" y="-245"/>
                        <a:pt x="2879" y="174"/>
                      </a:cubicBezTo>
                      <a:cubicBezTo>
                        <a:pt x="5749" y="1968"/>
                        <a:pt x="7065" y="3045"/>
                        <a:pt x="9337" y="5557"/>
                      </a:cubicBezTo>
                      <a:cubicBezTo>
                        <a:pt x="9876" y="6155"/>
                        <a:pt x="9697" y="7291"/>
                        <a:pt x="8919" y="8069"/>
                      </a:cubicBezTo>
                      <a:cubicBezTo>
                        <a:pt x="8201" y="8786"/>
                        <a:pt x="7184" y="9026"/>
                        <a:pt x="6646" y="8547"/>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849" name="Vrije vorm: vorm 5848">
                  <a:extLst>
                    <a:ext uri="{FF2B5EF4-FFF2-40B4-BE49-F238E27FC236}">
                      <a16:creationId xmlns:a16="http://schemas.microsoft.com/office/drawing/2014/main" id="{3C21157C-720B-4929-BD7D-D4EFE6B50791}"/>
                    </a:ext>
                  </a:extLst>
                </p:cNvPr>
                <p:cNvSpPr/>
                <p:nvPr/>
              </p:nvSpPr>
              <p:spPr>
                <a:xfrm>
                  <a:off x="7497998" y="1985760"/>
                  <a:ext cx="16727" cy="14811"/>
                </a:xfrm>
                <a:custGeom>
                  <a:avLst/>
                  <a:gdLst>
                    <a:gd name="connsiteX0" fmla="*/ 412 w 16727"/>
                    <a:gd name="connsiteY0" fmla="*/ 3349 h 14811"/>
                    <a:gd name="connsiteX1" fmla="*/ 352 w 16727"/>
                    <a:gd name="connsiteY1" fmla="*/ 1196 h 14811"/>
                    <a:gd name="connsiteX2" fmla="*/ 2744 w 16727"/>
                    <a:gd name="connsiteY2" fmla="*/ 119 h 14811"/>
                    <a:gd name="connsiteX3" fmla="*/ 10399 w 16727"/>
                    <a:gd name="connsiteY3" fmla="*/ 4964 h 14811"/>
                    <a:gd name="connsiteX4" fmla="*/ 16500 w 16727"/>
                    <a:gd name="connsiteY4" fmla="*/ 11662 h 14811"/>
                    <a:gd name="connsiteX5" fmla="*/ 15842 w 16727"/>
                    <a:gd name="connsiteY5" fmla="*/ 14234 h 14811"/>
                    <a:gd name="connsiteX6" fmla="*/ 13509 w 16727"/>
                    <a:gd name="connsiteY6" fmla="*/ 14353 h 14811"/>
                    <a:gd name="connsiteX7" fmla="*/ 7768 w 16727"/>
                    <a:gd name="connsiteY7" fmla="*/ 8074 h 14811"/>
                    <a:gd name="connsiteX8" fmla="*/ 591 w 16727"/>
                    <a:gd name="connsiteY8" fmla="*/ 3528 h 14811"/>
                    <a:gd name="connsiteX9" fmla="*/ 412 w 16727"/>
                    <a:gd name="connsiteY9" fmla="*/ 3349 h 14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27" h="14811">
                      <a:moveTo>
                        <a:pt x="412" y="3349"/>
                      </a:moveTo>
                      <a:cubicBezTo>
                        <a:pt x="-127" y="2930"/>
                        <a:pt x="-127" y="2033"/>
                        <a:pt x="352" y="1196"/>
                      </a:cubicBezTo>
                      <a:cubicBezTo>
                        <a:pt x="950" y="239"/>
                        <a:pt x="2026" y="-240"/>
                        <a:pt x="2744" y="119"/>
                      </a:cubicBezTo>
                      <a:cubicBezTo>
                        <a:pt x="5674" y="1495"/>
                        <a:pt x="7947" y="2930"/>
                        <a:pt x="10399" y="4964"/>
                      </a:cubicBezTo>
                      <a:cubicBezTo>
                        <a:pt x="12852" y="6997"/>
                        <a:pt x="14645" y="9030"/>
                        <a:pt x="16500" y="11662"/>
                      </a:cubicBezTo>
                      <a:cubicBezTo>
                        <a:pt x="16978" y="12320"/>
                        <a:pt x="16679" y="13456"/>
                        <a:pt x="15842" y="14234"/>
                      </a:cubicBezTo>
                      <a:cubicBezTo>
                        <a:pt x="15005" y="14951"/>
                        <a:pt x="13988" y="15011"/>
                        <a:pt x="13509" y="14353"/>
                      </a:cubicBezTo>
                      <a:cubicBezTo>
                        <a:pt x="11356" y="11243"/>
                        <a:pt x="9383" y="9449"/>
                        <a:pt x="7768" y="8074"/>
                      </a:cubicBezTo>
                      <a:cubicBezTo>
                        <a:pt x="6153" y="6698"/>
                        <a:pt x="4060" y="5143"/>
                        <a:pt x="591" y="3528"/>
                      </a:cubicBezTo>
                      <a:cubicBezTo>
                        <a:pt x="591" y="3468"/>
                        <a:pt x="471" y="3409"/>
                        <a:pt x="412" y="3349"/>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850" name="Vrije vorm: vorm 5849">
                  <a:extLst>
                    <a:ext uri="{FF2B5EF4-FFF2-40B4-BE49-F238E27FC236}">
                      <a16:creationId xmlns:a16="http://schemas.microsoft.com/office/drawing/2014/main" id="{BC4547AF-0B35-4DDD-8F2D-A6DF96DF4069}"/>
                    </a:ext>
                  </a:extLst>
                </p:cNvPr>
                <p:cNvSpPr/>
                <p:nvPr/>
              </p:nvSpPr>
              <p:spPr>
                <a:xfrm>
                  <a:off x="7497087" y="1977573"/>
                  <a:ext cx="25802" cy="22467"/>
                </a:xfrm>
                <a:custGeom>
                  <a:avLst/>
                  <a:gdLst>
                    <a:gd name="connsiteX0" fmla="*/ 22794 w 25802"/>
                    <a:gd name="connsiteY0" fmla="*/ 22241 h 22467"/>
                    <a:gd name="connsiteX1" fmla="*/ 22554 w 25802"/>
                    <a:gd name="connsiteY1" fmla="*/ 21882 h 22467"/>
                    <a:gd name="connsiteX2" fmla="*/ 16693 w 25802"/>
                    <a:gd name="connsiteY2" fmla="*/ 13509 h 22467"/>
                    <a:gd name="connsiteX3" fmla="*/ 9995 w 25802"/>
                    <a:gd name="connsiteY3" fmla="*/ 7887 h 22467"/>
                    <a:gd name="connsiteX4" fmla="*/ 784 w 25802"/>
                    <a:gd name="connsiteY4" fmla="*/ 3581 h 22467"/>
                    <a:gd name="connsiteX5" fmla="*/ 246 w 25802"/>
                    <a:gd name="connsiteY5" fmla="*/ 1369 h 22467"/>
                    <a:gd name="connsiteX6" fmla="*/ 2579 w 25802"/>
                    <a:gd name="connsiteY6" fmla="*/ 53 h 22467"/>
                    <a:gd name="connsiteX7" fmla="*/ 12387 w 25802"/>
                    <a:gd name="connsiteY7" fmla="*/ 4658 h 22467"/>
                    <a:gd name="connsiteX8" fmla="*/ 19444 w 25802"/>
                    <a:gd name="connsiteY8" fmla="*/ 10579 h 22467"/>
                    <a:gd name="connsiteX9" fmla="*/ 25664 w 25802"/>
                    <a:gd name="connsiteY9" fmla="*/ 19430 h 22467"/>
                    <a:gd name="connsiteX10" fmla="*/ 24827 w 25802"/>
                    <a:gd name="connsiteY10" fmla="*/ 22002 h 22467"/>
                    <a:gd name="connsiteX11" fmla="*/ 22794 w 25802"/>
                    <a:gd name="connsiteY11" fmla="*/ 22241 h 22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802" h="22467">
                      <a:moveTo>
                        <a:pt x="22794" y="22241"/>
                      </a:moveTo>
                      <a:cubicBezTo>
                        <a:pt x="22674" y="22181"/>
                        <a:pt x="22614" y="22062"/>
                        <a:pt x="22554" y="21882"/>
                      </a:cubicBezTo>
                      <a:cubicBezTo>
                        <a:pt x="20939" y="18713"/>
                        <a:pt x="19026" y="16081"/>
                        <a:pt x="16693" y="13509"/>
                      </a:cubicBezTo>
                      <a:cubicBezTo>
                        <a:pt x="14660" y="11296"/>
                        <a:pt x="12507" y="9502"/>
                        <a:pt x="9995" y="7887"/>
                      </a:cubicBezTo>
                      <a:cubicBezTo>
                        <a:pt x="7064" y="5974"/>
                        <a:pt x="4134" y="4598"/>
                        <a:pt x="784" y="3581"/>
                      </a:cubicBezTo>
                      <a:cubicBezTo>
                        <a:pt x="7" y="3342"/>
                        <a:pt x="-232" y="2325"/>
                        <a:pt x="246" y="1369"/>
                      </a:cubicBezTo>
                      <a:cubicBezTo>
                        <a:pt x="724" y="412"/>
                        <a:pt x="1801" y="-187"/>
                        <a:pt x="2579" y="53"/>
                      </a:cubicBezTo>
                      <a:cubicBezTo>
                        <a:pt x="6167" y="1189"/>
                        <a:pt x="9277" y="2624"/>
                        <a:pt x="12387" y="4658"/>
                      </a:cubicBezTo>
                      <a:cubicBezTo>
                        <a:pt x="15078" y="6392"/>
                        <a:pt x="17291" y="8306"/>
                        <a:pt x="19444" y="10579"/>
                      </a:cubicBezTo>
                      <a:cubicBezTo>
                        <a:pt x="21956" y="13270"/>
                        <a:pt x="23930" y="16081"/>
                        <a:pt x="25664" y="19430"/>
                      </a:cubicBezTo>
                      <a:cubicBezTo>
                        <a:pt x="26023" y="20148"/>
                        <a:pt x="25664" y="21284"/>
                        <a:pt x="24827" y="22002"/>
                      </a:cubicBezTo>
                      <a:cubicBezTo>
                        <a:pt x="24109" y="22540"/>
                        <a:pt x="23272" y="22600"/>
                        <a:pt x="22794" y="22241"/>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851" name="Vrije vorm: vorm 5850">
                  <a:extLst>
                    <a:ext uri="{FF2B5EF4-FFF2-40B4-BE49-F238E27FC236}">
                      <a16:creationId xmlns:a16="http://schemas.microsoft.com/office/drawing/2014/main" id="{1D56690D-5395-4CF5-9040-872DFE474898}"/>
                    </a:ext>
                  </a:extLst>
                </p:cNvPr>
                <p:cNvSpPr/>
                <p:nvPr/>
              </p:nvSpPr>
              <p:spPr>
                <a:xfrm>
                  <a:off x="7496128" y="1970000"/>
                  <a:ext cx="34433" cy="29644"/>
                </a:xfrm>
                <a:custGeom>
                  <a:avLst/>
                  <a:gdLst>
                    <a:gd name="connsiteX0" fmla="*/ 31408 w 34433"/>
                    <a:gd name="connsiteY0" fmla="*/ 29395 h 29644"/>
                    <a:gd name="connsiteX1" fmla="*/ 31108 w 34433"/>
                    <a:gd name="connsiteY1" fmla="*/ 28976 h 29644"/>
                    <a:gd name="connsiteX2" fmla="*/ 23632 w 34433"/>
                    <a:gd name="connsiteY2" fmla="*/ 16656 h 29644"/>
                    <a:gd name="connsiteX3" fmla="*/ 14302 w 34433"/>
                    <a:gd name="connsiteY3" fmla="*/ 8821 h 29644"/>
                    <a:gd name="connsiteX4" fmla="*/ 905 w 34433"/>
                    <a:gd name="connsiteY4" fmla="*/ 3558 h 29644"/>
                    <a:gd name="connsiteX5" fmla="*/ 188 w 34433"/>
                    <a:gd name="connsiteY5" fmla="*/ 1465 h 29644"/>
                    <a:gd name="connsiteX6" fmla="*/ 2520 w 34433"/>
                    <a:gd name="connsiteY6" fmla="*/ 30 h 29644"/>
                    <a:gd name="connsiteX7" fmla="*/ 16635 w 34433"/>
                    <a:gd name="connsiteY7" fmla="*/ 5532 h 29644"/>
                    <a:gd name="connsiteX8" fmla="*/ 26443 w 34433"/>
                    <a:gd name="connsiteY8" fmla="*/ 13785 h 29644"/>
                    <a:gd name="connsiteX9" fmla="*/ 34338 w 34433"/>
                    <a:gd name="connsiteY9" fmla="*/ 26704 h 29644"/>
                    <a:gd name="connsiteX10" fmla="*/ 33321 w 34433"/>
                    <a:gd name="connsiteY10" fmla="*/ 29215 h 29644"/>
                    <a:gd name="connsiteX11" fmla="*/ 31408 w 34433"/>
                    <a:gd name="connsiteY11" fmla="*/ 29395 h 2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433" h="29644">
                      <a:moveTo>
                        <a:pt x="31408" y="29395"/>
                      </a:moveTo>
                      <a:cubicBezTo>
                        <a:pt x="31288" y="29275"/>
                        <a:pt x="31168" y="29156"/>
                        <a:pt x="31108" y="28976"/>
                      </a:cubicBezTo>
                      <a:cubicBezTo>
                        <a:pt x="29195" y="24251"/>
                        <a:pt x="26802" y="20304"/>
                        <a:pt x="23632" y="16656"/>
                      </a:cubicBezTo>
                      <a:cubicBezTo>
                        <a:pt x="20882" y="13486"/>
                        <a:pt x="17891" y="11034"/>
                        <a:pt x="14302" y="8821"/>
                      </a:cubicBezTo>
                      <a:cubicBezTo>
                        <a:pt x="10176" y="6309"/>
                        <a:pt x="5870" y="4635"/>
                        <a:pt x="905" y="3558"/>
                      </a:cubicBezTo>
                      <a:cubicBezTo>
                        <a:pt x="68" y="3379"/>
                        <a:pt x="-231" y="2422"/>
                        <a:pt x="188" y="1465"/>
                      </a:cubicBezTo>
                      <a:cubicBezTo>
                        <a:pt x="607" y="508"/>
                        <a:pt x="1683" y="-150"/>
                        <a:pt x="2520" y="30"/>
                      </a:cubicBezTo>
                      <a:cubicBezTo>
                        <a:pt x="7783" y="1166"/>
                        <a:pt x="12269" y="2900"/>
                        <a:pt x="16635" y="5532"/>
                      </a:cubicBezTo>
                      <a:cubicBezTo>
                        <a:pt x="20403" y="7804"/>
                        <a:pt x="23513" y="10436"/>
                        <a:pt x="26443" y="13785"/>
                      </a:cubicBezTo>
                      <a:cubicBezTo>
                        <a:pt x="29793" y="17613"/>
                        <a:pt x="32304" y="21740"/>
                        <a:pt x="34338" y="26704"/>
                      </a:cubicBezTo>
                      <a:cubicBezTo>
                        <a:pt x="34637" y="27481"/>
                        <a:pt x="34218" y="28617"/>
                        <a:pt x="33321" y="29215"/>
                      </a:cubicBezTo>
                      <a:cubicBezTo>
                        <a:pt x="32604" y="29754"/>
                        <a:pt x="31826" y="29754"/>
                        <a:pt x="31408" y="29395"/>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grpSp>
          <p:grpSp>
            <p:nvGrpSpPr>
              <p:cNvPr id="5364" name="Graphic 3">
                <a:extLst>
                  <a:ext uri="{FF2B5EF4-FFF2-40B4-BE49-F238E27FC236}">
                    <a16:creationId xmlns:a16="http://schemas.microsoft.com/office/drawing/2014/main" id="{B3CDC45A-67F6-4C81-9705-8D4315E8C936}"/>
                  </a:ext>
                </a:extLst>
              </p:cNvPr>
              <p:cNvGrpSpPr/>
              <p:nvPr/>
            </p:nvGrpSpPr>
            <p:grpSpPr>
              <a:xfrm>
                <a:off x="6367634" y="1527516"/>
                <a:ext cx="329358" cy="365063"/>
                <a:chOff x="6367634" y="1527516"/>
                <a:chExt cx="329358" cy="365063"/>
              </a:xfrm>
              <a:noFill/>
            </p:grpSpPr>
            <p:sp>
              <p:nvSpPr>
                <p:cNvPr id="5370" name="Vrije vorm: vorm 5369">
                  <a:extLst>
                    <a:ext uri="{FF2B5EF4-FFF2-40B4-BE49-F238E27FC236}">
                      <a16:creationId xmlns:a16="http://schemas.microsoft.com/office/drawing/2014/main" id="{E8AE9E1E-A9FE-48F2-B858-105D1F1927A7}"/>
                    </a:ext>
                  </a:extLst>
                </p:cNvPr>
                <p:cNvSpPr/>
                <p:nvPr/>
              </p:nvSpPr>
              <p:spPr>
                <a:xfrm>
                  <a:off x="6539042" y="1873262"/>
                  <a:ext cx="1255" cy="2093"/>
                </a:xfrm>
                <a:custGeom>
                  <a:avLst/>
                  <a:gdLst>
                    <a:gd name="connsiteX0" fmla="*/ 1256 w 1255"/>
                    <a:gd name="connsiteY0" fmla="*/ 0 h 2093"/>
                    <a:gd name="connsiteX1" fmla="*/ 1256 w 1255"/>
                    <a:gd name="connsiteY1" fmla="*/ 0 h 2093"/>
                    <a:gd name="connsiteX2" fmla="*/ 778 w 1255"/>
                    <a:gd name="connsiteY2" fmla="*/ 777 h 2093"/>
                    <a:gd name="connsiteX3" fmla="*/ 0 w 1255"/>
                    <a:gd name="connsiteY3" fmla="*/ 2093 h 2093"/>
                  </a:gdLst>
                  <a:ahLst/>
                  <a:cxnLst>
                    <a:cxn ang="0">
                      <a:pos x="connsiteX0" y="connsiteY0"/>
                    </a:cxn>
                    <a:cxn ang="0">
                      <a:pos x="connsiteX1" y="connsiteY1"/>
                    </a:cxn>
                    <a:cxn ang="0">
                      <a:pos x="connsiteX2" y="connsiteY2"/>
                    </a:cxn>
                    <a:cxn ang="0">
                      <a:pos x="connsiteX3" y="connsiteY3"/>
                    </a:cxn>
                  </a:cxnLst>
                  <a:rect l="l" t="t" r="r" b="b"/>
                  <a:pathLst>
                    <a:path w="1255" h="2093">
                      <a:moveTo>
                        <a:pt x="1256" y="0"/>
                      </a:moveTo>
                      <a:lnTo>
                        <a:pt x="1256" y="0"/>
                      </a:lnTo>
                      <a:lnTo>
                        <a:pt x="778" y="777"/>
                      </a:lnTo>
                      <a:lnTo>
                        <a:pt x="0" y="2093"/>
                      </a:lnTo>
                    </a:path>
                  </a:pathLst>
                </a:custGeom>
                <a:noFill/>
                <a:ln w="6350" cap="rnd">
                  <a:solidFill>
                    <a:schemeClr val="bg1">
                      <a:alpha val="40000"/>
                    </a:schemeClr>
                  </a:solidFill>
                  <a:prstDash val="solid"/>
                  <a:round/>
                </a:ln>
              </p:spPr>
              <p:txBody>
                <a:bodyPr rtlCol="0" anchor="ctr"/>
                <a:lstStyle/>
                <a:p>
                  <a:endParaRPr lang="en-GB"/>
                </a:p>
              </p:txBody>
            </p:sp>
            <p:sp>
              <p:nvSpPr>
                <p:cNvPr id="5371" name="Vrije vorm: vorm 5370">
                  <a:extLst>
                    <a:ext uri="{FF2B5EF4-FFF2-40B4-BE49-F238E27FC236}">
                      <a16:creationId xmlns:a16="http://schemas.microsoft.com/office/drawing/2014/main" id="{D05F21D6-EC54-43CB-891D-1C9299711B0B}"/>
                    </a:ext>
                  </a:extLst>
                </p:cNvPr>
                <p:cNvSpPr/>
                <p:nvPr/>
              </p:nvSpPr>
              <p:spPr>
                <a:xfrm>
                  <a:off x="6539640" y="187661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372" name="Vrije vorm: vorm 5371">
                  <a:extLst>
                    <a:ext uri="{FF2B5EF4-FFF2-40B4-BE49-F238E27FC236}">
                      <a16:creationId xmlns:a16="http://schemas.microsoft.com/office/drawing/2014/main" id="{3D481997-FAE4-4459-A167-1D6EFC58C0E3}"/>
                    </a:ext>
                  </a:extLst>
                </p:cNvPr>
                <p:cNvSpPr/>
                <p:nvPr/>
              </p:nvSpPr>
              <p:spPr>
                <a:xfrm>
                  <a:off x="6534138" y="1837677"/>
                  <a:ext cx="2571" cy="4365"/>
                </a:xfrm>
                <a:custGeom>
                  <a:avLst/>
                  <a:gdLst>
                    <a:gd name="connsiteX0" fmla="*/ 0 w 2571"/>
                    <a:gd name="connsiteY0" fmla="*/ 4366 h 4365"/>
                    <a:gd name="connsiteX1" fmla="*/ 179 w 2571"/>
                    <a:gd name="connsiteY1" fmla="*/ 4067 h 4365"/>
                    <a:gd name="connsiteX2" fmla="*/ 299 w 2571"/>
                    <a:gd name="connsiteY2" fmla="*/ 3888 h 4365"/>
                    <a:gd name="connsiteX3" fmla="*/ 1196 w 2571"/>
                    <a:gd name="connsiteY3" fmla="*/ 2332 h 4365"/>
                    <a:gd name="connsiteX4" fmla="*/ 2572 w 2571"/>
                    <a:gd name="connsiteY4" fmla="*/ 0 h 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 h="4365">
                      <a:moveTo>
                        <a:pt x="0" y="4366"/>
                      </a:moveTo>
                      <a:lnTo>
                        <a:pt x="179" y="4067"/>
                      </a:lnTo>
                      <a:lnTo>
                        <a:pt x="299" y="3888"/>
                      </a:lnTo>
                      <a:lnTo>
                        <a:pt x="1196" y="2332"/>
                      </a:lnTo>
                      <a:lnTo>
                        <a:pt x="2572" y="0"/>
                      </a:lnTo>
                    </a:path>
                  </a:pathLst>
                </a:custGeom>
                <a:noFill/>
                <a:ln w="6350" cap="rnd">
                  <a:solidFill>
                    <a:schemeClr val="bg1">
                      <a:alpha val="40000"/>
                    </a:schemeClr>
                  </a:solidFill>
                  <a:prstDash val="solid"/>
                  <a:round/>
                </a:ln>
              </p:spPr>
              <p:txBody>
                <a:bodyPr rtlCol="0" anchor="ctr"/>
                <a:lstStyle/>
                <a:p>
                  <a:endParaRPr lang="en-GB"/>
                </a:p>
              </p:txBody>
            </p:sp>
            <p:sp>
              <p:nvSpPr>
                <p:cNvPr id="5373" name="Vrije vorm: vorm 5372">
                  <a:extLst>
                    <a:ext uri="{FF2B5EF4-FFF2-40B4-BE49-F238E27FC236}">
                      <a16:creationId xmlns:a16="http://schemas.microsoft.com/office/drawing/2014/main" id="{05F70E67-1F53-46A9-B1B6-2E755ABDB8AC}"/>
                    </a:ext>
                  </a:extLst>
                </p:cNvPr>
                <p:cNvSpPr/>
                <p:nvPr/>
              </p:nvSpPr>
              <p:spPr>
                <a:xfrm>
                  <a:off x="6407526" y="1761303"/>
                  <a:ext cx="1734" cy="2990"/>
                </a:xfrm>
                <a:custGeom>
                  <a:avLst/>
                  <a:gdLst>
                    <a:gd name="connsiteX0" fmla="*/ 1735 w 1734"/>
                    <a:gd name="connsiteY0" fmla="*/ 0 h 2990"/>
                    <a:gd name="connsiteX1" fmla="*/ 1615 w 1734"/>
                    <a:gd name="connsiteY1" fmla="*/ 179 h 2990"/>
                    <a:gd name="connsiteX2" fmla="*/ 1077 w 1734"/>
                    <a:gd name="connsiteY2" fmla="*/ 1136 h 2990"/>
                    <a:gd name="connsiteX3" fmla="*/ 1017 w 1734"/>
                    <a:gd name="connsiteY3" fmla="*/ 1256 h 2990"/>
                    <a:gd name="connsiteX4" fmla="*/ 0 w 1734"/>
                    <a:gd name="connsiteY4" fmla="*/ 299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4" h="2990">
                      <a:moveTo>
                        <a:pt x="1735" y="0"/>
                      </a:moveTo>
                      <a:lnTo>
                        <a:pt x="1615" y="179"/>
                      </a:lnTo>
                      <a:lnTo>
                        <a:pt x="1077" y="1136"/>
                      </a:lnTo>
                      <a:lnTo>
                        <a:pt x="1017" y="1256"/>
                      </a:lnTo>
                      <a:lnTo>
                        <a:pt x="0" y="2990"/>
                      </a:lnTo>
                    </a:path>
                  </a:pathLst>
                </a:custGeom>
                <a:noFill/>
                <a:ln w="6350" cap="rnd">
                  <a:solidFill>
                    <a:schemeClr val="bg1">
                      <a:alpha val="40000"/>
                    </a:schemeClr>
                  </a:solidFill>
                  <a:prstDash val="solid"/>
                  <a:round/>
                </a:ln>
              </p:spPr>
              <p:txBody>
                <a:bodyPr rtlCol="0" anchor="ctr"/>
                <a:lstStyle/>
                <a:p>
                  <a:endParaRPr lang="en-GB"/>
                </a:p>
              </p:txBody>
            </p:sp>
            <p:sp>
              <p:nvSpPr>
                <p:cNvPr id="5374" name="Vrije vorm: vorm 5373">
                  <a:extLst>
                    <a:ext uri="{FF2B5EF4-FFF2-40B4-BE49-F238E27FC236}">
                      <a16:creationId xmlns:a16="http://schemas.microsoft.com/office/drawing/2014/main" id="{0F9AABA8-7538-4B74-A068-FCD0A98F640B}"/>
                    </a:ext>
                  </a:extLst>
                </p:cNvPr>
                <p:cNvSpPr/>
                <p:nvPr/>
              </p:nvSpPr>
              <p:spPr>
                <a:xfrm>
                  <a:off x="6513983" y="1845332"/>
                  <a:ext cx="657" cy="1076"/>
                </a:xfrm>
                <a:custGeom>
                  <a:avLst/>
                  <a:gdLst>
                    <a:gd name="connsiteX0" fmla="*/ 658 w 657"/>
                    <a:gd name="connsiteY0" fmla="*/ 0 h 1076"/>
                    <a:gd name="connsiteX1" fmla="*/ 0 w 657"/>
                    <a:gd name="connsiteY1" fmla="*/ 1077 h 1076"/>
                  </a:gdLst>
                  <a:ahLst/>
                  <a:cxnLst>
                    <a:cxn ang="0">
                      <a:pos x="connsiteX0" y="connsiteY0"/>
                    </a:cxn>
                    <a:cxn ang="0">
                      <a:pos x="connsiteX1" y="connsiteY1"/>
                    </a:cxn>
                  </a:cxnLst>
                  <a:rect l="l" t="t" r="r" b="b"/>
                  <a:pathLst>
                    <a:path w="657" h="1076">
                      <a:moveTo>
                        <a:pt x="658" y="0"/>
                      </a:moveTo>
                      <a:lnTo>
                        <a:pt x="0" y="1077"/>
                      </a:lnTo>
                    </a:path>
                  </a:pathLst>
                </a:custGeom>
                <a:noFill/>
                <a:ln w="6350" cap="rnd">
                  <a:solidFill>
                    <a:schemeClr val="bg1">
                      <a:alpha val="40000"/>
                    </a:schemeClr>
                  </a:solidFill>
                  <a:prstDash val="solid"/>
                  <a:round/>
                </a:ln>
              </p:spPr>
              <p:txBody>
                <a:bodyPr rtlCol="0" anchor="ctr"/>
                <a:lstStyle/>
                <a:p>
                  <a:endParaRPr lang="en-GB"/>
                </a:p>
              </p:txBody>
            </p:sp>
            <p:sp>
              <p:nvSpPr>
                <p:cNvPr id="5375" name="Vrije vorm: vorm 5374">
                  <a:extLst>
                    <a:ext uri="{FF2B5EF4-FFF2-40B4-BE49-F238E27FC236}">
                      <a16:creationId xmlns:a16="http://schemas.microsoft.com/office/drawing/2014/main" id="{2D1AFEDC-3709-4654-8540-50D7B681C361}"/>
                    </a:ext>
                  </a:extLst>
                </p:cNvPr>
                <p:cNvSpPr/>
                <p:nvPr/>
              </p:nvSpPr>
              <p:spPr>
                <a:xfrm>
                  <a:off x="6500885" y="1693840"/>
                  <a:ext cx="21650" cy="12559"/>
                </a:xfrm>
                <a:custGeom>
                  <a:avLst/>
                  <a:gdLst>
                    <a:gd name="connsiteX0" fmla="*/ 21650 w 21650"/>
                    <a:gd name="connsiteY0" fmla="*/ 12559 h 12559"/>
                    <a:gd name="connsiteX1" fmla="*/ 20274 w 21650"/>
                    <a:gd name="connsiteY1" fmla="*/ 11722 h 12559"/>
                    <a:gd name="connsiteX2" fmla="*/ 19258 w 21650"/>
                    <a:gd name="connsiteY2" fmla="*/ 11124 h 12559"/>
                    <a:gd name="connsiteX3" fmla="*/ 16686 w 21650"/>
                    <a:gd name="connsiteY3" fmla="*/ 9629 h 12559"/>
                    <a:gd name="connsiteX4" fmla="*/ 15729 w 21650"/>
                    <a:gd name="connsiteY4" fmla="*/ 9091 h 12559"/>
                    <a:gd name="connsiteX5" fmla="*/ 13995 w 21650"/>
                    <a:gd name="connsiteY5" fmla="*/ 8074 h 12559"/>
                    <a:gd name="connsiteX6" fmla="*/ 11423 w 21650"/>
                    <a:gd name="connsiteY6" fmla="*/ 6579 h 12559"/>
                    <a:gd name="connsiteX7" fmla="*/ 8851 w 21650"/>
                    <a:gd name="connsiteY7" fmla="*/ 5084 h 12559"/>
                    <a:gd name="connsiteX8" fmla="*/ 8732 w 21650"/>
                    <a:gd name="connsiteY8" fmla="*/ 5024 h 12559"/>
                    <a:gd name="connsiteX9" fmla="*/ 8014 w 21650"/>
                    <a:gd name="connsiteY9" fmla="*/ 4605 h 12559"/>
                    <a:gd name="connsiteX10" fmla="*/ 6399 w 21650"/>
                    <a:gd name="connsiteY10" fmla="*/ 3648 h 12559"/>
                    <a:gd name="connsiteX11" fmla="*/ 4605 w 21650"/>
                    <a:gd name="connsiteY11" fmla="*/ 2631 h 12559"/>
                    <a:gd name="connsiteX12" fmla="*/ 2033 w 21650"/>
                    <a:gd name="connsiteY12" fmla="*/ 1136 h 12559"/>
                    <a:gd name="connsiteX13" fmla="*/ 60 w 21650"/>
                    <a:gd name="connsiteY13" fmla="*/ 0 h 12559"/>
                    <a:gd name="connsiteX14" fmla="*/ 0 w 21650"/>
                    <a:gd name="connsiteY14"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650" h="12559">
                      <a:moveTo>
                        <a:pt x="21650" y="12559"/>
                      </a:moveTo>
                      <a:lnTo>
                        <a:pt x="20274" y="11722"/>
                      </a:lnTo>
                      <a:lnTo>
                        <a:pt x="19258" y="11124"/>
                      </a:lnTo>
                      <a:lnTo>
                        <a:pt x="16686" y="9629"/>
                      </a:lnTo>
                      <a:lnTo>
                        <a:pt x="15729" y="9091"/>
                      </a:lnTo>
                      <a:lnTo>
                        <a:pt x="13995" y="8074"/>
                      </a:lnTo>
                      <a:lnTo>
                        <a:pt x="11423" y="6579"/>
                      </a:lnTo>
                      <a:lnTo>
                        <a:pt x="8851" y="5084"/>
                      </a:lnTo>
                      <a:lnTo>
                        <a:pt x="8732" y="5024"/>
                      </a:lnTo>
                      <a:lnTo>
                        <a:pt x="8014" y="4605"/>
                      </a:lnTo>
                      <a:lnTo>
                        <a:pt x="6399" y="3648"/>
                      </a:lnTo>
                      <a:lnTo>
                        <a:pt x="4605" y="2631"/>
                      </a:lnTo>
                      <a:lnTo>
                        <a:pt x="2033" y="1136"/>
                      </a:lnTo>
                      <a:lnTo>
                        <a:pt x="60" y="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376" name="Vrije vorm: vorm 5375">
                  <a:extLst>
                    <a:ext uri="{FF2B5EF4-FFF2-40B4-BE49-F238E27FC236}">
                      <a16:creationId xmlns:a16="http://schemas.microsoft.com/office/drawing/2014/main" id="{D9AEC2D1-7BF4-4D1A-A610-0D1ECEF9F35A}"/>
                    </a:ext>
                  </a:extLst>
                </p:cNvPr>
                <p:cNvSpPr/>
                <p:nvPr/>
              </p:nvSpPr>
              <p:spPr>
                <a:xfrm>
                  <a:off x="6458541" y="1668721"/>
                  <a:ext cx="597" cy="239"/>
                </a:xfrm>
                <a:custGeom>
                  <a:avLst/>
                  <a:gdLst>
                    <a:gd name="connsiteX0" fmla="*/ 598 w 597"/>
                    <a:gd name="connsiteY0" fmla="*/ 239 h 239"/>
                    <a:gd name="connsiteX1" fmla="*/ 538 w 597"/>
                    <a:gd name="connsiteY1" fmla="*/ 179 h 239"/>
                    <a:gd name="connsiteX2" fmla="*/ 0 w 597"/>
                    <a:gd name="connsiteY2" fmla="*/ 0 h 239"/>
                  </a:gdLst>
                  <a:ahLst/>
                  <a:cxnLst>
                    <a:cxn ang="0">
                      <a:pos x="connsiteX0" y="connsiteY0"/>
                    </a:cxn>
                    <a:cxn ang="0">
                      <a:pos x="connsiteX1" y="connsiteY1"/>
                    </a:cxn>
                    <a:cxn ang="0">
                      <a:pos x="connsiteX2" y="connsiteY2"/>
                    </a:cxn>
                  </a:cxnLst>
                  <a:rect l="l" t="t" r="r" b="b"/>
                  <a:pathLst>
                    <a:path w="597" h="239">
                      <a:moveTo>
                        <a:pt x="598" y="239"/>
                      </a:moveTo>
                      <a:lnTo>
                        <a:pt x="538" y="17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377" name="Vrije vorm: vorm 5376">
                  <a:extLst>
                    <a:ext uri="{FF2B5EF4-FFF2-40B4-BE49-F238E27FC236}">
                      <a16:creationId xmlns:a16="http://schemas.microsoft.com/office/drawing/2014/main" id="{C20E90F5-5367-45F0-BDB6-706A4DC2AECA}"/>
                    </a:ext>
                  </a:extLst>
                </p:cNvPr>
                <p:cNvSpPr/>
                <p:nvPr/>
              </p:nvSpPr>
              <p:spPr>
                <a:xfrm>
                  <a:off x="6367634" y="1735885"/>
                  <a:ext cx="192340" cy="156694"/>
                </a:xfrm>
                <a:custGeom>
                  <a:avLst/>
                  <a:gdLst>
                    <a:gd name="connsiteX0" fmla="*/ 171587 w 192340"/>
                    <a:gd name="connsiteY0" fmla="*/ 131875 h 156694"/>
                    <a:gd name="connsiteX1" fmla="*/ 173740 w 192340"/>
                    <a:gd name="connsiteY1" fmla="*/ 133908 h 156694"/>
                    <a:gd name="connsiteX2" fmla="*/ 175893 w 192340"/>
                    <a:gd name="connsiteY2" fmla="*/ 135942 h 156694"/>
                    <a:gd name="connsiteX3" fmla="*/ 178046 w 192340"/>
                    <a:gd name="connsiteY3" fmla="*/ 137975 h 156694"/>
                    <a:gd name="connsiteX4" fmla="*/ 180199 w 192340"/>
                    <a:gd name="connsiteY4" fmla="*/ 140009 h 156694"/>
                    <a:gd name="connsiteX5" fmla="*/ 182352 w 192340"/>
                    <a:gd name="connsiteY5" fmla="*/ 142042 h 156694"/>
                    <a:gd name="connsiteX6" fmla="*/ 184506 w 192340"/>
                    <a:gd name="connsiteY6" fmla="*/ 144076 h 156694"/>
                    <a:gd name="connsiteX7" fmla="*/ 186658 w 192340"/>
                    <a:gd name="connsiteY7" fmla="*/ 146109 h 156694"/>
                    <a:gd name="connsiteX8" fmla="*/ 188811 w 192340"/>
                    <a:gd name="connsiteY8" fmla="*/ 148142 h 156694"/>
                    <a:gd name="connsiteX9" fmla="*/ 190964 w 192340"/>
                    <a:gd name="connsiteY9" fmla="*/ 150176 h 156694"/>
                    <a:gd name="connsiteX10" fmla="*/ 192340 w 192340"/>
                    <a:gd name="connsiteY10" fmla="*/ 151492 h 156694"/>
                    <a:gd name="connsiteX11" fmla="*/ 190905 w 192340"/>
                    <a:gd name="connsiteY11" fmla="*/ 153944 h 156694"/>
                    <a:gd name="connsiteX12" fmla="*/ 189469 w 192340"/>
                    <a:gd name="connsiteY12" fmla="*/ 156396 h 156694"/>
                    <a:gd name="connsiteX13" fmla="*/ 189290 w 192340"/>
                    <a:gd name="connsiteY13" fmla="*/ 156695 h 156694"/>
                    <a:gd name="connsiteX14" fmla="*/ 186479 w 192340"/>
                    <a:gd name="connsiteY14" fmla="*/ 155738 h 156694"/>
                    <a:gd name="connsiteX15" fmla="*/ 183668 w 192340"/>
                    <a:gd name="connsiteY15" fmla="*/ 154781 h 156694"/>
                    <a:gd name="connsiteX16" fmla="*/ 180857 w 192340"/>
                    <a:gd name="connsiteY16" fmla="*/ 153824 h 156694"/>
                    <a:gd name="connsiteX17" fmla="*/ 178046 w 192340"/>
                    <a:gd name="connsiteY17" fmla="*/ 152867 h 156694"/>
                    <a:gd name="connsiteX18" fmla="*/ 175235 w 192340"/>
                    <a:gd name="connsiteY18" fmla="*/ 151910 h 156694"/>
                    <a:gd name="connsiteX19" fmla="*/ 172424 w 192340"/>
                    <a:gd name="connsiteY19" fmla="*/ 150953 h 156694"/>
                    <a:gd name="connsiteX20" fmla="*/ 169613 w 192340"/>
                    <a:gd name="connsiteY20" fmla="*/ 149996 h 156694"/>
                    <a:gd name="connsiteX21" fmla="*/ 166802 w 192340"/>
                    <a:gd name="connsiteY21" fmla="*/ 149040 h 156694"/>
                    <a:gd name="connsiteX22" fmla="*/ 163991 w 192340"/>
                    <a:gd name="connsiteY22" fmla="*/ 148083 h 156694"/>
                    <a:gd name="connsiteX23" fmla="*/ 161181 w 192340"/>
                    <a:gd name="connsiteY23" fmla="*/ 147126 h 156694"/>
                    <a:gd name="connsiteX24" fmla="*/ 158369 w 192340"/>
                    <a:gd name="connsiteY24" fmla="*/ 146169 h 156694"/>
                    <a:gd name="connsiteX25" fmla="*/ 155559 w 192340"/>
                    <a:gd name="connsiteY25" fmla="*/ 145212 h 156694"/>
                    <a:gd name="connsiteX26" fmla="*/ 152748 w 192340"/>
                    <a:gd name="connsiteY26" fmla="*/ 144255 h 156694"/>
                    <a:gd name="connsiteX27" fmla="*/ 149937 w 192340"/>
                    <a:gd name="connsiteY27" fmla="*/ 143298 h 156694"/>
                    <a:gd name="connsiteX28" fmla="*/ 147126 w 192340"/>
                    <a:gd name="connsiteY28" fmla="*/ 142341 h 156694"/>
                    <a:gd name="connsiteX29" fmla="*/ 144315 w 192340"/>
                    <a:gd name="connsiteY29" fmla="*/ 141384 h 156694"/>
                    <a:gd name="connsiteX30" fmla="*/ 141504 w 192340"/>
                    <a:gd name="connsiteY30" fmla="*/ 140427 h 156694"/>
                    <a:gd name="connsiteX31" fmla="*/ 138693 w 192340"/>
                    <a:gd name="connsiteY31" fmla="*/ 139470 h 156694"/>
                    <a:gd name="connsiteX32" fmla="*/ 135882 w 192340"/>
                    <a:gd name="connsiteY32" fmla="*/ 138513 h 156694"/>
                    <a:gd name="connsiteX33" fmla="*/ 133071 w 192340"/>
                    <a:gd name="connsiteY33" fmla="*/ 137557 h 156694"/>
                    <a:gd name="connsiteX34" fmla="*/ 130260 w 192340"/>
                    <a:gd name="connsiteY34" fmla="*/ 136600 h 156694"/>
                    <a:gd name="connsiteX35" fmla="*/ 127449 w 192340"/>
                    <a:gd name="connsiteY35" fmla="*/ 135643 h 156694"/>
                    <a:gd name="connsiteX36" fmla="*/ 124638 w 192340"/>
                    <a:gd name="connsiteY36" fmla="*/ 134686 h 156694"/>
                    <a:gd name="connsiteX37" fmla="*/ 121827 w 192340"/>
                    <a:gd name="connsiteY37" fmla="*/ 133729 h 156694"/>
                    <a:gd name="connsiteX38" fmla="*/ 119017 w 192340"/>
                    <a:gd name="connsiteY38" fmla="*/ 132772 h 156694"/>
                    <a:gd name="connsiteX39" fmla="*/ 116205 w 192340"/>
                    <a:gd name="connsiteY39" fmla="*/ 131815 h 156694"/>
                    <a:gd name="connsiteX40" fmla="*/ 113395 w 192340"/>
                    <a:gd name="connsiteY40" fmla="*/ 130858 h 156694"/>
                    <a:gd name="connsiteX41" fmla="*/ 110584 w 192340"/>
                    <a:gd name="connsiteY41" fmla="*/ 129901 h 156694"/>
                    <a:gd name="connsiteX42" fmla="*/ 107773 w 192340"/>
                    <a:gd name="connsiteY42" fmla="*/ 128944 h 156694"/>
                    <a:gd name="connsiteX43" fmla="*/ 104962 w 192340"/>
                    <a:gd name="connsiteY43" fmla="*/ 127987 h 156694"/>
                    <a:gd name="connsiteX44" fmla="*/ 102151 w 192340"/>
                    <a:gd name="connsiteY44" fmla="*/ 127030 h 156694"/>
                    <a:gd name="connsiteX45" fmla="*/ 99340 w 192340"/>
                    <a:gd name="connsiteY45" fmla="*/ 126074 h 156694"/>
                    <a:gd name="connsiteX46" fmla="*/ 96529 w 192340"/>
                    <a:gd name="connsiteY46" fmla="*/ 125117 h 156694"/>
                    <a:gd name="connsiteX47" fmla="*/ 93718 w 192340"/>
                    <a:gd name="connsiteY47" fmla="*/ 124160 h 156694"/>
                    <a:gd name="connsiteX48" fmla="*/ 90907 w 192340"/>
                    <a:gd name="connsiteY48" fmla="*/ 123203 h 156694"/>
                    <a:gd name="connsiteX49" fmla="*/ 88096 w 192340"/>
                    <a:gd name="connsiteY49" fmla="*/ 122246 h 156694"/>
                    <a:gd name="connsiteX50" fmla="*/ 85285 w 192340"/>
                    <a:gd name="connsiteY50" fmla="*/ 121289 h 156694"/>
                    <a:gd name="connsiteX51" fmla="*/ 82474 w 192340"/>
                    <a:gd name="connsiteY51" fmla="*/ 120332 h 156694"/>
                    <a:gd name="connsiteX52" fmla="*/ 79663 w 192340"/>
                    <a:gd name="connsiteY52" fmla="*/ 119375 h 156694"/>
                    <a:gd name="connsiteX53" fmla="*/ 76853 w 192340"/>
                    <a:gd name="connsiteY53" fmla="*/ 118418 h 156694"/>
                    <a:gd name="connsiteX54" fmla="*/ 75716 w 192340"/>
                    <a:gd name="connsiteY54" fmla="*/ 118059 h 156694"/>
                    <a:gd name="connsiteX55" fmla="*/ 73802 w 192340"/>
                    <a:gd name="connsiteY55" fmla="*/ 115787 h 156694"/>
                    <a:gd name="connsiteX56" fmla="*/ 71888 w 192340"/>
                    <a:gd name="connsiteY56" fmla="*/ 113514 h 156694"/>
                    <a:gd name="connsiteX57" fmla="*/ 69975 w 192340"/>
                    <a:gd name="connsiteY57" fmla="*/ 111241 h 156694"/>
                    <a:gd name="connsiteX58" fmla="*/ 68061 w 192340"/>
                    <a:gd name="connsiteY58" fmla="*/ 108969 h 156694"/>
                    <a:gd name="connsiteX59" fmla="*/ 66147 w 192340"/>
                    <a:gd name="connsiteY59" fmla="*/ 106696 h 156694"/>
                    <a:gd name="connsiteX60" fmla="*/ 64233 w 192340"/>
                    <a:gd name="connsiteY60" fmla="*/ 104423 h 156694"/>
                    <a:gd name="connsiteX61" fmla="*/ 62319 w 192340"/>
                    <a:gd name="connsiteY61" fmla="*/ 102151 h 156694"/>
                    <a:gd name="connsiteX62" fmla="*/ 60406 w 192340"/>
                    <a:gd name="connsiteY62" fmla="*/ 99878 h 156694"/>
                    <a:gd name="connsiteX63" fmla="*/ 58492 w 192340"/>
                    <a:gd name="connsiteY63" fmla="*/ 97605 h 156694"/>
                    <a:gd name="connsiteX64" fmla="*/ 56578 w 192340"/>
                    <a:gd name="connsiteY64" fmla="*/ 95333 h 156694"/>
                    <a:gd name="connsiteX65" fmla="*/ 54664 w 192340"/>
                    <a:gd name="connsiteY65" fmla="*/ 93060 h 156694"/>
                    <a:gd name="connsiteX66" fmla="*/ 52750 w 192340"/>
                    <a:gd name="connsiteY66" fmla="*/ 90787 h 156694"/>
                    <a:gd name="connsiteX67" fmla="*/ 50836 w 192340"/>
                    <a:gd name="connsiteY67" fmla="*/ 88515 h 156694"/>
                    <a:gd name="connsiteX68" fmla="*/ 48922 w 192340"/>
                    <a:gd name="connsiteY68" fmla="*/ 86242 h 156694"/>
                    <a:gd name="connsiteX69" fmla="*/ 47008 w 192340"/>
                    <a:gd name="connsiteY69" fmla="*/ 83969 h 156694"/>
                    <a:gd name="connsiteX70" fmla="*/ 45095 w 192340"/>
                    <a:gd name="connsiteY70" fmla="*/ 81697 h 156694"/>
                    <a:gd name="connsiteX71" fmla="*/ 43181 w 192340"/>
                    <a:gd name="connsiteY71" fmla="*/ 79424 h 156694"/>
                    <a:gd name="connsiteX72" fmla="*/ 41267 w 192340"/>
                    <a:gd name="connsiteY72" fmla="*/ 77151 h 156694"/>
                    <a:gd name="connsiteX73" fmla="*/ 39353 w 192340"/>
                    <a:gd name="connsiteY73" fmla="*/ 74879 h 156694"/>
                    <a:gd name="connsiteX74" fmla="*/ 37439 w 192340"/>
                    <a:gd name="connsiteY74" fmla="*/ 72606 h 156694"/>
                    <a:gd name="connsiteX75" fmla="*/ 35526 w 192340"/>
                    <a:gd name="connsiteY75" fmla="*/ 70333 h 156694"/>
                    <a:gd name="connsiteX76" fmla="*/ 33612 w 192340"/>
                    <a:gd name="connsiteY76" fmla="*/ 68061 h 156694"/>
                    <a:gd name="connsiteX77" fmla="*/ 31698 w 192340"/>
                    <a:gd name="connsiteY77" fmla="*/ 65788 h 156694"/>
                    <a:gd name="connsiteX78" fmla="*/ 29784 w 192340"/>
                    <a:gd name="connsiteY78" fmla="*/ 63515 h 156694"/>
                    <a:gd name="connsiteX79" fmla="*/ 27870 w 192340"/>
                    <a:gd name="connsiteY79" fmla="*/ 61243 h 156694"/>
                    <a:gd name="connsiteX80" fmla="*/ 25956 w 192340"/>
                    <a:gd name="connsiteY80" fmla="*/ 58970 h 156694"/>
                    <a:gd name="connsiteX81" fmla="*/ 24043 w 192340"/>
                    <a:gd name="connsiteY81" fmla="*/ 56697 h 156694"/>
                    <a:gd name="connsiteX82" fmla="*/ 22129 w 192340"/>
                    <a:gd name="connsiteY82" fmla="*/ 54425 h 156694"/>
                    <a:gd name="connsiteX83" fmla="*/ 20215 w 192340"/>
                    <a:gd name="connsiteY83" fmla="*/ 52152 h 156694"/>
                    <a:gd name="connsiteX84" fmla="*/ 18301 w 192340"/>
                    <a:gd name="connsiteY84" fmla="*/ 49879 h 156694"/>
                    <a:gd name="connsiteX85" fmla="*/ 16387 w 192340"/>
                    <a:gd name="connsiteY85" fmla="*/ 47606 h 156694"/>
                    <a:gd name="connsiteX86" fmla="*/ 14473 w 192340"/>
                    <a:gd name="connsiteY86" fmla="*/ 45334 h 156694"/>
                    <a:gd name="connsiteX87" fmla="*/ 12560 w 192340"/>
                    <a:gd name="connsiteY87" fmla="*/ 43061 h 156694"/>
                    <a:gd name="connsiteX88" fmla="*/ 10646 w 192340"/>
                    <a:gd name="connsiteY88" fmla="*/ 40788 h 156694"/>
                    <a:gd name="connsiteX89" fmla="*/ 8732 w 192340"/>
                    <a:gd name="connsiteY89" fmla="*/ 38516 h 156694"/>
                    <a:gd name="connsiteX90" fmla="*/ 6818 w 192340"/>
                    <a:gd name="connsiteY90" fmla="*/ 36243 h 156694"/>
                    <a:gd name="connsiteX91" fmla="*/ 4904 w 192340"/>
                    <a:gd name="connsiteY91" fmla="*/ 33970 h 156694"/>
                    <a:gd name="connsiteX92" fmla="*/ 2990 w 192340"/>
                    <a:gd name="connsiteY92" fmla="*/ 31698 h 156694"/>
                    <a:gd name="connsiteX93" fmla="*/ 1076 w 192340"/>
                    <a:gd name="connsiteY93" fmla="*/ 29425 h 156694"/>
                    <a:gd name="connsiteX94" fmla="*/ 0 w 192340"/>
                    <a:gd name="connsiteY94" fmla="*/ 28109 h 156694"/>
                    <a:gd name="connsiteX95" fmla="*/ 1316 w 192340"/>
                    <a:gd name="connsiteY95" fmla="*/ 25896 h 156694"/>
                    <a:gd name="connsiteX96" fmla="*/ 1675 w 192340"/>
                    <a:gd name="connsiteY96" fmla="*/ 23086 h 156694"/>
                    <a:gd name="connsiteX97" fmla="*/ 2034 w 192340"/>
                    <a:gd name="connsiteY97" fmla="*/ 20275 h 156694"/>
                    <a:gd name="connsiteX98" fmla="*/ 2392 w 192340"/>
                    <a:gd name="connsiteY98" fmla="*/ 17464 h 156694"/>
                    <a:gd name="connsiteX99" fmla="*/ 2751 w 192340"/>
                    <a:gd name="connsiteY99" fmla="*/ 14653 h 156694"/>
                    <a:gd name="connsiteX100" fmla="*/ 3110 w 192340"/>
                    <a:gd name="connsiteY100" fmla="*/ 11842 h 156694"/>
                    <a:gd name="connsiteX101" fmla="*/ 3289 w 192340"/>
                    <a:gd name="connsiteY101" fmla="*/ 10526 h 156694"/>
                    <a:gd name="connsiteX102" fmla="*/ 4725 w 192340"/>
                    <a:gd name="connsiteY102" fmla="*/ 8074 h 156694"/>
                    <a:gd name="connsiteX103" fmla="*/ 6160 w 192340"/>
                    <a:gd name="connsiteY103" fmla="*/ 5622 h 156694"/>
                    <a:gd name="connsiteX104" fmla="*/ 7596 w 192340"/>
                    <a:gd name="connsiteY104" fmla="*/ 3170 h 156694"/>
                    <a:gd name="connsiteX105" fmla="*/ 9031 w 192340"/>
                    <a:gd name="connsiteY105" fmla="*/ 718 h 156694"/>
                    <a:gd name="connsiteX106" fmla="*/ 9450 w 192340"/>
                    <a:gd name="connsiteY106" fmla="*/ 0 h 156694"/>
                    <a:gd name="connsiteX107" fmla="*/ 12141 w 192340"/>
                    <a:gd name="connsiteY107" fmla="*/ 1196 h 156694"/>
                    <a:gd name="connsiteX108" fmla="*/ 13815 w 192340"/>
                    <a:gd name="connsiteY108" fmla="*/ 1914 h 15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92340" h="156694">
                      <a:moveTo>
                        <a:pt x="171587" y="131875"/>
                      </a:moveTo>
                      <a:lnTo>
                        <a:pt x="173740" y="133908"/>
                      </a:lnTo>
                      <a:lnTo>
                        <a:pt x="175893" y="135942"/>
                      </a:lnTo>
                      <a:lnTo>
                        <a:pt x="178046" y="137975"/>
                      </a:lnTo>
                      <a:lnTo>
                        <a:pt x="180199" y="140009"/>
                      </a:lnTo>
                      <a:lnTo>
                        <a:pt x="182352" y="142042"/>
                      </a:lnTo>
                      <a:lnTo>
                        <a:pt x="184506" y="144076"/>
                      </a:lnTo>
                      <a:lnTo>
                        <a:pt x="186658" y="146109"/>
                      </a:lnTo>
                      <a:lnTo>
                        <a:pt x="188811" y="148142"/>
                      </a:lnTo>
                      <a:lnTo>
                        <a:pt x="190964" y="150176"/>
                      </a:lnTo>
                      <a:lnTo>
                        <a:pt x="192340" y="151492"/>
                      </a:lnTo>
                      <a:lnTo>
                        <a:pt x="190905" y="153944"/>
                      </a:lnTo>
                      <a:lnTo>
                        <a:pt x="189469" y="156396"/>
                      </a:lnTo>
                      <a:lnTo>
                        <a:pt x="189290" y="156695"/>
                      </a:lnTo>
                      <a:lnTo>
                        <a:pt x="186479" y="155738"/>
                      </a:lnTo>
                      <a:lnTo>
                        <a:pt x="183668" y="154781"/>
                      </a:lnTo>
                      <a:lnTo>
                        <a:pt x="180857" y="153824"/>
                      </a:lnTo>
                      <a:lnTo>
                        <a:pt x="178046" y="152867"/>
                      </a:lnTo>
                      <a:lnTo>
                        <a:pt x="175235" y="151910"/>
                      </a:lnTo>
                      <a:lnTo>
                        <a:pt x="172424" y="150953"/>
                      </a:lnTo>
                      <a:lnTo>
                        <a:pt x="169613" y="149996"/>
                      </a:lnTo>
                      <a:lnTo>
                        <a:pt x="166802" y="149040"/>
                      </a:lnTo>
                      <a:lnTo>
                        <a:pt x="163991" y="148083"/>
                      </a:lnTo>
                      <a:lnTo>
                        <a:pt x="161181" y="147126"/>
                      </a:lnTo>
                      <a:lnTo>
                        <a:pt x="158369" y="146169"/>
                      </a:lnTo>
                      <a:lnTo>
                        <a:pt x="155559" y="145212"/>
                      </a:lnTo>
                      <a:lnTo>
                        <a:pt x="152748" y="144255"/>
                      </a:lnTo>
                      <a:lnTo>
                        <a:pt x="149937" y="143298"/>
                      </a:lnTo>
                      <a:lnTo>
                        <a:pt x="147126" y="142341"/>
                      </a:lnTo>
                      <a:lnTo>
                        <a:pt x="144315" y="141384"/>
                      </a:lnTo>
                      <a:lnTo>
                        <a:pt x="141504" y="140427"/>
                      </a:lnTo>
                      <a:lnTo>
                        <a:pt x="138693" y="139470"/>
                      </a:lnTo>
                      <a:lnTo>
                        <a:pt x="135882" y="138513"/>
                      </a:lnTo>
                      <a:lnTo>
                        <a:pt x="133071" y="137557"/>
                      </a:lnTo>
                      <a:lnTo>
                        <a:pt x="130260" y="136600"/>
                      </a:lnTo>
                      <a:lnTo>
                        <a:pt x="127449" y="135643"/>
                      </a:lnTo>
                      <a:lnTo>
                        <a:pt x="124638" y="134686"/>
                      </a:lnTo>
                      <a:lnTo>
                        <a:pt x="121827" y="133729"/>
                      </a:lnTo>
                      <a:lnTo>
                        <a:pt x="119017" y="132772"/>
                      </a:lnTo>
                      <a:lnTo>
                        <a:pt x="116205" y="131815"/>
                      </a:lnTo>
                      <a:lnTo>
                        <a:pt x="113395" y="130858"/>
                      </a:lnTo>
                      <a:lnTo>
                        <a:pt x="110584" y="129901"/>
                      </a:lnTo>
                      <a:lnTo>
                        <a:pt x="107773" y="128944"/>
                      </a:lnTo>
                      <a:lnTo>
                        <a:pt x="104962" y="127987"/>
                      </a:lnTo>
                      <a:lnTo>
                        <a:pt x="102151" y="127030"/>
                      </a:lnTo>
                      <a:lnTo>
                        <a:pt x="99340" y="126074"/>
                      </a:lnTo>
                      <a:lnTo>
                        <a:pt x="96529" y="125117"/>
                      </a:lnTo>
                      <a:lnTo>
                        <a:pt x="93718" y="124160"/>
                      </a:lnTo>
                      <a:lnTo>
                        <a:pt x="90907" y="123203"/>
                      </a:lnTo>
                      <a:lnTo>
                        <a:pt x="88096" y="122246"/>
                      </a:lnTo>
                      <a:lnTo>
                        <a:pt x="85285" y="121289"/>
                      </a:lnTo>
                      <a:lnTo>
                        <a:pt x="82474" y="120332"/>
                      </a:lnTo>
                      <a:lnTo>
                        <a:pt x="79663" y="119375"/>
                      </a:lnTo>
                      <a:lnTo>
                        <a:pt x="76853" y="118418"/>
                      </a:lnTo>
                      <a:lnTo>
                        <a:pt x="75716" y="118059"/>
                      </a:lnTo>
                      <a:lnTo>
                        <a:pt x="73802" y="115787"/>
                      </a:lnTo>
                      <a:lnTo>
                        <a:pt x="71888" y="113514"/>
                      </a:lnTo>
                      <a:lnTo>
                        <a:pt x="69975" y="111241"/>
                      </a:lnTo>
                      <a:lnTo>
                        <a:pt x="68061" y="108969"/>
                      </a:lnTo>
                      <a:lnTo>
                        <a:pt x="66147" y="106696"/>
                      </a:lnTo>
                      <a:lnTo>
                        <a:pt x="64233" y="104423"/>
                      </a:lnTo>
                      <a:lnTo>
                        <a:pt x="62319" y="102151"/>
                      </a:lnTo>
                      <a:lnTo>
                        <a:pt x="60406" y="99878"/>
                      </a:lnTo>
                      <a:lnTo>
                        <a:pt x="58492" y="97605"/>
                      </a:lnTo>
                      <a:lnTo>
                        <a:pt x="56578" y="95333"/>
                      </a:lnTo>
                      <a:lnTo>
                        <a:pt x="54664" y="93060"/>
                      </a:lnTo>
                      <a:lnTo>
                        <a:pt x="52750" y="90787"/>
                      </a:lnTo>
                      <a:lnTo>
                        <a:pt x="50836" y="88515"/>
                      </a:lnTo>
                      <a:lnTo>
                        <a:pt x="48922" y="86242"/>
                      </a:lnTo>
                      <a:lnTo>
                        <a:pt x="47008" y="83969"/>
                      </a:lnTo>
                      <a:lnTo>
                        <a:pt x="45095" y="81697"/>
                      </a:lnTo>
                      <a:lnTo>
                        <a:pt x="43181" y="79424"/>
                      </a:lnTo>
                      <a:lnTo>
                        <a:pt x="41267" y="77151"/>
                      </a:lnTo>
                      <a:lnTo>
                        <a:pt x="39353" y="74879"/>
                      </a:lnTo>
                      <a:lnTo>
                        <a:pt x="37439" y="72606"/>
                      </a:lnTo>
                      <a:lnTo>
                        <a:pt x="35526" y="70333"/>
                      </a:lnTo>
                      <a:lnTo>
                        <a:pt x="33612" y="68061"/>
                      </a:lnTo>
                      <a:lnTo>
                        <a:pt x="31698" y="65788"/>
                      </a:lnTo>
                      <a:lnTo>
                        <a:pt x="29784" y="63515"/>
                      </a:lnTo>
                      <a:lnTo>
                        <a:pt x="27870" y="61243"/>
                      </a:lnTo>
                      <a:lnTo>
                        <a:pt x="25956" y="58970"/>
                      </a:lnTo>
                      <a:lnTo>
                        <a:pt x="24043" y="56697"/>
                      </a:lnTo>
                      <a:lnTo>
                        <a:pt x="22129" y="54425"/>
                      </a:lnTo>
                      <a:lnTo>
                        <a:pt x="20215" y="52152"/>
                      </a:lnTo>
                      <a:lnTo>
                        <a:pt x="18301" y="49879"/>
                      </a:lnTo>
                      <a:lnTo>
                        <a:pt x="16387" y="47606"/>
                      </a:lnTo>
                      <a:lnTo>
                        <a:pt x="14473" y="45334"/>
                      </a:lnTo>
                      <a:lnTo>
                        <a:pt x="12560" y="43061"/>
                      </a:lnTo>
                      <a:lnTo>
                        <a:pt x="10646" y="40788"/>
                      </a:lnTo>
                      <a:lnTo>
                        <a:pt x="8732" y="38516"/>
                      </a:lnTo>
                      <a:lnTo>
                        <a:pt x="6818" y="36243"/>
                      </a:lnTo>
                      <a:lnTo>
                        <a:pt x="4904" y="33970"/>
                      </a:lnTo>
                      <a:lnTo>
                        <a:pt x="2990" y="31698"/>
                      </a:lnTo>
                      <a:lnTo>
                        <a:pt x="1076" y="29425"/>
                      </a:lnTo>
                      <a:lnTo>
                        <a:pt x="0" y="28109"/>
                      </a:lnTo>
                      <a:lnTo>
                        <a:pt x="1316" y="25896"/>
                      </a:lnTo>
                      <a:lnTo>
                        <a:pt x="1675" y="23086"/>
                      </a:lnTo>
                      <a:lnTo>
                        <a:pt x="2034" y="20275"/>
                      </a:lnTo>
                      <a:lnTo>
                        <a:pt x="2392" y="17464"/>
                      </a:lnTo>
                      <a:lnTo>
                        <a:pt x="2751" y="14653"/>
                      </a:lnTo>
                      <a:lnTo>
                        <a:pt x="3110" y="11842"/>
                      </a:lnTo>
                      <a:lnTo>
                        <a:pt x="3289" y="10526"/>
                      </a:lnTo>
                      <a:lnTo>
                        <a:pt x="4725" y="8074"/>
                      </a:lnTo>
                      <a:lnTo>
                        <a:pt x="6160" y="5622"/>
                      </a:lnTo>
                      <a:lnTo>
                        <a:pt x="7596" y="3170"/>
                      </a:lnTo>
                      <a:lnTo>
                        <a:pt x="9031" y="718"/>
                      </a:lnTo>
                      <a:lnTo>
                        <a:pt x="9450" y="0"/>
                      </a:lnTo>
                      <a:lnTo>
                        <a:pt x="12141" y="1196"/>
                      </a:lnTo>
                      <a:lnTo>
                        <a:pt x="13815" y="1914"/>
                      </a:lnTo>
                    </a:path>
                  </a:pathLst>
                </a:custGeom>
                <a:noFill/>
                <a:ln w="6350" cap="rnd">
                  <a:solidFill>
                    <a:schemeClr val="bg1">
                      <a:alpha val="40000"/>
                    </a:schemeClr>
                  </a:solidFill>
                  <a:prstDash val="solid"/>
                  <a:round/>
                </a:ln>
              </p:spPr>
              <p:txBody>
                <a:bodyPr rtlCol="0" anchor="ctr"/>
                <a:lstStyle/>
                <a:p>
                  <a:endParaRPr lang="en-GB"/>
                </a:p>
              </p:txBody>
            </p:sp>
            <p:sp>
              <p:nvSpPr>
                <p:cNvPr id="5378" name="Vrije vorm: vorm 5377">
                  <a:extLst>
                    <a:ext uri="{FF2B5EF4-FFF2-40B4-BE49-F238E27FC236}">
                      <a16:creationId xmlns:a16="http://schemas.microsoft.com/office/drawing/2014/main" id="{B28BC705-8D32-46EE-B88F-FCFB61A98C92}"/>
                    </a:ext>
                  </a:extLst>
                </p:cNvPr>
                <p:cNvSpPr/>
                <p:nvPr/>
              </p:nvSpPr>
              <p:spPr>
                <a:xfrm>
                  <a:off x="6531088" y="1826313"/>
                  <a:ext cx="17343" cy="52211"/>
                </a:xfrm>
                <a:custGeom>
                  <a:avLst/>
                  <a:gdLst>
                    <a:gd name="connsiteX0" fmla="*/ 0 w 17343"/>
                    <a:gd name="connsiteY0" fmla="*/ 0 h 52211"/>
                    <a:gd name="connsiteX1" fmla="*/ 2213 w 17343"/>
                    <a:gd name="connsiteY1" fmla="*/ 1974 h 52211"/>
                    <a:gd name="connsiteX2" fmla="*/ 4426 w 17343"/>
                    <a:gd name="connsiteY2" fmla="*/ 3947 h 52211"/>
                    <a:gd name="connsiteX3" fmla="*/ 6639 w 17343"/>
                    <a:gd name="connsiteY3" fmla="*/ 5921 h 52211"/>
                    <a:gd name="connsiteX4" fmla="*/ 8851 w 17343"/>
                    <a:gd name="connsiteY4" fmla="*/ 7895 h 52211"/>
                    <a:gd name="connsiteX5" fmla="*/ 11064 w 17343"/>
                    <a:gd name="connsiteY5" fmla="*/ 9868 h 52211"/>
                    <a:gd name="connsiteX6" fmla="*/ 13277 w 17343"/>
                    <a:gd name="connsiteY6" fmla="*/ 11842 h 52211"/>
                    <a:gd name="connsiteX7" fmla="*/ 14294 w 17343"/>
                    <a:gd name="connsiteY7" fmla="*/ 12739 h 52211"/>
                    <a:gd name="connsiteX8" fmla="*/ 12858 w 17343"/>
                    <a:gd name="connsiteY8" fmla="*/ 15191 h 52211"/>
                    <a:gd name="connsiteX9" fmla="*/ 11782 w 17343"/>
                    <a:gd name="connsiteY9" fmla="*/ 16985 h 52211"/>
                    <a:gd name="connsiteX10" fmla="*/ 13995 w 17343"/>
                    <a:gd name="connsiteY10" fmla="*/ 18959 h 52211"/>
                    <a:gd name="connsiteX11" fmla="*/ 16208 w 17343"/>
                    <a:gd name="connsiteY11" fmla="*/ 20933 h 52211"/>
                    <a:gd name="connsiteX12" fmla="*/ 17344 w 17343"/>
                    <a:gd name="connsiteY12" fmla="*/ 21949 h 52211"/>
                    <a:gd name="connsiteX13" fmla="*/ 16327 w 17343"/>
                    <a:gd name="connsiteY13" fmla="*/ 24581 h 52211"/>
                    <a:gd name="connsiteX14" fmla="*/ 15311 w 17343"/>
                    <a:gd name="connsiteY14" fmla="*/ 27212 h 52211"/>
                    <a:gd name="connsiteX15" fmla="*/ 14294 w 17343"/>
                    <a:gd name="connsiteY15" fmla="*/ 29844 h 52211"/>
                    <a:gd name="connsiteX16" fmla="*/ 13516 w 17343"/>
                    <a:gd name="connsiteY16" fmla="*/ 31937 h 52211"/>
                    <a:gd name="connsiteX17" fmla="*/ 12081 w 17343"/>
                    <a:gd name="connsiteY17" fmla="*/ 34389 h 52211"/>
                    <a:gd name="connsiteX18" fmla="*/ 10645 w 17343"/>
                    <a:gd name="connsiteY18" fmla="*/ 36841 h 52211"/>
                    <a:gd name="connsiteX19" fmla="*/ 9210 w 17343"/>
                    <a:gd name="connsiteY19" fmla="*/ 39293 h 52211"/>
                    <a:gd name="connsiteX20" fmla="*/ 7835 w 17343"/>
                    <a:gd name="connsiteY20" fmla="*/ 41626 h 52211"/>
                    <a:gd name="connsiteX21" fmla="*/ 6399 w 17343"/>
                    <a:gd name="connsiteY21" fmla="*/ 44078 h 52211"/>
                    <a:gd name="connsiteX22" fmla="*/ 4964 w 17343"/>
                    <a:gd name="connsiteY22" fmla="*/ 46530 h 52211"/>
                    <a:gd name="connsiteX23" fmla="*/ 4904 w 17343"/>
                    <a:gd name="connsiteY23" fmla="*/ 46590 h 52211"/>
                    <a:gd name="connsiteX24" fmla="*/ 3469 w 17343"/>
                    <a:gd name="connsiteY24" fmla="*/ 49042 h 52211"/>
                    <a:gd name="connsiteX25" fmla="*/ 2033 w 17343"/>
                    <a:gd name="connsiteY25" fmla="*/ 51494 h 52211"/>
                    <a:gd name="connsiteX26" fmla="*/ 1615 w 17343"/>
                    <a:gd name="connsiteY26" fmla="*/ 52212 h 5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343" h="52211">
                      <a:moveTo>
                        <a:pt x="0" y="0"/>
                      </a:moveTo>
                      <a:lnTo>
                        <a:pt x="2213" y="1974"/>
                      </a:lnTo>
                      <a:lnTo>
                        <a:pt x="4426" y="3947"/>
                      </a:lnTo>
                      <a:lnTo>
                        <a:pt x="6639" y="5921"/>
                      </a:lnTo>
                      <a:lnTo>
                        <a:pt x="8851" y="7895"/>
                      </a:lnTo>
                      <a:lnTo>
                        <a:pt x="11064" y="9868"/>
                      </a:lnTo>
                      <a:lnTo>
                        <a:pt x="13277" y="11842"/>
                      </a:lnTo>
                      <a:lnTo>
                        <a:pt x="14294" y="12739"/>
                      </a:lnTo>
                      <a:lnTo>
                        <a:pt x="12858" y="15191"/>
                      </a:lnTo>
                      <a:lnTo>
                        <a:pt x="11782" y="16985"/>
                      </a:lnTo>
                      <a:lnTo>
                        <a:pt x="13995" y="18959"/>
                      </a:lnTo>
                      <a:lnTo>
                        <a:pt x="16208" y="20933"/>
                      </a:lnTo>
                      <a:lnTo>
                        <a:pt x="17344" y="21949"/>
                      </a:lnTo>
                      <a:lnTo>
                        <a:pt x="16327" y="24581"/>
                      </a:lnTo>
                      <a:lnTo>
                        <a:pt x="15311" y="27212"/>
                      </a:lnTo>
                      <a:lnTo>
                        <a:pt x="14294" y="29844"/>
                      </a:lnTo>
                      <a:lnTo>
                        <a:pt x="13516" y="31937"/>
                      </a:lnTo>
                      <a:lnTo>
                        <a:pt x="12081" y="34389"/>
                      </a:lnTo>
                      <a:lnTo>
                        <a:pt x="10645" y="36841"/>
                      </a:lnTo>
                      <a:lnTo>
                        <a:pt x="9210" y="39293"/>
                      </a:lnTo>
                      <a:lnTo>
                        <a:pt x="7835" y="41626"/>
                      </a:lnTo>
                      <a:lnTo>
                        <a:pt x="6399" y="44078"/>
                      </a:lnTo>
                      <a:lnTo>
                        <a:pt x="4964" y="46530"/>
                      </a:lnTo>
                      <a:lnTo>
                        <a:pt x="4904" y="46590"/>
                      </a:lnTo>
                      <a:lnTo>
                        <a:pt x="3469" y="49042"/>
                      </a:lnTo>
                      <a:lnTo>
                        <a:pt x="2033" y="51494"/>
                      </a:lnTo>
                      <a:lnTo>
                        <a:pt x="1615" y="52212"/>
                      </a:lnTo>
                    </a:path>
                  </a:pathLst>
                </a:custGeom>
                <a:noFill/>
                <a:ln w="6350" cap="rnd">
                  <a:solidFill>
                    <a:schemeClr val="bg1">
                      <a:alpha val="40000"/>
                    </a:schemeClr>
                  </a:solidFill>
                  <a:prstDash val="solid"/>
                  <a:round/>
                </a:ln>
              </p:spPr>
              <p:txBody>
                <a:bodyPr rtlCol="0" anchor="ctr"/>
                <a:lstStyle/>
                <a:p>
                  <a:endParaRPr lang="en-GB"/>
                </a:p>
              </p:txBody>
            </p:sp>
            <p:sp>
              <p:nvSpPr>
                <p:cNvPr id="5379" name="Vrije vorm: vorm 5378">
                  <a:extLst>
                    <a:ext uri="{FF2B5EF4-FFF2-40B4-BE49-F238E27FC236}">
                      <a16:creationId xmlns:a16="http://schemas.microsoft.com/office/drawing/2014/main" id="{30DEBB7B-21FB-4ABB-87AB-94552A7F9D31}"/>
                    </a:ext>
                  </a:extLst>
                </p:cNvPr>
                <p:cNvSpPr/>
                <p:nvPr/>
              </p:nvSpPr>
              <p:spPr>
                <a:xfrm>
                  <a:off x="6524628" y="1850116"/>
                  <a:ext cx="20274" cy="7954"/>
                </a:xfrm>
                <a:custGeom>
                  <a:avLst/>
                  <a:gdLst>
                    <a:gd name="connsiteX0" fmla="*/ 20275 w 20274"/>
                    <a:gd name="connsiteY0" fmla="*/ 7954 h 7954"/>
                    <a:gd name="connsiteX1" fmla="*/ 17523 w 20274"/>
                    <a:gd name="connsiteY1" fmla="*/ 6878 h 7954"/>
                    <a:gd name="connsiteX2" fmla="*/ 14773 w 20274"/>
                    <a:gd name="connsiteY2" fmla="*/ 5801 h 7954"/>
                    <a:gd name="connsiteX3" fmla="*/ 12021 w 20274"/>
                    <a:gd name="connsiteY3" fmla="*/ 4725 h 7954"/>
                    <a:gd name="connsiteX4" fmla="*/ 9270 w 20274"/>
                    <a:gd name="connsiteY4" fmla="*/ 3648 h 7954"/>
                    <a:gd name="connsiteX5" fmla="*/ 6519 w 20274"/>
                    <a:gd name="connsiteY5" fmla="*/ 2572 h 7954"/>
                    <a:gd name="connsiteX6" fmla="*/ 3768 w 20274"/>
                    <a:gd name="connsiteY6" fmla="*/ 1495 h 7954"/>
                    <a:gd name="connsiteX7" fmla="*/ 1017 w 20274"/>
                    <a:gd name="connsiteY7" fmla="*/ 419 h 7954"/>
                    <a:gd name="connsiteX8" fmla="*/ 0 w 20274"/>
                    <a:gd name="connsiteY8" fmla="*/ 0 h 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4" h="7954">
                      <a:moveTo>
                        <a:pt x="20275" y="7954"/>
                      </a:moveTo>
                      <a:lnTo>
                        <a:pt x="17523" y="6878"/>
                      </a:lnTo>
                      <a:lnTo>
                        <a:pt x="14773" y="5801"/>
                      </a:lnTo>
                      <a:lnTo>
                        <a:pt x="12021" y="4725"/>
                      </a:lnTo>
                      <a:lnTo>
                        <a:pt x="9270" y="3648"/>
                      </a:lnTo>
                      <a:lnTo>
                        <a:pt x="6519" y="2572"/>
                      </a:lnTo>
                      <a:lnTo>
                        <a:pt x="3768" y="1495"/>
                      </a:lnTo>
                      <a:lnTo>
                        <a:pt x="1017" y="41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380" name="Vrije vorm: vorm 5379">
                  <a:extLst>
                    <a:ext uri="{FF2B5EF4-FFF2-40B4-BE49-F238E27FC236}">
                      <a16:creationId xmlns:a16="http://schemas.microsoft.com/office/drawing/2014/main" id="{D65F1AB8-17BC-4B62-A3CA-E0A19C6EF9F7}"/>
                    </a:ext>
                  </a:extLst>
                </p:cNvPr>
                <p:cNvSpPr/>
                <p:nvPr/>
              </p:nvSpPr>
              <p:spPr>
                <a:xfrm>
                  <a:off x="6506148" y="1844973"/>
                  <a:ext cx="18241" cy="21231"/>
                </a:xfrm>
                <a:custGeom>
                  <a:avLst/>
                  <a:gdLst>
                    <a:gd name="connsiteX0" fmla="*/ 0 w 18241"/>
                    <a:gd name="connsiteY0" fmla="*/ 18241 h 21231"/>
                    <a:gd name="connsiteX1" fmla="*/ 1076 w 18241"/>
                    <a:gd name="connsiteY1" fmla="*/ 16447 h 21231"/>
                    <a:gd name="connsiteX2" fmla="*/ 2512 w 18241"/>
                    <a:gd name="connsiteY2" fmla="*/ 13995 h 21231"/>
                    <a:gd name="connsiteX3" fmla="*/ 3947 w 18241"/>
                    <a:gd name="connsiteY3" fmla="*/ 11543 h 21231"/>
                    <a:gd name="connsiteX4" fmla="*/ 5382 w 18241"/>
                    <a:gd name="connsiteY4" fmla="*/ 9091 h 21231"/>
                    <a:gd name="connsiteX5" fmla="*/ 6818 w 18241"/>
                    <a:gd name="connsiteY5" fmla="*/ 6639 h 21231"/>
                    <a:gd name="connsiteX6" fmla="*/ 7416 w 18241"/>
                    <a:gd name="connsiteY6" fmla="*/ 5562 h 21231"/>
                    <a:gd name="connsiteX7" fmla="*/ 8851 w 18241"/>
                    <a:gd name="connsiteY7" fmla="*/ 3110 h 21231"/>
                    <a:gd name="connsiteX8" fmla="*/ 9509 w 18241"/>
                    <a:gd name="connsiteY8" fmla="*/ 1974 h 21231"/>
                    <a:gd name="connsiteX9" fmla="*/ 8791 w 18241"/>
                    <a:gd name="connsiteY9" fmla="*/ 1196 h 21231"/>
                    <a:gd name="connsiteX10" fmla="*/ 8433 w 18241"/>
                    <a:gd name="connsiteY10" fmla="*/ 598 h 21231"/>
                    <a:gd name="connsiteX11" fmla="*/ 8433 w 18241"/>
                    <a:gd name="connsiteY11" fmla="*/ 179 h 21231"/>
                    <a:gd name="connsiteX12" fmla="*/ 8791 w 18241"/>
                    <a:gd name="connsiteY12" fmla="*/ 0 h 21231"/>
                    <a:gd name="connsiteX13" fmla="*/ 9509 w 18241"/>
                    <a:gd name="connsiteY13" fmla="*/ 60 h 21231"/>
                    <a:gd name="connsiteX14" fmla="*/ 10526 w 18241"/>
                    <a:gd name="connsiteY14" fmla="*/ 359 h 21231"/>
                    <a:gd name="connsiteX15" fmla="*/ 11782 w 18241"/>
                    <a:gd name="connsiteY15" fmla="*/ 897 h 21231"/>
                    <a:gd name="connsiteX16" fmla="*/ 13157 w 18241"/>
                    <a:gd name="connsiteY16" fmla="*/ 1615 h 21231"/>
                    <a:gd name="connsiteX17" fmla="*/ 14593 w 18241"/>
                    <a:gd name="connsiteY17" fmla="*/ 2452 h 21231"/>
                    <a:gd name="connsiteX18" fmla="*/ 15968 w 18241"/>
                    <a:gd name="connsiteY18" fmla="*/ 3349 h 21231"/>
                    <a:gd name="connsiteX19" fmla="*/ 17225 w 18241"/>
                    <a:gd name="connsiteY19" fmla="*/ 4246 h 21231"/>
                    <a:gd name="connsiteX20" fmla="*/ 18241 w 18241"/>
                    <a:gd name="connsiteY20" fmla="*/ 5143 h 21231"/>
                    <a:gd name="connsiteX21" fmla="*/ 16806 w 18241"/>
                    <a:gd name="connsiteY21" fmla="*/ 7596 h 21231"/>
                    <a:gd name="connsiteX22" fmla="*/ 15370 w 18241"/>
                    <a:gd name="connsiteY22" fmla="*/ 10048 h 21231"/>
                    <a:gd name="connsiteX23" fmla="*/ 13935 w 18241"/>
                    <a:gd name="connsiteY23" fmla="*/ 12500 h 21231"/>
                    <a:gd name="connsiteX24" fmla="*/ 12500 w 18241"/>
                    <a:gd name="connsiteY24" fmla="*/ 14952 h 21231"/>
                    <a:gd name="connsiteX25" fmla="*/ 11064 w 18241"/>
                    <a:gd name="connsiteY25" fmla="*/ 17404 h 21231"/>
                    <a:gd name="connsiteX26" fmla="*/ 9629 w 18241"/>
                    <a:gd name="connsiteY26" fmla="*/ 19856 h 21231"/>
                    <a:gd name="connsiteX27" fmla="*/ 8851 w 18241"/>
                    <a:gd name="connsiteY27" fmla="*/ 21232 h 21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241" h="21231">
                      <a:moveTo>
                        <a:pt x="0" y="18241"/>
                      </a:moveTo>
                      <a:lnTo>
                        <a:pt x="1076" y="16447"/>
                      </a:lnTo>
                      <a:lnTo>
                        <a:pt x="2512" y="13995"/>
                      </a:lnTo>
                      <a:lnTo>
                        <a:pt x="3947" y="11543"/>
                      </a:lnTo>
                      <a:lnTo>
                        <a:pt x="5382" y="9091"/>
                      </a:lnTo>
                      <a:lnTo>
                        <a:pt x="6818" y="6639"/>
                      </a:lnTo>
                      <a:lnTo>
                        <a:pt x="7416" y="5562"/>
                      </a:lnTo>
                      <a:lnTo>
                        <a:pt x="8851" y="3110"/>
                      </a:lnTo>
                      <a:lnTo>
                        <a:pt x="9509" y="1974"/>
                      </a:lnTo>
                      <a:lnTo>
                        <a:pt x="8791" y="1196"/>
                      </a:lnTo>
                      <a:lnTo>
                        <a:pt x="8433" y="598"/>
                      </a:lnTo>
                      <a:lnTo>
                        <a:pt x="8433" y="179"/>
                      </a:lnTo>
                      <a:lnTo>
                        <a:pt x="8791" y="0"/>
                      </a:lnTo>
                      <a:lnTo>
                        <a:pt x="9509" y="60"/>
                      </a:lnTo>
                      <a:lnTo>
                        <a:pt x="10526" y="359"/>
                      </a:lnTo>
                      <a:lnTo>
                        <a:pt x="11782" y="897"/>
                      </a:lnTo>
                      <a:lnTo>
                        <a:pt x="13157" y="1615"/>
                      </a:lnTo>
                      <a:lnTo>
                        <a:pt x="14593" y="2452"/>
                      </a:lnTo>
                      <a:lnTo>
                        <a:pt x="15968" y="3349"/>
                      </a:lnTo>
                      <a:lnTo>
                        <a:pt x="17225" y="4246"/>
                      </a:lnTo>
                      <a:lnTo>
                        <a:pt x="18241" y="5143"/>
                      </a:lnTo>
                      <a:lnTo>
                        <a:pt x="16806" y="7596"/>
                      </a:lnTo>
                      <a:lnTo>
                        <a:pt x="15370" y="10048"/>
                      </a:lnTo>
                      <a:lnTo>
                        <a:pt x="13935" y="12500"/>
                      </a:lnTo>
                      <a:lnTo>
                        <a:pt x="12500" y="14952"/>
                      </a:lnTo>
                      <a:lnTo>
                        <a:pt x="11064" y="17404"/>
                      </a:lnTo>
                      <a:lnTo>
                        <a:pt x="9629" y="19856"/>
                      </a:lnTo>
                      <a:lnTo>
                        <a:pt x="8851" y="21232"/>
                      </a:lnTo>
                    </a:path>
                  </a:pathLst>
                </a:custGeom>
                <a:noFill/>
                <a:ln w="6350" cap="rnd">
                  <a:solidFill>
                    <a:schemeClr val="bg1">
                      <a:alpha val="40000"/>
                    </a:schemeClr>
                  </a:solidFill>
                  <a:prstDash val="solid"/>
                  <a:round/>
                </a:ln>
              </p:spPr>
              <p:txBody>
                <a:bodyPr rtlCol="0" anchor="ctr"/>
                <a:lstStyle/>
                <a:p>
                  <a:endParaRPr lang="en-GB"/>
                </a:p>
              </p:txBody>
            </p:sp>
            <p:sp>
              <p:nvSpPr>
                <p:cNvPr id="5381" name="Vrije vorm: vorm 5380">
                  <a:extLst>
                    <a:ext uri="{FF2B5EF4-FFF2-40B4-BE49-F238E27FC236}">
                      <a16:creationId xmlns:a16="http://schemas.microsoft.com/office/drawing/2014/main" id="{B47302D4-00F5-4E3A-A6CA-ADF202DF3ECA}"/>
                    </a:ext>
                  </a:extLst>
                </p:cNvPr>
                <p:cNvSpPr/>
                <p:nvPr/>
              </p:nvSpPr>
              <p:spPr>
                <a:xfrm>
                  <a:off x="6506208" y="1861420"/>
                  <a:ext cx="8851" cy="4904"/>
                </a:xfrm>
                <a:custGeom>
                  <a:avLst/>
                  <a:gdLst>
                    <a:gd name="connsiteX0" fmla="*/ 1017 w 8851"/>
                    <a:gd name="connsiteY0" fmla="*/ 0 h 4904"/>
                    <a:gd name="connsiteX1" fmla="*/ 1136 w 8851"/>
                    <a:gd name="connsiteY1" fmla="*/ 60 h 4904"/>
                    <a:gd name="connsiteX2" fmla="*/ 2392 w 8851"/>
                    <a:gd name="connsiteY2" fmla="*/ 598 h 4904"/>
                    <a:gd name="connsiteX3" fmla="*/ 3768 w 8851"/>
                    <a:gd name="connsiteY3" fmla="*/ 1316 h 4904"/>
                    <a:gd name="connsiteX4" fmla="*/ 5204 w 8851"/>
                    <a:gd name="connsiteY4" fmla="*/ 2153 h 4904"/>
                    <a:gd name="connsiteX5" fmla="*/ 6579 w 8851"/>
                    <a:gd name="connsiteY5" fmla="*/ 3050 h 4904"/>
                    <a:gd name="connsiteX6" fmla="*/ 7835 w 8851"/>
                    <a:gd name="connsiteY6" fmla="*/ 4007 h 4904"/>
                    <a:gd name="connsiteX7" fmla="*/ 8852 w 8851"/>
                    <a:gd name="connsiteY7" fmla="*/ 4904 h 4904"/>
                    <a:gd name="connsiteX8" fmla="*/ 6041 w 8851"/>
                    <a:gd name="connsiteY8" fmla="*/ 3947 h 4904"/>
                    <a:gd name="connsiteX9" fmla="*/ 3230 w 8851"/>
                    <a:gd name="connsiteY9" fmla="*/ 2990 h 4904"/>
                    <a:gd name="connsiteX10" fmla="*/ 419 w 8851"/>
                    <a:gd name="connsiteY10" fmla="*/ 2033 h 4904"/>
                    <a:gd name="connsiteX11" fmla="*/ 0 w 8851"/>
                    <a:gd name="connsiteY11" fmla="*/ 1854 h 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1" h="4904">
                      <a:moveTo>
                        <a:pt x="1017" y="0"/>
                      </a:moveTo>
                      <a:lnTo>
                        <a:pt x="1136" y="60"/>
                      </a:lnTo>
                      <a:lnTo>
                        <a:pt x="2392" y="598"/>
                      </a:lnTo>
                      <a:lnTo>
                        <a:pt x="3768" y="1316"/>
                      </a:lnTo>
                      <a:lnTo>
                        <a:pt x="5204" y="2153"/>
                      </a:lnTo>
                      <a:lnTo>
                        <a:pt x="6579" y="3050"/>
                      </a:lnTo>
                      <a:lnTo>
                        <a:pt x="7835" y="4007"/>
                      </a:lnTo>
                      <a:lnTo>
                        <a:pt x="8852" y="4904"/>
                      </a:lnTo>
                      <a:lnTo>
                        <a:pt x="6041" y="3947"/>
                      </a:lnTo>
                      <a:lnTo>
                        <a:pt x="3230" y="2990"/>
                      </a:lnTo>
                      <a:lnTo>
                        <a:pt x="419" y="2033"/>
                      </a:lnTo>
                      <a:lnTo>
                        <a:pt x="0" y="1854"/>
                      </a:lnTo>
                    </a:path>
                  </a:pathLst>
                </a:custGeom>
                <a:noFill/>
                <a:ln w="6350" cap="rnd">
                  <a:solidFill>
                    <a:schemeClr val="bg1">
                      <a:alpha val="40000"/>
                    </a:schemeClr>
                  </a:solidFill>
                  <a:prstDash val="solid"/>
                  <a:round/>
                </a:ln>
              </p:spPr>
              <p:txBody>
                <a:bodyPr rtlCol="0" anchor="ctr"/>
                <a:lstStyle/>
                <a:p>
                  <a:endParaRPr lang="en-GB"/>
                </a:p>
              </p:txBody>
            </p:sp>
            <p:sp>
              <p:nvSpPr>
                <p:cNvPr id="5382" name="Vrije vorm: vorm 5381">
                  <a:extLst>
                    <a:ext uri="{FF2B5EF4-FFF2-40B4-BE49-F238E27FC236}">
                      <a16:creationId xmlns:a16="http://schemas.microsoft.com/office/drawing/2014/main" id="{69F0E5D8-36C0-4AE9-A4FF-282B488A8A97}"/>
                    </a:ext>
                  </a:extLst>
                </p:cNvPr>
                <p:cNvSpPr/>
                <p:nvPr/>
              </p:nvSpPr>
              <p:spPr>
                <a:xfrm>
                  <a:off x="6435516" y="1800417"/>
                  <a:ext cx="80141" cy="46649"/>
                </a:xfrm>
                <a:custGeom>
                  <a:avLst/>
                  <a:gdLst>
                    <a:gd name="connsiteX0" fmla="*/ 80141 w 80141"/>
                    <a:gd name="connsiteY0" fmla="*/ 46650 h 46649"/>
                    <a:gd name="connsiteX1" fmla="*/ 78407 w 80141"/>
                    <a:gd name="connsiteY1" fmla="*/ 45992 h 46649"/>
                    <a:gd name="connsiteX2" fmla="*/ 75656 w 80141"/>
                    <a:gd name="connsiteY2" fmla="*/ 44915 h 46649"/>
                    <a:gd name="connsiteX3" fmla="*/ 72905 w 80141"/>
                    <a:gd name="connsiteY3" fmla="*/ 43839 h 46649"/>
                    <a:gd name="connsiteX4" fmla="*/ 70154 w 80141"/>
                    <a:gd name="connsiteY4" fmla="*/ 42762 h 46649"/>
                    <a:gd name="connsiteX5" fmla="*/ 67402 w 80141"/>
                    <a:gd name="connsiteY5" fmla="*/ 41686 h 46649"/>
                    <a:gd name="connsiteX6" fmla="*/ 64652 w 80141"/>
                    <a:gd name="connsiteY6" fmla="*/ 40609 h 46649"/>
                    <a:gd name="connsiteX7" fmla="*/ 61900 w 80141"/>
                    <a:gd name="connsiteY7" fmla="*/ 39533 h 46649"/>
                    <a:gd name="connsiteX8" fmla="*/ 59149 w 80141"/>
                    <a:gd name="connsiteY8" fmla="*/ 38456 h 46649"/>
                    <a:gd name="connsiteX9" fmla="*/ 58132 w 80141"/>
                    <a:gd name="connsiteY9" fmla="*/ 38097 h 46649"/>
                    <a:gd name="connsiteX10" fmla="*/ 55621 w 80141"/>
                    <a:gd name="connsiteY10" fmla="*/ 36542 h 46649"/>
                    <a:gd name="connsiteX11" fmla="*/ 53108 w 80141"/>
                    <a:gd name="connsiteY11" fmla="*/ 34987 h 46649"/>
                    <a:gd name="connsiteX12" fmla="*/ 50597 w 80141"/>
                    <a:gd name="connsiteY12" fmla="*/ 33432 h 46649"/>
                    <a:gd name="connsiteX13" fmla="*/ 48085 w 80141"/>
                    <a:gd name="connsiteY13" fmla="*/ 31877 h 46649"/>
                    <a:gd name="connsiteX14" fmla="*/ 45573 w 80141"/>
                    <a:gd name="connsiteY14" fmla="*/ 30322 h 46649"/>
                    <a:gd name="connsiteX15" fmla="*/ 43061 w 80141"/>
                    <a:gd name="connsiteY15" fmla="*/ 28767 h 46649"/>
                    <a:gd name="connsiteX16" fmla="*/ 40549 w 80141"/>
                    <a:gd name="connsiteY16" fmla="*/ 27212 h 46649"/>
                    <a:gd name="connsiteX17" fmla="*/ 38037 w 80141"/>
                    <a:gd name="connsiteY17" fmla="*/ 25657 h 46649"/>
                    <a:gd name="connsiteX18" fmla="*/ 35526 w 80141"/>
                    <a:gd name="connsiteY18" fmla="*/ 24102 h 46649"/>
                    <a:gd name="connsiteX19" fmla="*/ 33013 w 80141"/>
                    <a:gd name="connsiteY19" fmla="*/ 22547 h 46649"/>
                    <a:gd name="connsiteX20" fmla="*/ 30502 w 80141"/>
                    <a:gd name="connsiteY20" fmla="*/ 20992 h 46649"/>
                    <a:gd name="connsiteX21" fmla="*/ 27990 w 80141"/>
                    <a:gd name="connsiteY21" fmla="*/ 19437 h 46649"/>
                    <a:gd name="connsiteX22" fmla="*/ 25478 w 80141"/>
                    <a:gd name="connsiteY22" fmla="*/ 17882 h 46649"/>
                    <a:gd name="connsiteX23" fmla="*/ 22966 w 80141"/>
                    <a:gd name="connsiteY23" fmla="*/ 16327 h 46649"/>
                    <a:gd name="connsiteX24" fmla="*/ 20454 w 80141"/>
                    <a:gd name="connsiteY24" fmla="*/ 14772 h 46649"/>
                    <a:gd name="connsiteX25" fmla="*/ 17942 w 80141"/>
                    <a:gd name="connsiteY25" fmla="*/ 13217 h 46649"/>
                    <a:gd name="connsiteX26" fmla="*/ 15430 w 80141"/>
                    <a:gd name="connsiteY26" fmla="*/ 11662 h 46649"/>
                    <a:gd name="connsiteX27" fmla="*/ 12918 w 80141"/>
                    <a:gd name="connsiteY27" fmla="*/ 10107 h 46649"/>
                    <a:gd name="connsiteX28" fmla="*/ 10406 w 80141"/>
                    <a:gd name="connsiteY28" fmla="*/ 8552 h 46649"/>
                    <a:gd name="connsiteX29" fmla="*/ 7894 w 80141"/>
                    <a:gd name="connsiteY29" fmla="*/ 6997 h 46649"/>
                    <a:gd name="connsiteX30" fmla="*/ 5382 w 80141"/>
                    <a:gd name="connsiteY30" fmla="*/ 5442 h 46649"/>
                    <a:gd name="connsiteX31" fmla="*/ 4844 w 80141"/>
                    <a:gd name="connsiteY31" fmla="*/ 5084 h 46649"/>
                    <a:gd name="connsiteX32" fmla="*/ 2811 w 80141"/>
                    <a:gd name="connsiteY32" fmla="*/ 2931 h 46649"/>
                    <a:gd name="connsiteX33" fmla="*/ 777 w 80141"/>
                    <a:gd name="connsiteY33" fmla="*/ 778 h 46649"/>
                    <a:gd name="connsiteX34" fmla="*/ 0 w 80141"/>
                    <a:gd name="connsiteY34" fmla="*/ 0 h 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141" h="46649">
                      <a:moveTo>
                        <a:pt x="80141" y="46650"/>
                      </a:moveTo>
                      <a:lnTo>
                        <a:pt x="78407" y="45992"/>
                      </a:lnTo>
                      <a:lnTo>
                        <a:pt x="75656" y="44915"/>
                      </a:lnTo>
                      <a:lnTo>
                        <a:pt x="72905" y="43839"/>
                      </a:lnTo>
                      <a:lnTo>
                        <a:pt x="70154" y="42762"/>
                      </a:lnTo>
                      <a:lnTo>
                        <a:pt x="67402" y="41686"/>
                      </a:lnTo>
                      <a:lnTo>
                        <a:pt x="64652" y="40609"/>
                      </a:lnTo>
                      <a:lnTo>
                        <a:pt x="61900" y="39533"/>
                      </a:lnTo>
                      <a:lnTo>
                        <a:pt x="59149" y="38456"/>
                      </a:lnTo>
                      <a:lnTo>
                        <a:pt x="58132" y="38097"/>
                      </a:lnTo>
                      <a:lnTo>
                        <a:pt x="55621" y="36542"/>
                      </a:lnTo>
                      <a:lnTo>
                        <a:pt x="53108" y="34987"/>
                      </a:lnTo>
                      <a:lnTo>
                        <a:pt x="50597" y="33432"/>
                      </a:lnTo>
                      <a:lnTo>
                        <a:pt x="48085" y="31877"/>
                      </a:lnTo>
                      <a:lnTo>
                        <a:pt x="45573" y="30322"/>
                      </a:lnTo>
                      <a:lnTo>
                        <a:pt x="43061" y="28767"/>
                      </a:lnTo>
                      <a:lnTo>
                        <a:pt x="40549" y="27212"/>
                      </a:lnTo>
                      <a:lnTo>
                        <a:pt x="38037" y="25657"/>
                      </a:lnTo>
                      <a:lnTo>
                        <a:pt x="35526" y="24102"/>
                      </a:lnTo>
                      <a:lnTo>
                        <a:pt x="33013" y="22547"/>
                      </a:lnTo>
                      <a:lnTo>
                        <a:pt x="30502" y="20992"/>
                      </a:lnTo>
                      <a:lnTo>
                        <a:pt x="27990" y="19437"/>
                      </a:lnTo>
                      <a:lnTo>
                        <a:pt x="25478" y="17882"/>
                      </a:lnTo>
                      <a:lnTo>
                        <a:pt x="22966" y="16327"/>
                      </a:lnTo>
                      <a:lnTo>
                        <a:pt x="20454" y="14772"/>
                      </a:lnTo>
                      <a:lnTo>
                        <a:pt x="17942" y="13217"/>
                      </a:lnTo>
                      <a:lnTo>
                        <a:pt x="15430" y="11662"/>
                      </a:lnTo>
                      <a:lnTo>
                        <a:pt x="12918" y="10107"/>
                      </a:lnTo>
                      <a:lnTo>
                        <a:pt x="10406" y="8552"/>
                      </a:lnTo>
                      <a:lnTo>
                        <a:pt x="7894" y="6997"/>
                      </a:lnTo>
                      <a:lnTo>
                        <a:pt x="5382" y="5442"/>
                      </a:lnTo>
                      <a:lnTo>
                        <a:pt x="4844" y="5084"/>
                      </a:lnTo>
                      <a:lnTo>
                        <a:pt x="2811" y="2931"/>
                      </a:lnTo>
                      <a:lnTo>
                        <a:pt x="777" y="77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383" name="Vrije vorm: vorm 5382">
                  <a:extLst>
                    <a:ext uri="{FF2B5EF4-FFF2-40B4-BE49-F238E27FC236}">
                      <a16:creationId xmlns:a16="http://schemas.microsoft.com/office/drawing/2014/main" id="{08CC3924-00C9-4BA2-9E13-D02FBBBC07B9}"/>
                    </a:ext>
                  </a:extLst>
                </p:cNvPr>
                <p:cNvSpPr/>
                <p:nvPr/>
              </p:nvSpPr>
              <p:spPr>
                <a:xfrm>
                  <a:off x="6427681" y="1826672"/>
                  <a:ext cx="53288" cy="34269"/>
                </a:xfrm>
                <a:custGeom>
                  <a:avLst/>
                  <a:gdLst>
                    <a:gd name="connsiteX0" fmla="*/ 15430 w 53288"/>
                    <a:gd name="connsiteY0" fmla="*/ 28229 h 34269"/>
                    <a:gd name="connsiteX1" fmla="*/ 16865 w 53288"/>
                    <a:gd name="connsiteY1" fmla="*/ 25777 h 34269"/>
                    <a:gd name="connsiteX2" fmla="*/ 18301 w 53288"/>
                    <a:gd name="connsiteY2" fmla="*/ 23325 h 34269"/>
                    <a:gd name="connsiteX3" fmla="*/ 19019 w 53288"/>
                    <a:gd name="connsiteY3" fmla="*/ 22069 h 34269"/>
                    <a:gd name="connsiteX4" fmla="*/ 18181 w 53288"/>
                    <a:gd name="connsiteY4" fmla="*/ 21112 h 34269"/>
                    <a:gd name="connsiteX5" fmla="*/ 18002 w 53288"/>
                    <a:gd name="connsiteY5" fmla="*/ 20933 h 34269"/>
                    <a:gd name="connsiteX6" fmla="*/ 16865 w 53288"/>
                    <a:gd name="connsiteY6" fmla="*/ 19557 h 34269"/>
                    <a:gd name="connsiteX7" fmla="*/ 14952 w 53288"/>
                    <a:gd name="connsiteY7" fmla="*/ 17344 h 34269"/>
                    <a:gd name="connsiteX8" fmla="*/ 13038 w 53288"/>
                    <a:gd name="connsiteY8" fmla="*/ 15131 h 34269"/>
                    <a:gd name="connsiteX9" fmla="*/ 12380 w 53288"/>
                    <a:gd name="connsiteY9" fmla="*/ 14354 h 34269"/>
                    <a:gd name="connsiteX10" fmla="*/ 10466 w 53288"/>
                    <a:gd name="connsiteY10" fmla="*/ 12141 h 34269"/>
                    <a:gd name="connsiteX11" fmla="*/ 8552 w 53288"/>
                    <a:gd name="connsiteY11" fmla="*/ 9928 h 34269"/>
                    <a:gd name="connsiteX12" fmla="*/ 6639 w 53288"/>
                    <a:gd name="connsiteY12" fmla="*/ 7715 h 34269"/>
                    <a:gd name="connsiteX13" fmla="*/ 4725 w 53288"/>
                    <a:gd name="connsiteY13" fmla="*/ 5502 h 34269"/>
                    <a:gd name="connsiteX14" fmla="*/ 2811 w 53288"/>
                    <a:gd name="connsiteY14" fmla="*/ 3289 h 34269"/>
                    <a:gd name="connsiteX15" fmla="*/ 897 w 53288"/>
                    <a:gd name="connsiteY15" fmla="*/ 1077 h 34269"/>
                    <a:gd name="connsiteX16" fmla="*/ 0 w 53288"/>
                    <a:gd name="connsiteY16" fmla="*/ 0 h 34269"/>
                    <a:gd name="connsiteX17" fmla="*/ 2512 w 53288"/>
                    <a:gd name="connsiteY17" fmla="*/ 1615 h 34269"/>
                    <a:gd name="connsiteX18" fmla="*/ 5024 w 53288"/>
                    <a:gd name="connsiteY18" fmla="*/ 3230 h 34269"/>
                    <a:gd name="connsiteX19" fmla="*/ 7535 w 53288"/>
                    <a:gd name="connsiteY19" fmla="*/ 4844 h 34269"/>
                    <a:gd name="connsiteX20" fmla="*/ 10048 w 53288"/>
                    <a:gd name="connsiteY20" fmla="*/ 6459 h 34269"/>
                    <a:gd name="connsiteX21" fmla="*/ 12559 w 53288"/>
                    <a:gd name="connsiteY21" fmla="*/ 8074 h 34269"/>
                    <a:gd name="connsiteX22" fmla="*/ 15071 w 53288"/>
                    <a:gd name="connsiteY22" fmla="*/ 9689 h 34269"/>
                    <a:gd name="connsiteX23" fmla="*/ 17583 w 53288"/>
                    <a:gd name="connsiteY23" fmla="*/ 11304 h 34269"/>
                    <a:gd name="connsiteX24" fmla="*/ 20095 w 53288"/>
                    <a:gd name="connsiteY24" fmla="*/ 12918 h 34269"/>
                    <a:gd name="connsiteX25" fmla="*/ 22607 w 53288"/>
                    <a:gd name="connsiteY25" fmla="*/ 14533 h 34269"/>
                    <a:gd name="connsiteX26" fmla="*/ 25119 w 53288"/>
                    <a:gd name="connsiteY26" fmla="*/ 16148 h 34269"/>
                    <a:gd name="connsiteX27" fmla="*/ 27631 w 53288"/>
                    <a:gd name="connsiteY27" fmla="*/ 17763 h 34269"/>
                    <a:gd name="connsiteX28" fmla="*/ 30143 w 53288"/>
                    <a:gd name="connsiteY28" fmla="*/ 19378 h 34269"/>
                    <a:gd name="connsiteX29" fmla="*/ 32655 w 53288"/>
                    <a:gd name="connsiteY29" fmla="*/ 20992 h 34269"/>
                    <a:gd name="connsiteX30" fmla="*/ 35166 w 53288"/>
                    <a:gd name="connsiteY30" fmla="*/ 22607 h 34269"/>
                    <a:gd name="connsiteX31" fmla="*/ 37678 w 53288"/>
                    <a:gd name="connsiteY31" fmla="*/ 24222 h 34269"/>
                    <a:gd name="connsiteX32" fmla="*/ 40190 w 53288"/>
                    <a:gd name="connsiteY32" fmla="*/ 25837 h 34269"/>
                    <a:gd name="connsiteX33" fmla="*/ 42702 w 53288"/>
                    <a:gd name="connsiteY33" fmla="*/ 27451 h 34269"/>
                    <a:gd name="connsiteX34" fmla="*/ 45214 w 53288"/>
                    <a:gd name="connsiteY34" fmla="*/ 29066 h 34269"/>
                    <a:gd name="connsiteX35" fmla="*/ 47726 w 53288"/>
                    <a:gd name="connsiteY35" fmla="*/ 30681 h 34269"/>
                    <a:gd name="connsiteX36" fmla="*/ 50238 w 53288"/>
                    <a:gd name="connsiteY36" fmla="*/ 32296 h 34269"/>
                    <a:gd name="connsiteX37" fmla="*/ 52750 w 53288"/>
                    <a:gd name="connsiteY37" fmla="*/ 33911 h 34269"/>
                    <a:gd name="connsiteX38" fmla="*/ 53288 w 53288"/>
                    <a:gd name="connsiteY38" fmla="*/ 34270 h 34269"/>
                    <a:gd name="connsiteX39" fmla="*/ 50477 w 53288"/>
                    <a:gd name="connsiteY39" fmla="*/ 33313 h 34269"/>
                    <a:gd name="connsiteX40" fmla="*/ 47666 w 53288"/>
                    <a:gd name="connsiteY40" fmla="*/ 32356 h 34269"/>
                    <a:gd name="connsiteX41" fmla="*/ 44855 w 53288"/>
                    <a:gd name="connsiteY41" fmla="*/ 31399 h 34269"/>
                    <a:gd name="connsiteX42" fmla="*/ 42044 w 53288"/>
                    <a:gd name="connsiteY42" fmla="*/ 30442 h 34269"/>
                    <a:gd name="connsiteX43" fmla="*/ 39234 w 53288"/>
                    <a:gd name="connsiteY43" fmla="*/ 29485 h 34269"/>
                    <a:gd name="connsiteX44" fmla="*/ 36422 w 53288"/>
                    <a:gd name="connsiteY44" fmla="*/ 28528 h 34269"/>
                    <a:gd name="connsiteX45" fmla="*/ 33612 w 53288"/>
                    <a:gd name="connsiteY45" fmla="*/ 27571 h 34269"/>
                    <a:gd name="connsiteX46" fmla="*/ 33253 w 53288"/>
                    <a:gd name="connsiteY46" fmla="*/ 27451 h 34269"/>
                    <a:gd name="connsiteX47" fmla="*/ 30442 w 53288"/>
                    <a:gd name="connsiteY47" fmla="*/ 26495 h 34269"/>
                    <a:gd name="connsiteX48" fmla="*/ 27631 w 53288"/>
                    <a:gd name="connsiteY48" fmla="*/ 25538 h 34269"/>
                    <a:gd name="connsiteX49" fmla="*/ 24999 w 53288"/>
                    <a:gd name="connsiteY49" fmla="*/ 24641 h 34269"/>
                    <a:gd name="connsiteX50" fmla="*/ 22188 w 53288"/>
                    <a:gd name="connsiteY50" fmla="*/ 23684 h 34269"/>
                    <a:gd name="connsiteX51" fmla="*/ 19377 w 53288"/>
                    <a:gd name="connsiteY51" fmla="*/ 22727 h 34269"/>
                    <a:gd name="connsiteX52" fmla="*/ 19198 w 53288"/>
                    <a:gd name="connsiteY52" fmla="*/ 22667 h 34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3288" h="34269">
                      <a:moveTo>
                        <a:pt x="15430" y="28229"/>
                      </a:moveTo>
                      <a:lnTo>
                        <a:pt x="16865" y="25777"/>
                      </a:lnTo>
                      <a:lnTo>
                        <a:pt x="18301" y="23325"/>
                      </a:lnTo>
                      <a:lnTo>
                        <a:pt x="19019" y="22069"/>
                      </a:lnTo>
                      <a:lnTo>
                        <a:pt x="18181" y="21112"/>
                      </a:lnTo>
                      <a:lnTo>
                        <a:pt x="18002" y="20933"/>
                      </a:lnTo>
                      <a:lnTo>
                        <a:pt x="16865" y="19557"/>
                      </a:lnTo>
                      <a:lnTo>
                        <a:pt x="14952" y="17344"/>
                      </a:lnTo>
                      <a:lnTo>
                        <a:pt x="13038" y="15131"/>
                      </a:lnTo>
                      <a:lnTo>
                        <a:pt x="12380" y="14354"/>
                      </a:lnTo>
                      <a:lnTo>
                        <a:pt x="10466" y="12141"/>
                      </a:lnTo>
                      <a:lnTo>
                        <a:pt x="8552" y="9928"/>
                      </a:lnTo>
                      <a:lnTo>
                        <a:pt x="6639" y="7715"/>
                      </a:lnTo>
                      <a:lnTo>
                        <a:pt x="4725" y="5502"/>
                      </a:lnTo>
                      <a:lnTo>
                        <a:pt x="2811" y="3289"/>
                      </a:lnTo>
                      <a:lnTo>
                        <a:pt x="897" y="1077"/>
                      </a:lnTo>
                      <a:lnTo>
                        <a:pt x="0" y="0"/>
                      </a:lnTo>
                      <a:lnTo>
                        <a:pt x="2512" y="1615"/>
                      </a:lnTo>
                      <a:lnTo>
                        <a:pt x="5024" y="3230"/>
                      </a:lnTo>
                      <a:lnTo>
                        <a:pt x="7535" y="4844"/>
                      </a:lnTo>
                      <a:lnTo>
                        <a:pt x="10048" y="6459"/>
                      </a:lnTo>
                      <a:lnTo>
                        <a:pt x="12559" y="8074"/>
                      </a:lnTo>
                      <a:lnTo>
                        <a:pt x="15071" y="9689"/>
                      </a:lnTo>
                      <a:lnTo>
                        <a:pt x="17583" y="11304"/>
                      </a:lnTo>
                      <a:lnTo>
                        <a:pt x="20095" y="12918"/>
                      </a:lnTo>
                      <a:lnTo>
                        <a:pt x="22607" y="14533"/>
                      </a:lnTo>
                      <a:lnTo>
                        <a:pt x="25119" y="16148"/>
                      </a:lnTo>
                      <a:lnTo>
                        <a:pt x="27631" y="17763"/>
                      </a:lnTo>
                      <a:lnTo>
                        <a:pt x="30143" y="19378"/>
                      </a:lnTo>
                      <a:lnTo>
                        <a:pt x="32655" y="20992"/>
                      </a:lnTo>
                      <a:lnTo>
                        <a:pt x="35166" y="22607"/>
                      </a:lnTo>
                      <a:lnTo>
                        <a:pt x="37678" y="24222"/>
                      </a:lnTo>
                      <a:lnTo>
                        <a:pt x="40190" y="25837"/>
                      </a:lnTo>
                      <a:lnTo>
                        <a:pt x="42702" y="27451"/>
                      </a:lnTo>
                      <a:lnTo>
                        <a:pt x="45214" y="29066"/>
                      </a:lnTo>
                      <a:lnTo>
                        <a:pt x="47726" y="30681"/>
                      </a:lnTo>
                      <a:lnTo>
                        <a:pt x="50238" y="32296"/>
                      </a:lnTo>
                      <a:lnTo>
                        <a:pt x="52750" y="33911"/>
                      </a:lnTo>
                      <a:lnTo>
                        <a:pt x="53288" y="34270"/>
                      </a:lnTo>
                      <a:lnTo>
                        <a:pt x="50477" y="33313"/>
                      </a:lnTo>
                      <a:lnTo>
                        <a:pt x="47666" y="32356"/>
                      </a:lnTo>
                      <a:lnTo>
                        <a:pt x="44855" y="31399"/>
                      </a:lnTo>
                      <a:lnTo>
                        <a:pt x="42044" y="30442"/>
                      </a:lnTo>
                      <a:lnTo>
                        <a:pt x="39234" y="29485"/>
                      </a:lnTo>
                      <a:lnTo>
                        <a:pt x="36422" y="28528"/>
                      </a:lnTo>
                      <a:lnTo>
                        <a:pt x="33612" y="27571"/>
                      </a:lnTo>
                      <a:lnTo>
                        <a:pt x="33253" y="27451"/>
                      </a:lnTo>
                      <a:lnTo>
                        <a:pt x="30442" y="26495"/>
                      </a:lnTo>
                      <a:lnTo>
                        <a:pt x="27631" y="25538"/>
                      </a:lnTo>
                      <a:lnTo>
                        <a:pt x="24999" y="24641"/>
                      </a:lnTo>
                      <a:lnTo>
                        <a:pt x="22188" y="23684"/>
                      </a:lnTo>
                      <a:lnTo>
                        <a:pt x="19377" y="22727"/>
                      </a:lnTo>
                      <a:lnTo>
                        <a:pt x="19198" y="22667"/>
                      </a:lnTo>
                    </a:path>
                  </a:pathLst>
                </a:custGeom>
                <a:noFill/>
                <a:ln w="6350" cap="rnd">
                  <a:solidFill>
                    <a:schemeClr val="bg1">
                      <a:alpha val="40000"/>
                    </a:schemeClr>
                  </a:solidFill>
                  <a:prstDash val="solid"/>
                  <a:round/>
                </a:ln>
              </p:spPr>
              <p:txBody>
                <a:bodyPr rtlCol="0" anchor="ctr"/>
                <a:lstStyle/>
                <a:p>
                  <a:endParaRPr lang="en-GB"/>
                </a:p>
              </p:txBody>
            </p:sp>
            <p:sp>
              <p:nvSpPr>
                <p:cNvPr id="5384" name="Vrije vorm: vorm 5383">
                  <a:extLst>
                    <a:ext uri="{FF2B5EF4-FFF2-40B4-BE49-F238E27FC236}">
                      <a16:creationId xmlns:a16="http://schemas.microsoft.com/office/drawing/2014/main" id="{639BEE67-C2E9-4822-BC64-C59C1214A5D5}"/>
                    </a:ext>
                  </a:extLst>
                </p:cNvPr>
                <p:cNvSpPr/>
                <p:nvPr/>
              </p:nvSpPr>
              <p:spPr>
                <a:xfrm>
                  <a:off x="6533001" y="1878226"/>
                  <a:ext cx="26913" cy="9150"/>
                </a:xfrm>
                <a:custGeom>
                  <a:avLst/>
                  <a:gdLst>
                    <a:gd name="connsiteX0" fmla="*/ 26913 w 26913"/>
                    <a:gd name="connsiteY0" fmla="*/ 9150 h 9150"/>
                    <a:gd name="connsiteX1" fmla="*/ 24102 w 26913"/>
                    <a:gd name="connsiteY1" fmla="*/ 8194 h 9150"/>
                    <a:gd name="connsiteX2" fmla="*/ 21291 w 26913"/>
                    <a:gd name="connsiteY2" fmla="*/ 7237 h 9150"/>
                    <a:gd name="connsiteX3" fmla="*/ 18480 w 26913"/>
                    <a:gd name="connsiteY3" fmla="*/ 6280 h 9150"/>
                    <a:gd name="connsiteX4" fmla="*/ 15669 w 26913"/>
                    <a:gd name="connsiteY4" fmla="*/ 5323 h 9150"/>
                    <a:gd name="connsiteX5" fmla="*/ 12858 w 26913"/>
                    <a:gd name="connsiteY5" fmla="*/ 4366 h 9150"/>
                    <a:gd name="connsiteX6" fmla="*/ 10526 w 26913"/>
                    <a:gd name="connsiteY6" fmla="*/ 3588 h 9150"/>
                    <a:gd name="connsiteX7" fmla="*/ 10107 w 26913"/>
                    <a:gd name="connsiteY7" fmla="*/ 3469 h 9150"/>
                    <a:gd name="connsiteX8" fmla="*/ 9808 w 26913"/>
                    <a:gd name="connsiteY8" fmla="*/ 3349 h 9150"/>
                    <a:gd name="connsiteX9" fmla="*/ 6997 w 26913"/>
                    <a:gd name="connsiteY9" fmla="*/ 2392 h 9150"/>
                    <a:gd name="connsiteX10" fmla="*/ 4725 w 26913"/>
                    <a:gd name="connsiteY10" fmla="*/ 1615 h 9150"/>
                    <a:gd name="connsiteX11" fmla="*/ 1914 w 26913"/>
                    <a:gd name="connsiteY11" fmla="*/ 658 h 9150"/>
                    <a:gd name="connsiteX12" fmla="*/ 0 w 26913"/>
                    <a:gd name="connsiteY12" fmla="*/ 0 h 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13" h="9150">
                      <a:moveTo>
                        <a:pt x="26913" y="9150"/>
                      </a:moveTo>
                      <a:lnTo>
                        <a:pt x="24102" y="8194"/>
                      </a:lnTo>
                      <a:lnTo>
                        <a:pt x="21291" y="7237"/>
                      </a:lnTo>
                      <a:lnTo>
                        <a:pt x="18480" y="6280"/>
                      </a:lnTo>
                      <a:lnTo>
                        <a:pt x="15669" y="5323"/>
                      </a:lnTo>
                      <a:lnTo>
                        <a:pt x="12858" y="4366"/>
                      </a:lnTo>
                      <a:lnTo>
                        <a:pt x="10526" y="3588"/>
                      </a:lnTo>
                      <a:lnTo>
                        <a:pt x="10107" y="3469"/>
                      </a:lnTo>
                      <a:lnTo>
                        <a:pt x="9808" y="3349"/>
                      </a:lnTo>
                      <a:lnTo>
                        <a:pt x="6997" y="2392"/>
                      </a:lnTo>
                      <a:lnTo>
                        <a:pt x="4725" y="1615"/>
                      </a:lnTo>
                      <a:lnTo>
                        <a:pt x="1914" y="65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385" name="Vrije vorm: vorm 5384">
                  <a:extLst>
                    <a:ext uri="{FF2B5EF4-FFF2-40B4-BE49-F238E27FC236}">
                      <a16:creationId xmlns:a16="http://schemas.microsoft.com/office/drawing/2014/main" id="{69707311-511E-493F-9FAA-588F5E47CA4C}"/>
                    </a:ext>
                  </a:extLst>
                </p:cNvPr>
                <p:cNvSpPr/>
                <p:nvPr/>
              </p:nvSpPr>
              <p:spPr>
                <a:xfrm>
                  <a:off x="6388088" y="1760765"/>
                  <a:ext cx="21052" cy="20095"/>
                </a:xfrm>
                <a:custGeom>
                  <a:avLst/>
                  <a:gdLst>
                    <a:gd name="connsiteX0" fmla="*/ 0 w 21052"/>
                    <a:gd name="connsiteY0" fmla="*/ 20095 h 20095"/>
                    <a:gd name="connsiteX1" fmla="*/ 897 w 21052"/>
                    <a:gd name="connsiteY1" fmla="*/ 18540 h 20095"/>
                    <a:gd name="connsiteX2" fmla="*/ 2333 w 21052"/>
                    <a:gd name="connsiteY2" fmla="*/ 16088 h 20095"/>
                    <a:gd name="connsiteX3" fmla="*/ 3409 w 21052"/>
                    <a:gd name="connsiteY3" fmla="*/ 14234 h 20095"/>
                    <a:gd name="connsiteX4" fmla="*/ 3828 w 21052"/>
                    <a:gd name="connsiteY4" fmla="*/ 13516 h 20095"/>
                    <a:gd name="connsiteX5" fmla="*/ 4007 w 21052"/>
                    <a:gd name="connsiteY5" fmla="*/ 13217 h 20095"/>
                    <a:gd name="connsiteX6" fmla="*/ 4127 w 21052"/>
                    <a:gd name="connsiteY6" fmla="*/ 12978 h 20095"/>
                    <a:gd name="connsiteX7" fmla="*/ 5383 w 21052"/>
                    <a:gd name="connsiteY7" fmla="*/ 10825 h 20095"/>
                    <a:gd name="connsiteX8" fmla="*/ 5742 w 21052"/>
                    <a:gd name="connsiteY8" fmla="*/ 10287 h 20095"/>
                    <a:gd name="connsiteX9" fmla="*/ 6818 w 21052"/>
                    <a:gd name="connsiteY9" fmla="*/ 8493 h 20095"/>
                    <a:gd name="connsiteX10" fmla="*/ 8253 w 21052"/>
                    <a:gd name="connsiteY10" fmla="*/ 6041 h 20095"/>
                    <a:gd name="connsiteX11" fmla="*/ 9689 w 21052"/>
                    <a:gd name="connsiteY11" fmla="*/ 3588 h 20095"/>
                    <a:gd name="connsiteX12" fmla="*/ 11124 w 21052"/>
                    <a:gd name="connsiteY12" fmla="*/ 1136 h 20095"/>
                    <a:gd name="connsiteX13" fmla="*/ 11782 w 21052"/>
                    <a:gd name="connsiteY13" fmla="*/ 0 h 20095"/>
                    <a:gd name="connsiteX14" fmla="*/ 14713 w 21052"/>
                    <a:gd name="connsiteY14" fmla="*/ 179 h 20095"/>
                    <a:gd name="connsiteX15" fmla="*/ 17643 w 21052"/>
                    <a:gd name="connsiteY15" fmla="*/ 359 h 20095"/>
                    <a:gd name="connsiteX16" fmla="*/ 20574 w 21052"/>
                    <a:gd name="connsiteY16" fmla="*/ 538 h 20095"/>
                    <a:gd name="connsiteX17" fmla="*/ 21052 w 21052"/>
                    <a:gd name="connsiteY17" fmla="*/ 598 h 2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052" h="20095">
                      <a:moveTo>
                        <a:pt x="0" y="20095"/>
                      </a:moveTo>
                      <a:lnTo>
                        <a:pt x="897" y="18540"/>
                      </a:lnTo>
                      <a:lnTo>
                        <a:pt x="2333" y="16088"/>
                      </a:lnTo>
                      <a:lnTo>
                        <a:pt x="3409" y="14234"/>
                      </a:lnTo>
                      <a:lnTo>
                        <a:pt x="3828" y="13516"/>
                      </a:lnTo>
                      <a:lnTo>
                        <a:pt x="4007" y="13217"/>
                      </a:lnTo>
                      <a:lnTo>
                        <a:pt x="4127" y="12978"/>
                      </a:lnTo>
                      <a:lnTo>
                        <a:pt x="5383" y="10825"/>
                      </a:lnTo>
                      <a:lnTo>
                        <a:pt x="5742" y="10287"/>
                      </a:lnTo>
                      <a:lnTo>
                        <a:pt x="6818" y="8493"/>
                      </a:lnTo>
                      <a:lnTo>
                        <a:pt x="8253" y="6041"/>
                      </a:lnTo>
                      <a:lnTo>
                        <a:pt x="9689" y="3588"/>
                      </a:lnTo>
                      <a:lnTo>
                        <a:pt x="11124" y="1136"/>
                      </a:lnTo>
                      <a:lnTo>
                        <a:pt x="11782" y="0"/>
                      </a:lnTo>
                      <a:lnTo>
                        <a:pt x="14713" y="179"/>
                      </a:lnTo>
                      <a:lnTo>
                        <a:pt x="17643" y="359"/>
                      </a:lnTo>
                      <a:lnTo>
                        <a:pt x="20574" y="538"/>
                      </a:lnTo>
                      <a:lnTo>
                        <a:pt x="21052" y="598"/>
                      </a:lnTo>
                    </a:path>
                  </a:pathLst>
                </a:custGeom>
                <a:noFill/>
                <a:ln w="6350" cap="rnd">
                  <a:solidFill>
                    <a:schemeClr val="bg1">
                      <a:alpha val="40000"/>
                    </a:schemeClr>
                  </a:solidFill>
                  <a:prstDash val="solid"/>
                  <a:round/>
                </a:ln>
              </p:spPr>
              <p:txBody>
                <a:bodyPr rtlCol="0" anchor="ctr"/>
                <a:lstStyle/>
                <a:p>
                  <a:endParaRPr lang="en-GB"/>
                </a:p>
              </p:txBody>
            </p:sp>
            <p:sp>
              <p:nvSpPr>
                <p:cNvPr id="5386" name="Vrije vorm: vorm 5385">
                  <a:extLst>
                    <a:ext uri="{FF2B5EF4-FFF2-40B4-BE49-F238E27FC236}">
                      <a16:creationId xmlns:a16="http://schemas.microsoft.com/office/drawing/2014/main" id="{C612C1DC-22B8-4EB5-8B4A-48511B511A9F}"/>
                    </a:ext>
                  </a:extLst>
                </p:cNvPr>
                <p:cNvSpPr/>
                <p:nvPr/>
              </p:nvSpPr>
              <p:spPr>
                <a:xfrm>
                  <a:off x="6399930" y="1760765"/>
                  <a:ext cx="8313" cy="8791"/>
                </a:xfrm>
                <a:custGeom>
                  <a:avLst/>
                  <a:gdLst>
                    <a:gd name="connsiteX0" fmla="*/ 6818 w 8313"/>
                    <a:gd name="connsiteY0" fmla="*/ 4486 h 8791"/>
                    <a:gd name="connsiteX1" fmla="*/ 7775 w 8313"/>
                    <a:gd name="connsiteY1" fmla="*/ 7237 h 8791"/>
                    <a:gd name="connsiteX2" fmla="*/ 8313 w 8313"/>
                    <a:gd name="connsiteY2" fmla="*/ 8792 h 8791"/>
                    <a:gd name="connsiteX3" fmla="*/ 6280 w 8313"/>
                    <a:gd name="connsiteY3" fmla="*/ 6639 h 8791"/>
                    <a:gd name="connsiteX4" fmla="*/ 4246 w 8313"/>
                    <a:gd name="connsiteY4" fmla="*/ 4486 h 8791"/>
                    <a:gd name="connsiteX5" fmla="*/ 2213 w 8313"/>
                    <a:gd name="connsiteY5" fmla="*/ 2332 h 8791"/>
                    <a:gd name="connsiteX6" fmla="*/ 179 w 8313"/>
                    <a:gd name="connsiteY6" fmla="*/ 179 h 8791"/>
                    <a:gd name="connsiteX7" fmla="*/ 0 w 8313"/>
                    <a:gd name="connsiteY7"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13" h="8791">
                      <a:moveTo>
                        <a:pt x="6818" y="4486"/>
                      </a:moveTo>
                      <a:lnTo>
                        <a:pt x="7775" y="7237"/>
                      </a:lnTo>
                      <a:lnTo>
                        <a:pt x="8313" y="8792"/>
                      </a:lnTo>
                      <a:lnTo>
                        <a:pt x="6280" y="6639"/>
                      </a:lnTo>
                      <a:lnTo>
                        <a:pt x="4246" y="4486"/>
                      </a:lnTo>
                      <a:lnTo>
                        <a:pt x="2213" y="2332"/>
                      </a:lnTo>
                      <a:lnTo>
                        <a:pt x="179" y="17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387" name="Vrije vorm: vorm 5386">
                  <a:extLst>
                    <a:ext uri="{FF2B5EF4-FFF2-40B4-BE49-F238E27FC236}">
                      <a16:creationId xmlns:a16="http://schemas.microsoft.com/office/drawing/2014/main" id="{18714A16-1CC1-4D34-A479-16FEE6BAFB63}"/>
                    </a:ext>
                  </a:extLst>
                </p:cNvPr>
                <p:cNvSpPr/>
                <p:nvPr/>
              </p:nvSpPr>
              <p:spPr>
                <a:xfrm>
                  <a:off x="6435276" y="1795572"/>
                  <a:ext cx="99040" cy="48144"/>
                </a:xfrm>
                <a:custGeom>
                  <a:avLst/>
                  <a:gdLst>
                    <a:gd name="connsiteX0" fmla="*/ 99041 w 99040"/>
                    <a:gd name="connsiteY0" fmla="*/ 46351 h 48144"/>
                    <a:gd name="connsiteX1" fmla="*/ 97426 w 99040"/>
                    <a:gd name="connsiteY1" fmla="*/ 47726 h 48144"/>
                    <a:gd name="connsiteX2" fmla="*/ 94555 w 99040"/>
                    <a:gd name="connsiteY2" fmla="*/ 48085 h 48144"/>
                    <a:gd name="connsiteX3" fmla="*/ 94196 w 99040"/>
                    <a:gd name="connsiteY3" fmla="*/ 48145 h 48144"/>
                    <a:gd name="connsiteX4" fmla="*/ 91266 w 99040"/>
                    <a:gd name="connsiteY4" fmla="*/ 47786 h 48144"/>
                    <a:gd name="connsiteX5" fmla="*/ 89412 w 99040"/>
                    <a:gd name="connsiteY5" fmla="*/ 47547 h 48144"/>
                    <a:gd name="connsiteX6" fmla="*/ 86541 w 99040"/>
                    <a:gd name="connsiteY6" fmla="*/ 46769 h 48144"/>
                    <a:gd name="connsiteX7" fmla="*/ 83670 w 99040"/>
                    <a:gd name="connsiteY7" fmla="*/ 45992 h 48144"/>
                    <a:gd name="connsiteX8" fmla="*/ 83072 w 99040"/>
                    <a:gd name="connsiteY8" fmla="*/ 45872 h 48144"/>
                    <a:gd name="connsiteX9" fmla="*/ 80261 w 99040"/>
                    <a:gd name="connsiteY9" fmla="*/ 44915 h 48144"/>
                    <a:gd name="connsiteX10" fmla="*/ 77450 w 99040"/>
                    <a:gd name="connsiteY10" fmla="*/ 43958 h 48144"/>
                    <a:gd name="connsiteX11" fmla="*/ 75357 w 99040"/>
                    <a:gd name="connsiteY11" fmla="*/ 43241 h 48144"/>
                    <a:gd name="connsiteX12" fmla="*/ 72606 w 99040"/>
                    <a:gd name="connsiteY12" fmla="*/ 42104 h 48144"/>
                    <a:gd name="connsiteX13" fmla="*/ 69855 w 99040"/>
                    <a:gd name="connsiteY13" fmla="*/ 40968 h 48144"/>
                    <a:gd name="connsiteX14" fmla="*/ 67104 w 99040"/>
                    <a:gd name="connsiteY14" fmla="*/ 39832 h 48144"/>
                    <a:gd name="connsiteX15" fmla="*/ 66446 w 99040"/>
                    <a:gd name="connsiteY15" fmla="*/ 39592 h 48144"/>
                    <a:gd name="connsiteX16" fmla="*/ 63755 w 99040"/>
                    <a:gd name="connsiteY16" fmla="*/ 38336 h 48144"/>
                    <a:gd name="connsiteX17" fmla="*/ 61063 w 99040"/>
                    <a:gd name="connsiteY17" fmla="*/ 37080 h 48144"/>
                    <a:gd name="connsiteX18" fmla="*/ 58372 w 99040"/>
                    <a:gd name="connsiteY18" fmla="*/ 35825 h 48144"/>
                    <a:gd name="connsiteX19" fmla="*/ 56638 w 99040"/>
                    <a:gd name="connsiteY19" fmla="*/ 35047 h 48144"/>
                    <a:gd name="connsiteX20" fmla="*/ 54006 w 99040"/>
                    <a:gd name="connsiteY20" fmla="*/ 33671 h 48144"/>
                    <a:gd name="connsiteX21" fmla="*/ 51375 w 99040"/>
                    <a:gd name="connsiteY21" fmla="*/ 32296 h 48144"/>
                    <a:gd name="connsiteX22" fmla="*/ 48743 w 99040"/>
                    <a:gd name="connsiteY22" fmla="*/ 30920 h 48144"/>
                    <a:gd name="connsiteX23" fmla="*/ 46291 w 99040"/>
                    <a:gd name="connsiteY23" fmla="*/ 29664 h 48144"/>
                    <a:gd name="connsiteX24" fmla="*/ 43719 w 99040"/>
                    <a:gd name="connsiteY24" fmla="*/ 28229 h 48144"/>
                    <a:gd name="connsiteX25" fmla="*/ 41147 w 99040"/>
                    <a:gd name="connsiteY25" fmla="*/ 26794 h 48144"/>
                    <a:gd name="connsiteX26" fmla="*/ 38576 w 99040"/>
                    <a:gd name="connsiteY26" fmla="*/ 25358 h 48144"/>
                    <a:gd name="connsiteX27" fmla="*/ 36004 w 99040"/>
                    <a:gd name="connsiteY27" fmla="*/ 23923 h 48144"/>
                    <a:gd name="connsiteX28" fmla="*/ 35765 w 99040"/>
                    <a:gd name="connsiteY28" fmla="*/ 23803 h 48144"/>
                    <a:gd name="connsiteX29" fmla="*/ 33253 w 99040"/>
                    <a:gd name="connsiteY29" fmla="*/ 22248 h 48144"/>
                    <a:gd name="connsiteX30" fmla="*/ 30741 w 99040"/>
                    <a:gd name="connsiteY30" fmla="*/ 20693 h 48144"/>
                    <a:gd name="connsiteX31" fmla="*/ 28229 w 99040"/>
                    <a:gd name="connsiteY31" fmla="*/ 19138 h 48144"/>
                    <a:gd name="connsiteX32" fmla="*/ 25717 w 99040"/>
                    <a:gd name="connsiteY32" fmla="*/ 17583 h 48144"/>
                    <a:gd name="connsiteX33" fmla="*/ 25358 w 99040"/>
                    <a:gd name="connsiteY33" fmla="*/ 17404 h 48144"/>
                    <a:gd name="connsiteX34" fmla="*/ 22846 w 99040"/>
                    <a:gd name="connsiteY34" fmla="*/ 15789 h 48144"/>
                    <a:gd name="connsiteX35" fmla="*/ 20335 w 99040"/>
                    <a:gd name="connsiteY35" fmla="*/ 14174 h 48144"/>
                    <a:gd name="connsiteX36" fmla="*/ 17823 w 99040"/>
                    <a:gd name="connsiteY36" fmla="*/ 12559 h 48144"/>
                    <a:gd name="connsiteX37" fmla="*/ 15251 w 99040"/>
                    <a:gd name="connsiteY37" fmla="*/ 10885 h 48144"/>
                    <a:gd name="connsiteX38" fmla="*/ 12500 w 99040"/>
                    <a:gd name="connsiteY38" fmla="*/ 9808 h 48144"/>
                    <a:gd name="connsiteX39" fmla="*/ 9749 w 99040"/>
                    <a:gd name="connsiteY39" fmla="*/ 8732 h 48144"/>
                    <a:gd name="connsiteX40" fmla="*/ 6997 w 99040"/>
                    <a:gd name="connsiteY40" fmla="*/ 7655 h 48144"/>
                    <a:gd name="connsiteX41" fmla="*/ 4246 w 99040"/>
                    <a:gd name="connsiteY41" fmla="*/ 6579 h 48144"/>
                    <a:gd name="connsiteX42" fmla="*/ 1495 w 99040"/>
                    <a:gd name="connsiteY42" fmla="*/ 5502 h 48144"/>
                    <a:gd name="connsiteX43" fmla="*/ 0 w 99040"/>
                    <a:gd name="connsiteY43" fmla="*/ 4904 h 48144"/>
                    <a:gd name="connsiteX44" fmla="*/ 1435 w 99040"/>
                    <a:gd name="connsiteY44" fmla="*/ 2452 h 48144"/>
                    <a:gd name="connsiteX45" fmla="*/ 2871 w 99040"/>
                    <a:gd name="connsiteY45" fmla="*/ 0 h 48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9040" h="48144">
                      <a:moveTo>
                        <a:pt x="99041" y="46351"/>
                      </a:moveTo>
                      <a:lnTo>
                        <a:pt x="97426" y="47726"/>
                      </a:lnTo>
                      <a:lnTo>
                        <a:pt x="94555" y="48085"/>
                      </a:lnTo>
                      <a:lnTo>
                        <a:pt x="94196" y="48145"/>
                      </a:lnTo>
                      <a:lnTo>
                        <a:pt x="91266" y="47786"/>
                      </a:lnTo>
                      <a:lnTo>
                        <a:pt x="89412" y="47547"/>
                      </a:lnTo>
                      <a:lnTo>
                        <a:pt x="86541" y="46769"/>
                      </a:lnTo>
                      <a:lnTo>
                        <a:pt x="83670" y="45992"/>
                      </a:lnTo>
                      <a:lnTo>
                        <a:pt x="83072" y="45872"/>
                      </a:lnTo>
                      <a:lnTo>
                        <a:pt x="80261" y="44915"/>
                      </a:lnTo>
                      <a:lnTo>
                        <a:pt x="77450" y="43958"/>
                      </a:lnTo>
                      <a:lnTo>
                        <a:pt x="75357" y="43241"/>
                      </a:lnTo>
                      <a:lnTo>
                        <a:pt x="72606" y="42104"/>
                      </a:lnTo>
                      <a:lnTo>
                        <a:pt x="69855" y="40968"/>
                      </a:lnTo>
                      <a:lnTo>
                        <a:pt x="67104" y="39832"/>
                      </a:lnTo>
                      <a:lnTo>
                        <a:pt x="66446" y="39592"/>
                      </a:lnTo>
                      <a:lnTo>
                        <a:pt x="63755" y="38336"/>
                      </a:lnTo>
                      <a:lnTo>
                        <a:pt x="61063" y="37080"/>
                      </a:lnTo>
                      <a:lnTo>
                        <a:pt x="58372" y="35825"/>
                      </a:lnTo>
                      <a:lnTo>
                        <a:pt x="56638" y="35047"/>
                      </a:lnTo>
                      <a:lnTo>
                        <a:pt x="54006" y="33671"/>
                      </a:lnTo>
                      <a:lnTo>
                        <a:pt x="51375" y="32296"/>
                      </a:lnTo>
                      <a:lnTo>
                        <a:pt x="48743" y="30920"/>
                      </a:lnTo>
                      <a:lnTo>
                        <a:pt x="46291" y="29664"/>
                      </a:lnTo>
                      <a:lnTo>
                        <a:pt x="43719" y="28229"/>
                      </a:lnTo>
                      <a:lnTo>
                        <a:pt x="41147" y="26794"/>
                      </a:lnTo>
                      <a:lnTo>
                        <a:pt x="38576" y="25358"/>
                      </a:lnTo>
                      <a:lnTo>
                        <a:pt x="36004" y="23923"/>
                      </a:lnTo>
                      <a:lnTo>
                        <a:pt x="35765" y="23803"/>
                      </a:lnTo>
                      <a:lnTo>
                        <a:pt x="33253" y="22248"/>
                      </a:lnTo>
                      <a:lnTo>
                        <a:pt x="30741" y="20693"/>
                      </a:lnTo>
                      <a:lnTo>
                        <a:pt x="28229" y="19138"/>
                      </a:lnTo>
                      <a:lnTo>
                        <a:pt x="25717" y="17583"/>
                      </a:lnTo>
                      <a:lnTo>
                        <a:pt x="25358" y="17404"/>
                      </a:lnTo>
                      <a:lnTo>
                        <a:pt x="22846" y="15789"/>
                      </a:lnTo>
                      <a:lnTo>
                        <a:pt x="20335" y="14174"/>
                      </a:lnTo>
                      <a:lnTo>
                        <a:pt x="17823" y="12559"/>
                      </a:lnTo>
                      <a:lnTo>
                        <a:pt x="15251" y="10885"/>
                      </a:lnTo>
                      <a:lnTo>
                        <a:pt x="12500" y="9808"/>
                      </a:lnTo>
                      <a:lnTo>
                        <a:pt x="9749" y="8732"/>
                      </a:lnTo>
                      <a:lnTo>
                        <a:pt x="6997" y="7655"/>
                      </a:lnTo>
                      <a:lnTo>
                        <a:pt x="4246" y="6579"/>
                      </a:lnTo>
                      <a:lnTo>
                        <a:pt x="1495" y="5502"/>
                      </a:lnTo>
                      <a:lnTo>
                        <a:pt x="0" y="4904"/>
                      </a:lnTo>
                      <a:lnTo>
                        <a:pt x="1435" y="2452"/>
                      </a:lnTo>
                      <a:lnTo>
                        <a:pt x="2871" y="0"/>
                      </a:lnTo>
                    </a:path>
                  </a:pathLst>
                </a:custGeom>
                <a:noFill/>
                <a:ln w="6350" cap="rnd">
                  <a:solidFill>
                    <a:schemeClr val="bg1">
                      <a:alpha val="40000"/>
                    </a:schemeClr>
                  </a:solidFill>
                  <a:prstDash val="solid"/>
                  <a:round/>
                </a:ln>
              </p:spPr>
              <p:txBody>
                <a:bodyPr rtlCol="0" anchor="ctr"/>
                <a:lstStyle/>
                <a:p>
                  <a:endParaRPr lang="en-GB"/>
                </a:p>
              </p:txBody>
            </p:sp>
            <p:sp>
              <p:nvSpPr>
                <p:cNvPr id="5388" name="Vrije vorm: vorm 5387">
                  <a:extLst>
                    <a:ext uri="{FF2B5EF4-FFF2-40B4-BE49-F238E27FC236}">
                      <a16:creationId xmlns:a16="http://schemas.microsoft.com/office/drawing/2014/main" id="{0AE8970B-85A2-422D-9061-B685950F318D}"/>
                    </a:ext>
                  </a:extLst>
                </p:cNvPr>
                <p:cNvSpPr/>
                <p:nvPr/>
              </p:nvSpPr>
              <p:spPr>
                <a:xfrm>
                  <a:off x="6408244" y="1760047"/>
                  <a:ext cx="128704" cy="79184"/>
                </a:xfrm>
                <a:custGeom>
                  <a:avLst/>
                  <a:gdLst>
                    <a:gd name="connsiteX0" fmla="*/ 128705 w 128704"/>
                    <a:gd name="connsiteY0" fmla="*/ 75357 h 79184"/>
                    <a:gd name="connsiteX1" fmla="*/ 128645 w 128704"/>
                    <a:gd name="connsiteY1" fmla="*/ 77510 h 79184"/>
                    <a:gd name="connsiteX2" fmla="*/ 127030 w 128704"/>
                    <a:gd name="connsiteY2" fmla="*/ 78826 h 79184"/>
                    <a:gd name="connsiteX3" fmla="*/ 126612 w 128704"/>
                    <a:gd name="connsiteY3" fmla="*/ 78886 h 79184"/>
                    <a:gd name="connsiteX4" fmla="*/ 123861 w 128704"/>
                    <a:gd name="connsiteY4" fmla="*/ 79185 h 79184"/>
                    <a:gd name="connsiteX5" fmla="*/ 120930 w 128704"/>
                    <a:gd name="connsiteY5" fmla="*/ 78766 h 79184"/>
                    <a:gd name="connsiteX6" fmla="*/ 119076 w 128704"/>
                    <a:gd name="connsiteY6" fmla="*/ 78527 h 79184"/>
                    <a:gd name="connsiteX7" fmla="*/ 116205 w 128704"/>
                    <a:gd name="connsiteY7" fmla="*/ 77749 h 79184"/>
                    <a:gd name="connsiteX8" fmla="*/ 113334 w 128704"/>
                    <a:gd name="connsiteY8" fmla="*/ 76972 h 79184"/>
                    <a:gd name="connsiteX9" fmla="*/ 112796 w 128704"/>
                    <a:gd name="connsiteY9" fmla="*/ 76792 h 79184"/>
                    <a:gd name="connsiteX10" fmla="*/ 109985 w 128704"/>
                    <a:gd name="connsiteY10" fmla="*/ 75776 h 79184"/>
                    <a:gd name="connsiteX11" fmla="*/ 107174 w 128704"/>
                    <a:gd name="connsiteY11" fmla="*/ 74759 h 79184"/>
                    <a:gd name="connsiteX12" fmla="*/ 105141 w 128704"/>
                    <a:gd name="connsiteY12" fmla="*/ 74041 h 79184"/>
                    <a:gd name="connsiteX13" fmla="*/ 102390 w 128704"/>
                    <a:gd name="connsiteY13" fmla="*/ 72905 h 79184"/>
                    <a:gd name="connsiteX14" fmla="*/ 99639 w 128704"/>
                    <a:gd name="connsiteY14" fmla="*/ 71769 h 79184"/>
                    <a:gd name="connsiteX15" fmla="*/ 96887 w 128704"/>
                    <a:gd name="connsiteY15" fmla="*/ 70632 h 79184"/>
                    <a:gd name="connsiteX16" fmla="*/ 96289 w 128704"/>
                    <a:gd name="connsiteY16" fmla="*/ 70393 h 79184"/>
                    <a:gd name="connsiteX17" fmla="*/ 93598 w 128704"/>
                    <a:gd name="connsiteY17" fmla="*/ 69137 h 79184"/>
                    <a:gd name="connsiteX18" fmla="*/ 90907 w 128704"/>
                    <a:gd name="connsiteY18" fmla="*/ 67881 h 79184"/>
                    <a:gd name="connsiteX19" fmla="*/ 88216 w 128704"/>
                    <a:gd name="connsiteY19" fmla="*/ 66625 h 79184"/>
                    <a:gd name="connsiteX20" fmla="*/ 86541 w 128704"/>
                    <a:gd name="connsiteY20" fmla="*/ 65788 h 79184"/>
                    <a:gd name="connsiteX21" fmla="*/ 83909 w 128704"/>
                    <a:gd name="connsiteY21" fmla="*/ 64412 h 79184"/>
                    <a:gd name="connsiteX22" fmla="*/ 81278 w 128704"/>
                    <a:gd name="connsiteY22" fmla="*/ 63037 h 79184"/>
                    <a:gd name="connsiteX23" fmla="*/ 78646 w 128704"/>
                    <a:gd name="connsiteY23" fmla="*/ 61661 h 79184"/>
                    <a:gd name="connsiteX24" fmla="*/ 76194 w 128704"/>
                    <a:gd name="connsiteY24" fmla="*/ 60405 h 79184"/>
                    <a:gd name="connsiteX25" fmla="*/ 73623 w 128704"/>
                    <a:gd name="connsiteY25" fmla="*/ 58970 h 79184"/>
                    <a:gd name="connsiteX26" fmla="*/ 71051 w 128704"/>
                    <a:gd name="connsiteY26" fmla="*/ 57535 h 79184"/>
                    <a:gd name="connsiteX27" fmla="*/ 68479 w 128704"/>
                    <a:gd name="connsiteY27" fmla="*/ 56099 h 79184"/>
                    <a:gd name="connsiteX28" fmla="*/ 65907 w 128704"/>
                    <a:gd name="connsiteY28" fmla="*/ 54664 h 79184"/>
                    <a:gd name="connsiteX29" fmla="*/ 65668 w 128704"/>
                    <a:gd name="connsiteY29" fmla="*/ 54544 h 79184"/>
                    <a:gd name="connsiteX30" fmla="*/ 63156 w 128704"/>
                    <a:gd name="connsiteY30" fmla="*/ 52989 h 79184"/>
                    <a:gd name="connsiteX31" fmla="*/ 60644 w 128704"/>
                    <a:gd name="connsiteY31" fmla="*/ 51434 h 79184"/>
                    <a:gd name="connsiteX32" fmla="*/ 58132 w 128704"/>
                    <a:gd name="connsiteY32" fmla="*/ 49879 h 79184"/>
                    <a:gd name="connsiteX33" fmla="*/ 55621 w 128704"/>
                    <a:gd name="connsiteY33" fmla="*/ 48324 h 79184"/>
                    <a:gd name="connsiteX34" fmla="*/ 55262 w 128704"/>
                    <a:gd name="connsiteY34" fmla="*/ 48145 h 79184"/>
                    <a:gd name="connsiteX35" fmla="*/ 52750 w 128704"/>
                    <a:gd name="connsiteY35" fmla="*/ 46530 h 79184"/>
                    <a:gd name="connsiteX36" fmla="*/ 50238 w 128704"/>
                    <a:gd name="connsiteY36" fmla="*/ 44915 h 79184"/>
                    <a:gd name="connsiteX37" fmla="*/ 47726 w 128704"/>
                    <a:gd name="connsiteY37" fmla="*/ 43300 h 79184"/>
                    <a:gd name="connsiteX38" fmla="*/ 45154 w 128704"/>
                    <a:gd name="connsiteY38" fmla="*/ 41626 h 79184"/>
                    <a:gd name="connsiteX39" fmla="*/ 42403 w 128704"/>
                    <a:gd name="connsiteY39" fmla="*/ 40490 h 79184"/>
                    <a:gd name="connsiteX40" fmla="*/ 39652 w 128704"/>
                    <a:gd name="connsiteY40" fmla="*/ 39353 h 79184"/>
                    <a:gd name="connsiteX41" fmla="*/ 36901 w 128704"/>
                    <a:gd name="connsiteY41" fmla="*/ 38217 h 79184"/>
                    <a:gd name="connsiteX42" fmla="*/ 34150 w 128704"/>
                    <a:gd name="connsiteY42" fmla="*/ 37080 h 79184"/>
                    <a:gd name="connsiteX43" fmla="*/ 31399 w 128704"/>
                    <a:gd name="connsiteY43" fmla="*/ 35944 h 79184"/>
                    <a:gd name="connsiteX44" fmla="*/ 29904 w 128704"/>
                    <a:gd name="connsiteY44" fmla="*/ 35346 h 79184"/>
                    <a:gd name="connsiteX45" fmla="*/ 27810 w 128704"/>
                    <a:gd name="connsiteY45" fmla="*/ 33253 h 79184"/>
                    <a:gd name="connsiteX46" fmla="*/ 25717 w 128704"/>
                    <a:gd name="connsiteY46" fmla="*/ 31160 h 79184"/>
                    <a:gd name="connsiteX47" fmla="*/ 23624 w 128704"/>
                    <a:gd name="connsiteY47" fmla="*/ 29066 h 79184"/>
                    <a:gd name="connsiteX48" fmla="*/ 21530 w 128704"/>
                    <a:gd name="connsiteY48" fmla="*/ 26973 h 79184"/>
                    <a:gd name="connsiteX49" fmla="*/ 19437 w 128704"/>
                    <a:gd name="connsiteY49" fmla="*/ 24880 h 79184"/>
                    <a:gd name="connsiteX50" fmla="*/ 17344 w 128704"/>
                    <a:gd name="connsiteY50" fmla="*/ 22787 h 79184"/>
                    <a:gd name="connsiteX51" fmla="*/ 15251 w 128704"/>
                    <a:gd name="connsiteY51" fmla="*/ 20693 h 79184"/>
                    <a:gd name="connsiteX52" fmla="*/ 13157 w 128704"/>
                    <a:gd name="connsiteY52" fmla="*/ 18600 h 79184"/>
                    <a:gd name="connsiteX53" fmla="*/ 11064 w 128704"/>
                    <a:gd name="connsiteY53" fmla="*/ 16507 h 79184"/>
                    <a:gd name="connsiteX54" fmla="*/ 8971 w 128704"/>
                    <a:gd name="connsiteY54" fmla="*/ 14414 h 79184"/>
                    <a:gd name="connsiteX55" fmla="*/ 6878 w 128704"/>
                    <a:gd name="connsiteY55" fmla="*/ 12320 h 79184"/>
                    <a:gd name="connsiteX56" fmla="*/ 4844 w 128704"/>
                    <a:gd name="connsiteY56" fmla="*/ 10227 h 79184"/>
                    <a:gd name="connsiteX57" fmla="*/ 2751 w 128704"/>
                    <a:gd name="connsiteY57" fmla="*/ 8134 h 79184"/>
                    <a:gd name="connsiteX58" fmla="*/ 1555 w 128704"/>
                    <a:gd name="connsiteY58" fmla="*/ 6878 h 79184"/>
                    <a:gd name="connsiteX59" fmla="*/ 538 w 128704"/>
                    <a:gd name="connsiteY59" fmla="*/ 4127 h 79184"/>
                    <a:gd name="connsiteX60" fmla="*/ 239 w 128704"/>
                    <a:gd name="connsiteY60" fmla="*/ 3289 h 79184"/>
                    <a:gd name="connsiteX61" fmla="*/ 60 w 128704"/>
                    <a:gd name="connsiteY61" fmla="*/ 2811 h 79184"/>
                    <a:gd name="connsiteX62" fmla="*/ 0 w 128704"/>
                    <a:gd name="connsiteY62" fmla="*/ 2632 h 79184"/>
                    <a:gd name="connsiteX63" fmla="*/ 598 w 128704"/>
                    <a:gd name="connsiteY63" fmla="*/ 1854 h 79184"/>
                    <a:gd name="connsiteX64" fmla="*/ 1734 w 128704"/>
                    <a:gd name="connsiteY64" fmla="*/ 359 h 79184"/>
                    <a:gd name="connsiteX65" fmla="*/ 4665 w 128704"/>
                    <a:gd name="connsiteY65" fmla="*/ 120 h 79184"/>
                    <a:gd name="connsiteX66" fmla="*/ 6399 w 128704"/>
                    <a:gd name="connsiteY66" fmla="*/ 0 h 79184"/>
                    <a:gd name="connsiteX67" fmla="*/ 9270 w 128704"/>
                    <a:gd name="connsiteY67" fmla="*/ 598 h 79184"/>
                    <a:gd name="connsiteX68" fmla="*/ 12141 w 128704"/>
                    <a:gd name="connsiteY68" fmla="*/ 1196 h 79184"/>
                    <a:gd name="connsiteX69" fmla="*/ 13457 w 128704"/>
                    <a:gd name="connsiteY69" fmla="*/ 1435 h 79184"/>
                    <a:gd name="connsiteX70" fmla="*/ 16267 w 128704"/>
                    <a:gd name="connsiteY70" fmla="*/ 2332 h 79184"/>
                    <a:gd name="connsiteX71" fmla="*/ 19078 w 128704"/>
                    <a:gd name="connsiteY71" fmla="*/ 3230 h 79184"/>
                    <a:gd name="connsiteX72" fmla="*/ 21889 w 128704"/>
                    <a:gd name="connsiteY72" fmla="*/ 4127 h 79184"/>
                    <a:gd name="connsiteX73" fmla="*/ 22428 w 128704"/>
                    <a:gd name="connsiteY73" fmla="*/ 4306 h 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8704" h="79184">
                      <a:moveTo>
                        <a:pt x="128705" y="75357"/>
                      </a:moveTo>
                      <a:lnTo>
                        <a:pt x="128645" y="77510"/>
                      </a:lnTo>
                      <a:lnTo>
                        <a:pt x="127030" y="78826"/>
                      </a:lnTo>
                      <a:lnTo>
                        <a:pt x="126612" y="78886"/>
                      </a:lnTo>
                      <a:lnTo>
                        <a:pt x="123861" y="79185"/>
                      </a:lnTo>
                      <a:lnTo>
                        <a:pt x="120930" y="78766"/>
                      </a:lnTo>
                      <a:lnTo>
                        <a:pt x="119076" y="78527"/>
                      </a:lnTo>
                      <a:lnTo>
                        <a:pt x="116205" y="77749"/>
                      </a:lnTo>
                      <a:lnTo>
                        <a:pt x="113334" y="76972"/>
                      </a:lnTo>
                      <a:lnTo>
                        <a:pt x="112796" y="76792"/>
                      </a:lnTo>
                      <a:lnTo>
                        <a:pt x="109985" y="75776"/>
                      </a:lnTo>
                      <a:lnTo>
                        <a:pt x="107174" y="74759"/>
                      </a:lnTo>
                      <a:lnTo>
                        <a:pt x="105141" y="74041"/>
                      </a:lnTo>
                      <a:lnTo>
                        <a:pt x="102390" y="72905"/>
                      </a:lnTo>
                      <a:lnTo>
                        <a:pt x="99639" y="71769"/>
                      </a:lnTo>
                      <a:lnTo>
                        <a:pt x="96887" y="70632"/>
                      </a:lnTo>
                      <a:lnTo>
                        <a:pt x="96289" y="70393"/>
                      </a:lnTo>
                      <a:lnTo>
                        <a:pt x="93598" y="69137"/>
                      </a:lnTo>
                      <a:lnTo>
                        <a:pt x="90907" y="67881"/>
                      </a:lnTo>
                      <a:lnTo>
                        <a:pt x="88216" y="66625"/>
                      </a:lnTo>
                      <a:lnTo>
                        <a:pt x="86541" y="65788"/>
                      </a:lnTo>
                      <a:lnTo>
                        <a:pt x="83909" y="64412"/>
                      </a:lnTo>
                      <a:lnTo>
                        <a:pt x="81278" y="63037"/>
                      </a:lnTo>
                      <a:lnTo>
                        <a:pt x="78646" y="61661"/>
                      </a:lnTo>
                      <a:lnTo>
                        <a:pt x="76194" y="60405"/>
                      </a:lnTo>
                      <a:lnTo>
                        <a:pt x="73623" y="58970"/>
                      </a:lnTo>
                      <a:lnTo>
                        <a:pt x="71051" y="57535"/>
                      </a:lnTo>
                      <a:lnTo>
                        <a:pt x="68479" y="56099"/>
                      </a:lnTo>
                      <a:lnTo>
                        <a:pt x="65907" y="54664"/>
                      </a:lnTo>
                      <a:lnTo>
                        <a:pt x="65668" y="54544"/>
                      </a:lnTo>
                      <a:lnTo>
                        <a:pt x="63156" y="52989"/>
                      </a:lnTo>
                      <a:lnTo>
                        <a:pt x="60644" y="51434"/>
                      </a:lnTo>
                      <a:lnTo>
                        <a:pt x="58132" y="49879"/>
                      </a:lnTo>
                      <a:lnTo>
                        <a:pt x="55621" y="48324"/>
                      </a:lnTo>
                      <a:lnTo>
                        <a:pt x="55262" y="48145"/>
                      </a:lnTo>
                      <a:lnTo>
                        <a:pt x="52750" y="46530"/>
                      </a:lnTo>
                      <a:lnTo>
                        <a:pt x="50238" y="44915"/>
                      </a:lnTo>
                      <a:lnTo>
                        <a:pt x="47726" y="43300"/>
                      </a:lnTo>
                      <a:lnTo>
                        <a:pt x="45154" y="41626"/>
                      </a:lnTo>
                      <a:lnTo>
                        <a:pt x="42403" y="40490"/>
                      </a:lnTo>
                      <a:lnTo>
                        <a:pt x="39652" y="39353"/>
                      </a:lnTo>
                      <a:lnTo>
                        <a:pt x="36901" y="38217"/>
                      </a:lnTo>
                      <a:lnTo>
                        <a:pt x="34150" y="37080"/>
                      </a:lnTo>
                      <a:lnTo>
                        <a:pt x="31399" y="35944"/>
                      </a:lnTo>
                      <a:lnTo>
                        <a:pt x="29904" y="35346"/>
                      </a:lnTo>
                      <a:lnTo>
                        <a:pt x="27810" y="33253"/>
                      </a:lnTo>
                      <a:lnTo>
                        <a:pt x="25717" y="31160"/>
                      </a:lnTo>
                      <a:lnTo>
                        <a:pt x="23624" y="29066"/>
                      </a:lnTo>
                      <a:lnTo>
                        <a:pt x="21530" y="26973"/>
                      </a:lnTo>
                      <a:lnTo>
                        <a:pt x="19437" y="24880"/>
                      </a:lnTo>
                      <a:lnTo>
                        <a:pt x="17344" y="22787"/>
                      </a:lnTo>
                      <a:lnTo>
                        <a:pt x="15251" y="20693"/>
                      </a:lnTo>
                      <a:lnTo>
                        <a:pt x="13157" y="18600"/>
                      </a:lnTo>
                      <a:lnTo>
                        <a:pt x="11064" y="16507"/>
                      </a:lnTo>
                      <a:lnTo>
                        <a:pt x="8971" y="14414"/>
                      </a:lnTo>
                      <a:lnTo>
                        <a:pt x="6878" y="12320"/>
                      </a:lnTo>
                      <a:lnTo>
                        <a:pt x="4844" y="10227"/>
                      </a:lnTo>
                      <a:lnTo>
                        <a:pt x="2751" y="8134"/>
                      </a:lnTo>
                      <a:lnTo>
                        <a:pt x="1555" y="6878"/>
                      </a:lnTo>
                      <a:lnTo>
                        <a:pt x="538" y="4127"/>
                      </a:lnTo>
                      <a:lnTo>
                        <a:pt x="239" y="3289"/>
                      </a:lnTo>
                      <a:lnTo>
                        <a:pt x="60" y="2811"/>
                      </a:lnTo>
                      <a:lnTo>
                        <a:pt x="0" y="2632"/>
                      </a:lnTo>
                      <a:lnTo>
                        <a:pt x="598" y="1854"/>
                      </a:lnTo>
                      <a:lnTo>
                        <a:pt x="1734" y="359"/>
                      </a:lnTo>
                      <a:lnTo>
                        <a:pt x="4665" y="120"/>
                      </a:lnTo>
                      <a:lnTo>
                        <a:pt x="6399" y="0"/>
                      </a:lnTo>
                      <a:lnTo>
                        <a:pt x="9270" y="598"/>
                      </a:lnTo>
                      <a:lnTo>
                        <a:pt x="12141" y="1196"/>
                      </a:lnTo>
                      <a:lnTo>
                        <a:pt x="13457" y="1435"/>
                      </a:lnTo>
                      <a:lnTo>
                        <a:pt x="16267" y="2332"/>
                      </a:lnTo>
                      <a:lnTo>
                        <a:pt x="19078" y="3230"/>
                      </a:lnTo>
                      <a:lnTo>
                        <a:pt x="21889" y="4127"/>
                      </a:lnTo>
                      <a:lnTo>
                        <a:pt x="22428" y="4306"/>
                      </a:lnTo>
                    </a:path>
                  </a:pathLst>
                </a:custGeom>
                <a:noFill/>
                <a:ln w="6350" cap="rnd">
                  <a:solidFill>
                    <a:schemeClr val="bg1">
                      <a:alpha val="40000"/>
                    </a:schemeClr>
                  </a:solidFill>
                  <a:prstDash val="solid"/>
                  <a:round/>
                </a:ln>
              </p:spPr>
              <p:txBody>
                <a:bodyPr rtlCol="0" anchor="ctr"/>
                <a:lstStyle/>
                <a:p>
                  <a:endParaRPr lang="en-GB"/>
                </a:p>
              </p:txBody>
            </p:sp>
            <p:sp>
              <p:nvSpPr>
                <p:cNvPr id="5389" name="Vrije vorm: vorm 5388">
                  <a:extLst>
                    <a:ext uri="{FF2B5EF4-FFF2-40B4-BE49-F238E27FC236}">
                      <a16:creationId xmlns:a16="http://schemas.microsoft.com/office/drawing/2014/main" id="{4E1FF6D8-F79E-4FAC-BF6E-5551FC6E94F8}"/>
                    </a:ext>
                  </a:extLst>
                </p:cNvPr>
                <p:cNvSpPr/>
                <p:nvPr/>
              </p:nvSpPr>
              <p:spPr>
                <a:xfrm>
                  <a:off x="6375170" y="1765908"/>
                  <a:ext cx="12918" cy="14951"/>
                </a:xfrm>
                <a:custGeom>
                  <a:avLst/>
                  <a:gdLst>
                    <a:gd name="connsiteX0" fmla="*/ 12918 w 12918"/>
                    <a:gd name="connsiteY0" fmla="*/ 14952 h 14951"/>
                    <a:gd name="connsiteX1" fmla="*/ 11005 w 12918"/>
                    <a:gd name="connsiteY1" fmla="*/ 12739 h 14951"/>
                    <a:gd name="connsiteX2" fmla="*/ 9210 w 12918"/>
                    <a:gd name="connsiteY2" fmla="*/ 10646 h 14951"/>
                    <a:gd name="connsiteX3" fmla="*/ 7296 w 12918"/>
                    <a:gd name="connsiteY3" fmla="*/ 8433 h 14951"/>
                    <a:gd name="connsiteX4" fmla="*/ 5383 w 12918"/>
                    <a:gd name="connsiteY4" fmla="*/ 6220 h 14951"/>
                    <a:gd name="connsiteX5" fmla="*/ 3469 w 12918"/>
                    <a:gd name="connsiteY5" fmla="*/ 4007 h 14951"/>
                    <a:gd name="connsiteX6" fmla="*/ 1555 w 12918"/>
                    <a:gd name="connsiteY6" fmla="*/ 1794 h 14951"/>
                    <a:gd name="connsiteX7" fmla="*/ 0 w 12918"/>
                    <a:gd name="connsiteY7" fmla="*/ 0 h 1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18" h="14951">
                      <a:moveTo>
                        <a:pt x="12918" y="14952"/>
                      </a:moveTo>
                      <a:lnTo>
                        <a:pt x="11005" y="12739"/>
                      </a:lnTo>
                      <a:lnTo>
                        <a:pt x="9210" y="10646"/>
                      </a:lnTo>
                      <a:lnTo>
                        <a:pt x="7296" y="8433"/>
                      </a:lnTo>
                      <a:lnTo>
                        <a:pt x="5383" y="6220"/>
                      </a:lnTo>
                      <a:lnTo>
                        <a:pt x="3469" y="4007"/>
                      </a:lnTo>
                      <a:lnTo>
                        <a:pt x="1555" y="1794"/>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390" name="Vrije vorm: vorm 5389">
                  <a:extLst>
                    <a:ext uri="{FF2B5EF4-FFF2-40B4-BE49-F238E27FC236}">
                      <a16:creationId xmlns:a16="http://schemas.microsoft.com/office/drawing/2014/main" id="{34FF77A7-8575-4A36-B808-C3877A3B4057}"/>
                    </a:ext>
                  </a:extLst>
                </p:cNvPr>
                <p:cNvSpPr/>
                <p:nvPr/>
              </p:nvSpPr>
              <p:spPr>
                <a:xfrm>
                  <a:off x="6375110" y="1746590"/>
                  <a:ext cx="11243" cy="20992"/>
                </a:xfrm>
                <a:custGeom>
                  <a:avLst/>
                  <a:gdLst>
                    <a:gd name="connsiteX0" fmla="*/ 3768 w 11243"/>
                    <a:gd name="connsiteY0" fmla="*/ 20992 h 20992"/>
                    <a:gd name="connsiteX1" fmla="*/ 1076 w 11243"/>
                    <a:gd name="connsiteY1" fmla="*/ 19736 h 20992"/>
                    <a:gd name="connsiteX2" fmla="*/ 0 w 11243"/>
                    <a:gd name="connsiteY2" fmla="*/ 19258 h 20992"/>
                    <a:gd name="connsiteX3" fmla="*/ 1435 w 11243"/>
                    <a:gd name="connsiteY3" fmla="*/ 16806 h 20992"/>
                    <a:gd name="connsiteX4" fmla="*/ 2871 w 11243"/>
                    <a:gd name="connsiteY4" fmla="*/ 14354 h 20992"/>
                    <a:gd name="connsiteX5" fmla="*/ 4306 w 11243"/>
                    <a:gd name="connsiteY5" fmla="*/ 11902 h 20992"/>
                    <a:gd name="connsiteX6" fmla="*/ 5742 w 11243"/>
                    <a:gd name="connsiteY6" fmla="*/ 9450 h 20992"/>
                    <a:gd name="connsiteX7" fmla="*/ 7177 w 11243"/>
                    <a:gd name="connsiteY7" fmla="*/ 6997 h 20992"/>
                    <a:gd name="connsiteX8" fmla="*/ 8612 w 11243"/>
                    <a:gd name="connsiteY8" fmla="*/ 4545 h 20992"/>
                    <a:gd name="connsiteX9" fmla="*/ 10048 w 11243"/>
                    <a:gd name="connsiteY9" fmla="*/ 2093 h 20992"/>
                    <a:gd name="connsiteX10" fmla="*/ 11244 w 11243"/>
                    <a:gd name="connsiteY10" fmla="*/ 0 h 2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43" h="20992">
                      <a:moveTo>
                        <a:pt x="3768" y="20992"/>
                      </a:moveTo>
                      <a:lnTo>
                        <a:pt x="1076" y="19736"/>
                      </a:lnTo>
                      <a:lnTo>
                        <a:pt x="0" y="19258"/>
                      </a:lnTo>
                      <a:lnTo>
                        <a:pt x="1435" y="16806"/>
                      </a:lnTo>
                      <a:lnTo>
                        <a:pt x="2871" y="14354"/>
                      </a:lnTo>
                      <a:lnTo>
                        <a:pt x="4306" y="11902"/>
                      </a:lnTo>
                      <a:lnTo>
                        <a:pt x="5742" y="9450"/>
                      </a:lnTo>
                      <a:lnTo>
                        <a:pt x="7177" y="6997"/>
                      </a:lnTo>
                      <a:lnTo>
                        <a:pt x="8612" y="4545"/>
                      </a:lnTo>
                      <a:lnTo>
                        <a:pt x="10048" y="2093"/>
                      </a:lnTo>
                      <a:lnTo>
                        <a:pt x="11244" y="0"/>
                      </a:lnTo>
                    </a:path>
                  </a:pathLst>
                </a:custGeom>
                <a:noFill/>
                <a:ln w="6350" cap="rnd">
                  <a:solidFill>
                    <a:schemeClr val="bg1">
                      <a:alpha val="40000"/>
                    </a:schemeClr>
                  </a:solidFill>
                  <a:prstDash val="solid"/>
                  <a:round/>
                </a:ln>
              </p:spPr>
              <p:txBody>
                <a:bodyPr rtlCol="0" anchor="ctr"/>
                <a:lstStyle/>
                <a:p>
                  <a:endParaRPr lang="en-GB"/>
                </a:p>
              </p:txBody>
            </p:sp>
            <p:sp>
              <p:nvSpPr>
                <p:cNvPr id="5391" name="Vrije vorm: vorm 5390">
                  <a:extLst>
                    <a:ext uri="{FF2B5EF4-FFF2-40B4-BE49-F238E27FC236}">
                      <a16:creationId xmlns:a16="http://schemas.microsoft.com/office/drawing/2014/main" id="{4BB1EB21-BCBF-480D-A5A1-40BCAC1CAEBE}"/>
                    </a:ext>
                  </a:extLst>
                </p:cNvPr>
                <p:cNvSpPr/>
                <p:nvPr/>
              </p:nvSpPr>
              <p:spPr>
                <a:xfrm>
                  <a:off x="6377323" y="1737260"/>
                  <a:ext cx="12141" cy="11004"/>
                </a:xfrm>
                <a:custGeom>
                  <a:avLst/>
                  <a:gdLst>
                    <a:gd name="connsiteX0" fmla="*/ 12141 w 12141"/>
                    <a:gd name="connsiteY0" fmla="*/ 11005 h 11004"/>
                    <a:gd name="connsiteX1" fmla="*/ 9450 w 12141"/>
                    <a:gd name="connsiteY1" fmla="*/ 9689 h 11004"/>
                    <a:gd name="connsiteX2" fmla="*/ 8971 w 12141"/>
                    <a:gd name="connsiteY2" fmla="*/ 9450 h 11004"/>
                    <a:gd name="connsiteX3" fmla="*/ 6938 w 12141"/>
                    <a:gd name="connsiteY3" fmla="*/ 7296 h 11004"/>
                    <a:gd name="connsiteX4" fmla="*/ 4904 w 12141"/>
                    <a:gd name="connsiteY4" fmla="*/ 5143 h 11004"/>
                    <a:gd name="connsiteX5" fmla="*/ 2871 w 12141"/>
                    <a:gd name="connsiteY5" fmla="*/ 2990 h 11004"/>
                    <a:gd name="connsiteX6" fmla="*/ 837 w 12141"/>
                    <a:gd name="connsiteY6" fmla="*/ 837 h 11004"/>
                    <a:gd name="connsiteX7" fmla="*/ 0 w 12141"/>
                    <a:gd name="connsiteY7" fmla="*/ 0 h 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41" h="11004">
                      <a:moveTo>
                        <a:pt x="12141" y="11005"/>
                      </a:moveTo>
                      <a:lnTo>
                        <a:pt x="9450" y="9689"/>
                      </a:lnTo>
                      <a:lnTo>
                        <a:pt x="8971" y="9450"/>
                      </a:lnTo>
                      <a:lnTo>
                        <a:pt x="6938" y="7296"/>
                      </a:lnTo>
                      <a:lnTo>
                        <a:pt x="4904" y="5143"/>
                      </a:lnTo>
                      <a:lnTo>
                        <a:pt x="2871" y="2990"/>
                      </a:lnTo>
                      <a:lnTo>
                        <a:pt x="837" y="83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392" name="Vrije vorm: vorm 5391">
                  <a:extLst>
                    <a:ext uri="{FF2B5EF4-FFF2-40B4-BE49-F238E27FC236}">
                      <a16:creationId xmlns:a16="http://schemas.microsoft.com/office/drawing/2014/main" id="{255D5D66-D3CB-42EC-90E5-52C9C7D94B1A}"/>
                    </a:ext>
                  </a:extLst>
                </p:cNvPr>
                <p:cNvSpPr/>
                <p:nvPr/>
              </p:nvSpPr>
              <p:spPr>
                <a:xfrm>
                  <a:off x="6539640" y="1876611"/>
                  <a:ext cx="5083" cy="3349"/>
                </a:xfrm>
                <a:custGeom>
                  <a:avLst/>
                  <a:gdLst>
                    <a:gd name="connsiteX0" fmla="*/ 0 w 5083"/>
                    <a:gd name="connsiteY0" fmla="*/ 0 h 3349"/>
                    <a:gd name="connsiteX1" fmla="*/ 0 w 5083"/>
                    <a:gd name="connsiteY1" fmla="*/ 0 h 3349"/>
                    <a:gd name="connsiteX2" fmla="*/ 0 w 5083"/>
                    <a:gd name="connsiteY2" fmla="*/ 239 h 3349"/>
                    <a:gd name="connsiteX3" fmla="*/ 180 w 5083"/>
                    <a:gd name="connsiteY3" fmla="*/ 538 h 3349"/>
                    <a:gd name="connsiteX4" fmla="*/ 538 w 5083"/>
                    <a:gd name="connsiteY4" fmla="*/ 957 h 3349"/>
                    <a:gd name="connsiteX5" fmla="*/ 1017 w 5083"/>
                    <a:gd name="connsiteY5" fmla="*/ 1376 h 3349"/>
                    <a:gd name="connsiteX6" fmla="*/ 1615 w 5083"/>
                    <a:gd name="connsiteY6" fmla="*/ 1854 h 3349"/>
                    <a:gd name="connsiteX7" fmla="*/ 2273 w 5083"/>
                    <a:gd name="connsiteY7" fmla="*/ 2273 h 3349"/>
                    <a:gd name="connsiteX8" fmla="*/ 2930 w 5083"/>
                    <a:gd name="connsiteY8" fmla="*/ 2691 h 3349"/>
                    <a:gd name="connsiteX9" fmla="*/ 3588 w 5083"/>
                    <a:gd name="connsiteY9" fmla="*/ 2990 h 3349"/>
                    <a:gd name="connsiteX10" fmla="*/ 3888 w 5083"/>
                    <a:gd name="connsiteY10" fmla="*/ 3110 h 3349"/>
                    <a:gd name="connsiteX11" fmla="*/ 4187 w 5083"/>
                    <a:gd name="connsiteY11" fmla="*/ 3230 h 3349"/>
                    <a:gd name="connsiteX12" fmla="*/ 4545 w 5083"/>
                    <a:gd name="connsiteY12" fmla="*/ 3289 h 3349"/>
                    <a:gd name="connsiteX13" fmla="*/ 4665 w 5083"/>
                    <a:gd name="connsiteY13" fmla="*/ 3349 h 3349"/>
                    <a:gd name="connsiteX14" fmla="*/ 4964 w 5083"/>
                    <a:gd name="connsiteY14" fmla="*/ 3349 h 3349"/>
                    <a:gd name="connsiteX15" fmla="*/ 5083 w 5083"/>
                    <a:gd name="connsiteY15" fmla="*/ 3230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83" h="3349">
                      <a:moveTo>
                        <a:pt x="0" y="0"/>
                      </a:moveTo>
                      <a:lnTo>
                        <a:pt x="0" y="0"/>
                      </a:lnTo>
                      <a:lnTo>
                        <a:pt x="0" y="239"/>
                      </a:lnTo>
                      <a:lnTo>
                        <a:pt x="180" y="538"/>
                      </a:lnTo>
                      <a:lnTo>
                        <a:pt x="538" y="957"/>
                      </a:lnTo>
                      <a:lnTo>
                        <a:pt x="1017" y="1376"/>
                      </a:lnTo>
                      <a:lnTo>
                        <a:pt x="1615" y="1854"/>
                      </a:lnTo>
                      <a:lnTo>
                        <a:pt x="2273" y="2273"/>
                      </a:lnTo>
                      <a:lnTo>
                        <a:pt x="2930" y="2691"/>
                      </a:lnTo>
                      <a:lnTo>
                        <a:pt x="3588" y="2990"/>
                      </a:lnTo>
                      <a:lnTo>
                        <a:pt x="3888" y="3110"/>
                      </a:lnTo>
                      <a:lnTo>
                        <a:pt x="4187" y="3230"/>
                      </a:lnTo>
                      <a:lnTo>
                        <a:pt x="4545" y="3289"/>
                      </a:lnTo>
                      <a:lnTo>
                        <a:pt x="4665" y="3349"/>
                      </a:lnTo>
                      <a:lnTo>
                        <a:pt x="4964" y="3349"/>
                      </a:lnTo>
                      <a:lnTo>
                        <a:pt x="5083" y="3230"/>
                      </a:lnTo>
                    </a:path>
                  </a:pathLst>
                </a:custGeom>
                <a:noFill/>
                <a:ln w="6350" cap="rnd">
                  <a:solidFill>
                    <a:schemeClr val="bg1">
                      <a:alpha val="40000"/>
                    </a:schemeClr>
                  </a:solidFill>
                  <a:prstDash val="solid"/>
                  <a:round/>
                </a:ln>
              </p:spPr>
              <p:txBody>
                <a:bodyPr rtlCol="0" anchor="ctr"/>
                <a:lstStyle/>
                <a:p>
                  <a:endParaRPr lang="en-GB"/>
                </a:p>
              </p:txBody>
            </p:sp>
            <p:sp>
              <p:nvSpPr>
                <p:cNvPr id="5393" name="Vrije vorm: vorm 5392">
                  <a:extLst>
                    <a:ext uri="{FF2B5EF4-FFF2-40B4-BE49-F238E27FC236}">
                      <a16:creationId xmlns:a16="http://schemas.microsoft.com/office/drawing/2014/main" id="{7634E2C3-1943-4C61-ACFE-CAB7F27901EE}"/>
                    </a:ext>
                  </a:extLst>
                </p:cNvPr>
                <p:cNvSpPr/>
                <p:nvPr/>
              </p:nvSpPr>
              <p:spPr>
                <a:xfrm>
                  <a:off x="6539640" y="1876491"/>
                  <a:ext cx="5083" cy="3408"/>
                </a:xfrm>
                <a:custGeom>
                  <a:avLst/>
                  <a:gdLst>
                    <a:gd name="connsiteX0" fmla="*/ 0 w 5083"/>
                    <a:gd name="connsiteY0" fmla="*/ 120 h 3408"/>
                    <a:gd name="connsiteX1" fmla="*/ 120 w 5083"/>
                    <a:gd name="connsiteY1" fmla="*/ 0 h 3408"/>
                    <a:gd name="connsiteX2" fmla="*/ 419 w 5083"/>
                    <a:gd name="connsiteY2" fmla="*/ 0 h 3408"/>
                    <a:gd name="connsiteX3" fmla="*/ 897 w 5083"/>
                    <a:gd name="connsiteY3" fmla="*/ 120 h 3408"/>
                    <a:gd name="connsiteX4" fmla="*/ 1435 w 5083"/>
                    <a:gd name="connsiteY4" fmla="*/ 359 h 3408"/>
                    <a:gd name="connsiteX5" fmla="*/ 2093 w 5083"/>
                    <a:gd name="connsiteY5" fmla="*/ 658 h 3408"/>
                    <a:gd name="connsiteX6" fmla="*/ 2751 w 5083"/>
                    <a:gd name="connsiteY6" fmla="*/ 1076 h 3408"/>
                    <a:gd name="connsiteX7" fmla="*/ 3409 w 5083"/>
                    <a:gd name="connsiteY7" fmla="*/ 1495 h 3408"/>
                    <a:gd name="connsiteX8" fmla="*/ 4007 w 5083"/>
                    <a:gd name="connsiteY8" fmla="*/ 1974 h 3408"/>
                    <a:gd name="connsiteX9" fmla="*/ 4486 w 5083"/>
                    <a:gd name="connsiteY9" fmla="*/ 2392 h 3408"/>
                    <a:gd name="connsiteX10" fmla="*/ 4844 w 5083"/>
                    <a:gd name="connsiteY10" fmla="*/ 2811 h 3408"/>
                    <a:gd name="connsiteX11" fmla="*/ 4844 w 5083"/>
                    <a:gd name="connsiteY11" fmla="*/ 2871 h 3408"/>
                    <a:gd name="connsiteX12" fmla="*/ 5024 w 5083"/>
                    <a:gd name="connsiteY12" fmla="*/ 3170 h 3408"/>
                    <a:gd name="connsiteX13" fmla="*/ 5083 w 5083"/>
                    <a:gd name="connsiteY13" fmla="*/ 3409 h 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3" h="3408">
                      <a:moveTo>
                        <a:pt x="0" y="120"/>
                      </a:moveTo>
                      <a:lnTo>
                        <a:pt x="120" y="0"/>
                      </a:lnTo>
                      <a:lnTo>
                        <a:pt x="419" y="0"/>
                      </a:lnTo>
                      <a:lnTo>
                        <a:pt x="897" y="120"/>
                      </a:lnTo>
                      <a:lnTo>
                        <a:pt x="1435" y="359"/>
                      </a:lnTo>
                      <a:lnTo>
                        <a:pt x="2093" y="658"/>
                      </a:lnTo>
                      <a:lnTo>
                        <a:pt x="2751" y="1076"/>
                      </a:lnTo>
                      <a:lnTo>
                        <a:pt x="3409" y="1495"/>
                      </a:lnTo>
                      <a:lnTo>
                        <a:pt x="4007" y="1974"/>
                      </a:lnTo>
                      <a:lnTo>
                        <a:pt x="4486" y="2392"/>
                      </a:lnTo>
                      <a:lnTo>
                        <a:pt x="4844" y="2811"/>
                      </a:lnTo>
                      <a:lnTo>
                        <a:pt x="4844" y="2871"/>
                      </a:lnTo>
                      <a:lnTo>
                        <a:pt x="5024" y="3170"/>
                      </a:lnTo>
                      <a:lnTo>
                        <a:pt x="5083" y="3409"/>
                      </a:lnTo>
                    </a:path>
                  </a:pathLst>
                </a:custGeom>
                <a:noFill/>
                <a:ln w="6350" cap="rnd">
                  <a:solidFill>
                    <a:schemeClr val="bg1">
                      <a:alpha val="40000"/>
                    </a:schemeClr>
                  </a:solidFill>
                  <a:prstDash val="solid"/>
                  <a:round/>
                </a:ln>
              </p:spPr>
              <p:txBody>
                <a:bodyPr rtlCol="0" anchor="ctr"/>
                <a:lstStyle/>
                <a:p>
                  <a:endParaRPr lang="en-GB"/>
                </a:p>
              </p:txBody>
            </p:sp>
            <p:sp>
              <p:nvSpPr>
                <p:cNvPr id="5394" name="Vrije vorm: vorm 5393">
                  <a:extLst>
                    <a:ext uri="{FF2B5EF4-FFF2-40B4-BE49-F238E27FC236}">
                      <a16:creationId xmlns:a16="http://schemas.microsoft.com/office/drawing/2014/main" id="{5DE9A23D-9DFD-4B78-A183-CDF57F57113C}"/>
                    </a:ext>
                  </a:extLst>
                </p:cNvPr>
                <p:cNvSpPr/>
                <p:nvPr/>
              </p:nvSpPr>
              <p:spPr>
                <a:xfrm>
                  <a:off x="6540238" y="1873322"/>
                  <a:ext cx="5801" cy="3588"/>
                </a:xfrm>
                <a:custGeom>
                  <a:avLst/>
                  <a:gdLst>
                    <a:gd name="connsiteX0" fmla="*/ 0 w 5801"/>
                    <a:gd name="connsiteY0" fmla="*/ 0 h 3588"/>
                    <a:gd name="connsiteX1" fmla="*/ 0 w 5801"/>
                    <a:gd name="connsiteY1" fmla="*/ 0 h 3588"/>
                    <a:gd name="connsiteX2" fmla="*/ 60 w 5801"/>
                    <a:gd name="connsiteY2" fmla="*/ 239 h 3588"/>
                    <a:gd name="connsiteX3" fmla="*/ 299 w 5801"/>
                    <a:gd name="connsiteY3" fmla="*/ 598 h 3588"/>
                    <a:gd name="connsiteX4" fmla="*/ 718 w 5801"/>
                    <a:gd name="connsiteY4" fmla="*/ 1017 h 3588"/>
                    <a:gd name="connsiteX5" fmla="*/ 1256 w 5801"/>
                    <a:gd name="connsiteY5" fmla="*/ 1495 h 3588"/>
                    <a:gd name="connsiteX6" fmla="*/ 1914 w 5801"/>
                    <a:gd name="connsiteY6" fmla="*/ 1974 h 3588"/>
                    <a:gd name="connsiteX7" fmla="*/ 2632 w 5801"/>
                    <a:gd name="connsiteY7" fmla="*/ 2452 h 3588"/>
                    <a:gd name="connsiteX8" fmla="*/ 3409 w 5801"/>
                    <a:gd name="connsiteY8" fmla="*/ 2871 h 3588"/>
                    <a:gd name="connsiteX9" fmla="*/ 4127 w 5801"/>
                    <a:gd name="connsiteY9" fmla="*/ 3230 h 3588"/>
                    <a:gd name="connsiteX10" fmla="*/ 4785 w 5801"/>
                    <a:gd name="connsiteY10" fmla="*/ 3469 h 3588"/>
                    <a:gd name="connsiteX11" fmla="*/ 5263 w 5801"/>
                    <a:gd name="connsiteY11" fmla="*/ 3588 h 3588"/>
                    <a:gd name="connsiteX12" fmla="*/ 5622 w 5801"/>
                    <a:gd name="connsiteY12" fmla="*/ 3588 h 3588"/>
                    <a:gd name="connsiteX13" fmla="*/ 5801 w 5801"/>
                    <a:gd name="connsiteY13" fmla="*/ 3469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01" h="3588">
                      <a:moveTo>
                        <a:pt x="0" y="0"/>
                      </a:moveTo>
                      <a:lnTo>
                        <a:pt x="0" y="0"/>
                      </a:lnTo>
                      <a:lnTo>
                        <a:pt x="60" y="239"/>
                      </a:lnTo>
                      <a:lnTo>
                        <a:pt x="299" y="598"/>
                      </a:lnTo>
                      <a:lnTo>
                        <a:pt x="718" y="1017"/>
                      </a:lnTo>
                      <a:lnTo>
                        <a:pt x="1256" y="1495"/>
                      </a:lnTo>
                      <a:lnTo>
                        <a:pt x="1914" y="1974"/>
                      </a:lnTo>
                      <a:lnTo>
                        <a:pt x="2632" y="2452"/>
                      </a:lnTo>
                      <a:lnTo>
                        <a:pt x="3409" y="2871"/>
                      </a:lnTo>
                      <a:lnTo>
                        <a:pt x="4127" y="3230"/>
                      </a:lnTo>
                      <a:lnTo>
                        <a:pt x="4785" y="3469"/>
                      </a:lnTo>
                      <a:lnTo>
                        <a:pt x="5263" y="3588"/>
                      </a:lnTo>
                      <a:lnTo>
                        <a:pt x="5622" y="3588"/>
                      </a:lnTo>
                      <a:lnTo>
                        <a:pt x="5801" y="3469"/>
                      </a:lnTo>
                    </a:path>
                  </a:pathLst>
                </a:custGeom>
                <a:noFill/>
                <a:ln w="6350" cap="rnd">
                  <a:solidFill>
                    <a:schemeClr val="bg1">
                      <a:alpha val="40000"/>
                    </a:schemeClr>
                  </a:solidFill>
                  <a:prstDash val="solid"/>
                  <a:round/>
                </a:ln>
              </p:spPr>
              <p:txBody>
                <a:bodyPr rtlCol="0" anchor="ctr"/>
                <a:lstStyle/>
                <a:p>
                  <a:endParaRPr lang="en-GB"/>
                </a:p>
              </p:txBody>
            </p:sp>
            <p:sp>
              <p:nvSpPr>
                <p:cNvPr id="5395" name="Vrije vorm: vorm 5394">
                  <a:extLst>
                    <a:ext uri="{FF2B5EF4-FFF2-40B4-BE49-F238E27FC236}">
                      <a16:creationId xmlns:a16="http://schemas.microsoft.com/office/drawing/2014/main" id="{24E7D067-53CF-429F-8F55-4828C868B769}"/>
                    </a:ext>
                  </a:extLst>
                </p:cNvPr>
                <p:cNvSpPr/>
                <p:nvPr/>
              </p:nvSpPr>
              <p:spPr>
                <a:xfrm>
                  <a:off x="6540238" y="1873202"/>
                  <a:ext cx="5741" cy="3588"/>
                </a:xfrm>
                <a:custGeom>
                  <a:avLst/>
                  <a:gdLst>
                    <a:gd name="connsiteX0" fmla="*/ 0 w 5741"/>
                    <a:gd name="connsiteY0" fmla="*/ 120 h 3588"/>
                    <a:gd name="connsiteX1" fmla="*/ 180 w 5741"/>
                    <a:gd name="connsiteY1" fmla="*/ 0 h 3588"/>
                    <a:gd name="connsiteX2" fmla="*/ 538 w 5741"/>
                    <a:gd name="connsiteY2" fmla="*/ 0 h 3588"/>
                    <a:gd name="connsiteX3" fmla="*/ 1017 w 5741"/>
                    <a:gd name="connsiteY3" fmla="*/ 120 h 3588"/>
                    <a:gd name="connsiteX4" fmla="*/ 1675 w 5741"/>
                    <a:gd name="connsiteY4" fmla="*/ 359 h 3588"/>
                    <a:gd name="connsiteX5" fmla="*/ 2392 w 5741"/>
                    <a:gd name="connsiteY5" fmla="*/ 718 h 3588"/>
                    <a:gd name="connsiteX6" fmla="*/ 3110 w 5741"/>
                    <a:gd name="connsiteY6" fmla="*/ 1136 h 3588"/>
                    <a:gd name="connsiteX7" fmla="*/ 3828 w 5741"/>
                    <a:gd name="connsiteY7" fmla="*/ 1615 h 3588"/>
                    <a:gd name="connsiteX8" fmla="*/ 4486 w 5741"/>
                    <a:gd name="connsiteY8" fmla="*/ 2093 h 3588"/>
                    <a:gd name="connsiteX9" fmla="*/ 5024 w 5741"/>
                    <a:gd name="connsiteY9" fmla="*/ 2572 h 3588"/>
                    <a:gd name="connsiteX10" fmla="*/ 5443 w 5741"/>
                    <a:gd name="connsiteY10" fmla="*/ 2990 h 3588"/>
                    <a:gd name="connsiteX11" fmla="*/ 5682 w 5741"/>
                    <a:gd name="connsiteY11" fmla="*/ 3349 h 3588"/>
                    <a:gd name="connsiteX12" fmla="*/ 5742 w 5741"/>
                    <a:gd name="connsiteY12" fmla="*/ 3588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41" h="3588">
                      <a:moveTo>
                        <a:pt x="0" y="120"/>
                      </a:moveTo>
                      <a:lnTo>
                        <a:pt x="180" y="0"/>
                      </a:lnTo>
                      <a:lnTo>
                        <a:pt x="538" y="0"/>
                      </a:lnTo>
                      <a:lnTo>
                        <a:pt x="1017" y="120"/>
                      </a:lnTo>
                      <a:lnTo>
                        <a:pt x="1675" y="359"/>
                      </a:lnTo>
                      <a:lnTo>
                        <a:pt x="2392" y="718"/>
                      </a:lnTo>
                      <a:lnTo>
                        <a:pt x="3110" y="1136"/>
                      </a:lnTo>
                      <a:lnTo>
                        <a:pt x="3828" y="1615"/>
                      </a:lnTo>
                      <a:lnTo>
                        <a:pt x="4486" y="2093"/>
                      </a:lnTo>
                      <a:lnTo>
                        <a:pt x="5024" y="2572"/>
                      </a:lnTo>
                      <a:lnTo>
                        <a:pt x="5443" y="2990"/>
                      </a:lnTo>
                      <a:lnTo>
                        <a:pt x="5682" y="3349"/>
                      </a:lnTo>
                      <a:lnTo>
                        <a:pt x="5742" y="3588"/>
                      </a:lnTo>
                    </a:path>
                  </a:pathLst>
                </a:custGeom>
                <a:noFill/>
                <a:ln w="6350" cap="rnd">
                  <a:solidFill>
                    <a:schemeClr val="bg1">
                      <a:alpha val="40000"/>
                    </a:schemeClr>
                  </a:solidFill>
                  <a:prstDash val="solid"/>
                  <a:round/>
                </a:ln>
              </p:spPr>
              <p:txBody>
                <a:bodyPr rtlCol="0" anchor="ctr"/>
                <a:lstStyle/>
                <a:p>
                  <a:endParaRPr lang="en-GB"/>
                </a:p>
              </p:txBody>
            </p:sp>
            <p:sp>
              <p:nvSpPr>
                <p:cNvPr id="5396" name="Vrije vorm: vorm 5395">
                  <a:extLst>
                    <a:ext uri="{FF2B5EF4-FFF2-40B4-BE49-F238E27FC236}">
                      <a16:creationId xmlns:a16="http://schemas.microsoft.com/office/drawing/2014/main" id="{4F8F9BFE-4ADC-4DD9-80D5-C7157E3D7CCB}"/>
                    </a:ext>
                  </a:extLst>
                </p:cNvPr>
                <p:cNvSpPr/>
                <p:nvPr/>
              </p:nvSpPr>
              <p:spPr>
                <a:xfrm>
                  <a:off x="6454953" y="1846408"/>
                  <a:ext cx="7236" cy="4844"/>
                </a:xfrm>
                <a:custGeom>
                  <a:avLst/>
                  <a:gdLst>
                    <a:gd name="connsiteX0" fmla="*/ 119 w 7236"/>
                    <a:gd name="connsiteY0" fmla="*/ 0 h 4844"/>
                    <a:gd name="connsiteX1" fmla="*/ 60 w 7236"/>
                    <a:gd name="connsiteY1" fmla="*/ 120 h 4844"/>
                    <a:gd name="connsiteX2" fmla="*/ 0 w 7236"/>
                    <a:gd name="connsiteY2" fmla="*/ 299 h 4844"/>
                    <a:gd name="connsiteX3" fmla="*/ 119 w 7236"/>
                    <a:gd name="connsiteY3" fmla="*/ 718 h 4844"/>
                    <a:gd name="connsiteX4" fmla="*/ 478 w 7236"/>
                    <a:gd name="connsiteY4" fmla="*/ 1256 h 4844"/>
                    <a:gd name="connsiteX5" fmla="*/ 1076 w 7236"/>
                    <a:gd name="connsiteY5" fmla="*/ 1854 h 4844"/>
                    <a:gd name="connsiteX6" fmla="*/ 1854 w 7236"/>
                    <a:gd name="connsiteY6" fmla="*/ 2512 h 4844"/>
                    <a:gd name="connsiteX7" fmla="*/ 2751 w 7236"/>
                    <a:gd name="connsiteY7" fmla="*/ 3110 h 4844"/>
                    <a:gd name="connsiteX8" fmla="*/ 3708 w 7236"/>
                    <a:gd name="connsiteY8" fmla="*/ 3708 h 4844"/>
                    <a:gd name="connsiteX9" fmla="*/ 4665 w 7236"/>
                    <a:gd name="connsiteY9" fmla="*/ 4186 h 4844"/>
                    <a:gd name="connsiteX10" fmla="*/ 5562 w 7236"/>
                    <a:gd name="connsiteY10" fmla="*/ 4545 h 4844"/>
                    <a:gd name="connsiteX11" fmla="*/ 6340 w 7236"/>
                    <a:gd name="connsiteY11" fmla="*/ 4785 h 4844"/>
                    <a:gd name="connsiteX12" fmla="*/ 6937 w 7236"/>
                    <a:gd name="connsiteY12" fmla="*/ 4844 h 4844"/>
                    <a:gd name="connsiteX13" fmla="*/ 7236 w 7236"/>
                    <a:gd name="connsiteY13" fmla="*/ 4725 h 4844"/>
                    <a:gd name="connsiteX14" fmla="*/ 7236 w 7236"/>
                    <a:gd name="connsiteY14" fmla="*/ 4725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6" h="4844">
                      <a:moveTo>
                        <a:pt x="119" y="0"/>
                      </a:moveTo>
                      <a:lnTo>
                        <a:pt x="60" y="120"/>
                      </a:lnTo>
                      <a:lnTo>
                        <a:pt x="0" y="299"/>
                      </a:lnTo>
                      <a:lnTo>
                        <a:pt x="119" y="718"/>
                      </a:lnTo>
                      <a:lnTo>
                        <a:pt x="478" y="1256"/>
                      </a:lnTo>
                      <a:lnTo>
                        <a:pt x="1076" y="1854"/>
                      </a:lnTo>
                      <a:lnTo>
                        <a:pt x="1854" y="2512"/>
                      </a:lnTo>
                      <a:lnTo>
                        <a:pt x="2751" y="3110"/>
                      </a:lnTo>
                      <a:lnTo>
                        <a:pt x="3708" y="3708"/>
                      </a:lnTo>
                      <a:lnTo>
                        <a:pt x="4665" y="4186"/>
                      </a:lnTo>
                      <a:lnTo>
                        <a:pt x="5562" y="4545"/>
                      </a:lnTo>
                      <a:lnTo>
                        <a:pt x="6340" y="4785"/>
                      </a:lnTo>
                      <a:lnTo>
                        <a:pt x="6937" y="4844"/>
                      </a:lnTo>
                      <a:lnTo>
                        <a:pt x="7236" y="4725"/>
                      </a:lnTo>
                      <a:lnTo>
                        <a:pt x="7236" y="4725"/>
                      </a:lnTo>
                    </a:path>
                  </a:pathLst>
                </a:custGeom>
                <a:noFill/>
                <a:ln w="6350" cap="rnd">
                  <a:solidFill>
                    <a:schemeClr val="bg1">
                      <a:alpha val="40000"/>
                    </a:schemeClr>
                  </a:solidFill>
                  <a:prstDash val="solid"/>
                  <a:round/>
                </a:ln>
              </p:spPr>
              <p:txBody>
                <a:bodyPr rtlCol="0" anchor="ctr"/>
                <a:lstStyle/>
                <a:p>
                  <a:endParaRPr lang="en-GB"/>
                </a:p>
              </p:txBody>
            </p:sp>
            <p:sp>
              <p:nvSpPr>
                <p:cNvPr id="5397" name="Vrije vorm: vorm 5396">
                  <a:extLst>
                    <a:ext uri="{FF2B5EF4-FFF2-40B4-BE49-F238E27FC236}">
                      <a16:creationId xmlns:a16="http://schemas.microsoft.com/office/drawing/2014/main" id="{14CABB5C-BCB5-4515-B94B-6229B4271ACC}"/>
                    </a:ext>
                  </a:extLst>
                </p:cNvPr>
                <p:cNvSpPr/>
                <p:nvPr/>
              </p:nvSpPr>
              <p:spPr>
                <a:xfrm>
                  <a:off x="6455072" y="1846289"/>
                  <a:ext cx="7416" cy="4724"/>
                </a:xfrm>
                <a:custGeom>
                  <a:avLst/>
                  <a:gdLst>
                    <a:gd name="connsiteX0" fmla="*/ 0 w 7416"/>
                    <a:gd name="connsiteY0" fmla="*/ 120 h 4724"/>
                    <a:gd name="connsiteX1" fmla="*/ 359 w 7416"/>
                    <a:gd name="connsiteY1" fmla="*/ 0 h 4724"/>
                    <a:gd name="connsiteX2" fmla="*/ 957 w 7416"/>
                    <a:gd name="connsiteY2" fmla="*/ 60 h 4724"/>
                    <a:gd name="connsiteX3" fmla="*/ 1735 w 7416"/>
                    <a:gd name="connsiteY3" fmla="*/ 299 h 4724"/>
                    <a:gd name="connsiteX4" fmla="*/ 2632 w 7416"/>
                    <a:gd name="connsiteY4" fmla="*/ 658 h 4724"/>
                    <a:gd name="connsiteX5" fmla="*/ 3589 w 7416"/>
                    <a:gd name="connsiteY5" fmla="*/ 1136 h 4724"/>
                    <a:gd name="connsiteX6" fmla="*/ 4545 w 7416"/>
                    <a:gd name="connsiteY6" fmla="*/ 1675 h 4724"/>
                    <a:gd name="connsiteX7" fmla="*/ 5443 w 7416"/>
                    <a:gd name="connsiteY7" fmla="*/ 2273 h 4724"/>
                    <a:gd name="connsiteX8" fmla="*/ 6220 w 7416"/>
                    <a:gd name="connsiteY8" fmla="*/ 2871 h 4724"/>
                    <a:gd name="connsiteX9" fmla="*/ 6818 w 7416"/>
                    <a:gd name="connsiteY9" fmla="*/ 3469 h 4724"/>
                    <a:gd name="connsiteX10" fmla="*/ 7237 w 7416"/>
                    <a:gd name="connsiteY10" fmla="*/ 4007 h 4724"/>
                    <a:gd name="connsiteX11" fmla="*/ 7416 w 7416"/>
                    <a:gd name="connsiteY11" fmla="*/ 4426 h 4724"/>
                    <a:gd name="connsiteX12" fmla="*/ 7297 w 7416"/>
                    <a:gd name="connsiteY12"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16" h="4724">
                      <a:moveTo>
                        <a:pt x="0" y="120"/>
                      </a:moveTo>
                      <a:lnTo>
                        <a:pt x="359" y="0"/>
                      </a:lnTo>
                      <a:lnTo>
                        <a:pt x="957" y="60"/>
                      </a:lnTo>
                      <a:lnTo>
                        <a:pt x="1735" y="299"/>
                      </a:lnTo>
                      <a:lnTo>
                        <a:pt x="2632" y="658"/>
                      </a:lnTo>
                      <a:lnTo>
                        <a:pt x="3589" y="1136"/>
                      </a:lnTo>
                      <a:lnTo>
                        <a:pt x="4545" y="1675"/>
                      </a:lnTo>
                      <a:lnTo>
                        <a:pt x="5443" y="2273"/>
                      </a:lnTo>
                      <a:lnTo>
                        <a:pt x="6220" y="2871"/>
                      </a:lnTo>
                      <a:lnTo>
                        <a:pt x="6818" y="3469"/>
                      </a:lnTo>
                      <a:lnTo>
                        <a:pt x="7237" y="4007"/>
                      </a:lnTo>
                      <a:lnTo>
                        <a:pt x="7416" y="4426"/>
                      </a:lnTo>
                      <a:lnTo>
                        <a:pt x="7297" y="4725"/>
                      </a:lnTo>
                    </a:path>
                  </a:pathLst>
                </a:custGeom>
                <a:noFill/>
                <a:ln w="6350" cap="rnd">
                  <a:solidFill>
                    <a:schemeClr val="bg1">
                      <a:alpha val="40000"/>
                    </a:schemeClr>
                  </a:solidFill>
                  <a:prstDash val="solid"/>
                  <a:round/>
                </a:ln>
              </p:spPr>
              <p:txBody>
                <a:bodyPr rtlCol="0" anchor="ctr"/>
                <a:lstStyle/>
                <a:p>
                  <a:endParaRPr lang="en-GB"/>
                </a:p>
              </p:txBody>
            </p:sp>
            <p:sp>
              <p:nvSpPr>
                <p:cNvPr id="5398" name="Vrije vorm: vorm 5397">
                  <a:extLst>
                    <a:ext uri="{FF2B5EF4-FFF2-40B4-BE49-F238E27FC236}">
                      <a16:creationId xmlns:a16="http://schemas.microsoft.com/office/drawing/2014/main" id="{639CCFB1-6118-4407-BCFE-B495B41D49CF}"/>
                    </a:ext>
                  </a:extLst>
                </p:cNvPr>
                <p:cNvSpPr/>
                <p:nvPr/>
              </p:nvSpPr>
              <p:spPr>
                <a:xfrm>
                  <a:off x="6441795" y="1837736"/>
                  <a:ext cx="7416" cy="4724"/>
                </a:xfrm>
                <a:custGeom>
                  <a:avLst/>
                  <a:gdLst>
                    <a:gd name="connsiteX0" fmla="*/ 119 w 7416"/>
                    <a:gd name="connsiteY0" fmla="*/ 120 h 4724"/>
                    <a:gd name="connsiteX1" fmla="*/ 478 w 7416"/>
                    <a:gd name="connsiteY1" fmla="*/ 0 h 4724"/>
                    <a:gd name="connsiteX2" fmla="*/ 1076 w 7416"/>
                    <a:gd name="connsiteY2" fmla="*/ 60 h 4724"/>
                    <a:gd name="connsiteX3" fmla="*/ 1854 w 7416"/>
                    <a:gd name="connsiteY3" fmla="*/ 299 h 4724"/>
                    <a:gd name="connsiteX4" fmla="*/ 2751 w 7416"/>
                    <a:gd name="connsiteY4" fmla="*/ 658 h 4724"/>
                    <a:gd name="connsiteX5" fmla="*/ 3708 w 7416"/>
                    <a:gd name="connsiteY5" fmla="*/ 1136 h 4724"/>
                    <a:gd name="connsiteX6" fmla="*/ 4665 w 7416"/>
                    <a:gd name="connsiteY6" fmla="*/ 1675 h 4724"/>
                    <a:gd name="connsiteX7" fmla="*/ 5562 w 7416"/>
                    <a:gd name="connsiteY7" fmla="*/ 2273 h 4724"/>
                    <a:gd name="connsiteX8" fmla="*/ 6340 w 7416"/>
                    <a:gd name="connsiteY8" fmla="*/ 2871 h 4724"/>
                    <a:gd name="connsiteX9" fmla="*/ 6937 w 7416"/>
                    <a:gd name="connsiteY9" fmla="*/ 3469 h 4724"/>
                    <a:gd name="connsiteX10" fmla="*/ 7296 w 7416"/>
                    <a:gd name="connsiteY10" fmla="*/ 3947 h 4724"/>
                    <a:gd name="connsiteX11" fmla="*/ 7416 w 7416"/>
                    <a:gd name="connsiteY11" fmla="*/ 4366 h 4724"/>
                    <a:gd name="connsiteX12" fmla="*/ 7356 w 7416"/>
                    <a:gd name="connsiteY12" fmla="*/ 4486 h 4724"/>
                    <a:gd name="connsiteX13" fmla="*/ 7296 w 7416"/>
                    <a:gd name="connsiteY13" fmla="*/ 4605 h 4724"/>
                    <a:gd name="connsiteX14" fmla="*/ 7296 w 7416"/>
                    <a:gd name="connsiteY14" fmla="*/ 4605 h 4724"/>
                    <a:gd name="connsiteX15" fmla="*/ 6937 w 7416"/>
                    <a:gd name="connsiteY15" fmla="*/ 4725 h 4724"/>
                    <a:gd name="connsiteX16" fmla="*/ 6340 w 7416"/>
                    <a:gd name="connsiteY16" fmla="*/ 4665 h 4724"/>
                    <a:gd name="connsiteX17" fmla="*/ 5562 w 7416"/>
                    <a:gd name="connsiteY17" fmla="*/ 4426 h 4724"/>
                    <a:gd name="connsiteX18" fmla="*/ 4665 w 7416"/>
                    <a:gd name="connsiteY18" fmla="*/ 4067 h 4724"/>
                    <a:gd name="connsiteX19" fmla="*/ 3708 w 7416"/>
                    <a:gd name="connsiteY19" fmla="*/ 3588 h 4724"/>
                    <a:gd name="connsiteX20" fmla="*/ 2751 w 7416"/>
                    <a:gd name="connsiteY20" fmla="*/ 2990 h 4724"/>
                    <a:gd name="connsiteX21" fmla="*/ 1854 w 7416"/>
                    <a:gd name="connsiteY21" fmla="*/ 2392 h 4724"/>
                    <a:gd name="connsiteX22" fmla="*/ 1076 w 7416"/>
                    <a:gd name="connsiteY22" fmla="*/ 1794 h 4724"/>
                    <a:gd name="connsiteX23" fmla="*/ 478 w 7416"/>
                    <a:gd name="connsiteY23" fmla="*/ 1196 h 4724"/>
                    <a:gd name="connsiteX24" fmla="*/ 119 w 7416"/>
                    <a:gd name="connsiteY24" fmla="*/ 718 h 4724"/>
                    <a:gd name="connsiteX25" fmla="*/ 0 w 7416"/>
                    <a:gd name="connsiteY25" fmla="*/ 359 h 4724"/>
                    <a:gd name="connsiteX26" fmla="*/ 60 w 7416"/>
                    <a:gd name="connsiteY26" fmla="*/ 239 h 4724"/>
                    <a:gd name="connsiteX27" fmla="*/ 119 w 7416"/>
                    <a:gd name="connsiteY27" fmla="*/ 120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416" h="4724">
                      <a:moveTo>
                        <a:pt x="119" y="120"/>
                      </a:moveTo>
                      <a:lnTo>
                        <a:pt x="478" y="0"/>
                      </a:lnTo>
                      <a:lnTo>
                        <a:pt x="1076" y="60"/>
                      </a:lnTo>
                      <a:lnTo>
                        <a:pt x="1854" y="299"/>
                      </a:lnTo>
                      <a:lnTo>
                        <a:pt x="2751" y="658"/>
                      </a:lnTo>
                      <a:lnTo>
                        <a:pt x="3708" y="1136"/>
                      </a:lnTo>
                      <a:lnTo>
                        <a:pt x="4665" y="1675"/>
                      </a:lnTo>
                      <a:lnTo>
                        <a:pt x="5562" y="2273"/>
                      </a:lnTo>
                      <a:lnTo>
                        <a:pt x="6340" y="2871"/>
                      </a:lnTo>
                      <a:lnTo>
                        <a:pt x="6937" y="3469"/>
                      </a:lnTo>
                      <a:lnTo>
                        <a:pt x="7296" y="3947"/>
                      </a:lnTo>
                      <a:lnTo>
                        <a:pt x="7416" y="4366"/>
                      </a:lnTo>
                      <a:lnTo>
                        <a:pt x="7356" y="4486"/>
                      </a:lnTo>
                      <a:lnTo>
                        <a:pt x="7296" y="4605"/>
                      </a:lnTo>
                      <a:lnTo>
                        <a:pt x="7296" y="4605"/>
                      </a:lnTo>
                      <a:lnTo>
                        <a:pt x="6937" y="4725"/>
                      </a:lnTo>
                      <a:lnTo>
                        <a:pt x="6340" y="4665"/>
                      </a:lnTo>
                      <a:lnTo>
                        <a:pt x="5562" y="4426"/>
                      </a:lnTo>
                      <a:lnTo>
                        <a:pt x="4665" y="4067"/>
                      </a:lnTo>
                      <a:lnTo>
                        <a:pt x="3708" y="3588"/>
                      </a:lnTo>
                      <a:lnTo>
                        <a:pt x="2751" y="2990"/>
                      </a:lnTo>
                      <a:lnTo>
                        <a:pt x="1854" y="2392"/>
                      </a:lnTo>
                      <a:lnTo>
                        <a:pt x="1076" y="1794"/>
                      </a:lnTo>
                      <a:lnTo>
                        <a:pt x="478" y="1196"/>
                      </a:lnTo>
                      <a:lnTo>
                        <a:pt x="119" y="718"/>
                      </a:lnTo>
                      <a:lnTo>
                        <a:pt x="0" y="359"/>
                      </a:lnTo>
                      <a:lnTo>
                        <a:pt x="60" y="239"/>
                      </a:lnTo>
                      <a:lnTo>
                        <a:pt x="119" y="120"/>
                      </a:lnTo>
                    </a:path>
                  </a:pathLst>
                </a:custGeom>
                <a:noFill/>
                <a:ln w="6350" cap="rnd">
                  <a:solidFill>
                    <a:schemeClr val="bg1">
                      <a:alpha val="40000"/>
                    </a:schemeClr>
                  </a:solidFill>
                  <a:prstDash val="solid"/>
                  <a:round/>
                </a:ln>
              </p:spPr>
              <p:txBody>
                <a:bodyPr rtlCol="0" anchor="ctr"/>
                <a:lstStyle/>
                <a:p>
                  <a:endParaRPr lang="en-GB"/>
                </a:p>
              </p:txBody>
            </p:sp>
            <p:sp>
              <p:nvSpPr>
                <p:cNvPr id="5399" name="Vrije vorm: vorm 5398">
                  <a:extLst>
                    <a:ext uri="{FF2B5EF4-FFF2-40B4-BE49-F238E27FC236}">
                      <a16:creationId xmlns:a16="http://schemas.microsoft.com/office/drawing/2014/main" id="{2F3C84A0-3C14-4D13-8967-002ABBBFB492}"/>
                    </a:ext>
                  </a:extLst>
                </p:cNvPr>
                <p:cNvSpPr/>
                <p:nvPr/>
              </p:nvSpPr>
              <p:spPr>
                <a:xfrm>
                  <a:off x="6536949" y="1835284"/>
                  <a:ext cx="8612" cy="3588"/>
                </a:xfrm>
                <a:custGeom>
                  <a:avLst/>
                  <a:gdLst>
                    <a:gd name="connsiteX0" fmla="*/ 8612 w 8612"/>
                    <a:gd name="connsiteY0" fmla="*/ 3588 h 3588"/>
                    <a:gd name="connsiteX1" fmla="*/ 5861 w 8612"/>
                    <a:gd name="connsiteY1" fmla="*/ 2452 h 3588"/>
                    <a:gd name="connsiteX2" fmla="*/ 3110 w 8612"/>
                    <a:gd name="connsiteY2" fmla="*/ 1316 h 3588"/>
                    <a:gd name="connsiteX3" fmla="*/ 359 w 8612"/>
                    <a:gd name="connsiteY3" fmla="*/ 179 h 3588"/>
                    <a:gd name="connsiteX4" fmla="*/ 0 w 8612"/>
                    <a:gd name="connsiteY4" fmla="*/ 0 h 3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2" h="3588">
                      <a:moveTo>
                        <a:pt x="8612" y="3588"/>
                      </a:moveTo>
                      <a:lnTo>
                        <a:pt x="5861" y="2452"/>
                      </a:lnTo>
                      <a:lnTo>
                        <a:pt x="3110" y="1316"/>
                      </a:lnTo>
                      <a:lnTo>
                        <a:pt x="359" y="17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00" name="Vrije vorm: vorm 5399">
                  <a:extLst>
                    <a:ext uri="{FF2B5EF4-FFF2-40B4-BE49-F238E27FC236}">
                      <a16:creationId xmlns:a16="http://schemas.microsoft.com/office/drawing/2014/main" id="{4C5AF744-9968-4150-9B18-661C401ED0B9}"/>
                    </a:ext>
                  </a:extLst>
                </p:cNvPr>
                <p:cNvSpPr/>
                <p:nvPr/>
              </p:nvSpPr>
              <p:spPr>
                <a:xfrm>
                  <a:off x="6429953" y="1781637"/>
                  <a:ext cx="100057" cy="52211"/>
                </a:xfrm>
                <a:custGeom>
                  <a:avLst/>
                  <a:gdLst>
                    <a:gd name="connsiteX0" fmla="*/ 100058 w 100057"/>
                    <a:gd name="connsiteY0" fmla="*/ 50657 h 52211"/>
                    <a:gd name="connsiteX1" fmla="*/ 97605 w 100057"/>
                    <a:gd name="connsiteY1" fmla="*/ 51913 h 52211"/>
                    <a:gd name="connsiteX2" fmla="*/ 97008 w 100057"/>
                    <a:gd name="connsiteY2" fmla="*/ 52212 h 52211"/>
                    <a:gd name="connsiteX3" fmla="*/ 94077 w 100057"/>
                    <a:gd name="connsiteY3" fmla="*/ 51853 h 52211"/>
                    <a:gd name="connsiteX4" fmla="*/ 91147 w 100057"/>
                    <a:gd name="connsiteY4" fmla="*/ 51494 h 52211"/>
                    <a:gd name="connsiteX5" fmla="*/ 90010 w 100057"/>
                    <a:gd name="connsiteY5" fmla="*/ 51374 h 52211"/>
                    <a:gd name="connsiteX6" fmla="*/ 87199 w 100057"/>
                    <a:gd name="connsiteY6" fmla="*/ 50477 h 52211"/>
                    <a:gd name="connsiteX7" fmla="*/ 84388 w 100057"/>
                    <a:gd name="connsiteY7" fmla="*/ 49580 h 52211"/>
                    <a:gd name="connsiteX8" fmla="*/ 81577 w 100057"/>
                    <a:gd name="connsiteY8" fmla="*/ 48683 h 52211"/>
                    <a:gd name="connsiteX9" fmla="*/ 79424 w 100057"/>
                    <a:gd name="connsiteY9" fmla="*/ 47965 h 52211"/>
                    <a:gd name="connsiteX10" fmla="*/ 76673 w 100057"/>
                    <a:gd name="connsiteY10" fmla="*/ 46769 h 52211"/>
                    <a:gd name="connsiteX11" fmla="*/ 73922 w 100057"/>
                    <a:gd name="connsiteY11" fmla="*/ 45573 h 52211"/>
                    <a:gd name="connsiteX12" fmla="*/ 71171 w 100057"/>
                    <a:gd name="connsiteY12" fmla="*/ 44377 h 52211"/>
                    <a:gd name="connsiteX13" fmla="*/ 68419 w 100057"/>
                    <a:gd name="connsiteY13" fmla="*/ 43181 h 52211"/>
                    <a:gd name="connsiteX14" fmla="*/ 65728 w 100057"/>
                    <a:gd name="connsiteY14" fmla="*/ 41985 h 52211"/>
                    <a:gd name="connsiteX15" fmla="*/ 63097 w 100057"/>
                    <a:gd name="connsiteY15" fmla="*/ 40609 h 52211"/>
                    <a:gd name="connsiteX16" fmla="*/ 60465 w 100057"/>
                    <a:gd name="connsiteY16" fmla="*/ 39234 h 52211"/>
                    <a:gd name="connsiteX17" fmla="*/ 57834 w 100057"/>
                    <a:gd name="connsiteY17" fmla="*/ 37858 h 52211"/>
                    <a:gd name="connsiteX18" fmla="*/ 55202 w 100057"/>
                    <a:gd name="connsiteY18" fmla="*/ 36482 h 52211"/>
                    <a:gd name="connsiteX19" fmla="*/ 52571 w 100057"/>
                    <a:gd name="connsiteY19" fmla="*/ 35107 h 52211"/>
                    <a:gd name="connsiteX20" fmla="*/ 50298 w 100057"/>
                    <a:gd name="connsiteY20" fmla="*/ 33970 h 52211"/>
                    <a:gd name="connsiteX21" fmla="*/ 47726 w 100057"/>
                    <a:gd name="connsiteY21" fmla="*/ 32475 h 52211"/>
                    <a:gd name="connsiteX22" fmla="*/ 45155 w 100057"/>
                    <a:gd name="connsiteY22" fmla="*/ 30980 h 52211"/>
                    <a:gd name="connsiteX23" fmla="*/ 43241 w 100057"/>
                    <a:gd name="connsiteY23" fmla="*/ 29844 h 52211"/>
                    <a:gd name="connsiteX24" fmla="*/ 40669 w 100057"/>
                    <a:gd name="connsiteY24" fmla="*/ 28349 h 52211"/>
                    <a:gd name="connsiteX25" fmla="*/ 38098 w 100057"/>
                    <a:gd name="connsiteY25" fmla="*/ 26853 h 52211"/>
                    <a:gd name="connsiteX26" fmla="*/ 35526 w 100057"/>
                    <a:gd name="connsiteY26" fmla="*/ 25358 h 52211"/>
                    <a:gd name="connsiteX27" fmla="*/ 34330 w 100057"/>
                    <a:gd name="connsiteY27" fmla="*/ 24641 h 52211"/>
                    <a:gd name="connsiteX28" fmla="*/ 31817 w 100057"/>
                    <a:gd name="connsiteY28" fmla="*/ 23026 h 52211"/>
                    <a:gd name="connsiteX29" fmla="*/ 29306 w 100057"/>
                    <a:gd name="connsiteY29" fmla="*/ 21411 h 52211"/>
                    <a:gd name="connsiteX30" fmla="*/ 27512 w 100057"/>
                    <a:gd name="connsiteY30" fmla="*/ 20275 h 52211"/>
                    <a:gd name="connsiteX31" fmla="*/ 25000 w 100057"/>
                    <a:gd name="connsiteY31" fmla="*/ 18660 h 52211"/>
                    <a:gd name="connsiteX32" fmla="*/ 22488 w 100057"/>
                    <a:gd name="connsiteY32" fmla="*/ 17045 h 52211"/>
                    <a:gd name="connsiteX33" fmla="*/ 19976 w 100057"/>
                    <a:gd name="connsiteY33" fmla="*/ 15430 h 52211"/>
                    <a:gd name="connsiteX34" fmla="*/ 19138 w 100057"/>
                    <a:gd name="connsiteY34" fmla="*/ 14892 h 52211"/>
                    <a:gd name="connsiteX35" fmla="*/ 16746 w 100057"/>
                    <a:gd name="connsiteY35" fmla="*/ 13158 h 52211"/>
                    <a:gd name="connsiteX36" fmla="*/ 14354 w 100057"/>
                    <a:gd name="connsiteY36" fmla="*/ 11423 h 52211"/>
                    <a:gd name="connsiteX37" fmla="*/ 11961 w 100057"/>
                    <a:gd name="connsiteY37" fmla="*/ 9689 h 52211"/>
                    <a:gd name="connsiteX38" fmla="*/ 9569 w 100057"/>
                    <a:gd name="connsiteY38" fmla="*/ 7954 h 52211"/>
                    <a:gd name="connsiteX39" fmla="*/ 7177 w 100057"/>
                    <a:gd name="connsiteY39" fmla="*/ 6220 h 52211"/>
                    <a:gd name="connsiteX40" fmla="*/ 6340 w 100057"/>
                    <a:gd name="connsiteY40" fmla="*/ 5562 h 52211"/>
                    <a:gd name="connsiteX41" fmla="*/ 4127 w 100057"/>
                    <a:gd name="connsiteY41" fmla="*/ 3588 h 52211"/>
                    <a:gd name="connsiteX42" fmla="*/ 1914 w 100057"/>
                    <a:gd name="connsiteY42" fmla="*/ 1675 h 52211"/>
                    <a:gd name="connsiteX43" fmla="*/ 0 w 100057"/>
                    <a:gd name="connsiteY43" fmla="*/ 0 h 5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0057" h="52211">
                      <a:moveTo>
                        <a:pt x="100058" y="50657"/>
                      </a:moveTo>
                      <a:lnTo>
                        <a:pt x="97605" y="51913"/>
                      </a:lnTo>
                      <a:lnTo>
                        <a:pt x="97008" y="52212"/>
                      </a:lnTo>
                      <a:lnTo>
                        <a:pt x="94077" y="51853"/>
                      </a:lnTo>
                      <a:lnTo>
                        <a:pt x="91147" y="51494"/>
                      </a:lnTo>
                      <a:lnTo>
                        <a:pt x="90010" y="51374"/>
                      </a:lnTo>
                      <a:lnTo>
                        <a:pt x="87199" y="50477"/>
                      </a:lnTo>
                      <a:lnTo>
                        <a:pt x="84388" y="49580"/>
                      </a:lnTo>
                      <a:lnTo>
                        <a:pt x="81577" y="48683"/>
                      </a:lnTo>
                      <a:lnTo>
                        <a:pt x="79424" y="47965"/>
                      </a:lnTo>
                      <a:lnTo>
                        <a:pt x="76673" y="46769"/>
                      </a:lnTo>
                      <a:lnTo>
                        <a:pt x="73922" y="45573"/>
                      </a:lnTo>
                      <a:lnTo>
                        <a:pt x="71171" y="44377"/>
                      </a:lnTo>
                      <a:lnTo>
                        <a:pt x="68419" y="43181"/>
                      </a:lnTo>
                      <a:lnTo>
                        <a:pt x="65728" y="41985"/>
                      </a:lnTo>
                      <a:lnTo>
                        <a:pt x="63097" y="40609"/>
                      </a:lnTo>
                      <a:lnTo>
                        <a:pt x="60465" y="39234"/>
                      </a:lnTo>
                      <a:lnTo>
                        <a:pt x="57834" y="37858"/>
                      </a:lnTo>
                      <a:lnTo>
                        <a:pt x="55202" y="36482"/>
                      </a:lnTo>
                      <a:lnTo>
                        <a:pt x="52571" y="35107"/>
                      </a:lnTo>
                      <a:lnTo>
                        <a:pt x="50298" y="33970"/>
                      </a:lnTo>
                      <a:lnTo>
                        <a:pt x="47726" y="32475"/>
                      </a:lnTo>
                      <a:lnTo>
                        <a:pt x="45155" y="30980"/>
                      </a:lnTo>
                      <a:lnTo>
                        <a:pt x="43241" y="29844"/>
                      </a:lnTo>
                      <a:lnTo>
                        <a:pt x="40669" y="28349"/>
                      </a:lnTo>
                      <a:lnTo>
                        <a:pt x="38098" y="26853"/>
                      </a:lnTo>
                      <a:lnTo>
                        <a:pt x="35526" y="25358"/>
                      </a:lnTo>
                      <a:lnTo>
                        <a:pt x="34330" y="24641"/>
                      </a:lnTo>
                      <a:lnTo>
                        <a:pt x="31817" y="23026"/>
                      </a:lnTo>
                      <a:lnTo>
                        <a:pt x="29306" y="21411"/>
                      </a:lnTo>
                      <a:lnTo>
                        <a:pt x="27512" y="20275"/>
                      </a:lnTo>
                      <a:lnTo>
                        <a:pt x="25000" y="18660"/>
                      </a:lnTo>
                      <a:lnTo>
                        <a:pt x="22488" y="17045"/>
                      </a:lnTo>
                      <a:lnTo>
                        <a:pt x="19976" y="15430"/>
                      </a:lnTo>
                      <a:lnTo>
                        <a:pt x="19138" y="14892"/>
                      </a:lnTo>
                      <a:lnTo>
                        <a:pt x="16746" y="13158"/>
                      </a:lnTo>
                      <a:lnTo>
                        <a:pt x="14354" y="11423"/>
                      </a:lnTo>
                      <a:lnTo>
                        <a:pt x="11961" y="9689"/>
                      </a:lnTo>
                      <a:lnTo>
                        <a:pt x="9569" y="7954"/>
                      </a:lnTo>
                      <a:lnTo>
                        <a:pt x="7177" y="6220"/>
                      </a:lnTo>
                      <a:lnTo>
                        <a:pt x="6340" y="5562"/>
                      </a:lnTo>
                      <a:lnTo>
                        <a:pt x="4127" y="3588"/>
                      </a:lnTo>
                      <a:lnTo>
                        <a:pt x="1914" y="167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01" name="Vrije vorm: vorm 5400">
                  <a:extLst>
                    <a:ext uri="{FF2B5EF4-FFF2-40B4-BE49-F238E27FC236}">
                      <a16:creationId xmlns:a16="http://schemas.microsoft.com/office/drawing/2014/main" id="{326741CE-BE31-4392-B471-72F372A32F05}"/>
                    </a:ext>
                  </a:extLst>
                </p:cNvPr>
                <p:cNvSpPr/>
                <p:nvPr/>
              </p:nvSpPr>
              <p:spPr>
                <a:xfrm>
                  <a:off x="6419009" y="1766028"/>
                  <a:ext cx="6758" cy="11542"/>
                </a:xfrm>
                <a:custGeom>
                  <a:avLst/>
                  <a:gdLst>
                    <a:gd name="connsiteX0" fmla="*/ 6758 w 6758"/>
                    <a:gd name="connsiteY0" fmla="*/ 11543 h 11542"/>
                    <a:gd name="connsiteX1" fmla="*/ 6399 w 6758"/>
                    <a:gd name="connsiteY1" fmla="*/ 11184 h 11542"/>
                    <a:gd name="connsiteX2" fmla="*/ 4426 w 6758"/>
                    <a:gd name="connsiteY2" fmla="*/ 8971 h 11542"/>
                    <a:gd name="connsiteX3" fmla="*/ 2452 w 6758"/>
                    <a:gd name="connsiteY3" fmla="*/ 6758 h 11542"/>
                    <a:gd name="connsiteX4" fmla="*/ 478 w 6758"/>
                    <a:gd name="connsiteY4" fmla="*/ 4545 h 11542"/>
                    <a:gd name="connsiteX5" fmla="*/ 0 w 6758"/>
                    <a:gd name="connsiteY5" fmla="*/ 3947 h 11542"/>
                    <a:gd name="connsiteX6" fmla="*/ 0 w 6758"/>
                    <a:gd name="connsiteY6" fmla="*/ 3947 h 11542"/>
                    <a:gd name="connsiteX7" fmla="*/ 299 w 6758"/>
                    <a:gd name="connsiteY7" fmla="*/ 1136 h 11542"/>
                    <a:gd name="connsiteX8" fmla="*/ 419 w 6758"/>
                    <a:gd name="connsiteY8" fmla="*/ 0 h 1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58" h="11542">
                      <a:moveTo>
                        <a:pt x="6758" y="11543"/>
                      </a:moveTo>
                      <a:lnTo>
                        <a:pt x="6399" y="11184"/>
                      </a:lnTo>
                      <a:lnTo>
                        <a:pt x="4426" y="8971"/>
                      </a:lnTo>
                      <a:lnTo>
                        <a:pt x="2452" y="6758"/>
                      </a:lnTo>
                      <a:lnTo>
                        <a:pt x="478" y="4545"/>
                      </a:lnTo>
                      <a:lnTo>
                        <a:pt x="0" y="3947"/>
                      </a:lnTo>
                      <a:lnTo>
                        <a:pt x="0" y="3947"/>
                      </a:lnTo>
                      <a:lnTo>
                        <a:pt x="299" y="1136"/>
                      </a:lnTo>
                      <a:lnTo>
                        <a:pt x="419" y="0"/>
                      </a:lnTo>
                    </a:path>
                  </a:pathLst>
                </a:custGeom>
                <a:noFill/>
                <a:ln w="6350" cap="rnd">
                  <a:solidFill>
                    <a:schemeClr val="bg1">
                      <a:alpha val="40000"/>
                    </a:schemeClr>
                  </a:solidFill>
                  <a:prstDash val="solid"/>
                  <a:round/>
                </a:ln>
              </p:spPr>
              <p:txBody>
                <a:bodyPr rtlCol="0" anchor="ctr"/>
                <a:lstStyle/>
                <a:p>
                  <a:endParaRPr lang="en-GB"/>
                </a:p>
              </p:txBody>
            </p:sp>
            <p:sp>
              <p:nvSpPr>
                <p:cNvPr id="5402" name="Vrije vorm: vorm 5401">
                  <a:extLst>
                    <a:ext uri="{FF2B5EF4-FFF2-40B4-BE49-F238E27FC236}">
                      <a16:creationId xmlns:a16="http://schemas.microsoft.com/office/drawing/2014/main" id="{A2794769-2183-4DCC-8494-2D90E2637453}"/>
                    </a:ext>
                  </a:extLst>
                </p:cNvPr>
                <p:cNvSpPr/>
                <p:nvPr/>
              </p:nvSpPr>
              <p:spPr>
                <a:xfrm>
                  <a:off x="6392275" y="1734270"/>
                  <a:ext cx="62438" cy="30800"/>
                </a:xfrm>
                <a:custGeom>
                  <a:avLst/>
                  <a:gdLst>
                    <a:gd name="connsiteX0" fmla="*/ 62439 w 62438"/>
                    <a:gd name="connsiteY0" fmla="*/ 30801 h 30800"/>
                    <a:gd name="connsiteX1" fmla="*/ 59747 w 62438"/>
                    <a:gd name="connsiteY1" fmla="*/ 29485 h 30800"/>
                    <a:gd name="connsiteX2" fmla="*/ 57056 w 62438"/>
                    <a:gd name="connsiteY2" fmla="*/ 28169 h 30800"/>
                    <a:gd name="connsiteX3" fmla="*/ 54365 w 62438"/>
                    <a:gd name="connsiteY3" fmla="*/ 26853 h 30800"/>
                    <a:gd name="connsiteX4" fmla="*/ 51674 w 62438"/>
                    <a:gd name="connsiteY4" fmla="*/ 25538 h 30800"/>
                    <a:gd name="connsiteX5" fmla="*/ 49640 w 62438"/>
                    <a:gd name="connsiteY5" fmla="*/ 24521 h 30800"/>
                    <a:gd name="connsiteX6" fmla="*/ 46889 w 62438"/>
                    <a:gd name="connsiteY6" fmla="*/ 23385 h 30800"/>
                    <a:gd name="connsiteX7" fmla="*/ 44138 w 62438"/>
                    <a:gd name="connsiteY7" fmla="*/ 22248 h 30800"/>
                    <a:gd name="connsiteX8" fmla="*/ 41387 w 62438"/>
                    <a:gd name="connsiteY8" fmla="*/ 21112 h 30800"/>
                    <a:gd name="connsiteX9" fmla="*/ 38636 w 62438"/>
                    <a:gd name="connsiteY9" fmla="*/ 19976 h 30800"/>
                    <a:gd name="connsiteX10" fmla="*/ 37678 w 62438"/>
                    <a:gd name="connsiteY10" fmla="*/ 19557 h 30800"/>
                    <a:gd name="connsiteX11" fmla="*/ 34868 w 62438"/>
                    <a:gd name="connsiteY11" fmla="*/ 18600 h 30800"/>
                    <a:gd name="connsiteX12" fmla="*/ 32057 w 62438"/>
                    <a:gd name="connsiteY12" fmla="*/ 17643 h 30800"/>
                    <a:gd name="connsiteX13" fmla="*/ 29246 w 62438"/>
                    <a:gd name="connsiteY13" fmla="*/ 16686 h 30800"/>
                    <a:gd name="connsiteX14" fmla="*/ 28588 w 62438"/>
                    <a:gd name="connsiteY14" fmla="*/ 16447 h 30800"/>
                    <a:gd name="connsiteX15" fmla="*/ 25897 w 62438"/>
                    <a:gd name="connsiteY15" fmla="*/ 15131 h 30800"/>
                    <a:gd name="connsiteX16" fmla="*/ 23205 w 62438"/>
                    <a:gd name="connsiteY16" fmla="*/ 13815 h 30800"/>
                    <a:gd name="connsiteX17" fmla="*/ 20514 w 62438"/>
                    <a:gd name="connsiteY17" fmla="*/ 12500 h 30800"/>
                    <a:gd name="connsiteX18" fmla="*/ 17823 w 62438"/>
                    <a:gd name="connsiteY18" fmla="*/ 11184 h 30800"/>
                    <a:gd name="connsiteX19" fmla="*/ 15131 w 62438"/>
                    <a:gd name="connsiteY19" fmla="*/ 9868 h 30800"/>
                    <a:gd name="connsiteX20" fmla="*/ 12440 w 62438"/>
                    <a:gd name="connsiteY20" fmla="*/ 8552 h 30800"/>
                    <a:gd name="connsiteX21" fmla="*/ 9749 w 62438"/>
                    <a:gd name="connsiteY21" fmla="*/ 7237 h 30800"/>
                    <a:gd name="connsiteX22" fmla="*/ 7057 w 62438"/>
                    <a:gd name="connsiteY22" fmla="*/ 5921 h 30800"/>
                    <a:gd name="connsiteX23" fmla="*/ 5024 w 62438"/>
                    <a:gd name="connsiteY23" fmla="*/ 4904 h 30800"/>
                    <a:gd name="connsiteX24" fmla="*/ 2871 w 62438"/>
                    <a:gd name="connsiteY24" fmla="*/ 2811 h 30800"/>
                    <a:gd name="connsiteX25" fmla="*/ 718 w 62438"/>
                    <a:gd name="connsiteY25" fmla="*/ 718 h 30800"/>
                    <a:gd name="connsiteX26" fmla="*/ 0 w 62438"/>
                    <a:gd name="connsiteY26" fmla="*/ 0 h 30800"/>
                    <a:gd name="connsiteX27" fmla="*/ 2691 w 62438"/>
                    <a:gd name="connsiteY27" fmla="*/ 1256 h 30800"/>
                    <a:gd name="connsiteX28" fmla="*/ 5383 w 62438"/>
                    <a:gd name="connsiteY28" fmla="*/ 2512 h 30800"/>
                    <a:gd name="connsiteX29" fmla="*/ 8074 w 62438"/>
                    <a:gd name="connsiteY29" fmla="*/ 3768 h 30800"/>
                    <a:gd name="connsiteX30" fmla="*/ 10765 w 62438"/>
                    <a:gd name="connsiteY30" fmla="*/ 5024 h 30800"/>
                    <a:gd name="connsiteX31" fmla="*/ 13457 w 62438"/>
                    <a:gd name="connsiteY31" fmla="*/ 6280 h 30800"/>
                    <a:gd name="connsiteX32" fmla="*/ 16148 w 62438"/>
                    <a:gd name="connsiteY32" fmla="*/ 7536 h 30800"/>
                    <a:gd name="connsiteX33" fmla="*/ 18839 w 62438"/>
                    <a:gd name="connsiteY33" fmla="*/ 8792 h 30800"/>
                    <a:gd name="connsiteX34" fmla="*/ 21531 w 62438"/>
                    <a:gd name="connsiteY34" fmla="*/ 10048 h 30800"/>
                    <a:gd name="connsiteX35" fmla="*/ 24222 w 62438"/>
                    <a:gd name="connsiteY35" fmla="*/ 11304 h 30800"/>
                    <a:gd name="connsiteX36" fmla="*/ 26913 w 62438"/>
                    <a:gd name="connsiteY36" fmla="*/ 12559 h 30800"/>
                    <a:gd name="connsiteX37" fmla="*/ 29605 w 62438"/>
                    <a:gd name="connsiteY37" fmla="*/ 13815 h 30800"/>
                    <a:gd name="connsiteX38" fmla="*/ 32296 w 62438"/>
                    <a:gd name="connsiteY38" fmla="*/ 15071 h 30800"/>
                    <a:gd name="connsiteX39" fmla="*/ 34987 w 62438"/>
                    <a:gd name="connsiteY39" fmla="*/ 16327 h 30800"/>
                    <a:gd name="connsiteX40" fmla="*/ 37678 w 62438"/>
                    <a:gd name="connsiteY40" fmla="*/ 17583 h 30800"/>
                    <a:gd name="connsiteX41" fmla="*/ 40370 w 62438"/>
                    <a:gd name="connsiteY41" fmla="*/ 18839 h 30800"/>
                    <a:gd name="connsiteX42" fmla="*/ 43061 w 62438"/>
                    <a:gd name="connsiteY42" fmla="*/ 20095 h 30800"/>
                    <a:gd name="connsiteX43" fmla="*/ 45753 w 62438"/>
                    <a:gd name="connsiteY43" fmla="*/ 21351 h 30800"/>
                    <a:gd name="connsiteX44" fmla="*/ 48444 w 62438"/>
                    <a:gd name="connsiteY44" fmla="*/ 22607 h 30800"/>
                    <a:gd name="connsiteX45" fmla="*/ 51135 w 62438"/>
                    <a:gd name="connsiteY45" fmla="*/ 23863 h 30800"/>
                    <a:gd name="connsiteX46" fmla="*/ 53827 w 62438"/>
                    <a:gd name="connsiteY46" fmla="*/ 25119 h 30800"/>
                    <a:gd name="connsiteX47" fmla="*/ 56518 w 62438"/>
                    <a:gd name="connsiteY47" fmla="*/ 26375 h 30800"/>
                    <a:gd name="connsiteX48" fmla="*/ 59209 w 62438"/>
                    <a:gd name="connsiteY48" fmla="*/ 27631 h 30800"/>
                    <a:gd name="connsiteX49" fmla="*/ 60406 w 62438"/>
                    <a:gd name="connsiteY49" fmla="*/ 28169 h 3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2438" h="30800">
                      <a:moveTo>
                        <a:pt x="62439" y="30801"/>
                      </a:moveTo>
                      <a:lnTo>
                        <a:pt x="59747" y="29485"/>
                      </a:lnTo>
                      <a:lnTo>
                        <a:pt x="57056" y="28169"/>
                      </a:lnTo>
                      <a:lnTo>
                        <a:pt x="54365" y="26853"/>
                      </a:lnTo>
                      <a:lnTo>
                        <a:pt x="51674" y="25538"/>
                      </a:lnTo>
                      <a:lnTo>
                        <a:pt x="49640" y="24521"/>
                      </a:lnTo>
                      <a:lnTo>
                        <a:pt x="46889" y="23385"/>
                      </a:lnTo>
                      <a:lnTo>
                        <a:pt x="44138" y="22248"/>
                      </a:lnTo>
                      <a:lnTo>
                        <a:pt x="41387" y="21112"/>
                      </a:lnTo>
                      <a:lnTo>
                        <a:pt x="38636" y="19976"/>
                      </a:lnTo>
                      <a:lnTo>
                        <a:pt x="37678" y="19557"/>
                      </a:lnTo>
                      <a:lnTo>
                        <a:pt x="34868" y="18600"/>
                      </a:lnTo>
                      <a:lnTo>
                        <a:pt x="32057" y="17643"/>
                      </a:lnTo>
                      <a:lnTo>
                        <a:pt x="29246" y="16686"/>
                      </a:lnTo>
                      <a:lnTo>
                        <a:pt x="28588" y="16447"/>
                      </a:lnTo>
                      <a:lnTo>
                        <a:pt x="25897" y="15131"/>
                      </a:lnTo>
                      <a:lnTo>
                        <a:pt x="23205" y="13815"/>
                      </a:lnTo>
                      <a:lnTo>
                        <a:pt x="20514" y="12500"/>
                      </a:lnTo>
                      <a:lnTo>
                        <a:pt x="17823" y="11184"/>
                      </a:lnTo>
                      <a:lnTo>
                        <a:pt x="15131" y="9868"/>
                      </a:lnTo>
                      <a:lnTo>
                        <a:pt x="12440" y="8552"/>
                      </a:lnTo>
                      <a:lnTo>
                        <a:pt x="9749" y="7237"/>
                      </a:lnTo>
                      <a:lnTo>
                        <a:pt x="7057" y="5921"/>
                      </a:lnTo>
                      <a:lnTo>
                        <a:pt x="5024" y="4904"/>
                      </a:lnTo>
                      <a:lnTo>
                        <a:pt x="2871" y="2811"/>
                      </a:lnTo>
                      <a:lnTo>
                        <a:pt x="718" y="718"/>
                      </a:lnTo>
                      <a:lnTo>
                        <a:pt x="0" y="0"/>
                      </a:lnTo>
                      <a:lnTo>
                        <a:pt x="2691" y="1256"/>
                      </a:lnTo>
                      <a:lnTo>
                        <a:pt x="5383" y="2512"/>
                      </a:lnTo>
                      <a:lnTo>
                        <a:pt x="8074" y="3768"/>
                      </a:lnTo>
                      <a:lnTo>
                        <a:pt x="10765" y="5024"/>
                      </a:lnTo>
                      <a:lnTo>
                        <a:pt x="13457" y="6280"/>
                      </a:lnTo>
                      <a:lnTo>
                        <a:pt x="16148" y="7536"/>
                      </a:lnTo>
                      <a:lnTo>
                        <a:pt x="18839" y="8792"/>
                      </a:lnTo>
                      <a:lnTo>
                        <a:pt x="21531" y="10048"/>
                      </a:lnTo>
                      <a:lnTo>
                        <a:pt x="24222" y="11304"/>
                      </a:lnTo>
                      <a:lnTo>
                        <a:pt x="26913" y="12559"/>
                      </a:lnTo>
                      <a:lnTo>
                        <a:pt x="29605" y="13815"/>
                      </a:lnTo>
                      <a:lnTo>
                        <a:pt x="32296" y="15071"/>
                      </a:lnTo>
                      <a:lnTo>
                        <a:pt x="34987" y="16327"/>
                      </a:lnTo>
                      <a:lnTo>
                        <a:pt x="37678" y="17583"/>
                      </a:lnTo>
                      <a:lnTo>
                        <a:pt x="40370" y="18839"/>
                      </a:lnTo>
                      <a:lnTo>
                        <a:pt x="43061" y="20095"/>
                      </a:lnTo>
                      <a:lnTo>
                        <a:pt x="45753" y="21351"/>
                      </a:lnTo>
                      <a:lnTo>
                        <a:pt x="48444" y="22607"/>
                      </a:lnTo>
                      <a:lnTo>
                        <a:pt x="51135" y="23863"/>
                      </a:lnTo>
                      <a:lnTo>
                        <a:pt x="53827" y="25119"/>
                      </a:lnTo>
                      <a:lnTo>
                        <a:pt x="56518" y="26375"/>
                      </a:lnTo>
                      <a:lnTo>
                        <a:pt x="59209" y="27631"/>
                      </a:lnTo>
                      <a:lnTo>
                        <a:pt x="60406" y="28169"/>
                      </a:lnTo>
                    </a:path>
                  </a:pathLst>
                </a:custGeom>
                <a:noFill/>
                <a:ln w="6350" cap="rnd">
                  <a:solidFill>
                    <a:schemeClr val="bg1">
                      <a:alpha val="40000"/>
                    </a:schemeClr>
                  </a:solidFill>
                  <a:prstDash val="solid"/>
                  <a:round/>
                </a:ln>
              </p:spPr>
              <p:txBody>
                <a:bodyPr rtlCol="0" anchor="ctr"/>
                <a:lstStyle/>
                <a:p>
                  <a:endParaRPr lang="en-GB"/>
                </a:p>
              </p:txBody>
            </p:sp>
            <p:sp>
              <p:nvSpPr>
                <p:cNvPr id="5403" name="Vrije vorm: vorm 5402">
                  <a:extLst>
                    <a:ext uri="{FF2B5EF4-FFF2-40B4-BE49-F238E27FC236}">
                      <a16:creationId xmlns:a16="http://schemas.microsoft.com/office/drawing/2014/main" id="{4ACE9844-F072-436C-AEF8-C90984E84275}"/>
                    </a:ext>
                  </a:extLst>
                </p:cNvPr>
                <p:cNvSpPr/>
                <p:nvPr/>
              </p:nvSpPr>
              <p:spPr>
                <a:xfrm>
                  <a:off x="6381330" y="1730562"/>
                  <a:ext cx="71230" cy="30681"/>
                </a:xfrm>
                <a:custGeom>
                  <a:avLst/>
                  <a:gdLst>
                    <a:gd name="connsiteX0" fmla="*/ 0 w 71230"/>
                    <a:gd name="connsiteY0" fmla="*/ 9270 h 30681"/>
                    <a:gd name="connsiteX1" fmla="*/ 299 w 71230"/>
                    <a:gd name="connsiteY1" fmla="*/ 8732 h 30681"/>
                    <a:gd name="connsiteX2" fmla="*/ 1734 w 71230"/>
                    <a:gd name="connsiteY2" fmla="*/ 6280 h 30681"/>
                    <a:gd name="connsiteX3" fmla="*/ 3170 w 71230"/>
                    <a:gd name="connsiteY3" fmla="*/ 3828 h 30681"/>
                    <a:gd name="connsiteX4" fmla="*/ 4605 w 71230"/>
                    <a:gd name="connsiteY4" fmla="*/ 1376 h 30681"/>
                    <a:gd name="connsiteX5" fmla="*/ 5442 w 71230"/>
                    <a:gd name="connsiteY5" fmla="*/ 0 h 30681"/>
                    <a:gd name="connsiteX6" fmla="*/ 8134 w 71230"/>
                    <a:gd name="connsiteY6" fmla="*/ 1256 h 30681"/>
                    <a:gd name="connsiteX7" fmla="*/ 10825 w 71230"/>
                    <a:gd name="connsiteY7" fmla="*/ 2512 h 30681"/>
                    <a:gd name="connsiteX8" fmla="*/ 13516 w 71230"/>
                    <a:gd name="connsiteY8" fmla="*/ 3768 h 30681"/>
                    <a:gd name="connsiteX9" fmla="*/ 16208 w 71230"/>
                    <a:gd name="connsiteY9" fmla="*/ 5024 h 30681"/>
                    <a:gd name="connsiteX10" fmla="*/ 18899 w 71230"/>
                    <a:gd name="connsiteY10" fmla="*/ 6280 h 30681"/>
                    <a:gd name="connsiteX11" fmla="*/ 21590 w 71230"/>
                    <a:gd name="connsiteY11" fmla="*/ 7536 h 30681"/>
                    <a:gd name="connsiteX12" fmla="*/ 24282 w 71230"/>
                    <a:gd name="connsiteY12" fmla="*/ 8792 h 30681"/>
                    <a:gd name="connsiteX13" fmla="*/ 26973 w 71230"/>
                    <a:gd name="connsiteY13" fmla="*/ 10048 h 30681"/>
                    <a:gd name="connsiteX14" fmla="*/ 29664 w 71230"/>
                    <a:gd name="connsiteY14" fmla="*/ 11304 h 30681"/>
                    <a:gd name="connsiteX15" fmla="*/ 32356 w 71230"/>
                    <a:gd name="connsiteY15" fmla="*/ 12559 h 30681"/>
                    <a:gd name="connsiteX16" fmla="*/ 35047 w 71230"/>
                    <a:gd name="connsiteY16" fmla="*/ 13815 h 30681"/>
                    <a:gd name="connsiteX17" fmla="*/ 37738 w 71230"/>
                    <a:gd name="connsiteY17" fmla="*/ 15071 h 30681"/>
                    <a:gd name="connsiteX18" fmla="*/ 40429 w 71230"/>
                    <a:gd name="connsiteY18" fmla="*/ 16327 h 30681"/>
                    <a:gd name="connsiteX19" fmla="*/ 43121 w 71230"/>
                    <a:gd name="connsiteY19" fmla="*/ 17583 h 30681"/>
                    <a:gd name="connsiteX20" fmla="*/ 45812 w 71230"/>
                    <a:gd name="connsiteY20" fmla="*/ 18839 h 30681"/>
                    <a:gd name="connsiteX21" fmla="*/ 48504 w 71230"/>
                    <a:gd name="connsiteY21" fmla="*/ 20095 h 30681"/>
                    <a:gd name="connsiteX22" fmla="*/ 51195 w 71230"/>
                    <a:gd name="connsiteY22" fmla="*/ 21351 h 30681"/>
                    <a:gd name="connsiteX23" fmla="*/ 53886 w 71230"/>
                    <a:gd name="connsiteY23" fmla="*/ 22607 h 30681"/>
                    <a:gd name="connsiteX24" fmla="*/ 56577 w 71230"/>
                    <a:gd name="connsiteY24" fmla="*/ 23863 h 30681"/>
                    <a:gd name="connsiteX25" fmla="*/ 59269 w 71230"/>
                    <a:gd name="connsiteY25" fmla="*/ 25119 h 30681"/>
                    <a:gd name="connsiteX26" fmla="*/ 61960 w 71230"/>
                    <a:gd name="connsiteY26" fmla="*/ 26375 h 30681"/>
                    <a:gd name="connsiteX27" fmla="*/ 64652 w 71230"/>
                    <a:gd name="connsiteY27" fmla="*/ 27631 h 30681"/>
                    <a:gd name="connsiteX28" fmla="*/ 67343 w 71230"/>
                    <a:gd name="connsiteY28" fmla="*/ 28887 h 30681"/>
                    <a:gd name="connsiteX29" fmla="*/ 70034 w 71230"/>
                    <a:gd name="connsiteY29" fmla="*/ 30143 h 30681"/>
                    <a:gd name="connsiteX30" fmla="*/ 71230 w 71230"/>
                    <a:gd name="connsiteY30" fmla="*/ 30681 h 3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230" h="30681">
                      <a:moveTo>
                        <a:pt x="0" y="9270"/>
                      </a:moveTo>
                      <a:lnTo>
                        <a:pt x="299" y="8732"/>
                      </a:lnTo>
                      <a:lnTo>
                        <a:pt x="1734" y="6280"/>
                      </a:lnTo>
                      <a:lnTo>
                        <a:pt x="3170" y="3828"/>
                      </a:lnTo>
                      <a:lnTo>
                        <a:pt x="4605" y="1376"/>
                      </a:lnTo>
                      <a:lnTo>
                        <a:pt x="5442" y="0"/>
                      </a:lnTo>
                      <a:lnTo>
                        <a:pt x="8134" y="1256"/>
                      </a:lnTo>
                      <a:lnTo>
                        <a:pt x="10825" y="2512"/>
                      </a:lnTo>
                      <a:lnTo>
                        <a:pt x="13516" y="3768"/>
                      </a:lnTo>
                      <a:lnTo>
                        <a:pt x="16208" y="5024"/>
                      </a:lnTo>
                      <a:lnTo>
                        <a:pt x="18899" y="6280"/>
                      </a:lnTo>
                      <a:lnTo>
                        <a:pt x="21590" y="7536"/>
                      </a:lnTo>
                      <a:lnTo>
                        <a:pt x="24282" y="8792"/>
                      </a:lnTo>
                      <a:lnTo>
                        <a:pt x="26973" y="10048"/>
                      </a:lnTo>
                      <a:lnTo>
                        <a:pt x="29664" y="11304"/>
                      </a:lnTo>
                      <a:lnTo>
                        <a:pt x="32356" y="12559"/>
                      </a:lnTo>
                      <a:lnTo>
                        <a:pt x="35047" y="13815"/>
                      </a:lnTo>
                      <a:lnTo>
                        <a:pt x="37738" y="15071"/>
                      </a:lnTo>
                      <a:lnTo>
                        <a:pt x="40429" y="16327"/>
                      </a:lnTo>
                      <a:lnTo>
                        <a:pt x="43121" y="17583"/>
                      </a:lnTo>
                      <a:lnTo>
                        <a:pt x="45812" y="18839"/>
                      </a:lnTo>
                      <a:lnTo>
                        <a:pt x="48504" y="20095"/>
                      </a:lnTo>
                      <a:lnTo>
                        <a:pt x="51195" y="21351"/>
                      </a:lnTo>
                      <a:lnTo>
                        <a:pt x="53886" y="22607"/>
                      </a:lnTo>
                      <a:lnTo>
                        <a:pt x="56577" y="23863"/>
                      </a:lnTo>
                      <a:lnTo>
                        <a:pt x="59269" y="25119"/>
                      </a:lnTo>
                      <a:lnTo>
                        <a:pt x="61960" y="26375"/>
                      </a:lnTo>
                      <a:lnTo>
                        <a:pt x="64652" y="27631"/>
                      </a:lnTo>
                      <a:lnTo>
                        <a:pt x="67343" y="28887"/>
                      </a:lnTo>
                      <a:lnTo>
                        <a:pt x="70034" y="30143"/>
                      </a:lnTo>
                      <a:lnTo>
                        <a:pt x="71230" y="30681"/>
                      </a:lnTo>
                    </a:path>
                  </a:pathLst>
                </a:custGeom>
                <a:noFill/>
                <a:ln w="6350" cap="rnd">
                  <a:solidFill>
                    <a:schemeClr val="bg1">
                      <a:alpha val="40000"/>
                    </a:schemeClr>
                  </a:solidFill>
                  <a:prstDash val="solid"/>
                  <a:round/>
                </a:ln>
              </p:spPr>
              <p:txBody>
                <a:bodyPr rtlCol="0" anchor="ctr"/>
                <a:lstStyle/>
                <a:p>
                  <a:endParaRPr lang="en-GB"/>
                </a:p>
              </p:txBody>
            </p:sp>
            <p:sp>
              <p:nvSpPr>
                <p:cNvPr id="5404" name="Vrije vorm: vorm 5403">
                  <a:extLst>
                    <a:ext uri="{FF2B5EF4-FFF2-40B4-BE49-F238E27FC236}">
                      <a16:creationId xmlns:a16="http://schemas.microsoft.com/office/drawing/2014/main" id="{B8838F63-6A18-46D0-8E5A-A1F6678182D1}"/>
                    </a:ext>
                  </a:extLst>
                </p:cNvPr>
                <p:cNvSpPr/>
                <p:nvPr/>
              </p:nvSpPr>
              <p:spPr>
                <a:xfrm>
                  <a:off x="6386773" y="1730622"/>
                  <a:ext cx="8253" cy="8193"/>
                </a:xfrm>
                <a:custGeom>
                  <a:avLst/>
                  <a:gdLst>
                    <a:gd name="connsiteX0" fmla="*/ 0 w 8253"/>
                    <a:gd name="connsiteY0" fmla="*/ 0 h 8193"/>
                    <a:gd name="connsiteX1" fmla="*/ 2093 w 8253"/>
                    <a:gd name="connsiteY1" fmla="*/ 2093 h 8193"/>
                    <a:gd name="connsiteX2" fmla="*/ 4187 w 8253"/>
                    <a:gd name="connsiteY2" fmla="*/ 4186 h 8193"/>
                    <a:gd name="connsiteX3" fmla="*/ 5083 w 8253"/>
                    <a:gd name="connsiteY3" fmla="*/ 5024 h 8193"/>
                    <a:gd name="connsiteX4" fmla="*/ 7177 w 8253"/>
                    <a:gd name="connsiteY4" fmla="*/ 7117 h 8193"/>
                    <a:gd name="connsiteX5" fmla="*/ 8253 w 8253"/>
                    <a:gd name="connsiteY5" fmla="*/ 8194 h 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 h="8193">
                      <a:moveTo>
                        <a:pt x="0" y="0"/>
                      </a:moveTo>
                      <a:lnTo>
                        <a:pt x="2093" y="2093"/>
                      </a:lnTo>
                      <a:lnTo>
                        <a:pt x="4187" y="4186"/>
                      </a:lnTo>
                      <a:lnTo>
                        <a:pt x="5083" y="5024"/>
                      </a:lnTo>
                      <a:lnTo>
                        <a:pt x="7177" y="7117"/>
                      </a:lnTo>
                      <a:lnTo>
                        <a:pt x="8253" y="8194"/>
                      </a:lnTo>
                    </a:path>
                  </a:pathLst>
                </a:custGeom>
                <a:noFill/>
                <a:ln w="6350" cap="rnd">
                  <a:solidFill>
                    <a:schemeClr val="bg1">
                      <a:alpha val="40000"/>
                    </a:schemeClr>
                  </a:solidFill>
                  <a:prstDash val="solid"/>
                  <a:round/>
                </a:ln>
              </p:spPr>
              <p:txBody>
                <a:bodyPr rtlCol="0" anchor="ctr"/>
                <a:lstStyle/>
                <a:p>
                  <a:endParaRPr lang="en-GB"/>
                </a:p>
              </p:txBody>
            </p:sp>
            <p:sp>
              <p:nvSpPr>
                <p:cNvPr id="5405" name="Vrije vorm: vorm 5404">
                  <a:extLst>
                    <a:ext uri="{FF2B5EF4-FFF2-40B4-BE49-F238E27FC236}">
                      <a16:creationId xmlns:a16="http://schemas.microsoft.com/office/drawing/2014/main" id="{2B2B9C7D-FB30-42D5-88A9-E55886E77119}"/>
                    </a:ext>
                  </a:extLst>
                </p:cNvPr>
                <p:cNvSpPr/>
                <p:nvPr/>
              </p:nvSpPr>
              <p:spPr>
                <a:xfrm>
                  <a:off x="6381330" y="1738755"/>
                  <a:ext cx="73323" cy="26913"/>
                </a:xfrm>
                <a:custGeom>
                  <a:avLst/>
                  <a:gdLst>
                    <a:gd name="connsiteX0" fmla="*/ 0 w 73323"/>
                    <a:gd name="connsiteY0" fmla="*/ 1076 h 26913"/>
                    <a:gd name="connsiteX1" fmla="*/ 2033 w 73323"/>
                    <a:gd name="connsiteY1" fmla="*/ 3230 h 26913"/>
                    <a:gd name="connsiteX2" fmla="*/ 4067 w 73323"/>
                    <a:gd name="connsiteY2" fmla="*/ 5383 h 26913"/>
                    <a:gd name="connsiteX3" fmla="*/ 6100 w 73323"/>
                    <a:gd name="connsiteY3" fmla="*/ 7536 h 26913"/>
                    <a:gd name="connsiteX4" fmla="*/ 8074 w 73323"/>
                    <a:gd name="connsiteY4" fmla="*/ 9569 h 26913"/>
                    <a:gd name="connsiteX5" fmla="*/ 9509 w 73323"/>
                    <a:gd name="connsiteY5" fmla="*/ 7117 h 26913"/>
                    <a:gd name="connsiteX6" fmla="*/ 10287 w 73323"/>
                    <a:gd name="connsiteY6" fmla="*/ 5741 h 26913"/>
                    <a:gd name="connsiteX7" fmla="*/ 10586 w 73323"/>
                    <a:gd name="connsiteY7" fmla="*/ 5203 h 26913"/>
                    <a:gd name="connsiteX8" fmla="*/ 12021 w 73323"/>
                    <a:gd name="connsiteY8" fmla="*/ 2751 h 26913"/>
                    <a:gd name="connsiteX9" fmla="*/ 12260 w 73323"/>
                    <a:gd name="connsiteY9" fmla="*/ 2392 h 26913"/>
                    <a:gd name="connsiteX10" fmla="*/ 13636 w 73323"/>
                    <a:gd name="connsiteY10" fmla="*/ 0 h 26913"/>
                    <a:gd name="connsiteX11" fmla="*/ 16327 w 73323"/>
                    <a:gd name="connsiteY11" fmla="*/ 1316 h 26913"/>
                    <a:gd name="connsiteX12" fmla="*/ 19019 w 73323"/>
                    <a:gd name="connsiteY12" fmla="*/ 2632 h 26913"/>
                    <a:gd name="connsiteX13" fmla="*/ 21710 w 73323"/>
                    <a:gd name="connsiteY13" fmla="*/ 3947 h 26913"/>
                    <a:gd name="connsiteX14" fmla="*/ 24401 w 73323"/>
                    <a:gd name="connsiteY14" fmla="*/ 5263 h 26913"/>
                    <a:gd name="connsiteX15" fmla="*/ 27092 w 73323"/>
                    <a:gd name="connsiteY15" fmla="*/ 6579 h 26913"/>
                    <a:gd name="connsiteX16" fmla="*/ 29784 w 73323"/>
                    <a:gd name="connsiteY16" fmla="*/ 7895 h 26913"/>
                    <a:gd name="connsiteX17" fmla="*/ 32475 w 73323"/>
                    <a:gd name="connsiteY17" fmla="*/ 9210 h 26913"/>
                    <a:gd name="connsiteX18" fmla="*/ 35166 w 73323"/>
                    <a:gd name="connsiteY18" fmla="*/ 10526 h 26913"/>
                    <a:gd name="connsiteX19" fmla="*/ 37858 w 73323"/>
                    <a:gd name="connsiteY19" fmla="*/ 11842 h 26913"/>
                    <a:gd name="connsiteX20" fmla="*/ 40549 w 73323"/>
                    <a:gd name="connsiteY20" fmla="*/ 13158 h 26913"/>
                    <a:gd name="connsiteX21" fmla="*/ 42224 w 73323"/>
                    <a:gd name="connsiteY21" fmla="*/ 13995 h 26913"/>
                    <a:gd name="connsiteX22" fmla="*/ 45035 w 73323"/>
                    <a:gd name="connsiteY22" fmla="*/ 14952 h 26913"/>
                    <a:gd name="connsiteX23" fmla="*/ 47846 w 73323"/>
                    <a:gd name="connsiteY23" fmla="*/ 15909 h 26913"/>
                    <a:gd name="connsiteX24" fmla="*/ 50657 w 73323"/>
                    <a:gd name="connsiteY24" fmla="*/ 16866 h 26913"/>
                    <a:gd name="connsiteX25" fmla="*/ 51793 w 73323"/>
                    <a:gd name="connsiteY25" fmla="*/ 17284 h 26913"/>
                    <a:gd name="connsiteX26" fmla="*/ 54544 w 73323"/>
                    <a:gd name="connsiteY26" fmla="*/ 18421 h 26913"/>
                    <a:gd name="connsiteX27" fmla="*/ 57295 w 73323"/>
                    <a:gd name="connsiteY27" fmla="*/ 19557 h 26913"/>
                    <a:gd name="connsiteX28" fmla="*/ 60046 w 73323"/>
                    <a:gd name="connsiteY28" fmla="*/ 20693 h 26913"/>
                    <a:gd name="connsiteX29" fmla="*/ 62798 w 73323"/>
                    <a:gd name="connsiteY29" fmla="*/ 21830 h 26913"/>
                    <a:gd name="connsiteX30" fmla="*/ 62977 w 73323"/>
                    <a:gd name="connsiteY30" fmla="*/ 21889 h 26913"/>
                    <a:gd name="connsiteX31" fmla="*/ 65668 w 73323"/>
                    <a:gd name="connsiteY31" fmla="*/ 23205 h 26913"/>
                    <a:gd name="connsiteX32" fmla="*/ 68360 w 73323"/>
                    <a:gd name="connsiteY32" fmla="*/ 24521 h 26913"/>
                    <a:gd name="connsiteX33" fmla="*/ 71051 w 73323"/>
                    <a:gd name="connsiteY33" fmla="*/ 25837 h 26913"/>
                    <a:gd name="connsiteX34" fmla="*/ 73323 w 73323"/>
                    <a:gd name="connsiteY34" fmla="*/ 26913 h 2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3323" h="26913">
                      <a:moveTo>
                        <a:pt x="0" y="1076"/>
                      </a:moveTo>
                      <a:lnTo>
                        <a:pt x="2033" y="3230"/>
                      </a:lnTo>
                      <a:lnTo>
                        <a:pt x="4067" y="5383"/>
                      </a:lnTo>
                      <a:lnTo>
                        <a:pt x="6100" y="7536"/>
                      </a:lnTo>
                      <a:lnTo>
                        <a:pt x="8074" y="9569"/>
                      </a:lnTo>
                      <a:lnTo>
                        <a:pt x="9509" y="7117"/>
                      </a:lnTo>
                      <a:lnTo>
                        <a:pt x="10287" y="5741"/>
                      </a:lnTo>
                      <a:lnTo>
                        <a:pt x="10586" y="5203"/>
                      </a:lnTo>
                      <a:lnTo>
                        <a:pt x="12021" y="2751"/>
                      </a:lnTo>
                      <a:lnTo>
                        <a:pt x="12260" y="2392"/>
                      </a:lnTo>
                      <a:lnTo>
                        <a:pt x="13636" y="0"/>
                      </a:lnTo>
                      <a:lnTo>
                        <a:pt x="16327" y="1316"/>
                      </a:lnTo>
                      <a:lnTo>
                        <a:pt x="19019" y="2632"/>
                      </a:lnTo>
                      <a:lnTo>
                        <a:pt x="21710" y="3947"/>
                      </a:lnTo>
                      <a:lnTo>
                        <a:pt x="24401" y="5263"/>
                      </a:lnTo>
                      <a:lnTo>
                        <a:pt x="27092" y="6579"/>
                      </a:lnTo>
                      <a:lnTo>
                        <a:pt x="29784" y="7895"/>
                      </a:lnTo>
                      <a:lnTo>
                        <a:pt x="32475" y="9210"/>
                      </a:lnTo>
                      <a:lnTo>
                        <a:pt x="35166" y="10526"/>
                      </a:lnTo>
                      <a:lnTo>
                        <a:pt x="37858" y="11842"/>
                      </a:lnTo>
                      <a:lnTo>
                        <a:pt x="40549" y="13158"/>
                      </a:lnTo>
                      <a:lnTo>
                        <a:pt x="42224" y="13995"/>
                      </a:lnTo>
                      <a:lnTo>
                        <a:pt x="45035" y="14952"/>
                      </a:lnTo>
                      <a:lnTo>
                        <a:pt x="47846" y="15909"/>
                      </a:lnTo>
                      <a:lnTo>
                        <a:pt x="50657" y="16866"/>
                      </a:lnTo>
                      <a:lnTo>
                        <a:pt x="51793" y="17284"/>
                      </a:lnTo>
                      <a:lnTo>
                        <a:pt x="54544" y="18421"/>
                      </a:lnTo>
                      <a:lnTo>
                        <a:pt x="57295" y="19557"/>
                      </a:lnTo>
                      <a:lnTo>
                        <a:pt x="60046" y="20693"/>
                      </a:lnTo>
                      <a:lnTo>
                        <a:pt x="62798" y="21830"/>
                      </a:lnTo>
                      <a:lnTo>
                        <a:pt x="62977" y="21889"/>
                      </a:lnTo>
                      <a:lnTo>
                        <a:pt x="65668" y="23205"/>
                      </a:lnTo>
                      <a:lnTo>
                        <a:pt x="68360" y="24521"/>
                      </a:lnTo>
                      <a:lnTo>
                        <a:pt x="71051" y="25837"/>
                      </a:lnTo>
                      <a:lnTo>
                        <a:pt x="73323" y="26913"/>
                      </a:lnTo>
                    </a:path>
                  </a:pathLst>
                </a:custGeom>
                <a:noFill/>
                <a:ln w="6350" cap="rnd">
                  <a:solidFill>
                    <a:schemeClr val="bg1">
                      <a:alpha val="40000"/>
                    </a:schemeClr>
                  </a:solidFill>
                  <a:prstDash val="solid"/>
                  <a:round/>
                </a:ln>
              </p:spPr>
              <p:txBody>
                <a:bodyPr rtlCol="0" anchor="ctr"/>
                <a:lstStyle/>
                <a:p>
                  <a:endParaRPr lang="en-GB"/>
                </a:p>
              </p:txBody>
            </p:sp>
            <p:sp>
              <p:nvSpPr>
                <p:cNvPr id="5406" name="Vrije vorm: vorm 5405">
                  <a:extLst>
                    <a:ext uri="{FF2B5EF4-FFF2-40B4-BE49-F238E27FC236}">
                      <a16:creationId xmlns:a16="http://schemas.microsoft.com/office/drawing/2014/main" id="{B4371332-3538-4987-A57B-5BD3FCB5B34C}"/>
                    </a:ext>
                  </a:extLst>
                </p:cNvPr>
                <p:cNvSpPr/>
                <p:nvPr/>
              </p:nvSpPr>
              <p:spPr>
                <a:xfrm>
                  <a:off x="6378639" y="1763097"/>
                  <a:ext cx="16327" cy="16207"/>
                </a:xfrm>
                <a:custGeom>
                  <a:avLst/>
                  <a:gdLst>
                    <a:gd name="connsiteX0" fmla="*/ 9629 w 16327"/>
                    <a:gd name="connsiteY0" fmla="*/ 16208 h 16207"/>
                    <a:gd name="connsiteX1" fmla="*/ 7715 w 16327"/>
                    <a:gd name="connsiteY1" fmla="*/ 13995 h 16207"/>
                    <a:gd name="connsiteX2" fmla="*/ 6340 w 16327"/>
                    <a:gd name="connsiteY2" fmla="*/ 12440 h 16207"/>
                    <a:gd name="connsiteX3" fmla="*/ 4426 w 16327"/>
                    <a:gd name="connsiteY3" fmla="*/ 10227 h 16207"/>
                    <a:gd name="connsiteX4" fmla="*/ 2512 w 16327"/>
                    <a:gd name="connsiteY4" fmla="*/ 8014 h 16207"/>
                    <a:gd name="connsiteX5" fmla="*/ 598 w 16327"/>
                    <a:gd name="connsiteY5" fmla="*/ 5801 h 16207"/>
                    <a:gd name="connsiteX6" fmla="*/ 0 w 16327"/>
                    <a:gd name="connsiteY6" fmla="*/ 5143 h 16207"/>
                    <a:gd name="connsiteX7" fmla="*/ 299 w 16327"/>
                    <a:gd name="connsiteY7" fmla="*/ 4605 h 16207"/>
                    <a:gd name="connsiteX8" fmla="*/ 1734 w 16327"/>
                    <a:gd name="connsiteY8" fmla="*/ 2153 h 16207"/>
                    <a:gd name="connsiteX9" fmla="*/ 2990 w 16327"/>
                    <a:gd name="connsiteY9" fmla="*/ 0 h 16207"/>
                    <a:gd name="connsiteX10" fmla="*/ 5682 w 16327"/>
                    <a:gd name="connsiteY10" fmla="*/ 1256 h 16207"/>
                    <a:gd name="connsiteX11" fmla="*/ 8373 w 16327"/>
                    <a:gd name="connsiteY11" fmla="*/ 2512 h 16207"/>
                    <a:gd name="connsiteX12" fmla="*/ 11064 w 16327"/>
                    <a:gd name="connsiteY12" fmla="*/ 3768 h 16207"/>
                    <a:gd name="connsiteX13" fmla="*/ 13756 w 16327"/>
                    <a:gd name="connsiteY13" fmla="*/ 5024 h 16207"/>
                    <a:gd name="connsiteX14" fmla="*/ 16327 w 16327"/>
                    <a:gd name="connsiteY14" fmla="*/ 6220 h 1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27" h="16207">
                      <a:moveTo>
                        <a:pt x="9629" y="16208"/>
                      </a:moveTo>
                      <a:lnTo>
                        <a:pt x="7715" y="13995"/>
                      </a:lnTo>
                      <a:lnTo>
                        <a:pt x="6340" y="12440"/>
                      </a:lnTo>
                      <a:lnTo>
                        <a:pt x="4426" y="10227"/>
                      </a:lnTo>
                      <a:lnTo>
                        <a:pt x="2512" y="8014"/>
                      </a:lnTo>
                      <a:lnTo>
                        <a:pt x="598" y="5801"/>
                      </a:lnTo>
                      <a:lnTo>
                        <a:pt x="0" y="5143"/>
                      </a:lnTo>
                      <a:lnTo>
                        <a:pt x="299" y="4605"/>
                      </a:lnTo>
                      <a:lnTo>
                        <a:pt x="1734" y="2153"/>
                      </a:lnTo>
                      <a:lnTo>
                        <a:pt x="2990" y="0"/>
                      </a:lnTo>
                      <a:lnTo>
                        <a:pt x="5682" y="1256"/>
                      </a:lnTo>
                      <a:lnTo>
                        <a:pt x="8373" y="2512"/>
                      </a:lnTo>
                      <a:lnTo>
                        <a:pt x="11064" y="3768"/>
                      </a:lnTo>
                      <a:lnTo>
                        <a:pt x="13756" y="5024"/>
                      </a:lnTo>
                      <a:lnTo>
                        <a:pt x="16327" y="6220"/>
                      </a:lnTo>
                    </a:path>
                  </a:pathLst>
                </a:custGeom>
                <a:noFill/>
                <a:ln w="6350" cap="rnd">
                  <a:solidFill>
                    <a:schemeClr val="bg1">
                      <a:alpha val="40000"/>
                    </a:schemeClr>
                  </a:solidFill>
                  <a:prstDash val="solid"/>
                  <a:round/>
                </a:ln>
              </p:spPr>
              <p:txBody>
                <a:bodyPr rtlCol="0" anchor="ctr"/>
                <a:lstStyle/>
                <a:p>
                  <a:endParaRPr lang="en-GB"/>
                </a:p>
              </p:txBody>
            </p:sp>
            <p:sp>
              <p:nvSpPr>
                <p:cNvPr id="5407" name="Vrije vorm: vorm 5406">
                  <a:extLst>
                    <a:ext uri="{FF2B5EF4-FFF2-40B4-BE49-F238E27FC236}">
                      <a16:creationId xmlns:a16="http://schemas.microsoft.com/office/drawing/2014/main" id="{86D80076-0C18-497F-99E4-54F6486AC43B}"/>
                    </a:ext>
                  </a:extLst>
                </p:cNvPr>
                <p:cNvSpPr/>
                <p:nvPr/>
              </p:nvSpPr>
              <p:spPr>
                <a:xfrm>
                  <a:off x="6391019" y="1769556"/>
                  <a:ext cx="657" cy="1076"/>
                </a:xfrm>
                <a:custGeom>
                  <a:avLst/>
                  <a:gdLst>
                    <a:gd name="connsiteX0" fmla="*/ 658 w 657"/>
                    <a:gd name="connsiteY0" fmla="*/ 0 h 1076"/>
                    <a:gd name="connsiteX1" fmla="*/ 0 w 657"/>
                    <a:gd name="connsiteY1" fmla="*/ 1077 h 1076"/>
                  </a:gdLst>
                  <a:ahLst/>
                  <a:cxnLst>
                    <a:cxn ang="0">
                      <a:pos x="connsiteX0" y="connsiteY0"/>
                    </a:cxn>
                    <a:cxn ang="0">
                      <a:pos x="connsiteX1" y="connsiteY1"/>
                    </a:cxn>
                  </a:cxnLst>
                  <a:rect l="l" t="t" r="r" b="b"/>
                  <a:pathLst>
                    <a:path w="657" h="1076">
                      <a:moveTo>
                        <a:pt x="658" y="0"/>
                      </a:moveTo>
                      <a:lnTo>
                        <a:pt x="0" y="1077"/>
                      </a:lnTo>
                    </a:path>
                  </a:pathLst>
                </a:custGeom>
                <a:noFill/>
                <a:ln w="6350" cap="rnd">
                  <a:solidFill>
                    <a:schemeClr val="bg1">
                      <a:alpha val="40000"/>
                    </a:schemeClr>
                  </a:solidFill>
                  <a:prstDash val="solid"/>
                  <a:round/>
                </a:ln>
              </p:spPr>
              <p:txBody>
                <a:bodyPr rtlCol="0" anchor="ctr"/>
                <a:lstStyle/>
                <a:p>
                  <a:endParaRPr lang="en-GB"/>
                </a:p>
              </p:txBody>
            </p:sp>
            <p:sp>
              <p:nvSpPr>
                <p:cNvPr id="5408" name="Vrije vorm: vorm 5407">
                  <a:extLst>
                    <a:ext uri="{FF2B5EF4-FFF2-40B4-BE49-F238E27FC236}">
                      <a16:creationId xmlns:a16="http://schemas.microsoft.com/office/drawing/2014/main" id="{F92DD3A8-16EE-4D0F-B398-2E5082233CC4}"/>
                    </a:ext>
                  </a:extLst>
                </p:cNvPr>
                <p:cNvSpPr/>
                <p:nvPr/>
              </p:nvSpPr>
              <p:spPr>
                <a:xfrm>
                  <a:off x="6388806" y="1768480"/>
                  <a:ext cx="5023" cy="3169"/>
                </a:xfrm>
                <a:custGeom>
                  <a:avLst/>
                  <a:gdLst>
                    <a:gd name="connsiteX0" fmla="*/ 5024 w 5023"/>
                    <a:gd name="connsiteY0" fmla="*/ 2632 h 3169"/>
                    <a:gd name="connsiteX1" fmla="*/ 2871 w 5023"/>
                    <a:gd name="connsiteY1" fmla="*/ 1076 h 3169"/>
                    <a:gd name="connsiteX2" fmla="*/ 299 w 5023"/>
                    <a:gd name="connsiteY2" fmla="*/ 0 h 3169"/>
                    <a:gd name="connsiteX3" fmla="*/ 0 w 5023"/>
                    <a:gd name="connsiteY3" fmla="*/ 538 h 3169"/>
                    <a:gd name="connsiteX4" fmla="*/ 2213 w 5023"/>
                    <a:gd name="connsiteY4" fmla="*/ 2153 h 3169"/>
                    <a:gd name="connsiteX5" fmla="*/ 2272 w 5023"/>
                    <a:gd name="connsiteY5" fmla="*/ 2153 h 3169"/>
                    <a:gd name="connsiteX6" fmla="*/ 4725 w 5023"/>
                    <a:gd name="connsiteY6" fmla="*/ 3170 h 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3169">
                      <a:moveTo>
                        <a:pt x="5024" y="2632"/>
                      </a:moveTo>
                      <a:lnTo>
                        <a:pt x="2871" y="1076"/>
                      </a:lnTo>
                      <a:lnTo>
                        <a:pt x="299" y="0"/>
                      </a:lnTo>
                      <a:lnTo>
                        <a:pt x="0" y="538"/>
                      </a:lnTo>
                      <a:lnTo>
                        <a:pt x="2213" y="2153"/>
                      </a:lnTo>
                      <a:lnTo>
                        <a:pt x="2272" y="2153"/>
                      </a:lnTo>
                      <a:lnTo>
                        <a:pt x="4725" y="3170"/>
                      </a:lnTo>
                    </a:path>
                  </a:pathLst>
                </a:custGeom>
                <a:noFill/>
                <a:ln w="6350" cap="rnd">
                  <a:solidFill>
                    <a:schemeClr val="bg1">
                      <a:alpha val="40000"/>
                    </a:schemeClr>
                  </a:solidFill>
                  <a:prstDash val="solid"/>
                  <a:round/>
                </a:ln>
              </p:spPr>
              <p:txBody>
                <a:bodyPr rtlCol="0" anchor="ctr"/>
                <a:lstStyle/>
                <a:p>
                  <a:endParaRPr lang="en-GB"/>
                </a:p>
              </p:txBody>
            </p:sp>
            <p:sp>
              <p:nvSpPr>
                <p:cNvPr id="5409" name="Vrije vorm: vorm 5408">
                  <a:extLst>
                    <a:ext uri="{FF2B5EF4-FFF2-40B4-BE49-F238E27FC236}">
                      <a16:creationId xmlns:a16="http://schemas.microsoft.com/office/drawing/2014/main" id="{2176A9F8-8739-43D2-B01E-5A28AB3D78D4}"/>
                    </a:ext>
                  </a:extLst>
                </p:cNvPr>
                <p:cNvSpPr/>
                <p:nvPr/>
              </p:nvSpPr>
              <p:spPr>
                <a:xfrm>
                  <a:off x="6381569" y="1763037"/>
                  <a:ext cx="9867" cy="11064"/>
                </a:xfrm>
                <a:custGeom>
                  <a:avLst/>
                  <a:gdLst>
                    <a:gd name="connsiteX0" fmla="*/ 0 w 9867"/>
                    <a:gd name="connsiteY0" fmla="*/ 0 h 11064"/>
                    <a:gd name="connsiteX1" fmla="*/ 1974 w 9867"/>
                    <a:gd name="connsiteY1" fmla="*/ 2213 h 11064"/>
                    <a:gd name="connsiteX2" fmla="*/ 3947 w 9867"/>
                    <a:gd name="connsiteY2" fmla="*/ 4426 h 11064"/>
                    <a:gd name="connsiteX3" fmla="*/ 5921 w 9867"/>
                    <a:gd name="connsiteY3" fmla="*/ 6639 h 11064"/>
                    <a:gd name="connsiteX4" fmla="*/ 6519 w 9867"/>
                    <a:gd name="connsiteY4" fmla="*/ 7296 h 11064"/>
                    <a:gd name="connsiteX5" fmla="*/ 8493 w 9867"/>
                    <a:gd name="connsiteY5" fmla="*/ 9509 h 11064"/>
                    <a:gd name="connsiteX6" fmla="*/ 9868 w 9867"/>
                    <a:gd name="connsiteY6" fmla="*/ 11064 h 1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67" h="11064">
                      <a:moveTo>
                        <a:pt x="0" y="0"/>
                      </a:moveTo>
                      <a:lnTo>
                        <a:pt x="1974" y="2213"/>
                      </a:lnTo>
                      <a:lnTo>
                        <a:pt x="3947" y="4426"/>
                      </a:lnTo>
                      <a:lnTo>
                        <a:pt x="5921" y="6639"/>
                      </a:lnTo>
                      <a:lnTo>
                        <a:pt x="6519" y="7296"/>
                      </a:lnTo>
                      <a:lnTo>
                        <a:pt x="8493" y="9509"/>
                      </a:lnTo>
                      <a:lnTo>
                        <a:pt x="9868" y="11064"/>
                      </a:lnTo>
                    </a:path>
                  </a:pathLst>
                </a:custGeom>
                <a:noFill/>
                <a:ln w="6350" cap="rnd">
                  <a:solidFill>
                    <a:schemeClr val="bg1">
                      <a:alpha val="40000"/>
                    </a:schemeClr>
                  </a:solidFill>
                  <a:prstDash val="solid"/>
                  <a:round/>
                </a:ln>
              </p:spPr>
              <p:txBody>
                <a:bodyPr rtlCol="0" anchor="ctr"/>
                <a:lstStyle/>
                <a:p>
                  <a:endParaRPr lang="en-GB"/>
                </a:p>
              </p:txBody>
            </p:sp>
            <p:sp>
              <p:nvSpPr>
                <p:cNvPr id="5410" name="Vrije vorm: vorm 5409">
                  <a:extLst>
                    <a:ext uri="{FF2B5EF4-FFF2-40B4-BE49-F238E27FC236}">
                      <a16:creationId xmlns:a16="http://schemas.microsoft.com/office/drawing/2014/main" id="{BFF8FF63-6156-4009-86CE-D09BA11CD169}"/>
                    </a:ext>
                  </a:extLst>
                </p:cNvPr>
                <p:cNvSpPr/>
                <p:nvPr/>
              </p:nvSpPr>
              <p:spPr>
                <a:xfrm>
                  <a:off x="6388268" y="1773982"/>
                  <a:ext cx="3827" cy="5322"/>
                </a:xfrm>
                <a:custGeom>
                  <a:avLst/>
                  <a:gdLst>
                    <a:gd name="connsiteX0" fmla="*/ 718 w 3827"/>
                    <a:gd name="connsiteY0" fmla="*/ 5323 h 5322"/>
                    <a:gd name="connsiteX1" fmla="*/ 0 w 3827"/>
                    <a:gd name="connsiteY1" fmla="*/ 5323 h 5322"/>
                    <a:gd name="connsiteX2" fmla="*/ 1435 w 3827"/>
                    <a:gd name="connsiteY2" fmla="*/ 2871 h 5322"/>
                    <a:gd name="connsiteX3" fmla="*/ 2871 w 3827"/>
                    <a:gd name="connsiteY3" fmla="*/ 419 h 5322"/>
                    <a:gd name="connsiteX4" fmla="*/ 3110 w 3827"/>
                    <a:gd name="connsiteY4" fmla="*/ 0 h 5322"/>
                    <a:gd name="connsiteX5" fmla="*/ 3110 w 3827"/>
                    <a:gd name="connsiteY5" fmla="*/ 0 h 5322"/>
                    <a:gd name="connsiteX6" fmla="*/ 3828 w 3827"/>
                    <a:gd name="connsiteY6" fmla="*/ 0 h 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7" h="5322">
                      <a:moveTo>
                        <a:pt x="718" y="5323"/>
                      </a:moveTo>
                      <a:lnTo>
                        <a:pt x="0" y="5323"/>
                      </a:lnTo>
                      <a:lnTo>
                        <a:pt x="1435" y="2871"/>
                      </a:lnTo>
                      <a:lnTo>
                        <a:pt x="2871" y="419"/>
                      </a:lnTo>
                      <a:lnTo>
                        <a:pt x="3110" y="0"/>
                      </a:lnTo>
                      <a:lnTo>
                        <a:pt x="3110" y="0"/>
                      </a:lnTo>
                      <a:lnTo>
                        <a:pt x="3828" y="0"/>
                      </a:lnTo>
                    </a:path>
                  </a:pathLst>
                </a:custGeom>
                <a:noFill/>
                <a:ln w="6350" cap="rnd">
                  <a:solidFill>
                    <a:schemeClr val="bg1">
                      <a:alpha val="40000"/>
                    </a:schemeClr>
                  </a:solidFill>
                  <a:prstDash val="solid"/>
                  <a:round/>
                </a:ln>
              </p:spPr>
              <p:txBody>
                <a:bodyPr rtlCol="0" anchor="ctr"/>
                <a:lstStyle/>
                <a:p>
                  <a:endParaRPr lang="en-GB"/>
                </a:p>
              </p:txBody>
            </p:sp>
            <p:sp>
              <p:nvSpPr>
                <p:cNvPr id="5411" name="Vrije vorm: vorm 5410">
                  <a:extLst>
                    <a:ext uri="{FF2B5EF4-FFF2-40B4-BE49-F238E27FC236}">
                      <a16:creationId xmlns:a16="http://schemas.microsoft.com/office/drawing/2014/main" id="{A33FAA98-5457-45AA-9682-0673F3AC6D63}"/>
                    </a:ext>
                  </a:extLst>
                </p:cNvPr>
                <p:cNvSpPr/>
                <p:nvPr/>
              </p:nvSpPr>
              <p:spPr>
                <a:xfrm>
                  <a:off x="6407047" y="1668243"/>
                  <a:ext cx="1375" cy="1913"/>
                </a:xfrm>
                <a:custGeom>
                  <a:avLst/>
                  <a:gdLst>
                    <a:gd name="connsiteX0" fmla="*/ 419 w 1375"/>
                    <a:gd name="connsiteY0" fmla="*/ 1914 h 1913"/>
                    <a:gd name="connsiteX1" fmla="*/ 119 w 1375"/>
                    <a:gd name="connsiteY1" fmla="*/ 1734 h 1913"/>
                    <a:gd name="connsiteX2" fmla="*/ 60 w 1375"/>
                    <a:gd name="connsiteY2" fmla="*/ 1615 h 1913"/>
                    <a:gd name="connsiteX3" fmla="*/ 0 w 1375"/>
                    <a:gd name="connsiteY3" fmla="*/ 1495 h 1913"/>
                    <a:gd name="connsiteX4" fmla="*/ 0 w 1375"/>
                    <a:gd name="connsiteY4" fmla="*/ 1435 h 1913"/>
                    <a:gd name="connsiteX5" fmla="*/ 0 w 1375"/>
                    <a:gd name="connsiteY5" fmla="*/ 1316 h 1913"/>
                    <a:gd name="connsiteX6" fmla="*/ 60 w 1375"/>
                    <a:gd name="connsiteY6" fmla="*/ 1077 h 1913"/>
                    <a:gd name="connsiteX7" fmla="*/ 119 w 1375"/>
                    <a:gd name="connsiteY7" fmla="*/ 837 h 1913"/>
                    <a:gd name="connsiteX8" fmla="*/ 239 w 1375"/>
                    <a:gd name="connsiteY8" fmla="*/ 598 h 1913"/>
                    <a:gd name="connsiteX9" fmla="*/ 359 w 1375"/>
                    <a:gd name="connsiteY9" fmla="*/ 359 h 1913"/>
                    <a:gd name="connsiteX10" fmla="*/ 419 w 1375"/>
                    <a:gd name="connsiteY10" fmla="*/ 239 h 1913"/>
                    <a:gd name="connsiteX11" fmla="*/ 478 w 1375"/>
                    <a:gd name="connsiteY11" fmla="*/ 180 h 1913"/>
                    <a:gd name="connsiteX12" fmla="*/ 658 w 1375"/>
                    <a:gd name="connsiteY12" fmla="*/ 60 h 1913"/>
                    <a:gd name="connsiteX13" fmla="*/ 837 w 1375"/>
                    <a:gd name="connsiteY13" fmla="*/ 0 h 1913"/>
                    <a:gd name="connsiteX14" fmla="*/ 897 w 1375"/>
                    <a:gd name="connsiteY14" fmla="*/ 0 h 1913"/>
                    <a:gd name="connsiteX15" fmla="*/ 957 w 1375"/>
                    <a:gd name="connsiteY15" fmla="*/ 0 h 1913"/>
                    <a:gd name="connsiteX16" fmla="*/ 1076 w 1375"/>
                    <a:gd name="connsiteY16" fmla="*/ 60 h 1913"/>
                    <a:gd name="connsiteX17" fmla="*/ 1375 w 1375"/>
                    <a:gd name="connsiteY17" fmla="*/ 239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5" h="1913">
                      <a:moveTo>
                        <a:pt x="419" y="1914"/>
                      </a:moveTo>
                      <a:lnTo>
                        <a:pt x="119" y="1734"/>
                      </a:lnTo>
                      <a:lnTo>
                        <a:pt x="60" y="1615"/>
                      </a:lnTo>
                      <a:lnTo>
                        <a:pt x="0" y="1495"/>
                      </a:lnTo>
                      <a:lnTo>
                        <a:pt x="0" y="1435"/>
                      </a:lnTo>
                      <a:lnTo>
                        <a:pt x="0" y="1316"/>
                      </a:lnTo>
                      <a:lnTo>
                        <a:pt x="60" y="1077"/>
                      </a:lnTo>
                      <a:lnTo>
                        <a:pt x="119" y="837"/>
                      </a:lnTo>
                      <a:lnTo>
                        <a:pt x="239" y="598"/>
                      </a:lnTo>
                      <a:lnTo>
                        <a:pt x="359" y="359"/>
                      </a:lnTo>
                      <a:lnTo>
                        <a:pt x="419" y="239"/>
                      </a:lnTo>
                      <a:lnTo>
                        <a:pt x="478" y="180"/>
                      </a:lnTo>
                      <a:lnTo>
                        <a:pt x="658" y="60"/>
                      </a:lnTo>
                      <a:lnTo>
                        <a:pt x="837" y="0"/>
                      </a:lnTo>
                      <a:lnTo>
                        <a:pt x="897" y="0"/>
                      </a:lnTo>
                      <a:lnTo>
                        <a:pt x="957" y="0"/>
                      </a:lnTo>
                      <a:lnTo>
                        <a:pt x="1076" y="60"/>
                      </a:lnTo>
                      <a:lnTo>
                        <a:pt x="1375" y="239"/>
                      </a:lnTo>
                    </a:path>
                  </a:pathLst>
                </a:custGeom>
                <a:noFill/>
                <a:ln w="6350" cap="rnd">
                  <a:solidFill>
                    <a:schemeClr val="bg1">
                      <a:alpha val="40000"/>
                    </a:schemeClr>
                  </a:solidFill>
                  <a:prstDash val="solid"/>
                  <a:round/>
                </a:ln>
              </p:spPr>
              <p:txBody>
                <a:bodyPr rtlCol="0" anchor="ctr"/>
                <a:lstStyle/>
                <a:p>
                  <a:endParaRPr lang="en-GB"/>
                </a:p>
              </p:txBody>
            </p:sp>
            <p:sp>
              <p:nvSpPr>
                <p:cNvPr id="5412" name="Vrije vorm: vorm 5411">
                  <a:extLst>
                    <a:ext uri="{FF2B5EF4-FFF2-40B4-BE49-F238E27FC236}">
                      <a16:creationId xmlns:a16="http://schemas.microsoft.com/office/drawing/2014/main" id="{5BE336BA-DBA7-4EE9-8908-8B10DD0F9827}"/>
                    </a:ext>
                  </a:extLst>
                </p:cNvPr>
                <p:cNvSpPr/>
                <p:nvPr/>
              </p:nvSpPr>
              <p:spPr>
                <a:xfrm>
                  <a:off x="6406090" y="1667645"/>
                  <a:ext cx="1196" cy="1854"/>
                </a:xfrm>
                <a:custGeom>
                  <a:avLst/>
                  <a:gdLst>
                    <a:gd name="connsiteX0" fmla="*/ 120 w 1196"/>
                    <a:gd name="connsiteY0" fmla="*/ 1675 h 1854"/>
                    <a:gd name="connsiteX1" fmla="*/ 239 w 1196"/>
                    <a:gd name="connsiteY1" fmla="*/ 1734 h 1854"/>
                    <a:gd name="connsiteX2" fmla="*/ 359 w 1196"/>
                    <a:gd name="connsiteY2" fmla="*/ 1734 h 1854"/>
                    <a:gd name="connsiteX3" fmla="*/ 538 w 1196"/>
                    <a:gd name="connsiteY3" fmla="*/ 1675 h 1854"/>
                    <a:gd name="connsiteX4" fmla="*/ 718 w 1196"/>
                    <a:gd name="connsiteY4" fmla="*/ 1555 h 1854"/>
                    <a:gd name="connsiteX5" fmla="*/ 778 w 1196"/>
                    <a:gd name="connsiteY5" fmla="*/ 1495 h 1854"/>
                    <a:gd name="connsiteX6" fmla="*/ 837 w 1196"/>
                    <a:gd name="connsiteY6" fmla="*/ 1376 h 1854"/>
                    <a:gd name="connsiteX7" fmla="*/ 957 w 1196"/>
                    <a:gd name="connsiteY7" fmla="*/ 1136 h 1854"/>
                    <a:gd name="connsiteX8" fmla="*/ 1076 w 1196"/>
                    <a:gd name="connsiteY8" fmla="*/ 897 h 1854"/>
                    <a:gd name="connsiteX9" fmla="*/ 1136 w 1196"/>
                    <a:gd name="connsiteY9" fmla="*/ 718 h 1854"/>
                    <a:gd name="connsiteX10" fmla="*/ 1136 w 1196"/>
                    <a:gd name="connsiteY10" fmla="*/ 718 h 1854"/>
                    <a:gd name="connsiteX11" fmla="*/ 1196 w 1196"/>
                    <a:gd name="connsiteY11" fmla="*/ 478 h 1854"/>
                    <a:gd name="connsiteX12" fmla="*/ 1196 w 1196"/>
                    <a:gd name="connsiteY12" fmla="*/ 299 h 1854"/>
                    <a:gd name="connsiteX13" fmla="*/ 1196 w 1196"/>
                    <a:gd name="connsiteY13" fmla="*/ 239 h 1854"/>
                    <a:gd name="connsiteX14" fmla="*/ 1196 w 1196"/>
                    <a:gd name="connsiteY14" fmla="*/ 179 h 1854"/>
                    <a:gd name="connsiteX15" fmla="*/ 1136 w 1196"/>
                    <a:gd name="connsiteY15" fmla="*/ 60 h 1854"/>
                    <a:gd name="connsiteX16" fmla="*/ 1017 w 1196"/>
                    <a:gd name="connsiteY16" fmla="*/ 0 h 1854"/>
                    <a:gd name="connsiteX17" fmla="*/ 897 w 1196"/>
                    <a:gd name="connsiteY17" fmla="*/ 0 h 1854"/>
                    <a:gd name="connsiteX18" fmla="*/ 718 w 1196"/>
                    <a:gd name="connsiteY18" fmla="*/ 60 h 1854"/>
                    <a:gd name="connsiteX19" fmla="*/ 538 w 1196"/>
                    <a:gd name="connsiteY19" fmla="*/ 179 h 1854"/>
                    <a:gd name="connsiteX20" fmla="*/ 359 w 1196"/>
                    <a:gd name="connsiteY20" fmla="*/ 359 h 1854"/>
                    <a:gd name="connsiteX21" fmla="*/ 239 w 1196"/>
                    <a:gd name="connsiteY21" fmla="*/ 598 h 1854"/>
                    <a:gd name="connsiteX22" fmla="*/ 120 w 1196"/>
                    <a:gd name="connsiteY22" fmla="*/ 837 h 1854"/>
                    <a:gd name="connsiteX23" fmla="*/ 60 w 1196"/>
                    <a:gd name="connsiteY23" fmla="*/ 1076 h 1854"/>
                    <a:gd name="connsiteX24" fmla="*/ 0 w 1196"/>
                    <a:gd name="connsiteY24" fmla="*/ 1316 h 1854"/>
                    <a:gd name="connsiteX25" fmla="*/ 0 w 1196"/>
                    <a:gd name="connsiteY25" fmla="*/ 1495 h 1854"/>
                    <a:gd name="connsiteX26" fmla="*/ 60 w 1196"/>
                    <a:gd name="connsiteY26" fmla="*/ 1615 h 1854"/>
                    <a:gd name="connsiteX27" fmla="*/ 120 w 1196"/>
                    <a:gd name="connsiteY27" fmla="*/ 1675 h 1854"/>
                    <a:gd name="connsiteX28" fmla="*/ 419 w 1196"/>
                    <a:gd name="connsiteY28"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96" h="1854">
                      <a:moveTo>
                        <a:pt x="120" y="1675"/>
                      </a:moveTo>
                      <a:lnTo>
                        <a:pt x="239" y="1734"/>
                      </a:lnTo>
                      <a:lnTo>
                        <a:pt x="359" y="1734"/>
                      </a:lnTo>
                      <a:lnTo>
                        <a:pt x="538" y="1675"/>
                      </a:lnTo>
                      <a:lnTo>
                        <a:pt x="718" y="1555"/>
                      </a:lnTo>
                      <a:lnTo>
                        <a:pt x="778" y="1495"/>
                      </a:lnTo>
                      <a:lnTo>
                        <a:pt x="837" y="1376"/>
                      </a:lnTo>
                      <a:lnTo>
                        <a:pt x="957" y="1136"/>
                      </a:lnTo>
                      <a:lnTo>
                        <a:pt x="1076" y="897"/>
                      </a:lnTo>
                      <a:lnTo>
                        <a:pt x="1136" y="718"/>
                      </a:lnTo>
                      <a:lnTo>
                        <a:pt x="1136" y="718"/>
                      </a:lnTo>
                      <a:lnTo>
                        <a:pt x="1196" y="478"/>
                      </a:lnTo>
                      <a:lnTo>
                        <a:pt x="1196" y="299"/>
                      </a:lnTo>
                      <a:lnTo>
                        <a:pt x="1196" y="239"/>
                      </a:lnTo>
                      <a:lnTo>
                        <a:pt x="1196" y="179"/>
                      </a:lnTo>
                      <a:lnTo>
                        <a:pt x="1136" y="60"/>
                      </a:lnTo>
                      <a:lnTo>
                        <a:pt x="1017" y="0"/>
                      </a:lnTo>
                      <a:lnTo>
                        <a:pt x="897" y="0"/>
                      </a:lnTo>
                      <a:lnTo>
                        <a:pt x="718" y="60"/>
                      </a:lnTo>
                      <a:lnTo>
                        <a:pt x="538" y="179"/>
                      </a:lnTo>
                      <a:lnTo>
                        <a:pt x="359" y="359"/>
                      </a:lnTo>
                      <a:lnTo>
                        <a:pt x="239" y="598"/>
                      </a:lnTo>
                      <a:lnTo>
                        <a:pt x="120" y="837"/>
                      </a:lnTo>
                      <a:lnTo>
                        <a:pt x="60" y="1076"/>
                      </a:lnTo>
                      <a:lnTo>
                        <a:pt x="0" y="1316"/>
                      </a:lnTo>
                      <a:lnTo>
                        <a:pt x="0" y="1495"/>
                      </a:lnTo>
                      <a:lnTo>
                        <a:pt x="60" y="1615"/>
                      </a:lnTo>
                      <a:lnTo>
                        <a:pt x="120" y="1675"/>
                      </a:lnTo>
                      <a:lnTo>
                        <a:pt x="419" y="1854"/>
                      </a:lnTo>
                    </a:path>
                  </a:pathLst>
                </a:custGeom>
                <a:noFill/>
                <a:ln w="6350" cap="rnd">
                  <a:solidFill>
                    <a:schemeClr val="bg1">
                      <a:alpha val="40000"/>
                    </a:schemeClr>
                  </a:solidFill>
                  <a:prstDash val="solid"/>
                  <a:round/>
                </a:ln>
              </p:spPr>
              <p:txBody>
                <a:bodyPr rtlCol="0" anchor="ctr"/>
                <a:lstStyle/>
                <a:p>
                  <a:endParaRPr lang="en-GB"/>
                </a:p>
              </p:txBody>
            </p:sp>
            <p:sp>
              <p:nvSpPr>
                <p:cNvPr id="5413" name="Vrije vorm: vorm 5412">
                  <a:extLst>
                    <a:ext uri="{FF2B5EF4-FFF2-40B4-BE49-F238E27FC236}">
                      <a16:creationId xmlns:a16="http://schemas.microsoft.com/office/drawing/2014/main" id="{D1087F74-D6A8-4CE5-89CA-7AA93EAC6978}"/>
                    </a:ext>
                  </a:extLst>
                </p:cNvPr>
                <p:cNvSpPr/>
                <p:nvPr/>
              </p:nvSpPr>
              <p:spPr>
                <a:xfrm>
                  <a:off x="6407466" y="1667884"/>
                  <a:ext cx="119" cy="657"/>
                </a:xfrm>
                <a:custGeom>
                  <a:avLst/>
                  <a:gdLst>
                    <a:gd name="connsiteX0" fmla="*/ 119 w 119"/>
                    <a:gd name="connsiteY0" fmla="*/ 0 h 657"/>
                    <a:gd name="connsiteX1" fmla="*/ 119 w 119"/>
                    <a:gd name="connsiteY1" fmla="*/ 60 h 657"/>
                    <a:gd name="connsiteX2" fmla="*/ 119 w 119"/>
                    <a:gd name="connsiteY2" fmla="*/ 120 h 657"/>
                    <a:gd name="connsiteX3" fmla="*/ 119 w 119"/>
                    <a:gd name="connsiteY3" fmla="*/ 299 h 657"/>
                    <a:gd name="connsiteX4" fmla="*/ 60 w 119"/>
                    <a:gd name="connsiteY4" fmla="*/ 538 h 657"/>
                    <a:gd name="connsiteX5" fmla="*/ 0 w 119"/>
                    <a:gd name="connsiteY5" fmla="*/ 658 h 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 h="657">
                      <a:moveTo>
                        <a:pt x="119" y="0"/>
                      </a:moveTo>
                      <a:lnTo>
                        <a:pt x="119" y="60"/>
                      </a:lnTo>
                      <a:lnTo>
                        <a:pt x="119" y="120"/>
                      </a:lnTo>
                      <a:lnTo>
                        <a:pt x="119" y="299"/>
                      </a:lnTo>
                      <a:lnTo>
                        <a:pt x="60" y="538"/>
                      </a:lnTo>
                      <a:lnTo>
                        <a:pt x="0" y="658"/>
                      </a:lnTo>
                    </a:path>
                  </a:pathLst>
                </a:custGeom>
                <a:noFill/>
                <a:ln w="6350" cap="rnd">
                  <a:solidFill>
                    <a:schemeClr val="bg1">
                      <a:alpha val="40000"/>
                    </a:schemeClr>
                  </a:solidFill>
                  <a:prstDash val="solid"/>
                  <a:round/>
                </a:ln>
              </p:spPr>
              <p:txBody>
                <a:bodyPr rtlCol="0" anchor="ctr"/>
                <a:lstStyle/>
                <a:p>
                  <a:endParaRPr lang="en-GB"/>
                </a:p>
              </p:txBody>
            </p:sp>
            <p:sp>
              <p:nvSpPr>
                <p:cNvPr id="5414" name="Vrije vorm: vorm 5413">
                  <a:extLst>
                    <a:ext uri="{FF2B5EF4-FFF2-40B4-BE49-F238E27FC236}">
                      <a16:creationId xmlns:a16="http://schemas.microsoft.com/office/drawing/2014/main" id="{289BC485-43EF-463E-8376-991F7413ED10}"/>
                    </a:ext>
                  </a:extLst>
                </p:cNvPr>
                <p:cNvSpPr/>
                <p:nvPr/>
              </p:nvSpPr>
              <p:spPr>
                <a:xfrm>
                  <a:off x="6407227" y="1667645"/>
                  <a:ext cx="298" cy="179"/>
                </a:xfrm>
                <a:custGeom>
                  <a:avLst/>
                  <a:gdLst>
                    <a:gd name="connsiteX0" fmla="*/ 0 w 298"/>
                    <a:gd name="connsiteY0" fmla="*/ 0 h 179"/>
                    <a:gd name="connsiteX1" fmla="*/ 299 w 298"/>
                    <a:gd name="connsiteY1" fmla="*/ 179 h 179"/>
                  </a:gdLst>
                  <a:ahLst/>
                  <a:cxnLst>
                    <a:cxn ang="0">
                      <a:pos x="connsiteX0" y="connsiteY0"/>
                    </a:cxn>
                    <a:cxn ang="0">
                      <a:pos x="connsiteX1" y="connsiteY1"/>
                    </a:cxn>
                  </a:cxnLst>
                  <a:rect l="l" t="t" r="r" b="b"/>
                  <a:pathLst>
                    <a:path w="298" h="179">
                      <a:moveTo>
                        <a:pt x="0" y="0"/>
                      </a:moveTo>
                      <a:lnTo>
                        <a:pt x="299" y="179"/>
                      </a:lnTo>
                    </a:path>
                  </a:pathLst>
                </a:custGeom>
                <a:noFill/>
                <a:ln w="6350" cap="rnd">
                  <a:solidFill>
                    <a:schemeClr val="bg1">
                      <a:alpha val="40000"/>
                    </a:schemeClr>
                  </a:solidFill>
                  <a:prstDash val="solid"/>
                  <a:round/>
                </a:ln>
              </p:spPr>
              <p:txBody>
                <a:bodyPr rtlCol="0" anchor="ctr"/>
                <a:lstStyle/>
                <a:p>
                  <a:endParaRPr lang="en-GB"/>
                </a:p>
              </p:txBody>
            </p:sp>
            <p:sp>
              <p:nvSpPr>
                <p:cNvPr id="5415" name="Vrije vorm: vorm 5414">
                  <a:extLst>
                    <a:ext uri="{FF2B5EF4-FFF2-40B4-BE49-F238E27FC236}">
                      <a16:creationId xmlns:a16="http://schemas.microsoft.com/office/drawing/2014/main" id="{80C0B499-1F38-41E0-941C-4CFAD012FE9E}"/>
                    </a:ext>
                  </a:extLst>
                </p:cNvPr>
                <p:cNvSpPr/>
                <p:nvPr/>
              </p:nvSpPr>
              <p:spPr>
                <a:xfrm>
                  <a:off x="6406509" y="1669439"/>
                  <a:ext cx="418" cy="59"/>
                </a:xfrm>
                <a:custGeom>
                  <a:avLst/>
                  <a:gdLst>
                    <a:gd name="connsiteX0" fmla="*/ 419 w 418"/>
                    <a:gd name="connsiteY0" fmla="*/ 0 h 59"/>
                    <a:gd name="connsiteX1" fmla="*/ 239 w 418"/>
                    <a:gd name="connsiteY1" fmla="*/ 60 h 59"/>
                    <a:gd name="connsiteX2" fmla="*/ 239 w 418"/>
                    <a:gd name="connsiteY2" fmla="*/ 60 h 59"/>
                    <a:gd name="connsiteX3" fmla="*/ 120 w 418"/>
                    <a:gd name="connsiteY3" fmla="*/ 60 h 59"/>
                    <a:gd name="connsiteX4" fmla="*/ 0 w 418"/>
                    <a:gd name="connsiteY4" fmla="*/ 0 h 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 h="59">
                      <a:moveTo>
                        <a:pt x="419" y="0"/>
                      </a:moveTo>
                      <a:lnTo>
                        <a:pt x="239" y="60"/>
                      </a:lnTo>
                      <a:lnTo>
                        <a:pt x="239" y="60"/>
                      </a:lnTo>
                      <a:lnTo>
                        <a:pt x="120" y="6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16" name="Vrije vorm: vorm 5415">
                  <a:extLst>
                    <a:ext uri="{FF2B5EF4-FFF2-40B4-BE49-F238E27FC236}">
                      <a16:creationId xmlns:a16="http://schemas.microsoft.com/office/drawing/2014/main" id="{2E8CA5C3-2A70-4319-B217-7A2789804C0C}"/>
                    </a:ext>
                  </a:extLst>
                </p:cNvPr>
                <p:cNvSpPr/>
                <p:nvPr/>
              </p:nvSpPr>
              <p:spPr>
                <a:xfrm>
                  <a:off x="6405134" y="1671532"/>
                  <a:ext cx="657" cy="239"/>
                </a:xfrm>
                <a:custGeom>
                  <a:avLst/>
                  <a:gdLst>
                    <a:gd name="connsiteX0" fmla="*/ 658 w 657"/>
                    <a:gd name="connsiteY0" fmla="*/ 0 h 239"/>
                    <a:gd name="connsiteX1" fmla="*/ 598 w 657"/>
                    <a:gd name="connsiteY1" fmla="*/ 60 h 239"/>
                    <a:gd name="connsiteX2" fmla="*/ 419 w 657"/>
                    <a:gd name="connsiteY2" fmla="*/ 179 h 239"/>
                    <a:gd name="connsiteX3" fmla="*/ 239 w 657"/>
                    <a:gd name="connsiteY3" fmla="*/ 239 h 239"/>
                    <a:gd name="connsiteX4" fmla="*/ 239 w 657"/>
                    <a:gd name="connsiteY4" fmla="*/ 239 h 239"/>
                    <a:gd name="connsiteX5" fmla="*/ 120 w 657"/>
                    <a:gd name="connsiteY5" fmla="*/ 239 h 239"/>
                    <a:gd name="connsiteX6" fmla="*/ 0 w 657"/>
                    <a:gd name="connsiteY6" fmla="*/ 179 h 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 h="239">
                      <a:moveTo>
                        <a:pt x="658" y="0"/>
                      </a:moveTo>
                      <a:lnTo>
                        <a:pt x="598" y="60"/>
                      </a:lnTo>
                      <a:lnTo>
                        <a:pt x="419" y="179"/>
                      </a:lnTo>
                      <a:lnTo>
                        <a:pt x="239" y="239"/>
                      </a:lnTo>
                      <a:lnTo>
                        <a:pt x="239" y="239"/>
                      </a:lnTo>
                      <a:lnTo>
                        <a:pt x="120" y="239"/>
                      </a:lnTo>
                      <a:lnTo>
                        <a:pt x="0" y="179"/>
                      </a:lnTo>
                    </a:path>
                  </a:pathLst>
                </a:custGeom>
                <a:noFill/>
                <a:ln w="6350" cap="rnd">
                  <a:solidFill>
                    <a:schemeClr val="bg1">
                      <a:alpha val="40000"/>
                    </a:schemeClr>
                  </a:solidFill>
                  <a:prstDash val="solid"/>
                  <a:round/>
                </a:ln>
              </p:spPr>
              <p:txBody>
                <a:bodyPr rtlCol="0" anchor="ctr"/>
                <a:lstStyle/>
                <a:p>
                  <a:endParaRPr lang="en-GB"/>
                </a:p>
              </p:txBody>
            </p:sp>
            <p:sp>
              <p:nvSpPr>
                <p:cNvPr id="5417" name="Vrije vorm: vorm 5416">
                  <a:extLst>
                    <a:ext uri="{FF2B5EF4-FFF2-40B4-BE49-F238E27FC236}">
                      <a16:creationId xmlns:a16="http://schemas.microsoft.com/office/drawing/2014/main" id="{DDE867AA-4D22-4188-B2EC-314D7E76897C}"/>
                    </a:ext>
                  </a:extLst>
                </p:cNvPr>
                <p:cNvSpPr/>
                <p:nvPr/>
              </p:nvSpPr>
              <p:spPr>
                <a:xfrm>
                  <a:off x="6404655" y="1669977"/>
                  <a:ext cx="1256" cy="1854"/>
                </a:xfrm>
                <a:custGeom>
                  <a:avLst/>
                  <a:gdLst>
                    <a:gd name="connsiteX0" fmla="*/ 180 w 1256"/>
                    <a:gd name="connsiteY0" fmla="*/ 1675 h 1854"/>
                    <a:gd name="connsiteX1" fmla="*/ 299 w 1256"/>
                    <a:gd name="connsiteY1" fmla="*/ 1734 h 1854"/>
                    <a:gd name="connsiteX2" fmla="*/ 419 w 1256"/>
                    <a:gd name="connsiteY2" fmla="*/ 1734 h 1854"/>
                    <a:gd name="connsiteX3" fmla="*/ 419 w 1256"/>
                    <a:gd name="connsiteY3" fmla="*/ 1734 h 1854"/>
                    <a:gd name="connsiteX4" fmla="*/ 598 w 1256"/>
                    <a:gd name="connsiteY4" fmla="*/ 1675 h 1854"/>
                    <a:gd name="connsiteX5" fmla="*/ 778 w 1256"/>
                    <a:gd name="connsiteY5" fmla="*/ 1555 h 1854"/>
                    <a:gd name="connsiteX6" fmla="*/ 837 w 1256"/>
                    <a:gd name="connsiteY6" fmla="*/ 1495 h 1854"/>
                    <a:gd name="connsiteX7" fmla="*/ 897 w 1256"/>
                    <a:gd name="connsiteY7" fmla="*/ 1376 h 1854"/>
                    <a:gd name="connsiteX8" fmla="*/ 1017 w 1256"/>
                    <a:gd name="connsiteY8" fmla="*/ 1136 h 1854"/>
                    <a:gd name="connsiteX9" fmla="*/ 1136 w 1256"/>
                    <a:gd name="connsiteY9" fmla="*/ 897 h 1854"/>
                    <a:gd name="connsiteX10" fmla="*/ 1196 w 1256"/>
                    <a:gd name="connsiteY10" fmla="*/ 718 h 1854"/>
                    <a:gd name="connsiteX11" fmla="*/ 1196 w 1256"/>
                    <a:gd name="connsiteY11" fmla="*/ 718 h 1854"/>
                    <a:gd name="connsiteX12" fmla="*/ 1256 w 1256"/>
                    <a:gd name="connsiteY12" fmla="*/ 478 h 1854"/>
                    <a:gd name="connsiteX13" fmla="*/ 1256 w 1256"/>
                    <a:gd name="connsiteY13" fmla="*/ 299 h 1854"/>
                    <a:gd name="connsiteX14" fmla="*/ 1196 w 1256"/>
                    <a:gd name="connsiteY14" fmla="*/ 179 h 1854"/>
                    <a:gd name="connsiteX15" fmla="*/ 1136 w 1256"/>
                    <a:gd name="connsiteY15" fmla="*/ 60 h 1854"/>
                    <a:gd name="connsiteX16" fmla="*/ 1017 w 1256"/>
                    <a:gd name="connsiteY16" fmla="*/ 0 h 1854"/>
                    <a:gd name="connsiteX17" fmla="*/ 897 w 1256"/>
                    <a:gd name="connsiteY17" fmla="*/ 0 h 1854"/>
                    <a:gd name="connsiteX18" fmla="*/ 718 w 1256"/>
                    <a:gd name="connsiteY18" fmla="*/ 60 h 1854"/>
                    <a:gd name="connsiteX19" fmla="*/ 538 w 1256"/>
                    <a:gd name="connsiteY19" fmla="*/ 179 h 1854"/>
                    <a:gd name="connsiteX20" fmla="*/ 359 w 1256"/>
                    <a:gd name="connsiteY20" fmla="*/ 359 h 1854"/>
                    <a:gd name="connsiteX21" fmla="*/ 239 w 1256"/>
                    <a:gd name="connsiteY21" fmla="*/ 598 h 1854"/>
                    <a:gd name="connsiteX22" fmla="*/ 120 w 1256"/>
                    <a:gd name="connsiteY22" fmla="*/ 837 h 1854"/>
                    <a:gd name="connsiteX23" fmla="*/ 60 w 1256"/>
                    <a:gd name="connsiteY23" fmla="*/ 1076 h 1854"/>
                    <a:gd name="connsiteX24" fmla="*/ 0 w 1256"/>
                    <a:gd name="connsiteY24" fmla="*/ 1316 h 1854"/>
                    <a:gd name="connsiteX25" fmla="*/ 0 w 1256"/>
                    <a:gd name="connsiteY25" fmla="*/ 1316 h 1854"/>
                    <a:gd name="connsiteX26" fmla="*/ 0 w 1256"/>
                    <a:gd name="connsiteY26" fmla="*/ 1376 h 1854"/>
                    <a:gd name="connsiteX27" fmla="*/ 0 w 1256"/>
                    <a:gd name="connsiteY27" fmla="*/ 1495 h 1854"/>
                    <a:gd name="connsiteX28" fmla="*/ 60 w 1256"/>
                    <a:gd name="connsiteY28" fmla="*/ 1615 h 1854"/>
                    <a:gd name="connsiteX29" fmla="*/ 180 w 1256"/>
                    <a:gd name="connsiteY29" fmla="*/ 1675 h 1854"/>
                    <a:gd name="connsiteX30" fmla="*/ 180 w 1256"/>
                    <a:gd name="connsiteY30" fmla="*/ 1675 h 1854"/>
                    <a:gd name="connsiteX31" fmla="*/ 479 w 1256"/>
                    <a:gd name="connsiteY31"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56" h="1854">
                      <a:moveTo>
                        <a:pt x="180" y="1675"/>
                      </a:moveTo>
                      <a:lnTo>
                        <a:pt x="299" y="1734"/>
                      </a:lnTo>
                      <a:lnTo>
                        <a:pt x="419" y="1734"/>
                      </a:lnTo>
                      <a:lnTo>
                        <a:pt x="419" y="1734"/>
                      </a:lnTo>
                      <a:lnTo>
                        <a:pt x="598" y="1675"/>
                      </a:lnTo>
                      <a:lnTo>
                        <a:pt x="778" y="1555"/>
                      </a:lnTo>
                      <a:lnTo>
                        <a:pt x="837" y="1495"/>
                      </a:lnTo>
                      <a:lnTo>
                        <a:pt x="897" y="1376"/>
                      </a:lnTo>
                      <a:lnTo>
                        <a:pt x="1017" y="1136"/>
                      </a:lnTo>
                      <a:lnTo>
                        <a:pt x="1136" y="897"/>
                      </a:lnTo>
                      <a:lnTo>
                        <a:pt x="1196" y="718"/>
                      </a:lnTo>
                      <a:lnTo>
                        <a:pt x="1196" y="718"/>
                      </a:lnTo>
                      <a:lnTo>
                        <a:pt x="1256" y="478"/>
                      </a:lnTo>
                      <a:lnTo>
                        <a:pt x="1256" y="299"/>
                      </a:lnTo>
                      <a:lnTo>
                        <a:pt x="1196" y="179"/>
                      </a:lnTo>
                      <a:lnTo>
                        <a:pt x="1136" y="60"/>
                      </a:lnTo>
                      <a:lnTo>
                        <a:pt x="1017" y="0"/>
                      </a:lnTo>
                      <a:lnTo>
                        <a:pt x="897" y="0"/>
                      </a:lnTo>
                      <a:lnTo>
                        <a:pt x="718" y="60"/>
                      </a:lnTo>
                      <a:lnTo>
                        <a:pt x="538" y="179"/>
                      </a:lnTo>
                      <a:lnTo>
                        <a:pt x="359" y="359"/>
                      </a:lnTo>
                      <a:lnTo>
                        <a:pt x="239" y="598"/>
                      </a:lnTo>
                      <a:lnTo>
                        <a:pt x="120" y="837"/>
                      </a:lnTo>
                      <a:lnTo>
                        <a:pt x="60" y="1076"/>
                      </a:lnTo>
                      <a:lnTo>
                        <a:pt x="0" y="1316"/>
                      </a:lnTo>
                      <a:lnTo>
                        <a:pt x="0" y="1316"/>
                      </a:lnTo>
                      <a:lnTo>
                        <a:pt x="0" y="1376"/>
                      </a:lnTo>
                      <a:lnTo>
                        <a:pt x="0" y="1495"/>
                      </a:lnTo>
                      <a:lnTo>
                        <a:pt x="60" y="1615"/>
                      </a:lnTo>
                      <a:lnTo>
                        <a:pt x="180" y="1675"/>
                      </a:lnTo>
                      <a:lnTo>
                        <a:pt x="180" y="1675"/>
                      </a:lnTo>
                      <a:lnTo>
                        <a:pt x="479" y="1854"/>
                      </a:lnTo>
                    </a:path>
                  </a:pathLst>
                </a:custGeom>
                <a:noFill/>
                <a:ln w="6350" cap="rnd">
                  <a:solidFill>
                    <a:schemeClr val="bg1">
                      <a:alpha val="40000"/>
                    </a:schemeClr>
                  </a:solidFill>
                  <a:prstDash val="solid"/>
                  <a:round/>
                </a:ln>
              </p:spPr>
              <p:txBody>
                <a:bodyPr rtlCol="0" anchor="ctr"/>
                <a:lstStyle/>
                <a:p>
                  <a:endParaRPr lang="en-GB"/>
                </a:p>
              </p:txBody>
            </p:sp>
            <p:sp>
              <p:nvSpPr>
                <p:cNvPr id="5418" name="Vrije vorm: vorm 5417">
                  <a:extLst>
                    <a:ext uri="{FF2B5EF4-FFF2-40B4-BE49-F238E27FC236}">
                      <a16:creationId xmlns:a16="http://schemas.microsoft.com/office/drawing/2014/main" id="{B7638AE3-0CED-49FA-9930-2F3A7363E8BA}"/>
                    </a:ext>
                  </a:extLst>
                </p:cNvPr>
                <p:cNvSpPr/>
                <p:nvPr/>
              </p:nvSpPr>
              <p:spPr>
                <a:xfrm>
                  <a:off x="6406150" y="1670157"/>
                  <a:ext cx="59" cy="418"/>
                </a:xfrm>
                <a:custGeom>
                  <a:avLst/>
                  <a:gdLst>
                    <a:gd name="connsiteX0" fmla="*/ 0 w 59"/>
                    <a:gd name="connsiteY0" fmla="*/ 0 h 418"/>
                    <a:gd name="connsiteX1" fmla="*/ 60 w 59"/>
                    <a:gd name="connsiteY1" fmla="*/ 120 h 418"/>
                    <a:gd name="connsiteX2" fmla="*/ 60 w 59"/>
                    <a:gd name="connsiteY2" fmla="*/ 179 h 418"/>
                    <a:gd name="connsiteX3" fmla="*/ 60 w 59"/>
                    <a:gd name="connsiteY3" fmla="*/ 239 h 418"/>
                    <a:gd name="connsiteX4" fmla="*/ 60 w 59"/>
                    <a:gd name="connsiteY4" fmla="*/ 419 h 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 h="418">
                      <a:moveTo>
                        <a:pt x="0" y="0"/>
                      </a:moveTo>
                      <a:lnTo>
                        <a:pt x="60" y="120"/>
                      </a:lnTo>
                      <a:lnTo>
                        <a:pt x="60" y="179"/>
                      </a:lnTo>
                      <a:lnTo>
                        <a:pt x="60" y="239"/>
                      </a:lnTo>
                      <a:lnTo>
                        <a:pt x="60" y="419"/>
                      </a:lnTo>
                    </a:path>
                  </a:pathLst>
                </a:custGeom>
                <a:noFill/>
                <a:ln w="6350" cap="rnd">
                  <a:solidFill>
                    <a:schemeClr val="bg1">
                      <a:alpha val="40000"/>
                    </a:schemeClr>
                  </a:solidFill>
                  <a:prstDash val="solid"/>
                  <a:round/>
                </a:ln>
              </p:spPr>
              <p:txBody>
                <a:bodyPr rtlCol="0" anchor="ctr"/>
                <a:lstStyle/>
                <a:p>
                  <a:endParaRPr lang="en-GB"/>
                </a:p>
              </p:txBody>
            </p:sp>
            <p:sp>
              <p:nvSpPr>
                <p:cNvPr id="5419" name="Vrije vorm: vorm 5418">
                  <a:extLst>
                    <a:ext uri="{FF2B5EF4-FFF2-40B4-BE49-F238E27FC236}">
                      <a16:creationId xmlns:a16="http://schemas.microsoft.com/office/drawing/2014/main" id="{5D961310-3B5F-447D-8453-4F7113B59F72}"/>
                    </a:ext>
                  </a:extLst>
                </p:cNvPr>
                <p:cNvSpPr/>
                <p:nvPr/>
              </p:nvSpPr>
              <p:spPr>
                <a:xfrm>
                  <a:off x="6405851" y="1669977"/>
                  <a:ext cx="298" cy="179"/>
                </a:xfrm>
                <a:custGeom>
                  <a:avLst/>
                  <a:gdLst>
                    <a:gd name="connsiteX0" fmla="*/ 0 w 298"/>
                    <a:gd name="connsiteY0" fmla="*/ 0 h 179"/>
                    <a:gd name="connsiteX1" fmla="*/ 299 w 298"/>
                    <a:gd name="connsiteY1" fmla="*/ 179 h 179"/>
                  </a:gdLst>
                  <a:ahLst/>
                  <a:cxnLst>
                    <a:cxn ang="0">
                      <a:pos x="connsiteX0" y="connsiteY0"/>
                    </a:cxn>
                    <a:cxn ang="0">
                      <a:pos x="connsiteX1" y="connsiteY1"/>
                    </a:cxn>
                  </a:cxnLst>
                  <a:rect l="l" t="t" r="r" b="b"/>
                  <a:pathLst>
                    <a:path w="298" h="179">
                      <a:moveTo>
                        <a:pt x="0" y="0"/>
                      </a:moveTo>
                      <a:lnTo>
                        <a:pt x="299" y="179"/>
                      </a:lnTo>
                    </a:path>
                  </a:pathLst>
                </a:custGeom>
                <a:noFill/>
                <a:ln w="6350" cap="rnd">
                  <a:solidFill>
                    <a:schemeClr val="bg1">
                      <a:alpha val="40000"/>
                    </a:schemeClr>
                  </a:solidFill>
                  <a:prstDash val="solid"/>
                  <a:round/>
                </a:ln>
              </p:spPr>
              <p:txBody>
                <a:bodyPr rtlCol="0" anchor="ctr"/>
                <a:lstStyle/>
                <a:p>
                  <a:endParaRPr lang="en-GB"/>
                </a:p>
              </p:txBody>
            </p:sp>
            <p:sp>
              <p:nvSpPr>
                <p:cNvPr id="5420" name="Vrije vorm: vorm 5419">
                  <a:extLst>
                    <a:ext uri="{FF2B5EF4-FFF2-40B4-BE49-F238E27FC236}">
                      <a16:creationId xmlns:a16="http://schemas.microsoft.com/office/drawing/2014/main" id="{B2F7CA69-E277-484E-865D-FDD6DD9A9B0C}"/>
                    </a:ext>
                  </a:extLst>
                </p:cNvPr>
                <p:cNvSpPr/>
                <p:nvPr/>
              </p:nvSpPr>
              <p:spPr>
                <a:xfrm>
                  <a:off x="6408303" y="1668063"/>
                  <a:ext cx="777" cy="1016"/>
                </a:xfrm>
                <a:custGeom>
                  <a:avLst/>
                  <a:gdLst>
                    <a:gd name="connsiteX0" fmla="*/ 419 w 777"/>
                    <a:gd name="connsiteY0" fmla="*/ 1017 h 1016"/>
                    <a:gd name="connsiteX1" fmla="*/ 180 w 777"/>
                    <a:gd name="connsiteY1" fmla="*/ 897 h 1016"/>
                    <a:gd name="connsiteX2" fmla="*/ 60 w 777"/>
                    <a:gd name="connsiteY2" fmla="*/ 837 h 1016"/>
                    <a:gd name="connsiteX3" fmla="*/ 0 w 777"/>
                    <a:gd name="connsiteY3" fmla="*/ 778 h 1016"/>
                    <a:gd name="connsiteX4" fmla="*/ 0 w 777"/>
                    <a:gd name="connsiteY4" fmla="*/ 718 h 1016"/>
                    <a:gd name="connsiteX5" fmla="*/ 0 w 777"/>
                    <a:gd name="connsiteY5" fmla="*/ 658 h 1016"/>
                    <a:gd name="connsiteX6" fmla="*/ 0 w 777"/>
                    <a:gd name="connsiteY6" fmla="*/ 658 h 1016"/>
                    <a:gd name="connsiteX7" fmla="*/ 0 w 777"/>
                    <a:gd name="connsiteY7" fmla="*/ 538 h 1016"/>
                    <a:gd name="connsiteX8" fmla="*/ 60 w 777"/>
                    <a:gd name="connsiteY8" fmla="*/ 419 h 1016"/>
                    <a:gd name="connsiteX9" fmla="*/ 120 w 777"/>
                    <a:gd name="connsiteY9" fmla="*/ 359 h 1016"/>
                    <a:gd name="connsiteX10" fmla="*/ 120 w 777"/>
                    <a:gd name="connsiteY10" fmla="*/ 359 h 1016"/>
                    <a:gd name="connsiteX11" fmla="*/ 120 w 777"/>
                    <a:gd name="connsiteY11" fmla="*/ 299 h 1016"/>
                    <a:gd name="connsiteX12" fmla="*/ 180 w 777"/>
                    <a:gd name="connsiteY12" fmla="*/ 179 h 1016"/>
                    <a:gd name="connsiteX13" fmla="*/ 239 w 777"/>
                    <a:gd name="connsiteY13" fmla="*/ 120 h 1016"/>
                    <a:gd name="connsiteX14" fmla="*/ 299 w 777"/>
                    <a:gd name="connsiteY14" fmla="*/ 60 h 1016"/>
                    <a:gd name="connsiteX15" fmla="*/ 359 w 777"/>
                    <a:gd name="connsiteY15" fmla="*/ 0 h 1016"/>
                    <a:gd name="connsiteX16" fmla="*/ 419 w 777"/>
                    <a:gd name="connsiteY16" fmla="*/ 0 h 1016"/>
                    <a:gd name="connsiteX17" fmla="*/ 479 w 777"/>
                    <a:gd name="connsiteY17" fmla="*/ 0 h 1016"/>
                    <a:gd name="connsiteX18" fmla="*/ 778 w 777"/>
                    <a:gd name="connsiteY18" fmla="*/ 179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7" h="1016">
                      <a:moveTo>
                        <a:pt x="419" y="1017"/>
                      </a:moveTo>
                      <a:lnTo>
                        <a:pt x="180" y="897"/>
                      </a:lnTo>
                      <a:lnTo>
                        <a:pt x="60" y="837"/>
                      </a:lnTo>
                      <a:lnTo>
                        <a:pt x="0" y="778"/>
                      </a:lnTo>
                      <a:lnTo>
                        <a:pt x="0" y="718"/>
                      </a:lnTo>
                      <a:lnTo>
                        <a:pt x="0" y="658"/>
                      </a:lnTo>
                      <a:lnTo>
                        <a:pt x="0" y="658"/>
                      </a:lnTo>
                      <a:lnTo>
                        <a:pt x="0" y="538"/>
                      </a:lnTo>
                      <a:lnTo>
                        <a:pt x="60" y="419"/>
                      </a:lnTo>
                      <a:lnTo>
                        <a:pt x="120" y="359"/>
                      </a:lnTo>
                      <a:lnTo>
                        <a:pt x="120" y="359"/>
                      </a:lnTo>
                      <a:lnTo>
                        <a:pt x="120" y="299"/>
                      </a:lnTo>
                      <a:lnTo>
                        <a:pt x="180" y="179"/>
                      </a:lnTo>
                      <a:lnTo>
                        <a:pt x="239" y="120"/>
                      </a:lnTo>
                      <a:lnTo>
                        <a:pt x="299" y="60"/>
                      </a:lnTo>
                      <a:lnTo>
                        <a:pt x="359" y="0"/>
                      </a:lnTo>
                      <a:lnTo>
                        <a:pt x="419" y="0"/>
                      </a:lnTo>
                      <a:lnTo>
                        <a:pt x="479" y="0"/>
                      </a:lnTo>
                      <a:lnTo>
                        <a:pt x="778" y="179"/>
                      </a:lnTo>
                    </a:path>
                  </a:pathLst>
                </a:custGeom>
                <a:noFill/>
                <a:ln w="6350" cap="rnd">
                  <a:solidFill>
                    <a:schemeClr val="bg1">
                      <a:alpha val="40000"/>
                    </a:schemeClr>
                  </a:solidFill>
                  <a:prstDash val="solid"/>
                  <a:round/>
                </a:ln>
              </p:spPr>
              <p:txBody>
                <a:bodyPr rtlCol="0" anchor="ctr"/>
                <a:lstStyle/>
                <a:p>
                  <a:endParaRPr lang="en-GB"/>
                </a:p>
              </p:txBody>
            </p:sp>
            <p:sp>
              <p:nvSpPr>
                <p:cNvPr id="5421" name="Vrije vorm: vorm 5420">
                  <a:extLst>
                    <a:ext uri="{FF2B5EF4-FFF2-40B4-BE49-F238E27FC236}">
                      <a16:creationId xmlns:a16="http://schemas.microsoft.com/office/drawing/2014/main" id="{8115DB9D-C8C0-4F52-A2D8-024415018DD9}"/>
                    </a:ext>
                  </a:extLst>
                </p:cNvPr>
                <p:cNvSpPr/>
                <p:nvPr/>
              </p:nvSpPr>
              <p:spPr>
                <a:xfrm>
                  <a:off x="6403937" y="1671054"/>
                  <a:ext cx="717" cy="1016"/>
                </a:xfrm>
                <a:custGeom>
                  <a:avLst/>
                  <a:gdLst>
                    <a:gd name="connsiteX0" fmla="*/ 419 w 717"/>
                    <a:gd name="connsiteY0" fmla="*/ 1017 h 1016"/>
                    <a:gd name="connsiteX1" fmla="*/ 239 w 717"/>
                    <a:gd name="connsiteY1" fmla="*/ 957 h 1016"/>
                    <a:gd name="connsiteX2" fmla="*/ 239 w 717"/>
                    <a:gd name="connsiteY2" fmla="*/ 957 h 1016"/>
                    <a:gd name="connsiteX3" fmla="*/ 60 w 717"/>
                    <a:gd name="connsiteY3" fmla="*/ 837 h 1016"/>
                    <a:gd name="connsiteX4" fmla="*/ 0 w 717"/>
                    <a:gd name="connsiteY4" fmla="*/ 778 h 1016"/>
                    <a:gd name="connsiteX5" fmla="*/ 0 w 717"/>
                    <a:gd name="connsiteY5" fmla="*/ 718 h 1016"/>
                    <a:gd name="connsiteX6" fmla="*/ 0 w 717"/>
                    <a:gd name="connsiteY6" fmla="*/ 658 h 1016"/>
                    <a:gd name="connsiteX7" fmla="*/ 0 w 717"/>
                    <a:gd name="connsiteY7" fmla="*/ 538 h 1016"/>
                    <a:gd name="connsiteX8" fmla="*/ 60 w 717"/>
                    <a:gd name="connsiteY8" fmla="*/ 419 h 1016"/>
                    <a:gd name="connsiteX9" fmla="*/ 120 w 717"/>
                    <a:gd name="connsiteY9" fmla="*/ 299 h 1016"/>
                    <a:gd name="connsiteX10" fmla="*/ 180 w 717"/>
                    <a:gd name="connsiteY10" fmla="*/ 179 h 1016"/>
                    <a:gd name="connsiteX11" fmla="*/ 239 w 717"/>
                    <a:gd name="connsiteY11" fmla="*/ 120 h 1016"/>
                    <a:gd name="connsiteX12" fmla="*/ 299 w 717"/>
                    <a:gd name="connsiteY12" fmla="*/ 60 h 1016"/>
                    <a:gd name="connsiteX13" fmla="*/ 359 w 717"/>
                    <a:gd name="connsiteY13" fmla="*/ 0 h 1016"/>
                    <a:gd name="connsiteX14" fmla="*/ 419 w 717"/>
                    <a:gd name="connsiteY14" fmla="*/ 0 h 1016"/>
                    <a:gd name="connsiteX15" fmla="*/ 419 w 717"/>
                    <a:gd name="connsiteY15" fmla="*/ 0 h 1016"/>
                    <a:gd name="connsiteX16" fmla="*/ 419 w 717"/>
                    <a:gd name="connsiteY16" fmla="*/ 0 h 1016"/>
                    <a:gd name="connsiteX17" fmla="*/ 479 w 717"/>
                    <a:gd name="connsiteY17" fmla="*/ 0 h 1016"/>
                    <a:gd name="connsiteX18" fmla="*/ 718 w 717"/>
                    <a:gd name="connsiteY18" fmla="*/ 120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17" h="1016">
                      <a:moveTo>
                        <a:pt x="419" y="1017"/>
                      </a:moveTo>
                      <a:lnTo>
                        <a:pt x="239" y="957"/>
                      </a:lnTo>
                      <a:lnTo>
                        <a:pt x="239" y="957"/>
                      </a:lnTo>
                      <a:lnTo>
                        <a:pt x="60" y="837"/>
                      </a:lnTo>
                      <a:lnTo>
                        <a:pt x="0" y="778"/>
                      </a:lnTo>
                      <a:lnTo>
                        <a:pt x="0" y="718"/>
                      </a:lnTo>
                      <a:lnTo>
                        <a:pt x="0" y="658"/>
                      </a:lnTo>
                      <a:lnTo>
                        <a:pt x="0" y="538"/>
                      </a:lnTo>
                      <a:lnTo>
                        <a:pt x="60" y="419"/>
                      </a:lnTo>
                      <a:lnTo>
                        <a:pt x="120" y="299"/>
                      </a:lnTo>
                      <a:lnTo>
                        <a:pt x="180" y="179"/>
                      </a:lnTo>
                      <a:lnTo>
                        <a:pt x="239" y="120"/>
                      </a:lnTo>
                      <a:lnTo>
                        <a:pt x="299" y="60"/>
                      </a:lnTo>
                      <a:lnTo>
                        <a:pt x="359" y="0"/>
                      </a:lnTo>
                      <a:lnTo>
                        <a:pt x="419" y="0"/>
                      </a:lnTo>
                      <a:lnTo>
                        <a:pt x="419" y="0"/>
                      </a:lnTo>
                      <a:lnTo>
                        <a:pt x="419" y="0"/>
                      </a:lnTo>
                      <a:lnTo>
                        <a:pt x="479" y="0"/>
                      </a:lnTo>
                      <a:lnTo>
                        <a:pt x="718" y="120"/>
                      </a:lnTo>
                    </a:path>
                  </a:pathLst>
                </a:custGeom>
                <a:noFill/>
                <a:ln w="6350" cap="rnd">
                  <a:solidFill>
                    <a:schemeClr val="bg1">
                      <a:alpha val="40000"/>
                    </a:schemeClr>
                  </a:solidFill>
                  <a:prstDash val="solid"/>
                  <a:round/>
                </a:ln>
              </p:spPr>
              <p:txBody>
                <a:bodyPr rtlCol="0" anchor="ctr"/>
                <a:lstStyle/>
                <a:p>
                  <a:endParaRPr lang="en-GB"/>
                </a:p>
              </p:txBody>
            </p:sp>
            <p:sp>
              <p:nvSpPr>
                <p:cNvPr id="5422" name="Vrije vorm: vorm 5421">
                  <a:extLst>
                    <a:ext uri="{FF2B5EF4-FFF2-40B4-BE49-F238E27FC236}">
                      <a16:creationId xmlns:a16="http://schemas.microsoft.com/office/drawing/2014/main" id="{632C1B3E-2286-4B0E-BC9A-EA0CD7102449}"/>
                    </a:ext>
                  </a:extLst>
                </p:cNvPr>
                <p:cNvSpPr/>
                <p:nvPr/>
              </p:nvSpPr>
              <p:spPr>
                <a:xfrm>
                  <a:off x="6403758" y="1665671"/>
                  <a:ext cx="6100" cy="8911"/>
                </a:xfrm>
                <a:custGeom>
                  <a:avLst/>
                  <a:gdLst>
                    <a:gd name="connsiteX0" fmla="*/ 718 w 6100"/>
                    <a:gd name="connsiteY0" fmla="*/ 8732 h 8911"/>
                    <a:gd name="connsiteX1" fmla="*/ 837 w 6100"/>
                    <a:gd name="connsiteY1" fmla="*/ 8732 h 8911"/>
                    <a:gd name="connsiteX2" fmla="*/ 837 w 6100"/>
                    <a:gd name="connsiteY2" fmla="*/ 8732 h 8911"/>
                    <a:gd name="connsiteX3" fmla="*/ 1316 w 6100"/>
                    <a:gd name="connsiteY3" fmla="*/ 8792 h 8911"/>
                    <a:gd name="connsiteX4" fmla="*/ 2033 w 6100"/>
                    <a:gd name="connsiteY4" fmla="*/ 8552 h 8911"/>
                    <a:gd name="connsiteX5" fmla="*/ 2811 w 6100"/>
                    <a:gd name="connsiteY5" fmla="*/ 8014 h 8911"/>
                    <a:gd name="connsiteX6" fmla="*/ 3588 w 6100"/>
                    <a:gd name="connsiteY6" fmla="*/ 7237 h 8911"/>
                    <a:gd name="connsiteX7" fmla="*/ 4366 w 6100"/>
                    <a:gd name="connsiteY7" fmla="*/ 6280 h 8911"/>
                    <a:gd name="connsiteX8" fmla="*/ 5024 w 6100"/>
                    <a:gd name="connsiteY8" fmla="*/ 5143 h 8911"/>
                    <a:gd name="connsiteX9" fmla="*/ 5562 w 6100"/>
                    <a:gd name="connsiteY9" fmla="*/ 4007 h 8911"/>
                    <a:gd name="connsiteX10" fmla="*/ 5921 w 6100"/>
                    <a:gd name="connsiteY10" fmla="*/ 2871 h 8911"/>
                    <a:gd name="connsiteX11" fmla="*/ 6100 w 6100"/>
                    <a:gd name="connsiteY11" fmla="*/ 1854 h 8911"/>
                    <a:gd name="connsiteX12" fmla="*/ 6040 w 6100"/>
                    <a:gd name="connsiteY12" fmla="*/ 1017 h 8911"/>
                    <a:gd name="connsiteX13" fmla="*/ 5801 w 6100"/>
                    <a:gd name="connsiteY13" fmla="*/ 419 h 8911"/>
                    <a:gd name="connsiteX14" fmla="*/ 5622 w 6100"/>
                    <a:gd name="connsiteY14" fmla="*/ 239 h 8911"/>
                    <a:gd name="connsiteX15" fmla="*/ 5622 w 6100"/>
                    <a:gd name="connsiteY15" fmla="*/ 239 h 8911"/>
                    <a:gd name="connsiteX16" fmla="*/ 5382 w 6100"/>
                    <a:gd name="connsiteY16" fmla="*/ 60 h 8911"/>
                    <a:gd name="connsiteX17" fmla="*/ 4785 w 6100"/>
                    <a:gd name="connsiteY17" fmla="*/ 0 h 8911"/>
                    <a:gd name="connsiteX18" fmla="*/ 4067 w 6100"/>
                    <a:gd name="connsiteY18" fmla="*/ 239 h 8911"/>
                    <a:gd name="connsiteX19" fmla="*/ 3289 w 6100"/>
                    <a:gd name="connsiteY19" fmla="*/ 778 h 8911"/>
                    <a:gd name="connsiteX20" fmla="*/ 2512 w 6100"/>
                    <a:gd name="connsiteY20" fmla="*/ 1555 h 8911"/>
                    <a:gd name="connsiteX21" fmla="*/ 1734 w 6100"/>
                    <a:gd name="connsiteY21" fmla="*/ 2512 h 8911"/>
                    <a:gd name="connsiteX22" fmla="*/ 1076 w 6100"/>
                    <a:gd name="connsiteY22" fmla="*/ 3588 h 8911"/>
                    <a:gd name="connsiteX23" fmla="*/ 538 w 6100"/>
                    <a:gd name="connsiteY23" fmla="*/ 4725 h 8911"/>
                    <a:gd name="connsiteX24" fmla="*/ 179 w 6100"/>
                    <a:gd name="connsiteY24" fmla="*/ 5861 h 8911"/>
                    <a:gd name="connsiteX25" fmla="*/ 0 w 6100"/>
                    <a:gd name="connsiteY25" fmla="*/ 6878 h 8911"/>
                    <a:gd name="connsiteX26" fmla="*/ 60 w 6100"/>
                    <a:gd name="connsiteY26" fmla="*/ 7715 h 8911"/>
                    <a:gd name="connsiteX27" fmla="*/ 299 w 6100"/>
                    <a:gd name="connsiteY27" fmla="*/ 8313 h 8911"/>
                    <a:gd name="connsiteX28" fmla="*/ 359 w 6100"/>
                    <a:gd name="connsiteY28" fmla="*/ 8313 h 8911"/>
                    <a:gd name="connsiteX29" fmla="*/ 418 w 6100"/>
                    <a:gd name="connsiteY29" fmla="*/ 8373 h 8911"/>
                    <a:gd name="connsiteX30" fmla="*/ 718 w 6100"/>
                    <a:gd name="connsiteY30" fmla="*/ 8732 h 8911"/>
                    <a:gd name="connsiteX31" fmla="*/ 1017 w 6100"/>
                    <a:gd name="connsiteY31" fmla="*/ 8911 h 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00" h="8911">
                      <a:moveTo>
                        <a:pt x="718" y="8732"/>
                      </a:moveTo>
                      <a:lnTo>
                        <a:pt x="837" y="8732"/>
                      </a:lnTo>
                      <a:lnTo>
                        <a:pt x="837" y="8732"/>
                      </a:lnTo>
                      <a:lnTo>
                        <a:pt x="1316" y="8792"/>
                      </a:lnTo>
                      <a:lnTo>
                        <a:pt x="2033" y="8552"/>
                      </a:lnTo>
                      <a:lnTo>
                        <a:pt x="2811" y="8014"/>
                      </a:lnTo>
                      <a:lnTo>
                        <a:pt x="3588" y="7237"/>
                      </a:lnTo>
                      <a:lnTo>
                        <a:pt x="4366" y="6280"/>
                      </a:lnTo>
                      <a:lnTo>
                        <a:pt x="5024" y="5143"/>
                      </a:lnTo>
                      <a:lnTo>
                        <a:pt x="5562" y="4007"/>
                      </a:lnTo>
                      <a:lnTo>
                        <a:pt x="5921" y="2871"/>
                      </a:lnTo>
                      <a:lnTo>
                        <a:pt x="6100" y="1854"/>
                      </a:lnTo>
                      <a:lnTo>
                        <a:pt x="6040" y="1017"/>
                      </a:lnTo>
                      <a:lnTo>
                        <a:pt x="5801" y="419"/>
                      </a:lnTo>
                      <a:lnTo>
                        <a:pt x="5622" y="239"/>
                      </a:lnTo>
                      <a:lnTo>
                        <a:pt x="5622" y="239"/>
                      </a:lnTo>
                      <a:lnTo>
                        <a:pt x="5382" y="60"/>
                      </a:lnTo>
                      <a:lnTo>
                        <a:pt x="4785" y="0"/>
                      </a:lnTo>
                      <a:lnTo>
                        <a:pt x="4067" y="239"/>
                      </a:lnTo>
                      <a:lnTo>
                        <a:pt x="3289" y="778"/>
                      </a:lnTo>
                      <a:lnTo>
                        <a:pt x="2512" y="1555"/>
                      </a:lnTo>
                      <a:lnTo>
                        <a:pt x="1734" y="2512"/>
                      </a:lnTo>
                      <a:lnTo>
                        <a:pt x="1076" y="3588"/>
                      </a:lnTo>
                      <a:lnTo>
                        <a:pt x="538" y="4725"/>
                      </a:lnTo>
                      <a:lnTo>
                        <a:pt x="179" y="5861"/>
                      </a:lnTo>
                      <a:lnTo>
                        <a:pt x="0" y="6878"/>
                      </a:lnTo>
                      <a:lnTo>
                        <a:pt x="60" y="7715"/>
                      </a:lnTo>
                      <a:lnTo>
                        <a:pt x="299" y="8313"/>
                      </a:lnTo>
                      <a:lnTo>
                        <a:pt x="359" y="8313"/>
                      </a:lnTo>
                      <a:lnTo>
                        <a:pt x="418" y="8373"/>
                      </a:lnTo>
                      <a:lnTo>
                        <a:pt x="718" y="8732"/>
                      </a:lnTo>
                      <a:lnTo>
                        <a:pt x="1017" y="8911"/>
                      </a:lnTo>
                    </a:path>
                  </a:pathLst>
                </a:custGeom>
                <a:noFill/>
                <a:ln w="6350" cap="rnd">
                  <a:solidFill>
                    <a:schemeClr val="bg1">
                      <a:alpha val="40000"/>
                    </a:schemeClr>
                  </a:solidFill>
                  <a:prstDash val="solid"/>
                  <a:round/>
                </a:ln>
              </p:spPr>
              <p:txBody>
                <a:bodyPr rtlCol="0" anchor="ctr"/>
                <a:lstStyle/>
                <a:p>
                  <a:endParaRPr lang="en-GB"/>
                </a:p>
              </p:txBody>
            </p:sp>
            <p:sp>
              <p:nvSpPr>
                <p:cNvPr id="5423" name="Vrije vorm: vorm 5422">
                  <a:extLst>
                    <a:ext uri="{FF2B5EF4-FFF2-40B4-BE49-F238E27FC236}">
                      <a16:creationId xmlns:a16="http://schemas.microsoft.com/office/drawing/2014/main" id="{0CF75BD9-592A-4367-9CFE-FCD4B6622B26}"/>
                    </a:ext>
                  </a:extLst>
                </p:cNvPr>
                <p:cNvSpPr/>
                <p:nvPr/>
              </p:nvSpPr>
              <p:spPr>
                <a:xfrm>
                  <a:off x="6409380" y="1665850"/>
                  <a:ext cx="658" cy="956"/>
                </a:xfrm>
                <a:custGeom>
                  <a:avLst/>
                  <a:gdLst>
                    <a:gd name="connsiteX0" fmla="*/ 0 w 658"/>
                    <a:gd name="connsiteY0" fmla="*/ 0 h 956"/>
                    <a:gd name="connsiteX1" fmla="*/ 419 w 658"/>
                    <a:gd name="connsiteY1" fmla="*/ 359 h 956"/>
                    <a:gd name="connsiteX2" fmla="*/ 598 w 658"/>
                    <a:gd name="connsiteY2" fmla="*/ 778 h 956"/>
                    <a:gd name="connsiteX3" fmla="*/ 658 w 658"/>
                    <a:gd name="connsiteY3" fmla="*/ 957 h 956"/>
                  </a:gdLst>
                  <a:ahLst/>
                  <a:cxnLst>
                    <a:cxn ang="0">
                      <a:pos x="connsiteX0" y="connsiteY0"/>
                    </a:cxn>
                    <a:cxn ang="0">
                      <a:pos x="connsiteX1" y="connsiteY1"/>
                    </a:cxn>
                    <a:cxn ang="0">
                      <a:pos x="connsiteX2" y="connsiteY2"/>
                    </a:cxn>
                    <a:cxn ang="0">
                      <a:pos x="connsiteX3" y="connsiteY3"/>
                    </a:cxn>
                  </a:cxnLst>
                  <a:rect l="l" t="t" r="r" b="b"/>
                  <a:pathLst>
                    <a:path w="658" h="956">
                      <a:moveTo>
                        <a:pt x="0" y="0"/>
                      </a:moveTo>
                      <a:lnTo>
                        <a:pt x="419" y="359"/>
                      </a:lnTo>
                      <a:lnTo>
                        <a:pt x="598" y="778"/>
                      </a:lnTo>
                      <a:lnTo>
                        <a:pt x="658" y="957"/>
                      </a:lnTo>
                    </a:path>
                  </a:pathLst>
                </a:custGeom>
                <a:noFill/>
                <a:ln w="6350" cap="rnd">
                  <a:solidFill>
                    <a:schemeClr val="bg1">
                      <a:alpha val="40000"/>
                    </a:schemeClr>
                  </a:solidFill>
                  <a:prstDash val="solid"/>
                  <a:round/>
                </a:ln>
              </p:spPr>
              <p:txBody>
                <a:bodyPr rtlCol="0" anchor="ctr"/>
                <a:lstStyle/>
                <a:p>
                  <a:endParaRPr lang="en-GB"/>
                </a:p>
              </p:txBody>
            </p:sp>
            <p:sp>
              <p:nvSpPr>
                <p:cNvPr id="5424" name="Vrije vorm: vorm 5423">
                  <a:extLst>
                    <a:ext uri="{FF2B5EF4-FFF2-40B4-BE49-F238E27FC236}">
                      <a16:creationId xmlns:a16="http://schemas.microsoft.com/office/drawing/2014/main" id="{1D8AC2B9-9C85-4BCD-84C4-650FA3D924CA}"/>
                    </a:ext>
                  </a:extLst>
                </p:cNvPr>
                <p:cNvSpPr/>
                <p:nvPr/>
              </p:nvSpPr>
              <p:spPr>
                <a:xfrm>
                  <a:off x="6410098" y="1666807"/>
                  <a:ext cx="59" cy="837"/>
                </a:xfrm>
                <a:custGeom>
                  <a:avLst/>
                  <a:gdLst>
                    <a:gd name="connsiteX0" fmla="*/ 0 w 59"/>
                    <a:gd name="connsiteY0" fmla="*/ 0 h 837"/>
                    <a:gd name="connsiteX1" fmla="*/ 60 w 59"/>
                    <a:gd name="connsiteY1" fmla="*/ 837 h 837"/>
                  </a:gdLst>
                  <a:ahLst/>
                  <a:cxnLst>
                    <a:cxn ang="0">
                      <a:pos x="connsiteX0" y="connsiteY0"/>
                    </a:cxn>
                    <a:cxn ang="0">
                      <a:pos x="connsiteX1" y="connsiteY1"/>
                    </a:cxn>
                  </a:cxnLst>
                  <a:rect l="l" t="t" r="r" b="b"/>
                  <a:pathLst>
                    <a:path w="59" h="837">
                      <a:moveTo>
                        <a:pt x="0" y="0"/>
                      </a:moveTo>
                      <a:lnTo>
                        <a:pt x="60" y="837"/>
                      </a:lnTo>
                    </a:path>
                  </a:pathLst>
                </a:custGeom>
                <a:noFill/>
                <a:ln w="6350" cap="rnd">
                  <a:solidFill>
                    <a:schemeClr val="bg1">
                      <a:alpha val="40000"/>
                    </a:schemeClr>
                  </a:solidFill>
                  <a:prstDash val="solid"/>
                  <a:round/>
                </a:ln>
              </p:spPr>
              <p:txBody>
                <a:bodyPr rtlCol="0" anchor="ctr"/>
                <a:lstStyle/>
                <a:p>
                  <a:endParaRPr lang="en-GB"/>
                </a:p>
              </p:txBody>
            </p:sp>
            <p:sp>
              <p:nvSpPr>
                <p:cNvPr id="5425" name="Vrije vorm: vorm 5424">
                  <a:extLst>
                    <a:ext uri="{FF2B5EF4-FFF2-40B4-BE49-F238E27FC236}">
                      <a16:creationId xmlns:a16="http://schemas.microsoft.com/office/drawing/2014/main" id="{8A8B5CB9-C2EF-4D42-A7E2-6CBE59FA5C87}"/>
                    </a:ext>
                  </a:extLst>
                </p:cNvPr>
                <p:cNvSpPr/>
                <p:nvPr/>
              </p:nvSpPr>
              <p:spPr>
                <a:xfrm>
                  <a:off x="6407645" y="1668362"/>
                  <a:ext cx="2392" cy="4664"/>
                </a:xfrm>
                <a:custGeom>
                  <a:avLst/>
                  <a:gdLst>
                    <a:gd name="connsiteX0" fmla="*/ 2392 w 2392"/>
                    <a:gd name="connsiteY0" fmla="*/ 0 h 4664"/>
                    <a:gd name="connsiteX1" fmla="*/ 2333 w 2392"/>
                    <a:gd name="connsiteY1" fmla="*/ 299 h 4664"/>
                    <a:gd name="connsiteX2" fmla="*/ 1974 w 2392"/>
                    <a:gd name="connsiteY2" fmla="*/ 1435 h 4664"/>
                    <a:gd name="connsiteX3" fmla="*/ 1974 w 2392"/>
                    <a:gd name="connsiteY3" fmla="*/ 1435 h 4664"/>
                    <a:gd name="connsiteX4" fmla="*/ 1435 w 2392"/>
                    <a:gd name="connsiteY4" fmla="*/ 2572 h 4664"/>
                    <a:gd name="connsiteX5" fmla="*/ 778 w 2392"/>
                    <a:gd name="connsiteY5" fmla="*/ 3708 h 4664"/>
                    <a:gd name="connsiteX6" fmla="*/ 0 w 2392"/>
                    <a:gd name="connsiteY6" fmla="*/ 4665 h 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2" h="4664">
                      <a:moveTo>
                        <a:pt x="2392" y="0"/>
                      </a:moveTo>
                      <a:lnTo>
                        <a:pt x="2333" y="299"/>
                      </a:lnTo>
                      <a:lnTo>
                        <a:pt x="1974" y="1435"/>
                      </a:lnTo>
                      <a:lnTo>
                        <a:pt x="1974" y="1435"/>
                      </a:lnTo>
                      <a:lnTo>
                        <a:pt x="1435" y="2572"/>
                      </a:lnTo>
                      <a:lnTo>
                        <a:pt x="778" y="3708"/>
                      </a:lnTo>
                      <a:lnTo>
                        <a:pt x="0" y="4665"/>
                      </a:lnTo>
                    </a:path>
                  </a:pathLst>
                </a:custGeom>
                <a:noFill/>
                <a:ln w="6350" cap="rnd">
                  <a:solidFill>
                    <a:schemeClr val="bg1">
                      <a:alpha val="40000"/>
                    </a:schemeClr>
                  </a:solidFill>
                  <a:prstDash val="solid"/>
                  <a:round/>
                </a:ln>
              </p:spPr>
              <p:txBody>
                <a:bodyPr rtlCol="0" anchor="ctr"/>
                <a:lstStyle/>
                <a:p>
                  <a:endParaRPr lang="en-GB"/>
                </a:p>
              </p:txBody>
            </p:sp>
            <p:sp>
              <p:nvSpPr>
                <p:cNvPr id="5426" name="Vrije vorm: vorm 5425">
                  <a:extLst>
                    <a:ext uri="{FF2B5EF4-FFF2-40B4-BE49-F238E27FC236}">
                      <a16:creationId xmlns:a16="http://schemas.microsoft.com/office/drawing/2014/main" id="{F5896924-B9A3-49AD-9BDF-3526AFF17549}"/>
                    </a:ext>
                  </a:extLst>
                </p:cNvPr>
                <p:cNvSpPr/>
                <p:nvPr/>
              </p:nvSpPr>
              <p:spPr>
                <a:xfrm>
                  <a:off x="6405851" y="1672369"/>
                  <a:ext cx="777" cy="1016"/>
                </a:xfrm>
                <a:custGeom>
                  <a:avLst/>
                  <a:gdLst>
                    <a:gd name="connsiteX0" fmla="*/ 359 w 777"/>
                    <a:gd name="connsiteY0" fmla="*/ 1017 h 1016"/>
                    <a:gd name="connsiteX1" fmla="*/ 60 w 777"/>
                    <a:gd name="connsiteY1" fmla="*/ 837 h 1016"/>
                    <a:gd name="connsiteX2" fmla="*/ 0 w 777"/>
                    <a:gd name="connsiteY2" fmla="*/ 778 h 1016"/>
                    <a:gd name="connsiteX3" fmla="*/ 0 w 777"/>
                    <a:gd name="connsiteY3" fmla="*/ 718 h 1016"/>
                    <a:gd name="connsiteX4" fmla="*/ 0 w 777"/>
                    <a:gd name="connsiteY4" fmla="*/ 658 h 1016"/>
                    <a:gd name="connsiteX5" fmla="*/ 0 w 777"/>
                    <a:gd name="connsiteY5" fmla="*/ 538 h 1016"/>
                    <a:gd name="connsiteX6" fmla="*/ 60 w 777"/>
                    <a:gd name="connsiteY6" fmla="*/ 419 h 1016"/>
                    <a:gd name="connsiteX7" fmla="*/ 120 w 777"/>
                    <a:gd name="connsiteY7" fmla="*/ 299 h 1016"/>
                    <a:gd name="connsiteX8" fmla="*/ 179 w 777"/>
                    <a:gd name="connsiteY8" fmla="*/ 179 h 1016"/>
                    <a:gd name="connsiteX9" fmla="*/ 239 w 777"/>
                    <a:gd name="connsiteY9" fmla="*/ 120 h 1016"/>
                    <a:gd name="connsiteX10" fmla="*/ 239 w 777"/>
                    <a:gd name="connsiteY10" fmla="*/ 120 h 1016"/>
                    <a:gd name="connsiteX11" fmla="*/ 299 w 777"/>
                    <a:gd name="connsiteY11" fmla="*/ 60 h 1016"/>
                    <a:gd name="connsiteX12" fmla="*/ 359 w 777"/>
                    <a:gd name="connsiteY12" fmla="*/ 0 h 1016"/>
                    <a:gd name="connsiteX13" fmla="*/ 419 w 777"/>
                    <a:gd name="connsiteY13" fmla="*/ 0 h 1016"/>
                    <a:gd name="connsiteX14" fmla="*/ 419 w 777"/>
                    <a:gd name="connsiteY14" fmla="*/ 0 h 1016"/>
                    <a:gd name="connsiteX15" fmla="*/ 479 w 777"/>
                    <a:gd name="connsiteY15" fmla="*/ 0 h 1016"/>
                    <a:gd name="connsiteX16" fmla="*/ 778 w 777"/>
                    <a:gd name="connsiteY16" fmla="*/ 179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 h="1016">
                      <a:moveTo>
                        <a:pt x="359" y="1017"/>
                      </a:moveTo>
                      <a:lnTo>
                        <a:pt x="60" y="837"/>
                      </a:lnTo>
                      <a:lnTo>
                        <a:pt x="0" y="778"/>
                      </a:lnTo>
                      <a:lnTo>
                        <a:pt x="0" y="718"/>
                      </a:lnTo>
                      <a:lnTo>
                        <a:pt x="0" y="658"/>
                      </a:lnTo>
                      <a:lnTo>
                        <a:pt x="0" y="538"/>
                      </a:lnTo>
                      <a:lnTo>
                        <a:pt x="60" y="419"/>
                      </a:lnTo>
                      <a:lnTo>
                        <a:pt x="120" y="299"/>
                      </a:lnTo>
                      <a:lnTo>
                        <a:pt x="179" y="179"/>
                      </a:lnTo>
                      <a:lnTo>
                        <a:pt x="239" y="120"/>
                      </a:lnTo>
                      <a:lnTo>
                        <a:pt x="239" y="120"/>
                      </a:lnTo>
                      <a:lnTo>
                        <a:pt x="299" y="60"/>
                      </a:lnTo>
                      <a:lnTo>
                        <a:pt x="359" y="0"/>
                      </a:lnTo>
                      <a:lnTo>
                        <a:pt x="419" y="0"/>
                      </a:lnTo>
                      <a:lnTo>
                        <a:pt x="419" y="0"/>
                      </a:lnTo>
                      <a:lnTo>
                        <a:pt x="479" y="0"/>
                      </a:lnTo>
                      <a:lnTo>
                        <a:pt x="778" y="179"/>
                      </a:lnTo>
                    </a:path>
                  </a:pathLst>
                </a:custGeom>
                <a:noFill/>
                <a:ln w="6350" cap="rnd">
                  <a:solidFill>
                    <a:schemeClr val="bg1">
                      <a:alpha val="40000"/>
                    </a:schemeClr>
                  </a:solidFill>
                  <a:prstDash val="solid"/>
                  <a:round/>
                </a:ln>
              </p:spPr>
              <p:txBody>
                <a:bodyPr rtlCol="0" anchor="ctr"/>
                <a:lstStyle/>
                <a:p>
                  <a:endParaRPr lang="en-GB"/>
                </a:p>
              </p:txBody>
            </p:sp>
            <p:sp>
              <p:nvSpPr>
                <p:cNvPr id="5427" name="Vrije vorm: vorm 5426">
                  <a:extLst>
                    <a:ext uri="{FF2B5EF4-FFF2-40B4-BE49-F238E27FC236}">
                      <a16:creationId xmlns:a16="http://schemas.microsoft.com/office/drawing/2014/main" id="{39DB55E7-4E3E-4018-B785-9300A2DE62F5}"/>
                    </a:ext>
                  </a:extLst>
                </p:cNvPr>
                <p:cNvSpPr/>
                <p:nvPr/>
              </p:nvSpPr>
              <p:spPr>
                <a:xfrm>
                  <a:off x="6405911" y="1672429"/>
                  <a:ext cx="538" cy="777"/>
                </a:xfrm>
                <a:custGeom>
                  <a:avLst/>
                  <a:gdLst>
                    <a:gd name="connsiteX0" fmla="*/ 0 w 538"/>
                    <a:gd name="connsiteY0" fmla="*/ 777 h 777"/>
                    <a:gd name="connsiteX1" fmla="*/ 0 w 538"/>
                    <a:gd name="connsiteY1" fmla="*/ 777 h 777"/>
                    <a:gd name="connsiteX2" fmla="*/ 119 w 538"/>
                    <a:gd name="connsiteY2" fmla="*/ 777 h 777"/>
                    <a:gd name="connsiteX3" fmla="*/ 179 w 538"/>
                    <a:gd name="connsiteY3" fmla="*/ 718 h 777"/>
                    <a:gd name="connsiteX4" fmla="*/ 239 w 538"/>
                    <a:gd name="connsiteY4" fmla="*/ 658 h 777"/>
                    <a:gd name="connsiteX5" fmla="*/ 299 w 538"/>
                    <a:gd name="connsiteY5" fmla="*/ 598 h 777"/>
                    <a:gd name="connsiteX6" fmla="*/ 359 w 538"/>
                    <a:gd name="connsiteY6" fmla="*/ 538 h 777"/>
                    <a:gd name="connsiteX7" fmla="*/ 419 w 538"/>
                    <a:gd name="connsiteY7" fmla="*/ 478 h 777"/>
                    <a:gd name="connsiteX8" fmla="*/ 478 w 538"/>
                    <a:gd name="connsiteY8" fmla="*/ 419 h 777"/>
                    <a:gd name="connsiteX9" fmla="*/ 478 w 538"/>
                    <a:gd name="connsiteY9" fmla="*/ 419 h 777"/>
                    <a:gd name="connsiteX10" fmla="*/ 538 w 538"/>
                    <a:gd name="connsiteY10" fmla="*/ 299 h 777"/>
                    <a:gd name="connsiteX11" fmla="*/ 538 w 538"/>
                    <a:gd name="connsiteY11" fmla="*/ 239 h 777"/>
                    <a:gd name="connsiteX12" fmla="*/ 538 w 538"/>
                    <a:gd name="connsiteY12" fmla="*/ 239 h 777"/>
                    <a:gd name="connsiteX13" fmla="*/ 538 w 538"/>
                    <a:gd name="connsiteY13" fmla="*/ 179 h 777"/>
                    <a:gd name="connsiteX14" fmla="*/ 538 w 538"/>
                    <a:gd name="connsiteY14" fmla="*/ 120 h 777"/>
                    <a:gd name="connsiteX15" fmla="*/ 538 w 538"/>
                    <a:gd name="connsiteY15" fmla="*/ 60 h 777"/>
                    <a:gd name="connsiteX16" fmla="*/ 478 w 538"/>
                    <a:gd name="connsiteY16" fmla="*/ 0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8" h="777">
                      <a:moveTo>
                        <a:pt x="0" y="777"/>
                      </a:moveTo>
                      <a:lnTo>
                        <a:pt x="0" y="777"/>
                      </a:lnTo>
                      <a:lnTo>
                        <a:pt x="119" y="777"/>
                      </a:lnTo>
                      <a:lnTo>
                        <a:pt x="179" y="718"/>
                      </a:lnTo>
                      <a:lnTo>
                        <a:pt x="239" y="658"/>
                      </a:lnTo>
                      <a:lnTo>
                        <a:pt x="299" y="598"/>
                      </a:lnTo>
                      <a:lnTo>
                        <a:pt x="359" y="538"/>
                      </a:lnTo>
                      <a:lnTo>
                        <a:pt x="419" y="478"/>
                      </a:lnTo>
                      <a:lnTo>
                        <a:pt x="478" y="419"/>
                      </a:lnTo>
                      <a:lnTo>
                        <a:pt x="478" y="419"/>
                      </a:lnTo>
                      <a:lnTo>
                        <a:pt x="538" y="299"/>
                      </a:lnTo>
                      <a:lnTo>
                        <a:pt x="538" y="239"/>
                      </a:lnTo>
                      <a:lnTo>
                        <a:pt x="538" y="239"/>
                      </a:lnTo>
                      <a:lnTo>
                        <a:pt x="538" y="179"/>
                      </a:lnTo>
                      <a:lnTo>
                        <a:pt x="538" y="120"/>
                      </a:lnTo>
                      <a:lnTo>
                        <a:pt x="538" y="60"/>
                      </a:lnTo>
                      <a:lnTo>
                        <a:pt x="478" y="0"/>
                      </a:lnTo>
                    </a:path>
                  </a:pathLst>
                </a:custGeom>
                <a:noFill/>
                <a:ln w="6350" cap="rnd">
                  <a:solidFill>
                    <a:schemeClr val="bg1">
                      <a:alpha val="40000"/>
                    </a:schemeClr>
                  </a:solidFill>
                  <a:prstDash val="solid"/>
                  <a:round/>
                </a:ln>
              </p:spPr>
              <p:txBody>
                <a:bodyPr rtlCol="0" anchor="ctr"/>
                <a:lstStyle/>
                <a:p>
                  <a:endParaRPr lang="en-GB"/>
                </a:p>
              </p:txBody>
            </p:sp>
            <p:sp>
              <p:nvSpPr>
                <p:cNvPr id="5428" name="Vrije vorm: vorm 5427">
                  <a:extLst>
                    <a:ext uri="{FF2B5EF4-FFF2-40B4-BE49-F238E27FC236}">
                      <a16:creationId xmlns:a16="http://schemas.microsoft.com/office/drawing/2014/main" id="{6C0BF95D-DA05-43EB-BE76-09000C499A7C}"/>
                    </a:ext>
                  </a:extLst>
                </p:cNvPr>
                <p:cNvSpPr/>
                <p:nvPr/>
              </p:nvSpPr>
              <p:spPr>
                <a:xfrm>
                  <a:off x="6406270" y="1672609"/>
                  <a:ext cx="478" cy="837"/>
                </a:xfrm>
                <a:custGeom>
                  <a:avLst/>
                  <a:gdLst>
                    <a:gd name="connsiteX0" fmla="*/ 419 w 478"/>
                    <a:gd name="connsiteY0" fmla="*/ 0 h 837"/>
                    <a:gd name="connsiteX1" fmla="*/ 419 w 478"/>
                    <a:gd name="connsiteY1" fmla="*/ 0 h 837"/>
                    <a:gd name="connsiteX2" fmla="*/ 419 w 478"/>
                    <a:gd name="connsiteY2" fmla="*/ 0 h 837"/>
                    <a:gd name="connsiteX3" fmla="*/ 479 w 478"/>
                    <a:gd name="connsiteY3" fmla="*/ 120 h 837"/>
                    <a:gd name="connsiteX4" fmla="*/ 479 w 478"/>
                    <a:gd name="connsiteY4" fmla="*/ 179 h 837"/>
                    <a:gd name="connsiteX5" fmla="*/ 479 w 478"/>
                    <a:gd name="connsiteY5" fmla="*/ 299 h 837"/>
                    <a:gd name="connsiteX6" fmla="*/ 419 w 478"/>
                    <a:gd name="connsiteY6" fmla="*/ 419 h 837"/>
                    <a:gd name="connsiteX7" fmla="*/ 359 w 478"/>
                    <a:gd name="connsiteY7" fmla="*/ 538 h 837"/>
                    <a:gd name="connsiteX8" fmla="*/ 299 w 478"/>
                    <a:gd name="connsiteY8" fmla="*/ 658 h 837"/>
                    <a:gd name="connsiteX9" fmla="*/ 239 w 478"/>
                    <a:gd name="connsiteY9" fmla="*/ 718 h 837"/>
                    <a:gd name="connsiteX10" fmla="*/ 179 w 478"/>
                    <a:gd name="connsiteY10" fmla="*/ 777 h 837"/>
                    <a:gd name="connsiteX11" fmla="*/ 119 w 478"/>
                    <a:gd name="connsiteY11" fmla="*/ 837 h 837"/>
                    <a:gd name="connsiteX12" fmla="*/ 60 w 478"/>
                    <a:gd name="connsiteY12" fmla="*/ 837 h 837"/>
                    <a:gd name="connsiteX13" fmla="*/ 0 w 478"/>
                    <a:gd name="connsiteY13" fmla="*/ 837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 h="837">
                      <a:moveTo>
                        <a:pt x="419" y="0"/>
                      </a:moveTo>
                      <a:lnTo>
                        <a:pt x="419" y="0"/>
                      </a:lnTo>
                      <a:lnTo>
                        <a:pt x="419" y="0"/>
                      </a:lnTo>
                      <a:lnTo>
                        <a:pt x="479" y="120"/>
                      </a:lnTo>
                      <a:lnTo>
                        <a:pt x="479" y="179"/>
                      </a:lnTo>
                      <a:lnTo>
                        <a:pt x="479" y="299"/>
                      </a:lnTo>
                      <a:lnTo>
                        <a:pt x="419" y="419"/>
                      </a:lnTo>
                      <a:lnTo>
                        <a:pt x="359" y="538"/>
                      </a:lnTo>
                      <a:lnTo>
                        <a:pt x="299" y="658"/>
                      </a:lnTo>
                      <a:lnTo>
                        <a:pt x="239" y="718"/>
                      </a:lnTo>
                      <a:lnTo>
                        <a:pt x="179" y="777"/>
                      </a:lnTo>
                      <a:lnTo>
                        <a:pt x="119" y="837"/>
                      </a:lnTo>
                      <a:lnTo>
                        <a:pt x="60" y="837"/>
                      </a:lnTo>
                      <a:lnTo>
                        <a:pt x="0" y="837"/>
                      </a:lnTo>
                    </a:path>
                  </a:pathLst>
                </a:custGeom>
                <a:noFill/>
                <a:ln w="6350" cap="rnd">
                  <a:solidFill>
                    <a:schemeClr val="bg1">
                      <a:alpha val="40000"/>
                    </a:schemeClr>
                  </a:solidFill>
                  <a:prstDash val="solid"/>
                  <a:round/>
                </a:ln>
              </p:spPr>
              <p:txBody>
                <a:bodyPr rtlCol="0" anchor="ctr"/>
                <a:lstStyle/>
                <a:p>
                  <a:endParaRPr lang="en-GB"/>
                </a:p>
              </p:txBody>
            </p:sp>
            <p:sp>
              <p:nvSpPr>
                <p:cNvPr id="5429" name="Vrije vorm: vorm 5428">
                  <a:extLst>
                    <a:ext uri="{FF2B5EF4-FFF2-40B4-BE49-F238E27FC236}">
                      <a16:creationId xmlns:a16="http://schemas.microsoft.com/office/drawing/2014/main" id="{00A10516-194E-4ED4-8B43-E85CCAD3AAB7}"/>
                    </a:ext>
                  </a:extLst>
                </p:cNvPr>
                <p:cNvSpPr/>
                <p:nvPr/>
              </p:nvSpPr>
              <p:spPr>
                <a:xfrm>
                  <a:off x="6408423" y="1668123"/>
                  <a:ext cx="478" cy="777"/>
                </a:xfrm>
                <a:custGeom>
                  <a:avLst/>
                  <a:gdLst>
                    <a:gd name="connsiteX0" fmla="*/ 0 w 478"/>
                    <a:gd name="connsiteY0" fmla="*/ 777 h 777"/>
                    <a:gd name="connsiteX1" fmla="*/ 0 w 478"/>
                    <a:gd name="connsiteY1" fmla="*/ 777 h 777"/>
                    <a:gd name="connsiteX2" fmla="*/ 120 w 478"/>
                    <a:gd name="connsiteY2" fmla="*/ 777 h 777"/>
                    <a:gd name="connsiteX3" fmla="*/ 180 w 478"/>
                    <a:gd name="connsiteY3" fmla="*/ 718 h 777"/>
                    <a:gd name="connsiteX4" fmla="*/ 239 w 478"/>
                    <a:gd name="connsiteY4" fmla="*/ 658 h 777"/>
                    <a:gd name="connsiteX5" fmla="*/ 299 w 478"/>
                    <a:gd name="connsiteY5" fmla="*/ 598 h 777"/>
                    <a:gd name="connsiteX6" fmla="*/ 359 w 478"/>
                    <a:gd name="connsiteY6" fmla="*/ 538 h 777"/>
                    <a:gd name="connsiteX7" fmla="*/ 359 w 478"/>
                    <a:gd name="connsiteY7" fmla="*/ 478 h 777"/>
                    <a:gd name="connsiteX8" fmla="*/ 359 w 478"/>
                    <a:gd name="connsiteY8" fmla="*/ 478 h 777"/>
                    <a:gd name="connsiteX9" fmla="*/ 419 w 478"/>
                    <a:gd name="connsiteY9" fmla="*/ 419 h 777"/>
                    <a:gd name="connsiteX10" fmla="*/ 419 w 478"/>
                    <a:gd name="connsiteY10" fmla="*/ 419 h 777"/>
                    <a:gd name="connsiteX11" fmla="*/ 479 w 478"/>
                    <a:gd name="connsiteY11" fmla="*/ 299 h 777"/>
                    <a:gd name="connsiteX12" fmla="*/ 479 w 478"/>
                    <a:gd name="connsiteY12" fmla="*/ 179 h 777"/>
                    <a:gd name="connsiteX13" fmla="*/ 479 w 478"/>
                    <a:gd name="connsiteY13" fmla="*/ 120 h 777"/>
                    <a:gd name="connsiteX14" fmla="*/ 479 w 478"/>
                    <a:gd name="connsiteY14" fmla="*/ 60 h 777"/>
                    <a:gd name="connsiteX15" fmla="*/ 419 w 478"/>
                    <a:gd name="connsiteY15" fmla="*/ 0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8" h="777">
                      <a:moveTo>
                        <a:pt x="0" y="777"/>
                      </a:moveTo>
                      <a:lnTo>
                        <a:pt x="0" y="777"/>
                      </a:lnTo>
                      <a:lnTo>
                        <a:pt x="120" y="777"/>
                      </a:lnTo>
                      <a:lnTo>
                        <a:pt x="180" y="718"/>
                      </a:lnTo>
                      <a:lnTo>
                        <a:pt x="239" y="658"/>
                      </a:lnTo>
                      <a:lnTo>
                        <a:pt x="299" y="598"/>
                      </a:lnTo>
                      <a:lnTo>
                        <a:pt x="359" y="538"/>
                      </a:lnTo>
                      <a:lnTo>
                        <a:pt x="359" y="478"/>
                      </a:lnTo>
                      <a:lnTo>
                        <a:pt x="359" y="478"/>
                      </a:lnTo>
                      <a:lnTo>
                        <a:pt x="419" y="419"/>
                      </a:lnTo>
                      <a:lnTo>
                        <a:pt x="419" y="419"/>
                      </a:lnTo>
                      <a:lnTo>
                        <a:pt x="479" y="299"/>
                      </a:lnTo>
                      <a:lnTo>
                        <a:pt x="479" y="179"/>
                      </a:lnTo>
                      <a:lnTo>
                        <a:pt x="479" y="120"/>
                      </a:lnTo>
                      <a:lnTo>
                        <a:pt x="479" y="60"/>
                      </a:lnTo>
                      <a:lnTo>
                        <a:pt x="419" y="0"/>
                      </a:lnTo>
                    </a:path>
                  </a:pathLst>
                </a:custGeom>
                <a:noFill/>
                <a:ln w="6350" cap="rnd">
                  <a:solidFill>
                    <a:schemeClr val="bg1">
                      <a:alpha val="40000"/>
                    </a:schemeClr>
                  </a:solidFill>
                  <a:prstDash val="solid"/>
                  <a:round/>
                </a:ln>
              </p:spPr>
              <p:txBody>
                <a:bodyPr rtlCol="0" anchor="ctr"/>
                <a:lstStyle/>
                <a:p>
                  <a:endParaRPr lang="en-GB"/>
                </a:p>
              </p:txBody>
            </p:sp>
            <p:sp>
              <p:nvSpPr>
                <p:cNvPr id="5430" name="Vrije vorm: vorm 5429">
                  <a:extLst>
                    <a:ext uri="{FF2B5EF4-FFF2-40B4-BE49-F238E27FC236}">
                      <a16:creationId xmlns:a16="http://schemas.microsoft.com/office/drawing/2014/main" id="{399DA50D-85E7-4813-9E8D-5B44CA62091C}"/>
                    </a:ext>
                  </a:extLst>
                </p:cNvPr>
                <p:cNvSpPr/>
                <p:nvPr/>
              </p:nvSpPr>
              <p:spPr>
                <a:xfrm>
                  <a:off x="6408782" y="1668303"/>
                  <a:ext cx="478" cy="837"/>
                </a:xfrm>
                <a:custGeom>
                  <a:avLst/>
                  <a:gdLst>
                    <a:gd name="connsiteX0" fmla="*/ 419 w 478"/>
                    <a:gd name="connsiteY0" fmla="*/ 0 h 837"/>
                    <a:gd name="connsiteX1" fmla="*/ 419 w 478"/>
                    <a:gd name="connsiteY1" fmla="*/ 0 h 837"/>
                    <a:gd name="connsiteX2" fmla="*/ 479 w 478"/>
                    <a:gd name="connsiteY2" fmla="*/ 120 h 837"/>
                    <a:gd name="connsiteX3" fmla="*/ 479 w 478"/>
                    <a:gd name="connsiteY3" fmla="*/ 179 h 837"/>
                    <a:gd name="connsiteX4" fmla="*/ 479 w 478"/>
                    <a:gd name="connsiteY4" fmla="*/ 299 h 837"/>
                    <a:gd name="connsiteX5" fmla="*/ 419 w 478"/>
                    <a:gd name="connsiteY5" fmla="*/ 419 h 837"/>
                    <a:gd name="connsiteX6" fmla="*/ 359 w 478"/>
                    <a:gd name="connsiteY6" fmla="*/ 538 h 837"/>
                    <a:gd name="connsiteX7" fmla="*/ 299 w 478"/>
                    <a:gd name="connsiteY7" fmla="*/ 658 h 837"/>
                    <a:gd name="connsiteX8" fmla="*/ 239 w 478"/>
                    <a:gd name="connsiteY8" fmla="*/ 718 h 837"/>
                    <a:gd name="connsiteX9" fmla="*/ 180 w 478"/>
                    <a:gd name="connsiteY9" fmla="*/ 777 h 837"/>
                    <a:gd name="connsiteX10" fmla="*/ 120 w 478"/>
                    <a:gd name="connsiteY10" fmla="*/ 837 h 837"/>
                    <a:gd name="connsiteX11" fmla="*/ 120 w 478"/>
                    <a:gd name="connsiteY11" fmla="*/ 837 h 837"/>
                    <a:gd name="connsiteX12" fmla="*/ 60 w 478"/>
                    <a:gd name="connsiteY12" fmla="*/ 837 h 837"/>
                    <a:gd name="connsiteX13" fmla="*/ 0 w 478"/>
                    <a:gd name="connsiteY13" fmla="*/ 837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 h="837">
                      <a:moveTo>
                        <a:pt x="419" y="0"/>
                      </a:moveTo>
                      <a:lnTo>
                        <a:pt x="419" y="0"/>
                      </a:lnTo>
                      <a:lnTo>
                        <a:pt x="479" y="120"/>
                      </a:lnTo>
                      <a:lnTo>
                        <a:pt x="479" y="179"/>
                      </a:lnTo>
                      <a:lnTo>
                        <a:pt x="479" y="299"/>
                      </a:lnTo>
                      <a:lnTo>
                        <a:pt x="419" y="419"/>
                      </a:lnTo>
                      <a:lnTo>
                        <a:pt x="359" y="538"/>
                      </a:lnTo>
                      <a:lnTo>
                        <a:pt x="299" y="658"/>
                      </a:lnTo>
                      <a:lnTo>
                        <a:pt x="239" y="718"/>
                      </a:lnTo>
                      <a:lnTo>
                        <a:pt x="180" y="777"/>
                      </a:lnTo>
                      <a:lnTo>
                        <a:pt x="120" y="837"/>
                      </a:lnTo>
                      <a:lnTo>
                        <a:pt x="120" y="837"/>
                      </a:lnTo>
                      <a:lnTo>
                        <a:pt x="60" y="837"/>
                      </a:lnTo>
                      <a:lnTo>
                        <a:pt x="0" y="837"/>
                      </a:lnTo>
                    </a:path>
                  </a:pathLst>
                </a:custGeom>
                <a:noFill/>
                <a:ln w="6350" cap="rnd">
                  <a:solidFill>
                    <a:schemeClr val="bg1">
                      <a:alpha val="40000"/>
                    </a:schemeClr>
                  </a:solidFill>
                  <a:prstDash val="solid"/>
                  <a:round/>
                </a:ln>
              </p:spPr>
              <p:txBody>
                <a:bodyPr rtlCol="0" anchor="ctr"/>
                <a:lstStyle/>
                <a:p>
                  <a:endParaRPr lang="en-GB"/>
                </a:p>
              </p:txBody>
            </p:sp>
            <p:sp>
              <p:nvSpPr>
                <p:cNvPr id="5431" name="Vrije vorm: vorm 5430">
                  <a:extLst>
                    <a:ext uri="{FF2B5EF4-FFF2-40B4-BE49-F238E27FC236}">
                      <a16:creationId xmlns:a16="http://schemas.microsoft.com/office/drawing/2014/main" id="{10CF3929-94E5-4178-9808-6280F36C6226}"/>
                    </a:ext>
                  </a:extLst>
                </p:cNvPr>
                <p:cNvSpPr/>
                <p:nvPr/>
              </p:nvSpPr>
              <p:spPr>
                <a:xfrm>
                  <a:off x="6406689" y="1666449"/>
                  <a:ext cx="538" cy="956"/>
                </a:xfrm>
                <a:custGeom>
                  <a:avLst/>
                  <a:gdLst>
                    <a:gd name="connsiteX0" fmla="*/ 60 w 538"/>
                    <a:gd name="connsiteY0" fmla="*/ 777 h 956"/>
                    <a:gd name="connsiteX1" fmla="*/ 60 w 538"/>
                    <a:gd name="connsiteY1" fmla="*/ 777 h 956"/>
                    <a:gd name="connsiteX2" fmla="*/ 179 w 538"/>
                    <a:gd name="connsiteY2" fmla="*/ 777 h 956"/>
                    <a:gd name="connsiteX3" fmla="*/ 239 w 538"/>
                    <a:gd name="connsiteY3" fmla="*/ 718 h 956"/>
                    <a:gd name="connsiteX4" fmla="*/ 299 w 538"/>
                    <a:gd name="connsiteY4" fmla="*/ 658 h 956"/>
                    <a:gd name="connsiteX5" fmla="*/ 359 w 538"/>
                    <a:gd name="connsiteY5" fmla="*/ 598 h 956"/>
                    <a:gd name="connsiteX6" fmla="*/ 419 w 538"/>
                    <a:gd name="connsiteY6" fmla="*/ 538 h 956"/>
                    <a:gd name="connsiteX7" fmla="*/ 419 w 538"/>
                    <a:gd name="connsiteY7" fmla="*/ 538 h 956"/>
                    <a:gd name="connsiteX8" fmla="*/ 478 w 538"/>
                    <a:gd name="connsiteY8" fmla="*/ 478 h 956"/>
                    <a:gd name="connsiteX9" fmla="*/ 478 w 538"/>
                    <a:gd name="connsiteY9" fmla="*/ 419 h 956"/>
                    <a:gd name="connsiteX10" fmla="*/ 538 w 538"/>
                    <a:gd name="connsiteY10" fmla="*/ 299 h 956"/>
                    <a:gd name="connsiteX11" fmla="*/ 538 w 538"/>
                    <a:gd name="connsiteY11" fmla="*/ 239 h 956"/>
                    <a:gd name="connsiteX12" fmla="*/ 538 w 538"/>
                    <a:gd name="connsiteY12" fmla="*/ 239 h 956"/>
                    <a:gd name="connsiteX13" fmla="*/ 538 w 538"/>
                    <a:gd name="connsiteY13" fmla="*/ 179 h 956"/>
                    <a:gd name="connsiteX14" fmla="*/ 538 w 538"/>
                    <a:gd name="connsiteY14" fmla="*/ 120 h 956"/>
                    <a:gd name="connsiteX15" fmla="*/ 538 w 538"/>
                    <a:gd name="connsiteY15" fmla="*/ 60 h 956"/>
                    <a:gd name="connsiteX16" fmla="*/ 478 w 538"/>
                    <a:gd name="connsiteY16" fmla="*/ 0 h 956"/>
                    <a:gd name="connsiteX17" fmla="*/ 419 w 538"/>
                    <a:gd name="connsiteY17" fmla="*/ 0 h 956"/>
                    <a:gd name="connsiteX18" fmla="*/ 359 w 538"/>
                    <a:gd name="connsiteY18" fmla="*/ 0 h 956"/>
                    <a:gd name="connsiteX19" fmla="*/ 299 w 538"/>
                    <a:gd name="connsiteY19" fmla="*/ 60 h 956"/>
                    <a:gd name="connsiteX20" fmla="*/ 239 w 538"/>
                    <a:gd name="connsiteY20" fmla="*/ 120 h 956"/>
                    <a:gd name="connsiteX21" fmla="*/ 179 w 538"/>
                    <a:gd name="connsiteY21" fmla="*/ 179 h 956"/>
                    <a:gd name="connsiteX22" fmla="*/ 119 w 538"/>
                    <a:gd name="connsiteY22" fmla="*/ 299 h 956"/>
                    <a:gd name="connsiteX23" fmla="*/ 60 w 538"/>
                    <a:gd name="connsiteY23" fmla="*/ 419 h 956"/>
                    <a:gd name="connsiteX24" fmla="*/ 0 w 538"/>
                    <a:gd name="connsiteY24" fmla="*/ 538 h 956"/>
                    <a:gd name="connsiteX25" fmla="*/ 0 w 538"/>
                    <a:gd name="connsiteY25" fmla="*/ 658 h 956"/>
                    <a:gd name="connsiteX26" fmla="*/ 0 w 538"/>
                    <a:gd name="connsiteY26" fmla="*/ 718 h 956"/>
                    <a:gd name="connsiteX27" fmla="*/ 60 w 538"/>
                    <a:gd name="connsiteY27" fmla="*/ 777 h 956"/>
                    <a:gd name="connsiteX28" fmla="*/ 60 w 538"/>
                    <a:gd name="connsiteY28" fmla="*/ 777 h 956"/>
                    <a:gd name="connsiteX29" fmla="*/ 60 w 538"/>
                    <a:gd name="connsiteY29" fmla="*/ 777 h 956"/>
                    <a:gd name="connsiteX30" fmla="*/ 60 w 538"/>
                    <a:gd name="connsiteY30" fmla="*/ 777 h 956"/>
                    <a:gd name="connsiteX31" fmla="*/ 359 w 538"/>
                    <a:gd name="connsiteY31" fmla="*/ 957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8" h="956">
                      <a:moveTo>
                        <a:pt x="60" y="777"/>
                      </a:moveTo>
                      <a:lnTo>
                        <a:pt x="60" y="777"/>
                      </a:lnTo>
                      <a:lnTo>
                        <a:pt x="179" y="777"/>
                      </a:lnTo>
                      <a:lnTo>
                        <a:pt x="239" y="718"/>
                      </a:lnTo>
                      <a:lnTo>
                        <a:pt x="299" y="658"/>
                      </a:lnTo>
                      <a:lnTo>
                        <a:pt x="359" y="598"/>
                      </a:lnTo>
                      <a:lnTo>
                        <a:pt x="419" y="538"/>
                      </a:lnTo>
                      <a:lnTo>
                        <a:pt x="419" y="538"/>
                      </a:lnTo>
                      <a:lnTo>
                        <a:pt x="478" y="478"/>
                      </a:lnTo>
                      <a:lnTo>
                        <a:pt x="478" y="419"/>
                      </a:lnTo>
                      <a:lnTo>
                        <a:pt x="538" y="299"/>
                      </a:lnTo>
                      <a:lnTo>
                        <a:pt x="538" y="239"/>
                      </a:lnTo>
                      <a:lnTo>
                        <a:pt x="538" y="239"/>
                      </a:lnTo>
                      <a:lnTo>
                        <a:pt x="538" y="179"/>
                      </a:lnTo>
                      <a:lnTo>
                        <a:pt x="538" y="120"/>
                      </a:lnTo>
                      <a:lnTo>
                        <a:pt x="538" y="60"/>
                      </a:lnTo>
                      <a:lnTo>
                        <a:pt x="478" y="0"/>
                      </a:lnTo>
                      <a:lnTo>
                        <a:pt x="419" y="0"/>
                      </a:lnTo>
                      <a:lnTo>
                        <a:pt x="359" y="0"/>
                      </a:lnTo>
                      <a:lnTo>
                        <a:pt x="299" y="60"/>
                      </a:lnTo>
                      <a:lnTo>
                        <a:pt x="239" y="120"/>
                      </a:lnTo>
                      <a:lnTo>
                        <a:pt x="179" y="179"/>
                      </a:lnTo>
                      <a:lnTo>
                        <a:pt x="119" y="299"/>
                      </a:lnTo>
                      <a:lnTo>
                        <a:pt x="60" y="419"/>
                      </a:lnTo>
                      <a:lnTo>
                        <a:pt x="0" y="538"/>
                      </a:lnTo>
                      <a:lnTo>
                        <a:pt x="0" y="658"/>
                      </a:lnTo>
                      <a:lnTo>
                        <a:pt x="0" y="718"/>
                      </a:lnTo>
                      <a:lnTo>
                        <a:pt x="60" y="777"/>
                      </a:lnTo>
                      <a:lnTo>
                        <a:pt x="60" y="777"/>
                      </a:lnTo>
                      <a:lnTo>
                        <a:pt x="60" y="777"/>
                      </a:lnTo>
                      <a:lnTo>
                        <a:pt x="60" y="777"/>
                      </a:lnTo>
                      <a:lnTo>
                        <a:pt x="359" y="957"/>
                      </a:lnTo>
                    </a:path>
                  </a:pathLst>
                </a:custGeom>
                <a:noFill/>
                <a:ln w="6350" cap="rnd">
                  <a:solidFill>
                    <a:schemeClr val="bg1">
                      <a:alpha val="40000"/>
                    </a:schemeClr>
                  </a:solidFill>
                  <a:prstDash val="solid"/>
                  <a:round/>
                </a:ln>
              </p:spPr>
              <p:txBody>
                <a:bodyPr rtlCol="0" anchor="ctr"/>
                <a:lstStyle/>
                <a:p>
                  <a:endParaRPr lang="en-GB"/>
                </a:p>
              </p:txBody>
            </p:sp>
            <p:sp>
              <p:nvSpPr>
                <p:cNvPr id="5432" name="Vrije vorm: vorm 5431">
                  <a:extLst>
                    <a:ext uri="{FF2B5EF4-FFF2-40B4-BE49-F238E27FC236}">
                      <a16:creationId xmlns:a16="http://schemas.microsoft.com/office/drawing/2014/main" id="{704AF1E1-6C5B-4FE5-B4B9-47059CE20450}"/>
                    </a:ext>
                  </a:extLst>
                </p:cNvPr>
                <p:cNvSpPr/>
                <p:nvPr/>
              </p:nvSpPr>
              <p:spPr>
                <a:xfrm>
                  <a:off x="6407167" y="1666628"/>
                  <a:ext cx="478" cy="837"/>
                </a:xfrm>
                <a:custGeom>
                  <a:avLst/>
                  <a:gdLst>
                    <a:gd name="connsiteX0" fmla="*/ 419 w 478"/>
                    <a:gd name="connsiteY0" fmla="*/ 0 h 837"/>
                    <a:gd name="connsiteX1" fmla="*/ 419 w 478"/>
                    <a:gd name="connsiteY1" fmla="*/ 0 h 837"/>
                    <a:gd name="connsiteX2" fmla="*/ 479 w 478"/>
                    <a:gd name="connsiteY2" fmla="*/ 120 h 837"/>
                    <a:gd name="connsiteX3" fmla="*/ 479 w 478"/>
                    <a:gd name="connsiteY3" fmla="*/ 179 h 837"/>
                    <a:gd name="connsiteX4" fmla="*/ 479 w 478"/>
                    <a:gd name="connsiteY4" fmla="*/ 299 h 837"/>
                    <a:gd name="connsiteX5" fmla="*/ 419 w 478"/>
                    <a:gd name="connsiteY5" fmla="*/ 419 h 837"/>
                    <a:gd name="connsiteX6" fmla="*/ 359 w 478"/>
                    <a:gd name="connsiteY6" fmla="*/ 538 h 837"/>
                    <a:gd name="connsiteX7" fmla="*/ 299 w 478"/>
                    <a:gd name="connsiteY7" fmla="*/ 658 h 837"/>
                    <a:gd name="connsiteX8" fmla="*/ 239 w 478"/>
                    <a:gd name="connsiteY8" fmla="*/ 718 h 837"/>
                    <a:gd name="connsiteX9" fmla="*/ 180 w 478"/>
                    <a:gd name="connsiteY9" fmla="*/ 777 h 837"/>
                    <a:gd name="connsiteX10" fmla="*/ 120 w 478"/>
                    <a:gd name="connsiteY10" fmla="*/ 837 h 837"/>
                    <a:gd name="connsiteX11" fmla="*/ 60 w 478"/>
                    <a:gd name="connsiteY11" fmla="*/ 837 h 837"/>
                    <a:gd name="connsiteX12" fmla="*/ 0 w 478"/>
                    <a:gd name="connsiteY12" fmla="*/ 837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8" h="837">
                      <a:moveTo>
                        <a:pt x="419" y="0"/>
                      </a:moveTo>
                      <a:lnTo>
                        <a:pt x="419" y="0"/>
                      </a:lnTo>
                      <a:lnTo>
                        <a:pt x="479" y="120"/>
                      </a:lnTo>
                      <a:lnTo>
                        <a:pt x="479" y="179"/>
                      </a:lnTo>
                      <a:lnTo>
                        <a:pt x="479" y="299"/>
                      </a:lnTo>
                      <a:lnTo>
                        <a:pt x="419" y="419"/>
                      </a:lnTo>
                      <a:lnTo>
                        <a:pt x="359" y="538"/>
                      </a:lnTo>
                      <a:lnTo>
                        <a:pt x="299" y="658"/>
                      </a:lnTo>
                      <a:lnTo>
                        <a:pt x="239" y="718"/>
                      </a:lnTo>
                      <a:lnTo>
                        <a:pt x="180" y="777"/>
                      </a:lnTo>
                      <a:lnTo>
                        <a:pt x="120" y="837"/>
                      </a:lnTo>
                      <a:lnTo>
                        <a:pt x="60" y="837"/>
                      </a:lnTo>
                      <a:lnTo>
                        <a:pt x="0" y="837"/>
                      </a:lnTo>
                    </a:path>
                  </a:pathLst>
                </a:custGeom>
                <a:noFill/>
                <a:ln w="6350" cap="rnd">
                  <a:solidFill>
                    <a:schemeClr val="bg1">
                      <a:alpha val="40000"/>
                    </a:schemeClr>
                  </a:solidFill>
                  <a:prstDash val="solid"/>
                  <a:round/>
                </a:ln>
              </p:spPr>
              <p:txBody>
                <a:bodyPr rtlCol="0" anchor="ctr"/>
                <a:lstStyle/>
                <a:p>
                  <a:endParaRPr lang="en-GB"/>
                </a:p>
              </p:txBody>
            </p:sp>
            <p:sp>
              <p:nvSpPr>
                <p:cNvPr id="5433" name="Vrije vorm: vorm 5432">
                  <a:extLst>
                    <a:ext uri="{FF2B5EF4-FFF2-40B4-BE49-F238E27FC236}">
                      <a16:creationId xmlns:a16="http://schemas.microsoft.com/office/drawing/2014/main" id="{71749808-371F-49B5-90BE-179EE592E0ED}"/>
                    </a:ext>
                  </a:extLst>
                </p:cNvPr>
                <p:cNvSpPr/>
                <p:nvPr/>
              </p:nvSpPr>
              <p:spPr>
                <a:xfrm>
                  <a:off x="6407227" y="1666449"/>
                  <a:ext cx="298" cy="179"/>
                </a:xfrm>
                <a:custGeom>
                  <a:avLst/>
                  <a:gdLst>
                    <a:gd name="connsiteX0" fmla="*/ 0 w 298"/>
                    <a:gd name="connsiteY0" fmla="*/ 0 h 179"/>
                    <a:gd name="connsiteX1" fmla="*/ 180 w 298"/>
                    <a:gd name="connsiteY1" fmla="*/ 120 h 179"/>
                    <a:gd name="connsiteX2" fmla="*/ 180 w 298"/>
                    <a:gd name="connsiteY2" fmla="*/ 120 h 179"/>
                    <a:gd name="connsiteX3" fmla="*/ 299 w 298"/>
                    <a:gd name="connsiteY3" fmla="*/ 179 h 179"/>
                  </a:gdLst>
                  <a:ahLst/>
                  <a:cxnLst>
                    <a:cxn ang="0">
                      <a:pos x="connsiteX0" y="connsiteY0"/>
                    </a:cxn>
                    <a:cxn ang="0">
                      <a:pos x="connsiteX1" y="connsiteY1"/>
                    </a:cxn>
                    <a:cxn ang="0">
                      <a:pos x="connsiteX2" y="connsiteY2"/>
                    </a:cxn>
                    <a:cxn ang="0">
                      <a:pos x="connsiteX3" y="connsiteY3"/>
                    </a:cxn>
                  </a:cxnLst>
                  <a:rect l="l" t="t" r="r" b="b"/>
                  <a:pathLst>
                    <a:path w="298" h="179">
                      <a:moveTo>
                        <a:pt x="0" y="0"/>
                      </a:moveTo>
                      <a:lnTo>
                        <a:pt x="180" y="120"/>
                      </a:lnTo>
                      <a:lnTo>
                        <a:pt x="180" y="120"/>
                      </a:lnTo>
                      <a:lnTo>
                        <a:pt x="299" y="179"/>
                      </a:lnTo>
                    </a:path>
                  </a:pathLst>
                </a:custGeom>
                <a:noFill/>
                <a:ln w="6350" cap="rnd">
                  <a:solidFill>
                    <a:schemeClr val="bg1">
                      <a:alpha val="40000"/>
                    </a:schemeClr>
                  </a:solidFill>
                  <a:prstDash val="solid"/>
                  <a:round/>
                </a:ln>
              </p:spPr>
              <p:txBody>
                <a:bodyPr rtlCol="0" anchor="ctr"/>
                <a:lstStyle/>
                <a:p>
                  <a:endParaRPr lang="en-GB"/>
                </a:p>
              </p:txBody>
            </p:sp>
            <p:sp>
              <p:nvSpPr>
                <p:cNvPr id="5434" name="Vrije vorm: vorm 5433">
                  <a:extLst>
                    <a:ext uri="{FF2B5EF4-FFF2-40B4-BE49-F238E27FC236}">
                      <a16:creationId xmlns:a16="http://schemas.microsoft.com/office/drawing/2014/main" id="{0E1A4B39-A047-44D9-9E32-F5CC4CDEE562}"/>
                    </a:ext>
                  </a:extLst>
                </p:cNvPr>
                <p:cNvSpPr/>
                <p:nvPr/>
              </p:nvSpPr>
              <p:spPr>
                <a:xfrm>
                  <a:off x="6407466" y="1669379"/>
                  <a:ext cx="1016" cy="837"/>
                </a:xfrm>
                <a:custGeom>
                  <a:avLst/>
                  <a:gdLst>
                    <a:gd name="connsiteX0" fmla="*/ 0 w 1016"/>
                    <a:gd name="connsiteY0" fmla="*/ 778 h 837"/>
                    <a:gd name="connsiteX1" fmla="*/ 119 w 1016"/>
                    <a:gd name="connsiteY1" fmla="*/ 837 h 837"/>
                    <a:gd name="connsiteX2" fmla="*/ 239 w 1016"/>
                    <a:gd name="connsiteY2" fmla="*/ 837 h 837"/>
                    <a:gd name="connsiteX3" fmla="*/ 239 w 1016"/>
                    <a:gd name="connsiteY3" fmla="*/ 837 h 837"/>
                    <a:gd name="connsiteX4" fmla="*/ 418 w 1016"/>
                    <a:gd name="connsiteY4" fmla="*/ 778 h 837"/>
                    <a:gd name="connsiteX5" fmla="*/ 598 w 1016"/>
                    <a:gd name="connsiteY5" fmla="*/ 658 h 837"/>
                    <a:gd name="connsiteX6" fmla="*/ 778 w 1016"/>
                    <a:gd name="connsiteY6" fmla="*/ 478 h 837"/>
                    <a:gd name="connsiteX7" fmla="*/ 897 w 1016"/>
                    <a:gd name="connsiteY7" fmla="*/ 239 h 837"/>
                    <a:gd name="connsiteX8" fmla="*/ 1017 w 1016"/>
                    <a:gd name="connsiteY8" fmla="*/ 0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6" h="837">
                      <a:moveTo>
                        <a:pt x="0" y="778"/>
                      </a:moveTo>
                      <a:lnTo>
                        <a:pt x="119" y="837"/>
                      </a:lnTo>
                      <a:lnTo>
                        <a:pt x="239" y="837"/>
                      </a:lnTo>
                      <a:lnTo>
                        <a:pt x="239" y="837"/>
                      </a:lnTo>
                      <a:lnTo>
                        <a:pt x="418" y="778"/>
                      </a:lnTo>
                      <a:lnTo>
                        <a:pt x="598" y="658"/>
                      </a:lnTo>
                      <a:lnTo>
                        <a:pt x="778" y="478"/>
                      </a:lnTo>
                      <a:lnTo>
                        <a:pt x="897" y="239"/>
                      </a:lnTo>
                      <a:lnTo>
                        <a:pt x="1017" y="0"/>
                      </a:lnTo>
                    </a:path>
                  </a:pathLst>
                </a:custGeom>
                <a:noFill/>
                <a:ln w="6350" cap="rnd">
                  <a:solidFill>
                    <a:schemeClr val="bg1">
                      <a:alpha val="40000"/>
                    </a:schemeClr>
                  </a:solidFill>
                  <a:prstDash val="solid"/>
                  <a:round/>
                </a:ln>
              </p:spPr>
              <p:txBody>
                <a:bodyPr rtlCol="0" anchor="ctr"/>
                <a:lstStyle/>
                <a:p>
                  <a:endParaRPr lang="en-GB"/>
                </a:p>
              </p:txBody>
            </p:sp>
            <p:sp>
              <p:nvSpPr>
                <p:cNvPr id="5435" name="Vrije vorm: vorm 5434">
                  <a:extLst>
                    <a:ext uri="{FF2B5EF4-FFF2-40B4-BE49-F238E27FC236}">
                      <a16:creationId xmlns:a16="http://schemas.microsoft.com/office/drawing/2014/main" id="{EEF27A87-6A79-4B2F-8507-B8C17AF1A2F8}"/>
                    </a:ext>
                  </a:extLst>
                </p:cNvPr>
                <p:cNvSpPr/>
                <p:nvPr/>
              </p:nvSpPr>
              <p:spPr>
                <a:xfrm>
                  <a:off x="6407167" y="1670874"/>
                  <a:ext cx="5980" cy="119"/>
                </a:xfrm>
                <a:custGeom>
                  <a:avLst/>
                  <a:gdLst>
                    <a:gd name="connsiteX0" fmla="*/ 0 w 5980"/>
                    <a:gd name="connsiteY0" fmla="*/ 120 h 119"/>
                    <a:gd name="connsiteX1" fmla="*/ 0 w 5980"/>
                    <a:gd name="connsiteY1" fmla="*/ 60 h 119"/>
                    <a:gd name="connsiteX2" fmla="*/ 0 w 5980"/>
                    <a:gd name="connsiteY2" fmla="*/ 0 h 119"/>
                  </a:gdLst>
                  <a:ahLst/>
                  <a:cxnLst>
                    <a:cxn ang="0">
                      <a:pos x="connsiteX0" y="connsiteY0"/>
                    </a:cxn>
                    <a:cxn ang="0">
                      <a:pos x="connsiteX1" y="connsiteY1"/>
                    </a:cxn>
                    <a:cxn ang="0">
                      <a:pos x="connsiteX2" y="connsiteY2"/>
                    </a:cxn>
                  </a:cxnLst>
                  <a:rect l="l" t="t" r="r" b="b"/>
                  <a:pathLst>
                    <a:path w="5980" h="119">
                      <a:moveTo>
                        <a:pt x="0" y="120"/>
                      </a:moveTo>
                      <a:lnTo>
                        <a:pt x="0" y="6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36" name="Vrije vorm: vorm 5435">
                  <a:extLst>
                    <a:ext uri="{FF2B5EF4-FFF2-40B4-BE49-F238E27FC236}">
                      <a16:creationId xmlns:a16="http://schemas.microsoft.com/office/drawing/2014/main" id="{D3E39A4D-B4B4-42C6-B1FB-07368D790D30}"/>
                    </a:ext>
                  </a:extLst>
                </p:cNvPr>
                <p:cNvSpPr/>
                <p:nvPr/>
              </p:nvSpPr>
              <p:spPr>
                <a:xfrm>
                  <a:off x="6406629" y="1671592"/>
                  <a:ext cx="418" cy="657"/>
                </a:xfrm>
                <a:custGeom>
                  <a:avLst/>
                  <a:gdLst>
                    <a:gd name="connsiteX0" fmla="*/ 0 w 418"/>
                    <a:gd name="connsiteY0" fmla="*/ 658 h 657"/>
                    <a:gd name="connsiteX1" fmla="*/ 179 w 418"/>
                    <a:gd name="connsiteY1" fmla="*/ 478 h 657"/>
                    <a:gd name="connsiteX2" fmla="*/ 299 w 418"/>
                    <a:gd name="connsiteY2" fmla="*/ 239 h 657"/>
                    <a:gd name="connsiteX3" fmla="*/ 419 w 418"/>
                    <a:gd name="connsiteY3" fmla="*/ 0 h 657"/>
                  </a:gdLst>
                  <a:ahLst/>
                  <a:cxnLst>
                    <a:cxn ang="0">
                      <a:pos x="connsiteX0" y="connsiteY0"/>
                    </a:cxn>
                    <a:cxn ang="0">
                      <a:pos x="connsiteX1" y="connsiteY1"/>
                    </a:cxn>
                    <a:cxn ang="0">
                      <a:pos x="connsiteX2" y="connsiteY2"/>
                    </a:cxn>
                    <a:cxn ang="0">
                      <a:pos x="connsiteX3" y="connsiteY3"/>
                    </a:cxn>
                  </a:cxnLst>
                  <a:rect l="l" t="t" r="r" b="b"/>
                  <a:pathLst>
                    <a:path w="418" h="657">
                      <a:moveTo>
                        <a:pt x="0" y="658"/>
                      </a:moveTo>
                      <a:lnTo>
                        <a:pt x="179" y="478"/>
                      </a:lnTo>
                      <a:lnTo>
                        <a:pt x="299" y="239"/>
                      </a:lnTo>
                      <a:lnTo>
                        <a:pt x="419" y="0"/>
                      </a:lnTo>
                    </a:path>
                  </a:pathLst>
                </a:custGeom>
                <a:noFill/>
                <a:ln w="6350" cap="rnd">
                  <a:solidFill>
                    <a:schemeClr val="bg1">
                      <a:alpha val="40000"/>
                    </a:schemeClr>
                  </a:solidFill>
                  <a:prstDash val="solid"/>
                  <a:round/>
                </a:ln>
              </p:spPr>
              <p:txBody>
                <a:bodyPr rtlCol="0" anchor="ctr"/>
                <a:lstStyle/>
                <a:p>
                  <a:endParaRPr lang="en-GB"/>
                </a:p>
              </p:txBody>
            </p:sp>
            <p:sp>
              <p:nvSpPr>
                <p:cNvPr id="5437" name="Vrije vorm: vorm 5436">
                  <a:extLst>
                    <a:ext uri="{FF2B5EF4-FFF2-40B4-BE49-F238E27FC236}">
                      <a16:creationId xmlns:a16="http://schemas.microsoft.com/office/drawing/2014/main" id="{2DDE3A39-1CD7-433B-9CA1-B9E18C938F0F}"/>
                    </a:ext>
                  </a:extLst>
                </p:cNvPr>
                <p:cNvSpPr/>
                <p:nvPr/>
              </p:nvSpPr>
              <p:spPr>
                <a:xfrm>
                  <a:off x="6408483" y="1668960"/>
                  <a:ext cx="5980" cy="119"/>
                </a:xfrm>
                <a:custGeom>
                  <a:avLst/>
                  <a:gdLst>
                    <a:gd name="connsiteX0" fmla="*/ 0 w 5980"/>
                    <a:gd name="connsiteY0" fmla="*/ 120 h 119"/>
                    <a:gd name="connsiteX1" fmla="*/ 0 w 5980"/>
                    <a:gd name="connsiteY1" fmla="*/ 0 h 119"/>
                  </a:gdLst>
                  <a:ahLst/>
                  <a:cxnLst>
                    <a:cxn ang="0">
                      <a:pos x="connsiteX0" y="connsiteY0"/>
                    </a:cxn>
                    <a:cxn ang="0">
                      <a:pos x="connsiteX1" y="connsiteY1"/>
                    </a:cxn>
                  </a:cxnLst>
                  <a:rect l="l" t="t" r="r" b="b"/>
                  <a:pathLst>
                    <a:path w="5980" h="119">
                      <a:moveTo>
                        <a:pt x="0" y="12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38" name="Vrije vorm: vorm 5437">
                  <a:extLst>
                    <a:ext uri="{FF2B5EF4-FFF2-40B4-BE49-F238E27FC236}">
                      <a16:creationId xmlns:a16="http://schemas.microsoft.com/office/drawing/2014/main" id="{8040BE25-2253-4362-9878-86F7A36315B2}"/>
                    </a:ext>
                  </a:extLst>
                </p:cNvPr>
                <p:cNvSpPr/>
                <p:nvPr/>
              </p:nvSpPr>
              <p:spPr>
                <a:xfrm>
                  <a:off x="6404356" y="1671592"/>
                  <a:ext cx="418" cy="478"/>
                </a:xfrm>
                <a:custGeom>
                  <a:avLst/>
                  <a:gdLst>
                    <a:gd name="connsiteX0" fmla="*/ 0 w 418"/>
                    <a:gd name="connsiteY0" fmla="*/ 478 h 478"/>
                    <a:gd name="connsiteX1" fmla="*/ 0 w 418"/>
                    <a:gd name="connsiteY1" fmla="*/ 478 h 478"/>
                    <a:gd name="connsiteX2" fmla="*/ 120 w 418"/>
                    <a:gd name="connsiteY2" fmla="*/ 478 h 478"/>
                    <a:gd name="connsiteX3" fmla="*/ 179 w 418"/>
                    <a:gd name="connsiteY3" fmla="*/ 419 h 478"/>
                    <a:gd name="connsiteX4" fmla="*/ 239 w 418"/>
                    <a:gd name="connsiteY4" fmla="*/ 359 h 478"/>
                    <a:gd name="connsiteX5" fmla="*/ 299 w 418"/>
                    <a:gd name="connsiteY5" fmla="*/ 299 h 478"/>
                    <a:gd name="connsiteX6" fmla="*/ 359 w 418"/>
                    <a:gd name="connsiteY6" fmla="*/ 179 h 478"/>
                    <a:gd name="connsiteX7" fmla="*/ 419 w 418"/>
                    <a:gd name="connsiteY7" fmla="*/ 60 h 478"/>
                    <a:gd name="connsiteX8" fmla="*/ 419 w 418"/>
                    <a:gd name="connsiteY8" fmla="*/ 0 h 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8" h="478">
                      <a:moveTo>
                        <a:pt x="0" y="478"/>
                      </a:moveTo>
                      <a:lnTo>
                        <a:pt x="0" y="478"/>
                      </a:lnTo>
                      <a:lnTo>
                        <a:pt x="120" y="478"/>
                      </a:lnTo>
                      <a:lnTo>
                        <a:pt x="179" y="419"/>
                      </a:lnTo>
                      <a:lnTo>
                        <a:pt x="239" y="359"/>
                      </a:lnTo>
                      <a:lnTo>
                        <a:pt x="299" y="299"/>
                      </a:lnTo>
                      <a:lnTo>
                        <a:pt x="359" y="179"/>
                      </a:lnTo>
                      <a:lnTo>
                        <a:pt x="419" y="60"/>
                      </a:lnTo>
                      <a:lnTo>
                        <a:pt x="419" y="0"/>
                      </a:lnTo>
                    </a:path>
                  </a:pathLst>
                </a:custGeom>
                <a:noFill/>
                <a:ln w="6350" cap="rnd">
                  <a:solidFill>
                    <a:schemeClr val="bg1">
                      <a:alpha val="40000"/>
                    </a:schemeClr>
                  </a:solidFill>
                  <a:prstDash val="solid"/>
                  <a:round/>
                </a:ln>
              </p:spPr>
              <p:txBody>
                <a:bodyPr rtlCol="0" anchor="ctr"/>
                <a:lstStyle/>
                <a:p>
                  <a:endParaRPr lang="en-GB"/>
                </a:p>
              </p:txBody>
            </p:sp>
            <p:sp>
              <p:nvSpPr>
                <p:cNvPr id="5439" name="Vrije vorm: vorm 5438">
                  <a:extLst>
                    <a:ext uri="{FF2B5EF4-FFF2-40B4-BE49-F238E27FC236}">
                      <a16:creationId xmlns:a16="http://schemas.microsoft.com/office/drawing/2014/main" id="{FDA7E454-643E-4ECA-BC7C-6543E2309B4A}"/>
                    </a:ext>
                  </a:extLst>
                </p:cNvPr>
                <p:cNvSpPr/>
                <p:nvPr/>
              </p:nvSpPr>
              <p:spPr>
                <a:xfrm>
                  <a:off x="6404775" y="1674582"/>
                  <a:ext cx="597" cy="59"/>
                </a:xfrm>
                <a:custGeom>
                  <a:avLst/>
                  <a:gdLst>
                    <a:gd name="connsiteX0" fmla="*/ 598 w 597"/>
                    <a:gd name="connsiteY0" fmla="*/ 60 h 59"/>
                    <a:gd name="connsiteX1" fmla="*/ 0 w 597"/>
                    <a:gd name="connsiteY1" fmla="*/ 0 h 59"/>
                  </a:gdLst>
                  <a:ahLst/>
                  <a:cxnLst>
                    <a:cxn ang="0">
                      <a:pos x="connsiteX0" y="connsiteY0"/>
                    </a:cxn>
                    <a:cxn ang="0">
                      <a:pos x="connsiteX1" y="connsiteY1"/>
                    </a:cxn>
                  </a:cxnLst>
                  <a:rect l="l" t="t" r="r" b="b"/>
                  <a:pathLst>
                    <a:path w="597" h="59">
                      <a:moveTo>
                        <a:pt x="598" y="6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40" name="Vrije vorm: vorm 5439">
                  <a:extLst>
                    <a:ext uri="{FF2B5EF4-FFF2-40B4-BE49-F238E27FC236}">
                      <a16:creationId xmlns:a16="http://schemas.microsoft.com/office/drawing/2014/main" id="{EB4A9BF2-997C-48C7-9F01-A36D8987EF13}"/>
                    </a:ext>
                  </a:extLst>
                </p:cNvPr>
                <p:cNvSpPr/>
                <p:nvPr/>
              </p:nvSpPr>
              <p:spPr>
                <a:xfrm>
                  <a:off x="6409081" y="1665671"/>
                  <a:ext cx="298" cy="179"/>
                </a:xfrm>
                <a:custGeom>
                  <a:avLst/>
                  <a:gdLst>
                    <a:gd name="connsiteX0" fmla="*/ 0 w 298"/>
                    <a:gd name="connsiteY0" fmla="*/ 0 h 179"/>
                    <a:gd name="connsiteX1" fmla="*/ 299 w 298"/>
                    <a:gd name="connsiteY1" fmla="*/ 179 h 179"/>
                    <a:gd name="connsiteX2" fmla="*/ 299 w 298"/>
                    <a:gd name="connsiteY2" fmla="*/ 179 h 179"/>
                  </a:gdLst>
                  <a:ahLst/>
                  <a:cxnLst>
                    <a:cxn ang="0">
                      <a:pos x="connsiteX0" y="connsiteY0"/>
                    </a:cxn>
                    <a:cxn ang="0">
                      <a:pos x="connsiteX1" y="connsiteY1"/>
                    </a:cxn>
                    <a:cxn ang="0">
                      <a:pos x="connsiteX2" y="connsiteY2"/>
                    </a:cxn>
                  </a:cxnLst>
                  <a:rect l="l" t="t" r="r" b="b"/>
                  <a:pathLst>
                    <a:path w="298" h="179">
                      <a:moveTo>
                        <a:pt x="0" y="0"/>
                      </a:moveTo>
                      <a:lnTo>
                        <a:pt x="299" y="179"/>
                      </a:lnTo>
                      <a:lnTo>
                        <a:pt x="299" y="179"/>
                      </a:lnTo>
                    </a:path>
                  </a:pathLst>
                </a:custGeom>
                <a:noFill/>
                <a:ln w="6350" cap="rnd">
                  <a:solidFill>
                    <a:schemeClr val="bg1">
                      <a:alpha val="40000"/>
                    </a:schemeClr>
                  </a:solidFill>
                  <a:prstDash val="solid"/>
                  <a:round/>
                </a:ln>
              </p:spPr>
              <p:txBody>
                <a:bodyPr rtlCol="0" anchor="ctr"/>
                <a:lstStyle/>
                <a:p>
                  <a:endParaRPr lang="en-GB"/>
                </a:p>
              </p:txBody>
            </p:sp>
            <p:sp>
              <p:nvSpPr>
                <p:cNvPr id="5441" name="Vrije vorm: vorm 5440">
                  <a:extLst>
                    <a:ext uri="{FF2B5EF4-FFF2-40B4-BE49-F238E27FC236}">
                      <a16:creationId xmlns:a16="http://schemas.microsoft.com/office/drawing/2014/main" id="{B3F669E7-DE4B-43EB-93E7-E03A36AE76E3}"/>
                    </a:ext>
                  </a:extLst>
                </p:cNvPr>
                <p:cNvSpPr/>
                <p:nvPr/>
              </p:nvSpPr>
              <p:spPr>
                <a:xfrm>
                  <a:off x="6407107" y="1668303"/>
                  <a:ext cx="1136" cy="1734"/>
                </a:xfrm>
                <a:custGeom>
                  <a:avLst/>
                  <a:gdLst>
                    <a:gd name="connsiteX0" fmla="*/ 0 w 1136"/>
                    <a:gd name="connsiteY0" fmla="*/ 1675 h 1734"/>
                    <a:gd name="connsiteX1" fmla="*/ 119 w 1136"/>
                    <a:gd name="connsiteY1" fmla="*/ 1734 h 1734"/>
                    <a:gd name="connsiteX2" fmla="*/ 239 w 1136"/>
                    <a:gd name="connsiteY2" fmla="*/ 1734 h 1734"/>
                    <a:gd name="connsiteX3" fmla="*/ 418 w 1136"/>
                    <a:gd name="connsiteY3" fmla="*/ 1675 h 1734"/>
                    <a:gd name="connsiteX4" fmla="*/ 598 w 1136"/>
                    <a:gd name="connsiteY4" fmla="*/ 1555 h 1734"/>
                    <a:gd name="connsiteX5" fmla="*/ 658 w 1136"/>
                    <a:gd name="connsiteY5" fmla="*/ 1495 h 1734"/>
                    <a:gd name="connsiteX6" fmla="*/ 777 w 1136"/>
                    <a:gd name="connsiteY6" fmla="*/ 1376 h 1734"/>
                    <a:gd name="connsiteX7" fmla="*/ 897 w 1136"/>
                    <a:gd name="connsiteY7" fmla="*/ 1136 h 1734"/>
                    <a:gd name="connsiteX8" fmla="*/ 1017 w 1136"/>
                    <a:gd name="connsiteY8" fmla="*/ 897 h 1734"/>
                    <a:gd name="connsiteX9" fmla="*/ 1076 w 1136"/>
                    <a:gd name="connsiteY9" fmla="*/ 658 h 1734"/>
                    <a:gd name="connsiteX10" fmla="*/ 1076 w 1136"/>
                    <a:gd name="connsiteY10" fmla="*/ 658 h 1734"/>
                    <a:gd name="connsiteX11" fmla="*/ 1136 w 1136"/>
                    <a:gd name="connsiteY11" fmla="*/ 419 h 1734"/>
                    <a:gd name="connsiteX12" fmla="*/ 1136 w 1136"/>
                    <a:gd name="connsiteY12" fmla="*/ 239 h 1734"/>
                    <a:gd name="connsiteX13" fmla="*/ 1136 w 1136"/>
                    <a:gd name="connsiteY13" fmla="*/ 179 h 1734"/>
                    <a:gd name="connsiteX14" fmla="*/ 1136 w 1136"/>
                    <a:gd name="connsiteY14" fmla="*/ 120 h 1734"/>
                    <a:gd name="connsiteX15" fmla="*/ 1076 w 1136"/>
                    <a:gd name="connsiteY15" fmla="*/ 0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6" h="1734">
                      <a:moveTo>
                        <a:pt x="0" y="1675"/>
                      </a:moveTo>
                      <a:lnTo>
                        <a:pt x="119" y="1734"/>
                      </a:lnTo>
                      <a:lnTo>
                        <a:pt x="239" y="1734"/>
                      </a:lnTo>
                      <a:lnTo>
                        <a:pt x="418" y="1675"/>
                      </a:lnTo>
                      <a:lnTo>
                        <a:pt x="598" y="1555"/>
                      </a:lnTo>
                      <a:lnTo>
                        <a:pt x="658" y="1495"/>
                      </a:lnTo>
                      <a:lnTo>
                        <a:pt x="777" y="1376"/>
                      </a:lnTo>
                      <a:lnTo>
                        <a:pt x="897" y="1136"/>
                      </a:lnTo>
                      <a:lnTo>
                        <a:pt x="1017" y="897"/>
                      </a:lnTo>
                      <a:lnTo>
                        <a:pt x="1076" y="658"/>
                      </a:lnTo>
                      <a:lnTo>
                        <a:pt x="1076" y="658"/>
                      </a:lnTo>
                      <a:lnTo>
                        <a:pt x="1136" y="419"/>
                      </a:lnTo>
                      <a:lnTo>
                        <a:pt x="1136" y="239"/>
                      </a:lnTo>
                      <a:lnTo>
                        <a:pt x="1136" y="179"/>
                      </a:lnTo>
                      <a:lnTo>
                        <a:pt x="1136" y="120"/>
                      </a:lnTo>
                      <a:lnTo>
                        <a:pt x="1076" y="0"/>
                      </a:lnTo>
                    </a:path>
                  </a:pathLst>
                </a:custGeom>
                <a:noFill/>
                <a:ln w="6350" cap="rnd">
                  <a:solidFill>
                    <a:schemeClr val="bg1">
                      <a:alpha val="40000"/>
                    </a:schemeClr>
                  </a:solidFill>
                  <a:prstDash val="solid"/>
                  <a:round/>
                </a:ln>
              </p:spPr>
              <p:txBody>
                <a:bodyPr rtlCol="0" anchor="ctr"/>
                <a:lstStyle/>
                <a:p>
                  <a:endParaRPr lang="en-GB"/>
                </a:p>
              </p:txBody>
            </p:sp>
            <p:sp>
              <p:nvSpPr>
                <p:cNvPr id="5442" name="Vrije vorm: vorm 5441">
                  <a:extLst>
                    <a:ext uri="{FF2B5EF4-FFF2-40B4-BE49-F238E27FC236}">
                      <a16:creationId xmlns:a16="http://schemas.microsoft.com/office/drawing/2014/main" id="{49A4A9DB-0572-4CE3-9EEE-2AD7081533EE}"/>
                    </a:ext>
                  </a:extLst>
                </p:cNvPr>
                <p:cNvSpPr/>
                <p:nvPr/>
              </p:nvSpPr>
              <p:spPr>
                <a:xfrm>
                  <a:off x="6405612" y="1670575"/>
                  <a:ext cx="1255" cy="1913"/>
                </a:xfrm>
                <a:custGeom>
                  <a:avLst/>
                  <a:gdLst>
                    <a:gd name="connsiteX0" fmla="*/ 119 w 1255"/>
                    <a:gd name="connsiteY0" fmla="*/ 1734 h 1913"/>
                    <a:gd name="connsiteX1" fmla="*/ 239 w 1255"/>
                    <a:gd name="connsiteY1" fmla="*/ 1794 h 1913"/>
                    <a:gd name="connsiteX2" fmla="*/ 359 w 1255"/>
                    <a:gd name="connsiteY2" fmla="*/ 1794 h 1913"/>
                    <a:gd name="connsiteX3" fmla="*/ 538 w 1255"/>
                    <a:gd name="connsiteY3" fmla="*/ 1734 h 1913"/>
                    <a:gd name="connsiteX4" fmla="*/ 718 w 1255"/>
                    <a:gd name="connsiteY4" fmla="*/ 1615 h 1913"/>
                    <a:gd name="connsiteX5" fmla="*/ 777 w 1255"/>
                    <a:gd name="connsiteY5" fmla="*/ 1555 h 1913"/>
                    <a:gd name="connsiteX6" fmla="*/ 897 w 1255"/>
                    <a:gd name="connsiteY6" fmla="*/ 1435 h 1913"/>
                    <a:gd name="connsiteX7" fmla="*/ 1017 w 1255"/>
                    <a:gd name="connsiteY7" fmla="*/ 1196 h 1913"/>
                    <a:gd name="connsiteX8" fmla="*/ 1136 w 1255"/>
                    <a:gd name="connsiteY8" fmla="*/ 957 h 1913"/>
                    <a:gd name="connsiteX9" fmla="*/ 1196 w 1255"/>
                    <a:gd name="connsiteY9" fmla="*/ 718 h 1913"/>
                    <a:gd name="connsiteX10" fmla="*/ 1196 w 1255"/>
                    <a:gd name="connsiteY10" fmla="*/ 718 h 1913"/>
                    <a:gd name="connsiteX11" fmla="*/ 1256 w 1255"/>
                    <a:gd name="connsiteY11" fmla="*/ 478 h 1913"/>
                    <a:gd name="connsiteX12" fmla="*/ 1256 w 1255"/>
                    <a:gd name="connsiteY12" fmla="*/ 299 h 1913"/>
                    <a:gd name="connsiteX13" fmla="*/ 1256 w 1255"/>
                    <a:gd name="connsiteY13" fmla="*/ 239 h 1913"/>
                    <a:gd name="connsiteX14" fmla="*/ 1256 w 1255"/>
                    <a:gd name="connsiteY14" fmla="*/ 180 h 1913"/>
                    <a:gd name="connsiteX15" fmla="*/ 1196 w 1255"/>
                    <a:gd name="connsiteY15" fmla="*/ 60 h 1913"/>
                    <a:gd name="connsiteX16" fmla="*/ 1076 w 1255"/>
                    <a:gd name="connsiteY16" fmla="*/ 0 h 1913"/>
                    <a:gd name="connsiteX17" fmla="*/ 1017 w 1255"/>
                    <a:gd name="connsiteY17" fmla="*/ 0 h 1913"/>
                    <a:gd name="connsiteX18" fmla="*/ 957 w 1255"/>
                    <a:gd name="connsiteY18" fmla="*/ 0 h 1913"/>
                    <a:gd name="connsiteX19" fmla="*/ 777 w 1255"/>
                    <a:gd name="connsiteY19" fmla="*/ 60 h 1913"/>
                    <a:gd name="connsiteX20" fmla="*/ 598 w 1255"/>
                    <a:gd name="connsiteY20" fmla="*/ 180 h 1913"/>
                    <a:gd name="connsiteX21" fmla="*/ 418 w 1255"/>
                    <a:gd name="connsiteY21" fmla="*/ 359 h 1913"/>
                    <a:gd name="connsiteX22" fmla="*/ 299 w 1255"/>
                    <a:gd name="connsiteY22" fmla="*/ 598 h 1913"/>
                    <a:gd name="connsiteX23" fmla="*/ 179 w 1255"/>
                    <a:gd name="connsiteY23" fmla="*/ 837 h 1913"/>
                    <a:gd name="connsiteX24" fmla="*/ 119 w 1255"/>
                    <a:gd name="connsiteY24" fmla="*/ 957 h 1913"/>
                    <a:gd name="connsiteX25" fmla="*/ 60 w 1255"/>
                    <a:gd name="connsiteY25" fmla="*/ 1077 h 1913"/>
                    <a:gd name="connsiteX26" fmla="*/ 0 w 1255"/>
                    <a:gd name="connsiteY26" fmla="*/ 1316 h 1913"/>
                    <a:gd name="connsiteX27" fmla="*/ 0 w 1255"/>
                    <a:gd name="connsiteY27" fmla="*/ 1435 h 1913"/>
                    <a:gd name="connsiteX28" fmla="*/ 0 w 1255"/>
                    <a:gd name="connsiteY28" fmla="*/ 1495 h 1913"/>
                    <a:gd name="connsiteX29" fmla="*/ 60 w 1255"/>
                    <a:gd name="connsiteY29" fmla="*/ 1615 h 1913"/>
                    <a:gd name="connsiteX30" fmla="*/ 119 w 1255"/>
                    <a:gd name="connsiteY30" fmla="*/ 1734 h 1913"/>
                    <a:gd name="connsiteX31" fmla="*/ 418 w 1255"/>
                    <a:gd name="connsiteY31" fmla="*/ 1914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55" h="1913">
                      <a:moveTo>
                        <a:pt x="119" y="1734"/>
                      </a:moveTo>
                      <a:lnTo>
                        <a:pt x="239" y="1794"/>
                      </a:lnTo>
                      <a:lnTo>
                        <a:pt x="359" y="1794"/>
                      </a:lnTo>
                      <a:lnTo>
                        <a:pt x="538" y="1734"/>
                      </a:lnTo>
                      <a:lnTo>
                        <a:pt x="718" y="1615"/>
                      </a:lnTo>
                      <a:lnTo>
                        <a:pt x="777" y="1555"/>
                      </a:lnTo>
                      <a:lnTo>
                        <a:pt x="897" y="1435"/>
                      </a:lnTo>
                      <a:lnTo>
                        <a:pt x="1017" y="1196"/>
                      </a:lnTo>
                      <a:lnTo>
                        <a:pt x="1136" y="957"/>
                      </a:lnTo>
                      <a:lnTo>
                        <a:pt x="1196" y="718"/>
                      </a:lnTo>
                      <a:lnTo>
                        <a:pt x="1196" y="718"/>
                      </a:lnTo>
                      <a:lnTo>
                        <a:pt x="1256" y="478"/>
                      </a:lnTo>
                      <a:lnTo>
                        <a:pt x="1256" y="299"/>
                      </a:lnTo>
                      <a:lnTo>
                        <a:pt x="1256" y="239"/>
                      </a:lnTo>
                      <a:lnTo>
                        <a:pt x="1256" y="180"/>
                      </a:lnTo>
                      <a:lnTo>
                        <a:pt x="1196" y="60"/>
                      </a:lnTo>
                      <a:lnTo>
                        <a:pt x="1076" y="0"/>
                      </a:lnTo>
                      <a:lnTo>
                        <a:pt x="1017" y="0"/>
                      </a:lnTo>
                      <a:lnTo>
                        <a:pt x="957" y="0"/>
                      </a:lnTo>
                      <a:lnTo>
                        <a:pt x="777" y="60"/>
                      </a:lnTo>
                      <a:lnTo>
                        <a:pt x="598" y="180"/>
                      </a:lnTo>
                      <a:lnTo>
                        <a:pt x="418" y="359"/>
                      </a:lnTo>
                      <a:lnTo>
                        <a:pt x="299" y="598"/>
                      </a:lnTo>
                      <a:lnTo>
                        <a:pt x="179" y="837"/>
                      </a:lnTo>
                      <a:lnTo>
                        <a:pt x="119" y="957"/>
                      </a:lnTo>
                      <a:lnTo>
                        <a:pt x="60" y="1077"/>
                      </a:lnTo>
                      <a:lnTo>
                        <a:pt x="0" y="1316"/>
                      </a:lnTo>
                      <a:lnTo>
                        <a:pt x="0" y="1435"/>
                      </a:lnTo>
                      <a:lnTo>
                        <a:pt x="0" y="1495"/>
                      </a:lnTo>
                      <a:lnTo>
                        <a:pt x="60" y="1615"/>
                      </a:lnTo>
                      <a:lnTo>
                        <a:pt x="119" y="1734"/>
                      </a:lnTo>
                      <a:lnTo>
                        <a:pt x="418" y="1914"/>
                      </a:lnTo>
                    </a:path>
                  </a:pathLst>
                </a:custGeom>
                <a:noFill/>
                <a:ln w="6350" cap="rnd">
                  <a:solidFill>
                    <a:schemeClr val="bg1">
                      <a:alpha val="40000"/>
                    </a:schemeClr>
                  </a:solidFill>
                  <a:prstDash val="solid"/>
                  <a:round/>
                </a:ln>
              </p:spPr>
              <p:txBody>
                <a:bodyPr rtlCol="0" anchor="ctr"/>
                <a:lstStyle/>
                <a:p>
                  <a:endParaRPr lang="en-GB"/>
                </a:p>
              </p:txBody>
            </p:sp>
            <p:sp>
              <p:nvSpPr>
                <p:cNvPr id="5443" name="Vrije vorm: vorm 5442">
                  <a:extLst>
                    <a:ext uri="{FF2B5EF4-FFF2-40B4-BE49-F238E27FC236}">
                      <a16:creationId xmlns:a16="http://schemas.microsoft.com/office/drawing/2014/main" id="{F9530E5E-670B-4001-9A08-D6FF13FC4A2D}"/>
                    </a:ext>
                  </a:extLst>
                </p:cNvPr>
                <p:cNvSpPr/>
                <p:nvPr/>
              </p:nvSpPr>
              <p:spPr>
                <a:xfrm>
                  <a:off x="6406748" y="1670575"/>
                  <a:ext cx="298" cy="179"/>
                </a:xfrm>
                <a:custGeom>
                  <a:avLst/>
                  <a:gdLst>
                    <a:gd name="connsiteX0" fmla="*/ 0 w 298"/>
                    <a:gd name="connsiteY0" fmla="*/ 0 h 179"/>
                    <a:gd name="connsiteX1" fmla="*/ 299 w 298"/>
                    <a:gd name="connsiteY1" fmla="*/ 180 h 179"/>
                  </a:gdLst>
                  <a:ahLst/>
                  <a:cxnLst>
                    <a:cxn ang="0">
                      <a:pos x="connsiteX0" y="connsiteY0"/>
                    </a:cxn>
                    <a:cxn ang="0">
                      <a:pos x="connsiteX1" y="connsiteY1"/>
                    </a:cxn>
                  </a:cxnLst>
                  <a:rect l="l" t="t" r="r" b="b"/>
                  <a:pathLst>
                    <a:path w="298" h="179">
                      <a:moveTo>
                        <a:pt x="0" y="0"/>
                      </a:moveTo>
                      <a:lnTo>
                        <a:pt x="299" y="180"/>
                      </a:lnTo>
                    </a:path>
                  </a:pathLst>
                </a:custGeom>
                <a:noFill/>
                <a:ln w="6350" cap="rnd">
                  <a:solidFill>
                    <a:schemeClr val="bg1">
                      <a:alpha val="40000"/>
                    </a:schemeClr>
                  </a:solidFill>
                  <a:prstDash val="solid"/>
                  <a:round/>
                </a:ln>
              </p:spPr>
              <p:txBody>
                <a:bodyPr rtlCol="0" anchor="ctr"/>
                <a:lstStyle/>
                <a:p>
                  <a:endParaRPr lang="en-GB"/>
                </a:p>
              </p:txBody>
            </p:sp>
            <p:sp>
              <p:nvSpPr>
                <p:cNvPr id="5444" name="Vrije vorm: vorm 5443">
                  <a:extLst>
                    <a:ext uri="{FF2B5EF4-FFF2-40B4-BE49-F238E27FC236}">
                      <a16:creationId xmlns:a16="http://schemas.microsoft.com/office/drawing/2014/main" id="{72F3FEA7-F1FF-4797-835F-2F70EDF84C5C}"/>
                    </a:ext>
                  </a:extLst>
                </p:cNvPr>
                <p:cNvSpPr/>
                <p:nvPr/>
              </p:nvSpPr>
              <p:spPr>
                <a:xfrm>
                  <a:off x="6404057" y="1671114"/>
                  <a:ext cx="478" cy="777"/>
                </a:xfrm>
                <a:custGeom>
                  <a:avLst/>
                  <a:gdLst>
                    <a:gd name="connsiteX0" fmla="*/ 0 w 478"/>
                    <a:gd name="connsiteY0" fmla="*/ 777 h 777"/>
                    <a:gd name="connsiteX1" fmla="*/ 0 w 478"/>
                    <a:gd name="connsiteY1" fmla="*/ 777 h 777"/>
                    <a:gd name="connsiteX2" fmla="*/ 119 w 478"/>
                    <a:gd name="connsiteY2" fmla="*/ 777 h 777"/>
                    <a:gd name="connsiteX3" fmla="*/ 179 w 478"/>
                    <a:gd name="connsiteY3" fmla="*/ 718 h 777"/>
                    <a:gd name="connsiteX4" fmla="*/ 179 w 478"/>
                    <a:gd name="connsiteY4" fmla="*/ 718 h 777"/>
                    <a:gd name="connsiteX5" fmla="*/ 179 w 478"/>
                    <a:gd name="connsiteY5" fmla="*/ 718 h 777"/>
                    <a:gd name="connsiteX6" fmla="*/ 239 w 478"/>
                    <a:gd name="connsiteY6" fmla="*/ 658 h 777"/>
                    <a:gd name="connsiteX7" fmla="*/ 299 w 478"/>
                    <a:gd name="connsiteY7" fmla="*/ 598 h 777"/>
                    <a:gd name="connsiteX8" fmla="*/ 359 w 478"/>
                    <a:gd name="connsiteY8" fmla="*/ 538 h 777"/>
                    <a:gd name="connsiteX9" fmla="*/ 359 w 478"/>
                    <a:gd name="connsiteY9" fmla="*/ 538 h 777"/>
                    <a:gd name="connsiteX10" fmla="*/ 419 w 478"/>
                    <a:gd name="connsiteY10" fmla="*/ 478 h 777"/>
                    <a:gd name="connsiteX11" fmla="*/ 419 w 478"/>
                    <a:gd name="connsiteY11" fmla="*/ 419 h 777"/>
                    <a:gd name="connsiteX12" fmla="*/ 478 w 478"/>
                    <a:gd name="connsiteY12" fmla="*/ 299 h 777"/>
                    <a:gd name="connsiteX13" fmla="*/ 478 w 478"/>
                    <a:gd name="connsiteY13" fmla="*/ 179 h 777"/>
                    <a:gd name="connsiteX14" fmla="*/ 478 w 478"/>
                    <a:gd name="connsiteY14" fmla="*/ 120 h 777"/>
                    <a:gd name="connsiteX15" fmla="*/ 478 w 478"/>
                    <a:gd name="connsiteY15" fmla="*/ 60 h 777"/>
                    <a:gd name="connsiteX16" fmla="*/ 419 w 478"/>
                    <a:gd name="connsiteY16" fmla="*/ 0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8" h="777">
                      <a:moveTo>
                        <a:pt x="0" y="777"/>
                      </a:moveTo>
                      <a:lnTo>
                        <a:pt x="0" y="777"/>
                      </a:lnTo>
                      <a:lnTo>
                        <a:pt x="119" y="777"/>
                      </a:lnTo>
                      <a:lnTo>
                        <a:pt x="179" y="718"/>
                      </a:lnTo>
                      <a:lnTo>
                        <a:pt x="179" y="718"/>
                      </a:lnTo>
                      <a:lnTo>
                        <a:pt x="179" y="718"/>
                      </a:lnTo>
                      <a:lnTo>
                        <a:pt x="239" y="658"/>
                      </a:lnTo>
                      <a:lnTo>
                        <a:pt x="299" y="598"/>
                      </a:lnTo>
                      <a:lnTo>
                        <a:pt x="359" y="538"/>
                      </a:lnTo>
                      <a:lnTo>
                        <a:pt x="359" y="538"/>
                      </a:lnTo>
                      <a:lnTo>
                        <a:pt x="419" y="478"/>
                      </a:lnTo>
                      <a:lnTo>
                        <a:pt x="419" y="419"/>
                      </a:lnTo>
                      <a:lnTo>
                        <a:pt x="478" y="299"/>
                      </a:lnTo>
                      <a:lnTo>
                        <a:pt x="478" y="179"/>
                      </a:lnTo>
                      <a:lnTo>
                        <a:pt x="478" y="120"/>
                      </a:lnTo>
                      <a:lnTo>
                        <a:pt x="478" y="60"/>
                      </a:lnTo>
                      <a:lnTo>
                        <a:pt x="419" y="0"/>
                      </a:lnTo>
                    </a:path>
                  </a:pathLst>
                </a:custGeom>
                <a:noFill/>
                <a:ln w="6350" cap="rnd">
                  <a:solidFill>
                    <a:schemeClr val="bg1">
                      <a:alpha val="40000"/>
                    </a:schemeClr>
                  </a:solidFill>
                  <a:prstDash val="solid"/>
                  <a:round/>
                </a:ln>
              </p:spPr>
              <p:txBody>
                <a:bodyPr rtlCol="0" anchor="ctr"/>
                <a:lstStyle/>
                <a:p>
                  <a:endParaRPr lang="en-GB"/>
                </a:p>
              </p:txBody>
            </p:sp>
            <p:sp>
              <p:nvSpPr>
                <p:cNvPr id="5445" name="Vrije vorm: vorm 5444">
                  <a:extLst>
                    <a:ext uri="{FF2B5EF4-FFF2-40B4-BE49-F238E27FC236}">
                      <a16:creationId xmlns:a16="http://schemas.microsoft.com/office/drawing/2014/main" id="{25CB6F3B-0916-45BE-97F6-F98E6A0564BC}"/>
                    </a:ext>
                  </a:extLst>
                </p:cNvPr>
                <p:cNvSpPr/>
                <p:nvPr/>
              </p:nvSpPr>
              <p:spPr>
                <a:xfrm>
                  <a:off x="6453218" y="1741985"/>
                  <a:ext cx="22846" cy="9449"/>
                </a:xfrm>
                <a:custGeom>
                  <a:avLst/>
                  <a:gdLst>
                    <a:gd name="connsiteX0" fmla="*/ 22846 w 22846"/>
                    <a:gd name="connsiteY0" fmla="*/ 8552 h 9449"/>
                    <a:gd name="connsiteX1" fmla="*/ 21411 w 22846"/>
                    <a:gd name="connsiteY1" fmla="*/ 9270 h 9449"/>
                    <a:gd name="connsiteX2" fmla="*/ 19796 w 22846"/>
                    <a:gd name="connsiteY2" fmla="*/ 9450 h 9449"/>
                    <a:gd name="connsiteX3" fmla="*/ 19557 w 22846"/>
                    <a:gd name="connsiteY3" fmla="*/ 9390 h 9449"/>
                    <a:gd name="connsiteX4" fmla="*/ 18421 w 22846"/>
                    <a:gd name="connsiteY4" fmla="*/ 8971 h 9449"/>
                    <a:gd name="connsiteX5" fmla="*/ 15729 w 22846"/>
                    <a:gd name="connsiteY5" fmla="*/ 7655 h 9449"/>
                    <a:gd name="connsiteX6" fmla="*/ 13038 w 22846"/>
                    <a:gd name="connsiteY6" fmla="*/ 6340 h 9449"/>
                    <a:gd name="connsiteX7" fmla="*/ 12799 w 22846"/>
                    <a:gd name="connsiteY7" fmla="*/ 6220 h 9449"/>
                    <a:gd name="connsiteX8" fmla="*/ 10107 w 22846"/>
                    <a:gd name="connsiteY8" fmla="*/ 4904 h 9449"/>
                    <a:gd name="connsiteX9" fmla="*/ 7416 w 22846"/>
                    <a:gd name="connsiteY9" fmla="*/ 3588 h 9449"/>
                    <a:gd name="connsiteX10" fmla="*/ 4725 w 22846"/>
                    <a:gd name="connsiteY10" fmla="*/ 2273 h 9449"/>
                    <a:gd name="connsiteX11" fmla="*/ 2034 w 22846"/>
                    <a:gd name="connsiteY11" fmla="*/ 957 h 9449"/>
                    <a:gd name="connsiteX12" fmla="*/ 0 w 22846"/>
                    <a:gd name="connsiteY12" fmla="*/ 0 h 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46" h="9449">
                      <a:moveTo>
                        <a:pt x="22846" y="8552"/>
                      </a:moveTo>
                      <a:lnTo>
                        <a:pt x="21411" y="9270"/>
                      </a:lnTo>
                      <a:lnTo>
                        <a:pt x="19796" y="9450"/>
                      </a:lnTo>
                      <a:lnTo>
                        <a:pt x="19557" y="9390"/>
                      </a:lnTo>
                      <a:lnTo>
                        <a:pt x="18421" y="8971"/>
                      </a:lnTo>
                      <a:lnTo>
                        <a:pt x="15729" y="7655"/>
                      </a:lnTo>
                      <a:lnTo>
                        <a:pt x="13038" y="6340"/>
                      </a:lnTo>
                      <a:lnTo>
                        <a:pt x="12799" y="6220"/>
                      </a:lnTo>
                      <a:lnTo>
                        <a:pt x="10107" y="4904"/>
                      </a:lnTo>
                      <a:lnTo>
                        <a:pt x="7416" y="3588"/>
                      </a:lnTo>
                      <a:lnTo>
                        <a:pt x="4725" y="2273"/>
                      </a:lnTo>
                      <a:lnTo>
                        <a:pt x="2034" y="95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46" name="Vrije vorm: vorm 5445">
                  <a:extLst>
                    <a:ext uri="{FF2B5EF4-FFF2-40B4-BE49-F238E27FC236}">
                      <a16:creationId xmlns:a16="http://schemas.microsoft.com/office/drawing/2014/main" id="{E5F4F5C6-B553-4097-B28C-579379E3572C}"/>
                    </a:ext>
                  </a:extLst>
                </p:cNvPr>
                <p:cNvSpPr/>
                <p:nvPr/>
              </p:nvSpPr>
              <p:spPr>
                <a:xfrm>
                  <a:off x="6451604" y="1738875"/>
                  <a:ext cx="8013" cy="3528"/>
                </a:xfrm>
                <a:custGeom>
                  <a:avLst/>
                  <a:gdLst>
                    <a:gd name="connsiteX0" fmla="*/ 8014 w 8013"/>
                    <a:gd name="connsiteY0" fmla="*/ 1076 h 3528"/>
                    <a:gd name="connsiteX1" fmla="*/ 6340 w 8013"/>
                    <a:gd name="connsiteY1" fmla="*/ 2512 h 3528"/>
                    <a:gd name="connsiteX2" fmla="*/ 4605 w 8013"/>
                    <a:gd name="connsiteY2" fmla="*/ 3349 h 3528"/>
                    <a:gd name="connsiteX3" fmla="*/ 2990 w 8013"/>
                    <a:gd name="connsiteY3" fmla="*/ 3529 h 3528"/>
                    <a:gd name="connsiteX4" fmla="*/ 1615 w 8013"/>
                    <a:gd name="connsiteY4" fmla="*/ 3050 h 3528"/>
                    <a:gd name="connsiteX5" fmla="*/ 598 w 8013"/>
                    <a:gd name="connsiteY5" fmla="*/ 1974 h 3528"/>
                    <a:gd name="connsiteX6" fmla="*/ 0 w 8013"/>
                    <a:gd name="connsiteY6" fmla="*/ 359 h 3528"/>
                    <a:gd name="connsiteX7" fmla="*/ 0 w 8013"/>
                    <a:gd name="connsiteY7" fmla="*/ 0 h 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13" h="3528">
                      <a:moveTo>
                        <a:pt x="8014" y="1076"/>
                      </a:moveTo>
                      <a:lnTo>
                        <a:pt x="6340" y="2512"/>
                      </a:lnTo>
                      <a:lnTo>
                        <a:pt x="4605" y="3349"/>
                      </a:lnTo>
                      <a:lnTo>
                        <a:pt x="2990" y="3529"/>
                      </a:lnTo>
                      <a:lnTo>
                        <a:pt x="1615" y="3050"/>
                      </a:lnTo>
                      <a:lnTo>
                        <a:pt x="598" y="1974"/>
                      </a:lnTo>
                      <a:lnTo>
                        <a:pt x="0" y="35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47" name="Vrije vorm: vorm 5446">
                  <a:extLst>
                    <a:ext uri="{FF2B5EF4-FFF2-40B4-BE49-F238E27FC236}">
                      <a16:creationId xmlns:a16="http://schemas.microsoft.com/office/drawing/2014/main" id="{F9C31B53-16EF-4F72-A45C-8A64F05D4AFD}"/>
                    </a:ext>
                  </a:extLst>
                </p:cNvPr>
                <p:cNvSpPr/>
                <p:nvPr/>
              </p:nvSpPr>
              <p:spPr>
                <a:xfrm>
                  <a:off x="6483660" y="1705742"/>
                  <a:ext cx="21111" cy="43898"/>
                </a:xfrm>
                <a:custGeom>
                  <a:avLst/>
                  <a:gdLst>
                    <a:gd name="connsiteX0" fmla="*/ 0 w 21111"/>
                    <a:gd name="connsiteY0" fmla="*/ 43898 h 43898"/>
                    <a:gd name="connsiteX1" fmla="*/ 2213 w 21111"/>
                    <a:gd name="connsiteY1" fmla="*/ 41566 h 43898"/>
                    <a:gd name="connsiteX2" fmla="*/ 4007 w 21111"/>
                    <a:gd name="connsiteY2" fmla="*/ 39712 h 43898"/>
                    <a:gd name="connsiteX3" fmla="*/ 6220 w 21111"/>
                    <a:gd name="connsiteY3" fmla="*/ 37380 h 43898"/>
                    <a:gd name="connsiteX4" fmla="*/ 6519 w 21111"/>
                    <a:gd name="connsiteY4" fmla="*/ 37080 h 43898"/>
                    <a:gd name="connsiteX5" fmla="*/ 4067 w 21111"/>
                    <a:gd name="connsiteY5" fmla="*/ 35825 h 43898"/>
                    <a:gd name="connsiteX6" fmla="*/ 3110 w 21111"/>
                    <a:gd name="connsiteY6" fmla="*/ 34090 h 43898"/>
                    <a:gd name="connsiteX7" fmla="*/ 2572 w 21111"/>
                    <a:gd name="connsiteY7" fmla="*/ 33133 h 43898"/>
                    <a:gd name="connsiteX8" fmla="*/ 2572 w 21111"/>
                    <a:gd name="connsiteY8" fmla="*/ 33073 h 43898"/>
                    <a:gd name="connsiteX9" fmla="*/ 2153 w 21111"/>
                    <a:gd name="connsiteY9" fmla="*/ 32296 h 43898"/>
                    <a:gd name="connsiteX10" fmla="*/ 1256 w 21111"/>
                    <a:gd name="connsiteY10" fmla="*/ 30681 h 43898"/>
                    <a:gd name="connsiteX11" fmla="*/ 1256 w 21111"/>
                    <a:gd name="connsiteY11" fmla="*/ 30621 h 43898"/>
                    <a:gd name="connsiteX12" fmla="*/ 1256 w 21111"/>
                    <a:gd name="connsiteY12" fmla="*/ 30621 h 43898"/>
                    <a:gd name="connsiteX13" fmla="*/ 2811 w 21111"/>
                    <a:gd name="connsiteY13" fmla="*/ 28408 h 43898"/>
                    <a:gd name="connsiteX14" fmla="*/ 4067 w 21111"/>
                    <a:gd name="connsiteY14" fmla="*/ 26614 h 43898"/>
                    <a:gd name="connsiteX15" fmla="*/ 5562 w 21111"/>
                    <a:gd name="connsiteY15" fmla="*/ 24401 h 43898"/>
                    <a:gd name="connsiteX16" fmla="*/ 6698 w 21111"/>
                    <a:gd name="connsiteY16" fmla="*/ 22069 h 43898"/>
                    <a:gd name="connsiteX17" fmla="*/ 8134 w 21111"/>
                    <a:gd name="connsiteY17" fmla="*/ 19138 h 43898"/>
                    <a:gd name="connsiteX18" fmla="*/ 8971 w 21111"/>
                    <a:gd name="connsiteY18" fmla="*/ 17464 h 43898"/>
                    <a:gd name="connsiteX19" fmla="*/ 9988 w 21111"/>
                    <a:gd name="connsiteY19" fmla="*/ 14354 h 43898"/>
                    <a:gd name="connsiteX20" fmla="*/ 10705 w 21111"/>
                    <a:gd name="connsiteY20" fmla="*/ 12141 h 43898"/>
                    <a:gd name="connsiteX21" fmla="*/ 11304 w 21111"/>
                    <a:gd name="connsiteY21" fmla="*/ 10406 h 43898"/>
                    <a:gd name="connsiteX22" fmla="*/ 11662 w 21111"/>
                    <a:gd name="connsiteY22" fmla="*/ 7954 h 43898"/>
                    <a:gd name="connsiteX23" fmla="*/ 11722 w 21111"/>
                    <a:gd name="connsiteY23" fmla="*/ 7536 h 43898"/>
                    <a:gd name="connsiteX24" fmla="*/ 12081 w 21111"/>
                    <a:gd name="connsiteY24" fmla="*/ 5143 h 43898"/>
                    <a:gd name="connsiteX25" fmla="*/ 12260 w 21111"/>
                    <a:gd name="connsiteY25" fmla="*/ 3828 h 43898"/>
                    <a:gd name="connsiteX26" fmla="*/ 14413 w 21111"/>
                    <a:gd name="connsiteY26" fmla="*/ 2512 h 43898"/>
                    <a:gd name="connsiteX27" fmla="*/ 15311 w 21111"/>
                    <a:gd name="connsiteY27" fmla="*/ 1974 h 43898"/>
                    <a:gd name="connsiteX28" fmla="*/ 15490 w 21111"/>
                    <a:gd name="connsiteY28" fmla="*/ 1854 h 43898"/>
                    <a:gd name="connsiteX29" fmla="*/ 15550 w 21111"/>
                    <a:gd name="connsiteY29" fmla="*/ 1854 h 43898"/>
                    <a:gd name="connsiteX30" fmla="*/ 15610 w 21111"/>
                    <a:gd name="connsiteY30" fmla="*/ 1794 h 43898"/>
                    <a:gd name="connsiteX31" fmla="*/ 15849 w 21111"/>
                    <a:gd name="connsiteY31" fmla="*/ 1675 h 43898"/>
                    <a:gd name="connsiteX32" fmla="*/ 16686 w 21111"/>
                    <a:gd name="connsiteY32" fmla="*/ 1136 h 43898"/>
                    <a:gd name="connsiteX33" fmla="*/ 16686 w 21111"/>
                    <a:gd name="connsiteY33" fmla="*/ 1136 h 43898"/>
                    <a:gd name="connsiteX34" fmla="*/ 16686 w 21111"/>
                    <a:gd name="connsiteY34" fmla="*/ 1136 h 43898"/>
                    <a:gd name="connsiteX35" fmla="*/ 16746 w 21111"/>
                    <a:gd name="connsiteY35" fmla="*/ 1136 h 43898"/>
                    <a:gd name="connsiteX36" fmla="*/ 16925 w 21111"/>
                    <a:gd name="connsiteY36" fmla="*/ 1017 h 43898"/>
                    <a:gd name="connsiteX37" fmla="*/ 18181 w 21111"/>
                    <a:gd name="connsiteY37" fmla="*/ 299 h 43898"/>
                    <a:gd name="connsiteX38" fmla="*/ 18361 w 21111"/>
                    <a:gd name="connsiteY38" fmla="*/ 179 h 43898"/>
                    <a:gd name="connsiteX39" fmla="*/ 18660 w 21111"/>
                    <a:gd name="connsiteY39" fmla="*/ 0 h 43898"/>
                    <a:gd name="connsiteX40" fmla="*/ 19138 w 21111"/>
                    <a:gd name="connsiteY40" fmla="*/ 239 h 43898"/>
                    <a:gd name="connsiteX41" fmla="*/ 19198 w 21111"/>
                    <a:gd name="connsiteY41" fmla="*/ 239 h 43898"/>
                    <a:gd name="connsiteX42" fmla="*/ 19377 w 21111"/>
                    <a:gd name="connsiteY42" fmla="*/ 359 h 43898"/>
                    <a:gd name="connsiteX43" fmla="*/ 19916 w 21111"/>
                    <a:gd name="connsiteY43" fmla="*/ 658 h 43898"/>
                    <a:gd name="connsiteX44" fmla="*/ 21112 w 21111"/>
                    <a:gd name="connsiteY44" fmla="*/ 1316 h 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111" h="43898">
                      <a:moveTo>
                        <a:pt x="0" y="43898"/>
                      </a:moveTo>
                      <a:lnTo>
                        <a:pt x="2213" y="41566"/>
                      </a:lnTo>
                      <a:lnTo>
                        <a:pt x="4007" y="39712"/>
                      </a:lnTo>
                      <a:lnTo>
                        <a:pt x="6220" y="37380"/>
                      </a:lnTo>
                      <a:lnTo>
                        <a:pt x="6519" y="37080"/>
                      </a:lnTo>
                      <a:lnTo>
                        <a:pt x="4067" y="35825"/>
                      </a:lnTo>
                      <a:lnTo>
                        <a:pt x="3110" y="34090"/>
                      </a:lnTo>
                      <a:lnTo>
                        <a:pt x="2572" y="33133"/>
                      </a:lnTo>
                      <a:lnTo>
                        <a:pt x="2572" y="33073"/>
                      </a:lnTo>
                      <a:lnTo>
                        <a:pt x="2153" y="32296"/>
                      </a:lnTo>
                      <a:lnTo>
                        <a:pt x="1256" y="30681"/>
                      </a:lnTo>
                      <a:lnTo>
                        <a:pt x="1256" y="30621"/>
                      </a:lnTo>
                      <a:lnTo>
                        <a:pt x="1256" y="30621"/>
                      </a:lnTo>
                      <a:lnTo>
                        <a:pt x="2811" y="28408"/>
                      </a:lnTo>
                      <a:lnTo>
                        <a:pt x="4067" y="26614"/>
                      </a:lnTo>
                      <a:lnTo>
                        <a:pt x="5562" y="24401"/>
                      </a:lnTo>
                      <a:lnTo>
                        <a:pt x="6698" y="22069"/>
                      </a:lnTo>
                      <a:lnTo>
                        <a:pt x="8134" y="19138"/>
                      </a:lnTo>
                      <a:lnTo>
                        <a:pt x="8971" y="17464"/>
                      </a:lnTo>
                      <a:lnTo>
                        <a:pt x="9988" y="14354"/>
                      </a:lnTo>
                      <a:lnTo>
                        <a:pt x="10705" y="12141"/>
                      </a:lnTo>
                      <a:lnTo>
                        <a:pt x="11304" y="10406"/>
                      </a:lnTo>
                      <a:lnTo>
                        <a:pt x="11662" y="7954"/>
                      </a:lnTo>
                      <a:lnTo>
                        <a:pt x="11722" y="7536"/>
                      </a:lnTo>
                      <a:lnTo>
                        <a:pt x="12081" y="5143"/>
                      </a:lnTo>
                      <a:lnTo>
                        <a:pt x="12260" y="3828"/>
                      </a:lnTo>
                      <a:lnTo>
                        <a:pt x="14413" y="2512"/>
                      </a:lnTo>
                      <a:lnTo>
                        <a:pt x="15311" y="1974"/>
                      </a:lnTo>
                      <a:lnTo>
                        <a:pt x="15490" y="1854"/>
                      </a:lnTo>
                      <a:lnTo>
                        <a:pt x="15550" y="1854"/>
                      </a:lnTo>
                      <a:lnTo>
                        <a:pt x="15610" y="1794"/>
                      </a:lnTo>
                      <a:lnTo>
                        <a:pt x="15849" y="1675"/>
                      </a:lnTo>
                      <a:lnTo>
                        <a:pt x="16686" y="1136"/>
                      </a:lnTo>
                      <a:lnTo>
                        <a:pt x="16686" y="1136"/>
                      </a:lnTo>
                      <a:lnTo>
                        <a:pt x="16686" y="1136"/>
                      </a:lnTo>
                      <a:lnTo>
                        <a:pt x="16746" y="1136"/>
                      </a:lnTo>
                      <a:lnTo>
                        <a:pt x="16925" y="1017"/>
                      </a:lnTo>
                      <a:lnTo>
                        <a:pt x="18181" y="299"/>
                      </a:lnTo>
                      <a:lnTo>
                        <a:pt x="18361" y="179"/>
                      </a:lnTo>
                      <a:lnTo>
                        <a:pt x="18660" y="0"/>
                      </a:lnTo>
                      <a:lnTo>
                        <a:pt x="19138" y="239"/>
                      </a:lnTo>
                      <a:lnTo>
                        <a:pt x="19198" y="239"/>
                      </a:lnTo>
                      <a:lnTo>
                        <a:pt x="19377" y="359"/>
                      </a:lnTo>
                      <a:lnTo>
                        <a:pt x="19916" y="658"/>
                      </a:lnTo>
                      <a:lnTo>
                        <a:pt x="21112" y="1316"/>
                      </a:lnTo>
                    </a:path>
                  </a:pathLst>
                </a:custGeom>
                <a:noFill/>
                <a:ln w="6350" cap="rnd">
                  <a:solidFill>
                    <a:schemeClr val="bg1">
                      <a:alpha val="40000"/>
                    </a:schemeClr>
                  </a:solidFill>
                  <a:prstDash val="solid"/>
                  <a:round/>
                </a:ln>
              </p:spPr>
              <p:txBody>
                <a:bodyPr rtlCol="0" anchor="ctr"/>
                <a:lstStyle/>
                <a:p>
                  <a:endParaRPr lang="en-GB"/>
                </a:p>
              </p:txBody>
            </p:sp>
            <p:sp>
              <p:nvSpPr>
                <p:cNvPr id="5448" name="Vrije vorm: vorm 5447">
                  <a:extLst>
                    <a:ext uri="{FF2B5EF4-FFF2-40B4-BE49-F238E27FC236}">
                      <a16:creationId xmlns:a16="http://schemas.microsoft.com/office/drawing/2014/main" id="{AC765B79-4B2E-441C-9DC0-3AEA17B36F20}"/>
                    </a:ext>
                  </a:extLst>
                </p:cNvPr>
                <p:cNvSpPr/>
                <p:nvPr/>
              </p:nvSpPr>
              <p:spPr>
                <a:xfrm>
                  <a:off x="6453996" y="1695874"/>
                  <a:ext cx="70273" cy="70991"/>
                </a:xfrm>
                <a:custGeom>
                  <a:avLst/>
                  <a:gdLst>
                    <a:gd name="connsiteX0" fmla="*/ 65968 w 70273"/>
                    <a:gd name="connsiteY0" fmla="*/ 0 h 70991"/>
                    <a:gd name="connsiteX1" fmla="*/ 66207 w 70273"/>
                    <a:gd name="connsiteY1" fmla="*/ 1017 h 70991"/>
                    <a:gd name="connsiteX2" fmla="*/ 66805 w 70273"/>
                    <a:gd name="connsiteY2" fmla="*/ 3349 h 70991"/>
                    <a:gd name="connsiteX3" fmla="*/ 67522 w 70273"/>
                    <a:gd name="connsiteY3" fmla="*/ 6399 h 70991"/>
                    <a:gd name="connsiteX4" fmla="*/ 67702 w 70273"/>
                    <a:gd name="connsiteY4" fmla="*/ 7057 h 70991"/>
                    <a:gd name="connsiteX5" fmla="*/ 68121 w 70273"/>
                    <a:gd name="connsiteY5" fmla="*/ 8851 h 70991"/>
                    <a:gd name="connsiteX6" fmla="*/ 68838 w 70273"/>
                    <a:gd name="connsiteY6" fmla="*/ 11902 h 70991"/>
                    <a:gd name="connsiteX7" fmla="*/ 68898 w 70273"/>
                    <a:gd name="connsiteY7" fmla="*/ 12201 h 70991"/>
                    <a:gd name="connsiteX8" fmla="*/ 69257 w 70273"/>
                    <a:gd name="connsiteY8" fmla="*/ 13696 h 70991"/>
                    <a:gd name="connsiteX9" fmla="*/ 69496 w 70273"/>
                    <a:gd name="connsiteY9" fmla="*/ 14653 h 70991"/>
                    <a:gd name="connsiteX10" fmla="*/ 69556 w 70273"/>
                    <a:gd name="connsiteY10" fmla="*/ 14892 h 70991"/>
                    <a:gd name="connsiteX11" fmla="*/ 69676 w 70273"/>
                    <a:gd name="connsiteY11" fmla="*/ 15909 h 70991"/>
                    <a:gd name="connsiteX12" fmla="*/ 69795 w 70273"/>
                    <a:gd name="connsiteY12" fmla="*/ 16925 h 70991"/>
                    <a:gd name="connsiteX13" fmla="*/ 69855 w 70273"/>
                    <a:gd name="connsiteY13" fmla="*/ 17404 h 70991"/>
                    <a:gd name="connsiteX14" fmla="*/ 70034 w 70273"/>
                    <a:gd name="connsiteY14" fmla="*/ 19377 h 70991"/>
                    <a:gd name="connsiteX15" fmla="*/ 70034 w 70273"/>
                    <a:gd name="connsiteY15" fmla="*/ 19677 h 70991"/>
                    <a:gd name="connsiteX16" fmla="*/ 70094 w 70273"/>
                    <a:gd name="connsiteY16" fmla="*/ 20275 h 70991"/>
                    <a:gd name="connsiteX17" fmla="*/ 70273 w 70273"/>
                    <a:gd name="connsiteY17" fmla="*/ 22368 h 70991"/>
                    <a:gd name="connsiteX18" fmla="*/ 69855 w 70273"/>
                    <a:gd name="connsiteY18" fmla="*/ 25538 h 70991"/>
                    <a:gd name="connsiteX19" fmla="*/ 69795 w 70273"/>
                    <a:gd name="connsiteY19" fmla="*/ 25837 h 70991"/>
                    <a:gd name="connsiteX20" fmla="*/ 69496 w 70273"/>
                    <a:gd name="connsiteY20" fmla="*/ 28229 h 70991"/>
                    <a:gd name="connsiteX21" fmla="*/ 69257 w 70273"/>
                    <a:gd name="connsiteY21" fmla="*/ 30382 h 70991"/>
                    <a:gd name="connsiteX22" fmla="*/ 69197 w 70273"/>
                    <a:gd name="connsiteY22" fmla="*/ 30980 h 70991"/>
                    <a:gd name="connsiteX23" fmla="*/ 69137 w 70273"/>
                    <a:gd name="connsiteY23" fmla="*/ 31100 h 70991"/>
                    <a:gd name="connsiteX24" fmla="*/ 68958 w 70273"/>
                    <a:gd name="connsiteY24" fmla="*/ 31638 h 70991"/>
                    <a:gd name="connsiteX25" fmla="*/ 68001 w 70273"/>
                    <a:gd name="connsiteY25" fmla="*/ 34748 h 70991"/>
                    <a:gd name="connsiteX26" fmla="*/ 67044 w 70273"/>
                    <a:gd name="connsiteY26" fmla="*/ 37858 h 70991"/>
                    <a:gd name="connsiteX27" fmla="*/ 66326 w 70273"/>
                    <a:gd name="connsiteY27" fmla="*/ 40190 h 70991"/>
                    <a:gd name="connsiteX28" fmla="*/ 64891 w 70273"/>
                    <a:gd name="connsiteY28" fmla="*/ 43121 h 70991"/>
                    <a:gd name="connsiteX29" fmla="*/ 63515 w 70273"/>
                    <a:gd name="connsiteY29" fmla="*/ 45992 h 70991"/>
                    <a:gd name="connsiteX30" fmla="*/ 63336 w 70273"/>
                    <a:gd name="connsiteY30" fmla="*/ 46351 h 70991"/>
                    <a:gd name="connsiteX31" fmla="*/ 61960 w 70273"/>
                    <a:gd name="connsiteY31" fmla="*/ 49162 h 70991"/>
                    <a:gd name="connsiteX32" fmla="*/ 61960 w 70273"/>
                    <a:gd name="connsiteY32" fmla="*/ 49162 h 70991"/>
                    <a:gd name="connsiteX33" fmla="*/ 61901 w 70273"/>
                    <a:gd name="connsiteY33" fmla="*/ 49221 h 70991"/>
                    <a:gd name="connsiteX34" fmla="*/ 61422 w 70273"/>
                    <a:gd name="connsiteY34" fmla="*/ 49939 h 70991"/>
                    <a:gd name="connsiteX35" fmla="*/ 61422 w 70273"/>
                    <a:gd name="connsiteY35" fmla="*/ 49939 h 70991"/>
                    <a:gd name="connsiteX36" fmla="*/ 61362 w 70273"/>
                    <a:gd name="connsiteY36" fmla="*/ 49999 h 70991"/>
                    <a:gd name="connsiteX37" fmla="*/ 61302 w 70273"/>
                    <a:gd name="connsiteY37" fmla="*/ 50059 h 70991"/>
                    <a:gd name="connsiteX38" fmla="*/ 61003 w 70273"/>
                    <a:gd name="connsiteY38" fmla="*/ 50477 h 70991"/>
                    <a:gd name="connsiteX39" fmla="*/ 60884 w 70273"/>
                    <a:gd name="connsiteY39" fmla="*/ 50657 h 70991"/>
                    <a:gd name="connsiteX40" fmla="*/ 59030 w 70273"/>
                    <a:gd name="connsiteY40" fmla="*/ 53348 h 70991"/>
                    <a:gd name="connsiteX41" fmla="*/ 57176 w 70273"/>
                    <a:gd name="connsiteY41" fmla="*/ 56039 h 70991"/>
                    <a:gd name="connsiteX42" fmla="*/ 56279 w 70273"/>
                    <a:gd name="connsiteY42" fmla="*/ 57295 h 70991"/>
                    <a:gd name="connsiteX43" fmla="*/ 54006 w 70273"/>
                    <a:gd name="connsiteY43" fmla="*/ 59628 h 70991"/>
                    <a:gd name="connsiteX44" fmla="*/ 51733 w 70273"/>
                    <a:gd name="connsiteY44" fmla="*/ 61960 h 70991"/>
                    <a:gd name="connsiteX45" fmla="*/ 51614 w 70273"/>
                    <a:gd name="connsiteY45" fmla="*/ 62080 h 70991"/>
                    <a:gd name="connsiteX46" fmla="*/ 49820 w 70273"/>
                    <a:gd name="connsiteY46" fmla="*/ 63934 h 70991"/>
                    <a:gd name="connsiteX47" fmla="*/ 47188 w 70273"/>
                    <a:gd name="connsiteY47" fmla="*/ 65728 h 70991"/>
                    <a:gd name="connsiteX48" fmla="*/ 46949 w 70273"/>
                    <a:gd name="connsiteY48" fmla="*/ 65907 h 70991"/>
                    <a:gd name="connsiteX49" fmla="*/ 46171 w 70273"/>
                    <a:gd name="connsiteY49" fmla="*/ 66446 h 70991"/>
                    <a:gd name="connsiteX50" fmla="*/ 45095 w 70273"/>
                    <a:gd name="connsiteY50" fmla="*/ 67163 h 70991"/>
                    <a:gd name="connsiteX51" fmla="*/ 44317 w 70273"/>
                    <a:gd name="connsiteY51" fmla="*/ 67702 h 70991"/>
                    <a:gd name="connsiteX52" fmla="*/ 43061 w 70273"/>
                    <a:gd name="connsiteY52" fmla="*/ 68599 h 70991"/>
                    <a:gd name="connsiteX53" fmla="*/ 42702 w 70273"/>
                    <a:gd name="connsiteY53" fmla="*/ 68718 h 70991"/>
                    <a:gd name="connsiteX54" fmla="*/ 39772 w 70273"/>
                    <a:gd name="connsiteY54" fmla="*/ 69795 h 70991"/>
                    <a:gd name="connsiteX55" fmla="*/ 39413 w 70273"/>
                    <a:gd name="connsiteY55" fmla="*/ 69915 h 70991"/>
                    <a:gd name="connsiteX56" fmla="*/ 38875 w 70273"/>
                    <a:gd name="connsiteY56" fmla="*/ 70094 h 70991"/>
                    <a:gd name="connsiteX57" fmla="*/ 38755 w 70273"/>
                    <a:gd name="connsiteY57" fmla="*/ 70154 h 70991"/>
                    <a:gd name="connsiteX58" fmla="*/ 37260 w 70273"/>
                    <a:gd name="connsiteY58" fmla="*/ 70692 h 70991"/>
                    <a:gd name="connsiteX59" fmla="*/ 36483 w 70273"/>
                    <a:gd name="connsiteY59" fmla="*/ 70991 h 70991"/>
                    <a:gd name="connsiteX60" fmla="*/ 34748 w 70273"/>
                    <a:gd name="connsiteY60" fmla="*/ 70991 h 70991"/>
                    <a:gd name="connsiteX61" fmla="*/ 34748 w 70273"/>
                    <a:gd name="connsiteY61" fmla="*/ 70991 h 70991"/>
                    <a:gd name="connsiteX62" fmla="*/ 33014 w 70273"/>
                    <a:gd name="connsiteY62" fmla="*/ 70991 h 70991"/>
                    <a:gd name="connsiteX63" fmla="*/ 32774 w 70273"/>
                    <a:gd name="connsiteY63" fmla="*/ 70991 h 70991"/>
                    <a:gd name="connsiteX64" fmla="*/ 31997 w 70273"/>
                    <a:gd name="connsiteY64" fmla="*/ 70991 h 70991"/>
                    <a:gd name="connsiteX65" fmla="*/ 30621 w 70273"/>
                    <a:gd name="connsiteY65" fmla="*/ 70991 h 70991"/>
                    <a:gd name="connsiteX66" fmla="*/ 29784 w 70273"/>
                    <a:gd name="connsiteY66" fmla="*/ 70632 h 70991"/>
                    <a:gd name="connsiteX67" fmla="*/ 29724 w 70273"/>
                    <a:gd name="connsiteY67" fmla="*/ 70573 h 70991"/>
                    <a:gd name="connsiteX68" fmla="*/ 27033 w 70273"/>
                    <a:gd name="connsiteY68" fmla="*/ 69317 h 70991"/>
                    <a:gd name="connsiteX69" fmla="*/ 24641 w 70273"/>
                    <a:gd name="connsiteY69" fmla="*/ 68180 h 70991"/>
                    <a:gd name="connsiteX70" fmla="*/ 21949 w 70273"/>
                    <a:gd name="connsiteY70" fmla="*/ 66924 h 70991"/>
                    <a:gd name="connsiteX71" fmla="*/ 19258 w 70273"/>
                    <a:gd name="connsiteY71" fmla="*/ 65668 h 70991"/>
                    <a:gd name="connsiteX72" fmla="*/ 16567 w 70273"/>
                    <a:gd name="connsiteY72" fmla="*/ 64412 h 70991"/>
                    <a:gd name="connsiteX73" fmla="*/ 16387 w 70273"/>
                    <a:gd name="connsiteY73" fmla="*/ 64353 h 70991"/>
                    <a:gd name="connsiteX74" fmla="*/ 14653 w 70273"/>
                    <a:gd name="connsiteY74" fmla="*/ 63515 h 70991"/>
                    <a:gd name="connsiteX75" fmla="*/ 11961 w 70273"/>
                    <a:gd name="connsiteY75" fmla="*/ 62259 h 70991"/>
                    <a:gd name="connsiteX76" fmla="*/ 10287 w 70273"/>
                    <a:gd name="connsiteY76" fmla="*/ 61482 h 70991"/>
                    <a:gd name="connsiteX77" fmla="*/ 10107 w 70273"/>
                    <a:gd name="connsiteY77" fmla="*/ 61422 h 70991"/>
                    <a:gd name="connsiteX78" fmla="*/ 7954 w 70273"/>
                    <a:gd name="connsiteY78" fmla="*/ 60405 h 70991"/>
                    <a:gd name="connsiteX79" fmla="*/ 7954 w 70273"/>
                    <a:gd name="connsiteY79" fmla="*/ 60405 h 70991"/>
                    <a:gd name="connsiteX80" fmla="*/ 7356 w 70273"/>
                    <a:gd name="connsiteY80" fmla="*/ 60106 h 70991"/>
                    <a:gd name="connsiteX81" fmla="*/ 4665 w 70273"/>
                    <a:gd name="connsiteY81" fmla="*/ 58791 h 70991"/>
                    <a:gd name="connsiteX82" fmla="*/ 3289 w 70273"/>
                    <a:gd name="connsiteY82" fmla="*/ 58133 h 70991"/>
                    <a:gd name="connsiteX83" fmla="*/ 1495 w 70273"/>
                    <a:gd name="connsiteY83" fmla="*/ 55740 h 70991"/>
                    <a:gd name="connsiteX84" fmla="*/ 0 w 70273"/>
                    <a:gd name="connsiteY84" fmla="*/ 53767 h 7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70273" h="70991">
                      <a:moveTo>
                        <a:pt x="65968" y="0"/>
                      </a:moveTo>
                      <a:lnTo>
                        <a:pt x="66207" y="1017"/>
                      </a:lnTo>
                      <a:lnTo>
                        <a:pt x="66805" y="3349"/>
                      </a:lnTo>
                      <a:lnTo>
                        <a:pt x="67522" y="6399"/>
                      </a:lnTo>
                      <a:lnTo>
                        <a:pt x="67702" y="7057"/>
                      </a:lnTo>
                      <a:lnTo>
                        <a:pt x="68121" y="8851"/>
                      </a:lnTo>
                      <a:lnTo>
                        <a:pt x="68838" y="11902"/>
                      </a:lnTo>
                      <a:lnTo>
                        <a:pt x="68898" y="12201"/>
                      </a:lnTo>
                      <a:lnTo>
                        <a:pt x="69257" y="13696"/>
                      </a:lnTo>
                      <a:lnTo>
                        <a:pt x="69496" y="14653"/>
                      </a:lnTo>
                      <a:lnTo>
                        <a:pt x="69556" y="14892"/>
                      </a:lnTo>
                      <a:lnTo>
                        <a:pt x="69676" y="15909"/>
                      </a:lnTo>
                      <a:lnTo>
                        <a:pt x="69795" y="16925"/>
                      </a:lnTo>
                      <a:lnTo>
                        <a:pt x="69855" y="17404"/>
                      </a:lnTo>
                      <a:lnTo>
                        <a:pt x="70034" y="19377"/>
                      </a:lnTo>
                      <a:lnTo>
                        <a:pt x="70034" y="19677"/>
                      </a:lnTo>
                      <a:lnTo>
                        <a:pt x="70094" y="20275"/>
                      </a:lnTo>
                      <a:lnTo>
                        <a:pt x="70273" y="22368"/>
                      </a:lnTo>
                      <a:lnTo>
                        <a:pt x="69855" y="25538"/>
                      </a:lnTo>
                      <a:lnTo>
                        <a:pt x="69795" y="25837"/>
                      </a:lnTo>
                      <a:lnTo>
                        <a:pt x="69496" y="28229"/>
                      </a:lnTo>
                      <a:lnTo>
                        <a:pt x="69257" y="30382"/>
                      </a:lnTo>
                      <a:lnTo>
                        <a:pt x="69197" y="30980"/>
                      </a:lnTo>
                      <a:lnTo>
                        <a:pt x="69137" y="31100"/>
                      </a:lnTo>
                      <a:lnTo>
                        <a:pt x="68958" y="31638"/>
                      </a:lnTo>
                      <a:lnTo>
                        <a:pt x="68001" y="34748"/>
                      </a:lnTo>
                      <a:lnTo>
                        <a:pt x="67044" y="37858"/>
                      </a:lnTo>
                      <a:lnTo>
                        <a:pt x="66326" y="40190"/>
                      </a:lnTo>
                      <a:lnTo>
                        <a:pt x="64891" y="43121"/>
                      </a:lnTo>
                      <a:lnTo>
                        <a:pt x="63515" y="45992"/>
                      </a:lnTo>
                      <a:lnTo>
                        <a:pt x="63336" y="46351"/>
                      </a:lnTo>
                      <a:lnTo>
                        <a:pt x="61960" y="49162"/>
                      </a:lnTo>
                      <a:lnTo>
                        <a:pt x="61960" y="49162"/>
                      </a:lnTo>
                      <a:lnTo>
                        <a:pt x="61901" y="49221"/>
                      </a:lnTo>
                      <a:lnTo>
                        <a:pt x="61422" y="49939"/>
                      </a:lnTo>
                      <a:lnTo>
                        <a:pt x="61422" y="49939"/>
                      </a:lnTo>
                      <a:lnTo>
                        <a:pt x="61362" y="49999"/>
                      </a:lnTo>
                      <a:lnTo>
                        <a:pt x="61302" y="50059"/>
                      </a:lnTo>
                      <a:lnTo>
                        <a:pt x="61003" y="50477"/>
                      </a:lnTo>
                      <a:lnTo>
                        <a:pt x="60884" y="50657"/>
                      </a:lnTo>
                      <a:lnTo>
                        <a:pt x="59030" y="53348"/>
                      </a:lnTo>
                      <a:lnTo>
                        <a:pt x="57176" y="56039"/>
                      </a:lnTo>
                      <a:lnTo>
                        <a:pt x="56279" y="57295"/>
                      </a:lnTo>
                      <a:lnTo>
                        <a:pt x="54006" y="59628"/>
                      </a:lnTo>
                      <a:lnTo>
                        <a:pt x="51733" y="61960"/>
                      </a:lnTo>
                      <a:lnTo>
                        <a:pt x="51614" y="62080"/>
                      </a:lnTo>
                      <a:lnTo>
                        <a:pt x="49820" y="63934"/>
                      </a:lnTo>
                      <a:lnTo>
                        <a:pt x="47188" y="65728"/>
                      </a:lnTo>
                      <a:lnTo>
                        <a:pt x="46949" y="65907"/>
                      </a:lnTo>
                      <a:lnTo>
                        <a:pt x="46171" y="66446"/>
                      </a:lnTo>
                      <a:lnTo>
                        <a:pt x="45095" y="67163"/>
                      </a:lnTo>
                      <a:lnTo>
                        <a:pt x="44317" y="67702"/>
                      </a:lnTo>
                      <a:lnTo>
                        <a:pt x="43061" y="68599"/>
                      </a:lnTo>
                      <a:lnTo>
                        <a:pt x="42702" y="68718"/>
                      </a:lnTo>
                      <a:lnTo>
                        <a:pt x="39772" y="69795"/>
                      </a:lnTo>
                      <a:lnTo>
                        <a:pt x="39413" y="69915"/>
                      </a:lnTo>
                      <a:lnTo>
                        <a:pt x="38875" y="70094"/>
                      </a:lnTo>
                      <a:lnTo>
                        <a:pt x="38755" y="70154"/>
                      </a:lnTo>
                      <a:lnTo>
                        <a:pt x="37260" y="70692"/>
                      </a:lnTo>
                      <a:lnTo>
                        <a:pt x="36483" y="70991"/>
                      </a:lnTo>
                      <a:lnTo>
                        <a:pt x="34748" y="70991"/>
                      </a:lnTo>
                      <a:lnTo>
                        <a:pt x="34748" y="70991"/>
                      </a:lnTo>
                      <a:lnTo>
                        <a:pt x="33014" y="70991"/>
                      </a:lnTo>
                      <a:lnTo>
                        <a:pt x="32774" y="70991"/>
                      </a:lnTo>
                      <a:lnTo>
                        <a:pt x="31997" y="70991"/>
                      </a:lnTo>
                      <a:lnTo>
                        <a:pt x="30621" y="70991"/>
                      </a:lnTo>
                      <a:lnTo>
                        <a:pt x="29784" y="70632"/>
                      </a:lnTo>
                      <a:lnTo>
                        <a:pt x="29724" y="70573"/>
                      </a:lnTo>
                      <a:lnTo>
                        <a:pt x="27033" y="69317"/>
                      </a:lnTo>
                      <a:lnTo>
                        <a:pt x="24641" y="68180"/>
                      </a:lnTo>
                      <a:lnTo>
                        <a:pt x="21949" y="66924"/>
                      </a:lnTo>
                      <a:lnTo>
                        <a:pt x="19258" y="65668"/>
                      </a:lnTo>
                      <a:lnTo>
                        <a:pt x="16567" y="64412"/>
                      </a:lnTo>
                      <a:lnTo>
                        <a:pt x="16387" y="64353"/>
                      </a:lnTo>
                      <a:lnTo>
                        <a:pt x="14653" y="63515"/>
                      </a:lnTo>
                      <a:lnTo>
                        <a:pt x="11961" y="62259"/>
                      </a:lnTo>
                      <a:lnTo>
                        <a:pt x="10287" y="61482"/>
                      </a:lnTo>
                      <a:lnTo>
                        <a:pt x="10107" y="61422"/>
                      </a:lnTo>
                      <a:lnTo>
                        <a:pt x="7954" y="60405"/>
                      </a:lnTo>
                      <a:lnTo>
                        <a:pt x="7954" y="60405"/>
                      </a:lnTo>
                      <a:lnTo>
                        <a:pt x="7356" y="60106"/>
                      </a:lnTo>
                      <a:lnTo>
                        <a:pt x="4665" y="58791"/>
                      </a:lnTo>
                      <a:lnTo>
                        <a:pt x="3289" y="58133"/>
                      </a:lnTo>
                      <a:lnTo>
                        <a:pt x="1495" y="55740"/>
                      </a:lnTo>
                      <a:lnTo>
                        <a:pt x="0" y="53767"/>
                      </a:lnTo>
                    </a:path>
                  </a:pathLst>
                </a:custGeom>
                <a:noFill/>
                <a:ln w="6350" cap="rnd">
                  <a:solidFill>
                    <a:schemeClr val="bg1">
                      <a:alpha val="40000"/>
                    </a:schemeClr>
                  </a:solidFill>
                  <a:prstDash val="solid"/>
                  <a:round/>
                </a:ln>
              </p:spPr>
              <p:txBody>
                <a:bodyPr rtlCol="0" anchor="ctr"/>
                <a:lstStyle/>
                <a:p>
                  <a:endParaRPr lang="en-GB"/>
                </a:p>
              </p:txBody>
            </p:sp>
            <p:sp>
              <p:nvSpPr>
                <p:cNvPr id="5449" name="Vrije vorm: vorm 5448">
                  <a:extLst>
                    <a:ext uri="{FF2B5EF4-FFF2-40B4-BE49-F238E27FC236}">
                      <a16:creationId xmlns:a16="http://schemas.microsoft.com/office/drawing/2014/main" id="{FCC85575-BDD6-42CD-87E5-63115BC5D3AE}"/>
                    </a:ext>
                  </a:extLst>
                </p:cNvPr>
                <p:cNvSpPr/>
                <p:nvPr/>
              </p:nvSpPr>
              <p:spPr>
                <a:xfrm>
                  <a:off x="6487787" y="1705562"/>
                  <a:ext cx="14712" cy="35944"/>
                </a:xfrm>
                <a:custGeom>
                  <a:avLst/>
                  <a:gdLst>
                    <a:gd name="connsiteX0" fmla="*/ 0 w 14712"/>
                    <a:gd name="connsiteY0" fmla="*/ 35944 h 35944"/>
                    <a:gd name="connsiteX1" fmla="*/ 957 w 14712"/>
                    <a:gd name="connsiteY1" fmla="*/ 34569 h 35944"/>
                    <a:gd name="connsiteX2" fmla="*/ 1854 w 14712"/>
                    <a:gd name="connsiteY2" fmla="*/ 33253 h 35944"/>
                    <a:gd name="connsiteX3" fmla="*/ 3708 w 14712"/>
                    <a:gd name="connsiteY3" fmla="*/ 30561 h 35944"/>
                    <a:gd name="connsiteX4" fmla="*/ 5562 w 14712"/>
                    <a:gd name="connsiteY4" fmla="*/ 27870 h 35944"/>
                    <a:gd name="connsiteX5" fmla="*/ 5801 w 14712"/>
                    <a:gd name="connsiteY5" fmla="*/ 27571 h 35944"/>
                    <a:gd name="connsiteX6" fmla="*/ 7236 w 14712"/>
                    <a:gd name="connsiteY6" fmla="*/ 24641 h 35944"/>
                    <a:gd name="connsiteX7" fmla="*/ 8672 w 14712"/>
                    <a:gd name="connsiteY7" fmla="*/ 21710 h 35944"/>
                    <a:gd name="connsiteX8" fmla="*/ 10107 w 14712"/>
                    <a:gd name="connsiteY8" fmla="*/ 18779 h 35944"/>
                    <a:gd name="connsiteX9" fmla="*/ 10347 w 14712"/>
                    <a:gd name="connsiteY9" fmla="*/ 18301 h 35944"/>
                    <a:gd name="connsiteX10" fmla="*/ 11363 w 14712"/>
                    <a:gd name="connsiteY10" fmla="*/ 15191 h 35944"/>
                    <a:gd name="connsiteX11" fmla="*/ 12380 w 14712"/>
                    <a:gd name="connsiteY11" fmla="*/ 12081 h 35944"/>
                    <a:gd name="connsiteX12" fmla="*/ 13397 w 14712"/>
                    <a:gd name="connsiteY12" fmla="*/ 8971 h 35944"/>
                    <a:gd name="connsiteX13" fmla="*/ 13457 w 14712"/>
                    <a:gd name="connsiteY13" fmla="*/ 8851 h 35944"/>
                    <a:gd name="connsiteX14" fmla="*/ 13696 w 14712"/>
                    <a:gd name="connsiteY14" fmla="*/ 6997 h 35944"/>
                    <a:gd name="connsiteX15" fmla="*/ 13995 w 14712"/>
                    <a:gd name="connsiteY15" fmla="*/ 4964 h 35944"/>
                    <a:gd name="connsiteX16" fmla="*/ 14174 w 14712"/>
                    <a:gd name="connsiteY16" fmla="*/ 3529 h 35944"/>
                    <a:gd name="connsiteX17" fmla="*/ 14234 w 14712"/>
                    <a:gd name="connsiteY17" fmla="*/ 3050 h 35944"/>
                    <a:gd name="connsiteX18" fmla="*/ 14354 w 14712"/>
                    <a:gd name="connsiteY18" fmla="*/ 2332 h 35944"/>
                    <a:gd name="connsiteX19" fmla="*/ 14354 w 14712"/>
                    <a:gd name="connsiteY19" fmla="*/ 2213 h 35944"/>
                    <a:gd name="connsiteX20" fmla="*/ 14413 w 14712"/>
                    <a:gd name="connsiteY20" fmla="*/ 1914 h 35944"/>
                    <a:gd name="connsiteX21" fmla="*/ 14712 w 14712"/>
                    <a:gd name="connsiteY21" fmla="*/ 0 h 3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12" h="35944">
                      <a:moveTo>
                        <a:pt x="0" y="35944"/>
                      </a:moveTo>
                      <a:lnTo>
                        <a:pt x="957" y="34569"/>
                      </a:lnTo>
                      <a:lnTo>
                        <a:pt x="1854" y="33253"/>
                      </a:lnTo>
                      <a:lnTo>
                        <a:pt x="3708" y="30561"/>
                      </a:lnTo>
                      <a:lnTo>
                        <a:pt x="5562" y="27870"/>
                      </a:lnTo>
                      <a:lnTo>
                        <a:pt x="5801" y="27571"/>
                      </a:lnTo>
                      <a:lnTo>
                        <a:pt x="7236" y="24641"/>
                      </a:lnTo>
                      <a:lnTo>
                        <a:pt x="8672" y="21710"/>
                      </a:lnTo>
                      <a:lnTo>
                        <a:pt x="10107" y="18779"/>
                      </a:lnTo>
                      <a:lnTo>
                        <a:pt x="10347" y="18301"/>
                      </a:lnTo>
                      <a:lnTo>
                        <a:pt x="11363" y="15191"/>
                      </a:lnTo>
                      <a:lnTo>
                        <a:pt x="12380" y="12081"/>
                      </a:lnTo>
                      <a:lnTo>
                        <a:pt x="13397" y="8971"/>
                      </a:lnTo>
                      <a:lnTo>
                        <a:pt x="13457" y="8851"/>
                      </a:lnTo>
                      <a:lnTo>
                        <a:pt x="13696" y="6997"/>
                      </a:lnTo>
                      <a:lnTo>
                        <a:pt x="13995" y="4964"/>
                      </a:lnTo>
                      <a:lnTo>
                        <a:pt x="14174" y="3529"/>
                      </a:lnTo>
                      <a:lnTo>
                        <a:pt x="14234" y="3050"/>
                      </a:lnTo>
                      <a:lnTo>
                        <a:pt x="14354" y="2332"/>
                      </a:lnTo>
                      <a:lnTo>
                        <a:pt x="14354" y="2213"/>
                      </a:lnTo>
                      <a:lnTo>
                        <a:pt x="14413" y="1914"/>
                      </a:lnTo>
                      <a:lnTo>
                        <a:pt x="14712" y="0"/>
                      </a:lnTo>
                    </a:path>
                  </a:pathLst>
                </a:custGeom>
                <a:noFill/>
                <a:ln w="6350" cap="rnd">
                  <a:solidFill>
                    <a:schemeClr val="bg1">
                      <a:alpha val="40000"/>
                    </a:schemeClr>
                  </a:solidFill>
                  <a:prstDash val="solid"/>
                  <a:round/>
                </a:ln>
              </p:spPr>
              <p:txBody>
                <a:bodyPr rtlCol="0" anchor="ctr"/>
                <a:lstStyle/>
                <a:p>
                  <a:endParaRPr lang="en-GB"/>
                </a:p>
              </p:txBody>
            </p:sp>
            <p:sp>
              <p:nvSpPr>
                <p:cNvPr id="5450" name="Vrije vorm: vorm 5449">
                  <a:extLst>
                    <a:ext uri="{FF2B5EF4-FFF2-40B4-BE49-F238E27FC236}">
                      <a16:creationId xmlns:a16="http://schemas.microsoft.com/office/drawing/2014/main" id="{3BC1E3B7-5A87-41BA-B058-494D41D5DAB4}"/>
                    </a:ext>
                  </a:extLst>
                </p:cNvPr>
                <p:cNvSpPr/>
                <p:nvPr/>
              </p:nvSpPr>
              <p:spPr>
                <a:xfrm>
                  <a:off x="6432107" y="1540315"/>
                  <a:ext cx="69794" cy="157711"/>
                </a:xfrm>
                <a:custGeom>
                  <a:avLst/>
                  <a:gdLst>
                    <a:gd name="connsiteX0" fmla="*/ 69795 w 69794"/>
                    <a:gd name="connsiteY0" fmla="*/ 157712 h 157711"/>
                    <a:gd name="connsiteX1" fmla="*/ 69795 w 69794"/>
                    <a:gd name="connsiteY1" fmla="*/ 157712 h 157711"/>
                    <a:gd name="connsiteX2" fmla="*/ 69137 w 69794"/>
                    <a:gd name="connsiteY2" fmla="*/ 154602 h 157711"/>
                    <a:gd name="connsiteX3" fmla="*/ 68838 w 69794"/>
                    <a:gd name="connsiteY3" fmla="*/ 153286 h 157711"/>
                    <a:gd name="connsiteX4" fmla="*/ 68180 w 69794"/>
                    <a:gd name="connsiteY4" fmla="*/ 150236 h 157711"/>
                    <a:gd name="connsiteX5" fmla="*/ 67522 w 69794"/>
                    <a:gd name="connsiteY5" fmla="*/ 147186 h 157711"/>
                    <a:gd name="connsiteX6" fmla="*/ 67163 w 69794"/>
                    <a:gd name="connsiteY6" fmla="*/ 145571 h 157711"/>
                    <a:gd name="connsiteX7" fmla="*/ 67104 w 69794"/>
                    <a:gd name="connsiteY7" fmla="*/ 145212 h 157711"/>
                    <a:gd name="connsiteX8" fmla="*/ 66446 w 69794"/>
                    <a:gd name="connsiteY8" fmla="*/ 142162 h 157711"/>
                    <a:gd name="connsiteX9" fmla="*/ 65788 w 69794"/>
                    <a:gd name="connsiteY9" fmla="*/ 139112 h 157711"/>
                    <a:gd name="connsiteX10" fmla="*/ 65130 w 69794"/>
                    <a:gd name="connsiteY10" fmla="*/ 136061 h 157711"/>
                    <a:gd name="connsiteX11" fmla="*/ 64652 w 69794"/>
                    <a:gd name="connsiteY11" fmla="*/ 133789 h 157711"/>
                    <a:gd name="connsiteX12" fmla="*/ 63515 w 69794"/>
                    <a:gd name="connsiteY12" fmla="*/ 130918 h 157711"/>
                    <a:gd name="connsiteX13" fmla="*/ 62379 w 69794"/>
                    <a:gd name="connsiteY13" fmla="*/ 128047 h 157711"/>
                    <a:gd name="connsiteX14" fmla="*/ 61243 w 69794"/>
                    <a:gd name="connsiteY14" fmla="*/ 125177 h 157711"/>
                    <a:gd name="connsiteX15" fmla="*/ 60106 w 69794"/>
                    <a:gd name="connsiteY15" fmla="*/ 122306 h 157711"/>
                    <a:gd name="connsiteX16" fmla="*/ 58970 w 69794"/>
                    <a:gd name="connsiteY16" fmla="*/ 119435 h 157711"/>
                    <a:gd name="connsiteX17" fmla="*/ 57833 w 69794"/>
                    <a:gd name="connsiteY17" fmla="*/ 116564 h 157711"/>
                    <a:gd name="connsiteX18" fmla="*/ 56697 w 69794"/>
                    <a:gd name="connsiteY18" fmla="*/ 113694 h 157711"/>
                    <a:gd name="connsiteX19" fmla="*/ 55561 w 69794"/>
                    <a:gd name="connsiteY19" fmla="*/ 110823 h 157711"/>
                    <a:gd name="connsiteX20" fmla="*/ 54424 w 69794"/>
                    <a:gd name="connsiteY20" fmla="*/ 107952 h 157711"/>
                    <a:gd name="connsiteX21" fmla="*/ 53288 w 69794"/>
                    <a:gd name="connsiteY21" fmla="*/ 105081 h 157711"/>
                    <a:gd name="connsiteX22" fmla="*/ 52630 w 69794"/>
                    <a:gd name="connsiteY22" fmla="*/ 103407 h 157711"/>
                    <a:gd name="connsiteX23" fmla="*/ 52032 w 69794"/>
                    <a:gd name="connsiteY23" fmla="*/ 100356 h 157711"/>
                    <a:gd name="connsiteX24" fmla="*/ 51434 w 69794"/>
                    <a:gd name="connsiteY24" fmla="*/ 97306 h 157711"/>
                    <a:gd name="connsiteX25" fmla="*/ 50836 w 69794"/>
                    <a:gd name="connsiteY25" fmla="*/ 94256 h 157711"/>
                    <a:gd name="connsiteX26" fmla="*/ 50238 w 69794"/>
                    <a:gd name="connsiteY26" fmla="*/ 91206 h 157711"/>
                    <a:gd name="connsiteX27" fmla="*/ 49640 w 69794"/>
                    <a:gd name="connsiteY27" fmla="*/ 88156 h 157711"/>
                    <a:gd name="connsiteX28" fmla="*/ 49042 w 69794"/>
                    <a:gd name="connsiteY28" fmla="*/ 85106 h 157711"/>
                    <a:gd name="connsiteX29" fmla="*/ 48444 w 69794"/>
                    <a:gd name="connsiteY29" fmla="*/ 82056 h 157711"/>
                    <a:gd name="connsiteX30" fmla="*/ 47846 w 69794"/>
                    <a:gd name="connsiteY30" fmla="*/ 79005 h 157711"/>
                    <a:gd name="connsiteX31" fmla="*/ 47427 w 69794"/>
                    <a:gd name="connsiteY31" fmla="*/ 76912 h 157711"/>
                    <a:gd name="connsiteX32" fmla="*/ 47247 w 69794"/>
                    <a:gd name="connsiteY32" fmla="*/ 75955 h 157711"/>
                    <a:gd name="connsiteX33" fmla="*/ 46650 w 69794"/>
                    <a:gd name="connsiteY33" fmla="*/ 72905 h 157711"/>
                    <a:gd name="connsiteX34" fmla="*/ 46051 w 69794"/>
                    <a:gd name="connsiteY34" fmla="*/ 69855 h 157711"/>
                    <a:gd name="connsiteX35" fmla="*/ 45752 w 69794"/>
                    <a:gd name="connsiteY35" fmla="*/ 68419 h 157711"/>
                    <a:gd name="connsiteX36" fmla="*/ 45154 w 69794"/>
                    <a:gd name="connsiteY36" fmla="*/ 65668 h 157711"/>
                    <a:gd name="connsiteX37" fmla="*/ 44855 w 69794"/>
                    <a:gd name="connsiteY37" fmla="*/ 64233 h 157711"/>
                    <a:gd name="connsiteX38" fmla="*/ 44377 w 69794"/>
                    <a:gd name="connsiteY38" fmla="*/ 61781 h 157711"/>
                    <a:gd name="connsiteX39" fmla="*/ 44317 w 69794"/>
                    <a:gd name="connsiteY39" fmla="*/ 61362 h 157711"/>
                    <a:gd name="connsiteX40" fmla="*/ 44018 w 69794"/>
                    <a:gd name="connsiteY40" fmla="*/ 59807 h 157711"/>
                    <a:gd name="connsiteX41" fmla="*/ 43420 w 69794"/>
                    <a:gd name="connsiteY41" fmla="*/ 56757 h 157711"/>
                    <a:gd name="connsiteX42" fmla="*/ 42882 w 69794"/>
                    <a:gd name="connsiteY42" fmla="*/ 54245 h 157711"/>
                    <a:gd name="connsiteX43" fmla="*/ 42583 w 69794"/>
                    <a:gd name="connsiteY43" fmla="*/ 52870 h 157711"/>
                    <a:gd name="connsiteX44" fmla="*/ 42523 w 69794"/>
                    <a:gd name="connsiteY44" fmla="*/ 52630 h 157711"/>
                    <a:gd name="connsiteX45" fmla="*/ 42403 w 69794"/>
                    <a:gd name="connsiteY45" fmla="*/ 51972 h 157711"/>
                    <a:gd name="connsiteX46" fmla="*/ 42044 w 69794"/>
                    <a:gd name="connsiteY46" fmla="*/ 50238 h 157711"/>
                    <a:gd name="connsiteX47" fmla="*/ 41446 w 69794"/>
                    <a:gd name="connsiteY47" fmla="*/ 47188 h 157711"/>
                    <a:gd name="connsiteX48" fmla="*/ 41386 w 69794"/>
                    <a:gd name="connsiteY48" fmla="*/ 47008 h 157711"/>
                    <a:gd name="connsiteX49" fmla="*/ 40789 w 69794"/>
                    <a:gd name="connsiteY49" fmla="*/ 43958 h 157711"/>
                    <a:gd name="connsiteX50" fmla="*/ 40190 w 69794"/>
                    <a:gd name="connsiteY50" fmla="*/ 40908 h 157711"/>
                    <a:gd name="connsiteX51" fmla="*/ 39592 w 69794"/>
                    <a:gd name="connsiteY51" fmla="*/ 37858 h 157711"/>
                    <a:gd name="connsiteX52" fmla="*/ 39473 w 69794"/>
                    <a:gd name="connsiteY52" fmla="*/ 37380 h 157711"/>
                    <a:gd name="connsiteX53" fmla="*/ 39054 w 69794"/>
                    <a:gd name="connsiteY53" fmla="*/ 35226 h 157711"/>
                    <a:gd name="connsiteX54" fmla="*/ 38396 w 69794"/>
                    <a:gd name="connsiteY54" fmla="*/ 32176 h 157711"/>
                    <a:gd name="connsiteX55" fmla="*/ 38157 w 69794"/>
                    <a:gd name="connsiteY55" fmla="*/ 30980 h 157711"/>
                    <a:gd name="connsiteX56" fmla="*/ 39054 w 69794"/>
                    <a:gd name="connsiteY56" fmla="*/ 27870 h 157711"/>
                    <a:gd name="connsiteX57" fmla="*/ 39951 w 69794"/>
                    <a:gd name="connsiteY57" fmla="*/ 24760 h 157711"/>
                    <a:gd name="connsiteX58" fmla="*/ 40250 w 69794"/>
                    <a:gd name="connsiteY58" fmla="*/ 23803 h 157711"/>
                    <a:gd name="connsiteX59" fmla="*/ 40310 w 69794"/>
                    <a:gd name="connsiteY59" fmla="*/ 23624 h 157711"/>
                    <a:gd name="connsiteX60" fmla="*/ 40848 w 69794"/>
                    <a:gd name="connsiteY60" fmla="*/ 21830 h 157711"/>
                    <a:gd name="connsiteX61" fmla="*/ 40190 w 69794"/>
                    <a:gd name="connsiteY61" fmla="*/ 18779 h 157711"/>
                    <a:gd name="connsiteX62" fmla="*/ 39891 w 69794"/>
                    <a:gd name="connsiteY62" fmla="*/ 17464 h 157711"/>
                    <a:gd name="connsiteX63" fmla="*/ 39473 w 69794"/>
                    <a:gd name="connsiteY63" fmla="*/ 15490 h 157711"/>
                    <a:gd name="connsiteX64" fmla="*/ 38815 w 69794"/>
                    <a:gd name="connsiteY64" fmla="*/ 12440 h 157711"/>
                    <a:gd name="connsiteX65" fmla="*/ 38157 w 69794"/>
                    <a:gd name="connsiteY65" fmla="*/ 9390 h 157711"/>
                    <a:gd name="connsiteX66" fmla="*/ 37499 w 69794"/>
                    <a:gd name="connsiteY66" fmla="*/ 6340 h 157711"/>
                    <a:gd name="connsiteX67" fmla="*/ 37140 w 69794"/>
                    <a:gd name="connsiteY67" fmla="*/ 4725 h 157711"/>
                    <a:gd name="connsiteX68" fmla="*/ 35824 w 69794"/>
                    <a:gd name="connsiteY68" fmla="*/ 1974 h 157711"/>
                    <a:gd name="connsiteX69" fmla="*/ 35645 w 69794"/>
                    <a:gd name="connsiteY69" fmla="*/ 1555 h 157711"/>
                    <a:gd name="connsiteX70" fmla="*/ 33073 w 69794"/>
                    <a:gd name="connsiteY70" fmla="*/ 60 h 157711"/>
                    <a:gd name="connsiteX71" fmla="*/ 33013 w 69794"/>
                    <a:gd name="connsiteY71" fmla="*/ 0 h 157711"/>
                    <a:gd name="connsiteX72" fmla="*/ 29963 w 69794"/>
                    <a:gd name="connsiteY72" fmla="*/ 179 h 157711"/>
                    <a:gd name="connsiteX73" fmla="*/ 29425 w 69794"/>
                    <a:gd name="connsiteY73" fmla="*/ 239 h 157711"/>
                    <a:gd name="connsiteX74" fmla="*/ 26554 w 69794"/>
                    <a:gd name="connsiteY74" fmla="*/ 1495 h 157711"/>
                    <a:gd name="connsiteX75" fmla="*/ 25179 w 69794"/>
                    <a:gd name="connsiteY75" fmla="*/ 2093 h 157711"/>
                    <a:gd name="connsiteX76" fmla="*/ 22547 w 69794"/>
                    <a:gd name="connsiteY76" fmla="*/ 3947 h 157711"/>
                    <a:gd name="connsiteX77" fmla="*/ 20454 w 69794"/>
                    <a:gd name="connsiteY77" fmla="*/ 5442 h 157711"/>
                    <a:gd name="connsiteX78" fmla="*/ 18121 w 69794"/>
                    <a:gd name="connsiteY78" fmla="*/ 7715 h 157711"/>
                    <a:gd name="connsiteX79" fmla="*/ 15789 w 69794"/>
                    <a:gd name="connsiteY79" fmla="*/ 9988 h 157711"/>
                    <a:gd name="connsiteX80" fmla="*/ 15669 w 69794"/>
                    <a:gd name="connsiteY80" fmla="*/ 10107 h 157711"/>
                    <a:gd name="connsiteX81" fmla="*/ 13636 w 69794"/>
                    <a:gd name="connsiteY81" fmla="*/ 12619 h 157711"/>
                    <a:gd name="connsiteX82" fmla="*/ 11603 w 69794"/>
                    <a:gd name="connsiteY82" fmla="*/ 15131 h 157711"/>
                    <a:gd name="connsiteX83" fmla="*/ 11184 w 69794"/>
                    <a:gd name="connsiteY83" fmla="*/ 15670 h 157711"/>
                    <a:gd name="connsiteX84" fmla="*/ 9390 w 69794"/>
                    <a:gd name="connsiteY84" fmla="*/ 18421 h 157711"/>
                    <a:gd name="connsiteX85" fmla="*/ 7595 w 69794"/>
                    <a:gd name="connsiteY85" fmla="*/ 21172 h 157711"/>
                    <a:gd name="connsiteX86" fmla="*/ 7117 w 69794"/>
                    <a:gd name="connsiteY86" fmla="*/ 21889 h 157711"/>
                    <a:gd name="connsiteX87" fmla="*/ 5622 w 69794"/>
                    <a:gd name="connsiteY87" fmla="*/ 24760 h 157711"/>
                    <a:gd name="connsiteX88" fmla="*/ 4127 w 69794"/>
                    <a:gd name="connsiteY88" fmla="*/ 27631 h 157711"/>
                    <a:gd name="connsiteX89" fmla="*/ 3827 w 69794"/>
                    <a:gd name="connsiteY89" fmla="*/ 28229 h 157711"/>
                    <a:gd name="connsiteX90" fmla="*/ 2632 w 69794"/>
                    <a:gd name="connsiteY90" fmla="*/ 31279 h 157711"/>
                    <a:gd name="connsiteX91" fmla="*/ 1435 w 69794"/>
                    <a:gd name="connsiteY91" fmla="*/ 34329 h 157711"/>
                    <a:gd name="connsiteX92" fmla="*/ 1375 w 69794"/>
                    <a:gd name="connsiteY92" fmla="*/ 34449 h 157711"/>
                    <a:gd name="connsiteX93" fmla="*/ 658 w 69794"/>
                    <a:gd name="connsiteY93" fmla="*/ 37619 h 157711"/>
                    <a:gd name="connsiteX94" fmla="*/ 60 w 69794"/>
                    <a:gd name="connsiteY94" fmla="*/ 40131 h 157711"/>
                    <a:gd name="connsiteX95" fmla="*/ 0 w 69794"/>
                    <a:gd name="connsiteY95" fmla="*/ 43300 h 157711"/>
                    <a:gd name="connsiteX96" fmla="*/ 0 w 69794"/>
                    <a:gd name="connsiteY96" fmla="*/ 44855 h 157711"/>
                    <a:gd name="connsiteX97" fmla="*/ 957 w 69794"/>
                    <a:gd name="connsiteY97" fmla="*/ 47786 h 157711"/>
                    <a:gd name="connsiteX98" fmla="*/ 1136 w 69794"/>
                    <a:gd name="connsiteY98" fmla="*/ 48324 h 157711"/>
                    <a:gd name="connsiteX99" fmla="*/ 3409 w 69794"/>
                    <a:gd name="connsiteY99" fmla="*/ 50238 h 157711"/>
                    <a:gd name="connsiteX100" fmla="*/ 3469 w 69794"/>
                    <a:gd name="connsiteY100" fmla="*/ 50298 h 157711"/>
                    <a:gd name="connsiteX101" fmla="*/ 5921 w 69794"/>
                    <a:gd name="connsiteY101" fmla="*/ 51972 h 157711"/>
                    <a:gd name="connsiteX102" fmla="*/ 8373 w 69794"/>
                    <a:gd name="connsiteY102" fmla="*/ 53647 h 157711"/>
                    <a:gd name="connsiteX103" fmla="*/ 10825 w 69794"/>
                    <a:gd name="connsiteY103" fmla="*/ 55322 h 157711"/>
                    <a:gd name="connsiteX104" fmla="*/ 12141 w 69794"/>
                    <a:gd name="connsiteY104" fmla="*/ 56219 h 15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9794" h="157711">
                      <a:moveTo>
                        <a:pt x="69795" y="157712"/>
                      </a:moveTo>
                      <a:lnTo>
                        <a:pt x="69795" y="157712"/>
                      </a:lnTo>
                      <a:lnTo>
                        <a:pt x="69137" y="154602"/>
                      </a:lnTo>
                      <a:lnTo>
                        <a:pt x="68838" y="153286"/>
                      </a:lnTo>
                      <a:lnTo>
                        <a:pt x="68180" y="150236"/>
                      </a:lnTo>
                      <a:lnTo>
                        <a:pt x="67522" y="147186"/>
                      </a:lnTo>
                      <a:lnTo>
                        <a:pt x="67163" y="145571"/>
                      </a:lnTo>
                      <a:lnTo>
                        <a:pt x="67104" y="145212"/>
                      </a:lnTo>
                      <a:lnTo>
                        <a:pt x="66446" y="142162"/>
                      </a:lnTo>
                      <a:lnTo>
                        <a:pt x="65788" y="139112"/>
                      </a:lnTo>
                      <a:lnTo>
                        <a:pt x="65130" y="136061"/>
                      </a:lnTo>
                      <a:lnTo>
                        <a:pt x="64652" y="133789"/>
                      </a:lnTo>
                      <a:lnTo>
                        <a:pt x="63515" y="130918"/>
                      </a:lnTo>
                      <a:lnTo>
                        <a:pt x="62379" y="128047"/>
                      </a:lnTo>
                      <a:lnTo>
                        <a:pt x="61243" y="125177"/>
                      </a:lnTo>
                      <a:lnTo>
                        <a:pt x="60106" y="122306"/>
                      </a:lnTo>
                      <a:lnTo>
                        <a:pt x="58970" y="119435"/>
                      </a:lnTo>
                      <a:lnTo>
                        <a:pt x="57833" y="116564"/>
                      </a:lnTo>
                      <a:lnTo>
                        <a:pt x="56697" y="113694"/>
                      </a:lnTo>
                      <a:lnTo>
                        <a:pt x="55561" y="110823"/>
                      </a:lnTo>
                      <a:lnTo>
                        <a:pt x="54424" y="107952"/>
                      </a:lnTo>
                      <a:lnTo>
                        <a:pt x="53288" y="105081"/>
                      </a:lnTo>
                      <a:lnTo>
                        <a:pt x="52630" y="103407"/>
                      </a:lnTo>
                      <a:lnTo>
                        <a:pt x="52032" y="100356"/>
                      </a:lnTo>
                      <a:lnTo>
                        <a:pt x="51434" y="97306"/>
                      </a:lnTo>
                      <a:lnTo>
                        <a:pt x="50836" y="94256"/>
                      </a:lnTo>
                      <a:lnTo>
                        <a:pt x="50238" y="91206"/>
                      </a:lnTo>
                      <a:lnTo>
                        <a:pt x="49640" y="88156"/>
                      </a:lnTo>
                      <a:lnTo>
                        <a:pt x="49042" y="85106"/>
                      </a:lnTo>
                      <a:lnTo>
                        <a:pt x="48444" y="82056"/>
                      </a:lnTo>
                      <a:lnTo>
                        <a:pt x="47846" y="79005"/>
                      </a:lnTo>
                      <a:lnTo>
                        <a:pt x="47427" y="76912"/>
                      </a:lnTo>
                      <a:lnTo>
                        <a:pt x="47247" y="75955"/>
                      </a:lnTo>
                      <a:lnTo>
                        <a:pt x="46650" y="72905"/>
                      </a:lnTo>
                      <a:lnTo>
                        <a:pt x="46051" y="69855"/>
                      </a:lnTo>
                      <a:lnTo>
                        <a:pt x="45752" y="68419"/>
                      </a:lnTo>
                      <a:lnTo>
                        <a:pt x="45154" y="65668"/>
                      </a:lnTo>
                      <a:lnTo>
                        <a:pt x="44855" y="64233"/>
                      </a:lnTo>
                      <a:lnTo>
                        <a:pt x="44377" y="61781"/>
                      </a:lnTo>
                      <a:lnTo>
                        <a:pt x="44317" y="61362"/>
                      </a:lnTo>
                      <a:lnTo>
                        <a:pt x="44018" y="59807"/>
                      </a:lnTo>
                      <a:lnTo>
                        <a:pt x="43420" y="56757"/>
                      </a:lnTo>
                      <a:lnTo>
                        <a:pt x="42882" y="54245"/>
                      </a:lnTo>
                      <a:lnTo>
                        <a:pt x="42583" y="52870"/>
                      </a:lnTo>
                      <a:lnTo>
                        <a:pt x="42523" y="52630"/>
                      </a:lnTo>
                      <a:lnTo>
                        <a:pt x="42403" y="51972"/>
                      </a:lnTo>
                      <a:lnTo>
                        <a:pt x="42044" y="50238"/>
                      </a:lnTo>
                      <a:lnTo>
                        <a:pt x="41446" y="47188"/>
                      </a:lnTo>
                      <a:lnTo>
                        <a:pt x="41386" y="47008"/>
                      </a:lnTo>
                      <a:lnTo>
                        <a:pt x="40789" y="43958"/>
                      </a:lnTo>
                      <a:lnTo>
                        <a:pt x="40190" y="40908"/>
                      </a:lnTo>
                      <a:lnTo>
                        <a:pt x="39592" y="37858"/>
                      </a:lnTo>
                      <a:lnTo>
                        <a:pt x="39473" y="37380"/>
                      </a:lnTo>
                      <a:lnTo>
                        <a:pt x="39054" y="35226"/>
                      </a:lnTo>
                      <a:lnTo>
                        <a:pt x="38396" y="32176"/>
                      </a:lnTo>
                      <a:lnTo>
                        <a:pt x="38157" y="30980"/>
                      </a:lnTo>
                      <a:lnTo>
                        <a:pt x="39054" y="27870"/>
                      </a:lnTo>
                      <a:lnTo>
                        <a:pt x="39951" y="24760"/>
                      </a:lnTo>
                      <a:lnTo>
                        <a:pt x="40250" y="23803"/>
                      </a:lnTo>
                      <a:lnTo>
                        <a:pt x="40310" y="23624"/>
                      </a:lnTo>
                      <a:lnTo>
                        <a:pt x="40848" y="21830"/>
                      </a:lnTo>
                      <a:lnTo>
                        <a:pt x="40190" y="18779"/>
                      </a:lnTo>
                      <a:lnTo>
                        <a:pt x="39891" y="17464"/>
                      </a:lnTo>
                      <a:lnTo>
                        <a:pt x="39473" y="15490"/>
                      </a:lnTo>
                      <a:lnTo>
                        <a:pt x="38815" y="12440"/>
                      </a:lnTo>
                      <a:lnTo>
                        <a:pt x="38157" y="9390"/>
                      </a:lnTo>
                      <a:lnTo>
                        <a:pt x="37499" y="6340"/>
                      </a:lnTo>
                      <a:lnTo>
                        <a:pt x="37140" y="4725"/>
                      </a:lnTo>
                      <a:lnTo>
                        <a:pt x="35824" y="1974"/>
                      </a:lnTo>
                      <a:lnTo>
                        <a:pt x="35645" y="1555"/>
                      </a:lnTo>
                      <a:lnTo>
                        <a:pt x="33073" y="60"/>
                      </a:lnTo>
                      <a:lnTo>
                        <a:pt x="33013" y="0"/>
                      </a:lnTo>
                      <a:lnTo>
                        <a:pt x="29963" y="179"/>
                      </a:lnTo>
                      <a:lnTo>
                        <a:pt x="29425" y="239"/>
                      </a:lnTo>
                      <a:lnTo>
                        <a:pt x="26554" y="1495"/>
                      </a:lnTo>
                      <a:lnTo>
                        <a:pt x="25179" y="2093"/>
                      </a:lnTo>
                      <a:lnTo>
                        <a:pt x="22547" y="3947"/>
                      </a:lnTo>
                      <a:lnTo>
                        <a:pt x="20454" y="5442"/>
                      </a:lnTo>
                      <a:lnTo>
                        <a:pt x="18121" y="7715"/>
                      </a:lnTo>
                      <a:lnTo>
                        <a:pt x="15789" y="9988"/>
                      </a:lnTo>
                      <a:lnTo>
                        <a:pt x="15669" y="10107"/>
                      </a:lnTo>
                      <a:lnTo>
                        <a:pt x="13636" y="12619"/>
                      </a:lnTo>
                      <a:lnTo>
                        <a:pt x="11603" y="15131"/>
                      </a:lnTo>
                      <a:lnTo>
                        <a:pt x="11184" y="15670"/>
                      </a:lnTo>
                      <a:lnTo>
                        <a:pt x="9390" y="18421"/>
                      </a:lnTo>
                      <a:lnTo>
                        <a:pt x="7595" y="21172"/>
                      </a:lnTo>
                      <a:lnTo>
                        <a:pt x="7117" y="21889"/>
                      </a:lnTo>
                      <a:lnTo>
                        <a:pt x="5622" y="24760"/>
                      </a:lnTo>
                      <a:lnTo>
                        <a:pt x="4127" y="27631"/>
                      </a:lnTo>
                      <a:lnTo>
                        <a:pt x="3827" y="28229"/>
                      </a:lnTo>
                      <a:lnTo>
                        <a:pt x="2632" y="31279"/>
                      </a:lnTo>
                      <a:lnTo>
                        <a:pt x="1435" y="34329"/>
                      </a:lnTo>
                      <a:lnTo>
                        <a:pt x="1375" y="34449"/>
                      </a:lnTo>
                      <a:lnTo>
                        <a:pt x="658" y="37619"/>
                      </a:lnTo>
                      <a:lnTo>
                        <a:pt x="60" y="40131"/>
                      </a:lnTo>
                      <a:lnTo>
                        <a:pt x="0" y="43300"/>
                      </a:lnTo>
                      <a:lnTo>
                        <a:pt x="0" y="44855"/>
                      </a:lnTo>
                      <a:lnTo>
                        <a:pt x="957" y="47786"/>
                      </a:lnTo>
                      <a:lnTo>
                        <a:pt x="1136" y="48324"/>
                      </a:lnTo>
                      <a:lnTo>
                        <a:pt x="3409" y="50238"/>
                      </a:lnTo>
                      <a:lnTo>
                        <a:pt x="3469" y="50298"/>
                      </a:lnTo>
                      <a:lnTo>
                        <a:pt x="5921" y="51972"/>
                      </a:lnTo>
                      <a:lnTo>
                        <a:pt x="8373" y="53647"/>
                      </a:lnTo>
                      <a:lnTo>
                        <a:pt x="10825" y="55322"/>
                      </a:lnTo>
                      <a:lnTo>
                        <a:pt x="12141" y="56219"/>
                      </a:lnTo>
                    </a:path>
                  </a:pathLst>
                </a:custGeom>
                <a:noFill/>
                <a:ln w="6350" cap="rnd">
                  <a:solidFill>
                    <a:schemeClr val="bg1">
                      <a:alpha val="40000"/>
                    </a:schemeClr>
                  </a:solidFill>
                  <a:prstDash val="solid"/>
                  <a:round/>
                </a:ln>
              </p:spPr>
              <p:txBody>
                <a:bodyPr rtlCol="0" anchor="ctr"/>
                <a:lstStyle/>
                <a:p>
                  <a:endParaRPr lang="en-GB"/>
                </a:p>
              </p:txBody>
            </p:sp>
            <p:sp>
              <p:nvSpPr>
                <p:cNvPr id="5451" name="Vrije vorm: vorm 5450">
                  <a:extLst>
                    <a:ext uri="{FF2B5EF4-FFF2-40B4-BE49-F238E27FC236}">
                      <a16:creationId xmlns:a16="http://schemas.microsoft.com/office/drawing/2014/main" id="{CDD876A8-C0FA-4C5F-A1BC-065E79DC9FD3}"/>
                    </a:ext>
                  </a:extLst>
                </p:cNvPr>
                <p:cNvSpPr/>
                <p:nvPr/>
              </p:nvSpPr>
              <p:spPr>
                <a:xfrm>
                  <a:off x="6467692" y="1541930"/>
                  <a:ext cx="20693" cy="23265"/>
                </a:xfrm>
                <a:custGeom>
                  <a:avLst/>
                  <a:gdLst>
                    <a:gd name="connsiteX0" fmla="*/ 0 w 20693"/>
                    <a:gd name="connsiteY0" fmla="*/ 0 h 23265"/>
                    <a:gd name="connsiteX1" fmla="*/ 2333 w 20693"/>
                    <a:gd name="connsiteY1" fmla="*/ 1794 h 23265"/>
                    <a:gd name="connsiteX2" fmla="*/ 4665 w 20693"/>
                    <a:gd name="connsiteY2" fmla="*/ 3588 h 23265"/>
                    <a:gd name="connsiteX3" fmla="*/ 6998 w 20693"/>
                    <a:gd name="connsiteY3" fmla="*/ 5383 h 23265"/>
                    <a:gd name="connsiteX4" fmla="*/ 9330 w 20693"/>
                    <a:gd name="connsiteY4" fmla="*/ 7177 h 23265"/>
                    <a:gd name="connsiteX5" fmla="*/ 11662 w 20693"/>
                    <a:gd name="connsiteY5" fmla="*/ 8971 h 23265"/>
                    <a:gd name="connsiteX6" fmla="*/ 12919 w 20693"/>
                    <a:gd name="connsiteY6" fmla="*/ 9928 h 23265"/>
                    <a:gd name="connsiteX7" fmla="*/ 15251 w 20693"/>
                    <a:gd name="connsiteY7" fmla="*/ 11722 h 23265"/>
                    <a:gd name="connsiteX8" fmla="*/ 16328 w 20693"/>
                    <a:gd name="connsiteY8" fmla="*/ 12560 h 23265"/>
                    <a:gd name="connsiteX9" fmla="*/ 16328 w 20693"/>
                    <a:gd name="connsiteY9" fmla="*/ 12560 h 23265"/>
                    <a:gd name="connsiteX10" fmla="*/ 18660 w 20693"/>
                    <a:gd name="connsiteY10" fmla="*/ 14354 h 23265"/>
                    <a:gd name="connsiteX11" fmla="*/ 18720 w 20693"/>
                    <a:gd name="connsiteY11" fmla="*/ 14354 h 23265"/>
                    <a:gd name="connsiteX12" fmla="*/ 20096 w 20693"/>
                    <a:gd name="connsiteY12" fmla="*/ 17105 h 23265"/>
                    <a:gd name="connsiteX13" fmla="*/ 20335 w 20693"/>
                    <a:gd name="connsiteY13" fmla="*/ 17583 h 23265"/>
                    <a:gd name="connsiteX14" fmla="*/ 20574 w 20693"/>
                    <a:gd name="connsiteY14" fmla="*/ 20753 h 23265"/>
                    <a:gd name="connsiteX15" fmla="*/ 20693 w 20693"/>
                    <a:gd name="connsiteY15" fmla="*/ 22248 h 23265"/>
                    <a:gd name="connsiteX16" fmla="*/ 20514 w 20693"/>
                    <a:gd name="connsiteY16" fmla="*/ 23265 h 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93" h="23265">
                      <a:moveTo>
                        <a:pt x="0" y="0"/>
                      </a:moveTo>
                      <a:lnTo>
                        <a:pt x="2333" y="1794"/>
                      </a:lnTo>
                      <a:lnTo>
                        <a:pt x="4665" y="3588"/>
                      </a:lnTo>
                      <a:lnTo>
                        <a:pt x="6998" y="5383"/>
                      </a:lnTo>
                      <a:lnTo>
                        <a:pt x="9330" y="7177"/>
                      </a:lnTo>
                      <a:lnTo>
                        <a:pt x="11662" y="8971"/>
                      </a:lnTo>
                      <a:lnTo>
                        <a:pt x="12919" y="9928"/>
                      </a:lnTo>
                      <a:lnTo>
                        <a:pt x="15251" y="11722"/>
                      </a:lnTo>
                      <a:lnTo>
                        <a:pt x="16328" y="12560"/>
                      </a:lnTo>
                      <a:lnTo>
                        <a:pt x="16328" y="12560"/>
                      </a:lnTo>
                      <a:lnTo>
                        <a:pt x="18660" y="14354"/>
                      </a:lnTo>
                      <a:lnTo>
                        <a:pt x="18720" y="14354"/>
                      </a:lnTo>
                      <a:lnTo>
                        <a:pt x="20096" y="17105"/>
                      </a:lnTo>
                      <a:lnTo>
                        <a:pt x="20335" y="17583"/>
                      </a:lnTo>
                      <a:lnTo>
                        <a:pt x="20574" y="20753"/>
                      </a:lnTo>
                      <a:lnTo>
                        <a:pt x="20693" y="22248"/>
                      </a:lnTo>
                      <a:lnTo>
                        <a:pt x="20514" y="23265"/>
                      </a:lnTo>
                    </a:path>
                  </a:pathLst>
                </a:custGeom>
                <a:noFill/>
                <a:ln w="6350" cap="rnd">
                  <a:solidFill>
                    <a:schemeClr val="bg1">
                      <a:alpha val="40000"/>
                    </a:schemeClr>
                  </a:solidFill>
                  <a:prstDash val="solid"/>
                  <a:round/>
                </a:ln>
              </p:spPr>
              <p:txBody>
                <a:bodyPr rtlCol="0" anchor="ctr"/>
                <a:lstStyle/>
                <a:p>
                  <a:endParaRPr lang="en-GB"/>
                </a:p>
              </p:txBody>
            </p:sp>
            <p:sp>
              <p:nvSpPr>
                <p:cNvPr id="5452" name="Vrije vorm: vorm 5451">
                  <a:extLst>
                    <a:ext uri="{FF2B5EF4-FFF2-40B4-BE49-F238E27FC236}">
                      <a16:creationId xmlns:a16="http://schemas.microsoft.com/office/drawing/2014/main" id="{BDEDF3A9-5EFF-405F-B291-0ABDC40B5B49}"/>
                    </a:ext>
                  </a:extLst>
                </p:cNvPr>
                <p:cNvSpPr/>
                <p:nvPr/>
              </p:nvSpPr>
              <p:spPr>
                <a:xfrm>
                  <a:off x="6462070" y="1748564"/>
                  <a:ext cx="19257" cy="7475"/>
                </a:xfrm>
                <a:custGeom>
                  <a:avLst/>
                  <a:gdLst>
                    <a:gd name="connsiteX0" fmla="*/ 0 w 19257"/>
                    <a:gd name="connsiteY0" fmla="*/ 7476 h 7475"/>
                    <a:gd name="connsiteX1" fmla="*/ 3050 w 19257"/>
                    <a:gd name="connsiteY1" fmla="*/ 7416 h 7475"/>
                    <a:gd name="connsiteX2" fmla="*/ 5681 w 19257"/>
                    <a:gd name="connsiteY2" fmla="*/ 7356 h 7475"/>
                    <a:gd name="connsiteX3" fmla="*/ 5681 w 19257"/>
                    <a:gd name="connsiteY3" fmla="*/ 7356 h 7475"/>
                    <a:gd name="connsiteX4" fmla="*/ 5801 w 19257"/>
                    <a:gd name="connsiteY4" fmla="*/ 7356 h 7475"/>
                    <a:gd name="connsiteX5" fmla="*/ 8732 w 19257"/>
                    <a:gd name="connsiteY5" fmla="*/ 6220 h 7475"/>
                    <a:gd name="connsiteX6" fmla="*/ 9389 w 19257"/>
                    <a:gd name="connsiteY6" fmla="*/ 5981 h 7475"/>
                    <a:gd name="connsiteX7" fmla="*/ 12320 w 19257"/>
                    <a:gd name="connsiteY7" fmla="*/ 4844 h 7475"/>
                    <a:gd name="connsiteX8" fmla="*/ 12380 w 19257"/>
                    <a:gd name="connsiteY8" fmla="*/ 4844 h 7475"/>
                    <a:gd name="connsiteX9" fmla="*/ 13157 w 19257"/>
                    <a:gd name="connsiteY9" fmla="*/ 4306 h 7475"/>
                    <a:gd name="connsiteX10" fmla="*/ 13696 w 19257"/>
                    <a:gd name="connsiteY10" fmla="*/ 3947 h 7475"/>
                    <a:gd name="connsiteX11" fmla="*/ 13756 w 19257"/>
                    <a:gd name="connsiteY11" fmla="*/ 3887 h 7475"/>
                    <a:gd name="connsiteX12" fmla="*/ 14712 w 19257"/>
                    <a:gd name="connsiteY12" fmla="*/ 3230 h 7475"/>
                    <a:gd name="connsiteX13" fmla="*/ 17344 w 19257"/>
                    <a:gd name="connsiteY13" fmla="*/ 1376 h 7475"/>
                    <a:gd name="connsiteX14" fmla="*/ 19258 w 19257"/>
                    <a:gd name="connsiteY14" fmla="*/ 0 h 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257" h="7475">
                      <a:moveTo>
                        <a:pt x="0" y="7476"/>
                      </a:moveTo>
                      <a:lnTo>
                        <a:pt x="3050" y="7416"/>
                      </a:lnTo>
                      <a:lnTo>
                        <a:pt x="5681" y="7356"/>
                      </a:lnTo>
                      <a:lnTo>
                        <a:pt x="5681" y="7356"/>
                      </a:lnTo>
                      <a:lnTo>
                        <a:pt x="5801" y="7356"/>
                      </a:lnTo>
                      <a:lnTo>
                        <a:pt x="8732" y="6220"/>
                      </a:lnTo>
                      <a:lnTo>
                        <a:pt x="9389" y="5981"/>
                      </a:lnTo>
                      <a:lnTo>
                        <a:pt x="12320" y="4844"/>
                      </a:lnTo>
                      <a:lnTo>
                        <a:pt x="12380" y="4844"/>
                      </a:lnTo>
                      <a:lnTo>
                        <a:pt x="13157" y="4306"/>
                      </a:lnTo>
                      <a:lnTo>
                        <a:pt x="13696" y="3947"/>
                      </a:lnTo>
                      <a:lnTo>
                        <a:pt x="13756" y="3887"/>
                      </a:lnTo>
                      <a:lnTo>
                        <a:pt x="14712" y="3230"/>
                      </a:lnTo>
                      <a:lnTo>
                        <a:pt x="17344" y="1376"/>
                      </a:lnTo>
                      <a:lnTo>
                        <a:pt x="19258" y="0"/>
                      </a:lnTo>
                    </a:path>
                  </a:pathLst>
                </a:custGeom>
                <a:noFill/>
                <a:ln w="6350" cap="rnd">
                  <a:solidFill>
                    <a:schemeClr val="bg1">
                      <a:alpha val="40000"/>
                    </a:schemeClr>
                  </a:solidFill>
                  <a:prstDash val="solid"/>
                  <a:round/>
                </a:ln>
              </p:spPr>
              <p:txBody>
                <a:bodyPr rtlCol="0" anchor="ctr"/>
                <a:lstStyle/>
                <a:p>
                  <a:endParaRPr lang="en-GB"/>
                </a:p>
              </p:txBody>
            </p:sp>
            <p:sp>
              <p:nvSpPr>
                <p:cNvPr id="5453" name="Vrije vorm: vorm 5452">
                  <a:extLst>
                    <a:ext uri="{FF2B5EF4-FFF2-40B4-BE49-F238E27FC236}">
                      <a16:creationId xmlns:a16="http://schemas.microsoft.com/office/drawing/2014/main" id="{2BFCC238-A7CC-40F7-BA06-8F6E5C3366BA}"/>
                    </a:ext>
                  </a:extLst>
                </p:cNvPr>
                <p:cNvSpPr/>
                <p:nvPr/>
              </p:nvSpPr>
              <p:spPr>
                <a:xfrm>
                  <a:off x="6480072" y="1741566"/>
                  <a:ext cx="3588" cy="8073"/>
                </a:xfrm>
                <a:custGeom>
                  <a:avLst/>
                  <a:gdLst>
                    <a:gd name="connsiteX0" fmla="*/ 0 w 3588"/>
                    <a:gd name="connsiteY0" fmla="*/ 0 h 8073"/>
                    <a:gd name="connsiteX1" fmla="*/ 120 w 3588"/>
                    <a:gd name="connsiteY1" fmla="*/ 837 h 8073"/>
                    <a:gd name="connsiteX2" fmla="*/ 658 w 3588"/>
                    <a:gd name="connsiteY2" fmla="*/ 3947 h 8073"/>
                    <a:gd name="connsiteX3" fmla="*/ 1136 w 3588"/>
                    <a:gd name="connsiteY3" fmla="*/ 6878 h 8073"/>
                    <a:gd name="connsiteX4" fmla="*/ 3589 w 3588"/>
                    <a:gd name="connsiteY4" fmla="*/ 8074 h 8073"/>
                    <a:gd name="connsiteX5" fmla="*/ 3050 w 3588"/>
                    <a:gd name="connsiteY5" fmla="*/ 4964 h 8073"/>
                    <a:gd name="connsiteX6" fmla="*/ 2811 w 3588"/>
                    <a:gd name="connsiteY6" fmla="*/ 3469 h 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8" h="8073">
                      <a:moveTo>
                        <a:pt x="0" y="0"/>
                      </a:moveTo>
                      <a:lnTo>
                        <a:pt x="120" y="837"/>
                      </a:lnTo>
                      <a:lnTo>
                        <a:pt x="658" y="3947"/>
                      </a:lnTo>
                      <a:lnTo>
                        <a:pt x="1136" y="6878"/>
                      </a:lnTo>
                      <a:lnTo>
                        <a:pt x="3589" y="8074"/>
                      </a:lnTo>
                      <a:lnTo>
                        <a:pt x="3050" y="4964"/>
                      </a:lnTo>
                      <a:lnTo>
                        <a:pt x="2811" y="3469"/>
                      </a:lnTo>
                    </a:path>
                  </a:pathLst>
                </a:custGeom>
                <a:noFill/>
                <a:ln w="6350" cap="rnd">
                  <a:solidFill>
                    <a:schemeClr val="bg1">
                      <a:alpha val="40000"/>
                    </a:schemeClr>
                  </a:solidFill>
                  <a:prstDash val="solid"/>
                  <a:round/>
                </a:ln>
              </p:spPr>
              <p:txBody>
                <a:bodyPr rtlCol="0" anchor="ctr"/>
                <a:lstStyle/>
                <a:p>
                  <a:endParaRPr lang="en-GB"/>
                </a:p>
              </p:txBody>
            </p:sp>
            <p:sp>
              <p:nvSpPr>
                <p:cNvPr id="5454" name="Vrije vorm: vorm 5453">
                  <a:extLst>
                    <a:ext uri="{FF2B5EF4-FFF2-40B4-BE49-F238E27FC236}">
                      <a16:creationId xmlns:a16="http://schemas.microsoft.com/office/drawing/2014/main" id="{2157F547-2BE5-40A5-9E65-7166251B4BCA}"/>
                    </a:ext>
                  </a:extLst>
                </p:cNvPr>
                <p:cNvSpPr/>
                <p:nvPr/>
              </p:nvSpPr>
              <p:spPr>
                <a:xfrm>
                  <a:off x="6453817" y="1727871"/>
                  <a:ext cx="8612" cy="13576"/>
                </a:xfrm>
                <a:custGeom>
                  <a:avLst/>
                  <a:gdLst>
                    <a:gd name="connsiteX0" fmla="*/ 0 w 8612"/>
                    <a:gd name="connsiteY0" fmla="*/ 13158 h 13576"/>
                    <a:gd name="connsiteX1" fmla="*/ 1196 w 8612"/>
                    <a:gd name="connsiteY1" fmla="*/ 13576 h 13576"/>
                    <a:gd name="connsiteX2" fmla="*/ 2572 w 8612"/>
                    <a:gd name="connsiteY2" fmla="*/ 13397 h 13576"/>
                    <a:gd name="connsiteX3" fmla="*/ 4067 w 8612"/>
                    <a:gd name="connsiteY3" fmla="*/ 12679 h 13576"/>
                    <a:gd name="connsiteX4" fmla="*/ 5502 w 8612"/>
                    <a:gd name="connsiteY4" fmla="*/ 11423 h 13576"/>
                    <a:gd name="connsiteX5" fmla="*/ 6220 w 8612"/>
                    <a:gd name="connsiteY5" fmla="*/ 10526 h 13576"/>
                    <a:gd name="connsiteX6" fmla="*/ 6519 w 8612"/>
                    <a:gd name="connsiteY6" fmla="*/ 10107 h 13576"/>
                    <a:gd name="connsiteX7" fmla="*/ 7416 w 8612"/>
                    <a:gd name="connsiteY7" fmla="*/ 8612 h 13576"/>
                    <a:gd name="connsiteX8" fmla="*/ 7655 w 8612"/>
                    <a:gd name="connsiteY8" fmla="*/ 8014 h 13576"/>
                    <a:gd name="connsiteX9" fmla="*/ 8074 w 8612"/>
                    <a:gd name="connsiteY9" fmla="*/ 7057 h 13576"/>
                    <a:gd name="connsiteX10" fmla="*/ 8194 w 8612"/>
                    <a:gd name="connsiteY10" fmla="*/ 6639 h 13576"/>
                    <a:gd name="connsiteX11" fmla="*/ 8493 w 8612"/>
                    <a:gd name="connsiteY11" fmla="*/ 5442 h 13576"/>
                    <a:gd name="connsiteX12" fmla="*/ 8612 w 8612"/>
                    <a:gd name="connsiteY12" fmla="*/ 3888 h 13576"/>
                    <a:gd name="connsiteX13" fmla="*/ 8493 w 8612"/>
                    <a:gd name="connsiteY13" fmla="*/ 2512 h 13576"/>
                    <a:gd name="connsiteX14" fmla="*/ 8433 w 8612"/>
                    <a:gd name="connsiteY14" fmla="*/ 2273 h 13576"/>
                    <a:gd name="connsiteX15" fmla="*/ 8433 w 8612"/>
                    <a:gd name="connsiteY15" fmla="*/ 2213 h 13576"/>
                    <a:gd name="connsiteX16" fmla="*/ 8134 w 8612"/>
                    <a:gd name="connsiteY16" fmla="*/ 1376 h 13576"/>
                    <a:gd name="connsiteX17" fmla="*/ 7476 w 8612"/>
                    <a:gd name="connsiteY17" fmla="*/ 538 h 13576"/>
                    <a:gd name="connsiteX18" fmla="*/ 6639 w 8612"/>
                    <a:gd name="connsiteY18" fmla="*/ 0 h 13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612" h="13576">
                      <a:moveTo>
                        <a:pt x="0" y="13158"/>
                      </a:moveTo>
                      <a:lnTo>
                        <a:pt x="1196" y="13576"/>
                      </a:lnTo>
                      <a:lnTo>
                        <a:pt x="2572" y="13397"/>
                      </a:lnTo>
                      <a:lnTo>
                        <a:pt x="4067" y="12679"/>
                      </a:lnTo>
                      <a:lnTo>
                        <a:pt x="5502" y="11423"/>
                      </a:lnTo>
                      <a:lnTo>
                        <a:pt x="6220" y="10526"/>
                      </a:lnTo>
                      <a:lnTo>
                        <a:pt x="6519" y="10107"/>
                      </a:lnTo>
                      <a:lnTo>
                        <a:pt x="7416" y="8612"/>
                      </a:lnTo>
                      <a:lnTo>
                        <a:pt x="7655" y="8014"/>
                      </a:lnTo>
                      <a:lnTo>
                        <a:pt x="8074" y="7057"/>
                      </a:lnTo>
                      <a:lnTo>
                        <a:pt x="8194" y="6639"/>
                      </a:lnTo>
                      <a:lnTo>
                        <a:pt x="8493" y="5442"/>
                      </a:lnTo>
                      <a:lnTo>
                        <a:pt x="8612" y="3888"/>
                      </a:lnTo>
                      <a:lnTo>
                        <a:pt x="8493" y="2512"/>
                      </a:lnTo>
                      <a:lnTo>
                        <a:pt x="8433" y="2273"/>
                      </a:lnTo>
                      <a:lnTo>
                        <a:pt x="8433" y="2213"/>
                      </a:lnTo>
                      <a:lnTo>
                        <a:pt x="8134" y="1376"/>
                      </a:lnTo>
                      <a:lnTo>
                        <a:pt x="7476" y="538"/>
                      </a:lnTo>
                      <a:lnTo>
                        <a:pt x="6639" y="0"/>
                      </a:lnTo>
                    </a:path>
                  </a:pathLst>
                </a:custGeom>
                <a:noFill/>
                <a:ln w="6350" cap="rnd">
                  <a:solidFill>
                    <a:schemeClr val="bg1">
                      <a:alpha val="40000"/>
                    </a:schemeClr>
                  </a:solidFill>
                  <a:prstDash val="solid"/>
                  <a:round/>
                </a:ln>
              </p:spPr>
              <p:txBody>
                <a:bodyPr rtlCol="0" anchor="ctr"/>
                <a:lstStyle/>
                <a:p>
                  <a:endParaRPr lang="en-GB"/>
                </a:p>
              </p:txBody>
            </p:sp>
            <p:sp>
              <p:nvSpPr>
                <p:cNvPr id="5455" name="Vrije vorm: vorm 5454">
                  <a:extLst>
                    <a:ext uri="{FF2B5EF4-FFF2-40B4-BE49-F238E27FC236}">
                      <a16:creationId xmlns:a16="http://schemas.microsoft.com/office/drawing/2014/main" id="{7C505B0B-C939-4A35-AA7A-51178E6931B6}"/>
                    </a:ext>
                  </a:extLst>
                </p:cNvPr>
                <p:cNvSpPr/>
                <p:nvPr/>
              </p:nvSpPr>
              <p:spPr>
                <a:xfrm>
                  <a:off x="6452322" y="1669738"/>
                  <a:ext cx="9210" cy="65847"/>
                </a:xfrm>
                <a:custGeom>
                  <a:avLst/>
                  <a:gdLst>
                    <a:gd name="connsiteX0" fmla="*/ 0 w 9210"/>
                    <a:gd name="connsiteY0" fmla="*/ 65848 h 65847"/>
                    <a:gd name="connsiteX1" fmla="*/ 60 w 9210"/>
                    <a:gd name="connsiteY1" fmla="*/ 65609 h 65847"/>
                    <a:gd name="connsiteX2" fmla="*/ 658 w 9210"/>
                    <a:gd name="connsiteY2" fmla="*/ 62439 h 65847"/>
                    <a:gd name="connsiteX3" fmla="*/ 837 w 9210"/>
                    <a:gd name="connsiteY3" fmla="*/ 61422 h 65847"/>
                    <a:gd name="connsiteX4" fmla="*/ 1375 w 9210"/>
                    <a:gd name="connsiteY4" fmla="*/ 58432 h 65847"/>
                    <a:gd name="connsiteX5" fmla="*/ 1495 w 9210"/>
                    <a:gd name="connsiteY5" fmla="*/ 57654 h 65847"/>
                    <a:gd name="connsiteX6" fmla="*/ 1794 w 9210"/>
                    <a:gd name="connsiteY6" fmla="*/ 56817 h 65847"/>
                    <a:gd name="connsiteX7" fmla="*/ 2811 w 9210"/>
                    <a:gd name="connsiteY7" fmla="*/ 53826 h 65847"/>
                    <a:gd name="connsiteX8" fmla="*/ 3887 w 9210"/>
                    <a:gd name="connsiteY8" fmla="*/ 50776 h 65847"/>
                    <a:gd name="connsiteX9" fmla="*/ 4486 w 9210"/>
                    <a:gd name="connsiteY9" fmla="*/ 49042 h 65847"/>
                    <a:gd name="connsiteX10" fmla="*/ 5981 w 9210"/>
                    <a:gd name="connsiteY10" fmla="*/ 46111 h 65847"/>
                    <a:gd name="connsiteX11" fmla="*/ 7356 w 9210"/>
                    <a:gd name="connsiteY11" fmla="*/ 43420 h 65847"/>
                    <a:gd name="connsiteX12" fmla="*/ 8791 w 9210"/>
                    <a:gd name="connsiteY12" fmla="*/ 40609 h 65847"/>
                    <a:gd name="connsiteX13" fmla="*/ 9210 w 9210"/>
                    <a:gd name="connsiteY13" fmla="*/ 37679 h 65847"/>
                    <a:gd name="connsiteX14" fmla="*/ 8672 w 9210"/>
                    <a:gd name="connsiteY14" fmla="*/ 34569 h 65847"/>
                    <a:gd name="connsiteX15" fmla="*/ 8433 w 9210"/>
                    <a:gd name="connsiteY15" fmla="*/ 33193 h 65847"/>
                    <a:gd name="connsiteX16" fmla="*/ 7894 w 9210"/>
                    <a:gd name="connsiteY16" fmla="*/ 30083 h 65847"/>
                    <a:gd name="connsiteX17" fmla="*/ 7356 w 9210"/>
                    <a:gd name="connsiteY17" fmla="*/ 26973 h 65847"/>
                    <a:gd name="connsiteX18" fmla="*/ 7117 w 9210"/>
                    <a:gd name="connsiteY18" fmla="*/ 25717 h 65847"/>
                    <a:gd name="connsiteX19" fmla="*/ 6579 w 9210"/>
                    <a:gd name="connsiteY19" fmla="*/ 22607 h 65847"/>
                    <a:gd name="connsiteX20" fmla="*/ 6459 w 9210"/>
                    <a:gd name="connsiteY20" fmla="*/ 21889 h 65847"/>
                    <a:gd name="connsiteX21" fmla="*/ 5921 w 9210"/>
                    <a:gd name="connsiteY21" fmla="*/ 18779 h 65847"/>
                    <a:gd name="connsiteX22" fmla="*/ 5382 w 9210"/>
                    <a:gd name="connsiteY22" fmla="*/ 15670 h 65847"/>
                    <a:gd name="connsiteX23" fmla="*/ 5203 w 9210"/>
                    <a:gd name="connsiteY23" fmla="*/ 14533 h 65847"/>
                    <a:gd name="connsiteX24" fmla="*/ 4665 w 9210"/>
                    <a:gd name="connsiteY24" fmla="*/ 11603 h 65847"/>
                    <a:gd name="connsiteX25" fmla="*/ 4127 w 9210"/>
                    <a:gd name="connsiteY25" fmla="*/ 8493 h 65847"/>
                    <a:gd name="connsiteX26" fmla="*/ 3588 w 9210"/>
                    <a:gd name="connsiteY26" fmla="*/ 5383 h 65847"/>
                    <a:gd name="connsiteX27" fmla="*/ 3409 w 9210"/>
                    <a:gd name="connsiteY27" fmla="*/ 4426 h 65847"/>
                    <a:gd name="connsiteX28" fmla="*/ 3229 w 9210"/>
                    <a:gd name="connsiteY28" fmla="*/ 3888 h 65847"/>
                    <a:gd name="connsiteX29" fmla="*/ 2990 w 9210"/>
                    <a:gd name="connsiteY29" fmla="*/ 3110 h 65847"/>
                    <a:gd name="connsiteX30" fmla="*/ 2811 w 9210"/>
                    <a:gd name="connsiteY30" fmla="*/ 1734 h 65847"/>
                    <a:gd name="connsiteX31" fmla="*/ 2691 w 9210"/>
                    <a:gd name="connsiteY31" fmla="*/ 778 h 65847"/>
                    <a:gd name="connsiteX32" fmla="*/ 2572 w 9210"/>
                    <a:gd name="connsiteY32" fmla="*/ 0 h 6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210" h="65847">
                      <a:moveTo>
                        <a:pt x="0" y="65848"/>
                      </a:moveTo>
                      <a:lnTo>
                        <a:pt x="60" y="65609"/>
                      </a:lnTo>
                      <a:lnTo>
                        <a:pt x="658" y="62439"/>
                      </a:lnTo>
                      <a:lnTo>
                        <a:pt x="837" y="61422"/>
                      </a:lnTo>
                      <a:lnTo>
                        <a:pt x="1375" y="58432"/>
                      </a:lnTo>
                      <a:lnTo>
                        <a:pt x="1495" y="57654"/>
                      </a:lnTo>
                      <a:lnTo>
                        <a:pt x="1794" y="56817"/>
                      </a:lnTo>
                      <a:lnTo>
                        <a:pt x="2811" y="53826"/>
                      </a:lnTo>
                      <a:lnTo>
                        <a:pt x="3887" y="50776"/>
                      </a:lnTo>
                      <a:lnTo>
                        <a:pt x="4486" y="49042"/>
                      </a:lnTo>
                      <a:lnTo>
                        <a:pt x="5981" y="46111"/>
                      </a:lnTo>
                      <a:lnTo>
                        <a:pt x="7356" y="43420"/>
                      </a:lnTo>
                      <a:lnTo>
                        <a:pt x="8791" y="40609"/>
                      </a:lnTo>
                      <a:lnTo>
                        <a:pt x="9210" y="37679"/>
                      </a:lnTo>
                      <a:lnTo>
                        <a:pt x="8672" y="34569"/>
                      </a:lnTo>
                      <a:lnTo>
                        <a:pt x="8433" y="33193"/>
                      </a:lnTo>
                      <a:lnTo>
                        <a:pt x="7894" y="30083"/>
                      </a:lnTo>
                      <a:lnTo>
                        <a:pt x="7356" y="26973"/>
                      </a:lnTo>
                      <a:lnTo>
                        <a:pt x="7117" y="25717"/>
                      </a:lnTo>
                      <a:lnTo>
                        <a:pt x="6579" y="22607"/>
                      </a:lnTo>
                      <a:lnTo>
                        <a:pt x="6459" y="21889"/>
                      </a:lnTo>
                      <a:lnTo>
                        <a:pt x="5921" y="18779"/>
                      </a:lnTo>
                      <a:lnTo>
                        <a:pt x="5382" y="15670"/>
                      </a:lnTo>
                      <a:lnTo>
                        <a:pt x="5203" y="14533"/>
                      </a:lnTo>
                      <a:lnTo>
                        <a:pt x="4665" y="11603"/>
                      </a:lnTo>
                      <a:lnTo>
                        <a:pt x="4127" y="8493"/>
                      </a:lnTo>
                      <a:lnTo>
                        <a:pt x="3588" y="5383"/>
                      </a:lnTo>
                      <a:lnTo>
                        <a:pt x="3409" y="4426"/>
                      </a:lnTo>
                      <a:lnTo>
                        <a:pt x="3229" y="3888"/>
                      </a:lnTo>
                      <a:lnTo>
                        <a:pt x="2990" y="3110"/>
                      </a:lnTo>
                      <a:lnTo>
                        <a:pt x="2811" y="1734"/>
                      </a:lnTo>
                      <a:lnTo>
                        <a:pt x="2691" y="778"/>
                      </a:lnTo>
                      <a:lnTo>
                        <a:pt x="2572" y="0"/>
                      </a:lnTo>
                    </a:path>
                  </a:pathLst>
                </a:custGeom>
                <a:noFill/>
                <a:ln w="6350" cap="rnd">
                  <a:solidFill>
                    <a:schemeClr val="bg1">
                      <a:alpha val="40000"/>
                    </a:schemeClr>
                  </a:solidFill>
                  <a:prstDash val="solid"/>
                  <a:round/>
                </a:ln>
              </p:spPr>
              <p:txBody>
                <a:bodyPr rtlCol="0" anchor="ctr"/>
                <a:lstStyle/>
                <a:p>
                  <a:endParaRPr lang="en-GB"/>
                </a:p>
              </p:txBody>
            </p:sp>
            <p:sp>
              <p:nvSpPr>
                <p:cNvPr id="5456" name="Vrije vorm: vorm 5455">
                  <a:extLst>
                    <a:ext uri="{FF2B5EF4-FFF2-40B4-BE49-F238E27FC236}">
                      <a16:creationId xmlns:a16="http://schemas.microsoft.com/office/drawing/2014/main" id="{F658114B-7AB1-441E-90C5-B4FF76AF8DDE}"/>
                    </a:ext>
                  </a:extLst>
                </p:cNvPr>
                <p:cNvSpPr/>
                <p:nvPr/>
              </p:nvSpPr>
              <p:spPr>
                <a:xfrm>
                  <a:off x="6460335" y="1722548"/>
                  <a:ext cx="3648" cy="24162"/>
                </a:xfrm>
                <a:custGeom>
                  <a:avLst/>
                  <a:gdLst>
                    <a:gd name="connsiteX0" fmla="*/ 3349 w 3648"/>
                    <a:gd name="connsiteY0" fmla="*/ 1734 h 24162"/>
                    <a:gd name="connsiteX1" fmla="*/ 2093 w 3648"/>
                    <a:gd name="connsiteY1" fmla="*/ 1077 h 24162"/>
                    <a:gd name="connsiteX2" fmla="*/ 1794 w 3648"/>
                    <a:gd name="connsiteY2" fmla="*/ 957 h 24162"/>
                    <a:gd name="connsiteX3" fmla="*/ 598 w 3648"/>
                    <a:gd name="connsiteY3" fmla="*/ 299 h 24162"/>
                    <a:gd name="connsiteX4" fmla="*/ 0 w 3648"/>
                    <a:gd name="connsiteY4" fmla="*/ 0 h 24162"/>
                    <a:gd name="connsiteX5" fmla="*/ 60 w 3648"/>
                    <a:gd name="connsiteY5" fmla="*/ 598 h 24162"/>
                    <a:gd name="connsiteX6" fmla="*/ 299 w 3648"/>
                    <a:gd name="connsiteY6" fmla="*/ 2213 h 24162"/>
                    <a:gd name="connsiteX7" fmla="*/ 359 w 3648"/>
                    <a:gd name="connsiteY7" fmla="*/ 2811 h 24162"/>
                    <a:gd name="connsiteX8" fmla="*/ 837 w 3648"/>
                    <a:gd name="connsiteY8" fmla="*/ 5921 h 24162"/>
                    <a:gd name="connsiteX9" fmla="*/ 1316 w 3648"/>
                    <a:gd name="connsiteY9" fmla="*/ 9031 h 24162"/>
                    <a:gd name="connsiteX10" fmla="*/ 1794 w 3648"/>
                    <a:gd name="connsiteY10" fmla="*/ 12141 h 24162"/>
                    <a:gd name="connsiteX11" fmla="*/ 1974 w 3648"/>
                    <a:gd name="connsiteY11" fmla="*/ 13277 h 24162"/>
                    <a:gd name="connsiteX12" fmla="*/ 2333 w 3648"/>
                    <a:gd name="connsiteY12" fmla="*/ 15729 h 24162"/>
                    <a:gd name="connsiteX13" fmla="*/ 2751 w 3648"/>
                    <a:gd name="connsiteY13" fmla="*/ 18480 h 24162"/>
                    <a:gd name="connsiteX14" fmla="*/ 3230 w 3648"/>
                    <a:gd name="connsiteY14" fmla="*/ 21590 h 24162"/>
                    <a:gd name="connsiteX15" fmla="*/ 3289 w 3648"/>
                    <a:gd name="connsiteY15" fmla="*/ 21949 h 24162"/>
                    <a:gd name="connsiteX16" fmla="*/ 3349 w 3648"/>
                    <a:gd name="connsiteY16" fmla="*/ 22248 h 24162"/>
                    <a:gd name="connsiteX17" fmla="*/ 3648 w 3648"/>
                    <a:gd name="connsiteY17" fmla="*/ 24162 h 2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48" h="24162">
                      <a:moveTo>
                        <a:pt x="3349" y="1734"/>
                      </a:moveTo>
                      <a:lnTo>
                        <a:pt x="2093" y="1077"/>
                      </a:lnTo>
                      <a:lnTo>
                        <a:pt x="1794" y="957"/>
                      </a:lnTo>
                      <a:lnTo>
                        <a:pt x="598" y="299"/>
                      </a:lnTo>
                      <a:lnTo>
                        <a:pt x="0" y="0"/>
                      </a:lnTo>
                      <a:lnTo>
                        <a:pt x="60" y="598"/>
                      </a:lnTo>
                      <a:lnTo>
                        <a:pt x="299" y="2213"/>
                      </a:lnTo>
                      <a:lnTo>
                        <a:pt x="359" y="2811"/>
                      </a:lnTo>
                      <a:lnTo>
                        <a:pt x="837" y="5921"/>
                      </a:lnTo>
                      <a:lnTo>
                        <a:pt x="1316" y="9031"/>
                      </a:lnTo>
                      <a:lnTo>
                        <a:pt x="1794" y="12141"/>
                      </a:lnTo>
                      <a:lnTo>
                        <a:pt x="1974" y="13277"/>
                      </a:lnTo>
                      <a:lnTo>
                        <a:pt x="2333" y="15729"/>
                      </a:lnTo>
                      <a:lnTo>
                        <a:pt x="2751" y="18480"/>
                      </a:lnTo>
                      <a:lnTo>
                        <a:pt x="3230" y="21590"/>
                      </a:lnTo>
                      <a:lnTo>
                        <a:pt x="3289" y="21949"/>
                      </a:lnTo>
                      <a:lnTo>
                        <a:pt x="3349" y="22248"/>
                      </a:lnTo>
                      <a:lnTo>
                        <a:pt x="3648" y="24162"/>
                      </a:lnTo>
                    </a:path>
                  </a:pathLst>
                </a:custGeom>
                <a:noFill/>
                <a:ln w="6350" cap="rnd">
                  <a:solidFill>
                    <a:schemeClr val="bg1">
                      <a:alpha val="40000"/>
                    </a:schemeClr>
                  </a:solidFill>
                  <a:prstDash val="solid"/>
                  <a:round/>
                </a:ln>
              </p:spPr>
              <p:txBody>
                <a:bodyPr rtlCol="0" anchor="ctr"/>
                <a:lstStyle/>
                <a:p>
                  <a:endParaRPr lang="en-GB"/>
                </a:p>
              </p:txBody>
            </p:sp>
            <p:sp>
              <p:nvSpPr>
                <p:cNvPr id="5457" name="Vrije vorm: vorm 5456">
                  <a:extLst>
                    <a:ext uri="{FF2B5EF4-FFF2-40B4-BE49-F238E27FC236}">
                      <a16:creationId xmlns:a16="http://schemas.microsoft.com/office/drawing/2014/main" id="{2191A060-D5CC-44AC-AF6D-6DE931F84255}"/>
                    </a:ext>
                  </a:extLst>
                </p:cNvPr>
                <p:cNvSpPr/>
                <p:nvPr/>
              </p:nvSpPr>
              <p:spPr>
                <a:xfrm>
                  <a:off x="6460455" y="1695276"/>
                  <a:ext cx="37618" cy="27152"/>
                </a:xfrm>
                <a:custGeom>
                  <a:avLst/>
                  <a:gdLst>
                    <a:gd name="connsiteX0" fmla="*/ 37619 w 37618"/>
                    <a:gd name="connsiteY0" fmla="*/ 10945 h 27152"/>
                    <a:gd name="connsiteX1" fmla="*/ 37559 w 37618"/>
                    <a:gd name="connsiteY1" fmla="*/ 10048 h 27152"/>
                    <a:gd name="connsiteX2" fmla="*/ 37559 w 37618"/>
                    <a:gd name="connsiteY2" fmla="*/ 9928 h 27152"/>
                    <a:gd name="connsiteX3" fmla="*/ 37559 w 37618"/>
                    <a:gd name="connsiteY3" fmla="*/ 9808 h 27152"/>
                    <a:gd name="connsiteX4" fmla="*/ 35884 w 37618"/>
                    <a:gd name="connsiteY4" fmla="*/ 8851 h 27152"/>
                    <a:gd name="connsiteX5" fmla="*/ 35824 w 37618"/>
                    <a:gd name="connsiteY5" fmla="*/ 8792 h 27152"/>
                    <a:gd name="connsiteX6" fmla="*/ 35286 w 37618"/>
                    <a:gd name="connsiteY6" fmla="*/ 8493 h 27152"/>
                    <a:gd name="connsiteX7" fmla="*/ 35286 w 37618"/>
                    <a:gd name="connsiteY7" fmla="*/ 8433 h 27152"/>
                    <a:gd name="connsiteX8" fmla="*/ 34210 w 37618"/>
                    <a:gd name="connsiteY8" fmla="*/ 5562 h 27152"/>
                    <a:gd name="connsiteX9" fmla="*/ 34150 w 37618"/>
                    <a:gd name="connsiteY9" fmla="*/ 5383 h 27152"/>
                    <a:gd name="connsiteX10" fmla="*/ 34030 w 37618"/>
                    <a:gd name="connsiteY10" fmla="*/ 5024 h 27152"/>
                    <a:gd name="connsiteX11" fmla="*/ 34030 w 37618"/>
                    <a:gd name="connsiteY11" fmla="*/ 5024 h 27152"/>
                    <a:gd name="connsiteX12" fmla="*/ 33671 w 37618"/>
                    <a:gd name="connsiteY12" fmla="*/ 4067 h 27152"/>
                    <a:gd name="connsiteX13" fmla="*/ 31578 w 37618"/>
                    <a:gd name="connsiteY13" fmla="*/ 1914 h 27152"/>
                    <a:gd name="connsiteX14" fmla="*/ 30860 w 37618"/>
                    <a:gd name="connsiteY14" fmla="*/ 1136 h 27152"/>
                    <a:gd name="connsiteX15" fmla="*/ 29246 w 37618"/>
                    <a:gd name="connsiteY15" fmla="*/ 658 h 27152"/>
                    <a:gd name="connsiteX16" fmla="*/ 27092 w 37618"/>
                    <a:gd name="connsiteY16" fmla="*/ 0 h 27152"/>
                    <a:gd name="connsiteX17" fmla="*/ 26495 w 37618"/>
                    <a:gd name="connsiteY17" fmla="*/ 60 h 27152"/>
                    <a:gd name="connsiteX18" fmla="*/ 24222 w 37618"/>
                    <a:gd name="connsiteY18" fmla="*/ 359 h 27152"/>
                    <a:gd name="connsiteX19" fmla="*/ 22667 w 37618"/>
                    <a:gd name="connsiteY19" fmla="*/ 538 h 27152"/>
                    <a:gd name="connsiteX20" fmla="*/ 22368 w 37618"/>
                    <a:gd name="connsiteY20" fmla="*/ 658 h 27152"/>
                    <a:gd name="connsiteX21" fmla="*/ 21829 w 37618"/>
                    <a:gd name="connsiteY21" fmla="*/ 897 h 27152"/>
                    <a:gd name="connsiteX22" fmla="*/ 21590 w 37618"/>
                    <a:gd name="connsiteY22" fmla="*/ 1017 h 27152"/>
                    <a:gd name="connsiteX23" fmla="*/ 18720 w 37618"/>
                    <a:gd name="connsiteY23" fmla="*/ 2392 h 27152"/>
                    <a:gd name="connsiteX24" fmla="*/ 17882 w 37618"/>
                    <a:gd name="connsiteY24" fmla="*/ 2811 h 27152"/>
                    <a:gd name="connsiteX25" fmla="*/ 15311 w 37618"/>
                    <a:gd name="connsiteY25" fmla="*/ 4785 h 27152"/>
                    <a:gd name="connsiteX26" fmla="*/ 14055 w 37618"/>
                    <a:gd name="connsiteY26" fmla="*/ 5742 h 27152"/>
                    <a:gd name="connsiteX27" fmla="*/ 13038 w 37618"/>
                    <a:gd name="connsiteY27" fmla="*/ 6519 h 27152"/>
                    <a:gd name="connsiteX28" fmla="*/ 12500 w 37618"/>
                    <a:gd name="connsiteY28" fmla="*/ 7117 h 27152"/>
                    <a:gd name="connsiteX29" fmla="*/ 12320 w 37618"/>
                    <a:gd name="connsiteY29" fmla="*/ 7296 h 27152"/>
                    <a:gd name="connsiteX30" fmla="*/ 11902 w 37618"/>
                    <a:gd name="connsiteY30" fmla="*/ 7775 h 27152"/>
                    <a:gd name="connsiteX31" fmla="*/ 9689 w 37618"/>
                    <a:gd name="connsiteY31" fmla="*/ 10167 h 27152"/>
                    <a:gd name="connsiteX32" fmla="*/ 8493 w 37618"/>
                    <a:gd name="connsiteY32" fmla="*/ 11483 h 27152"/>
                    <a:gd name="connsiteX33" fmla="*/ 8313 w 37618"/>
                    <a:gd name="connsiteY33" fmla="*/ 11722 h 27152"/>
                    <a:gd name="connsiteX34" fmla="*/ 6459 w 37618"/>
                    <a:gd name="connsiteY34" fmla="*/ 14414 h 27152"/>
                    <a:gd name="connsiteX35" fmla="*/ 4605 w 37618"/>
                    <a:gd name="connsiteY35" fmla="*/ 17105 h 27152"/>
                    <a:gd name="connsiteX36" fmla="*/ 4426 w 37618"/>
                    <a:gd name="connsiteY36" fmla="*/ 17344 h 27152"/>
                    <a:gd name="connsiteX37" fmla="*/ 2930 w 37618"/>
                    <a:gd name="connsiteY37" fmla="*/ 20275 h 27152"/>
                    <a:gd name="connsiteX38" fmla="*/ 1435 w 37618"/>
                    <a:gd name="connsiteY38" fmla="*/ 23205 h 27152"/>
                    <a:gd name="connsiteX39" fmla="*/ 1136 w 37618"/>
                    <a:gd name="connsiteY39" fmla="*/ 23863 h 27152"/>
                    <a:gd name="connsiteX40" fmla="*/ 60 w 37618"/>
                    <a:gd name="connsiteY40" fmla="*/ 26913 h 27152"/>
                    <a:gd name="connsiteX41" fmla="*/ 0 w 37618"/>
                    <a:gd name="connsiteY41" fmla="*/ 27153 h 2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7618" h="27152">
                      <a:moveTo>
                        <a:pt x="37619" y="10945"/>
                      </a:moveTo>
                      <a:lnTo>
                        <a:pt x="37559" y="10048"/>
                      </a:lnTo>
                      <a:lnTo>
                        <a:pt x="37559" y="9928"/>
                      </a:lnTo>
                      <a:lnTo>
                        <a:pt x="37559" y="9808"/>
                      </a:lnTo>
                      <a:lnTo>
                        <a:pt x="35884" y="8851"/>
                      </a:lnTo>
                      <a:lnTo>
                        <a:pt x="35824" y="8792"/>
                      </a:lnTo>
                      <a:lnTo>
                        <a:pt x="35286" y="8493"/>
                      </a:lnTo>
                      <a:lnTo>
                        <a:pt x="35286" y="8433"/>
                      </a:lnTo>
                      <a:lnTo>
                        <a:pt x="34210" y="5562"/>
                      </a:lnTo>
                      <a:lnTo>
                        <a:pt x="34150" y="5383"/>
                      </a:lnTo>
                      <a:lnTo>
                        <a:pt x="34030" y="5024"/>
                      </a:lnTo>
                      <a:lnTo>
                        <a:pt x="34030" y="5024"/>
                      </a:lnTo>
                      <a:lnTo>
                        <a:pt x="33671" y="4067"/>
                      </a:lnTo>
                      <a:lnTo>
                        <a:pt x="31578" y="1914"/>
                      </a:lnTo>
                      <a:lnTo>
                        <a:pt x="30860" y="1136"/>
                      </a:lnTo>
                      <a:lnTo>
                        <a:pt x="29246" y="658"/>
                      </a:lnTo>
                      <a:lnTo>
                        <a:pt x="27092" y="0"/>
                      </a:lnTo>
                      <a:lnTo>
                        <a:pt x="26495" y="60"/>
                      </a:lnTo>
                      <a:lnTo>
                        <a:pt x="24222" y="359"/>
                      </a:lnTo>
                      <a:lnTo>
                        <a:pt x="22667" y="538"/>
                      </a:lnTo>
                      <a:lnTo>
                        <a:pt x="22368" y="658"/>
                      </a:lnTo>
                      <a:lnTo>
                        <a:pt x="21829" y="897"/>
                      </a:lnTo>
                      <a:lnTo>
                        <a:pt x="21590" y="1017"/>
                      </a:lnTo>
                      <a:lnTo>
                        <a:pt x="18720" y="2392"/>
                      </a:lnTo>
                      <a:lnTo>
                        <a:pt x="17882" y="2811"/>
                      </a:lnTo>
                      <a:lnTo>
                        <a:pt x="15311" y="4785"/>
                      </a:lnTo>
                      <a:lnTo>
                        <a:pt x="14055" y="5742"/>
                      </a:lnTo>
                      <a:lnTo>
                        <a:pt x="13038" y="6519"/>
                      </a:lnTo>
                      <a:lnTo>
                        <a:pt x="12500" y="7117"/>
                      </a:lnTo>
                      <a:lnTo>
                        <a:pt x="12320" y="7296"/>
                      </a:lnTo>
                      <a:lnTo>
                        <a:pt x="11902" y="7775"/>
                      </a:lnTo>
                      <a:lnTo>
                        <a:pt x="9689" y="10167"/>
                      </a:lnTo>
                      <a:lnTo>
                        <a:pt x="8493" y="11483"/>
                      </a:lnTo>
                      <a:lnTo>
                        <a:pt x="8313" y="11722"/>
                      </a:lnTo>
                      <a:lnTo>
                        <a:pt x="6459" y="14414"/>
                      </a:lnTo>
                      <a:lnTo>
                        <a:pt x="4605" y="17105"/>
                      </a:lnTo>
                      <a:lnTo>
                        <a:pt x="4426" y="17344"/>
                      </a:lnTo>
                      <a:lnTo>
                        <a:pt x="2930" y="20275"/>
                      </a:lnTo>
                      <a:lnTo>
                        <a:pt x="1435" y="23205"/>
                      </a:lnTo>
                      <a:lnTo>
                        <a:pt x="1136" y="23863"/>
                      </a:lnTo>
                      <a:lnTo>
                        <a:pt x="60" y="26913"/>
                      </a:lnTo>
                      <a:lnTo>
                        <a:pt x="0" y="27153"/>
                      </a:lnTo>
                    </a:path>
                  </a:pathLst>
                </a:custGeom>
                <a:noFill/>
                <a:ln w="6350" cap="rnd">
                  <a:solidFill>
                    <a:schemeClr val="bg1">
                      <a:alpha val="40000"/>
                    </a:schemeClr>
                  </a:solidFill>
                  <a:prstDash val="solid"/>
                  <a:round/>
                </a:ln>
              </p:spPr>
              <p:txBody>
                <a:bodyPr rtlCol="0" anchor="ctr"/>
                <a:lstStyle/>
                <a:p>
                  <a:endParaRPr lang="en-GB"/>
                </a:p>
              </p:txBody>
            </p:sp>
            <p:sp>
              <p:nvSpPr>
                <p:cNvPr id="5458" name="Vrije vorm: vorm 5457">
                  <a:extLst>
                    <a:ext uri="{FF2B5EF4-FFF2-40B4-BE49-F238E27FC236}">
                      <a16:creationId xmlns:a16="http://schemas.microsoft.com/office/drawing/2014/main" id="{C44605A5-FB36-4C8B-80B1-BDC5DECDA2C2}"/>
                    </a:ext>
                  </a:extLst>
                </p:cNvPr>
                <p:cNvSpPr/>
                <p:nvPr/>
              </p:nvSpPr>
              <p:spPr>
                <a:xfrm>
                  <a:off x="6495622" y="1698027"/>
                  <a:ext cx="8612" cy="5681"/>
                </a:xfrm>
                <a:custGeom>
                  <a:avLst/>
                  <a:gdLst>
                    <a:gd name="connsiteX0" fmla="*/ 8612 w 8612"/>
                    <a:gd name="connsiteY0" fmla="*/ 1376 h 5681"/>
                    <a:gd name="connsiteX1" fmla="*/ 6280 w 8612"/>
                    <a:gd name="connsiteY1" fmla="*/ 0 h 5681"/>
                    <a:gd name="connsiteX2" fmla="*/ 3887 w 8612"/>
                    <a:gd name="connsiteY2" fmla="*/ 2153 h 5681"/>
                    <a:gd name="connsiteX3" fmla="*/ 3170 w 8612"/>
                    <a:gd name="connsiteY3" fmla="*/ 2811 h 5681"/>
                    <a:gd name="connsiteX4" fmla="*/ 1734 w 8612"/>
                    <a:gd name="connsiteY4" fmla="*/ 4127 h 5681"/>
                    <a:gd name="connsiteX5" fmla="*/ 598 w 8612"/>
                    <a:gd name="connsiteY5" fmla="*/ 5143 h 5681"/>
                    <a:gd name="connsiteX6" fmla="*/ 0 w 8612"/>
                    <a:gd name="connsiteY6" fmla="*/ 5682 h 5681"/>
                    <a:gd name="connsiteX7" fmla="*/ 0 w 8612"/>
                    <a:gd name="connsiteY7" fmla="*/ 5682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2" h="5681">
                      <a:moveTo>
                        <a:pt x="8612" y="1376"/>
                      </a:moveTo>
                      <a:lnTo>
                        <a:pt x="6280" y="0"/>
                      </a:lnTo>
                      <a:lnTo>
                        <a:pt x="3887" y="2153"/>
                      </a:lnTo>
                      <a:lnTo>
                        <a:pt x="3170" y="2811"/>
                      </a:lnTo>
                      <a:lnTo>
                        <a:pt x="1734" y="4127"/>
                      </a:lnTo>
                      <a:lnTo>
                        <a:pt x="598" y="5143"/>
                      </a:lnTo>
                      <a:lnTo>
                        <a:pt x="0" y="5682"/>
                      </a:lnTo>
                      <a:lnTo>
                        <a:pt x="0" y="5682"/>
                      </a:lnTo>
                    </a:path>
                  </a:pathLst>
                </a:custGeom>
                <a:noFill/>
                <a:ln w="6350" cap="rnd">
                  <a:solidFill>
                    <a:schemeClr val="bg1">
                      <a:alpha val="40000"/>
                    </a:schemeClr>
                  </a:solidFill>
                  <a:prstDash val="solid"/>
                  <a:round/>
                </a:ln>
              </p:spPr>
              <p:txBody>
                <a:bodyPr rtlCol="0" anchor="ctr"/>
                <a:lstStyle/>
                <a:p>
                  <a:endParaRPr lang="en-GB"/>
                </a:p>
              </p:txBody>
            </p:sp>
            <p:sp>
              <p:nvSpPr>
                <p:cNvPr id="5459" name="Vrije vorm: vorm 5458">
                  <a:extLst>
                    <a:ext uri="{FF2B5EF4-FFF2-40B4-BE49-F238E27FC236}">
                      <a16:creationId xmlns:a16="http://schemas.microsoft.com/office/drawing/2014/main" id="{C1FF53A1-ACFD-4066-AD2B-ABADDD991491}"/>
                    </a:ext>
                  </a:extLst>
                </p:cNvPr>
                <p:cNvSpPr/>
                <p:nvPr/>
              </p:nvSpPr>
              <p:spPr>
                <a:xfrm>
                  <a:off x="6463864" y="1741626"/>
                  <a:ext cx="18779" cy="5801"/>
                </a:xfrm>
                <a:custGeom>
                  <a:avLst/>
                  <a:gdLst>
                    <a:gd name="connsiteX0" fmla="*/ 0 w 18779"/>
                    <a:gd name="connsiteY0" fmla="*/ 4964 h 5801"/>
                    <a:gd name="connsiteX1" fmla="*/ 1794 w 18779"/>
                    <a:gd name="connsiteY1" fmla="*/ 5801 h 5801"/>
                    <a:gd name="connsiteX2" fmla="*/ 3887 w 18779"/>
                    <a:gd name="connsiteY2" fmla="*/ 5742 h 5801"/>
                    <a:gd name="connsiteX3" fmla="*/ 5981 w 18779"/>
                    <a:gd name="connsiteY3" fmla="*/ 5682 h 5801"/>
                    <a:gd name="connsiteX4" fmla="*/ 6220 w 18779"/>
                    <a:gd name="connsiteY4" fmla="*/ 5682 h 5801"/>
                    <a:gd name="connsiteX5" fmla="*/ 6698 w 18779"/>
                    <a:gd name="connsiteY5" fmla="*/ 5502 h 5801"/>
                    <a:gd name="connsiteX6" fmla="*/ 7536 w 18779"/>
                    <a:gd name="connsiteY6" fmla="*/ 5143 h 5801"/>
                    <a:gd name="connsiteX7" fmla="*/ 10466 w 18779"/>
                    <a:gd name="connsiteY7" fmla="*/ 3947 h 5801"/>
                    <a:gd name="connsiteX8" fmla="*/ 10526 w 18779"/>
                    <a:gd name="connsiteY8" fmla="*/ 3947 h 5801"/>
                    <a:gd name="connsiteX9" fmla="*/ 10645 w 18779"/>
                    <a:gd name="connsiteY9" fmla="*/ 3888 h 5801"/>
                    <a:gd name="connsiteX10" fmla="*/ 11124 w 18779"/>
                    <a:gd name="connsiteY10" fmla="*/ 3708 h 5801"/>
                    <a:gd name="connsiteX11" fmla="*/ 12918 w 18779"/>
                    <a:gd name="connsiteY11" fmla="*/ 2392 h 5801"/>
                    <a:gd name="connsiteX12" fmla="*/ 12978 w 18779"/>
                    <a:gd name="connsiteY12" fmla="*/ 2332 h 5801"/>
                    <a:gd name="connsiteX13" fmla="*/ 13756 w 18779"/>
                    <a:gd name="connsiteY13" fmla="*/ 1734 h 5801"/>
                    <a:gd name="connsiteX14" fmla="*/ 14712 w 18779"/>
                    <a:gd name="connsiteY14" fmla="*/ 1077 h 5801"/>
                    <a:gd name="connsiteX15" fmla="*/ 15311 w 18779"/>
                    <a:gd name="connsiteY15" fmla="*/ 658 h 5801"/>
                    <a:gd name="connsiteX16" fmla="*/ 16208 w 18779"/>
                    <a:gd name="connsiteY16" fmla="*/ 0 h 5801"/>
                    <a:gd name="connsiteX17" fmla="*/ 17165 w 18779"/>
                    <a:gd name="connsiteY17" fmla="*/ 478 h 5801"/>
                    <a:gd name="connsiteX18" fmla="*/ 17225 w 18779"/>
                    <a:gd name="connsiteY18" fmla="*/ 538 h 5801"/>
                    <a:gd name="connsiteX19" fmla="*/ 18600 w 18779"/>
                    <a:gd name="connsiteY19" fmla="*/ 1256 h 5801"/>
                    <a:gd name="connsiteX20" fmla="*/ 18779 w 18779"/>
                    <a:gd name="connsiteY20" fmla="*/ 1077 h 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779" h="5801">
                      <a:moveTo>
                        <a:pt x="0" y="4964"/>
                      </a:moveTo>
                      <a:lnTo>
                        <a:pt x="1794" y="5801"/>
                      </a:lnTo>
                      <a:lnTo>
                        <a:pt x="3887" y="5742"/>
                      </a:lnTo>
                      <a:lnTo>
                        <a:pt x="5981" y="5682"/>
                      </a:lnTo>
                      <a:lnTo>
                        <a:pt x="6220" y="5682"/>
                      </a:lnTo>
                      <a:lnTo>
                        <a:pt x="6698" y="5502"/>
                      </a:lnTo>
                      <a:lnTo>
                        <a:pt x="7536" y="5143"/>
                      </a:lnTo>
                      <a:lnTo>
                        <a:pt x="10466" y="3947"/>
                      </a:lnTo>
                      <a:lnTo>
                        <a:pt x="10526" y="3947"/>
                      </a:lnTo>
                      <a:lnTo>
                        <a:pt x="10645" y="3888"/>
                      </a:lnTo>
                      <a:lnTo>
                        <a:pt x="11124" y="3708"/>
                      </a:lnTo>
                      <a:lnTo>
                        <a:pt x="12918" y="2392"/>
                      </a:lnTo>
                      <a:lnTo>
                        <a:pt x="12978" y="2332"/>
                      </a:lnTo>
                      <a:lnTo>
                        <a:pt x="13756" y="1734"/>
                      </a:lnTo>
                      <a:lnTo>
                        <a:pt x="14712" y="1077"/>
                      </a:lnTo>
                      <a:lnTo>
                        <a:pt x="15311" y="658"/>
                      </a:lnTo>
                      <a:lnTo>
                        <a:pt x="16208" y="0"/>
                      </a:lnTo>
                      <a:lnTo>
                        <a:pt x="17165" y="478"/>
                      </a:lnTo>
                      <a:lnTo>
                        <a:pt x="17225" y="538"/>
                      </a:lnTo>
                      <a:lnTo>
                        <a:pt x="18600" y="1256"/>
                      </a:lnTo>
                      <a:lnTo>
                        <a:pt x="18779" y="1077"/>
                      </a:lnTo>
                    </a:path>
                  </a:pathLst>
                </a:custGeom>
                <a:noFill/>
                <a:ln w="6350" cap="rnd">
                  <a:solidFill>
                    <a:schemeClr val="bg1">
                      <a:alpha val="40000"/>
                    </a:schemeClr>
                  </a:solidFill>
                  <a:prstDash val="solid"/>
                  <a:round/>
                </a:ln>
              </p:spPr>
              <p:txBody>
                <a:bodyPr rtlCol="0" anchor="ctr"/>
                <a:lstStyle/>
                <a:p>
                  <a:endParaRPr lang="en-GB"/>
                </a:p>
              </p:txBody>
            </p:sp>
            <p:sp>
              <p:nvSpPr>
                <p:cNvPr id="5460" name="Vrije vorm: vorm 5459">
                  <a:extLst>
                    <a:ext uri="{FF2B5EF4-FFF2-40B4-BE49-F238E27FC236}">
                      <a16:creationId xmlns:a16="http://schemas.microsoft.com/office/drawing/2014/main" id="{38E47D64-B382-482B-9111-73E90BD69BD2}"/>
                    </a:ext>
                  </a:extLst>
                </p:cNvPr>
                <p:cNvSpPr/>
                <p:nvPr/>
              </p:nvSpPr>
              <p:spPr>
                <a:xfrm>
                  <a:off x="6435516" y="1590673"/>
                  <a:ext cx="8911" cy="9748"/>
                </a:xfrm>
                <a:custGeom>
                  <a:avLst/>
                  <a:gdLst>
                    <a:gd name="connsiteX0" fmla="*/ 0 w 8911"/>
                    <a:gd name="connsiteY0" fmla="*/ 0 h 9748"/>
                    <a:gd name="connsiteX1" fmla="*/ 2990 w 8911"/>
                    <a:gd name="connsiteY1" fmla="*/ 239 h 9748"/>
                    <a:gd name="connsiteX2" fmla="*/ 3349 w 8911"/>
                    <a:gd name="connsiteY2" fmla="*/ 239 h 9748"/>
                    <a:gd name="connsiteX3" fmla="*/ 6220 w 8911"/>
                    <a:gd name="connsiteY3" fmla="*/ 1076 h 9748"/>
                    <a:gd name="connsiteX4" fmla="*/ 8791 w 8911"/>
                    <a:gd name="connsiteY4" fmla="*/ 1794 h 9748"/>
                    <a:gd name="connsiteX5" fmla="*/ 8732 w 8911"/>
                    <a:gd name="connsiteY5" fmla="*/ 4964 h 9748"/>
                    <a:gd name="connsiteX6" fmla="*/ 8732 w 8911"/>
                    <a:gd name="connsiteY6" fmla="*/ 5861 h 9748"/>
                    <a:gd name="connsiteX7" fmla="*/ 8672 w 8911"/>
                    <a:gd name="connsiteY7" fmla="*/ 8074 h 9748"/>
                    <a:gd name="connsiteX8" fmla="*/ 8911 w 8911"/>
                    <a:gd name="connsiteY8" fmla="*/ 9749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11" h="9748">
                      <a:moveTo>
                        <a:pt x="0" y="0"/>
                      </a:moveTo>
                      <a:lnTo>
                        <a:pt x="2990" y="239"/>
                      </a:lnTo>
                      <a:lnTo>
                        <a:pt x="3349" y="239"/>
                      </a:lnTo>
                      <a:lnTo>
                        <a:pt x="6220" y="1076"/>
                      </a:lnTo>
                      <a:lnTo>
                        <a:pt x="8791" y="1794"/>
                      </a:lnTo>
                      <a:lnTo>
                        <a:pt x="8732" y="4964"/>
                      </a:lnTo>
                      <a:lnTo>
                        <a:pt x="8732" y="5861"/>
                      </a:lnTo>
                      <a:lnTo>
                        <a:pt x="8672" y="8074"/>
                      </a:lnTo>
                      <a:lnTo>
                        <a:pt x="8911" y="9749"/>
                      </a:lnTo>
                    </a:path>
                  </a:pathLst>
                </a:custGeom>
                <a:noFill/>
                <a:ln w="6350" cap="rnd">
                  <a:solidFill>
                    <a:schemeClr val="bg1">
                      <a:alpha val="40000"/>
                    </a:schemeClr>
                  </a:solidFill>
                  <a:prstDash val="solid"/>
                  <a:round/>
                </a:ln>
              </p:spPr>
              <p:txBody>
                <a:bodyPr rtlCol="0" anchor="ctr"/>
                <a:lstStyle/>
                <a:p>
                  <a:endParaRPr lang="en-GB"/>
                </a:p>
              </p:txBody>
            </p:sp>
            <p:sp>
              <p:nvSpPr>
                <p:cNvPr id="5461" name="Vrije vorm: vorm 5460">
                  <a:extLst>
                    <a:ext uri="{FF2B5EF4-FFF2-40B4-BE49-F238E27FC236}">
                      <a16:creationId xmlns:a16="http://schemas.microsoft.com/office/drawing/2014/main" id="{65D69F56-7D04-4AA0-B8FF-5B19B31D48BE}"/>
                    </a:ext>
                  </a:extLst>
                </p:cNvPr>
                <p:cNvSpPr/>
                <p:nvPr/>
              </p:nvSpPr>
              <p:spPr>
                <a:xfrm>
                  <a:off x="6494187" y="1589537"/>
                  <a:ext cx="38037" cy="85404"/>
                </a:xfrm>
                <a:custGeom>
                  <a:avLst/>
                  <a:gdLst>
                    <a:gd name="connsiteX0" fmla="*/ 0 w 38037"/>
                    <a:gd name="connsiteY0" fmla="*/ 0 h 85404"/>
                    <a:gd name="connsiteX1" fmla="*/ 1794 w 38037"/>
                    <a:gd name="connsiteY1" fmla="*/ 1316 h 85404"/>
                    <a:gd name="connsiteX2" fmla="*/ 1973 w 38037"/>
                    <a:gd name="connsiteY2" fmla="*/ 1435 h 85404"/>
                    <a:gd name="connsiteX3" fmla="*/ 2033 w 38037"/>
                    <a:gd name="connsiteY3" fmla="*/ 1495 h 85404"/>
                    <a:gd name="connsiteX4" fmla="*/ 2213 w 38037"/>
                    <a:gd name="connsiteY4" fmla="*/ 1615 h 85404"/>
                    <a:gd name="connsiteX5" fmla="*/ 4605 w 38037"/>
                    <a:gd name="connsiteY5" fmla="*/ 3349 h 85404"/>
                    <a:gd name="connsiteX6" fmla="*/ 4904 w 38037"/>
                    <a:gd name="connsiteY6" fmla="*/ 3588 h 85404"/>
                    <a:gd name="connsiteX7" fmla="*/ 5083 w 38037"/>
                    <a:gd name="connsiteY7" fmla="*/ 3708 h 85404"/>
                    <a:gd name="connsiteX8" fmla="*/ 5263 w 38037"/>
                    <a:gd name="connsiteY8" fmla="*/ 3887 h 85404"/>
                    <a:gd name="connsiteX9" fmla="*/ 5442 w 38037"/>
                    <a:gd name="connsiteY9" fmla="*/ 4067 h 85404"/>
                    <a:gd name="connsiteX10" fmla="*/ 5562 w 38037"/>
                    <a:gd name="connsiteY10" fmla="*/ 4246 h 85404"/>
                    <a:gd name="connsiteX11" fmla="*/ 5681 w 38037"/>
                    <a:gd name="connsiteY11" fmla="*/ 4426 h 85404"/>
                    <a:gd name="connsiteX12" fmla="*/ 5801 w 38037"/>
                    <a:gd name="connsiteY12" fmla="*/ 4665 h 85404"/>
                    <a:gd name="connsiteX13" fmla="*/ 5921 w 38037"/>
                    <a:gd name="connsiteY13" fmla="*/ 4904 h 85404"/>
                    <a:gd name="connsiteX14" fmla="*/ 6040 w 38037"/>
                    <a:gd name="connsiteY14" fmla="*/ 5143 h 85404"/>
                    <a:gd name="connsiteX15" fmla="*/ 6100 w 38037"/>
                    <a:gd name="connsiteY15" fmla="*/ 5383 h 85404"/>
                    <a:gd name="connsiteX16" fmla="*/ 6160 w 38037"/>
                    <a:gd name="connsiteY16" fmla="*/ 5622 h 85404"/>
                    <a:gd name="connsiteX17" fmla="*/ 6937 w 38037"/>
                    <a:gd name="connsiteY17" fmla="*/ 8612 h 85404"/>
                    <a:gd name="connsiteX18" fmla="*/ 7715 w 38037"/>
                    <a:gd name="connsiteY18" fmla="*/ 11603 h 85404"/>
                    <a:gd name="connsiteX19" fmla="*/ 8373 w 38037"/>
                    <a:gd name="connsiteY19" fmla="*/ 14234 h 85404"/>
                    <a:gd name="connsiteX20" fmla="*/ 8373 w 38037"/>
                    <a:gd name="connsiteY20" fmla="*/ 14234 h 85404"/>
                    <a:gd name="connsiteX21" fmla="*/ 8433 w 38037"/>
                    <a:gd name="connsiteY21" fmla="*/ 14413 h 85404"/>
                    <a:gd name="connsiteX22" fmla="*/ 8552 w 38037"/>
                    <a:gd name="connsiteY22" fmla="*/ 14892 h 85404"/>
                    <a:gd name="connsiteX23" fmla="*/ 8612 w 38037"/>
                    <a:gd name="connsiteY23" fmla="*/ 15012 h 85404"/>
                    <a:gd name="connsiteX24" fmla="*/ 8612 w 38037"/>
                    <a:gd name="connsiteY24" fmla="*/ 15012 h 85404"/>
                    <a:gd name="connsiteX25" fmla="*/ 8971 w 38037"/>
                    <a:gd name="connsiteY25" fmla="*/ 16387 h 85404"/>
                    <a:gd name="connsiteX26" fmla="*/ 9330 w 38037"/>
                    <a:gd name="connsiteY26" fmla="*/ 17823 h 85404"/>
                    <a:gd name="connsiteX27" fmla="*/ 9629 w 38037"/>
                    <a:gd name="connsiteY27" fmla="*/ 19079 h 85404"/>
                    <a:gd name="connsiteX28" fmla="*/ 9928 w 38037"/>
                    <a:gd name="connsiteY28" fmla="*/ 20215 h 85404"/>
                    <a:gd name="connsiteX29" fmla="*/ 10167 w 38037"/>
                    <a:gd name="connsiteY29" fmla="*/ 21052 h 85404"/>
                    <a:gd name="connsiteX30" fmla="*/ 10526 w 38037"/>
                    <a:gd name="connsiteY30" fmla="*/ 22607 h 85404"/>
                    <a:gd name="connsiteX31" fmla="*/ 10645 w 38037"/>
                    <a:gd name="connsiteY31" fmla="*/ 23145 h 85404"/>
                    <a:gd name="connsiteX32" fmla="*/ 10825 w 38037"/>
                    <a:gd name="connsiteY32" fmla="*/ 23863 h 85404"/>
                    <a:gd name="connsiteX33" fmla="*/ 11603 w 38037"/>
                    <a:gd name="connsiteY33" fmla="*/ 26853 h 85404"/>
                    <a:gd name="connsiteX34" fmla="*/ 12380 w 38037"/>
                    <a:gd name="connsiteY34" fmla="*/ 29844 h 85404"/>
                    <a:gd name="connsiteX35" fmla="*/ 13157 w 38037"/>
                    <a:gd name="connsiteY35" fmla="*/ 32834 h 85404"/>
                    <a:gd name="connsiteX36" fmla="*/ 13875 w 38037"/>
                    <a:gd name="connsiteY36" fmla="*/ 35705 h 85404"/>
                    <a:gd name="connsiteX37" fmla="*/ 14473 w 38037"/>
                    <a:gd name="connsiteY37" fmla="*/ 38157 h 85404"/>
                    <a:gd name="connsiteX38" fmla="*/ 15071 w 38037"/>
                    <a:gd name="connsiteY38" fmla="*/ 40489 h 85404"/>
                    <a:gd name="connsiteX39" fmla="*/ 15311 w 38037"/>
                    <a:gd name="connsiteY39" fmla="*/ 40968 h 85404"/>
                    <a:gd name="connsiteX40" fmla="*/ 15729 w 38037"/>
                    <a:gd name="connsiteY40" fmla="*/ 41805 h 85404"/>
                    <a:gd name="connsiteX41" fmla="*/ 16148 w 38037"/>
                    <a:gd name="connsiteY41" fmla="*/ 42642 h 85404"/>
                    <a:gd name="connsiteX42" fmla="*/ 16148 w 38037"/>
                    <a:gd name="connsiteY42" fmla="*/ 42642 h 85404"/>
                    <a:gd name="connsiteX43" fmla="*/ 17523 w 38037"/>
                    <a:gd name="connsiteY43" fmla="*/ 45334 h 85404"/>
                    <a:gd name="connsiteX44" fmla="*/ 18121 w 38037"/>
                    <a:gd name="connsiteY44" fmla="*/ 46470 h 85404"/>
                    <a:gd name="connsiteX45" fmla="*/ 19497 w 38037"/>
                    <a:gd name="connsiteY45" fmla="*/ 49162 h 85404"/>
                    <a:gd name="connsiteX46" fmla="*/ 20873 w 38037"/>
                    <a:gd name="connsiteY46" fmla="*/ 51853 h 85404"/>
                    <a:gd name="connsiteX47" fmla="*/ 22248 w 38037"/>
                    <a:gd name="connsiteY47" fmla="*/ 54544 h 85404"/>
                    <a:gd name="connsiteX48" fmla="*/ 23624 w 38037"/>
                    <a:gd name="connsiteY48" fmla="*/ 57235 h 85404"/>
                    <a:gd name="connsiteX49" fmla="*/ 24999 w 38037"/>
                    <a:gd name="connsiteY49" fmla="*/ 59927 h 85404"/>
                    <a:gd name="connsiteX50" fmla="*/ 26375 w 38037"/>
                    <a:gd name="connsiteY50" fmla="*/ 62618 h 85404"/>
                    <a:gd name="connsiteX51" fmla="*/ 27750 w 38037"/>
                    <a:gd name="connsiteY51" fmla="*/ 65309 h 85404"/>
                    <a:gd name="connsiteX52" fmla="*/ 29126 w 38037"/>
                    <a:gd name="connsiteY52" fmla="*/ 68001 h 85404"/>
                    <a:gd name="connsiteX53" fmla="*/ 30502 w 38037"/>
                    <a:gd name="connsiteY53" fmla="*/ 70692 h 85404"/>
                    <a:gd name="connsiteX54" fmla="*/ 31877 w 38037"/>
                    <a:gd name="connsiteY54" fmla="*/ 73383 h 85404"/>
                    <a:gd name="connsiteX55" fmla="*/ 33253 w 38037"/>
                    <a:gd name="connsiteY55" fmla="*/ 76075 h 85404"/>
                    <a:gd name="connsiteX56" fmla="*/ 34628 w 38037"/>
                    <a:gd name="connsiteY56" fmla="*/ 78766 h 85404"/>
                    <a:gd name="connsiteX57" fmla="*/ 36004 w 38037"/>
                    <a:gd name="connsiteY57" fmla="*/ 81457 h 85404"/>
                    <a:gd name="connsiteX58" fmla="*/ 37380 w 38037"/>
                    <a:gd name="connsiteY58" fmla="*/ 84149 h 85404"/>
                    <a:gd name="connsiteX59" fmla="*/ 38037 w 38037"/>
                    <a:gd name="connsiteY59" fmla="*/ 85405 h 8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037" h="85404">
                      <a:moveTo>
                        <a:pt x="0" y="0"/>
                      </a:moveTo>
                      <a:lnTo>
                        <a:pt x="1794" y="1316"/>
                      </a:lnTo>
                      <a:lnTo>
                        <a:pt x="1973" y="1435"/>
                      </a:lnTo>
                      <a:lnTo>
                        <a:pt x="2033" y="1495"/>
                      </a:lnTo>
                      <a:lnTo>
                        <a:pt x="2213" y="1615"/>
                      </a:lnTo>
                      <a:lnTo>
                        <a:pt x="4605" y="3349"/>
                      </a:lnTo>
                      <a:lnTo>
                        <a:pt x="4904" y="3588"/>
                      </a:lnTo>
                      <a:lnTo>
                        <a:pt x="5083" y="3708"/>
                      </a:lnTo>
                      <a:lnTo>
                        <a:pt x="5263" y="3887"/>
                      </a:lnTo>
                      <a:lnTo>
                        <a:pt x="5442" y="4067"/>
                      </a:lnTo>
                      <a:lnTo>
                        <a:pt x="5562" y="4246"/>
                      </a:lnTo>
                      <a:lnTo>
                        <a:pt x="5681" y="4426"/>
                      </a:lnTo>
                      <a:lnTo>
                        <a:pt x="5801" y="4665"/>
                      </a:lnTo>
                      <a:lnTo>
                        <a:pt x="5921" y="4904"/>
                      </a:lnTo>
                      <a:lnTo>
                        <a:pt x="6040" y="5143"/>
                      </a:lnTo>
                      <a:lnTo>
                        <a:pt x="6100" y="5383"/>
                      </a:lnTo>
                      <a:lnTo>
                        <a:pt x="6160" y="5622"/>
                      </a:lnTo>
                      <a:lnTo>
                        <a:pt x="6937" y="8612"/>
                      </a:lnTo>
                      <a:lnTo>
                        <a:pt x="7715" y="11603"/>
                      </a:lnTo>
                      <a:lnTo>
                        <a:pt x="8373" y="14234"/>
                      </a:lnTo>
                      <a:lnTo>
                        <a:pt x="8373" y="14234"/>
                      </a:lnTo>
                      <a:lnTo>
                        <a:pt x="8433" y="14413"/>
                      </a:lnTo>
                      <a:lnTo>
                        <a:pt x="8552" y="14892"/>
                      </a:lnTo>
                      <a:lnTo>
                        <a:pt x="8612" y="15012"/>
                      </a:lnTo>
                      <a:lnTo>
                        <a:pt x="8612" y="15012"/>
                      </a:lnTo>
                      <a:lnTo>
                        <a:pt x="8971" y="16387"/>
                      </a:lnTo>
                      <a:lnTo>
                        <a:pt x="9330" y="17823"/>
                      </a:lnTo>
                      <a:lnTo>
                        <a:pt x="9629" y="19079"/>
                      </a:lnTo>
                      <a:lnTo>
                        <a:pt x="9928" y="20215"/>
                      </a:lnTo>
                      <a:lnTo>
                        <a:pt x="10167" y="21052"/>
                      </a:lnTo>
                      <a:lnTo>
                        <a:pt x="10526" y="22607"/>
                      </a:lnTo>
                      <a:lnTo>
                        <a:pt x="10645" y="23145"/>
                      </a:lnTo>
                      <a:lnTo>
                        <a:pt x="10825" y="23863"/>
                      </a:lnTo>
                      <a:lnTo>
                        <a:pt x="11603" y="26853"/>
                      </a:lnTo>
                      <a:lnTo>
                        <a:pt x="12380" y="29844"/>
                      </a:lnTo>
                      <a:lnTo>
                        <a:pt x="13157" y="32834"/>
                      </a:lnTo>
                      <a:lnTo>
                        <a:pt x="13875" y="35705"/>
                      </a:lnTo>
                      <a:lnTo>
                        <a:pt x="14473" y="38157"/>
                      </a:lnTo>
                      <a:lnTo>
                        <a:pt x="15071" y="40489"/>
                      </a:lnTo>
                      <a:lnTo>
                        <a:pt x="15311" y="40968"/>
                      </a:lnTo>
                      <a:lnTo>
                        <a:pt x="15729" y="41805"/>
                      </a:lnTo>
                      <a:lnTo>
                        <a:pt x="16148" y="42642"/>
                      </a:lnTo>
                      <a:lnTo>
                        <a:pt x="16148" y="42642"/>
                      </a:lnTo>
                      <a:lnTo>
                        <a:pt x="17523" y="45334"/>
                      </a:lnTo>
                      <a:lnTo>
                        <a:pt x="18121" y="46470"/>
                      </a:lnTo>
                      <a:lnTo>
                        <a:pt x="19497" y="49162"/>
                      </a:lnTo>
                      <a:lnTo>
                        <a:pt x="20873" y="51853"/>
                      </a:lnTo>
                      <a:lnTo>
                        <a:pt x="22248" y="54544"/>
                      </a:lnTo>
                      <a:lnTo>
                        <a:pt x="23624" y="57235"/>
                      </a:lnTo>
                      <a:lnTo>
                        <a:pt x="24999" y="59927"/>
                      </a:lnTo>
                      <a:lnTo>
                        <a:pt x="26375" y="62618"/>
                      </a:lnTo>
                      <a:lnTo>
                        <a:pt x="27750" y="65309"/>
                      </a:lnTo>
                      <a:lnTo>
                        <a:pt x="29126" y="68001"/>
                      </a:lnTo>
                      <a:lnTo>
                        <a:pt x="30502" y="70692"/>
                      </a:lnTo>
                      <a:lnTo>
                        <a:pt x="31877" y="73383"/>
                      </a:lnTo>
                      <a:lnTo>
                        <a:pt x="33253" y="76075"/>
                      </a:lnTo>
                      <a:lnTo>
                        <a:pt x="34628" y="78766"/>
                      </a:lnTo>
                      <a:lnTo>
                        <a:pt x="36004" y="81457"/>
                      </a:lnTo>
                      <a:lnTo>
                        <a:pt x="37380" y="84149"/>
                      </a:lnTo>
                      <a:lnTo>
                        <a:pt x="38037" y="85405"/>
                      </a:lnTo>
                    </a:path>
                  </a:pathLst>
                </a:custGeom>
                <a:noFill/>
                <a:ln w="6350" cap="rnd">
                  <a:solidFill>
                    <a:schemeClr val="bg1">
                      <a:alpha val="40000"/>
                    </a:schemeClr>
                  </a:solidFill>
                  <a:prstDash val="solid"/>
                  <a:round/>
                </a:ln>
              </p:spPr>
              <p:txBody>
                <a:bodyPr rtlCol="0" anchor="ctr"/>
                <a:lstStyle/>
                <a:p>
                  <a:endParaRPr lang="en-GB"/>
                </a:p>
              </p:txBody>
            </p:sp>
            <p:sp>
              <p:nvSpPr>
                <p:cNvPr id="5462" name="Vrije vorm: vorm 5461">
                  <a:extLst>
                    <a:ext uri="{FF2B5EF4-FFF2-40B4-BE49-F238E27FC236}">
                      <a16:creationId xmlns:a16="http://schemas.microsoft.com/office/drawing/2014/main" id="{0D82F723-8FE5-4E4D-A15C-7496EF3BEDEC}"/>
                    </a:ext>
                  </a:extLst>
                </p:cNvPr>
                <p:cNvSpPr/>
                <p:nvPr/>
              </p:nvSpPr>
              <p:spPr>
                <a:xfrm>
                  <a:off x="6476663" y="1656162"/>
                  <a:ext cx="4665" cy="12320"/>
                </a:xfrm>
                <a:custGeom>
                  <a:avLst/>
                  <a:gdLst>
                    <a:gd name="connsiteX0" fmla="*/ 4665 w 4665"/>
                    <a:gd name="connsiteY0" fmla="*/ 12320 h 12320"/>
                    <a:gd name="connsiteX1" fmla="*/ 4306 w 4665"/>
                    <a:gd name="connsiteY1" fmla="*/ 11363 h 12320"/>
                    <a:gd name="connsiteX2" fmla="*/ 3888 w 4665"/>
                    <a:gd name="connsiteY2" fmla="*/ 10227 h 12320"/>
                    <a:gd name="connsiteX3" fmla="*/ 3529 w 4665"/>
                    <a:gd name="connsiteY3" fmla="*/ 9270 h 12320"/>
                    <a:gd name="connsiteX4" fmla="*/ 2452 w 4665"/>
                    <a:gd name="connsiteY4" fmla="*/ 6459 h 12320"/>
                    <a:gd name="connsiteX5" fmla="*/ 2392 w 4665"/>
                    <a:gd name="connsiteY5" fmla="*/ 6399 h 12320"/>
                    <a:gd name="connsiteX6" fmla="*/ 1914 w 4665"/>
                    <a:gd name="connsiteY6" fmla="*/ 5143 h 12320"/>
                    <a:gd name="connsiteX7" fmla="*/ 837 w 4665"/>
                    <a:gd name="connsiteY7" fmla="*/ 2273 h 12320"/>
                    <a:gd name="connsiteX8" fmla="*/ 0 w 4665"/>
                    <a:gd name="connsiteY8" fmla="*/ 0 h 1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5" h="12320">
                      <a:moveTo>
                        <a:pt x="4665" y="12320"/>
                      </a:moveTo>
                      <a:lnTo>
                        <a:pt x="4306" y="11363"/>
                      </a:lnTo>
                      <a:lnTo>
                        <a:pt x="3888" y="10227"/>
                      </a:lnTo>
                      <a:lnTo>
                        <a:pt x="3529" y="9270"/>
                      </a:lnTo>
                      <a:lnTo>
                        <a:pt x="2452" y="6459"/>
                      </a:lnTo>
                      <a:lnTo>
                        <a:pt x="2392" y="6399"/>
                      </a:lnTo>
                      <a:lnTo>
                        <a:pt x="1914" y="5143"/>
                      </a:lnTo>
                      <a:lnTo>
                        <a:pt x="837" y="2273"/>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63" name="Vrije vorm: vorm 5462">
                  <a:extLst>
                    <a:ext uri="{FF2B5EF4-FFF2-40B4-BE49-F238E27FC236}">
                      <a16:creationId xmlns:a16="http://schemas.microsoft.com/office/drawing/2014/main" id="{6F10A5EC-D65A-4E58-BFDF-5ABCB0490C5E}"/>
                    </a:ext>
                  </a:extLst>
                </p:cNvPr>
                <p:cNvSpPr/>
                <p:nvPr/>
              </p:nvSpPr>
              <p:spPr>
                <a:xfrm>
                  <a:off x="6465300" y="1667047"/>
                  <a:ext cx="5382" cy="12499"/>
                </a:xfrm>
                <a:custGeom>
                  <a:avLst/>
                  <a:gdLst>
                    <a:gd name="connsiteX0" fmla="*/ 5382 w 5382"/>
                    <a:gd name="connsiteY0" fmla="*/ 10586 h 12499"/>
                    <a:gd name="connsiteX1" fmla="*/ 5083 w 5382"/>
                    <a:gd name="connsiteY1" fmla="*/ 11184 h 12499"/>
                    <a:gd name="connsiteX2" fmla="*/ 4426 w 5382"/>
                    <a:gd name="connsiteY2" fmla="*/ 12500 h 12499"/>
                    <a:gd name="connsiteX3" fmla="*/ 3648 w 5382"/>
                    <a:gd name="connsiteY3" fmla="*/ 10347 h 12499"/>
                    <a:gd name="connsiteX4" fmla="*/ 2632 w 5382"/>
                    <a:gd name="connsiteY4" fmla="*/ 7416 h 12499"/>
                    <a:gd name="connsiteX5" fmla="*/ 2512 w 5382"/>
                    <a:gd name="connsiteY5" fmla="*/ 7177 h 12499"/>
                    <a:gd name="connsiteX6" fmla="*/ 2452 w 5382"/>
                    <a:gd name="connsiteY6" fmla="*/ 7057 h 12499"/>
                    <a:gd name="connsiteX7" fmla="*/ 2392 w 5382"/>
                    <a:gd name="connsiteY7" fmla="*/ 6818 h 12499"/>
                    <a:gd name="connsiteX8" fmla="*/ 1375 w 5382"/>
                    <a:gd name="connsiteY8" fmla="*/ 3888 h 12499"/>
                    <a:gd name="connsiteX9" fmla="*/ 359 w 5382"/>
                    <a:gd name="connsiteY9" fmla="*/ 957 h 12499"/>
                    <a:gd name="connsiteX10" fmla="*/ 0 w 5382"/>
                    <a:gd name="connsiteY10" fmla="*/ 0 h 1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82" h="12499">
                      <a:moveTo>
                        <a:pt x="5382" y="10586"/>
                      </a:moveTo>
                      <a:lnTo>
                        <a:pt x="5083" y="11184"/>
                      </a:lnTo>
                      <a:lnTo>
                        <a:pt x="4426" y="12500"/>
                      </a:lnTo>
                      <a:lnTo>
                        <a:pt x="3648" y="10347"/>
                      </a:lnTo>
                      <a:lnTo>
                        <a:pt x="2632" y="7416"/>
                      </a:lnTo>
                      <a:lnTo>
                        <a:pt x="2512" y="7177"/>
                      </a:lnTo>
                      <a:lnTo>
                        <a:pt x="2452" y="7057"/>
                      </a:lnTo>
                      <a:lnTo>
                        <a:pt x="2392" y="6818"/>
                      </a:lnTo>
                      <a:lnTo>
                        <a:pt x="1375" y="3888"/>
                      </a:lnTo>
                      <a:lnTo>
                        <a:pt x="359" y="95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64" name="Vrije vorm: vorm 5463">
                  <a:extLst>
                    <a:ext uri="{FF2B5EF4-FFF2-40B4-BE49-F238E27FC236}">
                      <a16:creationId xmlns:a16="http://schemas.microsoft.com/office/drawing/2014/main" id="{9E185D87-096E-45E7-8DC4-3990041E9A76}"/>
                    </a:ext>
                  </a:extLst>
                </p:cNvPr>
                <p:cNvSpPr/>
                <p:nvPr/>
              </p:nvSpPr>
              <p:spPr>
                <a:xfrm>
                  <a:off x="6465300" y="1656042"/>
                  <a:ext cx="11423" cy="12679"/>
                </a:xfrm>
                <a:custGeom>
                  <a:avLst/>
                  <a:gdLst>
                    <a:gd name="connsiteX0" fmla="*/ 11423 w 11423"/>
                    <a:gd name="connsiteY0" fmla="*/ 0 h 12679"/>
                    <a:gd name="connsiteX1" fmla="*/ 9091 w 11423"/>
                    <a:gd name="connsiteY1" fmla="*/ 2273 h 12679"/>
                    <a:gd name="connsiteX2" fmla="*/ 6758 w 11423"/>
                    <a:gd name="connsiteY2" fmla="*/ 4545 h 12679"/>
                    <a:gd name="connsiteX3" fmla="*/ 4486 w 11423"/>
                    <a:gd name="connsiteY3" fmla="*/ 6758 h 12679"/>
                    <a:gd name="connsiteX4" fmla="*/ 2153 w 11423"/>
                    <a:gd name="connsiteY4" fmla="*/ 9031 h 12679"/>
                    <a:gd name="connsiteX5" fmla="*/ 1076 w 11423"/>
                    <a:gd name="connsiteY5" fmla="*/ 10048 h 12679"/>
                    <a:gd name="connsiteX6" fmla="*/ 0 w 11423"/>
                    <a:gd name="connsiteY6" fmla="*/ 11064 h 12679"/>
                    <a:gd name="connsiteX7" fmla="*/ 2273 w 11423"/>
                    <a:gd name="connsiteY7" fmla="*/ 12380 h 12679"/>
                    <a:gd name="connsiteX8" fmla="*/ 2751 w 11423"/>
                    <a:gd name="connsiteY8" fmla="*/ 12679 h 1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3" h="12679">
                      <a:moveTo>
                        <a:pt x="11423" y="0"/>
                      </a:moveTo>
                      <a:lnTo>
                        <a:pt x="9091" y="2273"/>
                      </a:lnTo>
                      <a:lnTo>
                        <a:pt x="6758" y="4545"/>
                      </a:lnTo>
                      <a:lnTo>
                        <a:pt x="4486" y="6758"/>
                      </a:lnTo>
                      <a:lnTo>
                        <a:pt x="2153" y="9031"/>
                      </a:lnTo>
                      <a:lnTo>
                        <a:pt x="1076" y="10048"/>
                      </a:lnTo>
                      <a:lnTo>
                        <a:pt x="0" y="11064"/>
                      </a:lnTo>
                      <a:lnTo>
                        <a:pt x="2273" y="12380"/>
                      </a:lnTo>
                      <a:lnTo>
                        <a:pt x="2751" y="12679"/>
                      </a:lnTo>
                    </a:path>
                  </a:pathLst>
                </a:custGeom>
                <a:noFill/>
                <a:ln w="6350" cap="rnd">
                  <a:solidFill>
                    <a:schemeClr val="bg1">
                      <a:alpha val="40000"/>
                    </a:schemeClr>
                  </a:solidFill>
                  <a:prstDash val="solid"/>
                  <a:round/>
                </a:ln>
              </p:spPr>
              <p:txBody>
                <a:bodyPr rtlCol="0" anchor="ctr"/>
                <a:lstStyle/>
                <a:p>
                  <a:endParaRPr lang="en-GB"/>
                </a:p>
              </p:txBody>
            </p:sp>
            <p:sp>
              <p:nvSpPr>
                <p:cNvPr id="5465" name="Vrije vorm: vorm 5464">
                  <a:extLst>
                    <a:ext uri="{FF2B5EF4-FFF2-40B4-BE49-F238E27FC236}">
                      <a16:creationId xmlns:a16="http://schemas.microsoft.com/office/drawing/2014/main" id="{A0D572C7-CE0A-464B-A623-339852EC2180}"/>
                    </a:ext>
                  </a:extLst>
                </p:cNvPr>
                <p:cNvSpPr/>
                <p:nvPr/>
              </p:nvSpPr>
              <p:spPr>
                <a:xfrm>
                  <a:off x="6470443" y="1660049"/>
                  <a:ext cx="8193" cy="6100"/>
                </a:xfrm>
                <a:custGeom>
                  <a:avLst/>
                  <a:gdLst>
                    <a:gd name="connsiteX0" fmla="*/ 8194 w 8193"/>
                    <a:gd name="connsiteY0" fmla="*/ 1136 h 6100"/>
                    <a:gd name="connsiteX1" fmla="*/ 6280 w 8193"/>
                    <a:gd name="connsiteY1" fmla="*/ 0 h 6100"/>
                    <a:gd name="connsiteX2" fmla="*/ 3947 w 8193"/>
                    <a:gd name="connsiteY2" fmla="*/ 2273 h 6100"/>
                    <a:gd name="connsiteX3" fmla="*/ 2273 w 8193"/>
                    <a:gd name="connsiteY3" fmla="*/ 3947 h 6100"/>
                    <a:gd name="connsiteX4" fmla="*/ 0 w 8193"/>
                    <a:gd name="connsiteY4" fmla="*/ 6100 h 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3" h="6100">
                      <a:moveTo>
                        <a:pt x="8194" y="1136"/>
                      </a:moveTo>
                      <a:lnTo>
                        <a:pt x="6280" y="0"/>
                      </a:lnTo>
                      <a:lnTo>
                        <a:pt x="3947" y="2273"/>
                      </a:lnTo>
                      <a:lnTo>
                        <a:pt x="2273" y="3947"/>
                      </a:lnTo>
                      <a:lnTo>
                        <a:pt x="0" y="6100"/>
                      </a:lnTo>
                    </a:path>
                  </a:pathLst>
                </a:custGeom>
                <a:noFill/>
                <a:ln w="6350" cap="rnd">
                  <a:solidFill>
                    <a:schemeClr val="bg1">
                      <a:alpha val="40000"/>
                    </a:schemeClr>
                  </a:solidFill>
                  <a:prstDash val="solid"/>
                  <a:round/>
                </a:ln>
              </p:spPr>
              <p:txBody>
                <a:bodyPr rtlCol="0" anchor="ctr"/>
                <a:lstStyle/>
                <a:p>
                  <a:endParaRPr lang="en-GB"/>
                </a:p>
              </p:txBody>
            </p:sp>
            <p:sp>
              <p:nvSpPr>
                <p:cNvPr id="5466" name="Vrije vorm: vorm 5465">
                  <a:extLst>
                    <a:ext uri="{FF2B5EF4-FFF2-40B4-BE49-F238E27FC236}">
                      <a16:creationId xmlns:a16="http://schemas.microsoft.com/office/drawing/2014/main" id="{08F6967C-1A11-4900-9F9B-EC3E1C6D2744}"/>
                    </a:ext>
                  </a:extLst>
                </p:cNvPr>
                <p:cNvSpPr/>
                <p:nvPr/>
              </p:nvSpPr>
              <p:spPr>
                <a:xfrm>
                  <a:off x="6469307" y="1673506"/>
                  <a:ext cx="1495" cy="4784"/>
                </a:xfrm>
                <a:custGeom>
                  <a:avLst/>
                  <a:gdLst>
                    <a:gd name="connsiteX0" fmla="*/ 1495 w 1495"/>
                    <a:gd name="connsiteY0" fmla="*/ 4785 h 4784"/>
                    <a:gd name="connsiteX1" fmla="*/ 1375 w 1495"/>
                    <a:gd name="connsiteY1" fmla="*/ 4127 h 4784"/>
                    <a:gd name="connsiteX2" fmla="*/ 1076 w 1495"/>
                    <a:gd name="connsiteY2" fmla="*/ 2572 h 4784"/>
                    <a:gd name="connsiteX3" fmla="*/ 419 w 1495"/>
                    <a:gd name="connsiteY3" fmla="*/ 2213 h 4784"/>
                    <a:gd name="connsiteX4" fmla="*/ 359 w 1495"/>
                    <a:gd name="connsiteY4" fmla="*/ 1794 h 4784"/>
                    <a:gd name="connsiteX5" fmla="*/ 359 w 1495"/>
                    <a:gd name="connsiteY5" fmla="*/ 1734 h 4784"/>
                    <a:gd name="connsiteX6" fmla="*/ 299 w 1495"/>
                    <a:gd name="connsiteY6" fmla="*/ 1495 h 4784"/>
                    <a:gd name="connsiteX7" fmla="*/ 180 w 1495"/>
                    <a:gd name="connsiteY7" fmla="*/ 897 h 4784"/>
                    <a:gd name="connsiteX8" fmla="*/ 0 w 1495"/>
                    <a:gd name="connsiteY8" fmla="*/ 0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 h="4784">
                      <a:moveTo>
                        <a:pt x="1495" y="4785"/>
                      </a:moveTo>
                      <a:lnTo>
                        <a:pt x="1375" y="4127"/>
                      </a:lnTo>
                      <a:lnTo>
                        <a:pt x="1076" y="2572"/>
                      </a:lnTo>
                      <a:lnTo>
                        <a:pt x="419" y="2213"/>
                      </a:lnTo>
                      <a:lnTo>
                        <a:pt x="359" y="1794"/>
                      </a:lnTo>
                      <a:lnTo>
                        <a:pt x="359" y="1734"/>
                      </a:lnTo>
                      <a:lnTo>
                        <a:pt x="299" y="1495"/>
                      </a:lnTo>
                      <a:lnTo>
                        <a:pt x="180" y="89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67" name="Vrije vorm: vorm 5466">
                  <a:extLst>
                    <a:ext uri="{FF2B5EF4-FFF2-40B4-BE49-F238E27FC236}">
                      <a16:creationId xmlns:a16="http://schemas.microsoft.com/office/drawing/2014/main" id="{97C1E307-0A66-40FD-93EF-F628A53F9BDC}"/>
                    </a:ext>
                  </a:extLst>
                </p:cNvPr>
                <p:cNvSpPr/>
                <p:nvPr/>
              </p:nvSpPr>
              <p:spPr>
                <a:xfrm>
                  <a:off x="6453458" y="1627993"/>
                  <a:ext cx="6219" cy="44735"/>
                </a:xfrm>
                <a:custGeom>
                  <a:avLst/>
                  <a:gdLst>
                    <a:gd name="connsiteX0" fmla="*/ 4844 w 6219"/>
                    <a:gd name="connsiteY0" fmla="*/ 0 h 44735"/>
                    <a:gd name="connsiteX1" fmla="*/ 2572 w 6219"/>
                    <a:gd name="connsiteY1" fmla="*/ 2332 h 44735"/>
                    <a:gd name="connsiteX2" fmla="*/ 2213 w 6219"/>
                    <a:gd name="connsiteY2" fmla="*/ 2691 h 44735"/>
                    <a:gd name="connsiteX3" fmla="*/ 1854 w 6219"/>
                    <a:gd name="connsiteY3" fmla="*/ 3050 h 44735"/>
                    <a:gd name="connsiteX4" fmla="*/ 1555 w 6219"/>
                    <a:gd name="connsiteY4" fmla="*/ 3469 h 44735"/>
                    <a:gd name="connsiteX5" fmla="*/ 1256 w 6219"/>
                    <a:gd name="connsiteY5" fmla="*/ 3888 h 44735"/>
                    <a:gd name="connsiteX6" fmla="*/ 957 w 6219"/>
                    <a:gd name="connsiteY6" fmla="*/ 4366 h 44735"/>
                    <a:gd name="connsiteX7" fmla="*/ 718 w 6219"/>
                    <a:gd name="connsiteY7" fmla="*/ 4844 h 44735"/>
                    <a:gd name="connsiteX8" fmla="*/ 478 w 6219"/>
                    <a:gd name="connsiteY8" fmla="*/ 5323 h 44735"/>
                    <a:gd name="connsiteX9" fmla="*/ 299 w 6219"/>
                    <a:gd name="connsiteY9" fmla="*/ 5801 h 44735"/>
                    <a:gd name="connsiteX10" fmla="*/ 179 w 6219"/>
                    <a:gd name="connsiteY10" fmla="*/ 6280 h 44735"/>
                    <a:gd name="connsiteX11" fmla="*/ 60 w 6219"/>
                    <a:gd name="connsiteY11" fmla="*/ 6698 h 44735"/>
                    <a:gd name="connsiteX12" fmla="*/ 0 w 6219"/>
                    <a:gd name="connsiteY12" fmla="*/ 7117 h 44735"/>
                    <a:gd name="connsiteX13" fmla="*/ 0 w 6219"/>
                    <a:gd name="connsiteY13" fmla="*/ 7476 h 44735"/>
                    <a:gd name="connsiteX14" fmla="*/ 0 w 6219"/>
                    <a:gd name="connsiteY14" fmla="*/ 7835 h 44735"/>
                    <a:gd name="connsiteX15" fmla="*/ 478 w 6219"/>
                    <a:gd name="connsiteY15" fmla="*/ 10945 h 44735"/>
                    <a:gd name="connsiteX16" fmla="*/ 957 w 6219"/>
                    <a:gd name="connsiteY16" fmla="*/ 14055 h 44735"/>
                    <a:gd name="connsiteX17" fmla="*/ 1435 w 6219"/>
                    <a:gd name="connsiteY17" fmla="*/ 16985 h 44735"/>
                    <a:gd name="connsiteX18" fmla="*/ 1914 w 6219"/>
                    <a:gd name="connsiteY18" fmla="*/ 20095 h 44735"/>
                    <a:gd name="connsiteX19" fmla="*/ 2392 w 6219"/>
                    <a:gd name="connsiteY19" fmla="*/ 23205 h 44735"/>
                    <a:gd name="connsiteX20" fmla="*/ 2871 w 6219"/>
                    <a:gd name="connsiteY20" fmla="*/ 26315 h 44735"/>
                    <a:gd name="connsiteX21" fmla="*/ 3349 w 6219"/>
                    <a:gd name="connsiteY21" fmla="*/ 29425 h 44735"/>
                    <a:gd name="connsiteX22" fmla="*/ 3827 w 6219"/>
                    <a:gd name="connsiteY22" fmla="*/ 32535 h 44735"/>
                    <a:gd name="connsiteX23" fmla="*/ 4306 w 6219"/>
                    <a:gd name="connsiteY23" fmla="*/ 35645 h 44735"/>
                    <a:gd name="connsiteX24" fmla="*/ 4785 w 6219"/>
                    <a:gd name="connsiteY24" fmla="*/ 38755 h 44735"/>
                    <a:gd name="connsiteX25" fmla="*/ 4964 w 6219"/>
                    <a:gd name="connsiteY25" fmla="*/ 40011 h 44735"/>
                    <a:gd name="connsiteX26" fmla="*/ 5083 w 6219"/>
                    <a:gd name="connsiteY26" fmla="*/ 40908 h 44735"/>
                    <a:gd name="connsiteX27" fmla="*/ 5203 w 6219"/>
                    <a:gd name="connsiteY27" fmla="*/ 41686 h 44735"/>
                    <a:gd name="connsiteX28" fmla="*/ 6220 w 6219"/>
                    <a:gd name="connsiteY28" fmla="*/ 44616 h 44735"/>
                    <a:gd name="connsiteX29" fmla="*/ 6220 w 6219"/>
                    <a:gd name="connsiteY29" fmla="*/ 44676 h 44735"/>
                    <a:gd name="connsiteX30" fmla="*/ 6220 w 6219"/>
                    <a:gd name="connsiteY30" fmla="*/ 44736 h 44735"/>
                    <a:gd name="connsiteX31" fmla="*/ 6220 w 6219"/>
                    <a:gd name="connsiteY31" fmla="*/ 44676 h 44735"/>
                    <a:gd name="connsiteX32" fmla="*/ 5741 w 6219"/>
                    <a:gd name="connsiteY32" fmla="*/ 41566 h 44735"/>
                    <a:gd name="connsiteX33" fmla="*/ 5562 w 6219"/>
                    <a:gd name="connsiteY33" fmla="*/ 40490 h 44735"/>
                    <a:gd name="connsiteX34" fmla="*/ 5083 w 6219"/>
                    <a:gd name="connsiteY34" fmla="*/ 37380 h 44735"/>
                    <a:gd name="connsiteX35" fmla="*/ 4605 w 6219"/>
                    <a:gd name="connsiteY35" fmla="*/ 34270 h 44735"/>
                    <a:gd name="connsiteX36" fmla="*/ 4127 w 6219"/>
                    <a:gd name="connsiteY36" fmla="*/ 31160 h 44735"/>
                    <a:gd name="connsiteX37" fmla="*/ 3648 w 6219"/>
                    <a:gd name="connsiteY37" fmla="*/ 28050 h 44735"/>
                    <a:gd name="connsiteX38" fmla="*/ 3170 w 6219"/>
                    <a:gd name="connsiteY38" fmla="*/ 24940 h 44735"/>
                    <a:gd name="connsiteX39" fmla="*/ 2691 w 6219"/>
                    <a:gd name="connsiteY39" fmla="*/ 21830 h 44735"/>
                    <a:gd name="connsiteX40" fmla="*/ 2213 w 6219"/>
                    <a:gd name="connsiteY40" fmla="*/ 18720 h 44735"/>
                    <a:gd name="connsiteX41" fmla="*/ 2093 w 6219"/>
                    <a:gd name="connsiteY41" fmla="*/ 17823 h 44735"/>
                    <a:gd name="connsiteX42" fmla="*/ 1615 w 6219"/>
                    <a:gd name="connsiteY42" fmla="*/ 14713 h 44735"/>
                    <a:gd name="connsiteX43" fmla="*/ 1136 w 6219"/>
                    <a:gd name="connsiteY43" fmla="*/ 11603 h 44735"/>
                    <a:gd name="connsiteX44" fmla="*/ 658 w 6219"/>
                    <a:gd name="connsiteY44" fmla="*/ 8493 h 44735"/>
                    <a:gd name="connsiteX45" fmla="*/ 598 w 6219"/>
                    <a:gd name="connsiteY45" fmla="*/ 8194 h 44735"/>
                    <a:gd name="connsiteX46" fmla="*/ 598 w 6219"/>
                    <a:gd name="connsiteY46" fmla="*/ 7835 h 44735"/>
                    <a:gd name="connsiteX47" fmla="*/ 598 w 6219"/>
                    <a:gd name="connsiteY47" fmla="*/ 7476 h 44735"/>
                    <a:gd name="connsiteX48" fmla="*/ 658 w 6219"/>
                    <a:gd name="connsiteY48" fmla="*/ 7057 h 44735"/>
                    <a:gd name="connsiteX49" fmla="*/ 777 w 6219"/>
                    <a:gd name="connsiteY49" fmla="*/ 6639 h 44735"/>
                    <a:gd name="connsiteX50" fmla="*/ 897 w 6219"/>
                    <a:gd name="connsiteY50" fmla="*/ 6160 h 44735"/>
                    <a:gd name="connsiteX51" fmla="*/ 1076 w 6219"/>
                    <a:gd name="connsiteY51" fmla="*/ 5682 h 44735"/>
                    <a:gd name="connsiteX52" fmla="*/ 1316 w 6219"/>
                    <a:gd name="connsiteY52" fmla="*/ 5203 h 44735"/>
                    <a:gd name="connsiteX53" fmla="*/ 1555 w 6219"/>
                    <a:gd name="connsiteY53" fmla="*/ 4725 h 44735"/>
                    <a:gd name="connsiteX54" fmla="*/ 1854 w 6219"/>
                    <a:gd name="connsiteY54" fmla="*/ 4246 h 44735"/>
                    <a:gd name="connsiteX55" fmla="*/ 2153 w 6219"/>
                    <a:gd name="connsiteY55" fmla="*/ 3828 h 44735"/>
                    <a:gd name="connsiteX56" fmla="*/ 2452 w 6219"/>
                    <a:gd name="connsiteY56" fmla="*/ 3409 h 44735"/>
                    <a:gd name="connsiteX57" fmla="*/ 2811 w 6219"/>
                    <a:gd name="connsiteY57" fmla="*/ 3050 h 44735"/>
                    <a:gd name="connsiteX58" fmla="*/ 5083 w 6219"/>
                    <a:gd name="connsiteY58" fmla="*/ 718 h 44735"/>
                    <a:gd name="connsiteX59" fmla="*/ 5442 w 6219"/>
                    <a:gd name="connsiteY59" fmla="*/ 359 h 4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219" h="44735">
                      <a:moveTo>
                        <a:pt x="4844" y="0"/>
                      </a:moveTo>
                      <a:lnTo>
                        <a:pt x="2572" y="2332"/>
                      </a:lnTo>
                      <a:lnTo>
                        <a:pt x="2213" y="2691"/>
                      </a:lnTo>
                      <a:lnTo>
                        <a:pt x="1854" y="3050"/>
                      </a:lnTo>
                      <a:lnTo>
                        <a:pt x="1555" y="3469"/>
                      </a:lnTo>
                      <a:lnTo>
                        <a:pt x="1256" y="3888"/>
                      </a:lnTo>
                      <a:lnTo>
                        <a:pt x="957" y="4366"/>
                      </a:lnTo>
                      <a:lnTo>
                        <a:pt x="718" y="4844"/>
                      </a:lnTo>
                      <a:lnTo>
                        <a:pt x="478" y="5323"/>
                      </a:lnTo>
                      <a:lnTo>
                        <a:pt x="299" y="5801"/>
                      </a:lnTo>
                      <a:lnTo>
                        <a:pt x="179" y="6280"/>
                      </a:lnTo>
                      <a:lnTo>
                        <a:pt x="60" y="6698"/>
                      </a:lnTo>
                      <a:lnTo>
                        <a:pt x="0" y="7117"/>
                      </a:lnTo>
                      <a:lnTo>
                        <a:pt x="0" y="7476"/>
                      </a:lnTo>
                      <a:lnTo>
                        <a:pt x="0" y="7835"/>
                      </a:lnTo>
                      <a:lnTo>
                        <a:pt x="478" y="10945"/>
                      </a:lnTo>
                      <a:lnTo>
                        <a:pt x="957" y="14055"/>
                      </a:lnTo>
                      <a:lnTo>
                        <a:pt x="1435" y="16985"/>
                      </a:lnTo>
                      <a:lnTo>
                        <a:pt x="1914" y="20095"/>
                      </a:lnTo>
                      <a:lnTo>
                        <a:pt x="2392" y="23205"/>
                      </a:lnTo>
                      <a:lnTo>
                        <a:pt x="2871" y="26315"/>
                      </a:lnTo>
                      <a:lnTo>
                        <a:pt x="3349" y="29425"/>
                      </a:lnTo>
                      <a:lnTo>
                        <a:pt x="3827" y="32535"/>
                      </a:lnTo>
                      <a:lnTo>
                        <a:pt x="4306" y="35645"/>
                      </a:lnTo>
                      <a:lnTo>
                        <a:pt x="4785" y="38755"/>
                      </a:lnTo>
                      <a:lnTo>
                        <a:pt x="4964" y="40011"/>
                      </a:lnTo>
                      <a:lnTo>
                        <a:pt x="5083" y="40908"/>
                      </a:lnTo>
                      <a:lnTo>
                        <a:pt x="5203" y="41686"/>
                      </a:lnTo>
                      <a:lnTo>
                        <a:pt x="6220" y="44616"/>
                      </a:lnTo>
                      <a:lnTo>
                        <a:pt x="6220" y="44676"/>
                      </a:lnTo>
                      <a:lnTo>
                        <a:pt x="6220" y="44736"/>
                      </a:lnTo>
                      <a:lnTo>
                        <a:pt x="6220" y="44676"/>
                      </a:lnTo>
                      <a:lnTo>
                        <a:pt x="5741" y="41566"/>
                      </a:lnTo>
                      <a:lnTo>
                        <a:pt x="5562" y="40490"/>
                      </a:lnTo>
                      <a:lnTo>
                        <a:pt x="5083" y="37380"/>
                      </a:lnTo>
                      <a:lnTo>
                        <a:pt x="4605" y="34270"/>
                      </a:lnTo>
                      <a:lnTo>
                        <a:pt x="4127" y="31160"/>
                      </a:lnTo>
                      <a:lnTo>
                        <a:pt x="3648" y="28050"/>
                      </a:lnTo>
                      <a:lnTo>
                        <a:pt x="3170" y="24940"/>
                      </a:lnTo>
                      <a:lnTo>
                        <a:pt x="2691" y="21830"/>
                      </a:lnTo>
                      <a:lnTo>
                        <a:pt x="2213" y="18720"/>
                      </a:lnTo>
                      <a:lnTo>
                        <a:pt x="2093" y="17823"/>
                      </a:lnTo>
                      <a:lnTo>
                        <a:pt x="1615" y="14713"/>
                      </a:lnTo>
                      <a:lnTo>
                        <a:pt x="1136" y="11603"/>
                      </a:lnTo>
                      <a:lnTo>
                        <a:pt x="658" y="8493"/>
                      </a:lnTo>
                      <a:lnTo>
                        <a:pt x="598" y="8194"/>
                      </a:lnTo>
                      <a:lnTo>
                        <a:pt x="598" y="7835"/>
                      </a:lnTo>
                      <a:lnTo>
                        <a:pt x="598" y="7476"/>
                      </a:lnTo>
                      <a:lnTo>
                        <a:pt x="658" y="7057"/>
                      </a:lnTo>
                      <a:lnTo>
                        <a:pt x="777" y="6639"/>
                      </a:lnTo>
                      <a:lnTo>
                        <a:pt x="897" y="6160"/>
                      </a:lnTo>
                      <a:lnTo>
                        <a:pt x="1076" y="5682"/>
                      </a:lnTo>
                      <a:lnTo>
                        <a:pt x="1316" y="5203"/>
                      </a:lnTo>
                      <a:lnTo>
                        <a:pt x="1555" y="4725"/>
                      </a:lnTo>
                      <a:lnTo>
                        <a:pt x="1854" y="4246"/>
                      </a:lnTo>
                      <a:lnTo>
                        <a:pt x="2153" y="3828"/>
                      </a:lnTo>
                      <a:lnTo>
                        <a:pt x="2452" y="3409"/>
                      </a:lnTo>
                      <a:lnTo>
                        <a:pt x="2811" y="3050"/>
                      </a:lnTo>
                      <a:lnTo>
                        <a:pt x="5083" y="718"/>
                      </a:lnTo>
                      <a:lnTo>
                        <a:pt x="5442" y="359"/>
                      </a:lnTo>
                    </a:path>
                  </a:pathLst>
                </a:custGeom>
                <a:noFill/>
                <a:ln w="6350" cap="rnd">
                  <a:solidFill>
                    <a:schemeClr val="bg1">
                      <a:alpha val="40000"/>
                    </a:schemeClr>
                  </a:solidFill>
                  <a:prstDash val="solid"/>
                  <a:round/>
                </a:ln>
              </p:spPr>
              <p:txBody>
                <a:bodyPr rtlCol="0" anchor="ctr"/>
                <a:lstStyle/>
                <a:p>
                  <a:endParaRPr lang="en-GB"/>
                </a:p>
              </p:txBody>
            </p:sp>
            <p:sp>
              <p:nvSpPr>
                <p:cNvPr id="5468" name="Vrije vorm: vorm 5467">
                  <a:extLst>
                    <a:ext uri="{FF2B5EF4-FFF2-40B4-BE49-F238E27FC236}">
                      <a16:creationId xmlns:a16="http://schemas.microsoft.com/office/drawing/2014/main" id="{F9AD09D7-6F7F-432A-A1AF-CA139A67ACA0}"/>
                    </a:ext>
                  </a:extLst>
                </p:cNvPr>
                <p:cNvSpPr/>
                <p:nvPr/>
              </p:nvSpPr>
              <p:spPr>
                <a:xfrm>
                  <a:off x="6480789" y="1644320"/>
                  <a:ext cx="1734" cy="6100"/>
                </a:xfrm>
                <a:custGeom>
                  <a:avLst/>
                  <a:gdLst>
                    <a:gd name="connsiteX0" fmla="*/ 1735 w 1734"/>
                    <a:gd name="connsiteY0" fmla="*/ 6100 h 6100"/>
                    <a:gd name="connsiteX1" fmla="*/ 658 w 1734"/>
                    <a:gd name="connsiteY1" fmla="*/ 3230 h 6100"/>
                    <a:gd name="connsiteX2" fmla="*/ 598 w 1734"/>
                    <a:gd name="connsiteY2" fmla="*/ 3110 h 6100"/>
                    <a:gd name="connsiteX3" fmla="*/ 0 w 1734"/>
                    <a:gd name="connsiteY3" fmla="*/ 0 h 6100"/>
                  </a:gdLst>
                  <a:ahLst/>
                  <a:cxnLst>
                    <a:cxn ang="0">
                      <a:pos x="connsiteX0" y="connsiteY0"/>
                    </a:cxn>
                    <a:cxn ang="0">
                      <a:pos x="connsiteX1" y="connsiteY1"/>
                    </a:cxn>
                    <a:cxn ang="0">
                      <a:pos x="connsiteX2" y="connsiteY2"/>
                    </a:cxn>
                    <a:cxn ang="0">
                      <a:pos x="connsiteX3" y="connsiteY3"/>
                    </a:cxn>
                  </a:cxnLst>
                  <a:rect l="l" t="t" r="r" b="b"/>
                  <a:pathLst>
                    <a:path w="1734" h="6100">
                      <a:moveTo>
                        <a:pt x="1735" y="6100"/>
                      </a:moveTo>
                      <a:lnTo>
                        <a:pt x="658" y="3230"/>
                      </a:lnTo>
                      <a:lnTo>
                        <a:pt x="598" y="311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69" name="Vrije vorm: vorm 5468">
                  <a:extLst>
                    <a:ext uri="{FF2B5EF4-FFF2-40B4-BE49-F238E27FC236}">
                      <a16:creationId xmlns:a16="http://schemas.microsoft.com/office/drawing/2014/main" id="{F424F953-01AF-4DAD-A436-2E3DCE738071}"/>
                    </a:ext>
                  </a:extLst>
                </p:cNvPr>
                <p:cNvSpPr/>
                <p:nvPr/>
              </p:nvSpPr>
              <p:spPr>
                <a:xfrm>
                  <a:off x="6501184" y="1699343"/>
                  <a:ext cx="3648" cy="7595"/>
                </a:xfrm>
                <a:custGeom>
                  <a:avLst/>
                  <a:gdLst>
                    <a:gd name="connsiteX0" fmla="*/ 3648 w 3648"/>
                    <a:gd name="connsiteY0" fmla="*/ 7595 h 7595"/>
                    <a:gd name="connsiteX1" fmla="*/ 3648 w 3648"/>
                    <a:gd name="connsiteY1" fmla="*/ 7356 h 7595"/>
                    <a:gd name="connsiteX2" fmla="*/ 3648 w 3648"/>
                    <a:gd name="connsiteY2" fmla="*/ 7057 h 7595"/>
                    <a:gd name="connsiteX3" fmla="*/ 3469 w 3648"/>
                    <a:gd name="connsiteY3" fmla="*/ 4844 h 7595"/>
                    <a:gd name="connsiteX4" fmla="*/ 3289 w 3648"/>
                    <a:gd name="connsiteY4" fmla="*/ 2093 h 7595"/>
                    <a:gd name="connsiteX5" fmla="*/ 3110 w 3648"/>
                    <a:gd name="connsiteY5" fmla="*/ 0 h 7595"/>
                    <a:gd name="connsiteX6" fmla="*/ 718 w 3648"/>
                    <a:gd name="connsiteY6" fmla="*/ 2153 h 7595"/>
                    <a:gd name="connsiteX7" fmla="*/ 0 w 3648"/>
                    <a:gd name="connsiteY7" fmla="*/ 2811 h 7595"/>
                    <a:gd name="connsiteX8" fmla="*/ 0 w 3648"/>
                    <a:gd name="connsiteY8" fmla="*/ 2811 h 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8" h="7595">
                      <a:moveTo>
                        <a:pt x="3648" y="7595"/>
                      </a:moveTo>
                      <a:lnTo>
                        <a:pt x="3648" y="7356"/>
                      </a:lnTo>
                      <a:lnTo>
                        <a:pt x="3648" y="7057"/>
                      </a:lnTo>
                      <a:lnTo>
                        <a:pt x="3469" y="4844"/>
                      </a:lnTo>
                      <a:lnTo>
                        <a:pt x="3289" y="2093"/>
                      </a:lnTo>
                      <a:lnTo>
                        <a:pt x="3110" y="0"/>
                      </a:lnTo>
                      <a:lnTo>
                        <a:pt x="718" y="2153"/>
                      </a:lnTo>
                      <a:lnTo>
                        <a:pt x="0" y="2811"/>
                      </a:lnTo>
                      <a:lnTo>
                        <a:pt x="0" y="2811"/>
                      </a:lnTo>
                    </a:path>
                  </a:pathLst>
                </a:custGeom>
                <a:noFill/>
                <a:ln w="6350" cap="rnd">
                  <a:solidFill>
                    <a:schemeClr val="bg1">
                      <a:alpha val="40000"/>
                    </a:schemeClr>
                  </a:solidFill>
                  <a:prstDash val="solid"/>
                  <a:round/>
                </a:ln>
              </p:spPr>
              <p:txBody>
                <a:bodyPr rtlCol="0" anchor="ctr"/>
                <a:lstStyle/>
                <a:p>
                  <a:endParaRPr lang="en-GB"/>
                </a:p>
              </p:txBody>
            </p:sp>
            <p:sp>
              <p:nvSpPr>
                <p:cNvPr id="5470" name="Vrije vorm: vorm 5469">
                  <a:extLst>
                    <a:ext uri="{FF2B5EF4-FFF2-40B4-BE49-F238E27FC236}">
                      <a16:creationId xmlns:a16="http://schemas.microsoft.com/office/drawing/2014/main" id="{6479DBBB-88D7-41A5-B018-EBB0901716A7}"/>
                    </a:ext>
                  </a:extLst>
                </p:cNvPr>
                <p:cNvSpPr/>
                <p:nvPr/>
              </p:nvSpPr>
              <p:spPr>
                <a:xfrm>
                  <a:off x="6458900" y="1609392"/>
                  <a:ext cx="10645" cy="18958"/>
                </a:xfrm>
                <a:custGeom>
                  <a:avLst/>
                  <a:gdLst>
                    <a:gd name="connsiteX0" fmla="*/ 0 w 10645"/>
                    <a:gd name="connsiteY0" fmla="*/ 18959 h 18958"/>
                    <a:gd name="connsiteX1" fmla="*/ 2273 w 10645"/>
                    <a:gd name="connsiteY1" fmla="*/ 16626 h 18958"/>
                    <a:gd name="connsiteX2" fmla="*/ 2392 w 10645"/>
                    <a:gd name="connsiteY2" fmla="*/ 16507 h 18958"/>
                    <a:gd name="connsiteX3" fmla="*/ 3170 w 10645"/>
                    <a:gd name="connsiteY3" fmla="*/ 15729 h 18958"/>
                    <a:gd name="connsiteX4" fmla="*/ 4486 w 10645"/>
                    <a:gd name="connsiteY4" fmla="*/ 14414 h 18958"/>
                    <a:gd name="connsiteX5" fmla="*/ 6758 w 10645"/>
                    <a:gd name="connsiteY5" fmla="*/ 12081 h 18958"/>
                    <a:gd name="connsiteX6" fmla="*/ 9031 w 10645"/>
                    <a:gd name="connsiteY6" fmla="*/ 9749 h 18958"/>
                    <a:gd name="connsiteX7" fmla="*/ 9569 w 10645"/>
                    <a:gd name="connsiteY7" fmla="*/ 9210 h 18958"/>
                    <a:gd name="connsiteX8" fmla="*/ 10646 w 10645"/>
                    <a:gd name="connsiteY8" fmla="*/ 8134 h 18958"/>
                    <a:gd name="connsiteX9" fmla="*/ 10048 w 10645"/>
                    <a:gd name="connsiteY9" fmla="*/ 7715 h 18958"/>
                    <a:gd name="connsiteX10" fmla="*/ 9808 w 10645"/>
                    <a:gd name="connsiteY10" fmla="*/ 6579 h 18958"/>
                    <a:gd name="connsiteX11" fmla="*/ 9749 w 10645"/>
                    <a:gd name="connsiteY11" fmla="*/ 6220 h 18958"/>
                    <a:gd name="connsiteX12" fmla="*/ 9151 w 10645"/>
                    <a:gd name="connsiteY12" fmla="*/ 3170 h 18958"/>
                    <a:gd name="connsiteX13" fmla="*/ 8911 w 10645"/>
                    <a:gd name="connsiteY13" fmla="*/ 1794 h 18958"/>
                    <a:gd name="connsiteX14" fmla="*/ 8552 w 10645"/>
                    <a:gd name="connsiteY14" fmla="*/ 0 h 1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45" h="18958">
                      <a:moveTo>
                        <a:pt x="0" y="18959"/>
                      </a:moveTo>
                      <a:lnTo>
                        <a:pt x="2273" y="16626"/>
                      </a:lnTo>
                      <a:lnTo>
                        <a:pt x="2392" y="16507"/>
                      </a:lnTo>
                      <a:lnTo>
                        <a:pt x="3170" y="15729"/>
                      </a:lnTo>
                      <a:lnTo>
                        <a:pt x="4486" y="14414"/>
                      </a:lnTo>
                      <a:lnTo>
                        <a:pt x="6758" y="12081"/>
                      </a:lnTo>
                      <a:lnTo>
                        <a:pt x="9031" y="9749"/>
                      </a:lnTo>
                      <a:lnTo>
                        <a:pt x="9569" y="9210"/>
                      </a:lnTo>
                      <a:lnTo>
                        <a:pt x="10646" y="8134"/>
                      </a:lnTo>
                      <a:lnTo>
                        <a:pt x="10048" y="7715"/>
                      </a:lnTo>
                      <a:lnTo>
                        <a:pt x="9808" y="6579"/>
                      </a:lnTo>
                      <a:lnTo>
                        <a:pt x="9749" y="6220"/>
                      </a:lnTo>
                      <a:lnTo>
                        <a:pt x="9151" y="3170"/>
                      </a:lnTo>
                      <a:lnTo>
                        <a:pt x="8911" y="1794"/>
                      </a:lnTo>
                      <a:lnTo>
                        <a:pt x="8552" y="0"/>
                      </a:lnTo>
                    </a:path>
                  </a:pathLst>
                </a:custGeom>
                <a:noFill/>
                <a:ln w="6350" cap="rnd">
                  <a:solidFill>
                    <a:schemeClr val="bg1">
                      <a:alpha val="40000"/>
                    </a:schemeClr>
                  </a:solidFill>
                  <a:prstDash val="solid"/>
                  <a:round/>
                </a:ln>
              </p:spPr>
              <p:txBody>
                <a:bodyPr rtlCol="0" anchor="ctr"/>
                <a:lstStyle/>
                <a:p>
                  <a:endParaRPr lang="en-GB"/>
                </a:p>
              </p:txBody>
            </p:sp>
            <p:sp>
              <p:nvSpPr>
                <p:cNvPr id="5471" name="Vrije vorm: vorm 5470">
                  <a:extLst>
                    <a:ext uri="{FF2B5EF4-FFF2-40B4-BE49-F238E27FC236}">
                      <a16:creationId xmlns:a16="http://schemas.microsoft.com/office/drawing/2014/main" id="{C5A0817F-77F7-4594-912F-23FAAD8802BC}"/>
                    </a:ext>
                  </a:extLst>
                </p:cNvPr>
                <p:cNvSpPr/>
                <p:nvPr/>
              </p:nvSpPr>
              <p:spPr>
                <a:xfrm>
                  <a:off x="6519784" y="1695694"/>
                  <a:ext cx="21769" cy="13157"/>
                </a:xfrm>
                <a:custGeom>
                  <a:avLst/>
                  <a:gdLst>
                    <a:gd name="connsiteX0" fmla="*/ 21770 w 21769"/>
                    <a:gd name="connsiteY0" fmla="*/ 13158 h 13157"/>
                    <a:gd name="connsiteX1" fmla="*/ 19198 w 21769"/>
                    <a:gd name="connsiteY1" fmla="*/ 11603 h 13157"/>
                    <a:gd name="connsiteX2" fmla="*/ 16627 w 21769"/>
                    <a:gd name="connsiteY2" fmla="*/ 10048 h 13157"/>
                    <a:gd name="connsiteX3" fmla="*/ 14055 w 21769"/>
                    <a:gd name="connsiteY3" fmla="*/ 8493 h 13157"/>
                    <a:gd name="connsiteX4" fmla="*/ 11483 w 21769"/>
                    <a:gd name="connsiteY4" fmla="*/ 6938 h 13157"/>
                    <a:gd name="connsiteX5" fmla="*/ 8911 w 21769"/>
                    <a:gd name="connsiteY5" fmla="*/ 5383 h 13157"/>
                    <a:gd name="connsiteX6" fmla="*/ 6340 w 21769"/>
                    <a:gd name="connsiteY6" fmla="*/ 3828 h 13157"/>
                    <a:gd name="connsiteX7" fmla="*/ 5742 w 21769"/>
                    <a:gd name="connsiteY7" fmla="*/ 3469 h 13157"/>
                    <a:gd name="connsiteX8" fmla="*/ 3170 w 21769"/>
                    <a:gd name="connsiteY8" fmla="*/ 1914 h 13157"/>
                    <a:gd name="connsiteX9" fmla="*/ 2990 w 21769"/>
                    <a:gd name="connsiteY9" fmla="*/ 1794 h 13157"/>
                    <a:gd name="connsiteX10" fmla="*/ 1196 w 21769"/>
                    <a:gd name="connsiteY10" fmla="*/ 718 h 13157"/>
                    <a:gd name="connsiteX11" fmla="*/ 0 w 21769"/>
                    <a:gd name="connsiteY11" fmla="*/ 0 h 1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69" h="13157">
                      <a:moveTo>
                        <a:pt x="21770" y="13158"/>
                      </a:moveTo>
                      <a:lnTo>
                        <a:pt x="19198" y="11603"/>
                      </a:lnTo>
                      <a:lnTo>
                        <a:pt x="16627" y="10048"/>
                      </a:lnTo>
                      <a:lnTo>
                        <a:pt x="14055" y="8493"/>
                      </a:lnTo>
                      <a:lnTo>
                        <a:pt x="11483" y="6938"/>
                      </a:lnTo>
                      <a:lnTo>
                        <a:pt x="8911" y="5383"/>
                      </a:lnTo>
                      <a:lnTo>
                        <a:pt x="6340" y="3828"/>
                      </a:lnTo>
                      <a:lnTo>
                        <a:pt x="5742" y="3469"/>
                      </a:lnTo>
                      <a:lnTo>
                        <a:pt x="3170" y="1914"/>
                      </a:lnTo>
                      <a:lnTo>
                        <a:pt x="2990" y="1794"/>
                      </a:lnTo>
                      <a:lnTo>
                        <a:pt x="1196" y="71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72" name="Vrije vorm: vorm 5471">
                  <a:extLst>
                    <a:ext uri="{FF2B5EF4-FFF2-40B4-BE49-F238E27FC236}">
                      <a16:creationId xmlns:a16="http://schemas.microsoft.com/office/drawing/2014/main" id="{A722B0C9-0883-4945-94CC-25033DF04EAC}"/>
                    </a:ext>
                  </a:extLst>
                </p:cNvPr>
                <p:cNvSpPr/>
                <p:nvPr/>
              </p:nvSpPr>
              <p:spPr>
                <a:xfrm>
                  <a:off x="6532523" y="1675360"/>
                  <a:ext cx="9270" cy="33432"/>
                </a:xfrm>
                <a:custGeom>
                  <a:avLst/>
                  <a:gdLst>
                    <a:gd name="connsiteX0" fmla="*/ 0 w 9270"/>
                    <a:gd name="connsiteY0" fmla="*/ 0 h 33432"/>
                    <a:gd name="connsiteX1" fmla="*/ 837 w 9270"/>
                    <a:gd name="connsiteY1" fmla="*/ 2990 h 33432"/>
                    <a:gd name="connsiteX2" fmla="*/ 1675 w 9270"/>
                    <a:gd name="connsiteY2" fmla="*/ 5981 h 33432"/>
                    <a:gd name="connsiteX3" fmla="*/ 2512 w 9270"/>
                    <a:gd name="connsiteY3" fmla="*/ 8971 h 33432"/>
                    <a:gd name="connsiteX4" fmla="*/ 3349 w 9270"/>
                    <a:gd name="connsiteY4" fmla="*/ 11961 h 33432"/>
                    <a:gd name="connsiteX5" fmla="*/ 3588 w 9270"/>
                    <a:gd name="connsiteY5" fmla="*/ 12799 h 33432"/>
                    <a:gd name="connsiteX6" fmla="*/ 4246 w 9270"/>
                    <a:gd name="connsiteY6" fmla="*/ 15131 h 33432"/>
                    <a:gd name="connsiteX7" fmla="*/ 4366 w 9270"/>
                    <a:gd name="connsiteY7" fmla="*/ 15490 h 33432"/>
                    <a:gd name="connsiteX8" fmla="*/ 4904 w 9270"/>
                    <a:gd name="connsiteY8" fmla="*/ 17524 h 33432"/>
                    <a:gd name="connsiteX9" fmla="*/ 5742 w 9270"/>
                    <a:gd name="connsiteY9" fmla="*/ 20514 h 33432"/>
                    <a:gd name="connsiteX10" fmla="*/ 6579 w 9270"/>
                    <a:gd name="connsiteY10" fmla="*/ 23504 h 33432"/>
                    <a:gd name="connsiteX11" fmla="*/ 6818 w 9270"/>
                    <a:gd name="connsiteY11" fmla="*/ 24461 h 33432"/>
                    <a:gd name="connsiteX12" fmla="*/ 6878 w 9270"/>
                    <a:gd name="connsiteY12" fmla="*/ 24760 h 33432"/>
                    <a:gd name="connsiteX13" fmla="*/ 7715 w 9270"/>
                    <a:gd name="connsiteY13" fmla="*/ 27751 h 33432"/>
                    <a:gd name="connsiteX14" fmla="*/ 7775 w 9270"/>
                    <a:gd name="connsiteY14" fmla="*/ 27930 h 33432"/>
                    <a:gd name="connsiteX15" fmla="*/ 8612 w 9270"/>
                    <a:gd name="connsiteY15" fmla="*/ 30920 h 33432"/>
                    <a:gd name="connsiteX16" fmla="*/ 9031 w 9270"/>
                    <a:gd name="connsiteY16" fmla="*/ 32595 h 33432"/>
                    <a:gd name="connsiteX17" fmla="*/ 9270 w 9270"/>
                    <a:gd name="connsiteY17" fmla="*/ 33432 h 3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70" h="33432">
                      <a:moveTo>
                        <a:pt x="0" y="0"/>
                      </a:moveTo>
                      <a:lnTo>
                        <a:pt x="837" y="2990"/>
                      </a:lnTo>
                      <a:lnTo>
                        <a:pt x="1675" y="5981"/>
                      </a:lnTo>
                      <a:lnTo>
                        <a:pt x="2512" y="8971"/>
                      </a:lnTo>
                      <a:lnTo>
                        <a:pt x="3349" y="11961"/>
                      </a:lnTo>
                      <a:lnTo>
                        <a:pt x="3588" y="12799"/>
                      </a:lnTo>
                      <a:lnTo>
                        <a:pt x="4246" y="15131"/>
                      </a:lnTo>
                      <a:lnTo>
                        <a:pt x="4366" y="15490"/>
                      </a:lnTo>
                      <a:lnTo>
                        <a:pt x="4904" y="17524"/>
                      </a:lnTo>
                      <a:lnTo>
                        <a:pt x="5742" y="20514"/>
                      </a:lnTo>
                      <a:lnTo>
                        <a:pt x="6579" y="23504"/>
                      </a:lnTo>
                      <a:lnTo>
                        <a:pt x="6818" y="24461"/>
                      </a:lnTo>
                      <a:lnTo>
                        <a:pt x="6878" y="24760"/>
                      </a:lnTo>
                      <a:lnTo>
                        <a:pt x="7715" y="27751"/>
                      </a:lnTo>
                      <a:lnTo>
                        <a:pt x="7775" y="27930"/>
                      </a:lnTo>
                      <a:lnTo>
                        <a:pt x="8612" y="30920"/>
                      </a:lnTo>
                      <a:lnTo>
                        <a:pt x="9031" y="32595"/>
                      </a:lnTo>
                      <a:lnTo>
                        <a:pt x="9270" y="33432"/>
                      </a:lnTo>
                    </a:path>
                  </a:pathLst>
                </a:custGeom>
                <a:noFill/>
                <a:ln w="6350" cap="rnd">
                  <a:solidFill>
                    <a:schemeClr val="bg1">
                      <a:alpha val="40000"/>
                    </a:schemeClr>
                  </a:solidFill>
                  <a:prstDash val="solid"/>
                  <a:round/>
                </a:ln>
              </p:spPr>
              <p:txBody>
                <a:bodyPr rtlCol="0" anchor="ctr"/>
                <a:lstStyle/>
                <a:p>
                  <a:endParaRPr lang="en-GB"/>
                </a:p>
              </p:txBody>
            </p:sp>
            <p:sp>
              <p:nvSpPr>
                <p:cNvPr id="5473" name="Vrije vorm: vorm 5472">
                  <a:extLst>
                    <a:ext uri="{FF2B5EF4-FFF2-40B4-BE49-F238E27FC236}">
                      <a16:creationId xmlns:a16="http://schemas.microsoft.com/office/drawing/2014/main" id="{023CCF36-3C3E-4FBA-895F-AC6B87FC84C5}"/>
                    </a:ext>
                  </a:extLst>
                </p:cNvPr>
                <p:cNvSpPr/>
                <p:nvPr/>
              </p:nvSpPr>
              <p:spPr>
                <a:xfrm>
                  <a:off x="6486651" y="1558497"/>
                  <a:ext cx="7715" cy="32535"/>
                </a:xfrm>
                <a:custGeom>
                  <a:avLst/>
                  <a:gdLst>
                    <a:gd name="connsiteX0" fmla="*/ 0 w 7715"/>
                    <a:gd name="connsiteY0" fmla="*/ 0 h 32535"/>
                    <a:gd name="connsiteX1" fmla="*/ 718 w 7715"/>
                    <a:gd name="connsiteY1" fmla="*/ 3050 h 32535"/>
                    <a:gd name="connsiteX2" fmla="*/ 1435 w 7715"/>
                    <a:gd name="connsiteY2" fmla="*/ 6100 h 32535"/>
                    <a:gd name="connsiteX3" fmla="*/ 1615 w 7715"/>
                    <a:gd name="connsiteY3" fmla="*/ 6878 h 32535"/>
                    <a:gd name="connsiteX4" fmla="*/ 2033 w 7715"/>
                    <a:gd name="connsiteY4" fmla="*/ 8493 h 32535"/>
                    <a:gd name="connsiteX5" fmla="*/ 2452 w 7715"/>
                    <a:gd name="connsiteY5" fmla="*/ 10167 h 32535"/>
                    <a:gd name="connsiteX6" fmla="*/ 2452 w 7715"/>
                    <a:gd name="connsiteY6" fmla="*/ 10167 h 32535"/>
                    <a:gd name="connsiteX7" fmla="*/ 3050 w 7715"/>
                    <a:gd name="connsiteY7" fmla="*/ 12679 h 32535"/>
                    <a:gd name="connsiteX8" fmla="*/ 3229 w 7715"/>
                    <a:gd name="connsiteY8" fmla="*/ 13457 h 32535"/>
                    <a:gd name="connsiteX9" fmla="*/ 3349 w 7715"/>
                    <a:gd name="connsiteY9" fmla="*/ 13935 h 32535"/>
                    <a:gd name="connsiteX10" fmla="*/ 4067 w 7715"/>
                    <a:gd name="connsiteY10" fmla="*/ 16985 h 32535"/>
                    <a:gd name="connsiteX11" fmla="*/ 4366 w 7715"/>
                    <a:gd name="connsiteY11" fmla="*/ 18181 h 32535"/>
                    <a:gd name="connsiteX12" fmla="*/ 4665 w 7715"/>
                    <a:gd name="connsiteY12" fmla="*/ 19497 h 32535"/>
                    <a:gd name="connsiteX13" fmla="*/ 5382 w 7715"/>
                    <a:gd name="connsiteY13" fmla="*/ 22547 h 32535"/>
                    <a:gd name="connsiteX14" fmla="*/ 5622 w 7715"/>
                    <a:gd name="connsiteY14" fmla="*/ 23504 h 32535"/>
                    <a:gd name="connsiteX15" fmla="*/ 5921 w 7715"/>
                    <a:gd name="connsiteY15" fmla="*/ 24820 h 32535"/>
                    <a:gd name="connsiteX16" fmla="*/ 6399 w 7715"/>
                    <a:gd name="connsiteY16" fmla="*/ 26794 h 32535"/>
                    <a:gd name="connsiteX17" fmla="*/ 6399 w 7715"/>
                    <a:gd name="connsiteY17" fmla="*/ 26794 h 32535"/>
                    <a:gd name="connsiteX18" fmla="*/ 7117 w 7715"/>
                    <a:gd name="connsiteY18" fmla="*/ 29844 h 32535"/>
                    <a:gd name="connsiteX19" fmla="*/ 7236 w 7715"/>
                    <a:gd name="connsiteY19" fmla="*/ 30442 h 32535"/>
                    <a:gd name="connsiteX20" fmla="*/ 7296 w 7715"/>
                    <a:gd name="connsiteY20" fmla="*/ 30741 h 32535"/>
                    <a:gd name="connsiteX21" fmla="*/ 7296 w 7715"/>
                    <a:gd name="connsiteY21" fmla="*/ 30741 h 32535"/>
                    <a:gd name="connsiteX22" fmla="*/ 7416 w 7715"/>
                    <a:gd name="connsiteY22" fmla="*/ 31160 h 32535"/>
                    <a:gd name="connsiteX23" fmla="*/ 7715 w 7715"/>
                    <a:gd name="connsiteY23" fmla="*/ 32535 h 32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715" h="32535">
                      <a:moveTo>
                        <a:pt x="0" y="0"/>
                      </a:moveTo>
                      <a:lnTo>
                        <a:pt x="718" y="3050"/>
                      </a:lnTo>
                      <a:lnTo>
                        <a:pt x="1435" y="6100"/>
                      </a:lnTo>
                      <a:lnTo>
                        <a:pt x="1615" y="6878"/>
                      </a:lnTo>
                      <a:lnTo>
                        <a:pt x="2033" y="8493"/>
                      </a:lnTo>
                      <a:lnTo>
                        <a:pt x="2452" y="10167"/>
                      </a:lnTo>
                      <a:lnTo>
                        <a:pt x="2452" y="10167"/>
                      </a:lnTo>
                      <a:lnTo>
                        <a:pt x="3050" y="12679"/>
                      </a:lnTo>
                      <a:lnTo>
                        <a:pt x="3229" y="13457"/>
                      </a:lnTo>
                      <a:lnTo>
                        <a:pt x="3349" y="13935"/>
                      </a:lnTo>
                      <a:lnTo>
                        <a:pt x="4067" y="16985"/>
                      </a:lnTo>
                      <a:lnTo>
                        <a:pt x="4366" y="18181"/>
                      </a:lnTo>
                      <a:lnTo>
                        <a:pt x="4665" y="19497"/>
                      </a:lnTo>
                      <a:lnTo>
                        <a:pt x="5382" y="22547"/>
                      </a:lnTo>
                      <a:lnTo>
                        <a:pt x="5622" y="23504"/>
                      </a:lnTo>
                      <a:lnTo>
                        <a:pt x="5921" y="24820"/>
                      </a:lnTo>
                      <a:lnTo>
                        <a:pt x="6399" y="26794"/>
                      </a:lnTo>
                      <a:lnTo>
                        <a:pt x="6399" y="26794"/>
                      </a:lnTo>
                      <a:lnTo>
                        <a:pt x="7117" y="29844"/>
                      </a:lnTo>
                      <a:lnTo>
                        <a:pt x="7236" y="30442"/>
                      </a:lnTo>
                      <a:lnTo>
                        <a:pt x="7296" y="30741"/>
                      </a:lnTo>
                      <a:lnTo>
                        <a:pt x="7296" y="30741"/>
                      </a:lnTo>
                      <a:lnTo>
                        <a:pt x="7416" y="31160"/>
                      </a:lnTo>
                      <a:lnTo>
                        <a:pt x="7715" y="32535"/>
                      </a:lnTo>
                    </a:path>
                  </a:pathLst>
                </a:custGeom>
                <a:noFill/>
                <a:ln w="6350" cap="rnd">
                  <a:solidFill>
                    <a:schemeClr val="bg1">
                      <a:alpha val="40000"/>
                    </a:schemeClr>
                  </a:solidFill>
                  <a:prstDash val="solid"/>
                  <a:round/>
                </a:ln>
              </p:spPr>
              <p:txBody>
                <a:bodyPr rtlCol="0" anchor="ctr"/>
                <a:lstStyle/>
                <a:p>
                  <a:endParaRPr lang="en-GB"/>
                </a:p>
              </p:txBody>
            </p:sp>
            <p:sp>
              <p:nvSpPr>
                <p:cNvPr id="5474" name="Vrije vorm: vorm 5473">
                  <a:extLst>
                    <a:ext uri="{FF2B5EF4-FFF2-40B4-BE49-F238E27FC236}">
                      <a16:creationId xmlns:a16="http://schemas.microsoft.com/office/drawing/2014/main" id="{AD1F7738-7C16-4F7A-BAF2-C49E4FBC6016}"/>
                    </a:ext>
                  </a:extLst>
                </p:cNvPr>
                <p:cNvSpPr/>
                <p:nvPr/>
              </p:nvSpPr>
              <p:spPr>
                <a:xfrm>
                  <a:off x="6438147" y="1546116"/>
                  <a:ext cx="27929" cy="40250"/>
                </a:xfrm>
                <a:custGeom>
                  <a:avLst/>
                  <a:gdLst>
                    <a:gd name="connsiteX0" fmla="*/ 0 w 27929"/>
                    <a:gd name="connsiteY0" fmla="*/ 40071 h 40250"/>
                    <a:gd name="connsiteX1" fmla="*/ 299 w 27929"/>
                    <a:gd name="connsiteY1" fmla="*/ 40071 h 40250"/>
                    <a:gd name="connsiteX2" fmla="*/ 2811 w 27929"/>
                    <a:gd name="connsiteY2" fmla="*/ 40250 h 40250"/>
                    <a:gd name="connsiteX3" fmla="*/ 5741 w 27929"/>
                    <a:gd name="connsiteY3" fmla="*/ 39174 h 40250"/>
                    <a:gd name="connsiteX4" fmla="*/ 6280 w 27929"/>
                    <a:gd name="connsiteY4" fmla="*/ 38994 h 40250"/>
                    <a:gd name="connsiteX5" fmla="*/ 8971 w 27929"/>
                    <a:gd name="connsiteY5" fmla="*/ 37200 h 40250"/>
                    <a:gd name="connsiteX6" fmla="*/ 10227 w 27929"/>
                    <a:gd name="connsiteY6" fmla="*/ 36363 h 40250"/>
                    <a:gd name="connsiteX7" fmla="*/ 10645 w 27929"/>
                    <a:gd name="connsiteY7" fmla="*/ 36004 h 40250"/>
                    <a:gd name="connsiteX8" fmla="*/ 13038 w 27929"/>
                    <a:gd name="connsiteY8" fmla="*/ 33791 h 40250"/>
                    <a:gd name="connsiteX9" fmla="*/ 14413 w 27929"/>
                    <a:gd name="connsiteY9" fmla="*/ 32535 h 40250"/>
                    <a:gd name="connsiteX10" fmla="*/ 14832 w 27929"/>
                    <a:gd name="connsiteY10" fmla="*/ 31997 h 40250"/>
                    <a:gd name="connsiteX11" fmla="*/ 16925 w 27929"/>
                    <a:gd name="connsiteY11" fmla="*/ 29485 h 40250"/>
                    <a:gd name="connsiteX12" fmla="*/ 18420 w 27929"/>
                    <a:gd name="connsiteY12" fmla="*/ 27691 h 40250"/>
                    <a:gd name="connsiteX13" fmla="*/ 20215 w 27929"/>
                    <a:gd name="connsiteY13" fmla="*/ 24940 h 40250"/>
                    <a:gd name="connsiteX14" fmla="*/ 22009 w 27929"/>
                    <a:gd name="connsiteY14" fmla="*/ 22248 h 40250"/>
                    <a:gd name="connsiteX15" fmla="*/ 23504 w 27929"/>
                    <a:gd name="connsiteY15" fmla="*/ 19318 h 40250"/>
                    <a:gd name="connsiteX16" fmla="*/ 24461 w 27929"/>
                    <a:gd name="connsiteY16" fmla="*/ 17524 h 40250"/>
                    <a:gd name="connsiteX17" fmla="*/ 24940 w 27929"/>
                    <a:gd name="connsiteY17" fmla="*/ 16626 h 40250"/>
                    <a:gd name="connsiteX18" fmla="*/ 26076 w 27929"/>
                    <a:gd name="connsiteY18" fmla="*/ 13576 h 40250"/>
                    <a:gd name="connsiteX19" fmla="*/ 26674 w 27929"/>
                    <a:gd name="connsiteY19" fmla="*/ 11961 h 40250"/>
                    <a:gd name="connsiteX20" fmla="*/ 26973 w 27929"/>
                    <a:gd name="connsiteY20" fmla="*/ 11244 h 40250"/>
                    <a:gd name="connsiteX21" fmla="*/ 27631 w 27929"/>
                    <a:gd name="connsiteY21" fmla="*/ 8074 h 40250"/>
                    <a:gd name="connsiteX22" fmla="*/ 27930 w 27929"/>
                    <a:gd name="connsiteY22" fmla="*/ 6459 h 40250"/>
                    <a:gd name="connsiteX23" fmla="*/ 27810 w 27929"/>
                    <a:gd name="connsiteY23" fmla="*/ 3289 h 40250"/>
                    <a:gd name="connsiteX24" fmla="*/ 27810 w 27929"/>
                    <a:gd name="connsiteY24" fmla="*/ 2632 h 40250"/>
                    <a:gd name="connsiteX25" fmla="*/ 26794 w 27929"/>
                    <a:gd name="connsiteY25" fmla="*/ 359 h 40250"/>
                    <a:gd name="connsiteX26" fmla="*/ 26614 w 27929"/>
                    <a:gd name="connsiteY26" fmla="*/ 0 h 4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929" h="40250">
                      <a:moveTo>
                        <a:pt x="0" y="40071"/>
                      </a:moveTo>
                      <a:lnTo>
                        <a:pt x="299" y="40071"/>
                      </a:lnTo>
                      <a:lnTo>
                        <a:pt x="2811" y="40250"/>
                      </a:lnTo>
                      <a:lnTo>
                        <a:pt x="5741" y="39174"/>
                      </a:lnTo>
                      <a:lnTo>
                        <a:pt x="6280" y="38994"/>
                      </a:lnTo>
                      <a:lnTo>
                        <a:pt x="8971" y="37200"/>
                      </a:lnTo>
                      <a:lnTo>
                        <a:pt x="10227" y="36363"/>
                      </a:lnTo>
                      <a:lnTo>
                        <a:pt x="10645" y="36004"/>
                      </a:lnTo>
                      <a:lnTo>
                        <a:pt x="13038" y="33791"/>
                      </a:lnTo>
                      <a:lnTo>
                        <a:pt x="14413" y="32535"/>
                      </a:lnTo>
                      <a:lnTo>
                        <a:pt x="14832" y="31997"/>
                      </a:lnTo>
                      <a:lnTo>
                        <a:pt x="16925" y="29485"/>
                      </a:lnTo>
                      <a:lnTo>
                        <a:pt x="18420" y="27691"/>
                      </a:lnTo>
                      <a:lnTo>
                        <a:pt x="20215" y="24940"/>
                      </a:lnTo>
                      <a:lnTo>
                        <a:pt x="22009" y="22248"/>
                      </a:lnTo>
                      <a:lnTo>
                        <a:pt x="23504" y="19318"/>
                      </a:lnTo>
                      <a:lnTo>
                        <a:pt x="24461" y="17524"/>
                      </a:lnTo>
                      <a:lnTo>
                        <a:pt x="24940" y="16626"/>
                      </a:lnTo>
                      <a:lnTo>
                        <a:pt x="26076" y="13576"/>
                      </a:lnTo>
                      <a:lnTo>
                        <a:pt x="26674" y="11961"/>
                      </a:lnTo>
                      <a:lnTo>
                        <a:pt x="26973" y="11244"/>
                      </a:lnTo>
                      <a:lnTo>
                        <a:pt x="27631" y="8074"/>
                      </a:lnTo>
                      <a:lnTo>
                        <a:pt x="27930" y="6459"/>
                      </a:lnTo>
                      <a:lnTo>
                        <a:pt x="27810" y="3289"/>
                      </a:lnTo>
                      <a:lnTo>
                        <a:pt x="27810" y="2632"/>
                      </a:lnTo>
                      <a:lnTo>
                        <a:pt x="26794" y="359"/>
                      </a:lnTo>
                      <a:lnTo>
                        <a:pt x="26614" y="0"/>
                      </a:lnTo>
                    </a:path>
                  </a:pathLst>
                </a:custGeom>
                <a:noFill/>
                <a:ln w="6350" cap="rnd">
                  <a:solidFill>
                    <a:schemeClr val="bg1">
                      <a:alpha val="40000"/>
                    </a:schemeClr>
                  </a:solidFill>
                  <a:prstDash val="solid"/>
                  <a:round/>
                </a:ln>
              </p:spPr>
              <p:txBody>
                <a:bodyPr rtlCol="0" anchor="ctr"/>
                <a:lstStyle/>
                <a:p>
                  <a:endParaRPr lang="en-GB"/>
                </a:p>
              </p:txBody>
            </p:sp>
            <p:sp>
              <p:nvSpPr>
                <p:cNvPr id="5475" name="Vrije vorm: vorm 5474">
                  <a:extLst>
                    <a:ext uri="{FF2B5EF4-FFF2-40B4-BE49-F238E27FC236}">
                      <a16:creationId xmlns:a16="http://schemas.microsoft.com/office/drawing/2014/main" id="{CD168528-7DF0-403A-97CB-FFECEB4B5F14}"/>
                    </a:ext>
                  </a:extLst>
                </p:cNvPr>
                <p:cNvSpPr/>
                <p:nvPr/>
              </p:nvSpPr>
              <p:spPr>
                <a:xfrm>
                  <a:off x="6435276" y="1544861"/>
                  <a:ext cx="29305" cy="41266"/>
                </a:xfrm>
                <a:custGeom>
                  <a:avLst/>
                  <a:gdLst>
                    <a:gd name="connsiteX0" fmla="*/ 29306 w 29305"/>
                    <a:gd name="connsiteY0" fmla="*/ 1316 h 41266"/>
                    <a:gd name="connsiteX1" fmla="*/ 27153 w 29305"/>
                    <a:gd name="connsiteY1" fmla="*/ 0 h 41266"/>
                    <a:gd name="connsiteX2" fmla="*/ 24222 w 29305"/>
                    <a:gd name="connsiteY2" fmla="*/ 120 h 41266"/>
                    <a:gd name="connsiteX3" fmla="*/ 21351 w 29305"/>
                    <a:gd name="connsiteY3" fmla="*/ 1376 h 41266"/>
                    <a:gd name="connsiteX4" fmla="*/ 20753 w 29305"/>
                    <a:gd name="connsiteY4" fmla="*/ 1615 h 41266"/>
                    <a:gd name="connsiteX5" fmla="*/ 18122 w 29305"/>
                    <a:gd name="connsiteY5" fmla="*/ 3469 h 41266"/>
                    <a:gd name="connsiteX6" fmla="*/ 16866 w 29305"/>
                    <a:gd name="connsiteY6" fmla="*/ 4366 h 41266"/>
                    <a:gd name="connsiteX7" fmla="*/ 14533 w 29305"/>
                    <a:gd name="connsiteY7" fmla="*/ 6639 h 41266"/>
                    <a:gd name="connsiteX8" fmla="*/ 12919 w 29305"/>
                    <a:gd name="connsiteY8" fmla="*/ 8194 h 41266"/>
                    <a:gd name="connsiteX9" fmla="*/ 10885 w 29305"/>
                    <a:gd name="connsiteY9" fmla="*/ 10705 h 41266"/>
                    <a:gd name="connsiteX10" fmla="*/ 9151 w 29305"/>
                    <a:gd name="connsiteY10" fmla="*/ 12799 h 41266"/>
                    <a:gd name="connsiteX11" fmla="*/ 7357 w 29305"/>
                    <a:gd name="connsiteY11" fmla="*/ 15550 h 41266"/>
                    <a:gd name="connsiteX12" fmla="*/ 5801 w 29305"/>
                    <a:gd name="connsiteY12" fmla="*/ 17942 h 41266"/>
                    <a:gd name="connsiteX13" fmla="*/ 4306 w 29305"/>
                    <a:gd name="connsiteY13" fmla="*/ 20813 h 41266"/>
                    <a:gd name="connsiteX14" fmla="*/ 3050 w 29305"/>
                    <a:gd name="connsiteY14" fmla="*/ 23205 h 41266"/>
                    <a:gd name="connsiteX15" fmla="*/ 1914 w 29305"/>
                    <a:gd name="connsiteY15" fmla="*/ 26255 h 41266"/>
                    <a:gd name="connsiteX16" fmla="*/ 1136 w 29305"/>
                    <a:gd name="connsiteY16" fmla="*/ 28349 h 41266"/>
                    <a:gd name="connsiteX17" fmla="*/ 419 w 29305"/>
                    <a:gd name="connsiteY17" fmla="*/ 31518 h 41266"/>
                    <a:gd name="connsiteX18" fmla="*/ 60 w 29305"/>
                    <a:gd name="connsiteY18" fmla="*/ 33014 h 41266"/>
                    <a:gd name="connsiteX19" fmla="*/ 0 w 29305"/>
                    <a:gd name="connsiteY19" fmla="*/ 36183 h 41266"/>
                    <a:gd name="connsiteX20" fmla="*/ 0 w 29305"/>
                    <a:gd name="connsiteY20" fmla="*/ 36901 h 41266"/>
                    <a:gd name="connsiteX21" fmla="*/ 957 w 29305"/>
                    <a:gd name="connsiteY21" fmla="*/ 39712 h 41266"/>
                    <a:gd name="connsiteX22" fmla="*/ 2871 w 29305"/>
                    <a:gd name="connsiteY22" fmla="*/ 41267 h 4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305" h="41266">
                      <a:moveTo>
                        <a:pt x="29306" y="1316"/>
                      </a:moveTo>
                      <a:lnTo>
                        <a:pt x="27153" y="0"/>
                      </a:lnTo>
                      <a:lnTo>
                        <a:pt x="24222" y="120"/>
                      </a:lnTo>
                      <a:lnTo>
                        <a:pt x="21351" y="1376"/>
                      </a:lnTo>
                      <a:lnTo>
                        <a:pt x="20753" y="1615"/>
                      </a:lnTo>
                      <a:lnTo>
                        <a:pt x="18122" y="3469"/>
                      </a:lnTo>
                      <a:lnTo>
                        <a:pt x="16866" y="4366"/>
                      </a:lnTo>
                      <a:lnTo>
                        <a:pt x="14533" y="6639"/>
                      </a:lnTo>
                      <a:lnTo>
                        <a:pt x="12919" y="8194"/>
                      </a:lnTo>
                      <a:lnTo>
                        <a:pt x="10885" y="10705"/>
                      </a:lnTo>
                      <a:lnTo>
                        <a:pt x="9151" y="12799"/>
                      </a:lnTo>
                      <a:lnTo>
                        <a:pt x="7357" y="15550"/>
                      </a:lnTo>
                      <a:lnTo>
                        <a:pt x="5801" y="17942"/>
                      </a:lnTo>
                      <a:lnTo>
                        <a:pt x="4306" y="20813"/>
                      </a:lnTo>
                      <a:lnTo>
                        <a:pt x="3050" y="23205"/>
                      </a:lnTo>
                      <a:lnTo>
                        <a:pt x="1914" y="26255"/>
                      </a:lnTo>
                      <a:lnTo>
                        <a:pt x="1136" y="28349"/>
                      </a:lnTo>
                      <a:lnTo>
                        <a:pt x="419" y="31518"/>
                      </a:lnTo>
                      <a:lnTo>
                        <a:pt x="60" y="33014"/>
                      </a:lnTo>
                      <a:lnTo>
                        <a:pt x="0" y="36183"/>
                      </a:lnTo>
                      <a:lnTo>
                        <a:pt x="0" y="36901"/>
                      </a:lnTo>
                      <a:lnTo>
                        <a:pt x="957" y="39712"/>
                      </a:lnTo>
                      <a:lnTo>
                        <a:pt x="2871" y="41267"/>
                      </a:lnTo>
                    </a:path>
                  </a:pathLst>
                </a:custGeom>
                <a:noFill/>
                <a:ln w="6350" cap="rnd">
                  <a:solidFill>
                    <a:schemeClr val="bg1">
                      <a:alpha val="40000"/>
                    </a:schemeClr>
                  </a:solidFill>
                  <a:prstDash val="solid"/>
                  <a:round/>
                </a:ln>
              </p:spPr>
              <p:txBody>
                <a:bodyPr rtlCol="0" anchor="ctr"/>
                <a:lstStyle/>
                <a:p>
                  <a:endParaRPr lang="en-GB"/>
                </a:p>
              </p:txBody>
            </p:sp>
            <p:sp>
              <p:nvSpPr>
                <p:cNvPr id="5476" name="Vrije vorm: vorm 5475">
                  <a:extLst>
                    <a:ext uri="{FF2B5EF4-FFF2-40B4-BE49-F238E27FC236}">
                      <a16:creationId xmlns:a16="http://schemas.microsoft.com/office/drawing/2014/main" id="{A890D740-2031-41D8-84E0-96317312E9BB}"/>
                    </a:ext>
                  </a:extLst>
                </p:cNvPr>
                <p:cNvSpPr/>
                <p:nvPr/>
              </p:nvSpPr>
              <p:spPr>
                <a:xfrm>
                  <a:off x="6465240" y="1616031"/>
                  <a:ext cx="1196" cy="1854"/>
                </a:xfrm>
                <a:custGeom>
                  <a:avLst/>
                  <a:gdLst>
                    <a:gd name="connsiteX0" fmla="*/ 120 w 1196"/>
                    <a:gd name="connsiteY0" fmla="*/ 1495 h 1854"/>
                    <a:gd name="connsiteX1" fmla="*/ 239 w 1196"/>
                    <a:gd name="connsiteY1" fmla="*/ 1495 h 1854"/>
                    <a:gd name="connsiteX2" fmla="*/ 299 w 1196"/>
                    <a:gd name="connsiteY2" fmla="*/ 1495 h 1854"/>
                    <a:gd name="connsiteX3" fmla="*/ 359 w 1196"/>
                    <a:gd name="connsiteY3" fmla="*/ 1495 h 1854"/>
                    <a:gd name="connsiteX4" fmla="*/ 419 w 1196"/>
                    <a:gd name="connsiteY4" fmla="*/ 1495 h 1854"/>
                    <a:gd name="connsiteX5" fmla="*/ 598 w 1196"/>
                    <a:gd name="connsiteY5" fmla="*/ 1435 h 1854"/>
                    <a:gd name="connsiteX6" fmla="*/ 598 w 1196"/>
                    <a:gd name="connsiteY6" fmla="*/ 1435 h 1854"/>
                    <a:gd name="connsiteX7" fmla="*/ 778 w 1196"/>
                    <a:gd name="connsiteY7" fmla="*/ 1316 h 1854"/>
                    <a:gd name="connsiteX8" fmla="*/ 897 w 1196"/>
                    <a:gd name="connsiteY8" fmla="*/ 1136 h 1854"/>
                    <a:gd name="connsiteX9" fmla="*/ 1017 w 1196"/>
                    <a:gd name="connsiteY9" fmla="*/ 957 h 1854"/>
                    <a:gd name="connsiteX10" fmla="*/ 1076 w 1196"/>
                    <a:gd name="connsiteY10" fmla="*/ 897 h 1854"/>
                    <a:gd name="connsiteX11" fmla="*/ 1136 w 1196"/>
                    <a:gd name="connsiteY11" fmla="*/ 778 h 1854"/>
                    <a:gd name="connsiteX12" fmla="*/ 1196 w 1196"/>
                    <a:gd name="connsiteY12" fmla="*/ 538 h 1854"/>
                    <a:gd name="connsiteX13" fmla="*/ 1196 w 1196"/>
                    <a:gd name="connsiteY13" fmla="*/ 419 h 1854"/>
                    <a:gd name="connsiteX14" fmla="*/ 1196 w 1196"/>
                    <a:gd name="connsiteY14" fmla="*/ 359 h 1854"/>
                    <a:gd name="connsiteX15" fmla="*/ 1196 w 1196"/>
                    <a:gd name="connsiteY15" fmla="*/ 179 h 1854"/>
                    <a:gd name="connsiteX16" fmla="*/ 1136 w 1196"/>
                    <a:gd name="connsiteY16" fmla="*/ 60 h 1854"/>
                    <a:gd name="connsiteX17" fmla="*/ 1017 w 1196"/>
                    <a:gd name="connsiteY17" fmla="*/ 0 h 1854"/>
                    <a:gd name="connsiteX18" fmla="*/ 1017 w 1196"/>
                    <a:gd name="connsiteY18" fmla="*/ 0 h 1854"/>
                    <a:gd name="connsiteX19" fmla="*/ 897 w 1196"/>
                    <a:gd name="connsiteY19" fmla="*/ 0 h 1854"/>
                    <a:gd name="connsiteX20" fmla="*/ 778 w 1196"/>
                    <a:gd name="connsiteY20" fmla="*/ 60 h 1854"/>
                    <a:gd name="connsiteX21" fmla="*/ 598 w 1196"/>
                    <a:gd name="connsiteY21" fmla="*/ 120 h 1854"/>
                    <a:gd name="connsiteX22" fmla="*/ 419 w 1196"/>
                    <a:gd name="connsiteY22" fmla="*/ 239 h 1854"/>
                    <a:gd name="connsiteX23" fmla="*/ 299 w 1196"/>
                    <a:gd name="connsiteY23" fmla="*/ 419 h 1854"/>
                    <a:gd name="connsiteX24" fmla="*/ 180 w 1196"/>
                    <a:gd name="connsiteY24" fmla="*/ 598 h 1854"/>
                    <a:gd name="connsiteX25" fmla="*/ 60 w 1196"/>
                    <a:gd name="connsiteY25" fmla="*/ 837 h 1854"/>
                    <a:gd name="connsiteX26" fmla="*/ 0 w 1196"/>
                    <a:gd name="connsiteY26" fmla="*/ 1017 h 1854"/>
                    <a:gd name="connsiteX27" fmla="*/ 0 w 1196"/>
                    <a:gd name="connsiteY27" fmla="*/ 1017 h 1854"/>
                    <a:gd name="connsiteX28" fmla="*/ 0 w 1196"/>
                    <a:gd name="connsiteY28" fmla="*/ 1017 h 1854"/>
                    <a:gd name="connsiteX29" fmla="*/ 0 w 1196"/>
                    <a:gd name="connsiteY29" fmla="*/ 1196 h 1854"/>
                    <a:gd name="connsiteX30" fmla="*/ 0 w 1196"/>
                    <a:gd name="connsiteY30" fmla="*/ 1376 h 1854"/>
                    <a:gd name="connsiteX31" fmla="*/ 0 w 1196"/>
                    <a:gd name="connsiteY31" fmla="*/ 1376 h 1854"/>
                    <a:gd name="connsiteX32" fmla="*/ 60 w 1196"/>
                    <a:gd name="connsiteY32" fmla="*/ 1495 h 1854"/>
                    <a:gd name="connsiteX33" fmla="*/ 120 w 1196"/>
                    <a:gd name="connsiteY33" fmla="*/ 1495 h 1854"/>
                    <a:gd name="connsiteX34" fmla="*/ 239 w 1196"/>
                    <a:gd name="connsiteY34" fmla="*/ 1555 h 1854"/>
                    <a:gd name="connsiteX35" fmla="*/ 299 w 1196"/>
                    <a:gd name="connsiteY35" fmla="*/ 1615 h 1854"/>
                    <a:gd name="connsiteX36" fmla="*/ 658 w 1196"/>
                    <a:gd name="connsiteY36"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96" h="1854">
                      <a:moveTo>
                        <a:pt x="120" y="1495"/>
                      </a:moveTo>
                      <a:lnTo>
                        <a:pt x="239" y="1495"/>
                      </a:lnTo>
                      <a:lnTo>
                        <a:pt x="299" y="1495"/>
                      </a:lnTo>
                      <a:lnTo>
                        <a:pt x="359" y="1495"/>
                      </a:lnTo>
                      <a:lnTo>
                        <a:pt x="419" y="1495"/>
                      </a:lnTo>
                      <a:lnTo>
                        <a:pt x="598" y="1435"/>
                      </a:lnTo>
                      <a:lnTo>
                        <a:pt x="598" y="1435"/>
                      </a:lnTo>
                      <a:lnTo>
                        <a:pt x="778" y="1316"/>
                      </a:lnTo>
                      <a:lnTo>
                        <a:pt x="897" y="1136"/>
                      </a:lnTo>
                      <a:lnTo>
                        <a:pt x="1017" y="957"/>
                      </a:lnTo>
                      <a:lnTo>
                        <a:pt x="1076" y="897"/>
                      </a:lnTo>
                      <a:lnTo>
                        <a:pt x="1136" y="778"/>
                      </a:lnTo>
                      <a:lnTo>
                        <a:pt x="1196" y="538"/>
                      </a:lnTo>
                      <a:lnTo>
                        <a:pt x="1196" y="419"/>
                      </a:lnTo>
                      <a:lnTo>
                        <a:pt x="1196" y="359"/>
                      </a:lnTo>
                      <a:lnTo>
                        <a:pt x="1196" y="179"/>
                      </a:lnTo>
                      <a:lnTo>
                        <a:pt x="1136" y="60"/>
                      </a:lnTo>
                      <a:lnTo>
                        <a:pt x="1017" y="0"/>
                      </a:lnTo>
                      <a:lnTo>
                        <a:pt x="1017" y="0"/>
                      </a:lnTo>
                      <a:lnTo>
                        <a:pt x="897" y="0"/>
                      </a:lnTo>
                      <a:lnTo>
                        <a:pt x="778" y="60"/>
                      </a:lnTo>
                      <a:lnTo>
                        <a:pt x="598" y="120"/>
                      </a:lnTo>
                      <a:lnTo>
                        <a:pt x="419" y="239"/>
                      </a:lnTo>
                      <a:lnTo>
                        <a:pt x="299" y="419"/>
                      </a:lnTo>
                      <a:lnTo>
                        <a:pt x="180" y="598"/>
                      </a:lnTo>
                      <a:lnTo>
                        <a:pt x="60" y="837"/>
                      </a:lnTo>
                      <a:lnTo>
                        <a:pt x="0" y="1017"/>
                      </a:lnTo>
                      <a:lnTo>
                        <a:pt x="0" y="1017"/>
                      </a:lnTo>
                      <a:lnTo>
                        <a:pt x="0" y="1017"/>
                      </a:lnTo>
                      <a:lnTo>
                        <a:pt x="0" y="1196"/>
                      </a:lnTo>
                      <a:lnTo>
                        <a:pt x="0" y="1376"/>
                      </a:lnTo>
                      <a:lnTo>
                        <a:pt x="0" y="1376"/>
                      </a:lnTo>
                      <a:lnTo>
                        <a:pt x="60" y="1495"/>
                      </a:lnTo>
                      <a:lnTo>
                        <a:pt x="120" y="1495"/>
                      </a:lnTo>
                      <a:lnTo>
                        <a:pt x="239" y="1555"/>
                      </a:lnTo>
                      <a:lnTo>
                        <a:pt x="299" y="1615"/>
                      </a:lnTo>
                      <a:lnTo>
                        <a:pt x="658" y="1854"/>
                      </a:lnTo>
                    </a:path>
                  </a:pathLst>
                </a:custGeom>
                <a:noFill/>
                <a:ln w="6350" cap="rnd">
                  <a:solidFill>
                    <a:schemeClr val="bg1">
                      <a:alpha val="40000"/>
                    </a:schemeClr>
                  </a:solidFill>
                  <a:prstDash val="solid"/>
                  <a:round/>
                </a:ln>
              </p:spPr>
              <p:txBody>
                <a:bodyPr rtlCol="0" anchor="ctr"/>
                <a:lstStyle/>
                <a:p>
                  <a:endParaRPr lang="en-GB"/>
                </a:p>
              </p:txBody>
            </p:sp>
            <p:sp>
              <p:nvSpPr>
                <p:cNvPr id="5477" name="Vrije vorm: vorm 5476">
                  <a:extLst>
                    <a:ext uri="{FF2B5EF4-FFF2-40B4-BE49-F238E27FC236}">
                      <a16:creationId xmlns:a16="http://schemas.microsoft.com/office/drawing/2014/main" id="{02D3F339-A20C-4C60-B3DA-28B8250809BB}"/>
                    </a:ext>
                  </a:extLst>
                </p:cNvPr>
                <p:cNvSpPr/>
                <p:nvPr/>
              </p:nvSpPr>
              <p:spPr>
                <a:xfrm>
                  <a:off x="6465957" y="1616270"/>
                  <a:ext cx="1016" cy="1614"/>
                </a:xfrm>
                <a:custGeom>
                  <a:avLst/>
                  <a:gdLst>
                    <a:gd name="connsiteX0" fmla="*/ 837 w 1016"/>
                    <a:gd name="connsiteY0" fmla="*/ 0 h 1614"/>
                    <a:gd name="connsiteX1" fmla="*/ 957 w 1016"/>
                    <a:gd name="connsiteY1" fmla="*/ 60 h 1614"/>
                    <a:gd name="connsiteX2" fmla="*/ 1017 w 1016"/>
                    <a:gd name="connsiteY2" fmla="*/ 179 h 1614"/>
                    <a:gd name="connsiteX3" fmla="*/ 1017 w 1016"/>
                    <a:gd name="connsiteY3" fmla="*/ 359 h 1614"/>
                    <a:gd name="connsiteX4" fmla="*/ 1017 w 1016"/>
                    <a:gd name="connsiteY4" fmla="*/ 538 h 1614"/>
                    <a:gd name="connsiteX5" fmla="*/ 957 w 1016"/>
                    <a:gd name="connsiteY5" fmla="*/ 777 h 1614"/>
                    <a:gd name="connsiteX6" fmla="*/ 837 w 1016"/>
                    <a:gd name="connsiteY6" fmla="*/ 1017 h 1614"/>
                    <a:gd name="connsiteX7" fmla="*/ 718 w 1016"/>
                    <a:gd name="connsiteY7" fmla="*/ 1196 h 1614"/>
                    <a:gd name="connsiteX8" fmla="*/ 598 w 1016"/>
                    <a:gd name="connsiteY8" fmla="*/ 1376 h 1614"/>
                    <a:gd name="connsiteX9" fmla="*/ 419 w 1016"/>
                    <a:gd name="connsiteY9" fmla="*/ 1495 h 1614"/>
                    <a:gd name="connsiteX10" fmla="*/ 239 w 1016"/>
                    <a:gd name="connsiteY10" fmla="*/ 1555 h 1614"/>
                    <a:gd name="connsiteX11" fmla="*/ 120 w 1016"/>
                    <a:gd name="connsiteY11" fmla="*/ 1615 h 1614"/>
                    <a:gd name="connsiteX12" fmla="*/ 0 w 1016"/>
                    <a:gd name="connsiteY12" fmla="*/ 1615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6" h="1614">
                      <a:moveTo>
                        <a:pt x="837" y="0"/>
                      </a:moveTo>
                      <a:lnTo>
                        <a:pt x="957" y="60"/>
                      </a:lnTo>
                      <a:lnTo>
                        <a:pt x="1017" y="179"/>
                      </a:lnTo>
                      <a:lnTo>
                        <a:pt x="1017" y="359"/>
                      </a:lnTo>
                      <a:lnTo>
                        <a:pt x="1017" y="538"/>
                      </a:lnTo>
                      <a:lnTo>
                        <a:pt x="957" y="777"/>
                      </a:lnTo>
                      <a:lnTo>
                        <a:pt x="837" y="1017"/>
                      </a:lnTo>
                      <a:lnTo>
                        <a:pt x="718" y="1196"/>
                      </a:lnTo>
                      <a:lnTo>
                        <a:pt x="598" y="1376"/>
                      </a:lnTo>
                      <a:lnTo>
                        <a:pt x="419" y="1495"/>
                      </a:lnTo>
                      <a:lnTo>
                        <a:pt x="239" y="1555"/>
                      </a:lnTo>
                      <a:lnTo>
                        <a:pt x="120" y="1615"/>
                      </a:lnTo>
                      <a:lnTo>
                        <a:pt x="0" y="1615"/>
                      </a:lnTo>
                    </a:path>
                  </a:pathLst>
                </a:custGeom>
                <a:noFill/>
                <a:ln w="6350" cap="rnd">
                  <a:solidFill>
                    <a:schemeClr val="bg1">
                      <a:alpha val="40000"/>
                    </a:schemeClr>
                  </a:solidFill>
                  <a:prstDash val="solid"/>
                  <a:round/>
                </a:ln>
              </p:spPr>
              <p:txBody>
                <a:bodyPr rtlCol="0" anchor="ctr"/>
                <a:lstStyle/>
                <a:p>
                  <a:endParaRPr lang="en-GB"/>
                </a:p>
              </p:txBody>
            </p:sp>
            <p:sp>
              <p:nvSpPr>
                <p:cNvPr id="5478" name="Vrije vorm: vorm 5477">
                  <a:extLst>
                    <a:ext uri="{FF2B5EF4-FFF2-40B4-BE49-F238E27FC236}">
                      <a16:creationId xmlns:a16="http://schemas.microsoft.com/office/drawing/2014/main" id="{9EF3A6F5-0653-4073-8328-C78907154B07}"/>
                    </a:ext>
                  </a:extLst>
                </p:cNvPr>
                <p:cNvSpPr/>
                <p:nvPr/>
              </p:nvSpPr>
              <p:spPr>
                <a:xfrm>
                  <a:off x="6449211" y="1631162"/>
                  <a:ext cx="2810" cy="4724"/>
                </a:xfrm>
                <a:custGeom>
                  <a:avLst/>
                  <a:gdLst>
                    <a:gd name="connsiteX0" fmla="*/ 419 w 2810"/>
                    <a:gd name="connsiteY0" fmla="*/ 3947 h 4724"/>
                    <a:gd name="connsiteX1" fmla="*/ 658 w 2810"/>
                    <a:gd name="connsiteY1" fmla="*/ 4007 h 4724"/>
                    <a:gd name="connsiteX2" fmla="*/ 957 w 2810"/>
                    <a:gd name="connsiteY2" fmla="*/ 3947 h 4724"/>
                    <a:gd name="connsiteX3" fmla="*/ 1316 w 2810"/>
                    <a:gd name="connsiteY3" fmla="*/ 3708 h 4724"/>
                    <a:gd name="connsiteX4" fmla="*/ 1316 w 2810"/>
                    <a:gd name="connsiteY4" fmla="*/ 3708 h 4724"/>
                    <a:gd name="connsiteX5" fmla="*/ 1674 w 2810"/>
                    <a:gd name="connsiteY5" fmla="*/ 3349 h 4724"/>
                    <a:gd name="connsiteX6" fmla="*/ 2033 w 2810"/>
                    <a:gd name="connsiteY6" fmla="*/ 2931 h 4724"/>
                    <a:gd name="connsiteX7" fmla="*/ 2333 w 2810"/>
                    <a:gd name="connsiteY7" fmla="*/ 2452 h 4724"/>
                    <a:gd name="connsiteX8" fmla="*/ 2572 w 2810"/>
                    <a:gd name="connsiteY8" fmla="*/ 1914 h 4724"/>
                    <a:gd name="connsiteX9" fmla="*/ 2751 w 2810"/>
                    <a:gd name="connsiteY9" fmla="*/ 1376 h 4724"/>
                    <a:gd name="connsiteX10" fmla="*/ 2811 w 2810"/>
                    <a:gd name="connsiteY10" fmla="*/ 1077 h 4724"/>
                    <a:gd name="connsiteX11" fmla="*/ 2811 w 2810"/>
                    <a:gd name="connsiteY11" fmla="*/ 957 h 4724"/>
                    <a:gd name="connsiteX12" fmla="*/ 2811 w 2810"/>
                    <a:gd name="connsiteY12" fmla="*/ 538 h 4724"/>
                    <a:gd name="connsiteX13" fmla="*/ 2691 w 2810"/>
                    <a:gd name="connsiteY13" fmla="*/ 239 h 4724"/>
                    <a:gd name="connsiteX14" fmla="*/ 2512 w 2810"/>
                    <a:gd name="connsiteY14" fmla="*/ 60 h 4724"/>
                    <a:gd name="connsiteX15" fmla="*/ 2213 w 2810"/>
                    <a:gd name="connsiteY15" fmla="*/ 0 h 4724"/>
                    <a:gd name="connsiteX16" fmla="*/ 1914 w 2810"/>
                    <a:gd name="connsiteY16" fmla="*/ 60 h 4724"/>
                    <a:gd name="connsiteX17" fmla="*/ 1555 w 2810"/>
                    <a:gd name="connsiteY17" fmla="*/ 299 h 4724"/>
                    <a:gd name="connsiteX18" fmla="*/ 1196 w 2810"/>
                    <a:gd name="connsiteY18" fmla="*/ 658 h 4724"/>
                    <a:gd name="connsiteX19" fmla="*/ 837 w 2810"/>
                    <a:gd name="connsiteY19" fmla="*/ 1077 h 4724"/>
                    <a:gd name="connsiteX20" fmla="*/ 538 w 2810"/>
                    <a:gd name="connsiteY20" fmla="*/ 1555 h 4724"/>
                    <a:gd name="connsiteX21" fmla="*/ 299 w 2810"/>
                    <a:gd name="connsiteY21" fmla="*/ 2093 h 4724"/>
                    <a:gd name="connsiteX22" fmla="*/ 120 w 2810"/>
                    <a:gd name="connsiteY22" fmla="*/ 2632 h 4724"/>
                    <a:gd name="connsiteX23" fmla="*/ 60 w 2810"/>
                    <a:gd name="connsiteY23" fmla="*/ 2931 h 4724"/>
                    <a:gd name="connsiteX24" fmla="*/ 0 w 2810"/>
                    <a:gd name="connsiteY24" fmla="*/ 3110 h 4724"/>
                    <a:gd name="connsiteX25" fmla="*/ 0 w 2810"/>
                    <a:gd name="connsiteY25" fmla="*/ 3529 h 4724"/>
                    <a:gd name="connsiteX26" fmla="*/ 120 w 2810"/>
                    <a:gd name="connsiteY26" fmla="*/ 3828 h 4724"/>
                    <a:gd name="connsiteX27" fmla="*/ 179 w 2810"/>
                    <a:gd name="connsiteY27" fmla="*/ 3888 h 4724"/>
                    <a:gd name="connsiteX28" fmla="*/ 419 w 2810"/>
                    <a:gd name="connsiteY28" fmla="*/ 3947 h 4724"/>
                    <a:gd name="connsiteX29" fmla="*/ 1615 w 2810"/>
                    <a:gd name="connsiteY29"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10" h="4724">
                      <a:moveTo>
                        <a:pt x="419" y="3947"/>
                      </a:moveTo>
                      <a:lnTo>
                        <a:pt x="658" y="4007"/>
                      </a:lnTo>
                      <a:lnTo>
                        <a:pt x="957" y="3947"/>
                      </a:lnTo>
                      <a:lnTo>
                        <a:pt x="1316" y="3708"/>
                      </a:lnTo>
                      <a:lnTo>
                        <a:pt x="1316" y="3708"/>
                      </a:lnTo>
                      <a:lnTo>
                        <a:pt x="1674" y="3349"/>
                      </a:lnTo>
                      <a:lnTo>
                        <a:pt x="2033" y="2931"/>
                      </a:lnTo>
                      <a:lnTo>
                        <a:pt x="2333" y="2452"/>
                      </a:lnTo>
                      <a:lnTo>
                        <a:pt x="2572" y="1914"/>
                      </a:lnTo>
                      <a:lnTo>
                        <a:pt x="2751" y="1376"/>
                      </a:lnTo>
                      <a:lnTo>
                        <a:pt x="2811" y="1077"/>
                      </a:lnTo>
                      <a:lnTo>
                        <a:pt x="2811" y="957"/>
                      </a:lnTo>
                      <a:lnTo>
                        <a:pt x="2811" y="538"/>
                      </a:lnTo>
                      <a:lnTo>
                        <a:pt x="2691" y="239"/>
                      </a:lnTo>
                      <a:lnTo>
                        <a:pt x="2512" y="60"/>
                      </a:lnTo>
                      <a:lnTo>
                        <a:pt x="2213" y="0"/>
                      </a:lnTo>
                      <a:lnTo>
                        <a:pt x="1914" y="60"/>
                      </a:lnTo>
                      <a:lnTo>
                        <a:pt x="1555" y="299"/>
                      </a:lnTo>
                      <a:lnTo>
                        <a:pt x="1196" y="658"/>
                      </a:lnTo>
                      <a:lnTo>
                        <a:pt x="837" y="1077"/>
                      </a:lnTo>
                      <a:lnTo>
                        <a:pt x="538" y="1555"/>
                      </a:lnTo>
                      <a:lnTo>
                        <a:pt x="299" y="2093"/>
                      </a:lnTo>
                      <a:lnTo>
                        <a:pt x="120" y="2632"/>
                      </a:lnTo>
                      <a:lnTo>
                        <a:pt x="60" y="2931"/>
                      </a:lnTo>
                      <a:lnTo>
                        <a:pt x="0" y="3110"/>
                      </a:lnTo>
                      <a:lnTo>
                        <a:pt x="0" y="3529"/>
                      </a:lnTo>
                      <a:lnTo>
                        <a:pt x="120" y="3828"/>
                      </a:lnTo>
                      <a:lnTo>
                        <a:pt x="179" y="3888"/>
                      </a:lnTo>
                      <a:lnTo>
                        <a:pt x="419" y="3947"/>
                      </a:lnTo>
                      <a:lnTo>
                        <a:pt x="1615" y="4725"/>
                      </a:lnTo>
                    </a:path>
                  </a:pathLst>
                </a:custGeom>
                <a:noFill/>
                <a:ln w="6350" cap="rnd">
                  <a:solidFill>
                    <a:schemeClr val="bg1">
                      <a:alpha val="40000"/>
                    </a:schemeClr>
                  </a:solidFill>
                  <a:prstDash val="solid"/>
                  <a:round/>
                </a:ln>
              </p:spPr>
              <p:txBody>
                <a:bodyPr rtlCol="0" anchor="ctr"/>
                <a:lstStyle/>
                <a:p>
                  <a:endParaRPr lang="en-GB"/>
                </a:p>
              </p:txBody>
            </p:sp>
            <p:sp>
              <p:nvSpPr>
                <p:cNvPr id="5479" name="Vrije vorm: vorm 5478">
                  <a:extLst>
                    <a:ext uri="{FF2B5EF4-FFF2-40B4-BE49-F238E27FC236}">
                      <a16:creationId xmlns:a16="http://schemas.microsoft.com/office/drawing/2014/main" id="{5C519D9D-850E-455C-9796-4278B7103261}"/>
                    </a:ext>
                  </a:extLst>
                </p:cNvPr>
                <p:cNvSpPr/>
                <p:nvPr/>
              </p:nvSpPr>
              <p:spPr>
                <a:xfrm>
                  <a:off x="6451006" y="1632000"/>
                  <a:ext cx="2452" cy="4007"/>
                </a:xfrm>
                <a:custGeom>
                  <a:avLst/>
                  <a:gdLst>
                    <a:gd name="connsiteX0" fmla="*/ 2153 w 2452"/>
                    <a:gd name="connsiteY0" fmla="*/ 0 h 4007"/>
                    <a:gd name="connsiteX1" fmla="*/ 2333 w 2452"/>
                    <a:gd name="connsiteY1" fmla="*/ 179 h 4007"/>
                    <a:gd name="connsiteX2" fmla="*/ 2452 w 2452"/>
                    <a:gd name="connsiteY2" fmla="*/ 478 h 4007"/>
                    <a:gd name="connsiteX3" fmla="*/ 2452 w 2452"/>
                    <a:gd name="connsiteY3" fmla="*/ 897 h 4007"/>
                    <a:gd name="connsiteX4" fmla="*/ 2333 w 2452"/>
                    <a:gd name="connsiteY4" fmla="*/ 1376 h 4007"/>
                    <a:gd name="connsiteX5" fmla="*/ 2153 w 2452"/>
                    <a:gd name="connsiteY5" fmla="*/ 1914 h 4007"/>
                    <a:gd name="connsiteX6" fmla="*/ 1914 w 2452"/>
                    <a:gd name="connsiteY6" fmla="*/ 2452 h 4007"/>
                    <a:gd name="connsiteX7" fmla="*/ 1615 w 2452"/>
                    <a:gd name="connsiteY7" fmla="*/ 2931 h 4007"/>
                    <a:gd name="connsiteX8" fmla="*/ 1256 w 2452"/>
                    <a:gd name="connsiteY8" fmla="*/ 3349 h 4007"/>
                    <a:gd name="connsiteX9" fmla="*/ 897 w 2452"/>
                    <a:gd name="connsiteY9" fmla="*/ 3708 h 4007"/>
                    <a:gd name="connsiteX10" fmla="*/ 538 w 2452"/>
                    <a:gd name="connsiteY10" fmla="*/ 3947 h 4007"/>
                    <a:gd name="connsiteX11" fmla="*/ 239 w 2452"/>
                    <a:gd name="connsiteY11" fmla="*/ 4007 h 4007"/>
                    <a:gd name="connsiteX12" fmla="*/ 0 w 2452"/>
                    <a:gd name="connsiteY12" fmla="*/ 3947 h 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2" h="4007">
                      <a:moveTo>
                        <a:pt x="2153" y="0"/>
                      </a:moveTo>
                      <a:lnTo>
                        <a:pt x="2333" y="179"/>
                      </a:lnTo>
                      <a:lnTo>
                        <a:pt x="2452" y="478"/>
                      </a:lnTo>
                      <a:lnTo>
                        <a:pt x="2452" y="897"/>
                      </a:lnTo>
                      <a:lnTo>
                        <a:pt x="2333" y="1376"/>
                      </a:lnTo>
                      <a:lnTo>
                        <a:pt x="2153" y="1914"/>
                      </a:lnTo>
                      <a:lnTo>
                        <a:pt x="1914" y="2452"/>
                      </a:lnTo>
                      <a:lnTo>
                        <a:pt x="1615" y="2931"/>
                      </a:lnTo>
                      <a:lnTo>
                        <a:pt x="1256" y="3349"/>
                      </a:lnTo>
                      <a:lnTo>
                        <a:pt x="897" y="3708"/>
                      </a:lnTo>
                      <a:lnTo>
                        <a:pt x="538" y="3947"/>
                      </a:lnTo>
                      <a:lnTo>
                        <a:pt x="239" y="4007"/>
                      </a:lnTo>
                      <a:lnTo>
                        <a:pt x="0" y="3947"/>
                      </a:lnTo>
                    </a:path>
                  </a:pathLst>
                </a:custGeom>
                <a:noFill/>
                <a:ln w="6350" cap="rnd">
                  <a:solidFill>
                    <a:schemeClr val="bg1">
                      <a:alpha val="40000"/>
                    </a:schemeClr>
                  </a:solidFill>
                  <a:prstDash val="solid"/>
                  <a:round/>
                </a:ln>
              </p:spPr>
              <p:txBody>
                <a:bodyPr rtlCol="0" anchor="ctr"/>
                <a:lstStyle/>
                <a:p>
                  <a:endParaRPr lang="en-GB"/>
                </a:p>
              </p:txBody>
            </p:sp>
            <p:sp>
              <p:nvSpPr>
                <p:cNvPr id="5480" name="Vrije vorm: vorm 5479">
                  <a:extLst>
                    <a:ext uri="{FF2B5EF4-FFF2-40B4-BE49-F238E27FC236}">
                      <a16:creationId xmlns:a16="http://schemas.microsoft.com/office/drawing/2014/main" id="{D899EC64-ED91-4524-8349-1D8C1FC67713}"/>
                    </a:ext>
                  </a:extLst>
                </p:cNvPr>
                <p:cNvSpPr/>
                <p:nvPr/>
              </p:nvSpPr>
              <p:spPr>
                <a:xfrm>
                  <a:off x="6466855" y="1574106"/>
                  <a:ext cx="3767" cy="3708"/>
                </a:xfrm>
                <a:custGeom>
                  <a:avLst/>
                  <a:gdLst>
                    <a:gd name="connsiteX0" fmla="*/ 2632 w 3767"/>
                    <a:gd name="connsiteY0" fmla="*/ 120 h 3708"/>
                    <a:gd name="connsiteX1" fmla="*/ 2751 w 3767"/>
                    <a:gd name="connsiteY1" fmla="*/ 359 h 3708"/>
                    <a:gd name="connsiteX2" fmla="*/ 2751 w 3767"/>
                    <a:gd name="connsiteY2" fmla="*/ 718 h 3708"/>
                    <a:gd name="connsiteX3" fmla="*/ 2691 w 3767"/>
                    <a:gd name="connsiteY3" fmla="*/ 1136 h 3708"/>
                    <a:gd name="connsiteX4" fmla="*/ 2691 w 3767"/>
                    <a:gd name="connsiteY4" fmla="*/ 1136 h 3708"/>
                    <a:gd name="connsiteX5" fmla="*/ 2512 w 3767"/>
                    <a:gd name="connsiteY5" fmla="*/ 1615 h 3708"/>
                    <a:gd name="connsiteX6" fmla="*/ 2273 w 3767"/>
                    <a:gd name="connsiteY6" fmla="*/ 2093 h 3708"/>
                    <a:gd name="connsiteX7" fmla="*/ 1973 w 3767"/>
                    <a:gd name="connsiteY7" fmla="*/ 2572 h 3708"/>
                    <a:gd name="connsiteX8" fmla="*/ 1615 w 3767"/>
                    <a:gd name="connsiteY8" fmla="*/ 2990 h 3708"/>
                    <a:gd name="connsiteX9" fmla="*/ 1256 w 3767"/>
                    <a:gd name="connsiteY9" fmla="*/ 3349 h 3708"/>
                    <a:gd name="connsiteX10" fmla="*/ 1196 w 3767"/>
                    <a:gd name="connsiteY10" fmla="*/ 3409 h 3708"/>
                    <a:gd name="connsiteX11" fmla="*/ 897 w 3767"/>
                    <a:gd name="connsiteY11" fmla="*/ 3588 h 3708"/>
                    <a:gd name="connsiteX12" fmla="*/ 598 w 3767"/>
                    <a:gd name="connsiteY12" fmla="*/ 3708 h 3708"/>
                    <a:gd name="connsiteX13" fmla="*/ 299 w 3767"/>
                    <a:gd name="connsiteY13" fmla="*/ 3708 h 3708"/>
                    <a:gd name="connsiteX14" fmla="*/ 119 w 3767"/>
                    <a:gd name="connsiteY14" fmla="*/ 3588 h 3708"/>
                    <a:gd name="connsiteX15" fmla="*/ 0 w 3767"/>
                    <a:gd name="connsiteY15" fmla="*/ 3349 h 3708"/>
                    <a:gd name="connsiteX16" fmla="*/ 0 w 3767"/>
                    <a:gd name="connsiteY16" fmla="*/ 2990 h 3708"/>
                    <a:gd name="connsiteX17" fmla="*/ 60 w 3767"/>
                    <a:gd name="connsiteY17" fmla="*/ 2691 h 3708"/>
                    <a:gd name="connsiteX18" fmla="*/ 60 w 3767"/>
                    <a:gd name="connsiteY18" fmla="*/ 2572 h 3708"/>
                    <a:gd name="connsiteX19" fmla="*/ 239 w 3767"/>
                    <a:gd name="connsiteY19" fmla="*/ 2093 h 3708"/>
                    <a:gd name="connsiteX20" fmla="*/ 478 w 3767"/>
                    <a:gd name="connsiteY20" fmla="*/ 1615 h 3708"/>
                    <a:gd name="connsiteX21" fmla="*/ 778 w 3767"/>
                    <a:gd name="connsiteY21" fmla="*/ 1136 h 3708"/>
                    <a:gd name="connsiteX22" fmla="*/ 1136 w 3767"/>
                    <a:gd name="connsiteY22" fmla="*/ 718 h 3708"/>
                    <a:gd name="connsiteX23" fmla="*/ 1495 w 3767"/>
                    <a:gd name="connsiteY23" fmla="*/ 359 h 3708"/>
                    <a:gd name="connsiteX24" fmla="*/ 1854 w 3767"/>
                    <a:gd name="connsiteY24" fmla="*/ 120 h 3708"/>
                    <a:gd name="connsiteX25" fmla="*/ 2033 w 3767"/>
                    <a:gd name="connsiteY25" fmla="*/ 60 h 3708"/>
                    <a:gd name="connsiteX26" fmla="*/ 2213 w 3767"/>
                    <a:gd name="connsiteY26" fmla="*/ 0 h 3708"/>
                    <a:gd name="connsiteX27" fmla="*/ 2512 w 3767"/>
                    <a:gd name="connsiteY27" fmla="*/ 0 h 3708"/>
                    <a:gd name="connsiteX28" fmla="*/ 2632 w 3767"/>
                    <a:gd name="connsiteY28" fmla="*/ 120 h 3708"/>
                    <a:gd name="connsiteX29" fmla="*/ 3768 w 3767"/>
                    <a:gd name="connsiteY29" fmla="*/ 957 h 3708"/>
                    <a:gd name="connsiteX30" fmla="*/ 3768 w 3767"/>
                    <a:gd name="connsiteY30" fmla="*/ 957 h 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67" h="3708">
                      <a:moveTo>
                        <a:pt x="2632" y="120"/>
                      </a:moveTo>
                      <a:lnTo>
                        <a:pt x="2751" y="359"/>
                      </a:lnTo>
                      <a:lnTo>
                        <a:pt x="2751" y="718"/>
                      </a:lnTo>
                      <a:lnTo>
                        <a:pt x="2691" y="1136"/>
                      </a:lnTo>
                      <a:lnTo>
                        <a:pt x="2691" y="1136"/>
                      </a:lnTo>
                      <a:lnTo>
                        <a:pt x="2512" y="1615"/>
                      </a:lnTo>
                      <a:lnTo>
                        <a:pt x="2273" y="2093"/>
                      </a:lnTo>
                      <a:lnTo>
                        <a:pt x="1973" y="2572"/>
                      </a:lnTo>
                      <a:lnTo>
                        <a:pt x="1615" y="2990"/>
                      </a:lnTo>
                      <a:lnTo>
                        <a:pt x="1256" y="3349"/>
                      </a:lnTo>
                      <a:lnTo>
                        <a:pt x="1196" y="3409"/>
                      </a:lnTo>
                      <a:lnTo>
                        <a:pt x="897" y="3588"/>
                      </a:lnTo>
                      <a:lnTo>
                        <a:pt x="598" y="3708"/>
                      </a:lnTo>
                      <a:lnTo>
                        <a:pt x="299" y="3708"/>
                      </a:lnTo>
                      <a:lnTo>
                        <a:pt x="119" y="3588"/>
                      </a:lnTo>
                      <a:lnTo>
                        <a:pt x="0" y="3349"/>
                      </a:lnTo>
                      <a:lnTo>
                        <a:pt x="0" y="2990"/>
                      </a:lnTo>
                      <a:lnTo>
                        <a:pt x="60" y="2691"/>
                      </a:lnTo>
                      <a:lnTo>
                        <a:pt x="60" y="2572"/>
                      </a:lnTo>
                      <a:lnTo>
                        <a:pt x="239" y="2093"/>
                      </a:lnTo>
                      <a:lnTo>
                        <a:pt x="478" y="1615"/>
                      </a:lnTo>
                      <a:lnTo>
                        <a:pt x="778" y="1136"/>
                      </a:lnTo>
                      <a:lnTo>
                        <a:pt x="1136" y="718"/>
                      </a:lnTo>
                      <a:lnTo>
                        <a:pt x="1495" y="359"/>
                      </a:lnTo>
                      <a:lnTo>
                        <a:pt x="1854" y="120"/>
                      </a:lnTo>
                      <a:lnTo>
                        <a:pt x="2033" y="60"/>
                      </a:lnTo>
                      <a:lnTo>
                        <a:pt x="2213" y="0"/>
                      </a:lnTo>
                      <a:lnTo>
                        <a:pt x="2512" y="0"/>
                      </a:lnTo>
                      <a:lnTo>
                        <a:pt x="2632" y="120"/>
                      </a:lnTo>
                      <a:lnTo>
                        <a:pt x="3768" y="957"/>
                      </a:lnTo>
                      <a:lnTo>
                        <a:pt x="3768" y="957"/>
                      </a:lnTo>
                    </a:path>
                  </a:pathLst>
                </a:custGeom>
                <a:noFill/>
                <a:ln w="6350" cap="rnd">
                  <a:solidFill>
                    <a:schemeClr val="bg1">
                      <a:alpha val="40000"/>
                    </a:schemeClr>
                  </a:solidFill>
                  <a:prstDash val="solid"/>
                  <a:round/>
                </a:ln>
              </p:spPr>
              <p:txBody>
                <a:bodyPr rtlCol="0" anchor="ctr"/>
                <a:lstStyle/>
                <a:p>
                  <a:endParaRPr lang="en-GB"/>
                </a:p>
              </p:txBody>
            </p:sp>
            <p:sp>
              <p:nvSpPr>
                <p:cNvPr id="5481" name="Vrije vorm: vorm 5480">
                  <a:extLst>
                    <a:ext uri="{FF2B5EF4-FFF2-40B4-BE49-F238E27FC236}">
                      <a16:creationId xmlns:a16="http://schemas.microsoft.com/office/drawing/2014/main" id="{572A0C77-35E3-4614-A0BF-9692F9E80B52}"/>
                    </a:ext>
                  </a:extLst>
                </p:cNvPr>
                <p:cNvSpPr/>
                <p:nvPr/>
              </p:nvSpPr>
              <p:spPr>
                <a:xfrm>
                  <a:off x="6468110" y="1575063"/>
                  <a:ext cx="2631" cy="3648"/>
                </a:xfrm>
                <a:custGeom>
                  <a:avLst/>
                  <a:gdLst>
                    <a:gd name="connsiteX0" fmla="*/ 2512 w 2631"/>
                    <a:gd name="connsiteY0" fmla="*/ 0 h 3648"/>
                    <a:gd name="connsiteX1" fmla="*/ 2632 w 2631"/>
                    <a:gd name="connsiteY1" fmla="*/ 239 h 3648"/>
                    <a:gd name="connsiteX2" fmla="*/ 2632 w 2631"/>
                    <a:gd name="connsiteY2" fmla="*/ 598 h 3648"/>
                    <a:gd name="connsiteX3" fmla="*/ 2572 w 2631"/>
                    <a:gd name="connsiteY3" fmla="*/ 957 h 3648"/>
                    <a:gd name="connsiteX4" fmla="*/ 2572 w 2631"/>
                    <a:gd name="connsiteY4" fmla="*/ 1076 h 3648"/>
                    <a:gd name="connsiteX5" fmla="*/ 2392 w 2631"/>
                    <a:gd name="connsiteY5" fmla="*/ 1555 h 3648"/>
                    <a:gd name="connsiteX6" fmla="*/ 2153 w 2631"/>
                    <a:gd name="connsiteY6" fmla="*/ 2033 h 3648"/>
                    <a:gd name="connsiteX7" fmla="*/ 1854 w 2631"/>
                    <a:gd name="connsiteY7" fmla="*/ 2512 h 3648"/>
                    <a:gd name="connsiteX8" fmla="*/ 1495 w 2631"/>
                    <a:gd name="connsiteY8" fmla="*/ 2930 h 3648"/>
                    <a:gd name="connsiteX9" fmla="*/ 1136 w 2631"/>
                    <a:gd name="connsiteY9" fmla="*/ 3289 h 3648"/>
                    <a:gd name="connsiteX10" fmla="*/ 778 w 2631"/>
                    <a:gd name="connsiteY10" fmla="*/ 3529 h 3648"/>
                    <a:gd name="connsiteX11" fmla="*/ 778 w 2631"/>
                    <a:gd name="connsiteY11" fmla="*/ 3529 h 3648"/>
                    <a:gd name="connsiteX12" fmla="*/ 479 w 2631"/>
                    <a:gd name="connsiteY12" fmla="*/ 3648 h 3648"/>
                    <a:gd name="connsiteX13" fmla="*/ 180 w 2631"/>
                    <a:gd name="connsiteY13" fmla="*/ 3648 h 3648"/>
                    <a:gd name="connsiteX14" fmla="*/ 0 w 2631"/>
                    <a:gd name="connsiteY14" fmla="*/ 3529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1" h="3648">
                      <a:moveTo>
                        <a:pt x="2512" y="0"/>
                      </a:moveTo>
                      <a:lnTo>
                        <a:pt x="2632" y="239"/>
                      </a:lnTo>
                      <a:lnTo>
                        <a:pt x="2632" y="598"/>
                      </a:lnTo>
                      <a:lnTo>
                        <a:pt x="2572" y="957"/>
                      </a:lnTo>
                      <a:lnTo>
                        <a:pt x="2572" y="1076"/>
                      </a:lnTo>
                      <a:lnTo>
                        <a:pt x="2392" y="1555"/>
                      </a:lnTo>
                      <a:lnTo>
                        <a:pt x="2153" y="2033"/>
                      </a:lnTo>
                      <a:lnTo>
                        <a:pt x="1854" y="2512"/>
                      </a:lnTo>
                      <a:lnTo>
                        <a:pt x="1495" y="2930"/>
                      </a:lnTo>
                      <a:lnTo>
                        <a:pt x="1136" y="3289"/>
                      </a:lnTo>
                      <a:lnTo>
                        <a:pt x="778" y="3529"/>
                      </a:lnTo>
                      <a:lnTo>
                        <a:pt x="778" y="3529"/>
                      </a:lnTo>
                      <a:lnTo>
                        <a:pt x="479" y="3648"/>
                      </a:lnTo>
                      <a:lnTo>
                        <a:pt x="180" y="3648"/>
                      </a:lnTo>
                      <a:lnTo>
                        <a:pt x="0" y="3529"/>
                      </a:lnTo>
                    </a:path>
                  </a:pathLst>
                </a:custGeom>
                <a:noFill/>
                <a:ln w="6350" cap="rnd">
                  <a:solidFill>
                    <a:schemeClr val="bg1">
                      <a:alpha val="40000"/>
                    </a:schemeClr>
                  </a:solidFill>
                  <a:prstDash val="solid"/>
                  <a:round/>
                </a:ln>
              </p:spPr>
              <p:txBody>
                <a:bodyPr rtlCol="0" anchor="ctr"/>
                <a:lstStyle/>
                <a:p>
                  <a:endParaRPr lang="en-GB"/>
                </a:p>
              </p:txBody>
            </p:sp>
            <p:sp>
              <p:nvSpPr>
                <p:cNvPr id="5482" name="Vrije vorm: vorm 5481">
                  <a:extLst>
                    <a:ext uri="{FF2B5EF4-FFF2-40B4-BE49-F238E27FC236}">
                      <a16:creationId xmlns:a16="http://schemas.microsoft.com/office/drawing/2014/main" id="{AFA496C1-0327-4513-B436-B76A621F310B}"/>
                    </a:ext>
                  </a:extLst>
                </p:cNvPr>
                <p:cNvSpPr/>
                <p:nvPr/>
              </p:nvSpPr>
              <p:spPr>
                <a:xfrm>
                  <a:off x="6444367" y="1597610"/>
                  <a:ext cx="3588" cy="4545"/>
                </a:xfrm>
                <a:custGeom>
                  <a:avLst/>
                  <a:gdLst>
                    <a:gd name="connsiteX0" fmla="*/ 1435 w 3588"/>
                    <a:gd name="connsiteY0" fmla="*/ 4545 h 4545"/>
                    <a:gd name="connsiteX1" fmla="*/ 299 w 3588"/>
                    <a:gd name="connsiteY1" fmla="*/ 3768 h 4545"/>
                    <a:gd name="connsiteX2" fmla="*/ 179 w 3588"/>
                    <a:gd name="connsiteY2" fmla="*/ 3648 h 4545"/>
                    <a:gd name="connsiteX3" fmla="*/ 120 w 3588"/>
                    <a:gd name="connsiteY3" fmla="*/ 3588 h 4545"/>
                    <a:gd name="connsiteX4" fmla="*/ 0 w 3588"/>
                    <a:gd name="connsiteY4" fmla="*/ 3349 h 4545"/>
                    <a:gd name="connsiteX5" fmla="*/ 0 w 3588"/>
                    <a:gd name="connsiteY5" fmla="*/ 2990 h 4545"/>
                    <a:gd name="connsiteX6" fmla="*/ 60 w 3588"/>
                    <a:gd name="connsiteY6" fmla="*/ 2811 h 4545"/>
                    <a:gd name="connsiteX7" fmla="*/ 120 w 3588"/>
                    <a:gd name="connsiteY7" fmla="*/ 2512 h 4545"/>
                    <a:gd name="connsiteX8" fmla="*/ 299 w 3588"/>
                    <a:gd name="connsiteY8" fmla="*/ 2034 h 4545"/>
                    <a:gd name="connsiteX9" fmla="*/ 538 w 3588"/>
                    <a:gd name="connsiteY9" fmla="*/ 1555 h 4545"/>
                    <a:gd name="connsiteX10" fmla="*/ 837 w 3588"/>
                    <a:gd name="connsiteY10" fmla="*/ 1077 h 4545"/>
                    <a:gd name="connsiteX11" fmla="*/ 1196 w 3588"/>
                    <a:gd name="connsiteY11" fmla="*/ 658 h 4545"/>
                    <a:gd name="connsiteX12" fmla="*/ 1555 w 3588"/>
                    <a:gd name="connsiteY12" fmla="*/ 359 h 4545"/>
                    <a:gd name="connsiteX13" fmla="*/ 1854 w 3588"/>
                    <a:gd name="connsiteY13" fmla="*/ 179 h 4545"/>
                    <a:gd name="connsiteX14" fmla="*/ 1914 w 3588"/>
                    <a:gd name="connsiteY14" fmla="*/ 120 h 4545"/>
                    <a:gd name="connsiteX15" fmla="*/ 2213 w 3588"/>
                    <a:gd name="connsiteY15" fmla="*/ 0 h 4545"/>
                    <a:gd name="connsiteX16" fmla="*/ 2452 w 3588"/>
                    <a:gd name="connsiteY16" fmla="*/ 0 h 4545"/>
                    <a:gd name="connsiteX17" fmla="*/ 3588 w 3588"/>
                    <a:gd name="connsiteY17" fmla="*/ 778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88" h="4545">
                      <a:moveTo>
                        <a:pt x="1435" y="4545"/>
                      </a:moveTo>
                      <a:lnTo>
                        <a:pt x="299" y="3768"/>
                      </a:lnTo>
                      <a:lnTo>
                        <a:pt x="179" y="3648"/>
                      </a:lnTo>
                      <a:lnTo>
                        <a:pt x="120" y="3588"/>
                      </a:lnTo>
                      <a:lnTo>
                        <a:pt x="0" y="3349"/>
                      </a:lnTo>
                      <a:lnTo>
                        <a:pt x="0" y="2990"/>
                      </a:lnTo>
                      <a:lnTo>
                        <a:pt x="60" y="2811"/>
                      </a:lnTo>
                      <a:lnTo>
                        <a:pt x="120" y="2512"/>
                      </a:lnTo>
                      <a:lnTo>
                        <a:pt x="299" y="2034"/>
                      </a:lnTo>
                      <a:lnTo>
                        <a:pt x="538" y="1555"/>
                      </a:lnTo>
                      <a:lnTo>
                        <a:pt x="837" y="1077"/>
                      </a:lnTo>
                      <a:lnTo>
                        <a:pt x="1196" y="658"/>
                      </a:lnTo>
                      <a:lnTo>
                        <a:pt x="1555" y="359"/>
                      </a:lnTo>
                      <a:lnTo>
                        <a:pt x="1854" y="179"/>
                      </a:lnTo>
                      <a:lnTo>
                        <a:pt x="1914" y="120"/>
                      </a:lnTo>
                      <a:lnTo>
                        <a:pt x="2213" y="0"/>
                      </a:lnTo>
                      <a:lnTo>
                        <a:pt x="2452" y="0"/>
                      </a:lnTo>
                      <a:lnTo>
                        <a:pt x="3588" y="778"/>
                      </a:lnTo>
                    </a:path>
                  </a:pathLst>
                </a:custGeom>
                <a:noFill/>
                <a:ln w="6350" cap="rnd">
                  <a:solidFill>
                    <a:schemeClr val="bg1">
                      <a:alpha val="40000"/>
                    </a:schemeClr>
                  </a:solidFill>
                  <a:prstDash val="solid"/>
                  <a:round/>
                </a:ln>
              </p:spPr>
              <p:txBody>
                <a:bodyPr rtlCol="0" anchor="ctr"/>
                <a:lstStyle/>
                <a:p>
                  <a:endParaRPr lang="en-GB"/>
                </a:p>
              </p:txBody>
            </p:sp>
            <p:sp>
              <p:nvSpPr>
                <p:cNvPr id="5483" name="Vrije vorm: vorm 5482">
                  <a:extLst>
                    <a:ext uri="{FF2B5EF4-FFF2-40B4-BE49-F238E27FC236}">
                      <a16:creationId xmlns:a16="http://schemas.microsoft.com/office/drawing/2014/main" id="{D8DD7E49-AA31-4D13-85FD-33F6125A654D}"/>
                    </a:ext>
                  </a:extLst>
                </p:cNvPr>
                <p:cNvSpPr/>
                <p:nvPr/>
              </p:nvSpPr>
              <p:spPr>
                <a:xfrm>
                  <a:off x="6436771" y="1546116"/>
                  <a:ext cx="27929" cy="40190"/>
                </a:xfrm>
                <a:custGeom>
                  <a:avLst/>
                  <a:gdLst>
                    <a:gd name="connsiteX0" fmla="*/ 27930 w 27929"/>
                    <a:gd name="connsiteY0" fmla="*/ 419 h 40190"/>
                    <a:gd name="connsiteX1" fmla="*/ 27212 w 27929"/>
                    <a:gd name="connsiteY1" fmla="*/ 0 h 40190"/>
                    <a:gd name="connsiteX2" fmla="*/ 24282 w 27929"/>
                    <a:gd name="connsiteY2" fmla="*/ 120 h 40190"/>
                    <a:gd name="connsiteX3" fmla="*/ 21351 w 27929"/>
                    <a:gd name="connsiteY3" fmla="*/ 1376 h 40190"/>
                    <a:gd name="connsiteX4" fmla="*/ 20753 w 27929"/>
                    <a:gd name="connsiteY4" fmla="*/ 1615 h 40190"/>
                    <a:gd name="connsiteX5" fmla="*/ 18122 w 27929"/>
                    <a:gd name="connsiteY5" fmla="*/ 3469 h 40190"/>
                    <a:gd name="connsiteX6" fmla="*/ 16866 w 27929"/>
                    <a:gd name="connsiteY6" fmla="*/ 4366 h 40190"/>
                    <a:gd name="connsiteX7" fmla="*/ 14533 w 27929"/>
                    <a:gd name="connsiteY7" fmla="*/ 6639 h 40190"/>
                    <a:gd name="connsiteX8" fmla="*/ 12919 w 27929"/>
                    <a:gd name="connsiteY8" fmla="*/ 8194 h 40190"/>
                    <a:gd name="connsiteX9" fmla="*/ 10825 w 27929"/>
                    <a:gd name="connsiteY9" fmla="*/ 10706 h 40190"/>
                    <a:gd name="connsiteX10" fmla="*/ 9151 w 27929"/>
                    <a:gd name="connsiteY10" fmla="*/ 12799 h 40190"/>
                    <a:gd name="connsiteX11" fmla="*/ 7357 w 27929"/>
                    <a:gd name="connsiteY11" fmla="*/ 15550 h 40190"/>
                    <a:gd name="connsiteX12" fmla="*/ 5801 w 27929"/>
                    <a:gd name="connsiteY12" fmla="*/ 17942 h 40190"/>
                    <a:gd name="connsiteX13" fmla="*/ 4306 w 27929"/>
                    <a:gd name="connsiteY13" fmla="*/ 20813 h 40190"/>
                    <a:gd name="connsiteX14" fmla="*/ 3050 w 27929"/>
                    <a:gd name="connsiteY14" fmla="*/ 23205 h 40190"/>
                    <a:gd name="connsiteX15" fmla="*/ 1914 w 27929"/>
                    <a:gd name="connsiteY15" fmla="*/ 26255 h 40190"/>
                    <a:gd name="connsiteX16" fmla="*/ 1136 w 27929"/>
                    <a:gd name="connsiteY16" fmla="*/ 28349 h 40190"/>
                    <a:gd name="connsiteX17" fmla="*/ 419 w 27929"/>
                    <a:gd name="connsiteY17" fmla="*/ 31518 h 40190"/>
                    <a:gd name="connsiteX18" fmla="*/ 60 w 27929"/>
                    <a:gd name="connsiteY18" fmla="*/ 33014 h 40190"/>
                    <a:gd name="connsiteX19" fmla="*/ 0 w 27929"/>
                    <a:gd name="connsiteY19" fmla="*/ 36183 h 40190"/>
                    <a:gd name="connsiteX20" fmla="*/ 0 w 27929"/>
                    <a:gd name="connsiteY20" fmla="*/ 36901 h 40190"/>
                    <a:gd name="connsiteX21" fmla="*/ 957 w 27929"/>
                    <a:gd name="connsiteY21" fmla="*/ 39712 h 40190"/>
                    <a:gd name="connsiteX22" fmla="*/ 1555 w 27929"/>
                    <a:gd name="connsiteY22" fmla="*/ 40190 h 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929" h="40190">
                      <a:moveTo>
                        <a:pt x="27930" y="419"/>
                      </a:moveTo>
                      <a:lnTo>
                        <a:pt x="27212" y="0"/>
                      </a:lnTo>
                      <a:lnTo>
                        <a:pt x="24282" y="120"/>
                      </a:lnTo>
                      <a:lnTo>
                        <a:pt x="21351" y="1376"/>
                      </a:lnTo>
                      <a:lnTo>
                        <a:pt x="20753" y="1615"/>
                      </a:lnTo>
                      <a:lnTo>
                        <a:pt x="18122" y="3469"/>
                      </a:lnTo>
                      <a:lnTo>
                        <a:pt x="16866" y="4366"/>
                      </a:lnTo>
                      <a:lnTo>
                        <a:pt x="14533" y="6639"/>
                      </a:lnTo>
                      <a:lnTo>
                        <a:pt x="12919" y="8194"/>
                      </a:lnTo>
                      <a:lnTo>
                        <a:pt x="10825" y="10706"/>
                      </a:lnTo>
                      <a:lnTo>
                        <a:pt x="9151" y="12799"/>
                      </a:lnTo>
                      <a:lnTo>
                        <a:pt x="7357" y="15550"/>
                      </a:lnTo>
                      <a:lnTo>
                        <a:pt x="5801" y="17942"/>
                      </a:lnTo>
                      <a:lnTo>
                        <a:pt x="4306" y="20813"/>
                      </a:lnTo>
                      <a:lnTo>
                        <a:pt x="3050" y="23205"/>
                      </a:lnTo>
                      <a:lnTo>
                        <a:pt x="1914" y="26255"/>
                      </a:lnTo>
                      <a:lnTo>
                        <a:pt x="1136" y="28349"/>
                      </a:lnTo>
                      <a:lnTo>
                        <a:pt x="419" y="31518"/>
                      </a:lnTo>
                      <a:lnTo>
                        <a:pt x="60" y="33014"/>
                      </a:lnTo>
                      <a:lnTo>
                        <a:pt x="0" y="36183"/>
                      </a:lnTo>
                      <a:lnTo>
                        <a:pt x="0" y="36901"/>
                      </a:lnTo>
                      <a:lnTo>
                        <a:pt x="957" y="39712"/>
                      </a:lnTo>
                      <a:lnTo>
                        <a:pt x="1555" y="40190"/>
                      </a:lnTo>
                    </a:path>
                  </a:pathLst>
                </a:custGeom>
                <a:noFill/>
                <a:ln w="6350" cap="rnd">
                  <a:solidFill>
                    <a:schemeClr val="bg1">
                      <a:alpha val="40000"/>
                    </a:schemeClr>
                  </a:solidFill>
                  <a:prstDash val="solid"/>
                  <a:round/>
                </a:ln>
              </p:spPr>
              <p:txBody>
                <a:bodyPr rtlCol="0" anchor="ctr"/>
                <a:lstStyle/>
                <a:p>
                  <a:endParaRPr lang="en-GB"/>
                </a:p>
              </p:txBody>
            </p:sp>
            <p:sp>
              <p:nvSpPr>
                <p:cNvPr id="5484" name="Vrije vorm: vorm 5483">
                  <a:extLst>
                    <a:ext uri="{FF2B5EF4-FFF2-40B4-BE49-F238E27FC236}">
                      <a16:creationId xmlns:a16="http://schemas.microsoft.com/office/drawing/2014/main" id="{0B18FC3B-A73B-4C09-8E2F-36D4FB56FFD9}"/>
                    </a:ext>
                  </a:extLst>
                </p:cNvPr>
                <p:cNvSpPr/>
                <p:nvPr/>
              </p:nvSpPr>
              <p:spPr>
                <a:xfrm>
                  <a:off x="6471220" y="1716627"/>
                  <a:ext cx="6160" cy="24042"/>
                </a:xfrm>
                <a:custGeom>
                  <a:avLst/>
                  <a:gdLst>
                    <a:gd name="connsiteX0" fmla="*/ 2093 w 6160"/>
                    <a:gd name="connsiteY0" fmla="*/ 24042 h 24042"/>
                    <a:gd name="connsiteX1" fmla="*/ 1256 w 6160"/>
                    <a:gd name="connsiteY1" fmla="*/ 22966 h 24042"/>
                    <a:gd name="connsiteX2" fmla="*/ 1136 w 6160"/>
                    <a:gd name="connsiteY2" fmla="*/ 22846 h 24042"/>
                    <a:gd name="connsiteX3" fmla="*/ 957 w 6160"/>
                    <a:gd name="connsiteY3" fmla="*/ 22368 h 24042"/>
                    <a:gd name="connsiteX4" fmla="*/ 120 w 6160"/>
                    <a:gd name="connsiteY4" fmla="*/ 19736 h 24042"/>
                    <a:gd name="connsiteX5" fmla="*/ 60 w 6160"/>
                    <a:gd name="connsiteY5" fmla="*/ 17823 h 24042"/>
                    <a:gd name="connsiteX6" fmla="*/ 0 w 6160"/>
                    <a:gd name="connsiteY6" fmla="*/ 15909 h 24042"/>
                    <a:gd name="connsiteX7" fmla="*/ 60 w 6160"/>
                    <a:gd name="connsiteY7" fmla="*/ 15430 h 24042"/>
                    <a:gd name="connsiteX8" fmla="*/ 299 w 6160"/>
                    <a:gd name="connsiteY8" fmla="*/ 14055 h 24042"/>
                    <a:gd name="connsiteX9" fmla="*/ 538 w 6160"/>
                    <a:gd name="connsiteY9" fmla="*/ 12440 h 24042"/>
                    <a:gd name="connsiteX10" fmla="*/ 658 w 6160"/>
                    <a:gd name="connsiteY10" fmla="*/ 11902 h 24042"/>
                    <a:gd name="connsiteX11" fmla="*/ 658 w 6160"/>
                    <a:gd name="connsiteY11" fmla="*/ 11902 h 24042"/>
                    <a:gd name="connsiteX12" fmla="*/ 718 w 6160"/>
                    <a:gd name="connsiteY12" fmla="*/ 11543 h 24042"/>
                    <a:gd name="connsiteX13" fmla="*/ 1316 w 6160"/>
                    <a:gd name="connsiteY13" fmla="*/ 9749 h 24042"/>
                    <a:gd name="connsiteX14" fmla="*/ 1675 w 6160"/>
                    <a:gd name="connsiteY14" fmla="*/ 8612 h 24042"/>
                    <a:gd name="connsiteX15" fmla="*/ 2213 w 6160"/>
                    <a:gd name="connsiteY15" fmla="*/ 7057 h 24042"/>
                    <a:gd name="connsiteX16" fmla="*/ 2392 w 6160"/>
                    <a:gd name="connsiteY16" fmla="*/ 6698 h 24042"/>
                    <a:gd name="connsiteX17" fmla="*/ 3828 w 6160"/>
                    <a:gd name="connsiteY17" fmla="*/ 3768 h 24042"/>
                    <a:gd name="connsiteX18" fmla="*/ 3888 w 6160"/>
                    <a:gd name="connsiteY18" fmla="*/ 3648 h 24042"/>
                    <a:gd name="connsiteX19" fmla="*/ 4366 w 6160"/>
                    <a:gd name="connsiteY19" fmla="*/ 2632 h 24042"/>
                    <a:gd name="connsiteX20" fmla="*/ 6160 w 6160"/>
                    <a:gd name="connsiteY20" fmla="*/ 0 h 24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60" h="24042">
                      <a:moveTo>
                        <a:pt x="2093" y="24042"/>
                      </a:moveTo>
                      <a:lnTo>
                        <a:pt x="1256" y="22966"/>
                      </a:lnTo>
                      <a:lnTo>
                        <a:pt x="1136" y="22846"/>
                      </a:lnTo>
                      <a:lnTo>
                        <a:pt x="957" y="22368"/>
                      </a:lnTo>
                      <a:lnTo>
                        <a:pt x="120" y="19736"/>
                      </a:lnTo>
                      <a:lnTo>
                        <a:pt x="60" y="17823"/>
                      </a:lnTo>
                      <a:lnTo>
                        <a:pt x="0" y="15909"/>
                      </a:lnTo>
                      <a:lnTo>
                        <a:pt x="60" y="15430"/>
                      </a:lnTo>
                      <a:lnTo>
                        <a:pt x="299" y="14055"/>
                      </a:lnTo>
                      <a:lnTo>
                        <a:pt x="538" y="12440"/>
                      </a:lnTo>
                      <a:lnTo>
                        <a:pt x="658" y="11902"/>
                      </a:lnTo>
                      <a:lnTo>
                        <a:pt x="658" y="11902"/>
                      </a:lnTo>
                      <a:lnTo>
                        <a:pt x="718" y="11543"/>
                      </a:lnTo>
                      <a:lnTo>
                        <a:pt x="1316" y="9749"/>
                      </a:lnTo>
                      <a:lnTo>
                        <a:pt x="1675" y="8612"/>
                      </a:lnTo>
                      <a:lnTo>
                        <a:pt x="2213" y="7057"/>
                      </a:lnTo>
                      <a:lnTo>
                        <a:pt x="2392" y="6698"/>
                      </a:lnTo>
                      <a:lnTo>
                        <a:pt x="3828" y="3768"/>
                      </a:lnTo>
                      <a:lnTo>
                        <a:pt x="3888" y="3648"/>
                      </a:lnTo>
                      <a:lnTo>
                        <a:pt x="4366" y="2632"/>
                      </a:lnTo>
                      <a:lnTo>
                        <a:pt x="6160" y="0"/>
                      </a:lnTo>
                    </a:path>
                  </a:pathLst>
                </a:custGeom>
                <a:noFill/>
                <a:ln w="6350" cap="rnd">
                  <a:solidFill>
                    <a:schemeClr val="bg1">
                      <a:alpha val="40000"/>
                    </a:schemeClr>
                  </a:solidFill>
                  <a:prstDash val="solid"/>
                  <a:round/>
                </a:ln>
              </p:spPr>
              <p:txBody>
                <a:bodyPr rtlCol="0" anchor="ctr"/>
                <a:lstStyle/>
                <a:p>
                  <a:endParaRPr lang="en-GB"/>
                </a:p>
              </p:txBody>
            </p:sp>
            <p:sp>
              <p:nvSpPr>
                <p:cNvPr id="5485" name="Vrije vorm: vorm 5484">
                  <a:extLst>
                    <a:ext uri="{FF2B5EF4-FFF2-40B4-BE49-F238E27FC236}">
                      <a16:creationId xmlns:a16="http://schemas.microsoft.com/office/drawing/2014/main" id="{C49C79B4-B833-4BD8-94C0-94BF0925167E}"/>
                    </a:ext>
                  </a:extLst>
                </p:cNvPr>
                <p:cNvSpPr/>
                <p:nvPr/>
              </p:nvSpPr>
              <p:spPr>
                <a:xfrm>
                  <a:off x="6480431" y="1712261"/>
                  <a:ext cx="4126" cy="6339"/>
                </a:xfrm>
                <a:custGeom>
                  <a:avLst/>
                  <a:gdLst>
                    <a:gd name="connsiteX0" fmla="*/ 0 w 4126"/>
                    <a:gd name="connsiteY0" fmla="*/ 6160 h 6339"/>
                    <a:gd name="connsiteX1" fmla="*/ 479 w 4126"/>
                    <a:gd name="connsiteY1" fmla="*/ 6340 h 6339"/>
                    <a:gd name="connsiteX2" fmla="*/ 1017 w 4126"/>
                    <a:gd name="connsiteY2" fmla="*/ 6280 h 6339"/>
                    <a:gd name="connsiteX3" fmla="*/ 1615 w 4126"/>
                    <a:gd name="connsiteY3" fmla="*/ 6041 h 6339"/>
                    <a:gd name="connsiteX4" fmla="*/ 2213 w 4126"/>
                    <a:gd name="connsiteY4" fmla="*/ 5562 h 6339"/>
                    <a:gd name="connsiteX5" fmla="*/ 2691 w 4126"/>
                    <a:gd name="connsiteY5" fmla="*/ 5084 h 6339"/>
                    <a:gd name="connsiteX6" fmla="*/ 2751 w 4126"/>
                    <a:gd name="connsiteY6" fmla="*/ 4964 h 6339"/>
                    <a:gd name="connsiteX7" fmla="*/ 2751 w 4126"/>
                    <a:gd name="connsiteY7" fmla="*/ 4964 h 6339"/>
                    <a:gd name="connsiteX8" fmla="*/ 2811 w 4126"/>
                    <a:gd name="connsiteY8" fmla="*/ 4904 h 6339"/>
                    <a:gd name="connsiteX9" fmla="*/ 3349 w 4126"/>
                    <a:gd name="connsiteY9" fmla="*/ 4127 h 6339"/>
                    <a:gd name="connsiteX10" fmla="*/ 3768 w 4126"/>
                    <a:gd name="connsiteY10" fmla="*/ 3289 h 6339"/>
                    <a:gd name="connsiteX11" fmla="*/ 3828 w 4126"/>
                    <a:gd name="connsiteY11" fmla="*/ 3050 h 6339"/>
                    <a:gd name="connsiteX12" fmla="*/ 3828 w 4126"/>
                    <a:gd name="connsiteY12" fmla="*/ 3050 h 6339"/>
                    <a:gd name="connsiteX13" fmla="*/ 4007 w 4126"/>
                    <a:gd name="connsiteY13" fmla="*/ 2452 h 6339"/>
                    <a:gd name="connsiteX14" fmla="*/ 4067 w 4126"/>
                    <a:gd name="connsiteY14" fmla="*/ 2093 h 6339"/>
                    <a:gd name="connsiteX15" fmla="*/ 4127 w 4126"/>
                    <a:gd name="connsiteY15" fmla="*/ 1615 h 6339"/>
                    <a:gd name="connsiteX16" fmla="*/ 4127 w 4126"/>
                    <a:gd name="connsiteY16" fmla="*/ 1555 h 6339"/>
                    <a:gd name="connsiteX17" fmla="*/ 4127 w 4126"/>
                    <a:gd name="connsiteY17" fmla="*/ 957 h 6339"/>
                    <a:gd name="connsiteX18" fmla="*/ 4127 w 4126"/>
                    <a:gd name="connsiteY18" fmla="*/ 897 h 6339"/>
                    <a:gd name="connsiteX19" fmla="*/ 3947 w 4126"/>
                    <a:gd name="connsiteY19" fmla="*/ 359 h 6339"/>
                    <a:gd name="connsiteX20" fmla="*/ 3589 w 4126"/>
                    <a:gd name="connsiteY20" fmla="*/ 0 h 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26" h="6339">
                      <a:moveTo>
                        <a:pt x="0" y="6160"/>
                      </a:moveTo>
                      <a:lnTo>
                        <a:pt x="479" y="6340"/>
                      </a:lnTo>
                      <a:lnTo>
                        <a:pt x="1017" y="6280"/>
                      </a:lnTo>
                      <a:lnTo>
                        <a:pt x="1615" y="6041"/>
                      </a:lnTo>
                      <a:lnTo>
                        <a:pt x="2213" y="5562"/>
                      </a:lnTo>
                      <a:lnTo>
                        <a:pt x="2691" y="5084"/>
                      </a:lnTo>
                      <a:lnTo>
                        <a:pt x="2751" y="4964"/>
                      </a:lnTo>
                      <a:lnTo>
                        <a:pt x="2751" y="4964"/>
                      </a:lnTo>
                      <a:lnTo>
                        <a:pt x="2811" y="4904"/>
                      </a:lnTo>
                      <a:lnTo>
                        <a:pt x="3349" y="4127"/>
                      </a:lnTo>
                      <a:lnTo>
                        <a:pt x="3768" y="3289"/>
                      </a:lnTo>
                      <a:lnTo>
                        <a:pt x="3828" y="3050"/>
                      </a:lnTo>
                      <a:lnTo>
                        <a:pt x="3828" y="3050"/>
                      </a:lnTo>
                      <a:lnTo>
                        <a:pt x="4007" y="2452"/>
                      </a:lnTo>
                      <a:lnTo>
                        <a:pt x="4067" y="2093"/>
                      </a:lnTo>
                      <a:lnTo>
                        <a:pt x="4127" y="1615"/>
                      </a:lnTo>
                      <a:lnTo>
                        <a:pt x="4127" y="1555"/>
                      </a:lnTo>
                      <a:lnTo>
                        <a:pt x="4127" y="957"/>
                      </a:lnTo>
                      <a:lnTo>
                        <a:pt x="4127" y="897"/>
                      </a:lnTo>
                      <a:lnTo>
                        <a:pt x="3947" y="359"/>
                      </a:lnTo>
                      <a:lnTo>
                        <a:pt x="3589" y="0"/>
                      </a:lnTo>
                    </a:path>
                  </a:pathLst>
                </a:custGeom>
                <a:noFill/>
                <a:ln w="6350" cap="rnd">
                  <a:solidFill>
                    <a:schemeClr val="bg1">
                      <a:alpha val="40000"/>
                    </a:schemeClr>
                  </a:solidFill>
                  <a:prstDash val="solid"/>
                  <a:round/>
                </a:ln>
              </p:spPr>
              <p:txBody>
                <a:bodyPr rtlCol="0" anchor="ctr"/>
                <a:lstStyle/>
                <a:p>
                  <a:endParaRPr lang="en-GB"/>
                </a:p>
              </p:txBody>
            </p:sp>
            <p:sp>
              <p:nvSpPr>
                <p:cNvPr id="5486" name="Vrije vorm: vorm 5485">
                  <a:extLst>
                    <a:ext uri="{FF2B5EF4-FFF2-40B4-BE49-F238E27FC236}">
                      <a16:creationId xmlns:a16="http://schemas.microsoft.com/office/drawing/2014/main" id="{9CA42A0B-E187-4122-AE6A-D75EE05A2ABF}"/>
                    </a:ext>
                  </a:extLst>
                </p:cNvPr>
                <p:cNvSpPr/>
                <p:nvPr/>
              </p:nvSpPr>
              <p:spPr>
                <a:xfrm>
                  <a:off x="6482225" y="1707596"/>
                  <a:ext cx="8911" cy="3767"/>
                </a:xfrm>
                <a:custGeom>
                  <a:avLst/>
                  <a:gdLst>
                    <a:gd name="connsiteX0" fmla="*/ 0 w 8911"/>
                    <a:gd name="connsiteY0" fmla="*/ 3768 h 3767"/>
                    <a:gd name="connsiteX1" fmla="*/ 598 w 8911"/>
                    <a:gd name="connsiteY1" fmla="*/ 3349 h 3767"/>
                    <a:gd name="connsiteX2" fmla="*/ 2691 w 8911"/>
                    <a:gd name="connsiteY2" fmla="*/ 1734 h 3767"/>
                    <a:gd name="connsiteX3" fmla="*/ 3170 w 8911"/>
                    <a:gd name="connsiteY3" fmla="*/ 1555 h 3767"/>
                    <a:gd name="connsiteX4" fmla="*/ 5024 w 8911"/>
                    <a:gd name="connsiteY4" fmla="*/ 718 h 3767"/>
                    <a:gd name="connsiteX5" fmla="*/ 5981 w 8911"/>
                    <a:gd name="connsiteY5" fmla="*/ 299 h 3767"/>
                    <a:gd name="connsiteX6" fmla="*/ 8911 w 8911"/>
                    <a:gd name="connsiteY6" fmla="*/ 0 h 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1" h="3767">
                      <a:moveTo>
                        <a:pt x="0" y="3768"/>
                      </a:moveTo>
                      <a:lnTo>
                        <a:pt x="598" y="3349"/>
                      </a:lnTo>
                      <a:lnTo>
                        <a:pt x="2691" y="1734"/>
                      </a:lnTo>
                      <a:lnTo>
                        <a:pt x="3170" y="1555"/>
                      </a:lnTo>
                      <a:lnTo>
                        <a:pt x="5024" y="718"/>
                      </a:lnTo>
                      <a:lnTo>
                        <a:pt x="5981" y="299"/>
                      </a:lnTo>
                      <a:lnTo>
                        <a:pt x="8911" y="0"/>
                      </a:lnTo>
                    </a:path>
                  </a:pathLst>
                </a:custGeom>
                <a:noFill/>
                <a:ln w="6350" cap="rnd">
                  <a:solidFill>
                    <a:schemeClr val="bg1">
                      <a:alpha val="40000"/>
                    </a:schemeClr>
                  </a:solidFill>
                  <a:prstDash val="solid"/>
                  <a:round/>
                </a:ln>
              </p:spPr>
              <p:txBody>
                <a:bodyPr rtlCol="0" anchor="ctr"/>
                <a:lstStyle/>
                <a:p>
                  <a:endParaRPr lang="en-GB"/>
                </a:p>
              </p:txBody>
            </p:sp>
            <p:sp>
              <p:nvSpPr>
                <p:cNvPr id="5487" name="Vrije vorm: vorm 5486">
                  <a:extLst>
                    <a:ext uri="{FF2B5EF4-FFF2-40B4-BE49-F238E27FC236}">
                      <a16:creationId xmlns:a16="http://schemas.microsoft.com/office/drawing/2014/main" id="{769A4C30-13B6-4FC3-BCD3-2E176D38821F}"/>
                    </a:ext>
                  </a:extLst>
                </p:cNvPr>
                <p:cNvSpPr/>
                <p:nvPr/>
              </p:nvSpPr>
              <p:spPr>
                <a:xfrm>
                  <a:off x="6482225" y="1722727"/>
                  <a:ext cx="3408" cy="4605"/>
                </a:xfrm>
                <a:custGeom>
                  <a:avLst/>
                  <a:gdLst>
                    <a:gd name="connsiteX0" fmla="*/ 2990 w 3408"/>
                    <a:gd name="connsiteY0" fmla="*/ 120 h 4605"/>
                    <a:gd name="connsiteX1" fmla="*/ 2871 w 3408"/>
                    <a:gd name="connsiteY1" fmla="*/ 60 h 4605"/>
                    <a:gd name="connsiteX2" fmla="*/ 2632 w 3408"/>
                    <a:gd name="connsiteY2" fmla="*/ 0 h 4605"/>
                    <a:gd name="connsiteX3" fmla="*/ 2213 w 3408"/>
                    <a:gd name="connsiteY3" fmla="*/ 60 h 4605"/>
                    <a:gd name="connsiteX4" fmla="*/ 1794 w 3408"/>
                    <a:gd name="connsiteY4" fmla="*/ 239 h 4605"/>
                    <a:gd name="connsiteX5" fmla="*/ 1375 w 3408"/>
                    <a:gd name="connsiteY5" fmla="*/ 538 h 4605"/>
                    <a:gd name="connsiteX6" fmla="*/ 957 w 3408"/>
                    <a:gd name="connsiteY6" fmla="*/ 957 h 4605"/>
                    <a:gd name="connsiteX7" fmla="*/ 598 w 3408"/>
                    <a:gd name="connsiteY7" fmla="*/ 1495 h 4605"/>
                    <a:gd name="connsiteX8" fmla="*/ 299 w 3408"/>
                    <a:gd name="connsiteY8" fmla="*/ 2093 h 4605"/>
                    <a:gd name="connsiteX9" fmla="*/ 119 w 3408"/>
                    <a:gd name="connsiteY9" fmla="*/ 2691 h 4605"/>
                    <a:gd name="connsiteX10" fmla="*/ 0 w 3408"/>
                    <a:gd name="connsiteY10" fmla="*/ 3289 h 4605"/>
                    <a:gd name="connsiteX11" fmla="*/ 0 w 3408"/>
                    <a:gd name="connsiteY11" fmla="*/ 3529 h 4605"/>
                    <a:gd name="connsiteX12" fmla="*/ 0 w 3408"/>
                    <a:gd name="connsiteY12" fmla="*/ 3768 h 4605"/>
                    <a:gd name="connsiteX13" fmla="*/ 119 w 3408"/>
                    <a:gd name="connsiteY13" fmla="*/ 4187 h 4605"/>
                    <a:gd name="connsiteX14" fmla="*/ 359 w 3408"/>
                    <a:gd name="connsiteY14" fmla="*/ 4486 h 4605"/>
                    <a:gd name="connsiteX15" fmla="*/ 418 w 3408"/>
                    <a:gd name="connsiteY15" fmla="*/ 4486 h 4605"/>
                    <a:gd name="connsiteX16" fmla="*/ 718 w 3408"/>
                    <a:gd name="connsiteY16" fmla="*/ 4605 h 4605"/>
                    <a:gd name="connsiteX17" fmla="*/ 778 w 3408"/>
                    <a:gd name="connsiteY17" fmla="*/ 4605 h 4605"/>
                    <a:gd name="connsiteX18" fmla="*/ 1136 w 3408"/>
                    <a:gd name="connsiteY18" fmla="*/ 4605 h 4605"/>
                    <a:gd name="connsiteX19" fmla="*/ 1375 w 3408"/>
                    <a:gd name="connsiteY19" fmla="*/ 4486 h 4605"/>
                    <a:gd name="connsiteX20" fmla="*/ 1615 w 3408"/>
                    <a:gd name="connsiteY20" fmla="*/ 4366 h 4605"/>
                    <a:gd name="connsiteX21" fmla="*/ 2033 w 3408"/>
                    <a:gd name="connsiteY21" fmla="*/ 4067 h 4605"/>
                    <a:gd name="connsiteX22" fmla="*/ 2452 w 3408"/>
                    <a:gd name="connsiteY22" fmla="*/ 3588 h 4605"/>
                    <a:gd name="connsiteX23" fmla="*/ 2811 w 3408"/>
                    <a:gd name="connsiteY23" fmla="*/ 3050 h 4605"/>
                    <a:gd name="connsiteX24" fmla="*/ 3110 w 3408"/>
                    <a:gd name="connsiteY24" fmla="*/ 2452 h 4605"/>
                    <a:gd name="connsiteX25" fmla="*/ 3289 w 3408"/>
                    <a:gd name="connsiteY25" fmla="*/ 1854 h 4605"/>
                    <a:gd name="connsiteX26" fmla="*/ 3409 w 3408"/>
                    <a:gd name="connsiteY26" fmla="*/ 1256 h 4605"/>
                    <a:gd name="connsiteX27" fmla="*/ 3409 w 3408"/>
                    <a:gd name="connsiteY27" fmla="*/ 778 h 4605"/>
                    <a:gd name="connsiteX28" fmla="*/ 3409 w 3408"/>
                    <a:gd name="connsiteY28" fmla="*/ 778 h 4605"/>
                    <a:gd name="connsiteX29" fmla="*/ 3289 w 3408"/>
                    <a:gd name="connsiteY29" fmla="*/ 359 h 4605"/>
                    <a:gd name="connsiteX30" fmla="*/ 2990 w 3408"/>
                    <a:gd name="connsiteY30" fmla="*/ 120 h 4605"/>
                    <a:gd name="connsiteX31" fmla="*/ 2990 w 3408"/>
                    <a:gd name="connsiteY31" fmla="*/ 120 h 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8" h="4605">
                      <a:moveTo>
                        <a:pt x="2990" y="120"/>
                      </a:moveTo>
                      <a:lnTo>
                        <a:pt x="2871" y="60"/>
                      </a:lnTo>
                      <a:lnTo>
                        <a:pt x="2632" y="0"/>
                      </a:lnTo>
                      <a:lnTo>
                        <a:pt x="2213" y="60"/>
                      </a:lnTo>
                      <a:lnTo>
                        <a:pt x="1794" y="239"/>
                      </a:lnTo>
                      <a:lnTo>
                        <a:pt x="1375" y="538"/>
                      </a:lnTo>
                      <a:lnTo>
                        <a:pt x="957" y="957"/>
                      </a:lnTo>
                      <a:lnTo>
                        <a:pt x="598" y="1495"/>
                      </a:lnTo>
                      <a:lnTo>
                        <a:pt x="299" y="2093"/>
                      </a:lnTo>
                      <a:lnTo>
                        <a:pt x="119" y="2691"/>
                      </a:lnTo>
                      <a:lnTo>
                        <a:pt x="0" y="3289"/>
                      </a:lnTo>
                      <a:lnTo>
                        <a:pt x="0" y="3529"/>
                      </a:lnTo>
                      <a:lnTo>
                        <a:pt x="0" y="3768"/>
                      </a:lnTo>
                      <a:lnTo>
                        <a:pt x="119" y="4187"/>
                      </a:lnTo>
                      <a:lnTo>
                        <a:pt x="359" y="4486"/>
                      </a:lnTo>
                      <a:lnTo>
                        <a:pt x="418" y="4486"/>
                      </a:lnTo>
                      <a:lnTo>
                        <a:pt x="718" y="4605"/>
                      </a:lnTo>
                      <a:lnTo>
                        <a:pt x="778" y="4605"/>
                      </a:lnTo>
                      <a:lnTo>
                        <a:pt x="1136" y="4605"/>
                      </a:lnTo>
                      <a:lnTo>
                        <a:pt x="1375" y="4486"/>
                      </a:lnTo>
                      <a:lnTo>
                        <a:pt x="1615" y="4366"/>
                      </a:lnTo>
                      <a:lnTo>
                        <a:pt x="2033" y="4067"/>
                      </a:lnTo>
                      <a:lnTo>
                        <a:pt x="2452" y="3588"/>
                      </a:lnTo>
                      <a:lnTo>
                        <a:pt x="2811" y="3050"/>
                      </a:lnTo>
                      <a:lnTo>
                        <a:pt x="3110" y="2452"/>
                      </a:lnTo>
                      <a:lnTo>
                        <a:pt x="3289" y="1854"/>
                      </a:lnTo>
                      <a:lnTo>
                        <a:pt x="3409" y="1256"/>
                      </a:lnTo>
                      <a:lnTo>
                        <a:pt x="3409" y="778"/>
                      </a:lnTo>
                      <a:lnTo>
                        <a:pt x="3409" y="778"/>
                      </a:lnTo>
                      <a:lnTo>
                        <a:pt x="3289" y="359"/>
                      </a:lnTo>
                      <a:lnTo>
                        <a:pt x="2990" y="120"/>
                      </a:lnTo>
                      <a:lnTo>
                        <a:pt x="2990" y="120"/>
                      </a:lnTo>
                    </a:path>
                  </a:pathLst>
                </a:custGeom>
                <a:noFill/>
                <a:ln w="6350" cap="rnd">
                  <a:solidFill>
                    <a:schemeClr val="bg1">
                      <a:alpha val="40000"/>
                    </a:schemeClr>
                  </a:solidFill>
                  <a:prstDash val="solid"/>
                  <a:round/>
                </a:ln>
              </p:spPr>
              <p:txBody>
                <a:bodyPr rtlCol="0" anchor="ctr"/>
                <a:lstStyle/>
                <a:p>
                  <a:endParaRPr lang="en-GB"/>
                </a:p>
              </p:txBody>
            </p:sp>
            <p:sp>
              <p:nvSpPr>
                <p:cNvPr id="5488" name="Vrije vorm: vorm 5487">
                  <a:extLst>
                    <a:ext uri="{FF2B5EF4-FFF2-40B4-BE49-F238E27FC236}">
                      <a16:creationId xmlns:a16="http://schemas.microsoft.com/office/drawing/2014/main" id="{23C5E652-46D1-4E19-977C-A8CF4F336AE6}"/>
                    </a:ext>
                  </a:extLst>
                </p:cNvPr>
                <p:cNvSpPr/>
                <p:nvPr/>
              </p:nvSpPr>
              <p:spPr>
                <a:xfrm>
                  <a:off x="6535932" y="1688159"/>
                  <a:ext cx="6578" cy="11602"/>
                </a:xfrm>
                <a:custGeom>
                  <a:avLst/>
                  <a:gdLst>
                    <a:gd name="connsiteX0" fmla="*/ 0 w 6578"/>
                    <a:gd name="connsiteY0" fmla="*/ 0 h 11602"/>
                    <a:gd name="connsiteX1" fmla="*/ 2213 w 6578"/>
                    <a:gd name="connsiteY1" fmla="*/ 1376 h 11602"/>
                    <a:gd name="connsiteX2" fmla="*/ 3888 w 6578"/>
                    <a:gd name="connsiteY2" fmla="*/ 3888 h 11602"/>
                    <a:gd name="connsiteX3" fmla="*/ 5562 w 6578"/>
                    <a:gd name="connsiteY3" fmla="*/ 6399 h 11602"/>
                    <a:gd name="connsiteX4" fmla="*/ 6579 w 6578"/>
                    <a:gd name="connsiteY4" fmla="*/ 7954 h 11602"/>
                    <a:gd name="connsiteX5" fmla="*/ 4366 w 6578"/>
                    <a:gd name="connsiteY5" fmla="*/ 10347 h 11602"/>
                    <a:gd name="connsiteX6" fmla="*/ 3170 w 6578"/>
                    <a:gd name="connsiteY6" fmla="*/ 1160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 h="11602">
                      <a:moveTo>
                        <a:pt x="0" y="0"/>
                      </a:moveTo>
                      <a:lnTo>
                        <a:pt x="2213" y="1376"/>
                      </a:lnTo>
                      <a:lnTo>
                        <a:pt x="3888" y="3888"/>
                      </a:lnTo>
                      <a:lnTo>
                        <a:pt x="5562" y="6399"/>
                      </a:lnTo>
                      <a:lnTo>
                        <a:pt x="6579" y="7954"/>
                      </a:lnTo>
                      <a:lnTo>
                        <a:pt x="4366" y="10347"/>
                      </a:lnTo>
                      <a:lnTo>
                        <a:pt x="3170" y="11603"/>
                      </a:lnTo>
                    </a:path>
                  </a:pathLst>
                </a:custGeom>
                <a:noFill/>
                <a:ln w="6350" cap="rnd">
                  <a:solidFill>
                    <a:schemeClr val="bg1">
                      <a:alpha val="40000"/>
                    </a:schemeClr>
                  </a:solidFill>
                  <a:prstDash val="solid"/>
                  <a:round/>
                </a:ln>
              </p:spPr>
              <p:txBody>
                <a:bodyPr rtlCol="0" anchor="ctr"/>
                <a:lstStyle/>
                <a:p>
                  <a:endParaRPr lang="en-GB"/>
                </a:p>
              </p:txBody>
            </p:sp>
            <p:sp>
              <p:nvSpPr>
                <p:cNvPr id="5489" name="Vrije vorm: vorm 5488">
                  <a:extLst>
                    <a:ext uri="{FF2B5EF4-FFF2-40B4-BE49-F238E27FC236}">
                      <a16:creationId xmlns:a16="http://schemas.microsoft.com/office/drawing/2014/main" id="{3B515A31-690E-42D5-A28E-3E9F90769573}"/>
                    </a:ext>
                  </a:extLst>
                </p:cNvPr>
                <p:cNvSpPr/>
                <p:nvPr/>
              </p:nvSpPr>
              <p:spPr>
                <a:xfrm>
                  <a:off x="6537247" y="1693003"/>
                  <a:ext cx="5263" cy="3229"/>
                </a:xfrm>
                <a:custGeom>
                  <a:avLst/>
                  <a:gdLst>
                    <a:gd name="connsiteX0" fmla="*/ 5263 w 5263"/>
                    <a:gd name="connsiteY0" fmla="*/ 3230 h 3229"/>
                    <a:gd name="connsiteX1" fmla="*/ 2751 w 5263"/>
                    <a:gd name="connsiteY1" fmla="*/ 1675 h 3229"/>
                    <a:gd name="connsiteX2" fmla="*/ 239 w 5263"/>
                    <a:gd name="connsiteY2" fmla="*/ 120 h 3229"/>
                    <a:gd name="connsiteX3" fmla="*/ 0 w 5263"/>
                    <a:gd name="connsiteY3" fmla="*/ 0 h 3229"/>
                  </a:gdLst>
                  <a:ahLst/>
                  <a:cxnLst>
                    <a:cxn ang="0">
                      <a:pos x="connsiteX0" y="connsiteY0"/>
                    </a:cxn>
                    <a:cxn ang="0">
                      <a:pos x="connsiteX1" y="connsiteY1"/>
                    </a:cxn>
                    <a:cxn ang="0">
                      <a:pos x="connsiteX2" y="connsiteY2"/>
                    </a:cxn>
                    <a:cxn ang="0">
                      <a:pos x="connsiteX3" y="connsiteY3"/>
                    </a:cxn>
                  </a:cxnLst>
                  <a:rect l="l" t="t" r="r" b="b"/>
                  <a:pathLst>
                    <a:path w="5263" h="3229">
                      <a:moveTo>
                        <a:pt x="5263" y="3230"/>
                      </a:moveTo>
                      <a:lnTo>
                        <a:pt x="2751" y="1675"/>
                      </a:lnTo>
                      <a:lnTo>
                        <a:pt x="239"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490" name="Vrije vorm: vorm 5489">
                  <a:extLst>
                    <a:ext uri="{FF2B5EF4-FFF2-40B4-BE49-F238E27FC236}">
                      <a16:creationId xmlns:a16="http://schemas.microsoft.com/office/drawing/2014/main" id="{71D3B599-0536-4284-9BB0-EAABDBF1BFB4}"/>
                    </a:ext>
                  </a:extLst>
                </p:cNvPr>
                <p:cNvSpPr/>
                <p:nvPr/>
              </p:nvSpPr>
              <p:spPr>
                <a:xfrm>
                  <a:off x="6480670" y="1730442"/>
                  <a:ext cx="6040" cy="6638"/>
                </a:xfrm>
                <a:custGeom>
                  <a:avLst/>
                  <a:gdLst>
                    <a:gd name="connsiteX0" fmla="*/ 6041 w 6040"/>
                    <a:gd name="connsiteY0" fmla="*/ 1136 h 6638"/>
                    <a:gd name="connsiteX1" fmla="*/ 4246 w 6040"/>
                    <a:gd name="connsiteY1" fmla="*/ 179 h 6638"/>
                    <a:gd name="connsiteX2" fmla="*/ 3947 w 6040"/>
                    <a:gd name="connsiteY2" fmla="*/ 60 h 6638"/>
                    <a:gd name="connsiteX3" fmla="*/ 3768 w 6040"/>
                    <a:gd name="connsiteY3" fmla="*/ 0 h 6638"/>
                    <a:gd name="connsiteX4" fmla="*/ 3229 w 6040"/>
                    <a:gd name="connsiteY4" fmla="*/ 60 h 6638"/>
                    <a:gd name="connsiteX5" fmla="*/ 2632 w 6040"/>
                    <a:gd name="connsiteY5" fmla="*/ 299 h 6638"/>
                    <a:gd name="connsiteX6" fmla="*/ 2452 w 6040"/>
                    <a:gd name="connsiteY6" fmla="*/ 419 h 6638"/>
                    <a:gd name="connsiteX7" fmla="*/ 1973 w 6040"/>
                    <a:gd name="connsiteY7" fmla="*/ 778 h 6638"/>
                    <a:gd name="connsiteX8" fmla="*/ 1375 w 6040"/>
                    <a:gd name="connsiteY8" fmla="*/ 1435 h 6638"/>
                    <a:gd name="connsiteX9" fmla="*/ 837 w 6040"/>
                    <a:gd name="connsiteY9" fmla="*/ 2213 h 6638"/>
                    <a:gd name="connsiteX10" fmla="*/ 478 w 6040"/>
                    <a:gd name="connsiteY10" fmla="*/ 2871 h 6638"/>
                    <a:gd name="connsiteX11" fmla="*/ 419 w 6040"/>
                    <a:gd name="connsiteY11" fmla="*/ 3050 h 6638"/>
                    <a:gd name="connsiteX12" fmla="*/ 119 w 6040"/>
                    <a:gd name="connsiteY12" fmla="*/ 3887 h 6638"/>
                    <a:gd name="connsiteX13" fmla="*/ 0 w 6040"/>
                    <a:gd name="connsiteY13" fmla="*/ 4725 h 6638"/>
                    <a:gd name="connsiteX14" fmla="*/ 60 w 6040"/>
                    <a:gd name="connsiteY14" fmla="*/ 5442 h 6638"/>
                    <a:gd name="connsiteX15" fmla="*/ 239 w 6040"/>
                    <a:gd name="connsiteY15" fmla="*/ 6040 h 6638"/>
                    <a:gd name="connsiteX16" fmla="*/ 598 w 6040"/>
                    <a:gd name="connsiteY16" fmla="*/ 6459 h 6638"/>
                    <a:gd name="connsiteX17" fmla="*/ 1076 w 6040"/>
                    <a:gd name="connsiteY17" fmla="*/ 6639 h 6638"/>
                    <a:gd name="connsiteX18" fmla="*/ 1136 w 6040"/>
                    <a:gd name="connsiteY18" fmla="*/ 6639 h 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40" h="6638">
                      <a:moveTo>
                        <a:pt x="6041" y="1136"/>
                      </a:moveTo>
                      <a:lnTo>
                        <a:pt x="4246" y="179"/>
                      </a:lnTo>
                      <a:lnTo>
                        <a:pt x="3947" y="60"/>
                      </a:lnTo>
                      <a:lnTo>
                        <a:pt x="3768" y="0"/>
                      </a:lnTo>
                      <a:lnTo>
                        <a:pt x="3229" y="60"/>
                      </a:lnTo>
                      <a:lnTo>
                        <a:pt x="2632" y="299"/>
                      </a:lnTo>
                      <a:lnTo>
                        <a:pt x="2452" y="419"/>
                      </a:lnTo>
                      <a:lnTo>
                        <a:pt x="1973" y="778"/>
                      </a:lnTo>
                      <a:lnTo>
                        <a:pt x="1375" y="1435"/>
                      </a:lnTo>
                      <a:lnTo>
                        <a:pt x="837" y="2213"/>
                      </a:lnTo>
                      <a:lnTo>
                        <a:pt x="478" y="2871"/>
                      </a:lnTo>
                      <a:lnTo>
                        <a:pt x="419" y="3050"/>
                      </a:lnTo>
                      <a:lnTo>
                        <a:pt x="119" y="3887"/>
                      </a:lnTo>
                      <a:lnTo>
                        <a:pt x="0" y="4725"/>
                      </a:lnTo>
                      <a:lnTo>
                        <a:pt x="60" y="5442"/>
                      </a:lnTo>
                      <a:lnTo>
                        <a:pt x="239" y="6040"/>
                      </a:lnTo>
                      <a:lnTo>
                        <a:pt x="598" y="6459"/>
                      </a:lnTo>
                      <a:lnTo>
                        <a:pt x="1076" y="6639"/>
                      </a:lnTo>
                      <a:lnTo>
                        <a:pt x="1136" y="6639"/>
                      </a:lnTo>
                    </a:path>
                  </a:pathLst>
                </a:custGeom>
                <a:noFill/>
                <a:ln w="6350" cap="rnd">
                  <a:solidFill>
                    <a:schemeClr val="bg1">
                      <a:alpha val="40000"/>
                    </a:schemeClr>
                  </a:solidFill>
                  <a:prstDash val="solid"/>
                  <a:round/>
                </a:ln>
              </p:spPr>
              <p:txBody>
                <a:bodyPr rtlCol="0" anchor="ctr"/>
                <a:lstStyle/>
                <a:p>
                  <a:endParaRPr lang="en-GB"/>
                </a:p>
              </p:txBody>
            </p:sp>
            <p:sp>
              <p:nvSpPr>
                <p:cNvPr id="5491" name="Vrije vorm: vorm 5490">
                  <a:extLst>
                    <a:ext uri="{FF2B5EF4-FFF2-40B4-BE49-F238E27FC236}">
                      <a16:creationId xmlns:a16="http://schemas.microsoft.com/office/drawing/2014/main" id="{77230900-B6EC-403C-A8E6-AED9F68E7AE9}"/>
                    </a:ext>
                  </a:extLst>
                </p:cNvPr>
                <p:cNvSpPr/>
                <p:nvPr/>
              </p:nvSpPr>
              <p:spPr>
                <a:xfrm>
                  <a:off x="6477261" y="1710706"/>
                  <a:ext cx="4664" cy="7715"/>
                </a:xfrm>
                <a:custGeom>
                  <a:avLst/>
                  <a:gdLst>
                    <a:gd name="connsiteX0" fmla="*/ 538 w 4664"/>
                    <a:gd name="connsiteY0" fmla="*/ 6280 h 7715"/>
                    <a:gd name="connsiteX1" fmla="*/ 1017 w 4664"/>
                    <a:gd name="connsiteY1" fmla="*/ 6459 h 7715"/>
                    <a:gd name="connsiteX2" fmla="*/ 1555 w 4664"/>
                    <a:gd name="connsiteY2" fmla="*/ 6399 h 7715"/>
                    <a:gd name="connsiteX3" fmla="*/ 2153 w 4664"/>
                    <a:gd name="connsiteY3" fmla="*/ 6160 h 7715"/>
                    <a:gd name="connsiteX4" fmla="*/ 2691 w 4664"/>
                    <a:gd name="connsiteY4" fmla="*/ 5742 h 7715"/>
                    <a:gd name="connsiteX5" fmla="*/ 2751 w 4664"/>
                    <a:gd name="connsiteY5" fmla="*/ 5682 h 7715"/>
                    <a:gd name="connsiteX6" fmla="*/ 3170 w 4664"/>
                    <a:gd name="connsiteY6" fmla="*/ 5263 h 7715"/>
                    <a:gd name="connsiteX7" fmla="*/ 3349 w 4664"/>
                    <a:gd name="connsiteY7" fmla="*/ 5084 h 7715"/>
                    <a:gd name="connsiteX8" fmla="*/ 3887 w 4664"/>
                    <a:gd name="connsiteY8" fmla="*/ 4306 h 7715"/>
                    <a:gd name="connsiteX9" fmla="*/ 4306 w 4664"/>
                    <a:gd name="connsiteY9" fmla="*/ 3469 h 7715"/>
                    <a:gd name="connsiteX10" fmla="*/ 4486 w 4664"/>
                    <a:gd name="connsiteY10" fmla="*/ 2871 h 7715"/>
                    <a:gd name="connsiteX11" fmla="*/ 4545 w 4664"/>
                    <a:gd name="connsiteY11" fmla="*/ 2632 h 7715"/>
                    <a:gd name="connsiteX12" fmla="*/ 4605 w 4664"/>
                    <a:gd name="connsiteY12" fmla="*/ 2213 h 7715"/>
                    <a:gd name="connsiteX13" fmla="*/ 4665 w 4664"/>
                    <a:gd name="connsiteY13" fmla="*/ 1794 h 7715"/>
                    <a:gd name="connsiteX14" fmla="*/ 4605 w 4664"/>
                    <a:gd name="connsiteY14" fmla="*/ 1077 h 7715"/>
                    <a:gd name="connsiteX15" fmla="*/ 4426 w 4664"/>
                    <a:gd name="connsiteY15" fmla="*/ 538 h 7715"/>
                    <a:gd name="connsiteX16" fmla="*/ 4306 w 4664"/>
                    <a:gd name="connsiteY16" fmla="*/ 359 h 7715"/>
                    <a:gd name="connsiteX17" fmla="*/ 4127 w 4664"/>
                    <a:gd name="connsiteY17" fmla="*/ 179 h 7715"/>
                    <a:gd name="connsiteX18" fmla="*/ 3648 w 4664"/>
                    <a:gd name="connsiteY18" fmla="*/ 0 h 7715"/>
                    <a:gd name="connsiteX19" fmla="*/ 3110 w 4664"/>
                    <a:gd name="connsiteY19" fmla="*/ 60 h 7715"/>
                    <a:gd name="connsiteX20" fmla="*/ 2512 w 4664"/>
                    <a:gd name="connsiteY20" fmla="*/ 359 h 7715"/>
                    <a:gd name="connsiteX21" fmla="*/ 1914 w 4664"/>
                    <a:gd name="connsiteY21" fmla="*/ 837 h 7715"/>
                    <a:gd name="connsiteX22" fmla="*/ 1316 w 4664"/>
                    <a:gd name="connsiteY22" fmla="*/ 1435 h 7715"/>
                    <a:gd name="connsiteX23" fmla="*/ 1316 w 4664"/>
                    <a:gd name="connsiteY23" fmla="*/ 1495 h 7715"/>
                    <a:gd name="connsiteX24" fmla="*/ 1136 w 4664"/>
                    <a:gd name="connsiteY24" fmla="*/ 1734 h 7715"/>
                    <a:gd name="connsiteX25" fmla="*/ 957 w 4664"/>
                    <a:gd name="connsiteY25" fmla="*/ 2033 h 7715"/>
                    <a:gd name="connsiteX26" fmla="*/ 837 w 4664"/>
                    <a:gd name="connsiteY26" fmla="*/ 2153 h 7715"/>
                    <a:gd name="connsiteX27" fmla="*/ 837 w 4664"/>
                    <a:gd name="connsiteY27" fmla="*/ 2213 h 7715"/>
                    <a:gd name="connsiteX28" fmla="*/ 419 w 4664"/>
                    <a:gd name="connsiteY28" fmla="*/ 3050 h 7715"/>
                    <a:gd name="connsiteX29" fmla="*/ 179 w 4664"/>
                    <a:gd name="connsiteY29" fmla="*/ 3708 h 7715"/>
                    <a:gd name="connsiteX30" fmla="*/ 120 w 4664"/>
                    <a:gd name="connsiteY30" fmla="*/ 3887 h 7715"/>
                    <a:gd name="connsiteX31" fmla="*/ 0 w 4664"/>
                    <a:gd name="connsiteY31" fmla="*/ 4665 h 7715"/>
                    <a:gd name="connsiteX32" fmla="*/ 0 w 4664"/>
                    <a:gd name="connsiteY32" fmla="*/ 5383 h 7715"/>
                    <a:gd name="connsiteX33" fmla="*/ 179 w 4664"/>
                    <a:gd name="connsiteY33" fmla="*/ 5921 h 7715"/>
                    <a:gd name="connsiteX34" fmla="*/ 179 w 4664"/>
                    <a:gd name="connsiteY34" fmla="*/ 5921 h 7715"/>
                    <a:gd name="connsiteX35" fmla="*/ 538 w 4664"/>
                    <a:gd name="connsiteY35" fmla="*/ 6280 h 7715"/>
                    <a:gd name="connsiteX36" fmla="*/ 2751 w 4664"/>
                    <a:gd name="connsiteY36" fmla="*/ 7476 h 7715"/>
                    <a:gd name="connsiteX37" fmla="*/ 3170 w 4664"/>
                    <a:gd name="connsiteY37" fmla="*/ 7715 h 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664" h="7715">
                      <a:moveTo>
                        <a:pt x="538" y="6280"/>
                      </a:moveTo>
                      <a:lnTo>
                        <a:pt x="1017" y="6459"/>
                      </a:lnTo>
                      <a:lnTo>
                        <a:pt x="1555" y="6399"/>
                      </a:lnTo>
                      <a:lnTo>
                        <a:pt x="2153" y="6160"/>
                      </a:lnTo>
                      <a:lnTo>
                        <a:pt x="2691" y="5742"/>
                      </a:lnTo>
                      <a:lnTo>
                        <a:pt x="2751" y="5682"/>
                      </a:lnTo>
                      <a:lnTo>
                        <a:pt x="3170" y="5263"/>
                      </a:lnTo>
                      <a:lnTo>
                        <a:pt x="3349" y="5084"/>
                      </a:lnTo>
                      <a:lnTo>
                        <a:pt x="3887" y="4306"/>
                      </a:lnTo>
                      <a:lnTo>
                        <a:pt x="4306" y="3469"/>
                      </a:lnTo>
                      <a:lnTo>
                        <a:pt x="4486" y="2871"/>
                      </a:lnTo>
                      <a:lnTo>
                        <a:pt x="4545" y="2632"/>
                      </a:lnTo>
                      <a:lnTo>
                        <a:pt x="4605" y="2213"/>
                      </a:lnTo>
                      <a:lnTo>
                        <a:pt x="4665" y="1794"/>
                      </a:lnTo>
                      <a:lnTo>
                        <a:pt x="4605" y="1077"/>
                      </a:lnTo>
                      <a:lnTo>
                        <a:pt x="4426" y="538"/>
                      </a:lnTo>
                      <a:lnTo>
                        <a:pt x="4306" y="359"/>
                      </a:lnTo>
                      <a:lnTo>
                        <a:pt x="4127" y="179"/>
                      </a:lnTo>
                      <a:lnTo>
                        <a:pt x="3648" y="0"/>
                      </a:lnTo>
                      <a:lnTo>
                        <a:pt x="3110" y="60"/>
                      </a:lnTo>
                      <a:lnTo>
                        <a:pt x="2512" y="359"/>
                      </a:lnTo>
                      <a:lnTo>
                        <a:pt x="1914" y="837"/>
                      </a:lnTo>
                      <a:lnTo>
                        <a:pt x="1316" y="1435"/>
                      </a:lnTo>
                      <a:lnTo>
                        <a:pt x="1316" y="1495"/>
                      </a:lnTo>
                      <a:lnTo>
                        <a:pt x="1136" y="1734"/>
                      </a:lnTo>
                      <a:lnTo>
                        <a:pt x="957" y="2033"/>
                      </a:lnTo>
                      <a:lnTo>
                        <a:pt x="837" y="2153"/>
                      </a:lnTo>
                      <a:lnTo>
                        <a:pt x="837" y="2213"/>
                      </a:lnTo>
                      <a:lnTo>
                        <a:pt x="419" y="3050"/>
                      </a:lnTo>
                      <a:lnTo>
                        <a:pt x="179" y="3708"/>
                      </a:lnTo>
                      <a:lnTo>
                        <a:pt x="120" y="3887"/>
                      </a:lnTo>
                      <a:lnTo>
                        <a:pt x="0" y="4665"/>
                      </a:lnTo>
                      <a:lnTo>
                        <a:pt x="0" y="5383"/>
                      </a:lnTo>
                      <a:lnTo>
                        <a:pt x="179" y="5921"/>
                      </a:lnTo>
                      <a:lnTo>
                        <a:pt x="179" y="5921"/>
                      </a:lnTo>
                      <a:lnTo>
                        <a:pt x="538" y="6280"/>
                      </a:lnTo>
                      <a:lnTo>
                        <a:pt x="2751" y="7476"/>
                      </a:lnTo>
                      <a:lnTo>
                        <a:pt x="3170" y="7715"/>
                      </a:lnTo>
                    </a:path>
                  </a:pathLst>
                </a:custGeom>
                <a:noFill/>
                <a:ln w="6350" cap="rnd">
                  <a:solidFill>
                    <a:schemeClr val="bg1">
                      <a:alpha val="40000"/>
                    </a:schemeClr>
                  </a:solidFill>
                  <a:prstDash val="solid"/>
                  <a:round/>
                </a:ln>
              </p:spPr>
              <p:txBody>
                <a:bodyPr rtlCol="0" anchor="ctr"/>
                <a:lstStyle/>
                <a:p>
                  <a:endParaRPr lang="en-GB"/>
                </a:p>
              </p:txBody>
            </p:sp>
            <p:sp>
              <p:nvSpPr>
                <p:cNvPr id="5492" name="Vrije vorm: vorm 5491">
                  <a:extLst>
                    <a:ext uri="{FF2B5EF4-FFF2-40B4-BE49-F238E27FC236}">
                      <a16:creationId xmlns:a16="http://schemas.microsoft.com/office/drawing/2014/main" id="{D6CE821B-0B23-4B1E-A019-2524B3DB1EDF}"/>
                    </a:ext>
                  </a:extLst>
                </p:cNvPr>
                <p:cNvSpPr/>
                <p:nvPr/>
              </p:nvSpPr>
              <p:spPr>
                <a:xfrm>
                  <a:off x="6478756" y="1712799"/>
                  <a:ext cx="1854" cy="2332"/>
                </a:xfrm>
                <a:custGeom>
                  <a:avLst/>
                  <a:gdLst>
                    <a:gd name="connsiteX0" fmla="*/ 179 w 1854"/>
                    <a:gd name="connsiteY0" fmla="*/ 2332 h 2332"/>
                    <a:gd name="connsiteX1" fmla="*/ 60 w 1854"/>
                    <a:gd name="connsiteY1" fmla="*/ 2213 h 2332"/>
                    <a:gd name="connsiteX2" fmla="*/ 0 w 1854"/>
                    <a:gd name="connsiteY2" fmla="*/ 1974 h 2332"/>
                    <a:gd name="connsiteX3" fmla="*/ 0 w 1854"/>
                    <a:gd name="connsiteY3" fmla="*/ 1734 h 2332"/>
                    <a:gd name="connsiteX4" fmla="*/ 60 w 1854"/>
                    <a:gd name="connsiteY4" fmla="*/ 1435 h 2332"/>
                    <a:gd name="connsiteX5" fmla="*/ 179 w 1854"/>
                    <a:gd name="connsiteY5" fmla="*/ 1136 h 2332"/>
                    <a:gd name="connsiteX6" fmla="*/ 359 w 1854"/>
                    <a:gd name="connsiteY6" fmla="*/ 837 h 2332"/>
                    <a:gd name="connsiteX7" fmla="*/ 538 w 1854"/>
                    <a:gd name="connsiteY7" fmla="*/ 538 h 2332"/>
                    <a:gd name="connsiteX8" fmla="*/ 778 w 1854"/>
                    <a:gd name="connsiteY8" fmla="*/ 299 h 2332"/>
                    <a:gd name="connsiteX9" fmla="*/ 1017 w 1854"/>
                    <a:gd name="connsiteY9" fmla="*/ 120 h 2332"/>
                    <a:gd name="connsiteX10" fmla="*/ 1256 w 1854"/>
                    <a:gd name="connsiteY10" fmla="*/ 0 h 2332"/>
                    <a:gd name="connsiteX11" fmla="*/ 1495 w 1854"/>
                    <a:gd name="connsiteY11" fmla="*/ 0 h 2332"/>
                    <a:gd name="connsiteX12" fmla="*/ 1674 w 1854"/>
                    <a:gd name="connsiteY12" fmla="*/ 60 h 2332"/>
                    <a:gd name="connsiteX13" fmla="*/ 1794 w 1854"/>
                    <a:gd name="connsiteY13" fmla="*/ 179 h 2332"/>
                    <a:gd name="connsiteX14" fmla="*/ 1854 w 1854"/>
                    <a:gd name="connsiteY14" fmla="*/ 299 h 2332"/>
                    <a:gd name="connsiteX15" fmla="*/ 1854 w 1854"/>
                    <a:gd name="connsiteY15" fmla="*/ 359 h 2332"/>
                    <a:gd name="connsiteX16" fmla="*/ 1854 w 1854"/>
                    <a:gd name="connsiteY16" fmla="*/ 598 h 2332"/>
                    <a:gd name="connsiteX17" fmla="*/ 1794 w 1854"/>
                    <a:gd name="connsiteY17" fmla="*/ 897 h 2332"/>
                    <a:gd name="connsiteX18" fmla="*/ 1674 w 1854"/>
                    <a:gd name="connsiteY18" fmla="*/ 1196 h 2332"/>
                    <a:gd name="connsiteX19" fmla="*/ 1495 w 1854"/>
                    <a:gd name="connsiteY19" fmla="*/ 1495 h 2332"/>
                    <a:gd name="connsiteX20" fmla="*/ 1316 w 1854"/>
                    <a:gd name="connsiteY20" fmla="*/ 1794 h 2332"/>
                    <a:gd name="connsiteX21" fmla="*/ 1076 w 1854"/>
                    <a:gd name="connsiteY21" fmla="*/ 2033 h 2332"/>
                    <a:gd name="connsiteX22" fmla="*/ 837 w 1854"/>
                    <a:gd name="connsiteY22" fmla="*/ 2213 h 2332"/>
                    <a:gd name="connsiteX23" fmla="*/ 598 w 1854"/>
                    <a:gd name="connsiteY23" fmla="*/ 2332 h 2332"/>
                    <a:gd name="connsiteX24" fmla="*/ 359 w 1854"/>
                    <a:gd name="connsiteY24" fmla="*/ 2332 h 2332"/>
                    <a:gd name="connsiteX25" fmla="*/ 179 w 1854"/>
                    <a:gd name="connsiteY25" fmla="*/ 2332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54" h="2332">
                      <a:moveTo>
                        <a:pt x="179" y="2332"/>
                      </a:moveTo>
                      <a:lnTo>
                        <a:pt x="60" y="2213"/>
                      </a:lnTo>
                      <a:lnTo>
                        <a:pt x="0" y="1974"/>
                      </a:lnTo>
                      <a:lnTo>
                        <a:pt x="0" y="1734"/>
                      </a:lnTo>
                      <a:lnTo>
                        <a:pt x="60" y="1435"/>
                      </a:lnTo>
                      <a:lnTo>
                        <a:pt x="179" y="1136"/>
                      </a:lnTo>
                      <a:lnTo>
                        <a:pt x="359" y="837"/>
                      </a:lnTo>
                      <a:lnTo>
                        <a:pt x="538" y="538"/>
                      </a:lnTo>
                      <a:lnTo>
                        <a:pt x="778" y="299"/>
                      </a:lnTo>
                      <a:lnTo>
                        <a:pt x="1017" y="120"/>
                      </a:lnTo>
                      <a:lnTo>
                        <a:pt x="1256" y="0"/>
                      </a:lnTo>
                      <a:lnTo>
                        <a:pt x="1495" y="0"/>
                      </a:lnTo>
                      <a:lnTo>
                        <a:pt x="1674" y="60"/>
                      </a:lnTo>
                      <a:lnTo>
                        <a:pt x="1794" y="179"/>
                      </a:lnTo>
                      <a:lnTo>
                        <a:pt x="1854" y="299"/>
                      </a:lnTo>
                      <a:lnTo>
                        <a:pt x="1854" y="359"/>
                      </a:lnTo>
                      <a:lnTo>
                        <a:pt x="1854" y="598"/>
                      </a:lnTo>
                      <a:lnTo>
                        <a:pt x="1794" y="897"/>
                      </a:lnTo>
                      <a:lnTo>
                        <a:pt x="1674" y="1196"/>
                      </a:lnTo>
                      <a:lnTo>
                        <a:pt x="1495" y="1495"/>
                      </a:lnTo>
                      <a:lnTo>
                        <a:pt x="1316" y="1794"/>
                      </a:lnTo>
                      <a:lnTo>
                        <a:pt x="1076" y="2033"/>
                      </a:lnTo>
                      <a:lnTo>
                        <a:pt x="837" y="2213"/>
                      </a:lnTo>
                      <a:lnTo>
                        <a:pt x="598" y="2332"/>
                      </a:lnTo>
                      <a:lnTo>
                        <a:pt x="359" y="2332"/>
                      </a:lnTo>
                      <a:lnTo>
                        <a:pt x="179" y="2332"/>
                      </a:lnTo>
                    </a:path>
                  </a:pathLst>
                </a:custGeom>
                <a:noFill/>
                <a:ln w="6350" cap="rnd">
                  <a:solidFill>
                    <a:schemeClr val="bg1">
                      <a:alpha val="40000"/>
                    </a:schemeClr>
                  </a:solidFill>
                  <a:prstDash val="solid"/>
                  <a:round/>
                </a:ln>
              </p:spPr>
              <p:txBody>
                <a:bodyPr rtlCol="0" anchor="ctr"/>
                <a:lstStyle/>
                <a:p>
                  <a:endParaRPr lang="en-GB"/>
                </a:p>
              </p:txBody>
            </p:sp>
            <p:sp>
              <p:nvSpPr>
                <p:cNvPr id="5493" name="Vrije vorm: vorm 5492">
                  <a:extLst>
                    <a:ext uri="{FF2B5EF4-FFF2-40B4-BE49-F238E27FC236}">
                      <a16:creationId xmlns:a16="http://schemas.microsoft.com/office/drawing/2014/main" id="{16944D56-26E6-43C7-A108-36588C718AD4}"/>
                    </a:ext>
                  </a:extLst>
                </p:cNvPr>
                <p:cNvSpPr/>
                <p:nvPr/>
              </p:nvSpPr>
              <p:spPr>
                <a:xfrm>
                  <a:off x="6473254" y="1606701"/>
                  <a:ext cx="3827" cy="4904"/>
                </a:xfrm>
                <a:custGeom>
                  <a:avLst/>
                  <a:gdLst>
                    <a:gd name="connsiteX0" fmla="*/ 1555 w 3827"/>
                    <a:gd name="connsiteY0" fmla="*/ 4904 h 4904"/>
                    <a:gd name="connsiteX1" fmla="*/ 359 w 3827"/>
                    <a:gd name="connsiteY1" fmla="*/ 4067 h 4904"/>
                    <a:gd name="connsiteX2" fmla="*/ 119 w 3827"/>
                    <a:gd name="connsiteY2" fmla="*/ 3887 h 4904"/>
                    <a:gd name="connsiteX3" fmla="*/ 0 w 3827"/>
                    <a:gd name="connsiteY3" fmla="*/ 3588 h 4904"/>
                    <a:gd name="connsiteX4" fmla="*/ 0 w 3827"/>
                    <a:gd name="connsiteY4" fmla="*/ 3170 h 4904"/>
                    <a:gd name="connsiteX5" fmla="*/ 0 w 3827"/>
                    <a:gd name="connsiteY5" fmla="*/ 3110 h 4904"/>
                    <a:gd name="connsiteX6" fmla="*/ 60 w 3827"/>
                    <a:gd name="connsiteY6" fmla="*/ 2691 h 4904"/>
                    <a:gd name="connsiteX7" fmla="*/ 239 w 3827"/>
                    <a:gd name="connsiteY7" fmla="*/ 2153 h 4904"/>
                    <a:gd name="connsiteX8" fmla="*/ 478 w 3827"/>
                    <a:gd name="connsiteY8" fmla="*/ 1615 h 4904"/>
                    <a:gd name="connsiteX9" fmla="*/ 837 w 3827"/>
                    <a:gd name="connsiteY9" fmla="*/ 1136 h 4904"/>
                    <a:gd name="connsiteX10" fmla="*/ 1196 w 3827"/>
                    <a:gd name="connsiteY10" fmla="*/ 718 h 4904"/>
                    <a:gd name="connsiteX11" fmla="*/ 1435 w 3827"/>
                    <a:gd name="connsiteY11" fmla="*/ 538 h 4904"/>
                    <a:gd name="connsiteX12" fmla="*/ 1615 w 3827"/>
                    <a:gd name="connsiteY12" fmla="*/ 359 h 4904"/>
                    <a:gd name="connsiteX13" fmla="*/ 1973 w 3827"/>
                    <a:gd name="connsiteY13" fmla="*/ 120 h 4904"/>
                    <a:gd name="connsiteX14" fmla="*/ 2332 w 3827"/>
                    <a:gd name="connsiteY14" fmla="*/ 0 h 4904"/>
                    <a:gd name="connsiteX15" fmla="*/ 2632 w 3827"/>
                    <a:gd name="connsiteY15" fmla="*/ 60 h 4904"/>
                    <a:gd name="connsiteX16" fmla="*/ 3827 w 3827"/>
                    <a:gd name="connsiteY16" fmla="*/ 897 h 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27" h="4904">
                      <a:moveTo>
                        <a:pt x="1555" y="4904"/>
                      </a:moveTo>
                      <a:lnTo>
                        <a:pt x="359" y="4067"/>
                      </a:lnTo>
                      <a:lnTo>
                        <a:pt x="119" y="3887"/>
                      </a:lnTo>
                      <a:lnTo>
                        <a:pt x="0" y="3588"/>
                      </a:lnTo>
                      <a:lnTo>
                        <a:pt x="0" y="3170"/>
                      </a:lnTo>
                      <a:lnTo>
                        <a:pt x="0" y="3110"/>
                      </a:lnTo>
                      <a:lnTo>
                        <a:pt x="60" y="2691"/>
                      </a:lnTo>
                      <a:lnTo>
                        <a:pt x="239" y="2153"/>
                      </a:lnTo>
                      <a:lnTo>
                        <a:pt x="478" y="1615"/>
                      </a:lnTo>
                      <a:lnTo>
                        <a:pt x="837" y="1136"/>
                      </a:lnTo>
                      <a:lnTo>
                        <a:pt x="1196" y="718"/>
                      </a:lnTo>
                      <a:lnTo>
                        <a:pt x="1435" y="538"/>
                      </a:lnTo>
                      <a:lnTo>
                        <a:pt x="1615" y="359"/>
                      </a:lnTo>
                      <a:lnTo>
                        <a:pt x="1973" y="120"/>
                      </a:lnTo>
                      <a:lnTo>
                        <a:pt x="2332" y="0"/>
                      </a:lnTo>
                      <a:lnTo>
                        <a:pt x="2632" y="60"/>
                      </a:lnTo>
                      <a:lnTo>
                        <a:pt x="3827" y="897"/>
                      </a:lnTo>
                    </a:path>
                  </a:pathLst>
                </a:custGeom>
                <a:noFill/>
                <a:ln w="6350" cap="rnd">
                  <a:solidFill>
                    <a:schemeClr val="bg1">
                      <a:alpha val="40000"/>
                    </a:schemeClr>
                  </a:solidFill>
                  <a:prstDash val="solid"/>
                  <a:round/>
                </a:ln>
              </p:spPr>
              <p:txBody>
                <a:bodyPr rtlCol="0" anchor="ctr"/>
                <a:lstStyle/>
                <a:p>
                  <a:endParaRPr lang="en-GB"/>
                </a:p>
              </p:txBody>
            </p:sp>
            <p:sp>
              <p:nvSpPr>
                <p:cNvPr id="5494" name="Vrije vorm: vorm 5493">
                  <a:extLst>
                    <a:ext uri="{FF2B5EF4-FFF2-40B4-BE49-F238E27FC236}">
                      <a16:creationId xmlns:a16="http://schemas.microsoft.com/office/drawing/2014/main" id="{DFBEF638-2EBC-4E1F-823A-56FCC4324E2F}"/>
                    </a:ext>
                  </a:extLst>
                </p:cNvPr>
                <p:cNvSpPr/>
                <p:nvPr/>
              </p:nvSpPr>
              <p:spPr>
                <a:xfrm>
                  <a:off x="6473613" y="1606761"/>
                  <a:ext cx="2691" cy="4066"/>
                </a:xfrm>
                <a:custGeom>
                  <a:avLst/>
                  <a:gdLst>
                    <a:gd name="connsiteX0" fmla="*/ 0 w 2691"/>
                    <a:gd name="connsiteY0" fmla="*/ 4007 h 4066"/>
                    <a:gd name="connsiteX1" fmla="*/ 299 w 2691"/>
                    <a:gd name="connsiteY1" fmla="*/ 4067 h 4066"/>
                    <a:gd name="connsiteX2" fmla="*/ 658 w 2691"/>
                    <a:gd name="connsiteY2" fmla="*/ 3947 h 4066"/>
                    <a:gd name="connsiteX3" fmla="*/ 897 w 2691"/>
                    <a:gd name="connsiteY3" fmla="*/ 3768 h 4066"/>
                    <a:gd name="connsiteX4" fmla="*/ 1017 w 2691"/>
                    <a:gd name="connsiteY4" fmla="*/ 3708 h 4066"/>
                    <a:gd name="connsiteX5" fmla="*/ 1435 w 2691"/>
                    <a:gd name="connsiteY5" fmla="*/ 3349 h 4066"/>
                    <a:gd name="connsiteX6" fmla="*/ 1794 w 2691"/>
                    <a:gd name="connsiteY6" fmla="*/ 2931 h 4066"/>
                    <a:gd name="connsiteX7" fmla="*/ 2153 w 2691"/>
                    <a:gd name="connsiteY7" fmla="*/ 2452 h 4066"/>
                    <a:gd name="connsiteX8" fmla="*/ 2153 w 2691"/>
                    <a:gd name="connsiteY8" fmla="*/ 2392 h 4066"/>
                    <a:gd name="connsiteX9" fmla="*/ 2392 w 2691"/>
                    <a:gd name="connsiteY9" fmla="*/ 1914 h 4066"/>
                    <a:gd name="connsiteX10" fmla="*/ 2572 w 2691"/>
                    <a:gd name="connsiteY10" fmla="*/ 1376 h 4066"/>
                    <a:gd name="connsiteX11" fmla="*/ 2632 w 2691"/>
                    <a:gd name="connsiteY11" fmla="*/ 1136 h 4066"/>
                    <a:gd name="connsiteX12" fmla="*/ 2691 w 2691"/>
                    <a:gd name="connsiteY12" fmla="*/ 957 h 4066"/>
                    <a:gd name="connsiteX13" fmla="*/ 2691 w 2691"/>
                    <a:gd name="connsiteY13" fmla="*/ 897 h 4066"/>
                    <a:gd name="connsiteX14" fmla="*/ 2691 w 2691"/>
                    <a:gd name="connsiteY14" fmla="*/ 478 h 4066"/>
                    <a:gd name="connsiteX15" fmla="*/ 2572 w 2691"/>
                    <a:gd name="connsiteY15" fmla="*/ 179 h 4066"/>
                    <a:gd name="connsiteX16" fmla="*/ 2332 w 2691"/>
                    <a:gd name="connsiteY16" fmla="*/ 0 h 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91" h="4066">
                      <a:moveTo>
                        <a:pt x="0" y="4007"/>
                      </a:moveTo>
                      <a:lnTo>
                        <a:pt x="299" y="4067"/>
                      </a:lnTo>
                      <a:lnTo>
                        <a:pt x="658" y="3947"/>
                      </a:lnTo>
                      <a:lnTo>
                        <a:pt x="897" y="3768"/>
                      </a:lnTo>
                      <a:lnTo>
                        <a:pt x="1017" y="3708"/>
                      </a:lnTo>
                      <a:lnTo>
                        <a:pt x="1435" y="3349"/>
                      </a:lnTo>
                      <a:lnTo>
                        <a:pt x="1794" y="2931"/>
                      </a:lnTo>
                      <a:lnTo>
                        <a:pt x="2153" y="2452"/>
                      </a:lnTo>
                      <a:lnTo>
                        <a:pt x="2153" y="2392"/>
                      </a:lnTo>
                      <a:lnTo>
                        <a:pt x="2392" y="1914"/>
                      </a:lnTo>
                      <a:lnTo>
                        <a:pt x="2572" y="1376"/>
                      </a:lnTo>
                      <a:lnTo>
                        <a:pt x="2632" y="1136"/>
                      </a:lnTo>
                      <a:lnTo>
                        <a:pt x="2691" y="957"/>
                      </a:lnTo>
                      <a:lnTo>
                        <a:pt x="2691" y="897"/>
                      </a:lnTo>
                      <a:lnTo>
                        <a:pt x="2691" y="478"/>
                      </a:lnTo>
                      <a:lnTo>
                        <a:pt x="2572" y="179"/>
                      </a:lnTo>
                      <a:lnTo>
                        <a:pt x="2332" y="0"/>
                      </a:lnTo>
                    </a:path>
                  </a:pathLst>
                </a:custGeom>
                <a:noFill/>
                <a:ln w="6350" cap="rnd">
                  <a:solidFill>
                    <a:schemeClr val="bg1">
                      <a:alpha val="40000"/>
                    </a:schemeClr>
                  </a:solidFill>
                  <a:prstDash val="solid"/>
                  <a:round/>
                </a:ln>
              </p:spPr>
              <p:txBody>
                <a:bodyPr rtlCol="0" anchor="ctr"/>
                <a:lstStyle/>
                <a:p>
                  <a:endParaRPr lang="en-GB"/>
                </a:p>
              </p:txBody>
            </p:sp>
            <p:sp>
              <p:nvSpPr>
                <p:cNvPr id="5495" name="Vrije vorm: vorm 5494">
                  <a:extLst>
                    <a:ext uri="{FF2B5EF4-FFF2-40B4-BE49-F238E27FC236}">
                      <a16:creationId xmlns:a16="http://schemas.microsoft.com/office/drawing/2014/main" id="{198113DE-3937-4AEF-A086-4C3DDBF77A6D}"/>
                    </a:ext>
                  </a:extLst>
                </p:cNvPr>
                <p:cNvSpPr/>
                <p:nvPr/>
              </p:nvSpPr>
              <p:spPr>
                <a:xfrm>
                  <a:off x="6474809" y="1607658"/>
                  <a:ext cx="2691" cy="4066"/>
                </a:xfrm>
                <a:custGeom>
                  <a:avLst/>
                  <a:gdLst>
                    <a:gd name="connsiteX0" fmla="*/ 2333 w 2691"/>
                    <a:gd name="connsiteY0" fmla="*/ 0 h 4066"/>
                    <a:gd name="connsiteX1" fmla="*/ 2572 w 2691"/>
                    <a:gd name="connsiteY1" fmla="*/ 179 h 4066"/>
                    <a:gd name="connsiteX2" fmla="*/ 2691 w 2691"/>
                    <a:gd name="connsiteY2" fmla="*/ 478 h 4066"/>
                    <a:gd name="connsiteX3" fmla="*/ 2691 w 2691"/>
                    <a:gd name="connsiteY3" fmla="*/ 897 h 4066"/>
                    <a:gd name="connsiteX4" fmla="*/ 2691 w 2691"/>
                    <a:gd name="connsiteY4" fmla="*/ 957 h 4066"/>
                    <a:gd name="connsiteX5" fmla="*/ 2632 w 2691"/>
                    <a:gd name="connsiteY5" fmla="*/ 1376 h 4066"/>
                    <a:gd name="connsiteX6" fmla="*/ 2452 w 2691"/>
                    <a:gd name="connsiteY6" fmla="*/ 1914 h 4066"/>
                    <a:gd name="connsiteX7" fmla="*/ 2213 w 2691"/>
                    <a:gd name="connsiteY7" fmla="*/ 2452 h 4066"/>
                    <a:gd name="connsiteX8" fmla="*/ 1854 w 2691"/>
                    <a:gd name="connsiteY8" fmla="*/ 2930 h 4066"/>
                    <a:gd name="connsiteX9" fmla="*/ 1495 w 2691"/>
                    <a:gd name="connsiteY9" fmla="*/ 3349 h 4066"/>
                    <a:gd name="connsiteX10" fmla="*/ 1077 w 2691"/>
                    <a:gd name="connsiteY10" fmla="*/ 3708 h 4066"/>
                    <a:gd name="connsiteX11" fmla="*/ 718 w 2691"/>
                    <a:gd name="connsiteY11" fmla="*/ 3887 h 4066"/>
                    <a:gd name="connsiteX12" fmla="*/ 658 w 2691"/>
                    <a:gd name="connsiteY12" fmla="*/ 3947 h 4066"/>
                    <a:gd name="connsiteX13" fmla="*/ 299 w 2691"/>
                    <a:gd name="connsiteY13" fmla="*/ 4067 h 4066"/>
                    <a:gd name="connsiteX14" fmla="*/ 0 w 2691"/>
                    <a:gd name="connsiteY14" fmla="*/ 4007 h 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1" h="4066">
                      <a:moveTo>
                        <a:pt x="2333" y="0"/>
                      </a:moveTo>
                      <a:lnTo>
                        <a:pt x="2572" y="179"/>
                      </a:lnTo>
                      <a:lnTo>
                        <a:pt x="2691" y="478"/>
                      </a:lnTo>
                      <a:lnTo>
                        <a:pt x="2691" y="897"/>
                      </a:lnTo>
                      <a:lnTo>
                        <a:pt x="2691" y="957"/>
                      </a:lnTo>
                      <a:lnTo>
                        <a:pt x="2632" y="1376"/>
                      </a:lnTo>
                      <a:lnTo>
                        <a:pt x="2452" y="1914"/>
                      </a:lnTo>
                      <a:lnTo>
                        <a:pt x="2213" y="2452"/>
                      </a:lnTo>
                      <a:lnTo>
                        <a:pt x="1854" y="2930"/>
                      </a:lnTo>
                      <a:lnTo>
                        <a:pt x="1495" y="3349"/>
                      </a:lnTo>
                      <a:lnTo>
                        <a:pt x="1077" y="3708"/>
                      </a:lnTo>
                      <a:lnTo>
                        <a:pt x="718" y="3887"/>
                      </a:lnTo>
                      <a:lnTo>
                        <a:pt x="658" y="3947"/>
                      </a:lnTo>
                      <a:lnTo>
                        <a:pt x="299" y="4067"/>
                      </a:lnTo>
                      <a:lnTo>
                        <a:pt x="0" y="4007"/>
                      </a:lnTo>
                    </a:path>
                  </a:pathLst>
                </a:custGeom>
                <a:noFill/>
                <a:ln w="6350" cap="rnd">
                  <a:solidFill>
                    <a:schemeClr val="bg1">
                      <a:alpha val="40000"/>
                    </a:schemeClr>
                  </a:solidFill>
                  <a:prstDash val="solid"/>
                  <a:round/>
                </a:ln>
              </p:spPr>
              <p:txBody>
                <a:bodyPr rtlCol="0" anchor="ctr"/>
                <a:lstStyle/>
                <a:p>
                  <a:endParaRPr lang="en-GB"/>
                </a:p>
              </p:txBody>
            </p:sp>
            <p:sp>
              <p:nvSpPr>
                <p:cNvPr id="5496" name="Vrije vorm: vorm 5495">
                  <a:extLst>
                    <a:ext uri="{FF2B5EF4-FFF2-40B4-BE49-F238E27FC236}">
                      <a16:creationId xmlns:a16="http://schemas.microsoft.com/office/drawing/2014/main" id="{8B56BC8F-2A76-4AF7-8793-A27A61ED0F89}"/>
                    </a:ext>
                  </a:extLst>
                </p:cNvPr>
                <p:cNvSpPr/>
                <p:nvPr/>
              </p:nvSpPr>
              <p:spPr>
                <a:xfrm>
                  <a:off x="6456986" y="1620098"/>
                  <a:ext cx="4306" cy="8253"/>
                </a:xfrm>
                <a:custGeom>
                  <a:avLst/>
                  <a:gdLst>
                    <a:gd name="connsiteX0" fmla="*/ 1914 w 4306"/>
                    <a:gd name="connsiteY0" fmla="*/ 8253 h 8253"/>
                    <a:gd name="connsiteX1" fmla="*/ 1316 w 4306"/>
                    <a:gd name="connsiteY1" fmla="*/ 7835 h 8253"/>
                    <a:gd name="connsiteX2" fmla="*/ 778 w 4306"/>
                    <a:gd name="connsiteY2" fmla="*/ 4725 h 8253"/>
                    <a:gd name="connsiteX3" fmla="*/ 239 w 4306"/>
                    <a:gd name="connsiteY3" fmla="*/ 1615 h 8253"/>
                    <a:gd name="connsiteX4" fmla="*/ 0 w 4306"/>
                    <a:gd name="connsiteY4" fmla="*/ 0 h 8253"/>
                    <a:gd name="connsiteX5" fmla="*/ 1794 w 4306"/>
                    <a:gd name="connsiteY5" fmla="*/ 2392 h 8253"/>
                    <a:gd name="connsiteX6" fmla="*/ 3589 w 4306"/>
                    <a:gd name="connsiteY6" fmla="*/ 4785 h 8253"/>
                    <a:gd name="connsiteX7" fmla="*/ 4306 w 4306"/>
                    <a:gd name="connsiteY7" fmla="*/ 5741 h 8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6" h="8253">
                      <a:moveTo>
                        <a:pt x="1914" y="8253"/>
                      </a:moveTo>
                      <a:lnTo>
                        <a:pt x="1316" y="7835"/>
                      </a:lnTo>
                      <a:lnTo>
                        <a:pt x="778" y="4725"/>
                      </a:lnTo>
                      <a:lnTo>
                        <a:pt x="239" y="1615"/>
                      </a:lnTo>
                      <a:lnTo>
                        <a:pt x="0" y="0"/>
                      </a:lnTo>
                      <a:lnTo>
                        <a:pt x="1794" y="2392"/>
                      </a:lnTo>
                      <a:lnTo>
                        <a:pt x="3589" y="4785"/>
                      </a:lnTo>
                      <a:lnTo>
                        <a:pt x="4306" y="5741"/>
                      </a:lnTo>
                    </a:path>
                  </a:pathLst>
                </a:custGeom>
                <a:noFill/>
                <a:ln w="6350" cap="rnd">
                  <a:solidFill>
                    <a:schemeClr val="bg1">
                      <a:alpha val="40000"/>
                    </a:schemeClr>
                  </a:solidFill>
                  <a:prstDash val="solid"/>
                  <a:round/>
                </a:ln>
              </p:spPr>
              <p:txBody>
                <a:bodyPr rtlCol="0" anchor="ctr"/>
                <a:lstStyle/>
                <a:p>
                  <a:endParaRPr lang="en-GB"/>
                </a:p>
              </p:txBody>
            </p:sp>
            <p:sp>
              <p:nvSpPr>
                <p:cNvPr id="5497" name="Vrije vorm: vorm 5496">
                  <a:extLst>
                    <a:ext uri="{FF2B5EF4-FFF2-40B4-BE49-F238E27FC236}">
                      <a16:creationId xmlns:a16="http://schemas.microsoft.com/office/drawing/2014/main" id="{69A33E80-B1F9-4C3D-A66D-45743B2B0251}"/>
                    </a:ext>
                  </a:extLst>
                </p:cNvPr>
                <p:cNvSpPr/>
                <p:nvPr/>
              </p:nvSpPr>
              <p:spPr>
                <a:xfrm>
                  <a:off x="6481388" y="1640552"/>
                  <a:ext cx="2810" cy="4246"/>
                </a:xfrm>
                <a:custGeom>
                  <a:avLst/>
                  <a:gdLst>
                    <a:gd name="connsiteX0" fmla="*/ 0 w 2810"/>
                    <a:gd name="connsiteY0" fmla="*/ 4186 h 4246"/>
                    <a:gd name="connsiteX1" fmla="*/ 299 w 2810"/>
                    <a:gd name="connsiteY1" fmla="*/ 4246 h 4246"/>
                    <a:gd name="connsiteX2" fmla="*/ 658 w 2810"/>
                    <a:gd name="connsiteY2" fmla="*/ 4186 h 4246"/>
                    <a:gd name="connsiteX3" fmla="*/ 1076 w 2810"/>
                    <a:gd name="connsiteY3" fmla="*/ 3947 h 4246"/>
                    <a:gd name="connsiteX4" fmla="*/ 1495 w 2810"/>
                    <a:gd name="connsiteY4" fmla="*/ 3588 h 4246"/>
                    <a:gd name="connsiteX5" fmla="*/ 1914 w 2810"/>
                    <a:gd name="connsiteY5" fmla="*/ 3110 h 4246"/>
                    <a:gd name="connsiteX6" fmla="*/ 2273 w 2810"/>
                    <a:gd name="connsiteY6" fmla="*/ 2572 h 4246"/>
                    <a:gd name="connsiteX7" fmla="*/ 2572 w 2810"/>
                    <a:gd name="connsiteY7" fmla="*/ 2033 h 4246"/>
                    <a:gd name="connsiteX8" fmla="*/ 2751 w 2810"/>
                    <a:gd name="connsiteY8" fmla="*/ 1495 h 4246"/>
                    <a:gd name="connsiteX9" fmla="*/ 2811 w 2810"/>
                    <a:gd name="connsiteY9" fmla="*/ 957 h 4246"/>
                    <a:gd name="connsiteX10" fmla="*/ 2811 w 2810"/>
                    <a:gd name="connsiteY10" fmla="*/ 538 h 4246"/>
                    <a:gd name="connsiteX11" fmla="*/ 2691 w 2810"/>
                    <a:gd name="connsiteY11" fmla="*/ 179 h 4246"/>
                    <a:gd name="connsiteX12" fmla="*/ 2452 w 2810"/>
                    <a:gd name="connsiteY12" fmla="*/ 0 h 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0" h="4246">
                      <a:moveTo>
                        <a:pt x="0" y="4186"/>
                      </a:moveTo>
                      <a:lnTo>
                        <a:pt x="299" y="4246"/>
                      </a:lnTo>
                      <a:lnTo>
                        <a:pt x="658" y="4186"/>
                      </a:lnTo>
                      <a:lnTo>
                        <a:pt x="1076" y="3947"/>
                      </a:lnTo>
                      <a:lnTo>
                        <a:pt x="1495" y="3588"/>
                      </a:lnTo>
                      <a:lnTo>
                        <a:pt x="1914" y="3110"/>
                      </a:lnTo>
                      <a:lnTo>
                        <a:pt x="2273" y="2572"/>
                      </a:lnTo>
                      <a:lnTo>
                        <a:pt x="2572" y="2033"/>
                      </a:lnTo>
                      <a:lnTo>
                        <a:pt x="2751" y="1495"/>
                      </a:lnTo>
                      <a:lnTo>
                        <a:pt x="2811" y="957"/>
                      </a:lnTo>
                      <a:lnTo>
                        <a:pt x="2811" y="538"/>
                      </a:lnTo>
                      <a:lnTo>
                        <a:pt x="2691" y="179"/>
                      </a:lnTo>
                      <a:lnTo>
                        <a:pt x="2452" y="0"/>
                      </a:lnTo>
                    </a:path>
                  </a:pathLst>
                </a:custGeom>
                <a:noFill/>
                <a:ln w="6350" cap="rnd">
                  <a:solidFill>
                    <a:schemeClr val="bg1">
                      <a:alpha val="40000"/>
                    </a:schemeClr>
                  </a:solidFill>
                  <a:prstDash val="solid"/>
                  <a:round/>
                </a:ln>
              </p:spPr>
              <p:txBody>
                <a:bodyPr rtlCol="0" anchor="ctr"/>
                <a:lstStyle/>
                <a:p>
                  <a:endParaRPr lang="en-GB"/>
                </a:p>
              </p:txBody>
            </p:sp>
            <p:sp>
              <p:nvSpPr>
                <p:cNvPr id="5498" name="Vrije vorm: vorm 5497">
                  <a:extLst>
                    <a:ext uri="{FF2B5EF4-FFF2-40B4-BE49-F238E27FC236}">
                      <a16:creationId xmlns:a16="http://schemas.microsoft.com/office/drawing/2014/main" id="{5EB8D5B5-C5E9-479B-BF43-007DBB142511}"/>
                    </a:ext>
                  </a:extLst>
                </p:cNvPr>
                <p:cNvSpPr/>
                <p:nvPr/>
              </p:nvSpPr>
              <p:spPr>
                <a:xfrm>
                  <a:off x="6468948" y="1613459"/>
                  <a:ext cx="11243" cy="28109"/>
                </a:xfrm>
                <a:custGeom>
                  <a:avLst/>
                  <a:gdLst>
                    <a:gd name="connsiteX0" fmla="*/ 11244 w 11243"/>
                    <a:gd name="connsiteY0" fmla="*/ 28109 h 28109"/>
                    <a:gd name="connsiteX1" fmla="*/ 10646 w 11243"/>
                    <a:gd name="connsiteY1" fmla="*/ 25059 h 28109"/>
                    <a:gd name="connsiteX2" fmla="*/ 10048 w 11243"/>
                    <a:gd name="connsiteY2" fmla="*/ 22009 h 28109"/>
                    <a:gd name="connsiteX3" fmla="*/ 9450 w 11243"/>
                    <a:gd name="connsiteY3" fmla="*/ 18959 h 28109"/>
                    <a:gd name="connsiteX4" fmla="*/ 8851 w 11243"/>
                    <a:gd name="connsiteY4" fmla="*/ 15909 h 28109"/>
                    <a:gd name="connsiteX5" fmla="*/ 8253 w 11243"/>
                    <a:gd name="connsiteY5" fmla="*/ 12859 h 28109"/>
                    <a:gd name="connsiteX6" fmla="*/ 7656 w 11243"/>
                    <a:gd name="connsiteY6" fmla="*/ 9808 h 28109"/>
                    <a:gd name="connsiteX7" fmla="*/ 7536 w 11243"/>
                    <a:gd name="connsiteY7" fmla="*/ 9330 h 28109"/>
                    <a:gd name="connsiteX8" fmla="*/ 7356 w 11243"/>
                    <a:gd name="connsiteY8" fmla="*/ 8493 h 28109"/>
                    <a:gd name="connsiteX9" fmla="*/ 7237 w 11243"/>
                    <a:gd name="connsiteY9" fmla="*/ 7895 h 28109"/>
                    <a:gd name="connsiteX10" fmla="*/ 6639 w 11243"/>
                    <a:gd name="connsiteY10" fmla="*/ 4844 h 28109"/>
                    <a:gd name="connsiteX11" fmla="*/ 6280 w 11243"/>
                    <a:gd name="connsiteY11" fmla="*/ 2930 h 28109"/>
                    <a:gd name="connsiteX12" fmla="*/ 5861 w 11243"/>
                    <a:gd name="connsiteY12" fmla="*/ 897 h 28109"/>
                    <a:gd name="connsiteX13" fmla="*/ 5801 w 11243"/>
                    <a:gd name="connsiteY13" fmla="*/ 598 h 28109"/>
                    <a:gd name="connsiteX14" fmla="*/ 5682 w 11243"/>
                    <a:gd name="connsiteY14" fmla="*/ 419 h 28109"/>
                    <a:gd name="connsiteX15" fmla="*/ 5682 w 11243"/>
                    <a:gd name="connsiteY15" fmla="*/ 359 h 28109"/>
                    <a:gd name="connsiteX16" fmla="*/ 5502 w 11243"/>
                    <a:gd name="connsiteY16" fmla="*/ 179 h 28109"/>
                    <a:gd name="connsiteX17" fmla="*/ 5263 w 11243"/>
                    <a:gd name="connsiteY17" fmla="*/ 60 h 28109"/>
                    <a:gd name="connsiteX18" fmla="*/ 5024 w 11243"/>
                    <a:gd name="connsiteY18" fmla="*/ 0 h 28109"/>
                    <a:gd name="connsiteX19" fmla="*/ 4725 w 11243"/>
                    <a:gd name="connsiteY19" fmla="*/ 0 h 28109"/>
                    <a:gd name="connsiteX20" fmla="*/ 4426 w 11243"/>
                    <a:gd name="connsiteY20" fmla="*/ 60 h 28109"/>
                    <a:gd name="connsiteX21" fmla="*/ 4127 w 11243"/>
                    <a:gd name="connsiteY21" fmla="*/ 179 h 28109"/>
                    <a:gd name="connsiteX22" fmla="*/ 3768 w 11243"/>
                    <a:gd name="connsiteY22" fmla="*/ 359 h 28109"/>
                    <a:gd name="connsiteX23" fmla="*/ 3409 w 11243"/>
                    <a:gd name="connsiteY23" fmla="*/ 598 h 28109"/>
                    <a:gd name="connsiteX24" fmla="*/ 3050 w 11243"/>
                    <a:gd name="connsiteY24" fmla="*/ 897 h 28109"/>
                    <a:gd name="connsiteX25" fmla="*/ 2691 w 11243"/>
                    <a:gd name="connsiteY25" fmla="*/ 1256 h 28109"/>
                    <a:gd name="connsiteX26" fmla="*/ 2452 w 11243"/>
                    <a:gd name="connsiteY26" fmla="*/ 1495 h 28109"/>
                    <a:gd name="connsiteX27" fmla="*/ 180 w 11243"/>
                    <a:gd name="connsiteY27" fmla="*/ 3828 h 28109"/>
                    <a:gd name="connsiteX28" fmla="*/ 0 w 11243"/>
                    <a:gd name="connsiteY28" fmla="*/ 4007 h 2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243" h="28109">
                      <a:moveTo>
                        <a:pt x="11244" y="28109"/>
                      </a:moveTo>
                      <a:lnTo>
                        <a:pt x="10646" y="25059"/>
                      </a:lnTo>
                      <a:lnTo>
                        <a:pt x="10048" y="22009"/>
                      </a:lnTo>
                      <a:lnTo>
                        <a:pt x="9450" y="18959"/>
                      </a:lnTo>
                      <a:lnTo>
                        <a:pt x="8851" y="15909"/>
                      </a:lnTo>
                      <a:lnTo>
                        <a:pt x="8253" y="12859"/>
                      </a:lnTo>
                      <a:lnTo>
                        <a:pt x="7656" y="9808"/>
                      </a:lnTo>
                      <a:lnTo>
                        <a:pt x="7536" y="9330"/>
                      </a:lnTo>
                      <a:lnTo>
                        <a:pt x="7356" y="8493"/>
                      </a:lnTo>
                      <a:lnTo>
                        <a:pt x="7237" y="7895"/>
                      </a:lnTo>
                      <a:lnTo>
                        <a:pt x="6639" y="4844"/>
                      </a:lnTo>
                      <a:lnTo>
                        <a:pt x="6280" y="2930"/>
                      </a:lnTo>
                      <a:lnTo>
                        <a:pt x="5861" y="897"/>
                      </a:lnTo>
                      <a:lnTo>
                        <a:pt x="5801" y="598"/>
                      </a:lnTo>
                      <a:lnTo>
                        <a:pt x="5682" y="419"/>
                      </a:lnTo>
                      <a:lnTo>
                        <a:pt x="5682" y="359"/>
                      </a:lnTo>
                      <a:lnTo>
                        <a:pt x="5502" y="179"/>
                      </a:lnTo>
                      <a:lnTo>
                        <a:pt x="5263" y="60"/>
                      </a:lnTo>
                      <a:lnTo>
                        <a:pt x="5024" y="0"/>
                      </a:lnTo>
                      <a:lnTo>
                        <a:pt x="4725" y="0"/>
                      </a:lnTo>
                      <a:lnTo>
                        <a:pt x="4426" y="60"/>
                      </a:lnTo>
                      <a:lnTo>
                        <a:pt x="4127" y="179"/>
                      </a:lnTo>
                      <a:lnTo>
                        <a:pt x="3768" y="359"/>
                      </a:lnTo>
                      <a:lnTo>
                        <a:pt x="3409" y="598"/>
                      </a:lnTo>
                      <a:lnTo>
                        <a:pt x="3050" y="897"/>
                      </a:lnTo>
                      <a:lnTo>
                        <a:pt x="2691" y="1256"/>
                      </a:lnTo>
                      <a:lnTo>
                        <a:pt x="2452" y="1495"/>
                      </a:lnTo>
                      <a:lnTo>
                        <a:pt x="180" y="3828"/>
                      </a:lnTo>
                      <a:lnTo>
                        <a:pt x="0" y="4007"/>
                      </a:lnTo>
                    </a:path>
                  </a:pathLst>
                </a:custGeom>
                <a:noFill/>
                <a:ln w="6350" cap="rnd">
                  <a:solidFill>
                    <a:schemeClr val="bg1">
                      <a:alpha val="40000"/>
                    </a:schemeClr>
                  </a:solidFill>
                  <a:prstDash val="solid"/>
                  <a:round/>
                </a:ln>
              </p:spPr>
              <p:txBody>
                <a:bodyPr rtlCol="0" anchor="ctr"/>
                <a:lstStyle/>
                <a:p>
                  <a:endParaRPr lang="en-GB"/>
                </a:p>
              </p:txBody>
            </p:sp>
            <p:sp>
              <p:nvSpPr>
                <p:cNvPr id="5499" name="Vrije vorm: vorm 5498">
                  <a:extLst>
                    <a:ext uri="{FF2B5EF4-FFF2-40B4-BE49-F238E27FC236}">
                      <a16:creationId xmlns:a16="http://schemas.microsoft.com/office/drawing/2014/main" id="{E21FA036-32F1-4561-B6D7-B68BAAF9700B}"/>
                    </a:ext>
                  </a:extLst>
                </p:cNvPr>
                <p:cNvSpPr/>
                <p:nvPr/>
              </p:nvSpPr>
              <p:spPr>
                <a:xfrm>
                  <a:off x="6455312" y="1666090"/>
                  <a:ext cx="2750" cy="4186"/>
                </a:xfrm>
                <a:custGeom>
                  <a:avLst/>
                  <a:gdLst>
                    <a:gd name="connsiteX0" fmla="*/ 0 w 2750"/>
                    <a:gd name="connsiteY0" fmla="*/ 4127 h 4186"/>
                    <a:gd name="connsiteX1" fmla="*/ 299 w 2750"/>
                    <a:gd name="connsiteY1" fmla="*/ 4187 h 4186"/>
                    <a:gd name="connsiteX2" fmla="*/ 658 w 2750"/>
                    <a:gd name="connsiteY2" fmla="*/ 4127 h 4186"/>
                    <a:gd name="connsiteX3" fmla="*/ 1076 w 2750"/>
                    <a:gd name="connsiteY3" fmla="*/ 3947 h 4186"/>
                    <a:gd name="connsiteX4" fmla="*/ 1495 w 2750"/>
                    <a:gd name="connsiteY4" fmla="*/ 3588 h 4186"/>
                    <a:gd name="connsiteX5" fmla="*/ 1854 w 2750"/>
                    <a:gd name="connsiteY5" fmla="*/ 3170 h 4186"/>
                    <a:gd name="connsiteX6" fmla="*/ 2213 w 2750"/>
                    <a:gd name="connsiteY6" fmla="*/ 2632 h 4186"/>
                    <a:gd name="connsiteX7" fmla="*/ 2512 w 2750"/>
                    <a:gd name="connsiteY7" fmla="*/ 2093 h 4186"/>
                    <a:gd name="connsiteX8" fmla="*/ 2691 w 2750"/>
                    <a:gd name="connsiteY8" fmla="*/ 1555 h 4186"/>
                    <a:gd name="connsiteX9" fmla="*/ 2691 w 2750"/>
                    <a:gd name="connsiteY9" fmla="*/ 1435 h 4186"/>
                    <a:gd name="connsiteX10" fmla="*/ 2751 w 2750"/>
                    <a:gd name="connsiteY10" fmla="*/ 1017 h 4186"/>
                    <a:gd name="connsiteX11" fmla="*/ 2751 w 2750"/>
                    <a:gd name="connsiteY11" fmla="*/ 598 h 4186"/>
                    <a:gd name="connsiteX12" fmla="*/ 2632 w 2750"/>
                    <a:gd name="connsiteY12" fmla="*/ 239 h 4186"/>
                    <a:gd name="connsiteX13" fmla="*/ 2452 w 2750"/>
                    <a:gd name="connsiteY13" fmla="*/ 0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0" h="4186">
                      <a:moveTo>
                        <a:pt x="0" y="4127"/>
                      </a:moveTo>
                      <a:lnTo>
                        <a:pt x="299" y="4187"/>
                      </a:lnTo>
                      <a:lnTo>
                        <a:pt x="658" y="4127"/>
                      </a:lnTo>
                      <a:lnTo>
                        <a:pt x="1076" y="3947"/>
                      </a:lnTo>
                      <a:lnTo>
                        <a:pt x="1495" y="3588"/>
                      </a:lnTo>
                      <a:lnTo>
                        <a:pt x="1854" y="3170"/>
                      </a:lnTo>
                      <a:lnTo>
                        <a:pt x="2213" y="2632"/>
                      </a:lnTo>
                      <a:lnTo>
                        <a:pt x="2512" y="2093"/>
                      </a:lnTo>
                      <a:lnTo>
                        <a:pt x="2691" y="1555"/>
                      </a:lnTo>
                      <a:lnTo>
                        <a:pt x="2691" y="1435"/>
                      </a:lnTo>
                      <a:lnTo>
                        <a:pt x="2751" y="1017"/>
                      </a:lnTo>
                      <a:lnTo>
                        <a:pt x="2751" y="598"/>
                      </a:lnTo>
                      <a:lnTo>
                        <a:pt x="2632" y="239"/>
                      </a:lnTo>
                      <a:lnTo>
                        <a:pt x="2452" y="0"/>
                      </a:lnTo>
                    </a:path>
                  </a:pathLst>
                </a:custGeom>
                <a:noFill/>
                <a:ln w="6350" cap="rnd">
                  <a:solidFill>
                    <a:schemeClr val="bg1">
                      <a:alpha val="40000"/>
                    </a:schemeClr>
                  </a:solidFill>
                  <a:prstDash val="solid"/>
                  <a:round/>
                </a:ln>
              </p:spPr>
              <p:txBody>
                <a:bodyPr rtlCol="0" anchor="ctr"/>
                <a:lstStyle/>
                <a:p>
                  <a:endParaRPr lang="en-GB"/>
                </a:p>
              </p:txBody>
            </p:sp>
            <p:sp>
              <p:nvSpPr>
                <p:cNvPr id="5500" name="Vrije vorm: vorm 5499">
                  <a:extLst>
                    <a:ext uri="{FF2B5EF4-FFF2-40B4-BE49-F238E27FC236}">
                      <a16:creationId xmlns:a16="http://schemas.microsoft.com/office/drawing/2014/main" id="{7167248D-013E-4A7E-8CC2-4348A97CAD06}"/>
                    </a:ext>
                  </a:extLst>
                </p:cNvPr>
                <p:cNvSpPr/>
                <p:nvPr/>
              </p:nvSpPr>
              <p:spPr>
                <a:xfrm>
                  <a:off x="6445802" y="1598508"/>
                  <a:ext cx="2392" cy="3648"/>
                </a:xfrm>
                <a:custGeom>
                  <a:avLst/>
                  <a:gdLst>
                    <a:gd name="connsiteX0" fmla="*/ 0 w 2392"/>
                    <a:gd name="connsiteY0" fmla="*/ 3648 h 3648"/>
                    <a:gd name="connsiteX1" fmla="*/ 239 w 2392"/>
                    <a:gd name="connsiteY1" fmla="*/ 3648 h 3648"/>
                    <a:gd name="connsiteX2" fmla="*/ 538 w 2392"/>
                    <a:gd name="connsiteY2" fmla="*/ 3529 h 3648"/>
                    <a:gd name="connsiteX3" fmla="*/ 897 w 2392"/>
                    <a:gd name="connsiteY3" fmla="*/ 3289 h 3648"/>
                    <a:gd name="connsiteX4" fmla="*/ 1256 w 2392"/>
                    <a:gd name="connsiteY4" fmla="*/ 2990 h 3648"/>
                    <a:gd name="connsiteX5" fmla="*/ 1615 w 2392"/>
                    <a:gd name="connsiteY5" fmla="*/ 2572 h 3648"/>
                    <a:gd name="connsiteX6" fmla="*/ 1914 w 2392"/>
                    <a:gd name="connsiteY6" fmla="*/ 2093 h 3648"/>
                    <a:gd name="connsiteX7" fmla="*/ 2153 w 2392"/>
                    <a:gd name="connsiteY7" fmla="*/ 1615 h 3648"/>
                    <a:gd name="connsiteX8" fmla="*/ 2333 w 2392"/>
                    <a:gd name="connsiteY8" fmla="*/ 1136 h 3648"/>
                    <a:gd name="connsiteX9" fmla="*/ 2392 w 2392"/>
                    <a:gd name="connsiteY9" fmla="*/ 718 h 3648"/>
                    <a:gd name="connsiteX10" fmla="*/ 2392 w 2392"/>
                    <a:gd name="connsiteY10" fmla="*/ 658 h 3648"/>
                    <a:gd name="connsiteX11" fmla="*/ 2392 w 2392"/>
                    <a:gd name="connsiteY11" fmla="*/ 359 h 3648"/>
                    <a:gd name="connsiteX12" fmla="*/ 2273 w 2392"/>
                    <a:gd name="connsiteY12" fmla="*/ 120 h 3648"/>
                    <a:gd name="connsiteX13" fmla="*/ 2093 w 2392"/>
                    <a:gd name="connsiteY13" fmla="*/ 0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92" h="3648">
                      <a:moveTo>
                        <a:pt x="0" y="3648"/>
                      </a:moveTo>
                      <a:lnTo>
                        <a:pt x="239" y="3648"/>
                      </a:lnTo>
                      <a:lnTo>
                        <a:pt x="538" y="3529"/>
                      </a:lnTo>
                      <a:lnTo>
                        <a:pt x="897" y="3289"/>
                      </a:lnTo>
                      <a:lnTo>
                        <a:pt x="1256" y="2990"/>
                      </a:lnTo>
                      <a:lnTo>
                        <a:pt x="1615" y="2572"/>
                      </a:lnTo>
                      <a:lnTo>
                        <a:pt x="1914" y="2093"/>
                      </a:lnTo>
                      <a:lnTo>
                        <a:pt x="2153" y="1615"/>
                      </a:lnTo>
                      <a:lnTo>
                        <a:pt x="2333" y="1136"/>
                      </a:lnTo>
                      <a:lnTo>
                        <a:pt x="2392" y="718"/>
                      </a:lnTo>
                      <a:lnTo>
                        <a:pt x="2392" y="658"/>
                      </a:lnTo>
                      <a:lnTo>
                        <a:pt x="2392" y="359"/>
                      </a:lnTo>
                      <a:lnTo>
                        <a:pt x="2273" y="120"/>
                      </a:lnTo>
                      <a:lnTo>
                        <a:pt x="2093" y="0"/>
                      </a:lnTo>
                    </a:path>
                  </a:pathLst>
                </a:custGeom>
                <a:noFill/>
                <a:ln w="6350" cap="rnd">
                  <a:solidFill>
                    <a:schemeClr val="bg1">
                      <a:alpha val="40000"/>
                    </a:schemeClr>
                  </a:solidFill>
                  <a:prstDash val="solid"/>
                  <a:round/>
                </a:ln>
              </p:spPr>
              <p:txBody>
                <a:bodyPr rtlCol="0" anchor="ctr"/>
                <a:lstStyle/>
                <a:p>
                  <a:endParaRPr lang="en-GB"/>
                </a:p>
              </p:txBody>
            </p:sp>
            <p:sp>
              <p:nvSpPr>
                <p:cNvPr id="5501" name="Vrije vorm: vorm 5500">
                  <a:extLst>
                    <a:ext uri="{FF2B5EF4-FFF2-40B4-BE49-F238E27FC236}">
                      <a16:creationId xmlns:a16="http://schemas.microsoft.com/office/drawing/2014/main" id="{DC86E345-A45D-49DA-9EF3-FEF4B2E78631}"/>
                    </a:ext>
                  </a:extLst>
                </p:cNvPr>
                <p:cNvSpPr/>
                <p:nvPr/>
              </p:nvSpPr>
              <p:spPr>
                <a:xfrm>
                  <a:off x="6469486" y="1613699"/>
                  <a:ext cx="5083" cy="4007"/>
                </a:xfrm>
                <a:custGeom>
                  <a:avLst/>
                  <a:gdLst>
                    <a:gd name="connsiteX0" fmla="*/ 5083 w 5083"/>
                    <a:gd name="connsiteY0" fmla="*/ 0 h 4007"/>
                    <a:gd name="connsiteX1" fmla="*/ 5083 w 5083"/>
                    <a:gd name="connsiteY1" fmla="*/ 0 h 4007"/>
                    <a:gd name="connsiteX2" fmla="*/ 4725 w 5083"/>
                    <a:gd name="connsiteY2" fmla="*/ 0 h 4007"/>
                    <a:gd name="connsiteX3" fmla="*/ 4426 w 5083"/>
                    <a:gd name="connsiteY3" fmla="*/ 60 h 4007"/>
                    <a:gd name="connsiteX4" fmla="*/ 4127 w 5083"/>
                    <a:gd name="connsiteY4" fmla="*/ 179 h 4007"/>
                    <a:gd name="connsiteX5" fmla="*/ 3768 w 5083"/>
                    <a:gd name="connsiteY5" fmla="*/ 359 h 4007"/>
                    <a:gd name="connsiteX6" fmla="*/ 3409 w 5083"/>
                    <a:gd name="connsiteY6" fmla="*/ 598 h 4007"/>
                    <a:gd name="connsiteX7" fmla="*/ 3050 w 5083"/>
                    <a:gd name="connsiteY7" fmla="*/ 897 h 4007"/>
                    <a:gd name="connsiteX8" fmla="*/ 2691 w 5083"/>
                    <a:gd name="connsiteY8" fmla="*/ 1256 h 4007"/>
                    <a:gd name="connsiteX9" fmla="*/ 2273 w 5083"/>
                    <a:gd name="connsiteY9" fmla="*/ 1675 h 4007"/>
                    <a:gd name="connsiteX10" fmla="*/ 0 w 5083"/>
                    <a:gd name="connsiteY10" fmla="*/ 4007 h 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83" h="4007">
                      <a:moveTo>
                        <a:pt x="5083" y="0"/>
                      </a:moveTo>
                      <a:lnTo>
                        <a:pt x="5083" y="0"/>
                      </a:lnTo>
                      <a:lnTo>
                        <a:pt x="4725" y="0"/>
                      </a:lnTo>
                      <a:lnTo>
                        <a:pt x="4426" y="60"/>
                      </a:lnTo>
                      <a:lnTo>
                        <a:pt x="4127" y="179"/>
                      </a:lnTo>
                      <a:lnTo>
                        <a:pt x="3768" y="359"/>
                      </a:lnTo>
                      <a:lnTo>
                        <a:pt x="3409" y="598"/>
                      </a:lnTo>
                      <a:lnTo>
                        <a:pt x="3050" y="897"/>
                      </a:lnTo>
                      <a:lnTo>
                        <a:pt x="2691" y="1256"/>
                      </a:lnTo>
                      <a:lnTo>
                        <a:pt x="2273" y="1675"/>
                      </a:lnTo>
                      <a:lnTo>
                        <a:pt x="0" y="4007"/>
                      </a:lnTo>
                    </a:path>
                  </a:pathLst>
                </a:custGeom>
                <a:noFill/>
                <a:ln w="6350" cap="rnd">
                  <a:solidFill>
                    <a:schemeClr val="bg1">
                      <a:alpha val="40000"/>
                    </a:schemeClr>
                  </a:solidFill>
                  <a:prstDash val="solid"/>
                  <a:round/>
                </a:ln>
              </p:spPr>
              <p:txBody>
                <a:bodyPr rtlCol="0" anchor="ctr"/>
                <a:lstStyle/>
                <a:p>
                  <a:endParaRPr lang="en-GB"/>
                </a:p>
              </p:txBody>
            </p:sp>
            <p:sp>
              <p:nvSpPr>
                <p:cNvPr id="5502" name="Vrije vorm: vorm 5501">
                  <a:extLst>
                    <a:ext uri="{FF2B5EF4-FFF2-40B4-BE49-F238E27FC236}">
                      <a16:creationId xmlns:a16="http://schemas.microsoft.com/office/drawing/2014/main" id="{8B43A299-0E5D-433E-A64D-7A9124C6800E}"/>
                    </a:ext>
                  </a:extLst>
                </p:cNvPr>
                <p:cNvSpPr/>
                <p:nvPr/>
              </p:nvSpPr>
              <p:spPr>
                <a:xfrm>
                  <a:off x="6479594" y="1667286"/>
                  <a:ext cx="1435" cy="2212"/>
                </a:xfrm>
                <a:custGeom>
                  <a:avLst/>
                  <a:gdLst>
                    <a:gd name="connsiteX0" fmla="*/ 0 w 1435"/>
                    <a:gd name="connsiteY0" fmla="*/ 0 h 2212"/>
                    <a:gd name="connsiteX1" fmla="*/ 0 w 1435"/>
                    <a:gd name="connsiteY1" fmla="*/ 0 h 2212"/>
                    <a:gd name="connsiteX2" fmla="*/ 478 w 1435"/>
                    <a:gd name="connsiteY2" fmla="*/ 2213 h 2212"/>
                    <a:gd name="connsiteX3" fmla="*/ 1435 w 1435"/>
                    <a:gd name="connsiteY3" fmla="*/ 239 h 2212"/>
                  </a:gdLst>
                  <a:ahLst/>
                  <a:cxnLst>
                    <a:cxn ang="0">
                      <a:pos x="connsiteX0" y="connsiteY0"/>
                    </a:cxn>
                    <a:cxn ang="0">
                      <a:pos x="connsiteX1" y="connsiteY1"/>
                    </a:cxn>
                    <a:cxn ang="0">
                      <a:pos x="connsiteX2" y="connsiteY2"/>
                    </a:cxn>
                    <a:cxn ang="0">
                      <a:pos x="connsiteX3" y="connsiteY3"/>
                    </a:cxn>
                  </a:cxnLst>
                  <a:rect l="l" t="t" r="r" b="b"/>
                  <a:pathLst>
                    <a:path w="1435" h="2212">
                      <a:moveTo>
                        <a:pt x="0" y="0"/>
                      </a:moveTo>
                      <a:lnTo>
                        <a:pt x="0" y="0"/>
                      </a:lnTo>
                      <a:lnTo>
                        <a:pt x="478" y="2213"/>
                      </a:lnTo>
                      <a:lnTo>
                        <a:pt x="1435" y="239"/>
                      </a:lnTo>
                    </a:path>
                  </a:pathLst>
                </a:custGeom>
                <a:noFill/>
                <a:ln w="6350" cap="rnd">
                  <a:solidFill>
                    <a:schemeClr val="bg1">
                      <a:alpha val="40000"/>
                    </a:schemeClr>
                  </a:solidFill>
                  <a:prstDash val="solid"/>
                  <a:round/>
                </a:ln>
              </p:spPr>
              <p:txBody>
                <a:bodyPr rtlCol="0" anchor="ctr"/>
                <a:lstStyle/>
                <a:p>
                  <a:endParaRPr lang="en-GB"/>
                </a:p>
              </p:txBody>
            </p:sp>
            <p:sp>
              <p:nvSpPr>
                <p:cNvPr id="5503" name="Vrije vorm: vorm 5502">
                  <a:extLst>
                    <a:ext uri="{FF2B5EF4-FFF2-40B4-BE49-F238E27FC236}">
                      <a16:creationId xmlns:a16="http://schemas.microsoft.com/office/drawing/2014/main" id="{0A050A74-1A4C-4C3B-AB41-F7F50A88458F}"/>
                    </a:ext>
                  </a:extLst>
                </p:cNvPr>
                <p:cNvSpPr/>
                <p:nvPr/>
              </p:nvSpPr>
              <p:spPr>
                <a:xfrm>
                  <a:off x="6474928" y="1662142"/>
                  <a:ext cx="4246" cy="3468"/>
                </a:xfrm>
                <a:custGeom>
                  <a:avLst/>
                  <a:gdLst>
                    <a:gd name="connsiteX0" fmla="*/ 0 w 4246"/>
                    <a:gd name="connsiteY0" fmla="*/ 3469 h 3468"/>
                    <a:gd name="connsiteX1" fmla="*/ 2333 w 4246"/>
                    <a:gd name="connsiteY1" fmla="*/ 1196 h 3468"/>
                    <a:gd name="connsiteX2" fmla="*/ 3589 w 4246"/>
                    <a:gd name="connsiteY2" fmla="*/ 0 h 3468"/>
                    <a:gd name="connsiteX3" fmla="*/ 4187 w 4246"/>
                    <a:gd name="connsiteY3" fmla="*/ 419 h 3468"/>
                    <a:gd name="connsiteX4" fmla="*/ 4246 w 4246"/>
                    <a:gd name="connsiteY4" fmla="*/ 478 h 3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6" h="3468">
                      <a:moveTo>
                        <a:pt x="0" y="3469"/>
                      </a:moveTo>
                      <a:lnTo>
                        <a:pt x="2333" y="1196"/>
                      </a:lnTo>
                      <a:lnTo>
                        <a:pt x="3589" y="0"/>
                      </a:lnTo>
                      <a:lnTo>
                        <a:pt x="4187" y="419"/>
                      </a:lnTo>
                      <a:lnTo>
                        <a:pt x="4246" y="478"/>
                      </a:lnTo>
                    </a:path>
                  </a:pathLst>
                </a:custGeom>
                <a:noFill/>
                <a:ln w="6350" cap="rnd">
                  <a:solidFill>
                    <a:schemeClr val="bg1">
                      <a:alpha val="40000"/>
                    </a:schemeClr>
                  </a:solidFill>
                  <a:prstDash val="solid"/>
                  <a:round/>
                </a:ln>
              </p:spPr>
              <p:txBody>
                <a:bodyPr rtlCol="0" anchor="ctr"/>
                <a:lstStyle/>
                <a:p>
                  <a:endParaRPr lang="en-GB"/>
                </a:p>
              </p:txBody>
            </p:sp>
            <p:sp>
              <p:nvSpPr>
                <p:cNvPr id="5504" name="Vrije vorm: vorm 5503">
                  <a:extLst>
                    <a:ext uri="{FF2B5EF4-FFF2-40B4-BE49-F238E27FC236}">
                      <a16:creationId xmlns:a16="http://schemas.microsoft.com/office/drawing/2014/main" id="{BC448B5D-C7B9-4A5C-9B25-B360A86DADEC}"/>
                    </a:ext>
                  </a:extLst>
                </p:cNvPr>
                <p:cNvSpPr/>
                <p:nvPr/>
              </p:nvSpPr>
              <p:spPr>
                <a:xfrm>
                  <a:off x="6475945" y="1663877"/>
                  <a:ext cx="3050" cy="2332"/>
                </a:xfrm>
                <a:custGeom>
                  <a:avLst/>
                  <a:gdLst>
                    <a:gd name="connsiteX0" fmla="*/ 0 w 3050"/>
                    <a:gd name="connsiteY0" fmla="*/ 2332 h 2332"/>
                    <a:gd name="connsiteX1" fmla="*/ 2333 w 3050"/>
                    <a:gd name="connsiteY1" fmla="*/ 60 h 2332"/>
                    <a:gd name="connsiteX2" fmla="*/ 2392 w 3050"/>
                    <a:gd name="connsiteY2" fmla="*/ 0 h 2332"/>
                    <a:gd name="connsiteX3" fmla="*/ 3050 w 3050"/>
                    <a:gd name="connsiteY3" fmla="*/ 359 h 2332"/>
                  </a:gdLst>
                  <a:ahLst/>
                  <a:cxnLst>
                    <a:cxn ang="0">
                      <a:pos x="connsiteX0" y="connsiteY0"/>
                    </a:cxn>
                    <a:cxn ang="0">
                      <a:pos x="connsiteX1" y="connsiteY1"/>
                    </a:cxn>
                    <a:cxn ang="0">
                      <a:pos x="connsiteX2" y="connsiteY2"/>
                    </a:cxn>
                    <a:cxn ang="0">
                      <a:pos x="connsiteX3" y="connsiteY3"/>
                    </a:cxn>
                  </a:cxnLst>
                  <a:rect l="l" t="t" r="r" b="b"/>
                  <a:pathLst>
                    <a:path w="3050" h="2332">
                      <a:moveTo>
                        <a:pt x="0" y="2332"/>
                      </a:moveTo>
                      <a:lnTo>
                        <a:pt x="2333" y="60"/>
                      </a:lnTo>
                      <a:lnTo>
                        <a:pt x="2392" y="0"/>
                      </a:lnTo>
                      <a:lnTo>
                        <a:pt x="3050" y="359"/>
                      </a:lnTo>
                    </a:path>
                  </a:pathLst>
                </a:custGeom>
                <a:noFill/>
                <a:ln w="6350" cap="rnd">
                  <a:solidFill>
                    <a:schemeClr val="bg1">
                      <a:alpha val="40000"/>
                    </a:schemeClr>
                  </a:solidFill>
                  <a:prstDash val="solid"/>
                  <a:round/>
                </a:ln>
              </p:spPr>
              <p:txBody>
                <a:bodyPr rtlCol="0" anchor="ctr"/>
                <a:lstStyle/>
                <a:p>
                  <a:endParaRPr lang="en-GB"/>
                </a:p>
              </p:txBody>
            </p:sp>
            <p:sp>
              <p:nvSpPr>
                <p:cNvPr id="5505" name="Vrije vorm: vorm 5504">
                  <a:extLst>
                    <a:ext uri="{FF2B5EF4-FFF2-40B4-BE49-F238E27FC236}">
                      <a16:creationId xmlns:a16="http://schemas.microsoft.com/office/drawing/2014/main" id="{2C087D7F-E6F5-41CA-B312-ADB707DD01AF}"/>
                    </a:ext>
                  </a:extLst>
                </p:cNvPr>
                <p:cNvSpPr/>
                <p:nvPr/>
              </p:nvSpPr>
              <p:spPr>
                <a:xfrm>
                  <a:off x="6470383" y="1666927"/>
                  <a:ext cx="9270" cy="9150"/>
                </a:xfrm>
                <a:custGeom>
                  <a:avLst/>
                  <a:gdLst>
                    <a:gd name="connsiteX0" fmla="*/ 0 w 9270"/>
                    <a:gd name="connsiteY0" fmla="*/ 9150 h 9150"/>
                    <a:gd name="connsiteX1" fmla="*/ 239 w 9270"/>
                    <a:gd name="connsiteY1" fmla="*/ 8911 h 9150"/>
                    <a:gd name="connsiteX2" fmla="*/ 299 w 9270"/>
                    <a:gd name="connsiteY2" fmla="*/ 8851 h 9150"/>
                    <a:gd name="connsiteX3" fmla="*/ 419 w 9270"/>
                    <a:gd name="connsiteY3" fmla="*/ 8732 h 9150"/>
                    <a:gd name="connsiteX4" fmla="*/ 897 w 9270"/>
                    <a:gd name="connsiteY4" fmla="*/ 8313 h 9150"/>
                    <a:gd name="connsiteX5" fmla="*/ 1316 w 9270"/>
                    <a:gd name="connsiteY5" fmla="*/ 7895 h 9150"/>
                    <a:gd name="connsiteX6" fmla="*/ 3649 w 9270"/>
                    <a:gd name="connsiteY6" fmla="*/ 5682 h 9150"/>
                    <a:gd name="connsiteX7" fmla="*/ 5981 w 9270"/>
                    <a:gd name="connsiteY7" fmla="*/ 3469 h 9150"/>
                    <a:gd name="connsiteX8" fmla="*/ 8313 w 9270"/>
                    <a:gd name="connsiteY8" fmla="*/ 1256 h 9150"/>
                    <a:gd name="connsiteX9" fmla="*/ 9270 w 9270"/>
                    <a:gd name="connsiteY9" fmla="*/ 359 h 9150"/>
                    <a:gd name="connsiteX10" fmla="*/ 8612 w 9270"/>
                    <a:gd name="connsiteY10" fmla="*/ 0 h 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70" h="9150">
                      <a:moveTo>
                        <a:pt x="0" y="9150"/>
                      </a:moveTo>
                      <a:lnTo>
                        <a:pt x="239" y="8911"/>
                      </a:lnTo>
                      <a:lnTo>
                        <a:pt x="299" y="8851"/>
                      </a:lnTo>
                      <a:lnTo>
                        <a:pt x="419" y="8732"/>
                      </a:lnTo>
                      <a:lnTo>
                        <a:pt x="897" y="8313"/>
                      </a:lnTo>
                      <a:lnTo>
                        <a:pt x="1316" y="7895"/>
                      </a:lnTo>
                      <a:lnTo>
                        <a:pt x="3649" y="5682"/>
                      </a:lnTo>
                      <a:lnTo>
                        <a:pt x="5981" y="3469"/>
                      </a:lnTo>
                      <a:lnTo>
                        <a:pt x="8313" y="1256"/>
                      </a:lnTo>
                      <a:lnTo>
                        <a:pt x="9270" y="359"/>
                      </a:lnTo>
                      <a:lnTo>
                        <a:pt x="8612" y="0"/>
                      </a:lnTo>
                    </a:path>
                  </a:pathLst>
                </a:custGeom>
                <a:noFill/>
                <a:ln w="6350" cap="rnd">
                  <a:solidFill>
                    <a:schemeClr val="bg1">
                      <a:alpha val="40000"/>
                    </a:schemeClr>
                  </a:solidFill>
                  <a:prstDash val="solid"/>
                  <a:round/>
                </a:ln>
              </p:spPr>
              <p:txBody>
                <a:bodyPr rtlCol="0" anchor="ctr"/>
                <a:lstStyle/>
                <a:p>
                  <a:endParaRPr lang="en-GB"/>
                </a:p>
              </p:txBody>
            </p:sp>
            <p:sp>
              <p:nvSpPr>
                <p:cNvPr id="5506" name="Vrije vorm: vorm 5505">
                  <a:extLst>
                    <a:ext uri="{FF2B5EF4-FFF2-40B4-BE49-F238E27FC236}">
                      <a16:creationId xmlns:a16="http://schemas.microsoft.com/office/drawing/2014/main" id="{087D5558-478C-4976-901E-59FFC2F263E2}"/>
                    </a:ext>
                  </a:extLst>
                </p:cNvPr>
                <p:cNvSpPr/>
                <p:nvPr/>
              </p:nvSpPr>
              <p:spPr>
                <a:xfrm>
                  <a:off x="6469725" y="1663757"/>
                  <a:ext cx="9210" cy="11961"/>
                </a:xfrm>
                <a:custGeom>
                  <a:avLst/>
                  <a:gdLst>
                    <a:gd name="connsiteX0" fmla="*/ 0 w 9210"/>
                    <a:gd name="connsiteY0" fmla="*/ 11961 h 11961"/>
                    <a:gd name="connsiteX1" fmla="*/ 239 w 9210"/>
                    <a:gd name="connsiteY1" fmla="*/ 11722 h 11961"/>
                    <a:gd name="connsiteX2" fmla="*/ 299 w 9210"/>
                    <a:gd name="connsiteY2" fmla="*/ 11662 h 11961"/>
                    <a:gd name="connsiteX3" fmla="*/ 419 w 9210"/>
                    <a:gd name="connsiteY3" fmla="*/ 11543 h 11961"/>
                    <a:gd name="connsiteX4" fmla="*/ 1076 w 9210"/>
                    <a:gd name="connsiteY4" fmla="*/ 10885 h 11961"/>
                    <a:gd name="connsiteX5" fmla="*/ 1136 w 9210"/>
                    <a:gd name="connsiteY5" fmla="*/ 10825 h 11961"/>
                    <a:gd name="connsiteX6" fmla="*/ 3469 w 9210"/>
                    <a:gd name="connsiteY6" fmla="*/ 8552 h 11961"/>
                    <a:gd name="connsiteX7" fmla="*/ 5801 w 9210"/>
                    <a:gd name="connsiteY7" fmla="*/ 6280 h 11961"/>
                    <a:gd name="connsiteX8" fmla="*/ 8134 w 9210"/>
                    <a:gd name="connsiteY8" fmla="*/ 4007 h 11961"/>
                    <a:gd name="connsiteX9" fmla="*/ 9210 w 9210"/>
                    <a:gd name="connsiteY9" fmla="*/ 2990 h 11961"/>
                    <a:gd name="connsiteX10" fmla="*/ 8732 w 9210"/>
                    <a:gd name="connsiteY10" fmla="*/ 837 h 11961"/>
                    <a:gd name="connsiteX11" fmla="*/ 8552 w 9210"/>
                    <a:gd name="connsiteY11" fmla="*/ 0 h 1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10" h="11961">
                      <a:moveTo>
                        <a:pt x="0" y="11961"/>
                      </a:moveTo>
                      <a:lnTo>
                        <a:pt x="239" y="11722"/>
                      </a:lnTo>
                      <a:lnTo>
                        <a:pt x="299" y="11662"/>
                      </a:lnTo>
                      <a:lnTo>
                        <a:pt x="419" y="11543"/>
                      </a:lnTo>
                      <a:lnTo>
                        <a:pt x="1076" y="10885"/>
                      </a:lnTo>
                      <a:lnTo>
                        <a:pt x="1136" y="10825"/>
                      </a:lnTo>
                      <a:lnTo>
                        <a:pt x="3469" y="8552"/>
                      </a:lnTo>
                      <a:lnTo>
                        <a:pt x="5801" y="6280"/>
                      </a:lnTo>
                      <a:lnTo>
                        <a:pt x="8134" y="4007"/>
                      </a:lnTo>
                      <a:lnTo>
                        <a:pt x="9210" y="2990"/>
                      </a:lnTo>
                      <a:lnTo>
                        <a:pt x="8732" y="837"/>
                      </a:lnTo>
                      <a:lnTo>
                        <a:pt x="8552" y="0"/>
                      </a:lnTo>
                    </a:path>
                  </a:pathLst>
                </a:custGeom>
                <a:noFill/>
                <a:ln w="6350" cap="rnd">
                  <a:solidFill>
                    <a:schemeClr val="bg1">
                      <a:alpha val="40000"/>
                    </a:schemeClr>
                  </a:solidFill>
                  <a:prstDash val="solid"/>
                  <a:round/>
                </a:ln>
              </p:spPr>
              <p:txBody>
                <a:bodyPr rtlCol="0" anchor="ctr"/>
                <a:lstStyle/>
                <a:p>
                  <a:endParaRPr lang="en-GB"/>
                </a:p>
              </p:txBody>
            </p:sp>
            <p:sp>
              <p:nvSpPr>
                <p:cNvPr id="5507" name="Vrije vorm: vorm 5506">
                  <a:extLst>
                    <a:ext uri="{FF2B5EF4-FFF2-40B4-BE49-F238E27FC236}">
                      <a16:creationId xmlns:a16="http://schemas.microsoft.com/office/drawing/2014/main" id="{7A12F6C7-83E4-4972-9194-B1A639C20C65}"/>
                    </a:ext>
                  </a:extLst>
                </p:cNvPr>
                <p:cNvSpPr/>
                <p:nvPr/>
              </p:nvSpPr>
              <p:spPr>
                <a:xfrm>
                  <a:off x="6478457" y="1662142"/>
                  <a:ext cx="478" cy="2153"/>
                </a:xfrm>
                <a:custGeom>
                  <a:avLst/>
                  <a:gdLst>
                    <a:gd name="connsiteX0" fmla="*/ 478 w 478"/>
                    <a:gd name="connsiteY0" fmla="*/ 2153 h 2153"/>
                    <a:gd name="connsiteX1" fmla="*/ 0 w 478"/>
                    <a:gd name="connsiteY1" fmla="*/ 0 h 2153"/>
                  </a:gdLst>
                  <a:ahLst/>
                  <a:cxnLst>
                    <a:cxn ang="0">
                      <a:pos x="connsiteX0" y="connsiteY0"/>
                    </a:cxn>
                    <a:cxn ang="0">
                      <a:pos x="connsiteX1" y="connsiteY1"/>
                    </a:cxn>
                  </a:cxnLst>
                  <a:rect l="l" t="t" r="r" b="b"/>
                  <a:pathLst>
                    <a:path w="478" h="2153">
                      <a:moveTo>
                        <a:pt x="478" y="2153"/>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08" name="Vrije vorm: vorm 5507">
                  <a:extLst>
                    <a:ext uri="{FF2B5EF4-FFF2-40B4-BE49-F238E27FC236}">
                      <a16:creationId xmlns:a16="http://schemas.microsoft.com/office/drawing/2014/main" id="{03CD5FFD-8743-485D-8A77-3C10FDF8ED40}"/>
                    </a:ext>
                  </a:extLst>
                </p:cNvPr>
                <p:cNvSpPr/>
                <p:nvPr/>
              </p:nvSpPr>
              <p:spPr>
                <a:xfrm>
                  <a:off x="6472656" y="1664296"/>
                  <a:ext cx="478" cy="2392"/>
                </a:xfrm>
                <a:custGeom>
                  <a:avLst/>
                  <a:gdLst>
                    <a:gd name="connsiteX0" fmla="*/ 0 w 478"/>
                    <a:gd name="connsiteY0" fmla="*/ 0 h 2392"/>
                    <a:gd name="connsiteX1" fmla="*/ 479 w 478"/>
                    <a:gd name="connsiteY1" fmla="*/ 2392 h 2392"/>
                  </a:gdLst>
                  <a:ahLst/>
                  <a:cxnLst>
                    <a:cxn ang="0">
                      <a:pos x="connsiteX0" y="connsiteY0"/>
                    </a:cxn>
                    <a:cxn ang="0">
                      <a:pos x="connsiteX1" y="connsiteY1"/>
                    </a:cxn>
                  </a:cxnLst>
                  <a:rect l="l" t="t" r="r" b="b"/>
                  <a:pathLst>
                    <a:path w="478" h="2392">
                      <a:moveTo>
                        <a:pt x="0" y="0"/>
                      </a:moveTo>
                      <a:lnTo>
                        <a:pt x="479" y="2392"/>
                      </a:lnTo>
                    </a:path>
                  </a:pathLst>
                </a:custGeom>
                <a:noFill/>
                <a:ln w="6350" cap="rnd">
                  <a:solidFill>
                    <a:schemeClr val="bg1">
                      <a:alpha val="40000"/>
                    </a:schemeClr>
                  </a:solidFill>
                  <a:prstDash val="solid"/>
                  <a:round/>
                </a:ln>
              </p:spPr>
              <p:txBody>
                <a:bodyPr rtlCol="0" anchor="ctr"/>
                <a:lstStyle/>
                <a:p>
                  <a:endParaRPr lang="en-GB"/>
                </a:p>
              </p:txBody>
            </p:sp>
            <p:sp>
              <p:nvSpPr>
                <p:cNvPr id="5509" name="Vrije vorm: vorm 5508">
                  <a:extLst>
                    <a:ext uri="{FF2B5EF4-FFF2-40B4-BE49-F238E27FC236}">
                      <a16:creationId xmlns:a16="http://schemas.microsoft.com/office/drawing/2014/main" id="{8A527B47-67DE-41D1-93F3-BFD9EE33473C}"/>
                    </a:ext>
                  </a:extLst>
                </p:cNvPr>
                <p:cNvSpPr/>
                <p:nvPr/>
              </p:nvSpPr>
              <p:spPr>
                <a:xfrm>
                  <a:off x="6468290" y="1666688"/>
                  <a:ext cx="8372" cy="4724"/>
                </a:xfrm>
                <a:custGeom>
                  <a:avLst/>
                  <a:gdLst>
                    <a:gd name="connsiteX0" fmla="*/ 8373 w 8372"/>
                    <a:gd name="connsiteY0" fmla="*/ 2033 h 4724"/>
                    <a:gd name="connsiteX1" fmla="*/ 7835 w 8372"/>
                    <a:gd name="connsiteY1" fmla="*/ 1734 h 4724"/>
                    <a:gd name="connsiteX2" fmla="*/ 6937 w 8372"/>
                    <a:gd name="connsiteY2" fmla="*/ 1196 h 4724"/>
                    <a:gd name="connsiteX3" fmla="*/ 6280 w 8372"/>
                    <a:gd name="connsiteY3" fmla="*/ 837 h 4724"/>
                    <a:gd name="connsiteX4" fmla="*/ 5263 w 8372"/>
                    <a:gd name="connsiteY4" fmla="*/ 239 h 4724"/>
                    <a:gd name="connsiteX5" fmla="*/ 4844 w 8372"/>
                    <a:gd name="connsiteY5" fmla="*/ 0 h 4724"/>
                    <a:gd name="connsiteX6" fmla="*/ 2512 w 8372"/>
                    <a:gd name="connsiteY6" fmla="*/ 2273 h 4724"/>
                    <a:gd name="connsiteX7" fmla="*/ 1794 w 8372"/>
                    <a:gd name="connsiteY7" fmla="*/ 2990 h 4724"/>
                    <a:gd name="connsiteX8" fmla="*/ 718 w 8372"/>
                    <a:gd name="connsiteY8" fmla="*/ 4007 h 4724"/>
                    <a:gd name="connsiteX9" fmla="*/ 538 w 8372"/>
                    <a:gd name="connsiteY9" fmla="*/ 4186 h 4724"/>
                    <a:gd name="connsiteX10" fmla="*/ 0 w 8372"/>
                    <a:gd name="connsiteY10"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72" h="4724">
                      <a:moveTo>
                        <a:pt x="8373" y="2033"/>
                      </a:moveTo>
                      <a:lnTo>
                        <a:pt x="7835" y="1734"/>
                      </a:lnTo>
                      <a:lnTo>
                        <a:pt x="6937" y="1196"/>
                      </a:lnTo>
                      <a:lnTo>
                        <a:pt x="6280" y="837"/>
                      </a:lnTo>
                      <a:lnTo>
                        <a:pt x="5263" y="239"/>
                      </a:lnTo>
                      <a:lnTo>
                        <a:pt x="4844" y="0"/>
                      </a:lnTo>
                      <a:lnTo>
                        <a:pt x="2512" y="2273"/>
                      </a:lnTo>
                      <a:lnTo>
                        <a:pt x="1794" y="2990"/>
                      </a:lnTo>
                      <a:lnTo>
                        <a:pt x="718" y="4007"/>
                      </a:lnTo>
                      <a:lnTo>
                        <a:pt x="538" y="4186"/>
                      </a:lnTo>
                      <a:lnTo>
                        <a:pt x="0" y="4725"/>
                      </a:lnTo>
                    </a:path>
                  </a:pathLst>
                </a:custGeom>
                <a:noFill/>
                <a:ln w="6350" cap="rnd">
                  <a:solidFill>
                    <a:schemeClr val="bg1">
                      <a:alpha val="40000"/>
                    </a:schemeClr>
                  </a:solidFill>
                  <a:prstDash val="solid"/>
                  <a:round/>
                </a:ln>
              </p:spPr>
              <p:txBody>
                <a:bodyPr rtlCol="0" anchor="ctr"/>
                <a:lstStyle/>
                <a:p>
                  <a:endParaRPr lang="en-GB"/>
                </a:p>
              </p:txBody>
            </p:sp>
            <p:sp>
              <p:nvSpPr>
                <p:cNvPr id="5510" name="Vrije vorm: vorm 5509">
                  <a:extLst>
                    <a:ext uri="{FF2B5EF4-FFF2-40B4-BE49-F238E27FC236}">
                      <a16:creationId xmlns:a16="http://schemas.microsoft.com/office/drawing/2014/main" id="{BCF9B630-C9BB-46A1-A2A2-2216C2076291}"/>
                    </a:ext>
                  </a:extLst>
                </p:cNvPr>
                <p:cNvSpPr/>
                <p:nvPr/>
              </p:nvSpPr>
              <p:spPr>
                <a:xfrm>
                  <a:off x="6467931" y="1664236"/>
                  <a:ext cx="8313" cy="9090"/>
                </a:xfrm>
                <a:custGeom>
                  <a:avLst/>
                  <a:gdLst>
                    <a:gd name="connsiteX0" fmla="*/ 3947 w 8313"/>
                    <a:gd name="connsiteY0" fmla="*/ 9091 h 9090"/>
                    <a:gd name="connsiteX1" fmla="*/ 3229 w 8313"/>
                    <a:gd name="connsiteY1" fmla="*/ 8672 h 9090"/>
                    <a:gd name="connsiteX2" fmla="*/ 2572 w 8313"/>
                    <a:gd name="connsiteY2" fmla="*/ 8313 h 9090"/>
                    <a:gd name="connsiteX3" fmla="*/ 2512 w 8313"/>
                    <a:gd name="connsiteY3" fmla="*/ 8253 h 9090"/>
                    <a:gd name="connsiteX4" fmla="*/ 2512 w 8313"/>
                    <a:gd name="connsiteY4" fmla="*/ 8253 h 9090"/>
                    <a:gd name="connsiteX5" fmla="*/ 1914 w 8313"/>
                    <a:gd name="connsiteY5" fmla="*/ 7895 h 9090"/>
                    <a:gd name="connsiteX6" fmla="*/ 1914 w 8313"/>
                    <a:gd name="connsiteY6" fmla="*/ 7895 h 9090"/>
                    <a:gd name="connsiteX7" fmla="*/ 1734 w 8313"/>
                    <a:gd name="connsiteY7" fmla="*/ 7775 h 9090"/>
                    <a:gd name="connsiteX8" fmla="*/ 1615 w 8313"/>
                    <a:gd name="connsiteY8" fmla="*/ 7715 h 9090"/>
                    <a:gd name="connsiteX9" fmla="*/ 479 w 8313"/>
                    <a:gd name="connsiteY9" fmla="*/ 7057 h 9090"/>
                    <a:gd name="connsiteX10" fmla="*/ 0 w 8313"/>
                    <a:gd name="connsiteY10" fmla="*/ 4665 h 9090"/>
                    <a:gd name="connsiteX11" fmla="*/ 0 w 8313"/>
                    <a:gd name="connsiteY11" fmla="*/ 4665 h 9090"/>
                    <a:gd name="connsiteX12" fmla="*/ 239 w 8313"/>
                    <a:gd name="connsiteY12" fmla="*/ 4426 h 9090"/>
                    <a:gd name="connsiteX13" fmla="*/ 2572 w 8313"/>
                    <a:gd name="connsiteY13" fmla="*/ 2153 h 9090"/>
                    <a:gd name="connsiteX14" fmla="*/ 2751 w 8313"/>
                    <a:gd name="connsiteY14" fmla="*/ 1974 h 9090"/>
                    <a:gd name="connsiteX15" fmla="*/ 4785 w 8313"/>
                    <a:gd name="connsiteY15" fmla="*/ 0 h 9090"/>
                    <a:gd name="connsiteX16" fmla="*/ 4904 w 8313"/>
                    <a:gd name="connsiteY16" fmla="*/ 60 h 9090"/>
                    <a:gd name="connsiteX17" fmla="*/ 7057 w 8313"/>
                    <a:gd name="connsiteY17" fmla="*/ 1316 h 9090"/>
                    <a:gd name="connsiteX18" fmla="*/ 7655 w 8313"/>
                    <a:gd name="connsiteY18" fmla="*/ 1675 h 9090"/>
                    <a:gd name="connsiteX19" fmla="*/ 8074 w 8313"/>
                    <a:gd name="connsiteY19" fmla="*/ 1914 h 9090"/>
                    <a:gd name="connsiteX20" fmla="*/ 8313 w 8313"/>
                    <a:gd name="connsiteY20" fmla="*/ 2034 h 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13" h="9090">
                      <a:moveTo>
                        <a:pt x="3947" y="9091"/>
                      </a:moveTo>
                      <a:lnTo>
                        <a:pt x="3229" y="8672"/>
                      </a:lnTo>
                      <a:lnTo>
                        <a:pt x="2572" y="8313"/>
                      </a:lnTo>
                      <a:lnTo>
                        <a:pt x="2512" y="8253"/>
                      </a:lnTo>
                      <a:lnTo>
                        <a:pt x="2512" y="8253"/>
                      </a:lnTo>
                      <a:lnTo>
                        <a:pt x="1914" y="7895"/>
                      </a:lnTo>
                      <a:lnTo>
                        <a:pt x="1914" y="7895"/>
                      </a:lnTo>
                      <a:lnTo>
                        <a:pt x="1734" y="7775"/>
                      </a:lnTo>
                      <a:lnTo>
                        <a:pt x="1615" y="7715"/>
                      </a:lnTo>
                      <a:lnTo>
                        <a:pt x="479" y="7057"/>
                      </a:lnTo>
                      <a:lnTo>
                        <a:pt x="0" y="4665"/>
                      </a:lnTo>
                      <a:lnTo>
                        <a:pt x="0" y="4665"/>
                      </a:lnTo>
                      <a:lnTo>
                        <a:pt x="239" y="4426"/>
                      </a:lnTo>
                      <a:lnTo>
                        <a:pt x="2572" y="2153"/>
                      </a:lnTo>
                      <a:lnTo>
                        <a:pt x="2751" y="1974"/>
                      </a:lnTo>
                      <a:lnTo>
                        <a:pt x="4785" y="0"/>
                      </a:lnTo>
                      <a:lnTo>
                        <a:pt x="4904" y="60"/>
                      </a:lnTo>
                      <a:lnTo>
                        <a:pt x="7057" y="1316"/>
                      </a:lnTo>
                      <a:lnTo>
                        <a:pt x="7655" y="1675"/>
                      </a:lnTo>
                      <a:lnTo>
                        <a:pt x="8074" y="1914"/>
                      </a:lnTo>
                      <a:lnTo>
                        <a:pt x="8313" y="2034"/>
                      </a:lnTo>
                    </a:path>
                  </a:pathLst>
                </a:custGeom>
                <a:noFill/>
                <a:ln w="6350" cap="rnd">
                  <a:solidFill>
                    <a:schemeClr val="bg1">
                      <a:alpha val="40000"/>
                    </a:schemeClr>
                  </a:solidFill>
                  <a:prstDash val="solid"/>
                  <a:round/>
                </a:ln>
              </p:spPr>
              <p:txBody>
                <a:bodyPr rtlCol="0" anchor="ctr"/>
                <a:lstStyle/>
                <a:p>
                  <a:endParaRPr lang="en-GB"/>
                </a:p>
              </p:txBody>
            </p:sp>
            <p:sp>
              <p:nvSpPr>
                <p:cNvPr id="5511" name="Vrije vorm: vorm 5510">
                  <a:extLst>
                    <a:ext uri="{FF2B5EF4-FFF2-40B4-BE49-F238E27FC236}">
                      <a16:creationId xmlns:a16="http://schemas.microsoft.com/office/drawing/2014/main" id="{EACA513D-D811-430F-97B0-D21042BB7A3E}"/>
                    </a:ext>
                  </a:extLst>
                </p:cNvPr>
                <p:cNvSpPr/>
                <p:nvPr/>
              </p:nvSpPr>
              <p:spPr>
                <a:xfrm>
                  <a:off x="6476185" y="1666329"/>
                  <a:ext cx="5980" cy="119"/>
                </a:xfrm>
                <a:custGeom>
                  <a:avLst/>
                  <a:gdLst>
                    <a:gd name="connsiteX0" fmla="*/ 0 w 5980"/>
                    <a:gd name="connsiteY0" fmla="*/ 0 h 119"/>
                    <a:gd name="connsiteX1" fmla="*/ 0 w 5980"/>
                    <a:gd name="connsiteY1" fmla="*/ 120 h 119"/>
                  </a:gdLst>
                  <a:ahLst/>
                  <a:cxnLst>
                    <a:cxn ang="0">
                      <a:pos x="connsiteX0" y="connsiteY0"/>
                    </a:cxn>
                    <a:cxn ang="0">
                      <a:pos x="connsiteX1" y="connsiteY1"/>
                    </a:cxn>
                  </a:cxnLst>
                  <a:rect l="l" t="t" r="r" b="b"/>
                  <a:pathLst>
                    <a:path w="5980" h="119">
                      <a:moveTo>
                        <a:pt x="0" y="0"/>
                      </a:moveTo>
                      <a:lnTo>
                        <a:pt x="0" y="120"/>
                      </a:lnTo>
                    </a:path>
                  </a:pathLst>
                </a:custGeom>
                <a:noFill/>
                <a:ln w="6350" cap="rnd">
                  <a:solidFill>
                    <a:schemeClr val="bg1">
                      <a:alpha val="40000"/>
                    </a:schemeClr>
                  </a:solidFill>
                  <a:prstDash val="solid"/>
                  <a:round/>
                </a:ln>
              </p:spPr>
              <p:txBody>
                <a:bodyPr rtlCol="0" anchor="ctr"/>
                <a:lstStyle/>
                <a:p>
                  <a:endParaRPr lang="en-GB"/>
                </a:p>
              </p:txBody>
            </p:sp>
            <p:sp>
              <p:nvSpPr>
                <p:cNvPr id="5512" name="Vrije vorm: vorm 5511">
                  <a:extLst>
                    <a:ext uri="{FF2B5EF4-FFF2-40B4-BE49-F238E27FC236}">
                      <a16:creationId xmlns:a16="http://schemas.microsoft.com/office/drawing/2014/main" id="{8136C9CA-CEE4-4C98-B129-B556642EB7F1}"/>
                    </a:ext>
                  </a:extLst>
                </p:cNvPr>
                <p:cNvSpPr/>
                <p:nvPr/>
              </p:nvSpPr>
              <p:spPr>
                <a:xfrm>
                  <a:off x="6469127" y="1672190"/>
                  <a:ext cx="597" cy="1016"/>
                </a:xfrm>
                <a:custGeom>
                  <a:avLst/>
                  <a:gdLst>
                    <a:gd name="connsiteX0" fmla="*/ 119 w 597"/>
                    <a:gd name="connsiteY0" fmla="*/ 1017 h 1016"/>
                    <a:gd name="connsiteX1" fmla="*/ 0 w 597"/>
                    <a:gd name="connsiteY1" fmla="*/ 538 h 1016"/>
                    <a:gd name="connsiteX2" fmla="*/ 478 w 597"/>
                    <a:gd name="connsiteY2" fmla="*/ 120 h 1016"/>
                    <a:gd name="connsiteX3" fmla="*/ 478 w 597"/>
                    <a:gd name="connsiteY3" fmla="*/ 120 h 1016"/>
                    <a:gd name="connsiteX4" fmla="*/ 598 w 597"/>
                    <a:gd name="connsiteY4" fmla="*/ 0 h 1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 h="1016">
                      <a:moveTo>
                        <a:pt x="119" y="1017"/>
                      </a:moveTo>
                      <a:lnTo>
                        <a:pt x="0" y="538"/>
                      </a:lnTo>
                      <a:lnTo>
                        <a:pt x="478" y="120"/>
                      </a:lnTo>
                      <a:lnTo>
                        <a:pt x="478" y="120"/>
                      </a:lnTo>
                      <a:lnTo>
                        <a:pt x="598" y="0"/>
                      </a:lnTo>
                    </a:path>
                  </a:pathLst>
                </a:custGeom>
                <a:noFill/>
                <a:ln w="6350" cap="rnd">
                  <a:solidFill>
                    <a:schemeClr val="bg1">
                      <a:alpha val="40000"/>
                    </a:schemeClr>
                  </a:solidFill>
                  <a:prstDash val="solid"/>
                  <a:round/>
                </a:ln>
              </p:spPr>
              <p:txBody>
                <a:bodyPr rtlCol="0" anchor="ctr"/>
                <a:lstStyle/>
                <a:p>
                  <a:endParaRPr lang="en-GB"/>
                </a:p>
              </p:txBody>
            </p:sp>
            <p:sp>
              <p:nvSpPr>
                <p:cNvPr id="5513" name="Vrije vorm: vorm 5512">
                  <a:extLst>
                    <a:ext uri="{FF2B5EF4-FFF2-40B4-BE49-F238E27FC236}">
                      <a16:creationId xmlns:a16="http://schemas.microsoft.com/office/drawing/2014/main" id="{49D3352B-DF24-4A60-9CD6-0B057ACE0999}"/>
                    </a:ext>
                  </a:extLst>
                </p:cNvPr>
                <p:cNvSpPr/>
                <p:nvPr/>
              </p:nvSpPr>
              <p:spPr>
                <a:xfrm>
                  <a:off x="6477022" y="1665611"/>
                  <a:ext cx="1195" cy="1734"/>
                </a:xfrm>
                <a:custGeom>
                  <a:avLst/>
                  <a:gdLst>
                    <a:gd name="connsiteX0" fmla="*/ 0 w 1195"/>
                    <a:gd name="connsiteY0" fmla="*/ 1675 h 1734"/>
                    <a:gd name="connsiteX1" fmla="*/ 119 w 1195"/>
                    <a:gd name="connsiteY1" fmla="*/ 1734 h 1734"/>
                    <a:gd name="connsiteX2" fmla="*/ 299 w 1195"/>
                    <a:gd name="connsiteY2" fmla="*/ 1734 h 1734"/>
                    <a:gd name="connsiteX3" fmla="*/ 478 w 1195"/>
                    <a:gd name="connsiteY3" fmla="*/ 1675 h 1734"/>
                    <a:gd name="connsiteX4" fmla="*/ 658 w 1195"/>
                    <a:gd name="connsiteY4" fmla="*/ 1555 h 1734"/>
                    <a:gd name="connsiteX5" fmla="*/ 837 w 1195"/>
                    <a:gd name="connsiteY5" fmla="*/ 1376 h 1734"/>
                    <a:gd name="connsiteX6" fmla="*/ 957 w 1195"/>
                    <a:gd name="connsiteY6" fmla="*/ 1136 h 1734"/>
                    <a:gd name="connsiteX7" fmla="*/ 1076 w 1195"/>
                    <a:gd name="connsiteY7" fmla="*/ 897 h 1734"/>
                    <a:gd name="connsiteX8" fmla="*/ 1136 w 1195"/>
                    <a:gd name="connsiteY8" fmla="*/ 658 h 1734"/>
                    <a:gd name="connsiteX9" fmla="*/ 1196 w 1195"/>
                    <a:gd name="connsiteY9" fmla="*/ 419 h 1734"/>
                    <a:gd name="connsiteX10" fmla="*/ 1196 w 1195"/>
                    <a:gd name="connsiteY10" fmla="*/ 239 h 1734"/>
                    <a:gd name="connsiteX11" fmla="*/ 1136 w 1195"/>
                    <a:gd name="connsiteY11" fmla="*/ 120 h 1734"/>
                    <a:gd name="connsiteX12" fmla="*/ 1017 w 1195"/>
                    <a:gd name="connsiteY12" fmla="*/ 0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5" h="1734">
                      <a:moveTo>
                        <a:pt x="0" y="1675"/>
                      </a:moveTo>
                      <a:lnTo>
                        <a:pt x="119" y="1734"/>
                      </a:lnTo>
                      <a:lnTo>
                        <a:pt x="299" y="1734"/>
                      </a:lnTo>
                      <a:lnTo>
                        <a:pt x="478" y="1675"/>
                      </a:lnTo>
                      <a:lnTo>
                        <a:pt x="658" y="1555"/>
                      </a:lnTo>
                      <a:lnTo>
                        <a:pt x="837" y="1376"/>
                      </a:lnTo>
                      <a:lnTo>
                        <a:pt x="957" y="1136"/>
                      </a:lnTo>
                      <a:lnTo>
                        <a:pt x="1076" y="897"/>
                      </a:lnTo>
                      <a:lnTo>
                        <a:pt x="1136" y="658"/>
                      </a:lnTo>
                      <a:lnTo>
                        <a:pt x="1196" y="419"/>
                      </a:lnTo>
                      <a:lnTo>
                        <a:pt x="1196" y="239"/>
                      </a:lnTo>
                      <a:lnTo>
                        <a:pt x="1136" y="120"/>
                      </a:lnTo>
                      <a:lnTo>
                        <a:pt x="1017" y="0"/>
                      </a:lnTo>
                    </a:path>
                  </a:pathLst>
                </a:custGeom>
                <a:noFill/>
                <a:ln w="6350" cap="rnd">
                  <a:solidFill>
                    <a:schemeClr val="bg1">
                      <a:alpha val="40000"/>
                    </a:schemeClr>
                  </a:solidFill>
                  <a:prstDash val="solid"/>
                  <a:round/>
                </a:ln>
              </p:spPr>
              <p:txBody>
                <a:bodyPr rtlCol="0" anchor="ctr"/>
                <a:lstStyle/>
                <a:p>
                  <a:endParaRPr lang="en-GB"/>
                </a:p>
              </p:txBody>
            </p:sp>
            <p:sp>
              <p:nvSpPr>
                <p:cNvPr id="5514" name="Vrije vorm: vorm 5513">
                  <a:extLst>
                    <a:ext uri="{FF2B5EF4-FFF2-40B4-BE49-F238E27FC236}">
                      <a16:creationId xmlns:a16="http://schemas.microsoft.com/office/drawing/2014/main" id="{6891377F-0870-48F7-9242-2DF593B6EB5E}"/>
                    </a:ext>
                  </a:extLst>
                </p:cNvPr>
                <p:cNvSpPr/>
                <p:nvPr/>
              </p:nvSpPr>
              <p:spPr>
                <a:xfrm>
                  <a:off x="6470024" y="1672968"/>
                  <a:ext cx="1136" cy="1076"/>
                </a:xfrm>
                <a:custGeom>
                  <a:avLst/>
                  <a:gdLst>
                    <a:gd name="connsiteX0" fmla="*/ 0 w 1136"/>
                    <a:gd name="connsiteY0" fmla="*/ 1017 h 1076"/>
                    <a:gd name="connsiteX1" fmla="*/ 120 w 1136"/>
                    <a:gd name="connsiteY1" fmla="*/ 1076 h 1076"/>
                    <a:gd name="connsiteX2" fmla="*/ 299 w 1136"/>
                    <a:gd name="connsiteY2" fmla="*/ 1076 h 1076"/>
                    <a:gd name="connsiteX3" fmla="*/ 479 w 1136"/>
                    <a:gd name="connsiteY3" fmla="*/ 1017 h 1076"/>
                    <a:gd name="connsiteX4" fmla="*/ 479 w 1136"/>
                    <a:gd name="connsiteY4" fmla="*/ 1017 h 1076"/>
                    <a:gd name="connsiteX5" fmla="*/ 658 w 1136"/>
                    <a:gd name="connsiteY5" fmla="*/ 897 h 1076"/>
                    <a:gd name="connsiteX6" fmla="*/ 837 w 1136"/>
                    <a:gd name="connsiteY6" fmla="*/ 718 h 1076"/>
                    <a:gd name="connsiteX7" fmla="*/ 957 w 1136"/>
                    <a:gd name="connsiteY7" fmla="*/ 538 h 1076"/>
                    <a:gd name="connsiteX8" fmla="*/ 1076 w 1136"/>
                    <a:gd name="connsiteY8" fmla="*/ 299 h 1076"/>
                    <a:gd name="connsiteX9" fmla="*/ 1136 w 1136"/>
                    <a:gd name="connsiteY9" fmla="*/ 60 h 1076"/>
                    <a:gd name="connsiteX10" fmla="*/ 1136 w 1136"/>
                    <a:gd name="connsiteY10" fmla="*/ 0 h 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6" h="1076">
                      <a:moveTo>
                        <a:pt x="0" y="1017"/>
                      </a:moveTo>
                      <a:lnTo>
                        <a:pt x="120" y="1076"/>
                      </a:lnTo>
                      <a:lnTo>
                        <a:pt x="299" y="1076"/>
                      </a:lnTo>
                      <a:lnTo>
                        <a:pt x="479" y="1017"/>
                      </a:lnTo>
                      <a:lnTo>
                        <a:pt x="479" y="1017"/>
                      </a:lnTo>
                      <a:lnTo>
                        <a:pt x="658" y="897"/>
                      </a:lnTo>
                      <a:lnTo>
                        <a:pt x="837" y="718"/>
                      </a:lnTo>
                      <a:lnTo>
                        <a:pt x="957" y="538"/>
                      </a:lnTo>
                      <a:lnTo>
                        <a:pt x="1076" y="299"/>
                      </a:lnTo>
                      <a:lnTo>
                        <a:pt x="1136" y="60"/>
                      </a:lnTo>
                      <a:lnTo>
                        <a:pt x="1136" y="0"/>
                      </a:lnTo>
                    </a:path>
                  </a:pathLst>
                </a:custGeom>
                <a:noFill/>
                <a:ln w="6350" cap="rnd">
                  <a:solidFill>
                    <a:schemeClr val="bg1">
                      <a:alpha val="40000"/>
                    </a:schemeClr>
                  </a:solidFill>
                  <a:prstDash val="solid"/>
                  <a:round/>
                </a:ln>
              </p:spPr>
              <p:txBody>
                <a:bodyPr rtlCol="0" anchor="ctr"/>
                <a:lstStyle/>
                <a:p>
                  <a:endParaRPr lang="en-GB"/>
                </a:p>
              </p:txBody>
            </p:sp>
            <p:sp>
              <p:nvSpPr>
                <p:cNvPr id="5515" name="Vrije vorm: vorm 5514">
                  <a:extLst>
                    <a:ext uri="{FF2B5EF4-FFF2-40B4-BE49-F238E27FC236}">
                      <a16:creationId xmlns:a16="http://schemas.microsoft.com/office/drawing/2014/main" id="{9E66EC20-8662-410B-A375-4DDF5032A22B}"/>
                    </a:ext>
                  </a:extLst>
                </p:cNvPr>
                <p:cNvSpPr/>
                <p:nvPr/>
              </p:nvSpPr>
              <p:spPr>
                <a:xfrm>
                  <a:off x="6471818" y="1672968"/>
                  <a:ext cx="418" cy="418"/>
                </a:xfrm>
                <a:custGeom>
                  <a:avLst/>
                  <a:gdLst>
                    <a:gd name="connsiteX0" fmla="*/ 419 w 418"/>
                    <a:gd name="connsiteY0" fmla="*/ 0 h 418"/>
                    <a:gd name="connsiteX1" fmla="*/ 0 w 418"/>
                    <a:gd name="connsiteY1" fmla="*/ 419 h 418"/>
                  </a:gdLst>
                  <a:ahLst/>
                  <a:cxnLst>
                    <a:cxn ang="0">
                      <a:pos x="connsiteX0" y="connsiteY0"/>
                    </a:cxn>
                    <a:cxn ang="0">
                      <a:pos x="connsiteX1" y="connsiteY1"/>
                    </a:cxn>
                  </a:cxnLst>
                  <a:rect l="l" t="t" r="r" b="b"/>
                  <a:pathLst>
                    <a:path w="418" h="418">
                      <a:moveTo>
                        <a:pt x="419" y="0"/>
                      </a:moveTo>
                      <a:lnTo>
                        <a:pt x="0" y="419"/>
                      </a:lnTo>
                    </a:path>
                  </a:pathLst>
                </a:custGeom>
                <a:noFill/>
                <a:ln w="6350" cap="rnd">
                  <a:solidFill>
                    <a:schemeClr val="bg1">
                      <a:alpha val="40000"/>
                    </a:schemeClr>
                  </a:solidFill>
                  <a:prstDash val="solid"/>
                  <a:round/>
                </a:ln>
              </p:spPr>
              <p:txBody>
                <a:bodyPr rtlCol="0" anchor="ctr"/>
                <a:lstStyle/>
                <a:p>
                  <a:endParaRPr lang="en-GB"/>
                </a:p>
              </p:txBody>
            </p:sp>
            <p:sp>
              <p:nvSpPr>
                <p:cNvPr id="5516" name="Vrije vorm: vorm 5515">
                  <a:extLst>
                    <a:ext uri="{FF2B5EF4-FFF2-40B4-BE49-F238E27FC236}">
                      <a16:creationId xmlns:a16="http://schemas.microsoft.com/office/drawing/2014/main" id="{265F3513-4865-4108-9819-F2B0895FAD64}"/>
                    </a:ext>
                  </a:extLst>
                </p:cNvPr>
                <p:cNvSpPr/>
                <p:nvPr/>
              </p:nvSpPr>
              <p:spPr>
                <a:xfrm>
                  <a:off x="6469127" y="1667286"/>
                  <a:ext cx="7176" cy="5741"/>
                </a:xfrm>
                <a:custGeom>
                  <a:avLst/>
                  <a:gdLst>
                    <a:gd name="connsiteX0" fmla="*/ 7177 w 7176"/>
                    <a:gd name="connsiteY0" fmla="*/ 1794 h 5741"/>
                    <a:gd name="connsiteX1" fmla="*/ 5741 w 7176"/>
                    <a:gd name="connsiteY1" fmla="*/ 957 h 5741"/>
                    <a:gd name="connsiteX2" fmla="*/ 5083 w 7176"/>
                    <a:gd name="connsiteY2" fmla="*/ 598 h 5741"/>
                    <a:gd name="connsiteX3" fmla="*/ 4665 w 7176"/>
                    <a:gd name="connsiteY3" fmla="*/ 359 h 5741"/>
                    <a:gd name="connsiteX4" fmla="*/ 4246 w 7176"/>
                    <a:gd name="connsiteY4" fmla="*/ 120 h 5741"/>
                    <a:gd name="connsiteX5" fmla="*/ 4007 w 7176"/>
                    <a:gd name="connsiteY5" fmla="*/ 0 h 5741"/>
                    <a:gd name="connsiteX6" fmla="*/ 4007 w 7176"/>
                    <a:gd name="connsiteY6" fmla="*/ 0 h 5741"/>
                    <a:gd name="connsiteX7" fmla="*/ 3708 w 7176"/>
                    <a:gd name="connsiteY7" fmla="*/ 299 h 5741"/>
                    <a:gd name="connsiteX8" fmla="*/ 1375 w 7176"/>
                    <a:gd name="connsiteY8" fmla="*/ 2572 h 5741"/>
                    <a:gd name="connsiteX9" fmla="*/ 1375 w 7176"/>
                    <a:gd name="connsiteY9" fmla="*/ 2572 h 5741"/>
                    <a:gd name="connsiteX10" fmla="*/ 1196 w 7176"/>
                    <a:gd name="connsiteY10" fmla="*/ 2751 h 5741"/>
                    <a:gd name="connsiteX11" fmla="*/ 957 w 7176"/>
                    <a:gd name="connsiteY11" fmla="*/ 2990 h 5741"/>
                    <a:gd name="connsiteX12" fmla="*/ 0 w 7176"/>
                    <a:gd name="connsiteY12" fmla="*/ 3947 h 5741"/>
                    <a:gd name="connsiteX13" fmla="*/ 299 w 7176"/>
                    <a:gd name="connsiteY13" fmla="*/ 4127 h 5741"/>
                    <a:gd name="connsiteX14" fmla="*/ 1017 w 7176"/>
                    <a:gd name="connsiteY14" fmla="*/ 4545 h 5741"/>
                    <a:gd name="connsiteX15" fmla="*/ 1674 w 7176"/>
                    <a:gd name="connsiteY15" fmla="*/ 4904 h 5741"/>
                    <a:gd name="connsiteX16" fmla="*/ 2572 w 7176"/>
                    <a:gd name="connsiteY16" fmla="*/ 5442 h 5741"/>
                    <a:gd name="connsiteX17" fmla="*/ 3110 w 7176"/>
                    <a:gd name="connsiteY17" fmla="*/ 5741 h 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76" h="5741">
                      <a:moveTo>
                        <a:pt x="7177" y="1794"/>
                      </a:moveTo>
                      <a:lnTo>
                        <a:pt x="5741" y="957"/>
                      </a:lnTo>
                      <a:lnTo>
                        <a:pt x="5083" y="598"/>
                      </a:lnTo>
                      <a:lnTo>
                        <a:pt x="4665" y="359"/>
                      </a:lnTo>
                      <a:lnTo>
                        <a:pt x="4246" y="120"/>
                      </a:lnTo>
                      <a:lnTo>
                        <a:pt x="4007" y="0"/>
                      </a:lnTo>
                      <a:lnTo>
                        <a:pt x="4007" y="0"/>
                      </a:lnTo>
                      <a:lnTo>
                        <a:pt x="3708" y="299"/>
                      </a:lnTo>
                      <a:lnTo>
                        <a:pt x="1375" y="2572"/>
                      </a:lnTo>
                      <a:lnTo>
                        <a:pt x="1375" y="2572"/>
                      </a:lnTo>
                      <a:lnTo>
                        <a:pt x="1196" y="2751"/>
                      </a:lnTo>
                      <a:lnTo>
                        <a:pt x="957" y="2990"/>
                      </a:lnTo>
                      <a:lnTo>
                        <a:pt x="0" y="3947"/>
                      </a:lnTo>
                      <a:lnTo>
                        <a:pt x="299" y="4127"/>
                      </a:lnTo>
                      <a:lnTo>
                        <a:pt x="1017" y="4545"/>
                      </a:lnTo>
                      <a:lnTo>
                        <a:pt x="1674" y="4904"/>
                      </a:lnTo>
                      <a:lnTo>
                        <a:pt x="2572" y="5442"/>
                      </a:lnTo>
                      <a:lnTo>
                        <a:pt x="3110" y="5741"/>
                      </a:lnTo>
                    </a:path>
                  </a:pathLst>
                </a:custGeom>
                <a:noFill/>
                <a:ln w="6350" cap="rnd">
                  <a:solidFill>
                    <a:schemeClr val="bg1">
                      <a:alpha val="40000"/>
                    </a:schemeClr>
                  </a:solidFill>
                  <a:prstDash val="solid"/>
                  <a:round/>
                </a:ln>
              </p:spPr>
              <p:txBody>
                <a:bodyPr rtlCol="0" anchor="ctr"/>
                <a:lstStyle/>
                <a:p>
                  <a:endParaRPr lang="en-GB"/>
                </a:p>
              </p:txBody>
            </p:sp>
            <p:sp>
              <p:nvSpPr>
                <p:cNvPr id="5517" name="Vrije vorm: vorm 5516">
                  <a:extLst>
                    <a:ext uri="{FF2B5EF4-FFF2-40B4-BE49-F238E27FC236}">
                      <a16:creationId xmlns:a16="http://schemas.microsoft.com/office/drawing/2014/main" id="{471C375C-901C-4FC8-AD71-59ABBA3783DC}"/>
                    </a:ext>
                  </a:extLst>
                </p:cNvPr>
                <p:cNvSpPr/>
                <p:nvPr/>
              </p:nvSpPr>
              <p:spPr>
                <a:xfrm>
                  <a:off x="6476244" y="1666867"/>
                  <a:ext cx="418" cy="2212"/>
                </a:xfrm>
                <a:custGeom>
                  <a:avLst/>
                  <a:gdLst>
                    <a:gd name="connsiteX0" fmla="*/ 60 w 418"/>
                    <a:gd name="connsiteY0" fmla="*/ 0 h 2212"/>
                    <a:gd name="connsiteX1" fmla="*/ 418 w 418"/>
                    <a:gd name="connsiteY1" fmla="*/ 1794 h 2212"/>
                    <a:gd name="connsiteX2" fmla="*/ 0 w 418"/>
                    <a:gd name="connsiteY2" fmla="*/ 2213 h 2212"/>
                  </a:gdLst>
                  <a:ahLst/>
                  <a:cxnLst>
                    <a:cxn ang="0">
                      <a:pos x="connsiteX0" y="connsiteY0"/>
                    </a:cxn>
                    <a:cxn ang="0">
                      <a:pos x="connsiteX1" y="connsiteY1"/>
                    </a:cxn>
                    <a:cxn ang="0">
                      <a:pos x="connsiteX2" y="connsiteY2"/>
                    </a:cxn>
                  </a:cxnLst>
                  <a:rect l="l" t="t" r="r" b="b"/>
                  <a:pathLst>
                    <a:path w="418" h="2212">
                      <a:moveTo>
                        <a:pt x="60" y="0"/>
                      </a:moveTo>
                      <a:lnTo>
                        <a:pt x="418" y="1794"/>
                      </a:lnTo>
                      <a:lnTo>
                        <a:pt x="0" y="2213"/>
                      </a:lnTo>
                    </a:path>
                  </a:pathLst>
                </a:custGeom>
                <a:noFill/>
                <a:ln w="6350" cap="rnd">
                  <a:solidFill>
                    <a:schemeClr val="bg1">
                      <a:alpha val="40000"/>
                    </a:schemeClr>
                  </a:solidFill>
                  <a:prstDash val="solid"/>
                  <a:round/>
                </a:ln>
              </p:spPr>
              <p:txBody>
                <a:bodyPr rtlCol="0" anchor="ctr"/>
                <a:lstStyle/>
                <a:p>
                  <a:endParaRPr lang="en-GB"/>
                </a:p>
              </p:txBody>
            </p:sp>
            <p:sp>
              <p:nvSpPr>
                <p:cNvPr id="5518" name="Vrije vorm: vorm 5517">
                  <a:extLst>
                    <a:ext uri="{FF2B5EF4-FFF2-40B4-BE49-F238E27FC236}">
                      <a16:creationId xmlns:a16="http://schemas.microsoft.com/office/drawing/2014/main" id="{86819186-20ED-4EA7-A48D-03849CD0F75B}"/>
                    </a:ext>
                  </a:extLst>
                </p:cNvPr>
                <p:cNvSpPr/>
                <p:nvPr/>
              </p:nvSpPr>
              <p:spPr>
                <a:xfrm>
                  <a:off x="6498911" y="1703290"/>
                  <a:ext cx="2152" cy="2870"/>
                </a:xfrm>
                <a:custGeom>
                  <a:avLst/>
                  <a:gdLst>
                    <a:gd name="connsiteX0" fmla="*/ 299 w 2152"/>
                    <a:gd name="connsiteY0" fmla="*/ 2811 h 2870"/>
                    <a:gd name="connsiteX1" fmla="*/ 179 w 2152"/>
                    <a:gd name="connsiteY1" fmla="*/ 2691 h 2870"/>
                    <a:gd name="connsiteX2" fmla="*/ 120 w 2152"/>
                    <a:gd name="connsiteY2" fmla="*/ 2632 h 2870"/>
                    <a:gd name="connsiteX3" fmla="*/ 60 w 2152"/>
                    <a:gd name="connsiteY3" fmla="*/ 2512 h 2870"/>
                    <a:gd name="connsiteX4" fmla="*/ 0 w 2152"/>
                    <a:gd name="connsiteY4" fmla="*/ 2392 h 2870"/>
                    <a:gd name="connsiteX5" fmla="*/ 0 w 2152"/>
                    <a:gd name="connsiteY5" fmla="*/ 2332 h 2870"/>
                    <a:gd name="connsiteX6" fmla="*/ 0 w 2152"/>
                    <a:gd name="connsiteY6" fmla="*/ 2213 h 2870"/>
                    <a:gd name="connsiteX7" fmla="*/ 0 w 2152"/>
                    <a:gd name="connsiteY7" fmla="*/ 2034 h 2870"/>
                    <a:gd name="connsiteX8" fmla="*/ 60 w 2152"/>
                    <a:gd name="connsiteY8" fmla="*/ 1675 h 2870"/>
                    <a:gd name="connsiteX9" fmla="*/ 179 w 2152"/>
                    <a:gd name="connsiteY9" fmla="*/ 1316 h 2870"/>
                    <a:gd name="connsiteX10" fmla="*/ 359 w 2152"/>
                    <a:gd name="connsiteY10" fmla="*/ 957 h 2870"/>
                    <a:gd name="connsiteX11" fmla="*/ 598 w 2152"/>
                    <a:gd name="connsiteY11" fmla="*/ 598 h 2870"/>
                    <a:gd name="connsiteX12" fmla="*/ 837 w 2152"/>
                    <a:gd name="connsiteY12" fmla="*/ 299 h 2870"/>
                    <a:gd name="connsiteX13" fmla="*/ 837 w 2152"/>
                    <a:gd name="connsiteY13" fmla="*/ 299 h 2870"/>
                    <a:gd name="connsiteX14" fmla="*/ 1076 w 2152"/>
                    <a:gd name="connsiteY14" fmla="*/ 120 h 2870"/>
                    <a:gd name="connsiteX15" fmla="*/ 1375 w 2152"/>
                    <a:gd name="connsiteY15" fmla="*/ 0 h 2870"/>
                    <a:gd name="connsiteX16" fmla="*/ 1615 w 2152"/>
                    <a:gd name="connsiteY16" fmla="*/ 0 h 2870"/>
                    <a:gd name="connsiteX17" fmla="*/ 1854 w 2152"/>
                    <a:gd name="connsiteY17" fmla="*/ 60 h 2870"/>
                    <a:gd name="connsiteX18" fmla="*/ 2034 w 2152"/>
                    <a:gd name="connsiteY18" fmla="*/ 239 h 2870"/>
                    <a:gd name="connsiteX19" fmla="*/ 2093 w 2152"/>
                    <a:gd name="connsiteY19" fmla="*/ 299 h 2870"/>
                    <a:gd name="connsiteX20" fmla="*/ 2153 w 2152"/>
                    <a:gd name="connsiteY20" fmla="*/ 478 h 2870"/>
                    <a:gd name="connsiteX21" fmla="*/ 2153 w 2152"/>
                    <a:gd name="connsiteY21" fmla="*/ 658 h 2870"/>
                    <a:gd name="connsiteX22" fmla="*/ 2153 w 2152"/>
                    <a:gd name="connsiteY22" fmla="*/ 778 h 2870"/>
                    <a:gd name="connsiteX23" fmla="*/ 2153 w 2152"/>
                    <a:gd name="connsiteY23" fmla="*/ 957 h 2870"/>
                    <a:gd name="connsiteX24" fmla="*/ 2153 w 2152"/>
                    <a:gd name="connsiteY24" fmla="*/ 1077 h 2870"/>
                    <a:gd name="connsiteX25" fmla="*/ 2153 w 2152"/>
                    <a:gd name="connsiteY25" fmla="*/ 1136 h 2870"/>
                    <a:gd name="connsiteX26" fmla="*/ 2093 w 2152"/>
                    <a:gd name="connsiteY26" fmla="*/ 1256 h 2870"/>
                    <a:gd name="connsiteX27" fmla="*/ 2093 w 2152"/>
                    <a:gd name="connsiteY27" fmla="*/ 1316 h 2870"/>
                    <a:gd name="connsiteX28" fmla="*/ 2034 w 2152"/>
                    <a:gd name="connsiteY28" fmla="*/ 1495 h 2870"/>
                    <a:gd name="connsiteX29" fmla="*/ 1854 w 2152"/>
                    <a:gd name="connsiteY29" fmla="*/ 1854 h 2870"/>
                    <a:gd name="connsiteX30" fmla="*/ 1615 w 2152"/>
                    <a:gd name="connsiteY30" fmla="*/ 2213 h 2870"/>
                    <a:gd name="connsiteX31" fmla="*/ 1495 w 2152"/>
                    <a:gd name="connsiteY31" fmla="*/ 2332 h 2870"/>
                    <a:gd name="connsiteX32" fmla="*/ 1375 w 2152"/>
                    <a:gd name="connsiteY32" fmla="*/ 2512 h 2870"/>
                    <a:gd name="connsiteX33" fmla="*/ 1076 w 2152"/>
                    <a:gd name="connsiteY33" fmla="*/ 2751 h 2870"/>
                    <a:gd name="connsiteX34" fmla="*/ 897 w 2152"/>
                    <a:gd name="connsiteY34" fmla="*/ 2811 h 2870"/>
                    <a:gd name="connsiteX35" fmla="*/ 837 w 2152"/>
                    <a:gd name="connsiteY35" fmla="*/ 2871 h 2870"/>
                    <a:gd name="connsiteX36" fmla="*/ 718 w 2152"/>
                    <a:gd name="connsiteY36" fmla="*/ 2871 h 2870"/>
                    <a:gd name="connsiteX37" fmla="*/ 718 w 2152"/>
                    <a:gd name="connsiteY37" fmla="*/ 2871 h 2870"/>
                    <a:gd name="connsiteX38" fmla="*/ 598 w 2152"/>
                    <a:gd name="connsiteY38" fmla="*/ 2871 h 2870"/>
                    <a:gd name="connsiteX39" fmla="*/ 538 w 2152"/>
                    <a:gd name="connsiteY39" fmla="*/ 2871 h 2870"/>
                    <a:gd name="connsiteX40" fmla="*/ 299 w 2152"/>
                    <a:gd name="connsiteY40" fmla="*/ 2811 h 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152" h="2870">
                      <a:moveTo>
                        <a:pt x="299" y="2811"/>
                      </a:moveTo>
                      <a:lnTo>
                        <a:pt x="179" y="2691"/>
                      </a:lnTo>
                      <a:lnTo>
                        <a:pt x="120" y="2632"/>
                      </a:lnTo>
                      <a:lnTo>
                        <a:pt x="60" y="2512"/>
                      </a:lnTo>
                      <a:lnTo>
                        <a:pt x="0" y="2392"/>
                      </a:lnTo>
                      <a:lnTo>
                        <a:pt x="0" y="2332"/>
                      </a:lnTo>
                      <a:lnTo>
                        <a:pt x="0" y="2213"/>
                      </a:lnTo>
                      <a:lnTo>
                        <a:pt x="0" y="2034"/>
                      </a:lnTo>
                      <a:lnTo>
                        <a:pt x="60" y="1675"/>
                      </a:lnTo>
                      <a:lnTo>
                        <a:pt x="179" y="1316"/>
                      </a:lnTo>
                      <a:lnTo>
                        <a:pt x="359" y="957"/>
                      </a:lnTo>
                      <a:lnTo>
                        <a:pt x="598" y="598"/>
                      </a:lnTo>
                      <a:lnTo>
                        <a:pt x="837" y="299"/>
                      </a:lnTo>
                      <a:lnTo>
                        <a:pt x="837" y="299"/>
                      </a:lnTo>
                      <a:lnTo>
                        <a:pt x="1076" y="120"/>
                      </a:lnTo>
                      <a:lnTo>
                        <a:pt x="1375" y="0"/>
                      </a:lnTo>
                      <a:lnTo>
                        <a:pt x="1615" y="0"/>
                      </a:lnTo>
                      <a:lnTo>
                        <a:pt x="1854" y="60"/>
                      </a:lnTo>
                      <a:lnTo>
                        <a:pt x="2034" y="239"/>
                      </a:lnTo>
                      <a:lnTo>
                        <a:pt x="2093" y="299"/>
                      </a:lnTo>
                      <a:lnTo>
                        <a:pt x="2153" y="478"/>
                      </a:lnTo>
                      <a:lnTo>
                        <a:pt x="2153" y="658"/>
                      </a:lnTo>
                      <a:lnTo>
                        <a:pt x="2153" y="778"/>
                      </a:lnTo>
                      <a:lnTo>
                        <a:pt x="2153" y="957"/>
                      </a:lnTo>
                      <a:lnTo>
                        <a:pt x="2153" y="1077"/>
                      </a:lnTo>
                      <a:lnTo>
                        <a:pt x="2153" y="1136"/>
                      </a:lnTo>
                      <a:lnTo>
                        <a:pt x="2093" y="1256"/>
                      </a:lnTo>
                      <a:lnTo>
                        <a:pt x="2093" y="1316"/>
                      </a:lnTo>
                      <a:lnTo>
                        <a:pt x="2034" y="1495"/>
                      </a:lnTo>
                      <a:lnTo>
                        <a:pt x="1854" y="1854"/>
                      </a:lnTo>
                      <a:lnTo>
                        <a:pt x="1615" y="2213"/>
                      </a:lnTo>
                      <a:lnTo>
                        <a:pt x="1495" y="2332"/>
                      </a:lnTo>
                      <a:lnTo>
                        <a:pt x="1375" y="2512"/>
                      </a:lnTo>
                      <a:lnTo>
                        <a:pt x="1076" y="2751"/>
                      </a:lnTo>
                      <a:lnTo>
                        <a:pt x="897" y="2811"/>
                      </a:lnTo>
                      <a:lnTo>
                        <a:pt x="837" y="2871"/>
                      </a:lnTo>
                      <a:lnTo>
                        <a:pt x="718" y="2871"/>
                      </a:lnTo>
                      <a:lnTo>
                        <a:pt x="718" y="2871"/>
                      </a:lnTo>
                      <a:lnTo>
                        <a:pt x="598" y="2871"/>
                      </a:lnTo>
                      <a:lnTo>
                        <a:pt x="538" y="2871"/>
                      </a:lnTo>
                      <a:lnTo>
                        <a:pt x="299" y="2811"/>
                      </a:lnTo>
                    </a:path>
                  </a:pathLst>
                </a:custGeom>
                <a:noFill/>
                <a:ln w="6350" cap="rnd">
                  <a:solidFill>
                    <a:schemeClr val="bg1">
                      <a:alpha val="40000"/>
                    </a:schemeClr>
                  </a:solidFill>
                  <a:prstDash val="solid"/>
                  <a:round/>
                </a:ln>
              </p:spPr>
              <p:txBody>
                <a:bodyPr rtlCol="0" anchor="ctr"/>
                <a:lstStyle/>
                <a:p>
                  <a:endParaRPr lang="en-GB"/>
                </a:p>
              </p:txBody>
            </p:sp>
            <p:sp>
              <p:nvSpPr>
                <p:cNvPr id="5519" name="Vrije vorm: vorm 5518">
                  <a:extLst>
                    <a:ext uri="{FF2B5EF4-FFF2-40B4-BE49-F238E27FC236}">
                      <a16:creationId xmlns:a16="http://schemas.microsoft.com/office/drawing/2014/main" id="{D5E04FCC-A950-41AF-9951-BE1142C740A6}"/>
                    </a:ext>
                  </a:extLst>
                </p:cNvPr>
                <p:cNvSpPr/>
                <p:nvPr/>
              </p:nvSpPr>
              <p:spPr>
                <a:xfrm>
                  <a:off x="6500406" y="1704606"/>
                  <a:ext cx="597" cy="1076"/>
                </a:xfrm>
                <a:custGeom>
                  <a:avLst/>
                  <a:gdLst>
                    <a:gd name="connsiteX0" fmla="*/ 598 w 597"/>
                    <a:gd name="connsiteY0" fmla="*/ 0 h 1076"/>
                    <a:gd name="connsiteX1" fmla="*/ 479 w 597"/>
                    <a:gd name="connsiteY1" fmla="*/ 120 h 1076"/>
                    <a:gd name="connsiteX2" fmla="*/ 239 w 597"/>
                    <a:gd name="connsiteY2" fmla="*/ 478 h 1076"/>
                    <a:gd name="connsiteX3" fmla="*/ 60 w 597"/>
                    <a:gd name="connsiteY3" fmla="*/ 837 h 1076"/>
                    <a:gd name="connsiteX4" fmla="*/ 0 w 597"/>
                    <a:gd name="connsiteY4" fmla="*/ 1077 h 1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 h="1076">
                      <a:moveTo>
                        <a:pt x="598" y="0"/>
                      </a:moveTo>
                      <a:lnTo>
                        <a:pt x="479" y="120"/>
                      </a:lnTo>
                      <a:lnTo>
                        <a:pt x="239" y="478"/>
                      </a:lnTo>
                      <a:lnTo>
                        <a:pt x="60" y="837"/>
                      </a:lnTo>
                      <a:lnTo>
                        <a:pt x="0" y="1077"/>
                      </a:lnTo>
                    </a:path>
                  </a:pathLst>
                </a:custGeom>
                <a:noFill/>
                <a:ln w="6350" cap="rnd">
                  <a:solidFill>
                    <a:schemeClr val="bg1">
                      <a:alpha val="40000"/>
                    </a:schemeClr>
                  </a:solidFill>
                  <a:prstDash val="solid"/>
                  <a:round/>
                </a:ln>
              </p:spPr>
              <p:txBody>
                <a:bodyPr rtlCol="0" anchor="ctr"/>
                <a:lstStyle/>
                <a:p>
                  <a:endParaRPr lang="en-GB"/>
                </a:p>
              </p:txBody>
            </p:sp>
            <p:sp>
              <p:nvSpPr>
                <p:cNvPr id="5520" name="Vrije vorm: vorm 5519">
                  <a:extLst>
                    <a:ext uri="{FF2B5EF4-FFF2-40B4-BE49-F238E27FC236}">
                      <a16:creationId xmlns:a16="http://schemas.microsoft.com/office/drawing/2014/main" id="{A8161E83-A4F5-44A0-987E-B87904520F95}"/>
                    </a:ext>
                  </a:extLst>
                </p:cNvPr>
                <p:cNvSpPr/>
                <p:nvPr/>
              </p:nvSpPr>
              <p:spPr>
                <a:xfrm>
                  <a:off x="6476244" y="1665312"/>
                  <a:ext cx="1734" cy="1973"/>
                </a:xfrm>
                <a:custGeom>
                  <a:avLst/>
                  <a:gdLst>
                    <a:gd name="connsiteX0" fmla="*/ 778 w 1734"/>
                    <a:gd name="connsiteY0" fmla="*/ 1974 h 1973"/>
                    <a:gd name="connsiteX1" fmla="*/ 119 w 1734"/>
                    <a:gd name="connsiteY1" fmla="*/ 1615 h 1973"/>
                    <a:gd name="connsiteX2" fmla="*/ 60 w 1734"/>
                    <a:gd name="connsiteY2" fmla="*/ 1555 h 1973"/>
                    <a:gd name="connsiteX3" fmla="*/ 60 w 1734"/>
                    <a:gd name="connsiteY3" fmla="*/ 1555 h 1973"/>
                    <a:gd name="connsiteX4" fmla="*/ 60 w 1734"/>
                    <a:gd name="connsiteY4" fmla="*/ 1555 h 1973"/>
                    <a:gd name="connsiteX5" fmla="*/ 0 w 1734"/>
                    <a:gd name="connsiteY5" fmla="*/ 1435 h 1973"/>
                    <a:gd name="connsiteX6" fmla="*/ 0 w 1734"/>
                    <a:gd name="connsiteY6" fmla="*/ 1256 h 1973"/>
                    <a:gd name="connsiteX7" fmla="*/ 0 w 1734"/>
                    <a:gd name="connsiteY7" fmla="*/ 1196 h 1973"/>
                    <a:gd name="connsiteX8" fmla="*/ 0 w 1734"/>
                    <a:gd name="connsiteY8" fmla="*/ 1076 h 1973"/>
                    <a:gd name="connsiteX9" fmla="*/ 60 w 1734"/>
                    <a:gd name="connsiteY9" fmla="*/ 837 h 1973"/>
                    <a:gd name="connsiteX10" fmla="*/ 179 w 1734"/>
                    <a:gd name="connsiteY10" fmla="*/ 598 h 1973"/>
                    <a:gd name="connsiteX11" fmla="*/ 299 w 1734"/>
                    <a:gd name="connsiteY11" fmla="*/ 359 h 1973"/>
                    <a:gd name="connsiteX12" fmla="*/ 478 w 1734"/>
                    <a:gd name="connsiteY12" fmla="*/ 179 h 1973"/>
                    <a:gd name="connsiteX13" fmla="*/ 658 w 1734"/>
                    <a:gd name="connsiteY13" fmla="*/ 60 h 1973"/>
                    <a:gd name="connsiteX14" fmla="*/ 837 w 1734"/>
                    <a:gd name="connsiteY14" fmla="*/ 0 h 1973"/>
                    <a:gd name="connsiteX15" fmla="*/ 1017 w 1734"/>
                    <a:gd name="connsiteY15" fmla="*/ 0 h 1973"/>
                    <a:gd name="connsiteX16" fmla="*/ 1136 w 1734"/>
                    <a:gd name="connsiteY16" fmla="*/ 60 h 1973"/>
                    <a:gd name="connsiteX17" fmla="*/ 1495 w 1734"/>
                    <a:gd name="connsiteY17" fmla="*/ 299 h 1973"/>
                    <a:gd name="connsiteX18" fmla="*/ 1734 w 1734"/>
                    <a:gd name="connsiteY18" fmla="*/ 478 h 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34" h="1973">
                      <a:moveTo>
                        <a:pt x="778" y="1974"/>
                      </a:moveTo>
                      <a:lnTo>
                        <a:pt x="119" y="1615"/>
                      </a:lnTo>
                      <a:lnTo>
                        <a:pt x="60" y="1555"/>
                      </a:lnTo>
                      <a:lnTo>
                        <a:pt x="60" y="1555"/>
                      </a:lnTo>
                      <a:lnTo>
                        <a:pt x="60" y="1555"/>
                      </a:lnTo>
                      <a:lnTo>
                        <a:pt x="0" y="1435"/>
                      </a:lnTo>
                      <a:lnTo>
                        <a:pt x="0" y="1256"/>
                      </a:lnTo>
                      <a:lnTo>
                        <a:pt x="0" y="1196"/>
                      </a:lnTo>
                      <a:lnTo>
                        <a:pt x="0" y="1076"/>
                      </a:lnTo>
                      <a:lnTo>
                        <a:pt x="60" y="837"/>
                      </a:lnTo>
                      <a:lnTo>
                        <a:pt x="179" y="598"/>
                      </a:lnTo>
                      <a:lnTo>
                        <a:pt x="299" y="359"/>
                      </a:lnTo>
                      <a:lnTo>
                        <a:pt x="478" y="179"/>
                      </a:lnTo>
                      <a:lnTo>
                        <a:pt x="658" y="60"/>
                      </a:lnTo>
                      <a:lnTo>
                        <a:pt x="837" y="0"/>
                      </a:lnTo>
                      <a:lnTo>
                        <a:pt x="1017" y="0"/>
                      </a:lnTo>
                      <a:lnTo>
                        <a:pt x="1136" y="60"/>
                      </a:lnTo>
                      <a:lnTo>
                        <a:pt x="1495" y="299"/>
                      </a:lnTo>
                      <a:lnTo>
                        <a:pt x="1734" y="478"/>
                      </a:lnTo>
                    </a:path>
                  </a:pathLst>
                </a:custGeom>
                <a:noFill/>
                <a:ln w="6350" cap="rnd">
                  <a:solidFill>
                    <a:schemeClr val="bg1">
                      <a:alpha val="40000"/>
                    </a:schemeClr>
                  </a:solidFill>
                  <a:prstDash val="solid"/>
                  <a:round/>
                </a:ln>
              </p:spPr>
              <p:txBody>
                <a:bodyPr rtlCol="0" anchor="ctr"/>
                <a:lstStyle/>
                <a:p>
                  <a:endParaRPr lang="en-GB"/>
                </a:p>
              </p:txBody>
            </p:sp>
            <p:sp>
              <p:nvSpPr>
                <p:cNvPr id="5521" name="Vrije vorm: vorm 5520">
                  <a:extLst>
                    <a:ext uri="{FF2B5EF4-FFF2-40B4-BE49-F238E27FC236}">
                      <a16:creationId xmlns:a16="http://schemas.microsoft.com/office/drawing/2014/main" id="{DA6048D7-DAB3-42BF-A5DC-AC7A746B7878}"/>
                    </a:ext>
                  </a:extLst>
                </p:cNvPr>
                <p:cNvSpPr/>
                <p:nvPr/>
              </p:nvSpPr>
              <p:spPr>
                <a:xfrm>
                  <a:off x="6476364" y="1665252"/>
                  <a:ext cx="1136" cy="1734"/>
                </a:xfrm>
                <a:custGeom>
                  <a:avLst/>
                  <a:gdLst>
                    <a:gd name="connsiteX0" fmla="*/ 0 w 1136"/>
                    <a:gd name="connsiteY0" fmla="*/ 1675 h 1734"/>
                    <a:gd name="connsiteX1" fmla="*/ 120 w 1136"/>
                    <a:gd name="connsiteY1" fmla="*/ 1734 h 1734"/>
                    <a:gd name="connsiteX2" fmla="*/ 299 w 1136"/>
                    <a:gd name="connsiteY2" fmla="*/ 1734 h 1734"/>
                    <a:gd name="connsiteX3" fmla="*/ 479 w 1136"/>
                    <a:gd name="connsiteY3" fmla="*/ 1675 h 1734"/>
                    <a:gd name="connsiteX4" fmla="*/ 538 w 1136"/>
                    <a:gd name="connsiteY4" fmla="*/ 1615 h 1734"/>
                    <a:gd name="connsiteX5" fmla="*/ 658 w 1136"/>
                    <a:gd name="connsiteY5" fmla="*/ 1495 h 1734"/>
                    <a:gd name="connsiteX6" fmla="*/ 837 w 1136"/>
                    <a:gd name="connsiteY6" fmla="*/ 1316 h 1734"/>
                    <a:gd name="connsiteX7" fmla="*/ 957 w 1136"/>
                    <a:gd name="connsiteY7" fmla="*/ 1077 h 1734"/>
                    <a:gd name="connsiteX8" fmla="*/ 1076 w 1136"/>
                    <a:gd name="connsiteY8" fmla="*/ 837 h 1734"/>
                    <a:gd name="connsiteX9" fmla="*/ 1136 w 1136"/>
                    <a:gd name="connsiteY9" fmla="*/ 598 h 1734"/>
                    <a:gd name="connsiteX10" fmla="*/ 1136 w 1136"/>
                    <a:gd name="connsiteY10" fmla="*/ 478 h 1734"/>
                    <a:gd name="connsiteX11" fmla="*/ 1136 w 1136"/>
                    <a:gd name="connsiteY11" fmla="*/ 419 h 1734"/>
                    <a:gd name="connsiteX12" fmla="*/ 1136 w 1136"/>
                    <a:gd name="connsiteY12" fmla="*/ 419 h 1734"/>
                    <a:gd name="connsiteX13" fmla="*/ 1136 w 1136"/>
                    <a:gd name="connsiteY13" fmla="*/ 239 h 1734"/>
                    <a:gd name="connsiteX14" fmla="*/ 1076 w 1136"/>
                    <a:gd name="connsiteY14" fmla="*/ 120 h 1734"/>
                    <a:gd name="connsiteX15" fmla="*/ 957 w 1136"/>
                    <a:gd name="connsiteY15" fmla="*/ 0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6" h="1734">
                      <a:moveTo>
                        <a:pt x="0" y="1675"/>
                      </a:moveTo>
                      <a:lnTo>
                        <a:pt x="120" y="1734"/>
                      </a:lnTo>
                      <a:lnTo>
                        <a:pt x="299" y="1734"/>
                      </a:lnTo>
                      <a:lnTo>
                        <a:pt x="479" y="1675"/>
                      </a:lnTo>
                      <a:lnTo>
                        <a:pt x="538" y="1615"/>
                      </a:lnTo>
                      <a:lnTo>
                        <a:pt x="658" y="1495"/>
                      </a:lnTo>
                      <a:lnTo>
                        <a:pt x="837" y="1316"/>
                      </a:lnTo>
                      <a:lnTo>
                        <a:pt x="957" y="1077"/>
                      </a:lnTo>
                      <a:lnTo>
                        <a:pt x="1076" y="837"/>
                      </a:lnTo>
                      <a:lnTo>
                        <a:pt x="1136" y="598"/>
                      </a:lnTo>
                      <a:lnTo>
                        <a:pt x="1136" y="478"/>
                      </a:lnTo>
                      <a:lnTo>
                        <a:pt x="1136" y="419"/>
                      </a:lnTo>
                      <a:lnTo>
                        <a:pt x="1136" y="419"/>
                      </a:lnTo>
                      <a:lnTo>
                        <a:pt x="1136" y="239"/>
                      </a:lnTo>
                      <a:lnTo>
                        <a:pt x="1076" y="120"/>
                      </a:lnTo>
                      <a:lnTo>
                        <a:pt x="957" y="0"/>
                      </a:lnTo>
                    </a:path>
                  </a:pathLst>
                </a:custGeom>
                <a:noFill/>
                <a:ln w="6350" cap="rnd">
                  <a:solidFill>
                    <a:schemeClr val="bg1">
                      <a:alpha val="40000"/>
                    </a:schemeClr>
                  </a:solidFill>
                  <a:prstDash val="solid"/>
                  <a:round/>
                </a:ln>
              </p:spPr>
              <p:txBody>
                <a:bodyPr rtlCol="0" anchor="ctr"/>
                <a:lstStyle/>
                <a:p>
                  <a:endParaRPr lang="en-GB"/>
                </a:p>
              </p:txBody>
            </p:sp>
            <p:sp>
              <p:nvSpPr>
                <p:cNvPr id="5522" name="Vrije vorm: vorm 5521">
                  <a:extLst>
                    <a:ext uri="{FF2B5EF4-FFF2-40B4-BE49-F238E27FC236}">
                      <a16:creationId xmlns:a16="http://schemas.microsoft.com/office/drawing/2014/main" id="{FED01F90-3BEA-4B5E-AE40-8ED336304080}"/>
                    </a:ext>
                  </a:extLst>
                </p:cNvPr>
                <p:cNvSpPr/>
                <p:nvPr/>
              </p:nvSpPr>
              <p:spPr>
                <a:xfrm>
                  <a:off x="6469307" y="1672130"/>
                  <a:ext cx="1196" cy="1554"/>
                </a:xfrm>
                <a:custGeom>
                  <a:avLst/>
                  <a:gdLst>
                    <a:gd name="connsiteX0" fmla="*/ 1196 w 1196"/>
                    <a:gd name="connsiteY0" fmla="*/ 419 h 1554"/>
                    <a:gd name="connsiteX1" fmla="*/ 1196 w 1196"/>
                    <a:gd name="connsiteY1" fmla="*/ 419 h 1554"/>
                    <a:gd name="connsiteX2" fmla="*/ 1136 w 1196"/>
                    <a:gd name="connsiteY2" fmla="*/ 658 h 1554"/>
                    <a:gd name="connsiteX3" fmla="*/ 1017 w 1196"/>
                    <a:gd name="connsiteY3" fmla="*/ 897 h 1554"/>
                    <a:gd name="connsiteX4" fmla="*/ 897 w 1196"/>
                    <a:gd name="connsiteY4" fmla="*/ 1136 h 1554"/>
                    <a:gd name="connsiteX5" fmla="*/ 897 w 1196"/>
                    <a:gd name="connsiteY5" fmla="*/ 1136 h 1554"/>
                    <a:gd name="connsiteX6" fmla="*/ 778 w 1196"/>
                    <a:gd name="connsiteY6" fmla="*/ 1316 h 1554"/>
                    <a:gd name="connsiteX7" fmla="*/ 658 w 1196"/>
                    <a:gd name="connsiteY7" fmla="*/ 1435 h 1554"/>
                    <a:gd name="connsiteX8" fmla="*/ 598 w 1196"/>
                    <a:gd name="connsiteY8" fmla="*/ 1495 h 1554"/>
                    <a:gd name="connsiteX9" fmla="*/ 419 w 1196"/>
                    <a:gd name="connsiteY9" fmla="*/ 1555 h 1554"/>
                    <a:gd name="connsiteX10" fmla="*/ 239 w 1196"/>
                    <a:gd name="connsiteY10" fmla="*/ 1555 h 1554"/>
                    <a:gd name="connsiteX11" fmla="*/ 120 w 1196"/>
                    <a:gd name="connsiteY11" fmla="*/ 1495 h 1554"/>
                    <a:gd name="connsiteX12" fmla="*/ 60 w 1196"/>
                    <a:gd name="connsiteY12" fmla="*/ 1435 h 1554"/>
                    <a:gd name="connsiteX13" fmla="*/ 60 w 1196"/>
                    <a:gd name="connsiteY13" fmla="*/ 1435 h 1554"/>
                    <a:gd name="connsiteX14" fmla="*/ 0 w 1196"/>
                    <a:gd name="connsiteY14" fmla="*/ 1316 h 1554"/>
                    <a:gd name="connsiteX15" fmla="*/ 0 w 1196"/>
                    <a:gd name="connsiteY15" fmla="*/ 1136 h 1554"/>
                    <a:gd name="connsiteX16" fmla="*/ 0 w 1196"/>
                    <a:gd name="connsiteY16" fmla="*/ 1076 h 1554"/>
                    <a:gd name="connsiteX17" fmla="*/ 0 w 1196"/>
                    <a:gd name="connsiteY17" fmla="*/ 897 h 1554"/>
                    <a:gd name="connsiteX18" fmla="*/ 60 w 1196"/>
                    <a:gd name="connsiteY18" fmla="*/ 718 h 1554"/>
                    <a:gd name="connsiteX19" fmla="*/ 60 w 1196"/>
                    <a:gd name="connsiteY19" fmla="*/ 658 h 1554"/>
                    <a:gd name="connsiteX20" fmla="*/ 180 w 1196"/>
                    <a:gd name="connsiteY20" fmla="*/ 419 h 1554"/>
                    <a:gd name="connsiteX21" fmla="*/ 299 w 1196"/>
                    <a:gd name="connsiteY21" fmla="*/ 179 h 1554"/>
                    <a:gd name="connsiteX22" fmla="*/ 359 w 1196"/>
                    <a:gd name="connsiteY22" fmla="*/ 120 h 1554"/>
                    <a:gd name="connsiteX23" fmla="*/ 359 w 1196"/>
                    <a:gd name="connsiteY23" fmla="*/ 120 h 1554"/>
                    <a:gd name="connsiteX24" fmla="*/ 479 w 1196"/>
                    <a:gd name="connsiteY24" fmla="*/ 0 h 1554"/>
                    <a:gd name="connsiteX25" fmla="*/ 479 w 1196"/>
                    <a:gd name="connsiteY25" fmla="*/ 0 h 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6" h="1554">
                      <a:moveTo>
                        <a:pt x="1196" y="419"/>
                      </a:moveTo>
                      <a:lnTo>
                        <a:pt x="1196" y="419"/>
                      </a:lnTo>
                      <a:lnTo>
                        <a:pt x="1136" y="658"/>
                      </a:lnTo>
                      <a:lnTo>
                        <a:pt x="1017" y="897"/>
                      </a:lnTo>
                      <a:lnTo>
                        <a:pt x="897" y="1136"/>
                      </a:lnTo>
                      <a:lnTo>
                        <a:pt x="897" y="1136"/>
                      </a:lnTo>
                      <a:lnTo>
                        <a:pt x="778" y="1316"/>
                      </a:lnTo>
                      <a:lnTo>
                        <a:pt x="658" y="1435"/>
                      </a:lnTo>
                      <a:lnTo>
                        <a:pt x="598" y="1495"/>
                      </a:lnTo>
                      <a:lnTo>
                        <a:pt x="419" y="1555"/>
                      </a:lnTo>
                      <a:lnTo>
                        <a:pt x="239" y="1555"/>
                      </a:lnTo>
                      <a:lnTo>
                        <a:pt x="120" y="1495"/>
                      </a:lnTo>
                      <a:lnTo>
                        <a:pt x="60" y="1435"/>
                      </a:lnTo>
                      <a:lnTo>
                        <a:pt x="60" y="1435"/>
                      </a:lnTo>
                      <a:lnTo>
                        <a:pt x="0" y="1316"/>
                      </a:lnTo>
                      <a:lnTo>
                        <a:pt x="0" y="1136"/>
                      </a:lnTo>
                      <a:lnTo>
                        <a:pt x="0" y="1076"/>
                      </a:lnTo>
                      <a:lnTo>
                        <a:pt x="0" y="897"/>
                      </a:lnTo>
                      <a:lnTo>
                        <a:pt x="60" y="718"/>
                      </a:lnTo>
                      <a:lnTo>
                        <a:pt x="60" y="658"/>
                      </a:lnTo>
                      <a:lnTo>
                        <a:pt x="180" y="419"/>
                      </a:lnTo>
                      <a:lnTo>
                        <a:pt x="299" y="179"/>
                      </a:lnTo>
                      <a:lnTo>
                        <a:pt x="359" y="120"/>
                      </a:lnTo>
                      <a:lnTo>
                        <a:pt x="359" y="120"/>
                      </a:lnTo>
                      <a:lnTo>
                        <a:pt x="479" y="0"/>
                      </a:lnTo>
                      <a:lnTo>
                        <a:pt x="479" y="0"/>
                      </a:lnTo>
                    </a:path>
                  </a:pathLst>
                </a:custGeom>
                <a:noFill/>
                <a:ln w="6350" cap="rnd">
                  <a:solidFill>
                    <a:schemeClr val="bg1">
                      <a:alpha val="40000"/>
                    </a:schemeClr>
                  </a:solidFill>
                  <a:prstDash val="solid"/>
                  <a:round/>
                </a:ln>
              </p:spPr>
              <p:txBody>
                <a:bodyPr rtlCol="0" anchor="ctr"/>
                <a:lstStyle/>
                <a:p>
                  <a:endParaRPr lang="en-GB"/>
                </a:p>
              </p:txBody>
            </p:sp>
            <p:sp>
              <p:nvSpPr>
                <p:cNvPr id="5523" name="Vrije vorm: vorm 5522">
                  <a:extLst>
                    <a:ext uri="{FF2B5EF4-FFF2-40B4-BE49-F238E27FC236}">
                      <a16:creationId xmlns:a16="http://schemas.microsoft.com/office/drawing/2014/main" id="{0F1E5283-2652-4BD5-B78F-6096122EA03D}"/>
                    </a:ext>
                  </a:extLst>
                </p:cNvPr>
                <p:cNvSpPr/>
                <p:nvPr/>
              </p:nvSpPr>
              <p:spPr>
                <a:xfrm>
                  <a:off x="6471759" y="1670575"/>
                  <a:ext cx="59" cy="299"/>
                </a:xfrm>
                <a:custGeom>
                  <a:avLst/>
                  <a:gdLst>
                    <a:gd name="connsiteX0" fmla="*/ 0 w 59"/>
                    <a:gd name="connsiteY0" fmla="*/ 0 h 299"/>
                    <a:gd name="connsiteX1" fmla="*/ 60 w 59"/>
                    <a:gd name="connsiteY1" fmla="*/ 299 h 299"/>
                  </a:gdLst>
                  <a:ahLst/>
                  <a:cxnLst>
                    <a:cxn ang="0">
                      <a:pos x="connsiteX0" y="connsiteY0"/>
                    </a:cxn>
                    <a:cxn ang="0">
                      <a:pos x="connsiteX1" y="connsiteY1"/>
                    </a:cxn>
                  </a:cxnLst>
                  <a:rect l="l" t="t" r="r" b="b"/>
                  <a:pathLst>
                    <a:path w="59" h="299">
                      <a:moveTo>
                        <a:pt x="0" y="0"/>
                      </a:moveTo>
                      <a:lnTo>
                        <a:pt x="60" y="299"/>
                      </a:lnTo>
                    </a:path>
                  </a:pathLst>
                </a:custGeom>
                <a:noFill/>
                <a:ln w="6350" cap="rnd">
                  <a:solidFill>
                    <a:schemeClr val="bg1">
                      <a:alpha val="40000"/>
                    </a:schemeClr>
                  </a:solidFill>
                  <a:prstDash val="solid"/>
                  <a:round/>
                </a:ln>
              </p:spPr>
              <p:txBody>
                <a:bodyPr rtlCol="0" anchor="ctr"/>
                <a:lstStyle/>
                <a:p>
                  <a:endParaRPr lang="en-GB"/>
                </a:p>
              </p:txBody>
            </p:sp>
            <p:sp>
              <p:nvSpPr>
                <p:cNvPr id="5524" name="Vrije vorm: vorm 5523">
                  <a:extLst>
                    <a:ext uri="{FF2B5EF4-FFF2-40B4-BE49-F238E27FC236}">
                      <a16:creationId xmlns:a16="http://schemas.microsoft.com/office/drawing/2014/main" id="{39A8CE9E-5B43-45FE-B915-465DA58DB3ED}"/>
                    </a:ext>
                  </a:extLst>
                </p:cNvPr>
                <p:cNvSpPr/>
                <p:nvPr/>
              </p:nvSpPr>
              <p:spPr>
                <a:xfrm>
                  <a:off x="6469366" y="1673625"/>
                  <a:ext cx="657" cy="358"/>
                </a:xfrm>
                <a:custGeom>
                  <a:avLst/>
                  <a:gdLst>
                    <a:gd name="connsiteX0" fmla="*/ 658 w 657"/>
                    <a:gd name="connsiteY0" fmla="*/ 359 h 358"/>
                    <a:gd name="connsiteX1" fmla="*/ 0 w 657"/>
                    <a:gd name="connsiteY1" fmla="*/ 0 h 358"/>
                  </a:gdLst>
                  <a:ahLst/>
                  <a:cxnLst>
                    <a:cxn ang="0">
                      <a:pos x="connsiteX0" y="connsiteY0"/>
                    </a:cxn>
                    <a:cxn ang="0">
                      <a:pos x="connsiteX1" y="connsiteY1"/>
                    </a:cxn>
                  </a:cxnLst>
                  <a:rect l="l" t="t" r="r" b="b"/>
                  <a:pathLst>
                    <a:path w="657" h="358">
                      <a:moveTo>
                        <a:pt x="658" y="359"/>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25" name="Vrije vorm: vorm 5524">
                  <a:extLst>
                    <a:ext uri="{FF2B5EF4-FFF2-40B4-BE49-F238E27FC236}">
                      <a16:creationId xmlns:a16="http://schemas.microsoft.com/office/drawing/2014/main" id="{04B239B3-05DA-45FC-A46A-02CE75EDD260}"/>
                    </a:ext>
                  </a:extLst>
                </p:cNvPr>
                <p:cNvSpPr/>
                <p:nvPr/>
              </p:nvSpPr>
              <p:spPr>
                <a:xfrm>
                  <a:off x="6468110" y="1617526"/>
                  <a:ext cx="299" cy="1196"/>
                </a:xfrm>
                <a:custGeom>
                  <a:avLst/>
                  <a:gdLst>
                    <a:gd name="connsiteX0" fmla="*/ 0 w 299"/>
                    <a:gd name="connsiteY0" fmla="*/ 0 h 1196"/>
                    <a:gd name="connsiteX1" fmla="*/ 299 w 299"/>
                    <a:gd name="connsiteY1" fmla="*/ 1196 h 1196"/>
                  </a:gdLst>
                  <a:ahLst/>
                  <a:cxnLst>
                    <a:cxn ang="0">
                      <a:pos x="connsiteX0" y="connsiteY0"/>
                    </a:cxn>
                    <a:cxn ang="0">
                      <a:pos x="connsiteX1" y="connsiteY1"/>
                    </a:cxn>
                  </a:cxnLst>
                  <a:rect l="l" t="t" r="r" b="b"/>
                  <a:pathLst>
                    <a:path w="299" h="1196">
                      <a:moveTo>
                        <a:pt x="0" y="0"/>
                      </a:moveTo>
                      <a:lnTo>
                        <a:pt x="299" y="1196"/>
                      </a:lnTo>
                    </a:path>
                  </a:pathLst>
                </a:custGeom>
                <a:noFill/>
                <a:ln w="6350" cap="rnd">
                  <a:solidFill>
                    <a:schemeClr val="bg1">
                      <a:alpha val="40000"/>
                    </a:schemeClr>
                  </a:solidFill>
                  <a:prstDash val="solid"/>
                  <a:round/>
                </a:ln>
              </p:spPr>
              <p:txBody>
                <a:bodyPr rtlCol="0" anchor="ctr"/>
                <a:lstStyle/>
                <a:p>
                  <a:endParaRPr lang="en-GB"/>
                </a:p>
              </p:txBody>
            </p:sp>
            <p:sp>
              <p:nvSpPr>
                <p:cNvPr id="5526" name="Vrije vorm: vorm 5525">
                  <a:extLst>
                    <a:ext uri="{FF2B5EF4-FFF2-40B4-BE49-F238E27FC236}">
                      <a16:creationId xmlns:a16="http://schemas.microsoft.com/office/drawing/2014/main" id="{B6BA48D9-287E-4808-B37E-3F8BE9753817}"/>
                    </a:ext>
                  </a:extLst>
                </p:cNvPr>
                <p:cNvSpPr/>
                <p:nvPr/>
              </p:nvSpPr>
              <p:spPr>
                <a:xfrm>
                  <a:off x="6461711" y="1617108"/>
                  <a:ext cx="6339" cy="6877"/>
                </a:xfrm>
                <a:custGeom>
                  <a:avLst/>
                  <a:gdLst>
                    <a:gd name="connsiteX0" fmla="*/ 0 w 6339"/>
                    <a:gd name="connsiteY0" fmla="*/ 6878 h 6877"/>
                    <a:gd name="connsiteX1" fmla="*/ 957 w 6339"/>
                    <a:gd name="connsiteY1" fmla="*/ 5861 h 6877"/>
                    <a:gd name="connsiteX2" fmla="*/ 3230 w 6339"/>
                    <a:gd name="connsiteY2" fmla="*/ 3529 h 6877"/>
                    <a:gd name="connsiteX3" fmla="*/ 5503 w 6339"/>
                    <a:gd name="connsiteY3" fmla="*/ 1196 h 6877"/>
                    <a:gd name="connsiteX4" fmla="*/ 6340 w 6339"/>
                    <a:gd name="connsiteY4" fmla="*/ 359 h 6877"/>
                    <a:gd name="connsiteX5" fmla="*/ 5742 w 6339"/>
                    <a:gd name="connsiteY5" fmla="*/ 0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9" h="6877">
                      <a:moveTo>
                        <a:pt x="0" y="6878"/>
                      </a:moveTo>
                      <a:lnTo>
                        <a:pt x="957" y="5861"/>
                      </a:lnTo>
                      <a:lnTo>
                        <a:pt x="3230" y="3529"/>
                      </a:lnTo>
                      <a:lnTo>
                        <a:pt x="5503" y="1196"/>
                      </a:lnTo>
                      <a:lnTo>
                        <a:pt x="6340" y="359"/>
                      </a:lnTo>
                      <a:lnTo>
                        <a:pt x="5742" y="0"/>
                      </a:lnTo>
                    </a:path>
                  </a:pathLst>
                </a:custGeom>
                <a:noFill/>
                <a:ln w="6350" cap="rnd">
                  <a:solidFill>
                    <a:schemeClr val="bg1">
                      <a:alpha val="40000"/>
                    </a:schemeClr>
                  </a:solidFill>
                  <a:prstDash val="solid"/>
                  <a:round/>
                </a:ln>
              </p:spPr>
              <p:txBody>
                <a:bodyPr rtlCol="0" anchor="ctr"/>
                <a:lstStyle/>
                <a:p>
                  <a:endParaRPr lang="en-GB"/>
                </a:p>
              </p:txBody>
            </p:sp>
            <p:sp>
              <p:nvSpPr>
                <p:cNvPr id="5527" name="Vrije vorm: vorm 5526">
                  <a:extLst>
                    <a:ext uri="{FF2B5EF4-FFF2-40B4-BE49-F238E27FC236}">
                      <a16:creationId xmlns:a16="http://schemas.microsoft.com/office/drawing/2014/main" id="{176789A2-7418-4C73-A45F-828E81BDBD67}"/>
                    </a:ext>
                  </a:extLst>
                </p:cNvPr>
                <p:cNvSpPr/>
                <p:nvPr/>
              </p:nvSpPr>
              <p:spPr>
                <a:xfrm>
                  <a:off x="6461113" y="1615134"/>
                  <a:ext cx="6399" cy="8552"/>
                </a:xfrm>
                <a:custGeom>
                  <a:avLst/>
                  <a:gdLst>
                    <a:gd name="connsiteX0" fmla="*/ 0 w 6399"/>
                    <a:gd name="connsiteY0" fmla="*/ 8552 h 8552"/>
                    <a:gd name="connsiteX1" fmla="*/ 1196 w 6399"/>
                    <a:gd name="connsiteY1" fmla="*/ 7356 h 8552"/>
                    <a:gd name="connsiteX2" fmla="*/ 3469 w 6399"/>
                    <a:gd name="connsiteY2" fmla="*/ 5024 h 8552"/>
                    <a:gd name="connsiteX3" fmla="*/ 5742 w 6399"/>
                    <a:gd name="connsiteY3" fmla="*/ 2691 h 8552"/>
                    <a:gd name="connsiteX4" fmla="*/ 6399 w 6399"/>
                    <a:gd name="connsiteY4" fmla="*/ 2033 h 8552"/>
                    <a:gd name="connsiteX5" fmla="*/ 6041 w 6399"/>
                    <a:gd name="connsiteY5" fmla="*/ 718 h 8552"/>
                    <a:gd name="connsiteX6" fmla="*/ 5861 w 6399"/>
                    <a:gd name="connsiteY6" fmla="*/ 0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9" h="8552">
                      <a:moveTo>
                        <a:pt x="0" y="8552"/>
                      </a:moveTo>
                      <a:lnTo>
                        <a:pt x="1196" y="7356"/>
                      </a:lnTo>
                      <a:lnTo>
                        <a:pt x="3469" y="5024"/>
                      </a:lnTo>
                      <a:lnTo>
                        <a:pt x="5742" y="2691"/>
                      </a:lnTo>
                      <a:lnTo>
                        <a:pt x="6399" y="2033"/>
                      </a:lnTo>
                      <a:lnTo>
                        <a:pt x="6041" y="718"/>
                      </a:lnTo>
                      <a:lnTo>
                        <a:pt x="5861" y="0"/>
                      </a:lnTo>
                    </a:path>
                  </a:pathLst>
                </a:custGeom>
                <a:noFill/>
                <a:ln w="6350" cap="rnd">
                  <a:solidFill>
                    <a:schemeClr val="bg1">
                      <a:alpha val="40000"/>
                    </a:schemeClr>
                  </a:solidFill>
                  <a:prstDash val="solid"/>
                  <a:round/>
                </a:ln>
              </p:spPr>
              <p:txBody>
                <a:bodyPr rtlCol="0" anchor="ctr"/>
                <a:lstStyle/>
                <a:p>
                  <a:endParaRPr lang="en-GB"/>
                </a:p>
              </p:txBody>
            </p:sp>
            <p:sp>
              <p:nvSpPr>
                <p:cNvPr id="5528" name="Vrije vorm: vorm 5527">
                  <a:extLst>
                    <a:ext uri="{FF2B5EF4-FFF2-40B4-BE49-F238E27FC236}">
                      <a16:creationId xmlns:a16="http://schemas.microsoft.com/office/drawing/2014/main" id="{B98CCA2B-A705-4206-8FC8-1A75C19C37DC}"/>
                    </a:ext>
                  </a:extLst>
                </p:cNvPr>
                <p:cNvSpPr/>
                <p:nvPr/>
              </p:nvSpPr>
              <p:spPr>
                <a:xfrm>
                  <a:off x="6466196" y="1615134"/>
                  <a:ext cx="1315" cy="777"/>
                </a:xfrm>
                <a:custGeom>
                  <a:avLst/>
                  <a:gdLst>
                    <a:gd name="connsiteX0" fmla="*/ 0 w 1315"/>
                    <a:gd name="connsiteY0" fmla="*/ 777 h 777"/>
                    <a:gd name="connsiteX1" fmla="*/ 718 w 1315"/>
                    <a:gd name="connsiteY1" fmla="*/ 0 h 777"/>
                    <a:gd name="connsiteX2" fmla="*/ 1316 w 1315"/>
                    <a:gd name="connsiteY2" fmla="*/ 359 h 777"/>
                  </a:gdLst>
                  <a:ahLst/>
                  <a:cxnLst>
                    <a:cxn ang="0">
                      <a:pos x="connsiteX0" y="connsiteY0"/>
                    </a:cxn>
                    <a:cxn ang="0">
                      <a:pos x="connsiteX1" y="connsiteY1"/>
                    </a:cxn>
                    <a:cxn ang="0">
                      <a:pos x="connsiteX2" y="connsiteY2"/>
                    </a:cxn>
                  </a:cxnLst>
                  <a:rect l="l" t="t" r="r" b="b"/>
                  <a:pathLst>
                    <a:path w="1315" h="777">
                      <a:moveTo>
                        <a:pt x="0" y="777"/>
                      </a:moveTo>
                      <a:lnTo>
                        <a:pt x="718" y="0"/>
                      </a:lnTo>
                      <a:lnTo>
                        <a:pt x="1316" y="359"/>
                      </a:lnTo>
                    </a:path>
                  </a:pathLst>
                </a:custGeom>
                <a:noFill/>
                <a:ln w="6350" cap="rnd">
                  <a:solidFill>
                    <a:schemeClr val="bg1">
                      <a:alpha val="40000"/>
                    </a:schemeClr>
                  </a:solidFill>
                  <a:prstDash val="solid"/>
                  <a:round/>
                </a:ln>
              </p:spPr>
              <p:txBody>
                <a:bodyPr rtlCol="0" anchor="ctr"/>
                <a:lstStyle/>
                <a:p>
                  <a:endParaRPr lang="en-GB"/>
                </a:p>
              </p:txBody>
            </p:sp>
            <p:sp>
              <p:nvSpPr>
                <p:cNvPr id="5529" name="Vrije vorm: vorm 5528">
                  <a:extLst>
                    <a:ext uri="{FF2B5EF4-FFF2-40B4-BE49-F238E27FC236}">
                      <a16:creationId xmlns:a16="http://schemas.microsoft.com/office/drawing/2014/main" id="{4B9ED329-2149-4B79-B15F-051C54D78B25}"/>
                    </a:ext>
                  </a:extLst>
                </p:cNvPr>
                <p:cNvSpPr/>
                <p:nvPr/>
              </p:nvSpPr>
              <p:spPr>
                <a:xfrm>
                  <a:off x="6467154" y="1613938"/>
                  <a:ext cx="1555" cy="2093"/>
                </a:xfrm>
                <a:custGeom>
                  <a:avLst/>
                  <a:gdLst>
                    <a:gd name="connsiteX0" fmla="*/ 419 w 1555"/>
                    <a:gd name="connsiteY0" fmla="*/ 1555 h 2093"/>
                    <a:gd name="connsiteX1" fmla="*/ 0 w 1555"/>
                    <a:gd name="connsiteY1" fmla="*/ 0 h 2093"/>
                    <a:gd name="connsiteX2" fmla="*/ 1555 w 1555"/>
                    <a:gd name="connsiteY2" fmla="*/ 2093 h 2093"/>
                  </a:gdLst>
                  <a:ahLst/>
                  <a:cxnLst>
                    <a:cxn ang="0">
                      <a:pos x="connsiteX0" y="connsiteY0"/>
                    </a:cxn>
                    <a:cxn ang="0">
                      <a:pos x="connsiteX1" y="connsiteY1"/>
                    </a:cxn>
                    <a:cxn ang="0">
                      <a:pos x="connsiteX2" y="connsiteY2"/>
                    </a:cxn>
                  </a:cxnLst>
                  <a:rect l="l" t="t" r="r" b="b"/>
                  <a:pathLst>
                    <a:path w="1555" h="2093">
                      <a:moveTo>
                        <a:pt x="419" y="1555"/>
                      </a:moveTo>
                      <a:lnTo>
                        <a:pt x="0" y="0"/>
                      </a:lnTo>
                      <a:lnTo>
                        <a:pt x="1555" y="2093"/>
                      </a:lnTo>
                    </a:path>
                  </a:pathLst>
                </a:custGeom>
                <a:noFill/>
                <a:ln w="6350" cap="rnd">
                  <a:solidFill>
                    <a:schemeClr val="bg1">
                      <a:alpha val="40000"/>
                    </a:schemeClr>
                  </a:solidFill>
                  <a:prstDash val="solid"/>
                  <a:round/>
                </a:ln>
              </p:spPr>
              <p:txBody>
                <a:bodyPr rtlCol="0" anchor="ctr"/>
                <a:lstStyle/>
                <a:p>
                  <a:endParaRPr lang="en-GB"/>
                </a:p>
              </p:txBody>
            </p:sp>
            <p:sp>
              <p:nvSpPr>
                <p:cNvPr id="5530" name="Vrije vorm: vorm 5529">
                  <a:extLst>
                    <a:ext uri="{FF2B5EF4-FFF2-40B4-BE49-F238E27FC236}">
                      <a16:creationId xmlns:a16="http://schemas.microsoft.com/office/drawing/2014/main" id="{A99A6DF3-1F53-4CE1-870B-CA3D9E6A30C3}"/>
                    </a:ext>
                  </a:extLst>
                </p:cNvPr>
                <p:cNvSpPr/>
                <p:nvPr/>
              </p:nvSpPr>
              <p:spPr>
                <a:xfrm>
                  <a:off x="6462189" y="1615134"/>
                  <a:ext cx="418" cy="1495"/>
                </a:xfrm>
                <a:custGeom>
                  <a:avLst/>
                  <a:gdLst>
                    <a:gd name="connsiteX0" fmla="*/ 0 w 418"/>
                    <a:gd name="connsiteY0" fmla="*/ 0 h 1495"/>
                    <a:gd name="connsiteX1" fmla="*/ 419 w 418"/>
                    <a:gd name="connsiteY1" fmla="*/ 1495 h 1495"/>
                  </a:gdLst>
                  <a:ahLst/>
                  <a:cxnLst>
                    <a:cxn ang="0">
                      <a:pos x="connsiteX0" y="connsiteY0"/>
                    </a:cxn>
                    <a:cxn ang="0">
                      <a:pos x="connsiteX1" y="connsiteY1"/>
                    </a:cxn>
                  </a:cxnLst>
                  <a:rect l="l" t="t" r="r" b="b"/>
                  <a:pathLst>
                    <a:path w="418" h="1495">
                      <a:moveTo>
                        <a:pt x="0" y="0"/>
                      </a:moveTo>
                      <a:lnTo>
                        <a:pt x="419" y="1495"/>
                      </a:lnTo>
                    </a:path>
                  </a:pathLst>
                </a:custGeom>
                <a:noFill/>
                <a:ln w="6350" cap="rnd">
                  <a:solidFill>
                    <a:schemeClr val="bg1">
                      <a:alpha val="40000"/>
                    </a:schemeClr>
                  </a:solidFill>
                  <a:prstDash val="solid"/>
                  <a:round/>
                </a:ln>
              </p:spPr>
              <p:txBody>
                <a:bodyPr rtlCol="0" anchor="ctr"/>
                <a:lstStyle/>
                <a:p>
                  <a:endParaRPr lang="en-GB"/>
                </a:p>
              </p:txBody>
            </p:sp>
            <p:sp>
              <p:nvSpPr>
                <p:cNvPr id="5531" name="Vrije vorm: vorm 5530">
                  <a:extLst>
                    <a:ext uri="{FF2B5EF4-FFF2-40B4-BE49-F238E27FC236}">
                      <a16:creationId xmlns:a16="http://schemas.microsoft.com/office/drawing/2014/main" id="{F420C091-EEE2-4344-987D-9BCF604A94D4}"/>
                    </a:ext>
                  </a:extLst>
                </p:cNvPr>
                <p:cNvSpPr/>
                <p:nvPr/>
              </p:nvSpPr>
              <p:spPr>
                <a:xfrm>
                  <a:off x="6459379" y="1616629"/>
                  <a:ext cx="6458" cy="3229"/>
                </a:xfrm>
                <a:custGeom>
                  <a:avLst/>
                  <a:gdLst>
                    <a:gd name="connsiteX0" fmla="*/ 6459 w 6458"/>
                    <a:gd name="connsiteY0" fmla="*/ 1914 h 3229"/>
                    <a:gd name="connsiteX1" fmla="*/ 6041 w 6458"/>
                    <a:gd name="connsiteY1" fmla="*/ 1675 h 3229"/>
                    <a:gd name="connsiteX2" fmla="*/ 5622 w 6458"/>
                    <a:gd name="connsiteY2" fmla="*/ 1435 h 3229"/>
                    <a:gd name="connsiteX3" fmla="*/ 5024 w 6458"/>
                    <a:gd name="connsiteY3" fmla="*/ 1076 h 3229"/>
                    <a:gd name="connsiteX4" fmla="*/ 3170 w 6458"/>
                    <a:gd name="connsiteY4" fmla="*/ 0 h 3229"/>
                    <a:gd name="connsiteX5" fmla="*/ 1017 w 6458"/>
                    <a:gd name="connsiteY5" fmla="*/ 2213 h 3229"/>
                    <a:gd name="connsiteX6" fmla="*/ 419 w 6458"/>
                    <a:gd name="connsiteY6" fmla="*/ 2811 h 3229"/>
                    <a:gd name="connsiteX7" fmla="*/ 0 w 6458"/>
                    <a:gd name="connsiteY7" fmla="*/ 3230 h 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8" h="3229">
                      <a:moveTo>
                        <a:pt x="6459" y="1914"/>
                      </a:moveTo>
                      <a:lnTo>
                        <a:pt x="6041" y="1675"/>
                      </a:lnTo>
                      <a:lnTo>
                        <a:pt x="5622" y="1435"/>
                      </a:lnTo>
                      <a:lnTo>
                        <a:pt x="5024" y="1076"/>
                      </a:lnTo>
                      <a:lnTo>
                        <a:pt x="3170" y="0"/>
                      </a:lnTo>
                      <a:lnTo>
                        <a:pt x="1017" y="2213"/>
                      </a:lnTo>
                      <a:lnTo>
                        <a:pt x="419" y="2811"/>
                      </a:lnTo>
                      <a:lnTo>
                        <a:pt x="0" y="3230"/>
                      </a:lnTo>
                    </a:path>
                  </a:pathLst>
                </a:custGeom>
                <a:noFill/>
                <a:ln w="6350" cap="rnd">
                  <a:solidFill>
                    <a:schemeClr val="bg1">
                      <a:alpha val="40000"/>
                    </a:schemeClr>
                  </a:solidFill>
                  <a:prstDash val="solid"/>
                  <a:round/>
                </a:ln>
              </p:spPr>
              <p:txBody>
                <a:bodyPr rtlCol="0" anchor="ctr"/>
                <a:lstStyle/>
                <a:p>
                  <a:endParaRPr lang="en-GB"/>
                </a:p>
              </p:txBody>
            </p:sp>
            <p:sp>
              <p:nvSpPr>
                <p:cNvPr id="5532" name="Vrije vorm: vorm 5531">
                  <a:extLst>
                    <a:ext uri="{FF2B5EF4-FFF2-40B4-BE49-F238E27FC236}">
                      <a16:creationId xmlns:a16="http://schemas.microsoft.com/office/drawing/2014/main" id="{4C0A817D-3516-44DA-A8D5-851C4BC9158C}"/>
                    </a:ext>
                  </a:extLst>
                </p:cNvPr>
                <p:cNvSpPr/>
                <p:nvPr/>
              </p:nvSpPr>
              <p:spPr>
                <a:xfrm>
                  <a:off x="6459020" y="1615074"/>
                  <a:ext cx="6219" cy="6698"/>
                </a:xfrm>
                <a:custGeom>
                  <a:avLst/>
                  <a:gdLst>
                    <a:gd name="connsiteX0" fmla="*/ 3648 w 6219"/>
                    <a:gd name="connsiteY0" fmla="*/ 6698 h 6698"/>
                    <a:gd name="connsiteX1" fmla="*/ 3289 w 6219"/>
                    <a:gd name="connsiteY1" fmla="*/ 6519 h 6698"/>
                    <a:gd name="connsiteX2" fmla="*/ 2811 w 6219"/>
                    <a:gd name="connsiteY2" fmla="*/ 6220 h 6698"/>
                    <a:gd name="connsiteX3" fmla="*/ 2691 w 6219"/>
                    <a:gd name="connsiteY3" fmla="*/ 6160 h 6698"/>
                    <a:gd name="connsiteX4" fmla="*/ 2572 w 6219"/>
                    <a:gd name="connsiteY4" fmla="*/ 6100 h 6698"/>
                    <a:gd name="connsiteX5" fmla="*/ 2213 w 6219"/>
                    <a:gd name="connsiteY5" fmla="*/ 5861 h 6698"/>
                    <a:gd name="connsiteX6" fmla="*/ 2093 w 6219"/>
                    <a:gd name="connsiteY6" fmla="*/ 5801 h 6698"/>
                    <a:gd name="connsiteX7" fmla="*/ 2033 w 6219"/>
                    <a:gd name="connsiteY7" fmla="*/ 5742 h 6698"/>
                    <a:gd name="connsiteX8" fmla="*/ 1854 w 6219"/>
                    <a:gd name="connsiteY8" fmla="*/ 5622 h 6698"/>
                    <a:gd name="connsiteX9" fmla="*/ 359 w 6219"/>
                    <a:gd name="connsiteY9" fmla="*/ 4785 h 6698"/>
                    <a:gd name="connsiteX10" fmla="*/ 0 w 6219"/>
                    <a:gd name="connsiteY10" fmla="*/ 3289 h 6698"/>
                    <a:gd name="connsiteX11" fmla="*/ 2273 w 6219"/>
                    <a:gd name="connsiteY11" fmla="*/ 957 h 6698"/>
                    <a:gd name="connsiteX12" fmla="*/ 3170 w 6219"/>
                    <a:gd name="connsiteY12" fmla="*/ 0 h 6698"/>
                    <a:gd name="connsiteX13" fmla="*/ 5741 w 6219"/>
                    <a:gd name="connsiteY13" fmla="*/ 1495 h 6698"/>
                    <a:gd name="connsiteX14" fmla="*/ 6220 w 6219"/>
                    <a:gd name="connsiteY14" fmla="*/ 1794 h 6698"/>
                    <a:gd name="connsiteX15" fmla="*/ 6220 w 6219"/>
                    <a:gd name="connsiteY15" fmla="*/ 1794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 h="6698">
                      <a:moveTo>
                        <a:pt x="3648" y="6698"/>
                      </a:moveTo>
                      <a:lnTo>
                        <a:pt x="3289" y="6519"/>
                      </a:lnTo>
                      <a:lnTo>
                        <a:pt x="2811" y="6220"/>
                      </a:lnTo>
                      <a:lnTo>
                        <a:pt x="2691" y="6160"/>
                      </a:lnTo>
                      <a:lnTo>
                        <a:pt x="2572" y="6100"/>
                      </a:lnTo>
                      <a:lnTo>
                        <a:pt x="2213" y="5861"/>
                      </a:lnTo>
                      <a:lnTo>
                        <a:pt x="2093" y="5801"/>
                      </a:lnTo>
                      <a:lnTo>
                        <a:pt x="2033" y="5742"/>
                      </a:lnTo>
                      <a:lnTo>
                        <a:pt x="1854" y="5622"/>
                      </a:lnTo>
                      <a:lnTo>
                        <a:pt x="359" y="4785"/>
                      </a:lnTo>
                      <a:lnTo>
                        <a:pt x="0" y="3289"/>
                      </a:lnTo>
                      <a:lnTo>
                        <a:pt x="2273" y="957"/>
                      </a:lnTo>
                      <a:lnTo>
                        <a:pt x="3170" y="0"/>
                      </a:lnTo>
                      <a:lnTo>
                        <a:pt x="5741" y="1495"/>
                      </a:lnTo>
                      <a:lnTo>
                        <a:pt x="6220" y="1794"/>
                      </a:lnTo>
                      <a:lnTo>
                        <a:pt x="6220" y="1794"/>
                      </a:lnTo>
                    </a:path>
                  </a:pathLst>
                </a:custGeom>
                <a:noFill/>
                <a:ln w="6350" cap="rnd">
                  <a:solidFill>
                    <a:schemeClr val="bg1">
                      <a:alpha val="40000"/>
                    </a:schemeClr>
                  </a:solidFill>
                  <a:prstDash val="solid"/>
                  <a:round/>
                </a:ln>
              </p:spPr>
              <p:txBody>
                <a:bodyPr rtlCol="0" anchor="ctr"/>
                <a:lstStyle/>
                <a:p>
                  <a:endParaRPr lang="en-GB"/>
                </a:p>
              </p:txBody>
            </p:sp>
            <p:sp>
              <p:nvSpPr>
                <p:cNvPr id="5533" name="Vrije vorm: vorm 5532">
                  <a:extLst>
                    <a:ext uri="{FF2B5EF4-FFF2-40B4-BE49-F238E27FC236}">
                      <a16:creationId xmlns:a16="http://schemas.microsoft.com/office/drawing/2014/main" id="{2A485F63-91EF-44F1-832D-AB701B51FABB}"/>
                    </a:ext>
                  </a:extLst>
                </p:cNvPr>
                <p:cNvSpPr/>
                <p:nvPr/>
              </p:nvSpPr>
              <p:spPr>
                <a:xfrm>
                  <a:off x="6460754" y="1622191"/>
                  <a:ext cx="1256" cy="2990"/>
                </a:xfrm>
                <a:custGeom>
                  <a:avLst/>
                  <a:gdLst>
                    <a:gd name="connsiteX0" fmla="*/ 1256 w 1256"/>
                    <a:gd name="connsiteY0" fmla="*/ 2990 h 2990"/>
                    <a:gd name="connsiteX1" fmla="*/ 957 w 1256"/>
                    <a:gd name="connsiteY1" fmla="*/ 1794 h 2990"/>
                    <a:gd name="connsiteX2" fmla="*/ 359 w 1256"/>
                    <a:gd name="connsiteY2" fmla="*/ 1435 h 2990"/>
                    <a:gd name="connsiteX3" fmla="*/ 0 w 1256"/>
                    <a:gd name="connsiteY3" fmla="*/ 0 h 2990"/>
                  </a:gdLst>
                  <a:ahLst/>
                  <a:cxnLst>
                    <a:cxn ang="0">
                      <a:pos x="connsiteX0" y="connsiteY0"/>
                    </a:cxn>
                    <a:cxn ang="0">
                      <a:pos x="connsiteX1" y="connsiteY1"/>
                    </a:cxn>
                    <a:cxn ang="0">
                      <a:pos x="connsiteX2" y="connsiteY2"/>
                    </a:cxn>
                    <a:cxn ang="0">
                      <a:pos x="connsiteX3" y="connsiteY3"/>
                    </a:cxn>
                  </a:cxnLst>
                  <a:rect l="l" t="t" r="r" b="b"/>
                  <a:pathLst>
                    <a:path w="1256" h="2990">
                      <a:moveTo>
                        <a:pt x="1256" y="2990"/>
                      </a:moveTo>
                      <a:lnTo>
                        <a:pt x="957" y="1794"/>
                      </a:lnTo>
                      <a:lnTo>
                        <a:pt x="359" y="143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34" name="Vrije vorm: vorm 5533">
                  <a:extLst>
                    <a:ext uri="{FF2B5EF4-FFF2-40B4-BE49-F238E27FC236}">
                      <a16:creationId xmlns:a16="http://schemas.microsoft.com/office/drawing/2014/main" id="{7E216E7A-0230-4A8F-9C94-40502CF683AA}"/>
                    </a:ext>
                  </a:extLst>
                </p:cNvPr>
                <p:cNvSpPr/>
                <p:nvPr/>
              </p:nvSpPr>
              <p:spPr>
                <a:xfrm>
                  <a:off x="6459917" y="1616988"/>
                  <a:ext cx="5681" cy="2691"/>
                </a:xfrm>
                <a:custGeom>
                  <a:avLst/>
                  <a:gdLst>
                    <a:gd name="connsiteX0" fmla="*/ 5682 w 5681"/>
                    <a:gd name="connsiteY0" fmla="*/ 1794 h 2691"/>
                    <a:gd name="connsiteX1" fmla="*/ 4904 w 5681"/>
                    <a:gd name="connsiteY1" fmla="*/ 1316 h 2691"/>
                    <a:gd name="connsiteX2" fmla="*/ 4306 w 5681"/>
                    <a:gd name="connsiteY2" fmla="*/ 957 h 2691"/>
                    <a:gd name="connsiteX3" fmla="*/ 2691 w 5681"/>
                    <a:gd name="connsiteY3" fmla="*/ 0 h 2691"/>
                    <a:gd name="connsiteX4" fmla="*/ 778 w 5681"/>
                    <a:gd name="connsiteY4" fmla="*/ 1914 h 2691"/>
                    <a:gd name="connsiteX5" fmla="*/ 538 w 5681"/>
                    <a:gd name="connsiteY5" fmla="*/ 2153 h 2691"/>
                    <a:gd name="connsiteX6" fmla="*/ 0 w 5681"/>
                    <a:gd name="connsiteY6" fmla="*/ 2691 h 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1" h="2691">
                      <a:moveTo>
                        <a:pt x="5682" y="1794"/>
                      </a:moveTo>
                      <a:lnTo>
                        <a:pt x="4904" y="1316"/>
                      </a:lnTo>
                      <a:lnTo>
                        <a:pt x="4306" y="957"/>
                      </a:lnTo>
                      <a:lnTo>
                        <a:pt x="2691" y="0"/>
                      </a:lnTo>
                      <a:lnTo>
                        <a:pt x="778" y="1914"/>
                      </a:lnTo>
                      <a:lnTo>
                        <a:pt x="538" y="2153"/>
                      </a:lnTo>
                      <a:lnTo>
                        <a:pt x="0" y="2691"/>
                      </a:lnTo>
                    </a:path>
                  </a:pathLst>
                </a:custGeom>
                <a:noFill/>
                <a:ln w="6350" cap="rnd">
                  <a:solidFill>
                    <a:schemeClr val="bg1">
                      <a:alpha val="40000"/>
                    </a:schemeClr>
                  </a:solidFill>
                  <a:prstDash val="solid"/>
                  <a:round/>
                </a:ln>
              </p:spPr>
              <p:txBody>
                <a:bodyPr rtlCol="0" anchor="ctr"/>
                <a:lstStyle/>
                <a:p>
                  <a:endParaRPr lang="en-GB"/>
                </a:p>
              </p:txBody>
            </p:sp>
            <p:sp>
              <p:nvSpPr>
                <p:cNvPr id="5535" name="Vrije vorm: vorm 5534">
                  <a:extLst>
                    <a:ext uri="{FF2B5EF4-FFF2-40B4-BE49-F238E27FC236}">
                      <a16:creationId xmlns:a16="http://schemas.microsoft.com/office/drawing/2014/main" id="{A9DA195E-66AA-469F-8BF7-33223A48370C}"/>
                    </a:ext>
                  </a:extLst>
                </p:cNvPr>
                <p:cNvSpPr/>
                <p:nvPr/>
              </p:nvSpPr>
              <p:spPr>
                <a:xfrm>
                  <a:off x="6459917" y="1619799"/>
                  <a:ext cx="2990" cy="1734"/>
                </a:xfrm>
                <a:custGeom>
                  <a:avLst/>
                  <a:gdLst>
                    <a:gd name="connsiteX0" fmla="*/ 2990 w 2990"/>
                    <a:gd name="connsiteY0" fmla="*/ 1734 h 1734"/>
                    <a:gd name="connsiteX1" fmla="*/ 2632 w 2990"/>
                    <a:gd name="connsiteY1" fmla="*/ 1495 h 1734"/>
                    <a:gd name="connsiteX2" fmla="*/ 2213 w 2990"/>
                    <a:gd name="connsiteY2" fmla="*/ 1256 h 1734"/>
                    <a:gd name="connsiteX3" fmla="*/ 2093 w 2990"/>
                    <a:gd name="connsiteY3" fmla="*/ 1196 h 1734"/>
                    <a:gd name="connsiteX4" fmla="*/ 1615 w 2990"/>
                    <a:gd name="connsiteY4" fmla="*/ 897 h 1734"/>
                    <a:gd name="connsiteX5" fmla="*/ 1495 w 2990"/>
                    <a:gd name="connsiteY5" fmla="*/ 837 h 1734"/>
                    <a:gd name="connsiteX6" fmla="*/ 0 w 2990"/>
                    <a:gd name="connsiteY6" fmla="*/ 0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 h="1734">
                      <a:moveTo>
                        <a:pt x="2990" y="1734"/>
                      </a:moveTo>
                      <a:lnTo>
                        <a:pt x="2632" y="1495"/>
                      </a:lnTo>
                      <a:lnTo>
                        <a:pt x="2213" y="1256"/>
                      </a:lnTo>
                      <a:lnTo>
                        <a:pt x="2093" y="1196"/>
                      </a:lnTo>
                      <a:lnTo>
                        <a:pt x="1615" y="897"/>
                      </a:lnTo>
                      <a:lnTo>
                        <a:pt x="1495" y="83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36" name="Vrije vorm: vorm 5535">
                  <a:extLst>
                    <a:ext uri="{FF2B5EF4-FFF2-40B4-BE49-F238E27FC236}">
                      <a16:creationId xmlns:a16="http://schemas.microsoft.com/office/drawing/2014/main" id="{0B4BC3F0-4BB3-4507-B57B-C8E0B982B717}"/>
                    </a:ext>
                  </a:extLst>
                </p:cNvPr>
                <p:cNvSpPr/>
                <p:nvPr/>
              </p:nvSpPr>
              <p:spPr>
                <a:xfrm>
                  <a:off x="6461352" y="1621533"/>
                  <a:ext cx="1016" cy="1016"/>
                </a:xfrm>
                <a:custGeom>
                  <a:avLst/>
                  <a:gdLst>
                    <a:gd name="connsiteX0" fmla="*/ 0 w 1016"/>
                    <a:gd name="connsiteY0" fmla="*/ 1017 h 1016"/>
                    <a:gd name="connsiteX1" fmla="*/ 120 w 1016"/>
                    <a:gd name="connsiteY1" fmla="*/ 1017 h 1016"/>
                    <a:gd name="connsiteX2" fmla="*/ 239 w 1016"/>
                    <a:gd name="connsiteY2" fmla="*/ 957 h 1016"/>
                    <a:gd name="connsiteX3" fmla="*/ 419 w 1016"/>
                    <a:gd name="connsiteY3" fmla="*/ 897 h 1016"/>
                    <a:gd name="connsiteX4" fmla="*/ 598 w 1016"/>
                    <a:gd name="connsiteY4" fmla="*/ 778 h 1016"/>
                    <a:gd name="connsiteX5" fmla="*/ 718 w 1016"/>
                    <a:gd name="connsiteY5" fmla="*/ 598 h 1016"/>
                    <a:gd name="connsiteX6" fmla="*/ 718 w 1016"/>
                    <a:gd name="connsiteY6" fmla="*/ 598 h 1016"/>
                    <a:gd name="connsiteX7" fmla="*/ 837 w 1016"/>
                    <a:gd name="connsiteY7" fmla="*/ 419 h 1016"/>
                    <a:gd name="connsiteX8" fmla="*/ 957 w 1016"/>
                    <a:gd name="connsiteY8" fmla="*/ 179 h 1016"/>
                    <a:gd name="connsiteX9" fmla="*/ 1017 w 1016"/>
                    <a:gd name="connsiteY9" fmla="*/ 0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6" h="1016">
                      <a:moveTo>
                        <a:pt x="0" y="1017"/>
                      </a:moveTo>
                      <a:lnTo>
                        <a:pt x="120" y="1017"/>
                      </a:lnTo>
                      <a:lnTo>
                        <a:pt x="239" y="957"/>
                      </a:lnTo>
                      <a:lnTo>
                        <a:pt x="419" y="897"/>
                      </a:lnTo>
                      <a:lnTo>
                        <a:pt x="598" y="778"/>
                      </a:lnTo>
                      <a:lnTo>
                        <a:pt x="718" y="598"/>
                      </a:lnTo>
                      <a:lnTo>
                        <a:pt x="718" y="598"/>
                      </a:lnTo>
                      <a:lnTo>
                        <a:pt x="837" y="419"/>
                      </a:lnTo>
                      <a:lnTo>
                        <a:pt x="957" y="179"/>
                      </a:lnTo>
                      <a:lnTo>
                        <a:pt x="1017" y="0"/>
                      </a:lnTo>
                    </a:path>
                  </a:pathLst>
                </a:custGeom>
                <a:noFill/>
                <a:ln w="6350" cap="rnd">
                  <a:solidFill>
                    <a:schemeClr val="bg1">
                      <a:alpha val="40000"/>
                    </a:schemeClr>
                  </a:solidFill>
                  <a:prstDash val="solid"/>
                  <a:round/>
                </a:ln>
              </p:spPr>
              <p:txBody>
                <a:bodyPr rtlCol="0" anchor="ctr"/>
                <a:lstStyle/>
                <a:p>
                  <a:endParaRPr lang="en-GB"/>
                </a:p>
              </p:txBody>
            </p:sp>
            <p:sp>
              <p:nvSpPr>
                <p:cNvPr id="5537" name="Vrije vorm: vorm 5536">
                  <a:extLst>
                    <a:ext uri="{FF2B5EF4-FFF2-40B4-BE49-F238E27FC236}">
                      <a16:creationId xmlns:a16="http://schemas.microsoft.com/office/drawing/2014/main" id="{B5D36915-D4C7-402D-8FC6-04248A997CCD}"/>
                    </a:ext>
                  </a:extLst>
                </p:cNvPr>
                <p:cNvSpPr/>
                <p:nvPr/>
              </p:nvSpPr>
              <p:spPr>
                <a:xfrm>
                  <a:off x="6460575" y="1620816"/>
                  <a:ext cx="777" cy="1734"/>
                </a:xfrm>
                <a:custGeom>
                  <a:avLst/>
                  <a:gdLst>
                    <a:gd name="connsiteX0" fmla="*/ 777 w 777"/>
                    <a:gd name="connsiteY0" fmla="*/ 1734 h 1734"/>
                    <a:gd name="connsiteX1" fmla="*/ 179 w 777"/>
                    <a:gd name="connsiteY1" fmla="*/ 1376 h 1734"/>
                    <a:gd name="connsiteX2" fmla="*/ 179 w 777"/>
                    <a:gd name="connsiteY2" fmla="*/ 1376 h 1734"/>
                    <a:gd name="connsiteX3" fmla="*/ 60 w 777"/>
                    <a:gd name="connsiteY3" fmla="*/ 1316 h 1734"/>
                    <a:gd name="connsiteX4" fmla="*/ 0 w 777"/>
                    <a:gd name="connsiteY4" fmla="*/ 1196 h 1734"/>
                    <a:gd name="connsiteX5" fmla="*/ 0 w 777"/>
                    <a:gd name="connsiteY5" fmla="*/ 1017 h 1734"/>
                    <a:gd name="connsiteX6" fmla="*/ 0 w 777"/>
                    <a:gd name="connsiteY6" fmla="*/ 837 h 1734"/>
                    <a:gd name="connsiteX7" fmla="*/ 60 w 777"/>
                    <a:gd name="connsiteY7" fmla="*/ 598 h 1734"/>
                    <a:gd name="connsiteX8" fmla="*/ 179 w 777"/>
                    <a:gd name="connsiteY8" fmla="*/ 359 h 1734"/>
                    <a:gd name="connsiteX9" fmla="*/ 299 w 777"/>
                    <a:gd name="connsiteY9" fmla="*/ 179 h 1734"/>
                    <a:gd name="connsiteX10" fmla="*/ 359 w 777"/>
                    <a:gd name="connsiteY10" fmla="*/ 120 h 1734"/>
                    <a:gd name="connsiteX11" fmla="*/ 418 w 777"/>
                    <a:gd name="connsiteY11" fmla="*/ 0 h 1734"/>
                    <a:gd name="connsiteX12" fmla="*/ 418 w 777"/>
                    <a:gd name="connsiteY12" fmla="*/ 0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7" h="1734">
                      <a:moveTo>
                        <a:pt x="777" y="1734"/>
                      </a:moveTo>
                      <a:lnTo>
                        <a:pt x="179" y="1376"/>
                      </a:lnTo>
                      <a:lnTo>
                        <a:pt x="179" y="1376"/>
                      </a:lnTo>
                      <a:lnTo>
                        <a:pt x="60" y="1316"/>
                      </a:lnTo>
                      <a:lnTo>
                        <a:pt x="0" y="1196"/>
                      </a:lnTo>
                      <a:lnTo>
                        <a:pt x="0" y="1017"/>
                      </a:lnTo>
                      <a:lnTo>
                        <a:pt x="0" y="837"/>
                      </a:lnTo>
                      <a:lnTo>
                        <a:pt x="60" y="598"/>
                      </a:lnTo>
                      <a:lnTo>
                        <a:pt x="179" y="359"/>
                      </a:lnTo>
                      <a:lnTo>
                        <a:pt x="299" y="179"/>
                      </a:lnTo>
                      <a:lnTo>
                        <a:pt x="359" y="120"/>
                      </a:lnTo>
                      <a:lnTo>
                        <a:pt x="418" y="0"/>
                      </a:lnTo>
                      <a:lnTo>
                        <a:pt x="418" y="0"/>
                      </a:lnTo>
                    </a:path>
                  </a:pathLst>
                </a:custGeom>
                <a:noFill/>
                <a:ln w="6350" cap="rnd">
                  <a:solidFill>
                    <a:schemeClr val="bg1">
                      <a:alpha val="40000"/>
                    </a:schemeClr>
                  </a:solidFill>
                  <a:prstDash val="solid"/>
                  <a:round/>
                </a:ln>
              </p:spPr>
              <p:txBody>
                <a:bodyPr rtlCol="0" anchor="ctr"/>
                <a:lstStyle/>
                <a:p>
                  <a:endParaRPr lang="en-GB"/>
                </a:p>
              </p:txBody>
            </p:sp>
            <p:sp>
              <p:nvSpPr>
                <p:cNvPr id="5538" name="Vrije vorm: vorm 5537">
                  <a:extLst>
                    <a:ext uri="{FF2B5EF4-FFF2-40B4-BE49-F238E27FC236}">
                      <a16:creationId xmlns:a16="http://schemas.microsoft.com/office/drawing/2014/main" id="{A0A7B574-05CD-4A40-958E-4E6F3C001226}"/>
                    </a:ext>
                  </a:extLst>
                </p:cNvPr>
                <p:cNvSpPr/>
                <p:nvPr/>
              </p:nvSpPr>
              <p:spPr>
                <a:xfrm>
                  <a:off x="6460754" y="1621234"/>
                  <a:ext cx="956" cy="956"/>
                </a:xfrm>
                <a:custGeom>
                  <a:avLst/>
                  <a:gdLst>
                    <a:gd name="connsiteX0" fmla="*/ 0 w 956"/>
                    <a:gd name="connsiteY0" fmla="*/ 957 h 956"/>
                    <a:gd name="connsiteX1" fmla="*/ 0 w 956"/>
                    <a:gd name="connsiteY1" fmla="*/ 957 h 956"/>
                    <a:gd name="connsiteX2" fmla="*/ 120 w 956"/>
                    <a:gd name="connsiteY2" fmla="*/ 957 h 956"/>
                    <a:gd name="connsiteX3" fmla="*/ 239 w 956"/>
                    <a:gd name="connsiteY3" fmla="*/ 897 h 956"/>
                    <a:gd name="connsiteX4" fmla="*/ 419 w 956"/>
                    <a:gd name="connsiteY4" fmla="*/ 837 h 956"/>
                    <a:gd name="connsiteX5" fmla="*/ 419 w 956"/>
                    <a:gd name="connsiteY5" fmla="*/ 837 h 956"/>
                    <a:gd name="connsiteX6" fmla="*/ 538 w 956"/>
                    <a:gd name="connsiteY6" fmla="*/ 718 h 956"/>
                    <a:gd name="connsiteX7" fmla="*/ 658 w 956"/>
                    <a:gd name="connsiteY7" fmla="*/ 538 h 956"/>
                    <a:gd name="connsiteX8" fmla="*/ 778 w 956"/>
                    <a:gd name="connsiteY8" fmla="*/ 359 h 956"/>
                    <a:gd name="connsiteX9" fmla="*/ 837 w 956"/>
                    <a:gd name="connsiteY9" fmla="*/ 299 h 956"/>
                    <a:gd name="connsiteX10" fmla="*/ 837 w 956"/>
                    <a:gd name="connsiteY10" fmla="*/ 299 h 956"/>
                    <a:gd name="connsiteX11" fmla="*/ 897 w 956"/>
                    <a:gd name="connsiteY11" fmla="*/ 180 h 956"/>
                    <a:gd name="connsiteX12" fmla="*/ 957 w 956"/>
                    <a:gd name="connsiteY12" fmla="*/ 0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6" h="956">
                      <a:moveTo>
                        <a:pt x="0" y="957"/>
                      </a:moveTo>
                      <a:lnTo>
                        <a:pt x="0" y="957"/>
                      </a:lnTo>
                      <a:lnTo>
                        <a:pt x="120" y="957"/>
                      </a:lnTo>
                      <a:lnTo>
                        <a:pt x="239" y="897"/>
                      </a:lnTo>
                      <a:lnTo>
                        <a:pt x="419" y="837"/>
                      </a:lnTo>
                      <a:lnTo>
                        <a:pt x="419" y="837"/>
                      </a:lnTo>
                      <a:lnTo>
                        <a:pt x="538" y="718"/>
                      </a:lnTo>
                      <a:lnTo>
                        <a:pt x="658" y="538"/>
                      </a:lnTo>
                      <a:lnTo>
                        <a:pt x="778" y="359"/>
                      </a:lnTo>
                      <a:lnTo>
                        <a:pt x="837" y="299"/>
                      </a:lnTo>
                      <a:lnTo>
                        <a:pt x="837" y="299"/>
                      </a:lnTo>
                      <a:lnTo>
                        <a:pt x="897" y="180"/>
                      </a:lnTo>
                      <a:lnTo>
                        <a:pt x="957" y="0"/>
                      </a:lnTo>
                    </a:path>
                  </a:pathLst>
                </a:custGeom>
                <a:noFill/>
                <a:ln w="6350" cap="rnd">
                  <a:solidFill>
                    <a:schemeClr val="bg1">
                      <a:alpha val="40000"/>
                    </a:schemeClr>
                  </a:solidFill>
                  <a:prstDash val="solid"/>
                  <a:round/>
                </a:ln>
              </p:spPr>
              <p:txBody>
                <a:bodyPr rtlCol="0" anchor="ctr"/>
                <a:lstStyle/>
                <a:p>
                  <a:endParaRPr lang="en-GB"/>
                </a:p>
              </p:txBody>
            </p:sp>
            <p:sp>
              <p:nvSpPr>
                <p:cNvPr id="5539" name="Vrije vorm: vorm 5538">
                  <a:extLst>
                    <a:ext uri="{FF2B5EF4-FFF2-40B4-BE49-F238E27FC236}">
                      <a16:creationId xmlns:a16="http://schemas.microsoft.com/office/drawing/2014/main" id="{D29B1FF8-087A-44BB-9DDE-B0643A8F656B}"/>
                    </a:ext>
                  </a:extLst>
                </p:cNvPr>
                <p:cNvSpPr/>
                <p:nvPr/>
              </p:nvSpPr>
              <p:spPr>
                <a:xfrm>
                  <a:off x="6462668" y="1620517"/>
                  <a:ext cx="239" cy="1255"/>
                </a:xfrm>
                <a:custGeom>
                  <a:avLst/>
                  <a:gdLst>
                    <a:gd name="connsiteX0" fmla="*/ 0 w 239"/>
                    <a:gd name="connsiteY0" fmla="*/ 0 h 1255"/>
                    <a:gd name="connsiteX1" fmla="*/ 239 w 239"/>
                    <a:gd name="connsiteY1" fmla="*/ 1017 h 1255"/>
                    <a:gd name="connsiteX2" fmla="*/ 0 w 239"/>
                    <a:gd name="connsiteY2" fmla="*/ 1256 h 1255"/>
                  </a:gdLst>
                  <a:ahLst/>
                  <a:cxnLst>
                    <a:cxn ang="0">
                      <a:pos x="connsiteX0" y="connsiteY0"/>
                    </a:cxn>
                    <a:cxn ang="0">
                      <a:pos x="connsiteX1" y="connsiteY1"/>
                    </a:cxn>
                    <a:cxn ang="0">
                      <a:pos x="connsiteX2" y="connsiteY2"/>
                    </a:cxn>
                  </a:cxnLst>
                  <a:rect l="l" t="t" r="r" b="b"/>
                  <a:pathLst>
                    <a:path w="239" h="1255">
                      <a:moveTo>
                        <a:pt x="0" y="0"/>
                      </a:moveTo>
                      <a:lnTo>
                        <a:pt x="239" y="1017"/>
                      </a:lnTo>
                      <a:lnTo>
                        <a:pt x="0" y="1256"/>
                      </a:lnTo>
                    </a:path>
                  </a:pathLst>
                </a:custGeom>
                <a:noFill/>
                <a:ln w="6350" cap="rnd">
                  <a:solidFill>
                    <a:schemeClr val="bg1">
                      <a:alpha val="40000"/>
                    </a:schemeClr>
                  </a:solidFill>
                  <a:prstDash val="solid"/>
                  <a:round/>
                </a:ln>
              </p:spPr>
              <p:txBody>
                <a:bodyPr rtlCol="0" anchor="ctr"/>
                <a:lstStyle/>
                <a:p>
                  <a:endParaRPr lang="en-GB"/>
                </a:p>
              </p:txBody>
            </p:sp>
            <p:sp>
              <p:nvSpPr>
                <p:cNvPr id="5540" name="Vrije vorm: vorm 5539">
                  <a:extLst>
                    <a:ext uri="{FF2B5EF4-FFF2-40B4-BE49-F238E27FC236}">
                      <a16:creationId xmlns:a16="http://schemas.microsoft.com/office/drawing/2014/main" id="{12B3CEDC-B79B-4B20-BAEF-24D40752107E}"/>
                    </a:ext>
                  </a:extLst>
                </p:cNvPr>
                <p:cNvSpPr/>
                <p:nvPr/>
              </p:nvSpPr>
              <p:spPr>
                <a:xfrm>
                  <a:off x="6465599" y="1617646"/>
                  <a:ext cx="239" cy="1136"/>
                </a:xfrm>
                <a:custGeom>
                  <a:avLst/>
                  <a:gdLst>
                    <a:gd name="connsiteX0" fmla="*/ 0 w 239"/>
                    <a:gd name="connsiteY0" fmla="*/ 0 h 1136"/>
                    <a:gd name="connsiteX1" fmla="*/ 239 w 239"/>
                    <a:gd name="connsiteY1" fmla="*/ 897 h 1136"/>
                    <a:gd name="connsiteX2" fmla="*/ 0 w 239"/>
                    <a:gd name="connsiteY2" fmla="*/ 1136 h 1136"/>
                  </a:gdLst>
                  <a:ahLst/>
                  <a:cxnLst>
                    <a:cxn ang="0">
                      <a:pos x="connsiteX0" y="connsiteY0"/>
                    </a:cxn>
                    <a:cxn ang="0">
                      <a:pos x="connsiteX1" y="connsiteY1"/>
                    </a:cxn>
                    <a:cxn ang="0">
                      <a:pos x="connsiteX2" y="connsiteY2"/>
                    </a:cxn>
                  </a:cxnLst>
                  <a:rect l="l" t="t" r="r" b="b"/>
                  <a:pathLst>
                    <a:path w="239" h="1136">
                      <a:moveTo>
                        <a:pt x="0" y="0"/>
                      </a:moveTo>
                      <a:lnTo>
                        <a:pt x="239" y="897"/>
                      </a:lnTo>
                      <a:lnTo>
                        <a:pt x="0" y="1136"/>
                      </a:lnTo>
                    </a:path>
                  </a:pathLst>
                </a:custGeom>
                <a:noFill/>
                <a:ln w="6350" cap="rnd">
                  <a:solidFill>
                    <a:schemeClr val="bg1">
                      <a:alpha val="40000"/>
                    </a:schemeClr>
                  </a:solidFill>
                  <a:prstDash val="solid"/>
                  <a:round/>
                </a:ln>
              </p:spPr>
              <p:txBody>
                <a:bodyPr rtlCol="0" anchor="ctr"/>
                <a:lstStyle/>
                <a:p>
                  <a:endParaRPr lang="en-GB"/>
                </a:p>
              </p:txBody>
            </p:sp>
            <p:sp>
              <p:nvSpPr>
                <p:cNvPr id="5541" name="Vrije vorm: vorm 5540">
                  <a:extLst>
                    <a:ext uri="{FF2B5EF4-FFF2-40B4-BE49-F238E27FC236}">
                      <a16:creationId xmlns:a16="http://schemas.microsoft.com/office/drawing/2014/main" id="{8085457F-823B-4C8D-8671-960755A74B07}"/>
                    </a:ext>
                  </a:extLst>
                </p:cNvPr>
                <p:cNvSpPr/>
                <p:nvPr/>
              </p:nvSpPr>
              <p:spPr>
                <a:xfrm>
                  <a:off x="6466256" y="1615911"/>
                  <a:ext cx="598" cy="358"/>
                </a:xfrm>
                <a:custGeom>
                  <a:avLst/>
                  <a:gdLst>
                    <a:gd name="connsiteX0" fmla="*/ 0 w 598"/>
                    <a:gd name="connsiteY0" fmla="*/ 0 h 358"/>
                    <a:gd name="connsiteX1" fmla="*/ 598 w 598"/>
                    <a:gd name="connsiteY1" fmla="*/ 359 h 358"/>
                    <a:gd name="connsiteX2" fmla="*/ 598 w 598"/>
                    <a:gd name="connsiteY2" fmla="*/ 359 h 358"/>
                  </a:gdLst>
                  <a:ahLst/>
                  <a:cxnLst>
                    <a:cxn ang="0">
                      <a:pos x="connsiteX0" y="connsiteY0"/>
                    </a:cxn>
                    <a:cxn ang="0">
                      <a:pos x="connsiteX1" y="connsiteY1"/>
                    </a:cxn>
                    <a:cxn ang="0">
                      <a:pos x="connsiteX2" y="connsiteY2"/>
                    </a:cxn>
                  </a:cxnLst>
                  <a:rect l="l" t="t" r="r" b="b"/>
                  <a:pathLst>
                    <a:path w="598" h="358">
                      <a:moveTo>
                        <a:pt x="0" y="0"/>
                      </a:moveTo>
                      <a:lnTo>
                        <a:pt x="598" y="359"/>
                      </a:lnTo>
                      <a:lnTo>
                        <a:pt x="598" y="359"/>
                      </a:lnTo>
                    </a:path>
                  </a:pathLst>
                </a:custGeom>
                <a:noFill/>
                <a:ln w="6350" cap="rnd">
                  <a:solidFill>
                    <a:schemeClr val="bg1">
                      <a:alpha val="40000"/>
                    </a:schemeClr>
                  </a:solidFill>
                  <a:prstDash val="solid"/>
                  <a:round/>
                </a:ln>
              </p:spPr>
              <p:txBody>
                <a:bodyPr rtlCol="0" anchor="ctr"/>
                <a:lstStyle/>
                <a:p>
                  <a:endParaRPr lang="en-GB"/>
                </a:p>
              </p:txBody>
            </p:sp>
            <p:sp>
              <p:nvSpPr>
                <p:cNvPr id="5542" name="Vrije vorm: vorm 5541">
                  <a:extLst>
                    <a:ext uri="{FF2B5EF4-FFF2-40B4-BE49-F238E27FC236}">
                      <a16:creationId xmlns:a16="http://schemas.microsoft.com/office/drawing/2014/main" id="{D56ADBCC-8C6C-4A4D-BEE3-3170A7EF7C36}"/>
                    </a:ext>
                  </a:extLst>
                </p:cNvPr>
                <p:cNvSpPr/>
                <p:nvPr/>
              </p:nvSpPr>
              <p:spPr>
                <a:xfrm>
                  <a:off x="6482464" y="1742763"/>
                  <a:ext cx="59" cy="299"/>
                </a:xfrm>
                <a:custGeom>
                  <a:avLst/>
                  <a:gdLst>
                    <a:gd name="connsiteX0" fmla="*/ 0 w 59"/>
                    <a:gd name="connsiteY0" fmla="*/ 0 h 299"/>
                    <a:gd name="connsiteX1" fmla="*/ 60 w 59"/>
                    <a:gd name="connsiteY1" fmla="*/ 299 h 299"/>
                  </a:gdLst>
                  <a:ahLst/>
                  <a:cxnLst>
                    <a:cxn ang="0">
                      <a:pos x="connsiteX0" y="connsiteY0"/>
                    </a:cxn>
                    <a:cxn ang="0">
                      <a:pos x="connsiteX1" y="connsiteY1"/>
                    </a:cxn>
                  </a:cxnLst>
                  <a:rect l="l" t="t" r="r" b="b"/>
                  <a:pathLst>
                    <a:path w="59" h="299">
                      <a:moveTo>
                        <a:pt x="0" y="0"/>
                      </a:moveTo>
                      <a:lnTo>
                        <a:pt x="60" y="299"/>
                      </a:lnTo>
                    </a:path>
                  </a:pathLst>
                </a:custGeom>
                <a:noFill/>
                <a:ln w="6350" cap="rnd">
                  <a:solidFill>
                    <a:schemeClr val="bg1">
                      <a:alpha val="40000"/>
                    </a:schemeClr>
                  </a:solidFill>
                  <a:prstDash val="solid"/>
                  <a:round/>
                </a:ln>
              </p:spPr>
              <p:txBody>
                <a:bodyPr rtlCol="0" anchor="ctr"/>
                <a:lstStyle/>
                <a:p>
                  <a:endParaRPr lang="en-GB"/>
                </a:p>
              </p:txBody>
            </p:sp>
            <p:sp>
              <p:nvSpPr>
                <p:cNvPr id="5543" name="Vrije vorm: vorm 5542">
                  <a:extLst>
                    <a:ext uri="{FF2B5EF4-FFF2-40B4-BE49-F238E27FC236}">
                      <a16:creationId xmlns:a16="http://schemas.microsoft.com/office/drawing/2014/main" id="{E5073D8A-FC2A-47A5-9C21-76029D74F2CA}"/>
                    </a:ext>
                  </a:extLst>
                </p:cNvPr>
                <p:cNvSpPr/>
                <p:nvPr/>
              </p:nvSpPr>
              <p:spPr>
                <a:xfrm>
                  <a:off x="6463685" y="1720933"/>
                  <a:ext cx="1136" cy="3289"/>
                </a:xfrm>
                <a:custGeom>
                  <a:avLst/>
                  <a:gdLst>
                    <a:gd name="connsiteX0" fmla="*/ 1136 w 1136"/>
                    <a:gd name="connsiteY0" fmla="*/ 0 h 3289"/>
                    <a:gd name="connsiteX1" fmla="*/ 60 w 1136"/>
                    <a:gd name="connsiteY1" fmla="*/ 3050 h 3289"/>
                    <a:gd name="connsiteX2" fmla="*/ 0 w 1136"/>
                    <a:gd name="connsiteY2" fmla="*/ 3289 h 3289"/>
                  </a:gdLst>
                  <a:ahLst/>
                  <a:cxnLst>
                    <a:cxn ang="0">
                      <a:pos x="connsiteX0" y="connsiteY0"/>
                    </a:cxn>
                    <a:cxn ang="0">
                      <a:pos x="connsiteX1" y="connsiteY1"/>
                    </a:cxn>
                    <a:cxn ang="0">
                      <a:pos x="connsiteX2" y="connsiteY2"/>
                    </a:cxn>
                  </a:cxnLst>
                  <a:rect l="l" t="t" r="r" b="b"/>
                  <a:pathLst>
                    <a:path w="1136" h="3289">
                      <a:moveTo>
                        <a:pt x="1136" y="0"/>
                      </a:moveTo>
                      <a:lnTo>
                        <a:pt x="60" y="3050"/>
                      </a:lnTo>
                      <a:lnTo>
                        <a:pt x="0" y="3289"/>
                      </a:lnTo>
                    </a:path>
                  </a:pathLst>
                </a:custGeom>
                <a:noFill/>
                <a:ln w="6350" cap="rnd">
                  <a:solidFill>
                    <a:schemeClr val="bg1">
                      <a:alpha val="40000"/>
                    </a:schemeClr>
                  </a:solidFill>
                  <a:prstDash val="solid"/>
                  <a:round/>
                </a:ln>
              </p:spPr>
              <p:txBody>
                <a:bodyPr rtlCol="0" anchor="ctr"/>
                <a:lstStyle/>
                <a:p>
                  <a:endParaRPr lang="en-GB"/>
                </a:p>
              </p:txBody>
            </p:sp>
            <p:sp>
              <p:nvSpPr>
                <p:cNvPr id="5544" name="Vrije vorm: vorm 5543">
                  <a:extLst>
                    <a:ext uri="{FF2B5EF4-FFF2-40B4-BE49-F238E27FC236}">
                      <a16:creationId xmlns:a16="http://schemas.microsoft.com/office/drawing/2014/main" id="{DB2C1659-6ECB-4278-88FE-AA1C7C4113FF}"/>
                    </a:ext>
                  </a:extLst>
                </p:cNvPr>
                <p:cNvSpPr/>
                <p:nvPr/>
              </p:nvSpPr>
              <p:spPr>
                <a:xfrm>
                  <a:off x="6467213" y="1705562"/>
                  <a:ext cx="25717" cy="35405"/>
                </a:xfrm>
                <a:custGeom>
                  <a:avLst/>
                  <a:gdLst>
                    <a:gd name="connsiteX0" fmla="*/ 2871 w 25717"/>
                    <a:gd name="connsiteY0" fmla="*/ 34090 h 35405"/>
                    <a:gd name="connsiteX1" fmla="*/ 1076 w 25717"/>
                    <a:gd name="connsiteY1" fmla="*/ 31937 h 35405"/>
                    <a:gd name="connsiteX2" fmla="*/ 179 w 25717"/>
                    <a:gd name="connsiteY2" fmla="*/ 29007 h 35405"/>
                    <a:gd name="connsiteX3" fmla="*/ 119 w 25717"/>
                    <a:gd name="connsiteY3" fmla="*/ 28827 h 35405"/>
                    <a:gd name="connsiteX4" fmla="*/ 119 w 25717"/>
                    <a:gd name="connsiteY4" fmla="*/ 28767 h 35405"/>
                    <a:gd name="connsiteX5" fmla="*/ 60 w 25717"/>
                    <a:gd name="connsiteY5" fmla="*/ 27212 h 35405"/>
                    <a:gd name="connsiteX6" fmla="*/ 60 w 25717"/>
                    <a:gd name="connsiteY6" fmla="*/ 26913 h 35405"/>
                    <a:gd name="connsiteX7" fmla="*/ 0 w 25717"/>
                    <a:gd name="connsiteY7" fmla="*/ 24999 h 35405"/>
                    <a:gd name="connsiteX8" fmla="*/ 538 w 25717"/>
                    <a:gd name="connsiteY8" fmla="*/ 21830 h 35405"/>
                    <a:gd name="connsiteX9" fmla="*/ 658 w 25717"/>
                    <a:gd name="connsiteY9" fmla="*/ 21052 h 35405"/>
                    <a:gd name="connsiteX10" fmla="*/ 718 w 25717"/>
                    <a:gd name="connsiteY10" fmla="*/ 20693 h 35405"/>
                    <a:gd name="connsiteX11" fmla="*/ 957 w 25717"/>
                    <a:gd name="connsiteY11" fmla="*/ 19976 h 35405"/>
                    <a:gd name="connsiteX12" fmla="*/ 1316 w 25717"/>
                    <a:gd name="connsiteY12" fmla="*/ 18959 h 35405"/>
                    <a:gd name="connsiteX13" fmla="*/ 1674 w 25717"/>
                    <a:gd name="connsiteY13" fmla="*/ 17823 h 35405"/>
                    <a:gd name="connsiteX14" fmla="*/ 2213 w 25717"/>
                    <a:gd name="connsiteY14" fmla="*/ 16208 h 35405"/>
                    <a:gd name="connsiteX15" fmla="*/ 3050 w 25717"/>
                    <a:gd name="connsiteY15" fmla="*/ 14533 h 35405"/>
                    <a:gd name="connsiteX16" fmla="*/ 4426 w 25717"/>
                    <a:gd name="connsiteY16" fmla="*/ 11782 h 35405"/>
                    <a:gd name="connsiteX17" fmla="*/ 6280 w 25717"/>
                    <a:gd name="connsiteY17" fmla="*/ 9091 h 35405"/>
                    <a:gd name="connsiteX18" fmla="*/ 7117 w 25717"/>
                    <a:gd name="connsiteY18" fmla="*/ 7895 h 35405"/>
                    <a:gd name="connsiteX19" fmla="*/ 7236 w 25717"/>
                    <a:gd name="connsiteY19" fmla="*/ 7775 h 35405"/>
                    <a:gd name="connsiteX20" fmla="*/ 8552 w 25717"/>
                    <a:gd name="connsiteY20" fmla="*/ 6340 h 35405"/>
                    <a:gd name="connsiteX21" fmla="*/ 8552 w 25717"/>
                    <a:gd name="connsiteY21" fmla="*/ 6340 h 35405"/>
                    <a:gd name="connsiteX22" fmla="*/ 8911 w 25717"/>
                    <a:gd name="connsiteY22" fmla="*/ 5921 h 35405"/>
                    <a:gd name="connsiteX23" fmla="*/ 9988 w 25717"/>
                    <a:gd name="connsiteY23" fmla="*/ 4725 h 35405"/>
                    <a:gd name="connsiteX24" fmla="*/ 10347 w 25717"/>
                    <a:gd name="connsiteY24" fmla="*/ 4366 h 35405"/>
                    <a:gd name="connsiteX25" fmla="*/ 12918 w 25717"/>
                    <a:gd name="connsiteY25" fmla="*/ 2392 h 35405"/>
                    <a:gd name="connsiteX26" fmla="*/ 13576 w 25717"/>
                    <a:gd name="connsiteY26" fmla="*/ 1914 h 35405"/>
                    <a:gd name="connsiteX27" fmla="*/ 13696 w 25717"/>
                    <a:gd name="connsiteY27" fmla="*/ 1854 h 35405"/>
                    <a:gd name="connsiteX28" fmla="*/ 16267 w 25717"/>
                    <a:gd name="connsiteY28" fmla="*/ 658 h 35405"/>
                    <a:gd name="connsiteX29" fmla="*/ 16925 w 25717"/>
                    <a:gd name="connsiteY29" fmla="*/ 359 h 35405"/>
                    <a:gd name="connsiteX30" fmla="*/ 17822 w 25717"/>
                    <a:gd name="connsiteY30" fmla="*/ 239 h 35405"/>
                    <a:gd name="connsiteX31" fmla="*/ 18959 w 25717"/>
                    <a:gd name="connsiteY31" fmla="*/ 120 h 35405"/>
                    <a:gd name="connsiteX32" fmla="*/ 19916 w 25717"/>
                    <a:gd name="connsiteY32" fmla="*/ 0 h 35405"/>
                    <a:gd name="connsiteX33" fmla="*/ 21471 w 25717"/>
                    <a:gd name="connsiteY33" fmla="*/ 538 h 35405"/>
                    <a:gd name="connsiteX34" fmla="*/ 22488 w 25717"/>
                    <a:gd name="connsiteY34" fmla="*/ 897 h 35405"/>
                    <a:gd name="connsiteX35" fmla="*/ 23205 w 25717"/>
                    <a:gd name="connsiteY35" fmla="*/ 1675 h 35405"/>
                    <a:gd name="connsiteX36" fmla="*/ 23803 w 25717"/>
                    <a:gd name="connsiteY36" fmla="*/ 2273 h 35405"/>
                    <a:gd name="connsiteX37" fmla="*/ 24401 w 25717"/>
                    <a:gd name="connsiteY37" fmla="*/ 2931 h 35405"/>
                    <a:gd name="connsiteX38" fmla="*/ 24820 w 25717"/>
                    <a:gd name="connsiteY38" fmla="*/ 4127 h 35405"/>
                    <a:gd name="connsiteX39" fmla="*/ 25478 w 25717"/>
                    <a:gd name="connsiteY39" fmla="*/ 5981 h 35405"/>
                    <a:gd name="connsiteX40" fmla="*/ 25537 w 25717"/>
                    <a:gd name="connsiteY40" fmla="*/ 6639 h 35405"/>
                    <a:gd name="connsiteX41" fmla="*/ 25717 w 25717"/>
                    <a:gd name="connsiteY41" fmla="*/ 9808 h 35405"/>
                    <a:gd name="connsiteX42" fmla="*/ 25717 w 25717"/>
                    <a:gd name="connsiteY42" fmla="*/ 9868 h 35405"/>
                    <a:gd name="connsiteX43" fmla="*/ 25657 w 25717"/>
                    <a:gd name="connsiteY43" fmla="*/ 10406 h 35405"/>
                    <a:gd name="connsiteX44" fmla="*/ 25537 w 25717"/>
                    <a:gd name="connsiteY44" fmla="*/ 11304 h 35405"/>
                    <a:gd name="connsiteX45" fmla="*/ 25059 w 25717"/>
                    <a:gd name="connsiteY45" fmla="*/ 14354 h 35405"/>
                    <a:gd name="connsiteX46" fmla="*/ 24282 w 25717"/>
                    <a:gd name="connsiteY46" fmla="*/ 16806 h 35405"/>
                    <a:gd name="connsiteX47" fmla="*/ 23564 w 25717"/>
                    <a:gd name="connsiteY47" fmla="*/ 19079 h 35405"/>
                    <a:gd name="connsiteX48" fmla="*/ 22129 w 25717"/>
                    <a:gd name="connsiteY48" fmla="*/ 22009 h 35405"/>
                    <a:gd name="connsiteX49" fmla="*/ 21291 w 25717"/>
                    <a:gd name="connsiteY49" fmla="*/ 23743 h 35405"/>
                    <a:gd name="connsiteX50" fmla="*/ 19437 w 25717"/>
                    <a:gd name="connsiteY50" fmla="*/ 26375 h 35405"/>
                    <a:gd name="connsiteX51" fmla="*/ 19198 w 25717"/>
                    <a:gd name="connsiteY51" fmla="*/ 26734 h 35405"/>
                    <a:gd name="connsiteX52" fmla="*/ 18361 w 25717"/>
                    <a:gd name="connsiteY52" fmla="*/ 27930 h 35405"/>
                    <a:gd name="connsiteX53" fmla="*/ 18121 w 25717"/>
                    <a:gd name="connsiteY53" fmla="*/ 28169 h 35405"/>
                    <a:gd name="connsiteX54" fmla="*/ 17942 w 25717"/>
                    <a:gd name="connsiteY54" fmla="*/ 28349 h 35405"/>
                    <a:gd name="connsiteX55" fmla="*/ 16327 w 25717"/>
                    <a:gd name="connsiteY55" fmla="*/ 30023 h 35405"/>
                    <a:gd name="connsiteX56" fmla="*/ 16088 w 25717"/>
                    <a:gd name="connsiteY56" fmla="*/ 30262 h 35405"/>
                    <a:gd name="connsiteX57" fmla="*/ 15191 w 25717"/>
                    <a:gd name="connsiteY57" fmla="*/ 31219 h 35405"/>
                    <a:gd name="connsiteX58" fmla="*/ 15012 w 25717"/>
                    <a:gd name="connsiteY58" fmla="*/ 31399 h 35405"/>
                    <a:gd name="connsiteX59" fmla="*/ 14413 w 25717"/>
                    <a:gd name="connsiteY59" fmla="*/ 31817 h 35405"/>
                    <a:gd name="connsiteX60" fmla="*/ 14354 w 25717"/>
                    <a:gd name="connsiteY60" fmla="*/ 31877 h 35405"/>
                    <a:gd name="connsiteX61" fmla="*/ 12021 w 25717"/>
                    <a:gd name="connsiteY61" fmla="*/ 33552 h 35405"/>
                    <a:gd name="connsiteX62" fmla="*/ 11543 w 25717"/>
                    <a:gd name="connsiteY62" fmla="*/ 33911 h 35405"/>
                    <a:gd name="connsiteX63" fmla="*/ 11064 w 25717"/>
                    <a:gd name="connsiteY63" fmla="*/ 34090 h 35405"/>
                    <a:gd name="connsiteX64" fmla="*/ 8373 w 25717"/>
                    <a:gd name="connsiteY64" fmla="*/ 35226 h 35405"/>
                    <a:gd name="connsiteX65" fmla="*/ 8194 w 25717"/>
                    <a:gd name="connsiteY65" fmla="*/ 35286 h 35405"/>
                    <a:gd name="connsiteX66" fmla="*/ 7895 w 25717"/>
                    <a:gd name="connsiteY66" fmla="*/ 35286 h 35405"/>
                    <a:gd name="connsiteX67" fmla="*/ 7895 w 25717"/>
                    <a:gd name="connsiteY67" fmla="*/ 35286 h 35405"/>
                    <a:gd name="connsiteX68" fmla="*/ 6220 w 25717"/>
                    <a:gd name="connsiteY68" fmla="*/ 35346 h 35405"/>
                    <a:gd name="connsiteX69" fmla="*/ 5981 w 25717"/>
                    <a:gd name="connsiteY69" fmla="*/ 35346 h 35405"/>
                    <a:gd name="connsiteX70" fmla="*/ 5203 w 25717"/>
                    <a:gd name="connsiteY70" fmla="*/ 35406 h 35405"/>
                    <a:gd name="connsiteX71" fmla="*/ 4964 w 25717"/>
                    <a:gd name="connsiteY71" fmla="*/ 35286 h 35405"/>
                    <a:gd name="connsiteX72" fmla="*/ 3588 w 25717"/>
                    <a:gd name="connsiteY72" fmla="*/ 34688 h 35405"/>
                    <a:gd name="connsiteX73" fmla="*/ 2871 w 25717"/>
                    <a:gd name="connsiteY73" fmla="*/ 34090 h 3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5717" h="35405">
                      <a:moveTo>
                        <a:pt x="2871" y="34090"/>
                      </a:moveTo>
                      <a:lnTo>
                        <a:pt x="1076" y="31937"/>
                      </a:lnTo>
                      <a:lnTo>
                        <a:pt x="179" y="29007"/>
                      </a:lnTo>
                      <a:lnTo>
                        <a:pt x="119" y="28827"/>
                      </a:lnTo>
                      <a:lnTo>
                        <a:pt x="119" y="28767"/>
                      </a:lnTo>
                      <a:lnTo>
                        <a:pt x="60" y="27212"/>
                      </a:lnTo>
                      <a:lnTo>
                        <a:pt x="60" y="26913"/>
                      </a:lnTo>
                      <a:lnTo>
                        <a:pt x="0" y="24999"/>
                      </a:lnTo>
                      <a:lnTo>
                        <a:pt x="538" y="21830"/>
                      </a:lnTo>
                      <a:lnTo>
                        <a:pt x="658" y="21052"/>
                      </a:lnTo>
                      <a:lnTo>
                        <a:pt x="718" y="20693"/>
                      </a:lnTo>
                      <a:lnTo>
                        <a:pt x="957" y="19976"/>
                      </a:lnTo>
                      <a:lnTo>
                        <a:pt x="1316" y="18959"/>
                      </a:lnTo>
                      <a:lnTo>
                        <a:pt x="1674" y="17823"/>
                      </a:lnTo>
                      <a:lnTo>
                        <a:pt x="2213" y="16208"/>
                      </a:lnTo>
                      <a:lnTo>
                        <a:pt x="3050" y="14533"/>
                      </a:lnTo>
                      <a:lnTo>
                        <a:pt x="4426" y="11782"/>
                      </a:lnTo>
                      <a:lnTo>
                        <a:pt x="6280" y="9091"/>
                      </a:lnTo>
                      <a:lnTo>
                        <a:pt x="7117" y="7895"/>
                      </a:lnTo>
                      <a:lnTo>
                        <a:pt x="7236" y="7775"/>
                      </a:lnTo>
                      <a:lnTo>
                        <a:pt x="8552" y="6340"/>
                      </a:lnTo>
                      <a:lnTo>
                        <a:pt x="8552" y="6340"/>
                      </a:lnTo>
                      <a:lnTo>
                        <a:pt x="8911" y="5921"/>
                      </a:lnTo>
                      <a:lnTo>
                        <a:pt x="9988" y="4725"/>
                      </a:lnTo>
                      <a:lnTo>
                        <a:pt x="10347" y="4366"/>
                      </a:lnTo>
                      <a:lnTo>
                        <a:pt x="12918" y="2392"/>
                      </a:lnTo>
                      <a:lnTo>
                        <a:pt x="13576" y="1914"/>
                      </a:lnTo>
                      <a:lnTo>
                        <a:pt x="13696" y="1854"/>
                      </a:lnTo>
                      <a:lnTo>
                        <a:pt x="16267" y="658"/>
                      </a:lnTo>
                      <a:lnTo>
                        <a:pt x="16925" y="359"/>
                      </a:lnTo>
                      <a:lnTo>
                        <a:pt x="17822" y="239"/>
                      </a:lnTo>
                      <a:lnTo>
                        <a:pt x="18959" y="120"/>
                      </a:lnTo>
                      <a:lnTo>
                        <a:pt x="19916" y="0"/>
                      </a:lnTo>
                      <a:lnTo>
                        <a:pt x="21471" y="538"/>
                      </a:lnTo>
                      <a:lnTo>
                        <a:pt x="22488" y="897"/>
                      </a:lnTo>
                      <a:lnTo>
                        <a:pt x="23205" y="1675"/>
                      </a:lnTo>
                      <a:lnTo>
                        <a:pt x="23803" y="2273"/>
                      </a:lnTo>
                      <a:lnTo>
                        <a:pt x="24401" y="2931"/>
                      </a:lnTo>
                      <a:lnTo>
                        <a:pt x="24820" y="4127"/>
                      </a:lnTo>
                      <a:lnTo>
                        <a:pt x="25478" y="5981"/>
                      </a:lnTo>
                      <a:lnTo>
                        <a:pt x="25537" y="6639"/>
                      </a:lnTo>
                      <a:lnTo>
                        <a:pt x="25717" y="9808"/>
                      </a:lnTo>
                      <a:lnTo>
                        <a:pt x="25717" y="9868"/>
                      </a:lnTo>
                      <a:lnTo>
                        <a:pt x="25657" y="10406"/>
                      </a:lnTo>
                      <a:lnTo>
                        <a:pt x="25537" y="11304"/>
                      </a:lnTo>
                      <a:lnTo>
                        <a:pt x="25059" y="14354"/>
                      </a:lnTo>
                      <a:lnTo>
                        <a:pt x="24282" y="16806"/>
                      </a:lnTo>
                      <a:lnTo>
                        <a:pt x="23564" y="19079"/>
                      </a:lnTo>
                      <a:lnTo>
                        <a:pt x="22129" y="22009"/>
                      </a:lnTo>
                      <a:lnTo>
                        <a:pt x="21291" y="23743"/>
                      </a:lnTo>
                      <a:lnTo>
                        <a:pt x="19437" y="26375"/>
                      </a:lnTo>
                      <a:lnTo>
                        <a:pt x="19198" y="26734"/>
                      </a:lnTo>
                      <a:lnTo>
                        <a:pt x="18361" y="27930"/>
                      </a:lnTo>
                      <a:lnTo>
                        <a:pt x="18121" y="28169"/>
                      </a:lnTo>
                      <a:lnTo>
                        <a:pt x="17942" y="28349"/>
                      </a:lnTo>
                      <a:lnTo>
                        <a:pt x="16327" y="30023"/>
                      </a:lnTo>
                      <a:lnTo>
                        <a:pt x="16088" y="30262"/>
                      </a:lnTo>
                      <a:lnTo>
                        <a:pt x="15191" y="31219"/>
                      </a:lnTo>
                      <a:lnTo>
                        <a:pt x="15012" y="31399"/>
                      </a:lnTo>
                      <a:lnTo>
                        <a:pt x="14413" y="31817"/>
                      </a:lnTo>
                      <a:lnTo>
                        <a:pt x="14354" y="31877"/>
                      </a:lnTo>
                      <a:lnTo>
                        <a:pt x="12021" y="33552"/>
                      </a:lnTo>
                      <a:lnTo>
                        <a:pt x="11543" y="33911"/>
                      </a:lnTo>
                      <a:lnTo>
                        <a:pt x="11064" y="34090"/>
                      </a:lnTo>
                      <a:lnTo>
                        <a:pt x="8373" y="35226"/>
                      </a:lnTo>
                      <a:lnTo>
                        <a:pt x="8194" y="35286"/>
                      </a:lnTo>
                      <a:lnTo>
                        <a:pt x="7895" y="35286"/>
                      </a:lnTo>
                      <a:lnTo>
                        <a:pt x="7895" y="35286"/>
                      </a:lnTo>
                      <a:lnTo>
                        <a:pt x="6220" y="35346"/>
                      </a:lnTo>
                      <a:lnTo>
                        <a:pt x="5981" y="35346"/>
                      </a:lnTo>
                      <a:lnTo>
                        <a:pt x="5203" y="35406"/>
                      </a:lnTo>
                      <a:lnTo>
                        <a:pt x="4964" y="35286"/>
                      </a:lnTo>
                      <a:lnTo>
                        <a:pt x="3588" y="34688"/>
                      </a:lnTo>
                      <a:lnTo>
                        <a:pt x="2871" y="34090"/>
                      </a:lnTo>
                    </a:path>
                  </a:pathLst>
                </a:custGeom>
                <a:noFill/>
                <a:ln w="6350" cap="rnd">
                  <a:solidFill>
                    <a:schemeClr val="bg1">
                      <a:alpha val="40000"/>
                    </a:schemeClr>
                  </a:solidFill>
                  <a:prstDash val="solid"/>
                  <a:round/>
                </a:ln>
              </p:spPr>
              <p:txBody>
                <a:bodyPr rtlCol="0" anchor="ctr"/>
                <a:lstStyle/>
                <a:p>
                  <a:endParaRPr lang="en-GB"/>
                </a:p>
              </p:txBody>
            </p:sp>
            <p:sp>
              <p:nvSpPr>
                <p:cNvPr id="5545" name="Vrije vorm: vorm 5544">
                  <a:extLst>
                    <a:ext uri="{FF2B5EF4-FFF2-40B4-BE49-F238E27FC236}">
                      <a16:creationId xmlns:a16="http://schemas.microsoft.com/office/drawing/2014/main" id="{4C5BCEF8-2728-4A54-A04D-113B34ABD0B3}"/>
                    </a:ext>
                  </a:extLst>
                </p:cNvPr>
                <p:cNvSpPr/>
                <p:nvPr/>
              </p:nvSpPr>
              <p:spPr>
                <a:xfrm>
                  <a:off x="6453757" y="1665372"/>
                  <a:ext cx="4006" cy="4186"/>
                </a:xfrm>
                <a:custGeom>
                  <a:avLst/>
                  <a:gdLst>
                    <a:gd name="connsiteX0" fmla="*/ 2691 w 4006"/>
                    <a:gd name="connsiteY0" fmla="*/ 0 h 4186"/>
                    <a:gd name="connsiteX1" fmla="*/ 2871 w 4006"/>
                    <a:gd name="connsiteY1" fmla="*/ 239 h 4186"/>
                    <a:gd name="connsiteX2" fmla="*/ 2990 w 4006"/>
                    <a:gd name="connsiteY2" fmla="*/ 598 h 4186"/>
                    <a:gd name="connsiteX3" fmla="*/ 2990 w 4006"/>
                    <a:gd name="connsiteY3" fmla="*/ 957 h 4186"/>
                    <a:gd name="connsiteX4" fmla="*/ 2990 w 4006"/>
                    <a:gd name="connsiteY4" fmla="*/ 1017 h 4186"/>
                    <a:gd name="connsiteX5" fmla="*/ 2930 w 4006"/>
                    <a:gd name="connsiteY5" fmla="*/ 1376 h 4186"/>
                    <a:gd name="connsiteX6" fmla="*/ 2930 w 4006"/>
                    <a:gd name="connsiteY6" fmla="*/ 1495 h 4186"/>
                    <a:gd name="connsiteX7" fmla="*/ 2751 w 4006"/>
                    <a:gd name="connsiteY7" fmla="*/ 2033 h 4186"/>
                    <a:gd name="connsiteX8" fmla="*/ 2452 w 4006"/>
                    <a:gd name="connsiteY8" fmla="*/ 2572 h 4186"/>
                    <a:gd name="connsiteX9" fmla="*/ 2093 w 4006"/>
                    <a:gd name="connsiteY9" fmla="*/ 3110 h 4186"/>
                    <a:gd name="connsiteX10" fmla="*/ 1734 w 4006"/>
                    <a:gd name="connsiteY10" fmla="*/ 3529 h 4186"/>
                    <a:gd name="connsiteX11" fmla="*/ 1316 w 4006"/>
                    <a:gd name="connsiteY11" fmla="*/ 3888 h 4186"/>
                    <a:gd name="connsiteX12" fmla="*/ 1256 w 4006"/>
                    <a:gd name="connsiteY12" fmla="*/ 3947 h 4186"/>
                    <a:gd name="connsiteX13" fmla="*/ 957 w 4006"/>
                    <a:gd name="connsiteY13" fmla="*/ 4127 h 4186"/>
                    <a:gd name="connsiteX14" fmla="*/ 897 w 4006"/>
                    <a:gd name="connsiteY14" fmla="*/ 4127 h 4186"/>
                    <a:gd name="connsiteX15" fmla="*/ 598 w 4006"/>
                    <a:gd name="connsiteY15" fmla="*/ 4186 h 4186"/>
                    <a:gd name="connsiteX16" fmla="*/ 299 w 4006"/>
                    <a:gd name="connsiteY16" fmla="*/ 4127 h 4186"/>
                    <a:gd name="connsiteX17" fmla="*/ 119 w 4006"/>
                    <a:gd name="connsiteY17" fmla="*/ 3888 h 4186"/>
                    <a:gd name="connsiteX18" fmla="*/ 0 w 4006"/>
                    <a:gd name="connsiteY18" fmla="*/ 3529 h 4186"/>
                    <a:gd name="connsiteX19" fmla="*/ 0 w 4006"/>
                    <a:gd name="connsiteY19" fmla="*/ 3110 h 4186"/>
                    <a:gd name="connsiteX20" fmla="*/ 119 w 4006"/>
                    <a:gd name="connsiteY20" fmla="*/ 2572 h 4186"/>
                    <a:gd name="connsiteX21" fmla="*/ 299 w 4006"/>
                    <a:gd name="connsiteY21" fmla="*/ 2033 h 4186"/>
                    <a:gd name="connsiteX22" fmla="*/ 538 w 4006"/>
                    <a:gd name="connsiteY22" fmla="*/ 1555 h 4186"/>
                    <a:gd name="connsiteX23" fmla="*/ 598 w 4006"/>
                    <a:gd name="connsiteY23" fmla="*/ 1495 h 4186"/>
                    <a:gd name="connsiteX24" fmla="*/ 957 w 4006"/>
                    <a:gd name="connsiteY24" fmla="*/ 1017 h 4186"/>
                    <a:gd name="connsiteX25" fmla="*/ 1316 w 4006"/>
                    <a:gd name="connsiteY25" fmla="*/ 598 h 4186"/>
                    <a:gd name="connsiteX26" fmla="*/ 1375 w 4006"/>
                    <a:gd name="connsiteY26" fmla="*/ 538 h 4186"/>
                    <a:gd name="connsiteX27" fmla="*/ 1674 w 4006"/>
                    <a:gd name="connsiteY27" fmla="*/ 239 h 4186"/>
                    <a:gd name="connsiteX28" fmla="*/ 2033 w 4006"/>
                    <a:gd name="connsiteY28" fmla="*/ 60 h 4186"/>
                    <a:gd name="connsiteX29" fmla="*/ 2392 w 4006"/>
                    <a:gd name="connsiteY29" fmla="*/ 0 h 4186"/>
                    <a:gd name="connsiteX30" fmla="*/ 2691 w 4006"/>
                    <a:gd name="connsiteY30" fmla="*/ 0 h 4186"/>
                    <a:gd name="connsiteX31" fmla="*/ 3409 w 4006"/>
                    <a:gd name="connsiteY31" fmla="*/ 419 h 4186"/>
                    <a:gd name="connsiteX32" fmla="*/ 4007 w 4006"/>
                    <a:gd name="connsiteY32" fmla="*/ 778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06" h="4186">
                      <a:moveTo>
                        <a:pt x="2691" y="0"/>
                      </a:moveTo>
                      <a:lnTo>
                        <a:pt x="2871" y="239"/>
                      </a:lnTo>
                      <a:lnTo>
                        <a:pt x="2990" y="598"/>
                      </a:lnTo>
                      <a:lnTo>
                        <a:pt x="2990" y="957"/>
                      </a:lnTo>
                      <a:lnTo>
                        <a:pt x="2990" y="1017"/>
                      </a:lnTo>
                      <a:lnTo>
                        <a:pt x="2930" y="1376"/>
                      </a:lnTo>
                      <a:lnTo>
                        <a:pt x="2930" y="1495"/>
                      </a:lnTo>
                      <a:lnTo>
                        <a:pt x="2751" y="2033"/>
                      </a:lnTo>
                      <a:lnTo>
                        <a:pt x="2452" y="2572"/>
                      </a:lnTo>
                      <a:lnTo>
                        <a:pt x="2093" y="3110"/>
                      </a:lnTo>
                      <a:lnTo>
                        <a:pt x="1734" y="3529"/>
                      </a:lnTo>
                      <a:lnTo>
                        <a:pt x="1316" y="3888"/>
                      </a:lnTo>
                      <a:lnTo>
                        <a:pt x="1256" y="3947"/>
                      </a:lnTo>
                      <a:lnTo>
                        <a:pt x="957" y="4127"/>
                      </a:lnTo>
                      <a:lnTo>
                        <a:pt x="897" y="4127"/>
                      </a:lnTo>
                      <a:lnTo>
                        <a:pt x="598" y="4186"/>
                      </a:lnTo>
                      <a:lnTo>
                        <a:pt x="299" y="4127"/>
                      </a:lnTo>
                      <a:lnTo>
                        <a:pt x="119" y="3888"/>
                      </a:lnTo>
                      <a:lnTo>
                        <a:pt x="0" y="3529"/>
                      </a:lnTo>
                      <a:lnTo>
                        <a:pt x="0" y="3110"/>
                      </a:lnTo>
                      <a:lnTo>
                        <a:pt x="119" y="2572"/>
                      </a:lnTo>
                      <a:lnTo>
                        <a:pt x="299" y="2033"/>
                      </a:lnTo>
                      <a:lnTo>
                        <a:pt x="538" y="1555"/>
                      </a:lnTo>
                      <a:lnTo>
                        <a:pt x="598" y="1495"/>
                      </a:lnTo>
                      <a:lnTo>
                        <a:pt x="957" y="1017"/>
                      </a:lnTo>
                      <a:lnTo>
                        <a:pt x="1316" y="598"/>
                      </a:lnTo>
                      <a:lnTo>
                        <a:pt x="1375" y="538"/>
                      </a:lnTo>
                      <a:lnTo>
                        <a:pt x="1674" y="239"/>
                      </a:lnTo>
                      <a:lnTo>
                        <a:pt x="2033" y="60"/>
                      </a:lnTo>
                      <a:lnTo>
                        <a:pt x="2392" y="0"/>
                      </a:lnTo>
                      <a:lnTo>
                        <a:pt x="2691" y="0"/>
                      </a:lnTo>
                      <a:lnTo>
                        <a:pt x="3409" y="419"/>
                      </a:lnTo>
                      <a:lnTo>
                        <a:pt x="4007" y="778"/>
                      </a:lnTo>
                    </a:path>
                  </a:pathLst>
                </a:custGeom>
                <a:noFill/>
                <a:ln w="6350" cap="rnd">
                  <a:solidFill>
                    <a:schemeClr val="bg1">
                      <a:alpha val="40000"/>
                    </a:schemeClr>
                  </a:solidFill>
                  <a:prstDash val="solid"/>
                  <a:round/>
                </a:ln>
              </p:spPr>
              <p:txBody>
                <a:bodyPr rtlCol="0" anchor="ctr"/>
                <a:lstStyle/>
                <a:p>
                  <a:endParaRPr lang="en-GB"/>
                </a:p>
              </p:txBody>
            </p:sp>
            <p:sp>
              <p:nvSpPr>
                <p:cNvPr id="5546" name="Vrije vorm: vorm 5545">
                  <a:extLst>
                    <a:ext uri="{FF2B5EF4-FFF2-40B4-BE49-F238E27FC236}">
                      <a16:creationId xmlns:a16="http://schemas.microsoft.com/office/drawing/2014/main" id="{72D50767-370D-4550-B215-A72BDF764F9D}"/>
                    </a:ext>
                  </a:extLst>
                </p:cNvPr>
                <p:cNvSpPr/>
                <p:nvPr/>
              </p:nvSpPr>
              <p:spPr>
                <a:xfrm>
                  <a:off x="6454056" y="1669439"/>
                  <a:ext cx="1256" cy="777"/>
                </a:xfrm>
                <a:custGeom>
                  <a:avLst/>
                  <a:gdLst>
                    <a:gd name="connsiteX0" fmla="*/ 1256 w 1256"/>
                    <a:gd name="connsiteY0" fmla="*/ 777 h 777"/>
                    <a:gd name="connsiteX1" fmla="*/ 1017 w 1256"/>
                    <a:gd name="connsiteY1" fmla="*/ 598 h 777"/>
                    <a:gd name="connsiteX2" fmla="*/ 658 w 1256"/>
                    <a:gd name="connsiteY2" fmla="*/ 359 h 777"/>
                    <a:gd name="connsiteX3" fmla="*/ 0 w 1256"/>
                    <a:gd name="connsiteY3" fmla="*/ 0 h 777"/>
                  </a:gdLst>
                  <a:ahLst/>
                  <a:cxnLst>
                    <a:cxn ang="0">
                      <a:pos x="connsiteX0" y="connsiteY0"/>
                    </a:cxn>
                    <a:cxn ang="0">
                      <a:pos x="connsiteX1" y="connsiteY1"/>
                    </a:cxn>
                    <a:cxn ang="0">
                      <a:pos x="connsiteX2" y="connsiteY2"/>
                    </a:cxn>
                    <a:cxn ang="0">
                      <a:pos x="connsiteX3" y="connsiteY3"/>
                    </a:cxn>
                  </a:cxnLst>
                  <a:rect l="l" t="t" r="r" b="b"/>
                  <a:pathLst>
                    <a:path w="1256" h="777">
                      <a:moveTo>
                        <a:pt x="1256" y="777"/>
                      </a:moveTo>
                      <a:lnTo>
                        <a:pt x="1017" y="598"/>
                      </a:lnTo>
                      <a:lnTo>
                        <a:pt x="658" y="35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47" name="Vrije vorm: vorm 5546">
                  <a:extLst>
                    <a:ext uri="{FF2B5EF4-FFF2-40B4-BE49-F238E27FC236}">
                      <a16:creationId xmlns:a16="http://schemas.microsoft.com/office/drawing/2014/main" id="{5903C7EA-DCDE-4311-BED7-F67ECAEC488D}"/>
                    </a:ext>
                  </a:extLst>
                </p:cNvPr>
                <p:cNvSpPr/>
                <p:nvPr/>
              </p:nvSpPr>
              <p:spPr>
                <a:xfrm>
                  <a:off x="6479773" y="1639715"/>
                  <a:ext cx="4066" cy="4306"/>
                </a:xfrm>
                <a:custGeom>
                  <a:avLst/>
                  <a:gdLst>
                    <a:gd name="connsiteX0" fmla="*/ 2811 w 4066"/>
                    <a:gd name="connsiteY0" fmla="*/ 0 h 4306"/>
                    <a:gd name="connsiteX1" fmla="*/ 3050 w 4066"/>
                    <a:gd name="connsiteY1" fmla="*/ 179 h 4306"/>
                    <a:gd name="connsiteX2" fmla="*/ 3170 w 4066"/>
                    <a:gd name="connsiteY2" fmla="*/ 538 h 4306"/>
                    <a:gd name="connsiteX3" fmla="*/ 3170 w 4066"/>
                    <a:gd name="connsiteY3" fmla="*/ 957 h 4306"/>
                    <a:gd name="connsiteX4" fmla="*/ 3170 w 4066"/>
                    <a:gd name="connsiteY4" fmla="*/ 957 h 4306"/>
                    <a:gd name="connsiteX5" fmla="*/ 3110 w 4066"/>
                    <a:gd name="connsiteY5" fmla="*/ 1495 h 4306"/>
                    <a:gd name="connsiteX6" fmla="*/ 2930 w 4066"/>
                    <a:gd name="connsiteY6" fmla="*/ 2033 h 4306"/>
                    <a:gd name="connsiteX7" fmla="*/ 2632 w 4066"/>
                    <a:gd name="connsiteY7" fmla="*/ 2572 h 4306"/>
                    <a:gd name="connsiteX8" fmla="*/ 2273 w 4066"/>
                    <a:gd name="connsiteY8" fmla="*/ 3110 h 4306"/>
                    <a:gd name="connsiteX9" fmla="*/ 1854 w 4066"/>
                    <a:gd name="connsiteY9" fmla="*/ 3588 h 4306"/>
                    <a:gd name="connsiteX10" fmla="*/ 1435 w 4066"/>
                    <a:gd name="connsiteY10" fmla="*/ 3947 h 4306"/>
                    <a:gd name="connsiteX11" fmla="*/ 1375 w 4066"/>
                    <a:gd name="connsiteY11" fmla="*/ 4007 h 4306"/>
                    <a:gd name="connsiteX12" fmla="*/ 1256 w 4066"/>
                    <a:gd name="connsiteY12" fmla="*/ 4067 h 4306"/>
                    <a:gd name="connsiteX13" fmla="*/ 1076 w 4066"/>
                    <a:gd name="connsiteY13" fmla="*/ 4186 h 4306"/>
                    <a:gd name="connsiteX14" fmla="*/ 897 w 4066"/>
                    <a:gd name="connsiteY14" fmla="*/ 4246 h 4306"/>
                    <a:gd name="connsiteX15" fmla="*/ 658 w 4066"/>
                    <a:gd name="connsiteY15" fmla="*/ 4306 h 4306"/>
                    <a:gd name="connsiteX16" fmla="*/ 359 w 4066"/>
                    <a:gd name="connsiteY16" fmla="*/ 4246 h 4306"/>
                    <a:gd name="connsiteX17" fmla="*/ 120 w 4066"/>
                    <a:gd name="connsiteY17" fmla="*/ 4067 h 4306"/>
                    <a:gd name="connsiteX18" fmla="*/ 0 w 4066"/>
                    <a:gd name="connsiteY18" fmla="*/ 3708 h 4306"/>
                    <a:gd name="connsiteX19" fmla="*/ 0 w 4066"/>
                    <a:gd name="connsiteY19" fmla="*/ 3289 h 4306"/>
                    <a:gd name="connsiteX20" fmla="*/ 60 w 4066"/>
                    <a:gd name="connsiteY20" fmla="*/ 2751 h 4306"/>
                    <a:gd name="connsiteX21" fmla="*/ 239 w 4066"/>
                    <a:gd name="connsiteY21" fmla="*/ 2213 h 4306"/>
                    <a:gd name="connsiteX22" fmla="*/ 419 w 4066"/>
                    <a:gd name="connsiteY22" fmla="*/ 1914 h 4306"/>
                    <a:gd name="connsiteX23" fmla="*/ 538 w 4066"/>
                    <a:gd name="connsiteY23" fmla="*/ 1675 h 4306"/>
                    <a:gd name="connsiteX24" fmla="*/ 837 w 4066"/>
                    <a:gd name="connsiteY24" fmla="*/ 1256 h 4306"/>
                    <a:gd name="connsiteX25" fmla="*/ 897 w 4066"/>
                    <a:gd name="connsiteY25" fmla="*/ 1136 h 4306"/>
                    <a:gd name="connsiteX26" fmla="*/ 1316 w 4066"/>
                    <a:gd name="connsiteY26" fmla="*/ 658 h 4306"/>
                    <a:gd name="connsiteX27" fmla="*/ 1735 w 4066"/>
                    <a:gd name="connsiteY27" fmla="*/ 299 h 4306"/>
                    <a:gd name="connsiteX28" fmla="*/ 2153 w 4066"/>
                    <a:gd name="connsiteY28" fmla="*/ 60 h 4306"/>
                    <a:gd name="connsiteX29" fmla="*/ 2512 w 4066"/>
                    <a:gd name="connsiteY29" fmla="*/ 0 h 4306"/>
                    <a:gd name="connsiteX30" fmla="*/ 2811 w 4066"/>
                    <a:gd name="connsiteY30" fmla="*/ 0 h 4306"/>
                    <a:gd name="connsiteX31" fmla="*/ 4067 w 4066"/>
                    <a:gd name="connsiteY31" fmla="*/ 837 h 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66" h="4306">
                      <a:moveTo>
                        <a:pt x="2811" y="0"/>
                      </a:moveTo>
                      <a:lnTo>
                        <a:pt x="3050" y="179"/>
                      </a:lnTo>
                      <a:lnTo>
                        <a:pt x="3170" y="538"/>
                      </a:lnTo>
                      <a:lnTo>
                        <a:pt x="3170" y="957"/>
                      </a:lnTo>
                      <a:lnTo>
                        <a:pt x="3170" y="957"/>
                      </a:lnTo>
                      <a:lnTo>
                        <a:pt x="3110" y="1495"/>
                      </a:lnTo>
                      <a:lnTo>
                        <a:pt x="2930" y="2033"/>
                      </a:lnTo>
                      <a:lnTo>
                        <a:pt x="2632" y="2572"/>
                      </a:lnTo>
                      <a:lnTo>
                        <a:pt x="2273" y="3110"/>
                      </a:lnTo>
                      <a:lnTo>
                        <a:pt x="1854" y="3588"/>
                      </a:lnTo>
                      <a:lnTo>
                        <a:pt x="1435" y="3947"/>
                      </a:lnTo>
                      <a:lnTo>
                        <a:pt x="1375" y="4007"/>
                      </a:lnTo>
                      <a:lnTo>
                        <a:pt x="1256" y="4067"/>
                      </a:lnTo>
                      <a:lnTo>
                        <a:pt x="1076" y="4186"/>
                      </a:lnTo>
                      <a:lnTo>
                        <a:pt x="897" y="4246"/>
                      </a:lnTo>
                      <a:lnTo>
                        <a:pt x="658" y="4306"/>
                      </a:lnTo>
                      <a:lnTo>
                        <a:pt x="359" y="4246"/>
                      </a:lnTo>
                      <a:lnTo>
                        <a:pt x="120" y="4067"/>
                      </a:lnTo>
                      <a:lnTo>
                        <a:pt x="0" y="3708"/>
                      </a:lnTo>
                      <a:lnTo>
                        <a:pt x="0" y="3289"/>
                      </a:lnTo>
                      <a:lnTo>
                        <a:pt x="60" y="2751"/>
                      </a:lnTo>
                      <a:lnTo>
                        <a:pt x="239" y="2213"/>
                      </a:lnTo>
                      <a:lnTo>
                        <a:pt x="419" y="1914"/>
                      </a:lnTo>
                      <a:lnTo>
                        <a:pt x="538" y="1675"/>
                      </a:lnTo>
                      <a:lnTo>
                        <a:pt x="837" y="1256"/>
                      </a:lnTo>
                      <a:lnTo>
                        <a:pt x="897" y="1136"/>
                      </a:lnTo>
                      <a:lnTo>
                        <a:pt x="1316" y="658"/>
                      </a:lnTo>
                      <a:lnTo>
                        <a:pt x="1735" y="299"/>
                      </a:lnTo>
                      <a:lnTo>
                        <a:pt x="2153" y="60"/>
                      </a:lnTo>
                      <a:lnTo>
                        <a:pt x="2512" y="0"/>
                      </a:lnTo>
                      <a:lnTo>
                        <a:pt x="2811" y="0"/>
                      </a:lnTo>
                      <a:lnTo>
                        <a:pt x="4067" y="837"/>
                      </a:lnTo>
                    </a:path>
                  </a:pathLst>
                </a:custGeom>
                <a:noFill/>
                <a:ln w="6350" cap="rnd">
                  <a:solidFill>
                    <a:schemeClr val="bg1">
                      <a:alpha val="40000"/>
                    </a:schemeClr>
                  </a:solidFill>
                  <a:prstDash val="solid"/>
                  <a:round/>
                </a:ln>
              </p:spPr>
              <p:txBody>
                <a:bodyPr rtlCol="0" anchor="ctr"/>
                <a:lstStyle/>
                <a:p>
                  <a:endParaRPr lang="en-GB"/>
                </a:p>
              </p:txBody>
            </p:sp>
            <p:sp>
              <p:nvSpPr>
                <p:cNvPr id="5548" name="Vrije vorm: vorm 5547">
                  <a:extLst>
                    <a:ext uri="{FF2B5EF4-FFF2-40B4-BE49-F238E27FC236}">
                      <a16:creationId xmlns:a16="http://schemas.microsoft.com/office/drawing/2014/main" id="{9DDDCC6C-387E-41D5-8041-BC5D5FEEA5E6}"/>
                    </a:ext>
                  </a:extLst>
                </p:cNvPr>
                <p:cNvSpPr/>
                <p:nvPr/>
              </p:nvSpPr>
              <p:spPr>
                <a:xfrm>
                  <a:off x="6480132" y="1643961"/>
                  <a:ext cx="1256" cy="777"/>
                </a:xfrm>
                <a:custGeom>
                  <a:avLst/>
                  <a:gdLst>
                    <a:gd name="connsiteX0" fmla="*/ 1256 w 1256"/>
                    <a:gd name="connsiteY0" fmla="*/ 778 h 777"/>
                    <a:gd name="connsiteX1" fmla="*/ 1256 w 1256"/>
                    <a:gd name="connsiteY1" fmla="*/ 778 h 777"/>
                    <a:gd name="connsiteX2" fmla="*/ 598 w 1256"/>
                    <a:gd name="connsiteY2" fmla="*/ 359 h 777"/>
                    <a:gd name="connsiteX3" fmla="*/ 0 w 1256"/>
                    <a:gd name="connsiteY3" fmla="*/ 0 h 777"/>
                  </a:gdLst>
                  <a:ahLst/>
                  <a:cxnLst>
                    <a:cxn ang="0">
                      <a:pos x="connsiteX0" y="connsiteY0"/>
                    </a:cxn>
                    <a:cxn ang="0">
                      <a:pos x="connsiteX1" y="connsiteY1"/>
                    </a:cxn>
                    <a:cxn ang="0">
                      <a:pos x="connsiteX2" y="connsiteY2"/>
                    </a:cxn>
                    <a:cxn ang="0">
                      <a:pos x="connsiteX3" y="connsiteY3"/>
                    </a:cxn>
                  </a:cxnLst>
                  <a:rect l="l" t="t" r="r" b="b"/>
                  <a:pathLst>
                    <a:path w="1256" h="777">
                      <a:moveTo>
                        <a:pt x="1256" y="778"/>
                      </a:moveTo>
                      <a:lnTo>
                        <a:pt x="1256" y="778"/>
                      </a:lnTo>
                      <a:lnTo>
                        <a:pt x="598" y="35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49" name="Vrije vorm: vorm 5548">
                  <a:extLst>
                    <a:ext uri="{FF2B5EF4-FFF2-40B4-BE49-F238E27FC236}">
                      <a16:creationId xmlns:a16="http://schemas.microsoft.com/office/drawing/2014/main" id="{2C357AC7-A2E5-4E68-AD89-62816E4E327D}"/>
                    </a:ext>
                  </a:extLst>
                </p:cNvPr>
                <p:cNvSpPr/>
                <p:nvPr/>
              </p:nvSpPr>
              <p:spPr>
                <a:xfrm>
                  <a:off x="6451903" y="1631222"/>
                  <a:ext cx="1196" cy="777"/>
                </a:xfrm>
                <a:custGeom>
                  <a:avLst/>
                  <a:gdLst>
                    <a:gd name="connsiteX0" fmla="*/ 0 w 1196"/>
                    <a:gd name="connsiteY0" fmla="*/ 0 h 777"/>
                    <a:gd name="connsiteX1" fmla="*/ 1196 w 1196"/>
                    <a:gd name="connsiteY1" fmla="*/ 777 h 777"/>
                  </a:gdLst>
                  <a:ahLst/>
                  <a:cxnLst>
                    <a:cxn ang="0">
                      <a:pos x="connsiteX0" y="connsiteY0"/>
                    </a:cxn>
                    <a:cxn ang="0">
                      <a:pos x="connsiteX1" y="connsiteY1"/>
                    </a:cxn>
                  </a:cxnLst>
                  <a:rect l="l" t="t" r="r" b="b"/>
                  <a:pathLst>
                    <a:path w="1196" h="777">
                      <a:moveTo>
                        <a:pt x="0" y="0"/>
                      </a:moveTo>
                      <a:lnTo>
                        <a:pt x="1196" y="777"/>
                      </a:lnTo>
                    </a:path>
                  </a:pathLst>
                </a:custGeom>
                <a:noFill/>
                <a:ln w="6350" cap="rnd">
                  <a:solidFill>
                    <a:schemeClr val="bg1">
                      <a:alpha val="40000"/>
                    </a:schemeClr>
                  </a:solidFill>
                  <a:prstDash val="solid"/>
                  <a:round/>
                </a:ln>
              </p:spPr>
              <p:txBody>
                <a:bodyPr rtlCol="0" anchor="ctr"/>
                <a:lstStyle/>
                <a:p>
                  <a:endParaRPr lang="en-GB"/>
                </a:p>
              </p:txBody>
            </p:sp>
            <p:sp>
              <p:nvSpPr>
                <p:cNvPr id="5550" name="Vrije vorm: vorm 5549">
                  <a:extLst>
                    <a:ext uri="{FF2B5EF4-FFF2-40B4-BE49-F238E27FC236}">
                      <a16:creationId xmlns:a16="http://schemas.microsoft.com/office/drawing/2014/main" id="{B55F8791-5B1C-4C57-91D3-CC55F683CB3D}"/>
                    </a:ext>
                  </a:extLst>
                </p:cNvPr>
                <p:cNvSpPr/>
                <p:nvPr/>
              </p:nvSpPr>
              <p:spPr>
                <a:xfrm>
                  <a:off x="6466915" y="1577635"/>
                  <a:ext cx="1136" cy="837"/>
                </a:xfrm>
                <a:custGeom>
                  <a:avLst/>
                  <a:gdLst>
                    <a:gd name="connsiteX0" fmla="*/ 1136 w 1136"/>
                    <a:gd name="connsiteY0" fmla="*/ 837 h 837"/>
                    <a:gd name="connsiteX1" fmla="*/ 0 w 1136"/>
                    <a:gd name="connsiteY1" fmla="*/ 0 h 837"/>
                  </a:gdLst>
                  <a:ahLst/>
                  <a:cxnLst>
                    <a:cxn ang="0">
                      <a:pos x="connsiteX0" y="connsiteY0"/>
                    </a:cxn>
                    <a:cxn ang="0">
                      <a:pos x="connsiteX1" y="connsiteY1"/>
                    </a:cxn>
                  </a:cxnLst>
                  <a:rect l="l" t="t" r="r" b="b"/>
                  <a:pathLst>
                    <a:path w="1136" h="837">
                      <a:moveTo>
                        <a:pt x="1136" y="837"/>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51" name="Vrije vorm: vorm 5550">
                  <a:extLst>
                    <a:ext uri="{FF2B5EF4-FFF2-40B4-BE49-F238E27FC236}">
                      <a16:creationId xmlns:a16="http://schemas.microsoft.com/office/drawing/2014/main" id="{72002ECB-55C0-45A8-BA44-D62BB1620D43}"/>
                    </a:ext>
                  </a:extLst>
                </p:cNvPr>
                <p:cNvSpPr/>
                <p:nvPr/>
              </p:nvSpPr>
              <p:spPr>
                <a:xfrm>
                  <a:off x="6444726" y="1597730"/>
                  <a:ext cx="2392" cy="3648"/>
                </a:xfrm>
                <a:custGeom>
                  <a:avLst/>
                  <a:gdLst>
                    <a:gd name="connsiteX0" fmla="*/ 2093 w 2392"/>
                    <a:gd name="connsiteY0" fmla="*/ 0 h 3648"/>
                    <a:gd name="connsiteX1" fmla="*/ 2273 w 2392"/>
                    <a:gd name="connsiteY1" fmla="*/ 120 h 3648"/>
                    <a:gd name="connsiteX2" fmla="*/ 2392 w 2392"/>
                    <a:gd name="connsiteY2" fmla="*/ 359 h 3648"/>
                    <a:gd name="connsiteX3" fmla="*/ 2392 w 2392"/>
                    <a:gd name="connsiteY3" fmla="*/ 658 h 3648"/>
                    <a:gd name="connsiteX4" fmla="*/ 2392 w 2392"/>
                    <a:gd name="connsiteY4" fmla="*/ 718 h 3648"/>
                    <a:gd name="connsiteX5" fmla="*/ 2333 w 2392"/>
                    <a:gd name="connsiteY5" fmla="*/ 1076 h 3648"/>
                    <a:gd name="connsiteX6" fmla="*/ 2333 w 2392"/>
                    <a:gd name="connsiteY6" fmla="*/ 1136 h 3648"/>
                    <a:gd name="connsiteX7" fmla="*/ 2153 w 2392"/>
                    <a:gd name="connsiteY7" fmla="*/ 1615 h 3648"/>
                    <a:gd name="connsiteX8" fmla="*/ 1914 w 2392"/>
                    <a:gd name="connsiteY8" fmla="*/ 2093 h 3648"/>
                    <a:gd name="connsiteX9" fmla="*/ 1615 w 2392"/>
                    <a:gd name="connsiteY9" fmla="*/ 2572 h 3648"/>
                    <a:gd name="connsiteX10" fmla="*/ 1256 w 2392"/>
                    <a:gd name="connsiteY10" fmla="*/ 2990 h 3648"/>
                    <a:gd name="connsiteX11" fmla="*/ 957 w 2392"/>
                    <a:gd name="connsiteY11" fmla="*/ 3230 h 3648"/>
                    <a:gd name="connsiteX12" fmla="*/ 897 w 2392"/>
                    <a:gd name="connsiteY12" fmla="*/ 3289 h 3648"/>
                    <a:gd name="connsiteX13" fmla="*/ 538 w 2392"/>
                    <a:gd name="connsiteY13" fmla="*/ 3529 h 3648"/>
                    <a:gd name="connsiteX14" fmla="*/ 239 w 2392"/>
                    <a:gd name="connsiteY14" fmla="*/ 3648 h 3648"/>
                    <a:gd name="connsiteX15" fmla="*/ 0 w 2392"/>
                    <a:gd name="connsiteY15" fmla="*/ 3648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2" h="3648">
                      <a:moveTo>
                        <a:pt x="2093" y="0"/>
                      </a:moveTo>
                      <a:lnTo>
                        <a:pt x="2273" y="120"/>
                      </a:lnTo>
                      <a:lnTo>
                        <a:pt x="2392" y="359"/>
                      </a:lnTo>
                      <a:lnTo>
                        <a:pt x="2392" y="658"/>
                      </a:lnTo>
                      <a:lnTo>
                        <a:pt x="2392" y="718"/>
                      </a:lnTo>
                      <a:lnTo>
                        <a:pt x="2333" y="1076"/>
                      </a:lnTo>
                      <a:lnTo>
                        <a:pt x="2333" y="1136"/>
                      </a:lnTo>
                      <a:lnTo>
                        <a:pt x="2153" y="1615"/>
                      </a:lnTo>
                      <a:lnTo>
                        <a:pt x="1914" y="2093"/>
                      </a:lnTo>
                      <a:lnTo>
                        <a:pt x="1615" y="2572"/>
                      </a:lnTo>
                      <a:lnTo>
                        <a:pt x="1256" y="2990"/>
                      </a:lnTo>
                      <a:lnTo>
                        <a:pt x="957" y="3230"/>
                      </a:lnTo>
                      <a:lnTo>
                        <a:pt x="897" y="3289"/>
                      </a:lnTo>
                      <a:lnTo>
                        <a:pt x="538" y="3529"/>
                      </a:lnTo>
                      <a:lnTo>
                        <a:pt x="239" y="3648"/>
                      </a:lnTo>
                      <a:lnTo>
                        <a:pt x="0" y="3648"/>
                      </a:lnTo>
                    </a:path>
                  </a:pathLst>
                </a:custGeom>
                <a:noFill/>
                <a:ln w="6350" cap="rnd">
                  <a:solidFill>
                    <a:schemeClr val="bg1">
                      <a:alpha val="40000"/>
                    </a:schemeClr>
                  </a:solidFill>
                  <a:prstDash val="solid"/>
                  <a:round/>
                </a:ln>
              </p:spPr>
              <p:txBody>
                <a:bodyPr rtlCol="0" anchor="ctr"/>
                <a:lstStyle/>
                <a:p>
                  <a:endParaRPr lang="en-GB"/>
                </a:p>
              </p:txBody>
            </p:sp>
            <p:sp>
              <p:nvSpPr>
                <p:cNvPr id="5552" name="Vrije vorm: vorm 5551">
                  <a:extLst>
                    <a:ext uri="{FF2B5EF4-FFF2-40B4-BE49-F238E27FC236}">
                      <a16:creationId xmlns:a16="http://schemas.microsoft.com/office/drawing/2014/main" id="{21016CE2-5B52-4F9C-AFF3-E9927D4D6A23}"/>
                    </a:ext>
                  </a:extLst>
                </p:cNvPr>
                <p:cNvSpPr/>
                <p:nvPr/>
              </p:nvSpPr>
              <p:spPr>
                <a:xfrm>
                  <a:off x="6445982" y="1556164"/>
                  <a:ext cx="15848" cy="23803"/>
                </a:xfrm>
                <a:custGeom>
                  <a:avLst/>
                  <a:gdLst>
                    <a:gd name="connsiteX0" fmla="*/ 0 w 15848"/>
                    <a:gd name="connsiteY0" fmla="*/ 23803 h 23803"/>
                    <a:gd name="connsiteX1" fmla="*/ 2213 w 15848"/>
                    <a:gd name="connsiteY1" fmla="*/ 22966 h 23803"/>
                    <a:gd name="connsiteX2" fmla="*/ 4007 w 15848"/>
                    <a:gd name="connsiteY2" fmla="*/ 21770 h 23803"/>
                    <a:gd name="connsiteX3" fmla="*/ 4725 w 15848"/>
                    <a:gd name="connsiteY3" fmla="*/ 21291 h 23803"/>
                    <a:gd name="connsiteX4" fmla="*/ 7117 w 15848"/>
                    <a:gd name="connsiteY4" fmla="*/ 19079 h 23803"/>
                    <a:gd name="connsiteX5" fmla="*/ 7356 w 15848"/>
                    <a:gd name="connsiteY5" fmla="*/ 18839 h 23803"/>
                    <a:gd name="connsiteX6" fmla="*/ 9330 w 15848"/>
                    <a:gd name="connsiteY6" fmla="*/ 16447 h 23803"/>
                    <a:gd name="connsiteX7" fmla="*/ 9868 w 15848"/>
                    <a:gd name="connsiteY7" fmla="*/ 15789 h 23803"/>
                    <a:gd name="connsiteX8" fmla="*/ 11662 w 15848"/>
                    <a:gd name="connsiteY8" fmla="*/ 13038 h 23803"/>
                    <a:gd name="connsiteX9" fmla="*/ 12141 w 15848"/>
                    <a:gd name="connsiteY9" fmla="*/ 12380 h 23803"/>
                    <a:gd name="connsiteX10" fmla="*/ 12440 w 15848"/>
                    <a:gd name="connsiteY10" fmla="*/ 11782 h 23803"/>
                    <a:gd name="connsiteX11" fmla="*/ 13935 w 15848"/>
                    <a:gd name="connsiteY11" fmla="*/ 8851 h 23803"/>
                    <a:gd name="connsiteX12" fmla="*/ 15071 w 15848"/>
                    <a:gd name="connsiteY12" fmla="*/ 5801 h 23803"/>
                    <a:gd name="connsiteX13" fmla="*/ 15191 w 15848"/>
                    <a:gd name="connsiteY13" fmla="*/ 5442 h 23803"/>
                    <a:gd name="connsiteX14" fmla="*/ 15370 w 15848"/>
                    <a:gd name="connsiteY14" fmla="*/ 4725 h 23803"/>
                    <a:gd name="connsiteX15" fmla="*/ 15849 w 15848"/>
                    <a:gd name="connsiteY15" fmla="*/ 2452 h 23803"/>
                    <a:gd name="connsiteX16" fmla="*/ 15789 w 15848"/>
                    <a:gd name="connsiteY16" fmla="*/ 0 h 2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848" h="23803">
                      <a:moveTo>
                        <a:pt x="0" y="23803"/>
                      </a:moveTo>
                      <a:lnTo>
                        <a:pt x="2213" y="22966"/>
                      </a:lnTo>
                      <a:lnTo>
                        <a:pt x="4007" y="21770"/>
                      </a:lnTo>
                      <a:lnTo>
                        <a:pt x="4725" y="21291"/>
                      </a:lnTo>
                      <a:lnTo>
                        <a:pt x="7117" y="19079"/>
                      </a:lnTo>
                      <a:lnTo>
                        <a:pt x="7356" y="18839"/>
                      </a:lnTo>
                      <a:lnTo>
                        <a:pt x="9330" y="16447"/>
                      </a:lnTo>
                      <a:lnTo>
                        <a:pt x="9868" y="15789"/>
                      </a:lnTo>
                      <a:lnTo>
                        <a:pt x="11662" y="13038"/>
                      </a:lnTo>
                      <a:lnTo>
                        <a:pt x="12141" y="12380"/>
                      </a:lnTo>
                      <a:lnTo>
                        <a:pt x="12440" y="11782"/>
                      </a:lnTo>
                      <a:lnTo>
                        <a:pt x="13935" y="8851"/>
                      </a:lnTo>
                      <a:lnTo>
                        <a:pt x="15071" y="5801"/>
                      </a:lnTo>
                      <a:lnTo>
                        <a:pt x="15191" y="5442"/>
                      </a:lnTo>
                      <a:lnTo>
                        <a:pt x="15370" y="4725"/>
                      </a:lnTo>
                      <a:lnTo>
                        <a:pt x="15849" y="2452"/>
                      </a:lnTo>
                      <a:lnTo>
                        <a:pt x="15789" y="0"/>
                      </a:lnTo>
                    </a:path>
                  </a:pathLst>
                </a:custGeom>
                <a:noFill/>
                <a:ln w="6350" cap="rnd">
                  <a:solidFill>
                    <a:schemeClr val="bg1">
                      <a:alpha val="40000"/>
                    </a:schemeClr>
                  </a:solidFill>
                  <a:prstDash val="solid"/>
                  <a:round/>
                </a:ln>
              </p:spPr>
              <p:txBody>
                <a:bodyPr rtlCol="0" anchor="ctr"/>
                <a:lstStyle/>
                <a:p>
                  <a:endParaRPr lang="en-GB"/>
                </a:p>
              </p:txBody>
            </p:sp>
            <p:sp>
              <p:nvSpPr>
                <p:cNvPr id="5553" name="Vrije vorm: vorm 5552">
                  <a:extLst>
                    <a:ext uri="{FF2B5EF4-FFF2-40B4-BE49-F238E27FC236}">
                      <a16:creationId xmlns:a16="http://schemas.microsoft.com/office/drawing/2014/main" id="{F7B23F08-C259-46C4-89AB-20C828117D22}"/>
                    </a:ext>
                  </a:extLst>
                </p:cNvPr>
                <p:cNvSpPr/>
                <p:nvPr/>
              </p:nvSpPr>
              <p:spPr>
                <a:xfrm>
                  <a:off x="6451245" y="1727213"/>
                  <a:ext cx="9090" cy="13815"/>
                </a:xfrm>
                <a:custGeom>
                  <a:avLst/>
                  <a:gdLst>
                    <a:gd name="connsiteX0" fmla="*/ 2572 w 9090"/>
                    <a:gd name="connsiteY0" fmla="*/ 13816 h 13815"/>
                    <a:gd name="connsiteX1" fmla="*/ 1555 w 9090"/>
                    <a:gd name="connsiteY1" fmla="*/ 13337 h 13815"/>
                    <a:gd name="connsiteX2" fmla="*/ 658 w 9090"/>
                    <a:gd name="connsiteY2" fmla="*/ 12380 h 13815"/>
                    <a:gd name="connsiteX3" fmla="*/ 419 w 9090"/>
                    <a:gd name="connsiteY3" fmla="*/ 11722 h 13815"/>
                    <a:gd name="connsiteX4" fmla="*/ 359 w 9090"/>
                    <a:gd name="connsiteY4" fmla="*/ 11543 h 13815"/>
                    <a:gd name="connsiteX5" fmla="*/ 120 w 9090"/>
                    <a:gd name="connsiteY5" fmla="*/ 10945 h 13815"/>
                    <a:gd name="connsiteX6" fmla="*/ 0 w 9090"/>
                    <a:gd name="connsiteY6" fmla="*/ 9210 h 13815"/>
                    <a:gd name="connsiteX7" fmla="*/ 0 w 9090"/>
                    <a:gd name="connsiteY7" fmla="*/ 7536 h 13815"/>
                    <a:gd name="connsiteX8" fmla="*/ 239 w 9090"/>
                    <a:gd name="connsiteY8" fmla="*/ 6280 h 13815"/>
                    <a:gd name="connsiteX9" fmla="*/ 239 w 9090"/>
                    <a:gd name="connsiteY9" fmla="*/ 6220 h 13815"/>
                    <a:gd name="connsiteX10" fmla="*/ 718 w 9090"/>
                    <a:gd name="connsiteY10" fmla="*/ 4964 h 13815"/>
                    <a:gd name="connsiteX11" fmla="*/ 1017 w 9090"/>
                    <a:gd name="connsiteY11" fmla="*/ 4426 h 13815"/>
                    <a:gd name="connsiteX12" fmla="*/ 1376 w 9090"/>
                    <a:gd name="connsiteY12" fmla="*/ 3768 h 13815"/>
                    <a:gd name="connsiteX13" fmla="*/ 2213 w 9090"/>
                    <a:gd name="connsiteY13" fmla="*/ 2751 h 13815"/>
                    <a:gd name="connsiteX14" fmla="*/ 3170 w 9090"/>
                    <a:gd name="connsiteY14" fmla="*/ 1974 h 13815"/>
                    <a:gd name="connsiteX15" fmla="*/ 4785 w 9090"/>
                    <a:gd name="connsiteY15" fmla="*/ 718 h 13815"/>
                    <a:gd name="connsiteX16" fmla="*/ 5742 w 9090"/>
                    <a:gd name="connsiteY16" fmla="*/ 239 h 13815"/>
                    <a:gd name="connsiteX17" fmla="*/ 5861 w 9090"/>
                    <a:gd name="connsiteY17" fmla="*/ 179 h 13815"/>
                    <a:gd name="connsiteX18" fmla="*/ 5921 w 9090"/>
                    <a:gd name="connsiteY18" fmla="*/ 179 h 13815"/>
                    <a:gd name="connsiteX19" fmla="*/ 7058 w 9090"/>
                    <a:gd name="connsiteY19" fmla="*/ 0 h 13815"/>
                    <a:gd name="connsiteX20" fmla="*/ 8074 w 9090"/>
                    <a:gd name="connsiteY20" fmla="*/ 179 h 13815"/>
                    <a:gd name="connsiteX21" fmla="*/ 9091 w 9090"/>
                    <a:gd name="connsiteY21" fmla="*/ 718 h 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90" h="13815">
                      <a:moveTo>
                        <a:pt x="2572" y="13816"/>
                      </a:moveTo>
                      <a:lnTo>
                        <a:pt x="1555" y="13337"/>
                      </a:lnTo>
                      <a:lnTo>
                        <a:pt x="658" y="12380"/>
                      </a:lnTo>
                      <a:lnTo>
                        <a:pt x="419" y="11722"/>
                      </a:lnTo>
                      <a:lnTo>
                        <a:pt x="359" y="11543"/>
                      </a:lnTo>
                      <a:lnTo>
                        <a:pt x="120" y="10945"/>
                      </a:lnTo>
                      <a:lnTo>
                        <a:pt x="0" y="9210"/>
                      </a:lnTo>
                      <a:lnTo>
                        <a:pt x="0" y="7536"/>
                      </a:lnTo>
                      <a:lnTo>
                        <a:pt x="239" y="6280"/>
                      </a:lnTo>
                      <a:lnTo>
                        <a:pt x="239" y="6220"/>
                      </a:lnTo>
                      <a:lnTo>
                        <a:pt x="718" y="4964"/>
                      </a:lnTo>
                      <a:lnTo>
                        <a:pt x="1017" y="4426"/>
                      </a:lnTo>
                      <a:lnTo>
                        <a:pt x="1376" y="3768"/>
                      </a:lnTo>
                      <a:lnTo>
                        <a:pt x="2213" y="2751"/>
                      </a:lnTo>
                      <a:lnTo>
                        <a:pt x="3170" y="1974"/>
                      </a:lnTo>
                      <a:lnTo>
                        <a:pt x="4785" y="718"/>
                      </a:lnTo>
                      <a:lnTo>
                        <a:pt x="5742" y="239"/>
                      </a:lnTo>
                      <a:lnTo>
                        <a:pt x="5861" y="179"/>
                      </a:lnTo>
                      <a:lnTo>
                        <a:pt x="5921" y="179"/>
                      </a:lnTo>
                      <a:lnTo>
                        <a:pt x="7058" y="0"/>
                      </a:lnTo>
                      <a:lnTo>
                        <a:pt x="8074" y="179"/>
                      </a:lnTo>
                      <a:lnTo>
                        <a:pt x="9091" y="718"/>
                      </a:lnTo>
                    </a:path>
                  </a:pathLst>
                </a:custGeom>
                <a:noFill/>
                <a:ln w="6350" cap="rnd">
                  <a:solidFill>
                    <a:schemeClr val="bg1">
                      <a:alpha val="40000"/>
                    </a:schemeClr>
                  </a:solidFill>
                  <a:prstDash val="solid"/>
                  <a:round/>
                </a:ln>
              </p:spPr>
              <p:txBody>
                <a:bodyPr rtlCol="0" anchor="ctr"/>
                <a:lstStyle/>
                <a:p>
                  <a:endParaRPr lang="en-GB"/>
                </a:p>
              </p:txBody>
            </p:sp>
            <p:sp>
              <p:nvSpPr>
                <p:cNvPr id="5554" name="Vrije vorm: vorm 5553">
                  <a:extLst>
                    <a:ext uri="{FF2B5EF4-FFF2-40B4-BE49-F238E27FC236}">
                      <a16:creationId xmlns:a16="http://schemas.microsoft.com/office/drawing/2014/main" id="{5C02497B-07DF-4CFA-8045-DB81050BA3C1}"/>
                    </a:ext>
                  </a:extLst>
                </p:cNvPr>
                <p:cNvSpPr/>
                <p:nvPr/>
              </p:nvSpPr>
              <p:spPr>
                <a:xfrm>
                  <a:off x="6452860" y="1739533"/>
                  <a:ext cx="3708" cy="8612"/>
                </a:xfrm>
                <a:custGeom>
                  <a:avLst/>
                  <a:gdLst>
                    <a:gd name="connsiteX0" fmla="*/ 3708 w 3708"/>
                    <a:gd name="connsiteY0" fmla="*/ 0 h 8612"/>
                    <a:gd name="connsiteX1" fmla="*/ 3469 w 3708"/>
                    <a:gd name="connsiteY1" fmla="*/ 1734 h 8612"/>
                    <a:gd name="connsiteX2" fmla="*/ 2930 w 3708"/>
                    <a:gd name="connsiteY2" fmla="*/ 3529 h 8612"/>
                    <a:gd name="connsiteX3" fmla="*/ 2871 w 3708"/>
                    <a:gd name="connsiteY3" fmla="*/ 3708 h 8612"/>
                    <a:gd name="connsiteX4" fmla="*/ 2572 w 3708"/>
                    <a:gd name="connsiteY4" fmla="*/ 4366 h 8612"/>
                    <a:gd name="connsiteX5" fmla="*/ 2153 w 3708"/>
                    <a:gd name="connsiteY5" fmla="*/ 5383 h 8612"/>
                    <a:gd name="connsiteX6" fmla="*/ 1136 w 3708"/>
                    <a:gd name="connsiteY6" fmla="*/ 7117 h 8612"/>
                    <a:gd name="connsiteX7" fmla="*/ 60 w 3708"/>
                    <a:gd name="connsiteY7" fmla="*/ 8493 h 8612"/>
                    <a:gd name="connsiteX8" fmla="*/ 0 w 3708"/>
                    <a:gd name="connsiteY8" fmla="*/ 8612 h 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8" h="8612">
                      <a:moveTo>
                        <a:pt x="3708" y="0"/>
                      </a:moveTo>
                      <a:lnTo>
                        <a:pt x="3469" y="1734"/>
                      </a:lnTo>
                      <a:lnTo>
                        <a:pt x="2930" y="3529"/>
                      </a:lnTo>
                      <a:lnTo>
                        <a:pt x="2871" y="3708"/>
                      </a:lnTo>
                      <a:lnTo>
                        <a:pt x="2572" y="4366"/>
                      </a:lnTo>
                      <a:lnTo>
                        <a:pt x="2153" y="5383"/>
                      </a:lnTo>
                      <a:lnTo>
                        <a:pt x="1136" y="7117"/>
                      </a:lnTo>
                      <a:lnTo>
                        <a:pt x="60" y="8493"/>
                      </a:lnTo>
                      <a:lnTo>
                        <a:pt x="0" y="8612"/>
                      </a:lnTo>
                    </a:path>
                  </a:pathLst>
                </a:custGeom>
                <a:noFill/>
                <a:ln w="6350" cap="rnd">
                  <a:solidFill>
                    <a:schemeClr val="bg1">
                      <a:alpha val="40000"/>
                    </a:schemeClr>
                  </a:solidFill>
                  <a:prstDash val="solid"/>
                  <a:round/>
                </a:ln>
              </p:spPr>
              <p:txBody>
                <a:bodyPr rtlCol="0" anchor="ctr"/>
                <a:lstStyle/>
                <a:p>
                  <a:endParaRPr lang="en-GB"/>
                </a:p>
              </p:txBody>
            </p:sp>
            <p:sp>
              <p:nvSpPr>
                <p:cNvPr id="5555" name="Vrije vorm: vorm 5554">
                  <a:extLst>
                    <a:ext uri="{FF2B5EF4-FFF2-40B4-BE49-F238E27FC236}">
                      <a16:creationId xmlns:a16="http://schemas.microsoft.com/office/drawing/2014/main" id="{0E1D77EF-1880-440B-9BD8-4BC6ABF9AEC3}"/>
                    </a:ext>
                  </a:extLst>
                </p:cNvPr>
                <p:cNvSpPr/>
                <p:nvPr/>
              </p:nvSpPr>
              <p:spPr>
                <a:xfrm>
                  <a:off x="6452800" y="1740011"/>
                  <a:ext cx="4066" cy="956"/>
                </a:xfrm>
                <a:custGeom>
                  <a:avLst/>
                  <a:gdLst>
                    <a:gd name="connsiteX0" fmla="*/ 4067 w 4066"/>
                    <a:gd name="connsiteY0" fmla="*/ 0 h 956"/>
                    <a:gd name="connsiteX1" fmla="*/ 2572 w 4066"/>
                    <a:gd name="connsiteY1" fmla="*/ 778 h 956"/>
                    <a:gd name="connsiteX2" fmla="*/ 1196 w 4066"/>
                    <a:gd name="connsiteY2" fmla="*/ 957 h 956"/>
                    <a:gd name="connsiteX3" fmla="*/ 837 w 4066"/>
                    <a:gd name="connsiteY3" fmla="*/ 837 h 956"/>
                    <a:gd name="connsiteX4" fmla="*/ 0 w 4066"/>
                    <a:gd name="connsiteY4" fmla="*/ 538 h 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956">
                      <a:moveTo>
                        <a:pt x="4067" y="0"/>
                      </a:moveTo>
                      <a:lnTo>
                        <a:pt x="2572" y="778"/>
                      </a:lnTo>
                      <a:lnTo>
                        <a:pt x="1196" y="957"/>
                      </a:lnTo>
                      <a:lnTo>
                        <a:pt x="837" y="837"/>
                      </a:lnTo>
                      <a:lnTo>
                        <a:pt x="0" y="538"/>
                      </a:lnTo>
                    </a:path>
                  </a:pathLst>
                </a:custGeom>
                <a:noFill/>
                <a:ln w="6350" cap="rnd">
                  <a:solidFill>
                    <a:schemeClr val="bg1">
                      <a:alpha val="40000"/>
                    </a:schemeClr>
                  </a:solidFill>
                  <a:prstDash val="solid"/>
                  <a:round/>
                </a:ln>
              </p:spPr>
              <p:txBody>
                <a:bodyPr rtlCol="0" anchor="ctr"/>
                <a:lstStyle/>
                <a:p>
                  <a:endParaRPr lang="en-GB"/>
                </a:p>
              </p:txBody>
            </p:sp>
            <p:sp>
              <p:nvSpPr>
                <p:cNvPr id="5556" name="Vrije vorm: vorm 5555">
                  <a:extLst>
                    <a:ext uri="{FF2B5EF4-FFF2-40B4-BE49-F238E27FC236}">
                      <a16:creationId xmlns:a16="http://schemas.microsoft.com/office/drawing/2014/main" id="{4B06C4A3-B669-4D5D-931B-050343C05FF1}"/>
                    </a:ext>
                  </a:extLst>
                </p:cNvPr>
                <p:cNvSpPr/>
                <p:nvPr/>
              </p:nvSpPr>
              <p:spPr>
                <a:xfrm>
                  <a:off x="6454714" y="1735287"/>
                  <a:ext cx="1435" cy="1435"/>
                </a:xfrm>
                <a:custGeom>
                  <a:avLst/>
                  <a:gdLst>
                    <a:gd name="connsiteX0" fmla="*/ 0 w 1435"/>
                    <a:gd name="connsiteY0" fmla="*/ 0 h 1435"/>
                    <a:gd name="connsiteX1" fmla="*/ 778 w 1435"/>
                    <a:gd name="connsiteY1" fmla="*/ 478 h 1435"/>
                    <a:gd name="connsiteX2" fmla="*/ 837 w 1435"/>
                    <a:gd name="connsiteY2" fmla="*/ 538 h 1435"/>
                    <a:gd name="connsiteX3" fmla="*/ 1435 w 1435"/>
                    <a:gd name="connsiteY3" fmla="*/ 1435 h 1435"/>
                  </a:gdLst>
                  <a:ahLst/>
                  <a:cxnLst>
                    <a:cxn ang="0">
                      <a:pos x="connsiteX0" y="connsiteY0"/>
                    </a:cxn>
                    <a:cxn ang="0">
                      <a:pos x="connsiteX1" y="connsiteY1"/>
                    </a:cxn>
                    <a:cxn ang="0">
                      <a:pos x="connsiteX2" y="connsiteY2"/>
                    </a:cxn>
                    <a:cxn ang="0">
                      <a:pos x="connsiteX3" y="connsiteY3"/>
                    </a:cxn>
                  </a:cxnLst>
                  <a:rect l="l" t="t" r="r" b="b"/>
                  <a:pathLst>
                    <a:path w="1435" h="1435">
                      <a:moveTo>
                        <a:pt x="0" y="0"/>
                      </a:moveTo>
                      <a:lnTo>
                        <a:pt x="778" y="478"/>
                      </a:lnTo>
                      <a:lnTo>
                        <a:pt x="837" y="538"/>
                      </a:lnTo>
                      <a:lnTo>
                        <a:pt x="1435" y="1435"/>
                      </a:lnTo>
                    </a:path>
                  </a:pathLst>
                </a:custGeom>
                <a:noFill/>
                <a:ln w="6350" cap="rnd">
                  <a:solidFill>
                    <a:schemeClr val="bg1">
                      <a:alpha val="40000"/>
                    </a:schemeClr>
                  </a:solidFill>
                  <a:prstDash val="solid"/>
                  <a:round/>
                </a:ln>
              </p:spPr>
              <p:txBody>
                <a:bodyPr rtlCol="0" anchor="ctr"/>
                <a:lstStyle/>
                <a:p>
                  <a:endParaRPr lang="en-GB"/>
                </a:p>
              </p:txBody>
            </p:sp>
            <p:sp>
              <p:nvSpPr>
                <p:cNvPr id="5557" name="Vrije vorm: vorm 5556">
                  <a:extLst>
                    <a:ext uri="{FF2B5EF4-FFF2-40B4-BE49-F238E27FC236}">
                      <a16:creationId xmlns:a16="http://schemas.microsoft.com/office/drawing/2014/main" id="{868F99B4-3F10-4D82-966E-EB13EAE74E7F}"/>
                    </a:ext>
                  </a:extLst>
                </p:cNvPr>
                <p:cNvSpPr/>
                <p:nvPr/>
              </p:nvSpPr>
              <p:spPr>
                <a:xfrm>
                  <a:off x="6497895" y="1701974"/>
                  <a:ext cx="5562" cy="5681"/>
                </a:xfrm>
                <a:custGeom>
                  <a:avLst/>
                  <a:gdLst>
                    <a:gd name="connsiteX0" fmla="*/ 5024 w 5562"/>
                    <a:gd name="connsiteY0" fmla="*/ 3888 h 5681"/>
                    <a:gd name="connsiteX1" fmla="*/ 5083 w 5562"/>
                    <a:gd name="connsiteY1" fmla="*/ 3768 h 5681"/>
                    <a:gd name="connsiteX2" fmla="*/ 5083 w 5562"/>
                    <a:gd name="connsiteY2" fmla="*/ 3648 h 5681"/>
                    <a:gd name="connsiteX3" fmla="*/ 5143 w 5562"/>
                    <a:gd name="connsiteY3" fmla="*/ 3469 h 5681"/>
                    <a:gd name="connsiteX4" fmla="*/ 5562 w 5562"/>
                    <a:gd name="connsiteY4" fmla="*/ 1675 h 5681"/>
                    <a:gd name="connsiteX5" fmla="*/ 4486 w 5562"/>
                    <a:gd name="connsiteY5" fmla="*/ 1017 h 5681"/>
                    <a:gd name="connsiteX6" fmla="*/ 4067 w 5562"/>
                    <a:gd name="connsiteY6" fmla="*/ 778 h 5681"/>
                    <a:gd name="connsiteX7" fmla="*/ 3170 w 5562"/>
                    <a:gd name="connsiteY7" fmla="*/ 239 h 5681"/>
                    <a:gd name="connsiteX8" fmla="*/ 2751 w 5562"/>
                    <a:gd name="connsiteY8" fmla="*/ 0 h 5681"/>
                    <a:gd name="connsiteX9" fmla="*/ 1316 w 5562"/>
                    <a:gd name="connsiteY9" fmla="*/ 1316 h 5681"/>
                    <a:gd name="connsiteX10" fmla="*/ 1256 w 5562"/>
                    <a:gd name="connsiteY10" fmla="*/ 1376 h 5681"/>
                    <a:gd name="connsiteX11" fmla="*/ 1076 w 5562"/>
                    <a:gd name="connsiteY11" fmla="*/ 1555 h 5681"/>
                    <a:gd name="connsiteX12" fmla="*/ 658 w 5562"/>
                    <a:gd name="connsiteY12" fmla="*/ 1974 h 5681"/>
                    <a:gd name="connsiteX13" fmla="*/ 478 w 5562"/>
                    <a:gd name="connsiteY13" fmla="*/ 2811 h 5681"/>
                    <a:gd name="connsiteX14" fmla="*/ 299 w 5562"/>
                    <a:gd name="connsiteY14" fmla="*/ 3469 h 5681"/>
                    <a:gd name="connsiteX15" fmla="*/ 299 w 5562"/>
                    <a:gd name="connsiteY15" fmla="*/ 3529 h 5681"/>
                    <a:gd name="connsiteX16" fmla="*/ 119 w 5562"/>
                    <a:gd name="connsiteY16" fmla="*/ 4306 h 5681"/>
                    <a:gd name="connsiteX17" fmla="*/ 60 w 5562"/>
                    <a:gd name="connsiteY17" fmla="*/ 4545 h 5681"/>
                    <a:gd name="connsiteX18" fmla="*/ 0 w 5562"/>
                    <a:gd name="connsiteY18" fmla="*/ 4785 h 5681"/>
                    <a:gd name="connsiteX19" fmla="*/ 119 w 5562"/>
                    <a:gd name="connsiteY19" fmla="*/ 4904 h 5681"/>
                    <a:gd name="connsiteX20" fmla="*/ 1136 w 5562"/>
                    <a:gd name="connsiteY20" fmla="*/ 5562 h 5681"/>
                    <a:gd name="connsiteX21" fmla="*/ 1375 w 5562"/>
                    <a:gd name="connsiteY21" fmla="*/ 5682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62" h="5681">
                      <a:moveTo>
                        <a:pt x="5024" y="3888"/>
                      </a:moveTo>
                      <a:lnTo>
                        <a:pt x="5083" y="3768"/>
                      </a:lnTo>
                      <a:lnTo>
                        <a:pt x="5083" y="3648"/>
                      </a:lnTo>
                      <a:lnTo>
                        <a:pt x="5143" y="3469"/>
                      </a:lnTo>
                      <a:lnTo>
                        <a:pt x="5562" y="1675"/>
                      </a:lnTo>
                      <a:lnTo>
                        <a:pt x="4486" y="1017"/>
                      </a:lnTo>
                      <a:lnTo>
                        <a:pt x="4067" y="778"/>
                      </a:lnTo>
                      <a:lnTo>
                        <a:pt x="3170" y="239"/>
                      </a:lnTo>
                      <a:lnTo>
                        <a:pt x="2751" y="0"/>
                      </a:lnTo>
                      <a:lnTo>
                        <a:pt x="1316" y="1316"/>
                      </a:lnTo>
                      <a:lnTo>
                        <a:pt x="1256" y="1376"/>
                      </a:lnTo>
                      <a:lnTo>
                        <a:pt x="1076" y="1555"/>
                      </a:lnTo>
                      <a:lnTo>
                        <a:pt x="658" y="1974"/>
                      </a:lnTo>
                      <a:lnTo>
                        <a:pt x="478" y="2811"/>
                      </a:lnTo>
                      <a:lnTo>
                        <a:pt x="299" y="3469"/>
                      </a:lnTo>
                      <a:lnTo>
                        <a:pt x="299" y="3529"/>
                      </a:lnTo>
                      <a:lnTo>
                        <a:pt x="119" y="4306"/>
                      </a:lnTo>
                      <a:lnTo>
                        <a:pt x="60" y="4545"/>
                      </a:lnTo>
                      <a:lnTo>
                        <a:pt x="0" y="4785"/>
                      </a:lnTo>
                      <a:lnTo>
                        <a:pt x="119" y="4904"/>
                      </a:lnTo>
                      <a:lnTo>
                        <a:pt x="1136" y="5562"/>
                      </a:lnTo>
                      <a:lnTo>
                        <a:pt x="1375" y="5682"/>
                      </a:lnTo>
                    </a:path>
                  </a:pathLst>
                </a:custGeom>
                <a:noFill/>
                <a:ln w="6350" cap="rnd">
                  <a:solidFill>
                    <a:schemeClr val="bg1">
                      <a:alpha val="40000"/>
                    </a:schemeClr>
                  </a:solidFill>
                  <a:prstDash val="solid"/>
                  <a:round/>
                </a:ln>
              </p:spPr>
              <p:txBody>
                <a:bodyPr rtlCol="0" anchor="ctr"/>
                <a:lstStyle/>
                <a:p>
                  <a:endParaRPr lang="en-GB"/>
                </a:p>
              </p:txBody>
            </p:sp>
            <p:sp>
              <p:nvSpPr>
                <p:cNvPr id="5558" name="Vrije vorm: vorm 5557">
                  <a:extLst>
                    <a:ext uri="{FF2B5EF4-FFF2-40B4-BE49-F238E27FC236}">
                      <a16:creationId xmlns:a16="http://schemas.microsoft.com/office/drawing/2014/main" id="{6FC914B6-8B87-49EE-ACF6-D345C3E815AC}"/>
                    </a:ext>
                  </a:extLst>
                </p:cNvPr>
                <p:cNvSpPr/>
                <p:nvPr/>
              </p:nvSpPr>
              <p:spPr>
                <a:xfrm>
                  <a:off x="6482165" y="1739832"/>
                  <a:ext cx="5621" cy="6519"/>
                </a:xfrm>
                <a:custGeom>
                  <a:avLst/>
                  <a:gdLst>
                    <a:gd name="connsiteX0" fmla="*/ 4904 w 5621"/>
                    <a:gd name="connsiteY0" fmla="*/ 4605 h 6519"/>
                    <a:gd name="connsiteX1" fmla="*/ 5263 w 5621"/>
                    <a:gd name="connsiteY1" fmla="*/ 3170 h 6519"/>
                    <a:gd name="connsiteX2" fmla="*/ 5622 w 5621"/>
                    <a:gd name="connsiteY2" fmla="*/ 1734 h 6519"/>
                    <a:gd name="connsiteX3" fmla="*/ 5024 w 5621"/>
                    <a:gd name="connsiteY3" fmla="*/ 1316 h 6519"/>
                    <a:gd name="connsiteX4" fmla="*/ 4187 w 5621"/>
                    <a:gd name="connsiteY4" fmla="*/ 718 h 6519"/>
                    <a:gd name="connsiteX5" fmla="*/ 4067 w 5621"/>
                    <a:gd name="connsiteY5" fmla="*/ 658 h 6519"/>
                    <a:gd name="connsiteX6" fmla="*/ 3050 w 5621"/>
                    <a:gd name="connsiteY6" fmla="*/ 120 h 6519"/>
                    <a:gd name="connsiteX7" fmla="*/ 2811 w 5621"/>
                    <a:gd name="connsiteY7" fmla="*/ 0 h 6519"/>
                    <a:gd name="connsiteX8" fmla="*/ 718 w 5621"/>
                    <a:gd name="connsiteY8" fmla="*/ 1854 h 6519"/>
                    <a:gd name="connsiteX9" fmla="*/ 478 w 5621"/>
                    <a:gd name="connsiteY9" fmla="*/ 2811 h 6519"/>
                    <a:gd name="connsiteX10" fmla="*/ 359 w 5621"/>
                    <a:gd name="connsiteY10" fmla="*/ 3289 h 6519"/>
                    <a:gd name="connsiteX11" fmla="*/ 359 w 5621"/>
                    <a:gd name="connsiteY11" fmla="*/ 3289 h 6519"/>
                    <a:gd name="connsiteX12" fmla="*/ 0 w 5621"/>
                    <a:gd name="connsiteY12" fmla="*/ 4725 h 6519"/>
                    <a:gd name="connsiteX13" fmla="*/ 718 w 5621"/>
                    <a:gd name="connsiteY13" fmla="*/ 5263 h 6519"/>
                    <a:gd name="connsiteX14" fmla="*/ 1435 w 5621"/>
                    <a:gd name="connsiteY14" fmla="*/ 5801 h 6519"/>
                    <a:gd name="connsiteX15" fmla="*/ 2811 w 5621"/>
                    <a:gd name="connsiteY15" fmla="*/ 6519 h 6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21" h="6519">
                      <a:moveTo>
                        <a:pt x="4904" y="4605"/>
                      </a:moveTo>
                      <a:lnTo>
                        <a:pt x="5263" y="3170"/>
                      </a:lnTo>
                      <a:lnTo>
                        <a:pt x="5622" y="1734"/>
                      </a:lnTo>
                      <a:lnTo>
                        <a:pt x="5024" y="1316"/>
                      </a:lnTo>
                      <a:lnTo>
                        <a:pt x="4187" y="718"/>
                      </a:lnTo>
                      <a:lnTo>
                        <a:pt x="4067" y="658"/>
                      </a:lnTo>
                      <a:lnTo>
                        <a:pt x="3050" y="120"/>
                      </a:lnTo>
                      <a:lnTo>
                        <a:pt x="2811" y="0"/>
                      </a:lnTo>
                      <a:lnTo>
                        <a:pt x="718" y="1854"/>
                      </a:lnTo>
                      <a:lnTo>
                        <a:pt x="478" y="2811"/>
                      </a:lnTo>
                      <a:lnTo>
                        <a:pt x="359" y="3289"/>
                      </a:lnTo>
                      <a:lnTo>
                        <a:pt x="359" y="3289"/>
                      </a:lnTo>
                      <a:lnTo>
                        <a:pt x="0" y="4725"/>
                      </a:lnTo>
                      <a:lnTo>
                        <a:pt x="718" y="5263"/>
                      </a:lnTo>
                      <a:lnTo>
                        <a:pt x="1435" y="5801"/>
                      </a:lnTo>
                      <a:lnTo>
                        <a:pt x="2811" y="6519"/>
                      </a:lnTo>
                    </a:path>
                  </a:pathLst>
                </a:custGeom>
                <a:noFill/>
                <a:ln w="6350" cap="rnd">
                  <a:solidFill>
                    <a:schemeClr val="bg1">
                      <a:alpha val="40000"/>
                    </a:schemeClr>
                  </a:solidFill>
                  <a:prstDash val="solid"/>
                  <a:round/>
                </a:ln>
              </p:spPr>
              <p:txBody>
                <a:bodyPr rtlCol="0" anchor="ctr"/>
                <a:lstStyle/>
                <a:p>
                  <a:endParaRPr lang="en-GB"/>
                </a:p>
              </p:txBody>
            </p:sp>
            <p:sp>
              <p:nvSpPr>
                <p:cNvPr id="5559" name="Vrije vorm: vorm 5558">
                  <a:extLst>
                    <a:ext uri="{FF2B5EF4-FFF2-40B4-BE49-F238E27FC236}">
                      <a16:creationId xmlns:a16="http://schemas.microsoft.com/office/drawing/2014/main" id="{38DAA0E1-36B4-4CD1-9158-430C665DF980}"/>
                    </a:ext>
                  </a:extLst>
                </p:cNvPr>
                <p:cNvSpPr/>
                <p:nvPr/>
              </p:nvSpPr>
              <p:spPr>
                <a:xfrm>
                  <a:off x="6484916" y="1743720"/>
                  <a:ext cx="2093" cy="2571"/>
                </a:xfrm>
                <a:custGeom>
                  <a:avLst/>
                  <a:gdLst>
                    <a:gd name="connsiteX0" fmla="*/ 0 w 2093"/>
                    <a:gd name="connsiteY0" fmla="*/ 2572 h 2571"/>
                    <a:gd name="connsiteX1" fmla="*/ 1615 w 2093"/>
                    <a:gd name="connsiteY1" fmla="*/ 1136 h 2571"/>
                    <a:gd name="connsiteX2" fmla="*/ 2093 w 2093"/>
                    <a:gd name="connsiteY2" fmla="*/ 718 h 2571"/>
                    <a:gd name="connsiteX3" fmla="*/ 1316 w 2093"/>
                    <a:gd name="connsiteY3" fmla="*/ 299 h 2571"/>
                    <a:gd name="connsiteX4" fmla="*/ 718 w 2093"/>
                    <a:gd name="connsiteY4" fmla="*/ 0 h 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 h="2571">
                      <a:moveTo>
                        <a:pt x="0" y="2572"/>
                      </a:moveTo>
                      <a:lnTo>
                        <a:pt x="1615" y="1136"/>
                      </a:lnTo>
                      <a:lnTo>
                        <a:pt x="2093" y="718"/>
                      </a:lnTo>
                      <a:lnTo>
                        <a:pt x="1316" y="299"/>
                      </a:lnTo>
                      <a:lnTo>
                        <a:pt x="718" y="0"/>
                      </a:lnTo>
                    </a:path>
                  </a:pathLst>
                </a:custGeom>
                <a:noFill/>
                <a:ln w="6350" cap="rnd">
                  <a:solidFill>
                    <a:schemeClr val="bg1">
                      <a:alpha val="40000"/>
                    </a:schemeClr>
                  </a:solidFill>
                  <a:prstDash val="solid"/>
                  <a:round/>
                </a:ln>
              </p:spPr>
              <p:txBody>
                <a:bodyPr rtlCol="0" anchor="ctr"/>
                <a:lstStyle/>
                <a:p>
                  <a:endParaRPr lang="en-GB"/>
                </a:p>
              </p:txBody>
            </p:sp>
            <p:sp>
              <p:nvSpPr>
                <p:cNvPr id="5560" name="Vrije vorm: vorm 5559">
                  <a:extLst>
                    <a:ext uri="{FF2B5EF4-FFF2-40B4-BE49-F238E27FC236}">
                      <a16:creationId xmlns:a16="http://schemas.microsoft.com/office/drawing/2014/main" id="{ABE1B4D1-B5DF-456A-AF54-F81096DA0D09}"/>
                    </a:ext>
                  </a:extLst>
                </p:cNvPr>
                <p:cNvSpPr/>
                <p:nvPr/>
              </p:nvSpPr>
              <p:spPr>
                <a:xfrm>
                  <a:off x="6484617" y="1742404"/>
                  <a:ext cx="657" cy="1255"/>
                </a:xfrm>
                <a:custGeom>
                  <a:avLst/>
                  <a:gdLst>
                    <a:gd name="connsiteX0" fmla="*/ 0 w 657"/>
                    <a:gd name="connsiteY0" fmla="*/ 1256 h 1255"/>
                    <a:gd name="connsiteX1" fmla="*/ 0 w 657"/>
                    <a:gd name="connsiteY1" fmla="*/ 1256 h 1255"/>
                    <a:gd name="connsiteX2" fmla="*/ 120 w 657"/>
                    <a:gd name="connsiteY2" fmla="*/ 837 h 1255"/>
                    <a:gd name="connsiteX3" fmla="*/ 299 w 657"/>
                    <a:gd name="connsiteY3" fmla="*/ 478 h 1255"/>
                    <a:gd name="connsiteX4" fmla="*/ 538 w 657"/>
                    <a:gd name="connsiteY4" fmla="*/ 120 h 1255"/>
                    <a:gd name="connsiteX5" fmla="*/ 658 w 657"/>
                    <a:gd name="connsiteY5" fmla="*/ 0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7" h="1255">
                      <a:moveTo>
                        <a:pt x="0" y="1256"/>
                      </a:moveTo>
                      <a:lnTo>
                        <a:pt x="0" y="1256"/>
                      </a:lnTo>
                      <a:lnTo>
                        <a:pt x="120" y="837"/>
                      </a:lnTo>
                      <a:lnTo>
                        <a:pt x="299" y="478"/>
                      </a:lnTo>
                      <a:lnTo>
                        <a:pt x="538" y="120"/>
                      </a:lnTo>
                      <a:lnTo>
                        <a:pt x="658" y="0"/>
                      </a:lnTo>
                    </a:path>
                  </a:pathLst>
                </a:custGeom>
                <a:noFill/>
                <a:ln w="6350" cap="rnd">
                  <a:solidFill>
                    <a:schemeClr val="bg1">
                      <a:alpha val="40000"/>
                    </a:schemeClr>
                  </a:solidFill>
                  <a:prstDash val="solid"/>
                  <a:round/>
                </a:ln>
              </p:spPr>
              <p:txBody>
                <a:bodyPr rtlCol="0" anchor="ctr"/>
                <a:lstStyle/>
                <a:p>
                  <a:endParaRPr lang="en-GB"/>
                </a:p>
              </p:txBody>
            </p:sp>
            <p:sp>
              <p:nvSpPr>
                <p:cNvPr id="5561" name="Vrije vorm: vorm 5560">
                  <a:extLst>
                    <a:ext uri="{FF2B5EF4-FFF2-40B4-BE49-F238E27FC236}">
                      <a16:creationId xmlns:a16="http://schemas.microsoft.com/office/drawing/2014/main" id="{2B442621-964A-44F4-988C-BD0EBC46BC77}"/>
                    </a:ext>
                  </a:extLst>
                </p:cNvPr>
                <p:cNvSpPr/>
                <p:nvPr/>
              </p:nvSpPr>
              <p:spPr>
                <a:xfrm>
                  <a:off x="6483242" y="1741267"/>
                  <a:ext cx="2152" cy="2810"/>
                </a:xfrm>
                <a:custGeom>
                  <a:avLst/>
                  <a:gdLst>
                    <a:gd name="connsiteX0" fmla="*/ 1854 w 2152"/>
                    <a:gd name="connsiteY0" fmla="*/ 60 h 2810"/>
                    <a:gd name="connsiteX1" fmla="*/ 1674 w 2152"/>
                    <a:gd name="connsiteY1" fmla="*/ 0 h 2810"/>
                    <a:gd name="connsiteX2" fmla="*/ 1435 w 2152"/>
                    <a:gd name="connsiteY2" fmla="*/ 0 h 2810"/>
                    <a:gd name="connsiteX3" fmla="*/ 1136 w 2152"/>
                    <a:gd name="connsiteY3" fmla="*/ 120 h 2810"/>
                    <a:gd name="connsiteX4" fmla="*/ 837 w 2152"/>
                    <a:gd name="connsiteY4" fmla="*/ 299 h 2810"/>
                    <a:gd name="connsiteX5" fmla="*/ 598 w 2152"/>
                    <a:gd name="connsiteY5" fmla="*/ 598 h 2810"/>
                    <a:gd name="connsiteX6" fmla="*/ 359 w 2152"/>
                    <a:gd name="connsiteY6" fmla="*/ 957 h 2810"/>
                    <a:gd name="connsiteX7" fmla="*/ 179 w 2152"/>
                    <a:gd name="connsiteY7" fmla="*/ 1316 h 2810"/>
                    <a:gd name="connsiteX8" fmla="*/ 60 w 2152"/>
                    <a:gd name="connsiteY8" fmla="*/ 1675 h 2810"/>
                    <a:gd name="connsiteX9" fmla="*/ 0 w 2152"/>
                    <a:gd name="connsiteY9" fmla="*/ 2033 h 2810"/>
                    <a:gd name="connsiteX10" fmla="*/ 0 w 2152"/>
                    <a:gd name="connsiteY10" fmla="*/ 2332 h 2810"/>
                    <a:gd name="connsiteX11" fmla="*/ 60 w 2152"/>
                    <a:gd name="connsiteY11" fmla="*/ 2572 h 2810"/>
                    <a:gd name="connsiteX12" fmla="*/ 239 w 2152"/>
                    <a:gd name="connsiteY12" fmla="*/ 2751 h 2810"/>
                    <a:gd name="connsiteX13" fmla="*/ 419 w 2152"/>
                    <a:gd name="connsiteY13" fmla="*/ 2811 h 2810"/>
                    <a:gd name="connsiteX14" fmla="*/ 598 w 2152"/>
                    <a:gd name="connsiteY14" fmla="*/ 2811 h 2810"/>
                    <a:gd name="connsiteX15" fmla="*/ 718 w 2152"/>
                    <a:gd name="connsiteY15" fmla="*/ 2811 h 2810"/>
                    <a:gd name="connsiteX16" fmla="*/ 1017 w 2152"/>
                    <a:gd name="connsiteY16" fmla="*/ 2691 h 2810"/>
                    <a:gd name="connsiteX17" fmla="*/ 1316 w 2152"/>
                    <a:gd name="connsiteY17" fmla="*/ 2512 h 2810"/>
                    <a:gd name="connsiteX18" fmla="*/ 1316 w 2152"/>
                    <a:gd name="connsiteY18" fmla="*/ 2512 h 2810"/>
                    <a:gd name="connsiteX19" fmla="*/ 1435 w 2152"/>
                    <a:gd name="connsiteY19" fmla="*/ 2332 h 2810"/>
                    <a:gd name="connsiteX20" fmla="*/ 1555 w 2152"/>
                    <a:gd name="connsiteY20" fmla="*/ 2213 h 2810"/>
                    <a:gd name="connsiteX21" fmla="*/ 1794 w 2152"/>
                    <a:gd name="connsiteY21" fmla="*/ 1854 h 2810"/>
                    <a:gd name="connsiteX22" fmla="*/ 1974 w 2152"/>
                    <a:gd name="connsiteY22" fmla="*/ 1495 h 2810"/>
                    <a:gd name="connsiteX23" fmla="*/ 2093 w 2152"/>
                    <a:gd name="connsiteY23" fmla="*/ 1136 h 2810"/>
                    <a:gd name="connsiteX24" fmla="*/ 2093 w 2152"/>
                    <a:gd name="connsiteY24" fmla="*/ 1136 h 2810"/>
                    <a:gd name="connsiteX25" fmla="*/ 2153 w 2152"/>
                    <a:gd name="connsiteY25" fmla="*/ 778 h 2810"/>
                    <a:gd name="connsiteX26" fmla="*/ 2153 w 2152"/>
                    <a:gd name="connsiteY26" fmla="*/ 478 h 2810"/>
                    <a:gd name="connsiteX27" fmla="*/ 2093 w 2152"/>
                    <a:gd name="connsiteY27" fmla="*/ 239 h 2810"/>
                    <a:gd name="connsiteX28" fmla="*/ 2093 w 2152"/>
                    <a:gd name="connsiteY28" fmla="*/ 239 h 2810"/>
                    <a:gd name="connsiteX29" fmla="*/ 2093 w 2152"/>
                    <a:gd name="connsiteY29" fmla="*/ 239 h 2810"/>
                    <a:gd name="connsiteX30" fmla="*/ 1854 w 2152"/>
                    <a:gd name="connsiteY30" fmla="*/ 60 h 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52" h="2810">
                      <a:moveTo>
                        <a:pt x="1854" y="60"/>
                      </a:moveTo>
                      <a:lnTo>
                        <a:pt x="1674" y="0"/>
                      </a:lnTo>
                      <a:lnTo>
                        <a:pt x="1435" y="0"/>
                      </a:lnTo>
                      <a:lnTo>
                        <a:pt x="1136" y="120"/>
                      </a:lnTo>
                      <a:lnTo>
                        <a:pt x="837" y="299"/>
                      </a:lnTo>
                      <a:lnTo>
                        <a:pt x="598" y="598"/>
                      </a:lnTo>
                      <a:lnTo>
                        <a:pt x="359" y="957"/>
                      </a:lnTo>
                      <a:lnTo>
                        <a:pt x="179" y="1316"/>
                      </a:lnTo>
                      <a:lnTo>
                        <a:pt x="60" y="1675"/>
                      </a:lnTo>
                      <a:lnTo>
                        <a:pt x="0" y="2033"/>
                      </a:lnTo>
                      <a:lnTo>
                        <a:pt x="0" y="2332"/>
                      </a:lnTo>
                      <a:lnTo>
                        <a:pt x="60" y="2572"/>
                      </a:lnTo>
                      <a:lnTo>
                        <a:pt x="239" y="2751"/>
                      </a:lnTo>
                      <a:lnTo>
                        <a:pt x="419" y="2811"/>
                      </a:lnTo>
                      <a:lnTo>
                        <a:pt x="598" y="2811"/>
                      </a:lnTo>
                      <a:lnTo>
                        <a:pt x="718" y="2811"/>
                      </a:lnTo>
                      <a:lnTo>
                        <a:pt x="1017" y="2691"/>
                      </a:lnTo>
                      <a:lnTo>
                        <a:pt x="1316" y="2512"/>
                      </a:lnTo>
                      <a:lnTo>
                        <a:pt x="1316" y="2512"/>
                      </a:lnTo>
                      <a:lnTo>
                        <a:pt x="1435" y="2332"/>
                      </a:lnTo>
                      <a:lnTo>
                        <a:pt x="1555" y="2213"/>
                      </a:lnTo>
                      <a:lnTo>
                        <a:pt x="1794" y="1854"/>
                      </a:lnTo>
                      <a:lnTo>
                        <a:pt x="1974" y="1495"/>
                      </a:lnTo>
                      <a:lnTo>
                        <a:pt x="2093" y="1136"/>
                      </a:lnTo>
                      <a:lnTo>
                        <a:pt x="2093" y="1136"/>
                      </a:lnTo>
                      <a:lnTo>
                        <a:pt x="2153" y="778"/>
                      </a:lnTo>
                      <a:lnTo>
                        <a:pt x="2153" y="478"/>
                      </a:lnTo>
                      <a:lnTo>
                        <a:pt x="2093" y="239"/>
                      </a:lnTo>
                      <a:lnTo>
                        <a:pt x="2093" y="239"/>
                      </a:lnTo>
                      <a:lnTo>
                        <a:pt x="2093" y="239"/>
                      </a:lnTo>
                      <a:lnTo>
                        <a:pt x="1854" y="60"/>
                      </a:lnTo>
                    </a:path>
                  </a:pathLst>
                </a:custGeom>
                <a:noFill/>
                <a:ln w="6350" cap="rnd">
                  <a:solidFill>
                    <a:schemeClr val="bg1">
                      <a:alpha val="40000"/>
                    </a:schemeClr>
                  </a:solidFill>
                  <a:prstDash val="solid"/>
                  <a:round/>
                </a:ln>
              </p:spPr>
              <p:txBody>
                <a:bodyPr rtlCol="0" anchor="ctr"/>
                <a:lstStyle/>
                <a:p>
                  <a:endParaRPr lang="en-GB"/>
                </a:p>
              </p:txBody>
            </p:sp>
            <p:sp>
              <p:nvSpPr>
                <p:cNvPr id="5562" name="Vrije vorm: vorm 5561">
                  <a:extLst>
                    <a:ext uri="{FF2B5EF4-FFF2-40B4-BE49-F238E27FC236}">
                      <a16:creationId xmlns:a16="http://schemas.microsoft.com/office/drawing/2014/main" id="{802FA5EA-8052-4CD8-B0F4-1150F4E5281F}"/>
                    </a:ext>
                  </a:extLst>
                </p:cNvPr>
                <p:cNvSpPr/>
                <p:nvPr/>
              </p:nvSpPr>
              <p:spPr>
                <a:xfrm>
                  <a:off x="6483601" y="1739772"/>
                  <a:ext cx="2810" cy="5741"/>
                </a:xfrm>
                <a:custGeom>
                  <a:avLst/>
                  <a:gdLst>
                    <a:gd name="connsiteX0" fmla="*/ 1375 w 2810"/>
                    <a:gd name="connsiteY0" fmla="*/ 0 h 5741"/>
                    <a:gd name="connsiteX1" fmla="*/ 1555 w 2810"/>
                    <a:gd name="connsiteY1" fmla="*/ 120 h 5741"/>
                    <a:gd name="connsiteX2" fmla="*/ 2213 w 2810"/>
                    <a:gd name="connsiteY2" fmla="*/ 598 h 5741"/>
                    <a:gd name="connsiteX3" fmla="*/ 2572 w 2810"/>
                    <a:gd name="connsiteY3" fmla="*/ 837 h 5741"/>
                    <a:gd name="connsiteX4" fmla="*/ 2811 w 2810"/>
                    <a:gd name="connsiteY4" fmla="*/ 1017 h 5741"/>
                    <a:gd name="connsiteX5" fmla="*/ 2572 w 2810"/>
                    <a:gd name="connsiteY5" fmla="*/ 2033 h 5741"/>
                    <a:gd name="connsiteX6" fmla="*/ 2452 w 2810"/>
                    <a:gd name="connsiteY6" fmla="*/ 2452 h 5741"/>
                    <a:gd name="connsiteX7" fmla="*/ 2093 w 2810"/>
                    <a:gd name="connsiteY7" fmla="*/ 3887 h 5741"/>
                    <a:gd name="connsiteX8" fmla="*/ 1615 w 2810"/>
                    <a:gd name="connsiteY8" fmla="*/ 4306 h 5741"/>
                    <a:gd name="connsiteX9" fmla="*/ 1076 w 2810"/>
                    <a:gd name="connsiteY9" fmla="*/ 4785 h 5741"/>
                    <a:gd name="connsiteX10" fmla="*/ 239 w 2810"/>
                    <a:gd name="connsiteY10" fmla="*/ 5562 h 5741"/>
                    <a:gd name="connsiteX11" fmla="*/ 0 w 2810"/>
                    <a:gd name="connsiteY11" fmla="*/ 5742 h 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10" h="5741">
                      <a:moveTo>
                        <a:pt x="1375" y="0"/>
                      </a:moveTo>
                      <a:lnTo>
                        <a:pt x="1555" y="120"/>
                      </a:lnTo>
                      <a:lnTo>
                        <a:pt x="2213" y="598"/>
                      </a:lnTo>
                      <a:lnTo>
                        <a:pt x="2572" y="837"/>
                      </a:lnTo>
                      <a:lnTo>
                        <a:pt x="2811" y="1017"/>
                      </a:lnTo>
                      <a:lnTo>
                        <a:pt x="2572" y="2033"/>
                      </a:lnTo>
                      <a:lnTo>
                        <a:pt x="2452" y="2452"/>
                      </a:lnTo>
                      <a:lnTo>
                        <a:pt x="2093" y="3887"/>
                      </a:lnTo>
                      <a:lnTo>
                        <a:pt x="1615" y="4306"/>
                      </a:lnTo>
                      <a:lnTo>
                        <a:pt x="1076" y="4785"/>
                      </a:lnTo>
                      <a:lnTo>
                        <a:pt x="239" y="5562"/>
                      </a:lnTo>
                      <a:lnTo>
                        <a:pt x="0" y="5742"/>
                      </a:lnTo>
                    </a:path>
                  </a:pathLst>
                </a:custGeom>
                <a:noFill/>
                <a:ln w="6350" cap="rnd">
                  <a:solidFill>
                    <a:schemeClr val="bg1">
                      <a:alpha val="40000"/>
                    </a:schemeClr>
                  </a:solidFill>
                  <a:prstDash val="solid"/>
                  <a:round/>
                </a:ln>
              </p:spPr>
              <p:txBody>
                <a:bodyPr rtlCol="0" anchor="ctr"/>
                <a:lstStyle/>
                <a:p>
                  <a:endParaRPr lang="en-GB"/>
                </a:p>
              </p:txBody>
            </p:sp>
            <p:sp>
              <p:nvSpPr>
                <p:cNvPr id="5563" name="Vrije vorm: vorm 5562">
                  <a:extLst>
                    <a:ext uri="{FF2B5EF4-FFF2-40B4-BE49-F238E27FC236}">
                      <a16:creationId xmlns:a16="http://schemas.microsoft.com/office/drawing/2014/main" id="{4ACCEFD1-09EC-4B22-B304-CFE355A573D9}"/>
                    </a:ext>
                  </a:extLst>
                </p:cNvPr>
                <p:cNvSpPr/>
                <p:nvPr/>
              </p:nvSpPr>
              <p:spPr>
                <a:xfrm>
                  <a:off x="6500705" y="1701974"/>
                  <a:ext cx="1435" cy="3648"/>
                </a:xfrm>
                <a:custGeom>
                  <a:avLst/>
                  <a:gdLst>
                    <a:gd name="connsiteX0" fmla="*/ 0 w 1435"/>
                    <a:gd name="connsiteY0" fmla="*/ 0 h 3648"/>
                    <a:gd name="connsiteX1" fmla="*/ 1316 w 1435"/>
                    <a:gd name="connsiteY1" fmla="*/ 778 h 3648"/>
                    <a:gd name="connsiteX2" fmla="*/ 1435 w 1435"/>
                    <a:gd name="connsiteY2" fmla="*/ 837 h 3648"/>
                    <a:gd name="connsiteX3" fmla="*/ 1316 w 1435"/>
                    <a:gd name="connsiteY3" fmla="*/ 1256 h 3648"/>
                    <a:gd name="connsiteX4" fmla="*/ 1136 w 1435"/>
                    <a:gd name="connsiteY4" fmla="*/ 1974 h 3648"/>
                    <a:gd name="connsiteX5" fmla="*/ 957 w 1435"/>
                    <a:gd name="connsiteY5" fmla="*/ 2811 h 3648"/>
                    <a:gd name="connsiteX6" fmla="*/ 778 w 1435"/>
                    <a:gd name="connsiteY6" fmla="*/ 3648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5" h="3648">
                      <a:moveTo>
                        <a:pt x="0" y="0"/>
                      </a:moveTo>
                      <a:lnTo>
                        <a:pt x="1316" y="778"/>
                      </a:lnTo>
                      <a:lnTo>
                        <a:pt x="1435" y="837"/>
                      </a:lnTo>
                      <a:lnTo>
                        <a:pt x="1316" y="1256"/>
                      </a:lnTo>
                      <a:lnTo>
                        <a:pt x="1136" y="1974"/>
                      </a:lnTo>
                      <a:lnTo>
                        <a:pt x="957" y="2811"/>
                      </a:lnTo>
                      <a:lnTo>
                        <a:pt x="778" y="3648"/>
                      </a:lnTo>
                    </a:path>
                  </a:pathLst>
                </a:custGeom>
                <a:noFill/>
                <a:ln w="6350" cap="rnd">
                  <a:solidFill>
                    <a:schemeClr val="bg1">
                      <a:alpha val="40000"/>
                    </a:schemeClr>
                  </a:solidFill>
                  <a:prstDash val="solid"/>
                  <a:round/>
                </a:ln>
              </p:spPr>
              <p:txBody>
                <a:bodyPr rtlCol="0" anchor="ctr"/>
                <a:lstStyle/>
                <a:p>
                  <a:endParaRPr lang="en-GB"/>
                </a:p>
              </p:txBody>
            </p:sp>
            <p:sp>
              <p:nvSpPr>
                <p:cNvPr id="5564" name="Vrije vorm: vorm 5563">
                  <a:extLst>
                    <a:ext uri="{FF2B5EF4-FFF2-40B4-BE49-F238E27FC236}">
                      <a16:creationId xmlns:a16="http://schemas.microsoft.com/office/drawing/2014/main" id="{2A5FD254-455F-478A-836E-9F8A35421A96}"/>
                    </a:ext>
                  </a:extLst>
                </p:cNvPr>
                <p:cNvSpPr/>
                <p:nvPr/>
              </p:nvSpPr>
              <p:spPr>
                <a:xfrm>
                  <a:off x="6499629" y="1705622"/>
                  <a:ext cx="2332" cy="1674"/>
                </a:xfrm>
                <a:custGeom>
                  <a:avLst/>
                  <a:gdLst>
                    <a:gd name="connsiteX0" fmla="*/ 2333 w 2332"/>
                    <a:gd name="connsiteY0" fmla="*/ 299 h 1674"/>
                    <a:gd name="connsiteX1" fmla="*/ 1854 w 2332"/>
                    <a:gd name="connsiteY1" fmla="*/ 0 h 1674"/>
                    <a:gd name="connsiteX2" fmla="*/ 897 w 2332"/>
                    <a:gd name="connsiteY2" fmla="*/ 897 h 1674"/>
                    <a:gd name="connsiteX3" fmla="*/ 718 w 2332"/>
                    <a:gd name="connsiteY3" fmla="*/ 1017 h 1674"/>
                    <a:gd name="connsiteX4" fmla="*/ 658 w 2332"/>
                    <a:gd name="connsiteY4" fmla="*/ 1077 h 1674"/>
                    <a:gd name="connsiteX5" fmla="*/ 658 w 2332"/>
                    <a:gd name="connsiteY5" fmla="*/ 1077 h 1674"/>
                    <a:gd name="connsiteX6" fmla="*/ 0 w 2332"/>
                    <a:gd name="connsiteY6" fmla="*/ 1675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2" h="1674">
                      <a:moveTo>
                        <a:pt x="2333" y="299"/>
                      </a:moveTo>
                      <a:lnTo>
                        <a:pt x="1854" y="0"/>
                      </a:lnTo>
                      <a:lnTo>
                        <a:pt x="897" y="897"/>
                      </a:lnTo>
                      <a:lnTo>
                        <a:pt x="718" y="1017"/>
                      </a:lnTo>
                      <a:lnTo>
                        <a:pt x="658" y="1077"/>
                      </a:lnTo>
                      <a:lnTo>
                        <a:pt x="658" y="1077"/>
                      </a:lnTo>
                      <a:lnTo>
                        <a:pt x="0" y="1675"/>
                      </a:lnTo>
                    </a:path>
                  </a:pathLst>
                </a:custGeom>
                <a:noFill/>
                <a:ln w="6350" cap="rnd">
                  <a:solidFill>
                    <a:schemeClr val="bg1">
                      <a:alpha val="40000"/>
                    </a:schemeClr>
                  </a:solidFill>
                  <a:prstDash val="solid"/>
                  <a:round/>
                </a:ln>
              </p:spPr>
              <p:txBody>
                <a:bodyPr rtlCol="0" anchor="ctr"/>
                <a:lstStyle/>
                <a:p>
                  <a:endParaRPr lang="en-GB"/>
                </a:p>
              </p:txBody>
            </p:sp>
            <p:sp>
              <p:nvSpPr>
                <p:cNvPr id="5565" name="Vrije vorm: vorm 5564">
                  <a:extLst>
                    <a:ext uri="{FF2B5EF4-FFF2-40B4-BE49-F238E27FC236}">
                      <a16:creationId xmlns:a16="http://schemas.microsoft.com/office/drawing/2014/main" id="{FC8ED18C-4D6C-4975-9C2B-26A1B466104F}"/>
                    </a:ext>
                  </a:extLst>
                </p:cNvPr>
                <p:cNvSpPr/>
                <p:nvPr/>
              </p:nvSpPr>
              <p:spPr>
                <a:xfrm>
                  <a:off x="6484916" y="1730622"/>
                  <a:ext cx="598" cy="2930"/>
                </a:xfrm>
                <a:custGeom>
                  <a:avLst/>
                  <a:gdLst>
                    <a:gd name="connsiteX0" fmla="*/ 0 w 598"/>
                    <a:gd name="connsiteY0" fmla="*/ 0 h 2930"/>
                    <a:gd name="connsiteX1" fmla="*/ 359 w 598"/>
                    <a:gd name="connsiteY1" fmla="*/ 419 h 2930"/>
                    <a:gd name="connsiteX2" fmla="*/ 538 w 598"/>
                    <a:gd name="connsiteY2" fmla="*/ 1017 h 2930"/>
                    <a:gd name="connsiteX3" fmla="*/ 598 w 598"/>
                    <a:gd name="connsiteY3" fmla="*/ 1734 h 2930"/>
                    <a:gd name="connsiteX4" fmla="*/ 598 w 598"/>
                    <a:gd name="connsiteY4" fmla="*/ 1854 h 2930"/>
                    <a:gd name="connsiteX5" fmla="*/ 479 w 598"/>
                    <a:gd name="connsiteY5" fmla="*/ 2572 h 2930"/>
                    <a:gd name="connsiteX6" fmla="*/ 419 w 598"/>
                    <a:gd name="connsiteY6" fmla="*/ 2751 h 2930"/>
                    <a:gd name="connsiteX7" fmla="*/ 359 w 598"/>
                    <a:gd name="connsiteY7" fmla="*/ 2931 h 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 h="2930">
                      <a:moveTo>
                        <a:pt x="0" y="0"/>
                      </a:moveTo>
                      <a:lnTo>
                        <a:pt x="359" y="419"/>
                      </a:lnTo>
                      <a:lnTo>
                        <a:pt x="538" y="1017"/>
                      </a:lnTo>
                      <a:lnTo>
                        <a:pt x="598" y="1734"/>
                      </a:lnTo>
                      <a:lnTo>
                        <a:pt x="598" y="1854"/>
                      </a:lnTo>
                      <a:lnTo>
                        <a:pt x="479" y="2572"/>
                      </a:lnTo>
                      <a:lnTo>
                        <a:pt x="419" y="2751"/>
                      </a:lnTo>
                      <a:lnTo>
                        <a:pt x="359" y="2931"/>
                      </a:lnTo>
                    </a:path>
                  </a:pathLst>
                </a:custGeom>
                <a:noFill/>
                <a:ln w="6350" cap="rnd">
                  <a:solidFill>
                    <a:schemeClr val="bg1">
                      <a:alpha val="40000"/>
                    </a:schemeClr>
                  </a:solidFill>
                  <a:prstDash val="solid"/>
                  <a:round/>
                </a:ln>
              </p:spPr>
              <p:txBody>
                <a:bodyPr rtlCol="0" anchor="ctr"/>
                <a:lstStyle/>
                <a:p>
                  <a:endParaRPr lang="en-GB"/>
                </a:p>
              </p:txBody>
            </p:sp>
            <p:sp>
              <p:nvSpPr>
                <p:cNvPr id="5566" name="Vrije vorm: vorm 5565">
                  <a:extLst>
                    <a:ext uri="{FF2B5EF4-FFF2-40B4-BE49-F238E27FC236}">
                      <a16:creationId xmlns:a16="http://schemas.microsoft.com/office/drawing/2014/main" id="{A0A66368-C6D7-4B71-A217-1BF33F7991B0}"/>
                    </a:ext>
                  </a:extLst>
                </p:cNvPr>
                <p:cNvSpPr/>
                <p:nvPr/>
              </p:nvSpPr>
              <p:spPr>
                <a:xfrm>
                  <a:off x="6482345" y="1732595"/>
                  <a:ext cx="1674" cy="2452"/>
                </a:xfrm>
                <a:custGeom>
                  <a:avLst/>
                  <a:gdLst>
                    <a:gd name="connsiteX0" fmla="*/ 0 w 1674"/>
                    <a:gd name="connsiteY0" fmla="*/ 2392 h 2452"/>
                    <a:gd name="connsiteX1" fmla="*/ 180 w 1674"/>
                    <a:gd name="connsiteY1" fmla="*/ 2452 h 2452"/>
                    <a:gd name="connsiteX2" fmla="*/ 419 w 1674"/>
                    <a:gd name="connsiteY2" fmla="*/ 2452 h 2452"/>
                    <a:gd name="connsiteX3" fmla="*/ 658 w 1674"/>
                    <a:gd name="connsiteY3" fmla="*/ 2332 h 2452"/>
                    <a:gd name="connsiteX4" fmla="*/ 658 w 1674"/>
                    <a:gd name="connsiteY4" fmla="*/ 2332 h 2452"/>
                    <a:gd name="connsiteX5" fmla="*/ 897 w 1674"/>
                    <a:gd name="connsiteY5" fmla="*/ 2153 h 2452"/>
                    <a:gd name="connsiteX6" fmla="*/ 1136 w 1674"/>
                    <a:gd name="connsiteY6" fmla="*/ 1914 h 2452"/>
                    <a:gd name="connsiteX7" fmla="*/ 1316 w 1674"/>
                    <a:gd name="connsiteY7" fmla="*/ 1615 h 2452"/>
                    <a:gd name="connsiteX8" fmla="*/ 1495 w 1674"/>
                    <a:gd name="connsiteY8" fmla="*/ 1316 h 2452"/>
                    <a:gd name="connsiteX9" fmla="*/ 1615 w 1674"/>
                    <a:gd name="connsiteY9" fmla="*/ 957 h 2452"/>
                    <a:gd name="connsiteX10" fmla="*/ 1675 w 1674"/>
                    <a:gd name="connsiteY10" fmla="*/ 658 h 2452"/>
                    <a:gd name="connsiteX11" fmla="*/ 1675 w 1674"/>
                    <a:gd name="connsiteY11" fmla="*/ 359 h 2452"/>
                    <a:gd name="connsiteX12" fmla="*/ 1615 w 1674"/>
                    <a:gd name="connsiteY12" fmla="*/ 120 h 2452"/>
                    <a:gd name="connsiteX13" fmla="*/ 1495 w 1674"/>
                    <a:gd name="connsiteY13" fmla="*/ 0 h 2452"/>
                    <a:gd name="connsiteX14" fmla="*/ 1495 w 1674"/>
                    <a:gd name="connsiteY14" fmla="*/ 0 h 2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4" h="2452">
                      <a:moveTo>
                        <a:pt x="0" y="2392"/>
                      </a:moveTo>
                      <a:lnTo>
                        <a:pt x="180" y="2452"/>
                      </a:lnTo>
                      <a:lnTo>
                        <a:pt x="419" y="2452"/>
                      </a:lnTo>
                      <a:lnTo>
                        <a:pt x="658" y="2332"/>
                      </a:lnTo>
                      <a:lnTo>
                        <a:pt x="658" y="2332"/>
                      </a:lnTo>
                      <a:lnTo>
                        <a:pt x="897" y="2153"/>
                      </a:lnTo>
                      <a:lnTo>
                        <a:pt x="1136" y="1914"/>
                      </a:lnTo>
                      <a:lnTo>
                        <a:pt x="1316" y="1615"/>
                      </a:lnTo>
                      <a:lnTo>
                        <a:pt x="1495" y="1316"/>
                      </a:lnTo>
                      <a:lnTo>
                        <a:pt x="1615" y="957"/>
                      </a:lnTo>
                      <a:lnTo>
                        <a:pt x="1675" y="658"/>
                      </a:lnTo>
                      <a:lnTo>
                        <a:pt x="1675" y="359"/>
                      </a:lnTo>
                      <a:lnTo>
                        <a:pt x="1615" y="120"/>
                      </a:lnTo>
                      <a:lnTo>
                        <a:pt x="1495" y="0"/>
                      </a:lnTo>
                      <a:lnTo>
                        <a:pt x="1495" y="0"/>
                      </a:lnTo>
                    </a:path>
                  </a:pathLst>
                </a:custGeom>
                <a:noFill/>
                <a:ln w="6350" cap="rnd">
                  <a:solidFill>
                    <a:schemeClr val="bg1">
                      <a:alpha val="40000"/>
                    </a:schemeClr>
                  </a:solidFill>
                  <a:prstDash val="solid"/>
                  <a:round/>
                </a:ln>
              </p:spPr>
              <p:txBody>
                <a:bodyPr rtlCol="0" anchor="ctr"/>
                <a:lstStyle/>
                <a:p>
                  <a:endParaRPr lang="en-GB"/>
                </a:p>
              </p:txBody>
            </p:sp>
            <p:sp>
              <p:nvSpPr>
                <p:cNvPr id="5567" name="Vrije vorm: vorm 5566">
                  <a:extLst>
                    <a:ext uri="{FF2B5EF4-FFF2-40B4-BE49-F238E27FC236}">
                      <a16:creationId xmlns:a16="http://schemas.microsoft.com/office/drawing/2014/main" id="{EBF81036-9C10-4FFB-9003-65B4FD22893B}"/>
                    </a:ext>
                  </a:extLst>
                </p:cNvPr>
                <p:cNvSpPr/>
                <p:nvPr/>
              </p:nvSpPr>
              <p:spPr>
                <a:xfrm>
                  <a:off x="6482165" y="1734569"/>
                  <a:ext cx="179" cy="418"/>
                </a:xfrm>
                <a:custGeom>
                  <a:avLst/>
                  <a:gdLst>
                    <a:gd name="connsiteX0" fmla="*/ 0 w 179"/>
                    <a:gd name="connsiteY0" fmla="*/ 0 h 418"/>
                    <a:gd name="connsiteX1" fmla="*/ 60 w 179"/>
                    <a:gd name="connsiteY1" fmla="*/ 239 h 418"/>
                    <a:gd name="connsiteX2" fmla="*/ 179 w 179"/>
                    <a:gd name="connsiteY2" fmla="*/ 419 h 418"/>
                  </a:gdLst>
                  <a:ahLst/>
                  <a:cxnLst>
                    <a:cxn ang="0">
                      <a:pos x="connsiteX0" y="connsiteY0"/>
                    </a:cxn>
                    <a:cxn ang="0">
                      <a:pos x="connsiteX1" y="connsiteY1"/>
                    </a:cxn>
                    <a:cxn ang="0">
                      <a:pos x="connsiteX2" y="connsiteY2"/>
                    </a:cxn>
                  </a:cxnLst>
                  <a:rect l="l" t="t" r="r" b="b"/>
                  <a:pathLst>
                    <a:path w="179" h="418">
                      <a:moveTo>
                        <a:pt x="0" y="0"/>
                      </a:moveTo>
                      <a:lnTo>
                        <a:pt x="60" y="239"/>
                      </a:lnTo>
                      <a:lnTo>
                        <a:pt x="179" y="419"/>
                      </a:lnTo>
                    </a:path>
                  </a:pathLst>
                </a:custGeom>
                <a:noFill/>
                <a:ln w="6350" cap="rnd">
                  <a:solidFill>
                    <a:schemeClr val="bg1">
                      <a:alpha val="40000"/>
                    </a:schemeClr>
                  </a:solidFill>
                  <a:prstDash val="solid"/>
                  <a:round/>
                </a:ln>
              </p:spPr>
              <p:txBody>
                <a:bodyPr rtlCol="0" anchor="ctr"/>
                <a:lstStyle/>
                <a:p>
                  <a:endParaRPr lang="en-GB"/>
                </a:p>
              </p:txBody>
            </p:sp>
            <p:sp>
              <p:nvSpPr>
                <p:cNvPr id="5568" name="Vrije vorm: vorm 5567">
                  <a:extLst>
                    <a:ext uri="{FF2B5EF4-FFF2-40B4-BE49-F238E27FC236}">
                      <a16:creationId xmlns:a16="http://schemas.microsoft.com/office/drawing/2014/main" id="{E04DAB4D-1B8D-48EA-8AB6-DAC03DCED1E7}"/>
                    </a:ext>
                  </a:extLst>
                </p:cNvPr>
                <p:cNvSpPr/>
                <p:nvPr/>
              </p:nvSpPr>
              <p:spPr>
                <a:xfrm>
                  <a:off x="6482165" y="1732476"/>
                  <a:ext cx="1614" cy="1495"/>
                </a:xfrm>
                <a:custGeom>
                  <a:avLst/>
                  <a:gdLst>
                    <a:gd name="connsiteX0" fmla="*/ 1615 w 1614"/>
                    <a:gd name="connsiteY0" fmla="*/ 60 h 1495"/>
                    <a:gd name="connsiteX1" fmla="*/ 1435 w 1614"/>
                    <a:gd name="connsiteY1" fmla="*/ 0 h 1495"/>
                    <a:gd name="connsiteX2" fmla="*/ 1196 w 1614"/>
                    <a:gd name="connsiteY2" fmla="*/ 0 h 1495"/>
                    <a:gd name="connsiteX3" fmla="*/ 957 w 1614"/>
                    <a:gd name="connsiteY3" fmla="*/ 120 h 1495"/>
                    <a:gd name="connsiteX4" fmla="*/ 718 w 1614"/>
                    <a:gd name="connsiteY4" fmla="*/ 299 h 1495"/>
                    <a:gd name="connsiteX5" fmla="*/ 478 w 1614"/>
                    <a:gd name="connsiteY5" fmla="*/ 538 h 1495"/>
                    <a:gd name="connsiteX6" fmla="*/ 299 w 1614"/>
                    <a:gd name="connsiteY6" fmla="*/ 837 h 1495"/>
                    <a:gd name="connsiteX7" fmla="*/ 119 w 1614"/>
                    <a:gd name="connsiteY7" fmla="*/ 1136 h 1495"/>
                    <a:gd name="connsiteX8" fmla="*/ 0 w 1614"/>
                    <a:gd name="connsiteY8" fmla="*/ 1495 h 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4" h="1495">
                      <a:moveTo>
                        <a:pt x="1615" y="60"/>
                      </a:moveTo>
                      <a:lnTo>
                        <a:pt x="1435" y="0"/>
                      </a:lnTo>
                      <a:lnTo>
                        <a:pt x="1196" y="0"/>
                      </a:lnTo>
                      <a:lnTo>
                        <a:pt x="957" y="120"/>
                      </a:lnTo>
                      <a:lnTo>
                        <a:pt x="718" y="299"/>
                      </a:lnTo>
                      <a:lnTo>
                        <a:pt x="478" y="538"/>
                      </a:lnTo>
                      <a:lnTo>
                        <a:pt x="299" y="837"/>
                      </a:lnTo>
                      <a:lnTo>
                        <a:pt x="119" y="1136"/>
                      </a:lnTo>
                      <a:lnTo>
                        <a:pt x="0" y="1495"/>
                      </a:lnTo>
                    </a:path>
                  </a:pathLst>
                </a:custGeom>
                <a:noFill/>
                <a:ln w="6350" cap="rnd">
                  <a:solidFill>
                    <a:schemeClr val="bg1">
                      <a:alpha val="40000"/>
                    </a:schemeClr>
                  </a:solidFill>
                  <a:prstDash val="solid"/>
                  <a:round/>
                </a:ln>
              </p:spPr>
              <p:txBody>
                <a:bodyPr rtlCol="0" anchor="ctr"/>
                <a:lstStyle/>
                <a:p>
                  <a:endParaRPr lang="en-GB"/>
                </a:p>
              </p:txBody>
            </p:sp>
            <p:sp>
              <p:nvSpPr>
                <p:cNvPr id="5569" name="Vrije vorm: vorm 5568">
                  <a:extLst>
                    <a:ext uri="{FF2B5EF4-FFF2-40B4-BE49-F238E27FC236}">
                      <a16:creationId xmlns:a16="http://schemas.microsoft.com/office/drawing/2014/main" id="{FF524BD1-2556-4DA1-A79F-C001BCEA998F}"/>
                    </a:ext>
                  </a:extLst>
                </p:cNvPr>
                <p:cNvSpPr/>
                <p:nvPr/>
              </p:nvSpPr>
              <p:spPr>
                <a:xfrm>
                  <a:off x="6481388" y="1710945"/>
                  <a:ext cx="2571" cy="1375"/>
                </a:xfrm>
                <a:custGeom>
                  <a:avLst/>
                  <a:gdLst>
                    <a:gd name="connsiteX0" fmla="*/ 0 w 2571"/>
                    <a:gd name="connsiteY0" fmla="*/ 0 h 1375"/>
                    <a:gd name="connsiteX1" fmla="*/ 0 w 2571"/>
                    <a:gd name="connsiteY1" fmla="*/ 0 h 1375"/>
                    <a:gd name="connsiteX2" fmla="*/ 239 w 2571"/>
                    <a:gd name="connsiteY2" fmla="*/ 120 h 1375"/>
                    <a:gd name="connsiteX3" fmla="*/ 837 w 2571"/>
                    <a:gd name="connsiteY3" fmla="*/ 419 h 1375"/>
                    <a:gd name="connsiteX4" fmla="*/ 1017 w 2571"/>
                    <a:gd name="connsiteY4" fmla="*/ 538 h 1375"/>
                    <a:gd name="connsiteX5" fmla="*/ 1196 w 2571"/>
                    <a:gd name="connsiteY5" fmla="*/ 658 h 1375"/>
                    <a:gd name="connsiteX6" fmla="*/ 1555 w 2571"/>
                    <a:gd name="connsiteY6" fmla="*/ 837 h 1375"/>
                    <a:gd name="connsiteX7" fmla="*/ 1555 w 2571"/>
                    <a:gd name="connsiteY7" fmla="*/ 837 h 1375"/>
                    <a:gd name="connsiteX8" fmla="*/ 1794 w 2571"/>
                    <a:gd name="connsiteY8" fmla="*/ 957 h 1375"/>
                    <a:gd name="connsiteX9" fmla="*/ 2572 w 2571"/>
                    <a:gd name="connsiteY9" fmla="*/ 1376 h 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1" h="1375">
                      <a:moveTo>
                        <a:pt x="0" y="0"/>
                      </a:moveTo>
                      <a:lnTo>
                        <a:pt x="0" y="0"/>
                      </a:lnTo>
                      <a:lnTo>
                        <a:pt x="239" y="120"/>
                      </a:lnTo>
                      <a:lnTo>
                        <a:pt x="837" y="419"/>
                      </a:lnTo>
                      <a:lnTo>
                        <a:pt x="1017" y="538"/>
                      </a:lnTo>
                      <a:lnTo>
                        <a:pt x="1196" y="658"/>
                      </a:lnTo>
                      <a:lnTo>
                        <a:pt x="1555" y="837"/>
                      </a:lnTo>
                      <a:lnTo>
                        <a:pt x="1555" y="837"/>
                      </a:lnTo>
                      <a:lnTo>
                        <a:pt x="1794" y="957"/>
                      </a:lnTo>
                      <a:lnTo>
                        <a:pt x="2572" y="1376"/>
                      </a:lnTo>
                    </a:path>
                  </a:pathLst>
                </a:custGeom>
                <a:noFill/>
                <a:ln w="6350" cap="rnd">
                  <a:solidFill>
                    <a:schemeClr val="bg1">
                      <a:alpha val="40000"/>
                    </a:schemeClr>
                  </a:solidFill>
                  <a:prstDash val="solid"/>
                  <a:round/>
                </a:ln>
              </p:spPr>
              <p:txBody>
                <a:bodyPr rtlCol="0" anchor="ctr"/>
                <a:lstStyle/>
                <a:p>
                  <a:endParaRPr lang="en-GB"/>
                </a:p>
              </p:txBody>
            </p:sp>
            <p:sp>
              <p:nvSpPr>
                <p:cNvPr id="5570" name="Vrije vorm: vorm 5569">
                  <a:extLst>
                    <a:ext uri="{FF2B5EF4-FFF2-40B4-BE49-F238E27FC236}">
                      <a16:creationId xmlns:a16="http://schemas.microsoft.com/office/drawing/2014/main" id="{4ACCEA72-B6BD-49F9-B366-9F4CE49372A7}"/>
                    </a:ext>
                  </a:extLst>
                </p:cNvPr>
                <p:cNvSpPr/>
                <p:nvPr/>
              </p:nvSpPr>
              <p:spPr>
                <a:xfrm>
                  <a:off x="6483601" y="1723564"/>
                  <a:ext cx="2093" cy="3648"/>
                </a:xfrm>
                <a:custGeom>
                  <a:avLst/>
                  <a:gdLst>
                    <a:gd name="connsiteX0" fmla="*/ 0 w 2093"/>
                    <a:gd name="connsiteY0" fmla="*/ 3648 h 3648"/>
                    <a:gd name="connsiteX1" fmla="*/ 0 w 2093"/>
                    <a:gd name="connsiteY1" fmla="*/ 3409 h 3648"/>
                    <a:gd name="connsiteX2" fmla="*/ 0 w 2093"/>
                    <a:gd name="connsiteY2" fmla="*/ 3170 h 3648"/>
                    <a:gd name="connsiteX3" fmla="*/ 120 w 2093"/>
                    <a:gd name="connsiteY3" fmla="*/ 2572 h 3648"/>
                    <a:gd name="connsiteX4" fmla="*/ 239 w 2093"/>
                    <a:gd name="connsiteY4" fmla="*/ 2273 h 3648"/>
                    <a:gd name="connsiteX5" fmla="*/ 359 w 2093"/>
                    <a:gd name="connsiteY5" fmla="*/ 1974 h 3648"/>
                    <a:gd name="connsiteX6" fmla="*/ 658 w 2093"/>
                    <a:gd name="connsiteY6" fmla="*/ 1376 h 3648"/>
                    <a:gd name="connsiteX7" fmla="*/ 837 w 2093"/>
                    <a:gd name="connsiteY7" fmla="*/ 1136 h 3648"/>
                    <a:gd name="connsiteX8" fmla="*/ 1017 w 2093"/>
                    <a:gd name="connsiteY8" fmla="*/ 837 h 3648"/>
                    <a:gd name="connsiteX9" fmla="*/ 1435 w 2093"/>
                    <a:gd name="connsiteY9" fmla="*/ 419 h 3648"/>
                    <a:gd name="connsiteX10" fmla="*/ 1854 w 2093"/>
                    <a:gd name="connsiteY10" fmla="*/ 120 h 3648"/>
                    <a:gd name="connsiteX11" fmla="*/ 2093 w 2093"/>
                    <a:gd name="connsiteY11" fmla="*/ 0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93" h="3648">
                      <a:moveTo>
                        <a:pt x="0" y="3648"/>
                      </a:moveTo>
                      <a:lnTo>
                        <a:pt x="0" y="3409"/>
                      </a:lnTo>
                      <a:lnTo>
                        <a:pt x="0" y="3170"/>
                      </a:lnTo>
                      <a:lnTo>
                        <a:pt x="120" y="2572"/>
                      </a:lnTo>
                      <a:lnTo>
                        <a:pt x="239" y="2273"/>
                      </a:lnTo>
                      <a:lnTo>
                        <a:pt x="359" y="1974"/>
                      </a:lnTo>
                      <a:lnTo>
                        <a:pt x="658" y="1376"/>
                      </a:lnTo>
                      <a:lnTo>
                        <a:pt x="837" y="1136"/>
                      </a:lnTo>
                      <a:lnTo>
                        <a:pt x="1017" y="837"/>
                      </a:lnTo>
                      <a:lnTo>
                        <a:pt x="1435" y="419"/>
                      </a:lnTo>
                      <a:lnTo>
                        <a:pt x="1854" y="120"/>
                      </a:lnTo>
                      <a:lnTo>
                        <a:pt x="2093" y="0"/>
                      </a:lnTo>
                    </a:path>
                  </a:pathLst>
                </a:custGeom>
                <a:noFill/>
                <a:ln w="6350" cap="rnd">
                  <a:solidFill>
                    <a:schemeClr val="bg1">
                      <a:alpha val="40000"/>
                    </a:schemeClr>
                  </a:solidFill>
                  <a:prstDash val="solid"/>
                  <a:round/>
                </a:ln>
              </p:spPr>
              <p:txBody>
                <a:bodyPr rtlCol="0" anchor="ctr"/>
                <a:lstStyle/>
                <a:p>
                  <a:endParaRPr lang="en-GB"/>
                </a:p>
              </p:txBody>
            </p:sp>
            <p:sp>
              <p:nvSpPr>
                <p:cNvPr id="5571" name="Vrije vorm: vorm 5570">
                  <a:extLst>
                    <a:ext uri="{FF2B5EF4-FFF2-40B4-BE49-F238E27FC236}">
                      <a16:creationId xmlns:a16="http://schemas.microsoft.com/office/drawing/2014/main" id="{5109D64C-F1E8-4A36-8B7A-14399C9054BE}"/>
                    </a:ext>
                  </a:extLst>
                </p:cNvPr>
                <p:cNvSpPr/>
                <p:nvPr/>
              </p:nvSpPr>
              <p:spPr>
                <a:xfrm>
                  <a:off x="6452322" y="1565793"/>
                  <a:ext cx="3109" cy="4724"/>
                </a:xfrm>
                <a:custGeom>
                  <a:avLst/>
                  <a:gdLst>
                    <a:gd name="connsiteX0" fmla="*/ 0 w 3109"/>
                    <a:gd name="connsiteY0" fmla="*/ 4725 h 4724"/>
                    <a:gd name="connsiteX1" fmla="*/ 0 w 3109"/>
                    <a:gd name="connsiteY1" fmla="*/ 4246 h 4724"/>
                    <a:gd name="connsiteX2" fmla="*/ 119 w 3109"/>
                    <a:gd name="connsiteY2" fmla="*/ 3648 h 4724"/>
                    <a:gd name="connsiteX3" fmla="*/ 359 w 3109"/>
                    <a:gd name="connsiteY3" fmla="*/ 2990 h 4724"/>
                    <a:gd name="connsiteX4" fmla="*/ 718 w 3109"/>
                    <a:gd name="connsiteY4" fmla="*/ 2273 h 4724"/>
                    <a:gd name="connsiteX5" fmla="*/ 1136 w 3109"/>
                    <a:gd name="connsiteY5" fmla="*/ 1615 h 4724"/>
                    <a:gd name="connsiteX6" fmla="*/ 1615 w 3109"/>
                    <a:gd name="connsiteY6" fmla="*/ 1017 h 4724"/>
                    <a:gd name="connsiteX7" fmla="*/ 2153 w 3109"/>
                    <a:gd name="connsiteY7" fmla="*/ 538 h 4724"/>
                    <a:gd name="connsiteX8" fmla="*/ 2632 w 3109"/>
                    <a:gd name="connsiteY8" fmla="*/ 179 h 4724"/>
                    <a:gd name="connsiteX9" fmla="*/ 3110 w 3109"/>
                    <a:gd name="connsiteY9" fmla="*/ 0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9" h="4724">
                      <a:moveTo>
                        <a:pt x="0" y="4725"/>
                      </a:moveTo>
                      <a:lnTo>
                        <a:pt x="0" y="4246"/>
                      </a:lnTo>
                      <a:lnTo>
                        <a:pt x="119" y="3648"/>
                      </a:lnTo>
                      <a:lnTo>
                        <a:pt x="359" y="2990"/>
                      </a:lnTo>
                      <a:lnTo>
                        <a:pt x="718" y="2273"/>
                      </a:lnTo>
                      <a:lnTo>
                        <a:pt x="1136" y="1615"/>
                      </a:lnTo>
                      <a:lnTo>
                        <a:pt x="1615" y="1017"/>
                      </a:lnTo>
                      <a:lnTo>
                        <a:pt x="2153" y="538"/>
                      </a:lnTo>
                      <a:lnTo>
                        <a:pt x="2632" y="179"/>
                      </a:lnTo>
                      <a:lnTo>
                        <a:pt x="3110" y="0"/>
                      </a:lnTo>
                    </a:path>
                  </a:pathLst>
                </a:custGeom>
                <a:noFill/>
                <a:ln w="6350" cap="rnd">
                  <a:solidFill>
                    <a:schemeClr val="bg1">
                      <a:alpha val="40000"/>
                    </a:schemeClr>
                  </a:solidFill>
                  <a:prstDash val="solid"/>
                  <a:round/>
                </a:ln>
              </p:spPr>
              <p:txBody>
                <a:bodyPr rtlCol="0" anchor="ctr"/>
                <a:lstStyle/>
                <a:p>
                  <a:endParaRPr lang="en-GB"/>
                </a:p>
              </p:txBody>
            </p:sp>
            <p:sp>
              <p:nvSpPr>
                <p:cNvPr id="5572" name="Vrije vorm: vorm 5571">
                  <a:extLst>
                    <a:ext uri="{FF2B5EF4-FFF2-40B4-BE49-F238E27FC236}">
                      <a16:creationId xmlns:a16="http://schemas.microsoft.com/office/drawing/2014/main" id="{99EE2EA8-992A-4ADB-AEEE-E0953A1B4C19}"/>
                    </a:ext>
                  </a:extLst>
                </p:cNvPr>
                <p:cNvSpPr/>
                <p:nvPr/>
              </p:nvSpPr>
              <p:spPr>
                <a:xfrm>
                  <a:off x="6451663" y="1565374"/>
                  <a:ext cx="3767" cy="5143"/>
                </a:xfrm>
                <a:custGeom>
                  <a:avLst/>
                  <a:gdLst>
                    <a:gd name="connsiteX0" fmla="*/ 0 w 3767"/>
                    <a:gd name="connsiteY0" fmla="*/ 4964 h 5143"/>
                    <a:gd name="connsiteX1" fmla="*/ 239 w 3767"/>
                    <a:gd name="connsiteY1" fmla="*/ 5143 h 5143"/>
                    <a:gd name="connsiteX2" fmla="*/ 598 w 3767"/>
                    <a:gd name="connsiteY2" fmla="*/ 5143 h 5143"/>
                    <a:gd name="connsiteX3" fmla="*/ 598 w 3767"/>
                    <a:gd name="connsiteY3" fmla="*/ 5143 h 5143"/>
                    <a:gd name="connsiteX4" fmla="*/ 1017 w 3767"/>
                    <a:gd name="connsiteY4" fmla="*/ 4964 h 5143"/>
                    <a:gd name="connsiteX5" fmla="*/ 1555 w 3767"/>
                    <a:gd name="connsiteY5" fmla="*/ 4605 h 5143"/>
                    <a:gd name="connsiteX6" fmla="*/ 2093 w 3767"/>
                    <a:gd name="connsiteY6" fmla="*/ 4127 h 5143"/>
                    <a:gd name="connsiteX7" fmla="*/ 2572 w 3767"/>
                    <a:gd name="connsiteY7" fmla="*/ 3529 h 5143"/>
                    <a:gd name="connsiteX8" fmla="*/ 3050 w 3767"/>
                    <a:gd name="connsiteY8" fmla="*/ 2871 h 5143"/>
                    <a:gd name="connsiteX9" fmla="*/ 3409 w 3767"/>
                    <a:gd name="connsiteY9" fmla="*/ 2153 h 5143"/>
                    <a:gd name="connsiteX10" fmla="*/ 3649 w 3767"/>
                    <a:gd name="connsiteY10" fmla="*/ 1495 h 5143"/>
                    <a:gd name="connsiteX11" fmla="*/ 3768 w 3767"/>
                    <a:gd name="connsiteY11" fmla="*/ 897 h 5143"/>
                    <a:gd name="connsiteX12" fmla="*/ 3768 w 3767"/>
                    <a:gd name="connsiteY12" fmla="*/ 419 h 5143"/>
                    <a:gd name="connsiteX13" fmla="*/ 3768 w 3767"/>
                    <a:gd name="connsiteY13" fmla="*/ 359 h 5143"/>
                    <a:gd name="connsiteX14" fmla="*/ 3649 w 3767"/>
                    <a:gd name="connsiteY14" fmla="*/ 0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7" h="5143">
                      <a:moveTo>
                        <a:pt x="0" y="4964"/>
                      </a:moveTo>
                      <a:lnTo>
                        <a:pt x="239" y="5143"/>
                      </a:lnTo>
                      <a:lnTo>
                        <a:pt x="598" y="5143"/>
                      </a:lnTo>
                      <a:lnTo>
                        <a:pt x="598" y="5143"/>
                      </a:lnTo>
                      <a:lnTo>
                        <a:pt x="1017" y="4964"/>
                      </a:lnTo>
                      <a:lnTo>
                        <a:pt x="1555" y="4605"/>
                      </a:lnTo>
                      <a:lnTo>
                        <a:pt x="2093" y="4127"/>
                      </a:lnTo>
                      <a:lnTo>
                        <a:pt x="2572" y="3529"/>
                      </a:lnTo>
                      <a:lnTo>
                        <a:pt x="3050" y="2871"/>
                      </a:lnTo>
                      <a:lnTo>
                        <a:pt x="3409" y="2153"/>
                      </a:lnTo>
                      <a:lnTo>
                        <a:pt x="3649" y="1495"/>
                      </a:lnTo>
                      <a:lnTo>
                        <a:pt x="3768" y="897"/>
                      </a:lnTo>
                      <a:lnTo>
                        <a:pt x="3768" y="419"/>
                      </a:lnTo>
                      <a:lnTo>
                        <a:pt x="3768" y="359"/>
                      </a:lnTo>
                      <a:lnTo>
                        <a:pt x="3649" y="0"/>
                      </a:lnTo>
                    </a:path>
                  </a:pathLst>
                </a:custGeom>
                <a:noFill/>
                <a:ln w="6350" cap="rnd">
                  <a:solidFill>
                    <a:schemeClr val="bg1">
                      <a:alpha val="40000"/>
                    </a:schemeClr>
                  </a:solidFill>
                  <a:prstDash val="solid"/>
                  <a:round/>
                </a:ln>
              </p:spPr>
              <p:txBody>
                <a:bodyPr rtlCol="0" anchor="ctr"/>
                <a:lstStyle/>
                <a:p>
                  <a:endParaRPr lang="en-GB"/>
                </a:p>
              </p:txBody>
            </p:sp>
            <p:sp>
              <p:nvSpPr>
                <p:cNvPr id="5573" name="Vrije vorm: vorm 5572">
                  <a:extLst>
                    <a:ext uri="{FF2B5EF4-FFF2-40B4-BE49-F238E27FC236}">
                      <a16:creationId xmlns:a16="http://schemas.microsoft.com/office/drawing/2014/main" id="{00D29026-B428-42FF-9ADD-E53DBFAD8D2C}"/>
                    </a:ext>
                  </a:extLst>
                </p:cNvPr>
                <p:cNvSpPr/>
                <p:nvPr/>
              </p:nvSpPr>
              <p:spPr>
                <a:xfrm>
                  <a:off x="6451544" y="1565255"/>
                  <a:ext cx="3767" cy="5083"/>
                </a:xfrm>
                <a:custGeom>
                  <a:avLst/>
                  <a:gdLst>
                    <a:gd name="connsiteX0" fmla="*/ 119 w 3767"/>
                    <a:gd name="connsiteY0" fmla="*/ 5084 h 5083"/>
                    <a:gd name="connsiteX1" fmla="*/ 0 w 3767"/>
                    <a:gd name="connsiteY1" fmla="*/ 4725 h 5083"/>
                    <a:gd name="connsiteX2" fmla="*/ 0 w 3767"/>
                    <a:gd name="connsiteY2" fmla="*/ 4246 h 5083"/>
                    <a:gd name="connsiteX3" fmla="*/ 119 w 3767"/>
                    <a:gd name="connsiteY3" fmla="*/ 3648 h 5083"/>
                    <a:gd name="connsiteX4" fmla="*/ 359 w 3767"/>
                    <a:gd name="connsiteY4" fmla="*/ 2990 h 5083"/>
                    <a:gd name="connsiteX5" fmla="*/ 718 w 3767"/>
                    <a:gd name="connsiteY5" fmla="*/ 2273 h 5083"/>
                    <a:gd name="connsiteX6" fmla="*/ 1136 w 3767"/>
                    <a:gd name="connsiteY6" fmla="*/ 1615 h 5083"/>
                    <a:gd name="connsiteX7" fmla="*/ 1615 w 3767"/>
                    <a:gd name="connsiteY7" fmla="*/ 1017 h 5083"/>
                    <a:gd name="connsiteX8" fmla="*/ 2153 w 3767"/>
                    <a:gd name="connsiteY8" fmla="*/ 538 h 5083"/>
                    <a:gd name="connsiteX9" fmla="*/ 2632 w 3767"/>
                    <a:gd name="connsiteY9" fmla="*/ 179 h 5083"/>
                    <a:gd name="connsiteX10" fmla="*/ 3110 w 3767"/>
                    <a:gd name="connsiteY10" fmla="*/ 0 h 5083"/>
                    <a:gd name="connsiteX11" fmla="*/ 3469 w 3767"/>
                    <a:gd name="connsiteY11" fmla="*/ 0 h 5083"/>
                    <a:gd name="connsiteX12" fmla="*/ 3768 w 3767"/>
                    <a:gd name="connsiteY12" fmla="*/ 179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67" h="5083">
                      <a:moveTo>
                        <a:pt x="119" y="5084"/>
                      </a:moveTo>
                      <a:lnTo>
                        <a:pt x="0" y="4725"/>
                      </a:lnTo>
                      <a:lnTo>
                        <a:pt x="0" y="4246"/>
                      </a:lnTo>
                      <a:lnTo>
                        <a:pt x="119" y="3648"/>
                      </a:lnTo>
                      <a:lnTo>
                        <a:pt x="359" y="2990"/>
                      </a:lnTo>
                      <a:lnTo>
                        <a:pt x="718" y="2273"/>
                      </a:lnTo>
                      <a:lnTo>
                        <a:pt x="1136" y="1615"/>
                      </a:lnTo>
                      <a:lnTo>
                        <a:pt x="1615" y="1017"/>
                      </a:lnTo>
                      <a:lnTo>
                        <a:pt x="2153" y="538"/>
                      </a:lnTo>
                      <a:lnTo>
                        <a:pt x="2632" y="179"/>
                      </a:lnTo>
                      <a:lnTo>
                        <a:pt x="3110" y="0"/>
                      </a:lnTo>
                      <a:lnTo>
                        <a:pt x="3469" y="0"/>
                      </a:lnTo>
                      <a:lnTo>
                        <a:pt x="3768" y="179"/>
                      </a:lnTo>
                    </a:path>
                  </a:pathLst>
                </a:custGeom>
                <a:noFill/>
                <a:ln w="6350" cap="rnd">
                  <a:solidFill>
                    <a:schemeClr val="bg1">
                      <a:alpha val="40000"/>
                    </a:schemeClr>
                  </a:solidFill>
                  <a:prstDash val="solid"/>
                  <a:round/>
                </a:ln>
              </p:spPr>
              <p:txBody>
                <a:bodyPr rtlCol="0" anchor="ctr"/>
                <a:lstStyle/>
                <a:p>
                  <a:endParaRPr lang="en-GB"/>
                </a:p>
              </p:txBody>
            </p:sp>
            <p:sp>
              <p:nvSpPr>
                <p:cNvPr id="5574" name="Vrije vorm: vorm 5573">
                  <a:extLst>
                    <a:ext uri="{FF2B5EF4-FFF2-40B4-BE49-F238E27FC236}">
                      <a16:creationId xmlns:a16="http://schemas.microsoft.com/office/drawing/2014/main" id="{90505A86-AD03-4745-8953-E2B2A54C99FF}"/>
                    </a:ext>
                  </a:extLst>
                </p:cNvPr>
                <p:cNvSpPr/>
                <p:nvPr/>
              </p:nvSpPr>
              <p:spPr>
                <a:xfrm>
                  <a:off x="6524030" y="1715431"/>
                  <a:ext cx="5562" cy="4724"/>
                </a:xfrm>
                <a:custGeom>
                  <a:avLst/>
                  <a:gdLst>
                    <a:gd name="connsiteX0" fmla="*/ 0 w 5562"/>
                    <a:gd name="connsiteY0" fmla="*/ 0 h 4724"/>
                    <a:gd name="connsiteX1" fmla="*/ 2392 w 5562"/>
                    <a:gd name="connsiteY1" fmla="*/ 1376 h 4724"/>
                    <a:gd name="connsiteX2" fmla="*/ 4545 w 5562"/>
                    <a:gd name="connsiteY2" fmla="*/ 3469 h 4724"/>
                    <a:gd name="connsiteX3" fmla="*/ 4844 w 5562"/>
                    <a:gd name="connsiteY3" fmla="*/ 3768 h 4724"/>
                    <a:gd name="connsiteX4" fmla="*/ 5382 w 5562"/>
                    <a:gd name="connsiteY4" fmla="*/ 4306 h 4724"/>
                    <a:gd name="connsiteX5" fmla="*/ 5502 w 5562"/>
                    <a:gd name="connsiteY5" fmla="*/ 4605 h 4724"/>
                    <a:gd name="connsiteX6" fmla="*/ 5562 w 5562"/>
                    <a:gd name="connsiteY6"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 h="4724">
                      <a:moveTo>
                        <a:pt x="0" y="0"/>
                      </a:moveTo>
                      <a:lnTo>
                        <a:pt x="2392" y="1376"/>
                      </a:lnTo>
                      <a:lnTo>
                        <a:pt x="4545" y="3469"/>
                      </a:lnTo>
                      <a:lnTo>
                        <a:pt x="4844" y="3768"/>
                      </a:lnTo>
                      <a:lnTo>
                        <a:pt x="5382" y="4306"/>
                      </a:lnTo>
                      <a:lnTo>
                        <a:pt x="5502" y="4605"/>
                      </a:lnTo>
                      <a:lnTo>
                        <a:pt x="5562" y="4725"/>
                      </a:lnTo>
                    </a:path>
                  </a:pathLst>
                </a:custGeom>
                <a:noFill/>
                <a:ln w="6350" cap="rnd">
                  <a:solidFill>
                    <a:schemeClr val="bg1">
                      <a:alpha val="40000"/>
                    </a:schemeClr>
                  </a:solidFill>
                  <a:prstDash val="solid"/>
                  <a:round/>
                </a:ln>
              </p:spPr>
              <p:txBody>
                <a:bodyPr rtlCol="0" anchor="ctr"/>
                <a:lstStyle/>
                <a:p>
                  <a:endParaRPr lang="en-GB"/>
                </a:p>
              </p:txBody>
            </p:sp>
            <p:sp>
              <p:nvSpPr>
                <p:cNvPr id="5575" name="Vrije vorm: vorm 5574">
                  <a:extLst>
                    <a:ext uri="{FF2B5EF4-FFF2-40B4-BE49-F238E27FC236}">
                      <a16:creationId xmlns:a16="http://schemas.microsoft.com/office/drawing/2014/main" id="{22203BF2-C8B5-4527-890D-4CE9AC9019CA}"/>
                    </a:ext>
                  </a:extLst>
                </p:cNvPr>
                <p:cNvSpPr/>
                <p:nvPr/>
              </p:nvSpPr>
              <p:spPr>
                <a:xfrm>
                  <a:off x="6498373" y="1763456"/>
                  <a:ext cx="4126" cy="1973"/>
                </a:xfrm>
                <a:custGeom>
                  <a:avLst/>
                  <a:gdLst>
                    <a:gd name="connsiteX0" fmla="*/ 4127 w 4126"/>
                    <a:gd name="connsiteY0" fmla="*/ 1974 h 1973"/>
                    <a:gd name="connsiteX1" fmla="*/ 2273 w 4126"/>
                    <a:gd name="connsiteY1" fmla="*/ 1136 h 1973"/>
                    <a:gd name="connsiteX2" fmla="*/ 1196 w 4126"/>
                    <a:gd name="connsiteY2" fmla="*/ 598 h 1973"/>
                    <a:gd name="connsiteX3" fmla="*/ 359 w 4126"/>
                    <a:gd name="connsiteY3" fmla="*/ 179 h 1973"/>
                    <a:gd name="connsiteX4" fmla="*/ 0 w 4126"/>
                    <a:gd name="connsiteY4" fmla="*/ 0 h 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6" h="1973">
                      <a:moveTo>
                        <a:pt x="4127" y="1974"/>
                      </a:moveTo>
                      <a:lnTo>
                        <a:pt x="2273" y="1136"/>
                      </a:lnTo>
                      <a:lnTo>
                        <a:pt x="1196" y="598"/>
                      </a:lnTo>
                      <a:lnTo>
                        <a:pt x="359" y="17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76" name="Vrije vorm: vorm 5575">
                  <a:extLst>
                    <a:ext uri="{FF2B5EF4-FFF2-40B4-BE49-F238E27FC236}">
                      <a16:creationId xmlns:a16="http://schemas.microsoft.com/office/drawing/2014/main" id="{8DB36C84-43DA-414E-963D-24AE463EC67F}"/>
                    </a:ext>
                  </a:extLst>
                </p:cNvPr>
                <p:cNvSpPr/>
                <p:nvPr/>
              </p:nvSpPr>
              <p:spPr>
                <a:xfrm>
                  <a:off x="6424750" y="1691568"/>
                  <a:ext cx="33910" cy="28946"/>
                </a:xfrm>
                <a:custGeom>
                  <a:avLst/>
                  <a:gdLst>
                    <a:gd name="connsiteX0" fmla="*/ 0 w 33910"/>
                    <a:gd name="connsiteY0" fmla="*/ 28947 h 28946"/>
                    <a:gd name="connsiteX1" fmla="*/ 419 w 33910"/>
                    <a:gd name="connsiteY1" fmla="*/ 27033 h 28946"/>
                    <a:gd name="connsiteX2" fmla="*/ 1854 w 33910"/>
                    <a:gd name="connsiteY2" fmla="*/ 24102 h 28946"/>
                    <a:gd name="connsiteX3" fmla="*/ 3290 w 33910"/>
                    <a:gd name="connsiteY3" fmla="*/ 21172 h 28946"/>
                    <a:gd name="connsiteX4" fmla="*/ 4187 w 33910"/>
                    <a:gd name="connsiteY4" fmla="*/ 19437 h 28946"/>
                    <a:gd name="connsiteX5" fmla="*/ 6280 w 33910"/>
                    <a:gd name="connsiteY5" fmla="*/ 16925 h 28946"/>
                    <a:gd name="connsiteX6" fmla="*/ 8373 w 33910"/>
                    <a:gd name="connsiteY6" fmla="*/ 14414 h 28946"/>
                    <a:gd name="connsiteX7" fmla="*/ 9988 w 33910"/>
                    <a:gd name="connsiteY7" fmla="*/ 12440 h 28946"/>
                    <a:gd name="connsiteX8" fmla="*/ 12500 w 33910"/>
                    <a:gd name="connsiteY8" fmla="*/ 10406 h 28946"/>
                    <a:gd name="connsiteX9" fmla="*/ 15012 w 33910"/>
                    <a:gd name="connsiteY9" fmla="*/ 8373 h 28946"/>
                    <a:gd name="connsiteX10" fmla="*/ 17284 w 33910"/>
                    <a:gd name="connsiteY10" fmla="*/ 6579 h 28946"/>
                    <a:gd name="connsiteX11" fmla="*/ 20096 w 33910"/>
                    <a:gd name="connsiteY11" fmla="*/ 5143 h 28946"/>
                    <a:gd name="connsiteX12" fmla="*/ 22488 w 33910"/>
                    <a:gd name="connsiteY12" fmla="*/ 3887 h 28946"/>
                    <a:gd name="connsiteX13" fmla="*/ 25299 w 33910"/>
                    <a:gd name="connsiteY13" fmla="*/ 2452 h 28946"/>
                    <a:gd name="connsiteX14" fmla="*/ 25478 w 33910"/>
                    <a:gd name="connsiteY14" fmla="*/ 2332 h 28946"/>
                    <a:gd name="connsiteX15" fmla="*/ 28468 w 33910"/>
                    <a:gd name="connsiteY15" fmla="*/ 1495 h 28946"/>
                    <a:gd name="connsiteX16" fmla="*/ 29784 w 33910"/>
                    <a:gd name="connsiteY16" fmla="*/ 1136 h 28946"/>
                    <a:gd name="connsiteX17" fmla="*/ 32775 w 33910"/>
                    <a:gd name="connsiteY17" fmla="*/ 299 h 28946"/>
                    <a:gd name="connsiteX18" fmla="*/ 33911 w 33910"/>
                    <a:gd name="connsiteY18" fmla="*/ 0 h 2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910" h="28946">
                      <a:moveTo>
                        <a:pt x="0" y="28947"/>
                      </a:moveTo>
                      <a:lnTo>
                        <a:pt x="419" y="27033"/>
                      </a:lnTo>
                      <a:lnTo>
                        <a:pt x="1854" y="24102"/>
                      </a:lnTo>
                      <a:lnTo>
                        <a:pt x="3290" y="21172"/>
                      </a:lnTo>
                      <a:lnTo>
                        <a:pt x="4187" y="19437"/>
                      </a:lnTo>
                      <a:lnTo>
                        <a:pt x="6280" y="16925"/>
                      </a:lnTo>
                      <a:lnTo>
                        <a:pt x="8373" y="14414"/>
                      </a:lnTo>
                      <a:lnTo>
                        <a:pt x="9988" y="12440"/>
                      </a:lnTo>
                      <a:lnTo>
                        <a:pt x="12500" y="10406"/>
                      </a:lnTo>
                      <a:lnTo>
                        <a:pt x="15012" y="8373"/>
                      </a:lnTo>
                      <a:lnTo>
                        <a:pt x="17284" y="6579"/>
                      </a:lnTo>
                      <a:lnTo>
                        <a:pt x="20096" y="5143"/>
                      </a:lnTo>
                      <a:lnTo>
                        <a:pt x="22488" y="3887"/>
                      </a:lnTo>
                      <a:lnTo>
                        <a:pt x="25299" y="2452"/>
                      </a:lnTo>
                      <a:lnTo>
                        <a:pt x="25478" y="2332"/>
                      </a:lnTo>
                      <a:lnTo>
                        <a:pt x="28468" y="1495"/>
                      </a:lnTo>
                      <a:lnTo>
                        <a:pt x="29784" y="1136"/>
                      </a:lnTo>
                      <a:lnTo>
                        <a:pt x="32775" y="299"/>
                      </a:lnTo>
                      <a:lnTo>
                        <a:pt x="33911" y="0"/>
                      </a:lnTo>
                    </a:path>
                  </a:pathLst>
                </a:custGeom>
                <a:noFill/>
                <a:ln w="6350" cap="rnd">
                  <a:solidFill>
                    <a:schemeClr val="bg1">
                      <a:alpha val="40000"/>
                    </a:schemeClr>
                  </a:solidFill>
                  <a:prstDash val="solid"/>
                  <a:round/>
                </a:ln>
              </p:spPr>
              <p:txBody>
                <a:bodyPr rtlCol="0" anchor="ctr"/>
                <a:lstStyle/>
                <a:p>
                  <a:endParaRPr lang="en-GB"/>
                </a:p>
              </p:txBody>
            </p:sp>
            <p:sp>
              <p:nvSpPr>
                <p:cNvPr id="5577" name="Vrije vorm: vorm 5576">
                  <a:extLst>
                    <a:ext uri="{FF2B5EF4-FFF2-40B4-BE49-F238E27FC236}">
                      <a16:creationId xmlns:a16="http://schemas.microsoft.com/office/drawing/2014/main" id="{8050DEA0-977C-4E01-BA85-FFE67AE2404A}"/>
                    </a:ext>
                  </a:extLst>
                </p:cNvPr>
                <p:cNvSpPr/>
                <p:nvPr/>
              </p:nvSpPr>
              <p:spPr>
                <a:xfrm>
                  <a:off x="6447477" y="1712919"/>
                  <a:ext cx="12140" cy="12798"/>
                </a:xfrm>
                <a:custGeom>
                  <a:avLst/>
                  <a:gdLst>
                    <a:gd name="connsiteX0" fmla="*/ 12141 w 12140"/>
                    <a:gd name="connsiteY0" fmla="*/ 120 h 12798"/>
                    <a:gd name="connsiteX1" fmla="*/ 11423 w 12140"/>
                    <a:gd name="connsiteY1" fmla="*/ 0 h 12798"/>
                    <a:gd name="connsiteX2" fmla="*/ 9270 w 12140"/>
                    <a:gd name="connsiteY2" fmla="*/ 120 h 12798"/>
                    <a:gd name="connsiteX3" fmla="*/ 7057 w 12140"/>
                    <a:gd name="connsiteY3" fmla="*/ 778 h 12798"/>
                    <a:gd name="connsiteX4" fmla="*/ 4904 w 12140"/>
                    <a:gd name="connsiteY4" fmla="*/ 1914 h 12798"/>
                    <a:gd name="connsiteX5" fmla="*/ 2990 w 12140"/>
                    <a:gd name="connsiteY5" fmla="*/ 3409 h 12798"/>
                    <a:gd name="connsiteX6" fmla="*/ 1495 w 12140"/>
                    <a:gd name="connsiteY6" fmla="*/ 5203 h 12798"/>
                    <a:gd name="connsiteX7" fmla="*/ 478 w 12140"/>
                    <a:gd name="connsiteY7" fmla="*/ 7177 h 12798"/>
                    <a:gd name="connsiteX8" fmla="*/ 0 w 12140"/>
                    <a:gd name="connsiteY8" fmla="*/ 9210 h 12798"/>
                    <a:gd name="connsiteX9" fmla="*/ 119 w 12140"/>
                    <a:gd name="connsiteY9" fmla="*/ 11124 h 12798"/>
                    <a:gd name="connsiteX10" fmla="*/ 837 w 12140"/>
                    <a:gd name="connsiteY10" fmla="*/ 12799 h 1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40" h="12798">
                      <a:moveTo>
                        <a:pt x="12141" y="120"/>
                      </a:moveTo>
                      <a:lnTo>
                        <a:pt x="11423" y="0"/>
                      </a:lnTo>
                      <a:lnTo>
                        <a:pt x="9270" y="120"/>
                      </a:lnTo>
                      <a:lnTo>
                        <a:pt x="7057" y="778"/>
                      </a:lnTo>
                      <a:lnTo>
                        <a:pt x="4904" y="1914"/>
                      </a:lnTo>
                      <a:lnTo>
                        <a:pt x="2990" y="3409"/>
                      </a:lnTo>
                      <a:lnTo>
                        <a:pt x="1495" y="5203"/>
                      </a:lnTo>
                      <a:lnTo>
                        <a:pt x="478" y="7177"/>
                      </a:lnTo>
                      <a:lnTo>
                        <a:pt x="0" y="9210"/>
                      </a:lnTo>
                      <a:lnTo>
                        <a:pt x="119" y="11124"/>
                      </a:lnTo>
                      <a:lnTo>
                        <a:pt x="837" y="12799"/>
                      </a:lnTo>
                    </a:path>
                  </a:pathLst>
                </a:custGeom>
                <a:noFill/>
                <a:ln w="6350" cap="rnd">
                  <a:solidFill>
                    <a:schemeClr val="bg1">
                      <a:alpha val="40000"/>
                    </a:schemeClr>
                  </a:solidFill>
                  <a:prstDash val="solid"/>
                  <a:round/>
                </a:ln>
              </p:spPr>
              <p:txBody>
                <a:bodyPr rtlCol="0" anchor="ctr"/>
                <a:lstStyle/>
                <a:p>
                  <a:endParaRPr lang="en-GB"/>
                </a:p>
              </p:txBody>
            </p:sp>
            <p:sp>
              <p:nvSpPr>
                <p:cNvPr id="5578" name="Vrije vorm: vorm 5577">
                  <a:extLst>
                    <a:ext uri="{FF2B5EF4-FFF2-40B4-BE49-F238E27FC236}">
                      <a16:creationId xmlns:a16="http://schemas.microsoft.com/office/drawing/2014/main" id="{ACB81A11-5D9C-4DC7-A065-9A623F2E6FEB}"/>
                    </a:ext>
                  </a:extLst>
                </p:cNvPr>
                <p:cNvSpPr/>
                <p:nvPr/>
              </p:nvSpPr>
              <p:spPr>
                <a:xfrm>
                  <a:off x="6437609" y="1733911"/>
                  <a:ext cx="13995" cy="4844"/>
                </a:xfrm>
                <a:custGeom>
                  <a:avLst/>
                  <a:gdLst>
                    <a:gd name="connsiteX0" fmla="*/ 13995 w 13995"/>
                    <a:gd name="connsiteY0" fmla="*/ 4844 h 4844"/>
                    <a:gd name="connsiteX1" fmla="*/ 13516 w 13995"/>
                    <a:gd name="connsiteY1" fmla="*/ 4844 h 4844"/>
                    <a:gd name="connsiteX2" fmla="*/ 10645 w 13995"/>
                    <a:gd name="connsiteY2" fmla="*/ 4246 h 4844"/>
                    <a:gd name="connsiteX3" fmla="*/ 7775 w 13995"/>
                    <a:gd name="connsiteY3" fmla="*/ 3648 h 4844"/>
                    <a:gd name="connsiteX4" fmla="*/ 6399 w 13995"/>
                    <a:gd name="connsiteY4" fmla="*/ 3349 h 4844"/>
                    <a:gd name="connsiteX5" fmla="*/ 3768 w 13995"/>
                    <a:gd name="connsiteY5" fmla="*/ 2033 h 4844"/>
                    <a:gd name="connsiteX6" fmla="*/ 1136 w 13995"/>
                    <a:gd name="connsiteY6" fmla="*/ 718 h 4844"/>
                    <a:gd name="connsiteX7" fmla="*/ 239 w 13995"/>
                    <a:gd name="connsiteY7" fmla="*/ 239 h 4844"/>
                    <a:gd name="connsiteX8" fmla="*/ 0 w 13995"/>
                    <a:gd name="connsiteY8" fmla="*/ 0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5" h="4844">
                      <a:moveTo>
                        <a:pt x="13995" y="4844"/>
                      </a:moveTo>
                      <a:lnTo>
                        <a:pt x="13516" y="4844"/>
                      </a:lnTo>
                      <a:lnTo>
                        <a:pt x="10645" y="4246"/>
                      </a:lnTo>
                      <a:lnTo>
                        <a:pt x="7775" y="3648"/>
                      </a:lnTo>
                      <a:lnTo>
                        <a:pt x="6399" y="3349"/>
                      </a:lnTo>
                      <a:lnTo>
                        <a:pt x="3768" y="2033"/>
                      </a:lnTo>
                      <a:lnTo>
                        <a:pt x="1136" y="718"/>
                      </a:lnTo>
                      <a:lnTo>
                        <a:pt x="239" y="23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79" name="Vrije vorm: vorm 5578">
                  <a:extLst>
                    <a:ext uri="{FF2B5EF4-FFF2-40B4-BE49-F238E27FC236}">
                      <a16:creationId xmlns:a16="http://schemas.microsoft.com/office/drawing/2014/main" id="{BD7F3CF5-8DD8-43F7-A50E-B0DB582D5459}"/>
                    </a:ext>
                  </a:extLst>
                </p:cNvPr>
                <p:cNvSpPr/>
                <p:nvPr/>
              </p:nvSpPr>
              <p:spPr>
                <a:xfrm>
                  <a:off x="6401784" y="1636306"/>
                  <a:ext cx="48503" cy="35944"/>
                </a:xfrm>
                <a:custGeom>
                  <a:avLst/>
                  <a:gdLst>
                    <a:gd name="connsiteX0" fmla="*/ 598 w 48503"/>
                    <a:gd name="connsiteY0" fmla="*/ 35944 h 35944"/>
                    <a:gd name="connsiteX1" fmla="*/ 239 w 48503"/>
                    <a:gd name="connsiteY1" fmla="*/ 32834 h 35944"/>
                    <a:gd name="connsiteX2" fmla="*/ 0 w 48503"/>
                    <a:gd name="connsiteY2" fmla="*/ 30861 h 35944"/>
                    <a:gd name="connsiteX3" fmla="*/ 598 w 48503"/>
                    <a:gd name="connsiteY3" fmla="*/ 27691 h 35944"/>
                    <a:gd name="connsiteX4" fmla="*/ 1196 w 48503"/>
                    <a:gd name="connsiteY4" fmla="*/ 24521 h 35944"/>
                    <a:gd name="connsiteX5" fmla="*/ 1316 w 48503"/>
                    <a:gd name="connsiteY5" fmla="*/ 23803 h 35944"/>
                    <a:gd name="connsiteX6" fmla="*/ 2691 w 48503"/>
                    <a:gd name="connsiteY6" fmla="*/ 20873 h 35944"/>
                    <a:gd name="connsiteX7" fmla="*/ 4067 w 48503"/>
                    <a:gd name="connsiteY7" fmla="*/ 17942 h 35944"/>
                    <a:gd name="connsiteX8" fmla="*/ 4545 w 48503"/>
                    <a:gd name="connsiteY8" fmla="*/ 16925 h 35944"/>
                    <a:gd name="connsiteX9" fmla="*/ 6579 w 48503"/>
                    <a:gd name="connsiteY9" fmla="*/ 14354 h 35944"/>
                    <a:gd name="connsiteX10" fmla="*/ 8612 w 48503"/>
                    <a:gd name="connsiteY10" fmla="*/ 11782 h 35944"/>
                    <a:gd name="connsiteX11" fmla="*/ 9509 w 48503"/>
                    <a:gd name="connsiteY11" fmla="*/ 10646 h 35944"/>
                    <a:gd name="connsiteX12" fmla="*/ 12021 w 48503"/>
                    <a:gd name="connsiteY12" fmla="*/ 8612 h 35944"/>
                    <a:gd name="connsiteX13" fmla="*/ 14533 w 48503"/>
                    <a:gd name="connsiteY13" fmla="*/ 6579 h 35944"/>
                    <a:gd name="connsiteX14" fmla="*/ 15849 w 48503"/>
                    <a:gd name="connsiteY14" fmla="*/ 5502 h 35944"/>
                    <a:gd name="connsiteX15" fmla="*/ 18660 w 48503"/>
                    <a:gd name="connsiteY15" fmla="*/ 4067 h 35944"/>
                    <a:gd name="connsiteX16" fmla="*/ 21471 w 48503"/>
                    <a:gd name="connsiteY16" fmla="*/ 2632 h 35944"/>
                    <a:gd name="connsiteX17" fmla="*/ 23086 w 48503"/>
                    <a:gd name="connsiteY17" fmla="*/ 1854 h 35944"/>
                    <a:gd name="connsiteX18" fmla="*/ 26076 w 48503"/>
                    <a:gd name="connsiteY18" fmla="*/ 1136 h 35944"/>
                    <a:gd name="connsiteX19" fmla="*/ 29066 w 48503"/>
                    <a:gd name="connsiteY19" fmla="*/ 419 h 35944"/>
                    <a:gd name="connsiteX20" fmla="*/ 30681 w 48503"/>
                    <a:gd name="connsiteY20" fmla="*/ 0 h 35944"/>
                    <a:gd name="connsiteX21" fmla="*/ 33731 w 48503"/>
                    <a:gd name="connsiteY21" fmla="*/ 0 h 35944"/>
                    <a:gd name="connsiteX22" fmla="*/ 36781 w 48503"/>
                    <a:gd name="connsiteY22" fmla="*/ 0 h 35944"/>
                    <a:gd name="connsiteX23" fmla="*/ 38157 w 48503"/>
                    <a:gd name="connsiteY23" fmla="*/ 0 h 35944"/>
                    <a:gd name="connsiteX24" fmla="*/ 41028 w 48503"/>
                    <a:gd name="connsiteY24" fmla="*/ 778 h 35944"/>
                    <a:gd name="connsiteX25" fmla="*/ 43898 w 48503"/>
                    <a:gd name="connsiteY25" fmla="*/ 1555 h 35944"/>
                    <a:gd name="connsiteX26" fmla="*/ 44855 w 48503"/>
                    <a:gd name="connsiteY26" fmla="*/ 1794 h 35944"/>
                    <a:gd name="connsiteX27" fmla="*/ 47367 w 48503"/>
                    <a:gd name="connsiteY27" fmla="*/ 3409 h 35944"/>
                    <a:gd name="connsiteX28" fmla="*/ 48504 w 48503"/>
                    <a:gd name="connsiteY28" fmla="*/ 4127 h 3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8503" h="35944">
                      <a:moveTo>
                        <a:pt x="598" y="35944"/>
                      </a:moveTo>
                      <a:lnTo>
                        <a:pt x="239" y="32834"/>
                      </a:lnTo>
                      <a:lnTo>
                        <a:pt x="0" y="30861"/>
                      </a:lnTo>
                      <a:lnTo>
                        <a:pt x="598" y="27691"/>
                      </a:lnTo>
                      <a:lnTo>
                        <a:pt x="1196" y="24521"/>
                      </a:lnTo>
                      <a:lnTo>
                        <a:pt x="1316" y="23803"/>
                      </a:lnTo>
                      <a:lnTo>
                        <a:pt x="2691" y="20873"/>
                      </a:lnTo>
                      <a:lnTo>
                        <a:pt x="4067" y="17942"/>
                      </a:lnTo>
                      <a:lnTo>
                        <a:pt x="4545" y="16925"/>
                      </a:lnTo>
                      <a:lnTo>
                        <a:pt x="6579" y="14354"/>
                      </a:lnTo>
                      <a:lnTo>
                        <a:pt x="8612" y="11782"/>
                      </a:lnTo>
                      <a:lnTo>
                        <a:pt x="9509" y="10646"/>
                      </a:lnTo>
                      <a:lnTo>
                        <a:pt x="12021" y="8612"/>
                      </a:lnTo>
                      <a:lnTo>
                        <a:pt x="14533" y="6579"/>
                      </a:lnTo>
                      <a:lnTo>
                        <a:pt x="15849" y="5502"/>
                      </a:lnTo>
                      <a:lnTo>
                        <a:pt x="18660" y="4067"/>
                      </a:lnTo>
                      <a:lnTo>
                        <a:pt x="21471" y="2632"/>
                      </a:lnTo>
                      <a:lnTo>
                        <a:pt x="23086" y="1854"/>
                      </a:lnTo>
                      <a:lnTo>
                        <a:pt x="26076" y="1136"/>
                      </a:lnTo>
                      <a:lnTo>
                        <a:pt x="29066" y="419"/>
                      </a:lnTo>
                      <a:lnTo>
                        <a:pt x="30681" y="0"/>
                      </a:lnTo>
                      <a:lnTo>
                        <a:pt x="33731" y="0"/>
                      </a:lnTo>
                      <a:lnTo>
                        <a:pt x="36781" y="0"/>
                      </a:lnTo>
                      <a:lnTo>
                        <a:pt x="38157" y="0"/>
                      </a:lnTo>
                      <a:lnTo>
                        <a:pt x="41028" y="778"/>
                      </a:lnTo>
                      <a:lnTo>
                        <a:pt x="43898" y="1555"/>
                      </a:lnTo>
                      <a:lnTo>
                        <a:pt x="44855" y="1794"/>
                      </a:lnTo>
                      <a:lnTo>
                        <a:pt x="47367" y="3409"/>
                      </a:lnTo>
                      <a:lnTo>
                        <a:pt x="48504" y="4127"/>
                      </a:lnTo>
                    </a:path>
                  </a:pathLst>
                </a:custGeom>
                <a:noFill/>
                <a:ln w="6350" cap="rnd">
                  <a:solidFill>
                    <a:schemeClr val="bg1">
                      <a:alpha val="40000"/>
                    </a:schemeClr>
                  </a:solidFill>
                  <a:prstDash val="solid"/>
                  <a:round/>
                </a:ln>
              </p:spPr>
              <p:txBody>
                <a:bodyPr rtlCol="0" anchor="ctr"/>
                <a:lstStyle/>
                <a:p>
                  <a:endParaRPr lang="en-GB"/>
                </a:p>
              </p:txBody>
            </p:sp>
            <p:sp>
              <p:nvSpPr>
                <p:cNvPr id="5580" name="Vrije vorm: vorm 5579">
                  <a:extLst>
                    <a:ext uri="{FF2B5EF4-FFF2-40B4-BE49-F238E27FC236}">
                      <a16:creationId xmlns:a16="http://schemas.microsoft.com/office/drawing/2014/main" id="{44E5ECD2-EC1C-46DB-AEB2-547BAB5FF877}"/>
                    </a:ext>
                  </a:extLst>
                </p:cNvPr>
                <p:cNvSpPr/>
                <p:nvPr/>
              </p:nvSpPr>
              <p:spPr>
                <a:xfrm>
                  <a:off x="6423255" y="1684271"/>
                  <a:ext cx="34150" cy="24939"/>
                </a:xfrm>
                <a:custGeom>
                  <a:avLst/>
                  <a:gdLst>
                    <a:gd name="connsiteX0" fmla="*/ 34150 w 34150"/>
                    <a:gd name="connsiteY0" fmla="*/ 0 h 24939"/>
                    <a:gd name="connsiteX1" fmla="*/ 32176 w 34150"/>
                    <a:gd name="connsiteY1" fmla="*/ 60 h 24939"/>
                    <a:gd name="connsiteX2" fmla="*/ 29186 w 34150"/>
                    <a:gd name="connsiteY2" fmla="*/ 897 h 24939"/>
                    <a:gd name="connsiteX3" fmla="*/ 26196 w 34150"/>
                    <a:gd name="connsiteY3" fmla="*/ 1734 h 24939"/>
                    <a:gd name="connsiteX4" fmla="*/ 23744 w 34150"/>
                    <a:gd name="connsiteY4" fmla="*/ 2392 h 24939"/>
                    <a:gd name="connsiteX5" fmla="*/ 22009 w 34150"/>
                    <a:gd name="connsiteY5" fmla="*/ 3289 h 24939"/>
                    <a:gd name="connsiteX6" fmla="*/ 19198 w 34150"/>
                    <a:gd name="connsiteY6" fmla="*/ 4725 h 24939"/>
                    <a:gd name="connsiteX7" fmla="*/ 16387 w 34150"/>
                    <a:gd name="connsiteY7" fmla="*/ 6160 h 24939"/>
                    <a:gd name="connsiteX8" fmla="*/ 15610 w 34150"/>
                    <a:gd name="connsiteY8" fmla="*/ 6579 h 24939"/>
                    <a:gd name="connsiteX9" fmla="*/ 15550 w 34150"/>
                    <a:gd name="connsiteY9" fmla="*/ 6639 h 24939"/>
                    <a:gd name="connsiteX10" fmla="*/ 13038 w 34150"/>
                    <a:gd name="connsiteY10" fmla="*/ 8672 h 24939"/>
                    <a:gd name="connsiteX11" fmla="*/ 10526 w 34150"/>
                    <a:gd name="connsiteY11" fmla="*/ 10705 h 24939"/>
                    <a:gd name="connsiteX12" fmla="*/ 8433 w 34150"/>
                    <a:gd name="connsiteY12" fmla="*/ 12380 h 24939"/>
                    <a:gd name="connsiteX13" fmla="*/ 6399 w 34150"/>
                    <a:gd name="connsiteY13" fmla="*/ 14892 h 24939"/>
                    <a:gd name="connsiteX14" fmla="*/ 4306 w 34150"/>
                    <a:gd name="connsiteY14" fmla="*/ 17404 h 24939"/>
                    <a:gd name="connsiteX15" fmla="*/ 2811 w 34150"/>
                    <a:gd name="connsiteY15" fmla="*/ 19258 h 24939"/>
                    <a:gd name="connsiteX16" fmla="*/ 1376 w 34150"/>
                    <a:gd name="connsiteY16" fmla="*/ 22188 h 24939"/>
                    <a:gd name="connsiteX17" fmla="*/ 0 w 34150"/>
                    <a:gd name="connsiteY17" fmla="*/ 24940 h 2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150" h="24939">
                      <a:moveTo>
                        <a:pt x="34150" y="0"/>
                      </a:moveTo>
                      <a:lnTo>
                        <a:pt x="32176" y="60"/>
                      </a:lnTo>
                      <a:lnTo>
                        <a:pt x="29186" y="897"/>
                      </a:lnTo>
                      <a:lnTo>
                        <a:pt x="26196" y="1734"/>
                      </a:lnTo>
                      <a:lnTo>
                        <a:pt x="23744" y="2392"/>
                      </a:lnTo>
                      <a:lnTo>
                        <a:pt x="22009" y="3289"/>
                      </a:lnTo>
                      <a:lnTo>
                        <a:pt x="19198" y="4725"/>
                      </a:lnTo>
                      <a:lnTo>
                        <a:pt x="16387" y="6160"/>
                      </a:lnTo>
                      <a:lnTo>
                        <a:pt x="15610" y="6579"/>
                      </a:lnTo>
                      <a:lnTo>
                        <a:pt x="15550" y="6639"/>
                      </a:lnTo>
                      <a:lnTo>
                        <a:pt x="13038" y="8672"/>
                      </a:lnTo>
                      <a:lnTo>
                        <a:pt x="10526" y="10705"/>
                      </a:lnTo>
                      <a:lnTo>
                        <a:pt x="8433" y="12380"/>
                      </a:lnTo>
                      <a:lnTo>
                        <a:pt x="6399" y="14892"/>
                      </a:lnTo>
                      <a:lnTo>
                        <a:pt x="4306" y="17404"/>
                      </a:lnTo>
                      <a:lnTo>
                        <a:pt x="2811" y="19258"/>
                      </a:lnTo>
                      <a:lnTo>
                        <a:pt x="1376" y="22188"/>
                      </a:lnTo>
                      <a:lnTo>
                        <a:pt x="0" y="24940"/>
                      </a:lnTo>
                    </a:path>
                  </a:pathLst>
                </a:custGeom>
                <a:noFill/>
                <a:ln w="6350" cap="rnd">
                  <a:solidFill>
                    <a:schemeClr val="bg1">
                      <a:alpha val="40000"/>
                    </a:schemeClr>
                  </a:solidFill>
                  <a:prstDash val="solid"/>
                  <a:round/>
                </a:ln>
              </p:spPr>
              <p:txBody>
                <a:bodyPr rtlCol="0" anchor="ctr"/>
                <a:lstStyle/>
                <a:p>
                  <a:endParaRPr lang="en-GB"/>
                </a:p>
              </p:txBody>
            </p:sp>
            <p:sp>
              <p:nvSpPr>
                <p:cNvPr id="5581" name="Vrije vorm: vorm 5580">
                  <a:extLst>
                    <a:ext uri="{FF2B5EF4-FFF2-40B4-BE49-F238E27FC236}">
                      <a16:creationId xmlns:a16="http://schemas.microsoft.com/office/drawing/2014/main" id="{E056CB91-672F-4E4E-A255-E8E1727C5149}"/>
                    </a:ext>
                  </a:extLst>
                </p:cNvPr>
                <p:cNvSpPr/>
                <p:nvPr/>
              </p:nvSpPr>
              <p:spPr>
                <a:xfrm>
                  <a:off x="6422418" y="1680025"/>
                  <a:ext cx="34448" cy="22966"/>
                </a:xfrm>
                <a:custGeom>
                  <a:avLst/>
                  <a:gdLst>
                    <a:gd name="connsiteX0" fmla="*/ 0 w 34448"/>
                    <a:gd name="connsiteY0" fmla="*/ 22966 h 22966"/>
                    <a:gd name="connsiteX1" fmla="*/ 2452 w 34448"/>
                    <a:gd name="connsiteY1" fmla="*/ 20873 h 22966"/>
                    <a:gd name="connsiteX2" fmla="*/ 4904 w 34448"/>
                    <a:gd name="connsiteY2" fmla="*/ 18779 h 22966"/>
                    <a:gd name="connsiteX3" fmla="*/ 7356 w 34448"/>
                    <a:gd name="connsiteY3" fmla="*/ 16686 h 22966"/>
                    <a:gd name="connsiteX4" fmla="*/ 9808 w 34448"/>
                    <a:gd name="connsiteY4" fmla="*/ 14593 h 22966"/>
                    <a:gd name="connsiteX5" fmla="*/ 12260 w 34448"/>
                    <a:gd name="connsiteY5" fmla="*/ 12500 h 22966"/>
                    <a:gd name="connsiteX6" fmla="*/ 14712 w 34448"/>
                    <a:gd name="connsiteY6" fmla="*/ 10406 h 22966"/>
                    <a:gd name="connsiteX7" fmla="*/ 15011 w 34448"/>
                    <a:gd name="connsiteY7" fmla="*/ 10167 h 22966"/>
                    <a:gd name="connsiteX8" fmla="*/ 17464 w 34448"/>
                    <a:gd name="connsiteY8" fmla="*/ 8074 h 22966"/>
                    <a:gd name="connsiteX9" fmla="*/ 19916 w 34448"/>
                    <a:gd name="connsiteY9" fmla="*/ 5981 h 22966"/>
                    <a:gd name="connsiteX10" fmla="*/ 22368 w 34448"/>
                    <a:gd name="connsiteY10" fmla="*/ 3888 h 22966"/>
                    <a:gd name="connsiteX11" fmla="*/ 24820 w 34448"/>
                    <a:gd name="connsiteY11" fmla="*/ 1794 h 22966"/>
                    <a:gd name="connsiteX12" fmla="*/ 26913 w 34448"/>
                    <a:gd name="connsiteY12" fmla="*/ 0 h 22966"/>
                    <a:gd name="connsiteX13" fmla="*/ 29844 w 34448"/>
                    <a:gd name="connsiteY13" fmla="*/ 598 h 22966"/>
                    <a:gd name="connsiteX14" fmla="*/ 32774 w 34448"/>
                    <a:gd name="connsiteY14" fmla="*/ 1196 h 22966"/>
                    <a:gd name="connsiteX15" fmla="*/ 34449 w 34448"/>
                    <a:gd name="connsiteY15" fmla="*/ 1495 h 2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448" h="22966">
                      <a:moveTo>
                        <a:pt x="0" y="22966"/>
                      </a:moveTo>
                      <a:lnTo>
                        <a:pt x="2452" y="20873"/>
                      </a:lnTo>
                      <a:lnTo>
                        <a:pt x="4904" y="18779"/>
                      </a:lnTo>
                      <a:lnTo>
                        <a:pt x="7356" y="16686"/>
                      </a:lnTo>
                      <a:lnTo>
                        <a:pt x="9808" y="14593"/>
                      </a:lnTo>
                      <a:lnTo>
                        <a:pt x="12260" y="12500"/>
                      </a:lnTo>
                      <a:lnTo>
                        <a:pt x="14712" y="10406"/>
                      </a:lnTo>
                      <a:lnTo>
                        <a:pt x="15011" y="10167"/>
                      </a:lnTo>
                      <a:lnTo>
                        <a:pt x="17464" y="8074"/>
                      </a:lnTo>
                      <a:lnTo>
                        <a:pt x="19916" y="5981"/>
                      </a:lnTo>
                      <a:lnTo>
                        <a:pt x="22368" y="3888"/>
                      </a:lnTo>
                      <a:lnTo>
                        <a:pt x="24820" y="1794"/>
                      </a:lnTo>
                      <a:lnTo>
                        <a:pt x="26913" y="0"/>
                      </a:lnTo>
                      <a:lnTo>
                        <a:pt x="29844" y="598"/>
                      </a:lnTo>
                      <a:lnTo>
                        <a:pt x="32774" y="1196"/>
                      </a:lnTo>
                      <a:lnTo>
                        <a:pt x="34449" y="1495"/>
                      </a:lnTo>
                    </a:path>
                  </a:pathLst>
                </a:custGeom>
                <a:noFill/>
                <a:ln w="6350" cap="rnd">
                  <a:solidFill>
                    <a:schemeClr val="bg1">
                      <a:alpha val="40000"/>
                    </a:schemeClr>
                  </a:solidFill>
                  <a:prstDash val="solid"/>
                  <a:round/>
                </a:ln>
              </p:spPr>
              <p:txBody>
                <a:bodyPr rtlCol="0" anchor="ctr"/>
                <a:lstStyle/>
                <a:p>
                  <a:endParaRPr lang="en-GB"/>
                </a:p>
              </p:txBody>
            </p:sp>
            <p:sp>
              <p:nvSpPr>
                <p:cNvPr id="5582" name="Vrije vorm: vorm 5581">
                  <a:extLst>
                    <a:ext uri="{FF2B5EF4-FFF2-40B4-BE49-F238E27FC236}">
                      <a16:creationId xmlns:a16="http://schemas.microsoft.com/office/drawing/2014/main" id="{923E48E2-D9EB-42C3-83CA-D35E63D951E1}"/>
                    </a:ext>
                  </a:extLst>
                </p:cNvPr>
                <p:cNvSpPr/>
                <p:nvPr/>
              </p:nvSpPr>
              <p:spPr>
                <a:xfrm>
                  <a:off x="6420623" y="1669499"/>
                  <a:ext cx="34269" cy="20394"/>
                </a:xfrm>
                <a:custGeom>
                  <a:avLst/>
                  <a:gdLst>
                    <a:gd name="connsiteX0" fmla="*/ 0 w 34269"/>
                    <a:gd name="connsiteY0" fmla="*/ 20394 h 20394"/>
                    <a:gd name="connsiteX1" fmla="*/ 1077 w 34269"/>
                    <a:gd name="connsiteY1" fmla="*/ 19437 h 20394"/>
                    <a:gd name="connsiteX2" fmla="*/ 2632 w 34269"/>
                    <a:gd name="connsiteY2" fmla="*/ 18122 h 20394"/>
                    <a:gd name="connsiteX3" fmla="*/ 4187 w 34269"/>
                    <a:gd name="connsiteY3" fmla="*/ 16806 h 20394"/>
                    <a:gd name="connsiteX4" fmla="*/ 6340 w 34269"/>
                    <a:gd name="connsiteY4" fmla="*/ 14952 h 20394"/>
                    <a:gd name="connsiteX5" fmla="*/ 8792 w 34269"/>
                    <a:gd name="connsiteY5" fmla="*/ 12859 h 20394"/>
                    <a:gd name="connsiteX6" fmla="*/ 10407 w 34269"/>
                    <a:gd name="connsiteY6" fmla="*/ 11483 h 20394"/>
                    <a:gd name="connsiteX7" fmla="*/ 11304 w 34269"/>
                    <a:gd name="connsiteY7" fmla="*/ 10705 h 20394"/>
                    <a:gd name="connsiteX8" fmla="*/ 13457 w 34269"/>
                    <a:gd name="connsiteY8" fmla="*/ 8851 h 20394"/>
                    <a:gd name="connsiteX9" fmla="*/ 15012 w 34269"/>
                    <a:gd name="connsiteY9" fmla="*/ 7536 h 20394"/>
                    <a:gd name="connsiteX10" fmla="*/ 17464 w 34269"/>
                    <a:gd name="connsiteY10" fmla="*/ 5442 h 20394"/>
                    <a:gd name="connsiteX11" fmla="*/ 19916 w 34269"/>
                    <a:gd name="connsiteY11" fmla="*/ 3349 h 20394"/>
                    <a:gd name="connsiteX12" fmla="*/ 22368 w 34269"/>
                    <a:gd name="connsiteY12" fmla="*/ 1256 h 20394"/>
                    <a:gd name="connsiteX13" fmla="*/ 23804 w 34269"/>
                    <a:gd name="connsiteY13" fmla="*/ 0 h 20394"/>
                    <a:gd name="connsiteX14" fmla="*/ 26495 w 34269"/>
                    <a:gd name="connsiteY14" fmla="*/ 538 h 20394"/>
                    <a:gd name="connsiteX15" fmla="*/ 29425 w 34269"/>
                    <a:gd name="connsiteY15" fmla="*/ 1136 h 20394"/>
                    <a:gd name="connsiteX16" fmla="*/ 32356 w 34269"/>
                    <a:gd name="connsiteY16" fmla="*/ 1734 h 20394"/>
                    <a:gd name="connsiteX17" fmla="*/ 33731 w 34269"/>
                    <a:gd name="connsiteY17" fmla="*/ 2033 h 20394"/>
                    <a:gd name="connsiteX18" fmla="*/ 34270 w 34269"/>
                    <a:gd name="connsiteY18" fmla="*/ 2153 h 2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69" h="20394">
                      <a:moveTo>
                        <a:pt x="0" y="20394"/>
                      </a:moveTo>
                      <a:lnTo>
                        <a:pt x="1077" y="19437"/>
                      </a:lnTo>
                      <a:lnTo>
                        <a:pt x="2632" y="18122"/>
                      </a:lnTo>
                      <a:lnTo>
                        <a:pt x="4187" y="16806"/>
                      </a:lnTo>
                      <a:lnTo>
                        <a:pt x="6340" y="14952"/>
                      </a:lnTo>
                      <a:lnTo>
                        <a:pt x="8792" y="12859"/>
                      </a:lnTo>
                      <a:lnTo>
                        <a:pt x="10407" y="11483"/>
                      </a:lnTo>
                      <a:lnTo>
                        <a:pt x="11304" y="10705"/>
                      </a:lnTo>
                      <a:lnTo>
                        <a:pt x="13457" y="8851"/>
                      </a:lnTo>
                      <a:lnTo>
                        <a:pt x="15012" y="7536"/>
                      </a:lnTo>
                      <a:lnTo>
                        <a:pt x="17464" y="5442"/>
                      </a:lnTo>
                      <a:lnTo>
                        <a:pt x="19916" y="3349"/>
                      </a:lnTo>
                      <a:lnTo>
                        <a:pt x="22368" y="1256"/>
                      </a:lnTo>
                      <a:lnTo>
                        <a:pt x="23804" y="0"/>
                      </a:lnTo>
                      <a:lnTo>
                        <a:pt x="26495" y="538"/>
                      </a:lnTo>
                      <a:lnTo>
                        <a:pt x="29425" y="1136"/>
                      </a:lnTo>
                      <a:lnTo>
                        <a:pt x="32356" y="1734"/>
                      </a:lnTo>
                      <a:lnTo>
                        <a:pt x="33731" y="2033"/>
                      </a:lnTo>
                      <a:lnTo>
                        <a:pt x="34270" y="2153"/>
                      </a:lnTo>
                    </a:path>
                  </a:pathLst>
                </a:custGeom>
                <a:noFill/>
                <a:ln w="6350" cap="rnd">
                  <a:solidFill>
                    <a:schemeClr val="bg1">
                      <a:alpha val="40000"/>
                    </a:schemeClr>
                  </a:solidFill>
                  <a:prstDash val="solid"/>
                  <a:round/>
                </a:ln>
              </p:spPr>
              <p:txBody>
                <a:bodyPr rtlCol="0" anchor="ctr"/>
                <a:lstStyle/>
                <a:p>
                  <a:endParaRPr lang="en-GB"/>
                </a:p>
              </p:txBody>
            </p:sp>
            <p:sp>
              <p:nvSpPr>
                <p:cNvPr id="5583" name="Vrije vorm: vorm 5582">
                  <a:extLst>
                    <a:ext uri="{FF2B5EF4-FFF2-40B4-BE49-F238E27FC236}">
                      <a16:creationId xmlns:a16="http://schemas.microsoft.com/office/drawing/2014/main" id="{CDFFA12B-2A93-4118-9597-858B0DD266EA}"/>
                    </a:ext>
                  </a:extLst>
                </p:cNvPr>
                <p:cNvSpPr/>
                <p:nvPr/>
              </p:nvSpPr>
              <p:spPr>
                <a:xfrm>
                  <a:off x="6484258" y="1698146"/>
                  <a:ext cx="50417" cy="65429"/>
                </a:xfrm>
                <a:custGeom>
                  <a:avLst/>
                  <a:gdLst>
                    <a:gd name="connsiteX0" fmla="*/ 0 w 50417"/>
                    <a:gd name="connsiteY0" fmla="*/ 56398 h 65429"/>
                    <a:gd name="connsiteX1" fmla="*/ 419 w 50417"/>
                    <a:gd name="connsiteY1" fmla="*/ 57475 h 65429"/>
                    <a:gd name="connsiteX2" fmla="*/ 2213 w 50417"/>
                    <a:gd name="connsiteY2" fmla="*/ 59568 h 65429"/>
                    <a:gd name="connsiteX3" fmla="*/ 4127 w 50417"/>
                    <a:gd name="connsiteY3" fmla="*/ 61781 h 65429"/>
                    <a:gd name="connsiteX4" fmla="*/ 4545 w 50417"/>
                    <a:gd name="connsiteY4" fmla="*/ 62259 h 65429"/>
                    <a:gd name="connsiteX5" fmla="*/ 7177 w 50417"/>
                    <a:gd name="connsiteY5" fmla="*/ 63575 h 65429"/>
                    <a:gd name="connsiteX6" fmla="*/ 8134 w 50417"/>
                    <a:gd name="connsiteY6" fmla="*/ 64054 h 65429"/>
                    <a:gd name="connsiteX7" fmla="*/ 9988 w 50417"/>
                    <a:gd name="connsiteY7" fmla="*/ 65011 h 65429"/>
                    <a:gd name="connsiteX8" fmla="*/ 11244 w 50417"/>
                    <a:gd name="connsiteY8" fmla="*/ 65070 h 65429"/>
                    <a:gd name="connsiteX9" fmla="*/ 13277 w 50417"/>
                    <a:gd name="connsiteY9" fmla="*/ 65190 h 65429"/>
                    <a:gd name="connsiteX10" fmla="*/ 15311 w 50417"/>
                    <a:gd name="connsiteY10" fmla="*/ 65310 h 65429"/>
                    <a:gd name="connsiteX11" fmla="*/ 15909 w 50417"/>
                    <a:gd name="connsiteY11" fmla="*/ 65369 h 65429"/>
                    <a:gd name="connsiteX12" fmla="*/ 16507 w 50417"/>
                    <a:gd name="connsiteY12" fmla="*/ 65429 h 65429"/>
                    <a:gd name="connsiteX13" fmla="*/ 17225 w 50417"/>
                    <a:gd name="connsiteY13" fmla="*/ 65250 h 65429"/>
                    <a:gd name="connsiteX14" fmla="*/ 18361 w 50417"/>
                    <a:gd name="connsiteY14" fmla="*/ 64951 h 65429"/>
                    <a:gd name="connsiteX15" fmla="*/ 18780 w 50417"/>
                    <a:gd name="connsiteY15" fmla="*/ 64831 h 65429"/>
                    <a:gd name="connsiteX16" fmla="*/ 18780 w 50417"/>
                    <a:gd name="connsiteY16" fmla="*/ 64831 h 65429"/>
                    <a:gd name="connsiteX17" fmla="*/ 19079 w 50417"/>
                    <a:gd name="connsiteY17" fmla="*/ 64711 h 65429"/>
                    <a:gd name="connsiteX18" fmla="*/ 19976 w 50417"/>
                    <a:gd name="connsiteY18" fmla="*/ 64472 h 65429"/>
                    <a:gd name="connsiteX19" fmla="*/ 22787 w 50417"/>
                    <a:gd name="connsiteY19" fmla="*/ 63695 h 65429"/>
                    <a:gd name="connsiteX20" fmla="*/ 23086 w 50417"/>
                    <a:gd name="connsiteY20" fmla="*/ 63635 h 65429"/>
                    <a:gd name="connsiteX21" fmla="*/ 23325 w 50417"/>
                    <a:gd name="connsiteY21" fmla="*/ 63575 h 65429"/>
                    <a:gd name="connsiteX22" fmla="*/ 23624 w 50417"/>
                    <a:gd name="connsiteY22" fmla="*/ 63515 h 65429"/>
                    <a:gd name="connsiteX23" fmla="*/ 25059 w 50417"/>
                    <a:gd name="connsiteY23" fmla="*/ 62618 h 65429"/>
                    <a:gd name="connsiteX24" fmla="*/ 26674 w 50417"/>
                    <a:gd name="connsiteY24" fmla="*/ 61661 h 65429"/>
                    <a:gd name="connsiteX25" fmla="*/ 29126 w 50417"/>
                    <a:gd name="connsiteY25" fmla="*/ 60226 h 65429"/>
                    <a:gd name="connsiteX26" fmla="*/ 30801 w 50417"/>
                    <a:gd name="connsiteY26" fmla="*/ 59209 h 65429"/>
                    <a:gd name="connsiteX27" fmla="*/ 31937 w 50417"/>
                    <a:gd name="connsiteY27" fmla="*/ 58133 h 65429"/>
                    <a:gd name="connsiteX28" fmla="*/ 33970 w 50417"/>
                    <a:gd name="connsiteY28" fmla="*/ 56159 h 65429"/>
                    <a:gd name="connsiteX29" fmla="*/ 35107 w 50417"/>
                    <a:gd name="connsiteY29" fmla="*/ 55082 h 65429"/>
                    <a:gd name="connsiteX30" fmla="*/ 37140 w 50417"/>
                    <a:gd name="connsiteY30" fmla="*/ 53109 h 65429"/>
                    <a:gd name="connsiteX31" fmla="*/ 37499 w 50417"/>
                    <a:gd name="connsiteY31" fmla="*/ 52750 h 65429"/>
                    <a:gd name="connsiteX32" fmla="*/ 38097 w 50417"/>
                    <a:gd name="connsiteY32" fmla="*/ 51853 h 65429"/>
                    <a:gd name="connsiteX33" fmla="*/ 39772 w 50417"/>
                    <a:gd name="connsiteY33" fmla="*/ 49580 h 65429"/>
                    <a:gd name="connsiteX34" fmla="*/ 41446 w 50417"/>
                    <a:gd name="connsiteY34" fmla="*/ 47308 h 65429"/>
                    <a:gd name="connsiteX35" fmla="*/ 42344 w 50417"/>
                    <a:gd name="connsiteY35" fmla="*/ 46052 h 65429"/>
                    <a:gd name="connsiteX36" fmla="*/ 43241 w 50417"/>
                    <a:gd name="connsiteY36" fmla="*/ 44796 h 65429"/>
                    <a:gd name="connsiteX37" fmla="*/ 44437 w 50417"/>
                    <a:gd name="connsiteY37" fmla="*/ 42224 h 65429"/>
                    <a:gd name="connsiteX38" fmla="*/ 45633 w 50417"/>
                    <a:gd name="connsiteY38" fmla="*/ 39652 h 65429"/>
                    <a:gd name="connsiteX39" fmla="*/ 46829 w 50417"/>
                    <a:gd name="connsiteY39" fmla="*/ 37081 h 65429"/>
                    <a:gd name="connsiteX40" fmla="*/ 47427 w 50417"/>
                    <a:gd name="connsiteY40" fmla="*/ 35825 h 65429"/>
                    <a:gd name="connsiteX41" fmla="*/ 48145 w 50417"/>
                    <a:gd name="connsiteY41" fmla="*/ 33073 h 65429"/>
                    <a:gd name="connsiteX42" fmla="*/ 48862 w 50417"/>
                    <a:gd name="connsiteY42" fmla="*/ 30322 h 65429"/>
                    <a:gd name="connsiteX43" fmla="*/ 49341 w 50417"/>
                    <a:gd name="connsiteY43" fmla="*/ 28588 h 65429"/>
                    <a:gd name="connsiteX44" fmla="*/ 49461 w 50417"/>
                    <a:gd name="connsiteY44" fmla="*/ 28050 h 65429"/>
                    <a:gd name="connsiteX45" fmla="*/ 49640 w 50417"/>
                    <a:gd name="connsiteY45" fmla="*/ 27392 h 65429"/>
                    <a:gd name="connsiteX46" fmla="*/ 49640 w 50417"/>
                    <a:gd name="connsiteY46" fmla="*/ 27392 h 65429"/>
                    <a:gd name="connsiteX47" fmla="*/ 49700 w 50417"/>
                    <a:gd name="connsiteY47" fmla="*/ 27093 h 65429"/>
                    <a:gd name="connsiteX48" fmla="*/ 49820 w 50417"/>
                    <a:gd name="connsiteY48" fmla="*/ 26614 h 65429"/>
                    <a:gd name="connsiteX49" fmla="*/ 49879 w 50417"/>
                    <a:gd name="connsiteY49" fmla="*/ 26016 h 65429"/>
                    <a:gd name="connsiteX50" fmla="*/ 50059 w 50417"/>
                    <a:gd name="connsiteY50" fmla="*/ 23145 h 65429"/>
                    <a:gd name="connsiteX51" fmla="*/ 50178 w 50417"/>
                    <a:gd name="connsiteY51" fmla="*/ 21471 h 65429"/>
                    <a:gd name="connsiteX52" fmla="*/ 50238 w 50417"/>
                    <a:gd name="connsiteY52" fmla="*/ 20155 h 65429"/>
                    <a:gd name="connsiteX53" fmla="*/ 50358 w 50417"/>
                    <a:gd name="connsiteY53" fmla="*/ 18480 h 65429"/>
                    <a:gd name="connsiteX54" fmla="*/ 50417 w 50417"/>
                    <a:gd name="connsiteY54" fmla="*/ 17823 h 65429"/>
                    <a:gd name="connsiteX55" fmla="*/ 50358 w 50417"/>
                    <a:gd name="connsiteY55" fmla="*/ 17643 h 65429"/>
                    <a:gd name="connsiteX56" fmla="*/ 50358 w 50417"/>
                    <a:gd name="connsiteY56" fmla="*/ 17583 h 65429"/>
                    <a:gd name="connsiteX57" fmla="*/ 49879 w 50417"/>
                    <a:gd name="connsiteY57" fmla="*/ 15012 h 65429"/>
                    <a:gd name="connsiteX58" fmla="*/ 49341 w 50417"/>
                    <a:gd name="connsiteY58" fmla="*/ 12201 h 65429"/>
                    <a:gd name="connsiteX59" fmla="*/ 48982 w 50417"/>
                    <a:gd name="connsiteY59" fmla="*/ 10406 h 65429"/>
                    <a:gd name="connsiteX60" fmla="*/ 48922 w 50417"/>
                    <a:gd name="connsiteY60" fmla="*/ 10167 h 65429"/>
                    <a:gd name="connsiteX61" fmla="*/ 48205 w 50417"/>
                    <a:gd name="connsiteY61" fmla="*/ 8852 h 65429"/>
                    <a:gd name="connsiteX62" fmla="*/ 46829 w 50417"/>
                    <a:gd name="connsiteY62" fmla="*/ 6280 h 65429"/>
                    <a:gd name="connsiteX63" fmla="*/ 45693 w 50417"/>
                    <a:gd name="connsiteY63" fmla="*/ 4127 h 65429"/>
                    <a:gd name="connsiteX64" fmla="*/ 43480 w 50417"/>
                    <a:gd name="connsiteY64" fmla="*/ 2153 h 65429"/>
                    <a:gd name="connsiteX65" fmla="*/ 41267 w 50417"/>
                    <a:gd name="connsiteY65" fmla="*/ 180 h 65429"/>
                    <a:gd name="connsiteX66" fmla="*/ 41088 w 50417"/>
                    <a:gd name="connsiteY66" fmla="*/ 0 h 6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0417" h="65429">
                      <a:moveTo>
                        <a:pt x="0" y="56398"/>
                      </a:moveTo>
                      <a:lnTo>
                        <a:pt x="419" y="57475"/>
                      </a:lnTo>
                      <a:lnTo>
                        <a:pt x="2213" y="59568"/>
                      </a:lnTo>
                      <a:lnTo>
                        <a:pt x="4127" y="61781"/>
                      </a:lnTo>
                      <a:lnTo>
                        <a:pt x="4545" y="62259"/>
                      </a:lnTo>
                      <a:lnTo>
                        <a:pt x="7177" y="63575"/>
                      </a:lnTo>
                      <a:lnTo>
                        <a:pt x="8134" y="64054"/>
                      </a:lnTo>
                      <a:lnTo>
                        <a:pt x="9988" y="65011"/>
                      </a:lnTo>
                      <a:lnTo>
                        <a:pt x="11244" y="65070"/>
                      </a:lnTo>
                      <a:lnTo>
                        <a:pt x="13277" y="65190"/>
                      </a:lnTo>
                      <a:lnTo>
                        <a:pt x="15311" y="65310"/>
                      </a:lnTo>
                      <a:lnTo>
                        <a:pt x="15909" y="65369"/>
                      </a:lnTo>
                      <a:lnTo>
                        <a:pt x="16507" y="65429"/>
                      </a:lnTo>
                      <a:lnTo>
                        <a:pt x="17225" y="65250"/>
                      </a:lnTo>
                      <a:lnTo>
                        <a:pt x="18361" y="64951"/>
                      </a:lnTo>
                      <a:lnTo>
                        <a:pt x="18780" y="64831"/>
                      </a:lnTo>
                      <a:lnTo>
                        <a:pt x="18780" y="64831"/>
                      </a:lnTo>
                      <a:lnTo>
                        <a:pt x="19079" y="64711"/>
                      </a:lnTo>
                      <a:lnTo>
                        <a:pt x="19976" y="64472"/>
                      </a:lnTo>
                      <a:lnTo>
                        <a:pt x="22787" y="63695"/>
                      </a:lnTo>
                      <a:lnTo>
                        <a:pt x="23086" y="63635"/>
                      </a:lnTo>
                      <a:lnTo>
                        <a:pt x="23325" y="63575"/>
                      </a:lnTo>
                      <a:lnTo>
                        <a:pt x="23624" y="63515"/>
                      </a:lnTo>
                      <a:lnTo>
                        <a:pt x="25059" y="62618"/>
                      </a:lnTo>
                      <a:lnTo>
                        <a:pt x="26674" y="61661"/>
                      </a:lnTo>
                      <a:lnTo>
                        <a:pt x="29126" y="60226"/>
                      </a:lnTo>
                      <a:lnTo>
                        <a:pt x="30801" y="59209"/>
                      </a:lnTo>
                      <a:lnTo>
                        <a:pt x="31937" y="58133"/>
                      </a:lnTo>
                      <a:lnTo>
                        <a:pt x="33970" y="56159"/>
                      </a:lnTo>
                      <a:lnTo>
                        <a:pt x="35107" y="55082"/>
                      </a:lnTo>
                      <a:lnTo>
                        <a:pt x="37140" y="53109"/>
                      </a:lnTo>
                      <a:lnTo>
                        <a:pt x="37499" y="52750"/>
                      </a:lnTo>
                      <a:lnTo>
                        <a:pt x="38097" y="51853"/>
                      </a:lnTo>
                      <a:lnTo>
                        <a:pt x="39772" y="49580"/>
                      </a:lnTo>
                      <a:lnTo>
                        <a:pt x="41446" y="47308"/>
                      </a:lnTo>
                      <a:lnTo>
                        <a:pt x="42344" y="46052"/>
                      </a:lnTo>
                      <a:lnTo>
                        <a:pt x="43241" y="44796"/>
                      </a:lnTo>
                      <a:lnTo>
                        <a:pt x="44437" y="42224"/>
                      </a:lnTo>
                      <a:lnTo>
                        <a:pt x="45633" y="39652"/>
                      </a:lnTo>
                      <a:lnTo>
                        <a:pt x="46829" y="37081"/>
                      </a:lnTo>
                      <a:lnTo>
                        <a:pt x="47427" y="35825"/>
                      </a:lnTo>
                      <a:lnTo>
                        <a:pt x="48145" y="33073"/>
                      </a:lnTo>
                      <a:lnTo>
                        <a:pt x="48862" y="30322"/>
                      </a:lnTo>
                      <a:lnTo>
                        <a:pt x="49341" y="28588"/>
                      </a:lnTo>
                      <a:lnTo>
                        <a:pt x="49461" y="28050"/>
                      </a:lnTo>
                      <a:lnTo>
                        <a:pt x="49640" y="27392"/>
                      </a:lnTo>
                      <a:lnTo>
                        <a:pt x="49640" y="27392"/>
                      </a:lnTo>
                      <a:lnTo>
                        <a:pt x="49700" y="27093"/>
                      </a:lnTo>
                      <a:lnTo>
                        <a:pt x="49820" y="26614"/>
                      </a:lnTo>
                      <a:lnTo>
                        <a:pt x="49879" y="26016"/>
                      </a:lnTo>
                      <a:lnTo>
                        <a:pt x="50059" y="23145"/>
                      </a:lnTo>
                      <a:lnTo>
                        <a:pt x="50178" y="21471"/>
                      </a:lnTo>
                      <a:lnTo>
                        <a:pt x="50238" y="20155"/>
                      </a:lnTo>
                      <a:lnTo>
                        <a:pt x="50358" y="18480"/>
                      </a:lnTo>
                      <a:lnTo>
                        <a:pt x="50417" y="17823"/>
                      </a:lnTo>
                      <a:lnTo>
                        <a:pt x="50358" y="17643"/>
                      </a:lnTo>
                      <a:lnTo>
                        <a:pt x="50358" y="17583"/>
                      </a:lnTo>
                      <a:lnTo>
                        <a:pt x="49879" y="15012"/>
                      </a:lnTo>
                      <a:lnTo>
                        <a:pt x="49341" y="12201"/>
                      </a:lnTo>
                      <a:lnTo>
                        <a:pt x="48982" y="10406"/>
                      </a:lnTo>
                      <a:lnTo>
                        <a:pt x="48922" y="10167"/>
                      </a:lnTo>
                      <a:lnTo>
                        <a:pt x="48205" y="8852"/>
                      </a:lnTo>
                      <a:lnTo>
                        <a:pt x="46829" y="6280"/>
                      </a:lnTo>
                      <a:lnTo>
                        <a:pt x="45693" y="4127"/>
                      </a:lnTo>
                      <a:lnTo>
                        <a:pt x="43480" y="2153"/>
                      </a:lnTo>
                      <a:lnTo>
                        <a:pt x="41267" y="180"/>
                      </a:lnTo>
                      <a:lnTo>
                        <a:pt x="41088" y="0"/>
                      </a:lnTo>
                    </a:path>
                  </a:pathLst>
                </a:custGeom>
                <a:noFill/>
                <a:ln w="6350" cap="rnd">
                  <a:solidFill>
                    <a:schemeClr val="bg1">
                      <a:alpha val="40000"/>
                    </a:schemeClr>
                  </a:solidFill>
                  <a:prstDash val="solid"/>
                  <a:round/>
                </a:ln>
              </p:spPr>
              <p:txBody>
                <a:bodyPr rtlCol="0" anchor="ctr"/>
                <a:lstStyle/>
                <a:p>
                  <a:endParaRPr lang="en-GB"/>
                </a:p>
              </p:txBody>
            </p:sp>
            <p:sp>
              <p:nvSpPr>
                <p:cNvPr id="5584" name="Vrije vorm: vorm 5583">
                  <a:extLst>
                    <a:ext uri="{FF2B5EF4-FFF2-40B4-BE49-F238E27FC236}">
                      <a16:creationId xmlns:a16="http://schemas.microsoft.com/office/drawing/2014/main" id="{88F2C0D8-7CFD-453D-8C7E-6000F462DBD4}"/>
                    </a:ext>
                  </a:extLst>
                </p:cNvPr>
                <p:cNvSpPr/>
                <p:nvPr/>
              </p:nvSpPr>
              <p:spPr>
                <a:xfrm>
                  <a:off x="6529413" y="1707955"/>
                  <a:ext cx="24700" cy="68897"/>
                </a:xfrm>
                <a:custGeom>
                  <a:avLst/>
                  <a:gdLst>
                    <a:gd name="connsiteX0" fmla="*/ 11902 w 24700"/>
                    <a:gd name="connsiteY0" fmla="*/ 0 h 68897"/>
                    <a:gd name="connsiteX1" fmla="*/ 14474 w 24700"/>
                    <a:gd name="connsiteY1" fmla="*/ 1555 h 68897"/>
                    <a:gd name="connsiteX2" fmla="*/ 15729 w 24700"/>
                    <a:gd name="connsiteY2" fmla="*/ 2333 h 68897"/>
                    <a:gd name="connsiteX3" fmla="*/ 17942 w 24700"/>
                    <a:gd name="connsiteY3" fmla="*/ 4366 h 68897"/>
                    <a:gd name="connsiteX4" fmla="*/ 20155 w 24700"/>
                    <a:gd name="connsiteY4" fmla="*/ 6399 h 68897"/>
                    <a:gd name="connsiteX5" fmla="*/ 20454 w 24700"/>
                    <a:gd name="connsiteY5" fmla="*/ 6639 h 68897"/>
                    <a:gd name="connsiteX6" fmla="*/ 21770 w 24700"/>
                    <a:gd name="connsiteY6" fmla="*/ 9390 h 68897"/>
                    <a:gd name="connsiteX7" fmla="*/ 23086 w 24700"/>
                    <a:gd name="connsiteY7" fmla="*/ 12141 h 68897"/>
                    <a:gd name="connsiteX8" fmla="*/ 23564 w 24700"/>
                    <a:gd name="connsiteY8" fmla="*/ 13098 h 68897"/>
                    <a:gd name="connsiteX9" fmla="*/ 23983 w 24700"/>
                    <a:gd name="connsiteY9" fmla="*/ 16208 h 68897"/>
                    <a:gd name="connsiteX10" fmla="*/ 24401 w 24700"/>
                    <a:gd name="connsiteY10" fmla="*/ 19318 h 68897"/>
                    <a:gd name="connsiteX11" fmla="*/ 24700 w 24700"/>
                    <a:gd name="connsiteY11" fmla="*/ 21411 h 68897"/>
                    <a:gd name="connsiteX12" fmla="*/ 24401 w 24700"/>
                    <a:gd name="connsiteY12" fmla="*/ 24581 h 68897"/>
                    <a:gd name="connsiteX13" fmla="*/ 24282 w 24700"/>
                    <a:gd name="connsiteY13" fmla="*/ 25538 h 68897"/>
                    <a:gd name="connsiteX14" fmla="*/ 23983 w 24700"/>
                    <a:gd name="connsiteY14" fmla="*/ 28707 h 68897"/>
                    <a:gd name="connsiteX15" fmla="*/ 23863 w 24700"/>
                    <a:gd name="connsiteY15" fmla="*/ 29844 h 68897"/>
                    <a:gd name="connsiteX16" fmla="*/ 23744 w 24700"/>
                    <a:gd name="connsiteY16" fmla="*/ 30980 h 68897"/>
                    <a:gd name="connsiteX17" fmla="*/ 22846 w 24700"/>
                    <a:gd name="connsiteY17" fmla="*/ 34090 h 68897"/>
                    <a:gd name="connsiteX18" fmla="*/ 22727 w 24700"/>
                    <a:gd name="connsiteY18" fmla="*/ 34509 h 68897"/>
                    <a:gd name="connsiteX19" fmla="*/ 21830 w 24700"/>
                    <a:gd name="connsiteY19" fmla="*/ 37619 h 68897"/>
                    <a:gd name="connsiteX20" fmla="*/ 20933 w 24700"/>
                    <a:gd name="connsiteY20" fmla="*/ 40729 h 68897"/>
                    <a:gd name="connsiteX21" fmla="*/ 20813 w 24700"/>
                    <a:gd name="connsiteY21" fmla="*/ 41147 h 68897"/>
                    <a:gd name="connsiteX22" fmla="*/ 19378 w 24700"/>
                    <a:gd name="connsiteY22" fmla="*/ 44078 h 68897"/>
                    <a:gd name="connsiteX23" fmla="*/ 17942 w 24700"/>
                    <a:gd name="connsiteY23" fmla="*/ 47008 h 68897"/>
                    <a:gd name="connsiteX24" fmla="*/ 16507 w 24700"/>
                    <a:gd name="connsiteY24" fmla="*/ 49939 h 68897"/>
                    <a:gd name="connsiteX25" fmla="*/ 15969 w 24700"/>
                    <a:gd name="connsiteY25" fmla="*/ 51075 h 68897"/>
                    <a:gd name="connsiteX26" fmla="*/ 14115 w 24700"/>
                    <a:gd name="connsiteY26" fmla="*/ 53767 h 68897"/>
                    <a:gd name="connsiteX27" fmla="*/ 13098 w 24700"/>
                    <a:gd name="connsiteY27" fmla="*/ 55202 h 68897"/>
                    <a:gd name="connsiteX28" fmla="*/ 11244 w 24700"/>
                    <a:gd name="connsiteY28" fmla="*/ 57893 h 68897"/>
                    <a:gd name="connsiteX29" fmla="*/ 9749 w 24700"/>
                    <a:gd name="connsiteY29" fmla="*/ 60046 h 68897"/>
                    <a:gd name="connsiteX30" fmla="*/ 7476 w 24700"/>
                    <a:gd name="connsiteY30" fmla="*/ 62319 h 68897"/>
                    <a:gd name="connsiteX31" fmla="*/ 5203 w 24700"/>
                    <a:gd name="connsiteY31" fmla="*/ 64592 h 68897"/>
                    <a:gd name="connsiteX32" fmla="*/ 2931 w 24700"/>
                    <a:gd name="connsiteY32" fmla="*/ 66865 h 68897"/>
                    <a:gd name="connsiteX33" fmla="*/ 2512 w 24700"/>
                    <a:gd name="connsiteY33" fmla="*/ 67283 h 68897"/>
                    <a:gd name="connsiteX34" fmla="*/ 2093 w 24700"/>
                    <a:gd name="connsiteY34" fmla="*/ 67582 h 68897"/>
                    <a:gd name="connsiteX35" fmla="*/ 1316 w 24700"/>
                    <a:gd name="connsiteY35" fmla="*/ 68061 h 68897"/>
                    <a:gd name="connsiteX36" fmla="*/ 718 w 24700"/>
                    <a:gd name="connsiteY36" fmla="*/ 68419 h 68897"/>
                    <a:gd name="connsiteX37" fmla="*/ 0 w 24700"/>
                    <a:gd name="connsiteY37" fmla="*/ 68898 h 6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700" h="68897">
                      <a:moveTo>
                        <a:pt x="11902" y="0"/>
                      </a:moveTo>
                      <a:lnTo>
                        <a:pt x="14474" y="1555"/>
                      </a:lnTo>
                      <a:lnTo>
                        <a:pt x="15729" y="2333"/>
                      </a:lnTo>
                      <a:lnTo>
                        <a:pt x="17942" y="4366"/>
                      </a:lnTo>
                      <a:lnTo>
                        <a:pt x="20155" y="6399"/>
                      </a:lnTo>
                      <a:lnTo>
                        <a:pt x="20454" y="6639"/>
                      </a:lnTo>
                      <a:lnTo>
                        <a:pt x="21770" y="9390"/>
                      </a:lnTo>
                      <a:lnTo>
                        <a:pt x="23086" y="12141"/>
                      </a:lnTo>
                      <a:lnTo>
                        <a:pt x="23564" y="13098"/>
                      </a:lnTo>
                      <a:lnTo>
                        <a:pt x="23983" y="16208"/>
                      </a:lnTo>
                      <a:lnTo>
                        <a:pt x="24401" y="19318"/>
                      </a:lnTo>
                      <a:lnTo>
                        <a:pt x="24700" y="21411"/>
                      </a:lnTo>
                      <a:lnTo>
                        <a:pt x="24401" y="24581"/>
                      </a:lnTo>
                      <a:lnTo>
                        <a:pt x="24282" y="25538"/>
                      </a:lnTo>
                      <a:lnTo>
                        <a:pt x="23983" y="28707"/>
                      </a:lnTo>
                      <a:lnTo>
                        <a:pt x="23863" y="29844"/>
                      </a:lnTo>
                      <a:lnTo>
                        <a:pt x="23744" y="30980"/>
                      </a:lnTo>
                      <a:lnTo>
                        <a:pt x="22846" y="34090"/>
                      </a:lnTo>
                      <a:lnTo>
                        <a:pt x="22727" y="34509"/>
                      </a:lnTo>
                      <a:lnTo>
                        <a:pt x="21830" y="37619"/>
                      </a:lnTo>
                      <a:lnTo>
                        <a:pt x="20933" y="40729"/>
                      </a:lnTo>
                      <a:lnTo>
                        <a:pt x="20813" y="41147"/>
                      </a:lnTo>
                      <a:lnTo>
                        <a:pt x="19378" y="44078"/>
                      </a:lnTo>
                      <a:lnTo>
                        <a:pt x="17942" y="47008"/>
                      </a:lnTo>
                      <a:lnTo>
                        <a:pt x="16507" y="49939"/>
                      </a:lnTo>
                      <a:lnTo>
                        <a:pt x="15969" y="51075"/>
                      </a:lnTo>
                      <a:lnTo>
                        <a:pt x="14115" y="53767"/>
                      </a:lnTo>
                      <a:lnTo>
                        <a:pt x="13098" y="55202"/>
                      </a:lnTo>
                      <a:lnTo>
                        <a:pt x="11244" y="57893"/>
                      </a:lnTo>
                      <a:lnTo>
                        <a:pt x="9749" y="60046"/>
                      </a:lnTo>
                      <a:lnTo>
                        <a:pt x="7476" y="62319"/>
                      </a:lnTo>
                      <a:lnTo>
                        <a:pt x="5203" y="64592"/>
                      </a:lnTo>
                      <a:lnTo>
                        <a:pt x="2931" y="66865"/>
                      </a:lnTo>
                      <a:lnTo>
                        <a:pt x="2512" y="67283"/>
                      </a:lnTo>
                      <a:lnTo>
                        <a:pt x="2093" y="67582"/>
                      </a:lnTo>
                      <a:lnTo>
                        <a:pt x="1316" y="68061"/>
                      </a:lnTo>
                      <a:lnTo>
                        <a:pt x="718" y="68419"/>
                      </a:lnTo>
                      <a:lnTo>
                        <a:pt x="0" y="68898"/>
                      </a:lnTo>
                    </a:path>
                  </a:pathLst>
                </a:custGeom>
                <a:noFill/>
                <a:ln w="6350" cap="rnd">
                  <a:solidFill>
                    <a:schemeClr val="bg1">
                      <a:alpha val="40000"/>
                    </a:schemeClr>
                  </a:solidFill>
                  <a:prstDash val="solid"/>
                  <a:round/>
                </a:ln>
              </p:spPr>
              <p:txBody>
                <a:bodyPr rtlCol="0" anchor="ctr"/>
                <a:lstStyle/>
                <a:p>
                  <a:endParaRPr lang="en-GB"/>
                </a:p>
              </p:txBody>
            </p:sp>
            <p:sp>
              <p:nvSpPr>
                <p:cNvPr id="5585" name="Vrije vorm: vorm 5584">
                  <a:extLst>
                    <a:ext uri="{FF2B5EF4-FFF2-40B4-BE49-F238E27FC236}">
                      <a16:creationId xmlns:a16="http://schemas.microsoft.com/office/drawing/2014/main" id="{4966A066-42AC-4B72-8686-EF0C8328A7AC}"/>
                    </a:ext>
                  </a:extLst>
                </p:cNvPr>
                <p:cNvSpPr/>
                <p:nvPr/>
              </p:nvSpPr>
              <p:spPr>
                <a:xfrm>
                  <a:off x="6523911" y="1774520"/>
                  <a:ext cx="5203" cy="2511"/>
                </a:xfrm>
                <a:custGeom>
                  <a:avLst/>
                  <a:gdLst>
                    <a:gd name="connsiteX0" fmla="*/ 5203 w 5203"/>
                    <a:gd name="connsiteY0" fmla="*/ 2512 h 2511"/>
                    <a:gd name="connsiteX1" fmla="*/ 3349 w 5203"/>
                    <a:gd name="connsiteY1" fmla="*/ 1615 h 2511"/>
                    <a:gd name="connsiteX2" fmla="*/ 2751 w 5203"/>
                    <a:gd name="connsiteY2" fmla="*/ 1316 h 2511"/>
                    <a:gd name="connsiteX3" fmla="*/ 2751 w 5203"/>
                    <a:gd name="connsiteY3" fmla="*/ 1316 h 2511"/>
                    <a:gd name="connsiteX4" fmla="*/ 60 w 5203"/>
                    <a:gd name="connsiteY4" fmla="*/ 0 h 2511"/>
                    <a:gd name="connsiteX5" fmla="*/ 0 w 5203"/>
                    <a:gd name="connsiteY5" fmla="*/ 0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03" h="2511">
                      <a:moveTo>
                        <a:pt x="5203" y="2512"/>
                      </a:moveTo>
                      <a:lnTo>
                        <a:pt x="3349" y="1615"/>
                      </a:lnTo>
                      <a:lnTo>
                        <a:pt x="2751" y="1316"/>
                      </a:lnTo>
                      <a:lnTo>
                        <a:pt x="2751" y="1316"/>
                      </a:lnTo>
                      <a:lnTo>
                        <a:pt x="60" y="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86" name="Vrije vorm: vorm 5585">
                  <a:extLst>
                    <a:ext uri="{FF2B5EF4-FFF2-40B4-BE49-F238E27FC236}">
                      <a16:creationId xmlns:a16="http://schemas.microsoft.com/office/drawing/2014/main" id="{0AAA5FDC-0403-4FA2-B8C5-3F61AA194F56}"/>
                    </a:ext>
                  </a:extLst>
                </p:cNvPr>
                <p:cNvSpPr/>
                <p:nvPr/>
              </p:nvSpPr>
              <p:spPr>
                <a:xfrm>
                  <a:off x="6492871" y="1765908"/>
                  <a:ext cx="1315" cy="1734"/>
                </a:xfrm>
                <a:custGeom>
                  <a:avLst/>
                  <a:gdLst>
                    <a:gd name="connsiteX0" fmla="*/ 1316 w 1315"/>
                    <a:gd name="connsiteY0" fmla="*/ 1734 h 1734"/>
                    <a:gd name="connsiteX1" fmla="*/ 60 w 1315"/>
                    <a:gd name="connsiteY1" fmla="*/ 239 h 1734"/>
                    <a:gd name="connsiteX2" fmla="*/ 0 w 1315"/>
                    <a:gd name="connsiteY2" fmla="*/ 0 h 1734"/>
                  </a:gdLst>
                  <a:ahLst/>
                  <a:cxnLst>
                    <a:cxn ang="0">
                      <a:pos x="connsiteX0" y="connsiteY0"/>
                    </a:cxn>
                    <a:cxn ang="0">
                      <a:pos x="connsiteX1" y="connsiteY1"/>
                    </a:cxn>
                    <a:cxn ang="0">
                      <a:pos x="connsiteX2" y="connsiteY2"/>
                    </a:cxn>
                  </a:cxnLst>
                  <a:rect l="l" t="t" r="r" b="b"/>
                  <a:pathLst>
                    <a:path w="1315" h="1734">
                      <a:moveTo>
                        <a:pt x="1316" y="1734"/>
                      </a:moveTo>
                      <a:lnTo>
                        <a:pt x="60" y="23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87" name="Vrije vorm: vorm 5586">
                  <a:extLst>
                    <a:ext uri="{FF2B5EF4-FFF2-40B4-BE49-F238E27FC236}">
                      <a16:creationId xmlns:a16="http://schemas.microsoft.com/office/drawing/2014/main" id="{D0DCF53D-43EC-449D-B1C5-EA262255FAB9}"/>
                    </a:ext>
                  </a:extLst>
                </p:cNvPr>
                <p:cNvSpPr/>
                <p:nvPr/>
              </p:nvSpPr>
              <p:spPr>
                <a:xfrm>
                  <a:off x="6488804" y="1702991"/>
                  <a:ext cx="40668" cy="64591"/>
                </a:xfrm>
                <a:custGeom>
                  <a:avLst/>
                  <a:gdLst>
                    <a:gd name="connsiteX0" fmla="*/ 0 w 40668"/>
                    <a:gd name="connsiteY0" fmla="*/ 63754 h 64591"/>
                    <a:gd name="connsiteX1" fmla="*/ 1794 w 40668"/>
                    <a:gd name="connsiteY1" fmla="*/ 64592 h 64591"/>
                    <a:gd name="connsiteX2" fmla="*/ 2871 w 40668"/>
                    <a:gd name="connsiteY2" fmla="*/ 64592 h 64591"/>
                    <a:gd name="connsiteX3" fmla="*/ 5383 w 40668"/>
                    <a:gd name="connsiteY3" fmla="*/ 64592 h 64591"/>
                    <a:gd name="connsiteX4" fmla="*/ 5861 w 40668"/>
                    <a:gd name="connsiteY4" fmla="*/ 64592 h 64591"/>
                    <a:gd name="connsiteX5" fmla="*/ 6041 w 40668"/>
                    <a:gd name="connsiteY5" fmla="*/ 64592 h 64591"/>
                    <a:gd name="connsiteX6" fmla="*/ 6758 w 40668"/>
                    <a:gd name="connsiteY6" fmla="*/ 64592 h 64591"/>
                    <a:gd name="connsiteX7" fmla="*/ 7536 w 40668"/>
                    <a:gd name="connsiteY7" fmla="*/ 64592 h 64591"/>
                    <a:gd name="connsiteX8" fmla="*/ 7596 w 40668"/>
                    <a:gd name="connsiteY8" fmla="*/ 64592 h 64591"/>
                    <a:gd name="connsiteX9" fmla="*/ 8911 w 40668"/>
                    <a:gd name="connsiteY9" fmla="*/ 64113 h 64591"/>
                    <a:gd name="connsiteX10" fmla="*/ 11842 w 40668"/>
                    <a:gd name="connsiteY10" fmla="*/ 63037 h 64591"/>
                    <a:gd name="connsiteX11" fmla="*/ 13636 w 40668"/>
                    <a:gd name="connsiteY11" fmla="*/ 62379 h 64591"/>
                    <a:gd name="connsiteX12" fmla="*/ 14055 w 40668"/>
                    <a:gd name="connsiteY12" fmla="*/ 62199 h 64591"/>
                    <a:gd name="connsiteX13" fmla="*/ 16507 w 40668"/>
                    <a:gd name="connsiteY13" fmla="*/ 60525 h 64591"/>
                    <a:gd name="connsiteX14" fmla="*/ 19138 w 40668"/>
                    <a:gd name="connsiteY14" fmla="*/ 58731 h 64591"/>
                    <a:gd name="connsiteX15" fmla="*/ 20215 w 40668"/>
                    <a:gd name="connsiteY15" fmla="*/ 58013 h 64591"/>
                    <a:gd name="connsiteX16" fmla="*/ 20693 w 40668"/>
                    <a:gd name="connsiteY16" fmla="*/ 57654 h 64591"/>
                    <a:gd name="connsiteX17" fmla="*/ 22727 w 40668"/>
                    <a:gd name="connsiteY17" fmla="*/ 55561 h 64591"/>
                    <a:gd name="connsiteX18" fmla="*/ 24999 w 40668"/>
                    <a:gd name="connsiteY18" fmla="*/ 53228 h 64591"/>
                    <a:gd name="connsiteX19" fmla="*/ 27033 w 40668"/>
                    <a:gd name="connsiteY19" fmla="*/ 51135 h 64591"/>
                    <a:gd name="connsiteX20" fmla="*/ 28887 w 40668"/>
                    <a:gd name="connsiteY20" fmla="*/ 48444 h 64591"/>
                    <a:gd name="connsiteX21" fmla="*/ 30621 w 40668"/>
                    <a:gd name="connsiteY21" fmla="*/ 45932 h 64591"/>
                    <a:gd name="connsiteX22" fmla="*/ 30681 w 40668"/>
                    <a:gd name="connsiteY22" fmla="*/ 45812 h 64591"/>
                    <a:gd name="connsiteX23" fmla="*/ 30980 w 40668"/>
                    <a:gd name="connsiteY23" fmla="*/ 45394 h 64591"/>
                    <a:gd name="connsiteX24" fmla="*/ 31160 w 40668"/>
                    <a:gd name="connsiteY24" fmla="*/ 45154 h 64591"/>
                    <a:gd name="connsiteX25" fmla="*/ 31219 w 40668"/>
                    <a:gd name="connsiteY25" fmla="*/ 45095 h 64591"/>
                    <a:gd name="connsiteX26" fmla="*/ 31459 w 40668"/>
                    <a:gd name="connsiteY26" fmla="*/ 44736 h 64591"/>
                    <a:gd name="connsiteX27" fmla="*/ 31519 w 40668"/>
                    <a:gd name="connsiteY27" fmla="*/ 44676 h 64591"/>
                    <a:gd name="connsiteX28" fmla="*/ 32595 w 40668"/>
                    <a:gd name="connsiteY28" fmla="*/ 43181 h 64591"/>
                    <a:gd name="connsiteX29" fmla="*/ 33731 w 40668"/>
                    <a:gd name="connsiteY29" fmla="*/ 40908 h 64591"/>
                    <a:gd name="connsiteX30" fmla="*/ 35167 w 40668"/>
                    <a:gd name="connsiteY30" fmla="*/ 37978 h 64591"/>
                    <a:gd name="connsiteX31" fmla="*/ 36602 w 40668"/>
                    <a:gd name="connsiteY31" fmla="*/ 35047 h 64591"/>
                    <a:gd name="connsiteX32" fmla="*/ 36961 w 40668"/>
                    <a:gd name="connsiteY32" fmla="*/ 34389 h 64591"/>
                    <a:gd name="connsiteX33" fmla="*/ 37260 w 40668"/>
                    <a:gd name="connsiteY33" fmla="*/ 33372 h 64591"/>
                    <a:gd name="connsiteX34" fmla="*/ 38217 w 40668"/>
                    <a:gd name="connsiteY34" fmla="*/ 30262 h 64591"/>
                    <a:gd name="connsiteX35" fmla="*/ 38336 w 40668"/>
                    <a:gd name="connsiteY35" fmla="*/ 29904 h 64591"/>
                    <a:gd name="connsiteX36" fmla="*/ 38516 w 40668"/>
                    <a:gd name="connsiteY36" fmla="*/ 29365 h 64591"/>
                    <a:gd name="connsiteX37" fmla="*/ 39473 w 40668"/>
                    <a:gd name="connsiteY37" fmla="*/ 26255 h 64591"/>
                    <a:gd name="connsiteX38" fmla="*/ 39712 w 40668"/>
                    <a:gd name="connsiteY38" fmla="*/ 25418 h 64591"/>
                    <a:gd name="connsiteX39" fmla="*/ 39712 w 40668"/>
                    <a:gd name="connsiteY39" fmla="*/ 25298 h 64591"/>
                    <a:gd name="connsiteX40" fmla="*/ 40071 w 40668"/>
                    <a:gd name="connsiteY40" fmla="*/ 22129 h 64591"/>
                    <a:gd name="connsiteX41" fmla="*/ 40310 w 40668"/>
                    <a:gd name="connsiteY41" fmla="*/ 20155 h 64591"/>
                    <a:gd name="connsiteX42" fmla="*/ 40370 w 40668"/>
                    <a:gd name="connsiteY42" fmla="*/ 19437 h 64591"/>
                    <a:gd name="connsiteX43" fmla="*/ 40430 w 40668"/>
                    <a:gd name="connsiteY43" fmla="*/ 19019 h 64591"/>
                    <a:gd name="connsiteX44" fmla="*/ 40669 w 40668"/>
                    <a:gd name="connsiteY44" fmla="*/ 17224 h 64591"/>
                    <a:gd name="connsiteX45" fmla="*/ 40669 w 40668"/>
                    <a:gd name="connsiteY45" fmla="*/ 17045 h 64591"/>
                    <a:gd name="connsiteX46" fmla="*/ 40669 w 40668"/>
                    <a:gd name="connsiteY46" fmla="*/ 16985 h 64591"/>
                    <a:gd name="connsiteX47" fmla="*/ 40549 w 40668"/>
                    <a:gd name="connsiteY47" fmla="*/ 16028 h 64591"/>
                    <a:gd name="connsiteX48" fmla="*/ 40190 w 40668"/>
                    <a:gd name="connsiteY48" fmla="*/ 12918 h 64591"/>
                    <a:gd name="connsiteX49" fmla="*/ 40071 w 40668"/>
                    <a:gd name="connsiteY49" fmla="*/ 11722 h 64591"/>
                    <a:gd name="connsiteX50" fmla="*/ 40071 w 40668"/>
                    <a:gd name="connsiteY50" fmla="*/ 11662 h 64591"/>
                    <a:gd name="connsiteX51" fmla="*/ 39951 w 40668"/>
                    <a:gd name="connsiteY51" fmla="*/ 10466 h 64591"/>
                    <a:gd name="connsiteX52" fmla="*/ 39891 w 40668"/>
                    <a:gd name="connsiteY52" fmla="*/ 9689 h 64591"/>
                    <a:gd name="connsiteX53" fmla="*/ 39473 w 40668"/>
                    <a:gd name="connsiteY53" fmla="*/ 8732 h 64591"/>
                    <a:gd name="connsiteX54" fmla="*/ 39473 w 40668"/>
                    <a:gd name="connsiteY54" fmla="*/ 8732 h 64591"/>
                    <a:gd name="connsiteX55" fmla="*/ 39174 w 40668"/>
                    <a:gd name="connsiteY55" fmla="*/ 8014 h 64591"/>
                    <a:gd name="connsiteX56" fmla="*/ 38277 w 40668"/>
                    <a:gd name="connsiteY56" fmla="*/ 5981 h 64591"/>
                    <a:gd name="connsiteX57" fmla="*/ 37738 w 40668"/>
                    <a:gd name="connsiteY57" fmla="*/ 4725 h 64591"/>
                    <a:gd name="connsiteX58" fmla="*/ 37380 w 40668"/>
                    <a:gd name="connsiteY58" fmla="*/ 3947 h 64591"/>
                    <a:gd name="connsiteX59" fmla="*/ 35227 w 40668"/>
                    <a:gd name="connsiteY59" fmla="*/ 1914 h 64591"/>
                    <a:gd name="connsiteX60" fmla="*/ 34150 w 40668"/>
                    <a:gd name="connsiteY60" fmla="*/ 897 h 64591"/>
                    <a:gd name="connsiteX61" fmla="*/ 33432 w 40668"/>
                    <a:gd name="connsiteY61" fmla="*/ 239 h 64591"/>
                    <a:gd name="connsiteX62" fmla="*/ 32655 w 40668"/>
                    <a:gd name="connsiteY62" fmla="*/ 0 h 6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0668" h="64591">
                      <a:moveTo>
                        <a:pt x="0" y="63754"/>
                      </a:moveTo>
                      <a:lnTo>
                        <a:pt x="1794" y="64592"/>
                      </a:lnTo>
                      <a:lnTo>
                        <a:pt x="2871" y="64592"/>
                      </a:lnTo>
                      <a:lnTo>
                        <a:pt x="5383" y="64592"/>
                      </a:lnTo>
                      <a:lnTo>
                        <a:pt x="5861" y="64592"/>
                      </a:lnTo>
                      <a:lnTo>
                        <a:pt x="6041" y="64592"/>
                      </a:lnTo>
                      <a:lnTo>
                        <a:pt x="6758" y="64592"/>
                      </a:lnTo>
                      <a:lnTo>
                        <a:pt x="7536" y="64592"/>
                      </a:lnTo>
                      <a:lnTo>
                        <a:pt x="7596" y="64592"/>
                      </a:lnTo>
                      <a:lnTo>
                        <a:pt x="8911" y="64113"/>
                      </a:lnTo>
                      <a:lnTo>
                        <a:pt x="11842" y="63037"/>
                      </a:lnTo>
                      <a:lnTo>
                        <a:pt x="13636" y="62379"/>
                      </a:lnTo>
                      <a:lnTo>
                        <a:pt x="14055" y="62199"/>
                      </a:lnTo>
                      <a:lnTo>
                        <a:pt x="16507" y="60525"/>
                      </a:lnTo>
                      <a:lnTo>
                        <a:pt x="19138" y="58731"/>
                      </a:lnTo>
                      <a:lnTo>
                        <a:pt x="20215" y="58013"/>
                      </a:lnTo>
                      <a:lnTo>
                        <a:pt x="20693" y="57654"/>
                      </a:lnTo>
                      <a:lnTo>
                        <a:pt x="22727" y="55561"/>
                      </a:lnTo>
                      <a:lnTo>
                        <a:pt x="24999" y="53228"/>
                      </a:lnTo>
                      <a:lnTo>
                        <a:pt x="27033" y="51135"/>
                      </a:lnTo>
                      <a:lnTo>
                        <a:pt x="28887" y="48444"/>
                      </a:lnTo>
                      <a:lnTo>
                        <a:pt x="30621" y="45932"/>
                      </a:lnTo>
                      <a:lnTo>
                        <a:pt x="30681" y="45812"/>
                      </a:lnTo>
                      <a:lnTo>
                        <a:pt x="30980" y="45394"/>
                      </a:lnTo>
                      <a:lnTo>
                        <a:pt x="31160" y="45154"/>
                      </a:lnTo>
                      <a:lnTo>
                        <a:pt x="31219" y="45095"/>
                      </a:lnTo>
                      <a:lnTo>
                        <a:pt x="31459" y="44736"/>
                      </a:lnTo>
                      <a:lnTo>
                        <a:pt x="31519" y="44676"/>
                      </a:lnTo>
                      <a:lnTo>
                        <a:pt x="32595" y="43181"/>
                      </a:lnTo>
                      <a:lnTo>
                        <a:pt x="33731" y="40908"/>
                      </a:lnTo>
                      <a:lnTo>
                        <a:pt x="35167" y="37978"/>
                      </a:lnTo>
                      <a:lnTo>
                        <a:pt x="36602" y="35047"/>
                      </a:lnTo>
                      <a:lnTo>
                        <a:pt x="36961" y="34389"/>
                      </a:lnTo>
                      <a:lnTo>
                        <a:pt x="37260" y="33372"/>
                      </a:lnTo>
                      <a:lnTo>
                        <a:pt x="38217" y="30262"/>
                      </a:lnTo>
                      <a:lnTo>
                        <a:pt x="38336" y="29904"/>
                      </a:lnTo>
                      <a:lnTo>
                        <a:pt x="38516" y="29365"/>
                      </a:lnTo>
                      <a:lnTo>
                        <a:pt x="39473" y="26255"/>
                      </a:lnTo>
                      <a:lnTo>
                        <a:pt x="39712" y="25418"/>
                      </a:lnTo>
                      <a:lnTo>
                        <a:pt x="39712" y="25298"/>
                      </a:lnTo>
                      <a:lnTo>
                        <a:pt x="40071" y="22129"/>
                      </a:lnTo>
                      <a:lnTo>
                        <a:pt x="40310" y="20155"/>
                      </a:lnTo>
                      <a:lnTo>
                        <a:pt x="40370" y="19437"/>
                      </a:lnTo>
                      <a:lnTo>
                        <a:pt x="40430" y="19019"/>
                      </a:lnTo>
                      <a:lnTo>
                        <a:pt x="40669" y="17224"/>
                      </a:lnTo>
                      <a:lnTo>
                        <a:pt x="40669" y="17045"/>
                      </a:lnTo>
                      <a:lnTo>
                        <a:pt x="40669" y="16985"/>
                      </a:lnTo>
                      <a:lnTo>
                        <a:pt x="40549" y="16028"/>
                      </a:lnTo>
                      <a:lnTo>
                        <a:pt x="40190" y="12918"/>
                      </a:lnTo>
                      <a:lnTo>
                        <a:pt x="40071" y="11722"/>
                      </a:lnTo>
                      <a:lnTo>
                        <a:pt x="40071" y="11662"/>
                      </a:lnTo>
                      <a:lnTo>
                        <a:pt x="39951" y="10466"/>
                      </a:lnTo>
                      <a:lnTo>
                        <a:pt x="39891" y="9689"/>
                      </a:lnTo>
                      <a:lnTo>
                        <a:pt x="39473" y="8732"/>
                      </a:lnTo>
                      <a:lnTo>
                        <a:pt x="39473" y="8732"/>
                      </a:lnTo>
                      <a:lnTo>
                        <a:pt x="39174" y="8014"/>
                      </a:lnTo>
                      <a:lnTo>
                        <a:pt x="38277" y="5981"/>
                      </a:lnTo>
                      <a:lnTo>
                        <a:pt x="37738" y="4725"/>
                      </a:lnTo>
                      <a:lnTo>
                        <a:pt x="37380" y="3947"/>
                      </a:lnTo>
                      <a:lnTo>
                        <a:pt x="35227" y="1914"/>
                      </a:lnTo>
                      <a:lnTo>
                        <a:pt x="34150" y="897"/>
                      </a:lnTo>
                      <a:lnTo>
                        <a:pt x="33432" y="239"/>
                      </a:lnTo>
                      <a:lnTo>
                        <a:pt x="32655" y="0"/>
                      </a:lnTo>
                    </a:path>
                  </a:pathLst>
                </a:custGeom>
                <a:noFill/>
                <a:ln w="6350" cap="rnd">
                  <a:solidFill>
                    <a:schemeClr val="bg1">
                      <a:alpha val="40000"/>
                    </a:schemeClr>
                  </a:solidFill>
                  <a:prstDash val="solid"/>
                  <a:round/>
                </a:ln>
              </p:spPr>
              <p:txBody>
                <a:bodyPr rtlCol="0" anchor="ctr"/>
                <a:lstStyle/>
                <a:p>
                  <a:endParaRPr lang="en-GB"/>
                </a:p>
              </p:txBody>
            </p:sp>
            <p:sp>
              <p:nvSpPr>
                <p:cNvPr id="5588" name="Vrije vorm: vorm 5587">
                  <a:extLst>
                    <a:ext uri="{FF2B5EF4-FFF2-40B4-BE49-F238E27FC236}">
                      <a16:creationId xmlns:a16="http://schemas.microsoft.com/office/drawing/2014/main" id="{1230FB88-C05A-4186-8F97-ECE2FE574ECA}"/>
                    </a:ext>
                  </a:extLst>
                </p:cNvPr>
                <p:cNvSpPr/>
                <p:nvPr/>
              </p:nvSpPr>
              <p:spPr>
                <a:xfrm>
                  <a:off x="6526662" y="1780680"/>
                  <a:ext cx="4186" cy="6698"/>
                </a:xfrm>
                <a:custGeom>
                  <a:avLst/>
                  <a:gdLst>
                    <a:gd name="connsiteX0" fmla="*/ 0 w 4186"/>
                    <a:gd name="connsiteY0" fmla="*/ 598 h 6698"/>
                    <a:gd name="connsiteX1" fmla="*/ 1076 w 4186"/>
                    <a:gd name="connsiteY1" fmla="*/ 60 h 6698"/>
                    <a:gd name="connsiteX2" fmla="*/ 1555 w 4186"/>
                    <a:gd name="connsiteY2" fmla="*/ 0 h 6698"/>
                    <a:gd name="connsiteX3" fmla="*/ 2093 w 4186"/>
                    <a:gd name="connsiteY3" fmla="*/ 179 h 6698"/>
                    <a:gd name="connsiteX4" fmla="*/ 2632 w 4186"/>
                    <a:gd name="connsiteY4" fmla="*/ 538 h 6698"/>
                    <a:gd name="connsiteX5" fmla="*/ 3110 w 4186"/>
                    <a:gd name="connsiteY5" fmla="*/ 1077 h 6698"/>
                    <a:gd name="connsiteX6" fmla="*/ 3170 w 4186"/>
                    <a:gd name="connsiteY6" fmla="*/ 1196 h 6698"/>
                    <a:gd name="connsiteX7" fmla="*/ 3528 w 4186"/>
                    <a:gd name="connsiteY7" fmla="*/ 1794 h 6698"/>
                    <a:gd name="connsiteX8" fmla="*/ 3768 w 4186"/>
                    <a:gd name="connsiteY8" fmla="*/ 2332 h 6698"/>
                    <a:gd name="connsiteX9" fmla="*/ 3887 w 4186"/>
                    <a:gd name="connsiteY9" fmla="*/ 2572 h 6698"/>
                    <a:gd name="connsiteX10" fmla="*/ 4067 w 4186"/>
                    <a:gd name="connsiteY10" fmla="*/ 3230 h 6698"/>
                    <a:gd name="connsiteX11" fmla="*/ 4127 w 4186"/>
                    <a:gd name="connsiteY11" fmla="*/ 3349 h 6698"/>
                    <a:gd name="connsiteX12" fmla="*/ 4187 w 4186"/>
                    <a:gd name="connsiteY12" fmla="*/ 4127 h 6698"/>
                    <a:gd name="connsiteX13" fmla="*/ 4127 w 4186"/>
                    <a:gd name="connsiteY13" fmla="*/ 4844 h 6698"/>
                    <a:gd name="connsiteX14" fmla="*/ 3947 w 4186"/>
                    <a:gd name="connsiteY14" fmla="*/ 5442 h 6698"/>
                    <a:gd name="connsiteX15" fmla="*/ 3947 w 4186"/>
                    <a:gd name="connsiteY15" fmla="*/ 5442 h 6698"/>
                    <a:gd name="connsiteX16" fmla="*/ 3827 w 4186"/>
                    <a:gd name="connsiteY16" fmla="*/ 5562 h 6698"/>
                    <a:gd name="connsiteX17" fmla="*/ 3588 w 4186"/>
                    <a:gd name="connsiteY17" fmla="*/ 5861 h 6698"/>
                    <a:gd name="connsiteX18" fmla="*/ 3229 w 4186"/>
                    <a:gd name="connsiteY18" fmla="*/ 6100 h 6698"/>
                    <a:gd name="connsiteX19" fmla="*/ 3170 w 4186"/>
                    <a:gd name="connsiteY19" fmla="*/ 6160 h 6698"/>
                    <a:gd name="connsiteX20" fmla="*/ 2093 w 4186"/>
                    <a:gd name="connsiteY20" fmla="*/ 6698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6" h="6698">
                      <a:moveTo>
                        <a:pt x="0" y="598"/>
                      </a:moveTo>
                      <a:lnTo>
                        <a:pt x="1076" y="60"/>
                      </a:lnTo>
                      <a:lnTo>
                        <a:pt x="1555" y="0"/>
                      </a:lnTo>
                      <a:lnTo>
                        <a:pt x="2093" y="179"/>
                      </a:lnTo>
                      <a:lnTo>
                        <a:pt x="2632" y="538"/>
                      </a:lnTo>
                      <a:lnTo>
                        <a:pt x="3110" y="1077"/>
                      </a:lnTo>
                      <a:lnTo>
                        <a:pt x="3170" y="1196"/>
                      </a:lnTo>
                      <a:lnTo>
                        <a:pt x="3528" y="1794"/>
                      </a:lnTo>
                      <a:lnTo>
                        <a:pt x="3768" y="2332"/>
                      </a:lnTo>
                      <a:lnTo>
                        <a:pt x="3887" y="2572"/>
                      </a:lnTo>
                      <a:lnTo>
                        <a:pt x="4067" y="3230"/>
                      </a:lnTo>
                      <a:lnTo>
                        <a:pt x="4127" y="3349"/>
                      </a:lnTo>
                      <a:lnTo>
                        <a:pt x="4187" y="4127"/>
                      </a:lnTo>
                      <a:lnTo>
                        <a:pt x="4127" y="4844"/>
                      </a:lnTo>
                      <a:lnTo>
                        <a:pt x="3947" y="5442"/>
                      </a:lnTo>
                      <a:lnTo>
                        <a:pt x="3947" y="5442"/>
                      </a:lnTo>
                      <a:lnTo>
                        <a:pt x="3827" y="5562"/>
                      </a:lnTo>
                      <a:lnTo>
                        <a:pt x="3588" y="5861"/>
                      </a:lnTo>
                      <a:lnTo>
                        <a:pt x="3229" y="6100"/>
                      </a:lnTo>
                      <a:lnTo>
                        <a:pt x="3170" y="6160"/>
                      </a:lnTo>
                      <a:lnTo>
                        <a:pt x="2093" y="6698"/>
                      </a:lnTo>
                    </a:path>
                  </a:pathLst>
                </a:custGeom>
                <a:noFill/>
                <a:ln w="6350" cap="rnd">
                  <a:solidFill>
                    <a:schemeClr val="bg1">
                      <a:alpha val="40000"/>
                    </a:schemeClr>
                  </a:solidFill>
                  <a:prstDash val="solid"/>
                  <a:round/>
                </a:ln>
              </p:spPr>
              <p:txBody>
                <a:bodyPr rtlCol="0" anchor="ctr"/>
                <a:lstStyle/>
                <a:p>
                  <a:endParaRPr lang="en-GB"/>
                </a:p>
              </p:txBody>
            </p:sp>
            <p:sp>
              <p:nvSpPr>
                <p:cNvPr id="5589" name="Vrije vorm: vorm 5588">
                  <a:extLst>
                    <a:ext uri="{FF2B5EF4-FFF2-40B4-BE49-F238E27FC236}">
                      <a16:creationId xmlns:a16="http://schemas.microsoft.com/office/drawing/2014/main" id="{7839D8E0-DB94-47CA-91B6-425EC8B0C564}"/>
                    </a:ext>
                  </a:extLst>
                </p:cNvPr>
                <p:cNvSpPr/>
                <p:nvPr/>
              </p:nvSpPr>
              <p:spPr>
                <a:xfrm>
                  <a:off x="6522954" y="1775716"/>
                  <a:ext cx="8432" cy="14892"/>
                </a:xfrm>
                <a:custGeom>
                  <a:avLst/>
                  <a:gdLst>
                    <a:gd name="connsiteX0" fmla="*/ 8253 w 8432"/>
                    <a:gd name="connsiteY0" fmla="*/ 0 h 14892"/>
                    <a:gd name="connsiteX1" fmla="*/ 8313 w 8432"/>
                    <a:gd name="connsiteY1" fmla="*/ 3170 h 14892"/>
                    <a:gd name="connsiteX2" fmla="*/ 8373 w 8432"/>
                    <a:gd name="connsiteY2" fmla="*/ 6340 h 14892"/>
                    <a:gd name="connsiteX3" fmla="*/ 8373 w 8432"/>
                    <a:gd name="connsiteY3" fmla="*/ 8074 h 14892"/>
                    <a:gd name="connsiteX4" fmla="*/ 8373 w 8432"/>
                    <a:gd name="connsiteY4" fmla="*/ 10945 h 14892"/>
                    <a:gd name="connsiteX5" fmla="*/ 8433 w 8432"/>
                    <a:gd name="connsiteY5" fmla="*/ 14115 h 14892"/>
                    <a:gd name="connsiteX6" fmla="*/ 8433 w 8432"/>
                    <a:gd name="connsiteY6" fmla="*/ 14354 h 14892"/>
                    <a:gd name="connsiteX7" fmla="*/ 7356 w 8432"/>
                    <a:gd name="connsiteY7" fmla="*/ 14892 h 14892"/>
                    <a:gd name="connsiteX8" fmla="*/ 4665 w 8432"/>
                    <a:gd name="connsiteY8" fmla="*/ 13636 h 14892"/>
                    <a:gd name="connsiteX9" fmla="*/ 1973 w 8432"/>
                    <a:gd name="connsiteY9" fmla="*/ 12380 h 14892"/>
                    <a:gd name="connsiteX10" fmla="*/ 0 w 8432"/>
                    <a:gd name="connsiteY10" fmla="*/ 11423 h 1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32" h="14892">
                      <a:moveTo>
                        <a:pt x="8253" y="0"/>
                      </a:moveTo>
                      <a:lnTo>
                        <a:pt x="8313" y="3170"/>
                      </a:lnTo>
                      <a:lnTo>
                        <a:pt x="8373" y="6340"/>
                      </a:lnTo>
                      <a:lnTo>
                        <a:pt x="8373" y="8074"/>
                      </a:lnTo>
                      <a:lnTo>
                        <a:pt x="8373" y="10945"/>
                      </a:lnTo>
                      <a:lnTo>
                        <a:pt x="8433" y="14115"/>
                      </a:lnTo>
                      <a:lnTo>
                        <a:pt x="8433" y="14354"/>
                      </a:lnTo>
                      <a:lnTo>
                        <a:pt x="7356" y="14892"/>
                      </a:lnTo>
                      <a:lnTo>
                        <a:pt x="4665" y="13636"/>
                      </a:lnTo>
                      <a:lnTo>
                        <a:pt x="1973" y="12380"/>
                      </a:lnTo>
                      <a:lnTo>
                        <a:pt x="0" y="11423"/>
                      </a:lnTo>
                    </a:path>
                  </a:pathLst>
                </a:custGeom>
                <a:noFill/>
                <a:ln w="6350" cap="rnd">
                  <a:solidFill>
                    <a:schemeClr val="bg1">
                      <a:alpha val="40000"/>
                    </a:schemeClr>
                  </a:solidFill>
                  <a:prstDash val="solid"/>
                  <a:round/>
                </a:ln>
              </p:spPr>
              <p:txBody>
                <a:bodyPr rtlCol="0" anchor="ctr"/>
                <a:lstStyle/>
                <a:p>
                  <a:endParaRPr lang="en-GB"/>
                </a:p>
              </p:txBody>
            </p:sp>
            <p:sp>
              <p:nvSpPr>
                <p:cNvPr id="5590" name="Vrije vorm: vorm 5589">
                  <a:extLst>
                    <a:ext uri="{FF2B5EF4-FFF2-40B4-BE49-F238E27FC236}">
                      <a16:creationId xmlns:a16="http://schemas.microsoft.com/office/drawing/2014/main" id="{BA33CDB1-4F50-49C4-8D4B-95D265C27607}"/>
                    </a:ext>
                  </a:extLst>
                </p:cNvPr>
                <p:cNvSpPr/>
                <p:nvPr/>
              </p:nvSpPr>
              <p:spPr>
                <a:xfrm>
                  <a:off x="6513504" y="1774700"/>
                  <a:ext cx="10466" cy="12439"/>
                </a:xfrm>
                <a:custGeom>
                  <a:avLst/>
                  <a:gdLst>
                    <a:gd name="connsiteX0" fmla="*/ 0 w 10466"/>
                    <a:gd name="connsiteY0" fmla="*/ 5024 h 12439"/>
                    <a:gd name="connsiteX1" fmla="*/ 2333 w 10466"/>
                    <a:gd name="connsiteY1" fmla="*/ 6878 h 12439"/>
                    <a:gd name="connsiteX2" fmla="*/ 4665 w 10466"/>
                    <a:gd name="connsiteY2" fmla="*/ 8732 h 12439"/>
                    <a:gd name="connsiteX3" fmla="*/ 6997 w 10466"/>
                    <a:gd name="connsiteY3" fmla="*/ 10586 h 12439"/>
                    <a:gd name="connsiteX4" fmla="*/ 9390 w 10466"/>
                    <a:gd name="connsiteY4" fmla="*/ 12440 h 12439"/>
                    <a:gd name="connsiteX5" fmla="*/ 10466 w 10466"/>
                    <a:gd name="connsiteY5" fmla="*/ 11902 h 12439"/>
                    <a:gd name="connsiteX6" fmla="*/ 10466 w 10466"/>
                    <a:gd name="connsiteY6" fmla="*/ 11662 h 12439"/>
                    <a:gd name="connsiteX7" fmla="*/ 10466 w 10466"/>
                    <a:gd name="connsiteY7" fmla="*/ 11423 h 12439"/>
                    <a:gd name="connsiteX8" fmla="*/ 10466 w 10466"/>
                    <a:gd name="connsiteY8" fmla="*/ 11005 h 12439"/>
                    <a:gd name="connsiteX9" fmla="*/ 10466 w 10466"/>
                    <a:gd name="connsiteY9" fmla="*/ 9868 h 12439"/>
                    <a:gd name="connsiteX10" fmla="*/ 10466 w 10466"/>
                    <a:gd name="connsiteY10" fmla="*/ 9689 h 12439"/>
                    <a:gd name="connsiteX11" fmla="*/ 10466 w 10466"/>
                    <a:gd name="connsiteY11" fmla="*/ 7356 h 12439"/>
                    <a:gd name="connsiteX12" fmla="*/ 10466 w 10466"/>
                    <a:gd name="connsiteY12" fmla="*/ 7177 h 12439"/>
                    <a:gd name="connsiteX13" fmla="*/ 10466 w 10466"/>
                    <a:gd name="connsiteY13" fmla="*/ 5801 h 12439"/>
                    <a:gd name="connsiteX14" fmla="*/ 10466 w 10466"/>
                    <a:gd name="connsiteY14" fmla="*/ 5682 h 12439"/>
                    <a:gd name="connsiteX15" fmla="*/ 10466 w 10466"/>
                    <a:gd name="connsiteY15" fmla="*/ 4665 h 12439"/>
                    <a:gd name="connsiteX16" fmla="*/ 10466 w 10466"/>
                    <a:gd name="connsiteY16" fmla="*/ 4665 h 12439"/>
                    <a:gd name="connsiteX17" fmla="*/ 10466 w 10466"/>
                    <a:gd name="connsiteY17" fmla="*/ 1495 h 12439"/>
                    <a:gd name="connsiteX18" fmla="*/ 10466 w 10466"/>
                    <a:gd name="connsiteY18" fmla="*/ 837 h 12439"/>
                    <a:gd name="connsiteX19" fmla="*/ 10466 w 10466"/>
                    <a:gd name="connsiteY19" fmla="*/ 0 h 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466" h="12439">
                      <a:moveTo>
                        <a:pt x="0" y="5024"/>
                      </a:moveTo>
                      <a:lnTo>
                        <a:pt x="2333" y="6878"/>
                      </a:lnTo>
                      <a:lnTo>
                        <a:pt x="4665" y="8732"/>
                      </a:lnTo>
                      <a:lnTo>
                        <a:pt x="6997" y="10586"/>
                      </a:lnTo>
                      <a:lnTo>
                        <a:pt x="9390" y="12440"/>
                      </a:lnTo>
                      <a:lnTo>
                        <a:pt x="10466" y="11902"/>
                      </a:lnTo>
                      <a:lnTo>
                        <a:pt x="10466" y="11662"/>
                      </a:lnTo>
                      <a:lnTo>
                        <a:pt x="10466" y="11423"/>
                      </a:lnTo>
                      <a:lnTo>
                        <a:pt x="10466" y="11005"/>
                      </a:lnTo>
                      <a:lnTo>
                        <a:pt x="10466" y="9868"/>
                      </a:lnTo>
                      <a:lnTo>
                        <a:pt x="10466" y="9689"/>
                      </a:lnTo>
                      <a:lnTo>
                        <a:pt x="10466" y="7356"/>
                      </a:lnTo>
                      <a:lnTo>
                        <a:pt x="10466" y="7177"/>
                      </a:lnTo>
                      <a:lnTo>
                        <a:pt x="10466" y="5801"/>
                      </a:lnTo>
                      <a:lnTo>
                        <a:pt x="10466" y="5682"/>
                      </a:lnTo>
                      <a:lnTo>
                        <a:pt x="10466" y="4665"/>
                      </a:lnTo>
                      <a:lnTo>
                        <a:pt x="10466" y="4665"/>
                      </a:lnTo>
                      <a:lnTo>
                        <a:pt x="10466" y="1495"/>
                      </a:lnTo>
                      <a:lnTo>
                        <a:pt x="10466" y="837"/>
                      </a:lnTo>
                      <a:lnTo>
                        <a:pt x="10466" y="0"/>
                      </a:lnTo>
                    </a:path>
                  </a:pathLst>
                </a:custGeom>
                <a:noFill/>
                <a:ln w="6350" cap="rnd">
                  <a:solidFill>
                    <a:schemeClr val="bg1">
                      <a:alpha val="40000"/>
                    </a:schemeClr>
                  </a:solidFill>
                  <a:prstDash val="solid"/>
                  <a:round/>
                </a:ln>
              </p:spPr>
              <p:txBody>
                <a:bodyPr rtlCol="0" anchor="ctr"/>
                <a:lstStyle/>
                <a:p>
                  <a:endParaRPr lang="en-GB"/>
                </a:p>
              </p:txBody>
            </p:sp>
            <p:sp>
              <p:nvSpPr>
                <p:cNvPr id="5591" name="Vrije vorm: vorm 5590">
                  <a:extLst>
                    <a:ext uri="{FF2B5EF4-FFF2-40B4-BE49-F238E27FC236}">
                      <a16:creationId xmlns:a16="http://schemas.microsoft.com/office/drawing/2014/main" id="{CADA95F8-29FC-4AD4-B550-91DB0AD0399B}"/>
                    </a:ext>
                  </a:extLst>
                </p:cNvPr>
                <p:cNvSpPr/>
                <p:nvPr/>
              </p:nvSpPr>
              <p:spPr>
                <a:xfrm>
                  <a:off x="6525645" y="1781278"/>
                  <a:ext cx="3169" cy="6100"/>
                </a:xfrm>
                <a:custGeom>
                  <a:avLst/>
                  <a:gdLst>
                    <a:gd name="connsiteX0" fmla="*/ 1017 w 3169"/>
                    <a:gd name="connsiteY0" fmla="*/ 0 h 6100"/>
                    <a:gd name="connsiteX1" fmla="*/ 598 w 3169"/>
                    <a:gd name="connsiteY1" fmla="*/ 239 h 6100"/>
                    <a:gd name="connsiteX2" fmla="*/ 239 w 3169"/>
                    <a:gd name="connsiteY2" fmla="*/ 718 h 6100"/>
                    <a:gd name="connsiteX3" fmla="*/ 60 w 3169"/>
                    <a:gd name="connsiteY3" fmla="*/ 1316 h 6100"/>
                    <a:gd name="connsiteX4" fmla="*/ 0 w 3169"/>
                    <a:gd name="connsiteY4" fmla="*/ 2033 h 6100"/>
                    <a:gd name="connsiteX5" fmla="*/ 60 w 3169"/>
                    <a:gd name="connsiteY5" fmla="*/ 2811 h 6100"/>
                    <a:gd name="connsiteX6" fmla="*/ 299 w 3169"/>
                    <a:gd name="connsiteY6" fmla="*/ 3648 h 6100"/>
                    <a:gd name="connsiteX7" fmla="*/ 658 w 3169"/>
                    <a:gd name="connsiteY7" fmla="*/ 4426 h 6100"/>
                    <a:gd name="connsiteX8" fmla="*/ 1077 w 3169"/>
                    <a:gd name="connsiteY8" fmla="*/ 5084 h 6100"/>
                    <a:gd name="connsiteX9" fmla="*/ 1256 w 3169"/>
                    <a:gd name="connsiteY9" fmla="*/ 5263 h 6100"/>
                    <a:gd name="connsiteX10" fmla="*/ 1615 w 3169"/>
                    <a:gd name="connsiteY10" fmla="*/ 5622 h 6100"/>
                    <a:gd name="connsiteX11" fmla="*/ 2153 w 3169"/>
                    <a:gd name="connsiteY11" fmla="*/ 5981 h 6100"/>
                    <a:gd name="connsiteX12" fmla="*/ 2213 w 3169"/>
                    <a:gd name="connsiteY12" fmla="*/ 5981 h 6100"/>
                    <a:gd name="connsiteX13" fmla="*/ 2691 w 3169"/>
                    <a:gd name="connsiteY13" fmla="*/ 6100 h 6100"/>
                    <a:gd name="connsiteX14" fmla="*/ 3170 w 3169"/>
                    <a:gd name="connsiteY14" fmla="*/ 6040 h 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69" h="6100">
                      <a:moveTo>
                        <a:pt x="1017" y="0"/>
                      </a:moveTo>
                      <a:lnTo>
                        <a:pt x="598" y="239"/>
                      </a:lnTo>
                      <a:lnTo>
                        <a:pt x="239" y="718"/>
                      </a:lnTo>
                      <a:lnTo>
                        <a:pt x="60" y="1316"/>
                      </a:lnTo>
                      <a:lnTo>
                        <a:pt x="0" y="2033"/>
                      </a:lnTo>
                      <a:lnTo>
                        <a:pt x="60" y="2811"/>
                      </a:lnTo>
                      <a:lnTo>
                        <a:pt x="299" y="3648"/>
                      </a:lnTo>
                      <a:lnTo>
                        <a:pt x="658" y="4426"/>
                      </a:lnTo>
                      <a:lnTo>
                        <a:pt x="1077" y="5084"/>
                      </a:lnTo>
                      <a:lnTo>
                        <a:pt x="1256" y="5263"/>
                      </a:lnTo>
                      <a:lnTo>
                        <a:pt x="1615" y="5622"/>
                      </a:lnTo>
                      <a:lnTo>
                        <a:pt x="2153" y="5981"/>
                      </a:lnTo>
                      <a:lnTo>
                        <a:pt x="2213" y="5981"/>
                      </a:lnTo>
                      <a:lnTo>
                        <a:pt x="2691" y="6100"/>
                      </a:lnTo>
                      <a:lnTo>
                        <a:pt x="3170" y="6040"/>
                      </a:lnTo>
                    </a:path>
                  </a:pathLst>
                </a:custGeom>
                <a:noFill/>
                <a:ln w="6350" cap="rnd">
                  <a:solidFill>
                    <a:schemeClr val="bg1">
                      <a:alpha val="40000"/>
                    </a:schemeClr>
                  </a:solidFill>
                  <a:prstDash val="solid"/>
                  <a:round/>
                </a:ln>
              </p:spPr>
              <p:txBody>
                <a:bodyPr rtlCol="0" anchor="ctr"/>
                <a:lstStyle/>
                <a:p>
                  <a:endParaRPr lang="en-GB"/>
                </a:p>
              </p:txBody>
            </p:sp>
            <p:sp>
              <p:nvSpPr>
                <p:cNvPr id="5592" name="Vrije vorm: vorm 5591">
                  <a:extLst>
                    <a:ext uri="{FF2B5EF4-FFF2-40B4-BE49-F238E27FC236}">
                      <a16:creationId xmlns:a16="http://schemas.microsoft.com/office/drawing/2014/main" id="{65519685-02EF-4463-8E37-D6AC8B910AB4}"/>
                    </a:ext>
                  </a:extLst>
                </p:cNvPr>
                <p:cNvSpPr/>
                <p:nvPr/>
              </p:nvSpPr>
              <p:spPr>
                <a:xfrm>
                  <a:off x="6523970" y="1786541"/>
                  <a:ext cx="7356" cy="3468"/>
                </a:xfrm>
                <a:custGeom>
                  <a:avLst/>
                  <a:gdLst>
                    <a:gd name="connsiteX0" fmla="*/ 7356 w 7356"/>
                    <a:gd name="connsiteY0" fmla="*/ 3469 h 3468"/>
                    <a:gd name="connsiteX1" fmla="*/ 4665 w 7356"/>
                    <a:gd name="connsiteY1" fmla="*/ 2213 h 3468"/>
                    <a:gd name="connsiteX2" fmla="*/ 1974 w 7356"/>
                    <a:gd name="connsiteY2" fmla="*/ 957 h 3468"/>
                    <a:gd name="connsiteX3" fmla="*/ 0 w 7356"/>
                    <a:gd name="connsiteY3" fmla="*/ 0 h 3468"/>
                  </a:gdLst>
                  <a:ahLst/>
                  <a:cxnLst>
                    <a:cxn ang="0">
                      <a:pos x="connsiteX0" y="connsiteY0"/>
                    </a:cxn>
                    <a:cxn ang="0">
                      <a:pos x="connsiteX1" y="connsiteY1"/>
                    </a:cxn>
                    <a:cxn ang="0">
                      <a:pos x="connsiteX2" y="connsiteY2"/>
                    </a:cxn>
                    <a:cxn ang="0">
                      <a:pos x="connsiteX3" y="connsiteY3"/>
                    </a:cxn>
                  </a:cxnLst>
                  <a:rect l="l" t="t" r="r" b="b"/>
                  <a:pathLst>
                    <a:path w="7356" h="3468">
                      <a:moveTo>
                        <a:pt x="7356" y="3469"/>
                      </a:moveTo>
                      <a:lnTo>
                        <a:pt x="4665" y="2213"/>
                      </a:lnTo>
                      <a:lnTo>
                        <a:pt x="1974" y="95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93" name="Vrije vorm: vorm 5592">
                  <a:extLst>
                    <a:ext uri="{FF2B5EF4-FFF2-40B4-BE49-F238E27FC236}">
                      <a16:creationId xmlns:a16="http://schemas.microsoft.com/office/drawing/2014/main" id="{24C20307-D711-49B6-8AAA-799F438E10E5}"/>
                    </a:ext>
                  </a:extLst>
                </p:cNvPr>
                <p:cNvSpPr/>
                <p:nvPr/>
              </p:nvSpPr>
              <p:spPr>
                <a:xfrm>
                  <a:off x="6523133" y="1775118"/>
                  <a:ext cx="59" cy="10825"/>
                </a:xfrm>
                <a:custGeom>
                  <a:avLst/>
                  <a:gdLst>
                    <a:gd name="connsiteX0" fmla="*/ 60 w 59"/>
                    <a:gd name="connsiteY0" fmla="*/ 10825 h 10825"/>
                    <a:gd name="connsiteX1" fmla="*/ 60 w 59"/>
                    <a:gd name="connsiteY1" fmla="*/ 10347 h 10825"/>
                    <a:gd name="connsiteX2" fmla="*/ 60 w 59"/>
                    <a:gd name="connsiteY2" fmla="*/ 9928 h 10825"/>
                    <a:gd name="connsiteX3" fmla="*/ 60 w 59"/>
                    <a:gd name="connsiteY3" fmla="*/ 8792 h 10825"/>
                    <a:gd name="connsiteX4" fmla="*/ 60 w 59"/>
                    <a:gd name="connsiteY4" fmla="*/ 8612 h 10825"/>
                    <a:gd name="connsiteX5" fmla="*/ 60 w 59"/>
                    <a:gd name="connsiteY5" fmla="*/ 6519 h 10825"/>
                    <a:gd name="connsiteX6" fmla="*/ 60 w 59"/>
                    <a:gd name="connsiteY6" fmla="*/ 6160 h 10825"/>
                    <a:gd name="connsiteX7" fmla="*/ 60 w 59"/>
                    <a:gd name="connsiteY7" fmla="*/ 5801 h 10825"/>
                    <a:gd name="connsiteX8" fmla="*/ 60 w 59"/>
                    <a:gd name="connsiteY8" fmla="*/ 5622 h 10825"/>
                    <a:gd name="connsiteX9" fmla="*/ 60 w 59"/>
                    <a:gd name="connsiteY9" fmla="*/ 5143 h 10825"/>
                    <a:gd name="connsiteX10" fmla="*/ 60 w 59"/>
                    <a:gd name="connsiteY10" fmla="*/ 5143 h 10825"/>
                    <a:gd name="connsiteX11" fmla="*/ 60 w 59"/>
                    <a:gd name="connsiteY11" fmla="*/ 1974 h 10825"/>
                    <a:gd name="connsiteX12" fmla="*/ 60 w 59"/>
                    <a:gd name="connsiteY12" fmla="*/ 897 h 10825"/>
                    <a:gd name="connsiteX13" fmla="*/ 60 w 59"/>
                    <a:gd name="connsiteY13" fmla="*/ 658 h 10825"/>
                    <a:gd name="connsiteX14" fmla="*/ 0 w 59"/>
                    <a:gd name="connsiteY14" fmla="*/ 0 h 1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 h="10825">
                      <a:moveTo>
                        <a:pt x="60" y="10825"/>
                      </a:moveTo>
                      <a:lnTo>
                        <a:pt x="60" y="10347"/>
                      </a:lnTo>
                      <a:lnTo>
                        <a:pt x="60" y="9928"/>
                      </a:lnTo>
                      <a:lnTo>
                        <a:pt x="60" y="8792"/>
                      </a:lnTo>
                      <a:lnTo>
                        <a:pt x="60" y="8612"/>
                      </a:lnTo>
                      <a:lnTo>
                        <a:pt x="60" y="6519"/>
                      </a:lnTo>
                      <a:lnTo>
                        <a:pt x="60" y="6160"/>
                      </a:lnTo>
                      <a:lnTo>
                        <a:pt x="60" y="5801"/>
                      </a:lnTo>
                      <a:lnTo>
                        <a:pt x="60" y="5622"/>
                      </a:lnTo>
                      <a:lnTo>
                        <a:pt x="60" y="5143"/>
                      </a:lnTo>
                      <a:lnTo>
                        <a:pt x="60" y="5143"/>
                      </a:lnTo>
                      <a:lnTo>
                        <a:pt x="60" y="1974"/>
                      </a:lnTo>
                      <a:lnTo>
                        <a:pt x="60" y="897"/>
                      </a:lnTo>
                      <a:lnTo>
                        <a:pt x="60" y="65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594" name="Vrije vorm: vorm 5593">
                  <a:extLst>
                    <a:ext uri="{FF2B5EF4-FFF2-40B4-BE49-F238E27FC236}">
                      <a16:creationId xmlns:a16="http://schemas.microsoft.com/office/drawing/2014/main" id="{591526DB-3EED-44DB-9308-B97AC63CA3D4}"/>
                    </a:ext>
                  </a:extLst>
                </p:cNvPr>
                <p:cNvSpPr/>
                <p:nvPr/>
              </p:nvSpPr>
              <p:spPr>
                <a:xfrm>
                  <a:off x="6513504" y="1779245"/>
                  <a:ext cx="9688" cy="6698"/>
                </a:xfrm>
                <a:custGeom>
                  <a:avLst/>
                  <a:gdLst>
                    <a:gd name="connsiteX0" fmla="*/ 9689 w 9688"/>
                    <a:gd name="connsiteY0" fmla="*/ 6698 h 6698"/>
                    <a:gd name="connsiteX1" fmla="*/ 7356 w 9688"/>
                    <a:gd name="connsiteY1" fmla="*/ 4844 h 6698"/>
                    <a:gd name="connsiteX2" fmla="*/ 5024 w 9688"/>
                    <a:gd name="connsiteY2" fmla="*/ 2990 h 6698"/>
                    <a:gd name="connsiteX3" fmla="*/ 4366 w 9688"/>
                    <a:gd name="connsiteY3" fmla="*/ 2512 h 6698"/>
                    <a:gd name="connsiteX4" fmla="*/ 2033 w 9688"/>
                    <a:gd name="connsiteY4" fmla="*/ 658 h 6698"/>
                    <a:gd name="connsiteX5" fmla="*/ 1196 w 9688"/>
                    <a:gd name="connsiteY5" fmla="*/ 0 h 6698"/>
                    <a:gd name="connsiteX6" fmla="*/ 0 w 9688"/>
                    <a:gd name="connsiteY6" fmla="*/ 419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8" h="6698">
                      <a:moveTo>
                        <a:pt x="9689" y="6698"/>
                      </a:moveTo>
                      <a:lnTo>
                        <a:pt x="7356" y="4844"/>
                      </a:lnTo>
                      <a:lnTo>
                        <a:pt x="5024" y="2990"/>
                      </a:lnTo>
                      <a:lnTo>
                        <a:pt x="4366" y="2512"/>
                      </a:lnTo>
                      <a:lnTo>
                        <a:pt x="2033" y="658"/>
                      </a:lnTo>
                      <a:lnTo>
                        <a:pt x="1196" y="0"/>
                      </a:lnTo>
                      <a:lnTo>
                        <a:pt x="0" y="419"/>
                      </a:lnTo>
                    </a:path>
                  </a:pathLst>
                </a:custGeom>
                <a:noFill/>
                <a:ln w="6350" cap="rnd">
                  <a:solidFill>
                    <a:schemeClr val="bg1">
                      <a:alpha val="40000"/>
                    </a:schemeClr>
                  </a:solidFill>
                  <a:prstDash val="solid"/>
                  <a:round/>
                </a:ln>
              </p:spPr>
              <p:txBody>
                <a:bodyPr rtlCol="0" anchor="ctr"/>
                <a:lstStyle/>
                <a:p>
                  <a:endParaRPr lang="en-GB"/>
                </a:p>
              </p:txBody>
            </p:sp>
            <p:sp>
              <p:nvSpPr>
                <p:cNvPr id="5595" name="Vrije vorm: vorm 5594">
                  <a:extLst>
                    <a:ext uri="{FF2B5EF4-FFF2-40B4-BE49-F238E27FC236}">
                      <a16:creationId xmlns:a16="http://schemas.microsoft.com/office/drawing/2014/main" id="{E0EC7DE6-0FE9-4A5E-9094-94D454B1C3B5}"/>
                    </a:ext>
                  </a:extLst>
                </p:cNvPr>
                <p:cNvSpPr/>
                <p:nvPr/>
              </p:nvSpPr>
              <p:spPr>
                <a:xfrm>
                  <a:off x="6514700" y="1778707"/>
                  <a:ext cx="5562" cy="1315"/>
                </a:xfrm>
                <a:custGeom>
                  <a:avLst/>
                  <a:gdLst>
                    <a:gd name="connsiteX0" fmla="*/ 0 w 5562"/>
                    <a:gd name="connsiteY0" fmla="*/ 598 h 1315"/>
                    <a:gd name="connsiteX1" fmla="*/ 1555 w 5562"/>
                    <a:gd name="connsiteY1" fmla="*/ 1316 h 1315"/>
                    <a:gd name="connsiteX2" fmla="*/ 3708 w 5562"/>
                    <a:gd name="connsiteY2" fmla="*/ 598 h 1315"/>
                    <a:gd name="connsiteX3" fmla="*/ 5562 w 5562"/>
                    <a:gd name="connsiteY3" fmla="*/ 0 h 1315"/>
                  </a:gdLst>
                  <a:ahLst/>
                  <a:cxnLst>
                    <a:cxn ang="0">
                      <a:pos x="connsiteX0" y="connsiteY0"/>
                    </a:cxn>
                    <a:cxn ang="0">
                      <a:pos x="connsiteX1" y="connsiteY1"/>
                    </a:cxn>
                    <a:cxn ang="0">
                      <a:pos x="connsiteX2" y="connsiteY2"/>
                    </a:cxn>
                    <a:cxn ang="0">
                      <a:pos x="connsiteX3" y="connsiteY3"/>
                    </a:cxn>
                  </a:cxnLst>
                  <a:rect l="l" t="t" r="r" b="b"/>
                  <a:pathLst>
                    <a:path w="5562" h="1315">
                      <a:moveTo>
                        <a:pt x="0" y="598"/>
                      </a:moveTo>
                      <a:lnTo>
                        <a:pt x="1555" y="1316"/>
                      </a:lnTo>
                      <a:lnTo>
                        <a:pt x="3708" y="598"/>
                      </a:lnTo>
                      <a:lnTo>
                        <a:pt x="5562" y="0"/>
                      </a:lnTo>
                    </a:path>
                  </a:pathLst>
                </a:custGeom>
                <a:noFill/>
                <a:ln w="6350" cap="rnd">
                  <a:solidFill>
                    <a:schemeClr val="bg1">
                      <a:alpha val="40000"/>
                    </a:schemeClr>
                  </a:solidFill>
                  <a:prstDash val="solid"/>
                  <a:round/>
                </a:ln>
              </p:spPr>
              <p:txBody>
                <a:bodyPr rtlCol="0" anchor="ctr"/>
                <a:lstStyle/>
                <a:p>
                  <a:endParaRPr lang="en-GB"/>
                </a:p>
              </p:txBody>
            </p:sp>
            <p:sp>
              <p:nvSpPr>
                <p:cNvPr id="5596" name="Vrije vorm: vorm 5595">
                  <a:extLst>
                    <a:ext uri="{FF2B5EF4-FFF2-40B4-BE49-F238E27FC236}">
                      <a16:creationId xmlns:a16="http://schemas.microsoft.com/office/drawing/2014/main" id="{0035F03A-D1AE-4369-BF02-48D97FA626B6}"/>
                    </a:ext>
                  </a:extLst>
                </p:cNvPr>
                <p:cNvSpPr/>
                <p:nvPr/>
              </p:nvSpPr>
              <p:spPr>
                <a:xfrm>
                  <a:off x="6516255" y="1780022"/>
                  <a:ext cx="6937" cy="5502"/>
                </a:xfrm>
                <a:custGeom>
                  <a:avLst/>
                  <a:gdLst>
                    <a:gd name="connsiteX0" fmla="*/ 0 w 6937"/>
                    <a:gd name="connsiteY0" fmla="*/ 0 h 5502"/>
                    <a:gd name="connsiteX1" fmla="*/ 2332 w 6937"/>
                    <a:gd name="connsiteY1" fmla="*/ 1854 h 5502"/>
                    <a:gd name="connsiteX2" fmla="*/ 2632 w 6937"/>
                    <a:gd name="connsiteY2" fmla="*/ 2093 h 5502"/>
                    <a:gd name="connsiteX3" fmla="*/ 3170 w 6937"/>
                    <a:gd name="connsiteY3" fmla="*/ 2512 h 5502"/>
                    <a:gd name="connsiteX4" fmla="*/ 5502 w 6937"/>
                    <a:gd name="connsiteY4" fmla="*/ 4366 h 5502"/>
                    <a:gd name="connsiteX5" fmla="*/ 6937 w 6937"/>
                    <a:gd name="connsiteY5" fmla="*/ 5502 h 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7" h="5502">
                      <a:moveTo>
                        <a:pt x="0" y="0"/>
                      </a:moveTo>
                      <a:lnTo>
                        <a:pt x="2332" y="1854"/>
                      </a:lnTo>
                      <a:lnTo>
                        <a:pt x="2632" y="2093"/>
                      </a:lnTo>
                      <a:lnTo>
                        <a:pt x="3170" y="2512"/>
                      </a:lnTo>
                      <a:lnTo>
                        <a:pt x="5502" y="4366"/>
                      </a:lnTo>
                      <a:lnTo>
                        <a:pt x="6937" y="5502"/>
                      </a:lnTo>
                    </a:path>
                  </a:pathLst>
                </a:custGeom>
                <a:noFill/>
                <a:ln w="6350" cap="rnd">
                  <a:solidFill>
                    <a:schemeClr val="bg1">
                      <a:alpha val="40000"/>
                    </a:schemeClr>
                  </a:solidFill>
                  <a:prstDash val="solid"/>
                  <a:round/>
                </a:ln>
              </p:spPr>
              <p:txBody>
                <a:bodyPr rtlCol="0" anchor="ctr"/>
                <a:lstStyle/>
                <a:p>
                  <a:endParaRPr lang="en-GB"/>
                </a:p>
              </p:txBody>
            </p:sp>
            <p:sp>
              <p:nvSpPr>
                <p:cNvPr id="5597" name="Vrije vorm: vorm 5596">
                  <a:extLst>
                    <a:ext uri="{FF2B5EF4-FFF2-40B4-BE49-F238E27FC236}">
                      <a16:creationId xmlns:a16="http://schemas.microsoft.com/office/drawing/2014/main" id="{4F2BA7D1-81CB-4E79-818D-8C51A8EA6534}"/>
                    </a:ext>
                  </a:extLst>
                </p:cNvPr>
                <p:cNvSpPr/>
                <p:nvPr/>
              </p:nvSpPr>
              <p:spPr>
                <a:xfrm>
                  <a:off x="6526662" y="1780800"/>
                  <a:ext cx="3229" cy="6100"/>
                </a:xfrm>
                <a:custGeom>
                  <a:avLst/>
                  <a:gdLst>
                    <a:gd name="connsiteX0" fmla="*/ 3229 w 3229"/>
                    <a:gd name="connsiteY0" fmla="*/ 6040 h 6100"/>
                    <a:gd name="connsiteX1" fmla="*/ 2751 w 3229"/>
                    <a:gd name="connsiteY1" fmla="*/ 6100 h 6100"/>
                    <a:gd name="connsiteX2" fmla="*/ 2691 w 3229"/>
                    <a:gd name="connsiteY2" fmla="*/ 6100 h 6100"/>
                    <a:gd name="connsiteX3" fmla="*/ 2153 w 3229"/>
                    <a:gd name="connsiteY3" fmla="*/ 5921 h 6100"/>
                    <a:gd name="connsiteX4" fmla="*/ 1615 w 3229"/>
                    <a:gd name="connsiteY4" fmla="*/ 5562 h 6100"/>
                    <a:gd name="connsiteX5" fmla="*/ 1076 w 3229"/>
                    <a:gd name="connsiteY5" fmla="*/ 5024 h 6100"/>
                    <a:gd name="connsiteX6" fmla="*/ 658 w 3229"/>
                    <a:gd name="connsiteY6" fmla="*/ 4366 h 6100"/>
                    <a:gd name="connsiteX7" fmla="*/ 299 w 3229"/>
                    <a:gd name="connsiteY7" fmla="*/ 3588 h 6100"/>
                    <a:gd name="connsiteX8" fmla="*/ 60 w 3229"/>
                    <a:gd name="connsiteY8" fmla="*/ 2751 h 6100"/>
                    <a:gd name="connsiteX9" fmla="*/ 0 w 3229"/>
                    <a:gd name="connsiteY9" fmla="*/ 1974 h 6100"/>
                    <a:gd name="connsiteX10" fmla="*/ 60 w 3229"/>
                    <a:gd name="connsiteY10" fmla="*/ 1256 h 6100"/>
                    <a:gd name="connsiteX11" fmla="*/ 239 w 3229"/>
                    <a:gd name="connsiteY11" fmla="*/ 658 h 6100"/>
                    <a:gd name="connsiteX12" fmla="*/ 419 w 3229"/>
                    <a:gd name="connsiteY12" fmla="*/ 478 h 6100"/>
                    <a:gd name="connsiteX13" fmla="*/ 598 w 3229"/>
                    <a:gd name="connsiteY13" fmla="*/ 239 h 6100"/>
                    <a:gd name="connsiteX14" fmla="*/ 1017 w 3229"/>
                    <a:gd name="connsiteY14" fmla="*/ 0 h 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29" h="6100">
                      <a:moveTo>
                        <a:pt x="3229" y="6040"/>
                      </a:moveTo>
                      <a:lnTo>
                        <a:pt x="2751" y="6100"/>
                      </a:lnTo>
                      <a:lnTo>
                        <a:pt x="2691" y="6100"/>
                      </a:lnTo>
                      <a:lnTo>
                        <a:pt x="2153" y="5921"/>
                      </a:lnTo>
                      <a:lnTo>
                        <a:pt x="1615" y="5562"/>
                      </a:lnTo>
                      <a:lnTo>
                        <a:pt x="1076" y="5024"/>
                      </a:lnTo>
                      <a:lnTo>
                        <a:pt x="658" y="4366"/>
                      </a:lnTo>
                      <a:lnTo>
                        <a:pt x="299" y="3588"/>
                      </a:lnTo>
                      <a:lnTo>
                        <a:pt x="60" y="2751"/>
                      </a:lnTo>
                      <a:lnTo>
                        <a:pt x="0" y="1974"/>
                      </a:lnTo>
                      <a:lnTo>
                        <a:pt x="60" y="1256"/>
                      </a:lnTo>
                      <a:lnTo>
                        <a:pt x="239" y="658"/>
                      </a:lnTo>
                      <a:lnTo>
                        <a:pt x="419" y="478"/>
                      </a:lnTo>
                      <a:lnTo>
                        <a:pt x="598" y="239"/>
                      </a:lnTo>
                      <a:lnTo>
                        <a:pt x="1017" y="0"/>
                      </a:lnTo>
                    </a:path>
                  </a:pathLst>
                </a:custGeom>
                <a:noFill/>
                <a:ln w="6350" cap="rnd">
                  <a:solidFill>
                    <a:schemeClr val="bg1">
                      <a:alpha val="40000"/>
                    </a:schemeClr>
                  </a:solidFill>
                  <a:prstDash val="solid"/>
                  <a:round/>
                </a:ln>
              </p:spPr>
              <p:txBody>
                <a:bodyPr rtlCol="0" anchor="ctr"/>
                <a:lstStyle/>
                <a:p>
                  <a:endParaRPr lang="en-GB"/>
                </a:p>
              </p:txBody>
            </p:sp>
            <p:sp>
              <p:nvSpPr>
                <p:cNvPr id="5598" name="Vrije vorm: vorm 5597">
                  <a:extLst>
                    <a:ext uri="{FF2B5EF4-FFF2-40B4-BE49-F238E27FC236}">
                      <a16:creationId xmlns:a16="http://schemas.microsoft.com/office/drawing/2014/main" id="{B4901279-93A4-4D14-87BE-3FADB331F5A1}"/>
                    </a:ext>
                  </a:extLst>
                </p:cNvPr>
                <p:cNvSpPr/>
                <p:nvPr/>
              </p:nvSpPr>
              <p:spPr>
                <a:xfrm>
                  <a:off x="6529054" y="1792642"/>
                  <a:ext cx="3947" cy="4425"/>
                </a:xfrm>
                <a:custGeom>
                  <a:avLst/>
                  <a:gdLst>
                    <a:gd name="connsiteX0" fmla="*/ 2213 w 3947"/>
                    <a:gd name="connsiteY0" fmla="*/ 0 h 4425"/>
                    <a:gd name="connsiteX1" fmla="*/ 2632 w 3947"/>
                    <a:gd name="connsiteY1" fmla="*/ 1077 h 4425"/>
                    <a:gd name="connsiteX2" fmla="*/ 3708 w 3947"/>
                    <a:gd name="connsiteY2" fmla="*/ 3768 h 4425"/>
                    <a:gd name="connsiteX3" fmla="*/ 3947 w 3947"/>
                    <a:gd name="connsiteY3" fmla="*/ 4426 h 4425"/>
                    <a:gd name="connsiteX4" fmla="*/ 2691 w 3947"/>
                    <a:gd name="connsiteY4" fmla="*/ 3828 h 4425"/>
                    <a:gd name="connsiteX5" fmla="*/ 0 w 3947"/>
                    <a:gd name="connsiteY5" fmla="*/ 2572 h 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47" h="4425">
                      <a:moveTo>
                        <a:pt x="2213" y="0"/>
                      </a:moveTo>
                      <a:lnTo>
                        <a:pt x="2632" y="1077"/>
                      </a:lnTo>
                      <a:lnTo>
                        <a:pt x="3708" y="3768"/>
                      </a:lnTo>
                      <a:lnTo>
                        <a:pt x="3947" y="4426"/>
                      </a:lnTo>
                      <a:lnTo>
                        <a:pt x="2691" y="3828"/>
                      </a:lnTo>
                      <a:lnTo>
                        <a:pt x="0" y="2572"/>
                      </a:lnTo>
                    </a:path>
                  </a:pathLst>
                </a:custGeom>
                <a:noFill/>
                <a:ln w="6350" cap="rnd">
                  <a:solidFill>
                    <a:schemeClr val="bg1">
                      <a:alpha val="40000"/>
                    </a:schemeClr>
                  </a:solidFill>
                  <a:prstDash val="solid"/>
                  <a:round/>
                </a:ln>
              </p:spPr>
              <p:txBody>
                <a:bodyPr rtlCol="0" anchor="ctr"/>
                <a:lstStyle/>
                <a:p>
                  <a:endParaRPr lang="en-GB"/>
                </a:p>
              </p:txBody>
            </p:sp>
            <p:sp>
              <p:nvSpPr>
                <p:cNvPr id="5599" name="Vrije vorm: vorm 5598">
                  <a:extLst>
                    <a:ext uri="{FF2B5EF4-FFF2-40B4-BE49-F238E27FC236}">
                      <a16:creationId xmlns:a16="http://schemas.microsoft.com/office/drawing/2014/main" id="{CCC47257-CD2E-4E60-894C-7A3ACA027DDE}"/>
                    </a:ext>
                  </a:extLst>
                </p:cNvPr>
                <p:cNvSpPr/>
                <p:nvPr/>
              </p:nvSpPr>
              <p:spPr>
                <a:xfrm>
                  <a:off x="6476304" y="1756518"/>
                  <a:ext cx="64412" cy="40549"/>
                </a:xfrm>
                <a:custGeom>
                  <a:avLst/>
                  <a:gdLst>
                    <a:gd name="connsiteX0" fmla="*/ 64412 w 64412"/>
                    <a:gd name="connsiteY0" fmla="*/ 24820 h 40549"/>
                    <a:gd name="connsiteX1" fmla="*/ 64293 w 64412"/>
                    <a:gd name="connsiteY1" fmla="*/ 24999 h 40549"/>
                    <a:gd name="connsiteX2" fmla="*/ 62499 w 64412"/>
                    <a:gd name="connsiteY2" fmla="*/ 27152 h 40549"/>
                    <a:gd name="connsiteX3" fmla="*/ 60704 w 64412"/>
                    <a:gd name="connsiteY3" fmla="*/ 29305 h 40549"/>
                    <a:gd name="connsiteX4" fmla="*/ 58910 w 64412"/>
                    <a:gd name="connsiteY4" fmla="*/ 31459 h 40549"/>
                    <a:gd name="connsiteX5" fmla="*/ 57116 w 64412"/>
                    <a:gd name="connsiteY5" fmla="*/ 33612 h 40549"/>
                    <a:gd name="connsiteX6" fmla="*/ 56638 w 64412"/>
                    <a:gd name="connsiteY6" fmla="*/ 34150 h 40549"/>
                    <a:gd name="connsiteX7" fmla="*/ 56458 w 64412"/>
                    <a:gd name="connsiteY7" fmla="*/ 34389 h 40549"/>
                    <a:gd name="connsiteX8" fmla="*/ 55083 w 64412"/>
                    <a:gd name="connsiteY8" fmla="*/ 36064 h 40549"/>
                    <a:gd name="connsiteX9" fmla="*/ 54545 w 64412"/>
                    <a:gd name="connsiteY9" fmla="*/ 36722 h 40549"/>
                    <a:gd name="connsiteX10" fmla="*/ 53946 w 64412"/>
                    <a:gd name="connsiteY10" fmla="*/ 37439 h 40549"/>
                    <a:gd name="connsiteX11" fmla="*/ 53886 w 64412"/>
                    <a:gd name="connsiteY11" fmla="*/ 37499 h 40549"/>
                    <a:gd name="connsiteX12" fmla="*/ 53348 w 64412"/>
                    <a:gd name="connsiteY12" fmla="*/ 38097 h 40549"/>
                    <a:gd name="connsiteX13" fmla="*/ 52870 w 64412"/>
                    <a:gd name="connsiteY13" fmla="*/ 38695 h 40549"/>
                    <a:gd name="connsiteX14" fmla="*/ 52092 w 64412"/>
                    <a:gd name="connsiteY14" fmla="*/ 39652 h 40549"/>
                    <a:gd name="connsiteX15" fmla="*/ 51434 w 64412"/>
                    <a:gd name="connsiteY15" fmla="*/ 40430 h 40549"/>
                    <a:gd name="connsiteX16" fmla="*/ 51315 w 64412"/>
                    <a:gd name="connsiteY16" fmla="*/ 40549 h 40549"/>
                    <a:gd name="connsiteX17" fmla="*/ 49461 w 64412"/>
                    <a:gd name="connsiteY17" fmla="*/ 39712 h 40549"/>
                    <a:gd name="connsiteX18" fmla="*/ 46769 w 64412"/>
                    <a:gd name="connsiteY18" fmla="*/ 38456 h 40549"/>
                    <a:gd name="connsiteX19" fmla="*/ 44078 w 64412"/>
                    <a:gd name="connsiteY19" fmla="*/ 37200 h 40549"/>
                    <a:gd name="connsiteX20" fmla="*/ 41387 w 64412"/>
                    <a:gd name="connsiteY20" fmla="*/ 35944 h 40549"/>
                    <a:gd name="connsiteX21" fmla="*/ 40848 w 64412"/>
                    <a:gd name="connsiteY21" fmla="*/ 35705 h 40549"/>
                    <a:gd name="connsiteX22" fmla="*/ 40669 w 64412"/>
                    <a:gd name="connsiteY22" fmla="*/ 35645 h 40549"/>
                    <a:gd name="connsiteX23" fmla="*/ 39054 w 64412"/>
                    <a:gd name="connsiteY23" fmla="*/ 34927 h 40549"/>
                    <a:gd name="connsiteX24" fmla="*/ 36363 w 64412"/>
                    <a:gd name="connsiteY24" fmla="*/ 33671 h 40549"/>
                    <a:gd name="connsiteX25" fmla="*/ 33671 w 64412"/>
                    <a:gd name="connsiteY25" fmla="*/ 32415 h 40549"/>
                    <a:gd name="connsiteX26" fmla="*/ 30980 w 64412"/>
                    <a:gd name="connsiteY26" fmla="*/ 31160 h 40549"/>
                    <a:gd name="connsiteX27" fmla="*/ 28289 w 64412"/>
                    <a:gd name="connsiteY27" fmla="*/ 29904 h 40549"/>
                    <a:gd name="connsiteX28" fmla="*/ 27392 w 64412"/>
                    <a:gd name="connsiteY28" fmla="*/ 29485 h 40549"/>
                    <a:gd name="connsiteX29" fmla="*/ 25119 w 64412"/>
                    <a:gd name="connsiteY29" fmla="*/ 27571 h 40549"/>
                    <a:gd name="connsiteX30" fmla="*/ 22846 w 64412"/>
                    <a:gd name="connsiteY30" fmla="*/ 25657 h 40549"/>
                    <a:gd name="connsiteX31" fmla="*/ 20574 w 64412"/>
                    <a:gd name="connsiteY31" fmla="*/ 23743 h 40549"/>
                    <a:gd name="connsiteX32" fmla="*/ 18301 w 64412"/>
                    <a:gd name="connsiteY32" fmla="*/ 21830 h 40549"/>
                    <a:gd name="connsiteX33" fmla="*/ 16029 w 64412"/>
                    <a:gd name="connsiteY33" fmla="*/ 19916 h 40549"/>
                    <a:gd name="connsiteX34" fmla="*/ 13756 w 64412"/>
                    <a:gd name="connsiteY34" fmla="*/ 18002 h 40549"/>
                    <a:gd name="connsiteX35" fmla="*/ 11483 w 64412"/>
                    <a:gd name="connsiteY35" fmla="*/ 16088 h 40549"/>
                    <a:gd name="connsiteX36" fmla="*/ 9211 w 64412"/>
                    <a:gd name="connsiteY36" fmla="*/ 14174 h 40549"/>
                    <a:gd name="connsiteX37" fmla="*/ 6938 w 64412"/>
                    <a:gd name="connsiteY37" fmla="*/ 12260 h 40549"/>
                    <a:gd name="connsiteX38" fmla="*/ 4904 w 64412"/>
                    <a:gd name="connsiteY38" fmla="*/ 10586 h 40549"/>
                    <a:gd name="connsiteX39" fmla="*/ 2632 w 64412"/>
                    <a:gd name="connsiteY39" fmla="*/ 8672 h 40549"/>
                    <a:gd name="connsiteX40" fmla="*/ 538 w 64412"/>
                    <a:gd name="connsiteY40" fmla="*/ 6938 h 40549"/>
                    <a:gd name="connsiteX41" fmla="*/ 0 w 64412"/>
                    <a:gd name="connsiteY41" fmla="*/ 6519 h 40549"/>
                    <a:gd name="connsiteX42" fmla="*/ 1436 w 64412"/>
                    <a:gd name="connsiteY42" fmla="*/ 4067 h 40549"/>
                    <a:gd name="connsiteX43" fmla="*/ 1615 w 64412"/>
                    <a:gd name="connsiteY43" fmla="*/ 3768 h 40549"/>
                    <a:gd name="connsiteX44" fmla="*/ 1914 w 64412"/>
                    <a:gd name="connsiteY44" fmla="*/ 3230 h 40549"/>
                    <a:gd name="connsiteX45" fmla="*/ 2392 w 64412"/>
                    <a:gd name="connsiteY45" fmla="*/ 2392 h 40549"/>
                    <a:gd name="connsiteX46" fmla="*/ 2512 w 64412"/>
                    <a:gd name="connsiteY46" fmla="*/ 2213 h 40549"/>
                    <a:gd name="connsiteX47" fmla="*/ 2931 w 64412"/>
                    <a:gd name="connsiteY47" fmla="*/ 1495 h 40549"/>
                    <a:gd name="connsiteX48" fmla="*/ 2931 w 64412"/>
                    <a:gd name="connsiteY48" fmla="*/ 1495 h 40549"/>
                    <a:gd name="connsiteX49" fmla="*/ 3828 w 64412"/>
                    <a:gd name="connsiteY49" fmla="*/ 0 h 40549"/>
                    <a:gd name="connsiteX50" fmla="*/ 3947 w 64412"/>
                    <a:gd name="connsiteY50" fmla="*/ 0 h 40549"/>
                    <a:gd name="connsiteX51" fmla="*/ 4785 w 64412"/>
                    <a:gd name="connsiteY51" fmla="*/ 120 h 40549"/>
                    <a:gd name="connsiteX52" fmla="*/ 7715 w 64412"/>
                    <a:gd name="connsiteY52" fmla="*/ 478 h 40549"/>
                    <a:gd name="connsiteX53" fmla="*/ 10466 w 64412"/>
                    <a:gd name="connsiteY53" fmla="*/ 837 h 4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4412" h="40549">
                      <a:moveTo>
                        <a:pt x="64412" y="24820"/>
                      </a:moveTo>
                      <a:lnTo>
                        <a:pt x="64293" y="24999"/>
                      </a:lnTo>
                      <a:lnTo>
                        <a:pt x="62499" y="27152"/>
                      </a:lnTo>
                      <a:lnTo>
                        <a:pt x="60704" y="29305"/>
                      </a:lnTo>
                      <a:lnTo>
                        <a:pt x="58910" y="31459"/>
                      </a:lnTo>
                      <a:lnTo>
                        <a:pt x="57116" y="33612"/>
                      </a:lnTo>
                      <a:lnTo>
                        <a:pt x="56638" y="34150"/>
                      </a:lnTo>
                      <a:lnTo>
                        <a:pt x="56458" y="34389"/>
                      </a:lnTo>
                      <a:lnTo>
                        <a:pt x="55083" y="36064"/>
                      </a:lnTo>
                      <a:lnTo>
                        <a:pt x="54545" y="36722"/>
                      </a:lnTo>
                      <a:lnTo>
                        <a:pt x="53946" y="37439"/>
                      </a:lnTo>
                      <a:lnTo>
                        <a:pt x="53886" y="37499"/>
                      </a:lnTo>
                      <a:lnTo>
                        <a:pt x="53348" y="38097"/>
                      </a:lnTo>
                      <a:lnTo>
                        <a:pt x="52870" y="38695"/>
                      </a:lnTo>
                      <a:lnTo>
                        <a:pt x="52092" y="39652"/>
                      </a:lnTo>
                      <a:lnTo>
                        <a:pt x="51434" y="40430"/>
                      </a:lnTo>
                      <a:lnTo>
                        <a:pt x="51315" y="40549"/>
                      </a:lnTo>
                      <a:lnTo>
                        <a:pt x="49461" y="39712"/>
                      </a:lnTo>
                      <a:lnTo>
                        <a:pt x="46769" y="38456"/>
                      </a:lnTo>
                      <a:lnTo>
                        <a:pt x="44078" y="37200"/>
                      </a:lnTo>
                      <a:lnTo>
                        <a:pt x="41387" y="35944"/>
                      </a:lnTo>
                      <a:lnTo>
                        <a:pt x="40848" y="35705"/>
                      </a:lnTo>
                      <a:lnTo>
                        <a:pt x="40669" y="35645"/>
                      </a:lnTo>
                      <a:lnTo>
                        <a:pt x="39054" y="34927"/>
                      </a:lnTo>
                      <a:lnTo>
                        <a:pt x="36363" y="33671"/>
                      </a:lnTo>
                      <a:lnTo>
                        <a:pt x="33671" y="32415"/>
                      </a:lnTo>
                      <a:lnTo>
                        <a:pt x="30980" y="31160"/>
                      </a:lnTo>
                      <a:lnTo>
                        <a:pt x="28289" y="29904"/>
                      </a:lnTo>
                      <a:lnTo>
                        <a:pt x="27392" y="29485"/>
                      </a:lnTo>
                      <a:lnTo>
                        <a:pt x="25119" y="27571"/>
                      </a:lnTo>
                      <a:lnTo>
                        <a:pt x="22846" y="25657"/>
                      </a:lnTo>
                      <a:lnTo>
                        <a:pt x="20574" y="23743"/>
                      </a:lnTo>
                      <a:lnTo>
                        <a:pt x="18301" y="21830"/>
                      </a:lnTo>
                      <a:lnTo>
                        <a:pt x="16029" y="19916"/>
                      </a:lnTo>
                      <a:lnTo>
                        <a:pt x="13756" y="18002"/>
                      </a:lnTo>
                      <a:lnTo>
                        <a:pt x="11483" y="16088"/>
                      </a:lnTo>
                      <a:lnTo>
                        <a:pt x="9211" y="14174"/>
                      </a:lnTo>
                      <a:lnTo>
                        <a:pt x="6938" y="12260"/>
                      </a:lnTo>
                      <a:lnTo>
                        <a:pt x="4904" y="10586"/>
                      </a:lnTo>
                      <a:lnTo>
                        <a:pt x="2632" y="8672"/>
                      </a:lnTo>
                      <a:lnTo>
                        <a:pt x="538" y="6938"/>
                      </a:lnTo>
                      <a:lnTo>
                        <a:pt x="0" y="6519"/>
                      </a:lnTo>
                      <a:lnTo>
                        <a:pt x="1436" y="4067"/>
                      </a:lnTo>
                      <a:lnTo>
                        <a:pt x="1615" y="3768"/>
                      </a:lnTo>
                      <a:lnTo>
                        <a:pt x="1914" y="3230"/>
                      </a:lnTo>
                      <a:lnTo>
                        <a:pt x="2392" y="2392"/>
                      </a:lnTo>
                      <a:lnTo>
                        <a:pt x="2512" y="2213"/>
                      </a:lnTo>
                      <a:lnTo>
                        <a:pt x="2931" y="1495"/>
                      </a:lnTo>
                      <a:lnTo>
                        <a:pt x="2931" y="1495"/>
                      </a:lnTo>
                      <a:lnTo>
                        <a:pt x="3828" y="0"/>
                      </a:lnTo>
                      <a:lnTo>
                        <a:pt x="3947" y="0"/>
                      </a:lnTo>
                      <a:lnTo>
                        <a:pt x="4785" y="120"/>
                      </a:lnTo>
                      <a:lnTo>
                        <a:pt x="7715" y="478"/>
                      </a:lnTo>
                      <a:lnTo>
                        <a:pt x="10466" y="837"/>
                      </a:lnTo>
                    </a:path>
                  </a:pathLst>
                </a:custGeom>
                <a:noFill/>
                <a:ln w="6350" cap="rnd">
                  <a:solidFill>
                    <a:schemeClr val="bg1">
                      <a:alpha val="40000"/>
                    </a:schemeClr>
                  </a:solidFill>
                  <a:prstDash val="solid"/>
                  <a:round/>
                </a:ln>
              </p:spPr>
              <p:txBody>
                <a:bodyPr rtlCol="0" anchor="ctr"/>
                <a:lstStyle/>
                <a:p>
                  <a:endParaRPr lang="en-GB"/>
                </a:p>
              </p:txBody>
            </p:sp>
            <p:sp>
              <p:nvSpPr>
                <p:cNvPr id="5600" name="Vrije vorm: vorm 5599">
                  <a:extLst>
                    <a:ext uri="{FF2B5EF4-FFF2-40B4-BE49-F238E27FC236}">
                      <a16:creationId xmlns:a16="http://schemas.microsoft.com/office/drawing/2014/main" id="{30159390-0167-4D83-B318-93815E4F034D}"/>
                    </a:ext>
                  </a:extLst>
                </p:cNvPr>
                <p:cNvSpPr/>
                <p:nvPr/>
              </p:nvSpPr>
              <p:spPr>
                <a:xfrm>
                  <a:off x="6503576" y="1774580"/>
                  <a:ext cx="9509" cy="11542"/>
                </a:xfrm>
                <a:custGeom>
                  <a:avLst/>
                  <a:gdLst>
                    <a:gd name="connsiteX0" fmla="*/ 0 w 9509"/>
                    <a:gd name="connsiteY0" fmla="*/ 11543 h 11542"/>
                    <a:gd name="connsiteX1" fmla="*/ 1795 w 9509"/>
                    <a:gd name="connsiteY1" fmla="*/ 9390 h 11542"/>
                    <a:gd name="connsiteX2" fmla="*/ 2632 w 9509"/>
                    <a:gd name="connsiteY2" fmla="*/ 8313 h 11542"/>
                    <a:gd name="connsiteX3" fmla="*/ 4127 w 9509"/>
                    <a:gd name="connsiteY3" fmla="*/ 6519 h 11542"/>
                    <a:gd name="connsiteX4" fmla="*/ 4127 w 9509"/>
                    <a:gd name="connsiteY4" fmla="*/ 6519 h 11542"/>
                    <a:gd name="connsiteX5" fmla="*/ 5801 w 9509"/>
                    <a:gd name="connsiteY5" fmla="*/ 4486 h 11542"/>
                    <a:gd name="connsiteX6" fmla="*/ 7058 w 9509"/>
                    <a:gd name="connsiteY6" fmla="*/ 2990 h 11542"/>
                    <a:gd name="connsiteX7" fmla="*/ 7536 w 9509"/>
                    <a:gd name="connsiteY7" fmla="*/ 2392 h 11542"/>
                    <a:gd name="connsiteX8" fmla="*/ 7596 w 9509"/>
                    <a:gd name="connsiteY8" fmla="*/ 2332 h 11542"/>
                    <a:gd name="connsiteX9" fmla="*/ 7715 w 9509"/>
                    <a:gd name="connsiteY9" fmla="*/ 2213 h 11542"/>
                    <a:gd name="connsiteX10" fmla="*/ 8553 w 9509"/>
                    <a:gd name="connsiteY10" fmla="*/ 1196 h 11542"/>
                    <a:gd name="connsiteX11" fmla="*/ 9510 w 9509"/>
                    <a:gd name="connsiteY11" fmla="*/ 0 h 1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09" h="11542">
                      <a:moveTo>
                        <a:pt x="0" y="11543"/>
                      </a:moveTo>
                      <a:lnTo>
                        <a:pt x="1795" y="9390"/>
                      </a:lnTo>
                      <a:lnTo>
                        <a:pt x="2632" y="8313"/>
                      </a:lnTo>
                      <a:lnTo>
                        <a:pt x="4127" y="6519"/>
                      </a:lnTo>
                      <a:lnTo>
                        <a:pt x="4127" y="6519"/>
                      </a:lnTo>
                      <a:lnTo>
                        <a:pt x="5801" y="4486"/>
                      </a:lnTo>
                      <a:lnTo>
                        <a:pt x="7058" y="2990"/>
                      </a:lnTo>
                      <a:lnTo>
                        <a:pt x="7536" y="2392"/>
                      </a:lnTo>
                      <a:lnTo>
                        <a:pt x="7596" y="2332"/>
                      </a:lnTo>
                      <a:lnTo>
                        <a:pt x="7715" y="2213"/>
                      </a:lnTo>
                      <a:lnTo>
                        <a:pt x="8553" y="1196"/>
                      </a:lnTo>
                      <a:lnTo>
                        <a:pt x="9510" y="0"/>
                      </a:lnTo>
                    </a:path>
                  </a:pathLst>
                </a:custGeom>
                <a:noFill/>
                <a:ln w="6350" cap="rnd">
                  <a:solidFill>
                    <a:schemeClr val="bg1">
                      <a:alpha val="40000"/>
                    </a:schemeClr>
                  </a:solidFill>
                  <a:prstDash val="solid"/>
                  <a:round/>
                </a:ln>
              </p:spPr>
              <p:txBody>
                <a:bodyPr rtlCol="0" anchor="ctr"/>
                <a:lstStyle/>
                <a:p>
                  <a:endParaRPr lang="en-GB"/>
                </a:p>
              </p:txBody>
            </p:sp>
            <p:sp>
              <p:nvSpPr>
                <p:cNvPr id="5601" name="Vrije vorm: vorm 5600">
                  <a:extLst>
                    <a:ext uri="{FF2B5EF4-FFF2-40B4-BE49-F238E27FC236}">
                      <a16:creationId xmlns:a16="http://schemas.microsoft.com/office/drawing/2014/main" id="{22444CCE-BC2C-4760-89F7-AEF2542DA893}"/>
                    </a:ext>
                  </a:extLst>
                </p:cNvPr>
                <p:cNvSpPr/>
                <p:nvPr/>
              </p:nvSpPr>
              <p:spPr>
                <a:xfrm>
                  <a:off x="6508181" y="1769975"/>
                  <a:ext cx="8731" cy="4724"/>
                </a:xfrm>
                <a:custGeom>
                  <a:avLst/>
                  <a:gdLst>
                    <a:gd name="connsiteX0" fmla="*/ 4785 w 8731"/>
                    <a:gd name="connsiteY0" fmla="*/ 4725 h 4724"/>
                    <a:gd name="connsiteX1" fmla="*/ 4785 w 8731"/>
                    <a:gd name="connsiteY1" fmla="*/ 4725 h 4724"/>
                    <a:gd name="connsiteX2" fmla="*/ 6519 w 8731"/>
                    <a:gd name="connsiteY2" fmla="*/ 2572 h 4724"/>
                    <a:gd name="connsiteX3" fmla="*/ 6519 w 8731"/>
                    <a:gd name="connsiteY3" fmla="*/ 2572 h 4724"/>
                    <a:gd name="connsiteX4" fmla="*/ 7237 w 8731"/>
                    <a:gd name="connsiteY4" fmla="*/ 1734 h 4724"/>
                    <a:gd name="connsiteX5" fmla="*/ 7476 w 8731"/>
                    <a:gd name="connsiteY5" fmla="*/ 1495 h 4724"/>
                    <a:gd name="connsiteX6" fmla="*/ 8732 w 8731"/>
                    <a:gd name="connsiteY6" fmla="*/ 0 h 4724"/>
                    <a:gd name="connsiteX7" fmla="*/ 6698 w 8731"/>
                    <a:gd name="connsiteY7" fmla="*/ 538 h 4724"/>
                    <a:gd name="connsiteX8" fmla="*/ 6579 w 8731"/>
                    <a:gd name="connsiteY8" fmla="*/ 538 h 4724"/>
                    <a:gd name="connsiteX9" fmla="*/ 6160 w 8731"/>
                    <a:gd name="connsiteY9" fmla="*/ 478 h 4724"/>
                    <a:gd name="connsiteX10" fmla="*/ 5622 w 8731"/>
                    <a:gd name="connsiteY10" fmla="*/ 419 h 4724"/>
                    <a:gd name="connsiteX11" fmla="*/ 5622 w 8731"/>
                    <a:gd name="connsiteY11" fmla="*/ 419 h 4724"/>
                    <a:gd name="connsiteX12" fmla="*/ 5143 w 8731"/>
                    <a:gd name="connsiteY12" fmla="*/ 359 h 4724"/>
                    <a:gd name="connsiteX13" fmla="*/ 3529 w 8731"/>
                    <a:gd name="connsiteY13" fmla="*/ 239 h 4724"/>
                    <a:gd name="connsiteX14" fmla="*/ 1435 w 8731"/>
                    <a:gd name="connsiteY14" fmla="*/ 60 h 4724"/>
                    <a:gd name="connsiteX15" fmla="*/ 359 w 8731"/>
                    <a:gd name="connsiteY15" fmla="*/ 0 h 4724"/>
                    <a:gd name="connsiteX16" fmla="*/ 0 w 8731"/>
                    <a:gd name="connsiteY16" fmla="*/ 0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31" h="4724">
                      <a:moveTo>
                        <a:pt x="4785" y="4725"/>
                      </a:moveTo>
                      <a:lnTo>
                        <a:pt x="4785" y="4725"/>
                      </a:lnTo>
                      <a:lnTo>
                        <a:pt x="6519" y="2572"/>
                      </a:lnTo>
                      <a:lnTo>
                        <a:pt x="6519" y="2572"/>
                      </a:lnTo>
                      <a:lnTo>
                        <a:pt x="7237" y="1734"/>
                      </a:lnTo>
                      <a:lnTo>
                        <a:pt x="7476" y="1495"/>
                      </a:lnTo>
                      <a:lnTo>
                        <a:pt x="8732" y="0"/>
                      </a:lnTo>
                      <a:lnTo>
                        <a:pt x="6698" y="538"/>
                      </a:lnTo>
                      <a:lnTo>
                        <a:pt x="6579" y="538"/>
                      </a:lnTo>
                      <a:lnTo>
                        <a:pt x="6160" y="478"/>
                      </a:lnTo>
                      <a:lnTo>
                        <a:pt x="5622" y="419"/>
                      </a:lnTo>
                      <a:lnTo>
                        <a:pt x="5622" y="419"/>
                      </a:lnTo>
                      <a:lnTo>
                        <a:pt x="5143" y="359"/>
                      </a:lnTo>
                      <a:lnTo>
                        <a:pt x="3529" y="239"/>
                      </a:lnTo>
                      <a:lnTo>
                        <a:pt x="1435" y="60"/>
                      </a:lnTo>
                      <a:lnTo>
                        <a:pt x="359" y="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02" name="Vrije vorm: vorm 5601">
                  <a:extLst>
                    <a:ext uri="{FF2B5EF4-FFF2-40B4-BE49-F238E27FC236}">
                      <a16:creationId xmlns:a16="http://schemas.microsoft.com/office/drawing/2014/main" id="{2A3C6CFE-F79E-4CD3-AD17-E409C66AAF23}"/>
                    </a:ext>
                  </a:extLst>
                </p:cNvPr>
                <p:cNvSpPr/>
                <p:nvPr/>
              </p:nvSpPr>
              <p:spPr>
                <a:xfrm>
                  <a:off x="6494127" y="1763037"/>
                  <a:ext cx="14114" cy="6877"/>
                </a:xfrm>
                <a:custGeom>
                  <a:avLst/>
                  <a:gdLst>
                    <a:gd name="connsiteX0" fmla="*/ 14114 w 14114"/>
                    <a:gd name="connsiteY0" fmla="*/ 6878 h 6877"/>
                    <a:gd name="connsiteX1" fmla="*/ 11423 w 14114"/>
                    <a:gd name="connsiteY1" fmla="*/ 5562 h 6877"/>
                    <a:gd name="connsiteX2" fmla="*/ 10705 w 14114"/>
                    <a:gd name="connsiteY2" fmla="*/ 5203 h 6877"/>
                    <a:gd name="connsiteX3" fmla="*/ 8014 w 14114"/>
                    <a:gd name="connsiteY3" fmla="*/ 3887 h 6877"/>
                    <a:gd name="connsiteX4" fmla="*/ 5323 w 14114"/>
                    <a:gd name="connsiteY4" fmla="*/ 2572 h 6877"/>
                    <a:gd name="connsiteX5" fmla="*/ 4964 w 14114"/>
                    <a:gd name="connsiteY5" fmla="*/ 2392 h 6877"/>
                    <a:gd name="connsiteX6" fmla="*/ 2273 w 14114"/>
                    <a:gd name="connsiteY6" fmla="*/ 1077 h 6877"/>
                    <a:gd name="connsiteX7" fmla="*/ 1017 w 14114"/>
                    <a:gd name="connsiteY7" fmla="*/ 478 h 6877"/>
                    <a:gd name="connsiteX8" fmla="*/ 0 w 14114"/>
                    <a:gd name="connsiteY8" fmla="*/ 0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14" h="6877">
                      <a:moveTo>
                        <a:pt x="14114" y="6878"/>
                      </a:moveTo>
                      <a:lnTo>
                        <a:pt x="11423" y="5562"/>
                      </a:lnTo>
                      <a:lnTo>
                        <a:pt x="10705" y="5203"/>
                      </a:lnTo>
                      <a:lnTo>
                        <a:pt x="8014" y="3887"/>
                      </a:lnTo>
                      <a:lnTo>
                        <a:pt x="5323" y="2572"/>
                      </a:lnTo>
                      <a:lnTo>
                        <a:pt x="4964" y="2392"/>
                      </a:lnTo>
                      <a:lnTo>
                        <a:pt x="2273" y="1077"/>
                      </a:lnTo>
                      <a:lnTo>
                        <a:pt x="1017" y="47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03" name="Vrije vorm: vorm 5602">
                  <a:extLst>
                    <a:ext uri="{FF2B5EF4-FFF2-40B4-BE49-F238E27FC236}">
                      <a16:creationId xmlns:a16="http://schemas.microsoft.com/office/drawing/2014/main" id="{58AE8347-BD18-4BCA-A0BE-F141C9E94686}"/>
                    </a:ext>
                  </a:extLst>
                </p:cNvPr>
                <p:cNvSpPr/>
                <p:nvPr/>
              </p:nvSpPr>
              <p:spPr>
                <a:xfrm>
                  <a:off x="6535633" y="1733552"/>
                  <a:ext cx="19257" cy="56158"/>
                </a:xfrm>
                <a:custGeom>
                  <a:avLst/>
                  <a:gdLst>
                    <a:gd name="connsiteX0" fmla="*/ 17942 w 19257"/>
                    <a:gd name="connsiteY0" fmla="*/ 0 h 56158"/>
                    <a:gd name="connsiteX1" fmla="*/ 18600 w 19257"/>
                    <a:gd name="connsiteY1" fmla="*/ 3050 h 56158"/>
                    <a:gd name="connsiteX2" fmla="*/ 19079 w 19257"/>
                    <a:gd name="connsiteY2" fmla="*/ 5203 h 56158"/>
                    <a:gd name="connsiteX3" fmla="*/ 19138 w 19257"/>
                    <a:gd name="connsiteY3" fmla="*/ 8373 h 56158"/>
                    <a:gd name="connsiteX4" fmla="*/ 19198 w 19257"/>
                    <a:gd name="connsiteY4" fmla="*/ 10586 h 56158"/>
                    <a:gd name="connsiteX5" fmla="*/ 19258 w 19257"/>
                    <a:gd name="connsiteY5" fmla="*/ 12559 h 56158"/>
                    <a:gd name="connsiteX6" fmla="*/ 18779 w 19257"/>
                    <a:gd name="connsiteY6" fmla="*/ 15729 h 56158"/>
                    <a:gd name="connsiteX7" fmla="*/ 18301 w 19257"/>
                    <a:gd name="connsiteY7" fmla="*/ 18899 h 56158"/>
                    <a:gd name="connsiteX8" fmla="*/ 18181 w 19257"/>
                    <a:gd name="connsiteY8" fmla="*/ 19497 h 56158"/>
                    <a:gd name="connsiteX9" fmla="*/ 18062 w 19257"/>
                    <a:gd name="connsiteY9" fmla="*/ 20334 h 56158"/>
                    <a:gd name="connsiteX10" fmla="*/ 18062 w 19257"/>
                    <a:gd name="connsiteY10" fmla="*/ 20394 h 56158"/>
                    <a:gd name="connsiteX11" fmla="*/ 17284 w 19257"/>
                    <a:gd name="connsiteY11" fmla="*/ 22966 h 56158"/>
                    <a:gd name="connsiteX12" fmla="*/ 16327 w 19257"/>
                    <a:gd name="connsiteY12" fmla="*/ 26076 h 56158"/>
                    <a:gd name="connsiteX13" fmla="*/ 15729 w 19257"/>
                    <a:gd name="connsiteY13" fmla="*/ 27990 h 56158"/>
                    <a:gd name="connsiteX14" fmla="*/ 15071 w 19257"/>
                    <a:gd name="connsiteY14" fmla="*/ 29305 h 56158"/>
                    <a:gd name="connsiteX15" fmla="*/ 14533 w 19257"/>
                    <a:gd name="connsiteY15" fmla="*/ 30322 h 56158"/>
                    <a:gd name="connsiteX16" fmla="*/ 13995 w 19257"/>
                    <a:gd name="connsiteY16" fmla="*/ 31399 h 56158"/>
                    <a:gd name="connsiteX17" fmla="*/ 13158 w 19257"/>
                    <a:gd name="connsiteY17" fmla="*/ 33073 h 56158"/>
                    <a:gd name="connsiteX18" fmla="*/ 12260 w 19257"/>
                    <a:gd name="connsiteY18" fmla="*/ 34868 h 56158"/>
                    <a:gd name="connsiteX19" fmla="*/ 10645 w 19257"/>
                    <a:gd name="connsiteY19" fmla="*/ 37678 h 56158"/>
                    <a:gd name="connsiteX20" fmla="*/ 9031 w 19257"/>
                    <a:gd name="connsiteY20" fmla="*/ 40489 h 56158"/>
                    <a:gd name="connsiteX21" fmla="*/ 7416 w 19257"/>
                    <a:gd name="connsiteY21" fmla="*/ 43300 h 56158"/>
                    <a:gd name="connsiteX22" fmla="*/ 5981 w 19257"/>
                    <a:gd name="connsiteY22" fmla="*/ 45812 h 56158"/>
                    <a:gd name="connsiteX23" fmla="*/ 4366 w 19257"/>
                    <a:gd name="connsiteY23" fmla="*/ 48623 h 56158"/>
                    <a:gd name="connsiteX24" fmla="*/ 2751 w 19257"/>
                    <a:gd name="connsiteY24" fmla="*/ 51434 h 56158"/>
                    <a:gd name="connsiteX25" fmla="*/ 1136 w 19257"/>
                    <a:gd name="connsiteY25" fmla="*/ 54245 h 56158"/>
                    <a:gd name="connsiteX26" fmla="*/ 0 w 19257"/>
                    <a:gd name="connsiteY26" fmla="*/ 56159 h 56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257" h="56158">
                      <a:moveTo>
                        <a:pt x="17942" y="0"/>
                      </a:moveTo>
                      <a:lnTo>
                        <a:pt x="18600" y="3050"/>
                      </a:lnTo>
                      <a:lnTo>
                        <a:pt x="19079" y="5203"/>
                      </a:lnTo>
                      <a:lnTo>
                        <a:pt x="19138" y="8373"/>
                      </a:lnTo>
                      <a:lnTo>
                        <a:pt x="19198" y="10586"/>
                      </a:lnTo>
                      <a:lnTo>
                        <a:pt x="19258" y="12559"/>
                      </a:lnTo>
                      <a:lnTo>
                        <a:pt x="18779" y="15729"/>
                      </a:lnTo>
                      <a:lnTo>
                        <a:pt x="18301" y="18899"/>
                      </a:lnTo>
                      <a:lnTo>
                        <a:pt x="18181" y="19497"/>
                      </a:lnTo>
                      <a:lnTo>
                        <a:pt x="18062" y="20334"/>
                      </a:lnTo>
                      <a:lnTo>
                        <a:pt x="18062" y="20394"/>
                      </a:lnTo>
                      <a:lnTo>
                        <a:pt x="17284" y="22966"/>
                      </a:lnTo>
                      <a:lnTo>
                        <a:pt x="16327" y="26076"/>
                      </a:lnTo>
                      <a:lnTo>
                        <a:pt x="15729" y="27990"/>
                      </a:lnTo>
                      <a:lnTo>
                        <a:pt x="15071" y="29305"/>
                      </a:lnTo>
                      <a:lnTo>
                        <a:pt x="14533" y="30322"/>
                      </a:lnTo>
                      <a:lnTo>
                        <a:pt x="13995" y="31399"/>
                      </a:lnTo>
                      <a:lnTo>
                        <a:pt x="13158" y="33073"/>
                      </a:lnTo>
                      <a:lnTo>
                        <a:pt x="12260" y="34868"/>
                      </a:lnTo>
                      <a:lnTo>
                        <a:pt x="10645" y="37678"/>
                      </a:lnTo>
                      <a:lnTo>
                        <a:pt x="9031" y="40489"/>
                      </a:lnTo>
                      <a:lnTo>
                        <a:pt x="7416" y="43300"/>
                      </a:lnTo>
                      <a:lnTo>
                        <a:pt x="5981" y="45812"/>
                      </a:lnTo>
                      <a:lnTo>
                        <a:pt x="4366" y="48623"/>
                      </a:lnTo>
                      <a:lnTo>
                        <a:pt x="2751" y="51434"/>
                      </a:lnTo>
                      <a:lnTo>
                        <a:pt x="1136" y="54245"/>
                      </a:lnTo>
                      <a:lnTo>
                        <a:pt x="0" y="56159"/>
                      </a:lnTo>
                    </a:path>
                  </a:pathLst>
                </a:custGeom>
                <a:noFill/>
                <a:ln w="6350" cap="rnd">
                  <a:solidFill>
                    <a:schemeClr val="bg1">
                      <a:alpha val="40000"/>
                    </a:schemeClr>
                  </a:solidFill>
                  <a:prstDash val="solid"/>
                  <a:round/>
                </a:ln>
              </p:spPr>
              <p:txBody>
                <a:bodyPr rtlCol="0" anchor="ctr"/>
                <a:lstStyle/>
                <a:p>
                  <a:endParaRPr lang="en-GB"/>
                </a:p>
              </p:txBody>
            </p:sp>
            <p:sp>
              <p:nvSpPr>
                <p:cNvPr id="5604" name="Vrije vorm: vorm 5603">
                  <a:extLst>
                    <a:ext uri="{FF2B5EF4-FFF2-40B4-BE49-F238E27FC236}">
                      <a16:creationId xmlns:a16="http://schemas.microsoft.com/office/drawing/2014/main" id="{ADECC4F7-A47C-4F82-9008-14729BB867E8}"/>
                    </a:ext>
                  </a:extLst>
                </p:cNvPr>
                <p:cNvSpPr/>
                <p:nvPr/>
              </p:nvSpPr>
              <p:spPr>
                <a:xfrm>
                  <a:off x="6403280" y="1730323"/>
                  <a:ext cx="144254" cy="73802"/>
                </a:xfrm>
                <a:custGeom>
                  <a:avLst/>
                  <a:gdLst>
                    <a:gd name="connsiteX0" fmla="*/ 144255 w 144254"/>
                    <a:gd name="connsiteY0" fmla="*/ 71230 h 73802"/>
                    <a:gd name="connsiteX1" fmla="*/ 142820 w 144254"/>
                    <a:gd name="connsiteY1" fmla="*/ 73683 h 73802"/>
                    <a:gd name="connsiteX2" fmla="*/ 142760 w 144254"/>
                    <a:gd name="connsiteY2" fmla="*/ 73802 h 73802"/>
                    <a:gd name="connsiteX3" fmla="*/ 140068 w 144254"/>
                    <a:gd name="connsiteY3" fmla="*/ 72546 h 73802"/>
                    <a:gd name="connsiteX4" fmla="*/ 137377 w 144254"/>
                    <a:gd name="connsiteY4" fmla="*/ 71290 h 73802"/>
                    <a:gd name="connsiteX5" fmla="*/ 136002 w 144254"/>
                    <a:gd name="connsiteY5" fmla="*/ 70632 h 73802"/>
                    <a:gd name="connsiteX6" fmla="*/ 133190 w 144254"/>
                    <a:gd name="connsiteY6" fmla="*/ 71350 h 73802"/>
                    <a:gd name="connsiteX7" fmla="*/ 130380 w 144254"/>
                    <a:gd name="connsiteY7" fmla="*/ 72068 h 73802"/>
                    <a:gd name="connsiteX8" fmla="*/ 128944 w 144254"/>
                    <a:gd name="connsiteY8" fmla="*/ 72427 h 73802"/>
                    <a:gd name="connsiteX9" fmla="*/ 126253 w 144254"/>
                    <a:gd name="connsiteY9" fmla="*/ 71230 h 73802"/>
                    <a:gd name="connsiteX10" fmla="*/ 123562 w 144254"/>
                    <a:gd name="connsiteY10" fmla="*/ 70034 h 73802"/>
                    <a:gd name="connsiteX11" fmla="*/ 122665 w 144254"/>
                    <a:gd name="connsiteY11" fmla="*/ 69616 h 73802"/>
                    <a:gd name="connsiteX12" fmla="*/ 119973 w 144254"/>
                    <a:gd name="connsiteY12" fmla="*/ 68419 h 73802"/>
                    <a:gd name="connsiteX13" fmla="*/ 117282 w 144254"/>
                    <a:gd name="connsiteY13" fmla="*/ 67223 h 73802"/>
                    <a:gd name="connsiteX14" fmla="*/ 114590 w 144254"/>
                    <a:gd name="connsiteY14" fmla="*/ 66027 h 73802"/>
                    <a:gd name="connsiteX15" fmla="*/ 114531 w 144254"/>
                    <a:gd name="connsiteY15" fmla="*/ 65967 h 73802"/>
                    <a:gd name="connsiteX16" fmla="*/ 111840 w 144254"/>
                    <a:gd name="connsiteY16" fmla="*/ 64771 h 73802"/>
                    <a:gd name="connsiteX17" fmla="*/ 110404 w 144254"/>
                    <a:gd name="connsiteY17" fmla="*/ 64113 h 73802"/>
                    <a:gd name="connsiteX18" fmla="*/ 110344 w 144254"/>
                    <a:gd name="connsiteY18" fmla="*/ 64113 h 73802"/>
                    <a:gd name="connsiteX19" fmla="*/ 107653 w 144254"/>
                    <a:gd name="connsiteY19" fmla="*/ 62917 h 73802"/>
                    <a:gd name="connsiteX20" fmla="*/ 104962 w 144254"/>
                    <a:gd name="connsiteY20" fmla="*/ 61721 h 73802"/>
                    <a:gd name="connsiteX21" fmla="*/ 102270 w 144254"/>
                    <a:gd name="connsiteY21" fmla="*/ 60525 h 73802"/>
                    <a:gd name="connsiteX22" fmla="*/ 99579 w 144254"/>
                    <a:gd name="connsiteY22" fmla="*/ 59329 h 73802"/>
                    <a:gd name="connsiteX23" fmla="*/ 98742 w 144254"/>
                    <a:gd name="connsiteY23" fmla="*/ 58970 h 73802"/>
                    <a:gd name="connsiteX24" fmla="*/ 96230 w 144254"/>
                    <a:gd name="connsiteY24" fmla="*/ 57415 h 73802"/>
                    <a:gd name="connsiteX25" fmla="*/ 93718 w 144254"/>
                    <a:gd name="connsiteY25" fmla="*/ 55860 h 73802"/>
                    <a:gd name="connsiteX26" fmla="*/ 91206 w 144254"/>
                    <a:gd name="connsiteY26" fmla="*/ 54305 h 73802"/>
                    <a:gd name="connsiteX27" fmla="*/ 88694 w 144254"/>
                    <a:gd name="connsiteY27" fmla="*/ 52750 h 73802"/>
                    <a:gd name="connsiteX28" fmla="*/ 86182 w 144254"/>
                    <a:gd name="connsiteY28" fmla="*/ 51195 h 73802"/>
                    <a:gd name="connsiteX29" fmla="*/ 83670 w 144254"/>
                    <a:gd name="connsiteY29" fmla="*/ 49640 h 73802"/>
                    <a:gd name="connsiteX30" fmla="*/ 82414 w 144254"/>
                    <a:gd name="connsiteY30" fmla="*/ 48862 h 73802"/>
                    <a:gd name="connsiteX31" fmla="*/ 79902 w 144254"/>
                    <a:gd name="connsiteY31" fmla="*/ 47308 h 73802"/>
                    <a:gd name="connsiteX32" fmla="*/ 77391 w 144254"/>
                    <a:gd name="connsiteY32" fmla="*/ 45753 h 73802"/>
                    <a:gd name="connsiteX33" fmla="*/ 76673 w 144254"/>
                    <a:gd name="connsiteY33" fmla="*/ 45334 h 73802"/>
                    <a:gd name="connsiteX34" fmla="*/ 74699 w 144254"/>
                    <a:gd name="connsiteY34" fmla="*/ 44078 h 73802"/>
                    <a:gd name="connsiteX35" fmla="*/ 73982 w 144254"/>
                    <a:gd name="connsiteY35" fmla="*/ 43659 h 73802"/>
                    <a:gd name="connsiteX36" fmla="*/ 71470 w 144254"/>
                    <a:gd name="connsiteY36" fmla="*/ 42104 h 73802"/>
                    <a:gd name="connsiteX37" fmla="*/ 70871 w 144254"/>
                    <a:gd name="connsiteY37" fmla="*/ 41745 h 73802"/>
                    <a:gd name="connsiteX38" fmla="*/ 68360 w 144254"/>
                    <a:gd name="connsiteY38" fmla="*/ 40190 h 73802"/>
                    <a:gd name="connsiteX39" fmla="*/ 65848 w 144254"/>
                    <a:gd name="connsiteY39" fmla="*/ 38576 h 73802"/>
                    <a:gd name="connsiteX40" fmla="*/ 63336 w 144254"/>
                    <a:gd name="connsiteY40" fmla="*/ 37021 h 73802"/>
                    <a:gd name="connsiteX41" fmla="*/ 60824 w 144254"/>
                    <a:gd name="connsiteY41" fmla="*/ 35466 h 73802"/>
                    <a:gd name="connsiteX42" fmla="*/ 59149 w 144254"/>
                    <a:gd name="connsiteY42" fmla="*/ 34389 h 73802"/>
                    <a:gd name="connsiteX43" fmla="*/ 56936 w 144254"/>
                    <a:gd name="connsiteY43" fmla="*/ 33014 h 73802"/>
                    <a:gd name="connsiteX44" fmla="*/ 54245 w 144254"/>
                    <a:gd name="connsiteY44" fmla="*/ 31758 h 73802"/>
                    <a:gd name="connsiteX45" fmla="*/ 51554 w 144254"/>
                    <a:gd name="connsiteY45" fmla="*/ 30502 h 73802"/>
                    <a:gd name="connsiteX46" fmla="*/ 51255 w 144254"/>
                    <a:gd name="connsiteY46" fmla="*/ 30382 h 73802"/>
                    <a:gd name="connsiteX47" fmla="*/ 48862 w 144254"/>
                    <a:gd name="connsiteY47" fmla="*/ 29306 h 73802"/>
                    <a:gd name="connsiteX48" fmla="*/ 46171 w 144254"/>
                    <a:gd name="connsiteY48" fmla="*/ 28050 h 73802"/>
                    <a:gd name="connsiteX49" fmla="*/ 43480 w 144254"/>
                    <a:gd name="connsiteY49" fmla="*/ 26794 h 73802"/>
                    <a:gd name="connsiteX50" fmla="*/ 40789 w 144254"/>
                    <a:gd name="connsiteY50" fmla="*/ 25538 h 73802"/>
                    <a:gd name="connsiteX51" fmla="*/ 38097 w 144254"/>
                    <a:gd name="connsiteY51" fmla="*/ 24282 h 73802"/>
                    <a:gd name="connsiteX52" fmla="*/ 35406 w 144254"/>
                    <a:gd name="connsiteY52" fmla="*/ 23026 h 73802"/>
                    <a:gd name="connsiteX53" fmla="*/ 32714 w 144254"/>
                    <a:gd name="connsiteY53" fmla="*/ 21770 h 73802"/>
                    <a:gd name="connsiteX54" fmla="*/ 30023 w 144254"/>
                    <a:gd name="connsiteY54" fmla="*/ 20514 h 73802"/>
                    <a:gd name="connsiteX55" fmla="*/ 27332 w 144254"/>
                    <a:gd name="connsiteY55" fmla="*/ 19258 h 73802"/>
                    <a:gd name="connsiteX56" fmla="*/ 24641 w 144254"/>
                    <a:gd name="connsiteY56" fmla="*/ 18002 h 73802"/>
                    <a:gd name="connsiteX57" fmla="*/ 21949 w 144254"/>
                    <a:gd name="connsiteY57" fmla="*/ 16746 h 73802"/>
                    <a:gd name="connsiteX58" fmla="*/ 20574 w 144254"/>
                    <a:gd name="connsiteY58" fmla="*/ 16088 h 73802"/>
                    <a:gd name="connsiteX59" fmla="*/ 18361 w 144254"/>
                    <a:gd name="connsiteY59" fmla="*/ 14115 h 73802"/>
                    <a:gd name="connsiteX60" fmla="*/ 16148 w 144254"/>
                    <a:gd name="connsiteY60" fmla="*/ 12141 h 73802"/>
                    <a:gd name="connsiteX61" fmla="*/ 15729 w 144254"/>
                    <a:gd name="connsiteY61" fmla="*/ 11782 h 73802"/>
                    <a:gd name="connsiteX62" fmla="*/ 14653 w 144254"/>
                    <a:gd name="connsiteY62" fmla="*/ 13636 h 73802"/>
                    <a:gd name="connsiteX63" fmla="*/ 11961 w 144254"/>
                    <a:gd name="connsiteY63" fmla="*/ 12380 h 73802"/>
                    <a:gd name="connsiteX64" fmla="*/ 9270 w 144254"/>
                    <a:gd name="connsiteY64" fmla="*/ 11124 h 73802"/>
                    <a:gd name="connsiteX65" fmla="*/ 7536 w 144254"/>
                    <a:gd name="connsiteY65" fmla="*/ 10287 h 73802"/>
                    <a:gd name="connsiteX66" fmla="*/ 5382 w 144254"/>
                    <a:gd name="connsiteY66" fmla="*/ 8253 h 73802"/>
                    <a:gd name="connsiteX67" fmla="*/ 3229 w 144254"/>
                    <a:gd name="connsiteY67" fmla="*/ 6220 h 73802"/>
                    <a:gd name="connsiteX68" fmla="*/ 1076 w 144254"/>
                    <a:gd name="connsiteY68" fmla="*/ 4186 h 73802"/>
                    <a:gd name="connsiteX69" fmla="*/ 0 w 144254"/>
                    <a:gd name="connsiteY69" fmla="*/ 3170 h 73802"/>
                    <a:gd name="connsiteX70" fmla="*/ 179 w 144254"/>
                    <a:gd name="connsiteY70" fmla="*/ 2871 h 73802"/>
                    <a:gd name="connsiteX71" fmla="*/ 1196 w 144254"/>
                    <a:gd name="connsiteY71" fmla="*/ 1136 h 73802"/>
                    <a:gd name="connsiteX72" fmla="*/ 1854 w 144254"/>
                    <a:gd name="connsiteY72" fmla="*/ 0 h 73802"/>
                    <a:gd name="connsiteX73" fmla="*/ 2930 w 144254"/>
                    <a:gd name="connsiteY73" fmla="*/ 478 h 7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44254" h="73802">
                      <a:moveTo>
                        <a:pt x="144255" y="71230"/>
                      </a:moveTo>
                      <a:lnTo>
                        <a:pt x="142820" y="73683"/>
                      </a:lnTo>
                      <a:lnTo>
                        <a:pt x="142760" y="73802"/>
                      </a:lnTo>
                      <a:lnTo>
                        <a:pt x="140068" y="72546"/>
                      </a:lnTo>
                      <a:lnTo>
                        <a:pt x="137377" y="71290"/>
                      </a:lnTo>
                      <a:lnTo>
                        <a:pt x="136002" y="70632"/>
                      </a:lnTo>
                      <a:lnTo>
                        <a:pt x="133190" y="71350"/>
                      </a:lnTo>
                      <a:lnTo>
                        <a:pt x="130380" y="72068"/>
                      </a:lnTo>
                      <a:lnTo>
                        <a:pt x="128944" y="72427"/>
                      </a:lnTo>
                      <a:lnTo>
                        <a:pt x="126253" y="71230"/>
                      </a:lnTo>
                      <a:lnTo>
                        <a:pt x="123562" y="70034"/>
                      </a:lnTo>
                      <a:lnTo>
                        <a:pt x="122665" y="69616"/>
                      </a:lnTo>
                      <a:lnTo>
                        <a:pt x="119973" y="68419"/>
                      </a:lnTo>
                      <a:lnTo>
                        <a:pt x="117282" y="67223"/>
                      </a:lnTo>
                      <a:lnTo>
                        <a:pt x="114590" y="66027"/>
                      </a:lnTo>
                      <a:lnTo>
                        <a:pt x="114531" y="65967"/>
                      </a:lnTo>
                      <a:lnTo>
                        <a:pt x="111840" y="64771"/>
                      </a:lnTo>
                      <a:lnTo>
                        <a:pt x="110404" y="64113"/>
                      </a:lnTo>
                      <a:lnTo>
                        <a:pt x="110344" y="64113"/>
                      </a:lnTo>
                      <a:lnTo>
                        <a:pt x="107653" y="62917"/>
                      </a:lnTo>
                      <a:lnTo>
                        <a:pt x="104962" y="61721"/>
                      </a:lnTo>
                      <a:lnTo>
                        <a:pt x="102270" y="60525"/>
                      </a:lnTo>
                      <a:lnTo>
                        <a:pt x="99579" y="59329"/>
                      </a:lnTo>
                      <a:lnTo>
                        <a:pt x="98742" y="58970"/>
                      </a:lnTo>
                      <a:lnTo>
                        <a:pt x="96230" y="57415"/>
                      </a:lnTo>
                      <a:lnTo>
                        <a:pt x="93718" y="55860"/>
                      </a:lnTo>
                      <a:lnTo>
                        <a:pt x="91206" y="54305"/>
                      </a:lnTo>
                      <a:lnTo>
                        <a:pt x="88694" y="52750"/>
                      </a:lnTo>
                      <a:lnTo>
                        <a:pt x="86182" y="51195"/>
                      </a:lnTo>
                      <a:lnTo>
                        <a:pt x="83670" y="49640"/>
                      </a:lnTo>
                      <a:lnTo>
                        <a:pt x="82414" y="48862"/>
                      </a:lnTo>
                      <a:lnTo>
                        <a:pt x="79902" y="47308"/>
                      </a:lnTo>
                      <a:lnTo>
                        <a:pt x="77391" y="45753"/>
                      </a:lnTo>
                      <a:lnTo>
                        <a:pt x="76673" y="45334"/>
                      </a:lnTo>
                      <a:lnTo>
                        <a:pt x="74699" y="44078"/>
                      </a:lnTo>
                      <a:lnTo>
                        <a:pt x="73982" y="43659"/>
                      </a:lnTo>
                      <a:lnTo>
                        <a:pt x="71470" y="42104"/>
                      </a:lnTo>
                      <a:lnTo>
                        <a:pt x="70871" y="41745"/>
                      </a:lnTo>
                      <a:lnTo>
                        <a:pt x="68360" y="40190"/>
                      </a:lnTo>
                      <a:lnTo>
                        <a:pt x="65848" y="38576"/>
                      </a:lnTo>
                      <a:lnTo>
                        <a:pt x="63336" y="37021"/>
                      </a:lnTo>
                      <a:lnTo>
                        <a:pt x="60824" y="35466"/>
                      </a:lnTo>
                      <a:lnTo>
                        <a:pt x="59149" y="34389"/>
                      </a:lnTo>
                      <a:lnTo>
                        <a:pt x="56936" y="33014"/>
                      </a:lnTo>
                      <a:lnTo>
                        <a:pt x="54245" y="31758"/>
                      </a:lnTo>
                      <a:lnTo>
                        <a:pt x="51554" y="30502"/>
                      </a:lnTo>
                      <a:lnTo>
                        <a:pt x="51255" y="30382"/>
                      </a:lnTo>
                      <a:lnTo>
                        <a:pt x="48862" y="29306"/>
                      </a:lnTo>
                      <a:lnTo>
                        <a:pt x="46171" y="28050"/>
                      </a:lnTo>
                      <a:lnTo>
                        <a:pt x="43480" y="26794"/>
                      </a:lnTo>
                      <a:lnTo>
                        <a:pt x="40789" y="25538"/>
                      </a:lnTo>
                      <a:lnTo>
                        <a:pt x="38097" y="24282"/>
                      </a:lnTo>
                      <a:lnTo>
                        <a:pt x="35406" y="23026"/>
                      </a:lnTo>
                      <a:lnTo>
                        <a:pt x="32714" y="21770"/>
                      </a:lnTo>
                      <a:lnTo>
                        <a:pt x="30023" y="20514"/>
                      </a:lnTo>
                      <a:lnTo>
                        <a:pt x="27332" y="19258"/>
                      </a:lnTo>
                      <a:lnTo>
                        <a:pt x="24641" y="18002"/>
                      </a:lnTo>
                      <a:lnTo>
                        <a:pt x="21949" y="16746"/>
                      </a:lnTo>
                      <a:lnTo>
                        <a:pt x="20574" y="16088"/>
                      </a:lnTo>
                      <a:lnTo>
                        <a:pt x="18361" y="14115"/>
                      </a:lnTo>
                      <a:lnTo>
                        <a:pt x="16148" y="12141"/>
                      </a:lnTo>
                      <a:lnTo>
                        <a:pt x="15729" y="11782"/>
                      </a:lnTo>
                      <a:lnTo>
                        <a:pt x="14653" y="13636"/>
                      </a:lnTo>
                      <a:lnTo>
                        <a:pt x="11961" y="12380"/>
                      </a:lnTo>
                      <a:lnTo>
                        <a:pt x="9270" y="11124"/>
                      </a:lnTo>
                      <a:lnTo>
                        <a:pt x="7536" y="10287"/>
                      </a:lnTo>
                      <a:lnTo>
                        <a:pt x="5382" y="8253"/>
                      </a:lnTo>
                      <a:lnTo>
                        <a:pt x="3229" y="6220"/>
                      </a:lnTo>
                      <a:lnTo>
                        <a:pt x="1076" y="4186"/>
                      </a:lnTo>
                      <a:lnTo>
                        <a:pt x="0" y="3170"/>
                      </a:lnTo>
                      <a:lnTo>
                        <a:pt x="179" y="2871"/>
                      </a:lnTo>
                      <a:lnTo>
                        <a:pt x="1196" y="1136"/>
                      </a:lnTo>
                      <a:lnTo>
                        <a:pt x="1854" y="0"/>
                      </a:lnTo>
                      <a:lnTo>
                        <a:pt x="2930" y="478"/>
                      </a:lnTo>
                    </a:path>
                  </a:pathLst>
                </a:custGeom>
                <a:noFill/>
                <a:ln w="6350" cap="rnd">
                  <a:solidFill>
                    <a:schemeClr val="bg1">
                      <a:alpha val="40000"/>
                    </a:schemeClr>
                  </a:solidFill>
                  <a:prstDash val="solid"/>
                  <a:round/>
                </a:ln>
              </p:spPr>
              <p:txBody>
                <a:bodyPr rtlCol="0" anchor="ctr"/>
                <a:lstStyle/>
                <a:p>
                  <a:endParaRPr lang="en-GB"/>
                </a:p>
              </p:txBody>
            </p:sp>
            <p:sp>
              <p:nvSpPr>
                <p:cNvPr id="5605" name="Vrije vorm: vorm 5604">
                  <a:extLst>
                    <a:ext uri="{FF2B5EF4-FFF2-40B4-BE49-F238E27FC236}">
                      <a16:creationId xmlns:a16="http://schemas.microsoft.com/office/drawing/2014/main" id="{3EEC0F05-5395-4A57-9B63-5B88F1C99920}"/>
                    </a:ext>
                  </a:extLst>
                </p:cNvPr>
                <p:cNvSpPr/>
                <p:nvPr/>
              </p:nvSpPr>
              <p:spPr>
                <a:xfrm>
                  <a:off x="6453936" y="1760166"/>
                  <a:ext cx="70512" cy="40011"/>
                </a:xfrm>
                <a:custGeom>
                  <a:avLst/>
                  <a:gdLst>
                    <a:gd name="connsiteX0" fmla="*/ 70513 w 70512"/>
                    <a:gd name="connsiteY0" fmla="*/ 40011 h 40011"/>
                    <a:gd name="connsiteX1" fmla="*/ 67642 w 70512"/>
                    <a:gd name="connsiteY1" fmla="*/ 39293 h 40011"/>
                    <a:gd name="connsiteX2" fmla="*/ 65669 w 70512"/>
                    <a:gd name="connsiteY2" fmla="*/ 38815 h 40011"/>
                    <a:gd name="connsiteX3" fmla="*/ 62917 w 70512"/>
                    <a:gd name="connsiteY3" fmla="*/ 37738 h 40011"/>
                    <a:gd name="connsiteX4" fmla="*/ 62798 w 70512"/>
                    <a:gd name="connsiteY4" fmla="*/ 37679 h 40011"/>
                    <a:gd name="connsiteX5" fmla="*/ 62678 w 70512"/>
                    <a:gd name="connsiteY5" fmla="*/ 37619 h 40011"/>
                    <a:gd name="connsiteX6" fmla="*/ 59927 w 70512"/>
                    <a:gd name="connsiteY6" fmla="*/ 36542 h 40011"/>
                    <a:gd name="connsiteX7" fmla="*/ 58791 w 70512"/>
                    <a:gd name="connsiteY7" fmla="*/ 36124 h 40011"/>
                    <a:gd name="connsiteX8" fmla="*/ 58372 w 70512"/>
                    <a:gd name="connsiteY8" fmla="*/ 35944 h 40011"/>
                    <a:gd name="connsiteX9" fmla="*/ 55681 w 70512"/>
                    <a:gd name="connsiteY9" fmla="*/ 34688 h 40011"/>
                    <a:gd name="connsiteX10" fmla="*/ 52989 w 70512"/>
                    <a:gd name="connsiteY10" fmla="*/ 33432 h 40011"/>
                    <a:gd name="connsiteX11" fmla="*/ 50298 w 70512"/>
                    <a:gd name="connsiteY11" fmla="*/ 32176 h 40011"/>
                    <a:gd name="connsiteX12" fmla="*/ 49162 w 70512"/>
                    <a:gd name="connsiteY12" fmla="*/ 31638 h 40011"/>
                    <a:gd name="connsiteX13" fmla="*/ 46530 w 70512"/>
                    <a:gd name="connsiteY13" fmla="*/ 30262 h 40011"/>
                    <a:gd name="connsiteX14" fmla="*/ 43899 w 70512"/>
                    <a:gd name="connsiteY14" fmla="*/ 28887 h 40011"/>
                    <a:gd name="connsiteX15" fmla="*/ 41267 w 70512"/>
                    <a:gd name="connsiteY15" fmla="*/ 27511 h 40011"/>
                    <a:gd name="connsiteX16" fmla="*/ 38755 w 70512"/>
                    <a:gd name="connsiteY16" fmla="*/ 26136 h 40011"/>
                    <a:gd name="connsiteX17" fmla="*/ 36183 w 70512"/>
                    <a:gd name="connsiteY17" fmla="*/ 24641 h 40011"/>
                    <a:gd name="connsiteX18" fmla="*/ 33612 w 70512"/>
                    <a:gd name="connsiteY18" fmla="*/ 23145 h 40011"/>
                    <a:gd name="connsiteX19" fmla="*/ 33074 w 70512"/>
                    <a:gd name="connsiteY19" fmla="*/ 22846 h 40011"/>
                    <a:gd name="connsiteX20" fmla="*/ 30502 w 70512"/>
                    <a:gd name="connsiteY20" fmla="*/ 21351 h 40011"/>
                    <a:gd name="connsiteX21" fmla="*/ 27930 w 70512"/>
                    <a:gd name="connsiteY21" fmla="*/ 19856 h 40011"/>
                    <a:gd name="connsiteX22" fmla="*/ 27870 w 70512"/>
                    <a:gd name="connsiteY22" fmla="*/ 19856 h 40011"/>
                    <a:gd name="connsiteX23" fmla="*/ 25358 w 70512"/>
                    <a:gd name="connsiteY23" fmla="*/ 18241 h 40011"/>
                    <a:gd name="connsiteX24" fmla="*/ 22846 w 70512"/>
                    <a:gd name="connsiteY24" fmla="*/ 16626 h 40011"/>
                    <a:gd name="connsiteX25" fmla="*/ 22488 w 70512"/>
                    <a:gd name="connsiteY25" fmla="*/ 16387 h 40011"/>
                    <a:gd name="connsiteX26" fmla="*/ 22189 w 70512"/>
                    <a:gd name="connsiteY26" fmla="*/ 16208 h 40011"/>
                    <a:gd name="connsiteX27" fmla="*/ 21471 w 70512"/>
                    <a:gd name="connsiteY27" fmla="*/ 15789 h 40011"/>
                    <a:gd name="connsiteX28" fmla="*/ 18959 w 70512"/>
                    <a:gd name="connsiteY28" fmla="*/ 14174 h 40011"/>
                    <a:gd name="connsiteX29" fmla="*/ 18002 w 70512"/>
                    <a:gd name="connsiteY29" fmla="*/ 13576 h 40011"/>
                    <a:gd name="connsiteX30" fmla="*/ 17583 w 70512"/>
                    <a:gd name="connsiteY30" fmla="*/ 13277 h 40011"/>
                    <a:gd name="connsiteX31" fmla="*/ 15131 w 70512"/>
                    <a:gd name="connsiteY31" fmla="*/ 11603 h 40011"/>
                    <a:gd name="connsiteX32" fmla="*/ 12679 w 70512"/>
                    <a:gd name="connsiteY32" fmla="*/ 9928 h 40011"/>
                    <a:gd name="connsiteX33" fmla="*/ 10227 w 70512"/>
                    <a:gd name="connsiteY33" fmla="*/ 8253 h 40011"/>
                    <a:gd name="connsiteX34" fmla="*/ 8612 w 70512"/>
                    <a:gd name="connsiteY34" fmla="*/ 7117 h 40011"/>
                    <a:gd name="connsiteX35" fmla="*/ 6340 w 70512"/>
                    <a:gd name="connsiteY35" fmla="*/ 5323 h 40011"/>
                    <a:gd name="connsiteX36" fmla="*/ 4007 w 70512"/>
                    <a:gd name="connsiteY36" fmla="*/ 3469 h 40011"/>
                    <a:gd name="connsiteX37" fmla="*/ 3708 w 70512"/>
                    <a:gd name="connsiteY37" fmla="*/ 3230 h 40011"/>
                    <a:gd name="connsiteX38" fmla="*/ 1735 w 70512"/>
                    <a:gd name="connsiteY38" fmla="*/ 1675 h 40011"/>
                    <a:gd name="connsiteX39" fmla="*/ 0 w 70512"/>
                    <a:gd name="connsiteY39" fmla="*/ 0 h 4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0512" h="40011">
                      <a:moveTo>
                        <a:pt x="70513" y="40011"/>
                      </a:moveTo>
                      <a:lnTo>
                        <a:pt x="67642" y="39293"/>
                      </a:lnTo>
                      <a:lnTo>
                        <a:pt x="65669" y="38815"/>
                      </a:lnTo>
                      <a:lnTo>
                        <a:pt x="62917" y="37738"/>
                      </a:lnTo>
                      <a:lnTo>
                        <a:pt x="62798" y="37679"/>
                      </a:lnTo>
                      <a:lnTo>
                        <a:pt x="62678" y="37619"/>
                      </a:lnTo>
                      <a:lnTo>
                        <a:pt x="59927" y="36542"/>
                      </a:lnTo>
                      <a:lnTo>
                        <a:pt x="58791" y="36124"/>
                      </a:lnTo>
                      <a:lnTo>
                        <a:pt x="58372" y="35944"/>
                      </a:lnTo>
                      <a:lnTo>
                        <a:pt x="55681" y="34688"/>
                      </a:lnTo>
                      <a:lnTo>
                        <a:pt x="52989" y="33432"/>
                      </a:lnTo>
                      <a:lnTo>
                        <a:pt x="50298" y="32176"/>
                      </a:lnTo>
                      <a:lnTo>
                        <a:pt x="49162" y="31638"/>
                      </a:lnTo>
                      <a:lnTo>
                        <a:pt x="46530" y="30262"/>
                      </a:lnTo>
                      <a:lnTo>
                        <a:pt x="43899" y="28887"/>
                      </a:lnTo>
                      <a:lnTo>
                        <a:pt x="41267" y="27511"/>
                      </a:lnTo>
                      <a:lnTo>
                        <a:pt x="38755" y="26136"/>
                      </a:lnTo>
                      <a:lnTo>
                        <a:pt x="36183" y="24641"/>
                      </a:lnTo>
                      <a:lnTo>
                        <a:pt x="33612" y="23145"/>
                      </a:lnTo>
                      <a:lnTo>
                        <a:pt x="33074" y="22846"/>
                      </a:lnTo>
                      <a:lnTo>
                        <a:pt x="30502" y="21351"/>
                      </a:lnTo>
                      <a:lnTo>
                        <a:pt x="27930" y="19856"/>
                      </a:lnTo>
                      <a:lnTo>
                        <a:pt x="27870" y="19856"/>
                      </a:lnTo>
                      <a:lnTo>
                        <a:pt x="25358" y="18241"/>
                      </a:lnTo>
                      <a:lnTo>
                        <a:pt x="22846" y="16626"/>
                      </a:lnTo>
                      <a:lnTo>
                        <a:pt x="22488" y="16387"/>
                      </a:lnTo>
                      <a:lnTo>
                        <a:pt x="22189" y="16208"/>
                      </a:lnTo>
                      <a:lnTo>
                        <a:pt x="21471" y="15789"/>
                      </a:lnTo>
                      <a:lnTo>
                        <a:pt x="18959" y="14174"/>
                      </a:lnTo>
                      <a:lnTo>
                        <a:pt x="18002" y="13576"/>
                      </a:lnTo>
                      <a:lnTo>
                        <a:pt x="17583" y="13277"/>
                      </a:lnTo>
                      <a:lnTo>
                        <a:pt x="15131" y="11603"/>
                      </a:lnTo>
                      <a:lnTo>
                        <a:pt x="12679" y="9928"/>
                      </a:lnTo>
                      <a:lnTo>
                        <a:pt x="10227" y="8253"/>
                      </a:lnTo>
                      <a:lnTo>
                        <a:pt x="8612" y="7117"/>
                      </a:lnTo>
                      <a:lnTo>
                        <a:pt x="6340" y="5323"/>
                      </a:lnTo>
                      <a:lnTo>
                        <a:pt x="4007" y="3469"/>
                      </a:lnTo>
                      <a:lnTo>
                        <a:pt x="3708" y="3230"/>
                      </a:lnTo>
                      <a:lnTo>
                        <a:pt x="1735" y="167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06" name="Vrije vorm: vorm 5605">
                  <a:extLst>
                    <a:ext uri="{FF2B5EF4-FFF2-40B4-BE49-F238E27FC236}">
                      <a16:creationId xmlns:a16="http://schemas.microsoft.com/office/drawing/2014/main" id="{EEA5775E-77C8-47A4-A89F-09C3351D108C}"/>
                    </a:ext>
                  </a:extLst>
                </p:cNvPr>
                <p:cNvSpPr/>
                <p:nvPr/>
              </p:nvSpPr>
              <p:spPr>
                <a:xfrm>
                  <a:off x="6436472" y="1735526"/>
                  <a:ext cx="29664" cy="13994"/>
                </a:xfrm>
                <a:custGeom>
                  <a:avLst/>
                  <a:gdLst>
                    <a:gd name="connsiteX0" fmla="*/ 0 w 29664"/>
                    <a:gd name="connsiteY0" fmla="*/ 0 h 13994"/>
                    <a:gd name="connsiteX1" fmla="*/ 2691 w 29664"/>
                    <a:gd name="connsiteY1" fmla="*/ 1316 h 13994"/>
                    <a:gd name="connsiteX2" fmla="*/ 5383 w 29664"/>
                    <a:gd name="connsiteY2" fmla="*/ 2632 h 13994"/>
                    <a:gd name="connsiteX3" fmla="*/ 8074 w 29664"/>
                    <a:gd name="connsiteY3" fmla="*/ 3947 h 13994"/>
                    <a:gd name="connsiteX4" fmla="*/ 10765 w 29664"/>
                    <a:gd name="connsiteY4" fmla="*/ 5263 h 13994"/>
                    <a:gd name="connsiteX5" fmla="*/ 13457 w 29664"/>
                    <a:gd name="connsiteY5" fmla="*/ 6579 h 13994"/>
                    <a:gd name="connsiteX6" fmla="*/ 16148 w 29664"/>
                    <a:gd name="connsiteY6" fmla="*/ 7895 h 13994"/>
                    <a:gd name="connsiteX7" fmla="*/ 18839 w 29664"/>
                    <a:gd name="connsiteY7" fmla="*/ 9210 h 13994"/>
                    <a:gd name="connsiteX8" fmla="*/ 21530 w 29664"/>
                    <a:gd name="connsiteY8" fmla="*/ 10526 h 13994"/>
                    <a:gd name="connsiteX9" fmla="*/ 24222 w 29664"/>
                    <a:gd name="connsiteY9" fmla="*/ 11842 h 13994"/>
                    <a:gd name="connsiteX10" fmla="*/ 26913 w 29664"/>
                    <a:gd name="connsiteY10" fmla="*/ 13158 h 13994"/>
                    <a:gd name="connsiteX11" fmla="*/ 28588 w 29664"/>
                    <a:gd name="connsiteY11" fmla="*/ 13995 h 13994"/>
                    <a:gd name="connsiteX12" fmla="*/ 29665 w 29664"/>
                    <a:gd name="connsiteY12" fmla="*/ 12859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664" h="13994">
                      <a:moveTo>
                        <a:pt x="0" y="0"/>
                      </a:moveTo>
                      <a:lnTo>
                        <a:pt x="2691" y="1316"/>
                      </a:lnTo>
                      <a:lnTo>
                        <a:pt x="5383" y="2632"/>
                      </a:lnTo>
                      <a:lnTo>
                        <a:pt x="8074" y="3947"/>
                      </a:lnTo>
                      <a:lnTo>
                        <a:pt x="10765" y="5263"/>
                      </a:lnTo>
                      <a:lnTo>
                        <a:pt x="13457" y="6579"/>
                      </a:lnTo>
                      <a:lnTo>
                        <a:pt x="16148" y="7895"/>
                      </a:lnTo>
                      <a:lnTo>
                        <a:pt x="18839" y="9210"/>
                      </a:lnTo>
                      <a:lnTo>
                        <a:pt x="21530" y="10526"/>
                      </a:lnTo>
                      <a:lnTo>
                        <a:pt x="24222" y="11842"/>
                      </a:lnTo>
                      <a:lnTo>
                        <a:pt x="26913" y="13158"/>
                      </a:lnTo>
                      <a:lnTo>
                        <a:pt x="28588" y="13995"/>
                      </a:lnTo>
                      <a:lnTo>
                        <a:pt x="29665" y="12859"/>
                      </a:lnTo>
                    </a:path>
                  </a:pathLst>
                </a:custGeom>
                <a:noFill/>
                <a:ln w="6350" cap="rnd">
                  <a:solidFill>
                    <a:schemeClr val="bg1">
                      <a:alpha val="40000"/>
                    </a:schemeClr>
                  </a:solidFill>
                  <a:prstDash val="solid"/>
                  <a:round/>
                </a:ln>
              </p:spPr>
              <p:txBody>
                <a:bodyPr rtlCol="0" anchor="ctr"/>
                <a:lstStyle/>
                <a:p>
                  <a:endParaRPr lang="en-GB"/>
                </a:p>
              </p:txBody>
            </p:sp>
            <p:sp>
              <p:nvSpPr>
                <p:cNvPr id="5607" name="Vrije vorm: vorm 5606">
                  <a:extLst>
                    <a:ext uri="{FF2B5EF4-FFF2-40B4-BE49-F238E27FC236}">
                      <a16:creationId xmlns:a16="http://schemas.microsoft.com/office/drawing/2014/main" id="{44E4A02E-7004-459D-B72E-97C1A12FB07C}"/>
                    </a:ext>
                  </a:extLst>
                </p:cNvPr>
                <p:cNvSpPr/>
                <p:nvPr/>
              </p:nvSpPr>
              <p:spPr>
                <a:xfrm>
                  <a:off x="6469067" y="1753588"/>
                  <a:ext cx="8552" cy="6997"/>
                </a:xfrm>
                <a:custGeom>
                  <a:avLst/>
                  <a:gdLst>
                    <a:gd name="connsiteX0" fmla="*/ 8552 w 8552"/>
                    <a:gd name="connsiteY0" fmla="*/ 6997 h 6997"/>
                    <a:gd name="connsiteX1" fmla="*/ 6280 w 8552"/>
                    <a:gd name="connsiteY1" fmla="*/ 5143 h 6997"/>
                    <a:gd name="connsiteX2" fmla="*/ 4007 w 8552"/>
                    <a:gd name="connsiteY2" fmla="*/ 3289 h 6997"/>
                    <a:gd name="connsiteX3" fmla="*/ 1734 w 8552"/>
                    <a:gd name="connsiteY3" fmla="*/ 1435 h 6997"/>
                    <a:gd name="connsiteX4" fmla="*/ 0 w 8552"/>
                    <a:gd name="connsiteY4" fmla="*/ 0 h 6997"/>
                    <a:gd name="connsiteX5" fmla="*/ 0 w 8552"/>
                    <a:gd name="connsiteY5" fmla="*/ 0 h 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2" h="6997">
                      <a:moveTo>
                        <a:pt x="8552" y="6997"/>
                      </a:moveTo>
                      <a:lnTo>
                        <a:pt x="6280" y="5143"/>
                      </a:lnTo>
                      <a:lnTo>
                        <a:pt x="4007" y="3289"/>
                      </a:lnTo>
                      <a:lnTo>
                        <a:pt x="1734" y="1435"/>
                      </a:lnTo>
                      <a:lnTo>
                        <a:pt x="0" y="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08" name="Vrije vorm: vorm 5607">
                  <a:extLst>
                    <a:ext uri="{FF2B5EF4-FFF2-40B4-BE49-F238E27FC236}">
                      <a16:creationId xmlns:a16="http://schemas.microsoft.com/office/drawing/2014/main" id="{5E7FA938-C06E-485C-995F-339630108420}"/>
                    </a:ext>
                  </a:extLst>
                </p:cNvPr>
                <p:cNvSpPr/>
                <p:nvPr/>
              </p:nvSpPr>
              <p:spPr>
                <a:xfrm>
                  <a:off x="6527559" y="1793778"/>
                  <a:ext cx="19975" cy="7774"/>
                </a:xfrm>
                <a:custGeom>
                  <a:avLst/>
                  <a:gdLst>
                    <a:gd name="connsiteX0" fmla="*/ 11782 w 19975"/>
                    <a:gd name="connsiteY0" fmla="*/ 0 h 7774"/>
                    <a:gd name="connsiteX1" fmla="*/ 14115 w 19975"/>
                    <a:gd name="connsiteY1" fmla="*/ 1794 h 7774"/>
                    <a:gd name="connsiteX2" fmla="*/ 16447 w 19975"/>
                    <a:gd name="connsiteY2" fmla="*/ 3588 h 7774"/>
                    <a:gd name="connsiteX3" fmla="*/ 17583 w 19975"/>
                    <a:gd name="connsiteY3" fmla="*/ 4486 h 7774"/>
                    <a:gd name="connsiteX4" fmla="*/ 19318 w 19975"/>
                    <a:gd name="connsiteY4" fmla="*/ 6878 h 7774"/>
                    <a:gd name="connsiteX5" fmla="*/ 19976 w 19975"/>
                    <a:gd name="connsiteY5" fmla="*/ 7775 h 7774"/>
                    <a:gd name="connsiteX6" fmla="*/ 17284 w 19975"/>
                    <a:gd name="connsiteY6" fmla="*/ 6519 h 7774"/>
                    <a:gd name="connsiteX7" fmla="*/ 14593 w 19975"/>
                    <a:gd name="connsiteY7" fmla="*/ 5263 h 7774"/>
                    <a:gd name="connsiteX8" fmla="*/ 13218 w 19975"/>
                    <a:gd name="connsiteY8" fmla="*/ 4605 h 7774"/>
                    <a:gd name="connsiteX9" fmla="*/ 11662 w 19975"/>
                    <a:gd name="connsiteY9" fmla="*/ 4964 h 7774"/>
                    <a:gd name="connsiteX10" fmla="*/ 8852 w 19975"/>
                    <a:gd name="connsiteY10" fmla="*/ 5622 h 7774"/>
                    <a:gd name="connsiteX11" fmla="*/ 6280 w 19975"/>
                    <a:gd name="connsiteY11" fmla="*/ 6220 h 7774"/>
                    <a:gd name="connsiteX12" fmla="*/ 5144 w 19975"/>
                    <a:gd name="connsiteY12" fmla="*/ 5682 h 7774"/>
                    <a:gd name="connsiteX13" fmla="*/ 2452 w 19975"/>
                    <a:gd name="connsiteY13" fmla="*/ 4426 h 7774"/>
                    <a:gd name="connsiteX14" fmla="*/ 479 w 19975"/>
                    <a:gd name="connsiteY14" fmla="*/ 3529 h 7774"/>
                    <a:gd name="connsiteX15" fmla="*/ 239 w 19975"/>
                    <a:gd name="connsiteY15" fmla="*/ 3409 h 7774"/>
                    <a:gd name="connsiteX16" fmla="*/ 0 w 19975"/>
                    <a:gd name="connsiteY16" fmla="*/ 3289 h 7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975" h="7774">
                      <a:moveTo>
                        <a:pt x="11782" y="0"/>
                      </a:moveTo>
                      <a:lnTo>
                        <a:pt x="14115" y="1794"/>
                      </a:lnTo>
                      <a:lnTo>
                        <a:pt x="16447" y="3588"/>
                      </a:lnTo>
                      <a:lnTo>
                        <a:pt x="17583" y="4486"/>
                      </a:lnTo>
                      <a:lnTo>
                        <a:pt x="19318" y="6878"/>
                      </a:lnTo>
                      <a:lnTo>
                        <a:pt x="19976" y="7775"/>
                      </a:lnTo>
                      <a:lnTo>
                        <a:pt x="17284" y="6519"/>
                      </a:lnTo>
                      <a:lnTo>
                        <a:pt x="14593" y="5263"/>
                      </a:lnTo>
                      <a:lnTo>
                        <a:pt x="13218" y="4605"/>
                      </a:lnTo>
                      <a:lnTo>
                        <a:pt x="11662" y="4964"/>
                      </a:lnTo>
                      <a:lnTo>
                        <a:pt x="8852" y="5622"/>
                      </a:lnTo>
                      <a:lnTo>
                        <a:pt x="6280" y="6220"/>
                      </a:lnTo>
                      <a:lnTo>
                        <a:pt x="5144" y="5682"/>
                      </a:lnTo>
                      <a:lnTo>
                        <a:pt x="2452" y="4426"/>
                      </a:lnTo>
                      <a:lnTo>
                        <a:pt x="479" y="3529"/>
                      </a:lnTo>
                      <a:lnTo>
                        <a:pt x="239" y="3409"/>
                      </a:lnTo>
                      <a:lnTo>
                        <a:pt x="0" y="3289"/>
                      </a:lnTo>
                    </a:path>
                  </a:pathLst>
                </a:custGeom>
                <a:noFill/>
                <a:ln w="6350" cap="rnd">
                  <a:solidFill>
                    <a:schemeClr val="bg1">
                      <a:alpha val="40000"/>
                    </a:schemeClr>
                  </a:solidFill>
                  <a:prstDash val="solid"/>
                  <a:round/>
                </a:ln>
              </p:spPr>
              <p:txBody>
                <a:bodyPr rtlCol="0" anchor="ctr"/>
                <a:lstStyle/>
                <a:p>
                  <a:endParaRPr lang="en-GB"/>
                </a:p>
              </p:txBody>
            </p:sp>
            <p:sp>
              <p:nvSpPr>
                <p:cNvPr id="5609" name="Vrije vorm: vorm 5608">
                  <a:extLst>
                    <a:ext uri="{FF2B5EF4-FFF2-40B4-BE49-F238E27FC236}">
                      <a16:creationId xmlns:a16="http://schemas.microsoft.com/office/drawing/2014/main" id="{21EBDFC3-6008-4BF9-A2BE-FDF26827EBAE}"/>
                    </a:ext>
                  </a:extLst>
                </p:cNvPr>
                <p:cNvSpPr/>
                <p:nvPr/>
              </p:nvSpPr>
              <p:spPr>
                <a:xfrm>
                  <a:off x="6420623" y="1738935"/>
                  <a:ext cx="82952" cy="47187"/>
                </a:xfrm>
                <a:custGeom>
                  <a:avLst/>
                  <a:gdLst>
                    <a:gd name="connsiteX0" fmla="*/ 82953 w 82952"/>
                    <a:gd name="connsiteY0" fmla="*/ 47188 h 47187"/>
                    <a:gd name="connsiteX1" fmla="*/ 80441 w 82952"/>
                    <a:gd name="connsiteY1" fmla="*/ 45633 h 47187"/>
                    <a:gd name="connsiteX2" fmla="*/ 77929 w 82952"/>
                    <a:gd name="connsiteY2" fmla="*/ 44078 h 47187"/>
                    <a:gd name="connsiteX3" fmla="*/ 75417 w 82952"/>
                    <a:gd name="connsiteY3" fmla="*/ 42523 h 47187"/>
                    <a:gd name="connsiteX4" fmla="*/ 72905 w 82952"/>
                    <a:gd name="connsiteY4" fmla="*/ 40968 h 47187"/>
                    <a:gd name="connsiteX5" fmla="*/ 70393 w 82952"/>
                    <a:gd name="connsiteY5" fmla="*/ 39413 h 47187"/>
                    <a:gd name="connsiteX6" fmla="*/ 67881 w 82952"/>
                    <a:gd name="connsiteY6" fmla="*/ 37858 h 47187"/>
                    <a:gd name="connsiteX7" fmla="*/ 65370 w 82952"/>
                    <a:gd name="connsiteY7" fmla="*/ 36303 h 47187"/>
                    <a:gd name="connsiteX8" fmla="*/ 62857 w 82952"/>
                    <a:gd name="connsiteY8" fmla="*/ 34748 h 47187"/>
                    <a:gd name="connsiteX9" fmla="*/ 60346 w 82952"/>
                    <a:gd name="connsiteY9" fmla="*/ 33193 h 47187"/>
                    <a:gd name="connsiteX10" fmla="*/ 57834 w 82952"/>
                    <a:gd name="connsiteY10" fmla="*/ 31638 h 47187"/>
                    <a:gd name="connsiteX11" fmla="*/ 55322 w 82952"/>
                    <a:gd name="connsiteY11" fmla="*/ 30083 h 47187"/>
                    <a:gd name="connsiteX12" fmla="*/ 52810 w 82952"/>
                    <a:gd name="connsiteY12" fmla="*/ 28528 h 47187"/>
                    <a:gd name="connsiteX13" fmla="*/ 50298 w 82952"/>
                    <a:gd name="connsiteY13" fmla="*/ 26973 h 47187"/>
                    <a:gd name="connsiteX14" fmla="*/ 47786 w 82952"/>
                    <a:gd name="connsiteY14" fmla="*/ 25418 h 47187"/>
                    <a:gd name="connsiteX15" fmla="*/ 45274 w 82952"/>
                    <a:gd name="connsiteY15" fmla="*/ 23863 h 47187"/>
                    <a:gd name="connsiteX16" fmla="*/ 42762 w 82952"/>
                    <a:gd name="connsiteY16" fmla="*/ 22308 h 47187"/>
                    <a:gd name="connsiteX17" fmla="*/ 41147 w 82952"/>
                    <a:gd name="connsiteY17" fmla="*/ 21291 h 47187"/>
                    <a:gd name="connsiteX18" fmla="*/ 38755 w 82952"/>
                    <a:gd name="connsiteY18" fmla="*/ 20155 h 47187"/>
                    <a:gd name="connsiteX19" fmla="*/ 38157 w 82952"/>
                    <a:gd name="connsiteY19" fmla="*/ 19856 h 47187"/>
                    <a:gd name="connsiteX20" fmla="*/ 35466 w 82952"/>
                    <a:gd name="connsiteY20" fmla="*/ 18600 h 47187"/>
                    <a:gd name="connsiteX21" fmla="*/ 32775 w 82952"/>
                    <a:gd name="connsiteY21" fmla="*/ 17344 h 47187"/>
                    <a:gd name="connsiteX22" fmla="*/ 30083 w 82952"/>
                    <a:gd name="connsiteY22" fmla="*/ 16088 h 47187"/>
                    <a:gd name="connsiteX23" fmla="*/ 29605 w 82952"/>
                    <a:gd name="connsiteY23" fmla="*/ 15849 h 47187"/>
                    <a:gd name="connsiteX24" fmla="*/ 29545 w 82952"/>
                    <a:gd name="connsiteY24" fmla="*/ 15849 h 47187"/>
                    <a:gd name="connsiteX25" fmla="*/ 26854 w 82952"/>
                    <a:gd name="connsiteY25" fmla="*/ 14593 h 47187"/>
                    <a:gd name="connsiteX26" fmla="*/ 24162 w 82952"/>
                    <a:gd name="connsiteY26" fmla="*/ 13337 h 47187"/>
                    <a:gd name="connsiteX27" fmla="*/ 21471 w 82952"/>
                    <a:gd name="connsiteY27" fmla="*/ 12081 h 47187"/>
                    <a:gd name="connsiteX28" fmla="*/ 18780 w 82952"/>
                    <a:gd name="connsiteY28" fmla="*/ 10825 h 47187"/>
                    <a:gd name="connsiteX29" fmla="*/ 16088 w 82952"/>
                    <a:gd name="connsiteY29" fmla="*/ 9569 h 47187"/>
                    <a:gd name="connsiteX30" fmla="*/ 13397 w 82952"/>
                    <a:gd name="connsiteY30" fmla="*/ 8313 h 47187"/>
                    <a:gd name="connsiteX31" fmla="*/ 10706 w 82952"/>
                    <a:gd name="connsiteY31" fmla="*/ 7057 h 47187"/>
                    <a:gd name="connsiteX32" fmla="*/ 8014 w 82952"/>
                    <a:gd name="connsiteY32" fmla="*/ 5801 h 47187"/>
                    <a:gd name="connsiteX33" fmla="*/ 5323 w 82952"/>
                    <a:gd name="connsiteY33" fmla="*/ 4545 h 47187"/>
                    <a:gd name="connsiteX34" fmla="*/ 4785 w 82952"/>
                    <a:gd name="connsiteY34" fmla="*/ 4306 h 47187"/>
                    <a:gd name="connsiteX35" fmla="*/ 2572 w 82952"/>
                    <a:gd name="connsiteY35" fmla="*/ 2332 h 47187"/>
                    <a:gd name="connsiteX36" fmla="*/ 359 w 82952"/>
                    <a:gd name="connsiteY36" fmla="*/ 359 h 47187"/>
                    <a:gd name="connsiteX37" fmla="*/ 0 w 82952"/>
                    <a:gd name="connsiteY37" fmla="*/ 0 h 4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2952" h="47187">
                      <a:moveTo>
                        <a:pt x="82953" y="47188"/>
                      </a:moveTo>
                      <a:lnTo>
                        <a:pt x="80441" y="45633"/>
                      </a:lnTo>
                      <a:lnTo>
                        <a:pt x="77929" y="44078"/>
                      </a:lnTo>
                      <a:lnTo>
                        <a:pt x="75417" y="42523"/>
                      </a:lnTo>
                      <a:lnTo>
                        <a:pt x="72905" y="40968"/>
                      </a:lnTo>
                      <a:lnTo>
                        <a:pt x="70393" y="39413"/>
                      </a:lnTo>
                      <a:lnTo>
                        <a:pt x="67881" y="37858"/>
                      </a:lnTo>
                      <a:lnTo>
                        <a:pt x="65370" y="36303"/>
                      </a:lnTo>
                      <a:lnTo>
                        <a:pt x="62857" y="34748"/>
                      </a:lnTo>
                      <a:lnTo>
                        <a:pt x="60346" y="33193"/>
                      </a:lnTo>
                      <a:lnTo>
                        <a:pt x="57834" y="31638"/>
                      </a:lnTo>
                      <a:lnTo>
                        <a:pt x="55322" y="30083"/>
                      </a:lnTo>
                      <a:lnTo>
                        <a:pt x="52810" y="28528"/>
                      </a:lnTo>
                      <a:lnTo>
                        <a:pt x="50298" y="26973"/>
                      </a:lnTo>
                      <a:lnTo>
                        <a:pt x="47786" y="25418"/>
                      </a:lnTo>
                      <a:lnTo>
                        <a:pt x="45274" y="23863"/>
                      </a:lnTo>
                      <a:lnTo>
                        <a:pt x="42762" y="22308"/>
                      </a:lnTo>
                      <a:lnTo>
                        <a:pt x="41147" y="21291"/>
                      </a:lnTo>
                      <a:lnTo>
                        <a:pt x="38755" y="20155"/>
                      </a:lnTo>
                      <a:lnTo>
                        <a:pt x="38157" y="19856"/>
                      </a:lnTo>
                      <a:lnTo>
                        <a:pt x="35466" y="18600"/>
                      </a:lnTo>
                      <a:lnTo>
                        <a:pt x="32775" y="17344"/>
                      </a:lnTo>
                      <a:lnTo>
                        <a:pt x="30083" y="16088"/>
                      </a:lnTo>
                      <a:lnTo>
                        <a:pt x="29605" y="15849"/>
                      </a:lnTo>
                      <a:lnTo>
                        <a:pt x="29545" y="15849"/>
                      </a:lnTo>
                      <a:lnTo>
                        <a:pt x="26854" y="14593"/>
                      </a:lnTo>
                      <a:lnTo>
                        <a:pt x="24162" y="13337"/>
                      </a:lnTo>
                      <a:lnTo>
                        <a:pt x="21471" y="12081"/>
                      </a:lnTo>
                      <a:lnTo>
                        <a:pt x="18780" y="10825"/>
                      </a:lnTo>
                      <a:lnTo>
                        <a:pt x="16088" y="9569"/>
                      </a:lnTo>
                      <a:lnTo>
                        <a:pt x="13397" y="8313"/>
                      </a:lnTo>
                      <a:lnTo>
                        <a:pt x="10706" y="7057"/>
                      </a:lnTo>
                      <a:lnTo>
                        <a:pt x="8014" y="5801"/>
                      </a:lnTo>
                      <a:lnTo>
                        <a:pt x="5323" y="4545"/>
                      </a:lnTo>
                      <a:lnTo>
                        <a:pt x="4785" y="4306"/>
                      </a:lnTo>
                      <a:lnTo>
                        <a:pt x="2572" y="2332"/>
                      </a:lnTo>
                      <a:lnTo>
                        <a:pt x="359" y="35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10" name="Vrije vorm: vorm 5609">
                  <a:extLst>
                    <a:ext uri="{FF2B5EF4-FFF2-40B4-BE49-F238E27FC236}">
                      <a16:creationId xmlns:a16="http://schemas.microsoft.com/office/drawing/2014/main" id="{B4C0E364-466F-4488-ADC0-FD133DD4C130}"/>
                    </a:ext>
                  </a:extLst>
                </p:cNvPr>
                <p:cNvSpPr/>
                <p:nvPr/>
              </p:nvSpPr>
              <p:spPr>
                <a:xfrm>
                  <a:off x="6423494" y="1743002"/>
                  <a:ext cx="1794" cy="2990"/>
                </a:xfrm>
                <a:custGeom>
                  <a:avLst/>
                  <a:gdLst>
                    <a:gd name="connsiteX0" fmla="*/ 1794 w 1794"/>
                    <a:gd name="connsiteY0" fmla="*/ 0 h 2990"/>
                    <a:gd name="connsiteX1" fmla="*/ 359 w 1794"/>
                    <a:gd name="connsiteY1" fmla="*/ 2452 h 2990"/>
                    <a:gd name="connsiteX2" fmla="*/ 0 w 1794"/>
                    <a:gd name="connsiteY2" fmla="*/ 2990 h 2990"/>
                  </a:gdLst>
                  <a:ahLst/>
                  <a:cxnLst>
                    <a:cxn ang="0">
                      <a:pos x="connsiteX0" y="connsiteY0"/>
                    </a:cxn>
                    <a:cxn ang="0">
                      <a:pos x="connsiteX1" y="connsiteY1"/>
                    </a:cxn>
                    <a:cxn ang="0">
                      <a:pos x="connsiteX2" y="connsiteY2"/>
                    </a:cxn>
                  </a:cxnLst>
                  <a:rect l="l" t="t" r="r" b="b"/>
                  <a:pathLst>
                    <a:path w="1794" h="2990">
                      <a:moveTo>
                        <a:pt x="1794" y="0"/>
                      </a:moveTo>
                      <a:lnTo>
                        <a:pt x="359" y="2452"/>
                      </a:lnTo>
                      <a:lnTo>
                        <a:pt x="0" y="2990"/>
                      </a:lnTo>
                    </a:path>
                  </a:pathLst>
                </a:custGeom>
                <a:noFill/>
                <a:ln w="6350" cap="rnd">
                  <a:solidFill>
                    <a:schemeClr val="bg1">
                      <a:alpha val="40000"/>
                    </a:schemeClr>
                  </a:solidFill>
                  <a:prstDash val="solid"/>
                  <a:round/>
                </a:ln>
              </p:spPr>
              <p:txBody>
                <a:bodyPr rtlCol="0" anchor="ctr"/>
                <a:lstStyle/>
                <a:p>
                  <a:endParaRPr lang="en-GB"/>
                </a:p>
              </p:txBody>
            </p:sp>
            <p:sp>
              <p:nvSpPr>
                <p:cNvPr id="5611" name="Vrije vorm: vorm 5610">
                  <a:extLst>
                    <a:ext uri="{FF2B5EF4-FFF2-40B4-BE49-F238E27FC236}">
                      <a16:creationId xmlns:a16="http://schemas.microsoft.com/office/drawing/2014/main" id="{01D7B1DA-81AE-4FB5-B532-AD73D2D5EFFF}"/>
                    </a:ext>
                  </a:extLst>
                </p:cNvPr>
                <p:cNvSpPr/>
                <p:nvPr/>
              </p:nvSpPr>
              <p:spPr>
                <a:xfrm>
                  <a:off x="6401724" y="1662980"/>
                  <a:ext cx="24221" cy="67342"/>
                </a:xfrm>
                <a:custGeom>
                  <a:avLst/>
                  <a:gdLst>
                    <a:gd name="connsiteX0" fmla="*/ 3409 w 24221"/>
                    <a:gd name="connsiteY0" fmla="*/ 16268 h 67342"/>
                    <a:gd name="connsiteX1" fmla="*/ 3170 w 24221"/>
                    <a:gd name="connsiteY1" fmla="*/ 16148 h 67342"/>
                    <a:gd name="connsiteX2" fmla="*/ 2632 w 24221"/>
                    <a:gd name="connsiteY2" fmla="*/ 15849 h 67342"/>
                    <a:gd name="connsiteX3" fmla="*/ 1435 w 24221"/>
                    <a:gd name="connsiteY3" fmla="*/ 15251 h 67342"/>
                    <a:gd name="connsiteX4" fmla="*/ 1017 w 24221"/>
                    <a:gd name="connsiteY4" fmla="*/ 15012 h 67342"/>
                    <a:gd name="connsiteX5" fmla="*/ 479 w 24221"/>
                    <a:gd name="connsiteY5" fmla="*/ 14653 h 67342"/>
                    <a:gd name="connsiteX6" fmla="*/ 0 w 24221"/>
                    <a:gd name="connsiteY6" fmla="*/ 13337 h 67342"/>
                    <a:gd name="connsiteX7" fmla="*/ 60 w 24221"/>
                    <a:gd name="connsiteY7" fmla="*/ 11483 h 67342"/>
                    <a:gd name="connsiteX8" fmla="*/ 598 w 24221"/>
                    <a:gd name="connsiteY8" fmla="*/ 9270 h 67342"/>
                    <a:gd name="connsiteX9" fmla="*/ 598 w 24221"/>
                    <a:gd name="connsiteY9" fmla="*/ 9210 h 67342"/>
                    <a:gd name="connsiteX10" fmla="*/ 1196 w 24221"/>
                    <a:gd name="connsiteY10" fmla="*/ 7655 h 67342"/>
                    <a:gd name="connsiteX11" fmla="*/ 1974 w 24221"/>
                    <a:gd name="connsiteY11" fmla="*/ 6040 h 67342"/>
                    <a:gd name="connsiteX12" fmla="*/ 2930 w 24221"/>
                    <a:gd name="connsiteY12" fmla="*/ 4545 h 67342"/>
                    <a:gd name="connsiteX13" fmla="*/ 3947 w 24221"/>
                    <a:gd name="connsiteY13" fmla="*/ 3170 h 67342"/>
                    <a:gd name="connsiteX14" fmla="*/ 5024 w 24221"/>
                    <a:gd name="connsiteY14" fmla="*/ 1974 h 67342"/>
                    <a:gd name="connsiteX15" fmla="*/ 6100 w 24221"/>
                    <a:gd name="connsiteY15" fmla="*/ 1017 h 67342"/>
                    <a:gd name="connsiteX16" fmla="*/ 7177 w 24221"/>
                    <a:gd name="connsiteY16" fmla="*/ 359 h 67342"/>
                    <a:gd name="connsiteX17" fmla="*/ 8134 w 24221"/>
                    <a:gd name="connsiteY17" fmla="*/ 0 h 67342"/>
                    <a:gd name="connsiteX18" fmla="*/ 8971 w 24221"/>
                    <a:gd name="connsiteY18" fmla="*/ 0 h 67342"/>
                    <a:gd name="connsiteX19" fmla="*/ 9091 w 24221"/>
                    <a:gd name="connsiteY19" fmla="*/ 60 h 67342"/>
                    <a:gd name="connsiteX20" fmla="*/ 9629 w 24221"/>
                    <a:gd name="connsiteY20" fmla="*/ 359 h 67342"/>
                    <a:gd name="connsiteX21" fmla="*/ 12201 w 24221"/>
                    <a:gd name="connsiteY21" fmla="*/ 1794 h 67342"/>
                    <a:gd name="connsiteX22" fmla="*/ 14772 w 24221"/>
                    <a:gd name="connsiteY22" fmla="*/ 3230 h 67342"/>
                    <a:gd name="connsiteX23" fmla="*/ 15072 w 24221"/>
                    <a:gd name="connsiteY23" fmla="*/ 3409 h 67342"/>
                    <a:gd name="connsiteX24" fmla="*/ 15550 w 24221"/>
                    <a:gd name="connsiteY24" fmla="*/ 4067 h 67342"/>
                    <a:gd name="connsiteX25" fmla="*/ 15789 w 24221"/>
                    <a:gd name="connsiteY25" fmla="*/ 5024 h 67342"/>
                    <a:gd name="connsiteX26" fmla="*/ 15968 w 24221"/>
                    <a:gd name="connsiteY26" fmla="*/ 6160 h 67342"/>
                    <a:gd name="connsiteX27" fmla="*/ 16387 w 24221"/>
                    <a:gd name="connsiteY27" fmla="*/ 9270 h 67342"/>
                    <a:gd name="connsiteX28" fmla="*/ 16447 w 24221"/>
                    <a:gd name="connsiteY28" fmla="*/ 9509 h 67342"/>
                    <a:gd name="connsiteX29" fmla="*/ 16866 w 24221"/>
                    <a:gd name="connsiteY29" fmla="*/ 12619 h 67342"/>
                    <a:gd name="connsiteX30" fmla="*/ 16985 w 24221"/>
                    <a:gd name="connsiteY30" fmla="*/ 13457 h 67342"/>
                    <a:gd name="connsiteX31" fmla="*/ 17165 w 24221"/>
                    <a:gd name="connsiteY31" fmla="*/ 14892 h 67342"/>
                    <a:gd name="connsiteX32" fmla="*/ 17464 w 24221"/>
                    <a:gd name="connsiteY32" fmla="*/ 17165 h 67342"/>
                    <a:gd name="connsiteX33" fmla="*/ 17464 w 24221"/>
                    <a:gd name="connsiteY33" fmla="*/ 17165 h 67342"/>
                    <a:gd name="connsiteX34" fmla="*/ 17882 w 24221"/>
                    <a:gd name="connsiteY34" fmla="*/ 20155 h 67342"/>
                    <a:gd name="connsiteX35" fmla="*/ 17942 w 24221"/>
                    <a:gd name="connsiteY35" fmla="*/ 20454 h 67342"/>
                    <a:gd name="connsiteX36" fmla="*/ 18121 w 24221"/>
                    <a:gd name="connsiteY36" fmla="*/ 21650 h 67342"/>
                    <a:gd name="connsiteX37" fmla="*/ 18301 w 24221"/>
                    <a:gd name="connsiteY37" fmla="*/ 22787 h 67342"/>
                    <a:gd name="connsiteX38" fmla="*/ 18660 w 24221"/>
                    <a:gd name="connsiteY38" fmla="*/ 25538 h 67342"/>
                    <a:gd name="connsiteX39" fmla="*/ 18839 w 24221"/>
                    <a:gd name="connsiteY39" fmla="*/ 26734 h 67342"/>
                    <a:gd name="connsiteX40" fmla="*/ 19258 w 24221"/>
                    <a:gd name="connsiteY40" fmla="*/ 29844 h 67342"/>
                    <a:gd name="connsiteX41" fmla="*/ 19377 w 24221"/>
                    <a:gd name="connsiteY41" fmla="*/ 30561 h 67342"/>
                    <a:gd name="connsiteX42" fmla="*/ 19796 w 24221"/>
                    <a:gd name="connsiteY42" fmla="*/ 33671 h 67342"/>
                    <a:gd name="connsiteX43" fmla="*/ 20215 w 24221"/>
                    <a:gd name="connsiteY43" fmla="*/ 36781 h 67342"/>
                    <a:gd name="connsiteX44" fmla="*/ 20634 w 24221"/>
                    <a:gd name="connsiteY44" fmla="*/ 39832 h 67342"/>
                    <a:gd name="connsiteX45" fmla="*/ 21052 w 24221"/>
                    <a:gd name="connsiteY45" fmla="*/ 42942 h 67342"/>
                    <a:gd name="connsiteX46" fmla="*/ 21471 w 24221"/>
                    <a:gd name="connsiteY46" fmla="*/ 45992 h 67342"/>
                    <a:gd name="connsiteX47" fmla="*/ 21889 w 24221"/>
                    <a:gd name="connsiteY47" fmla="*/ 49102 h 67342"/>
                    <a:gd name="connsiteX48" fmla="*/ 22308 w 24221"/>
                    <a:gd name="connsiteY48" fmla="*/ 52212 h 67342"/>
                    <a:gd name="connsiteX49" fmla="*/ 22727 w 24221"/>
                    <a:gd name="connsiteY49" fmla="*/ 55322 h 67342"/>
                    <a:gd name="connsiteX50" fmla="*/ 23026 w 24221"/>
                    <a:gd name="connsiteY50" fmla="*/ 57355 h 67342"/>
                    <a:gd name="connsiteX51" fmla="*/ 23444 w 24221"/>
                    <a:gd name="connsiteY51" fmla="*/ 60465 h 67342"/>
                    <a:gd name="connsiteX52" fmla="*/ 23684 w 24221"/>
                    <a:gd name="connsiteY52" fmla="*/ 62439 h 67342"/>
                    <a:gd name="connsiteX53" fmla="*/ 24102 w 24221"/>
                    <a:gd name="connsiteY53" fmla="*/ 65549 h 67342"/>
                    <a:gd name="connsiteX54" fmla="*/ 24162 w 24221"/>
                    <a:gd name="connsiteY54" fmla="*/ 65967 h 67342"/>
                    <a:gd name="connsiteX55" fmla="*/ 24222 w 24221"/>
                    <a:gd name="connsiteY55" fmla="*/ 66207 h 67342"/>
                    <a:gd name="connsiteX56" fmla="*/ 23983 w 24221"/>
                    <a:gd name="connsiteY56" fmla="*/ 66565 h 67342"/>
                    <a:gd name="connsiteX57" fmla="*/ 23863 w 24221"/>
                    <a:gd name="connsiteY57" fmla="*/ 66805 h 67342"/>
                    <a:gd name="connsiteX58" fmla="*/ 23564 w 24221"/>
                    <a:gd name="connsiteY58" fmla="*/ 67343 h 6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4221" h="67342">
                      <a:moveTo>
                        <a:pt x="3409" y="16268"/>
                      </a:moveTo>
                      <a:lnTo>
                        <a:pt x="3170" y="16148"/>
                      </a:lnTo>
                      <a:lnTo>
                        <a:pt x="2632" y="15849"/>
                      </a:lnTo>
                      <a:lnTo>
                        <a:pt x="1435" y="15251"/>
                      </a:lnTo>
                      <a:lnTo>
                        <a:pt x="1017" y="15012"/>
                      </a:lnTo>
                      <a:lnTo>
                        <a:pt x="479" y="14653"/>
                      </a:lnTo>
                      <a:lnTo>
                        <a:pt x="0" y="13337"/>
                      </a:lnTo>
                      <a:lnTo>
                        <a:pt x="60" y="11483"/>
                      </a:lnTo>
                      <a:lnTo>
                        <a:pt x="598" y="9270"/>
                      </a:lnTo>
                      <a:lnTo>
                        <a:pt x="598" y="9210"/>
                      </a:lnTo>
                      <a:lnTo>
                        <a:pt x="1196" y="7655"/>
                      </a:lnTo>
                      <a:lnTo>
                        <a:pt x="1974" y="6040"/>
                      </a:lnTo>
                      <a:lnTo>
                        <a:pt x="2930" y="4545"/>
                      </a:lnTo>
                      <a:lnTo>
                        <a:pt x="3947" y="3170"/>
                      </a:lnTo>
                      <a:lnTo>
                        <a:pt x="5024" y="1974"/>
                      </a:lnTo>
                      <a:lnTo>
                        <a:pt x="6100" y="1017"/>
                      </a:lnTo>
                      <a:lnTo>
                        <a:pt x="7177" y="359"/>
                      </a:lnTo>
                      <a:lnTo>
                        <a:pt x="8134" y="0"/>
                      </a:lnTo>
                      <a:lnTo>
                        <a:pt x="8971" y="0"/>
                      </a:lnTo>
                      <a:lnTo>
                        <a:pt x="9091" y="60"/>
                      </a:lnTo>
                      <a:lnTo>
                        <a:pt x="9629" y="359"/>
                      </a:lnTo>
                      <a:lnTo>
                        <a:pt x="12201" y="1794"/>
                      </a:lnTo>
                      <a:lnTo>
                        <a:pt x="14772" y="3230"/>
                      </a:lnTo>
                      <a:lnTo>
                        <a:pt x="15072" y="3409"/>
                      </a:lnTo>
                      <a:lnTo>
                        <a:pt x="15550" y="4067"/>
                      </a:lnTo>
                      <a:lnTo>
                        <a:pt x="15789" y="5024"/>
                      </a:lnTo>
                      <a:lnTo>
                        <a:pt x="15968" y="6160"/>
                      </a:lnTo>
                      <a:lnTo>
                        <a:pt x="16387" y="9270"/>
                      </a:lnTo>
                      <a:lnTo>
                        <a:pt x="16447" y="9509"/>
                      </a:lnTo>
                      <a:lnTo>
                        <a:pt x="16866" y="12619"/>
                      </a:lnTo>
                      <a:lnTo>
                        <a:pt x="16985" y="13457"/>
                      </a:lnTo>
                      <a:lnTo>
                        <a:pt x="17165" y="14892"/>
                      </a:lnTo>
                      <a:lnTo>
                        <a:pt x="17464" y="17165"/>
                      </a:lnTo>
                      <a:lnTo>
                        <a:pt x="17464" y="17165"/>
                      </a:lnTo>
                      <a:lnTo>
                        <a:pt x="17882" y="20155"/>
                      </a:lnTo>
                      <a:lnTo>
                        <a:pt x="17942" y="20454"/>
                      </a:lnTo>
                      <a:lnTo>
                        <a:pt x="18121" y="21650"/>
                      </a:lnTo>
                      <a:lnTo>
                        <a:pt x="18301" y="22787"/>
                      </a:lnTo>
                      <a:lnTo>
                        <a:pt x="18660" y="25538"/>
                      </a:lnTo>
                      <a:lnTo>
                        <a:pt x="18839" y="26734"/>
                      </a:lnTo>
                      <a:lnTo>
                        <a:pt x="19258" y="29844"/>
                      </a:lnTo>
                      <a:lnTo>
                        <a:pt x="19377" y="30561"/>
                      </a:lnTo>
                      <a:lnTo>
                        <a:pt x="19796" y="33671"/>
                      </a:lnTo>
                      <a:lnTo>
                        <a:pt x="20215" y="36781"/>
                      </a:lnTo>
                      <a:lnTo>
                        <a:pt x="20634" y="39832"/>
                      </a:lnTo>
                      <a:lnTo>
                        <a:pt x="21052" y="42942"/>
                      </a:lnTo>
                      <a:lnTo>
                        <a:pt x="21471" y="45992"/>
                      </a:lnTo>
                      <a:lnTo>
                        <a:pt x="21889" y="49102"/>
                      </a:lnTo>
                      <a:lnTo>
                        <a:pt x="22308" y="52212"/>
                      </a:lnTo>
                      <a:lnTo>
                        <a:pt x="22727" y="55322"/>
                      </a:lnTo>
                      <a:lnTo>
                        <a:pt x="23026" y="57355"/>
                      </a:lnTo>
                      <a:lnTo>
                        <a:pt x="23444" y="60465"/>
                      </a:lnTo>
                      <a:lnTo>
                        <a:pt x="23684" y="62439"/>
                      </a:lnTo>
                      <a:lnTo>
                        <a:pt x="24102" y="65549"/>
                      </a:lnTo>
                      <a:lnTo>
                        <a:pt x="24162" y="65967"/>
                      </a:lnTo>
                      <a:lnTo>
                        <a:pt x="24222" y="66207"/>
                      </a:lnTo>
                      <a:lnTo>
                        <a:pt x="23983" y="66565"/>
                      </a:lnTo>
                      <a:lnTo>
                        <a:pt x="23863" y="66805"/>
                      </a:lnTo>
                      <a:lnTo>
                        <a:pt x="23564" y="67343"/>
                      </a:lnTo>
                    </a:path>
                  </a:pathLst>
                </a:custGeom>
                <a:noFill/>
                <a:ln w="6350" cap="rnd">
                  <a:solidFill>
                    <a:schemeClr val="bg1">
                      <a:alpha val="40000"/>
                    </a:schemeClr>
                  </a:solidFill>
                  <a:prstDash val="solid"/>
                  <a:round/>
                </a:ln>
              </p:spPr>
              <p:txBody>
                <a:bodyPr rtlCol="0" anchor="ctr"/>
                <a:lstStyle/>
                <a:p>
                  <a:endParaRPr lang="en-GB"/>
                </a:p>
              </p:txBody>
            </p:sp>
            <p:sp>
              <p:nvSpPr>
                <p:cNvPr id="5612" name="Vrije vorm: vorm 5611">
                  <a:extLst>
                    <a:ext uri="{FF2B5EF4-FFF2-40B4-BE49-F238E27FC236}">
                      <a16:creationId xmlns:a16="http://schemas.microsoft.com/office/drawing/2014/main" id="{689F3421-3284-4CCC-BAA3-CB4F4F8B0F7D}"/>
                    </a:ext>
                  </a:extLst>
                </p:cNvPr>
                <p:cNvSpPr/>
                <p:nvPr/>
              </p:nvSpPr>
              <p:spPr>
                <a:xfrm>
                  <a:off x="6403220" y="1663398"/>
                  <a:ext cx="8971" cy="14712"/>
                </a:xfrm>
                <a:custGeom>
                  <a:avLst/>
                  <a:gdLst>
                    <a:gd name="connsiteX0" fmla="*/ 8253 w 8971"/>
                    <a:gd name="connsiteY0" fmla="*/ 0 h 14712"/>
                    <a:gd name="connsiteX1" fmla="*/ 8732 w 8971"/>
                    <a:gd name="connsiteY1" fmla="*/ 658 h 14712"/>
                    <a:gd name="connsiteX2" fmla="*/ 8971 w 8971"/>
                    <a:gd name="connsiteY2" fmla="*/ 1615 h 14712"/>
                    <a:gd name="connsiteX3" fmla="*/ 8911 w 8971"/>
                    <a:gd name="connsiteY3" fmla="*/ 3469 h 14712"/>
                    <a:gd name="connsiteX4" fmla="*/ 8373 w 8971"/>
                    <a:gd name="connsiteY4" fmla="*/ 5682 h 14712"/>
                    <a:gd name="connsiteX5" fmla="*/ 7655 w 8971"/>
                    <a:gd name="connsiteY5" fmla="*/ 7356 h 14712"/>
                    <a:gd name="connsiteX6" fmla="*/ 7356 w 8971"/>
                    <a:gd name="connsiteY6" fmla="*/ 8074 h 14712"/>
                    <a:gd name="connsiteX7" fmla="*/ 5981 w 8971"/>
                    <a:gd name="connsiteY7" fmla="*/ 10347 h 14712"/>
                    <a:gd name="connsiteX8" fmla="*/ 4426 w 8971"/>
                    <a:gd name="connsiteY8" fmla="*/ 12320 h 14712"/>
                    <a:gd name="connsiteX9" fmla="*/ 2811 w 8971"/>
                    <a:gd name="connsiteY9" fmla="*/ 13815 h 14712"/>
                    <a:gd name="connsiteX10" fmla="*/ 1256 w 8971"/>
                    <a:gd name="connsiteY10" fmla="*/ 14653 h 14712"/>
                    <a:gd name="connsiteX11" fmla="*/ 897 w 8971"/>
                    <a:gd name="connsiteY11" fmla="*/ 14653 h 14712"/>
                    <a:gd name="connsiteX12" fmla="*/ 837 w 8971"/>
                    <a:gd name="connsiteY12" fmla="*/ 14653 h 14712"/>
                    <a:gd name="connsiteX13" fmla="*/ 0 w 8971"/>
                    <a:gd name="connsiteY13" fmla="*/ 14713 h 1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71" h="14712">
                      <a:moveTo>
                        <a:pt x="8253" y="0"/>
                      </a:moveTo>
                      <a:lnTo>
                        <a:pt x="8732" y="658"/>
                      </a:lnTo>
                      <a:lnTo>
                        <a:pt x="8971" y="1615"/>
                      </a:lnTo>
                      <a:lnTo>
                        <a:pt x="8911" y="3469"/>
                      </a:lnTo>
                      <a:lnTo>
                        <a:pt x="8373" y="5682"/>
                      </a:lnTo>
                      <a:lnTo>
                        <a:pt x="7655" y="7356"/>
                      </a:lnTo>
                      <a:lnTo>
                        <a:pt x="7356" y="8074"/>
                      </a:lnTo>
                      <a:lnTo>
                        <a:pt x="5981" y="10347"/>
                      </a:lnTo>
                      <a:lnTo>
                        <a:pt x="4426" y="12320"/>
                      </a:lnTo>
                      <a:lnTo>
                        <a:pt x="2811" y="13815"/>
                      </a:lnTo>
                      <a:lnTo>
                        <a:pt x="1256" y="14653"/>
                      </a:lnTo>
                      <a:lnTo>
                        <a:pt x="897" y="14653"/>
                      </a:lnTo>
                      <a:lnTo>
                        <a:pt x="837" y="14653"/>
                      </a:lnTo>
                      <a:lnTo>
                        <a:pt x="0" y="14713"/>
                      </a:lnTo>
                    </a:path>
                  </a:pathLst>
                </a:custGeom>
                <a:noFill/>
                <a:ln w="6350" cap="rnd">
                  <a:solidFill>
                    <a:schemeClr val="bg1">
                      <a:alpha val="40000"/>
                    </a:schemeClr>
                  </a:solidFill>
                  <a:prstDash val="solid"/>
                  <a:round/>
                </a:ln>
              </p:spPr>
              <p:txBody>
                <a:bodyPr rtlCol="0" anchor="ctr"/>
                <a:lstStyle/>
                <a:p>
                  <a:endParaRPr lang="en-GB"/>
                </a:p>
              </p:txBody>
            </p:sp>
            <p:sp>
              <p:nvSpPr>
                <p:cNvPr id="5613" name="Vrije vorm: vorm 5612">
                  <a:extLst>
                    <a:ext uri="{FF2B5EF4-FFF2-40B4-BE49-F238E27FC236}">
                      <a16:creationId xmlns:a16="http://schemas.microsoft.com/office/drawing/2014/main" id="{A799F613-FB24-4C07-9D43-86ED49879C0E}"/>
                    </a:ext>
                  </a:extLst>
                </p:cNvPr>
                <p:cNvSpPr/>
                <p:nvPr/>
              </p:nvSpPr>
              <p:spPr>
                <a:xfrm>
                  <a:off x="6409439" y="1665850"/>
                  <a:ext cx="717" cy="1794"/>
                </a:xfrm>
                <a:custGeom>
                  <a:avLst/>
                  <a:gdLst>
                    <a:gd name="connsiteX0" fmla="*/ 718 w 717"/>
                    <a:gd name="connsiteY0" fmla="*/ 1794 h 1794"/>
                    <a:gd name="connsiteX1" fmla="*/ 658 w 717"/>
                    <a:gd name="connsiteY1" fmla="*/ 957 h 1794"/>
                    <a:gd name="connsiteX2" fmla="*/ 658 w 717"/>
                    <a:gd name="connsiteY2" fmla="*/ 957 h 1794"/>
                    <a:gd name="connsiteX3" fmla="*/ 598 w 717"/>
                    <a:gd name="connsiteY3" fmla="*/ 778 h 1794"/>
                    <a:gd name="connsiteX4" fmla="*/ 419 w 717"/>
                    <a:gd name="connsiteY4" fmla="*/ 359 h 1794"/>
                    <a:gd name="connsiteX5" fmla="*/ 0 w 717"/>
                    <a:gd name="connsiteY5" fmla="*/ 0 h 1794"/>
                    <a:gd name="connsiteX6" fmla="*/ 0 w 717"/>
                    <a:gd name="connsiteY6" fmla="*/ 0 h 1794"/>
                    <a:gd name="connsiteX7" fmla="*/ 0 w 717"/>
                    <a:gd name="connsiteY7" fmla="*/ 0 h 1794"/>
                    <a:gd name="connsiteX8" fmla="*/ 0 w 717"/>
                    <a:gd name="connsiteY8" fmla="*/ 0 h 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 h="1794">
                      <a:moveTo>
                        <a:pt x="718" y="1794"/>
                      </a:moveTo>
                      <a:lnTo>
                        <a:pt x="658" y="957"/>
                      </a:lnTo>
                      <a:lnTo>
                        <a:pt x="658" y="957"/>
                      </a:lnTo>
                      <a:lnTo>
                        <a:pt x="598" y="778"/>
                      </a:lnTo>
                      <a:lnTo>
                        <a:pt x="419" y="359"/>
                      </a:lnTo>
                      <a:lnTo>
                        <a:pt x="0" y="0"/>
                      </a:lnTo>
                      <a:lnTo>
                        <a:pt x="0" y="0"/>
                      </a:lnTo>
                      <a:lnTo>
                        <a:pt x="0" y="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14" name="Vrije vorm: vorm 5613">
                  <a:extLst>
                    <a:ext uri="{FF2B5EF4-FFF2-40B4-BE49-F238E27FC236}">
                      <a16:creationId xmlns:a16="http://schemas.microsoft.com/office/drawing/2014/main" id="{0ECF67B1-66B7-4E1C-A5BD-E54E42806A5A}"/>
                    </a:ext>
                  </a:extLst>
                </p:cNvPr>
                <p:cNvSpPr/>
                <p:nvPr/>
              </p:nvSpPr>
              <p:spPr>
                <a:xfrm>
                  <a:off x="6409619" y="1668362"/>
                  <a:ext cx="418" cy="1435"/>
                </a:xfrm>
                <a:custGeom>
                  <a:avLst/>
                  <a:gdLst>
                    <a:gd name="connsiteX0" fmla="*/ 0 w 418"/>
                    <a:gd name="connsiteY0" fmla="*/ 1435 h 1435"/>
                    <a:gd name="connsiteX1" fmla="*/ 359 w 418"/>
                    <a:gd name="connsiteY1" fmla="*/ 299 h 1435"/>
                    <a:gd name="connsiteX2" fmla="*/ 419 w 418"/>
                    <a:gd name="connsiteY2" fmla="*/ 0 h 1435"/>
                  </a:gdLst>
                  <a:ahLst/>
                  <a:cxnLst>
                    <a:cxn ang="0">
                      <a:pos x="connsiteX0" y="connsiteY0"/>
                    </a:cxn>
                    <a:cxn ang="0">
                      <a:pos x="connsiteX1" y="connsiteY1"/>
                    </a:cxn>
                    <a:cxn ang="0">
                      <a:pos x="connsiteX2" y="connsiteY2"/>
                    </a:cxn>
                  </a:cxnLst>
                  <a:rect l="l" t="t" r="r" b="b"/>
                  <a:pathLst>
                    <a:path w="418" h="1435">
                      <a:moveTo>
                        <a:pt x="0" y="1435"/>
                      </a:moveTo>
                      <a:lnTo>
                        <a:pt x="359" y="299"/>
                      </a:lnTo>
                      <a:lnTo>
                        <a:pt x="419" y="0"/>
                      </a:lnTo>
                    </a:path>
                  </a:pathLst>
                </a:custGeom>
                <a:noFill/>
                <a:ln w="6350" cap="rnd">
                  <a:solidFill>
                    <a:schemeClr val="bg1">
                      <a:alpha val="40000"/>
                    </a:schemeClr>
                  </a:solidFill>
                  <a:prstDash val="solid"/>
                  <a:round/>
                </a:ln>
              </p:spPr>
              <p:txBody>
                <a:bodyPr rtlCol="0" anchor="ctr"/>
                <a:lstStyle/>
                <a:p>
                  <a:endParaRPr lang="en-GB"/>
                </a:p>
              </p:txBody>
            </p:sp>
            <p:sp>
              <p:nvSpPr>
                <p:cNvPr id="5615" name="Vrije vorm: vorm 5614">
                  <a:extLst>
                    <a:ext uri="{FF2B5EF4-FFF2-40B4-BE49-F238E27FC236}">
                      <a16:creationId xmlns:a16="http://schemas.microsoft.com/office/drawing/2014/main" id="{24E9C9C3-D7D9-4B75-9587-AEA99D2FEEC5}"/>
                    </a:ext>
                  </a:extLst>
                </p:cNvPr>
                <p:cNvSpPr/>
                <p:nvPr/>
              </p:nvSpPr>
              <p:spPr>
                <a:xfrm>
                  <a:off x="6407645" y="1670994"/>
                  <a:ext cx="1435" cy="2093"/>
                </a:xfrm>
                <a:custGeom>
                  <a:avLst/>
                  <a:gdLst>
                    <a:gd name="connsiteX0" fmla="*/ 0 w 1435"/>
                    <a:gd name="connsiteY0" fmla="*/ 2093 h 2093"/>
                    <a:gd name="connsiteX1" fmla="*/ 778 w 1435"/>
                    <a:gd name="connsiteY1" fmla="*/ 1136 h 2093"/>
                    <a:gd name="connsiteX2" fmla="*/ 1435 w 1435"/>
                    <a:gd name="connsiteY2" fmla="*/ 0 h 2093"/>
                  </a:gdLst>
                  <a:ahLst/>
                  <a:cxnLst>
                    <a:cxn ang="0">
                      <a:pos x="connsiteX0" y="connsiteY0"/>
                    </a:cxn>
                    <a:cxn ang="0">
                      <a:pos x="connsiteX1" y="connsiteY1"/>
                    </a:cxn>
                    <a:cxn ang="0">
                      <a:pos x="connsiteX2" y="connsiteY2"/>
                    </a:cxn>
                  </a:cxnLst>
                  <a:rect l="l" t="t" r="r" b="b"/>
                  <a:pathLst>
                    <a:path w="1435" h="2093">
                      <a:moveTo>
                        <a:pt x="0" y="2093"/>
                      </a:moveTo>
                      <a:lnTo>
                        <a:pt x="778" y="1136"/>
                      </a:lnTo>
                      <a:lnTo>
                        <a:pt x="1435" y="0"/>
                      </a:lnTo>
                    </a:path>
                  </a:pathLst>
                </a:custGeom>
                <a:noFill/>
                <a:ln w="6350" cap="rnd">
                  <a:solidFill>
                    <a:schemeClr val="bg1">
                      <a:alpha val="40000"/>
                    </a:schemeClr>
                  </a:solidFill>
                  <a:prstDash val="solid"/>
                  <a:round/>
                </a:ln>
              </p:spPr>
              <p:txBody>
                <a:bodyPr rtlCol="0" anchor="ctr"/>
                <a:lstStyle/>
                <a:p>
                  <a:endParaRPr lang="en-GB"/>
                </a:p>
              </p:txBody>
            </p:sp>
            <p:sp>
              <p:nvSpPr>
                <p:cNvPr id="5616" name="Vrije vorm: vorm 5615">
                  <a:extLst>
                    <a:ext uri="{FF2B5EF4-FFF2-40B4-BE49-F238E27FC236}">
                      <a16:creationId xmlns:a16="http://schemas.microsoft.com/office/drawing/2014/main" id="{88D4E373-43C3-4408-8CA6-814BAC9A09A1}"/>
                    </a:ext>
                  </a:extLst>
                </p:cNvPr>
                <p:cNvSpPr/>
                <p:nvPr/>
              </p:nvSpPr>
              <p:spPr>
                <a:xfrm>
                  <a:off x="6404775" y="1674582"/>
                  <a:ext cx="597" cy="59"/>
                </a:xfrm>
                <a:custGeom>
                  <a:avLst/>
                  <a:gdLst>
                    <a:gd name="connsiteX0" fmla="*/ 0 w 597"/>
                    <a:gd name="connsiteY0" fmla="*/ 0 h 59"/>
                    <a:gd name="connsiteX1" fmla="*/ 598 w 597"/>
                    <a:gd name="connsiteY1" fmla="*/ 60 h 59"/>
                  </a:gdLst>
                  <a:ahLst/>
                  <a:cxnLst>
                    <a:cxn ang="0">
                      <a:pos x="connsiteX0" y="connsiteY0"/>
                    </a:cxn>
                    <a:cxn ang="0">
                      <a:pos x="connsiteX1" y="connsiteY1"/>
                    </a:cxn>
                  </a:cxnLst>
                  <a:rect l="l" t="t" r="r" b="b"/>
                  <a:pathLst>
                    <a:path w="597" h="59">
                      <a:moveTo>
                        <a:pt x="0" y="0"/>
                      </a:moveTo>
                      <a:lnTo>
                        <a:pt x="598" y="60"/>
                      </a:lnTo>
                    </a:path>
                  </a:pathLst>
                </a:custGeom>
                <a:noFill/>
                <a:ln w="6350" cap="rnd">
                  <a:solidFill>
                    <a:schemeClr val="bg1">
                      <a:alpha val="40000"/>
                    </a:schemeClr>
                  </a:solidFill>
                  <a:prstDash val="solid"/>
                  <a:round/>
                </a:ln>
              </p:spPr>
              <p:txBody>
                <a:bodyPr rtlCol="0" anchor="ctr"/>
                <a:lstStyle/>
                <a:p>
                  <a:endParaRPr lang="en-GB"/>
                </a:p>
              </p:txBody>
            </p:sp>
            <p:sp>
              <p:nvSpPr>
                <p:cNvPr id="5617" name="Vrije vorm: vorm 5616">
                  <a:extLst>
                    <a:ext uri="{FF2B5EF4-FFF2-40B4-BE49-F238E27FC236}">
                      <a16:creationId xmlns:a16="http://schemas.microsoft.com/office/drawing/2014/main" id="{D4950F10-B088-4A7B-B1FD-9CEC4DA1382A}"/>
                    </a:ext>
                  </a:extLst>
                </p:cNvPr>
                <p:cNvSpPr/>
                <p:nvPr/>
              </p:nvSpPr>
              <p:spPr>
                <a:xfrm>
                  <a:off x="6394847" y="1677812"/>
                  <a:ext cx="8014" cy="17523"/>
                </a:xfrm>
                <a:custGeom>
                  <a:avLst/>
                  <a:gdLst>
                    <a:gd name="connsiteX0" fmla="*/ 0 w 8014"/>
                    <a:gd name="connsiteY0" fmla="*/ 17524 h 17523"/>
                    <a:gd name="connsiteX1" fmla="*/ 1017 w 8014"/>
                    <a:gd name="connsiteY1" fmla="*/ 14414 h 17523"/>
                    <a:gd name="connsiteX2" fmla="*/ 2034 w 8014"/>
                    <a:gd name="connsiteY2" fmla="*/ 11304 h 17523"/>
                    <a:gd name="connsiteX3" fmla="*/ 3050 w 8014"/>
                    <a:gd name="connsiteY3" fmla="*/ 8194 h 17523"/>
                    <a:gd name="connsiteX4" fmla="*/ 4067 w 8014"/>
                    <a:gd name="connsiteY4" fmla="*/ 5084 h 17523"/>
                    <a:gd name="connsiteX5" fmla="*/ 5084 w 8014"/>
                    <a:gd name="connsiteY5" fmla="*/ 1974 h 17523"/>
                    <a:gd name="connsiteX6" fmla="*/ 5562 w 8014"/>
                    <a:gd name="connsiteY6" fmla="*/ 419 h 17523"/>
                    <a:gd name="connsiteX7" fmla="*/ 7536 w 8014"/>
                    <a:gd name="connsiteY7" fmla="*/ 1435 h 17523"/>
                    <a:gd name="connsiteX8" fmla="*/ 8014 w 8014"/>
                    <a:gd name="connsiteY8" fmla="*/ 0 h 1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14" h="17523">
                      <a:moveTo>
                        <a:pt x="0" y="17524"/>
                      </a:moveTo>
                      <a:lnTo>
                        <a:pt x="1017" y="14414"/>
                      </a:lnTo>
                      <a:lnTo>
                        <a:pt x="2034" y="11304"/>
                      </a:lnTo>
                      <a:lnTo>
                        <a:pt x="3050" y="8194"/>
                      </a:lnTo>
                      <a:lnTo>
                        <a:pt x="4067" y="5084"/>
                      </a:lnTo>
                      <a:lnTo>
                        <a:pt x="5084" y="1974"/>
                      </a:lnTo>
                      <a:lnTo>
                        <a:pt x="5562" y="419"/>
                      </a:lnTo>
                      <a:lnTo>
                        <a:pt x="7536" y="1435"/>
                      </a:lnTo>
                      <a:lnTo>
                        <a:pt x="8014" y="0"/>
                      </a:lnTo>
                    </a:path>
                  </a:pathLst>
                </a:custGeom>
                <a:noFill/>
                <a:ln w="6350" cap="rnd">
                  <a:solidFill>
                    <a:schemeClr val="bg1">
                      <a:alpha val="40000"/>
                    </a:schemeClr>
                  </a:solidFill>
                  <a:prstDash val="solid"/>
                  <a:round/>
                </a:ln>
              </p:spPr>
              <p:txBody>
                <a:bodyPr rtlCol="0" anchor="ctr"/>
                <a:lstStyle/>
                <a:p>
                  <a:endParaRPr lang="en-GB"/>
                </a:p>
              </p:txBody>
            </p:sp>
            <p:sp>
              <p:nvSpPr>
                <p:cNvPr id="5618" name="Vrije vorm: vorm 5617">
                  <a:extLst>
                    <a:ext uri="{FF2B5EF4-FFF2-40B4-BE49-F238E27FC236}">
                      <a16:creationId xmlns:a16="http://schemas.microsoft.com/office/drawing/2014/main" id="{2462223D-CCFA-4EBC-969E-73E08B00DA0E}"/>
                    </a:ext>
                  </a:extLst>
                </p:cNvPr>
                <p:cNvSpPr/>
                <p:nvPr/>
              </p:nvSpPr>
              <p:spPr>
                <a:xfrm>
                  <a:off x="6419966" y="1726375"/>
                  <a:ext cx="6040" cy="2990"/>
                </a:xfrm>
                <a:custGeom>
                  <a:avLst/>
                  <a:gdLst>
                    <a:gd name="connsiteX0" fmla="*/ 6041 w 6040"/>
                    <a:gd name="connsiteY0" fmla="*/ 2990 h 2990"/>
                    <a:gd name="connsiteX1" fmla="*/ 3349 w 6040"/>
                    <a:gd name="connsiteY1" fmla="*/ 1675 h 2990"/>
                    <a:gd name="connsiteX2" fmla="*/ 2273 w 6040"/>
                    <a:gd name="connsiteY2" fmla="*/ 1136 h 2990"/>
                    <a:gd name="connsiteX3" fmla="*/ 2034 w 6040"/>
                    <a:gd name="connsiteY3" fmla="*/ 1017 h 2990"/>
                    <a:gd name="connsiteX4" fmla="*/ 0 w 6040"/>
                    <a:gd name="connsiteY4" fmla="*/ 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0" h="2990">
                      <a:moveTo>
                        <a:pt x="6041" y="2990"/>
                      </a:moveTo>
                      <a:lnTo>
                        <a:pt x="3349" y="1675"/>
                      </a:lnTo>
                      <a:lnTo>
                        <a:pt x="2273" y="1136"/>
                      </a:lnTo>
                      <a:lnTo>
                        <a:pt x="2034" y="101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19" name="Vrije vorm: vorm 5618">
                  <a:extLst>
                    <a:ext uri="{FF2B5EF4-FFF2-40B4-BE49-F238E27FC236}">
                      <a16:creationId xmlns:a16="http://schemas.microsoft.com/office/drawing/2014/main" id="{C313157F-FFFF-49B0-AB0E-5AA795CB1267}"/>
                    </a:ext>
                  </a:extLst>
                </p:cNvPr>
                <p:cNvSpPr/>
                <p:nvPr/>
              </p:nvSpPr>
              <p:spPr>
                <a:xfrm>
                  <a:off x="6412310" y="1668960"/>
                  <a:ext cx="7655" cy="57474"/>
                </a:xfrm>
                <a:custGeom>
                  <a:avLst/>
                  <a:gdLst>
                    <a:gd name="connsiteX0" fmla="*/ 7655 w 7655"/>
                    <a:gd name="connsiteY0" fmla="*/ 57475 h 57474"/>
                    <a:gd name="connsiteX1" fmla="*/ 7236 w 7655"/>
                    <a:gd name="connsiteY1" fmla="*/ 54365 h 57474"/>
                    <a:gd name="connsiteX2" fmla="*/ 6818 w 7655"/>
                    <a:gd name="connsiteY2" fmla="*/ 51255 h 57474"/>
                    <a:gd name="connsiteX3" fmla="*/ 6698 w 7655"/>
                    <a:gd name="connsiteY3" fmla="*/ 50358 h 57474"/>
                    <a:gd name="connsiteX4" fmla="*/ 6280 w 7655"/>
                    <a:gd name="connsiteY4" fmla="*/ 47248 h 57474"/>
                    <a:gd name="connsiteX5" fmla="*/ 5861 w 7655"/>
                    <a:gd name="connsiteY5" fmla="*/ 44138 h 57474"/>
                    <a:gd name="connsiteX6" fmla="*/ 5442 w 7655"/>
                    <a:gd name="connsiteY6" fmla="*/ 41028 h 57474"/>
                    <a:gd name="connsiteX7" fmla="*/ 5024 w 7655"/>
                    <a:gd name="connsiteY7" fmla="*/ 37918 h 57474"/>
                    <a:gd name="connsiteX8" fmla="*/ 4725 w 7655"/>
                    <a:gd name="connsiteY8" fmla="*/ 35645 h 57474"/>
                    <a:gd name="connsiteX9" fmla="*/ 4306 w 7655"/>
                    <a:gd name="connsiteY9" fmla="*/ 32535 h 57474"/>
                    <a:gd name="connsiteX10" fmla="*/ 3887 w 7655"/>
                    <a:gd name="connsiteY10" fmla="*/ 29425 h 57474"/>
                    <a:gd name="connsiteX11" fmla="*/ 3469 w 7655"/>
                    <a:gd name="connsiteY11" fmla="*/ 26315 h 57474"/>
                    <a:gd name="connsiteX12" fmla="*/ 3349 w 7655"/>
                    <a:gd name="connsiteY12" fmla="*/ 25179 h 57474"/>
                    <a:gd name="connsiteX13" fmla="*/ 2930 w 7655"/>
                    <a:gd name="connsiteY13" fmla="*/ 22069 h 57474"/>
                    <a:gd name="connsiteX14" fmla="*/ 2512 w 7655"/>
                    <a:gd name="connsiteY14" fmla="*/ 18959 h 57474"/>
                    <a:gd name="connsiteX15" fmla="*/ 2093 w 7655"/>
                    <a:gd name="connsiteY15" fmla="*/ 15849 h 57474"/>
                    <a:gd name="connsiteX16" fmla="*/ 1674 w 7655"/>
                    <a:gd name="connsiteY16" fmla="*/ 12739 h 57474"/>
                    <a:gd name="connsiteX17" fmla="*/ 1555 w 7655"/>
                    <a:gd name="connsiteY17" fmla="*/ 11782 h 57474"/>
                    <a:gd name="connsiteX18" fmla="*/ 1256 w 7655"/>
                    <a:gd name="connsiteY18" fmla="*/ 9509 h 57474"/>
                    <a:gd name="connsiteX19" fmla="*/ 1136 w 7655"/>
                    <a:gd name="connsiteY19" fmla="*/ 8493 h 57474"/>
                    <a:gd name="connsiteX20" fmla="*/ 1017 w 7655"/>
                    <a:gd name="connsiteY20" fmla="*/ 7775 h 57474"/>
                    <a:gd name="connsiteX21" fmla="*/ 1017 w 7655"/>
                    <a:gd name="connsiteY21" fmla="*/ 7775 h 57474"/>
                    <a:gd name="connsiteX22" fmla="*/ 957 w 7655"/>
                    <a:gd name="connsiteY22" fmla="*/ 7177 h 57474"/>
                    <a:gd name="connsiteX23" fmla="*/ 598 w 7655"/>
                    <a:gd name="connsiteY23" fmla="*/ 4426 h 57474"/>
                    <a:gd name="connsiteX24" fmla="*/ 179 w 7655"/>
                    <a:gd name="connsiteY24" fmla="*/ 1316 h 57474"/>
                    <a:gd name="connsiteX25" fmla="*/ 0 w 7655"/>
                    <a:gd name="connsiteY25" fmla="*/ 0 h 5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655" h="57474">
                      <a:moveTo>
                        <a:pt x="7655" y="57475"/>
                      </a:moveTo>
                      <a:lnTo>
                        <a:pt x="7236" y="54365"/>
                      </a:lnTo>
                      <a:lnTo>
                        <a:pt x="6818" y="51255"/>
                      </a:lnTo>
                      <a:lnTo>
                        <a:pt x="6698" y="50358"/>
                      </a:lnTo>
                      <a:lnTo>
                        <a:pt x="6280" y="47248"/>
                      </a:lnTo>
                      <a:lnTo>
                        <a:pt x="5861" y="44138"/>
                      </a:lnTo>
                      <a:lnTo>
                        <a:pt x="5442" y="41028"/>
                      </a:lnTo>
                      <a:lnTo>
                        <a:pt x="5024" y="37918"/>
                      </a:lnTo>
                      <a:lnTo>
                        <a:pt x="4725" y="35645"/>
                      </a:lnTo>
                      <a:lnTo>
                        <a:pt x="4306" y="32535"/>
                      </a:lnTo>
                      <a:lnTo>
                        <a:pt x="3887" y="29425"/>
                      </a:lnTo>
                      <a:lnTo>
                        <a:pt x="3469" y="26315"/>
                      </a:lnTo>
                      <a:lnTo>
                        <a:pt x="3349" y="25179"/>
                      </a:lnTo>
                      <a:lnTo>
                        <a:pt x="2930" y="22069"/>
                      </a:lnTo>
                      <a:lnTo>
                        <a:pt x="2512" y="18959"/>
                      </a:lnTo>
                      <a:lnTo>
                        <a:pt x="2093" y="15849"/>
                      </a:lnTo>
                      <a:lnTo>
                        <a:pt x="1674" y="12739"/>
                      </a:lnTo>
                      <a:lnTo>
                        <a:pt x="1555" y="11782"/>
                      </a:lnTo>
                      <a:lnTo>
                        <a:pt x="1256" y="9509"/>
                      </a:lnTo>
                      <a:lnTo>
                        <a:pt x="1136" y="8493"/>
                      </a:lnTo>
                      <a:lnTo>
                        <a:pt x="1017" y="7775"/>
                      </a:lnTo>
                      <a:lnTo>
                        <a:pt x="1017" y="7775"/>
                      </a:lnTo>
                      <a:lnTo>
                        <a:pt x="957" y="7177"/>
                      </a:lnTo>
                      <a:lnTo>
                        <a:pt x="598" y="4426"/>
                      </a:lnTo>
                      <a:lnTo>
                        <a:pt x="179" y="131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20" name="Vrije vorm: vorm 5619">
                  <a:extLst>
                    <a:ext uri="{FF2B5EF4-FFF2-40B4-BE49-F238E27FC236}">
                      <a16:creationId xmlns:a16="http://schemas.microsoft.com/office/drawing/2014/main" id="{019733BD-6162-427B-A0AD-252BA5DF9AC3}"/>
                    </a:ext>
                  </a:extLst>
                </p:cNvPr>
                <p:cNvSpPr/>
                <p:nvPr/>
              </p:nvSpPr>
              <p:spPr>
                <a:xfrm>
                  <a:off x="6401426" y="1668661"/>
                  <a:ext cx="13217" cy="11841"/>
                </a:xfrm>
                <a:custGeom>
                  <a:avLst/>
                  <a:gdLst>
                    <a:gd name="connsiteX0" fmla="*/ 0 w 13217"/>
                    <a:gd name="connsiteY0" fmla="*/ 11483 h 11841"/>
                    <a:gd name="connsiteX1" fmla="*/ 897 w 13217"/>
                    <a:gd name="connsiteY1" fmla="*/ 11842 h 11841"/>
                    <a:gd name="connsiteX2" fmla="*/ 1316 w 13217"/>
                    <a:gd name="connsiteY2" fmla="*/ 11782 h 11841"/>
                    <a:gd name="connsiteX3" fmla="*/ 1973 w 13217"/>
                    <a:gd name="connsiteY3" fmla="*/ 11722 h 11841"/>
                    <a:gd name="connsiteX4" fmla="*/ 3170 w 13217"/>
                    <a:gd name="connsiteY4" fmla="*/ 11244 h 11841"/>
                    <a:gd name="connsiteX5" fmla="*/ 3289 w 13217"/>
                    <a:gd name="connsiteY5" fmla="*/ 11124 h 11841"/>
                    <a:gd name="connsiteX6" fmla="*/ 3708 w 13217"/>
                    <a:gd name="connsiteY6" fmla="*/ 10885 h 11841"/>
                    <a:gd name="connsiteX7" fmla="*/ 4187 w 13217"/>
                    <a:gd name="connsiteY7" fmla="*/ 10586 h 11841"/>
                    <a:gd name="connsiteX8" fmla="*/ 4486 w 13217"/>
                    <a:gd name="connsiteY8" fmla="*/ 10406 h 11841"/>
                    <a:gd name="connsiteX9" fmla="*/ 5502 w 13217"/>
                    <a:gd name="connsiteY9" fmla="*/ 9450 h 11841"/>
                    <a:gd name="connsiteX10" fmla="*/ 5861 w 13217"/>
                    <a:gd name="connsiteY10" fmla="*/ 9150 h 11841"/>
                    <a:gd name="connsiteX11" fmla="*/ 7177 w 13217"/>
                    <a:gd name="connsiteY11" fmla="*/ 7655 h 11841"/>
                    <a:gd name="connsiteX12" fmla="*/ 8134 w 13217"/>
                    <a:gd name="connsiteY12" fmla="*/ 6340 h 11841"/>
                    <a:gd name="connsiteX13" fmla="*/ 8433 w 13217"/>
                    <a:gd name="connsiteY13" fmla="*/ 5921 h 11841"/>
                    <a:gd name="connsiteX14" fmla="*/ 9569 w 13217"/>
                    <a:gd name="connsiteY14" fmla="*/ 4007 h 11841"/>
                    <a:gd name="connsiteX15" fmla="*/ 9928 w 13217"/>
                    <a:gd name="connsiteY15" fmla="*/ 3230 h 11841"/>
                    <a:gd name="connsiteX16" fmla="*/ 10526 w 13217"/>
                    <a:gd name="connsiteY16" fmla="*/ 1974 h 11841"/>
                    <a:gd name="connsiteX17" fmla="*/ 10765 w 13217"/>
                    <a:gd name="connsiteY17" fmla="*/ 1316 h 11841"/>
                    <a:gd name="connsiteX18" fmla="*/ 11244 w 13217"/>
                    <a:gd name="connsiteY18" fmla="*/ 0 h 11841"/>
                    <a:gd name="connsiteX19" fmla="*/ 11782 w 13217"/>
                    <a:gd name="connsiteY19" fmla="*/ 299 h 11841"/>
                    <a:gd name="connsiteX20" fmla="*/ 12380 w 13217"/>
                    <a:gd name="connsiteY20" fmla="*/ 598 h 11841"/>
                    <a:gd name="connsiteX21" fmla="*/ 13098 w 13217"/>
                    <a:gd name="connsiteY21" fmla="*/ 957 h 11841"/>
                    <a:gd name="connsiteX22" fmla="*/ 13217 w 13217"/>
                    <a:gd name="connsiteY22" fmla="*/ 1017 h 1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217" h="11841">
                      <a:moveTo>
                        <a:pt x="0" y="11483"/>
                      </a:moveTo>
                      <a:lnTo>
                        <a:pt x="897" y="11842"/>
                      </a:lnTo>
                      <a:lnTo>
                        <a:pt x="1316" y="11782"/>
                      </a:lnTo>
                      <a:lnTo>
                        <a:pt x="1973" y="11722"/>
                      </a:lnTo>
                      <a:lnTo>
                        <a:pt x="3170" y="11244"/>
                      </a:lnTo>
                      <a:lnTo>
                        <a:pt x="3289" y="11124"/>
                      </a:lnTo>
                      <a:lnTo>
                        <a:pt x="3708" y="10885"/>
                      </a:lnTo>
                      <a:lnTo>
                        <a:pt x="4187" y="10586"/>
                      </a:lnTo>
                      <a:lnTo>
                        <a:pt x="4486" y="10406"/>
                      </a:lnTo>
                      <a:lnTo>
                        <a:pt x="5502" y="9450"/>
                      </a:lnTo>
                      <a:lnTo>
                        <a:pt x="5861" y="9150"/>
                      </a:lnTo>
                      <a:lnTo>
                        <a:pt x="7177" y="7655"/>
                      </a:lnTo>
                      <a:lnTo>
                        <a:pt x="8134" y="6340"/>
                      </a:lnTo>
                      <a:lnTo>
                        <a:pt x="8433" y="5921"/>
                      </a:lnTo>
                      <a:lnTo>
                        <a:pt x="9569" y="4007"/>
                      </a:lnTo>
                      <a:lnTo>
                        <a:pt x="9928" y="3230"/>
                      </a:lnTo>
                      <a:lnTo>
                        <a:pt x="10526" y="1974"/>
                      </a:lnTo>
                      <a:lnTo>
                        <a:pt x="10765" y="1316"/>
                      </a:lnTo>
                      <a:lnTo>
                        <a:pt x="11244" y="0"/>
                      </a:lnTo>
                      <a:lnTo>
                        <a:pt x="11782" y="299"/>
                      </a:lnTo>
                      <a:lnTo>
                        <a:pt x="12380" y="598"/>
                      </a:lnTo>
                      <a:lnTo>
                        <a:pt x="13098" y="957"/>
                      </a:lnTo>
                      <a:lnTo>
                        <a:pt x="13217" y="1017"/>
                      </a:lnTo>
                    </a:path>
                  </a:pathLst>
                </a:custGeom>
                <a:noFill/>
                <a:ln w="6350" cap="rnd">
                  <a:solidFill>
                    <a:schemeClr val="bg1">
                      <a:alpha val="40000"/>
                    </a:schemeClr>
                  </a:solidFill>
                  <a:prstDash val="solid"/>
                  <a:round/>
                </a:ln>
              </p:spPr>
              <p:txBody>
                <a:bodyPr rtlCol="0" anchor="ctr"/>
                <a:lstStyle/>
                <a:p>
                  <a:endParaRPr lang="en-GB"/>
                </a:p>
              </p:txBody>
            </p:sp>
            <p:sp>
              <p:nvSpPr>
                <p:cNvPr id="5621" name="Vrije vorm: vorm 5620">
                  <a:extLst>
                    <a:ext uri="{FF2B5EF4-FFF2-40B4-BE49-F238E27FC236}">
                      <a16:creationId xmlns:a16="http://schemas.microsoft.com/office/drawing/2014/main" id="{C0680F12-4AC4-47BD-8549-65E59BFED4C0}"/>
                    </a:ext>
                  </a:extLst>
                </p:cNvPr>
                <p:cNvSpPr/>
                <p:nvPr/>
              </p:nvSpPr>
              <p:spPr>
                <a:xfrm>
                  <a:off x="6413746" y="1666150"/>
                  <a:ext cx="837" cy="3588"/>
                </a:xfrm>
                <a:custGeom>
                  <a:avLst/>
                  <a:gdLst>
                    <a:gd name="connsiteX0" fmla="*/ 837 w 837"/>
                    <a:gd name="connsiteY0" fmla="*/ 3588 h 3588"/>
                    <a:gd name="connsiteX1" fmla="*/ 419 w 837"/>
                    <a:gd name="connsiteY1" fmla="*/ 478 h 3588"/>
                    <a:gd name="connsiteX2" fmla="*/ 359 w 837"/>
                    <a:gd name="connsiteY2" fmla="*/ 0 h 3588"/>
                    <a:gd name="connsiteX3" fmla="*/ 299 w 837"/>
                    <a:gd name="connsiteY3" fmla="*/ 1854 h 3588"/>
                    <a:gd name="connsiteX4" fmla="*/ 0 w 837"/>
                    <a:gd name="connsiteY4" fmla="*/ 3170 h 3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7" h="3588">
                      <a:moveTo>
                        <a:pt x="837" y="3588"/>
                      </a:moveTo>
                      <a:lnTo>
                        <a:pt x="419" y="478"/>
                      </a:lnTo>
                      <a:lnTo>
                        <a:pt x="359" y="0"/>
                      </a:lnTo>
                      <a:lnTo>
                        <a:pt x="299" y="1854"/>
                      </a:lnTo>
                      <a:lnTo>
                        <a:pt x="0" y="3170"/>
                      </a:lnTo>
                    </a:path>
                  </a:pathLst>
                </a:custGeom>
                <a:noFill/>
                <a:ln w="6350" cap="rnd">
                  <a:solidFill>
                    <a:schemeClr val="bg1">
                      <a:alpha val="40000"/>
                    </a:schemeClr>
                  </a:solidFill>
                  <a:prstDash val="solid"/>
                  <a:round/>
                </a:ln>
              </p:spPr>
              <p:txBody>
                <a:bodyPr rtlCol="0" anchor="ctr"/>
                <a:lstStyle/>
                <a:p>
                  <a:endParaRPr lang="en-GB"/>
                </a:p>
              </p:txBody>
            </p:sp>
            <p:sp>
              <p:nvSpPr>
                <p:cNvPr id="5622" name="Vrije vorm: vorm 5621">
                  <a:extLst>
                    <a:ext uri="{FF2B5EF4-FFF2-40B4-BE49-F238E27FC236}">
                      <a16:creationId xmlns:a16="http://schemas.microsoft.com/office/drawing/2014/main" id="{6095CF95-FFFE-415C-BB08-B991C9367317}"/>
                    </a:ext>
                  </a:extLst>
                </p:cNvPr>
                <p:cNvSpPr/>
                <p:nvPr/>
              </p:nvSpPr>
              <p:spPr>
                <a:xfrm>
                  <a:off x="6450946" y="1759030"/>
                  <a:ext cx="64173" cy="48503"/>
                </a:xfrm>
                <a:custGeom>
                  <a:avLst/>
                  <a:gdLst>
                    <a:gd name="connsiteX0" fmla="*/ 64173 w 64173"/>
                    <a:gd name="connsiteY0" fmla="*/ 41686 h 48503"/>
                    <a:gd name="connsiteX1" fmla="*/ 62738 w 64173"/>
                    <a:gd name="connsiteY1" fmla="*/ 44138 h 48503"/>
                    <a:gd name="connsiteX2" fmla="*/ 62618 w 64173"/>
                    <a:gd name="connsiteY2" fmla="*/ 44377 h 48503"/>
                    <a:gd name="connsiteX3" fmla="*/ 61183 w 64173"/>
                    <a:gd name="connsiteY3" fmla="*/ 46829 h 48503"/>
                    <a:gd name="connsiteX4" fmla="*/ 60465 w 64173"/>
                    <a:gd name="connsiteY4" fmla="*/ 48025 h 48503"/>
                    <a:gd name="connsiteX5" fmla="*/ 60346 w 64173"/>
                    <a:gd name="connsiteY5" fmla="*/ 48085 h 48503"/>
                    <a:gd name="connsiteX6" fmla="*/ 60226 w 64173"/>
                    <a:gd name="connsiteY6" fmla="*/ 48085 h 48503"/>
                    <a:gd name="connsiteX7" fmla="*/ 58492 w 64173"/>
                    <a:gd name="connsiteY7" fmla="*/ 48504 h 48503"/>
                    <a:gd name="connsiteX8" fmla="*/ 57475 w 64173"/>
                    <a:gd name="connsiteY8" fmla="*/ 48264 h 48503"/>
                    <a:gd name="connsiteX9" fmla="*/ 54604 w 64173"/>
                    <a:gd name="connsiteY9" fmla="*/ 47666 h 48503"/>
                    <a:gd name="connsiteX10" fmla="*/ 54544 w 64173"/>
                    <a:gd name="connsiteY10" fmla="*/ 47666 h 48503"/>
                    <a:gd name="connsiteX11" fmla="*/ 54185 w 64173"/>
                    <a:gd name="connsiteY11" fmla="*/ 47547 h 48503"/>
                    <a:gd name="connsiteX12" fmla="*/ 54185 w 64173"/>
                    <a:gd name="connsiteY12" fmla="*/ 47547 h 48503"/>
                    <a:gd name="connsiteX13" fmla="*/ 54006 w 64173"/>
                    <a:gd name="connsiteY13" fmla="*/ 47487 h 48503"/>
                    <a:gd name="connsiteX14" fmla="*/ 51793 w 64173"/>
                    <a:gd name="connsiteY14" fmla="*/ 46650 h 48503"/>
                    <a:gd name="connsiteX15" fmla="*/ 48982 w 64173"/>
                    <a:gd name="connsiteY15" fmla="*/ 45633 h 48503"/>
                    <a:gd name="connsiteX16" fmla="*/ 48743 w 64173"/>
                    <a:gd name="connsiteY16" fmla="*/ 45513 h 48503"/>
                    <a:gd name="connsiteX17" fmla="*/ 47547 w 64173"/>
                    <a:gd name="connsiteY17" fmla="*/ 44975 h 48503"/>
                    <a:gd name="connsiteX18" fmla="*/ 44855 w 64173"/>
                    <a:gd name="connsiteY18" fmla="*/ 43719 h 48503"/>
                    <a:gd name="connsiteX19" fmla="*/ 42164 w 64173"/>
                    <a:gd name="connsiteY19" fmla="*/ 42463 h 48503"/>
                    <a:gd name="connsiteX20" fmla="*/ 41506 w 64173"/>
                    <a:gd name="connsiteY20" fmla="*/ 42164 h 48503"/>
                    <a:gd name="connsiteX21" fmla="*/ 38875 w 64173"/>
                    <a:gd name="connsiteY21" fmla="*/ 40788 h 48503"/>
                    <a:gd name="connsiteX22" fmla="*/ 36243 w 64173"/>
                    <a:gd name="connsiteY22" fmla="*/ 39413 h 48503"/>
                    <a:gd name="connsiteX23" fmla="*/ 33612 w 64173"/>
                    <a:gd name="connsiteY23" fmla="*/ 38037 h 48503"/>
                    <a:gd name="connsiteX24" fmla="*/ 33373 w 64173"/>
                    <a:gd name="connsiteY24" fmla="*/ 37918 h 48503"/>
                    <a:gd name="connsiteX25" fmla="*/ 30801 w 64173"/>
                    <a:gd name="connsiteY25" fmla="*/ 36423 h 48503"/>
                    <a:gd name="connsiteX26" fmla="*/ 28229 w 64173"/>
                    <a:gd name="connsiteY26" fmla="*/ 34927 h 48503"/>
                    <a:gd name="connsiteX27" fmla="*/ 25658 w 64173"/>
                    <a:gd name="connsiteY27" fmla="*/ 33432 h 48503"/>
                    <a:gd name="connsiteX28" fmla="*/ 24940 w 64173"/>
                    <a:gd name="connsiteY28" fmla="*/ 33014 h 48503"/>
                    <a:gd name="connsiteX29" fmla="*/ 22428 w 64173"/>
                    <a:gd name="connsiteY29" fmla="*/ 31399 h 48503"/>
                    <a:gd name="connsiteX30" fmla="*/ 19916 w 64173"/>
                    <a:gd name="connsiteY30" fmla="*/ 29784 h 48503"/>
                    <a:gd name="connsiteX31" fmla="*/ 18959 w 64173"/>
                    <a:gd name="connsiteY31" fmla="*/ 29186 h 48503"/>
                    <a:gd name="connsiteX32" fmla="*/ 16926 w 64173"/>
                    <a:gd name="connsiteY32" fmla="*/ 27870 h 48503"/>
                    <a:gd name="connsiteX33" fmla="*/ 14533 w 64173"/>
                    <a:gd name="connsiteY33" fmla="*/ 26136 h 48503"/>
                    <a:gd name="connsiteX34" fmla="*/ 12141 w 64173"/>
                    <a:gd name="connsiteY34" fmla="*/ 24401 h 48503"/>
                    <a:gd name="connsiteX35" fmla="*/ 10048 w 64173"/>
                    <a:gd name="connsiteY35" fmla="*/ 22906 h 48503"/>
                    <a:gd name="connsiteX36" fmla="*/ 7775 w 64173"/>
                    <a:gd name="connsiteY36" fmla="*/ 21052 h 48503"/>
                    <a:gd name="connsiteX37" fmla="*/ 7715 w 64173"/>
                    <a:gd name="connsiteY37" fmla="*/ 20992 h 48503"/>
                    <a:gd name="connsiteX38" fmla="*/ 5622 w 64173"/>
                    <a:gd name="connsiteY38" fmla="*/ 19258 h 48503"/>
                    <a:gd name="connsiteX39" fmla="*/ 4725 w 64173"/>
                    <a:gd name="connsiteY39" fmla="*/ 18540 h 48503"/>
                    <a:gd name="connsiteX40" fmla="*/ 3649 w 64173"/>
                    <a:gd name="connsiteY40" fmla="*/ 17404 h 48503"/>
                    <a:gd name="connsiteX41" fmla="*/ 3649 w 64173"/>
                    <a:gd name="connsiteY41" fmla="*/ 17404 h 48503"/>
                    <a:gd name="connsiteX42" fmla="*/ 3649 w 64173"/>
                    <a:gd name="connsiteY42" fmla="*/ 17404 h 48503"/>
                    <a:gd name="connsiteX43" fmla="*/ 1555 w 64173"/>
                    <a:gd name="connsiteY43" fmla="*/ 15311 h 48503"/>
                    <a:gd name="connsiteX44" fmla="*/ 1316 w 64173"/>
                    <a:gd name="connsiteY44" fmla="*/ 15071 h 48503"/>
                    <a:gd name="connsiteX45" fmla="*/ 718 w 64173"/>
                    <a:gd name="connsiteY45" fmla="*/ 13935 h 48503"/>
                    <a:gd name="connsiteX46" fmla="*/ 0 w 64173"/>
                    <a:gd name="connsiteY46" fmla="*/ 12619 h 48503"/>
                    <a:gd name="connsiteX47" fmla="*/ 180 w 64173"/>
                    <a:gd name="connsiteY47" fmla="*/ 12260 h 48503"/>
                    <a:gd name="connsiteX48" fmla="*/ 419 w 64173"/>
                    <a:gd name="connsiteY48" fmla="*/ 11902 h 48503"/>
                    <a:gd name="connsiteX49" fmla="*/ 718 w 64173"/>
                    <a:gd name="connsiteY49" fmla="*/ 11423 h 48503"/>
                    <a:gd name="connsiteX50" fmla="*/ 1854 w 64173"/>
                    <a:gd name="connsiteY50" fmla="*/ 9509 h 48503"/>
                    <a:gd name="connsiteX51" fmla="*/ 2452 w 64173"/>
                    <a:gd name="connsiteY51" fmla="*/ 8433 h 48503"/>
                    <a:gd name="connsiteX52" fmla="*/ 2990 w 64173"/>
                    <a:gd name="connsiteY52" fmla="*/ 7536 h 48503"/>
                    <a:gd name="connsiteX53" fmla="*/ 3529 w 64173"/>
                    <a:gd name="connsiteY53" fmla="*/ 6639 h 48503"/>
                    <a:gd name="connsiteX54" fmla="*/ 3947 w 64173"/>
                    <a:gd name="connsiteY54" fmla="*/ 5981 h 48503"/>
                    <a:gd name="connsiteX55" fmla="*/ 3947 w 64173"/>
                    <a:gd name="connsiteY55" fmla="*/ 5981 h 48503"/>
                    <a:gd name="connsiteX56" fmla="*/ 2691 w 64173"/>
                    <a:gd name="connsiteY56" fmla="*/ 3349 h 48503"/>
                    <a:gd name="connsiteX57" fmla="*/ 2512 w 64173"/>
                    <a:gd name="connsiteY57" fmla="*/ 2990 h 48503"/>
                    <a:gd name="connsiteX58" fmla="*/ 1974 w 64173"/>
                    <a:gd name="connsiteY58" fmla="*/ 1914 h 48503"/>
                    <a:gd name="connsiteX59" fmla="*/ 1076 w 64173"/>
                    <a:gd name="connsiteY59" fmla="*/ 0 h 48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4173" h="48503">
                      <a:moveTo>
                        <a:pt x="64173" y="41686"/>
                      </a:moveTo>
                      <a:lnTo>
                        <a:pt x="62738" y="44138"/>
                      </a:lnTo>
                      <a:lnTo>
                        <a:pt x="62618" y="44377"/>
                      </a:lnTo>
                      <a:lnTo>
                        <a:pt x="61183" y="46829"/>
                      </a:lnTo>
                      <a:lnTo>
                        <a:pt x="60465" y="48025"/>
                      </a:lnTo>
                      <a:lnTo>
                        <a:pt x="60346" y="48085"/>
                      </a:lnTo>
                      <a:lnTo>
                        <a:pt x="60226" y="48085"/>
                      </a:lnTo>
                      <a:lnTo>
                        <a:pt x="58492" y="48504"/>
                      </a:lnTo>
                      <a:lnTo>
                        <a:pt x="57475" y="48264"/>
                      </a:lnTo>
                      <a:lnTo>
                        <a:pt x="54604" y="47666"/>
                      </a:lnTo>
                      <a:lnTo>
                        <a:pt x="54544" y="47666"/>
                      </a:lnTo>
                      <a:lnTo>
                        <a:pt x="54185" y="47547"/>
                      </a:lnTo>
                      <a:lnTo>
                        <a:pt x="54185" y="47547"/>
                      </a:lnTo>
                      <a:lnTo>
                        <a:pt x="54006" y="47487"/>
                      </a:lnTo>
                      <a:lnTo>
                        <a:pt x="51793" y="46650"/>
                      </a:lnTo>
                      <a:lnTo>
                        <a:pt x="48982" y="45633"/>
                      </a:lnTo>
                      <a:lnTo>
                        <a:pt x="48743" y="45513"/>
                      </a:lnTo>
                      <a:lnTo>
                        <a:pt x="47547" y="44975"/>
                      </a:lnTo>
                      <a:lnTo>
                        <a:pt x="44855" y="43719"/>
                      </a:lnTo>
                      <a:lnTo>
                        <a:pt x="42164" y="42463"/>
                      </a:lnTo>
                      <a:lnTo>
                        <a:pt x="41506" y="42164"/>
                      </a:lnTo>
                      <a:lnTo>
                        <a:pt x="38875" y="40788"/>
                      </a:lnTo>
                      <a:lnTo>
                        <a:pt x="36243" y="39413"/>
                      </a:lnTo>
                      <a:lnTo>
                        <a:pt x="33612" y="38037"/>
                      </a:lnTo>
                      <a:lnTo>
                        <a:pt x="33373" y="37918"/>
                      </a:lnTo>
                      <a:lnTo>
                        <a:pt x="30801" y="36423"/>
                      </a:lnTo>
                      <a:lnTo>
                        <a:pt x="28229" y="34927"/>
                      </a:lnTo>
                      <a:lnTo>
                        <a:pt x="25658" y="33432"/>
                      </a:lnTo>
                      <a:lnTo>
                        <a:pt x="24940" y="33014"/>
                      </a:lnTo>
                      <a:lnTo>
                        <a:pt x="22428" y="31399"/>
                      </a:lnTo>
                      <a:lnTo>
                        <a:pt x="19916" y="29784"/>
                      </a:lnTo>
                      <a:lnTo>
                        <a:pt x="18959" y="29186"/>
                      </a:lnTo>
                      <a:lnTo>
                        <a:pt x="16926" y="27870"/>
                      </a:lnTo>
                      <a:lnTo>
                        <a:pt x="14533" y="26136"/>
                      </a:lnTo>
                      <a:lnTo>
                        <a:pt x="12141" y="24401"/>
                      </a:lnTo>
                      <a:lnTo>
                        <a:pt x="10048" y="22906"/>
                      </a:lnTo>
                      <a:lnTo>
                        <a:pt x="7775" y="21052"/>
                      </a:lnTo>
                      <a:lnTo>
                        <a:pt x="7715" y="20992"/>
                      </a:lnTo>
                      <a:lnTo>
                        <a:pt x="5622" y="19258"/>
                      </a:lnTo>
                      <a:lnTo>
                        <a:pt x="4725" y="18540"/>
                      </a:lnTo>
                      <a:lnTo>
                        <a:pt x="3649" y="17404"/>
                      </a:lnTo>
                      <a:lnTo>
                        <a:pt x="3649" y="17404"/>
                      </a:lnTo>
                      <a:lnTo>
                        <a:pt x="3649" y="17404"/>
                      </a:lnTo>
                      <a:lnTo>
                        <a:pt x="1555" y="15311"/>
                      </a:lnTo>
                      <a:lnTo>
                        <a:pt x="1316" y="15071"/>
                      </a:lnTo>
                      <a:lnTo>
                        <a:pt x="718" y="13935"/>
                      </a:lnTo>
                      <a:lnTo>
                        <a:pt x="0" y="12619"/>
                      </a:lnTo>
                      <a:lnTo>
                        <a:pt x="180" y="12260"/>
                      </a:lnTo>
                      <a:lnTo>
                        <a:pt x="419" y="11902"/>
                      </a:lnTo>
                      <a:lnTo>
                        <a:pt x="718" y="11423"/>
                      </a:lnTo>
                      <a:lnTo>
                        <a:pt x="1854" y="9509"/>
                      </a:lnTo>
                      <a:lnTo>
                        <a:pt x="2452" y="8433"/>
                      </a:lnTo>
                      <a:lnTo>
                        <a:pt x="2990" y="7536"/>
                      </a:lnTo>
                      <a:lnTo>
                        <a:pt x="3529" y="6639"/>
                      </a:lnTo>
                      <a:lnTo>
                        <a:pt x="3947" y="5981"/>
                      </a:lnTo>
                      <a:lnTo>
                        <a:pt x="3947" y="5981"/>
                      </a:lnTo>
                      <a:lnTo>
                        <a:pt x="2691" y="3349"/>
                      </a:lnTo>
                      <a:lnTo>
                        <a:pt x="2512" y="2990"/>
                      </a:lnTo>
                      <a:lnTo>
                        <a:pt x="1974" y="1914"/>
                      </a:lnTo>
                      <a:lnTo>
                        <a:pt x="1076" y="0"/>
                      </a:lnTo>
                    </a:path>
                  </a:pathLst>
                </a:custGeom>
                <a:noFill/>
                <a:ln w="6350" cap="rnd">
                  <a:solidFill>
                    <a:schemeClr val="bg1">
                      <a:alpha val="40000"/>
                    </a:schemeClr>
                  </a:solidFill>
                  <a:prstDash val="solid"/>
                  <a:round/>
                </a:ln>
              </p:spPr>
              <p:txBody>
                <a:bodyPr rtlCol="0" anchor="ctr"/>
                <a:lstStyle/>
                <a:p>
                  <a:endParaRPr lang="en-GB"/>
                </a:p>
              </p:txBody>
            </p:sp>
            <p:sp>
              <p:nvSpPr>
                <p:cNvPr id="5623" name="Vrije vorm: vorm 5622">
                  <a:extLst>
                    <a:ext uri="{FF2B5EF4-FFF2-40B4-BE49-F238E27FC236}">
                      <a16:creationId xmlns:a16="http://schemas.microsoft.com/office/drawing/2014/main" id="{39D65C4D-692C-4FF9-8E57-E1AC7DBD41F2}"/>
                    </a:ext>
                  </a:extLst>
                </p:cNvPr>
                <p:cNvSpPr/>
                <p:nvPr/>
              </p:nvSpPr>
              <p:spPr>
                <a:xfrm>
                  <a:off x="6385636" y="1714175"/>
                  <a:ext cx="17463" cy="18600"/>
                </a:xfrm>
                <a:custGeom>
                  <a:avLst/>
                  <a:gdLst>
                    <a:gd name="connsiteX0" fmla="*/ 17464 w 17463"/>
                    <a:gd name="connsiteY0" fmla="*/ 18600 h 18600"/>
                    <a:gd name="connsiteX1" fmla="*/ 15311 w 17463"/>
                    <a:gd name="connsiteY1" fmla="*/ 16567 h 18600"/>
                    <a:gd name="connsiteX2" fmla="*/ 13158 w 17463"/>
                    <a:gd name="connsiteY2" fmla="*/ 14533 h 18600"/>
                    <a:gd name="connsiteX3" fmla="*/ 11005 w 17463"/>
                    <a:gd name="connsiteY3" fmla="*/ 12500 h 18600"/>
                    <a:gd name="connsiteX4" fmla="*/ 8851 w 17463"/>
                    <a:gd name="connsiteY4" fmla="*/ 10466 h 18600"/>
                    <a:gd name="connsiteX5" fmla="*/ 6698 w 17463"/>
                    <a:gd name="connsiteY5" fmla="*/ 8433 h 18600"/>
                    <a:gd name="connsiteX6" fmla="*/ 4904 w 17463"/>
                    <a:gd name="connsiteY6" fmla="*/ 6758 h 18600"/>
                    <a:gd name="connsiteX7" fmla="*/ 3170 w 17463"/>
                    <a:gd name="connsiteY7" fmla="*/ 5921 h 18600"/>
                    <a:gd name="connsiteX8" fmla="*/ 1017 w 17463"/>
                    <a:gd name="connsiteY8" fmla="*/ 3887 h 18600"/>
                    <a:gd name="connsiteX9" fmla="*/ 180 w 17463"/>
                    <a:gd name="connsiteY9" fmla="*/ 3110 h 18600"/>
                    <a:gd name="connsiteX10" fmla="*/ 60 w 17463"/>
                    <a:gd name="connsiteY10" fmla="*/ 2931 h 18600"/>
                    <a:gd name="connsiteX11" fmla="*/ 0 w 17463"/>
                    <a:gd name="connsiteY11" fmla="*/ 2632 h 18600"/>
                    <a:gd name="connsiteX12" fmla="*/ 0 w 17463"/>
                    <a:gd name="connsiteY12" fmla="*/ 2273 h 18600"/>
                    <a:gd name="connsiteX13" fmla="*/ 60 w 17463"/>
                    <a:gd name="connsiteY13" fmla="*/ 1854 h 18600"/>
                    <a:gd name="connsiteX14" fmla="*/ 180 w 17463"/>
                    <a:gd name="connsiteY14" fmla="*/ 1435 h 18600"/>
                    <a:gd name="connsiteX15" fmla="*/ 359 w 17463"/>
                    <a:gd name="connsiteY15" fmla="*/ 1017 h 18600"/>
                    <a:gd name="connsiteX16" fmla="*/ 598 w 17463"/>
                    <a:gd name="connsiteY16" fmla="*/ 658 h 18600"/>
                    <a:gd name="connsiteX17" fmla="*/ 897 w 17463"/>
                    <a:gd name="connsiteY17" fmla="*/ 359 h 18600"/>
                    <a:gd name="connsiteX18" fmla="*/ 1196 w 17463"/>
                    <a:gd name="connsiteY18" fmla="*/ 120 h 18600"/>
                    <a:gd name="connsiteX19" fmla="*/ 1435 w 17463"/>
                    <a:gd name="connsiteY19" fmla="*/ 0 h 18600"/>
                    <a:gd name="connsiteX20" fmla="*/ 1495 w 17463"/>
                    <a:gd name="connsiteY20" fmla="*/ 0 h 18600"/>
                    <a:gd name="connsiteX21" fmla="*/ 1734 w 17463"/>
                    <a:gd name="connsiteY21" fmla="*/ 0 h 18600"/>
                    <a:gd name="connsiteX22" fmla="*/ 3409 w 17463"/>
                    <a:gd name="connsiteY22" fmla="*/ 837 h 1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63" h="18600">
                      <a:moveTo>
                        <a:pt x="17464" y="18600"/>
                      </a:moveTo>
                      <a:lnTo>
                        <a:pt x="15311" y="16567"/>
                      </a:lnTo>
                      <a:lnTo>
                        <a:pt x="13158" y="14533"/>
                      </a:lnTo>
                      <a:lnTo>
                        <a:pt x="11005" y="12500"/>
                      </a:lnTo>
                      <a:lnTo>
                        <a:pt x="8851" y="10466"/>
                      </a:lnTo>
                      <a:lnTo>
                        <a:pt x="6698" y="8433"/>
                      </a:lnTo>
                      <a:lnTo>
                        <a:pt x="4904" y="6758"/>
                      </a:lnTo>
                      <a:lnTo>
                        <a:pt x="3170" y="5921"/>
                      </a:lnTo>
                      <a:lnTo>
                        <a:pt x="1017" y="3887"/>
                      </a:lnTo>
                      <a:lnTo>
                        <a:pt x="180" y="3110"/>
                      </a:lnTo>
                      <a:lnTo>
                        <a:pt x="60" y="2931"/>
                      </a:lnTo>
                      <a:lnTo>
                        <a:pt x="0" y="2632"/>
                      </a:lnTo>
                      <a:lnTo>
                        <a:pt x="0" y="2273"/>
                      </a:lnTo>
                      <a:lnTo>
                        <a:pt x="60" y="1854"/>
                      </a:lnTo>
                      <a:lnTo>
                        <a:pt x="180" y="1435"/>
                      </a:lnTo>
                      <a:lnTo>
                        <a:pt x="359" y="1017"/>
                      </a:lnTo>
                      <a:lnTo>
                        <a:pt x="598" y="658"/>
                      </a:lnTo>
                      <a:lnTo>
                        <a:pt x="897" y="359"/>
                      </a:lnTo>
                      <a:lnTo>
                        <a:pt x="1196" y="120"/>
                      </a:lnTo>
                      <a:lnTo>
                        <a:pt x="1435" y="0"/>
                      </a:lnTo>
                      <a:lnTo>
                        <a:pt x="1495" y="0"/>
                      </a:lnTo>
                      <a:lnTo>
                        <a:pt x="1734" y="0"/>
                      </a:lnTo>
                      <a:lnTo>
                        <a:pt x="3409" y="837"/>
                      </a:lnTo>
                    </a:path>
                  </a:pathLst>
                </a:custGeom>
                <a:noFill/>
                <a:ln w="6350" cap="rnd">
                  <a:solidFill>
                    <a:schemeClr val="bg1">
                      <a:alpha val="40000"/>
                    </a:schemeClr>
                  </a:solidFill>
                  <a:prstDash val="solid"/>
                  <a:round/>
                </a:ln>
              </p:spPr>
              <p:txBody>
                <a:bodyPr rtlCol="0" anchor="ctr"/>
                <a:lstStyle/>
                <a:p>
                  <a:endParaRPr lang="en-GB"/>
                </a:p>
              </p:txBody>
            </p:sp>
            <p:sp>
              <p:nvSpPr>
                <p:cNvPr id="5624" name="Vrije vorm: vorm 5623">
                  <a:extLst>
                    <a:ext uri="{FF2B5EF4-FFF2-40B4-BE49-F238E27FC236}">
                      <a16:creationId xmlns:a16="http://schemas.microsoft.com/office/drawing/2014/main" id="{C9A67343-68A3-489C-AAE3-4A59131F8A27}"/>
                    </a:ext>
                  </a:extLst>
                </p:cNvPr>
                <p:cNvSpPr/>
                <p:nvPr/>
              </p:nvSpPr>
              <p:spPr>
                <a:xfrm>
                  <a:off x="6399452" y="1698685"/>
                  <a:ext cx="13695" cy="15310"/>
                </a:xfrm>
                <a:custGeom>
                  <a:avLst/>
                  <a:gdLst>
                    <a:gd name="connsiteX0" fmla="*/ 5442 w 13695"/>
                    <a:gd name="connsiteY0" fmla="*/ 60 h 15310"/>
                    <a:gd name="connsiteX1" fmla="*/ 5562 w 13695"/>
                    <a:gd name="connsiteY1" fmla="*/ 179 h 15310"/>
                    <a:gd name="connsiteX2" fmla="*/ 6639 w 13695"/>
                    <a:gd name="connsiteY2" fmla="*/ 1076 h 15310"/>
                    <a:gd name="connsiteX3" fmla="*/ 8971 w 13695"/>
                    <a:gd name="connsiteY3" fmla="*/ 2930 h 15310"/>
                    <a:gd name="connsiteX4" fmla="*/ 11304 w 13695"/>
                    <a:gd name="connsiteY4" fmla="*/ 4785 h 15310"/>
                    <a:gd name="connsiteX5" fmla="*/ 13457 w 13695"/>
                    <a:gd name="connsiteY5" fmla="*/ 6519 h 15310"/>
                    <a:gd name="connsiteX6" fmla="*/ 13516 w 13695"/>
                    <a:gd name="connsiteY6" fmla="*/ 6639 h 15310"/>
                    <a:gd name="connsiteX7" fmla="*/ 13576 w 13695"/>
                    <a:gd name="connsiteY7" fmla="*/ 6758 h 15310"/>
                    <a:gd name="connsiteX8" fmla="*/ 13636 w 13695"/>
                    <a:gd name="connsiteY8" fmla="*/ 6878 h 15310"/>
                    <a:gd name="connsiteX9" fmla="*/ 13696 w 13695"/>
                    <a:gd name="connsiteY9" fmla="*/ 7057 h 15310"/>
                    <a:gd name="connsiteX10" fmla="*/ 13696 w 13695"/>
                    <a:gd name="connsiteY10" fmla="*/ 7237 h 15310"/>
                    <a:gd name="connsiteX11" fmla="*/ 13696 w 13695"/>
                    <a:gd name="connsiteY11" fmla="*/ 7416 h 15310"/>
                    <a:gd name="connsiteX12" fmla="*/ 13696 w 13695"/>
                    <a:gd name="connsiteY12" fmla="*/ 7595 h 15310"/>
                    <a:gd name="connsiteX13" fmla="*/ 13636 w 13695"/>
                    <a:gd name="connsiteY13" fmla="*/ 7835 h 15310"/>
                    <a:gd name="connsiteX14" fmla="*/ 13576 w 13695"/>
                    <a:gd name="connsiteY14" fmla="*/ 8074 h 15310"/>
                    <a:gd name="connsiteX15" fmla="*/ 13516 w 13695"/>
                    <a:gd name="connsiteY15" fmla="*/ 8313 h 15310"/>
                    <a:gd name="connsiteX16" fmla="*/ 13397 w 13695"/>
                    <a:gd name="connsiteY16" fmla="*/ 8552 h 15310"/>
                    <a:gd name="connsiteX17" fmla="*/ 13277 w 13695"/>
                    <a:gd name="connsiteY17" fmla="*/ 8732 h 15310"/>
                    <a:gd name="connsiteX18" fmla="*/ 11842 w 13695"/>
                    <a:gd name="connsiteY18" fmla="*/ 11184 h 15310"/>
                    <a:gd name="connsiteX19" fmla="*/ 10406 w 13695"/>
                    <a:gd name="connsiteY19" fmla="*/ 13636 h 15310"/>
                    <a:gd name="connsiteX20" fmla="*/ 10048 w 13695"/>
                    <a:gd name="connsiteY20" fmla="*/ 14294 h 15310"/>
                    <a:gd name="connsiteX21" fmla="*/ 9928 w 13695"/>
                    <a:gd name="connsiteY21" fmla="*/ 14473 h 15310"/>
                    <a:gd name="connsiteX22" fmla="*/ 9808 w 13695"/>
                    <a:gd name="connsiteY22" fmla="*/ 14653 h 15310"/>
                    <a:gd name="connsiteX23" fmla="*/ 9689 w 13695"/>
                    <a:gd name="connsiteY23" fmla="*/ 14832 h 15310"/>
                    <a:gd name="connsiteX24" fmla="*/ 9510 w 13695"/>
                    <a:gd name="connsiteY24" fmla="*/ 15012 h 15310"/>
                    <a:gd name="connsiteX25" fmla="*/ 9330 w 13695"/>
                    <a:gd name="connsiteY25" fmla="*/ 15131 h 15310"/>
                    <a:gd name="connsiteX26" fmla="*/ 9210 w 13695"/>
                    <a:gd name="connsiteY26" fmla="*/ 15191 h 15310"/>
                    <a:gd name="connsiteX27" fmla="*/ 9210 w 13695"/>
                    <a:gd name="connsiteY27" fmla="*/ 15191 h 15310"/>
                    <a:gd name="connsiteX28" fmla="*/ 9031 w 13695"/>
                    <a:gd name="connsiteY28" fmla="*/ 15251 h 15310"/>
                    <a:gd name="connsiteX29" fmla="*/ 8851 w 13695"/>
                    <a:gd name="connsiteY29" fmla="*/ 15311 h 15310"/>
                    <a:gd name="connsiteX30" fmla="*/ 8732 w 13695"/>
                    <a:gd name="connsiteY30" fmla="*/ 15311 h 15310"/>
                    <a:gd name="connsiteX31" fmla="*/ 8612 w 13695"/>
                    <a:gd name="connsiteY31" fmla="*/ 15311 h 15310"/>
                    <a:gd name="connsiteX32" fmla="*/ 8493 w 13695"/>
                    <a:gd name="connsiteY32" fmla="*/ 15251 h 15310"/>
                    <a:gd name="connsiteX33" fmla="*/ 8373 w 13695"/>
                    <a:gd name="connsiteY33" fmla="*/ 15191 h 15310"/>
                    <a:gd name="connsiteX34" fmla="*/ 6100 w 13695"/>
                    <a:gd name="connsiteY34" fmla="*/ 13277 h 15310"/>
                    <a:gd name="connsiteX35" fmla="*/ 3828 w 13695"/>
                    <a:gd name="connsiteY35" fmla="*/ 11363 h 15310"/>
                    <a:gd name="connsiteX36" fmla="*/ 1555 w 13695"/>
                    <a:gd name="connsiteY36" fmla="*/ 9450 h 15310"/>
                    <a:gd name="connsiteX37" fmla="*/ 359 w 13695"/>
                    <a:gd name="connsiteY37" fmla="*/ 8433 h 15310"/>
                    <a:gd name="connsiteX38" fmla="*/ 239 w 13695"/>
                    <a:gd name="connsiteY38" fmla="*/ 8313 h 15310"/>
                    <a:gd name="connsiteX39" fmla="*/ 120 w 13695"/>
                    <a:gd name="connsiteY39" fmla="*/ 8134 h 15310"/>
                    <a:gd name="connsiteX40" fmla="*/ 60 w 13695"/>
                    <a:gd name="connsiteY40" fmla="*/ 7954 h 15310"/>
                    <a:gd name="connsiteX41" fmla="*/ 0 w 13695"/>
                    <a:gd name="connsiteY41" fmla="*/ 7715 h 15310"/>
                    <a:gd name="connsiteX42" fmla="*/ 0 w 13695"/>
                    <a:gd name="connsiteY42" fmla="*/ 7476 h 15310"/>
                    <a:gd name="connsiteX43" fmla="*/ 0 w 13695"/>
                    <a:gd name="connsiteY43" fmla="*/ 7177 h 15310"/>
                    <a:gd name="connsiteX44" fmla="*/ 60 w 13695"/>
                    <a:gd name="connsiteY44" fmla="*/ 6878 h 15310"/>
                    <a:gd name="connsiteX45" fmla="*/ 60 w 13695"/>
                    <a:gd name="connsiteY45" fmla="*/ 6758 h 15310"/>
                    <a:gd name="connsiteX46" fmla="*/ 120 w 13695"/>
                    <a:gd name="connsiteY46" fmla="*/ 6579 h 15310"/>
                    <a:gd name="connsiteX47" fmla="*/ 239 w 13695"/>
                    <a:gd name="connsiteY47" fmla="*/ 6280 h 15310"/>
                    <a:gd name="connsiteX48" fmla="*/ 359 w 13695"/>
                    <a:gd name="connsiteY48" fmla="*/ 5981 h 15310"/>
                    <a:gd name="connsiteX49" fmla="*/ 479 w 13695"/>
                    <a:gd name="connsiteY49" fmla="*/ 5682 h 15310"/>
                    <a:gd name="connsiteX50" fmla="*/ 658 w 13695"/>
                    <a:gd name="connsiteY50" fmla="*/ 5383 h 15310"/>
                    <a:gd name="connsiteX51" fmla="*/ 2093 w 13695"/>
                    <a:gd name="connsiteY51" fmla="*/ 2930 h 15310"/>
                    <a:gd name="connsiteX52" fmla="*/ 2452 w 13695"/>
                    <a:gd name="connsiteY52" fmla="*/ 2273 h 15310"/>
                    <a:gd name="connsiteX53" fmla="*/ 3050 w 13695"/>
                    <a:gd name="connsiteY53" fmla="*/ 1196 h 15310"/>
                    <a:gd name="connsiteX54" fmla="*/ 3289 w 13695"/>
                    <a:gd name="connsiteY54" fmla="*/ 957 h 15310"/>
                    <a:gd name="connsiteX55" fmla="*/ 3529 w 13695"/>
                    <a:gd name="connsiteY55" fmla="*/ 718 h 15310"/>
                    <a:gd name="connsiteX56" fmla="*/ 3768 w 13695"/>
                    <a:gd name="connsiteY56" fmla="*/ 538 h 15310"/>
                    <a:gd name="connsiteX57" fmla="*/ 4007 w 13695"/>
                    <a:gd name="connsiteY57" fmla="*/ 359 h 15310"/>
                    <a:gd name="connsiteX58" fmla="*/ 4246 w 13695"/>
                    <a:gd name="connsiteY58" fmla="*/ 239 h 15310"/>
                    <a:gd name="connsiteX59" fmla="*/ 4486 w 13695"/>
                    <a:gd name="connsiteY59" fmla="*/ 120 h 15310"/>
                    <a:gd name="connsiteX60" fmla="*/ 4725 w 13695"/>
                    <a:gd name="connsiteY60" fmla="*/ 60 h 15310"/>
                    <a:gd name="connsiteX61" fmla="*/ 4904 w 13695"/>
                    <a:gd name="connsiteY61" fmla="*/ 0 h 15310"/>
                    <a:gd name="connsiteX62" fmla="*/ 5083 w 13695"/>
                    <a:gd name="connsiteY62" fmla="*/ 0 h 15310"/>
                    <a:gd name="connsiteX63" fmla="*/ 5263 w 13695"/>
                    <a:gd name="connsiteY63" fmla="*/ 60 h 15310"/>
                    <a:gd name="connsiteX64" fmla="*/ 5442 w 13695"/>
                    <a:gd name="connsiteY64" fmla="*/ 60 h 15310"/>
                    <a:gd name="connsiteX65" fmla="*/ 7476 w 13695"/>
                    <a:gd name="connsiteY65" fmla="*/ 1076 h 1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695" h="15310">
                      <a:moveTo>
                        <a:pt x="5442" y="60"/>
                      </a:moveTo>
                      <a:lnTo>
                        <a:pt x="5562" y="179"/>
                      </a:lnTo>
                      <a:lnTo>
                        <a:pt x="6639" y="1076"/>
                      </a:lnTo>
                      <a:lnTo>
                        <a:pt x="8971" y="2930"/>
                      </a:lnTo>
                      <a:lnTo>
                        <a:pt x="11304" y="4785"/>
                      </a:lnTo>
                      <a:lnTo>
                        <a:pt x="13457" y="6519"/>
                      </a:lnTo>
                      <a:lnTo>
                        <a:pt x="13516" y="6639"/>
                      </a:lnTo>
                      <a:lnTo>
                        <a:pt x="13576" y="6758"/>
                      </a:lnTo>
                      <a:lnTo>
                        <a:pt x="13636" y="6878"/>
                      </a:lnTo>
                      <a:lnTo>
                        <a:pt x="13696" y="7057"/>
                      </a:lnTo>
                      <a:lnTo>
                        <a:pt x="13696" y="7237"/>
                      </a:lnTo>
                      <a:lnTo>
                        <a:pt x="13696" y="7416"/>
                      </a:lnTo>
                      <a:lnTo>
                        <a:pt x="13696" y="7595"/>
                      </a:lnTo>
                      <a:lnTo>
                        <a:pt x="13636" y="7835"/>
                      </a:lnTo>
                      <a:lnTo>
                        <a:pt x="13576" y="8074"/>
                      </a:lnTo>
                      <a:lnTo>
                        <a:pt x="13516" y="8313"/>
                      </a:lnTo>
                      <a:lnTo>
                        <a:pt x="13397" y="8552"/>
                      </a:lnTo>
                      <a:lnTo>
                        <a:pt x="13277" y="8732"/>
                      </a:lnTo>
                      <a:lnTo>
                        <a:pt x="11842" y="11184"/>
                      </a:lnTo>
                      <a:lnTo>
                        <a:pt x="10406" y="13636"/>
                      </a:lnTo>
                      <a:lnTo>
                        <a:pt x="10048" y="14294"/>
                      </a:lnTo>
                      <a:lnTo>
                        <a:pt x="9928" y="14473"/>
                      </a:lnTo>
                      <a:lnTo>
                        <a:pt x="9808" y="14653"/>
                      </a:lnTo>
                      <a:lnTo>
                        <a:pt x="9689" y="14832"/>
                      </a:lnTo>
                      <a:lnTo>
                        <a:pt x="9510" y="15012"/>
                      </a:lnTo>
                      <a:lnTo>
                        <a:pt x="9330" y="15131"/>
                      </a:lnTo>
                      <a:lnTo>
                        <a:pt x="9210" y="15191"/>
                      </a:lnTo>
                      <a:lnTo>
                        <a:pt x="9210" y="15191"/>
                      </a:lnTo>
                      <a:lnTo>
                        <a:pt x="9031" y="15251"/>
                      </a:lnTo>
                      <a:lnTo>
                        <a:pt x="8851" y="15311"/>
                      </a:lnTo>
                      <a:lnTo>
                        <a:pt x="8732" y="15311"/>
                      </a:lnTo>
                      <a:lnTo>
                        <a:pt x="8612" y="15311"/>
                      </a:lnTo>
                      <a:lnTo>
                        <a:pt x="8493" y="15251"/>
                      </a:lnTo>
                      <a:lnTo>
                        <a:pt x="8373" y="15191"/>
                      </a:lnTo>
                      <a:lnTo>
                        <a:pt x="6100" y="13277"/>
                      </a:lnTo>
                      <a:lnTo>
                        <a:pt x="3828" y="11363"/>
                      </a:lnTo>
                      <a:lnTo>
                        <a:pt x="1555" y="9450"/>
                      </a:lnTo>
                      <a:lnTo>
                        <a:pt x="359" y="8433"/>
                      </a:lnTo>
                      <a:lnTo>
                        <a:pt x="239" y="8313"/>
                      </a:lnTo>
                      <a:lnTo>
                        <a:pt x="120" y="8134"/>
                      </a:lnTo>
                      <a:lnTo>
                        <a:pt x="60" y="7954"/>
                      </a:lnTo>
                      <a:lnTo>
                        <a:pt x="0" y="7715"/>
                      </a:lnTo>
                      <a:lnTo>
                        <a:pt x="0" y="7476"/>
                      </a:lnTo>
                      <a:lnTo>
                        <a:pt x="0" y="7177"/>
                      </a:lnTo>
                      <a:lnTo>
                        <a:pt x="60" y="6878"/>
                      </a:lnTo>
                      <a:lnTo>
                        <a:pt x="60" y="6758"/>
                      </a:lnTo>
                      <a:lnTo>
                        <a:pt x="120" y="6579"/>
                      </a:lnTo>
                      <a:lnTo>
                        <a:pt x="239" y="6280"/>
                      </a:lnTo>
                      <a:lnTo>
                        <a:pt x="359" y="5981"/>
                      </a:lnTo>
                      <a:lnTo>
                        <a:pt x="479" y="5682"/>
                      </a:lnTo>
                      <a:lnTo>
                        <a:pt x="658" y="5383"/>
                      </a:lnTo>
                      <a:lnTo>
                        <a:pt x="2093" y="2930"/>
                      </a:lnTo>
                      <a:lnTo>
                        <a:pt x="2452" y="2273"/>
                      </a:lnTo>
                      <a:lnTo>
                        <a:pt x="3050" y="1196"/>
                      </a:lnTo>
                      <a:lnTo>
                        <a:pt x="3289" y="957"/>
                      </a:lnTo>
                      <a:lnTo>
                        <a:pt x="3529" y="718"/>
                      </a:lnTo>
                      <a:lnTo>
                        <a:pt x="3768" y="538"/>
                      </a:lnTo>
                      <a:lnTo>
                        <a:pt x="4007" y="359"/>
                      </a:lnTo>
                      <a:lnTo>
                        <a:pt x="4246" y="239"/>
                      </a:lnTo>
                      <a:lnTo>
                        <a:pt x="4486" y="120"/>
                      </a:lnTo>
                      <a:lnTo>
                        <a:pt x="4725" y="60"/>
                      </a:lnTo>
                      <a:lnTo>
                        <a:pt x="4904" y="0"/>
                      </a:lnTo>
                      <a:lnTo>
                        <a:pt x="5083" y="0"/>
                      </a:lnTo>
                      <a:lnTo>
                        <a:pt x="5263" y="60"/>
                      </a:lnTo>
                      <a:lnTo>
                        <a:pt x="5442" y="60"/>
                      </a:lnTo>
                      <a:lnTo>
                        <a:pt x="7476" y="1076"/>
                      </a:lnTo>
                    </a:path>
                  </a:pathLst>
                </a:custGeom>
                <a:noFill/>
                <a:ln w="6350" cap="rnd">
                  <a:solidFill>
                    <a:schemeClr val="bg1">
                      <a:alpha val="40000"/>
                    </a:schemeClr>
                  </a:solidFill>
                  <a:prstDash val="solid"/>
                  <a:round/>
                </a:ln>
              </p:spPr>
              <p:txBody>
                <a:bodyPr rtlCol="0" anchor="ctr"/>
                <a:lstStyle/>
                <a:p>
                  <a:endParaRPr lang="en-GB"/>
                </a:p>
              </p:txBody>
            </p:sp>
            <p:sp>
              <p:nvSpPr>
                <p:cNvPr id="5625" name="Vrije vorm: vorm 5624">
                  <a:extLst>
                    <a:ext uri="{FF2B5EF4-FFF2-40B4-BE49-F238E27FC236}">
                      <a16:creationId xmlns:a16="http://schemas.microsoft.com/office/drawing/2014/main" id="{494B7C13-2EB4-4F52-B5CA-0DDCBB0D258C}"/>
                    </a:ext>
                  </a:extLst>
                </p:cNvPr>
                <p:cNvSpPr/>
                <p:nvPr/>
              </p:nvSpPr>
              <p:spPr>
                <a:xfrm>
                  <a:off x="6437190" y="1765250"/>
                  <a:ext cx="16148" cy="7236"/>
                </a:xfrm>
                <a:custGeom>
                  <a:avLst/>
                  <a:gdLst>
                    <a:gd name="connsiteX0" fmla="*/ 0 w 16148"/>
                    <a:gd name="connsiteY0" fmla="*/ 7237 h 7236"/>
                    <a:gd name="connsiteX1" fmla="*/ 1256 w 16148"/>
                    <a:gd name="connsiteY1" fmla="*/ 5084 h 7236"/>
                    <a:gd name="connsiteX2" fmla="*/ 1615 w 16148"/>
                    <a:gd name="connsiteY2" fmla="*/ 4486 h 7236"/>
                    <a:gd name="connsiteX3" fmla="*/ 1615 w 16148"/>
                    <a:gd name="connsiteY3" fmla="*/ 4486 h 7236"/>
                    <a:gd name="connsiteX4" fmla="*/ 1615 w 16148"/>
                    <a:gd name="connsiteY4" fmla="*/ 4486 h 7236"/>
                    <a:gd name="connsiteX5" fmla="*/ 2811 w 16148"/>
                    <a:gd name="connsiteY5" fmla="*/ 2392 h 7236"/>
                    <a:gd name="connsiteX6" fmla="*/ 3229 w 16148"/>
                    <a:gd name="connsiteY6" fmla="*/ 1675 h 7236"/>
                    <a:gd name="connsiteX7" fmla="*/ 3588 w 16148"/>
                    <a:gd name="connsiteY7" fmla="*/ 1077 h 7236"/>
                    <a:gd name="connsiteX8" fmla="*/ 3888 w 16148"/>
                    <a:gd name="connsiteY8" fmla="*/ 538 h 7236"/>
                    <a:gd name="connsiteX9" fmla="*/ 4246 w 16148"/>
                    <a:gd name="connsiteY9" fmla="*/ 0 h 7236"/>
                    <a:gd name="connsiteX10" fmla="*/ 7177 w 16148"/>
                    <a:gd name="connsiteY10" fmla="*/ 120 h 7236"/>
                    <a:gd name="connsiteX11" fmla="*/ 8971 w 16148"/>
                    <a:gd name="connsiteY11" fmla="*/ 179 h 7236"/>
                    <a:gd name="connsiteX12" fmla="*/ 9031 w 16148"/>
                    <a:gd name="connsiteY12" fmla="*/ 179 h 7236"/>
                    <a:gd name="connsiteX13" fmla="*/ 9569 w 16148"/>
                    <a:gd name="connsiteY13" fmla="*/ 179 h 7236"/>
                    <a:gd name="connsiteX14" fmla="*/ 12440 w 16148"/>
                    <a:gd name="connsiteY14" fmla="*/ 1017 h 7236"/>
                    <a:gd name="connsiteX15" fmla="*/ 15311 w 16148"/>
                    <a:gd name="connsiteY15" fmla="*/ 1854 h 7236"/>
                    <a:gd name="connsiteX16" fmla="*/ 15371 w 16148"/>
                    <a:gd name="connsiteY16" fmla="*/ 1854 h 7236"/>
                    <a:gd name="connsiteX17" fmla="*/ 16148 w 16148"/>
                    <a:gd name="connsiteY17" fmla="*/ 2153 h 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148" h="7236">
                      <a:moveTo>
                        <a:pt x="0" y="7237"/>
                      </a:moveTo>
                      <a:lnTo>
                        <a:pt x="1256" y="5084"/>
                      </a:lnTo>
                      <a:lnTo>
                        <a:pt x="1615" y="4486"/>
                      </a:lnTo>
                      <a:lnTo>
                        <a:pt x="1615" y="4486"/>
                      </a:lnTo>
                      <a:lnTo>
                        <a:pt x="1615" y="4486"/>
                      </a:lnTo>
                      <a:lnTo>
                        <a:pt x="2811" y="2392"/>
                      </a:lnTo>
                      <a:lnTo>
                        <a:pt x="3229" y="1675"/>
                      </a:lnTo>
                      <a:lnTo>
                        <a:pt x="3588" y="1077"/>
                      </a:lnTo>
                      <a:lnTo>
                        <a:pt x="3888" y="538"/>
                      </a:lnTo>
                      <a:lnTo>
                        <a:pt x="4246" y="0"/>
                      </a:lnTo>
                      <a:lnTo>
                        <a:pt x="7177" y="120"/>
                      </a:lnTo>
                      <a:lnTo>
                        <a:pt x="8971" y="179"/>
                      </a:lnTo>
                      <a:lnTo>
                        <a:pt x="9031" y="179"/>
                      </a:lnTo>
                      <a:lnTo>
                        <a:pt x="9569" y="179"/>
                      </a:lnTo>
                      <a:lnTo>
                        <a:pt x="12440" y="1017"/>
                      </a:lnTo>
                      <a:lnTo>
                        <a:pt x="15311" y="1854"/>
                      </a:lnTo>
                      <a:lnTo>
                        <a:pt x="15371" y="1854"/>
                      </a:lnTo>
                      <a:lnTo>
                        <a:pt x="16148" y="2153"/>
                      </a:lnTo>
                    </a:path>
                  </a:pathLst>
                </a:custGeom>
                <a:noFill/>
                <a:ln w="6350" cap="rnd">
                  <a:solidFill>
                    <a:schemeClr val="bg1">
                      <a:alpha val="40000"/>
                    </a:schemeClr>
                  </a:solidFill>
                  <a:prstDash val="solid"/>
                  <a:round/>
                </a:ln>
              </p:spPr>
              <p:txBody>
                <a:bodyPr rtlCol="0" anchor="ctr"/>
                <a:lstStyle/>
                <a:p>
                  <a:endParaRPr lang="en-GB"/>
                </a:p>
              </p:txBody>
            </p:sp>
            <p:sp>
              <p:nvSpPr>
                <p:cNvPr id="5626" name="Vrije vorm: vorm 5625">
                  <a:extLst>
                    <a:ext uri="{FF2B5EF4-FFF2-40B4-BE49-F238E27FC236}">
                      <a16:creationId xmlns:a16="http://schemas.microsoft.com/office/drawing/2014/main" id="{A1146B0C-E2AA-4869-9A5B-79725749A4A2}"/>
                    </a:ext>
                  </a:extLst>
                </p:cNvPr>
                <p:cNvSpPr/>
                <p:nvPr/>
              </p:nvSpPr>
              <p:spPr>
                <a:xfrm>
                  <a:off x="6513564" y="1803407"/>
                  <a:ext cx="6578" cy="16147"/>
                </a:xfrm>
                <a:custGeom>
                  <a:avLst/>
                  <a:gdLst>
                    <a:gd name="connsiteX0" fmla="*/ 0 w 6578"/>
                    <a:gd name="connsiteY0" fmla="*/ 0 h 16147"/>
                    <a:gd name="connsiteX1" fmla="*/ 2213 w 6578"/>
                    <a:gd name="connsiteY1" fmla="*/ 1974 h 16147"/>
                    <a:gd name="connsiteX2" fmla="*/ 3349 w 6578"/>
                    <a:gd name="connsiteY2" fmla="*/ 2990 h 16147"/>
                    <a:gd name="connsiteX3" fmla="*/ 5203 w 6578"/>
                    <a:gd name="connsiteY3" fmla="*/ 5323 h 16147"/>
                    <a:gd name="connsiteX4" fmla="*/ 6220 w 6578"/>
                    <a:gd name="connsiteY4" fmla="*/ 6639 h 16147"/>
                    <a:gd name="connsiteX5" fmla="*/ 6579 w 6578"/>
                    <a:gd name="connsiteY5" fmla="*/ 8911 h 16147"/>
                    <a:gd name="connsiteX6" fmla="*/ 5861 w 6578"/>
                    <a:gd name="connsiteY6" fmla="*/ 10107 h 16147"/>
                    <a:gd name="connsiteX7" fmla="*/ 4844 w 6578"/>
                    <a:gd name="connsiteY7" fmla="*/ 11842 h 16147"/>
                    <a:gd name="connsiteX8" fmla="*/ 4246 w 6578"/>
                    <a:gd name="connsiteY8" fmla="*/ 12859 h 16147"/>
                    <a:gd name="connsiteX9" fmla="*/ 4246 w 6578"/>
                    <a:gd name="connsiteY9" fmla="*/ 12859 h 16147"/>
                    <a:gd name="connsiteX10" fmla="*/ 2811 w 6578"/>
                    <a:gd name="connsiteY10" fmla="*/ 15311 h 16147"/>
                    <a:gd name="connsiteX11" fmla="*/ 2273 w 6578"/>
                    <a:gd name="connsiteY11" fmla="*/ 16148 h 16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78" h="16147">
                      <a:moveTo>
                        <a:pt x="0" y="0"/>
                      </a:moveTo>
                      <a:lnTo>
                        <a:pt x="2213" y="1974"/>
                      </a:lnTo>
                      <a:lnTo>
                        <a:pt x="3349" y="2990"/>
                      </a:lnTo>
                      <a:lnTo>
                        <a:pt x="5203" y="5323"/>
                      </a:lnTo>
                      <a:lnTo>
                        <a:pt x="6220" y="6639"/>
                      </a:lnTo>
                      <a:lnTo>
                        <a:pt x="6579" y="8911"/>
                      </a:lnTo>
                      <a:lnTo>
                        <a:pt x="5861" y="10107"/>
                      </a:lnTo>
                      <a:lnTo>
                        <a:pt x="4844" y="11842"/>
                      </a:lnTo>
                      <a:lnTo>
                        <a:pt x="4246" y="12859"/>
                      </a:lnTo>
                      <a:lnTo>
                        <a:pt x="4246" y="12859"/>
                      </a:lnTo>
                      <a:lnTo>
                        <a:pt x="2811" y="15311"/>
                      </a:lnTo>
                      <a:lnTo>
                        <a:pt x="2273" y="16148"/>
                      </a:lnTo>
                    </a:path>
                  </a:pathLst>
                </a:custGeom>
                <a:noFill/>
                <a:ln w="6350" cap="rnd">
                  <a:solidFill>
                    <a:schemeClr val="bg1">
                      <a:alpha val="40000"/>
                    </a:schemeClr>
                  </a:solidFill>
                  <a:prstDash val="solid"/>
                  <a:round/>
                </a:ln>
              </p:spPr>
              <p:txBody>
                <a:bodyPr rtlCol="0" anchor="ctr"/>
                <a:lstStyle/>
                <a:p>
                  <a:endParaRPr lang="en-GB"/>
                </a:p>
              </p:txBody>
            </p:sp>
            <p:sp>
              <p:nvSpPr>
                <p:cNvPr id="5627" name="Vrije vorm: vorm 5626">
                  <a:extLst>
                    <a:ext uri="{FF2B5EF4-FFF2-40B4-BE49-F238E27FC236}">
                      <a16:creationId xmlns:a16="http://schemas.microsoft.com/office/drawing/2014/main" id="{DCBC690E-AA0B-43C9-A3BA-DFFE1E18633A}"/>
                    </a:ext>
                  </a:extLst>
                </p:cNvPr>
                <p:cNvSpPr/>
                <p:nvPr/>
              </p:nvSpPr>
              <p:spPr>
                <a:xfrm>
                  <a:off x="6441556" y="1765250"/>
                  <a:ext cx="78526" cy="47785"/>
                </a:xfrm>
                <a:custGeom>
                  <a:avLst/>
                  <a:gdLst>
                    <a:gd name="connsiteX0" fmla="*/ 78527 w 78526"/>
                    <a:gd name="connsiteY0" fmla="*/ 47068 h 47785"/>
                    <a:gd name="connsiteX1" fmla="*/ 76912 w 78526"/>
                    <a:gd name="connsiteY1" fmla="*/ 47547 h 47785"/>
                    <a:gd name="connsiteX2" fmla="*/ 76195 w 78526"/>
                    <a:gd name="connsiteY2" fmla="*/ 47786 h 47785"/>
                    <a:gd name="connsiteX3" fmla="*/ 73683 w 78526"/>
                    <a:gd name="connsiteY3" fmla="*/ 47308 h 47785"/>
                    <a:gd name="connsiteX4" fmla="*/ 71171 w 78526"/>
                    <a:gd name="connsiteY4" fmla="*/ 46829 h 47785"/>
                    <a:gd name="connsiteX5" fmla="*/ 70632 w 78526"/>
                    <a:gd name="connsiteY5" fmla="*/ 46650 h 47785"/>
                    <a:gd name="connsiteX6" fmla="*/ 68898 w 78526"/>
                    <a:gd name="connsiteY6" fmla="*/ 45992 h 47785"/>
                    <a:gd name="connsiteX7" fmla="*/ 67702 w 78526"/>
                    <a:gd name="connsiteY7" fmla="*/ 45573 h 47785"/>
                    <a:gd name="connsiteX8" fmla="*/ 66625 w 78526"/>
                    <a:gd name="connsiteY8" fmla="*/ 45154 h 47785"/>
                    <a:gd name="connsiteX9" fmla="*/ 65310 w 78526"/>
                    <a:gd name="connsiteY9" fmla="*/ 44676 h 47785"/>
                    <a:gd name="connsiteX10" fmla="*/ 63815 w 78526"/>
                    <a:gd name="connsiteY10" fmla="*/ 44138 h 47785"/>
                    <a:gd name="connsiteX11" fmla="*/ 61123 w 78526"/>
                    <a:gd name="connsiteY11" fmla="*/ 42882 h 47785"/>
                    <a:gd name="connsiteX12" fmla="*/ 58432 w 78526"/>
                    <a:gd name="connsiteY12" fmla="*/ 41626 h 47785"/>
                    <a:gd name="connsiteX13" fmla="*/ 55740 w 78526"/>
                    <a:gd name="connsiteY13" fmla="*/ 40370 h 47785"/>
                    <a:gd name="connsiteX14" fmla="*/ 54425 w 78526"/>
                    <a:gd name="connsiteY14" fmla="*/ 39772 h 47785"/>
                    <a:gd name="connsiteX15" fmla="*/ 51793 w 78526"/>
                    <a:gd name="connsiteY15" fmla="*/ 38396 h 47785"/>
                    <a:gd name="connsiteX16" fmla="*/ 50956 w 78526"/>
                    <a:gd name="connsiteY16" fmla="*/ 37978 h 47785"/>
                    <a:gd name="connsiteX17" fmla="*/ 48324 w 78526"/>
                    <a:gd name="connsiteY17" fmla="*/ 36602 h 47785"/>
                    <a:gd name="connsiteX18" fmla="*/ 45693 w 78526"/>
                    <a:gd name="connsiteY18" fmla="*/ 35226 h 47785"/>
                    <a:gd name="connsiteX19" fmla="*/ 43779 w 78526"/>
                    <a:gd name="connsiteY19" fmla="*/ 34210 h 47785"/>
                    <a:gd name="connsiteX20" fmla="*/ 41207 w 78526"/>
                    <a:gd name="connsiteY20" fmla="*/ 32715 h 47785"/>
                    <a:gd name="connsiteX21" fmla="*/ 38636 w 78526"/>
                    <a:gd name="connsiteY21" fmla="*/ 31219 h 47785"/>
                    <a:gd name="connsiteX22" fmla="*/ 36064 w 78526"/>
                    <a:gd name="connsiteY22" fmla="*/ 29724 h 47785"/>
                    <a:gd name="connsiteX23" fmla="*/ 33492 w 78526"/>
                    <a:gd name="connsiteY23" fmla="*/ 28229 h 47785"/>
                    <a:gd name="connsiteX24" fmla="*/ 32775 w 78526"/>
                    <a:gd name="connsiteY24" fmla="*/ 27810 h 47785"/>
                    <a:gd name="connsiteX25" fmla="*/ 30262 w 78526"/>
                    <a:gd name="connsiteY25" fmla="*/ 26196 h 47785"/>
                    <a:gd name="connsiteX26" fmla="*/ 27751 w 78526"/>
                    <a:gd name="connsiteY26" fmla="*/ 24581 h 47785"/>
                    <a:gd name="connsiteX27" fmla="*/ 25239 w 78526"/>
                    <a:gd name="connsiteY27" fmla="*/ 22966 h 47785"/>
                    <a:gd name="connsiteX28" fmla="*/ 22727 w 78526"/>
                    <a:gd name="connsiteY28" fmla="*/ 21351 h 47785"/>
                    <a:gd name="connsiteX29" fmla="*/ 22308 w 78526"/>
                    <a:gd name="connsiteY29" fmla="*/ 21052 h 47785"/>
                    <a:gd name="connsiteX30" fmla="*/ 21591 w 78526"/>
                    <a:gd name="connsiteY30" fmla="*/ 20514 h 47785"/>
                    <a:gd name="connsiteX31" fmla="*/ 19198 w 78526"/>
                    <a:gd name="connsiteY31" fmla="*/ 18779 h 47785"/>
                    <a:gd name="connsiteX32" fmla="*/ 16806 w 78526"/>
                    <a:gd name="connsiteY32" fmla="*/ 17045 h 47785"/>
                    <a:gd name="connsiteX33" fmla="*/ 14414 w 78526"/>
                    <a:gd name="connsiteY33" fmla="*/ 15311 h 47785"/>
                    <a:gd name="connsiteX34" fmla="*/ 13397 w 78526"/>
                    <a:gd name="connsiteY34" fmla="*/ 14593 h 47785"/>
                    <a:gd name="connsiteX35" fmla="*/ 11124 w 78526"/>
                    <a:gd name="connsiteY35" fmla="*/ 12739 h 47785"/>
                    <a:gd name="connsiteX36" fmla="*/ 8852 w 78526"/>
                    <a:gd name="connsiteY36" fmla="*/ 10885 h 47785"/>
                    <a:gd name="connsiteX37" fmla="*/ 7656 w 78526"/>
                    <a:gd name="connsiteY37" fmla="*/ 9928 h 47785"/>
                    <a:gd name="connsiteX38" fmla="*/ 7476 w 78526"/>
                    <a:gd name="connsiteY38" fmla="*/ 9808 h 47785"/>
                    <a:gd name="connsiteX39" fmla="*/ 6519 w 78526"/>
                    <a:gd name="connsiteY39" fmla="*/ 9031 h 47785"/>
                    <a:gd name="connsiteX40" fmla="*/ 6100 w 78526"/>
                    <a:gd name="connsiteY40" fmla="*/ 8612 h 47785"/>
                    <a:gd name="connsiteX41" fmla="*/ 5742 w 78526"/>
                    <a:gd name="connsiteY41" fmla="*/ 8253 h 47785"/>
                    <a:gd name="connsiteX42" fmla="*/ 4904 w 78526"/>
                    <a:gd name="connsiteY42" fmla="*/ 7356 h 47785"/>
                    <a:gd name="connsiteX43" fmla="*/ 2871 w 78526"/>
                    <a:gd name="connsiteY43" fmla="*/ 5203 h 47785"/>
                    <a:gd name="connsiteX44" fmla="*/ 1136 w 78526"/>
                    <a:gd name="connsiteY44" fmla="*/ 3409 h 47785"/>
                    <a:gd name="connsiteX45" fmla="*/ 239 w 78526"/>
                    <a:gd name="connsiteY45" fmla="*/ 2512 h 47785"/>
                    <a:gd name="connsiteX46" fmla="*/ 180 w 78526"/>
                    <a:gd name="connsiteY46" fmla="*/ 2093 h 47785"/>
                    <a:gd name="connsiteX47" fmla="*/ 120 w 78526"/>
                    <a:gd name="connsiteY47" fmla="*/ 1376 h 47785"/>
                    <a:gd name="connsiteX48" fmla="*/ 60 w 78526"/>
                    <a:gd name="connsiteY48" fmla="*/ 718 h 47785"/>
                    <a:gd name="connsiteX49" fmla="*/ 0 w 78526"/>
                    <a:gd name="connsiteY49" fmla="*/ 0 h 4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8526" h="47785">
                      <a:moveTo>
                        <a:pt x="78527" y="47068"/>
                      </a:moveTo>
                      <a:lnTo>
                        <a:pt x="76912" y="47547"/>
                      </a:lnTo>
                      <a:lnTo>
                        <a:pt x="76195" y="47786"/>
                      </a:lnTo>
                      <a:lnTo>
                        <a:pt x="73683" y="47308"/>
                      </a:lnTo>
                      <a:lnTo>
                        <a:pt x="71171" y="46829"/>
                      </a:lnTo>
                      <a:lnTo>
                        <a:pt x="70632" y="46650"/>
                      </a:lnTo>
                      <a:lnTo>
                        <a:pt x="68898" y="45992"/>
                      </a:lnTo>
                      <a:lnTo>
                        <a:pt x="67702" y="45573"/>
                      </a:lnTo>
                      <a:lnTo>
                        <a:pt x="66625" y="45154"/>
                      </a:lnTo>
                      <a:lnTo>
                        <a:pt x="65310" y="44676"/>
                      </a:lnTo>
                      <a:lnTo>
                        <a:pt x="63815" y="44138"/>
                      </a:lnTo>
                      <a:lnTo>
                        <a:pt x="61123" y="42882"/>
                      </a:lnTo>
                      <a:lnTo>
                        <a:pt x="58432" y="41626"/>
                      </a:lnTo>
                      <a:lnTo>
                        <a:pt x="55740" y="40370"/>
                      </a:lnTo>
                      <a:lnTo>
                        <a:pt x="54425" y="39772"/>
                      </a:lnTo>
                      <a:lnTo>
                        <a:pt x="51793" y="38396"/>
                      </a:lnTo>
                      <a:lnTo>
                        <a:pt x="50956" y="37978"/>
                      </a:lnTo>
                      <a:lnTo>
                        <a:pt x="48324" y="36602"/>
                      </a:lnTo>
                      <a:lnTo>
                        <a:pt x="45693" y="35226"/>
                      </a:lnTo>
                      <a:lnTo>
                        <a:pt x="43779" y="34210"/>
                      </a:lnTo>
                      <a:lnTo>
                        <a:pt x="41207" y="32715"/>
                      </a:lnTo>
                      <a:lnTo>
                        <a:pt x="38636" y="31219"/>
                      </a:lnTo>
                      <a:lnTo>
                        <a:pt x="36064" y="29724"/>
                      </a:lnTo>
                      <a:lnTo>
                        <a:pt x="33492" y="28229"/>
                      </a:lnTo>
                      <a:lnTo>
                        <a:pt x="32775" y="27810"/>
                      </a:lnTo>
                      <a:lnTo>
                        <a:pt x="30262" y="26196"/>
                      </a:lnTo>
                      <a:lnTo>
                        <a:pt x="27751" y="24581"/>
                      </a:lnTo>
                      <a:lnTo>
                        <a:pt x="25239" y="22966"/>
                      </a:lnTo>
                      <a:lnTo>
                        <a:pt x="22727" y="21351"/>
                      </a:lnTo>
                      <a:lnTo>
                        <a:pt x="22308" y="21052"/>
                      </a:lnTo>
                      <a:lnTo>
                        <a:pt x="21591" y="20514"/>
                      </a:lnTo>
                      <a:lnTo>
                        <a:pt x="19198" y="18779"/>
                      </a:lnTo>
                      <a:lnTo>
                        <a:pt x="16806" y="17045"/>
                      </a:lnTo>
                      <a:lnTo>
                        <a:pt x="14414" y="15311"/>
                      </a:lnTo>
                      <a:lnTo>
                        <a:pt x="13397" y="14593"/>
                      </a:lnTo>
                      <a:lnTo>
                        <a:pt x="11124" y="12739"/>
                      </a:lnTo>
                      <a:lnTo>
                        <a:pt x="8852" y="10885"/>
                      </a:lnTo>
                      <a:lnTo>
                        <a:pt x="7656" y="9928"/>
                      </a:lnTo>
                      <a:lnTo>
                        <a:pt x="7476" y="9808"/>
                      </a:lnTo>
                      <a:lnTo>
                        <a:pt x="6519" y="9031"/>
                      </a:lnTo>
                      <a:lnTo>
                        <a:pt x="6100" y="8612"/>
                      </a:lnTo>
                      <a:lnTo>
                        <a:pt x="5742" y="8253"/>
                      </a:lnTo>
                      <a:lnTo>
                        <a:pt x="4904" y="7356"/>
                      </a:lnTo>
                      <a:lnTo>
                        <a:pt x="2871" y="5203"/>
                      </a:lnTo>
                      <a:lnTo>
                        <a:pt x="1136" y="3409"/>
                      </a:lnTo>
                      <a:lnTo>
                        <a:pt x="239" y="2512"/>
                      </a:lnTo>
                      <a:lnTo>
                        <a:pt x="180" y="2093"/>
                      </a:lnTo>
                      <a:lnTo>
                        <a:pt x="120" y="1376"/>
                      </a:lnTo>
                      <a:lnTo>
                        <a:pt x="60" y="71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28" name="Vrije vorm: vorm 5627">
                  <a:extLst>
                    <a:ext uri="{FF2B5EF4-FFF2-40B4-BE49-F238E27FC236}">
                      <a16:creationId xmlns:a16="http://schemas.microsoft.com/office/drawing/2014/main" id="{60A2A4AA-7102-481A-9F1F-094804BC2C65}"/>
                    </a:ext>
                  </a:extLst>
                </p:cNvPr>
                <p:cNvSpPr/>
                <p:nvPr/>
              </p:nvSpPr>
              <p:spPr>
                <a:xfrm>
                  <a:off x="6513325" y="1799878"/>
                  <a:ext cx="12559" cy="1016"/>
                </a:xfrm>
                <a:custGeom>
                  <a:avLst/>
                  <a:gdLst>
                    <a:gd name="connsiteX0" fmla="*/ 12560 w 12559"/>
                    <a:gd name="connsiteY0" fmla="*/ 0 h 1016"/>
                    <a:gd name="connsiteX1" fmla="*/ 11124 w 12559"/>
                    <a:gd name="connsiteY1" fmla="*/ 299 h 1016"/>
                    <a:gd name="connsiteX2" fmla="*/ 8194 w 12559"/>
                    <a:gd name="connsiteY2" fmla="*/ 478 h 1016"/>
                    <a:gd name="connsiteX3" fmla="*/ 5263 w 12559"/>
                    <a:gd name="connsiteY3" fmla="*/ 658 h 1016"/>
                    <a:gd name="connsiteX4" fmla="*/ 2333 w 12559"/>
                    <a:gd name="connsiteY4" fmla="*/ 837 h 1016"/>
                    <a:gd name="connsiteX5" fmla="*/ 1735 w 12559"/>
                    <a:gd name="connsiteY5" fmla="*/ 897 h 1016"/>
                    <a:gd name="connsiteX6" fmla="*/ 0 w 12559"/>
                    <a:gd name="connsiteY6" fmla="*/ 1017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9" h="1016">
                      <a:moveTo>
                        <a:pt x="12560" y="0"/>
                      </a:moveTo>
                      <a:lnTo>
                        <a:pt x="11124" y="299"/>
                      </a:lnTo>
                      <a:lnTo>
                        <a:pt x="8194" y="478"/>
                      </a:lnTo>
                      <a:lnTo>
                        <a:pt x="5263" y="658"/>
                      </a:lnTo>
                      <a:lnTo>
                        <a:pt x="2333" y="837"/>
                      </a:lnTo>
                      <a:lnTo>
                        <a:pt x="1735" y="897"/>
                      </a:lnTo>
                      <a:lnTo>
                        <a:pt x="0" y="1017"/>
                      </a:lnTo>
                    </a:path>
                  </a:pathLst>
                </a:custGeom>
                <a:noFill/>
                <a:ln w="6350" cap="rnd">
                  <a:solidFill>
                    <a:schemeClr val="bg1">
                      <a:alpha val="40000"/>
                    </a:schemeClr>
                  </a:solidFill>
                  <a:prstDash val="solid"/>
                  <a:round/>
                </a:ln>
              </p:spPr>
              <p:txBody>
                <a:bodyPr rtlCol="0" anchor="ctr"/>
                <a:lstStyle/>
                <a:p>
                  <a:endParaRPr lang="en-GB"/>
                </a:p>
              </p:txBody>
            </p:sp>
            <p:sp>
              <p:nvSpPr>
                <p:cNvPr id="5629" name="Vrije vorm: vorm 5628">
                  <a:extLst>
                    <a:ext uri="{FF2B5EF4-FFF2-40B4-BE49-F238E27FC236}">
                      <a16:creationId xmlns:a16="http://schemas.microsoft.com/office/drawing/2014/main" id="{A1809E3D-F419-4F6C-8112-9263B2341467}"/>
                    </a:ext>
                  </a:extLst>
                </p:cNvPr>
                <p:cNvSpPr/>
                <p:nvPr/>
              </p:nvSpPr>
              <p:spPr>
                <a:xfrm>
                  <a:off x="6419906" y="1671293"/>
                  <a:ext cx="6519" cy="13456"/>
                </a:xfrm>
                <a:custGeom>
                  <a:avLst/>
                  <a:gdLst>
                    <a:gd name="connsiteX0" fmla="*/ 0 w 6519"/>
                    <a:gd name="connsiteY0" fmla="*/ 13457 h 13456"/>
                    <a:gd name="connsiteX1" fmla="*/ 1017 w 6519"/>
                    <a:gd name="connsiteY1" fmla="*/ 12918 h 13456"/>
                    <a:gd name="connsiteX2" fmla="*/ 1017 w 6519"/>
                    <a:gd name="connsiteY2" fmla="*/ 12918 h 13456"/>
                    <a:gd name="connsiteX3" fmla="*/ 2273 w 6519"/>
                    <a:gd name="connsiteY3" fmla="*/ 11842 h 13456"/>
                    <a:gd name="connsiteX4" fmla="*/ 2990 w 6519"/>
                    <a:gd name="connsiteY4" fmla="*/ 11005 h 13456"/>
                    <a:gd name="connsiteX5" fmla="*/ 3469 w 6519"/>
                    <a:gd name="connsiteY5" fmla="*/ 10466 h 13456"/>
                    <a:gd name="connsiteX6" fmla="*/ 3708 w 6519"/>
                    <a:gd name="connsiteY6" fmla="*/ 10167 h 13456"/>
                    <a:gd name="connsiteX7" fmla="*/ 4605 w 6519"/>
                    <a:gd name="connsiteY7" fmla="*/ 8851 h 13456"/>
                    <a:gd name="connsiteX8" fmla="*/ 5503 w 6519"/>
                    <a:gd name="connsiteY8" fmla="*/ 7057 h 13456"/>
                    <a:gd name="connsiteX9" fmla="*/ 5981 w 6519"/>
                    <a:gd name="connsiteY9" fmla="*/ 5741 h 13456"/>
                    <a:gd name="connsiteX10" fmla="*/ 6160 w 6519"/>
                    <a:gd name="connsiteY10" fmla="*/ 5263 h 13456"/>
                    <a:gd name="connsiteX11" fmla="*/ 6519 w 6519"/>
                    <a:gd name="connsiteY11" fmla="*/ 3588 h 13456"/>
                    <a:gd name="connsiteX12" fmla="*/ 6519 w 6519"/>
                    <a:gd name="connsiteY12" fmla="*/ 2990 h 13456"/>
                    <a:gd name="connsiteX13" fmla="*/ 6519 w 6519"/>
                    <a:gd name="connsiteY13" fmla="*/ 2093 h 13456"/>
                    <a:gd name="connsiteX14" fmla="*/ 6220 w 6519"/>
                    <a:gd name="connsiteY14" fmla="*/ 957 h 13456"/>
                    <a:gd name="connsiteX15" fmla="*/ 5622 w 6519"/>
                    <a:gd name="connsiteY15" fmla="*/ 239 h 13456"/>
                    <a:gd name="connsiteX16" fmla="*/ 4785 w 6519"/>
                    <a:gd name="connsiteY16" fmla="*/ 0 h 13456"/>
                    <a:gd name="connsiteX17" fmla="*/ 3708 w 6519"/>
                    <a:gd name="connsiteY17" fmla="*/ 239 h 13456"/>
                    <a:gd name="connsiteX18" fmla="*/ 2632 w 6519"/>
                    <a:gd name="connsiteY18" fmla="*/ 837 h 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19" h="13456">
                      <a:moveTo>
                        <a:pt x="0" y="13457"/>
                      </a:moveTo>
                      <a:lnTo>
                        <a:pt x="1017" y="12918"/>
                      </a:lnTo>
                      <a:lnTo>
                        <a:pt x="1017" y="12918"/>
                      </a:lnTo>
                      <a:lnTo>
                        <a:pt x="2273" y="11842"/>
                      </a:lnTo>
                      <a:lnTo>
                        <a:pt x="2990" y="11005"/>
                      </a:lnTo>
                      <a:lnTo>
                        <a:pt x="3469" y="10466"/>
                      </a:lnTo>
                      <a:lnTo>
                        <a:pt x="3708" y="10167"/>
                      </a:lnTo>
                      <a:lnTo>
                        <a:pt x="4605" y="8851"/>
                      </a:lnTo>
                      <a:lnTo>
                        <a:pt x="5503" y="7057"/>
                      </a:lnTo>
                      <a:lnTo>
                        <a:pt x="5981" y="5741"/>
                      </a:lnTo>
                      <a:lnTo>
                        <a:pt x="6160" y="5263"/>
                      </a:lnTo>
                      <a:lnTo>
                        <a:pt x="6519" y="3588"/>
                      </a:lnTo>
                      <a:lnTo>
                        <a:pt x="6519" y="2990"/>
                      </a:lnTo>
                      <a:lnTo>
                        <a:pt x="6519" y="2093"/>
                      </a:lnTo>
                      <a:lnTo>
                        <a:pt x="6220" y="957"/>
                      </a:lnTo>
                      <a:lnTo>
                        <a:pt x="5622" y="239"/>
                      </a:lnTo>
                      <a:lnTo>
                        <a:pt x="4785" y="0"/>
                      </a:lnTo>
                      <a:lnTo>
                        <a:pt x="3708" y="239"/>
                      </a:lnTo>
                      <a:lnTo>
                        <a:pt x="2632" y="837"/>
                      </a:lnTo>
                    </a:path>
                  </a:pathLst>
                </a:custGeom>
                <a:noFill/>
                <a:ln w="6350" cap="rnd">
                  <a:solidFill>
                    <a:schemeClr val="bg1">
                      <a:alpha val="40000"/>
                    </a:schemeClr>
                  </a:solidFill>
                  <a:prstDash val="solid"/>
                  <a:round/>
                </a:ln>
              </p:spPr>
              <p:txBody>
                <a:bodyPr rtlCol="0" anchor="ctr"/>
                <a:lstStyle/>
                <a:p>
                  <a:endParaRPr lang="en-GB"/>
                </a:p>
              </p:txBody>
            </p:sp>
            <p:sp>
              <p:nvSpPr>
                <p:cNvPr id="5630" name="Vrije vorm: vorm 5629">
                  <a:extLst>
                    <a:ext uri="{FF2B5EF4-FFF2-40B4-BE49-F238E27FC236}">
                      <a16:creationId xmlns:a16="http://schemas.microsoft.com/office/drawing/2014/main" id="{2695A066-3D30-4E1E-8159-0A21C0E91D04}"/>
                    </a:ext>
                  </a:extLst>
                </p:cNvPr>
                <p:cNvSpPr/>
                <p:nvPr/>
              </p:nvSpPr>
              <p:spPr>
                <a:xfrm>
                  <a:off x="6417753" y="1669260"/>
                  <a:ext cx="7595" cy="13994"/>
                </a:xfrm>
                <a:custGeom>
                  <a:avLst/>
                  <a:gdLst>
                    <a:gd name="connsiteX0" fmla="*/ 1974 w 7595"/>
                    <a:gd name="connsiteY0" fmla="*/ 13995 h 13994"/>
                    <a:gd name="connsiteX1" fmla="*/ 2512 w 7595"/>
                    <a:gd name="connsiteY1" fmla="*/ 13875 h 13994"/>
                    <a:gd name="connsiteX2" fmla="*/ 3409 w 7595"/>
                    <a:gd name="connsiteY2" fmla="*/ 13397 h 13994"/>
                    <a:gd name="connsiteX3" fmla="*/ 4366 w 7595"/>
                    <a:gd name="connsiteY3" fmla="*/ 12619 h 13994"/>
                    <a:gd name="connsiteX4" fmla="*/ 4426 w 7595"/>
                    <a:gd name="connsiteY4" fmla="*/ 12559 h 13994"/>
                    <a:gd name="connsiteX5" fmla="*/ 5024 w 7595"/>
                    <a:gd name="connsiteY5" fmla="*/ 11902 h 13994"/>
                    <a:gd name="connsiteX6" fmla="*/ 5323 w 7595"/>
                    <a:gd name="connsiteY6" fmla="*/ 11543 h 13994"/>
                    <a:gd name="connsiteX7" fmla="*/ 6160 w 7595"/>
                    <a:gd name="connsiteY7" fmla="*/ 10287 h 13994"/>
                    <a:gd name="connsiteX8" fmla="*/ 6878 w 7595"/>
                    <a:gd name="connsiteY8" fmla="*/ 8911 h 13994"/>
                    <a:gd name="connsiteX9" fmla="*/ 7356 w 7595"/>
                    <a:gd name="connsiteY9" fmla="*/ 7536 h 13994"/>
                    <a:gd name="connsiteX10" fmla="*/ 7416 w 7595"/>
                    <a:gd name="connsiteY10" fmla="*/ 7117 h 13994"/>
                    <a:gd name="connsiteX11" fmla="*/ 7596 w 7595"/>
                    <a:gd name="connsiteY11" fmla="*/ 6280 h 13994"/>
                    <a:gd name="connsiteX12" fmla="*/ 7596 w 7595"/>
                    <a:gd name="connsiteY12" fmla="*/ 5203 h 13994"/>
                    <a:gd name="connsiteX13" fmla="*/ 7356 w 7595"/>
                    <a:gd name="connsiteY13" fmla="*/ 4366 h 13994"/>
                    <a:gd name="connsiteX14" fmla="*/ 6878 w 7595"/>
                    <a:gd name="connsiteY14" fmla="*/ 3828 h 13994"/>
                    <a:gd name="connsiteX15" fmla="*/ 4844 w 7595"/>
                    <a:gd name="connsiteY15" fmla="*/ 2691 h 13994"/>
                    <a:gd name="connsiteX16" fmla="*/ 2273 w 7595"/>
                    <a:gd name="connsiteY16" fmla="*/ 1256 h 13994"/>
                    <a:gd name="connsiteX17" fmla="*/ 0 w 7595"/>
                    <a:gd name="connsiteY17" fmla="*/ 0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95" h="13994">
                      <a:moveTo>
                        <a:pt x="1974" y="13995"/>
                      </a:moveTo>
                      <a:lnTo>
                        <a:pt x="2512" y="13875"/>
                      </a:lnTo>
                      <a:lnTo>
                        <a:pt x="3409" y="13397"/>
                      </a:lnTo>
                      <a:lnTo>
                        <a:pt x="4366" y="12619"/>
                      </a:lnTo>
                      <a:lnTo>
                        <a:pt x="4426" y="12559"/>
                      </a:lnTo>
                      <a:lnTo>
                        <a:pt x="5024" y="11902"/>
                      </a:lnTo>
                      <a:lnTo>
                        <a:pt x="5323" y="11543"/>
                      </a:lnTo>
                      <a:lnTo>
                        <a:pt x="6160" y="10287"/>
                      </a:lnTo>
                      <a:lnTo>
                        <a:pt x="6878" y="8911"/>
                      </a:lnTo>
                      <a:lnTo>
                        <a:pt x="7356" y="7536"/>
                      </a:lnTo>
                      <a:lnTo>
                        <a:pt x="7416" y="7117"/>
                      </a:lnTo>
                      <a:lnTo>
                        <a:pt x="7596" y="6280"/>
                      </a:lnTo>
                      <a:lnTo>
                        <a:pt x="7596" y="5203"/>
                      </a:lnTo>
                      <a:lnTo>
                        <a:pt x="7356" y="4366"/>
                      </a:lnTo>
                      <a:lnTo>
                        <a:pt x="6878" y="3828"/>
                      </a:lnTo>
                      <a:lnTo>
                        <a:pt x="4844" y="2691"/>
                      </a:lnTo>
                      <a:lnTo>
                        <a:pt x="2273" y="125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31" name="Vrije vorm: vorm 5630">
                  <a:extLst>
                    <a:ext uri="{FF2B5EF4-FFF2-40B4-BE49-F238E27FC236}">
                      <a16:creationId xmlns:a16="http://schemas.microsoft.com/office/drawing/2014/main" id="{6794DE16-2C22-48F1-AEC6-0AB2A97C5BCE}"/>
                    </a:ext>
                  </a:extLst>
                </p:cNvPr>
                <p:cNvSpPr/>
                <p:nvPr/>
              </p:nvSpPr>
              <p:spPr>
                <a:xfrm>
                  <a:off x="6437130" y="1772547"/>
                  <a:ext cx="78706" cy="47845"/>
                </a:xfrm>
                <a:custGeom>
                  <a:avLst/>
                  <a:gdLst>
                    <a:gd name="connsiteX0" fmla="*/ 78707 w 78706"/>
                    <a:gd name="connsiteY0" fmla="*/ 47008 h 47845"/>
                    <a:gd name="connsiteX1" fmla="*/ 76254 w 78706"/>
                    <a:gd name="connsiteY1" fmla="*/ 47846 h 47845"/>
                    <a:gd name="connsiteX2" fmla="*/ 73324 w 78706"/>
                    <a:gd name="connsiteY2" fmla="*/ 47367 h 47845"/>
                    <a:gd name="connsiteX3" fmla="*/ 71111 w 78706"/>
                    <a:gd name="connsiteY3" fmla="*/ 47008 h 47845"/>
                    <a:gd name="connsiteX4" fmla="*/ 68300 w 78706"/>
                    <a:gd name="connsiteY4" fmla="*/ 46052 h 47845"/>
                    <a:gd name="connsiteX5" fmla="*/ 65489 w 78706"/>
                    <a:gd name="connsiteY5" fmla="*/ 45095 h 47845"/>
                    <a:gd name="connsiteX6" fmla="*/ 63575 w 78706"/>
                    <a:gd name="connsiteY6" fmla="*/ 44437 h 47845"/>
                    <a:gd name="connsiteX7" fmla="*/ 60884 w 78706"/>
                    <a:gd name="connsiteY7" fmla="*/ 43241 h 47845"/>
                    <a:gd name="connsiteX8" fmla="*/ 58193 w 78706"/>
                    <a:gd name="connsiteY8" fmla="*/ 42044 h 47845"/>
                    <a:gd name="connsiteX9" fmla="*/ 55501 w 78706"/>
                    <a:gd name="connsiteY9" fmla="*/ 40848 h 47845"/>
                    <a:gd name="connsiteX10" fmla="*/ 54185 w 78706"/>
                    <a:gd name="connsiteY10" fmla="*/ 40250 h 47845"/>
                    <a:gd name="connsiteX11" fmla="*/ 51554 w 78706"/>
                    <a:gd name="connsiteY11" fmla="*/ 38875 h 47845"/>
                    <a:gd name="connsiteX12" fmla="*/ 48922 w 78706"/>
                    <a:gd name="connsiteY12" fmla="*/ 37499 h 47845"/>
                    <a:gd name="connsiteX13" fmla="*/ 46291 w 78706"/>
                    <a:gd name="connsiteY13" fmla="*/ 36124 h 47845"/>
                    <a:gd name="connsiteX14" fmla="*/ 43659 w 78706"/>
                    <a:gd name="connsiteY14" fmla="*/ 34748 h 47845"/>
                    <a:gd name="connsiteX15" fmla="*/ 43540 w 78706"/>
                    <a:gd name="connsiteY15" fmla="*/ 34688 h 47845"/>
                    <a:gd name="connsiteX16" fmla="*/ 40968 w 78706"/>
                    <a:gd name="connsiteY16" fmla="*/ 33193 h 47845"/>
                    <a:gd name="connsiteX17" fmla="*/ 38397 w 78706"/>
                    <a:gd name="connsiteY17" fmla="*/ 31698 h 47845"/>
                    <a:gd name="connsiteX18" fmla="*/ 35824 w 78706"/>
                    <a:gd name="connsiteY18" fmla="*/ 30203 h 47845"/>
                    <a:gd name="connsiteX19" fmla="*/ 33253 w 78706"/>
                    <a:gd name="connsiteY19" fmla="*/ 28707 h 47845"/>
                    <a:gd name="connsiteX20" fmla="*/ 32535 w 78706"/>
                    <a:gd name="connsiteY20" fmla="*/ 28289 h 47845"/>
                    <a:gd name="connsiteX21" fmla="*/ 30023 w 78706"/>
                    <a:gd name="connsiteY21" fmla="*/ 26674 h 47845"/>
                    <a:gd name="connsiteX22" fmla="*/ 27512 w 78706"/>
                    <a:gd name="connsiteY22" fmla="*/ 25059 h 47845"/>
                    <a:gd name="connsiteX23" fmla="*/ 24999 w 78706"/>
                    <a:gd name="connsiteY23" fmla="*/ 23444 h 47845"/>
                    <a:gd name="connsiteX24" fmla="*/ 22488 w 78706"/>
                    <a:gd name="connsiteY24" fmla="*/ 21830 h 47845"/>
                    <a:gd name="connsiteX25" fmla="*/ 22069 w 78706"/>
                    <a:gd name="connsiteY25" fmla="*/ 21531 h 47845"/>
                    <a:gd name="connsiteX26" fmla="*/ 19677 w 78706"/>
                    <a:gd name="connsiteY26" fmla="*/ 19796 h 47845"/>
                    <a:gd name="connsiteX27" fmla="*/ 17284 w 78706"/>
                    <a:gd name="connsiteY27" fmla="*/ 18062 h 47845"/>
                    <a:gd name="connsiteX28" fmla="*/ 14892 w 78706"/>
                    <a:gd name="connsiteY28" fmla="*/ 16327 h 47845"/>
                    <a:gd name="connsiteX29" fmla="*/ 13158 w 78706"/>
                    <a:gd name="connsiteY29" fmla="*/ 15071 h 47845"/>
                    <a:gd name="connsiteX30" fmla="*/ 10885 w 78706"/>
                    <a:gd name="connsiteY30" fmla="*/ 13158 h 47845"/>
                    <a:gd name="connsiteX31" fmla="*/ 8612 w 78706"/>
                    <a:gd name="connsiteY31" fmla="*/ 11244 h 47845"/>
                    <a:gd name="connsiteX32" fmla="*/ 6340 w 78706"/>
                    <a:gd name="connsiteY32" fmla="*/ 9330 h 47845"/>
                    <a:gd name="connsiteX33" fmla="*/ 5622 w 78706"/>
                    <a:gd name="connsiteY33" fmla="*/ 8552 h 47845"/>
                    <a:gd name="connsiteX34" fmla="*/ 3589 w 78706"/>
                    <a:gd name="connsiteY34" fmla="*/ 6399 h 47845"/>
                    <a:gd name="connsiteX35" fmla="*/ 1555 w 78706"/>
                    <a:gd name="connsiteY35" fmla="*/ 4246 h 47845"/>
                    <a:gd name="connsiteX36" fmla="*/ 120 w 78706"/>
                    <a:gd name="connsiteY36" fmla="*/ 2691 h 47845"/>
                    <a:gd name="connsiteX37" fmla="*/ 0 w 78706"/>
                    <a:gd name="connsiteY37" fmla="*/ 0 h 4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8706" h="47845">
                      <a:moveTo>
                        <a:pt x="78707" y="47008"/>
                      </a:moveTo>
                      <a:lnTo>
                        <a:pt x="76254" y="47846"/>
                      </a:lnTo>
                      <a:lnTo>
                        <a:pt x="73324" y="47367"/>
                      </a:lnTo>
                      <a:lnTo>
                        <a:pt x="71111" y="47008"/>
                      </a:lnTo>
                      <a:lnTo>
                        <a:pt x="68300" y="46052"/>
                      </a:lnTo>
                      <a:lnTo>
                        <a:pt x="65489" y="45095"/>
                      </a:lnTo>
                      <a:lnTo>
                        <a:pt x="63575" y="44437"/>
                      </a:lnTo>
                      <a:lnTo>
                        <a:pt x="60884" y="43241"/>
                      </a:lnTo>
                      <a:lnTo>
                        <a:pt x="58193" y="42044"/>
                      </a:lnTo>
                      <a:lnTo>
                        <a:pt x="55501" y="40848"/>
                      </a:lnTo>
                      <a:lnTo>
                        <a:pt x="54185" y="40250"/>
                      </a:lnTo>
                      <a:lnTo>
                        <a:pt x="51554" y="38875"/>
                      </a:lnTo>
                      <a:lnTo>
                        <a:pt x="48922" y="37499"/>
                      </a:lnTo>
                      <a:lnTo>
                        <a:pt x="46291" y="36124"/>
                      </a:lnTo>
                      <a:lnTo>
                        <a:pt x="43659" y="34748"/>
                      </a:lnTo>
                      <a:lnTo>
                        <a:pt x="43540" y="34688"/>
                      </a:lnTo>
                      <a:lnTo>
                        <a:pt x="40968" y="33193"/>
                      </a:lnTo>
                      <a:lnTo>
                        <a:pt x="38397" y="31698"/>
                      </a:lnTo>
                      <a:lnTo>
                        <a:pt x="35824" y="30203"/>
                      </a:lnTo>
                      <a:lnTo>
                        <a:pt x="33253" y="28707"/>
                      </a:lnTo>
                      <a:lnTo>
                        <a:pt x="32535" y="28289"/>
                      </a:lnTo>
                      <a:lnTo>
                        <a:pt x="30023" y="26674"/>
                      </a:lnTo>
                      <a:lnTo>
                        <a:pt x="27512" y="25059"/>
                      </a:lnTo>
                      <a:lnTo>
                        <a:pt x="24999" y="23444"/>
                      </a:lnTo>
                      <a:lnTo>
                        <a:pt x="22488" y="21830"/>
                      </a:lnTo>
                      <a:lnTo>
                        <a:pt x="22069" y="21531"/>
                      </a:lnTo>
                      <a:lnTo>
                        <a:pt x="19677" y="19796"/>
                      </a:lnTo>
                      <a:lnTo>
                        <a:pt x="17284" y="18062"/>
                      </a:lnTo>
                      <a:lnTo>
                        <a:pt x="14892" y="16327"/>
                      </a:lnTo>
                      <a:lnTo>
                        <a:pt x="13158" y="15071"/>
                      </a:lnTo>
                      <a:lnTo>
                        <a:pt x="10885" y="13158"/>
                      </a:lnTo>
                      <a:lnTo>
                        <a:pt x="8612" y="11244"/>
                      </a:lnTo>
                      <a:lnTo>
                        <a:pt x="6340" y="9330"/>
                      </a:lnTo>
                      <a:lnTo>
                        <a:pt x="5622" y="8552"/>
                      </a:lnTo>
                      <a:lnTo>
                        <a:pt x="3589" y="6399"/>
                      </a:lnTo>
                      <a:lnTo>
                        <a:pt x="1555" y="4246"/>
                      </a:lnTo>
                      <a:lnTo>
                        <a:pt x="120" y="2691"/>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32" name="Vrije vorm: vorm 5631">
                  <a:extLst>
                    <a:ext uri="{FF2B5EF4-FFF2-40B4-BE49-F238E27FC236}">
                      <a16:creationId xmlns:a16="http://schemas.microsoft.com/office/drawing/2014/main" id="{CBE67741-1AE6-4D64-809E-59857B5750BE}"/>
                    </a:ext>
                  </a:extLst>
                </p:cNvPr>
                <p:cNvSpPr/>
                <p:nvPr/>
              </p:nvSpPr>
              <p:spPr>
                <a:xfrm>
                  <a:off x="6400409" y="1678350"/>
                  <a:ext cx="1016" cy="1794"/>
                </a:xfrm>
                <a:custGeom>
                  <a:avLst/>
                  <a:gdLst>
                    <a:gd name="connsiteX0" fmla="*/ 1017 w 1016"/>
                    <a:gd name="connsiteY0" fmla="*/ 1794 h 1794"/>
                    <a:gd name="connsiteX1" fmla="*/ 359 w 1016"/>
                    <a:gd name="connsiteY1" fmla="*/ 1077 h 1794"/>
                    <a:gd name="connsiteX2" fmla="*/ 0 w 1016"/>
                    <a:gd name="connsiteY2" fmla="*/ 0 h 1794"/>
                  </a:gdLst>
                  <a:ahLst/>
                  <a:cxnLst>
                    <a:cxn ang="0">
                      <a:pos x="connsiteX0" y="connsiteY0"/>
                    </a:cxn>
                    <a:cxn ang="0">
                      <a:pos x="connsiteX1" y="connsiteY1"/>
                    </a:cxn>
                    <a:cxn ang="0">
                      <a:pos x="connsiteX2" y="connsiteY2"/>
                    </a:cxn>
                  </a:cxnLst>
                  <a:rect l="l" t="t" r="r" b="b"/>
                  <a:pathLst>
                    <a:path w="1016" h="1794">
                      <a:moveTo>
                        <a:pt x="1017" y="1794"/>
                      </a:moveTo>
                      <a:lnTo>
                        <a:pt x="359" y="107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33" name="Vrije vorm: vorm 5632">
                  <a:extLst>
                    <a:ext uri="{FF2B5EF4-FFF2-40B4-BE49-F238E27FC236}">
                      <a16:creationId xmlns:a16="http://schemas.microsoft.com/office/drawing/2014/main" id="{B3E31127-9812-40BA-A046-2DCE56D3D3DF}"/>
                    </a:ext>
                  </a:extLst>
                </p:cNvPr>
                <p:cNvSpPr/>
                <p:nvPr/>
              </p:nvSpPr>
              <p:spPr>
                <a:xfrm>
                  <a:off x="6402322" y="1679367"/>
                  <a:ext cx="358" cy="1076"/>
                </a:xfrm>
                <a:custGeom>
                  <a:avLst/>
                  <a:gdLst>
                    <a:gd name="connsiteX0" fmla="*/ 0 w 358"/>
                    <a:gd name="connsiteY0" fmla="*/ 0 h 1076"/>
                    <a:gd name="connsiteX1" fmla="*/ 359 w 358"/>
                    <a:gd name="connsiteY1" fmla="*/ 1077 h 1076"/>
                  </a:gdLst>
                  <a:ahLst/>
                  <a:cxnLst>
                    <a:cxn ang="0">
                      <a:pos x="connsiteX0" y="connsiteY0"/>
                    </a:cxn>
                    <a:cxn ang="0">
                      <a:pos x="connsiteX1" y="connsiteY1"/>
                    </a:cxn>
                  </a:cxnLst>
                  <a:rect l="l" t="t" r="r" b="b"/>
                  <a:pathLst>
                    <a:path w="358" h="1076">
                      <a:moveTo>
                        <a:pt x="0" y="0"/>
                      </a:moveTo>
                      <a:lnTo>
                        <a:pt x="359" y="1077"/>
                      </a:lnTo>
                    </a:path>
                  </a:pathLst>
                </a:custGeom>
                <a:noFill/>
                <a:ln w="6350" cap="rnd">
                  <a:solidFill>
                    <a:schemeClr val="bg1">
                      <a:alpha val="40000"/>
                    </a:schemeClr>
                  </a:solidFill>
                  <a:prstDash val="solid"/>
                  <a:round/>
                </a:ln>
              </p:spPr>
              <p:txBody>
                <a:bodyPr rtlCol="0" anchor="ctr"/>
                <a:lstStyle/>
                <a:p>
                  <a:endParaRPr lang="en-GB"/>
                </a:p>
              </p:txBody>
            </p:sp>
            <p:sp>
              <p:nvSpPr>
                <p:cNvPr id="5634" name="Vrije vorm: vorm 5633">
                  <a:extLst>
                    <a:ext uri="{FF2B5EF4-FFF2-40B4-BE49-F238E27FC236}">
                      <a16:creationId xmlns:a16="http://schemas.microsoft.com/office/drawing/2014/main" id="{9313CB03-CB8F-4AEA-A12D-2B64A31A5FB1}"/>
                    </a:ext>
                  </a:extLst>
                </p:cNvPr>
                <p:cNvSpPr/>
                <p:nvPr/>
              </p:nvSpPr>
              <p:spPr>
                <a:xfrm>
                  <a:off x="6406928" y="1699761"/>
                  <a:ext cx="8432" cy="15250"/>
                </a:xfrm>
                <a:custGeom>
                  <a:avLst/>
                  <a:gdLst>
                    <a:gd name="connsiteX0" fmla="*/ 0 w 8432"/>
                    <a:gd name="connsiteY0" fmla="*/ 0 h 15250"/>
                    <a:gd name="connsiteX1" fmla="*/ 180 w 8432"/>
                    <a:gd name="connsiteY1" fmla="*/ 120 h 15250"/>
                    <a:gd name="connsiteX2" fmla="*/ 2512 w 8432"/>
                    <a:gd name="connsiteY2" fmla="*/ 1974 h 15250"/>
                    <a:gd name="connsiteX3" fmla="*/ 4844 w 8432"/>
                    <a:gd name="connsiteY3" fmla="*/ 3828 h 15250"/>
                    <a:gd name="connsiteX4" fmla="*/ 7177 w 8432"/>
                    <a:gd name="connsiteY4" fmla="*/ 5682 h 15250"/>
                    <a:gd name="connsiteX5" fmla="*/ 8194 w 8432"/>
                    <a:gd name="connsiteY5" fmla="*/ 6459 h 15250"/>
                    <a:gd name="connsiteX6" fmla="*/ 8253 w 8432"/>
                    <a:gd name="connsiteY6" fmla="*/ 6579 h 15250"/>
                    <a:gd name="connsiteX7" fmla="*/ 8313 w 8432"/>
                    <a:gd name="connsiteY7" fmla="*/ 6698 h 15250"/>
                    <a:gd name="connsiteX8" fmla="*/ 8373 w 8432"/>
                    <a:gd name="connsiteY8" fmla="*/ 6818 h 15250"/>
                    <a:gd name="connsiteX9" fmla="*/ 8433 w 8432"/>
                    <a:gd name="connsiteY9" fmla="*/ 6997 h 15250"/>
                    <a:gd name="connsiteX10" fmla="*/ 8433 w 8432"/>
                    <a:gd name="connsiteY10" fmla="*/ 7177 h 15250"/>
                    <a:gd name="connsiteX11" fmla="*/ 8433 w 8432"/>
                    <a:gd name="connsiteY11" fmla="*/ 7356 h 15250"/>
                    <a:gd name="connsiteX12" fmla="*/ 8433 w 8432"/>
                    <a:gd name="connsiteY12" fmla="*/ 7536 h 15250"/>
                    <a:gd name="connsiteX13" fmla="*/ 8373 w 8432"/>
                    <a:gd name="connsiteY13" fmla="*/ 7775 h 15250"/>
                    <a:gd name="connsiteX14" fmla="*/ 8313 w 8432"/>
                    <a:gd name="connsiteY14" fmla="*/ 8014 h 15250"/>
                    <a:gd name="connsiteX15" fmla="*/ 8253 w 8432"/>
                    <a:gd name="connsiteY15" fmla="*/ 8253 h 15250"/>
                    <a:gd name="connsiteX16" fmla="*/ 8134 w 8432"/>
                    <a:gd name="connsiteY16" fmla="*/ 8493 h 15250"/>
                    <a:gd name="connsiteX17" fmla="*/ 8014 w 8432"/>
                    <a:gd name="connsiteY17" fmla="*/ 8672 h 15250"/>
                    <a:gd name="connsiteX18" fmla="*/ 6579 w 8432"/>
                    <a:gd name="connsiteY18" fmla="*/ 11124 h 15250"/>
                    <a:gd name="connsiteX19" fmla="*/ 5143 w 8432"/>
                    <a:gd name="connsiteY19" fmla="*/ 13576 h 15250"/>
                    <a:gd name="connsiteX20" fmla="*/ 4785 w 8432"/>
                    <a:gd name="connsiteY20" fmla="*/ 14174 h 15250"/>
                    <a:gd name="connsiteX21" fmla="*/ 4665 w 8432"/>
                    <a:gd name="connsiteY21" fmla="*/ 14354 h 15250"/>
                    <a:gd name="connsiteX22" fmla="*/ 4545 w 8432"/>
                    <a:gd name="connsiteY22" fmla="*/ 14533 h 15250"/>
                    <a:gd name="connsiteX23" fmla="*/ 4426 w 8432"/>
                    <a:gd name="connsiteY23" fmla="*/ 14713 h 15250"/>
                    <a:gd name="connsiteX24" fmla="*/ 4246 w 8432"/>
                    <a:gd name="connsiteY24" fmla="*/ 14892 h 15250"/>
                    <a:gd name="connsiteX25" fmla="*/ 4067 w 8432"/>
                    <a:gd name="connsiteY25" fmla="*/ 15012 h 15250"/>
                    <a:gd name="connsiteX26" fmla="*/ 3888 w 8432"/>
                    <a:gd name="connsiteY26" fmla="*/ 15131 h 15250"/>
                    <a:gd name="connsiteX27" fmla="*/ 3708 w 8432"/>
                    <a:gd name="connsiteY27" fmla="*/ 15191 h 15250"/>
                    <a:gd name="connsiteX28" fmla="*/ 3529 w 8432"/>
                    <a:gd name="connsiteY28" fmla="*/ 15251 h 15250"/>
                    <a:gd name="connsiteX29" fmla="*/ 3409 w 8432"/>
                    <a:gd name="connsiteY29" fmla="*/ 15251 h 15250"/>
                    <a:gd name="connsiteX30" fmla="*/ 3289 w 8432"/>
                    <a:gd name="connsiteY30" fmla="*/ 15251 h 15250"/>
                    <a:gd name="connsiteX31" fmla="*/ 3170 w 8432"/>
                    <a:gd name="connsiteY31" fmla="*/ 15191 h 1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32" h="15250">
                      <a:moveTo>
                        <a:pt x="0" y="0"/>
                      </a:moveTo>
                      <a:lnTo>
                        <a:pt x="180" y="120"/>
                      </a:lnTo>
                      <a:lnTo>
                        <a:pt x="2512" y="1974"/>
                      </a:lnTo>
                      <a:lnTo>
                        <a:pt x="4844" y="3828"/>
                      </a:lnTo>
                      <a:lnTo>
                        <a:pt x="7177" y="5682"/>
                      </a:lnTo>
                      <a:lnTo>
                        <a:pt x="8194" y="6459"/>
                      </a:lnTo>
                      <a:lnTo>
                        <a:pt x="8253" y="6579"/>
                      </a:lnTo>
                      <a:lnTo>
                        <a:pt x="8313" y="6698"/>
                      </a:lnTo>
                      <a:lnTo>
                        <a:pt x="8373" y="6818"/>
                      </a:lnTo>
                      <a:lnTo>
                        <a:pt x="8433" y="6997"/>
                      </a:lnTo>
                      <a:lnTo>
                        <a:pt x="8433" y="7177"/>
                      </a:lnTo>
                      <a:lnTo>
                        <a:pt x="8433" y="7356"/>
                      </a:lnTo>
                      <a:lnTo>
                        <a:pt x="8433" y="7536"/>
                      </a:lnTo>
                      <a:lnTo>
                        <a:pt x="8373" y="7775"/>
                      </a:lnTo>
                      <a:lnTo>
                        <a:pt x="8313" y="8014"/>
                      </a:lnTo>
                      <a:lnTo>
                        <a:pt x="8253" y="8253"/>
                      </a:lnTo>
                      <a:lnTo>
                        <a:pt x="8134" y="8493"/>
                      </a:lnTo>
                      <a:lnTo>
                        <a:pt x="8014" y="8672"/>
                      </a:lnTo>
                      <a:lnTo>
                        <a:pt x="6579" y="11124"/>
                      </a:lnTo>
                      <a:lnTo>
                        <a:pt x="5143" y="13576"/>
                      </a:lnTo>
                      <a:lnTo>
                        <a:pt x="4785" y="14174"/>
                      </a:lnTo>
                      <a:lnTo>
                        <a:pt x="4665" y="14354"/>
                      </a:lnTo>
                      <a:lnTo>
                        <a:pt x="4545" y="14533"/>
                      </a:lnTo>
                      <a:lnTo>
                        <a:pt x="4426" y="14713"/>
                      </a:lnTo>
                      <a:lnTo>
                        <a:pt x="4246" y="14892"/>
                      </a:lnTo>
                      <a:lnTo>
                        <a:pt x="4067" y="15012"/>
                      </a:lnTo>
                      <a:lnTo>
                        <a:pt x="3888" y="15131"/>
                      </a:lnTo>
                      <a:lnTo>
                        <a:pt x="3708" y="15191"/>
                      </a:lnTo>
                      <a:lnTo>
                        <a:pt x="3529" y="15251"/>
                      </a:lnTo>
                      <a:lnTo>
                        <a:pt x="3409" y="15251"/>
                      </a:lnTo>
                      <a:lnTo>
                        <a:pt x="3289" y="15251"/>
                      </a:lnTo>
                      <a:lnTo>
                        <a:pt x="3170" y="15191"/>
                      </a:lnTo>
                    </a:path>
                  </a:pathLst>
                </a:custGeom>
                <a:noFill/>
                <a:ln w="6350" cap="rnd">
                  <a:solidFill>
                    <a:schemeClr val="bg1">
                      <a:alpha val="40000"/>
                    </a:schemeClr>
                  </a:solidFill>
                  <a:prstDash val="solid"/>
                  <a:round/>
                </a:ln>
              </p:spPr>
              <p:txBody>
                <a:bodyPr rtlCol="0" anchor="ctr"/>
                <a:lstStyle/>
                <a:p>
                  <a:endParaRPr lang="en-GB"/>
                </a:p>
              </p:txBody>
            </p:sp>
            <p:sp>
              <p:nvSpPr>
                <p:cNvPr id="5635" name="Vrije vorm: vorm 5634">
                  <a:extLst>
                    <a:ext uri="{FF2B5EF4-FFF2-40B4-BE49-F238E27FC236}">
                      <a16:creationId xmlns:a16="http://schemas.microsoft.com/office/drawing/2014/main" id="{4EE0271D-A47D-48DC-AA88-A20ACC851179}"/>
                    </a:ext>
                  </a:extLst>
                </p:cNvPr>
                <p:cNvSpPr/>
                <p:nvPr/>
              </p:nvSpPr>
              <p:spPr>
                <a:xfrm>
                  <a:off x="6407884" y="1713876"/>
                  <a:ext cx="2093" cy="1016"/>
                </a:xfrm>
                <a:custGeom>
                  <a:avLst/>
                  <a:gdLst>
                    <a:gd name="connsiteX0" fmla="*/ 2093 w 2093"/>
                    <a:gd name="connsiteY0" fmla="*/ 1017 h 1016"/>
                    <a:gd name="connsiteX1" fmla="*/ 0 w 2093"/>
                    <a:gd name="connsiteY1" fmla="*/ 0 h 1016"/>
                  </a:gdLst>
                  <a:ahLst/>
                  <a:cxnLst>
                    <a:cxn ang="0">
                      <a:pos x="connsiteX0" y="connsiteY0"/>
                    </a:cxn>
                    <a:cxn ang="0">
                      <a:pos x="connsiteX1" y="connsiteY1"/>
                    </a:cxn>
                  </a:cxnLst>
                  <a:rect l="l" t="t" r="r" b="b"/>
                  <a:pathLst>
                    <a:path w="2093" h="1016">
                      <a:moveTo>
                        <a:pt x="2093" y="1017"/>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36" name="Vrije vorm: vorm 5635">
                  <a:extLst>
                    <a:ext uri="{FF2B5EF4-FFF2-40B4-BE49-F238E27FC236}">
                      <a16:creationId xmlns:a16="http://schemas.microsoft.com/office/drawing/2014/main" id="{408A1B49-B56C-46BA-A685-EC70FD61CE47}"/>
                    </a:ext>
                  </a:extLst>
                </p:cNvPr>
                <p:cNvSpPr/>
                <p:nvPr/>
              </p:nvSpPr>
              <p:spPr>
                <a:xfrm>
                  <a:off x="6404835" y="1729904"/>
                  <a:ext cx="7715" cy="6877"/>
                </a:xfrm>
                <a:custGeom>
                  <a:avLst/>
                  <a:gdLst>
                    <a:gd name="connsiteX0" fmla="*/ 0 w 7715"/>
                    <a:gd name="connsiteY0" fmla="*/ 0 h 6877"/>
                    <a:gd name="connsiteX1" fmla="*/ 897 w 7715"/>
                    <a:gd name="connsiteY1" fmla="*/ 777 h 6877"/>
                    <a:gd name="connsiteX2" fmla="*/ 3110 w 7715"/>
                    <a:gd name="connsiteY2" fmla="*/ 2751 h 6877"/>
                    <a:gd name="connsiteX3" fmla="*/ 5323 w 7715"/>
                    <a:gd name="connsiteY3" fmla="*/ 4725 h 6877"/>
                    <a:gd name="connsiteX4" fmla="*/ 7535 w 7715"/>
                    <a:gd name="connsiteY4" fmla="*/ 6698 h 6877"/>
                    <a:gd name="connsiteX5" fmla="*/ 7715 w 7715"/>
                    <a:gd name="connsiteY5" fmla="*/ 6878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5" h="6877">
                      <a:moveTo>
                        <a:pt x="0" y="0"/>
                      </a:moveTo>
                      <a:lnTo>
                        <a:pt x="897" y="777"/>
                      </a:lnTo>
                      <a:lnTo>
                        <a:pt x="3110" y="2751"/>
                      </a:lnTo>
                      <a:lnTo>
                        <a:pt x="5323" y="4725"/>
                      </a:lnTo>
                      <a:lnTo>
                        <a:pt x="7535" y="6698"/>
                      </a:lnTo>
                      <a:lnTo>
                        <a:pt x="7715" y="6878"/>
                      </a:lnTo>
                    </a:path>
                  </a:pathLst>
                </a:custGeom>
                <a:noFill/>
                <a:ln w="6350" cap="rnd">
                  <a:solidFill>
                    <a:schemeClr val="bg1">
                      <a:alpha val="40000"/>
                    </a:schemeClr>
                  </a:solidFill>
                  <a:prstDash val="solid"/>
                  <a:round/>
                </a:ln>
              </p:spPr>
              <p:txBody>
                <a:bodyPr rtlCol="0" anchor="ctr"/>
                <a:lstStyle/>
                <a:p>
                  <a:endParaRPr lang="en-GB"/>
                </a:p>
              </p:txBody>
            </p:sp>
            <p:sp>
              <p:nvSpPr>
                <p:cNvPr id="5637" name="Vrije vorm: vorm 5636">
                  <a:extLst>
                    <a:ext uri="{FF2B5EF4-FFF2-40B4-BE49-F238E27FC236}">
                      <a16:creationId xmlns:a16="http://schemas.microsoft.com/office/drawing/2014/main" id="{64EE3C79-ED57-43DE-8596-4FBD99A99355}"/>
                    </a:ext>
                  </a:extLst>
                </p:cNvPr>
                <p:cNvSpPr/>
                <p:nvPr/>
              </p:nvSpPr>
              <p:spPr>
                <a:xfrm>
                  <a:off x="6409978" y="1736782"/>
                  <a:ext cx="837" cy="1674"/>
                </a:xfrm>
                <a:custGeom>
                  <a:avLst/>
                  <a:gdLst>
                    <a:gd name="connsiteX0" fmla="*/ 0 w 837"/>
                    <a:gd name="connsiteY0" fmla="*/ 1675 h 1674"/>
                    <a:gd name="connsiteX1" fmla="*/ 120 w 837"/>
                    <a:gd name="connsiteY1" fmla="*/ 1675 h 1674"/>
                    <a:gd name="connsiteX2" fmla="*/ 239 w 837"/>
                    <a:gd name="connsiteY2" fmla="*/ 1615 h 1674"/>
                    <a:gd name="connsiteX3" fmla="*/ 359 w 837"/>
                    <a:gd name="connsiteY3" fmla="*/ 1495 h 1674"/>
                    <a:gd name="connsiteX4" fmla="*/ 479 w 837"/>
                    <a:gd name="connsiteY4" fmla="*/ 1376 h 1674"/>
                    <a:gd name="connsiteX5" fmla="*/ 598 w 837"/>
                    <a:gd name="connsiteY5" fmla="*/ 1196 h 1674"/>
                    <a:gd name="connsiteX6" fmla="*/ 718 w 837"/>
                    <a:gd name="connsiteY6" fmla="*/ 1017 h 1674"/>
                    <a:gd name="connsiteX7" fmla="*/ 778 w 837"/>
                    <a:gd name="connsiteY7" fmla="*/ 778 h 1674"/>
                    <a:gd name="connsiteX8" fmla="*/ 837 w 837"/>
                    <a:gd name="connsiteY8" fmla="*/ 598 h 1674"/>
                    <a:gd name="connsiteX9" fmla="*/ 837 w 837"/>
                    <a:gd name="connsiteY9" fmla="*/ 478 h 1674"/>
                    <a:gd name="connsiteX10" fmla="*/ 837 w 837"/>
                    <a:gd name="connsiteY10" fmla="*/ 359 h 1674"/>
                    <a:gd name="connsiteX11" fmla="*/ 778 w 837"/>
                    <a:gd name="connsiteY11" fmla="*/ 179 h 1674"/>
                    <a:gd name="connsiteX12" fmla="*/ 718 w 837"/>
                    <a:gd name="connsiteY12" fmla="*/ 60 h 1674"/>
                    <a:gd name="connsiteX13" fmla="*/ 598 w 837"/>
                    <a:gd name="connsiteY13" fmla="*/ 0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 h="1674">
                      <a:moveTo>
                        <a:pt x="0" y="1675"/>
                      </a:moveTo>
                      <a:lnTo>
                        <a:pt x="120" y="1675"/>
                      </a:lnTo>
                      <a:lnTo>
                        <a:pt x="239" y="1615"/>
                      </a:lnTo>
                      <a:lnTo>
                        <a:pt x="359" y="1495"/>
                      </a:lnTo>
                      <a:lnTo>
                        <a:pt x="479" y="1376"/>
                      </a:lnTo>
                      <a:lnTo>
                        <a:pt x="598" y="1196"/>
                      </a:lnTo>
                      <a:lnTo>
                        <a:pt x="718" y="1017"/>
                      </a:lnTo>
                      <a:lnTo>
                        <a:pt x="778" y="778"/>
                      </a:lnTo>
                      <a:lnTo>
                        <a:pt x="837" y="598"/>
                      </a:lnTo>
                      <a:lnTo>
                        <a:pt x="837" y="478"/>
                      </a:lnTo>
                      <a:lnTo>
                        <a:pt x="837" y="359"/>
                      </a:lnTo>
                      <a:lnTo>
                        <a:pt x="778" y="179"/>
                      </a:lnTo>
                      <a:lnTo>
                        <a:pt x="718" y="60"/>
                      </a:lnTo>
                      <a:lnTo>
                        <a:pt x="598" y="0"/>
                      </a:lnTo>
                    </a:path>
                  </a:pathLst>
                </a:custGeom>
                <a:noFill/>
                <a:ln w="6350" cap="rnd">
                  <a:solidFill>
                    <a:schemeClr val="bg1">
                      <a:alpha val="40000"/>
                    </a:schemeClr>
                  </a:solidFill>
                  <a:prstDash val="solid"/>
                  <a:round/>
                </a:ln>
              </p:spPr>
              <p:txBody>
                <a:bodyPr rtlCol="0" anchor="ctr"/>
                <a:lstStyle/>
                <a:p>
                  <a:endParaRPr lang="en-GB"/>
                </a:p>
              </p:txBody>
            </p:sp>
            <p:sp>
              <p:nvSpPr>
                <p:cNvPr id="5638" name="Vrije vorm: vorm 5637">
                  <a:extLst>
                    <a:ext uri="{FF2B5EF4-FFF2-40B4-BE49-F238E27FC236}">
                      <a16:creationId xmlns:a16="http://schemas.microsoft.com/office/drawing/2014/main" id="{81C18ED7-05FD-436A-830D-54A3A2004585}"/>
                    </a:ext>
                  </a:extLst>
                </p:cNvPr>
                <p:cNvSpPr/>
                <p:nvPr/>
              </p:nvSpPr>
              <p:spPr>
                <a:xfrm>
                  <a:off x="6405851" y="1730382"/>
                  <a:ext cx="7715" cy="9748"/>
                </a:xfrm>
                <a:custGeom>
                  <a:avLst/>
                  <a:gdLst>
                    <a:gd name="connsiteX0" fmla="*/ 0 w 7715"/>
                    <a:gd name="connsiteY0" fmla="*/ 0 h 9748"/>
                    <a:gd name="connsiteX1" fmla="*/ 2213 w 7715"/>
                    <a:gd name="connsiteY1" fmla="*/ 1974 h 9748"/>
                    <a:gd name="connsiteX2" fmla="*/ 4426 w 7715"/>
                    <a:gd name="connsiteY2" fmla="*/ 3947 h 9748"/>
                    <a:gd name="connsiteX3" fmla="*/ 6639 w 7715"/>
                    <a:gd name="connsiteY3" fmla="*/ 5921 h 9748"/>
                    <a:gd name="connsiteX4" fmla="*/ 7715 w 7715"/>
                    <a:gd name="connsiteY4" fmla="*/ 6938 h 9748"/>
                    <a:gd name="connsiteX5" fmla="*/ 6639 w 7715"/>
                    <a:gd name="connsiteY5" fmla="*/ 6459 h 9748"/>
                    <a:gd name="connsiteX6" fmla="*/ 6160 w 7715"/>
                    <a:gd name="connsiteY6" fmla="*/ 7296 h 9748"/>
                    <a:gd name="connsiteX7" fmla="*/ 5442 w 7715"/>
                    <a:gd name="connsiteY7" fmla="*/ 8493 h 9748"/>
                    <a:gd name="connsiteX8" fmla="*/ 4725 w 7715"/>
                    <a:gd name="connsiteY8" fmla="*/ 9749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5" h="9748">
                      <a:moveTo>
                        <a:pt x="0" y="0"/>
                      </a:moveTo>
                      <a:lnTo>
                        <a:pt x="2213" y="1974"/>
                      </a:lnTo>
                      <a:lnTo>
                        <a:pt x="4426" y="3947"/>
                      </a:lnTo>
                      <a:lnTo>
                        <a:pt x="6639" y="5921"/>
                      </a:lnTo>
                      <a:lnTo>
                        <a:pt x="7715" y="6938"/>
                      </a:lnTo>
                      <a:lnTo>
                        <a:pt x="6639" y="6459"/>
                      </a:lnTo>
                      <a:lnTo>
                        <a:pt x="6160" y="7296"/>
                      </a:lnTo>
                      <a:lnTo>
                        <a:pt x="5442" y="8493"/>
                      </a:lnTo>
                      <a:lnTo>
                        <a:pt x="4725" y="9749"/>
                      </a:lnTo>
                    </a:path>
                  </a:pathLst>
                </a:custGeom>
                <a:noFill/>
                <a:ln w="6350" cap="rnd">
                  <a:solidFill>
                    <a:schemeClr val="bg1">
                      <a:alpha val="40000"/>
                    </a:schemeClr>
                  </a:solidFill>
                  <a:prstDash val="solid"/>
                  <a:round/>
                </a:ln>
              </p:spPr>
              <p:txBody>
                <a:bodyPr rtlCol="0" anchor="ctr"/>
                <a:lstStyle/>
                <a:p>
                  <a:endParaRPr lang="en-GB"/>
                </a:p>
              </p:txBody>
            </p:sp>
            <p:sp>
              <p:nvSpPr>
                <p:cNvPr id="5639" name="Vrije vorm: vorm 5638">
                  <a:extLst>
                    <a:ext uri="{FF2B5EF4-FFF2-40B4-BE49-F238E27FC236}">
                      <a16:creationId xmlns:a16="http://schemas.microsoft.com/office/drawing/2014/main" id="{FE97884F-E419-4464-8186-CFDF12E4622B}"/>
                    </a:ext>
                  </a:extLst>
                </p:cNvPr>
                <p:cNvSpPr/>
                <p:nvPr/>
              </p:nvSpPr>
              <p:spPr>
                <a:xfrm>
                  <a:off x="6409858" y="1736842"/>
                  <a:ext cx="837" cy="1614"/>
                </a:xfrm>
                <a:custGeom>
                  <a:avLst/>
                  <a:gdLst>
                    <a:gd name="connsiteX0" fmla="*/ 837 w 837"/>
                    <a:gd name="connsiteY0" fmla="*/ 0 h 1614"/>
                    <a:gd name="connsiteX1" fmla="*/ 718 w 837"/>
                    <a:gd name="connsiteY1" fmla="*/ 0 h 1614"/>
                    <a:gd name="connsiteX2" fmla="*/ 598 w 837"/>
                    <a:gd name="connsiteY2" fmla="*/ 60 h 1614"/>
                    <a:gd name="connsiteX3" fmla="*/ 479 w 837"/>
                    <a:gd name="connsiteY3" fmla="*/ 179 h 1614"/>
                    <a:gd name="connsiteX4" fmla="*/ 359 w 837"/>
                    <a:gd name="connsiteY4" fmla="*/ 299 h 1614"/>
                    <a:gd name="connsiteX5" fmla="*/ 239 w 837"/>
                    <a:gd name="connsiteY5" fmla="*/ 478 h 1614"/>
                    <a:gd name="connsiteX6" fmla="*/ 120 w 837"/>
                    <a:gd name="connsiteY6" fmla="*/ 658 h 1614"/>
                    <a:gd name="connsiteX7" fmla="*/ 60 w 837"/>
                    <a:gd name="connsiteY7" fmla="*/ 897 h 1614"/>
                    <a:gd name="connsiteX8" fmla="*/ 0 w 837"/>
                    <a:gd name="connsiteY8" fmla="*/ 1077 h 1614"/>
                    <a:gd name="connsiteX9" fmla="*/ 0 w 837"/>
                    <a:gd name="connsiteY9" fmla="*/ 1256 h 1614"/>
                    <a:gd name="connsiteX10" fmla="*/ 60 w 837"/>
                    <a:gd name="connsiteY10" fmla="*/ 1435 h 1614"/>
                    <a:gd name="connsiteX11" fmla="*/ 120 w 837"/>
                    <a:gd name="connsiteY11" fmla="*/ 1555 h 1614"/>
                    <a:gd name="connsiteX12" fmla="*/ 239 w 837"/>
                    <a:gd name="connsiteY12" fmla="*/ 1615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7" h="1614">
                      <a:moveTo>
                        <a:pt x="837" y="0"/>
                      </a:moveTo>
                      <a:lnTo>
                        <a:pt x="718" y="0"/>
                      </a:lnTo>
                      <a:lnTo>
                        <a:pt x="598" y="60"/>
                      </a:lnTo>
                      <a:lnTo>
                        <a:pt x="479" y="179"/>
                      </a:lnTo>
                      <a:lnTo>
                        <a:pt x="359" y="299"/>
                      </a:lnTo>
                      <a:lnTo>
                        <a:pt x="239" y="478"/>
                      </a:lnTo>
                      <a:lnTo>
                        <a:pt x="120" y="658"/>
                      </a:lnTo>
                      <a:lnTo>
                        <a:pt x="60" y="897"/>
                      </a:lnTo>
                      <a:lnTo>
                        <a:pt x="0" y="1077"/>
                      </a:lnTo>
                      <a:lnTo>
                        <a:pt x="0" y="1256"/>
                      </a:lnTo>
                      <a:lnTo>
                        <a:pt x="60" y="1435"/>
                      </a:lnTo>
                      <a:lnTo>
                        <a:pt x="120" y="1555"/>
                      </a:lnTo>
                      <a:lnTo>
                        <a:pt x="239" y="1615"/>
                      </a:lnTo>
                    </a:path>
                  </a:pathLst>
                </a:custGeom>
                <a:noFill/>
                <a:ln w="6350" cap="rnd">
                  <a:solidFill>
                    <a:schemeClr val="bg1">
                      <a:alpha val="40000"/>
                    </a:schemeClr>
                  </a:solidFill>
                  <a:prstDash val="solid"/>
                  <a:round/>
                </a:ln>
              </p:spPr>
              <p:txBody>
                <a:bodyPr rtlCol="0" anchor="ctr"/>
                <a:lstStyle/>
                <a:p>
                  <a:endParaRPr lang="en-GB"/>
                </a:p>
              </p:txBody>
            </p:sp>
            <p:sp>
              <p:nvSpPr>
                <p:cNvPr id="5640" name="Vrije vorm: vorm 5639">
                  <a:extLst>
                    <a:ext uri="{FF2B5EF4-FFF2-40B4-BE49-F238E27FC236}">
                      <a16:creationId xmlns:a16="http://schemas.microsoft.com/office/drawing/2014/main" id="{CFED4458-BDF0-4CBA-A820-D5931CC0363B}"/>
                    </a:ext>
                  </a:extLst>
                </p:cNvPr>
                <p:cNvSpPr/>
                <p:nvPr/>
              </p:nvSpPr>
              <p:spPr>
                <a:xfrm>
                  <a:off x="6404715" y="1732117"/>
                  <a:ext cx="1076" cy="1495"/>
                </a:xfrm>
                <a:custGeom>
                  <a:avLst/>
                  <a:gdLst>
                    <a:gd name="connsiteX0" fmla="*/ 837 w 1076"/>
                    <a:gd name="connsiteY0" fmla="*/ 0 h 1495"/>
                    <a:gd name="connsiteX1" fmla="*/ 718 w 1076"/>
                    <a:gd name="connsiteY1" fmla="*/ 0 h 1495"/>
                    <a:gd name="connsiteX2" fmla="*/ 598 w 1076"/>
                    <a:gd name="connsiteY2" fmla="*/ 60 h 1495"/>
                    <a:gd name="connsiteX3" fmla="*/ 479 w 1076"/>
                    <a:gd name="connsiteY3" fmla="*/ 179 h 1495"/>
                    <a:gd name="connsiteX4" fmla="*/ 359 w 1076"/>
                    <a:gd name="connsiteY4" fmla="*/ 299 h 1495"/>
                    <a:gd name="connsiteX5" fmla="*/ 239 w 1076"/>
                    <a:gd name="connsiteY5" fmla="*/ 478 h 1495"/>
                    <a:gd name="connsiteX6" fmla="*/ 120 w 1076"/>
                    <a:gd name="connsiteY6" fmla="*/ 658 h 1495"/>
                    <a:gd name="connsiteX7" fmla="*/ 60 w 1076"/>
                    <a:gd name="connsiteY7" fmla="*/ 837 h 1495"/>
                    <a:gd name="connsiteX8" fmla="*/ 0 w 1076"/>
                    <a:gd name="connsiteY8" fmla="*/ 1017 h 1495"/>
                    <a:gd name="connsiteX9" fmla="*/ 0 w 1076"/>
                    <a:gd name="connsiteY9" fmla="*/ 1196 h 1495"/>
                    <a:gd name="connsiteX10" fmla="*/ 60 w 1076"/>
                    <a:gd name="connsiteY10" fmla="*/ 1316 h 1495"/>
                    <a:gd name="connsiteX11" fmla="*/ 120 w 1076"/>
                    <a:gd name="connsiteY11" fmla="*/ 1435 h 1495"/>
                    <a:gd name="connsiteX12" fmla="*/ 239 w 1076"/>
                    <a:gd name="connsiteY12" fmla="*/ 1495 h 1495"/>
                    <a:gd name="connsiteX13" fmla="*/ 359 w 1076"/>
                    <a:gd name="connsiteY13" fmla="*/ 1495 h 1495"/>
                    <a:gd name="connsiteX14" fmla="*/ 479 w 1076"/>
                    <a:gd name="connsiteY14" fmla="*/ 1435 h 1495"/>
                    <a:gd name="connsiteX15" fmla="*/ 598 w 1076"/>
                    <a:gd name="connsiteY15" fmla="*/ 1316 h 1495"/>
                    <a:gd name="connsiteX16" fmla="*/ 718 w 1076"/>
                    <a:gd name="connsiteY16" fmla="*/ 1196 h 1495"/>
                    <a:gd name="connsiteX17" fmla="*/ 837 w 1076"/>
                    <a:gd name="connsiteY17" fmla="*/ 1017 h 1495"/>
                    <a:gd name="connsiteX18" fmla="*/ 957 w 1076"/>
                    <a:gd name="connsiteY18" fmla="*/ 837 h 1495"/>
                    <a:gd name="connsiteX19" fmla="*/ 1017 w 1076"/>
                    <a:gd name="connsiteY19" fmla="*/ 658 h 1495"/>
                    <a:gd name="connsiteX20" fmla="*/ 1076 w 1076"/>
                    <a:gd name="connsiteY20" fmla="*/ 478 h 1495"/>
                    <a:gd name="connsiteX21" fmla="*/ 1076 w 1076"/>
                    <a:gd name="connsiteY21" fmla="*/ 419 h 1495"/>
                    <a:gd name="connsiteX22" fmla="*/ 1076 w 1076"/>
                    <a:gd name="connsiteY22" fmla="*/ 299 h 1495"/>
                    <a:gd name="connsiteX23" fmla="*/ 1017 w 1076"/>
                    <a:gd name="connsiteY23" fmla="*/ 179 h 1495"/>
                    <a:gd name="connsiteX24" fmla="*/ 957 w 1076"/>
                    <a:gd name="connsiteY24" fmla="*/ 60 h 1495"/>
                    <a:gd name="connsiteX25" fmla="*/ 837 w 1076"/>
                    <a:gd name="connsiteY25" fmla="*/ 0 h 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76" h="1495">
                      <a:moveTo>
                        <a:pt x="837" y="0"/>
                      </a:moveTo>
                      <a:lnTo>
                        <a:pt x="718" y="0"/>
                      </a:lnTo>
                      <a:lnTo>
                        <a:pt x="598" y="60"/>
                      </a:lnTo>
                      <a:lnTo>
                        <a:pt x="479" y="179"/>
                      </a:lnTo>
                      <a:lnTo>
                        <a:pt x="359" y="299"/>
                      </a:lnTo>
                      <a:lnTo>
                        <a:pt x="239" y="478"/>
                      </a:lnTo>
                      <a:lnTo>
                        <a:pt x="120" y="658"/>
                      </a:lnTo>
                      <a:lnTo>
                        <a:pt x="60" y="837"/>
                      </a:lnTo>
                      <a:lnTo>
                        <a:pt x="0" y="1017"/>
                      </a:lnTo>
                      <a:lnTo>
                        <a:pt x="0" y="1196"/>
                      </a:lnTo>
                      <a:lnTo>
                        <a:pt x="60" y="1316"/>
                      </a:lnTo>
                      <a:lnTo>
                        <a:pt x="120" y="1435"/>
                      </a:lnTo>
                      <a:lnTo>
                        <a:pt x="239" y="1495"/>
                      </a:lnTo>
                      <a:lnTo>
                        <a:pt x="359" y="1495"/>
                      </a:lnTo>
                      <a:lnTo>
                        <a:pt x="479" y="1435"/>
                      </a:lnTo>
                      <a:lnTo>
                        <a:pt x="598" y="1316"/>
                      </a:lnTo>
                      <a:lnTo>
                        <a:pt x="718" y="1196"/>
                      </a:lnTo>
                      <a:lnTo>
                        <a:pt x="837" y="1017"/>
                      </a:lnTo>
                      <a:lnTo>
                        <a:pt x="957" y="837"/>
                      </a:lnTo>
                      <a:lnTo>
                        <a:pt x="1017" y="658"/>
                      </a:lnTo>
                      <a:lnTo>
                        <a:pt x="1076" y="478"/>
                      </a:lnTo>
                      <a:lnTo>
                        <a:pt x="1076" y="419"/>
                      </a:lnTo>
                      <a:lnTo>
                        <a:pt x="1076" y="299"/>
                      </a:lnTo>
                      <a:lnTo>
                        <a:pt x="1017" y="179"/>
                      </a:lnTo>
                      <a:lnTo>
                        <a:pt x="957" y="60"/>
                      </a:lnTo>
                      <a:lnTo>
                        <a:pt x="837" y="0"/>
                      </a:lnTo>
                    </a:path>
                  </a:pathLst>
                </a:custGeom>
                <a:noFill/>
                <a:ln w="6350" cap="rnd">
                  <a:solidFill>
                    <a:schemeClr val="bg1">
                      <a:alpha val="40000"/>
                    </a:schemeClr>
                  </a:solidFill>
                  <a:prstDash val="solid"/>
                  <a:round/>
                </a:ln>
              </p:spPr>
              <p:txBody>
                <a:bodyPr rtlCol="0" anchor="ctr"/>
                <a:lstStyle/>
                <a:p>
                  <a:endParaRPr lang="en-GB"/>
                </a:p>
              </p:txBody>
            </p:sp>
            <p:sp>
              <p:nvSpPr>
                <p:cNvPr id="5641" name="Vrije vorm: vorm 5640">
                  <a:extLst>
                    <a:ext uri="{FF2B5EF4-FFF2-40B4-BE49-F238E27FC236}">
                      <a16:creationId xmlns:a16="http://schemas.microsoft.com/office/drawing/2014/main" id="{731B377B-11CC-44D1-9199-C959A433823C}"/>
                    </a:ext>
                  </a:extLst>
                </p:cNvPr>
                <p:cNvSpPr/>
                <p:nvPr/>
              </p:nvSpPr>
              <p:spPr>
                <a:xfrm>
                  <a:off x="6407227" y="1734270"/>
                  <a:ext cx="837" cy="1614"/>
                </a:xfrm>
                <a:custGeom>
                  <a:avLst/>
                  <a:gdLst>
                    <a:gd name="connsiteX0" fmla="*/ 0 w 837"/>
                    <a:gd name="connsiteY0" fmla="*/ 1615 h 1614"/>
                    <a:gd name="connsiteX1" fmla="*/ 120 w 837"/>
                    <a:gd name="connsiteY1" fmla="*/ 1615 h 1614"/>
                    <a:gd name="connsiteX2" fmla="*/ 239 w 837"/>
                    <a:gd name="connsiteY2" fmla="*/ 1555 h 1614"/>
                    <a:gd name="connsiteX3" fmla="*/ 359 w 837"/>
                    <a:gd name="connsiteY3" fmla="*/ 1435 h 1614"/>
                    <a:gd name="connsiteX4" fmla="*/ 479 w 837"/>
                    <a:gd name="connsiteY4" fmla="*/ 1316 h 1614"/>
                    <a:gd name="connsiteX5" fmla="*/ 598 w 837"/>
                    <a:gd name="connsiteY5" fmla="*/ 1136 h 1614"/>
                    <a:gd name="connsiteX6" fmla="*/ 718 w 837"/>
                    <a:gd name="connsiteY6" fmla="*/ 957 h 1614"/>
                    <a:gd name="connsiteX7" fmla="*/ 778 w 837"/>
                    <a:gd name="connsiteY7" fmla="*/ 778 h 1614"/>
                    <a:gd name="connsiteX8" fmla="*/ 837 w 837"/>
                    <a:gd name="connsiteY8" fmla="*/ 598 h 1614"/>
                    <a:gd name="connsiteX9" fmla="*/ 837 w 837"/>
                    <a:gd name="connsiteY9" fmla="*/ 478 h 1614"/>
                    <a:gd name="connsiteX10" fmla="*/ 837 w 837"/>
                    <a:gd name="connsiteY10" fmla="*/ 359 h 1614"/>
                    <a:gd name="connsiteX11" fmla="*/ 778 w 837"/>
                    <a:gd name="connsiteY11" fmla="*/ 179 h 1614"/>
                    <a:gd name="connsiteX12" fmla="*/ 718 w 837"/>
                    <a:gd name="connsiteY12" fmla="*/ 60 h 1614"/>
                    <a:gd name="connsiteX13" fmla="*/ 598 w 837"/>
                    <a:gd name="connsiteY13" fmla="*/ 0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 h="1614">
                      <a:moveTo>
                        <a:pt x="0" y="1615"/>
                      </a:moveTo>
                      <a:lnTo>
                        <a:pt x="120" y="1615"/>
                      </a:lnTo>
                      <a:lnTo>
                        <a:pt x="239" y="1555"/>
                      </a:lnTo>
                      <a:lnTo>
                        <a:pt x="359" y="1435"/>
                      </a:lnTo>
                      <a:lnTo>
                        <a:pt x="479" y="1316"/>
                      </a:lnTo>
                      <a:lnTo>
                        <a:pt x="598" y="1136"/>
                      </a:lnTo>
                      <a:lnTo>
                        <a:pt x="718" y="957"/>
                      </a:lnTo>
                      <a:lnTo>
                        <a:pt x="778" y="778"/>
                      </a:lnTo>
                      <a:lnTo>
                        <a:pt x="837" y="598"/>
                      </a:lnTo>
                      <a:lnTo>
                        <a:pt x="837" y="478"/>
                      </a:lnTo>
                      <a:lnTo>
                        <a:pt x="837" y="359"/>
                      </a:lnTo>
                      <a:lnTo>
                        <a:pt x="778" y="179"/>
                      </a:lnTo>
                      <a:lnTo>
                        <a:pt x="718" y="60"/>
                      </a:lnTo>
                      <a:lnTo>
                        <a:pt x="598" y="0"/>
                      </a:lnTo>
                    </a:path>
                  </a:pathLst>
                </a:custGeom>
                <a:noFill/>
                <a:ln w="6350" cap="rnd">
                  <a:solidFill>
                    <a:schemeClr val="bg1">
                      <a:alpha val="40000"/>
                    </a:schemeClr>
                  </a:solidFill>
                  <a:prstDash val="solid"/>
                  <a:round/>
                </a:ln>
              </p:spPr>
              <p:txBody>
                <a:bodyPr rtlCol="0" anchor="ctr"/>
                <a:lstStyle/>
                <a:p>
                  <a:endParaRPr lang="en-GB"/>
                </a:p>
              </p:txBody>
            </p:sp>
            <p:sp>
              <p:nvSpPr>
                <p:cNvPr id="5642" name="Vrije vorm: vorm 5641">
                  <a:extLst>
                    <a:ext uri="{FF2B5EF4-FFF2-40B4-BE49-F238E27FC236}">
                      <a16:creationId xmlns:a16="http://schemas.microsoft.com/office/drawing/2014/main" id="{8AA6E45A-C9A3-433F-8940-79F33FC8C1D3}"/>
                    </a:ext>
                  </a:extLst>
                </p:cNvPr>
                <p:cNvSpPr/>
                <p:nvPr/>
              </p:nvSpPr>
              <p:spPr>
                <a:xfrm>
                  <a:off x="6407047" y="1734270"/>
                  <a:ext cx="837" cy="1554"/>
                </a:xfrm>
                <a:custGeom>
                  <a:avLst/>
                  <a:gdLst>
                    <a:gd name="connsiteX0" fmla="*/ 837 w 837"/>
                    <a:gd name="connsiteY0" fmla="*/ 0 h 1554"/>
                    <a:gd name="connsiteX1" fmla="*/ 718 w 837"/>
                    <a:gd name="connsiteY1" fmla="*/ 0 h 1554"/>
                    <a:gd name="connsiteX2" fmla="*/ 598 w 837"/>
                    <a:gd name="connsiteY2" fmla="*/ 60 h 1554"/>
                    <a:gd name="connsiteX3" fmla="*/ 478 w 837"/>
                    <a:gd name="connsiteY3" fmla="*/ 179 h 1554"/>
                    <a:gd name="connsiteX4" fmla="*/ 359 w 837"/>
                    <a:gd name="connsiteY4" fmla="*/ 299 h 1554"/>
                    <a:gd name="connsiteX5" fmla="*/ 239 w 837"/>
                    <a:gd name="connsiteY5" fmla="*/ 478 h 1554"/>
                    <a:gd name="connsiteX6" fmla="*/ 119 w 837"/>
                    <a:gd name="connsiteY6" fmla="*/ 658 h 1554"/>
                    <a:gd name="connsiteX7" fmla="*/ 60 w 837"/>
                    <a:gd name="connsiteY7" fmla="*/ 837 h 1554"/>
                    <a:gd name="connsiteX8" fmla="*/ 0 w 837"/>
                    <a:gd name="connsiteY8" fmla="*/ 1017 h 1554"/>
                    <a:gd name="connsiteX9" fmla="*/ 0 w 837"/>
                    <a:gd name="connsiteY9" fmla="*/ 1196 h 1554"/>
                    <a:gd name="connsiteX10" fmla="*/ 60 w 837"/>
                    <a:gd name="connsiteY10" fmla="*/ 1376 h 1554"/>
                    <a:gd name="connsiteX11" fmla="*/ 119 w 837"/>
                    <a:gd name="connsiteY11" fmla="*/ 1495 h 1554"/>
                    <a:gd name="connsiteX12" fmla="*/ 239 w 837"/>
                    <a:gd name="connsiteY12" fmla="*/ 1555 h 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7" h="1554">
                      <a:moveTo>
                        <a:pt x="837" y="0"/>
                      </a:moveTo>
                      <a:lnTo>
                        <a:pt x="718" y="0"/>
                      </a:lnTo>
                      <a:lnTo>
                        <a:pt x="598" y="60"/>
                      </a:lnTo>
                      <a:lnTo>
                        <a:pt x="478" y="179"/>
                      </a:lnTo>
                      <a:lnTo>
                        <a:pt x="359" y="299"/>
                      </a:lnTo>
                      <a:lnTo>
                        <a:pt x="239" y="478"/>
                      </a:lnTo>
                      <a:lnTo>
                        <a:pt x="119" y="658"/>
                      </a:lnTo>
                      <a:lnTo>
                        <a:pt x="60" y="837"/>
                      </a:lnTo>
                      <a:lnTo>
                        <a:pt x="0" y="1017"/>
                      </a:lnTo>
                      <a:lnTo>
                        <a:pt x="0" y="1196"/>
                      </a:lnTo>
                      <a:lnTo>
                        <a:pt x="60" y="1376"/>
                      </a:lnTo>
                      <a:lnTo>
                        <a:pt x="119" y="1495"/>
                      </a:lnTo>
                      <a:lnTo>
                        <a:pt x="239" y="1555"/>
                      </a:lnTo>
                    </a:path>
                  </a:pathLst>
                </a:custGeom>
                <a:noFill/>
                <a:ln w="6350" cap="rnd">
                  <a:solidFill>
                    <a:schemeClr val="bg1">
                      <a:alpha val="40000"/>
                    </a:schemeClr>
                  </a:solidFill>
                  <a:prstDash val="solid"/>
                  <a:round/>
                </a:ln>
              </p:spPr>
              <p:txBody>
                <a:bodyPr rtlCol="0" anchor="ctr"/>
                <a:lstStyle/>
                <a:p>
                  <a:endParaRPr lang="en-GB"/>
                </a:p>
              </p:txBody>
            </p:sp>
            <p:sp>
              <p:nvSpPr>
                <p:cNvPr id="5643" name="Vrije vorm: vorm 5642">
                  <a:extLst>
                    <a:ext uri="{FF2B5EF4-FFF2-40B4-BE49-F238E27FC236}">
                      <a16:creationId xmlns:a16="http://schemas.microsoft.com/office/drawing/2014/main" id="{D96518CA-15D3-41F6-B954-9F4A66A5089A}"/>
                    </a:ext>
                  </a:extLst>
                </p:cNvPr>
                <p:cNvSpPr/>
                <p:nvPr/>
              </p:nvSpPr>
              <p:spPr>
                <a:xfrm>
                  <a:off x="6390481" y="1717105"/>
                  <a:ext cx="1734" cy="837"/>
                </a:xfrm>
                <a:custGeom>
                  <a:avLst/>
                  <a:gdLst>
                    <a:gd name="connsiteX0" fmla="*/ 1734 w 1734"/>
                    <a:gd name="connsiteY0" fmla="*/ 837 h 837"/>
                    <a:gd name="connsiteX1" fmla="*/ 0 w 1734"/>
                    <a:gd name="connsiteY1" fmla="*/ 0 h 837"/>
                  </a:gdLst>
                  <a:ahLst/>
                  <a:cxnLst>
                    <a:cxn ang="0">
                      <a:pos x="connsiteX0" y="connsiteY0"/>
                    </a:cxn>
                    <a:cxn ang="0">
                      <a:pos x="connsiteX1" y="connsiteY1"/>
                    </a:cxn>
                  </a:cxnLst>
                  <a:rect l="l" t="t" r="r" b="b"/>
                  <a:pathLst>
                    <a:path w="1734" h="837">
                      <a:moveTo>
                        <a:pt x="1734" y="837"/>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44" name="Vrije vorm: vorm 5643">
                  <a:extLst>
                    <a:ext uri="{FF2B5EF4-FFF2-40B4-BE49-F238E27FC236}">
                      <a16:creationId xmlns:a16="http://schemas.microsoft.com/office/drawing/2014/main" id="{FEF8D2F6-24E4-468F-B062-50B5811660C2}"/>
                    </a:ext>
                  </a:extLst>
                </p:cNvPr>
                <p:cNvSpPr/>
                <p:nvPr/>
              </p:nvSpPr>
              <p:spPr>
                <a:xfrm>
                  <a:off x="6387311" y="1714234"/>
                  <a:ext cx="3229" cy="5920"/>
                </a:xfrm>
                <a:custGeom>
                  <a:avLst/>
                  <a:gdLst>
                    <a:gd name="connsiteX0" fmla="*/ 1435 w 3229"/>
                    <a:gd name="connsiteY0" fmla="*/ 5921 h 5920"/>
                    <a:gd name="connsiteX1" fmla="*/ 2871 w 3229"/>
                    <a:gd name="connsiteY1" fmla="*/ 3469 h 5920"/>
                    <a:gd name="connsiteX2" fmla="*/ 3229 w 3229"/>
                    <a:gd name="connsiteY2" fmla="*/ 2871 h 5920"/>
                    <a:gd name="connsiteX3" fmla="*/ 1136 w 3229"/>
                    <a:gd name="connsiteY3" fmla="*/ 957 h 5920"/>
                    <a:gd name="connsiteX4" fmla="*/ 179 w 3229"/>
                    <a:gd name="connsiteY4" fmla="*/ 120 h 5920"/>
                    <a:gd name="connsiteX5" fmla="*/ 0 w 3229"/>
                    <a:gd name="connsiteY5" fmla="*/ 0 h 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9" h="5920">
                      <a:moveTo>
                        <a:pt x="1435" y="5921"/>
                      </a:moveTo>
                      <a:lnTo>
                        <a:pt x="2871" y="3469"/>
                      </a:lnTo>
                      <a:lnTo>
                        <a:pt x="3229" y="2871"/>
                      </a:lnTo>
                      <a:lnTo>
                        <a:pt x="1136" y="957"/>
                      </a:lnTo>
                      <a:lnTo>
                        <a:pt x="179"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45" name="Vrije vorm: vorm 5644">
                  <a:extLst>
                    <a:ext uri="{FF2B5EF4-FFF2-40B4-BE49-F238E27FC236}">
                      <a16:creationId xmlns:a16="http://schemas.microsoft.com/office/drawing/2014/main" id="{187733FE-02FB-40F5-9924-95F5827D0214}"/>
                    </a:ext>
                  </a:extLst>
                </p:cNvPr>
                <p:cNvSpPr/>
                <p:nvPr/>
              </p:nvSpPr>
              <p:spPr>
                <a:xfrm>
                  <a:off x="6388986" y="1715072"/>
                  <a:ext cx="3229" cy="5920"/>
                </a:xfrm>
                <a:custGeom>
                  <a:avLst/>
                  <a:gdLst>
                    <a:gd name="connsiteX0" fmla="*/ 0 w 3229"/>
                    <a:gd name="connsiteY0" fmla="*/ 0 h 5920"/>
                    <a:gd name="connsiteX1" fmla="*/ 180 w 3229"/>
                    <a:gd name="connsiteY1" fmla="*/ 120 h 5920"/>
                    <a:gd name="connsiteX2" fmla="*/ 2392 w 3229"/>
                    <a:gd name="connsiteY2" fmla="*/ 2093 h 5920"/>
                    <a:gd name="connsiteX3" fmla="*/ 3229 w 3229"/>
                    <a:gd name="connsiteY3" fmla="*/ 2871 h 5920"/>
                    <a:gd name="connsiteX4" fmla="*/ 1794 w 3229"/>
                    <a:gd name="connsiteY4" fmla="*/ 5323 h 5920"/>
                    <a:gd name="connsiteX5" fmla="*/ 1435 w 3229"/>
                    <a:gd name="connsiteY5" fmla="*/ 5921 h 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9" h="5920">
                      <a:moveTo>
                        <a:pt x="0" y="0"/>
                      </a:moveTo>
                      <a:lnTo>
                        <a:pt x="180" y="120"/>
                      </a:lnTo>
                      <a:lnTo>
                        <a:pt x="2392" y="2093"/>
                      </a:lnTo>
                      <a:lnTo>
                        <a:pt x="3229" y="2871"/>
                      </a:lnTo>
                      <a:lnTo>
                        <a:pt x="1794" y="5323"/>
                      </a:lnTo>
                      <a:lnTo>
                        <a:pt x="1435" y="5921"/>
                      </a:lnTo>
                    </a:path>
                  </a:pathLst>
                </a:custGeom>
                <a:noFill/>
                <a:ln w="6350" cap="rnd">
                  <a:solidFill>
                    <a:schemeClr val="bg1">
                      <a:alpha val="40000"/>
                    </a:schemeClr>
                  </a:solidFill>
                  <a:prstDash val="solid"/>
                  <a:round/>
                </a:ln>
              </p:spPr>
              <p:txBody>
                <a:bodyPr rtlCol="0" anchor="ctr"/>
                <a:lstStyle/>
                <a:p>
                  <a:endParaRPr lang="en-GB"/>
                </a:p>
              </p:txBody>
            </p:sp>
            <p:sp>
              <p:nvSpPr>
                <p:cNvPr id="5646" name="Vrije vorm: vorm 5645">
                  <a:extLst>
                    <a:ext uri="{FF2B5EF4-FFF2-40B4-BE49-F238E27FC236}">
                      <a16:creationId xmlns:a16="http://schemas.microsoft.com/office/drawing/2014/main" id="{9AE663A0-B099-4D89-B877-9AE07FEF16B2}"/>
                    </a:ext>
                  </a:extLst>
                </p:cNvPr>
                <p:cNvSpPr/>
                <p:nvPr/>
              </p:nvSpPr>
              <p:spPr>
                <a:xfrm>
                  <a:off x="6399153" y="1691747"/>
                  <a:ext cx="4844" cy="3229"/>
                </a:xfrm>
                <a:custGeom>
                  <a:avLst/>
                  <a:gdLst>
                    <a:gd name="connsiteX0" fmla="*/ 4844 w 4844"/>
                    <a:gd name="connsiteY0" fmla="*/ 3230 h 3229"/>
                    <a:gd name="connsiteX1" fmla="*/ 2512 w 4844"/>
                    <a:gd name="connsiteY1" fmla="*/ 1376 h 3229"/>
                    <a:gd name="connsiteX2" fmla="*/ 2033 w 4844"/>
                    <a:gd name="connsiteY2" fmla="*/ 1017 h 3229"/>
                    <a:gd name="connsiteX3" fmla="*/ 0 w 4844"/>
                    <a:gd name="connsiteY3" fmla="*/ 0 h 3229"/>
                  </a:gdLst>
                  <a:ahLst/>
                  <a:cxnLst>
                    <a:cxn ang="0">
                      <a:pos x="connsiteX0" y="connsiteY0"/>
                    </a:cxn>
                    <a:cxn ang="0">
                      <a:pos x="connsiteX1" y="connsiteY1"/>
                    </a:cxn>
                    <a:cxn ang="0">
                      <a:pos x="connsiteX2" y="connsiteY2"/>
                    </a:cxn>
                    <a:cxn ang="0">
                      <a:pos x="connsiteX3" y="connsiteY3"/>
                    </a:cxn>
                  </a:cxnLst>
                  <a:rect l="l" t="t" r="r" b="b"/>
                  <a:pathLst>
                    <a:path w="4844" h="3229">
                      <a:moveTo>
                        <a:pt x="4844" y="3230"/>
                      </a:moveTo>
                      <a:lnTo>
                        <a:pt x="2512" y="1376"/>
                      </a:lnTo>
                      <a:lnTo>
                        <a:pt x="2033" y="1017"/>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47" name="Vrije vorm: vorm 5646">
                  <a:extLst>
                    <a:ext uri="{FF2B5EF4-FFF2-40B4-BE49-F238E27FC236}">
                      <a16:creationId xmlns:a16="http://schemas.microsoft.com/office/drawing/2014/main" id="{B5ECF183-1E2E-4C3A-85F1-8A0838AD5A81}"/>
                    </a:ext>
                  </a:extLst>
                </p:cNvPr>
                <p:cNvSpPr/>
                <p:nvPr/>
              </p:nvSpPr>
              <p:spPr>
                <a:xfrm>
                  <a:off x="6413746" y="1723564"/>
                  <a:ext cx="20394" cy="11243"/>
                </a:xfrm>
                <a:custGeom>
                  <a:avLst/>
                  <a:gdLst>
                    <a:gd name="connsiteX0" fmla="*/ 20394 w 20394"/>
                    <a:gd name="connsiteY0" fmla="*/ 11244 h 11243"/>
                    <a:gd name="connsiteX1" fmla="*/ 17703 w 20394"/>
                    <a:gd name="connsiteY1" fmla="*/ 9928 h 11243"/>
                    <a:gd name="connsiteX2" fmla="*/ 15012 w 20394"/>
                    <a:gd name="connsiteY2" fmla="*/ 8612 h 11243"/>
                    <a:gd name="connsiteX3" fmla="*/ 14892 w 20394"/>
                    <a:gd name="connsiteY3" fmla="*/ 8552 h 11243"/>
                    <a:gd name="connsiteX4" fmla="*/ 14174 w 20394"/>
                    <a:gd name="connsiteY4" fmla="*/ 8194 h 11243"/>
                    <a:gd name="connsiteX5" fmla="*/ 13815 w 20394"/>
                    <a:gd name="connsiteY5" fmla="*/ 8014 h 11243"/>
                    <a:gd name="connsiteX6" fmla="*/ 13756 w 20394"/>
                    <a:gd name="connsiteY6" fmla="*/ 7954 h 11243"/>
                    <a:gd name="connsiteX7" fmla="*/ 12799 w 20394"/>
                    <a:gd name="connsiteY7" fmla="*/ 7476 h 11243"/>
                    <a:gd name="connsiteX8" fmla="*/ 12380 w 20394"/>
                    <a:gd name="connsiteY8" fmla="*/ 7296 h 11243"/>
                    <a:gd name="connsiteX9" fmla="*/ 11543 w 20394"/>
                    <a:gd name="connsiteY9" fmla="*/ 6878 h 11243"/>
                    <a:gd name="connsiteX10" fmla="*/ 10227 w 20394"/>
                    <a:gd name="connsiteY10" fmla="*/ 6280 h 11243"/>
                    <a:gd name="connsiteX11" fmla="*/ 10107 w 20394"/>
                    <a:gd name="connsiteY11" fmla="*/ 6160 h 11243"/>
                    <a:gd name="connsiteX12" fmla="*/ 9090 w 20394"/>
                    <a:gd name="connsiteY12" fmla="*/ 5323 h 11243"/>
                    <a:gd name="connsiteX13" fmla="*/ 9090 w 20394"/>
                    <a:gd name="connsiteY13" fmla="*/ 5323 h 11243"/>
                    <a:gd name="connsiteX14" fmla="*/ 8791 w 20394"/>
                    <a:gd name="connsiteY14" fmla="*/ 5084 h 11243"/>
                    <a:gd name="connsiteX15" fmla="*/ 8672 w 20394"/>
                    <a:gd name="connsiteY15" fmla="*/ 4964 h 11243"/>
                    <a:gd name="connsiteX16" fmla="*/ 8253 w 20394"/>
                    <a:gd name="connsiteY16" fmla="*/ 4605 h 11243"/>
                    <a:gd name="connsiteX17" fmla="*/ 6280 w 20394"/>
                    <a:gd name="connsiteY17" fmla="*/ 2931 h 11243"/>
                    <a:gd name="connsiteX18" fmla="*/ 6220 w 20394"/>
                    <a:gd name="connsiteY18" fmla="*/ 2871 h 11243"/>
                    <a:gd name="connsiteX19" fmla="*/ 4067 w 20394"/>
                    <a:gd name="connsiteY19" fmla="*/ 1017 h 11243"/>
                    <a:gd name="connsiteX20" fmla="*/ 3528 w 20394"/>
                    <a:gd name="connsiteY20" fmla="*/ 778 h 11243"/>
                    <a:gd name="connsiteX21" fmla="*/ 1914 w 20394"/>
                    <a:gd name="connsiteY21" fmla="*/ 0 h 11243"/>
                    <a:gd name="connsiteX22" fmla="*/ 239 w 20394"/>
                    <a:gd name="connsiteY22" fmla="*/ 2811 h 11243"/>
                    <a:gd name="connsiteX23" fmla="*/ 0 w 20394"/>
                    <a:gd name="connsiteY23" fmla="*/ 3289 h 1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394" h="11243">
                      <a:moveTo>
                        <a:pt x="20394" y="11244"/>
                      </a:moveTo>
                      <a:lnTo>
                        <a:pt x="17703" y="9928"/>
                      </a:lnTo>
                      <a:lnTo>
                        <a:pt x="15012" y="8612"/>
                      </a:lnTo>
                      <a:lnTo>
                        <a:pt x="14892" y="8552"/>
                      </a:lnTo>
                      <a:lnTo>
                        <a:pt x="14174" y="8194"/>
                      </a:lnTo>
                      <a:lnTo>
                        <a:pt x="13815" y="8014"/>
                      </a:lnTo>
                      <a:lnTo>
                        <a:pt x="13756" y="7954"/>
                      </a:lnTo>
                      <a:lnTo>
                        <a:pt x="12799" y="7476"/>
                      </a:lnTo>
                      <a:lnTo>
                        <a:pt x="12380" y="7296"/>
                      </a:lnTo>
                      <a:lnTo>
                        <a:pt x="11543" y="6878"/>
                      </a:lnTo>
                      <a:lnTo>
                        <a:pt x="10227" y="6280"/>
                      </a:lnTo>
                      <a:lnTo>
                        <a:pt x="10107" y="6160"/>
                      </a:lnTo>
                      <a:lnTo>
                        <a:pt x="9090" y="5323"/>
                      </a:lnTo>
                      <a:lnTo>
                        <a:pt x="9090" y="5323"/>
                      </a:lnTo>
                      <a:lnTo>
                        <a:pt x="8791" y="5084"/>
                      </a:lnTo>
                      <a:lnTo>
                        <a:pt x="8672" y="4964"/>
                      </a:lnTo>
                      <a:lnTo>
                        <a:pt x="8253" y="4605"/>
                      </a:lnTo>
                      <a:lnTo>
                        <a:pt x="6280" y="2931"/>
                      </a:lnTo>
                      <a:lnTo>
                        <a:pt x="6220" y="2871"/>
                      </a:lnTo>
                      <a:lnTo>
                        <a:pt x="4067" y="1017"/>
                      </a:lnTo>
                      <a:lnTo>
                        <a:pt x="3528" y="778"/>
                      </a:lnTo>
                      <a:lnTo>
                        <a:pt x="1914" y="0"/>
                      </a:lnTo>
                      <a:lnTo>
                        <a:pt x="239" y="2811"/>
                      </a:lnTo>
                      <a:lnTo>
                        <a:pt x="0" y="3289"/>
                      </a:lnTo>
                    </a:path>
                  </a:pathLst>
                </a:custGeom>
                <a:noFill/>
                <a:ln w="6350" cap="rnd">
                  <a:solidFill>
                    <a:schemeClr val="bg1">
                      <a:alpha val="40000"/>
                    </a:schemeClr>
                  </a:solidFill>
                  <a:prstDash val="solid"/>
                  <a:round/>
                </a:ln>
              </p:spPr>
              <p:txBody>
                <a:bodyPr rtlCol="0" anchor="ctr"/>
                <a:lstStyle/>
                <a:p>
                  <a:endParaRPr lang="en-GB"/>
                </a:p>
              </p:txBody>
            </p:sp>
            <p:sp>
              <p:nvSpPr>
                <p:cNvPr id="5648" name="Vrije vorm: vorm 5647">
                  <a:extLst>
                    <a:ext uri="{FF2B5EF4-FFF2-40B4-BE49-F238E27FC236}">
                      <a16:creationId xmlns:a16="http://schemas.microsoft.com/office/drawing/2014/main" id="{AB2BB1B6-1B56-45EE-89D3-CEFE45365C13}"/>
                    </a:ext>
                  </a:extLst>
                </p:cNvPr>
                <p:cNvSpPr/>
                <p:nvPr/>
              </p:nvSpPr>
              <p:spPr>
                <a:xfrm>
                  <a:off x="6388926" y="1692824"/>
                  <a:ext cx="15131" cy="19676"/>
                </a:xfrm>
                <a:custGeom>
                  <a:avLst/>
                  <a:gdLst>
                    <a:gd name="connsiteX0" fmla="*/ 0 w 15131"/>
                    <a:gd name="connsiteY0" fmla="*/ 16268 h 19676"/>
                    <a:gd name="connsiteX1" fmla="*/ 718 w 15131"/>
                    <a:gd name="connsiteY1" fmla="*/ 16925 h 19676"/>
                    <a:gd name="connsiteX2" fmla="*/ 2691 w 15131"/>
                    <a:gd name="connsiteY2" fmla="*/ 18660 h 19676"/>
                    <a:gd name="connsiteX3" fmla="*/ 4725 w 15131"/>
                    <a:gd name="connsiteY3" fmla="*/ 19677 h 19676"/>
                    <a:gd name="connsiteX4" fmla="*/ 6399 w 15131"/>
                    <a:gd name="connsiteY4" fmla="*/ 16866 h 19676"/>
                    <a:gd name="connsiteX5" fmla="*/ 8074 w 15131"/>
                    <a:gd name="connsiteY5" fmla="*/ 14055 h 19676"/>
                    <a:gd name="connsiteX6" fmla="*/ 9749 w 15131"/>
                    <a:gd name="connsiteY6" fmla="*/ 11244 h 19676"/>
                    <a:gd name="connsiteX7" fmla="*/ 11423 w 15131"/>
                    <a:gd name="connsiteY7" fmla="*/ 8433 h 19676"/>
                    <a:gd name="connsiteX8" fmla="*/ 13098 w 15131"/>
                    <a:gd name="connsiteY8" fmla="*/ 5622 h 19676"/>
                    <a:gd name="connsiteX9" fmla="*/ 14773 w 15131"/>
                    <a:gd name="connsiteY9" fmla="*/ 2811 h 19676"/>
                    <a:gd name="connsiteX10" fmla="*/ 15131 w 15131"/>
                    <a:gd name="connsiteY10" fmla="*/ 2153 h 19676"/>
                    <a:gd name="connsiteX11" fmla="*/ 13098 w 15131"/>
                    <a:gd name="connsiteY11" fmla="*/ 1136 h 19676"/>
                    <a:gd name="connsiteX12" fmla="*/ 12081 w 15131"/>
                    <a:gd name="connsiteY12" fmla="*/ 299 h 19676"/>
                    <a:gd name="connsiteX13" fmla="*/ 11662 w 15131"/>
                    <a:gd name="connsiteY13" fmla="*/ 0 h 1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31" h="19676">
                      <a:moveTo>
                        <a:pt x="0" y="16268"/>
                      </a:moveTo>
                      <a:lnTo>
                        <a:pt x="718" y="16925"/>
                      </a:lnTo>
                      <a:lnTo>
                        <a:pt x="2691" y="18660"/>
                      </a:lnTo>
                      <a:lnTo>
                        <a:pt x="4725" y="19677"/>
                      </a:lnTo>
                      <a:lnTo>
                        <a:pt x="6399" y="16866"/>
                      </a:lnTo>
                      <a:lnTo>
                        <a:pt x="8074" y="14055"/>
                      </a:lnTo>
                      <a:lnTo>
                        <a:pt x="9749" y="11244"/>
                      </a:lnTo>
                      <a:lnTo>
                        <a:pt x="11423" y="8433"/>
                      </a:lnTo>
                      <a:lnTo>
                        <a:pt x="13098" y="5622"/>
                      </a:lnTo>
                      <a:lnTo>
                        <a:pt x="14773" y="2811"/>
                      </a:lnTo>
                      <a:lnTo>
                        <a:pt x="15131" y="2153"/>
                      </a:lnTo>
                      <a:lnTo>
                        <a:pt x="13098" y="1136"/>
                      </a:lnTo>
                      <a:lnTo>
                        <a:pt x="12081" y="299"/>
                      </a:lnTo>
                      <a:lnTo>
                        <a:pt x="11662" y="0"/>
                      </a:lnTo>
                    </a:path>
                  </a:pathLst>
                </a:custGeom>
                <a:noFill/>
                <a:ln w="6350" cap="rnd">
                  <a:solidFill>
                    <a:schemeClr val="bg1">
                      <a:alpha val="40000"/>
                    </a:schemeClr>
                  </a:solidFill>
                  <a:prstDash val="solid"/>
                  <a:round/>
                </a:ln>
              </p:spPr>
              <p:txBody>
                <a:bodyPr rtlCol="0" anchor="ctr"/>
                <a:lstStyle/>
                <a:p>
                  <a:endParaRPr lang="en-GB"/>
                </a:p>
              </p:txBody>
            </p:sp>
            <p:sp>
              <p:nvSpPr>
                <p:cNvPr id="5649" name="Vrije vorm: vorm 5648">
                  <a:extLst>
                    <a:ext uri="{FF2B5EF4-FFF2-40B4-BE49-F238E27FC236}">
                      <a16:creationId xmlns:a16="http://schemas.microsoft.com/office/drawing/2014/main" id="{095AA930-2A0E-41CB-BCE3-AEF312B4B068}"/>
                    </a:ext>
                  </a:extLst>
                </p:cNvPr>
                <p:cNvSpPr/>
                <p:nvPr/>
              </p:nvSpPr>
              <p:spPr>
                <a:xfrm>
                  <a:off x="6413686" y="1726076"/>
                  <a:ext cx="2212" cy="2990"/>
                </a:xfrm>
                <a:custGeom>
                  <a:avLst/>
                  <a:gdLst>
                    <a:gd name="connsiteX0" fmla="*/ 2213 w 2212"/>
                    <a:gd name="connsiteY0" fmla="*/ 2990 h 2990"/>
                    <a:gd name="connsiteX1" fmla="*/ 0 w 2212"/>
                    <a:gd name="connsiteY1" fmla="*/ 1017 h 2990"/>
                    <a:gd name="connsiteX2" fmla="*/ 0 w 2212"/>
                    <a:gd name="connsiteY2" fmla="*/ 1017 h 2990"/>
                    <a:gd name="connsiteX3" fmla="*/ 60 w 2212"/>
                    <a:gd name="connsiteY3" fmla="*/ 897 h 2990"/>
                    <a:gd name="connsiteX4" fmla="*/ 598 w 2212"/>
                    <a:gd name="connsiteY4" fmla="*/ 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2" h="2990">
                      <a:moveTo>
                        <a:pt x="2213" y="2990"/>
                      </a:moveTo>
                      <a:lnTo>
                        <a:pt x="0" y="1017"/>
                      </a:lnTo>
                      <a:lnTo>
                        <a:pt x="0" y="1017"/>
                      </a:lnTo>
                      <a:lnTo>
                        <a:pt x="60" y="897"/>
                      </a:lnTo>
                      <a:lnTo>
                        <a:pt x="598" y="0"/>
                      </a:lnTo>
                    </a:path>
                  </a:pathLst>
                </a:custGeom>
                <a:noFill/>
                <a:ln w="6350" cap="rnd">
                  <a:solidFill>
                    <a:schemeClr val="bg1">
                      <a:alpha val="40000"/>
                    </a:schemeClr>
                  </a:solidFill>
                  <a:prstDash val="solid"/>
                  <a:round/>
                </a:ln>
              </p:spPr>
              <p:txBody>
                <a:bodyPr rtlCol="0" anchor="ctr"/>
                <a:lstStyle/>
                <a:p>
                  <a:endParaRPr lang="en-GB"/>
                </a:p>
              </p:txBody>
            </p:sp>
            <p:sp>
              <p:nvSpPr>
                <p:cNvPr id="5650" name="Vrije vorm: vorm 5649">
                  <a:extLst>
                    <a:ext uri="{FF2B5EF4-FFF2-40B4-BE49-F238E27FC236}">
                      <a16:creationId xmlns:a16="http://schemas.microsoft.com/office/drawing/2014/main" id="{A83EF875-0070-4AE5-9768-5BD08BAF78CE}"/>
                    </a:ext>
                  </a:extLst>
                </p:cNvPr>
                <p:cNvSpPr/>
                <p:nvPr/>
              </p:nvSpPr>
              <p:spPr>
                <a:xfrm>
                  <a:off x="6428698" y="1730442"/>
                  <a:ext cx="717" cy="358"/>
                </a:xfrm>
                <a:custGeom>
                  <a:avLst/>
                  <a:gdLst>
                    <a:gd name="connsiteX0" fmla="*/ 718 w 717"/>
                    <a:gd name="connsiteY0" fmla="*/ 359 h 358"/>
                    <a:gd name="connsiteX1" fmla="*/ 0 w 717"/>
                    <a:gd name="connsiteY1" fmla="*/ 0 h 358"/>
                  </a:gdLst>
                  <a:ahLst/>
                  <a:cxnLst>
                    <a:cxn ang="0">
                      <a:pos x="connsiteX0" y="connsiteY0"/>
                    </a:cxn>
                    <a:cxn ang="0">
                      <a:pos x="connsiteX1" y="connsiteY1"/>
                    </a:cxn>
                  </a:cxnLst>
                  <a:rect l="l" t="t" r="r" b="b"/>
                  <a:pathLst>
                    <a:path w="717" h="358">
                      <a:moveTo>
                        <a:pt x="718" y="359"/>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51" name="Vrije vorm: vorm 5650">
                  <a:extLst>
                    <a:ext uri="{FF2B5EF4-FFF2-40B4-BE49-F238E27FC236}">
                      <a16:creationId xmlns:a16="http://schemas.microsoft.com/office/drawing/2014/main" id="{1278534B-10F5-4AF2-A93C-F58F0775E0C3}"/>
                    </a:ext>
                  </a:extLst>
                </p:cNvPr>
                <p:cNvSpPr/>
                <p:nvPr/>
              </p:nvSpPr>
              <p:spPr>
                <a:xfrm>
                  <a:off x="6427202" y="1729186"/>
                  <a:ext cx="1555" cy="2631"/>
                </a:xfrm>
                <a:custGeom>
                  <a:avLst/>
                  <a:gdLst>
                    <a:gd name="connsiteX0" fmla="*/ 778 w 1555"/>
                    <a:gd name="connsiteY0" fmla="*/ 2632 h 2631"/>
                    <a:gd name="connsiteX1" fmla="*/ 1555 w 1555"/>
                    <a:gd name="connsiteY1" fmla="*/ 1316 h 2631"/>
                    <a:gd name="connsiteX2" fmla="*/ 0 w 1555"/>
                    <a:gd name="connsiteY2" fmla="*/ 0 h 2631"/>
                  </a:gdLst>
                  <a:ahLst/>
                  <a:cxnLst>
                    <a:cxn ang="0">
                      <a:pos x="connsiteX0" y="connsiteY0"/>
                    </a:cxn>
                    <a:cxn ang="0">
                      <a:pos x="connsiteX1" y="connsiteY1"/>
                    </a:cxn>
                    <a:cxn ang="0">
                      <a:pos x="connsiteX2" y="connsiteY2"/>
                    </a:cxn>
                  </a:cxnLst>
                  <a:rect l="l" t="t" r="r" b="b"/>
                  <a:pathLst>
                    <a:path w="1555" h="2631">
                      <a:moveTo>
                        <a:pt x="778" y="2632"/>
                      </a:moveTo>
                      <a:lnTo>
                        <a:pt x="1555" y="131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52" name="Vrije vorm: vorm 5651">
                  <a:extLst>
                    <a:ext uri="{FF2B5EF4-FFF2-40B4-BE49-F238E27FC236}">
                      <a16:creationId xmlns:a16="http://schemas.microsoft.com/office/drawing/2014/main" id="{EF77C244-3CE0-4507-B159-65D8482F9D4E}"/>
                    </a:ext>
                  </a:extLst>
                </p:cNvPr>
                <p:cNvSpPr/>
                <p:nvPr/>
              </p:nvSpPr>
              <p:spPr>
                <a:xfrm>
                  <a:off x="6415839" y="1715909"/>
                  <a:ext cx="25657" cy="23324"/>
                </a:xfrm>
                <a:custGeom>
                  <a:avLst/>
                  <a:gdLst>
                    <a:gd name="connsiteX0" fmla="*/ 16088 w 25657"/>
                    <a:gd name="connsiteY0" fmla="*/ 5143 h 23324"/>
                    <a:gd name="connsiteX1" fmla="*/ 16507 w 25657"/>
                    <a:gd name="connsiteY1" fmla="*/ 4426 h 23324"/>
                    <a:gd name="connsiteX2" fmla="*/ 16567 w 25657"/>
                    <a:gd name="connsiteY2" fmla="*/ 4306 h 23324"/>
                    <a:gd name="connsiteX3" fmla="*/ 16985 w 25657"/>
                    <a:gd name="connsiteY3" fmla="*/ 4486 h 23324"/>
                    <a:gd name="connsiteX4" fmla="*/ 18062 w 25657"/>
                    <a:gd name="connsiteY4" fmla="*/ 5024 h 23324"/>
                    <a:gd name="connsiteX5" fmla="*/ 20394 w 25657"/>
                    <a:gd name="connsiteY5" fmla="*/ 6878 h 23324"/>
                    <a:gd name="connsiteX6" fmla="*/ 22727 w 25657"/>
                    <a:gd name="connsiteY6" fmla="*/ 8732 h 23324"/>
                    <a:gd name="connsiteX7" fmla="*/ 25059 w 25657"/>
                    <a:gd name="connsiteY7" fmla="*/ 10586 h 23324"/>
                    <a:gd name="connsiteX8" fmla="*/ 25658 w 25657"/>
                    <a:gd name="connsiteY8" fmla="*/ 11064 h 23324"/>
                    <a:gd name="connsiteX9" fmla="*/ 24222 w 25657"/>
                    <a:gd name="connsiteY9" fmla="*/ 13516 h 23324"/>
                    <a:gd name="connsiteX10" fmla="*/ 24102 w 25657"/>
                    <a:gd name="connsiteY10" fmla="*/ 13756 h 23324"/>
                    <a:gd name="connsiteX11" fmla="*/ 23265 w 25657"/>
                    <a:gd name="connsiteY11" fmla="*/ 15191 h 23324"/>
                    <a:gd name="connsiteX12" fmla="*/ 21830 w 25657"/>
                    <a:gd name="connsiteY12" fmla="*/ 17643 h 23324"/>
                    <a:gd name="connsiteX13" fmla="*/ 21710 w 25657"/>
                    <a:gd name="connsiteY13" fmla="*/ 17882 h 23324"/>
                    <a:gd name="connsiteX14" fmla="*/ 20693 w 25657"/>
                    <a:gd name="connsiteY14" fmla="*/ 19617 h 23324"/>
                    <a:gd name="connsiteX15" fmla="*/ 20574 w 25657"/>
                    <a:gd name="connsiteY15" fmla="*/ 19856 h 23324"/>
                    <a:gd name="connsiteX16" fmla="*/ 20574 w 25657"/>
                    <a:gd name="connsiteY16" fmla="*/ 19916 h 23324"/>
                    <a:gd name="connsiteX17" fmla="*/ 19617 w 25657"/>
                    <a:gd name="connsiteY17" fmla="*/ 21531 h 23324"/>
                    <a:gd name="connsiteX18" fmla="*/ 19198 w 25657"/>
                    <a:gd name="connsiteY18" fmla="*/ 22248 h 23324"/>
                    <a:gd name="connsiteX19" fmla="*/ 17703 w 25657"/>
                    <a:gd name="connsiteY19" fmla="*/ 23325 h 23324"/>
                    <a:gd name="connsiteX20" fmla="*/ 15012 w 25657"/>
                    <a:gd name="connsiteY20" fmla="*/ 22069 h 23324"/>
                    <a:gd name="connsiteX21" fmla="*/ 12320 w 25657"/>
                    <a:gd name="connsiteY21" fmla="*/ 20813 h 23324"/>
                    <a:gd name="connsiteX22" fmla="*/ 9629 w 25657"/>
                    <a:gd name="connsiteY22" fmla="*/ 19557 h 23324"/>
                    <a:gd name="connsiteX23" fmla="*/ 7297 w 25657"/>
                    <a:gd name="connsiteY23" fmla="*/ 18480 h 23324"/>
                    <a:gd name="connsiteX24" fmla="*/ 4605 w 25657"/>
                    <a:gd name="connsiteY24" fmla="*/ 17225 h 23324"/>
                    <a:gd name="connsiteX25" fmla="*/ 4486 w 25657"/>
                    <a:gd name="connsiteY25" fmla="*/ 17165 h 23324"/>
                    <a:gd name="connsiteX26" fmla="*/ 2273 w 25657"/>
                    <a:gd name="connsiteY26" fmla="*/ 15191 h 23324"/>
                    <a:gd name="connsiteX27" fmla="*/ 1794 w 25657"/>
                    <a:gd name="connsiteY27" fmla="*/ 14772 h 23324"/>
                    <a:gd name="connsiteX28" fmla="*/ 1794 w 25657"/>
                    <a:gd name="connsiteY28" fmla="*/ 14772 h 23324"/>
                    <a:gd name="connsiteX29" fmla="*/ 120 w 25657"/>
                    <a:gd name="connsiteY29" fmla="*/ 13277 h 23324"/>
                    <a:gd name="connsiteX30" fmla="*/ 60 w 25657"/>
                    <a:gd name="connsiteY30" fmla="*/ 12260 h 23324"/>
                    <a:gd name="connsiteX31" fmla="*/ 60 w 25657"/>
                    <a:gd name="connsiteY31" fmla="*/ 12201 h 23324"/>
                    <a:gd name="connsiteX32" fmla="*/ 0 w 25657"/>
                    <a:gd name="connsiteY32" fmla="*/ 11304 h 23324"/>
                    <a:gd name="connsiteX33" fmla="*/ 0 w 25657"/>
                    <a:gd name="connsiteY33" fmla="*/ 11124 h 23324"/>
                    <a:gd name="connsiteX34" fmla="*/ 538 w 25657"/>
                    <a:gd name="connsiteY34" fmla="*/ 10227 h 23324"/>
                    <a:gd name="connsiteX35" fmla="*/ 718 w 25657"/>
                    <a:gd name="connsiteY35" fmla="*/ 9988 h 23324"/>
                    <a:gd name="connsiteX36" fmla="*/ 718 w 25657"/>
                    <a:gd name="connsiteY36" fmla="*/ 9988 h 23324"/>
                    <a:gd name="connsiteX37" fmla="*/ 778 w 25657"/>
                    <a:gd name="connsiteY37" fmla="*/ 9928 h 23324"/>
                    <a:gd name="connsiteX38" fmla="*/ 2213 w 25657"/>
                    <a:gd name="connsiteY38" fmla="*/ 7476 h 23324"/>
                    <a:gd name="connsiteX39" fmla="*/ 3648 w 25657"/>
                    <a:gd name="connsiteY39" fmla="*/ 5024 h 23324"/>
                    <a:gd name="connsiteX40" fmla="*/ 4545 w 25657"/>
                    <a:gd name="connsiteY40" fmla="*/ 3469 h 23324"/>
                    <a:gd name="connsiteX41" fmla="*/ 5323 w 25657"/>
                    <a:gd name="connsiteY41" fmla="*/ 2153 h 23324"/>
                    <a:gd name="connsiteX42" fmla="*/ 6579 w 25657"/>
                    <a:gd name="connsiteY42" fmla="*/ 0 h 23324"/>
                    <a:gd name="connsiteX43" fmla="*/ 7117 w 25657"/>
                    <a:gd name="connsiteY43" fmla="*/ 299 h 23324"/>
                    <a:gd name="connsiteX44" fmla="*/ 7117 w 25657"/>
                    <a:gd name="connsiteY44" fmla="*/ 299 h 23324"/>
                    <a:gd name="connsiteX45" fmla="*/ 7656 w 25657"/>
                    <a:gd name="connsiteY45" fmla="*/ 538 h 2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657" h="23324">
                      <a:moveTo>
                        <a:pt x="16088" y="5143"/>
                      </a:moveTo>
                      <a:lnTo>
                        <a:pt x="16507" y="4426"/>
                      </a:lnTo>
                      <a:lnTo>
                        <a:pt x="16567" y="4306"/>
                      </a:lnTo>
                      <a:lnTo>
                        <a:pt x="16985" y="4486"/>
                      </a:lnTo>
                      <a:lnTo>
                        <a:pt x="18062" y="5024"/>
                      </a:lnTo>
                      <a:lnTo>
                        <a:pt x="20394" y="6878"/>
                      </a:lnTo>
                      <a:lnTo>
                        <a:pt x="22727" y="8732"/>
                      </a:lnTo>
                      <a:lnTo>
                        <a:pt x="25059" y="10586"/>
                      </a:lnTo>
                      <a:lnTo>
                        <a:pt x="25658" y="11064"/>
                      </a:lnTo>
                      <a:lnTo>
                        <a:pt x="24222" y="13516"/>
                      </a:lnTo>
                      <a:lnTo>
                        <a:pt x="24102" y="13756"/>
                      </a:lnTo>
                      <a:lnTo>
                        <a:pt x="23265" y="15191"/>
                      </a:lnTo>
                      <a:lnTo>
                        <a:pt x="21830" y="17643"/>
                      </a:lnTo>
                      <a:lnTo>
                        <a:pt x="21710" y="17882"/>
                      </a:lnTo>
                      <a:lnTo>
                        <a:pt x="20693" y="19617"/>
                      </a:lnTo>
                      <a:lnTo>
                        <a:pt x="20574" y="19856"/>
                      </a:lnTo>
                      <a:lnTo>
                        <a:pt x="20574" y="19916"/>
                      </a:lnTo>
                      <a:lnTo>
                        <a:pt x="19617" y="21531"/>
                      </a:lnTo>
                      <a:lnTo>
                        <a:pt x="19198" y="22248"/>
                      </a:lnTo>
                      <a:lnTo>
                        <a:pt x="17703" y="23325"/>
                      </a:lnTo>
                      <a:lnTo>
                        <a:pt x="15012" y="22069"/>
                      </a:lnTo>
                      <a:lnTo>
                        <a:pt x="12320" y="20813"/>
                      </a:lnTo>
                      <a:lnTo>
                        <a:pt x="9629" y="19557"/>
                      </a:lnTo>
                      <a:lnTo>
                        <a:pt x="7297" y="18480"/>
                      </a:lnTo>
                      <a:lnTo>
                        <a:pt x="4605" y="17225"/>
                      </a:lnTo>
                      <a:lnTo>
                        <a:pt x="4486" y="17165"/>
                      </a:lnTo>
                      <a:lnTo>
                        <a:pt x="2273" y="15191"/>
                      </a:lnTo>
                      <a:lnTo>
                        <a:pt x="1794" y="14772"/>
                      </a:lnTo>
                      <a:lnTo>
                        <a:pt x="1794" y="14772"/>
                      </a:lnTo>
                      <a:lnTo>
                        <a:pt x="120" y="13277"/>
                      </a:lnTo>
                      <a:lnTo>
                        <a:pt x="60" y="12260"/>
                      </a:lnTo>
                      <a:lnTo>
                        <a:pt x="60" y="12201"/>
                      </a:lnTo>
                      <a:lnTo>
                        <a:pt x="0" y="11304"/>
                      </a:lnTo>
                      <a:lnTo>
                        <a:pt x="0" y="11124"/>
                      </a:lnTo>
                      <a:lnTo>
                        <a:pt x="538" y="10227"/>
                      </a:lnTo>
                      <a:lnTo>
                        <a:pt x="718" y="9988"/>
                      </a:lnTo>
                      <a:lnTo>
                        <a:pt x="718" y="9988"/>
                      </a:lnTo>
                      <a:lnTo>
                        <a:pt x="778" y="9928"/>
                      </a:lnTo>
                      <a:lnTo>
                        <a:pt x="2213" y="7476"/>
                      </a:lnTo>
                      <a:lnTo>
                        <a:pt x="3648" y="5024"/>
                      </a:lnTo>
                      <a:lnTo>
                        <a:pt x="4545" y="3469"/>
                      </a:lnTo>
                      <a:lnTo>
                        <a:pt x="5323" y="2153"/>
                      </a:lnTo>
                      <a:lnTo>
                        <a:pt x="6579" y="0"/>
                      </a:lnTo>
                      <a:lnTo>
                        <a:pt x="7117" y="299"/>
                      </a:lnTo>
                      <a:lnTo>
                        <a:pt x="7117" y="299"/>
                      </a:lnTo>
                      <a:lnTo>
                        <a:pt x="7656" y="538"/>
                      </a:lnTo>
                    </a:path>
                  </a:pathLst>
                </a:custGeom>
                <a:noFill/>
                <a:ln w="6350" cap="rnd">
                  <a:solidFill>
                    <a:schemeClr val="bg1">
                      <a:alpha val="40000"/>
                    </a:schemeClr>
                  </a:solidFill>
                  <a:prstDash val="solid"/>
                  <a:round/>
                </a:ln>
              </p:spPr>
              <p:txBody>
                <a:bodyPr rtlCol="0" anchor="ctr"/>
                <a:lstStyle/>
                <a:p>
                  <a:endParaRPr lang="en-GB"/>
                </a:p>
              </p:txBody>
            </p:sp>
            <p:sp>
              <p:nvSpPr>
                <p:cNvPr id="5653" name="Vrije vorm: vorm 5652">
                  <a:extLst>
                    <a:ext uri="{FF2B5EF4-FFF2-40B4-BE49-F238E27FC236}">
                      <a16:creationId xmlns:a16="http://schemas.microsoft.com/office/drawing/2014/main" id="{43D49183-B418-4663-B49E-1F2BEA1B81E9}"/>
                    </a:ext>
                  </a:extLst>
                </p:cNvPr>
                <p:cNvSpPr/>
                <p:nvPr/>
              </p:nvSpPr>
              <p:spPr>
                <a:xfrm>
                  <a:off x="6428638" y="1730861"/>
                  <a:ext cx="5502" cy="3947"/>
                </a:xfrm>
                <a:custGeom>
                  <a:avLst/>
                  <a:gdLst>
                    <a:gd name="connsiteX0" fmla="*/ 5502 w 5502"/>
                    <a:gd name="connsiteY0" fmla="*/ 3947 h 3947"/>
                    <a:gd name="connsiteX1" fmla="*/ 3229 w 5502"/>
                    <a:gd name="connsiteY1" fmla="*/ 2034 h 3947"/>
                    <a:gd name="connsiteX2" fmla="*/ 957 w 5502"/>
                    <a:gd name="connsiteY2" fmla="*/ 120 h 3947"/>
                    <a:gd name="connsiteX3" fmla="*/ 778 w 5502"/>
                    <a:gd name="connsiteY3" fmla="*/ 0 h 3947"/>
                    <a:gd name="connsiteX4" fmla="*/ 0 w 5502"/>
                    <a:gd name="connsiteY4" fmla="*/ 1316 h 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2" h="3947">
                      <a:moveTo>
                        <a:pt x="5502" y="3947"/>
                      </a:moveTo>
                      <a:lnTo>
                        <a:pt x="3229" y="2034"/>
                      </a:lnTo>
                      <a:lnTo>
                        <a:pt x="957" y="120"/>
                      </a:lnTo>
                      <a:lnTo>
                        <a:pt x="778" y="0"/>
                      </a:lnTo>
                      <a:lnTo>
                        <a:pt x="0" y="1316"/>
                      </a:lnTo>
                    </a:path>
                  </a:pathLst>
                </a:custGeom>
                <a:noFill/>
                <a:ln w="6350" cap="rnd">
                  <a:solidFill>
                    <a:schemeClr val="bg1">
                      <a:alpha val="40000"/>
                    </a:schemeClr>
                  </a:solidFill>
                  <a:prstDash val="solid"/>
                  <a:round/>
                </a:ln>
              </p:spPr>
              <p:txBody>
                <a:bodyPr rtlCol="0" anchor="ctr"/>
                <a:lstStyle/>
                <a:p>
                  <a:endParaRPr lang="en-GB"/>
                </a:p>
              </p:txBody>
            </p:sp>
            <p:sp>
              <p:nvSpPr>
                <p:cNvPr id="5654" name="Vrije vorm: vorm 5653">
                  <a:extLst>
                    <a:ext uri="{FF2B5EF4-FFF2-40B4-BE49-F238E27FC236}">
                      <a16:creationId xmlns:a16="http://schemas.microsoft.com/office/drawing/2014/main" id="{3C631B09-18C4-4CD1-A9D4-72130210920A}"/>
                    </a:ext>
                  </a:extLst>
                </p:cNvPr>
                <p:cNvSpPr/>
                <p:nvPr/>
              </p:nvSpPr>
              <p:spPr>
                <a:xfrm>
                  <a:off x="6421879" y="1729246"/>
                  <a:ext cx="14234" cy="6877"/>
                </a:xfrm>
                <a:custGeom>
                  <a:avLst/>
                  <a:gdLst>
                    <a:gd name="connsiteX0" fmla="*/ 14234 w 14234"/>
                    <a:gd name="connsiteY0" fmla="*/ 6878 h 6877"/>
                    <a:gd name="connsiteX1" fmla="*/ 12141 w 14234"/>
                    <a:gd name="connsiteY1" fmla="*/ 5861 h 6877"/>
                    <a:gd name="connsiteX2" fmla="*/ 9450 w 14234"/>
                    <a:gd name="connsiteY2" fmla="*/ 4545 h 6877"/>
                    <a:gd name="connsiteX3" fmla="*/ 6758 w 14234"/>
                    <a:gd name="connsiteY3" fmla="*/ 3230 h 6877"/>
                    <a:gd name="connsiteX4" fmla="*/ 4486 w 14234"/>
                    <a:gd name="connsiteY4" fmla="*/ 2153 h 6877"/>
                    <a:gd name="connsiteX5" fmla="*/ 4067 w 14234"/>
                    <a:gd name="connsiteY5" fmla="*/ 1974 h 6877"/>
                    <a:gd name="connsiteX6" fmla="*/ 3229 w 14234"/>
                    <a:gd name="connsiteY6" fmla="*/ 1555 h 6877"/>
                    <a:gd name="connsiteX7" fmla="*/ 1495 w 14234"/>
                    <a:gd name="connsiteY7" fmla="*/ 718 h 6877"/>
                    <a:gd name="connsiteX8" fmla="*/ 1017 w 14234"/>
                    <a:gd name="connsiteY8" fmla="*/ 478 h 6877"/>
                    <a:gd name="connsiteX9" fmla="*/ 0 w 14234"/>
                    <a:gd name="connsiteY9" fmla="*/ 0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4" h="6877">
                      <a:moveTo>
                        <a:pt x="14234" y="6878"/>
                      </a:moveTo>
                      <a:lnTo>
                        <a:pt x="12141" y="5861"/>
                      </a:lnTo>
                      <a:lnTo>
                        <a:pt x="9450" y="4545"/>
                      </a:lnTo>
                      <a:lnTo>
                        <a:pt x="6758" y="3230"/>
                      </a:lnTo>
                      <a:lnTo>
                        <a:pt x="4486" y="2153"/>
                      </a:lnTo>
                      <a:lnTo>
                        <a:pt x="4067" y="1974"/>
                      </a:lnTo>
                      <a:lnTo>
                        <a:pt x="3229" y="1555"/>
                      </a:lnTo>
                      <a:lnTo>
                        <a:pt x="1495" y="718"/>
                      </a:lnTo>
                      <a:lnTo>
                        <a:pt x="1017" y="47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55" name="Vrije vorm: vorm 5654">
                  <a:extLst>
                    <a:ext uri="{FF2B5EF4-FFF2-40B4-BE49-F238E27FC236}">
                      <a16:creationId xmlns:a16="http://schemas.microsoft.com/office/drawing/2014/main" id="{4CF2B7C4-06C6-4B3B-89BD-F5720236743A}"/>
                    </a:ext>
                  </a:extLst>
                </p:cNvPr>
                <p:cNvSpPr/>
                <p:nvPr/>
              </p:nvSpPr>
              <p:spPr>
                <a:xfrm>
                  <a:off x="6420265" y="1715849"/>
                  <a:ext cx="7117" cy="17104"/>
                </a:xfrm>
                <a:custGeom>
                  <a:avLst/>
                  <a:gdLst>
                    <a:gd name="connsiteX0" fmla="*/ 0 w 7117"/>
                    <a:gd name="connsiteY0" fmla="*/ 17105 h 17104"/>
                    <a:gd name="connsiteX1" fmla="*/ 419 w 7117"/>
                    <a:gd name="connsiteY1" fmla="*/ 15430 h 17104"/>
                    <a:gd name="connsiteX2" fmla="*/ 837 w 7117"/>
                    <a:gd name="connsiteY2" fmla="*/ 14713 h 17104"/>
                    <a:gd name="connsiteX3" fmla="*/ 1076 w 7117"/>
                    <a:gd name="connsiteY3" fmla="*/ 14294 h 17104"/>
                    <a:gd name="connsiteX4" fmla="*/ 1795 w 7117"/>
                    <a:gd name="connsiteY4" fmla="*/ 13098 h 17104"/>
                    <a:gd name="connsiteX5" fmla="*/ 1974 w 7117"/>
                    <a:gd name="connsiteY5" fmla="*/ 12859 h 17104"/>
                    <a:gd name="connsiteX6" fmla="*/ 2034 w 7117"/>
                    <a:gd name="connsiteY6" fmla="*/ 12799 h 17104"/>
                    <a:gd name="connsiteX7" fmla="*/ 3469 w 7117"/>
                    <a:gd name="connsiteY7" fmla="*/ 10347 h 17104"/>
                    <a:gd name="connsiteX8" fmla="*/ 4904 w 7117"/>
                    <a:gd name="connsiteY8" fmla="*/ 7895 h 17104"/>
                    <a:gd name="connsiteX9" fmla="*/ 5203 w 7117"/>
                    <a:gd name="connsiteY9" fmla="*/ 7416 h 17104"/>
                    <a:gd name="connsiteX10" fmla="*/ 6639 w 7117"/>
                    <a:gd name="connsiteY10" fmla="*/ 4964 h 17104"/>
                    <a:gd name="connsiteX11" fmla="*/ 7117 w 7117"/>
                    <a:gd name="connsiteY11" fmla="*/ 4127 h 17104"/>
                    <a:gd name="connsiteX12" fmla="*/ 6818 w 7117"/>
                    <a:gd name="connsiteY12" fmla="*/ 3887 h 17104"/>
                    <a:gd name="connsiteX13" fmla="*/ 4725 w 7117"/>
                    <a:gd name="connsiteY13" fmla="*/ 2213 h 17104"/>
                    <a:gd name="connsiteX14" fmla="*/ 4725 w 7117"/>
                    <a:gd name="connsiteY14" fmla="*/ 2213 h 17104"/>
                    <a:gd name="connsiteX15" fmla="*/ 2990 w 7117"/>
                    <a:gd name="connsiteY15" fmla="*/ 778 h 17104"/>
                    <a:gd name="connsiteX16" fmla="*/ 2632 w 7117"/>
                    <a:gd name="connsiteY16" fmla="*/ 478 h 17104"/>
                    <a:gd name="connsiteX17" fmla="*/ 2512 w 7117"/>
                    <a:gd name="connsiteY17" fmla="*/ 359 h 17104"/>
                    <a:gd name="connsiteX18" fmla="*/ 2034 w 7117"/>
                    <a:gd name="connsiteY18" fmla="*/ 0 h 1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117" h="17104">
                      <a:moveTo>
                        <a:pt x="0" y="17105"/>
                      </a:moveTo>
                      <a:lnTo>
                        <a:pt x="419" y="15430"/>
                      </a:lnTo>
                      <a:lnTo>
                        <a:pt x="837" y="14713"/>
                      </a:lnTo>
                      <a:lnTo>
                        <a:pt x="1076" y="14294"/>
                      </a:lnTo>
                      <a:lnTo>
                        <a:pt x="1795" y="13098"/>
                      </a:lnTo>
                      <a:lnTo>
                        <a:pt x="1974" y="12859"/>
                      </a:lnTo>
                      <a:lnTo>
                        <a:pt x="2034" y="12799"/>
                      </a:lnTo>
                      <a:lnTo>
                        <a:pt x="3469" y="10347"/>
                      </a:lnTo>
                      <a:lnTo>
                        <a:pt x="4904" y="7895"/>
                      </a:lnTo>
                      <a:lnTo>
                        <a:pt x="5203" y="7416"/>
                      </a:lnTo>
                      <a:lnTo>
                        <a:pt x="6639" y="4964"/>
                      </a:lnTo>
                      <a:lnTo>
                        <a:pt x="7117" y="4127"/>
                      </a:lnTo>
                      <a:lnTo>
                        <a:pt x="6818" y="3887"/>
                      </a:lnTo>
                      <a:lnTo>
                        <a:pt x="4725" y="2213"/>
                      </a:lnTo>
                      <a:lnTo>
                        <a:pt x="4725" y="2213"/>
                      </a:lnTo>
                      <a:lnTo>
                        <a:pt x="2990" y="778"/>
                      </a:lnTo>
                      <a:lnTo>
                        <a:pt x="2632" y="478"/>
                      </a:lnTo>
                      <a:lnTo>
                        <a:pt x="2512" y="359"/>
                      </a:lnTo>
                      <a:lnTo>
                        <a:pt x="2034" y="0"/>
                      </a:lnTo>
                    </a:path>
                  </a:pathLst>
                </a:custGeom>
                <a:noFill/>
                <a:ln w="6350" cap="rnd">
                  <a:solidFill>
                    <a:schemeClr val="bg1">
                      <a:alpha val="40000"/>
                    </a:schemeClr>
                  </a:solidFill>
                  <a:prstDash val="solid"/>
                  <a:round/>
                </a:ln>
              </p:spPr>
              <p:txBody>
                <a:bodyPr rtlCol="0" anchor="ctr"/>
                <a:lstStyle/>
                <a:p>
                  <a:endParaRPr lang="en-GB"/>
                </a:p>
              </p:txBody>
            </p:sp>
            <p:sp>
              <p:nvSpPr>
                <p:cNvPr id="5656" name="Vrije vorm: vorm 5655">
                  <a:extLst>
                    <a:ext uri="{FF2B5EF4-FFF2-40B4-BE49-F238E27FC236}">
                      <a16:creationId xmlns:a16="http://schemas.microsoft.com/office/drawing/2014/main" id="{4D64CE92-0DC2-4707-A4C6-DC585271E168}"/>
                    </a:ext>
                  </a:extLst>
                </p:cNvPr>
                <p:cNvSpPr/>
                <p:nvPr/>
              </p:nvSpPr>
              <p:spPr>
                <a:xfrm>
                  <a:off x="6415660" y="1723564"/>
                  <a:ext cx="2332" cy="1913"/>
                </a:xfrm>
                <a:custGeom>
                  <a:avLst/>
                  <a:gdLst>
                    <a:gd name="connsiteX0" fmla="*/ 2332 w 2332"/>
                    <a:gd name="connsiteY0" fmla="*/ 1914 h 1913"/>
                    <a:gd name="connsiteX1" fmla="*/ 1854 w 2332"/>
                    <a:gd name="connsiteY1" fmla="*/ 1555 h 1913"/>
                    <a:gd name="connsiteX2" fmla="*/ 1734 w 2332"/>
                    <a:gd name="connsiteY2" fmla="*/ 1495 h 1913"/>
                    <a:gd name="connsiteX3" fmla="*/ 0 w 2332"/>
                    <a:gd name="connsiteY3" fmla="*/ 0 h 1913"/>
                  </a:gdLst>
                  <a:ahLst/>
                  <a:cxnLst>
                    <a:cxn ang="0">
                      <a:pos x="connsiteX0" y="connsiteY0"/>
                    </a:cxn>
                    <a:cxn ang="0">
                      <a:pos x="connsiteX1" y="connsiteY1"/>
                    </a:cxn>
                    <a:cxn ang="0">
                      <a:pos x="connsiteX2" y="connsiteY2"/>
                    </a:cxn>
                    <a:cxn ang="0">
                      <a:pos x="connsiteX3" y="connsiteY3"/>
                    </a:cxn>
                  </a:cxnLst>
                  <a:rect l="l" t="t" r="r" b="b"/>
                  <a:pathLst>
                    <a:path w="2332" h="1913">
                      <a:moveTo>
                        <a:pt x="2332" y="1914"/>
                      </a:moveTo>
                      <a:lnTo>
                        <a:pt x="1854" y="1555"/>
                      </a:lnTo>
                      <a:lnTo>
                        <a:pt x="1734" y="149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57" name="Vrije vorm: vorm 5656">
                  <a:extLst>
                    <a:ext uri="{FF2B5EF4-FFF2-40B4-BE49-F238E27FC236}">
                      <a16:creationId xmlns:a16="http://schemas.microsoft.com/office/drawing/2014/main" id="{01473E16-0B4B-4FF3-8AB2-F1128E58FCBF}"/>
                    </a:ext>
                  </a:extLst>
                </p:cNvPr>
                <p:cNvSpPr/>
                <p:nvPr/>
              </p:nvSpPr>
              <p:spPr>
                <a:xfrm>
                  <a:off x="6413566" y="1730562"/>
                  <a:ext cx="4007" cy="6937"/>
                </a:xfrm>
                <a:custGeom>
                  <a:avLst/>
                  <a:gdLst>
                    <a:gd name="connsiteX0" fmla="*/ 4007 w 4007"/>
                    <a:gd name="connsiteY0" fmla="*/ 0 h 6937"/>
                    <a:gd name="connsiteX1" fmla="*/ 3469 w 4007"/>
                    <a:gd name="connsiteY1" fmla="*/ 957 h 6937"/>
                    <a:gd name="connsiteX2" fmla="*/ 3289 w 4007"/>
                    <a:gd name="connsiteY2" fmla="*/ 1316 h 6937"/>
                    <a:gd name="connsiteX3" fmla="*/ 1854 w 4007"/>
                    <a:gd name="connsiteY3" fmla="*/ 3768 h 6937"/>
                    <a:gd name="connsiteX4" fmla="*/ 419 w 4007"/>
                    <a:gd name="connsiteY4" fmla="*/ 6220 h 6937"/>
                    <a:gd name="connsiteX5" fmla="*/ 0 w 4007"/>
                    <a:gd name="connsiteY5" fmla="*/ 6938 h 6937"/>
                    <a:gd name="connsiteX6" fmla="*/ 1435 w 4007"/>
                    <a:gd name="connsiteY6" fmla="*/ 4486 h 6937"/>
                    <a:gd name="connsiteX7" fmla="*/ 2871 w 4007"/>
                    <a:gd name="connsiteY7" fmla="*/ 2033 h 6937"/>
                    <a:gd name="connsiteX8" fmla="*/ 3289 w 4007"/>
                    <a:gd name="connsiteY8" fmla="*/ 1316 h 6937"/>
                    <a:gd name="connsiteX9" fmla="*/ 3469 w 4007"/>
                    <a:gd name="connsiteY9" fmla="*/ 957 h 6937"/>
                    <a:gd name="connsiteX10" fmla="*/ 4007 w 4007"/>
                    <a:gd name="connsiteY10" fmla="*/ 0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7" h="6937">
                      <a:moveTo>
                        <a:pt x="4007" y="0"/>
                      </a:moveTo>
                      <a:lnTo>
                        <a:pt x="3469" y="957"/>
                      </a:lnTo>
                      <a:lnTo>
                        <a:pt x="3289" y="1316"/>
                      </a:lnTo>
                      <a:lnTo>
                        <a:pt x="1854" y="3768"/>
                      </a:lnTo>
                      <a:lnTo>
                        <a:pt x="419" y="6220"/>
                      </a:lnTo>
                      <a:lnTo>
                        <a:pt x="0" y="6938"/>
                      </a:lnTo>
                      <a:lnTo>
                        <a:pt x="1435" y="4486"/>
                      </a:lnTo>
                      <a:lnTo>
                        <a:pt x="2871" y="2033"/>
                      </a:lnTo>
                      <a:lnTo>
                        <a:pt x="3289" y="1316"/>
                      </a:lnTo>
                      <a:lnTo>
                        <a:pt x="3469" y="957"/>
                      </a:lnTo>
                      <a:lnTo>
                        <a:pt x="4007" y="0"/>
                      </a:lnTo>
                    </a:path>
                  </a:pathLst>
                </a:custGeom>
                <a:noFill/>
                <a:ln w="6350" cap="rnd">
                  <a:solidFill>
                    <a:schemeClr val="bg1">
                      <a:alpha val="40000"/>
                    </a:schemeClr>
                  </a:solidFill>
                  <a:prstDash val="solid"/>
                  <a:round/>
                </a:ln>
              </p:spPr>
              <p:txBody>
                <a:bodyPr rtlCol="0" anchor="ctr"/>
                <a:lstStyle/>
                <a:p>
                  <a:endParaRPr lang="en-GB"/>
                </a:p>
              </p:txBody>
            </p:sp>
            <p:sp>
              <p:nvSpPr>
                <p:cNvPr id="5658" name="Vrije vorm: vorm 5657">
                  <a:extLst>
                    <a:ext uri="{FF2B5EF4-FFF2-40B4-BE49-F238E27FC236}">
                      <a16:creationId xmlns:a16="http://schemas.microsoft.com/office/drawing/2014/main" id="{ABE54245-AC3D-43FD-B912-1B887C12BB33}"/>
                    </a:ext>
                  </a:extLst>
                </p:cNvPr>
                <p:cNvSpPr/>
                <p:nvPr/>
              </p:nvSpPr>
              <p:spPr>
                <a:xfrm>
                  <a:off x="6415360" y="1727273"/>
                  <a:ext cx="59" cy="239"/>
                </a:xfrm>
                <a:custGeom>
                  <a:avLst/>
                  <a:gdLst>
                    <a:gd name="connsiteX0" fmla="*/ 60 w 59"/>
                    <a:gd name="connsiteY0" fmla="*/ 239 h 239"/>
                    <a:gd name="connsiteX1" fmla="*/ 60 w 59"/>
                    <a:gd name="connsiteY1" fmla="*/ 120 h 239"/>
                    <a:gd name="connsiteX2" fmla="*/ 0 w 59"/>
                    <a:gd name="connsiteY2" fmla="*/ 0 h 239"/>
                  </a:gdLst>
                  <a:ahLst/>
                  <a:cxnLst>
                    <a:cxn ang="0">
                      <a:pos x="connsiteX0" y="connsiteY0"/>
                    </a:cxn>
                    <a:cxn ang="0">
                      <a:pos x="connsiteX1" y="connsiteY1"/>
                    </a:cxn>
                    <a:cxn ang="0">
                      <a:pos x="connsiteX2" y="connsiteY2"/>
                    </a:cxn>
                  </a:cxnLst>
                  <a:rect l="l" t="t" r="r" b="b"/>
                  <a:pathLst>
                    <a:path w="59" h="239">
                      <a:moveTo>
                        <a:pt x="60" y="239"/>
                      </a:moveTo>
                      <a:lnTo>
                        <a:pt x="60"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59" name="Vrije vorm: vorm 5658">
                  <a:extLst>
                    <a:ext uri="{FF2B5EF4-FFF2-40B4-BE49-F238E27FC236}">
                      <a16:creationId xmlns:a16="http://schemas.microsoft.com/office/drawing/2014/main" id="{4578BE41-E1FB-4AEE-8FAF-BC33B73AC5DA}"/>
                    </a:ext>
                  </a:extLst>
                </p:cNvPr>
                <p:cNvSpPr/>
                <p:nvPr/>
              </p:nvSpPr>
              <p:spPr>
                <a:xfrm>
                  <a:off x="6414284" y="1728947"/>
                  <a:ext cx="239" cy="59"/>
                </a:xfrm>
                <a:custGeom>
                  <a:avLst/>
                  <a:gdLst>
                    <a:gd name="connsiteX0" fmla="*/ 0 w 239"/>
                    <a:gd name="connsiteY0" fmla="*/ 0 h 59"/>
                    <a:gd name="connsiteX1" fmla="*/ 120 w 239"/>
                    <a:gd name="connsiteY1" fmla="*/ 60 h 59"/>
                    <a:gd name="connsiteX2" fmla="*/ 239 w 239"/>
                    <a:gd name="connsiteY2" fmla="*/ 60 h 59"/>
                  </a:gdLst>
                  <a:ahLst/>
                  <a:cxnLst>
                    <a:cxn ang="0">
                      <a:pos x="connsiteX0" y="connsiteY0"/>
                    </a:cxn>
                    <a:cxn ang="0">
                      <a:pos x="connsiteX1" y="connsiteY1"/>
                    </a:cxn>
                    <a:cxn ang="0">
                      <a:pos x="connsiteX2" y="connsiteY2"/>
                    </a:cxn>
                  </a:cxnLst>
                  <a:rect l="l" t="t" r="r" b="b"/>
                  <a:pathLst>
                    <a:path w="239" h="59">
                      <a:moveTo>
                        <a:pt x="0" y="0"/>
                      </a:moveTo>
                      <a:lnTo>
                        <a:pt x="120" y="60"/>
                      </a:lnTo>
                      <a:lnTo>
                        <a:pt x="239" y="60"/>
                      </a:lnTo>
                    </a:path>
                  </a:pathLst>
                </a:custGeom>
                <a:noFill/>
                <a:ln w="6350" cap="rnd">
                  <a:solidFill>
                    <a:schemeClr val="bg1">
                      <a:alpha val="40000"/>
                    </a:schemeClr>
                  </a:solidFill>
                  <a:prstDash val="solid"/>
                  <a:round/>
                </a:ln>
              </p:spPr>
              <p:txBody>
                <a:bodyPr rtlCol="0" anchor="ctr"/>
                <a:lstStyle/>
                <a:p>
                  <a:endParaRPr lang="en-GB"/>
                </a:p>
              </p:txBody>
            </p:sp>
            <p:sp>
              <p:nvSpPr>
                <p:cNvPr id="5660" name="Vrije vorm: vorm 5659">
                  <a:extLst>
                    <a:ext uri="{FF2B5EF4-FFF2-40B4-BE49-F238E27FC236}">
                      <a16:creationId xmlns:a16="http://schemas.microsoft.com/office/drawing/2014/main" id="{EA2156E1-2027-4CAC-AC7C-055339B643DA}"/>
                    </a:ext>
                  </a:extLst>
                </p:cNvPr>
                <p:cNvSpPr/>
                <p:nvPr/>
              </p:nvSpPr>
              <p:spPr>
                <a:xfrm>
                  <a:off x="6416138" y="1725538"/>
                  <a:ext cx="239" cy="299"/>
                </a:xfrm>
                <a:custGeom>
                  <a:avLst/>
                  <a:gdLst>
                    <a:gd name="connsiteX0" fmla="*/ 239 w 239"/>
                    <a:gd name="connsiteY0" fmla="*/ 299 h 299"/>
                    <a:gd name="connsiteX1" fmla="*/ 239 w 239"/>
                    <a:gd name="connsiteY1" fmla="*/ 299 h 299"/>
                    <a:gd name="connsiteX2" fmla="*/ 180 w 239"/>
                    <a:gd name="connsiteY2" fmla="*/ 179 h 299"/>
                    <a:gd name="connsiteX3" fmla="*/ 180 w 239"/>
                    <a:gd name="connsiteY3" fmla="*/ 179 h 299"/>
                    <a:gd name="connsiteX4" fmla="*/ 120 w 239"/>
                    <a:gd name="connsiteY4" fmla="*/ 60 h 299"/>
                    <a:gd name="connsiteX5" fmla="*/ 0 w 239"/>
                    <a:gd name="connsiteY5" fmla="*/ 0 h 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 h="299">
                      <a:moveTo>
                        <a:pt x="239" y="299"/>
                      </a:moveTo>
                      <a:lnTo>
                        <a:pt x="239" y="299"/>
                      </a:lnTo>
                      <a:lnTo>
                        <a:pt x="180" y="179"/>
                      </a:lnTo>
                      <a:lnTo>
                        <a:pt x="180" y="179"/>
                      </a:lnTo>
                      <a:lnTo>
                        <a:pt x="120" y="6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61" name="Vrije vorm: vorm 5660">
                  <a:extLst>
                    <a:ext uri="{FF2B5EF4-FFF2-40B4-BE49-F238E27FC236}">
                      <a16:creationId xmlns:a16="http://schemas.microsoft.com/office/drawing/2014/main" id="{3D46EC61-5B8B-4194-B233-FCFDF30AC59C}"/>
                    </a:ext>
                  </a:extLst>
                </p:cNvPr>
                <p:cNvSpPr/>
                <p:nvPr/>
              </p:nvSpPr>
              <p:spPr>
                <a:xfrm>
                  <a:off x="6415540" y="1727093"/>
                  <a:ext cx="239" cy="59"/>
                </a:xfrm>
                <a:custGeom>
                  <a:avLst/>
                  <a:gdLst>
                    <a:gd name="connsiteX0" fmla="*/ 0 w 239"/>
                    <a:gd name="connsiteY0" fmla="*/ 60 h 59"/>
                    <a:gd name="connsiteX1" fmla="*/ 120 w 239"/>
                    <a:gd name="connsiteY1" fmla="*/ 60 h 59"/>
                    <a:gd name="connsiteX2" fmla="*/ 239 w 239"/>
                    <a:gd name="connsiteY2" fmla="*/ 0 h 59"/>
                  </a:gdLst>
                  <a:ahLst/>
                  <a:cxnLst>
                    <a:cxn ang="0">
                      <a:pos x="connsiteX0" y="connsiteY0"/>
                    </a:cxn>
                    <a:cxn ang="0">
                      <a:pos x="connsiteX1" y="connsiteY1"/>
                    </a:cxn>
                    <a:cxn ang="0">
                      <a:pos x="connsiteX2" y="connsiteY2"/>
                    </a:cxn>
                  </a:cxnLst>
                  <a:rect l="l" t="t" r="r" b="b"/>
                  <a:pathLst>
                    <a:path w="239" h="59">
                      <a:moveTo>
                        <a:pt x="0" y="60"/>
                      </a:moveTo>
                      <a:lnTo>
                        <a:pt x="120" y="60"/>
                      </a:lnTo>
                      <a:lnTo>
                        <a:pt x="239" y="0"/>
                      </a:lnTo>
                    </a:path>
                  </a:pathLst>
                </a:custGeom>
                <a:noFill/>
                <a:ln w="6350" cap="rnd">
                  <a:solidFill>
                    <a:schemeClr val="bg1">
                      <a:alpha val="40000"/>
                    </a:schemeClr>
                  </a:solidFill>
                  <a:prstDash val="solid"/>
                  <a:round/>
                </a:ln>
              </p:spPr>
              <p:txBody>
                <a:bodyPr rtlCol="0" anchor="ctr"/>
                <a:lstStyle/>
                <a:p>
                  <a:endParaRPr lang="en-GB"/>
                </a:p>
              </p:txBody>
            </p:sp>
            <p:sp>
              <p:nvSpPr>
                <p:cNvPr id="5662" name="Vrije vorm: vorm 5661">
                  <a:extLst>
                    <a:ext uri="{FF2B5EF4-FFF2-40B4-BE49-F238E27FC236}">
                      <a16:creationId xmlns:a16="http://schemas.microsoft.com/office/drawing/2014/main" id="{127CB82F-B1D5-463B-A6A8-DBEA18AC12E5}"/>
                    </a:ext>
                  </a:extLst>
                </p:cNvPr>
                <p:cNvSpPr/>
                <p:nvPr/>
              </p:nvSpPr>
              <p:spPr>
                <a:xfrm>
                  <a:off x="6413088" y="1726674"/>
                  <a:ext cx="2212" cy="2272"/>
                </a:xfrm>
                <a:custGeom>
                  <a:avLst/>
                  <a:gdLst>
                    <a:gd name="connsiteX0" fmla="*/ 1196 w 2212"/>
                    <a:gd name="connsiteY0" fmla="*/ 2273 h 2272"/>
                    <a:gd name="connsiteX1" fmla="*/ 119 w 2212"/>
                    <a:gd name="connsiteY1" fmla="*/ 1734 h 2272"/>
                    <a:gd name="connsiteX2" fmla="*/ 60 w 2212"/>
                    <a:gd name="connsiteY2" fmla="*/ 1615 h 2272"/>
                    <a:gd name="connsiteX3" fmla="*/ 0 w 2212"/>
                    <a:gd name="connsiteY3" fmla="*/ 1435 h 2272"/>
                    <a:gd name="connsiteX4" fmla="*/ 0 w 2212"/>
                    <a:gd name="connsiteY4" fmla="*/ 1256 h 2272"/>
                    <a:gd name="connsiteX5" fmla="*/ 0 w 2212"/>
                    <a:gd name="connsiteY5" fmla="*/ 1196 h 2272"/>
                    <a:gd name="connsiteX6" fmla="*/ 60 w 2212"/>
                    <a:gd name="connsiteY6" fmla="*/ 1077 h 2272"/>
                    <a:gd name="connsiteX7" fmla="*/ 119 w 2212"/>
                    <a:gd name="connsiteY7" fmla="*/ 837 h 2272"/>
                    <a:gd name="connsiteX8" fmla="*/ 239 w 2212"/>
                    <a:gd name="connsiteY8" fmla="*/ 598 h 2272"/>
                    <a:gd name="connsiteX9" fmla="*/ 359 w 2212"/>
                    <a:gd name="connsiteY9" fmla="*/ 359 h 2272"/>
                    <a:gd name="connsiteX10" fmla="*/ 538 w 2212"/>
                    <a:gd name="connsiteY10" fmla="*/ 179 h 2272"/>
                    <a:gd name="connsiteX11" fmla="*/ 658 w 2212"/>
                    <a:gd name="connsiteY11" fmla="*/ 120 h 2272"/>
                    <a:gd name="connsiteX12" fmla="*/ 718 w 2212"/>
                    <a:gd name="connsiteY12" fmla="*/ 60 h 2272"/>
                    <a:gd name="connsiteX13" fmla="*/ 897 w 2212"/>
                    <a:gd name="connsiteY13" fmla="*/ 0 h 2272"/>
                    <a:gd name="connsiteX14" fmla="*/ 1017 w 2212"/>
                    <a:gd name="connsiteY14" fmla="*/ 0 h 2272"/>
                    <a:gd name="connsiteX15" fmla="*/ 1136 w 2212"/>
                    <a:gd name="connsiteY15" fmla="*/ 60 h 2272"/>
                    <a:gd name="connsiteX16" fmla="*/ 2213 w 2212"/>
                    <a:gd name="connsiteY16" fmla="*/ 598 h 2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12" h="2272">
                      <a:moveTo>
                        <a:pt x="1196" y="2273"/>
                      </a:moveTo>
                      <a:lnTo>
                        <a:pt x="119" y="1734"/>
                      </a:lnTo>
                      <a:lnTo>
                        <a:pt x="60" y="1615"/>
                      </a:lnTo>
                      <a:lnTo>
                        <a:pt x="0" y="1435"/>
                      </a:lnTo>
                      <a:lnTo>
                        <a:pt x="0" y="1256"/>
                      </a:lnTo>
                      <a:lnTo>
                        <a:pt x="0" y="1196"/>
                      </a:lnTo>
                      <a:lnTo>
                        <a:pt x="60" y="1077"/>
                      </a:lnTo>
                      <a:lnTo>
                        <a:pt x="119" y="837"/>
                      </a:lnTo>
                      <a:lnTo>
                        <a:pt x="239" y="598"/>
                      </a:lnTo>
                      <a:lnTo>
                        <a:pt x="359" y="359"/>
                      </a:lnTo>
                      <a:lnTo>
                        <a:pt x="538" y="179"/>
                      </a:lnTo>
                      <a:lnTo>
                        <a:pt x="658" y="120"/>
                      </a:lnTo>
                      <a:lnTo>
                        <a:pt x="718" y="60"/>
                      </a:lnTo>
                      <a:lnTo>
                        <a:pt x="897" y="0"/>
                      </a:lnTo>
                      <a:lnTo>
                        <a:pt x="1017" y="0"/>
                      </a:lnTo>
                      <a:lnTo>
                        <a:pt x="1136" y="60"/>
                      </a:lnTo>
                      <a:lnTo>
                        <a:pt x="2213" y="598"/>
                      </a:lnTo>
                    </a:path>
                  </a:pathLst>
                </a:custGeom>
                <a:noFill/>
                <a:ln w="6350" cap="rnd">
                  <a:solidFill>
                    <a:schemeClr val="bg1">
                      <a:alpha val="40000"/>
                    </a:schemeClr>
                  </a:solidFill>
                  <a:prstDash val="solid"/>
                  <a:round/>
                </a:ln>
              </p:spPr>
              <p:txBody>
                <a:bodyPr rtlCol="0" anchor="ctr"/>
                <a:lstStyle/>
                <a:p>
                  <a:endParaRPr lang="en-GB"/>
                </a:p>
              </p:txBody>
            </p:sp>
            <p:sp>
              <p:nvSpPr>
                <p:cNvPr id="5663" name="Vrije vorm: vorm 5662">
                  <a:extLst>
                    <a:ext uri="{FF2B5EF4-FFF2-40B4-BE49-F238E27FC236}">
                      <a16:creationId xmlns:a16="http://schemas.microsoft.com/office/drawing/2014/main" id="{641EABCD-C712-4843-8303-1EBB7DDC6750}"/>
                    </a:ext>
                  </a:extLst>
                </p:cNvPr>
                <p:cNvSpPr/>
                <p:nvPr/>
              </p:nvSpPr>
              <p:spPr>
                <a:xfrm>
                  <a:off x="6413207" y="1726734"/>
                  <a:ext cx="1136" cy="1794"/>
                </a:xfrm>
                <a:custGeom>
                  <a:avLst/>
                  <a:gdLst>
                    <a:gd name="connsiteX0" fmla="*/ 1017 w 1136"/>
                    <a:gd name="connsiteY0" fmla="*/ 0 h 1794"/>
                    <a:gd name="connsiteX1" fmla="*/ 1076 w 1136"/>
                    <a:gd name="connsiteY1" fmla="*/ 120 h 1794"/>
                    <a:gd name="connsiteX2" fmla="*/ 1136 w 1136"/>
                    <a:gd name="connsiteY2" fmla="*/ 299 h 1794"/>
                    <a:gd name="connsiteX3" fmla="*/ 1136 w 1136"/>
                    <a:gd name="connsiteY3" fmla="*/ 478 h 1794"/>
                    <a:gd name="connsiteX4" fmla="*/ 1076 w 1136"/>
                    <a:gd name="connsiteY4" fmla="*/ 718 h 1794"/>
                    <a:gd name="connsiteX5" fmla="*/ 1017 w 1136"/>
                    <a:gd name="connsiteY5" fmla="*/ 957 h 1794"/>
                    <a:gd name="connsiteX6" fmla="*/ 897 w 1136"/>
                    <a:gd name="connsiteY6" fmla="*/ 1196 h 1794"/>
                    <a:gd name="connsiteX7" fmla="*/ 778 w 1136"/>
                    <a:gd name="connsiteY7" fmla="*/ 1435 h 1794"/>
                    <a:gd name="connsiteX8" fmla="*/ 598 w 1136"/>
                    <a:gd name="connsiteY8" fmla="*/ 1615 h 1794"/>
                    <a:gd name="connsiteX9" fmla="*/ 419 w 1136"/>
                    <a:gd name="connsiteY9" fmla="*/ 1734 h 1794"/>
                    <a:gd name="connsiteX10" fmla="*/ 239 w 1136"/>
                    <a:gd name="connsiteY10" fmla="*/ 1794 h 1794"/>
                    <a:gd name="connsiteX11" fmla="*/ 120 w 1136"/>
                    <a:gd name="connsiteY11" fmla="*/ 1794 h 1794"/>
                    <a:gd name="connsiteX12" fmla="*/ 0 w 1136"/>
                    <a:gd name="connsiteY12" fmla="*/ 1734 h 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6" h="1794">
                      <a:moveTo>
                        <a:pt x="1017" y="0"/>
                      </a:moveTo>
                      <a:lnTo>
                        <a:pt x="1076" y="120"/>
                      </a:lnTo>
                      <a:lnTo>
                        <a:pt x="1136" y="299"/>
                      </a:lnTo>
                      <a:lnTo>
                        <a:pt x="1136" y="478"/>
                      </a:lnTo>
                      <a:lnTo>
                        <a:pt x="1076" y="718"/>
                      </a:lnTo>
                      <a:lnTo>
                        <a:pt x="1017" y="957"/>
                      </a:lnTo>
                      <a:lnTo>
                        <a:pt x="897" y="1196"/>
                      </a:lnTo>
                      <a:lnTo>
                        <a:pt x="778" y="1435"/>
                      </a:lnTo>
                      <a:lnTo>
                        <a:pt x="598" y="1615"/>
                      </a:lnTo>
                      <a:lnTo>
                        <a:pt x="419" y="1734"/>
                      </a:lnTo>
                      <a:lnTo>
                        <a:pt x="239" y="1794"/>
                      </a:lnTo>
                      <a:lnTo>
                        <a:pt x="120" y="1794"/>
                      </a:lnTo>
                      <a:lnTo>
                        <a:pt x="0" y="1734"/>
                      </a:lnTo>
                    </a:path>
                  </a:pathLst>
                </a:custGeom>
                <a:noFill/>
                <a:ln w="6350" cap="rnd">
                  <a:solidFill>
                    <a:schemeClr val="bg1">
                      <a:alpha val="40000"/>
                    </a:schemeClr>
                  </a:solidFill>
                  <a:prstDash val="solid"/>
                  <a:round/>
                </a:ln>
              </p:spPr>
              <p:txBody>
                <a:bodyPr rtlCol="0" anchor="ctr"/>
                <a:lstStyle/>
                <a:p>
                  <a:endParaRPr lang="en-GB"/>
                </a:p>
              </p:txBody>
            </p:sp>
            <p:sp>
              <p:nvSpPr>
                <p:cNvPr id="5664" name="Vrije vorm: vorm 5663">
                  <a:extLst>
                    <a:ext uri="{FF2B5EF4-FFF2-40B4-BE49-F238E27FC236}">
                      <a16:creationId xmlns:a16="http://schemas.microsoft.com/office/drawing/2014/main" id="{7893520E-2A87-4BB8-AB2B-0B6375CA4872}"/>
                    </a:ext>
                  </a:extLst>
                </p:cNvPr>
                <p:cNvSpPr/>
                <p:nvPr/>
              </p:nvSpPr>
              <p:spPr>
                <a:xfrm>
                  <a:off x="6414284" y="1725060"/>
                  <a:ext cx="1913" cy="1614"/>
                </a:xfrm>
                <a:custGeom>
                  <a:avLst/>
                  <a:gdLst>
                    <a:gd name="connsiteX0" fmla="*/ 837 w 1913"/>
                    <a:gd name="connsiteY0" fmla="*/ 0 h 1614"/>
                    <a:gd name="connsiteX1" fmla="*/ 957 w 1913"/>
                    <a:gd name="connsiteY1" fmla="*/ 60 h 1614"/>
                    <a:gd name="connsiteX2" fmla="*/ 1017 w 1913"/>
                    <a:gd name="connsiteY2" fmla="*/ 180 h 1614"/>
                    <a:gd name="connsiteX3" fmla="*/ 1017 w 1913"/>
                    <a:gd name="connsiteY3" fmla="*/ 180 h 1614"/>
                    <a:gd name="connsiteX4" fmla="*/ 1017 w 1913"/>
                    <a:gd name="connsiteY4" fmla="*/ 299 h 1614"/>
                    <a:gd name="connsiteX5" fmla="*/ 1017 w 1913"/>
                    <a:gd name="connsiteY5" fmla="*/ 359 h 1614"/>
                    <a:gd name="connsiteX6" fmla="*/ 1017 w 1913"/>
                    <a:gd name="connsiteY6" fmla="*/ 538 h 1614"/>
                    <a:gd name="connsiteX7" fmla="*/ 1017 w 1913"/>
                    <a:gd name="connsiteY7" fmla="*/ 658 h 1614"/>
                    <a:gd name="connsiteX8" fmla="*/ 1017 w 1913"/>
                    <a:gd name="connsiteY8" fmla="*/ 718 h 1614"/>
                    <a:gd name="connsiteX9" fmla="*/ 957 w 1913"/>
                    <a:gd name="connsiteY9" fmla="*/ 957 h 1614"/>
                    <a:gd name="connsiteX10" fmla="*/ 837 w 1913"/>
                    <a:gd name="connsiteY10" fmla="*/ 1136 h 1614"/>
                    <a:gd name="connsiteX11" fmla="*/ 718 w 1913"/>
                    <a:gd name="connsiteY11" fmla="*/ 1316 h 1614"/>
                    <a:gd name="connsiteX12" fmla="*/ 598 w 1913"/>
                    <a:gd name="connsiteY12" fmla="*/ 1435 h 1614"/>
                    <a:gd name="connsiteX13" fmla="*/ 479 w 1913"/>
                    <a:gd name="connsiteY13" fmla="*/ 1555 h 1614"/>
                    <a:gd name="connsiteX14" fmla="*/ 359 w 1913"/>
                    <a:gd name="connsiteY14" fmla="*/ 1615 h 1614"/>
                    <a:gd name="connsiteX15" fmla="*/ 239 w 1913"/>
                    <a:gd name="connsiteY15" fmla="*/ 1615 h 1614"/>
                    <a:gd name="connsiteX16" fmla="*/ 120 w 1913"/>
                    <a:gd name="connsiteY16" fmla="*/ 1555 h 1614"/>
                    <a:gd name="connsiteX17" fmla="*/ 60 w 1913"/>
                    <a:gd name="connsiteY17" fmla="*/ 1435 h 1614"/>
                    <a:gd name="connsiteX18" fmla="*/ 0 w 1913"/>
                    <a:gd name="connsiteY18" fmla="*/ 1316 h 1614"/>
                    <a:gd name="connsiteX19" fmla="*/ 0 w 1913"/>
                    <a:gd name="connsiteY19" fmla="*/ 1136 h 1614"/>
                    <a:gd name="connsiteX20" fmla="*/ 0 w 1913"/>
                    <a:gd name="connsiteY20" fmla="*/ 1077 h 1614"/>
                    <a:gd name="connsiteX21" fmla="*/ 0 w 1913"/>
                    <a:gd name="connsiteY21" fmla="*/ 957 h 1614"/>
                    <a:gd name="connsiteX22" fmla="*/ 60 w 1913"/>
                    <a:gd name="connsiteY22" fmla="*/ 718 h 1614"/>
                    <a:gd name="connsiteX23" fmla="*/ 180 w 1913"/>
                    <a:gd name="connsiteY23" fmla="*/ 538 h 1614"/>
                    <a:gd name="connsiteX24" fmla="*/ 299 w 1913"/>
                    <a:gd name="connsiteY24" fmla="*/ 359 h 1614"/>
                    <a:gd name="connsiteX25" fmla="*/ 359 w 1913"/>
                    <a:gd name="connsiteY25" fmla="*/ 299 h 1614"/>
                    <a:gd name="connsiteX26" fmla="*/ 479 w 1913"/>
                    <a:gd name="connsiteY26" fmla="*/ 180 h 1614"/>
                    <a:gd name="connsiteX27" fmla="*/ 598 w 1913"/>
                    <a:gd name="connsiteY27" fmla="*/ 120 h 1614"/>
                    <a:gd name="connsiteX28" fmla="*/ 658 w 1913"/>
                    <a:gd name="connsiteY28" fmla="*/ 60 h 1614"/>
                    <a:gd name="connsiteX29" fmla="*/ 658 w 1913"/>
                    <a:gd name="connsiteY29" fmla="*/ 60 h 1614"/>
                    <a:gd name="connsiteX30" fmla="*/ 778 w 1913"/>
                    <a:gd name="connsiteY30" fmla="*/ 0 h 1614"/>
                    <a:gd name="connsiteX31" fmla="*/ 778 w 1913"/>
                    <a:gd name="connsiteY31" fmla="*/ 0 h 1614"/>
                    <a:gd name="connsiteX32" fmla="*/ 837 w 1913"/>
                    <a:gd name="connsiteY32" fmla="*/ 0 h 1614"/>
                    <a:gd name="connsiteX33" fmla="*/ 1914 w 1913"/>
                    <a:gd name="connsiteY33" fmla="*/ 538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13" h="1614">
                      <a:moveTo>
                        <a:pt x="837" y="0"/>
                      </a:moveTo>
                      <a:lnTo>
                        <a:pt x="957" y="60"/>
                      </a:lnTo>
                      <a:lnTo>
                        <a:pt x="1017" y="180"/>
                      </a:lnTo>
                      <a:lnTo>
                        <a:pt x="1017" y="180"/>
                      </a:lnTo>
                      <a:lnTo>
                        <a:pt x="1017" y="299"/>
                      </a:lnTo>
                      <a:lnTo>
                        <a:pt x="1017" y="359"/>
                      </a:lnTo>
                      <a:lnTo>
                        <a:pt x="1017" y="538"/>
                      </a:lnTo>
                      <a:lnTo>
                        <a:pt x="1017" y="658"/>
                      </a:lnTo>
                      <a:lnTo>
                        <a:pt x="1017" y="718"/>
                      </a:lnTo>
                      <a:lnTo>
                        <a:pt x="957" y="957"/>
                      </a:lnTo>
                      <a:lnTo>
                        <a:pt x="837" y="1136"/>
                      </a:lnTo>
                      <a:lnTo>
                        <a:pt x="718" y="1316"/>
                      </a:lnTo>
                      <a:lnTo>
                        <a:pt x="598" y="1435"/>
                      </a:lnTo>
                      <a:lnTo>
                        <a:pt x="479" y="1555"/>
                      </a:lnTo>
                      <a:lnTo>
                        <a:pt x="359" y="1615"/>
                      </a:lnTo>
                      <a:lnTo>
                        <a:pt x="239" y="1615"/>
                      </a:lnTo>
                      <a:lnTo>
                        <a:pt x="120" y="1555"/>
                      </a:lnTo>
                      <a:lnTo>
                        <a:pt x="60" y="1435"/>
                      </a:lnTo>
                      <a:lnTo>
                        <a:pt x="0" y="1316"/>
                      </a:lnTo>
                      <a:lnTo>
                        <a:pt x="0" y="1136"/>
                      </a:lnTo>
                      <a:lnTo>
                        <a:pt x="0" y="1077"/>
                      </a:lnTo>
                      <a:lnTo>
                        <a:pt x="0" y="957"/>
                      </a:lnTo>
                      <a:lnTo>
                        <a:pt x="60" y="718"/>
                      </a:lnTo>
                      <a:lnTo>
                        <a:pt x="180" y="538"/>
                      </a:lnTo>
                      <a:lnTo>
                        <a:pt x="299" y="359"/>
                      </a:lnTo>
                      <a:lnTo>
                        <a:pt x="359" y="299"/>
                      </a:lnTo>
                      <a:lnTo>
                        <a:pt x="479" y="180"/>
                      </a:lnTo>
                      <a:lnTo>
                        <a:pt x="598" y="120"/>
                      </a:lnTo>
                      <a:lnTo>
                        <a:pt x="658" y="60"/>
                      </a:lnTo>
                      <a:lnTo>
                        <a:pt x="658" y="60"/>
                      </a:lnTo>
                      <a:lnTo>
                        <a:pt x="778" y="0"/>
                      </a:lnTo>
                      <a:lnTo>
                        <a:pt x="778" y="0"/>
                      </a:lnTo>
                      <a:lnTo>
                        <a:pt x="837" y="0"/>
                      </a:lnTo>
                      <a:lnTo>
                        <a:pt x="1914" y="538"/>
                      </a:lnTo>
                    </a:path>
                  </a:pathLst>
                </a:custGeom>
                <a:noFill/>
                <a:ln w="6350" cap="rnd">
                  <a:solidFill>
                    <a:schemeClr val="bg1">
                      <a:alpha val="40000"/>
                    </a:schemeClr>
                  </a:solidFill>
                  <a:prstDash val="solid"/>
                  <a:round/>
                </a:ln>
              </p:spPr>
              <p:txBody>
                <a:bodyPr rtlCol="0" anchor="ctr"/>
                <a:lstStyle/>
                <a:p>
                  <a:endParaRPr lang="en-GB"/>
                </a:p>
              </p:txBody>
            </p:sp>
            <p:sp>
              <p:nvSpPr>
                <p:cNvPr id="5665" name="Vrije vorm: vorm 5664">
                  <a:extLst>
                    <a:ext uri="{FF2B5EF4-FFF2-40B4-BE49-F238E27FC236}">
                      <a16:creationId xmlns:a16="http://schemas.microsoft.com/office/drawing/2014/main" id="{55C4A193-255A-4D49-B17F-A211128C990E}"/>
                    </a:ext>
                  </a:extLst>
                </p:cNvPr>
                <p:cNvSpPr/>
                <p:nvPr/>
              </p:nvSpPr>
              <p:spPr>
                <a:xfrm>
                  <a:off x="6414463" y="1726615"/>
                  <a:ext cx="1076" cy="538"/>
                </a:xfrm>
                <a:custGeom>
                  <a:avLst/>
                  <a:gdLst>
                    <a:gd name="connsiteX0" fmla="*/ 1076 w 1076"/>
                    <a:gd name="connsiteY0" fmla="*/ 538 h 538"/>
                    <a:gd name="connsiteX1" fmla="*/ 0 w 1076"/>
                    <a:gd name="connsiteY1" fmla="*/ 0 h 538"/>
                  </a:gdLst>
                  <a:ahLst/>
                  <a:cxnLst>
                    <a:cxn ang="0">
                      <a:pos x="connsiteX0" y="connsiteY0"/>
                    </a:cxn>
                    <a:cxn ang="0">
                      <a:pos x="connsiteX1" y="connsiteY1"/>
                    </a:cxn>
                  </a:cxnLst>
                  <a:rect l="l" t="t" r="r" b="b"/>
                  <a:pathLst>
                    <a:path w="1076" h="538">
                      <a:moveTo>
                        <a:pt x="1076" y="538"/>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66" name="Vrije vorm: vorm 5665">
                  <a:extLst>
                    <a:ext uri="{FF2B5EF4-FFF2-40B4-BE49-F238E27FC236}">
                      <a16:creationId xmlns:a16="http://schemas.microsoft.com/office/drawing/2014/main" id="{295B5F7B-9A36-43E4-A085-6CCFDC14431D}"/>
                    </a:ext>
                  </a:extLst>
                </p:cNvPr>
                <p:cNvSpPr/>
                <p:nvPr/>
              </p:nvSpPr>
              <p:spPr>
                <a:xfrm>
                  <a:off x="6425767" y="1729665"/>
                  <a:ext cx="2093" cy="1375"/>
                </a:xfrm>
                <a:custGeom>
                  <a:avLst/>
                  <a:gdLst>
                    <a:gd name="connsiteX0" fmla="*/ 2093 w 2093"/>
                    <a:gd name="connsiteY0" fmla="*/ 1376 h 1375"/>
                    <a:gd name="connsiteX1" fmla="*/ 1256 w 2093"/>
                    <a:gd name="connsiteY1" fmla="*/ 658 h 1375"/>
                    <a:gd name="connsiteX2" fmla="*/ 837 w 2093"/>
                    <a:gd name="connsiteY2" fmla="*/ 419 h 1375"/>
                    <a:gd name="connsiteX3" fmla="*/ 0 w 2093"/>
                    <a:gd name="connsiteY3" fmla="*/ 0 h 1375"/>
                  </a:gdLst>
                  <a:ahLst/>
                  <a:cxnLst>
                    <a:cxn ang="0">
                      <a:pos x="connsiteX0" y="connsiteY0"/>
                    </a:cxn>
                    <a:cxn ang="0">
                      <a:pos x="connsiteX1" y="connsiteY1"/>
                    </a:cxn>
                    <a:cxn ang="0">
                      <a:pos x="connsiteX2" y="connsiteY2"/>
                    </a:cxn>
                    <a:cxn ang="0">
                      <a:pos x="connsiteX3" y="connsiteY3"/>
                    </a:cxn>
                  </a:cxnLst>
                  <a:rect l="l" t="t" r="r" b="b"/>
                  <a:pathLst>
                    <a:path w="2093" h="1375">
                      <a:moveTo>
                        <a:pt x="2093" y="1376"/>
                      </a:moveTo>
                      <a:lnTo>
                        <a:pt x="1256" y="658"/>
                      </a:lnTo>
                      <a:lnTo>
                        <a:pt x="837" y="41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67" name="Vrije vorm: vorm 5666">
                  <a:extLst>
                    <a:ext uri="{FF2B5EF4-FFF2-40B4-BE49-F238E27FC236}">
                      <a16:creationId xmlns:a16="http://schemas.microsoft.com/office/drawing/2014/main" id="{1F95706D-04FB-4ACC-AF4E-5EFAC3970D48}"/>
                    </a:ext>
                  </a:extLst>
                </p:cNvPr>
                <p:cNvSpPr/>
                <p:nvPr/>
              </p:nvSpPr>
              <p:spPr>
                <a:xfrm>
                  <a:off x="6399213" y="1691687"/>
                  <a:ext cx="1794" cy="4425"/>
                </a:xfrm>
                <a:custGeom>
                  <a:avLst/>
                  <a:gdLst>
                    <a:gd name="connsiteX0" fmla="*/ 1495 w 1794"/>
                    <a:gd name="connsiteY0" fmla="*/ 4426 h 4425"/>
                    <a:gd name="connsiteX1" fmla="*/ 1674 w 1794"/>
                    <a:gd name="connsiteY1" fmla="*/ 3708 h 4425"/>
                    <a:gd name="connsiteX2" fmla="*/ 1794 w 1794"/>
                    <a:gd name="connsiteY2" fmla="*/ 2990 h 4425"/>
                    <a:gd name="connsiteX3" fmla="*/ 1794 w 1794"/>
                    <a:gd name="connsiteY3" fmla="*/ 2392 h 4425"/>
                    <a:gd name="connsiteX4" fmla="*/ 1734 w 1794"/>
                    <a:gd name="connsiteY4" fmla="*/ 1854 h 4425"/>
                    <a:gd name="connsiteX5" fmla="*/ 1615 w 1794"/>
                    <a:gd name="connsiteY5" fmla="*/ 1615 h 4425"/>
                    <a:gd name="connsiteX6" fmla="*/ 1555 w 1794"/>
                    <a:gd name="connsiteY6" fmla="*/ 1435 h 4425"/>
                    <a:gd name="connsiteX7" fmla="*/ 1375 w 1794"/>
                    <a:gd name="connsiteY7" fmla="*/ 1136 h 4425"/>
                    <a:gd name="connsiteX8" fmla="*/ 0 w 1794"/>
                    <a:gd name="connsiteY8" fmla="*/ 0 h 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4" h="4425">
                      <a:moveTo>
                        <a:pt x="1495" y="4426"/>
                      </a:moveTo>
                      <a:lnTo>
                        <a:pt x="1674" y="3708"/>
                      </a:lnTo>
                      <a:lnTo>
                        <a:pt x="1794" y="2990"/>
                      </a:lnTo>
                      <a:lnTo>
                        <a:pt x="1794" y="2392"/>
                      </a:lnTo>
                      <a:lnTo>
                        <a:pt x="1734" y="1854"/>
                      </a:lnTo>
                      <a:lnTo>
                        <a:pt x="1615" y="1615"/>
                      </a:lnTo>
                      <a:lnTo>
                        <a:pt x="1555" y="1435"/>
                      </a:lnTo>
                      <a:lnTo>
                        <a:pt x="1375" y="113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68" name="Vrije vorm: vorm 5667">
                  <a:extLst>
                    <a:ext uri="{FF2B5EF4-FFF2-40B4-BE49-F238E27FC236}">
                      <a16:creationId xmlns:a16="http://schemas.microsoft.com/office/drawing/2014/main" id="{5BF657BC-4B1D-42C4-8F3A-104246A370F9}"/>
                    </a:ext>
                  </a:extLst>
                </p:cNvPr>
                <p:cNvSpPr/>
                <p:nvPr/>
              </p:nvSpPr>
              <p:spPr>
                <a:xfrm>
                  <a:off x="6391497" y="1693900"/>
                  <a:ext cx="10466" cy="17583"/>
                </a:xfrm>
                <a:custGeom>
                  <a:avLst/>
                  <a:gdLst>
                    <a:gd name="connsiteX0" fmla="*/ 10466 w 10466"/>
                    <a:gd name="connsiteY0" fmla="*/ 0 h 17583"/>
                    <a:gd name="connsiteX1" fmla="*/ 10107 w 10466"/>
                    <a:gd name="connsiteY1" fmla="*/ 598 h 17583"/>
                    <a:gd name="connsiteX2" fmla="*/ 9151 w 10466"/>
                    <a:gd name="connsiteY2" fmla="*/ 2213 h 17583"/>
                    <a:gd name="connsiteX3" fmla="*/ 7476 w 10466"/>
                    <a:gd name="connsiteY3" fmla="*/ 5024 h 17583"/>
                    <a:gd name="connsiteX4" fmla="*/ 5801 w 10466"/>
                    <a:gd name="connsiteY4" fmla="*/ 7835 h 17583"/>
                    <a:gd name="connsiteX5" fmla="*/ 4127 w 10466"/>
                    <a:gd name="connsiteY5" fmla="*/ 10646 h 17583"/>
                    <a:gd name="connsiteX6" fmla="*/ 2512 w 10466"/>
                    <a:gd name="connsiteY6" fmla="*/ 13337 h 17583"/>
                    <a:gd name="connsiteX7" fmla="*/ 837 w 10466"/>
                    <a:gd name="connsiteY7" fmla="*/ 16148 h 17583"/>
                    <a:gd name="connsiteX8" fmla="*/ 299 w 10466"/>
                    <a:gd name="connsiteY8" fmla="*/ 17045 h 17583"/>
                    <a:gd name="connsiteX9" fmla="*/ 0 w 10466"/>
                    <a:gd name="connsiteY9" fmla="*/ 17583 h 17583"/>
                    <a:gd name="connsiteX10" fmla="*/ 299 w 10466"/>
                    <a:gd name="connsiteY10" fmla="*/ 17045 h 17583"/>
                    <a:gd name="connsiteX11" fmla="*/ 1974 w 10466"/>
                    <a:gd name="connsiteY11" fmla="*/ 14234 h 17583"/>
                    <a:gd name="connsiteX12" fmla="*/ 3649 w 10466"/>
                    <a:gd name="connsiteY12" fmla="*/ 11423 h 17583"/>
                    <a:gd name="connsiteX13" fmla="*/ 5323 w 10466"/>
                    <a:gd name="connsiteY13" fmla="*/ 8612 h 17583"/>
                    <a:gd name="connsiteX14" fmla="*/ 6998 w 10466"/>
                    <a:gd name="connsiteY14" fmla="*/ 5801 h 17583"/>
                    <a:gd name="connsiteX15" fmla="*/ 8672 w 10466"/>
                    <a:gd name="connsiteY15" fmla="*/ 2990 h 17583"/>
                    <a:gd name="connsiteX16" fmla="*/ 10107 w 10466"/>
                    <a:gd name="connsiteY16" fmla="*/ 598 h 17583"/>
                    <a:gd name="connsiteX17" fmla="*/ 10466 w 10466"/>
                    <a:gd name="connsiteY17" fmla="*/ 0 h 1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466" h="17583">
                      <a:moveTo>
                        <a:pt x="10466" y="0"/>
                      </a:moveTo>
                      <a:lnTo>
                        <a:pt x="10107" y="598"/>
                      </a:lnTo>
                      <a:lnTo>
                        <a:pt x="9151" y="2213"/>
                      </a:lnTo>
                      <a:lnTo>
                        <a:pt x="7476" y="5024"/>
                      </a:lnTo>
                      <a:lnTo>
                        <a:pt x="5801" y="7835"/>
                      </a:lnTo>
                      <a:lnTo>
                        <a:pt x="4127" y="10646"/>
                      </a:lnTo>
                      <a:lnTo>
                        <a:pt x="2512" y="13337"/>
                      </a:lnTo>
                      <a:lnTo>
                        <a:pt x="837" y="16148"/>
                      </a:lnTo>
                      <a:lnTo>
                        <a:pt x="299" y="17045"/>
                      </a:lnTo>
                      <a:lnTo>
                        <a:pt x="0" y="17583"/>
                      </a:lnTo>
                      <a:lnTo>
                        <a:pt x="299" y="17045"/>
                      </a:lnTo>
                      <a:lnTo>
                        <a:pt x="1974" y="14234"/>
                      </a:lnTo>
                      <a:lnTo>
                        <a:pt x="3649" y="11423"/>
                      </a:lnTo>
                      <a:lnTo>
                        <a:pt x="5323" y="8612"/>
                      </a:lnTo>
                      <a:lnTo>
                        <a:pt x="6998" y="5801"/>
                      </a:lnTo>
                      <a:lnTo>
                        <a:pt x="8672" y="2990"/>
                      </a:lnTo>
                      <a:lnTo>
                        <a:pt x="10107" y="598"/>
                      </a:lnTo>
                      <a:lnTo>
                        <a:pt x="10466" y="0"/>
                      </a:lnTo>
                    </a:path>
                  </a:pathLst>
                </a:custGeom>
                <a:noFill/>
                <a:ln w="6350" cap="rnd">
                  <a:solidFill>
                    <a:schemeClr val="bg1">
                      <a:alpha val="40000"/>
                    </a:schemeClr>
                  </a:solidFill>
                  <a:prstDash val="solid"/>
                  <a:round/>
                </a:ln>
              </p:spPr>
              <p:txBody>
                <a:bodyPr rtlCol="0" anchor="ctr"/>
                <a:lstStyle/>
                <a:p>
                  <a:endParaRPr lang="en-GB"/>
                </a:p>
              </p:txBody>
            </p:sp>
            <p:sp>
              <p:nvSpPr>
                <p:cNvPr id="5669" name="Vrije vorm: vorm 5668">
                  <a:extLst>
                    <a:ext uri="{FF2B5EF4-FFF2-40B4-BE49-F238E27FC236}">
                      <a16:creationId xmlns:a16="http://schemas.microsoft.com/office/drawing/2014/main" id="{A3533A9A-0F81-4E0F-887A-B657494205B2}"/>
                    </a:ext>
                  </a:extLst>
                </p:cNvPr>
                <p:cNvSpPr/>
                <p:nvPr/>
              </p:nvSpPr>
              <p:spPr>
                <a:xfrm>
                  <a:off x="6388627" y="1691747"/>
                  <a:ext cx="10825" cy="17882"/>
                </a:xfrm>
                <a:custGeom>
                  <a:avLst/>
                  <a:gdLst>
                    <a:gd name="connsiteX0" fmla="*/ 359 w 10825"/>
                    <a:gd name="connsiteY0" fmla="*/ 17045 h 17882"/>
                    <a:gd name="connsiteX1" fmla="*/ 479 w 10825"/>
                    <a:gd name="connsiteY1" fmla="*/ 17105 h 17882"/>
                    <a:gd name="connsiteX2" fmla="*/ 479 w 10825"/>
                    <a:gd name="connsiteY2" fmla="*/ 17105 h 17882"/>
                    <a:gd name="connsiteX3" fmla="*/ 778 w 10825"/>
                    <a:gd name="connsiteY3" fmla="*/ 17225 h 17882"/>
                    <a:gd name="connsiteX4" fmla="*/ 1316 w 10825"/>
                    <a:gd name="connsiteY4" fmla="*/ 17165 h 17882"/>
                    <a:gd name="connsiteX5" fmla="*/ 1615 w 10825"/>
                    <a:gd name="connsiteY5" fmla="*/ 16985 h 17882"/>
                    <a:gd name="connsiteX6" fmla="*/ 1675 w 10825"/>
                    <a:gd name="connsiteY6" fmla="*/ 16925 h 17882"/>
                    <a:gd name="connsiteX7" fmla="*/ 1914 w 10825"/>
                    <a:gd name="connsiteY7" fmla="*/ 16806 h 17882"/>
                    <a:gd name="connsiteX8" fmla="*/ 2572 w 10825"/>
                    <a:gd name="connsiteY8" fmla="*/ 16268 h 17882"/>
                    <a:gd name="connsiteX9" fmla="*/ 3229 w 10825"/>
                    <a:gd name="connsiteY9" fmla="*/ 15490 h 17882"/>
                    <a:gd name="connsiteX10" fmla="*/ 3828 w 10825"/>
                    <a:gd name="connsiteY10" fmla="*/ 14593 h 17882"/>
                    <a:gd name="connsiteX11" fmla="*/ 5502 w 10825"/>
                    <a:gd name="connsiteY11" fmla="*/ 11782 h 17882"/>
                    <a:gd name="connsiteX12" fmla="*/ 7177 w 10825"/>
                    <a:gd name="connsiteY12" fmla="*/ 8971 h 17882"/>
                    <a:gd name="connsiteX13" fmla="*/ 8851 w 10825"/>
                    <a:gd name="connsiteY13" fmla="*/ 6160 h 17882"/>
                    <a:gd name="connsiteX14" fmla="*/ 10466 w 10825"/>
                    <a:gd name="connsiteY14" fmla="*/ 3409 h 17882"/>
                    <a:gd name="connsiteX15" fmla="*/ 10705 w 10825"/>
                    <a:gd name="connsiteY15" fmla="*/ 2691 h 17882"/>
                    <a:gd name="connsiteX16" fmla="*/ 10825 w 10825"/>
                    <a:gd name="connsiteY16" fmla="*/ 1974 h 17882"/>
                    <a:gd name="connsiteX17" fmla="*/ 10825 w 10825"/>
                    <a:gd name="connsiteY17" fmla="*/ 1376 h 17882"/>
                    <a:gd name="connsiteX18" fmla="*/ 10765 w 10825"/>
                    <a:gd name="connsiteY18" fmla="*/ 1017 h 17882"/>
                    <a:gd name="connsiteX19" fmla="*/ 10765 w 10825"/>
                    <a:gd name="connsiteY19" fmla="*/ 897 h 17882"/>
                    <a:gd name="connsiteX20" fmla="*/ 10586 w 10825"/>
                    <a:gd name="connsiteY20" fmla="*/ 478 h 17882"/>
                    <a:gd name="connsiteX21" fmla="*/ 10406 w 10825"/>
                    <a:gd name="connsiteY21" fmla="*/ 299 h 17882"/>
                    <a:gd name="connsiteX22" fmla="*/ 10406 w 10825"/>
                    <a:gd name="connsiteY22" fmla="*/ 299 h 17882"/>
                    <a:gd name="connsiteX23" fmla="*/ 10347 w 10825"/>
                    <a:gd name="connsiteY23" fmla="*/ 179 h 17882"/>
                    <a:gd name="connsiteX24" fmla="*/ 10048 w 10825"/>
                    <a:gd name="connsiteY24" fmla="*/ 0 h 17882"/>
                    <a:gd name="connsiteX25" fmla="*/ 9629 w 10825"/>
                    <a:gd name="connsiteY25" fmla="*/ 0 h 17882"/>
                    <a:gd name="connsiteX26" fmla="*/ 9210 w 10825"/>
                    <a:gd name="connsiteY26" fmla="*/ 120 h 17882"/>
                    <a:gd name="connsiteX27" fmla="*/ 8732 w 10825"/>
                    <a:gd name="connsiteY27" fmla="*/ 359 h 17882"/>
                    <a:gd name="connsiteX28" fmla="*/ 8253 w 10825"/>
                    <a:gd name="connsiteY28" fmla="*/ 718 h 17882"/>
                    <a:gd name="connsiteX29" fmla="*/ 7715 w 10825"/>
                    <a:gd name="connsiteY29" fmla="*/ 1196 h 17882"/>
                    <a:gd name="connsiteX30" fmla="*/ 6340 w 10825"/>
                    <a:gd name="connsiteY30" fmla="*/ 3529 h 17882"/>
                    <a:gd name="connsiteX31" fmla="*/ 4665 w 10825"/>
                    <a:gd name="connsiteY31" fmla="*/ 6340 h 17882"/>
                    <a:gd name="connsiteX32" fmla="*/ 2990 w 10825"/>
                    <a:gd name="connsiteY32" fmla="*/ 9150 h 17882"/>
                    <a:gd name="connsiteX33" fmla="*/ 1316 w 10825"/>
                    <a:gd name="connsiteY33" fmla="*/ 11961 h 17882"/>
                    <a:gd name="connsiteX34" fmla="*/ 1136 w 10825"/>
                    <a:gd name="connsiteY34" fmla="*/ 12260 h 17882"/>
                    <a:gd name="connsiteX35" fmla="*/ 658 w 10825"/>
                    <a:gd name="connsiteY35" fmla="*/ 13217 h 17882"/>
                    <a:gd name="connsiteX36" fmla="*/ 299 w 10825"/>
                    <a:gd name="connsiteY36" fmla="*/ 14174 h 17882"/>
                    <a:gd name="connsiteX37" fmla="*/ 60 w 10825"/>
                    <a:gd name="connsiteY37" fmla="*/ 15071 h 17882"/>
                    <a:gd name="connsiteX38" fmla="*/ 0 w 10825"/>
                    <a:gd name="connsiteY38" fmla="*/ 15909 h 17882"/>
                    <a:gd name="connsiteX39" fmla="*/ 120 w 10825"/>
                    <a:gd name="connsiteY39" fmla="*/ 16567 h 17882"/>
                    <a:gd name="connsiteX40" fmla="*/ 359 w 10825"/>
                    <a:gd name="connsiteY40" fmla="*/ 17045 h 17882"/>
                    <a:gd name="connsiteX41" fmla="*/ 479 w 10825"/>
                    <a:gd name="connsiteY41" fmla="*/ 17105 h 17882"/>
                    <a:gd name="connsiteX42" fmla="*/ 479 w 10825"/>
                    <a:gd name="connsiteY42" fmla="*/ 17105 h 17882"/>
                    <a:gd name="connsiteX43" fmla="*/ 1316 w 10825"/>
                    <a:gd name="connsiteY43" fmla="*/ 17523 h 17882"/>
                    <a:gd name="connsiteX44" fmla="*/ 2034 w 10825"/>
                    <a:gd name="connsiteY44" fmla="*/ 17882 h 1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825" h="17882">
                      <a:moveTo>
                        <a:pt x="359" y="17045"/>
                      </a:moveTo>
                      <a:lnTo>
                        <a:pt x="479" y="17105"/>
                      </a:lnTo>
                      <a:lnTo>
                        <a:pt x="479" y="17105"/>
                      </a:lnTo>
                      <a:lnTo>
                        <a:pt x="778" y="17225"/>
                      </a:lnTo>
                      <a:lnTo>
                        <a:pt x="1316" y="17165"/>
                      </a:lnTo>
                      <a:lnTo>
                        <a:pt x="1615" y="16985"/>
                      </a:lnTo>
                      <a:lnTo>
                        <a:pt x="1675" y="16925"/>
                      </a:lnTo>
                      <a:lnTo>
                        <a:pt x="1914" y="16806"/>
                      </a:lnTo>
                      <a:lnTo>
                        <a:pt x="2572" y="16268"/>
                      </a:lnTo>
                      <a:lnTo>
                        <a:pt x="3229" y="15490"/>
                      </a:lnTo>
                      <a:lnTo>
                        <a:pt x="3828" y="14593"/>
                      </a:lnTo>
                      <a:lnTo>
                        <a:pt x="5502" y="11782"/>
                      </a:lnTo>
                      <a:lnTo>
                        <a:pt x="7177" y="8971"/>
                      </a:lnTo>
                      <a:lnTo>
                        <a:pt x="8851" y="6160"/>
                      </a:lnTo>
                      <a:lnTo>
                        <a:pt x="10466" y="3409"/>
                      </a:lnTo>
                      <a:lnTo>
                        <a:pt x="10705" y="2691"/>
                      </a:lnTo>
                      <a:lnTo>
                        <a:pt x="10825" y="1974"/>
                      </a:lnTo>
                      <a:lnTo>
                        <a:pt x="10825" y="1376"/>
                      </a:lnTo>
                      <a:lnTo>
                        <a:pt x="10765" y="1017"/>
                      </a:lnTo>
                      <a:lnTo>
                        <a:pt x="10765" y="897"/>
                      </a:lnTo>
                      <a:lnTo>
                        <a:pt x="10586" y="478"/>
                      </a:lnTo>
                      <a:lnTo>
                        <a:pt x="10406" y="299"/>
                      </a:lnTo>
                      <a:lnTo>
                        <a:pt x="10406" y="299"/>
                      </a:lnTo>
                      <a:lnTo>
                        <a:pt x="10347" y="179"/>
                      </a:lnTo>
                      <a:lnTo>
                        <a:pt x="10048" y="0"/>
                      </a:lnTo>
                      <a:lnTo>
                        <a:pt x="9629" y="0"/>
                      </a:lnTo>
                      <a:lnTo>
                        <a:pt x="9210" y="120"/>
                      </a:lnTo>
                      <a:lnTo>
                        <a:pt x="8732" y="359"/>
                      </a:lnTo>
                      <a:lnTo>
                        <a:pt x="8253" y="718"/>
                      </a:lnTo>
                      <a:lnTo>
                        <a:pt x="7715" y="1196"/>
                      </a:lnTo>
                      <a:lnTo>
                        <a:pt x="6340" y="3529"/>
                      </a:lnTo>
                      <a:lnTo>
                        <a:pt x="4665" y="6340"/>
                      </a:lnTo>
                      <a:lnTo>
                        <a:pt x="2990" y="9150"/>
                      </a:lnTo>
                      <a:lnTo>
                        <a:pt x="1316" y="11961"/>
                      </a:lnTo>
                      <a:lnTo>
                        <a:pt x="1136" y="12260"/>
                      </a:lnTo>
                      <a:lnTo>
                        <a:pt x="658" y="13217"/>
                      </a:lnTo>
                      <a:lnTo>
                        <a:pt x="299" y="14174"/>
                      </a:lnTo>
                      <a:lnTo>
                        <a:pt x="60" y="15071"/>
                      </a:lnTo>
                      <a:lnTo>
                        <a:pt x="0" y="15909"/>
                      </a:lnTo>
                      <a:lnTo>
                        <a:pt x="120" y="16567"/>
                      </a:lnTo>
                      <a:lnTo>
                        <a:pt x="359" y="17045"/>
                      </a:lnTo>
                      <a:lnTo>
                        <a:pt x="479" y="17105"/>
                      </a:lnTo>
                      <a:lnTo>
                        <a:pt x="479" y="17105"/>
                      </a:lnTo>
                      <a:lnTo>
                        <a:pt x="1316" y="17523"/>
                      </a:lnTo>
                      <a:lnTo>
                        <a:pt x="2034" y="17882"/>
                      </a:lnTo>
                    </a:path>
                  </a:pathLst>
                </a:custGeom>
                <a:noFill/>
                <a:ln w="6350" cap="rnd">
                  <a:solidFill>
                    <a:schemeClr val="bg1">
                      <a:alpha val="40000"/>
                    </a:schemeClr>
                  </a:solidFill>
                  <a:prstDash val="solid"/>
                  <a:round/>
                </a:ln>
              </p:spPr>
              <p:txBody>
                <a:bodyPr rtlCol="0" anchor="ctr"/>
                <a:lstStyle/>
                <a:p>
                  <a:endParaRPr lang="en-GB"/>
                </a:p>
              </p:txBody>
            </p:sp>
            <p:sp>
              <p:nvSpPr>
                <p:cNvPr id="5670" name="Vrije vorm: vorm 5669">
                  <a:extLst>
                    <a:ext uri="{FF2B5EF4-FFF2-40B4-BE49-F238E27FC236}">
                      <a16:creationId xmlns:a16="http://schemas.microsoft.com/office/drawing/2014/main" id="{8B257F16-14BD-4FCC-AC73-1AE5908B556B}"/>
                    </a:ext>
                  </a:extLst>
                </p:cNvPr>
                <p:cNvSpPr/>
                <p:nvPr/>
              </p:nvSpPr>
              <p:spPr>
                <a:xfrm>
                  <a:off x="6399033" y="1691687"/>
                  <a:ext cx="179" cy="298"/>
                </a:xfrm>
                <a:custGeom>
                  <a:avLst/>
                  <a:gdLst>
                    <a:gd name="connsiteX0" fmla="*/ 0 w 179"/>
                    <a:gd name="connsiteY0" fmla="*/ 299 h 298"/>
                    <a:gd name="connsiteX1" fmla="*/ 180 w 179"/>
                    <a:gd name="connsiteY1" fmla="*/ 0 h 298"/>
                    <a:gd name="connsiteX2" fmla="*/ 0 w 179"/>
                    <a:gd name="connsiteY2" fmla="*/ 299 h 298"/>
                  </a:gdLst>
                  <a:ahLst/>
                  <a:cxnLst>
                    <a:cxn ang="0">
                      <a:pos x="connsiteX0" y="connsiteY0"/>
                    </a:cxn>
                    <a:cxn ang="0">
                      <a:pos x="connsiteX1" y="connsiteY1"/>
                    </a:cxn>
                    <a:cxn ang="0">
                      <a:pos x="connsiteX2" y="connsiteY2"/>
                    </a:cxn>
                  </a:cxnLst>
                  <a:rect l="l" t="t" r="r" b="b"/>
                  <a:pathLst>
                    <a:path w="179" h="298">
                      <a:moveTo>
                        <a:pt x="0" y="299"/>
                      </a:moveTo>
                      <a:lnTo>
                        <a:pt x="180" y="0"/>
                      </a:lnTo>
                      <a:lnTo>
                        <a:pt x="0" y="299"/>
                      </a:lnTo>
                    </a:path>
                  </a:pathLst>
                </a:custGeom>
                <a:noFill/>
                <a:ln w="6350" cap="rnd">
                  <a:solidFill>
                    <a:schemeClr val="bg1">
                      <a:alpha val="40000"/>
                    </a:schemeClr>
                  </a:solidFill>
                  <a:prstDash val="solid"/>
                  <a:round/>
                </a:ln>
              </p:spPr>
              <p:txBody>
                <a:bodyPr rtlCol="0" anchor="ctr"/>
                <a:lstStyle/>
                <a:p>
                  <a:endParaRPr lang="en-GB"/>
                </a:p>
              </p:txBody>
            </p:sp>
            <p:sp>
              <p:nvSpPr>
                <p:cNvPr id="5671" name="Vrije vorm: vorm 5670">
                  <a:extLst>
                    <a:ext uri="{FF2B5EF4-FFF2-40B4-BE49-F238E27FC236}">
                      <a16:creationId xmlns:a16="http://schemas.microsoft.com/office/drawing/2014/main" id="{D6D2CD27-B2A7-480B-98F5-9AD01B0A839F}"/>
                    </a:ext>
                  </a:extLst>
                </p:cNvPr>
                <p:cNvSpPr/>
                <p:nvPr/>
              </p:nvSpPr>
              <p:spPr>
                <a:xfrm>
                  <a:off x="6388986" y="1708852"/>
                  <a:ext cx="119" cy="239"/>
                </a:xfrm>
                <a:custGeom>
                  <a:avLst/>
                  <a:gdLst>
                    <a:gd name="connsiteX0" fmla="*/ 120 w 119"/>
                    <a:gd name="connsiteY0" fmla="*/ 0 h 239"/>
                    <a:gd name="connsiteX1" fmla="*/ 0 w 119"/>
                    <a:gd name="connsiteY1" fmla="*/ 239 h 239"/>
                    <a:gd name="connsiteX2" fmla="*/ 120 w 119"/>
                    <a:gd name="connsiteY2" fmla="*/ 0 h 239"/>
                  </a:gdLst>
                  <a:ahLst/>
                  <a:cxnLst>
                    <a:cxn ang="0">
                      <a:pos x="connsiteX0" y="connsiteY0"/>
                    </a:cxn>
                    <a:cxn ang="0">
                      <a:pos x="connsiteX1" y="connsiteY1"/>
                    </a:cxn>
                    <a:cxn ang="0">
                      <a:pos x="connsiteX2" y="connsiteY2"/>
                    </a:cxn>
                  </a:cxnLst>
                  <a:rect l="l" t="t" r="r" b="b"/>
                  <a:pathLst>
                    <a:path w="119" h="239">
                      <a:moveTo>
                        <a:pt x="120" y="0"/>
                      </a:moveTo>
                      <a:lnTo>
                        <a:pt x="0" y="239"/>
                      </a:lnTo>
                      <a:lnTo>
                        <a:pt x="120" y="0"/>
                      </a:lnTo>
                    </a:path>
                  </a:pathLst>
                </a:custGeom>
                <a:noFill/>
                <a:ln w="6350" cap="rnd">
                  <a:solidFill>
                    <a:schemeClr val="bg1">
                      <a:alpha val="40000"/>
                    </a:schemeClr>
                  </a:solidFill>
                  <a:prstDash val="solid"/>
                  <a:round/>
                </a:ln>
              </p:spPr>
              <p:txBody>
                <a:bodyPr rtlCol="0" anchor="ctr"/>
                <a:lstStyle/>
                <a:p>
                  <a:endParaRPr lang="en-GB"/>
                </a:p>
              </p:txBody>
            </p:sp>
            <p:sp>
              <p:nvSpPr>
                <p:cNvPr id="5672" name="Vrije vorm: vorm 5671">
                  <a:extLst>
                    <a:ext uri="{FF2B5EF4-FFF2-40B4-BE49-F238E27FC236}">
                      <a16:creationId xmlns:a16="http://schemas.microsoft.com/office/drawing/2014/main" id="{4AB52EB2-E9F6-4F81-BDF1-78DE18531827}"/>
                    </a:ext>
                  </a:extLst>
                </p:cNvPr>
                <p:cNvSpPr/>
                <p:nvPr/>
              </p:nvSpPr>
              <p:spPr>
                <a:xfrm>
                  <a:off x="6390660" y="1707297"/>
                  <a:ext cx="3468" cy="2511"/>
                </a:xfrm>
                <a:custGeom>
                  <a:avLst/>
                  <a:gdLst>
                    <a:gd name="connsiteX0" fmla="*/ 0 w 3468"/>
                    <a:gd name="connsiteY0" fmla="*/ 2332 h 2511"/>
                    <a:gd name="connsiteX1" fmla="*/ 418 w 3468"/>
                    <a:gd name="connsiteY1" fmla="*/ 2512 h 2511"/>
                    <a:gd name="connsiteX2" fmla="*/ 478 w 3468"/>
                    <a:gd name="connsiteY2" fmla="*/ 2512 h 2511"/>
                    <a:gd name="connsiteX3" fmla="*/ 957 w 3468"/>
                    <a:gd name="connsiteY3" fmla="*/ 2452 h 2511"/>
                    <a:gd name="connsiteX4" fmla="*/ 1555 w 3468"/>
                    <a:gd name="connsiteY4" fmla="*/ 2153 h 2511"/>
                    <a:gd name="connsiteX5" fmla="*/ 2213 w 3468"/>
                    <a:gd name="connsiteY5" fmla="*/ 1615 h 2511"/>
                    <a:gd name="connsiteX6" fmla="*/ 2871 w 3468"/>
                    <a:gd name="connsiteY6" fmla="*/ 897 h 2511"/>
                    <a:gd name="connsiteX7" fmla="*/ 3469 w 3468"/>
                    <a:gd name="connsiteY7" fmla="*/ 0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8" h="2511">
                      <a:moveTo>
                        <a:pt x="0" y="2332"/>
                      </a:moveTo>
                      <a:lnTo>
                        <a:pt x="418" y="2512"/>
                      </a:lnTo>
                      <a:lnTo>
                        <a:pt x="478" y="2512"/>
                      </a:lnTo>
                      <a:lnTo>
                        <a:pt x="957" y="2452"/>
                      </a:lnTo>
                      <a:lnTo>
                        <a:pt x="1555" y="2153"/>
                      </a:lnTo>
                      <a:lnTo>
                        <a:pt x="2213" y="1615"/>
                      </a:lnTo>
                      <a:lnTo>
                        <a:pt x="2871" y="897"/>
                      </a:lnTo>
                      <a:lnTo>
                        <a:pt x="3469" y="0"/>
                      </a:lnTo>
                    </a:path>
                  </a:pathLst>
                </a:custGeom>
                <a:noFill/>
                <a:ln w="6350" cap="rnd">
                  <a:solidFill>
                    <a:schemeClr val="bg1">
                      <a:alpha val="40000"/>
                    </a:schemeClr>
                  </a:solidFill>
                  <a:prstDash val="solid"/>
                  <a:round/>
                </a:ln>
              </p:spPr>
              <p:txBody>
                <a:bodyPr rtlCol="0" anchor="ctr"/>
                <a:lstStyle/>
                <a:p>
                  <a:endParaRPr lang="en-GB"/>
                </a:p>
              </p:txBody>
            </p:sp>
            <p:sp>
              <p:nvSpPr>
                <p:cNvPr id="5673" name="Vrije vorm: vorm 5672">
                  <a:extLst>
                    <a:ext uri="{FF2B5EF4-FFF2-40B4-BE49-F238E27FC236}">
                      <a16:creationId xmlns:a16="http://schemas.microsoft.com/office/drawing/2014/main" id="{C3C0CC10-48B2-435E-BC30-D9BA3A22F726}"/>
                    </a:ext>
                  </a:extLst>
                </p:cNvPr>
                <p:cNvSpPr/>
                <p:nvPr/>
              </p:nvSpPr>
              <p:spPr>
                <a:xfrm>
                  <a:off x="6398913" y="1691926"/>
                  <a:ext cx="1674" cy="897"/>
                </a:xfrm>
                <a:custGeom>
                  <a:avLst/>
                  <a:gdLst>
                    <a:gd name="connsiteX0" fmla="*/ 0 w 1674"/>
                    <a:gd name="connsiteY0" fmla="*/ 0 h 897"/>
                    <a:gd name="connsiteX1" fmla="*/ 120 w 1674"/>
                    <a:gd name="connsiteY1" fmla="*/ 60 h 897"/>
                    <a:gd name="connsiteX2" fmla="*/ 120 w 1674"/>
                    <a:gd name="connsiteY2" fmla="*/ 60 h 897"/>
                    <a:gd name="connsiteX3" fmla="*/ 1675 w 1674"/>
                    <a:gd name="connsiteY3" fmla="*/ 897 h 897"/>
                  </a:gdLst>
                  <a:ahLst/>
                  <a:cxnLst>
                    <a:cxn ang="0">
                      <a:pos x="connsiteX0" y="connsiteY0"/>
                    </a:cxn>
                    <a:cxn ang="0">
                      <a:pos x="connsiteX1" y="connsiteY1"/>
                    </a:cxn>
                    <a:cxn ang="0">
                      <a:pos x="connsiteX2" y="connsiteY2"/>
                    </a:cxn>
                    <a:cxn ang="0">
                      <a:pos x="connsiteX3" y="connsiteY3"/>
                    </a:cxn>
                  </a:cxnLst>
                  <a:rect l="l" t="t" r="r" b="b"/>
                  <a:pathLst>
                    <a:path w="1674" h="897">
                      <a:moveTo>
                        <a:pt x="0" y="0"/>
                      </a:moveTo>
                      <a:lnTo>
                        <a:pt x="120" y="60"/>
                      </a:lnTo>
                      <a:lnTo>
                        <a:pt x="120" y="60"/>
                      </a:lnTo>
                      <a:lnTo>
                        <a:pt x="1675" y="897"/>
                      </a:lnTo>
                    </a:path>
                  </a:pathLst>
                </a:custGeom>
                <a:noFill/>
                <a:ln w="6350" cap="rnd">
                  <a:solidFill>
                    <a:schemeClr val="bg1">
                      <a:alpha val="40000"/>
                    </a:schemeClr>
                  </a:solidFill>
                  <a:prstDash val="solid"/>
                  <a:round/>
                </a:ln>
              </p:spPr>
              <p:txBody>
                <a:bodyPr rtlCol="0" anchor="ctr"/>
                <a:lstStyle/>
                <a:p>
                  <a:endParaRPr lang="en-GB"/>
                </a:p>
              </p:txBody>
            </p:sp>
            <p:sp>
              <p:nvSpPr>
                <p:cNvPr id="5674" name="Vrije vorm: vorm 5673">
                  <a:extLst>
                    <a:ext uri="{FF2B5EF4-FFF2-40B4-BE49-F238E27FC236}">
                      <a16:creationId xmlns:a16="http://schemas.microsoft.com/office/drawing/2014/main" id="{DDBB1FE7-020F-44F9-839E-257E06008FBA}"/>
                    </a:ext>
                  </a:extLst>
                </p:cNvPr>
                <p:cNvSpPr/>
                <p:nvPr/>
              </p:nvSpPr>
              <p:spPr>
                <a:xfrm>
                  <a:off x="6418829" y="1763217"/>
                  <a:ext cx="112856" cy="70692"/>
                </a:xfrm>
                <a:custGeom>
                  <a:avLst/>
                  <a:gdLst>
                    <a:gd name="connsiteX0" fmla="*/ 100536 w 112856"/>
                    <a:gd name="connsiteY0" fmla="*/ 50298 h 70692"/>
                    <a:gd name="connsiteX1" fmla="*/ 100536 w 112856"/>
                    <a:gd name="connsiteY1" fmla="*/ 50298 h 70692"/>
                    <a:gd name="connsiteX2" fmla="*/ 102749 w 112856"/>
                    <a:gd name="connsiteY2" fmla="*/ 52331 h 70692"/>
                    <a:gd name="connsiteX3" fmla="*/ 104902 w 112856"/>
                    <a:gd name="connsiteY3" fmla="*/ 54365 h 70692"/>
                    <a:gd name="connsiteX4" fmla="*/ 107055 w 112856"/>
                    <a:gd name="connsiteY4" fmla="*/ 56398 h 70692"/>
                    <a:gd name="connsiteX5" fmla="*/ 107773 w 112856"/>
                    <a:gd name="connsiteY5" fmla="*/ 57056 h 70692"/>
                    <a:gd name="connsiteX6" fmla="*/ 109627 w 112856"/>
                    <a:gd name="connsiteY6" fmla="*/ 59389 h 70692"/>
                    <a:gd name="connsiteX7" fmla="*/ 111481 w 112856"/>
                    <a:gd name="connsiteY7" fmla="*/ 61721 h 70692"/>
                    <a:gd name="connsiteX8" fmla="*/ 112079 w 112856"/>
                    <a:gd name="connsiteY8" fmla="*/ 62499 h 70692"/>
                    <a:gd name="connsiteX9" fmla="*/ 112198 w 112856"/>
                    <a:gd name="connsiteY9" fmla="*/ 63156 h 70692"/>
                    <a:gd name="connsiteX10" fmla="*/ 112796 w 112856"/>
                    <a:gd name="connsiteY10" fmla="*/ 65967 h 70692"/>
                    <a:gd name="connsiteX11" fmla="*/ 112856 w 112856"/>
                    <a:gd name="connsiteY11" fmla="*/ 66147 h 70692"/>
                    <a:gd name="connsiteX12" fmla="*/ 111421 w 112856"/>
                    <a:gd name="connsiteY12" fmla="*/ 68599 h 70692"/>
                    <a:gd name="connsiteX13" fmla="*/ 111122 w 112856"/>
                    <a:gd name="connsiteY13" fmla="*/ 69137 h 70692"/>
                    <a:gd name="connsiteX14" fmla="*/ 108670 w 112856"/>
                    <a:gd name="connsiteY14" fmla="*/ 70393 h 70692"/>
                    <a:gd name="connsiteX15" fmla="*/ 108072 w 112856"/>
                    <a:gd name="connsiteY15" fmla="*/ 70692 h 70692"/>
                    <a:gd name="connsiteX16" fmla="*/ 105141 w 112856"/>
                    <a:gd name="connsiteY16" fmla="*/ 70333 h 70692"/>
                    <a:gd name="connsiteX17" fmla="*/ 102211 w 112856"/>
                    <a:gd name="connsiteY17" fmla="*/ 69974 h 70692"/>
                    <a:gd name="connsiteX18" fmla="*/ 101074 w 112856"/>
                    <a:gd name="connsiteY18" fmla="*/ 69855 h 70692"/>
                    <a:gd name="connsiteX19" fmla="*/ 98263 w 112856"/>
                    <a:gd name="connsiteY19" fmla="*/ 68958 h 70692"/>
                    <a:gd name="connsiteX20" fmla="*/ 95452 w 112856"/>
                    <a:gd name="connsiteY20" fmla="*/ 68061 h 70692"/>
                    <a:gd name="connsiteX21" fmla="*/ 92641 w 112856"/>
                    <a:gd name="connsiteY21" fmla="*/ 67163 h 70692"/>
                    <a:gd name="connsiteX22" fmla="*/ 90488 w 112856"/>
                    <a:gd name="connsiteY22" fmla="*/ 66446 h 70692"/>
                    <a:gd name="connsiteX23" fmla="*/ 87737 w 112856"/>
                    <a:gd name="connsiteY23" fmla="*/ 65250 h 70692"/>
                    <a:gd name="connsiteX24" fmla="*/ 84986 w 112856"/>
                    <a:gd name="connsiteY24" fmla="*/ 64054 h 70692"/>
                    <a:gd name="connsiteX25" fmla="*/ 82235 w 112856"/>
                    <a:gd name="connsiteY25" fmla="*/ 62857 h 70692"/>
                    <a:gd name="connsiteX26" fmla="*/ 79484 w 112856"/>
                    <a:gd name="connsiteY26" fmla="*/ 61661 h 70692"/>
                    <a:gd name="connsiteX27" fmla="*/ 76793 w 112856"/>
                    <a:gd name="connsiteY27" fmla="*/ 60465 h 70692"/>
                    <a:gd name="connsiteX28" fmla="*/ 74161 w 112856"/>
                    <a:gd name="connsiteY28" fmla="*/ 59090 h 70692"/>
                    <a:gd name="connsiteX29" fmla="*/ 71530 w 112856"/>
                    <a:gd name="connsiteY29" fmla="*/ 57714 h 70692"/>
                    <a:gd name="connsiteX30" fmla="*/ 68898 w 112856"/>
                    <a:gd name="connsiteY30" fmla="*/ 56338 h 70692"/>
                    <a:gd name="connsiteX31" fmla="*/ 66267 w 112856"/>
                    <a:gd name="connsiteY31" fmla="*/ 54963 h 70692"/>
                    <a:gd name="connsiteX32" fmla="*/ 63635 w 112856"/>
                    <a:gd name="connsiteY32" fmla="*/ 53587 h 70692"/>
                    <a:gd name="connsiteX33" fmla="*/ 61362 w 112856"/>
                    <a:gd name="connsiteY33" fmla="*/ 52451 h 70692"/>
                    <a:gd name="connsiteX34" fmla="*/ 58791 w 112856"/>
                    <a:gd name="connsiteY34" fmla="*/ 50956 h 70692"/>
                    <a:gd name="connsiteX35" fmla="*/ 56219 w 112856"/>
                    <a:gd name="connsiteY35" fmla="*/ 49461 h 70692"/>
                    <a:gd name="connsiteX36" fmla="*/ 54305 w 112856"/>
                    <a:gd name="connsiteY36" fmla="*/ 48324 h 70692"/>
                    <a:gd name="connsiteX37" fmla="*/ 51733 w 112856"/>
                    <a:gd name="connsiteY37" fmla="*/ 46829 h 70692"/>
                    <a:gd name="connsiteX38" fmla="*/ 49162 w 112856"/>
                    <a:gd name="connsiteY38" fmla="*/ 45334 h 70692"/>
                    <a:gd name="connsiteX39" fmla="*/ 46590 w 112856"/>
                    <a:gd name="connsiteY39" fmla="*/ 43839 h 70692"/>
                    <a:gd name="connsiteX40" fmla="*/ 45394 w 112856"/>
                    <a:gd name="connsiteY40" fmla="*/ 43121 h 70692"/>
                    <a:gd name="connsiteX41" fmla="*/ 42882 w 112856"/>
                    <a:gd name="connsiteY41" fmla="*/ 41506 h 70692"/>
                    <a:gd name="connsiteX42" fmla="*/ 40370 w 112856"/>
                    <a:gd name="connsiteY42" fmla="*/ 39891 h 70692"/>
                    <a:gd name="connsiteX43" fmla="*/ 38576 w 112856"/>
                    <a:gd name="connsiteY43" fmla="*/ 38755 h 70692"/>
                    <a:gd name="connsiteX44" fmla="*/ 36064 w 112856"/>
                    <a:gd name="connsiteY44" fmla="*/ 37140 h 70692"/>
                    <a:gd name="connsiteX45" fmla="*/ 33552 w 112856"/>
                    <a:gd name="connsiteY45" fmla="*/ 35526 h 70692"/>
                    <a:gd name="connsiteX46" fmla="*/ 31040 w 112856"/>
                    <a:gd name="connsiteY46" fmla="*/ 33911 h 70692"/>
                    <a:gd name="connsiteX47" fmla="*/ 30203 w 112856"/>
                    <a:gd name="connsiteY47" fmla="*/ 33372 h 70692"/>
                    <a:gd name="connsiteX48" fmla="*/ 27811 w 112856"/>
                    <a:gd name="connsiteY48" fmla="*/ 31638 h 70692"/>
                    <a:gd name="connsiteX49" fmla="*/ 25418 w 112856"/>
                    <a:gd name="connsiteY49" fmla="*/ 29904 h 70692"/>
                    <a:gd name="connsiteX50" fmla="*/ 23026 w 112856"/>
                    <a:gd name="connsiteY50" fmla="*/ 28169 h 70692"/>
                    <a:gd name="connsiteX51" fmla="*/ 20634 w 112856"/>
                    <a:gd name="connsiteY51" fmla="*/ 26435 h 70692"/>
                    <a:gd name="connsiteX52" fmla="*/ 18241 w 112856"/>
                    <a:gd name="connsiteY52" fmla="*/ 24700 h 70692"/>
                    <a:gd name="connsiteX53" fmla="*/ 17404 w 112856"/>
                    <a:gd name="connsiteY53" fmla="*/ 24043 h 70692"/>
                    <a:gd name="connsiteX54" fmla="*/ 15191 w 112856"/>
                    <a:gd name="connsiteY54" fmla="*/ 22069 h 70692"/>
                    <a:gd name="connsiteX55" fmla="*/ 12978 w 112856"/>
                    <a:gd name="connsiteY55" fmla="*/ 20155 h 70692"/>
                    <a:gd name="connsiteX56" fmla="*/ 11065 w 112856"/>
                    <a:gd name="connsiteY56" fmla="*/ 18480 h 70692"/>
                    <a:gd name="connsiteX57" fmla="*/ 8852 w 112856"/>
                    <a:gd name="connsiteY57" fmla="*/ 16567 h 70692"/>
                    <a:gd name="connsiteX58" fmla="*/ 7954 w 112856"/>
                    <a:gd name="connsiteY58" fmla="*/ 15789 h 70692"/>
                    <a:gd name="connsiteX59" fmla="*/ 6758 w 112856"/>
                    <a:gd name="connsiteY59" fmla="*/ 14473 h 70692"/>
                    <a:gd name="connsiteX60" fmla="*/ 6399 w 112856"/>
                    <a:gd name="connsiteY60" fmla="*/ 14115 h 70692"/>
                    <a:gd name="connsiteX61" fmla="*/ 4426 w 112856"/>
                    <a:gd name="connsiteY61" fmla="*/ 11902 h 70692"/>
                    <a:gd name="connsiteX62" fmla="*/ 2452 w 112856"/>
                    <a:gd name="connsiteY62" fmla="*/ 9689 h 70692"/>
                    <a:gd name="connsiteX63" fmla="*/ 479 w 112856"/>
                    <a:gd name="connsiteY63" fmla="*/ 7476 h 70692"/>
                    <a:gd name="connsiteX64" fmla="*/ 0 w 112856"/>
                    <a:gd name="connsiteY64" fmla="*/ 6878 h 70692"/>
                    <a:gd name="connsiteX65" fmla="*/ 0 w 112856"/>
                    <a:gd name="connsiteY65" fmla="*/ 6878 h 70692"/>
                    <a:gd name="connsiteX66" fmla="*/ 299 w 112856"/>
                    <a:gd name="connsiteY66" fmla="*/ 4067 h 70692"/>
                    <a:gd name="connsiteX67" fmla="*/ 419 w 112856"/>
                    <a:gd name="connsiteY67" fmla="*/ 2931 h 70692"/>
                    <a:gd name="connsiteX68" fmla="*/ 1615 w 112856"/>
                    <a:gd name="connsiteY68" fmla="*/ 897 h 70692"/>
                    <a:gd name="connsiteX69" fmla="*/ 2093 w 112856"/>
                    <a:gd name="connsiteY69" fmla="*/ 120 h 70692"/>
                    <a:gd name="connsiteX70" fmla="*/ 2153 w 112856"/>
                    <a:gd name="connsiteY70" fmla="*/ 0 h 70692"/>
                    <a:gd name="connsiteX71" fmla="*/ 5084 w 112856"/>
                    <a:gd name="connsiteY71" fmla="*/ 179 h 70692"/>
                    <a:gd name="connsiteX72" fmla="*/ 8014 w 112856"/>
                    <a:gd name="connsiteY72" fmla="*/ 359 h 70692"/>
                    <a:gd name="connsiteX73" fmla="*/ 8552 w 112856"/>
                    <a:gd name="connsiteY73" fmla="*/ 419 h 70692"/>
                    <a:gd name="connsiteX74" fmla="*/ 9988 w 112856"/>
                    <a:gd name="connsiteY74" fmla="*/ 478 h 70692"/>
                    <a:gd name="connsiteX75" fmla="*/ 11842 w 112856"/>
                    <a:gd name="connsiteY75" fmla="*/ 1017 h 70692"/>
                    <a:gd name="connsiteX76" fmla="*/ 14713 w 112856"/>
                    <a:gd name="connsiteY76" fmla="*/ 1794 h 70692"/>
                    <a:gd name="connsiteX77" fmla="*/ 17583 w 112856"/>
                    <a:gd name="connsiteY77" fmla="*/ 2572 h 70692"/>
                    <a:gd name="connsiteX78" fmla="*/ 18361 w 112856"/>
                    <a:gd name="connsiteY78" fmla="*/ 2811 h 70692"/>
                    <a:gd name="connsiteX79" fmla="*/ 21112 w 112856"/>
                    <a:gd name="connsiteY79" fmla="*/ 3888 h 70692"/>
                    <a:gd name="connsiteX80" fmla="*/ 21291 w 112856"/>
                    <a:gd name="connsiteY80" fmla="*/ 3947 h 7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12856" h="70692">
                      <a:moveTo>
                        <a:pt x="100536" y="50298"/>
                      </a:moveTo>
                      <a:lnTo>
                        <a:pt x="100536" y="50298"/>
                      </a:lnTo>
                      <a:lnTo>
                        <a:pt x="102749" y="52331"/>
                      </a:lnTo>
                      <a:lnTo>
                        <a:pt x="104902" y="54365"/>
                      </a:lnTo>
                      <a:lnTo>
                        <a:pt x="107055" y="56398"/>
                      </a:lnTo>
                      <a:lnTo>
                        <a:pt x="107773" y="57056"/>
                      </a:lnTo>
                      <a:lnTo>
                        <a:pt x="109627" y="59389"/>
                      </a:lnTo>
                      <a:lnTo>
                        <a:pt x="111481" y="61721"/>
                      </a:lnTo>
                      <a:lnTo>
                        <a:pt x="112079" y="62499"/>
                      </a:lnTo>
                      <a:lnTo>
                        <a:pt x="112198" y="63156"/>
                      </a:lnTo>
                      <a:lnTo>
                        <a:pt x="112796" y="65967"/>
                      </a:lnTo>
                      <a:lnTo>
                        <a:pt x="112856" y="66147"/>
                      </a:lnTo>
                      <a:lnTo>
                        <a:pt x="111421" y="68599"/>
                      </a:lnTo>
                      <a:lnTo>
                        <a:pt x="111122" y="69137"/>
                      </a:lnTo>
                      <a:lnTo>
                        <a:pt x="108670" y="70393"/>
                      </a:lnTo>
                      <a:lnTo>
                        <a:pt x="108072" y="70692"/>
                      </a:lnTo>
                      <a:lnTo>
                        <a:pt x="105141" y="70333"/>
                      </a:lnTo>
                      <a:lnTo>
                        <a:pt x="102211" y="69974"/>
                      </a:lnTo>
                      <a:lnTo>
                        <a:pt x="101074" y="69855"/>
                      </a:lnTo>
                      <a:lnTo>
                        <a:pt x="98263" y="68958"/>
                      </a:lnTo>
                      <a:lnTo>
                        <a:pt x="95452" y="68061"/>
                      </a:lnTo>
                      <a:lnTo>
                        <a:pt x="92641" y="67163"/>
                      </a:lnTo>
                      <a:lnTo>
                        <a:pt x="90488" y="66446"/>
                      </a:lnTo>
                      <a:lnTo>
                        <a:pt x="87737" y="65250"/>
                      </a:lnTo>
                      <a:lnTo>
                        <a:pt x="84986" y="64054"/>
                      </a:lnTo>
                      <a:lnTo>
                        <a:pt x="82235" y="62857"/>
                      </a:lnTo>
                      <a:lnTo>
                        <a:pt x="79484" y="61661"/>
                      </a:lnTo>
                      <a:lnTo>
                        <a:pt x="76793" y="60465"/>
                      </a:lnTo>
                      <a:lnTo>
                        <a:pt x="74161" y="59090"/>
                      </a:lnTo>
                      <a:lnTo>
                        <a:pt x="71530" y="57714"/>
                      </a:lnTo>
                      <a:lnTo>
                        <a:pt x="68898" y="56338"/>
                      </a:lnTo>
                      <a:lnTo>
                        <a:pt x="66267" y="54963"/>
                      </a:lnTo>
                      <a:lnTo>
                        <a:pt x="63635" y="53587"/>
                      </a:lnTo>
                      <a:lnTo>
                        <a:pt x="61362" y="52451"/>
                      </a:lnTo>
                      <a:lnTo>
                        <a:pt x="58791" y="50956"/>
                      </a:lnTo>
                      <a:lnTo>
                        <a:pt x="56219" y="49461"/>
                      </a:lnTo>
                      <a:lnTo>
                        <a:pt x="54305" y="48324"/>
                      </a:lnTo>
                      <a:lnTo>
                        <a:pt x="51733" y="46829"/>
                      </a:lnTo>
                      <a:lnTo>
                        <a:pt x="49162" y="45334"/>
                      </a:lnTo>
                      <a:lnTo>
                        <a:pt x="46590" y="43839"/>
                      </a:lnTo>
                      <a:lnTo>
                        <a:pt x="45394" y="43121"/>
                      </a:lnTo>
                      <a:lnTo>
                        <a:pt x="42882" y="41506"/>
                      </a:lnTo>
                      <a:lnTo>
                        <a:pt x="40370" y="39891"/>
                      </a:lnTo>
                      <a:lnTo>
                        <a:pt x="38576" y="38755"/>
                      </a:lnTo>
                      <a:lnTo>
                        <a:pt x="36064" y="37140"/>
                      </a:lnTo>
                      <a:lnTo>
                        <a:pt x="33552" y="35526"/>
                      </a:lnTo>
                      <a:lnTo>
                        <a:pt x="31040" y="33911"/>
                      </a:lnTo>
                      <a:lnTo>
                        <a:pt x="30203" y="33372"/>
                      </a:lnTo>
                      <a:lnTo>
                        <a:pt x="27811" y="31638"/>
                      </a:lnTo>
                      <a:lnTo>
                        <a:pt x="25418" y="29904"/>
                      </a:lnTo>
                      <a:lnTo>
                        <a:pt x="23026" y="28169"/>
                      </a:lnTo>
                      <a:lnTo>
                        <a:pt x="20634" y="26435"/>
                      </a:lnTo>
                      <a:lnTo>
                        <a:pt x="18241" y="24700"/>
                      </a:lnTo>
                      <a:lnTo>
                        <a:pt x="17404" y="24043"/>
                      </a:lnTo>
                      <a:lnTo>
                        <a:pt x="15191" y="22069"/>
                      </a:lnTo>
                      <a:lnTo>
                        <a:pt x="12978" y="20155"/>
                      </a:lnTo>
                      <a:lnTo>
                        <a:pt x="11065" y="18480"/>
                      </a:lnTo>
                      <a:lnTo>
                        <a:pt x="8852" y="16567"/>
                      </a:lnTo>
                      <a:lnTo>
                        <a:pt x="7954" y="15789"/>
                      </a:lnTo>
                      <a:lnTo>
                        <a:pt x="6758" y="14473"/>
                      </a:lnTo>
                      <a:lnTo>
                        <a:pt x="6399" y="14115"/>
                      </a:lnTo>
                      <a:lnTo>
                        <a:pt x="4426" y="11902"/>
                      </a:lnTo>
                      <a:lnTo>
                        <a:pt x="2452" y="9689"/>
                      </a:lnTo>
                      <a:lnTo>
                        <a:pt x="479" y="7476"/>
                      </a:lnTo>
                      <a:lnTo>
                        <a:pt x="0" y="6878"/>
                      </a:lnTo>
                      <a:lnTo>
                        <a:pt x="0" y="6878"/>
                      </a:lnTo>
                      <a:lnTo>
                        <a:pt x="299" y="4067"/>
                      </a:lnTo>
                      <a:lnTo>
                        <a:pt x="419" y="2931"/>
                      </a:lnTo>
                      <a:lnTo>
                        <a:pt x="1615" y="897"/>
                      </a:lnTo>
                      <a:lnTo>
                        <a:pt x="2093" y="120"/>
                      </a:lnTo>
                      <a:lnTo>
                        <a:pt x="2153" y="0"/>
                      </a:lnTo>
                      <a:lnTo>
                        <a:pt x="5084" y="179"/>
                      </a:lnTo>
                      <a:lnTo>
                        <a:pt x="8014" y="359"/>
                      </a:lnTo>
                      <a:lnTo>
                        <a:pt x="8552" y="419"/>
                      </a:lnTo>
                      <a:lnTo>
                        <a:pt x="9988" y="478"/>
                      </a:lnTo>
                      <a:lnTo>
                        <a:pt x="11842" y="1017"/>
                      </a:lnTo>
                      <a:lnTo>
                        <a:pt x="14713" y="1794"/>
                      </a:lnTo>
                      <a:lnTo>
                        <a:pt x="17583" y="2572"/>
                      </a:lnTo>
                      <a:lnTo>
                        <a:pt x="18361" y="2811"/>
                      </a:lnTo>
                      <a:lnTo>
                        <a:pt x="21112" y="3888"/>
                      </a:lnTo>
                      <a:lnTo>
                        <a:pt x="21291" y="3947"/>
                      </a:lnTo>
                    </a:path>
                  </a:pathLst>
                </a:custGeom>
                <a:noFill/>
                <a:ln w="6350" cap="rnd">
                  <a:solidFill>
                    <a:schemeClr val="bg1">
                      <a:alpha val="40000"/>
                    </a:schemeClr>
                  </a:solidFill>
                  <a:prstDash val="solid"/>
                  <a:round/>
                </a:ln>
              </p:spPr>
              <p:txBody>
                <a:bodyPr rtlCol="0" anchor="ctr"/>
                <a:lstStyle/>
                <a:p>
                  <a:endParaRPr lang="en-GB"/>
                </a:p>
              </p:txBody>
            </p:sp>
            <p:sp>
              <p:nvSpPr>
                <p:cNvPr id="5675" name="Vrije vorm: vorm 5674">
                  <a:extLst>
                    <a:ext uri="{FF2B5EF4-FFF2-40B4-BE49-F238E27FC236}">
                      <a16:creationId xmlns:a16="http://schemas.microsoft.com/office/drawing/2014/main" id="{5C11E459-5A91-4F96-9EC8-003F83B42C71}"/>
                    </a:ext>
                  </a:extLst>
                </p:cNvPr>
                <p:cNvSpPr/>
                <p:nvPr/>
              </p:nvSpPr>
              <p:spPr>
                <a:xfrm>
                  <a:off x="6420863" y="1762977"/>
                  <a:ext cx="110942" cy="67881"/>
                </a:xfrm>
                <a:custGeom>
                  <a:avLst/>
                  <a:gdLst>
                    <a:gd name="connsiteX0" fmla="*/ 359 w 110942"/>
                    <a:gd name="connsiteY0" fmla="*/ 0 h 67881"/>
                    <a:gd name="connsiteX1" fmla="*/ 239 w 110942"/>
                    <a:gd name="connsiteY1" fmla="*/ 1076 h 67881"/>
                    <a:gd name="connsiteX2" fmla="*/ 60 w 110942"/>
                    <a:gd name="connsiteY2" fmla="*/ 3050 h 67881"/>
                    <a:gd name="connsiteX3" fmla="*/ 0 w 110942"/>
                    <a:gd name="connsiteY3" fmla="*/ 3887 h 67881"/>
                    <a:gd name="connsiteX4" fmla="*/ 1973 w 110942"/>
                    <a:gd name="connsiteY4" fmla="*/ 6100 h 67881"/>
                    <a:gd name="connsiteX5" fmla="*/ 3947 w 110942"/>
                    <a:gd name="connsiteY5" fmla="*/ 8313 h 67881"/>
                    <a:gd name="connsiteX6" fmla="*/ 5921 w 110942"/>
                    <a:gd name="connsiteY6" fmla="*/ 10526 h 67881"/>
                    <a:gd name="connsiteX7" fmla="*/ 6399 w 110942"/>
                    <a:gd name="connsiteY7" fmla="*/ 11064 h 67881"/>
                    <a:gd name="connsiteX8" fmla="*/ 7895 w 110942"/>
                    <a:gd name="connsiteY8" fmla="*/ 12799 h 67881"/>
                    <a:gd name="connsiteX9" fmla="*/ 10167 w 110942"/>
                    <a:gd name="connsiteY9" fmla="*/ 14713 h 67881"/>
                    <a:gd name="connsiteX10" fmla="*/ 12440 w 110942"/>
                    <a:gd name="connsiteY10" fmla="*/ 16626 h 67881"/>
                    <a:gd name="connsiteX11" fmla="*/ 14712 w 110942"/>
                    <a:gd name="connsiteY11" fmla="*/ 18540 h 67881"/>
                    <a:gd name="connsiteX12" fmla="*/ 16985 w 110942"/>
                    <a:gd name="connsiteY12" fmla="*/ 20454 h 67881"/>
                    <a:gd name="connsiteX13" fmla="*/ 17523 w 110942"/>
                    <a:gd name="connsiteY13" fmla="*/ 20933 h 67881"/>
                    <a:gd name="connsiteX14" fmla="*/ 19916 w 110942"/>
                    <a:gd name="connsiteY14" fmla="*/ 22667 h 67881"/>
                    <a:gd name="connsiteX15" fmla="*/ 22308 w 110942"/>
                    <a:gd name="connsiteY15" fmla="*/ 24401 h 67881"/>
                    <a:gd name="connsiteX16" fmla="*/ 24700 w 110942"/>
                    <a:gd name="connsiteY16" fmla="*/ 26136 h 67881"/>
                    <a:gd name="connsiteX17" fmla="*/ 27092 w 110942"/>
                    <a:gd name="connsiteY17" fmla="*/ 27870 h 67881"/>
                    <a:gd name="connsiteX18" fmla="*/ 29485 w 110942"/>
                    <a:gd name="connsiteY18" fmla="*/ 29605 h 67881"/>
                    <a:gd name="connsiteX19" fmla="*/ 30322 w 110942"/>
                    <a:gd name="connsiteY19" fmla="*/ 30203 h 67881"/>
                    <a:gd name="connsiteX20" fmla="*/ 32834 w 110942"/>
                    <a:gd name="connsiteY20" fmla="*/ 31817 h 67881"/>
                    <a:gd name="connsiteX21" fmla="*/ 35346 w 110942"/>
                    <a:gd name="connsiteY21" fmla="*/ 33432 h 67881"/>
                    <a:gd name="connsiteX22" fmla="*/ 37858 w 110942"/>
                    <a:gd name="connsiteY22" fmla="*/ 35047 h 67881"/>
                    <a:gd name="connsiteX23" fmla="*/ 40370 w 110942"/>
                    <a:gd name="connsiteY23" fmla="*/ 36662 h 67881"/>
                    <a:gd name="connsiteX24" fmla="*/ 42882 w 110942"/>
                    <a:gd name="connsiteY24" fmla="*/ 38277 h 67881"/>
                    <a:gd name="connsiteX25" fmla="*/ 45513 w 110942"/>
                    <a:gd name="connsiteY25" fmla="*/ 39951 h 67881"/>
                    <a:gd name="connsiteX26" fmla="*/ 48085 w 110942"/>
                    <a:gd name="connsiteY26" fmla="*/ 41446 h 67881"/>
                    <a:gd name="connsiteX27" fmla="*/ 50657 w 110942"/>
                    <a:gd name="connsiteY27" fmla="*/ 42942 h 67881"/>
                    <a:gd name="connsiteX28" fmla="*/ 53228 w 110942"/>
                    <a:gd name="connsiteY28" fmla="*/ 44437 h 67881"/>
                    <a:gd name="connsiteX29" fmla="*/ 55800 w 110942"/>
                    <a:gd name="connsiteY29" fmla="*/ 45932 h 67881"/>
                    <a:gd name="connsiteX30" fmla="*/ 58372 w 110942"/>
                    <a:gd name="connsiteY30" fmla="*/ 47427 h 67881"/>
                    <a:gd name="connsiteX31" fmla="*/ 60944 w 110942"/>
                    <a:gd name="connsiteY31" fmla="*/ 48922 h 67881"/>
                    <a:gd name="connsiteX32" fmla="*/ 61542 w 110942"/>
                    <a:gd name="connsiteY32" fmla="*/ 49281 h 67881"/>
                    <a:gd name="connsiteX33" fmla="*/ 64173 w 110942"/>
                    <a:gd name="connsiteY33" fmla="*/ 50657 h 67881"/>
                    <a:gd name="connsiteX34" fmla="*/ 66805 w 110942"/>
                    <a:gd name="connsiteY34" fmla="*/ 52032 h 67881"/>
                    <a:gd name="connsiteX35" fmla="*/ 69436 w 110942"/>
                    <a:gd name="connsiteY35" fmla="*/ 53408 h 67881"/>
                    <a:gd name="connsiteX36" fmla="*/ 72068 w 110942"/>
                    <a:gd name="connsiteY36" fmla="*/ 54783 h 67881"/>
                    <a:gd name="connsiteX37" fmla="*/ 74699 w 110942"/>
                    <a:gd name="connsiteY37" fmla="*/ 56159 h 67881"/>
                    <a:gd name="connsiteX38" fmla="*/ 76972 w 110942"/>
                    <a:gd name="connsiteY38" fmla="*/ 57295 h 67881"/>
                    <a:gd name="connsiteX39" fmla="*/ 79663 w 110942"/>
                    <a:gd name="connsiteY39" fmla="*/ 58491 h 67881"/>
                    <a:gd name="connsiteX40" fmla="*/ 82354 w 110942"/>
                    <a:gd name="connsiteY40" fmla="*/ 59688 h 67881"/>
                    <a:gd name="connsiteX41" fmla="*/ 85046 w 110942"/>
                    <a:gd name="connsiteY41" fmla="*/ 60884 h 67881"/>
                    <a:gd name="connsiteX42" fmla="*/ 87737 w 110942"/>
                    <a:gd name="connsiteY42" fmla="*/ 62080 h 67881"/>
                    <a:gd name="connsiteX43" fmla="*/ 90428 w 110942"/>
                    <a:gd name="connsiteY43" fmla="*/ 63276 h 67881"/>
                    <a:gd name="connsiteX44" fmla="*/ 93239 w 110942"/>
                    <a:gd name="connsiteY44" fmla="*/ 64233 h 67881"/>
                    <a:gd name="connsiteX45" fmla="*/ 96050 w 110942"/>
                    <a:gd name="connsiteY45" fmla="*/ 65190 h 67881"/>
                    <a:gd name="connsiteX46" fmla="*/ 98861 w 110942"/>
                    <a:gd name="connsiteY46" fmla="*/ 66147 h 67881"/>
                    <a:gd name="connsiteX47" fmla="*/ 101014 w 110942"/>
                    <a:gd name="connsiteY47" fmla="*/ 66864 h 67881"/>
                    <a:gd name="connsiteX48" fmla="*/ 103945 w 110942"/>
                    <a:gd name="connsiteY48" fmla="*/ 67283 h 67881"/>
                    <a:gd name="connsiteX49" fmla="*/ 106875 w 110942"/>
                    <a:gd name="connsiteY49" fmla="*/ 67702 h 67881"/>
                    <a:gd name="connsiteX50" fmla="*/ 107952 w 110942"/>
                    <a:gd name="connsiteY50" fmla="*/ 67881 h 67881"/>
                    <a:gd name="connsiteX51" fmla="*/ 108789 w 110942"/>
                    <a:gd name="connsiteY51" fmla="*/ 67463 h 67881"/>
                    <a:gd name="connsiteX52" fmla="*/ 110942 w 110942"/>
                    <a:gd name="connsiteY52" fmla="*/ 66386 h 6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0942" h="67881">
                      <a:moveTo>
                        <a:pt x="359" y="0"/>
                      </a:moveTo>
                      <a:lnTo>
                        <a:pt x="239" y="1076"/>
                      </a:lnTo>
                      <a:lnTo>
                        <a:pt x="60" y="3050"/>
                      </a:lnTo>
                      <a:lnTo>
                        <a:pt x="0" y="3887"/>
                      </a:lnTo>
                      <a:lnTo>
                        <a:pt x="1973" y="6100"/>
                      </a:lnTo>
                      <a:lnTo>
                        <a:pt x="3947" y="8313"/>
                      </a:lnTo>
                      <a:lnTo>
                        <a:pt x="5921" y="10526"/>
                      </a:lnTo>
                      <a:lnTo>
                        <a:pt x="6399" y="11064"/>
                      </a:lnTo>
                      <a:lnTo>
                        <a:pt x="7895" y="12799"/>
                      </a:lnTo>
                      <a:lnTo>
                        <a:pt x="10167" y="14713"/>
                      </a:lnTo>
                      <a:lnTo>
                        <a:pt x="12440" y="16626"/>
                      </a:lnTo>
                      <a:lnTo>
                        <a:pt x="14712" y="18540"/>
                      </a:lnTo>
                      <a:lnTo>
                        <a:pt x="16985" y="20454"/>
                      </a:lnTo>
                      <a:lnTo>
                        <a:pt x="17523" y="20933"/>
                      </a:lnTo>
                      <a:lnTo>
                        <a:pt x="19916" y="22667"/>
                      </a:lnTo>
                      <a:lnTo>
                        <a:pt x="22308" y="24401"/>
                      </a:lnTo>
                      <a:lnTo>
                        <a:pt x="24700" y="26136"/>
                      </a:lnTo>
                      <a:lnTo>
                        <a:pt x="27092" y="27870"/>
                      </a:lnTo>
                      <a:lnTo>
                        <a:pt x="29485" y="29605"/>
                      </a:lnTo>
                      <a:lnTo>
                        <a:pt x="30322" y="30203"/>
                      </a:lnTo>
                      <a:lnTo>
                        <a:pt x="32834" y="31817"/>
                      </a:lnTo>
                      <a:lnTo>
                        <a:pt x="35346" y="33432"/>
                      </a:lnTo>
                      <a:lnTo>
                        <a:pt x="37858" y="35047"/>
                      </a:lnTo>
                      <a:lnTo>
                        <a:pt x="40370" y="36662"/>
                      </a:lnTo>
                      <a:lnTo>
                        <a:pt x="42882" y="38277"/>
                      </a:lnTo>
                      <a:lnTo>
                        <a:pt x="45513" y="39951"/>
                      </a:lnTo>
                      <a:lnTo>
                        <a:pt x="48085" y="41446"/>
                      </a:lnTo>
                      <a:lnTo>
                        <a:pt x="50657" y="42942"/>
                      </a:lnTo>
                      <a:lnTo>
                        <a:pt x="53228" y="44437"/>
                      </a:lnTo>
                      <a:lnTo>
                        <a:pt x="55800" y="45932"/>
                      </a:lnTo>
                      <a:lnTo>
                        <a:pt x="58372" y="47427"/>
                      </a:lnTo>
                      <a:lnTo>
                        <a:pt x="60944" y="48922"/>
                      </a:lnTo>
                      <a:lnTo>
                        <a:pt x="61542" y="49281"/>
                      </a:lnTo>
                      <a:lnTo>
                        <a:pt x="64173" y="50657"/>
                      </a:lnTo>
                      <a:lnTo>
                        <a:pt x="66805" y="52032"/>
                      </a:lnTo>
                      <a:lnTo>
                        <a:pt x="69436" y="53408"/>
                      </a:lnTo>
                      <a:lnTo>
                        <a:pt x="72068" y="54783"/>
                      </a:lnTo>
                      <a:lnTo>
                        <a:pt x="74699" y="56159"/>
                      </a:lnTo>
                      <a:lnTo>
                        <a:pt x="76972" y="57295"/>
                      </a:lnTo>
                      <a:lnTo>
                        <a:pt x="79663" y="58491"/>
                      </a:lnTo>
                      <a:lnTo>
                        <a:pt x="82354" y="59688"/>
                      </a:lnTo>
                      <a:lnTo>
                        <a:pt x="85046" y="60884"/>
                      </a:lnTo>
                      <a:lnTo>
                        <a:pt x="87737" y="62080"/>
                      </a:lnTo>
                      <a:lnTo>
                        <a:pt x="90428" y="63276"/>
                      </a:lnTo>
                      <a:lnTo>
                        <a:pt x="93239" y="64233"/>
                      </a:lnTo>
                      <a:lnTo>
                        <a:pt x="96050" y="65190"/>
                      </a:lnTo>
                      <a:lnTo>
                        <a:pt x="98861" y="66147"/>
                      </a:lnTo>
                      <a:lnTo>
                        <a:pt x="101014" y="66864"/>
                      </a:lnTo>
                      <a:lnTo>
                        <a:pt x="103945" y="67283"/>
                      </a:lnTo>
                      <a:lnTo>
                        <a:pt x="106875" y="67702"/>
                      </a:lnTo>
                      <a:lnTo>
                        <a:pt x="107952" y="67881"/>
                      </a:lnTo>
                      <a:lnTo>
                        <a:pt x="108789" y="67463"/>
                      </a:lnTo>
                      <a:lnTo>
                        <a:pt x="110942" y="66386"/>
                      </a:lnTo>
                    </a:path>
                  </a:pathLst>
                </a:custGeom>
                <a:noFill/>
                <a:ln w="6350" cap="rnd">
                  <a:solidFill>
                    <a:schemeClr val="bg1">
                      <a:alpha val="40000"/>
                    </a:schemeClr>
                  </a:solidFill>
                  <a:prstDash val="solid"/>
                  <a:round/>
                </a:ln>
              </p:spPr>
              <p:txBody>
                <a:bodyPr rtlCol="0" anchor="ctr"/>
                <a:lstStyle/>
                <a:p>
                  <a:endParaRPr lang="en-GB"/>
                </a:p>
              </p:txBody>
            </p:sp>
            <p:sp>
              <p:nvSpPr>
                <p:cNvPr id="5676" name="Vrije vorm: vorm 5675">
                  <a:extLst>
                    <a:ext uri="{FF2B5EF4-FFF2-40B4-BE49-F238E27FC236}">
                      <a16:creationId xmlns:a16="http://schemas.microsoft.com/office/drawing/2014/main" id="{3560565A-7AC5-4B73-9B4C-42D78F94810A}"/>
                    </a:ext>
                  </a:extLst>
                </p:cNvPr>
                <p:cNvSpPr/>
                <p:nvPr/>
              </p:nvSpPr>
              <p:spPr>
                <a:xfrm>
                  <a:off x="6492093" y="1544741"/>
                  <a:ext cx="11423" cy="19018"/>
                </a:xfrm>
                <a:custGeom>
                  <a:avLst/>
                  <a:gdLst>
                    <a:gd name="connsiteX0" fmla="*/ 7954 w 11423"/>
                    <a:gd name="connsiteY0" fmla="*/ 19019 h 19018"/>
                    <a:gd name="connsiteX1" fmla="*/ 6160 w 11423"/>
                    <a:gd name="connsiteY1" fmla="*/ 17643 h 19018"/>
                    <a:gd name="connsiteX2" fmla="*/ 4545 w 11423"/>
                    <a:gd name="connsiteY2" fmla="*/ 16387 h 19018"/>
                    <a:gd name="connsiteX3" fmla="*/ 4545 w 11423"/>
                    <a:gd name="connsiteY3" fmla="*/ 16387 h 19018"/>
                    <a:gd name="connsiteX4" fmla="*/ 4486 w 11423"/>
                    <a:gd name="connsiteY4" fmla="*/ 16327 h 19018"/>
                    <a:gd name="connsiteX5" fmla="*/ 2691 w 11423"/>
                    <a:gd name="connsiteY5" fmla="*/ 14892 h 19018"/>
                    <a:gd name="connsiteX6" fmla="*/ 1854 w 11423"/>
                    <a:gd name="connsiteY6" fmla="*/ 14234 h 19018"/>
                    <a:gd name="connsiteX7" fmla="*/ 1854 w 11423"/>
                    <a:gd name="connsiteY7" fmla="*/ 14234 h 19018"/>
                    <a:gd name="connsiteX8" fmla="*/ 1017 w 11423"/>
                    <a:gd name="connsiteY8" fmla="*/ 13576 h 19018"/>
                    <a:gd name="connsiteX9" fmla="*/ 658 w 11423"/>
                    <a:gd name="connsiteY9" fmla="*/ 13277 h 19018"/>
                    <a:gd name="connsiteX10" fmla="*/ 359 w 11423"/>
                    <a:gd name="connsiteY10" fmla="*/ 13038 h 19018"/>
                    <a:gd name="connsiteX11" fmla="*/ 479 w 11423"/>
                    <a:gd name="connsiteY11" fmla="*/ 12081 h 19018"/>
                    <a:gd name="connsiteX12" fmla="*/ 598 w 11423"/>
                    <a:gd name="connsiteY12" fmla="*/ 11184 h 19018"/>
                    <a:gd name="connsiteX13" fmla="*/ 658 w 11423"/>
                    <a:gd name="connsiteY13" fmla="*/ 10287 h 19018"/>
                    <a:gd name="connsiteX14" fmla="*/ 718 w 11423"/>
                    <a:gd name="connsiteY14" fmla="*/ 9450 h 19018"/>
                    <a:gd name="connsiteX15" fmla="*/ 718 w 11423"/>
                    <a:gd name="connsiteY15" fmla="*/ 8612 h 19018"/>
                    <a:gd name="connsiteX16" fmla="*/ 718 w 11423"/>
                    <a:gd name="connsiteY16" fmla="*/ 8433 h 19018"/>
                    <a:gd name="connsiteX17" fmla="*/ 718 w 11423"/>
                    <a:gd name="connsiteY17" fmla="*/ 8194 h 19018"/>
                    <a:gd name="connsiteX18" fmla="*/ 718 w 11423"/>
                    <a:gd name="connsiteY18" fmla="*/ 7835 h 19018"/>
                    <a:gd name="connsiteX19" fmla="*/ 718 w 11423"/>
                    <a:gd name="connsiteY19" fmla="*/ 7775 h 19018"/>
                    <a:gd name="connsiteX20" fmla="*/ 658 w 11423"/>
                    <a:gd name="connsiteY20" fmla="*/ 7057 h 19018"/>
                    <a:gd name="connsiteX21" fmla="*/ 598 w 11423"/>
                    <a:gd name="connsiteY21" fmla="*/ 6340 h 19018"/>
                    <a:gd name="connsiteX22" fmla="*/ 479 w 11423"/>
                    <a:gd name="connsiteY22" fmla="*/ 5622 h 19018"/>
                    <a:gd name="connsiteX23" fmla="*/ 359 w 11423"/>
                    <a:gd name="connsiteY23" fmla="*/ 4964 h 19018"/>
                    <a:gd name="connsiteX24" fmla="*/ 180 w 11423"/>
                    <a:gd name="connsiteY24" fmla="*/ 4306 h 19018"/>
                    <a:gd name="connsiteX25" fmla="*/ 120 w 11423"/>
                    <a:gd name="connsiteY25" fmla="*/ 4067 h 19018"/>
                    <a:gd name="connsiteX26" fmla="*/ 0 w 11423"/>
                    <a:gd name="connsiteY26" fmla="*/ 3648 h 19018"/>
                    <a:gd name="connsiteX27" fmla="*/ 1017 w 11423"/>
                    <a:gd name="connsiteY27" fmla="*/ 2392 h 19018"/>
                    <a:gd name="connsiteX28" fmla="*/ 2333 w 11423"/>
                    <a:gd name="connsiteY28" fmla="*/ 718 h 19018"/>
                    <a:gd name="connsiteX29" fmla="*/ 2871 w 11423"/>
                    <a:gd name="connsiteY29" fmla="*/ 0 h 19018"/>
                    <a:gd name="connsiteX30" fmla="*/ 4306 w 11423"/>
                    <a:gd name="connsiteY30" fmla="*/ 1136 h 19018"/>
                    <a:gd name="connsiteX31" fmla="*/ 5203 w 11423"/>
                    <a:gd name="connsiteY31" fmla="*/ 1854 h 19018"/>
                    <a:gd name="connsiteX32" fmla="*/ 6100 w 11423"/>
                    <a:gd name="connsiteY32" fmla="*/ 2572 h 19018"/>
                    <a:gd name="connsiteX33" fmla="*/ 6459 w 11423"/>
                    <a:gd name="connsiteY33" fmla="*/ 2871 h 19018"/>
                    <a:gd name="connsiteX34" fmla="*/ 7117 w 11423"/>
                    <a:gd name="connsiteY34" fmla="*/ 3409 h 19018"/>
                    <a:gd name="connsiteX35" fmla="*/ 7476 w 11423"/>
                    <a:gd name="connsiteY35" fmla="*/ 3708 h 19018"/>
                    <a:gd name="connsiteX36" fmla="*/ 7775 w 11423"/>
                    <a:gd name="connsiteY36" fmla="*/ 3947 h 19018"/>
                    <a:gd name="connsiteX37" fmla="*/ 9629 w 11423"/>
                    <a:gd name="connsiteY37" fmla="*/ 5442 h 19018"/>
                    <a:gd name="connsiteX38" fmla="*/ 10406 w 11423"/>
                    <a:gd name="connsiteY38" fmla="*/ 6100 h 19018"/>
                    <a:gd name="connsiteX39" fmla="*/ 10706 w 11423"/>
                    <a:gd name="connsiteY39" fmla="*/ 6698 h 19018"/>
                    <a:gd name="connsiteX40" fmla="*/ 10765 w 11423"/>
                    <a:gd name="connsiteY40" fmla="*/ 6878 h 19018"/>
                    <a:gd name="connsiteX41" fmla="*/ 10945 w 11423"/>
                    <a:gd name="connsiteY41" fmla="*/ 7356 h 19018"/>
                    <a:gd name="connsiteX42" fmla="*/ 11124 w 11423"/>
                    <a:gd name="connsiteY42" fmla="*/ 8074 h 19018"/>
                    <a:gd name="connsiteX43" fmla="*/ 11244 w 11423"/>
                    <a:gd name="connsiteY43" fmla="*/ 8851 h 19018"/>
                    <a:gd name="connsiteX44" fmla="*/ 11364 w 11423"/>
                    <a:gd name="connsiteY44" fmla="*/ 9629 h 19018"/>
                    <a:gd name="connsiteX45" fmla="*/ 11423 w 11423"/>
                    <a:gd name="connsiteY45" fmla="*/ 10466 h 19018"/>
                    <a:gd name="connsiteX46" fmla="*/ 11423 w 11423"/>
                    <a:gd name="connsiteY46" fmla="*/ 11363 h 19018"/>
                    <a:gd name="connsiteX47" fmla="*/ 11423 w 11423"/>
                    <a:gd name="connsiteY47" fmla="*/ 12201 h 19018"/>
                    <a:gd name="connsiteX48" fmla="*/ 11423 w 11423"/>
                    <a:gd name="connsiteY48" fmla="*/ 12260 h 19018"/>
                    <a:gd name="connsiteX49" fmla="*/ 11364 w 11423"/>
                    <a:gd name="connsiteY49" fmla="*/ 13217 h 19018"/>
                    <a:gd name="connsiteX50" fmla="*/ 11244 w 11423"/>
                    <a:gd name="connsiteY50" fmla="*/ 14234 h 19018"/>
                    <a:gd name="connsiteX51" fmla="*/ 11065 w 11423"/>
                    <a:gd name="connsiteY51" fmla="*/ 15251 h 19018"/>
                    <a:gd name="connsiteX52" fmla="*/ 10825 w 11423"/>
                    <a:gd name="connsiteY52" fmla="*/ 16327 h 1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423" h="19018">
                      <a:moveTo>
                        <a:pt x="7954" y="19019"/>
                      </a:moveTo>
                      <a:lnTo>
                        <a:pt x="6160" y="17643"/>
                      </a:lnTo>
                      <a:lnTo>
                        <a:pt x="4545" y="16387"/>
                      </a:lnTo>
                      <a:lnTo>
                        <a:pt x="4545" y="16387"/>
                      </a:lnTo>
                      <a:lnTo>
                        <a:pt x="4486" y="16327"/>
                      </a:lnTo>
                      <a:lnTo>
                        <a:pt x="2691" y="14892"/>
                      </a:lnTo>
                      <a:lnTo>
                        <a:pt x="1854" y="14234"/>
                      </a:lnTo>
                      <a:lnTo>
                        <a:pt x="1854" y="14234"/>
                      </a:lnTo>
                      <a:lnTo>
                        <a:pt x="1017" y="13576"/>
                      </a:lnTo>
                      <a:lnTo>
                        <a:pt x="658" y="13277"/>
                      </a:lnTo>
                      <a:lnTo>
                        <a:pt x="359" y="13038"/>
                      </a:lnTo>
                      <a:lnTo>
                        <a:pt x="479" y="12081"/>
                      </a:lnTo>
                      <a:lnTo>
                        <a:pt x="598" y="11184"/>
                      </a:lnTo>
                      <a:lnTo>
                        <a:pt x="658" y="10287"/>
                      </a:lnTo>
                      <a:lnTo>
                        <a:pt x="718" y="9450"/>
                      </a:lnTo>
                      <a:lnTo>
                        <a:pt x="718" y="8612"/>
                      </a:lnTo>
                      <a:lnTo>
                        <a:pt x="718" y="8433"/>
                      </a:lnTo>
                      <a:lnTo>
                        <a:pt x="718" y="8194"/>
                      </a:lnTo>
                      <a:lnTo>
                        <a:pt x="718" y="7835"/>
                      </a:lnTo>
                      <a:lnTo>
                        <a:pt x="718" y="7775"/>
                      </a:lnTo>
                      <a:lnTo>
                        <a:pt x="658" y="7057"/>
                      </a:lnTo>
                      <a:lnTo>
                        <a:pt x="598" y="6340"/>
                      </a:lnTo>
                      <a:lnTo>
                        <a:pt x="479" y="5622"/>
                      </a:lnTo>
                      <a:lnTo>
                        <a:pt x="359" y="4964"/>
                      </a:lnTo>
                      <a:lnTo>
                        <a:pt x="180" y="4306"/>
                      </a:lnTo>
                      <a:lnTo>
                        <a:pt x="120" y="4067"/>
                      </a:lnTo>
                      <a:lnTo>
                        <a:pt x="0" y="3648"/>
                      </a:lnTo>
                      <a:lnTo>
                        <a:pt x="1017" y="2392"/>
                      </a:lnTo>
                      <a:lnTo>
                        <a:pt x="2333" y="718"/>
                      </a:lnTo>
                      <a:lnTo>
                        <a:pt x="2871" y="0"/>
                      </a:lnTo>
                      <a:lnTo>
                        <a:pt x="4306" y="1136"/>
                      </a:lnTo>
                      <a:lnTo>
                        <a:pt x="5203" y="1854"/>
                      </a:lnTo>
                      <a:lnTo>
                        <a:pt x="6100" y="2572"/>
                      </a:lnTo>
                      <a:lnTo>
                        <a:pt x="6459" y="2871"/>
                      </a:lnTo>
                      <a:lnTo>
                        <a:pt x="7117" y="3409"/>
                      </a:lnTo>
                      <a:lnTo>
                        <a:pt x="7476" y="3708"/>
                      </a:lnTo>
                      <a:lnTo>
                        <a:pt x="7775" y="3947"/>
                      </a:lnTo>
                      <a:lnTo>
                        <a:pt x="9629" y="5442"/>
                      </a:lnTo>
                      <a:lnTo>
                        <a:pt x="10406" y="6100"/>
                      </a:lnTo>
                      <a:lnTo>
                        <a:pt x="10706" y="6698"/>
                      </a:lnTo>
                      <a:lnTo>
                        <a:pt x="10765" y="6878"/>
                      </a:lnTo>
                      <a:lnTo>
                        <a:pt x="10945" y="7356"/>
                      </a:lnTo>
                      <a:lnTo>
                        <a:pt x="11124" y="8074"/>
                      </a:lnTo>
                      <a:lnTo>
                        <a:pt x="11244" y="8851"/>
                      </a:lnTo>
                      <a:lnTo>
                        <a:pt x="11364" y="9629"/>
                      </a:lnTo>
                      <a:lnTo>
                        <a:pt x="11423" y="10466"/>
                      </a:lnTo>
                      <a:lnTo>
                        <a:pt x="11423" y="11363"/>
                      </a:lnTo>
                      <a:lnTo>
                        <a:pt x="11423" y="12201"/>
                      </a:lnTo>
                      <a:lnTo>
                        <a:pt x="11423" y="12260"/>
                      </a:lnTo>
                      <a:lnTo>
                        <a:pt x="11364" y="13217"/>
                      </a:lnTo>
                      <a:lnTo>
                        <a:pt x="11244" y="14234"/>
                      </a:lnTo>
                      <a:lnTo>
                        <a:pt x="11065" y="15251"/>
                      </a:lnTo>
                      <a:lnTo>
                        <a:pt x="10825" y="16327"/>
                      </a:lnTo>
                    </a:path>
                  </a:pathLst>
                </a:custGeom>
                <a:noFill/>
                <a:ln w="6350" cap="rnd">
                  <a:solidFill>
                    <a:schemeClr val="bg1">
                      <a:alpha val="40000"/>
                    </a:schemeClr>
                  </a:solidFill>
                  <a:prstDash val="solid"/>
                  <a:round/>
                </a:ln>
              </p:spPr>
              <p:txBody>
                <a:bodyPr rtlCol="0" anchor="ctr"/>
                <a:lstStyle/>
                <a:p>
                  <a:endParaRPr lang="en-GB"/>
                </a:p>
              </p:txBody>
            </p:sp>
            <p:sp>
              <p:nvSpPr>
                <p:cNvPr id="5677" name="Vrije vorm: vorm 5676">
                  <a:extLst>
                    <a:ext uri="{FF2B5EF4-FFF2-40B4-BE49-F238E27FC236}">
                      <a16:creationId xmlns:a16="http://schemas.microsoft.com/office/drawing/2014/main" id="{993A59D9-95C9-4E0B-A759-90089C3DCD0F}"/>
                    </a:ext>
                  </a:extLst>
                </p:cNvPr>
                <p:cNvSpPr/>
                <p:nvPr/>
              </p:nvSpPr>
              <p:spPr>
                <a:xfrm>
                  <a:off x="6494964" y="1544741"/>
                  <a:ext cx="1016" cy="10227"/>
                </a:xfrm>
                <a:custGeom>
                  <a:avLst/>
                  <a:gdLst>
                    <a:gd name="connsiteX0" fmla="*/ 418 w 1016"/>
                    <a:gd name="connsiteY0" fmla="*/ 10227 h 10227"/>
                    <a:gd name="connsiteX1" fmla="*/ 478 w 1016"/>
                    <a:gd name="connsiteY1" fmla="*/ 9868 h 10227"/>
                    <a:gd name="connsiteX2" fmla="*/ 478 w 1016"/>
                    <a:gd name="connsiteY2" fmla="*/ 9868 h 10227"/>
                    <a:gd name="connsiteX3" fmla="*/ 598 w 1016"/>
                    <a:gd name="connsiteY3" fmla="*/ 9150 h 10227"/>
                    <a:gd name="connsiteX4" fmla="*/ 777 w 1016"/>
                    <a:gd name="connsiteY4" fmla="*/ 8134 h 10227"/>
                    <a:gd name="connsiteX5" fmla="*/ 897 w 1016"/>
                    <a:gd name="connsiteY5" fmla="*/ 7117 h 10227"/>
                    <a:gd name="connsiteX6" fmla="*/ 957 w 1016"/>
                    <a:gd name="connsiteY6" fmla="*/ 6160 h 10227"/>
                    <a:gd name="connsiteX7" fmla="*/ 1017 w 1016"/>
                    <a:gd name="connsiteY7" fmla="*/ 5263 h 10227"/>
                    <a:gd name="connsiteX8" fmla="*/ 1017 w 1016"/>
                    <a:gd name="connsiteY8" fmla="*/ 4366 h 10227"/>
                    <a:gd name="connsiteX9" fmla="*/ 957 w 1016"/>
                    <a:gd name="connsiteY9" fmla="*/ 3529 h 10227"/>
                    <a:gd name="connsiteX10" fmla="*/ 837 w 1016"/>
                    <a:gd name="connsiteY10" fmla="*/ 2751 h 10227"/>
                    <a:gd name="connsiteX11" fmla="*/ 718 w 1016"/>
                    <a:gd name="connsiteY11" fmla="*/ 1974 h 10227"/>
                    <a:gd name="connsiteX12" fmla="*/ 538 w 1016"/>
                    <a:gd name="connsiteY12" fmla="*/ 1256 h 10227"/>
                    <a:gd name="connsiteX13" fmla="*/ 418 w 1016"/>
                    <a:gd name="connsiteY13" fmla="*/ 897 h 10227"/>
                    <a:gd name="connsiteX14" fmla="*/ 299 w 1016"/>
                    <a:gd name="connsiteY14" fmla="*/ 598 h 10227"/>
                    <a:gd name="connsiteX15" fmla="*/ 0 w 1016"/>
                    <a:gd name="connsiteY15" fmla="*/ 0 h 1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6" h="10227">
                      <a:moveTo>
                        <a:pt x="418" y="10227"/>
                      </a:moveTo>
                      <a:lnTo>
                        <a:pt x="478" y="9868"/>
                      </a:lnTo>
                      <a:lnTo>
                        <a:pt x="478" y="9868"/>
                      </a:lnTo>
                      <a:lnTo>
                        <a:pt x="598" y="9150"/>
                      </a:lnTo>
                      <a:lnTo>
                        <a:pt x="777" y="8134"/>
                      </a:lnTo>
                      <a:lnTo>
                        <a:pt x="897" y="7117"/>
                      </a:lnTo>
                      <a:lnTo>
                        <a:pt x="957" y="6160"/>
                      </a:lnTo>
                      <a:lnTo>
                        <a:pt x="1017" y="5263"/>
                      </a:lnTo>
                      <a:lnTo>
                        <a:pt x="1017" y="4366"/>
                      </a:lnTo>
                      <a:lnTo>
                        <a:pt x="957" y="3529"/>
                      </a:lnTo>
                      <a:lnTo>
                        <a:pt x="837" y="2751"/>
                      </a:lnTo>
                      <a:lnTo>
                        <a:pt x="718" y="1974"/>
                      </a:lnTo>
                      <a:lnTo>
                        <a:pt x="538" y="1256"/>
                      </a:lnTo>
                      <a:lnTo>
                        <a:pt x="418" y="897"/>
                      </a:lnTo>
                      <a:lnTo>
                        <a:pt x="299" y="59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678" name="Vrije vorm: vorm 5677">
                  <a:extLst>
                    <a:ext uri="{FF2B5EF4-FFF2-40B4-BE49-F238E27FC236}">
                      <a16:creationId xmlns:a16="http://schemas.microsoft.com/office/drawing/2014/main" id="{A6DAE053-2660-40DD-83A8-B0983671D63D}"/>
                    </a:ext>
                  </a:extLst>
                </p:cNvPr>
                <p:cNvSpPr/>
                <p:nvPr/>
              </p:nvSpPr>
              <p:spPr>
                <a:xfrm>
                  <a:off x="6492392" y="1554908"/>
                  <a:ext cx="10585" cy="8851"/>
                </a:xfrm>
                <a:custGeom>
                  <a:avLst/>
                  <a:gdLst>
                    <a:gd name="connsiteX0" fmla="*/ 7656 w 10585"/>
                    <a:gd name="connsiteY0" fmla="*/ 8852 h 8851"/>
                    <a:gd name="connsiteX1" fmla="*/ 9988 w 10585"/>
                    <a:gd name="connsiteY1" fmla="*/ 6579 h 8851"/>
                    <a:gd name="connsiteX2" fmla="*/ 10586 w 10585"/>
                    <a:gd name="connsiteY2" fmla="*/ 5981 h 8851"/>
                    <a:gd name="connsiteX3" fmla="*/ 8253 w 10585"/>
                    <a:gd name="connsiteY3" fmla="*/ 4127 h 8851"/>
                    <a:gd name="connsiteX4" fmla="*/ 8014 w 10585"/>
                    <a:gd name="connsiteY4" fmla="*/ 3947 h 8851"/>
                    <a:gd name="connsiteX5" fmla="*/ 5682 w 10585"/>
                    <a:gd name="connsiteY5" fmla="*/ 2093 h 8851"/>
                    <a:gd name="connsiteX6" fmla="*/ 5383 w 10585"/>
                    <a:gd name="connsiteY6" fmla="*/ 1854 h 8851"/>
                    <a:gd name="connsiteX7" fmla="*/ 3888 w 10585"/>
                    <a:gd name="connsiteY7" fmla="*/ 718 h 8851"/>
                    <a:gd name="connsiteX8" fmla="*/ 3349 w 10585"/>
                    <a:gd name="connsiteY8" fmla="*/ 299 h 8851"/>
                    <a:gd name="connsiteX9" fmla="*/ 2931 w 10585"/>
                    <a:gd name="connsiteY9" fmla="*/ 0 h 8851"/>
                    <a:gd name="connsiteX10" fmla="*/ 2632 w 10585"/>
                    <a:gd name="connsiteY10" fmla="*/ 299 h 8851"/>
                    <a:gd name="connsiteX11" fmla="*/ 2153 w 10585"/>
                    <a:gd name="connsiteY11" fmla="*/ 718 h 8851"/>
                    <a:gd name="connsiteX12" fmla="*/ 2153 w 10585"/>
                    <a:gd name="connsiteY12" fmla="*/ 718 h 8851"/>
                    <a:gd name="connsiteX13" fmla="*/ 2153 w 10585"/>
                    <a:gd name="connsiteY13" fmla="*/ 718 h 8851"/>
                    <a:gd name="connsiteX14" fmla="*/ 2093 w 10585"/>
                    <a:gd name="connsiteY14" fmla="*/ 778 h 8851"/>
                    <a:gd name="connsiteX15" fmla="*/ 658 w 10585"/>
                    <a:gd name="connsiteY15" fmla="*/ 2213 h 8851"/>
                    <a:gd name="connsiteX16" fmla="*/ 0 w 10585"/>
                    <a:gd name="connsiteY16" fmla="*/ 2871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85" h="8851">
                      <a:moveTo>
                        <a:pt x="7656" y="8852"/>
                      </a:moveTo>
                      <a:lnTo>
                        <a:pt x="9988" y="6579"/>
                      </a:lnTo>
                      <a:lnTo>
                        <a:pt x="10586" y="5981"/>
                      </a:lnTo>
                      <a:lnTo>
                        <a:pt x="8253" y="4127"/>
                      </a:lnTo>
                      <a:lnTo>
                        <a:pt x="8014" y="3947"/>
                      </a:lnTo>
                      <a:lnTo>
                        <a:pt x="5682" y="2093"/>
                      </a:lnTo>
                      <a:lnTo>
                        <a:pt x="5383" y="1854"/>
                      </a:lnTo>
                      <a:lnTo>
                        <a:pt x="3888" y="718"/>
                      </a:lnTo>
                      <a:lnTo>
                        <a:pt x="3349" y="299"/>
                      </a:lnTo>
                      <a:lnTo>
                        <a:pt x="2931" y="0"/>
                      </a:lnTo>
                      <a:lnTo>
                        <a:pt x="2632" y="299"/>
                      </a:lnTo>
                      <a:lnTo>
                        <a:pt x="2153" y="718"/>
                      </a:lnTo>
                      <a:lnTo>
                        <a:pt x="2153" y="718"/>
                      </a:lnTo>
                      <a:lnTo>
                        <a:pt x="2153" y="718"/>
                      </a:lnTo>
                      <a:lnTo>
                        <a:pt x="2093" y="778"/>
                      </a:lnTo>
                      <a:lnTo>
                        <a:pt x="658" y="2213"/>
                      </a:lnTo>
                      <a:lnTo>
                        <a:pt x="0" y="2871"/>
                      </a:lnTo>
                    </a:path>
                  </a:pathLst>
                </a:custGeom>
                <a:noFill/>
                <a:ln w="6350" cap="rnd">
                  <a:solidFill>
                    <a:schemeClr val="bg1">
                      <a:alpha val="40000"/>
                    </a:schemeClr>
                  </a:solidFill>
                  <a:prstDash val="solid"/>
                  <a:round/>
                </a:ln>
              </p:spPr>
              <p:txBody>
                <a:bodyPr rtlCol="0" anchor="ctr"/>
                <a:lstStyle/>
                <a:p>
                  <a:endParaRPr lang="en-GB"/>
                </a:p>
              </p:txBody>
            </p:sp>
            <p:sp>
              <p:nvSpPr>
                <p:cNvPr id="5679" name="Vrije vorm: vorm 5678">
                  <a:extLst>
                    <a:ext uri="{FF2B5EF4-FFF2-40B4-BE49-F238E27FC236}">
                      <a16:creationId xmlns:a16="http://schemas.microsoft.com/office/drawing/2014/main" id="{37D3F0FE-2648-4042-A24F-1A0FDC2CF897}"/>
                    </a:ext>
                  </a:extLst>
                </p:cNvPr>
                <p:cNvSpPr/>
                <p:nvPr/>
              </p:nvSpPr>
              <p:spPr>
                <a:xfrm>
                  <a:off x="6515059" y="1530567"/>
                  <a:ext cx="32116" cy="18480"/>
                </a:xfrm>
                <a:custGeom>
                  <a:avLst/>
                  <a:gdLst>
                    <a:gd name="connsiteX0" fmla="*/ 0 w 32116"/>
                    <a:gd name="connsiteY0" fmla="*/ 0 h 18480"/>
                    <a:gd name="connsiteX1" fmla="*/ 2990 w 32116"/>
                    <a:gd name="connsiteY1" fmla="*/ 478 h 18480"/>
                    <a:gd name="connsiteX2" fmla="*/ 5981 w 32116"/>
                    <a:gd name="connsiteY2" fmla="*/ 957 h 18480"/>
                    <a:gd name="connsiteX3" fmla="*/ 8971 w 32116"/>
                    <a:gd name="connsiteY3" fmla="*/ 1435 h 18480"/>
                    <a:gd name="connsiteX4" fmla="*/ 11961 w 32116"/>
                    <a:gd name="connsiteY4" fmla="*/ 1914 h 18480"/>
                    <a:gd name="connsiteX5" fmla="*/ 12500 w 32116"/>
                    <a:gd name="connsiteY5" fmla="*/ 1974 h 18480"/>
                    <a:gd name="connsiteX6" fmla="*/ 14772 w 32116"/>
                    <a:gd name="connsiteY6" fmla="*/ 3887 h 18480"/>
                    <a:gd name="connsiteX7" fmla="*/ 17045 w 32116"/>
                    <a:gd name="connsiteY7" fmla="*/ 5801 h 18480"/>
                    <a:gd name="connsiteX8" fmla="*/ 19318 w 32116"/>
                    <a:gd name="connsiteY8" fmla="*/ 7715 h 18480"/>
                    <a:gd name="connsiteX9" fmla="*/ 21590 w 32116"/>
                    <a:gd name="connsiteY9" fmla="*/ 9629 h 18480"/>
                    <a:gd name="connsiteX10" fmla="*/ 23863 w 32116"/>
                    <a:gd name="connsiteY10" fmla="*/ 11543 h 18480"/>
                    <a:gd name="connsiteX11" fmla="*/ 26136 w 32116"/>
                    <a:gd name="connsiteY11" fmla="*/ 13457 h 18480"/>
                    <a:gd name="connsiteX12" fmla="*/ 28408 w 32116"/>
                    <a:gd name="connsiteY12" fmla="*/ 15370 h 18480"/>
                    <a:gd name="connsiteX13" fmla="*/ 30681 w 32116"/>
                    <a:gd name="connsiteY13" fmla="*/ 17284 h 18480"/>
                    <a:gd name="connsiteX14" fmla="*/ 32116 w 32116"/>
                    <a:gd name="connsiteY14" fmla="*/ 18480 h 1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116" h="18480">
                      <a:moveTo>
                        <a:pt x="0" y="0"/>
                      </a:moveTo>
                      <a:lnTo>
                        <a:pt x="2990" y="478"/>
                      </a:lnTo>
                      <a:lnTo>
                        <a:pt x="5981" y="957"/>
                      </a:lnTo>
                      <a:lnTo>
                        <a:pt x="8971" y="1435"/>
                      </a:lnTo>
                      <a:lnTo>
                        <a:pt x="11961" y="1914"/>
                      </a:lnTo>
                      <a:lnTo>
                        <a:pt x="12500" y="1974"/>
                      </a:lnTo>
                      <a:lnTo>
                        <a:pt x="14772" y="3887"/>
                      </a:lnTo>
                      <a:lnTo>
                        <a:pt x="17045" y="5801"/>
                      </a:lnTo>
                      <a:lnTo>
                        <a:pt x="19318" y="7715"/>
                      </a:lnTo>
                      <a:lnTo>
                        <a:pt x="21590" y="9629"/>
                      </a:lnTo>
                      <a:lnTo>
                        <a:pt x="23863" y="11543"/>
                      </a:lnTo>
                      <a:lnTo>
                        <a:pt x="26136" y="13457"/>
                      </a:lnTo>
                      <a:lnTo>
                        <a:pt x="28408" y="15370"/>
                      </a:lnTo>
                      <a:lnTo>
                        <a:pt x="30681" y="17284"/>
                      </a:lnTo>
                      <a:lnTo>
                        <a:pt x="32116" y="18480"/>
                      </a:lnTo>
                    </a:path>
                  </a:pathLst>
                </a:custGeom>
                <a:noFill/>
                <a:ln w="6350" cap="rnd">
                  <a:solidFill>
                    <a:schemeClr val="bg1">
                      <a:alpha val="40000"/>
                    </a:schemeClr>
                  </a:solidFill>
                  <a:prstDash val="solid"/>
                  <a:round/>
                </a:ln>
              </p:spPr>
              <p:txBody>
                <a:bodyPr rtlCol="0" anchor="ctr"/>
                <a:lstStyle/>
                <a:p>
                  <a:endParaRPr lang="en-GB"/>
                </a:p>
              </p:txBody>
            </p:sp>
            <p:sp>
              <p:nvSpPr>
                <p:cNvPr id="5680" name="Vrije vorm: vorm 5679">
                  <a:extLst>
                    <a:ext uri="{FF2B5EF4-FFF2-40B4-BE49-F238E27FC236}">
                      <a16:creationId xmlns:a16="http://schemas.microsoft.com/office/drawing/2014/main" id="{A6CF2600-E0FF-4331-9B78-9A8BA4FDCE26}"/>
                    </a:ext>
                  </a:extLst>
                </p:cNvPr>
                <p:cNvSpPr/>
                <p:nvPr/>
              </p:nvSpPr>
              <p:spPr>
                <a:xfrm>
                  <a:off x="6486292" y="1544502"/>
                  <a:ext cx="8253" cy="5920"/>
                </a:xfrm>
                <a:custGeom>
                  <a:avLst/>
                  <a:gdLst>
                    <a:gd name="connsiteX0" fmla="*/ 0 w 8253"/>
                    <a:gd name="connsiteY0" fmla="*/ 5921 h 5920"/>
                    <a:gd name="connsiteX1" fmla="*/ 1674 w 8253"/>
                    <a:gd name="connsiteY1" fmla="*/ 3110 h 5920"/>
                    <a:gd name="connsiteX2" fmla="*/ 3349 w 8253"/>
                    <a:gd name="connsiteY2" fmla="*/ 299 h 5920"/>
                    <a:gd name="connsiteX3" fmla="*/ 3528 w 8253"/>
                    <a:gd name="connsiteY3" fmla="*/ 0 h 5920"/>
                    <a:gd name="connsiteX4" fmla="*/ 6459 w 8253"/>
                    <a:gd name="connsiteY4" fmla="*/ 598 h 5920"/>
                    <a:gd name="connsiteX5" fmla="*/ 8253 w 8253"/>
                    <a:gd name="connsiteY5" fmla="*/ 957 h 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 h="5920">
                      <a:moveTo>
                        <a:pt x="0" y="5921"/>
                      </a:moveTo>
                      <a:lnTo>
                        <a:pt x="1674" y="3110"/>
                      </a:lnTo>
                      <a:lnTo>
                        <a:pt x="3349" y="299"/>
                      </a:lnTo>
                      <a:lnTo>
                        <a:pt x="3528" y="0"/>
                      </a:lnTo>
                      <a:lnTo>
                        <a:pt x="6459" y="598"/>
                      </a:lnTo>
                      <a:lnTo>
                        <a:pt x="8253" y="957"/>
                      </a:lnTo>
                    </a:path>
                  </a:pathLst>
                </a:custGeom>
                <a:noFill/>
                <a:ln w="6350" cap="rnd">
                  <a:solidFill>
                    <a:schemeClr val="bg1">
                      <a:alpha val="40000"/>
                    </a:schemeClr>
                  </a:solidFill>
                  <a:prstDash val="solid"/>
                  <a:round/>
                </a:ln>
              </p:spPr>
              <p:txBody>
                <a:bodyPr rtlCol="0" anchor="ctr"/>
                <a:lstStyle/>
                <a:p>
                  <a:endParaRPr lang="en-GB"/>
                </a:p>
              </p:txBody>
            </p:sp>
            <p:sp>
              <p:nvSpPr>
                <p:cNvPr id="5681" name="Vrije vorm: vorm 5680">
                  <a:extLst>
                    <a:ext uri="{FF2B5EF4-FFF2-40B4-BE49-F238E27FC236}">
                      <a16:creationId xmlns:a16="http://schemas.microsoft.com/office/drawing/2014/main" id="{1CFB48A0-E93B-4C53-AF55-E5237D80A690}"/>
                    </a:ext>
                  </a:extLst>
                </p:cNvPr>
                <p:cNvSpPr/>
                <p:nvPr/>
              </p:nvSpPr>
              <p:spPr>
                <a:xfrm>
                  <a:off x="6499270" y="1546655"/>
                  <a:ext cx="3349" cy="1973"/>
                </a:xfrm>
                <a:custGeom>
                  <a:avLst/>
                  <a:gdLst>
                    <a:gd name="connsiteX0" fmla="*/ 3349 w 3349"/>
                    <a:gd name="connsiteY0" fmla="*/ 1974 h 1973"/>
                    <a:gd name="connsiteX1" fmla="*/ 2093 w 3349"/>
                    <a:gd name="connsiteY1" fmla="*/ 957 h 1973"/>
                    <a:gd name="connsiteX2" fmla="*/ 897 w 3349"/>
                    <a:gd name="connsiteY2" fmla="*/ 0 h 1973"/>
                    <a:gd name="connsiteX3" fmla="*/ 299 w 3349"/>
                    <a:gd name="connsiteY3" fmla="*/ 1017 h 1973"/>
                    <a:gd name="connsiteX4" fmla="*/ 0 w 3349"/>
                    <a:gd name="connsiteY4" fmla="*/ 1495 h 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9" h="1973">
                      <a:moveTo>
                        <a:pt x="3349" y="1974"/>
                      </a:moveTo>
                      <a:lnTo>
                        <a:pt x="2093" y="957"/>
                      </a:lnTo>
                      <a:lnTo>
                        <a:pt x="897" y="0"/>
                      </a:lnTo>
                      <a:lnTo>
                        <a:pt x="299" y="1017"/>
                      </a:lnTo>
                      <a:lnTo>
                        <a:pt x="0" y="1495"/>
                      </a:lnTo>
                    </a:path>
                  </a:pathLst>
                </a:custGeom>
                <a:noFill/>
                <a:ln w="6350" cap="rnd">
                  <a:solidFill>
                    <a:schemeClr val="bg1">
                      <a:alpha val="40000"/>
                    </a:schemeClr>
                  </a:solidFill>
                  <a:prstDash val="solid"/>
                  <a:round/>
                </a:ln>
              </p:spPr>
              <p:txBody>
                <a:bodyPr rtlCol="0" anchor="ctr"/>
                <a:lstStyle/>
                <a:p>
                  <a:endParaRPr lang="en-GB"/>
                </a:p>
              </p:txBody>
            </p:sp>
            <p:sp>
              <p:nvSpPr>
                <p:cNvPr id="5682" name="Vrije vorm: vorm 5681">
                  <a:extLst>
                    <a:ext uri="{FF2B5EF4-FFF2-40B4-BE49-F238E27FC236}">
                      <a16:creationId xmlns:a16="http://schemas.microsoft.com/office/drawing/2014/main" id="{35E5502D-12C2-4523-B03B-E3A4F2B1ED87}"/>
                    </a:ext>
                  </a:extLst>
                </p:cNvPr>
                <p:cNvSpPr/>
                <p:nvPr/>
              </p:nvSpPr>
              <p:spPr>
                <a:xfrm>
                  <a:off x="6491076" y="1559633"/>
                  <a:ext cx="3887" cy="16985"/>
                </a:xfrm>
                <a:custGeom>
                  <a:avLst/>
                  <a:gdLst>
                    <a:gd name="connsiteX0" fmla="*/ 3708 w 3887"/>
                    <a:gd name="connsiteY0" fmla="*/ 0 h 16985"/>
                    <a:gd name="connsiteX1" fmla="*/ 3768 w 3887"/>
                    <a:gd name="connsiteY1" fmla="*/ 598 h 16985"/>
                    <a:gd name="connsiteX2" fmla="*/ 3768 w 3887"/>
                    <a:gd name="connsiteY2" fmla="*/ 837 h 16985"/>
                    <a:gd name="connsiteX3" fmla="*/ 3888 w 3887"/>
                    <a:gd name="connsiteY3" fmla="*/ 2332 h 16985"/>
                    <a:gd name="connsiteX4" fmla="*/ 3768 w 3887"/>
                    <a:gd name="connsiteY4" fmla="*/ 2871 h 16985"/>
                    <a:gd name="connsiteX5" fmla="*/ 3409 w 3887"/>
                    <a:gd name="connsiteY5" fmla="*/ 5024 h 16985"/>
                    <a:gd name="connsiteX6" fmla="*/ 2871 w 3887"/>
                    <a:gd name="connsiteY6" fmla="*/ 8194 h 16985"/>
                    <a:gd name="connsiteX7" fmla="*/ 2632 w 3887"/>
                    <a:gd name="connsiteY7" fmla="*/ 9450 h 16985"/>
                    <a:gd name="connsiteX8" fmla="*/ 1555 w 3887"/>
                    <a:gd name="connsiteY8" fmla="*/ 12500 h 16985"/>
                    <a:gd name="connsiteX9" fmla="*/ 1017 w 3887"/>
                    <a:gd name="connsiteY9" fmla="*/ 14115 h 16985"/>
                    <a:gd name="connsiteX10" fmla="*/ 897 w 3887"/>
                    <a:gd name="connsiteY10" fmla="*/ 14354 h 16985"/>
                    <a:gd name="connsiteX11" fmla="*/ 0 w 3887"/>
                    <a:gd name="connsiteY11" fmla="*/ 16985 h 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87" h="16985">
                      <a:moveTo>
                        <a:pt x="3708" y="0"/>
                      </a:moveTo>
                      <a:lnTo>
                        <a:pt x="3768" y="598"/>
                      </a:lnTo>
                      <a:lnTo>
                        <a:pt x="3768" y="837"/>
                      </a:lnTo>
                      <a:lnTo>
                        <a:pt x="3888" y="2332"/>
                      </a:lnTo>
                      <a:lnTo>
                        <a:pt x="3768" y="2871"/>
                      </a:lnTo>
                      <a:lnTo>
                        <a:pt x="3409" y="5024"/>
                      </a:lnTo>
                      <a:lnTo>
                        <a:pt x="2871" y="8194"/>
                      </a:lnTo>
                      <a:lnTo>
                        <a:pt x="2632" y="9450"/>
                      </a:lnTo>
                      <a:lnTo>
                        <a:pt x="1555" y="12500"/>
                      </a:lnTo>
                      <a:lnTo>
                        <a:pt x="1017" y="14115"/>
                      </a:lnTo>
                      <a:lnTo>
                        <a:pt x="897" y="14354"/>
                      </a:lnTo>
                      <a:lnTo>
                        <a:pt x="0" y="16985"/>
                      </a:lnTo>
                    </a:path>
                  </a:pathLst>
                </a:custGeom>
                <a:noFill/>
                <a:ln w="6350" cap="rnd">
                  <a:solidFill>
                    <a:schemeClr val="bg1">
                      <a:alpha val="40000"/>
                    </a:schemeClr>
                  </a:solidFill>
                  <a:prstDash val="solid"/>
                  <a:round/>
                </a:ln>
              </p:spPr>
              <p:txBody>
                <a:bodyPr rtlCol="0" anchor="ctr"/>
                <a:lstStyle/>
                <a:p>
                  <a:endParaRPr lang="en-GB"/>
                </a:p>
              </p:txBody>
            </p:sp>
            <p:sp>
              <p:nvSpPr>
                <p:cNvPr id="5683" name="Vrije vorm: vorm 5682">
                  <a:extLst>
                    <a:ext uri="{FF2B5EF4-FFF2-40B4-BE49-F238E27FC236}">
                      <a16:creationId xmlns:a16="http://schemas.microsoft.com/office/drawing/2014/main" id="{DE441C9E-3E3F-48AE-B009-CEA2C06B40CC}"/>
                    </a:ext>
                  </a:extLst>
                </p:cNvPr>
                <p:cNvSpPr/>
                <p:nvPr/>
              </p:nvSpPr>
              <p:spPr>
                <a:xfrm>
                  <a:off x="6480789" y="1550423"/>
                  <a:ext cx="12021" cy="2631"/>
                </a:xfrm>
                <a:custGeom>
                  <a:avLst/>
                  <a:gdLst>
                    <a:gd name="connsiteX0" fmla="*/ 0 w 12021"/>
                    <a:gd name="connsiteY0" fmla="*/ 1555 h 2631"/>
                    <a:gd name="connsiteX1" fmla="*/ 2931 w 12021"/>
                    <a:gd name="connsiteY1" fmla="*/ 419 h 2631"/>
                    <a:gd name="connsiteX2" fmla="*/ 3708 w 12021"/>
                    <a:gd name="connsiteY2" fmla="*/ 120 h 2631"/>
                    <a:gd name="connsiteX3" fmla="*/ 5503 w 12021"/>
                    <a:gd name="connsiteY3" fmla="*/ 60 h 2631"/>
                    <a:gd name="connsiteX4" fmla="*/ 8253 w 12021"/>
                    <a:gd name="connsiteY4" fmla="*/ 0 h 2631"/>
                    <a:gd name="connsiteX5" fmla="*/ 9988 w 12021"/>
                    <a:gd name="connsiteY5" fmla="*/ 957 h 2631"/>
                    <a:gd name="connsiteX6" fmla="*/ 11662 w 12021"/>
                    <a:gd name="connsiteY6" fmla="*/ 1914 h 2631"/>
                    <a:gd name="connsiteX7" fmla="*/ 12021 w 12021"/>
                    <a:gd name="connsiteY7" fmla="*/ 2632 h 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21" h="2631">
                      <a:moveTo>
                        <a:pt x="0" y="1555"/>
                      </a:moveTo>
                      <a:lnTo>
                        <a:pt x="2931" y="419"/>
                      </a:lnTo>
                      <a:lnTo>
                        <a:pt x="3708" y="120"/>
                      </a:lnTo>
                      <a:lnTo>
                        <a:pt x="5503" y="60"/>
                      </a:lnTo>
                      <a:lnTo>
                        <a:pt x="8253" y="0"/>
                      </a:lnTo>
                      <a:lnTo>
                        <a:pt x="9988" y="957"/>
                      </a:lnTo>
                      <a:lnTo>
                        <a:pt x="11662" y="1914"/>
                      </a:lnTo>
                      <a:lnTo>
                        <a:pt x="12021" y="2632"/>
                      </a:lnTo>
                    </a:path>
                  </a:pathLst>
                </a:custGeom>
                <a:noFill/>
                <a:ln w="6350" cap="rnd">
                  <a:solidFill>
                    <a:schemeClr val="bg1">
                      <a:alpha val="40000"/>
                    </a:schemeClr>
                  </a:solidFill>
                  <a:prstDash val="solid"/>
                  <a:round/>
                </a:ln>
              </p:spPr>
              <p:txBody>
                <a:bodyPr rtlCol="0" anchor="ctr"/>
                <a:lstStyle/>
                <a:p>
                  <a:endParaRPr lang="en-GB"/>
                </a:p>
              </p:txBody>
            </p:sp>
            <p:sp>
              <p:nvSpPr>
                <p:cNvPr id="5684" name="Vrije vorm: vorm 5683">
                  <a:extLst>
                    <a:ext uri="{FF2B5EF4-FFF2-40B4-BE49-F238E27FC236}">
                      <a16:creationId xmlns:a16="http://schemas.microsoft.com/office/drawing/2014/main" id="{14AF2610-711E-49D9-822A-5178F49CEAC0}"/>
                    </a:ext>
                  </a:extLst>
                </p:cNvPr>
                <p:cNvSpPr/>
                <p:nvPr/>
              </p:nvSpPr>
              <p:spPr>
                <a:xfrm>
                  <a:off x="6512188" y="1592826"/>
                  <a:ext cx="33731" cy="44855"/>
                </a:xfrm>
                <a:custGeom>
                  <a:avLst/>
                  <a:gdLst>
                    <a:gd name="connsiteX0" fmla="*/ 33731 w 33731"/>
                    <a:gd name="connsiteY0" fmla="*/ 0 h 44855"/>
                    <a:gd name="connsiteX1" fmla="*/ 32057 w 33731"/>
                    <a:gd name="connsiteY1" fmla="*/ 2811 h 44855"/>
                    <a:gd name="connsiteX2" fmla="*/ 31698 w 33731"/>
                    <a:gd name="connsiteY2" fmla="*/ 3409 h 44855"/>
                    <a:gd name="connsiteX3" fmla="*/ 31399 w 33731"/>
                    <a:gd name="connsiteY3" fmla="*/ 3947 h 44855"/>
                    <a:gd name="connsiteX4" fmla="*/ 29724 w 33731"/>
                    <a:gd name="connsiteY4" fmla="*/ 6758 h 44855"/>
                    <a:gd name="connsiteX5" fmla="*/ 29186 w 33731"/>
                    <a:gd name="connsiteY5" fmla="*/ 7655 h 44855"/>
                    <a:gd name="connsiteX6" fmla="*/ 28887 w 33731"/>
                    <a:gd name="connsiteY6" fmla="*/ 8194 h 44855"/>
                    <a:gd name="connsiteX7" fmla="*/ 27213 w 33731"/>
                    <a:gd name="connsiteY7" fmla="*/ 11005 h 44855"/>
                    <a:gd name="connsiteX8" fmla="*/ 25538 w 33731"/>
                    <a:gd name="connsiteY8" fmla="*/ 13816 h 44855"/>
                    <a:gd name="connsiteX9" fmla="*/ 23863 w 33731"/>
                    <a:gd name="connsiteY9" fmla="*/ 16626 h 44855"/>
                    <a:gd name="connsiteX10" fmla="*/ 22248 w 33731"/>
                    <a:gd name="connsiteY10" fmla="*/ 19318 h 44855"/>
                    <a:gd name="connsiteX11" fmla="*/ 22009 w 33731"/>
                    <a:gd name="connsiteY11" fmla="*/ 19736 h 44855"/>
                    <a:gd name="connsiteX12" fmla="*/ 20335 w 33731"/>
                    <a:gd name="connsiteY12" fmla="*/ 22547 h 44855"/>
                    <a:gd name="connsiteX13" fmla="*/ 19378 w 33731"/>
                    <a:gd name="connsiteY13" fmla="*/ 24162 h 44855"/>
                    <a:gd name="connsiteX14" fmla="*/ 19138 w 33731"/>
                    <a:gd name="connsiteY14" fmla="*/ 24581 h 44855"/>
                    <a:gd name="connsiteX15" fmla="*/ 17464 w 33731"/>
                    <a:gd name="connsiteY15" fmla="*/ 27392 h 44855"/>
                    <a:gd name="connsiteX16" fmla="*/ 15789 w 33731"/>
                    <a:gd name="connsiteY16" fmla="*/ 30203 h 44855"/>
                    <a:gd name="connsiteX17" fmla="*/ 14115 w 33731"/>
                    <a:gd name="connsiteY17" fmla="*/ 33014 h 44855"/>
                    <a:gd name="connsiteX18" fmla="*/ 12440 w 33731"/>
                    <a:gd name="connsiteY18" fmla="*/ 35825 h 44855"/>
                    <a:gd name="connsiteX19" fmla="*/ 10766 w 33731"/>
                    <a:gd name="connsiteY19" fmla="*/ 38636 h 44855"/>
                    <a:gd name="connsiteX20" fmla="*/ 9808 w 33731"/>
                    <a:gd name="connsiteY20" fmla="*/ 40250 h 44855"/>
                    <a:gd name="connsiteX21" fmla="*/ 9330 w 33731"/>
                    <a:gd name="connsiteY21" fmla="*/ 40968 h 44855"/>
                    <a:gd name="connsiteX22" fmla="*/ 8792 w 33731"/>
                    <a:gd name="connsiteY22" fmla="*/ 41686 h 44855"/>
                    <a:gd name="connsiteX23" fmla="*/ 8253 w 33731"/>
                    <a:gd name="connsiteY23" fmla="*/ 42344 h 44855"/>
                    <a:gd name="connsiteX24" fmla="*/ 7656 w 33731"/>
                    <a:gd name="connsiteY24" fmla="*/ 42942 h 44855"/>
                    <a:gd name="connsiteX25" fmla="*/ 7058 w 33731"/>
                    <a:gd name="connsiteY25" fmla="*/ 43480 h 44855"/>
                    <a:gd name="connsiteX26" fmla="*/ 6459 w 33731"/>
                    <a:gd name="connsiteY26" fmla="*/ 43958 h 44855"/>
                    <a:gd name="connsiteX27" fmla="*/ 5861 w 33731"/>
                    <a:gd name="connsiteY27" fmla="*/ 44317 h 44855"/>
                    <a:gd name="connsiteX28" fmla="*/ 5263 w 33731"/>
                    <a:gd name="connsiteY28" fmla="*/ 44616 h 44855"/>
                    <a:gd name="connsiteX29" fmla="*/ 4665 w 33731"/>
                    <a:gd name="connsiteY29" fmla="*/ 44796 h 44855"/>
                    <a:gd name="connsiteX30" fmla="*/ 4127 w 33731"/>
                    <a:gd name="connsiteY30" fmla="*/ 44855 h 44855"/>
                    <a:gd name="connsiteX31" fmla="*/ 3649 w 33731"/>
                    <a:gd name="connsiteY31" fmla="*/ 44855 h 44855"/>
                    <a:gd name="connsiteX32" fmla="*/ 3230 w 33731"/>
                    <a:gd name="connsiteY32" fmla="*/ 44736 h 44855"/>
                    <a:gd name="connsiteX33" fmla="*/ 479 w 33731"/>
                    <a:gd name="connsiteY33" fmla="*/ 43540 h 44855"/>
                    <a:gd name="connsiteX34" fmla="*/ 0 w 33731"/>
                    <a:gd name="connsiteY34" fmla="*/ 43300 h 4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731" h="44855">
                      <a:moveTo>
                        <a:pt x="33731" y="0"/>
                      </a:moveTo>
                      <a:lnTo>
                        <a:pt x="32057" y="2811"/>
                      </a:lnTo>
                      <a:lnTo>
                        <a:pt x="31698" y="3409"/>
                      </a:lnTo>
                      <a:lnTo>
                        <a:pt x="31399" y="3947"/>
                      </a:lnTo>
                      <a:lnTo>
                        <a:pt x="29724" y="6758"/>
                      </a:lnTo>
                      <a:lnTo>
                        <a:pt x="29186" y="7655"/>
                      </a:lnTo>
                      <a:lnTo>
                        <a:pt x="28887" y="8194"/>
                      </a:lnTo>
                      <a:lnTo>
                        <a:pt x="27213" y="11005"/>
                      </a:lnTo>
                      <a:lnTo>
                        <a:pt x="25538" y="13816"/>
                      </a:lnTo>
                      <a:lnTo>
                        <a:pt x="23863" y="16626"/>
                      </a:lnTo>
                      <a:lnTo>
                        <a:pt x="22248" y="19318"/>
                      </a:lnTo>
                      <a:lnTo>
                        <a:pt x="22009" y="19736"/>
                      </a:lnTo>
                      <a:lnTo>
                        <a:pt x="20335" y="22547"/>
                      </a:lnTo>
                      <a:lnTo>
                        <a:pt x="19378" y="24162"/>
                      </a:lnTo>
                      <a:lnTo>
                        <a:pt x="19138" y="24581"/>
                      </a:lnTo>
                      <a:lnTo>
                        <a:pt x="17464" y="27392"/>
                      </a:lnTo>
                      <a:lnTo>
                        <a:pt x="15789" y="30203"/>
                      </a:lnTo>
                      <a:lnTo>
                        <a:pt x="14115" y="33014"/>
                      </a:lnTo>
                      <a:lnTo>
                        <a:pt x="12440" y="35825"/>
                      </a:lnTo>
                      <a:lnTo>
                        <a:pt x="10766" y="38636"/>
                      </a:lnTo>
                      <a:lnTo>
                        <a:pt x="9808" y="40250"/>
                      </a:lnTo>
                      <a:lnTo>
                        <a:pt x="9330" y="40968"/>
                      </a:lnTo>
                      <a:lnTo>
                        <a:pt x="8792" y="41686"/>
                      </a:lnTo>
                      <a:lnTo>
                        <a:pt x="8253" y="42344"/>
                      </a:lnTo>
                      <a:lnTo>
                        <a:pt x="7656" y="42942"/>
                      </a:lnTo>
                      <a:lnTo>
                        <a:pt x="7058" y="43480"/>
                      </a:lnTo>
                      <a:lnTo>
                        <a:pt x="6459" y="43958"/>
                      </a:lnTo>
                      <a:lnTo>
                        <a:pt x="5861" y="44317"/>
                      </a:lnTo>
                      <a:lnTo>
                        <a:pt x="5263" y="44616"/>
                      </a:lnTo>
                      <a:lnTo>
                        <a:pt x="4665" y="44796"/>
                      </a:lnTo>
                      <a:lnTo>
                        <a:pt x="4127" y="44855"/>
                      </a:lnTo>
                      <a:lnTo>
                        <a:pt x="3649" y="44855"/>
                      </a:lnTo>
                      <a:lnTo>
                        <a:pt x="3230" y="44736"/>
                      </a:lnTo>
                      <a:lnTo>
                        <a:pt x="479" y="43540"/>
                      </a:lnTo>
                      <a:lnTo>
                        <a:pt x="0" y="43300"/>
                      </a:lnTo>
                    </a:path>
                  </a:pathLst>
                </a:custGeom>
                <a:noFill/>
                <a:ln w="6350" cap="rnd">
                  <a:solidFill>
                    <a:schemeClr val="bg1">
                      <a:alpha val="40000"/>
                    </a:schemeClr>
                  </a:solidFill>
                  <a:prstDash val="solid"/>
                  <a:round/>
                </a:ln>
              </p:spPr>
              <p:txBody>
                <a:bodyPr rtlCol="0" anchor="ctr"/>
                <a:lstStyle/>
                <a:p>
                  <a:endParaRPr lang="en-GB"/>
                </a:p>
              </p:txBody>
            </p:sp>
            <p:sp>
              <p:nvSpPr>
                <p:cNvPr id="5685" name="Vrije vorm: vorm 5684">
                  <a:extLst>
                    <a:ext uri="{FF2B5EF4-FFF2-40B4-BE49-F238E27FC236}">
                      <a16:creationId xmlns:a16="http://schemas.microsoft.com/office/drawing/2014/main" id="{08B8CDAB-0C92-4A03-B515-93B23BE6FB9B}"/>
                    </a:ext>
                  </a:extLst>
                </p:cNvPr>
                <p:cNvSpPr/>
                <p:nvPr/>
              </p:nvSpPr>
              <p:spPr>
                <a:xfrm>
                  <a:off x="6492452" y="1552277"/>
                  <a:ext cx="358" cy="299"/>
                </a:xfrm>
                <a:custGeom>
                  <a:avLst/>
                  <a:gdLst>
                    <a:gd name="connsiteX0" fmla="*/ 0 w 358"/>
                    <a:gd name="connsiteY0" fmla="*/ 0 h 299"/>
                    <a:gd name="connsiteX1" fmla="*/ 359 w 358"/>
                    <a:gd name="connsiteY1" fmla="*/ 299 h 299"/>
                  </a:gdLst>
                  <a:ahLst/>
                  <a:cxnLst>
                    <a:cxn ang="0">
                      <a:pos x="connsiteX0" y="connsiteY0"/>
                    </a:cxn>
                    <a:cxn ang="0">
                      <a:pos x="connsiteX1" y="connsiteY1"/>
                    </a:cxn>
                  </a:cxnLst>
                  <a:rect l="l" t="t" r="r" b="b"/>
                  <a:pathLst>
                    <a:path w="358" h="299">
                      <a:moveTo>
                        <a:pt x="0" y="0"/>
                      </a:moveTo>
                      <a:lnTo>
                        <a:pt x="359" y="299"/>
                      </a:lnTo>
                    </a:path>
                  </a:pathLst>
                </a:custGeom>
                <a:noFill/>
                <a:ln w="6350" cap="rnd">
                  <a:solidFill>
                    <a:schemeClr val="bg1">
                      <a:alpha val="40000"/>
                    </a:schemeClr>
                  </a:solidFill>
                  <a:prstDash val="solid"/>
                  <a:round/>
                </a:ln>
              </p:spPr>
              <p:txBody>
                <a:bodyPr rtlCol="0" anchor="ctr"/>
                <a:lstStyle/>
                <a:p>
                  <a:endParaRPr lang="en-GB"/>
                </a:p>
              </p:txBody>
            </p:sp>
            <p:sp>
              <p:nvSpPr>
                <p:cNvPr id="5686" name="Vrije vorm: vorm 5685">
                  <a:extLst>
                    <a:ext uri="{FF2B5EF4-FFF2-40B4-BE49-F238E27FC236}">
                      <a16:creationId xmlns:a16="http://schemas.microsoft.com/office/drawing/2014/main" id="{47D1091B-7AED-4FC9-8CCD-FED950B8D08D}"/>
                    </a:ext>
                  </a:extLst>
                </p:cNvPr>
                <p:cNvSpPr/>
                <p:nvPr/>
              </p:nvSpPr>
              <p:spPr>
                <a:xfrm>
                  <a:off x="6501782" y="1536547"/>
                  <a:ext cx="8014" cy="13516"/>
                </a:xfrm>
                <a:custGeom>
                  <a:avLst/>
                  <a:gdLst>
                    <a:gd name="connsiteX0" fmla="*/ 0 w 8014"/>
                    <a:gd name="connsiteY0" fmla="*/ 13516 h 13516"/>
                    <a:gd name="connsiteX1" fmla="*/ 239 w 8014"/>
                    <a:gd name="connsiteY1" fmla="*/ 13158 h 13516"/>
                    <a:gd name="connsiteX2" fmla="*/ 598 w 8014"/>
                    <a:gd name="connsiteY2" fmla="*/ 12559 h 13516"/>
                    <a:gd name="connsiteX3" fmla="*/ 897 w 8014"/>
                    <a:gd name="connsiteY3" fmla="*/ 12021 h 13516"/>
                    <a:gd name="connsiteX4" fmla="*/ 2572 w 8014"/>
                    <a:gd name="connsiteY4" fmla="*/ 9210 h 13516"/>
                    <a:gd name="connsiteX5" fmla="*/ 4246 w 8014"/>
                    <a:gd name="connsiteY5" fmla="*/ 6399 h 13516"/>
                    <a:gd name="connsiteX6" fmla="*/ 4366 w 8014"/>
                    <a:gd name="connsiteY6" fmla="*/ 6160 h 13516"/>
                    <a:gd name="connsiteX7" fmla="*/ 4844 w 8014"/>
                    <a:gd name="connsiteY7" fmla="*/ 5383 h 13516"/>
                    <a:gd name="connsiteX8" fmla="*/ 6399 w 8014"/>
                    <a:gd name="connsiteY8" fmla="*/ 2691 h 13516"/>
                    <a:gd name="connsiteX9" fmla="*/ 6459 w 8014"/>
                    <a:gd name="connsiteY9" fmla="*/ 2572 h 13516"/>
                    <a:gd name="connsiteX10" fmla="*/ 6998 w 8014"/>
                    <a:gd name="connsiteY10" fmla="*/ 1675 h 13516"/>
                    <a:gd name="connsiteX11" fmla="*/ 7656 w 8014"/>
                    <a:gd name="connsiteY11" fmla="*/ 598 h 13516"/>
                    <a:gd name="connsiteX12" fmla="*/ 8014 w 8014"/>
                    <a:gd name="connsiteY12" fmla="*/ 0 h 1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4" h="13516">
                      <a:moveTo>
                        <a:pt x="0" y="13516"/>
                      </a:moveTo>
                      <a:lnTo>
                        <a:pt x="239" y="13158"/>
                      </a:lnTo>
                      <a:lnTo>
                        <a:pt x="598" y="12559"/>
                      </a:lnTo>
                      <a:lnTo>
                        <a:pt x="897" y="12021"/>
                      </a:lnTo>
                      <a:lnTo>
                        <a:pt x="2572" y="9210"/>
                      </a:lnTo>
                      <a:lnTo>
                        <a:pt x="4246" y="6399"/>
                      </a:lnTo>
                      <a:lnTo>
                        <a:pt x="4366" y="6160"/>
                      </a:lnTo>
                      <a:lnTo>
                        <a:pt x="4844" y="5383"/>
                      </a:lnTo>
                      <a:lnTo>
                        <a:pt x="6399" y="2691"/>
                      </a:lnTo>
                      <a:lnTo>
                        <a:pt x="6459" y="2572"/>
                      </a:lnTo>
                      <a:lnTo>
                        <a:pt x="6998" y="1675"/>
                      </a:lnTo>
                      <a:lnTo>
                        <a:pt x="7656" y="598"/>
                      </a:lnTo>
                      <a:lnTo>
                        <a:pt x="8014" y="0"/>
                      </a:lnTo>
                    </a:path>
                  </a:pathLst>
                </a:custGeom>
                <a:noFill/>
                <a:ln w="6350" cap="rnd">
                  <a:solidFill>
                    <a:schemeClr val="bg1">
                      <a:alpha val="40000"/>
                    </a:schemeClr>
                  </a:solidFill>
                  <a:prstDash val="solid"/>
                  <a:round/>
                </a:ln>
              </p:spPr>
              <p:txBody>
                <a:bodyPr rtlCol="0" anchor="ctr"/>
                <a:lstStyle/>
                <a:p>
                  <a:endParaRPr lang="en-GB"/>
                </a:p>
              </p:txBody>
            </p:sp>
            <p:sp>
              <p:nvSpPr>
                <p:cNvPr id="5687" name="Vrije vorm: vorm 5686">
                  <a:extLst>
                    <a:ext uri="{FF2B5EF4-FFF2-40B4-BE49-F238E27FC236}">
                      <a16:creationId xmlns:a16="http://schemas.microsoft.com/office/drawing/2014/main" id="{B3636051-081F-4355-BBF9-8146737EF374}"/>
                    </a:ext>
                  </a:extLst>
                </p:cNvPr>
                <p:cNvSpPr/>
                <p:nvPr/>
              </p:nvSpPr>
              <p:spPr>
                <a:xfrm>
                  <a:off x="6496997" y="1562982"/>
                  <a:ext cx="1196" cy="8552"/>
                </a:xfrm>
                <a:custGeom>
                  <a:avLst/>
                  <a:gdLst>
                    <a:gd name="connsiteX0" fmla="*/ 1076 w 1196"/>
                    <a:gd name="connsiteY0" fmla="*/ 0 h 8552"/>
                    <a:gd name="connsiteX1" fmla="*/ 1076 w 1196"/>
                    <a:gd name="connsiteY1" fmla="*/ 120 h 8552"/>
                    <a:gd name="connsiteX2" fmla="*/ 1076 w 1196"/>
                    <a:gd name="connsiteY2" fmla="*/ 120 h 8552"/>
                    <a:gd name="connsiteX3" fmla="*/ 1196 w 1196"/>
                    <a:gd name="connsiteY3" fmla="*/ 1495 h 8552"/>
                    <a:gd name="connsiteX4" fmla="*/ 658 w 1196"/>
                    <a:gd name="connsiteY4" fmla="*/ 4665 h 8552"/>
                    <a:gd name="connsiteX5" fmla="*/ 120 w 1196"/>
                    <a:gd name="connsiteY5" fmla="*/ 7835 h 8552"/>
                    <a:gd name="connsiteX6" fmla="*/ 0 w 1196"/>
                    <a:gd name="connsiteY6" fmla="*/ 8552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 h="8552">
                      <a:moveTo>
                        <a:pt x="1076" y="0"/>
                      </a:moveTo>
                      <a:lnTo>
                        <a:pt x="1076" y="120"/>
                      </a:lnTo>
                      <a:lnTo>
                        <a:pt x="1076" y="120"/>
                      </a:lnTo>
                      <a:lnTo>
                        <a:pt x="1196" y="1495"/>
                      </a:lnTo>
                      <a:lnTo>
                        <a:pt x="658" y="4665"/>
                      </a:lnTo>
                      <a:lnTo>
                        <a:pt x="120" y="7835"/>
                      </a:lnTo>
                      <a:lnTo>
                        <a:pt x="0" y="8552"/>
                      </a:lnTo>
                    </a:path>
                  </a:pathLst>
                </a:custGeom>
                <a:noFill/>
                <a:ln w="6350" cap="rnd">
                  <a:solidFill>
                    <a:schemeClr val="bg1">
                      <a:alpha val="40000"/>
                    </a:schemeClr>
                  </a:solidFill>
                  <a:prstDash val="solid"/>
                  <a:round/>
                </a:ln>
              </p:spPr>
              <p:txBody>
                <a:bodyPr rtlCol="0" anchor="ctr"/>
                <a:lstStyle/>
                <a:p>
                  <a:endParaRPr lang="en-GB"/>
                </a:p>
              </p:txBody>
            </p:sp>
            <p:sp>
              <p:nvSpPr>
                <p:cNvPr id="5688" name="Vrije vorm: vorm 5687">
                  <a:extLst>
                    <a:ext uri="{FF2B5EF4-FFF2-40B4-BE49-F238E27FC236}">
                      <a16:creationId xmlns:a16="http://schemas.microsoft.com/office/drawing/2014/main" id="{A7A8C866-9663-41FF-8646-22CA312B0007}"/>
                    </a:ext>
                  </a:extLst>
                </p:cNvPr>
                <p:cNvSpPr/>
                <p:nvPr/>
              </p:nvSpPr>
              <p:spPr>
                <a:xfrm>
                  <a:off x="6496579" y="1532540"/>
                  <a:ext cx="34987" cy="77988"/>
                </a:xfrm>
                <a:custGeom>
                  <a:avLst/>
                  <a:gdLst>
                    <a:gd name="connsiteX0" fmla="*/ 30861 w 34987"/>
                    <a:gd name="connsiteY0" fmla="*/ 0 h 77988"/>
                    <a:gd name="connsiteX1" fmla="*/ 29186 w 34987"/>
                    <a:gd name="connsiteY1" fmla="*/ 2811 h 77988"/>
                    <a:gd name="connsiteX2" fmla="*/ 27512 w 34987"/>
                    <a:gd name="connsiteY2" fmla="*/ 5622 h 77988"/>
                    <a:gd name="connsiteX3" fmla="*/ 25956 w 34987"/>
                    <a:gd name="connsiteY3" fmla="*/ 8253 h 77988"/>
                    <a:gd name="connsiteX4" fmla="*/ 25956 w 34987"/>
                    <a:gd name="connsiteY4" fmla="*/ 8253 h 77988"/>
                    <a:gd name="connsiteX5" fmla="*/ 24282 w 34987"/>
                    <a:gd name="connsiteY5" fmla="*/ 11064 h 77988"/>
                    <a:gd name="connsiteX6" fmla="*/ 23564 w 34987"/>
                    <a:gd name="connsiteY6" fmla="*/ 12320 h 77988"/>
                    <a:gd name="connsiteX7" fmla="*/ 22966 w 34987"/>
                    <a:gd name="connsiteY7" fmla="*/ 13337 h 77988"/>
                    <a:gd name="connsiteX8" fmla="*/ 21890 w 34987"/>
                    <a:gd name="connsiteY8" fmla="*/ 15131 h 77988"/>
                    <a:gd name="connsiteX9" fmla="*/ 21830 w 34987"/>
                    <a:gd name="connsiteY9" fmla="*/ 15251 h 77988"/>
                    <a:gd name="connsiteX10" fmla="*/ 20753 w 34987"/>
                    <a:gd name="connsiteY10" fmla="*/ 17105 h 77988"/>
                    <a:gd name="connsiteX11" fmla="*/ 19079 w 34987"/>
                    <a:gd name="connsiteY11" fmla="*/ 19916 h 77988"/>
                    <a:gd name="connsiteX12" fmla="*/ 17404 w 34987"/>
                    <a:gd name="connsiteY12" fmla="*/ 22727 h 77988"/>
                    <a:gd name="connsiteX13" fmla="*/ 16567 w 34987"/>
                    <a:gd name="connsiteY13" fmla="*/ 24162 h 77988"/>
                    <a:gd name="connsiteX14" fmla="*/ 16567 w 34987"/>
                    <a:gd name="connsiteY14" fmla="*/ 24162 h 77988"/>
                    <a:gd name="connsiteX15" fmla="*/ 15849 w 34987"/>
                    <a:gd name="connsiteY15" fmla="*/ 25418 h 77988"/>
                    <a:gd name="connsiteX16" fmla="*/ 15430 w 34987"/>
                    <a:gd name="connsiteY16" fmla="*/ 26136 h 77988"/>
                    <a:gd name="connsiteX17" fmla="*/ 15371 w 34987"/>
                    <a:gd name="connsiteY17" fmla="*/ 26195 h 77988"/>
                    <a:gd name="connsiteX18" fmla="*/ 13935 w 34987"/>
                    <a:gd name="connsiteY18" fmla="*/ 28648 h 77988"/>
                    <a:gd name="connsiteX19" fmla="*/ 13516 w 34987"/>
                    <a:gd name="connsiteY19" fmla="*/ 29365 h 77988"/>
                    <a:gd name="connsiteX20" fmla="*/ 12978 w 34987"/>
                    <a:gd name="connsiteY20" fmla="*/ 30262 h 77988"/>
                    <a:gd name="connsiteX21" fmla="*/ 12919 w 34987"/>
                    <a:gd name="connsiteY21" fmla="*/ 30382 h 77988"/>
                    <a:gd name="connsiteX22" fmla="*/ 11244 w 34987"/>
                    <a:gd name="connsiteY22" fmla="*/ 33193 h 77988"/>
                    <a:gd name="connsiteX23" fmla="*/ 9569 w 34987"/>
                    <a:gd name="connsiteY23" fmla="*/ 36004 h 77988"/>
                    <a:gd name="connsiteX24" fmla="*/ 7895 w 34987"/>
                    <a:gd name="connsiteY24" fmla="*/ 38815 h 77988"/>
                    <a:gd name="connsiteX25" fmla="*/ 6818 w 34987"/>
                    <a:gd name="connsiteY25" fmla="*/ 40609 h 77988"/>
                    <a:gd name="connsiteX26" fmla="*/ 6459 w 34987"/>
                    <a:gd name="connsiteY26" fmla="*/ 41207 h 77988"/>
                    <a:gd name="connsiteX27" fmla="*/ 4785 w 34987"/>
                    <a:gd name="connsiteY27" fmla="*/ 44018 h 77988"/>
                    <a:gd name="connsiteX28" fmla="*/ 4486 w 34987"/>
                    <a:gd name="connsiteY28" fmla="*/ 44496 h 77988"/>
                    <a:gd name="connsiteX29" fmla="*/ 2811 w 34987"/>
                    <a:gd name="connsiteY29" fmla="*/ 47307 h 77988"/>
                    <a:gd name="connsiteX30" fmla="*/ 2392 w 34987"/>
                    <a:gd name="connsiteY30" fmla="*/ 47965 h 77988"/>
                    <a:gd name="connsiteX31" fmla="*/ 718 w 34987"/>
                    <a:gd name="connsiteY31" fmla="*/ 50776 h 77988"/>
                    <a:gd name="connsiteX32" fmla="*/ 0 w 34987"/>
                    <a:gd name="connsiteY32" fmla="*/ 51972 h 77988"/>
                    <a:gd name="connsiteX33" fmla="*/ 2213 w 34987"/>
                    <a:gd name="connsiteY33" fmla="*/ 52630 h 77988"/>
                    <a:gd name="connsiteX34" fmla="*/ 2930 w 34987"/>
                    <a:gd name="connsiteY34" fmla="*/ 52870 h 77988"/>
                    <a:gd name="connsiteX35" fmla="*/ 5143 w 34987"/>
                    <a:gd name="connsiteY35" fmla="*/ 54484 h 77988"/>
                    <a:gd name="connsiteX36" fmla="*/ 6878 w 34987"/>
                    <a:gd name="connsiteY36" fmla="*/ 55740 h 77988"/>
                    <a:gd name="connsiteX37" fmla="*/ 9270 w 34987"/>
                    <a:gd name="connsiteY37" fmla="*/ 57535 h 77988"/>
                    <a:gd name="connsiteX38" fmla="*/ 11662 w 34987"/>
                    <a:gd name="connsiteY38" fmla="*/ 59329 h 77988"/>
                    <a:gd name="connsiteX39" fmla="*/ 14055 w 34987"/>
                    <a:gd name="connsiteY39" fmla="*/ 61123 h 77988"/>
                    <a:gd name="connsiteX40" fmla="*/ 16447 w 34987"/>
                    <a:gd name="connsiteY40" fmla="*/ 62917 h 77988"/>
                    <a:gd name="connsiteX41" fmla="*/ 18839 w 34987"/>
                    <a:gd name="connsiteY41" fmla="*/ 64711 h 77988"/>
                    <a:gd name="connsiteX42" fmla="*/ 21231 w 34987"/>
                    <a:gd name="connsiteY42" fmla="*/ 66506 h 77988"/>
                    <a:gd name="connsiteX43" fmla="*/ 23624 w 34987"/>
                    <a:gd name="connsiteY43" fmla="*/ 68300 h 77988"/>
                    <a:gd name="connsiteX44" fmla="*/ 26016 w 34987"/>
                    <a:gd name="connsiteY44" fmla="*/ 70094 h 77988"/>
                    <a:gd name="connsiteX45" fmla="*/ 26794 w 34987"/>
                    <a:gd name="connsiteY45" fmla="*/ 70692 h 77988"/>
                    <a:gd name="connsiteX46" fmla="*/ 27751 w 34987"/>
                    <a:gd name="connsiteY46" fmla="*/ 71410 h 77988"/>
                    <a:gd name="connsiteX47" fmla="*/ 27990 w 34987"/>
                    <a:gd name="connsiteY47" fmla="*/ 71589 h 77988"/>
                    <a:gd name="connsiteX48" fmla="*/ 30023 w 34987"/>
                    <a:gd name="connsiteY48" fmla="*/ 73443 h 77988"/>
                    <a:gd name="connsiteX49" fmla="*/ 32236 w 34987"/>
                    <a:gd name="connsiteY49" fmla="*/ 75477 h 77988"/>
                    <a:gd name="connsiteX50" fmla="*/ 32595 w 34987"/>
                    <a:gd name="connsiteY50" fmla="*/ 75776 h 77988"/>
                    <a:gd name="connsiteX51" fmla="*/ 34808 w 34987"/>
                    <a:gd name="connsiteY51" fmla="*/ 77809 h 77988"/>
                    <a:gd name="connsiteX52" fmla="*/ 34987 w 34987"/>
                    <a:gd name="connsiteY52" fmla="*/ 77989 h 7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987" h="77988">
                      <a:moveTo>
                        <a:pt x="30861" y="0"/>
                      </a:moveTo>
                      <a:lnTo>
                        <a:pt x="29186" y="2811"/>
                      </a:lnTo>
                      <a:lnTo>
                        <a:pt x="27512" y="5622"/>
                      </a:lnTo>
                      <a:lnTo>
                        <a:pt x="25956" y="8253"/>
                      </a:lnTo>
                      <a:lnTo>
                        <a:pt x="25956" y="8253"/>
                      </a:lnTo>
                      <a:lnTo>
                        <a:pt x="24282" y="11064"/>
                      </a:lnTo>
                      <a:lnTo>
                        <a:pt x="23564" y="12320"/>
                      </a:lnTo>
                      <a:lnTo>
                        <a:pt x="22966" y="13337"/>
                      </a:lnTo>
                      <a:lnTo>
                        <a:pt x="21890" y="15131"/>
                      </a:lnTo>
                      <a:lnTo>
                        <a:pt x="21830" y="15251"/>
                      </a:lnTo>
                      <a:lnTo>
                        <a:pt x="20753" y="17105"/>
                      </a:lnTo>
                      <a:lnTo>
                        <a:pt x="19079" y="19916"/>
                      </a:lnTo>
                      <a:lnTo>
                        <a:pt x="17404" y="22727"/>
                      </a:lnTo>
                      <a:lnTo>
                        <a:pt x="16567" y="24162"/>
                      </a:lnTo>
                      <a:lnTo>
                        <a:pt x="16567" y="24162"/>
                      </a:lnTo>
                      <a:lnTo>
                        <a:pt x="15849" y="25418"/>
                      </a:lnTo>
                      <a:lnTo>
                        <a:pt x="15430" y="26136"/>
                      </a:lnTo>
                      <a:lnTo>
                        <a:pt x="15371" y="26195"/>
                      </a:lnTo>
                      <a:lnTo>
                        <a:pt x="13935" y="28648"/>
                      </a:lnTo>
                      <a:lnTo>
                        <a:pt x="13516" y="29365"/>
                      </a:lnTo>
                      <a:lnTo>
                        <a:pt x="12978" y="30262"/>
                      </a:lnTo>
                      <a:lnTo>
                        <a:pt x="12919" y="30382"/>
                      </a:lnTo>
                      <a:lnTo>
                        <a:pt x="11244" y="33193"/>
                      </a:lnTo>
                      <a:lnTo>
                        <a:pt x="9569" y="36004"/>
                      </a:lnTo>
                      <a:lnTo>
                        <a:pt x="7895" y="38815"/>
                      </a:lnTo>
                      <a:lnTo>
                        <a:pt x="6818" y="40609"/>
                      </a:lnTo>
                      <a:lnTo>
                        <a:pt x="6459" y="41207"/>
                      </a:lnTo>
                      <a:lnTo>
                        <a:pt x="4785" y="44018"/>
                      </a:lnTo>
                      <a:lnTo>
                        <a:pt x="4486" y="44496"/>
                      </a:lnTo>
                      <a:lnTo>
                        <a:pt x="2811" y="47307"/>
                      </a:lnTo>
                      <a:lnTo>
                        <a:pt x="2392" y="47965"/>
                      </a:lnTo>
                      <a:lnTo>
                        <a:pt x="718" y="50776"/>
                      </a:lnTo>
                      <a:lnTo>
                        <a:pt x="0" y="51972"/>
                      </a:lnTo>
                      <a:lnTo>
                        <a:pt x="2213" y="52630"/>
                      </a:lnTo>
                      <a:lnTo>
                        <a:pt x="2930" y="52870"/>
                      </a:lnTo>
                      <a:lnTo>
                        <a:pt x="5143" y="54484"/>
                      </a:lnTo>
                      <a:lnTo>
                        <a:pt x="6878" y="55740"/>
                      </a:lnTo>
                      <a:lnTo>
                        <a:pt x="9270" y="57535"/>
                      </a:lnTo>
                      <a:lnTo>
                        <a:pt x="11662" y="59329"/>
                      </a:lnTo>
                      <a:lnTo>
                        <a:pt x="14055" y="61123"/>
                      </a:lnTo>
                      <a:lnTo>
                        <a:pt x="16447" y="62917"/>
                      </a:lnTo>
                      <a:lnTo>
                        <a:pt x="18839" y="64711"/>
                      </a:lnTo>
                      <a:lnTo>
                        <a:pt x="21231" y="66506"/>
                      </a:lnTo>
                      <a:lnTo>
                        <a:pt x="23624" y="68300"/>
                      </a:lnTo>
                      <a:lnTo>
                        <a:pt x="26016" y="70094"/>
                      </a:lnTo>
                      <a:lnTo>
                        <a:pt x="26794" y="70692"/>
                      </a:lnTo>
                      <a:lnTo>
                        <a:pt x="27751" y="71410"/>
                      </a:lnTo>
                      <a:lnTo>
                        <a:pt x="27990" y="71589"/>
                      </a:lnTo>
                      <a:lnTo>
                        <a:pt x="30023" y="73443"/>
                      </a:lnTo>
                      <a:lnTo>
                        <a:pt x="32236" y="75477"/>
                      </a:lnTo>
                      <a:lnTo>
                        <a:pt x="32595" y="75776"/>
                      </a:lnTo>
                      <a:lnTo>
                        <a:pt x="34808" y="77809"/>
                      </a:lnTo>
                      <a:lnTo>
                        <a:pt x="34987" y="77989"/>
                      </a:lnTo>
                    </a:path>
                  </a:pathLst>
                </a:custGeom>
                <a:noFill/>
                <a:ln w="6350" cap="rnd">
                  <a:solidFill>
                    <a:schemeClr val="bg1">
                      <a:alpha val="40000"/>
                    </a:schemeClr>
                  </a:solidFill>
                  <a:prstDash val="solid"/>
                  <a:round/>
                </a:ln>
              </p:spPr>
              <p:txBody>
                <a:bodyPr rtlCol="0" anchor="ctr"/>
                <a:lstStyle/>
                <a:p>
                  <a:endParaRPr lang="en-GB"/>
                </a:p>
              </p:txBody>
            </p:sp>
            <p:sp>
              <p:nvSpPr>
                <p:cNvPr id="5689" name="Vrije vorm: vorm 5688">
                  <a:extLst>
                    <a:ext uri="{FF2B5EF4-FFF2-40B4-BE49-F238E27FC236}">
                      <a16:creationId xmlns:a16="http://schemas.microsoft.com/office/drawing/2014/main" id="{FC022B57-C96E-4477-B085-D3F9CE1D88B5}"/>
                    </a:ext>
                  </a:extLst>
                </p:cNvPr>
                <p:cNvSpPr/>
                <p:nvPr/>
              </p:nvSpPr>
              <p:spPr>
                <a:xfrm>
                  <a:off x="6505371" y="1538641"/>
                  <a:ext cx="9509" cy="9748"/>
                </a:xfrm>
                <a:custGeom>
                  <a:avLst/>
                  <a:gdLst>
                    <a:gd name="connsiteX0" fmla="*/ 4306 w 9509"/>
                    <a:gd name="connsiteY0" fmla="*/ 0 h 9748"/>
                    <a:gd name="connsiteX1" fmla="*/ 4127 w 9509"/>
                    <a:gd name="connsiteY1" fmla="*/ 239 h 9748"/>
                    <a:gd name="connsiteX2" fmla="*/ 3588 w 9509"/>
                    <a:gd name="connsiteY2" fmla="*/ 1136 h 9748"/>
                    <a:gd name="connsiteX3" fmla="*/ 3528 w 9509"/>
                    <a:gd name="connsiteY3" fmla="*/ 1256 h 9748"/>
                    <a:gd name="connsiteX4" fmla="*/ 1973 w 9509"/>
                    <a:gd name="connsiteY4" fmla="*/ 3888 h 9748"/>
                    <a:gd name="connsiteX5" fmla="*/ 1495 w 9509"/>
                    <a:gd name="connsiteY5" fmla="*/ 4665 h 9748"/>
                    <a:gd name="connsiteX6" fmla="*/ 0 w 9509"/>
                    <a:gd name="connsiteY6" fmla="*/ 7237 h 9748"/>
                    <a:gd name="connsiteX7" fmla="*/ 1017 w 9509"/>
                    <a:gd name="connsiteY7" fmla="*/ 8014 h 9748"/>
                    <a:gd name="connsiteX8" fmla="*/ 3947 w 9509"/>
                    <a:gd name="connsiteY8" fmla="*/ 8612 h 9748"/>
                    <a:gd name="connsiteX9" fmla="*/ 5921 w 9509"/>
                    <a:gd name="connsiteY9" fmla="*/ 9031 h 9748"/>
                    <a:gd name="connsiteX10" fmla="*/ 6280 w 9509"/>
                    <a:gd name="connsiteY10" fmla="*/ 9091 h 9748"/>
                    <a:gd name="connsiteX11" fmla="*/ 6519 w 9509"/>
                    <a:gd name="connsiteY11" fmla="*/ 9150 h 9748"/>
                    <a:gd name="connsiteX12" fmla="*/ 6519 w 9509"/>
                    <a:gd name="connsiteY12" fmla="*/ 9150 h 9748"/>
                    <a:gd name="connsiteX13" fmla="*/ 6937 w 9509"/>
                    <a:gd name="connsiteY13" fmla="*/ 9210 h 9748"/>
                    <a:gd name="connsiteX14" fmla="*/ 9509 w 9509"/>
                    <a:gd name="connsiteY14" fmla="*/ 9749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09" h="9748">
                      <a:moveTo>
                        <a:pt x="4306" y="0"/>
                      </a:moveTo>
                      <a:lnTo>
                        <a:pt x="4127" y="239"/>
                      </a:lnTo>
                      <a:lnTo>
                        <a:pt x="3588" y="1136"/>
                      </a:lnTo>
                      <a:lnTo>
                        <a:pt x="3528" y="1256"/>
                      </a:lnTo>
                      <a:lnTo>
                        <a:pt x="1973" y="3888"/>
                      </a:lnTo>
                      <a:lnTo>
                        <a:pt x="1495" y="4665"/>
                      </a:lnTo>
                      <a:lnTo>
                        <a:pt x="0" y="7237"/>
                      </a:lnTo>
                      <a:lnTo>
                        <a:pt x="1017" y="8014"/>
                      </a:lnTo>
                      <a:lnTo>
                        <a:pt x="3947" y="8612"/>
                      </a:lnTo>
                      <a:lnTo>
                        <a:pt x="5921" y="9031"/>
                      </a:lnTo>
                      <a:lnTo>
                        <a:pt x="6280" y="9091"/>
                      </a:lnTo>
                      <a:lnTo>
                        <a:pt x="6519" y="9150"/>
                      </a:lnTo>
                      <a:lnTo>
                        <a:pt x="6519" y="9150"/>
                      </a:lnTo>
                      <a:lnTo>
                        <a:pt x="6937" y="9210"/>
                      </a:lnTo>
                      <a:lnTo>
                        <a:pt x="9509" y="9749"/>
                      </a:lnTo>
                    </a:path>
                  </a:pathLst>
                </a:custGeom>
                <a:noFill/>
                <a:ln w="6350" cap="rnd">
                  <a:solidFill>
                    <a:schemeClr val="bg1">
                      <a:alpha val="40000"/>
                    </a:schemeClr>
                  </a:solidFill>
                  <a:prstDash val="solid"/>
                  <a:round/>
                </a:ln>
              </p:spPr>
              <p:txBody>
                <a:bodyPr rtlCol="0" anchor="ctr"/>
                <a:lstStyle/>
                <a:p>
                  <a:endParaRPr lang="en-GB"/>
                </a:p>
              </p:txBody>
            </p:sp>
            <p:sp>
              <p:nvSpPr>
                <p:cNvPr id="5690" name="Vrije vorm: vorm 5689">
                  <a:extLst>
                    <a:ext uri="{FF2B5EF4-FFF2-40B4-BE49-F238E27FC236}">
                      <a16:creationId xmlns:a16="http://schemas.microsoft.com/office/drawing/2014/main" id="{80559BC8-DD09-4B1F-8EE1-B7FC8F36B44F}"/>
                    </a:ext>
                  </a:extLst>
                </p:cNvPr>
                <p:cNvSpPr/>
                <p:nvPr/>
              </p:nvSpPr>
              <p:spPr>
                <a:xfrm>
                  <a:off x="6513863" y="1533318"/>
                  <a:ext cx="4365" cy="15250"/>
                </a:xfrm>
                <a:custGeom>
                  <a:avLst/>
                  <a:gdLst>
                    <a:gd name="connsiteX0" fmla="*/ 0 w 4365"/>
                    <a:gd name="connsiteY0" fmla="*/ 14414 h 15250"/>
                    <a:gd name="connsiteX1" fmla="*/ 1017 w 4365"/>
                    <a:gd name="connsiteY1" fmla="*/ 15251 h 15250"/>
                    <a:gd name="connsiteX2" fmla="*/ 1375 w 4365"/>
                    <a:gd name="connsiteY2" fmla="*/ 14653 h 15250"/>
                    <a:gd name="connsiteX3" fmla="*/ 2333 w 4365"/>
                    <a:gd name="connsiteY3" fmla="*/ 13038 h 15250"/>
                    <a:gd name="connsiteX4" fmla="*/ 2691 w 4365"/>
                    <a:gd name="connsiteY4" fmla="*/ 12500 h 15250"/>
                    <a:gd name="connsiteX5" fmla="*/ 4067 w 4365"/>
                    <a:gd name="connsiteY5" fmla="*/ 10107 h 15250"/>
                    <a:gd name="connsiteX6" fmla="*/ 4067 w 4365"/>
                    <a:gd name="connsiteY6" fmla="*/ 9689 h 15250"/>
                    <a:gd name="connsiteX7" fmla="*/ 4187 w 4365"/>
                    <a:gd name="connsiteY7" fmla="*/ 6519 h 15250"/>
                    <a:gd name="connsiteX8" fmla="*/ 4187 w 4365"/>
                    <a:gd name="connsiteY8" fmla="*/ 6041 h 15250"/>
                    <a:gd name="connsiteX9" fmla="*/ 4187 w 4365"/>
                    <a:gd name="connsiteY9" fmla="*/ 5502 h 15250"/>
                    <a:gd name="connsiteX10" fmla="*/ 4246 w 4365"/>
                    <a:gd name="connsiteY10" fmla="*/ 3768 h 15250"/>
                    <a:gd name="connsiteX11" fmla="*/ 4246 w 4365"/>
                    <a:gd name="connsiteY11" fmla="*/ 3768 h 15250"/>
                    <a:gd name="connsiteX12" fmla="*/ 4246 w 4365"/>
                    <a:gd name="connsiteY12" fmla="*/ 3768 h 15250"/>
                    <a:gd name="connsiteX13" fmla="*/ 4366 w 4365"/>
                    <a:gd name="connsiteY13" fmla="*/ 598 h 15250"/>
                    <a:gd name="connsiteX14" fmla="*/ 4366 w 4365"/>
                    <a:gd name="connsiteY14" fmla="*/ 0 h 1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65" h="15250">
                      <a:moveTo>
                        <a:pt x="0" y="14414"/>
                      </a:moveTo>
                      <a:lnTo>
                        <a:pt x="1017" y="15251"/>
                      </a:lnTo>
                      <a:lnTo>
                        <a:pt x="1375" y="14653"/>
                      </a:lnTo>
                      <a:lnTo>
                        <a:pt x="2333" y="13038"/>
                      </a:lnTo>
                      <a:lnTo>
                        <a:pt x="2691" y="12500"/>
                      </a:lnTo>
                      <a:lnTo>
                        <a:pt x="4067" y="10107"/>
                      </a:lnTo>
                      <a:lnTo>
                        <a:pt x="4067" y="9689"/>
                      </a:lnTo>
                      <a:lnTo>
                        <a:pt x="4187" y="6519"/>
                      </a:lnTo>
                      <a:lnTo>
                        <a:pt x="4187" y="6041"/>
                      </a:lnTo>
                      <a:lnTo>
                        <a:pt x="4187" y="5502"/>
                      </a:lnTo>
                      <a:lnTo>
                        <a:pt x="4246" y="3768"/>
                      </a:lnTo>
                      <a:lnTo>
                        <a:pt x="4246" y="3768"/>
                      </a:lnTo>
                      <a:lnTo>
                        <a:pt x="4246" y="3768"/>
                      </a:lnTo>
                      <a:lnTo>
                        <a:pt x="4366" y="598"/>
                      </a:lnTo>
                      <a:lnTo>
                        <a:pt x="4366" y="0"/>
                      </a:lnTo>
                    </a:path>
                  </a:pathLst>
                </a:custGeom>
                <a:noFill/>
                <a:ln w="6350" cap="rnd">
                  <a:solidFill>
                    <a:schemeClr val="bg1">
                      <a:alpha val="40000"/>
                    </a:schemeClr>
                  </a:solidFill>
                  <a:prstDash val="solid"/>
                  <a:round/>
                </a:ln>
              </p:spPr>
              <p:txBody>
                <a:bodyPr rtlCol="0" anchor="ctr"/>
                <a:lstStyle/>
                <a:p>
                  <a:endParaRPr lang="en-GB"/>
                </a:p>
              </p:txBody>
            </p:sp>
            <p:sp>
              <p:nvSpPr>
                <p:cNvPr id="5691" name="Vrije vorm: vorm 5690">
                  <a:extLst>
                    <a:ext uri="{FF2B5EF4-FFF2-40B4-BE49-F238E27FC236}">
                      <a16:creationId xmlns:a16="http://schemas.microsoft.com/office/drawing/2014/main" id="{4A8D5239-7CD4-4FCF-ACDF-2DBC7BD7D350}"/>
                    </a:ext>
                  </a:extLst>
                </p:cNvPr>
                <p:cNvSpPr/>
                <p:nvPr/>
              </p:nvSpPr>
              <p:spPr>
                <a:xfrm>
                  <a:off x="6496399" y="1585589"/>
                  <a:ext cx="3289" cy="5621"/>
                </a:xfrm>
                <a:custGeom>
                  <a:avLst/>
                  <a:gdLst>
                    <a:gd name="connsiteX0" fmla="*/ 3289 w 3289"/>
                    <a:gd name="connsiteY0" fmla="*/ 0 h 5621"/>
                    <a:gd name="connsiteX1" fmla="*/ 2751 w 3289"/>
                    <a:gd name="connsiteY1" fmla="*/ 897 h 5621"/>
                    <a:gd name="connsiteX2" fmla="*/ 1615 w 3289"/>
                    <a:gd name="connsiteY2" fmla="*/ 2871 h 5621"/>
                    <a:gd name="connsiteX3" fmla="*/ 0 w 3289"/>
                    <a:gd name="connsiteY3" fmla="*/ 5622 h 5621"/>
                  </a:gdLst>
                  <a:ahLst/>
                  <a:cxnLst>
                    <a:cxn ang="0">
                      <a:pos x="connsiteX0" y="connsiteY0"/>
                    </a:cxn>
                    <a:cxn ang="0">
                      <a:pos x="connsiteX1" y="connsiteY1"/>
                    </a:cxn>
                    <a:cxn ang="0">
                      <a:pos x="connsiteX2" y="connsiteY2"/>
                    </a:cxn>
                    <a:cxn ang="0">
                      <a:pos x="connsiteX3" y="connsiteY3"/>
                    </a:cxn>
                  </a:cxnLst>
                  <a:rect l="l" t="t" r="r" b="b"/>
                  <a:pathLst>
                    <a:path w="3289" h="5621">
                      <a:moveTo>
                        <a:pt x="3289" y="0"/>
                      </a:moveTo>
                      <a:lnTo>
                        <a:pt x="2751" y="897"/>
                      </a:lnTo>
                      <a:lnTo>
                        <a:pt x="1615" y="2871"/>
                      </a:lnTo>
                      <a:lnTo>
                        <a:pt x="0" y="5622"/>
                      </a:lnTo>
                    </a:path>
                  </a:pathLst>
                </a:custGeom>
                <a:noFill/>
                <a:ln w="6350" cap="rnd">
                  <a:solidFill>
                    <a:schemeClr val="bg1">
                      <a:alpha val="40000"/>
                    </a:schemeClr>
                  </a:solidFill>
                  <a:prstDash val="solid"/>
                  <a:round/>
                </a:ln>
              </p:spPr>
              <p:txBody>
                <a:bodyPr rtlCol="0" anchor="ctr"/>
                <a:lstStyle/>
                <a:p>
                  <a:endParaRPr lang="en-GB"/>
                </a:p>
              </p:txBody>
            </p:sp>
            <p:sp>
              <p:nvSpPr>
                <p:cNvPr id="5692" name="Vrije vorm: vorm 5691">
                  <a:extLst>
                    <a:ext uri="{FF2B5EF4-FFF2-40B4-BE49-F238E27FC236}">
                      <a16:creationId xmlns:a16="http://schemas.microsoft.com/office/drawing/2014/main" id="{865F99DD-0BC6-4A62-A2EF-A1C0F9FDD105}"/>
                    </a:ext>
                  </a:extLst>
                </p:cNvPr>
                <p:cNvSpPr/>
                <p:nvPr/>
              </p:nvSpPr>
              <p:spPr>
                <a:xfrm>
                  <a:off x="6541494" y="1550841"/>
                  <a:ext cx="11363" cy="8014"/>
                </a:xfrm>
                <a:custGeom>
                  <a:avLst/>
                  <a:gdLst>
                    <a:gd name="connsiteX0" fmla="*/ 0 w 11363"/>
                    <a:gd name="connsiteY0" fmla="*/ 0 h 8014"/>
                    <a:gd name="connsiteX1" fmla="*/ 2930 w 11363"/>
                    <a:gd name="connsiteY1" fmla="*/ 598 h 8014"/>
                    <a:gd name="connsiteX2" fmla="*/ 3588 w 11363"/>
                    <a:gd name="connsiteY2" fmla="*/ 718 h 8014"/>
                    <a:gd name="connsiteX3" fmla="*/ 6160 w 11363"/>
                    <a:gd name="connsiteY3" fmla="*/ 2213 h 8014"/>
                    <a:gd name="connsiteX4" fmla="*/ 7596 w 11363"/>
                    <a:gd name="connsiteY4" fmla="*/ 3050 h 8014"/>
                    <a:gd name="connsiteX5" fmla="*/ 8971 w 11363"/>
                    <a:gd name="connsiteY5" fmla="*/ 4665 h 8014"/>
                    <a:gd name="connsiteX6" fmla="*/ 9689 w 11363"/>
                    <a:gd name="connsiteY6" fmla="*/ 5442 h 8014"/>
                    <a:gd name="connsiteX7" fmla="*/ 10765 w 11363"/>
                    <a:gd name="connsiteY7" fmla="*/ 6698 h 8014"/>
                    <a:gd name="connsiteX8" fmla="*/ 11364 w 11363"/>
                    <a:gd name="connsiteY8" fmla="*/ 8014 h 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3" h="8014">
                      <a:moveTo>
                        <a:pt x="0" y="0"/>
                      </a:moveTo>
                      <a:lnTo>
                        <a:pt x="2930" y="598"/>
                      </a:lnTo>
                      <a:lnTo>
                        <a:pt x="3588" y="718"/>
                      </a:lnTo>
                      <a:lnTo>
                        <a:pt x="6160" y="2213"/>
                      </a:lnTo>
                      <a:lnTo>
                        <a:pt x="7596" y="3050"/>
                      </a:lnTo>
                      <a:lnTo>
                        <a:pt x="8971" y="4665"/>
                      </a:lnTo>
                      <a:lnTo>
                        <a:pt x="9689" y="5442"/>
                      </a:lnTo>
                      <a:lnTo>
                        <a:pt x="10765" y="6698"/>
                      </a:lnTo>
                      <a:lnTo>
                        <a:pt x="11364" y="8014"/>
                      </a:lnTo>
                    </a:path>
                  </a:pathLst>
                </a:custGeom>
                <a:noFill/>
                <a:ln w="6350" cap="rnd">
                  <a:solidFill>
                    <a:schemeClr val="bg1">
                      <a:alpha val="40000"/>
                    </a:schemeClr>
                  </a:solidFill>
                  <a:prstDash val="solid"/>
                  <a:round/>
                </a:ln>
              </p:spPr>
              <p:txBody>
                <a:bodyPr rtlCol="0" anchor="ctr"/>
                <a:lstStyle/>
                <a:p>
                  <a:endParaRPr lang="en-GB"/>
                </a:p>
              </p:txBody>
            </p:sp>
            <p:sp>
              <p:nvSpPr>
                <p:cNvPr id="5693" name="Vrije vorm: vorm 5692">
                  <a:extLst>
                    <a:ext uri="{FF2B5EF4-FFF2-40B4-BE49-F238E27FC236}">
                      <a16:creationId xmlns:a16="http://schemas.microsoft.com/office/drawing/2014/main" id="{783C6BDE-2A7F-4B95-AC67-237CBCA896A1}"/>
                    </a:ext>
                  </a:extLst>
                </p:cNvPr>
                <p:cNvSpPr/>
                <p:nvPr/>
              </p:nvSpPr>
              <p:spPr>
                <a:xfrm>
                  <a:off x="6526064" y="1593364"/>
                  <a:ext cx="17643" cy="3588"/>
                </a:xfrm>
                <a:custGeom>
                  <a:avLst/>
                  <a:gdLst>
                    <a:gd name="connsiteX0" fmla="*/ 17643 w 17643"/>
                    <a:gd name="connsiteY0" fmla="*/ 0 h 3588"/>
                    <a:gd name="connsiteX1" fmla="*/ 17404 w 17643"/>
                    <a:gd name="connsiteY1" fmla="*/ 179 h 3588"/>
                    <a:gd name="connsiteX2" fmla="*/ 15012 w 17643"/>
                    <a:gd name="connsiteY2" fmla="*/ 1435 h 3588"/>
                    <a:gd name="connsiteX3" fmla="*/ 13875 w 17643"/>
                    <a:gd name="connsiteY3" fmla="*/ 2033 h 3588"/>
                    <a:gd name="connsiteX4" fmla="*/ 13457 w 17643"/>
                    <a:gd name="connsiteY4" fmla="*/ 2273 h 3588"/>
                    <a:gd name="connsiteX5" fmla="*/ 12799 w 17643"/>
                    <a:gd name="connsiteY5" fmla="*/ 2632 h 3588"/>
                    <a:gd name="connsiteX6" fmla="*/ 11065 w 17643"/>
                    <a:gd name="connsiteY6" fmla="*/ 2990 h 3588"/>
                    <a:gd name="connsiteX7" fmla="*/ 8074 w 17643"/>
                    <a:gd name="connsiteY7" fmla="*/ 3588 h 3588"/>
                    <a:gd name="connsiteX8" fmla="*/ 6878 w 17643"/>
                    <a:gd name="connsiteY8" fmla="*/ 3409 h 3588"/>
                    <a:gd name="connsiteX9" fmla="*/ 3888 w 17643"/>
                    <a:gd name="connsiteY9" fmla="*/ 3050 h 3588"/>
                    <a:gd name="connsiteX10" fmla="*/ 3469 w 17643"/>
                    <a:gd name="connsiteY10" fmla="*/ 2990 h 3588"/>
                    <a:gd name="connsiteX11" fmla="*/ 1795 w 17643"/>
                    <a:gd name="connsiteY11" fmla="*/ 2452 h 3588"/>
                    <a:gd name="connsiteX12" fmla="*/ 0 w 17643"/>
                    <a:gd name="connsiteY12" fmla="*/ 1914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643" h="3588">
                      <a:moveTo>
                        <a:pt x="17643" y="0"/>
                      </a:moveTo>
                      <a:lnTo>
                        <a:pt x="17404" y="179"/>
                      </a:lnTo>
                      <a:lnTo>
                        <a:pt x="15012" y="1435"/>
                      </a:lnTo>
                      <a:lnTo>
                        <a:pt x="13875" y="2033"/>
                      </a:lnTo>
                      <a:lnTo>
                        <a:pt x="13457" y="2273"/>
                      </a:lnTo>
                      <a:lnTo>
                        <a:pt x="12799" y="2632"/>
                      </a:lnTo>
                      <a:lnTo>
                        <a:pt x="11065" y="2990"/>
                      </a:lnTo>
                      <a:lnTo>
                        <a:pt x="8074" y="3588"/>
                      </a:lnTo>
                      <a:lnTo>
                        <a:pt x="6878" y="3409"/>
                      </a:lnTo>
                      <a:lnTo>
                        <a:pt x="3888" y="3050"/>
                      </a:lnTo>
                      <a:lnTo>
                        <a:pt x="3469" y="2990"/>
                      </a:lnTo>
                      <a:lnTo>
                        <a:pt x="1795" y="2452"/>
                      </a:lnTo>
                      <a:lnTo>
                        <a:pt x="0" y="1914"/>
                      </a:lnTo>
                    </a:path>
                  </a:pathLst>
                </a:custGeom>
                <a:noFill/>
                <a:ln w="6350" cap="rnd">
                  <a:solidFill>
                    <a:schemeClr val="bg1">
                      <a:alpha val="40000"/>
                    </a:schemeClr>
                  </a:solidFill>
                  <a:prstDash val="solid"/>
                  <a:round/>
                </a:ln>
              </p:spPr>
              <p:txBody>
                <a:bodyPr rtlCol="0" anchor="ctr"/>
                <a:lstStyle/>
                <a:p>
                  <a:endParaRPr lang="en-GB"/>
                </a:p>
              </p:txBody>
            </p:sp>
            <p:sp>
              <p:nvSpPr>
                <p:cNvPr id="5694" name="Vrije vorm: vorm 5693">
                  <a:extLst>
                    <a:ext uri="{FF2B5EF4-FFF2-40B4-BE49-F238E27FC236}">
                      <a16:creationId xmlns:a16="http://schemas.microsoft.com/office/drawing/2014/main" id="{C8142A68-804A-45D2-9C52-AA1B4BA7C37A}"/>
                    </a:ext>
                  </a:extLst>
                </p:cNvPr>
                <p:cNvSpPr/>
                <p:nvPr/>
              </p:nvSpPr>
              <p:spPr>
                <a:xfrm>
                  <a:off x="6633477" y="1584034"/>
                  <a:ext cx="19856" cy="35047"/>
                </a:xfrm>
                <a:custGeom>
                  <a:avLst/>
                  <a:gdLst>
                    <a:gd name="connsiteX0" fmla="*/ 6639 w 19856"/>
                    <a:gd name="connsiteY0" fmla="*/ 35047 h 35047"/>
                    <a:gd name="connsiteX1" fmla="*/ 5502 w 19856"/>
                    <a:gd name="connsiteY1" fmla="*/ 34389 h 35047"/>
                    <a:gd name="connsiteX2" fmla="*/ 4904 w 19856"/>
                    <a:gd name="connsiteY2" fmla="*/ 34030 h 35047"/>
                    <a:gd name="connsiteX3" fmla="*/ 3888 w 19856"/>
                    <a:gd name="connsiteY3" fmla="*/ 33492 h 35047"/>
                    <a:gd name="connsiteX4" fmla="*/ 3708 w 19856"/>
                    <a:gd name="connsiteY4" fmla="*/ 33253 h 35047"/>
                    <a:gd name="connsiteX5" fmla="*/ 3529 w 19856"/>
                    <a:gd name="connsiteY5" fmla="*/ 33014 h 35047"/>
                    <a:gd name="connsiteX6" fmla="*/ 2990 w 19856"/>
                    <a:gd name="connsiteY6" fmla="*/ 32356 h 35047"/>
                    <a:gd name="connsiteX7" fmla="*/ 2333 w 19856"/>
                    <a:gd name="connsiteY7" fmla="*/ 31518 h 35047"/>
                    <a:gd name="connsiteX8" fmla="*/ 1794 w 19856"/>
                    <a:gd name="connsiteY8" fmla="*/ 30860 h 35047"/>
                    <a:gd name="connsiteX9" fmla="*/ 1734 w 19856"/>
                    <a:gd name="connsiteY9" fmla="*/ 30741 h 35047"/>
                    <a:gd name="connsiteX10" fmla="*/ 658 w 19856"/>
                    <a:gd name="connsiteY10" fmla="*/ 27870 h 35047"/>
                    <a:gd name="connsiteX11" fmla="*/ 479 w 19856"/>
                    <a:gd name="connsiteY11" fmla="*/ 27332 h 35047"/>
                    <a:gd name="connsiteX12" fmla="*/ 120 w 19856"/>
                    <a:gd name="connsiteY12" fmla="*/ 24222 h 35047"/>
                    <a:gd name="connsiteX13" fmla="*/ 0 w 19856"/>
                    <a:gd name="connsiteY13" fmla="*/ 23086 h 35047"/>
                    <a:gd name="connsiteX14" fmla="*/ 299 w 19856"/>
                    <a:gd name="connsiteY14" fmla="*/ 19916 h 35047"/>
                    <a:gd name="connsiteX15" fmla="*/ 419 w 19856"/>
                    <a:gd name="connsiteY15" fmla="*/ 18480 h 35047"/>
                    <a:gd name="connsiteX16" fmla="*/ 1316 w 19856"/>
                    <a:gd name="connsiteY16" fmla="*/ 15370 h 35047"/>
                    <a:gd name="connsiteX17" fmla="*/ 1734 w 19856"/>
                    <a:gd name="connsiteY17" fmla="*/ 13815 h 35047"/>
                    <a:gd name="connsiteX18" fmla="*/ 3110 w 19856"/>
                    <a:gd name="connsiteY18" fmla="*/ 10885 h 35047"/>
                    <a:gd name="connsiteX19" fmla="*/ 3828 w 19856"/>
                    <a:gd name="connsiteY19" fmla="*/ 9390 h 35047"/>
                    <a:gd name="connsiteX20" fmla="*/ 5742 w 19856"/>
                    <a:gd name="connsiteY20" fmla="*/ 6758 h 35047"/>
                    <a:gd name="connsiteX21" fmla="*/ 6579 w 19856"/>
                    <a:gd name="connsiteY21" fmla="*/ 5562 h 35047"/>
                    <a:gd name="connsiteX22" fmla="*/ 8971 w 19856"/>
                    <a:gd name="connsiteY22" fmla="*/ 3349 h 35047"/>
                    <a:gd name="connsiteX23" fmla="*/ 9808 w 19856"/>
                    <a:gd name="connsiteY23" fmla="*/ 2572 h 35047"/>
                    <a:gd name="connsiteX24" fmla="*/ 11603 w 19856"/>
                    <a:gd name="connsiteY24" fmla="*/ 1555 h 35047"/>
                    <a:gd name="connsiteX25" fmla="*/ 12141 w 19856"/>
                    <a:gd name="connsiteY25" fmla="*/ 1256 h 35047"/>
                    <a:gd name="connsiteX26" fmla="*/ 13218 w 19856"/>
                    <a:gd name="connsiteY26" fmla="*/ 658 h 35047"/>
                    <a:gd name="connsiteX27" fmla="*/ 13277 w 19856"/>
                    <a:gd name="connsiteY27" fmla="*/ 658 h 35047"/>
                    <a:gd name="connsiteX28" fmla="*/ 15072 w 19856"/>
                    <a:gd name="connsiteY28" fmla="*/ 299 h 35047"/>
                    <a:gd name="connsiteX29" fmla="*/ 16088 w 19856"/>
                    <a:gd name="connsiteY29" fmla="*/ 120 h 35047"/>
                    <a:gd name="connsiteX30" fmla="*/ 16686 w 19856"/>
                    <a:gd name="connsiteY30" fmla="*/ 0 h 35047"/>
                    <a:gd name="connsiteX31" fmla="*/ 19676 w 19856"/>
                    <a:gd name="connsiteY31" fmla="*/ 478 h 35047"/>
                    <a:gd name="connsiteX32" fmla="*/ 19856 w 19856"/>
                    <a:gd name="connsiteY32" fmla="*/ 478 h 3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856" h="35047">
                      <a:moveTo>
                        <a:pt x="6639" y="35047"/>
                      </a:moveTo>
                      <a:lnTo>
                        <a:pt x="5502" y="34389"/>
                      </a:lnTo>
                      <a:lnTo>
                        <a:pt x="4904" y="34030"/>
                      </a:lnTo>
                      <a:lnTo>
                        <a:pt x="3888" y="33492"/>
                      </a:lnTo>
                      <a:lnTo>
                        <a:pt x="3708" y="33253"/>
                      </a:lnTo>
                      <a:lnTo>
                        <a:pt x="3529" y="33014"/>
                      </a:lnTo>
                      <a:lnTo>
                        <a:pt x="2990" y="32356"/>
                      </a:lnTo>
                      <a:lnTo>
                        <a:pt x="2333" y="31518"/>
                      </a:lnTo>
                      <a:lnTo>
                        <a:pt x="1794" y="30860"/>
                      </a:lnTo>
                      <a:lnTo>
                        <a:pt x="1734" y="30741"/>
                      </a:lnTo>
                      <a:lnTo>
                        <a:pt x="658" y="27870"/>
                      </a:lnTo>
                      <a:lnTo>
                        <a:pt x="479" y="27332"/>
                      </a:lnTo>
                      <a:lnTo>
                        <a:pt x="120" y="24222"/>
                      </a:lnTo>
                      <a:lnTo>
                        <a:pt x="0" y="23086"/>
                      </a:lnTo>
                      <a:lnTo>
                        <a:pt x="299" y="19916"/>
                      </a:lnTo>
                      <a:lnTo>
                        <a:pt x="419" y="18480"/>
                      </a:lnTo>
                      <a:lnTo>
                        <a:pt x="1316" y="15370"/>
                      </a:lnTo>
                      <a:lnTo>
                        <a:pt x="1734" y="13815"/>
                      </a:lnTo>
                      <a:lnTo>
                        <a:pt x="3110" y="10885"/>
                      </a:lnTo>
                      <a:lnTo>
                        <a:pt x="3828" y="9390"/>
                      </a:lnTo>
                      <a:lnTo>
                        <a:pt x="5742" y="6758"/>
                      </a:lnTo>
                      <a:lnTo>
                        <a:pt x="6579" y="5562"/>
                      </a:lnTo>
                      <a:lnTo>
                        <a:pt x="8971" y="3349"/>
                      </a:lnTo>
                      <a:lnTo>
                        <a:pt x="9808" y="2572"/>
                      </a:lnTo>
                      <a:lnTo>
                        <a:pt x="11603" y="1555"/>
                      </a:lnTo>
                      <a:lnTo>
                        <a:pt x="12141" y="1256"/>
                      </a:lnTo>
                      <a:lnTo>
                        <a:pt x="13218" y="658"/>
                      </a:lnTo>
                      <a:lnTo>
                        <a:pt x="13277" y="658"/>
                      </a:lnTo>
                      <a:lnTo>
                        <a:pt x="15072" y="299"/>
                      </a:lnTo>
                      <a:lnTo>
                        <a:pt x="16088" y="120"/>
                      </a:lnTo>
                      <a:lnTo>
                        <a:pt x="16686" y="0"/>
                      </a:lnTo>
                      <a:lnTo>
                        <a:pt x="19676" y="478"/>
                      </a:lnTo>
                      <a:lnTo>
                        <a:pt x="19856" y="478"/>
                      </a:lnTo>
                    </a:path>
                  </a:pathLst>
                </a:custGeom>
                <a:noFill/>
                <a:ln w="6350" cap="rnd">
                  <a:solidFill>
                    <a:schemeClr val="bg1">
                      <a:alpha val="40000"/>
                    </a:schemeClr>
                  </a:solidFill>
                  <a:prstDash val="solid"/>
                  <a:round/>
                </a:ln>
              </p:spPr>
              <p:txBody>
                <a:bodyPr rtlCol="0" anchor="ctr"/>
                <a:lstStyle/>
                <a:p>
                  <a:endParaRPr lang="en-GB"/>
                </a:p>
              </p:txBody>
            </p:sp>
            <p:sp>
              <p:nvSpPr>
                <p:cNvPr id="5695" name="Vrije vorm: vorm 5694">
                  <a:extLst>
                    <a:ext uri="{FF2B5EF4-FFF2-40B4-BE49-F238E27FC236}">
                      <a16:creationId xmlns:a16="http://schemas.microsoft.com/office/drawing/2014/main" id="{18273F2E-8AE5-441E-B3C7-5060B68E65B8}"/>
                    </a:ext>
                  </a:extLst>
                </p:cNvPr>
                <p:cNvSpPr/>
                <p:nvPr/>
              </p:nvSpPr>
              <p:spPr>
                <a:xfrm>
                  <a:off x="6648489" y="1583436"/>
                  <a:ext cx="11124" cy="12559"/>
                </a:xfrm>
                <a:custGeom>
                  <a:avLst/>
                  <a:gdLst>
                    <a:gd name="connsiteX0" fmla="*/ 0 w 11124"/>
                    <a:gd name="connsiteY0" fmla="*/ 0 h 12559"/>
                    <a:gd name="connsiteX1" fmla="*/ 299 w 11124"/>
                    <a:gd name="connsiteY1" fmla="*/ 60 h 12559"/>
                    <a:gd name="connsiteX2" fmla="*/ 3229 w 11124"/>
                    <a:gd name="connsiteY2" fmla="*/ 718 h 12559"/>
                    <a:gd name="connsiteX3" fmla="*/ 4785 w 11124"/>
                    <a:gd name="connsiteY3" fmla="*/ 1076 h 12559"/>
                    <a:gd name="connsiteX4" fmla="*/ 7296 w 11124"/>
                    <a:gd name="connsiteY4" fmla="*/ 2691 h 12559"/>
                    <a:gd name="connsiteX5" fmla="*/ 7476 w 11124"/>
                    <a:gd name="connsiteY5" fmla="*/ 2811 h 12559"/>
                    <a:gd name="connsiteX6" fmla="*/ 9270 w 11124"/>
                    <a:gd name="connsiteY6" fmla="*/ 5263 h 12559"/>
                    <a:gd name="connsiteX7" fmla="*/ 9509 w 11124"/>
                    <a:gd name="connsiteY7" fmla="*/ 5562 h 12559"/>
                    <a:gd name="connsiteX8" fmla="*/ 10526 w 11124"/>
                    <a:gd name="connsiteY8" fmla="*/ 8493 h 12559"/>
                    <a:gd name="connsiteX9" fmla="*/ 10765 w 11124"/>
                    <a:gd name="connsiteY9" fmla="*/ 9150 h 12559"/>
                    <a:gd name="connsiteX10" fmla="*/ 10945 w 11124"/>
                    <a:gd name="connsiteY10" fmla="*/ 10945 h 12559"/>
                    <a:gd name="connsiteX11" fmla="*/ 11124 w 11124"/>
                    <a:gd name="connsiteY11" fmla="*/ 1256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124" h="12559">
                      <a:moveTo>
                        <a:pt x="0" y="0"/>
                      </a:moveTo>
                      <a:lnTo>
                        <a:pt x="299" y="60"/>
                      </a:lnTo>
                      <a:lnTo>
                        <a:pt x="3229" y="718"/>
                      </a:lnTo>
                      <a:lnTo>
                        <a:pt x="4785" y="1076"/>
                      </a:lnTo>
                      <a:lnTo>
                        <a:pt x="7296" y="2691"/>
                      </a:lnTo>
                      <a:lnTo>
                        <a:pt x="7476" y="2811"/>
                      </a:lnTo>
                      <a:lnTo>
                        <a:pt x="9270" y="5263"/>
                      </a:lnTo>
                      <a:lnTo>
                        <a:pt x="9509" y="5562"/>
                      </a:lnTo>
                      <a:lnTo>
                        <a:pt x="10526" y="8493"/>
                      </a:lnTo>
                      <a:lnTo>
                        <a:pt x="10765" y="9150"/>
                      </a:lnTo>
                      <a:lnTo>
                        <a:pt x="10945" y="10945"/>
                      </a:lnTo>
                      <a:lnTo>
                        <a:pt x="11124" y="12560"/>
                      </a:lnTo>
                    </a:path>
                  </a:pathLst>
                </a:custGeom>
                <a:noFill/>
                <a:ln w="6350" cap="rnd">
                  <a:solidFill>
                    <a:schemeClr val="bg1">
                      <a:alpha val="40000"/>
                    </a:schemeClr>
                  </a:solidFill>
                  <a:prstDash val="solid"/>
                  <a:round/>
                </a:ln>
              </p:spPr>
              <p:txBody>
                <a:bodyPr rtlCol="0" anchor="ctr"/>
                <a:lstStyle/>
                <a:p>
                  <a:endParaRPr lang="en-GB"/>
                </a:p>
              </p:txBody>
            </p:sp>
            <p:sp>
              <p:nvSpPr>
                <p:cNvPr id="5696" name="Vrije vorm: vorm 5695">
                  <a:extLst>
                    <a:ext uri="{FF2B5EF4-FFF2-40B4-BE49-F238E27FC236}">
                      <a16:creationId xmlns:a16="http://schemas.microsoft.com/office/drawing/2014/main" id="{9183700B-C20D-4A10-A71B-249B451D4094}"/>
                    </a:ext>
                  </a:extLst>
                </p:cNvPr>
                <p:cNvSpPr/>
                <p:nvPr/>
              </p:nvSpPr>
              <p:spPr>
                <a:xfrm>
                  <a:off x="6635451" y="1612802"/>
                  <a:ext cx="18300" cy="6638"/>
                </a:xfrm>
                <a:custGeom>
                  <a:avLst/>
                  <a:gdLst>
                    <a:gd name="connsiteX0" fmla="*/ 18301 w 18300"/>
                    <a:gd name="connsiteY0" fmla="*/ 0 h 6638"/>
                    <a:gd name="connsiteX1" fmla="*/ 17583 w 18300"/>
                    <a:gd name="connsiteY1" fmla="*/ 957 h 6638"/>
                    <a:gd name="connsiteX2" fmla="*/ 16626 w 18300"/>
                    <a:gd name="connsiteY2" fmla="*/ 1854 h 6638"/>
                    <a:gd name="connsiteX3" fmla="*/ 14473 w 18300"/>
                    <a:gd name="connsiteY3" fmla="*/ 3887 h 6638"/>
                    <a:gd name="connsiteX4" fmla="*/ 11722 w 18300"/>
                    <a:gd name="connsiteY4" fmla="*/ 5502 h 6638"/>
                    <a:gd name="connsiteX5" fmla="*/ 11124 w 18300"/>
                    <a:gd name="connsiteY5" fmla="*/ 5861 h 6638"/>
                    <a:gd name="connsiteX6" fmla="*/ 8134 w 18300"/>
                    <a:gd name="connsiteY6" fmla="*/ 6579 h 6638"/>
                    <a:gd name="connsiteX7" fmla="*/ 7775 w 18300"/>
                    <a:gd name="connsiteY7" fmla="*/ 6639 h 6638"/>
                    <a:gd name="connsiteX8" fmla="*/ 4785 w 18300"/>
                    <a:gd name="connsiteY8" fmla="*/ 6280 h 6638"/>
                    <a:gd name="connsiteX9" fmla="*/ 4605 w 18300"/>
                    <a:gd name="connsiteY9" fmla="*/ 6280 h 6638"/>
                    <a:gd name="connsiteX10" fmla="*/ 3110 w 18300"/>
                    <a:gd name="connsiteY10" fmla="*/ 5861 h 6638"/>
                    <a:gd name="connsiteX11" fmla="*/ 1136 w 18300"/>
                    <a:gd name="connsiteY11" fmla="*/ 5263 h 6638"/>
                    <a:gd name="connsiteX12" fmla="*/ 897 w 18300"/>
                    <a:gd name="connsiteY12" fmla="*/ 5203 h 6638"/>
                    <a:gd name="connsiteX13" fmla="*/ 359 w 18300"/>
                    <a:gd name="connsiteY13" fmla="*/ 5024 h 6638"/>
                    <a:gd name="connsiteX14" fmla="*/ 0 w 18300"/>
                    <a:gd name="connsiteY14" fmla="*/ 4904 h 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300" h="6638">
                      <a:moveTo>
                        <a:pt x="18301" y="0"/>
                      </a:moveTo>
                      <a:lnTo>
                        <a:pt x="17583" y="957"/>
                      </a:lnTo>
                      <a:lnTo>
                        <a:pt x="16626" y="1854"/>
                      </a:lnTo>
                      <a:lnTo>
                        <a:pt x="14473" y="3887"/>
                      </a:lnTo>
                      <a:lnTo>
                        <a:pt x="11722" y="5502"/>
                      </a:lnTo>
                      <a:lnTo>
                        <a:pt x="11124" y="5861"/>
                      </a:lnTo>
                      <a:lnTo>
                        <a:pt x="8134" y="6579"/>
                      </a:lnTo>
                      <a:lnTo>
                        <a:pt x="7775" y="6639"/>
                      </a:lnTo>
                      <a:lnTo>
                        <a:pt x="4785" y="6280"/>
                      </a:lnTo>
                      <a:lnTo>
                        <a:pt x="4605" y="6280"/>
                      </a:lnTo>
                      <a:lnTo>
                        <a:pt x="3110" y="5861"/>
                      </a:lnTo>
                      <a:lnTo>
                        <a:pt x="1136" y="5263"/>
                      </a:lnTo>
                      <a:lnTo>
                        <a:pt x="897" y="5203"/>
                      </a:lnTo>
                      <a:lnTo>
                        <a:pt x="359" y="5024"/>
                      </a:lnTo>
                      <a:lnTo>
                        <a:pt x="0" y="4904"/>
                      </a:lnTo>
                    </a:path>
                  </a:pathLst>
                </a:custGeom>
                <a:noFill/>
                <a:ln w="6350" cap="rnd">
                  <a:solidFill>
                    <a:schemeClr val="bg1">
                      <a:alpha val="40000"/>
                    </a:schemeClr>
                  </a:solidFill>
                  <a:prstDash val="solid"/>
                  <a:round/>
                </a:ln>
              </p:spPr>
              <p:txBody>
                <a:bodyPr rtlCol="0" anchor="ctr"/>
                <a:lstStyle/>
                <a:p>
                  <a:endParaRPr lang="en-GB"/>
                </a:p>
              </p:txBody>
            </p:sp>
            <p:sp>
              <p:nvSpPr>
                <p:cNvPr id="5697" name="Vrije vorm: vorm 5696">
                  <a:extLst>
                    <a:ext uri="{FF2B5EF4-FFF2-40B4-BE49-F238E27FC236}">
                      <a16:creationId xmlns:a16="http://schemas.microsoft.com/office/drawing/2014/main" id="{C85C60D8-DAC6-40F1-9E0B-3ECFBA904044}"/>
                    </a:ext>
                  </a:extLst>
                </p:cNvPr>
                <p:cNvSpPr/>
                <p:nvPr/>
              </p:nvSpPr>
              <p:spPr>
                <a:xfrm>
                  <a:off x="6657042" y="1595158"/>
                  <a:ext cx="5023" cy="1255"/>
                </a:xfrm>
                <a:custGeom>
                  <a:avLst/>
                  <a:gdLst>
                    <a:gd name="connsiteX0" fmla="*/ 0 w 5023"/>
                    <a:gd name="connsiteY0" fmla="*/ 0 h 1255"/>
                    <a:gd name="connsiteX1" fmla="*/ 299 w 5023"/>
                    <a:gd name="connsiteY1" fmla="*/ 179 h 1255"/>
                    <a:gd name="connsiteX2" fmla="*/ 658 w 5023"/>
                    <a:gd name="connsiteY2" fmla="*/ 299 h 1255"/>
                    <a:gd name="connsiteX3" fmla="*/ 718 w 5023"/>
                    <a:gd name="connsiteY3" fmla="*/ 299 h 1255"/>
                    <a:gd name="connsiteX4" fmla="*/ 778 w 5023"/>
                    <a:gd name="connsiteY4" fmla="*/ 299 h 1255"/>
                    <a:gd name="connsiteX5" fmla="*/ 1076 w 5023"/>
                    <a:gd name="connsiteY5" fmla="*/ 359 h 1255"/>
                    <a:gd name="connsiteX6" fmla="*/ 2153 w 5023"/>
                    <a:gd name="connsiteY6" fmla="*/ 598 h 1255"/>
                    <a:gd name="connsiteX7" fmla="*/ 2452 w 5023"/>
                    <a:gd name="connsiteY7" fmla="*/ 658 h 1255"/>
                    <a:gd name="connsiteX8" fmla="*/ 5024 w 5023"/>
                    <a:gd name="connsiteY8" fmla="*/ 1256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3" h="1255">
                      <a:moveTo>
                        <a:pt x="0" y="0"/>
                      </a:moveTo>
                      <a:lnTo>
                        <a:pt x="299" y="179"/>
                      </a:lnTo>
                      <a:lnTo>
                        <a:pt x="658" y="299"/>
                      </a:lnTo>
                      <a:lnTo>
                        <a:pt x="718" y="299"/>
                      </a:lnTo>
                      <a:lnTo>
                        <a:pt x="778" y="299"/>
                      </a:lnTo>
                      <a:lnTo>
                        <a:pt x="1076" y="359"/>
                      </a:lnTo>
                      <a:lnTo>
                        <a:pt x="2153" y="598"/>
                      </a:lnTo>
                      <a:lnTo>
                        <a:pt x="2452" y="658"/>
                      </a:lnTo>
                      <a:lnTo>
                        <a:pt x="5024" y="1256"/>
                      </a:lnTo>
                    </a:path>
                  </a:pathLst>
                </a:custGeom>
                <a:noFill/>
                <a:ln w="6350" cap="rnd">
                  <a:solidFill>
                    <a:schemeClr val="bg1">
                      <a:alpha val="40000"/>
                    </a:schemeClr>
                  </a:solidFill>
                  <a:prstDash val="solid"/>
                  <a:round/>
                </a:ln>
              </p:spPr>
              <p:txBody>
                <a:bodyPr rtlCol="0" anchor="ctr"/>
                <a:lstStyle/>
                <a:p>
                  <a:endParaRPr lang="en-GB"/>
                </a:p>
              </p:txBody>
            </p:sp>
            <p:sp>
              <p:nvSpPr>
                <p:cNvPr id="5698" name="Vrije vorm: vorm 5697">
                  <a:extLst>
                    <a:ext uri="{FF2B5EF4-FFF2-40B4-BE49-F238E27FC236}">
                      <a16:creationId xmlns:a16="http://schemas.microsoft.com/office/drawing/2014/main" id="{84CD32B0-928B-4EED-8F9F-0630CECE3CCD}"/>
                    </a:ext>
                  </a:extLst>
                </p:cNvPr>
                <p:cNvSpPr/>
                <p:nvPr/>
              </p:nvSpPr>
              <p:spPr>
                <a:xfrm>
                  <a:off x="6657580" y="1595278"/>
                  <a:ext cx="179" cy="239"/>
                </a:xfrm>
                <a:custGeom>
                  <a:avLst/>
                  <a:gdLst>
                    <a:gd name="connsiteX0" fmla="*/ 0 w 179"/>
                    <a:gd name="connsiteY0" fmla="*/ 0 h 239"/>
                    <a:gd name="connsiteX1" fmla="*/ 180 w 179"/>
                    <a:gd name="connsiteY1" fmla="*/ 239 h 239"/>
                  </a:gdLst>
                  <a:ahLst/>
                  <a:cxnLst>
                    <a:cxn ang="0">
                      <a:pos x="connsiteX0" y="connsiteY0"/>
                    </a:cxn>
                    <a:cxn ang="0">
                      <a:pos x="connsiteX1" y="connsiteY1"/>
                    </a:cxn>
                  </a:cxnLst>
                  <a:rect l="l" t="t" r="r" b="b"/>
                  <a:pathLst>
                    <a:path w="179" h="239">
                      <a:moveTo>
                        <a:pt x="0" y="0"/>
                      </a:moveTo>
                      <a:lnTo>
                        <a:pt x="180" y="239"/>
                      </a:lnTo>
                    </a:path>
                  </a:pathLst>
                </a:custGeom>
                <a:noFill/>
                <a:ln w="6350" cap="rnd">
                  <a:solidFill>
                    <a:schemeClr val="bg1">
                      <a:alpha val="40000"/>
                    </a:schemeClr>
                  </a:solidFill>
                  <a:prstDash val="solid"/>
                  <a:round/>
                </a:ln>
              </p:spPr>
              <p:txBody>
                <a:bodyPr rtlCol="0" anchor="ctr"/>
                <a:lstStyle/>
                <a:p>
                  <a:endParaRPr lang="en-GB"/>
                </a:p>
              </p:txBody>
            </p:sp>
            <p:sp>
              <p:nvSpPr>
                <p:cNvPr id="5699" name="Vrije vorm: vorm 5698">
                  <a:extLst>
                    <a:ext uri="{FF2B5EF4-FFF2-40B4-BE49-F238E27FC236}">
                      <a16:creationId xmlns:a16="http://schemas.microsoft.com/office/drawing/2014/main" id="{D0A0F04E-447B-4B16-A1A1-37C3FFAA0859}"/>
                    </a:ext>
                  </a:extLst>
                </p:cNvPr>
                <p:cNvSpPr/>
                <p:nvPr/>
              </p:nvSpPr>
              <p:spPr>
                <a:xfrm>
                  <a:off x="6518707" y="1550722"/>
                  <a:ext cx="26374" cy="45453"/>
                </a:xfrm>
                <a:custGeom>
                  <a:avLst/>
                  <a:gdLst>
                    <a:gd name="connsiteX0" fmla="*/ 26375 w 26374"/>
                    <a:gd name="connsiteY0" fmla="*/ 837 h 45453"/>
                    <a:gd name="connsiteX1" fmla="*/ 23444 w 26374"/>
                    <a:gd name="connsiteY1" fmla="*/ 299 h 45453"/>
                    <a:gd name="connsiteX2" fmla="*/ 22906 w 26374"/>
                    <a:gd name="connsiteY2" fmla="*/ 179 h 45453"/>
                    <a:gd name="connsiteX3" fmla="*/ 21770 w 26374"/>
                    <a:gd name="connsiteY3" fmla="*/ 0 h 45453"/>
                    <a:gd name="connsiteX4" fmla="*/ 18720 w 26374"/>
                    <a:gd name="connsiteY4" fmla="*/ 478 h 45453"/>
                    <a:gd name="connsiteX5" fmla="*/ 16926 w 26374"/>
                    <a:gd name="connsiteY5" fmla="*/ 778 h 45453"/>
                    <a:gd name="connsiteX6" fmla="*/ 16866 w 26374"/>
                    <a:gd name="connsiteY6" fmla="*/ 837 h 45453"/>
                    <a:gd name="connsiteX7" fmla="*/ 16866 w 26374"/>
                    <a:gd name="connsiteY7" fmla="*/ 837 h 45453"/>
                    <a:gd name="connsiteX8" fmla="*/ 13995 w 26374"/>
                    <a:gd name="connsiteY8" fmla="*/ 2213 h 45453"/>
                    <a:gd name="connsiteX9" fmla="*/ 12141 w 26374"/>
                    <a:gd name="connsiteY9" fmla="*/ 3110 h 45453"/>
                    <a:gd name="connsiteX10" fmla="*/ 9689 w 26374"/>
                    <a:gd name="connsiteY10" fmla="*/ 5203 h 45453"/>
                    <a:gd name="connsiteX11" fmla="*/ 7775 w 26374"/>
                    <a:gd name="connsiteY11" fmla="*/ 6878 h 45453"/>
                    <a:gd name="connsiteX12" fmla="*/ 5861 w 26374"/>
                    <a:gd name="connsiteY12" fmla="*/ 9509 h 45453"/>
                    <a:gd name="connsiteX13" fmla="*/ 4187 w 26374"/>
                    <a:gd name="connsiteY13" fmla="*/ 11782 h 45453"/>
                    <a:gd name="connsiteX14" fmla="*/ 3529 w 26374"/>
                    <a:gd name="connsiteY14" fmla="*/ 13217 h 45453"/>
                    <a:gd name="connsiteX15" fmla="*/ 3529 w 26374"/>
                    <a:gd name="connsiteY15" fmla="*/ 13217 h 45453"/>
                    <a:gd name="connsiteX16" fmla="*/ 2213 w 26374"/>
                    <a:gd name="connsiteY16" fmla="*/ 16088 h 45453"/>
                    <a:gd name="connsiteX17" fmla="*/ 1555 w 26374"/>
                    <a:gd name="connsiteY17" fmla="*/ 17464 h 45453"/>
                    <a:gd name="connsiteX18" fmla="*/ 837 w 26374"/>
                    <a:gd name="connsiteY18" fmla="*/ 20633 h 45453"/>
                    <a:gd name="connsiteX19" fmla="*/ 120 w 26374"/>
                    <a:gd name="connsiteY19" fmla="*/ 23564 h 45453"/>
                    <a:gd name="connsiteX20" fmla="*/ 60 w 26374"/>
                    <a:gd name="connsiteY20" fmla="*/ 26734 h 45453"/>
                    <a:gd name="connsiteX21" fmla="*/ 0 w 26374"/>
                    <a:gd name="connsiteY21" fmla="*/ 29605 h 45453"/>
                    <a:gd name="connsiteX22" fmla="*/ 598 w 26374"/>
                    <a:gd name="connsiteY22" fmla="*/ 32655 h 45453"/>
                    <a:gd name="connsiteX23" fmla="*/ 897 w 26374"/>
                    <a:gd name="connsiteY23" fmla="*/ 34030 h 45453"/>
                    <a:gd name="connsiteX24" fmla="*/ 897 w 26374"/>
                    <a:gd name="connsiteY24" fmla="*/ 34030 h 45453"/>
                    <a:gd name="connsiteX25" fmla="*/ 1076 w 26374"/>
                    <a:gd name="connsiteY25" fmla="*/ 34927 h 45453"/>
                    <a:gd name="connsiteX26" fmla="*/ 1136 w 26374"/>
                    <a:gd name="connsiteY26" fmla="*/ 35167 h 45453"/>
                    <a:gd name="connsiteX27" fmla="*/ 2512 w 26374"/>
                    <a:gd name="connsiteY27" fmla="*/ 37918 h 45453"/>
                    <a:gd name="connsiteX28" fmla="*/ 3469 w 26374"/>
                    <a:gd name="connsiteY28" fmla="*/ 39891 h 45453"/>
                    <a:gd name="connsiteX29" fmla="*/ 5502 w 26374"/>
                    <a:gd name="connsiteY29" fmla="*/ 42044 h 45453"/>
                    <a:gd name="connsiteX30" fmla="*/ 6758 w 26374"/>
                    <a:gd name="connsiteY30" fmla="*/ 43360 h 45453"/>
                    <a:gd name="connsiteX31" fmla="*/ 9210 w 26374"/>
                    <a:gd name="connsiteY31" fmla="*/ 44616 h 45453"/>
                    <a:gd name="connsiteX32" fmla="*/ 10825 w 26374"/>
                    <a:gd name="connsiteY32" fmla="*/ 45454 h 4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6374" h="45453">
                      <a:moveTo>
                        <a:pt x="26375" y="837"/>
                      </a:moveTo>
                      <a:lnTo>
                        <a:pt x="23444" y="299"/>
                      </a:lnTo>
                      <a:lnTo>
                        <a:pt x="22906" y="179"/>
                      </a:lnTo>
                      <a:lnTo>
                        <a:pt x="21770" y="0"/>
                      </a:lnTo>
                      <a:lnTo>
                        <a:pt x="18720" y="478"/>
                      </a:lnTo>
                      <a:lnTo>
                        <a:pt x="16926" y="778"/>
                      </a:lnTo>
                      <a:lnTo>
                        <a:pt x="16866" y="837"/>
                      </a:lnTo>
                      <a:lnTo>
                        <a:pt x="16866" y="837"/>
                      </a:lnTo>
                      <a:lnTo>
                        <a:pt x="13995" y="2213"/>
                      </a:lnTo>
                      <a:lnTo>
                        <a:pt x="12141" y="3110"/>
                      </a:lnTo>
                      <a:lnTo>
                        <a:pt x="9689" y="5203"/>
                      </a:lnTo>
                      <a:lnTo>
                        <a:pt x="7775" y="6878"/>
                      </a:lnTo>
                      <a:lnTo>
                        <a:pt x="5861" y="9509"/>
                      </a:lnTo>
                      <a:lnTo>
                        <a:pt x="4187" y="11782"/>
                      </a:lnTo>
                      <a:lnTo>
                        <a:pt x="3529" y="13217"/>
                      </a:lnTo>
                      <a:lnTo>
                        <a:pt x="3529" y="13217"/>
                      </a:lnTo>
                      <a:lnTo>
                        <a:pt x="2213" y="16088"/>
                      </a:lnTo>
                      <a:lnTo>
                        <a:pt x="1555" y="17464"/>
                      </a:lnTo>
                      <a:lnTo>
                        <a:pt x="837" y="20633"/>
                      </a:lnTo>
                      <a:lnTo>
                        <a:pt x="120" y="23564"/>
                      </a:lnTo>
                      <a:lnTo>
                        <a:pt x="60" y="26734"/>
                      </a:lnTo>
                      <a:lnTo>
                        <a:pt x="0" y="29605"/>
                      </a:lnTo>
                      <a:lnTo>
                        <a:pt x="598" y="32655"/>
                      </a:lnTo>
                      <a:lnTo>
                        <a:pt x="897" y="34030"/>
                      </a:lnTo>
                      <a:lnTo>
                        <a:pt x="897" y="34030"/>
                      </a:lnTo>
                      <a:lnTo>
                        <a:pt x="1076" y="34927"/>
                      </a:lnTo>
                      <a:lnTo>
                        <a:pt x="1136" y="35167"/>
                      </a:lnTo>
                      <a:lnTo>
                        <a:pt x="2512" y="37918"/>
                      </a:lnTo>
                      <a:lnTo>
                        <a:pt x="3469" y="39891"/>
                      </a:lnTo>
                      <a:lnTo>
                        <a:pt x="5502" y="42044"/>
                      </a:lnTo>
                      <a:lnTo>
                        <a:pt x="6758" y="43360"/>
                      </a:lnTo>
                      <a:lnTo>
                        <a:pt x="9210" y="44616"/>
                      </a:lnTo>
                      <a:lnTo>
                        <a:pt x="10825" y="45454"/>
                      </a:lnTo>
                    </a:path>
                  </a:pathLst>
                </a:custGeom>
                <a:noFill/>
                <a:ln w="6350" cap="rnd">
                  <a:solidFill>
                    <a:schemeClr val="bg1">
                      <a:alpha val="40000"/>
                    </a:schemeClr>
                  </a:solidFill>
                  <a:prstDash val="solid"/>
                  <a:round/>
                </a:ln>
              </p:spPr>
              <p:txBody>
                <a:bodyPr rtlCol="0" anchor="ctr"/>
                <a:lstStyle/>
                <a:p>
                  <a:endParaRPr lang="en-GB"/>
                </a:p>
              </p:txBody>
            </p:sp>
            <p:sp>
              <p:nvSpPr>
                <p:cNvPr id="5700" name="Vrije vorm: vorm 5699">
                  <a:extLst>
                    <a:ext uri="{FF2B5EF4-FFF2-40B4-BE49-F238E27FC236}">
                      <a16:creationId xmlns:a16="http://schemas.microsoft.com/office/drawing/2014/main" id="{9E4FD62A-91FA-4BF6-8AC3-9A0E0109ED31}"/>
                    </a:ext>
                  </a:extLst>
                </p:cNvPr>
                <p:cNvSpPr/>
                <p:nvPr/>
              </p:nvSpPr>
              <p:spPr>
                <a:xfrm>
                  <a:off x="6515238" y="1549944"/>
                  <a:ext cx="26135" cy="45274"/>
                </a:xfrm>
                <a:custGeom>
                  <a:avLst/>
                  <a:gdLst>
                    <a:gd name="connsiteX0" fmla="*/ 10825 w 26135"/>
                    <a:gd name="connsiteY0" fmla="*/ 45274 h 45274"/>
                    <a:gd name="connsiteX1" fmla="*/ 8194 w 26135"/>
                    <a:gd name="connsiteY1" fmla="*/ 43899 h 45274"/>
                    <a:gd name="connsiteX2" fmla="*/ 6758 w 26135"/>
                    <a:gd name="connsiteY2" fmla="*/ 43181 h 45274"/>
                    <a:gd name="connsiteX3" fmla="*/ 4725 w 26135"/>
                    <a:gd name="connsiteY3" fmla="*/ 41028 h 45274"/>
                    <a:gd name="connsiteX4" fmla="*/ 3469 w 26135"/>
                    <a:gd name="connsiteY4" fmla="*/ 39712 h 45274"/>
                    <a:gd name="connsiteX5" fmla="*/ 2093 w 26135"/>
                    <a:gd name="connsiteY5" fmla="*/ 36961 h 45274"/>
                    <a:gd name="connsiteX6" fmla="*/ 1136 w 26135"/>
                    <a:gd name="connsiteY6" fmla="*/ 35047 h 45274"/>
                    <a:gd name="connsiteX7" fmla="*/ 837 w 26135"/>
                    <a:gd name="connsiteY7" fmla="*/ 33612 h 45274"/>
                    <a:gd name="connsiteX8" fmla="*/ 479 w 26135"/>
                    <a:gd name="connsiteY8" fmla="*/ 31997 h 45274"/>
                    <a:gd name="connsiteX9" fmla="*/ 479 w 26135"/>
                    <a:gd name="connsiteY9" fmla="*/ 31997 h 45274"/>
                    <a:gd name="connsiteX10" fmla="*/ 0 w 26135"/>
                    <a:gd name="connsiteY10" fmla="*/ 29545 h 45274"/>
                    <a:gd name="connsiteX11" fmla="*/ 60 w 26135"/>
                    <a:gd name="connsiteY11" fmla="*/ 26375 h 45274"/>
                    <a:gd name="connsiteX12" fmla="*/ 120 w 26135"/>
                    <a:gd name="connsiteY12" fmla="*/ 23564 h 45274"/>
                    <a:gd name="connsiteX13" fmla="*/ 837 w 26135"/>
                    <a:gd name="connsiteY13" fmla="*/ 20394 h 45274"/>
                    <a:gd name="connsiteX14" fmla="*/ 1495 w 26135"/>
                    <a:gd name="connsiteY14" fmla="*/ 17464 h 45274"/>
                    <a:gd name="connsiteX15" fmla="*/ 1914 w 26135"/>
                    <a:gd name="connsiteY15" fmla="*/ 16507 h 45274"/>
                    <a:gd name="connsiteX16" fmla="*/ 1914 w 26135"/>
                    <a:gd name="connsiteY16" fmla="*/ 16507 h 45274"/>
                    <a:gd name="connsiteX17" fmla="*/ 2153 w 26135"/>
                    <a:gd name="connsiteY17" fmla="*/ 16028 h 45274"/>
                    <a:gd name="connsiteX18" fmla="*/ 2811 w 26135"/>
                    <a:gd name="connsiteY18" fmla="*/ 14593 h 45274"/>
                    <a:gd name="connsiteX19" fmla="*/ 3409 w 26135"/>
                    <a:gd name="connsiteY19" fmla="*/ 13217 h 45274"/>
                    <a:gd name="connsiteX20" fmla="*/ 3768 w 26135"/>
                    <a:gd name="connsiteY20" fmla="*/ 12380 h 45274"/>
                    <a:gd name="connsiteX21" fmla="*/ 4007 w 26135"/>
                    <a:gd name="connsiteY21" fmla="*/ 11902 h 45274"/>
                    <a:gd name="connsiteX22" fmla="*/ 4007 w 26135"/>
                    <a:gd name="connsiteY22" fmla="*/ 11902 h 45274"/>
                    <a:gd name="connsiteX23" fmla="*/ 4067 w 26135"/>
                    <a:gd name="connsiteY23" fmla="*/ 11722 h 45274"/>
                    <a:gd name="connsiteX24" fmla="*/ 4067 w 26135"/>
                    <a:gd name="connsiteY24" fmla="*/ 11722 h 45274"/>
                    <a:gd name="connsiteX25" fmla="*/ 4067 w 26135"/>
                    <a:gd name="connsiteY25" fmla="*/ 11722 h 45274"/>
                    <a:gd name="connsiteX26" fmla="*/ 4964 w 26135"/>
                    <a:gd name="connsiteY26" fmla="*/ 10466 h 45274"/>
                    <a:gd name="connsiteX27" fmla="*/ 6519 w 26135"/>
                    <a:gd name="connsiteY27" fmla="*/ 8313 h 45274"/>
                    <a:gd name="connsiteX28" fmla="*/ 6519 w 26135"/>
                    <a:gd name="connsiteY28" fmla="*/ 8313 h 45274"/>
                    <a:gd name="connsiteX29" fmla="*/ 7596 w 26135"/>
                    <a:gd name="connsiteY29" fmla="*/ 6818 h 45274"/>
                    <a:gd name="connsiteX30" fmla="*/ 9270 w 26135"/>
                    <a:gd name="connsiteY30" fmla="*/ 5383 h 45274"/>
                    <a:gd name="connsiteX31" fmla="*/ 11722 w 26135"/>
                    <a:gd name="connsiteY31" fmla="*/ 3289 h 45274"/>
                    <a:gd name="connsiteX32" fmla="*/ 11961 w 26135"/>
                    <a:gd name="connsiteY32" fmla="*/ 3110 h 45274"/>
                    <a:gd name="connsiteX33" fmla="*/ 12021 w 26135"/>
                    <a:gd name="connsiteY33" fmla="*/ 3050 h 45274"/>
                    <a:gd name="connsiteX34" fmla="*/ 14892 w 26135"/>
                    <a:gd name="connsiteY34" fmla="*/ 1675 h 45274"/>
                    <a:gd name="connsiteX35" fmla="*/ 16746 w 26135"/>
                    <a:gd name="connsiteY35" fmla="*/ 778 h 45274"/>
                    <a:gd name="connsiteX36" fmla="*/ 18899 w 26135"/>
                    <a:gd name="connsiteY36" fmla="*/ 419 h 45274"/>
                    <a:gd name="connsiteX37" fmla="*/ 18899 w 26135"/>
                    <a:gd name="connsiteY37" fmla="*/ 419 h 45274"/>
                    <a:gd name="connsiteX38" fmla="*/ 21591 w 26135"/>
                    <a:gd name="connsiteY38" fmla="*/ 0 h 45274"/>
                    <a:gd name="connsiteX39" fmla="*/ 24521 w 26135"/>
                    <a:gd name="connsiteY39" fmla="*/ 538 h 45274"/>
                    <a:gd name="connsiteX40" fmla="*/ 26136 w 26135"/>
                    <a:gd name="connsiteY40" fmla="*/ 837 h 4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6135" h="45274">
                      <a:moveTo>
                        <a:pt x="10825" y="45274"/>
                      </a:moveTo>
                      <a:lnTo>
                        <a:pt x="8194" y="43899"/>
                      </a:lnTo>
                      <a:lnTo>
                        <a:pt x="6758" y="43181"/>
                      </a:lnTo>
                      <a:lnTo>
                        <a:pt x="4725" y="41028"/>
                      </a:lnTo>
                      <a:lnTo>
                        <a:pt x="3469" y="39712"/>
                      </a:lnTo>
                      <a:lnTo>
                        <a:pt x="2093" y="36961"/>
                      </a:lnTo>
                      <a:lnTo>
                        <a:pt x="1136" y="35047"/>
                      </a:lnTo>
                      <a:lnTo>
                        <a:pt x="837" y="33612"/>
                      </a:lnTo>
                      <a:lnTo>
                        <a:pt x="479" y="31997"/>
                      </a:lnTo>
                      <a:lnTo>
                        <a:pt x="479" y="31997"/>
                      </a:lnTo>
                      <a:lnTo>
                        <a:pt x="0" y="29545"/>
                      </a:lnTo>
                      <a:lnTo>
                        <a:pt x="60" y="26375"/>
                      </a:lnTo>
                      <a:lnTo>
                        <a:pt x="120" y="23564"/>
                      </a:lnTo>
                      <a:lnTo>
                        <a:pt x="837" y="20394"/>
                      </a:lnTo>
                      <a:lnTo>
                        <a:pt x="1495" y="17464"/>
                      </a:lnTo>
                      <a:lnTo>
                        <a:pt x="1914" y="16507"/>
                      </a:lnTo>
                      <a:lnTo>
                        <a:pt x="1914" y="16507"/>
                      </a:lnTo>
                      <a:lnTo>
                        <a:pt x="2153" y="16028"/>
                      </a:lnTo>
                      <a:lnTo>
                        <a:pt x="2811" y="14593"/>
                      </a:lnTo>
                      <a:lnTo>
                        <a:pt x="3409" y="13217"/>
                      </a:lnTo>
                      <a:lnTo>
                        <a:pt x="3768" y="12380"/>
                      </a:lnTo>
                      <a:lnTo>
                        <a:pt x="4007" y="11902"/>
                      </a:lnTo>
                      <a:lnTo>
                        <a:pt x="4007" y="11902"/>
                      </a:lnTo>
                      <a:lnTo>
                        <a:pt x="4067" y="11722"/>
                      </a:lnTo>
                      <a:lnTo>
                        <a:pt x="4067" y="11722"/>
                      </a:lnTo>
                      <a:lnTo>
                        <a:pt x="4067" y="11722"/>
                      </a:lnTo>
                      <a:lnTo>
                        <a:pt x="4964" y="10466"/>
                      </a:lnTo>
                      <a:lnTo>
                        <a:pt x="6519" y="8313"/>
                      </a:lnTo>
                      <a:lnTo>
                        <a:pt x="6519" y="8313"/>
                      </a:lnTo>
                      <a:lnTo>
                        <a:pt x="7596" y="6818"/>
                      </a:lnTo>
                      <a:lnTo>
                        <a:pt x="9270" y="5383"/>
                      </a:lnTo>
                      <a:lnTo>
                        <a:pt x="11722" y="3289"/>
                      </a:lnTo>
                      <a:lnTo>
                        <a:pt x="11961" y="3110"/>
                      </a:lnTo>
                      <a:lnTo>
                        <a:pt x="12021" y="3050"/>
                      </a:lnTo>
                      <a:lnTo>
                        <a:pt x="14892" y="1675"/>
                      </a:lnTo>
                      <a:lnTo>
                        <a:pt x="16746" y="778"/>
                      </a:lnTo>
                      <a:lnTo>
                        <a:pt x="18899" y="419"/>
                      </a:lnTo>
                      <a:lnTo>
                        <a:pt x="18899" y="419"/>
                      </a:lnTo>
                      <a:lnTo>
                        <a:pt x="21591" y="0"/>
                      </a:lnTo>
                      <a:lnTo>
                        <a:pt x="24521" y="538"/>
                      </a:lnTo>
                      <a:lnTo>
                        <a:pt x="26136" y="837"/>
                      </a:lnTo>
                    </a:path>
                  </a:pathLst>
                </a:custGeom>
                <a:noFill/>
                <a:ln w="6350" cap="rnd">
                  <a:solidFill>
                    <a:schemeClr val="bg1">
                      <a:alpha val="40000"/>
                    </a:schemeClr>
                  </a:solidFill>
                  <a:prstDash val="solid"/>
                  <a:round/>
                </a:ln>
              </p:spPr>
              <p:txBody>
                <a:bodyPr rtlCol="0" anchor="ctr"/>
                <a:lstStyle/>
                <a:p>
                  <a:endParaRPr lang="en-GB"/>
                </a:p>
              </p:txBody>
            </p:sp>
            <p:sp>
              <p:nvSpPr>
                <p:cNvPr id="5701" name="Vrije vorm: vorm 5700">
                  <a:extLst>
                    <a:ext uri="{FF2B5EF4-FFF2-40B4-BE49-F238E27FC236}">
                      <a16:creationId xmlns:a16="http://schemas.microsoft.com/office/drawing/2014/main" id="{B51BB554-45AC-4703-AC26-C78418E13A06}"/>
                    </a:ext>
                  </a:extLst>
                </p:cNvPr>
                <p:cNvSpPr/>
                <p:nvPr/>
              </p:nvSpPr>
              <p:spPr>
                <a:xfrm>
                  <a:off x="6554951" y="1561906"/>
                  <a:ext cx="11602" cy="3588"/>
                </a:xfrm>
                <a:custGeom>
                  <a:avLst/>
                  <a:gdLst>
                    <a:gd name="connsiteX0" fmla="*/ 0 w 11602"/>
                    <a:gd name="connsiteY0" fmla="*/ 0 h 3588"/>
                    <a:gd name="connsiteX1" fmla="*/ 239 w 11602"/>
                    <a:gd name="connsiteY1" fmla="*/ 120 h 3588"/>
                    <a:gd name="connsiteX2" fmla="*/ 718 w 11602"/>
                    <a:gd name="connsiteY2" fmla="*/ 359 h 3588"/>
                    <a:gd name="connsiteX3" fmla="*/ 1256 w 11602"/>
                    <a:gd name="connsiteY3" fmla="*/ 658 h 3588"/>
                    <a:gd name="connsiteX4" fmla="*/ 1555 w 11602"/>
                    <a:gd name="connsiteY4" fmla="*/ 778 h 3588"/>
                    <a:gd name="connsiteX5" fmla="*/ 3170 w 11602"/>
                    <a:gd name="connsiteY5" fmla="*/ 1435 h 3588"/>
                    <a:gd name="connsiteX6" fmla="*/ 3349 w 11602"/>
                    <a:gd name="connsiteY6" fmla="*/ 1495 h 3588"/>
                    <a:gd name="connsiteX7" fmla="*/ 4844 w 11602"/>
                    <a:gd name="connsiteY7" fmla="*/ 2034 h 3588"/>
                    <a:gd name="connsiteX8" fmla="*/ 6579 w 11602"/>
                    <a:gd name="connsiteY8" fmla="*/ 2452 h 3588"/>
                    <a:gd name="connsiteX9" fmla="*/ 9510 w 11602"/>
                    <a:gd name="connsiteY9" fmla="*/ 3110 h 3588"/>
                    <a:gd name="connsiteX10" fmla="*/ 11603 w 11602"/>
                    <a:gd name="connsiteY10" fmla="*/ 3588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02" h="3588">
                      <a:moveTo>
                        <a:pt x="0" y="0"/>
                      </a:moveTo>
                      <a:lnTo>
                        <a:pt x="239" y="120"/>
                      </a:lnTo>
                      <a:lnTo>
                        <a:pt x="718" y="359"/>
                      </a:lnTo>
                      <a:lnTo>
                        <a:pt x="1256" y="658"/>
                      </a:lnTo>
                      <a:lnTo>
                        <a:pt x="1555" y="778"/>
                      </a:lnTo>
                      <a:lnTo>
                        <a:pt x="3170" y="1435"/>
                      </a:lnTo>
                      <a:lnTo>
                        <a:pt x="3349" y="1495"/>
                      </a:lnTo>
                      <a:lnTo>
                        <a:pt x="4844" y="2034"/>
                      </a:lnTo>
                      <a:lnTo>
                        <a:pt x="6579" y="2452"/>
                      </a:lnTo>
                      <a:lnTo>
                        <a:pt x="9510" y="3110"/>
                      </a:lnTo>
                      <a:lnTo>
                        <a:pt x="11603" y="3588"/>
                      </a:lnTo>
                    </a:path>
                  </a:pathLst>
                </a:custGeom>
                <a:noFill/>
                <a:ln w="6350" cap="rnd">
                  <a:solidFill>
                    <a:schemeClr val="bg1">
                      <a:alpha val="40000"/>
                    </a:schemeClr>
                  </a:solidFill>
                  <a:prstDash val="solid"/>
                  <a:round/>
                </a:ln>
              </p:spPr>
              <p:txBody>
                <a:bodyPr rtlCol="0" anchor="ctr"/>
                <a:lstStyle/>
                <a:p>
                  <a:endParaRPr lang="en-GB"/>
                </a:p>
              </p:txBody>
            </p:sp>
            <p:sp>
              <p:nvSpPr>
                <p:cNvPr id="5702" name="Vrije vorm: vorm 5701">
                  <a:extLst>
                    <a:ext uri="{FF2B5EF4-FFF2-40B4-BE49-F238E27FC236}">
                      <a16:creationId xmlns:a16="http://schemas.microsoft.com/office/drawing/2014/main" id="{57EA194A-F3B9-43D7-AC37-44306B9E8D52}"/>
                    </a:ext>
                  </a:extLst>
                </p:cNvPr>
                <p:cNvSpPr/>
                <p:nvPr/>
              </p:nvSpPr>
              <p:spPr>
                <a:xfrm>
                  <a:off x="6552678" y="1559394"/>
                  <a:ext cx="3409" cy="3169"/>
                </a:xfrm>
                <a:custGeom>
                  <a:avLst/>
                  <a:gdLst>
                    <a:gd name="connsiteX0" fmla="*/ 0 w 3409"/>
                    <a:gd name="connsiteY0" fmla="*/ 0 h 3169"/>
                    <a:gd name="connsiteX1" fmla="*/ 778 w 3409"/>
                    <a:gd name="connsiteY1" fmla="*/ 837 h 3169"/>
                    <a:gd name="connsiteX2" fmla="*/ 778 w 3409"/>
                    <a:gd name="connsiteY2" fmla="*/ 837 h 3169"/>
                    <a:gd name="connsiteX3" fmla="*/ 1076 w 3409"/>
                    <a:gd name="connsiteY3" fmla="*/ 1136 h 3169"/>
                    <a:gd name="connsiteX4" fmla="*/ 1196 w 3409"/>
                    <a:gd name="connsiteY4" fmla="*/ 1256 h 3169"/>
                    <a:gd name="connsiteX5" fmla="*/ 1375 w 3409"/>
                    <a:gd name="connsiteY5" fmla="*/ 1435 h 3169"/>
                    <a:gd name="connsiteX6" fmla="*/ 2213 w 3409"/>
                    <a:gd name="connsiteY6" fmla="*/ 2213 h 3169"/>
                    <a:gd name="connsiteX7" fmla="*/ 2333 w 3409"/>
                    <a:gd name="connsiteY7" fmla="*/ 2332 h 3169"/>
                    <a:gd name="connsiteX8" fmla="*/ 2871 w 3409"/>
                    <a:gd name="connsiteY8" fmla="*/ 2751 h 3169"/>
                    <a:gd name="connsiteX9" fmla="*/ 3409 w 3409"/>
                    <a:gd name="connsiteY9" fmla="*/ 3170 h 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9" h="3169">
                      <a:moveTo>
                        <a:pt x="0" y="0"/>
                      </a:moveTo>
                      <a:lnTo>
                        <a:pt x="778" y="837"/>
                      </a:lnTo>
                      <a:lnTo>
                        <a:pt x="778" y="837"/>
                      </a:lnTo>
                      <a:lnTo>
                        <a:pt x="1076" y="1136"/>
                      </a:lnTo>
                      <a:lnTo>
                        <a:pt x="1196" y="1256"/>
                      </a:lnTo>
                      <a:lnTo>
                        <a:pt x="1375" y="1435"/>
                      </a:lnTo>
                      <a:lnTo>
                        <a:pt x="2213" y="2213"/>
                      </a:lnTo>
                      <a:lnTo>
                        <a:pt x="2333" y="2332"/>
                      </a:lnTo>
                      <a:lnTo>
                        <a:pt x="2871" y="2751"/>
                      </a:lnTo>
                      <a:lnTo>
                        <a:pt x="3409" y="3170"/>
                      </a:lnTo>
                    </a:path>
                  </a:pathLst>
                </a:custGeom>
                <a:noFill/>
                <a:ln w="6350" cap="rnd">
                  <a:solidFill>
                    <a:schemeClr val="bg1">
                      <a:alpha val="40000"/>
                    </a:schemeClr>
                  </a:solidFill>
                  <a:prstDash val="solid"/>
                  <a:round/>
                </a:ln>
              </p:spPr>
              <p:txBody>
                <a:bodyPr rtlCol="0" anchor="ctr"/>
                <a:lstStyle/>
                <a:p>
                  <a:endParaRPr lang="en-GB"/>
                </a:p>
              </p:txBody>
            </p:sp>
            <p:sp>
              <p:nvSpPr>
                <p:cNvPr id="5703" name="Vrije vorm: vorm 5702">
                  <a:extLst>
                    <a:ext uri="{FF2B5EF4-FFF2-40B4-BE49-F238E27FC236}">
                      <a16:creationId xmlns:a16="http://schemas.microsoft.com/office/drawing/2014/main" id="{526AE01D-B591-42D0-86E4-B82B5472931F}"/>
                    </a:ext>
                  </a:extLst>
                </p:cNvPr>
                <p:cNvSpPr/>
                <p:nvPr/>
              </p:nvSpPr>
              <p:spPr>
                <a:xfrm>
                  <a:off x="6547654" y="1592467"/>
                  <a:ext cx="70153" cy="20155"/>
                </a:xfrm>
                <a:custGeom>
                  <a:avLst/>
                  <a:gdLst>
                    <a:gd name="connsiteX0" fmla="*/ 70154 w 70153"/>
                    <a:gd name="connsiteY0" fmla="*/ 20155 h 20155"/>
                    <a:gd name="connsiteX1" fmla="*/ 67283 w 70153"/>
                    <a:gd name="connsiteY1" fmla="*/ 19318 h 20155"/>
                    <a:gd name="connsiteX2" fmla="*/ 64412 w 70153"/>
                    <a:gd name="connsiteY2" fmla="*/ 18480 h 20155"/>
                    <a:gd name="connsiteX3" fmla="*/ 61542 w 70153"/>
                    <a:gd name="connsiteY3" fmla="*/ 17643 h 20155"/>
                    <a:gd name="connsiteX4" fmla="*/ 58671 w 70153"/>
                    <a:gd name="connsiteY4" fmla="*/ 16806 h 20155"/>
                    <a:gd name="connsiteX5" fmla="*/ 55800 w 70153"/>
                    <a:gd name="connsiteY5" fmla="*/ 15969 h 20155"/>
                    <a:gd name="connsiteX6" fmla="*/ 52929 w 70153"/>
                    <a:gd name="connsiteY6" fmla="*/ 15131 h 20155"/>
                    <a:gd name="connsiteX7" fmla="*/ 50059 w 70153"/>
                    <a:gd name="connsiteY7" fmla="*/ 14294 h 20155"/>
                    <a:gd name="connsiteX8" fmla="*/ 47188 w 70153"/>
                    <a:gd name="connsiteY8" fmla="*/ 13457 h 20155"/>
                    <a:gd name="connsiteX9" fmla="*/ 44317 w 70153"/>
                    <a:gd name="connsiteY9" fmla="*/ 12619 h 20155"/>
                    <a:gd name="connsiteX10" fmla="*/ 41446 w 70153"/>
                    <a:gd name="connsiteY10" fmla="*/ 11782 h 20155"/>
                    <a:gd name="connsiteX11" fmla="*/ 38575 w 70153"/>
                    <a:gd name="connsiteY11" fmla="*/ 10945 h 20155"/>
                    <a:gd name="connsiteX12" fmla="*/ 35705 w 70153"/>
                    <a:gd name="connsiteY12" fmla="*/ 10107 h 20155"/>
                    <a:gd name="connsiteX13" fmla="*/ 32834 w 70153"/>
                    <a:gd name="connsiteY13" fmla="*/ 9270 h 20155"/>
                    <a:gd name="connsiteX14" fmla="*/ 29963 w 70153"/>
                    <a:gd name="connsiteY14" fmla="*/ 8433 h 20155"/>
                    <a:gd name="connsiteX15" fmla="*/ 27092 w 70153"/>
                    <a:gd name="connsiteY15" fmla="*/ 7596 h 20155"/>
                    <a:gd name="connsiteX16" fmla="*/ 24222 w 70153"/>
                    <a:gd name="connsiteY16" fmla="*/ 6758 h 20155"/>
                    <a:gd name="connsiteX17" fmla="*/ 21351 w 70153"/>
                    <a:gd name="connsiteY17" fmla="*/ 5921 h 20155"/>
                    <a:gd name="connsiteX18" fmla="*/ 18480 w 70153"/>
                    <a:gd name="connsiteY18" fmla="*/ 5084 h 20155"/>
                    <a:gd name="connsiteX19" fmla="*/ 15610 w 70153"/>
                    <a:gd name="connsiteY19" fmla="*/ 4246 h 20155"/>
                    <a:gd name="connsiteX20" fmla="*/ 12739 w 70153"/>
                    <a:gd name="connsiteY20" fmla="*/ 3409 h 20155"/>
                    <a:gd name="connsiteX21" fmla="*/ 9868 w 70153"/>
                    <a:gd name="connsiteY21" fmla="*/ 2572 h 20155"/>
                    <a:gd name="connsiteX22" fmla="*/ 6997 w 70153"/>
                    <a:gd name="connsiteY22" fmla="*/ 1734 h 20155"/>
                    <a:gd name="connsiteX23" fmla="*/ 3469 w 70153"/>
                    <a:gd name="connsiteY23" fmla="*/ 718 h 20155"/>
                    <a:gd name="connsiteX24" fmla="*/ 1734 w 70153"/>
                    <a:gd name="connsiteY24" fmla="*/ 299 h 20155"/>
                    <a:gd name="connsiteX25" fmla="*/ 1555 w 70153"/>
                    <a:gd name="connsiteY25" fmla="*/ 239 h 20155"/>
                    <a:gd name="connsiteX26" fmla="*/ 0 w 70153"/>
                    <a:gd name="connsiteY26" fmla="*/ 0 h 2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0153" h="20155">
                      <a:moveTo>
                        <a:pt x="70154" y="20155"/>
                      </a:moveTo>
                      <a:lnTo>
                        <a:pt x="67283" y="19318"/>
                      </a:lnTo>
                      <a:lnTo>
                        <a:pt x="64412" y="18480"/>
                      </a:lnTo>
                      <a:lnTo>
                        <a:pt x="61542" y="17643"/>
                      </a:lnTo>
                      <a:lnTo>
                        <a:pt x="58671" y="16806"/>
                      </a:lnTo>
                      <a:lnTo>
                        <a:pt x="55800" y="15969"/>
                      </a:lnTo>
                      <a:lnTo>
                        <a:pt x="52929" y="15131"/>
                      </a:lnTo>
                      <a:lnTo>
                        <a:pt x="50059" y="14294"/>
                      </a:lnTo>
                      <a:lnTo>
                        <a:pt x="47188" y="13457"/>
                      </a:lnTo>
                      <a:lnTo>
                        <a:pt x="44317" y="12619"/>
                      </a:lnTo>
                      <a:lnTo>
                        <a:pt x="41446" y="11782"/>
                      </a:lnTo>
                      <a:lnTo>
                        <a:pt x="38575" y="10945"/>
                      </a:lnTo>
                      <a:lnTo>
                        <a:pt x="35705" y="10107"/>
                      </a:lnTo>
                      <a:lnTo>
                        <a:pt x="32834" y="9270"/>
                      </a:lnTo>
                      <a:lnTo>
                        <a:pt x="29963" y="8433"/>
                      </a:lnTo>
                      <a:lnTo>
                        <a:pt x="27092" y="7596"/>
                      </a:lnTo>
                      <a:lnTo>
                        <a:pt x="24222" y="6758"/>
                      </a:lnTo>
                      <a:lnTo>
                        <a:pt x="21351" y="5921"/>
                      </a:lnTo>
                      <a:lnTo>
                        <a:pt x="18480" y="5084"/>
                      </a:lnTo>
                      <a:lnTo>
                        <a:pt x="15610" y="4246"/>
                      </a:lnTo>
                      <a:lnTo>
                        <a:pt x="12739" y="3409"/>
                      </a:lnTo>
                      <a:lnTo>
                        <a:pt x="9868" y="2572"/>
                      </a:lnTo>
                      <a:lnTo>
                        <a:pt x="6997" y="1734"/>
                      </a:lnTo>
                      <a:lnTo>
                        <a:pt x="3469" y="718"/>
                      </a:lnTo>
                      <a:lnTo>
                        <a:pt x="1734" y="299"/>
                      </a:lnTo>
                      <a:lnTo>
                        <a:pt x="1555" y="23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04" name="Vrije vorm: vorm 5703">
                  <a:extLst>
                    <a:ext uri="{FF2B5EF4-FFF2-40B4-BE49-F238E27FC236}">
                      <a16:creationId xmlns:a16="http://schemas.microsoft.com/office/drawing/2014/main" id="{A53DD0D6-7921-40BA-A371-7BD44B551D3E}"/>
                    </a:ext>
                  </a:extLst>
                </p:cNvPr>
                <p:cNvSpPr/>
                <p:nvPr/>
              </p:nvSpPr>
              <p:spPr>
                <a:xfrm>
                  <a:off x="6544006" y="1592766"/>
                  <a:ext cx="5263" cy="239"/>
                </a:xfrm>
                <a:custGeom>
                  <a:avLst/>
                  <a:gdLst>
                    <a:gd name="connsiteX0" fmla="*/ 5263 w 5263"/>
                    <a:gd name="connsiteY0" fmla="*/ 60 h 239"/>
                    <a:gd name="connsiteX1" fmla="*/ 4964 w 5263"/>
                    <a:gd name="connsiteY1" fmla="*/ 60 h 239"/>
                    <a:gd name="connsiteX2" fmla="*/ 3290 w 5263"/>
                    <a:gd name="connsiteY2" fmla="*/ 0 h 239"/>
                    <a:gd name="connsiteX3" fmla="*/ 1914 w 5263"/>
                    <a:gd name="connsiteY3" fmla="*/ 60 h 239"/>
                    <a:gd name="connsiteX4" fmla="*/ 1615 w 5263"/>
                    <a:gd name="connsiteY4" fmla="*/ 60 h 239"/>
                    <a:gd name="connsiteX5" fmla="*/ 1076 w 5263"/>
                    <a:gd name="connsiteY5" fmla="*/ 120 h 239"/>
                    <a:gd name="connsiteX6" fmla="*/ 479 w 5263"/>
                    <a:gd name="connsiteY6" fmla="*/ 179 h 239"/>
                    <a:gd name="connsiteX7" fmla="*/ 239 w 5263"/>
                    <a:gd name="connsiteY7" fmla="*/ 239 h 239"/>
                    <a:gd name="connsiteX8" fmla="*/ 60 w 5263"/>
                    <a:gd name="connsiteY8" fmla="*/ 239 h 239"/>
                    <a:gd name="connsiteX9" fmla="*/ 0 w 5263"/>
                    <a:gd name="connsiteY9" fmla="*/ 239 h 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3" h="239">
                      <a:moveTo>
                        <a:pt x="5263" y="60"/>
                      </a:moveTo>
                      <a:lnTo>
                        <a:pt x="4964" y="60"/>
                      </a:lnTo>
                      <a:lnTo>
                        <a:pt x="3290" y="0"/>
                      </a:lnTo>
                      <a:lnTo>
                        <a:pt x="1914" y="60"/>
                      </a:lnTo>
                      <a:lnTo>
                        <a:pt x="1615" y="60"/>
                      </a:lnTo>
                      <a:lnTo>
                        <a:pt x="1076" y="120"/>
                      </a:lnTo>
                      <a:lnTo>
                        <a:pt x="479" y="179"/>
                      </a:lnTo>
                      <a:lnTo>
                        <a:pt x="239" y="239"/>
                      </a:lnTo>
                      <a:lnTo>
                        <a:pt x="60" y="239"/>
                      </a:lnTo>
                      <a:lnTo>
                        <a:pt x="0" y="239"/>
                      </a:lnTo>
                    </a:path>
                  </a:pathLst>
                </a:custGeom>
                <a:noFill/>
                <a:ln w="6350" cap="rnd">
                  <a:solidFill>
                    <a:schemeClr val="bg1">
                      <a:alpha val="40000"/>
                    </a:schemeClr>
                  </a:solidFill>
                  <a:prstDash val="solid"/>
                  <a:round/>
                </a:ln>
              </p:spPr>
              <p:txBody>
                <a:bodyPr rtlCol="0" anchor="ctr"/>
                <a:lstStyle/>
                <a:p>
                  <a:endParaRPr lang="en-GB"/>
                </a:p>
              </p:txBody>
            </p:sp>
            <p:sp>
              <p:nvSpPr>
                <p:cNvPr id="5705" name="Vrije vorm: vorm 5704">
                  <a:extLst>
                    <a:ext uri="{FF2B5EF4-FFF2-40B4-BE49-F238E27FC236}">
                      <a16:creationId xmlns:a16="http://schemas.microsoft.com/office/drawing/2014/main" id="{4A267A50-85B9-432F-A0A9-3C3B47E4C08C}"/>
                    </a:ext>
                  </a:extLst>
                </p:cNvPr>
                <p:cNvSpPr/>
                <p:nvPr/>
              </p:nvSpPr>
              <p:spPr>
                <a:xfrm>
                  <a:off x="6541614" y="1592945"/>
                  <a:ext cx="3409" cy="1375"/>
                </a:xfrm>
                <a:custGeom>
                  <a:avLst/>
                  <a:gdLst>
                    <a:gd name="connsiteX0" fmla="*/ 3409 w 3409"/>
                    <a:gd name="connsiteY0" fmla="*/ 0 h 1375"/>
                    <a:gd name="connsiteX1" fmla="*/ 2751 w 3409"/>
                    <a:gd name="connsiteY1" fmla="*/ 179 h 1375"/>
                    <a:gd name="connsiteX2" fmla="*/ 2632 w 3409"/>
                    <a:gd name="connsiteY2" fmla="*/ 239 h 1375"/>
                    <a:gd name="connsiteX3" fmla="*/ 2093 w 3409"/>
                    <a:gd name="connsiteY3" fmla="*/ 419 h 1375"/>
                    <a:gd name="connsiteX4" fmla="*/ 2033 w 3409"/>
                    <a:gd name="connsiteY4" fmla="*/ 478 h 1375"/>
                    <a:gd name="connsiteX5" fmla="*/ 1375 w 3409"/>
                    <a:gd name="connsiteY5" fmla="*/ 718 h 1375"/>
                    <a:gd name="connsiteX6" fmla="*/ 0 w 3409"/>
                    <a:gd name="connsiteY6" fmla="*/ 1376 h 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09" h="1375">
                      <a:moveTo>
                        <a:pt x="3409" y="0"/>
                      </a:moveTo>
                      <a:lnTo>
                        <a:pt x="2751" y="179"/>
                      </a:lnTo>
                      <a:lnTo>
                        <a:pt x="2632" y="239"/>
                      </a:lnTo>
                      <a:lnTo>
                        <a:pt x="2093" y="419"/>
                      </a:lnTo>
                      <a:lnTo>
                        <a:pt x="2033" y="478"/>
                      </a:lnTo>
                      <a:lnTo>
                        <a:pt x="1375" y="718"/>
                      </a:lnTo>
                      <a:lnTo>
                        <a:pt x="0" y="1376"/>
                      </a:lnTo>
                    </a:path>
                  </a:pathLst>
                </a:custGeom>
                <a:noFill/>
                <a:ln w="6350" cap="rnd">
                  <a:solidFill>
                    <a:schemeClr val="bg1">
                      <a:alpha val="40000"/>
                    </a:schemeClr>
                  </a:solidFill>
                  <a:prstDash val="solid"/>
                  <a:round/>
                </a:ln>
              </p:spPr>
              <p:txBody>
                <a:bodyPr rtlCol="0" anchor="ctr"/>
                <a:lstStyle/>
                <a:p>
                  <a:endParaRPr lang="en-GB"/>
                </a:p>
              </p:txBody>
            </p:sp>
            <p:sp>
              <p:nvSpPr>
                <p:cNvPr id="5706" name="Vrije vorm: vorm 5705">
                  <a:extLst>
                    <a:ext uri="{FF2B5EF4-FFF2-40B4-BE49-F238E27FC236}">
                      <a16:creationId xmlns:a16="http://schemas.microsoft.com/office/drawing/2014/main" id="{F0A9F02E-10F9-40E8-ADA9-1D752B44607E}"/>
                    </a:ext>
                  </a:extLst>
                </p:cNvPr>
                <p:cNvSpPr/>
                <p:nvPr/>
              </p:nvSpPr>
              <p:spPr>
                <a:xfrm>
                  <a:off x="6552857" y="1558915"/>
                  <a:ext cx="1016" cy="1734"/>
                </a:xfrm>
                <a:custGeom>
                  <a:avLst/>
                  <a:gdLst>
                    <a:gd name="connsiteX0" fmla="*/ 0 w 1016"/>
                    <a:gd name="connsiteY0" fmla="*/ 0 h 1734"/>
                    <a:gd name="connsiteX1" fmla="*/ 0 w 1016"/>
                    <a:gd name="connsiteY1" fmla="*/ 0 h 1734"/>
                    <a:gd name="connsiteX2" fmla="*/ 658 w 1016"/>
                    <a:gd name="connsiteY2" fmla="*/ 1196 h 1734"/>
                    <a:gd name="connsiteX3" fmla="*/ 1017 w 1016"/>
                    <a:gd name="connsiteY3" fmla="*/ 1734 h 1734"/>
                  </a:gdLst>
                  <a:ahLst/>
                  <a:cxnLst>
                    <a:cxn ang="0">
                      <a:pos x="connsiteX0" y="connsiteY0"/>
                    </a:cxn>
                    <a:cxn ang="0">
                      <a:pos x="connsiteX1" y="connsiteY1"/>
                    </a:cxn>
                    <a:cxn ang="0">
                      <a:pos x="connsiteX2" y="connsiteY2"/>
                    </a:cxn>
                    <a:cxn ang="0">
                      <a:pos x="connsiteX3" y="connsiteY3"/>
                    </a:cxn>
                  </a:cxnLst>
                  <a:rect l="l" t="t" r="r" b="b"/>
                  <a:pathLst>
                    <a:path w="1016" h="1734">
                      <a:moveTo>
                        <a:pt x="0" y="0"/>
                      </a:moveTo>
                      <a:lnTo>
                        <a:pt x="0" y="0"/>
                      </a:lnTo>
                      <a:lnTo>
                        <a:pt x="658" y="1196"/>
                      </a:lnTo>
                      <a:lnTo>
                        <a:pt x="1017" y="1734"/>
                      </a:lnTo>
                    </a:path>
                  </a:pathLst>
                </a:custGeom>
                <a:noFill/>
                <a:ln w="6350" cap="rnd">
                  <a:solidFill>
                    <a:schemeClr val="bg1">
                      <a:alpha val="40000"/>
                    </a:schemeClr>
                  </a:solidFill>
                  <a:prstDash val="solid"/>
                  <a:round/>
                </a:ln>
              </p:spPr>
              <p:txBody>
                <a:bodyPr rtlCol="0" anchor="ctr"/>
                <a:lstStyle/>
                <a:p>
                  <a:endParaRPr lang="en-GB"/>
                </a:p>
              </p:txBody>
            </p:sp>
            <p:sp>
              <p:nvSpPr>
                <p:cNvPr id="5707" name="Vrije vorm: vorm 5706">
                  <a:extLst>
                    <a:ext uri="{FF2B5EF4-FFF2-40B4-BE49-F238E27FC236}">
                      <a16:creationId xmlns:a16="http://schemas.microsoft.com/office/drawing/2014/main" id="{51DCE4F1-8EFD-452B-80DC-8A1887990D51}"/>
                    </a:ext>
                  </a:extLst>
                </p:cNvPr>
                <p:cNvSpPr/>
                <p:nvPr/>
              </p:nvSpPr>
              <p:spPr>
                <a:xfrm>
                  <a:off x="6523313" y="1593185"/>
                  <a:ext cx="20932" cy="6758"/>
                </a:xfrm>
                <a:custGeom>
                  <a:avLst/>
                  <a:gdLst>
                    <a:gd name="connsiteX0" fmla="*/ 20933 w 20932"/>
                    <a:gd name="connsiteY0" fmla="*/ 0 h 6758"/>
                    <a:gd name="connsiteX1" fmla="*/ 18779 w 20932"/>
                    <a:gd name="connsiteY1" fmla="*/ 1914 h 6758"/>
                    <a:gd name="connsiteX2" fmla="*/ 17763 w 20932"/>
                    <a:gd name="connsiteY2" fmla="*/ 2811 h 6758"/>
                    <a:gd name="connsiteX3" fmla="*/ 17643 w 20932"/>
                    <a:gd name="connsiteY3" fmla="*/ 2871 h 6758"/>
                    <a:gd name="connsiteX4" fmla="*/ 14832 w 20932"/>
                    <a:gd name="connsiteY4" fmla="*/ 4366 h 6758"/>
                    <a:gd name="connsiteX5" fmla="*/ 13157 w 20932"/>
                    <a:gd name="connsiteY5" fmla="*/ 5263 h 6758"/>
                    <a:gd name="connsiteX6" fmla="*/ 12320 w 20932"/>
                    <a:gd name="connsiteY6" fmla="*/ 5682 h 6758"/>
                    <a:gd name="connsiteX7" fmla="*/ 12320 w 20932"/>
                    <a:gd name="connsiteY7" fmla="*/ 5682 h 6758"/>
                    <a:gd name="connsiteX8" fmla="*/ 11662 w 20932"/>
                    <a:gd name="connsiteY8" fmla="*/ 5801 h 6758"/>
                    <a:gd name="connsiteX9" fmla="*/ 8612 w 20932"/>
                    <a:gd name="connsiteY9" fmla="*/ 6399 h 6758"/>
                    <a:gd name="connsiteX10" fmla="*/ 6758 w 20932"/>
                    <a:gd name="connsiteY10" fmla="*/ 6758 h 6758"/>
                    <a:gd name="connsiteX11" fmla="*/ 3768 w 20932"/>
                    <a:gd name="connsiteY11" fmla="*/ 6399 h 6758"/>
                    <a:gd name="connsiteX12" fmla="*/ 2392 w 20932"/>
                    <a:gd name="connsiteY12" fmla="*/ 6220 h 6758"/>
                    <a:gd name="connsiteX13" fmla="*/ 1316 w 20932"/>
                    <a:gd name="connsiteY13" fmla="*/ 6100 h 6758"/>
                    <a:gd name="connsiteX14" fmla="*/ 0 w 20932"/>
                    <a:gd name="connsiteY14" fmla="*/ 5682 h 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32" h="6758">
                      <a:moveTo>
                        <a:pt x="20933" y="0"/>
                      </a:moveTo>
                      <a:lnTo>
                        <a:pt x="18779" y="1914"/>
                      </a:lnTo>
                      <a:lnTo>
                        <a:pt x="17763" y="2811"/>
                      </a:lnTo>
                      <a:lnTo>
                        <a:pt x="17643" y="2871"/>
                      </a:lnTo>
                      <a:lnTo>
                        <a:pt x="14832" y="4366"/>
                      </a:lnTo>
                      <a:lnTo>
                        <a:pt x="13157" y="5263"/>
                      </a:lnTo>
                      <a:lnTo>
                        <a:pt x="12320" y="5682"/>
                      </a:lnTo>
                      <a:lnTo>
                        <a:pt x="12320" y="5682"/>
                      </a:lnTo>
                      <a:lnTo>
                        <a:pt x="11662" y="5801"/>
                      </a:lnTo>
                      <a:lnTo>
                        <a:pt x="8612" y="6399"/>
                      </a:lnTo>
                      <a:lnTo>
                        <a:pt x="6758" y="6758"/>
                      </a:lnTo>
                      <a:lnTo>
                        <a:pt x="3768" y="6399"/>
                      </a:lnTo>
                      <a:lnTo>
                        <a:pt x="2392" y="6220"/>
                      </a:lnTo>
                      <a:lnTo>
                        <a:pt x="1316" y="6100"/>
                      </a:lnTo>
                      <a:lnTo>
                        <a:pt x="0" y="5682"/>
                      </a:lnTo>
                    </a:path>
                  </a:pathLst>
                </a:custGeom>
                <a:noFill/>
                <a:ln w="6350" cap="rnd">
                  <a:solidFill>
                    <a:schemeClr val="bg1">
                      <a:alpha val="40000"/>
                    </a:schemeClr>
                  </a:solidFill>
                  <a:prstDash val="solid"/>
                  <a:round/>
                </a:ln>
              </p:spPr>
              <p:txBody>
                <a:bodyPr rtlCol="0" anchor="ctr"/>
                <a:lstStyle/>
                <a:p>
                  <a:endParaRPr lang="en-GB"/>
                </a:p>
              </p:txBody>
            </p:sp>
            <p:sp>
              <p:nvSpPr>
                <p:cNvPr id="5708" name="Vrije vorm: vorm 5707">
                  <a:extLst>
                    <a:ext uri="{FF2B5EF4-FFF2-40B4-BE49-F238E27FC236}">
                      <a16:creationId xmlns:a16="http://schemas.microsoft.com/office/drawing/2014/main" id="{B6279936-5E68-4547-B8BA-C0D75DEFA1B6}"/>
                    </a:ext>
                  </a:extLst>
                </p:cNvPr>
                <p:cNvSpPr/>
                <p:nvPr/>
              </p:nvSpPr>
              <p:spPr>
                <a:xfrm>
                  <a:off x="6511770" y="1545518"/>
                  <a:ext cx="42343" cy="53706"/>
                </a:xfrm>
                <a:custGeom>
                  <a:avLst/>
                  <a:gdLst>
                    <a:gd name="connsiteX0" fmla="*/ 12918 w 42343"/>
                    <a:gd name="connsiteY0" fmla="*/ 53707 h 53706"/>
                    <a:gd name="connsiteX1" fmla="*/ 12260 w 42343"/>
                    <a:gd name="connsiteY1" fmla="*/ 53348 h 53706"/>
                    <a:gd name="connsiteX2" fmla="*/ 9629 w 42343"/>
                    <a:gd name="connsiteY2" fmla="*/ 51972 h 53706"/>
                    <a:gd name="connsiteX3" fmla="*/ 8134 w 42343"/>
                    <a:gd name="connsiteY3" fmla="*/ 51195 h 53706"/>
                    <a:gd name="connsiteX4" fmla="*/ 6040 w 42343"/>
                    <a:gd name="connsiteY4" fmla="*/ 49042 h 53706"/>
                    <a:gd name="connsiteX5" fmla="*/ 4186 w 42343"/>
                    <a:gd name="connsiteY5" fmla="*/ 47068 h 53706"/>
                    <a:gd name="connsiteX6" fmla="*/ 2811 w 42343"/>
                    <a:gd name="connsiteY6" fmla="*/ 44317 h 53706"/>
                    <a:gd name="connsiteX7" fmla="*/ 1435 w 42343"/>
                    <a:gd name="connsiteY7" fmla="*/ 41566 h 53706"/>
                    <a:gd name="connsiteX8" fmla="*/ 1375 w 42343"/>
                    <a:gd name="connsiteY8" fmla="*/ 41506 h 53706"/>
                    <a:gd name="connsiteX9" fmla="*/ 718 w 42343"/>
                    <a:gd name="connsiteY9" fmla="*/ 38456 h 53706"/>
                    <a:gd name="connsiteX10" fmla="*/ 359 w 42343"/>
                    <a:gd name="connsiteY10" fmla="*/ 36722 h 53706"/>
                    <a:gd name="connsiteX11" fmla="*/ 0 w 42343"/>
                    <a:gd name="connsiteY11" fmla="*/ 34987 h 53706"/>
                    <a:gd name="connsiteX12" fmla="*/ 60 w 42343"/>
                    <a:gd name="connsiteY12" fmla="*/ 33253 h 53706"/>
                    <a:gd name="connsiteX13" fmla="*/ 60 w 42343"/>
                    <a:gd name="connsiteY13" fmla="*/ 33253 h 53706"/>
                    <a:gd name="connsiteX14" fmla="*/ 119 w 42343"/>
                    <a:gd name="connsiteY14" fmla="*/ 30143 h 53706"/>
                    <a:gd name="connsiteX15" fmla="*/ 119 w 42343"/>
                    <a:gd name="connsiteY15" fmla="*/ 30143 h 53706"/>
                    <a:gd name="connsiteX16" fmla="*/ 179 w 42343"/>
                    <a:gd name="connsiteY16" fmla="*/ 28349 h 53706"/>
                    <a:gd name="connsiteX17" fmla="*/ 179 w 42343"/>
                    <a:gd name="connsiteY17" fmla="*/ 27870 h 53706"/>
                    <a:gd name="connsiteX18" fmla="*/ 239 w 42343"/>
                    <a:gd name="connsiteY18" fmla="*/ 27511 h 53706"/>
                    <a:gd name="connsiteX19" fmla="*/ 957 w 42343"/>
                    <a:gd name="connsiteY19" fmla="*/ 24341 h 53706"/>
                    <a:gd name="connsiteX20" fmla="*/ 1555 w 42343"/>
                    <a:gd name="connsiteY20" fmla="*/ 21830 h 53706"/>
                    <a:gd name="connsiteX21" fmla="*/ 1794 w 42343"/>
                    <a:gd name="connsiteY21" fmla="*/ 20813 h 53706"/>
                    <a:gd name="connsiteX22" fmla="*/ 1854 w 42343"/>
                    <a:gd name="connsiteY22" fmla="*/ 20693 h 53706"/>
                    <a:gd name="connsiteX23" fmla="*/ 2392 w 42343"/>
                    <a:gd name="connsiteY23" fmla="*/ 19497 h 53706"/>
                    <a:gd name="connsiteX24" fmla="*/ 2930 w 42343"/>
                    <a:gd name="connsiteY24" fmla="*/ 18301 h 53706"/>
                    <a:gd name="connsiteX25" fmla="*/ 2990 w 42343"/>
                    <a:gd name="connsiteY25" fmla="*/ 18181 h 53706"/>
                    <a:gd name="connsiteX26" fmla="*/ 3648 w 42343"/>
                    <a:gd name="connsiteY26" fmla="*/ 16746 h 53706"/>
                    <a:gd name="connsiteX27" fmla="*/ 4665 w 42343"/>
                    <a:gd name="connsiteY27" fmla="*/ 14533 h 53706"/>
                    <a:gd name="connsiteX28" fmla="*/ 4964 w 42343"/>
                    <a:gd name="connsiteY28" fmla="*/ 13875 h 53706"/>
                    <a:gd name="connsiteX29" fmla="*/ 4964 w 42343"/>
                    <a:gd name="connsiteY29" fmla="*/ 13875 h 53706"/>
                    <a:gd name="connsiteX30" fmla="*/ 4964 w 42343"/>
                    <a:gd name="connsiteY30" fmla="*/ 13875 h 53706"/>
                    <a:gd name="connsiteX31" fmla="*/ 6878 w 42343"/>
                    <a:gd name="connsiteY31" fmla="*/ 11244 h 53706"/>
                    <a:gd name="connsiteX32" fmla="*/ 8791 w 42343"/>
                    <a:gd name="connsiteY32" fmla="*/ 8612 h 53706"/>
                    <a:gd name="connsiteX33" fmla="*/ 9210 w 42343"/>
                    <a:gd name="connsiteY33" fmla="*/ 8074 h 53706"/>
                    <a:gd name="connsiteX34" fmla="*/ 9928 w 42343"/>
                    <a:gd name="connsiteY34" fmla="*/ 7476 h 53706"/>
                    <a:gd name="connsiteX35" fmla="*/ 10406 w 42343"/>
                    <a:gd name="connsiteY35" fmla="*/ 7057 h 53706"/>
                    <a:gd name="connsiteX36" fmla="*/ 10705 w 42343"/>
                    <a:gd name="connsiteY36" fmla="*/ 6758 h 53706"/>
                    <a:gd name="connsiteX37" fmla="*/ 13157 w 42343"/>
                    <a:gd name="connsiteY37" fmla="*/ 4665 h 53706"/>
                    <a:gd name="connsiteX38" fmla="*/ 14174 w 42343"/>
                    <a:gd name="connsiteY38" fmla="*/ 3828 h 53706"/>
                    <a:gd name="connsiteX39" fmla="*/ 14354 w 42343"/>
                    <a:gd name="connsiteY39" fmla="*/ 3648 h 53706"/>
                    <a:gd name="connsiteX40" fmla="*/ 15669 w 42343"/>
                    <a:gd name="connsiteY40" fmla="*/ 2990 h 53706"/>
                    <a:gd name="connsiteX41" fmla="*/ 15669 w 42343"/>
                    <a:gd name="connsiteY41" fmla="*/ 2990 h 53706"/>
                    <a:gd name="connsiteX42" fmla="*/ 16208 w 42343"/>
                    <a:gd name="connsiteY42" fmla="*/ 2751 h 53706"/>
                    <a:gd name="connsiteX43" fmla="*/ 17643 w 42343"/>
                    <a:gd name="connsiteY43" fmla="*/ 2033 h 53706"/>
                    <a:gd name="connsiteX44" fmla="*/ 18660 w 42343"/>
                    <a:gd name="connsiteY44" fmla="*/ 1555 h 53706"/>
                    <a:gd name="connsiteX45" fmla="*/ 18660 w 42343"/>
                    <a:gd name="connsiteY45" fmla="*/ 1555 h 53706"/>
                    <a:gd name="connsiteX46" fmla="*/ 20035 w 42343"/>
                    <a:gd name="connsiteY46" fmla="*/ 897 h 53706"/>
                    <a:gd name="connsiteX47" fmla="*/ 23086 w 42343"/>
                    <a:gd name="connsiteY47" fmla="*/ 419 h 53706"/>
                    <a:gd name="connsiteX48" fmla="*/ 25777 w 42343"/>
                    <a:gd name="connsiteY48" fmla="*/ 0 h 53706"/>
                    <a:gd name="connsiteX49" fmla="*/ 25777 w 42343"/>
                    <a:gd name="connsiteY49" fmla="*/ 0 h 53706"/>
                    <a:gd name="connsiteX50" fmla="*/ 28707 w 42343"/>
                    <a:gd name="connsiteY50" fmla="*/ 538 h 53706"/>
                    <a:gd name="connsiteX51" fmla="*/ 31159 w 42343"/>
                    <a:gd name="connsiteY51" fmla="*/ 1017 h 53706"/>
                    <a:gd name="connsiteX52" fmla="*/ 33731 w 42343"/>
                    <a:gd name="connsiteY52" fmla="*/ 2512 h 53706"/>
                    <a:gd name="connsiteX53" fmla="*/ 35286 w 42343"/>
                    <a:gd name="connsiteY53" fmla="*/ 3409 h 53706"/>
                    <a:gd name="connsiteX54" fmla="*/ 35884 w 42343"/>
                    <a:gd name="connsiteY54" fmla="*/ 3768 h 53706"/>
                    <a:gd name="connsiteX55" fmla="*/ 36363 w 42343"/>
                    <a:gd name="connsiteY55" fmla="*/ 4366 h 53706"/>
                    <a:gd name="connsiteX56" fmla="*/ 38336 w 42343"/>
                    <a:gd name="connsiteY56" fmla="*/ 6639 h 53706"/>
                    <a:gd name="connsiteX57" fmla="*/ 39592 w 42343"/>
                    <a:gd name="connsiteY57" fmla="*/ 8134 h 53706"/>
                    <a:gd name="connsiteX58" fmla="*/ 39951 w 42343"/>
                    <a:gd name="connsiteY58" fmla="*/ 8911 h 53706"/>
                    <a:gd name="connsiteX59" fmla="*/ 41207 w 42343"/>
                    <a:gd name="connsiteY59" fmla="*/ 11722 h 53706"/>
                    <a:gd name="connsiteX60" fmla="*/ 41327 w 42343"/>
                    <a:gd name="connsiteY60" fmla="*/ 12021 h 53706"/>
                    <a:gd name="connsiteX61" fmla="*/ 42104 w 42343"/>
                    <a:gd name="connsiteY61" fmla="*/ 13756 h 53706"/>
                    <a:gd name="connsiteX62" fmla="*/ 42343 w 42343"/>
                    <a:gd name="connsiteY62" fmla="*/ 15131 h 5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2343" h="53706">
                      <a:moveTo>
                        <a:pt x="12918" y="53707"/>
                      </a:moveTo>
                      <a:lnTo>
                        <a:pt x="12260" y="53348"/>
                      </a:lnTo>
                      <a:lnTo>
                        <a:pt x="9629" y="51972"/>
                      </a:lnTo>
                      <a:lnTo>
                        <a:pt x="8134" y="51195"/>
                      </a:lnTo>
                      <a:lnTo>
                        <a:pt x="6040" y="49042"/>
                      </a:lnTo>
                      <a:lnTo>
                        <a:pt x="4186" y="47068"/>
                      </a:lnTo>
                      <a:lnTo>
                        <a:pt x="2811" y="44317"/>
                      </a:lnTo>
                      <a:lnTo>
                        <a:pt x="1435" y="41566"/>
                      </a:lnTo>
                      <a:lnTo>
                        <a:pt x="1375" y="41506"/>
                      </a:lnTo>
                      <a:lnTo>
                        <a:pt x="718" y="38456"/>
                      </a:lnTo>
                      <a:lnTo>
                        <a:pt x="359" y="36722"/>
                      </a:lnTo>
                      <a:lnTo>
                        <a:pt x="0" y="34987"/>
                      </a:lnTo>
                      <a:lnTo>
                        <a:pt x="60" y="33253"/>
                      </a:lnTo>
                      <a:lnTo>
                        <a:pt x="60" y="33253"/>
                      </a:lnTo>
                      <a:lnTo>
                        <a:pt x="119" y="30143"/>
                      </a:lnTo>
                      <a:lnTo>
                        <a:pt x="119" y="30143"/>
                      </a:lnTo>
                      <a:lnTo>
                        <a:pt x="179" y="28349"/>
                      </a:lnTo>
                      <a:lnTo>
                        <a:pt x="179" y="27870"/>
                      </a:lnTo>
                      <a:lnTo>
                        <a:pt x="239" y="27511"/>
                      </a:lnTo>
                      <a:lnTo>
                        <a:pt x="957" y="24341"/>
                      </a:lnTo>
                      <a:lnTo>
                        <a:pt x="1555" y="21830"/>
                      </a:lnTo>
                      <a:lnTo>
                        <a:pt x="1794" y="20813"/>
                      </a:lnTo>
                      <a:lnTo>
                        <a:pt x="1854" y="20693"/>
                      </a:lnTo>
                      <a:lnTo>
                        <a:pt x="2392" y="19497"/>
                      </a:lnTo>
                      <a:lnTo>
                        <a:pt x="2930" y="18301"/>
                      </a:lnTo>
                      <a:lnTo>
                        <a:pt x="2990" y="18181"/>
                      </a:lnTo>
                      <a:lnTo>
                        <a:pt x="3648" y="16746"/>
                      </a:lnTo>
                      <a:lnTo>
                        <a:pt x="4665" y="14533"/>
                      </a:lnTo>
                      <a:lnTo>
                        <a:pt x="4964" y="13875"/>
                      </a:lnTo>
                      <a:lnTo>
                        <a:pt x="4964" y="13875"/>
                      </a:lnTo>
                      <a:lnTo>
                        <a:pt x="4964" y="13875"/>
                      </a:lnTo>
                      <a:lnTo>
                        <a:pt x="6878" y="11244"/>
                      </a:lnTo>
                      <a:lnTo>
                        <a:pt x="8791" y="8612"/>
                      </a:lnTo>
                      <a:lnTo>
                        <a:pt x="9210" y="8074"/>
                      </a:lnTo>
                      <a:lnTo>
                        <a:pt x="9928" y="7476"/>
                      </a:lnTo>
                      <a:lnTo>
                        <a:pt x="10406" y="7057"/>
                      </a:lnTo>
                      <a:lnTo>
                        <a:pt x="10705" y="6758"/>
                      </a:lnTo>
                      <a:lnTo>
                        <a:pt x="13157" y="4665"/>
                      </a:lnTo>
                      <a:lnTo>
                        <a:pt x="14174" y="3828"/>
                      </a:lnTo>
                      <a:lnTo>
                        <a:pt x="14354" y="3648"/>
                      </a:lnTo>
                      <a:lnTo>
                        <a:pt x="15669" y="2990"/>
                      </a:lnTo>
                      <a:lnTo>
                        <a:pt x="15669" y="2990"/>
                      </a:lnTo>
                      <a:lnTo>
                        <a:pt x="16208" y="2751"/>
                      </a:lnTo>
                      <a:lnTo>
                        <a:pt x="17643" y="2033"/>
                      </a:lnTo>
                      <a:lnTo>
                        <a:pt x="18660" y="1555"/>
                      </a:lnTo>
                      <a:lnTo>
                        <a:pt x="18660" y="1555"/>
                      </a:lnTo>
                      <a:lnTo>
                        <a:pt x="20035" y="897"/>
                      </a:lnTo>
                      <a:lnTo>
                        <a:pt x="23086" y="419"/>
                      </a:lnTo>
                      <a:lnTo>
                        <a:pt x="25777" y="0"/>
                      </a:lnTo>
                      <a:lnTo>
                        <a:pt x="25777" y="0"/>
                      </a:lnTo>
                      <a:lnTo>
                        <a:pt x="28707" y="538"/>
                      </a:lnTo>
                      <a:lnTo>
                        <a:pt x="31159" y="1017"/>
                      </a:lnTo>
                      <a:lnTo>
                        <a:pt x="33731" y="2512"/>
                      </a:lnTo>
                      <a:lnTo>
                        <a:pt x="35286" y="3409"/>
                      </a:lnTo>
                      <a:lnTo>
                        <a:pt x="35884" y="3768"/>
                      </a:lnTo>
                      <a:lnTo>
                        <a:pt x="36363" y="4366"/>
                      </a:lnTo>
                      <a:lnTo>
                        <a:pt x="38336" y="6639"/>
                      </a:lnTo>
                      <a:lnTo>
                        <a:pt x="39592" y="8134"/>
                      </a:lnTo>
                      <a:lnTo>
                        <a:pt x="39951" y="8911"/>
                      </a:lnTo>
                      <a:lnTo>
                        <a:pt x="41207" y="11722"/>
                      </a:lnTo>
                      <a:lnTo>
                        <a:pt x="41327" y="12021"/>
                      </a:lnTo>
                      <a:lnTo>
                        <a:pt x="42104" y="13756"/>
                      </a:lnTo>
                      <a:lnTo>
                        <a:pt x="42343" y="15131"/>
                      </a:lnTo>
                    </a:path>
                  </a:pathLst>
                </a:custGeom>
                <a:noFill/>
                <a:ln w="6350" cap="rnd">
                  <a:solidFill>
                    <a:schemeClr val="bg1">
                      <a:alpha val="40000"/>
                    </a:schemeClr>
                  </a:solidFill>
                  <a:prstDash val="solid"/>
                  <a:round/>
                </a:ln>
              </p:spPr>
              <p:txBody>
                <a:bodyPr rtlCol="0" anchor="ctr"/>
                <a:lstStyle/>
                <a:p>
                  <a:endParaRPr lang="en-GB"/>
                </a:p>
              </p:txBody>
            </p:sp>
            <p:sp>
              <p:nvSpPr>
                <p:cNvPr id="5709" name="Vrije vorm: vorm 5708">
                  <a:extLst>
                    <a:ext uri="{FF2B5EF4-FFF2-40B4-BE49-F238E27FC236}">
                      <a16:creationId xmlns:a16="http://schemas.microsoft.com/office/drawing/2014/main" id="{EEEF4D23-AD72-4252-9A8A-ECFD2239C6C1}"/>
                    </a:ext>
                  </a:extLst>
                </p:cNvPr>
                <p:cNvSpPr/>
                <p:nvPr/>
              </p:nvSpPr>
              <p:spPr>
                <a:xfrm>
                  <a:off x="6510454" y="1545279"/>
                  <a:ext cx="25657" cy="53527"/>
                </a:xfrm>
                <a:custGeom>
                  <a:avLst/>
                  <a:gdLst>
                    <a:gd name="connsiteX0" fmla="*/ 12919 w 25657"/>
                    <a:gd name="connsiteY0" fmla="*/ 53527 h 53527"/>
                    <a:gd name="connsiteX1" fmla="*/ 10287 w 25657"/>
                    <a:gd name="connsiteY1" fmla="*/ 52152 h 53527"/>
                    <a:gd name="connsiteX2" fmla="*/ 8074 w 25657"/>
                    <a:gd name="connsiteY2" fmla="*/ 51016 h 53527"/>
                    <a:gd name="connsiteX3" fmla="*/ 5981 w 25657"/>
                    <a:gd name="connsiteY3" fmla="*/ 48862 h 53527"/>
                    <a:gd name="connsiteX4" fmla="*/ 4127 w 25657"/>
                    <a:gd name="connsiteY4" fmla="*/ 46889 h 53527"/>
                    <a:gd name="connsiteX5" fmla="*/ 2751 w 25657"/>
                    <a:gd name="connsiteY5" fmla="*/ 44138 h 53527"/>
                    <a:gd name="connsiteX6" fmla="*/ 1375 w 25657"/>
                    <a:gd name="connsiteY6" fmla="*/ 41387 h 53527"/>
                    <a:gd name="connsiteX7" fmla="*/ 718 w 25657"/>
                    <a:gd name="connsiteY7" fmla="*/ 38336 h 53527"/>
                    <a:gd name="connsiteX8" fmla="*/ 359 w 25657"/>
                    <a:gd name="connsiteY8" fmla="*/ 36602 h 53527"/>
                    <a:gd name="connsiteX9" fmla="*/ 0 w 25657"/>
                    <a:gd name="connsiteY9" fmla="*/ 34868 h 53527"/>
                    <a:gd name="connsiteX10" fmla="*/ 60 w 25657"/>
                    <a:gd name="connsiteY10" fmla="*/ 33253 h 53527"/>
                    <a:gd name="connsiteX11" fmla="*/ 120 w 25657"/>
                    <a:gd name="connsiteY11" fmla="*/ 30920 h 53527"/>
                    <a:gd name="connsiteX12" fmla="*/ 120 w 25657"/>
                    <a:gd name="connsiteY12" fmla="*/ 30203 h 53527"/>
                    <a:gd name="connsiteX13" fmla="*/ 120 w 25657"/>
                    <a:gd name="connsiteY13" fmla="*/ 29365 h 53527"/>
                    <a:gd name="connsiteX14" fmla="*/ 180 w 25657"/>
                    <a:gd name="connsiteY14" fmla="*/ 27691 h 53527"/>
                    <a:gd name="connsiteX15" fmla="*/ 897 w 25657"/>
                    <a:gd name="connsiteY15" fmla="*/ 24521 h 53527"/>
                    <a:gd name="connsiteX16" fmla="*/ 1615 w 25657"/>
                    <a:gd name="connsiteY16" fmla="*/ 21351 h 53527"/>
                    <a:gd name="connsiteX17" fmla="*/ 1794 w 25657"/>
                    <a:gd name="connsiteY17" fmla="*/ 20514 h 53527"/>
                    <a:gd name="connsiteX18" fmla="*/ 2034 w 25657"/>
                    <a:gd name="connsiteY18" fmla="*/ 19916 h 53527"/>
                    <a:gd name="connsiteX19" fmla="*/ 2093 w 25657"/>
                    <a:gd name="connsiteY19" fmla="*/ 19796 h 53527"/>
                    <a:gd name="connsiteX20" fmla="*/ 2572 w 25657"/>
                    <a:gd name="connsiteY20" fmla="*/ 18839 h 53527"/>
                    <a:gd name="connsiteX21" fmla="*/ 3588 w 25657"/>
                    <a:gd name="connsiteY21" fmla="*/ 16686 h 53527"/>
                    <a:gd name="connsiteX22" fmla="*/ 4366 w 25657"/>
                    <a:gd name="connsiteY22" fmla="*/ 15012 h 53527"/>
                    <a:gd name="connsiteX23" fmla="*/ 4545 w 25657"/>
                    <a:gd name="connsiteY23" fmla="*/ 14653 h 53527"/>
                    <a:gd name="connsiteX24" fmla="*/ 4785 w 25657"/>
                    <a:gd name="connsiteY24" fmla="*/ 14174 h 53527"/>
                    <a:gd name="connsiteX25" fmla="*/ 4904 w 25657"/>
                    <a:gd name="connsiteY25" fmla="*/ 13875 h 53527"/>
                    <a:gd name="connsiteX26" fmla="*/ 5263 w 25657"/>
                    <a:gd name="connsiteY26" fmla="*/ 13397 h 53527"/>
                    <a:gd name="connsiteX27" fmla="*/ 5263 w 25657"/>
                    <a:gd name="connsiteY27" fmla="*/ 13397 h 53527"/>
                    <a:gd name="connsiteX28" fmla="*/ 7177 w 25657"/>
                    <a:gd name="connsiteY28" fmla="*/ 10765 h 53527"/>
                    <a:gd name="connsiteX29" fmla="*/ 9151 w 25657"/>
                    <a:gd name="connsiteY29" fmla="*/ 8074 h 53527"/>
                    <a:gd name="connsiteX30" fmla="*/ 10347 w 25657"/>
                    <a:gd name="connsiteY30" fmla="*/ 7057 h 53527"/>
                    <a:gd name="connsiteX31" fmla="*/ 11543 w 25657"/>
                    <a:gd name="connsiteY31" fmla="*/ 6041 h 53527"/>
                    <a:gd name="connsiteX32" fmla="*/ 11842 w 25657"/>
                    <a:gd name="connsiteY32" fmla="*/ 5742 h 53527"/>
                    <a:gd name="connsiteX33" fmla="*/ 14294 w 25657"/>
                    <a:gd name="connsiteY33" fmla="*/ 3648 h 53527"/>
                    <a:gd name="connsiteX34" fmla="*/ 14653 w 25657"/>
                    <a:gd name="connsiteY34" fmla="*/ 3469 h 53527"/>
                    <a:gd name="connsiteX35" fmla="*/ 15131 w 25657"/>
                    <a:gd name="connsiteY35" fmla="*/ 3230 h 53527"/>
                    <a:gd name="connsiteX36" fmla="*/ 17523 w 25657"/>
                    <a:gd name="connsiteY36" fmla="*/ 2034 h 53527"/>
                    <a:gd name="connsiteX37" fmla="*/ 17643 w 25657"/>
                    <a:gd name="connsiteY37" fmla="*/ 1974 h 53527"/>
                    <a:gd name="connsiteX38" fmla="*/ 17643 w 25657"/>
                    <a:gd name="connsiteY38" fmla="*/ 1974 h 53527"/>
                    <a:gd name="connsiteX39" fmla="*/ 19198 w 25657"/>
                    <a:gd name="connsiteY39" fmla="*/ 1256 h 53527"/>
                    <a:gd name="connsiteX40" fmla="*/ 19198 w 25657"/>
                    <a:gd name="connsiteY40" fmla="*/ 1256 h 53527"/>
                    <a:gd name="connsiteX41" fmla="*/ 19916 w 25657"/>
                    <a:gd name="connsiteY41" fmla="*/ 897 h 53527"/>
                    <a:gd name="connsiteX42" fmla="*/ 22966 w 25657"/>
                    <a:gd name="connsiteY42" fmla="*/ 419 h 53527"/>
                    <a:gd name="connsiteX43" fmla="*/ 25657 w 25657"/>
                    <a:gd name="connsiteY43" fmla="*/ 0 h 5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657" h="53527">
                      <a:moveTo>
                        <a:pt x="12919" y="53527"/>
                      </a:moveTo>
                      <a:lnTo>
                        <a:pt x="10287" y="52152"/>
                      </a:lnTo>
                      <a:lnTo>
                        <a:pt x="8074" y="51016"/>
                      </a:lnTo>
                      <a:lnTo>
                        <a:pt x="5981" y="48862"/>
                      </a:lnTo>
                      <a:lnTo>
                        <a:pt x="4127" y="46889"/>
                      </a:lnTo>
                      <a:lnTo>
                        <a:pt x="2751" y="44138"/>
                      </a:lnTo>
                      <a:lnTo>
                        <a:pt x="1375" y="41387"/>
                      </a:lnTo>
                      <a:lnTo>
                        <a:pt x="718" y="38336"/>
                      </a:lnTo>
                      <a:lnTo>
                        <a:pt x="359" y="36602"/>
                      </a:lnTo>
                      <a:lnTo>
                        <a:pt x="0" y="34868"/>
                      </a:lnTo>
                      <a:lnTo>
                        <a:pt x="60" y="33253"/>
                      </a:lnTo>
                      <a:lnTo>
                        <a:pt x="120" y="30920"/>
                      </a:lnTo>
                      <a:lnTo>
                        <a:pt x="120" y="30203"/>
                      </a:lnTo>
                      <a:lnTo>
                        <a:pt x="120" y="29365"/>
                      </a:lnTo>
                      <a:lnTo>
                        <a:pt x="180" y="27691"/>
                      </a:lnTo>
                      <a:lnTo>
                        <a:pt x="897" y="24521"/>
                      </a:lnTo>
                      <a:lnTo>
                        <a:pt x="1615" y="21351"/>
                      </a:lnTo>
                      <a:lnTo>
                        <a:pt x="1794" y="20514"/>
                      </a:lnTo>
                      <a:lnTo>
                        <a:pt x="2034" y="19916"/>
                      </a:lnTo>
                      <a:lnTo>
                        <a:pt x="2093" y="19796"/>
                      </a:lnTo>
                      <a:lnTo>
                        <a:pt x="2572" y="18839"/>
                      </a:lnTo>
                      <a:lnTo>
                        <a:pt x="3588" y="16686"/>
                      </a:lnTo>
                      <a:lnTo>
                        <a:pt x="4366" y="15012"/>
                      </a:lnTo>
                      <a:lnTo>
                        <a:pt x="4545" y="14653"/>
                      </a:lnTo>
                      <a:lnTo>
                        <a:pt x="4785" y="14174"/>
                      </a:lnTo>
                      <a:lnTo>
                        <a:pt x="4904" y="13875"/>
                      </a:lnTo>
                      <a:lnTo>
                        <a:pt x="5263" y="13397"/>
                      </a:lnTo>
                      <a:lnTo>
                        <a:pt x="5263" y="13397"/>
                      </a:lnTo>
                      <a:lnTo>
                        <a:pt x="7177" y="10765"/>
                      </a:lnTo>
                      <a:lnTo>
                        <a:pt x="9151" y="8074"/>
                      </a:lnTo>
                      <a:lnTo>
                        <a:pt x="10347" y="7057"/>
                      </a:lnTo>
                      <a:lnTo>
                        <a:pt x="11543" y="6041"/>
                      </a:lnTo>
                      <a:lnTo>
                        <a:pt x="11842" y="5742"/>
                      </a:lnTo>
                      <a:lnTo>
                        <a:pt x="14294" y="3648"/>
                      </a:lnTo>
                      <a:lnTo>
                        <a:pt x="14653" y="3469"/>
                      </a:lnTo>
                      <a:lnTo>
                        <a:pt x="15131" y="3230"/>
                      </a:lnTo>
                      <a:lnTo>
                        <a:pt x="17523" y="2034"/>
                      </a:lnTo>
                      <a:lnTo>
                        <a:pt x="17643" y="1974"/>
                      </a:lnTo>
                      <a:lnTo>
                        <a:pt x="17643" y="1974"/>
                      </a:lnTo>
                      <a:lnTo>
                        <a:pt x="19198" y="1256"/>
                      </a:lnTo>
                      <a:lnTo>
                        <a:pt x="19198" y="1256"/>
                      </a:lnTo>
                      <a:lnTo>
                        <a:pt x="19916" y="897"/>
                      </a:lnTo>
                      <a:lnTo>
                        <a:pt x="22966" y="419"/>
                      </a:lnTo>
                      <a:lnTo>
                        <a:pt x="25657" y="0"/>
                      </a:lnTo>
                    </a:path>
                  </a:pathLst>
                </a:custGeom>
                <a:noFill/>
                <a:ln w="6350" cap="rnd">
                  <a:solidFill>
                    <a:schemeClr val="bg1">
                      <a:alpha val="40000"/>
                    </a:schemeClr>
                  </a:solidFill>
                  <a:prstDash val="solid"/>
                  <a:round/>
                </a:ln>
              </p:spPr>
              <p:txBody>
                <a:bodyPr rtlCol="0" anchor="ctr"/>
                <a:lstStyle/>
                <a:p>
                  <a:endParaRPr lang="en-GB"/>
                </a:p>
              </p:txBody>
            </p:sp>
            <p:sp>
              <p:nvSpPr>
                <p:cNvPr id="5710" name="Vrije vorm: vorm 5709">
                  <a:extLst>
                    <a:ext uri="{FF2B5EF4-FFF2-40B4-BE49-F238E27FC236}">
                      <a16:creationId xmlns:a16="http://schemas.microsoft.com/office/drawing/2014/main" id="{D6BBDD34-EAB6-4EC0-A0FF-15CB2C1DD1F4}"/>
                    </a:ext>
                  </a:extLst>
                </p:cNvPr>
                <p:cNvSpPr/>
                <p:nvPr/>
              </p:nvSpPr>
              <p:spPr>
                <a:xfrm>
                  <a:off x="6536111" y="1545459"/>
                  <a:ext cx="1375" cy="239"/>
                </a:xfrm>
                <a:custGeom>
                  <a:avLst/>
                  <a:gdLst>
                    <a:gd name="connsiteX0" fmla="*/ 0 w 1375"/>
                    <a:gd name="connsiteY0" fmla="*/ 0 h 239"/>
                    <a:gd name="connsiteX1" fmla="*/ 1376 w 1375"/>
                    <a:gd name="connsiteY1" fmla="*/ 239 h 239"/>
                  </a:gdLst>
                  <a:ahLst/>
                  <a:cxnLst>
                    <a:cxn ang="0">
                      <a:pos x="connsiteX0" y="connsiteY0"/>
                    </a:cxn>
                    <a:cxn ang="0">
                      <a:pos x="connsiteX1" y="connsiteY1"/>
                    </a:cxn>
                  </a:cxnLst>
                  <a:rect l="l" t="t" r="r" b="b"/>
                  <a:pathLst>
                    <a:path w="1375" h="239">
                      <a:moveTo>
                        <a:pt x="0" y="0"/>
                      </a:moveTo>
                      <a:lnTo>
                        <a:pt x="1376" y="239"/>
                      </a:lnTo>
                    </a:path>
                  </a:pathLst>
                </a:custGeom>
                <a:noFill/>
                <a:ln w="6350" cap="rnd">
                  <a:solidFill>
                    <a:schemeClr val="bg1">
                      <a:alpha val="40000"/>
                    </a:schemeClr>
                  </a:solidFill>
                  <a:prstDash val="solid"/>
                  <a:round/>
                </a:ln>
              </p:spPr>
              <p:txBody>
                <a:bodyPr rtlCol="0" anchor="ctr"/>
                <a:lstStyle/>
                <a:p>
                  <a:endParaRPr lang="en-GB"/>
                </a:p>
              </p:txBody>
            </p:sp>
            <p:sp>
              <p:nvSpPr>
                <p:cNvPr id="5711" name="Vrije vorm: vorm 5710">
                  <a:extLst>
                    <a:ext uri="{FF2B5EF4-FFF2-40B4-BE49-F238E27FC236}">
                      <a16:creationId xmlns:a16="http://schemas.microsoft.com/office/drawing/2014/main" id="{F8531667-3898-4BDB-A104-921CB6D812E2}"/>
                    </a:ext>
                  </a:extLst>
                </p:cNvPr>
                <p:cNvSpPr/>
                <p:nvPr/>
              </p:nvSpPr>
              <p:spPr>
                <a:xfrm>
                  <a:off x="6548132" y="1550123"/>
                  <a:ext cx="7535" cy="11961"/>
                </a:xfrm>
                <a:custGeom>
                  <a:avLst/>
                  <a:gdLst>
                    <a:gd name="connsiteX0" fmla="*/ 0 w 7535"/>
                    <a:gd name="connsiteY0" fmla="*/ 0 h 11961"/>
                    <a:gd name="connsiteX1" fmla="*/ 2273 w 7535"/>
                    <a:gd name="connsiteY1" fmla="*/ 1914 h 11961"/>
                    <a:gd name="connsiteX2" fmla="*/ 4545 w 7535"/>
                    <a:gd name="connsiteY2" fmla="*/ 3828 h 11961"/>
                    <a:gd name="connsiteX3" fmla="*/ 4785 w 7535"/>
                    <a:gd name="connsiteY3" fmla="*/ 4007 h 11961"/>
                    <a:gd name="connsiteX4" fmla="*/ 5622 w 7535"/>
                    <a:gd name="connsiteY4" fmla="*/ 5682 h 11961"/>
                    <a:gd name="connsiteX5" fmla="*/ 5981 w 7535"/>
                    <a:gd name="connsiteY5" fmla="*/ 6519 h 11961"/>
                    <a:gd name="connsiteX6" fmla="*/ 6340 w 7535"/>
                    <a:gd name="connsiteY6" fmla="*/ 7476 h 11961"/>
                    <a:gd name="connsiteX7" fmla="*/ 6938 w 7535"/>
                    <a:gd name="connsiteY7" fmla="*/ 9330 h 11961"/>
                    <a:gd name="connsiteX8" fmla="*/ 7416 w 7535"/>
                    <a:gd name="connsiteY8" fmla="*/ 11304 h 11961"/>
                    <a:gd name="connsiteX9" fmla="*/ 7536 w 7535"/>
                    <a:gd name="connsiteY9" fmla="*/ 11961 h 1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5" h="11961">
                      <a:moveTo>
                        <a:pt x="0" y="0"/>
                      </a:moveTo>
                      <a:lnTo>
                        <a:pt x="2273" y="1914"/>
                      </a:lnTo>
                      <a:lnTo>
                        <a:pt x="4545" y="3828"/>
                      </a:lnTo>
                      <a:lnTo>
                        <a:pt x="4785" y="4007"/>
                      </a:lnTo>
                      <a:lnTo>
                        <a:pt x="5622" y="5682"/>
                      </a:lnTo>
                      <a:lnTo>
                        <a:pt x="5981" y="6519"/>
                      </a:lnTo>
                      <a:lnTo>
                        <a:pt x="6340" y="7476"/>
                      </a:lnTo>
                      <a:lnTo>
                        <a:pt x="6938" y="9330"/>
                      </a:lnTo>
                      <a:lnTo>
                        <a:pt x="7416" y="11304"/>
                      </a:lnTo>
                      <a:lnTo>
                        <a:pt x="7536" y="11961"/>
                      </a:lnTo>
                    </a:path>
                  </a:pathLst>
                </a:custGeom>
                <a:noFill/>
                <a:ln w="6350" cap="rnd">
                  <a:solidFill>
                    <a:schemeClr val="bg1">
                      <a:alpha val="40000"/>
                    </a:schemeClr>
                  </a:solidFill>
                  <a:prstDash val="solid"/>
                  <a:round/>
                </a:ln>
              </p:spPr>
              <p:txBody>
                <a:bodyPr rtlCol="0" anchor="ctr"/>
                <a:lstStyle/>
                <a:p>
                  <a:endParaRPr lang="en-GB"/>
                </a:p>
              </p:txBody>
            </p:sp>
            <p:sp>
              <p:nvSpPr>
                <p:cNvPr id="5712" name="Vrije vorm: vorm 5711">
                  <a:extLst>
                    <a:ext uri="{FF2B5EF4-FFF2-40B4-BE49-F238E27FC236}">
                      <a16:creationId xmlns:a16="http://schemas.microsoft.com/office/drawing/2014/main" id="{9D55DA20-98F2-43ED-A4EB-747AC6849C72}"/>
                    </a:ext>
                  </a:extLst>
                </p:cNvPr>
                <p:cNvSpPr/>
                <p:nvPr/>
              </p:nvSpPr>
              <p:spPr>
                <a:xfrm>
                  <a:off x="6554113" y="1556702"/>
                  <a:ext cx="4126" cy="6758"/>
                </a:xfrm>
                <a:custGeom>
                  <a:avLst/>
                  <a:gdLst>
                    <a:gd name="connsiteX0" fmla="*/ 0 w 4126"/>
                    <a:gd name="connsiteY0" fmla="*/ 0 h 6758"/>
                    <a:gd name="connsiteX1" fmla="*/ 1735 w 4126"/>
                    <a:gd name="connsiteY1" fmla="*/ 1495 h 6758"/>
                    <a:gd name="connsiteX2" fmla="*/ 2392 w 4126"/>
                    <a:gd name="connsiteY2" fmla="*/ 2153 h 6758"/>
                    <a:gd name="connsiteX3" fmla="*/ 2930 w 4126"/>
                    <a:gd name="connsiteY3" fmla="*/ 2931 h 6758"/>
                    <a:gd name="connsiteX4" fmla="*/ 3409 w 4126"/>
                    <a:gd name="connsiteY4" fmla="*/ 3828 h 6758"/>
                    <a:gd name="connsiteX5" fmla="*/ 3768 w 4126"/>
                    <a:gd name="connsiteY5" fmla="*/ 4785 h 6758"/>
                    <a:gd name="connsiteX6" fmla="*/ 4007 w 4126"/>
                    <a:gd name="connsiteY6" fmla="*/ 5801 h 6758"/>
                    <a:gd name="connsiteX7" fmla="*/ 4127 w 4126"/>
                    <a:gd name="connsiteY7" fmla="*/ 6758 h 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6" h="6758">
                      <a:moveTo>
                        <a:pt x="0" y="0"/>
                      </a:moveTo>
                      <a:lnTo>
                        <a:pt x="1735" y="1495"/>
                      </a:lnTo>
                      <a:lnTo>
                        <a:pt x="2392" y="2153"/>
                      </a:lnTo>
                      <a:lnTo>
                        <a:pt x="2930" y="2931"/>
                      </a:lnTo>
                      <a:lnTo>
                        <a:pt x="3409" y="3828"/>
                      </a:lnTo>
                      <a:lnTo>
                        <a:pt x="3768" y="4785"/>
                      </a:lnTo>
                      <a:lnTo>
                        <a:pt x="4007" y="5801"/>
                      </a:lnTo>
                      <a:lnTo>
                        <a:pt x="4127" y="6758"/>
                      </a:lnTo>
                    </a:path>
                  </a:pathLst>
                </a:custGeom>
                <a:noFill/>
                <a:ln w="6350" cap="rnd">
                  <a:solidFill>
                    <a:schemeClr val="bg1">
                      <a:alpha val="40000"/>
                    </a:schemeClr>
                  </a:solidFill>
                  <a:prstDash val="solid"/>
                  <a:round/>
                </a:ln>
              </p:spPr>
              <p:txBody>
                <a:bodyPr rtlCol="0" anchor="ctr"/>
                <a:lstStyle/>
                <a:p>
                  <a:endParaRPr lang="en-GB"/>
                </a:p>
              </p:txBody>
            </p:sp>
            <p:sp>
              <p:nvSpPr>
                <p:cNvPr id="5713" name="Vrije vorm: vorm 5712">
                  <a:extLst>
                    <a:ext uri="{FF2B5EF4-FFF2-40B4-BE49-F238E27FC236}">
                      <a16:creationId xmlns:a16="http://schemas.microsoft.com/office/drawing/2014/main" id="{F36AC222-1402-4EFF-9BBB-0011BC934D41}"/>
                    </a:ext>
                  </a:extLst>
                </p:cNvPr>
                <p:cNvSpPr/>
                <p:nvPr/>
              </p:nvSpPr>
              <p:spPr>
                <a:xfrm>
                  <a:off x="6624267" y="1576558"/>
                  <a:ext cx="35345" cy="47845"/>
                </a:xfrm>
                <a:custGeom>
                  <a:avLst/>
                  <a:gdLst>
                    <a:gd name="connsiteX0" fmla="*/ 27870 w 35345"/>
                    <a:gd name="connsiteY0" fmla="*/ 38157 h 47845"/>
                    <a:gd name="connsiteX1" fmla="*/ 26435 w 35345"/>
                    <a:gd name="connsiteY1" fmla="*/ 40190 h 47845"/>
                    <a:gd name="connsiteX2" fmla="*/ 24102 w 35345"/>
                    <a:gd name="connsiteY2" fmla="*/ 42403 h 47845"/>
                    <a:gd name="connsiteX3" fmla="*/ 22308 w 35345"/>
                    <a:gd name="connsiteY3" fmla="*/ 44138 h 47845"/>
                    <a:gd name="connsiteX4" fmla="*/ 19557 w 35345"/>
                    <a:gd name="connsiteY4" fmla="*/ 45752 h 47845"/>
                    <a:gd name="connsiteX5" fmla="*/ 17822 w 35345"/>
                    <a:gd name="connsiteY5" fmla="*/ 46769 h 47845"/>
                    <a:gd name="connsiteX6" fmla="*/ 14832 w 35345"/>
                    <a:gd name="connsiteY6" fmla="*/ 47487 h 47845"/>
                    <a:gd name="connsiteX7" fmla="*/ 13337 w 35345"/>
                    <a:gd name="connsiteY7" fmla="*/ 47846 h 47845"/>
                    <a:gd name="connsiteX8" fmla="*/ 10347 w 35345"/>
                    <a:gd name="connsiteY8" fmla="*/ 47487 h 47845"/>
                    <a:gd name="connsiteX9" fmla="*/ 9090 w 35345"/>
                    <a:gd name="connsiteY9" fmla="*/ 47367 h 47845"/>
                    <a:gd name="connsiteX10" fmla="*/ 6519 w 35345"/>
                    <a:gd name="connsiteY10" fmla="*/ 45932 h 47845"/>
                    <a:gd name="connsiteX11" fmla="*/ 5921 w 35345"/>
                    <a:gd name="connsiteY11" fmla="*/ 45633 h 47845"/>
                    <a:gd name="connsiteX12" fmla="*/ 5921 w 35345"/>
                    <a:gd name="connsiteY12" fmla="*/ 45633 h 47845"/>
                    <a:gd name="connsiteX13" fmla="*/ 5382 w 35345"/>
                    <a:gd name="connsiteY13" fmla="*/ 45334 h 47845"/>
                    <a:gd name="connsiteX14" fmla="*/ 3588 w 35345"/>
                    <a:gd name="connsiteY14" fmla="*/ 43121 h 47845"/>
                    <a:gd name="connsiteX15" fmla="*/ 2811 w 35345"/>
                    <a:gd name="connsiteY15" fmla="*/ 42164 h 47845"/>
                    <a:gd name="connsiteX16" fmla="*/ 2512 w 35345"/>
                    <a:gd name="connsiteY16" fmla="*/ 41805 h 47845"/>
                    <a:gd name="connsiteX17" fmla="*/ 1973 w 35345"/>
                    <a:gd name="connsiteY17" fmla="*/ 40430 h 47845"/>
                    <a:gd name="connsiteX18" fmla="*/ 1017 w 35345"/>
                    <a:gd name="connsiteY18" fmla="*/ 37978 h 47845"/>
                    <a:gd name="connsiteX19" fmla="*/ 658 w 35345"/>
                    <a:gd name="connsiteY19" fmla="*/ 37021 h 47845"/>
                    <a:gd name="connsiteX20" fmla="*/ 658 w 35345"/>
                    <a:gd name="connsiteY20" fmla="*/ 36781 h 47845"/>
                    <a:gd name="connsiteX21" fmla="*/ 299 w 35345"/>
                    <a:gd name="connsiteY21" fmla="*/ 33671 h 47845"/>
                    <a:gd name="connsiteX22" fmla="*/ 0 w 35345"/>
                    <a:gd name="connsiteY22" fmla="*/ 31279 h 47845"/>
                    <a:gd name="connsiteX23" fmla="*/ 299 w 35345"/>
                    <a:gd name="connsiteY23" fmla="*/ 28109 h 47845"/>
                    <a:gd name="connsiteX24" fmla="*/ 538 w 35345"/>
                    <a:gd name="connsiteY24" fmla="*/ 25059 h 47845"/>
                    <a:gd name="connsiteX25" fmla="*/ 1375 w 35345"/>
                    <a:gd name="connsiteY25" fmla="*/ 21949 h 47845"/>
                    <a:gd name="connsiteX26" fmla="*/ 2213 w 35345"/>
                    <a:gd name="connsiteY26" fmla="*/ 18839 h 47845"/>
                    <a:gd name="connsiteX27" fmla="*/ 2273 w 35345"/>
                    <a:gd name="connsiteY27" fmla="*/ 18720 h 47845"/>
                    <a:gd name="connsiteX28" fmla="*/ 3648 w 35345"/>
                    <a:gd name="connsiteY28" fmla="*/ 15789 h 47845"/>
                    <a:gd name="connsiteX29" fmla="*/ 5024 w 35345"/>
                    <a:gd name="connsiteY29" fmla="*/ 12859 h 47845"/>
                    <a:gd name="connsiteX30" fmla="*/ 5083 w 35345"/>
                    <a:gd name="connsiteY30" fmla="*/ 12739 h 47845"/>
                    <a:gd name="connsiteX31" fmla="*/ 6997 w 35345"/>
                    <a:gd name="connsiteY31" fmla="*/ 10107 h 47845"/>
                    <a:gd name="connsiteX32" fmla="*/ 8851 w 35345"/>
                    <a:gd name="connsiteY32" fmla="*/ 7536 h 47845"/>
                    <a:gd name="connsiteX33" fmla="*/ 11244 w 35345"/>
                    <a:gd name="connsiteY33" fmla="*/ 5323 h 47845"/>
                    <a:gd name="connsiteX34" fmla="*/ 11303 w 35345"/>
                    <a:gd name="connsiteY34" fmla="*/ 5263 h 47845"/>
                    <a:gd name="connsiteX35" fmla="*/ 13217 w 35345"/>
                    <a:gd name="connsiteY35" fmla="*/ 3529 h 47845"/>
                    <a:gd name="connsiteX36" fmla="*/ 13875 w 35345"/>
                    <a:gd name="connsiteY36" fmla="*/ 3170 h 47845"/>
                    <a:gd name="connsiteX37" fmla="*/ 16626 w 35345"/>
                    <a:gd name="connsiteY37" fmla="*/ 1675 h 47845"/>
                    <a:gd name="connsiteX38" fmla="*/ 17882 w 35345"/>
                    <a:gd name="connsiteY38" fmla="*/ 957 h 47845"/>
                    <a:gd name="connsiteX39" fmla="*/ 18360 w 35345"/>
                    <a:gd name="connsiteY39" fmla="*/ 837 h 47845"/>
                    <a:gd name="connsiteX40" fmla="*/ 21411 w 35345"/>
                    <a:gd name="connsiteY40" fmla="*/ 239 h 47845"/>
                    <a:gd name="connsiteX41" fmla="*/ 22487 w 35345"/>
                    <a:gd name="connsiteY41" fmla="*/ 0 h 47845"/>
                    <a:gd name="connsiteX42" fmla="*/ 25418 w 35345"/>
                    <a:gd name="connsiteY42" fmla="*/ 538 h 47845"/>
                    <a:gd name="connsiteX43" fmla="*/ 26734 w 35345"/>
                    <a:gd name="connsiteY43" fmla="*/ 777 h 47845"/>
                    <a:gd name="connsiteX44" fmla="*/ 29245 w 35345"/>
                    <a:gd name="connsiteY44" fmla="*/ 2392 h 47845"/>
                    <a:gd name="connsiteX45" fmla="*/ 30382 w 35345"/>
                    <a:gd name="connsiteY45" fmla="*/ 3110 h 47845"/>
                    <a:gd name="connsiteX46" fmla="*/ 32176 w 35345"/>
                    <a:gd name="connsiteY46" fmla="*/ 5562 h 47845"/>
                    <a:gd name="connsiteX47" fmla="*/ 33133 w 35345"/>
                    <a:gd name="connsiteY47" fmla="*/ 6878 h 47845"/>
                    <a:gd name="connsiteX48" fmla="*/ 34150 w 35345"/>
                    <a:gd name="connsiteY48" fmla="*/ 9808 h 47845"/>
                    <a:gd name="connsiteX49" fmla="*/ 34807 w 35345"/>
                    <a:gd name="connsiteY49" fmla="*/ 11782 h 47845"/>
                    <a:gd name="connsiteX50" fmla="*/ 35107 w 35345"/>
                    <a:gd name="connsiteY50" fmla="*/ 14952 h 47845"/>
                    <a:gd name="connsiteX51" fmla="*/ 35346 w 35345"/>
                    <a:gd name="connsiteY51" fmla="*/ 17464 h 47845"/>
                    <a:gd name="connsiteX52" fmla="*/ 35286 w 35345"/>
                    <a:gd name="connsiteY52" fmla="*/ 17942 h 4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5345" h="47845">
                      <a:moveTo>
                        <a:pt x="27870" y="38157"/>
                      </a:moveTo>
                      <a:lnTo>
                        <a:pt x="26435" y="40190"/>
                      </a:lnTo>
                      <a:lnTo>
                        <a:pt x="24102" y="42403"/>
                      </a:lnTo>
                      <a:lnTo>
                        <a:pt x="22308" y="44138"/>
                      </a:lnTo>
                      <a:lnTo>
                        <a:pt x="19557" y="45752"/>
                      </a:lnTo>
                      <a:lnTo>
                        <a:pt x="17822" y="46769"/>
                      </a:lnTo>
                      <a:lnTo>
                        <a:pt x="14832" y="47487"/>
                      </a:lnTo>
                      <a:lnTo>
                        <a:pt x="13337" y="47846"/>
                      </a:lnTo>
                      <a:lnTo>
                        <a:pt x="10347" y="47487"/>
                      </a:lnTo>
                      <a:lnTo>
                        <a:pt x="9090" y="47367"/>
                      </a:lnTo>
                      <a:lnTo>
                        <a:pt x="6519" y="45932"/>
                      </a:lnTo>
                      <a:lnTo>
                        <a:pt x="5921" y="45633"/>
                      </a:lnTo>
                      <a:lnTo>
                        <a:pt x="5921" y="45633"/>
                      </a:lnTo>
                      <a:lnTo>
                        <a:pt x="5382" y="45334"/>
                      </a:lnTo>
                      <a:lnTo>
                        <a:pt x="3588" y="43121"/>
                      </a:lnTo>
                      <a:lnTo>
                        <a:pt x="2811" y="42164"/>
                      </a:lnTo>
                      <a:lnTo>
                        <a:pt x="2512" y="41805"/>
                      </a:lnTo>
                      <a:lnTo>
                        <a:pt x="1973" y="40430"/>
                      </a:lnTo>
                      <a:lnTo>
                        <a:pt x="1017" y="37978"/>
                      </a:lnTo>
                      <a:lnTo>
                        <a:pt x="658" y="37021"/>
                      </a:lnTo>
                      <a:lnTo>
                        <a:pt x="658" y="36781"/>
                      </a:lnTo>
                      <a:lnTo>
                        <a:pt x="299" y="33671"/>
                      </a:lnTo>
                      <a:lnTo>
                        <a:pt x="0" y="31279"/>
                      </a:lnTo>
                      <a:lnTo>
                        <a:pt x="299" y="28109"/>
                      </a:lnTo>
                      <a:lnTo>
                        <a:pt x="538" y="25059"/>
                      </a:lnTo>
                      <a:lnTo>
                        <a:pt x="1375" y="21949"/>
                      </a:lnTo>
                      <a:lnTo>
                        <a:pt x="2213" y="18839"/>
                      </a:lnTo>
                      <a:lnTo>
                        <a:pt x="2273" y="18720"/>
                      </a:lnTo>
                      <a:lnTo>
                        <a:pt x="3648" y="15789"/>
                      </a:lnTo>
                      <a:lnTo>
                        <a:pt x="5024" y="12859"/>
                      </a:lnTo>
                      <a:lnTo>
                        <a:pt x="5083" y="12739"/>
                      </a:lnTo>
                      <a:lnTo>
                        <a:pt x="6997" y="10107"/>
                      </a:lnTo>
                      <a:lnTo>
                        <a:pt x="8851" y="7536"/>
                      </a:lnTo>
                      <a:lnTo>
                        <a:pt x="11244" y="5323"/>
                      </a:lnTo>
                      <a:lnTo>
                        <a:pt x="11303" y="5263"/>
                      </a:lnTo>
                      <a:lnTo>
                        <a:pt x="13217" y="3529"/>
                      </a:lnTo>
                      <a:lnTo>
                        <a:pt x="13875" y="3170"/>
                      </a:lnTo>
                      <a:lnTo>
                        <a:pt x="16626" y="1675"/>
                      </a:lnTo>
                      <a:lnTo>
                        <a:pt x="17882" y="957"/>
                      </a:lnTo>
                      <a:lnTo>
                        <a:pt x="18360" y="837"/>
                      </a:lnTo>
                      <a:lnTo>
                        <a:pt x="21411" y="239"/>
                      </a:lnTo>
                      <a:lnTo>
                        <a:pt x="22487" y="0"/>
                      </a:lnTo>
                      <a:lnTo>
                        <a:pt x="25418" y="538"/>
                      </a:lnTo>
                      <a:lnTo>
                        <a:pt x="26734" y="777"/>
                      </a:lnTo>
                      <a:lnTo>
                        <a:pt x="29245" y="2392"/>
                      </a:lnTo>
                      <a:lnTo>
                        <a:pt x="30382" y="3110"/>
                      </a:lnTo>
                      <a:lnTo>
                        <a:pt x="32176" y="5562"/>
                      </a:lnTo>
                      <a:lnTo>
                        <a:pt x="33133" y="6878"/>
                      </a:lnTo>
                      <a:lnTo>
                        <a:pt x="34150" y="9808"/>
                      </a:lnTo>
                      <a:lnTo>
                        <a:pt x="34807" y="11782"/>
                      </a:lnTo>
                      <a:lnTo>
                        <a:pt x="35107" y="14952"/>
                      </a:lnTo>
                      <a:lnTo>
                        <a:pt x="35346" y="17464"/>
                      </a:lnTo>
                      <a:lnTo>
                        <a:pt x="35286" y="17942"/>
                      </a:lnTo>
                    </a:path>
                  </a:pathLst>
                </a:custGeom>
                <a:noFill/>
                <a:ln w="6350" cap="rnd">
                  <a:solidFill>
                    <a:schemeClr val="bg1">
                      <a:alpha val="40000"/>
                    </a:schemeClr>
                  </a:solidFill>
                  <a:prstDash val="solid"/>
                  <a:round/>
                </a:ln>
              </p:spPr>
              <p:txBody>
                <a:bodyPr rtlCol="0" anchor="ctr"/>
                <a:lstStyle/>
                <a:p>
                  <a:endParaRPr lang="en-GB"/>
                </a:p>
              </p:txBody>
            </p:sp>
            <p:sp>
              <p:nvSpPr>
                <p:cNvPr id="5714" name="Vrije vorm: vorm 5713">
                  <a:extLst>
                    <a:ext uri="{FF2B5EF4-FFF2-40B4-BE49-F238E27FC236}">
                      <a16:creationId xmlns:a16="http://schemas.microsoft.com/office/drawing/2014/main" id="{C8381C11-E3A8-4074-9CEE-048395C8EE07}"/>
                    </a:ext>
                  </a:extLst>
                </p:cNvPr>
                <p:cNvSpPr/>
                <p:nvPr/>
              </p:nvSpPr>
              <p:spPr>
                <a:xfrm>
                  <a:off x="6628872" y="1582898"/>
                  <a:ext cx="19616" cy="34807"/>
                </a:xfrm>
                <a:custGeom>
                  <a:avLst/>
                  <a:gdLst>
                    <a:gd name="connsiteX0" fmla="*/ 19617 w 19616"/>
                    <a:gd name="connsiteY0" fmla="*/ 538 h 34807"/>
                    <a:gd name="connsiteX1" fmla="*/ 19019 w 19616"/>
                    <a:gd name="connsiteY1" fmla="*/ 419 h 34807"/>
                    <a:gd name="connsiteX2" fmla="*/ 17045 w 19616"/>
                    <a:gd name="connsiteY2" fmla="*/ 120 h 34807"/>
                    <a:gd name="connsiteX3" fmla="*/ 16507 w 19616"/>
                    <a:gd name="connsiteY3" fmla="*/ 0 h 34807"/>
                    <a:gd name="connsiteX4" fmla="*/ 14653 w 19616"/>
                    <a:gd name="connsiteY4" fmla="*/ 359 h 34807"/>
                    <a:gd name="connsiteX5" fmla="*/ 14474 w 19616"/>
                    <a:gd name="connsiteY5" fmla="*/ 419 h 34807"/>
                    <a:gd name="connsiteX6" fmla="*/ 13158 w 19616"/>
                    <a:gd name="connsiteY6" fmla="*/ 718 h 34807"/>
                    <a:gd name="connsiteX7" fmla="*/ 10347 w 19616"/>
                    <a:gd name="connsiteY7" fmla="*/ 2273 h 34807"/>
                    <a:gd name="connsiteX8" fmla="*/ 9749 w 19616"/>
                    <a:gd name="connsiteY8" fmla="*/ 2632 h 34807"/>
                    <a:gd name="connsiteX9" fmla="*/ 7357 w 19616"/>
                    <a:gd name="connsiteY9" fmla="*/ 4844 h 34807"/>
                    <a:gd name="connsiteX10" fmla="*/ 6519 w 19616"/>
                    <a:gd name="connsiteY10" fmla="*/ 5562 h 34807"/>
                    <a:gd name="connsiteX11" fmla="*/ 4605 w 19616"/>
                    <a:gd name="connsiteY11" fmla="*/ 8194 h 34807"/>
                    <a:gd name="connsiteX12" fmla="*/ 3768 w 19616"/>
                    <a:gd name="connsiteY12" fmla="*/ 9330 h 34807"/>
                    <a:gd name="connsiteX13" fmla="*/ 2392 w 19616"/>
                    <a:gd name="connsiteY13" fmla="*/ 12260 h 34807"/>
                    <a:gd name="connsiteX14" fmla="*/ 1735 w 19616"/>
                    <a:gd name="connsiteY14" fmla="*/ 13696 h 34807"/>
                    <a:gd name="connsiteX15" fmla="*/ 837 w 19616"/>
                    <a:gd name="connsiteY15" fmla="*/ 16806 h 34807"/>
                    <a:gd name="connsiteX16" fmla="*/ 419 w 19616"/>
                    <a:gd name="connsiteY16" fmla="*/ 18361 h 34807"/>
                    <a:gd name="connsiteX17" fmla="*/ 120 w 19616"/>
                    <a:gd name="connsiteY17" fmla="*/ 21531 h 34807"/>
                    <a:gd name="connsiteX18" fmla="*/ 0 w 19616"/>
                    <a:gd name="connsiteY18" fmla="*/ 22906 h 34807"/>
                    <a:gd name="connsiteX19" fmla="*/ 359 w 19616"/>
                    <a:gd name="connsiteY19" fmla="*/ 26016 h 34807"/>
                    <a:gd name="connsiteX20" fmla="*/ 479 w 19616"/>
                    <a:gd name="connsiteY20" fmla="*/ 27093 h 34807"/>
                    <a:gd name="connsiteX21" fmla="*/ 1555 w 19616"/>
                    <a:gd name="connsiteY21" fmla="*/ 29963 h 34807"/>
                    <a:gd name="connsiteX22" fmla="*/ 1794 w 19616"/>
                    <a:gd name="connsiteY22" fmla="*/ 30621 h 34807"/>
                    <a:gd name="connsiteX23" fmla="*/ 3469 w 19616"/>
                    <a:gd name="connsiteY23" fmla="*/ 32715 h 34807"/>
                    <a:gd name="connsiteX24" fmla="*/ 3888 w 19616"/>
                    <a:gd name="connsiteY24" fmla="*/ 33253 h 34807"/>
                    <a:gd name="connsiteX25" fmla="*/ 5503 w 19616"/>
                    <a:gd name="connsiteY25" fmla="*/ 34150 h 34807"/>
                    <a:gd name="connsiteX26" fmla="*/ 6639 w 19616"/>
                    <a:gd name="connsiteY26" fmla="*/ 34808 h 3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16" h="34807">
                      <a:moveTo>
                        <a:pt x="19617" y="538"/>
                      </a:moveTo>
                      <a:lnTo>
                        <a:pt x="19019" y="419"/>
                      </a:lnTo>
                      <a:lnTo>
                        <a:pt x="17045" y="120"/>
                      </a:lnTo>
                      <a:lnTo>
                        <a:pt x="16507" y="0"/>
                      </a:lnTo>
                      <a:lnTo>
                        <a:pt x="14653" y="359"/>
                      </a:lnTo>
                      <a:lnTo>
                        <a:pt x="14474" y="419"/>
                      </a:lnTo>
                      <a:lnTo>
                        <a:pt x="13158" y="718"/>
                      </a:lnTo>
                      <a:lnTo>
                        <a:pt x="10347" y="2273"/>
                      </a:lnTo>
                      <a:lnTo>
                        <a:pt x="9749" y="2632"/>
                      </a:lnTo>
                      <a:lnTo>
                        <a:pt x="7357" y="4844"/>
                      </a:lnTo>
                      <a:lnTo>
                        <a:pt x="6519" y="5562"/>
                      </a:lnTo>
                      <a:lnTo>
                        <a:pt x="4605" y="8194"/>
                      </a:lnTo>
                      <a:lnTo>
                        <a:pt x="3768" y="9330"/>
                      </a:lnTo>
                      <a:lnTo>
                        <a:pt x="2392" y="12260"/>
                      </a:lnTo>
                      <a:lnTo>
                        <a:pt x="1735" y="13696"/>
                      </a:lnTo>
                      <a:lnTo>
                        <a:pt x="837" y="16806"/>
                      </a:lnTo>
                      <a:lnTo>
                        <a:pt x="419" y="18361"/>
                      </a:lnTo>
                      <a:lnTo>
                        <a:pt x="120" y="21531"/>
                      </a:lnTo>
                      <a:lnTo>
                        <a:pt x="0" y="22906"/>
                      </a:lnTo>
                      <a:lnTo>
                        <a:pt x="359" y="26016"/>
                      </a:lnTo>
                      <a:lnTo>
                        <a:pt x="479" y="27093"/>
                      </a:lnTo>
                      <a:lnTo>
                        <a:pt x="1555" y="29963"/>
                      </a:lnTo>
                      <a:lnTo>
                        <a:pt x="1794" y="30621"/>
                      </a:lnTo>
                      <a:lnTo>
                        <a:pt x="3469" y="32715"/>
                      </a:lnTo>
                      <a:lnTo>
                        <a:pt x="3888" y="33253"/>
                      </a:lnTo>
                      <a:lnTo>
                        <a:pt x="5503" y="34150"/>
                      </a:lnTo>
                      <a:lnTo>
                        <a:pt x="6639" y="34808"/>
                      </a:lnTo>
                    </a:path>
                  </a:pathLst>
                </a:custGeom>
                <a:noFill/>
                <a:ln w="6350" cap="rnd">
                  <a:solidFill>
                    <a:schemeClr val="bg1">
                      <a:alpha val="40000"/>
                    </a:schemeClr>
                  </a:solidFill>
                  <a:prstDash val="solid"/>
                  <a:round/>
                </a:ln>
              </p:spPr>
              <p:txBody>
                <a:bodyPr rtlCol="0" anchor="ctr"/>
                <a:lstStyle/>
                <a:p>
                  <a:endParaRPr lang="en-GB"/>
                </a:p>
              </p:txBody>
            </p:sp>
            <p:sp>
              <p:nvSpPr>
                <p:cNvPr id="5715" name="Vrije vorm: vorm 5714">
                  <a:extLst>
                    <a:ext uri="{FF2B5EF4-FFF2-40B4-BE49-F238E27FC236}">
                      <a16:creationId xmlns:a16="http://schemas.microsoft.com/office/drawing/2014/main" id="{73BC410E-CB11-4975-8C26-14FFBA115EAA}"/>
                    </a:ext>
                  </a:extLst>
                </p:cNvPr>
                <p:cNvSpPr/>
                <p:nvPr/>
              </p:nvSpPr>
              <p:spPr>
                <a:xfrm>
                  <a:off x="6616672" y="1574944"/>
                  <a:ext cx="34209" cy="48922"/>
                </a:xfrm>
                <a:custGeom>
                  <a:avLst/>
                  <a:gdLst>
                    <a:gd name="connsiteX0" fmla="*/ 16567 w 34209"/>
                    <a:gd name="connsiteY0" fmla="*/ 48922 h 48922"/>
                    <a:gd name="connsiteX1" fmla="*/ 13696 w 34209"/>
                    <a:gd name="connsiteY1" fmla="*/ 48085 h 48922"/>
                    <a:gd name="connsiteX2" fmla="*/ 10825 w 34209"/>
                    <a:gd name="connsiteY2" fmla="*/ 47248 h 48922"/>
                    <a:gd name="connsiteX3" fmla="*/ 9091 w 34209"/>
                    <a:gd name="connsiteY3" fmla="*/ 46709 h 48922"/>
                    <a:gd name="connsiteX4" fmla="*/ 6519 w 34209"/>
                    <a:gd name="connsiteY4" fmla="*/ 45274 h 48922"/>
                    <a:gd name="connsiteX5" fmla="*/ 5442 w 34209"/>
                    <a:gd name="connsiteY5" fmla="*/ 44676 h 48922"/>
                    <a:gd name="connsiteX6" fmla="*/ 3528 w 34209"/>
                    <a:gd name="connsiteY6" fmla="*/ 42344 h 48922"/>
                    <a:gd name="connsiteX7" fmla="*/ 2572 w 34209"/>
                    <a:gd name="connsiteY7" fmla="*/ 41147 h 48922"/>
                    <a:gd name="connsiteX8" fmla="*/ 1435 w 34209"/>
                    <a:gd name="connsiteY8" fmla="*/ 38277 h 48922"/>
                    <a:gd name="connsiteX9" fmla="*/ 1196 w 34209"/>
                    <a:gd name="connsiteY9" fmla="*/ 37679 h 48922"/>
                    <a:gd name="connsiteX10" fmla="*/ 718 w 34209"/>
                    <a:gd name="connsiteY10" fmla="*/ 36423 h 48922"/>
                    <a:gd name="connsiteX11" fmla="*/ 299 w 34209"/>
                    <a:gd name="connsiteY11" fmla="*/ 33313 h 48922"/>
                    <a:gd name="connsiteX12" fmla="*/ 0 w 34209"/>
                    <a:gd name="connsiteY12" fmla="*/ 30801 h 48922"/>
                    <a:gd name="connsiteX13" fmla="*/ 239 w 34209"/>
                    <a:gd name="connsiteY13" fmla="*/ 27631 h 48922"/>
                    <a:gd name="connsiteX14" fmla="*/ 479 w 34209"/>
                    <a:gd name="connsiteY14" fmla="*/ 24641 h 48922"/>
                    <a:gd name="connsiteX15" fmla="*/ 1316 w 34209"/>
                    <a:gd name="connsiteY15" fmla="*/ 21531 h 48922"/>
                    <a:gd name="connsiteX16" fmla="*/ 2153 w 34209"/>
                    <a:gd name="connsiteY16" fmla="*/ 18361 h 48922"/>
                    <a:gd name="connsiteX17" fmla="*/ 3528 w 34209"/>
                    <a:gd name="connsiteY17" fmla="*/ 15430 h 48922"/>
                    <a:gd name="connsiteX18" fmla="*/ 4964 w 34209"/>
                    <a:gd name="connsiteY18" fmla="*/ 12440 h 48922"/>
                    <a:gd name="connsiteX19" fmla="*/ 6878 w 34209"/>
                    <a:gd name="connsiteY19" fmla="*/ 9808 h 48922"/>
                    <a:gd name="connsiteX20" fmla="*/ 8672 w 34209"/>
                    <a:gd name="connsiteY20" fmla="*/ 7356 h 48922"/>
                    <a:gd name="connsiteX21" fmla="*/ 11064 w 34209"/>
                    <a:gd name="connsiteY21" fmla="*/ 5143 h 48922"/>
                    <a:gd name="connsiteX22" fmla="*/ 12081 w 34209"/>
                    <a:gd name="connsiteY22" fmla="*/ 4246 h 48922"/>
                    <a:gd name="connsiteX23" fmla="*/ 12978 w 34209"/>
                    <a:gd name="connsiteY23" fmla="*/ 3409 h 48922"/>
                    <a:gd name="connsiteX24" fmla="*/ 15789 w 34209"/>
                    <a:gd name="connsiteY24" fmla="*/ 1914 h 48922"/>
                    <a:gd name="connsiteX25" fmla="*/ 17643 w 34209"/>
                    <a:gd name="connsiteY25" fmla="*/ 897 h 48922"/>
                    <a:gd name="connsiteX26" fmla="*/ 20693 w 34209"/>
                    <a:gd name="connsiteY26" fmla="*/ 299 h 48922"/>
                    <a:gd name="connsiteX27" fmla="*/ 22248 w 34209"/>
                    <a:gd name="connsiteY27" fmla="*/ 0 h 48922"/>
                    <a:gd name="connsiteX28" fmla="*/ 25179 w 34209"/>
                    <a:gd name="connsiteY28" fmla="*/ 538 h 48922"/>
                    <a:gd name="connsiteX29" fmla="*/ 26435 w 34209"/>
                    <a:gd name="connsiteY29" fmla="*/ 778 h 48922"/>
                    <a:gd name="connsiteX30" fmla="*/ 29365 w 34209"/>
                    <a:gd name="connsiteY30" fmla="*/ 1376 h 48922"/>
                    <a:gd name="connsiteX31" fmla="*/ 32296 w 34209"/>
                    <a:gd name="connsiteY31" fmla="*/ 1974 h 48922"/>
                    <a:gd name="connsiteX32" fmla="*/ 34210 w 34209"/>
                    <a:gd name="connsiteY32" fmla="*/ 2392 h 4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4209" h="48922">
                      <a:moveTo>
                        <a:pt x="16567" y="48922"/>
                      </a:moveTo>
                      <a:lnTo>
                        <a:pt x="13696" y="48085"/>
                      </a:lnTo>
                      <a:lnTo>
                        <a:pt x="10825" y="47248"/>
                      </a:lnTo>
                      <a:lnTo>
                        <a:pt x="9091" y="46709"/>
                      </a:lnTo>
                      <a:lnTo>
                        <a:pt x="6519" y="45274"/>
                      </a:lnTo>
                      <a:lnTo>
                        <a:pt x="5442" y="44676"/>
                      </a:lnTo>
                      <a:lnTo>
                        <a:pt x="3528" y="42344"/>
                      </a:lnTo>
                      <a:lnTo>
                        <a:pt x="2572" y="41147"/>
                      </a:lnTo>
                      <a:lnTo>
                        <a:pt x="1435" y="38277"/>
                      </a:lnTo>
                      <a:lnTo>
                        <a:pt x="1196" y="37679"/>
                      </a:lnTo>
                      <a:lnTo>
                        <a:pt x="718" y="36423"/>
                      </a:lnTo>
                      <a:lnTo>
                        <a:pt x="299" y="33313"/>
                      </a:lnTo>
                      <a:lnTo>
                        <a:pt x="0" y="30801"/>
                      </a:lnTo>
                      <a:lnTo>
                        <a:pt x="239" y="27631"/>
                      </a:lnTo>
                      <a:lnTo>
                        <a:pt x="479" y="24641"/>
                      </a:lnTo>
                      <a:lnTo>
                        <a:pt x="1316" y="21531"/>
                      </a:lnTo>
                      <a:lnTo>
                        <a:pt x="2153" y="18361"/>
                      </a:lnTo>
                      <a:lnTo>
                        <a:pt x="3528" y="15430"/>
                      </a:lnTo>
                      <a:lnTo>
                        <a:pt x="4964" y="12440"/>
                      </a:lnTo>
                      <a:lnTo>
                        <a:pt x="6878" y="9808"/>
                      </a:lnTo>
                      <a:lnTo>
                        <a:pt x="8672" y="7356"/>
                      </a:lnTo>
                      <a:lnTo>
                        <a:pt x="11064" y="5143"/>
                      </a:lnTo>
                      <a:lnTo>
                        <a:pt x="12081" y="4246"/>
                      </a:lnTo>
                      <a:lnTo>
                        <a:pt x="12978" y="3409"/>
                      </a:lnTo>
                      <a:lnTo>
                        <a:pt x="15789" y="1914"/>
                      </a:lnTo>
                      <a:lnTo>
                        <a:pt x="17643" y="897"/>
                      </a:lnTo>
                      <a:lnTo>
                        <a:pt x="20693" y="299"/>
                      </a:lnTo>
                      <a:lnTo>
                        <a:pt x="22248" y="0"/>
                      </a:lnTo>
                      <a:lnTo>
                        <a:pt x="25179" y="538"/>
                      </a:lnTo>
                      <a:lnTo>
                        <a:pt x="26435" y="778"/>
                      </a:lnTo>
                      <a:lnTo>
                        <a:pt x="29365" y="1376"/>
                      </a:lnTo>
                      <a:lnTo>
                        <a:pt x="32296" y="1974"/>
                      </a:lnTo>
                      <a:lnTo>
                        <a:pt x="34210" y="2392"/>
                      </a:lnTo>
                    </a:path>
                  </a:pathLst>
                </a:custGeom>
                <a:noFill/>
                <a:ln w="6350" cap="rnd">
                  <a:solidFill>
                    <a:schemeClr val="bg1">
                      <a:alpha val="40000"/>
                    </a:schemeClr>
                  </a:solidFill>
                  <a:prstDash val="solid"/>
                  <a:round/>
                </a:ln>
              </p:spPr>
              <p:txBody>
                <a:bodyPr rtlCol="0" anchor="ctr"/>
                <a:lstStyle/>
                <a:p>
                  <a:endParaRPr lang="en-GB"/>
                </a:p>
              </p:txBody>
            </p:sp>
            <p:sp>
              <p:nvSpPr>
                <p:cNvPr id="5716" name="Vrije vorm: vorm 5715">
                  <a:extLst>
                    <a:ext uri="{FF2B5EF4-FFF2-40B4-BE49-F238E27FC236}">
                      <a16:creationId xmlns:a16="http://schemas.microsoft.com/office/drawing/2014/main" id="{4B39EAC1-49D8-4C2B-9C69-4B14A8D79C53}"/>
                    </a:ext>
                  </a:extLst>
                </p:cNvPr>
                <p:cNvSpPr/>
                <p:nvPr/>
              </p:nvSpPr>
              <p:spPr>
                <a:xfrm>
                  <a:off x="6596098" y="1569561"/>
                  <a:ext cx="12559" cy="5143"/>
                </a:xfrm>
                <a:custGeom>
                  <a:avLst/>
                  <a:gdLst>
                    <a:gd name="connsiteX0" fmla="*/ 12559 w 12559"/>
                    <a:gd name="connsiteY0" fmla="*/ 5143 h 5143"/>
                    <a:gd name="connsiteX1" fmla="*/ 11364 w 12559"/>
                    <a:gd name="connsiteY1" fmla="*/ 3648 h 5143"/>
                    <a:gd name="connsiteX2" fmla="*/ 11064 w 12559"/>
                    <a:gd name="connsiteY2" fmla="*/ 3230 h 5143"/>
                    <a:gd name="connsiteX3" fmla="*/ 8552 w 12559"/>
                    <a:gd name="connsiteY3" fmla="*/ 1675 h 5143"/>
                    <a:gd name="connsiteX4" fmla="*/ 8253 w 12559"/>
                    <a:gd name="connsiteY4" fmla="*/ 1495 h 5143"/>
                    <a:gd name="connsiteX5" fmla="*/ 5323 w 12559"/>
                    <a:gd name="connsiteY5" fmla="*/ 897 h 5143"/>
                    <a:gd name="connsiteX6" fmla="*/ 3947 w 12559"/>
                    <a:gd name="connsiteY6" fmla="*/ 598 h 5143"/>
                    <a:gd name="connsiteX7" fmla="*/ 957 w 12559"/>
                    <a:gd name="connsiteY7" fmla="*/ 60 h 5143"/>
                    <a:gd name="connsiteX8" fmla="*/ 658 w 12559"/>
                    <a:gd name="connsiteY8" fmla="*/ 0 h 5143"/>
                    <a:gd name="connsiteX9" fmla="*/ 60 w 12559"/>
                    <a:gd name="connsiteY9" fmla="*/ 2332 h 5143"/>
                    <a:gd name="connsiteX10" fmla="*/ 0 w 12559"/>
                    <a:gd name="connsiteY10" fmla="*/ 2452 h 5143"/>
                    <a:gd name="connsiteX11" fmla="*/ 2930 w 12559"/>
                    <a:gd name="connsiteY11" fmla="*/ 3110 h 5143"/>
                    <a:gd name="connsiteX12" fmla="*/ 4306 w 12559"/>
                    <a:gd name="connsiteY12" fmla="*/ 3409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59" h="5143">
                      <a:moveTo>
                        <a:pt x="12559" y="5143"/>
                      </a:moveTo>
                      <a:lnTo>
                        <a:pt x="11364" y="3648"/>
                      </a:lnTo>
                      <a:lnTo>
                        <a:pt x="11064" y="3230"/>
                      </a:lnTo>
                      <a:lnTo>
                        <a:pt x="8552" y="1675"/>
                      </a:lnTo>
                      <a:lnTo>
                        <a:pt x="8253" y="1495"/>
                      </a:lnTo>
                      <a:lnTo>
                        <a:pt x="5323" y="897"/>
                      </a:lnTo>
                      <a:lnTo>
                        <a:pt x="3947" y="598"/>
                      </a:lnTo>
                      <a:lnTo>
                        <a:pt x="957" y="60"/>
                      </a:lnTo>
                      <a:lnTo>
                        <a:pt x="658" y="0"/>
                      </a:lnTo>
                      <a:lnTo>
                        <a:pt x="60" y="2332"/>
                      </a:lnTo>
                      <a:lnTo>
                        <a:pt x="0" y="2452"/>
                      </a:lnTo>
                      <a:lnTo>
                        <a:pt x="2930" y="3110"/>
                      </a:lnTo>
                      <a:lnTo>
                        <a:pt x="4306" y="3409"/>
                      </a:lnTo>
                    </a:path>
                  </a:pathLst>
                </a:custGeom>
                <a:noFill/>
                <a:ln w="6350" cap="rnd">
                  <a:solidFill>
                    <a:schemeClr val="bg1">
                      <a:alpha val="40000"/>
                    </a:schemeClr>
                  </a:solidFill>
                  <a:prstDash val="solid"/>
                  <a:round/>
                </a:ln>
              </p:spPr>
              <p:txBody>
                <a:bodyPr rtlCol="0" anchor="ctr"/>
                <a:lstStyle/>
                <a:p>
                  <a:endParaRPr lang="en-GB"/>
                </a:p>
              </p:txBody>
            </p:sp>
            <p:sp>
              <p:nvSpPr>
                <p:cNvPr id="5717" name="Vrije vorm: vorm 5716">
                  <a:extLst>
                    <a:ext uri="{FF2B5EF4-FFF2-40B4-BE49-F238E27FC236}">
                      <a16:creationId xmlns:a16="http://schemas.microsoft.com/office/drawing/2014/main" id="{73892729-B8A4-4548-BAED-B108A0A9AC24}"/>
                    </a:ext>
                  </a:extLst>
                </p:cNvPr>
                <p:cNvSpPr/>
                <p:nvPr/>
              </p:nvSpPr>
              <p:spPr>
                <a:xfrm>
                  <a:off x="6581565" y="1566570"/>
                  <a:ext cx="12260" cy="4904"/>
                </a:xfrm>
                <a:custGeom>
                  <a:avLst/>
                  <a:gdLst>
                    <a:gd name="connsiteX0" fmla="*/ 12260 w 12260"/>
                    <a:gd name="connsiteY0" fmla="*/ 4904 h 4904"/>
                    <a:gd name="connsiteX1" fmla="*/ 11064 w 12260"/>
                    <a:gd name="connsiteY1" fmla="*/ 3469 h 4904"/>
                    <a:gd name="connsiteX2" fmla="*/ 10765 w 12260"/>
                    <a:gd name="connsiteY2" fmla="*/ 3110 h 4904"/>
                    <a:gd name="connsiteX3" fmla="*/ 8194 w 12260"/>
                    <a:gd name="connsiteY3" fmla="*/ 1555 h 4904"/>
                    <a:gd name="connsiteX4" fmla="*/ 7954 w 12260"/>
                    <a:gd name="connsiteY4" fmla="*/ 1435 h 4904"/>
                    <a:gd name="connsiteX5" fmla="*/ 5024 w 12260"/>
                    <a:gd name="connsiteY5" fmla="*/ 837 h 4904"/>
                    <a:gd name="connsiteX6" fmla="*/ 3887 w 12260"/>
                    <a:gd name="connsiteY6" fmla="*/ 598 h 4904"/>
                    <a:gd name="connsiteX7" fmla="*/ 897 w 12260"/>
                    <a:gd name="connsiteY7" fmla="*/ 60 h 4904"/>
                    <a:gd name="connsiteX8" fmla="*/ 658 w 12260"/>
                    <a:gd name="connsiteY8" fmla="*/ 0 h 4904"/>
                    <a:gd name="connsiteX9" fmla="*/ 60 w 12260"/>
                    <a:gd name="connsiteY9" fmla="*/ 2273 h 4904"/>
                    <a:gd name="connsiteX10" fmla="*/ 0 w 12260"/>
                    <a:gd name="connsiteY10" fmla="*/ 2392 h 4904"/>
                    <a:gd name="connsiteX11" fmla="*/ 2930 w 12260"/>
                    <a:gd name="connsiteY11" fmla="*/ 3050 h 4904"/>
                    <a:gd name="connsiteX12" fmla="*/ 4067 w 12260"/>
                    <a:gd name="connsiteY12" fmla="*/ 3289 h 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60" h="4904">
                      <a:moveTo>
                        <a:pt x="12260" y="4904"/>
                      </a:moveTo>
                      <a:lnTo>
                        <a:pt x="11064" y="3469"/>
                      </a:lnTo>
                      <a:lnTo>
                        <a:pt x="10765" y="3110"/>
                      </a:lnTo>
                      <a:lnTo>
                        <a:pt x="8194" y="1555"/>
                      </a:lnTo>
                      <a:lnTo>
                        <a:pt x="7954" y="1435"/>
                      </a:lnTo>
                      <a:lnTo>
                        <a:pt x="5024" y="837"/>
                      </a:lnTo>
                      <a:lnTo>
                        <a:pt x="3887" y="598"/>
                      </a:lnTo>
                      <a:lnTo>
                        <a:pt x="897" y="60"/>
                      </a:lnTo>
                      <a:lnTo>
                        <a:pt x="658" y="0"/>
                      </a:lnTo>
                      <a:lnTo>
                        <a:pt x="60" y="2273"/>
                      </a:lnTo>
                      <a:lnTo>
                        <a:pt x="0" y="2392"/>
                      </a:lnTo>
                      <a:lnTo>
                        <a:pt x="2930" y="3050"/>
                      </a:lnTo>
                      <a:lnTo>
                        <a:pt x="4067" y="3289"/>
                      </a:lnTo>
                    </a:path>
                  </a:pathLst>
                </a:custGeom>
                <a:noFill/>
                <a:ln w="6350" cap="rnd">
                  <a:solidFill>
                    <a:schemeClr val="bg1">
                      <a:alpha val="40000"/>
                    </a:schemeClr>
                  </a:solidFill>
                  <a:prstDash val="solid"/>
                  <a:round/>
                </a:ln>
              </p:spPr>
              <p:txBody>
                <a:bodyPr rtlCol="0" anchor="ctr"/>
                <a:lstStyle/>
                <a:p>
                  <a:endParaRPr lang="en-GB"/>
                </a:p>
              </p:txBody>
            </p:sp>
            <p:sp>
              <p:nvSpPr>
                <p:cNvPr id="5718" name="Vrije vorm: vorm 5717">
                  <a:extLst>
                    <a:ext uri="{FF2B5EF4-FFF2-40B4-BE49-F238E27FC236}">
                      <a16:creationId xmlns:a16="http://schemas.microsoft.com/office/drawing/2014/main" id="{6F4D894E-EC57-4F10-901C-847B2DA0B0A4}"/>
                    </a:ext>
                  </a:extLst>
                </p:cNvPr>
                <p:cNvSpPr/>
                <p:nvPr/>
              </p:nvSpPr>
              <p:spPr>
                <a:xfrm>
                  <a:off x="6566433" y="1563281"/>
                  <a:ext cx="11782" cy="4784"/>
                </a:xfrm>
                <a:custGeom>
                  <a:avLst/>
                  <a:gdLst>
                    <a:gd name="connsiteX0" fmla="*/ 11782 w 11782"/>
                    <a:gd name="connsiteY0" fmla="*/ 4785 h 4784"/>
                    <a:gd name="connsiteX1" fmla="*/ 10586 w 11782"/>
                    <a:gd name="connsiteY1" fmla="*/ 3349 h 4784"/>
                    <a:gd name="connsiteX2" fmla="*/ 10287 w 11782"/>
                    <a:gd name="connsiteY2" fmla="*/ 2990 h 4784"/>
                    <a:gd name="connsiteX3" fmla="*/ 7715 w 11782"/>
                    <a:gd name="connsiteY3" fmla="*/ 1495 h 4784"/>
                    <a:gd name="connsiteX4" fmla="*/ 7536 w 11782"/>
                    <a:gd name="connsiteY4" fmla="*/ 1376 h 4784"/>
                    <a:gd name="connsiteX5" fmla="*/ 4605 w 11782"/>
                    <a:gd name="connsiteY5" fmla="*/ 777 h 4784"/>
                    <a:gd name="connsiteX6" fmla="*/ 3708 w 11782"/>
                    <a:gd name="connsiteY6" fmla="*/ 598 h 4784"/>
                    <a:gd name="connsiteX7" fmla="*/ 778 w 11782"/>
                    <a:gd name="connsiteY7" fmla="*/ 60 h 4784"/>
                    <a:gd name="connsiteX8" fmla="*/ 598 w 11782"/>
                    <a:gd name="connsiteY8" fmla="*/ 0 h 4784"/>
                    <a:gd name="connsiteX9" fmla="*/ 60 w 11782"/>
                    <a:gd name="connsiteY9" fmla="*/ 2213 h 4784"/>
                    <a:gd name="connsiteX10" fmla="*/ 0 w 11782"/>
                    <a:gd name="connsiteY10" fmla="*/ 2332 h 4784"/>
                    <a:gd name="connsiteX11" fmla="*/ 2930 w 11782"/>
                    <a:gd name="connsiteY11" fmla="*/ 2990 h 4784"/>
                    <a:gd name="connsiteX12" fmla="*/ 3768 w 11782"/>
                    <a:gd name="connsiteY12" fmla="*/ 3170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82" h="4784">
                      <a:moveTo>
                        <a:pt x="11782" y="4785"/>
                      </a:moveTo>
                      <a:lnTo>
                        <a:pt x="10586" y="3349"/>
                      </a:lnTo>
                      <a:lnTo>
                        <a:pt x="10287" y="2990"/>
                      </a:lnTo>
                      <a:lnTo>
                        <a:pt x="7715" y="1495"/>
                      </a:lnTo>
                      <a:lnTo>
                        <a:pt x="7536" y="1376"/>
                      </a:lnTo>
                      <a:lnTo>
                        <a:pt x="4605" y="777"/>
                      </a:lnTo>
                      <a:lnTo>
                        <a:pt x="3708" y="598"/>
                      </a:lnTo>
                      <a:lnTo>
                        <a:pt x="778" y="60"/>
                      </a:lnTo>
                      <a:lnTo>
                        <a:pt x="598" y="0"/>
                      </a:lnTo>
                      <a:lnTo>
                        <a:pt x="60" y="2213"/>
                      </a:lnTo>
                      <a:lnTo>
                        <a:pt x="0" y="2332"/>
                      </a:lnTo>
                      <a:lnTo>
                        <a:pt x="2930" y="2990"/>
                      </a:lnTo>
                      <a:lnTo>
                        <a:pt x="3768" y="3170"/>
                      </a:lnTo>
                    </a:path>
                  </a:pathLst>
                </a:custGeom>
                <a:noFill/>
                <a:ln w="6350" cap="rnd">
                  <a:solidFill>
                    <a:schemeClr val="bg1">
                      <a:alpha val="40000"/>
                    </a:schemeClr>
                  </a:solidFill>
                  <a:prstDash val="solid"/>
                  <a:round/>
                </a:ln>
              </p:spPr>
              <p:txBody>
                <a:bodyPr rtlCol="0" anchor="ctr"/>
                <a:lstStyle/>
                <a:p>
                  <a:endParaRPr lang="en-GB"/>
                </a:p>
              </p:txBody>
            </p:sp>
            <p:sp>
              <p:nvSpPr>
                <p:cNvPr id="5719" name="Vrije vorm: vorm 5718">
                  <a:extLst>
                    <a:ext uri="{FF2B5EF4-FFF2-40B4-BE49-F238E27FC236}">
                      <a16:creationId xmlns:a16="http://schemas.microsoft.com/office/drawing/2014/main" id="{24AA4C09-2E9F-404E-804D-6E15E52B90B4}"/>
                    </a:ext>
                  </a:extLst>
                </p:cNvPr>
                <p:cNvSpPr/>
                <p:nvPr/>
              </p:nvSpPr>
              <p:spPr>
                <a:xfrm>
                  <a:off x="6651360" y="1612203"/>
                  <a:ext cx="3169" cy="837"/>
                </a:xfrm>
                <a:custGeom>
                  <a:avLst/>
                  <a:gdLst>
                    <a:gd name="connsiteX0" fmla="*/ 3170 w 3169"/>
                    <a:gd name="connsiteY0" fmla="*/ 837 h 837"/>
                    <a:gd name="connsiteX1" fmla="*/ 2392 w 3169"/>
                    <a:gd name="connsiteY1" fmla="*/ 598 h 837"/>
                    <a:gd name="connsiteX2" fmla="*/ 2153 w 3169"/>
                    <a:gd name="connsiteY2" fmla="*/ 538 h 837"/>
                    <a:gd name="connsiteX3" fmla="*/ 718 w 3169"/>
                    <a:gd name="connsiteY3" fmla="*/ 120 h 837"/>
                    <a:gd name="connsiteX4" fmla="*/ 598 w 3169"/>
                    <a:gd name="connsiteY4" fmla="*/ 120 h 837"/>
                    <a:gd name="connsiteX5" fmla="*/ 359 w 3169"/>
                    <a:gd name="connsiteY5" fmla="*/ 60 h 837"/>
                    <a:gd name="connsiteX6" fmla="*/ 0 w 3169"/>
                    <a:gd name="connsiteY6" fmla="*/ 0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9" h="837">
                      <a:moveTo>
                        <a:pt x="3170" y="837"/>
                      </a:moveTo>
                      <a:lnTo>
                        <a:pt x="2392" y="598"/>
                      </a:lnTo>
                      <a:lnTo>
                        <a:pt x="2153" y="538"/>
                      </a:lnTo>
                      <a:lnTo>
                        <a:pt x="718" y="120"/>
                      </a:lnTo>
                      <a:lnTo>
                        <a:pt x="598" y="120"/>
                      </a:lnTo>
                      <a:lnTo>
                        <a:pt x="359" y="6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20" name="Vrije vorm: vorm 5719">
                  <a:extLst>
                    <a:ext uri="{FF2B5EF4-FFF2-40B4-BE49-F238E27FC236}">
                      <a16:creationId xmlns:a16="http://schemas.microsoft.com/office/drawing/2014/main" id="{B5A53E9E-EE3E-41CD-B0C2-961A34E84EC5}"/>
                    </a:ext>
                  </a:extLst>
                </p:cNvPr>
                <p:cNvSpPr/>
                <p:nvPr/>
              </p:nvSpPr>
              <p:spPr>
                <a:xfrm>
                  <a:off x="6651420" y="1612383"/>
                  <a:ext cx="657" cy="119"/>
                </a:xfrm>
                <a:custGeom>
                  <a:avLst/>
                  <a:gdLst>
                    <a:gd name="connsiteX0" fmla="*/ 658 w 657"/>
                    <a:gd name="connsiteY0" fmla="*/ 0 h 119"/>
                    <a:gd name="connsiteX1" fmla="*/ 359 w 657"/>
                    <a:gd name="connsiteY1" fmla="*/ 60 h 119"/>
                    <a:gd name="connsiteX2" fmla="*/ 0 w 657"/>
                    <a:gd name="connsiteY2" fmla="*/ 120 h 119"/>
                  </a:gdLst>
                  <a:ahLst/>
                  <a:cxnLst>
                    <a:cxn ang="0">
                      <a:pos x="connsiteX0" y="connsiteY0"/>
                    </a:cxn>
                    <a:cxn ang="0">
                      <a:pos x="connsiteX1" y="connsiteY1"/>
                    </a:cxn>
                    <a:cxn ang="0">
                      <a:pos x="connsiteX2" y="connsiteY2"/>
                    </a:cxn>
                  </a:cxnLst>
                  <a:rect l="l" t="t" r="r" b="b"/>
                  <a:pathLst>
                    <a:path w="657" h="119">
                      <a:moveTo>
                        <a:pt x="658" y="0"/>
                      </a:moveTo>
                      <a:lnTo>
                        <a:pt x="359" y="60"/>
                      </a:lnTo>
                      <a:lnTo>
                        <a:pt x="0" y="120"/>
                      </a:lnTo>
                    </a:path>
                  </a:pathLst>
                </a:custGeom>
                <a:noFill/>
                <a:ln w="6350" cap="rnd">
                  <a:solidFill>
                    <a:schemeClr val="bg1">
                      <a:alpha val="40000"/>
                    </a:schemeClr>
                  </a:solidFill>
                  <a:prstDash val="solid"/>
                  <a:round/>
                </a:ln>
              </p:spPr>
              <p:txBody>
                <a:bodyPr rtlCol="0" anchor="ctr"/>
                <a:lstStyle/>
                <a:p>
                  <a:endParaRPr lang="en-GB"/>
                </a:p>
              </p:txBody>
            </p:sp>
            <p:sp>
              <p:nvSpPr>
                <p:cNvPr id="5721" name="Vrije vorm: vorm 5720">
                  <a:extLst>
                    <a:ext uri="{FF2B5EF4-FFF2-40B4-BE49-F238E27FC236}">
                      <a16:creationId xmlns:a16="http://schemas.microsoft.com/office/drawing/2014/main" id="{8C954C2A-616C-4A67-8C62-EA047C2B20EC}"/>
                    </a:ext>
                  </a:extLst>
                </p:cNvPr>
                <p:cNvSpPr/>
                <p:nvPr/>
              </p:nvSpPr>
              <p:spPr>
                <a:xfrm>
                  <a:off x="6672232" y="1607180"/>
                  <a:ext cx="21769" cy="18600"/>
                </a:xfrm>
                <a:custGeom>
                  <a:avLst/>
                  <a:gdLst>
                    <a:gd name="connsiteX0" fmla="*/ 20992 w 21769"/>
                    <a:gd name="connsiteY0" fmla="*/ 0 h 18600"/>
                    <a:gd name="connsiteX1" fmla="*/ 21531 w 21769"/>
                    <a:gd name="connsiteY1" fmla="*/ 1555 h 18600"/>
                    <a:gd name="connsiteX2" fmla="*/ 21591 w 21769"/>
                    <a:gd name="connsiteY2" fmla="*/ 1734 h 18600"/>
                    <a:gd name="connsiteX3" fmla="*/ 21710 w 21769"/>
                    <a:gd name="connsiteY3" fmla="*/ 2093 h 18600"/>
                    <a:gd name="connsiteX4" fmla="*/ 21710 w 21769"/>
                    <a:gd name="connsiteY4" fmla="*/ 2751 h 18600"/>
                    <a:gd name="connsiteX5" fmla="*/ 21770 w 21769"/>
                    <a:gd name="connsiteY5" fmla="*/ 4605 h 18600"/>
                    <a:gd name="connsiteX6" fmla="*/ 21291 w 21769"/>
                    <a:gd name="connsiteY6" fmla="*/ 6639 h 18600"/>
                    <a:gd name="connsiteX7" fmla="*/ 21112 w 21769"/>
                    <a:gd name="connsiteY7" fmla="*/ 7356 h 18600"/>
                    <a:gd name="connsiteX8" fmla="*/ 19796 w 21769"/>
                    <a:gd name="connsiteY8" fmla="*/ 10167 h 18600"/>
                    <a:gd name="connsiteX9" fmla="*/ 17882 w 21769"/>
                    <a:gd name="connsiteY9" fmla="*/ 12799 h 18600"/>
                    <a:gd name="connsiteX10" fmla="*/ 15550 w 21769"/>
                    <a:gd name="connsiteY10" fmla="*/ 15131 h 18600"/>
                    <a:gd name="connsiteX11" fmla="*/ 12978 w 21769"/>
                    <a:gd name="connsiteY11" fmla="*/ 16925 h 18600"/>
                    <a:gd name="connsiteX12" fmla="*/ 10287 w 21769"/>
                    <a:gd name="connsiteY12" fmla="*/ 18122 h 18600"/>
                    <a:gd name="connsiteX13" fmla="*/ 7715 w 21769"/>
                    <a:gd name="connsiteY13" fmla="*/ 18600 h 18600"/>
                    <a:gd name="connsiteX14" fmla="*/ 5443 w 21769"/>
                    <a:gd name="connsiteY14" fmla="*/ 18361 h 18600"/>
                    <a:gd name="connsiteX15" fmla="*/ 3589 w 21769"/>
                    <a:gd name="connsiteY15" fmla="*/ 17404 h 18600"/>
                    <a:gd name="connsiteX16" fmla="*/ 1854 w 21769"/>
                    <a:gd name="connsiteY16" fmla="*/ 15789 h 18600"/>
                    <a:gd name="connsiteX17" fmla="*/ 180 w 21769"/>
                    <a:gd name="connsiteY17" fmla="*/ 14294 h 18600"/>
                    <a:gd name="connsiteX18" fmla="*/ 0 w 21769"/>
                    <a:gd name="connsiteY18" fmla="*/ 14115 h 1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769" h="18600">
                      <a:moveTo>
                        <a:pt x="20992" y="0"/>
                      </a:moveTo>
                      <a:lnTo>
                        <a:pt x="21531" y="1555"/>
                      </a:lnTo>
                      <a:lnTo>
                        <a:pt x="21591" y="1734"/>
                      </a:lnTo>
                      <a:lnTo>
                        <a:pt x="21710" y="2093"/>
                      </a:lnTo>
                      <a:lnTo>
                        <a:pt x="21710" y="2751"/>
                      </a:lnTo>
                      <a:lnTo>
                        <a:pt x="21770" y="4605"/>
                      </a:lnTo>
                      <a:lnTo>
                        <a:pt x="21291" y="6639"/>
                      </a:lnTo>
                      <a:lnTo>
                        <a:pt x="21112" y="7356"/>
                      </a:lnTo>
                      <a:lnTo>
                        <a:pt x="19796" y="10167"/>
                      </a:lnTo>
                      <a:lnTo>
                        <a:pt x="17882" y="12799"/>
                      </a:lnTo>
                      <a:lnTo>
                        <a:pt x="15550" y="15131"/>
                      </a:lnTo>
                      <a:lnTo>
                        <a:pt x="12978" y="16925"/>
                      </a:lnTo>
                      <a:lnTo>
                        <a:pt x="10287" y="18122"/>
                      </a:lnTo>
                      <a:lnTo>
                        <a:pt x="7715" y="18600"/>
                      </a:lnTo>
                      <a:lnTo>
                        <a:pt x="5443" y="18361"/>
                      </a:lnTo>
                      <a:lnTo>
                        <a:pt x="3589" y="17404"/>
                      </a:lnTo>
                      <a:lnTo>
                        <a:pt x="1854" y="15789"/>
                      </a:lnTo>
                      <a:lnTo>
                        <a:pt x="180" y="14294"/>
                      </a:lnTo>
                      <a:lnTo>
                        <a:pt x="0" y="14115"/>
                      </a:lnTo>
                    </a:path>
                  </a:pathLst>
                </a:custGeom>
                <a:noFill/>
                <a:ln w="6350" cap="rnd">
                  <a:solidFill>
                    <a:schemeClr val="bg1">
                      <a:alpha val="40000"/>
                    </a:schemeClr>
                  </a:solidFill>
                  <a:prstDash val="solid"/>
                  <a:round/>
                </a:ln>
              </p:spPr>
              <p:txBody>
                <a:bodyPr rtlCol="0" anchor="ctr"/>
                <a:lstStyle/>
                <a:p>
                  <a:endParaRPr lang="en-GB"/>
                </a:p>
              </p:txBody>
            </p:sp>
            <p:sp>
              <p:nvSpPr>
                <p:cNvPr id="5722" name="Vrije vorm: vorm 5721">
                  <a:extLst>
                    <a:ext uri="{FF2B5EF4-FFF2-40B4-BE49-F238E27FC236}">
                      <a16:creationId xmlns:a16="http://schemas.microsoft.com/office/drawing/2014/main" id="{05C53B4B-5386-41B3-8831-19436E5AFE5B}"/>
                    </a:ext>
                  </a:extLst>
                </p:cNvPr>
                <p:cNvSpPr/>
                <p:nvPr/>
              </p:nvSpPr>
              <p:spPr>
                <a:xfrm>
                  <a:off x="6687543" y="1601438"/>
                  <a:ext cx="4725" cy="4605"/>
                </a:xfrm>
                <a:custGeom>
                  <a:avLst/>
                  <a:gdLst>
                    <a:gd name="connsiteX0" fmla="*/ 0 w 4725"/>
                    <a:gd name="connsiteY0" fmla="*/ 0 h 4605"/>
                    <a:gd name="connsiteX1" fmla="*/ 2153 w 4725"/>
                    <a:gd name="connsiteY1" fmla="*/ 2093 h 4605"/>
                    <a:gd name="connsiteX2" fmla="*/ 4306 w 4725"/>
                    <a:gd name="connsiteY2" fmla="*/ 4187 h 4605"/>
                    <a:gd name="connsiteX3" fmla="*/ 4725 w 4725"/>
                    <a:gd name="connsiteY3" fmla="*/ 4605 h 4605"/>
                  </a:gdLst>
                  <a:ahLst/>
                  <a:cxnLst>
                    <a:cxn ang="0">
                      <a:pos x="connsiteX0" y="connsiteY0"/>
                    </a:cxn>
                    <a:cxn ang="0">
                      <a:pos x="connsiteX1" y="connsiteY1"/>
                    </a:cxn>
                    <a:cxn ang="0">
                      <a:pos x="connsiteX2" y="connsiteY2"/>
                    </a:cxn>
                    <a:cxn ang="0">
                      <a:pos x="connsiteX3" y="connsiteY3"/>
                    </a:cxn>
                  </a:cxnLst>
                  <a:rect l="l" t="t" r="r" b="b"/>
                  <a:pathLst>
                    <a:path w="4725" h="4605">
                      <a:moveTo>
                        <a:pt x="0" y="0"/>
                      </a:moveTo>
                      <a:lnTo>
                        <a:pt x="2153" y="2093"/>
                      </a:lnTo>
                      <a:lnTo>
                        <a:pt x="4306" y="4187"/>
                      </a:lnTo>
                      <a:lnTo>
                        <a:pt x="4725" y="4605"/>
                      </a:lnTo>
                    </a:path>
                  </a:pathLst>
                </a:custGeom>
                <a:noFill/>
                <a:ln w="6350" cap="rnd">
                  <a:solidFill>
                    <a:schemeClr val="bg1">
                      <a:alpha val="40000"/>
                    </a:schemeClr>
                  </a:solidFill>
                  <a:prstDash val="solid"/>
                  <a:round/>
                </a:ln>
              </p:spPr>
              <p:txBody>
                <a:bodyPr rtlCol="0" anchor="ctr"/>
                <a:lstStyle/>
                <a:p>
                  <a:endParaRPr lang="en-GB"/>
                </a:p>
              </p:txBody>
            </p:sp>
            <p:sp>
              <p:nvSpPr>
                <p:cNvPr id="5723" name="Vrije vorm: vorm 5722">
                  <a:extLst>
                    <a:ext uri="{FF2B5EF4-FFF2-40B4-BE49-F238E27FC236}">
                      <a16:creationId xmlns:a16="http://schemas.microsoft.com/office/drawing/2014/main" id="{1AA6A1EA-C67C-4D06-B4BF-AB0F8CAA7A8B}"/>
                    </a:ext>
                  </a:extLst>
                </p:cNvPr>
                <p:cNvSpPr/>
                <p:nvPr/>
              </p:nvSpPr>
              <p:spPr>
                <a:xfrm>
                  <a:off x="6570800" y="1563999"/>
                  <a:ext cx="3169" cy="598"/>
                </a:xfrm>
                <a:custGeom>
                  <a:avLst/>
                  <a:gdLst>
                    <a:gd name="connsiteX0" fmla="*/ 3170 w 3169"/>
                    <a:gd name="connsiteY0" fmla="*/ 598 h 598"/>
                    <a:gd name="connsiteX1" fmla="*/ 239 w 3169"/>
                    <a:gd name="connsiteY1" fmla="*/ 60 h 598"/>
                    <a:gd name="connsiteX2" fmla="*/ 0 w 3169"/>
                    <a:gd name="connsiteY2" fmla="*/ 0 h 598"/>
                  </a:gdLst>
                  <a:ahLst/>
                  <a:cxnLst>
                    <a:cxn ang="0">
                      <a:pos x="connsiteX0" y="connsiteY0"/>
                    </a:cxn>
                    <a:cxn ang="0">
                      <a:pos x="connsiteX1" y="connsiteY1"/>
                    </a:cxn>
                    <a:cxn ang="0">
                      <a:pos x="connsiteX2" y="connsiteY2"/>
                    </a:cxn>
                  </a:cxnLst>
                  <a:rect l="l" t="t" r="r" b="b"/>
                  <a:pathLst>
                    <a:path w="3169" h="598">
                      <a:moveTo>
                        <a:pt x="3170" y="598"/>
                      </a:moveTo>
                      <a:lnTo>
                        <a:pt x="239" y="6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24" name="Vrije vorm: vorm 5723">
                  <a:extLst>
                    <a:ext uri="{FF2B5EF4-FFF2-40B4-BE49-F238E27FC236}">
                      <a16:creationId xmlns:a16="http://schemas.microsoft.com/office/drawing/2014/main" id="{BC1E0523-12A6-4873-A064-B7196A4215E1}"/>
                    </a:ext>
                  </a:extLst>
                </p:cNvPr>
                <p:cNvSpPr/>
                <p:nvPr/>
              </p:nvSpPr>
              <p:spPr>
                <a:xfrm>
                  <a:off x="6567032" y="1563281"/>
                  <a:ext cx="6100" cy="3648"/>
                </a:xfrm>
                <a:custGeom>
                  <a:avLst/>
                  <a:gdLst>
                    <a:gd name="connsiteX0" fmla="*/ 6100 w 6100"/>
                    <a:gd name="connsiteY0" fmla="*/ 3648 h 3648"/>
                    <a:gd name="connsiteX1" fmla="*/ 3170 w 6100"/>
                    <a:gd name="connsiteY1" fmla="*/ 3170 h 3648"/>
                    <a:gd name="connsiteX2" fmla="*/ 3768 w 6100"/>
                    <a:gd name="connsiteY2" fmla="*/ 777 h 3648"/>
                    <a:gd name="connsiteX3" fmla="*/ 837 w 6100"/>
                    <a:gd name="connsiteY3" fmla="*/ 179 h 3648"/>
                    <a:gd name="connsiteX4" fmla="*/ 0 w 6100"/>
                    <a:gd name="connsiteY4" fmla="*/ 0 h 3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00" h="3648">
                      <a:moveTo>
                        <a:pt x="6100" y="3648"/>
                      </a:moveTo>
                      <a:lnTo>
                        <a:pt x="3170" y="3170"/>
                      </a:lnTo>
                      <a:lnTo>
                        <a:pt x="3768" y="777"/>
                      </a:lnTo>
                      <a:lnTo>
                        <a:pt x="837" y="17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25" name="Vrije vorm: vorm 5724">
                  <a:extLst>
                    <a:ext uri="{FF2B5EF4-FFF2-40B4-BE49-F238E27FC236}">
                      <a16:creationId xmlns:a16="http://schemas.microsoft.com/office/drawing/2014/main" id="{4B85161B-70B0-4DB4-83F8-BBDF53637DBD}"/>
                    </a:ext>
                  </a:extLst>
                </p:cNvPr>
                <p:cNvSpPr/>
                <p:nvPr/>
              </p:nvSpPr>
              <p:spPr>
                <a:xfrm>
                  <a:off x="6573132" y="1566929"/>
                  <a:ext cx="8552" cy="1913"/>
                </a:xfrm>
                <a:custGeom>
                  <a:avLst/>
                  <a:gdLst>
                    <a:gd name="connsiteX0" fmla="*/ 0 w 8552"/>
                    <a:gd name="connsiteY0" fmla="*/ 0 h 1913"/>
                    <a:gd name="connsiteX1" fmla="*/ 1256 w 8552"/>
                    <a:gd name="connsiteY1" fmla="*/ 299 h 1913"/>
                    <a:gd name="connsiteX2" fmla="*/ 4187 w 8552"/>
                    <a:gd name="connsiteY2" fmla="*/ 957 h 1913"/>
                    <a:gd name="connsiteX3" fmla="*/ 5084 w 8552"/>
                    <a:gd name="connsiteY3" fmla="*/ 1136 h 1913"/>
                    <a:gd name="connsiteX4" fmla="*/ 8014 w 8552"/>
                    <a:gd name="connsiteY4" fmla="*/ 1794 h 1913"/>
                    <a:gd name="connsiteX5" fmla="*/ 8553 w 8552"/>
                    <a:gd name="connsiteY5" fmla="*/ 1914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2" h="1913">
                      <a:moveTo>
                        <a:pt x="0" y="0"/>
                      </a:moveTo>
                      <a:lnTo>
                        <a:pt x="1256" y="299"/>
                      </a:lnTo>
                      <a:lnTo>
                        <a:pt x="4187" y="957"/>
                      </a:lnTo>
                      <a:lnTo>
                        <a:pt x="5084" y="1136"/>
                      </a:lnTo>
                      <a:lnTo>
                        <a:pt x="8014" y="1794"/>
                      </a:lnTo>
                      <a:lnTo>
                        <a:pt x="8553" y="1914"/>
                      </a:lnTo>
                    </a:path>
                  </a:pathLst>
                </a:custGeom>
                <a:noFill/>
                <a:ln w="6350" cap="rnd">
                  <a:solidFill>
                    <a:schemeClr val="bg1">
                      <a:alpha val="40000"/>
                    </a:schemeClr>
                  </a:solidFill>
                  <a:prstDash val="solid"/>
                  <a:round/>
                </a:ln>
              </p:spPr>
              <p:txBody>
                <a:bodyPr rtlCol="0" anchor="ctr"/>
                <a:lstStyle/>
                <a:p>
                  <a:endParaRPr lang="en-GB"/>
                </a:p>
              </p:txBody>
            </p:sp>
            <p:sp>
              <p:nvSpPr>
                <p:cNvPr id="5726" name="Vrije vorm: vorm 5725">
                  <a:extLst>
                    <a:ext uri="{FF2B5EF4-FFF2-40B4-BE49-F238E27FC236}">
                      <a16:creationId xmlns:a16="http://schemas.microsoft.com/office/drawing/2014/main" id="{2FB4211B-1DCA-4E93-B17B-F483C9E049D8}"/>
                    </a:ext>
                  </a:extLst>
                </p:cNvPr>
                <p:cNvSpPr/>
                <p:nvPr/>
              </p:nvSpPr>
              <p:spPr>
                <a:xfrm>
                  <a:off x="6588622" y="1570338"/>
                  <a:ext cx="7475" cy="1614"/>
                </a:xfrm>
                <a:custGeom>
                  <a:avLst/>
                  <a:gdLst>
                    <a:gd name="connsiteX0" fmla="*/ 0 w 7475"/>
                    <a:gd name="connsiteY0" fmla="*/ 0 h 1614"/>
                    <a:gd name="connsiteX1" fmla="*/ 1076 w 7475"/>
                    <a:gd name="connsiteY1" fmla="*/ 239 h 1614"/>
                    <a:gd name="connsiteX2" fmla="*/ 4007 w 7475"/>
                    <a:gd name="connsiteY2" fmla="*/ 897 h 1614"/>
                    <a:gd name="connsiteX3" fmla="*/ 5143 w 7475"/>
                    <a:gd name="connsiteY3" fmla="*/ 1136 h 1614"/>
                    <a:gd name="connsiteX4" fmla="*/ 7476 w 7475"/>
                    <a:gd name="connsiteY4" fmla="*/ 1615 h 1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5" h="1614">
                      <a:moveTo>
                        <a:pt x="0" y="0"/>
                      </a:moveTo>
                      <a:lnTo>
                        <a:pt x="1076" y="239"/>
                      </a:lnTo>
                      <a:lnTo>
                        <a:pt x="4007" y="897"/>
                      </a:lnTo>
                      <a:lnTo>
                        <a:pt x="5143" y="1136"/>
                      </a:lnTo>
                      <a:lnTo>
                        <a:pt x="7476" y="1615"/>
                      </a:lnTo>
                    </a:path>
                  </a:pathLst>
                </a:custGeom>
                <a:noFill/>
                <a:ln w="6350" cap="rnd">
                  <a:solidFill>
                    <a:schemeClr val="bg1">
                      <a:alpha val="40000"/>
                    </a:schemeClr>
                  </a:solidFill>
                  <a:prstDash val="solid"/>
                  <a:round/>
                </a:ln>
              </p:spPr>
              <p:txBody>
                <a:bodyPr rtlCol="0" anchor="ctr"/>
                <a:lstStyle/>
                <a:p>
                  <a:endParaRPr lang="en-GB"/>
                </a:p>
              </p:txBody>
            </p:sp>
            <p:sp>
              <p:nvSpPr>
                <p:cNvPr id="5727" name="Vrije vorm: vorm 5726">
                  <a:extLst>
                    <a:ext uri="{FF2B5EF4-FFF2-40B4-BE49-F238E27FC236}">
                      <a16:creationId xmlns:a16="http://schemas.microsoft.com/office/drawing/2014/main" id="{2653C287-1976-4F8E-A117-183F14D39A28}"/>
                    </a:ext>
                  </a:extLst>
                </p:cNvPr>
                <p:cNvSpPr/>
                <p:nvPr/>
              </p:nvSpPr>
              <p:spPr>
                <a:xfrm>
                  <a:off x="6586349" y="1567348"/>
                  <a:ext cx="3169" cy="598"/>
                </a:xfrm>
                <a:custGeom>
                  <a:avLst/>
                  <a:gdLst>
                    <a:gd name="connsiteX0" fmla="*/ 3170 w 3169"/>
                    <a:gd name="connsiteY0" fmla="*/ 598 h 598"/>
                    <a:gd name="connsiteX1" fmla="*/ 239 w 3169"/>
                    <a:gd name="connsiteY1" fmla="*/ 60 h 598"/>
                    <a:gd name="connsiteX2" fmla="*/ 0 w 3169"/>
                    <a:gd name="connsiteY2" fmla="*/ 0 h 598"/>
                  </a:gdLst>
                  <a:ahLst/>
                  <a:cxnLst>
                    <a:cxn ang="0">
                      <a:pos x="connsiteX0" y="connsiteY0"/>
                    </a:cxn>
                    <a:cxn ang="0">
                      <a:pos x="connsiteX1" y="connsiteY1"/>
                    </a:cxn>
                    <a:cxn ang="0">
                      <a:pos x="connsiteX2" y="connsiteY2"/>
                    </a:cxn>
                  </a:cxnLst>
                  <a:rect l="l" t="t" r="r" b="b"/>
                  <a:pathLst>
                    <a:path w="3169" h="598">
                      <a:moveTo>
                        <a:pt x="3170" y="598"/>
                      </a:moveTo>
                      <a:lnTo>
                        <a:pt x="239" y="6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28" name="Vrije vorm: vorm 5727">
                  <a:extLst>
                    <a:ext uri="{FF2B5EF4-FFF2-40B4-BE49-F238E27FC236}">
                      <a16:creationId xmlns:a16="http://schemas.microsoft.com/office/drawing/2014/main" id="{400D6D20-FA00-469A-82CD-C456305CBBD6}"/>
                    </a:ext>
                  </a:extLst>
                </p:cNvPr>
                <p:cNvSpPr/>
                <p:nvPr/>
              </p:nvSpPr>
              <p:spPr>
                <a:xfrm>
                  <a:off x="6582223" y="1566570"/>
                  <a:ext cx="6399" cy="3767"/>
                </a:xfrm>
                <a:custGeom>
                  <a:avLst/>
                  <a:gdLst>
                    <a:gd name="connsiteX0" fmla="*/ 6399 w 6399"/>
                    <a:gd name="connsiteY0" fmla="*/ 3768 h 3767"/>
                    <a:gd name="connsiteX1" fmla="*/ 3409 w 6399"/>
                    <a:gd name="connsiteY1" fmla="*/ 3289 h 3767"/>
                    <a:gd name="connsiteX2" fmla="*/ 3469 w 6399"/>
                    <a:gd name="connsiteY2" fmla="*/ 3170 h 3767"/>
                    <a:gd name="connsiteX3" fmla="*/ 4067 w 6399"/>
                    <a:gd name="connsiteY3" fmla="*/ 837 h 3767"/>
                    <a:gd name="connsiteX4" fmla="*/ 1136 w 6399"/>
                    <a:gd name="connsiteY4" fmla="*/ 239 h 3767"/>
                    <a:gd name="connsiteX5" fmla="*/ 0 w 6399"/>
                    <a:gd name="connsiteY5" fmla="*/ 0 h 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9" h="3767">
                      <a:moveTo>
                        <a:pt x="6399" y="3768"/>
                      </a:moveTo>
                      <a:lnTo>
                        <a:pt x="3409" y="3289"/>
                      </a:lnTo>
                      <a:lnTo>
                        <a:pt x="3469" y="3170"/>
                      </a:lnTo>
                      <a:lnTo>
                        <a:pt x="4067" y="837"/>
                      </a:lnTo>
                      <a:lnTo>
                        <a:pt x="1136" y="23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29" name="Vrije vorm: vorm 5728">
                  <a:extLst>
                    <a:ext uri="{FF2B5EF4-FFF2-40B4-BE49-F238E27FC236}">
                      <a16:creationId xmlns:a16="http://schemas.microsoft.com/office/drawing/2014/main" id="{1A30F85A-E141-4D79-90D2-C8745615F9D9}"/>
                    </a:ext>
                  </a:extLst>
                </p:cNvPr>
                <p:cNvSpPr/>
                <p:nvPr/>
              </p:nvSpPr>
              <p:spPr>
                <a:xfrm>
                  <a:off x="6600344" y="1570518"/>
                  <a:ext cx="3049" cy="2990"/>
                </a:xfrm>
                <a:custGeom>
                  <a:avLst/>
                  <a:gdLst>
                    <a:gd name="connsiteX0" fmla="*/ 718 w 3049"/>
                    <a:gd name="connsiteY0" fmla="*/ 0 h 2990"/>
                    <a:gd name="connsiteX1" fmla="*/ 60 w 3049"/>
                    <a:gd name="connsiteY1" fmla="*/ 2392 h 2990"/>
                    <a:gd name="connsiteX2" fmla="*/ 0 w 3049"/>
                    <a:gd name="connsiteY2" fmla="*/ 2512 h 2990"/>
                    <a:gd name="connsiteX3" fmla="*/ 2990 w 3049"/>
                    <a:gd name="connsiteY3" fmla="*/ 2990 h 2990"/>
                    <a:gd name="connsiteX4" fmla="*/ 3050 w 3049"/>
                    <a:gd name="connsiteY4" fmla="*/ 299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9" h="2990">
                      <a:moveTo>
                        <a:pt x="718" y="0"/>
                      </a:moveTo>
                      <a:lnTo>
                        <a:pt x="60" y="2392"/>
                      </a:lnTo>
                      <a:lnTo>
                        <a:pt x="0" y="2512"/>
                      </a:lnTo>
                      <a:lnTo>
                        <a:pt x="2990" y="2990"/>
                      </a:lnTo>
                      <a:lnTo>
                        <a:pt x="3050" y="2990"/>
                      </a:lnTo>
                    </a:path>
                  </a:pathLst>
                </a:custGeom>
                <a:noFill/>
                <a:ln w="6350" cap="rnd">
                  <a:solidFill>
                    <a:schemeClr val="bg1">
                      <a:alpha val="40000"/>
                    </a:schemeClr>
                  </a:solidFill>
                  <a:prstDash val="solid"/>
                  <a:round/>
                </a:ln>
              </p:spPr>
              <p:txBody>
                <a:bodyPr rtlCol="0" anchor="ctr"/>
                <a:lstStyle/>
                <a:p>
                  <a:endParaRPr lang="en-GB"/>
                </a:p>
              </p:txBody>
            </p:sp>
            <p:sp>
              <p:nvSpPr>
                <p:cNvPr id="5730" name="Vrije vorm: vorm 5729">
                  <a:extLst>
                    <a:ext uri="{FF2B5EF4-FFF2-40B4-BE49-F238E27FC236}">
                      <a16:creationId xmlns:a16="http://schemas.microsoft.com/office/drawing/2014/main" id="{6859F14B-843C-4D7C-B7CD-372E3A1E3517}"/>
                    </a:ext>
                  </a:extLst>
                </p:cNvPr>
                <p:cNvSpPr/>
                <p:nvPr/>
              </p:nvSpPr>
              <p:spPr>
                <a:xfrm>
                  <a:off x="6603394" y="1573568"/>
                  <a:ext cx="25298" cy="5621"/>
                </a:xfrm>
                <a:custGeom>
                  <a:avLst/>
                  <a:gdLst>
                    <a:gd name="connsiteX0" fmla="*/ 0 w 25298"/>
                    <a:gd name="connsiteY0" fmla="*/ 0 h 5621"/>
                    <a:gd name="connsiteX1" fmla="*/ 897 w 25298"/>
                    <a:gd name="connsiteY1" fmla="*/ 179 h 5621"/>
                    <a:gd name="connsiteX2" fmla="*/ 3828 w 25298"/>
                    <a:gd name="connsiteY2" fmla="*/ 837 h 5621"/>
                    <a:gd name="connsiteX3" fmla="*/ 5204 w 25298"/>
                    <a:gd name="connsiteY3" fmla="*/ 1136 h 5621"/>
                    <a:gd name="connsiteX4" fmla="*/ 8134 w 25298"/>
                    <a:gd name="connsiteY4" fmla="*/ 1794 h 5621"/>
                    <a:gd name="connsiteX5" fmla="*/ 11065 w 25298"/>
                    <a:gd name="connsiteY5" fmla="*/ 2452 h 5621"/>
                    <a:gd name="connsiteX6" fmla="*/ 13995 w 25298"/>
                    <a:gd name="connsiteY6" fmla="*/ 3110 h 5621"/>
                    <a:gd name="connsiteX7" fmla="*/ 16926 w 25298"/>
                    <a:gd name="connsiteY7" fmla="*/ 3768 h 5621"/>
                    <a:gd name="connsiteX8" fmla="*/ 19856 w 25298"/>
                    <a:gd name="connsiteY8" fmla="*/ 4426 h 5621"/>
                    <a:gd name="connsiteX9" fmla="*/ 22787 w 25298"/>
                    <a:gd name="connsiteY9" fmla="*/ 5084 h 5621"/>
                    <a:gd name="connsiteX10" fmla="*/ 25299 w 25298"/>
                    <a:gd name="connsiteY10" fmla="*/ 5622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98" h="5621">
                      <a:moveTo>
                        <a:pt x="0" y="0"/>
                      </a:moveTo>
                      <a:lnTo>
                        <a:pt x="897" y="179"/>
                      </a:lnTo>
                      <a:lnTo>
                        <a:pt x="3828" y="837"/>
                      </a:lnTo>
                      <a:lnTo>
                        <a:pt x="5204" y="1136"/>
                      </a:lnTo>
                      <a:lnTo>
                        <a:pt x="8134" y="1794"/>
                      </a:lnTo>
                      <a:lnTo>
                        <a:pt x="11065" y="2452"/>
                      </a:lnTo>
                      <a:lnTo>
                        <a:pt x="13995" y="3110"/>
                      </a:lnTo>
                      <a:lnTo>
                        <a:pt x="16926" y="3768"/>
                      </a:lnTo>
                      <a:lnTo>
                        <a:pt x="19856" y="4426"/>
                      </a:lnTo>
                      <a:lnTo>
                        <a:pt x="22787" y="5084"/>
                      </a:lnTo>
                      <a:lnTo>
                        <a:pt x="25299" y="5622"/>
                      </a:lnTo>
                    </a:path>
                  </a:pathLst>
                </a:custGeom>
                <a:noFill/>
                <a:ln w="6350" cap="rnd">
                  <a:solidFill>
                    <a:schemeClr val="bg1">
                      <a:alpha val="40000"/>
                    </a:schemeClr>
                  </a:solidFill>
                  <a:prstDash val="solid"/>
                  <a:round/>
                </a:ln>
              </p:spPr>
              <p:txBody>
                <a:bodyPr rtlCol="0" anchor="ctr"/>
                <a:lstStyle/>
                <a:p>
                  <a:endParaRPr lang="en-GB"/>
                </a:p>
              </p:txBody>
            </p:sp>
            <p:sp>
              <p:nvSpPr>
                <p:cNvPr id="5731" name="Vrije vorm: vorm 5730">
                  <a:extLst>
                    <a:ext uri="{FF2B5EF4-FFF2-40B4-BE49-F238E27FC236}">
                      <a16:creationId xmlns:a16="http://schemas.microsoft.com/office/drawing/2014/main" id="{D165ABB7-D556-49CA-948C-409D0BD5E767}"/>
                    </a:ext>
                  </a:extLst>
                </p:cNvPr>
                <p:cNvSpPr/>
                <p:nvPr/>
              </p:nvSpPr>
              <p:spPr>
                <a:xfrm>
                  <a:off x="6596696" y="1569621"/>
                  <a:ext cx="7595" cy="1435"/>
                </a:xfrm>
                <a:custGeom>
                  <a:avLst/>
                  <a:gdLst>
                    <a:gd name="connsiteX0" fmla="*/ 7596 w 7595"/>
                    <a:gd name="connsiteY0" fmla="*/ 1435 h 1435"/>
                    <a:gd name="connsiteX1" fmla="*/ 4605 w 7595"/>
                    <a:gd name="connsiteY1" fmla="*/ 957 h 1435"/>
                    <a:gd name="connsiteX2" fmla="*/ 4306 w 7595"/>
                    <a:gd name="connsiteY2" fmla="*/ 897 h 1435"/>
                    <a:gd name="connsiteX3" fmla="*/ 1376 w 7595"/>
                    <a:gd name="connsiteY3" fmla="*/ 299 h 1435"/>
                    <a:gd name="connsiteX4" fmla="*/ 0 w 7595"/>
                    <a:gd name="connsiteY4" fmla="*/ 0 h 1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5" h="1435">
                      <a:moveTo>
                        <a:pt x="7596" y="1435"/>
                      </a:moveTo>
                      <a:lnTo>
                        <a:pt x="4605" y="957"/>
                      </a:lnTo>
                      <a:lnTo>
                        <a:pt x="4306" y="897"/>
                      </a:lnTo>
                      <a:lnTo>
                        <a:pt x="1376" y="29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32" name="Vrije vorm: vorm 5731">
                  <a:extLst>
                    <a:ext uri="{FF2B5EF4-FFF2-40B4-BE49-F238E27FC236}">
                      <a16:creationId xmlns:a16="http://schemas.microsoft.com/office/drawing/2014/main" id="{B73E872D-997A-4B60-9ED6-4A896E94A558}"/>
                    </a:ext>
                  </a:extLst>
                </p:cNvPr>
                <p:cNvSpPr/>
                <p:nvPr/>
              </p:nvSpPr>
              <p:spPr>
                <a:xfrm>
                  <a:off x="6509198" y="1542229"/>
                  <a:ext cx="2033" cy="897"/>
                </a:xfrm>
                <a:custGeom>
                  <a:avLst/>
                  <a:gdLst>
                    <a:gd name="connsiteX0" fmla="*/ 0 w 2033"/>
                    <a:gd name="connsiteY0" fmla="*/ 778 h 897"/>
                    <a:gd name="connsiteX1" fmla="*/ 299 w 2033"/>
                    <a:gd name="connsiteY1" fmla="*/ 897 h 897"/>
                    <a:gd name="connsiteX2" fmla="*/ 299 w 2033"/>
                    <a:gd name="connsiteY2" fmla="*/ 897 h 897"/>
                    <a:gd name="connsiteX3" fmla="*/ 658 w 2033"/>
                    <a:gd name="connsiteY3" fmla="*/ 897 h 897"/>
                    <a:gd name="connsiteX4" fmla="*/ 1136 w 2033"/>
                    <a:gd name="connsiteY4" fmla="*/ 718 h 897"/>
                    <a:gd name="connsiteX5" fmla="*/ 1615 w 2033"/>
                    <a:gd name="connsiteY5" fmla="*/ 419 h 897"/>
                    <a:gd name="connsiteX6" fmla="*/ 2034 w 2033"/>
                    <a:gd name="connsiteY6" fmla="*/ 0 h 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3" h="897">
                      <a:moveTo>
                        <a:pt x="0" y="778"/>
                      </a:moveTo>
                      <a:lnTo>
                        <a:pt x="299" y="897"/>
                      </a:lnTo>
                      <a:lnTo>
                        <a:pt x="299" y="897"/>
                      </a:lnTo>
                      <a:lnTo>
                        <a:pt x="658" y="897"/>
                      </a:lnTo>
                      <a:lnTo>
                        <a:pt x="1136" y="718"/>
                      </a:lnTo>
                      <a:lnTo>
                        <a:pt x="1615" y="419"/>
                      </a:lnTo>
                      <a:lnTo>
                        <a:pt x="2034" y="0"/>
                      </a:lnTo>
                    </a:path>
                  </a:pathLst>
                </a:custGeom>
                <a:noFill/>
                <a:ln w="6350" cap="rnd">
                  <a:solidFill>
                    <a:schemeClr val="bg1">
                      <a:alpha val="40000"/>
                    </a:schemeClr>
                  </a:solidFill>
                  <a:prstDash val="solid"/>
                  <a:round/>
                </a:ln>
              </p:spPr>
              <p:txBody>
                <a:bodyPr rtlCol="0" anchor="ctr"/>
                <a:lstStyle/>
                <a:p>
                  <a:endParaRPr lang="en-GB"/>
                </a:p>
              </p:txBody>
            </p:sp>
            <p:sp>
              <p:nvSpPr>
                <p:cNvPr id="5733" name="Vrije vorm: vorm 5732">
                  <a:extLst>
                    <a:ext uri="{FF2B5EF4-FFF2-40B4-BE49-F238E27FC236}">
                      <a16:creationId xmlns:a16="http://schemas.microsoft.com/office/drawing/2014/main" id="{5077796A-CBEA-414B-B29A-C4CF6C5E0CFB}"/>
                    </a:ext>
                  </a:extLst>
                </p:cNvPr>
                <p:cNvSpPr/>
                <p:nvPr/>
              </p:nvSpPr>
              <p:spPr>
                <a:xfrm>
                  <a:off x="6508959" y="1540435"/>
                  <a:ext cx="597" cy="2571"/>
                </a:xfrm>
                <a:custGeom>
                  <a:avLst/>
                  <a:gdLst>
                    <a:gd name="connsiteX0" fmla="*/ 239 w 597"/>
                    <a:gd name="connsiteY0" fmla="*/ 2572 h 2571"/>
                    <a:gd name="connsiteX1" fmla="*/ 60 w 597"/>
                    <a:gd name="connsiteY1" fmla="*/ 2273 h 2571"/>
                    <a:gd name="connsiteX2" fmla="*/ 0 w 597"/>
                    <a:gd name="connsiteY2" fmla="*/ 1914 h 2571"/>
                    <a:gd name="connsiteX3" fmla="*/ 0 w 597"/>
                    <a:gd name="connsiteY3" fmla="*/ 1854 h 2571"/>
                    <a:gd name="connsiteX4" fmla="*/ 60 w 597"/>
                    <a:gd name="connsiteY4" fmla="*/ 1316 h 2571"/>
                    <a:gd name="connsiteX5" fmla="*/ 239 w 597"/>
                    <a:gd name="connsiteY5" fmla="*/ 718 h 2571"/>
                    <a:gd name="connsiteX6" fmla="*/ 538 w 597"/>
                    <a:gd name="connsiteY6" fmla="*/ 120 h 2571"/>
                    <a:gd name="connsiteX7" fmla="*/ 538 w 597"/>
                    <a:gd name="connsiteY7" fmla="*/ 120 h 2571"/>
                    <a:gd name="connsiteX8" fmla="*/ 598 w 597"/>
                    <a:gd name="connsiteY8" fmla="*/ 0 h 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 h="2571">
                      <a:moveTo>
                        <a:pt x="239" y="2572"/>
                      </a:moveTo>
                      <a:lnTo>
                        <a:pt x="60" y="2273"/>
                      </a:lnTo>
                      <a:lnTo>
                        <a:pt x="0" y="1914"/>
                      </a:lnTo>
                      <a:lnTo>
                        <a:pt x="0" y="1854"/>
                      </a:lnTo>
                      <a:lnTo>
                        <a:pt x="60" y="1316"/>
                      </a:lnTo>
                      <a:lnTo>
                        <a:pt x="239" y="718"/>
                      </a:lnTo>
                      <a:lnTo>
                        <a:pt x="538" y="120"/>
                      </a:lnTo>
                      <a:lnTo>
                        <a:pt x="538" y="120"/>
                      </a:lnTo>
                      <a:lnTo>
                        <a:pt x="598" y="0"/>
                      </a:lnTo>
                    </a:path>
                  </a:pathLst>
                </a:custGeom>
                <a:noFill/>
                <a:ln w="6350" cap="rnd">
                  <a:solidFill>
                    <a:schemeClr val="bg1">
                      <a:alpha val="40000"/>
                    </a:schemeClr>
                  </a:solidFill>
                  <a:prstDash val="solid"/>
                  <a:round/>
                </a:ln>
              </p:spPr>
              <p:txBody>
                <a:bodyPr rtlCol="0" anchor="ctr"/>
                <a:lstStyle/>
                <a:p>
                  <a:endParaRPr lang="en-GB"/>
                </a:p>
              </p:txBody>
            </p:sp>
            <p:sp>
              <p:nvSpPr>
                <p:cNvPr id="5734" name="Vrije vorm: vorm 5733">
                  <a:extLst>
                    <a:ext uri="{FF2B5EF4-FFF2-40B4-BE49-F238E27FC236}">
                      <a16:creationId xmlns:a16="http://schemas.microsoft.com/office/drawing/2014/main" id="{F5D187E2-E96B-4FDD-913D-1D67A7CAE193}"/>
                    </a:ext>
                  </a:extLst>
                </p:cNvPr>
                <p:cNvSpPr/>
                <p:nvPr/>
              </p:nvSpPr>
              <p:spPr>
                <a:xfrm>
                  <a:off x="6508301" y="1539897"/>
                  <a:ext cx="3169" cy="3947"/>
                </a:xfrm>
                <a:custGeom>
                  <a:avLst/>
                  <a:gdLst>
                    <a:gd name="connsiteX0" fmla="*/ 3170 w 3169"/>
                    <a:gd name="connsiteY0" fmla="*/ 2572 h 3947"/>
                    <a:gd name="connsiteX1" fmla="*/ 3050 w 3169"/>
                    <a:gd name="connsiteY1" fmla="*/ 2691 h 3947"/>
                    <a:gd name="connsiteX2" fmla="*/ 2392 w 3169"/>
                    <a:gd name="connsiteY2" fmla="*/ 3289 h 3947"/>
                    <a:gd name="connsiteX3" fmla="*/ 1734 w 3169"/>
                    <a:gd name="connsiteY3" fmla="*/ 3708 h 3947"/>
                    <a:gd name="connsiteX4" fmla="*/ 1555 w 3169"/>
                    <a:gd name="connsiteY4" fmla="*/ 3768 h 3947"/>
                    <a:gd name="connsiteX5" fmla="*/ 1136 w 3169"/>
                    <a:gd name="connsiteY5" fmla="*/ 3947 h 3947"/>
                    <a:gd name="connsiteX6" fmla="*/ 1017 w 3169"/>
                    <a:gd name="connsiteY6" fmla="*/ 3947 h 3947"/>
                    <a:gd name="connsiteX7" fmla="*/ 658 w 3169"/>
                    <a:gd name="connsiteY7" fmla="*/ 3947 h 3947"/>
                    <a:gd name="connsiteX8" fmla="*/ 299 w 3169"/>
                    <a:gd name="connsiteY8" fmla="*/ 3768 h 3947"/>
                    <a:gd name="connsiteX9" fmla="*/ 60 w 3169"/>
                    <a:gd name="connsiteY9" fmla="*/ 3409 h 3947"/>
                    <a:gd name="connsiteX10" fmla="*/ 60 w 3169"/>
                    <a:gd name="connsiteY10" fmla="*/ 3349 h 3947"/>
                    <a:gd name="connsiteX11" fmla="*/ 0 w 3169"/>
                    <a:gd name="connsiteY11" fmla="*/ 2871 h 3947"/>
                    <a:gd name="connsiteX12" fmla="*/ 120 w 3169"/>
                    <a:gd name="connsiteY12" fmla="*/ 2213 h 3947"/>
                    <a:gd name="connsiteX13" fmla="*/ 359 w 3169"/>
                    <a:gd name="connsiteY13" fmla="*/ 1435 h 3947"/>
                    <a:gd name="connsiteX14" fmla="*/ 778 w 3169"/>
                    <a:gd name="connsiteY14" fmla="*/ 658 h 3947"/>
                    <a:gd name="connsiteX15" fmla="*/ 897 w 3169"/>
                    <a:gd name="connsiteY15" fmla="*/ 538 h 3947"/>
                    <a:gd name="connsiteX16" fmla="*/ 1017 w 3169"/>
                    <a:gd name="connsiteY16" fmla="*/ 419 h 3947"/>
                    <a:gd name="connsiteX17" fmla="*/ 1256 w 3169"/>
                    <a:gd name="connsiteY17" fmla="*/ 0 h 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69" h="3947">
                      <a:moveTo>
                        <a:pt x="3170" y="2572"/>
                      </a:moveTo>
                      <a:lnTo>
                        <a:pt x="3050" y="2691"/>
                      </a:lnTo>
                      <a:lnTo>
                        <a:pt x="2392" y="3289"/>
                      </a:lnTo>
                      <a:lnTo>
                        <a:pt x="1734" y="3708"/>
                      </a:lnTo>
                      <a:lnTo>
                        <a:pt x="1555" y="3768"/>
                      </a:lnTo>
                      <a:lnTo>
                        <a:pt x="1136" y="3947"/>
                      </a:lnTo>
                      <a:lnTo>
                        <a:pt x="1017" y="3947"/>
                      </a:lnTo>
                      <a:lnTo>
                        <a:pt x="658" y="3947"/>
                      </a:lnTo>
                      <a:lnTo>
                        <a:pt x="299" y="3768"/>
                      </a:lnTo>
                      <a:lnTo>
                        <a:pt x="60" y="3409"/>
                      </a:lnTo>
                      <a:lnTo>
                        <a:pt x="60" y="3349"/>
                      </a:lnTo>
                      <a:lnTo>
                        <a:pt x="0" y="2871"/>
                      </a:lnTo>
                      <a:lnTo>
                        <a:pt x="120" y="2213"/>
                      </a:lnTo>
                      <a:lnTo>
                        <a:pt x="359" y="1435"/>
                      </a:lnTo>
                      <a:lnTo>
                        <a:pt x="778" y="658"/>
                      </a:lnTo>
                      <a:lnTo>
                        <a:pt x="897" y="538"/>
                      </a:lnTo>
                      <a:lnTo>
                        <a:pt x="1017" y="419"/>
                      </a:lnTo>
                      <a:lnTo>
                        <a:pt x="1256" y="0"/>
                      </a:lnTo>
                    </a:path>
                  </a:pathLst>
                </a:custGeom>
                <a:noFill/>
                <a:ln w="6350" cap="rnd">
                  <a:solidFill>
                    <a:schemeClr val="bg1">
                      <a:alpha val="40000"/>
                    </a:schemeClr>
                  </a:solidFill>
                  <a:prstDash val="solid"/>
                  <a:round/>
                </a:ln>
              </p:spPr>
              <p:txBody>
                <a:bodyPr rtlCol="0" anchor="ctr"/>
                <a:lstStyle/>
                <a:p>
                  <a:endParaRPr lang="en-GB"/>
                </a:p>
              </p:txBody>
            </p:sp>
            <p:sp>
              <p:nvSpPr>
                <p:cNvPr id="5735" name="Vrije vorm: vorm 5734">
                  <a:extLst>
                    <a:ext uri="{FF2B5EF4-FFF2-40B4-BE49-F238E27FC236}">
                      <a16:creationId xmlns:a16="http://schemas.microsoft.com/office/drawing/2014/main" id="{96A6B47B-A1AB-4AD1-A4F5-DCE1C8B5EC2E}"/>
                    </a:ext>
                  </a:extLst>
                </p:cNvPr>
                <p:cNvSpPr/>
                <p:nvPr/>
              </p:nvSpPr>
              <p:spPr>
                <a:xfrm>
                  <a:off x="6509617" y="1543246"/>
                  <a:ext cx="2870" cy="1315"/>
                </a:xfrm>
                <a:custGeom>
                  <a:avLst/>
                  <a:gdLst>
                    <a:gd name="connsiteX0" fmla="*/ 2871 w 2870"/>
                    <a:gd name="connsiteY0" fmla="*/ 0 h 1315"/>
                    <a:gd name="connsiteX1" fmla="*/ 2751 w 2870"/>
                    <a:gd name="connsiteY1" fmla="*/ 120 h 1315"/>
                    <a:gd name="connsiteX2" fmla="*/ 2333 w 2870"/>
                    <a:gd name="connsiteY2" fmla="*/ 478 h 1315"/>
                    <a:gd name="connsiteX3" fmla="*/ 2093 w 2870"/>
                    <a:gd name="connsiteY3" fmla="*/ 658 h 1315"/>
                    <a:gd name="connsiteX4" fmla="*/ 1974 w 2870"/>
                    <a:gd name="connsiteY4" fmla="*/ 718 h 1315"/>
                    <a:gd name="connsiteX5" fmla="*/ 1435 w 2870"/>
                    <a:gd name="connsiteY5" fmla="*/ 1077 h 1315"/>
                    <a:gd name="connsiteX6" fmla="*/ 1256 w 2870"/>
                    <a:gd name="connsiteY6" fmla="*/ 1136 h 1315"/>
                    <a:gd name="connsiteX7" fmla="*/ 837 w 2870"/>
                    <a:gd name="connsiteY7" fmla="*/ 1316 h 1315"/>
                    <a:gd name="connsiteX8" fmla="*/ 359 w 2870"/>
                    <a:gd name="connsiteY8" fmla="*/ 1316 h 1315"/>
                    <a:gd name="connsiteX9" fmla="*/ 0 w 2870"/>
                    <a:gd name="connsiteY9" fmla="*/ 1136 h 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0" h="1315">
                      <a:moveTo>
                        <a:pt x="2871" y="0"/>
                      </a:moveTo>
                      <a:lnTo>
                        <a:pt x="2751" y="120"/>
                      </a:lnTo>
                      <a:lnTo>
                        <a:pt x="2333" y="478"/>
                      </a:lnTo>
                      <a:lnTo>
                        <a:pt x="2093" y="658"/>
                      </a:lnTo>
                      <a:lnTo>
                        <a:pt x="1974" y="718"/>
                      </a:lnTo>
                      <a:lnTo>
                        <a:pt x="1435" y="1077"/>
                      </a:lnTo>
                      <a:lnTo>
                        <a:pt x="1256" y="1136"/>
                      </a:lnTo>
                      <a:lnTo>
                        <a:pt x="837" y="1316"/>
                      </a:lnTo>
                      <a:lnTo>
                        <a:pt x="359" y="1316"/>
                      </a:lnTo>
                      <a:lnTo>
                        <a:pt x="0" y="1136"/>
                      </a:lnTo>
                    </a:path>
                  </a:pathLst>
                </a:custGeom>
                <a:noFill/>
                <a:ln w="6350" cap="rnd">
                  <a:solidFill>
                    <a:schemeClr val="bg1">
                      <a:alpha val="40000"/>
                    </a:schemeClr>
                  </a:solidFill>
                  <a:prstDash val="solid"/>
                  <a:round/>
                </a:ln>
              </p:spPr>
              <p:txBody>
                <a:bodyPr rtlCol="0" anchor="ctr"/>
                <a:lstStyle/>
                <a:p>
                  <a:endParaRPr lang="en-GB"/>
                </a:p>
              </p:txBody>
            </p:sp>
            <p:sp>
              <p:nvSpPr>
                <p:cNvPr id="5736" name="Vrije vorm: vorm 5735">
                  <a:extLst>
                    <a:ext uri="{FF2B5EF4-FFF2-40B4-BE49-F238E27FC236}">
                      <a16:creationId xmlns:a16="http://schemas.microsoft.com/office/drawing/2014/main" id="{3C313719-BE0B-4C8C-9CE8-2416D7B268FC}"/>
                    </a:ext>
                  </a:extLst>
                </p:cNvPr>
                <p:cNvSpPr/>
                <p:nvPr/>
              </p:nvSpPr>
              <p:spPr>
                <a:xfrm>
                  <a:off x="6508660" y="1543664"/>
                  <a:ext cx="1016" cy="777"/>
                </a:xfrm>
                <a:custGeom>
                  <a:avLst/>
                  <a:gdLst>
                    <a:gd name="connsiteX0" fmla="*/ 1017 w 1016"/>
                    <a:gd name="connsiteY0" fmla="*/ 777 h 777"/>
                    <a:gd name="connsiteX1" fmla="*/ 0 w 1016"/>
                    <a:gd name="connsiteY1" fmla="*/ 0 h 777"/>
                  </a:gdLst>
                  <a:ahLst/>
                  <a:cxnLst>
                    <a:cxn ang="0">
                      <a:pos x="connsiteX0" y="connsiteY0"/>
                    </a:cxn>
                    <a:cxn ang="0">
                      <a:pos x="connsiteX1" y="connsiteY1"/>
                    </a:cxn>
                  </a:cxnLst>
                  <a:rect l="l" t="t" r="r" b="b"/>
                  <a:pathLst>
                    <a:path w="1016" h="777">
                      <a:moveTo>
                        <a:pt x="1017" y="777"/>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37" name="Vrije vorm: vorm 5736">
                  <a:extLst>
                    <a:ext uri="{FF2B5EF4-FFF2-40B4-BE49-F238E27FC236}">
                      <a16:creationId xmlns:a16="http://schemas.microsoft.com/office/drawing/2014/main" id="{E30E7ADC-6BA4-4F8E-B8B8-E85CFEE59BA2}"/>
                    </a:ext>
                  </a:extLst>
                </p:cNvPr>
                <p:cNvSpPr/>
                <p:nvPr/>
              </p:nvSpPr>
              <p:spPr>
                <a:xfrm>
                  <a:off x="6505490" y="1527516"/>
                  <a:ext cx="12738" cy="20035"/>
                </a:xfrm>
                <a:custGeom>
                  <a:avLst/>
                  <a:gdLst>
                    <a:gd name="connsiteX0" fmla="*/ 12739 w 12738"/>
                    <a:gd name="connsiteY0" fmla="*/ 5682 h 20035"/>
                    <a:gd name="connsiteX1" fmla="*/ 10466 w 12738"/>
                    <a:gd name="connsiteY1" fmla="*/ 3768 h 20035"/>
                    <a:gd name="connsiteX2" fmla="*/ 9569 w 12738"/>
                    <a:gd name="connsiteY2" fmla="*/ 2990 h 20035"/>
                    <a:gd name="connsiteX3" fmla="*/ 7297 w 12738"/>
                    <a:gd name="connsiteY3" fmla="*/ 1077 h 20035"/>
                    <a:gd name="connsiteX4" fmla="*/ 6340 w 12738"/>
                    <a:gd name="connsiteY4" fmla="*/ 299 h 20035"/>
                    <a:gd name="connsiteX5" fmla="*/ 4366 w 12738"/>
                    <a:gd name="connsiteY5" fmla="*/ 0 h 20035"/>
                    <a:gd name="connsiteX6" fmla="*/ 4306 w 12738"/>
                    <a:gd name="connsiteY6" fmla="*/ 3170 h 20035"/>
                    <a:gd name="connsiteX7" fmla="*/ 4246 w 12738"/>
                    <a:gd name="connsiteY7" fmla="*/ 6340 h 20035"/>
                    <a:gd name="connsiteX8" fmla="*/ 4187 w 12738"/>
                    <a:gd name="connsiteY8" fmla="*/ 9031 h 20035"/>
                    <a:gd name="connsiteX9" fmla="*/ 4187 w 12738"/>
                    <a:gd name="connsiteY9" fmla="*/ 9689 h 20035"/>
                    <a:gd name="connsiteX10" fmla="*/ 4187 w 12738"/>
                    <a:gd name="connsiteY10" fmla="*/ 11124 h 20035"/>
                    <a:gd name="connsiteX11" fmla="*/ 4187 w 12738"/>
                    <a:gd name="connsiteY11" fmla="*/ 11483 h 20035"/>
                    <a:gd name="connsiteX12" fmla="*/ 4187 w 12738"/>
                    <a:gd name="connsiteY12" fmla="*/ 12201 h 20035"/>
                    <a:gd name="connsiteX13" fmla="*/ 4187 w 12738"/>
                    <a:gd name="connsiteY13" fmla="*/ 12799 h 20035"/>
                    <a:gd name="connsiteX14" fmla="*/ 4187 w 12738"/>
                    <a:gd name="connsiteY14" fmla="*/ 12799 h 20035"/>
                    <a:gd name="connsiteX15" fmla="*/ 4187 w 12738"/>
                    <a:gd name="connsiteY15" fmla="*/ 12978 h 20035"/>
                    <a:gd name="connsiteX16" fmla="*/ 4187 w 12738"/>
                    <a:gd name="connsiteY16" fmla="*/ 13337 h 20035"/>
                    <a:gd name="connsiteX17" fmla="*/ 4306 w 12738"/>
                    <a:gd name="connsiteY17" fmla="*/ 13397 h 20035"/>
                    <a:gd name="connsiteX18" fmla="*/ 4725 w 12738"/>
                    <a:gd name="connsiteY18" fmla="*/ 13696 h 20035"/>
                    <a:gd name="connsiteX19" fmla="*/ 5801 w 12738"/>
                    <a:gd name="connsiteY19" fmla="*/ 14593 h 20035"/>
                    <a:gd name="connsiteX20" fmla="*/ 6100 w 12738"/>
                    <a:gd name="connsiteY20" fmla="*/ 14832 h 20035"/>
                    <a:gd name="connsiteX21" fmla="*/ 6160 w 12738"/>
                    <a:gd name="connsiteY21" fmla="*/ 14832 h 20035"/>
                    <a:gd name="connsiteX22" fmla="*/ 6519 w 12738"/>
                    <a:gd name="connsiteY22" fmla="*/ 15131 h 20035"/>
                    <a:gd name="connsiteX23" fmla="*/ 7117 w 12738"/>
                    <a:gd name="connsiteY23" fmla="*/ 15610 h 20035"/>
                    <a:gd name="connsiteX24" fmla="*/ 7237 w 12738"/>
                    <a:gd name="connsiteY24" fmla="*/ 15729 h 20035"/>
                    <a:gd name="connsiteX25" fmla="*/ 8493 w 12738"/>
                    <a:gd name="connsiteY25" fmla="*/ 16746 h 20035"/>
                    <a:gd name="connsiteX26" fmla="*/ 8493 w 12738"/>
                    <a:gd name="connsiteY26" fmla="*/ 16746 h 20035"/>
                    <a:gd name="connsiteX27" fmla="*/ 9808 w 12738"/>
                    <a:gd name="connsiteY27" fmla="*/ 17823 h 20035"/>
                    <a:gd name="connsiteX28" fmla="*/ 9330 w 12738"/>
                    <a:gd name="connsiteY28" fmla="*/ 18660 h 20035"/>
                    <a:gd name="connsiteX29" fmla="*/ 8852 w 12738"/>
                    <a:gd name="connsiteY29" fmla="*/ 19437 h 20035"/>
                    <a:gd name="connsiteX30" fmla="*/ 8493 w 12738"/>
                    <a:gd name="connsiteY30" fmla="*/ 20035 h 20035"/>
                    <a:gd name="connsiteX31" fmla="*/ 7237 w 12738"/>
                    <a:gd name="connsiteY31" fmla="*/ 19796 h 20035"/>
                    <a:gd name="connsiteX32" fmla="*/ 6818 w 12738"/>
                    <a:gd name="connsiteY32" fmla="*/ 19736 h 20035"/>
                    <a:gd name="connsiteX33" fmla="*/ 6818 w 12738"/>
                    <a:gd name="connsiteY33" fmla="*/ 19736 h 20035"/>
                    <a:gd name="connsiteX34" fmla="*/ 6579 w 12738"/>
                    <a:gd name="connsiteY34" fmla="*/ 19677 h 20035"/>
                    <a:gd name="connsiteX35" fmla="*/ 6220 w 12738"/>
                    <a:gd name="connsiteY35" fmla="*/ 19617 h 20035"/>
                    <a:gd name="connsiteX36" fmla="*/ 3290 w 12738"/>
                    <a:gd name="connsiteY36" fmla="*/ 19019 h 20035"/>
                    <a:gd name="connsiteX37" fmla="*/ 1316 w 12738"/>
                    <a:gd name="connsiteY37" fmla="*/ 18600 h 20035"/>
                    <a:gd name="connsiteX38" fmla="*/ 0 w 12738"/>
                    <a:gd name="connsiteY38" fmla="*/ 18361 h 2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738" h="20035">
                      <a:moveTo>
                        <a:pt x="12739" y="5682"/>
                      </a:moveTo>
                      <a:lnTo>
                        <a:pt x="10466" y="3768"/>
                      </a:lnTo>
                      <a:lnTo>
                        <a:pt x="9569" y="2990"/>
                      </a:lnTo>
                      <a:lnTo>
                        <a:pt x="7297" y="1077"/>
                      </a:lnTo>
                      <a:lnTo>
                        <a:pt x="6340" y="299"/>
                      </a:lnTo>
                      <a:lnTo>
                        <a:pt x="4366" y="0"/>
                      </a:lnTo>
                      <a:lnTo>
                        <a:pt x="4306" y="3170"/>
                      </a:lnTo>
                      <a:lnTo>
                        <a:pt x="4246" y="6340"/>
                      </a:lnTo>
                      <a:lnTo>
                        <a:pt x="4187" y="9031"/>
                      </a:lnTo>
                      <a:lnTo>
                        <a:pt x="4187" y="9689"/>
                      </a:lnTo>
                      <a:lnTo>
                        <a:pt x="4187" y="11124"/>
                      </a:lnTo>
                      <a:lnTo>
                        <a:pt x="4187" y="11483"/>
                      </a:lnTo>
                      <a:lnTo>
                        <a:pt x="4187" y="12201"/>
                      </a:lnTo>
                      <a:lnTo>
                        <a:pt x="4187" y="12799"/>
                      </a:lnTo>
                      <a:lnTo>
                        <a:pt x="4187" y="12799"/>
                      </a:lnTo>
                      <a:lnTo>
                        <a:pt x="4187" y="12978"/>
                      </a:lnTo>
                      <a:lnTo>
                        <a:pt x="4187" y="13337"/>
                      </a:lnTo>
                      <a:lnTo>
                        <a:pt x="4306" y="13397"/>
                      </a:lnTo>
                      <a:lnTo>
                        <a:pt x="4725" y="13696"/>
                      </a:lnTo>
                      <a:lnTo>
                        <a:pt x="5801" y="14593"/>
                      </a:lnTo>
                      <a:lnTo>
                        <a:pt x="6100" y="14832"/>
                      </a:lnTo>
                      <a:lnTo>
                        <a:pt x="6160" y="14832"/>
                      </a:lnTo>
                      <a:lnTo>
                        <a:pt x="6519" y="15131"/>
                      </a:lnTo>
                      <a:lnTo>
                        <a:pt x="7117" y="15610"/>
                      </a:lnTo>
                      <a:lnTo>
                        <a:pt x="7237" y="15729"/>
                      </a:lnTo>
                      <a:lnTo>
                        <a:pt x="8493" y="16746"/>
                      </a:lnTo>
                      <a:lnTo>
                        <a:pt x="8493" y="16746"/>
                      </a:lnTo>
                      <a:lnTo>
                        <a:pt x="9808" y="17823"/>
                      </a:lnTo>
                      <a:lnTo>
                        <a:pt x="9330" y="18660"/>
                      </a:lnTo>
                      <a:lnTo>
                        <a:pt x="8852" y="19437"/>
                      </a:lnTo>
                      <a:lnTo>
                        <a:pt x="8493" y="20035"/>
                      </a:lnTo>
                      <a:lnTo>
                        <a:pt x="7237" y="19796"/>
                      </a:lnTo>
                      <a:lnTo>
                        <a:pt x="6818" y="19736"/>
                      </a:lnTo>
                      <a:lnTo>
                        <a:pt x="6818" y="19736"/>
                      </a:lnTo>
                      <a:lnTo>
                        <a:pt x="6579" y="19677"/>
                      </a:lnTo>
                      <a:lnTo>
                        <a:pt x="6220" y="19617"/>
                      </a:lnTo>
                      <a:lnTo>
                        <a:pt x="3290" y="19019"/>
                      </a:lnTo>
                      <a:lnTo>
                        <a:pt x="1316" y="18600"/>
                      </a:lnTo>
                      <a:lnTo>
                        <a:pt x="0" y="18361"/>
                      </a:lnTo>
                    </a:path>
                  </a:pathLst>
                </a:custGeom>
                <a:noFill/>
                <a:ln w="6350" cap="rnd">
                  <a:solidFill>
                    <a:schemeClr val="bg1">
                      <a:alpha val="40000"/>
                    </a:schemeClr>
                  </a:solidFill>
                  <a:prstDash val="solid"/>
                  <a:round/>
                </a:ln>
              </p:spPr>
              <p:txBody>
                <a:bodyPr rtlCol="0" anchor="ctr"/>
                <a:lstStyle/>
                <a:p>
                  <a:endParaRPr lang="en-GB"/>
                </a:p>
              </p:txBody>
            </p:sp>
            <p:sp>
              <p:nvSpPr>
                <p:cNvPr id="5738" name="Vrije vorm: vorm 5737">
                  <a:extLst>
                    <a:ext uri="{FF2B5EF4-FFF2-40B4-BE49-F238E27FC236}">
                      <a16:creationId xmlns:a16="http://schemas.microsoft.com/office/drawing/2014/main" id="{859EAF86-ADFA-415D-9CA9-6EBFB2A1335D}"/>
                    </a:ext>
                  </a:extLst>
                </p:cNvPr>
                <p:cNvSpPr/>
                <p:nvPr/>
              </p:nvSpPr>
              <p:spPr>
                <a:xfrm>
                  <a:off x="6509617" y="1527935"/>
                  <a:ext cx="2093" cy="13037"/>
                </a:xfrm>
                <a:custGeom>
                  <a:avLst/>
                  <a:gdLst>
                    <a:gd name="connsiteX0" fmla="*/ 0 w 2093"/>
                    <a:gd name="connsiteY0" fmla="*/ 13038 h 13037"/>
                    <a:gd name="connsiteX1" fmla="*/ 120 w 2093"/>
                    <a:gd name="connsiteY1" fmla="*/ 12799 h 13037"/>
                    <a:gd name="connsiteX2" fmla="*/ 180 w 2093"/>
                    <a:gd name="connsiteY2" fmla="*/ 12679 h 13037"/>
                    <a:gd name="connsiteX3" fmla="*/ 1615 w 2093"/>
                    <a:gd name="connsiteY3" fmla="*/ 10287 h 13037"/>
                    <a:gd name="connsiteX4" fmla="*/ 1735 w 2093"/>
                    <a:gd name="connsiteY4" fmla="*/ 10107 h 13037"/>
                    <a:gd name="connsiteX5" fmla="*/ 1735 w 2093"/>
                    <a:gd name="connsiteY5" fmla="*/ 9689 h 13037"/>
                    <a:gd name="connsiteX6" fmla="*/ 1795 w 2093"/>
                    <a:gd name="connsiteY6" fmla="*/ 7715 h 13037"/>
                    <a:gd name="connsiteX7" fmla="*/ 1854 w 2093"/>
                    <a:gd name="connsiteY7" fmla="*/ 5562 h 13037"/>
                    <a:gd name="connsiteX8" fmla="*/ 1974 w 2093"/>
                    <a:gd name="connsiteY8" fmla="*/ 2392 h 13037"/>
                    <a:gd name="connsiteX9" fmla="*/ 2093 w 2093"/>
                    <a:gd name="connsiteY9" fmla="*/ 0 h 1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3" h="13037">
                      <a:moveTo>
                        <a:pt x="0" y="13038"/>
                      </a:moveTo>
                      <a:lnTo>
                        <a:pt x="120" y="12799"/>
                      </a:lnTo>
                      <a:lnTo>
                        <a:pt x="180" y="12679"/>
                      </a:lnTo>
                      <a:lnTo>
                        <a:pt x="1615" y="10287"/>
                      </a:lnTo>
                      <a:lnTo>
                        <a:pt x="1735" y="10107"/>
                      </a:lnTo>
                      <a:lnTo>
                        <a:pt x="1735" y="9689"/>
                      </a:lnTo>
                      <a:lnTo>
                        <a:pt x="1795" y="7715"/>
                      </a:lnTo>
                      <a:lnTo>
                        <a:pt x="1854" y="5562"/>
                      </a:lnTo>
                      <a:lnTo>
                        <a:pt x="1974" y="2392"/>
                      </a:lnTo>
                      <a:lnTo>
                        <a:pt x="2093" y="0"/>
                      </a:lnTo>
                    </a:path>
                  </a:pathLst>
                </a:custGeom>
                <a:noFill/>
                <a:ln w="6350" cap="rnd">
                  <a:solidFill>
                    <a:schemeClr val="bg1">
                      <a:alpha val="40000"/>
                    </a:schemeClr>
                  </a:solidFill>
                  <a:prstDash val="solid"/>
                  <a:round/>
                </a:ln>
              </p:spPr>
              <p:txBody>
                <a:bodyPr rtlCol="0" anchor="ctr"/>
                <a:lstStyle/>
                <a:p>
                  <a:endParaRPr lang="en-GB"/>
                </a:p>
              </p:txBody>
            </p:sp>
            <p:sp>
              <p:nvSpPr>
                <p:cNvPr id="5739" name="Vrije vorm: vorm 5738">
                  <a:extLst>
                    <a:ext uri="{FF2B5EF4-FFF2-40B4-BE49-F238E27FC236}">
                      <a16:creationId xmlns:a16="http://schemas.microsoft.com/office/drawing/2014/main" id="{3EBF51BE-A642-44B4-A14C-70DFE4F22567}"/>
                    </a:ext>
                  </a:extLst>
                </p:cNvPr>
                <p:cNvSpPr/>
                <p:nvPr/>
              </p:nvSpPr>
              <p:spPr>
                <a:xfrm>
                  <a:off x="6519664" y="1611366"/>
                  <a:ext cx="10705" cy="20334"/>
                </a:xfrm>
                <a:custGeom>
                  <a:avLst/>
                  <a:gdLst>
                    <a:gd name="connsiteX0" fmla="*/ 718 w 10705"/>
                    <a:gd name="connsiteY0" fmla="*/ 0 h 20334"/>
                    <a:gd name="connsiteX1" fmla="*/ 3110 w 10705"/>
                    <a:gd name="connsiteY1" fmla="*/ 1734 h 20334"/>
                    <a:gd name="connsiteX2" fmla="*/ 3828 w 10705"/>
                    <a:gd name="connsiteY2" fmla="*/ 2273 h 20334"/>
                    <a:gd name="connsiteX3" fmla="*/ 3828 w 10705"/>
                    <a:gd name="connsiteY3" fmla="*/ 2273 h 20334"/>
                    <a:gd name="connsiteX4" fmla="*/ 6220 w 10705"/>
                    <a:gd name="connsiteY4" fmla="*/ 4007 h 20334"/>
                    <a:gd name="connsiteX5" fmla="*/ 6579 w 10705"/>
                    <a:gd name="connsiteY5" fmla="*/ 4246 h 20334"/>
                    <a:gd name="connsiteX6" fmla="*/ 6579 w 10705"/>
                    <a:gd name="connsiteY6" fmla="*/ 4246 h 20334"/>
                    <a:gd name="connsiteX7" fmla="*/ 8134 w 10705"/>
                    <a:gd name="connsiteY7" fmla="*/ 5383 h 20334"/>
                    <a:gd name="connsiteX8" fmla="*/ 8134 w 10705"/>
                    <a:gd name="connsiteY8" fmla="*/ 5383 h 20334"/>
                    <a:gd name="connsiteX9" fmla="*/ 10526 w 10705"/>
                    <a:gd name="connsiteY9" fmla="*/ 7117 h 20334"/>
                    <a:gd name="connsiteX10" fmla="*/ 10706 w 10705"/>
                    <a:gd name="connsiteY10" fmla="*/ 7237 h 20334"/>
                    <a:gd name="connsiteX11" fmla="*/ 9031 w 10705"/>
                    <a:gd name="connsiteY11" fmla="*/ 10048 h 20334"/>
                    <a:gd name="connsiteX12" fmla="*/ 7357 w 10705"/>
                    <a:gd name="connsiteY12" fmla="*/ 12859 h 20334"/>
                    <a:gd name="connsiteX13" fmla="*/ 5682 w 10705"/>
                    <a:gd name="connsiteY13" fmla="*/ 15669 h 20334"/>
                    <a:gd name="connsiteX14" fmla="*/ 4007 w 10705"/>
                    <a:gd name="connsiteY14" fmla="*/ 18480 h 20334"/>
                    <a:gd name="connsiteX15" fmla="*/ 2931 w 10705"/>
                    <a:gd name="connsiteY15" fmla="*/ 20334 h 20334"/>
                    <a:gd name="connsiteX16" fmla="*/ 180 w 10705"/>
                    <a:gd name="connsiteY16" fmla="*/ 19198 h 20334"/>
                    <a:gd name="connsiteX17" fmla="*/ 0 w 10705"/>
                    <a:gd name="connsiteY17" fmla="*/ 19138 h 2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05" h="20334">
                      <a:moveTo>
                        <a:pt x="718" y="0"/>
                      </a:moveTo>
                      <a:lnTo>
                        <a:pt x="3110" y="1734"/>
                      </a:lnTo>
                      <a:lnTo>
                        <a:pt x="3828" y="2273"/>
                      </a:lnTo>
                      <a:lnTo>
                        <a:pt x="3828" y="2273"/>
                      </a:lnTo>
                      <a:lnTo>
                        <a:pt x="6220" y="4007"/>
                      </a:lnTo>
                      <a:lnTo>
                        <a:pt x="6579" y="4246"/>
                      </a:lnTo>
                      <a:lnTo>
                        <a:pt x="6579" y="4246"/>
                      </a:lnTo>
                      <a:lnTo>
                        <a:pt x="8134" y="5383"/>
                      </a:lnTo>
                      <a:lnTo>
                        <a:pt x="8134" y="5383"/>
                      </a:lnTo>
                      <a:lnTo>
                        <a:pt x="10526" y="7117"/>
                      </a:lnTo>
                      <a:lnTo>
                        <a:pt x="10706" y="7237"/>
                      </a:lnTo>
                      <a:lnTo>
                        <a:pt x="9031" y="10048"/>
                      </a:lnTo>
                      <a:lnTo>
                        <a:pt x="7357" y="12859"/>
                      </a:lnTo>
                      <a:lnTo>
                        <a:pt x="5682" y="15669"/>
                      </a:lnTo>
                      <a:lnTo>
                        <a:pt x="4007" y="18480"/>
                      </a:lnTo>
                      <a:lnTo>
                        <a:pt x="2931" y="20334"/>
                      </a:lnTo>
                      <a:lnTo>
                        <a:pt x="180" y="19198"/>
                      </a:lnTo>
                      <a:lnTo>
                        <a:pt x="0" y="19138"/>
                      </a:lnTo>
                    </a:path>
                  </a:pathLst>
                </a:custGeom>
                <a:noFill/>
                <a:ln w="6350" cap="rnd">
                  <a:solidFill>
                    <a:schemeClr val="bg1">
                      <a:alpha val="40000"/>
                    </a:schemeClr>
                  </a:solidFill>
                  <a:prstDash val="solid"/>
                  <a:round/>
                </a:ln>
              </p:spPr>
              <p:txBody>
                <a:bodyPr rtlCol="0" anchor="ctr"/>
                <a:lstStyle/>
                <a:p>
                  <a:endParaRPr lang="en-GB"/>
                </a:p>
              </p:txBody>
            </p:sp>
            <p:sp>
              <p:nvSpPr>
                <p:cNvPr id="5740" name="Vrije vorm: vorm 5739">
                  <a:extLst>
                    <a:ext uri="{FF2B5EF4-FFF2-40B4-BE49-F238E27FC236}">
                      <a16:creationId xmlns:a16="http://schemas.microsoft.com/office/drawing/2014/main" id="{3DCBAB5B-488C-4CDC-A472-E4FB1B4E4053}"/>
                    </a:ext>
                  </a:extLst>
                </p:cNvPr>
                <p:cNvSpPr/>
                <p:nvPr/>
              </p:nvSpPr>
              <p:spPr>
                <a:xfrm>
                  <a:off x="6531386" y="1612203"/>
                  <a:ext cx="4485" cy="5920"/>
                </a:xfrm>
                <a:custGeom>
                  <a:avLst/>
                  <a:gdLst>
                    <a:gd name="connsiteX0" fmla="*/ 3110 w 4485"/>
                    <a:gd name="connsiteY0" fmla="*/ 0 h 5920"/>
                    <a:gd name="connsiteX1" fmla="*/ 4486 w 4485"/>
                    <a:gd name="connsiteY1" fmla="*/ 1017 h 5920"/>
                    <a:gd name="connsiteX2" fmla="*/ 2811 w 4485"/>
                    <a:gd name="connsiteY2" fmla="*/ 3828 h 5920"/>
                    <a:gd name="connsiteX3" fmla="*/ 1615 w 4485"/>
                    <a:gd name="connsiteY3" fmla="*/ 5921 h 5920"/>
                    <a:gd name="connsiteX4" fmla="*/ 0 w 4485"/>
                    <a:gd name="connsiteY4" fmla="*/ 5323 h 5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5" h="5920">
                      <a:moveTo>
                        <a:pt x="3110" y="0"/>
                      </a:moveTo>
                      <a:lnTo>
                        <a:pt x="4486" y="1017"/>
                      </a:lnTo>
                      <a:lnTo>
                        <a:pt x="2811" y="3828"/>
                      </a:lnTo>
                      <a:lnTo>
                        <a:pt x="1615" y="5921"/>
                      </a:lnTo>
                      <a:lnTo>
                        <a:pt x="0" y="5323"/>
                      </a:lnTo>
                    </a:path>
                  </a:pathLst>
                </a:custGeom>
                <a:noFill/>
                <a:ln w="6350" cap="rnd">
                  <a:solidFill>
                    <a:schemeClr val="bg1">
                      <a:alpha val="40000"/>
                    </a:schemeClr>
                  </a:solidFill>
                  <a:prstDash val="solid"/>
                  <a:round/>
                </a:ln>
              </p:spPr>
              <p:txBody>
                <a:bodyPr rtlCol="0" anchor="ctr"/>
                <a:lstStyle/>
                <a:p>
                  <a:endParaRPr lang="en-GB"/>
                </a:p>
              </p:txBody>
            </p:sp>
            <p:sp>
              <p:nvSpPr>
                <p:cNvPr id="5741" name="Vrije vorm: vorm 5740">
                  <a:extLst>
                    <a:ext uri="{FF2B5EF4-FFF2-40B4-BE49-F238E27FC236}">
                      <a16:creationId xmlns:a16="http://schemas.microsoft.com/office/drawing/2014/main" id="{E30260D3-E87A-4A79-AEB4-354CD5A63C34}"/>
                    </a:ext>
                  </a:extLst>
                </p:cNvPr>
                <p:cNvSpPr/>
                <p:nvPr/>
              </p:nvSpPr>
              <p:spPr>
                <a:xfrm>
                  <a:off x="6531626" y="1617048"/>
                  <a:ext cx="1375" cy="1016"/>
                </a:xfrm>
                <a:custGeom>
                  <a:avLst/>
                  <a:gdLst>
                    <a:gd name="connsiteX0" fmla="*/ 1376 w 1375"/>
                    <a:gd name="connsiteY0" fmla="*/ 1017 h 1016"/>
                    <a:gd name="connsiteX1" fmla="*/ 0 w 1375"/>
                    <a:gd name="connsiteY1" fmla="*/ 0 h 1016"/>
                  </a:gdLst>
                  <a:ahLst/>
                  <a:cxnLst>
                    <a:cxn ang="0">
                      <a:pos x="connsiteX0" y="connsiteY0"/>
                    </a:cxn>
                    <a:cxn ang="0">
                      <a:pos x="connsiteX1" y="connsiteY1"/>
                    </a:cxn>
                  </a:cxnLst>
                  <a:rect l="l" t="t" r="r" b="b"/>
                  <a:pathLst>
                    <a:path w="1375" h="1016">
                      <a:moveTo>
                        <a:pt x="1376" y="1017"/>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42" name="Vrije vorm: vorm 5741">
                  <a:extLst>
                    <a:ext uri="{FF2B5EF4-FFF2-40B4-BE49-F238E27FC236}">
                      <a16:creationId xmlns:a16="http://schemas.microsoft.com/office/drawing/2014/main" id="{6F46B4B9-F3BF-4E56-8589-EF9E0E89278B}"/>
                    </a:ext>
                  </a:extLst>
                </p:cNvPr>
                <p:cNvSpPr/>
                <p:nvPr/>
              </p:nvSpPr>
              <p:spPr>
                <a:xfrm>
                  <a:off x="6541075" y="1596295"/>
                  <a:ext cx="4126" cy="5263"/>
                </a:xfrm>
                <a:custGeom>
                  <a:avLst/>
                  <a:gdLst>
                    <a:gd name="connsiteX0" fmla="*/ 2811 w 4126"/>
                    <a:gd name="connsiteY0" fmla="*/ 0 h 5263"/>
                    <a:gd name="connsiteX1" fmla="*/ 4127 w 4126"/>
                    <a:gd name="connsiteY1" fmla="*/ 1017 h 5263"/>
                    <a:gd name="connsiteX2" fmla="*/ 2452 w 4126"/>
                    <a:gd name="connsiteY2" fmla="*/ 3828 h 5263"/>
                    <a:gd name="connsiteX3" fmla="*/ 1615 w 4126"/>
                    <a:gd name="connsiteY3" fmla="*/ 5263 h 5263"/>
                    <a:gd name="connsiteX4" fmla="*/ 0 w 4126"/>
                    <a:gd name="connsiteY4" fmla="*/ 4725 h 5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6" h="5263">
                      <a:moveTo>
                        <a:pt x="2811" y="0"/>
                      </a:moveTo>
                      <a:lnTo>
                        <a:pt x="4127" y="1017"/>
                      </a:lnTo>
                      <a:lnTo>
                        <a:pt x="2452" y="3828"/>
                      </a:lnTo>
                      <a:lnTo>
                        <a:pt x="1615" y="5263"/>
                      </a:lnTo>
                      <a:lnTo>
                        <a:pt x="0" y="4725"/>
                      </a:lnTo>
                    </a:path>
                  </a:pathLst>
                </a:custGeom>
                <a:noFill/>
                <a:ln w="6350" cap="rnd">
                  <a:solidFill>
                    <a:schemeClr val="bg1">
                      <a:alpha val="40000"/>
                    </a:schemeClr>
                  </a:solidFill>
                  <a:prstDash val="solid"/>
                  <a:round/>
                </a:ln>
              </p:spPr>
              <p:txBody>
                <a:bodyPr rtlCol="0" anchor="ctr"/>
                <a:lstStyle/>
                <a:p>
                  <a:endParaRPr lang="en-GB"/>
                </a:p>
              </p:txBody>
            </p:sp>
            <p:sp>
              <p:nvSpPr>
                <p:cNvPr id="5743" name="Vrije vorm: vorm 5742">
                  <a:extLst>
                    <a:ext uri="{FF2B5EF4-FFF2-40B4-BE49-F238E27FC236}">
                      <a16:creationId xmlns:a16="http://schemas.microsoft.com/office/drawing/2014/main" id="{63E34A6C-20B5-4C60-BE22-0AF628E40A62}"/>
                    </a:ext>
                  </a:extLst>
                </p:cNvPr>
                <p:cNvSpPr/>
                <p:nvPr/>
              </p:nvSpPr>
              <p:spPr>
                <a:xfrm>
                  <a:off x="6503756" y="1608675"/>
                  <a:ext cx="16028" cy="21829"/>
                </a:xfrm>
                <a:custGeom>
                  <a:avLst/>
                  <a:gdLst>
                    <a:gd name="connsiteX0" fmla="*/ 0 w 16028"/>
                    <a:gd name="connsiteY0" fmla="*/ 0 h 21829"/>
                    <a:gd name="connsiteX1" fmla="*/ 1316 w 16028"/>
                    <a:gd name="connsiteY1" fmla="*/ 897 h 21829"/>
                    <a:gd name="connsiteX2" fmla="*/ 3708 w 16028"/>
                    <a:gd name="connsiteY2" fmla="*/ 2632 h 21829"/>
                    <a:gd name="connsiteX3" fmla="*/ 3768 w 16028"/>
                    <a:gd name="connsiteY3" fmla="*/ 2691 h 21829"/>
                    <a:gd name="connsiteX4" fmla="*/ 3828 w 16028"/>
                    <a:gd name="connsiteY4" fmla="*/ 2751 h 21829"/>
                    <a:gd name="connsiteX5" fmla="*/ 6220 w 16028"/>
                    <a:gd name="connsiteY5" fmla="*/ 4486 h 21829"/>
                    <a:gd name="connsiteX6" fmla="*/ 8194 w 16028"/>
                    <a:gd name="connsiteY6" fmla="*/ 5861 h 21829"/>
                    <a:gd name="connsiteX7" fmla="*/ 8433 w 16028"/>
                    <a:gd name="connsiteY7" fmla="*/ 9031 h 21829"/>
                    <a:gd name="connsiteX8" fmla="*/ 8672 w 16028"/>
                    <a:gd name="connsiteY8" fmla="*/ 12201 h 21829"/>
                    <a:gd name="connsiteX9" fmla="*/ 8911 w 16028"/>
                    <a:gd name="connsiteY9" fmla="*/ 15370 h 21829"/>
                    <a:gd name="connsiteX10" fmla="*/ 9031 w 16028"/>
                    <a:gd name="connsiteY10" fmla="*/ 17045 h 21829"/>
                    <a:gd name="connsiteX11" fmla="*/ 11483 w 16028"/>
                    <a:gd name="connsiteY11" fmla="*/ 18720 h 21829"/>
                    <a:gd name="connsiteX12" fmla="*/ 13935 w 16028"/>
                    <a:gd name="connsiteY12" fmla="*/ 20394 h 21829"/>
                    <a:gd name="connsiteX13" fmla="*/ 16028 w 16028"/>
                    <a:gd name="connsiteY13" fmla="*/ 21830 h 2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28" h="21829">
                      <a:moveTo>
                        <a:pt x="0" y="0"/>
                      </a:moveTo>
                      <a:lnTo>
                        <a:pt x="1316" y="897"/>
                      </a:lnTo>
                      <a:lnTo>
                        <a:pt x="3708" y="2632"/>
                      </a:lnTo>
                      <a:lnTo>
                        <a:pt x="3768" y="2691"/>
                      </a:lnTo>
                      <a:lnTo>
                        <a:pt x="3828" y="2751"/>
                      </a:lnTo>
                      <a:lnTo>
                        <a:pt x="6220" y="4486"/>
                      </a:lnTo>
                      <a:lnTo>
                        <a:pt x="8194" y="5861"/>
                      </a:lnTo>
                      <a:lnTo>
                        <a:pt x="8433" y="9031"/>
                      </a:lnTo>
                      <a:lnTo>
                        <a:pt x="8672" y="12201"/>
                      </a:lnTo>
                      <a:lnTo>
                        <a:pt x="8911" y="15370"/>
                      </a:lnTo>
                      <a:lnTo>
                        <a:pt x="9031" y="17045"/>
                      </a:lnTo>
                      <a:lnTo>
                        <a:pt x="11483" y="18720"/>
                      </a:lnTo>
                      <a:lnTo>
                        <a:pt x="13935" y="20394"/>
                      </a:lnTo>
                      <a:lnTo>
                        <a:pt x="16028" y="21830"/>
                      </a:lnTo>
                    </a:path>
                  </a:pathLst>
                </a:custGeom>
                <a:noFill/>
                <a:ln w="6350" cap="rnd">
                  <a:solidFill>
                    <a:schemeClr val="bg1">
                      <a:alpha val="40000"/>
                    </a:schemeClr>
                  </a:solidFill>
                  <a:prstDash val="solid"/>
                  <a:round/>
                </a:ln>
              </p:spPr>
              <p:txBody>
                <a:bodyPr rtlCol="0" anchor="ctr"/>
                <a:lstStyle/>
                <a:p>
                  <a:endParaRPr lang="en-GB"/>
                </a:p>
              </p:txBody>
            </p:sp>
            <p:sp>
              <p:nvSpPr>
                <p:cNvPr id="5744" name="Vrije vorm: vorm 5743">
                  <a:extLst>
                    <a:ext uri="{FF2B5EF4-FFF2-40B4-BE49-F238E27FC236}">
                      <a16:creationId xmlns:a16="http://schemas.microsoft.com/office/drawing/2014/main" id="{59368ADD-48F7-426A-9FBB-534F6FD66961}"/>
                    </a:ext>
                  </a:extLst>
                </p:cNvPr>
                <p:cNvSpPr/>
                <p:nvPr/>
              </p:nvSpPr>
              <p:spPr>
                <a:xfrm>
                  <a:off x="6503457" y="1607419"/>
                  <a:ext cx="19197" cy="24401"/>
                </a:xfrm>
                <a:custGeom>
                  <a:avLst/>
                  <a:gdLst>
                    <a:gd name="connsiteX0" fmla="*/ 0 w 19197"/>
                    <a:gd name="connsiteY0" fmla="*/ 0 h 24401"/>
                    <a:gd name="connsiteX1" fmla="*/ 2273 w 19197"/>
                    <a:gd name="connsiteY1" fmla="*/ 1615 h 24401"/>
                    <a:gd name="connsiteX2" fmla="*/ 4486 w 19197"/>
                    <a:gd name="connsiteY2" fmla="*/ 3230 h 24401"/>
                    <a:gd name="connsiteX3" fmla="*/ 4785 w 19197"/>
                    <a:gd name="connsiteY3" fmla="*/ 3469 h 24401"/>
                    <a:gd name="connsiteX4" fmla="*/ 7177 w 19197"/>
                    <a:gd name="connsiteY4" fmla="*/ 5203 h 24401"/>
                    <a:gd name="connsiteX5" fmla="*/ 9569 w 19197"/>
                    <a:gd name="connsiteY5" fmla="*/ 6938 h 24401"/>
                    <a:gd name="connsiteX6" fmla="*/ 11363 w 19197"/>
                    <a:gd name="connsiteY6" fmla="*/ 8253 h 24401"/>
                    <a:gd name="connsiteX7" fmla="*/ 11603 w 19197"/>
                    <a:gd name="connsiteY7" fmla="*/ 11423 h 24401"/>
                    <a:gd name="connsiteX8" fmla="*/ 11842 w 19197"/>
                    <a:gd name="connsiteY8" fmla="*/ 14593 h 24401"/>
                    <a:gd name="connsiteX9" fmla="*/ 12081 w 19197"/>
                    <a:gd name="connsiteY9" fmla="*/ 17763 h 24401"/>
                    <a:gd name="connsiteX10" fmla="*/ 12201 w 19197"/>
                    <a:gd name="connsiteY10" fmla="*/ 19557 h 24401"/>
                    <a:gd name="connsiteX11" fmla="*/ 14653 w 19197"/>
                    <a:gd name="connsiteY11" fmla="*/ 21232 h 24401"/>
                    <a:gd name="connsiteX12" fmla="*/ 16566 w 19197"/>
                    <a:gd name="connsiteY12" fmla="*/ 22607 h 24401"/>
                    <a:gd name="connsiteX13" fmla="*/ 16566 w 19197"/>
                    <a:gd name="connsiteY13" fmla="*/ 22607 h 24401"/>
                    <a:gd name="connsiteX14" fmla="*/ 19019 w 19197"/>
                    <a:gd name="connsiteY14" fmla="*/ 24282 h 24401"/>
                    <a:gd name="connsiteX15" fmla="*/ 19198 w 19197"/>
                    <a:gd name="connsiteY15" fmla="*/ 24401 h 2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197" h="24401">
                      <a:moveTo>
                        <a:pt x="0" y="0"/>
                      </a:moveTo>
                      <a:lnTo>
                        <a:pt x="2273" y="1615"/>
                      </a:lnTo>
                      <a:lnTo>
                        <a:pt x="4486" y="3230"/>
                      </a:lnTo>
                      <a:lnTo>
                        <a:pt x="4785" y="3469"/>
                      </a:lnTo>
                      <a:lnTo>
                        <a:pt x="7177" y="5203"/>
                      </a:lnTo>
                      <a:lnTo>
                        <a:pt x="9569" y="6938"/>
                      </a:lnTo>
                      <a:lnTo>
                        <a:pt x="11363" y="8253"/>
                      </a:lnTo>
                      <a:lnTo>
                        <a:pt x="11603" y="11423"/>
                      </a:lnTo>
                      <a:lnTo>
                        <a:pt x="11842" y="14593"/>
                      </a:lnTo>
                      <a:lnTo>
                        <a:pt x="12081" y="17763"/>
                      </a:lnTo>
                      <a:lnTo>
                        <a:pt x="12201" y="19557"/>
                      </a:lnTo>
                      <a:lnTo>
                        <a:pt x="14653" y="21232"/>
                      </a:lnTo>
                      <a:lnTo>
                        <a:pt x="16566" y="22607"/>
                      </a:lnTo>
                      <a:lnTo>
                        <a:pt x="16566" y="22607"/>
                      </a:lnTo>
                      <a:lnTo>
                        <a:pt x="19019" y="24282"/>
                      </a:lnTo>
                      <a:lnTo>
                        <a:pt x="19198" y="24401"/>
                      </a:lnTo>
                    </a:path>
                  </a:pathLst>
                </a:custGeom>
                <a:noFill/>
                <a:ln w="6350" cap="rnd">
                  <a:solidFill>
                    <a:schemeClr val="bg1">
                      <a:alpha val="40000"/>
                    </a:schemeClr>
                  </a:solidFill>
                  <a:prstDash val="solid"/>
                  <a:round/>
                </a:ln>
              </p:spPr>
              <p:txBody>
                <a:bodyPr rtlCol="0" anchor="ctr"/>
                <a:lstStyle/>
                <a:p>
                  <a:endParaRPr lang="en-GB"/>
                </a:p>
              </p:txBody>
            </p:sp>
            <p:sp>
              <p:nvSpPr>
                <p:cNvPr id="5745" name="Vrije vorm: vorm 5744">
                  <a:extLst>
                    <a:ext uri="{FF2B5EF4-FFF2-40B4-BE49-F238E27FC236}">
                      <a16:creationId xmlns:a16="http://schemas.microsoft.com/office/drawing/2014/main" id="{AF077D15-6EDA-4710-A8CA-68DD6E0B630E}"/>
                    </a:ext>
                  </a:extLst>
                </p:cNvPr>
                <p:cNvSpPr/>
                <p:nvPr/>
              </p:nvSpPr>
              <p:spPr>
                <a:xfrm>
                  <a:off x="6541374" y="1600541"/>
                  <a:ext cx="1315" cy="1016"/>
                </a:xfrm>
                <a:custGeom>
                  <a:avLst/>
                  <a:gdLst>
                    <a:gd name="connsiteX0" fmla="*/ 1316 w 1315"/>
                    <a:gd name="connsiteY0" fmla="*/ 1017 h 1016"/>
                    <a:gd name="connsiteX1" fmla="*/ 0 w 1315"/>
                    <a:gd name="connsiteY1" fmla="*/ 0 h 1016"/>
                  </a:gdLst>
                  <a:ahLst/>
                  <a:cxnLst>
                    <a:cxn ang="0">
                      <a:pos x="connsiteX0" y="connsiteY0"/>
                    </a:cxn>
                    <a:cxn ang="0">
                      <a:pos x="connsiteX1" y="connsiteY1"/>
                    </a:cxn>
                  </a:cxnLst>
                  <a:rect l="l" t="t" r="r" b="b"/>
                  <a:pathLst>
                    <a:path w="1315" h="1016">
                      <a:moveTo>
                        <a:pt x="1316" y="1017"/>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46" name="Vrije vorm: vorm 5745">
                  <a:extLst>
                    <a:ext uri="{FF2B5EF4-FFF2-40B4-BE49-F238E27FC236}">
                      <a16:creationId xmlns:a16="http://schemas.microsoft.com/office/drawing/2014/main" id="{44B04D4E-B7E8-49D2-AEBE-B64F608B0AB8}"/>
                    </a:ext>
                  </a:extLst>
                </p:cNvPr>
                <p:cNvSpPr/>
                <p:nvPr/>
              </p:nvSpPr>
              <p:spPr>
                <a:xfrm>
                  <a:off x="6502679" y="1600362"/>
                  <a:ext cx="10466" cy="9808"/>
                </a:xfrm>
                <a:custGeom>
                  <a:avLst/>
                  <a:gdLst>
                    <a:gd name="connsiteX0" fmla="*/ 7536 w 10466"/>
                    <a:gd name="connsiteY0" fmla="*/ 9569 h 9808"/>
                    <a:gd name="connsiteX1" fmla="*/ 8253 w 10466"/>
                    <a:gd name="connsiteY1" fmla="*/ 9808 h 9808"/>
                    <a:gd name="connsiteX2" fmla="*/ 9928 w 10466"/>
                    <a:gd name="connsiteY2" fmla="*/ 6997 h 9808"/>
                    <a:gd name="connsiteX3" fmla="*/ 10466 w 10466"/>
                    <a:gd name="connsiteY3" fmla="*/ 6040 h 9808"/>
                    <a:gd name="connsiteX4" fmla="*/ 8672 w 10466"/>
                    <a:gd name="connsiteY4" fmla="*/ 4725 h 9808"/>
                    <a:gd name="connsiteX5" fmla="*/ 8552 w 10466"/>
                    <a:gd name="connsiteY5" fmla="*/ 4605 h 9808"/>
                    <a:gd name="connsiteX6" fmla="*/ 8074 w 10466"/>
                    <a:gd name="connsiteY6" fmla="*/ 4246 h 9808"/>
                    <a:gd name="connsiteX7" fmla="*/ 7596 w 10466"/>
                    <a:gd name="connsiteY7" fmla="*/ 3887 h 9808"/>
                    <a:gd name="connsiteX8" fmla="*/ 6220 w 10466"/>
                    <a:gd name="connsiteY8" fmla="*/ 2871 h 9808"/>
                    <a:gd name="connsiteX9" fmla="*/ 6160 w 10466"/>
                    <a:gd name="connsiteY9" fmla="*/ 2811 h 9808"/>
                    <a:gd name="connsiteX10" fmla="*/ 3768 w 10466"/>
                    <a:gd name="connsiteY10" fmla="*/ 1076 h 9808"/>
                    <a:gd name="connsiteX11" fmla="*/ 3708 w 10466"/>
                    <a:gd name="connsiteY11" fmla="*/ 1017 h 9808"/>
                    <a:gd name="connsiteX12" fmla="*/ 2751 w 10466"/>
                    <a:gd name="connsiteY12" fmla="*/ 299 h 9808"/>
                    <a:gd name="connsiteX13" fmla="*/ 2632 w 10466"/>
                    <a:gd name="connsiteY13" fmla="*/ 239 h 9808"/>
                    <a:gd name="connsiteX14" fmla="*/ 2033 w 10466"/>
                    <a:gd name="connsiteY14" fmla="*/ 0 h 9808"/>
                    <a:gd name="connsiteX15" fmla="*/ 359 w 10466"/>
                    <a:gd name="connsiteY15" fmla="*/ 2811 h 9808"/>
                    <a:gd name="connsiteX16" fmla="*/ 0 w 10466"/>
                    <a:gd name="connsiteY16" fmla="*/ 3469 h 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66" h="9808">
                      <a:moveTo>
                        <a:pt x="7536" y="9569"/>
                      </a:moveTo>
                      <a:lnTo>
                        <a:pt x="8253" y="9808"/>
                      </a:lnTo>
                      <a:lnTo>
                        <a:pt x="9928" y="6997"/>
                      </a:lnTo>
                      <a:lnTo>
                        <a:pt x="10466" y="6040"/>
                      </a:lnTo>
                      <a:lnTo>
                        <a:pt x="8672" y="4725"/>
                      </a:lnTo>
                      <a:lnTo>
                        <a:pt x="8552" y="4605"/>
                      </a:lnTo>
                      <a:lnTo>
                        <a:pt x="8074" y="4246"/>
                      </a:lnTo>
                      <a:lnTo>
                        <a:pt x="7596" y="3887"/>
                      </a:lnTo>
                      <a:lnTo>
                        <a:pt x="6220" y="2871"/>
                      </a:lnTo>
                      <a:lnTo>
                        <a:pt x="6160" y="2811"/>
                      </a:lnTo>
                      <a:lnTo>
                        <a:pt x="3768" y="1076"/>
                      </a:lnTo>
                      <a:lnTo>
                        <a:pt x="3708" y="1017"/>
                      </a:lnTo>
                      <a:lnTo>
                        <a:pt x="2751" y="299"/>
                      </a:lnTo>
                      <a:lnTo>
                        <a:pt x="2632" y="239"/>
                      </a:lnTo>
                      <a:lnTo>
                        <a:pt x="2033" y="0"/>
                      </a:lnTo>
                      <a:lnTo>
                        <a:pt x="359" y="2811"/>
                      </a:lnTo>
                      <a:lnTo>
                        <a:pt x="0" y="3469"/>
                      </a:lnTo>
                    </a:path>
                  </a:pathLst>
                </a:custGeom>
                <a:noFill/>
                <a:ln w="6350" cap="rnd">
                  <a:solidFill>
                    <a:schemeClr val="bg1">
                      <a:alpha val="40000"/>
                    </a:schemeClr>
                  </a:solidFill>
                  <a:prstDash val="solid"/>
                  <a:round/>
                </a:ln>
              </p:spPr>
              <p:txBody>
                <a:bodyPr rtlCol="0" anchor="ctr"/>
                <a:lstStyle/>
                <a:p>
                  <a:endParaRPr lang="en-GB"/>
                </a:p>
              </p:txBody>
            </p:sp>
            <p:sp>
              <p:nvSpPr>
                <p:cNvPr id="5747" name="Vrije vorm: vorm 5746">
                  <a:extLst>
                    <a:ext uri="{FF2B5EF4-FFF2-40B4-BE49-F238E27FC236}">
                      <a16:creationId xmlns:a16="http://schemas.microsoft.com/office/drawing/2014/main" id="{EC896AF0-B533-485F-BD30-C68A7A506EA9}"/>
                    </a:ext>
                  </a:extLst>
                </p:cNvPr>
                <p:cNvSpPr/>
                <p:nvPr/>
              </p:nvSpPr>
              <p:spPr>
                <a:xfrm>
                  <a:off x="6505968" y="1594919"/>
                  <a:ext cx="11064" cy="10466"/>
                </a:xfrm>
                <a:custGeom>
                  <a:avLst/>
                  <a:gdLst>
                    <a:gd name="connsiteX0" fmla="*/ 0 w 11064"/>
                    <a:gd name="connsiteY0" fmla="*/ 4605 h 10466"/>
                    <a:gd name="connsiteX1" fmla="*/ 0 w 11064"/>
                    <a:gd name="connsiteY1" fmla="*/ 4605 h 10466"/>
                    <a:gd name="connsiteX2" fmla="*/ 479 w 11064"/>
                    <a:gd name="connsiteY2" fmla="*/ 4964 h 10466"/>
                    <a:gd name="connsiteX3" fmla="*/ 2871 w 11064"/>
                    <a:gd name="connsiteY3" fmla="*/ 6698 h 10466"/>
                    <a:gd name="connsiteX4" fmla="*/ 5263 w 11064"/>
                    <a:gd name="connsiteY4" fmla="*/ 8433 h 10466"/>
                    <a:gd name="connsiteX5" fmla="*/ 5921 w 11064"/>
                    <a:gd name="connsiteY5" fmla="*/ 8911 h 10466"/>
                    <a:gd name="connsiteX6" fmla="*/ 7715 w 11064"/>
                    <a:gd name="connsiteY6" fmla="*/ 10227 h 10466"/>
                    <a:gd name="connsiteX7" fmla="*/ 8433 w 11064"/>
                    <a:gd name="connsiteY7" fmla="*/ 10466 h 10466"/>
                    <a:gd name="connsiteX8" fmla="*/ 10107 w 11064"/>
                    <a:gd name="connsiteY8" fmla="*/ 7655 h 10466"/>
                    <a:gd name="connsiteX9" fmla="*/ 10705 w 11064"/>
                    <a:gd name="connsiteY9" fmla="*/ 6639 h 10466"/>
                    <a:gd name="connsiteX10" fmla="*/ 11064 w 11064"/>
                    <a:gd name="connsiteY10" fmla="*/ 6040 h 10466"/>
                    <a:gd name="connsiteX11" fmla="*/ 8672 w 11064"/>
                    <a:gd name="connsiteY11" fmla="*/ 4246 h 10466"/>
                    <a:gd name="connsiteX12" fmla="*/ 6280 w 11064"/>
                    <a:gd name="connsiteY12" fmla="*/ 2452 h 10466"/>
                    <a:gd name="connsiteX13" fmla="*/ 3888 w 11064"/>
                    <a:gd name="connsiteY13" fmla="*/ 658 h 10466"/>
                    <a:gd name="connsiteX14" fmla="*/ 3349 w 11064"/>
                    <a:gd name="connsiteY14" fmla="*/ 239 h 10466"/>
                    <a:gd name="connsiteX15" fmla="*/ 2632 w 11064"/>
                    <a:gd name="connsiteY15" fmla="*/ 0 h 1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64" h="10466">
                      <a:moveTo>
                        <a:pt x="0" y="4605"/>
                      </a:moveTo>
                      <a:lnTo>
                        <a:pt x="0" y="4605"/>
                      </a:lnTo>
                      <a:lnTo>
                        <a:pt x="479" y="4964"/>
                      </a:lnTo>
                      <a:lnTo>
                        <a:pt x="2871" y="6698"/>
                      </a:lnTo>
                      <a:lnTo>
                        <a:pt x="5263" y="8433"/>
                      </a:lnTo>
                      <a:lnTo>
                        <a:pt x="5921" y="8911"/>
                      </a:lnTo>
                      <a:lnTo>
                        <a:pt x="7715" y="10227"/>
                      </a:lnTo>
                      <a:lnTo>
                        <a:pt x="8433" y="10466"/>
                      </a:lnTo>
                      <a:lnTo>
                        <a:pt x="10107" y="7655"/>
                      </a:lnTo>
                      <a:lnTo>
                        <a:pt x="10705" y="6639"/>
                      </a:lnTo>
                      <a:lnTo>
                        <a:pt x="11064" y="6040"/>
                      </a:lnTo>
                      <a:lnTo>
                        <a:pt x="8672" y="4246"/>
                      </a:lnTo>
                      <a:lnTo>
                        <a:pt x="6280" y="2452"/>
                      </a:lnTo>
                      <a:lnTo>
                        <a:pt x="3888" y="658"/>
                      </a:lnTo>
                      <a:lnTo>
                        <a:pt x="3349" y="239"/>
                      </a:lnTo>
                      <a:lnTo>
                        <a:pt x="2632" y="0"/>
                      </a:lnTo>
                    </a:path>
                  </a:pathLst>
                </a:custGeom>
                <a:noFill/>
                <a:ln w="6350" cap="rnd">
                  <a:solidFill>
                    <a:schemeClr val="bg1">
                      <a:alpha val="40000"/>
                    </a:schemeClr>
                  </a:solidFill>
                  <a:prstDash val="solid"/>
                  <a:round/>
                </a:ln>
              </p:spPr>
              <p:txBody>
                <a:bodyPr rtlCol="0" anchor="ctr"/>
                <a:lstStyle/>
                <a:p>
                  <a:endParaRPr lang="en-GB"/>
                </a:p>
              </p:txBody>
            </p:sp>
            <p:sp>
              <p:nvSpPr>
                <p:cNvPr id="5748" name="Vrije vorm: vorm 5747">
                  <a:extLst>
                    <a:ext uri="{FF2B5EF4-FFF2-40B4-BE49-F238E27FC236}">
                      <a16:creationId xmlns:a16="http://schemas.microsoft.com/office/drawing/2014/main" id="{54DC6250-B209-4FBF-A3D9-4C7FFB43CE00}"/>
                    </a:ext>
                  </a:extLst>
                </p:cNvPr>
                <p:cNvSpPr/>
                <p:nvPr/>
              </p:nvSpPr>
              <p:spPr>
                <a:xfrm>
                  <a:off x="6505909" y="1595039"/>
                  <a:ext cx="2691" cy="4724"/>
                </a:xfrm>
                <a:custGeom>
                  <a:avLst/>
                  <a:gdLst>
                    <a:gd name="connsiteX0" fmla="*/ 2691 w 2691"/>
                    <a:gd name="connsiteY0" fmla="*/ 0 h 4724"/>
                    <a:gd name="connsiteX1" fmla="*/ 2452 w 2691"/>
                    <a:gd name="connsiteY1" fmla="*/ 359 h 4724"/>
                    <a:gd name="connsiteX2" fmla="*/ 2153 w 2691"/>
                    <a:gd name="connsiteY2" fmla="*/ 837 h 4724"/>
                    <a:gd name="connsiteX3" fmla="*/ 479 w 2691"/>
                    <a:gd name="connsiteY3" fmla="*/ 3648 h 4724"/>
                    <a:gd name="connsiteX4" fmla="*/ 0 w 2691"/>
                    <a:gd name="connsiteY4" fmla="*/ 4486 h 4724"/>
                    <a:gd name="connsiteX5" fmla="*/ 60 w 2691"/>
                    <a:gd name="connsiteY5" fmla="*/ 4486 h 4724"/>
                    <a:gd name="connsiteX6" fmla="*/ 658 w 2691"/>
                    <a:gd name="connsiteY6" fmla="*/ 4725 h 4724"/>
                    <a:gd name="connsiteX7" fmla="*/ 718 w 2691"/>
                    <a:gd name="connsiteY7"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1" h="4724">
                      <a:moveTo>
                        <a:pt x="2691" y="0"/>
                      </a:moveTo>
                      <a:lnTo>
                        <a:pt x="2452" y="359"/>
                      </a:lnTo>
                      <a:lnTo>
                        <a:pt x="2153" y="837"/>
                      </a:lnTo>
                      <a:lnTo>
                        <a:pt x="479" y="3648"/>
                      </a:lnTo>
                      <a:lnTo>
                        <a:pt x="0" y="4486"/>
                      </a:lnTo>
                      <a:lnTo>
                        <a:pt x="60" y="4486"/>
                      </a:lnTo>
                      <a:lnTo>
                        <a:pt x="658" y="4725"/>
                      </a:lnTo>
                      <a:lnTo>
                        <a:pt x="718" y="4725"/>
                      </a:lnTo>
                    </a:path>
                  </a:pathLst>
                </a:custGeom>
                <a:noFill/>
                <a:ln w="6350" cap="rnd">
                  <a:solidFill>
                    <a:schemeClr val="bg1">
                      <a:alpha val="40000"/>
                    </a:schemeClr>
                  </a:solidFill>
                  <a:prstDash val="solid"/>
                  <a:round/>
                </a:ln>
              </p:spPr>
              <p:txBody>
                <a:bodyPr rtlCol="0" anchor="ctr"/>
                <a:lstStyle/>
                <a:p>
                  <a:endParaRPr lang="en-GB"/>
                </a:p>
              </p:txBody>
            </p:sp>
            <p:sp>
              <p:nvSpPr>
                <p:cNvPr id="5749" name="Vrije vorm: vorm 5748">
                  <a:extLst>
                    <a:ext uri="{FF2B5EF4-FFF2-40B4-BE49-F238E27FC236}">
                      <a16:creationId xmlns:a16="http://schemas.microsoft.com/office/drawing/2014/main" id="{4205F5DE-7671-4666-AAD5-C9C57CD9B864}"/>
                    </a:ext>
                  </a:extLst>
                </p:cNvPr>
                <p:cNvSpPr/>
                <p:nvPr/>
              </p:nvSpPr>
              <p:spPr>
                <a:xfrm>
                  <a:off x="6527738" y="1610409"/>
                  <a:ext cx="3827" cy="6399"/>
                </a:xfrm>
                <a:custGeom>
                  <a:avLst/>
                  <a:gdLst>
                    <a:gd name="connsiteX0" fmla="*/ 3828 w 3827"/>
                    <a:gd name="connsiteY0" fmla="*/ 0 h 6399"/>
                    <a:gd name="connsiteX1" fmla="*/ 3708 w 3827"/>
                    <a:gd name="connsiteY1" fmla="*/ 179 h 6399"/>
                    <a:gd name="connsiteX2" fmla="*/ 3170 w 3827"/>
                    <a:gd name="connsiteY2" fmla="*/ 1077 h 6399"/>
                    <a:gd name="connsiteX3" fmla="*/ 1495 w 3827"/>
                    <a:gd name="connsiteY3" fmla="*/ 3888 h 6399"/>
                    <a:gd name="connsiteX4" fmla="*/ 778 w 3827"/>
                    <a:gd name="connsiteY4" fmla="*/ 5084 h 6399"/>
                    <a:gd name="connsiteX5" fmla="*/ 299 w 3827"/>
                    <a:gd name="connsiteY5" fmla="*/ 5921 h 6399"/>
                    <a:gd name="connsiteX6" fmla="*/ 0 w 3827"/>
                    <a:gd name="connsiteY6" fmla="*/ 6399 h 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7" h="6399">
                      <a:moveTo>
                        <a:pt x="3828" y="0"/>
                      </a:moveTo>
                      <a:lnTo>
                        <a:pt x="3708" y="179"/>
                      </a:lnTo>
                      <a:lnTo>
                        <a:pt x="3170" y="1077"/>
                      </a:lnTo>
                      <a:lnTo>
                        <a:pt x="1495" y="3888"/>
                      </a:lnTo>
                      <a:lnTo>
                        <a:pt x="778" y="5084"/>
                      </a:lnTo>
                      <a:lnTo>
                        <a:pt x="299" y="5921"/>
                      </a:lnTo>
                      <a:lnTo>
                        <a:pt x="0" y="6399"/>
                      </a:lnTo>
                    </a:path>
                  </a:pathLst>
                </a:custGeom>
                <a:noFill/>
                <a:ln w="6350" cap="rnd">
                  <a:solidFill>
                    <a:schemeClr val="bg1">
                      <a:alpha val="40000"/>
                    </a:schemeClr>
                  </a:solidFill>
                  <a:prstDash val="solid"/>
                  <a:round/>
                </a:ln>
              </p:spPr>
              <p:txBody>
                <a:bodyPr rtlCol="0" anchor="ctr"/>
                <a:lstStyle/>
                <a:p>
                  <a:endParaRPr lang="en-GB"/>
                </a:p>
              </p:txBody>
            </p:sp>
            <p:sp>
              <p:nvSpPr>
                <p:cNvPr id="5750" name="Vrije vorm: vorm 5749">
                  <a:extLst>
                    <a:ext uri="{FF2B5EF4-FFF2-40B4-BE49-F238E27FC236}">
                      <a16:creationId xmlns:a16="http://schemas.microsoft.com/office/drawing/2014/main" id="{EFA526DB-59D1-495D-B772-4CDE172D53F1}"/>
                    </a:ext>
                  </a:extLst>
                </p:cNvPr>
                <p:cNvSpPr/>
                <p:nvPr/>
              </p:nvSpPr>
              <p:spPr>
                <a:xfrm>
                  <a:off x="6506686" y="1595278"/>
                  <a:ext cx="7715" cy="10167"/>
                </a:xfrm>
                <a:custGeom>
                  <a:avLst/>
                  <a:gdLst>
                    <a:gd name="connsiteX0" fmla="*/ 2691 w 7715"/>
                    <a:gd name="connsiteY0" fmla="*/ 0 h 10167"/>
                    <a:gd name="connsiteX1" fmla="*/ 2572 w 7715"/>
                    <a:gd name="connsiteY1" fmla="*/ 239 h 10167"/>
                    <a:gd name="connsiteX2" fmla="*/ 2333 w 7715"/>
                    <a:gd name="connsiteY2" fmla="*/ 598 h 10167"/>
                    <a:gd name="connsiteX3" fmla="*/ 2034 w 7715"/>
                    <a:gd name="connsiteY3" fmla="*/ 1077 h 10167"/>
                    <a:gd name="connsiteX4" fmla="*/ 778 w 7715"/>
                    <a:gd name="connsiteY4" fmla="*/ 3230 h 10167"/>
                    <a:gd name="connsiteX5" fmla="*/ 60 w 7715"/>
                    <a:gd name="connsiteY5" fmla="*/ 4426 h 10167"/>
                    <a:gd name="connsiteX6" fmla="*/ 0 w 7715"/>
                    <a:gd name="connsiteY6" fmla="*/ 4545 h 10167"/>
                    <a:gd name="connsiteX7" fmla="*/ 2392 w 7715"/>
                    <a:gd name="connsiteY7" fmla="*/ 6280 h 10167"/>
                    <a:gd name="connsiteX8" fmla="*/ 4785 w 7715"/>
                    <a:gd name="connsiteY8" fmla="*/ 8014 h 10167"/>
                    <a:gd name="connsiteX9" fmla="*/ 5263 w 7715"/>
                    <a:gd name="connsiteY9" fmla="*/ 8373 h 10167"/>
                    <a:gd name="connsiteX10" fmla="*/ 7057 w 7715"/>
                    <a:gd name="connsiteY10" fmla="*/ 9689 h 10167"/>
                    <a:gd name="connsiteX11" fmla="*/ 7715 w 7715"/>
                    <a:gd name="connsiteY11" fmla="*/ 10167 h 1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 h="10167">
                      <a:moveTo>
                        <a:pt x="2691" y="0"/>
                      </a:moveTo>
                      <a:lnTo>
                        <a:pt x="2572" y="239"/>
                      </a:lnTo>
                      <a:lnTo>
                        <a:pt x="2333" y="598"/>
                      </a:lnTo>
                      <a:lnTo>
                        <a:pt x="2034" y="1077"/>
                      </a:lnTo>
                      <a:lnTo>
                        <a:pt x="778" y="3230"/>
                      </a:lnTo>
                      <a:lnTo>
                        <a:pt x="60" y="4426"/>
                      </a:lnTo>
                      <a:lnTo>
                        <a:pt x="0" y="4545"/>
                      </a:lnTo>
                      <a:lnTo>
                        <a:pt x="2392" y="6280"/>
                      </a:lnTo>
                      <a:lnTo>
                        <a:pt x="4785" y="8014"/>
                      </a:lnTo>
                      <a:lnTo>
                        <a:pt x="5263" y="8373"/>
                      </a:lnTo>
                      <a:lnTo>
                        <a:pt x="7057" y="9689"/>
                      </a:lnTo>
                      <a:lnTo>
                        <a:pt x="7715" y="10167"/>
                      </a:lnTo>
                    </a:path>
                  </a:pathLst>
                </a:custGeom>
                <a:noFill/>
                <a:ln w="6350" cap="rnd">
                  <a:solidFill>
                    <a:schemeClr val="bg1">
                      <a:alpha val="40000"/>
                    </a:schemeClr>
                  </a:solidFill>
                  <a:prstDash val="solid"/>
                  <a:round/>
                </a:ln>
              </p:spPr>
              <p:txBody>
                <a:bodyPr rtlCol="0" anchor="ctr"/>
                <a:lstStyle/>
                <a:p>
                  <a:endParaRPr lang="en-GB"/>
                </a:p>
              </p:txBody>
            </p:sp>
            <p:sp>
              <p:nvSpPr>
                <p:cNvPr id="5751" name="Vrije vorm: vorm 5750">
                  <a:extLst>
                    <a:ext uri="{FF2B5EF4-FFF2-40B4-BE49-F238E27FC236}">
                      <a16:creationId xmlns:a16="http://schemas.microsoft.com/office/drawing/2014/main" id="{A1F3AB69-6901-4840-9B4D-091B8078225E}"/>
                    </a:ext>
                  </a:extLst>
                </p:cNvPr>
                <p:cNvSpPr/>
                <p:nvPr/>
              </p:nvSpPr>
              <p:spPr>
                <a:xfrm>
                  <a:off x="6503158" y="1604608"/>
                  <a:ext cx="7774" cy="5681"/>
                </a:xfrm>
                <a:custGeom>
                  <a:avLst/>
                  <a:gdLst>
                    <a:gd name="connsiteX0" fmla="*/ 0 w 7774"/>
                    <a:gd name="connsiteY0" fmla="*/ 0 h 5681"/>
                    <a:gd name="connsiteX1" fmla="*/ 2392 w 7774"/>
                    <a:gd name="connsiteY1" fmla="*/ 1734 h 5681"/>
                    <a:gd name="connsiteX2" fmla="*/ 3648 w 7774"/>
                    <a:gd name="connsiteY2" fmla="*/ 2632 h 5681"/>
                    <a:gd name="connsiteX3" fmla="*/ 5861 w 7774"/>
                    <a:gd name="connsiteY3" fmla="*/ 4246 h 5681"/>
                    <a:gd name="connsiteX4" fmla="*/ 6160 w 7774"/>
                    <a:gd name="connsiteY4" fmla="*/ 4486 h 5681"/>
                    <a:gd name="connsiteX5" fmla="*/ 7117 w 7774"/>
                    <a:gd name="connsiteY5" fmla="*/ 5203 h 5681"/>
                    <a:gd name="connsiteX6" fmla="*/ 7775 w 7774"/>
                    <a:gd name="connsiteY6" fmla="*/ 5682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4" h="5681">
                      <a:moveTo>
                        <a:pt x="0" y="0"/>
                      </a:moveTo>
                      <a:lnTo>
                        <a:pt x="2392" y="1734"/>
                      </a:lnTo>
                      <a:lnTo>
                        <a:pt x="3648" y="2632"/>
                      </a:lnTo>
                      <a:lnTo>
                        <a:pt x="5861" y="4246"/>
                      </a:lnTo>
                      <a:lnTo>
                        <a:pt x="6160" y="4486"/>
                      </a:lnTo>
                      <a:lnTo>
                        <a:pt x="7117" y="5203"/>
                      </a:lnTo>
                      <a:lnTo>
                        <a:pt x="7775" y="5682"/>
                      </a:lnTo>
                    </a:path>
                  </a:pathLst>
                </a:custGeom>
                <a:noFill/>
                <a:ln w="6350" cap="rnd">
                  <a:solidFill>
                    <a:schemeClr val="bg1">
                      <a:alpha val="40000"/>
                    </a:schemeClr>
                  </a:solidFill>
                  <a:prstDash val="solid"/>
                  <a:round/>
                </a:ln>
              </p:spPr>
              <p:txBody>
                <a:bodyPr rtlCol="0" anchor="ctr"/>
                <a:lstStyle/>
                <a:p>
                  <a:endParaRPr lang="en-GB"/>
                </a:p>
              </p:txBody>
            </p:sp>
            <p:sp>
              <p:nvSpPr>
                <p:cNvPr id="5752" name="Vrije vorm: vorm 5751">
                  <a:extLst>
                    <a:ext uri="{FF2B5EF4-FFF2-40B4-BE49-F238E27FC236}">
                      <a16:creationId xmlns:a16="http://schemas.microsoft.com/office/drawing/2014/main" id="{2453A8D4-EE09-4625-BCDE-3E6823F06251}"/>
                    </a:ext>
                  </a:extLst>
                </p:cNvPr>
                <p:cNvSpPr/>
                <p:nvPr/>
              </p:nvSpPr>
              <p:spPr>
                <a:xfrm>
                  <a:off x="6502679" y="1600840"/>
                  <a:ext cx="2691" cy="3767"/>
                </a:xfrm>
                <a:custGeom>
                  <a:avLst/>
                  <a:gdLst>
                    <a:gd name="connsiteX0" fmla="*/ 2691 w 2691"/>
                    <a:gd name="connsiteY0" fmla="*/ 0 h 3767"/>
                    <a:gd name="connsiteX1" fmla="*/ 2572 w 2691"/>
                    <a:gd name="connsiteY1" fmla="*/ 179 h 3767"/>
                    <a:gd name="connsiteX2" fmla="*/ 897 w 2691"/>
                    <a:gd name="connsiteY2" fmla="*/ 2990 h 3767"/>
                    <a:gd name="connsiteX3" fmla="*/ 419 w 2691"/>
                    <a:gd name="connsiteY3" fmla="*/ 3768 h 3767"/>
                    <a:gd name="connsiteX4" fmla="*/ 120 w 2691"/>
                    <a:gd name="connsiteY4" fmla="*/ 3648 h 3767"/>
                    <a:gd name="connsiteX5" fmla="*/ 0 w 2691"/>
                    <a:gd name="connsiteY5" fmla="*/ 3588 h 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91" h="3767">
                      <a:moveTo>
                        <a:pt x="2691" y="0"/>
                      </a:moveTo>
                      <a:lnTo>
                        <a:pt x="2572" y="179"/>
                      </a:lnTo>
                      <a:lnTo>
                        <a:pt x="897" y="2990"/>
                      </a:lnTo>
                      <a:lnTo>
                        <a:pt x="419" y="3768"/>
                      </a:lnTo>
                      <a:lnTo>
                        <a:pt x="120" y="3648"/>
                      </a:lnTo>
                      <a:lnTo>
                        <a:pt x="0" y="3588"/>
                      </a:lnTo>
                    </a:path>
                  </a:pathLst>
                </a:custGeom>
                <a:noFill/>
                <a:ln w="6350" cap="rnd">
                  <a:solidFill>
                    <a:schemeClr val="bg1">
                      <a:alpha val="40000"/>
                    </a:schemeClr>
                  </a:solidFill>
                  <a:prstDash val="solid"/>
                  <a:round/>
                </a:ln>
              </p:spPr>
              <p:txBody>
                <a:bodyPr rtlCol="0" anchor="ctr"/>
                <a:lstStyle/>
                <a:p>
                  <a:endParaRPr lang="en-GB"/>
                </a:p>
              </p:txBody>
            </p:sp>
            <p:sp>
              <p:nvSpPr>
                <p:cNvPr id="5753" name="Vrije vorm: vorm 5752">
                  <a:extLst>
                    <a:ext uri="{FF2B5EF4-FFF2-40B4-BE49-F238E27FC236}">
                      <a16:creationId xmlns:a16="http://schemas.microsoft.com/office/drawing/2014/main" id="{B9AECEC8-ED78-48D1-BF30-4876F49B6BB6}"/>
                    </a:ext>
                  </a:extLst>
                </p:cNvPr>
                <p:cNvSpPr/>
                <p:nvPr/>
              </p:nvSpPr>
              <p:spPr>
                <a:xfrm>
                  <a:off x="6692208" y="1606103"/>
                  <a:ext cx="1555" cy="2631"/>
                </a:xfrm>
                <a:custGeom>
                  <a:avLst/>
                  <a:gdLst>
                    <a:gd name="connsiteX0" fmla="*/ 0 w 1555"/>
                    <a:gd name="connsiteY0" fmla="*/ 0 h 2631"/>
                    <a:gd name="connsiteX1" fmla="*/ 1136 w 1555"/>
                    <a:gd name="connsiteY1" fmla="*/ 299 h 2631"/>
                    <a:gd name="connsiteX2" fmla="*/ 1555 w 1555"/>
                    <a:gd name="connsiteY2" fmla="*/ 2632 h 2631"/>
                  </a:gdLst>
                  <a:ahLst/>
                  <a:cxnLst>
                    <a:cxn ang="0">
                      <a:pos x="connsiteX0" y="connsiteY0"/>
                    </a:cxn>
                    <a:cxn ang="0">
                      <a:pos x="connsiteX1" y="connsiteY1"/>
                    </a:cxn>
                    <a:cxn ang="0">
                      <a:pos x="connsiteX2" y="connsiteY2"/>
                    </a:cxn>
                  </a:cxnLst>
                  <a:rect l="l" t="t" r="r" b="b"/>
                  <a:pathLst>
                    <a:path w="1555" h="2631">
                      <a:moveTo>
                        <a:pt x="0" y="0"/>
                      </a:moveTo>
                      <a:lnTo>
                        <a:pt x="1136" y="299"/>
                      </a:lnTo>
                      <a:lnTo>
                        <a:pt x="1555" y="2632"/>
                      </a:lnTo>
                    </a:path>
                  </a:pathLst>
                </a:custGeom>
                <a:noFill/>
                <a:ln w="6350" cap="rnd">
                  <a:solidFill>
                    <a:schemeClr val="bg1">
                      <a:alpha val="40000"/>
                    </a:schemeClr>
                  </a:solidFill>
                  <a:prstDash val="solid"/>
                  <a:round/>
                </a:ln>
              </p:spPr>
              <p:txBody>
                <a:bodyPr rtlCol="0" anchor="ctr"/>
                <a:lstStyle/>
                <a:p>
                  <a:endParaRPr lang="en-GB"/>
                </a:p>
              </p:txBody>
            </p:sp>
            <p:sp>
              <p:nvSpPr>
                <p:cNvPr id="5754" name="Vrije vorm: vorm 5753">
                  <a:extLst>
                    <a:ext uri="{FF2B5EF4-FFF2-40B4-BE49-F238E27FC236}">
                      <a16:creationId xmlns:a16="http://schemas.microsoft.com/office/drawing/2014/main" id="{EDFF569B-3E24-40D6-B8F8-8C126D87B66F}"/>
                    </a:ext>
                  </a:extLst>
                </p:cNvPr>
                <p:cNvSpPr/>
                <p:nvPr/>
              </p:nvSpPr>
              <p:spPr>
                <a:xfrm>
                  <a:off x="6642927" y="1609931"/>
                  <a:ext cx="51613" cy="33013"/>
                </a:xfrm>
                <a:custGeom>
                  <a:avLst/>
                  <a:gdLst>
                    <a:gd name="connsiteX0" fmla="*/ 51015 w 51613"/>
                    <a:gd name="connsiteY0" fmla="*/ 0 h 33013"/>
                    <a:gd name="connsiteX1" fmla="*/ 51554 w 51613"/>
                    <a:gd name="connsiteY1" fmla="*/ 3110 h 33013"/>
                    <a:gd name="connsiteX2" fmla="*/ 51614 w 51613"/>
                    <a:gd name="connsiteY2" fmla="*/ 3289 h 33013"/>
                    <a:gd name="connsiteX3" fmla="*/ 50716 w 51613"/>
                    <a:gd name="connsiteY3" fmla="*/ 4785 h 33013"/>
                    <a:gd name="connsiteX4" fmla="*/ 49042 w 51613"/>
                    <a:gd name="connsiteY4" fmla="*/ 7596 h 33013"/>
                    <a:gd name="connsiteX5" fmla="*/ 47367 w 51613"/>
                    <a:gd name="connsiteY5" fmla="*/ 10406 h 33013"/>
                    <a:gd name="connsiteX6" fmla="*/ 45692 w 51613"/>
                    <a:gd name="connsiteY6" fmla="*/ 13217 h 33013"/>
                    <a:gd name="connsiteX7" fmla="*/ 44018 w 51613"/>
                    <a:gd name="connsiteY7" fmla="*/ 16028 h 33013"/>
                    <a:gd name="connsiteX8" fmla="*/ 42343 w 51613"/>
                    <a:gd name="connsiteY8" fmla="*/ 18839 h 33013"/>
                    <a:gd name="connsiteX9" fmla="*/ 40669 w 51613"/>
                    <a:gd name="connsiteY9" fmla="*/ 21650 h 33013"/>
                    <a:gd name="connsiteX10" fmla="*/ 38994 w 51613"/>
                    <a:gd name="connsiteY10" fmla="*/ 24461 h 33013"/>
                    <a:gd name="connsiteX11" fmla="*/ 37320 w 51613"/>
                    <a:gd name="connsiteY11" fmla="*/ 27272 h 33013"/>
                    <a:gd name="connsiteX12" fmla="*/ 35645 w 51613"/>
                    <a:gd name="connsiteY12" fmla="*/ 30083 h 33013"/>
                    <a:gd name="connsiteX13" fmla="*/ 34150 w 51613"/>
                    <a:gd name="connsiteY13" fmla="*/ 32595 h 33013"/>
                    <a:gd name="connsiteX14" fmla="*/ 33911 w 51613"/>
                    <a:gd name="connsiteY14" fmla="*/ 33014 h 33013"/>
                    <a:gd name="connsiteX15" fmla="*/ 33731 w 51613"/>
                    <a:gd name="connsiteY15" fmla="*/ 32834 h 33013"/>
                    <a:gd name="connsiteX16" fmla="*/ 31518 w 51613"/>
                    <a:gd name="connsiteY16" fmla="*/ 30861 h 33013"/>
                    <a:gd name="connsiteX17" fmla="*/ 29305 w 51613"/>
                    <a:gd name="connsiteY17" fmla="*/ 28887 h 33013"/>
                    <a:gd name="connsiteX18" fmla="*/ 27092 w 51613"/>
                    <a:gd name="connsiteY18" fmla="*/ 26913 h 33013"/>
                    <a:gd name="connsiteX19" fmla="*/ 24880 w 51613"/>
                    <a:gd name="connsiteY19" fmla="*/ 24940 h 33013"/>
                    <a:gd name="connsiteX20" fmla="*/ 24342 w 51613"/>
                    <a:gd name="connsiteY20" fmla="*/ 24461 h 33013"/>
                    <a:gd name="connsiteX21" fmla="*/ 22667 w 51613"/>
                    <a:gd name="connsiteY21" fmla="*/ 22966 h 33013"/>
                    <a:gd name="connsiteX22" fmla="*/ 21650 w 51613"/>
                    <a:gd name="connsiteY22" fmla="*/ 22069 h 33013"/>
                    <a:gd name="connsiteX23" fmla="*/ 20334 w 51613"/>
                    <a:gd name="connsiteY23" fmla="*/ 21351 h 33013"/>
                    <a:gd name="connsiteX24" fmla="*/ 19916 w 51613"/>
                    <a:gd name="connsiteY24" fmla="*/ 21112 h 33013"/>
                    <a:gd name="connsiteX25" fmla="*/ 18959 w 51613"/>
                    <a:gd name="connsiteY25" fmla="*/ 20574 h 33013"/>
                    <a:gd name="connsiteX26" fmla="*/ 17882 w 51613"/>
                    <a:gd name="connsiteY26" fmla="*/ 19976 h 33013"/>
                    <a:gd name="connsiteX27" fmla="*/ 15012 w 51613"/>
                    <a:gd name="connsiteY27" fmla="*/ 19138 h 33013"/>
                    <a:gd name="connsiteX28" fmla="*/ 12141 w 51613"/>
                    <a:gd name="connsiteY28" fmla="*/ 18301 h 33013"/>
                    <a:gd name="connsiteX29" fmla="*/ 9270 w 51613"/>
                    <a:gd name="connsiteY29" fmla="*/ 17464 h 33013"/>
                    <a:gd name="connsiteX30" fmla="*/ 7177 w 51613"/>
                    <a:gd name="connsiteY30" fmla="*/ 16806 h 33013"/>
                    <a:gd name="connsiteX31" fmla="*/ 5921 w 51613"/>
                    <a:gd name="connsiteY31" fmla="*/ 16447 h 33013"/>
                    <a:gd name="connsiteX32" fmla="*/ 4246 w 51613"/>
                    <a:gd name="connsiteY32" fmla="*/ 15909 h 33013"/>
                    <a:gd name="connsiteX33" fmla="*/ 2572 w 51613"/>
                    <a:gd name="connsiteY33" fmla="*/ 18720 h 33013"/>
                    <a:gd name="connsiteX34" fmla="*/ 897 w 51613"/>
                    <a:gd name="connsiteY34" fmla="*/ 21531 h 33013"/>
                    <a:gd name="connsiteX35" fmla="*/ 359 w 51613"/>
                    <a:gd name="connsiteY35" fmla="*/ 22428 h 33013"/>
                    <a:gd name="connsiteX36" fmla="*/ 0 w 51613"/>
                    <a:gd name="connsiteY36" fmla="*/ 23145 h 33013"/>
                    <a:gd name="connsiteX37" fmla="*/ 2033 w 51613"/>
                    <a:gd name="connsiteY37" fmla="*/ 24880 h 33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613" h="33013">
                      <a:moveTo>
                        <a:pt x="51015" y="0"/>
                      </a:moveTo>
                      <a:lnTo>
                        <a:pt x="51554" y="3110"/>
                      </a:lnTo>
                      <a:lnTo>
                        <a:pt x="51614" y="3289"/>
                      </a:lnTo>
                      <a:lnTo>
                        <a:pt x="50716" y="4785"/>
                      </a:lnTo>
                      <a:lnTo>
                        <a:pt x="49042" y="7596"/>
                      </a:lnTo>
                      <a:lnTo>
                        <a:pt x="47367" y="10406"/>
                      </a:lnTo>
                      <a:lnTo>
                        <a:pt x="45692" y="13217"/>
                      </a:lnTo>
                      <a:lnTo>
                        <a:pt x="44018" y="16028"/>
                      </a:lnTo>
                      <a:lnTo>
                        <a:pt x="42343" y="18839"/>
                      </a:lnTo>
                      <a:lnTo>
                        <a:pt x="40669" y="21650"/>
                      </a:lnTo>
                      <a:lnTo>
                        <a:pt x="38994" y="24461"/>
                      </a:lnTo>
                      <a:lnTo>
                        <a:pt x="37320" y="27272"/>
                      </a:lnTo>
                      <a:lnTo>
                        <a:pt x="35645" y="30083"/>
                      </a:lnTo>
                      <a:lnTo>
                        <a:pt x="34150" y="32595"/>
                      </a:lnTo>
                      <a:lnTo>
                        <a:pt x="33911" y="33014"/>
                      </a:lnTo>
                      <a:lnTo>
                        <a:pt x="33731" y="32834"/>
                      </a:lnTo>
                      <a:lnTo>
                        <a:pt x="31518" y="30861"/>
                      </a:lnTo>
                      <a:lnTo>
                        <a:pt x="29305" y="28887"/>
                      </a:lnTo>
                      <a:lnTo>
                        <a:pt x="27092" y="26913"/>
                      </a:lnTo>
                      <a:lnTo>
                        <a:pt x="24880" y="24940"/>
                      </a:lnTo>
                      <a:lnTo>
                        <a:pt x="24342" y="24461"/>
                      </a:lnTo>
                      <a:lnTo>
                        <a:pt x="22667" y="22966"/>
                      </a:lnTo>
                      <a:lnTo>
                        <a:pt x="21650" y="22069"/>
                      </a:lnTo>
                      <a:lnTo>
                        <a:pt x="20334" y="21351"/>
                      </a:lnTo>
                      <a:lnTo>
                        <a:pt x="19916" y="21112"/>
                      </a:lnTo>
                      <a:lnTo>
                        <a:pt x="18959" y="20574"/>
                      </a:lnTo>
                      <a:lnTo>
                        <a:pt x="17882" y="19976"/>
                      </a:lnTo>
                      <a:lnTo>
                        <a:pt x="15012" y="19138"/>
                      </a:lnTo>
                      <a:lnTo>
                        <a:pt x="12141" y="18301"/>
                      </a:lnTo>
                      <a:lnTo>
                        <a:pt x="9270" y="17464"/>
                      </a:lnTo>
                      <a:lnTo>
                        <a:pt x="7177" y="16806"/>
                      </a:lnTo>
                      <a:lnTo>
                        <a:pt x="5921" y="16447"/>
                      </a:lnTo>
                      <a:lnTo>
                        <a:pt x="4246" y="15909"/>
                      </a:lnTo>
                      <a:lnTo>
                        <a:pt x="2572" y="18720"/>
                      </a:lnTo>
                      <a:lnTo>
                        <a:pt x="897" y="21531"/>
                      </a:lnTo>
                      <a:lnTo>
                        <a:pt x="359" y="22428"/>
                      </a:lnTo>
                      <a:lnTo>
                        <a:pt x="0" y="23145"/>
                      </a:lnTo>
                      <a:lnTo>
                        <a:pt x="2033" y="24880"/>
                      </a:lnTo>
                    </a:path>
                  </a:pathLst>
                </a:custGeom>
                <a:noFill/>
                <a:ln w="6350" cap="rnd">
                  <a:solidFill>
                    <a:schemeClr val="bg1">
                      <a:alpha val="40000"/>
                    </a:schemeClr>
                  </a:solidFill>
                  <a:prstDash val="solid"/>
                  <a:round/>
                </a:ln>
              </p:spPr>
              <p:txBody>
                <a:bodyPr rtlCol="0" anchor="ctr"/>
                <a:lstStyle/>
                <a:p>
                  <a:endParaRPr lang="en-GB"/>
                </a:p>
              </p:txBody>
            </p:sp>
            <p:sp>
              <p:nvSpPr>
                <p:cNvPr id="5755" name="Vrije vorm: vorm 5754">
                  <a:extLst>
                    <a:ext uri="{FF2B5EF4-FFF2-40B4-BE49-F238E27FC236}">
                      <a16:creationId xmlns:a16="http://schemas.microsoft.com/office/drawing/2014/main" id="{150253ED-1721-4507-BBAB-554776F510B1}"/>
                    </a:ext>
                  </a:extLst>
                </p:cNvPr>
                <p:cNvSpPr/>
                <p:nvPr/>
              </p:nvSpPr>
              <p:spPr>
                <a:xfrm>
                  <a:off x="6643465" y="1632418"/>
                  <a:ext cx="35705" cy="18061"/>
                </a:xfrm>
                <a:custGeom>
                  <a:avLst/>
                  <a:gdLst>
                    <a:gd name="connsiteX0" fmla="*/ 0 w 35705"/>
                    <a:gd name="connsiteY0" fmla="*/ 0 h 18061"/>
                    <a:gd name="connsiteX1" fmla="*/ 2871 w 35705"/>
                    <a:gd name="connsiteY1" fmla="*/ 897 h 18061"/>
                    <a:gd name="connsiteX2" fmla="*/ 5742 w 35705"/>
                    <a:gd name="connsiteY2" fmla="*/ 1794 h 18061"/>
                    <a:gd name="connsiteX3" fmla="*/ 8612 w 35705"/>
                    <a:gd name="connsiteY3" fmla="*/ 2691 h 18061"/>
                    <a:gd name="connsiteX4" fmla="*/ 11483 w 35705"/>
                    <a:gd name="connsiteY4" fmla="*/ 3588 h 18061"/>
                    <a:gd name="connsiteX5" fmla="*/ 13636 w 35705"/>
                    <a:gd name="connsiteY5" fmla="*/ 4246 h 18061"/>
                    <a:gd name="connsiteX6" fmla="*/ 16208 w 35705"/>
                    <a:gd name="connsiteY6" fmla="*/ 5682 h 18061"/>
                    <a:gd name="connsiteX7" fmla="*/ 17344 w 35705"/>
                    <a:gd name="connsiteY7" fmla="*/ 6280 h 18061"/>
                    <a:gd name="connsiteX8" fmla="*/ 19617 w 35705"/>
                    <a:gd name="connsiteY8" fmla="*/ 8253 h 18061"/>
                    <a:gd name="connsiteX9" fmla="*/ 21471 w 35705"/>
                    <a:gd name="connsiteY9" fmla="*/ 9868 h 18061"/>
                    <a:gd name="connsiteX10" fmla="*/ 23026 w 35705"/>
                    <a:gd name="connsiteY10" fmla="*/ 11244 h 18061"/>
                    <a:gd name="connsiteX11" fmla="*/ 25299 w 35705"/>
                    <a:gd name="connsiteY11" fmla="*/ 13217 h 18061"/>
                    <a:gd name="connsiteX12" fmla="*/ 25837 w 35705"/>
                    <a:gd name="connsiteY12" fmla="*/ 13696 h 18061"/>
                    <a:gd name="connsiteX13" fmla="*/ 26913 w 35705"/>
                    <a:gd name="connsiteY13" fmla="*/ 14653 h 18061"/>
                    <a:gd name="connsiteX14" fmla="*/ 28050 w 35705"/>
                    <a:gd name="connsiteY14" fmla="*/ 15610 h 18061"/>
                    <a:gd name="connsiteX15" fmla="*/ 28468 w 35705"/>
                    <a:gd name="connsiteY15" fmla="*/ 15969 h 18061"/>
                    <a:gd name="connsiteX16" fmla="*/ 30741 w 35705"/>
                    <a:gd name="connsiteY16" fmla="*/ 17942 h 18061"/>
                    <a:gd name="connsiteX17" fmla="*/ 30861 w 35705"/>
                    <a:gd name="connsiteY17" fmla="*/ 18062 h 18061"/>
                    <a:gd name="connsiteX18" fmla="*/ 32535 w 35705"/>
                    <a:gd name="connsiteY18" fmla="*/ 15251 h 18061"/>
                    <a:gd name="connsiteX19" fmla="*/ 33791 w 35705"/>
                    <a:gd name="connsiteY19" fmla="*/ 13098 h 18061"/>
                    <a:gd name="connsiteX20" fmla="*/ 35466 w 35705"/>
                    <a:gd name="connsiteY20" fmla="*/ 10287 h 18061"/>
                    <a:gd name="connsiteX21" fmla="*/ 35705 w 35705"/>
                    <a:gd name="connsiteY21" fmla="*/ 9868 h 1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05" h="18061">
                      <a:moveTo>
                        <a:pt x="0" y="0"/>
                      </a:moveTo>
                      <a:lnTo>
                        <a:pt x="2871" y="897"/>
                      </a:lnTo>
                      <a:lnTo>
                        <a:pt x="5742" y="1794"/>
                      </a:lnTo>
                      <a:lnTo>
                        <a:pt x="8612" y="2691"/>
                      </a:lnTo>
                      <a:lnTo>
                        <a:pt x="11483" y="3588"/>
                      </a:lnTo>
                      <a:lnTo>
                        <a:pt x="13636" y="4246"/>
                      </a:lnTo>
                      <a:lnTo>
                        <a:pt x="16208" y="5682"/>
                      </a:lnTo>
                      <a:lnTo>
                        <a:pt x="17344" y="6280"/>
                      </a:lnTo>
                      <a:lnTo>
                        <a:pt x="19617" y="8253"/>
                      </a:lnTo>
                      <a:lnTo>
                        <a:pt x="21471" y="9868"/>
                      </a:lnTo>
                      <a:lnTo>
                        <a:pt x="23026" y="11244"/>
                      </a:lnTo>
                      <a:lnTo>
                        <a:pt x="25299" y="13217"/>
                      </a:lnTo>
                      <a:lnTo>
                        <a:pt x="25837" y="13696"/>
                      </a:lnTo>
                      <a:lnTo>
                        <a:pt x="26913" y="14653"/>
                      </a:lnTo>
                      <a:lnTo>
                        <a:pt x="28050" y="15610"/>
                      </a:lnTo>
                      <a:lnTo>
                        <a:pt x="28468" y="15969"/>
                      </a:lnTo>
                      <a:lnTo>
                        <a:pt x="30741" y="17942"/>
                      </a:lnTo>
                      <a:lnTo>
                        <a:pt x="30861" y="18062"/>
                      </a:lnTo>
                      <a:lnTo>
                        <a:pt x="32535" y="15251"/>
                      </a:lnTo>
                      <a:lnTo>
                        <a:pt x="33791" y="13098"/>
                      </a:lnTo>
                      <a:lnTo>
                        <a:pt x="35466" y="10287"/>
                      </a:lnTo>
                      <a:lnTo>
                        <a:pt x="35705" y="9868"/>
                      </a:lnTo>
                    </a:path>
                  </a:pathLst>
                </a:custGeom>
                <a:noFill/>
                <a:ln w="6350" cap="rnd">
                  <a:solidFill>
                    <a:schemeClr val="bg1">
                      <a:alpha val="40000"/>
                    </a:schemeClr>
                  </a:solidFill>
                  <a:prstDash val="solid"/>
                  <a:round/>
                </a:ln>
              </p:spPr>
              <p:txBody>
                <a:bodyPr rtlCol="0" anchor="ctr"/>
                <a:lstStyle/>
                <a:p>
                  <a:endParaRPr lang="en-GB"/>
                </a:p>
              </p:txBody>
            </p:sp>
            <p:sp>
              <p:nvSpPr>
                <p:cNvPr id="5756" name="Vrije vorm: vorm 5755">
                  <a:extLst>
                    <a:ext uri="{FF2B5EF4-FFF2-40B4-BE49-F238E27FC236}">
                      <a16:creationId xmlns:a16="http://schemas.microsoft.com/office/drawing/2014/main" id="{3F4EF220-3826-49EF-A815-B4E53FEAEB1A}"/>
                    </a:ext>
                  </a:extLst>
                </p:cNvPr>
                <p:cNvSpPr/>
                <p:nvPr/>
              </p:nvSpPr>
              <p:spPr>
                <a:xfrm>
                  <a:off x="6645499" y="1633913"/>
                  <a:ext cx="25238" cy="15968"/>
                </a:xfrm>
                <a:custGeom>
                  <a:avLst/>
                  <a:gdLst>
                    <a:gd name="connsiteX0" fmla="*/ 24461 w 25238"/>
                    <a:gd name="connsiteY0" fmla="*/ 15969 h 15968"/>
                    <a:gd name="connsiteX1" fmla="*/ 24880 w 25238"/>
                    <a:gd name="connsiteY1" fmla="*/ 15251 h 15968"/>
                    <a:gd name="connsiteX2" fmla="*/ 24880 w 25238"/>
                    <a:gd name="connsiteY2" fmla="*/ 15251 h 15968"/>
                    <a:gd name="connsiteX3" fmla="*/ 24940 w 25238"/>
                    <a:gd name="connsiteY3" fmla="*/ 15191 h 15968"/>
                    <a:gd name="connsiteX4" fmla="*/ 25238 w 25238"/>
                    <a:gd name="connsiteY4" fmla="*/ 14653 h 15968"/>
                    <a:gd name="connsiteX5" fmla="*/ 25238 w 25238"/>
                    <a:gd name="connsiteY5" fmla="*/ 14653 h 15968"/>
                    <a:gd name="connsiteX6" fmla="*/ 23983 w 25238"/>
                    <a:gd name="connsiteY6" fmla="*/ 13576 h 15968"/>
                    <a:gd name="connsiteX7" fmla="*/ 21710 w 25238"/>
                    <a:gd name="connsiteY7" fmla="*/ 11603 h 15968"/>
                    <a:gd name="connsiteX8" fmla="*/ 21650 w 25238"/>
                    <a:gd name="connsiteY8" fmla="*/ 11603 h 15968"/>
                    <a:gd name="connsiteX9" fmla="*/ 20933 w 25238"/>
                    <a:gd name="connsiteY9" fmla="*/ 11005 h 15968"/>
                    <a:gd name="connsiteX10" fmla="*/ 19079 w 25238"/>
                    <a:gd name="connsiteY10" fmla="*/ 9390 h 15968"/>
                    <a:gd name="connsiteX11" fmla="*/ 16806 w 25238"/>
                    <a:gd name="connsiteY11" fmla="*/ 7416 h 15968"/>
                    <a:gd name="connsiteX12" fmla="*/ 14533 w 25238"/>
                    <a:gd name="connsiteY12" fmla="*/ 5442 h 15968"/>
                    <a:gd name="connsiteX13" fmla="*/ 13756 w 25238"/>
                    <a:gd name="connsiteY13" fmla="*/ 4725 h 15968"/>
                    <a:gd name="connsiteX14" fmla="*/ 12081 w 25238"/>
                    <a:gd name="connsiteY14" fmla="*/ 3768 h 15968"/>
                    <a:gd name="connsiteX15" fmla="*/ 9210 w 25238"/>
                    <a:gd name="connsiteY15" fmla="*/ 2871 h 15968"/>
                    <a:gd name="connsiteX16" fmla="*/ 6340 w 25238"/>
                    <a:gd name="connsiteY16" fmla="*/ 1974 h 15968"/>
                    <a:gd name="connsiteX17" fmla="*/ 3469 w 25238"/>
                    <a:gd name="connsiteY17" fmla="*/ 1076 h 15968"/>
                    <a:gd name="connsiteX18" fmla="*/ 598 w 25238"/>
                    <a:gd name="connsiteY18" fmla="*/ 179 h 15968"/>
                    <a:gd name="connsiteX19" fmla="*/ 0 w 25238"/>
                    <a:gd name="connsiteY19" fmla="*/ 0 h 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238" h="15968">
                      <a:moveTo>
                        <a:pt x="24461" y="15969"/>
                      </a:moveTo>
                      <a:lnTo>
                        <a:pt x="24880" y="15251"/>
                      </a:lnTo>
                      <a:lnTo>
                        <a:pt x="24880" y="15251"/>
                      </a:lnTo>
                      <a:lnTo>
                        <a:pt x="24940" y="15191"/>
                      </a:lnTo>
                      <a:lnTo>
                        <a:pt x="25238" y="14653"/>
                      </a:lnTo>
                      <a:lnTo>
                        <a:pt x="25238" y="14653"/>
                      </a:lnTo>
                      <a:lnTo>
                        <a:pt x="23983" y="13576"/>
                      </a:lnTo>
                      <a:lnTo>
                        <a:pt x="21710" y="11603"/>
                      </a:lnTo>
                      <a:lnTo>
                        <a:pt x="21650" y="11603"/>
                      </a:lnTo>
                      <a:lnTo>
                        <a:pt x="20933" y="11005"/>
                      </a:lnTo>
                      <a:lnTo>
                        <a:pt x="19079" y="9390"/>
                      </a:lnTo>
                      <a:lnTo>
                        <a:pt x="16806" y="7416"/>
                      </a:lnTo>
                      <a:lnTo>
                        <a:pt x="14533" y="5442"/>
                      </a:lnTo>
                      <a:lnTo>
                        <a:pt x="13756" y="4725"/>
                      </a:lnTo>
                      <a:lnTo>
                        <a:pt x="12081" y="3768"/>
                      </a:lnTo>
                      <a:lnTo>
                        <a:pt x="9210" y="2871"/>
                      </a:lnTo>
                      <a:lnTo>
                        <a:pt x="6340" y="1974"/>
                      </a:lnTo>
                      <a:lnTo>
                        <a:pt x="3469" y="1076"/>
                      </a:lnTo>
                      <a:lnTo>
                        <a:pt x="598" y="17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57" name="Vrije vorm: vorm 5756">
                  <a:extLst>
                    <a:ext uri="{FF2B5EF4-FFF2-40B4-BE49-F238E27FC236}">
                      <a16:creationId xmlns:a16="http://schemas.microsoft.com/office/drawing/2014/main" id="{7482C21A-D7BA-4B1E-81BC-0C55440078E9}"/>
                    </a:ext>
                  </a:extLst>
                </p:cNvPr>
                <p:cNvSpPr/>
                <p:nvPr/>
              </p:nvSpPr>
              <p:spPr>
                <a:xfrm>
                  <a:off x="6670438" y="1649104"/>
                  <a:ext cx="3708" cy="1255"/>
                </a:xfrm>
                <a:custGeom>
                  <a:avLst/>
                  <a:gdLst>
                    <a:gd name="connsiteX0" fmla="*/ 0 w 3708"/>
                    <a:gd name="connsiteY0" fmla="*/ 0 h 1255"/>
                    <a:gd name="connsiteX1" fmla="*/ 2811 w 3708"/>
                    <a:gd name="connsiteY1" fmla="*/ 957 h 1255"/>
                    <a:gd name="connsiteX2" fmla="*/ 3708 w 3708"/>
                    <a:gd name="connsiteY2" fmla="*/ 1256 h 1255"/>
                    <a:gd name="connsiteX3" fmla="*/ 897 w 3708"/>
                    <a:gd name="connsiteY3" fmla="*/ 299 h 1255"/>
                    <a:gd name="connsiteX4" fmla="*/ 0 w 3708"/>
                    <a:gd name="connsiteY4" fmla="*/ 0 h 1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8" h="1255">
                      <a:moveTo>
                        <a:pt x="0" y="0"/>
                      </a:moveTo>
                      <a:lnTo>
                        <a:pt x="2811" y="957"/>
                      </a:lnTo>
                      <a:lnTo>
                        <a:pt x="3708" y="1256"/>
                      </a:lnTo>
                      <a:lnTo>
                        <a:pt x="897" y="29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58" name="Vrije vorm: vorm 5757">
                  <a:extLst>
                    <a:ext uri="{FF2B5EF4-FFF2-40B4-BE49-F238E27FC236}">
                      <a16:creationId xmlns:a16="http://schemas.microsoft.com/office/drawing/2014/main" id="{262C3A91-580C-4467-BE60-CF3309CFE959}"/>
                    </a:ext>
                  </a:extLst>
                </p:cNvPr>
                <p:cNvSpPr/>
                <p:nvPr/>
              </p:nvSpPr>
              <p:spPr>
                <a:xfrm>
                  <a:off x="6676957" y="1606402"/>
                  <a:ext cx="20035" cy="39113"/>
                </a:xfrm>
                <a:custGeom>
                  <a:avLst/>
                  <a:gdLst>
                    <a:gd name="connsiteX0" fmla="*/ 16387 w 20035"/>
                    <a:gd name="connsiteY0" fmla="*/ 0 h 39113"/>
                    <a:gd name="connsiteX1" fmla="*/ 18540 w 20035"/>
                    <a:gd name="connsiteY1" fmla="*/ 2093 h 39113"/>
                    <a:gd name="connsiteX2" fmla="*/ 18839 w 20035"/>
                    <a:gd name="connsiteY2" fmla="*/ 2392 h 39113"/>
                    <a:gd name="connsiteX3" fmla="*/ 19377 w 20035"/>
                    <a:gd name="connsiteY3" fmla="*/ 5502 h 39113"/>
                    <a:gd name="connsiteX4" fmla="*/ 19916 w 20035"/>
                    <a:gd name="connsiteY4" fmla="*/ 8612 h 39113"/>
                    <a:gd name="connsiteX5" fmla="*/ 20035 w 20035"/>
                    <a:gd name="connsiteY5" fmla="*/ 9270 h 39113"/>
                    <a:gd name="connsiteX6" fmla="*/ 18361 w 20035"/>
                    <a:gd name="connsiteY6" fmla="*/ 12081 h 39113"/>
                    <a:gd name="connsiteX7" fmla="*/ 16686 w 20035"/>
                    <a:gd name="connsiteY7" fmla="*/ 14892 h 39113"/>
                    <a:gd name="connsiteX8" fmla="*/ 15011 w 20035"/>
                    <a:gd name="connsiteY8" fmla="*/ 17703 h 39113"/>
                    <a:gd name="connsiteX9" fmla="*/ 13337 w 20035"/>
                    <a:gd name="connsiteY9" fmla="*/ 20514 h 39113"/>
                    <a:gd name="connsiteX10" fmla="*/ 11662 w 20035"/>
                    <a:gd name="connsiteY10" fmla="*/ 23325 h 39113"/>
                    <a:gd name="connsiteX11" fmla="*/ 9988 w 20035"/>
                    <a:gd name="connsiteY11" fmla="*/ 26136 h 39113"/>
                    <a:gd name="connsiteX12" fmla="*/ 8313 w 20035"/>
                    <a:gd name="connsiteY12" fmla="*/ 28947 h 39113"/>
                    <a:gd name="connsiteX13" fmla="*/ 6639 w 20035"/>
                    <a:gd name="connsiteY13" fmla="*/ 31758 h 39113"/>
                    <a:gd name="connsiteX14" fmla="*/ 4964 w 20035"/>
                    <a:gd name="connsiteY14" fmla="*/ 34569 h 39113"/>
                    <a:gd name="connsiteX15" fmla="*/ 3409 w 20035"/>
                    <a:gd name="connsiteY15" fmla="*/ 37200 h 39113"/>
                    <a:gd name="connsiteX16" fmla="*/ 598 w 20035"/>
                    <a:gd name="connsiteY16" fmla="*/ 38755 h 39113"/>
                    <a:gd name="connsiteX17" fmla="*/ 0 w 20035"/>
                    <a:gd name="connsiteY17" fmla="*/ 39114 h 3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035" h="39113">
                      <a:moveTo>
                        <a:pt x="16387" y="0"/>
                      </a:moveTo>
                      <a:lnTo>
                        <a:pt x="18540" y="2093"/>
                      </a:lnTo>
                      <a:lnTo>
                        <a:pt x="18839" y="2392"/>
                      </a:lnTo>
                      <a:lnTo>
                        <a:pt x="19377" y="5502"/>
                      </a:lnTo>
                      <a:lnTo>
                        <a:pt x="19916" y="8612"/>
                      </a:lnTo>
                      <a:lnTo>
                        <a:pt x="20035" y="9270"/>
                      </a:lnTo>
                      <a:lnTo>
                        <a:pt x="18361" y="12081"/>
                      </a:lnTo>
                      <a:lnTo>
                        <a:pt x="16686" y="14892"/>
                      </a:lnTo>
                      <a:lnTo>
                        <a:pt x="15011" y="17703"/>
                      </a:lnTo>
                      <a:lnTo>
                        <a:pt x="13337" y="20514"/>
                      </a:lnTo>
                      <a:lnTo>
                        <a:pt x="11662" y="23325"/>
                      </a:lnTo>
                      <a:lnTo>
                        <a:pt x="9988" y="26136"/>
                      </a:lnTo>
                      <a:lnTo>
                        <a:pt x="8313" y="28947"/>
                      </a:lnTo>
                      <a:lnTo>
                        <a:pt x="6639" y="31758"/>
                      </a:lnTo>
                      <a:lnTo>
                        <a:pt x="4964" y="34569"/>
                      </a:lnTo>
                      <a:lnTo>
                        <a:pt x="3409" y="37200"/>
                      </a:lnTo>
                      <a:lnTo>
                        <a:pt x="598" y="38755"/>
                      </a:lnTo>
                      <a:lnTo>
                        <a:pt x="0" y="39114"/>
                      </a:lnTo>
                    </a:path>
                  </a:pathLst>
                </a:custGeom>
                <a:noFill/>
                <a:ln w="6350" cap="rnd">
                  <a:solidFill>
                    <a:schemeClr val="bg1">
                      <a:alpha val="40000"/>
                    </a:schemeClr>
                  </a:solidFill>
                  <a:prstDash val="solid"/>
                  <a:round/>
                </a:ln>
              </p:spPr>
              <p:txBody>
                <a:bodyPr rtlCol="0" anchor="ctr"/>
                <a:lstStyle/>
                <a:p>
                  <a:endParaRPr lang="en-GB"/>
                </a:p>
              </p:txBody>
            </p:sp>
            <p:sp>
              <p:nvSpPr>
                <p:cNvPr id="5759" name="Vrije vorm: vorm 5758">
                  <a:extLst>
                    <a:ext uri="{FF2B5EF4-FFF2-40B4-BE49-F238E27FC236}">
                      <a16:creationId xmlns:a16="http://schemas.microsoft.com/office/drawing/2014/main" id="{F8470F9A-55BB-4906-8E5A-85103009AE12}"/>
                    </a:ext>
                  </a:extLst>
                </p:cNvPr>
                <p:cNvSpPr/>
                <p:nvPr/>
              </p:nvSpPr>
              <p:spPr>
                <a:xfrm>
                  <a:off x="6661946" y="1618064"/>
                  <a:ext cx="10645" cy="12559"/>
                </a:xfrm>
                <a:custGeom>
                  <a:avLst/>
                  <a:gdLst>
                    <a:gd name="connsiteX0" fmla="*/ 0 w 10645"/>
                    <a:gd name="connsiteY0" fmla="*/ 12560 h 12559"/>
                    <a:gd name="connsiteX1" fmla="*/ 2392 w 10645"/>
                    <a:gd name="connsiteY1" fmla="*/ 10406 h 12559"/>
                    <a:gd name="connsiteX2" fmla="*/ 2691 w 10645"/>
                    <a:gd name="connsiteY2" fmla="*/ 10167 h 12559"/>
                    <a:gd name="connsiteX3" fmla="*/ 5083 w 10645"/>
                    <a:gd name="connsiteY3" fmla="*/ 8014 h 12559"/>
                    <a:gd name="connsiteX4" fmla="*/ 6698 w 10645"/>
                    <a:gd name="connsiteY4" fmla="*/ 6579 h 12559"/>
                    <a:gd name="connsiteX5" fmla="*/ 8373 w 10645"/>
                    <a:gd name="connsiteY5" fmla="*/ 3768 h 12559"/>
                    <a:gd name="connsiteX6" fmla="*/ 9210 w 10645"/>
                    <a:gd name="connsiteY6" fmla="*/ 2332 h 12559"/>
                    <a:gd name="connsiteX7" fmla="*/ 9629 w 10645"/>
                    <a:gd name="connsiteY7" fmla="*/ 1675 h 12559"/>
                    <a:gd name="connsiteX8" fmla="*/ 10645 w 10645"/>
                    <a:gd name="connsiteY8"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5" h="12559">
                      <a:moveTo>
                        <a:pt x="0" y="12560"/>
                      </a:moveTo>
                      <a:lnTo>
                        <a:pt x="2392" y="10406"/>
                      </a:lnTo>
                      <a:lnTo>
                        <a:pt x="2691" y="10167"/>
                      </a:lnTo>
                      <a:lnTo>
                        <a:pt x="5083" y="8014"/>
                      </a:lnTo>
                      <a:lnTo>
                        <a:pt x="6698" y="6579"/>
                      </a:lnTo>
                      <a:lnTo>
                        <a:pt x="8373" y="3768"/>
                      </a:lnTo>
                      <a:lnTo>
                        <a:pt x="9210" y="2332"/>
                      </a:lnTo>
                      <a:lnTo>
                        <a:pt x="9629" y="1675"/>
                      </a:lnTo>
                      <a:lnTo>
                        <a:pt x="10645" y="0"/>
                      </a:lnTo>
                    </a:path>
                  </a:pathLst>
                </a:custGeom>
                <a:noFill/>
                <a:ln w="6350" cap="rnd">
                  <a:solidFill>
                    <a:schemeClr val="bg1">
                      <a:alpha val="40000"/>
                    </a:schemeClr>
                  </a:solidFill>
                  <a:prstDash val="solid"/>
                  <a:round/>
                </a:ln>
              </p:spPr>
              <p:txBody>
                <a:bodyPr rtlCol="0" anchor="ctr"/>
                <a:lstStyle/>
                <a:p>
                  <a:endParaRPr lang="en-GB"/>
                </a:p>
              </p:txBody>
            </p:sp>
            <p:sp>
              <p:nvSpPr>
                <p:cNvPr id="5760" name="Vrije vorm: vorm 5759">
                  <a:extLst>
                    <a:ext uri="{FF2B5EF4-FFF2-40B4-BE49-F238E27FC236}">
                      <a16:creationId xmlns:a16="http://schemas.microsoft.com/office/drawing/2014/main" id="{99FFF49A-6AE8-4770-8177-0457D14F85E9}"/>
                    </a:ext>
                  </a:extLst>
                </p:cNvPr>
                <p:cNvSpPr/>
                <p:nvPr/>
              </p:nvSpPr>
              <p:spPr>
                <a:xfrm>
                  <a:off x="6656683" y="1587802"/>
                  <a:ext cx="31099" cy="30860"/>
                </a:xfrm>
                <a:custGeom>
                  <a:avLst/>
                  <a:gdLst>
                    <a:gd name="connsiteX0" fmla="*/ 2691 w 31099"/>
                    <a:gd name="connsiteY0" fmla="*/ 28648 h 30860"/>
                    <a:gd name="connsiteX1" fmla="*/ 897 w 31099"/>
                    <a:gd name="connsiteY1" fmla="*/ 26435 h 30860"/>
                    <a:gd name="connsiteX2" fmla="*/ 778 w 31099"/>
                    <a:gd name="connsiteY2" fmla="*/ 26016 h 30860"/>
                    <a:gd name="connsiteX3" fmla="*/ 179 w 31099"/>
                    <a:gd name="connsiteY3" fmla="*/ 24102 h 30860"/>
                    <a:gd name="connsiteX4" fmla="*/ 0 w 31099"/>
                    <a:gd name="connsiteY4" fmla="*/ 23444 h 30860"/>
                    <a:gd name="connsiteX5" fmla="*/ 0 w 31099"/>
                    <a:gd name="connsiteY5" fmla="*/ 21531 h 30860"/>
                    <a:gd name="connsiteX6" fmla="*/ 0 w 31099"/>
                    <a:gd name="connsiteY6" fmla="*/ 20394 h 30860"/>
                    <a:gd name="connsiteX7" fmla="*/ 0 w 31099"/>
                    <a:gd name="connsiteY7" fmla="*/ 20335 h 30860"/>
                    <a:gd name="connsiteX8" fmla="*/ 0 w 31099"/>
                    <a:gd name="connsiteY8" fmla="*/ 20155 h 30860"/>
                    <a:gd name="connsiteX9" fmla="*/ 0 w 31099"/>
                    <a:gd name="connsiteY9" fmla="*/ 19916 h 30860"/>
                    <a:gd name="connsiteX10" fmla="*/ 837 w 31099"/>
                    <a:gd name="connsiteY10" fmla="*/ 16806 h 30860"/>
                    <a:gd name="connsiteX11" fmla="*/ 1017 w 31099"/>
                    <a:gd name="connsiteY11" fmla="*/ 16148 h 30860"/>
                    <a:gd name="connsiteX12" fmla="*/ 2333 w 31099"/>
                    <a:gd name="connsiteY12" fmla="*/ 13457 h 30860"/>
                    <a:gd name="connsiteX13" fmla="*/ 2452 w 31099"/>
                    <a:gd name="connsiteY13" fmla="*/ 13217 h 30860"/>
                    <a:gd name="connsiteX14" fmla="*/ 2930 w 31099"/>
                    <a:gd name="connsiteY14" fmla="*/ 12260 h 30860"/>
                    <a:gd name="connsiteX15" fmla="*/ 4785 w 31099"/>
                    <a:gd name="connsiteY15" fmla="*/ 9569 h 30860"/>
                    <a:gd name="connsiteX16" fmla="*/ 5382 w 31099"/>
                    <a:gd name="connsiteY16" fmla="*/ 8732 h 30860"/>
                    <a:gd name="connsiteX17" fmla="*/ 5502 w 31099"/>
                    <a:gd name="connsiteY17" fmla="*/ 8552 h 30860"/>
                    <a:gd name="connsiteX18" fmla="*/ 7775 w 31099"/>
                    <a:gd name="connsiteY18" fmla="*/ 6220 h 30860"/>
                    <a:gd name="connsiteX19" fmla="*/ 8672 w 31099"/>
                    <a:gd name="connsiteY19" fmla="*/ 5263 h 30860"/>
                    <a:gd name="connsiteX20" fmla="*/ 11244 w 31099"/>
                    <a:gd name="connsiteY20" fmla="*/ 3349 h 30860"/>
                    <a:gd name="connsiteX21" fmla="*/ 12201 w 31099"/>
                    <a:gd name="connsiteY21" fmla="*/ 2632 h 30860"/>
                    <a:gd name="connsiteX22" fmla="*/ 15072 w 31099"/>
                    <a:gd name="connsiteY22" fmla="*/ 1256 h 30860"/>
                    <a:gd name="connsiteX23" fmla="*/ 15968 w 31099"/>
                    <a:gd name="connsiteY23" fmla="*/ 837 h 30860"/>
                    <a:gd name="connsiteX24" fmla="*/ 18959 w 31099"/>
                    <a:gd name="connsiteY24" fmla="*/ 120 h 30860"/>
                    <a:gd name="connsiteX25" fmla="*/ 19557 w 31099"/>
                    <a:gd name="connsiteY25" fmla="*/ 0 h 30860"/>
                    <a:gd name="connsiteX26" fmla="*/ 22607 w 31099"/>
                    <a:gd name="connsiteY26" fmla="*/ 120 h 30860"/>
                    <a:gd name="connsiteX27" fmla="*/ 22846 w 31099"/>
                    <a:gd name="connsiteY27" fmla="*/ 120 h 30860"/>
                    <a:gd name="connsiteX28" fmla="*/ 25538 w 31099"/>
                    <a:gd name="connsiteY28" fmla="*/ 1256 h 30860"/>
                    <a:gd name="connsiteX29" fmla="*/ 27631 w 31099"/>
                    <a:gd name="connsiteY29" fmla="*/ 3349 h 30860"/>
                    <a:gd name="connsiteX30" fmla="*/ 28050 w 31099"/>
                    <a:gd name="connsiteY30" fmla="*/ 3768 h 30860"/>
                    <a:gd name="connsiteX31" fmla="*/ 30023 w 31099"/>
                    <a:gd name="connsiteY31" fmla="*/ 5861 h 30860"/>
                    <a:gd name="connsiteX32" fmla="*/ 31040 w 31099"/>
                    <a:gd name="connsiteY32" fmla="*/ 8792 h 30860"/>
                    <a:gd name="connsiteX33" fmla="*/ 31040 w 31099"/>
                    <a:gd name="connsiteY33" fmla="*/ 8852 h 30860"/>
                    <a:gd name="connsiteX34" fmla="*/ 31100 w 31099"/>
                    <a:gd name="connsiteY34" fmla="*/ 12021 h 30860"/>
                    <a:gd name="connsiteX35" fmla="*/ 31100 w 31099"/>
                    <a:gd name="connsiteY35" fmla="*/ 12380 h 30860"/>
                    <a:gd name="connsiteX36" fmla="*/ 30801 w 31099"/>
                    <a:gd name="connsiteY36" fmla="*/ 13696 h 30860"/>
                    <a:gd name="connsiteX37" fmla="*/ 30143 w 31099"/>
                    <a:gd name="connsiteY37" fmla="*/ 16327 h 30860"/>
                    <a:gd name="connsiteX38" fmla="*/ 29844 w 31099"/>
                    <a:gd name="connsiteY38" fmla="*/ 16985 h 30860"/>
                    <a:gd name="connsiteX39" fmla="*/ 29784 w 31099"/>
                    <a:gd name="connsiteY39" fmla="*/ 17105 h 30860"/>
                    <a:gd name="connsiteX40" fmla="*/ 28946 w 31099"/>
                    <a:gd name="connsiteY40" fmla="*/ 18839 h 30860"/>
                    <a:gd name="connsiteX41" fmla="*/ 28767 w 31099"/>
                    <a:gd name="connsiteY41" fmla="*/ 19198 h 30860"/>
                    <a:gd name="connsiteX42" fmla="*/ 28229 w 31099"/>
                    <a:gd name="connsiteY42" fmla="*/ 20394 h 30860"/>
                    <a:gd name="connsiteX43" fmla="*/ 27631 w 31099"/>
                    <a:gd name="connsiteY43" fmla="*/ 21232 h 30860"/>
                    <a:gd name="connsiteX44" fmla="*/ 26375 w 31099"/>
                    <a:gd name="connsiteY44" fmla="*/ 23026 h 30860"/>
                    <a:gd name="connsiteX45" fmla="*/ 25538 w 31099"/>
                    <a:gd name="connsiteY45" fmla="*/ 24222 h 30860"/>
                    <a:gd name="connsiteX46" fmla="*/ 23265 w 31099"/>
                    <a:gd name="connsiteY46" fmla="*/ 26495 h 30860"/>
                    <a:gd name="connsiteX47" fmla="*/ 22248 w 31099"/>
                    <a:gd name="connsiteY47" fmla="*/ 27571 h 30860"/>
                    <a:gd name="connsiteX48" fmla="*/ 21650 w 31099"/>
                    <a:gd name="connsiteY48" fmla="*/ 27990 h 30860"/>
                    <a:gd name="connsiteX49" fmla="*/ 19019 w 31099"/>
                    <a:gd name="connsiteY49" fmla="*/ 29844 h 30860"/>
                    <a:gd name="connsiteX50" fmla="*/ 18540 w 31099"/>
                    <a:gd name="connsiteY50" fmla="*/ 30203 h 30860"/>
                    <a:gd name="connsiteX51" fmla="*/ 17763 w 31099"/>
                    <a:gd name="connsiteY51" fmla="*/ 30561 h 30860"/>
                    <a:gd name="connsiteX52" fmla="*/ 17583 w 31099"/>
                    <a:gd name="connsiteY52" fmla="*/ 30681 h 30860"/>
                    <a:gd name="connsiteX53" fmla="*/ 17583 w 31099"/>
                    <a:gd name="connsiteY53" fmla="*/ 30681 h 30860"/>
                    <a:gd name="connsiteX54" fmla="*/ 17225 w 31099"/>
                    <a:gd name="connsiteY54" fmla="*/ 30861 h 30860"/>
                    <a:gd name="connsiteX55" fmla="*/ 17225 w 31099"/>
                    <a:gd name="connsiteY55" fmla="*/ 30861 h 3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1099" h="30860">
                      <a:moveTo>
                        <a:pt x="2691" y="28648"/>
                      </a:moveTo>
                      <a:lnTo>
                        <a:pt x="897" y="26435"/>
                      </a:lnTo>
                      <a:lnTo>
                        <a:pt x="778" y="26016"/>
                      </a:lnTo>
                      <a:lnTo>
                        <a:pt x="179" y="24102"/>
                      </a:lnTo>
                      <a:lnTo>
                        <a:pt x="0" y="23444"/>
                      </a:lnTo>
                      <a:lnTo>
                        <a:pt x="0" y="21531"/>
                      </a:lnTo>
                      <a:lnTo>
                        <a:pt x="0" y="20394"/>
                      </a:lnTo>
                      <a:lnTo>
                        <a:pt x="0" y="20335"/>
                      </a:lnTo>
                      <a:lnTo>
                        <a:pt x="0" y="20155"/>
                      </a:lnTo>
                      <a:lnTo>
                        <a:pt x="0" y="19916"/>
                      </a:lnTo>
                      <a:lnTo>
                        <a:pt x="837" y="16806"/>
                      </a:lnTo>
                      <a:lnTo>
                        <a:pt x="1017" y="16148"/>
                      </a:lnTo>
                      <a:lnTo>
                        <a:pt x="2333" y="13457"/>
                      </a:lnTo>
                      <a:lnTo>
                        <a:pt x="2452" y="13217"/>
                      </a:lnTo>
                      <a:lnTo>
                        <a:pt x="2930" y="12260"/>
                      </a:lnTo>
                      <a:lnTo>
                        <a:pt x="4785" y="9569"/>
                      </a:lnTo>
                      <a:lnTo>
                        <a:pt x="5382" y="8732"/>
                      </a:lnTo>
                      <a:lnTo>
                        <a:pt x="5502" y="8552"/>
                      </a:lnTo>
                      <a:lnTo>
                        <a:pt x="7775" y="6220"/>
                      </a:lnTo>
                      <a:lnTo>
                        <a:pt x="8672" y="5263"/>
                      </a:lnTo>
                      <a:lnTo>
                        <a:pt x="11244" y="3349"/>
                      </a:lnTo>
                      <a:lnTo>
                        <a:pt x="12201" y="2632"/>
                      </a:lnTo>
                      <a:lnTo>
                        <a:pt x="15072" y="1256"/>
                      </a:lnTo>
                      <a:lnTo>
                        <a:pt x="15968" y="837"/>
                      </a:lnTo>
                      <a:lnTo>
                        <a:pt x="18959" y="120"/>
                      </a:lnTo>
                      <a:lnTo>
                        <a:pt x="19557" y="0"/>
                      </a:lnTo>
                      <a:lnTo>
                        <a:pt x="22607" y="120"/>
                      </a:lnTo>
                      <a:lnTo>
                        <a:pt x="22846" y="120"/>
                      </a:lnTo>
                      <a:lnTo>
                        <a:pt x="25538" y="1256"/>
                      </a:lnTo>
                      <a:lnTo>
                        <a:pt x="27631" y="3349"/>
                      </a:lnTo>
                      <a:lnTo>
                        <a:pt x="28050" y="3768"/>
                      </a:lnTo>
                      <a:lnTo>
                        <a:pt x="30023" y="5861"/>
                      </a:lnTo>
                      <a:lnTo>
                        <a:pt x="31040" y="8792"/>
                      </a:lnTo>
                      <a:lnTo>
                        <a:pt x="31040" y="8852"/>
                      </a:lnTo>
                      <a:lnTo>
                        <a:pt x="31100" y="12021"/>
                      </a:lnTo>
                      <a:lnTo>
                        <a:pt x="31100" y="12380"/>
                      </a:lnTo>
                      <a:lnTo>
                        <a:pt x="30801" y="13696"/>
                      </a:lnTo>
                      <a:lnTo>
                        <a:pt x="30143" y="16327"/>
                      </a:lnTo>
                      <a:lnTo>
                        <a:pt x="29844" y="16985"/>
                      </a:lnTo>
                      <a:lnTo>
                        <a:pt x="29784" y="17105"/>
                      </a:lnTo>
                      <a:lnTo>
                        <a:pt x="28946" y="18839"/>
                      </a:lnTo>
                      <a:lnTo>
                        <a:pt x="28767" y="19198"/>
                      </a:lnTo>
                      <a:lnTo>
                        <a:pt x="28229" y="20394"/>
                      </a:lnTo>
                      <a:lnTo>
                        <a:pt x="27631" y="21232"/>
                      </a:lnTo>
                      <a:lnTo>
                        <a:pt x="26375" y="23026"/>
                      </a:lnTo>
                      <a:lnTo>
                        <a:pt x="25538" y="24222"/>
                      </a:lnTo>
                      <a:lnTo>
                        <a:pt x="23265" y="26495"/>
                      </a:lnTo>
                      <a:lnTo>
                        <a:pt x="22248" y="27571"/>
                      </a:lnTo>
                      <a:lnTo>
                        <a:pt x="21650" y="27990"/>
                      </a:lnTo>
                      <a:lnTo>
                        <a:pt x="19019" y="29844"/>
                      </a:lnTo>
                      <a:lnTo>
                        <a:pt x="18540" y="30203"/>
                      </a:lnTo>
                      <a:lnTo>
                        <a:pt x="17763" y="30561"/>
                      </a:lnTo>
                      <a:lnTo>
                        <a:pt x="17583" y="30681"/>
                      </a:lnTo>
                      <a:lnTo>
                        <a:pt x="17583" y="30681"/>
                      </a:lnTo>
                      <a:lnTo>
                        <a:pt x="17225" y="30861"/>
                      </a:lnTo>
                      <a:lnTo>
                        <a:pt x="17225" y="30861"/>
                      </a:lnTo>
                    </a:path>
                  </a:pathLst>
                </a:custGeom>
                <a:noFill/>
                <a:ln w="6350" cap="rnd">
                  <a:solidFill>
                    <a:schemeClr val="bg1">
                      <a:alpha val="40000"/>
                    </a:schemeClr>
                  </a:solidFill>
                  <a:prstDash val="solid"/>
                  <a:round/>
                </a:ln>
              </p:spPr>
              <p:txBody>
                <a:bodyPr rtlCol="0" anchor="ctr"/>
                <a:lstStyle/>
                <a:p>
                  <a:endParaRPr lang="en-GB"/>
                </a:p>
              </p:txBody>
            </p:sp>
            <p:sp>
              <p:nvSpPr>
                <p:cNvPr id="5761" name="Vrije vorm: vorm 5760">
                  <a:extLst>
                    <a:ext uri="{FF2B5EF4-FFF2-40B4-BE49-F238E27FC236}">
                      <a16:creationId xmlns:a16="http://schemas.microsoft.com/office/drawing/2014/main" id="{CAA3EF9B-0554-4F8C-AF07-5A1D2C2B1E86}"/>
                    </a:ext>
                  </a:extLst>
                </p:cNvPr>
                <p:cNvSpPr/>
                <p:nvPr/>
              </p:nvSpPr>
              <p:spPr>
                <a:xfrm>
                  <a:off x="6659374" y="1588998"/>
                  <a:ext cx="25956" cy="29066"/>
                </a:xfrm>
                <a:custGeom>
                  <a:avLst/>
                  <a:gdLst>
                    <a:gd name="connsiteX0" fmla="*/ 0 w 25956"/>
                    <a:gd name="connsiteY0" fmla="*/ 27452 h 29066"/>
                    <a:gd name="connsiteX1" fmla="*/ 2572 w 25956"/>
                    <a:gd name="connsiteY1" fmla="*/ 28767 h 29066"/>
                    <a:gd name="connsiteX2" fmla="*/ 5562 w 25956"/>
                    <a:gd name="connsiteY2" fmla="*/ 29066 h 29066"/>
                    <a:gd name="connsiteX3" fmla="*/ 5801 w 25956"/>
                    <a:gd name="connsiteY3" fmla="*/ 29066 h 29066"/>
                    <a:gd name="connsiteX4" fmla="*/ 8672 w 25956"/>
                    <a:gd name="connsiteY4" fmla="*/ 28468 h 29066"/>
                    <a:gd name="connsiteX5" fmla="*/ 9449 w 25956"/>
                    <a:gd name="connsiteY5" fmla="*/ 28289 h 29066"/>
                    <a:gd name="connsiteX6" fmla="*/ 9988 w 25956"/>
                    <a:gd name="connsiteY6" fmla="*/ 28050 h 29066"/>
                    <a:gd name="connsiteX7" fmla="*/ 10048 w 25956"/>
                    <a:gd name="connsiteY7" fmla="*/ 28050 h 29066"/>
                    <a:gd name="connsiteX8" fmla="*/ 12559 w 25956"/>
                    <a:gd name="connsiteY8" fmla="*/ 26853 h 29066"/>
                    <a:gd name="connsiteX9" fmla="*/ 13277 w 25956"/>
                    <a:gd name="connsiteY9" fmla="*/ 26554 h 29066"/>
                    <a:gd name="connsiteX10" fmla="*/ 14712 w 25956"/>
                    <a:gd name="connsiteY10" fmla="*/ 25538 h 29066"/>
                    <a:gd name="connsiteX11" fmla="*/ 16985 w 25956"/>
                    <a:gd name="connsiteY11" fmla="*/ 23923 h 29066"/>
                    <a:gd name="connsiteX12" fmla="*/ 19138 w 25956"/>
                    <a:gd name="connsiteY12" fmla="*/ 21770 h 29066"/>
                    <a:gd name="connsiteX13" fmla="*/ 20334 w 25956"/>
                    <a:gd name="connsiteY13" fmla="*/ 20574 h 29066"/>
                    <a:gd name="connsiteX14" fmla="*/ 22248 w 25956"/>
                    <a:gd name="connsiteY14" fmla="*/ 17882 h 29066"/>
                    <a:gd name="connsiteX15" fmla="*/ 22846 w 25956"/>
                    <a:gd name="connsiteY15" fmla="*/ 17045 h 29066"/>
                    <a:gd name="connsiteX16" fmla="*/ 23086 w 25956"/>
                    <a:gd name="connsiteY16" fmla="*/ 16686 h 29066"/>
                    <a:gd name="connsiteX17" fmla="*/ 23683 w 25956"/>
                    <a:gd name="connsiteY17" fmla="*/ 15430 h 29066"/>
                    <a:gd name="connsiteX18" fmla="*/ 24342 w 25956"/>
                    <a:gd name="connsiteY18" fmla="*/ 14055 h 29066"/>
                    <a:gd name="connsiteX19" fmla="*/ 24999 w 25956"/>
                    <a:gd name="connsiteY19" fmla="*/ 12619 h 29066"/>
                    <a:gd name="connsiteX20" fmla="*/ 25657 w 25956"/>
                    <a:gd name="connsiteY20" fmla="*/ 9988 h 29066"/>
                    <a:gd name="connsiteX21" fmla="*/ 25956 w 25956"/>
                    <a:gd name="connsiteY21" fmla="*/ 8672 h 29066"/>
                    <a:gd name="connsiteX22" fmla="*/ 25896 w 25956"/>
                    <a:gd name="connsiteY22" fmla="*/ 5502 h 29066"/>
                    <a:gd name="connsiteX23" fmla="*/ 25896 w 25956"/>
                    <a:gd name="connsiteY23" fmla="*/ 5084 h 29066"/>
                    <a:gd name="connsiteX24" fmla="*/ 24880 w 25956"/>
                    <a:gd name="connsiteY24" fmla="*/ 2153 h 29066"/>
                    <a:gd name="connsiteX25" fmla="*/ 24880 w 25956"/>
                    <a:gd name="connsiteY25" fmla="*/ 2093 h 29066"/>
                    <a:gd name="connsiteX26" fmla="*/ 22906 w 25956"/>
                    <a:gd name="connsiteY26" fmla="*/ 0 h 2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956" h="29066">
                      <a:moveTo>
                        <a:pt x="0" y="27452"/>
                      </a:moveTo>
                      <a:lnTo>
                        <a:pt x="2572" y="28767"/>
                      </a:lnTo>
                      <a:lnTo>
                        <a:pt x="5562" y="29066"/>
                      </a:lnTo>
                      <a:lnTo>
                        <a:pt x="5801" y="29066"/>
                      </a:lnTo>
                      <a:lnTo>
                        <a:pt x="8672" y="28468"/>
                      </a:lnTo>
                      <a:lnTo>
                        <a:pt x="9449" y="28289"/>
                      </a:lnTo>
                      <a:lnTo>
                        <a:pt x="9988" y="28050"/>
                      </a:lnTo>
                      <a:lnTo>
                        <a:pt x="10048" y="28050"/>
                      </a:lnTo>
                      <a:lnTo>
                        <a:pt x="12559" y="26853"/>
                      </a:lnTo>
                      <a:lnTo>
                        <a:pt x="13277" y="26554"/>
                      </a:lnTo>
                      <a:lnTo>
                        <a:pt x="14712" y="25538"/>
                      </a:lnTo>
                      <a:lnTo>
                        <a:pt x="16985" y="23923"/>
                      </a:lnTo>
                      <a:lnTo>
                        <a:pt x="19138" y="21770"/>
                      </a:lnTo>
                      <a:lnTo>
                        <a:pt x="20334" y="20574"/>
                      </a:lnTo>
                      <a:lnTo>
                        <a:pt x="22248" y="17882"/>
                      </a:lnTo>
                      <a:lnTo>
                        <a:pt x="22846" y="17045"/>
                      </a:lnTo>
                      <a:lnTo>
                        <a:pt x="23086" y="16686"/>
                      </a:lnTo>
                      <a:lnTo>
                        <a:pt x="23683" y="15430"/>
                      </a:lnTo>
                      <a:lnTo>
                        <a:pt x="24342" y="14055"/>
                      </a:lnTo>
                      <a:lnTo>
                        <a:pt x="24999" y="12619"/>
                      </a:lnTo>
                      <a:lnTo>
                        <a:pt x="25657" y="9988"/>
                      </a:lnTo>
                      <a:lnTo>
                        <a:pt x="25956" y="8672"/>
                      </a:lnTo>
                      <a:lnTo>
                        <a:pt x="25896" y="5502"/>
                      </a:lnTo>
                      <a:lnTo>
                        <a:pt x="25896" y="5084"/>
                      </a:lnTo>
                      <a:lnTo>
                        <a:pt x="24880" y="2153"/>
                      </a:lnTo>
                      <a:lnTo>
                        <a:pt x="24880" y="2093"/>
                      </a:lnTo>
                      <a:lnTo>
                        <a:pt x="22906" y="0"/>
                      </a:lnTo>
                    </a:path>
                  </a:pathLst>
                </a:custGeom>
                <a:noFill/>
                <a:ln w="6350" cap="rnd">
                  <a:solidFill>
                    <a:schemeClr val="bg1">
                      <a:alpha val="40000"/>
                    </a:schemeClr>
                  </a:solidFill>
                  <a:prstDash val="solid"/>
                  <a:round/>
                </a:ln>
              </p:spPr>
              <p:txBody>
                <a:bodyPr rtlCol="0" anchor="ctr"/>
                <a:lstStyle/>
                <a:p>
                  <a:endParaRPr lang="en-GB"/>
                </a:p>
              </p:txBody>
            </p:sp>
            <p:sp>
              <p:nvSpPr>
                <p:cNvPr id="5762" name="Vrije vorm: vorm 5761">
                  <a:extLst>
                    <a:ext uri="{FF2B5EF4-FFF2-40B4-BE49-F238E27FC236}">
                      <a16:creationId xmlns:a16="http://schemas.microsoft.com/office/drawing/2014/main" id="{3F504DE0-5EF0-444C-ABC4-B722027CFFBC}"/>
                    </a:ext>
                  </a:extLst>
                </p:cNvPr>
                <p:cNvSpPr/>
                <p:nvPr/>
              </p:nvSpPr>
              <p:spPr>
                <a:xfrm>
                  <a:off x="6660331" y="1591450"/>
                  <a:ext cx="8971" cy="9389"/>
                </a:xfrm>
                <a:custGeom>
                  <a:avLst/>
                  <a:gdLst>
                    <a:gd name="connsiteX0" fmla="*/ 0 w 8971"/>
                    <a:gd name="connsiteY0" fmla="*/ 9390 h 9389"/>
                    <a:gd name="connsiteX1" fmla="*/ 479 w 8971"/>
                    <a:gd name="connsiteY1" fmla="*/ 8373 h 9389"/>
                    <a:gd name="connsiteX2" fmla="*/ 1375 w 8971"/>
                    <a:gd name="connsiteY2" fmla="*/ 7057 h 9389"/>
                    <a:gd name="connsiteX3" fmla="*/ 837 w 8971"/>
                    <a:gd name="connsiteY3" fmla="*/ 6579 h 9389"/>
                    <a:gd name="connsiteX4" fmla="*/ 1854 w 8971"/>
                    <a:gd name="connsiteY4" fmla="*/ 5084 h 9389"/>
                    <a:gd name="connsiteX5" fmla="*/ 2034 w 8971"/>
                    <a:gd name="connsiteY5" fmla="*/ 4785 h 9389"/>
                    <a:gd name="connsiteX6" fmla="*/ 4306 w 8971"/>
                    <a:gd name="connsiteY6" fmla="*/ 2452 h 9389"/>
                    <a:gd name="connsiteX7" fmla="*/ 4665 w 8971"/>
                    <a:gd name="connsiteY7" fmla="*/ 2093 h 9389"/>
                    <a:gd name="connsiteX8" fmla="*/ 6399 w 8971"/>
                    <a:gd name="connsiteY8" fmla="*/ 837 h 9389"/>
                    <a:gd name="connsiteX9" fmla="*/ 6938 w 8971"/>
                    <a:gd name="connsiteY9" fmla="*/ 1316 h 9389"/>
                    <a:gd name="connsiteX10" fmla="*/ 8134 w 8971"/>
                    <a:gd name="connsiteY10" fmla="*/ 419 h 9389"/>
                    <a:gd name="connsiteX11" fmla="*/ 8971 w 8971"/>
                    <a:gd name="connsiteY11" fmla="*/ 0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71" h="9389">
                      <a:moveTo>
                        <a:pt x="0" y="9390"/>
                      </a:moveTo>
                      <a:lnTo>
                        <a:pt x="479" y="8373"/>
                      </a:lnTo>
                      <a:lnTo>
                        <a:pt x="1375" y="7057"/>
                      </a:lnTo>
                      <a:lnTo>
                        <a:pt x="837" y="6579"/>
                      </a:lnTo>
                      <a:lnTo>
                        <a:pt x="1854" y="5084"/>
                      </a:lnTo>
                      <a:lnTo>
                        <a:pt x="2034" y="4785"/>
                      </a:lnTo>
                      <a:lnTo>
                        <a:pt x="4306" y="2452"/>
                      </a:lnTo>
                      <a:lnTo>
                        <a:pt x="4665" y="2093"/>
                      </a:lnTo>
                      <a:lnTo>
                        <a:pt x="6399" y="837"/>
                      </a:lnTo>
                      <a:lnTo>
                        <a:pt x="6938" y="1316"/>
                      </a:lnTo>
                      <a:lnTo>
                        <a:pt x="8134" y="419"/>
                      </a:lnTo>
                      <a:lnTo>
                        <a:pt x="8971" y="0"/>
                      </a:lnTo>
                    </a:path>
                  </a:pathLst>
                </a:custGeom>
                <a:noFill/>
                <a:ln w="6350" cap="rnd">
                  <a:solidFill>
                    <a:schemeClr val="bg1">
                      <a:alpha val="40000"/>
                    </a:schemeClr>
                  </a:solidFill>
                  <a:prstDash val="solid"/>
                  <a:round/>
                </a:ln>
              </p:spPr>
              <p:txBody>
                <a:bodyPr rtlCol="0" anchor="ctr"/>
                <a:lstStyle/>
                <a:p>
                  <a:endParaRPr lang="en-GB"/>
                </a:p>
              </p:txBody>
            </p:sp>
            <p:sp>
              <p:nvSpPr>
                <p:cNvPr id="5763" name="Vrije vorm: vorm 5762">
                  <a:extLst>
                    <a:ext uri="{FF2B5EF4-FFF2-40B4-BE49-F238E27FC236}">
                      <a16:creationId xmlns:a16="http://schemas.microsoft.com/office/drawing/2014/main" id="{B75EAD85-E826-428B-BD32-79DCD40CF491}"/>
                    </a:ext>
                  </a:extLst>
                </p:cNvPr>
                <p:cNvSpPr/>
                <p:nvPr/>
              </p:nvSpPr>
              <p:spPr>
                <a:xfrm>
                  <a:off x="6667508" y="1589178"/>
                  <a:ext cx="8073" cy="8492"/>
                </a:xfrm>
                <a:custGeom>
                  <a:avLst/>
                  <a:gdLst>
                    <a:gd name="connsiteX0" fmla="*/ 0 w 8073"/>
                    <a:gd name="connsiteY0" fmla="*/ 8493 h 8492"/>
                    <a:gd name="connsiteX1" fmla="*/ 419 w 8073"/>
                    <a:gd name="connsiteY1" fmla="*/ 8253 h 8492"/>
                    <a:gd name="connsiteX2" fmla="*/ 2512 w 8073"/>
                    <a:gd name="connsiteY2" fmla="*/ 6997 h 8492"/>
                    <a:gd name="connsiteX3" fmla="*/ 2213 w 8073"/>
                    <a:gd name="connsiteY3" fmla="*/ 4964 h 8492"/>
                    <a:gd name="connsiteX4" fmla="*/ 1974 w 8073"/>
                    <a:gd name="connsiteY4" fmla="*/ 3349 h 8492"/>
                    <a:gd name="connsiteX5" fmla="*/ 1794 w 8073"/>
                    <a:gd name="connsiteY5" fmla="*/ 2332 h 8492"/>
                    <a:gd name="connsiteX6" fmla="*/ 1674 w 8073"/>
                    <a:gd name="connsiteY6" fmla="*/ 1615 h 8492"/>
                    <a:gd name="connsiteX7" fmla="*/ 3469 w 8073"/>
                    <a:gd name="connsiteY7" fmla="*/ 718 h 8492"/>
                    <a:gd name="connsiteX8" fmla="*/ 6399 w 8073"/>
                    <a:gd name="connsiteY8" fmla="*/ 0 h 8492"/>
                    <a:gd name="connsiteX9" fmla="*/ 8074 w 8073"/>
                    <a:gd name="connsiteY9" fmla="*/ 60 h 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3" h="8492">
                      <a:moveTo>
                        <a:pt x="0" y="8493"/>
                      </a:moveTo>
                      <a:lnTo>
                        <a:pt x="419" y="8253"/>
                      </a:lnTo>
                      <a:lnTo>
                        <a:pt x="2512" y="6997"/>
                      </a:lnTo>
                      <a:lnTo>
                        <a:pt x="2213" y="4964"/>
                      </a:lnTo>
                      <a:lnTo>
                        <a:pt x="1974" y="3349"/>
                      </a:lnTo>
                      <a:lnTo>
                        <a:pt x="1794" y="2332"/>
                      </a:lnTo>
                      <a:lnTo>
                        <a:pt x="1674" y="1615"/>
                      </a:lnTo>
                      <a:lnTo>
                        <a:pt x="3469" y="718"/>
                      </a:lnTo>
                      <a:lnTo>
                        <a:pt x="6399" y="0"/>
                      </a:lnTo>
                      <a:lnTo>
                        <a:pt x="8074" y="60"/>
                      </a:lnTo>
                    </a:path>
                  </a:pathLst>
                </a:custGeom>
                <a:noFill/>
                <a:ln w="6350" cap="rnd">
                  <a:solidFill>
                    <a:schemeClr val="bg1">
                      <a:alpha val="40000"/>
                    </a:schemeClr>
                  </a:solidFill>
                  <a:prstDash val="solid"/>
                  <a:round/>
                </a:ln>
              </p:spPr>
              <p:txBody>
                <a:bodyPr rtlCol="0" anchor="ctr"/>
                <a:lstStyle/>
                <a:p>
                  <a:endParaRPr lang="en-GB"/>
                </a:p>
              </p:txBody>
            </p:sp>
            <p:sp>
              <p:nvSpPr>
                <p:cNvPr id="5764" name="Vrije vorm: vorm 5763">
                  <a:extLst>
                    <a:ext uri="{FF2B5EF4-FFF2-40B4-BE49-F238E27FC236}">
                      <a16:creationId xmlns:a16="http://schemas.microsoft.com/office/drawing/2014/main" id="{83BFC99A-F957-4E9C-A140-5453F592FFD8}"/>
                    </a:ext>
                  </a:extLst>
                </p:cNvPr>
                <p:cNvSpPr/>
                <p:nvPr/>
              </p:nvSpPr>
              <p:spPr>
                <a:xfrm>
                  <a:off x="6671874" y="1589297"/>
                  <a:ext cx="8253" cy="6877"/>
                </a:xfrm>
                <a:custGeom>
                  <a:avLst/>
                  <a:gdLst>
                    <a:gd name="connsiteX0" fmla="*/ 8253 w 8253"/>
                    <a:gd name="connsiteY0" fmla="*/ 2273 h 6877"/>
                    <a:gd name="connsiteX1" fmla="*/ 6998 w 8253"/>
                    <a:gd name="connsiteY1" fmla="*/ 1017 h 6877"/>
                    <a:gd name="connsiteX2" fmla="*/ 6878 w 8253"/>
                    <a:gd name="connsiteY2" fmla="*/ 957 h 6877"/>
                    <a:gd name="connsiteX3" fmla="*/ 5682 w 8253"/>
                    <a:gd name="connsiteY3" fmla="*/ 419 h 6877"/>
                    <a:gd name="connsiteX4" fmla="*/ 5562 w 8253"/>
                    <a:gd name="connsiteY4" fmla="*/ 658 h 6877"/>
                    <a:gd name="connsiteX5" fmla="*/ 5203 w 8253"/>
                    <a:gd name="connsiteY5" fmla="*/ 1256 h 6877"/>
                    <a:gd name="connsiteX6" fmla="*/ 5143 w 8253"/>
                    <a:gd name="connsiteY6" fmla="*/ 1376 h 6877"/>
                    <a:gd name="connsiteX7" fmla="*/ 3469 w 8253"/>
                    <a:gd name="connsiteY7" fmla="*/ 4186 h 6877"/>
                    <a:gd name="connsiteX8" fmla="*/ 2333 w 8253"/>
                    <a:gd name="connsiteY8" fmla="*/ 6100 h 6877"/>
                    <a:gd name="connsiteX9" fmla="*/ 2333 w 8253"/>
                    <a:gd name="connsiteY9" fmla="*/ 6100 h 6877"/>
                    <a:gd name="connsiteX10" fmla="*/ 1854 w 8253"/>
                    <a:gd name="connsiteY10" fmla="*/ 6878 h 6877"/>
                    <a:gd name="connsiteX11" fmla="*/ 1076 w 8253"/>
                    <a:gd name="connsiteY11" fmla="*/ 6698 h 6877"/>
                    <a:gd name="connsiteX12" fmla="*/ 1076 w 8253"/>
                    <a:gd name="connsiteY12" fmla="*/ 6698 h 6877"/>
                    <a:gd name="connsiteX13" fmla="*/ 718 w 8253"/>
                    <a:gd name="connsiteY13" fmla="*/ 6639 h 6877"/>
                    <a:gd name="connsiteX14" fmla="*/ 0 w 8253"/>
                    <a:gd name="connsiteY14" fmla="*/ 6459 h 6877"/>
                    <a:gd name="connsiteX15" fmla="*/ 1675 w 8253"/>
                    <a:gd name="connsiteY15" fmla="*/ 3648 h 6877"/>
                    <a:gd name="connsiteX16" fmla="*/ 2512 w 8253"/>
                    <a:gd name="connsiteY16" fmla="*/ 2213 h 6877"/>
                    <a:gd name="connsiteX17" fmla="*/ 3050 w 8253"/>
                    <a:gd name="connsiteY17" fmla="*/ 1256 h 6877"/>
                    <a:gd name="connsiteX18" fmla="*/ 3828 w 8253"/>
                    <a:gd name="connsiteY18" fmla="*/ 0 h 6877"/>
                    <a:gd name="connsiteX19" fmla="*/ 4366 w 8253"/>
                    <a:gd name="connsiteY19" fmla="*/ 478 h 6877"/>
                    <a:gd name="connsiteX20" fmla="*/ 5383 w 8253"/>
                    <a:gd name="connsiteY20" fmla="*/ 538 h 6877"/>
                    <a:gd name="connsiteX21" fmla="*/ 5562 w 8253"/>
                    <a:gd name="connsiteY21" fmla="*/ 598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253" h="6877">
                      <a:moveTo>
                        <a:pt x="8253" y="2273"/>
                      </a:moveTo>
                      <a:lnTo>
                        <a:pt x="6998" y="1017"/>
                      </a:lnTo>
                      <a:lnTo>
                        <a:pt x="6878" y="957"/>
                      </a:lnTo>
                      <a:lnTo>
                        <a:pt x="5682" y="419"/>
                      </a:lnTo>
                      <a:lnTo>
                        <a:pt x="5562" y="658"/>
                      </a:lnTo>
                      <a:lnTo>
                        <a:pt x="5203" y="1256"/>
                      </a:lnTo>
                      <a:lnTo>
                        <a:pt x="5143" y="1376"/>
                      </a:lnTo>
                      <a:lnTo>
                        <a:pt x="3469" y="4186"/>
                      </a:lnTo>
                      <a:lnTo>
                        <a:pt x="2333" y="6100"/>
                      </a:lnTo>
                      <a:lnTo>
                        <a:pt x="2333" y="6100"/>
                      </a:lnTo>
                      <a:lnTo>
                        <a:pt x="1854" y="6878"/>
                      </a:lnTo>
                      <a:lnTo>
                        <a:pt x="1076" y="6698"/>
                      </a:lnTo>
                      <a:lnTo>
                        <a:pt x="1076" y="6698"/>
                      </a:lnTo>
                      <a:lnTo>
                        <a:pt x="718" y="6639"/>
                      </a:lnTo>
                      <a:lnTo>
                        <a:pt x="0" y="6459"/>
                      </a:lnTo>
                      <a:lnTo>
                        <a:pt x="1675" y="3648"/>
                      </a:lnTo>
                      <a:lnTo>
                        <a:pt x="2512" y="2213"/>
                      </a:lnTo>
                      <a:lnTo>
                        <a:pt x="3050" y="1256"/>
                      </a:lnTo>
                      <a:lnTo>
                        <a:pt x="3828" y="0"/>
                      </a:lnTo>
                      <a:lnTo>
                        <a:pt x="4366" y="478"/>
                      </a:lnTo>
                      <a:lnTo>
                        <a:pt x="5383" y="538"/>
                      </a:lnTo>
                      <a:lnTo>
                        <a:pt x="5562" y="598"/>
                      </a:lnTo>
                    </a:path>
                  </a:pathLst>
                </a:custGeom>
                <a:noFill/>
                <a:ln w="6350" cap="rnd">
                  <a:solidFill>
                    <a:schemeClr val="bg1">
                      <a:alpha val="40000"/>
                    </a:schemeClr>
                  </a:solidFill>
                  <a:prstDash val="solid"/>
                  <a:round/>
                </a:ln>
              </p:spPr>
              <p:txBody>
                <a:bodyPr rtlCol="0" anchor="ctr"/>
                <a:lstStyle/>
                <a:p>
                  <a:endParaRPr lang="en-GB"/>
                </a:p>
              </p:txBody>
            </p:sp>
            <p:sp>
              <p:nvSpPr>
                <p:cNvPr id="5765" name="Vrije vorm: vorm 5764">
                  <a:extLst>
                    <a:ext uri="{FF2B5EF4-FFF2-40B4-BE49-F238E27FC236}">
                      <a16:creationId xmlns:a16="http://schemas.microsoft.com/office/drawing/2014/main" id="{415D9108-0465-4D90-9D5D-517F8F01E651}"/>
                    </a:ext>
                  </a:extLst>
                </p:cNvPr>
                <p:cNvSpPr/>
                <p:nvPr/>
              </p:nvSpPr>
              <p:spPr>
                <a:xfrm>
                  <a:off x="6678811" y="1590314"/>
                  <a:ext cx="2152" cy="3289"/>
                </a:xfrm>
                <a:custGeom>
                  <a:avLst/>
                  <a:gdLst>
                    <a:gd name="connsiteX0" fmla="*/ 2153 w 2152"/>
                    <a:gd name="connsiteY0" fmla="*/ 3289 h 3289"/>
                    <a:gd name="connsiteX1" fmla="*/ 1615 w 2152"/>
                    <a:gd name="connsiteY1" fmla="*/ 1734 h 3289"/>
                    <a:gd name="connsiteX2" fmla="*/ 1076 w 2152"/>
                    <a:gd name="connsiteY2" fmla="*/ 1136 h 3289"/>
                    <a:gd name="connsiteX3" fmla="*/ 0 w 2152"/>
                    <a:gd name="connsiteY3" fmla="*/ 0 h 3289"/>
                  </a:gdLst>
                  <a:ahLst/>
                  <a:cxnLst>
                    <a:cxn ang="0">
                      <a:pos x="connsiteX0" y="connsiteY0"/>
                    </a:cxn>
                    <a:cxn ang="0">
                      <a:pos x="connsiteX1" y="connsiteY1"/>
                    </a:cxn>
                    <a:cxn ang="0">
                      <a:pos x="connsiteX2" y="connsiteY2"/>
                    </a:cxn>
                    <a:cxn ang="0">
                      <a:pos x="connsiteX3" y="connsiteY3"/>
                    </a:cxn>
                  </a:cxnLst>
                  <a:rect l="l" t="t" r="r" b="b"/>
                  <a:pathLst>
                    <a:path w="2152" h="3289">
                      <a:moveTo>
                        <a:pt x="2153" y="3289"/>
                      </a:moveTo>
                      <a:lnTo>
                        <a:pt x="1615" y="1734"/>
                      </a:lnTo>
                      <a:lnTo>
                        <a:pt x="1076" y="113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66" name="Vrije vorm: vorm 5765">
                  <a:extLst>
                    <a:ext uri="{FF2B5EF4-FFF2-40B4-BE49-F238E27FC236}">
                      <a16:creationId xmlns:a16="http://schemas.microsoft.com/office/drawing/2014/main" id="{DDEF6572-333B-41F9-8F03-068EC9C5D69D}"/>
                    </a:ext>
                  </a:extLst>
                </p:cNvPr>
                <p:cNvSpPr/>
                <p:nvPr/>
              </p:nvSpPr>
              <p:spPr>
                <a:xfrm>
                  <a:off x="6661347" y="1591570"/>
                  <a:ext cx="21171" cy="23743"/>
                </a:xfrm>
                <a:custGeom>
                  <a:avLst/>
                  <a:gdLst>
                    <a:gd name="connsiteX0" fmla="*/ 18780 w 21171"/>
                    <a:gd name="connsiteY0" fmla="*/ 0 h 23743"/>
                    <a:gd name="connsiteX1" fmla="*/ 20335 w 21171"/>
                    <a:gd name="connsiteY1" fmla="*/ 1734 h 23743"/>
                    <a:gd name="connsiteX2" fmla="*/ 21172 w 21171"/>
                    <a:gd name="connsiteY2" fmla="*/ 4127 h 23743"/>
                    <a:gd name="connsiteX3" fmla="*/ 21172 w 21171"/>
                    <a:gd name="connsiteY3" fmla="*/ 5024 h 23743"/>
                    <a:gd name="connsiteX4" fmla="*/ 21172 w 21171"/>
                    <a:gd name="connsiteY4" fmla="*/ 5143 h 23743"/>
                    <a:gd name="connsiteX5" fmla="*/ 21172 w 21171"/>
                    <a:gd name="connsiteY5" fmla="*/ 6997 h 23743"/>
                    <a:gd name="connsiteX6" fmla="*/ 20514 w 21171"/>
                    <a:gd name="connsiteY6" fmla="*/ 9749 h 23743"/>
                    <a:gd name="connsiteX7" fmla="*/ 20394 w 21171"/>
                    <a:gd name="connsiteY7" fmla="*/ 10227 h 23743"/>
                    <a:gd name="connsiteX8" fmla="*/ 19557 w 21171"/>
                    <a:gd name="connsiteY8" fmla="*/ 12021 h 23743"/>
                    <a:gd name="connsiteX9" fmla="*/ 19497 w 21171"/>
                    <a:gd name="connsiteY9" fmla="*/ 12141 h 23743"/>
                    <a:gd name="connsiteX10" fmla="*/ 19198 w 21171"/>
                    <a:gd name="connsiteY10" fmla="*/ 12739 h 23743"/>
                    <a:gd name="connsiteX11" fmla="*/ 18780 w 21171"/>
                    <a:gd name="connsiteY11" fmla="*/ 13576 h 23743"/>
                    <a:gd name="connsiteX12" fmla="*/ 17823 w 21171"/>
                    <a:gd name="connsiteY12" fmla="*/ 14892 h 23743"/>
                    <a:gd name="connsiteX13" fmla="*/ 17643 w 21171"/>
                    <a:gd name="connsiteY13" fmla="*/ 15191 h 23743"/>
                    <a:gd name="connsiteX14" fmla="*/ 16567 w 21171"/>
                    <a:gd name="connsiteY14" fmla="*/ 16686 h 23743"/>
                    <a:gd name="connsiteX15" fmla="*/ 14294 w 21171"/>
                    <a:gd name="connsiteY15" fmla="*/ 19019 h 23743"/>
                    <a:gd name="connsiteX16" fmla="*/ 13875 w 21171"/>
                    <a:gd name="connsiteY16" fmla="*/ 19437 h 23743"/>
                    <a:gd name="connsiteX17" fmla="*/ 12978 w 21171"/>
                    <a:gd name="connsiteY17" fmla="*/ 20095 h 23743"/>
                    <a:gd name="connsiteX18" fmla="*/ 10825 w 21171"/>
                    <a:gd name="connsiteY18" fmla="*/ 21650 h 23743"/>
                    <a:gd name="connsiteX19" fmla="*/ 7954 w 21171"/>
                    <a:gd name="connsiteY19" fmla="*/ 22966 h 23743"/>
                    <a:gd name="connsiteX20" fmla="*/ 7715 w 21171"/>
                    <a:gd name="connsiteY20" fmla="*/ 23086 h 23743"/>
                    <a:gd name="connsiteX21" fmla="*/ 5742 w 21171"/>
                    <a:gd name="connsiteY21" fmla="*/ 23504 h 23743"/>
                    <a:gd name="connsiteX22" fmla="*/ 4725 w 21171"/>
                    <a:gd name="connsiteY22" fmla="*/ 23743 h 23743"/>
                    <a:gd name="connsiteX23" fmla="*/ 4426 w 21171"/>
                    <a:gd name="connsiteY23" fmla="*/ 23743 h 23743"/>
                    <a:gd name="connsiteX24" fmla="*/ 4127 w 21171"/>
                    <a:gd name="connsiteY24" fmla="*/ 23743 h 23743"/>
                    <a:gd name="connsiteX25" fmla="*/ 2153 w 21171"/>
                    <a:gd name="connsiteY25" fmla="*/ 23564 h 23743"/>
                    <a:gd name="connsiteX26" fmla="*/ 0 w 21171"/>
                    <a:gd name="connsiteY26" fmla="*/ 22487 h 2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171" h="23743">
                      <a:moveTo>
                        <a:pt x="18780" y="0"/>
                      </a:moveTo>
                      <a:lnTo>
                        <a:pt x="20335" y="1734"/>
                      </a:lnTo>
                      <a:lnTo>
                        <a:pt x="21172" y="4127"/>
                      </a:lnTo>
                      <a:lnTo>
                        <a:pt x="21172" y="5024"/>
                      </a:lnTo>
                      <a:lnTo>
                        <a:pt x="21172" y="5143"/>
                      </a:lnTo>
                      <a:lnTo>
                        <a:pt x="21172" y="6997"/>
                      </a:lnTo>
                      <a:lnTo>
                        <a:pt x="20514" y="9749"/>
                      </a:lnTo>
                      <a:lnTo>
                        <a:pt x="20394" y="10227"/>
                      </a:lnTo>
                      <a:lnTo>
                        <a:pt x="19557" y="12021"/>
                      </a:lnTo>
                      <a:lnTo>
                        <a:pt x="19497" y="12141"/>
                      </a:lnTo>
                      <a:lnTo>
                        <a:pt x="19198" y="12739"/>
                      </a:lnTo>
                      <a:lnTo>
                        <a:pt x="18780" y="13576"/>
                      </a:lnTo>
                      <a:lnTo>
                        <a:pt x="17823" y="14892"/>
                      </a:lnTo>
                      <a:lnTo>
                        <a:pt x="17643" y="15191"/>
                      </a:lnTo>
                      <a:lnTo>
                        <a:pt x="16567" y="16686"/>
                      </a:lnTo>
                      <a:lnTo>
                        <a:pt x="14294" y="19019"/>
                      </a:lnTo>
                      <a:lnTo>
                        <a:pt x="13875" y="19437"/>
                      </a:lnTo>
                      <a:lnTo>
                        <a:pt x="12978" y="20095"/>
                      </a:lnTo>
                      <a:lnTo>
                        <a:pt x="10825" y="21650"/>
                      </a:lnTo>
                      <a:lnTo>
                        <a:pt x="7954" y="22966"/>
                      </a:lnTo>
                      <a:lnTo>
                        <a:pt x="7715" y="23086"/>
                      </a:lnTo>
                      <a:lnTo>
                        <a:pt x="5742" y="23504"/>
                      </a:lnTo>
                      <a:lnTo>
                        <a:pt x="4725" y="23743"/>
                      </a:lnTo>
                      <a:lnTo>
                        <a:pt x="4426" y="23743"/>
                      </a:lnTo>
                      <a:lnTo>
                        <a:pt x="4127" y="23743"/>
                      </a:lnTo>
                      <a:lnTo>
                        <a:pt x="2153" y="23564"/>
                      </a:lnTo>
                      <a:lnTo>
                        <a:pt x="0" y="22487"/>
                      </a:lnTo>
                    </a:path>
                  </a:pathLst>
                </a:custGeom>
                <a:noFill/>
                <a:ln w="6350" cap="rnd">
                  <a:solidFill>
                    <a:schemeClr val="bg1">
                      <a:alpha val="40000"/>
                    </a:schemeClr>
                  </a:solidFill>
                  <a:prstDash val="solid"/>
                  <a:round/>
                </a:ln>
              </p:spPr>
              <p:txBody>
                <a:bodyPr rtlCol="0" anchor="ctr"/>
                <a:lstStyle/>
                <a:p>
                  <a:endParaRPr lang="en-GB"/>
                </a:p>
              </p:txBody>
            </p:sp>
            <p:sp>
              <p:nvSpPr>
                <p:cNvPr id="5767" name="Vrije vorm: vorm 5766">
                  <a:extLst>
                    <a:ext uri="{FF2B5EF4-FFF2-40B4-BE49-F238E27FC236}">
                      <a16:creationId xmlns:a16="http://schemas.microsoft.com/office/drawing/2014/main" id="{FC5505F9-DE68-44B6-93B6-1D33A8E0D9D6}"/>
                    </a:ext>
                  </a:extLst>
                </p:cNvPr>
                <p:cNvSpPr/>
                <p:nvPr/>
              </p:nvSpPr>
              <p:spPr>
                <a:xfrm>
                  <a:off x="6674745" y="1593603"/>
                  <a:ext cx="6757" cy="3708"/>
                </a:xfrm>
                <a:custGeom>
                  <a:avLst/>
                  <a:gdLst>
                    <a:gd name="connsiteX0" fmla="*/ 6758 w 6757"/>
                    <a:gd name="connsiteY0" fmla="*/ 478 h 3708"/>
                    <a:gd name="connsiteX1" fmla="*/ 6220 w 6757"/>
                    <a:gd name="connsiteY1" fmla="*/ 0 h 3708"/>
                    <a:gd name="connsiteX2" fmla="*/ 4486 w 6757"/>
                    <a:gd name="connsiteY2" fmla="*/ 1077 h 3708"/>
                    <a:gd name="connsiteX3" fmla="*/ 4486 w 6757"/>
                    <a:gd name="connsiteY3" fmla="*/ 1077 h 3708"/>
                    <a:gd name="connsiteX4" fmla="*/ 1734 w 6757"/>
                    <a:gd name="connsiteY4" fmla="*/ 2691 h 3708"/>
                    <a:gd name="connsiteX5" fmla="*/ 0 w 6757"/>
                    <a:gd name="connsiteY5" fmla="*/ 3708 h 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7" h="3708">
                      <a:moveTo>
                        <a:pt x="6758" y="478"/>
                      </a:moveTo>
                      <a:lnTo>
                        <a:pt x="6220" y="0"/>
                      </a:lnTo>
                      <a:lnTo>
                        <a:pt x="4486" y="1077"/>
                      </a:lnTo>
                      <a:lnTo>
                        <a:pt x="4486" y="1077"/>
                      </a:lnTo>
                      <a:lnTo>
                        <a:pt x="1734" y="2691"/>
                      </a:lnTo>
                      <a:lnTo>
                        <a:pt x="0" y="3708"/>
                      </a:lnTo>
                    </a:path>
                  </a:pathLst>
                </a:custGeom>
                <a:noFill/>
                <a:ln w="6350" cap="rnd">
                  <a:solidFill>
                    <a:schemeClr val="bg1">
                      <a:alpha val="40000"/>
                    </a:schemeClr>
                  </a:solidFill>
                  <a:prstDash val="solid"/>
                  <a:round/>
                </a:ln>
              </p:spPr>
              <p:txBody>
                <a:bodyPr rtlCol="0" anchor="ctr"/>
                <a:lstStyle/>
                <a:p>
                  <a:endParaRPr lang="en-GB"/>
                </a:p>
              </p:txBody>
            </p:sp>
            <p:sp>
              <p:nvSpPr>
                <p:cNvPr id="5768" name="Vrije vorm: vorm 5767">
                  <a:extLst>
                    <a:ext uri="{FF2B5EF4-FFF2-40B4-BE49-F238E27FC236}">
                      <a16:creationId xmlns:a16="http://schemas.microsoft.com/office/drawing/2014/main" id="{95F4057F-EF48-42BC-B800-3AD67947C170}"/>
                    </a:ext>
                  </a:extLst>
                </p:cNvPr>
                <p:cNvSpPr/>
                <p:nvPr/>
              </p:nvSpPr>
              <p:spPr>
                <a:xfrm>
                  <a:off x="6675044" y="1594082"/>
                  <a:ext cx="6818" cy="5083"/>
                </a:xfrm>
                <a:custGeom>
                  <a:avLst/>
                  <a:gdLst>
                    <a:gd name="connsiteX0" fmla="*/ 0 w 6818"/>
                    <a:gd name="connsiteY0" fmla="*/ 5084 h 5083"/>
                    <a:gd name="connsiteX1" fmla="*/ 419 w 6818"/>
                    <a:gd name="connsiteY1" fmla="*/ 4844 h 5083"/>
                    <a:gd name="connsiteX2" fmla="*/ 3170 w 6818"/>
                    <a:gd name="connsiteY2" fmla="*/ 3170 h 5083"/>
                    <a:gd name="connsiteX3" fmla="*/ 5921 w 6818"/>
                    <a:gd name="connsiteY3" fmla="*/ 1495 h 5083"/>
                    <a:gd name="connsiteX4" fmla="*/ 6280 w 6818"/>
                    <a:gd name="connsiteY4" fmla="*/ 1316 h 5083"/>
                    <a:gd name="connsiteX5" fmla="*/ 6280 w 6818"/>
                    <a:gd name="connsiteY5" fmla="*/ 1316 h 5083"/>
                    <a:gd name="connsiteX6" fmla="*/ 6280 w 6818"/>
                    <a:gd name="connsiteY6" fmla="*/ 1316 h 5083"/>
                    <a:gd name="connsiteX7" fmla="*/ 6340 w 6818"/>
                    <a:gd name="connsiteY7" fmla="*/ 1376 h 5083"/>
                    <a:gd name="connsiteX8" fmla="*/ 6340 w 6818"/>
                    <a:gd name="connsiteY8" fmla="*/ 1376 h 5083"/>
                    <a:gd name="connsiteX9" fmla="*/ 6818 w 6818"/>
                    <a:gd name="connsiteY9" fmla="*/ 1854 h 5083"/>
                    <a:gd name="connsiteX10" fmla="*/ 6818 w 6818"/>
                    <a:gd name="connsiteY10" fmla="*/ 1794 h 5083"/>
                    <a:gd name="connsiteX11" fmla="*/ 6818 w 6818"/>
                    <a:gd name="connsiteY11" fmla="*/ 1734 h 5083"/>
                    <a:gd name="connsiteX12" fmla="*/ 6818 w 6818"/>
                    <a:gd name="connsiteY12" fmla="*/ 837 h 5083"/>
                    <a:gd name="connsiteX13" fmla="*/ 6519 w 6818"/>
                    <a:gd name="connsiteY13" fmla="*/ 0 h 5083"/>
                    <a:gd name="connsiteX14" fmla="*/ 5143 w 6818"/>
                    <a:gd name="connsiteY14" fmla="*/ 837 h 5083"/>
                    <a:gd name="connsiteX15" fmla="*/ 5143 w 6818"/>
                    <a:gd name="connsiteY15" fmla="*/ 837 h 5083"/>
                    <a:gd name="connsiteX16" fmla="*/ 2392 w 6818"/>
                    <a:gd name="connsiteY16" fmla="*/ 2452 h 5083"/>
                    <a:gd name="connsiteX17" fmla="*/ 299 w 6818"/>
                    <a:gd name="connsiteY17" fmla="*/ 3708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18" h="5083">
                      <a:moveTo>
                        <a:pt x="0" y="5084"/>
                      </a:moveTo>
                      <a:lnTo>
                        <a:pt x="419" y="4844"/>
                      </a:lnTo>
                      <a:lnTo>
                        <a:pt x="3170" y="3170"/>
                      </a:lnTo>
                      <a:lnTo>
                        <a:pt x="5921" y="1495"/>
                      </a:lnTo>
                      <a:lnTo>
                        <a:pt x="6280" y="1316"/>
                      </a:lnTo>
                      <a:lnTo>
                        <a:pt x="6280" y="1316"/>
                      </a:lnTo>
                      <a:lnTo>
                        <a:pt x="6280" y="1316"/>
                      </a:lnTo>
                      <a:lnTo>
                        <a:pt x="6340" y="1376"/>
                      </a:lnTo>
                      <a:lnTo>
                        <a:pt x="6340" y="1376"/>
                      </a:lnTo>
                      <a:lnTo>
                        <a:pt x="6818" y="1854"/>
                      </a:lnTo>
                      <a:lnTo>
                        <a:pt x="6818" y="1794"/>
                      </a:lnTo>
                      <a:lnTo>
                        <a:pt x="6818" y="1734"/>
                      </a:lnTo>
                      <a:lnTo>
                        <a:pt x="6818" y="837"/>
                      </a:lnTo>
                      <a:lnTo>
                        <a:pt x="6519" y="0"/>
                      </a:lnTo>
                      <a:lnTo>
                        <a:pt x="5143" y="837"/>
                      </a:lnTo>
                      <a:lnTo>
                        <a:pt x="5143" y="837"/>
                      </a:lnTo>
                      <a:lnTo>
                        <a:pt x="2392" y="2452"/>
                      </a:lnTo>
                      <a:lnTo>
                        <a:pt x="299" y="3708"/>
                      </a:lnTo>
                    </a:path>
                  </a:pathLst>
                </a:custGeom>
                <a:noFill/>
                <a:ln w="6350" cap="rnd">
                  <a:solidFill>
                    <a:schemeClr val="bg1">
                      <a:alpha val="40000"/>
                    </a:schemeClr>
                  </a:solidFill>
                  <a:prstDash val="solid"/>
                  <a:round/>
                </a:ln>
              </p:spPr>
              <p:txBody>
                <a:bodyPr rtlCol="0" anchor="ctr"/>
                <a:lstStyle/>
                <a:p>
                  <a:endParaRPr lang="en-GB"/>
                </a:p>
              </p:txBody>
            </p:sp>
            <p:sp>
              <p:nvSpPr>
                <p:cNvPr id="5769" name="Vrije vorm: vorm 5768">
                  <a:extLst>
                    <a:ext uri="{FF2B5EF4-FFF2-40B4-BE49-F238E27FC236}">
                      <a16:creationId xmlns:a16="http://schemas.microsoft.com/office/drawing/2014/main" id="{6511B7AC-DED4-4BBF-8AC8-24A2BCCB9C7F}"/>
                    </a:ext>
                  </a:extLst>
                </p:cNvPr>
                <p:cNvSpPr/>
                <p:nvPr/>
              </p:nvSpPr>
              <p:spPr>
                <a:xfrm>
                  <a:off x="6679589" y="1595398"/>
                  <a:ext cx="1674" cy="7057"/>
                </a:xfrm>
                <a:custGeom>
                  <a:avLst/>
                  <a:gdLst>
                    <a:gd name="connsiteX0" fmla="*/ 0 w 1674"/>
                    <a:gd name="connsiteY0" fmla="*/ 7057 h 7057"/>
                    <a:gd name="connsiteX1" fmla="*/ 778 w 1674"/>
                    <a:gd name="connsiteY1" fmla="*/ 5442 h 7057"/>
                    <a:gd name="connsiteX2" fmla="*/ 897 w 1674"/>
                    <a:gd name="connsiteY2" fmla="*/ 5143 h 7057"/>
                    <a:gd name="connsiteX3" fmla="*/ 1674 w 1674"/>
                    <a:gd name="connsiteY3" fmla="*/ 1974 h 7057"/>
                    <a:gd name="connsiteX4" fmla="*/ 1674 w 1674"/>
                    <a:gd name="connsiteY4" fmla="*/ 1914 h 7057"/>
                    <a:gd name="connsiteX5" fmla="*/ 1674 w 1674"/>
                    <a:gd name="connsiteY5" fmla="*/ 778 h 7057"/>
                    <a:gd name="connsiteX6" fmla="*/ 1674 w 1674"/>
                    <a:gd name="connsiteY6" fmla="*/ 0 h 7057"/>
                    <a:gd name="connsiteX7" fmla="*/ 1674 w 1674"/>
                    <a:gd name="connsiteY7" fmla="*/ 0 h 7057"/>
                    <a:gd name="connsiteX8" fmla="*/ 1674 w 1674"/>
                    <a:gd name="connsiteY8" fmla="*/ 0 h 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4" h="7057">
                      <a:moveTo>
                        <a:pt x="0" y="7057"/>
                      </a:moveTo>
                      <a:lnTo>
                        <a:pt x="778" y="5442"/>
                      </a:lnTo>
                      <a:lnTo>
                        <a:pt x="897" y="5143"/>
                      </a:lnTo>
                      <a:lnTo>
                        <a:pt x="1674" y="1974"/>
                      </a:lnTo>
                      <a:lnTo>
                        <a:pt x="1674" y="1914"/>
                      </a:lnTo>
                      <a:lnTo>
                        <a:pt x="1674" y="778"/>
                      </a:lnTo>
                      <a:lnTo>
                        <a:pt x="1674" y="0"/>
                      </a:lnTo>
                      <a:lnTo>
                        <a:pt x="1674" y="0"/>
                      </a:lnTo>
                      <a:lnTo>
                        <a:pt x="1674" y="0"/>
                      </a:lnTo>
                    </a:path>
                  </a:pathLst>
                </a:custGeom>
                <a:noFill/>
                <a:ln w="6350" cap="rnd">
                  <a:solidFill>
                    <a:schemeClr val="bg1">
                      <a:alpha val="40000"/>
                    </a:schemeClr>
                  </a:solidFill>
                  <a:prstDash val="solid"/>
                  <a:round/>
                </a:ln>
              </p:spPr>
              <p:txBody>
                <a:bodyPr rtlCol="0" anchor="ctr"/>
                <a:lstStyle/>
                <a:p>
                  <a:endParaRPr lang="en-GB"/>
                </a:p>
              </p:txBody>
            </p:sp>
            <p:sp>
              <p:nvSpPr>
                <p:cNvPr id="5770" name="Vrije vorm: vorm 5769">
                  <a:extLst>
                    <a:ext uri="{FF2B5EF4-FFF2-40B4-BE49-F238E27FC236}">
                      <a16:creationId xmlns:a16="http://schemas.microsoft.com/office/drawing/2014/main" id="{A7B2BDB3-2887-428C-8EAA-A0E8D61A733A}"/>
                    </a:ext>
                  </a:extLst>
                </p:cNvPr>
                <p:cNvSpPr/>
                <p:nvPr/>
              </p:nvSpPr>
              <p:spPr>
                <a:xfrm>
                  <a:off x="6674505" y="1601199"/>
                  <a:ext cx="5621" cy="1734"/>
                </a:xfrm>
                <a:custGeom>
                  <a:avLst/>
                  <a:gdLst>
                    <a:gd name="connsiteX0" fmla="*/ 5622 w 5621"/>
                    <a:gd name="connsiteY0" fmla="*/ 1734 h 1734"/>
                    <a:gd name="connsiteX1" fmla="*/ 5084 w 5621"/>
                    <a:gd name="connsiteY1" fmla="*/ 1256 h 1734"/>
                    <a:gd name="connsiteX2" fmla="*/ 2153 w 5621"/>
                    <a:gd name="connsiteY2" fmla="*/ 538 h 1734"/>
                    <a:gd name="connsiteX3" fmla="*/ 0 w 5621"/>
                    <a:gd name="connsiteY3" fmla="*/ 0 h 1734"/>
                  </a:gdLst>
                  <a:ahLst/>
                  <a:cxnLst>
                    <a:cxn ang="0">
                      <a:pos x="connsiteX0" y="connsiteY0"/>
                    </a:cxn>
                    <a:cxn ang="0">
                      <a:pos x="connsiteX1" y="connsiteY1"/>
                    </a:cxn>
                    <a:cxn ang="0">
                      <a:pos x="connsiteX2" y="connsiteY2"/>
                    </a:cxn>
                    <a:cxn ang="0">
                      <a:pos x="connsiteX3" y="connsiteY3"/>
                    </a:cxn>
                  </a:cxnLst>
                  <a:rect l="l" t="t" r="r" b="b"/>
                  <a:pathLst>
                    <a:path w="5621" h="1734">
                      <a:moveTo>
                        <a:pt x="5622" y="1734"/>
                      </a:moveTo>
                      <a:lnTo>
                        <a:pt x="5084" y="1256"/>
                      </a:lnTo>
                      <a:lnTo>
                        <a:pt x="2153" y="53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71" name="Vrije vorm: vorm 5770">
                  <a:extLst>
                    <a:ext uri="{FF2B5EF4-FFF2-40B4-BE49-F238E27FC236}">
                      <a16:creationId xmlns:a16="http://schemas.microsoft.com/office/drawing/2014/main" id="{167E3F6B-11CD-4E6B-AA1B-EBDF07E8E1B1}"/>
                    </a:ext>
                  </a:extLst>
                </p:cNvPr>
                <p:cNvSpPr/>
                <p:nvPr/>
              </p:nvSpPr>
              <p:spPr>
                <a:xfrm>
                  <a:off x="6672232" y="1605206"/>
                  <a:ext cx="5801" cy="5801"/>
                </a:xfrm>
                <a:custGeom>
                  <a:avLst/>
                  <a:gdLst>
                    <a:gd name="connsiteX0" fmla="*/ 0 w 5801"/>
                    <a:gd name="connsiteY0" fmla="*/ 5801 h 5801"/>
                    <a:gd name="connsiteX1" fmla="*/ 419 w 5801"/>
                    <a:gd name="connsiteY1" fmla="*/ 5502 h 5801"/>
                    <a:gd name="connsiteX2" fmla="*/ 1794 w 5801"/>
                    <a:gd name="connsiteY2" fmla="*/ 4545 h 5801"/>
                    <a:gd name="connsiteX3" fmla="*/ 4067 w 5801"/>
                    <a:gd name="connsiteY3" fmla="*/ 2213 h 5801"/>
                    <a:gd name="connsiteX4" fmla="*/ 4486 w 5801"/>
                    <a:gd name="connsiteY4" fmla="*/ 1794 h 5801"/>
                    <a:gd name="connsiteX5" fmla="*/ 5562 w 5801"/>
                    <a:gd name="connsiteY5" fmla="*/ 299 h 5801"/>
                    <a:gd name="connsiteX6" fmla="*/ 5801 w 5801"/>
                    <a:gd name="connsiteY6" fmla="*/ 0 h 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1" h="5801">
                      <a:moveTo>
                        <a:pt x="0" y="5801"/>
                      </a:moveTo>
                      <a:lnTo>
                        <a:pt x="419" y="5502"/>
                      </a:lnTo>
                      <a:lnTo>
                        <a:pt x="1794" y="4545"/>
                      </a:lnTo>
                      <a:lnTo>
                        <a:pt x="4067" y="2213"/>
                      </a:lnTo>
                      <a:lnTo>
                        <a:pt x="4486" y="1794"/>
                      </a:lnTo>
                      <a:lnTo>
                        <a:pt x="5562" y="299"/>
                      </a:lnTo>
                      <a:lnTo>
                        <a:pt x="5801" y="0"/>
                      </a:lnTo>
                    </a:path>
                  </a:pathLst>
                </a:custGeom>
                <a:noFill/>
                <a:ln w="6350" cap="rnd">
                  <a:solidFill>
                    <a:schemeClr val="bg1">
                      <a:alpha val="40000"/>
                    </a:schemeClr>
                  </a:solidFill>
                  <a:prstDash val="solid"/>
                  <a:round/>
                </a:ln>
              </p:spPr>
              <p:txBody>
                <a:bodyPr rtlCol="0" anchor="ctr"/>
                <a:lstStyle/>
                <a:p>
                  <a:endParaRPr lang="en-GB"/>
                </a:p>
              </p:txBody>
            </p:sp>
            <p:sp>
              <p:nvSpPr>
                <p:cNvPr id="5772" name="Vrije vorm: vorm 5771">
                  <a:extLst>
                    <a:ext uri="{FF2B5EF4-FFF2-40B4-BE49-F238E27FC236}">
                      <a16:creationId xmlns:a16="http://schemas.microsoft.com/office/drawing/2014/main" id="{4A2D5D11-EC8A-458D-82C4-E8664A698A05}"/>
                    </a:ext>
                  </a:extLst>
                </p:cNvPr>
                <p:cNvSpPr/>
                <p:nvPr/>
              </p:nvSpPr>
              <p:spPr>
                <a:xfrm>
                  <a:off x="6672891" y="1603950"/>
                  <a:ext cx="5621" cy="1734"/>
                </a:xfrm>
                <a:custGeom>
                  <a:avLst/>
                  <a:gdLst>
                    <a:gd name="connsiteX0" fmla="*/ 0 w 5621"/>
                    <a:gd name="connsiteY0" fmla="*/ 0 h 1734"/>
                    <a:gd name="connsiteX1" fmla="*/ 718 w 5621"/>
                    <a:gd name="connsiteY1" fmla="*/ 180 h 1734"/>
                    <a:gd name="connsiteX2" fmla="*/ 1854 w 5621"/>
                    <a:gd name="connsiteY2" fmla="*/ 478 h 1734"/>
                    <a:gd name="connsiteX3" fmla="*/ 4785 w 5621"/>
                    <a:gd name="connsiteY3" fmla="*/ 1196 h 1734"/>
                    <a:gd name="connsiteX4" fmla="*/ 5024 w 5621"/>
                    <a:gd name="connsiteY4" fmla="*/ 1256 h 1734"/>
                    <a:gd name="connsiteX5" fmla="*/ 5083 w 5621"/>
                    <a:gd name="connsiteY5" fmla="*/ 1256 h 1734"/>
                    <a:gd name="connsiteX6" fmla="*/ 5622 w 5621"/>
                    <a:gd name="connsiteY6" fmla="*/ 1734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1" h="1734">
                      <a:moveTo>
                        <a:pt x="0" y="0"/>
                      </a:moveTo>
                      <a:lnTo>
                        <a:pt x="718" y="180"/>
                      </a:lnTo>
                      <a:lnTo>
                        <a:pt x="1854" y="478"/>
                      </a:lnTo>
                      <a:lnTo>
                        <a:pt x="4785" y="1196"/>
                      </a:lnTo>
                      <a:lnTo>
                        <a:pt x="5024" y="1256"/>
                      </a:lnTo>
                      <a:lnTo>
                        <a:pt x="5083" y="1256"/>
                      </a:lnTo>
                      <a:lnTo>
                        <a:pt x="5622" y="1734"/>
                      </a:lnTo>
                    </a:path>
                  </a:pathLst>
                </a:custGeom>
                <a:noFill/>
                <a:ln w="6350" cap="rnd">
                  <a:solidFill>
                    <a:schemeClr val="bg1">
                      <a:alpha val="40000"/>
                    </a:schemeClr>
                  </a:solidFill>
                  <a:prstDash val="solid"/>
                  <a:round/>
                </a:ln>
              </p:spPr>
              <p:txBody>
                <a:bodyPr rtlCol="0" anchor="ctr"/>
                <a:lstStyle/>
                <a:p>
                  <a:endParaRPr lang="en-GB"/>
                </a:p>
              </p:txBody>
            </p:sp>
            <p:sp>
              <p:nvSpPr>
                <p:cNvPr id="5773" name="Vrije vorm: vorm 5772">
                  <a:extLst>
                    <a:ext uri="{FF2B5EF4-FFF2-40B4-BE49-F238E27FC236}">
                      <a16:creationId xmlns:a16="http://schemas.microsoft.com/office/drawing/2014/main" id="{8393204D-4C53-4D8E-A261-E2FA365DD4D6}"/>
                    </a:ext>
                  </a:extLst>
                </p:cNvPr>
                <p:cNvSpPr/>
                <p:nvPr/>
              </p:nvSpPr>
              <p:spPr>
                <a:xfrm>
                  <a:off x="6670199" y="1605505"/>
                  <a:ext cx="2571" cy="7535"/>
                </a:xfrm>
                <a:custGeom>
                  <a:avLst/>
                  <a:gdLst>
                    <a:gd name="connsiteX0" fmla="*/ 0 w 2571"/>
                    <a:gd name="connsiteY0" fmla="*/ 7536 h 7535"/>
                    <a:gd name="connsiteX1" fmla="*/ 1316 w 2571"/>
                    <a:gd name="connsiteY1" fmla="*/ 6938 h 7535"/>
                    <a:gd name="connsiteX2" fmla="*/ 2572 w 2571"/>
                    <a:gd name="connsiteY2" fmla="*/ 6040 h 7535"/>
                    <a:gd name="connsiteX3" fmla="*/ 2033 w 2571"/>
                    <a:gd name="connsiteY3" fmla="*/ 5562 h 7535"/>
                    <a:gd name="connsiteX4" fmla="*/ 1914 w 2571"/>
                    <a:gd name="connsiteY4" fmla="*/ 4725 h 7535"/>
                    <a:gd name="connsiteX5" fmla="*/ 1435 w 2571"/>
                    <a:gd name="connsiteY5" fmla="*/ 1615 h 7535"/>
                    <a:gd name="connsiteX6" fmla="*/ 1316 w 2571"/>
                    <a:gd name="connsiteY6" fmla="*/ 718 h 7535"/>
                    <a:gd name="connsiteX7" fmla="*/ 1196 w 2571"/>
                    <a:gd name="connsiteY7"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 h="7535">
                      <a:moveTo>
                        <a:pt x="0" y="7536"/>
                      </a:moveTo>
                      <a:lnTo>
                        <a:pt x="1316" y="6938"/>
                      </a:lnTo>
                      <a:lnTo>
                        <a:pt x="2572" y="6040"/>
                      </a:lnTo>
                      <a:lnTo>
                        <a:pt x="2033" y="5562"/>
                      </a:lnTo>
                      <a:lnTo>
                        <a:pt x="1914" y="4725"/>
                      </a:lnTo>
                      <a:lnTo>
                        <a:pt x="1435" y="1615"/>
                      </a:lnTo>
                      <a:lnTo>
                        <a:pt x="1316" y="718"/>
                      </a:lnTo>
                      <a:lnTo>
                        <a:pt x="1196" y="0"/>
                      </a:lnTo>
                    </a:path>
                  </a:pathLst>
                </a:custGeom>
                <a:noFill/>
                <a:ln w="6350" cap="rnd">
                  <a:solidFill>
                    <a:schemeClr val="bg1">
                      <a:alpha val="40000"/>
                    </a:schemeClr>
                  </a:solidFill>
                  <a:prstDash val="solid"/>
                  <a:round/>
                </a:ln>
              </p:spPr>
              <p:txBody>
                <a:bodyPr rtlCol="0" anchor="ctr"/>
                <a:lstStyle/>
                <a:p>
                  <a:endParaRPr lang="en-GB"/>
                </a:p>
              </p:txBody>
            </p:sp>
            <p:sp>
              <p:nvSpPr>
                <p:cNvPr id="5774" name="Vrije vorm: vorm 5773">
                  <a:extLst>
                    <a:ext uri="{FF2B5EF4-FFF2-40B4-BE49-F238E27FC236}">
                      <a16:creationId xmlns:a16="http://schemas.microsoft.com/office/drawing/2014/main" id="{600BE8C9-430C-4E7B-BF51-FFB72E063DE6}"/>
                    </a:ext>
                  </a:extLst>
                </p:cNvPr>
                <p:cNvSpPr/>
                <p:nvPr/>
              </p:nvSpPr>
              <p:spPr>
                <a:xfrm>
                  <a:off x="6663261" y="1612622"/>
                  <a:ext cx="6399" cy="1435"/>
                </a:xfrm>
                <a:custGeom>
                  <a:avLst/>
                  <a:gdLst>
                    <a:gd name="connsiteX0" fmla="*/ 0 w 6399"/>
                    <a:gd name="connsiteY0" fmla="*/ 1256 h 1435"/>
                    <a:gd name="connsiteX1" fmla="*/ 778 w 6399"/>
                    <a:gd name="connsiteY1" fmla="*/ 1316 h 1435"/>
                    <a:gd name="connsiteX2" fmla="*/ 1256 w 6399"/>
                    <a:gd name="connsiteY2" fmla="*/ 1376 h 1435"/>
                    <a:gd name="connsiteX3" fmla="*/ 1256 w 6399"/>
                    <a:gd name="connsiteY3" fmla="*/ 1376 h 1435"/>
                    <a:gd name="connsiteX4" fmla="*/ 1615 w 6399"/>
                    <a:gd name="connsiteY4" fmla="*/ 1435 h 1435"/>
                    <a:gd name="connsiteX5" fmla="*/ 3110 w 6399"/>
                    <a:gd name="connsiteY5" fmla="*/ 1136 h 1435"/>
                    <a:gd name="connsiteX6" fmla="*/ 4605 w 6399"/>
                    <a:gd name="connsiteY6" fmla="*/ 837 h 1435"/>
                    <a:gd name="connsiteX7" fmla="*/ 6399 w 6399"/>
                    <a:gd name="connsiteY7" fmla="*/ 0 h 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99" h="1435">
                      <a:moveTo>
                        <a:pt x="0" y="1256"/>
                      </a:moveTo>
                      <a:lnTo>
                        <a:pt x="778" y="1316"/>
                      </a:lnTo>
                      <a:lnTo>
                        <a:pt x="1256" y="1376"/>
                      </a:lnTo>
                      <a:lnTo>
                        <a:pt x="1256" y="1376"/>
                      </a:lnTo>
                      <a:lnTo>
                        <a:pt x="1615" y="1435"/>
                      </a:lnTo>
                      <a:lnTo>
                        <a:pt x="3110" y="1136"/>
                      </a:lnTo>
                      <a:lnTo>
                        <a:pt x="4605" y="837"/>
                      </a:lnTo>
                      <a:lnTo>
                        <a:pt x="6399" y="0"/>
                      </a:lnTo>
                    </a:path>
                  </a:pathLst>
                </a:custGeom>
                <a:noFill/>
                <a:ln w="6350" cap="rnd">
                  <a:solidFill>
                    <a:schemeClr val="bg1">
                      <a:alpha val="40000"/>
                    </a:schemeClr>
                  </a:solidFill>
                  <a:prstDash val="solid"/>
                  <a:round/>
                </a:ln>
              </p:spPr>
              <p:txBody>
                <a:bodyPr rtlCol="0" anchor="ctr"/>
                <a:lstStyle/>
                <a:p>
                  <a:endParaRPr lang="en-GB"/>
                </a:p>
              </p:txBody>
            </p:sp>
            <p:sp>
              <p:nvSpPr>
                <p:cNvPr id="5775" name="Vrije vorm: vorm 5774">
                  <a:extLst>
                    <a:ext uri="{FF2B5EF4-FFF2-40B4-BE49-F238E27FC236}">
                      <a16:creationId xmlns:a16="http://schemas.microsoft.com/office/drawing/2014/main" id="{F06B74E5-E244-47B5-8226-24BA7BF5D13A}"/>
                    </a:ext>
                  </a:extLst>
                </p:cNvPr>
                <p:cNvSpPr/>
                <p:nvPr/>
              </p:nvSpPr>
              <p:spPr>
                <a:xfrm>
                  <a:off x="6668883" y="1607000"/>
                  <a:ext cx="1315" cy="5980"/>
                </a:xfrm>
                <a:custGeom>
                  <a:avLst/>
                  <a:gdLst>
                    <a:gd name="connsiteX0" fmla="*/ 0 w 1315"/>
                    <a:gd name="connsiteY0" fmla="*/ 0 h 5980"/>
                    <a:gd name="connsiteX1" fmla="*/ 419 w 1315"/>
                    <a:gd name="connsiteY1" fmla="*/ 3110 h 5980"/>
                    <a:gd name="connsiteX2" fmla="*/ 778 w 1315"/>
                    <a:gd name="connsiteY2" fmla="*/ 5502 h 5980"/>
                    <a:gd name="connsiteX3" fmla="*/ 1316 w 1315"/>
                    <a:gd name="connsiteY3" fmla="*/ 5981 h 5980"/>
                    <a:gd name="connsiteX4" fmla="*/ 837 w 1315"/>
                    <a:gd name="connsiteY4" fmla="*/ 2871 h 5980"/>
                    <a:gd name="connsiteX5" fmla="*/ 479 w 1315"/>
                    <a:gd name="connsiteY5" fmla="*/ 478 h 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5" h="5980">
                      <a:moveTo>
                        <a:pt x="0" y="0"/>
                      </a:moveTo>
                      <a:lnTo>
                        <a:pt x="419" y="3110"/>
                      </a:lnTo>
                      <a:lnTo>
                        <a:pt x="778" y="5502"/>
                      </a:lnTo>
                      <a:lnTo>
                        <a:pt x="1316" y="5981"/>
                      </a:lnTo>
                      <a:lnTo>
                        <a:pt x="837" y="2871"/>
                      </a:lnTo>
                      <a:lnTo>
                        <a:pt x="479" y="478"/>
                      </a:lnTo>
                    </a:path>
                  </a:pathLst>
                </a:custGeom>
                <a:noFill/>
                <a:ln w="6350" cap="rnd">
                  <a:solidFill>
                    <a:schemeClr val="bg1">
                      <a:alpha val="40000"/>
                    </a:schemeClr>
                  </a:solidFill>
                  <a:prstDash val="solid"/>
                  <a:round/>
                </a:ln>
              </p:spPr>
              <p:txBody>
                <a:bodyPr rtlCol="0" anchor="ctr"/>
                <a:lstStyle/>
                <a:p>
                  <a:endParaRPr lang="en-GB"/>
                </a:p>
              </p:txBody>
            </p:sp>
            <p:sp>
              <p:nvSpPr>
                <p:cNvPr id="5776" name="Vrije vorm: vorm 5775">
                  <a:extLst>
                    <a:ext uri="{FF2B5EF4-FFF2-40B4-BE49-F238E27FC236}">
                      <a16:creationId xmlns:a16="http://schemas.microsoft.com/office/drawing/2014/main" id="{20177E2C-D1B7-432D-BAEB-F15E07958262}"/>
                    </a:ext>
                  </a:extLst>
                </p:cNvPr>
                <p:cNvSpPr/>
                <p:nvPr/>
              </p:nvSpPr>
              <p:spPr>
                <a:xfrm>
                  <a:off x="6663261" y="1607419"/>
                  <a:ext cx="3887" cy="6937"/>
                </a:xfrm>
                <a:custGeom>
                  <a:avLst/>
                  <a:gdLst>
                    <a:gd name="connsiteX0" fmla="*/ 538 w 3887"/>
                    <a:gd name="connsiteY0" fmla="*/ 6938 h 6937"/>
                    <a:gd name="connsiteX1" fmla="*/ 0 w 3887"/>
                    <a:gd name="connsiteY1" fmla="*/ 6459 h 6937"/>
                    <a:gd name="connsiteX2" fmla="*/ 598 w 3887"/>
                    <a:gd name="connsiteY2" fmla="*/ 5502 h 6937"/>
                    <a:gd name="connsiteX3" fmla="*/ 598 w 3887"/>
                    <a:gd name="connsiteY3" fmla="*/ 5502 h 6937"/>
                    <a:gd name="connsiteX4" fmla="*/ 1914 w 3887"/>
                    <a:gd name="connsiteY4" fmla="*/ 3289 h 6937"/>
                    <a:gd name="connsiteX5" fmla="*/ 3589 w 3887"/>
                    <a:gd name="connsiteY5" fmla="*/ 478 h 6937"/>
                    <a:gd name="connsiteX6" fmla="*/ 3708 w 3887"/>
                    <a:gd name="connsiteY6" fmla="*/ 299 h 6937"/>
                    <a:gd name="connsiteX7" fmla="*/ 3888 w 3887"/>
                    <a:gd name="connsiteY7" fmla="*/ 0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7" h="6937">
                      <a:moveTo>
                        <a:pt x="538" y="6938"/>
                      </a:moveTo>
                      <a:lnTo>
                        <a:pt x="0" y="6459"/>
                      </a:lnTo>
                      <a:lnTo>
                        <a:pt x="598" y="5502"/>
                      </a:lnTo>
                      <a:lnTo>
                        <a:pt x="598" y="5502"/>
                      </a:lnTo>
                      <a:lnTo>
                        <a:pt x="1914" y="3289"/>
                      </a:lnTo>
                      <a:lnTo>
                        <a:pt x="3589" y="478"/>
                      </a:lnTo>
                      <a:lnTo>
                        <a:pt x="3708" y="299"/>
                      </a:lnTo>
                      <a:lnTo>
                        <a:pt x="3888" y="0"/>
                      </a:lnTo>
                    </a:path>
                  </a:pathLst>
                </a:custGeom>
                <a:noFill/>
                <a:ln w="6350" cap="rnd">
                  <a:solidFill>
                    <a:schemeClr val="bg1">
                      <a:alpha val="40000"/>
                    </a:schemeClr>
                  </a:solidFill>
                  <a:prstDash val="solid"/>
                  <a:round/>
                </a:ln>
              </p:spPr>
              <p:txBody>
                <a:bodyPr rtlCol="0" anchor="ctr"/>
                <a:lstStyle/>
                <a:p>
                  <a:endParaRPr lang="en-GB"/>
                </a:p>
              </p:txBody>
            </p:sp>
            <p:sp>
              <p:nvSpPr>
                <p:cNvPr id="5777" name="Vrije vorm: vorm 5776">
                  <a:extLst>
                    <a:ext uri="{FF2B5EF4-FFF2-40B4-BE49-F238E27FC236}">
                      <a16:creationId xmlns:a16="http://schemas.microsoft.com/office/drawing/2014/main" id="{36E49B6D-6E43-4319-837B-48C9594EE5E5}"/>
                    </a:ext>
                  </a:extLst>
                </p:cNvPr>
                <p:cNvSpPr/>
                <p:nvPr/>
              </p:nvSpPr>
              <p:spPr>
                <a:xfrm>
                  <a:off x="6661946" y="1613878"/>
                  <a:ext cx="1854" cy="478"/>
                </a:xfrm>
                <a:custGeom>
                  <a:avLst/>
                  <a:gdLst>
                    <a:gd name="connsiteX0" fmla="*/ 0 w 1854"/>
                    <a:gd name="connsiteY0" fmla="*/ 0 h 478"/>
                    <a:gd name="connsiteX1" fmla="*/ 837 w 1854"/>
                    <a:gd name="connsiteY1" fmla="*/ 419 h 478"/>
                    <a:gd name="connsiteX2" fmla="*/ 1854 w 1854"/>
                    <a:gd name="connsiteY2" fmla="*/ 478 h 478"/>
                  </a:gdLst>
                  <a:ahLst/>
                  <a:cxnLst>
                    <a:cxn ang="0">
                      <a:pos x="connsiteX0" y="connsiteY0"/>
                    </a:cxn>
                    <a:cxn ang="0">
                      <a:pos x="connsiteX1" y="connsiteY1"/>
                    </a:cxn>
                    <a:cxn ang="0">
                      <a:pos x="connsiteX2" y="connsiteY2"/>
                    </a:cxn>
                  </a:cxnLst>
                  <a:rect l="l" t="t" r="r" b="b"/>
                  <a:pathLst>
                    <a:path w="1854" h="478">
                      <a:moveTo>
                        <a:pt x="0" y="0"/>
                      </a:moveTo>
                      <a:lnTo>
                        <a:pt x="837" y="419"/>
                      </a:lnTo>
                      <a:lnTo>
                        <a:pt x="1854" y="478"/>
                      </a:lnTo>
                    </a:path>
                  </a:pathLst>
                </a:custGeom>
                <a:noFill/>
                <a:ln w="6350" cap="rnd">
                  <a:solidFill>
                    <a:schemeClr val="bg1">
                      <a:alpha val="40000"/>
                    </a:schemeClr>
                  </a:solidFill>
                  <a:prstDash val="solid"/>
                  <a:round/>
                </a:ln>
              </p:spPr>
              <p:txBody>
                <a:bodyPr rtlCol="0" anchor="ctr"/>
                <a:lstStyle/>
                <a:p>
                  <a:endParaRPr lang="en-GB"/>
                </a:p>
              </p:txBody>
            </p:sp>
            <p:sp>
              <p:nvSpPr>
                <p:cNvPr id="5778" name="Vrije vorm: vorm 5777">
                  <a:extLst>
                    <a:ext uri="{FF2B5EF4-FFF2-40B4-BE49-F238E27FC236}">
                      <a16:creationId xmlns:a16="http://schemas.microsoft.com/office/drawing/2014/main" id="{59A86216-6EBA-4A8E-B3A9-DC0F4F0721B3}"/>
                    </a:ext>
                  </a:extLst>
                </p:cNvPr>
                <p:cNvSpPr/>
                <p:nvPr/>
              </p:nvSpPr>
              <p:spPr>
                <a:xfrm>
                  <a:off x="6658058" y="1603771"/>
                  <a:ext cx="6100" cy="9569"/>
                </a:xfrm>
                <a:custGeom>
                  <a:avLst/>
                  <a:gdLst>
                    <a:gd name="connsiteX0" fmla="*/ 5921 w 6100"/>
                    <a:gd name="connsiteY0" fmla="*/ 0 h 9569"/>
                    <a:gd name="connsiteX1" fmla="*/ 5981 w 6100"/>
                    <a:gd name="connsiteY1" fmla="*/ 718 h 9569"/>
                    <a:gd name="connsiteX2" fmla="*/ 6100 w 6100"/>
                    <a:gd name="connsiteY2" fmla="*/ 1794 h 9569"/>
                    <a:gd name="connsiteX3" fmla="*/ 6100 w 6100"/>
                    <a:gd name="connsiteY3" fmla="*/ 1794 h 9569"/>
                    <a:gd name="connsiteX4" fmla="*/ 6100 w 6100"/>
                    <a:gd name="connsiteY4" fmla="*/ 1854 h 9569"/>
                    <a:gd name="connsiteX5" fmla="*/ 6041 w 6100"/>
                    <a:gd name="connsiteY5" fmla="*/ 1854 h 9569"/>
                    <a:gd name="connsiteX6" fmla="*/ 6041 w 6100"/>
                    <a:gd name="connsiteY6" fmla="*/ 1854 h 9569"/>
                    <a:gd name="connsiteX7" fmla="*/ 3289 w 6100"/>
                    <a:gd name="connsiteY7" fmla="*/ 3529 h 9569"/>
                    <a:gd name="connsiteX8" fmla="*/ 1615 w 6100"/>
                    <a:gd name="connsiteY8" fmla="*/ 4545 h 9569"/>
                    <a:gd name="connsiteX9" fmla="*/ 1076 w 6100"/>
                    <a:gd name="connsiteY9" fmla="*/ 4844 h 9569"/>
                    <a:gd name="connsiteX10" fmla="*/ 299 w 6100"/>
                    <a:gd name="connsiteY10" fmla="*/ 5323 h 9569"/>
                    <a:gd name="connsiteX11" fmla="*/ 299 w 6100"/>
                    <a:gd name="connsiteY11" fmla="*/ 5323 h 9569"/>
                    <a:gd name="connsiteX12" fmla="*/ 0 w 6100"/>
                    <a:gd name="connsiteY12" fmla="*/ 5502 h 9569"/>
                    <a:gd name="connsiteX13" fmla="*/ 60 w 6100"/>
                    <a:gd name="connsiteY13" fmla="*/ 5742 h 9569"/>
                    <a:gd name="connsiteX14" fmla="*/ 479 w 6100"/>
                    <a:gd name="connsiteY14" fmla="*/ 7117 h 9569"/>
                    <a:gd name="connsiteX15" fmla="*/ 1136 w 6100"/>
                    <a:gd name="connsiteY15" fmla="*/ 7895 h 9569"/>
                    <a:gd name="connsiteX16" fmla="*/ 1974 w 6100"/>
                    <a:gd name="connsiteY16" fmla="*/ 8911 h 9569"/>
                    <a:gd name="connsiteX17" fmla="*/ 2512 w 6100"/>
                    <a:gd name="connsiteY17" fmla="*/ 9210 h 9569"/>
                    <a:gd name="connsiteX18" fmla="*/ 3289 w 6100"/>
                    <a:gd name="connsiteY18" fmla="*/ 9569 h 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00" h="9569">
                      <a:moveTo>
                        <a:pt x="5921" y="0"/>
                      </a:moveTo>
                      <a:lnTo>
                        <a:pt x="5981" y="718"/>
                      </a:lnTo>
                      <a:lnTo>
                        <a:pt x="6100" y="1794"/>
                      </a:lnTo>
                      <a:lnTo>
                        <a:pt x="6100" y="1794"/>
                      </a:lnTo>
                      <a:lnTo>
                        <a:pt x="6100" y="1854"/>
                      </a:lnTo>
                      <a:lnTo>
                        <a:pt x="6041" y="1854"/>
                      </a:lnTo>
                      <a:lnTo>
                        <a:pt x="6041" y="1854"/>
                      </a:lnTo>
                      <a:lnTo>
                        <a:pt x="3289" y="3529"/>
                      </a:lnTo>
                      <a:lnTo>
                        <a:pt x="1615" y="4545"/>
                      </a:lnTo>
                      <a:lnTo>
                        <a:pt x="1076" y="4844"/>
                      </a:lnTo>
                      <a:lnTo>
                        <a:pt x="299" y="5323"/>
                      </a:lnTo>
                      <a:lnTo>
                        <a:pt x="299" y="5323"/>
                      </a:lnTo>
                      <a:lnTo>
                        <a:pt x="0" y="5502"/>
                      </a:lnTo>
                      <a:lnTo>
                        <a:pt x="60" y="5742"/>
                      </a:lnTo>
                      <a:lnTo>
                        <a:pt x="479" y="7117"/>
                      </a:lnTo>
                      <a:lnTo>
                        <a:pt x="1136" y="7895"/>
                      </a:lnTo>
                      <a:lnTo>
                        <a:pt x="1974" y="8911"/>
                      </a:lnTo>
                      <a:lnTo>
                        <a:pt x="2512" y="9210"/>
                      </a:lnTo>
                      <a:lnTo>
                        <a:pt x="3289" y="9569"/>
                      </a:lnTo>
                    </a:path>
                  </a:pathLst>
                </a:custGeom>
                <a:noFill/>
                <a:ln w="6350" cap="rnd">
                  <a:solidFill>
                    <a:schemeClr val="bg1">
                      <a:alpha val="40000"/>
                    </a:schemeClr>
                  </a:solidFill>
                  <a:prstDash val="solid"/>
                  <a:round/>
                </a:ln>
              </p:spPr>
              <p:txBody>
                <a:bodyPr rtlCol="0" anchor="ctr"/>
                <a:lstStyle/>
                <a:p>
                  <a:endParaRPr lang="en-GB"/>
                </a:p>
              </p:txBody>
            </p:sp>
            <p:sp>
              <p:nvSpPr>
                <p:cNvPr id="5779" name="Vrije vorm: vorm 5778">
                  <a:extLst>
                    <a:ext uri="{FF2B5EF4-FFF2-40B4-BE49-F238E27FC236}">
                      <a16:creationId xmlns:a16="http://schemas.microsoft.com/office/drawing/2014/main" id="{92F80AFA-2B91-44B2-923D-01DF0A84D9BA}"/>
                    </a:ext>
                  </a:extLst>
                </p:cNvPr>
                <p:cNvSpPr/>
                <p:nvPr/>
              </p:nvSpPr>
              <p:spPr>
                <a:xfrm>
                  <a:off x="6661407" y="1606940"/>
                  <a:ext cx="4366" cy="6937"/>
                </a:xfrm>
                <a:custGeom>
                  <a:avLst/>
                  <a:gdLst>
                    <a:gd name="connsiteX0" fmla="*/ 3828 w 4366"/>
                    <a:gd name="connsiteY0" fmla="*/ 0 h 6937"/>
                    <a:gd name="connsiteX1" fmla="*/ 3409 w 4366"/>
                    <a:gd name="connsiteY1" fmla="*/ 718 h 6937"/>
                    <a:gd name="connsiteX2" fmla="*/ 1914 w 4366"/>
                    <a:gd name="connsiteY2" fmla="*/ 3289 h 6937"/>
                    <a:gd name="connsiteX3" fmla="*/ 1914 w 4366"/>
                    <a:gd name="connsiteY3" fmla="*/ 3289 h 6937"/>
                    <a:gd name="connsiteX4" fmla="*/ 239 w 4366"/>
                    <a:gd name="connsiteY4" fmla="*/ 6100 h 6937"/>
                    <a:gd name="connsiteX5" fmla="*/ 0 w 4366"/>
                    <a:gd name="connsiteY5" fmla="*/ 6459 h 6937"/>
                    <a:gd name="connsiteX6" fmla="*/ 538 w 4366"/>
                    <a:gd name="connsiteY6" fmla="*/ 6938 h 6937"/>
                    <a:gd name="connsiteX7" fmla="*/ 1974 w 4366"/>
                    <a:gd name="connsiteY7" fmla="*/ 4545 h 6937"/>
                    <a:gd name="connsiteX8" fmla="*/ 1974 w 4366"/>
                    <a:gd name="connsiteY8" fmla="*/ 4545 h 6937"/>
                    <a:gd name="connsiteX9" fmla="*/ 3469 w 4366"/>
                    <a:gd name="connsiteY9" fmla="*/ 2034 h 6937"/>
                    <a:gd name="connsiteX10" fmla="*/ 4366 w 4366"/>
                    <a:gd name="connsiteY10" fmla="*/ 478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6" h="6937">
                      <a:moveTo>
                        <a:pt x="3828" y="0"/>
                      </a:moveTo>
                      <a:lnTo>
                        <a:pt x="3409" y="718"/>
                      </a:lnTo>
                      <a:lnTo>
                        <a:pt x="1914" y="3289"/>
                      </a:lnTo>
                      <a:lnTo>
                        <a:pt x="1914" y="3289"/>
                      </a:lnTo>
                      <a:lnTo>
                        <a:pt x="239" y="6100"/>
                      </a:lnTo>
                      <a:lnTo>
                        <a:pt x="0" y="6459"/>
                      </a:lnTo>
                      <a:lnTo>
                        <a:pt x="538" y="6938"/>
                      </a:lnTo>
                      <a:lnTo>
                        <a:pt x="1974" y="4545"/>
                      </a:lnTo>
                      <a:lnTo>
                        <a:pt x="1974" y="4545"/>
                      </a:lnTo>
                      <a:lnTo>
                        <a:pt x="3469" y="2034"/>
                      </a:lnTo>
                      <a:lnTo>
                        <a:pt x="4366" y="478"/>
                      </a:lnTo>
                    </a:path>
                  </a:pathLst>
                </a:custGeom>
                <a:noFill/>
                <a:ln w="6350" cap="rnd">
                  <a:solidFill>
                    <a:schemeClr val="bg1">
                      <a:alpha val="40000"/>
                    </a:schemeClr>
                  </a:solidFill>
                  <a:prstDash val="solid"/>
                  <a:round/>
                </a:ln>
              </p:spPr>
              <p:txBody>
                <a:bodyPr rtlCol="0" anchor="ctr"/>
                <a:lstStyle/>
                <a:p>
                  <a:endParaRPr lang="en-GB"/>
                </a:p>
              </p:txBody>
            </p:sp>
            <p:sp>
              <p:nvSpPr>
                <p:cNvPr id="5780" name="Vrije vorm: vorm 5779">
                  <a:extLst>
                    <a:ext uri="{FF2B5EF4-FFF2-40B4-BE49-F238E27FC236}">
                      <a16:creationId xmlns:a16="http://schemas.microsoft.com/office/drawing/2014/main" id="{3ECF626B-C67A-4A01-A033-80FAEB59546B}"/>
                    </a:ext>
                  </a:extLst>
                </p:cNvPr>
                <p:cNvSpPr/>
                <p:nvPr/>
              </p:nvSpPr>
              <p:spPr>
                <a:xfrm>
                  <a:off x="6660152" y="1612742"/>
                  <a:ext cx="1315" cy="1196"/>
                </a:xfrm>
                <a:custGeom>
                  <a:avLst/>
                  <a:gdLst>
                    <a:gd name="connsiteX0" fmla="*/ 1316 w 1315"/>
                    <a:gd name="connsiteY0" fmla="*/ 1196 h 1196"/>
                    <a:gd name="connsiteX1" fmla="*/ 0 w 1315"/>
                    <a:gd name="connsiteY1" fmla="*/ 0 h 1196"/>
                  </a:gdLst>
                  <a:ahLst/>
                  <a:cxnLst>
                    <a:cxn ang="0">
                      <a:pos x="connsiteX0" y="connsiteY0"/>
                    </a:cxn>
                    <a:cxn ang="0">
                      <a:pos x="connsiteX1" y="connsiteY1"/>
                    </a:cxn>
                  </a:cxnLst>
                  <a:rect l="l" t="t" r="r" b="b"/>
                  <a:pathLst>
                    <a:path w="1315" h="1196">
                      <a:moveTo>
                        <a:pt x="1316" y="1196"/>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81" name="Vrije vorm: vorm 5780">
                  <a:extLst>
                    <a:ext uri="{FF2B5EF4-FFF2-40B4-BE49-F238E27FC236}">
                      <a16:creationId xmlns:a16="http://schemas.microsoft.com/office/drawing/2014/main" id="{53FAD346-CDB2-42D4-9CF7-71480AA19352}"/>
                    </a:ext>
                  </a:extLst>
                </p:cNvPr>
                <p:cNvSpPr/>
                <p:nvPr/>
              </p:nvSpPr>
              <p:spPr>
                <a:xfrm>
                  <a:off x="6657879" y="1599225"/>
                  <a:ext cx="8013" cy="9928"/>
                </a:xfrm>
                <a:custGeom>
                  <a:avLst/>
                  <a:gdLst>
                    <a:gd name="connsiteX0" fmla="*/ 598 w 8013"/>
                    <a:gd name="connsiteY0" fmla="*/ 9928 h 9928"/>
                    <a:gd name="connsiteX1" fmla="*/ 598 w 8013"/>
                    <a:gd name="connsiteY1" fmla="*/ 9928 h 9928"/>
                    <a:gd name="connsiteX2" fmla="*/ 538 w 8013"/>
                    <a:gd name="connsiteY2" fmla="*/ 9749 h 9928"/>
                    <a:gd name="connsiteX3" fmla="*/ 538 w 8013"/>
                    <a:gd name="connsiteY3" fmla="*/ 8672 h 9928"/>
                    <a:gd name="connsiteX4" fmla="*/ 0 w 8013"/>
                    <a:gd name="connsiteY4" fmla="*/ 8194 h 9928"/>
                    <a:gd name="connsiteX5" fmla="*/ 0 w 8013"/>
                    <a:gd name="connsiteY5" fmla="*/ 8014 h 9928"/>
                    <a:gd name="connsiteX6" fmla="*/ 0 w 8013"/>
                    <a:gd name="connsiteY6" fmla="*/ 6399 h 9928"/>
                    <a:gd name="connsiteX7" fmla="*/ 0 w 8013"/>
                    <a:gd name="connsiteY7" fmla="*/ 6399 h 9928"/>
                    <a:gd name="connsiteX8" fmla="*/ 0 w 8013"/>
                    <a:gd name="connsiteY8" fmla="*/ 6340 h 9928"/>
                    <a:gd name="connsiteX9" fmla="*/ 778 w 8013"/>
                    <a:gd name="connsiteY9" fmla="*/ 3230 h 9928"/>
                    <a:gd name="connsiteX10" fmla="*/ 897 w 8013"/>
                    <a:gd name="connsiteY10" fmla="*/ 2990 h 9928"/>
                    <a:gd name="connsiteX11" fmla="*/ 957 w 8013"/>
                    <a:gd name="connsiteY11" fmla="*/ 2871 h 9928"/>
                    <a:gd name="connsiteX12" fmla="*/ 1674 w 8013"/>
                    <a:gd name="connsiteY12" fmla="*/ 1435 h 9928"/>
                    <a:gd name="connsiteX13" fmla="*/ 2332 w 8013"/>
                    <a:gd name="connsiteY13" fmla="*/ 1615 h 9928"/>
                    <a:gd name="connsiteX14" fmla="*/ 3349 w 8013"/>
                    <a:gd name="connsiteY14" fmla="*/ 1854 h 9928"/>
                    <a:gd name="connsiteX15" fmla="*/ 3528 w 8013"/>
                    <a:gd name="connsiteY15" fmla="*/ 1914 h 9928"/>
                    <a:gd name="connsiteX16" fmla="*/ 4844 w 8013"/>
                    <a:gd name="connsiteY16" fmla="*/ 2213 h 9928"/>
                    <a:gd name="connsiteX17" fmla="*/ 4964 w 8013"/>
                    <a:gd name="connsiteY17" fmla="*/ 2273 h 9928"/>
                    <a:gd name="connsiteX18" fmla="*/ 6459 w 8013"/>
                    <a:gd name="connsiteY18" fmla="*/ 2632 h 9928"/>
                    <a:gd name="connsiteX19" fmla="*/ 7236 w 8013"/>
                    <a:gd name="connsiteY19" fmla="*/ 1316 h 9928"/>
                    <a:gd name="connsiteX20" fmla="*/ 7595 w 8013"/>
                    <a:gd name="connsiteY20" fmla="*/ 658 h 9928"/>
                    <a:gd name="connsiteX21" fmla="*/ 7835 w 8013"/>
                    <a:gd name="connsiteY21" fmla="*/ 299 h 9928"/>
                    <a:gd name="connsiteX22" fmla="*/ 8014 w 8013"/>
                    <a:gd name="connsiteY22" fmla="*/ 0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13" h="9928">
                      <a:moveTo>
                        <a:pt x="598" y="9928"/>
                      </a:moveTo>
                      <a:lnTo>
                        <a:pt x="598" y="9928"/>
                      </a:lnTo>
                      <a:lnTo>
                        <a:pt x="538" y="9749"/>
                      </a:lnTo>
                      <a:lnTo>
                        <a:pt x="538" y="8672"/>
                      </a:lnTo>
                      <a:lnTo>
                        <a:pt x="0" y="8194"/>
                      </a:lnTo>
                      <a:lnTo>
                        <a:pt x="0" y="8014"/>
                      </a:lnTo>
                      <a:lnTo>
                        <a:pt x="0" y="6399"/>
                      </a:lnTo>
                      <a:lnTo>
                        <a:pt x="0" y="6399"/>
                      </a:lnTo>
                      <a:lnTo>
                        <a:pt x="0" y="6340"/>
                      </a:lnTo>
                      <a:lnTo>
                        <a:pt x="778" y="3230"/>
                      </a:lnTo>
                      <a:lnTo>
                        <a:pt x="897" y="2990"/>
                      </a:lnTo>
                      <a:lnTo>
                        <a:pt x="957" y="2871"/>
                      </a:lnTo>
                      <a:lnTo>
                        <a:pt x="1674" y="1435"/>
                      </a:lnTo>
                      <a:lnTo>
                        <a:pt x="2332" y="1615"/>
                      </a:lnTo>
                      <a:lnTo>
                        <a:pt x="3349" y="1854"/>
                      </a:lnTo>
                      <a:lnTo>
                        <a:pt x="3528" y="1914"/>
                      </a:lnTo>
                      <a:lnTo>
                        <a:pt x="4844" y="2213"/>
                      </a:lnTo>
                      <a:lnTo>
                        <a:pt x="4964" y="2273"/>
                      </a:lnTo>
                      <a:lnTo>
                        <a:pt x="6459" y="2632"/>
                      </a:lnTo>
                      <a:lnTo>
                        <a:pt x="7236" y="1316"/>
                      </a:lnTo>
                      <a:lnTo>
                        <a:pt x="7595" y="658"/>
                      </a:lnTo>
                      <a:lnTo>
                        <a:pt x="7835" y="299"/>
                      </a:lnTo>
                      <a:lnTo>
                        <a:pt x="8014" y="0"/>
                      </a:lnTo>
                    </a:path>
                  </a:pathLst>
                </a:custGeom>
                <a:noFill/>
                <a:ln w="6350" cap="rnd">
                  <a:solidFill>
                    <a:schemeClr val="bg1">
                      <a:alpha val="40000"/>
                    </a:schemeClr>
                  </a:solidFill>
                  <a:prstDash val="solid"/>
                  <a:round/>
                </a:ln>
              </p:spPr>
              <p:txBody>
                <a:bodyPr rtlCol="0" anchor="ctr"/>
                <a:lstStyle/>
                <a:p>
                  <a:endParaRPr lang="en-GB"/>
                </a:p>
              </p:txBody>
            </p:sp>
            <p:sp>
              <p:nvSpPr>
                <p:cNvPr id="5782" name="Vrije vorm: vorm 5781">
                  <a:extLst>
                    <a:ext uri="{FF2B5EF4-FFF2-40B4-BE49-F238E27FC236}">
                      <a16:creationId xmlns:a16="http://schemas.microsoft.com/office/drawing/2014/main" id="{FF47F09A-0533-4AE3-8D4C-91754C9EABB0}"/>
                    </a:ext>
                  </a:extLst>
                </p:cNvPr>
                <p:cNvSpPr/>
                <p:nvPr/>
              </p:nvSpPr>
              <p:spPr>
                <a:xfrm>
                  <a:off x="6663381" y="1618064"/>
                  <a:ext cx="10765" cy="13217"/>
                </a:xfrm>
                <a:custGeom>
                  <a:avLst/>
                  <a:gdLst>
                    <a:gd name="connsiteX0" fmla="*/ 10765 w 10765"/>
                    <a:gd name="connsiteY0" fmla="*/ 0 h 13217"/>
                    <a:gd name="connsiteX1" fmla="*/ 10645 w 10765"/>
                    <a:gd name="connsiteY1" fmla="*/ 239 h 13217"/>
                    <a:gd name="connsiteX2" fmla="*/ 10526 w 10765"/>
                    <a:gd name="connsiteY2" fmla="*/ 478 h 13217"/>
                    <a:gd name="connsiteX3" fmla="*/ 10526 w 10765"/>
                    <a:gd name="connsiteY3" fmla="*/ 478 h 13217"/>
                    <a:gd name="connsiteX4" fmla="*/ 8911 w 10765"/>
                    <a:gd name="connsiteY4" fmla="*/ 3170 h 13217"/>
                    <a:gd name="connsiteX5" fmla="*/ 7237 w 10765"/>
                    <a:gd name="connsiteY5" fmla="*/ 5981 h 13217"/>
                    <a:gd name="connsiteX6" fmla="*/ 6399 w 10765"/>
                    <a:gd name="connsiteY6" fmla="*/ 7416 h 13217"/>
                    <a:gd name="connsiteX7" fmla="*/ 4007 w 10765"/>
                    <a:gd name="connsiteY7" fmla="*/ 9569 h 13217"/>
                    <a:gd name="connsiteX8" fmla="*/ 1615 w 10765"/>
                    <a:gd name="connsiteY8" fmla="*/ 11722 h 13217"/>
                    <a:gd name="connsiteX9" fmla="*/ 0 w 10765"/>
                    <a:gd name="connsiteY9" fmla="*/ 13217 h 1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65" h="13217">
                      <a:moveTo>
                        <a:pt x="10765" y="0"/>
                      </a:moveTo>
                      <a:lnTo>
                        <a:pt x="10645" y="239"/>
                      </a:lnTo>
                      <a:lnTo>
                        <a:pt x="10526" y="478"/>
                      </a:lnTo>
                      <a:lnTo>
                        <a:pt x="10526" y="478"/>
                      </a:lnTo>
                      <a:lnTo>
                        <a:pt x="8911" y="3170"/>
                      </a:lnTo>
                      <a:lnTo>
                        <a:pt x="7237" y="5981"/>
                      </a:lnTo>
                      <a:lnTo>
                        <a:pt x="6399" y="7416"/>
                      </a:lnTo>
                      <a:lnTo>
                        <a:pt x="4007" y="9569"/>
                      </a:lnTo>
                      <a:lnTo>
                        <a:pt x="1615" y="11722"/>
                      </a:lnTo>
                      <a:lnTo>
                        <a:pt x="0" y="13217"/>
                      </a:lnTo>
                    </a:path>
                  </a:pathLst>
                </a:custGeom>
                <a:noFill/>
                <a:ln w="6350" cap="rnd">
                  <a:solidFill>
                    <a:schemeClr val="bg1">
                      <a:alpha val="40000"/>
                    </a:schemeClr>
                  </a:solidFill>
                  <a:prstDash val="solid"/>
                  <a:round/>
                </a:ln>
              </p:spPr>
              <p:txBody>
                <a:bodyPr rtlCol="0" anchor="ctr"/>
                <a:lstStyle/>
                <a:p>
                  <a:endParaRPr lang="en-GB"/>
                </a:p>
              </p:txBody>
            </p:sp>
            <p:sp>
              <p:nvSpPr>
                <p:cNvPr id="5783" name="Vrije vorm: vorm 5782">
                  <a:extLst>
                    <a:ext uri="{FF2B5EF4-FFF2-40B4-BE49-F238E27FC236}">
                      <a16:creationId xmlns:a16="http://schemas.microsoft.com/office/drawing/2014/main" id="{C8834C4B-3558-4DE4-828C-7807FFE69445}"/>
                    </a:ext>
                  </a:extLst>
                </p:cNvPr>
                <p:cNvSpPr/>
                <p:nvPr/>
              </p:nvSpPr>
              <p:spPr>
                <a:xfrm>
                  <a:off x="6648968" y="1609333"/>
                  <a:ext cx="7774" cy="17104"/>
                </a:xfrm>
                <a:custGeom>
                  <a:avLst/>
                  <a:gdLst>
                    <a:gd name="connsiteX0" fmla="*/ 0 w 7774"/>
                    <a:gd name="connsiteY0" fmla="*/ 17105 h 17104"/>
                    <a:gd name="connsiteX1" fmla="*/ 777 w 7774"/>
                    <a:gd name="connsiteY1" fmla="*/ 13935 h 17104"/>
                    <a:gd name="connsiteX2" fmla="*/ 1555 w 7774"/>
                    <a:gd name="connsiteY2" fmla="*/ 10765 h 17104"/>
                    <a:gd name="connsiteX3" fmla="*/ 1734 w 7774"/>
                    <a:gd name="connsiteY3" fmla="*/ 10167 h 17104"/>
                    <a:gd name="connsiteX4" fmla="*/ 3409 w 7774"/>
                    <a:gd name="connsiteY4" fmla="*/ 7356 h 17104"/>
                    <a:gd name="connsiteX5" fmla="*/ 5083 w 7774"/>
                    <a:gd name="connsiteY5" fmla="*/ 4545 h 17104"/>
                    <a:gd name="connsiteX6" fmla="*/ 5622 w 7774"/>
                    <a:gd name="connsiteY6" fmla="*/ 3648 h 17104"/>
                    <a:gd name="connsiteX7" fmla="*/ 7296 w 7774"/>
                    <a:gd name="connsiteY7" fmla="*/ 837 h 17104"/>
                    <a:gd name="connsiteX8" fmla="*/ 7775 w 7774"/>
                    <a:gd name="connsiteY8" fmla="*/ 0 h 1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74" h="17104">
                      <a:moveTo>
                        <a:pt x="0" y="17105"/>
                      </a:moveTo>
                      <a:lnTo>
                        <a:pt x="777" y="13935"/>
                      </a:lnTo>
                      <a:lnTo>
                        <a:pt x="1555" y="10765"/>
                      </a:lnTo>
                      <a:lnTo>
                        <a:pt x="1734" y="10167"/>
                      </a:lnTo>
                      <a:lnTo>
                        <a:pt x="3409" y="7356"/>
                      </a:lnTo>
                      <a:lnTo>
                        <a:pt x="5083" y="4545"/>
                      </a:lnTo>
                      <a:lnTo>
                        <a:pt x="5622" y="3648"/>
                      </a:lnTo>
                      <a:lnTo>
                        <a:pt x="7296" y="837"/>
                      </a:lnTo>
                      <a:lnTo>
                        <a:pt x="7775" y="0"/>
                      </a:lnTo>
                    </a:path>
                  </a:pathLst>
                </a:custGeom>
                <a:noFill/>
                <a:ln w="6350" cap="rnd">
                  <a:solidFill>
                    <a:schemeClr val="bg1">
                      <a:alpha val="40000"/>
                    </a:schemeClr>
                  </a:solidFill>
                  <a:prstDash val="solid"/>
                  <a:round/>
                </a:ln>
              </p:spPr>
              <p:txBody>
                <a:bodyPr rtlCol="0" anchor="ctr"/>
                <a:lstStyle/>
                <a:p>
                  <a:endParaRPr lang="en-GB"/>
                </a:p>
              </p:txBody>
            </p:sp>
            <p:sp>
              <p:nvSpPr>
                <p:cNvPr id="5784" name="Vrije vorm: vorm 5783">
                  <a:extLst>
                    <a:ext uri="{FF2B5EF4-FFF2-40B4-BE49-F238E27FC236}">
                      <a16:creationId xmlns:a16="http://schemas.microsoft.com/office/drawing/2014/main" id="{7A5D278A-6935-44BB-AEF4-36FB66C2F28E}"/>
                    </a:ext>
                  </a:extLst>
                </p:cNvPr>
                <p:cNvSpPr/>
                <p:nvPr/>
              </p:nvSpPr>
              <p:spPr>
                <a:xfrm>
                  <a:off x="6644721" y="1635289"/>
                  <a:ext cx="25298" cy="14533"/>
                </a:xfrm>
                <a:custGeom>
                  <a:avLst/>
                  <a:gdLst>
                    <a:gd name="connsiteX0" fmla="*/ 3349 w 25298"/>
                    <a:gd name="connsiteY0" fmla="*/ 3230 h 14533"/>
                    <a:gd name="connsiteX1" fmla="*/ 1076 w 25298"/>
                    <a:gd name="connsiteY1" fmla="*/ 1316 h 14533"/>
                    <a:gd name="connsiteX2" fmla="*/ 0 w 25298"/>
                    <a:gd name="connsiteY2" fmla="*/ 359 h 14533"/>
                    <a:gd name="connsiteX3" fmla="*/ 179 w 25298"/>
                    <a:gd name="connsiteY3" fmla="*/ 0 h 14533"/>
                    <a:gd name="connsiteX4" fmla="*/ 1256 w 25298"/>
                    <a:gd name="connsiteY4" fmla="*/ 359 h 14533"/>
                    <a:gd name="connsiteX5" fmla="*/ 3110 w 25298"/>
                    <a:gd name="connsiteY5" fmla="*/ 957 h 14533"/>
                    <a:gd name="connsiteX6" fmla="*/ 5981 w 25298"/>
                    <a:gd name="connsiteY6" fmla="*/ 1854 h 14533"/>
                    <a:gd name="connsiteX7" fmla="*/ 8851 w 25298"/>
                    <a:gd name="connsiteY7" fmla="*/ 2751 h 14533"/>
                    <a:gd name="connsiteX8" fmla="*/ 11722 w 25298"/>
                    <a:gd name="connsiteY8" fmla="*/ 3648 h 14533"/>
                    <a:gd name="connsiteX9" fmla="*/ 12201 w 25298"/>
                    <a:gd name="connsiteY9" fmla="*/ 3828 h 14533"/>
                    <a:gd name="connsiteX10" fmla="*/ 13875 w 25298"/>
                    <a:gd name="connsiteY10" fmla="*/ 4785 h 14533"/>
                    <a:gd name="connsiteX11" fmla="*/ 16148 w 25298"/>
                    <a:gd name="connsiteY11" fmla="*/ 6698 h 14533"/>
                    <a:gd name="connsiteX12" fmla="*/ 18421 w 25298"/>
                    <a:gd name="connsiteY12" fmla="*/ 8612 h 14533"/>
                    <a:gd name="connsiteX13" fmla="*/ 19736 w 25298"/>
                    <a:gd name="connsiteY13" fmla="*/ 9749 h 14533"/>
                    <a:gd name="connsiteX14" fmla="*/ 22009 w 25298"/>
                    <a:gd name="connsiteY14" fmla="*/ 11662 h 14533"/>
                    <a:gd name="connsiteX15" fmla="*/ 22248 w 25298"/>
                    <a:gd name="connsiteY15" fmla="*/ 11842 h 14533"/>
                    <a:gd name="connsiteX16" fmla="*/ 23444 w 25298"/>
                    <a:gd name="connsiteY16" fmla="*/ 12859 h 14533"/>
                    <a:gd name="connsiteX17" fmla="*/ 23684 w 25298"/>
                    <a:gd name="connsiteY17" fmla="*/ 13098 h 14533"/>
                    <a:gd name="connsiteX18" fmla="*/ 23684 w 25298"/>
                    <a:gd name="connsiteY18" fmla="*/ 13098 h 14533"/>
                    <a:gd name="connsiteX19" fmla="*/ 24940 w 25298"/>
                    <a:gd name="connsiteY19" fmla="*/ 14174 h 14533"/>
                    <a:gd name="connsiteX20" fmla="*/ 24940 w 25298"/>
                    <a:gd name="connsiteY20" fmla="*/ 14174 h 14533"/>
                    <a:gd name="connsiteX21" fmla="*/ 25298 w 25298"/>
                    <a:gd name="connsiteY21" fmla="*/ 14533 h 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298" h="14533">
                      <a:moveTo>
                        <a:pt x="3349" y="3230"/>
                      </a:moveTo>
                      <a:lnTo>
                        <a:pt x="1076" y="1316"/>
                      </a:lnTo>
                      <a:lnTo>
                        <a:pt x="0" y="359"/>
                      </a:lnTo>
                      <a:lnTo>
                        <a:pt x="179" y="0"/>
                      </a:lnTo>
                      <a:lnTo>
                        <a:pt x="1256" y="359"/>
                      </a:lnTo>
                      <a:lnTo>
                        <a:pt x="3110" y="957"/>
                      </a:lnTo>
                      <a:lnTo>
                        <a:pt x="5981" y="1854"/>
                      </a:lnTo>
                      <a:lnTo>
                        <a:pt x="8851" y="2751"/>
                      </a:lnTo>
                      <a:lnTo>
                        <a:pt x="11722" y="3648"/>
                      </a:lnTo>
                      <a:lnTo>
                        <a:pt x="12201" y="3828"/>
                      </a:lnTo>
                      <a:lnTo>
                        <a:pt x="13875" y="4785"/>
                      </a:lnTo>
                      <a:lnTo>
                        <a:pt x="16148" y="6698"/>
                      </a:lnTo>
                      <a:lnTo>
                        <a:pt x="18421" y="8612"/>
                      </a:lnTo>
                      <a:lnTo>
                        <a:pt x="19736" y="9749"/>
                      </a:lnTo>
                      <a:lnTo>
                        <a:pt x="22009" y="11662"/>
                      </a:lnTo>
                      <a:lnTo>
                        <a:pt x="22248" y="11842"/>
                      </a:lnTo>
                      <a:lnTo>
                        <a:pt x="23444" y="12859"/>
                      </a:lnTo>
                      <a:lnTo>
                        <a:pt x="23684" y="13098"/>
                      </a:lnTo>
                      <a:lnTo>
                        <a:pt x="23684" y="13098"/>
                      </a:lnTo>
                      <a:lnTo>
                        <a:pt x="24940" y="14174"/>
                      </a:lnTo>
                      <a:lnTo>
                        <a:pt x="24940" y="14174"/>
                      </a:lnTo>
                      <a:lnTo>
                        <a:pt x="25298" y="14533"/>
                      </a:lnTo>
                    </a:path>
                  </a:pathLst>
                </a:custGeom>
                <a:noFill/>
                <a:ln w="6350" cap="rnd">
                  <a:solidFill>
                    <a:schemeClr val="bg1">
                      <a:alpha val="40000"/>
                    </a:schemeClr>
                  </a:solidFill>
                  <a:prstDash val="solid"/>
                  <a:round/>
                </a:ln>
              </p:spPr>
              <p:txBody>
                <a:bodyPr rtlCol="0" anchor="ctr"/>
                <a:lstStyle/>
                <a:p>
                  <a:endParaRPr lang="en-GB"/>
                </a:p>
              </p:txBody>
            </p:sp>
            <p:sp>
              <p:nvSpPr>
                <p:cNvPr id="5785" name="Vrije vorm: vorm 5784">
                  <a:extLst>
                    <a:ext uri="{FF2B5EF4-FFF2-40B4-BE49-F238E27FC236}">
                      <a16:creationId xmlns:a16="http://schemas.microsoft.com/office/drawing/2014/main" id="{A7617C75-E283-4BD6-819E-4498165FDE73}"/>
                    </a:ext>
                  </a:extLst>
                </p:cNvPr>
                <p:cNvSpPr/>
                <p:nvPr/>
              </p:nvSpPr>
              <p:spPr>
                <a:xfrm>
                  <a:off x="6648848" y="1637801"/>
                  <a:ext cx="16207" cy="9090"/>
                </a:xfrm>
                <a:custGeom>
                  <a:avLst/>
                  <a:gdLst>
                    <a:gd name="connsiteX0" fmla="*/ 16208 w 16207"/>
                    <a:gd name="connsiteY0" fmla="*/ 9091 h 9090"/>
                    <a:gd name="connsiteX1" fmla="*/ 16148 w 16207"/>
                    <a:gd name="connsiteY1" fmla="*/ 8792 h 9090"/>
                    <a:gd name="connsiteX2" fmla="*/ 16148 w 16207"/>
                    <a:gd name="connsiteY2" fmla="*/ 8792 h 9090"/>
                    <a:gd name="connsiteX3" fmla="*/ 16088 w 16207"/>
                    <a:gd name="connsiteY3" fmla="*/ 8493 h 9090"/>
                    <a:gd name="connsiteX4" fmla="*/ 15490 w 16207"/>
                    <a:gd name="connsiteY4" fmla="*/ 7655 h 9090"/>
                    <a:gd name="connsiteX5" fmla="*/ 15490 w 16207"/>
                    <a:gd name="connsiteY5" fmla="*/ 7655 h 9090"/>
                    <a:gd name="connsiteX6" fmla="*/ 14354 w 16207"/>
                    <a:gd name="connsiteY6" fmla="*/ 6639 h 9090"/>
                    <a:gd name="connsiteX7" fmla="*/ 12799 w 16207"/>
                    <a:gd name="connsiteY7" fmla="*/ 5442 h 9090"/>
                    <a:gd name="connsiteX8" fmla="*/ 10885 w 16207"/>
                    <a:gd name="connsiteY8" fmla="*/ 4186 h 9090"/>
                    <a:gd name="connsiteX9" fmla="*/ 8791 w 16207"/>
                    <a:gd name="connsiteY9" fmla="*/ 2990 h 9090"/>
                    <a:gd name="connsiteX10" fmla="*/ 6639 w 16207"/>
                    <a:gd name="connsiteY10" fmla="*/ 1914 h 9090"/>
                    <a:gd name="connsiteX11" fmla="*/ 4605 w 16207"/>
                    <a:gd name="connsiteY11" fmla="*/ 1017 h 9090"/>
                    <a:gd name="connsiteX12" fmla="*/ 2811 w 16207"/>
                    <a:gd name="connsiteY12" fmla="*/ 359 h 9090"/>
                    <a:gd name="connsiteX13" fmla="*/ 1375 w 16207"/>
                    <a:gd name="connsiteY13" fmla="*/ 0 h 9090"/>
                    <a:gd name="connsiteX14" fmla="*/ 778 w 16207"/>
                    <a:gd name="connsiteY14" fmla="*/ 0 h 9090"/>
                    <a:gd name="connsiteX15" fmla="*/ 419 w 16207"/>
                    <a:gd name="connsiteY15" fmla="*/ 0 h 9090"/>
                    <a:gd name="connsiteX16" fmla="*/ 0 w 16207"/>
                    <a:gd name="connsiteY16" fmla="*/ 299 h 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207" h="9090">
                      <a:moveTo>
                        <a:pt x="16208" y="9091"/>
                      </a:moveTo>
                      <a:lnTo>
                        <a:pt x="16148" y="8792"/>
                      </a:lnTo>
                      <a:lnTo>
                        <a:pt x="16148" y="8792"/>
                      </a:lnTo>
                      <a:lnTo>
                        <a:pt x="16088" y="8493"/>
                      </a:lnTo>
                      <a:lnTo>
                        <a:pt x="15490" y="7655"/>
                      </a:lnTo>
                      <a:lnTo>
                        <a:pt x="15490" y="7655"/>
                      </a:lnTo>
                      <a:lnTo>
                        <a:pt x="14354" y="6639"/>
                      </a:lnTo>
                      <a:lnTo>
                        <a:pt x="12799" y="5442"/>
                      </a:lnTo>
                      <a:lnTo>
                        <a:pt x="10885" y="4186"/>
                      </a:lnTo>
                      <a:lnTo>
                        <a:pt x="8791" y="2990"/>
                      </a:lnTo>
                      <a:lnTo>
                        <a:pt x="6639" y="1914"/>
                      </a:lnTo>
                      <a:lnTo>
                        <a:pt x="4605" y="1017"/>
                      </a:lnTo>
                      <a:lnTo>
                        <a:pt x="2811" y="359"/>
                      </a:lnTo>
                      <a:lnTo>
                        <a:pt x="1375" y="0"/>
                      </a:lnTo>
                      <a:lnTo>
                        <a:pt x="778" y="0"/>
                      </a:lnTo>
                      <a:lnTo>
                        <a:pt x="419" y="0"/>
                      </a:lnTo>
                      <a:lnTo>
                        <a:pt x="0" y="299"/>
                      </a:lnTo>
                    </a:path>
                  </a:pathLst>
                </a:custGeom>
                <a:noFill/>
                <a:ln w="6350" cap="rnd">
                  <a:solidFill>
                    <a:schemeClr val="bg1">
                      <a:alpha val="40000"/>
                    </a:schemeClr>
                  </a:solidFill>
                  <a:prstDash val="solid"/>
                  <a:round/>
                </a:ln>
              </p:spPr>
              <p:txBody>
                <a:bodyPr rtlCol="0" anchor="ctr"/>
                <a:lstStyle/>
                <a:p>
                  <a:endParaRPr lang="en-GB"/>
                </a:p>
              </p:txBody>
            </p:sp>
            <p:sp>
              <p:nvSpPr>
                <p:cNvPr id="5786" name="Vrije vorm: vorm 5785">
                  <a:extLst>
                    <a:ext uri="{FF2B5EF4-FFF2-40B4-BE49-F238E27FC236}">
                      <a16:creationId xmlns:a16="http://schemas.microsoft.com/office/drawing/2014/main" id="{85D0ADFC-434A-4170-8C42-8328FDC0BD77}"/>
                    </a:ext>
                  </a:extLst>
                </p:cNvPr>
                <p:cNvSpPr/>
                <p:nvPr/>
              </p:nvSpPr>
              <p:spPr>
                <a:xfrm>
                  <a:off x="6665654" y="1648447"/>
                  <a:ext cx="4305" cy="1435"/>
                </a:xfrm>
                <a:custGeom>
                  <a:avLst/>
                  <a:gdLst>
                    <a:gd name="connsiteX0" fmla="*/ 0 w 4305"/>
                    <a:gd name="connsiteY0" fmla="*/ 0 h 1435"/>
                    <a:gd name="connsiteX1" fmla="*/ 60 w 4305"/>
                    <a:gd name="connsiteY1" fmla="*/ 0 h 1435"/>
                    <a:gd name="connsiteX2" fmla="*/ 2871 w 4305"/>
                    <a:gd name="connsiteY2" fmla="*/ 957 h 1435"/>
                    <a:gd name="connsiteX3" fmla="*/ 4306 w 4305"/>
                    <a:gd name="connsiteY3" fmla="*/ 1435 h 1435"/>
                    <a:gd name="connsiteX4" fmla="*/ 1495 w 4305"/>
                    <a:gd name="connsiteY4" fmla="*/ 478 h 1435"/>
                    <a:gd name="connsiteX5" fmla="*/ 0 w 4305"/>
                    <a:gd name="connsiteY5" fmla="*/ 0 h 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5" h="1435">
                      <a:moveTo>
                        <a:pt x="0" y="0"/>
                      </a:moveTo>
                      <a:lnTo>
                        <a:pt x="60" y="0"/>
                      </a:lnTo>
                      <a:lnTo>
                        <a:pt x="2871" y="957"/>
                      </a:lnTo>
                      <a:lnTo>
                        <a:pt x="4306" y="1435"/>
                      </a:lnTo>
                      <a:lnTo>
                        <a:pt x="1495" y="47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87" name="Vrije vorm: vorm 5786">
                  <a:extLst>
                    <a:ext uri="{FF2B5EF4-FFF2-40B4-BE49-F238E27FC236}">
                      <a16:creationId xmlns:a16="http://schemas.microsoft.com/office/drawing/2014/main" id="{6457071D-72A3-4E35-B382-EBD127A8C04C}"/>
                    </a:ext>
                  </a:extLst>
                </p:cNvPr>
                <p:cNvSpPr/>
                <p:nvPr/>
              </p:nvSpPr>
              <p:spPr>
                <a:xfrm>
                  <a:off x="6644900" y="1633913"/>
                  <a:ext cx="837" cy="1375"/>
                </a:xfrm>
                <a:custGeom>
                  <a:avLst/>
                  <a:gdLst>
                    <a:gd name="connsiteX0" fmla="*/ 0 w 837"/>
                    <a:gd name="connsiteY0" fmla="*/ 1376 h 1375"/>
                    <a:gd name="connsiteX1" fmla="*/ 239 w 837"/>
                    <a:gd name="connsiteY1" fmla="*/ 957 h 1375"/>
                    <a:gd name="connsiteX2" fmla="*/ 837 w 837"/>
                    <a:gd name="connsiteY2" fmla="*/ 0 h 1375"/>
                  </a:gdLst>
                  <a:ahLst/>
                  <a:cxnLst>
                    <a:cxn ang="0">
                      <a:pos x="connsiteX0" y="connsiteY0"/>
                    </a:cxn>
                    <a:cxn ang="0">
                      <a:pos x="connsiteX1" y="connsiteY1"/>
                    </a:cxn>
                    <a:cxn ang="0">
                      <a:pos x="connsiteX2" y="connsiteY2"/>
                    </a:cxn>
                  </a:cxnLst>
                  <a:rect l="l" t="t" r="r" b="b"/>
                  <a:pathLst>
                    <a:path w="837" h="1375">
                      <a:moveTo>
                        <a:pt x="0" y="1376"/>
                      </a:moveTo>
                      <a:lnTo>
                        <a:pt x="239" y="957"/>
                      </a:lnTo>
                      <a:lnTo>
                        <a:pt x="837" y="0"/>
                      </a:lnTo>
                    </a:path>
                  </a:pathLst>
                </a:custGeom>
                <a:noFill/>
                <a:ln w="6350" cap="rnd">
                  <a:solidFill>
                    <a:schemeClr val="bg1">
                      <a:alpha val="40000"/>
                    </a:schemeClr>
                  </a:solidFill>
                  <a:prstDash val="solid"/>
                  <a:round/>
                </a:ln>
              </p:spPr>
              <p:txBody>
                <a:bodyPr rtlCol="0" anchor="ctr"/>
                <a:lstStyle/>
                <a:p>
                  <a:endParaRPr lang="en-GB"/>
                </a:p>
              </p:txBody>
            </p:sp>
            <p:sp>
              <p:nvSpPr>
                <p:cNvPr id="5788" name="Vrije vorm: vorm 5787">
                  <a:extLst>
                    <a:ext uri="{FF2B5EF4-FFF2-40B4-BE49-F238E27FC236}">
                      <a16:creationId xmlns:a16="http://schemas.microsoft.com/office/drawing/2014/main" id="{C14F95CA-0A50-41AA-A0FD-172EE314BBD1}"/>
                    </a:ext>
                  </a:extLst>
                </p:cNvPr>
                <p:cNvSpPr/>
                <p:nvPr/>
              </p:nvSpPr>
              <p:spPr>
                <a:xfrm>
                  <a:off x="6649685" y="1637801"/>
                  <a:ext cx="597" cy="1136"/>
                </a:xfrm>
                <a:custGeom>
                  <a:avLst/>
                  <a:gdLst>
                    <a:gd name="connsiteX0" fmla="*/ 598 w 597"/>
                    <a:gd name="connsiteY0" fmla="*/ 0 h 1136"/>
                    <a:gd name="connsiteX1" fmla="*/ 418 w 597"/>
                    <a:gd name="connsiteY1" fmla="*/ 359 h 1136"/>
                    <a:gd name="connsiteX2" fmla="*/ 60 w 597"/>
                    <a:gd name="connsiteY2" fmla="*/ 1017 h 1136"/>
                    <a:gd name="connsiteX3" fmla="*/ 0 w 597"/>
                    <a:gd name="connsiteY3" fmla="*/ 1136 h 1136"/>
                  </a:gdLst>
                  <a:ahLst/>
                  <a:cxnLst>
                    <a:cxn ang="0">
                      <a:pos x="connsiteX0" y="connsiteY0"/>
                    </a:cxn>
                    <a:cxn ang="0">
                      <a:pos x="connsiteX1" y="connsiteY1"/>
                    </a:cxn>
                    <a:cxn ang="0">
                      <a:pos x="connsiteX2" y="connsiteY2"/>
                    </a:cxn>
                    <a:cxn ang="0">
                      <a:pos x="connsiteX3" y="connsiteY3"/>
                    </a:cxn>
                  </a:cxnLst>
                  <a:rect l="l" t="t" r="r" b="b"/>
                  <a:pathLst>
                    <a:path w="597" h="1136">
                      <a:moveTo>
                        <a:pt x="598" y="0"/>
                      </a:moveTo>
                      <a:lnTo>
                        <a:pt x="418" y="359"/>
                      </a:lnTo>
                      <a:lnTo>
                        <a:pt x="60" y="1017"/>
                      </a:lnTo>
                      <a:lnTo>
                        <a:pt x="0" y="1136"/>
                      </a:lnTo>
                    </a:path>
                  </a:pathLst>
                </a:custGeom>
                <a:noFill/>
                <a:ln w="6350" cap="rnd">
                  <a:solidFill>
                    <a:schemeClr val="bg1">
                      <a:alpha val="40000"/>
                    </a:schemeClr>
                  </a:solidFill>
                  <a:prstDash val="solid"/>
                  <a:round/>
                </a:ln>
              </p:spPr>
              <p:txBody>
                <a:bodyPr rtlCol="0" anchor="ctr"/>
                <a:lstStyle/>
                <a:p>
                  <a:endParaRPr lang="en-GB"/>
                </a:p>
              </p:txBody>
            </p:sp>
            <p:sp>
              <p:nvSpPr>
                <p:cNvPr id="5789" name="Vrije vorm: vorm 5788">
                  <a:extLst>
                    <a:ext uri="{FF2B5EF4-FFF2-40B4-BE49-F238E27FC236}">
                      <a16:creationId xmlns:a16="http://schemas.microsoft.com/office/drawing/2014/main" id="{E26D8E52-ECF4-4132-BFCA-2A2B6DC6EF62}"/>
                    </a:ext>
                  </a:extLst>
                </p:cNvPr>
                <p:cNvSpPr/>
                <p:nvPr/>
              </p:nvSpPr>
              <p:spPr>
                <a:xfrm>
                  <a:off x="6664697" y="1646892"/>
                  <a:ext cx="358" cy="598"/>
                </a:xfrm>
                <a:custGeom>
                  <a:avLst/>
                  <a:gdLst>
                    <a:gd name="connsiteX0" fmla="*/ 359 w 358"/>
                    <a:gd name="connsiteY0" fmla="*/ 0 h 598"/>
                    <a:gd name="connsiteX1" fmla="*/ 120 w 358"/>
                    <a:gd name="connsiteY1" fmla="*/ 419 h 598"/>
                    <a:gd name="connsiteX2" fmla="*/ 120 w 358"/>
                    <a:gd name="connsiteY2" fmla="*/ 419 h 598"/>
                    <a:gd name="connsiteX3" fmla="*/ 0 w 358"/>
                    <a:gd name="connsiteY3" fmla="*/ 598 h 598"/>
                  </a:gdLst>
                  <a:ahLst/>
                  <a:cxnLst>
                    <a:cxn ang="0">
                      <a:pos x="connsiteX0" y="connsiteY0"/>
                    </a:cxn>
                    <a:cxn ang="0">
                      <a:pos x="connsiteX1" y="connsiteY1"/>
                    </a:cxn>
                    <a:cxn ang="0">
                      <a:pos x="connsiteX2" y="connsiteY2"/>
                    </a:cxn>
                    <a:cxn ang="0">
                      <a:pos x="connsiteX3" y="connsiteY3"/>
                    </a:cxn>
                  </a:cxnLst>
                  <a:rect l="l" t="t" r="r" b="b"/>
                  <a:pathLst>
                    <a:path w="358" h="598">
                      <a:moveTo>
                        <a:pt x="359" y="0"/>
                      </a:moveTo>
                      <a:lnTo>
                        <a:pt x="120" y="419"/>
                      </a:lnTo>
                      <a:lnTo>
                        <a:pt x="120" y="419"/>
                      </a:lnTo>
                      <a:lnTo>
                        <a:pt x="0" y="598"/>
                      </a:lnTo>
                    </a:path>
                  </a:pathLst>
                </a:custGeom>
                <a:noFill/>
                <a:ln w="6350" cap="rnd">
                  <a:solidFill>
                    <a:schemeClr val="bg1">
                      <a:alpha val="40000"/>
                    </a:schemeClr>
                  </a:solidFill>
                  <a:prstDash val="solid"/>
                  <a:round/>
                </a:ln>
              </p:spPr>
              <p:txBody>
                <a:bodyPr rtlCol="0" anchor="ctr"/>
                <a:lstStyle/>
                <a:p>
                  <a:endParaRPr lang="en-GB"/>
                </a:p>
              </p:txBody>
            </p:sp>
            <p:sp>
              <p:nvSpPr>
                <p:cNvPr id="5790" name="Vrije vorm: vorm 5789">
                  <a:extLst>
                    <a:ext uri="{FF2B5EF4-FFF2-40B4-BE49-F238E27FC236}">
                      <a16:creationId xmlns:a16="http://schemas.microsoft.com/office/drawing/2014/main" id="{00DED3F0-D05C-409D-AB27-4277D012F359}"/>
                    </a:ext>
                  </a:extLst>
                </p:cNvPr>
                <p:cNvSpPr/>
                <p:nvPr/>
              </p:nvSpPr>
              <p:spPr>
                <a:xfrm>
                  <a:off x="6657939" y="1603771"/>
                  <a:ext cx="6040" cy="3588"/>
                </a:xfrm>
                <a:custGeom>
                  <a:avLst/>
                  <a:gdLst>
                    <a:gd name="connsiteX0" fmla="*/ 6040 w 6040"/>
                    <a:gd name="connsiteY0" fmla="*/ 0 h 3588"/>
                    <a:gd name="connsiteX1" fmla="*/ 3289 w 6040"/>
                    <a:gd name="connsiteY1" fmla="*/ 1615 h 3588"/>
                    <a:gd name="connsiteX2" fmla="*/ 1375 w 6040"/>
                    <a:gd name="connsiteY2" fmla="*/ 2751 h 3588"/>
                    <a:gd name="connsiteX3" fmla="*/ 0 w 6040"/>
                    <a:gd name="connsiteY3" fmla="*/ 3588 h 3588"/>
                  </a:gdLst>
                  <a:ahLst/>
                  <a:cxnLst>
                    <a:cxn ang="0">
                      <a:pos x="connsiteX0" y="connsiteY0"/>
                    </a:cxn>
                    <a:cxn ang="0">
                      <a:pos x="connsiteX1" y="connsiteY1"/>
                    </a:cxn>
                    <a:cxn ang="0">
                      <a:pos x="connsiteX2" y="connsiteY2"/>
                    </a:cxn>
                    <a:cxn ang="0">
                      <a:pos x="connsiteX3" y="connsiteY3"/>
                    </a:cxn>
                  </a:cxnLst>
                  <a:rect l="l" t="t" r="r" b="b"/>
                  <a:pathLst>
                    <a:path w="6040" h="3588">
                      <a:moveTo>
                        <a:pt x="6040" y="0"/>
                      </a:moveTo>
                      <a:lnTo>
                        <a:pt x="3289" y="1615"/>
                      </a:lnTo>
                      <a:lnTo>
                        <a:pt x="1375" y="2751"/>
                      </a:lnTo>
                      <a:lnTo>
                        <a:pt x="0" y="3588"/>
                      </a:lnTo>
                    </a:path>
                  </a:pathLst>
                </a:custGeom>
                <a:noFill/>
                <a:ln w="6350" cap="rnd">
                  <a:solidFill>
                    <a:schemeClr val="bg1">
                      <a:alpha val="40000"/>
                    </a:schemeClr>
                  </a:solidFill>
                  <a:prstDash val="solid"/>
                  <a:round/>
                </a:ln>
              </p:spPr>
              <p:txBody>
                <a:bodyPr rtlCol="0" anchor="ctr"/>
                <a:lstStyle/>
                <a:p>
                  <a:endParaRPr lang="en-GB"/>
                </a:p>
              </p:txBody>
            </p:sp>
            <p:sp>
              <p:nvSpPr>
                <p:cNvPr id="5791" name="Vrije vorm: vorm 5790">
                  <a:extLst>
                    <a:ext uri="{FF2B5EF4-FFF2-40B4-BE49-F238E27FC236}">
                      <a16:creationId xmlns:a16="http://schemas.microsoft.com/office/drawing/2014/main" id="{0C4BE957-80EB-4297-83B8-476579D03458}"/>
                    </a:ext>
                  </a:extLst>
                </p:cNvPr>
                <p:cNvSpPr/>
                <p:nvPr/>
              </p:nvSpPr>
              <p:spPr>
                <a:xfrm>
                  <a:off x="6666790" y="1592347"/>
                  <a:ext cx="777" cy="5322"/>
                </a:xfrm>
                <a:custGeom>
                  <a:avLst/>
                  <a:gdLst>
                    <a:gd name="connsiteX0" fmla="*/ 0 w 777"/>
                    <a:gd name="connsiteY0" fmla="*/ 0 h 5322"/>
                    <a:gd name="connsiteX1" fmla="*/ 299 w 777"/>
                    <a:gd name="connsiteY1" fmla="*/ 1974 h 5322"/>
                    <a:gd name="connsiteX2" fmla="*/ 718 w 777"/>
                    <a:gd name="connsiteY2" fmla="*/ 5084 h 5322"/>
                    <a:gd name="connsiteX3" fmla="*/ 778 w 777"/>
                    <a:gd name="connsiteY3" fmla="*/ 5323 h 5322"/>
                  </a:gdLst>
                  <a:ahLst/>
                  <a:cxnLst>
                    <a:cxn ang="0">
                      <a:pos x="connsiteX0" y="connsiteY0"/>
                    </a:cxn>
                    <a:cxn ang="0">
                      <a:pos x="connsiteX1" y="connsiteY1"/>
                    </a:cxn>
                    <a:cxn ang="0">
                      <a:pos x="connsiteX2" y="connsiteY2"/>
                    </a:cxn>
                    <a:cxn ang="0">
                      <a:pos x="connsiteX3" y="connsiteY3"/>
                    </a:cxn>
                  </a:cxnLst>
                  <a:rect l="l" t="t" r="r" b="b"/>
                  <a:pathLst>
                    <a:path w="777" h="5322">
                      <a:moveTo>
                        <a:pt x="0" y="0"/>
                      </a:moveTo>
                      <a:lnTo>
                        <a:pt x="299" y="1974"/>
                      </a:lnTo>
                      <a:lnTo>
                        <a:pt x="718" y="5084"/>
                      </a:lnTo>
                      <a:lnTo>
                        <a:pt x="778" y="5323"/>
                      </a:lnTo>
                    </a:path>
                  </a:pathLst>
                </a:custGeom>
                <a:noFill/>
                <a:ln w="6350" cap="rnd">
                  <a:solidFill>
                    <a:schemeClr val="bg1">
                      <a:alpha val="40000"/>
                    </a:schemeClr>
                  </a:solidFill>
                  <a:prstDash val="solid"/>
                  <a:round/>
                </a:ln>
              </p:spPr>
              <p:txBody>
                <a:bodyPr rtlCol="0" anchor="ctr"/>
                <a:lstStyle/>
                <a:p>
                  <a:endParaRPr lang="en-GB"/>
                </a:p>
              </p:txBody>
            </p:sp>
            <p:sp>
              <p:nvSpPr>
                <p:cNvPr id="5792" name="Vrije vorm: vorm 5791">
                  <a:extLst>
                    <a:ext uri="{FF2B5EF4-FFF2-40B4-BE49-F238E27FC236}">
                      <a16:creationId xmlns:a16="http://schemas.microsoft.com/office/drawing/2014/main" id="{00B3B127-E435-414A-AA1E-33F8DAB5FB08}"/>
                    </a:ext>
                  </a:extLst>
                </p:cNvPr>
                <p:cNvSpPr/>
                <p:nvPr/>
              </p:nvSpPr>
              <p:spPr>
                <a:xfrm>
                  <a:off x="6661228" y="1598089"/>
                  <a:ext cx="4844" cy="1136"/>
                </a:xfrm>
                <a:custGeom>
                  <a:avLst/>
                  <a:gdLst>
                    <a:gd name="connsiteX0" fmla="*/ 4844 w 4844"/>
                    <a:gd name="connsiteY0" fmla="*/ 1136 h 1136"/>
                    <a:gd name="connsiteX1" fmla="*/ 1914 w 4844"/>
                    <a:gd name="connsiteY1" fmla="*/ 419 h 1136"/>
                    <a:gd name="connsiteX2" fmla="*/ 1854 w 4844"/>
                    <a:gd name="connsiteY2" fmla="*/ 419 h 1136"/>
                    <a:gd name="connsiteX3" fmla="*/ 0 w 4844"/>
                    <a:gd name="connsiteY3" fmla="*/ 0 h 1136"/>
                  </a:gdLst>
                  <a:ahLst/>
                  <a:cxnLst>
                    <a:cxn ang="0">
                      <a:pos x="connsiteX0" y="connsiteY0"/>
                    </a:cxn>
                    <a:cxn ang="0">
                      <a:pos x="connsiteX1" y="connsiteY1"/>
                    </a:cxn>
                    <a:cxn ang="0">
                      <a:pos x="connsiteX2" y="connsiteY2"/>
                    </a:cxn>
                    <a:cxn ang="0">
                      <a:pos x="connsiteX3" y="connsiteY3"/>
                    </a:cxn>
                  </a:cxnLst>
                  <a:rect l="l" t="t" r="r" b="b"/>
                  <a:pathLst>
                    <a:path w="4844" h="1136">
                      <a:moveTo>
                        <a:pt x="4844" y="1136"/>
                      </a:moveTo>
                      <a:lnTo>
                        <a:pt x="1914" y="419"/>
                      </a:lnTo>
                      <a:lnTo>
                        <a:pt x="1854" y="41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793" name="Vrije vorm: vorm 5792">
                  <a:extLst>
                    <a:ext uri="{FF2B5EF4-FFF2-40B4-BE49-F238E27FC236}">
                      <a16:creationId xmlns:a16="http://schemas.microsoft.com/office/drawing/2014/main" id="{85137C67-24C4-4D02-903E-702A9E88A160}"/>
                    </a:ext>
                  </a:extLst>
                </p:cNvPr>
                <p:cNvSpPr/>
                <p:nvPr/>
              </p:nvSpPr>
              <p:spPr>
                <a:xfrm>
                  <a:off x="6665235" y="1606940"/>
                  <a:ext cx="1854" cy="777"/>
                </a:xfrm>
                <a:custGeom>
                  <a:avLst/>
                  <a:gdLst>
                    <a:gd name="connsiteX0" fmla="*/ 1854 w 1854"/>
                    <a:gd name="connsiteY0" fmla="*/ 478 h 777"/>
                    <a:gd name="connsiteX1" fmla="*/ 0 w 1854"/>
                    <a:gd name="connsiteY1" fmla="*/ 0 h 777"/>
                    <a:gd name="connsiteX2" fmla="*/ 538 w 1854"/>
                    <a:gd name="connsiteY2" fmla="*/ 478 h 777"/>
                    <a:gd name="connsiteX3" fmla="*/ 1675 w 1854"/>
                    <a:gd name="connsiteY3" fmla="*/ 778 h 777"/>
                  </a:gdLst>
                  <a:ahLst/>
                  <a:cxnLst>
                    <a:cxn ang="0">
                      <a:pos x="connsiteX0" y="connsiteY0"/>
                    </a:cxn>
                    <a:cxn ang="0">
                      <a:pos x="connsiteX1" y="connsiteY1"/>
                    </a:cxn>
                    <a:cxn ang="0">
                      <a:pos x="connsiteX2" y="connsiteY2"/>
                    </a:cxn>
                    <a:cxn ang="0">
                      <a:pos x="connsiteX3" y="connsiteY3"/>
                    </a:cxn>
                  </a:cxnLst>
                  <a:rect l="l" t="t" r="r" b="b"/>
                  <a:pathLst>
                    <a:path w="1854" h="777">
                      <a:moveTo>
                        <a:pt x="1854" y="478"/>
                      </a:moveTo>
                      <a:lnTo>
                        <a:pt x="0" y="0"/>
                      </a:lnTo>
                      <a:lnTo>
                        <a:pt x="538" y="478"/>
                      </a:lnTo>
                      <a:lnTo>
                        <a:pt x="1675" y="778"/>
                      </a:lnTo>
                    </a:path>
                  </a:pathLst>
                </a:custGeom>
                <a:noFill/>
                <a:ln w="6350" cap="rnd">
                  <a:solidFill>
                    <a:schemeClr val="bg1">
                      <a:alpha val="40000"/>
                    </a:schemeClr>
                  </a:solidFill>
                  <a:prstDash val="solid"/>
                  <a:round/>
                </a:ln>
              </p:spPr>
              <p:txBody>
                <a:bodyPr rtlCol="0" anchor="ctr"/>
                <a:lstStyle/>
                <a:p>
                  <a:endParaRPr lang="en-GB"/>
                </a:p>
              </p:txBody>
            </p:sp>
            <p:sp>
              <p:nvSpPr>
                <p:cNvPr id="5794" name="Vrije vorm: vorm 5793">
                  <a:extLst>
                    <a:ext uri="{FF2B5EF4-FFF2-40B4-BE49-F238E27FC236}">
                      <a16:creationId xmlns:a16="http://schemas.microsoft.com/office/drawing/2014/main" id="{348B4DDE-E9E6-4BC6-BEF1-6D37A4028519}"/>
                    </a:ext>
                  </a:extLst>
                </p:cNvPr>
                <p:cNvSpPr/>
                <p:nvPr/>
              </p:nvSpPr>
              <p:spPr>
                <a:xfrm>
                  <a:off x="6668883" y="1605505"/>
                  <a:ext cx="2631" cy="1973"/>
                </a:xfrm>
                <a:custGeom>
                  <a:avLst/>
                  <a:gdLst>
                    <a:gd name="connsiteX0" fmla="*/ 2512 w 2631"/>
                    <a:gd name="connsiteY0" fmla="*/ 0 h 1973"/>
                    <a:gd name="connsiteX1" fmla="*/ 0 w 2631"/>
                    <a:gd name="connsiteY1" fmla="*/ 1495 h 1973"/>
                    <a:gd name="connsiteX2" fmla="*/ 538 w 2631"/>
                    <a:gd name="connsiteY2" fmla="*/ 1974 h 1973"/>
                    <a:gd name="connsiteX3" fmla="*/ 2632 w 2631"/>
                    <a:gd name="connsiteY3" fmla="*/ 718 h 1973"/>
                  </a:gdLst>
                  <a:ahLst/>
                  <a:cxnLst>
                    <a:cxn ang="0">
                      <a:pos x="connsiteX0" y="connsiteY0"/>
                    </a:cxn>
                    <a:cxn ang="0">
                      <a:pos x="connsiteX1" y="connsiteY1"/>
                    </a:cxn>
                    <a:cxn ang="0">
                      <a:pos x="connsiteX2" y="connsiteY2"/>
                    </a:cxn>
                    <a:cxn ang="0">
                      <a:pos x="connsiteX3" y="connsiteY3"/>
                    </a:cxn>
                  </a:cxnLst>
                  <a:rect l="l" t="t" r="r" b="b"/>
                  <a:pathLst>
                    <a:path w="2631" h="1973">
                      <a:moveTo>
                        <a:pt x="2512" y="0"/>
                      </a:moveTo>
                      <a:lnTo>
                        <a:pt x="0" y="1495"/>
                      </a:lnTo>
                      <a:lnTo>
                        <a:pt x="538" y="1974"/>
                      </a:lnTo>
                      <a:lnTo>
                        <a:pt x="2632" y="718"/>
                      </a:lnTo>
                    </a:path>
                  </a:pathLst>
                </a:custGeom>
                <a:noFill/>
                <a:ln w="6350" cap="rnd">
                  <a:solidFill>
                    <a:schemeClr val="bg1">
                      <a:alpha val="40000"/>
                    </a:schemeClr>
                  </a:solidFill>
                  <a:prstDash val="solid"/>
                  <a:round/>
                </a:ln>
              </p:spPr>
              <p:txBody>
                <a:bodyPr rtlCol="0" anchor="ctr"/>
                <a:lstStyle/>
                <a:p>
                  <a:endParaRPr lang="en-GB"/>
                </a:p>
              </p:txBody>
            </p:sp>
            <p:sp>
              <p:nvSpPr>
                <p:cNvPr id="5795" name="Vrije vorm: vorm 5794">
                  <a:extLst>
                    <a:ext uri="{FF2B5EF4-FFF2-40B4-BE49-F238E27FC236}">
                      <a16:creationId xmlns:a16="http://schemas.microsoft.com/office/drawing/2014/main" id="{5BD378BC-DB86-411D-8142-9FF87F9DA0F9}"/>
                    </a:ext>
                  </a:extLst>
                </p:cNvPr>
                <p:cNvSpPr/>
                <p:nvPr/>
              </p:nvSpPr>
              <p:spPr>
                <a:xfrm>
                  <a:off x="6674804" y="1597371"/>
                  <a:ext cx="658" cy="1854"/>
                </a:xfrm>
                <a:custGeom>
                  <a:avLst/>
                  <a:gdLst>
                    <a:gd name="connsiteX0" fmla="*/ 658 w 658"/>
                    <a:gd name="connsiteY0" fmla="*/ 1555 h 1854"/>
                    <a:gd name="connsiteX1" fmla="*/ 538 w 658"/>
                    <a:gd name="connsiteY1" fmla="*/ 478 h 1854"/>
                    <a:gd name="connsiteX2" fmla="*/ 0 w 658"/>
                    <a:gd name="connsiteY2" fmla="*/ 0 h 1854"/>
                    <a:gd name="connsiteX3" fmla="*/ 239 w 658"/>
                    <a:gd name="connsiteY3" fmla="*/ 1854 h 1854"/>
                  </a:gdLst>
                  <a:ahLst/>
                  <a:cxnLst>
                    <a:cxn ang="0">
                      <a:pos x="connsiteX0" y="connsiteY0"/>
                    </a:cxn>
                    <a:cxn ang="0">
                      <a:pos x="connsiteX1" y="connsiteY1"/>
                    </a:cxn>
                    <a:cxn ang="0">
                      <a:pos x="connsiteX2" y="connsiteY2"/>
                    </a:cxn>
                    <a:cxn ang="0">
                      <a:pos x="connsiteX3" y="connsiteY3"/>
                    </a:cxn>
                  </a:cxnLst>
                  <a:rect l="l" t="t" r="r" b="b"/>
                  <a:pathLst>
                    <a:path w="658" h="1854">
                      <a:moveTo>
                        <a:pt x="658" y="1555"/>
                      </a:moveTo>
                      <a:lnTo>
                        <a:pt x="538" y="478"/>
                      </a:lnTo>
                      <a:lnTo>
                        <a:pt x="0" y="0"/>
                      </a:lnTo>
                      <a:lnTo>
                        <a:pt x="239" y="1854"/>
                      </a:lnTo>
                    </a:path>
                  </a:pathLst>
                </a:custGeom>
                <a:noFill/>
                <a:ln w="6350" cap="rnd">
                  <a:solidFill>
                    <a:schemeClr val="bg1">
                      <a:alpha val="40000"/>
                    </a:schemeClr>
                  </a:solidFill>
                  <a:prstDash val="solid"/>
                  <a:round/>
                </a:ln>
              </p:spPr>
              <p:txBody>
                <a:bodyPr rtlCol="0" anchor="ctr"/>
                <a:lstStyle/>
                <a:p>
                  <a:endParaRPr lang="en-GB"/>
                </a:p>
              </p:txBody>
            </p:sp>
            <p:sp>
              <p:nvSpPr>
                <p:cNvPr id="5796" name="Vrije vorm: vorm 5795">
                  <a:extLst>
                    <a:ext uri="{FF2B5EF4-FFF2-40B4-BE49-F238E27FC236}">
                      <a16:creationId xmlns:a16="http://schemas.microsoft.com/office/drawing/2014/main" id="{D7AFCEC9-9FB4-42AE-98F7-C6E4AE919139}"/>
                    </a:ext>
                  </a:extLst>
                </p:cNvPr>
                <p:cNvSpPr/>
                <p:nvPr/>
              </p:nvSpPr>
              <p:spPr>
                <a:xfrm>
                  <a:off x="6672891" y="1601259"/>
                  <a:ext cx="2152" cy="2751"/>
                </a:xfrm>
                <a:custGeom>
                  <a:avLst/>
                  <a:gdLst>
                    <a:gd name="connsiteX0" fmla="*/ 2153 w 2152"/>
                    <a:gd name="connsiteY0" fmla="*/ 478 h 2751"/>
                    <a:gd name="connsiteX1" fmla="*/ 1615 w 2152"/>
                    <a:gd name="connsiteY1" fmla="*/ 0 h 2751"/>
                    <a:gd name="connsiteX2" fmla="*/ 1196 w 2152"/>
                    <a:gd name="connsiteY2" fmla="*/ 718 h 2751"/>
                    <a:gd name="connsiteX3" fmla="*/ 777 w 2152"/>
                    <a:gd name="connsiteY3" fmla="*/ 1376 h 2751"/>
                    <a:gd name="connsiteX4" fmla="*/ 0 w 2152"/>
                    <a:gd name="connsiteY4" fmla="*/ 2751 h 2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 h="2751">
                      <a:moveTo>
                        <a:pt x="2153" y="478"/>
                      </a:moveTo>
                      <a:lnTo>
                        <a:pt x="1615" y="0"/>
                      </a:lnTo>
                      <a:lnTo>
                        <a:pt x="1196" y="718"/>
                      </a:lnTo>
                      <a:lnTo>
                        <a:pt x="777" y="1376"/>
                      </a:lnTo>
                      <a:lnTo>
                        <a:pt x="0" y="2751"/>
                      </a:lnTo>
                    </a:path>
                  </a:pathLst>
                </a:custGeom>
                <a:noFill/>
                <a:ln w="6350" cap="rnd">
                  <a:solidFill>
                    <a:schemeClr val="bg1">
                      <a:alpha val="40000"/>
                    </a:schemeClr>
                  </a:solidFill>
                  <a:prstDash val="solid"/>
                  <a:round/>
                </a:ln>
              </p:spPr>
              <p:txBody>
                <a:bodyPr rtlCol="0" anchor="ctr"/>
                <a:lstStyle/>
                <a:p>
                  <a:endParaRPr lang="en-GB"/>
                </a:p>
              </p:txBody>
            </p:sp>
            <p:sp>
              <p:nvSpPr>
                <p:cNvPr id="5797" name="Vrije vorm: vorm 5796">
                  <a:extLst>
                    <a:ext uri="{FF2B5EF4-FFF2-40B4-BE49-F238E27FC236}">
                      <a16:creationId xmlns:a16="http://schemas.microsoft.com/office/drawing/2014/main" id="{131FE0C9-9D1D-4BAE-A6EB-4DB7BB3D3E36}"/>
                    </a:ext>
                  </a:extLst>
                </p:cNvPr>
                <p:cNvSpPr/>
                <p:nvPr/>
              </p:nvSpPr>
              <p:spPr>
                <a:xfrm>
                  <a:off x="6673608" y="1601677"/>
                  <a:ext cx="6518" cy="4007"/>
                </a:xfrm>
                <a:custGeom>
                  <a:avLst/>
                  <a:gdLst>
                    <a:gd name="connsiteX0" fmla="*/ 4904 w 6518"/>
                    <a:gd name="connsiteY0" fmla="*/ 4007 h 4007"/>
                    <a:gd name="connsiteX1" fmla="*/ 5861 w 6518"/>
                    <a:gd name="connsiteY1" fmla="*/ 2691 h 4007"/>
                    <a:gd name="connsiteX2" fmla="*/ 6040 w 6518"/>
                    <a:gd name="connsiteY2" fmla="*/ 2392 h 4007"/>
                    <a:gd name="connsiteX3" fmla="*/ 6340 w 6518"/>
                    <a:gd name="connsiteY3" fmla="*/ 1675 h 4007"/>
                    <a:gd name="connsiteX4" fmla="*/ 6519 w 6518"/>
                    <a:gd name="connsiteY4" fmla="*/ 1256 h 4007"/>
                    <a:gd name="connsiteX5" fmla="*/ 3588 w 6518"/>
                    <a:gd name="connsiteY5" fmla="*/ 538 h 4007"/>
                    <a:gd name="connsiteX6" fmla="*/ 1435 w 6518"/>
                    <a:gd name="connsiteY6" fmla="*/ 0 h 4007"/>
                    <a:gd name="connsiteX7" fmla="*/ 1196 w 6518"/>
                    <a:gd name="connsiteY7" fmla="*/ 359 h 4007"/>
                    <a:gd name="connsiteX8" fmla="*/ 778 w 6518"/>
                    <a:gd name="connsiteY8" fmla="*/ 1017 h 4007"/>
                    <a:gd name="connsiteX9" fmla="*/ 0 w 6518"/>
                    <a:gd name="connsiteY9" fmla="*/ 2392 h 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8" h="4007">
                      <a:moveTo>
                        <a:pt x="4904" y="4007"/>
                      </a:moveTo>
                      <a:lnTo>
                        <a:pt x="5861" y="2691"/>
                      </a:lnTo>
                      <a:lnTo>
                        <a:pt x="6040" y="2392"/>
                      </a:lnTo>
                      <a:lnTo>
                        <a:pt x="6340" y="1675"/>
                      </a:lnTo>
                      <a:lnTo>
                        <a:pt x="6519" y="1256"/>
                      </a:lnTo>
                      <a:lnTo>
                        <a:pt x="3588" y="538"/>
                      </a:lnTo>
                      <a:lnTo>
                        <a:pt x="1435" y="0"/>
                      </a:lnTo>
                      <a:lnTo>
                        <a:pt x="1196" y="359"/>
                      </a:lnTo>
                      <a:lnTo>
                        <a:pt x="778" y="1017"/>
                      </a:lnTo>
                      <a:lnTo>
                        <a:pt x="0" y="2392"/>
                      </a:lnTo>
                    </a:path>
                  </a:pathLst>
                </a:custGeom>
                <a:noFill/>
                <a:ln w="6350" cap="rnd">
                  <a:solidFill>
                    <a:schemeClr val="bg1">
                      <a:alpha val="40000"/>
                    </a:schemeClr>
                  </a:solidFill>
                  <a:prstDash val="solid"/>
                  <a:round/>
                </a:ln>
              </p:spPr>
              <p:txBody>
                <a:bodyPr rtlCol="0" anchor="ctr"/>
                <a:lstStyle/>
                <a:p>
                  <a:endParaRPr lang="en-GB"/>
                </a:p>
              </p:txBody>
            </p:sp>
            <p:sp>
              <p:nvSpPr>
                <p:cNvPr id="5798" name="Vrije vorm: vorm 5797">
                  <a:extLst>
                    <a:ext uri="{FF2B5EF4-FFF2-40B4-BE49-F238E27FC236}">
                      <a16:creationId xmlns:a16="http://schemas.microsoft.com/office/drawing/2014/main" id="{BAE41C3B-E875-41C1-967D-D2D66811E3D7}"/>
                    </a:ext>
                  </a:extLst>
                </p:cNvPr>
                <p:cNvSpPr/>
                <p:nvPr/>
              </p:nvSpPr>
              <p:spPr>
                <a:xfrm>
                  <a:off x="6658477" y="1604548"/>
                  <a:ext cx="5621" cy="3349"/>
                </a:xfrm>
                <a:custGeom>
                  <a:avLst/>
                  <a:gdLst>
                    <a:gd name="connsiteX0" fmla="*/ 0 w 5621"/>
                    <a:gd name="connsiteY0" fmla="*/ 3349 h 3349"/>
                    <a:gd name="connsiteX1" fmla="*/ 778 w 5621"/>
                    <a:gd name="connsiteY1" fmla="*/ 2871 h 3349"/>
                    <a:gd name="connsiteX2" fmla="*/ 3529 w 5621"/>
                    <a:gd name="connsiteY2" fmla="*/ 1256 h 3349"/>
                    <a:gd name="connsiteX3" fmla="*/ 5622 w 5621"/>
                    <a:gd name="connsiteY3" fmla="*/ 0 h 3349"/>
                  </a:gdLst>
                  <a:ahLst/>
                  <a:cxnLst>
                    <a:cxn ang="0">
                      <a:pos x="connsiteX0" y="connsiteY0"/>
                    </a:cxn>
                    <a:cxn ang="0">
                      <a:pos x="connsiteX1" y="connsiteY1"/>
                    </a:cxn>
                    <a:cxn ang="0">
                      <a:pos x="connsiteX2" y="connsiteY2"/>
                    </a:cxn>
                    <a:cxn ang="0">
                      <a:pos x="connsiteX3" y="connsiteY3"/>
                    </a:cxn>
                  </a:cxnLst>
                  <a:rect l="l" t="t" r="r" b="b"/>
                  <a:pathLst>
                    <a:path w="5621" h="3349">
                      <a:moveTo>
                        <a:pt x="0" y="3349"/>
                      </a:moveTo>
                      <a:lnTo>
                        <a:pt x="778" y="2871"/>
                      </a:lnTo>
                      <a:lnTo>
                        <a:pt x="3529" y="1256"/>
                      </a:lnTo>
                      <a:lnTo>
                        <a:pt x="5622" y="0"/>
                      </a:lnTo>
                    </a:path>
                  </a:pathLst>
                </a:custGeom>
                <a:noFill/>
                <a:ln w="6350" cap="rnd">
                  <a:solidFill>
                    <a:schemeClr val="bg1">
                      <a:alpha val="40000"/>
                    </a:schemeClr>
                  </a:solidFill>
                  <a:prstDash val="solid"/>
                  <a:round/>
                </a:ln>
              </p:spPr>
              <p:txBody>
                <a:bodyPr rtlCol="0" anchor="ctr"/>
                <a:lstStyle/>
                <a:p>
                  <a:endParaRPr lang="en-GB"/>
                </a:p>
              </p:txBody>
            </p:sp>
            <p:sp>
              <p:nvSpPr>
                <p:cNvPr id="5799" name="Vrije vorm: vorm 5798">
                  <a:extLst>
                    <a:ext uri="{FF2B5EF4-FFF2-40B4-BE49-F238E27FC236}">
                      <a16:creationId xmlns:a16="http://schemas.microsoft.com/office/drawing/2014/main" id="{09D98877-3D40-4B05-BDE4-09CEE4FFAEE2}"/>
                    </a:ext>
                  </a:extLst>
                </p:cNvPr>
                <p:cNvSpPr/>
                <p:nvPr/>
              </p:nvSpPr>
              <p:spPr>
                <a:xfrm>
                  <a:off x="6661706" y="1598508"/>
                  <a:ext cx="4126" cy="956"/>
                </a:xfrm>
                <a:custGeom>
                  <a:avLst/>
                  <a:gdLst>
                    <a:gd name="connsiteX0" fmla="*/ 0 w 4126"/>
                    <a:gd name="connsiteY0" fmla="*/ 0 h 956"/>
                    <a:gd name="connsiteX1" fmla="*/ 1077 w 4126"/>
                    <a:gd name="connsiteY1" fmla="*/ 239 h 956"/>
                    <a:gd name="connsiteX2" fmla="*/ 4007 w 4126"/>
                    <a:gd name="connsiteY2" fmla="*/ 957 h 956"/>
                    <a:gd name="connsiteX3" fmla="*/ 4127 w 4126"/>
                    <a:gd name="connsiteY3" fmla="*/ 957 h 956"/>
                  </a:gdLst>
                  <a:ahLst/>
                  <a:cxnLst>
                    <a:cxn ang="0">
                      <a:pos x="connsiteX0" y="connsiteY0"/>
                    </a:cxn>
                    <a:cxn ang="0">
                      <a:pos x="connsiteX1" y="connsiteY1"/>
                    </a:cxn>
                    <a:cxn ang="0">
                      <a:pos x="connsiteX2" y="connsiteY2"/>
                    </a:cxn>
                    <a:cxn ang="0">
                      <a:pos x="connsiteX3" y="connsiteY3"/>
                    </a:cxn>
                  </a:cxnLst>
                  <a:rect l="l" t="t" r="r" b="b"/>
                  <a:pathLst>
                    <a:path w="4126" h="956">
                      <a:moveTo>
                        <a:pt x="0" y="0"/>
                      </a:moveTo>
                      <a:lnTo>
                        <a:pt x="1077" y="239"/>
                      </a:lnTo>
                      <a:lnTo>
                        <a:pt x="4007" y="957"/>
                      </a:lnTo>
                      <a:lnTo>
                        <a:pt x="4127" y="957"/>
                      </a:lnTo>
                    </a:path>
                  </a:pathLst>
                </a:custGeom>
                <a:noFill/>
                <a:ln w="6350" cap="rnd">
                  <a:solidFill>
                    <a:schemeClr val="bg1">
                      <a:alpha val="40000"/>
                    </a:schemeClr>
                  </a:solidFill>
                  <a:prstDash val="solid"/>
                  <a:round/>
                </a:ln>
              </p:spPr>
              <p:txBody>
                <a:bodyPr rtlCol="0" anchor="ctr"/>
                <a:lstStyle/>
                <a:p>
                  <a:endParaRPr lang="en-GB"/>
                </a:p>
              </p:txBody>
            </p:sp>
            <p:sp>
              <p:nvSpPr>
                <p:cNvPr id="5800" name="Vrije vorm: vorm 5799">
                  <a:extLst>
                    <a:ext uri="{FF2B5EF4-FFF2-40B4-BE49-F238E27FC236}">
                      <a16:creationId xmlns:a16="http://schemas.microsoft.com/office/drawing/2014/main" id="{7D07DC3B-99B8-49CA-A5D7-56D5D2F80F31}"/>
                    </a:ext>
                  </a:extLst>
                </p:cNvPr>
                <p:cNvSpPr/>
                <p:nvPr/>
              </p:nvSpPr>
              <p:spPr>
                <a:xfrm>
                  <a:off x="6643824" y="1638279"/>
                  <a:ext cx="22487" cy="14652"/>
                </a:xfrm>
                <a:custGeom>
                  <a:avLst/>
                  <a:gdLst>
                    <a:gd name="connsiteX0" fmla="*/ 0 w 22487"/>
                    <a:gd name="connsiteY0" fmla="*/ 3289 h 14652"/>
                    <a:gd name="connsiteX1" fmla="*/ 1675 w 22487"/>
                    <a:gd name="connsiteY1" fmla="*/ 478 h 14652"/>
                    <a:gd name="connsiteX2" fmla="*/ 1735 w 22487"/>
                    <a:gd name="connsiteY2" fmla="*/ 419 h 14652"/>
                    <a:gd name="connsiteX3" fmla="*/ 2273 w 22487"/>
                    <a:gd name="connsiteY3" fmla="*/ 0 h 14652"/>
                    <a:gd name="connsiteX4" fmla="*/ 3469 w 22487"/>
                    <a:gd name="connsiteY4" fmla="*/ 0 h 14652"/>
                    <a:gd name="connsiteX5" fmla="*/ 4306 w 22487"/>
                    <a:gd name="connsiteY5" fmla="*/ 179 h 14652"/>
                    <a:gd name="connsiteX6" fmla="*/ 4785 w 22487"/>
                    <a:gd name="connsiteY6" fmla="*/ 299 h 14652"/>
                    <a:gd name="connsiteX7" fmla="*/ 5203 w 22487"/>
                    <a:gd name="connsiteY7" fmla="*/ 419 h 14652"/>
                    <a:gd name="connsiteX8" fmla="*/ 5263 w 22487"/>
                    <a:gd name="connsiteY8" fmla="*/ 419 h 14652"/>
                    <a:gd name="connsiteX9" fmla="*/ 5801 w 22487"/>
                    <a:gd name="connsiteY9" fmla="*/ 598 h 14652"/>
                    <a:gd name="connsiteX10" fmla="*/ 5801 w 22487"/>
                    <a:gd name="connsiteY10" fmla="*/ 598 h 14652"/>
                    <a:gd name="connsiteX11" fmla="*/ 6220 w 22487"/>
                    <a:gd name="connsiteY11" fmla="*/ 718 h 14652"/>
                    <a:gd name="connsiteX12" fmla="*/ 7596 w 22487"/>
                    <a:gd name="connsiteY12" fmla="*/ 1196 h 14652"/>
                    <a:gd name="connsiteX13" fmla="*/ 8313 w 22487"/>
                    <a:gd name="connsiteY13" fmla="*/ 1495 h 14652"/>
                    <a:gd name="connsiteX14" fmla="*/ 10227 w 22487"/>
                    <a:gd name="connsiteY14" fmla="*/ 2332 h 14652"/>
                    <a:gd name="connsiteX15" fmla="*/ 12859 w 22487"/>
                    <a:gd name="connsiteY15" fmla="*/ 3708 h 14652"/>
                    <a:gd name="connsiteX16" fmla="*/ 12978 w 22487"/>
                    <a:gd name="connsiteY16" fmla="*/ 3768 h 14652"/>
                    <a:gd name="connsiteX17" fmla="*/ 13875 w 22487"/>
                    <a:gd name="connsiteY17" fmla="*/ 4306 h 14652"/>
                    <a:gd name="connsiteX18" fmla="*/ 15669 w 22487"/>
                    <a:gd name="connsiteY18" fmla="*/ 5383 h 14652"/>
                    <a:gd name="connsiteX19" fmla="*/ 18122 w 22487"/>
                    <a:gd name="connsiteY19" fmla="*/ 6997 h 14652"/>
                    <a:gd name="connsiteX20" fmla="*/ 18540 w 22487"/>
                    <a:gd name="connsiteY20" fmla="*/ 7296 h 14652"/>
                    <a:gd name="connsiteX21" fmla="*/ 18839 w 22487"/>
                    <a:gd name="connsiteY21" fmla="*/ 7536 h 14652"/>
                    <a:gd name="connsiteX22" fmla="*/ 18839 w 22487"/>
                    <a:gd name="connsiteY22" fmla="*/ 7536 h 14652"/>
                    <a:gd name="connsiteX23" fmla="*/ 20036 w 22487"/>
                    <a:gd name="connsiteY23" fmla="*/ 8433 h 14652"/>
                    <a:gd name="connsiteX24" fmla="*/ 20155 w 22487"/>
                    <a:gd name="connsiteY24" fmla="*/ 8493 h 14652"/>
                    <a:gd name="connsiteX25" fmla="*/ 20335 w 22487"/>
                    <a:gd name="connsiteY25" fmla="*/ 8612 h 14652"/>
                    <a:gd name="connsiteX26" fmla="*/ 20514 w 22487"/>
                    <a:gd name="connsiteY26" fmla="*/ 8792 h 14652"/>
                    <a:gd name="connsiteX27" fmla="*/ 20514 w 22487"/>
                    <a:gd name="connsiteY27" fmla="*/ 8792 h 14652"/>
                    <a:gd name="connsiteX28" fmla="*/ 20574 w 22487"/>
                    <a:gd name="connsiteY28" fmla="*/ 8792 h 14652"/>
                    <a:gd name="connsiteX29" fmla="*/ 20933 w 22487"/>
                    <a:gd name="connsiteY29" fmla="*/ 9150 h 14652"/>
                    <a:gd name="connsiteX30" fmla="*/ 20933 w 22487"/>
                    <a:gd name="connsiteY30" fmla="*/ 9150 h 14652"/>
                    <a:gd name="connsiteX31" fmla="*/ 21650 w 22487"/>
                    <a:gd name="connsiteY31" fmla="*/ 9808 h 14652"/>
                    <a:gd name="connsiteX32" fmla="*/ 21770 w 22487"/>
                    <a:gd name="connsiteY32" fmla="*/ 9988 h 14652"/>
                    <a:gd name="connsiteX33" fmla="*/ 21830 w 22487"/>
                    <a:gd name="connsiteY33" fmla="*/ 10107 h 14652"/>
                    <a:gd name="connsiteX34" fmla="*/ 21830 w 22487"/>
                    <a:gd name="connsiteY34" fmla="*/ 10107 h 14652"/>
                    <a:gd name="connsiteX35" fmla="*/ 22428 w 22487"/>
                    <a:gd name="connsiteY35" fmla="*/ 10945 h 14652"/>
                    <a:gd name="connsiteX36" fmla="*/ 22488 w 22487"/>
                    <a:gd name="connsiteY36" fmla="*/ 11662 h 14652"/>
                    <a:gd name="connsiteX37" fmla="*/ 20813 w 22487"/>
                    <a:gd name="connsiteY37" fmla="*/ 14473 h 14652"/>
                    <a:gd name="connsiteX38" fmla="*/ 20693 w 22487"/>
                    <a:gd name="connsiteY38" fmla="*/ 14653 h 1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487" h="14652">
                      <a:moveTo>
                        <a:pt x="0" y="3289"/>
                      </a:moveTo>
                      <a:lnTo>
                        <a:pt x="1675" y="478"/>
                      </a:lnTo>
                      <a:lnTo>
                        <a:pt x="1735" y="419"/>
                      </a:lnTo>
                      <a:lnTo>
                        <a:pt x="2273" y="0"/>
                      </a:lnTo>
                      <a:lnTo>
                        <a:pt x="3469" y="0"/>
                      </a:lnTo>
                      <a:lnTo>
                        <a:pt x="4306" y="179"/>
                      </a:lnTo>
                      <a:lnTo>
                        <a:pt x="4785" y="299"/>
                      </a:lnTo>
                      <a:lnTo>
                        <a:pt x="5203" y="419"/>
                      </a:lnTo>
                      <a:lnTo>
                        <a:pt x="5263" y="419"/>
                      </a:lnTo>
                      <a:lnTo>
                        <a:pt x="5801" y="598"/>
                      </a:lnTo>
                      <a:lnTo>
                        <a:pt x="5801" y="598"/>
                      </a:lnTo>
                      <a:lnTo>
                        <a:pt x="6220" y="718"/>
                      </a:lnTo>
                      <a:lnTo>
                        <a:pt x="7596" y="1196"/>
                      </a:lnTo>
                      <a:lnTo>
                        <a:pt x="8313" y="1495"/>
                      </a:lnTo>
                      <a:lnTo>
                        <a:pt x="10227" y="2332"/>
                      </a:lnTo>
                      <a:lnTo>
                        <a:pt x="12859" y="3708"/>
                      </a:lnTo>
                      <a:lnTo>
                        <a:pt x="12978" y="3768"/>
                      </a:lnTo>
                      <a:lnTo>
                        <a:pt x="13875" y="4306"/>
                      </a:lnTo>
                      <a:lnTo>
                        <a:pt x="15669" y="5383"/>
                      </a:lnTo>
                      <a:lnTo>
                        <a:pt x="18122" y="6997"/>
                      </a:lnTo>
                      <a:lnTo>
                        <a:pt x="18540" y="7296"/>
                      </a:lnTo>
                      <a:lnTo>
                        <a:pt x="18839" y="7536"/>
                      </a:lnTo>
                      <a:lnTo>
                        <a:pt x="18839" y="7536"/>
                      </a:lnTo>
                      <a:lnTo>
                        <a:pt x="20036" y="8433"/>
                      </a:lnTo>
                      <a:lnTo>
                        <a:pt x="20155" y="8493"/>
                      </a:lnTo>
                      <a:lnTo>
                        <a:pt x="20335" y="8612"/>
                      </a:lnTo>
                      <a:lnTo>
                        <a:pt x="20514" y="8792"/>
                      </a:lnTo>
                      <a:lnTo>
                        <a:pt x="20514" y="8792"/>
                      </a:lnTo>
                      <a:lnTo>
                        <a:pt x="20574" y="8792"/>
                      </a:lnTo>
                      <a:lnTo>
                        <a:pt x="20933" y="9150"/>
                      </a:lnTo>
                      <a:lnTo>
                        <a:pt x="20933" y="9150"/>
                      </a:lnTo>
                      <a:lnTo>
                        <a:pt x="21650" y="9808"/>
                      </a:lnTo>
                      <a:lnTo>
                        <a:pt x="21770" y="9988"/>
                      </a:lnTo>
                      <a:lnTo>
                        <a:pt x="21830" y="10107"/>
                      </a:lnTo>
                      <a:lnTo>
                        <a:pt x="21830" y="10107"/>
                      </a:lnTo>
                      <a:lnTo>
                        <a:pt x="22428" y="10945"/>
                      </a:lnTo>
                      <a:lnTo>
                        <a:pt x="22488" y="11662"/>
                      </a:lnTo>
                      <a:lnTo>
                        <a:pt x="20813" y="14473"/>
                      </a:lnTo>
                      <a:lnTo>
                        <a:pt x="20693" y="14653"/>
                      </a:lnTo>
                    </a:path>
                  </a:pathLst>
                </a:custGeom>
                <a:noFill/>
                <a:ln w="6350" cap="rnd">
                  <a:solidFill>
                    <a:schemeClr val="bg1">
                      <a:alpha val="40000"/>
                    </a:schemeClr>
                  </a:solidFill>
                  <a:prstDash val="solid"/>
                  <a:round/>
                </a:ln>
              </p:spPr>
              <p:txBody>
                <a:bodyPr rtlCol="0" anchor="ctr"/>
                <a:lstStyle/>
                <a:p>
                  <a:endParaRPr lang="en-GB"/>
                </a:p>
              </p:txBody>
            </p:sp>
            <p:sp>
              <p:nvSpPr>
                <p:cNvPr id="5801" name="Vrije vorm: vorm 5800">
                  <a:extLst>
                    <a:ext uri="{FF2B5EF4-FFF2-40B4-BE49-F238E27FC236}">
                      <a16:creationId xmlns:a16="http://schemas.microsoft.com/office/drawing/2014/main" id="{044994F7-A17C-4DBB-9A50-37DCC8B2C2E7}"/>
                    </a:ext>
                  </a:extLst>
                </p:cNvPr>
                <p:cNvSpPr/>
                <p:nvPr/>
              </p:nvSpPr>
              <p:spPr>
                <a:xfrm>
                  <a:off x="6639398" y="1641509"/>
                  <a:ext cx="26195" cy="17523"/>
                </a:xfrm>
                <a:custGeom>
                  <a:avLst/>
                  <a:gdLst>
                    <a:gd name="connsiteX0" fmla="*/ 26076 w 26195"/>
                    <a:gd name="connsiteY0" fmla="*/ 12679 h 17523"/>
                    <a:gd name="connsiteX1" fmla="*/ 26196 w 26195"/>
                    <a:gd name="connsiteY1" fmla="*/ 13516 h 17523"/>
                    <a:gd name="connsiteX2" fmla="*/ 24521 w 26195"/>
                    <a:gd name="connsiteY2" fmla="*/ 16327 h 17523"/>
                    <a:gd name="connsiteX3" fmla="*/ 24043 w 26195"/>
                    <a:gd name="connsiteY3" fmla="*/ 17165 h 17523"/>
                    <a:gd name="connsiteX4" fmla="*/ 23325 w 26195"/>
                    <a:gd name="connsiteY4" fmla="*/ 17523 h 17523"/>
                    <a:gd name="connsiteX5" fmla="*/ 21830 w 26195"/>
                    <a:gd name="connsiteY5" fmla="*/ 17404 h 17523"/>
                    <a:gd name="connsiteX6" fmla="*/ 19676 w 26195"/>
                    <a:gd name="connsiteY6" fmla="*/ 16806 h 17523"/>
                    <a:gd name="connsiteX7" fmla="*/ 17045 w 26195"/>
                    <a:gd name="connsiteY7" fmla="*/ 15789 h 17523"/>
                    <a:gd name="connsiteX8" fmla="*/ 14354 w 26195"/>
                    <a:gd name="connsiteY8" fmla="*/ 14533 h 17523"/>
                    <a:gd name="connsiteX9" fmla="*/ 14114 w 26195"/>
                    <a:gd name="connsiteY9" fmla="*/ 14413 h 17523"/>
                    <a:gd name="connsiteX10" fmla="*/ 11483 w 26195"/>
                    <a:gd name="connsiteY10" fmla="*/ 13038 h 17523"/>
                    <a:gd name="connsiteX11" fmla="*/ 11065 w 26195"/>
                    <a:gd name="connsiteY11" fmla="*/ 12799 h 17523"/>
                    <a:gd name="connsiteX12" fmla="*/ 8493 w 26195"/>
                    <a:gd name="connsiteY12" fmla="*/ 11304 h 17523"/>
                    <a:gd name="connsiteX13" fmla="*/ 8074 w 26195"/>
                    <a:gd name="connsiteY13" fmla="*/ 11064 h 17523"/>
                    <a:gd name="connsiteX14" fmla="*/ 5562 w 26195"/>
                    <a:gd name="connsiteY14" fmla="*/ 9449 h 17523"/>
                    <a:gd name="connsiteX15" fmla="*/ 5323 w 26195"/>
                    <a:gd name="connsiteY15" fmla="*/ 9270 h 17523"/>
                    <a:gd name="connsiteX16" fmla="*/ 2990 w 26195"/>
                    <a:gd name="connsiteY16" fmla="*/ 7595 h 17523"/>
                    <a:gd name="connsiteX17" fmla="*/ 1256 w 26195"/>
                    <a:gd name="connsiteY17" fmla="*/ 6100 h 17523"/>
                    <a:gd name="connsiteX18" fmla="*/ 239 w 26195"/>
                    <a:gd name="connsiteY18" fmla="*/ 4844 h 17523"/>
                    <a:gd name="connsiteX19" fmla="*/ 0 w 26195"/>
                    <a:gd name="connsiteY19" fmla="*/ 4007 h 17523"/>
                    <a:gd name="connsiteX20" fmla="*/ 1675 w 26195"/>
                    <a:gd name="connsiteY20" fmla="*/ 1196 h 17523"/>
                    <a:gd name="connsiteX21" fmla="*/ 2153 w 26195"/>
                    <a:gd name="connsiteY21" fmla="*/ 419 h 17523"/>
                    <a:gd name="connsiteX22" fmla="*/ 2751 w 26195"/>
                    <a:gd name="connsiteY22" fmla="*/ 0 h 17523"/>
                    <a:gd name="connsiteX23" fmla="*/ 4127 w 26195"/>
                    <a:gd name="connsiteY23" fmla="*/ 60 h 17523"/>
                    <a:gd name="connsiteX24" fmla="*/ 4486 w 26195"/>
                    <a:gd name="connsiteY24" fmla="*/ 179 h 17523"/>
                    <a:gd name="connsiteX25" fmla="*/ 6160 w 26195"/>
                    <a:gd name="connsiteY25" fmla="*/ 598 h 17523"/>
                    <a:gd name="connsiteX26" fmla="*/ 7057 w 26195"/>
                    <a:gd name="connsiteY26" fmla="*/ 897 h 17523"/>
                    <a:gd name="connsiteX27" fmla="*/ 8074 w 26195"/>
                    <a:gd name="connsiteY27" fmla="*/ 1256 h 17523"/>
                    <a:gd name="connsiteX28" fmla="*/ 8074 w 26195"/>
                    <a:gd name="connsiteY28" fmla="*/ 1256 h 17523"/>
                    <a:gd name="connsiteX29" fmla="*/ 8851 w 26195"/>
                    <a:gd name="connsiteY29" fmla="*/ 1555 h 17523"/>
                    <a:gd name="connsiteX30" fmla="*/ 11543 w 26195"/>
                    <a:gd name="connsiteY30" fmla="*/ 2751 h 17523"/>
                    <a:gd name="connsiteX31" fmla="*/ 11842 w 26195"/>
                    <a:gd name="connsiteY31" fmla="*/ 2871 h 17523"/>
                    <a:gd name="connsiteX32" fmla="*/ 12978 w 26195"/>
                    <a:gd name="connsiteY32" fmla="*/ 3469 h 17523"/>
                    <a:gd name="connsiteX33" fmla="*/ 15072 w 26195"/>
                    <a:gd name="connsiteY33" fmla="*/ 4545 h 17523"/>
                    <a:gd name="connsiteX34" fmla="*/ 15669 w 26195"/>
                    <a:gd name="connsiteY34" fmla="*/ 4904 h 17523"/>
                    <a:gd name="connsiteX35" fmla="*/ 15669 w 26195"/>
                    <a:gd name="connsiteY35" fmla="*/ 4904 h 17523"/>
                    <a:gd name="connsiteX36" fmla="*/ 17703 w 26195"/>
                    <a:gd name="connsiteY36" fmla="*/ 6100 h 17523"/>
                    <a:gd name="connsiteX37" fmla="*/ 17703 w 26195"/>
                    <a:gd name="connsiteY37" fmla="*/ 6100 h 17523"/>
                    <a:gd name="connsiteX38" fmla="*/ 17822 w 26195"/>
                    <a:gd name="connsiteY38" fmla="*/ 6160 h 17523"/>
                    <a:gd name="connsiteX39" fmla="*/ 18241 w 26195"/>
                    <a:gd name="connsiteY39" fmla="*/ 6399 h 17523"/>
                    <a:gd name="connsiteX40" fmla="*/ 20753 w 26195"/>
                    <a:gd name="connsiteY40" fmla="*/ 8014 h 17523"/>
                    <a:gd name="connsiteX41" fmla="*/ 21112 w 26195"/>
                    <a:gd name="connsiteY41" fmla="*/ 8253 h 17523"/>
                    <a:gd name="connsiteX42" fmla="*/ 21112 w 26195"/>
                    <a:gd name="connsiteY42" fmla="*/ 8253 h 17523"/>
                    <a:gd name="connsiteX43" fmla="*/ 21112 w 26195"/>
                    <a:gd name="connsiteY43" fmla="*/ 8253 h 17523"/>
                    <a:gd name="connsiteX44" fmla="*/ 23205 w 26195"/>
                    <a:gd name="connsiteY44" fmla="*/ 9808 h 17523"/>
                    <a:gd name="connsiteX45" fmla="*/ 23205 w 26195"/>
                    <a:gd name="connsiteY45" fmla="*/ 9808 h 17523"/>
                    <a:gd name="connsiteX46" fmla="*/ 23504 w 26195"/>
                    <a:gd name="connsiteY46" fmla="*/ 10048 h 17523"/>
                    <a:gd name="connsiteX47" fmla="*/ 25179 w 26195"/>
                    <a:gd name="connsiteY47" fmla="*/ 11603 h 17523"/>
                    <a:gd name="connsiteX48" fmla="*/ 25179 w 26195"/>
                    <a:gd name="connsiteY48" fmla="*/ 11603 h 17523"/>
                    <a:gd name="connsiteX49" fmla="*/ 26076 w 26195"/>
                    <a:gd name="connsiteY49" fmla="*/ 12679 h 1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6195" h="17523">
                      <a:moveTo>
                        <a:pt x="26076" y="12679"/>
                      </a:moveTo>
                      <a:lnTo>
                        <a:pt x="26196" y="13516"/>
                      </a:lnTo>
                      <a:lnTo>
                        <a:pt x="24521" y="16327"/>
                      </a:lnTo>
                      <a:lnTo>
                        <a:pt x="24043" y="17165"/>
                      </a:lnTo>
                      <a:lnTo>
                        <a:pt x="23325" y="17523"/>
                      </a:lnTo>
                      <a:lnTo>
                        <a:pt x="21830" y="17404"/>
                      </a:lnTo>
                      <a:lnTo>
                        <a:pt x="19676" y="16806"/>
                      </a:lnTo>
                      <a:lnTo>
                        <a:pt x="17045" y="15789"/>
                      </a:lnTo>
                      <a:lnTo>
                        <a:pt x="14354" y="14533"/>
                      </a:lnTo>
                      <a:lnTo>
                        <a:pt x="14114" y="14413"/>
                      </a:lnTo>
                      <a:lnTo>
                        <a:pt x="11483" y="13038"/>
                      </a:lnTo>
                      <a:lnTo>
                        <a:pt x="11065" y="12799"/>
                      </a:lnTo>
                      <a:lnTo>
                        <a:pt x="8493" y="11304"/>
                      </a:lnTo>
                      <a:lnTo>
                        <a:pt x="8074" y="11064"/>
                      </a:lnTo>
                      <a:lnTo>
                        <a:pt x="5562" y="9449"/>
                      </a:lnTo>
                      <a:lnTo>
                        <a:pt x="5323" y="9270"/>
                      </a:lnTo>
                      <a:lnTo>
                        <a:pt x="2990" y="7595"/>
                      </a:lnTo>
                      <a:lnTo>
                        <a:pt x="1256" y="6100"/>
                      </a:lnTo>
                      <a:lnTo>
                        <a:pt x="239" y="4844"/>
                      </a:lnTo>
                      <a:lnTo>
                        <a:pt x="0" y="4007"/>
                      </a:lnTo>
                      <a:lnTo>
                        <a:pt x="1675" y="1196"/>
                      </a:lnTo>
                      <a:lnTo>
                        <a:pt x="2153" y="419"/>
                      </a:lnTo>
                      <a:lnTo>
                        <a:pt x="2751" y="0"/>
                      </a:lnTo>
                      <a:lnTo>
                        <a:pt x="4127" y="60"/>
                      </a:lnTo>
                      <a:lnTo>
                        <a:pt x="4486" y="179"/>
                      </a:lnTo>
                      <a:lnTo>
                        <a:pt x="6160" y="598"/>
                      </a:lnTo>
                      <a:lnTo>
                        <a:pt x="7057" y="897"/>
                      </a:lnTo>
                      <a:lnTo>
                        <a:pt x="8074" y="1256"/>
                      </a:lnTo>
                      <a:lnTo>
                        <a:pt x="8074" y="1256"/>
                      </a:lnTo>
                      <a:lnTo>
                        <a:pt x="8851" y="1555"/>
                      </a:lnTo>
                      <a:lnTo>
                        <a:pt x="11543" y="2751"/>
                      </a:lnTo>
                      <a:lnTo>
                        <a:pt x="11842" y="2871"/>
                      </a:lnTo>
                      <a:lnTo>
                        <a:pt x="12978" y="3469"/>
                      </a:lnTo>
                      <a:lnTo>
                        <a:pt x="15072" y="4545"/>
                      </a:lnTo>
                      <a:lnTo>
                        <a:pt x="15669" y="4904"/>
                      </a:lnTo>
                      <a:lnTo>
                        <a:pt x="15669" y="4904"/>
                      </a:lnTo>
                      <a:lnTo>
                        <a:pt x="17703" y="6100"/>
                      </a:lnTo>
                      <a:lnTo>
                        <a:pt x="17703" y="6100"/>
                      </a:lnTo>
                      <a:lnTo>
                        <a:pt x="17822" y="6160"/>
                      </a:lnTo>
                      <a:lnTo>
                        <a:pt x="18241" y="6399"/>
                      </a:lnTo>
                      <a:lnTo>
                        <a:pt x="20753" y="8014"/>
                      </a:lnTo>
                      <a:lnTo>
                        <a:pt x="21112" y="8253"/>
                      </a:lnTo>
                      <a:lnTo>
                        <a:pt x="21112" y="8253"/>
                      </a:lnTo>
                      <a:lnTo>
                        <a:pt x="21112" y="8253"/>
                      </a:lnTo>
                      <a:lnTo>
                        <a:pt x="23205" y="9808"/>
                      </a:lnTo>
                      <a:lnTo>
                        <a:pt x="23205" y="9808"/>
                      </a:lnTo>
                      <a:lnTo>
                        <a:pt x="23504" y="10048"/>
                      </a:lnTo>
                      <a:lnTo>
                        <a:pt x="25179" y="11603"/>
                      </a:lnTo>
                      <a:lnTo>
                        <a:pt x="25179" y="11603"/>
                      </a:lnTo>
                      <a:lnTo>
                        <a:pt x="26076" y="12679"/>
                      </a:lnTo>
                    </a:path>
                  </a:pathLst>
                </a:custGeom>
                <a:noFill/>
                <a:ln w="6350" cap="rnd">
                  <a:solidFill>
                    <a:schemeClr val="bg1">
                      <a:alpha val="40000"/>
                    </a:schemeClr>
                  </a:solidFill>
                  <a:prstDash val="solid"/>
                  <a:round/>
                </a:ln>
              </p:spPr>
              <p:txBody>
                <a:bodyPr rtlCol="0" anchor="ctr"/>
                <a:lstStyle/>
                <a:p>
                  <a:endParaRPr lang="en-GB"/>
                </a:p>
              </p:txBody>
            </p:sp>
            <p:sp>
              <p:nvSpPr>
                <p:cNvPr id="5802" name="Vrije vorm: vorm 5801">
                  <a:extLst>
                    <a:ext uri="{FF2B5EF4-FFF2-40B4-BE49-F238E27FC236}">
                      <a16:creationId xmlns:a16="http://schemas.microsoft.com/office/drawing/2014/main" id="{F53BD359-19D8-460D-9E39-65132760F6E4}"/>
                    </a:ext>
                  </a:extLst>
                </p:cNvPr>
                <p:cNvSpPr/>
                <p:nvPr/>
              </p:nvSpPr>
              <p:spPr>
                <a:xfrm>
                  <a:off x="6639338" y="1645038"/>
                  <a:ext cx="24221" cy="13576"/>
                </a:xfrm>
                <a:custGeom>
                  <a:avLst/>
                  <a:gdLst>
                    <a:gd name="connsiteX0" fmla="*/ 0 w 24221"/>
                    <a:gd name="connsiteY0" fmla="*/ 419 h 13576"/>
                    <a:gd name="connsiteX1" fmla="*/ 598 w 24221"/>
                    <a:gd name="connsiteY1" fmla="*/ 0 h 13576"/>
                    <a:gd name="connsiteX2" fmla="*/ 1974 w 24221"/>
                    <a:gd name="connsiteY2" fmla="*/ 60 h 13576"/>
                    <a:gd name="connsiteX3" fmla="*/ 4067 w 24221"/>
                    <a:gd name="connsiteY3" fmla="*/ 598 h 13576"/>
                    <a:gd name="connsiteX4" fmla="*/ 6698 w 24221"/>
                    <a:gd name="connsiteY4" fmla="*/ 1555 h 13576"/>
                    <a:gd name="connsiteX5" fmla="*/ 8433 w 24221"/>
                    <a:gd name="connsiteY5" fmla="*/ 2332 h 13576"/>
                    <a:gd name="connsiteX6" fmla="*/ 9749 w 24221"/>
                    <a:gd name="connsiteY6" fmla="*/ 2930 h 13576"/>
                    <a:gd name="connsiteX7" fmla="*/ 12380 w 24221"/>
                    <a:gd name="connsiteY7" fmla="*/ 4306 h 13576"/>
                    <a:gd name="connsiteX8" fmla="*/ 12978 w 24221"/>
                    <a:gd name="connsiteY8" fmla="*/ 4605 h 13576"/>
                    <a:gd name="connsiteX9" fmla="*/ 15550 w 24221"/>
                    <a:gd name="connsiteY9" fmla="*/ 6100 h 13576"/>
                    <a:gd name="connsiteX10" fmla="*/ 16148 w 24221"/>
                    <a:gd name="connsiteY10" fmla="*/ 6459 h 13576"/>
                    <a:gd name="connsiteX11" fmla="*/ 17942 w 24221"/>
                    <a:gd name="connsiteY11" fmla="*/ 7655 h 13576"/>
                    <a:gd name="connsiteX12" fmla="*/ 19019 w 24221"/>
                    <a:gd name="connsiteY12" fmla="*/ 8313 h 13576"/>
                    <a:gd name="connsiteX13" fmla="*/ 21411 w 24221"/>
                    <a:gd name="connsiteY13" fmla="*/ 10048 h 13576"/>
                    <a:gd name="connsiteX14" fmla="*/ 23145 w 24221"/>
                    <a:gd name="connsiteY14" fmla="*/ 11603 h 13576"/>
                    <a:gd name="connsiteX15" fmla="*/ 24102 w 24221"/>
                    <a:gd name="connsiteY15" fmla="*/ 12799 h 13576"/>
                    <a:gd name="connsiteX16" fmla="*/ 24222 w 24221"/>
                    <a:gd name="connsiteY16" fmla="*/ 13576 h 13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221" h="13576">
                      <a:moveTo>
                        <a:pt x="0" y="419"/>
                      </a:moveTo>
                      <a:lnTo>
                        <a:pt x="598" y="0"/>
                      </a:lnTo>
                      <a:lnTo>
                        <a:pt x="1974" y="60"/>
                      </a:lnTo>
                      <a:lnTo>
                        <a:pt x="4067" y="598"/>
                      </a:lnTo>
                      <a:lnTo>
                        <a:pt x="6698" y="1555"/>
                      </a:lnTo>
                      <a:lnTo>
                        <a:pt x="8433" y="2332"/>
                      </a:lnTo>
                      <a:lnTo>
                        <a:pt x="9749" y="2930"/>
                      </a:lnTo>
                      <a:lnTo>
                        <a:pt x="12380" y="4306"/>
                      </a:lnTo>
                      <a:lnTo>
                        <a:pt x="12978" y="4605"/>
                      </a:lnTo>
                      <a:lnTo>
                        <a:pt x="15550" y="6100"/>
                      </a:lnTo>
                      <a:lnTo>
                        <a:pt x="16148" y="6459"/>
                      </a:lnTo>
                      <a:lnTo>
                        <a:pt x="17942" y="7655"/>
                      </a:lnTo>
                      <a:lnTo>
                        <a:pt x="19019" y="8313"/>
                      </a:lnTo>
                      <a:lnTo>
                        <a:pt x="21411" y="10048"/>
                      </a:lnTo>
                      <a:lnTo>
                        <a:pt x="23145" y="11603"/>
                      </a:lnTo>
                      <a:lnTo>
                        <a:pt x="24102" y="12799"/>
                      </a:lnTo>
                      <a:lnTo>
                        <a:pt x="24222" y="13576"/>
                      </a:lnTo>
                    </a:path>
                  </a:pathLst>
                </a:custGeom>
                <a:noFill/>
                <a:ln w="6350" cap="rnd">
                  <a:solidFill>
                    <a:schemeClr val="bg1">
                      <a:alpha val="40000"/>
                    </a:schemeClr>
                  </a:solidFill>
                  <a:prstDash val="solid"/>
                  <a:round/>
                </a:ln>
              </p:spPr>
              <p:txBody>
                <a:bodyPr rtlCol="0" anchor="ctr"/>
                <a:lstStyle/>
                <a:p>
                  <a:endParaRPr lang="en-GB"/>
                </a:p>
              </p:txBody>
            </p:sp>
            <p:sp>
              <p:nvSpPr>
                <p:cNvPr id="5803" name="Vrije vorm: vorm 5802">
                  <a:extLst>
                    <a:ext uri="{FF2B5EF4-FFF2-40B4-BE49-F238E27FC236}">
                      <a16:creationId xmlns:a16="http://schemas.microsoft.com/office/drawing/2014/main" id="{90D94DF1-0306-4438-B867-971D2595E1D2}"/>
                    </a:ext>
                  </a:extLst>
                </p:cNvPr>
                <p:cNvSpPr/>
                <p:nvPr/>
              </p:nvSpPr>
              <p:spPr>
                <a:xfrm>
                  <a:off x="6548910" y="1744198"/>
                  <a:ext cx="17643" cy="26016"/>
                </a:xfrm>
                <a:custGeom>
                  <a:avLst/>
                  <a:gdLst>
                    <a:gd name="connsiteX0" fmla="*/ 5981 w 17643"/>
                    <a:gd name="connsiteY0" fmla="*/ 0 h 26016"/>
                    <a:gd name="connsiteX1" fmla="*/ 8552 w 17643"/>
                    <a:gd name="connsiteY1" fmla="*/ 1435 h 26016"/>
                    <a:gd name="connsiteX2" fmla="*/ 11124 w 17643"/>
                    <a:gd name="connsiteY2" fmla="*/ 2871 h 26016"/>
                    <a:gd name="connsiteX3" fmla="*/ 11782 w 17643"/>
                    <a:gd name="connsiteY3" fmla="*/ 3230 h 26016"/>
                    <a:gd name="connsiteX4" fmla="*/ 14294 w 17643"/>
                    <a:gd name="connsiteY4" fmla="*/ 4844 h 26016"/>
                    <a:gd name="connsiteX5" fmla="*/ 16806 w 17643"/>
                    <a:gd name="connsiteY5" fmla="*/ 6459 h 26016"/>
                    <a:gd name="connsiteX6" fmla="*/ 17523 w 17643"/>
                    <a:gd name="connsiteY6" fmla="*/ 6938 h 26016"/>
                    <a:gd name="connsiteX7" fmla="*/ 17583 w 17643"/>
                    <a:gd name="connsiteY7" fmla="*/ 10107 h 26016"/>
                    <a:gd name="connsiteX8" fmla="*/ 17643 w 17643"/>
                    <a:gd name="connsiteY8" fmla="*/ 12978 h 26016"/>
                    <a:gd name="connsiteX9" fmla="*/ 16028 w 17643"/>
                    <a:gd name="connsiteY9" fmla="*/ 15789 h 26016"/>
                    <a:gd name="connsiteX10" fmla="*/ 14414 w 17643"/>
                    <a:gd name="connsiteY10" fmla="*/ 18600 h 26016"/>
                    <a:gd name="connsiteX11" fmla="*/ 12799 w 17643"/>
                    <a:gd name="connsiteY11" fmla="*/ 21411 h 26016"/>
                    <a:gd name="connsiteX12" fmla="*/ 11543 w 17643"/>
                    <a:gd name="connsiteY12" fmla="*/ 23624 h 26016"/>
                    <a:gd name="connsiteX13" fmla="*/ 8732 w 17643"/>
                    <a:gd name="connsiteY13" fmla="*/ 24999 h 26016"/>
                    <a:gd name="connsiteX14" fmla="*/ 6698 w 17643"/>
                    <a:gd name="connsiteY14" fmla="*/ 26016 h 26016"/>
                    <a:gd name="connsiteX15" fmla="*/ 4067 w 17643"/>
                    <a:gd name="connsiteY15" fmla="*/ 24641 h 26016"/>
                    <a:gd name="connsiteX16" fmla="*/ 1435 w 17643"/>
                    <a:gd name="connsiteY16" fmla="*/ 23265 h 26016"/>
                    <a:gd name="connsiteX17" fmla="*/ 0 w 17643"/>
                    <a:gd name="connsiteY17" fmla="*/ 22487 h 2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43" h="26016">
                      <a:moveTo>
                        <a:pt x="5981" y="0"/>
                      </a:moveTo>
                      <a:lnTo>
                        <a:pt x="8552" y="1435"/>
                      </a:lnTo>
                      <a:lnTo>
                        <a:pt x="11124" y="2871"/>
                      </a:lnTo>
                      <a:lnTo>
                        <a:pt x="11782" y="3230"/>
                      </a:lnTo>
                      <a:lnTo>
                        <a:pt x="14294" y="4844"/>
                      </a:lnTo>
                      <a:lnTo>
                        <a:pt x="16806" y="6459"/>
                      </a:lnTo>
                      <a:lnTo>
                        <a:pt x="17523" y="6938"/>
                      </a:lnTo>
                      <a:lnTo>
                        <a:pt x="17583" y="10107"/>
                      </a:lnTo>
                      <a:lnTo>
                        <a:pt x="17643" y="12978"/>
                      </a:lnTo>
                      <a:lnTo>
                        <a:pt x="16028" y="15789"/>
                      </a:lnTo>
                      <a:lnTo>
                        <a:pt x="14414" y="18600"/>
                      </a:lnTo>
                      <a:lnTo>
                        <a:pt x="12799" y="21411"/>
                      </a:lnTo>
                      <a:lnTo>
                        <a:pt x="11543" y="23624"/>
                      </a:lnTo>
                      <a:lnTo>
                        <a:pt x="8732" y="24999"/>
                      </a:lnTo>
                      <a:lnTo>
                        <a:pt x="6698" y="26016"/>
                      </a:lnTo>
                      <a:lnTo>
                        <a:pt x="4067" y="24641"/>
                      </a:lnTo>
                      <a:lnTo>
                        <a:pt x="1435" y="23265"/>
                      </a:lnTo>
                      <a:lnTo>
                        <a:pt x="0" y="22487"/>
                      </a:lnTo>
                    </a:path>
                  </a:pathLst>
                </a:custGeom>
                <a:noFill/>
                <a:ln w="6350" cap="rnd">
                  <a:solidFill>
                    <a:schemeClr val="bg1">
                      <a:alpha val="40000"/>
                    </a:schemeClr>
                  </a:solidFill>
                  <a:prstDash val="solid"/>
                  <a:round/>
                </a:ln>
              </p:spPr>
              <p:txBody>
                <a:bodyPr rtlCol="0" anchor="ctr"/>
                <a:lstStyle/>
                <a:p>
                  <a:endParaRPr lang="en-GB"/>
                </a:p>
              </p:txBody>
            </p:sp>
            <p:sp>
              <p:nvSpPr>
                <p:cNvPr id="5804" name="Vrije vorm: vorm 5803">
                  <a:extLst>
                    <a:ext uri="{FF2B5EF4-FFF2-40B4-BE49-F238E27FC236}">
                      <a16:creationId xmlns:a16="http://schemas.microsoft.com/office/drawing/2014/main" id="{56CF18CD-34B7-4BA8-B444-16831872D565}"/>
                    </a:ext>
                  </a:extLst>
                </p:cNvPr>
                <p:cNvSpPr/>
                <p:nvPr/>
              </p:nvSpPr>
              <p:spPr>
                <a:xfrm>
                  <a:off x="6497655" y="1536787"/>
                  <a:ext cx="11722" cy="9329"/>
                </a:xfrm>
                <a:custGeom>
                  <a:avLst/>
                  <a:gdLst>
                    <a:gd name="connsiteX0" fmla="*/ 0 w 11722"/>
                    <a:gd name="connsiteY0" fmla="*/ 9330 h 9329"/>
                    <a:gd name="connsiteX1" fmla="*/ 1615 w 11722"/>
                    <a:gd name="connsiteY1" fmla="*/ 6519 h 9329"/>
                    <a:gd name="connsiteX2" fmla="*/ 3230 w 11722"/>
                    <a:gd name="connsiteY2" fmla="*/ 3708 h 9329"/>
                    <a:gd name="connsiteX3" fmla="*/ 4545 w 11722"/>
                    <a:gd name="connsiteY3" fmla="*/ 1435 h 9329"/>
                    <a:gd name="connsiteX4" fmla="*/ 7536 w 11722"/>
                    <a:gd name="connsiteY4" fmla="*/ 538 h 9329"/>
                    <a:gd name="connsiteX5" fmla="*/ 9211 w 11722"/>
                    <a:gd name="connsiteY5" fmla="*/ 0 h 9329"/>
                    <a:gd name="connsiteX6" fmla="*/ 11722 w 11722"/>
                    <a:gd name="connsiteY6" fmla="*/ 419 h 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22" h="9329">
                      <a:moveTo>
                        <a:pt x="0" y="9330"/>
                      </a:moveTo>
                      <a:lnTo>
                        <a:pt x="1615" y="6519"/>
                      </a:lnTo>
                      <a:lnTo>
                        <a:pt x="3230" y="3708"/>
                      </a:lnTo>
                      <a:lnTo>
                        <a:pt x="4545" y="1435"/>
                      </a:lnTo>
                      <a:lnTo>
                        <a:pt x="7536" y="538"/>
                      </a:lnTo>
                      <a:lnTo>
                        <a:pt x="9211" y="0"/>
                      </a:lnTo>
                      <a:lnTo>
                        <a:pt x="11722" y="419"/>
                      </a:lnTo>
                    </a:path>
                  </a:pathLst>
                </a:custGeom>
                <a:noFill/>
                <a:ln w="6350" cap="rnd">
                  <a:solidFill>
                    <a:schemeClr val="bg1">
                      <a:alpha val="40000"/>
                    </a:schemeClr>
                  </a:solidFill>
                  <a:prstDash val="solid"/>
                  <a:round/>
                </a:ln>
              </p:spPr>
              <p:txBody>
                <a:bodyPr rtlCol="0" anchor="ctr"/>
                <a:lstStyle/>
                <a:p>
                  <a:endParaRPr lang="en-GB"/>
                </a:p>
              </p:txBody>
            </p:sp>
            <p:sp>
              <p:nvSpPr>
                <p:cNvPr id="5805" name="Vrije vorm: vorm 5804">
                  <a:extLst>
                    <a:ext uri="{FF2B5EF4-FFF2-40B4-BE49-F238E27FC236}">
                      <a16:creationId xmlns:a16="http://schemas.microsoft.com/office/drawing/2014/main" id="{045B3E7F-DCC5-48F1-BD31-26D8147BF916}"/>
                    </a:ext>
                  </a:extLst>
                </p:cNvPr>
                <p:cNvSpPr/>
                <p:nvPr/>
              </p:nvSpPr>
              <p:spPr>
                <a:xfrm>
                  <a:off x="6535334" y="1840009"/>
                  <a:ext cx="7715" cy="3050"/>
                </a:xfrm>
                <a:custGeom>
                  <a:avLst/>
                  <a:gdLst>
                    <a:gd name="connsiteX0" fmla="*/ 0 w 7715"/>
                    <a:gd name="connsiteY0" fmla="*/ 0 h 3050"/>
                    <a:gd name="connsiteX1" fmla="*/ 2751 w 7715"/>
                    <a:gd name="connsiteY1" fmla="*/ 1077 h 3050"/>
                    <a:gd name="connsiteX2" fmla="*/ 5502 w 7715"/>
                    <a:gd name="connsiteY2" fmla="*/ 2153 h 3050"/>
                    <a:gd name="connsiteX3" fmla="*/ 7715 w 7715"/>
                    <a:gd name="connsiteY3" fmla="*/ 3050 h 3050"/>
                  </a:gdLst>
                  <a:ahLst/>
                  <a:cxnLst>
                    <a:cxn ang="0">
                      <a:pos x="connsiteX0" y="connsiteY0"/>
                    </a:cxn>
                    <a:cxn ang="0">
                      <a:pos x="connsiteX1" y="connsiteY1"/>
                    </a:cxn>
                    <a:cxn ang="0">
                      <a:pos x="connsiteX2" y="connsiteY2"/>
                    </a:cxn>
                    <a:cxn ang="0">
                      <a:pos x="connsiteX3" y="connsiteY3"/>
                    </a:cxn>
                  </a:cxnLst>
                  <a:rect l="l" t="t" r="r" b="b"/>
                  <a:pathLst>
                    <a:path w="7715" h="3050">
                      <a:moveTo>
                        <a:pt x="0" y="0"/>
                      </a:moveTo>
                      <a:lnTo>
                        <a:pt x="2751" y="1077"/>
                      </a:lnTo>
                      <a:lnTo>
                        <a:pt x="5502" y="2153"/>
                      </a:lnTo>
                      <a:lnTo>
                        <a:pt x="7715" y="3050"/>
                      </a:lnTo>
                    </a:path>
                  </a:pathLst>
                </a:custGeom>
                <a:noFill/>
                <a:ln w="6350" cap="rnd">
                  <a:solidFill>
                    <a:schemeClr val="bg1">
                      <a:alpha val="40000"/>
                    </a:schemeClr>
                  </a:solidFill>
                  <a:prstDash val="solid"/>
                  <a:round/>
                </a:ln>
              </p:spPr>
              <p:txBody>
                <a:bodyPr rtlCol="0" anchor="ctr"/>
                <a:lstStyle/>
                <a:p>
                  <a:endParaRPr lang="en-GB"/>
                </a:p>
              </p:txBody>
            </p:sp>
            <p:sp>
              <p:nvSpPr>
                <p:cNvPr id="5806" name="Vrije vorm: vorm 5805">
                  <a:extLst>
                    <a:ext uri="{FF2B5EF4-FFF2-40B4-BE49-F238E27FC236}">
                      <a16:creationId xmlns:a16="http://schemas.microsoft.com/office/drawing/2014/main" id="{9E66C859-6226-4190-9CEB-9C244173693E}"/>
                    </a:ext>
                  </a:extLst>
                </p:cNvPr>
                <p:cNvSpPr/>
                <p:nvPr/>
              </p:nvSpPr>
              <p:spPr>
                <a:xfrm>
                  <a:off x="6648609" y="1638100"/>
                  <a:ext cx="299" cy="478"/>
                </a:xfrm>
                <a:custGeom>
                  <a:avLst/>
                  <a:gdLst>
                    <a:gd name="connsiteX0" fmla="*/ 0 w 299"/>
                    <a:gd name="connsiteY0" fmla="*/ 478 h 478"/>
                    <a:gd name="connsiteX1" fmla="*/ 299 w 299"/>
                    <a:gd name="connsiteY1" fmla="*/ 0 h 478"/>
                    <a:gd name="connsiteX2" fmla="*/ 299 w 299"/>
                    <a:gd name="connsiteY2" fmla="*/ 0 h 478"/>
                  </a:gdLst>
                  <a:ahLst/>
                  <a:cxnLst>
                    <a:cxn ang="0">
                      <a:pos x="connsiteX0" y="connsiteY0"/>
                    </a:cxn>
                    <a:cxn ang="0">
                      <a:pos x="connsiteX1" y="connsiteY1"/>
                    </a:cxn>
                    <a:cxn ang="0">
                      <a:pos x="connsiteX2" y="connsiteY2"/>
                    </a:cxn>
                  </a:cxnLst>
                  <a:rect l="l" t="t" r="r" b="b"/>
                  <a:pathLst>
                    <a:path w="299" h="478">
                      <a:moveTo>
                        <a:pt x="0" y="478"/>
                      </a:moveTo>
                      <a:lnTo>
                        <a:pt x="299" y="0"/>
                      </a:lnTo>
                      <a:lnTo>
                        <a:pt x="299" y="0"/>
                      </a:lnTo>
                    </a:path>
                  </a:pathLst>
                </a:custGeom>
                <a:noFill/>
                <a:ln w="6350" cap="rnd">
                  <a:solidFill>
                    <a:schemeClr val="bg1">
                      <a:alpha val="40000"/>
                    </a:schemeClr>
                  </a:solidFill>
                  <a:prstDash val="solid"/>
                  <a:round/>
                </a:ln>
              </p:spPr>
              <p:txBody>
                <a:bodyPr rtlCol="0" anchor="ctr"/>
                <a:lstStyle/>
                <a:p>
                  <a:endParaRPr lang="en-GB"/>
                </a:p>
              </p:txBody>
            </p:sp>
            <p:sp>
              <p:nvSpPr>
                <p:cNvPr id="5807" name="Vrije vorm: vorm 5806">
                  <a:extLst>
                    <a:ext uri="{FF2B5EF4-FFF2-40B4-BE49-F238E27FC236}">
                      <a16:creationId xmlns:a16="http://schemas.microsoft.com/office/drawing/2014/main" id="{81C7335D-F057-4EC8-89F6-A87F88CC7D2B}"/>
                    </a:ext>
                  </a:extLst>
                </p:cNvPr>
                <p:cNvSpPr/>
                <p:nvPr/>
              </p:nvSpPr>
              <p:spPr>
                <a:xfrm>
                  <a:off x="6672531" y="1589776"/>
                  <a:ext cx="3648" cy="6100"/>
                </a:xfrm>
                <a:custGeom>
                  <a:avLst/>
                  <a:gdLst>
                    <a:gd name="connsiteX0" fmla="*/ 0 w 3648"/>
                    <a:gd name="connsiteY0" fmla="*/ 6100 h 6100"/>
                    <a:gd name="connsiteX1" fmla="*/ 1675 w 3648"/>
                    <a:gd name="connsiteY1" fmla="*/ 3289 h 6100"/>
                    <a:gd name="connsiteX2" fmla="*/ 3230 w 3648"/>
                    <a:gd name="connsiteY2" fmla="*/ 718 h 6100"/>
                    <a:gd name="connsiteX3" fmla="*/ 3649 w 3648"/>
                    <a:gd name="connsiteY3" fmla="*/ 0 h 6100"/>
                  </a:gdLst>
                  <a:ahLst/>
                  <a:cxnLst>
                    <a:cxn ang="0">
                      <a:pos x="connsiteX0" y="connsiteY0"/>
                    </a:cxn>
                    <a:cxn ang="0">
                      <a:pos x="connsiteX1" y="connsiteY1"/>
                    </a:cxn>
                    <a:cxn ang="0">
                      <a:pos x="connsiteX2" y="connsiteY2"/>
                    </a:cxn>
                    <a:cxn ang="0">
                      <a:pos x="connsiteX3" y="connsiteY3"/>
                    </a:cxn>
                  </a:cxnLst>
                  <a:rect l="l" t="t" r="r" b="b"/>
                  <a:pathLst>
                    <a:path w="3648" h="6100">
                      <a:moveTo>
                        <a:pt x="0" y="6100"/>
                      </a:moveTo>
                      <a:lnTo>
                        <a:pt x="1675" y="3289"/>
                      </a:lnTo>
                      <a:lnTo>
                        <a:pt x="3230" y="718"/>
                      </a:lnTo>
                      <a:lnTo>
                        <a:pt x="3649" y="0"/>
                      </a:lnTo>
                    </a:path>
                  </a:pathLst>
                </a:custGeom>
                <a:noFill/>
                <a:ln w="6350" cap="rnd">
                  <a:solidFill>
                    <a:schemeClr val="bg1">
                      <a:alpha val="40000"/>
                    </a:schemeClr>
                  </a:solidFill>
                  <a:prstDash val="solid"/>
                  <a:round/>
                </a:ln>
              </p:spPr>
              <p:txBody>
                <a:bodyPr rtlCol="0" anchor="ctr"/>
                <a:lstStyle/>
                <a:p>
                  <a:endParaRPr lang="en-GB"/>
                </a:p>
              </p:txBody>
            </p:sp>
            <p:sp>
              <p:nvSpPr>
                <p:cNvPr id="5808" name="Vrije vorm: vorm 5807">
                  <a:extLst>
                    <a:ext uri="{FF2B5EF4-FFF2-40B4-BE49-F238E27FC236}">
                      <a16:creationId xmlns:a16="http://schemas.microsoft.com/office/drawing/2014/main" id="{297B4A09-7382-4B06-BD0A-EC30BEA0C203}"/>
                    </a:ext>
                  </a:extLst>
                </p:cNvPr>
                <p:cNvSpPr/>
                <p:nvPr/>
              </p:nvSpPr>
              <p:spPr>
                <a:xfrm>
                  <a:off x="6667209" y="1592826"/>
                  <a:ext cx="717" cy="4605"/>
                </a:xfrm>
                <a:custGeom>
                  <a:avLst/>
                  <a:gdLst>
                    <a:gd name="connsiteX0" fmla="*/ 718 w 717"/>
                    <a:gd name="connsiteY0" fmla="*/ 4605 h 4605"/>
                    <a:gd name="connsiteX1" fmla="*/ 239 w 717"/>
                    <a:gd name="connsiteY1" fmla="*/ 1495 h 4605"/>
                    <a:gd name="connsiteX2" fmla="*/ 179 w 717"/>
                    <a:gd name="connsiteY2" fmla="*/ 1196 h 4605"/>
                    <a:gd name="connsiteX3" fmla="*/ 0 w 717"/>
                    <a:gd name="connsiteY3" fmla="*/ 0 h 4605"/>
                  </a:gdLst>
                  <a:ahLst/>
                  <a:cxnLst>
                    <a:cxn ang="0">
                      <a:pos x="connsiteX0" y="connsiteY0"/>
                    </a:cxn>
                    <a:cxn ang="0">
                      <a:pos x="connsiteX1" y="connsiteY1"/>
                    </a:cxn>
                    <a:cxn ang="0">
                      <a:pos x="connsiteX2" y="connsiteY2"/>
                    </a:cxn>
                    <a:cxn ang="0">
                      <a:pos x="connsiteX3" y="connsiteY3"/>
                    </a:cxn>
                  </a:cxnLst>
                  <a:rect l="l" t="t" r="r" b="b"/>
                  <a:pathLst>
                    <a:path w="717" h="4605">
                      <a:moveTo>
                        <a:pt x="718" y="4605"/>
                      </a:moveTo>
                      <a:lnTo>
                        <a:pt x="239" y="1495"/>
                      </a:lnTo>
                      <a:lnTo>
                        <a:pt x="179" y="1196"/>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09" name="Vrije vorm: vorm 5808">
                  <a:extLst>
                    <a:ext uri="{FF2B5EF4-FFF2-40B4-BE49-F238E27FC236}">
                      <a16:creationId xmlns:a16="http://schemas.microsoft.com/office/drawing/2014/main" id="{753B5FEB-7869-4A1E-9733-3C6C1DAE875A}"/>
                    </a:ext>
                  </a:extLst>
                </p:cNvPr>
                <p:cNvSpPr/>
                <p:nvPr/>
              </p:nvSpPr>
              <p:spPr>
                <a:xfrm>
                  <a:off x="6532882" y="1790728"/>
                  <a:ext cx="6459" cy="2990"/>
                </a:xfrm>
                <a:custGeom>
                  <a:avLst/>
                  <a:gdLst>
                    <a:gd name="connsiteX0" fmla="*/ 0 w 6459"/>
                    <a:gd name="connsiteY0" fmla="*/ 0 h 2990"/>
                    <a:gd name="connsiteX1" fmla="*/ 2691 w 6459"/>
                    <a:gd name="connsiteY1" fmla="*/ 1256 h 2990"/>
                    <a:gd name="connsiteX2" fmla="*/ 5383 w 6459"/>
                    <a:gd name="connsiteY2" fmla="*/ 2512 h 2990"/>
                    <a:gd name="connsiteX3" fmla="*/ 6459 w 6459"/>
                    <a:gd name="connsiteY3" fmla="*/ 2990 h 2990"/>
                  </a:gdLst>
                  <a:ahLst/>
                  <a:cxnLst>
                    <a:cxn ang="0">
                      <a:pos x="connsiteX0" y="connsiteY0"/>
                    </a:cxn>
                    <a:cxn ang="0">
                      <a:pos x="connsiteX1" y="connsiteY1"/>
                    </a:cxn>
                    <a:cxn ang="0">
                      <a:pos x="connsiteX2" y="connsiteY2"/>
                    </a:cxn>
                    <a:cxn ang="0">
                      <a:pos x="connsiteX3" y="connsiteY3"/>
                    </a:cxn>
                  </a:cxnLst>
                  <a:rect l="l" t="t" r="r" b="b"/>
                  <a:pathLst>
                    <a:path w="6459" h="2990">
                      <a:moveTo>
                        <a:pt x="0" y="0"/>
                      </a:moveTo>
                      <a:lnTo>
                        <a:pt x="2691" y="1256"/>
                      </a:lnTo>
                      <a:lnTo>
                        <a:pt x="5383" y="2512"/>
                      </a:lnTo>
                      <a:lnTo>
                        <a:pt x="6459" y="2990"/>
                      </a:lnTo>
                    </a:path>
                  </a:pathLst>
                </a:custGeom>
                <a:noFill/>
                <a:ln w="6350" cap="rnd">
                  <a:solidFill>
                    <a:schemeClr val="bg1">
                      <a:alpha val="40000"/>
                    </a:schemeClr>
                  </a:solidFill>
                  <a:prstDash val="solid"/>
                  <a:round/>
                </a:ln>
              </p:spPr>
              <p:txBody>
                <a:bodyPr rtlCol="0" anchor="ctr"/>
                <a:lstStyle/>
                <a:p>
                  <a:endParaRPr lang="en-GB"/>
                </a:p>
              </p:txBody>
            </p:sp>
            <p:sp>
              <p:nvSpPr>
                <p:cNvPr id="5810" name="Vrije vorm: vorm 5809">
                  <a:extLst>
                    <a:ext uri="{FF2B5EF4-FFF2-40B4-BE49-F238E27FC236}">
                      <a16:creationId xmlns:a16="http://schemas.microsoft.com/office/drawing/2014/main" id="{C5326396-F0AC-428C-BCE8-C71D1555A68C}"/>
                    </a:ext>
                  </a:extLst>
                </p:cNvPr>
                <p:cNvSpPr/>
                <p:nvPr/>
              </p:nvSpPr>
              <p:spPr>
                <a:xfrm>
                  <a:off x="6462309" y="1850894"/>
                  <a:ext cx="59" cy="119"/>
                </a:xfrm>
                <a:custGeom>
                  <a:avLst/>
                  <a:gdLst>
                    <a:gd name="connsiteX0" fmla="*/ 0 w 59"/>
                    <a:gd name="connsiteY0" fmla="*/ 120 h 119"/>
                    <a:gd name="connsiteX1" fmla="*/ 60 w 59"/>
                    <a:gd name="connsiteY1" fmla="*/ 0 h 119"/>
                  </a:gdLst>
                  <a:ahLst/>
                  <a:cxnLst>
                    <a:cxn ang="0">
                      <a:pos x="connsiteX0" y="connsiteY0"/>
                    </a:cxn>
                    <a:cxn ang="0">
                      <a:pos x="connsiteX1" y="connsiteY1"/>
                    </a:cxn>
                  </a:cxnLst>
                  <a:rect l="l" t="t" r="r" b="b"/>
                  <a:pathLst>
                    <a:path w="59" h="119">
                      <a:moveTo>
                        <a:pt x="0" y="120"/>
                      </a:moveTo>
                      <a:lnTo>
                        <a:pt x="60" y="0"/>
                      </a:lnTo>
                    </a:path>
                  </a:pathLst>
                </a:custGeom>
                <a:noFill/>
                <a:ln w="6350" cap="rnd">
                  <a:solidFill>
                    <a:schemeClr val="bg1">
                      <a:alpha val="40000"/>
                    </a:schemeClr>
                  </a:solidFill>
                  <a:prstDash val="solid"/>
                  <a:round/>
                </a:ln>
              </p:spPr>
              <p:txBody>
                <a:bodyPr rtlCol="0" anchor="ctr"/>
                <a:lstStyle/>
                <a:p>
                  <a:endParaRPr lang="en-GB"/>
                </a:p>
              </p:txBody>
            </p:sp>
            <p:sp>
              <p:nvSpPr>
                <p:cNvPr id="5811" name="Vrije vorm: vorm 5810">
                  <a:extLst>
                    <a:ext uri="{FF2B5EF4-FFF2-40B4-BE49-F238E27FC236}">
                      <a16:creationId xmlns:a16="http://schemas.microsoft.com/office/drawing/2014/main" id="{B6983A5E-2C49-4BC0-AF65-08818C472434}"/>
                    </a:ext>
                  </a:extLst>
                </p:cNvPr>
                <p:cNvSpPr/>
                <p:nvPr/>
              </p:nvSpPr>
              <p:spPr>
                <a:xfrm>
                  <a:off x="6449092" y="1842282"/>
                  <a:ext cx="59" cy="119"/>
                </a:xfrm>
                <a:custGeom>
                  <a:avLst/>
                  <a:gdLst>
                    <a:gd name="connsiteX0" fmla="*/ 0 w 59"/>
                    <a:gd name="connsiteY0" fmla="*/ 120 h 119"/>
                    <a:gd name="connsiteX1" fmla="*/ 60 w 59"/>
                    <a:gd name="connsiteY1" fmla="*/ 0 h 119"/>
                  </a:gdLst>
                  <a:ahLst/>
                  <a:cxnLst>
                    <a:cxn ang="0">
                      <a:pos x="connsiteX0" y="connsiteY0"/>
                    </a:cxn>
                    <a:cxn ang="0">
                      <a:pos x="connsiteX1" y="connsiteY1"/>
                    </a:cxn>
                  </a:cxnLst>
                  <a:rect l="l" t="t" r="r" b="b"/>
                  <a:pathLst>
                    <a:path w="59" h="119">
                      <a:moveTo>
                        <a:pt x="0" y="120"/>
                      </a:moveTo>
                      <a:lnTo>
                        <a:pt x="60" y="0"/>
                      </a:lnTo>
                    </a:path>
                  </a:pathLst>
                </a:custGeom>
                <a:noFill/>
                <a:ln w="6350" cap="rnd">
                  <a:solidFill>
                    <a:schemeClr val="bg1">
                      <a:alpha val="40000"/>
                    </a:schemeClr>
                  </a:solidFill>
                  <a:prstDash val="solid"/>
                  <a:round/>
                </a:ln>
              </p:spPr>
              <p:txBody>
                <a:bodyPr rtlCol="0" anchor="ctr"/>
                <a:lstStyle/>
                <a:p>
                  <a:endParaRPr lang="en-GB"/>
                </a:p>
              </p:txBody>
            </p:sp>
            <p:sp>
              <p:nvSpPr>
                <p:cNvPr id="5812" name="Vrije vorm: vorm 5811">
                  <a:extLst>
                    <a:ext uri="{FF2B5EF4-FFF2-40B4-BE49-F238E27FC236}">
                      <a16:creationId xmlns:a16="http://schemas.microsoft.com/office/drawing/2014/main" id="{9B754B84-A735-4DBB-B0B7-5827E651C147}"/>
                    </a:ext>
                  </a:extLst>
                </p:cNvPr>
                <p:cNvSpPr/>
                <p:nvPr/>
              </p:nvSpPr>
              <p:spPr>
                <a:xfrm>
                  <a:off x="6536530" y="1690551"/>
                  <a:ext cx="3528" cy="12798"/>
                </a:xfrm>
                <a:custGeom>
                  <a:avLst/>
                  <a:gdLst>
                    <a:gd name="connsiteX0" fmla="*/ 3529 w 3528"/>
                    <a:gd name="connsiteY0" fmla="*/ 12799 h 12798"/>
                    <a:gd name="connsiteX1" fmla="*/ 2691 w 3528"/>
                    <a:gd name="connsiteY1" fmla="*/ 9808 h 12798"/>
                    <a:gd name="connsiteX2" fmla="*/ 2572 w 3528"/>
                    <a:gd name="connsiteY2" fmla="*/ 9330 h 12798"/>
                    <a:gd name="connsiteX3" fmla="*/ 1735 w 3528"/>
                    <a:gd name="connsiteY3" fmla="*/ 6340 h 12798"/>
                    <a:gd name="connsiteX4" fmla="*/ 897 w 3528"/>
                    <a:gd name="connsiteY4" fmla="*/ 3349 h 12798"/>
                    <a:gd name="connsiteX5" fmla="*/ 658 w 3528"/>
                    <a:gd name="connsiteY5" fmla="*/ 2392 h 12798"/>
                    <a:gd name="connsiteX6" fmla="*/ 120 w 3528"/>
                    <a:gd name="connsiteY6" fmla="*/ 359 h 12798"/>
                    <a:gd name="connsiteX7" fmla="*/ 0 w 3528"/>
                    <a:gd name="connsiteY7" fmla="*/ 0 h 1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 h="12798">
                      <a:moveTo>
                        <a:pt x="3529" y="12799"/>
                      </a:moveTo>
                      <a:lnTo>
                        <a:pt x="2691" y="9808"/>
                      </a:lnTo>
                      <a:lnTo>
                        <a:pt x="2572" y="9330"/>
                      </a:lnTo>
                      <a:lnTo>
                        <a:pt x="1735" y="6340"/>
                      </a:lnTo>
                      <a:lnTo>
                        <a:pt x="897" y="3349"/>
                      </a:lnTo>
                      <a:lnTo>
                        <a:pt x="658" y="2392"/>
                      </a:lnTo>
                      <a:lnTo>
                        <a:pt x="120" y="35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13" name="Vrije vorm: vorm 5812">
                  <a:extLst>
                    <a:ext uri="{FF2B5EF4-FFF2-40B4-BE49-F238E27FC236}">
                      <a16:creationId xmlns:a16="http://schemas.microsoft.com/office/drawing/2014/main" id="{6A1E9697-4377-434F-8AB0-4373E0ACA088}"/>
                    </a:ext>
                  </a:extLst>
                </p:cNvPr>
                <p:cNvSpPr/>
                <p:nvPr/>
              </p:nvSpPr>
              <p:spPr>
                <a:xfrm>
                  <a:off x="6473254" y="181160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14" name="Vrije vorm: vorm 5813">
                  <a:extLst>
                    <a:ext uri="{FF2B5EF4-FFF2-40B4-BE49-F238E27FC236}">
                      <a16:creationId xmlns:a16="http://schemas.microsoft.com/office/drawing/2014/main" id="{63624908-7F5A-40BB-B731-B2E691AE4F09}"/>
                    </a:ext>
                  </a:extLst>
                </p:cNvPr>
                <p:cNvSpPr/>
                <p:nvPr/>
              </p:nvSpPr>
              <p:spPr>
                <a:xfrm>
                  <a:off x="6522954" y="1707656"/>
                  <a:ext cx="3827" cy="358"/>
                </a:xfrm>
                <a:custGeom>
                  <a:avLst/>
                  <a:gdLst>
                    <a:gd name="connsiteX0" fmla="*/ 0 w 3827"/>
                    <a:gd name="connsiteY0" fmla="*/ 359 h 358"/>
                    <a:gd name="connsiteX1" fmla="*/ 3050 w 3827"/>
                    <a:gd name="connsiteY1" fmla="*/ 60 h 358"/>
                    <a:gd name="connsiteX2" fmla="*/ 3827 w 3827"/>
                    <a:gd name="connsiteY2" fmla="*/ 0 h 358"/>
                  </a:gdLst>
                  <a:ahLst/>
                  <a:cxnLst>
                    <a:cxn ang="0">
                      <a:pos x="connsiteX0" y="connsiteY0"/>
                    </a:cxn>
                    <a:cxn ang="0">
                      <a:pos x="connsiteX1" y="connsiteY1"/>
                    </a:cxn>
                    <a:cxn ang="0">
                      <a:pos x="connsiteX2" y="connsiteY2"/>
                    </a:cxn>
                  </a:cxnLst>
                  <a:rect l="l" t="t" r="r" b="b"/>
                  <a:pathLst>
                    <a:path w="3827" h="358">
                      <a:moveTo>
                        <a:pt x="0" y="359"/>
                      </a:moveTo>
                      <a:lnTo>
                        <a:pt x="3050" y="60"/>
                      </a:lnTo>
                      <a:lnTo>
                        <a:pt x="3827" y="0"/>
                      </a:lnTo>
                    </a:path>
                  </a:pathLst>
                </a:custGeom>
                <a:noFill/>
                <a:ln w="6350" cap="rnd">
                  <a:solidFill>
                    <a:schemeClr val="bg1">
                      <a:alpha val="40000"/>
                    </a:schemeClr>
                  </a:solidFill>
                  <a:prstDash val="solid"/>
                  <a:round/>
                </a:ln>
              </p:spPr>
              <p:txBody>
                <a:bodyPr rtlCol="0" anchor="ctr"/>
                <a:lstStyle/>
                <a:p>
                  <a:endParaRPr lang="en-GB"/>
                </a:p>
              </p:txBody>
            </p:sp>
            <p:sp>
              <p:nvSpPr>
                <p:cNvPr id="5815" name="Vrije vorm: vorm 5814">
                  <a:extLst>
                    <a:ext uri="{FF2B5EF4-FFF2-40B4-BE49-F238E27FC236}">
                      <a16:creationId xmlns:a16="http://schemas.microsoft.com/office/drawing/2014/main" id="{FC83784E-655D-4F34-8163-0F905C6AF62F}"/>
                    </a:ext>
                  </a:extLst>
                </p:cNvPr>
                <p:cNvSpPr/>
                <p:nvPr/>
              </p:nvSpPr>
              <p:spPr>
                <a:xfrm>
                  <a:off x="6485156" y="1738755"/>
                  <a:ext cx="1076" cy="1136"/>
                </a:xfrm>
                <a:custGeom>
                  <a:avLst/>
                  <a:gdLst>
                    <a:gd name="connsiteX0" fmla="*/ 0 w 1076"/>
                    <a:gd name="connsiteY0" fmla="*/ 1136 h 1136"/>
                    <a:gd name="connsiteX1" fmla="*/ 837 w 1076"/>
                    <a:gd name="connsiteY1" fmla="*/ 239 h 1136"/>
                    <a:gd name="connsiteX2" fmla="*/ 1076 w 1076"/>
                    <a:gd name="connsiteY2" fmla="*/ 0 h 1136"/>
                  </a:gdLst>
                  <a:ahLst/>
                  <a:cxnLst>
                    <a:cxn ang="0">
                      <a:pos x="connsiteX0" y="connsiteY0"/>
                    </a:cxn>
                    <a:cxn ang="0">
                      <a:pos x="connsiteX1" y="connsiteY1"/>
                    </a:cxn>
                    <a:cxn ang="0">
                      <a:pos x="connsiteX2" y="connsiteY2"/>
                    </a:cxn>
                  </a:cxnLst>
                  <a:rect l="l" t="t" r="r" b="b"/>
                  <a:pathLst>
                    <a:path w="1076" h="1136">
                      <a:moveTo>
                        <a:pt x="0" y="1136"/>
                      </a:moveTo>
                      <a:lnTo>
                        <a:pt x="837" y="239"/>
                      </a:lnTo>
                      <a:lnTo>
                        <a:pt x="1076" y="0"/>
                      </a:lnTo>
                    </a:path>
                  </a:pathLst>
                </a:custGeom>
                <a:noFill/>
                <a:ln w="6350" cap="rnd">
                  <a:solidFill>
                    <a:schemeClr val="bg1">
                      <a:alpha val="40000"/>
                    </a:schemeClr>
                  </a:solidFill>
                  <a:prstDash val="solid"/>
                  <a:round/>
                </a:ln>
              </p:spPr>
              <p:txBody>
                <a:bodyPr rtlCol="0" anchor="ctr"/>
                <a:lstStyle/>
                <a:p>
                  <a:endParaRPr lang="en-GB"/>
                </a:p>
              </p:txBody>
            </p:sp>
            <p:sp>
              <p:nvSpPr>
                <p:cNvPr id="5816" name="Vrije vorm: vorm 5815">
                  <a:extLst>
                    <a:ext uri="{FF2B5EF4-FFF2-40B4-BE49-F238E27FC236}">
                      <a16:creationId xmlns:a16="http://schemas.microsoft.com/office/drawing/2014/main" id="{C1501D9C-09C2-4974-AD81-633B8C51E216}"/>
                    </a:ext>
                  </a:extLst>
                </p:cNvPr>
                <p:cNvSpPr/>
                <p:nvPr/>
              </p:nvSpPr>
              <p:spPr>
                <a:xfrm>
                  <a:off x="6481208" y="1736901"/>
                  <a:ext cx="478" cy="239"/>
                </a:xfrm>
                <a:custGeom>
                  <a:avLst/>
                  <a:gdLst>
                    <a:gd name="connsiteX0" fmla="*/ 479 w 478"/>
                    <a:gd name="connsiteY0" fmla="*/ 239 h 239"/>
                    <a:gd name="connsiteX1" fmla="*/ 0 w 478"/>
                    <a:gd name="connsiteY1" fmla="*/ 0 h 239"/>
                  </a:gdLst>
                  <a:ahLst/>
                  <a:cxnLst>
                    <a:cxn ang="0">
                      <a:pos x="connsiteX0" y="connsiteY0"/>
                    </a:cxn>
                    <a:cxn ang="0">
                      <a:pos x="connsiteX1" y="connsiteY1"/>
                    </a:cxn>
                  </a:cxnLst>
                  <a:rect l="l" t="t" r="r" b="b"/>
                  <a:pathLst>
                    <a:path w="478" h="239">
                      <a:moveTo>
                        <a:pt x="479" y="239"/>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17" name="Vrije vorm: vorm 5816">
                  <a:extLst>
                    <a:ext uri="{FF2B5EF4-FFF2-40B4-BE49-F238E27FC236}">
                      <a16:creationId xmlns:a16="http://schemas.microsoft.com/office/drawing/2014/main" id="{1B8178EC-3E71-4E25-B0ED-1CD7BDE8EC01}"/>
                    </a:ext>
                  </a:extLst>
                </p:cNvPr>
                <p:cNvSpPr/>
                <p:nvPr/>
              </p:nvSpPr>
              <p:spPr>
                <a:xfrm>
                  <a:off x="6498014" y="1704725"/>
                  <a:ext cx="418" cy="418"/>
                </a:xfrm>
                <a:custGeom>
                  <a:avLst/>
                  <a:gdLst>
                    <a:gd name="connsiteX0" fmla="*/ 419 w 418"/>
                    <a:gd name="connsiteY0" fmla="*/ 0 h 418"/>
                    <a:gd name="connsiteX1" fmla="*/ 0 w 418"/>
                    <a:gd name="connsiteY1" fmla="*/ 419 h 418"/>
                  </a:gdLst>
                  <a:ahLst/>
                  <a:cxnLst>
                    <a:cxn ang="0">
                      <a:pos x="connsiteX0" y="connsiteY0"/>
                    </a:cxn>
                    <a:cxn ang="0">
                      <a:pos x="connsiteX1" y="connsiteY1"/>
                    </a:cxn>
                  </a:cxnLst>
                  <a:rect l="l" t="t" r="r" b="b"/>
                  <a:pathLst>
                    <a:path w="418" h="418">
                      <a:moveTo>
                        <a:pt x="419" y="0"/>
                      </a:moveTo>
                      <a:lnTo>
                        <a:pt x="0" y="419"/>
                      </a:lnTo>
                    </a:path>
                  </a:pathLst>
                </a:custGeom>
                <a:noFill/>
                <a:ln w="6350" cap="rnd">
                  <a:solidFill>
                    <a:schemeClr val="bg1">
                      <a:alpha val="40000"/>
                    </a:schemeClr>
                  </a:solidFill>
                  <a:prstDash val="solid"/>
                  <a:round/>
                </a:ln>
              </p:spPr>
              <p:txBody>
                <a:bodyPr rtlCol="0" anchor="ctr"/>
                <a:lstStyle/>
                <a:p>
                  <a:endParaRPr lang="en-GB"/>
                </a:p>
              </p:txBody>
            </p:sp>
            <p:sp>
              <p:nvSpPr>
                <p:cNvPr id="5818" name="Vrije vorm: vorm 5817">
                  <a:extLst>
                    <a:ext uri="{FF2B5EF4-FFF2-40B4-BE49-F238E27FC236}">
                      <a16:creationId xmlns:a16="http://schemas.microsoft.com/office/drawing/2014/main" id="{D4A5D416-C924-44D0-A2A5-4F496613A781}"/>
                    </a:ext>
                  </a:extLst>
                </p:cNvPr>
                <p:cNvSpPr/>
                <p:nvPr/>
              </p:nvSpPr>
              <p:spPr>
                <a:xfrm>
                  <a:off x="6498074" y="1706759"/>
                  <a:ext cx="119" cy="1435"/>
                </a:xfrm>
                <a:custGeom>
                  <a:avLst/>
                  <a:gdLst>
                    <a:gd name="connsiteX0" fmla="*/ 120 w 119"/>
                    <a:gd name="connsiteY0" fmla="*/ 1435 h 1435"/>
                    <a:gd name="connsiteX1" fmla="*/ 0 w 119"/>
                    <a:gd name="connsiteY1" fmla="*/ 120 h 1435"/>
                    <a:gd name="connsiteX2" fmla="*/ 0 w 119"/>
                    <a:gd name="connsiteY2" fmla="*/ 0 h 1435"/>
                  </a:gdLst>
                  <a:ahLst/>
                  <a:cxnLst>
                    <a:cxn ang="0">
                      <a:pos x="connsiteX0" y="connsiteY0"/>
                    </a:cxn>
                    <a:cxn ang="0">
                      <a:pos x="connsiteX1" y="connsiteY1"/>
                    </a:cxn>
                    <a:cxn ang="0">
                      <a:pos x="connsiteX2" y="connsiteY2"/>
                    </a:cxn>
                  </a:cxnLst>
                  <a:rect l="l" t="t" r="r" b="b"/>
                  <a:pathLst>
                    <a:path w="119" h="1435">
                      <a:moveTo>
                        <a:pt x="120" y="1435"/>
                      </a:moveTo>
                      <a:lnTo>
                        <a:pt x="0" y="120"/>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19" name="Vrije vorm: vorm 5818">
                  <a:extLst>
                    <a:ext uri="{FF2B5EF4-FFF2-40B4-BE49-F238E27FC236}">
                      <a16:creationId xmlns:a16="http://schemas.microsoft.com/office/drawing/2014/main" id="{EAA79FFD-7D29-4395-8BEC-297CA267F8A9}"/>
                    </a:ext>
                  </a:extLst>
                </p:cNvPr>
                <p:cNvSpPr/>
                <p:nvPr/>
              </p:nvSpPr>
              <p:spPr>
                <a:xfrm>
                  <a:off x="6448314" y="1725598"/>
                  <a:ext cx="4066" cy="9688"/>
                </a:xfrm>
                <a:custGeom>
                  <a:avLst/>
                  <a:gdLst>
                    <a:gd name="connsiteX0" fmla="*/ 4067 w 4066"/>
                    <a:gd name="connsiteY0" fmla="*/ 9689 h 9688"/>
                    <a:gd name="connsiteX1" fmla="*/ 2990 w 4066"/>
                    <a:gd name="connsiteY1" fmla="*/ 7057 h 9688"/>
                    <a:gd name="connsiteX2" fmla="*/ 1795 w 4066"/>
                    <a:gd name="connsiteY2" fmla="*/ 4246 h 9688"/>
                    <a:gd name="connsiteX3" fmla="*/ 1017 w 4066"/>
                    <a:gd name="connsiteY3" fmla="*/ 2392 h 9688"/>
                    <a:gd name="connsiteX4" fmla="*/ 0 w 4066"/>
                    <a:gd name="connsiteY4" fmla="*/ 0 h 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9688">
                      <a:moveTo>
                        <a:pt x="4067" y="9689"/>
                      </a:moveTo>
                      <a:lnTo>
                        <a:pt x="2990" y="7057"/>
                      </a:lnTo>
                      <a:lnTo>
                        <a:pt x="1795" y="4246"/>
                      </a:lnTo>
                      <a:lnTo>
                        <a:pt x="1017" y="2392"/>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20" name="Vrije vorm: vorm 5819">
                  <a:extLst>
                    <a:ext uri="{FF2B5EF4-FFF2-40B4-BE49-F238E27FC236}">
                      <a16:creationId xmlns:a16="http://schemas.microsoft.com/office/drawing/2014/main" id="{3CBC8309-0D06-492C-8C06-DEC8C6E55675}"/>
                    </a:ext>
                  </a:extLst>
                </p:cNvPr>
                <p:cNvSpPr/>
                <p:nvPr/>
              </p:nvSpPr>
              <p:spPr>
                <a:xfrm>
                  <a:off x="6469725" y="1675360"/>
                  <a:ext cx="1973" cy="1136"/>
                </a:xfrm>
                <a:custGeom>
                  <a:avLst/>
                  <a:gdLst>
                    <a:gd name="connsiteX0" fmla="*/ 1974 w 1973"/>
                    <a:gd name="connsiteY0" fmla="*/ 1136 h 1136"/>
                    <a:gd name="connsiteX1" fmla="*/ 1615 w 1973"/>
                    <a:gd name="connsiteY1" fmla="*/ 957 h 1136"/>
                    <a:gd name="connsiteX2" fmla="*/ 897 w 1973"/>
                    <a:gd name="connsiteY2" fmla="*/ 538 h 1136"/>
                    <a:gd name="connsiteX3" fmla="*/ 897 w 1973"/>
                    <a:gd name="connsiteY3" fmla="*/ 538 h 1136"/>
                    <a:gd name="connsiteX4" fmla="*/ 598 w 1973"/>
                    <a:gd name="connsiteY4" fmla="*/ 359 h 1136"/>
                    <a:gd name="connsiteX5" fmla="*/ 538 w 1973"/>
                    <a:gd name="connsiteY5" fmla="*/ 299 h 1136"/>
                    <a:gd name="connsiteX6" fmla="*/ 299 w 1973"/>
                    <a:gd name="connsiteY6" fmla="*/ 179 h 1136"/>
                    <a:gd name="connsiteX7" fmla="*/ 0 w 1973"/>
                    <a:gd name="connsiteY7" fmla="*/ 0 h 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3" h="1136">
                      <a:moveTo>
                        <a:pt x="1974" y="1136"/>
                      </a:moveTo>
                      <a:lnTo>
                        <a:pt x="1615" y="957"/>
                      </a:lnTo>
                      <a:lnTo>
                        <a:pt x="897" y="538"/>
                      </a:lnTo>
                      <a:lnTo>
                        <a:pt x="897" y="538"/>
                      </a:lnTo>
                      <a:lnTo>
                        <a:pt x="598" y="359"/>
                      </a:lnTo>
                      <a:lnTo>
                        <a:pt x="538" y="299"/>
                      </a:lnTo>
                      <a:lnTo>
                        <a:pt x="299" y="17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21" name="Vrije vorm: vorm 5820">
                  <a:extLst>
                    <a:ext uri="{FF2B5EF4-FFF2-40B4-BE49-F238E27FC236}">
                      <a16:creationId xmlns:a16="http://schemas.microsoft.com/office/drawing/2014/main" id="{03D72C81-E778-4357-B711-AAF5624957EB}"/>
                    </a:ext>
                  </a:extLst>
                </p:cNvPr>
                <p:cNvSpPr/>
                <p:nvPr/>
              </p:nvSpPr>
              <p:spPr>
                <a:xfrm>
                  <a:off x="6479115" y="166250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22" name="Vrije vorm: vorm 5821">
                  <a:extLst>
                    <a:ext uri="{FF2B5EF4-FFF2-40B4-BE49-F238E27FC236}">
                      <a16:creationId xmlns:a16="http://schemas.microsoft.com/office/drawing/2014/main" id="{E5C3CF16-0CDF-4C30-9DD9-C5B1EBD18953}"/>
                    </a:ext>
                  </a:extLst>
                </p:cNvPr>
                <p:cNvSpPr/>
                <p:nvPr/>
              </p:nvSpPr>
              <p:spPr>
                <a:xfrm>
                  <a:off x="6471519" y="1667884"/>
                  <a:ext cx="2631" cy="2571"/>
                </a:xfrm>
                <a:custGeom>
                  <a:avLst/>
                  <a:gdLst>
                    <a:gd name="connsiteX0" fmla="*/ 0 w 2631"/>
                    <a:gd name="connsiteY0" fmla="*/ 2572 h 2571"/>
                    <a:gd name="connsiteX1" fmla="*/ 2333 w 2631"/>
                    <a:gd name="connsiteY1" fmla="*/ 299 h 2571"/>
                    <a:gd name="connsiteX2" fmla="*/ 2632 w 2631"/>
                    <a:gd name="connsiteY2" fmla="*/ 0 h 2571"/>
                  </a:gdLst>
                  <a:ahLst/>
                  <a:cxnLst>
                    <a:cxn ang="0">
                      <a:pos x="connsiteX0" y="connsiteY0"/>
                    </a:cxn>
                    <a:cxn ang="0">
                      <a:pos x="connsiteX1" y="connsiteY1"/>
                    </a:cxn>
                    <a:cxn ang="0">
                      <a:pos x="connsiteX2" y="connsiteY2"/>
                    </a:cxn>
                  </a:cxnLst>
                  <a:rect l="l" t="t" r="r" b="b"/>
                  <a:pathLst>
                    <a:path w="2631" h="2571">
                      <a:moveTo>
                        <a:pt x="0" y="2572"/>
                      </a:moveTo>
                      <a:lnTo>
                        <a:pt x="2333" y="299"/>
                      </a:lnTo>
                      <a:lnTo>
                        <a:pt x="2632" y="0"/>
                      </a:lnTo>
                    </a:path>
                  </a:pathLst>
                </a:custGeom>
                <a:noFill/>
                <a:ln w="6350" cap="rnd">
                  <a:solidFill>
                    <a:schemeClr val="bg1">
                      <a:alpha val="40000"/>
                    </a:schemeClr>
                  </a:solidFill>
                  <a:prstDash val="solid"/>
                  <a:round/>
                </a:ln>
              </p:spPr>
              <p:txBody>
                <a:bodyPr rtlCol="0" anchor="ctr"/>
                <a:lstStyle/>
                <a:p>
                  <a:endParaRPr lang="en-GB"/>
                </a:p>
              </p:txBody>
            </p:sp>
            <p:sp>
              <p:nvSpPr>
                <p:cNvPr id="5823" name="Vrije vorm: vorm 5822">
                  <a:extLst>
                    <a:ext uri="{FF2B5EF4-FFF2-40B4-BE49-F238E27FC236}">
                      <a16:creationId xmlns:a16="http://schemas.microsoft.com/office/drawing/2014/main" id="{4AB23F38-AD4E-4AD9-BA77-174092D3C905}"/>
                    </a:ext>
                  </a:extLst>
                </p:cNvPr>
                <p:cNvSpPr/>
                <p:nvPr/>
              </p:nvSpPr>
              <p:spPr>
                <a:xfrm>
                  <a:off x="6467871" y="1674164"/>
                  <a:ext cx="1794" cy="1076"/>
                </a:xfrm>
                <a:custGeom>
                  <a:avLst/>
                  <a:gdLst>
                    <a:gd name="connsiteX0" fmla="*/ 1794 w 1794"/>
                    <a:gd name="connsiteY0" fmla="*/ 1077 h 1076"/>
                    <a:gd name="connsiteX1" fmla="*/ 0 w 1794"/>
                    <a:gd name="connsiteY1" fmla="*/ 0 h 1076"/>
                  </a:gdLst>
                  <a:ahLst/>
                  <a:cxnLst>
                    <a:cxn ang="0">
                      <a:pos x="connsiteX0" y="connsiteY0"/>
                    </a:cxn>
                    <a:cxn ang="0">
                      <a:pos x="connsiteX1" y="connsiteY1"/>
                    </a:cxn>
                  </a:cxnLst>
                  <a:rect l="l" t="t" r="r" b="b"/>
                  <a:pathLst>
                    <a:path w="1794" h="1076">
                      <a:moveTo>
                        <a:pt x="1794" y="1077"/>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24" name="Vrije vorm: vorm 5823">
                  <a:extLst>
                    <a:ext uri="{FF2B5EF4-FFF2-40B4-BE49-F238E27FC236}">
                      <a16:creationId xmlns:a16="http://schemas.microsoft.com/office/drawing/2014/main" id="{AE4E3846-0B92-490E-823B-8168D016856A}"/>
                    </a:ext>
                  </a:extLst>
                </p:cNvPr>
                <p:cNvSpPr/>
                <p:nvPr/>
              </p:nvSpPr>
              <p:spPr>
                <a:xfrm>
                  <a:off x="6469546" y="1672011"/>
                  <a:ext cx="59" cy="239"/>
                </a:xfrm>
                <a:custGeom>
                  <a:avLst/>
                  <a:gdLst>
                    <a:gd name="connsiteX0" fmla="*/ 60 w 59"/>
                    <a:gd name="connsiteY0" fmla="*/ 239 h 239"/>
                    <a:gd name="connsiteX1" fmla="*/ 0 w 59"/>
                    <a:gd name="connsiteY1" fmla="*/ 0 h 239"/>
                  </a:gdLst>
                  <a:ahLst/>
                  <a:cxnLst>
                    <a:cxn ang="0">
                      <a:pos x="connsiteX0" y="connsiteY0"/>
                    </a:cxn>
                    <a:cxn ang="0">
                      <a:pos x="connsiteX1" y="connsiteY1"/>
                    </a:cxn>
                  </a:cxnLst>
                  <a:rect l="l" t="t" r="r" b="b"/>
                  <a:pathLst>
                    <a:path w="59" h="239">
                      <a:moveTo>
                        <a:pt x="60" y="239"/>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25" name="Vrije vorm: vorm 5824">
                  <a:extLst>
                    <a:ext uri="{FF2B5EF4-FFF2-40B4-BE49-F238E27FC236}">
                      <a16:creationId xmlns:a16="http://schemas.microsoft.com/office/drawing/2014/main" id="{9257F9E6-E1EC-45CE-9FFA-E1F43220D22A}"/>
                    </a:ext>
                  </a:extLst>
                </p:cNvPr>
                <p:cNvSpPr/>
                <p:nvPr/>
              </p:nvSpPr>
              <p:spPr>
                <a:xfrm>
                  <a:off x="6470503" y="1667286"/>
                  <a:ext cx="2631" cy="2571"/>
                </a:xfrm>
                <a:custGeom>
                  <a:avLst/>
                  <a:gdLst>
                    <a:gd name="connsiteX0" fmla="*/ 0 w 2631"/>
                    <a:gd name="connsiteY0" fmla="*/ 2572 h 2571"/>
                    <a:gd name="connsiteX1" fmla="*/ 2333 w 2631"/>
                    <a:gd name="connsiteY1" fmla="*/ 299 h 2571"/>
                    <a:gd name="connsiteX2" fmla="*/ 2333 w 2631"/>
                    <a:gd name="connsiteY2" fmla="*/ 299 h 2571"/>
                    <a:gd name="connsiteX3" fmla="*/ 2632 w 2631"/>
                    <a:gd name="connsiteY3" fmla="*/ 0 h 2571"/>
                  </a:gdLst>
                  <a:ahLst/>
                  <a:cxnLst>
                    <a:cxn ang="0">
                      <a:pos x="connsiteX0" y="connsiteY0"/>
                    </a:cxn>
                    <a:cxn ang="0">
                      <a:pos x="connsiteX1" y="connsiteY1"/>
                    </a:cxn>
                    <a:cxn ang="0">
                      <a:pos x="connsiteX2" y="connsiteY2"/>
                    </a:cxn>
                    <a:cxn ang="0">
                      <a:pos x="connsiteX3" y="connsiteY3"/>
                    </a:cxn>
                  </a:cxnLst>
                  <a:rect l="l" t="t" r="r" b="b"/>
                  <a:pathLst>
                    <a:path w="2631" h="2571">
                      <a:moveTo>
                        <a:pt x="0" y="2572"/>
                      </a:moveTo>
                      <a:lnTo>
                        <a:pt x="2333" y="299"/>
                      </a:lnTo>
                      <a:lnTo>
                        <a:pt x="2333" y="299"/>
                      </a:lnTo>
                      <a:lnTo>
                        <a:pt x="2632" y="0"/>
                      </a:lnTo>
                    </a:path>
                  </a:pathLst>
                </a:custGeom>
                <a:noFill/>
                <a:ln w="6350" cap="rnd">
                  <a:solidFill>
                    <a:schemeClr val="bg1">
                      <a:alpha val="40000"/>
                    </a:schemeClr>
                  </a:solidFill>
                  <a:prstDash val="solid"/>
                  <a:round/>
                </a:ln>
              </p:spPr>
              <p:txBody>
                <a:bodyPr rtlCol="0" anchor="ctr"/>
                <a:lstStyle/>
                <a:p>
                  <a:endParaRPr lang="en-GB"/>
                </a:p>
              </p:txBody>
            </p:sp>
            <p:sp>
              <p:nvSpPr>
                <p:cNvPr id="5826" name="Vrije vorm: vorm 5825">
                  <a:extLst>
                    <a:ext uri="{FF2B5EF4-FFF2-40B4-BE49-F238E27FC236}">
                      <a16:creationId xmlns:a16="http://schemas.microsoft.com/office/drawing/2014/main" id="{5B9832E2-E392-4E4A-8802-366C69935B99}"/>
                    </a:ext>
                  </a:extLst>
                </p:cNvPr>
                <p:cNvSpPr/>
                <p:nvPr/>
              </p:nvSpPr>
              <p:spPr>
                <a:xfrm>
                  <a:off x="6470443" y="1666150"/>
                  <a:ext cx="179" cy="119"/>
                </a:xfrm>
                <a:custGeom>
                  <a:avLst/>
                  <a:gdLst>
                    <a:gd name="connsiteX0" fmla="*/ 180 w 179"/>
                    <a:gd name="connsiteY0" fmla="*/ 120 h 119"/>
                    <a:gd name="connsiteX1" fmla="*/ 0 w 179"/>
                    <a:gd name="connsiteY1" fmla="*/ 0 h 119"/>
                  </a:gdLst>
                  <a:ahLst/>
                  <a:cxnLst>
                    <a:cxn ang="0">
                      <a:pos x="connsiteX0" y="connsiteY0"/>
                    </a:cxn>
                    <a:cxn ang="0">
                      <a:pos x="connsiteX1" y="connsiteY1"/>
                    </a:cxn>
                  </a:cxnLst>
                  <a:rect l="l" t="t" r="r" b="b"/>
                  <a:pathLst>
                    <a:path w="179" h="119">
                      <a:moveTo>
                        <a:pt x="180" y="12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27" name="Vrije vorm: vorm 5826">
                  <a:extLst>
                    <a:ext uri="{FF2B5EF4-FFF2-40B4-BE49-F238E27FC236}">
                      <a16:creationId xmlns:a16="http://schemas.microsoft.com/office/drawing/2014/main" id="{198C5E65-29F0-4278-B57D-D5BE569354A4}"/>
                    </a:ext>
                  </a:extLst>
                </p:cNvPr>
                <p:cNvSpPr/>
                <p:nvPr/>
              </p:nvSpPr>
              <p:spPr>
                <a:xfrm>
                  <a:off x="6472895" y="1667585"/>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28" name="Vrije vorm: vorm 5827">
                  <a:extLst>
                    <a:ext uri="{FF2B5EF4-FFF2-40B4-BE49-F238E27FC236}">
                      <a16:creationId xmlns:a16="http://schemas.microsoft.com/office/drawing/2014/main" id="{9EDFC92C-801B-480F-A029-FA3145078983}"/>
                    </a:ext>
                  </a:extLst>
                </p:cNvPr>
                <p:cNvSpPr/>
                <p:nvPr/>
              </p:nvSpPr>
              <p:spPr>
                <a:xfrm>
                  <a:off x="6470503" y="1669858"/>
                  <a:ext cx="1256" cy="717"/>
                </a:xfrm>
                <a:custGeom>
                  <a:avLst/>
                  <a:gdLst>
                    <a:gd name="connsiteX0" fmla="*/ 0 w 1256"/>
                    <a:gd name="connsiteY0" fmla="*/ 0 h 717"/>
                    <a:gd name="connsiteX1" fmla="*/ 0 w 1256"/>
                    <a:gd name="connsiteY1" fmla="*/ 0 h 717"/>
                    <a:gd name="connsiteX2" fmla="*/ 1017 w 1256"/>
                    <a:gd name="connsiteY2" fmla="*/ 598 h 717"/>
                    <a:gd name="connsiteX3" fmla="*/ 1256 w 1256"/>
                    <a:gd name="connsiteY3" fmla="*/ 718 h 717"/>
                  </a:gdLst>
                  <a:ahLst/>
                  <a:cxnLst>
                    <a:cxn ang="0">
                      <a:pos x="connsiteX0" y="connsiteY0"/>
                    </a:cxn>
                    <a:cxn ang="0">
                      <a:pos x="connsiteX1" y="connsiteY1"/>
                    </a:cxn>
                    <a:cxn ang="0">
                      <a:pos x="connsiteX2" y="connsiteY2"/>
                    </a:cxn>
                    <a:cxn ang="0">
                      <a:pos x="connsiteX3" y="connsiteY3"/>
                    </a:cxn>
                  </a:cxnLst>
                  <a:rect l="l" t="t" r="r" b="b"/>
                  <a:pathLst>
                    <a:path w="1256" h="717">
                      <a:moveTo>
                        <a:pt x="0" y="0"/>
                      </a:moveTo>
                      <a:lnTo>
                        <a:pt x="0" y="0"/>
                      </a:lnTo>
                      <a:lnTo>
                        <a:pt x="1017" y="598"/>
                      </a:lnTo>
                      <a:lnTo>
                        <a:pt x="1256" y="718"/>
                      </a:lnTo>
                    </a:path>
                  </a:pathLst>
                </a:custGeom>
                <a:noFill/>
                <a:ln w="6350" cap="rnd">
                  <a:solidFill>
                    <a:schemeClr val="bg1">
                      <a:alpha val="40000"/>
                    </a:schemeClr>
                  </a:solidFill>
                  <a:prstDash val="solid"/>
                  <a:round/>
                </a:ln>
              </p:spPr>
              <p:txBody>
                <a:bodyPr rtlCol="0" anchor="ctr"/>
                <a:lstStyle/>
                <a:p>
                  <a:endParaRPr lang="en-GB"/>
                </a:p>
              </p:txBody>
            </p:sp>
            <p:sp>
              <p:nvSpPr>
                <p:cNvPr id="5829" name="Vrije vorm: vorm 5828">
                  <a:extLst>
                    <a:ext uri="{FF2B5EF4-FFF2-40B4-BE49-F238E27FC236}">
                      <a16:creationId xmlns:a16="http://schemas.microsoft.com/office/drawing/2014/main" id="{F4CAC681-C5D4-49A1-BBDF-C074FD7B88CD}"/>
                    </a:ext>
                  </a:extLst>
                </p:cNvPr>
                <p:cNvSpPr/>
                <p:nvPr/>
              </p:nvSpPr>
              <p:spPr>
                <a:xfrm>
                  <a:off x="6425647" y="1729904"/>
                  <a:ext cx="2212" cy="1674"/>
                </a:xfrm>
                <a:custGeom>
                  <a:avLst/>
                  <a:gdLst>
                    <a:gd name="connsiteX0" fmla="*/ 1914 w 2212"/>
                    <a:gd name="connsiteY0" fmla="*/ 1675 h 1674"/>
                    <a:gd name="connsiteX1" fmla="*/ 2213 w 2212"/>
                    <a:gd name="connsiteY1" fmla="*/ 1136 h 1674"/>
                    <a:gd name="connsiteX2" fmla="*/ 1256 w 2212"/>
                    <a:gd name="connsiteY2" fmla="*/ 658 h 1674"/>
                    <a:gd name="connsiteX3" fmla="*/ 837 w 2212"/>
                    <a:gd name="connsiteY3" fmla="*/ 419 h 1674"/>
                    <a:gd name="connsiteX4" fmla="*/ 0 w 2212"/>
                    <a:gd name="connsiteY4" fmla="*/ 0 h 1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2" h="1674">
                      <a:moveTo>
                        <a:pt x="1914" y="1675"/>
                      </a:moveTo>
                      <a:lnTo>
                        <a:pt x="2213" y="1136"/>
                      </a:lnTo>
                      <a:lnTo>
                        <a:pt x="1256" y="658"/>
                      </a:lnTo>
                      <a:lnTo>
                        <a:pt x="837" y="419"/>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30" name="Vrije vorm: vorm 5829">
                  <a:extLst>
                    <a:ext uri="{FF2B5EF4-FFF2-40B4-BE49-F238E27FC236}">
                      <a16:creationId xmlns:a16="http://schemas.microsoft.com/office/drawing/2014/main" id="{3A6D1C68-1743-4048-B82D-3A7C0E4A3590}"/>
                    </a:ext>
                  </a:extLst>
                </p:cNvPr>
                <p:cNvSpPr/>
                <p:nvPr/>
              </p:nvSpPr>
              <p:spPr>
                <a:xfrm>
                  <a:off x="6502739" y="1604608"/>
                  <a:ext cx="7416" cy="5382"/>
                </a:xfrm>
                <a:custGeom>
                  <a:avLst/>
                  <a:gdLst>
                    <a:gd name="connsiteX0" fmla="*/ 0 w 7416"/>
                    <a:gd name="connsiteY0" fmla="*/ 0 h 5382"/>
                    <a:gd name="connsiteX1" fmla="*/ 0 w 7416"/>
                    <a:gd name="connsiteY1" fmla="*/ 0 h 5382"/>
                    <a:gd name="connsiteX2" fmla="*/ 2452 w 7416"/>
                    <a:gd name="connsiteY2" fmla="*/ 1734 h 5382"/>
                    <a:gd name="connsiteX3" fmla="*/ 3947 w 7416"/>
                    <a:gd name="connsiteY3" fmla="*/ 2811 h 5382"/>
                    <a:gd name="connsiteX4" fmla="*/ 6160 w 7416"/>
                    <a:gd name="connsiteY4" fmla="*/ 4426 h 5382"/>
                    <a:gd name="connsiteX5" fmla="*/ 6459 w 7416"/>
                    <a:gd name="connsiteY5" fmla="*/ 4665 h 5382"/>
                    <a:gd name="connsiteX6" fmla="*/ 7416 w 7416"/>
                    <a:gd name="connsiteY6" fmla="*/ 5383 h 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6" h="5382">
                      <a:moveTo>
                        <a:pt x="0" y="0"/>
                      </a:moveTo>
                      <a:lnTo>
                        <a:pt x="0" y="0"/>
                      </a:lnTo>
                      <a:lnTo>
                        <a:pt x="2452" y="1734"/>
                      </a:lnTo>
                      <a:lnTo>
                        <a:pt x="3947" y="2811"/>
                      </a:lnTo>
                      <a:lnTo>
                        <a:pt x="6160" y="4426"/>
                      </a:lnTo>
                      <a:lnTo>
                        <a:pt x="6459" y="4665"/>
                      </a:lnTo>
                      <a:lnTo>
                        <a:pt x="7416" y="5383"/>
                      </a:lnTo>
                    </a:path>
                  </a:pathLst>
                </a:custGeom>
                <a:noFill/>
                <a:ln w="6350" cap="rnd">
                  <a:solidFill>
                    <a:schemeClr val="bg1">
                      <a:alpha val="40000"/>
                    </a:schemeClr>
                  </a:solidFill>
                  <a:prstDash val="solid"/>
                  <a:round/>
                </a:ln>
              </p:spPr>
              <p:txBody>
                <a:bodyPr rtlCol="0" anchor="ctr"/>
                <a:lstStyle/>
                <a:p>
                  <a:endParaRPr lang="en-GB"/>
                </a:p>
              </p:txBody>
            </p:sp>
            <p:sp>
              <p:nvSpPr>
                <p:cNvPr id="5831" name="Vrije vorm: vorm 5830">
                  <a:extLst>
                    <a:ext uri="{FF2B5EF4-FFF2-40B4-BE49-F238E27FC236}">
                      <a16:creationId xmlns:a16="http://schemas.microsoft.com/office/drawing/2014/main" id="{8B0B0332-8AA1-4098-9625-5E34E1E4DF7E}"/>
                    </a:ext>
                  </a:extLst>
                </p:cNvPr>
                <p:cNvSpPr/>
                <p:nvPr/>
              </p:nvSpPr>
              <p:spPr>
                <a:xfrm>
                  <a:off x="6420504" y="1734270"/>
                  <a:ext cx="2571" cy="4425"/>
                </a:xfrm>
                <a:custGeom>
                  <a:avLst/>
                  <a:gdLst>
                    <a:gd name="connsiteX0" fmla="*/ 2572 w 2571"/>
                    <a:gd name="connsiteY0" fmla="*/ 0 h 4425"/>
                    <a:gd name="connsiteX1" fmla="*/ 2512 w 2571"/>
                    <a:gd name="connsiteY1" fmla="*/ 60 h 4425"/>
                    <a:gd name="connsiteX2" fmla="*/ 2332 w 2571"/>
                    <a:gd name="connsiteY2" fmla="*/ 419 h 4425"/>
                    <a:gd name="connsiteX3" fmla="*/ 897 w 2571"/>
                    <a:gd name="connsiteY3" fmla="*/ 2871 h 4425"/>
                    <a:gd name="connsiteX4" fmla="*/ 0 w 2571"/>
                    <a:gd name="connsiteY4" fmla="*/ 4426 h 4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 h="4425">
                      <a:moveTo>
                        <a:pt x="2572" y="0"/>
                      </a:moveTo>
                      <a:lnTo>
                        <a:pt x="2512" y="60"/>
                      </a:lnTo>
                      <a:lnTo>
                        <a:pt x="2332" y="419"/>
                      </a:lnTo>
                      <a:lnTo>
                        <a:pt x="897" y="2871"/>
                      </a:lnTo>
                      <a:lnTo>
                        <a:pt x="0" y="4426"/>
                      </a:lnTo>
                    </a:path>
                  </a:pathLst>
                </a:custGeom>
                <a:noFill/>
                <a:ln w="6350" cap="rnd">
                  <a:solidFill>
                    <a:schemeClr val="bg1">
                      <a:alpha val="40000"/>
                    </a:schemeClr>
                  </a:solidFill>
                  <a:prstDash val="solid"/>
                  <a:round/>
                </a:ln>
              </p:spPr>
              <p:txBody>
                <a:bodyPr rtlCol="0" anchor="ctr"/>
                <a:lstStyle/>
                <a:p>
                  <a:endParaRPr lang="en-GB"/>
                </a:p>
              </p:txBody>
            </p:sp>
            <p:sp>
              <p:nvSpPr>
                <p:cNvPr id="5832" name="Vrije vorm: vorm 5831">
                  <a:extLst>
                    <a:ext uri="{FF2B5EF4-FFF2-40B4-BE49-F238E27FC236}">
                      <a16:creationId xmlns:a16="http://schemas.microsoft.com/office/drawing/2014/main" id="{4B894A6A-5EA2-4E93-A4F4-501A6572DD90}"/>
                    </a:ext>
                  </a:extLst>
                </p:cNvPr>
                <p:cNvSpPr/>
                <p:nvPr/>
              </p:nvSpPr>
              <p:spPr>
                <a:xfrm>
                  <a:off x="6414762" y="1718182"/>
                  <a:ext cx="4126" cy="6937"/>
                </a:xfrm>
                <a:custGeom>
                  <a:avLst/>
                  <a:gdLst>
                    <a:gd name="connsiteX0" fmla="*/ 0 w 4126"/>
                    <a:gd name="connsiteY0" fmla="*/ 6938 h 6937"/>
                    <a:gd name="connsiteX1" fmla="*/ 60 w 4126"/>
                    <a:gd name="connsiteY1" fmla="*/ 6878 h 6937"/>
                    <a:gd name="connsiteX2" fmla="*/ 120 w 4126"/>
                    <a:gd name="connsiteY2" fmla="*/ 6818 h 6937"/>
                    <a:gd name="connsiteX3" fmla="*/ 1555 w 4126"/>
                    <a:gd name="connsiteY3" fmla="*/ 4366 h 6937"/>
                    <a:gd name="connsiteX4" fmla="*/ 2990 w 4126"/>
                    <a:gd name="connsiteY4" fmla="*/ 1914 h 6937"/>
                    <a:gd name="connsiteX5" fmla="*/ 4127 w 4126"/>
                    <a:gd name="connsiteY5" fmla="*/ 0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6" h="6937">
                      <a:moveTo>
                        <a:pt x="0" y="6938"/>
                      </a:moveTo>
                      <a:lnTo>
                        <a:pt x="60" y="6878"/>
                      </a:lnTo>
                      <a:lnTo>
                        <a:pt x="120" y="6818"/>
                      </a:lnTo>
                      <a:lnTo>
                        <a:pt x="1555" y="4366"/>
                      </a:lnTo>
                      <a:lnTo>
                        <a:pt x="2990" y="1914"/>
                      </a:lnTo>
                      <a:lnTo>
                        <a:pt x="4127" y="0"/>
                      </a:lnTo>
                    </a:path>
                  </a:pathLst>
                </a:custGeom>
                <a:noFill/>
                <a:ln w="6350" cap="rnd">
                  <a:solidFill>
                    <a:schemeClr val="bg1">
                      <a:alpha val="40000"/>
                    </a:schemeClr>
                  </a:solidFill>
                  <a:prstDash val="solid"/>
                  <a:round/>
                </a:ln>
              </p:spPr>
              <p:txBody>
                <a:bodyPr rtlCol="0" anchor="ctr"/>
                <a:lstStyle/>
                <a:p>
                  <a:endParaRPr lang="en-GB"/>
                </a:p>
              </p:txBody>
            </p:sp>
            <p:sp>
              <p:nvSpPr>
                <p:cNvPr id="5833" name="Vrije vorm: vorm 5832">
                  <a:extLst>
                    <a:ext uri="{FF2B5EF4-FFF2-40B4-BE49-F238E27FC236}">
                      <a16:creationId xmlns:a16="http://schemas.microsoft.com/office/drawing/2014/main" id="{4BE2E4C4-CCC0-4174-BA3A-828D17CAEF87}"/>
                    </a:ext>
                  </a:extLst>
                </p:cNvPr>
                <p:cNvSpPr/>
                <p:nvPr/>
              </p:nvSpPr>
              <p:spPr>
                <a:xfrm>
                  <a:off x="6472716" y="1663996"/>
                  <a:ext cx="59" cy="358"/>
                </a:xfrm>
                <a:custGeom>
                  <a:avLst/>
                  <a:gdLst>
                    <a:gd name="connsiteX0" fmla="*/ 0 w 59"/>
                    <a:gd name="connsiteY0" fmla="*/ 0 h 358"/>
                    <a:gd name="connsiteX1" fmla="*/ 60 w 59"/>
                    <a:gd name="connsiteY1" fmla="*/ 359 h 358"/>
                  </a:gdLst>
                  <a:ahLst/>
                  <a:cxnLst>
                    <a:cxn ang="0">
                      <a:pos x="connsiteX0" y="connsiteY0"/>
                    </a:cxn>
                    <a:cxn ang="0">
                      <a:pos x="connsiteX1" y="connsiteY1"/>
                    </a:cxn>
                  </a:cxnLst>
                  <a:rect l="l" t="t" r="r" b="b"/>
                  <a:pathLst>
                    <a:path w="59" h="358">
                      <a:moveTo>
                        <a:pt x="0" y="0"/>
                      </a:moveTo>
                      <a:lnTo>
                        <a:pt x="60" y="359"/>
                      </a:lnTo>
                    </a:path>
                  </a:pathLst>
                </a:custGeom>
                <a:noFill/>
                <a:ln w="6350" cap="rnd">
                  <a:solidFill>
                    <a:schemeClr val="bg1">
                      <a:alpha val="40000"/>
                    </a:schemeClr>
                  </a:solidFill>
                  <a:prstDash val="solid"/>
                  <a:round/>
                </a:ln>
              </p:spPr>
              <p:txBody>
                <a:bodyPr rtlCol="0" anchor="ctr"/>
                <a:lstStyle/>
                <a:p>
                  <a:endParaRPr lang="en-GB"/>
                </a:p>
              </p:txBody>
            </p:sp>
            <p:sp>
              <p:nvSpPr>
                <p:cNvPr id="5834" name="Vrije vorm: vorm 5833">
                  <a:extLst>
                    <a:ext uri="{FF2B5EF4-FFF2-40B4-BE49-F238E27FC236}">
                      <a16:creationId xmlns:a16="http://schemas.microsoft.com/office/drawing/2014/main" id="{1B9E55E9-8DFC-4B2B-AA39-B93067753AE6}"/>
                    </a:ext>
                  </a:extLst>
                </p:cNvPr>
                <p:cNvSpPr/>
                <p:nvPr/>
              </p:nvSpPr>
              <p:spPr>
                <a:xfrm>
                  <a:off x="6465240" y="1616928"/>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35" name="Vrije vorm: vorm 5834">
                  <a:extLst>
                    <a:ext uri="{FF2B5EF4-FFF2-40B4-BE49-F238E27FC236}">
                      <a16:creationId xmlns:a16="http://schemas.microsoft.com/office/drawing/2014/main" id="{623778EE-D803-4A09-B477-664A7DB9BF2E}"/>
                    </a:ext>
                  </a:extLst>
                </p:cNvPr>
                <p:cNvSpPr/>
                <p:nvPr/>
              </p:nvSpPr>
              <p:spPr>
                <a:xfrm>
                  <a:off x="6462309" y="1618005"/>
                  <a:ext cx="1913" cy="1913"/>
                </a:xfrm>
                <a:custGeom>
                  <a:avLst/>
                  <a:gdLst>
                    <a:gd name="connsiteX0" fmla="*/ 0 w 1913"/>
                    <a:gd name="connsiteY0" fmla="*/ 1914 h 1913"/>
                    <a:gd name="connsiteX1" fmla="*/ 1914 w 1913"/>
                    <a:gd name="connsiteY1" fmla="*/ 0 h 1913"/>
                  </a:gdLst>
                  <a:ahLst/>
                  <a:cxnLst>
                    <a:cxn ang="0">
                      <a:pos x="connsiteX0" y="connsiteY0"/>
                    </a:cxn>
                    <a:cxn ang="0">
                      <a:pos x="connsiteX1" y="connsiteY1"/>
                    </a:cxn>
                  </a:cxnLst>
                  <a:rect l="l" t="t" r="r" b="b"/>
                  <a:pathLst>
                    <a:path w="1913" h="1913">
                      <a:moveTo>
                        <a:pt x="0" y="1914"/>
                      </a:moveTo>
                      <a:lnTo>
                        <a:pt x="1914" y="0"/>
                      </a:lnTo>
                    </a:path>
                  </a:pathLst>
                </a:custGeom>
                <a:noFill/>
                <a:ln w="6350" cap="rnd">
                  <a:solidFill>
                    <a:schemeClr val="bg1">
                      <a:alpha val="40000"/>
                    </a:schemeClr>
                  </a:solidFill>
                  <a:prstDash val="solid"/>
                  <a:round/>
                </a:ln>
              </p:spPr>
              <p:txBody>
                <a:bodyPr rtlCol="0" anchor="ctr"/>
                <a:lstStyle/>
                <a:p>
                  <a:endParaRPr lang="en-GB"/>
                </a:p>
              </p:txBody>
            </p:sp>
            <p:sp>
              <p:nvSpPr>
                <p:cNvPr id="5836" name="Vrije vorm: vorm 5835">
                  <a:extLst>
                    <a:ext uri="{FF2B5EF4-FFF2-40B4-BE49-F238E27FC236}">
                      <a16:creationId xmlns:a16="http://schemas.microsoft.com/office/drawing/2014/main" id="{30385A7A-9BC2-4469-9E0B-4BCFBDC54DC5}"/>
                    </a:ext>
                  </a:extLst>
                </p:cNvPr>
                <p:cNvSpPr/>
                <p:nvPr/>
              </p:nvSpPr>
              <p:spPr>
                <a:xfrm>
                  <a:off x="6460874" y="1620696"/>
                  <a:ext cx="59" cy="239"/>
                </a:xfrm>
                <a:custGeom>
                  <a:avLst/>
                  <a:gdLst>
                    <a:gd name="connsiteX0" fmla="*/ 60 w 59"/>
                    <a:gd name="connsiteY0" fmla="*/ 239 h 239"/>
                    <a:gd name="connsiteX1" fmla="*/ 0 w 59"/>
                    <a:gd name="connsiteY1" fmla="*/ 0 h 239"/>
                  </a:gdLst>
                  <a:ahLst/>
                  <a:cxnLst>
                    <a:cxn ang="0">
                      <a:pos x="connsiteX0" y="connsiteY0"/>
                    </a:cxn>
                    <a:cxn ang="0">
                      <a:pos x="connsiteX1" y="connsiteY1"/>
                    </a:cxn>
                  </a:cxnLst>
                  <a:rect l="l" t="t" r="r" b="b"/>
                  <a:pathLst>
                    <a:path w="59" h="239">
                      <a:moveTo>
                        <a:pt x="60" y="239"/>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37" name="Vrije vorm: vorm 5836">
                  <a:extLst>
                    <a:ext uri="{FF2B5EF4-FFF2-40B4-BE49-F238E27FC236}">
                      <a16:creationId xmlns:a16="http://schemas.microsoft.com/office/drawing/2014/main" id="{18AB5EBD-9746-4EF6-AC0C-A4C669A410FA}"/>
                    </a:ext>
                  </a:extLst>
                </p:cNvPr>
                <p:cNvSpPr/>
                <p:nvPr/>
              </p:nvSpPr>
              <p:spPr>
                <a:xfrm>
                  <a:off x="6435216" y="1737021"/>
                  <a:ext cx="33791" cy="16506"/>
                </a:xfrm>
                <a:custGeom>
                  <a:avLst/>
                  <a:gdLst>
                    <a:gd name="connsiteX0" fmla="*/ 33791 w 33791"/>
                    <a:gd name="connsiteY0" fmla="*/ 16507 h 16506"/>
                    <a:gd name="connsiteX1" fmla="*/ 31100 w 33791"/>
                    <a:gd name="connsiteY1" fmla="*/ 15191 h 16506"/>
                    <a:gd name="connsiteX2" fmla="*/ 28408 w 33791"/>
                    <a:gd name="connsiteY2" fmla="*/ 13875 h 16506"/>
                    <a:gd name="connsiteX3" fmla="*/ 25717 w 33791"/>
                    <a:gd name="connsiteY3" fmla="*/ 12560 h 16506"/>
                    <a:gd name="connsiteX4" fmla="*/ 23026 w 33791"/>
                    <a:gd name="connsiteY4" fmla="*/ 11244 h 16506"/>
                    <a:gd name="connsiteX5" fmla="*/ 20335 w 33791"/>
                    <a:gd name="connsiteY5" fmla="*/ 9928 h 16506"/>
                    <a:gd name="connsiteX6" fmla="*/ 17643 w 33791"/>
                    <a:gd name="connsiteY6" fmla="*/ 8612 h 16506"/>
                    <a:gd name="connsiteX7" fmla="*/ 14952 w 33791"/>
                    <a:gd name="connsiteY7" fmla="*/ 7296 h 16506"/>
                    <a:gd name="connsiteX8" fmla="*/ 12261 w 33791"/>
                    <a:gd name="connsiteY8" fmla="*/ 5981 h 16506"/>
                    <a:gd name="connsiteX9" fmla="*/ 9569 w 33791"/>
                    <a:gd name="connsiteY9" fmla="*/ 4665 h 16506"/>
                    <a:gd name="connsiteX10" fmla="*/ 6878 w 33791"/>
                    <a:gd name="connsiteY10" fmla="*/ 3349 h 16506"/>
                    <a:gd name="connsiteX11" fmla="*/ 4187 w 33791"/>
                    <a:gd name="connsiteY11" fmla="*/ 2034 h 16506"/>
                    <a:gd name="connsiteX12" fmla="*/ 1495 w 33791"/>
                    <a:gd name="connsiteY12" fmla="*/ 718 h 16506"/>
                    <a:gd name="connsiteX13" fmla="*/ 0 w 33791"/>
                    <a:gd name="connsiteY13" fmla="*/ 0 h 16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791" h="16506">
                      <a:moveTo>
                        <a:pt x="33791" y="16507"/>
                      </a:moveTo>
                      <a:lnTo>
                        <a:pt x="31100" y="15191"/>
                      </a:lnTo>
                      <a:lnTo>
                        <a:pt x="28408" y="13875"/>
                      </a:lnTo>
                      <a:lnTo>
                        <a:pt x="25717" y="12560"/>
                      </a:lnTo>
                      <a:lnTo>
                        <a:pt x="23026" y="11244"/>
                      </a:lnTo>
                      <a:lnTo>
                        <a:pt x="20335" y="9928"/>
                      </a:lnTo>
                      <a:lnTo>
                        <a:pt x="17643" y="8612"/>
                      </a:lnTo>
                      <a:lnTo>
                        <a:pt x="14952" y="7296"/>
                      </a:lnTo>
                      <a:lnTo>
                        <a:pt x="12261" y="5981"/>
                      </a:lnTo>
                      <a:lnTo>
                        <a:pt x="9569" y="4665"/>
                      </a:lnTo>
                      <a:lnTo>
                        <a:pt x="6878" y="3349"/>
                      </a:lnTo>
                      <a:lnTo>
                        <a:pt x="4187" y="2034"/>
                      </a:lnTo>
                      <a:lnTo>
                        <a:pt x="1495" y="718"/>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38" name="Vrije vorm: vorm 5837">
                  <a:extLst>
                    <a:ext uri="{FF2B5EF4-FFF2-40B4-BE49-F238E27FC236}">
                      <a16:creationId xmlns:a16="http://schemas.microsoft.com/office/drawing/2014/main" id="{C320793C-C9D6-4FA1-924D-285B2DFE8502}"/>
                    </a:ext>
                  </a:extLst>
                </p:cNvPr>
                <p:cNvSpPr/>
                <p:nvPr/>
              </p:nvSpPr>
              <p:spPr>
                <a:xfrm>
                  <a:off x="6460694" y="1618962"/>
                  <a:ext cx="1854" cy="1076"/>
                </a:xfrm>
                <a:custGeom>
                  <a:avLst/>
                  <a:gdLst>
                    <a:gd name="connsiteX0" fmla="*/ 0 w 1854"/>
                    <a:gd name="connsiteY0" fmla="*/ 0 h 1076"/>
                    <a:gd name="connsiteX1" fmla="*/ 1615 w 1854"/>
                    <a:gd name="connsiteY1" fmla="*/ 957 h 1076"/>
                    <a:gd name="connsiteX2" fmla="*/ 1854 w 1854"/>
                    <a:gd name="connsiteY2" fmla="*/ 1076 h 1076"/>
                  </a:gdLst>
                  <a:ahLst/>
                  <a:cxnLst>
                    <a:cxn ang="0">
                      <a:pos x="connsiteX0" y="connsiteY0"/>
                    </a:cxn>
                    <a:cxn ang="0">
                      <a:pos x="connsiteX1" y="connsiteY1"/>
                    </a:cxn>
                    <a:cxn ang="0">
                      <a:pos x="connsiteX2" y="connsiteY2"/>
                    </a:cxn>
                  </a:cxnLst>
                  <a:rect l="l" t="t" r="r" b="b"/>
                  <a:pathLst>
                    <a:path w="1854" h="1076">
                      <a:moveTo>
                        <a:pt x="0" y="0"/>
                      </a:moveTo>
                      <a:lnTo>
                        <a:pt x="1615" y="957"/>
                      </a:lnTo>
                      <a:lnTo>
                        <a:pt x="1854" y="1076"/>
                      </a:lnTo>
                    </a:path>
                  </a:pathLst>
                </a:custGeom>
                <a:noFill/>
                <a:ln w="6350" cap="rnd">
                  <a:solidFill>
                    <a:schemeClr val="bg1">
                      <a:alpha val="40000"/>
                    </a:schemeClr>
                  </a:solidFill>
                  <a:prstDash val="solid"/>
                  <a:round/>
                </a:ln>
              </p:spPr>
              <p:txBody>
                <a:bodyPr rtlCol="0" anchor="ctr"/>
                <a:lstStyle/>
                <a:p>
                  <a:endParaRPr lang="en-GB"/>
                </a:p>
              </p:txBody>
            </p:sp>
            <p:sp>
              <p:nvSpPr>
                <p:cNvPr id="5839" name="Vrije vorm: vorm 5838">
                  <a:extLst>
                    <a:ext uri="{FF2B5EF4-FFF2-40B4-BE49-F238E27FC236}">
                      <a16:creationId xmlns:a16="http://schemas.microsoft.com/office/drawing/2014/main" id="{78F64696-107B-49E9-82C6-417837CC2D8A}"/>
                    </a:ext>
                  </a:extLst>
                </p:cNvPr>
                <p:cNvSpPr/>
                <p:nvPr/>
              </p:nvSpPr>
              <p:spPr>
                <a:xfrm>
                  <a:off x="6457525" y="1802032"/>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40" name="Vrije vorm: vorm 5839">
                  <a:extLst>
                    <a:ext uri="{FF2B5EF4-FFF2-40B4-BE49-F238E27FC236}">
                      <a16:creationId xmlns:a16="http://schemas.microsoft.com/office/drawing/2014/main" id="{A26978AE-57AD-4A17-9281-52373A77FAF0}"/>
                    </a:ext>
                  </a:extLst>
                </p:cNvPr>
                <p:cNvSpPr/>
                <p:nvPr/>
              </p:nvSpPr>
              <p:spPr>
                <a:xfrm>
                  <a:off x="6496459" y="1545877"/>
                  <a:ext cx="3708" cy="777"/>
                </a:xfrm>
                <a:custGeom>
                  <a:avLst/>
                  <a:gdLst>
                    <a:gd name="connsiteX0" fmla="*/ 0 w 3708"/>
                    <a:gd name="connsiteY0" fmla="*/ 0 h 777"/>
                    <a:gd name="connsiteX1" fmla="*/ 1196 w 3708"/>
                    <a:gd name="connsiteY1" fmla="*/ 239 h 777"/>
                    <a:gd name="connsiteX2" fmla="*/ 2213 w 3708"/>
                    <a:gd name="connsiteY2" fmla="*/ 478 h 777"/>
                    <a:gd name="connsiteX3" fmla="*/ 2572 w 3708"/>
                    <a:gd name="connsiteY3" fmla="*/ 538 h 777"/>
                    <a:gd name="connsiteX4" fmla="*/ 3409 w 3708"/>
                    <a:gd name="connsiteY4" fmla="*/ 718 h 777"/>
                    <a:gd name="connsiteX5" fmla="*/ 3708 w 3708"/>
                    <a:gd name="connsiteY5" fmla="*/ 778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8" h="777">
                      <a:moveTo>
                        <a:pt x="0" y="0"/>
                      </a:moveTo>
                      <a:lnTo>
                        <a:pt x="1196" y="239"/>
                      </a:lnTo>
                      <a:lnTo>
                        <a:pt x="2213" y="478"/>
                      </a:lnTo>
                      <a:lnTo>
                        <a:pt x="2572" y="538"/>
                      </a:lnTo>
                      <a:lnTo>
                        <a:pt x="3409" y="718"/>
                      </a:lnTo>
                      <a:lnTo>
                        <a:pt x="3708" y="778"/>
                      </a:lnTo>
                    </a:path>
                  </a:pathLst>
                </a:custGeom>
                <a:noFill/>
                <a:ln w="6350" cap="rnd">
                  <a:solidFill>
                    <a:schemeClr val="bg1">
                      <a:alpha val="40000"/>
                    </a:schemeClr>
                  </a:solidFill>
                  <a:prstDash val="solid"/>
                  <a:round/>
                </a:ln>
              </p:spPr>
              <p:txBody>
                <a:bodyPr rtlCol="0" anchor="ctr"/>
                <a:lstStyle/>
                <a:p>
                  <a:endParaRPr lang="en-GB"/>
                </a:p>
              </p:txBody>
            </p:sp>
            <p:sp>
              <p:nvSpPr>
                <p:cNvPr id="5841" name="Vrije vorm: vorm 5840">
                  <a:extLst>
                    <a:ext uri="{FF2B5EF4-FFF2-40B4-BE49-F238E27FC236}">
                      <a16:creationId xmlns:a16="http://schemas.microsoft.com/office/drawing/2014/main" id="{1D002AF2-0FA2-4632-89A1-48BEEA359064}"/>
                    </a:ext>
                  </a:extLst>
                </p:cNvPr>
                <p:cNvSpPr/>
                <p:nvPr/>
              </p:nvSpPr>
              <p:spPr>
                <a:xfrm>
                  <a:off x="6391976" y="1710945"/>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42" name="Vrije vorm: vorm 5841">
                  <a:extLst>
                    <a:ext uri="{FF2B5EF4-FFF2-40B4-BE49-F238E27FC236}">
                      <a16:creationId xmlns:a16="http://schemas.microsoft.com/office/drawing/2014/main" id="{7F321C3E-2BF7-4162-9B34-90AC70FB602C}"/>
                    </a:ext>
                  </a:extLst>
                </p:cNvPr>
                <p:cNvSpPr/>
                <p:nvPr/>
              </p:nvSpPr>
              <p:spPr>
                <a:xfrm>
                  <a:off x="6387012" y="1700419"/>
                  <a:ext cx="8134" cy="13875"/>
                </a:xfrm>
                <a:custGeom>
                  <a:avLst/>
                  <a:gdLst>
                    <a:gd name="connsiteX0" fmla="*/ 0 w 8134"/>
                    <a:gd name="connsiteY0" fmla="*/ 13875 h 13875"/>
                    <a:gd name="connsiteX1" fmla="*/ 1435 w 8134"/>
                    <a:gd name="connsiteY1" fmla="*/ 11423 h 13875"/>
                    <a:gd name="connsiteX2" fmla="*/ 2871 w 8134"/>
                    <a:gd name="connsiteY2" fmla="*/ 8971 h 13875"/>
                    <a:gd name="connsiteX3" fmla="*/ 4306 w 8134"/>
                    <a:gd name="connsiteY3" fmla="*/ 6519 h 13875"/>
                    <a:gd name="connsiteX4" fmla="*/ 5742 w 8134"/>
                    <a:gd name="connsiteY4" fmla="*/ 4067 h 13875"/>
                    <a:gd name="connsiteX5" fmla="*/ 7177 w 8134"/>
                    <a:gd name="connsiteY5" fmla="*/ 1615 h 13875"/>
                    <a:gd name="connsiteX6" fmla="*/ 8134 w 8134"/>
                    <a:gd name="connsiteY6" fmla="*/ 0 h 1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34" h="13875">
                      <a:moveTo>
                        <a:pt x="0" y="13875"/>
                      </a:moveTo>
                      <a:lnTo>
                        <a:pt x="1435" y="11423"/>
                      </a:lnTo>
                      <a:lnTo>
                        <a:pt x="2871" y="8971"/>
                      </a:lnTo>
                      <a:lnTo>
                        <a:pt x="4306" y="6519"/>
                      </a:lnTo>
                      <a:lnTo>
                        <a:pt x="5742" y="4067"/>
                      </a:lnTo>
                      <a:lnTo>
                        <a:pt x="7177" y="1615"/>
                      </a:lnTo>
                      <a:lnTo>
                        <a:pt x="8134" y="0"/>
                      </a:lnTo>
                    </a:path>
                  </a:pathLst>
                </a:custGeom>
                <a:noFill/>
                <a:ln w="6350" cap="rnd">
                  <a:solidFill>
                    <a:schemeClr val="bg1">
                      <a:alpha val="40000"/>
                    </a:schemeClr>
                  </a:solidFill>
                  <a:prstDash val="solid"/>
                  <a:round/>
                </a:ln>
              </p:spPr>
              <p:txBody>
                <a:bodyPr rtlCol="0" anchor="ctr"/>
                <a:lstStyle/>
                <a:p>
                  <a:endParaRPr lang="en-GB"/>
                </a:p>
              </p:txBody>
            </p:sp>
            <p:sp>
              <p:nvSpPr>
                <p:cNvPr id="5843" name="Vrije vorm: vorm 5842">
                  <a:extLst>
                    <a:ext uri="{FF2B5EF4-FFF2-40B4-BE49-F238E27FC236}">
                      <a16:creationId xmlns:a16="http://schemas.microsoft.com/office/drawing/2014/main" id="{ACE0730E-21F2-43DD-96C3-43792E1929D3}"/>
                    </a:ext>
                  </a:extLst>
                </p:cNvPr>
                <p:cNvSpPr/>
                <p:nvPr/>
              </p:nvSpPr>
              <p:spPr>
                <a:xfrm>
                  <a:off x="6401665" y="1694498"/>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44" name="Vrije vorm: vorm 5843">
                  <a:extLst>
                    <a:ext uri="{FF2B5EF4-FFF2-40B4-BE49-F238E27FC236}">
                      <a16:creationId xmlns:a16="http://schemas.microsoft.com/office/drawing/2014/main" id="{2E6BFFEA-C0AF-48BE-AA80-7783F167EFE7}"/>
                    </a:ext>
                  </a:extLst>
                </p:cNvPr>
                <p:cNvSpPr/>
                <p:nvPr/>
              </p:nvSpPr>
              <p:spPr>
                <a:xfrm>
                  <a:off x="6405193" y="1679247"/>
                  <a:ext cx="418" cy="59"/>
                </a:xfrm>
                <a:custGeom>
                  <a:avLst/>
                  <a:gdLst>
                    <a:gd name="connsiteX0" fmla="*/ 419 w 418"/>
                    <a:gd name="connsiteY0" fmla="*/ 0 h 59"/>
                    <a:gd name="connsiteX1" fmla="*/ 0 w 418"/>
                    <a:gd name="connsiteY1" fmla="*/ 60 h 59"/>
                  </a:gdLst>
                  <a:ahLst/>
                  <a:cxnLst>
                    <a:cxn ang="0">
                      <a:pos x="connsiteX0" y="connsiteY0"/>
                    </a:cxn>
                    <a:cxn ang="0">
                      <a:pos x="connsiteX1" y="connsiteY1"/>
                    </a:cxn>
                  </a:cxnLst>
                  <a:rect l="l" t="t" r="r" b="b"/>
                  <a:pathLst>
                    <a:path w="418" h="59">
                      <a:moveTo>
                        <a:pt x="419" y="0"/>
                      </a:moveTo>
                      <a:lnTo>
                        <a:pt x="0" y="60"/>
                      </a:lnTo>
                    </a:path>
                  </a:pathLst>
                </a:custGeom>
                <a:noFill/>
                <a:ln w="6350" cap="rnd">
                  <a:solidFill>
                    <a:schemeClr val="bg1">
                      <a:alpha val="40000"/>
                    </a:schemeClr>
                  </a:solidFill>
                  <a:prstDash val="solid"/>
                  <a:round/>
                </a:ln>
              </p:spPr>
              <p:txBody>
                <a:bodyPr rtlCol="0" anchor="ctr"/>
                <a:lstStyle/>
                <a:p>
                  <a:endParaRPr lang="en-GB"/>
                </a:p>
              </p:txBody>
            </p:sp>
            <p:sp>
              <p:nvSpPr>
                <p:cNvPr id="5845" name="Vrije vorm: vorm 5844">
                  <a:extLst>
                    <a:ext uri="{FF2B5EF4-FFF2-40B4-BE49-F238E27FC236}">
                      <a16:creationId xmlns:a16="http://schemas.microsoft.com/office/drawing/2014/main" id="{32A8D692-9782-49CB-9611-4127FCF47001}"/>
                    </a:ext>
                  </a:extLst>
                </p:cNvPr>
                <p:cNvSpPr/>
                <p:nvPr/>
              </p:nvSpPr>
              <p:spPr>
                <a:xfrm>
                  <a:off x="6408483" y="1668482"/>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46" name="Vrije vorm: vorm 5845">
                  <a:extLst>
                    <a:ext uri="{FF2B5EF4-FFF2-40B4-BE49-F238E27FC236}">
                      <a16:creationId xmlns:a16="http://schemas.microsoft.com/office/drawing/2014/main" id="{B544B579-4E19-483F-97D1-28E7C021DA93}"/>
                    </a:ext>
                  </a:extLst>
                </p:cNvPr>
                <p:cNvSpPr/>
                <p:nvPr/>
              </p:nvSpPr>
              <p:spPr>
                <a:xfrm>
                  <a:off x="6444367" y="1601259"/>
                  <a:ext cx="5023" cy="32774"/>
                </a:xfrm>
                <a:custGeom>
                  <a:avLst/>
                  <a:gdLst>
                    <a:gd name="connsiteX0" fmla="*/ 5024 w 5023"/>
                    <a:gd name="connsiteY0" fmla="*/ 32774 h 32774"/>
                    <a:gd name="connsiteX1" fmla="*/ 4545 w 5023"/>
                    <a:gd name="connsiteY1" fmla="*/ 29664 h 32774"/>
                    <a:gd name="connsiteX2" fmla="*/ 4067 w 5023"/>
                    <a:gd name="connsiteY2" fmla="*/ 26554 h 32774"/>
                    <a:gd name="connsiteX3" fmla="*/ 3588 w 5023"/>
                    <a:gd name="connsiteY3" fmla="*/ 23444 h 32774"/>
                    <a:gd name="connsiteX4" fmla="*/ 3110 w 5023"/>
                    <a:gd name="connsiteY4" fmla="*/ 20335 h 32774"/>
                    <a:gd name="connsiteX5" fmla="*/ 2632 w 5023"/>
                    <a:gd name="connsiteY5" fmla="*/ 17225 h 32774"/>
                    <a:gd name="connsiteX6" fmla="*/ 2153 w 5023"/>
                    <a:gd name="connsiteY6" fmla="*/ 14115 h 32774"/>
                    <a:gd name="connsiteX7" fmla="*/ 1674 w 5023"/>
                    <a:gd name="connsiteY7" fmla="*/ 11005 h 32774"/>
                    <a:gd name="connsiteX8" fmla="*/ 1196 w 5023"/>
                    <a:gd name="connsiteY8" fmla="*/ 7895 h 32774"/>
                    <a:gd name="connsiteX9" fmla="*/ 718 w 5023"/>
                    <a:gd name="connsiteY9" fmla="*/ 4785 h 32774"/>
                    <a:gd name="connsiteX10" fmla="*/ 239 w 5023"/>
                    <a:gd name="connsiteY10" fmla="*/ 1675 h 32774"/>
                    <a:gd name="connsiteX11" fmla="*/ 0 w 5023"/>
                    <a:gd name="connsiteY11" fmla="*/ 0 h 3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3" h="32774">
                      <a:moveTo>
                        <a:pt x="5024" y="32774"/>
                      </a:moveTo>
                      <a:lnTo>
                        <a:pt x="4545" y="29664"/>
                      </a:lnTo>
                      <a:lnTo>
                        <a:pt x="4067" y="26554"/>
                      </a:lnTo>
                      <a:lnTo>
                        <a:pt x="3588" y="23444"/>
                      </a:lnTo>
                      <a:lnTo>
                        <a:pt x="3110" y="20335"/>
                      </a:lnTo>
                      <a:lnTo>
                        <a:pt x="2632" y="17225"/>
                      </a:lnTo>
                      <a:lnTo>
                        <a:pt x="2153" y="14115"/>
                      </a:lnTo>
                      <a:lnTo>
                        <a:pt x="1674" y="11005"/>
                      </a:lnTo>
                      <a:lnTo>
                        <a:pt x="1196" y="7895"/>
                      </a:lnTo>
                      <a:lnTo>
                        <a:pt x="718" y="4785"/>
                      </a:lnTo>
                      <a:lnTo>
                        <a:pt x="239" y="1675"/>
                      </a:lnTo>
                      <a:lnTo>
                        <a:pt x="0" y="0"/>
                      </a:lnTo>
                    </a:path>
                  </a:pathLst>
                </a:custGeom>
                <a:noFill/>
                <a:ln w="6350" cap="rnd">
                  <a:solidFill>
                    <a:schemeClr val="bg1">
                      <a:alpha val="40000"/>
                    </a:schemeClr>
                  </a:solidFill>
                  <a:prstDash val="solid"/>
                  <a:round/>
                </a:ln>
              </p:spPr>
              <p:txBody>
                <a:bodyPr rtlCol="0" anchor="ctr"/>
                <a:lstStyle/>
                <a:p>
                  <a:endParaRPr lang="en-GB"/>
                </a:p>
              </p:txBody>
            </p:sp>
            <p:sp>
              <p:nvSpPr>
                <p:cNvPr id="5847" name="Vrije vorm: vorm 5846">
                  <a:extLst>
                    <a:ext uri="{FF2B5EF4-FFF2-40B4-BE49-F238E27FC236}">
                      <a16:creationId xmlns:a16="http://schemas.microsoft.com/office/drawing/2014/main" id="{F6FFB17A-99A5-4993-8506-03C4750E19E2}"/>
                    </a:ext>
                  </a:extLst>
                </p:cNvPr>
                <p:cNvSpPr/>
                <p:nvPr/>
              </p:nvSpPr>
              <p:spPr>
                <a:xfrm>
                  <a:off x="6449331" y="1634990"/>
                  <a:ext cx="4903" cy="31937"/>
                </a:xfrm>
                <a:custGeom>
                  <a:avLst/>
                  <a:gdLst>
                    <a:gd name="connsiteX0" fmla="*/ 4904 w 4903"/>
                    <a:gd name="connsiteY0" fmla="*/ 31937 h 31937"/>
                    <a:gd name="connsiteX1" fmla="*/ 4665 w 4903"/>
                    <a:gd name="connsiteY1" fmla="*/ 30262 h 31937"/>
                    <a:gd name="connsiteX2" fmla="*/ 4186 w 4903"/>
                    <a:gd name="connsiteY2" fmla="*/ 27153 h 31937"/>
                    <a:gd name="connsiteX3" fmla="*/ 3708 w 4903"/>
                    <a:gd name="connsiteY3" fmla="*/ 24043 h 31937"/>
                    <a:gd name="connsiteX4" fmla="*/ 3229 w 4903"/>
                    <a:gd name="connsiteY4" fmla="*/ 20933 h 31937"/>
                    <a:gd name="connsiteX5" fmla="*/ 2751 w 4903"/>
                    <a:gd name="connsiteY5" fmla="*/ 17823 h 31937"/>
                    <a:gd name="connsiteX6" fmla="*/ 2273 w 4903"/>
                    <a:gd name="connsiteY6" fmla="*/ 14713 h 31937"/>
                    <a:gd name="connsiteX7" fmla="*/ 1794 w 4903"/>
                    <a:gd name="connsiteY7" fmla="*/ 11603 h 31937"/>
                    <a:gd name="connsiteX8" fmla="*/ 1316 w 4903"/>
                    <a:gd name="connsiteY8" fmla="*/ 8493 h 31937"/>
                    <a:gd name="connsiteX9" fmla="*/ 1256 w 4903"/>
                    <a:gd name="connsiteY9" fmla="*/ 8074 h 31937"/>
                    <a:gd name="connsiteX10" fmla="*/ 837 w 4903"/>
                    <a:gd name="connsiteY10" fmla="*/ 5383 h 31937"/>
                    <a:gd name="connsiteX11" fmla="*/ 359 w 4903"/>
                    <a:gd name="connsiteY11" fmla="*/ 2273 h 31937"/>
                    <a:gd name="connsiteX12" fmla="*/ 0 w 4903"/>
                    <a:gd name="connsiteY12" fmla="*/ 0 h 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3" h="31937">
                      <a:moveTo>
                        <a:pt x="4904" y="31937"/>
                      </a:moveTo>
                      <a:lnTo>
                        <a:pt x="4665" y="30262"/>
                      </a:lnTo>
                      <a:lnTo>
                        <a:pt x="4186" y="27153"/>
                      </a:lnTo>
                      <a:lnTo>
                        <a:pt x="3708" y="24043"/>
                      </a:lnTo>
                      <a:lnTo>
                        <a:pt x="3229" y="20933"/>
                      </a:lnTo>
                      <a:lnTo>
                        <a:pt x="2751" y="17823"/>
                      </a:lnTo>
                      <a:lnTo>
                        <a:pt x="2273" y="14713"/>
                      </a:lnTo>
                      <a:lnTo>
                        <a:pt x="1794" y="11603"/>
                      </a:lnTo>
                      <a:lnTo>
                        <a:pt x="1316" y="8493"/>
                      </a:lnTo>
                      <a:lnTo>
                        <a:pt x="1256" y="8074"/>
                      </a:lnTo>
                      <a:lnTo>
                        <a:pt x="837" y="5383"/>
                      </a:lnTo>
                      <a:lnTo>
                        <a:pt x="359" y="2273"/>
                      </a:lnTo>
                      <a:lnTo>
                        <a:pt x="0" y="0"/>
                      </a:lnTo>
                    </a:path>
                  </a:pathLst>
                </a:custGeom>
                <a:noFill/>
                <a:ln w="6350" cap="rnd">
                  <a:solidFill>
                    <a:schemeClr val="bg1">
                      <a:alpha val="40000"/>
                    </a:schemeClr>
                  </a:solidFill>
                  <a:prstDash val="solid"/>
                  <a:round/>
                </a:ln>
              </p:spPr>
              <p:txBody>
                <a:bodyPr rtlCol="0" anchor="ctr"/>
                <a:lstStyle/>
                <a:p>
                  <a:endParaRPr lang="en-GB"/>
                </a:p>
              </p:txBody>
            </p:sp>
          </p:grpSp>
          <p:grpSp>
            <p:nvGrpSpPr>
              <p:cNvPr id="5365" name="Graphic 3">
                <a:extLst>
                  <a:ext uri="{FF2B5EF4-FFF2-40B4-BE49-F238E27FC236}">
                    <a16:creationId xmlns:a16="http://schemas.microsoft.com/office/drawing/2014/main" id="{A92D0043-E7FC-4DB7-A3A9-BB800309984B}"/>
                  </a:ext>
                </a:extLst>
              </p:cNvPr>
              <p:cNvGrpSpPr/>
              <p:nvPr/>
            </p:nvGrpSpPr>
            <p:grpSpPr>
              <a:xfrm>
                <a:off x="6711475" y="1489910"/>
                <a:ext cx="60889" cy="57037"/>
                <a:chOff x="6711475" y="1489910"/>
                <a:chExt cx="60889" cy="57037"/>
              </a:xfrm>
              <a:solidFill>
                <a:srgbClr val="FFFFFF"/>
              </a:solidFill>
            </p:grpSpPr>
            <p:sp>
              <p:nvSpPr>
                <p:cNvPr id="5366" name="Vrije vorm: vorm 5365">
                  <a:extLst>
                    <a:ext uri="{FF2B5EF4-FFF2-40B4-BE49-F238E27FC236}">
                      <a16:creationId xmlns:a16="http://schemas.microsoft.com/office/drawing/2014/main" id="{437845B9-5D90-4B1F-A45C-58CF797FEB87}"/>
                    </a:ext>
                  </a:extLst>
                </p:cNvPr>
                <p:cNvSpPr/>
                <p:nvPr/>
              </p:nvSpPr>
              <p:spPr>
                <a:xfrm>
                  <a:off x="6714000" y="1531377"/>
                  <a:ext cx="17041" cy="15570"/>
                </a:xfrm>
                <a:custGeom>
                  <a:avLst/>
                  <a:gdLst>
                    <a:gd name="connsiteX0" fmla="*/ 755 w 17041"/>
                    <a:gd name="connsiteY0" fmla="*/ 5828 h 15570"/>
                    <a:gd name="connsiteX1" fmla="*/ 995 w 17041"/>
                    <a:gd name="connsiteY1" fmla="*/ 6008 h 15570"/>
                    <a:gd name="connsiteX2" fmla="*/ 11581 w 17041"/>
                    <a:gd name="connsiteY2" fmla="*/ 14919 h 15570"/>
                    <a:gd name="connsiteX3" fmla="*/ 15767 w 17041"/>
                    <a:gd name="connsiteY3" fmla="*/ 14321 h 15570"/>
                    <a:gd name="connsiteX4" fmla="*/ 16484 w 17041"/>
                    <a:gd name="connsiteY4" fmla="*/ 9895 h 15570"/>
                    <a:gd name="connsiteX5" fmla="*/ 5061 w 17041"/>
                    <a:gd name="connsiteY5" fmla="*/ 326 h 15570"/>
                    <a:gd name="connsiteX6" fmla="*/ 815 w 17041"/>
                    <a:gd name="connsiteY6" fmla="*/ 1821 h 15570"/>
                    <a:gd name="connsiteX7" fmla="*/ 755 w 17041"/>
                    <a:gd name="connsiteY7" fmla="*/ 5828 h 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41" h="15570">
                      <a:moveTo>
                        <a:pt x="755" y="5828"/>
                      </a:moveTo>
                      <a:cubicBezTo>
                        <a:pt x="815" y="5888"/>
                        <a:pt x="875" y="5948"/>
                        <a:pt x="995" y="6008"/>
                      </a:cubicBezTo>
                      <a:cubicBezTo>
                        <a:pt x="5779" y="8998"/>
                        <a:pt x="7813" y="10732"/>
                        <a:pt x="11581" y="14919"/>
                      </a:cubicBezTo>
                      <a:cubicBezTo>
                        <a:pt x="12477" y="15996"/>
                        <a:pt x="14391" y="15696"/>
                        <a:pt x="15767" y="14321"/>
                      </a:cubicBezTo>
                      <a:cubicBezTo>
                        <a:pt x="17143" y="12945"/>
                        <a:pt x="17442" y="10912"/>
                        <a:pt x="16484" y="9895"/>
                      </a:cubicBezTo>
                      <a:cubicBezTo>
                        <a:pt x="12477" y="5470"/>
                        <a:pt x="10145" y="3496"/>
                        <a:pt x="5061" y="326"/>
                      </a:cubicBezTo>
                      <a:cubicBezTo>
                        <a:pt x="3865" y="-451"/>
                        <a:pt x="1951" y="206"/>
                        <a:pt x="815" y="1821"/>
                      </a:cubicBezTo>
                      <a:cubicBezTo>
                        <a:pt x="-262" y="3257"/>
                        <a:pt x="-262" y="4991"/>
                        <a:pt x="755" y="5828"/>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367" name="Vrije vorm: vorm 5366">
                  <a:extLst>
                    <a:ext uri="{FF2B5EF4-FFF2-40B4-BE49-F238E27FC236}">
                      <a16:creationId xmlns:a16="http://schemas.microsoft.com/office/drawing/2014/main" id="{6BF681B1-6764-4B6C-B4A5-17AF04BFDD1D}"/>
                    </a:ext>
                  </a:extLst>
                </p:cNvPr>
                <p:cNvSpPr/>
                <p:nvPr/>
              </p:nvSpPr>
              <p:spPr>
                <a:xfrm>
                  <a:off x="6714963" y="1517515"/>
                  <a:ext cx="29569" cy="26144"/>
                </a:xfrm>
                <a:custGeom>
                  <a:avLst/>
                  <a:gdLst>
                    <a:gd name="connsiteX0" fmla="*/ 24313 w 29569"/>
                    <a:gd name="connsiteY0" fmla="*/ 25671 h 26144"/>
                    <a:gd name="connsiteX1" fmla="*/ 28081 w 29569"/>
                    <a:gd name="connsiteY1" fmla="*/ 25133 h 26144"/>
                    <a:gd name="connsiteX2" fmla="*/ 29158 w 29569"/>
                    <a:gd name="connsiteY2" fmla="*/ 20647 h 26144"/>
                    <a:gd name="connsiteX3" fmla="*/ 18333 w 29569"/>
                    <a:gd name="connsiteY3" fmla="*/ 8806 h 26144"/>
                    <a:gd name="connsiteX4" fmla="*/ 4816 w 29569"/>
                    <a:gd name="connsiteY4" fmla="*/ 193 h 26144"/>
                    <a:gd name="connsiteX5" fmla="*/ 630 w 29569"/>
                    <a:gd name="connsiteY5" fmla="*/ 2047 h 26144"/>
                    <a:gd name="connsiteX6" fmla="*/ 1168 w 29569"/>
                    <a:gd name="connsiteY6" fmla="*/ 6114 h 26144"/>
                    <a:gd name="connsiteX7" fmla="*/ 13847 w 29569"/>
                    <a:gd name="connsiteY7" fmla="*/ 14188 h 26144"/>
                    <a:gd name="connsiteX8" fmla="*/ 24015 w 29569"/>
                    <a:gd name="connsiteY8" fmla="*/ 25253 h 26144"/>
                    <a:gd name="connsiteX9" fmla="*/ 24313 w 29569"/>
                    <a:gd name="connsiteY9" fmla="*/ 25671 h 2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69" h="26144">
                      <a:moveTo>
                        <a:pt x="24313" y="25671"/>
                      </a:moveTo>
                      <a:cubicBezTo>
                        <a:pt x="25211" y="26449"/>
                        <a:pt x="26825" y="26269"/>
                        <a:pt x="28081" y="25133"/>
                      </a:cubicBezTo>
                      <a:cubicBezTo>
                        <a:pt x="29517" y="23877"/>
                        <a:pt x="29995" y="21844"/>
                        <a:pt x="29158" y="20647"/>
                      </a:cubicBezTo>
                      <a:cubicBezTo>
                        <a:pt x="25869" y="15982"/>
                        <a:pt x="22639" y="12454"/>
                        <a:pt x="18333" y="8806"/>
                      </a:cubicBezTo>
                      <a:cubicBezTo>
                        <a:pt x="14026" y="5217"/>
                        <a:pt x="9960" y="2586"/>
                        <a:pt x="4816" y="193"/>
                      </a:cubicBezTo>
                      <a:cubicBezTo>
                        <a:pt x="3501" y="-405"/>
                        <a:pt x="1647" y="433"/>
                        <a:pt x="630" y="2047"/>
                      </a:cubicBezTo>
                      <a:cubicBezTo>
                        <a:pt x="-387" y="3662"/>
                        <a:pt x="-148" y="5516"/>
                        <a:pt x="1168" y="6114"/>
                      </a:cubicBezTo>
                      <a:cubicBezTo>
                        <a:pt x="7269" y="8985"/>
                        <a:pt x="10977" y="11796"/>
                        <a:pt x="13847" y="14188"/>
                      </a:cubicBezTo>
                      <a:cubicBezTo>
                        <a:pt x="16718" y="16581"/>
                        <a:pt x="20127" y="19750"/>
                        <a:pt x="24015" y="25253"/>
                      </a:cubicBezTo>
                      <a:cubicBezTo>
                        <a:pt x="24074" y="25432"/>
                        <a:pt x="24194" y="25552"/>
                        <a:pt x="24313" y="25671"/>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368" name="Vrije vorm: vorm 5367">
                  <a:extLst>
                    <a:ext uri="{FF2B5EF4-FFF2-40B4-BE49-F238E27FC236}">
                      <a16:creationId xmlns:a16="http://schemas.microsoft.com/office/drawing/2014/main" id="{77C2F07F-F1E9-40F1-93A1-8214904B0185}"/>
                    </a:ext>
                  </a:extLst>
                </p:cNvPr>
                <p:cNvSpPr/>
                <p:nvPr/>
              </p:nvSpPr>
              <p:spPr>
                <a:xfrm>
                  <a:off x="6713197" y="1503176"/>
                  <a:ext cx="45677" cy="39700"/>
                </a:xfrm>
                <a:custGeom>
                  <a:avLst/>
                  <a:gdLst>
                    <a:gd name="connsiteX0" fmla="*/ 721 w 45677"/>
                    <a:gd name="connsiteY0" fmla="*/ 5860 h 39700"/>
                    <a:gd name="connsiteX1" fmla="*/ 1379 w 45677"/>
                    <a:gd name="connsiteY1" fmla="*/ 6219 h 39700"/>
                    <a:gd name="connsiteX2" fmla="*/ 17706 w 45677"/>
                    <a:gd name="connsiteY2" fmla="*/ 13934 h 39700"/>
                    <a:gd name="connsiteX3" fmla="*/ 29548 w 45677"/>
                    <a:gd name="connsiteY3" fmla="*/ 23862 h 39700"/>
                    <a:gd name="connsiteX4" fmla="*/ 39955 w 45677"/>
                    <a:gd name="connsiteY4" fmla="*/ 38634 h 39700"/>
                    <a:gd name="connsiteX5" fmla="*/ 43902 w 45677"/>
                    <a:gd name="connsiteY5" fmla="*/ 38873 h 39700"/>
                    <a:gd name="connsiteX6" fmla="*/ 45397 w 45677"/>
                    <a:gd name="connsiteY6" fmla="*/ 34388 h 39700"/>
                    <a:gd name="connsiteX7" fmla="*/ 34393 w 45677"/>
                    <a:gd name="connsiteY7" fmla="*/ 18778 h 39700"/>
                    <a:gd name="connsiteX8" fmla="*/ 21833 w 45677"/>
                    <a:gd name="connsiteY8" fmla="*/ 8252 h 39700"/>
                    <a:gd name="connsiteX9" fmla="*/ 4549 w 45677"/>
                    <a:gd name="connsiteY9" fmla="*/ 118 h 39700"/>
                    <a:gd name="connsiteX10" fmla="*/ 422 w 45677"/>
                    <a:gd name="connsiteY10" fmla="*/ 2391 h 39700"/>
                    <a:gd name="connsiteX11" fmla="*/ 721 w 45677"/>
                    <a:gd name="connsiteY11" fmla="*/ 5860 h 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77" h="39700">
                      <a:moveTo>
                        <a:pt x="721" y="5860"/>
                      </a:moveTo>
                      <a:cubicBezTo>
                        <a:pt x="901" y="6039"/>
                        <a:pt x="1140" y="6159"/>
                        <a:pt x="1379" y="6219"/>
                      </a:cubicBezTo>
                      <a:cubicBezTo>
                        <a:pt x="7360" y="8132"/>
                        <a:pt x="12563" y="10584"/>
                        <a:pt x="17706" y="13934"/>
                      </a:cubicBezTo>
                      <a:cubicBezTo>
                        <a:pt x="22132" y="16804"/>
                        <a:pt x="25900" y="19974"/>
                        <a:pt x="29548" y="23862"/>
                      </a:cubicBezTo>
                      <a:cubicBezTo>
                        <a:pt x="33735" y="28347"/>
                        <a:pt x="37024" y="33012"/>
                        <a:pt x="39955" y="38634"/>
                      </a:cubicBezTo>
                      <a:cubicBezTo>
                        <a:pt x="40613" y="39950"/>
                        <a:pt x="42407" y="40069"/>
                        <a:pt x="43902" y="38873"/>
                      </a:cubicBezTo>
                      <a:cubicBezTo>
                        <a:pt x="45397" y="37737"/>
                        <a:pt x="46115" y="35704"/>
                        <a:pt x="45397" y="34388"/>
                      </a:cubicBezTo>
                      <a:cubicBezTo>
                        <a:pt x="42287" y="28467"/>
                        <a:pt x="38818" y="23503"/>
                        <a:pt x="34393" y="18778"/>
                      </a:cubicBezTo>
                      <a:cubicBezTo>
                        <a:pt x="30565" y="14651"/>
                        <a:pt x="26558" y="11302"/>
                        <a:pt x="21833" y="8252"/>
                      </a:cubicBezTo>
                      <a:cubicBezTo>
                        <a:pt x="16391" y="4723"/>
                        <a:pt x="10889" y="2092"/>
                        <a:pt x="4549" y="118"/>
                      </a:cubicBezTo>
                      <a:cubicBezTo>
                        <a:pt x="3173" y="-360"/>
                        <a:pt x="1259" y="656"/>
                        <a:pt x="422" y="2391"/>
                      </a:cubicBezTo>
                      <a:cubicBezTo>
                        <a:pt x="-236" y="3766"/>
                        <a:pt x="-116" y="5142"/>
                        <a:pt x="721" y="5860"/>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sp>
              <p:nvSpPr>
                <p:cNvPr id="5369" name="Vrije vorm: vorm 5368">
                  <a:extLst>
                    <a:ext uri="{FF2B5EF4-FFF2-40B4-BE49-F238E27FC236}">
                      <a16:creationId xmlns:a16="http://schemas.microsoft.com/office/drawing/2014/main" id="{C705729E-8131-4A30-99F6-875EA30FB20F}"/>
                    </a:ext>
                  </a:extLst>
                </p:cNvPr>
                <p:cNvSpPr/>
                <p:nvPr/>
              </p:nvSpPr>
              <p:spPr>
                <a:xfrm>
                  <a:off x="6711475" y="1489910"/>
                  <a:ext cx="60889" cy="52372"/>
                </a:xfrm>
                <a:custGeom>
                  <a:avLst/>
                  <a:gdLst>
                    <a:gd name="connsiteX0" fmla="*/ 769 w 60889"/>
                    <a:gd name="connsiteY0" fmla="*/ 5789 h 52372"/>
                    <a:gd name="connsiteX1" fmla="*/ 1606 w 60889"/>
                    <a:gd name="connsiteY1" fmla="*/ 6208 h 52372"/>
                    <a:gd name="connsiteX2" fmla="*/ 25290 w 60889"/>
                    <a:gd name="connsiteY2" fmla="*/ 15538 h 52372"/>
                    <a:gd name="connsiteX3" fmla="*/ 41796 w 60889"/>
                    <a:gd name="connsiteY3" fmla="*/ 29413 h 52372"/>
                    <a:gd name="connsiteX4" fmla="*/ 55074 w 60889"/>
                    <a:gd name="connsiteY4" fmla="*/ 51123 h 52372"/>
                    <a:gd name="connsiteX5" fmla="*/ 58901 w 60889"/>
                    <a:gd name="connsiteY5" fmla="*/ 51721 h 52372"/>
                    <a:gd name="connsiteX6" fmla="*/ 60696 w 60889"/>
                    <a:gd name="connsiteY6" fmla="*/ 47295 h 52372"/>
                    <a:gd name="connsiteX7" fmla="*/ 46701 w 60889"/>
                    <a:gd name="connsiteY7" fmla="*/ 24449 h 52372"/>
                    <a:gd name="connsiteX8" fmla="*/ 29297 w 60889"/>
                    <a:gd name="connsiteY8" fmla="*/ 9856 h 52372"/>
                    <a:gd name="connsiteX9" fmla="*/ 4357 w 60889"/>
                    <a:gd name="connsiteY9" fmla="*/ 48 h 52372"/>
                    <a:gd name="connsiteX10" fmla="*/ 290 w 60889"/>
                    <a:gd name="connsiteY10" fmla="*/ 2619 h 52372"/>
                    <a:gd name="connsiteX11" fmla="*/ 769 w 60889"/>
                    <a:gd name="connsiteY11" fmla="*/ 5789 h 5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889" h="52372">
                      <a:moveTo>
                        <a:pt x="769" y="5789"/>
                      </a:moveTo>
                      <a:cubicBezTo>
                        <a:pt x="1008" y="5969"/>
                        <a:pt x="1307" y="6148"/>
                        <a:pt x="1606" y="6208"/>
                      </a:cubicBezTo>
                      <a:cubicBezTo>
                        <a:pt x="10398" y="8122"/>
                        <a:pt x="17933" y="11052"/>
                        <a:pt x="25290" y="15538"/>
                      </a:cubicBezTo>
                      <a:cubicBezTo>
                        <a:pt x="31629" y="19365"/>
                        <a:pt x="36892" y="23791"/>
                        <a:pt x="41796" y="29413"/>
                      </a:cubicBezTo>
                      <a:cubicBezTo>
                        <a:pt x="47478" y="35872"/>
                        <a:pt x="51665" y="42750"/>
                        <a:pt x="55074" y="51123"/>
                      </a:cubicBezTo>
                      <a:cubicBezTo>
                        <a:pt x="55672" y="52499"/>
                        <a:pt x="57346" y="52798"/>
                        <a:pt x="58901" y="51721"/>
                      </a:cubicBezTo>
                      <a:cubicBezTo>
                        <a:pt x="60457" y="50645"/>
                        <a:pt x="61294" y="48671"/>
                        <a:pt x="60696" y="47295"/>
                      </a:cubicBezTo>
                      <a:cubicBezTo>
                        <a:pt x="57107" y="38504"/>
                        <a:pt x="52681" y="31207"/>
                        <a:pt x="46701" y="24449"/>
                      </a:cubicBezTo>
                      <a:cubicBezTo>
                        <a:pt x="41557" y="18588"/>
                        <a:pt x="35995" y="13923"/>
                        <a:pt x="29297" y="9856"/>
                      </a:cubicBezTo>
                      <a:cubicBezTo>
                        <a:pt x="21582" y="5131"/>
                        <a:pt x="13627" y="2021"/>
                        <a:pt x="4357" y="48"/>
                      </a:cubicBezTo>
                      <a:cubicBezTo>
                        <a:pt x="2862" y="-251"/>
                        <a:pt x="1068" y="885"/>
                        <a:pt x="290" y="2619"/>
                      </a:cubicBezTo>
                      <a:cubicBezTo>
                        <a:pt x="-248" y="3816"/>
                        <a:pt x="-9" y="5131"/>
                        <a:pt x="769" y="5789"/>
                      </a:cubicBezTo>
                      <a:close/>
                    </a:path>
                  </a:pathLst>
                </a:custGeom>
                <a:solidFill>
                  <a:srgbClr val="FFFFFF"/>
                </a:solidFill>
                <a:ln w="6350" cap="flat">
                  <a:solidFill>
                    <a:schemeClr val="bg1">
                      <a:alpha val="40000"/>
                    </a:schemeClr>
                  </a:solidFill>
                  <a:prstDash val="solid"/>
                  <a:miter/>
                </a:ln>
              </p:spPr>
              <p:txBody>
                <a:bodyPr rtlCol="0" anchor="ctr"/>
                <a:lstStyle/>
                <a:p>
                  <a:endParaRPr lang="en-GB"/>
                </a:p>
              </p:txBody>
            </p:sp>
          </p:grpSp>
        </p:grpSp>
        <p:grpSp>
          <p:nvGrpSpPr>
            <p:cNvPr id="7144" name="DRONE_1">
              <a:extLst>
                <a:ext uri="{FF2B5EF4-FFF2-40B4-BE49-F238E27FC236}">
                  <a16:creationId xmlns:a16="http://schemas.microsoft.com/office/drawing/2014/main" id="{FEE50096-0ACF-4692-A13A-944BDB3EDA71}"/>
                </a:ext>
              </a:extLst>
            </p:cNvPr>
            <p:cNvGrpSpPr/>
            <p:nvPr userDrawn="1"/>
          </p:nvGrpSpPr>
          <p:grpSpPr>
            <a:xfrm>
              <a:off x="7811155" y="2484485"/>
              <a:ext cx="95078" cy="107930"/>
              <a:chOff x="7779061" y="2300965"/>
              <a:chExt cx="95078" cy="107930"/>
            </a:xfrm>
            <a:solidFill>
              <a:schemeClr val="accent1"/>
            </a:solidFill>
          </p:grpSpPr>
          <p:grpSp>
            <p:nvGrpSpPr>
              <p:cNvPr id="7145" name="Graphic 3">
                <a:extLst>
                  <a:ext uri="{FF2B5EF4-FFF2-40B4-BE49-F238E27FC236}">
                    <a16:creationId xmlns:a16="http://schemas.microsoft.com/office/drawing/2014/main" id="{1CF48AAB-4389-4B55-A8AB-7FC3ED661D4B}"/>
                  </a:ext>
                </a:extLst>
              </p:cNvPr>
              <p:cNvGrpSpPr/>
              <p:nvPr/>
            </p:nvGrpSpPr>
            <p:grpSpPr>
              <a:xfrm>
                <a:off x="7779061" y="2366053"/>
                <a:ext cx="70835" cy="42842"/>
                <a:chOff x="7779061" y="2366053"/>
                <a:chExt cx="70835" cy="42842"/>
              </a:xfrm>
              <a:solidFill>
                <a:srgbClr val="FFFFFF"/>
              </a:solidFill>
            </p:grpSpPr>
            <p:sp>
              <p:nvSpPr>
                <p:cNvPr id="7163" name="Vrije vorm: vorm 7162">
                  <a:extLst>
                    <a:ext uri="{FF2B5EF4-FFF2-40B4-BE49-F238E27FC236}">
                      <a16:creationId xmlns:a16="http://schemas.microsoft.com/office/drawing/2014/main" id="{0C66A679-4D6C-438C-9F5E-938355E307D4}"/>
                    </a:ext>
                  </a:extLst>
                </p:cNvPr>
                <p:cNvSpPr/>
                <p:nvPr/>
              </p:nvSpPr>
              <p:spPr>
                <a:xfrm>
                  <a:off x="7813418" y="2366053"/>
                  <a:ext cx="18308" cy="10774"/>
                </a:xfrm>
                <a:custGeom>
                  <a:avLst/>
                  <a:gdLst>
                    <a:gd name="connsiteX0" fmla="*/ 16682 w 18308"/>
                    <a:gd name="connsiteY0" fmla="*/ 5583 h 10774"/>
                    <a:gd name="connsiteX1" fmla="*/ 16443 w 18308"/>
                    <a:gd name="connsiteY1" fmla="*/ 5523 h 10774"/>
                    <a:gd name="connsiteX2" fmla="*/ 3764 w 18308"/>
                    <a:gd name="connsiteY2" fmla="*/ 320 h 10774"/>
                    <a:gd name="connsiteX3" fmla="*/ 295 w 18308"/>
                    <a:gd name="connsiteY3" fmla="*/ 1456 h 10774"/>
                    <a:gd name="connsiteX4" fmla="*/ 1371 w 18308"/>
                    <a:gd name="connsiteY4" fmla="*/ 5045 h 10774"/>
                    <a:gd name="connsiteX5" fmla="*/ 15067 w 18308"/>
                    <a:gd name="connsiteY5" fmla="*/ 10666 h 10774"/>
                    <a:gd name="connsiteX6" fmla="*/ 18237 w 18308"/>
                    <a:gd name="connsiteY6" fmla="*/ 8812 h 10774"/>
                    <a:gd name="connsiteX7" fmla="*/ 16682 w 18308"/>
                    <a:gd name="connsiteY7" fmla="*/ 5583 h 1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08" h="10774">
                      <a:moveTo>
                        <a:pt x="16682" y="5583"/>
                      </a:moveTo>
                      <a:cubicBezTo>
                        <a:pt x="16622" y="5523"/>
                        <a:pt x="16503" y="5523"/>
                        <a:pt x="16443" y="5523"/>
                      </a:cubicBezTo>
                      <a:cubicBezTo>
                        <a:pt x="11120" y="3968"/>
                        <a:pt x="8608" y="2951"/>
                        <a:pt x="3764" y="320"/>
                      </a:cubicBezTo>
                      <a:cubicBezTo>
                        <a:pt x="2568" y="-398"/>
                        <a:pt x="953" y="140"/>
                        <a:pt x="295" y="1456"/>
                      </a:cubicBezTo>
                      <a:cubicBezTo>
                        <a:pt x="-363" y="2772"/>
                        <a:pt x="115" y="4387"/>
                        <a:pt x="1371" y="5045"/>
                      </a:cubicBezTo>
                      <a:cubicBezTo>
                        <a:pt x="6574" y="7856"/>
                        <a:pt x="9386" y="8992"/>
                        <a:pt x="15067" y="10666"/>
                      </a:cubicBezTo>
                      <a:cubicBezTo>
                        <a:pt x="16443" y="11085"/>
                        <a:pt x="17818" y="10248"/>
                        <a:pt x="18237" y="8812"/>
                      </a:cubicBezTo>
                      <a:cubicBezTo>
                        <a:pt x="18536" y="7437"/>
                        <a:pt x="17878" y="6121"/>
                        <a:pt x="16682" y="5583"/>
                      </a:cubicBezTo>
                      <a:close/>
                    </a:path>
                  </a:pathLst>
                </a:custGeom>
                <a:solidFill>
                  <a:srgbClr val="FFFFFF"/>
                </a:solidFill>
                <a:ln w="5978" cap="flat">
                  <a:noFill/>
                  <a:prstDash val="solid"/>
                  <a:miter/>
                </a:ln>
              </p:spPr>
              <p:txBody>
                <a:bodyPr rtlCol="0" anchor="ctr"/>
                <a:lstStyle/>
                <a:p>
                  <a:endParaRPr lang="en-GB"/>
                </a:p>
              </p:txBody>
            </p:sp>
            <p:sp>
              <p:nvSpPr>
                <p:cNvPr id="7164" name="Vrije vorm: vorm 7163">
                  <a:extLst>
                    <a:ext uri="{FF2B5EF4-FFF2-40B4-BE49-F238E27FC236}">
                      <a16:creationId xmlns:a16="http://schemas.microsoft.com/office/drawing/2014/main" id="{07179A3C-01F4-468D-927E-0DD7E711E400}"/>
                    </a:ext>
                  </a:extLst>
                </p:cNvPr>
                <p:cNvSpPr/>
                <p:nvPr/>
              </p:nvSpPr>
              <p:spPr>
                <a:xfrm>
                  <a:off x="7802835" y="2370842"/>
                  <a:ext cx="33344" cy="16917"/>
                </a:xfrm>
                <a:custGeom>
                  <a:avLst/>
                  <a:gdLst>
                    <a:gd name="connsiteX0" fmla="*/ 3522 w 33344"/>
                    <a:gd name="connsiteY0" fmla="*/ 195 h 16917"/>
                    <a:gd name="connsiteX1" fmla="*/ 412 w 33344"/>
                    <a:gd name="connsiteY1" fmla="*/ 1272 h 16917"/>
                    <a:gd name="connsiteX2" fmla="*/ 1189 w 33344"/>
                    <a:gd name="connsiteY2" fmla="*/ 4920 h 16917"/>
                    <a:gd name="connsiteX3" fmla="*/ 15184 w 33344"/>
                    <a:gd name="connsiteY3" fmla="*/ 12396 h 16917"/>
                    <a:gd name="connsiteX4" fmla="*/ 30316 w 33344"/>
                    <a:gd name="connsiteY4" fmla="*/ 16881 h 16917"/>
                    <a:gd name="connsiteX5" fmla="*/ 33306 w 33344"/>
                    <a:gd name="connsiteY5" fmla="*/ 14728 h 16917"/>
                    <a:gd name="connsiteX6" fmla="*/ 31272 w 33344"/>
                    <a:gd name="connsiteY6" fmla="*/ 11618 h 16917"/>
                    <a:gd name="connsiteX7" fmla="*/ 17098 w 33344"/>
                    <a:gd name="connsiteY7" fmla="*/ 7372 h 16917"/>
                    <a:gd name="connsiteX8" fmla="*/ 3940 w 33344"/>
                    <a:gd name="connsiteY8" fmla="*/ 374 h 16917"/>
                    <a:gd name="connsiteX9" fmla="*/ 3522 w 33344"/>
                    <a:gd name="connsiteY9" fmla="*/ 195 h 1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44" h="16917">
                      <a:moveTo>
                        <a:pt x="3522" y="195"/>
                      </a:moveTo>
                      <a:cubicBezTo>
                        <a:pt x="2385" y="-284"/>
                        <a:pt x="1130" y="135"/>
                        <a:pt x="412" y="1272"/>
                      </a:cubicBezTo>
                      <a:cubicBezTo>
                        <a:pt x="-366" y="2527"/>
                        <a:pt x="-7" y="4142"/>
                        <a:pt x="1189" y="4920"/>
                      </a:cubicBezTo>
                      <a:cubicBezTo>
                        <a:pt x="5854" y="8030"/>
                        <a:pt x="10041" y="10243"/>
                        <a:pt x="15184" y="12396"/>
                      </a:cubicBezTo>
                      <a:cubicBezTo>
                        <a:pt x="20327" y="14489"/>
                        <a:pt x="24873" y="15865"/>
                        <a:pt x="30316" y="16881"/>
                      </a:cubicBezTo>
                      <a:cubicBezTo>
                        <a:pt x="31691" y="17120"/>
                        <a:pt x="33007" y="16163"/>
                        <a:pt x="33306" y="14728"/>
                      </a:cubicBezTo>
                      <a:cubicBezTo>
                        <a:pt x="33545" y="13293"/>
                        <a:pt x="32648" y="11917"/>
                        <a:pt x="31272" y="11618"/>
                      </a:cubicBezTo>
                      <a:cubicBezTo>
                        <a:pt x="24873" y="10422"/>
                        <a:pt x="20507" y="8807"/>
                        <a:pt x="17098" y="7372"/>
                      </a:cubicBezTo>
                      <a:cubicBezTo>
                        <a:pt x="13689" y="5996"/>
                        <a:pt x="9443" y="4023"/>
                        <a:pt x="3940" y="374"/>
                      </a:cubicBezTo>
                      <a:cubicBezTo>
                        <a:pt x="3821" y="315"/>
                        <a:pt x="3641" y="255"/>
                        <a:pt x="3522" y="195"/>
                      </a:cubicBezTo>
                      <a:close/>
                    </a:path>
                  </a:pathLst>
                </a:custGeom>
                <a:solidFill>
                  <a:srgbClr val="FFFFFF"/>
                </a:solidFill>
                <a:ln w="5978" cap="flat">
                  <a:noFill/>
                  <a:prstDash val="solid"/>
                  <a:miter/>
                </a:ln>
              </p:spPr>
              <p:txBody>
                <a:bodyPr rtlCol="0" anchor="ctr"/>
                <a:lstStyle/>
                <a:p>
                  <a:endParaRPr lang="en-GB"/>
                </a:p>
              </p:txBody>
            </p:sp>
            <p:sp>
              <p:nvSpPr>
                <p:cNvPr id="7165" name="Vrije vorm: vorm 7164">
                  <a:extLst>
                    <a:ext uri="{FF2B5EF4-FFF2-40B4-BE49-F238E27FC236}">
                      <a16:creationId xmlns:a16="http://schemas.microsoft.com/office/drawing/2014/main" id="{952ECC64-1983-4C35-BFE5-AD227ECD34AC}"/>
                    </a:ext>
                  </a:extLst>
                </p:cNvPr>
                <p:cNvSpPr/>
                <p:nvPr/>
              </p:nvSpPr>
              <p:spPr>
                <a:xfrm>
                  <a:off x="7790536" y="2373877"/>
                  <a:ext cx="52725" cy="24860"/>
                </a:xfrm>
                <a:custGeom>
                  <a:avLst/>
                  <a:gdLst>
                    <a:gd name="connsiteX0" fmla="*/ 51107 w 52725"/>
                    <a:gd name="connsiteY0" fmla="*/ 19708 h 24860"/>
                    <a:gd name="connsiteX1" fmla="*/ 50389 w 52725"/>
                    <a:gd name="connsiteY1" fmla="*/ 19529 h 24860"/>
                    <a:gd name="connsiteX2" fmla="*/ 33105 w 52725"/>
                    <a:gd name="connsiteY2" fmla="*/ 16179 h 24860"/>
                    <a:gd name="connsiteX3" fmla="*/ 18930 w 52725"/>
                    <a:gd name="connsiteY3" fmla="*/ 10378 h 24860"/>
                    <a:gd name="connsiteX4" fmla="*/ 4158 w 52725"/>
                    <a:gd name="connsiteY4" fmla="*/ 570 h 24860"/>
                    <a:gd name="connsiteX5" fmla="*/ 570 w 52725"/>
                    <a:gd name="connsiteY5" fmla="*/ 988 h 24860"/>
                    <a:gd name="connsiteX6" fmla="*/ 988 w 52725"/>
                    <a:gd name="connsiteY6" fmla="*/ 4756 h 24860"/>
                    <a:gd name="connsiteX7" fmla="*/ 16658 w 52725"/>
                    <a:gd name="connsiteY7" fmla="*/ 15163 h 24860"/>
                    <a:gd name="connsiteX8" fmla="*/ 31669 w 52725"/>
                    <a:gd name="connsiteY8" fmla="*/ 21323 h 24860"/>
                    <a:gd name="connsiteX9" fmla="*/ 49971 w 52725"/>
                    <a:gd name="connsiteY9" fmla="*/ 24851 h 24860"/>
                    <a:gd name="connsiteX10" fmla="*/ 52721 w 52725"/>
                    <a:gd name="connsiteY10" fmla="*/ 22399 h 24860"/>
                    <a:gd name="connsiteX11" fmla="*/ 51107 w 52725"/>
                    <a:gd name="connsiteY11" fmla="*/ 19708 h 24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725" h="24860">
                      <a:moveTo>
                        <a:pt x="51107" y="19708"/>
                      </a:moveTo>
                      <a:cubicBezTo>
                        <a:pt x="50868" y="19588"/>
                        <a:pt x="50628" y="19529"/>
                        <a:pt x="50389" y="19529"/>
                      </a:cubicBezTo>
                      <a:cubicBezTo>
                        <a:pt x="44408" y="19050"/>
                        <a:pt x="38906" y="17974"/>
                        <a:pt x="33105" y="16179"/>
                      </a:cubicBezTo>
                      <a:cubicBezTo>
                        <a:pt x="28081" y="14624"/>
                        <a:pt x="23595" y="12830"/>
                        <a:pt x="18930" y="10378"/>
                      </a:cubicBezTo>
                      <a:cubicBezTo>
                        <a:pt x="13548" y="7567"/>
                        <a:pt x="8823" y="4457"/>
                        <a:pt x="4158" y="570"/>
                      </a:cubicBezTo>
                      <a:cubicBezTo>
                        <a:pt x="3082" y="-327"/>
                        <a:pt x="1467" y="-148"/>
                        <a:pt x="570" y="988"/>
                      </a:cubicBezTo>
                      <a:cubicBezTo>
                        <a:pt x="-328" y="2125"/>
                        <a:pt x="-148" y="3799"/>
                        <a:pt x="988" y="4756"/>
                      </a:cubicBezTo>
                      <a:cubicBezTo>
                        <a:pt x="5953" y="8883"/>
                        <a:pt x="10916" y="12172"/>
                        <a:pt x="16658" y="15163"/>
                      </a:cubicBezTo>
                      <a:cubicBezTo>
                        <a:pt x="21622" y="17734"/>
                        <a:pt x="26347" y="19708"/>
                        <a:pt x="31669" y="21323"/>
                      </a:cubicBezTo>
                      <a:cubicBezTo>
                        <a:pt x="37770" y="23177"/>
                        <a:pt x="43571" y="24313"/>
                        <a:pt x="49971" y="24851"/>
                      </a:cubicBezTo>
                      <a:cubicBezTo>
                        <a:pt x="51346" y="24971"/>
                        <a:pt x="52602" y="23894"/>
                        <a:pt x="52721" y="22399"/>
                      </a:cubicBezTo>
                      <a:cubicBezTo>
                        <a:pt x="52781" y="21203"/>
                        <a:pt x="52124" y="20067"/>
                        <a:pt x="51107" y="19708"/>
                      </a:cubicBezTo>
                      <a:close/>
                    </a:path>
                  </a:pathLst>
                </a:custGeom>
                <a:solidFill>
                  <a:srgbClr val="FFFFFF"/>
                </a:solidFill>
                <a:ln w="5978" cap="flat">
                  <a:noFill/>
                  <a:prstDash val="solid"/>
                  <a:miter/>
                </a:ln>
              </p:spPr>
              <p:txBody>
                <a:bodyPr rtlCol="0" anchor="ctr"/>
                <a:lstStyle/>
                <a:p>
                  <a:endParaRPr lang="en-GB"/>
                </a:p>
              </p:txBody>
            </p:sp>
            <p:sp>
              <p:nvSpPr>
                <p:cNvPr id="7166" name="Vrije vorm: vorm 7165">
                  <a:extLst>
                    <a:ext uri="{FF2B5EF4-FFF2-40B4-BE49-F238E27FC236}">
                      <a16:creationId xmlns:a16="http://schemas.microsoft.com/office/drawing/2014/main" id="{5DA7E770-9922-44FF-88D7-FCB91BA9CB52}"/>
                    </a:ext>
                  </a:extLst>
                </p:cNvPr>
                <p:cNvSpPr/>
                <p:nvPr/>
              </p:nvSpPr>
              <p:spPr>
                <a:xfrm>
                  <a:off x="7779061" y="2376582"/>
                  <a:ext cx="70835" cy="32313"/>
                </a:xfrm>
                <a:custGeom>
                  <a:avLst/>
                  <a:gdLst>
                    <a:gd name="connsiteX0" fmla="*/ 69222 w 70835"/>
                    <a:gd name="connsiteY0" fmla="*/ 27170 h 32313"/>
                    <a:gd name="connsiteX1" fmla="*/ 68324 w 70835"/>
                    <a:gd name="connsiteY1" fmla="*/ 26991 h 32313"/>
                    <a:gd name="connsiteX2" fmla="*/ 43982 w 70835"/>
                    <a:gd name="connsiteY2" fmla="*/ 23582 h 32313"/>
                    <a:gd name="connsiteX3" fmla="*/ 24246 w 70835"/>
                    <a:gd name="connsiteY3" fmla="*/ 15448 h 32313"/>
                    <a:gd name="connsiteX4" fmla="*/ 4270 w 70835"/>
                    <a:gd name="connsiteY4" fmla="*/ 675 h 32313"/>
                    <a:gd name="connsiteX5" fmla="*/ 682 w 70835"/>
                    <a:gd name="connsiteY5" fmla="*/ 855 h 32313"/>
                    <a:gd name="connsiteX6" fmla="*/ 802 w 70835"/>
                    <a:gd name="connsiteY6" fmla="*/ 4623 h 32313"/>
                    <a:gd name="connsiteX7" fmla="*/ 21854 w 70835"/>
                    <a:gd name="connsiteY7" fmla="*/ 20173 h 32313"/>
                    <a:gd name="connsiteX8" fmla="*/ 42667 w 70835"/>
                    <a:gd name="connsiteY8" fmla="*/ 28725 h 32313"/>
                    <a:gd name="connsiteX9" fmla="*/ 68264 w 70835"/>
                    <a:gd name="connsiteY9" fmla="*/ 32314 h 32313"/>
                    <a:gd name="connsiteX10" fmla="*/ 70836 w 70835"/>
                    <a:gd name="connsiteY10" fmla="*/ 29682 h 32313"/>
                    <a:gd name="connsiteX11" fmla="*/ 69222 w 70835"/>
                    <a:gd name="connsiteY11" fmla="*/ 27170 h 32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835" h="32313">
                      <a:moveTo>
                        <a:pt x="69222" y="27170"/>
                      </a:moveTo>
                      <a:cubicBezTo>
                        <a:pt x="68922" y="27050"/>
                        <a:pt x="68623" y="26991"/>
                        <a:pt x="68324" y="26991"/>
                      </a:cubicBezTo>
                      <a:cubicBezTo>
                        <a:pt x="59891" y="26931"/>
                        <a:pt x="52176" y="25854"/>
                        <a:pt x="43982" y="23582"/>
                      </a:cubicBezTo>
                      <a:cubicBezTo>
                        <a:pt x="36925" y="21608"/>
                        <a:pt x="30645" y="19036"/>
                        <a:pt x="24246" y="15448"/>
                      </a:cubicBezTo>
                      <a:cubicBezTo>
                        <a:pt x="16830" y="11321"/>
                        <a:pt x="10431" y="6656"/>
                        <a:pt x="4270" y="675"/>
                      </a:cubicBezTo>
                      <a:cubicBezTo>
                        <a:pt x="3254" y="-281"/>
                        <a:pt x="1639" y="-222"/>
                        <a:pt x="682" y="855"/>
                      </a:cubicBezTo>
                      <a:cubicBezTo>
                        <a:pt x="-275" y="1931"/>
                        <a:pt x="-215" y="3606"/>
                        <a:pt x="802" y="4623"/>
                      </a:cubicBezTo>
                      <a:cubicBezTo>
                        <a:pt x="7320" y="10902"/>
                        <a:pt x="14019" y="15867"/>
                        <a:pt x="21854" y="20173"/>
                      </a:cubicBezTo>
                      <a:cubicBezTo>
                        <a:pt x="28612" y="23941"/>
                        <a:pt x="35251" y="26632"/>
                        <a:pt x="42667" y="28725"/>
                      </a:cubicBezTo>
                      <a:cubicBezTo>
                        <a:pt x="51219" y="31117"/>
                        <a:pt x="59353" y="32254"/>
                        <a:pt x="68264" y="32314"/>
                      </a:cubicBezTo>
                      <a:cubicBezTo>
                        <a:pt x="69700" y="32314"/>
                        <a:pt x="70836" y="31117"/>
                        <a:pt x="70836" y="29682"/>
                      </a:cubicBezTo>
                      <a:cubicBezTo>
                        <a:pt x="70836" y="28486"/>
                        <a:pt x="70118" y="27529"/>
                        <a:pt x="69222" y="27170"/>
                      </a:cubicBezTo>
                      <a:close/>
                    </a:path>
                  </a:pathLst>
                </a:custGeom>
                <a:solidFill>
                  <a:srgbClr val="FFFFFF"/>
                </a:solidFill>
                <a:ln w="5978" cap="flat">
                  <a:noFill/>
                  <a:prstDash val="solid"/>
                  <a:miter/>
                </a:ln>
              </p:spPr>
              <p:txBody>
                <a:bodyPr rtlCol="0" anchor="ctr"/>
                <a:lstStyle/>
                <a:p>
                  <a:endParaRPr lang="en-GB"/>
                </a:p>
              </p:txBody>
            </p:sp>
          </p:grpSp>
          <p:sp>
            <p:nvSpPr>
              <p:cNvPr id="7146" name="Vrije vorm: vorm 7145">
                <a:extLst>
                  <a:ext uri="{FF2B5EF4-FFF2-40B4-BE49-F238E27FC236}">
                    <a16:creationId xmlns:a16="http://schemas.microsoft.com/office/drawing/2014/main" id="{5BADF478-7449-445F-8862-407666225919}"/>
                  </a:ext>
                </a:extLst>
              </p:cNvPr>
              <p:cNvSpPr/>
              <p:nvPr/>
            </p:nvSpPr>
            <p:spPr>
              <a:xfrm>
                <a:off x="7801572" y="2315297"/>
                <a:ext cx="54304" cy="66744"/>
              </a:xfrm>
              <a:custGeom>
                <a:avLst/>
                <a:gdLst>
                  <a:gd name="connsiteX0" fmla="*/ 53647 w 54304"/>
                  <a:gd name="connsiteY0" fmla="*/ 34329 h 66744"/>
                  <a:gd name="connsiteX1" fmla="*/ 43181 w 54304"/>
                  <a:gd name="connsiteY1" fmla="*/ 37200 h 66744"/>
                  <a:gd name="connsiteX2" fmla="*/ 54305 w 54304"/>
                  <a:gd name="connsiteY2" fmla="*/ 63156 h 66744"/>
                  <a:gd name="connsiteX3" fmla="*/ 48384 w 54304"/>
                  <a:gd name="connsiteY3" fmla="*/ 66745 h 66744"/>
                  <a:gd name="connsiteX4" fmla="*/ 27631 w 54304"/>
                  <a:gd name="connsiteY4" fmla="*/ 41626 h 66744"/>
                  <a:gd name="connsiteX5" fmla="*/ 2452 w 54304"/>
                  <a:gd name="connsiteY5" fmla="*/ 34987 h 66744"/>
                  <a:gd name="connsiteX6" fmla="*/ 0 w 54304"/>
                  <a:gd name="connsiteY6" fmla="*/ 26435 h 66744"/>
                  <a:gd name="connsiteX7" fmla="*/ 18480 w 54304"/>
                  <a:gd name="connsiteY7" fmla="*/ 23863 h 66744"/>
                  <a:gd name="connsiteX8" fmla="*/ 7058 w 54304"/>
                  <a:gd name="connsiteY8" fmla="*/ 3588 h 66744"/>
                  <a:gd name="connsiteX9" fmla="*/ 13097 w 54304"/>
                  <a:gd name="connsiteY9" fmla="*/ 0 h 66744"/>
                  <a:gd name="connsiteX10" fmla="*/ 34569 w 54304"/>
                  <a:gd name="connsiteY10" fmla="*/ 22009 h 66744"/>
                  <a:gd name="connsiteX11" fmla="*/ 53886 w 54304"/>
                  <a:gd name="connsiteY11" fmla="*/ 28887 h 66744"/>
                  <a:gd name="connsiteX12" fmla="*/ 53647 w 54304"/>
                  <a:gd name="connsiteY12" fmla="*/ 34329 h 6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304" h="66744">
                    <a:moveTo>
                      <a:pt x="53647" y="34329"/>
                    </a:moveTo>
                    <a:cubicBezTo>
                      <a:pt x="53647" y="34329"/>
                      <a:pt x="44556" y="35585"/>
                      <a:pt x="43181" y="37200"/>
                    </a:cubicBezTo>
                    <a:cubicBezTo>
                      <a:pt x="41805" y="38815"/>
                      <a:pt x="52929" y="62020"/>
                      <a:pt x="54305" y="63156"/>
                    </a:cubicBezTo>
                    <a:lnTo>
                      <a:pt x="48384" y="66745"/>
                    </a:lnTo>
                    <a:cubicBezTo>
                      <a:pt x="48384" y="66745"/>
                      <a:pt x="33671" y="44437"/>
                      <a:pt x="27631" y="41626"/>
                    </a:cubicBezTo>
                    <a:cubicBezTo>
                      <a:pt x="21650" y="38815"/>
                      <a:pt x="2452" y="34987"/>
                      <a:pt x="2452" y="34987"/>
                    </a:cubicBezTo>
                    <a:lnTo>
                      <a:pt x="0" y="26435"/>
                    </a:lnTo>
                    <a:lnTo>
                      <a:pt x="18480" y="23863"/>
                    </a:lnTo>
                    <a:lnTo>
                      <a:pt x="7058" y="3588"/>
                    </a:lnTo>
                    <a:lnTo>
                      <a:pt x="13097" y="0"/>
                    </a:lnTo>
                    <a:cubicBezTo>
                      <a:pt x="13097" y="0"/>
                      <a:pt x="26794" y="16806"/>
                      <a:pt x="34569" y="22009"/>
                    </a:cubicBezTo>
                    <a:cubicBezTo>
                      <a:pt x="42343" y="27152"/>
                      <a:pt x="53886" y="28887"/>
                      <a:pt x="53886" y="28887"/>
                    </a:cubicBezTo>
                    <a:lnTo>
                      <a:pt x="53647" y="34329"/>
                    </a:lnTo>
                    <a:close/>
                  </a:path>
                </a:pathLst>
              </a:custGeom>
              <a:noFill/>
              <a:ln w="2989" cap="flat">
                <a:solidFill>
                  <a:srgbClr val="FFFFFF"/>
                </a:solidFill>
                <a:prstDash val="solid"/>
                <a:miter/>
              </a:ln>
            </p:spPr>
            <p:txBody>
              <a:bodyPr rtlCol="0" anchor="ctr"/>
              <a:lstStyle/>
              <a:p>
                <a:endParaRPr lang="en-GB"/>
              </a:p>
            </p:txBody>
          </p:sp>
          <p:sp>
            <p:nvSpPr>
              <p:cNvPr id="7147" name="Vrije vorm: vorm 7146">
                <a:extLst>
                  <a:ext uri="{FF2B5EF4-FFF2-40B4-BE49-F238E27FC236}">
                    <a16:creationId xmlns:a16="http://schemas.microsoft.com/office/drawing/2014/main" id="{7D877A51-0955-48DE-A71F-66EE3C924243}"/>
                  </a:ext>
                </a:extLst>
              </p:cNvPr>
              <p:cNvSpPr/>
              <p:nvPr/>
            </p:nvSpPr>
            <p:spPr>
              <a:xfrm>
                <a:off x="7853381" y="2341738"/>
                <a:ext cx="9537" cy="9497"/>
              </a:xfrm>
              <a:custGeom>
                <a:avLst/>
                <a:gdLst>
                  <a:gd name="connsiteX0" fmla="*/ 1061 w 9537"/>
                  <a:gd name="connsiteY0" fmla="*/ 1609 h 9497"/>
                  <a:gd name="connsiteX1" fmla="*/ 1778 w 9537"/>
                  <a:gd name="connsiteY1" fmla="*/ 8307 h 9497"/>
                  <a:gd name="connsiteX2" fmla="*/ 8477 w 9537"/>
                  <a:gd name="connsiteY2" fmla="*/ 7889 h 9497"/>
                  <a:gd name="connsiteX3" fmla="*/ 7759 w 9537"/>
                  <a:gd name="connsiteY3" fmla="*/ 1190 h 9497"/>
                  <a:gd name="connsiteX4" fmla="*/ 1061 w 9537"/>
                  <a:gd name="connsiteY4" fmla="*/ 1609 h 9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7" h="9497">
                    <a:moveTo>
                      <a:pt x="1061" y="1609"/>
                    </a:moveTo>
                    <a:cubicBezTo>
                      <a:pt x="-613" y="3583"/>
                      <a:pt x="-255" y="6573"/>
                      <a:pt x="1778" y="8307"/>
                    </a:cubicBezTo>
                    <a:cubicBezTo>
                      <a:pt x="3812" y="10042"/>
                      <a:pt x="6862" y="9862"/>
                      <a:pt x="8477" y="7889"/>
                    </a:cubicBezTo>
                    <a:cubicBezTo>
                      <a:pt x="10151" y="5915"/>
                      <a:pt x="9793" y="2925"/>
                      <a:pt x="7759" y="1190"/>
                    </a:cubicBezTo>
                    <a:cubicBezTo>
                      <a:pt x="5726" y="-544"/>
                      <a:pt x="2675" y="-365"/>
                      <a:pt x="1061" y="1609"/>
                    </a:cubicBezTo>
                    <a:close/>
                  </a:path>
                </a:pathLst>
              </a:custGeom>
              <a:solidFill>
                <a:srgbClr val="FFFFFF"/>
              </a:solidFill>
              <a:ln w="5978" cap="flat">
                <a:noFill/>
                <a:prstDash val="solid"/>
                <a:miter/>
              </a:ln>
            </p:spPr>
            <p:txBody>
              <a:bodyPr rtlCol="0" anchor="ctr"/>
              <a:lstStyle/>
              <a:p>
                <a:endParaRPr lang="en-GB"/>
              </a:p>
            </p:txBody>
          </p:sp>
          <p:sp>
            <p:nvSpPr>
              <p:cNvPr id="7148" name="Vrije vorm: vorm 7147">
                <a:extLst>
                  <a:ext uri="{FF2B5EF4-FFF2-40B4-BE49-F238E27FC236}">
                    <a16:creationId xmlns:a16="http://schemas.microsoft.com/office/drawing/2014/main" id="{300755DA-A245-4A26-8C27-5D72E85A82F8}"/>
                  </a:ext>
                </a:extLst>
              </p:cNvPr>
              <p:cNvSpPr/>
              <p:nvPr/>
            </p:nvSpPr>
            <p:spPr>
              <a:xfrm>
                <a:off x="7848146" y="2377990"/>
                <a:ext cx="14803" cy="14662"/>
              </a:xfrm>
              <a:custGeom>
                <a:avLst/>
                <a:gdLst>
                  <a:gd name="connsiteX0" fmla="*/ 1631 w 14803"/>
                  <a:gd name="connsiteY0" fmla="*/ 2497 h 14662"/>
                  <a:gd name="connsiteX1" fmla="*/ 2767 w 14803"/>
                  <a:gd name="connsiteY1" fmla="*/ 12843 h 14662"/>
                  <a:gd name="connsiteX2" fmla="*/ 13173 w 14803"/>
                  <a:gd name="connsiteY2" fmla="*/ 12186 h 14662"/>
                  <a:gd name="connsiteX3" fmla="*/ 12037 w 14803"/>
                  <a:gd name="connsiteY3" fmla="*/ 1839 h 14662"/>
                  <a:gd name="connsiteX4" fmla="*/ 1631 w 14803"/>
                  <a:gd name="connsiteY4" fmla="*/ 2497 h 14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3" h="14662">
                    <a:moveTo>
                      <a:pt x="1631" y="2497"/>
                    </a:moveTo>
                    <a:cubicBezTo>
                      <a:pt x="-941" y="5547"/>
                      <a:pt x="-403" y="10152"/>
                      <a:pt x="2767" y="12843"/>
                    </a:cubicBezTo>
                    <a:cubicBezTo>
                      <a:pt x="5937" y="15535"/>
                      <a:pt x="10602" y="15176"/>
                      <a:pt x="13173" y="12186"/>
                    </a:cubicBezTo>
                    <a:cubicBezTo>
                      <a:pt x="15745" y="9135"/>
                      <a:pt x="15206" y="4530"/>
                      <a:pt x="12037" y="1839"/>
                    </a:cubicBezTo>
                    <a:cubicBezTo>
                      <a:pt x="8867" y="-852"/>
                      <a:pt x="4202" y="-553"/>
                      <a:pt x="1631" y="2497"/>
                    </a:cubicBezTo>
                    <a:close/>
                  </a:path>
                </a:pathLst>
              </a:custGeom>
              <a:solidFill>
                <a:srgbClr val="E3E3E3"/>
              </a:solidFill>
              <a:ln w="5978" cap="flat">
                <a:noFill/>
                <a:prstDash val="solid"/>
                <a:miter/>
              </a:ln>
            </p:spPr>
            <p:txBody>
              <a:bodyPr rtlCol="0" anchor="ctr"/>
              <a:lstStyle/>
              <a:p>
                <a:endParaRPr lang="en-GB"/>
              </a:p>
            </p:txBody>
          </p:sp>
          <p:sp>
            <p:nvSpPr>
              <p:cNvPr id="7149" name="Vrije vorm: vorm 7148">
                <a:extLst>
                  <a:ext uri="{FF2B5EF4-FFF2-40B4-BE49-F238E27FC236}">
                    <a16:creationId xmlns:a16="http://schemas.microsoft.com/office/drawing/2014/main" id="{EE37B86A-3B13-451E-B3A0-424FC9EBF568}"/>
                  </a:ext>
                </a:extLst>
              </p:cNvPr>
              <p:cNvSpPr/>
              <p:nvPr/>
            </p:nvSpPr>
            <p:spPr>
              <a:xfrm>
                <a:off x="7849280" y="2377758"/>
                <a:ext cx="13911" cy="13457"/>
              </a:xfrm>
              <a:custGeom>
                <a:avLst/>
                <a:gdLst>
                  <a:gd name="connsiteX0" fmla="*/ 1215 w 13911"/>
                  <a:gd name="connsiteY0" fmla="*/ 1892 h 13457"/>
                  <a:gd name="connsiteX1" fmla="*/ 3009 w 13911"/>
                  <a:gd name="connsiteY1" fmla="*/ 11401 h 13457"/>
                  <a:gd name="connsiteX2" fmla="*/ 12698 w 13911"/>
                  <a:gd name="connsiteY2" fmla="*/ 11521 h 13457"/>
                  <a:gd name="connsiteX3" fmla="*/ 10904 w 13911"/>
                  <a:gd name="connsiteY3" fmla="*/ 2012 h 13457"/>
                  <a:gd name="connsiteX4" fmla="*/ 1215 w 13911"/>
                  <a:gd name="connsiteY4" fmla="*/ 1892 h 1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11" h="13457">
                    <a:moveTo>
                      <a:pt x="1215" y="1892"/>
                    </a:moveTo>
                    <a:cubicBezTo>
                      <a:pt x="-939" y="4464"/>
                      <a:pt x="-161" y="8770"/>
                      <a:pt x="3009" y="11401"/>
                    </a:cubicBezTo>
                    <a:cubicBezTo>
                      <a:pt x="6179" y="14093"/>
                      <a:pt x="10545" y="14153"/>
                      <a:pt x="12698" y="11521"/>
                    </a:cubicBezTo>
                    <a:cubicBezTo>
                      <a:pt x="14850" y="8949"/>
                      <a:pt x="14073" y="4643"/>
                      <a:pt x="10904" y="2012"/>
                    </a:cubicBezTo>
                    <a:cubicBezTo>
                      <a:pt x="7734" y="-620"/>
                      <a:pt x="3368" y="-680"/>
                      <a:pt x="1215" y="1892"/>
                    </a:cubicBezTo>
                    <a:close/>
                  </a:path>
                </a:pathLst>
              </a:custGeom>
              <a:solidFill>
                <a:srgbClr val="FFFFFF"/>
              </a:solidFill>
              <a:ln w="5978" cap="flat">
                <a:noFill/>
                <a:prstDash val="solid"/>
                <a:miter/>
              </a:ln>
            </p:spPr>
            <p:txBody>
              <a:bodyPr rtlCol="0" anchor="ctr"/>
              <a:lstStyle/>
              <a:p>
                <a:endParaRPr lang="en-GB"/>
              </a:p>
            </p:txBody>
          </p:sp>
          <p:sp>
            <p:nvSpPr>
              <p:cNvPr id="7150" name="Vrije vorm: vorm 7149">
                <a:extLst>
                  <a:ext uri="{FF2B5EF4-FFF2-40B4-BE49-F238E27FC236}">
                    <a16:creationId xmlns:a16="http://schemas.microsoft.com/office/drawing/2014/main" id="{767D4A50-7157-412D-B102-161E65DC9596}"/>
                  </a:ext>
                </a:extLst>
              </p:cNvPr>
              <p:cNvSpPr/>
              <p:nvPr/>
            </p:nvSpPr>
            <p:spPr>
              <a:xfrm>
                <a:off x="7787147" y="2336813"/>
                <a:ext cx="20849" cy="20776"/>
              </a:xfrm>
              <a:custGeom>
                <a:avLst/>
                <a:gdLst>
                  <a:gd name="connsiteX0" fmla="*/ 15078 w 20849"/>
                  <a:gd name="connsiteY0" fmla="*/ 4845 h 20776"/>
                  <a:gd name="connsiteX1" fmla="*/ 16197 w 20849"/>
                  <a:gd name="connsiteY1" fmla="*/ 15233 h 20776"/>
                  <a:gd name="connsiteX2" fmla="*/ 5772 w 20849"/>
                  <a:gd name="connsiteY2" fmla="*/ 15930 h 20776"/>
                  <a:gd name="connsiteX3" fmla="*/ 4653 w 20849"/>
                  <a:gd name="connsiteY3" fmla="*/ 5542 h 20776"/>
                  <a:gd name="connsiteX4" fmla="*/ 15078 w 20849"/>
                  <a:gd name="connsiteY4" fmla="*/ 4845 h 20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49" h="20776">
                    <a:moveTo>
                      <a:pt x="15078" y="4845"/>
                    </a:moveTo>
                    <a:cubicBezTo>
                      <a:pt x="18266" y="7521"/>
                      <a:pt x="18766" y="12172"/>
                      <a:pt x="16197" y="15233"/>
                    </a:cubicBezTo>
                    <a:cubicBezTo>
                      <a:pt x="13627" y="18294"/>
                      <a:pt x="8960" y="18606"/>
                      <a:pt x="5772" y="15930"/>
                    </a:cubicBezTo>
                    <a:cubicBezTo>
                      <a:pt x="2584" y="13254"/>
                      <a:pt x="2084" y="8603"/>
                      <a:pt x="4653" y="5542"/>
                    </a:cubicBezTo>
                    <a:cubicBezTo>
                      <a:pt x="7223" y="2481"/>
                      <a:pt x="11890" y="2169"/>
                      <a:pt x="15078" y="4845"/>
                    </a:cubicBezTo>
                    <a:close/>
                  </a:path>
                </a:pathLst>
              </a:custGeom>
              <a:solidFill>
                <a:srgbClr val="E3E3E3"/>
              </a:solidFill>
              <a:ln w="5978" cap="flat">
                <a:noFill/>
                <a:prstDash val="solid"/>
                <a:miter/>
              </a:ln>
            </p:spPr>
            <p:txBody>
              <a:bodyPr rtlCol="0" anchor="ctr"/>
              <a:lstStyle/>
              <a:p>
                <a:endParaRPr lang="en-GB"/>
              </a:p>
            </p:txBody>
          </p:sp>
          <p:sp>
            <p:nvSpPr>
              <p:cNvPr id="7151" name="Vrije vorm: vorm 7150">
                <a:extLst>
                  <a:ext uri="{FF2B5EF4-FFF2-40B4-BE49-F238E27FC236}">
                    <a16:creationId xmlns:a16="http://schemas.microsoft.com/office/drawing/2014/main" id="{3A2898C5-2F46-43A9-906D-4414F3E7B6FF}"/>
                  </a:ext>
                </a:extLst>
              </p:cNvPr>
              <p:cNvSpPr/>
              <p:nvPr/>
            </p:nvSpPr>
            <p:spPr>
              <a:xfrm>
                <a:off x="7788254" y="2337747"/>
                <a:ext cx="19750" cy="19853"/>
              </a:xfrm>
              <a:custGeom>
                <a:avLst/>
                <a:gdLst>
                  <a:gd name="connsiteX0" fmla="*/ 14528 w 19750"/>
                  <a:gd name="connsiteY0" fmla="*/ 4384 h 19853"/>
                  <a:gd name="connsiteX1" fmla="*/ 15097 w 19750"/>
                  <a:gd name="connsiteY1" fmla="*/ 14311 h 19853"/>
                  <a:gd name="connsiteX2" fmla="*/ 5222 w 19750"/>
                  <a:gd name="connsiteY2" fmla="*/ 15469 h 19853"/>
                  <a:gd name="connsiteX3" fmla="*/ 4653 w 19750"/>
                  <a:gd name="connsiteY3" fmla="*/ 5542 h 19853"/>
                  <a:gd name="connsiteX4" fmla="*/ 14528 w 19750"/>
                  <a:gd name="connsiteY4" fmla="*/ 4384 h 1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50" h="19853">
                    <a:moveTo>
                      <a:pt x="14528" y="4384"/>
                    </a:moveTo>
                    <a:cubicBezTo>
                      <a:pt x="17412" y="6805"/>
                      <a:pt x="17667" y="11250"/>
                      <a:pt x="15097" y="14311"/>
                    </a:cubicBezTo>
                    <a:cubicBezTo>
                      <a:pt x="12528" y="17371"/>
                      <a:pt x="8106" y="17890"/>
                      <a:pt x="5222" y="15469"/>
                    </a:cubicBezTo>
                    <a:cubicBezTo>
                      <a:pt x="2338" y="13048"/>
                      <a:pt x="2084" y="8603"/>
                      <a:pt x="4653" y="5542"/>
                    </a:cubicBezTo>
                    <a:cubicBezTo>
                      <a:pt x="7223" y="2482"/>
                      <a:pt x="11644" y="1963"/>
                      <a:pt x="14528" y="4384"/>
                    </a:cubicBezTo>
                    <a:close/>
                  </a:path>
                </a:pathLst>
              </a:custGeom>
              <a:solidFill>
                <a:srgbClr val="FFFFFF"/>
              </a:solidFill>
              <a:ln w="5978" cap="flat">
                <a:noFill/>
                <a:prstDash val="solid"/>
                <a:miter/>
              </a:ln>
            </p:spPr>
            <p:txBody>
              <a:bodyPr rtlCol="0" anchor="ctr"/>
              <a:lstStyle/>
              <a:p>
                <a:endParaRPr lang="en-GB"/>
              </a:p>
            </p:txBody>
          </p:sp>
          <p:sp>
            <p:nvSpPr>
              <p:cNvPr id="7152" name="Vrije vorm: vorm 7151">
                <a:extLst>
                  <a:ext uri="{FF2B5EF4-FFF2-40B4-BE49-F238E27FC236}">
                    <a16:creationId xmlns:a16="http://schemas.microsoft.com/office/drawing/2014/main" id="{1CBF9516-21F3-4AE0-B1AF-8B732E280290}"/>
                  </a:ext>
                </a:extLst>
              </p:cNvPr>
              <p:cNvSpPr/>
              <p:nvPr/>
            </p:nvSpPr>
            <p:spPr>
              <a:xfrm>
                <a:off x="7799927" y="2306006"/>
                <a:ext cx="17387" cy="17328"/>
              </a:xfrm>
              <a:custGeom>
                <a:avLst/>
                <a:gdLst>
                  <a:gd name="connsiteX0" fmla="*/ 12578 w 17387"/>
                  <a:gd name="connsiteY0" fmla="*/ 4038 h 17328"/>
                  <a:gd name="connsiteX1" fmla="*/ 13503 w 17387"/>
                  <a:gd name="connsiteY1" fmla="*/ 12702 h 17328"/>
                  <a:gd name="connsiteX2" fmla="*/ 4810 w 17387"/>
                  <a:gd name="connsiteY2" fmla="*/ 13291 h 17328"/>
                  <a:gd name="connsiteX3" fmla="*/ 3884 w 17387"/>
                  <a:gd name="connsiteY3" fmla="*/ 4626 h 17328"/>
                  <a:gd name="connsiteX4" fmla="*/ 12578 w 17387"/>
                  <a:gd name="connsiteY4" fmla="*/ 4038 h 17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7" h="17328">
                    <a:moveTo>
                      <a:pt x="12578" y="4038"/>
                    </a:moveTo>
                    <a:cubicBezTo>
                      <a:pt x="15234" y="6268"/>
                      <a:pt x="15649" y="10147"/>
                      <a:pt x="13503" y="12702"/>
                    </a:cubicBezTo>
                    <a:cubicBezTo>
                      <a:pt x="11358" y="15257"/>
                      <a:pt x="7466" y="15521"/>
                      <a:pt x="4810" y="13291"/>
                    </a:cubicBezTo>
                    <a:cubicBezTo>
                      <a:pt x="2153" y="11061"/>
                      <a:pt x="1739" y="7182"/>
                      <a:pt x="3884" y="4626"/>
                    </a:cubicBezTo>
                    <a:cubicBezTo>
                      <a:pt x="6030" y="2071"/>
                      <a:pt x="9922" y="1808"/>
                      <a:pt x="12578" y="4038"/>
                    </a:cubicBezTo>
                    <a:close/>
                  </a:path>
                </a:pathLst>
              </a:custGeom>
              <a:solidFill>
                <a:srgbClr val="E3E3E3"/>
              </a:solidFill>
              <a:ln w="5978" cap="flat">
                <a:noFill/>
                <a:prstDash val="solid"/>
                <a:miter/>
              </a:ln>
            </p:spPr>
            <p:txBody>
              <a:bodyPr rtlCol="0" anchor="ctr"/>
              <a:lstStyle/>
              <a:p>
                <a:endParaRPr lang="en-GB"/>
              </a:p>
            </p:txBody>
          </p:sp>
          <p:sp>
            <p:nvSpPr>
              <p:cNvPr id="7153" name="Vrije vorm: vorm 7152">
                <a:extLst>
                  <a:ext uri="{FF2B5EF4-FFF2-40B4-BE49-F238E27FC236}">
                    <a16:creationId xmlns:a16="http://schemas.microsoft.com/office/drawing/2014/main" id="{CAE7D91B-4AED-4BCD-8228-FD28AEAF08E5}"/>
                  </a:ext>
                </a:extLst>
              </p:cNvPr>
              <p:cNvSpPr/>
              <p:nvPr/>
            </p:nvSpPr>
            <p:spPr>
              <a:xfrm>
                <a:off x="7803609" y="2309191"/>
                <a:ext cx="11296" cy="11194"/>
              </a:xfrm>
              <a:custGeom>
                <a:avLst/>
                <a:gdLst>
                  <a:gd name="connsiteX0" fmla="*/ 1253 w 11296"/>
                  <a:gd name="connsiteY0" fmla="*/ 1919 h 11194"/>
                  <a:gd name="connsiteX1" fmla="*/ 2089 w 11296"/>
                  <a:gd name="connsiteY1" fmla="*/ 9814 h 11194"/>
                  <a:gd name="connsiteX2" fmla="*/ 10044 w 11296"/>
                  <a:gd name="connsiteY2" fmla="*/ 9276 h 11194"/>
                  <a:gd name="connsiteX3" fmla="*/ 9207 w 11296"/>
                  <a:gd name="connsiteY3" fmla="*/ 1381 h 11194"/>
                  <a:gd name="connsiteX4" fmla="*/ 1253 w 11296"/>
                  <a:gd name="connsiteY4" fmla="*/ 1919 h 1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6" h="11194">
                    <a:moveTo>
                      <a:pt x="1253" y="1919"/>
                    </a:moveTo>
                    <a:cubicBezTo>
                      <a:pt x="-722" y="4252"/>
                      <a:pt x="-302" y="7780"/>
                      <a:pt x="2089" y="9814"/>
                    </a:cubicBezTo>
                    <a:cubicBezTo>
                      <a:pt x="4542" y="11847"/>
                      <a:pt x="8070" y="11608"/>
                      <a:pt x="10044" y="9276"/>
                    </a:cubicBezTo>
                    <a:cubicBezTo>
                      <a:pt x="12017" y="6943"/>
                      <a:pt x="11599" y="3414"/>
                      <a:pt x="9207" y="1381"/>
                    </a:cubicBezTo>
                    <a:cubicBezTo>
                      <a:pt x="6754" y="-652"/>
                      <a:pt x="3166" y="-413"/>
                      <a:pt x="1253" y="1919"/>
                    </a:cubicBezTo>
                    <a:close/>
                  </a:path>
                </a:pathLst>
              </a:custGeom>
              <a:solidFill>
                <a:srgbClr val="FFFFFF"/>
              </a:solidFill>
              <a:ln w="5978" cap="flat">
                <a:noFill/>
                <a:prstDash val="solid"/>
                <a:miter/>
              </a:ln>
            </p:spPr>
            <p:txBody>
              <a:bodyPr rtlCol="0" anchor="ctr"/>
              <a:lstStyle/>
              <a:p>
                <a:endParaRPr lang="en-GB"/>
              </a:p>
            </p:txBody>
          </p:sp>
          <p:sp>
            <p:nvSpPr>
              <p:cNvPr id="7154" name="Vrije vorm: vorm 7153">
                <a:extLst>
                  <a:ext uri="{FF2B5EF4-FFF2-40B4-BE49-F238E27FC236}">
                    <a16:creationId xmlns:a16="http://schemas.microsoft.com/office/drawing/2014/main" id="{943101A1-B0C8-4279-9D03-312F7324F078}"/>
                  </a:ext>
                </a:extLst>
              </p:cNvPr>
              <p:cNvSpPr/>
              <p:nvPr/>
            </p:nvSpPr>
            <p:spPr>
              <a:xfrm>
                <a:off x="7848641" y="2370291"/>
                <a:ext cx="25498" cy="22635"/>
              </a:xfrm>
              <a:custGeom>
                <a:avLst/>
                <a:gdLst>
                  <a:gd name="connsiteX0" fmla="*/ 359 w 25498"/>
                  <a:gd name="connsiteY0" fmla="*/ 2301 h 22635"/>
                  <a:gd name="connsiteX1" fmla="*/ 0 w 25498"/>
                  <a:gd name="connsiteY1" fmla="*/ 2780 h 22635"/>
                  <a:gd name="connsiteX2" fmla="*/ 16746 w 25498"/>
                  <a:gd name="connsiteY2" fmla="*/ 6846 h 22635"/>
                  <a:gd name="connsiteX3" fmla="*/ 23624 w 25498"/>
                  <a:gd name="connsiteY3" fmla="*/ 22635 h 22635"/>
                  <a:gd name="connsiteX4" fmla="*/ 24043 w 25498"/>
                  <a:gd name="connsiteY4" fmla="*/ 22217 h 22635"/>
                  <a:gd name="connsiteX5" fmla="*/ 18241 w 25498"/>
                  <a:gd name="connsiteY5" fmla="*/ 5112 h 22635"/>
                  <a:gd name="connsiteX6" fmla="*/ 359 w 25498"/>
                  <a:gd name="connsiteY6" fmla="*/ 2301 h 2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98" h="22635">
                    <a:moveTo>
                      <a:pt x="359" y="2301"/>
                    </a:moveTo>
                    <a:cubicBezTo>
                      <a:pt x="239" y="2421"/>
                      <a:pt x="120" y="2600"/>
                      <a:pt x="0" y="2780"/>
                    </a:cubicBezTo>
                    <a:cubicBezTo>
                      <a:pt x="3170" y="-151"/>
                      <a:pt x="10466" y="1524"/>
                      <a:pt x="16746" y="6846"/>
                    </a:cubicBezTo>
                    <a:cubicBezTo>
                      <a:pt x="23026" y="12110"/>
                      <a:pt x="25956" y="19047"/>
                      <a:pt x="23624" y="22635"/>
                    </a:cubicBezTo>
                    <a:cubicBezTo>
                      <a:pt x="23803" y="22516"/>
                      <a:pt x="23923" y="22337"/>
                      <a:pt x="24043" y="22217"/>
                    </a:cubicBezTo>
                    <a:cubicBezTo>
                      <a:pt x="27391" y="18270"/>
                      <a:pt x="24760" y="10614"/>
                      <a:pt x="18241" y="5112"/>
                    </a:cubicBezTo>
                    <a:cubicBezTo>
                      <a:pt x="11662" y="-390"/>
                      <a:pt x="3708" y="-1646"/>
                      <a:pt x="359" y="2301"/>
                    </a:cubicBezTo>
                    <a:close/>
                  </a:path>
                </a:pathLst>
              </a:custGeom>
              <a:solidFill>
                <a:srgbClr val="FFFFFF"/>
              </a:solidFill>
              <a:ln w="5978" cap="flat">
                <a:noFill/>
                <a:prstDash val="solid"/>
                <a:miter/>
              </a:ln>
            </p:spPr>
            <p:txBody>
              <a:bodyPr rtlCol="0" anchor="ctr"/>
              <a:lstStyle/>
              <a:p>
                <a:endParaRPr lang="en-GB"/>
              </a:p>
            </p:txBody>
          </p:sp>
          <p:sp>
            <p:nvSpPr>
              <p:cNvPr id="7155" name="Vrije vorm: vorm 7154">
                <a:extLst>
                  <a:ext uri="{FF2B5EF4-FFF2-40B4-BE49-F238E27FC236}">
                    <a16:creationId xmlns:a16="http://schemas.microsoft.com/office/drawing/2014/main" id="{F3E8FEC5-5AB3-4192-AE2D-09570129D3C4}"/>
                  </a:ext>
                </a:extLst>
              </p:cNvPr>
              <p:cNvSpPr/>
              <p:nvPr/>
            </p:nvSpPr>
            <p:spPr>
              <a:xfrm>
                <a:off x="7847620" y="2371637"/>
                <a:ext cx="25586" cy="23120"/>
              </a:xfrm>
              <a:custGeom>
                <a:avLst/>
                <a:gdLst>
                  <a:gd name="connsiteX0" fmla="*/ 1081 w 25586"/>
                  <a:gd name="connsiteY0" fmla="*/ 1433 h 23120"/>
                  <a:gd name="connsiteX1" fmla="*/ 6104 w 25586"/>
                  <a:gd name="connsiteY1" fmla="*/ 16983 h 23120"/>
                  <a:gd name="connsiteX2" fmla="*/ 7301 w 25586"/>
                  <a:gd name="connsiteY2" fmla="*/ 18060 h 23120"/>
                  <a:gd name="connsiteX3" fmla="*/ 8557 w 25586"/>
                  <a:gd name="connsiteY3" fmla="*/ 19017 h 23120"/>
                  <a:gd name="connsiteX4" fmla="*/ 24764 w 25586"/>
                  <a:gd name="connsiteY4" fmla="*/ 21230 h 23120"/>
                  <a:gd name="connsiteX5" fmla="*/ 17886 w 25586"/>
                  <a:gd name="connsiteY5" fmla="*/ 5440 h 23120"/>
                  <a:gd name="connsiteX6" fmla="*/ 1081 w 25586"/>
                  <a:gd name="connsiteY6" fmla="*/ 1433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86" h="23120">
                    <a:moveTo>
                      <a:pt x="1081" y="1433"/>
                    </a:moveTo>
                    <a:cubicBezTo>
                      <a:pt x="-1491" y="5261"/>
                      <a:pt x="662" y="11840"/>
                      <a:pt x="6104" y="16983"/>
                    </a:cubicBezTo>
                    <a:cubicBezTo>
                      <a:pt x="6523" y="17342"/>
                      <a:pt x="6882" y="17701"/>
                      <a:pt x="7301" y="18060"/>
                    </a:cubicBezTo>
                    <a:cubicBezTo>
                      <a:pt x="7719" y="18419"/>
                      <a:pt x="8138" y="18718"/>
                      <a:pt x="8557" y="19017"/>
                    </a:cubicBezTo>
                    <a:cubicBezTo>
                      <a:pt x="14597" y="23442"/>
                      <a:pt x="21475" y="24459"/>
                      <a:pt x="24764" y="21230"/>
                    </a:cubicBezTo>
                    <a:cubicBezTo>
                      <a:pt x="27157" y="17641"/>
                      <a:pt x="24166" y="10703"/>
                      <a:pt x="17886" y="5440"/>
                    </a:cubicBezTo>
                    <a:cubicBezTo>
                      <a:pt x="11487" y="177"/>
                      <a:pt x="4191" y="-1497"/>
                      <a:pt x="1081" y="1433"/>
                    </a:cubicBezTo>
                    <a:close/>
                  </a:path>
                </a:pathLst>
              </a:custGeom>
              <a:noFill/>
              <a:ln w="5978" cap="flat">
                <a:solidFill>
                  <a:srgbClr val="FFFFFF">
                    <a:alpha val="40000"/>
                  </a:srgbClr>
                </a:solidFill>
                <a:prstDash val="solid"/>
                <a:miter/>
              </a:ln>
            </p:spPr>
            <p:txBody>
              <a:bodyPr rtlCol="0" anchor="ctr"/>
              <a:lstStyle/>
              <a:p>
                <a:endParaRPr lang="en-GB"/>
              </a:p>
            </p:txBody>
          </p:sp>
          <p:sp>
            <p:nvSpPr>
              <p:cNvPr id="7156" name="Vrije vorm: vorm 7155">
                <a:extLst>
                  <a:ext uri="{FF2B5EF4-FFF2-40B4-BE49-F238E27FC236}">
                    <a16:creationId xmlns:a16="http://schemas.microsoft.com/office/drawing/2014/main" id="{10D28252-447E-4C6F-B2D6-61610186D588}"/>
                  </a:ext>
                </a:extLst>
              </p:cNvPr>
              <p:cNvSpPr/>
              <p:nvPr/>
            </p:nvSpPr>
            <p:spPr>
              <a:xfrm>
                <a:off x="7847983" y="2334432"/>
                <a:ext cx="22000" cy="19321"/>
              </a:xfrm>
              <a:custGeom>
                <a:avLst/>
                <a:gdLst>
                  <a:gd name="connsiteX0" fmla="*/ 180 w 22000"/>
                  <a:gd name="connsiteY0" fmla="*/ 1618 h 19321"/>
                  <a:gd name="connsiteX1" fmla="*/ 0 w 22000"/>
                  <a:gd name="connsiteY1" fmla="*/ 1917 h 19321"/>
                  <a:gd name="connsiteX2" fmla="*/ 14474 w 22000"/>
                  <a:gd name="connsiteY2" fmla="*/ 5745 h 19321"/>
                  <a:gd name="connsiteX3" fmla="*/ 20753 w 22000"/>
                  <a:gd name="connsiteY3" fmla="*/ 19321 h 19321"/>
                  <a:gd name="connsiteX4" fmla="*/ 20992 w 22000"/>
                  <a:gd name="connsiteY4" fmla="*/ 19082 h 19321"/>
                  <a:gd name="connsiteX5" fmla="*/ 15310 w 22000"/>
                  <a:gd name="connsiteY5" fmla="*/ 4788 h 19321"/>
                  <a:gd name="connsiteX6" fmla="*/ 180 w 22000"/>
                  <a:gd name="connsiteY6" fmla="*/ 1618 h 1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00" h="19321">
                    <a:moveTo>
                      <a:pt x="180" y="1618"/>
                    </a:moveTo>
                    <a:cubicBezTo>
                      <a:pt x="120" y="1678"/>
                      <a:pt x="0" y="1798"/>
                      <a:pt x="0" y="1917"/>
                    </a:cubicBezTo>
                    <a:cubicBezTo>
                      <a:pt x="2512" y="-595"/>
                      <a:pt x="8851" y="1020"/>
                      <a:pt x="14474" y="5745"/>
                    </a:cubicBezTo>
                    <a:cubicBezTo>
                      <a:pt x="20035" y="10410"/>
                      <a:pt x="22786" y="16391"/>
                      <a:pt x="20753" y="19321"/>
                    </a:cubicBezTo>
                    <a:cubicBezTo>
                      <a:pt x="20813" y="19261"/>
                      <a:pt x="20933" y="19142"/>
                      <a:pt x="20992" y="19082"/>
                    </a:cubicBezTo>
                    <a:cubicBezTo>
                      <a:pt x="23564" y="16032"/>
                      <a:pt x="21052" y="9632"/>
                      <a:pt x="15310" y="4788"/>
                    </a:cubicBezTo>
                    <a:cubicBezTo>
                      <a:pt x="9509" y="-56"/>
                      <a:pt x="2751" y="-1432"/>
                      <a:pt x="180" y="1618"/>
                    </a:cubicBezTo>
                    <a:close/>
                  </a:path>
                </a:pathLst>
              </a:custGeom>
              <a:solidFill>
                <a:srgbClr val="FFFFFF"/>
              </a:solidFill>
              <a:ln w="5978" cap="flat">
                <a:noFill/>
                <a:prstDash val="solid"/>
                <a:miter/>
              </a:ln>
            </p:spPr>
            <p:txBody>
              <a:bodyPr rtlCol="0" anchor="ctr"/>
              <a:lstStyle/>
              <a:p>
                <a:endParaRPr lang="en-GB"/>
              </a:p>
            </p:txBody>
          </p:sp>
          <p:sp>
            <p:nvSpPr>
              <p:cNvPr id="7157" name="Vrije vorm: vorm 7156">
                <a:extLst>
                  <a:ext uri="{FF2B5EF4-FFF2-40B4-BE49-F238E27FC236}">
                    <a16:creationId xmlns:a16="http://schemas.microsoft.com/office/drawing/2014/main" id="{2BEDBE91-A0D7-4A17-A7A3-339395124425}"/>
                  </a:ext>
                </a:extLst>
              </p:cNvPr>
              <p:cNvSpPr/>
              <p:nvPr/>
            </p:nvSpPr>
            <p:spPr>
              <a:xfrm>
                <a:off x="7847174" y="2335145"/>
                <a:ext cx="22177" cy="20000"/>
              </a:xfrm>
              <a:custGeom>
                <a:avLst/>
                <a:gdLst>
                  <a:gd name="connsiteX0" fmla="*/ 809 w 22177"/>
                  <a:gd name="connsiteY0" fmla="*/ 1204 h 20000"/>
                  <a:gd name="connsiteX1" fmla="*/ 5653 w 22177"/>
                  <a:gd name="connsiteY1" fmla="*/ 14301 h 20000"/>
                  <a:gd name="connsiteX2" fmla="*/ 6670 w 22177"/>
                  <a:gd name="connsiteY2" fmla="*/ 15258 h 20000"/>
                  <a:gd name="connsiteX3" fmla="*/ 7747 w 22177"/>
                  <a:gd name="connsiteY3" fmla="*/ 16096 h 20000"/>
                  <a:gd name="connsiteX4" fmla="*/ 21502 w 22177"/>
                  <a:gd name="connsiteY4" fmla="*/ 18608 h 20000"/>
                  <a:gd name="connsiteX5" fmla="*/ 15223 w 22177"/>
                  <a:gd name="connsiteY5" fmla="*/ 5031 h 20000"/>
                  <a:gd name="connsiteX6" fmla="*/ 809 w 22177"/>
                  <a:gd name="connsiteY6" fmla="*/ 1204 h 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77" h="20000">
                    <a:moveTo>
                      <a:pt x="809" y="1204"/>
                    </a:moveTo>
                    <a:cubicBezTo>
                      <a:pt x="-1284" y="4194"/>
                      <a:pt x="809" y="9756"/>
                      <a:pt x="5653" y="14301"/>
                    </a:cubicBezTo>
                    <a:cubicBezTo>
                      <a:pt x="6012" y="14600"/>
                      <a:pt x="6311" y="14959"/>
                      <a:pt x="6670" y="15258"/>
                    </a:cubicBezTo>
                    <a:cubicBezTo>
                      <a:pt x="7029" y="15557"/>
                      <a:pt x="7388" y="15856"/>
                      <a:pt x="7747" y="16096"/>
                    </a:cubicBezTo>
                    <a:cubicBezTo>
                      <a:pt x="13070" y="20103"/>
                      <a:pt x="18931" y="21179"/>
                      <a:pt x="21502" y="18608"/>
                    </a:cubicBezTo>
                    <a:cubicBezTo>
                      <a:pt x="23536" y="15677"/>
                      <a:pt x="20844" y="9696"/>
                      <a:pt x="15223" y="5031"/>
                    </a:cubicBezTo>
                    <a:cubicBezTo>
                      <a:pt x="9660" y="307"/>
                      <a:pt x="3321" y="-1368"/>
                      <a:pt x="809" y="1204"/>
                    </a:cubicBezTo>
                    <a:close/>
                  </a:path>
                </a:pathLst>
              </a:custGeom>
              <a:noFill/>
              <a:ln w="5978" cap="flat">
                <a:solidFill>
                  <a:srgbClr val="FFFFFF">
                    <a:alpha val="40000"/>
                  </a:srgbClr>
                </a:solidFill>
                <a:prstDash val="solid"/>
                <a:miter/>
              </a:ln>
            </p:spPr>
            <p:txBody>
              <a:bodyPr rtlCol="0" anchor="ctr"/>
              <a:lstStyle/>
              <a:p>
                <a:endParaRPr lang="en-GB"/>
              </a:p>
            </p:txBody>
          </p:sp>
          <p:sp>
            <p:nvSpPr>
              <p:cNvPr id="7158" name="Vrije vorm: vorm 7157">
                <a:extLst>
                  <a:ext uri="{FF2B5EF4-FFF2-40B4-BE49-F238E27FC236}">
                    <a16:creationId xmlns:a16="http://schemas.microsoft.com/office/drawing/2014/main" id="{C1A2A477-D3E3-486B-B3E2-C8079851F724}"/>
                  </a:ext>
                </a:extLst>
              </p:cNvPr>
              <p:cNvSpPr/>
              <p:nvPr/>
            </p:nvSpPr>
            <p:spPr>
              <a:xfrm>
                <a:off x="7799120" y="2300965"/>
                <a:ext cx="23192" cy="20133"/>
              </a:xfrm>
              <a:custGeom>
                <a:avLst/>
                <a:gdLst>
                  <a:gd name="connsiteX0" fmla="*/ 239 w 23192"/>
                  <a:gd name="connsiteY0" fmla="*/ 1353 h 20133"/>
                  <a:gd name="connsiteX1" fmla="*/ 0 w 23192"/>
                  <a:gd name="connsiteY1" fmla="*/ 1652 h 20133"/>
                  <a:gd name="connsiteX2" fmla="*/ 14713 w 23192"/>
                  <a:gd name="connsiteY2" fmla="*/ 6497 h 20133"/>
                  <a:gd name="connsiteX3" fmla="*/ 22069 w 23192"/>
                  <a:gd name="connsiteY3" fmla="*/ 20133 h 20133"/>
                  <a:gd name="connsiteX4" fmla="*/ 22368 w 23192"/>
                  <a:gd name="connsiteY4" fmla="*/ 19894 h 20133"/>
                  <a:gd name="connsiteX5" fmla="*/ 15669 w 23192"/>
                  <a:gd name="connsiteY5" fmla="*/ 5420 h 20133"/>
                  <a:gd name="connsiteX6" fmla="*/ 239 w 23192"/>
                  <a:gd name="connsiteY6" fmla="*/ 1353 h 2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92" h="20133">
                    <a:moveTo>
                      <a:pt x="239" y="1353"/>
                    </a:moveTo>
                    <a:cubicBezTo>
                      <a:pt x="180" y="1473"/>
                      <a:pt x="60" y="1533"/>
                      <a:pt x="0" y="1652"/>
                    </a:cubicBezTo>
                    <a:cubicBezTo>
                      <a:pt x="2333" y="-560"/>
                      <a:pt x="8792" y="1593"/>
                      <a:pt x="14713" y="6497"/>
                    </a:cubicBezTo>
                    <a:cubicBezTo>
                      <a:pt x="20634" y="11461"/>
                      <a:pt x="23803" y="17442"/>
                      <a:pt x="22069" y="20133"/>
                    </a:cubicBezTo>
                    <a:cubicBezTo>
                      <a:pt x="22189" y="20073"/>
                      <a:pt x="22249" y="19954"/>
                      <a:pt x="22368" y="19894"/>
                    </a:cubicBezTo>
                    <a:cubicBezTo>
                      <a:pt x="24760" y="17023"/>
                      <a:pt x="21770" y="10564"/>
                      <a:pt x="15669" y="5420"/>
                    </a:cubicBezTo>
                    <a:cubicBezTo>
                      <a:pt x="9569" y="337"/>
                      <a:pt x="2692" y="-1517"/>
                      <a:pt x="239" y="1353"/>
                    </a:cubicBezTo>
                    <a:close/>
                  </a:path>
                </a:pathLst>
              </a:custGeom>
              <a:solidFill>
                <a:srgbClr val="FFFFFF"/>
              </a:solidFill>
              <a:ln w="5978" cap="flat">
                <a:noFill/>
                <a:prstDash val="solid"/>
                <a:miter/>
              </a:ln>
            </p:spPr>
            <p:txBody>
              <a:bodyPr rtlCol="0" anchor="ctr"/>
              <a:lstStyle/>
              <a:p>
                <a:endParaRPr lang="en-GB"/>
              </a:p>
            </p:txBody>
          </p:sp>
          <p:sp>
            <p:nvSpPr>
              <p:cNvPr id="7159" name="Vrije vorm: vorm 7158">
                <a:extLst>
                  <a:ext uri="{FF2B5EF4-FFF2-40B4-BE49-F238E27FC236}">
                    <a16:creationId xmlns:a16="http://schemas.microsoft.com/office/drawing/2014/main" id="{CE3C44CC-CD9A-43F1-9F93-CEB7D8D99684}"/>
                  </a:ext>
                </a:extLst>
              </p:cNvPr>
              <p:cNvSpPr/>
              <p:nvPr/>
            </p:nvSpPr>
            <p:spPr>
              <a:xfrm>
                <a:off x="7798574" y="2301774"/>
                <a:ext cx="23147" cy="20400"/>
              </a:xfrm>
              <a:custGeom>
                <a:avLst/>
                <a:gdLst>
                  <a:gd name="connsiteX0" fmla="*/ 605 w 23147"/>
                  <a:gd name="connsiteY0" fmla="*/ 844 h 20400"/>
                  <a:gd name="connsiteX1" fmla="*/ 7543 w 23147"/>
                  <a:gd name="connsiteY1" fmla="*/ 14958 h 20400"/>
                  <a:gd name="connsiteX2" fmla="*/ 22675 w 23147"/>
                  <a:gd name="connsiteY2" fmla="*/ 19324 h 20400"/>
                  <a:gd name="connsiteX3" fmla="*/ 15319 w 23147"/>
                  <a:gd name="connsiteY3" fmla="*/ 5688 h 20400"/>
                  <a:gd name="connsiteX4" fmla="*/ 605 w 23147"/>
                  <a:gd name="connsiteY4" fmla="*/ 844 h 2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47" h="20400">
                    <a:moveTo>
                      <a:pt x="605" y="844"/>
                    </a:moveTo>
                    <a:cubicBezTo>
                      <a:pt x="-1368" y="3834"/>
                      <a:pt x="1622" y="9994"/>
                      <a:pt x="7543" y="14958"/>
                    </a:cubicBezTo>
                    <a:cubicBezTo>
                      <a:pt x="13464" y="19922"/>
                      <a:pt x="20103" y="21776"/>
                      <a:pt x="22675" y="19324"/>
                    </a:cubicBezTo>
                    <a:cubicBezTo>
                      <a:pt x="24409" y="16633"/>
                      <a:pt x="21239" y="10652"/>
                      <a:pt x="15319" y="5688"/>
                    </a:cubicBezTo>
                    <a:cubicBezTo>
                      <a:pt x="9397" y="784"/>
                      <a:pt x="2938" y="-1309"/>
                      <a:pt x="605" y="844"/>
                    </a:cubicBezTo>
                    <a:close/>
                  </a:path>
                </a:pathLst>
              </a:custGeom>
              <a:noFill/>
              <a:ln w="5978" cap="flat">
                <a:solidFill>
                  <a:srgbClr val="FFFFFF">
                    <a:alpha val="40000"/>
                  </a:srgbClr>
                </a:solidFill>
                <a:prstDash val="solid"/>
                <a:miter/>
              </a:ln>
            </p:spPr>
            <p:txBody>
              <a:bodyPr rtlCol="0" anchor="ctr"/>
              <a:lstStyle/>
              <a:p>
                <a:endParaRPr lang="en-GB"/>
              </a:p>
            </p:txBody>
          </p:sp>
          <p:sp>
            <p:nvSpPr>
              <p:cNvPr id="7160" name="Vrije vorm: vorm 7159">
                <a:extLst>
                  <a:ext uri="{FF2B5EF4-FFF2-40B4-BE49-F238E27FC236}">
                    <a16:creationId xmlns:a16="http://schemas.microsoft.com/office/drawing/2014/main" id="{2D32D301-C9E9-44A0-AFD4-CFB039DD655E}"/>
                  </a:ext>
                </a:extLst>
              </p:cNvPr>
              <p:cNvSpPr/>
              <p:nvPr/>
            </p:nvSpPr>
            <p:spPr>
              <a:xfrm>
                <a:off x="7788295" y="2329850"/>
                <a:ext cx="25610" cy="22766"/>
              </a:xfrm>
              <a:custGeom>
                <a:avLst/>
                <a:gdLst>
                  <a:gd name="connsiteX0" fmla="*/ 418 w 25610"/>
                  <a:gd name="connsiteY0" fmla="*/ 2372 h 22766"/>
                  <a:gd name="connsiteX1" fmla="*/ 0 w 25610"/>
                  <a:gd name="connsiteY1" fmla="*/ 2970 h 22766"/>
                  <a:gd name="connsiteX2" fmla="*/ 16627 w 25610"/>
                  <a:gd name="connsiteY2" fmla="*/ 7097 h 22766"/>
                  <a:gd name="connsiteX3" fmla="*/ 23564 w 25610"/>
                  <a:gd name="connsiteY3" fmla="*/ 22766 h 22766"/>
                  <a:gd name="connsiteX4" fmla="*/ 24102 w 25610"/>
                  <a:gd name="connsiteY4" fmla="*/ 22228 h 22766"/>
                  <a:gd name="connsiteX5" fmla="*/ 18420 w 25610"/>
                  <a:gd name="connsiteY5" fmla="*/ 5004 h 22766"/>
                  <a:gd name="connsiteX6" fmla="*/ 418 w 25610"/>
                  <a:gd name="connsiteY6" fmla="*/ 2372 h 2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10" h="22766">
                    <a:moveTo>
                      <a:pt x="418" y="2372"/>
                    </a:moveTo>
                    <a:cubicBezTo>
                      <a:pt x="239" y="2552"/>
                      <a:pt x="120" y="2791"/>
                      <a:pt x="0" y="2970"/>
                    </a:cubicBezTo>
                    <a:cubicBezTo>
                      <a:pt x="3170" y="159"/>
                      <a:pt x="10406" y="1894"/>
                      <a:pt x="16627" y="7097"/>
                    </a:cubicBezTo>
                    <a:cubicBezTo>
                      <a:pt x="22846" y="12300"/>
                      <a:pt x="25836" y="19178"/>
                      <a:pt x="23564" y="22766"/>
                    </a:cubicBezTo>
                    <a:cubicBezTo>
                      <a:pt x="23743" y="22587"/>
                      <a:pt x="23923" y="22408"/>
                      <a:pt x="24102" y="22228"/>
                    </a:cubicBezTo>
                    <a:cubicBezTo>
                      <a:pt x="27511" y="18161"/>
                      <a:pt x="24939" y="10506"/>
                      <a:pt x="18420" y="5004"/>
                    </a:cubicBezTo>
                    <a:cubicBezTo>
                      <a:pt x="11842" y="-439"/>
                      <a:pt x="3768" y="-1635"/>
                      <a:pt x="418" y="2372"/>
                    </a:cubicBezTo>
                    <a:close/>
                  </a:path>
                </a:pathLst>
              </a:custGeom>
              <a:solidFill>
                <a:srgbClr val="FFFFFF"/>
              </a:solidFill>
              <a:ln w="5978" cap="flat">
                <a:noFill/>
                <a:prstDash val="solid"/>
                <a:miter/>
              </a:ln>
            </p:spPr>
            <p:txBody>
              <a:bodyPr rtlCol="0" anchor="ctr"/>
              <a:lstStyle/>
              <a:p>
                <a:endParaRPr lang="en-GB"/>
              </a:p>
            </p:txBody>
          </p:sp>
          <p:sp>
            <p:nvSpPr>
              <p:cNvPr id="7161" name="Vrije vorm: vorm 7160">
                <a:extLst>
                  <a:ext uri="{FF2B5EF4-FFF2-40B4-BE49-F238E27FC236}">
                    <a16:creationId xmlns:a16="http://schemas.microsoft.com/office/drawing/2014/main" id="{95D5DD3C-4C4A-4FEC-8A9C-956D9A88E8E8}"/>
                  </a:ext>
                </a:extLst>
              </p:cNvPr>
              <p:cNvSpPr/>
              <p:nvPr/>
            </p:nvSpPr>
            <p:spPr>
              <a:xfrm>
                <a:off x="7787179" y="2331543"/>
                <a:ext cx="25413" cy="23019"/>
              </a:xfrm>
              <a:custGeom>
                <a:avLst/>
                <a:gdLst>
                  <a:gd name="connsiteX0" fmla="*/ 1056 w 25413"/>
                  <a:gd name="connsiteY0" fmla="*/ 1338 h 23019"/>
                  <a:gd name="connsiteX1" fmla="*/ 6020 w 25413"/>
                  <a:gd name="connsiteY1" fmla="*/ 16947 h 23019"/>
                  <a:gd name="connsiteX2" fmla="*/ 7216 w 25413"/>
                  <a:gd name="connsiteY2" fmla="*/ 18024 h 23019"/>
                  <a:gd name="connsiteX3" fmla="*/ 8472 w 25413"/>
                  <a:gd name="connsiteY3" fmla="*/ 18981 h 23019"/>
                  <a:gd name="connsiteX4" fmla="*/ 24680 w 25413"/>
                  <a:gd name="connsiteY4" fmla="*/ 21134 h 23019"/>
                  <a:gd name="connsiteX5" fmla="*/ 17743 w 25413"/>
                  <a:gd name="connsiteY5" fmla="*/ 5464 h 23019"/>
                  <a:gd name="connsiteX6" fmla="*/ 1056 w 25413"/>
                  <a:gd name="connsiteY6" fmla="*/ 1338 h 2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13" h="23019">
                    <a:moveTo>
                      <a:pt x="1056" y="1338"/>
                    </a:moveTo>
                    <a:cubicBezTo>
                      <a:pt x="-1456" y="5225"/>
                      <a:pt x="637" y="11804"/>
                      <a:pt x="6020" y="16947"/>
                    </a:cubicBezTo>
                    <a:cubicBezTo>
                      <a:pt x="6439" y="17306"/>
                      <a:pt x="6797" y="17665"/>
                      <a:pt x="7216" y="18024"/>
                    </a:cubicBezTo>
                    <a:cubicBezTo>
                      <a:pt x="7635" y="18382"/>
                      <a:pt x="8053" y="18682"/>
                      <a:pt x="8472" y="18981"/>
                    </a:cubicBezTo>
                    <a:cubicBezTo>
                      <a:pt x="14453" y="23406"/>
                      <a:pt x="21271" y="24303"/>
                      <a:pt x="24680" y="21134"/>
                    </a:cubicBezTo>
                    <a:cubicBezTo>
                      <a:pt x="26893" y="17545"/>
                      <a:pt x="23962" y="10667"/>
                      <a:pt x="17743" y="5464"/>
                    </a:cubicBezTo>
                    <a:cubicBezTo>
                      <a:pt x="11463" y="261"/>
                      <a:pt x="4226" y="-1473"/>
                      <a:pt x="1056" y="1338"/>
                    </a:cubicBezTo>
                    <a:close/>
                  </a:path>
                </a:pathLst>
              </a:custGeom>
              <a:noFill/>
              <a:ln w="5978" cap="flat">
                <a:solidFill>
                  <a:srgbClr val="FFFFFF">
                    <a:alpha val="40000"/>
                  </a:srgbClr>
                </a:solidFill>
                <a:prstDash val="solid"/>
                <a:miter/>
              </a:ln>
            </p:spPr>
            <p:txBody>
              <a:bodyPr rtlCol="0" anchor="ctr"/>
              <a:lstStyle/>
              <a:p>
                <a:endParaRPr lang="en-GB"/>
              </a:p>
            </p:txBody>
          </p:sp>
          <p:sp>
            <p:nvSpPr>
              <p:cNvPr id="7162" name="Vrije vorm: vorm 7161">
                <a:extLst>
                  <a:ext uri="{FF2B5EF4-FFF2-40B4-BE49-F238E27FC236}">
                    <a16:creationId xmlns:a16="http://schemas.microsoft.com/office/drawing/2014/main" id="{5A227221-D08E-4307-99FC-BD160CC55161}"/>
                  </a:ext>
                </a:extLst>
              </p:cNvPr>
              <p:cNvSpPr/>
              <p:nvPr/>
            </p:nvSpPr>
            <p:spPr>
              <a:xfrm>
                <a:off x="7823612" y="2342282"/>
                <a:ext cx="13395" cy="11196"/>
              </a:xfrm>
              <a:custGeom>
                <a:avLst/>
                <a:gdLst>
                  <a:gd name="connsiteX0" fmla="*/ 448 w 13395"/>
                  <a:gd name="connsiteY0" fmla="*/ 1782 h 11196"/>
                  <a:gd name="connsiteX1" fmla="*/ 4276 w 13395"/>
                  <a:gd name="connsiteY1" fmla="*/ 9676 h 11196"/>
                  <a:gd name="connsiteX2" fmla="*/ 12947 w 13395"/>
                  <a:gd name="connsiteY2" fmla="*/ 9437 h 11196"/>
                  <a:gd name="connsiteX3" fmla="*/ 9120 w 13395"/>
                  <a:gd name="connsiteY3" fmla="*/ 1543 h 11196"/>
                  <a:gd name="connsiteX4" fmla="*/ 448 w 13395"/>
                  <a:gd name="connsiteY4" fmla="*/ 1782 h 11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5" h="11196">
                    <a:moveTo>
                      <a:pt x="448" y="1782"/>
                    </a:moveTo>
                    <a:cubicBezTo>
                      <a:pt x="-868" y="4055"/>
                      <a:pt x="806" y="7583"/>
                      <a:pt x="4276" y="9676"/>
                    </a:cubicBezTo>
                    <a:cubicBezTo>
                      <a:pt x="7744" y="11770"/>
                      <a:pt x="11632" y="11710"/>
                      <a:pt x="12947" y="9437"/>
                    </a:cubicBezTo>
                    <a:cubicBezTo>
                      <a:pt x="14263" y="7165"/>
                      <a:pt x="12589" y="3636"/>
                      <a:pt x="9120" y="1543"/>
                    </a:cubicBezTo>
                    <a:cubicBezTo>
                      <a:pt x="5651" y="-610"/>
                      <a:pt x="1763" y="-491"/>
                      <a:pt x="448" y="1782"/>
                    </a:cubicBezTo>
                    <a:close/>
                  </a:path>
                </a:pathLst>
              </a:custGeom>
              <a:solidFill>
                <a:srgbClr val="FFFFFF"/>
              </a:solidFill>
              <a:ln w="5978" cap="flat">
                <a:noFill/>
                <a:prstDash val="solid"/>
                <a:miter/>
              </a:ln>
            </p:spPr>
            <p:txBody>
              <a:bodyPr rtlCol="0" anchor="ctr"/>
              <a:lstStyle/>
              <a:p>
                <a:endParaRPr lang="en-GB"/>
              </a:p>
            </p:txBody>
          </p:sp>
        </p:grpSp>
        <p:grpSp>
          <p:nvGrpSpPr>
            <p:cNvPr id="7167" name="WERELD_2">
              <a:extLst>
                <a:ext uri="{FF2B5EF4-FFF2-40B4-BE49-F238E27FC236}">
                  <a16:creationId xmlns:a16="http://schemas.microsoft.com/office/drawing/2014/main" id="{656732D6-A1E8-4FF8-9F52-E0220C7E9DA8}"/>
                </a:ext>
              </a:extLst>
            </p:cNvPr>
            <p:cNvGrpSpPr/>
            <p:nvPr userDrawn="1"/>
          </p:nvGrpSpPr>
          <p:grpSpPr>
            <a:xfrm>
              <a:off x="6488193" y="3868581"/>
              <a:ext cx="1822256" cy="2174886"/>
              <a:chOff x="6456099" y="3685061"/>
              <a:chExt cx="1822256" cy="2174886"/>
            </a:xfrm>
          </p:grpSpPr>
          <p:grpSp>
            <p:nvGrpSpPr>
              <p:cNvPr id="7168" name="Groep 7167">
                <a:extLst>
                  <a:ext uri="{FF2B5EF4-FFF2-40B4-BE49-F238E27FC236}">
                    <a16:creationId xmlns:a16="http://schemas.microsoft.com/office/drawing/2014/main" id="{C023F937-B40F-4992-90BE-455EE9BF5CC7}"/>
                  </a:ext>
                </a:extLst>
              </p:cNvPr>
              <p:cNvGrpSpPr/>
              <p:nvPr/>
            </p:nvGrpSpPr>
            <p:grpSpPr>
              <a:xfrm>
                <a:off x="8151706" y="4349054"/>
                <a:ext cx="93916" cy="108899"/>
                <a:chOff x="8151706" y="4349054"/>
                <a:chExt cx="93916" cy="108899"/>
              </a:xfrm>
            </p:grpSpPr>
            <p:sp>
              <p:nvSpPr>
                <p:cNvPr id="7321" name="Vrije vorm: vorm 7320">
                  <a:extLst>
                    <a:ext uri="{FF2B5EF4-FFF2-40B4-BE49-F238E27FC236}">
                      <a16:creationId xmlns:a16="http://schemas.microsoft.com/office/drawing/2014/main" id="{531FF215-AC90-49BD-AAEF-477EB2E7BFA5}"/>
                    </a:ext>
                  </a:extLst>
                </p:cNvPr>
                <p:cNvSpPr/>
                <p:nvPr/>
              </p:nvSpPr>
              <p:spPr>
                <a:xfrm>
                  <a:off x="8191814" y="4428824"/>
                  <a:ext cx="47128" cy="29129"/>
                </a:xfrm>
                <a:custGeom>
                  <a:avLst/>
                  <a:gdLst>
                    <a:gd name="connsiteX0" fmla="*/ 47128 w 47128"/>
                    <a:gd name="connsiteY0" fmla="*/ 3529 h 29129"/>
                    <a:gd name="connsiteX1" fmla="*/ 13576 w 47128"/>
                    <a:gd name="connsiteY1" fmla="*/ 0 h 29129"/>
                    <a:gd name="connsiteX2" fmla="*/ 0 w 47128"/>
                    <a:gd name="connsiteY2" fmla="*/ 24282 h 29129"/>
                    <a:gd name="connsiteX3" fmla="*/ 33552 w 47128"/>
                    <a:gd name="connsiteY3" fmla="*/ 27811 h 29129"/>
                  </a:gdLst>
                  <a:ahLst/>
                  <a:cxnLst>
                    <a:cxn ang="0">
                      <a:pos x="connsiteX0" y="connsiteY0"/>
                    </a:cxn>
                    <a:cxn ang="0">
                      <a:pos x="connsiteX1" y="connsiteY1"/>
                    </a:cxn>
                    <a:cxn ang="0">
                      <a:pos x="connsiteX2" y="connsiteY2"/>
                    </a:cxn>
                    <a:cxn ang="0">
                      <a:pos x="connsiteX3" y="connsiteY3"/>
                    </a:cxn>
                  </a:cxnLst>
                  <a:rect l="l" t="t" r="r" b="b"/>
                  <a:pathLst>
                    <a:path w="47128" h="29129">
                      <a:moveTo>
                        <a:pt x="47128" y="3529"/>
                      </a:moveTo>
                      <a:cubicBezTo>
                        <a:pt x="37439" y="6100"/>
                        <a:pt x="26255" y="4964"/>
                        <a:pt x="13576" y="0"/>
                      </a:cubicBezTo>
                      <a:lnTo>
                        <a:pt x="0" y="24282"/>
                      </a:lnTo>
                      <a:cubicBezTo>
                        <a:pt x="12679" y="29186"/>
                        <a:pt x="23863" y="30382"/>
                        <a:pt x="33552" y="27811"/>
                      </a:cubicBezTo>
                    </a:path>
                  </a:pathLst>
                </a:custGeom>
                <a:noFill/>
                <a:ln w="6350" cap="flat">
                  <a:solidFill>
                    <a:schemeClr val="bg1">
                      <a:alpha val="40000"/>
                    </a:schemeClr>
                  </a:solidFill>
                  <a:prstDash val="solid"/>
                  <a:miter/>
                </a:ln>
              </p:spPr>
              <p:txBody>
                <a:bodyPr rtlCol="0" anchor="ctr"/>
                <a:lstStyle/>
                <a:p>
                  <a:endParaRPr lang="en-GB"/>
                </a:p>
              </p:txBody>
            </p:sp>
            <p:sp>
              <p:nvSpPr>
                <p:cNvPr id="7322" name="Vrije vorm: vorm 7321">
                  <a:extLst>
                    <a:ext uri="{FF2B5EF4-FFF2-40B4-BE49-F238E27FC236}">
                      <a16:creationId xmlns:a16="http://schemas.microsoft.com/office/drawing/2014/main" id="{036129C6-76C0-4A39-A2FA-E80462733FDB}"/>
                    </a:ext>
                  </a:extLst>
                </p:cNvPr>
                <p:cNvSpPr/>
                <p:nvPr/>
              </p:nvSpPr>
              <p:spPr>
                <a:xfrm>
                  <a:off x="8197795" y="4405739"/>
                  <a:ext cx="46290" cy="30501"/>
                </a:xfrm>
                <a:custGeom>
                  <a:avLst/>
                  <a:gdLst>
                    <a:gd name="connsiteX0" fmla="*/ 0 w 46290"/>
                    <a:gd name="connsiteY0" fmla="*/ 30502 h 30501"/>
                    <a:gd name="connsiteX1" fmla="*/ 13576 w 46290"/>
                    <a:gd name="connsiteY1" fmla="*/ 6220 h 30501"/>
                    <a:gd name="connsiteX2" fmla="*/ 46291 w 46290"/>
                    <a:gd name="connsiteY2" fmla="*/ 0 h 30501"/>
                  </a:gdLst>
                  <a:ahLst/>
                  <a:cxnLst>
                    <a:cxn ang="0">
                      <a:pos x="connsiteX0" y="connsiteY0"/>
                    </a:cxn>
                    <a:cxn ang="0">
                      <a:pos x="connsiteX1" y="connsiteY1"/>
                    </a:cxn>
                    <a:cxn ang="0">
                      <a:pos x="connsiteX2" y="connsiteY2"/>
                    </a:cxn>
                  </a:cxnLst>
                  <a:rect l="l" t="t" r="r" b="b"/>
                  <a:pathLst>
                    <a:path w="46290" h="30501">
                      <a:moveTo>
                        <a:pt x="0" y="30502"/>
                      </a:moveTo>
                      <a:lnTo>
                        <a:pt x="13576" y="6220"/>
                      </a:lnTo>
                      <a:cubicBezTo>
                        <a:pt x="30023" y="12260"/>
                        <a:pt x="40908" y="10227"/>
                        <a:pt x="46291" y="0"/>
                      </a:cubicBezTo>
                    </a:path>
                  </a:pathLst>
                </a:custGeom>
                <a:noFill/>
                <a:ln w="6350" cap="flat">
                  <a:solidFill>
                    <a:schemeClr val="bg1">
                      <a:alpha val="40000"/>
                    </a:schemeClr>
                  </a:solidFill>
                  <a:prstDash val="solid"/>
                  <a:miter/>
                </a:ln>
              </p:spPr>
              <p:txBody>
                <a:bodyPr rtlCol="0" anchor="ctr"/>
                <a:lstStyle/>
                <a:p>
                  <a:endParaRPr lang="en-GB"/>
                </a:p>
              </p:txBody>
            </p:sp>
            <p:sp>
              <p:nvSpPr>
                <p:cNvPr id="7323" name="Vrije vorm: vorm 7322">
                  <a:extLst>
                    <a:ext uri="{FF2B5EF4-FFF2-40B4-BE49-F238E27FC236}">
                      <a16:creationId xmlns:a16="http://schemas.microsoft.com/office/drawing/2014/main" id="{959243B5-870B-4360-9AE7-13E44E90FC94}"/>
                    </a:ext>
                  </a:extLst>
                </p:cNvPr>
                <p:cNvSpPr/>
                <p:nvPr/>
              </p:nvSpPr>
              <p:spPr>
                <a:xfrm>
                  <a:off x="8243308" y="4390009"/>
                  <a:ext cx="2314" cy="15729"/>
                </a:xfrm>
                <a:custGeom>
                  <a:avLst/>
                  <a:gdLst>
                    <a:gd name="connsiteX0" fmla="*/ 778 w 2314"/>
                    <a:gd name="connsiteY0" fmla="*/ 15729 h 15729"/>
                    <a:gd name="connsiteX1" fmla="*/ 0 w 2314"/>
                    <a:gd name="connsiteY1" fmla="*/ 0 h 15729"/>
                  </a:gdLst>
                  <a:ahLst/>
                  <a:cxnLst>
                    <a:cxn ang="0">
                      <a:pos x="connsiteX0" y="connsiteY0"/>
                    </a:cxn>
                    <a:cxn ang="0">
                      <a:pos x="connsiteX1" y="connsiteY1"/>
                    </a:cxn>
                  </a:cxnLst>
                  <a:rect l="l" t="t" r="r" b="b"/>
                  <a:pathLst>
                    <a:path w="2314" h="15729">
                      <a:moveTo>
                        <a:pt x="778" y="15729"/>
                      </a:moveTo>
                      <a:cubicBezTo>
                        <a:pt x="3050" y="11423"/>
                        <a:pt x="2811" y="6220"/>
                        <a:pt x="0" y="0"/>
                      </a:cubicBezTo>
                    </a:path>
                  </a:pathLst>
                </a:custGeom>
                <a:noFill/>
                <a:ln w="6350" cap="flat">
                  <a:solidFill>
                    <a:schemeClr val="bg1">
                      <a:alpha val="40000"/>
                    </a:schemeClr>
                  </a:solidFill>
                  <a:prstDash val="solid"/>
                  <a:miter/>
                </a:ln>
              </p:spPr>
              <p:txBody>
                <a:bodyPr rtlCol="0" anchor="ctr"/>
                <a:lstStyle/>
                <a:p>
                  <a:endParaRPr lang="en-GB"/>
                </a:p>
              </p:txBody>
            </p:sp>
            <p:sp>
              <p:nvSpPr>
                <p:cNvPr id="7324" name="Vrije vorm: vorm 7323">
                  <a:extLst>
                    <a:ext uri="{FF2B5EF4-FFF2-40B4-BE49-F238E27FC236}">
                      <a16:creationId xmlns:a16="http://schemas.microsoft.com/office/drawing/2014/main" id="{F95EECEF-682B-462C-89AA-B58D3EA59BB5}"/>
                    </a:ext>
                  </a:extLst>
                </p:cNvPr>
                <p:cNvSpPr/>
                <p:nvPr/>
              </p:nvSpPr>
              <p:spPr>
                <a:xfrm>
                  <a:off x="8211551" y="4371230"/>
                  <a:ext cx="31757" cy="43061"/>
                </a:xfrm>
                <a:custGeom>
                  <a:avLst/>
                  <a:gdLst>
                    <a:gd name="connsiteX0" fmla="*/ 31757 w 31757"/>
                    <a:gd name="connsiteY0" fmla="*/ 18780 h 43061"/>
                    <a:gd name="connsiteX1" fmla="*/ 13576 w 31757"/>
                    <a:gd name="connsiteY1" fmla="*/ 0 h 43061"/>
                    <a:gd name="connsiteX2" fmla="*/ 0 w 31757"/>
                    <a:gd name="connsiteY2" fmla="*/ 24282 h 43061"/>
                    <a:gd name="connsiteX3" fmla="*/ 18181 w 31757"/>
                    <a:gd name="connsiteY3" fmla="*/ 43061 h 43061"/>
                  </a:gdLst>
                  <a:ahLst/>
                  <a:cxnLst>
                    <a:cxn ang="0">
                      <a:pos x="connsiteX0" y="connsiteY0"/>
                    </a:cxn>
                    <a:cxn ang="0">
                      <a:pos x="connsiteX1" y="connsiteY1"/>
                    </a:cxn>
                    <a:cxn ang="0">
                      <a:pos x="connsiteX2" y="connsiteY2"/>
                    </a:cxn>
                    <a:cxn ang="0">
                      <a:pos x="connsiteX3" y="connsiteY3"/>
                    </a:cxn>
                  </a:cxnLst>
                  <a:rect l="l" t="t" r="r" b="b"/>
                  <a:pathLst>
                    <a:path w="31757" h="43061">
                      <a:moveTo>
                        <a:pt x="31757" y="18780"/>
                      </a:moveTo>
                      <a:cubicBezTo>
                        <a:pt x="29006" y="12560"/>
                        <a:pt x="22906" y="6340"/>
                        <a:pt x="13576" y="0"/>
                      </a:cubicBezTo>
                      <a:lnTo>
                        <a:pt x="0" y="24282"/>
                      </a:lnTo>
                      <a:cubicBezTo>
                        <a:pt x="9330" y="30621"/>
                        <a:pt x="15430" y="36901"/>
                        <a:pt x="18181" y="43061"/>
                      </a:cubicBezTo>
                    </a:path>
                  </a:pathLst>
                </a:custGeom>
                <a:noFill/>
                <a:ln w="6350" cap="flat">
                  <a:solidFill>
                    <a:schemeClr val="bg1">
                      <a:alpha val="40000"/>
                    </a:schemeClr>
                  </a:solidFill>
                  <a:prstDash val="solid"/>
                  <a:miter/>
                </a:ln>
              </p:spPr>
              <p:txBody>
                <a:bodyPr rtlCol="0" anchor="ctr"/>
                <a:lstStyle/>
                <a:p>
                  <a:endParaRPr lang="en-GB"/>
                </a:p>
              </p:txBody>
            </p:sp>
            <p:sp>
              <p:nvSpPr>
                <p:cNvPr id="7325" name="Vrije vorm: vorm 7324">
                  <a:extLst>
                    <a:ext uri="{FF2B5EF4-FFF2-40B4-BE49-F238E27FC236}">
                      <a16:creationId xmlns:a16="http://schemas.microsoft.com/office/drawing/2014/main" id="{7C9F21E9-5303-418A-8ECB-044790CA0E2F}"/>
                    </a:ext>
                  </a:extLst>
                </p:cNvPr>
                <p:cNvSpPr/>
                <p:nvPr/>
              </p:nvSpPr>
              <p:spPr>
                <a:xfrm>
                  <a:off x="8211551" y="4371230"/>
                  <a:ext cx="34026" cy="43061"/>
                </a:xfrm>
                <a:custGeom>
                  <a:avLst/>
                  <a:gdLst>
                    <a:gd name="connsiteX0" fmla="*/ 18181 w 34026"/>
                    <a:gd name="connsiteY0" fmla="*/ 43061 h 43061"/>
                    <a:gd name="connsiteX1" fmla="*/ 0 w 34026"/>
                    <a:gd name="connsiteY1" fmla="*/ 24282 h 43061"/>
                    <a:gd name="connsiteX2" fmla="*/ 13576 w 34026"/>
                    <a:gd name="connsiteY2" fmla="*/ 0 h 43061"/>
                    <a:gd name="connsiteX3" fmla="*/ 31757 w 34026"/>
                    <a:gd name="connsiteY3" fmla="*/ 18780 h 43061"/>
                    <a:gd name="connsiteX4" fmla="*/ 32535 w 34026"/>
                    <a:gd name="connsiteY4" fmla="*/ 34509 h 43061"/>
                    <a:gd name="connsiteX5" fmla="*/ 32235 w 34026"/>
                    <a:gd name="connsiteY5" fmla="*/ 35047 h 4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6" h="43061">
                      <a:moveTo>
                        <a:pt x="18181" y="43061"/>
                      </a:moveTo>
                      <a:cubicBezTo>
                        <a:pt x="15430" y="36841"/>
                        <a:pt x="9330" y="30621"/>
                        <a:pt x="0" y="24282"/>
                      </a:cubicBezTo>
                      <a:lnTo>
                        <a:pt x="13576" y="0"/>
                      </a:lnTo>
                      <a:cubicBezTo>
                        <a:pt x="22906" y="6340"/>
                        <a:pt x="29006" y="12560"/>
                        <a:pt x="31757" y="18780"/>
                      </a:cubicBezTo>
                      <a:cubicBezTo>
                        <a:pt x="34508" y="24999"/>
                        <a:pt x="34748" y="30203"/>
                        <a:pt x="32535" y="34509"/>
                      </a:cubicBezTo>
                      <a:cubicBezTo>
                        <a:pt x="32415" y="34688"/>
                        <a:pt x="32355" y="34868"/>
                        <a:pt x="32235" y="35047"/>
                      </a:cubicBezTo>
                    </a:path>
                  </a:pathLst>
                </a:custGeom>
                <a:noFill/>
                <a:ln w="6350" cap="flat">
                  <a:solidFill>
                    <a:schemeClr val="bg1">
                      <a:alpha val="40000"/>
                    </a:schemeClr>
                  </a:solidFill>
                  <a:prstDash val="solid"/>
                  <a:miter/>
                </a:ln>
              </p:spPr>
              <p:txBody>
                <a:bodyPr rtlCol="0" anchor="ctr"/>
                <a:lstStyle/>
                <a:p>
                  <a:endParaRPr lang="en-GB"/>
                </a:p>
              </p:txBody>
            </p:sp>
            <p:sp>
              <p:nvSpPr>
                <p:cNvPr id="7326" name="Vrije vorm: vorm 7325">
                  <a:extLst>
                    <a:ext uri="{FF2B5EF4-FFF2-40B4-BE49-F238E27FC236}">
                      <a16:creationId xmlns:a16="http://schemas.microsoft.com/office/drawing/2014/main" id="{5C57FC6E-4B8B-4596-AD5E-46346AF35712}"/>
                    </a:ext>
                  </a:extLst>
                </p:cNvPr>
                <p:cNvSpPr/>
                <p:nvPr/>
              </p:nvSpPr>
              <p:spPr>
                <a:xfrm>
                  <a:off x="8153239" y="4349699"/>
                  <a:ext cx="13575" cy="24281"/>
                </a:xfrm>
                <a:custGeom>
                  <a:avLst/>
                  <a:gdLst>
                    <a:gd name="connsiteX0" fmla="*/ 0 w 13575"/>
                    <a:gd name="connsiteY0" fmla="*/ 24282 h 24281"/>
                    <a:gd name="connsiteX1" fmla="*/ 13576 w 13575"/>
                    <a:gd name="connsiteY1" fmla="*/ 0 h 24281"/>
                    <a:gd name="connsiteX2" fmla="*/ 60 w 13575"/>
                    <a:gd name="connsiteY2" fmla="*/ 8911 h 24281"/>
                  </a:gdLst>
                  <a:ahLst/>
                  <a:cxnLst>
                    <a:cxn ang="0">
                      <a:pos x="connsiteX0" y="connsiteY0"/>
                    </a:cxn>
                    <a:cxn ang="0">
                      <a:pos x="connsiteX1" y="connsiteY1"/>
                    </a:cxn>
                    <a:cxn ang="0">
                      <a:pos x="connsiteX2" y="connsiteY2"/>
                    </a:cxn>
                  </a:cxnLst>
                  <a:rect l="l" t="t" r="r" b="b"/>
                  <a:pathLst>
                    <a:path w="13575" h="24281">
                      <a:moveTo>
                        <a:pt x="0" y="24282"/>
                      </a:moveTo>
                      <a:lnTo>
                        <a:pt x="13576" y="0"/>
                      </a:lnTo>
                      <a:cubicBezTo>
                        <a:pt x="6937" y="1495"/>
                        <a:pt x="2452" y="4486"/>
                        <a:pt x="60" y="8911"/>
                      </a:cubicBezTo>
                    </a:path>
                  </a:pathLst>
                </a:custGeom>
                <a:noFill/>
                <a:ln w="6350" cap="flat">
                  <a:solidFill>
                    <a:schemeClr val="bg1">
                      <a:alpha val="40000"/>
                    </a:schemeClr>
                  </a:solidFill>
                  <a:prstDash val="solid"/>
                  <a:miter/>
                </a:ln>
              </p:spPr>
              <p:txBody>
                <a:bodyPr rtlCol="0" anchor="ctr"/>
                <a:lstStyle/>
                <a:p>
                  <a:endParaRPr lang="en-GB"/>
                </a:p>
              </p:txBody>
            </p:sp>
            <p:sp>
              <p:nvSpPr>
                <p:cNvPr id="7327" name="Vrije vorm: vorm 7326">
                  <a:extLst>
                    <a:ext uri="{FF2B5EF4-FFF2-40B4-BE49-F238E27FC236}">
                      <a16:creationId xmlns:a16="http://schemas.microsoft.com/office/drawing/2014/main" id="{E96E7C02-B285-4346-B00F-36A5D6DF768A}"/>
                    </a:ext>
                  </a:extLst>
                </p:cNvPr>
                <p:cNvSpPr/>
                <p:nvPr/>
              </p:nvSpPr>
              <p:spPr>
                <a:xfrm>
                  <a:off x="8151706" y="4358252"/>
                  <a:ext cx="16185" cy="54484"/>
                </a:xfrm>
                <a:custGeom>
                  <a:avLst/>
                  <a:gdLst>
                    <a:gd name="connsiteX0" fmla="*/ 1771 w 16185"/>
                    <a:gd name="connsiteY0" fmla="*/ 0 h 54484"/>
                    <a:gd name="connsiteX1" fmla="*/ 1592 w 16185"/>
                    <a:gd name="connsiteY1" fmla="*/ 359 h 54484"/>
                    <a:gd name="connsiteX2" fmla="*/ 2250 w 16185"/>
                    <a:gd name="connsiteY2" fmla="*/ 15430 h 54484"/>
                    <a:gd name="connsiteX3" fmla="*/ 16185 w 16185"/>
                    <a:gd name="connsiteY3" fmla="*/ 30203 h 54484"/>
                    <a:gd name="connsiteX4" fmla="*/ 2609 w 16185"/>
                    <a:gd name="connsiteY4" fmla="*/ 54484 h 5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85" h="54484">
                      <a:moveTo>
                        <a:pt x="1771" y="0"/>
                      </a:moveTo>
                      <a:cubicBezTo>
                        <a:pt x="1711" y="120"/>
                        <a:pt x="1652" y="239"/>
                        <a:pt x="1592" y="359"/>
                      </a:cubicBezTo>
                      <a:cubicBezTo>
                        <a:pt x="-740" y="4725"/>
                        <a:pt x="-501" y="9808"/>
                        <a:pt x="2250" y="15430"/>
                      </a:cubicBezTo>
                      <a:cubicBezTo>
                        <a:pt x="5001" y="21112"/>
                        <a:pt x="9666" y="26016"/>
                        <a:pt x="16185" y="30203"/>
                      </a:cubicBezTo>
                      <a:lnTo>
                        <a:pt x="2609" y="54484"/>
                      </a:lnTo>
                    </a:path>
                  </a:pathLst>
                </a:custGeom>
                <a:noFill/>
                <a:ln w="6350" cap="flat">
                  <a:solidFill>
                    <a:schemeClr val="bg1">
                      <a:alpha val="40000"/>
                    </a:schemeClr>
                  </a:solidFill>
                  <a:prstDash val="solid"/>
                  <a:miter/>
                </a:ln>
              </p:spPr>
              <p:txBody>
                <a:bodyPr rtlCol="0" anchor="ctr"/>
                <a:lstStyle/>
                <a:p>
                  <a:endParaRPr lang="en-GB"/>
                </a:p>
              </p:txBody>
            </p:sp>
            <p:sp>
              <p:nvSpPr>
                <p:cNvPr id="7328" name="Vrije vorm: vorm 7327">
                  <a:extLst>
                    <a:ext uri="{FF2B5EF4-FFF2-40B4-BE49-F238E27FC236}">
                      <a16:creationId xmlns:a16="http://schemas.microsoft.com/office/drawing/2014/main" id="{95E7B199-80C1-4754-8FF8-85DA017E1995}"/>
                    </a:ext>
                  </a:extLst>
                </p:cNvPr>
                <p:cNvSpPr/>
                <p:nvPr/>
              </p:nvSpPr>
              <p:spPr>
                <a:xfrm>
                  <a:off x="8153239" y="4349054"/>
                  <a:ext cx="39532" cy="28933"/>
                </a:xfrm>
                <a:custGeom>
                  <a:avLst/>
                  <a:gdLst>
                    <a:gd name="connsiteX0" fmla="*/ 239 w 39532"/>
                    <a:gd name="connsiteY0" fmla="*/ 9197 h 28933"/>
                    <a:gd name="connsiteX1" fmla="*/ 13576 w 39532"/>
                    <a:gd name="connsiteY1" fmla="*/ 585 h 28933"/>
                    <a:gd name="connsiteX2" fmla="*/ 39532 w 39532"/>
                    <a:gd name="connsiteY2" fmla="*/ 4652 h 28933"/>
                    <a:gd name="connsiteX3" fmla="*/ 25956 w 39532"/>
                    <a:gd name="connsiteY3" fmla="*/ 28934 h 28933"/>
                    <a:gd name="connsiteX4" fmla="*/ 0 w 39532"/>
                    <a:gd name="connsiteY4" fmla="*/ 24867 h 28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32" h="28933">
                      <a:moveTo>
                        <a:pt x="239" y="9197"/>
                      </a:moveTo>
                      <a:cubicBezTo>
                        <a:pt x="2631" y="4891"/>
                        <a:pt x="7117" y="2020"/>
                        <a:pt x="13576" y="585"/>
                      </a:cubicBezTo>
                      <a:cubicBezTo>
                        <a:pt x="20274" y="-910"/>
                        <a:pt x="28887" y="465"/>
                        <a:pt x="39532" y="4652"/>
                      </a:cubicBezTo>
                      <a:lnTo>
                        <a:pt x="25956" y="28934"/>
                      </a:lnTo>
                      <a:cubicBezTo>
                        <a:pt x="15310" y="24747"/>
                        <a:pt x="6698" y="23372"/>
                        <a:pt x="0" y="24867"/>
                      </a:cubicBezTo>
                    </a:path>
                  </a:pathLst>
                </a:custGeom>
                <a:noFill/>
                <a:ln w="6350" cap="flat">
                  <a:solidFill>
                    <a:schemeClr val="bg1">
                      <a:alpha val="40000"/>
                    </a:schemeClr>
                  </a:solidFill>
                  <a:prstDash val="solid"/>
                  <a:miter/>
                </a:ln>
              </p:spPr>
              <p:txBody>
                <a:bodyPr rtlCol="0" anchor="ctr"/>
                <a:lstStyle/>
                <a:p>
                  <a:endParaRPr lang="en-GB"/>
                </a:p>
              </p:txBody>
            </p:sp>
          </p:grpSp>
          <p:grpSp>
            <p:nvGrpSpPr>
              <p:cNvPr id="7169" name="Groep 7168">
                <a:extLst>
                  <a:ext uri="{FF2B5EF4-FFF2-40B4-BE49-F238E27FC236}">
                    <a16:creationId xmlns:a16="http://schemas.microsoft.com/office/drawing/2014/main" id="{A899BE12-2A25-4757-91BA-1CE042F12DC4}"/>
                  </a:ext>
                </a:extLst>
              </p:cNvPr>
              <p:cNvGrpSpPr/>
              <p:nvPr/>
            </p:nvGrpSpPr>
            <p:grpSpPr>
              <a:xfrm>
                <a:off x="6456099" y="3685061"/>
                <a:ext cx="1822256" cy="2174886"/>
                <a:chOff x="6456099" y="3685061"/>
                <a:chExt cx="1822256" cy="2174886"/>
              </a:xfrm>
            </p:grpSpPr>
            <p:grpSp>
              <p:nvGrpSpPr>
                <p:cNvPr id="7170" name="Groep 7169">
                  <a:extLst>
                    <a:ext uri="{FF2B5EF4-FFF2-40B4-BE49-F238E27FC236}">
                      <a16:creationId xmlns:a16="http://schemas.microsoft.com/office/drawing/2014/main" id="{E5E9AB2F-8874-47E8-865E-D1231D2DD909}"/>
                    </a:ext>
                  </a:extLst>
                </p:cNvPr>
                <p:cNvGrpSpPr/>
                <p:nvPr/>
              </p:nvGrpSpPr>
              <p:grpSpPr>
                <a:xfrm>
                  <a:off x="8118696" y="4328168"/>
                  <a:ext cx="145248" cy="129859"/>
                  <a:chOff x="8118696" y="4328168"/>
                  <a:chExt cx="145248" cy="129859"/>
                </a:xfrm>
              </p:grpSpPr>
              <p:grpSp>
                <p:nvGrpSpPr>
                  <p:cNvPr id="7288" name="Graphic 3">
                    <a:extLst>
                      <a:ext uri="{FF2B5EF4-FFF2-40B4-BE49-F238E27FC236}">
                        <a16:creationId xmlns:a16="http://schemas.microsoft.com/office/drawing/2014/main" id="{70D6B96C-6B10-49AC-8BDF-EC38B4499F81}"/>
                      </a:ext>
                    </a:extLst>
                  </p:cNvPr>
                  <p:cNvGrpSpPr/>
                  <p:nvPr/>
                </p:nvGrpSpPr>
                <p:grpSpPr>
                  <a:xfrm>
                    <a:off x="8118696" y="4371349"/>
                    <a:ext cx="128380" cy="85646"/>
                    <a:chOff x="8118696" y="4371349"/>
                    <a:chExt cx="128380" cy="85646"/>
                  </a:xfrm>
                  <a:solidFill>
                    <a:schemeClr val="accent1"/>
                  </a:solidFill>
                </p:grpSpPr>
                <p:sp>
                  <p:nvSpPr>
                    <p:cNvPr id="7318" name="Vrije vorm: vorm 7317">
                      <a:extLst>
                        <a:ext uri="{FF2B5EF4-FFF2-40B4-BE49-F238E27FC236}">
                          <a16:creationId xmlns:a16="http://schemas.microsoft.com/office/drawing/2014/main" id="{6EA9B276-C6E9-47EB-8B37-C868B89CEFCD}"/>
                        </a:ext>
                      </a:extLst>
                    </p:cNvPr>
                    <p:cNvSpPr/>
                    <p:nvPr/>
                  </p:nvSpPr>
                  <p:spPr>
                    <a:xfrm>
                      <a:off x="8191695" y="4435283"/>
                      <a:ext cx="55381" cy="21713"/>
                    </a:xfrm>
                    <a:custGeom>
                      <a:avLst/>
                      <a:gdLst>
                        <a:gd name="connsiteX0" fmla="*/ 6041 w 55381"/>
                        <a:gd name="connsiteY0" fmla="*/ 0 h 21713"/>
                        <a:gd name="connsiteX1" fmla="*/ 0 w 55381"/>
                        <a:gd name="connsiteY1" fmla="*/ 16866 h 21713"/>
                        <a:gd name="connsiteX2" fmla="*/ 33552 w 55381"/>
                        <a:gd name="connsiteY2" fmla="*/ 20394 h 21713"/>
                        <a:gd name="connsiteX3" fmla="*/ 55382 w 55381"/>
                        <a:gd name="connsiteY3" fmla="*/ 2572 h 21713"/>
                      </a:gdLst>
                      <a:ahLst/>
                      <a:cxnLst>
                        <a:cxn ang="0">
                          <a:pos x="connsiteX0" y="connsiteY0"/>
                        </a:cxn>
                        <a:cxn ang="0">
                          <a:pos x="connsiteX1" y="connsiteY1"/>
                        </a:cxn>
                        <a:cxn ang="0">
                          <a:pos x="connsiteX2" y="connsiteY2"/>
                        </a:cxn>
                        <a:cxn ang="0">
                          <a:pos x="connsiteX3" y="connsiteY3"/>
                        </a:cxn>
                      </a:cxnLst>
                      <a:rect l="l" t="t" r="r" b="b"/>
                      <a:pathLst>
                        <a:path w="55381" h="21713">
                          <a:moveTo>
                            <a:pt x="6041" y="0"/>
                          </a:moveTo>
                          <a:lnTo>
                            <a:pt x="0" y="16866"/>
                          </a:lnTo>
                          <a:cubicBezTo>
                            <a:pt x="12679" y="21770"/>
                            <a:pt x="23863" y="22966"/>
                            <a:pt x="33552" y="20394"/>
                          </a:cubicBezTo>
                          <a:cubicBezTo>
                            <a:pt x="43181" y="17763"/>
                            <a:pt x="50478" y="11842"/>
                            <a:pt x="55382" y="2572"/>
                          </a:cubicBezTo>
                        </a:path>
                      </a:pathLst>
                    </a:custGeom>
                    <a:noFill/>
                    <a:ln w="6350" cap="flat">
                      <a:solidFill>
                        <a:schemeClr val="bg1">
                          <a:alpha val="40000"/>
                        </a:schemeClr>
                      </a:solidFill>
                      <a:prstDash val="solid"/>
                      <a:miter/>
                    </a:ln>
                  </p:spPr>
                  <p:txBody>
                    <a:bodyPr rtlCol="0" anchor="ctr"/>
                    <a:lstStyle/>
                    <a:p>
                      <a:endParaRPr lang="en-GB"/>
                    </a:p>
                  </p:txBody>
                </p:sp>
                <p:sp>
                  <p:nvSpPr>
                    <p:cNvPr id="7319" name="Vrije vorm: vorm 7318">
                      <a:extLst>
                        <a:ext uri="{FF2B5EF4-FFF2-40B4-BE49-F238E27FC236}">
                          <a16:creationId xmlns:a16="http://schemas.microsoft.com/office/drawing/2014/main" id="{94F97014-F3C8-446F-BC6A-0740A3EA312A}"/>
                        </a:ext>
                      </a:extLst>
                    </p:cNvPr>
                    <p:cNvSpPr/>
                    <p:nvPr/>
                  </p:nvSpPr>
                  <p:spPr>
                    <a:xfrm>
                      <a:off x="8153119" y="4372439"/>
                      <a:ext cx="76552" cy="43287"/>
                    </a:xfrm>
                    <a:custGeom>
                      <a:avLst/>
                      <a:gdLst>
                        <a:gd name="connsiteX0" fmla="*/ 0 w 76552"/>
                        <a:gd name="connsiteY0" fmla="*/ 585 h 43287"/>
                        <a:gd name="connsiteX1" fmla="*/ 25956 w 76552"/>
                        <a:gd name="connsiteY1" fmla="*/ 4652 h 43287"/>
                        <a:gd name="connsiteX2" fmla="*/ 14832 w 76552"/>
                        <a:gd name="connsiteY2" fmla="*/ 25824 h 43287"/>
                        <a:gd name="connsiteX3" fmla="*/ 25657 w 76552"/>
                        <a:gd name="connsiteY3" fmla="*/ 31685 h 43287"/>
                        <a:gd name="connsiteX4" fmla="*/ 37200 w 76552"/>
                        <a:gd name="connsiteY4" fmla="*/ 9736 h 43287"/>
                        <a:gd name="connsiteX5" fmla="*/ 42643 w 76552"/>
                        <a:gd name="connsiteY5" fmla="*/ 12487 h 43287"/>
                        <a:gd name="connsiteX6" fmla="*/ 48025 w 76552"/>
                        <a:gd name="connsiteY6" fmla="*/ 15537 h 43287"/>
                        <a:gd name="connsiteX7" fmla="*/ 36482 w 76552"/>
                        <a:gd name="connsiteY7" fmla="*/ 37486 h 43287"/>
                        <a:gd name="connsiteX8" fmla="*/ 47248 w 76552"/>
                        <a:gd name="connsiteY8" fmla="*/ 43288 h 43287"/>
                        <a:gd name="connsiteX9" fmla="*/ 58372 w 76552"/>
                        <a:gd name="connsiteY9" fmla="*/ 22116 h 43287"/>
                        <a:gd name="connsiteX10" fmla="*/ 76553 w 76552"/>
                        <a:gd name="connsiteY10" fmla="*/ 40895 h 4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52" h="43287">
                          <a:moveTo>
                            <a:pt x="0" y="585"/>
                          </a:moveTo>
                          <a:cubicBezTo>
                            <a:pt x="6698" y="-910"/>
                            <a:pt x="15310" y="466"/>
                            <a:pt x="25956" y="4652"/>
                          </a:cubicBezTo>
                          <a:lnTo>
                            <a:pt x="14832" y="25824"/>
                          </a:lnTo>
                          <a:lnTo>
                            <a:pt x="25657" y="31685"/>
                          </a:lnTo>
                          <a:lnTo>
                            <a:pt x="37200" y="9736"/>
                          </a:lnTo>
                          <a:lnTo>
                            <a:pt x="42643" y="12487"/>
                          </a:lnTo>
                          <a:lnTo>
                            <a:pt x="48025" y="15537"/>
                          </a:lnTo>
                          <a:lnTo>
                            <a:pt x="36482" y="37486"/>
                          </a:lnTo>
                          <a:lnTo>
                            <a:pt x="47248" y="43288"/>
                          </a:lnTo>
                          <a:lnTo>
                            <a:pt x="58372" y="22116"/>
                          </a:lnTo>
                          <a:cubicBezTo>
                            <a:pt x="67701" y="28455"/>
                            <a:pt x="73802" y="34735"/>
                            <a:pt x="76553" y="40895"/>
                          </a:cubicBezTo>
                        </a:path>
                      </a:pathLst>
                    </a:custGeom>
                    <a:noFill/>
                    <a:ln w="6350" cap="flat">
                      <a:solidFill>
                        <a:schemeClr val="bg1">
                          <a:alpha val="40000"/>
                        </a:schemeClr>
                      </a:solidFill>
                      <a:prstDash val="solid"/>
                      <a:miter/>
                    </a:ln>
                  </p:spPr>
                  <p:txBody>
                    <a:bodyPr rtlCol="0" anchor="ctr"/>
                    <a:lstStyle/>
                    <a:p>
                      <a:endParaRPr lang="en-GB"/>
                    </a:p>
                  </p:txBody>
                </p:sp>
                <p:sp>
                  <p:nvSpPr>
                    <p:cNvPr id="7320" name="Vrije vorm: vorm 7319">
                      <a:extLst>
                        <a:ext uri="{FF2B5EF4-FFF2-40B4-BE49-F238E27FC236}">
                          <a16:creationId xmlns:a16="http://schemas.microsoft.com/office/drawing/2014/main" id="{C74CC3A8-540F-4084-81ED-4E2F323FAEAD}"/>
                        </a:ext>
                      </a:extLst>
                    </p:cNvPr>
                    <p:cNvSpPr/>
                    <p:nvPr/>
                  </p:nvSpPr>
                  <p:spPr>
                    <a:xfrm>
                      <a:off x="8118696" y="4371349"/>
                      <a:ext cx="35559" cy="55022"/>
                    </a:xfrm>
                    <a:custGeom>
                      <a:avLst/>
                      <a:gdLst>
                        <a:gd name="connsiteX0" fmla="*/ 4341 w 35559"/>
                        <a:gd name="connsiteY0" fmla="*/ 0 h 55022"/>
                        <a:gd name="connsiteX1" fmla="*/ 1948 w 35559"/>
                        <a:gd name="connsiteY1" fmla="*/ 28109 h 55022"/>
                        <a:gd name="connsiteX2" fmla="*/ 25153 w 35559"/>
                        <a:gd name="connsiteY2" fmla="*/ 55023 h 55022"/>
                        <a:gd name="connsiteX3" fmla="*/ 35560 w 35559"/>
                        <a:gd name="connsiteY3" fmla="*/ 40490 h 55022"/>
                      </a:gdLst>
                      <a:ahLst/>
                      <a:cxnLst>
                        <a:cxn ang="0">
                          <a:pos x="connsiteX0" y="connsiteY0"/>
                        </a:cxn>
                        <a:cxn ang="0">
                          <a:pos x="connsiteX1" y="connsiteY1"/>
                        </a:cxn>
                        <a:cxn ang="0">
                          <a:pos x="connsiteX2" y="connsiteY2"/>
                        </a:cxn>
                        <a:cxn ang="0">
                          <a:pos x="connsiteX3" y="connsiteY3"/>
                        </a:cxn>
                      </a:cxnLst>
                      <a:rect l="l" t="t" r="r" b="b"/>
                      <a:pathLst>
                        <a:path w="35559" h="55022">
                          <a:moveTo>
                            <a:pt x="4341" y="0"/>
                          </a:moveTo>
                          <a:cubicBezTo>
                            <a:pt x="-504" y="9210"/>
                            <a:pt x="-1281" y="18540"/>
                            <a:pt x="1948" y="28109"/>
                          </a:cubicBezTo>
                          <a:cubicBezTo>
                            <a:pt x="5178" y="37678"/>
                            <a:pt x="12952" y="46650"/>
                            <a:pt x="25153" y="55023"/>
                          </a:cubicBezTo>
                          <a:lnTo>
                            <a:pt x="35560" y="40490"/>
                          </a:lnTo>
                        </a:path>
                      </a:pathLst>
                    </a:custGeom>
                    <a:noFill/>
                    <a:ln w="6350" cap="flat">
                      <a:solidFill>
                        <a:schemeClr val="bg1">
                          <a:alpha val="40000"/>
                        </a:schemeClr>
                      </a:solidFill>
                      <a:prstDash val="solid"/>
                      <a:miter/>
                    </a:ln>
                  </p:spPr>
                  <p:txBody>
                    <a:bodyPr rtlCol="0" anchor="ctr"/>
                    <a:lstStyle/>
                    <a:p>
                      <a:endParaRPr lang="en-GB"/>
                    </a:p>
                  </p:txBody>
                </p:sp>
              </p:grpSp>
              <p:grpSp>
                <p:nvGrpSpPr>
                  <p:cNvPr id="7289" name="Graphic 3">
                    <a:extLst>
                      <a:ext uri="{FF2B5EF4-FFF2-40B4-BE49-F238E27FC236}">
                        <a16:creationId xmlns:a16="http://schemas.microsoft.com/office/drawing/2014/main" id="{A3CD9F68-07CB-4894-84A1-CBAC732A5780}"/>
                      </a:ext>
                    </a:extLst>
                  </p:cNvPr>
                  <p:cNvGrpSpPr/>
                  <p:nvPr/>
                </p:nvGrpSpPr>
                <p:grpSpPr>
                  <a:xfrm>
                    <a:off x="8225246" y="4413573"/>
                    <a:ext cx="35406" cy="42104"/>
                    <a:chOff x="8225246" y="4413573"/>
                    <a:chExt cx="35406" cy="42104"/>
                  </a:xfrm>
                  <a:solidFill>
                    <a:schemeClr val="accent1"/>
                  </a:solidFill>
                </p:grpSpPr>
                <p:sp>
                  <p:nvSpPr>
                    <p:cNvPr id="7316" name="Vrije vorm: vorm 7315">
                      <a:extLst>
                        <a:ext uri="{FF2B5EF4-FFF2-40B4-BE49-F238E27FC236}">
                          <a16:creationId xmlns:a16="http://schemas.microsoft.com/office/drawing/2014/main" id="{BBF863E2-7897-4CDF-B864-25F1BEB90222}"/>
                        </a:ext>
                      </a:extLst>
                    </p:cNvPr>
                    <p:cNvSpPr/>
                    <p:nvPr/>
                  </p:nvSpPr>
                  <p:spPr>
                    <a:xfrm>
                      <a:off x="8225246" y="4413573"/>
                      <a:ext cx="35406" cy="42104"/>
                    </a:xfrm>
                    <a:custGeom>
                      <a:avLst/>
                      <a:gdLst>
                        <a:gd name="connsiteX0" fmla="*/ 21830 w 35406"/>
                        <a:gd name="connsiteY0" fmla="*/ 24282 h 42104"/>
                        <a:gd name="connsiteX1" fmla="*/ 35406 w 35406"/>
                        <a:gd name="connsiteY1" fmla="*/ 0 h 42104"/>
                        <a:gd name="connsiteX2" fmla="*/ 13576 w 35406"/>
                        <a:gd name="connsiteY2" fmla="*/ 17822 h 42104"/>
                        <a:gd name="connsiteX3" fmla="*/ 0 w 35406"/>
                        <a:gd name="connsiteY3" fmla="*/ 42104 h 42104"/>
                        <a:gd name="connsiteX4" fmla="*/ 21830 w 35406"/>
                        <a:gd name="connsiteY4" fmla="*/ 24282 h 4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6" h="42104">
                          <a:moveTo>
                            <a:pt x="21830" y="24282"/>
                          </a:moveTo>
                          <a:lnTo>
                            <a:pt x="35406" y="0"/>
                          </a:lnTo>
                          <a:cubicBezTo>
                            <a:pt x="30502" y="9270"/>
                            <a:pt x="23265" y="15251"/>
                            <a:pt x="13576" y="17822"/>
                          </a:cubicBezTo>
                          <a:lnTo>
                            <a:pt x="0" y="42104"/>
                          </a:lnTo>
                          <a:cubicBezTo>
                            <a:pt x="9629" y="39532"/>
                            <a:pt x="16926" y="33612"/>
                            <a:pt x="21830" y="24282"/>
                          </a:cubicBezTo>
                          <a:close/>
                        </a:path>
                      </a:pathLst>
                    </a:custGeom>
                    <a:noFill/>
                    <a:ln w="6350" cap="flat">
                      <a:solidFill>
                        <a:schemeClr val="bg1">
                          <a:alpha val="40000"/>
                        </a:schemeClr>
                      </a:solidFill>
                      <a:prstDash val="solid"/>
                      <a:miter/>
                    </a:ln>
                  </p:spPr>
                  <p:txBody>
                    <a:bodyPr rtlCol="0" anchor="ctr"/>
                    <a:lstStyle/>
                    <a:p>
                      <a:endParaRPr lang="en-GB"/>
                    </a:p>
                  </p:txBody>
                </p:sp>
                <p:sp>
                  <p:nvSpPr>
                    <p:cNvPr id="7317" name="Vrije vorm: vorm 7316">
                      <a:extLst>
                        <a:ext uri="{FF2B5EF4-FFF2-40B4-BE49-F238E27FC236}">
                          <a16:creationId xmlns:a16="http://schemas.microsoft.com/office/drawing/2014/main" id="{CA9EF784-A658-4E95-AE43-0743F609772D}"/>
                        </a:ext>
                      </a:extLst>
                    </p:cNvPr>
                    <p:cNvSpPr/>
                    <p:nvPr/>
                  </p:nvSpPr>
                  <p:spPr>
                    <a:xfrm>
                      <a:off x="8246538" y="4413573"/>
                      <a:ext cx="14114" cy="25298"/>
                    </a:xfrm>
                    <a:custGeom>
                      <a:avLst/>
                      <a:gdLst>
                        <a:gd name="connsiteX0" fmla="*/ 13576 w 14114"/>
                        <a:gd name="connsiteY0" fmla="*/ 1017 h 25298"/>
                        <a:gd name="connsiteX1" fmla="*/ 0 w 14114"/>
                        <a:gd name="connsiteY1" fmla="*/ 25298 h 25298"/>
                        <a:gd name="connsiteX2" fmla="*/ 14114 w 14114"/>
                        <a:gd name="connsiteY2" fmla="*/ 0 h 25298"/>
                        <a:gd name="connsiteX3" fmla="*/ 13576 w 14114"/>
                        <a:gd name="connsiteY3" fmla="*/ 1017 h 25298"/>
                      </a:gdLst>
                      <a:ahLst/>
                      <a:cxnLst>
                        <a:cxn ang="0">
                          <a:pos x="connsiteX0" y="connsiteY0"/>
                        </a:cxn>
                        <a:cxn ang="0">
                          <a:pos x="connsiteX1" y="connsiteY1"/>
                        </a:cxn>
                        <a:cxn ang="0">
                          <a:pos x="connsiteX2" y="connsiteY2"/>
                        </a:cxn>
                        <a:cxn ang="0">
                          <a:pos x="connsiteX3" y="connsiteY3"/>
                        </a:cxn>
                      </a:cxnLst>
                      <a:rect l="l" t="t" r="r" b="b"/>
                      <a:pathLst>
                        <a:path w="14114" h="25298">
                          <a:moveTo>
                            <a:pt x="13576" y="1017"/>
                          </a:moveTo>
                          <a:lnTo>
                            <a:pt x="0" y="25298"/>
                          </a:lnTo>
                          <a:cubicBezTo>
                            <a:pt x="180" y="24999"/>
                            <a:pt x="14114" y="0"/>
                            <a:pt x="14114" y="0"/>
                          </a:cubicBezTo>
                          <a:cubicBezTo>
                            <a:pt x="13935" y="359"/>
                            <a:pt x="13755" y="658"/>
                            <a:pt x="13576" y="1017"/>
                          </a:cubicBezTo>
                          <a:close/>
                        </a:path>
                      </a:pathLst>
                    </a:custGeom>
                    <a:noFill/>
                    <a:ln w="6350" cap="flat">
                      <a:solidFill>
                        <a:schemeClr val="bg1">
                          <a:alpha val="40000"/>
                        </a:schemeClr>
                      </a:solidFill>
                      <a:prstDash val="solid"/>
                      <a:miter/>
                    </a:ln>
                  </p:spPr>
                  <p:txBody>
                    <a:bodyPr rtlCol="0" anchor="ctr"/>
                    <a:lstStyle/>
                    <a:p>
                      <a:endParaRPr lang="en-GB"/>
                    </a:p>
                  </p:txBody>
                </p:sp>
              </p:grpSp>
              <p:sp>
                <p:nvSpPr>
                  <p:cNvPr id="7290" name="Vrije vorm: vorm 7289">
                    <a:extLst>
                      <a:ext uri="{FF2B5EF4-FFF2-40B4-BE49-F238E27FC236}">
                        <a16:creationId xmlns:a16="http://schemas.microsoft.com/office/drawing/2014/main" id="{D380889C-27FC-4BC1-BF0B-47437EBF4E9D}"/>
                      </a:ext>
                    </a:extLst>
                  </p:cNvPr>
                  <p:cNvSpPr/>
                  <p:nvPr/>
                </p:nvSpPr>
                <p:spPr>
                  <a:xfrm>
                    <a:off x="8191695" y="4411002"/>
                    <a:ext cx="19616" cy="41207"/>
                  </a:xfrm>
                  <a:custGeom>
                    <a:avLst/>
                    <a:gdLst>
                      <a:gd name="connsiteX0" fmla="*/ 0 w 19616"/>
                      <a:gd name="connsiteY0" fmla="*/ 41207 h 41207"/>
                      <a:gd name="connsiteX1" fmla="*/ 6041 w 19616"/>
                      <a:gd name="connsiteY1" fmla="*/ 24282 h 41207"/>
                      <a:gd name="connsiteX2" fmla="*/ 19617 w 19616"/>
                      <a:gd name="connsiteY2" fmla="*/ 0 h 41207"/>
                      <a:gd name="connsiteX3" fmla="*/ 13576 w 19616"/>
                      <a:gd name="connsiteY3" fmla="*/ 16925 h 41207"/>
                    </a:gdLst>
                    <a:ahLst/>
                    <a:cxnLst>
                      <a:cxn ang="0">
                        <a:pos x="connsiteX0" y="connsiteY0"/>
                      </a:cxn>
                      <a:cxn ang="0">
                        <a:pos x="connsiteX1" y="connsiteY1"/>
                      </a:cxn>
                      <a:cxn ang="0">
                        <a:pos x="connsiteX2" y="connsiteY2"/>
                      </a:cxn>
                      <a:cxn ang="0">
                        <a:pos x="connsiteX3" y="connsiteY3"/>
                      </a:cxn>
                    </a:cxnLst>
                    <a:rect l="l" t="t" r="r" b="b"/>
                    <a:pathLst>
                      <a:path w="19616" h="41207">
                        <a:moveTo>
                          <a:pt x="0" y="41207"/>
                        </a:moveTo>
                        <a:lnTo>
                          <a:pt x="6041" y="24282"/>
                        </a:lnTo>
                        <a:lnTo>
                          <a:pt x="19617" y="0"/>
                        </a:lnTo>
                        <a:lnTo>
                          <a:pt x="13576" y="16925"/>
                        </a:lnTo>
                        <a:close/>
                      </a:path>
                    </a:pathLst>
                  </a:custGeom>
                  <a:noFill/>
                  <a:ln w="6350" cap="flat">
                    <a:solidFill>
                      <a:schemeClr val="bg1">
                        <a:alpha val="40000"/>
                      </a:schemeClr>
                    </a:solidFill>
                    <a:prstDash val="solid"/>
                    <a:miter/>
                  </a:ln>
                </p:spPr>
                <p:txBody>
                  <a:bodyPr rtlCol="0" anchor="ctr"/>
                  <a:lstStyle/>
                  <a:p>
                    <a:endParaRPr lang="en-GB"/>
                  </a:p>
                </p:txBody>
              </p:sp>
              <p:sp>
                <p:nvSpPr>
                  <p:cNvPr id="7291" name="Vrije vorm: vorm 7290">
                    <a:extLst>
                      <a:ext uri="{FF2B5EF4-FFF2-40B4-BE49-F238E27FC236}">
                        <a16:creationId xmlns:a16="http://schemas.microsoft.com/office/drawing/2014/main" id="{3F7839E0-9812-4B8A-855B-9EE8B0318316}"/>
                      </a:ext>
                    </a:extLst>
                  </p:cNvPr>
                  <p:cNvSpPr/>
                  <p:nvPr/>
                </p:nvSpPr>
                <p:spPr>
                  <a:xfrm>
                    <a:off x="8200307" y="4370273"/>
                    <a:ext cx="24760" cy="45513"/>
                  </a:xfrm>
                  <a:custGeom>
                    <a:avLst/>
                    <a:gdLst>
                      <a:gd name="connsiteX0" fmla="*/ 24760 w 24760"/>
                      <a:gd name="connsiteY0" fmla="*/ 0 h 45513"/>
                      <a:gd name="connsiteX1" fmla="*/ 13635 w 24760"/>
                      <a:gd name="connsiteY1" fmla="*/ 21231 h 45513"/>
                      <a:gd name="connsiteX2" fmla="*/ 0 w 24760"/>
                      <a:gd name="connsiteY2" fmla="*/ 45513 h 45513"/>
                    </a:gdLst>
                    <a:ahLst/>
                    <a:cxnLst>
                      <a:cxn ang="0">
                        <a:pos x="connsiteX0" y="connsiteY0"/>
                      </a:cxn>
                      <a:cxn ang="0">
                        <a:pos x="connsiteX1" y="connsiteY1"/>
                      </a:cxn>
                      <a:cxn ang="0">
                        <a:pos x="connsiteX2" y="connsiteY2"/>
                      </a:cxn>
                    </a:cxnLst>
                    <a:rect l="l" t="t" r="r" b="b"/>
                    <a:pathLst>
                      <a:path w="24760" h="45513">
                        <a:moveTo>
                          <a:pt x="24760" y="0"/>
                        </a:moveTo>
                        <a:lnTo>
                          <a:pt x="13635" y="21231"/>
                        </a:lnTo>
                        <a:lnTo>
                          <a:pt x="0" y="45513"/>
                        </a:lnTo>
                      </a:path>
                    </a:pathLst>
                  </a:custGeom>
                  <a:noFill/>
                  <a:ln w="6350" cap="flat">
                    <a:solidFill>
                      <a:schemeClr val="bg1">
                        <a:alpha val="40000"/>
                      </a:schemeClr>
                    </a:solidFill>
                    <a:prstDash val="solid"/>
                    <a:miter/>
                  </a:ln>
                </p:spPr>
                <p:txBody>
                  <a:bodyPr rtlCol="0" anchor="ctr"/>
                  <a:lstStyle/>
                  <a:p>
                    <a:endParaRPr lang="en-GB"/>
                  </a:p>
                </p:txBody>
              </p:sp>
              <p:sp>
                <p:nvSpPr>
                  <p:cNvPr id="7292" name="Vrije vorm: vorm 7291">
                    <a:extLst>
                      <a:ext uri="{FF2B5EF4-FFF2-40B4-BE49-F238E27FC236}">
                        <a16:creationId xmlns:a16="http://schemas.microsoft.com/office/drawing/2014/main" id="{8B40A8E9-06AC-4A51-88A0-0A763034F3CA}"/>
                      </a:ext>
                    </a:extLst>
                  </p:cNvPr>
                  <p:cNvSpPr/>
                  <p:nvPr/>
                </p:nvSpPr>
                <p:spPr>
                  <a:xfrm>
                    <a:off x="8189602" y="4385703"/>
                    <a:ext cx="24341" cy="30083"/>
                  </a:xfrm>
                  <a:custGeom>
                    <a:avLst/>
                    <a:gdLst>
                      <a:gd name="connsiteX0" fmla="*/ 24341 w 24341"/>
                      <a:gd name="connsiteY0" fmla="*/ 5801 h 30083"/>
                      <a:gd name="connsiteX1" fmla="*/ 10706 w 24341"/>
                      <a:gd name="connsiteY1" fmla="*/ 30083 h 30083"/>
                      <a:gd name="connsiteX2" fmla="*/ 0 w 24341"/>
                      <a:gd name="connsiteY2" fmla="*/ 24282 h 30083"/>
                      <a:gd name="connsiteX3" fmla="*/ 13576 w 24341"/>
                      <a:gd name="connsiteY3" fmla="*/ 0 h 30083"/>
                    </a:gdLst>
                    <a:ahLst/>
                    <a:cxnLst>
                      <a:cxn ang="0">
                        <a:pos x="connsiteX0" y="connsiteY0"/>
                      </a:cxn>
                      <a:cxn ang="0">
                        <a:pos x="connsiteX1" y="connsiteY1"/>
                      </a:cxn>
                      <a:cxn ang="0">
                        <a:pos x="connsiteX2" y="connsiteY2"/>
                      </a:cxn>
                      <a:cxn ang="0">
                        <a:pos x="connsiteX3" y="connsiteY3"/>
                      </a:cxn>
                    </a:cxnLst>
                    <a:rect l="l" t="t" r="r" b="b"/>
                    <a:pathLst>
                      <a:path w="24341" h="30083">
                        <a:moveTo>
                          <a:pt x="24341" y="5801"/>
                        </a:moveTo>
                        <a:lnTo>
                          <a:pt x="10706" y="30083"/>
                        </a:lnTo>
                        <a:lnTo>
                          <a:pt x="0" y="24282"/>
                        </a:lnTo>
                        <a:lnTo>
                          <a:pt x="13576" y="0"/>
                        </a:lnTo>
                      </a:path>
                    </a:pathLst>
                  </a:custGeom>
                  <a:noFill/>
                  <a:ln w="6350" cap="flat">
                    <a:solidFill>
                      <a:schemeClr val="bg1">
                        <a:alpha val="40000"/>
                      </a:schemeClr>
                    </a:solidFill>
                    <a:prstDash val="solid"/>
                    <a:miter/>
                  </a:ln>
                </p:spPr>
                <p:txBody>
                  <a:bodyPr rtlCol="0" anchor="ctr"/>
                  <a:lstStyle/>
                  <a:p>
                    <a:endParaRPr lang="en-GB"/>
                  </a:p>
                </p:txBody>
              </p:sp>
              <p:sp>
                <p:nvSpPr>
                  <p:cNvPr id="7293" name="Vrije vorm: vorm 7292">
                    <a:extLst>
                      <a:ext uri="{FF2B5EF4-FFF2-40B4-BE49-F238E27FC236}">
                        <a16:creationId xmlns:a16="http://schemas.microsoft.com/office/drawing/2014/main" id="{75F3F991-D5A8-4D65-AAFB-FC8C354971BC}"/>
                      </a:ext>
                    </a:extLst>
                  </p:cNvPr>
                  <p:cNvSpPr/>
                  <p:nvPr/>
                </p:nvSpPr>
                <p:spPr>
                  <a:xfrm>
                    <a:off x="8189602" y="4363694"/>
                    <a:ext cx="25118" cy="46290"/>
                  </a:xfrm>
                  <a:custGeom>
                    <a:avLst/>
                    <a:gdLst>
                      <a:gd name="connsiteX0" fmla="*/ 0 w 25118"/>
                      <a:gd name="connsiteY0" fmla="*/ 46291 h 46290"/>
                      <a:gd name="connsiteX1" fmla="*/ 11543 w 25118"/>
                      <a:gd name="connsiteY1" fmla="*/ 24282 h 46290"/>
                      <a:gd name="connsiteX2" fmla="*/ 25119 w 25118"/>
                      <a:gd name="connsiteY2" fmla="*/ 0 h 46290"/>
                      <a:gd name="connsiteX3" fmla="*/ 13576 w 25118"/>
                      <a:gd name="connsiteY3" fmla="*/ 22009 h 46290"/>
                    </a:gdLst>
                    <a:ahLst/>
                    <a:cxnLst>
                      <a:cxn ang="0">
                        <a:pos x="connsiteX0" y="connsiteY0"/>
                      </a:cxn>
                      <a:cxn ang="0">
                        <a:pos x="connsiteX1" y="connsiteY1"/>
                      </a:cxn>
                      <a:cxn ang="0">
                        <a:pos x="connsiteX2" y="connsiteY2"/>
                      </a:cxn>
                      <a:cxn ang="0">
                        <a:pos x="connsiteX3" y="connsiteY3"/>
                      </a:cxn>
                    </a:cxnLst>
                    <a:rect l="l" t="t" r="r" b="b"/>
                    <a:pathLst>
                      <a:path w="25118" h="46290">
                        <a:moveTo>
                          <a:pt x="0" y="46291"/>
                        </a:moveTo>
                        <a:lnTo>
                          <a:pt x="11543" y="24282"/>
                        </a:lnTo>
                        <a:lnTo>
                          <a:pt x="25119" y="0"/>
                        </a:lnTo>
                        <a:lnTo>
                          <a:pt x="13576" y="22009"/>
                        </a:lnTo>
                        <a:close/>
                      </a:path>
                    </a:pathLst>
                  </a:custGeom>
                  <a:noFill/>
                  <a:ln w="6350" cap="flat">
                    <a:solidFill>
                      <a:schemeClr val="bg1">
                        <a:alpha val="40000"/>
                      </a:schemeClr>
                    </a:solidFill>
                    <a:prstDash val="solid"/>
                    <a:miter/>
                  </a:ln>
                </p:spPr>
                <p:txBody>
                  <a:bodyPr rtlCol="0" anchor="ctr"/>
                  <a:lstStyle/>
                  <a:p>
                    <a:endParaRPr lang="en-GB"/>
                  </a:p>
                </p:txBody>
              </p:sp>
              <p:sp>
                <p:nvSpPr>
                  <p:cNvPr id="7294" name="Vrije vorm: vorm 7293">
                    <a:extLst>
                      <a:ext uri="{FF2B5EF4-FFF2-40B4-BE49-F238E27FC236}">
                        <a16:creationId xmlns:a16="http://schemas.microsoft.com/office/drawing/2014/main" id="{F3F1BB8A-BFD1-4A70-A37D-A880405F6AEB}"/>
                      </a:ext>
                    </a:extLst>
                  </p:cNvPr>
                  <p:cNvSpPr/>
                  <p:nvPr/>
                </p:nvSpPr>
                <p:spPr>
                  <a:xfrm>
                    <a:off x="8195762" y="4360644"/>
                    <a:ext cx="18958" cy="27331"/>
                  </a:xfrm>
                  <a:custGeom>
                    <a:avLst/>
                    <a:gdLst>
                      <a:gd name="connsiteX0" fmla="*/ 13576 w 18958"/>
                      <a:gd name="connsiteY0" fmla="*/ 0 h 27331"/>
                      <a:gd name="connsiteX1" fmla="*/ 18958 w 18958"/>
                      <a:gd name="connsiteY1" fmla="*/ 3050 h 27331"/>
                      <a:gd name="connsiteX2" fmla="*/ 5383 w 18958"/>
                      <a:gd name="connsiteY2" fmla="*/ 27332 h 27331"/>
                      <a:gd name="connsiteX3" fmla="*/ 0 w 18958"/>
                      <a:gd name="connsiteY3" fmla="*/ 24282 h 27331"/>
                    </a:gdLst>
                    <a:ahLst/>
                    <a:cxnLst>
                      <a:cxn ang="0">
                        <a:pos x="connsiteX0" y="connsiteY0"/>
                      </a:cxn>
                      <a:cxn ang="0">
                        <a:pos x="connsiteX1" y="connsiteY1"/>
                      </a:cxn>
                      <a:cxn ang="0">
                        <a:pos x="connsiteX2" y="connsiteY2"/>
                      </a:cxn>
                      <a:cxn ang="0">
                        <a:pos x="connsiteX3" y="connsiteY3"/>
                      </a:cxn>
                    </a:cxnLst>
                    <a:rect l="l" t="t" r="r" b="b"/>
                    <a:pathLst>
                      <a:path w="18958" h="27331">
                        <a:moveTo>
                          <a:pt x="13576" y="0"/>
                        </a:moveTo>
                        <a:lnTo>
                          <a:pt x="18958" y="3050"/>
                        </a:lnTo>
                        <a:lnTo>
                          <a:pt x="5383" y="27332"/>
                        </a:lnTo>
                        <a:lnTo>
                          <a:pt x="0" y="24282"/>
                        </a:lnTo>
                      </a:path>
                    </a:pathLst>
                  </a:custGeom>
                  <a:noFill/>
                  <a:ln w="6350" cap="flat">
                    <a:solidFill>
                      <a:schemeClr val="bg1">
                        <a:alpha val="40000"/>
                      </a:schemeClr>
                    </a:solidFill>
                    <a:prstDash val="solid"/>
                    <a:miter/>
                  </a:ln>
                </p:spPr>
                <p:txBody>
                  <a:bodyPr rtlCol="0" anchor="ctr"/>
                  <a:lstStyle/>
                  <a:p>
                    <a:endParaRPr lang="en-GB"/>
                  </a:p>
                </p:txBody>
              </p:sp>
              <p:sp>
                <p:nvSpPr>
                  <p:cNvPr id="7295" name="Vrije vorm: vorm 7294">
                    <a:extLst>
                      <a:ext uri="{FF2B5EF4-FFF2-40B4-BE49-F238E27FC236}">
                        <a16:creationId xmlns:a16="http://schemas.microsoft.com/office/drawing/2014/main" id="{ECF71858-E03A-4F7C-B141-296048C0232D}"/>
                      </a:ext>
                    </a:extLst>
                  </p:cNvPr>
                  <p:cNvSpPr/>
                  <p:nvPr/>
                </p:nvSpPr>
                <p:spPr>
                  <a:xfrm>
                    <a:off x="8190319" y="4357893"/>
                    <a:ext cx="19019" cy="27032"/>
                  </a:xfrm>
                  <a:custGeom>
                    <a:avLst/>
                    <a:gdLst>
                      <a:gd name="connsiteX0" fmla="*/ 5443 w 19019"/>
                      <a:gd name="connsiteY0" fmla="*/ 27033 h 27032"/>
                      <a:gd name="connsiteX1" fmla="*/ 0 w 19019"/>
                      <a:gd name="connsiteY1" fmla="*/ 24282 h 27032"/>
                      <a:gd name="connsiteX2" fmla="*/ 13576 w 19019"/>
                      <a:gd name="connsiteY2" fmla="*/ 0 h 27032"/>
                      <a:gd name="connsiteX3" fmla="*/ 19019 w 19019"/>
                      <a:gd name="connsiteY3" fmla="*/ 2751 h 27032"/>
                    </a:gdLst>
                    <a:ahLst/>
                    <a:cxnLst>
                      <a:cxn ang="0">
                        <a:pos x="connsiteX0" y="connsiteY0"/>
                      </a:cxn>
                      <a:cxn ang="0">
                        <a:pos x="connsiteX1" y="connsiteY1"/>
                      </a:cxn>
                      <a:cxn ang="0">
                        <a:pos x="connsiteX2" y="connsiteY2"/>
                      </a:cxn>
                      <a:cxn ang="0">
                        <a:pos x="connsiteX3" y="connsiteY3"/>
                      </a:cxn>
                    </a:cxnLst>
                    <a:rect l="l" t="t" r="r" b="b"/>
                    <a:pathLst>
                      <a:path w="19019" h="27032">
                        <a:moveTo>
                          <a:pt x="5443" y="27033"/>
                        </a:moveTo>
                        <a:lnTo>
                          <a:pt x="0" y="24282"/>
                        </a:lnTo>
                        <a:lnTo>
                          <a:pt x="13576" y="0"/>
                        </a:lnTo>
                        <a:lnTo>
                          <a:pt x="19019" y="2751"/>
                        </a:lnTo>
                      </a:path>
                    </a:pathLst>
                  </a:custGeom>
                  <a:noFill/>
                  <a:ln w="6350" cap="flat">
                    <a:solidFill>
                      <a:schemeClr val="bg1">
                        <a:alpha val="40000"/>
                      </a:schemeClr>
                    </a:solidFill>
                    <a:prstDash val="solid"/>
                    <a:miter/>
                  </a:ln>
                </p:spPr>
                <p:txBody>
                  <a:bodyPr rtlCol="0" anchor="ctr"/>
                  <a:lstStyle/>
                  <a:p>
                    <a:endParaRPr lang="en-GB"/>
                  </a:p>
                </p:txBody>
              </p:sp>
              <p:sp>
                <p:nvSpPr>
                  <p:cNvPr id="7296" name="Vrije vorm: vorm 7295">
                    <a:extLst>
                      <a:ext uri="{FF2B5EF4-FFF2-40B4-BE49-F238E27FC236}">
                        <a16:creationId xmlns:a16="http://schemas.microsoft.com/office/drawing/2014/main" id="{463EF74A-ABEA-492E-80C7-E4B30110CB5A}"/>
                      </a:ext>
                    </a:extLst>
                  </p:cNvPr>
                  <p:cNvSpPr/>
                  <p:nvPr/>
                </p:nvSpPr>
                <p:spPr>
                  <a:xfrm>
                    <a:off x="8178776" y="4357893"/>
                    <a:ext cx="25119" cy="46230"/>
                  </a:xfrm>
                  <a:custGeom>
                    <a:avLst/>
                    <a:gdLst>
                      <a:gd name="connsiteX0" fmla="*/ 11543 w 25119"/>
                      <a:gd name="connsiteY0" fmla="*/ 24282 h 46230"/>
                      <a:gd name="connsiteX1" fmla="*/ 25119 w 25119"/>
                      <a:gd name="connsiteY1" fmla="*/ 0 h 46230"/>
                      <a:gd name="connsiteX2" fmla="*/ 13576 w 25119"/>
                      <a:gd name="connsiteY2" fmla="*/ 21949 h 46230"/>
                      <a:gd name="connsiteX3" fmla="*/ 0 w 25119"/>
                      <a:gd name="connsiteY3" fmla="*/ 46231 h 46230"/>
                    </a:gdLst>
                    <a:ahLst/>
                    <a:cxnLst>
                      <a:cxn ang="0">
                        <a:pos x="connsiteX0" y="connsiteY0"/>
                      </a:cxn>
                      <a:cxn ang="0">
                        <a:pos x="connsiteX1" y="connsiteY1"/>
                      </a:cxn>
                      <a:cxn ang="0">
                        <a:pos x="connsiteX2" y="connsiteY2"/>
                      </a:cxn>
                      <a:cxn ang="0">
                        <a:pos x="connsiteX3" y="connsiteY3"/>
                      </a:cxn>
                    </a:cxnLst>
                    <a:rect l="l" t="t" r="r" b="b"/>
                    <a:pathLst>
                      <a:path w="25119" h="46230">
                        <a:moveTo>
                          <a:pt x="11543" y="24282"/>
                        </a:moveTo>
                        <a:lnTo>
                          <a:pt x="25119" y="0"/>
                        </a:lnTo>
                        <a:lnTo>
                          <a:pt x="13576" y="21949"/>
                        </a:lnTo>
                        <a:lnTo>
                          <a:pt x="0" y="46231"/>
                        </a:lnTo>
                        <a:close/>
                      </a:path>
                    </a:pathLst>
                  </a:custGeom>
                  <a:noFill/>
                  <a:ln w="6350" cap="flat">
                    <a:solidFill>
                      <a:schemeClr val="bg1">
                        <a:alpha val="40000"/>
                      </a:schemeClr>
                    </a:solidFill>
                    <a:prstDash val="solid"/>
                    <a:miter/>
                  </a:ln>
                </p:spPr>
                <p:txBody>
                  <a:bodyPr rtlCol="0" anchor="ctr"/>
                  <a:lstStyle/>
                  <a:p>
                    <a:endParaRPr lang="en-GB"/>
                  </a:p>
                </p:txBody>
              </p:sp>
              <p:sp>
                <p:nvSpPr>
                  <p:cNvPr id="7297" name="Vrije vorm: vorm 7296">
                    <a:extLst>
                      <a:ext uri="{FF2B5EF4-FFF2-40B4-BE49-F238E27FC236}">
                        <a16:creationId xmlns:a16="http://schemas.microsoft.com/office/drawing/2014/main" id="{2ECD3E92-CC4B-40EC-A781-BF87B9DF6B81}"/>
                      </a:ext>
                    </a:extLst>
                  </p:cNvPr>
                  <p:cNvSpPr/>
                  <p:nvPr/>
                </p:nvSpPr>
                <p:spPr>
                  <a:xfrm>
                    <a:off x="8167892" y="4373981"/>
                    <a:ext cx="24460" cy="30142"/>
                  </a:xfrm>
                  <a:custGeom>
                    <a:avLst/>
                    <a:gdLst>
                      <a:gd name="connsiteX0" fmla="*/ 24461 w 24460"/>
                      <a:gd name="connsiteY0" fmla="*/ 5861 h 30142"/>
                      <a:gd name="connsiteX1" fmla="*/ 10885 w 24460"/>
                      <a:gd name="connsiteY1" fmla="*/ 30143 h 30142"/>
                      <a:gd name="connsiteX2" fmla="*/ 0 w 24460"/>
                      <a:gd name="connsiteY2" fmla="*/ 24282 h 30142"/>
                      <a:gd name="connsiteX3" fmla="*/ 13636 w 24460"/>
                      <a:gd name="connsiteY3" fmla="*/ 0 h 30142"/>
                    </a:gdLst>
                    <a:ahLst/>
                    <a:cxnLst>
                      <a:cxn ang="0">
                        <a:pos x="connsiteX0" y="connsiteY0"/>
                      </a:cxn>
                      <a:cxn ang="0">
                        <a:pos x="connsiteX1" y="connsiteY1"/>
                      </a:cxn>
                      <a:cxn ang="0">
                        <a:pos x="connsiteX2" y="connsiteY2"/>
                      </a:cxn>
                      <a:cxn ang="0">
                        <a:pos x="connsiteX3" y="connsiteY3"/>
                      </a:cxn>
                    </a:cxnLst>
                    <a:rect l="l" t="t" r="r" b="b"/>
                    <a:pathLst>
                      <a:path w="24460" h="30142">
                        <a:moveTo>
                          <a:pt x="24461" y="5861"/>
                        </a:moveTo>
                        <a:lnTo>
                          <a:pt x="10885" y="30143"/>
                        </a:lnTo>
                        <a:lnTo>
                          <a:pt x="0" y="24282"/>
                        </a:lnTo>
                        <a:lnTo>
                          <a:pt x="13636" y="0"/>
                        </a:lnTo>
                      </a:path>
                    </a:pathLst>
                  </a:custGeom>
                  <a:noFill/>
                  <a:ln w="6350" cap="flat">
                    <a:solidFill>
                      <a:schemeClr val="bg1">
                        <a:alpha val="40000"/>
                      </a:schemeClr>
                    </a:solidFill>
                    <a:prstDash val="solid"/>
                    <a:miter/>
                  </a:ln>
                </p:spPr>
                <p:txBody>
                  <a:bodyPr rtlCol="0" anchor="ctr"/>
                  <a:lstStyle/>
                  <a:p>
                    <a:endParaRPr lang="en-GB"/>
                  </a:p>
                </p:txBody>
              </p:sp>
              <p:sp>
                <p:nvSpPr>
                  <p:cNvPr id="7298" name="Vrije vorm: vorm 7297">
                    <a:extLst>
                      <a:ext uri="{FF2B5EF4-FFF2-40B4-BE49-F238E27FC236}">
                        <a16:creationId xmlns:a16="http://schemas.microsoft.com/office/drawing/2014/main" id="{CFC09DC6-B996-40C5-A2E7-9799C93D268A}"/>
                      </a:ext>
                    </a:extLst>
                  </p:cNvPr>
                  <p:cNvSpPr/>
                  <p:nvPr/>
                </p:nvSpPr>
                <p:spPr>
                  <a:xfrm>
                    <a:off x="8167892" y="4352809"/>
                    <a:ext cx="24760" cy="45453"/>
                  </a:xfrm>
                  <a:custGeom>
                    <a:avLst/>
                    <a:gdLst>
                      <a:gd name="connsiteX0" fmla="*/ 0 w 24760"/>
                      <a:gd name="connsiteY0" fmla="*/ 45454 h 45453"/>
                      <a:gd name="connsiteX1" fmla="*/ 11184 w 24760"/>
                      <a:gd name="connsiteY1" fmla="*/ 24282 h 45453"/>
                      <a:gd name="connsiteX2" fmla="*/ 24760 w 24760"/>
                      <a:gd name="connsiteY2" fmla="*/ 0 h 45453"/>
                      <a:gd name="connsiteX3" fmla="*/ 13636 w 24760"/>
                      <a:gd name="connsiteY3" fmla="*/ 21172 h 45453"/>
                    </a:gdLst>
                    <a:ahLst/>
                    <a:cxnLst>
                      <a:cxn ang="0">
                        <a:pos x="connsiteX0" y="connsiteY0"/>
                      </a:cxn>
                      <a:cxn ang="0">
                        <a:pos x="connsiteX1" y="connsiteY1"/>
                      </a:cxn>
                      <a:cxn ang="0">
                        <a:pos x="connsiteX2" y="connsiteY2"/>
                      </a:cxn>
                      <a:cxn ang="0">
                        <a:pos x="connsiteX3" y="connsiteY3"/>
                      </a:cxn>
                    </a:cxnLst>
                    <a:rect l="l" t="t" r="r" b="b"/>
                    <a:pathLst>
                      <a:path w="24760" h="45453">
                        <a:moveTo>
                          <a:pt x="0" y="45454"/>
                        </a:moveTo>
                        <a:lnTo>
                          <a:pt x="11184" y="24282"/>
                        </a:lnTo>
                        <a:lnTo>
                          <a:pt x="24760" y="0"/>
                        </a:lnTo>
                        <a:lnTo>
                          <a:pt x="13636" y="21172"/>
                        </a:lnTo>
                        <a:close/>
                      </a:path>
                    </a:pathLst>
                  </a:custGeom>
                  <a:noFill/>
                  <a:ln w="6350" cap="flat">
                    <a:solidFill>
                      <a:schemeClr val="bg1">
                        <a:alpha val="40000"/>
                      </a:schemeClr>
                    </a:solidFill>
                    <a:prstDash val="solid"/>
                    <a:miter/>
                  </a:ln>
                </p:spPr>
                <p:txBody>
                  <a:bodyPr rtlCol="0" anchor="ctr"/>
                  <a:lstStyle/>
                  <a:p>
                    <a:endParaRPr lang="en-GB"/>
                  </a:p>
                </p:txBody>
              </p:sp>
              <p:sp>
                <p:nvSpPr>
                  <p:cNvPr id="7299" name="Vrije vorm: vorm 7298">
                    <a:extLst>
                      <a:ext uri="{FF2B5EF4-FFF2-40B4-BE49-F238E27FC236}">
                        <a16:creationId xmlns:a16="http://schemas.microsoft.com/office/drawing/2014/main" id="{DBD8E569-020E-4222-A5DA-518586AACEC6}"/>
                      </a:ext>
                    </a:extLst>
                  </p:cNvPr>
                  <p:cNvSpPr/>
                  <p:nvPr/>
                </p:nvSpPr>
                <p:spPr>
                  <a:xfrm>
                    <a:off x="8143849" y="4387557"/>
                    <a:ext cx="23922" cy="38815"/>
                  </a:xfrm>
                  <a:custGeom>
                    <a:avLst/>
                    <a:gdLst>
                      <a:gd name="connsiteX0" fmla="*/ 10347 w 23922"/>
                      <a:gd name="connsiteY0" fmla="*/ 24282 h 38815"/>
                      <a:gd name="connsiteX1" fmla="*/ 0 w 23922"/>
                      <a:gd name="connsiteY1" fmla="*/ 38815 h 38815"/>
                      <a:gd name="connsiteX2" fmla="*/ 13576 w 23922"/>
                      <a:gd name="connsiteY2" fmla="*/ 14533 h 38815"/>
                      <a:gd name="connsiteX3" fmla="*/ 23923 w 23922"/>
                      <a:gd name="connsiteY3" fmla="*/ 0 h 38815"/>
                    </a:gdLst>
                    <a:ahLst/>
                    <a:cxnLst>
                      <a:cxn ang="0">
                        <a:pos x="connsiteX0" y="connsiteY0"/>
                      </a:cxn>
                      <a:cxn ang="0">
                        <a:pos x="connsiteX1" y="connsiteY1"/>
                      </a:cxn>
                      <a:cxn ang="0">
                        <a:pos x="connsiteX2" y="connsiteY2"/>
                      </a:cxn>
                      <a:cxn ang="0">
                        <a:pos x="connsiteX3" y="connsiteY3"/>
                      </a:cxn>
                    </a:cxnLst>
                    <a:rect l="l" t="t" r="r" b="b"/>
                    <a:pathLst>
                      <a:path w="23922" h="38815">
                        <a:moveTo>
                          <a:pt x="10347" y="24282"/>
                        </a:moveTo>
                        <a:lnTo>
                          <a:pt x="0" y="38815"/>
                        </a:lnTo>
                        <a:lnTo>
                          <a:pt x="13576" y="14533"/>
                        </a:lnTo>
                        <a:lnTo>
                          <a:pt x="23923" y="0"/>
                        </a:lnTo>
                        <a:close/>
                      </a:path>
                    </a:pathLst>
                  </a:custGeom>
                  <a:noFill/>
                  <a:ln w="6350" cap="flat">
                    <a:solidFill>
                      <a:schemeClr val="bg1">
                        <a:alpha val="40000"/>
                      </a:schemeClr>
                    </a:solidFill>
                    <a:prstDash val="solid"/>
                    <a:miter/>
                  </a:ln>
                </p:spPr>
                <p:txBody>
                  <a:bodyPr rtlCol="0" anchor="ctr"/>
                  <a:lstStyle/>
                  <a:p>
                    <a:endParaRPr lang="en-GB"/>
                  </a:p>
                </p:txBody>
              </p:sp>
              <p:sp>
                <p:nvSpPr>
                  <p:cNvPr id="7300" name="Vrije vorm: vorm 7299">
                    <a:extLst>
                      <a:ext uri="{FF2B5EF4-FFF2-40B4-BE49-F238E27FC236}">
                        <a16:creationId xmlns:a16="http://schemas.microsoft.com/office/drawing/2014/main" id="{FF99AB41-FC2B-44F4-8B03-1686416D155F}"/>
                      </a:ext>
                    </a:extLst>
                  </p:cNvPr>
                  <p:cNvSpPr/>
                  <p:nvPr/>
                </p:nvSpPr>
                <p:spPr>
                  <a:xfrm>
                    <a:off x="8187927" y="4328168"/>
                    <a:ext cx="17703" cy="32056"/>
                  </a:xfrm>
                  <a:custGeom>
                    <a:avLst/>
                    <a:gdLst>
                      <a:gd name="connsiteX0" fmla="*/ 0 w 17703"/>
                      <a:gd name="connsiteY0" fmla="*/ 32057 h 32056"/>
                      <a:gd name="connsiteX1" fmla="*/ 4127 w 17703"/>
                      <a:gd name="connsiteY1" fmla="*/ 24282 h 32056"/>
                      <a:gd name="connsiteX2" fmla="*/ 17703 w 17703"/>
                      <a:gd name="connsiteY2" fmla="*/ 0 h 32056"/>
                      <a:gd name="connsiteX3" fmla="*/ 13636 w 17703"/>
                      <a:gd name="connsiteY3" fmla="*/ 7775 h 32056"/>
                    </a:gdLst>
                    <a:ahLst/>
                    <a:cxnLst>
                      <a:cxn ang="0">
                        <a:pos x="connsiteX0" y="connsiteY0"/>
                      </a:cxn>
                      <a:cxn ang="0">
                        <a:pos x="connsiteX1" y="connsiteY1"/>
                      </a:cxn>
                      <a:cxn ang="0">
                        <a:pos x="connsiteX2" y="connsiteY2"/>
                      </a:cxn>
                      <a:cxn ang="0">
                        <a:pos x="connsiteX3" y="connsiteY3"/>
                      </a:cxn>
                    </a:cxnLst>
                    <a:rect l="l" t="t" r="r" b="b"/>
                    <a:pathLst>
                      <a:path w="17703" h="32056">
                        <a:moveTo>
                          <a:pt x="0" y="32057"/>
                        </a:moveTo>
                        <a:lnTo>
                          <a:pt x="4127" y="24282"/>
                        </a:lnTo>
                        <a:lnTo>
                          <a:pt x="17703" y="0"/>
                        </a:lnTo>
                        <a:lnTo>
                          <a:pt x="13636" y="7775"/>
                        </a:lnTo>
                        <a:close/>
                      </a:path>
                    </a:pathLst>
                  </a:custGeom>
                  <a:noFill/>
                  <a:ln w="6350" cap="flat">
                    <a:solidFill>
                      <a:schemeClr val="bg1">
                        <a:alpha val="40000"/>
                      </a:schemeClr>
                    </a:solidFill>
                    <a:prstDash val="solid"/>
                    <a:miter/>
                  </a:ln>
                </p:spPr>
                <p:txBody>
                  <a:bodyPr rtlCol="0" anchor="ctr"/>
                  <a:lstStyle/>
                  <a:p>
                    <a:endParaRPr lang="en-GB"/>
                  </a:p>
                </p:txBody>
              </p:sp>
              <p:sp>
                <p:nvSpPr>
                  <p:cNvPr id="7301" name="Vrije vorm: vorm 7300">
                    <a:extLst>
                      <a:ext uri="{FF2B5EF4-FFF2-40B4-BE49-F238E27FC236}">
                        <a16:creationId xmlns:a16="http://schemas.microsoft.com/office/drawing/2014/main" id="{9CE3D7DF-2380-434F-8122-C0B8EFB34079}"/>
                      </a:ext>
                    </a:extLst>
                  </p:cNvPr>
                  <p:cNvSpPr/>
                  <p:nvPr/>
                </p:nvSpPr>
                <p:spPr>
                  <a:xfrm>
                    <a:off x="8192054" y="4328168"/>
                    <a:ext cx="24401" cy="30143"/>
                  </a:xfrm>
                  <a:custGeom>
                    <a:avLst/>
                    <a:gdLst>
                      <a:gd name="connsiteX0" fmla="*/ 0 w 24401"/>
                      <a:gd name="connsiteY0" fmla="*/ 24282 h 30143"/>
                      <a:gd name="connsiteX1" fmla="*/ 13576 w 24401"/>
                      <a:gd name="connsiteY1" fmla="*/ 0 h 30143"/>
                      <a:gd name="connsiteX2" fmla="*/ 24401 w 24401"/>
                      <a:gd name="connsiteY2" fmla="*/ 5861 h 30143"/>
                      <a:gd name="connsiteX3" fmla="*/ 10825 w 24401"/>
                      <a:gd name="connsiteY3" fmla="*/ 30143 h 30143"/>
                    </a:gdLst>
                    <a:ahLst/>
                    <a:cxnLst>
                      <a:cxn ang="0">
                        <a:pos x="connsiteX0" y="connsiteY0"/>
                      </a:cxn>
                      <a:cxn ang="0">
                        <a:pos x="connsiteX1" y="connsiteY1"/>
                      </a:cxn>
                      <a:cxn ang="0">
                        <a:pos x="connsiteX2" y="connsiteY2"/>
                      </a:cxn>
                      <a:cxn ang="0">
                        <a:pos x="connsiteX3" y="connsiteY3"/>
                      </a:cxn>
                    </a:cxnLst>
                    <a:rect l="l" t="t" r="r" b="b"/>
                    <a:pathLst>
                      <a:path w="24401" h="30143">
                        <a:moveTo>
                          <a:pt x="0" y="24282"/>
                        </a:moveTo>
                        <a:lnTo>
                          <a:pt x="13576" y="0"/>
                        </a:lnTo>
                        <a:lnTo>
                          <a:pt x="24401" y="5861"/>
                        </a:lnTo>
                        <a:lnTo>
                          <a:pt x="10825" y="30143"/>
                        </a:lnTo>
                      </a:path>
                    </a:pathLst>
                  </a:custGeom>
                  <a:noFill/>
                  <a:ln w="6350" cap="flat">
                    <a:solidFill>
                      <a:schemeClr val="bg1">
                        <a:alpha val="40000"/>
                      </a:schemeClr>
                    </a:solidFill>
                    <a:prstDash val="solid"/>
                    <a:miter/>
                  </a:ln>
                </p:spPr>
                <p:txBody>
                  <a:bodyPr rtlCol="0" anchor="ctr"/>
                  <a:lstStyle/>
                  <a:p>
                    <a:endParaRPr lang="en-GB"/>
                  </a:p>
                </p:txBody>
              </p:sp>
              <p:sp>
                <p:nvSpPr>
                  <p:cNvPr id="7302" name="Vrije vorm: vorm 7301">
                    <a:extLst>
                      <a:ext uri="{FF2B5EF4-FFF2-40B4-BE49-F238E27FC236}">
                        <a16:creationId xmlns:a16="http://schemas.microsoft.com/office/drawing/2014/main" id="{8E171E87-F480-4E8B-9FE3-2FEFD55AA826}"/>
                      </a:ext>
                    </a:extLst>
                  </p:cNvPr>
                  <p:cNvSpPr/>
                  <p:nvPr/>
                </p:nvSpPr>
                <p:spPr>
                  <a:xfrm>
                    <a:off x="8199230" y="4334030"/>
                    <a:ext cx="17224" cy="31219"/>
                  </a:xfrm>
                  <a:custGeom>
                    <a:avLst/>
                    <a:gdLst>
                      <a:gd name="connsiteX0" fmla="*/ 3648 w 17224"/>
                      <a:gd name="connsiteY0" fmla="*/ 24282 h 31219"/>
                      <a:gd name="connsiteX1" fmla="*/ 17225 w 17224"/>
                      <a:gd name="connsiteY1" fmla="*/ 0 h 31219"/>
                      <a:gd name="connsiteX2" fmla="*/ 13576 w 17224"/>
                      <a:gd name="connsiteY2" fmla="*/ 6937 h 31219"/>
                      <a:gd name="connsiteX3" fmla="*/ 0 w 17224"/>
                      <a:gd name="connsiteY3" fmla="*/ 31219 h 31219"/>
                    </a:gdLst>
                    <a:ahLst/>
                    <a:cxnLst>
                      <a:cxn ang="0">
                        <a:pos x="connsiteX0" y="connsiteY0"/>
                      </a:cxn>
                      <a:cxn ang="0">
                        <a:pos x="connsiteX1" y="connsiteY1"/>
                      </a:cxn>
                      <a:cxn ang="0">
                        <a:pos x="connsiteX2" y="connsiteY2"/>
                      </a:cxn>
                      <a:cxn ang="0">
                        <a:pos x="connsiteX3" y="connsiteY3"/>
                      </a:cxn>
                    </a:cxnLst>
                    <a:rect l="l" t="t" r="r" b="b"/>
                    <a:pathLst>
                      <a:path w="17224" h="31219">
                        <a:moveTo>
                          <a:pt x="3648" y="24282"/>
                        </a:moveTo>
                        <a:lnTo>
                          <a:pt x="17225" y="0"/>
                        </a:lnTo>
                        <a:lnTo>
                          <a:pt x="13576" y="6937"/>
                        </a:lnTo>
                        <a:lnTo>
                          <a:pt x="0" y="31219"/>
                        </a:lnTo>
                        <a:close/>
                      </a:path>
                    </a:pathLst>
                  </a:custGeom>
                  <a:noFill/>
                  <a:ln w="6350" cap="flat">
                    <a:solidFill>
                      <a:schemeClr val="bg1">
                        <a:alpha val="40000"/>
                      </a:schemeClr>
                    </a:solidFill>
                    <a:prstDash val="solid"/>
                    <a:miter/>
                  </a:ln>
                </p:spPr>
                <p:txBody>
                  <a:bodyPr rtlCol="0" anchor="ctr"/>
                  <a:lstStyle/>
                  <a:p>
                    <a:endParaRPr lang="en-GB"/>
                  </a:p>
                </p:txBody>
              </p:sp>
              <p:sp>
                <p:nvSpPr>
                  <p:cNvPr id="7303" name="Vrije vorm: vorm 7302">
                    <a:extLst>
                      <a:ext uri="{FF2B5EF4-FFF2-40B4-BE49-F238E27FC236}">
                        <a16:creationId xmlns:a16="http://schemas.microsoft.com/office/drawing/2014/main" id="{F4408053-1627-48DE-9A82-3EA09AA6CE1D}"/>
                      </a:ext>
                    </a:extLst>
                  </p:cNvPr>
                  <p:cNvSpPr/>
                  <p:nvPr/>
                </p:nvSpPr>
                <p:spPr>
                  <a:xfrm>
                    <a:off x="8210056" y="4339831"/>
                    <a:ext cx="17224" cy="31219"/>
                  </a:xfrm>
                  <a:custGeom>
                    <a:avLst/>
                    <a:gdLst>
                      <a:gd name="connsiteX0" fmla="*/ 0 w 17224"/>
                      <a:gd name="connsiteY0" fmla="*/ 31220 h 31219"/>
                      <a:gd name="connsiteX1" fmla="*/ 3648 w 17224"/>
                      <a:gd name="connsiteY1" fmla="*/ 24282 h 31219"/>
                      <a:gd name="connsiteX2" fmla="*/ 17225 w 17224"/>
                      <a:gd name="connsiteY2" fmla="*/ 0 h 31219"/>
                      <a:gd name="connsiteX3" fmla="*/ 13576 w 17224"/>
                      <a:gd name="connsiteY3" fmla="*/ 6938 h 31219"/>
                    </a:gdLst>
                    <a:ahLst/>
                    <a:cxnLst>
                      <a:cxn ang="0">
                        <a:pos x="connsiteX0" y="connsiteY0"/>
                      </a:cxn>
                      <a:cxn ang="0">
                        <a:pos x="connsiteX1" y="connsiteY1"/>
                      </a:cxn>
                      <a:cxn ang="0">
                        <a:pos x="connsiteX2" y="connsiteY2"/>
                      </a:cxn>
                      <a:cxn ang="0">
                        <a:pos x="connsiteX3" y="connsiteY3"/>
                      </a:cxn>
                    </a:cxnLst>
                    <a:rect l="l" t="t" r="r" b="b"/>
                    <a:pathLst>
                      <a:path w="17224" h="31219">
                        <a:moveTo>
                          <a:pt x="0" y="31220"/>
                        </a:moveTo>
                        <a:lnTo>
                          <a:pt x="3648" y="24282"/>
                        </a:lnTo>
                        <a:lnTo>
                          <a:pt x="17225" y="0"/>
                        </a:lnTo>
                        <a:lnTo>
                          <a:pt x="13576" y="6938"/>
                        </a:lnTo>
                        <a:close/>
                      </a:path>
                    </a:pathLst>
                  </a:custGeom>
                  <a:noFill/>
                  <a:ln w="6350" cap="flat">
                    <a:solidFill>
                      <a:schemeClr val="bg1">
                        <a:alpha val="40000"/>
                      </a:schemeClr>
                    </a:solidFill>
                    <a:prstDash val="solid"/>
                    <a:miter/>
                  </a:ln>
                </p:spPr>
                <p:txBody>
                  <a:bodyPr rtlCol="0" anchor="ctr"/>
                  <a:lstStyle/>
                  <a:p>
                    <a:endParaRPr lang="en-GB"/>
                  </a:p>
                </p:txBody>
              </p:sp>
              <p:sp>
                <p:nvSpPr>
                  <p:cNvPr id="7304" name="Vrije vorm: vorm 7303">
                    <a:extLst>
                      <a:ext uri="{FF2B5EF4-FFF2-40B4-BE49-F238E27FC236}">
                        <a16:creationId xmlns:a16="http://schemas.microsoft.com/office/drawing/2014/main" id="{B1B62F90-80E9-47B5-9790-CBF15945BFF2}"/>
                      </a:ext>
                    </a:extLst>
                  </p:cNvPr>
                  <p:cNvSpPr/>
                  <p:nvPr/>
                </p:nvSpPr>
                <p:spPr>
                  <a:xfrm>
                    <a:off x="8213704" y="4339831"/>
                    <a:ext cx="24341" cy="30083"/>
                  </a:xfrm>
                  <a:custGeom>
                    <a:avLst/>
                    <a:gdLst>
                      <a:gd name="connsiteX0" fmla="*/ 0 w 24341"/>
                      <a:gd name="connsiteY0" fmla="*/ 24282 h 30083"/>
                      <a:gd name="connsiteX1" fmla="*/ 13576 w 24341"/>
                      <a:gd name="connsiteY1" fmla="*/ 0 h 30083"/>
                      <a:gd name="connsiteX2" fmla="*/ 24341 w 24341"/>
                      <a:gd name="connsiteY2" fmla="*/ 5801 h 30083"/>
                      <a:gd name="connsiteX3" fmla="*/ 10765 w 24341"/>
                      <a:gd name="connsiteY3" fmla="*/ 30083 h 30083"/>
                    </a:gdLst>
                    <a:ahLst/>
                    <a:cxnLst>
                      <a:cxn ang="0">
                        <a:pos x="connsiteX0" y="connsiteY0"/>
                      </a:cxn>
                      <a:cxn ang="0">
                        <a:pos x="connsiteX1" y="connsiteY1"/>
                      </a:cxn>
                      <a:cxn ang="0">
                        <a:pos x="connsiteX2" y="connsiteY2"/>
                      </a:cxn>
                      <a:cxn ang="0">
                        <a:pos x="connsiteX3" y="connsiteY3"/>
                      </a:cxn>
                    </a:cxnLst>
                    <a:rect l="l" t="t" r="r" b="b"/>
                    <a:pathLst>
                      <a:path w="24341" h="30083">
                        <a:moveTo>
                          <a:pt x="0" y="24282"/>
                        </a:moveTo>
                        <a:lnTo>
                          <a:pt x="13576" y="0"/>
                        </a:lnTo>
                        <a:lnTo>
                          <a:pt x="24341" y="5801"/>
                        </a:lnTo>
                        <a:lnTo>
                          <a:pt x="10765" y="30083"/>
                        </a:lnTo>
                        <a:close/>
                      </a:path>
                    </a:pathLst>
                  </a:custGeom>
                  <a:noFill/>
                  <a:ln w="6350" cap="flat">
                    <a:solidFill>
                      <a:schemeClr val="bg1">
                        <a:alpha val="40000"/>
                      </a:schemeClr>
                    </a:solidFill>
                    <a:prstDash val="solid"/>
                    <a:miter/>
                  </a:ln>
                </p:spPr>
                <p:txBody>
                  <a:bodyPr rtlCol="0" anchor="ctr"/>
                  <a:lstStyle/>
                  <a:p>
                    <a:endParaRPr lang="en-GB"/>
                  </a:p>
                </p:txBody>
              </p:sp>
              <p:sp>
                <p:nvSpPr>
                  <p:cNvPr id="7305" name="Vrije vorm: vorm 7304">
                    <a:extLst>
                      <a:ext uri="{FF2B5EF4-FFF2-40B4-BE49-F238E27FC236}">
                        <a16:creationId xmlns:a16="http://schemas.microsoft.com/office/drawing/2014/main" id="{7A616554-D808-41D1-9CF1-C5EB0FAE63C6}"/>
                      </a:ext>
                    </a:extLst>
                  </p:cNvPr>
                  <p:cNvSpPr/>
                  <p:nvPr/>
                </p:nvSpPr>
                <p:spPr>
                  <a:xfrm>
                    <a:off x="8225366" y="4414530"/>
                    <a:ext cx="35406" cy="42104"/>
                  </a:xfrm>
                  <a:custGeom>
                    <a:avLst/>
                    <a:gdLst>
                      <a:gd name="connsiteX0" fmla="*/ 0 w 35406"/>
                      <a:gd name="connsiteY0" fmla="*/ 42105 h 42104"/>
                      <a:gd name="connsiteX1" fmla="*/ 21830 w 35406"/>
                      <a:gd name="connsiteY1" fmla="*/ 24282 h 42104"/>
                      <a:gd name="connsiteX2" fmla="*/ 35406 w 35406"/>
                      <a:gd name="connsiteY2" fmla="*/ 0 h 42104"/>
                      <a:gd name="connsiteX3" fmla="*/ 13576 w 35406"/>
                      <a:gd name="connsiteY3" fmla="*/ 17823 h 42104"/>
                    </a:gdLst>
                    <a:ahLst/>
                    <a:cxnLst>
                      <a:cxn ang="0">
                        <a:pos x="connsiteX0" y="connsiteY0"/>
                      </a:cxn>
                      <a:cxn ang="0">
                        <a:pos x="connsiteX1" y="connsiteY1"/>
                      </a:cxn>
                      <a:cxn ang="0">
                        <a:pos x="connsiteX2" y="connsiteY2"/>
                      </a:cxn>
                      <a:cxn ang="0">
                        <a:pos x="connsiteX3" y="connsiteY3"/>
                      </a:cxn>
                    </a:cxnLst>
                    <a:rect l="l" t="t" r="r" b="b"/>
                    <a:pathLst>
                      <a:path w="35406" h="42104">
                        <a:moveTo>
                          <a:pt x="0" y="42105"/>
                        </a:moveTo>
                        <a:cubicBezTo>
                          <a:pt x="9629" y="39473"/>
                          <a:pt x="16925" y="33552"/>
                          <a:pt x="21830" y="24282"/>
                        </a:cubicBezTo>
                        <a:lnTo>
                          <a:pt x="35406" y="0"/>
                        </a:lnTo>
                        <a:cubicBezTo>
                          <a:pt x="30502" y="9270"/>
                          <a:pt x="23265" y="15251"/>
                          <a:pt x="13576" y="17823"/>
                        </a:cubicBezTo>
                      </a:path>
                    </a:pathLst>
                  </a:custGeom>
                  <a:noFill/>
                  <a:ln w="6350" cap="flat">
                    <a:solidFill>
                      <a:schemeClr val="bg1">
                        <a:alpha val="40000"/>
                      </a:schemeClr>
                    </a:solidFill>
                    <a:prstDash val="solid"/>
                    <a:miter/>
                  </a:ln>
                </p:spPr>
                <p:txBody>
                  <a:bodyPr rtlCol="0" anchor="ctr"/>
                  <a:lstStyle/>
                  <a:p>
                    <a:endParaRPr lang="en-GB"/>
                  </a:p>
                </p:txBody>
              </p:sp>
              <p:sp>
                <p:nvSpPr>
                  <p:cNvPr id="7306" name="Vrije vorm: vorm 7305">
                    <a:extLst>
                      <a:ext uri="{FF2B5EF4-FFF2-40B4-BE49-F238E27FC236}">
                        <a16:creationId xmlns:a16="http://schemas.microsoft.com/office/drawing/2014/main" id="{3A6A8F7A-7ACC-4913-AB1B-1D3037919EA9}"/>
                      </a:ext>
                    </a:extLst>
                  </p:cNvPr>
                  <p:cNvSpPr/>
                  <p:nvPr/>
                </p:nvSpPr>
                <p:spPr>
                  <a:xfrm>
                    <a:off x="8191755" y="4415547"/>
                    <a:ext cx="68419" cy="42480"/>
                  </a:xfrm>
                  <a:custGeom>
                    <a:avLst/>
                    <a:gdLst>
                      <a:gd name="connsiteX0" fmla="*/ 54843 w 68419"/>
                      <a:gd name="connsiteY0" fmla="*/ 24282 h 42480"/>
                      <a:gd name="connsiteX1" fmla="*/ 33552 w 68419"/>
                      <a:gd name="connsiteY1" fmla="*/ 41147 h 42480"/>
                      <a:gd name="connsiteX2" fmla="*/ 0 w 68419"/>
                      <a:gd name="connsiteY2" fmla="*/ 37619 h 42480"/>
                      <a:gd name="connsiteX3" fmla="*/ 13576 w 68419"/>
                      <a:gd name="connsiteY3" fmla="*/ 13337 h 42480"/>
                      <a:gd name="connsiteX4" fmla="*/ 47128 w 68419"/>
                      <a:gd name="connsiteY4" fmla="*/ 16865 h 42480"/>
                      <a:gd name="connsiteX5" fmla="*/ 68420 w 68419"/>
                      <a:gd name="connsiteY5" fmla="*/ 0 h 42480"/>
                      <a:gd name="connsiteX6" fmla="*/ 54843 w 68419"/>
                      <a:gd name="connsiteY6" fmla="*/ 24282 h 4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419" h="42480">
                        <a:moveTo>
                          <a:pt x="54843" y="24282"/>
                        </a:moveTo>
                        <a:cubicBezTo>
                          <a:pt x="49939" y="33013"/>
                          <a:pt x="42882" y="38575"/>
                          <a:pt x="33552" y="41147"/>
                        </a:cubicBezTo>
                        <a:cubicBezTo>
                          <a:pt x="23863" y="43719"/>
                          <a:pt x="12679" y="42583"/>
                          <a:pt x="0" y="37619"/>
                        </a:cubicBezTo>
                        <a:lnTo>
                          <a:pt x="13576" y="13337"/>
                        </a:lnTo>
                        <a:cubicBezTo>
                          <a:pt x="26255" y="18241"/>
                          <a:pt x="37439" y="19437"/>
                          <a:pt x="47128" y="16865"/>
                        </a:cubicBezTo>
                        <a:cubicBezTo>
                          <a:pt x="56399" y="14354"/>
                          <a:pt x="63515" y="8732"/>
                          <a:pt x="68420" y="0"/>
                        </a:cubicBezTo>
                        <a:cubicBezTo>
                          <a:pt x="64353" y="7236"/>
                          <a:pt x="58910" y="16985"/>
                          <a:pt x="54843" y="24282"/>
                        </a:cubicBezTo>
                        <a:close/>
                      </a:path>
                    </a:pathLst>
                  </a:custGeom>
                  <a:noFill/>
                  <a:ln w="6350" cap="flat">
                    <a:solidFill>
                      <a:schemeClr val="bg1">
                        <a:alpha val="40000"/>
                      </a:schemeClr>
                    </a:solidFill>
                    <a:prstDash val="solid"/>
                    <a:miter/>
                  </a:ln>
                </p:spPr>
                <p:txBody>
                  <a:bodyPr rtlCol="0" anchor="ctr"/>
                  <a:lstStyle/>
                  <a:p>
                    <a:endParaRPr lang="en-GB"/>
                  </a:p>
                </p:txBody>
              </p:sp>
              <p:sp>
                <p:nvSpPr>
                  <p:cNvPr id="7307" name="Vrije vorm: vorm 7306">
                    <a:extLst>
                      <a:ext uri="{FF2B5EF4-FFF2-40B4-BE49-F238E27FC236}">
                        <a16:creationId xmlns:a16="http://schemas.microsoft.com/office/drawing/2014/main" id="{9AA3F587-CE08-4B7B-95DF-25AEA6A2D121}"/>
                      </a:ext>
                    </a:extLst>
                  </p:cNvPr>
                  <p:cNvSpPr/>
                  <p:nvPr/>
                </p:nvSpPr>
                <p:spPr>
                  <a:xfrm>
                    <a:off x="8197795" y="4405739"/>
                    <a:ext cx="46290" cy="30501"/>
                  </a:xfrm>
                  <a:custGeom>
                    <a:avLst/>
                    <a:gdLst>
                      <a:gd name="connsiteX0" fmla="*/ 0 w 46290"/>
                      <a:gd name="connsiteY0" fmla="*/ 30502 h 30501"/>
                      <a:gd name="connsiteX1" fmla="*/ 13576 w 46290"/>
                      <a:gd name="connsiteY1" fmla="*/ 6220 h 30501"/>
                      <a:gd name="connsiteX2" fmla="*/ 46291 w 46290"/>
                      <a:gd name="connsiteY2" fmla="*/ 0 h 30501"/>
                    </a:gdLst>
                    <a:ahLst/>
                    <a:cxnLst>
                      <a:cxn ang="0">
                        <a:pos x="connsiteX0" y="connsiteY0"/>
                      </a:cxn>
                      <a:cxn ang="0">
                        <a:pos x="connsiteX1" y="connsiteY1"/>
                      </a:cxn>
                      <a:cxn ang="0">
                        <a:pos x="connsiteX2" y="connsiteY2"/>
                      </a:cxn>
                    </a:cxnLst>
                    <a:rect l="l" t="t" r="r" b="b"/>
                    <a:pathLst>
                      <a:path w="46290" h="30501">
                        <a:moveTo>
                          <a:pt x="0" y="30502"/>
                        </a:moveTo>
                        <a:lnTo>
                          <a:pt x="13576" y="6220"/>
                        </a:lnTo>
                        <a:cubicBezTo>
                          <a:pt x="30023" y="12260"/>
                          <a:pt x="40908" y="10227"/>
                          <a:pt x="46291" y="0"/>
                        </a:cubicBezTo>
                      </a:path>
                    </a:pathLst>
                  </a:custGeom>
                  <a:noFill/>
                  <a:ln w="6350" cap="flat">
                    <a:solidFill>
                      <a:schemeClr val="bg1">
                        <a:alpha val="40000"/>
                      </a:schemeClr>
                    </a:solidFill>
                    <a:prstDash val="solid"/>
                    <a:miter/>
                  </a:ln>
                </p:spPr>
                <p:txBody>
                  <a:bodyPr rtlCol="0" anchor="ctr"/>
                  <a:lstStyle/>
                  <a:p>
                    <a:endParaRPr lang="en-GB"/>
                  </a:p>
                </p:txBody>
              </p:sp>
              <p:sp>
                <p:nvSpPr>
                  <p:cNvPr id="7308" name="Vrije vorm: vorm 7307">
                    <a:extLst>
                      <a:ext uri="{FF2B5EF4-FFF2-40B4-BE49-F238E27FC236}">
                        <a16:creationId xmlns:a16="http://schemas.microsoft.com/office/drawing/2014/main" id="{0445F148-9A5B-4134-BA63-DFDCE23AD7C0}"/>
                      </a:ext>
                    </a:extLst>
                  </p:cNvPr>
                  <p:cNvSpPr/>
                  <p:nvPr/>
                </p:nvSpPr>
                <p:spPr>
                  <a:xfrm>
                    <a:off x="8197795" y="4406217"/>
                    <a:ext cx="45991" cy="30022"/>
                  </a:xfrm>
                  <a:custGeom>
                    <a:avLst/>
                    <a:gdLst>
                      <a:gd name="connsiteX0" fmla="*/ 0 w 45991"/>
                      <a:gd name="connsiteY0" fmla="*/ 30023 h 30022"/>
                      <a:gd name="connsiteX1" fmla="*/ 13576 w 45991"/>
                      <a:gd name="connsiteY1" fmla="*/ 5741 h 30022"/>
                      <a:gd name="connsiteX2" fmla="*/ 45991 w 45991"/>
                      <a:gd name="connsiteY2" fmla="*/ 0 h 30022"/>
                    </a:gdLst>
                    <a:ahLst/>
                    <a:cxnLst>
                      <a:cxn ang="0">
                        <a:pos x="connsiteX0" y="connsiteY0"/>
                      </a:cxn>
                      <a:cxn ang="0">
                        <a:pos x="connsiteX1" y="connsiteY1"/>
                      </a:cxn>
                      <a:cxn ang="0">
                        <a:pos x="connsiteX2" y="connsiteY2"/>
                      </a:cxn>
                    </a:cxnLst>
                    <a:rect l="l" t="t" r="r" b="b"/>
                    <a:pathLst>
                      <a:path w="45991" h="30022">
                        <a:moveTo>
                          <a:pt x="0" y="30023"/>
                        </a:moveTo>
                        <a:lnTo>
                          <a:pt x="13576" y="5741"/>
                        </a:lnTo>
                        <a:cubicBezTo>
                          <a:pt x="29724" y="11662"/>
                          <a:pt x="40549" y="9808"/>
                          <a:pt x="45991" y="0"/>
                        </a:cubicBezTo>
                      </a:path>
                    </a:pathLst>
                  </a:custGeom>
                  <a:noFill/>
                  <a:ln w="6350" cap="flat">
                    <a:solidFill>
                      <a:schemeClr val="bg1">
                        <a:alpha val="40000"/>
                      </a:schemeClr>
                    </a:solidFill>
                    <a:prstDash val="solid"/>
                    <a:miter/>
                  </a:ln>
                </p:spPr>
                <p:txBody>
                  <a:bodyPr rtlCol="0" anchor="ctr"/>
                  <a:lstStyle/>
                  <a:p>
                    <a:endParaRPr lang="en-GB"/>
                  </a:p>
                </p:txBody>
              </p:sp>
              <p:sp>
                <p:nvSpPr>
                  <p:cNvPr id="7309" name="Vrije vorm: vorm 7308">
                    <a:extLst>
                      <a:ext uri="{FF2B5EF4-FFF2-40B4-BE49-F238E27FC236}">
                        <a16:creationId xmlns:a16="http://schemas.microsoft.com/office/drawing/2014/main" id="{58BDDA9B-38C8-4A91-9148-E7310E83C67A}"/>
                      </a:ext>
                    </a:extLst>
                  </p:cNvPr>
                  <p:cNvSpPr/>
                  <p:nvPr/>
                </p:nvSpPr>
                <p:spPr>
                  <a:xfrm>
                    <a:off x="8123634" y="4329920"/>
                    <a:ext cx="77928" cy="41369"/>
                  </a:xfrm>
                  <a:custGeom>
                    <a:avLst/>
                    <a:gdLst>
                      <a:gd name="connsiteX0" fmla="*/ 0 w 77928"/>
                      <a:gd name="connsiteY0" fmla="*/ 41369 h 41369"/>
                      <a:gd name="connsiteX1" fmla="*/ 13576 w 77928"/>
                      <a:gd name="connsiteY1" fmla="*/ 17087 h 41369"/>
                      <a:gd name="connsiteX2" fmla="*/ 39174 w 77928"/>
                      <a:gd name="connsiteY2" fmla="*/ 341 h 41369"/>
                      <a:gd name="connsiteX3" fmla="*/ 77929 w 77928"/>
                      <a:gd name="connsiteY3" fmla="*/ 6920 h 41369"/>
                      <a:gd name="connsiteX4" fmla="*/ 64353 w 77928"/>
                      <a:gd name="connsiteY4" fmla="*/ 31202 h 41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28" h="41369">
                        <a:moveTo>
                          <a:pt x="0" y="41369"/>
                        </a:moveTo>
                        <a:lnTo>
                          <a:pt x="13576" y="17087"/>
                        </a:lnTo>
                        <a:cubicBezTo>
                          <a:pt x="19139" y="7100"/>
                          <a:pt x="27691" y="1478"/>
                          <a:pt x="39174" y="341"/>
                        </a:cubicBezTo>
                        <a:cubicBezTo>
                          <a:pt x="51016" y="-915"/>
                          <a:pt x="63934" y="1298"/>
                          <a:pt x="77929" y="6920"/>
                        </a:cubicBezTo>
                        <a:lnTo>
                          <a:pt x="64353" y="31202"/>
                        </a:lnTo>
                      </a:path>
                    </a:pathLst>
                  </a:custGeom>
                  <a:noFill/>
                  <a:ln w="6350" cap="flat">
                    <a:solidFill>
                      <a:schemeClr val="bg1">
                        <a:alpha val="40000"/>
                      </a:schemeClr>
                    </a:solidFill>
                    <a:prstDash val="solid"/>
                    <a:miter/>
                  </a:ln>
                </p:spPr>
                <p:txBody>
                  <a:bodyPr rtlCol="0" anchor="ctr"/>
                  <a:lstStyle/>
                  <a:p>
                    <a:endParaRPr lang="en-GB"/>
                  </a:p>
                </p:txBody>
              </p:sp>
              <p:sp>
                <p:nvSpPr>
                  <p:cNvPr id="7310" name="Vrije vorm: vorm 7309">
                    <a:extLst>
                      <a:ext uri="{FF2B5EF4-FFF2-40B4-BE49-F238E27FC236}">
                        <a16:creationId xmlns:a16="http://schemas.microsoft.com/office/drawing/2014/main" id="{6CC69A88-EBB0-451C-A2C1-951FFD828C05}"/>
                      </a:ext>
                    </a:extLst>
                  </p:cNvPr>
                  <p:cNvSpPr/>
                  <p:nvPr/>
                </p:nvSpPr>
                <p:spPr>
                  <a:xfrm>
                    <a:off x="8120704" y="4376134"/>
                    <a:ext cx="36781" cy="51194"/>
                  </a:xfrm>
                  <a:custGeom>
                    <a:avLst/>
                    <a:gdLst>
                      <a:gd name="connsiteX0" fmla="*/ 0 w 36781"/>
                      <a:gd name="connsiteY0" fmla="*/ 24282 h 51194"/>
                      <a:gd name="connsiteX1" fmla="*/ 23205 w 36781"/>
                      <a:gd name="connsiteY1" fmla="*/ 51195 h 51194"/>
                      <a:gd name="connsiteX2" fmla="*/ 36782 w 36781"/>
                      <a:gd name="connsiteY2" fmla="*/ 26913 h 51194"/>
                      <a:gd name="connsiteX3" fmla="*/ 13576 w 36781"/>
                      <a:gd name="connsiteY3" fmla="*/ 0 h 51194"/>
                    </a:gdLst>
                    <a:ahLst/>
                    <a:cxnLst>
                      <a:cxn ang="0">
                        <a:pos x="connsiteX0" y="connsiteY0"/>
                      </a:cxn>
                      <a:cxn ang="0">
                        <a:pos x="connsiteX1" y="connsiteY1"/>
                      </a:cxn>
                      <a:cxn ang="0">
                        <a:pos x="connsiteX2" y="connsiteY2"/>
                      </a:cxn>
                      <a:cxn ang="0">
                        <a:pos x="connsiteX3" y="connsiteY3"/>
                      </a:cxn>
                    </a:cxnLst>
                    <a:rect l="l" t="t" r="r" b="b"/>
                    <a:pathLst>
                      <a:path w="36781" h="51194">
                        <a:moveTo>
                          <a:pt x="0" y="24282"/>
                        </a:moveTo>
                        <a:cubicBezTo>
                          <a:pt x="3230" y="33851"/>
                          <a:pt x="11004" y="42822"/>
                          <a:pt x="23205" y="51195"/>
                        </a:cubicBezTo>
                        <a:lnTo>
                          <a:pt x="36782" y="26913"/>
                        </a:lnTo>
                        <a:cubicBezTo>
                          <a:pt x="24581" y="18540"/>
                          <a:pt x="16806" y="9569"/>
                          <a:pt x="13576" y="0"/>
                        </a:cubicBezTo>
                      </a:path>
                    </a:pathLst>
                  </a:custGeom>
                  <a:noFill/>
                  <a:ln w="6350" cap="flat">
                    <a:solidFill>
                      <a:schemeClr val="bg1">
                        <a:alpha val="40000"/>
                      </a:schemeClr>
                    </a:solidFill>
                    <a:prstDash val="solid"/>
                    <a:miter/>
                  </a:ln>
                </p:spPr>
                <p:txBody>
                  <a:bodyPr rtlCol="0" anchor="ctr"/>
                  <a:lstStyle/>
                  <a:p>
                    <a:endParaRPr lang="en-GB"/>
                  </a:p>
                </p:txBody>
              </p:sp>
              <p:sp>
                <p:nvSpPr>
                  <p:cNvPr id="7311" name="Vrije vorm: vorm 7310">
                    <a:extLst>
                      <a:ext uri="{FF2B5EF4-FFF2-40B4-BE49-F238E27FC236}">
                        <a16:creationId xmlns:a16="http://schemas.microsoft.com/office/drawing/2014/main" id="{D29BA31C-B9DA-4082-B6B9-8818CFAE3707}"/>
                      </a:ext>
                    </a:extLst>
                  </p:cNvPr>
                  <p:cNvSpPr/>
                  <p:nvPr/>
                </p:nvSpPr>
                <p:spPr>
                  <a:xfrm>
                    <a:off x="8118755" y="4348024"/>
                    <a:ext cx="17917" cy="52391"/>
                  </a:xfrm>
                  <a:custGeom>
                    <a:avLst/>
                    <a:gdLst>
                      <a:gd name="connsiteX0" fmla="*/ 15525 w 17917"/>
                      <a:gd name="connsiteY0" fmla="*/ 28109 h 52391"/>
                      <a:gd name="connsiteX1" fmla="*/ 17917 w 17917"/>
                      <a:gd name="connsiteY1" fmla="*/ 0 h 52391"/>
                      <a:gd name="connsiteX2" fmla="*/ 4341 w 17917"/>
                      <a:gd name="connsiteY2" fmla="*/ 24282 h 52391"/>
                      <a:gd name="connsiteX3" fmla="*/ 1948 w 17917"/>
                      <a:gd name="connsiteY3" fmla="*/ 52391 h 52391"/>
                    </a:gdLst>
                    <a:ahLst/>
                    <a:cxnLst>
                      <a:cxn ang="0">
                        <a:pos x="connsiteX0" y="connsiteY0"/>
                      </a:cxn>
                      <a:cxn ang="0">
                        <a:pos x="connsiteX1" y="connsiteY1"/>
                      </a:cxn>
                      <a:cxn ang="0">
                        <a:pos x="connsiteX2" y="connsiteY2"/>
                      </a:cxn>
                      <a:cxn ang="0">
                        <a:pos x="connsiteX3" y="connsiteY3"/>
                      </a:cxn>
                    </a:cxnLst>
                    <a:rect l="l" t="t" r="r" b="b"/>
                    <a:pathLst>
                      <a:path w="17917" h="52391">
                        <a:moveTo>
                          <a:pt x="15525" y="28109"/>
                        </a:moveTo>
                        <a:cubicBezTo>
                          <a:pt x="12295" y="18540"/>
                          <a:pt x="13132" y="9151"/>
                          <a:pt x="17917" y="0"/>
                        </a:cubicBezTo>
                        <a:lnTo>
                          <a:pt x="4341" y="24282"/>
                        </a:lnTo>
                        <a:cubicBezTo>
                          <a:pt x="-504" y="33492"/>
                          <a:pt x="-1281" y="42822"/>
                          <a:pt x="1948" y="52391"/>
                        </a:cubicBezTo>
                      </a:path>
                    </a:pathLst>
                  </a:custGeom>
                  <a:noFill/>
                  <a:ln w="6350" cap="flat">
                    <a:solidFill>
                      <a:schemeClr val="bg1">
                        <a:alpha val="40000"/>
                      </a:schemeClr>
                    </a:solidFill>
                    <a:prstDash val="solid"/>
                    <a:miter/>
                  </a:ln>
                </p:spPr>
                <p:txBody>
                  <a:bodyPr rtlCol="0" anchor="ctr"/>
                  <a:lstStyle/>
                  <a:p>
                    <a:endParaRPr lang="en-GB"/>
                  </a:p>
                </p:txBody>
              </p:sp>
              <p:sp>
                <p:nvSpPr>
                  <p:cNvPr id="7312" name="Vrije vorm: vorm 7311">
                    <a:extLst>
                      <a:ext uri="{FF2B5EF4-FFF2-40B4-BE49-F238E27FC236}">
                        <a16:creationId xmlns:a16="http://schemas.microsoft.com/office/drawing/2014/main" id="{E11B99FC-CD31-4060-92AF-2A076D352CBB}"/>
                      </a:ext>
                    </a:extLst>
                  </p:cNvPr>
                  <p:cNvSpPr/>
                  <p:nvPr/>
                </p:nvSpPr>
                <p:spPr>
                  <a:xfrm>
                    <a:off x="8123156" y="4330262"/>
                    <a:ext cx="39712" cy="41984"/>
                  </a:xfrm>
                  <a:custGeom>
                    <a:avLst/>
                    <a:gdLst>
                      <a:gd name="connsiteX0" fmla="*/ 0 w 39712"/>
                      <a:gd name="connsiteY0" fmla="*/ 41984 h 41984"/>
                      <a:gd name="connsiteX1" fmla="*/ 13576 w 39712"/>
                      <a:gd name="connsiteY1" fmla="*/ 17703 h 41984"/>
                      <a:gd name="connsiteX2" fmla="*/ 39712 w 39712"/>
                      <a:gd name="connsiteY2" fmla="*/ 0 h 41984"/>
                      <a:gd name="connsiteX3" fmla="*/ 26136 w 39712"/>
                      <a:gd name="connsiteY3" fmla="*/ 24282 h 41984"/>
                    </a:gdLst>
                    <a:ahLst/>
                    <a:cxnLst>
                      <a:cxn ang="0">
                        <a:pos x="connsiteX0" y="connsiteY0"/>
                      </a:cxn>
                      <a:cxn ang="0">
                        <a:pos x="connsiteX1" y="connsiteY1"/>
                      </a:cxn>
                      <a:cxn ang="0">
                        <a:pos x="connsiteX2" y="connsiteY2"/>
                      </a:cxn>
                      <a:cxn ang="0">
                        <a:pos x="connsiteX3" y="connsiteY3"/>
                      </a:cxn>
                    </a:cxnLst>
                    <a:rect l="l" t="t" r="r" b="b"/>
                    <a:pathLst>
                      <a:path w="39712" h="41984">
                        <a:moveTo>
                          <a:pt x="0" y="41984"/>
                        </a:moveTo>
                        <a:lnTo>
                          <a:pt x="13576" y="17703"/>
                        </a:lnTo>
                        <a:cubicBezTo>
                          <a:pt x="19138" y="7117"/>
                          <a:pt x="27870" y="1196"/>
                          <a:pt x="39712" y="0"/>
                        </a:cubicBezTo>
                        <a:lnTo>
                          <a:pt x="26136" y="24282"/>
                        </a:lnTo>
                      </a:path>
                    </a:pathLst>
                  </a:custGeom>
                  <a:noFill/>
                  <a:ln w="6350" cap="flat">
                    <a:solidFill>
                      <a:schemeClr val="bg1">
                        <a:alpha val="40000"/>
                      </a:schemeClr>
                    </a:solidFill>
                    <a:prstDash val="solid"/>
                    <a:miter/>
                  </a:ln>
                </p:spPr>
                <p:txBody>
                  <a:bodyPr rtlCol="0" anchor="ctr"/>
                  <a:lstStyle/>
                  <a:p>
                    <a:endParaRPr lang="en-GB"/>
                  </a:p>
                </p:txBody>
              </p:sp>
              <p:sp>
                <p:nvSpPr>
                  <p:cNvPr id="7313" name="Vrije vorm: vorm 7312">
                    <a:extLst>
                      <a:ext uri="{FF2B5EF4-FFF2-40B4-BE49-F238E27FC236}">
                        <a16:creationId xmlns:a16="http://schemas.microsoft.com/office/drawing/2014/main" id="{C6D8EB32-7B32-43EF-9F1B-E0DD7C1040A8}"/>
                      </a:ext>
                    </a:extLst>
                  </p:cNvPr>
                  <p:cNvSpPr/>
                  <p:nvPr/>
                </p:nvSpPr>
                <p:spPr>
                  <a:xfrm>
                    <a:off x="8118832" y="4347008"/>
                    <a:ext cx="38712" cy="80261"/>
                  </a:xfrm>
                  <a:custGeom>
                    <a:avLst/>
                    <a:gdLst>
                      <a:gd name="connsiteX0" fmla="*/ 18438 w 38712"/>
                      <a:gd name="connsiteY0" fmla="*/ 0 h 80261"/>
                      <a:gd name="connsiteX1" fmla="*/ 17900 w 38712"/>
                      <a:gd name="connsiteY1" fmla="*/ 957 h 80261"/>
                      <a:gd name="connsiteX2" fmla="*/ 15508 w 38712"/>
                      <a:gd name="connsiteY2" fmla="*/ 29066 h 80261"/>
                      <a:gd name="connsiteX3" fmla="*/ 38713 w 38712"/>
                      <a:gd name="connsiteY3" fmla="*/ 55979 h 80261"/>
                      <a:gd name="connsiteX4" fmla="*/ 25136 w 38712"/>
                      <a:gd name="connsiteY4" fmla="*/ 80261 h 80261"/>
                      <a:gd name="connsiteX5" fmla="*/ 1931 w 38712"/>
                      <a:gd name="connsiteY5" fmla="*/ 53348 h 80261"/>
                      <a:gd name="connsiteX6" fmla="*/ 4324 w 38712"/>
                      <a:gd name="connsiteY6" fmla="*/ 25238 h 80261"/>
                      <a:gd name="connsiteX7" fmla="*/ 4862 w 38712"/>
                      <a:gd name="connsiteY7" fmla="*/ 24282 h 80261"/>
                      <a:gd name="connsiteX8" fmla="*/ 18438 w 38712"/>
                      <a:gd name="connsiteY8" fmla="*/ 0 h 80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12" h="80261">
                        <a:moveTo>
                          <a:pt x="18438" y="0"/>
                        </a:moveTo>
                        <a:cubicBezTo>
                          <a:pt x="18258" y="299"/>
                          <a:pt x="18079" y="658"/>
                          <a:pt x="17900" y="957"/>
                        </a:cubicBezTo>
                        <a:cubicBezTo>
                          <a:pt x="13055" y="10167"/>
                          <a:pt x="12278" y="19497"/>
                          <a:pt x="15508" y="29066"/>
                        </a:cubicBezTo>
                        <a:cubicBezTo>
                          <a:pt x="18737" y="38636"/>
                          <a:pt x="26512" y="47607"/>
                          <a:pt x="38713" y="55979"/>
                        </a:cubicBezTo>
                        <a:lnTo>
                          <a:pt x="25136" y="80261"/>
                        </a:lnTo>
                        <a:cubicBezTo>
                          <a:pt x="12936" y="71888"/>
                          <a:pt x="5161" y="62917"/>
                          <a:pt x="1931" y="53348"/>
                        </a:cubicBezTo>
                        <a:cubicBezTo>
                          <a:pt x="-1299" y="43779"/>
                          <a:pt x="-461" y="34389"/>
                          <a:pt x="4324" y="25238"/>
                        </a:cubicBezTo>
                        <a:cubicBezTo>
                          <a:pt x="4503" y="24940"/>
                          <a:pt x="4682" y="24581"/>
                          <a:pt x="4862" y="24282"/>
                        </a:cubicBezTo>
                        <a:cubicBezTo>
                          <a:pt x="8929" y="17045"/>
                          <a:pt x="14311" y="7296"/>
                          <a:pt x="18438" y="0"/>
                        </a:cubicBezTo>
                        <a:close/>
                      </a:path>
                    </a:pathLst>
                  </a:custGeom>
                  <a:noFill/>
                  <a:ln w="6350" cap="flat">
                    <a:solidFill>
                      <a:schemeClr val="bg1">
                        <a:alpha val="40000"/>
                      </a:schemeClr>
                    </a:solidFill>
                    <a:prstDash val="solid"/>
                    <a:miter/>
                  </a:ln>
                </p:spPr>
                <p:txBody>
                  <a:bodyPr rtlCol="0" anchor="ctr"/>
                  <a:lstStyle/>
                  <a:p>
                    <a:endParaRPr lang="en-GB"/>
                  </a:p>
                </p:txBody>
              </p:sp>
              <p:sp>
                <p:nvSpPr>
                  <p:cNvPr id="7314" name="Vrije vorm: vorm 7313">
                    <a:extLst>
                      <a:ext uri="{FF2B5EF4-FFF2-40B4-BE49-F238E27FC236}">
                        <a16:creationId xmlns:a16="http://schemas.microsoft.com/office/drawing/2014/main" id="{6C8FA2AD-BC59-4F28-8C39-81B3B1933949}"/>
                      </a:ext>
                    </a:extLst>
                  </p:cNvPr>
                  <p:cNvSpPr/>
                  <p:nvPr/>
                </p:nvSpPr>
                <p:spPr>
                  <a:xfrm>
                    <a:off x="8220522" y="4354185"/>
                    <a:ext cx="40548" cy="31458"/>
                  </a:xfrm>
                  <a:custGeom>
                    <a:avLst/>
                    <a:gdLst>
                      <a:gd name="connsiteX0" fmla="*/ 0 w 40548"/>
                      <a:gd name="connsiteY0" fmla="*/ 24282 h 31458"/>
                      <a:gd name="connsiteX1" fmla="*/ 13576 w 40548"/>
                      <a:gd name="connsiteY1" fmla="*/ 0 h 31458"/>
                      <a:gd name="connsiteX2" fmla="*/ 40549 w 40548"/>
                      <a:gd name="connsiteY2" fmla="*/ 31459 h 31458"/>
                    </a:gdLst>
                    <a:ahLst/>
                    <a:cxnLst>
                      <a:cxn ang="0">
                        <a:pos x="connsiteX0" y="connsiteY0"/>
                      </a:cxn>
                      <a:cxn ang="0">
                        <a:pos x="connsiteX1" y="connsiteY1"/>
                      </a:cxn>
                      <a:cxn ang="0">
                        <a:pos x="connsiteX2" y="connsiteY2"/>
                      </a:cxn>
                    </a:cxnLst>
                    <a:rect l="l" t="t" r="r" b="b"/>
                    <a:pathLst>
                      <a:path w="40548" h="31458">
                        <a:moveTo>
                          <a:pt x="0" y="24282"/>
                        </a:moveTo>
                        <a:lnTo>
                          <a:pt x="13576" y="0"/>
                        </a:lnTo>
                        <a:cubicBezTo>
                          <a:pt x="27631" y="9689"/>
                          <a:pt x="36602" y="20155"/>
                          <a:pt x="40549" y="31459"/>
                        </a:cubicBezTo>
                      </a:path>
                    </a:pathLst>
                  </a:custGeom>
                  <a:noFill/>
                  <a:ln w="6350" cap="flat">
                    <a:solidFill>
                      <a:schemeClr val="bg1">
                        <a:alpha val="40000"/>
                      </a:schemeClr>
                    </a:solidFill>
                    <a:prstDash val="solid"/>
                    <a:miter/>
                  </a:ln>
                </p:spPr>
                <p:txBody>
                  <a:bodyPr rtlCol="0" anchor="ctr"/>
                  <a:lstStyle/>
                  <a:p>
                    <a:endParaRPr lang="en-GB"/>
                  </a:p>
                </p:txBody>
              </p:sp>
              <p:sp>
                <p:nvSpPr>
                  <p:cNvPr id="7315" name="Vrije vorm: vorm 7314">
                    <a:extLst>
                      <a:ext uri="{FF2B5EF4-FFF2-40B4-BE49-F238E27FC236}">
                        <a16:creationId xmlns:a16="http://schemas.microsoft.com/office/drawing/2014/main" id="{F986DFFF-8D8D-4A06-8164-51252A4902CE}"/>
                      </a:ext>
                    </a:extLst>
                  </p:cNvPr>
                  <p:cNvSpPr/>
                  <p:nvPr/>
                </p:nvSpPr>
                <p:spPr>
                  <a:xfrm>
                    <a:off x="8247136" y="4385703"/>
                    <a:ext cx="16808" cy="53108"/>
                  </a:xfrm>
                  <a:custGeom>
                    <a:avLst/>
                    <a:gdLst>
                      <a:gd name="connsiteX0" fmla="*/ 13935 w 16808"/>
                      <a:gd name="connsiteY0" fmla="*/ 0 h 53108"/>
                      <a:gd name="connsiteX1" fmla="*/ 13576 w 16808"/>
                      <a:gd name="connsiteY1" fmla="*/ 28827 h 53108"/>
                      <a:gd name="connsiteX2" fmla="*/ 0 w 16808"/>
                      <a:gd name="connsiteY2" fmla="*/ 53109 h 53108"/>
                    </a:gdLst>
                    <a:ahLst/>
                    <a:cxnLst>
                      <a:cxn ang="0">
                        <a:pos x="connsiteX0" y="connsiteY0"/>
                      </a:cxn>
                      <a:cxn ang="0">
                        <a:pos x="connsiteX1" y="connsiteY1"/>
                      </a:cxn>
                      <a:cxn ang="0">
                        <a:pos x="connsiteX2" y="connsiteY2"/>
                      </a:cxn>
                    </a:cxnLst>
                    <a:rect l="l" t="t" r="r" b="b"/>
                    <a:pathLst>
                      <a:path w="16808" h="53108">
                        <a:moveTo>
                          <a:pt x="13935" y="0"/>
                        </a:moveTo>
                        <a:cubicBezTo>
                          <a:pt x="17882" y="11304"/>
                          <a:pt x="17763" y="20933"/>
                          <a:pt x="13576" y="28827"/>
                        </a:cubicBezTo>
                        <a:lnTo>
                          <a:pt x="0" y="53109"/>
                        </a:lnTo>
                      </a:path>
                    </a:pathLst>
                  </a:custGeom>
                  <a:noFill/>
                  <a:ln w="6350" cap="flat">
                    <a:solidFill>
                      <a:schemeClr val="bg1">
                        <a:alpha val="40000"/>
                      </a:schemeClr>
                    </a:solidFill>
                    <a:prstDash val="solid"/>
                    <a:miter/>
                  </a:ln>
                </p:spPr>
                <p:txBody>
                  <a:bodyPr rtlCol="0" anchor="ctr"/>
                  <a:lstStyle/>
                  <a:p>
                    <a:endParaRPr lang="en-GB"/>
                  </a:p>
                </p:txBody>
              </p:sp>
            </p:grpSp>
            <p:grpSp>
              <p:nvGrpSpPr>
                <p:cNvPr id="7171" name="Groep 7170">
                  <a:extLst>
                    <a:ext uri="{FF2B5EF4-FFF2-40B4-BE49-F238E27FC236}">
                      <a16:creationId xmlns:a16="http://schemas.microsoft.com/office/drawing/2014/main" id="{62D31998-F3CB-4249-8397-BB3188099D85}"/>
                    </a:ext>
                  </a:extLst>
                </p:cNvPr>
                <p:cNvGrpSpPr/>
                <p:nvPr/>
              </p:nvGrpSpPr>
              <p:grpSpPr>
                <a:xfrm>
                  <a:off x="7001830" y="4321590"/>
                  <a:ext cx="439224" cy="780056"/>
                  <a:chOff x="7001830" y="4321590"/>
                  <a:chExt cx="439224" cy="780056"/>
                </a:xfrm>
                <a:noFill/>
              </p:grpSpPr>
              <p:grpSp>
                <p:nvGrpSpPr>
                  <p:cNvPr id="7244" name="Graphic 3">
                    <a:extLst>
                      <a:ext uri="{FF2B5EF4-FFF2-40B4-BE49-F238E27FC236}">
                        <a16:creationId xmlns:a16="http://schemas.microsoft.com/office/drawing/2014/main" id="{C2B09C64-C2C1-4822-98B8-4B68E146A1CE}"/>
                      </a:ext>
                    </a:extLst>
                  </p:cNvPr>
                  <p:cNvGrpSpPr/>
                  <p:nvPr/>
                </p:nvGrpSpPr>
                <p:grpSpPr>
                  <a:xfrm>
                    <a:off x="7132569" y="4618353"/>
                    <a:ext cx="116420" cy="224043"/>
                    <a:chOff x="7132569" y="4618353"/>
                    <a:chExt cx="116420" cy="224043"/>
                  </a:xfrm>
                  <a:grpFill/>
                </p:grpSpPr>
                <p:sp>
                  <p:nvSpPr>
                    <p:cNvPr id="7281" name="Vrije vorm: vorm 7280">
                      <a:extLst>
                        <a:ext uri="{FF2B5EF4-FFF2-40B4-BE49-F238E27FC236}">
                          <a16:creationId xmlns:a16="http://schemas.microsoft.com/office/drawing/2014/main" id="{EB153D64-A07F-4A14-827C-0EBEDE8CEAD8}"/>
                        </a:ext>
                      </a:extLst>
                    </p:cNvPr>
                    <p:cNvSpPr/>
                    <p:nvPr/>
                  </p:nvSpPr>
                  <p:spPr>
                    <a:xfrm>
                      <a:off x="7189625" y="4703937"/>
                      <a:ext cx="53706" cy="75117"/>
                    </a:xfrm>
                    <a:custGeom>
                      <a:avLst/>
                      <a:gdLst>
                        <a:gd name="connsiteX0" fmla="*/ 53707 w 53706"/>
                        <a:gd name="connsiteY0" fmla="*/ 75118 h 75117"/>
                        <a:gd name="connsiteX1" fmla="*/ 0 w 53706"/>
                        <a:gd name="connsiteY1" fmla="*/ 0 h 75117"/>
                      </a:gdLst>
                      <a:ahLst/>
                      <a:cxnLst>
                        <a:cxn ang="0">
                          <a:pos x="connsiteX0" y="connsiteY0"/>
                        </a:cxn>
                        <a:cxn ang="0">
                          <a:pos x="connsiteX1" y="connsiteY1"/>
                        </a:cxn>
                      </a:cxnLst>
                      <a:rect l="l" t="t" r="r" b="b"/>
                      <a:pathLst>
                        <a:path w="53706" h="75117">
                          <a:moveTo>
                            <a:pt x="53707" y="75118"/>
                          </a:moveTo>
                          <a:lnTo>
                            <a:pt x="0" y="0"/>
                          </a:lnTo>
                        </a:path>
                      </a:pathLst>
                    </a:custGeom>
                    <a:grpFill/>
                    <a:ln w="6350" cap="flat">
                      <a:solidFill>
                        <a:schemeClr val="bg1">
                          <a:alpha val="40000"/>
                        </a:schemeClr>
                      </a:solidFill>
                      <a:prstDash val="solid"/>
                      <a:miter/>
                    </a:ln>
                  </p:spPr>
                  <p:txBody>
                    <a:bodyPr rtlCol="0" anchor="ctr"/>
                    <a:lstStyle/>
                    <a:p>
                      <a:endParaRPr lang="en-GB"/>
                    </a:p>
                  </p:txBody>
                </p:sp>
                <p:grpSp>
                  <p:nvGrpSpPr>
                    <p:cNvPr id="7282" name="Graphic 3">
                      <a:extLst>
                        <a:ext uri="{FF2B5EF4-FFF2-40B4-BE49-F238E27FC236}">
                          <a16:creationId xmlns:a16="http://schemas.microsoft.com/office/drawing/2014/main" id="{3D40041D-05EA-4BB0-A4DA-0063AE270D3D}"/>
                        </a:ext>
                      </a:extLst>
                    </p:cNvPr>
                    <p:cNvGrpSpPr/>
                    <p:nvPr/>
                  </p:nvGrpSpPr>
                  <p:grpSpPr>
                    <a:xfrm>
                      <a:off x="7132569" y="4618353"/>
                      <a:ext cx="116420" cy="224043"/>
                      <a:chOff x="7132569" y="4618353"/>
                      <a:chExt cx="116420" cy="224043"/>
                    </a:xfrm>
                    <a:grpFill/>
                  </p:grpSpPr>
                  <p:sp>
                    <p:nvSpPr>
                      <p:cNvPr id="7283" name="Vrije vorm: vorm 7282">
                        <a:extLst>
                          <a:ext uri="{FF2B5EF4-FFF2-40B4-BE49-F238E27FC236}">
                            <a16:creationId xmlns:a16="http://schemas.microsoft.com/office/drawing/2014/main" id="{99D52DFA-D9C3-4BCB-B67B-A80A0C17A22A}"/>
                          </a:ext>
                        </a:extLst>
                      </p:cNvPr>
                      <p:cNvSpPr/>
                      <p:nvPr/>
                    </p:nvSpPr>
                    <p:spPr>
                      <a:xfrm>
                        <a:off x="7161873" y="4772205"/>
                        <a:ext cx="87116" cy="70192"/>
                      </a:xfrm>
                      <a:custGeom>
                        <a:avLst/>
                        <a:gdLst>
                          <a:gd name="connsiteX0" fmla="*/ 81619 w 87116"/>
                          <a:gd name="connsiteY0" fmla="*/ 7612 h 70192"/>
                          <a:gd name="connsiteX1" fmla="*/ 49055 w 87116"/>
                          <a:gd name="connsiteY1" fmla="*/ 42708 h 70192"/>
                          <a:gd name="connsiteX2" fmla="*/ 5497 w 87116"/>
                          <a:gd name="connsiteY2" fmla="*/ 62580 h 70192"/>
                          <a:gd name="connsiteX3" fmla="*/ 38061 w 87116"/>
                          <a:gd name="connsiteY3" fmla="*/ 27484 h 70192"/>
                          <a:gd name="connsiteX4" fmla="*/ 81619 w 87116"/>
                          <a:gd name="connsiteY4" fmla="*/ 7612 h 7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16" h="70192">
                            <a:moveTo>
                              <a:pt x="81619" y="7612"/>
                            </a:moveTo>
                            <a:cubicBezTo>
                              <a:pt x="84655" y="11816"/>
                              <a:pt x="70076" y="27529"/>
                              <a:pt x="49055" y="42708"/>
                            </a:cubicBezTo>
                            <a:cubicBezTo>
                              <a:pt x="28034" y="57887"/>
                              <a:pt x="8533" y="66784"/>
                              <a:pt x="5497" y="62580"/>
                            </a:cubicBezTo>
                            <a:cubicBezTo>
                              <a:pt x="2461" y="58376"/>
                              <a:pt x="17040" y="42663"/>
                              <a:pt x="38061" y="27484"/>
                            </a:cubicBezTo>
                            <a:cubicBezTo>
                              <a:pt x="59082" y="12305"/>
                              <a:pt x="78583" y="3408"/>
                              <a:pt x="81619" y="761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84" name="Vrije vorm: vorm 7283">
                        <a:extLst>
                          <a:ext uri="{FF2B5EF4-FFF2-40B4-BE49-F238E27FC236}">
                            <a16:creationId xmlns:a16="http://schemas.microsoft.com/office/drawing/2014/main" id="{CAF1A02E-7B79-4D5D-B318-5BFB33C6DB24}"/>
                          </a:ext>
                        </a:extLst>
                      </p:cNvPr>
                      <p:cNvSpPr/>
                      <p:nvPr/>
                    </p:nvSpPr>
                    <p:spPr>
                      <a:xfrm>
                        <a:off x="7166001" y="4752487"/>
                        <a:ext cx="58371" cy="32907"/>
                      </a:xfrm>
                      <a:custGeom>
                        <a:avLst/>
                        <a:gdLst>
                          <a:gd name="connsiteX0" fmla="*/ 0 w 58371"/>
                          <a:gd name="connsiteY0" fmla="*/ 32908 h 32907"/>
                          <a:gd name="connsiteX1" fmla="*/ 58372 w 58371"/>
                          <a:gd name="connsiteY1" fmla="*/ 1150 h 32907"/>
                        </a:gdLst>
                        <a:ahLst/>
                        <a:cxnLst>
                          <a:cxn ang="0">
                            <a:pos x="connsiteX0" y="connsiteY0"/>
                          </a:cxn>
                          <a:cxn ang="0">
                            <a:pos x="connsiteX1" y="connsiteY1"/>
                          </a:cxn>
                        </a:cxnLst>
                        <a:rect l="l" t="t" r="r" b="b"/>
                        <a:pathLst>
                          <a:path w="58371" h="32907">
                            <a:moveTo>
                              <a:pt x="0" y="32908"/>
                            </a:moveTo>
                            <a:cubicBezTo>
                              <a:pt x="9629" y="24774"/>
                              <a:pt x="44198" y="-6326"/>
                              <a:pt x="58372" y="1150"/>
                            </a:cubicBezTo>
                          </a:path>
                        </a:pathLst>
                      </a:custGeom>
                      <a:grpFill/>
                      <a:ln w="6350" cap="flat">
                        <a:solidFill>
                          <a:schemeClr val="bg1">
                            <a:alpha val="40000"/>
                          </a:schemeClr>
                        </a:solidFill>
                        <a:prstDash val="solid"/>
                        <a:miter/>
                      </a:ln>
                    </p:spPr>
                    <p:txBody>
                      <a:bodyPr rtlCol="0" anchor="ctr"/>
                      <a:lstStyle/>
                      <a:p>
                        <a:endParaRPr lang="en-GB"/>
                      </a:p>
                    </p:txBody>
                  </p:sp>
                  <p:sp>
                    <p:nvSpPr>
                      <p:cNvPr id="7285" name="Vrije vorm: vorm 7284">
                        <a:extLst>
                          <a:ext uri="{FF2B5EF4-FFF2-40B4-BE49-F238E27FC236}">
                            <a16:creationId xmlns:a16="http://schemas.microsoft.com/office/drawing/2014/main" id="{036B15EA-27E1-4738-87D3-581C44B2F172}"/>
                          </a:ext>
                        </a:extLst>
                      </p:cNvPr>
                      <p:cNvSpPr/>
                      <p:nvPr/>
                    </p:nvSpPr>
                    <p:spPr>
                      <a:xfrm>
                        <a:off x="7148956" y="4728439"/>
                        <a:ext cx="58072" cy="32794"/>
                      </a:xfrm>
                      <a:custGeom>
                        <a:avLst/>
                        <a:gdLst>
                          <a:gd name="connsiteX0" fmla="*/ 0 w 58072"/>
                          <a:gd name="connsiteY0" fmla="*/ 32794 h 32794"/>
                          <a:gd name="connsiteX1" fmla="*/ 58073 w 58072"/>
                          <a:gd name="connsiteY1" fmla="*/ 1156 h 32794"/>
                        </a:gdLst>
                        <a:ahLst/>
                        <a:cxnLst>
                          <a:cxn ang="0">
                            <a:pos x="connsiteX0" y="connsiteY0"/>
                          </a:cxn>
                          <a:cxn ang="0">
                            <a:pos x="connsiteX1" y="connsiteY1"/>
                          </a:cxn>
                        </a:cxnLst>
                        <a:rect l="l" t="t" r="r" b="b"/>
                        <a:pathLst>
                          <a:path w="58072" h="32794">
                            <a:moveTo>
                              <a:pt x="0" y="32794"/>
                            </a:moveTo>
                            <a:cubicBezTo>
                              <a:pt x="9749" y="24601"/>
                              <a:pt x="43779" y="-6320"/>
                              <a:pt x="58073" y="1156"/>
                            </a:cubicBezTo>
                          </a:path>
                        </a:pathLst>
                      </a:custGeom>
                      <a:grpFill/>
                      <a:ln w="6350" cap="flat">
                        <a:solidFill>
                          <a:schemeClr val="bg1">
                            <a:alpha val="40000"/>
                          </a:schemeClr>
                        </a:solidFill>
                        <a:prstDash val="solid"/>
                        <a:miter/>
                      </a:ln>
                    </p:spPr>
                    <p:txBody>
                      <a:bodyPr rtlCol="0" anchor="ctr"/>
                      <a:lstStyle/>
                      <a:p>
                        <a:endParaRPr lang="en-GB"/>
                      </a:p>
                    </p:txBody>
                  </p:sp>
                  <p:sp>
                    <p:nvSpPr>
                      <p:cNvPr id="7286" name="Vrije vorm: vorm 7285">
                        <a:extLst>
                          <a:ext uri="{FF2B5EF4-FFF2-40B4-BE49-F238E27FC236}">
                            <a16:creationId xmlns:a16="http://schemas.microsoft.com/office/drawing/2014/main" id="{B0FFB0C7-3C7A-4A5E-A3D2-303E588648F3}"/>
                          </a:ext>
                        </a:extLst>
                      </p:cNvPr>
                      <p:cNvSpPr/>
                      <p:nvPr/>
                    </p:nvSpPr>
                    <p:spPr>
                      <a:xfrm>
                        <a:off x="7132569" y="4618353"/>
                        <a:ext cx="87916" cy="119016"/>
                      </a:xfrm>
                      <a:custGeom>
                        <a:avLst/>
                        <a:gdLst>
                          <a:gd name="connsiteX0" fmla="*/ 0 w 87916"/>
                          <a:gd name="connsiteY0" fmla="*/ 119017 h 119016"/>
                          <a:gd name="connsiteX1" fmla="*/ 58372 w 87916"/>
                          <a:gd name="connsiteY1" fmla="*/ 87438 h 119016"/>
                          <a:gd name="connsiteX2" fmla="*/ 87916 w 87916"/>
                          <a:gd name="connsiteY2" fmla="*/ 0 h 119016"/>
                        </a:gdLst>
                        <a:ahLst/>
                        <a:cxnLst>
                          <a:cxn ang="0">
                            <a:pos x="connsiteX0" y="connsiteY0"/>
                          </a:cxn>
                          <a:cxn ang="0">
                            <a:pos x="connsiteX1" y="connsiteY1"/>
                          </a:cxn>
                          <a:cxn ang="0">
                            <a:pos x="connsiteX2" y="connsiteY2"/>
                          </a:cxn>
                        </a:cxnLst>
                        <a:rect l="l" t="t" r="r" b="b"/>
                        <a:pathLst>
                          <a:path w="87916" h="119016">
                            <a:moveTo>
                              <a:pt x="0" y="119017"/>
                            </a:moveTo>
                            <a:cubicBezTo>
                              <a:pt x="9629" y="110703"/>
                              <a:pt x="43838" y="79723"/>
                              <a:pt x="58372" y="87438"/>
                            </a:cubicBezTo>
                            <a:cubicBezTo>
                              <a:pt x="68240" y="58312"/>
                              <a:pt x="78048" y="29126"/>
                              <a:pt x="87916" y="0"/>
                            </a:cubicBezTo>
                          </a:path>
                        </a:pathLst>
                      </a:custGeom>
                      <a:grpFill/>
                      <a:ln w="6350" cap="flat">
                        <a:solidFill>
                          <a:schemeClr val="bg1">
                            <a:alpha val="40000"/>
                          </a:schemeClr>
                        </a:solidFill>
                        <a:prstDash val="solid"/>
                        <a:miter/>
                      </a:ln>
                    </p:spPr>
                    <p:txBody>
                      <a:bodyPr rtlCol="0" anchor="ctr"/>
                      <a:lstStyle/>
                      <a:p>
                        <a:endParaRPr lang="en-GB"/>
                      </a:p>
                    </p:txBody>
                  </p:sp>
                  <p:sp>
                    <p:nvSpPr>
                      <p:cNvPr id="7287" name="Vrije vorm: vorm 7286">
                        <a:extLst>
                          <a:ext uri="{FF2B5EF4-FFF2-40B4-BE49-F238E27FC236}">
                            <a16:creationId xmlns:a16="http://schemas.microsoft.com/office/drawing/2014/main" id="{05A483F5-9516-4AC7-8B91-E1D77AE53346}"/>
                          </a:ext>
                        </a:extLst>
                      </p:cNvPr>
                      <p:cNvSpPr/>
                      <p:nvPr/>
                    </p:nvSpPr>
                    <p:spPr>
                      <a:xfrm>
                        <a:off x="7159243" y="4822774"/>
                        <a:ext cx="9450" cy="13217"/>
                      </a:xfrm>
                      <a:custGeom>
                        <a:avLst/>
                        <a:gdLst>
                          <a:gd name="connsiteX0" fmla="*/ 9450 w 9450"/>
                          <a:gd name="connsiteY0" fmla="*/ 13218 h 13217"/>
                          <a:gd name="connsiteX1" fmla="*/ 0 w 9450"/>
                          <a:gd name="connsiteY1" fmla="*/ 0 h 13217"/>
                        </a:gdLst>
                        <a:ahLst/>
                        <a:cxnLst>
                          <a:cxn ang="0">
                            <a:pos x="connsiteX0" y="connsiteY0"/>
                          </a:cxn>
                          <a:cxn ang="0">
                            <a:pos x="connsiteX1" y="connsiteY1"/>
                          </a:cxn>
                        </a:cxnLst>
                        <a:rect l="l" t="t" r="r" b="b"/>
                        <a:pathLst>
                          <a:path w="9450" h="13217">
                            <a:moveTo>
                              <a:pt x="9450" y="13218"/>
                            </a:moveTo>
                            <a:cubicBezTo>
                              <a:pt x="6280" y="8792"/>
                              <a:pt x="3170" y="4426"/>
                              <a:pt x="0" y="0"/>
                            </a:cubicBezTo>
                          </a:path>
                        </a:pathLst>
                      </a:custGeom>
                      <a:grpFill/>
                      <a:ln w="6350" cap="flat">
                        <a:solidFill>
                          <a:schemeClr val="bg1">
                            <a:alpha val="40000"/>
                          </a:schemeClr>
                        </a:solidFill>
                        <a:prstDash val="solid"/>
                        <a:miter/>
                      </a:ln>
                    </p:spPr>
                    <p:txBody>
                      <a:bodyPr rtlCol="0" anchor="ctr"/>
                      <a:lstStyle/>
                      <a:p>
                        <a:endParaRPr lang="en-GB"/>
                      </a:p>
                    </p:txBody>
                  </p:sp>
                </p:grpSp>
              </p:grpSp>
              <p:grpSp>
                <p:nvGrpSpPr>
                  <p:cNvPr id="7245" name="Graphic 3">
                    <a:extLst>
                      <a:ext uri="{FF2B5EF4-FFF2-40B4-BE49-F238E27FC236}">
                        <a16:creationId xmlns:a16="http://schemas.microsoft.com/office/drawing/2014/main" id="{D5B5E2FA-A5A3-4106-A578-0C663C862C0B}"/>
                      </a:ext>
                    </a:extLst>
                  </p:cNvPr>
                  <p:cNvGrpSpPr/>
                  <p:nvPr/>
                </p:nvGrpSpPr>
                <p:grpSpPr>
                  <a:xfrm>
                    <a:off x="7028583" y="4713028"/>
                    <a:ext cx="152689" cy="157066"/>
                    <a:chOff x="7028583" y="4713028"/>
                    <a:chExt cx="152689" cy="157066"/>
                  </a:xfrm>
                  <a:grpFill/>
                </p:grpSpPr>
                <p:sp>
                  <p:nvSpPr>
                    <p:cNvPr id="7274" name="Vrije vorm: vorm 7273">
                      <a:extLst>
                        <a:ext uri="{FF2B5EF4-FFF2-40B4-BE49-F238E27FC236}">
                          <a16:creationId xmlns:a16="http://schemas.microsoft.com/office/drawing/2014/main" id="{C477F7C2-096C-4902-A24B-F23879286389}"/>
                        </a:ext>
                      </a:extLst>
                    </p:cNvPr>
                    <p:cNvSpPr/>
                    <p:nvPr/>
                  </p:nvSpPr>
                  <p:spPr>
                    <a:xfrm>
                      <a:off x="7113909" y="4713028"/>
                      <a:ext cx="60883" cy="85225"/>
                    </a:xfrm>
                    <a:custGeom>
                      <a:avLst/>
                      <a:gdLst>
                        <a:gd name="connsiteX0" fmla="*/ 60883 w 60883"/>
                        <a:gd name="connsiteY0" fmla="*/ 85225 h 85225"/>
                        <a:gd name="connsiteX1" fmla="*/ 0 w 60883"/>
                        <a:gd name="connsiteY1" fmla="*/ 0 h 85225"/>
                      </a:gdLst>
                      <a:ahLst/>
                      <a:cxnLst>
                        <a:cxn ang="0">
                          <a:pos x="connsiteX0" y="connsiteY0"/>
                        </a:cxn>
                        <a:cxn ang="0">
                          <a:pos x="connsiteX1" y="connsiteY1"/>
                        </a:cxn>
                      </a:cxnLst>
                      <a:rect l="l" t="t" r="r" b="b"/>
                      <a:pathLst>
                        <a:path w="60883" h="85225">
                          <a:moveTo>
                            <a:pt x="60883" y="85225"/>
                          </a:moveTo>
                          <a:lnTo>
                            <a:pt x="0" y="0"/>
                          </a:lnTo>
                        </a:path>
                      </a:pathLst>
                    </a:custGeom>
                    <a:grpFill/>
                    <a:ln w="6350" cap="flat">
                      <a:solidFill>
                        <a:schemeClr val="bg1">
                          <a:alpha val="40000"/>
                        </a:schemeClr>
                      </a:solidFill>
                      <a:prstDash val="solid"/>
                      <a:miter/>
                    </a:ln>
                  </p:spPr>
                  <p:txBody>
                    <a:bodyPr rtlCol="0" anchor="ctr"/>
                    <a:lstStyle/>
                    <a:p>
                      <a:endParaRPr lang="en-GB"/>
                    </a:p>
                  </p:txBody>
                </p:sp>
                <p:grpSp>
                  <p:nvGrpSpPr>
                    <p:cNvPr id="7275" name="Graphic 3">
                      <a:extLst>
                        <a:ext uri="{FF2B5EF4-FFF2-40B4-BE49-F238E27FC236}">
                          <a16:creationId xmlns:a16="http://schemas.microsoft.com/office/drawing/2014/main" id="{1EEDAFC7-C63C-413B-B123-E75F6A3DC2E1}"/>
                        </a:ext>
                      </a:extLst>
                    </p:cNvPr>
                    <p:cNvGrpSpPr/>
                    <p:nvPr/>
                  </p:nvGrpSpPr>
                  <p:grpSpPr>
                    <a:xfrm>
                      <a:off x="7028583" y="4713998"/>
                      <a:ext cx="152689" cy="156096"/>
                      <a:chOff x="7028583" y="4713998"/>
                      <a:chExt cx="152689" cy="156096"/>
                    </a:xfrm>
                    <a:grpFill/>
                  </p:grpSpPr>
                  <p:sp>
                    <p:nvSpPr>
                      <p:cNvPr id="7276" name="Vrije vorm: vorm 7275">
                        <a:extLst>
                          <a:ext uri="{FF2B5EF4-FFF2-40B4-BE49-F238E27FC236}">
                            <a16:creationId xmlns:a16="http://schemas.microsoft.com/office/drawing/2014/main" id="{5D6FA93D-F013-418E-A0A4-15DD71D4CA9A}"/>
                          </a:ext>
                        </a:extLst>
                      </p:cNvPr>
                      <p:cNvSpPr/>
                      <p:nvPr/>
                    </p:nvSpPr>
                    <p:spPr>
                      <a:xfrm>
                        <a:off x="7082504" y="4790514"/>
                        <a:ext cx="98768" cy="79580"/>
                      </a:xfrm>
                      <a:custGeom>
                        <a:avLst/>
                        <a:gdLst>
                          <a:gd name="connsiteX0" fmla="*/ 92536 w 98768"/>
                          <a:gd name="connsiteY0" fmla="*/ 8630 h 79580"/>
                          <a:gd name="connsiteX1" fmla="*/ 55616 w 98768"/>
                          <a:gd name="connsiteY1" fmla="*/ 48421 h 79580"/>
                          <a:gd name="connsiteX2" fmla="*/ 6232 w 98768"/>
                          <a:gd name="connsiteY2" fmla="*/ 70950 h 79580"/>
                          <a:gd name="connsiteX3" fmla="*/ 43152 w 98768"/>
                          <a:gd name="connsiteY3" fmla="*/ 31160 h 79580"/>
                          <a:gd name="connsiteX4" fmla="*/ 92536 w 98768"/>
                          <a:gd name="connsiteY4" fmla="*/ 8630 h 79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68" h="79580">
                            <a:moveTo>
                              <a:pt x="92536" y="8630"/>
                            </a:moveTo>
                            <a:cubicBezTo>
                              <a:pt x="95978" y="13397"/>
                              <a:pt x="79449" y="31212"/>
                              <a:pt x="55616" y="48421"/>
                            </a:cubicBezTo>
                            <a:cubicBezTo>
                              <a:pt x="31784" y="65630"/>
                              <a:pt x="9673" y="75717"/>
                              <a:pt x="6232" y="70950"/>
                            </a:cubicBezTo>
                            <a:cubicBezTo>
                              <a:pt x="2790" y="66184"/>
                              <a:pt x="19319" y="48369"/>
                              <a:pt x="43152" y="31160"/>
                            </a:cubicBezTo>
                            <a:cubicBezTo>
                              <a:pt x="66984" y="13951"/>
                              <a:pt x="89094" y="3864"/>
                              <a:pt x="92536" y="863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77" name="Vrije vorm: vorm 7276">
                        <a:extLst>
                          <a:ext uri="{FF2B5EF4-FFF2-40B4-BE49-F238E27FC236}">
                            <a16:creationId xmlns:a16="http://schemas.microsoft.com/office/drawing/2014/main" id="{E842602D-5F54-4CDD-9C36-8B241C3641E4}"/>
                          </a:ext>
                        </a:extLst>
                      </p:cNvPr>
                      <p:cNvSpPr/>
                      <p:nvPr/>
                    </p:nvSpPr>
                    <p:spPr>
                      <a:xfrm>
                        <a:off x="7067394" y="4768224"/>
                        <a:ext cx="85868" cy="62863"/>
                      </a:xfrm>
                      <a:custGeom>
                        <a:avLst/>
                        <a:gdLst>
                          <a:gd name="connsiteX0" fmla="*/ 463 w 85868"/>
                          <a:gd name="connsiteY0" fmla="*/ 62863 h 62863"/>
                          <a:gd name="connsiteX1" fmla="*/ 36946 w 85868"/>
                          <a:gd name="connsiteY1" fmla="*/ 23390 h 62863"/>
                          <a:gd name="connsiteX2" fmla="*/ 85868 w 85868"/>
                          <a:gd name="connsiteY2" fmla="*/ 1202 h 62863"/>
                        </a:gdLst>
                        <a:ahLst/>
                        <a:cxnLst>
                          <a:cxn ang="0">
                            <a:pos x="connsiteX0" y="connsiteY0"/>
                          </a:cxn>
                          <a:cxn ang="0">
                            <a:pos x="connsiteX1" y="connsiteY1"/>
                          </a:cxn>
                          <a:cxn ang="0">
                            <a:pos x="connsiteX2" y="connsiteY2"/>
                          </a:cxn>
                        </a:cxnLst>
                        <a:rect l="l" t="t" r="r" b="b"/>
                        <a:pathLst>
                          <a:path w="85868" h="62863">
                            <a:moveTo>
                              <a:pt x="463" y="62863"/>
                            </a:moveTo>
                            <a:cubicBezTo>
                              <a:pt x="-3005" y="58079"/>
                              <a:pt x="13382" y="40435"/>
                              <a:pt x="36946" y="23390"/>
                            </a:cubicBezTo>
                            <a:cubicBezTo>
                              <a:pt x="60510" y="6345"/>
                              <a:pt x="82459" y="-3583"/>
                              <a:pt x="85868" y="1202"/>
                            </a:cubicBezTo>
                          </a:path>
                        </a:pathLst>
                      </a:custGeom>
                      <a:grpFill/>
                      <a:ln w="6350" cap="flat">
                        <a:solidFill>
                          <a:schemeClr val="bg1">
                            <a:alpha val="40000"/>
                          </a:schemeClr>
                        </a:solidFill>
                        <a:prstDash val="solid"/>
                        <a:miter/>
                      </a:ln>
                    </p:spPr>
                    <p:txBody>
                      <a:bodyPr rtlCol="0" anchor="ctr"/>
                      <a:lstStyle/>
                      <a:p>
                        <a:endParaRPr lang="en-GB"/>
                      </a:p>
                    </p:txBody>
                  </p:sp>
                  <p:sp>
                    <p:nvSpPr>
                      <p:cNvPr id="7278" name="Vrije vorm: vorm 7277">
                        <a:extLst>
                          <a:ext uri="{FF2B5EF4-FFF2-40B4-BE49-F238E27FC236}">
                            <a16:creationId xmlns:a16="http://schemas.microsoft.com/office/drawing/2014/main" id="{46186DE9-F930-4109-A334-FFA81AA4F6F3}"/>
                          </a:ext>
                        </a:extLst>
                      </p:cNvPr>
                      <p:cNvSpPr/>
                      <p:nvPr/>
                    </p:nvSpPr>
                    <p:spPr>
                      <a:xfrm>
                        <a:off x="7047003" y="4740987"/>
                        <a:ext cx="86583" cy="63366"/>
                      </a:xfrm>
                      <a:custGeom>
                        <a:avLst/>
                        <a:gdLst>
                          <a:gd name="connsiteX0" fmla="*/ 461 w 86583"/>
                          <a:gd name="connsiteY0" fmla="*/ 63366 h 63366"/>
                          <a:gd name="connsiteX1" fmla="*/ 37301 w 86583"/>
                          <a:gd name="connsiteY1" fmla="*/ 23654 h 63366"/>
                          <a:gd name="connsiteX2" fmla="*/ 86583 w 86583"/>
                          <a:gd name="connsiteY2" fmla="*/ 1167 h 63366"/>
                        </a:gdLst>
                        <a:ahLst/>
                        <a:cxnLst>
                          <a:cxn ang="0">
                            <a:pos x="connsiteX0" y="connsiteY0"/>
                          </a:cxn>
                          <a:cxn ang="0">
                            <a:pos x="connsiteX1" y="connsiteY1"/>
                          </a:cxn>
                          <a:cxn ang="0">
                            <a:pos x="connsiteX2" y="connsiteY2"/>
                          </a:cxn>
                        </a:cxnLst>
                        <a:rect l="l" t="t" r="r" b="b"/>
                        <a:pathLst>
                          <a:path w="86583" h="63366">
                            <a:moveTo>
                              <a:pt x="461" y="63366"/>
                            </a:moveTo>
                            <a:cubicBezTo>
                              <a:pt x="-3009" y="58582"/>
                              <a:pt x="13498" y="40819"/>
                              <a:pt x="37301" y="23654"/>
                            </a:cubicBezTo>
                            <a:cubicBezTo>
                              <a:pt x="61105" y="6490"/>
                              <a:pt x="83174" y="-3558"/>
                              <a:pt x="86583" y="1167"/>
                            </a:cubicBezTo>
                          </a:path>
                        </a:pathLst>
                      </a:custGeom>
                      <a:grpFill/>
                      <a:ln w="6350" cap="flat">
                        <a:solidFill>
                          <a:schemeClr val="bg1">
                            <a:alpha val="40000"/>
                          </a:schemeClr>
                        </a:solidFill>
                        <a:prstDash val="solid"/>
                        <a:miter/>
                      </a:ln>
                    </p:spPr>
                    <p:txBody>
                      <a:bodyPr rtlCol="0" anchor="ctr"/>
                      <a:lstStyle/>
                      <a:p>
                        <a:endParaRPr lang="en-GB"/>
                      </a:p>
                    </p:txBody>
                  </p:sp>
                  <p:sp>
                    <p:nvSpPr>
                      <p:cNvPr id="7279" name="Vrije vorm: vorm 7278">
                        <a:extLst>
                          <a:ext uri="{FF2B5EF4-FFF2-40B4-BE49-F238E27FC236}">
                            <a16:creationId xmlns:a16="http://schemas.microsoft.com/office/drawing/2014/main" id="{AA20D78A-EF88-498B-A6CD-72FA83546025}"/>
                          </a:ext>
                        </a:extLst>
                      </p:cNvPr>
                      <p:cNvSpPr/>
                      <p:nvPr/>
                    </p:nvSpPr>
                    <p:spPr>
                      <a:xfrm>
                        <a:off x="7028583" y="4713998"/>
                        <a:ext cx="86761" cy="63502"/>
                      </a:xfrm>
                      <a:custGeom>
                        <a:avLst/>
                        <a:gdLst>
                          <a:gd name="connsiteX0" fmla="*/ 459 w 86761"/>
                          <a:gd name="connsiteY0" fmla="*/ 63502 h 63502"/>
                          <a:gd name="connsiteX1" fmla="*/ 37360 w 86761"/>
                          <a:gd name="connsiteY1" fmla="*/ 23731 h 63502"/>
                          <a:gd name="connsiteX2" fmla="*/ 86761 w 86761"/>
                          <a:gd name="connsiteY2" fmla="*/ 1183 h 63502"/>
                        </a:gdLst>
                        <a:ahLst/>
                        <a:cxnLst>
                          <a:cxn ang="0">
                            <a:pos x="connsiteX0" y="connsiteY0"/>
                          </a:cxn>
                          <a:cxn ang="0">
                            <a:pos x="connsiteX1" y="connsiteY1"/>
                          </a:cxn>
                          <a:cxn ang="0">
                            <a:pos x="connsiteX2" y="connsiteY2"/>
                          </a:cxn>
                        </a:cxnLst>
                        <a:rect l="l" t="t" r="r" b="b"/>
                        <a:pathLst>
                          <a:path w="86761" h="63502">
                            <a:moveTo>
                              <a:pt x="459" y="63502"/>
                            </a:moveTo>
                            <a:cubicBezTo>
                              <a:pt x="-3010" y="58718"/>
                              <a:pt x="13557" y="40895"/>
                              <a:pt x="37360" y="23731"/>
                            </a:cubicBezTo>
                            <a:cubicBezTo>
                              <a:pt x="61164" y="6566"/>
                              <a:pt x="83293" y="-3601"/>
                              <a:pt x="86761" y="1183"/>
                            </a:cubicBezTo>
                          </a:path>
                        </a:pathLst>
                      </a:custGeom>
                      <a:grpFill/>
                      <a:ln w="6350" cap="flat">
                        <a:solidFill>
                          <a:schemeClr val="bg1">
                            <a:alpha val="40000"/>
                          </a:schemeClr>
                        </a:solidFill>
                        <a:prstDash val="solid"/>
                        <a:miter/>
                      </a:ln>
                    </p:spPr>
                    <p:txBody>
                      <a:bodyPr rtlCol="0" anchor="ctr"/>
                      <a:lstStyle/>
                      <a:p>
                        <a:endParaRPr lang="en-GB"/>
                      </a:p>
                    </p:txBody>
                  </p:sp>
                  <p:sp>
                    <p:nvSpPr>
                      <p:cNvPr id="7280" name="Vrije vorm: vorm 7279">
                        <a:extLst>
                          <a:ext uri="{FF2B5EF4-FFF2-40B4-BE49-F238E27FC236}">
                            <a16:creationId xmlns:a16="http://schemas.microsoft.com/office/drawing/2014/main" id="{D7C0E798-FBDF-4DD2-AEF2-2FD346084DD4}"/>
                          </a:ext>
                        </a:extLst>
                      </p:cNvPr>
                      <p:cNvSpPr/>
                      <p:nvPr/>
                    </p:nvSpPr>
                    <p:spPr>
                      <a:xfrm>
                        <a:off x="7028743" y="4776902"/>
                        <a:ext cx="61362" cy="85942"/>
                      </a:xfrm>
                      <a:custGeom>
                        <a:avLst/>
                        <a:gdLst>
                          <a:gd name="connsiteX0" fmla="*/ 61362 w 61362"/>
                          <a:gd name="connsiteY0" fmla="*/ 85943 h 85942"/>
                          <a:gd name="connsiteX1" fmla="*/ 0 w 61362"/>
                          <a:gd name="connsiteY1" fmla="*/ 0 h 85942"/>
                        </a:gdLst>
                        <a:ahLst/>
                        <a:cxnLst>
                          <a:cxn ang="0">
                            <a:pos x="connsiteX0" y="connsiteY0"/>
                          </a:cxn>
                          <a:cxn ang="0">
                            <a:pos x="connsiteX1" y="connsiteY1"/>
                          </a:cxn>
                        </a:cxnLst>
                        <a:rect l="l" t="t" r="r" b="b"/>
                        <a:pathLst>
                          <a:path w="61362" h="85942">
                            <a:moveTo>
                              <a:pt x="61362" y="85943"/>
                            </a:moveTo>
                            <a:lnTo>
                              <a:pt x="0" y="0"/>
                            </a:lnTo>
                          </a:path>
                        </a:pathLst>
                      </a:custGeom>
                      <a:grpFill/>
                      <a:ln w="6350" cap="flat">
                        <a:solidFill>
                          <a:schemeClr val="bg1">
                            <a:alpha val="40000"/>
                          </a:schemeClr>
                        </a:solidFill>
                        <a:prstDash val="solid"/>
                        <a:miter/>
                      </a:ln>
                    </p:spPr>
                    <p:txBody>
                      <a:bodyPr rtlCol="0" anchor="ctr"/>
                      <a:lstStyle/>
                      <a:p>
                        <a:endParaRPr lang="en-GB"/>
                      </a:p>
                    </p:txBody>
                  </p:sp>
                </p:grpSp>
              </p:grpSp>
              <p:grpSp>
                <p:nvGrpSpPr>
                  <p:cNvPr id="7246" name="Graphic 3">
                    <a:extLst>
                      <a:ext uri="{FF2B5EF4-FFF2-40B4-BE49-F238E27FC236}">
                        <a16:creationId xmlns:a16="http://schemas.microsoft.com/office/drawing/2014/main" id="{0C9FA52C-AC64-4384-9819-EB2008D1042D}"/>
                      </a:ext>
                    </a:extLst>
                  </p:cNvPr>
                  <p:cNvGrpSpPr/>
                  <p:nvPr/>
                </p:nvGrpSpPr>
                <p:grpSpPr>
                  <a:xfrm>
                    <a:off x="7001830" y="4802978"/>
                    <a:ext cx="134437" cy="124462"/>
                    <a:chOff x="7001830" y="4802978"/>
                    <a:chExt cx="134437" cy="124462"/>
                  </a:xfrm>
                  <a:grpFill/>
                </p:grpSpPr>
                <p:sp>
                  <p:nvSpPr>
                    <p:cNvPr id="7267" name="Vrije vorm: vorm 7266">
                      <a:extLst>
                        <a:ext uri="{FF2B5EF4-FFF2-40B4-BE49-F238E27FC236}">
                          <a16:creationId xmlns:a16="http://schemas.microsoft.com/office/drawing/2014/main" id="{ACD522ED-FBE3-43D1-BF46-BB83301FD56D}"/>
                        </a:ext>
                      </a:extLst>
                    </p:cNvPr>
                    <p:cNvSpPr/>
                    <p:nvPr/>
                  </p:nvSpPr>
                  <p:spPr>
                    <a:xfrm>
                      <a:off x="7121743" y="4851601"/>
                      <a:ext cx="8852" cy="12440"/>
                    </a:xfrm>
                    <a:custGeom>
                      <a:avLst/>
                      <a:gdLst>
                        <a:gd name="connsiteX0" fmla="*/ 8852 w 8852"/>
                        <a:gd name="connsiteY0" fmla="*/ 12440 h 12440"/>
                        <a:gd name="connsiteX1" fmla="*/ 0 w 8852"/>
                        <a:gd name="connsiteY1" fmla="*/ 0 h 12440"/>
                      </a:gdLst>
                      <a:ahLst/>
                      <a:cxnLst>
                        <a:cxn ang="0">
                          <a:pos x="connsiteX0" y="connsiteY0"/>
                        </a:cxn>
                        <a:cxn ang="0">
                          <a:pos x="connsiteX1" y="connsiteY1"/>
                        </a:cxn>
                      </a:cxnLst>
                      <a:rect l="l" t="t" r="r" b="b"/>
                      <a:pathLst>
                        <a:path w="8852" h="12440">
                          <a:moveTo>
                            <a:pt x="8852" y="12440"/>
                          </a:moveTo>
                          <a:cubicBezTo>
                            <a:pt x="5921" y="8313"/>
                            <a:pt x="2930" y="4127"/>
                            <a:pt x="0" y="0"/>
                          </a:cubicBezTo>
                        </a:path>
                      </a:pathLst>
                    </a:custGeom>
                    <a:grpFill/>
                    <a:ln w="6350" cap="flat">
                      <a:solidFill>
                        <a:schemeClr val="bg1">
                          <a:alpha val="40000"/>
                        </a:schemeClr>
                      </a:solidFill>
                      <a:prstDash val="solid"/>
                      <a:miter/>
                    </a:ln>
                  </p:spPr>
                  <p:txBody>
                    <a:bodyPr rtlCol="0" anchor="ctr"/>
                    <a:lstStyle/>
                    <a:p>
                      <a:endParaRPr lang="en-GB"/>
                    </a:p>
                  </p:txBody>
                </p:sp>
                <p:grpSp>
                  <p:nvGrpSpPr>
                    <p:cNvPr id="7268" name="Graphic 3">
                      <a:extLst>
                        <a:ext uri="{FF2B5EF4-FFF2-40B4-BE49-F238E27FC236}">
                          <a16:creationId xmlns:a16="http://schemas.microsoft.com/office/drawing/2014/main" id="{A172B31A-2419-487D-B5EE-8EBACD898FEB}"/>
                        </a:ext>
                      </a:extLst>
                    </p:cNvPr>
                    <p:cNvGrpSpPr/>
                    <p:nvPr/>
                  </p:nvGrpSpPr>
                  <p:grpSpPr>
                    <a:xfrm>
                      <a:off x="7001830" y="4802978"/>
                      <a:ext cx="134437" cy="124462"/>
                      <a:chOff x="7001830" y="4802978"/>
                      <a:chExt cx="134437" cy="124462"/>
                    </a:xfrm>
                    <a:grpFill/>
                  </p:grpSpPr>
                  <p:sp>
                    <p:nvSpPr>
                      <p:cNvPr id="7269" name="Vrije vorm: vorm 7268">
                        <a:extLst>
                          <a:ext uri="{FF2B5EF4-FFF2-40B4-BE49-F238E27FC236}">
                            <a16:creationId xmlns:a16="http://schemas.microsoft.com/office/drawing/2014/main" id="{CF69B880-F191-4F95-A552-0C1EAF8BAEC5}"/>
                          </a:ext>
                        </a:extLst>
                      </p:cNvPr>
                      <p:cNvSpPr/>
                      <p:nvPr/>
                    </p:nvSpPr>
                    <p:spPr>
                      <a:xfrm>
                        <a:off x="7049151" y="4857248"/>
                        <a:ext cx="87116" cy="70192"/>
                      </a:xfrm>
                      <a:custGeom>
                        <a:avLst/>
                        <a:gdLst>
                          <a:gd name="connsiteX0" fmla="*/ 81619 w 87116"/>
                          <a:gd name="connsiteY0" fmla="*/ 7612 h 70192"/>
                          <a:gd name="connsiteX1" fmla="*/ 49055 w 87116"/>
                          <a:gd name="connsiteY1" fmla="*/ 42708 h 70192"/>
                          <a:gd name="connsiteX2" fmla="*/ 5497 w 87116"/>
                          <a:gd name="connsiteY2" fmla="*/ 62580 h 70192"/>
                          <a:gd name="connsiteX3" fmla="*/ 38061 w 87116"/>
                          <a:gd name="connsiteY3" fmla="*/ 27484 h 70192"/>
                          <a:gd name="connsiteX4" fmla="*/ 81619 w 87116"/>
                          <a:gd name="connsiteY4" fmla="*/ 7612 h 7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16" h="70192">
                            <a:moveTo>
                              <a:pt x="81619" y="7612"/>
                            </a:moveTo>
                            <a:cubicBezTo>
                              <a:pt x="84655" y="11816"/>
                              <a:pt x="70076" y="27529"/>
                              <a:pt x="49055" y="42708"/>
                            </a:cubicBezTo>
                            <a:cubicBezTo>
                              <a:pt x="28034" y="57887"/>
                              <a:pt x="8533" y="66784"/>
                              <a:pt x="5497" y="62580"/>
                            </a:cubicBezTo>
                            <a:cubicBezTo>
                              <a:pt x="2461" y="58376"/>
                              <a:pt x="17041" y="42663"/>
                              <a:pt x="38061" y="27484"/>
                            </a:cubicBezTo>
                            <a:cubicBezTo>
                              <a:pt x="59082" y="12305"/>
                              <a:pt x="78584" y="3408"/>
                              <a:pt x="81619" y="761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70" name="Vrije vorm: vorm 7269">
                        <a:extLst>
                          <a:ext uri="{FF2B5EF4-FFF2-40B4-BE49-F238E27FC236}">
                            <a16:creationId xmlns:a16="http://schemas.microsoft.com/office/drawing/2014/main" id="{1146DA0E-8D3D-4B91-AC2C-F2C52EB29B70}"/>
                          </a:ext>
                        </a:extLst>
                      </p:cNvPr>
                      <p:cNvSpPr/>
                      <p:nvPr/>
                    </p:nvSpPr>
                    <p:spPr>
                      <a:xfrm>
                        <a:off x="7036250" y="4850644"/>
                        <a:ext cx="43210" cy="42403"/>
                      </a:xfrm>
                      <a:custGeom>
                        <a:avLst/>
                        <a:gdLst>
                          <a:gd name="connsiteX0" fmla="*/ 89 w 43210"/>
                          <a:gd name="connsiteY0" fmla="*/ 42403 h 42403"/>
                          <a:gd name="connsiteX1" fmla="*/ 43210 w 43210"/>
                          <a:gd name="connsiteY1" fmla="*/ 0 h 42403"/>
                        </a:gdLst>
                        <a:ahLst/>
                        <a:cxnLst>
                          <a:cxn ang="0">
                            <a:pos x="connsiteX0" y="connsiteY0"/>
                          </a:cxn>
                          <a:cxn ang="0">
                            <a:pos x="connsiteX1" y="connsiteY1"/>
                          </a:cxn>
                        </a:cxnLst>
                        <a:rect l="l" t="t" r="r" b="b"/>
                        <a:pathLst>
                          <a:path w="43210" h="42403">
                            <a:moveTo>
                              <a:pt x="89" y="42403"/>
                            </a:moveTo>
                            <a:cubicBezTo>
                              <a:pt x="-2005" y="27451"/>
                              <a:pt x="33342" y="6399"/>
                              <a:pt x="43210" y="0"/>
                            </a:cubicBezTo>
                          </a:path>
                        </a:pathLst>
                      </a:custGeom>
                      <a:grpFill/>
                      <a:ln w="6350" cap="flat">
                        <a:solidFill>
                          <a:schemeClr val="bg1">
                            <a:alpha val="40000"/>
                          </a:schemeClr>
                        </a:solidFill>
                        <a:prstDash val="solid"/>
                        <a:miter/>
                      </a:ln>
                    </p:spPr>
                    <p:txBody>
                      <a:bodyPr rtlCol="0" anchor="ctr"/>
                      <a:lstStyle/>
                      <a:p>
                        <a:endParaRPr lang="en-GB"/>
                      </a:p>
                    </p:txBody>
                  </p:sp>
                  <p:sp>
                    <p:nvSpPr>
                      <p:cNvPr id="7271" name="Vrije vorm: vorm 7270">
                        <a:extLst>
                          <a:ext uri="{FF2B5EF4-FFF2-40B4-BE49-F238E27FC236}">
                            <a16:creationId xmlns:a16="http://schemas.microsoft.com/office/drawing/2014/main" id="{D8A914F4-E945-402F-8AF9-89A32E1B0836}"/>
                          </a:ext>
                        </a:extLst>
                      </p:cNvPr>
                      <p:cNvSpPr/>
                      <p:nvPr/>
                    </p:nvSpPr>
                    <p:spPr>
                      <a:xfrm>
                        <a:off x="7018256" y="4826482"/>
                        <a:ext cx="44936" cy="42941"/>
                      </a:xfrm>
                      <a:custGeom>
                        <a:avLst/>
                        <a:gdLst>
                          <a:gd name="connsiteX0" fmla="*/ 81 w 44936"/>
                          <a:gd name="connsiteY0" fmla="*/ 42942 h 42941"/>
                          <a:gd name="connsiteX1" fmla="*/ 44936 w 44936"/>
                          <a:gd name="connsiteY1" fmla="*/ 0 h 42941"/>
                        </a:gdLst>
                        <a:ahLst/>
                        <a:cxnLst>
                          <a:cxn ang="0">
                            <a:pos x="connsiteX0" y="connsiteY0"/>
                          </a:cxn>
                          <a:cxn ang="0">
                            <a:pos x="connsiteX1" y="connsiteY1"/>
                          </a:cxn>
                        </a:cxnLst>
                        <a:rect l="l" t="t" r="r" b="b"/>
                        <a:pathLst>
                          <a:path w="44936" h="42941">
                            <a:moveTo>
                              <a:pt x="81" y="42942"/>
                            </a:moveTo>
                            <a:cubicBezTo>
                              <a:pt x="-1953" y="27930"/>
                              <a:pt x="34948" y="6459"/>
                              <a:pt x="44936" y="0"/>
                            </a:cubicBezTo>
                          </a:path>
                        </a:pathLst>
                      </a:custGeom>
                      <a:grpFill/>
                      <a:ln w="6350" cap="flat">
                        <a:solidFill>
                          <a:schemeClr val="bg1">
                            <a:alpha val="40000"/>
                          </a:schemeClr>
                        </a:solidFill>
                        <a:prstDash val="solid"/>
                        <a:miter/>
                      </a:ln>
                    </p:spPr>
                    <p:txBody>
                      <a:bodyPr rtlCol="0" anchor="ctr"/>
                      <a:lstStyle/>
                      <a:p>
                        <a:endParaRPr lang="en-GB"/>
                      </a:p>
                    </p:txBody>
                  </p:sp>
                  <p:sp>
                    <p:nvSpPr>
                      <p:cNvPr id="7272" name="Vrije vorm: vorm 7271">
                        <a:extLst>
                          <a:ext uri="{FF2B5EF4-FFF2-40B4-BE49-F238E27FC236}">
                            <a16:creationId xmlns:a16="http://schemas.microsoft.com/office/drawing/2014/main" id="{814F1D1D-D432-4086-B8D7-6EE628DAD389}"/>
                          </a:ext>
                        </a:extLst>
                      </p:cNvPr>
                      <p:cNvSpPr/>
                      <p:nvPr/>
                    </p:nvSpPr>
                    <p:spPr>
                      <a:xfrm>
                        <a:off x="7002040" y="4802978"/>
                        <a:ext cx="44047" cy="42822"/>
                      </a:xfrm>
                      <a:custGeom>
                        <a:avLst/>
                        <a:gdLst>
                          <a:gd name="connsiteX0" fmla="*/ 89 w 44047"/>
                          <a:gd name="connsiteY0" fmla="*/ 42822 h 42822"/>
                          <a:gd name="connsiteX1" fmla="*/ 44048 w 44047"/>
                          <a:gd name="connsiteY1" fmla="*/ 0 h 42822"/>
                        </a:gdLst>
                        <a:ahLst/>
                        <a:cxnLst>
                          <a:cxn ang="0">
                            <a:pos x="connsiteX0" y="connsiteY0"/>
                          </a:cxn>
                          <a:cxn ang="0">
                            <a:pos x="connsiteX1" y="connsiteY1"/>
                          </a:cxn>
                        </a:cxnLst>
                        <a:rect l="l" t="t" r="r" b="b"/>
                        <a:pathLst>
                          <a:path w="44047" h="42822">
                            <a:moveTo>
                              <a:pt x="89" y="42822"/>
                            </a:moveTo>
                            <a:cubicBezTo>
                              <a:pt x="-2004" y="27152"/>
                              <a:pt x="33462" y="6698"/>
                              <a:pt x="44048" y="0"/>
                            </a:cubicBezTo>
                          </a:path>
                        </a:pathLst>
                      </a:custGeom>
                      <a:grpFill/>
                      <a:ln w="6350" cap="flat">
                        <a:solidFill>
                          <a:schemeClr val="bg1">
                            <a:alpha val="40000"/>
                          </a:schemeClr>
                        </a:solidFill>
                        <a:prstDash val="solid"/>
                        <a:miter/>
                      </a:ln>
                    </p:spPr>
                    <p:txBody>
                      <a:bodyPr rtlCol="0" anchor="ctr"/>
                      <a:lstStyle/>
                      <a:p>
                        <a:endParaRPr lang="en-GB"/>
                      </a:p>
                    </p:txBody>
                  </p:sp>
                  <p:sp>
                    <p:nvSpPr>
                      <p:cNvPr id="7273" name="Vrije vorm: vorm 7272">
                        <a:extLst>
                          <a:ext uri="{FF2B5EF4-FFF2-40B4-BE49-F238E27FC236}">
                            <a16:creationId xmlns:a16="http://schemas.microsoft.com/office/drawing/2014/main" id="{454C5BAC-8CCF-4E7F-B0E2-FFC5148F61A8}"/>
                          </a:ext>
                        </a:extLst>
                      </p:cNvPr>
                      <p:cNvSpPr/>
                      <p:nvPr/>
                    </p:nvSpPr>
                    <p:spPr>
                      <a:xfrm>
                        <a:off x="7001830" y="4845262"/>
                        <a:ext cx="54125" cy="75715"/>
                      </a:xfrm>
                      <a:custGeom>
                        <a:avLst/>
                        <a:gdLst>
                          <a:gd name="connsiteX0" fmla="*/ 54125 w 54125"/>
                          <a:gd name="connsiteY0" fmla="*/ 75716 h 75715"/>
                          <a:gd name="connsiteX1" fmla="*/ 0 w 54125"/>
                          <a:gd name="connsiteY1" fmla="*/ 0 h 75715"/>
                        </a:gdLst>
                        <a:ahLst/>
                        <a:cxnLst>
                          <a:cxn ang="0">
                            <a:pos x="connsiteX0" y="connsiteY0"/>
                          </a:cxn>
                          <a:cxn ang="0">
                            <a:pos x="connsiteX1" y="connsiteY1"/>
                          </a:cxn>
                        </a:cxnLst>
                        <a:rect l="l" t="t" r="r" b="b"/>
                        <a:pathLst>
                          <a:path w="54125" h="75715">
                            <a:moveTo>
                              <a:pt x="54125" y="75716"/>
                            </a:moveTo>
                            <a:lnTo>
                              <a:pt x="0" y="0"/>
                            </a:lnTo>
                          </a:path>
                        </a:pathLst>
                      </a:custGeom>
                      <a:grpFill/>
                      <a:ln w="6350" cap="flat">
                        <a:solidFill>
                          <a:schemeClr val="bg1">
                            <a:alpha val="40000"/>
                          </a:schemeClr>
                        </a:solidFill>
                        <a:prstDash val="solid"/>
                        <a:miter/>
                      </a:ln>
                    </p:spPr>
                    <p:txBody>
                      <a:bodyPr rtlCol="0" anchor="ctr"/>
                      <a:lstStyle/>
                      <a:p>
                        <a:endParaRPr lang="en-GB"/>
                      </a:p>
                    </p:txBody>
                  </p:sp>
                </p:grpSp>
              </p:grpSp>
              <p:grpSp>
                <p:nvGrpSpPr>
                  <p:cNvPr id="7247" name="Groep 7246">
                    <a:extLst>
                      <a:ext uri="{FF2B5EF4-FFF2-40B4-BE49-F238E27FC236}">
                        <a16:creationId xmlns:a16="http://schemas.microsoft.com/office/drawing/2014/main" id="{B37894FC-4ACD-4908-8312-81C4A1FC2F51}"/>
                      </a:ext>
                    </a:extLst>
                  </p:cNvPr>
                  <p:cNvGrpSpPr/>
                  <p:nvPr/>
                </p:nvGrpSpPr>
                <p:grpSpPr>
                  <a:xfrm>
                    <a:off x="7090584" y="4321590"/>
                    <a:ext cx="350470" cy="780056"/>
                    <a:chOff x="7090584" y="4321590"/>
                    <a:chExt cx="350470" cy="780056"/>
                  </a:xfrm>
                  <a:grpFill/>
                </p:grpSpPr>
                <p:grpSp>
                  <p:nvGrpSpPr>
                    <p:cNvPr id="7248" name="Graphic 3">
                      <a:extLst>
                        <a:ext uri="{FF2B5EF4-FFF2-40B4-BE49-F238E27FC236}">
                          <a16:creationId xmlns:a16="http://schemas.microsoft.com/office/drawing/2014/main" id="{572CA1E1-E2EA-4859-8A90-572910651580}"/>
                        </a:ext>
                      </a:extLst>
                    </p:cNvPr>
                    <p:cNvGrpSpPr/>
                    <p:nvPr/>
                  </p:nvGrpSpPr>
                  <p:grpSpPr>
                    <a:xfrm>
                      <a:off x="7211103" y="4937664"/>
                      <a:ext cx="176212" cy="163982"/>
                      <a:chOff x="7211103" y="4937664"/>
                      <a:chExt cx="176212" cy="163982"/>
                    </a:xfrm>
                    <a:grpFill/>
                  </p:grpSpPr>
                  <p:sp>
                    <p:nvSpPr>
                      <p:cNvPr id="7262" name="Vrije vorm: vorm 7261">
                        <a:extLst>
                          <a:ext uri="{FF2B5EF4-FFF2-40B4-BE49-F238E27FC236}">
                            <a16:creationId xmlns:a16="http://schemas.microsoft.com/office/drawing/2014/main" id="{41EC3628-62FD-48E0-B275-23EE6EE2B55C}"/>
                          </a:ext>
                        </a:extLst>
                      </p:cNvPr>
                      <p:cNvSpPr/>
                      <p:nvPr/>
                    </p:nvSpPr>
                    <p:spPr>
                      <a:xfrm>
                        <a:off x="7211103" y="4937664"/>
                        <a:ext cx="176212" cy="163982"/>
                      </a:xfrm>
                      <a:custGeom>
                        <a:avLst/>
                        <a:gdLst>
                          <a:gd name="connsiteX0" fmla="*/ 71044 w 176212"/>
                          <a:gd name="connsiteY0" fmla="*/ 4246 h 163982"/>
                          <a:gd name="connsiteX1" fmla="*/ 49513 w 176212"/>
                          <a:gd name="connsiteY1" fmla="*/ 0 h 163982"/>
                          <a:gd name="connsiteX2" fmla="*/ 63329 w 176212"/>
                          <a:gd name="connsiteY2" fmla="*/ 20454 h 163982"/>
                          <a:gd name="connsiteX3" fmla="*/ 110157 w 176212"/>
                          <a:gd name="connsiteY3" fmla="*/ 15131 h 163982"/>
                          <a:gd name="connsiteX4" fmla="*/ 168529 w 176212"/>
                          <a:gd name="connsiteY4" fmla="*/ 26076 h 163982"/>
                          <a:gd name="connsiteX5" fmla="*/ 152980 w 176212"/>
                          <a:gd name="connsiteY5" fmla="*/ 90010 h 163982"/>
                          <a:gd name="connsiteX6" fmla="*/ 145025 w 176212"/>
                          <a:gd name="connsiteY6" fmla="*/ 94256 h 163982"/>
                          <a:gd name="connsiteX7" fmla="*/ 126724 w 176212"/>
                          <a:gd name="connsiteY7" fmla="*/ 155200 h 163982"/>
                          <a:gd name="connsiteX8" fmla="*/ 74273 w 176212"/>
                          <a:gd name="connsiteY8" fmla="*/ 156695 h 163982"/>
                          <a:gd name="connsiteX9" fmla="*/ 7589 w 176212"/>
                          <a:gd name="connsiteY9" fmla="*/ 142281 h 163982"/>
                          <a:gd name="connsiteX10" fmla="*/ 22002 w 176212"/>
                          <a:gd name="connsiteY10" fmla="*/ 74161 h 163982"/>
                          <a:gd name="connsiteX11" fmla="*/ 76307 w 176212"/>
                          <a:gd name="connsiteY11" fmla="*/ 80381 h 16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6212" h="163982">
                            <a:moveTo>
                              <a:pt x="71044" y="4246"/>
                            </a:moveTo>
                            <a:lnTo>
                              <a:pt x="49513" y="0"/>
                            </a:lnTo>
                            <a:lnTo>
                              <a:pt x="63329" y="20454"/>
                            </a:lnTo>
                            <a:cubicBezTo>
                              <a:pt x="80433" y="46291"/>
                              <a:pt x="110157" y="15131"/>
                              <a:pt x="110157" y="15131"/>
                            </a:cubicBezTo>
                            <a:cubicBezTo>
                              <a:pt x="133004" y="60"/>
                              <a:pt x="153637" y="3528"/>
                              <a:pt x="168529" y="26076"/>
                            </a:cubicBezTo>
                            <a:cubicBezTo>
                              <a:pt x="183421" y="48623"/>
                              <a:pt x="175826" y="74878"/>
                              <a:pt x="152980" y="90010"/>
                            </a:cubicBezTo>
                            <a:cubicBezTo>
                              <a:pt x="150408" y="91685"/>
                              <a:pt x="147716" y="93120"/>
                              <a:pt x="145025" y="94256"/>
                            </a:cubicBezTo>
                            <a:cubicBezTo>
                              <a:pt x="154475" y="115727"/>
                              <a:pt x="147238" y="141683"/>
                              <a:pt x="126724" y="155200"/>
                            </a:cubicBezTo>
                            <a:cubicBezTo>
                              <a:pt x="110337" y="166025"/>
                              <a:pt x="90002" y="165905"/>
                              <a:pt x="74273" y="156695"/>
                            </a:cubicBezTo>
                            <a:cubicBezTo>
                              <a:pt x="51607" y="170451"/>
                              <a:pt x="22121" y="164230"/>
                              <a:pt x="7589" y="142281"/>
                            </a:cubicBezTo>
                            <a:cubicBezTo>
                              <a:pt x="-7303" y="119734"/>
                              <a:pt x="890" y="91565"/>
                              <a:pt x="22002" y="74161"/>
                            </a:cubicBezTo>
                            <a:cubicBezTo>
                              <a:pt x="39585" y="59687"/>
                              <a:pt x="62252" y="64113"/>
                              <a:pt x="76307" y="80381"/>
                            </a:cubicBezTo>
                          </a:path>
                        </a:pathLst>
                      </a:custGeom>
                      <a:grpFill/>
                      <a:ln w="6350" cap="rnd">
                        <a:solidFill>
                          <a:schemeClr val="bg1">
                            <a:alpha val="40000"/>
                          </a:schemeClr>
                        </a:solidFill>
                        <a:prstDash val="solid"/>
                        <a:round/>
                      </a:ln>
                    </p:spPr>
                    <p:txBody>
                      <a:bodyPr rtlCol="0" anchor="ctr"/>
                      <a:lstStyle/>
                      <a:p>
                        <a:endParaRPr lang="en-GB"/>
                      </a:p>
                    </p:txBody>
                  </p:sp>
                  <p:sp>
                    <p:nvSpPr>
                      <p:cNvPr id="7263" name="Vrije vorm: vorm 7262">
                        <a:extLst>
                          <a:ext uri="{FF2B5EF4-FFF2-40B4-BE49-F238E27FC236}">
                            <a16:creationId xmlns:a16="http://schemas.microsoft.com/office/drawing/2014/main" id="{FDE011BA-BE98-4208-B764-CCB58C07A371}"/>
                          </a:ext>
                        </a:extLst>
                      </p:cNvPr>
                      <p:cNvSpPr/>
                      <p:nvPr/>
                    </p:nvSpPr>
                    <p:spPr>
                      <a:xfrm>
                        <a:off x="7259121" y="4937724"/>
                        <a:ext cx="1435" cy="21171"/>
                      </a:xfrm>
                      <a:custGeom>
                        <a:avLst/>
                        <a:gdLst>
                          <a:gd name="connsiteX0" fmla="*/ 0 w 1435"/>
                          <a:gd name="connsiteY0" fmla="*/ 21172 h 21171"/>
                          <a:gd name="connsiteX1" fmla="*/ 1436 w 1435"/>
                          <a:gd name="connsiteY1" fmla="*/ 0 h 21171"/>
                        </a:gdLst>
                        <a:ahLst/>
                        <a:cxnLst>
                          <a:cxn ang="0">
                            <a:pos x="connsiteX0" y="connsiteY0"/>
                          </a:cxn>
                          <a:cxn ang="0">
                            <a:pos x="connsiteX1" y="connsiteY1"/>
                          </a:cxn>
                        </a:cxnLst>
                        <a:rect l="l" t="t" r="r" b="b"/>
                        <a:pathLst>
                          <a:path w="1435" h="21171">
                            <a:moveTo>
                              <a:pt x="0" y="21172"/>
                            </a:moveTo>
                            <a:lnTo>
                              <a:pt x="1436" y="0"/>
                            </a:lnTo>
                          </a:path>
                        </a:pathLst>
                      </a:custGeom>
                      <a:grpFill/>
                      <a:ln w="6350" cap="rnd">
                        <a:solidFill>
                          <a:schemeClr val="bg1">
                            <a:alpha val="40000"/>
                          </a:schemeClr>
                        </a:solidFill>
                        <a:prstDash val="solid"/>
                        <a:round/>
                      </a:ln>
                    </p:spPr>
                    <p:txBody>
                      <a:bodyPr rtlCol="0" anchor="ctr"/>
                      <a:lstStyle/>
                      <a:p>
                        <a:endParaRPr lang="en-GB"/>
                      </a:p>
                    </p:txBody>
                  </p:sp>
                  <p:sp>
                    <p:nvSpPr>
                      <p:cNvPr id="7264" name="Vrije vorm: vorm 7263">
                        <a:extLst>
                          <a:ext uri="{FF2B5EF4-FFF2-40B4-BE49-F238E27FC236}">
                            <a16:creationId xmlns:a16="http://schemas.microsoft.com/office/drawing/2014/main" id="{A0133689-6BDA-4157-8A6D-AC86D5AAD8C8}"/>
                          </a:ext>
                        </a:extLst>
                      </p:cNvPr>
                      <p:cNvSpPr/>
                      <p:nvPr/>
                    </p:nvSpPr>
                    <p:spPr>
                      <a:xfrm>
                        <a:off x="7286273" y="4998368"/>
                        <a:ext cx="2810" cy="21470"/>
                      </a:xfrm>
                      <a:custGeom>
                        <a:avLst/>
                        <a:gdLst>
                          <a:gd name="connsiteX0" fmla="*/ 2811 w 2810"/>
                          <a:gd name="connsiteY0" fmla="*/ 21471 h 21470"/>
                          <a:gd name="connsiteX1" fmla="*/ 0 w 2810"/>
                          <a:gd name="connsiteY1" fmla="*/ 0 h 21470"/>
                        </a:gdLst>
                        <a:ahLst/>
                        <a:cxnLst>
                          <a:cxn ang="0">
                            <a:pos x="connsiteX0" y="connsiteY0"/>
                          </a:cxn>
                          <a:cxn ang="0">
                            <a:pos x="connsiteX1" y="connsiteY1"/>
                          </a:cxn>
                        </a:cxnLst>
                        <a:rect l="l" t="t" r="r" b="b"/>
                        <a:pathLst>
                          <a:path w="2810" h="21470">
                            <a:moveTo>
                              <a:pt x="2811" y="21471"/>
                            </a:moveTo>
                            <a:lnTo>
                              <a:pt x="0" y="0"/>
                            </a:lnTo>
                          </a:path>
                        </a:pathLst>
                      </a:custGeom>
                      <a:grpFill/>
                      <a:ln w="6350" cap="rnd">
                        <a:solidFill>
                          <a:schemeClr val="bg1">
                            <a:alpha val="40000"/>
                          </a:schemeClr>
                        </a:solidFill>
                        <a:prstDash val="solid"/>
                        <a:round/>
                      </a:ln>
                    </p:spPr>
                    <p:txBody>
                      <a:bodyPr rtlCol="0" anchor="ctr"/>
                      <a:lstStyle/>
                      <a:p>
                        <a:endParaRPr lang="en-GB"/>
                      </a:p>
                    </p:txBody>
                  </p:sp>
                  <p:sp>
                    <p:nvSpPr>
                      <p:cNvPr id="7265" name="Vrije vorm: vorm 7264">
                        <a:extLst>
                          <a:ext uri="{FF2B5EF4-FFF2-40B4-BE49-F238E27FC236}">
                            <a16:creationId xmlns:a16="http://schemas.microsoft.com/office/drawing/2014/main" id="{B1755845-7E81-46B2-B061-677963066861}"/>
                          </a:ext>
                        </a:extLst>
                      </p:cNvPr>
                      <p:cNvSpPr/>
                      <p:nvPr/>
                    </p:nvSpPr>
                    <p:spPr>
                      <a:xfrm>
                        <a:off x="7267972" y="5015294"/>
                        <a:ext cx="21111" cy="4963"/>
                      </a:xfrm>
                      <a:custGeom>
                        <a:avLst/>
                        <a:gdLst>
                          <a:gd name="connsiteX0" fmla="*/ 21112 w 21111"/>
                          <a:gd name="connsiteY0" fmla="*/ 4964 h 4963"/>
                          <a:gd name="connsiteX1" fmla="*/ 0 w 21111"/>
                          <a:gd name="connsiteY1" fmla="*/ 0 h 4963"/>
                        </a:gdLst>
                        <a:ahLst/>
                        <a:cxnLst>
                          <a:cxn ang="0">
                            <a:pos x="connsiteX0" y="connsiteY0"/>
                          </a:cxn>
                          <a:cxn ang="0">
                            <a:pos x="connsiteX1" y="connsiteY1"/>
                          </a:cxn>
                        </a:cxnLst>
                        <a:rect l="l" t="t" r="r" b="b"/>
                        <a:pathLst>
                          <a:path w="21111" h="4963">
                            <a:moveTo>
                              <a:pt x="21112" y="4964"/>
                            </a:moveTo>
                            <a:lnTo>
                              <a:pt x="0" y="0"/>
                            </a:lnTo>
                          </a:path>
                        </a:pathLst>
                      </a:custGeom>
                      <a:grpFill/>
                      <a:ln w="6350" cap="rnd">
                        <a:solidFill>
                          <a:schemeClr val="bg1">
                            <a:alpha val="40000"/>
                          </a:schemeClr>
                        </a:solidFill>
                        <a:prstDash val="solid"/>
                        <a:round/>
                      </a:ln>
                    </p:spPr>
                    <p:txBody>
                      <a:bodyPr rtlCol="0" anchor="ctr"/>
                      <a:lstStyle/>
                      <a:p>
                        <a:endParaRPr lang="en-GB"/>
                      </a:p>
                    </p:txBody>
                  </p:sp>
                  <p:sp>
                    <p:nvSpPr>
                      <p:cNvPr id="7266" name="Vrije vorm: vorm 7265">
                        <a:extLst>
                          <a:ext uri="{FF2B5EF4-FFF2-40B4-BE49-F238E27FC236}">
                            <a16:creationId xmlns:a16="http://schemas.microsoft.com/office/drawing/2014/main" id="{5255BC7F-BD92-4A8F-B06C-8661F43ED19E}"/>
                          </a:ext>
                        </a:extLst>
                      </p:cNvPr>
                      <p:cNvSpPr/>
                      <p:nvPr/>
                    </p:nvSpPr>
                    <p:spPr>
                      <a:xfrm>
                        <a:off x="7327660" y="5021214"/>
                        <a:ext cx="28468" cy="10858"/>
                      </a:xfrm>
                      <a:custGeom>
                        <a:avLst/>
                        <a:gdLst>
                          <a:gd name="connsiteX0" fmla="*/ 28468 w 28468"/>
                          <a:gd name="connsiteY0" fmla="*/ 10706 h 10858"/>
                          <a:gd name="connsiteX1" fmla="*/ 0 w 28468"/>
                          <a:gd name="connsiteY1" fmla="*/ 0 h 10858"/>
                        </a:gdLst>
                        <a:ahLst/>
                        <a:cxnLst>
                          <a:cxn ang="0">
                            <a:pos x="connsiteX0" y="connsiteY0"/>
                          </a:cxn>
                          <a:cxn ang="0">
                            <a:pos x="connsiteX1" y="connsiteY1"/>
                          </a:cxn>
                        </a:cxnLst>
                        <a:rect l="l" t="t" r="r" b="b"/>
                        <a:pathLst>
                          <a:path w="28468" h="10858">
                            <a:moveTo>
                              <a:pt x="28468" y="10706"/>
                            </a:moveTo>
                            <a:cubicBezTo>
                              <a:pt x="28468" y="10706"/>
                              <a:pt x="5263" y="12978"/>
                              <a:pt x="0" y="0"/>
                            </a:cubicBezTo>
                          </a:path>
                        </a:pathLst>
                      </a:custGeom>
                      <a:grpFill/>
                      <a:ln w="6350" cap="rnd">
                        <a:solidFill>
                          <a:schemeClr val="bg1">
                            <a:alpha val="40000"/>
                          </a:schemeClr>
                        </a:solidFill>
                        <a:prstDash val="solid"/>
                        <a:round/>
                      </a:ln>
                    </p:spPr>
                    <p:txBody>
                      <a:bodyPr rtlCol="0" anchor="ctr"/>
                      <a:lstStyle/>
                      <a:p>
                        <a:endParaRPr lang="en-GB"/>
                      </a:p>
                    </p:txBody>
                  </p:sp>
                </p:grpSp>
                <p:grpSp>
                  <p:nvGrpSpPr>
                    <p:cNvPr id="7249" name="Groep 7248">
                      <a:extLst>
                        <a:ext uri="{FF2B5EF4-FFF2-40B4-BE49-F238E27FC236}">
                          <a16:creationId xmlns:a16="http://schemas.microsoft.com/office/drawing/2014/main" id="{85307358-6C4C-4F3C-948D-E8AF4F187132}"/>
                        </a:ext>
                      </a:extLst>
                    </p:cNvPr>
                    <p:cNvGrpSpPr/>
                    <p:nvPr/>
                  </p:nvGrpSpPr>
                  <p:grpSpPr>
                    <a:xfrm>
                      <a:off x="7090584" y="4321590"/>
                      <a:ext cx="350470" cy="647233"/>
                      <a:chOff x="7090584" y="4321590"/>
                      <a:chExt cx="350470" cy="647233"/>
                    </a:xfrm>
                    <a:grpFill/>
                  </p:grpSpPr>
                  <p:grpSp>
                    <p:nvGrpSpPr>
                      <p:cNvPr id="7250" name="Graphic 3">
                        <a:extLst>
                          <a:ext uri="{FF2B5EF4-FFF2-40B4-BE49-F238E27FC236}">
                            <a16:creationId xmlns:a16="http://schemas.microsoft.com/office/drawing/2014/main" id="{222C8D8D-4248-4C7F-ACC1-8D2749DC0C4D}"/>
                          </a:ext>
                        </a:extLst>
                      </p:cNvPr>
                      <p:cNvGrpSpPr/>
                      <p:nvPr/>
                    </p:nvGrpSpPr>
                    <p:grpSpPr>
                      <a:xfrm>
                        <a:off x="7211955" y="4823916"/>
                        <a:ext cx="52433" cy="54180"/>
                        <a:chOff x="7211955" y="4823916"/>
                        <a:chExt cx="52433" cy="54180"/>
                      </a:xfrm>
                      <a:grpFill/>
                    </p:grpSpPr>
                    <p:sp>
                      <p:nvSpPr>
                        <p:cNvPr id="7260" name="Vrije vorm: vorm 7259">
                          <a:extLst>
                            <a:ext uri="{FF2B5EF4-FFF2-40B4-BE49-F238E27FC236}">
                              <a16:creationId xmlns:a16="http://schemas.microsoft.com/office/drawing/2014/main" id="{33CC322D-569F-4F39-AAD6-18F904E7FAEE}"/>
                            </a:ext>
                          </a:extLst>
                        </p:cNvPr>
                        <p:cNvSpPr/>
                        <p:nvPr/>
                      </p:nvSpPr>
                      <p:spPr>
                        <a:xfrm>
                          <a:off x="7211955" y="4823916"/>
                          <a:ext cx="52433" cy="54180"/>
                        </a:xfrm>
                        <a:custGeom>
                          <a:avLst/>
                          <a:gdLst>
                            <a:gd name="connsiteX0" fmla="*/ 23004 w 52433"/>
                            <a:gd name="connsiteY0" fmla="*/ 54180 h 54180"/>
                            <a:gd name="connsiteX1" fmla="*/ 29583 w 52433"/>
                            <a:gd name="connsiteY1" fmla="*/ 47721 h 54180"/>
                            <a:gd name="connsiteX2" fmla="*/ 39511 w 52433"/>
                            <a:gd name="connsiteY2" fmla="*/ 45449 h 54180"/>
                            <a:gd name="connsiteX3" fmla="*/ 44295 w 52433"/>
                            <a:gd name="connsiteY3" fmla="*/ 37075 h 54180"/>
                            <a:gd name="connsiteX4" fmla="*/ 52429 w 52433"/>
                            <a:gd name="connsiteY4" fmla="*/ 32889 h 54180"/>
                            <a:gd name="connsiteX5" fmla="*/ 46568 w 52433"/>
                            <a:gd name="connsiteY5" fmla="*/ 13033 h 54180"/>
                            <a:gd name="connsiteX6" fmla="*/ 8052 w 52433"/>
                            <a:gd name="connsiteY6" fmla="*/ 2507 h 54180"/>
                            <a:gd name="connsiteX7" fmla="*/ 5959 w 52433"/>
                            <a:gd name="connsiteY7" fmla="*/ 42398 h 54180"/>
                            <a:gd name="connsiteX8" fmla="*/ 23004 w 52433"/>
                            <a:gd name="connsiteY8" fmla="*/ 54180 h 5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33" h="54180">
                              <a:moveTo>
                                <a:pt x="23004" y="54180"/>
                              </a:moveTo>
                              <a:cubicBezTo>
                                <a:pt x="24200" y="52326"/>
                                <a:pt x="26592" y="49874"/>
                                <a:pt x="29583" y="47721"/>
                              </a:cubicBezTo>
                              <a:cubicBezTo>
                                <a:pt x="31556" y="46286"/>
                                <a:pt x="38793" y="45329"/>
                                <a:pt x="39511" y="45449"/>
                              </a:cubicBezTo>
                              <a:cubicBezTo>
                                <a:pt x="39511" y="44611"/>
                                <a:pt x="42621" y="38332"/>
                                <a:pt x="44295" y="37075"/>
                              </a:cubicBezTo>
                              <a:cubicBezTo>
                                <a:pt x="47226" y="34922"/>
                                <a:pt x="50276" y="33427"/>
                                <a:pt x="52429" y="32889"/>
                              </a:cubicBezTo>
                              <a:cubicBezTo>
                                <a:pt x="52548" y="24456"/>
                                <a:pt x="50217" y="18057"/>
                                <a:pt x="46568" y="13033"/>
                              </a:cubicBezTo>
                              <a:cubicBezTo>
                                <a:pt x="42920" y="8009"/>
                                <a:pt x="29642" y="-5567"/>
                                <a:pt x="8052" y="2507"/>
                              </a:cubicBezTo>
                              <a:cubicBezTo>
                                <a:pt x="-6421" y="20449"/>
                                <a:pt x="2311" y="37374"/>
                                <a:pt x="5959" y="42398"/>
                              </a:cubicBezTo>
                              <a:cubicBezTo>
                                <a:pt x="9607" y="47422"/>
                                <a:pt x="14930" y="51609"/>
                                <a:pt x="23004" y="5418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61" name="Vrije vorm: vorm 7260">
                          <a:extLst>
                            <a:ext uri="{FF2B5EF4-FFF2-40B4-BE49-F238E27FC236}">
                              <a16:creationId xmlns:a16="http://schemas.microsoft.com/office/drawing/2014/main" id="{CAF49C44-CE68-4E0A-8406-3C1BC4DD1F97}"/>
                            </a:ext>
                          </a:extLst>
                        </p:cNvPr>
                        <p:cNvSpPr/>
                        <p:nvPr/>
                      </p:nvSpPr>
                      <p:spPr>
                        <a:xfrm>
                          <a:off x="7227446" y="4837442"/>
                          <a:ext cx="18503" cy="25739"/>
                        </a:xfrm>
                        <a:custGeom>
                          <a:avLst/>
                          <a:gdLst>
                            <a:gd name="connsiteX0" fmla="*/ 3327 w 18503"/>
                            <a:gd name="connsiteY0" fmla="*/ 25702 h 25739"/>
                            <a:gd name="connsiteX1" fmla="*/ 5001 w 18503"/>
                            <a:gd name="connsiteY1" fmla="*/ 25283 h 25739"/>
                            <a:gd name="connsiteX2" fmla="*/ 5898 w 18503"/>
                            <a:gd name="connsiteY2" fmla="*/ 23788 h 25739"/>
                            <a:gd name="connsiteX3" fmla="*/ 8948 w 18503"/>
                            <a:gd name="connsiteY3" fmla="*/ 6504 h 25739"/>
                            <a:gd name="connsiteX4" fmla="*/ 16424 w 18503"/>
                            <a:gd name="connsiteY4" fmla="*/ 7940 h 25739"/>
                            <a:gd name="connsiteX5" fmla="*/ 16424 w 18503"/>
                            <a:gd name="connsiteY5" fmla="*/ 7940 h 25739"/>
                            <a:gd name="connsiteX6" fmla="*/ 16424 w 18503"/>
                            <a:gd name="connsiteY6" fmla="*/ 7940 h 25739"/>
                            <a:gd name="connsiteX7" fmla="*/ 17381 w 18503"/>
                            <a:gd name="connsiteY7" fmla="*/ 7700 h 25739"/>
                            <a:gd name="connsiteX8" fmla="*/ 18278 w 18503"/>
                            <a:gd name="connsiteY8" fmla="*/ 5966 h 25739"/>
                            <a:gd name="connsiteX9" fmla="*/ 18457 w 18503"/>
                            <a:gd name="connsiteY9" fmla="*/ 4650 h 25739"/>
                            <a:gd name="connsiteX10" fmla="*/ 18159 w 18503"/>
                            <a:gd name="connsiteY10" fmla="*/ 2676 h 25739"/>
                            <a:gd name="connsiteX11" fmla="*/ 17321 w 18503"/>
                            <a:gd name="connsiteY11" fmla="*/ 2138 h 25739"/>
                            <a:gd name="connsiteX12" fmla="*/ 6257 w 18503"/>
                            <a:gd name="connsiteY12" fmla="*/ 45 h 25739"/>
                            <a:gd name="connsiteX13" fmla="*/ 4522 w 18503"/>
                            <a:gd name="connsiteY13" fmla="*/ 404 h 25739"/>
                            <a:gd name="connsiteX14" fmla="*/ 3625 w 18503"/>
                            <a:gd name="connsiteY14" fmla="*/ 1899 h 25739"/>
                            <a:gd name="connsiteX15" fmla="*/ 37 w 18503"/>
                            <a:gd name="connsiteY15" fmla="*/ 22831 h 25739"/>
                            <a:gd name="connsiteX16" fmla="*/ 455 w 18503"/>
                            <a:gd name="connsiteY16" fmla="*/ 24506 h 25739"/>
                            <a:gd name="connsiteX17" fmla="*/ 1950 w 18503"/>
                            <a:gd name="connsiteY17" fmla="*/ 25403 h 25739"/>
                            <a:gd name="connsiteX18" fmla="*/ 3327 w 18503"/>
                            <a:gd name="connsiteY18" fmla="*/ 25702 h 2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503" h="25739">
                              <a:moveTo>
                                <a:pt x="3327" y="25702"/>
                              </a:moveTo>
                              <a:cubicBezTo>
                                <a:pt x="3925" y="25822"/>
                                <a:pt x="4522" y="25642"/>
                                <a:pt x="5001" y="25283"/>
                              </a:cubicBezTo>
                              <a:cubicBezTo>
                                <a:pt x="5480" y="24925"/>
                                <a:pt x="5838" y="24386"/>
                                <a:pt x="5898" y="23788"/>
                              </a:cubicBezTo>
                              <a:lnTo>
                                <a:pt x="8948" y="6504"/>
                              </a:lnTo>
                              <a:lnTo>
                                <a:pt x="16424" y="7940"/>
                              </a:lnTo>
                              <a:lnTo>
                                <a:pt x="16424" y="7940"/>
                              </a:lnTo>
                              <a:lnTo>
                                <a:pt x="16424" y="7940"/>
                              </a:lnTo>
                              <a:cubicBezTo>
                                <a:pt x="16783" y="7999"/>
                                <a:pt x="17082" y="7880"/>
                                <a:pt x="17381" y="7700"/>
                              </a:cubicBezTo>
                              <a:cubicBezTo>
                                <a:pt x="17859" y="7341"/>
                                <a:pt x="18159" y="6743"/>
                                <a:pt x="18278" y="5966"/>
                              </a:cubicBezTo>
                              <a:lnTo>
                                <a:pt x="18457" y="4650"/>
                              </a:lnTo>
                              <a:cubicBezTo>
                                <a:pt x="18577" y="3873"/>
                                <a:pt x="18457" y="3155"/>
                                <a:pt x="18159" y="2676"/>
                              </a:cubicBezTo>
                              <a:cubicBezTo>
                                <a:pt x="17919" y="2377"/>
                                <a:pt x="17680" y="2198"/>
                                <a:pt x="17321" y="2138"/>
                              </a:cubicBezTo>
                              <a:lnTo>
                                <a:pt x="6257" y="45"/>
                              </a:lnTo>
                              <a:cubicBezTo>
                                <a:pt x="5658" y="-75"/>
                                <a:pt x="5001" y="45"/>
                                <a:pt x="4522" y="404"/>
                              </a:cubicBezTo>
                              <a:cubicBezTo>
                                <a:pt x="4044" y="763"/>
                                <a:pt x="3685" y="1301"/>
                                <a:pt x="3625" y="1899"/>
                              </a:cubicBezTo>
                              <a:lnTo>
                                <a:pt x="37" y="22831"/>
                              </a:lnTo>
                              <a:cubicBezTo>
                                <a:pt x="-83" y="23429"/>
                                <a:pt x="97" y="24028"/>
                                <a:pt x="455" y="24506"/>
                              </a:cubicBezTo>
                              <a:cubicBezTo>
                                <a:pt x="814" y="24984"/>
                                <a:pt x="1353" y="25343"/>
                                <a:pt x="1950" y="25403"/>
                              </a:cubicBezTo>
                              <a:lnTo>
                                <a:pt x="3327" y="25702"/>
                              </a:ln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7251" name="Graphic 3">
                        <a:extLst>
                          <a:ext uri="{FF2B5EF4-FFF2-40B4-BE49-F238E27FC236}">
                            <a16:creationId xmlns:a16="http://schemas.microsoft.com/office/drawing/2014/main" id="{65695A35-5B1C-43F2-81AA-C1A19CB81515}"/>
                          </a:ext>
                        </a:extLst>
                      </p:cNvPr>
                      <p:cNvGrpSpPr/>
                      <p:nvPr/>
                    </p:nvGrpSpPr>
                    <p:grpSpPr>
                      <a:xfrm>
                        <a:off x="7095784" y="4915317"/>
                        <a:ext cx="51857" cy="53506"/>
                        <a:chOff x="7095784" y="4915317"/>
                        <a:chExt cx="51857" cy="53506"/>
                      </a:xfrm>
                      <a:grpFill/>
                    </p:grpSpPr>
                    <p:sp>
                      <p:nvSpPr>
                        <p:cNvPr id="7258" name="Vrije vorm: vorm 7257">
                          <a:extLst>
                            <a:ext uri="{FF2B5EF4-FFF2-40B4-BE49-F238E27FC236}">
                              <a16:creationId xmlns:a16="http://schemas.microsoft.com/office/drawing/2014/main" id="{71ECC347-0696-49A8-9752-C90A376ED155}"/>
                            </a:ext>
                          </a:extLst>
                        </p:cNvPr>
                        <p:cNvSpPr/>
                        <p:nvPr/>
                      </p:nvSpPr>
                      <p:spPr>
                        <a:xfrm>
                          <a:off x="7095784" y="4915317"/>
                          <a:ext cx="51857" cy="53506"/>
                        </a:xfrm>
                        <a:custGeom>
                          <a:avLst/>
                          <a:gdLst>
                            <a:gd name="connsiteX0" fmla="*/ 22670 w 51857"/>
                            <a:gd name="connsiteY0" fmla="*/ 53506 h 53506"/>
                            <a:gd name="connsiteX1" fmla="*/ 29189 w 51857"/>
                            <a:gd name="connsiteY1" fmla="*/ 47167 h 53506"/>
                            <a:gd name="connsiteX2" fmla="*/ 38998 w 51857"/>
                            <a:gd name="connsiteY2" fmla="*/ 44954 h 53506"/>
                            <a:gd name="connsiteX3" fmla="*/ 43783 w 51857"/>
                            <a:gd name="connsiteY3" fmla="*/ 36700 h 53506"/>
                            <a:gd name="connsiteX4" fmla="*/ 51856 w 51857"/>
                            <a:gd name="connsiteY4" fmla="*/ 32574 h 53506"/>
                            <a:gd name="connsiteX5" fmla="*/ 46055 w 51857"/>
                            <a:gd name="connsiteY5" fmla="*/ 12897 h 53506"/>
                            <a:gd name="connsiteX6" fmla="*/ 7957 w 51857"/>
                            <a:gd name="connsiteY6" fmla="*/ 2491 h 53506"/>
                            <a:gd name="connsiteX7" fmla="*/ 5864 w 51857"/>
                            <a:gd name="connsiteY7" fmla="*/ 41904 h 53506"/>
                            <a:gd name="connsiteX8" fmla="*/ 22670 w 51857"/>
                            <a:gd name="connsiteY8" fmla="*/ 53506 h 5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57" h="53506">
                              <a:moveTo>
                                <a:pt x="22670" y="53506"/>
                              </a:moveTo>
                              <a:cubicBezTo>
                                <a:pt x="23866" y="51652"/>
                                <a:pt x="26259" y="49260"/>
                                <a:pt x="29189" y="47167"/>
                              </a:cubicBezTo>
                              <a:cubicBezTo>
                                <a:pt x="31163" y="45731"/>
                                <a:pt x="38280" y="44835"/>
                                <a:pt x="38998" y="44954"/>
                              </a:cubicBezTo>
                              <a:cubicBezTo>
                                <a:pt x="38998" y="44117"/>
                                <a:pt x="42048" y="37897"/>
                                <a:pt x="43783" y="36700"/>
                              </a:cubicBezTo>
                              <a:cubicBezTo>
                                <a:pt x="46713" y="34607"/>
                                <a:pt x="49703" y="33112"/>
                                <a:pt x="51856" y="32574"/>
                              </a:cubicBezTo>
                              <a:cubicBezTo>
                                <a:pt x="51916" y="24201"/>
                                <a:pt x="49703" y="17861"/>
                                <a:pt x="46055" y="12897"/>
                              </a:cubicBezTo>
                              <a:cubicBezTo>
                                <a:pt x="42466" y="7933"/>
                                <a:pt x="29309" y="-5523"/>
                                <a:pt x="7957" y="2491"/>
                              </a:cubicBezTo>
                              <a:cubicBezTo>
                                <a:pt x="-6336" y="20254"/>
                                <a:pt x="2276" y="36940"/>
                                <a:pt x="5864" y="41904"/>
                              </a:cubicBezTo>
                              <a:cubicBezTo>
                                <a:pt x="9453" y="46808"/>
                                <a:pt x="14775" y="50935"/>
                                <a:pt x="22670" y="5350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59" name="Vrije vorm: vorm 7258">
                          <a:extLst>
                            <a:ext uri="{FF2B5EF4-FFF2-40B4-BE49-F238E27FC236}">
                              <a16:creationId xmlns:a16="http://schemas.microsoft.com/office/drawing/2014/main" id="{02CB48EF-EFCD-43C8-ACFD-15D7DEEDF1FC}"/>
                            </a:ext>
                          </a:extLst>
                        </p:cNvPr>
                        <p:cNvSpPr/>
                        <p:nvPr/>
                      </p:nvSpPr>
                      <p:spPr>
                        <a:xfrm>
                          <a:off x="7111181" y="4928708"/>
                          <a:ext cx="18324" cy="25320"/>
                        </a:xfrm>
                        <a:custGeom>
                          <a:avLst/>
                          <a:gdLst>
                            <a:gd name="connsiteX0" fmla="*/ 3207 w 18324"/>
                            <a:gd name="connsiteY0" fmla="*/ 25283 h 25320"/>
                            <a:gd name="connsiteX1" fmla="*/ 4881 w 18324"/>
                            <a:gd name="connsiteY1" fmla="*/ 24865 h 25320"/>
                            <a:gd name="connsiteX2" fmla="*/ 5779 w 18324"/>
                            <a:gd name="connsiteY2" fmla="*/ 23429 h 25320"/>
                            <a:gd name="connsiteX3" fmla="*/ 8829 w 18324"/>
                            <a:gd name="connsiteY3" fmla="*/ 6325 h 25320"/>
                            <a:gd name="connsiteX4" fmla="*/ 16245 w 18324"/>
                            <a:gd name="connsiteY4" fmla="*/ 7760 h 25320"/>
                            <a:gd name="connsiteX5" fmla="*/ 16245 w 18324"/>
                            <a:gd name="connsiteY5" fmla="*/ 7760 h 25320"/>
                            <a:gd name="connsiteX6" fmla="*/ 16245 w 18324"/>
                            <a:gd name="connsiteY6" fmla="*/ 7760 h 25320"/>
                            <a:gd name="connsiteX7" fmla="*/ 17201 w 18324"/>
                            <a:gd name="connsiteY7" fmla="*/ 7521 h 25320"/>
                            <a:gd name="connsiteX8" fmla="*/ 18099 w 18324"/>
                            <a:gd name="connsiteY8" fmla="*/ 5786 h 25320"/>
                            <a:gd name="connsiteX9" fmla="*/ 18278 w 18324"/>
                            <a:gd name="connsiteY9" fmla="*/ 4530 h 25320"/>
                            <a:gd name="connsiteX10" fmla="*/ 17979 w 18324"/>
                            <a:gd name="connsiteY10" fmla="*/ 2617 h 25320"/>
                            <a:gd name="connsiteX11" fmla="*/ 17142 w 18324"/>
                            <a:gd name="connsiteY11" fmla="*/ 2078 h 25320"/>
                            <a:gd name="connsiteX12" fmla="*/ 6197 w 18324"/>
                            <a:gd name="connsiteY12" fmla="*/ 45 h 25320"/>
                            <a:gd name="connsiteX13" fmla="*/ 4463 w 18324"/>
                            <a:gd name="connsiteY13" fmla="*/ 404 h 25320"/>
                            <a:gd name="connsiteX14" fmla="*/ 3566 w 18324"/>
                            <a:gd name="connsiteY14" fmla="*/ 1899 h 25320"/>
                            <a:gd name="connsiteX15" fmla="*/ 37 w 18324"/>
                            <a:gd name="connsiteY15" fmla="*/ 22592 h 25320"/>
                            <a:gd name="connsiteX16" fmla="*/ 456 w 18324"/>
                            <a:gd name="connsiteY16" fmla="*/ 24267 h 25320"/>
                            <a:gd name="connsiteX17" fmla="*/ 1891 w 18324"/>
                            <a:gd name="connsiteY17" fmla="*/ 25164 h 25320"/>
                            <a:gd name="connsiteX18" fmla="*/ 3207 w 18324"/>
                            <a:gd name="connsiteY18" fmla="*/ 25283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324" h="25320">
                              <a:moveTo>
                                <a:pt x="3207" y="25283"/>
                              </a:moveTo>
                              <a:cubicBezTo>
                                <a:pt x="3805" y="25403"/>
                                <a:pt x="4403" y="25224"/>
                                <a:pt x="4881" y="24865"/>
                              </a:cubicBezTo>
                              <a:cubicBezTo>
                                <a:pt x="5360" y="24506"/>
                                <a:pt x="5719" y="23968"/>
                                <a:pt x="5779" y="23429"/>
                              </a:cubicBezTo>
                              <a:lnTo>
                                <a:pt x="8829" y="6325"/>
                              </a:lnTo>
                              <a:lnTo>
                                <a:pt x="16245" y="7760"/>
                              </a:lnTo>
                              <a:lnTo>
                                <a:pt x="16245" y="7760"/>
                              </a:lnTo>
                              <a:lnTo>
                                <a:pt x="16245" y="7760"/>
                              </a:lnTo>
                              <a:cubicBezTo>
                                <a:pt x="16603" y="7820"/>
                                <a:pt x="16903" y="7700"/>
                                <a:pt x="17201" y="7521"/>
                              </a:cubicBezTo>
                              <a:cubicBezTo>
                                <a:pt x="17680" y="7221"/>
                                <a:pt x="17979" y="6564"/>
                                <a:pt x="18099" y="5786"/>
                              </a:cubicBezTo>
                              <a:lnTo>
                                <a:pt x="18278" y="4530"/>
                              </a:lnTo>
                              <a:cubicBezTo>
                                <a:pt x="18398" y="3753"/>
                                <a:pt x="18278" y="3035"/>
                                <a:pt x="17979" y="2617"/>
                              </a:cubicBezTo>
                              <a:cubicBezTo>
                                <a:pt x="17800" y="2318"/>
                                <a:pt x="17501" y="2138"/>
                                <a:pt x="17142" y="2078"/>
                              </a:cubicBezTo>
                              <a:lnTo>
                                <a:pt x="6197" y="45"/>
                              </a:lnTo>
                              <a:cubicBezTo>
                                <a:pt x="5599" y="-75"/>
                                <a:pt x="5001" y="45"/>
                                <a:pt x="4463" y="404"/>
                              </a:cubicBezTo>
                              <a:cubicBezTo>
                                <a:pt x="3984" y="763"/>
                                <a:pt x="3686" y="1301"/>
                                <a:pt x="3566" y="1899"/>
                              </a:cubicBezTo>
                              <a:lnTo>
                                <a:pt x="37" y="22592"/>
                              </a:lnTo>
                              <a:cubicBezTo>
                                <a:pt x="-82" y="23190"/>
                                <a:pt x="97" y="23788"/>
                                <a:pt x="456" y="24267"/>
                              </a:cubicBezTo>
                              <a:cubicBezTo>
                                <a:pt x="814" y="24745"/>
                                <a:pt x="1353" y="25104"/>
                                <a:pt x="1891" y="25164"/>
                              </a:cubicBezTo>
                              <a:lnTo>
                                <a:pt x="3207" y="25283"/>
                              </a:ln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7252" name="Graphic 3">
                        <a:extLst>
                          <a:ext uri="{FF2B5EF4-FFF2-40B4-BE49-F238E27FC236}">
                            <a16:creationId xmlns:a16="http://schemas.microsoft.com/office/drawing/2014/main" id="{BBBA2D8C-DA2C-4FE7-8D84-E8CD1360868B}"/>
                          </a:ext>
                        </a:extLst>
                      </p:cNvPr>
                      <p:cNvGrpSpPr/>
                      <p:nvPr/>
                    </p:nvGrpSpPr>
                    <p:grpSpPr>
                      <a:xfrm>
                        <a:off x="7143429" y="4855593"/>
                        <a:ext cx="58938" cy="60899"/>
                        <a:chOff x="7143429" y="4855593"/>
                        <a:chExt cx="58938" cy="60899"/>
                      </a:xfrm>
                      <a:grpFill/>
                    </p:grpSpPr>
                    <p:sp>
                      <p:nvSpPr>
                        <p:cNvPr id="7255" name="Vrije vorm: vorm 7254">
                          <a:extLst>
                            <a:ext uri="{FF2B5EF4-FFF2-40B4-BE49-F238E27FC236}">
                              <a16:creationId xmlns:a16="http://schemas.microsoft.com/office/drawing/2014/main" id="{3C0F1FF2-BE79-46A6-A9E9-B36023A60D2E}"/>
                            </a:ext>
                          </a:extLst>
                        </p:cNvPr>
                        <p:cNvSpPr/>
                        <p:nvPr/>
                      </p:nvSpPr>
                      <p:spPr>
                        <a:xfrm>
                          <a:off x="7143429" y="4855593"/>
                          <a:ext cx="58938" cy="60899"/>
                        </a:xfrm>
                        <a:custGeom>
                          <a:avLst/>
                          <a:gdLst>
                            <a:gd name="connsiteX0" fmla="*/ 25921 w 58938"/>
                            <a:gd name="connsiteY0" fmla="*/ 60899 h 60899"/>
                            <a:gd name="connsiteX1" fmla="*/ 33277 w 58938"/>
                            <a:gd name="connsiteY1" fmla="*/ 53663 h 60899"/>
                            <a:gd name="connsiteX2" fmla="*/ 44401 w 58938"/>
                            <a:gd name="connsiteY2" fmla="*/ 51151 h 60899"/>
                            <a:gd name="connsiteX3" fmla="*/ 49784 w 58938"/>
                            <a:gd name="connsiteY3" fmla="*/ 41761 h 60899"/>
                            <a:gd name="connsiteX4" fmla="*/ 58935 w 58938"/>
                            <a:gd name="connsiteY4" fmla="*/ 37036 h 60899"/>
                            <a:gd name="connsiteX5" fmla="*/ 52355 w 58938"/>
                            <a:gd name="connsiteY5" fmla="*/ 14668 h 60899"/>
                            <a:gd name="connsiteX6" fmla="*/ 9055 w 58938"/>
                            <a:gd name="connsiteY6" fmla="*/ 2827 h 60899"/>
                            <a:gd name="connsiteX7" fmla="*/ 6662 w 58938"/>
                            <a:gd name="connsiteY7" fmla="*/ 47682 h 60899"/>
                            <a:gd name="connsiteX8" fmla="*/ 25921 w 58938"/>
                            <a:gd name="connsiteY8" fmla="*/ 60899 h 6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38" h="60899">
                              <a:moveTo>
                                <a:pt x="25921" y="60899"/>
                              </a:moveTo>
                              <a:cubicBezTo>
                                <a:pt x="27237" y="58806"/>
                                <a:pt x="29987" y="56055"/>
                                <a:pt x="33277" y="53663"/>
                              </a:cubicBezTo>
                              <a:cubicBezTo>
                                <a:pt x="35490" y="52048"/>
                                <a:pt x="43624" y="51031"/>
                                <a:pt x="44401" y="51151"/>
                              </a:cubicBezTo>
                              <a:cubicBezTo>
                                <a:pt x="44461" y="50194"/>
                                <a:pt x="47870" y="43137"/>
                                <a:pt x="49784" y="41761"/>
                              </a:cubicBezTo>
                              <a:cubicBezTo>
                                <a:pt x="53133" y="39369"/>
                                <a:pt x="56542" y="37694"/>
                                <a:pt x="58935" y="37036"/>
                              </a:cubicBezTo>
                              <a:cubicBezTo>
                                <a:pt x="59054" y="27527"/>
                                <a:pt x="56482" y="20350"/>
                                <a:pt x="52355" y="14668"/>
                              </a:cubicBezTo>
                              <a:cubicBezTo>
                                <a:pt x="48289" y="8987"/>
                                <a:pt x="33277" y="-6264"/>
                                <a:pt x="9055" y="2827"/>
                              </a:cubicBezTo>
                              <a:cubicBezTo>
                                <a:pt x="-7212" y="22982"/>
                                <a:pt x="2596" y="42000"/>
                                <a:pt x="6662" y="47682"/>
                              </a:cubicBezTo>
                              <a:cubicBezTo>
                                <a:pt x="10849" y="53304"/>
                                <a:pt x="16890" y="58029"/>
                                <a:pt x="25921" y="6089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56" name="Vrije vorm: vorm 7255">
                          <a:extLst>
                            <a:ext uri="{FF2B5EF4-FFF2-40B4-BE49-F238E27FC236}">
                              <a16:creationId xmlns:a16="http://schemas.microsoft.com/office/drawing/2014/main" id="{D1195B50-64F6-4520-9BC0-5C1CE9309611}"/>
                            </a:ext>
                          </a:extLst>
                        </p:cNvPr>
                        <p:cNvSpPr/>
                        <p:nvPr/>
                      </p:nvSpPr>
                      <p:spPr>
                        <a:xfrm>
                          <a:off x="7166234" y="4877774"/>
                          <a:ext cx="14741" cy="18047"/>
                        </a:xfrm>
                        <a:custGeom>
                          <a:avLst/>
                          <a:gdLst>
                            <a:gd name="connsiteX0" fmla="*/ 1262 w 14741"/>
                            <a:gd name="connsiteY0" fmla="*/ 561 h 18047"/>
                            <a:gd name="connsiteX1" fmla="*/ 1262 w 14741"/>
                            <a:gd name="connsiteY1" fmla="*/ 561 h 18047"/>
                            <a:gd name="connsiteX2" fmla="*/ 5449 w 14741"/>
                            <a:gd name="connsiteY2" fmla="*/ 1219 h 18047"/>
                            <a:gd name="connsiteX3" fmla="*/ 14180 w 14741"/>
                            <a:gd name="connsiteY3" fmla="*/ 13300 h 18047"/>
                            <a:gd name="connsiteX4" fmla="*/ 13522 w 14741"/>
                            <a:gd name="connsiteY4" fmla="*/ 17486 h 18047"/>
                            <a:gd name="connsiteX5" fmla="*/ 13522 w 14741"/>
                            <a:gd name="connsiteY5" fmla="*/ 17486 h 18047"/>
                            <a:gd name="connsiteX6" fmla="*/ 9336 w 14741"/>
                            <a:gd name="connsiteY6" fmla="*/ 16828 h 18047"/>
                            <a:gd name="connsiteX7" fmla="*/ 604 w 14741"/>
                            <a:gd name="connsiteY7" fmla="*/ 4747 h 18047"/>
                            <a:gd name="connsiteX8" fmla="*/ 1262 w 14741"/>
                            <a:gd name="connsiteY8" fmla="*/ 561 h 18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41" h="18047">
                              <a:moveTo>
                                <a:pt x="1262" y="561"/>
                              </a:moveTo>
                              <a:lnTo>
                                <a:pt x="1262" y="561"/>
                              </a:lnTo>
                              <a:cubicBezTo>
                                <a:pt x="2577" y="-396"/>
                                <a:pt x="4492" y="-97"/>
                                <a:pt x="5449" y="1219"/>
                              </a:cubicBezTo>
                              <a:lnTo>
                                <a:pt x="14180" y="13300"/>
                              </a:lnTo>
                              <a:cubicBezTo>
                                <a:pt x="15137" y="14616"/>
                                <a:pt x="14838" y="16529"/>
                                <a:pt x="13522" y="17486"/>
                              </a:cubicBezTo>
                              <a:lnTo>
                                <a:pt x="13522" y="17486"/>
                              </a:lnTo>
                              <a:cubicBezTo>
                                <a:pt x="12207" y="18443"/>
                                <a:pt x="10293" y="18144"/>
                                <a:pt x="9336" y="16828"/>
                              </a:cubicBezTo>
                              <a:lnTo>
                                <a:pt x="604" y="4747"/>
                              </a:lnTo>
                              <a:cubicBezTo>
                                <a:pt x="-413" y="3432"/>
                                <a:pt x="-114" y="1518"/>
                                <a:pt x="1262" y="56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57" name="Vrije vorm: vorm 7256">
                          <a:extLst>
                            <a:ext uri="{FF2B5EF4-FFF2-40B4-BE49-F238E27FC236}">
                              <a16:creationId xmlns:a16="http://schemas.microsoft.com/office/drawing/2014/main" id="{28470CAC-3E5C-47E6-9558-5ACC59EA11DA}"/>
                            </a:ext>
                          </a:extLst>
                        </p:cNvPr>
                        <p:cNvSpPr/>
                        <p:nvPr/>
                      </p:nvSpPr>
                      <p:spPr>
                        <a:xfrm>
                          <a:off x="7159044" y="4868176"/>
                          <a:ext cx="7530" cy="7665"/>
                        </a:xfrm>
                        <a:custGeom>
                          <a:avLst/>
                          <a:gdLst>
                            <a:gd name="connsiteX0" fmla="*/ 5851 w 7530"/>
                            <a:gd name="connsiteY0" fmla="*/ 2327 h 7665"/>
                            <a:gd name="connsiteX1" fmla="*/ 5446 w 7530"/>
                            <a:gd name="connsiteY1" fmla="*/ 6160 h 7665"/>
                            <a:gd name="connsiteX2" fmla="*/ 1680 w 7530"/>
                            <a:gd name="connsiteY2" fmla="*/ 5339 h 7665"/>
                            <a:gd name="connsiteX3" fmla="*/ 2085 w 7530"/>
                            <a:gd name="connsiteY3" fmla="*/ 1506 h 7665"/>
                            <a:gd name="connsiteX4" fmla="*/ 5851 w 7530"/>
                            <a:gd name="connsiteY4" fmla="*/ 2327 h 7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0" h="7665">
                              <a:moveTo>
                                <a:pt x="5851" y="2327"/>
                              </a:moveTo>
                              <a:cubicBezTo>
                                <a:pt x="6779" y="3612"/>
                                <a:pt x="6598" y="5328"/>
                                <a:pt x="5446" y="6160"/>
                              </a:cubicBezTo>
                              <a:cubicBezTo>
                                <a:pt x="4295" y="6991"/>
                                <a:pt x="2608" y="6624"/>
                                <a:pt x="1680" y="5339"/>
                              </a:cubicBezTo>
                              <a:cubicBezTo>
                                <a:pt x="752" y="4053"/>
                                <a:pt x="933" y="2337"/>
                                <a:pt x="2085" y="1506"/>
                              </a:cubicBezTo>
                              <a:cubicBezTo>
                                <a:pt x="3236" y="674"/>
                                <a:pt x="4922" y="1042"/>
                                <a:pt x="5851" y="2327"/>
                              </a:cubicBezTo>
                              <a:close/>
                            </a:path>
                          </a:pathLst>
                        </a:custGeom>
                        <a:grpFill/>
                        <a:ln w="6350" cap="flat">
                          <a:solidFill>
                            <a:schemeClr val="bg1">
                              <a:alpha val="40000"/>
                            </a:schemeClr>
                          </a:solidFill>
                          <a:prstDash val="solid"/>
                          <a:miter/>
                        </a:ln>
                      </p:spPr>
                      <p:txBody>
                        <a:bodyPr rtlCol="0" anchor="ctr"/>
                        <a:lstStyle/>
                        <a:p>
                          <a:endParaRPr lang="en-GB"/>
                        </a:p>
                      </p:txBody>
                    </p:sp>
                  </p:grpSp>
                  <p:sp>
                    <p:nvSpPr>
                      <p:cNvPr id="7253" name="Vrije vorm: vorm 7252">
                        <a:extLst>
                          <a:ext uri="{FF2B5EF4-FFF2-40B4-BE49-F238E27FC236}">
                            <a16:creationId xmlns:a16="http://schemas.microsoft.com/office/drawing/2014/main" id="{5EE73A28-9302-46BC-9709-DFEC277B4808}"/>
                          </a:ext>
                        </a:extLst>
                      </p:cNvPr>
                      <p:cNvSpPr/>
                      <p:nvPr/>
                    </p:nvSpPr>
                    <p:spPr>
                      <a:xfrm>
                        <a:off x="7090584" y="4321590"/>
                        <a:ext cx="350470" cy="400528"/>
                      </a:xfrm>
                      <a:custGeom>
                        <a:avLst/>
                        <a:gdLst>
                          <a:gd name="connsiteX0" fmla="*/ 350470 w 350470"/>
                          <a:gd name="connsiteY0" fmla="*/ 0 h 400528"/>
                          <a:gd name="connsiteX1" fmla="*/ 28648 w 350470"/>
                          <a:gd name="connsiteY1" fmla="*/ 325052 h 400528"/>
                          <a:gd name="connsiteX2" fmla="*/ 0 w 350470"/>
                          <a:gd name="connsiteY2" fmla="*/ 400529 h 400528"/>
                        </a:gdLst>
                        <a:ahLst/>
                        <a:cxnLst>
                          <a:cxn ang="0">
                            <a:pos x="connsiteX0" y="connsiteY0"/>
                          </a:cxn>
                          <a:cxn ang="0">
                            <a:pos x="connsiteX1" y="connsiteY1"/>
                          </a:cxn>
                          <a:cxn ang="0">
                            <a:pos x="connsiteX2" y="connsiteY2"/>
                          </a:cxn>
                        </a:cxnLst>
                        <a:rect l="l" t="t" r="r" b="b"/>
                        <a:pathLst>
                          <a:path w="350470" h="400528">
                            <a:moveTo>
                              <a:pt x="350470" y="0"/>
                            </a:moveTo>
                            <a:lnTo>
                              <a:pt x="28648" y="325052"/>
                            </a:lnTo>
                            <a:lnTo>
                              <a:pt x="0" y="400529"/>
                            </a:lnTo>
                          </a:path>
                        </a:pathLst>
                      </a:custGeom>
                      <a:grpFill/>
                      <a:ln w="6350" cap="flat">
                        <a:solidFill>
                          <a:schemeClr val="bg1">
                            <a:alpha val="40000"/>
                          </a:schemeClr>
                        </a:solidFill>
                        <a:prstDash val="solid"/>
                        <a:miter/>
                      </a:ln>
                    </p:spPr>
                    <p:txBody>
                      <a:bodyPr rtlCol="0" anchor="ctr"/>
                      <a:lstStyle/>
                      <a:p>
                        <a:endParaRPr lang="en-GB"/>
                      </a:p>
                    </p:txBody>
                  </p:sp>
                  <p:sp>
                    <p:nvSpPr>
                      <p:cNvPr id="7254" name="Vrije vorm: vorm 7253">
                        <a:extLst>
                          <a:ext uri="{FF2B5EF4-FFF2-40B4-BE49-F238E27FC236}">
                            <a16:creationId xmlns:a16="http://schemas.microsoft.com/office/drawing/2014/main" id="{C97EE3E0-6CD2-4625-A7F0-066ABFD3E6EE}"/>
                          </a:ext>
                        </a:extLst>
                      </p:cNvPr>
                      <p:cNvSpPr/>
                      <p:nvPr/>
                    </p:nvSpPr>
                    <p:spPr>
                      <a:xfrm>
                        <a:off x="7130416" y="4633006"/>
                        <a:ext cx="38934" cy="103885"/>
                      </a:xfrm>
                      <a:custGeom>
                        <a:avLst/>
                        <a:gdLst>
                          <a:gd name="connsiteX0" fmla="*/ 38935 w 38934"/>
                          <a:gd name="connsiteY0" fmla="*/ 0 h 103885"/>
                          <a:gd name="connsiteX1" fmla="*/ 0 w 38934"/>
                          <a:gd name="connsiteY1" fmla="*/ 103885 h 103885"/>
                        </a:gdLst>
                        <a:ahLst/>
                        <a:cxnLst>
                          <a:cxn ang="0">
                            <a:pos x="connsiteX0" y="connsiteY0"/>
                          </a:cxn>
                          <a:cxn ang="0">
                            <a:pos x="connsiteX1" y="connsiteY1"/>
                          </a:cxn>
                        </a:cxnLst>
                        <a:rect l="l" t="t" r="r" b="b"/>
                        <a:pathLst>
                          <a:path w="38934" h="103885">
                            <a:moveTo>
                              <a:pt x="38935" y="0"/>
                            </a:moveTo>
                            <a:lnTo>
                              <a:pt x="0" y="103885"/>
                            </a:lnTo>
                          </a:path>
                        </a:pathLst>
                      </a:custGeom>
                      <a:grpFill/>
                      <a:ln w="6350" cap="flat">
                        <a:solidFill>
                          <a:schemeClr val="bg1">
                            <a:alpha val="40000"/>
                          </a:schemeClr>
                        </a:solidFill>
                        <a:prstDash val="solid"/>
                        <a:miter/>
                      </a:ln>
                    </p:spPr>
                    <p:txBody>
                      <a:bodyPr rtlCol="0" anchor="ctr"/>
                      <a:lstStyle/>
                      <a:p>
                        <a:endParaRPr lang="en-GB"/>
                      </a:p>
                    </p:txBody>
                  </p:sp>
                </p:grpSp>
              </p:grpSp>
            </p:grpSp>
            <p:grpSp>
              <p:nvGrpSpPr>
                <p:cNvPr id="7172" name="Graphic 3">
                  <a:extLst>
                    <a:ext uri="{FF2B5EF4-FFF2-40B4-BE49-F238E27FC236}">
                      <a16:creationId xmlns:a16="http://schemas.microsoft.com/office/drawing/2014/main" id="{83651852-8FEC-439C-8531-E5C5D774BF98}"/>
                    </a:ext>
                  </a:extLst>
                </p:cNvPr>
                <p:cNvGrpSpPr/>
                <p:nvPr/>
              </p:nvGrpSpPr>
              <p:grpSpPr>
                <a:xfrm>
                  <a:off x="7667246" y="4608365"/>
                  <a:ext cx="174836" cy="238143"/>
                  <a:chOff x="7667246" y="4608365"/>
                  <a:chExt cx="174836" cy="238143"/>
                </a:xfrm>
                <a:noFill/>
              </p:grpSpPr>
              <p:sp>
                <p:nvSpPr>
                  <p:cNvPr id="7241" name="Vrije vorm: vorm 7240">
                    <a:extLst>
                      <a:ext uri="{FF2B5EF4-FFF2-40B4-BE49-F238E27FC236}">
                        <a16:creationId xmlns:a16="http://schemas.microsoft.com/office/drawing/2014/main" id="{E58BB0F5-2A31-46D3-8CB7-DCBD0A34F035}"/>
                      </a:ext>
                    </a:extLst>
                  </p:cNvPr>
                  <p:cNvSpPr/>
                  <p:nvPr/>
                </p:nvSpPr>
                <p:spPr>
                  <a:xfrm>
                    <a:off x="7697508" y="4726480"/>
                    <a:ext cx="144574" cy="120028"/>
                  </a:xfrm>
                  <a:custGeom>
                    <a:avLst/>
                    <a:gdLst>
                      <a:gd name="connsiteX0" fmla="*/ 118239 w 144574"/>
                      <a:gd name="connsiteY0" fmla="*/ 543 h 120028"/>
                      <a:gd name="connsiteX1" fmla="*/ 15849 w 144574"/>
                      <a:gd name="connsiteY1" fmla="*/ 59334 h 120028"/>
                      <a:gd name="connsiteX2" fmla="*/ 0 w 144574"/>
                      <a:gd name="connsiteY2" fmla="*/ 114476 h 120028"/>
                      <a:gd name="connsiteX3" fmla="*/ 2033 w 144574"/>
                      <a:gd name="connsiteY3" fmla="*/ 117945 h 120028"/>
                      <a:gd name="connsiteX4" fmla="*/ 7476 w 144574"/>
                      <a:gd name="connsiteY4" fmla="*/ 119500 h 120028"/>
                      <a:gd name="connsiteX5" fmla="*/ 142580 w 144574"/>
                      <a:gd name="connsiteY5" fmla="*/ 41870 h 120028"/>
                      <a:gd name="connsiteX6" fmla="*/ 144016 w 144574"/>
                      <a:gd name="connsiteY6" fmla="*/ 36367 h 120028"/>
                      <a:gd name="connsiteX7" fmla="*/ 123801 w 144574"/>
                      <a:gd name="connsiteY7" fmla="*/ 2038 h 120028"/>
                      <a:gd name="connsiteX8" fmla="*/ 118239 w 144574"/>
                      <a:gd name="connsiteY8" fmla="*/ 543 h 12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574" h="120028">
                        <a:moveTo>
                          <a:pt x="118239" y="543"/>
                        </a:moveTo>
                        <a:lnTo>
                          <a:pt x="15849" y="59334"/>
                        </a:lnTo>
                        <a:lnTo>
                          <a:pt x="0" y="114476"/>
                        </a:lnTo>
                        <a:lnTo>
                          <a:pt x="2033" y="117945"/>
                        </a:lnTo>
                        <a:cubicBezTo>
                          <a:pt x="3170" y="119858"/>
                          <a:pt x="5503" y="120636"/>
                          <a:pt x="7476" y="119500"/>
                        </a:cubicBezTo>
                        <a:lnTo>
                          <a:pt x="142580" y="41870"/>
                        </a:lnTo>
                        <a:cubicBezTo>
                          <a:pt x="144494" y="40794"/>
                          <a:pt x="145152" y="38281"/>
                          <a:pt x="144016" y="36367"/>
                        </a:cubicBezTo>
                        <a:lnTo>
                          <a:pt x="123801" y="2038"/>
                        </a:lnTo>
                        <a:cubicBezTo>
                          <a:pt x="122665" y="124"/>
                          <a:pt x="120153" y="-593"/>
                          <a:pt x="118239" y="54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42" name="Vrije vorm: vorm 7241">
                    <a:extLst>
                      <a:ext uri="{FF2B5EF4-FFF2-40B4-BE49-F238E27FC236}">
                        <a16:creationId xmlns:a16="http://schemas.microsoft.com/office/drawing/2014/main" id="{B6113B1F-0540-446B-8DD7-2E3E9366DC36}"/>
                      </a:ext>
                    </a:extLst>
                  </p:cNvPr>
                  <p:cNvSpPr/>
                  <p:nvPr/>
                </p:nvSpPr>
                <p:spPr>
                  <a:xfrm>
                    <a:off x="7682341" y="4608365"/>
                    <a:ext cx="133585" cy="207351"/>
                  </a:xfrm>
                  <a:custGeom>
                    <a:avLst/>
                    <a:gdLst>
                      <a:gd name="connsiteX0" fmla="*/ 23899 w 133585"/>
                      <a:gd name="connsiteY0" fmla="*/ 173979 h 207351"/>
                      <a:gd name="connsiteX1" fmla="*/ 133586 w 133585"/>
                      <a:gd name="connsiteY1" fmla="*/ 110942 h 207351"/>
                      <a:gd name="connsiteX2" fmla="*/ 131492 w 133585"/>
                      <a:gd name="connsiteY2" fmla="*/ 107414 h 207351"/>
                      <a:gd name="connsiteX3" fmla="*/ 125930 w 133585"/>
                      <a:gd name="connsiteY3" fmla="*/ 105918 h 207351"/>
                      <a:gd name="connsiteX4" fmla="*/ 71027 w 133585"/>
                      <a:gd name="connsiteY4" fmla="*/ 137437 h 207351"/>
                      <a:gd name="connsiteX5" fmla="*/ 52906 w 133585"/>
                      <a:gd name="connsiteY5" fmla="*/ 93658 h 207351"/>
                      <a:gd name="connsiteX6" fmla="*/ 55836 w 133585"/>
                      <a:gd name="connsiteY6" fmla="*/ 75596 h 207351"/>
                      <a:gd name="connsiteX7" fmla="*/ 51231 w 133585"/>
                      <a:gd name="connsiteY7" fmla="*/ 69137 h 207351"/>
                      <a:gd name="connsiteX8" fmla="*/ 60022 w 133585"/>
                      <a:gd name="connsiteY8" fmla="*/ 48145 h 207351"/>
                      <a:gd name="connsiteX9" fmla="*/ 85740 w 133585"/>
                      <a:gd name="connsiteY9" fmla="*/ 64711 h 207351"/>
                      <a:gd name="connsiteX10" fmla="*/ 97462 w 133585"/>
                      <a:gd name="connsiteY10" fmla="*/ 60525 h 207351"/>
                      <a:gd name="connsiteX11" fmla="*/ 104400 w 133585"/>
                      <a:gd name="connsiteY11" fmla="*/ 49760 h 207351"/>
                      <a:gd name="connsiteX12" fmla="*/ 27188 w 133585"/>
                      <a:gd name="connsiteY12" fmla="*/ 0 h 207351"/>
                      <a:gd name="connsiteX13" fmla="*/ 20250 w 133585"/>
                      <a:gd name="connsiteY13" fmla="*/ 10765 h 207351"/>
                      <a:gd name="connsiteX14" fmla="*/ 21507 w 133585"/>
                      <a:gd name="connsiteY14" fmla="*/ 23325 h 207351"/>
                      <a:gd name="connsiteX15" fmla="*/ 46506 w 133585"/>
                      <a:gd name="connsiteY15" fmla="*/ 39413 h 207351"/>
                      <a:gd name="connsiteX16" fmla="*/ 35801 w 133585"/>
                      <a:gd name="connsiteY16" fmla="*/ 64951 h 207351"/>
                      <a:gd name="connsiteX17" fmla="*/ 32870 w 133585"/>
                      <a:gd name="connsiteY17" fmla="*/ 65848 h 207351"/>
                      <a:gd name="connsiteX18" fmla="*/ 23301 w 133585"/>
                      <a:gd name="connsiteY18" fmla="*/ 88574 h 207351"/>
                      <a:gd name="connsiteX19" fmla="*/ 38252 w 133585"/>
                      <a:gd name="connsiteY19" fmla="*/ 99519 h 207351"/>
                      <a:gd name="connsiteX20" fmla="*/ 57212 w 133585"/>
                      <a:gd name="connsiteY20" fmla="*/ 145391 h 207351"/>
                      <a:gd name="connsiteX21" fmla="*/ 1950 w 133585"/>
                      <a:gd name="connsiteY21" fmla="*/ 177149 h 207351"/>
                      <a:gd name="connsiteX22" fmla="*/ 574 w 133585"/>
                      <a:gd name="connsiteY22" fmla="*/ 182591 h 207351"/>
                      <a:gd name="connsiteX23" fmla="*/ 15167 w 133585"/>
                      <a:gd name="connsiteY23" fmla="*/ 207352 h 207351"/>
                      <a:gd name="connsiteX24" fmla="*/ 23899 w 133585"/>
                      <a:gd name="connsiteY24" fmla="*/ 173979 h 20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3585" h="207351">
                        <a:moveTo>
                          <a:pt x="23899" y="173979"/>
                        </a:moveTo>
                        <a:lnTo>
                          <a:pt x="133586" y="110942"/>
                        </a:lnTo>
                        <a:lnTo>
                          <a:pt x="131492" y="107414"/>
                        </a:lnTo>
                        <a:cubicBezTo>
                          <a:pt x="130356" y="105500"/>
                          <a:pt x="127903" y="104842"/>
                          <a:pt x="125930" y="105918"/>
                        </a:cubicBezTo>
                        <a:lnTo>
                          <a:pt x="71027" y="137437"/>
                        </a:lnTo>
                        <a:lnTo>
                          <a:pt x="52906" y="93658"/>
                        </a:lnTo>
                        <a:cubicBezTo>
                          <a:pt x="57092" y="88873"/>
                          <a:pt x="58467" y="81936"/>
                          <a:pt x="55836" y="75596"/>
                        </a:cubicBezTo>
                        <a:cubicBezTo>
                          <a:pt x="54759" y="73024"/>
                          <a:pt x="53204" y="70871"/>
                          <a:pt x="51231" y="69137"/>
                        </a:cubicBezTo>
                        <a:lnTo>
                          <a:pt x="60022" y="48145"/>
                        </a:lnTo>
                        <a:lnTo>
                          <a:pt x="85740" y="64711"/>
                        </a:lnTo>
                        <a:cubicBezTo>
                          <a:pt x="89328" y="67044"/>
                          <a:pt x="94471" y="65130"/>
                          <a:pt x="97462" y="60525"/>
                        </a:cubicBezTo>
                        <a:lnTo>
                          <a:pt x="104400" y="49760"/>
                        </a:lnTo>
                        <a:lnTo>
                          <a:pt x="27188" y="0"/>
                        </a:lnTo>
                        <a:lnTo>
                          <a:pt x="20250" y="10765"/>
                        </a:lnTo>
                        <a:cubicBezTo>
                          <a:pt x="17320" y="15311"/>
                          <a:pt x="17919" y="20992"/>
                          <a:pt x="21507" y="23325"/>
                        </a:cubicBezTo>
                        <a:lnTo>
                          <a:pt x="46506" y="39413"/>
                        </a:lnTo>
                        <a:lnTo>
                          <a:pt x="35801" y="64951"/>
                        </a:lnTo>
                        <a:cubicBezTo>
                          <a:pt x="34844" y="65130"/>
                          <a:pt x="33827" y="65429"/>
                          <a:pt x="32870" y="65848"/>
                        </a:cubicBezTo>
                        <a:cubicBezTo>
                          <a:pt x="23899" y="69436"/>
                          <a:pt x="19593" y="79603"/>
                          <a:pt x="23301" y="88574"/>
                        </a:cubicBezTo>
                        <a:cubicBezTo>
                          <a:pt x="25933" y="94914"/>
                          <a:pt x="31853" y="98981"/>
                          <a:pt x="38252" y="99519"/>
                        </a:cubicBezTo>
                        <a:lnTo>
                          <a:pt x="57212" y="145391"/>
                        </a:lnTo>
                        <a:lnTo>
                          <a:pt x="1950" y="177149"/>
                        </a:lnTo>
                        <a:cubicBezTo>
                          <a:pt x="36" y="178225"/>
                          <a:pt x="-562" y="180677"/>
                          <a:pt x="574" y="182591"/>
                        </a:cubicBezTo>
                        <a:lnTo>
                          <a:pt x="15167" y="207352"/>
                        </a:lnTo>
                        <a:lnTo>
                          <a:pt x="23899" y="173979"/>
                        </a:lnTo>
                        <a:close/>
                      </a:path>
                    </a:pathLst>
                  </a:custGeom>
                  <a:grpFill/>
                  <a:ln w="6350" cap="flat">
                    <a:solidFill>
                      <a:schemeClr val="bg1">
                        <a:alpha val="40000"/>
                      </a:schemeClr>
                    </a:solidFill>
                    <a:prstDash val="solid"/>
                    <a:miter/>
                  </a:ln>
                </p:spPr>
                <p:txBody>
                  <a:bodyPr rtlCol="0" anchor="ctr"/>
                  <a:lstStyle/>
                  <a:p>
                    <a:endParaRPr lang="en-GB"/>
                  </a:p>
                </p:txBody>
              </p:sp>
              <p:sp>
                <p:nvSpPr>
                  <p:cNvPr id="7243" name="Vrije vorm: vorm 7242">
                    <a:extLst>
                      <a:ext uri="{FF2B5EF4-FFF2-40B4-BE49-F238E27FC236}">
                        <a16:creationId xmlns:a16="http://schemas.microsoft.com/office/drawing/2014/main" id="{22DBFA43-040A-4407-AFAA-996B81A52888}"/>
                      </a:ext>
                    </a:extLst>
                  </p:cNvPr>
                  <p:cNvSpPr/>
                  <p:nvPr/>
                </p:nvSpPr>
                <p:spPr>
                  <a:xfrm>
                    <a:off x="7667246" y="4803217"/>
                    <a:ext cx="28587" cy="32176"/>
                  </a:xfrm>
                  <a:custGeom>
                    <a:avLst/>
                    <a:gdLst>
                      <a:gd name="connsiteX0" fmla="*/ 28587 w 28587"/>
                      <a:gd name="connsiteY0" fmla="*/ 23804 h 32176"/>
                      <a:gd name="connsiteX1" fmla="*/ 14593 w 28587"/>
                      <a:gd name="connsiteY1" fmla="*/ 0 h 32176"/>
                      <a:gd name="connsiteX2" fmla="*/ 0 w 28587"/>
                      <a:gd name="connsiteY2" fmla="*/ 8373 h 32176"/>
                      <a:gd name="connsiteX3" fmla="*/ 13995 w 28587"/>
                      <a:gd name="connsiteY3" fmla="*/ 32176 h 32176"/>
                    </a:gdLst>
                    <a:ahLst/>
                    <a:cxnLst>
                      <a:cxn ang="0">
                        <a:pos x="connsiteX0" y="connsiteY0"/>
                      </a:cxn>
                      <a:cxn ang="0">
                        <a:pos x="connsiteX1" y="connsiteY1"/>
                      </a:cxn>
                      <a:cxn ang="0">
                        <a:pos x="connsiteX2" y="connsiteY2"/>
                      </a:cxn>
                      <a:cxn ang="0">
                        <a:pos x="connsiteX3" y="connsiteY3"/>
                      </a:cxn>
                    </a:cxnLst>
                    <a:rect l="l" t="t" r="r" b="b"/>
                    <a:pathLst>
                      <a:path w="28587" h="32176">
                        <a:moveTo>
                          <a:pt x="28587" y="23804"/>
                        </a:moveTo>
                        <a:lnTo>
                          <a:pt x="14593" y="0"/>
                        </a:lnTo>
                        <a:lnTo>
                          <a:pt x="0" y="8373"/>
                        </a:lnTo>
                        <a:lnTo>
                          <a:pt x="13995" y="32176"/>
                        </a:ln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7173" name="Graphic 3">
                  <a:extLst>
                    <a:ext uri="{FF2B5EF4-FFF2-40B4-BE49-F238E27FC236}">
                      <a16:creationId xmlns:a16="http://schemas.microsoft.com/office/drawing/2014/main" id="{229A1C3B-74C7-4E37-B0DA-2A2B9EA50A93}"/>
                    </a:ext>
                  </a:extLst>
                </p:cNvPr>
                <p:cNvGrpSpPr/>
                <p:nvPr/>
              </p:nvGrpSpPr>
              <p:grpSpPr>
                <a:xfrm>
                  <a:off x="8017860" y="3685061"/>
                  <a:ext cx="220787" cy="227388"/>
                  <a:chOff x="8017860" y="3685061"/>
                  <a:chExt cx="220787" cy="227388"/>
                </a:xfrm>
                <a:noFill/>
              </p:grpSpPr>
              <p:grpSp>
                <p:nvGrpSpPr>
                  <p:cNvPr id="7218" name="Graphic 3">
                    <a:extLst>
                      <a:ext uri="{FF2B5EF4-FFF2-40B4-BE49-F238E27FC236}">
                        <a16:creationId xmlns:a16="http://schemas.microsoft.com/office/drawing/2014/main" id="{D95AA0FF-4288-4E7D-BCFD-290EA4A2AF5D}"/>
                      </a:ext>
                    </a:extLst>
                  </p:cNvPr>
                  <p:cNvGrpSpPr/>
                  <p:nvPr/>
                </p:nvGrpSpPr>
                <p:grpSpPr>
                  <a:xfrm>
                    <a:off x="8032800" y="3870631"/>
                    <a:ext cx="72818" cy="41818"/>
                    <a:chOff x="8032800" y="3870631"/>
                    <a:chExt cx="72818" cy="41818"/>
                  </a:xfrm>
                  <a:grpFill/>
                </p:grpSpPr>
                <p:sp>
                  <p:nvSpPr>
                    <p:cNvPr id="7233" name="Vrije vorm: vorm 7232">
                      <a:extLst>
                        <a:ext uri="{FF2B5EF4-FFF2-40B4-BE49-F238E27FC236}">
                          <a16:creationId xmlns:a16="http://schemas.microsoft.com/office/drawing/2014/main" id="{7CB1650D-F05B-4D7C-9650-6C3325DE5806}"/>
                        </a:ext>
                      </a:extLst>
                    </p:cNvPr>
                    <p:cNvSpPr/>
                    <p:nvPr/>
                  </p:nvSpPr>
                  <p:spPr>
                    <a:xfrm>
                      <a:off x="8032800" y="3870631"/>
                      <a:ext cx="72818" cy="41818"/>
                    </a:xfrm>
                    <a:custGeom>
                      <a:avLst/>
                      <a:gdLst>
                        <a:gd name="connsiteX0" fmla="*/ 71277 w 72818"/>
                        <a:gd name="connsiteY0" fmla="*/ 23158 h 41818"/>
                        <a:gd name="connsiteX1" fmla="*/ 72114 w 72818"/>
                        <a:gd name="connsiteY1" fmla="*/ 26148 h 41818"/>
                        <a:gd name="connsiteX2" fmla="*/ 48131 w 72818"/>
                        <a:gd name="connsiteY2" fmla="*/ 41459 h 41818"/>
                        <a:gd name="connsiteX3" fmla="*/ 42988 w 72818"/>
                        <a:gd name="connsiteY3" fmla="*/ 40741 h 41818"/>
                        <a:gd name="connsiteX4" fmla="*/ 1542 w 72818"/>
                        <a:gd name="connsiteY4" fmla="*/ 18314 h 41818"/>
                        <a:gd name="connsiteX5" fmla="*/ 705 w 72818"/>
                        <a:gd name="connsiteY5" fmla="*/ 15323 h 41818"/>
                        <a:gd name="connsiteX6" fmla="*/ 24627 w 72818"/>
                        <a:gd name="connsiteY6" fmla="*/ 491 h 41818"/>
                        <a:gd name="connsiteX7" fmla="*/ 29831 w 72818"/>
                        <a:gd name="connsiteY7" fmla="*/ 790 h 41818"/>
                        <a:gd name="connsiteX8" fmla="*/ 71277 w 72818"/>
                        <a:gd name="connsiteY8" fmla="*/ 23158 h 41818"/>
                        <a:gd name="connsiteX9" fmla="*/ 15776 w 72818"/>
                        <a:gd name="connsiteY9" fmla="*/ 12094 h 41818"/>
                        <a:gd name="connsiteX10" fmla="*/ 14460 w 72818"/>
                        <a:gd name="connsiteY10" fmla="*/ 12094 h 41818"/>
                        <a:gd name="connsiteX11" fmla="*/ 8001 w 72818"/>
                        <a:gd name="connsiteY11" fmla="*/ 16101 h 41818"/>
                        <a:gd name="connsiteX12" fmla="*/ 8001 w 72818"/>
                        <a:gd name="connsiteY12" fmla="*/ 16878 h 41818"/>
                        <a:gd name="connsiteX13" fmla="*/ 9316 w 72818"/>
                        <a:gd name="connsiteY13" fmla="*/ 17596 h 41818"/>
                        <a:gd name="connsiteX14" fmla="*/ 10632 w 72818"/>
                        <a:gd name="connsiteY14" fmla="*/ 17536 h 41818"/>
                        <a:gd name="connsiteX15" fmla="*/ 17092 w 72818"/>
                        <a:gd name="connsiteY15" fmla="*/ 13529 h 41818"/>
                        <a:gd name="connsiteX16" fmla="*/ 17092 w 72818"/>
                        <a:gd name="connsiteY16" fmla="*/ 12811 h 41818"/>
                        <a:gd name="connsiteX17" fmla="*/ 15776 w 72818"/>
                        <a:gd name="connsiteY17" fmla="*/ 12094 h 41818"/>
                        <a:gd name="connsiteX18" fmla="*/ 27916 w 72818"/>
                        <a:gd name="connsiteY18" fmla="*/ 4558 h 41818"/>
                        <a:gd name="connsiteX19" fmla="*/ 26601 w 72818"/>
                        <a:gd name="connsiteY19" fmla="*/ 4558 h 41818"/>
                        <a:gd name="connsiteX20" fmla="*/ 20142 w 72818"/>
                        <a:gd name="connsiteY20" fmla="*/ 8565 h 41818"/>
                        <a:gd name="connsiteX21" fmla="*/ 20142 w 72818"/>
                        <a:gd name="connsiteY21" fmla="*/ 9343 h 41818"/>
                        <a:gd name="connsiteX22" fmla="*/ 21457 w 72818"/>
                        <a:gd name="connsiteY22" fmla="*/ 10060 h 41818"/>
                        <a:gd name="connsiteX23" fmla="*/ 22773 w 72818"/>
                        <a:gd name="connsiteY23" fmla="*/ 10001 h 41818"/>
                        <a:gd name="connsiteX24" fmla="*/ 29233 w 72818"/>
                        <a:gd name="connsiteY24" fmla="*/ 5993 h 41818"/>
                        <a:gd name="connsiteX25" fmla="*/ 29233 w 72818"/>
                        <a:gd name="connsiteY25" fmla="*/ 5276 h 41818"/>
                        <a:gd name="connsiteX26" fmla="*/ 27916 w 72818"/>
                        <a:gd name="connsiteY26" fmla="*/ 4558 h 41818"/>
                        <a:gd name="connsiteX27" fmla="*/ 36170 w 72818"/>
                        <a:gd name="connsiteY27" fmla="*/ 6651 h 41818"/>
                        <a:gd name="connsiteX28" fmla="*/ 12187 w 72818"/>
                        <a:gd name="connsiteY28" fmla="*/ 21543 h 41818"/>
                        <a:gd name="connsiteX29" fmla="*/ 45560 w 72818"/>
                        <a:gd name="connsiteY29" fmla="*/ 39366 h 41818"/>
                        <a:gd name="connsiteX30" fmla="*/ 69243 w 72818"/>
                        <a:gd name="connsiteY30" fmla="*/ 24534 h 41818"/>
                        <a:gd name="connsiteX31" fmla="*/ 36170 w 72818"/>
                        <a:gd name="connsiteY31" fmla="*/ 6651 h 4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2818" h="41818">
                          <a:moveTo>
                            <a:pt x="71277" y="23158"/>
                          </a:moveTo>
                          <a:cubicBezTo>
                            <a:pt x="72951" y="24055"/>
                            <a:pt x="73311" y="25371"/>
                            <a:pt x="72114" y="26148"/>
                          </a:cubicBezTo>
                          <a:lnTo>
                            <a:pt x="48131" y="41459"/>
                          </a:lnTo>
                          <a:cubicBezTo>
                            <a:pt x="46935" y="42236"/>
                            <a:pt x="44663" y="41639"/>
                            <a:pt x="42988" y="40741"/>
                          </a:cubicBezTo>
                          <a:lnTo>
                            <a:pt x="1542" y="18314"/>
                          </a:lnTo>
                          <a:cubicBezTo>
                            <a:pt x="-133" y="17417"/>
                            <a:pt x="-492" y="16101"/>
                            <a:pt x="705" y="15323"/>
                          </a:cubicBezTo>
                          <a:lnTo>
                            <a:pt x="24627" y="491"/>
                          </a:lnTo>
                          <a:cubicBezTo>
                            <a:pt x="25823" y="-286"/>
                            <a:pt x="28156" y="-107"/>
                            <a:pt x="29831" y="790"/>
                          </a:cubicBezTo>
                          <a:lnTo>
                            <a:pt x="71277" y="23158"/>
                          </a:lnTo>
                          <a:close/>
                          <a:moveTo>
                            <a:pt x="15776" y="12094"/>
                          </a:moveTo>
                          <a:cubicBezTo>
                            <a:pt x="15417" y="11915"/>
                            <a:pt x="14819" y="11915"/>
                            <a:pt x="14460" y="12094"/>
                          </a:cubicBezTo>
                          <a:lnTo>
                            <a:pt x="8001" y="16101"/>
                          </a:lnTo>
                          <a:cubicBezTo>
                            <a:pt x="7642" y="16340"/>
                            <a:pt x="7642" y="16699"/>
                            <a:pt x="8001" y="16878"/>
                          </a:cubicBezTo>
                          <a:lnTo>
                            <a:pt x="9316" y="17596"/>
                          </a:lnTo>
                          <a:cubicBezTo>
                            <a:pt x="9676" y="17776"/>
                            <a:pt x="10274" y="17716"/>
                            <a:pt x="10632" y="17536"/>
                          </a:cubicBezTo>
                          <a:lnTo>
                            <a:pt x="17092" y="13529"/>
                          </a:lnTo>
                          <a:cubicBezTo>
                            <a:pt x="17450" y="13290"/>
                            <a:pt x="17450" y="12991"/>
                            <a:pt x="17092" y="12811"/>
                          </a:cubicBezTo>
                          <a:lnTo>
                            <a:pt x="15776" y="12094"/>
                          </a:lnTo>
                          <a:close/>
                          <a:moveTo>
                            <a:pt x="27916" y="4558"/>
                          </a:moveTo>
                          <a:cubicBezTo>
                            <a:pt x="27558" y="4379"/>
                            <a:pt x="26960" y="4379"/>
                            <a:pt x="26601" y="4558"/>
                          </a:cubicBezTo>
                          <a:lnTo>
                            <a:pt x="20142" y="8565"/>
                          </a:lnTo>
                          <a:cubicBezTo>
                            <a:pt x="19783" y="8804"/>
                            <a:pt x="19783" y="9163"/>
                            <a:pt x="20142" y="9343"/>
                          </a:cubicBezTo>
                          <a:lnTo>
                            <a:pt x="21457" y="10060"/>
                          </a:lnTo>
                          <a:cubicBezTo>
                            <a:pt x="21817" y="10240"/>
                            <a:pt x="22415" y="10180"/>
                            <a:pt x="22773" y="10001"/>
                          </a:cubicBezTo>
                          <a:lnTo>
                            <a:pt x="29233" y="5993"/>
                          </a:lnTo>
                          <a:cubicBezTo>
                            <a:pt x="29591" y="5754"/>
                            <a:pt x="29591" y="5455"/>
                            <a:pt x="29233" y="5276"/>
                          </a:cubicBezTo>
                          <a:lnTo>
                            <a:pt x="27916" y="4558"/>
                          </a:lnTo>
                          <a:close/>
                          <a:moveTo>
                            <a:pt x="36170" y="6651"/>
                          </a:moveTo>
                          <a:lnTo>
                            <a:pt x="12187" y="21543"/>
                          </a:lnTo>
                          <a:lnTo>
                            <a:pt x="45560" y="39366"/>
                          </a:lnTo>
                          <a:lnTo>
                            <a:pt x="69243" y="24534"/>
                          </a:lnTo>
                          <a:lnTo>
                            <a:pt x="36170" y="6651"/>
                          </a:lnTo>
                          <a:close/>
                        </a:path>
                      </a:pathLst>
                    </a:custGeom>
                    <a:grpFill/>
                    <a:ln w="6350" cap="flat">
                      <a:solidFill>
                        <a:schemeClr val="bg1">
                          <a:alpha val="40000"/>
                        </a:schemeClr>
                      </a:solidFill>
                      <a:prstDash val="solid"/>
                      <a:miter/>
                    </a:ln>
                  </p:spPr>
                  <p:txBody>
                    <a:bodyPr rtlCol="0" anchor="ctr"/>
                    <a:lstStyle/>
                    <a:p>
                      <a:endParaRPr lang="en-GB"/>
                    </a:p>
                  </p:txBody>
                </p:sp>
                <p:sp>
                  <p:nvSpPr>
                    <p:cNvPr id="7234" name="Vrije vorm: vorm 7233">
                      <a:extLst>
                        <a:ext uri="{FF2B5EF4-FFF2-40B4-BE49-F238E27FC236}">
                          <a16:creationId xmlns:a16="http://schemas.microsoft.com/office/drawing/2014/main" id="{C1406C80-5C21-4B2F-93C7-F0CC7F86FEC3}"/>
                        </a:ext>
                      </a:extLst>
                    </p:cNvPr>
                    <p:cNvSpPr/>
                    <p:nvPr/>
                  </p:nvSpPr>
                  <p:spPr>
                    <a:xfrm>
                      <a:off x="8082399" y="3894865"/>
                      <a:ext cx="4726" cy="5346"/>
                    </a:xfrm>
                    <a:custGeom>
                      <a:avLst/>
                      <a:gdLst>
                        <a:gd name="connsiteX0" fmla="*/ 148 w 4726"/>
                        <a:gd name="connsiteY0" fmla="*/ 4605 h 5346"/>
                        <a:gd name="connsiteX1" fmla="*/ 3198 w 4726"/>
                        <a:gd name="connsiteY1" fmla="*/ 359 h 5346"/>
                        <a:gd name="connsiteX2" fmla="*/ 3318 w 4726"/>
                        <a:gd name="connsiteY2" fmla="*/ 119 h 5346"/>
                        <a:gd name="connsiteX3" fmla="*/ 3856 w 4726"/>
                        <a:gd name="connsiteY3" fmla="*/ 0 h 5346"/>
                        <a:gd name="connsiteX4" fmla="*/ 4693 w 4726"/>
                        <a:gd name="connsiteY4" fmla="*/ 478 h 5346"/>
                        <a:gd name="connsiteX5" fmla="*/ 1344 w 4726"/>
                        <a:gd name="connsiteY5" fmla="*/ 5263 h 5346"/>
                        <a:gd name="connsiteX6" fmla="*/ 267 w 4726"/>
                        <a:gd name="connsiteY6" fmla="*/ 5203 h 5346"/>
                        <a:gd name="connsiteX7" fmla="*/ 148 w 4726"/>
                        <a:gd name="connsiteY7" fmla="*/ 4605 h 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6" h="5346">
                          <a:moveTo>
                            <a:pt x="148" y="4605"/>
                          </a:moveTo>
                          <a:cubicBezTo>
                            <a:pt x="208" y="4605"/>
                            <a:pt x="3617" y="2572"/>
                            <a:pt x="3198" y="359"/>
                          </a:cubicBezTo>
                          <a:cubicBezTo>
                            <a:pt x="3198" y="239"/>
                            <a:pt x="3258" y="179"/>
                            <a:pt x="3318" y="119"/>
                          </a:cubicBezTo>
                          <a:cubicBezTo>
                            <a:pt x="3437" y="60"/>
                            <a:pt x="3617" y="0"/>
                            <a:pt x="3856" y="0"/>
                          </a:cubicBezTo>
                          <a:cubicBezTo>
                            <a:pt x="4275" y="60"/>
                            <a:pt x="4633" y="239"/>
                            <a:pt x="4693" y="478"/>
                          </a:cubicBezTo>
                          <a:cubicBezTo>
                            <a:pt x="5112" y="2990"/>
                            <a:pt x="1463" y="5203"/>
                            <a:pt x="1344" y="5263"/>
                          </a:cubicBezTo>
                          <a:cubicBezTo>
                            <a:pt x="1105" y="5382"/>
                            <a:pt x="627" y="5382"/>
                            <a:pt x="267" y="5203"/>
                          </a:cubicBezTo>
                          <a:cubicBezTo>
                            <a:pt x="-32" y="5024"/>
                            <a:pt x="-92" y="4785"/>
                            <a:pt x="148" y="460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35" name="Vrije vorm: vorm 7234">
                      <a:extLst>
                        <a:ext uri="{FF2B5EF4-FFF2-40B4-BE49-F238E27FC236}">
                          <a16:creationId xmlns:a16="http://schemas.microsoft.com/office/drawing/2014/main" id="{A78C1F14-88F2-44D5-B4E5-C12E6CA61802}"/>
                        </a:ext>
                      </a:extLst>
                    </p:cNvPr>
                    <p:cNvSpPr/>
                    <p:nvPr/>
                  </p:nvSpPr>
                  <p:spPr>
                    <a:xfrm>
                      <a:off x="8060598" y="3892061"/>
                      <a:ext cx="10534" cy="1534"/>
                    </a:xfrm>
                    <a:custGeom>
                      <a:avLst/>
                      <a:gdLst>
                        <a:gd name="connsiteX0" fmla="*/ 9928 w 10534"/>
                        <a:gd name="connsiteY0" fmla="*/ 471 h 1534"/>
                        <a:gd name="connsiteX1" fmla="*/ 10526 w 10534"/>
                        <a:gd name="connsiteY1" fmla="*/ 1069 h 1534"/>
                        <a:gd name="connsiteX2" fmla="*/ 9629 w 10534"/>
                        <a:gd name="connsiteY2" fmla="*/ 1249 h 1534"/>
                        <a:gd name="connsiteX3" fmla="*/ 1256 w 10534"/>
                        <a:gd name="connsiteY3" fmla="*/ 1488 h 1534"/>
                        <a:gd name="connsiteX4" fmla="*/ 179 w 10534"/>
                        <a:gd name="connsiteY4" fmla="*/ 1249 h 1534"/>
                        <a:gd name="connsiteX5" fmla="*/ 179 w 10534"/>
                        <a:gd name="connsiteY5" fmla="*/ 710 h 1534"/>
                        <a:gd name="connsiteX6" fmla="*/ 299 w 10534"/>
                        <a:gd name="connsiteY6" fmla="*/ 651 h 1534"/>
                        <a:gd name="connsiteX7" fmla="*/ 9928 w 10534"/>
                        <a:gd name="connsiteY7" fmla="*/ 471 h 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34" h="1534">
                          <a:moveTo>
                            <a:pt x="9928" y="471"/>
                          </a:moveTo>
                          <a:cubicBezTo>
                            <a:pt x="10347" y="591"/>
                            <a:pt x="10585" y="830"/>
                            <a:pt x="10526" y="1069"/>
                          </a:cubicBezTo>
                          <a:cubicBezTo>
                            <a:pt x="10466" y="1309"/>
                            <a:pt x="10047" y="1368"/>
                            <a:pt x="9629" y="1249"/>
                          </a:cubicBezTo>
                          <a:cubicBezTo>
                            <a:pt x="9569" y="1249"/>
                            <a:pt x="5382" y="232"/>
                            <a:pt x="1256" y="1488"/>
                          </a:cubicBezTo>
                          <a:cubicBezTo>
                            <a:pt x="957" y="1608"/>
                            <a:pt x="478" y="1488"/>
                            <a:pt x="179" y="1249"/>
                          </a:cubicBezTo>
                          <a:cubicBezTo>
                            <a:pt x="-60" y="1069"/>
                            <a:pt x="-60" y="830"/>
                            <a:pt x="179" y="710"/>
                          </a:cubicBezTo>
                          <a:cubicBezTo>
                            <a:pt x="239" y="710"/>
                            <a:pt x="239" y="651"/>
                            <a:pt x="299" y="651"/>
                          </a:cubicBezTo>
                          <a:cubicBezTo>
                            <a:pt x="5024" y="-665"/>
                            <a:pt x="9748" y="412"/>
                            <a:pt x="9928" y="47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36" name="Vrije vorm: vorm 7235">
                      <a:extLst>
                        <a:ext uri="{FF2B5EF4-FFF2-40B4-BE49-F238E27FC236}">
                          <a16:creationId xmlns:a16="http://schemas.microsoft.com/office/drawing/2014/main" id="{9E2CE25F-97BD-42CB-9D25-FB2906378AFB}"/>
                        </a:ext>
                      </a:extLst>
                    </p:cNvPr>
                    <p:cNvSpPr/>
                    <p:nvPr/>
                  </p:nvSpPr>
                  <p:spPr>
                    <a:xfrm>
                      <a:off x="8060224" y="3890704"/>
                      <a:ext cx="13831" cy="4400"/>
                    </a:xfrm>
                    <a:custGeom>
                      <a:avLst/>
                      <a:gdLst>
                        <a:gd name="connsiteX0" fmla="*/ 12096 w 13831"/>
                        <a:gd name="connsiteY0" fmla="*/ 1111 h 4400"/>
                        <a:gd name="connsiteX1" fmla="*/ 13831 w 13831"/>
                        <a:gd name="connsiteY1" fmla="*/ 2666 h 4400"/>
                        <a:gd name="connsiteX2" fmla="*/ 8986 w 13831"/>
                        <a:gd name="connsiteY2" fmla="*/ 3922 h 4400"/>
                        <a:gd name="connsiteX3" fmla="*/ 8388 w 13831"/>
                        <a:gd name="connsiteY3" fmla="*/ 3862 h 4400"/>
                        <a:gd name="connsiteX4" fmla="*/ 3424 w 13831"/>
                        <a:gd name="connsiteY4" fmla="*/ 4341 h 4400"/>
                        <a:gd name="connsiteX5" fmla="*/ 2348 w 13831"/>
                        <a:gd name="connsiteY5" fmla="*/ 4162 h 4400"/>
                        <a:gd name="connsiteX6" fmla="*/ 2348 w 13831"/>
                        <a:gd name="connsiteY6" fmla="*/ 3563 h 4400"/>
                        <a:gd name="connsiteX7" fmla="*/ 8209 w 13831"/>
                        <a:gd name="connsiteY7" fmla="*/ 2965 h 4400"/>
                        <a:gd name="connsiteX8" fmla="*/ 8806 w 13831"/>
                        <a:gd name="connsiteY8" fmla="*/ 3025 h 4400"/>
                        <a:gd name="connsiteX9" fmla="*/ 12336 w 13831"/>
                        <a:gd name="connsiteY9" fmla="*/ 2427 h 4400"/>
                        <a:gd name="connsiteX10" fmla="*/ 11438 w 13831"/>
                        <a:gd name="connsiteY10" fmla="*/ 1709 h 4400"/>
                        <a:gd name="connsiteX11" fmla="*/ 1211 w 13831"/>
                        <a:gd name="connsiteY11" fmla="*/ 1410 h 4400"/>
                        <a:gd name="connsiteX12" fmla="*/ 135 w 13831"/>
                        <a:gd name="connsiteY12" fmla="*/ 1171 h 4400"/>
                        <a:gd name="connsiteX13" fmla="*/ 135 w 13831"/>
                        <a:gd name="connsiteY13" fmla="*/ 693 h 4400"/>
                        <a:gd name="connsiteX14" fmla="*/ 314 w 13831"/>
                        <a:gd name="connsiteY14" fmla="*/ 633 h 4400"/>
                        <a:gd name="connsiteX15" fmla="*/ 12096 w 13831"/>
                        <a:gd name="connsiteY15" fmla="*/ 1111 h 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31" h="4400">
                          <a:moveTo>
                            <a:pt x="12096" y="1111"/>
                          </a:moveTo>
                          <a:cubicBezTo>
                            <a:pt x="13232" y="1590"/>
                            <a:pt x="13831" y="2128"/>
                            <a:pt x="13831" y="2666"/>
                          </a:cubicBezTo>
                          <a:cubicBezTo>
                            <a:pt x="13890" y="4281"/>
                            <a:pt x="11139" y="4102"/>
                            <a:pt x="8986" y="3922"/>
                          </a:cubicBezTo>
                          <a:cubicBezTo>
                            <a:pt x="8806" y="3922"/>
                            <a:pt x="8568" y="3862"/>
                            <a:pt x="8388" y="3862"/>
                          </a:cubicBezTo>
                          <a:cubicBezTo>
                            <a:pt x="5278" y="3623"/>
                            <a:pt x="3424" y="4341"/>
                            <a:pt x="3424" y="4341"/>
                          </a:cubicBezTo>
                          <a:cubicBezTo>
                            <a:pt x="3125" y="4461"/>
                            <a:pt x="2646" y="4401"/>
                            <a:pt x="2348" y="4162"/>
                          </a:cubicBezTo>
                          <a:cubicBezTo>
                            <a:pt x="2048" y="3982"/>
                            <a:pt x="2048" y="3683"/>
                            <a:pt x="2348" y="3563"/>
                          </a:cubicBezTo>
                          <a:cubicBezTo>
                            <a:pt x="2467" y="3503"/>
                            <a:pt x="4560" y="2726"/>
                            <a:pt x="8209" y="2965"/>
                          </a:cubicBezTo>
                          <a:cubicBezTo>
                            <a:pt x="8388" y="2965"/>
                            <a:pt x="8627" y="3025"/>
                            <a:pt x="8806" y="3025"/>
                          </a:cubicBezTo>
                          <a:cubicBezTo>
                            <a:pt x="11319" y="3204"/>
                            <a:pt x="12336" y="3264"/>
                            <a:pt x="12336" y="2427"/>
                          </a:cubicBezTo>
                          <a:cubicBezTo>
                            <a:pt x="12336" y="2128"/>
                            <a:pt x="11737" y="1829"/>
                            <a:pt x="11438" y="1709"/>
                          </a:cubicBezTo>
                          <a:cubicBezTo>
                            <a:pt x="9345" y="812"/>
                            <a:pt x="5098" y="453"/>
                            <a:pt x="1211" y="1410"/>
                          </a:cubicBezTo>
                          <a:cubicBezTo>
                            <a:pt x="852" y="1470"/>
                            <a:pt x="374" y="1410"/>
                            <a:pt x="135" y="1171"/>
                          </a:cubicBezTo>
                          <a:cubicBezTo>
                            <a:pt x="-45" y="992"/>
                            <a:pt x="-45" y="812"/>
                            <a:pt x="135" y="693"/>
                          </a:cubicBezTo>
                          <a:cubicBezTo>
                            <a:pt x="195" y="693"/>
                            <a:pt x="254" y="633"/>
                            <a:pt x="314" y="633"/>
                          </a:cubicBezTo>
                          <a:cubicBezTo>
                            <a:pt x="4680" y="-504"/>
                            <a:pt x="9524" y="35"/>
                            <a:pt x="12096" y="111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37" name="Vrije vorm: vorm 7236">
                      <a:extLst>
                        <a:ext uri="{FF2B5EF4-FFF2-40B4-BE49-F238E27FC236}">
                          <a16:creationId xmlns:a16="http://schemas.microsoft.com/office/drawing/2014/main" id="{4F499B8F-BF6A-4B9D-BDC1-C5D6DF289862}"/>
                        </a:ext>
                      </a:extLst>
                    </p:cNvPr>
                    <p:cNvSpPr/>
                    <p:nvPr/>
                  </p:nvSpPr>
                  <p:spPr>
                    <a:xfrm>
                      <a:off x="8060176" y="3889459"/>
                      <a:ext cx="16296" cy="6856"/>
                    </a:xfrm>
                    <a:custGeom>
                      <a:avLst/>
                      <a:gdLst>
                        <a:gd name="connsiteX0" fmla="*/ 4130 w 16296"/>
                        <a:gd name="connsiteY0" fmla="*/ 6004 h 6856"/>
                        <a:gd name="connsiteX1" fmla="*/ 9931 w 16296"/>
                        <a:gd name="connsiteY1" fmla="*/ 5825 h 6856"/>
                        <a:gd name="connsiteX2" fmla="*/ 13758 w 16296"/>
                        <a:gd name="connsiteY2" fmla="*/ 5466 h 6856"/>
                        <a:gd name="connsiteX3" fmla="*/ 14416 w 16296"/>
                        <a:gd name="connsiteY3" fmla="*/ 3313 h 6856"/>
                        <a:gd name="connsiteX4" fmla="*/ 10110 w 16296"/>
                        <a:gd name="connsiteY4" fmla="*/ 1040 h 6856"/>
                        <a:gd name="connsiteX5" fmla="*/ 1019 w 16296"/>
                        <a:gd name="connsiteY5" fmla="*/ 980 h 6856"/>
                        <a:gd name="connsiteX6" fmla="*/ 62 w 16296"/>
                        <a:gd name="connsiteY6" fmla="*/ 621 h 6856"/>
                        <a:gd name="connsiteX7" fmla="*/ 182 w 16296"/>
                        <a:gd name="connsiteY7" fmla="*/ 263 h 6856"/>
                        <a:gd name="connsiteX8" fmla="*/ 540 w 16296"/>
                        <a:gd name="connsiteY8" fmla="*/ 143 h 6856"/>
                        <a:gd name="connsiteX9" fmla="*/ 10110 w 16296"/>
                        <a:gd name="connsiteY9" fmla="*/ 203 h 6856"/>
                        <a:gd name="connsiteX10" fmla="*/ 15792 w 16296"/>
                        <a:gd name="connsiteY10" fmla="*/ 3193 h 6856"/>
                        <a:gd name="connsiteX11" fmla="*/ 14894 w 16296"/>
                        <a:gd name="connsiteY11" fmla="*/ 6183 h 6856"/>
                        <a:gd name="connsiteX12" fmla="*/ 10050 w 16296"/>
                        <a:gd name="connsiteY12" fmla="*/ 6662 h 6856"/>
                        <a:gd name="connsiteX13" fmla="*/ 4966 w 16296"/>
                        <a:gd name="connsiteY13" fmla="*/ 6842 h 6856"/>
                        <a:gd name="connsiteX14" fmla="*/ 3890 w 16296"/>
                        <a:gd name="connsiteY14" fmla="*/ 6543 h 6856"/>
                        <a:gd name="connsiteX15" fmla="*/ 4130 w 16296"/>
                        <a:gd name="connsiteY15" fmla="*/ 6004 h 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296" h="6856">
                          <a:moveTo>
                            <a:pt x="4130" y="6004"/>
                          </a:moveTo>
                          <a:cubicBezTo>
                            <a:pt x="6521" y="5466"/>
                            <a:pt x="8376" y="5645"/>
                            <a:pt x="9931" y="5825"/>
                          </a:cubicBezTo>
                          <a:cubicBezTo>
                            <a:pt x="11426" y="5944"/>
                            <a:pt x="12502" y="6064"/>
                            <a:pt x="13758" y="5466"/>
                          </a:cubicBezTo>
                          <a:cubicBezTo>
                            <a:pt x="15134" y="4808"/>
                            <a:pt x="14894" y="3971"/>
                            <a:pt x="14416" y="3313"/>
                          </a:cubicBezTo>
                          <a:cubicBezTo>
                            <a:pt x="13639" y="2236"/>
                            <a:pt x="11724" y="1220"/>
                            <a:pt x="10110" y="1040"/>
                          </a:cubicBezTo>
                          <a:cubicBezTo>
                            <a:pt x="7060" y="621"/>
                            <a:pt x="1079" y="980"/>
                            <a:pt x="1019" y="980"/>
                          </a:cubicBezTo>
                          <a:cubicBezTo>
                            <a:pt x="600" y="980"/>
                            <a:pt x="182" y="801"/>
                            <a:pt x="62" y="621"/>
                          </a:cubicBezTo>
                          <a:cubicBezTo>
                            <a:pt x="-57" y="502"/>
                            <a:pt x="2" y="322"/>
                            <a:pt x="182" y="263"/>
                          </a:cubicBezTo>
                          <a:cubicBezTo>
                            <a:pt x="242" y="203"/>
                            <a:pt x="362" y="203"/>
                            <a:pt x="540" y="143"/>
                          </a:cubicBezTo>
                          <a:cubicBezTo>
                            <a:pt x="780" y="143"/>
                            <a:pt x="6821" y="-216"/>
                            <a:pt x="10110" y="203"/>
                          </a:cubicBezTo>
                          <a:cubicBezTo>
                            <a:pt x="12323" y="502"/>
                            <a:pt x="14775" y="1758"/>
                            <a:pt x="15792" y="3193"/>
                          </a:cubicBezTo>
                          <a:cubicBezTo>
                            <a:pt x="16689" y="4449"/>
                            <a:pt x="16390" y="5526"/>
                            <a:pt x="14894" y="6183"/>
                          </a:cubicBezTo>
                          <a:cubicBezTo>
                            <a:pt x="13220" y="6961"/>
                            <a:pt x="11665" y="6782"/>
                            <a:pt x="10050" y="6662"/>
                          </a:cubicBezTo>
                          <a:cubicBezTo>
                            <a:pt x="8555" y="6543"/>
                            <a:pt x="7060" y="6363"/>
                            <a:pt x="4966" y="6842"/>
                          </a:cubicBezTo>
                          <a:cubicBezTo>
                            <a:pt x="4608" y="6901"/>
                            <a:pt x="4130" y="6782"/>
                            <a:pt x="3890" y="6543"/>
                          </a:cubicBezTo>
                          <a:cubicBezTo>
                            <a:pt x="3651" y="6363"/>
                            <a:pt x="3770" y="6124"/>
                            <a:pt x="4130" y="600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38" name="Vrije vorm: vorm 7237">
                      <a:extLst>
                        <a:ext uri="{FF2B5EF4-FFF2-40B4-BE49-F238E27FC236}">
                          <a16:creationId xmlns:a16="http://schemas.microsoft.com/office/drawing/2014/main" id="{9F5363EB-7BDF-49B8-8E5D-E2304930C467}"/>
                        </a:ext>
                      </a:extLst>
                    </p:cNvPr>
                    <p:cNvSpPr/>
                    <p:nvPr/>
                  </p:nvSpPr>
                  <p:spPr>
                    <a:xfrm>
                      <a:off x="8063061" y="3887687"/>
                      <a:ext cx="16172" cy="10110"/>
                    </a:xfrm>
                    <a:custGeom>
                      <a:avLst/>
                      <a:gdLst>
                        <a:gd name="connsiteX0" fmla="*/ 3518 w 16172"/>
                        <a:gd name="connsiteY0" fmla="*/ 9152 h 10110"/>
                        <a:gd name="connsiteX1" fmla="*/ 4295 w 16172"/>
                        <a:gd name="connsiteY1" fmla="*/ 8853 h 10110"/>
                        <a:gd name="connsiteX2" fmla="*/ 13266 w 16172"/>
                        <a:gd name="connsiteY2" fmla="*/ 8434 h 10110"/>
                        <a:gd name="connsiteX3" fmla="*/ 14402 w 16172"/>
                        <a:gd name="connsiteY3" fmla="*/ 5444 h 10110"/>
                        <a:gd name="connsiteX4" fmla="*/ 9499 w 16172"/>
                        <a:gd name="connsiteY4" fmla="*/ 2035 h 10110"/>
                        <a:gd name="connsiteX5" fmla="*/ 1125 w 16172"/>
                        <a:gd name="connsiteY5" fmla="*/ 1018 h 10110"/>
                        <a:gd name="connsiteX6" fmla="*/ 108 w 16172"/>
                        <a:gd name="connsiteY6" fmla="*/ 719 h 10110"/>
                        <a:gd name="connsiteX7" fmla="*/ 168 w 16172"/>
                        <a:gd name="connsiteY7" fmla="*/ 241 h 10110"/>
                        <a:gd name="connsiteX8" fmla="*/ 408 w 16172"/>
                        <a:gd name="connsiteY8" fmla="*/ 181 h 10110"/>
                        <a:gd name="connsiteX9" fmla="*/ 10097 w 16172"/>
                        <a:gd name="connsiteY9" fmla="*/ 1317 h 10110"/>
                        <a:gd name="connsiteX10" fmla="*/ 15898 w 16172"/>
                        <a:gd name="connsiteY10" fmla="*/ 5444 h 10110"/>
                        <a:gd name="connsiteX11" fmla="*/ 14462 w 16172"/>
                        <a:gd name="connsiteY11" fmla="*/ 9152 h 10110"/>
                        <a:gd name="connsiteX12" fmla="*/ 4236 w 16172"/>
                        <a:gd name="connsiteY12" fmla="*/ 9690 h 10110"/>
                        <a:gd name="connsiteX13" fmla="*/ 3518 w 16172"/>
                        <a:gd name="connsiteY13" fmla="*/ 9152 h 10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72" h="10110">
                          <a:moveTo>
                            <a:pt x="3518" y="9152"/>
                          </a:moveTo>
                          <a:cubicBezTo>
                            <a:pt x="3518" y="8913"/>
                            <a:pt x="3876" y="8793"/>
                            <a:pt x="4295" y="8853"/>
                          </a:cubicBezTo>
                          <a:cubicBezTo>
                            <a:pt x="4355" y="8853"/>
                            <a:pt x="10515" y="9929"/>
                            <a:pt x="13266" y="8434"/>
                          </a:cubicBezTo>
                          <a:cubicBezTo>
                            <a:pt x="14462" y="7777"/>
                            <a:pt x="14941" y="6580"/>
                            <a:pt x="14402" y="5444"/>
                          </a:cubicBezTo>
                          <a:cubicBezTo>
                            <a:pt x="13984" y="4487"/>
                            <a:pt x="12788" y="3171"/>
                            <a:pt x="9499" y="2035"/>
                          </a:cubicBezTo>
                          <a:cubicBezTo>
                            <a:pt x="4714" y="360"/>
                            <a:pt x="1304" y="958"/>
                            <a:pt x="1125" y="1018"/>
                          </a:cubicBezTo>
                          <a:cubicBezTo>
                            <a:pt x="766" y="1078"/>
                            <a:pt x="288" y="958"/>
                            <a:pt x="108" y="719"/>
                          </a:cubicBezTo>
                          <a:cubicBezTo>
                            <a:pt x="-71" y="540"/>
                            <a:pt x="-11" y="360"/>
                            <a:pt x="168" y="241"/>
                          </a:cubicBezTo>
                          <a:cubicBezTo>
                            <a:pt x="228" y="181"/>
                            <a:pt x="288" y="181"/>
                            <a:pt x="408" y="181"/>
                          </a:cubicBezTo>
                          <a:cubicBezTo>
                            <a:pt x="587" y="121"/>
                            <a:pt x="4594" y="-597"/>
                            <a:pt x="10097" y="1317"/>
                          </a:cubicBezTo>
                          <a:cubicBezTo>
                            <a:pt x="13147" y="2394"/>
                            <a:pt x="15180" y="3829"/>
                            <a:pt x="15898" y="5444"/>
                          </a:cubicBezTo>
                          <a:cubicBezTo>
                            <a:pt x="16555" y="6939"/>
                            <a:pt x="16017" y="8315"/>
                            <a:pt x="14462" y="9152"/>
                          </a:cubicBezTo>
                          <a:cubicBezTo>
                            <a:pt x="11173" y="10887"/>
                            <a:pt x="4534" y="9750"/>
                            <a:pt x="4236" y="9690"/>
                          </a:cubicBezTo>
                          <a:cubicBezTo>
                            <a:pt x="3816" y="9571"/>
                            <a:pt x="3518" y="9332"/>
                            <a:pt x="3518" y="915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39" name="Vrije vorm: vorm 7238">
                      <a:extLst>
                        <a:ext uri="{FF2B5EF4-FFF2-40B4-BE49-F238E27FC236}">
                          <a16:creationId xmlns:a16="http://schemas.microsoft.com/office/drawing/2014/main" id="{63110604-F8D8-42F4-B472-616F36F19944}"/>
                        </a:ext>
                      </a:extLst>
                    </p:cNvPr>
                    <p:cNvSpPr/>
                    <p:nvPr/>
                  </p:nvSpPr>
                  <p:spPr>
                    <a:xfrm>
                      <a:off x="8069621" y="3886692"/>
                      <a:ext cx="12355" cy="12419"/>
                    </a:xfrm>
                    <a:custGeom>
                      <a:avLst/>
                      <a:gdLst>
                        <a:gd name="connsiteX0" fmla="*/ 2998 w 12355"/>
                        <a:gd name="connsiteY0" fmla="*/ 11702 h 12419"/>
                        <a:gd name="connsiteX1" fmla="*/ 10534 w 12355"/>
                        <a:gd name="connsiteY1" fmla="*/ 8891 h 12419"/>
                        <a:gd name="connsiteX2" fmla="*/ 9457 w 12355"/>
                        <a:gd name="connsiteY2" fmla="*/ 4824 h 12419"/>
                        <a:gd name="connsiteX3" fmla="*/ 666 w 12355"/>
                        <a:gd name="connsiteY3" fmla="*/ 877 h 12419"/>
                        <a:gd name="connsiteX4" fmla="*/ 7 w 12355"/>
                        <a:gd name="connsiteY4" fmla="*/ 279 h 12419"/>
                        <a:gd name="connsiteX5" fmla="*/ 127 w 12355"/>
                        <a:gd name="connsiteY5" fmla="*/ 99 h 12419"/>
                        <a:gd name="connsiteX6" fmla="*/ 845 w 12355"/>
                        <a:gd name="connsiteY6" fmla="*/ 39 h 12419"/>
                        <a:gd name="connsiteX7" fmla="*/ 10713 w 12355"/>
                        <a:gd name="connsiteY7" fmla="*/ 4465 h 12419"/>
                        <a:gd name="connsiteX8" fmla="*/ 12029 w 12355"/>
                        <a:gd name="connsiteY8" fmla="*/ 9190 h 12419"/>
                        <a:gd name="connsiteX9" fmla="*/ 3417 w 12355"/>
                        <a:gd name="connsiteY9" fmla="*/ 12419 h 12419"/>
                        <a:gd name="connsiteX10" fmla="*/ 2520 w 12355"/>
                        <a:gd name="connsiteY10" fmla="*/ 12001 h 12419"/>
                        <a:gd name="connsiteX11" fmla="*/ 2998 w 12355"/>
                        <a:gd name="connsiteY11" fmla="*/ 11702 h 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55" h="12419">
                          <a:moveTo>
                            <a:pt x="2998" y="11702"/>
                          </a:moveTo>
                          <a:cubicBezTo>
                            <a:pt x="3058" y="11702"/>
                            <a:pt x="9218" y="11642"/>
                            <a:pt x="10534" y="8891"/>
                          </a:cubicBezTo>
                          <a:cubicBezTo>
                            <a:pt x="11191" y="7575"/>
                            <a:pt x="10773" y="6140"/>
                            <a:pt x="9457" y="4824"/>
                          </a:cubicBezTo>
                          <a:cubicBezTo>
                            <a:pt x="7783" y="3209"/>
                            <a:pt x="4732" y="1834"/>
                            <a:pt x="666" y="877"/>
                          </a:cubicBezTo>
                          <a:cubicBezTo>
                            <a:pt x="247" y="757"/>
                            <a:pt x="-52" y="518"/>
                            <a:pt x="7" y="279"/>
                          </a:cubicBezTo>
                          <a:cubicBezTo>
                            <a:pt x="7" y="219"/>
                            <a:pt x="67" y="159"/>
                            <a:pt x="127" y="99"/>
                          </a:cubicBezTo>
                          <a:cubicBezTo>
                            <a:pt x="307" y="-21"/>
                            <a:pt x="546" y="-21"/>
                            <a:pt x="845" y="39"/>
                          </a:cubicBezTo>
                          <a:cubicBezTo>
                            <a:pt x="5390" y="1056"/>
                            <a:pt x="8740" y="2611"/>
                            <a:pt x="10713" y="4465"/>
                          </a:cubicBezTo>
                          <a:cubicBezTo>
                            <a:pt x="12268" y="5960"/>
                            <a:pt x="12746" y="7695"/>
                            <a:pt x="12029" y="9190"/>
                          </a:cubicBezTo>
                          <a:cubicBezTo>
                            <a:pt x="10534" y="12419"/>
                            <a:pt x="3656" y="12419"/>
                            <a:pt x="3417" y="12419"/>
                          </a:cubicBezTo>
                          <a:cubicBezTo>
                            <a:pt x="2998" y="12419"/>
                            <a:pt x="2580" y="12240"/>
                            <a:pt x="2520" y="12001"/>
                          </a:cubicBezTo>
                          <a:cubicBezTo>
                            <a:pt x="2340" y="11941"/>
                            <a:pt x="2580" y="11702"/>
                            <a:pt x="2998" y="1170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40" name="Vrije vorm: vorm 7239">
                      <a:extLst>
                        <a:ext uri="{FF2B5EF4-FFF2-40B4-BE49-F238E27FC236}">
                          <a16:creationId xmlns:a16="http://schemas.microsoft.com/office/drawing/2014/main" id="{738C95FB-7F9C-4F71-B7C6-FACF544FD803}"/>
                        </a:ext>
                      </a:extLst>
                    </p:cNvPr>
                    <p:cNvSpPr/>
                    <p:nvPr/>
                  </p:nvSpPr>
                  <p:spPr>
                    <a:xfrm>
                      <a:off x="8077854" y="3890798"/>
                      <a:ext cx="6788" cy="9317"/>
                    </a:xfrm>
                    <a:custGeom>
                      <a:avLst/>
                      <a:gdLst>
                        <a:gd name="connsiteX0" fmla="*/ 267 w 6788"/>
                        <a:gd name="connsiteY0" fmla="*/ 8493 h 9317"/>
                        <a:gd name="connsiteX1" fmla="*/ 5052 w 6788"/>
                        <a:gd name="connsiteY1" fmla="*/ 5203 h 9317"/>
                        <a:gd name="connsiteX2" fmla="*/ 3497 w 6788"/>
                        <a:gd name="connsiteY2" fmla="*/ 658 h 9317"/>
                        <a:gd name="connsiteX3" fmla="*/ 3437 w 6788"/>
                        <a:gd name="connsiteY3" fmla="*/ 120 h 9317"/>
                        <a:gd name="connsiteX4" fmla="*/ 3557 w 6788"/>
                        <a:gd name="connsiteY4" fmla="*/ 60 h 9317"/>
                        <a:gd name="connsiteX5" fmla="*/ 4633 w 6788"/>
                        <a:gd name="connsiteY5" fmla="*/ 239 h 9317"/>
                        <a:gd name="connsiteX6" fmla="*/ 6547 w 6788"/>
                        <a:gd name="connsiteY6" fmla="*/ 5562 h 9317"/>
                        <a:gd name="connsiteX7" fmla="*/ 1224 w 6788"/>
                        <a:gd name="connsiteY7" fmla="*/ 9270 h 9317"/>
                        <a:gd name="connsiteX8" fmla="*/ 147 w 6788"/>
                        <a:gd name="connsiteY8" fmla="*/ 9031 h 9317"/>
                        <a:gd name="connsiteX9" fmla="*/ 267 w 6788"/>
                        <a:gd name="connsiteY9" fmla="*/ 8493 h 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88" h="9317">
                          <a:moveTo>
                            <a:pt x="267" y="8493"/>
                          </a:moveTo>
                          <a:cubicBezTo>
                            <a:pt x="327" y="8493"/>
                            <a:pt x="4334" y="7237"/>
                            <a:pt x="5052" y="5203"/>
                          </a:cubicBezTo>
                          <a:cubicBezTo>
                            <a:pt x="5949" y="2512"/>
                            <a:pt x="3617" y="718"/>
                            <a:pt x="3497" y="658"/>
                          </a:cubicBezTo>
                          <a:cubicBezTo>
                            <a:pt x="3258" y="478"/>
                            <a:pt x="3198" y="239"/>
                            <a:pt x="3437" y="120"/>
                          </a:cubicBezTo>
                          <a:cubicBezTo>
                            <a:pt x="3437" y="120"/>
                            <a:pt x="3497" y="60"/>
                            <a:pt x="3557" y="60"/>
                          </a:cubicBezTo>
                          <a:cubicBezTo>
                            <a:pt x="3855" y="-60"/>
                            <a:pt x="4334" y="0"/>
                            <a:pt x="4633" y="239"/>
                          </a:cubicBezTo>
                          <a:cubicBezTo>
                            <a:pt x="4753" y="299"/>
                            <a:pt x="7623" y="2452"/>
                            <a:pt x="6547" y="5562"/>
                          </a:cubicBezTo>
                          <a:cubicBezTo>
                            <a:pt x="5710" y="7954"/>
                            <a:pt x="1404" y="9270"/>
                            <a:pt x="1224" y="9270"/>
                          </a:cubicBezTo>
                          <a:cubicBezTo>
                            <a:pt x="925" y="9390"/>
                            <a:pt x="447" y="9270"/>
                            <a:pt x="147" y="9031"/>
                          </a:cubicBezTo>
                          <a:cubicBezTo>
                            <a:pt x="-91" y="8852"/>
                            <a:pt x="-32" y="8612"/>
                            <a:pt x="267" y="8493"/>
                          </a:cubicBezTo>
                          <a:close/>
                        </a:path>
                      </a:pathLst>
                    </a:custGeom>
                    <a:grpFill/>
                    <a:ln w="6350" cap="flat">
                      <a:solidFill>
                        <a:schemeClr val="bg1">
                          <a:alpha val="40000"/>
                        </a:schemeClr>
                      </a:solidFill>
                      <a:prstDash val="solid"/>
                      <a:miter/>
                    </a:ln>
                  </p:spPr>
                  <p:txBody>
                    <a:bodyPr rtlCol="0" anchor="ctr"/>
                    <a:lstStyle/>
                    <a:p>
                      <a:endParaRPr lang="en-GB"/>
                    </a:p>
                  </p:txBody>
                </p:sp>
              </p:grpSp>
              <p:sp>
                <p:nvSpPr>
                  <p:cNvPr id="7219" name="Vrije vorm: vorm 7218">
                    <a:extLst>
                      <a:ext uri="{FF2B5EF4-FFF2-40B4-BE49-F238E27FC236}">
                        <a16:creationId xmlns:a16="http://schemas.microsoft.com/office/drawing/2014/main" id="{4F7A044C-81B2-4949-BA6A-093F26ABC5E4}"/>
                      </a:ext>
                    </a:extLst>
                  </p:cNvPr>
                  <p:cNvSpPr/>
                  <p:nvPr/>
                </p:nvSpPr>
                <p:spPr>
                  <a:xfrm>
                    <a:off x="8078360" y="3788289"/>
                    <a:ext cx="94914" cy="123023"/>
                  </a:xfrm>
                  <a:custGeom>
                    <a:avLst/>
                    <a:gdLst>
                      <a:gd name="connsiteX0" fmla="*/ 0 w 94914"/>
                      <a:gd name="connsiteY0" fmla="*/ 123024 h 123023"/>
                      <a:gd name="connsiteX1" fmla="*/ 94914 w 94914"/>
                      <a:gd name="connsiteY1" fmla="*/ 0 h 123023"/>
                    </a:gdLst>
                    <a:ahLst/>
                    <a:cxnLst>
                      <a:cxn ang="0">
                        <a:pos x="connsiteX0" y="connsiteY0"/>
                      </a:cxn>
                      <a:cxn ang="0">
                        <a:pos x="connsiteX1" y="connsiteY1"/>
                      </a:cxn>
                    </a:cxnLst>
                    <a:rect l="l" t="t" r="r" b="b"/>
                    <a:pathLst>
                      <a:path w="94914" h="123023">
                        <a:moveTo>
                          <a:pt x="0" y="123024"/>
                        </a:moveTo>
                        <a:lnTo>
                          <a:pt x="94914" y="0"/>
                        </a:lnTo>
                      </a:path>
                    </a:pathLst>
                  </a:custGeom>
                  <a:grpFill/>
                  <a:ln w="6350" cap="flat">
                    <a:solidFill>
                      <a:schemeClr val="bg1">
                        <a:alpha val="40000"/>
                      </a:schemeClr>
                    </a:solidFill>
                    <a:prstDash val="solid"/>
                    <a:miter/>
                  </a:ln>
                </p:spPr>
                <p:txBody>
                  <a:bodyPr rtlCol="0" anchor="ctr"/>
                  <a:lstStyle/>
                  <a:p>
                    <a:endParaRPr lang="en-GB"/>
                  </a:p>
                </p:txBody>
              </p:sp>
              <p:sp>
                <p:nvSpPr>
                  <p:cNvPr id="7220" name="Vrije vorm: vorm 7219">
                    <a:extLst>
                      <a:ext uri="{FF2B5EF4-FFF2-40B4-BE49-F238E27FC236}">
                        <a16:creationId xmlns:a16="http://schemas.microsoft.com/office/drawing/2014/main" id="{2D80549C-5D14-4E32-B39C-39B036C62E35}"/>
                      </a:ext>
                    </a:extLst>
                  </p:cNvPr>
                  <p:cNvSpPr/>
                  <p:nvPr/>
                </p:nvSpPr>
                <p:spPr>
                  <a:xfrm>
                    <a:off x="8044836" y="3704977"/>
                    <a:ext cx="4696" cy="186957"/>
                  </a:xfrm>
                  <a:custGeom>
                    <a:avLst/>
                    <a:gdLst>
                      <a:gd name="connsiteX0" fmla="*/ 1228 w 4696"/>
                      <a:gd name="connsiteY0" fmla="*/ 186957 h 186957"/>
                      <a:gd name="connsiteX1" fmla="*/ 4697 w 4696"/>
                      <a:gd name="connsiteY1" fmla="*/ 0 h 186957"/>
                    </a:gdLst>
                    <a:ahLst/>
                    <a:cxnLst>
                      <a:cxn ang="0">
                        <a:pos x="connsiteX0" y="connsiteY0"/>
                      </a:cxn>
                      <a:cxn ang="0">
                        <a:pos x="connsiteX1" y="connsiteY1"/>
                      </a:cxn>
                    </a:cxnLst>
                    <a:rect l="l" t="t" r="r" b="b"/>
                    <a:pathLst>
                      <a:path w="4696" h="186957">
                        <a:moveTo>
                          <a:pt x="1228" y="186957"/>
                        </a:moveTo>
                        <a:cubicBezTo>
                          <a:pt x="-2899" y="175594"/>
                          <a:pt x="4697" y="0"/>
                          <a:pt x="4697" y="0"/>
                        </a:cubicBezTo>
                      </a:path>
                    </a:pathLst>
                  </a:custGeom>
                  <a:grpFill/>
                  <a:ln w="6350" cap="flat">
                    <a:solidFill>
                      <a:schemeClr val="bg1">
                        <a:alpha val="40000"/>
                      </a:schemeClr>
                    </a:solidFill>
                    <a:prstDash val="solid"/>
                    <a:miter/>
                  </a:ln>
                </p:spPr>
                <p:txBody>
                  <a:bodyPr rtlCol="0" anchor="ctr"/>
                  <a:lstStyle/>
                  <a:p>
                    <a:endParaRPr lang="en-GB"/>
                  </a:p>
                </p:txBody>
              </p:sp>
              <p:grpSp>
                <p:nvGrpSpPr>
                  <p:cNvPr id="7221" name="Graphic 3">
                    <a:extLst>
                      <a:ext uri="{FF2B5EF4-FFF2-40B4-BE49-F238E27FC236}">
                        <a16:creationId xmlns:a16="http://schemas.microsoft.com/office/drawing/2014/main" id="{C10E8650-E799-465F-A042-55BBE13F29F4}"/>
                      </a:ext>
                    </a:extLst>
                  </p:cNvPr>
                  <p:cNvGrpSpPr/>
                  <p:nvPr/>
                </p:nvGrpSpPr>
                <p:grpSpPr>
                  <a:xfrm>
                    <a:off x="8017860" y="3685061"/>
                    <a:ext cx="220787" cy="109348"/>
                    <a:chOff x="8017860" y="3685061"/>
                    <a:chExt cx="220787" cy="109348"/>
                  </a:xfrm>
                  <a:grpFill/>
                </p:grpSpPr>
                <p:sp>
                  <p:nvSpPr>
                    <p:cNvPr id="7224" name="Vrije vorm: vorm 7223">
                      <a:extLst>
                        <a:ext uri="{FF2B5EF4-FFF2-40B4-BE49-F238E27FC236}">
                          <a16:creationId xmlns:a16="http://schemas.microsoft.com/office/drawing/2014/main" id="{538FE827-8317-4045-B1DC-5A620F355C2A}"/>
                        </a:ext>
                      </a:extLst>
                    </p:cNvPr>
                    <p:cNvSpPr/>
                    <p:nvPr/>
                  </p:nvSpPr>
                  <p:spPr>
                    <a:xfrm>
                      <a:off x="8196591" y="3759116"/>
                      <a:ext cx="42056" cy="35293"/>
                    </a:xfrm>
                    <a:custGeom>
                      <a:avLst/>
                      <a:gdLst>
                        <a:gd name="connsiteX0" fmla="*/ 1564 w 42056"/>
                        <a:gd name="connsiteY0" fmla="*/ 29292 h 35293"/>
                        <a:gd name="connsiteX1" fmla="*/ 31108 w 42056"/>
                        <a:gd name="connsiteY1" fmla="*/ 2140 h 35293"/>
                        <a:gd name="connsiteX2" fmla="*/ 32543 w 42056"/>
                        <a:gd name="connsiteY2" fmla="*/ 405 h 35293"/>
                        <a:gd name="connsiteX3" fmla="*/ 36730 w 42056"/>
                        <a:gd name="connsiteY3" fmla="*/ 166 h 35293"/>
                        <a:gd name="connsiteX4" fmla="*/ 42053 w 42056"/>
                        <a:gd name="connsiteY4" fmla="*/ 4233 h 35293"/>
                        <a:gd name="connsiteX5" fmla="*/ 9398 w 42056"/>
                        <a:gd name="connsiteY5" fmla="*/ 34914 h 35293"/>
                        <a:gd name="connsiteX6" fmla="*/ 1623 w 42056"/>
                        <a:gd name="connsiteY6" fmla="*/ 33598 h 35293"/>
                        <a:gd name="connsiteX7" fmla="*/ 1564 w 42056"/>
                        <a:gd name="connsiteY7" fmla="*/ 29292 h 35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56" h="35293">
                          <a:moveTo>
                            <a:pt x="1564" y="29292"/>
                          </a:moveTo>
                          <a:cubicBezTo>
                            <a:pt x="1862" y="29173"/>
                            <a:pt x="30331" y="17749"/>
                            <a:pt x="31108" y="2140"/>
                          </a:cubicBezTo>
                          <a:cubicBezTo>
                            <a:pt x="31168" y="1362"/>
                            <a:pt x="31706" y="764"/>
                            <a:pt x="32543" y="405"/>
                          </a:cubicBezTo>
                          <a:cubicBezTo>
                            <a:pt x="33560" y="-13"/>
                            <a:pt x="35056" y="-133"/>
                            <a:pt x="36730" y="166"/>
                          </a:cubicBezTo>
                          <a:cubicBezTo>
                            <a:pt x="39780" y="764"/>
                            <a:pt x="42172" y="2558"/>
                            <a:pt x="42053" y="4233"/>
                          </a:cubicBezTo>
                          <a:cubicBezTo>
                            <a:pt x="41156" y="22175"/>
                            <a:pt x="10714" y="34376"/>
                            <a:pt x="9398" y="34914"/>
                          </a:cubicBezTo>
                          <a:cubicBezTo>
                            <a:pt x="7305" y="35751"/>
                            <a:pt x="3836" y="35153"/>
                            <a:pt x="1623" y="33598"/>
                          </a:cubicBezTo>
                          <a:cubicBezTo>
                            <a:pt x="-470" y="32103"/>
                            <a:pt x="-590" y="30129"/>
                            <a:pt x="1564" y="2929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25" name="Vrije vorm: vorm 7224">
                      <a:extLst>
                        <a:ext uri="{FF2B5EF4-FFF2-40B4-BE49-F238E27FC236}">
                          <a16:creationId xmlns:a16="http://schemas.microsoft.com/office/drawing/2014/main" id="{FCBD2B0C-9E1A-4909-9F8E-F3981C750132}"/>
                        </a:ext>
                      </a:extLst>
                    </p:cNvPr>
                    <p:cNvSpPr/>
                    <p:nvPr/>
                  </p:nvSpPr>
                  <p:spPr>
                    <a:xfrm>
                      <a:off x="8163135" y="3727668"/>
                      <a:ext cx="58279" cy="62386"/>
                    </a:xfrm>
                    <a:custGeom>
                      <a:avLst/>
                      <a:gdLst>
                        <a:gd name="connsiteX0" fmla="*/ 2603 w 58279"/>
                        <a:gd name="connsiteY0" fmla="*/ 56076 h 62386"/>
                        <a:gd name="connsiteX1" fmla="*/ 43153 w 58279"/>
                        <a:gd name="connsiteY1" fmla="*/ 36878 h 62386"/>
                        <a:gd name="connsiteX2" fmla="*/ 38966 w 58279"/>
                        <a:gd name="connsiteY2" fmla="*/ 4223 h 62386"/>
                        <a:gd name="connsiteX3" fmla="*/ 39385 w 58279"/>
                        <a:gd name="connsiteY3" fmla="*/ 395 h 62386"/>
                        <a:gd name="connsiteX4" fmla="*/ 40162 w 58279"/>
                        <a:gd name="connsiteY4" fmla="*/ 156 h 62386"/>
                        <a:gd name="connsiteX5" fmla="*/ 47817 w 58279"/>
                        <a:gd name="connsiteY5" fmla="*/ 2189 h 62386"/>
                        <a:gd name="connsiteX6" fmla="*/ 53679 w 58279"/>
                        <a:gd name="connsiteY6" fmla="*/ 40526 h 62386"/>
                        <a:gd name="connsiteX7" fmla="*/ 8404 w 58279"/>
                        <a:gd name="connsiteY7" fmla="*/ 62296 h 62386"/>
                        <a:gd name="connsiteX8" fmla="*/ 869 w 58279"/>
                        <a:gd name="connsiteY8" fmla="*/ 59963 h 62386"/>
                        <a:gd name="connsiteX9" fmla="*/ 2603 w 58279"/>
                        <a:gd name="connsiteY9" fmla="*/ 56076 h 6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79" h="62386">
                          <a:moveTo>
                            <a:pt x="2603" y="56076"/>
                          </a:moveTo>
                          <a:cubicBezTo>
                            <a:pt x="2902" y="56016"/>
                            <a:pt x="34540" y="50753"/>
                            <a:pt x="43153" y="36878"/>
                          </a:cubicBezTo>
                          <a:cubicBezTo>
                            <a:pt x="54217" y="19055"/>
                            <a:pt x="39564" y="4821"/>
                            <a:pt x="38966" y="4223"/>
                          </a:cubicBezTo>
                          <a:cubicBezTo>
                            <a:pt x="37351" y="2728"/>
                            <a:pt x="37590" y="1173"/>
                            <a:pt x="39385" y="395"/>
                          </a:cubicBezTo>
                          <a:cubicBezTo>
                            <a:pt x="39624" y="276"/>
                            <a:pt x="39863" y="216"/>
                            <a:pt x="40162" y="156"/>
                          </a:cubicBezTo>
                          <a:cubicBezTo>
                            <a:pt x="42614" y="-382"/>
                            <a:pt x="46023" y="515"/>
                            <a:pt x="47817" y="2189"/>
                          </a:cubicBezTo>
                          <a:cubicBezTo>
                            <a:pt x="48595" y="2907"/>
                            <a:pt x="66477" y="19892"/>
                            <a:pt x="53679" y="40526"/>
                          </a:cubicBezTo>
                          <a:cubicBezTo>
                            <a:pt x="43870" y="56375"/>
                            <a:pt x="9840" y="62057"/>
                            <a:pt x="8404" y="62296"/>
                          </a:cubicBezTo>
                          <a:cubicBezTo>
                            <a:pt x="5833" y="62714"/>
                            <a:pt x="2424" y="61638"/>
                            <a:pt x="869" y="59963"/>
                          </a:cubicBezTo>
                          <a:cubicBezTo>
                            <a:pt x="-806" y="58229"/>
                            <a:pt x="31" y="56494"/>
                            <a:pt x="2603" y="5607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26" name="Vrije vorm: vorm 7225">
                      <a:extLst>
                        <a:ext uri="{FF2B5EF4-FFF2-40B4-BE49-F238E27FC236}">
                          <a16:creationId xmlns:a16="http://schemas.microsoft.com/office/drawing/2014/main" id="{32482A39-8F76-44FD-BE7C-FD35D783435F}"/>
                        </a:ext>
                      </a:extLst>
                    </p:cNvPr>
                    <p:cNvSpPr/>
                    <p:nvPr/>
                  </p:nvSpPr>
                  <p:spPr>
                    <a:xfrm>
                      <a:off x="8017860" y="3685061"/>
                      <a:ext cx="219383" cy="95142"/>
                    </a:xfrm>
                    <a:custGeom>
                      <a:avLst/>
                      <a:gdLst>
                        <a:gd name="connsiteX0" fmla="*/ 217255 w 219383"/>
                        <a:gd name="connsiteY0" fmla="*/ 8792 h 95142"/>
                        <a:gd name="connsiteX1" fmla="*/ 162890 w 219383"/>
                        <a:gd name="connsiteY1" fmla="*/ 31579 h 95142"/>
                        <a:gd name="connsiteX2" fmla="*/ 177005 w 219383"/>
                        <a:gd name="connsiteY2" fmla="*/ 44916 h 95142"/>
                        <a:gd name="connsiteX3" fmla="*/ 179098 w 219383"/>
                        <a:gd name="connsiteY3" fmla="*/ 78707 h 95142"/>
                        <a:gd name="connsiteX4" fmla="*/ 109841 w 219383"/>
                        <a:gd name="connsiteY4" fmla="*/ 94436 h 95142"/>
                        <a:gd name="connsiteX5" fmla="*/ 103681 w 219383"/>
                        <a:gd name="connsiteY5" fmla="*/ 90728 h 95142"/>
                        <a:gd name="connsiteX6" fmla="*/ 108406 w 219383"/>
                        <a:gd name="connsiteY6" fmla="*/ 88157 h 95142"/>
                        <a:gd name="connsiteX7" fmla="*/ 168811 w 219383"/>
                        <a:gd name="connsiteY7" fmla="*/ 74700 h 95142"/>
                        <a:gd name="connsiteX8" fmla="*/ 167196 w 219383"/>
                        <a:gd name="connsiteY8" fmla="*/ 45873 h 95142"/>
                        <a:gd name="connsiteX9" fmla="*/ 155414 w 219383"/>
                        <a:gd name="connsiteY9" fmla="*/ 34689 h 95142"/>
                        <a:gd name="connsiteX10" fmla="*/ 150092 w 219383"/>
                        <a:gd name="connsiteY10" fmla="*/ 36902 h 95142"/>
                        <a:gd name="connsiteX11" fmla="*/ 164026 w 219383"/>
                        <a:gd name="connsiteY11" fmla="*/ 56279 h 95142"/>
                        <a:gd name="connsiteX12" fmla="*/ 147460 w 219383"/>
                        <a:gd name="connsiteY12" fmla="*/ 80920 h 95142"/>
                        <a:gd name="connsiteX13" fmla="*/ 70727 w 219383"/>
                        <a:gd name="connsiteY13" fmla="*/ 76614 h 95142"/>
                        <a:gd name="connsiteX14" fmla="*/ 66361 w 219383"/>
                        <a:gd name="connsiteY14" fmla="*/ 72308 h 95142"/>
                        <a:gd name="connsiteX15" fmla="*/ 66601 w 219383"/>
                        <a:gd name="connsiteY15" fmla="*/ 71889 h 95142"/>
                        <a:gd name="connsiteX16" fmla="*/ 13791 w 219383"/>
                        <a:gd name="connsiteY16" fmla="*/ 94018 h 95142"/>
                        <a:gd name="connsiteX17" fmla="*/ 2547 w 219383"/>
                        <a:gd name="connsiteY17" fmla="*/ 92223 h 95142"/>
                        <a:gd name="connsiteX18" fmla="*/ 2129 w 219383"/>
                        <a:gd name="connsiteY18" fmla="*/ 85884 h 95142"/>
                        <a:gd name="connsiteX19" fmla="*/ 205593 w 219383"/>
                        <a:gd name="connsiteY19" fmla="*/ 599 h 95142"/>
                        <a:gd name="connsiteX20" fmla="*/ 216837 w 219383"/>
                        <a:gd name="connsiteY20" fmla="*/ 2393 h 95142"/>
                        <a:gd name="connsiteX21" fmla="*/ 217255 w 219383"/>
                        <a:gd name="connsiteY21" fmla="*/ 8792 h 95142"/>
                        <a:gd name="connsiteX22" fmla="*/ 72760 w 219383"/>
                        <a:gd name="connsiteY22" fmla="*/ 70992 h 95142"/>
                        <a:gd name="connsiteX23" fmla="*/ 139925 w 219383"/>
                        <a:gd name="connsiteY23" fmla="*/ 75178 h 95142"/>
                        <a:gd name="connsiteX24" fmla="*/ 153142 w 219383"/>
                        <a:gd name="connsiteY24" fmla="*/ 55203 h 95142"/>
                        <a:gd name="connsiteX25" fmla="*/ 142616 w 219383"/>
                        <a:gd name="connsiteY25" fmla="*/ 40071 h 95142"/>
                        <a:gd name="connsiteX26" fmla="*/ 136395 w 219383"/>
                        <a:gd name="connsiteY26" fmla="*/ 42703 h 95142"/>
                        <a:gd name="connsiteX27" fmla="*/ 142616 w 219383"/>
                        <a:gd name="connsiteY27" fmla="*/ 50897 h 95142"/>
                        <a:gd name="connsiteX28" fmla="*/ 131013 w 219383"/>
                        <a:gd name="connsiteY28" fmla="*/ 71052 h 95142"/>
                        <a:gd name="connsiteX29" fmla="*/ 94411 w 219383"/>
                        <a:gd name="connsiteY29" fmla="*/ 70454 h 95142"/>
                        <a:gd name="connsiteX30" fmla="*/ 76768 w 219383"/>
                        <a:gd name="connsiteY30" fmla="*/ 67643 h 95142"/>
                        <a:gd name="connsiteX31" fmla="*/ 69591 w 219383"/>
                        <a:gd name="connsiteY31" fmla="*/ 70633 h 95142"/>
                        <a:gd name="connsiteX32" fmla="*/ 72760 w 219383"/>
                        <a:gd name="connsiteY32" fmla="*/ 70992 h 95142"/>
                        <a:gd name="connsiteX33" fmla="*/ 105774 w 219383"/>
                        <a:gd name="connsiteY33" fmla="*/ 55502 h 95142"/>
                        <a:gd name="connsiteX34" fmla="*/ 116240 w 219383"/>
                        <a:gd name="connsiteY34" fmla="*/ 51614 h 95142"/>
                        <a:gd name="connsiteX35" fmla="*/ 116240 w 219383"/>
                        <a:gd name="connsiteY35" fmla="*/ 51076 h 95142"/>
                        <a:gd name="connsiteX36" fmla="*/ 105774 w 219383"/>
                        <a:gd name="connsiteY36" fmla="*/ 55502 h 95142"/>
                        <a:gd name="connsiteX37" fmla="*/ 127186 w 219383"/>
                        <a:gd name="connsiteY37" fmla="*/ 54246 h 95142"/>
                        <a:gd name="connsiteX38" fmla="*/ 94890 w 219383"/>
                        <a:gd name="connsiteY38" fmla="*/ 60047 h 95142"/>
                        <a:gd name="connsiteX39" fmla="*/ 87593 w 219383"/>
                        <a:gd name="connsiteY39" fmla="*/ 63097 h 95142"/>
                        <a:gd name="connsiteX40" fmla="*/ 94770 w 219383"/>
                        <a:gd name="connsiteY40" fmla="*/ 64473 h 95142"/>
                        <a:gd name="connsiteX41" fmla="*/ 123836 w 219383"/>
                        <a:gd name="connsiteY41" fmla="*/ 65191 h 95142"/>
                        <a:gd name="connsiteX42" fmla="*/ 132090 w 219383"/>
                        <a:gd name="connsiteY42" fmla="*/ 50897 h 95142"/>
                        <a:gd name="connsiteX43" fmla="*/ 128621 w 219383"/>
                        <a:gd name="connsiteY43" fmla="*/ 45933 h 95142"/>
                        <a:gd name="connsiteX44" fmla="*/ 124494 w 219383"/>
                        <a:gd name="connsiteY44" fmla="*/ 47667 h 95142"/>
                        <a:gd name="connsiteX45" fmla="*/ 127186 w 219383"/>
                        <a:gd name="connsiteY45" fmla="*/ 54246 h 95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19383" h="95142">
                          <a:moveTo>
                            <a:pt x="217255" y="8792"/>
                          </a:moveTo>
                          <a:lnTo>
                            <a:pt x="162890" y="31579"/>
                          </a:lnTo>
                          <a:cubicBezTo>
                            <a:pt x="168751" y="35945"/>
                            <a:pt x="173417" y="40371"/>
                            <a:pt x="177005" y="44916"/>
                          </a:cubicBezTo>
                          <a:cubicBezTo>
                            <a:pt x="186155" y="56698"/>
                            <a:pt x="186873" y="68659"/>
                            <a:pt x="179098" y="78707"/>
                          </a:cubicBezTo>
                          <a:cubicBezTo>
                            <a:pt x="162711" y="99759"/>
                            <a:pt x="111994" y="94675"/>
                            <a:pt x="109841" y="94436"/>
                          </a:cubicBezTo>
                          <a:cubicBezTo>
                            <a:pt x="106851" y="94137"/>
                            <a:pt x="104040" y="92463"/>
                            <a:pt x="103681" y="90728"/>
                          </a:cubicBezTo>
                          <a:cubicBezTo>
                            <a:pt x="103263" y="88994"/>
                            <a:pt x="105416" y="87858"/>
                            <a:pt x="108406" y="88157"/>
                          </a:cubicBezTo>
                          <a:cubicBezTo>
                            <a:pt x="108884" y="88216"/>
                            <a:pt x="154757" y="92762"/>
                            <a:pt x="168811" y="74700"/>
                          </a:cubicBezTo>
                          <a:cubicBezTo>
                            <a:pt x="175629" y="65968"/>
                            <a:pt x="175091" y="55980"/>
                            <a:pt x="167196" y="45873"/>
                          </a:cubicBezTo>
                          <a:cubicBezTo>
                            <a:pt x="164206" y="42045"/>
                            <a:pt x="160199" y="38217"/>
                            <a:pt x="155414" y="34689"/>
                          </a:cubicBezTo>
                          <a:lnTo>
                            <a:pt x="150092" y="36902"/>
                          </a:lnTo>
                          <a:cubicBezTo>
                            <a:pt x="157567" y="43062"/>
                            <a:pt x="162411" y="49701"/>
                            <a:pt x="164026" y="56279"/>
                          </a:cubicBezTo>
                          <a:cubicBezTo>
                            <a:pt x="166598" y="67045"/>
                            <a:pt x="160258" y="76494"/>
                            <a:pt x="147460" y="80920"/>
                          </a:cubicBezTo>
                          <a:cubicBezTo>
                            <a:pt x="120487" y="90369"/>
                            <a:pt x="72760" y="77152"/>
                            <a:pt x="70727" y="76614"/>
                          </a:cubicBezTo>
                          <a:cubicBezTo>
                            <a:pt x="67737" y="75776"/>
                            <a:pt x="65823" y="73863"/>
                            <a:pt x="66361" y="72308"/>
                          </a:cubicBezTo>
                          <a:cubicBezTo>
                            <a:pt x="66421" y="72128"/>
                            <a:pt x="66421" y="72009"/>
                            <a:pt x="66601" y="71889"/>
                          </a:cubicBezTo>
                          <a:lnTo>
                            <a:pt x="13791" y="94018"/>
                          </a:lnTo>
                          <a:cubicBezTo>
                            <a:pt x="10800" y="95274"/>
                            <a:pt x="5777" y="94496"/>
                            <a:pt x="2547" y="92223"/>
                          </a:cubicBezTo>
                          <a:cubicBezTo>
                            <a:pt x="-682" y="89951"/>
                            <a:pt x="-862" y="87140"/>
                            <a:pt x="2129" y="85884"/>
                          </a:cubicBezTo>
                          <a:lnTo>
                            <a:pt x="205593" y="599"/>
                          </a:lnTo>
                          <a:cubicBezTo>
                            <a:pt x="208583" y="-657"/>
                            <a:pt x="213607" y="120"/>
                            <a:pt x="216837" y="2393"/>
                          </a:cubicBezTo>
                          <a:cubicBezTo>
                            <a:pt x="220066" y="4666"/>
                            <a:pt x="220245" y="7536"/>
                            <a:pt x="217255" y="8792"/>
                          </a:cubicBezTo>
                          <a:close/>
                          <a:moveTo>
                            <a:pt x="72760" y="70992"/>
                          </a:moveTo>
                          <a:cubicBezTo>
                            <a:pt x="73180" y="71111"/>
                            <a:pt x="117018" y="83193"/>
                            <a:pt x="139925" y="75178"/>
                          </a:cubicBezTo>
                          <a:cubicBezTo>
                            <a:pt x="150032" y="71650"/>
                            <a:pt x="155235" y="63815"/>
                            <a:pt x="153142" y="55203"/>
                          </a:cubicBezTo>
                          <a:cubicBezTo>
                            <a:pt x="152185" y="51196"/>
                            <a:pt x="149374" y="45873"/>
                            <a:pt x="142616" y="40071"/>
                          </a:cubicBezTo>
                          <a:lnTo>
                            <a:pt x="136395" y="42703"/>
                          </a:lnTo>
                          <a:cubicBezTo>
                            <a:pt x="139027" y="45335"/>
                            <a:pt x="141240" y="48145"/>
                            <a:pt x="142616" y="50897"/>
                          </a:cubicBezTo>
                          <a:cubicBezTo>
                            <a:pt x="147341" y="60167"/>
                            <a:pt x="143094" y="67523"/>
                            <a:pt x="131013" y="71052"/>
                          </a:cubicBezTo>
                          <a:cubicBezTo>
                            <a:pt x="117556" y="74999"/>
                            <a:pt x="106312" y="72786"/>
                            <a:pt x="94411" y="70454"/>
                          </a:cubicBezTo>
                          <a:cubicBezTo>
                            <a:pt x="88849" y="69377"/>
                            <a:pt x="82988" y="68121"/>
                            <a:pt x="76768" y="67643"/>
                          </a:cubicBezTo>
                          <a:lnTo>
                            <a:pt x="69591" y="70633"/>
                          </a:lnTo>
                          <a:cubicBezTo>
                            <a:pt x="70249" y="70394"/>
                            <a:pt x="71624" y="70693"/>
                            <a:pt x="72760" y="70992"/>
                          </a:cubicBezTo>
                          <a:close/>
                          <a:moveTo>
                            <a:pt x="105774" y="55502"/>
                          </a:moveTo>
                          <a:cubicBezTo>
                            <a:pt x="112174" y="55920"/>
                            <a:pt x="115583" y="55083"/>
                            <a:pt x="116240" y="51614"/>
                          </a:cubicBezTo>
                          <a:cubicBezTo>
                            <a:pt x="116300" y="51435"/>
                            <a:pt x="116121" y="51136"/>
                            <a:pt x="116240" y="51076"/>
                          </a:cubicBezTo>
                          <a:lnTo>
                            <a:pt x="105774" y="55502"/>
                          </a:lnTo>
                          <a:close/>
                          <a:moveTo>
                            <a:pt x="127186" y="54246"/>
                          </a:moveTo>
                          <a:cubicBezTo>
                            <a:pt x="125152" y="64353"/>
                            <a:pt x="109482" y="62619"/>
                            <a:pt x="94890" y="60047"/>
                          </a:cubicBezTo>
                          <a:lnTo>
                            <a:pt x="87593" y="63097"/>
                          </a:lnTo>
                          <a:cubicBezTo>
                            <a:pt x="89865" y="63396"/>
                            <a:pt x="92497" y="63994"/>
                            <a:pt x="94770" y="64473"/>
                          </a:cubicBezTo>
                          <a:cubicBezTo>
                            <a:pt x="105714" y="66626"/>
                            <a:pt x="113609" y="68181"/>
                            <a:pt x="123836" y="65191"/>
                          </a:cubicBezTo>
                          <a:cubicBezTo>
                            <a:pt x="135080" y="61901"/>
                            <a:pt x="134542" y="55621"/>
                            <a:pt x="132090" y="50897"/>
                          </a:cubicBezTo>
                          <a:cubicBezTo>
                            <a:pt x="131252" y="49222"/>
                            <a:pt x="129697" y="47368"/>
                            <a:pt x="128621" y="45933"/>
                          </a:cubicBezTo>
                          <a:lnTo>
                            <a:pt x="124494" y="47667"/>
                          </a:lnTo>
                          <a:cubicBezTo>
                            <a:pt x="126587" y="49880"/>
                            <a:pt x="127604" y="52153"/>
                            <a:pt x="127186" y="5424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27" name="Vrije vorm: vorm 7226">
                      <a:extLst>
                        <a:ext uri="{FF2B5EF4-FFF2-40B4-BE49-F238E27FC236}">
                          <a16:creationId xmlns:a16="http://schemas.microsoft.com/office/drawing/2014/main" id="{71EC5278-6518-40E6-B20E-84A5B329FAC0}"/>
                        </a:ext>
                      </a:extLst>
                    </p:cNvPr>
                    <p:cNvSpPr/>
                    <p:nvPr/>
                  </p:nvSpPr>
                  <p:spPr>
                    <a:xfrm>
                      <a:off x="8121983" y="3690934"/>
                      <a:ext cx="36099" cy="15598"/>
                    </a:xfrm>
                    <a:custGeom>
                      <a:avLst/>
                      <a:gdLst>
                        <a:gd name="connsiteX0" fmla="*/ 3983 w 36099"/>
                        <a:gd name="connsiteY0" fmla="*/ 5850 h 15598"/>
                        <a:gd name="connsiteX1" fmla="*/ 216 w 36099"/>
                        <a:gd name="connsiteY1" fmla="*/ 1425 h 15598"/>
                        <a:gd name="connsiteX2" fmla="*/ 1471 w 36099"/>
                        <a:gd name="connsiteY2" fmla="*/ 408 h 15598"/>
                        <a:gd name="connsiteX3" fmla="*/ 7034 w 36099"/>
                        <a:gd name="connsiteY3" fmla="*/ 587 h 15598"/>
                        <a:gd name="connsiteX4" fmla="*/ 36100 w 36099"/>
                        <a:gd name="connsiteY4" fmla="*/ 12369 h 15598"/>
                        <a:gd name="connsiteX5" fmla="*/ 28385 w 36099"/>
                        <a:gd name="connsiteY5" fmla="*/ 15599 h 15598"/>
                        <a:gd name="connsiteX6" fmla="*/ 3983 w 36099"/>
                        <a:gd name="connsiteY6" fmla="*/ 5850 h 1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99" h="15598">
                          <a:moveTo>
                            <a:pt x="3983" y="5850"/>
                          </a:moveTo>
                          <a:cubicBezTo>
                            <a:pt x="1053" y="4893"/>
                            <a:pt x="-622" y="2860"/>
                            <a:pt x="216" y="1425"/>
                          </a:cubicBezTo>
                          <a:cubicBezTo>
                            <a:pt x="455" y="1006"/>
                            <a:pt x="873" y="647"/>
                            <a:pt x="1471" y="408"/>
                          </a:cubicBezTo>
                          <a:cubicBezTo>
                            <a:pt x="2847" y="-190"/>
                            <a:pt x="5000" y="-130"/>
                            <a:pt x="7034" y="587"/>
                          </a:cubicBezTo>
                          <a:cubicBezTo>
                            <a:pt x="17799" y="4236"/>
                            <a:pt x="27308" y="8003"/>
                            <a:pt x="36100" y="12369"/>
                          </a:cubicBezTo>
                          <a:lnTo>
                            <a:pt x="28385" y="15599"/>
                          </a:lnTo>
                          <a:cubicBezTo>
                            <a:pt x="20849" y="11891"/>
                            <a:pt x="12955" y="8841"/>
                            <a:pt x="3983" y="585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28" name="Vrije vorm: vorm 7227">
                      <a:extLst>
                        <a:ext uri="{FF2B5EF4-FFF2-40B4-BE49-F238E27FC236}">
                          <a16:creationId xmlns:a16="http://schemas.microsoft.com/office/drawing/2014/main" id="{9806FD6C-691F-4A6D-85A6-7EB314F1DFDE}"/>
                        </a:ext>
                      </a:extLst>
                    </p:cNvPr>
                    <p:cNvSpPr/>
                    <p:nvPr/>
                  </p:nvSpPr>
                  <p:spPr>
                    <a:xfrm>
                      <a:off x="8072181" y="3692409"/>
                      <a:ext cx="73582" cy="19206"/>
                    </a:xfrm>
                    <a:custGeom>
                      <a:avLst/>
                      <a:gdLst>
                        <a:gd name="connsiteX0" fmla="*/ 73583 w 73582"/>
                        <a:gd name="connsiteY0" fmla="*/ 15977 h 19206"/>
                        <a:gd name="connsiteX1" fmla="*/ 65807 w 73582"/>
                        <a:gd name="connsiteY1" fmla="*/ 19207 h 19206"/>
                        <a:gd name="connsiteX2" fmla="*/ 7795 w 73582"/>
                        <a:gd name="connsiteY2" fmla="*/ 6528 h 19206"/>
                        <a:gd name="connsiteX3" fmla="*/ 498 w 73582"/>
                        <a:gd name="connsiteY3" fmla="*/ 3717 h 19206"/>
                        <a:gd name="connsiteX4" fmla="*/ 1455 w 73582"/>
                        <a:gd name="connsiteY4" fmla="*/ 547 h 19206"/>
                        <a:gd name="connsiteX5" fmla="*/ 3189 w 73582"/>
                        <a:gd name="connsiteY5" fmla="*/ 128 h 19206"/>
                        <a:gd name="connsiteX6" fmla="*/ 73163 w 73582"/>
                        <a:gd name="connsiteY6" fmla="*/ 15678 h 19206"/>
                        <a:gd name="connsiteX7" fmla="*/ 73583 w 73582"/>
                        <a:gd name="connsiteY7" fmla="*/ 15977 h 19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82" h="19206">
                          <a:moveTo>
                            <a:pt x="73583" y="15977"/>
                          </a:moveTo>
                          <a:lnTo>
                            <a:pt x="65807" y="19207"/>
                          </a:lnTo>
                          <a:cubicBezTo>
                            <a:pt x="33870" y="4733"/>
                            <a:pt x="8871" y="6468"/>
                            <a:pt x="7795" y="6528"/>
                          </a:cubicBezTo>
                          <a:cubicBezTo>
                            <a:pt x="5043" y="6707"/>
                            <a:pt x="1754" y="5451"/>
                            <a:pt x="498" y="3717"/>
                          </a:cubicBezTo>
                          <a:cubicBezTo>
                            <a:pt x="-459" y="2401"/>
                            <a:pt x="19" y="1145"/>
                            <a:pt x="1455" y="547"/>
                          </a:cubicBezTo>
                          <a:cubicBezTo>
                            <a:pt x="1933" y="367"/>
                            <a:pt x="2532" y="188"/>
                            <a:pt x="3189" y="128"/>
                          </a:cubicBezTo>
                          <a:cubicBezTo>
                            <a:pt x="4505" y="9"/>
                            <a:pt x="35425" y="-2025"/>
                            <a:pt x="73163" y="15678"/>
                          </a:cubicBezTo>
                          <a:cubicBezTo>
                            <a:pt x="73283" y="15858"/>
                            <a:pt x="73523" y="15977"/>
                            <a:pt x="73583" y="1597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29" name="Vrije vorm: vorm 7228">
                      <a:extLst>
                        <a:ext uri="{FF2B5EF4-FFF2-40B4-BE49-F238E27FC236}">
                          <a16:creationId xmlns:a16="http://schemas.microsoft.com/office/drawing/2014/main" id="{74AB56AD-9A95-462B-8349-CB74A6857388}"/>
                        </a:ext>
                      </a:extLst>
                    </p:cNvPr>
                    <p:cNvSpPr/>
                    <p:nvPr/>
                  </p:nvSpPr>
                  <p:spPr>
                    <a:xfrm>
                      <a:off x="8047837" y="3702809"/>
                      <a:ext cx="84767" cy="14548"/>
                    </a:xfrm>
                    <a:custGeom>
                      <a:avLst/>
                      <a:gdLst>
                        <a:gd name="connsiteX0" fmla="*/ 75079 w 84767"/>
                        <a:gd name="connsiteY0" fmla="*/ 7969 h 14548"/>
                        <a:gd name="connsiteX1" fmla="*/ 84768 w 84767"/>
                        <a:gd name="connsiteY1" fmla="*/ 11079 h 14548"/>
                        <a:gd name="connsiteX2" fmla="*/ 76514 w 84767"/>
                        <a:gd name="connsiteY2" fmla="*/ 14548 h 14548"/>
                        <a:gd name="connsiteX3" fmla="*/ 74003 w 84767"/>
                        <a:gd name="connsiteY3" fmla="*/ 13830 h 14548"/>
                        <a:gd name="connsiteX4" fmla="*/ 6720 w 84767"/>
                        <a:gd name="connsiteY4" fmla="*/ 6355 h 14548"/>
                        <a:gd name="connsiteX5" fmla="*/ 141 w 84767"/>
                        <a:gd name="connsiteY5" fmla="*/ 2886 h 14548"/>
                        <a:gd name="connsiteX6" fmla="*/ 1457 w 84767"/>
                        <a:gd name="connsiteY6" fmla="*/ 374 h 14548"/>
                        <a:gd name="connsiteX7" fmla="*/ 4268 w 84767"/>
                        <a:gd name="connsiteY7" fmla="*/ 15 h 14548"/>
                        <a:gd name="connsiteX8" fmla="*/ 75079 w 84767"/>
                        <a:gd name="connsiteY8" fmla="*/ 7969 h 1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67" h="14548">
                          <a:moveTo>
                            <a:pt x="75079" y="7969"/>
                          </a:moveTo>
                          <a:cubicBezTo>
                            <a:pt x="78309" y="8747"/>
                            <a:pt x="81718" y="9883"/>
                            <a:pt x="84768" y="11079"/>
                          </a:cubicBezTo>
                          <a:lnTo>
                            <a:pt x="76514" y="14548"/>
                          </a:lnTo>
                          <a:cubicBezTo>
                            <a:pt x="75677" y="14309"/>
                            <a:pt x="74840" y="14070"/>
                            <a:pt x="74003" y="13830"/>
                          </a:cubicBezTo>
                          <a:cubicBezTo>
                            <a:pt x="51994" y="8687"/>
                            <a:pt x="7198" y="6414"/>
                            <a:pt x="6720" y="6355"/>
                          </a:cubicBezTo>
                          <a:cubicBezTo>
                            <a:pt x="3789" y="6235"/>
                            <a:pt x="799" y="4680"/>
                            <a:pt x="141" y="2886"/>
                          </a:cubicBezTo>
                          <a:cubicBezTo>
                            <a:pt x="-278" y="1809"/>
                            <a:pt x="260" y="852"/>
                            <a:pt x="1457" y="374"/>
                          </a:cubicBezTo>
                          <a:cubicBezTo>
                            <a:pt x="2174" y="75"/>
                            <a:pt x="3131" y="-45"/>
                            <a:pt x="4268" y="15"/>
                          </a:cubicBezTo>
                          <a:cubicBezTo>
                            <a:pt x="6181" y="135"/>
                            <a:pt x="51276" y="2407"/>
                            <a:pt x="75079" y="796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30" name="Vrije vorm: vorm 7229">
                      <a:extLst>
                        <a:ext uri="{FF2B5EF4-FFF2-40B4-BE49-F238E27FC236}">
                          <a16:creationId xmlns:a16="http://schemas.microsoft.com/office/drawing/2014/main" id="{599D3FB6-948B-4615-B991-E2F92B39E30F}"/>
                        </a:ext>
                      </a:extLst>
                    </p:cNvPr>
                    <p:cNvSpPr/>
                    <p:nvPr/>
                  </p:nvSpPr>
                  <p:spPr>
                    <a:xfrm>
                      <a:off x="8056257" y="3734816"/>
                      <a:ext cx="26170" cy="7959"/>
                    </a:xfrm>
                    <a:custGeom>
                      <a:avLst/>
                      <a:gdLst>
                        <a:gd name="connsiteX0" fmla="*/ 26170 w 26170"/>
                        <a:gd name="connsiteY0" fmla="*/ 125 h 7959"/>
                        <a:gd name="connsiteX1" fmla="*/ 7391 w 26170"/>
                        <a:gd name="connsiteY1" fmla="*/ 7959 h 7959"/>
                        <a:gd name="connsiteX2" fmla="*/ 1111 w 26170"/>
                        <a:gd name="connsiteY2" fmla="*/ 5806 h 7959"/>
                        <a:gd name="connsiteX3" fmla="*/ 2187 w 26170"/>
                        <a:gd name="connsiteY3" fmla="*/ 1739 h 7959"/>
                        <a:gd name="connsiteX4" fmla="*/ 26170 w 26170"/>
                        <a:gd name="connsiteY4" fmla="*/ 125 h 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70" h="7959">
                          <a:moveTo>
                            <a:pt x="26170" y="125"/>
                          </a:moveTo>
                          <a:lnTo>
                            <a:pt x="7391" y="7959"/>
                          </a:lnTo>
                          <a:cubicBezTo>
                            <a:pt x="4879" y="7780"/>
                            <a:pt x="2607" y="7122"/>
                            <a:pt x="1111" y="5806"/>
                          </a:cubicBezTo>
                          <a:cubicBezTo>
                            <a:pt x="-743" y="4132"/>
                            <a:pt x="-204" y="2338"/>
                            <a:pt x="2187" y="1739"/>
                          </a:cubicBezTo>
                          <a:cubicBezTo>
                            <a:pt x="2666" y="1620"/>
                            <a:pt x="11458" y="-533"/>
                            <a:pt x="26170" y="12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31" name="Vrije vorm: vorm 7230">
                      <a:extLst>
                        <a:ext uri="{FF2B5EF4-FFF2-40B4-BE49-F238E27FC236}">
                          <a16:creationId xmlns:a16="http://schemas.microsoft.com/office/drawing/2014/main" id="{AA107446-8D0E-4C7F-A640-2CD70742C453}"/>
                        </a:ext>
                      </a:extLst>
                    </p:cNvPr>
                    <p:cNvSpPr/>
                    <p:nvPr/>
                  </p:nvSpPr>
                  <p:spPr>
                    <a:xfrm>
                      <a:off x="8045100" y="3713233"/>
                      <a:ext cx="72493" cy="10643"/>
                    </a:xfrm>
                    <a:custGeom>
                      <a:avLst/>
                      <a:gdLst>
                        <a:gd name="connsiteX0" fmla="*/ 72494 w 72493"/>
                        <a:gd name="connsiteY0" fmla="*/ 6936 h 10643"/>
                        <a:gd name="connsiteX1" fmla="*/ 63582 w 72493"/>
                        <a:gd name="connsiteY1" fmla="*/ 10644 h 10643"/>
                        <a:gd name="connsiteX2" fmla="*/ 8141 w 72493"/>
                        <a:gd name="connsiteY2" fmla="*/ 7474 h 10643"/>
                        <a:gd name="connsiteX3" fmla="*/ 665 w 72493"/>
                        <a:gd name="connsiteY3" fmla="*/ 4902 h 10643"/>
                        <a:gd name="connsiteX4" fmla="*/ 1443 w 72493"/>
                        <a:gd name="connsiteY4" fmla="*/ 1493 h 10643"/>
                        <a:gd name="connsiteX5" fmla="*/ 2878 w 72493"/>
                        <a:gd name="connsiteY5" fmla="*/ 1194 h 10643"/>
                        <a:gd name="connsiteX6" fmla="*/ 72494 w 72493"/>
                        <a:gd name="connsiteY6" fmla="*/ 6936 h 10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493" h="10643">
                          <a:moveTo>
                            <a:pt x="72494" y="6936"/>
                          </a:moveTo>
                          <a:lnTo>
                            <a:pt x="63582" y="10644"/>
                          </a:lnTo>
                          <a:cubicBezTo>
                            <a:pt x="47793" y="6756"/>
                            <a:pt x="27878" y="5082"/>
                            <a:pt x="8141" y="7474"/>
                          </a:cubicBezTo>
                          <a:cubicBezTo>
                            <a:pt x="5450" y="7773"/>
                            <a:pt x="2100" y="6636"/>
                            <a:pt x="665" y="4902"/>
                          </a:cubicBezTo>
                          <a:cubicBezTo>
                            <a:pt x="-471" y="3527"/>
                            <a:pt x="-113" y="2151"/>
                            <a:pt x="1443" y="1493"/>
                          </a:cubicBezTo>
                          <a:cubicBezTo>
                            <a:pt x="1862" y="1314"/>
                            <a:pt x="2340" y="1254"/>
                            <a:pt x="2878" y="1194"/>
                          </a:cubicBezTo>
                          <a:cubicBezTo>
                            <a:pt x="28117" y="-1856"/>
                            <a:pt x="53714" y="1254"/>
                            <a:pt x="72494" y="693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32" name="Vrije vorm: vorm 7231">
                      <a:extLst>
                        <a:ext uri="{FF2B5EF4-FFF2-40B4-BE49-F238E27FC236}">
                          <a16:creationId xmlns:a16="http://schemas.microsoft.com/office/drawing/2014/main" id="{E481B258-9A72-41CF-BA51-8958BA080773}"/>
                        </a:ext>
                      </a:extLst>
                    </p:cNvPr>
                    <p:cNvSpPr/>
                    <p:nvPr/>
                  </p:nvSpPr>
                  <p:spPr>
                    <a:xfrm>
                      <a:off x="8046081" y="3723260"/>
                      <a:ext cx="56800" cy="8063"/>
                    </a:xfrm>
                    <a:custGeom>
                      <a:avLst/>
                      <a:gdLst>
                        <a:gd name="connsiteX0" fmla="*/ 56801 w 56800"/>
                        <a:gd name="connsiteY0" fmla="*/ 3129 h 8063"/>
                        <a:gd name="connsiteX1" fmla="*/ 46274 w 56800"/>
                        <a:gd name="connsiteY1" fmla="*/ 7555 h 8063"/>
                        <a:gd name="connsiteX2" fmla="*/ 8417 w 56800"/>
                        <a:gd name="connsiteY2" fmla="*/ 7973 h 8063"/>
                        <a:gd name="connsiteX3" fmla="*/ 821 w 56800"/>
                        <a:gd name="connsiteY3" fmla="*/ 5641 h 8063"/>
                        <a:gd name="connsiteX4" fmla="*/ 1479 w 56800"/>
                        <a:gd name="connsiteY4" fmla="*/ 2052 h 8063"/>
                        <a:gd name="connsiteX5" fmla="*/ 2675 w 56800"/>
                        <a:gd name="connsiteY5" fmla="*/ 1753 h 8063"/>
                        <a:gd name="connsiteX6" fmla="*/ 56801 w 56800"/>
                        <a:gd name="connsiteY6" fmla="*/ 3129 h 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00" h="8063">
                          <a:moveTo>
                            <a:pt x="56801" y="3129"/>
                          </a:moveTo>
                          <a:lnTo>
                            <a:pt x="46274" y="7555"/>
                          </a:lnTo>
                          <a:cubicBezTo>
                            <a:pt x="35270" y="5999"/>
                            <a:pt x="22292" y="5701"/>
                            <a:pt x="8417" y="7973"/>
                          </a:cubicBezTo>
                          <a:cubicBezTo>
                            <a:pt x="5845" y="8392"/>
                            <a:pt x="2436" y="7315"/>
                            <a:pt x="821" y="5641"/>
                          </a:cubicBezTo>
                          <a:cubicBezTo>
                            <a:pt x="-495" y="4205"/>
                            <a:pt x="-196" y="2770"/>
                            <a:pt x="1479" y="2052"/>
                          </a:cubicBezTo>
                          <a:cubicBezTo>
                            <a:pt x="1778" y="1933"/>
                            <a:pt x="2196" y="1813"/>
                            <a:pt x="2675" y="1753"/>
                          </a:cubicBezTo>
                          <a:cubicBezTo>
                            <a:pt x="23607" y="-1716"/>
                            <a:pt x="43583" y="617"/>
                            <a:pt x="56801" y="3129"/>
                          </a:cubicBezTo>
                          <a:close/>
                        </a:path>
                      </a:pathLst>
                    </a:custGeom>
                    <a:grpFill/>
                    <a:ln w="6350" cap="flat">
                      <a:solidFill>
                        <a:schemeClr val="bg1">
                          <a:alpha val="40000"/>
                        </a:schemeClr>
                      </a:solidFill>
                      <a:prstDash val="solid"/>
                      <a:miter/>
                    </a:ln>
                  </p:spPr>
                  <p:txBody>
                    <a:bodyPr rtlCol="0" anchor="ctr"/>
                    <a:lstStyle/>
                    <a:p>
                      <a:endParaRPr lang="en-GB"/>
                    </a:p>
                  </p:txBody>
                </p:sp>
              </p:grpSp>
              <p:sp>
                <p:nvSpPr>
                  <p:cNvPr id="7222" name="Vrije vorm: vorm 7221">
                    <a:extLst>
                      <a:ext uri="{FF2B5EF4-FFF2-40B4-BE49-F238E27FC236}">
                        <a16:creationId xmlns:a16="http://schemas.microsoft.com/office/drawing/2014/main" id="{073A18B3-DE0F-40DC-B883-48C157C6E7E9}"/>
                      </a:ext>
                    </a:extLst>
                  </p:cNvPr>
                  <p:cNvSpPr/>
                  <p:nvPr/>
                </p:nvSpPr>
                <p:spPr>
                  <a:xfrm>
                    <a:off x="8101027" y="3761376"/>
                    <a:ext cx="134506" cy="133669"/>
                  </a:xfrm>
                  <a:custGeom>
                    <a:avLst/>
                    <a:gdLst>
                      <a:gd name="connsiteX0" fmla="*/ 0 w 134506"/>
                      <a:gd name="connsiteY0" fmla="*/ 133669 h 133669"/>
                      <a:gd name="connsiteX1" fmla="*/ 134507 w 134506"/>
                      <a:gd name="connsiteY1" fmla="*/ 0 h 133669"/>
                    </a:gdLst>
                    <a:ahLst/>
                    <a:cxnLst>
                      <a:cxn ang="0">
                        <a:pos x="connsiteX0" y="connsiteY0"/>
                      </a:cxn>
                      <a:cxn ang="0">
                        <a:pos x="connsiteX1" y="connsiteY1"/>
                      </a:cxn>
                    </a:cxnLst>
                    <a:rect l="l" t="t" r="r" b="b"/>
                    <a:pathLst>
                      <a:path w="134506" h="133669">
                        <a:moveTo>
                          <a:pt x="0" y="133669"/>
                        </a:moveTo>
                        <a:lnTo>
                          <a:pt x="134507" y="0"/>
                        </a:lnTo>
                      </a:path>
                    </a:pathLst>
                  </a:custGeom>
                  <a:grpFill/>
                  <a:ln w="6350" cap="flat">
                    <a:solidFill>
                      <a:schemeClr val="bg1">
                        <a:alpha val="40000"/>
                      </a:schemeClr>
                    </a:solidFill>
                    <a:prstDash val="solid"/>
                    <a:miter/>
                  </a:ln>
                </p:spPr>
                <p:txBody>
                  <a:bodyPr rtlCol="0" anchor="ctr"/>
                  <a:lstStyle/>
                  <a:p>
                    <a:endParaRPr lang="en-GB"/>
                  </a:p>
                </p:txBody>
              </p:sp>
              <p:sp>
                <p:nvSpPr>
                  <p:cNvPr id="7223" name="Vrije vorm: vorm 7222">
                    <a:extLst>
                      <a:ext uri="{FF2B5EF4-FFF2-40B4-BE49-F238E27FC236}">
                        <a16:creationId xmlns:a16="http://schemas.microsoft.com/office/drawing/2014/main" id="{B1111347-E8F2-4E2B-997D-5B3DBD9B8D74}"/>
                      </a:ext>
                    </a:extLst>
                  </p:cNvPr>
                  <p:cNvSpPr/>
                  <p:nvPr/>
                </p:nvSpPr>
                <p:spPr>
                  <a:xfrm>
                    <a:off x="8068671" y="3693494"/>
                    <a:ext cx="56697" cy="184804"/>
                  </a:xfrm>
                  <a:custGeom>
                    <a:avLst/>
                    <a:gdLst>
                      <a:gd name="connsiteX0" fmla="*/ 0 w 56697"/>
                      <a:gd name="connsiteY0" fmla="*/ 184804 h 184804"/>
                      <a:gd name="connsiteX1" fmla="*/ 56697 w 56697"/>
                      <a:gd name="connsiteY1" fmla="*/ 0 h 184804"/>
                    </a:gdLst>
                    <a:ahLst/>
                    <a:cxnLst>
                      <a:cxn ang="0">
                        <a:pos x="connsiteX0" y="connsiteY0"/>
                      </a:cxn>
                      <a:cxn ang="0">
                        <a:pos x="connsiteX1" y="connsiteY1"/>
                      </a:cxn>
                    </a:cxnLst>
                    <a:rect l="l" t="t" r="r" b="b"/>
                    <a:pathLst>
                      <a:path w="56697" h="184804">
                        <a:moveTo>
                          <a:pt x="0" y="184804"/>
                        </a:moveTo>
                        <a:lnTo>
                          <a:pt x="56697" y="0"/>
                        </a:lnTo>
                      </a:path>
                    </a:pathLst>
                  </a:custGeom>
                  <a:grpFill/>
                  <a:ln w="6350" cap="flat">
                    <a:solidFill>
                      <a:schemeClr val="bg1">
                        <a:alpha val="40000"/>
                      </a:schemeClr>
                    </a:solidFill>
                    <a:prstDash val="solid"/>
                    <a:miter/>
                  </a:ln>
                </p:spPr>
                <p:txBody>
                  <a:bodyPr rtlCol="0" anchor="ctr"/>
                  <a:lstStyle/>
                  <a:p>
                    <a:endParaRPr lang="en-GB"/>
                  </a:p>
                </p:txBody>
              </p:sp>
            </p:grpSp>
            <p:grpSp>
              <p:nvGrpSpPr>
                <p:cNvPr id="7174" name="Groep 7173">
                  <a:extLst>
                    <a:ext uri="{FF2B5EF4-FFF2-40B4-BE49-F238E27FC236}">
                      <a16:creationId xmlns:a16="http://schemas.microsoft.com/office/drawing/2014/main" id="{C3DA3E78-8D65-4D09-95B1-216FF1EC86F3}"/>
                    </a:ext>
                  </a:extLst>
                </p:cNvPr>
                <p:cNvGrpSpPr/>
                <p:nvPr/>
              </p:nvGrpSpPr>
              <p:grpSpPr>
                <a:xfrm>
                  <a:off x="8118815" y="4329126"/>
                  <a:ext cx="141897" cy="128827"/>
                  <a:chOff x="8118815" y="4329126"/>
                  <a:chExt cx="141897" cy="128827"/>
                </a:xfrm>
                <a:noFill/>
              </p:grpSpPr>
              <p:grpSp>
                <p:nvGrpSpPr>
                  <p:cNvPr id="7196" name="Graphic 3">
                    <a:extLst>
                      <a:ext uri="{FF2B5EF4-FFF2-40B4-BE49-F238E27FC236}">
                        <a16:creationId xmlns:a16="http://schemas.microsoft.com/office/drawing/2014/main" id="{4BC7D69A-E017-431B-904B-C302516A269E}"/>
                      </a:ext>
                    </a:extLst>
                  </p:cNvPr>
                  <p:cNvGrpSpPr/>
                  <p:nvPr/>
                </p:nvGrpSpPr>
                <p:grpSpPr>
                  <a:xfrm>
                    <a:off x="8118815" y="4372246"/>
                    <a:ext cx="128321" cy="85707"/>
                    <a:chOff x="8118815" y="4372246"/>
                    <a:chExt cx="128321" cy="85707"/>
                  </a:xfrm>
                  <a:grpFill/>
                </p:grpSpPr>
                <p:sp>
                  <p:nvSpPr>
                    <p:cNvPr id="7215" name="Vrije vorm: vorm 7214">
                      <a:extLst>
                        <a:ext uri="{FF2B5EF4-FFF2-40B4-BE49-F238E27FC236}">
                          <a16:creationId xmlns:a16="http://schemas.microsoft.com/office/drawing/2014/main" id="{C79D14C0-F1A7-4709-B106-F10BA8B2774D}"/>
                        </a:ext>
                      </a:extLst>
                    </p:cNvPr>
                    <p:cNvSpPr/>
                    <p:nvPr/>
                  </p:nvSpPr>
                  <p:spPr>
                    <a:xfrm>
                      <a:off x="8191755" y="4436240"/>
                      <a:ext cx="55381" cy="21713"/>
                    </a:xfrm>
                    <a:custGeom>
                      <a:avLst/>
                      <a:gdLst>
                        <a:gd name="connsiteX0" fmla="*/ 6041 w 55381"/>
                        <a:gd name="connsiteY0" fmla="*/ 0 h 21713"/>
                        <a:gd name="connsiteX1" fmla="*/ 0 w 55381"/>
                        <a:gd name="connsiteY1" fmla="*/ 16866 h 21713"/>
                        <a:gd name="connsiteX2" fmla="*/ 33552 w 55381"/>
                        <a:gd name="connsiteY2" fmla="*/ 20394 h 21713"/>
                        <a:gd name="connsiteX3" fmla="*/ 55382 w 55381"/>
                        <a:gd name="connsiteY3" fmla="*/ 2572 h 21713"/>
                      </a:gdLst>
                      <a:ahLst/>
                      <a:cxnLst>
                        <a:cxn ang="0">
                          <a:pos x="connsiteX0" y="connsiteY0"/>
                        </a:cxn>
                        <a:cxn ang="0">
                          <a:pos x="connsiteX1" y="connsiteY1"/>
                        </a:cxn>
                        <a:cxn ang="0">
                          <a:pos x="connsiteX2" y="connsiteY2"/>
                        </a:cxn>
                        <a:cxn ang="0">
                          <a:pos x="connsiteX3" y="connsiteY3"/>
                        </a:cxn>
                      </a:cxnLst>
                      <a:rect l="l" t="t" r="r" b="b"/>
                      <a:pathLst>
                        <a:path w="55381" h="21713">
                          <a:moveTo>
                            <a:pt x="6041" y="0"/>
                          </a:moveTo>
                          <a:lnTo>
                            <a:pt x="0" y="16866"/>
                          </a:lnTo>
                          <a:cubicBezTo>
                            <a:pt x="12679" y="21770"/>
                            <a:pt x="23863" y="22966"/>
                            <a:pt x="33552" y="20394"/>
                          </a:cubicBezTo>
                          <a:cubicBezTo>
                            <a:pt x="43181" y="17763"/>
                            <a:pt x="50478" y="11842"/>
                            <a:pt x="55382" y="2572"/>
                          </a:cubicBezTo>
                        </a:path>
                      </a:pathLst>
                    </a:custGeom>
                    <a:grpFill/>
                    <a:ln w="6350" cap="flat">
                      <a:solidFill>
                        <a:schemeClr val="bg1">
                          <a:alpha val="40000"/>
                        </a:schemeClr>
                      </a:solidFill>
                      <a:prstDash val="solid"/>
                      <a:miter/>
                    </a:ln>
                  </p:spPr>
                  <p:txBody>
                    <a:bodyPr rtlCol="0" anchor="ctr"/>
                    <a:lstStyle/>
                    <a:p>
                      <a:endParaRPr lang="en-GB"/>
                    </a:p>
                  </p:txBody>
                </p:sp>
                <p:sp>
                  <p:nvSpPr>
                    <p:cNvPr id="7216" name="Vrije vorm: vorm 7215">
                      <a:extLst>
                        <a:ext uri="{FF2B5EF4-FFF2-40B4-BE49-F238E27FC236}">
                          <a16:creationId xmlns:a16="http://schemas.microsoft.com/office/drawing/2014/main" id="{3FF69F9E-68B2-42C0-825A-F76500F05F44}"/>
                        </a:ext>
                      </a:extLst>
                    </p:cNvPr>
                    <p:cNvSpPr/>
                    <p:nvPr/>
                  </p:nvSpPr>
                  <p:spPr>
                    <a:xfrm>
                      <a:off x="8153239" y="4373396"/>
                      <a:ext cx="76552" cy="43287"/>
                    </a:xfrm>
                    <a:custGeom>
                      <a:avLst/>
                      <a:gdLst>
                        <a:gd name="connsiteX0" fmla="*/ 0 w 76552"/>
                        <a:gd name="connsiteY0" fmla="*/ 585 h 43287"/>
                        <a:gd name="connsiteX1" fmla="*/ 25956 w 76552"/>
                        <a:gd name="connsiteY1" fmla="*/ 4652 h 43287"/>
                        <a:gd name="connsiteX2" fmla="*/ 14832 w 76552"/>
                        <a:gd name="connsiteY2" fmla="*/ 25824 h 43287"/>
                        <a:gd name="connsiteX3" fmla="*/ 25657 w 76552"/>
                        <a:gd name="connsiteY3" fmla="*/ 31685 h 43287"/>
                        <a:gd name="connsiteX4" fmla="*/ 37200 w 76552"/>
                        <a:gd name="connsiteY4" fmla="*/ 9735 h 43287"/>
                        <a:gd name="connsiteX5" fmla="*/ 42643 w 76552"/>
                        <a:gd name="connsiteY5" fmla="*/ 12487 h 43287"/>
                        <a:gd name="connsiteX6" fmla="*/ 48025 w 76552"/>
                        <a:gd name="connsiteY6" fmla="*/ 15537 h 43287"/>
                        <a:gd name="connsiteX7" fmla="*/ 36482 w 76552"/>
                        <a:gd name="connsiteY7" fmla="*/ 37486 h 43287"/>
                        <a:gd name="connsiteX8" fmla="*/ 47247 w 76552"/>
                        <a:gd name="connsiteY8" fmla="*/ 43288 h 43287"/>
                        <a:gd name="connsiteX9" fmla="*/ 58372 w 76552"/>
                        <a:gd name="connsiteY9" fmla="*/ 22116 h 43287"/>
                        <a:gd name="connsiteX10" fmla="*/ 76553 w 76552"/>
                        <a:gd name="connsiteY10" fmla="*/ 40895 h 4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52" h="43287">
                          <a:moveTo>
                            <a:pt x="0" y="585"/>
                          </a:moveTo>
                          <a:cubicBezTo>
                            <a:pt x="6698" y="-910"/>
                            <a:pt x="15310" y="465"/>
                            <a:pt x="25956" y="4652"/>
                          </a:cubicBezTo>
                          <a:lnTo>
                            <a:pt x="14832" y="25824"/>
                          </a:lnTo>
                          <a:lnTo>
                            <a:pt x="25657" y="31685"/>
                          </a:lnTo>
                          <a:lnTo>
                            <a:pt x="37200" y="9735"/>
                          </a:lnTo>
                          <a:lnTo>
                            <a:pt x="42643" y="12487"/>
                          </a:lnTo>
                          <a:lnTo>
                            <a:pt x="48025" y="15537"/>
                          </a:lnTo>
                          <a:lnTo>
                            <a:pt x="36482" y="37486"/>
                          </a:lnTo>
                          <a:lnTo>
                            <a:pt x="47247" y="43288"/>
                          </a:lnTo>
                          <a:lnTo>
                            <a:pt x="58372" y="22116"/>
                          </a:lnTo>
                          <a:cubicBezTo>
                            <a:pt x="67701" y="28455"/>
                            <a:pt x="73802" y="34735"/>
                            <a:pt x="76553" y="40895"/>
                          </a:cubicBezTo>
                        </a:path>
                      </a:pathLst>
                    </a:custGeom>
                    <a:grpFill/>
                    <a:ln w="6350" cap="flat">
                      <a:solidFill>
                        <a:schemeClr val="bg1">
                          <a:alpha val="40000"/>
                        </a:schemeClr>
                      </a:solidFill>
                      <a:prstDash val="solid"/>
                      <a:miter/>
                    </a:ln>
                  </p:spPr>
                  <p:txBody>
                    <a:bodyPr rtlCol="0" anchor="ctr"/>
                    <a:lstStyle/>
                    <a:p>
                      <a:endParaRPr lang="en-GB"/>
                    </a:p>
                  </p:txBody>
                </p:sp>
                <p:sp>
                  <p:nvSpPr>
                    <p:cNvPr id="7217" name="Vrije vorm: vorm 7216">
                      <a:extLst>
                        <a:ext uri="{FF2B5EF4-FFF2-40B4-BE49-F238E27FC236}">
                          <a16:creationId xmlns:a16="http://schemas.microsoft.com/office/drawing/2014/main" id="{4F13C699-430C-4016-841A-F3E8DB51BB50}"/>
                        </a:ext>
                      </a:extLst>
                    </p:cNvPr>
                    <p:cNvSpPr/>
                    <p:nvPr/>
                  </p:nvSpPr>
                  <p:spPr>
                    <a:xfrm>
                      <a:off x="8118815" y="4372246"/>
                      <a:ext cx="35560" cy="55022"/>
                    </a:xfrm>
                    <a:custGeom>
                      <a:avLst/>
                      <a:gdLst>
                        <a:gd name="connsiteX0" fmla="*/ 4341 w 35560"/>
                        <a:gd name="connsiteY0" fmla="*/ 0 h 55022"/>
                        <a:gd name="connsiteX1" fmla="*/ 1948 w 35560"/>
                        <a:gd name="connsiteY1" fmla="*/ 28109 h 55022"/>
                        <a:gd name="connsiteX2" fmla="*/ 25154 w 35560"/>
                        <a:gd name="connsiteY2" fmla="*/ 55023 h 55022"/>
                        <a:gd name="connsiteX3" fmla="*/ 35560 w 35560"/>
                        <a:gd name="connsiteY3" fmla="*/ 40490 h 55022"/>
                      </a:gdLst>
                      <a:ahLst/>
                      <a:cxnLst>
                        <a:cxn ang="0">
                          <a:pos x="connsiteX0" y="connsiteY0"/>
                        </a:cxn>
                        <a:cxn ang="0">
                          <a:pos x="connsiteX1" y="connsiteY1"/>
                        </a:cxn>
                        <a:cxn ang="0">
                          <a:pos x="connsiteX2" y="connsiteY2"/>
                        </a:cxn>
                        <a:cxn ang="0">
                          <a:pos x="connsiteX3" y="connsiteY3"/>
                        </a:cxn>
                      </a:cxnLst>
                      <a:rect l="l" t="t" r="r" b="b"/>
                      <a:pathLst>
                        <a:path w="35560" h="55022">
                          <a:moveTo>
                            <a:pt x="4341" y="0"/>
                          </a:moveTo>
                          <a:cubicBezTo>
                            <a:pt x="-504" y="9211"/>
                            <a:pt x="-1281" y="18540"/>
                            <a:pt x="1948" y="28109"/>
                          </a:cubicBezTo>
                          <a:cubicBezTo>
                            <a:pt x="5178" y="37679"/>
                            <a:pt x="12953" y="46650"/>
                            <a:pt x="25154" y="55023"/>
                          </a:cubicBezTo>
                          <a:lnTo>
                            <a:pt x="35560" y="40490"/>
                          </a:lnTo>
                        </a:path>
                      </a:pathLst>
                    </a:custGeom>
                    <a:grpFill/>
                    <a:ln w="6350" cap="flat">
                      <a:solidFill>
                        <a:schemeClr val="bg1">
                          <a:alpha val="40000"/>
                        </a:schemeClr>
                      </a:solidFill>
                      <a:prstDash val="solid"/>
                      <a:miter/>
                    </a:ln>
                  </p:spPr>
                  <p:txBody>
                    <a:bodyPr rtlCol="0" anchor="ctr"/>
                    <a:lstStyle/>
                    <a:p>
                      <a:endParaRPr lang="en-GB"/>
                    </a:p>
                  </p:txBody>
                </p:sp>
              </p:grpSp>
              <p:grpSp>
                <p:nvGrpSpPr>
                  <p:cNvPr id="7197" name="Graphic 3">
                    <a:extLst>
                      <a:ext uri="{FF2B5EF4-FFF2-40B4-BE49-F238E27FC236}">
                        <a16:creationId xmlns:a16="http://schemas.microsoft.com/office/drawing/2014/main" id="{31374ED6-2BB0-4B8B-B7AC-D2BA1564A83C}"/>
                      </a:ext>
                    </a:extLst>
                  </p:cNvPr>
                  <p:cNvGrpSpPr/>
                  <p:nvPr/>
                </p:nvGrpSpPr>
                <p:grpSpPr>
                  <a:xfrm>
                    <a:off x="8225306" y="4414530"/>
                    <a:ext cx="35406" cy="42104"/>
                    <a:chOff x="8225306" y="4414530"/>
                    <a:chExt cx="35406" cy="42104"/>
                  </a:xfrm>
                  <a:grpFill/>
                </p:grpSpPr>
                <p:sp>
                  <p:nvSpPr>
                    <p:cNvPr id="7213" name="Vrije vorm: vorm 7212">
                      <a:extLst>
                        <a:ext uri="{FF2B5EF4-FFF2-40B4-BE49-F238E27FC236}">
                          <a16:creationId xmlns:a16="http://schemas.microsoft.com/office/drawing/2014/main" id="{3CB4107F-8003-48D5-BB2A-F97651028D14}"/>
                        </a:ext>
                      </a:extLst>
                    </p:cNvPr>
                    <p:cNvSpPr/>
                    <p:nvPr/>
                  </p:nvSpPr>
                  <p:spPr>
                    <a:xfrm>
                      <a:off x="8225306" y="4414530"/>
                      <a:ext cx="35406" cy="42104"/>
                    </a:xfrm>
                    <a:custGeom>
                      <a:avLst/>
                      <a:gdLst>
                        <a:gd name="connsiteX0" fmla="*/ 21830 w 35406"/>
                        <a:gd name="connsiteY0" fmla="*/ 24282 h 42104"/>
                        <a:gd name="connsiteX1" fmla="*/ 35406 w 35406"/>
                        <a:gd name="connsiteY1" fmla="*/ 0 h 42104"/>
                        <a:gd name="connsiteX2" fmla="*/ 13576 w 35406"/>
                        <a:gd name="connsiteY2" fmla="*/ 17823 h 42104"/>
                        <a:gd name="connsiteX3" fmla="*/ 0 w 35406"/>
                        <a:gd name="connsiteY3" fmla="*/ 42105 h 42104"/>
                        <a:gd name="connsiteX4" fmla="*/ 21830 w 35406"/>
                        <a:gd name="connsiteY4" fmla="*/ 24282 h 4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6" h="42104">
                          <a:moveTo>
                            <a:pt x="21830" y="24282"/>
                          </a:moveTo>
                          <a:lnTo>
                            <a:pt x="35406" y="0"/>
                          </a:lnTo>
                          <a:cubicBezTo>
                            <a:pt x="30502" y="9270"/>
                            <a:pt x="23265" y="15251"/>
                            <a:pt x="13576" y="17823"/>
                          </a:cubicBezTo>
                          <a:lnTo>
                            <a:pt x="0" y="42105"/>
                          </a:lnTo>
                          <a:cubicBezTo>
                            <a:pt x="9689" y="39473"/>
                            <a:pt x="16926" y="33552"/>
                            <a:pt x="21830" y="2428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214" name="Vrije vorm: vorm 7213">
                      <a:extLst>
                        <a:ext uri="{FF2B5EF4-FFF2-40B4-BE49-F238E27FC236}">
                          <a16:creationId xmlns:a16="http://schemas.microsoft.com/office/drawing/2014/main" id="{A6F53BB7-9B8D-49C2-B97B-3B94B91CB913}"/>
                        </a:ext>
                      </a:extLst>
                    </p:cNvPr>
                    <p:cNvSpPr/>
                    <p:nvPr/>
                  </p:nvSpPr>
                  <p:spPr>
                    <a:xfrm>
                      <a:off x="8246598" y="4414530"/>
                      <a:ext cx="14114" cy="25298"/>
                    </a:xfrm>
                    <a:custGeom>
                      <a:avLst/>
                      <a:gdLst>
                        <a:gd name="connsiteX0" fmla="*/ 13576 w 14114"/>
                        <a:gd name="connsiteY0" fmla="*/ 1017 h 25298"/>
                        <a:gd name="connsiteX1" fmla="*/ 0 w 14114"/>
                        <a:gd name="connsiteY1" fmla="*/ 25299 h 25298"/>
                        <a:gd name="connsiteX2" fmla="*/ 14114 w 14114"/>
                        <a:gd name="connsiteY2" fmla="*/ 0 h 25298"/>
                        <a:gd name="connsiteX3" fmla="*/ 13576 w 14114"/>
                        <a:gd name="connsiteY3" fmla="*/ 1017 h 25298"/>
                      </a:gdLst>
                      <a:ahLst/>
                      <a:cxnLst>
                        <a:cxn ang="0">
                          <a:pos x="connsiteX0" y="connsiteY0"/>
                        </a:cxn>
                        <a:cxn ang="0">
                          <a:pos x="connsiteX1" y="connsiteY1"/>
                        </a:cxn>
                        <a:cxn ang="0">
                          <a:pos x="connsiteX2" y="connsiteY2"/>
                        </a:cxn>
                        <a:cxn ang="0">
                          <a:pos x="connsiteX3" y="connsiteY3"/>
                        </a:cxn>
                      </a:cxnLst>
                      <a:rect l="l" t="t" r="r" b="b"/>
                      <a:pathLst>
                        <a:path w="14114" h="25298">
                          <a:moveTo>
                            <a:pt x="13576" y="1017"/>
                          </a:moveTo>
                          <a:lnTo>
                            <a:pt x="0" y="25299"/>
                          </a:lnTo>
                          <a:cubicBezTo>
                            <a:pt x="179" y="24999"/>
                            <a:pt x="14114" y="0"/>
                            <a:pt x="14114" y="0"/>
                          </a:cubicBezTo>
                          <a:cubicBezTo>
                            <a:pt x="13935" y="299"/>
                            <a:pt x="13755" y="658"/>
                            <a:pt x="13576" y="1017"/>
                          </a:cubicBezTo>
                          <a:close/>
                        </a:path>
                      </a:pathLst>
                    </a:custGeom>
                    <a:grpFill/>
                    <a:ln w="6350" cap="flat">
                      <a:solidFill>
                        <a:schemeClr val="bg1">
                          <a:alpha val="40000"/>
                        </a:schemeClr>
                      </a:solidFill>
                      <a:prstDash val="solid"/>
                      <a:miter/>
                    </a:ln>
                  </p:spPr>
                  <p:txBody>
                    <a:bodyPr rtlCol="0" anchor="ctr"/>
                    <a:lstStyle/>
                    <a:p>
                      <a:endParaRPr lang="en-GB"/>
                    </a:p>
                  </p:txBody>
                </p:sp>
              </p:grpSp>
              <p:sp>
                <p:nvSpPr>
                  <p:cNvPr id="7198" name="Vrije vorm: vorm 7197">
                    <a:extLst>
                      <a:ext uri="{FF2B5EF4-FFF2-40B4-BE49-F238E27FC236}">
                        <a16:creationId xmlns:a16="http://schemas.microsoft.com/office/drawing/2014/main" id="{083B5B67-57ED-4260-8F39-1DED340E05C3}"/>
                      </a:ext>
                    </a:extLst>
                  </p:cNvPr>
                  <p:cNvSpPr/>
                  <p:nvPr/>
                </p:nvSpPr>
                <p:spPr>
                  <a:xfrm>
                    <a:off x="8191814" y="4411958"/>
                    <a:ext cx="19557" cy="41207"/>
                  </a:xfrm>
                  <a:custGeom>
                    <a:avLst/>
                    <a:gdLst>
                      <a:gd name="connsiteX0" fmla="*/ 0 w 19557"/>
                      <a:gd name="connsiteY0" fmla="*/ 41207 h 41207"/>
                      <a:gd name="connsiteX1" fmla="*/ 5981 w 19557"/>
                      <a:gd name="connsiteY1" fmla="*/ 24282 h 41207"/>
                      <a:gd name="connsiteX2" fmla="*/ 19557 w 19557"/>
                      <a:gd name="connsiteY2" fmla="*/ 0 h 41207"/>
                      <a:gd name="connsiteX3" fmla="*/ 13576 w 19557"/>
                      <a:gd name="connsiteY3" fmla="*/ 16926 h 41207"/>
                    </a:gdLst>
                    <a:ahLst/>
                    <a:cxnLst>
                      <a:cxn ang="0">
                        <a:pos x="connsiteX0" y="connsiteY0"/>
                      </a:cxn>
                      <a:cxn ang="0">
                        <a:pos x="connsiteX1" y="connsiteY1"/>
                      </a:cxn>
                      <a:cxn ang="0">
                        <a:pos x="connsiteX2" y="connsiteY2"/>
                      </a:cxn>
                      <a:cxn ang="0">
                        <a:pos x="connsiteX3" y="connsiteY3"/>
                      </a:cxn>
                    </a:cxnLst>
                    <a:rect l="l" t="t" r="r" b="b"/>
                    <a:pathLst>
                      <a:path w="19557" h="41207">
                        <a:moveTo>
                          <a:pt x="0" y="41207"/>
                        </a:moveTo>
                        <a:lnTo>
                          <a:pt x="5981" y="24282"/>
                        </a:lnTo>
                        <a:lnTo>
                          <a:pt x="19557" y="0"/>
                        </a:lnTo>
                        <a:lnTo>
                          <a:pt x="13576" y="16926"/>
                        </a:lnTo>
                        <a:close/>
                      </a:path>
                    </a:pathLst>
                  </a:custGeom>
                  <a:grpFill/>
                  <a:ln w="6350" cap="flat">
                    <a:solidFill>
                      <a:schemeClr val="bg1">
                        <a:alpha val="40000"/>
                      </a:schemeClr>
                    </a:solidFill>
                    <a:prstDash val="solid"/>
                    <a:miter/>
                  </a:ln>
                </p:spPr>
                <p:txBody>
                  <a:bodyPr rtlCol="0" anchor="ctr"/>
                  <a:lstStyle/>
                  <a:p>
                    <a:endParaRPr lang="en-GB"/>
                  </a:p>
                </p:txBody>
              </p:sp>
              <p:sp>
                <p:nvSpPr>
                  <p:cNvPr id="7199" name="Vrije vorm: vorm 7198">
                    <a:extLst>
                      <a:ext uri="{FF2B5EF4-FFF2-40B4-BE49-F238E27FC236}">
                        <a16:creationId xmlns:a16="http://schemas.microsoft.com/office/drawing/2014/main" id="{A6E3118F-395C-42E9-A79E-2F9AC70ADF94}"/>
                      </a:ext>
                    </a:extLst>
                  </p:cNvPr>
                  <p:cNvSpPr/>
                  <p:nvPr/>
                </p:nvSpPr>
                <p:spPr>
                  <a:xfrm>
                    <a:off x="8200426" y="4371230"/>
                    <a:ext cx="24700" cy="45453"/>
                  </a:xfrm>
                  <a:custGeom>
                    <a:avLst/>
                    <a:gdLst>
                      <a:gd name="connsiteX0" fmla="*/ 24700 w 24700"/>
                      <a:gd name="connsiteY0" fmla="*/ 0 h 45453"/>
                      <a:gd name="connsiteX1" fmla="*/ 13576 w 24700"/>
                      <a:gd name="connsiteY1" fmla="*/ 21172 h 45453"/>
                      <a:gd name="connsiteX2" fmla="*/ 0 w 24700"/>
                      <a:gd name="connsiteY2" fmla="*/ 45454 h 45453"/>
                    </a:gdLst>
                    <a:ahLst/>
                    <a:cxnLst>
                      <a:cxn ang="0">
                        <a:pos x="connsiteX0" y="connsiteY0"/>
                      </a:cxn>
                      <a:cxn ang="0">
                        <a:pos x="connsiteX1" y="connsiteY1"/>
                      </a:cxn>
                      <a:cxn ang="0">
                        <a:pos x="connsiteX2" y="connsiteY2"/>
                      </a:cxn>
                    </a:cxnLst>
                    <a:rect l="l" t="t" r="r" b="b"/>
                    <a:pathLst>
                      <a:path w="24700" h="45453">
                        <a:moveTo>
                          <a:pt x="24700" y="0"/>
                        </a:moveTo>
                        <a:lnTo>
                          <a:pt x="13576" y="21172"/>
                        </a:lnTo>
                        <a:lnTo>
                          <a:pt x="0" y="45454"/>
                        </a:lnTo>
                      </a:path>
                    </a:pathLst>
                  </a:custGeom>
                  <a:grpFill/>
                  <a:ln w="6350" cap="flat">
                    <a:solidFill>
                      <a:schemeClr val="bg1">
                        <a:alpha val="40000"/>
                      </a:schemeClr>
                    </a:solidFill>
                    <a:prstDash val="solid"/>
                    <a:miter/>
                  </a:ln>
                </p:spPr>
                <p:txBody>
                  <a:bodyPr rtlCol="0" anchor="ctr"/>
                  <a:lstStyle/>
                  <a:p>
                    <a:endParaRPr lang="en-GB"/>
                  </a:p>
                </p:txBody>
              </p:sp>
              <p:sp>
                <p:nvSpPr>
                  <p:cNvPr id="7200" name="Vrije vorm: vorm 7199">
                    <a:extLst>
                      <a:ext uri="{FF2B5EF4-FFF2-40B4-BE49-F238E27FC236}">
                        <a16:creationId xmlns:a16="http://schemas.microsoft.com/office/drawing/2014/main" id="{CBE02814-F687-416C-9B5E-74AD247A24A6}"/>
                      </a:ext>
                    </a:extLst>
                  </p:cNvPr>
                  <p:cNvSpPr/>
                  <p:nvPr/>
                </p:nvSpPr>
                <p:spPr>
                  <a:xfrm>
                    <a:off x="8189661" y="4386600"/>
                    <a:ext cx="24341" cy="30083"/>
                  </a:xfrm>
                  <a:custGeom>
                    <a:avLst/>
                    <a:gdLst>
                      <a:gd name="connsiteX0" fmla="*/ 24341 w 24341"/>
                      <a:gd name="connsiteY0" fmla="*/ 5801 h 30083"/>
                      <a:gd name="connsiteX1" fmla="*/ 10765 w 24341"/>
                      <a:gd name="connsiteY1" fmla="*/ 30083 h 30083"/>
                      <a:gd name="connsiteX2" fmla="*/ 0 w 24341"/>
                      <a:gd name="connsiteY2" fmla="*/ 24282 h 30083"/>
                      <a:gd name="connsiteX3" fmla="*/ 13576 w 24341"/>
                      <a:gd name="connsiteY3" fmla="*/ 0 h 30083"/>
                    </a:gdLst>
                    <a:ahLst/>
                    <a:cxnLst>
                      <a:cxn ang="0">
                        <a:pos x="connsiteX0" y="connsiteY0"/>
                      </a:cxn>
                      <a:cxn ang="0">
                        <a:pos x="connsiteX1" y="connsiteY1"/>
                      </a:cxn>
                      <a:cxn ang="0">
                        <a:pos x="connsiteX2" y="connsiteY2"/>
                      </a:cxn>
                      <a:cxn ang="0">
                        <a:pos x="connsiteX3" y="connsiteY3"/>
                      </a:cxn>
                    </a:cxnLst>
                    <a:rect l="l" t="t" r="r" b="b"/>
                    <a:pathLst>
                      <a:path w="24341" h="30083">
                        <a:moveTo>
                          <a:pt x="24341" y="5801"/>
                        </a:moveTo>
                        <a:lnTo>
                          <a:pt x="10765" y="30083"/>
                        </a:lnTo>
                        <a:lnTo>
                          <a:pt x="0" y="24282"/>
                        </a:lnTo>
                        <a:lnTo>
                          <a:pt x="13576" y="0"/>
                        </a:lnTo>
                      </a:path>
                    </a:pathLst>
                  </a:custGeom>
                  <a:grpFill/>
                  <a:ln w="6350" cap="flat">
                    <a:solidFill>
                      <a:schemeClr val="bg1">
                        <a:alpha val="40000"/>
                      </a:schemeClr>
                    </a:solidFill>
                    <a:prstDash val="solid"/>
                    <a:miter/>
                  </a:ln>
                </p:spPr>
                <p:txBody>
                  <a:bodyPr rtlCol="0" anchor="ctr"/>
                  <a:lstStyle/>
                  <a:p>
                    <a:endParaRPr lang="en-GB"/>
                  </a:p>
                </p:txBody>
              </p:sp>
              <p:sp>
                <p:nvSpPr>
                  <p:cNvPr id="7201" name="Vrije vorm: vorm 7200">
                    <a:extLst>
                      <a:ext uri="{FF2B5EF4-FFF2-40B4-BE49-F238E27FC236}">
                        <a16:creationId xmlns:a16="http://schemas.microsoft.com/office/drawing/2014/main" id="{3F340F8F-8820-4FF0-BB44-7D3117A0C336}"/>
                      </a:ext>
                    </a:extLst>
                  </p:cNvPr>
                  <p:cNvSpPr/>
                  <p:nvPr/>
                </p:nvSpPr>
                <p:spPr>
                  <a:xfrm>
                    <a:off x="8189661" y="4364651"/>
                    <a:ext cx="25118" cy="46230"/>
                  </a:xfrm>
                  <a:custGeom>
                    <a:avLst/>
                    <a:gdLst>
                      <a:gd name="connsiteX0" fmla="*/ 0 w 25118"/>
                      <a:gd name="connsiteY0" fmla="*/ 46231 h 46230"/>
                      <a:gd name="connsiteX1" fmla="*/ 11542 w 25118"/>
                      <a:gd name="connsiteY1" fmla="*/ 24282 h 46230"/>
                      <a:gd name="connsiteX2" fmla="*/ 25119 w 25118"/>
                      <a:gd name="connsiteY2" fmla="*/ 0 h 46230"/>
                      <a:gd name="connsiteX3" fmla="*/ 13576 w 25118"/>
                      <a:gd name="connsiteY3" fmla="*/ 21949 h 46230"/>
                    </a:gdLst>
                    <a:ahLst/>
                    <a:cxnLst>
                      <a:cxn ang="0">
                        <a:pos x="connsiteX0" y="connsiteY0"/>
                      </a:cxn>
                      <a:cxn ang="0">
                        <a:pos x="connsiteX1" y="connsiteY1"/>
                      </a:cxn>
                      <a:cxn ang="0">
                        <a:pos x="connsiteX2" y="connsiteY2"/>
                      </a:cxn>
                      <a:cxn ang="0">
                        <a:pos x="connsiteX3" y="connsiteY3"/>
                      </a:cxn>
                    </a:cxnLst>
                    <a:rect l="l" t="t" r="r" b="b"/>
                    <a:pathLst>
                      <a:path w="25118" h="46230">
                        <a:moveTo>
                          <a:pt x="0" y="46231"/>
                        </a:moveTo>
                        <a:lnTo>
                          <a:pt x="11542" y="24282"/>
                        </a:lnTo>
                        <a:lnTo>
                          <a:pt x="25119" y="0"/>
                        </a:lnTo>
                        <a:lnTo>
                          <a:pt x="13576" y="21949"/>
                        </a:lnTo>
                        <a:close/>
                      </a:path>
                    </a:pathLst>
                  </a:custGeom>
                  <a:grpFill/>
                  <a:ln w="6350" cap="flat">
                    <a:solidFill>
                      <a:schemeClr val="bg1">
                        <a:alpha val="40000"/>
                      </a:schemeClr>
                    </a:solidFill>
                    <a:prstDash val="solid"/>
                    <a:miter/>
                  </a:ln>
                </p:spPr>
                <p:txBody>
                  <a:bodyPr rtlCol="0" anchor="ctr"/>
                  <a:lstStyle/>
                  <a:p>
                    <a:endParaRPr lang="en-GB"/>
                  </a:p>
                </p:txBody>
              </p:sp>
              <p:sp>
                <p:nvSpPr>
                  <p:cNvPr id="7202" name="Vrije vorm: vorm 7201">
                    <a:extLst>
                      <a:ext uri="{FF2B5EF4-FFF2-40B4-BE49-F238E27FC236}">
                        <a16:creationId xmlns:a16="http://schemas.microsoft.com/office/drawing/2014/main" id="{3F164FC9-C404-498D-839F-34DE5DF82F4F}"/>
                      </a:ext>
                    </a:extLst>
                  </p:cNvPr>
                  <p:cNvSpPr/>
                  <p:nvPr/>
                </p:nvSpPr>
                <p:spPr>
                  <a:xfrm>
                    <a:off x="8195822" y="4361601"/>
                    <a:ext cx="18958" cy="27331"/>
                  </a:xfrm>
                  <a:custGeom>
                    <a:avLst/>
                    <a:gdLst>
                      <a:gd name="connsiteX0" fmla="*/ 13635 w 18958"/>
                      <a:gd name="connsiteY0" fmla="*/ 0 h 27331"/>
                      <a:gd name="connsiteX1" fmla="*/ 18958 w 18958"/>
                      <a:gd name="connsiteY1" fmla="*/ 3050 h 27331"/>
                      <a:gd name="connsiteX2" fmla="*/ 5382 w 18958"/>
                      <a:gd name="connsiteY2" fmla="*/ 27332 h 27331"/>
                      <a:gd name="connsiteX3" fmla="*/ 0 w 18958"/>
                      <a:gd name="connsiteY3" fmla="*/ 24282 h 27331"/>
                    </a:gdLst>
                    <a:ahLst/>
                    <a:cxnLst>
                      <a:cxn ang="0">
                        <a:pos x="connsiteX0" y="connsiteY0"/>
                      </a:cxn>
                      <a:cxn ang="0">
                        <a:pos x="connsiteX1" y="connsiteY1"/>
                      </a:cxn>
                      <a:cxn ang="0">
                        <a:pos x="connsiteX2" y="connsiteY2"/>
                      </a:cxn>
                      <a:cxn ang="0">
                        <a:pos x="connsiteX3" y="connsiteY3"/>
                      </a:cxn>
                    </a:cxnLst>
                    <a:rect l="l" t="t" r="r" b="b"/>
                    <a:pathLst>
                      <a:path w="18958" h="27331">
                        <a:moveTo>
                          <a:pt x="13635" y="0"/>
                        </a:moveTo>
                        <a:lnTo>
                          <a:pt x="18958" y="3050"/>
                        </a:lnTo>
                        <a:lnTo>
                          <a:pt x="5382" y="27332"/>
                        </a:lnTo>
                        <a:lnTo>
                          <a:pt x="0" y="24282"/>
                        </a:lnTo>
                      </a:path>
                    </a:pathLst>
                  </a:custGeom>
                  <a:grpFill/>
                  <a:ln w="6350" cap="flat">
                    <a:solidFill>
                      <a:schemeClr val="bg1">
                        <a:alpha val="40000"/>
                      </a:schemeClr>
                    </a:solidFill>
                    <a:prstDash val="solid"/>
                    <a:miter/>
                  </a:ln>
                </p:spPr>
                <p:txBody>
                  <a:bodyPr rtlCol="0" anchor="ctr"/>
                  <a:lstStyle/>
                  <a:p>
                    <a:endParaRPr lang="en-GB"/>
                  </a:p>
                </p:txBody>
              </p:sp>
              <p:sp>
                <p:nvSpPr>
                  <p:cNvPr id="7203" name="Vrije vorm: vorm 7202">
                    <a:extLst>
                      <a:ext uri="{FF2B5EF4-FFF2-40B4-BE49-F238E27FC236}">
                        <a16:creationId xmlns:a16="http://schemas.microsoft.com/office/drawing/2014/main" id="{D2E1E0D9-1C4F-4902-B52D-0AB29D397F54}"/>
                      </a:ext>
                    </a:extLst>
                  </p:cNvPr>
                  <p:cNvSpPr/>
                  <p:nvPr/>
                </p:nvSpPr>
                <p:spPr>
                  <a:xfrm>
                    <a:off x="8190379" y="4358790"/>
                    <a:ext cx="19078" cy="27092"/>
                  </a:xfrm>
                  <a:custGeom>
                    <a:avLst/>
                    <a:gdLst>
                      <a:gd name="connsiteX0" fmla="*/ 5443 w 19078"/>
                      <a:gd name="connsiteY0" fmla="*/ 27093 h 27092"/>
                      <a:gd name="connsiteX1" fmla="*/ 0 w 19078"/>
                      <a:gd name="connsiteY1" fmla="*/ 24342 h 27092"/>
                      <a:gd name="connsiteX2" fmla="*/ 13576 w 19078"/>
                      <a:gd name="connsiteY2" fmla="*/ 0 h 27092"/>
                      <a:gd name="connsiteX3" fmla="*/ 19078 w 19078"/>
                      <a:gd name="connsiteY3" fmla="*/ 2811 h 27092"/>
                    </a:gdLst>
                    <a:ahLst/>
                    <a:cxnLst>
                      <a:cxn ang="0">
                        <a:pos x="connsiteX0" y="connsiteY0"/>
                      </a:cxn>
                      <a:cxn ang="0">
                        <a:pos x="connsiteX1" y="connsiteY1"/>
                      </a:cxn>
                      <a:cxn ang="0">
                        <a:pos x="connsiteX2" y="connsiteY2"/>
                      </a:cxn>
                      <a:cxn ang="0">
                        <a:pos x="connsiteX3" y="connsiteY3"/>
                      </a:cxn>
                    </a:cxnLst>
                    <a:rect l="l" t="t" r="r" b="b"/>
                    <a:pathLst>
                      <a:path w="19078" h="27092">
                        <a:moveTo>
                          <a:pt x="5443" y="27093"/>
                        </a:moveTo>
                        <a:lnTo>
                          <a:pt x="0" y="24342"/>
                        </a:lnTo>
                        <a:lnTo>
                          <a:pt x="13576" y="0"/>
                        </a:lnTo>
                        <a:lnTo>
                          <a:pt x="19078" y="2811"/>
                        </a:lnTo>
                      </a:path>
                    </a:pathLst>
                  </a:custGeom>
                  <a:grpFill/>
                  <a:ln w="6350" cap="flat">
                    <a:solidFill>
                      <a:schemeClr val="bg1">
                        <a:alpha val="40000"/>
                      </a:schemeClr>
                    </a:solidFill>
                    <a:prstDash val="solid"/>
                    <a:miter/>
                  </a:ln>
                </p:spPr>
                <p:txBody>
                  <a:bodyPr rtlCol="0" anchor="ctr"/>
                  <a:lstStyle/>
                  <a:p>
                    <a:endParaRPr lang="en-GB"/>
                  </a:p>
                </p:txBody>
              </p:sp>
              <p:sp>
                <p:nvSpPr>
                  <p:cNvPr id="7204" name="Vrije vorm: vorm 7203">
                    <a:extLst>
                      <a:ext uri="{FF2B5EF4-FFF2-40B4-BE49-F238E27FC236}">
                        <a16:creationId xmlns:a16="http://schemas.microsoft.com/office/drawing/2014/main" id="{B2ADC9A0-D4DB-42BF-B473-FDCB41D08922}"/>
                      </a:ext>
                    </a:extLst>
                  </p:cNvPr>
                  <p:cNvSpPr/>
                  <p:nvPr/>
                </p:nvSpPr>
                <p:spPr>
                  <a:xfrm>
                    <a:off x="8178836" y="4358790"/>
                    <a:ext cx="25119" cy="46291"/>
                  </a:xfrm>
                  <a:custGeom>
                    <a:avLst/>
                    <a:gdLst>
                      <a:gd name="connsiteX0" fmla="*/ 11543 w 25119"/>
                      <a:gd name="connsiteY0" fmla="*/ 24342 h 46291"/>
                      <a:gd name="connsiteX1" fmla="*/ 25119 w 25119"/>
                      <a:gd name="connsiteY1" fmla="*/ 0 h 46291"/>
                      <a:gd name="connsiteX2" fmla="*/ 13576 w 25119"/>
                      <a:gd name="connsiteY2" fmla="*/ 22009 h 46291"/>
                      <a:gd name="connsiteX3" fmla="*/ 0 w 25119"/>
                      <a:gd name="connsiteY3" fmla="*/ 46291 h 46291"/>
                    </a:gdLst>
                    <a:ahLst/>
                    <a:cxnLst>
                      <a:cxn ang="0">
                        <a:pos x="connsiteX0" y="connsiteY0"/>
                      </a:cxn>
                      <a:cxn ang="0">
                        <a:pos x="connsiteX1" y="connsiteY1"/>
                      </a:cxn>
                      <a:cxn ang="0">
                        <a:pos x="connsiteX2" y="connsiteY2"/>
                      </a:cxn>
                      <a:cxn ang="0">
                        <a:pos x="connsiteX3" y="connsiteY3"/>
                      </a:cxn>
                    </a:cxnLst>
                    <a:rect l="l" t="t" r="r" b="b"/>
                    <a:pathLst>
                      <a:path w="25119" h="46291">
                        <a:moveTo>
                          <a:pt x="11543" y="24342"/>
                        </a:moveTo>
                        <a:lnTo>
                          <a:pt x="25119" y="0"/>
                        </a:lnTo>
                        <a:lnTo>
                          <a:pt x="13576" y="22009"/>
                        </a:lnTo>
                        <a:lnTo>
                          <a:pt x="0" y="46291"/>
                        </a:lnTo>
                        <a:close/>
                      </a:path>
                    </a:pathLst>
                  </a:custGeom>
                  <a:grpFill/>
                  <a:ln w="6350" cap="flat">
                    <a:solidFill>
                      <a:schemeClr val="bg1">
                        <a:alpha val="40000"/>
                      </a:schemeClr>
                    </a:solidFill>
                    <a:prstDash val="solid"/>
                    <a:miter/>
                  </a:ln>
                </p:spPr>
                <p:txBody>
                  <a:bodyPr rtlCol="0" anchor="ctr"/>
                  <a:lstStyle/>
                  <a:p>
                    <a:endParaRPr lang="en-GB"/>
                  </a:p>
                </p:txBody>
              </p:sp>
              <p:sp>
                <p:nvSpPr>
                  <p:cNvPr id="7205" name="Vrije vorm: vorm 7204">
                    <a:extLst>
                      <a:ext uri="{FF2B5EF4-FFF2-40B4-BE49-F238E27FC236}">
                        <a16:creationId xmlns:a16="http://schemas.microsoft.com/office/drawing/2014/main" id="{64928FB8-E394-4A0C-801C-6C7C56AC852D}"/>
                      </a:ext>
                    </a:extLst>
                  </p:cNvPr>
                  <p:cNvSpPr/>
                  <p:nvPr/>
                </p:nvSpPr>
                <p:spPr>
                  <a:xfrm>
                    <a:off x="8168011" y="4374938"/>
                    <a:ext cx="24401" cy="30143"/>
                  </a:xfrm>
                  <a:custGeom>
                    <a:avLst/>
                    <a:gdLst>
                      <a:gd name="connsiteX0" fmla="*/ 24401 w 24401"/>
                      <a:gd name="connsiteY0" fmla="*/ 5861 h 30143"/>
                      <a:gd name="connsiteX1" fmla="*/ 10825 w 24401"/>
                      <a:gd name="connsiteY1" fmla="*/ 30143 h 30143"/>
                      <a:gd name="connsiteX2" fmla="*/ 0 w 24401"/>
                      <a:gd name="connsiteY2" fmla="*/ 24282 h 30143"/>
                      <a:gd name="connsiteX3" fmla="*/ 13576 w 24401"/>
                      <a:gd name="connsiteY3" fmla="*/ 0 h 30143"/>
                    </a:gdLst>
                    <a:ahLst/>
                    <a:cxnLst>
                      <a:cxn ang="0">
                        <a:pos x="connsiteX0" y="connsiteY0"/>
                      </a:cxn>
                      <a:cxn ang="0">
                        <a:pos x="connsiteX1" y="connsiteY1"/>
                      </a:cxn>
                      <a:cxn ang="0">
                        <a:pos x="connsiteX2" y="connsiteY2"/>
                      </a:cxn>
                      <a:cxn ang="0">
                        <a:pos x="connsiteX3" y="connsiteY3"/>
                      </a:cxn>
                    </a:cxnLst>
                    <a:rect l="l" t="t" r="r" b="b"/>
                    <a:pathLst>
                      <a:path w="24401" h="30143">
                        <a:moveTo>
                          <a:pt x="24401" y="5861"/>
                        </a:moveTo>
                        <a:lnTo>
                          <a:pt x="10825" y="30143"/>
                        </a:lnTo>
                        <a:lnTo>
                          <a:pt x="0" y="24282"/>
                        </a:lnTo>
                        <a:lnTo>
                          <a:pt x="13576" y="0"/>
                        </a:lnTo>
                      </a:path>
                    </a:pathLst>
                  </a:custGeom>
                  <a:grpFill/>
                  <a:ln w="6350" cap="flat">
                    <a:solidFill>
                      <a:schemeClr val="bg1">
                        <a:alpha val="40000"/>
                      </a:schemeClr>
                    </a:solidFill>
                    <a:prstDash val="solid"/>
                    <a:miter/>
                  </a:ln>
                </p:spPr>
                <p:txBody>
                  <a:bodyPr rtlCol="0" anchor="ctr"/>
                  <a:lstStyle/>
                  <a:p>
                    <a:endParaRPr lang="en-GB"/>
                  </a:p>
                </p:txBody>
              </p:sp>
              <p:sp>
                <p:nvSpPr>
                  <p:cNvPr id="7206" name="Vrije vorm: vorm 7205">
                    <a:extLst>
                      <a:ext uri="{FF2B5EF4-FFF2-40B4-BE49-F238E27FC236}">
                        <a16:creationId xmlns:a16="http://schemas.microsoft.com/office/drawing/2014/main" id="{C1C6748E-F5AE-471A-B984-6568CD14ABB0}"/>
                      </a:ext>
                    </a:extLst>
                  </p:cNvPr>
                  <p:cNvSpPr/>
                  <p:nvPr/>
                </p:nvSpPr>
                <p:spPr>
                  <a:xfrm>
                    <a:off x="8168011" y="4353766"/>
                    <a:ext cx="24700" cy="45453"/>
                  </a:xfrm>
                  <a:custGeom>
                    <a:avLst/>
                    <a:gdLst>
                      <a:gd name="connsiteX0" fmla="*/ 0 w 24700"/>
                      <a:gd name="connsiteY0" fmla="*/ 45453 h 45453"/>
                      <a:gd name="connsiteX1" fmla="*/ 11124 w 24700"/>
                      <a:gd name="connsiteY1" fmla="*/ 24282 h 45453"/>
                      <a:gd name="connsiteX2" fmla="*/ 24700 w 24700"/>
                      <a:gd name="connsiteY2" fmla="*/ 0 h 45453"/>
                      <a:gd name="connsiteX3" fmla="*/ 13576 w 24700"/>
                      <a:gd name="connsiteY3" fmla="*/ 21172 h 45453"/>
                    </a:gdLst>
                    <a:ahLst/>
                    <a:cxnLst>
                      <a:cxn ang="0">
                        <a:pos x="connsiteX0" y="connsiteY0"/>
                      </a:cxn>
                      <a:cxn ang="0">
                        <a:pos x="connsiteX1" y="connsiteY1"/>
                      </a:cxn>
                      <a:cxn ang="0">
                        <a:pos x="connsiteX2" y="connsiteY2"/>
                      </a:cxn>
                      <a:cxn ang="0">
                        <a:pos x="connsiteX3" y="connsiteY3"/>
                      </a:cxn>
                    </a:cxnLst>
                    <a:rect l="l" t="t" r="r" b="b"/>
                    <a:pathLst>
                      <a:path w="24700" h="45453">
                        <a:moveTo>
                          <a:pt x="0" y="45453"/>
                        </a:moveTo>
                        <a:lnTo>
                          <a:pt x="11124" y="24282"/>
                        </a:lnTo>
                        <a:lnTo>
                          <a:pt x="24700" y="0"/>
                        </a:lnTo>
                        <a:lnTo>
                          <a:pt x="13576" y="21172"/>
                        </a:lnTo>
                        <a:close/>
                      </a:path>
                    </a:pathLst>
                  </a:custGeom>
                  <a:grpFill/>
                  <a:ln w="6350" cap="flat">
                    <a:solidFill>
                      <a:schemeClr val="bg1">
                        <a:alpha val="40000"/>
                      </a:schemeClr>
                    </a:solidFill>
                    <a:prstDash val="solid"/>
                    <a:miter/>
                  </a:ln>
                </p:spPr>
                <p:txBody>
                  <a:bodyPr rtlCol="0" anchor="ctr"/>
                  <a:lstStyle/>
                  <a:p>
                    <a:endParaRPr lang="en-GB"/>
                  </a:p>
                </p:txBody>
              </p:sp>
              <p:sp>
                <p:nvSpPr>
                  <p:cNvPr id="7207" name="Vrije vorm: vorm 7206">
                    <a:extLst>
                      <a:ext uri="{FF2B5EF4-FFF2-40B4-BE49-F238E27FC236}">
                        <a16:creationId xmlns:a16="http://schemas.microsoft.com/office/drawing/2014/main" id="{788B0DE2-F317-4BB6-81CC-8511A544B090}"/>
                      </a:ext>
                    </a:extLst>
                  </p:cNvPr>
                  <p:cNvSpPr/>
                  <p:nvPr/>
                </p:nvSpPr>
                <p:spPr>
                  <a:xfrm>
                    <a:off x="8143909" y="4388514"/>
                    <a:ext cx="23982" cy="38814"/>
                  </a:xfrm>
                  <a:custGeom>
                    <a:avLst/>
                    <a:gdLst>
                      <a:gd name="connsiteX0" fmla="*/ 10406 w 23982"/>
                      <a:gd name="connsiteY0" fmla="*/ 24282 h 38814"/>
                      <a:gd name="connsiteX1" fmla="*/ 0 w 23982"/>
                      <a:gd name="connsiteY1" fmla="*/ 38815 h 38814"/>
                      <a:gd name="connsiteX2" fmla="*/ 13576 w 23982"/>
                      <a:gd name="connsiteY2" fmla="*/ 14533 h 38814"/>
                      <a:gd name="connsiteX3" fmla="*/ 23983 w 23982"/>
                      <a:gd name="connsiteY3" fmla="*/ 0 h 38814"/>
                    </a:gdLst>
                    <a:ahLst/>
                    <a:cxnLst>
                      <a:cxn ang="0">
                        <a:pos x="connsiteX0" y="connsiteY0"/>
                      </a:cxn>
                      <a:cxn ang="0">
                        <a:pos x="connsiteX1" y="connsiteY1"/>
                      </a:cxn>
                      <a:cxn ang="0">
                        <a:pos x="connsiteX2" y="connsiteY2"/>
                      </a:cxn>
                      <a:cxn ang="0">
                        <a:pos x="connsiteX3" y="connsiteY3"/>
                      </a:cxn>
                    </a:cxnLst>
                    <a:rect l="l" t="t" r="r" b="b"/>
                    <a:pathLst>
                      <a:path w="23982" h="38814">
                        <a:moveTo>
                          <a:pt x="10406" y="24282"/>
                        </a:moveTo>
                        <a:lnTo>
                          <a:pt x="0" y="38815"/>
                        </a:lnTo>
                        <a:lnTo>
                          <a:pt x="13576" y="14533"/>
                        </a:lnTo>
                        <a:lnTo>
                          <a:pt x="23983" y="0"/>
                        </a:lnTo>
                        <a:close/>
                      </a:path>
                    </a:pathLst>
                  </a:custGeom>
                  <a:grpFill/>
                  <a:ln w="6350" cap="flat">
                    <a:solidFill>
                      <a:schemeClr val="bg1">
                        <a:alpha val="40000"/>
                      </a:schemeClr>
                    </a:solidFill>
                    <a:prstDash val="solid"/>
                    <a:miter/>
                  </a:ln>
                </p:spPr>
                <p:txBody>
                  <a:bodyPr rtlCol="0" anchor="ctr"/>
                  <a:lstStyle/>
                  <a:p>
                    <a:endParaRPr lang="en-GB"/>
                  </a:p>
                </p:txBody>
              </p:sp>
              <p:sp>
                <p:nvSpPr>
                  <p:cNvPr id="7208" name="Vrije vorm: vorm 7207">
                    <a:extLst>
                      <a:ext uri="{FF2B5EF4-FFF2-40B4-BE49-F238E27FC236}">
                        <a16:creationId xmlns:a16="http://schemas.microsoft.com/office/drawing/2014/main" id="{9DE3F59C-730D-4EC6-80EF-5B5F84249AD4}"/>
                      </a:ext>
                    </a:extLst>
                  </p:cNvPr>
                  <p:cNvSpPr/>
                  <p:nvPr/>
                </p:nvSpPr>
                <p:spPr>
                  <a:xfrm>
                    <a:off x="8188047" y="4329126"/>
                    <a:ext cx="17642" cy="31996"/>
                  </a:xfrm>
                  <a:custGeom>
                    <a:avLst/>
                    <a:gdLst>
                      <a:gd name="connsiteX0" fmla="*/ 0 w 17642"/>
                      <a:gd name="connsiteY0" fmla="*/ 31997 h 31996"/>
                      <a:gd name="connsiteX1" fmla="*/ 4067 w 17642"/>
                      <a:gd name="connsiteY1" fmla="*/ 24282 h 31996"/>
                      <a:gd name="connsiteX2" fmla="*/ 17643 w 17642"/>
                      <a:gd name="connsiteY2" fmla="*/ 0 h 31996"/>
                      <a:gd name="connsiteX3" fmla="*/ 13576 w 17642"/>
                      <a:gd name="connsiteY3" fmla="*/ 7715 h 31996"/>
                    </a:gdLst>
                    <a:ahLst/>
                    <a:cxnLst>
                      <a:cxn ang="0">
                        <a:pos x="connsiteX0" y="connsiteY0"/>
                      </a:cxn>
                      <a:cxn ang="0">
                        <a:pos x="connsiteX1" y="connsiteY1"/>
                      </a:cxn>
                      <a:cxn ang="0">
                        <a:pos x="connsiteX2" y="connsiteY2"/>
                      </a:cxn>
                      <a:cxn ang="0">
                        <a:pos x="connsiteX3" y="connsiteY3"/>
                      </a:cxn>
                    </a:cxnLst>
                    <a:rect l="l" t="t" r="r" b="b"/>
                    <a:pathLst>
                      <a:path w="17642" h="31996">
                        <a:moveTo>
                          <a:pt x="0" y="31997"/>
                        </a:moveTo>
                        <a:lnTo>
                          <a:pt x="4067" y="24282"/>
                        </a:lnTo>
                        <a:lnTo>
                          <a:pt x="17643" y="0"/>
                        </a:lnTo>
                        <a:lnTo>
                          <a:pt x="13576" y="7715"/>
                        </a:lnTo>
                        <a:close/>
                      </a:path>
                    </a:pathLst>
                  </a:custGeom>
                  <a:grpFill/>
                  <a:ln w="6350" cap="flat">
                    <a:solidFill>
                      <a:schemeClr val="bg1">
                        <a:alpha val="40000"/>
                      </a:schemeClr>
                    </a:solidFill>
                    <a:prstDash val="solid"/>
                    <a:miter/>
                  </a:ln>
                </p:spPr>
                <p:txBody>
                  <a:bodyPr rtlCol="0" anchor="ctr"/>
                  <a:lstStyle/>
                  <a:p>
                    <a:endParaRPr lang="en-GB"/>
                  </a:p>
                </p:txBody>
              </p:sp>
              <p:sp>
                <p:nvSpPr>
                  <p:cNvPr id="7209" name="Vrije vorm: vorm 7208">
                    <a:extLst>
                      <a:ext uri="{FF2B5EF4-FFF2-40B4-BE49-F238E27FC236}">
                        <a16:creationId xmlns:a16="http://schemas.microsoft.com/office/drawing/2014/main" id="{97BA778B-C85A-4A71-8D3E-120000A58772}"/>
                      </a:ext>
                    </a:extLst>
                  </p:cNvPr>
                  <p:cNvSpPr/>
                  <p:nvPr/>
                </p:nvSpPr>
                <p:spPr>
                  <a:xfrm>
                    <a:off x="8192114" y="4329126"/>
                    <a:ext cx="24401" cy="30082"/>
                  </a:xfrm>
                  <a:custGeom>
                    <a:avLst/>
                    <a:gdLst>
                      <a:gd name="connsiteX0" fmla="*/ 0 w 24401"/>
                      <a:gd name="connsiteY0" fmla="*/ 24282 h 30082"/>
                      <a:gd name="connsiteX1" fmla="*/ 13576 w 24401"/>
                      <a:gd name="connsiteY1" fmla="*/ 0 h 30082"/>
                      <a:gd name="connsiteX2" fmla="*/ 24401 w 24401"/>
                      <a:gd name="connsiteY2" fmla="*/ 5801 h 30082"/>
                      <a:gd name="connsiteX3" fmla="*/ 10825 w 24401"/>
                      <a:gd name="connsiteY3" fmla="*/ 30083 h 30082"/>
                    </a:gdLst>
                    <a:ahLst/>
                    <a:cxnLst>
                      <a:cxn ang="0">
                        <a:pos x="connsiteX0" y="connsiteY0"/>
                      </a:cxn>
                      <a:cxn ang="0">
                        <a:pos x="connsiteX1" y="connsiteY1"/>
                      </a:cxn>
                      <a:cxn ang="0">
                        <a:pos x="connsiteX2" y="connsiteY2"/>
                      </a:cxn>
                      <a:cxn ang="0">
                        <a:pos x="connsiteX3" y="connsiteY3"/>
                      </a:cxn>
                    </a:cxnLst>
                    <a:rect l="l" t="t" r="r" b="b"/>
                    <a:pathLst>
                      <a:path w="24401" h="30082">
                        <a:moveTo>
                          <a:pt x="0" y="24282"/>
                        </a:moveTo>
                        <a:lnTo>
                          <a:pt x="13576" y="0"/>
                        </a:lnTo>
                        <a:lnTo>
                          <a:pt x="24401" y="5801"/>
                        </a:lnTo>
                        <a:lnTo>
                          <a:pt x="10825" y="30083"/>
                        </a:lnTo>
                      </a:path>
                    </a:pathLst>
                  </a:custGeom>
                  <a:grpFill/>
                  <a:ln w="6350" cap="flat">
                    <a:solidFill>
                      <a:schemeClr val="bg1">
                        <a:alpha val="40000"/>
                      </a:schemeClr>
                    </a:solidFill>
                    <a:prstDash val="solid"/>
                    <a:miter/>
                  </a:ln>
                </p:spPr>
                <p:txBody>
                  <a:bodyPr rtlCol="0" anchor="ctr"/>
                  <a:lstStyle/>
                  <a:p>
                    <a:endParaRPr lang="en-GB"/>
                  </a:p>
                </p:txBody>
              </p:sp>
              <p:sp>
                <p:nvSpPr>
                  <p:cNvPr id="7210" name="Vrije vorm: vorm 7209">
                    <a:extLst>
                      <a:ext uri="{FF2B5EF4-FFF2-40B4-BE49-F238E27FC236}">
                        <a16:creationId xmlns:a16="http://schemas.microsoft.com/office/drawing/2014/main" id="{BB3DB2E4-14D4-492A-BC65-B004C923E3AC}"/>
                      </a:ext>
                    </a:extLst>
                  </p:cNvPr>
                  <p:cNvSpPr/>
                  <p:nvPr/>
                </p:nvSpPr>
                <p:spPr>
                  <a:xfrm>
                    <a:off x="8199290" y="4334927"/>
                    <a:ext cx="17224" cy="31219"/>
                  </a:xfrm>
                  <a:custGeom>
                    <a:avLst/>
                    <a:gdLst>
                      <a:gd name="connsiteX0" fmla="*/ 3648 w 17224"/>
                      <a:gd name="connsiteY0" fmla="*/ 24282 h 31219"/>
                      <a:gd name="connsiteX1" fmla="*/ 17225 w 17224"/>
                      <a:gd name="connsiteY1" fmla="*/ 0 h 31219"/>
                      <a:gd name="connsiteX2" fmla="*/ 13576 w 17224"/>
                      <a:gd name="connsiteY2" fmla="*/ 6938 h 31219"/>
                      <a:gd name="connsiteX3" fmla="*/ 0 w 17224"/>
                      <a:gd name="connsiteY3" fmla="*/ 31220 h 31219"/>
                    </a:gdLst>
                    <a:ahLst/>
                    <a:cxnLst>
                      <a:cxn ang="0">
                        <a:pos x="connsiteX0" y="connsiteY0"/>
                      </a:cxn>
                      <a:cxn ang="0">
                        <a:pos x="connsiteX1" y="connsiteY1"/>
                      </a:cxn>
                      <a:cxn ang="0">
                        <a:pos x="connsiteX2" y="connsiteY2"/>
                      </a:cxn>
                      <a:cxn ang="0">
                        <a:pos x="connsiteX3" y="connsiteY3"/>
                      </a:cxn>
                    </a:cxnLst>
                    <a:rect l="l" t="t" r="r" b="b"/>
                    <a:pathLst>
                      <a:path w="17224" h="31219">
                        <a:moveTo>
                          <a:pt x="3648" y="24282"/>
                        </a:moveTo>
                        <a:lnTo>
                          <a:pt x="17225" y="0"/>
                        </a:lnTo>
                        <a:lnTo>
                          <a:pt x="13576" y="6938"/>
                        </a:lnTo>
                        <a:lnTo>
                          <a:pt x="0" y="31220"/>
                        </a:lnTo>
                        <a:close/>
                      </a:path>
                    </a:pathLst>
                  </a:custGeom>
                  <a:grpFill/>
                  <a:ln w="6350" cap="flat">
                    <a:solidFill>
                      <a:schemeClr val="bg1">
                        <a:alpha val="40000"/>
                      </a:schemeClr>
                    </a:solidFill>
                    <a:prstDash val="solid"/>
                    <a:miter/>
                  </a:ln>
                </p:spPr>
                <p:txBody>
                  <a:bodyPr rtlCol="0" anchor="ctr"/>
                  <a:lstStyle/>
                  <a:p>
                    <a:endParaRPr lang="en-GB"/>
                  </a:p>
                </p:txBody>
              </p:sp>
              <p:sp>
                <p:nvSpPr>
                  <p:cNvPr id="7211" name="Vrije vorm: vorm 7210">
                    <a:extLst>
                      <a:ext uri="{FF2B5EF4-FFF2-40B4-BE49-F238E27FC236}">
                        <a16:creationId xmlns:a16="http://schemas.microsoft.com/office/drawing/2014/main" id="{EB8B22AA-81B8-41AC-A3F7-1C5A1775D197}"/>
                      </a:ext>
                    </a:extLst>
                  </p:cNvPr>
                  <p:cNvSpPr/>
                  <p:nvPr/>
                </p:nvSpPr>
                <p:spPr>
                  <a:xfrm>
                    <a:off x="8210116" y="4340788"/>
                    <a:ext cx="17223" cy="31219"/>
                  </a:xfrm>
                  <a:custGeom>
                    <a:avLst/>
                    <a:gdLst>
                      <a:gd name="connsiteX0" fmla="*/ 0 w 17223"/>
                      <a:gd name="connsiteY0" fmla="*/ 31219 h 31219"/>
                      <a:gd name="connsiteX1" fmla="*/ 3648 w 17223"/>
                      <a:gd name="connsiteY1" fmla="*/ 24282 h 31219"/>
                      <a:gd name="connsiteX2" fmla="*/ 17224 w 17223"/>
                      <a:gd name="connsiteY2" fmla="*/ 0 h 31219"/>
                      <a:gd name="connsiteX3" fmla="*/ 13576 w 17223"/>
                      <a:gd name="connsiteY3" fmla="*/ 6937 h 31219"/>
                    </a:gdLst>
                    <a:ahLst/>
                    <a:cxnLst>
                      <a:cxn ang="0">
                        <a:pos x="connsiteX0" y="connsiteY0"/>
                      </a:cxn>
                      <a:cxn ang="0">
                        <a:pos x="connsiteX1" y="connsiteY1"/>
                      </a:cxn>
                      <a:cxn ang="0">
                        <a:pos x="connsiteX2" y="connsiteY2"/>
                      </a:cxn>
                      <a:cxn ang="0">
                        <a:pos x="connsiteX3" y="connsiteY3"/>
                      </a:cxn>
                    </a:cxnLst>
                    <a:rect l="l" t="t" r="r" b="b"/>
                    <a:pathLst>
                      <a:path w="17223" h="31219">
                        <a:moveTo>
                          <a:pt x="0" y="31219"/>
                        </a:moveTo>
                        <a:lnTo>
                          <a:pt x="3648" y="24282"/>
                        </a:lnTo>
                        <a:lnTo>
                          <a:pt x="17224" y="0"/>
                        </a:lnTo>
                        <a:lnTo>
                          <a:pt x="13576" y="6937"/>
                        </a:lnTo>
                        <a:close/>
                      </a:path>
                    </a:pathLst>
                  </a:custGeom>
                  <a:grpFill/>
                  <a:ln w="6350" cap="flat">
                    <a:solidFill>
                      <a:schemeClr val="bg1">
                        <a:alpha val="40000"/>
                      </a:schemeClr>
                    </a:solidFill>
                    <a:prstDash val="solid"/>
                    <a:miter/>
                  </a:ln>
                </p:spPr>
                <p:txBody>
                  <a:bodyPr rtlCol="0" anchor="ctr"/>
                  <a:lstStyle/>
                  <a:p>
                    <a:endParaRPr lang="en-GB"/>
                  </a:p>
                </p:txBody>
              </p:sp>
              <p:sp>
                <p:nvSpPr>
                  <p:cNvPr id="7212" name="Vrije vorm: vorm 7211">
                    <a:extLst>
                      <a:ext uri="{FF2B5EF4-FFF2-40B4-BE49-F238E27FC236}">
                        <a16:creationId xmlns:a16="http://schemas.microsoft.com/office/drawing/2014/main" id="{68F045FF-00B0-42E1-9437-7A1993D0D226}"/>
                      </a:ext>
                    </a:extLst>
                  </p:cNvPr>
                  <p:cNvSpPr/>
                  <p:nvPr/>
                </p:nvSpPr>
                <p:spPr>
                  <a:xfrm>
                    <a:off x="8213764" y="4340788"/>
                    <a:ext cx="24341" cy="30082"/>
                  </a:xfrm>
                  <a:custGeom>
                    <a:avLst/>
                    <a:gdLst>
                      <a:gd name="connsiteX0" fmla="*/ 0 w 24341"/>
                      <a:gd name="connsiteY0" fmla="*/ 24282 h 30082"/>
                      <a:gd name="connsiteX1" fmla="*/ 13576 w 24341"/>
                      <a:gd name="connsiteY1" fmla="*/ 0 h 30082"/>
                      <a:gd name="connsiteX2" fmla="*/ 24341 w 24341"/>
                      <a:gd name="connsiteY2" fmla="*/ 5801 h 30082"/>
                      <a:gd name="connsiteX3" fmla="*/ 10765 w 24341"/>
                      <a:gd name="connsiteY3" fmla="*/ 30083 h 30082"/>
                    </a:gdLst>
                    <a:ahLst/>
                    <a:cxnLst>
                      <a:cxn ang="0">
                        <a:pos x="connsiteX0" y="connsiteY0"/>
                      </a:cxn>
                      <a:cxn ang="0">
                        <a:pos x="connsiteX1" y="connsiteY1"/>
                      </a:cxn>
                      <a:cxn ang="0">
                        <a:pos x="connsiteX2" y="connsiteY2"/>
                      </a:cxn>
                      <a:cxn ang="0">
                        <a:pos x="connsiteX3" y="connsiteY3"/>
                      </a:cxn>
                    </a:cxnLst>
                    <a:rect l="l" t="t" r="r" b="b"/>
                    <a:pathLst>
                      <a:path w="24341" h="30082">
                        <a:moveTo>
                          <a:pt x="0" y="24282"/>
                        </a:moveTo>
                        <a:lnTo>
                          <a:pt x="13576" y="0"/>
                        </a:lnTo>
                        <a:lnTo>
                          <a:pt x="24341" y="5801"/>
                        </a:lnTo>
                        <a:lnTo>
                          <a:pt x="10765" y="30083"/>
                        </a:lnTo>
                      </a:path>
                    </a:pathLst>
                  </a:custGeom>
                  <a:grpFill/>
                  <a:ln w="6350" cap="flat">
                    <a:solidFill>
                      <a:schemeClr val="bg1">
                        <a:alpha val="40000"/>
                      </a:schemeClr>
                    </a:solidFill>
                    <a:prstDash val="solid"/>
                    <a:miter/>
                  </a:ln>
                </p:spPr>
                <p:txBody>
                  <a:bodyPr rtlCol="0" anchor="ctr"/>
                  <a:lstStyle/>
                  <a:p>
                    <a:endParaRPr lang="en-GB"/>
                  </a:p>
                </p:txBody>
              </p:sp>
            </p:grpSp>
            <p:sp>
              <p:nvSpPr>
                <p:cNvPr id="7175" name="Vrije vorm: vorm 7174">
                  <a:extLst>
                    <a:ext uri="{FF2B5EF4-FFF2-40B4-BE49-F238E27FC236}">
                      <a16:creationId xmlns:a16="http://schemas.microsoft.com/office/drawing/2014/main" id="{0C3C45CB-7EB1-4D76-B521-AC41DB3D043F}"/>
                    </a:ext>
                  </a:extLst>
                </p:cNvPr>
                <p:cNvSpPr/>
                <p:nvPr/>
              </p:nvSpPr>
              <p:spPr>
                <a:xfrm>
                  <a:off x="7453614" y="3698997"/>
                  <a:ext cx="824741" cy="989988"/>
                </a:xfrm>
                <a:custGeom>
                  <a:avLst/>
                  <a:gdLst>
                    <a:gd name="connsiteX0" fmla="*/ 32236 w 824741"/>
                    <a:gd name="connsiteY0" fmla="*/ 189290 h 989988"/>
                    <a:gd name="connsiteX1" fmla="*/ 70573 w 824741"/>
                    <a:gd name="connsiteY1" fmla="*/ 214050 h 989988"/>
                    <a:gd name="connsiteX2" fmla="*/ 69257 w 824741"/>
                    <a:gd name="connsiteY2" fmla="*/ 230557 h 989988"/>
                    <a:gd name="connsiteX3" fmla="*/ 31280 w 824741"/>
                    <a:gd name="connsiteY3" fmla="*/ 205857 h 989988"/>
                    <a:gd name="connsiteX4" fmla="*/ 32236 w 824741"/>
                    <a:gd name="connsiteY4" fmla="*/ 189290 h 989988"/>
                    <a:gd name="connsiteX5" fmla="*/ 33552 w 824741"/>
                    <a:gd name="connsiteY5" fmla="*/ 187436 h 989988"/>
                    <a:gd name="connsiteX6" fmla="*/ 49222 w 824741"/>
                    <a:gd name="connsiteY6" fmla="*/ 180199 h 989988"/>
                    <a:gd name="connsiteX7" fmla="*/ 87259 w 824741"/>
                    <a:gd name="connsiteY7" fmla="*/ 204600 h 989988"/>
                    <a:gd name="connsiteX8" fmla="*/ 71829 w 824741"/>
                    <a:gd name="connsiteY8" fmla="*/ 212196 h 989988"/>
                    <a:gd name="connsiteX9" fmla="*/ 33552 w 824741"/>
                    <a:gd name="connsiteY9" fmla="*/ 187436 h 989988"/>
                    <a:gd name="connsiteX10" fmla="*/ 31100 w 824741"/>
                    <a:gd name="connsiteY10" fmla="*/ 208368 h 989988"/>
                    <a:gd name="connsiteX11" fmla="*/ 69078 w 824741"/>
                    <a:gd name="connsiteY11" fmla="*/ 233009 h 989988"/>
                    <a:gd name="connsiteX12" fmla="*/ 65848 w 824741"/>
                    <a:gd name="connsiteY12" fmla="*/ 273140 h 989988"/>
                    <a:gd name="connsiteX13" fmla="*/ 28768 w 824741"/>
                    <a:gd name="connsiteY13" fmla="*/ 248678 h 989988"/>
                    <a:gd name="connsiteX14" fmla="*/ 31100 w 824741"/>
                    <a:gd name="connsiteY14" fmla="*/ 208368 h 989988"/>
                    <a:gd name="connsiteX15" fmla="*/ 51614 w 824741"/>
                    <a:gd name="connsiteY15" fmla="*/ 179122 h 989988"/>
                    <a:gd name="connsiteX16" fmla="*/ 122366 w 824741"/>
                    <a:gd name="connsiteY16" fmla="*/ 146468 h 989988"/>
                    <a:gd name="connsiteX17" fmla="*/ 158968 w 824741"/>
                    <a:gd name="connsiteY17" fmla="*/ 169374 h 989988"/>
                    <a:gd name="connsiteX18" fmla="*/ 89532 w 824741"/>
                    <a:gd name="connsiteY18" fmla="*/ 203524 h 989988"/>
                    <a:gd name="connsiteX19" fmla="*/ 51614 w 824741"/>
                    <a:gd name="connsiteY19" fmla="*/ 179122 h 989988"/>
                    <a:gd name="connsiteX20" fmla="*/ 27093 w 824741"/>
                    <a:gd name="connsiteY20" fmla="*/ 309263 h 989988"/>
                    <a:gd name="connsiteX21" fmla="*/ 42524 w 824741"/>
                    <a:gd name="connsiteY21" fmla="*/ 300950 h 989988"/>
                    <a:gd name="connsiteX22" fmla="*/ 78109 w 824741"/>
                    <a:gd name="connsiteY22" fmla="*/ 324634 h 989988"/>
                    <a:gd name="connsiteX23" fmla="*/ 62857 w 824741"/>
                    <a:gd name="connsiteY23" fmla="*/ 333306 h 989988"/>
                    <a:gd name="connsiteX24" fmla="*/ 27093 w 824741"/>
                    <a:gd name="connsiteY24" fmla="*/ 309263 h 989988"/>
                    <a:gd name="connsiteX25" fmla="*/ 25957 w 824741"/>
                    <a:gd name="connsiteY25" fmla="*/ 311177 h 989988"/>
                    <a:gd name="connsiteX26" fmla="*/ 61602 w 824741"/>
                    <a:gd name="connsiteY26" fmla="*/ 335100 h 989988"/>
                    <a:gd name="connsiteX27" fmla="*/ 57475 w 824741"/>
                    <a:gd name="connsiteY27" fmla="*/ 386116 h 989988"/>
                    <a:gd name="connsiteX28" fmla="*/ 22907 w 824741"/>
                    <a:gd name="connsiteY28" fmla="*/ 362432 h 989988"/>
                    <a:gd name="connsiteX29" fmla="*/ 25957 w 824741"/>
                    <a:gd name="connsiteY29" fmla="*/ 311177 h 989988"/>
                    <a:gd name="connsiteX30" fmla="*/ 124699 w 824741"/>
                    <a:gd name="connsiteY30" fmla="*/ 145332 h 989988"/>
                    <a:gd name="connsiteX31" fmla="*/ 179183 w 824741"/>
                    <a:gd name="connsiteY31" fmla="*/ 120153 h 989988"/>
                    <a:gd name="connsiteX32" fmla="*/ 214708 w 824741"/>
                    <a:gd name="connsiteY32" fmla="*/ 141923 h 989988"/>
                    <a:gd name="connsiteX33" fmla="*/ 161241 w 824741"/>
                    <a:gd name="connsiteY33" fmla="*/ 168238 h 989988"/>
                    <a:gd name="connsiteX34" fmla="*/ 124699 w 824741"/>
                    <a:gd name="connsiteY34" fmla="*/ 145332 h 989988"/>
                    <a:gd name="connsiteX35" fmla="*/ 22787 w 824741"/>
                    <a:gd name="connsiteY35" fmla="*/ 365003 h 989988"/>
                    <a:gd name="connsiteX36" fmla="*/ 57296 w 824741"/>
                    <a:gd name="connsiteY36" fmla="*/ 388627 h 989988"/>
                    <a:gd name="connsiteX37" fmla="*/ 56159 w 824741"/>
                    <a:gd name="connsiteY37" fmla="*/ 403160 h 989988"/>
                    <a:gd name="connsiteX38" fmla="*/ 21950 w 824741"/>
                    <a:gd name="connsiteY38" fmla="*/ 379716 h 989988"/>
                    <a:gd name="connsiteX39" fmla="*/ 22787 w 824741"/>
                    <a:gd name="connsiteY39" fmla="*/ 365003 h 989988"/>
                    <a:gd name="connsiteX40" fmla="*/ 163094 w 824741"/>
                    <a:gd name="connsiteY40" fmla="*/ 169374 h 989988"/>
                    <a:gd name="connsiteX41" fmla="*/ 215665 w 824741"/>
                    <a:gd name="connsiteY41" fmla="*/ 143478 h 989988"/>
                    <a:gd name="connsiteX42" fmla="*/ 213273 w 824741"/>
                    <a:gd name="connsiteY42" fmla="*/ 159087 h 989988"/>
                    <a:gd name="connsiteX43" fmla="*/ 176312 w 824741"/>
                    <a:gd name="connsiteY43" fmla="*/ 177687 h 989988"/>
                    <a:gd name="connsiteX44" fmla="*/ 163094 w 824741"/>
                    <a:gd name="connsiteY44" fmla="*/ 169374 h 989988"/>
                    <a:gd name="connsiteX45" fmla="*/ 72367 w 824741"/>
                    <a:gd name="connsiteY45" fmla="*/ 215246 h 989988"/>
                    <a:gd name="connsiteX46" fmla="*/ 147066 w 824741"/>
                    <a:gd name="connsiteY46" fmla="*/ 263511 h 989988"/>
                    <a:gd name="connsiteX47" fmla="*/ 145033 w 824741"/>
                    <a:gd name="connsiteY47" fmla="*/ 279838 h 989988"/>
                    <a:gd name="connsiteX48" fmla="*/ 70991 w 824741"/>
                    <a:gd name="connsiteY48" fmla="*/ 231693 h 989988"/>
                    <a:gd name="connsiteX49" fmla="*/ 72367 w 824741"/>
                    <a:gd name="connsiteY49" fmla="*/ 215246 h 989988"/>
                    <a:gd name="connsiteX50" fmla="*/ 73683 w 824741"/>
                    <a:gd name="connsiteY50" fmla="*/ 213392 h 989988"/>
                    <a:gd name="connsiteX51" fmla="*/ 89053 w 824741"/>
                    <a:gd name="connsiteY51" fmla="*/ 205857 h 989988"/>
                    <a:gd name="connsiteX52" fmla="*/ 163094 w 824741"/>
                    <a:gd name="connsiteY52" fmla="*/ 253403 h 989988"/>
                    <a:gd name="connsiteX53" fmla="*/ 148202 w 824741"/>
                    <a:gd name="connsiteY53" fmla="*/ 261657 h 989988"/>
                    <a:gd name="connsiteX54" fmla="*/ 73683 w 824741"/>
                    <a:gd name="connsiteY54" fmla="*/ 213392 h 989988"/>
                    <a:gd name="connsiteX55" fmla="*/ 21770 w 824741"/>
                    <a:gd name="connsiteY55" fmla="*/ 382168 h 989988"/>
                    <a:gd name="connsiteX56" fmla="*/ 55920 w 824741"/>
                    <a:gd name="connsiteY56" fmla="*/ 405612 h 989988"/>
                    <a:gd name="connsiteX57" fmla="*/ 53946 w 824741"/>
                    <a:gd name="connsiteY57" fmla="*/ 429775 h 989988"/>
                    <a:gd name="connsiteX58" fmla="*/ 20335 w 824741"/>
                    <a:gd name="connsiteY58" fmla="*/ 406510 h 989988"/>
                    <a:gd name="connsiteX59" fmla="*/ 21770 w 824741"/>
                    <a:gd name="connsiteY59" fmla="*/ 382168 h 989988"/>
                    <a:gd name="connsiteX60" fmla="*/ 70872 w 824741"/>
                    <a:gd name="connsiteY60" fmla="*/ 234205 h 989988"/>
                    <a:gd name="connsiteX61" fmla="*/ 144734 w 824741"/>
                    <a:gd name="connsiteY61" fmla="*/ 282230 h 989988"/>
                    <a:gd name="connsiteX62" fmla="*/ 139769 w 824741"/>
                    <a:gd name="connsiteY62" fmla="*/ 322002 h 989988"/>
                    <a:gd name="connsiteX63" fmla="*/ 67582 w 824741"/>
                    <a:gd name="connsiteY63" fmla="*/ 274395 h 989988"/>
                    <a:gd name="connsiteX64" fmla="*/ 70872 w 824741"/>
                    <a:gd name="connsiteY64" fmla="*/ 234205 h 989988"/>
                    <a:gd name="connsiteX65" fmla="*/ 86123 w 824741"/>
                    <a:gd name="connsiteY65" fmla="*/ 327385 h 989988"/>
                    <a:gd name="connsiteX66" fmla="*/ 117163 w 824741"/>
                    <a:gd name="connsiteY66" fmla="*/ 309622 h 989988"/>
                    <a:gd name="connsiteX67" fmla="*/ 139471 w 824741"/>
                    <a:gd name="connsiteY67" fmla="*/ 324335 h 989988"/>
                    <a:gd name="connsiteX68" fmla="*/ 137796 w 824741"/>
                    <a:gd name="connsiteY68" fmla="*/ 338987 h 989988"/>
                    <a:gd name="connsiteX69" fmla="*/ 119734 w 824741"/>
                    <a:gd name="connsiteY69" fmla="*/ 349932 h 989988"/>
                    <a:gd name="connsiteX70" fmla="*/ 86123 w 824741"/>
                    <a:gd name="connsiteY70" fmla="*/ 327385 h 989988"/>
                    <a:gd name="connsiteX71" fmla="*/ 181575 w 824741"/>
                    <a:gd name="connsiteY71" fmla="*/ 119016 h 989988"/>
                    <a:gd name="connsiteX72" fmla="*/ 258846 w 824741"/>
                    <a:gd name="connsiteY72" fmla="*/ 83252 h 989988"/>
                    <a:gd name="connsiteX73" fmla="*/ 292757 w 824741"/>
                    <a:gd name="connsiteY73" fmla="*/ 103526 h 989988"/>
                    <a:gd name="connsiteX74" fmla="*/ 216981 w 824741"/>
                    <a:gd name="connsiteY74" fmla="*/ 140786 h 989988"/>
                    <a:gd name="connsiteX75" fmla="*/ 181575 w 824741"/>
                    <a:gd name="connsiteY75" fmla="*/ 119016 h 989988"/>
                    <a:gd name="connsiteX76" fmla="*/ 20215 w 824741"/>
                    <a:gd name="connsiteY76" fmla="*/ 408962 h 989988"/>
                    <a:gd name="connsiteX77" fmla="*/ 53767 w 824741"/>
                    <a:gd name="connsiteY77" fmla="*/ 432227 h 989988"/>
                    <a:gd name="connsiteX78" fmla="*/ 48982 w 824741"/>
                    <a:gd name="connsiteY78" fmla="*/ 491196 h 989988"/>
                    <a:gd name="connsiteX79" fmla="*/ 16686 w 824741"/>
                    <a:gd name="connsiteY79" fmla="*/ 468410 h 989988"/>
                    <a:gd name="connsiteX80" fmla="*/ 20215 w 824741"/>
                    <a:gd name="connsiteY80" fmla="*/ 408962 h 989988"/>
                    <a:gd name="connsiteX81" fmla="*/ 121349 w 824741"/>
                    <a:gd name="connsiteY81" fmla="*/ 350949 h 989988"/>
                    <a:gd name="connsiteX82" fmla="*/ 137616 w 824741"/>
                    <a:gd name="connsiteY82" fmla="*/ 341140 h 989988"/>
                    <a:gd name="connsiteX83" fmla="*/ 135464 w 824741"/>
                    <a:gd name="connsiteY83" fmla="*/ 360339 h 989988"/>
                    <a:gd name="connsiteX84" fmla="*/ 121349 w 824741"/>
                    <a:gd name="connsiteY84" fmla="*/ 350949 h 989988"/>
                    <a:gd name="connsiteX85" fmla="*/ 261298 w 824741"/>
                    <a:gd name="connsiteY85" fmla="*/ 82235 h 989988"/>
                    <a:gd name="connsiteX86" fmla="*/ 271226 w 824741"/>
                    <a:gd name="connsiteY86" fmla="*/ 77630 h 989988"/>
                    <a:gd name="connsiteX87" fmla="*/ 304838 w 824741"/>
                    <a:gd name="connsiteY87" fmla="*/ 97665 h 989988"/>
                    <a:gd name="connsiteX88" fmla="*/ 295030 w 824741"/>
                    <a:gd name="connsiteY88" fmla="*/ 102450 h 989988"/>
                    <a:gd name="connsiteX89" fmla="*/ 261298 w 824741"/>
                    <a:gd name="connsiteY89" fmla="*/ 82235 h 989988"/>
                    <a:gd name="connsiteX90" fmla="*/ 70095 w 824741"/>
                    <a:gd name="connsiteY90" fmla="*/ 443530 h 989988"/>
                    <a:gd name="connsiteX91" fmla="*/ 82594 w 824741"/>
                    <a:gd name="connsiteY91" fmla="*/ 452083 h 989988"/>
                    <a:gd name="connsiteX92" fmla="*/ 68480 w 824741"/>
                    <a:gd name="connsiteY92" fmla="*/ 461353 h 989988"/>
                    <a:gd name="connsiteX93" fmla="*/ 70095 w 824741"/>
                    <a:gd name="connsiteY93" fmla="*/ 443530 h 989988"/>
                    <a:gd name="connsiteX94" fmla="*/ 55441 w 824741"/>
                    <a:gd name="connsiteY94" fmla="*/ 433423 h 989988"/>
                    <a:gd name="connsiteX95" fmla="*/ 68360 w 824741"/>
                    <a:gd name="connsiteY95" fmla="*/ 442334 h 989988"/>
                    <a:gd name="connsiteX96" fmla="*/ 64772 w 824741"/>
                    <a:gd name="connsiteY96" fmla="*/ 481867 h 989988"/>
                    <a:gd name="connsiteX97" fmla="*/ 50777 w 824741"/>
                    <a:gd name="connsiteY97" fmla="*/ 491256 h 989988"/>
                    <a:gd name="connsiteX98" fmla="*/ 55441 w 824741"/>
                    <a:gd name="connsiteY98" fmla="*/ 433423 h 989988"/>
                    <a:gd name="connsiteX99" fmla="*/ 178226 w 824741"/>
                    <a:gd name="connsiteY99" fmla="*/ 178883 h 989988"/>
                    <a:gd name="connsiteX100" fmla="*/ 213871 w 824741"/>
                    <a:gd name="connsiteY100" fmla="*/ 160881 h 989988"/>
                    <a:gd name="connsiteX101" fmla="*/ 241981 w 824741"/>
                    <a:gd name="connsiteY101" fmla="*/ 178226 h 989988"/>
                    <a:gd name="connsiteX102" fmla="*/ 236060 w 824741"/>
                    <a:gd name="connsiteY102" fmla="*/ 213033 h 989988"/>
                    <a:gd name="connsiteX103" fmla="*/ 234325 w 824741"/>
                    <a:gd name="connsiteY103" fmla="*/ 214050 h 989988"/>
                    <a:gd name="connsiteX104" fmla="*/ 178226 w 824741"/>
                    <a:gd name="connsiteY104" fmla="*/ 178883 h 989988"/>
                    <a:gd name="connsiteX105" fmla="*/ 64472 w 824741"/>
                    <a:gd name="connsiteY105" fmla="*/ 334442 h 989988"/>
                    <a:gd name="connsiteX106" fmla="*/ 79664 w 824741"/>
                    <a:gd name="connsiteY106" fmla="*/ 325770 h 989988"/>
                    <a:gd name="connsiteX107" fmla="*/ 135045 w 824741"/>
                    <a:gd name="connsiteY107" fmla="*/ 362731 h 989988"/>
                    <a:gd name="connsiteX108" fmla="*/ 133012 w 824741"/>
                    <a:gd name="connsiteY108" fmla="*/ 380553 h 989988"/>
                    <a:gd name="connsiteX109" fmla="*/ 64472 w 824741"/>
                    <a:gd name="connsiteY109" fmla="*/ 334442 h 989988"/>
                    <a:gd name="connsiteX110" fmla="*/ 16567 w 824741"/>
                    <a:gd name="connsiteY110" fmla="*/ 470982 h 989988"/>
                    <a:gd name="connsiteX111" fmla="*/ 48803 w 824741"/>
                    <a:gd name="connsiteY111" fmla="*/ 493709 h 989988"/>
                    <a:gd name="connsiteX112" fmla="*/ 46650 w 824741"/>
                    <a:gd name="connsiteY112" fmla="*/ 520143 h 989988"/>
                    <a:gd name="connsiteX113" fmla="*/ 15012 w 824741"/>
                    <a:gd name="connsiteY113" fmla="*/ 497596 h 989988"/>
                    <a:gd name="connsiteX114" fmla="*/ 16567 w 824741"/>
                    <a:gd name="connsiteY114" fmla="*/ 470982 h 989988"/>
                    <a:gd name="connsiteX115" fmla="*/ 148681 w 824741"/>
                    <a:gd name="connsiteY115" fmla="*/ 264587 h 989988"/>
                    <a:gd name="connsiteX116" fmla="*/ 187077 w 824741"/>
                    <a:gd name="connsiteY116" fmla="*/ 289347 h 989988"/>
                    <a:gd name="connsiteX117" fmla="*/ 184685 w 824741"/>
                    <a:gd name="connsiteY117" fmla="*/ 305675 h 989988"/>
                    <a:gd name="connsiteX118" fmla="*/ 146647 w 824741"/>
                    <a:gd name="connsiteY118" fmla="*/ 280914 h 989988"/>
                    <a:gd name="connsiteX119" fmla="*/ 148681 w 824741"/>
                    <a:gd name="connsiteY119" fmla="*/ 264587 h 989988"/>
                    <a:gd name="connsiteX120" fmla="*/ 149937 w 824741"/>
                    <a:gd name="connsiteY120" fmla="*/ 262733 h 989988"/>
                    <a:gd name="connsiteX121" fmla="*/ 164889 w 824741"/>
                    <a:gd name="connsiteY121" fmla="*/ 254480 h 989988"/>
                    <a:gd name="connsiteX122" fmla="*/ 202986 w 824741"/>
                    <a:gd name="connsiteY122" fmla="*/ 278881 h 989988"/>
                    <a:gd name="connsiteX123" fmla="*/ 188334 w 824741"/>
                    <a:gd name="connsiteY123" fmla="*/ 287493 h 989988"/>
                    <a:gd name="connsiteX124" fmla="*/ 149937 w 824741"/>
                    <a:gd name="connsiteY124" fmla="*/ 262733 h 989988"/>
                    <a:gd name="connsiteX125" fmla="*/ 14833 w 824741"/>
                    <a:gd name="connsiteY125" fmla="*/ 500048 h 989988"/>
                    <a:gd name="connsiteX126" fmla="*/ 46470 w 824741"/>
                    <a:gd name="connsiteY126" fmla="*/ 522536 h 989988"/>
                    <a:gd name="connsiteX127" fmla="*/ 45514 w 824741"/>
                    <a:gd name="connsiteY127" fmla="*/ 534916 h 989988"/>
                    <a:gd name="connsiteX128" fmla="*/ 14174 w 824741"/>
                    <a:gd name="connsiteY128" fmla="*/ 512488 h 989988"/>
                    <a:gd name="connsiteX129" fmla="*/ 14833 w 824741"/>
                    <a:gd name="connsiteY129" fmla="*/ 500048 h 989988"/>
                    <a:gd name="connsiteX130" fmla="*/ 243536 w 824741"/>
                    <a:gd name="connsiteY130" fmla="*/ 179242 h 989988"/>
                    <a:gd name="connsiteX131" fmla="*/ 268954 w 824741"/>
                    <a:gd name="connsiteY131" fmla="*/ 194912 h 989988"/>
                    <a:gd name="connsiteX132" fmla="*/ 237973 w 824741"/>
                    <a:gd name="connsiteY132" fmla="*/ 212016 h 989988"/>
                    <a:gd name="connsiteX133" fmla="*/ 243536 w 824741"/>
                    <a:gd name="connsiteY133" fmla="*/ 179242 h 989988"/>
                    <a:gd name="connsiteX134" fmla="*/ 13936 w 824741"/>
                    <a:gd name="connsiteY134" fmla="*/ 515000 h 989988"/>
                    <a:gd name="connsiteX135" fmla="*/ 45274 w 824741"/>
                    <a:gd name="connsiteY135" fmla="*/ 537368 h 989988"/>
                    <a:gd name="connsiteX136" fmla="*/ 44078 w 824741"/>
                    <a:gd name="connsiteY136" fmla="*/ 552439 h 989988"/>
                    <a:gd name="connsiteX137" fmla="*/ 13098 w 824741"/>
                    <a:gd name="connsiteY137" fmla="*/ 530191 h 989988"/>
                    <a:gd name="connsiteX138" fmla="*/ 13936 w 824741"/>
                    <a:gd name="connsiteY138" fmla="*/ 515000 h 989988"/>
                    <a:gd name="connsiteX139" fmla="*/ 146349 w 824741"/>
                    <a:gd name="connsiteY139" fmla="*/ 283247 h 989988"/>
                    <a:gd name="connsiteX140" fmla="*/ 184386 w 824741"/>
                    <a:gd name="connsiteY140" fmla="*/ 307947 h 989988"/>
                    <a:gd name="connsiteX141" fmla="*/ 178465 w 824741"/>
                    <a:gd name="connsiteY141" fmla="*/ 347480 h 989988"/>
                    <a:gd name="connsiteX142" fmla="*/ 141384 w 824741"/>
                    <a:gd name="connsiteY142" fmla="*/ 323079 h 989988"/>
                    <a:gd name="connsiteX143" fmla="*/ 146349 w 824741"/>
                    <a:gd name="connsiteY143" fmla="*/ 283247 h 989988"/>
                    <a:gd name="connsiteX144" fmla="*/ 217460 w 824741"/>
                    <a:gd name="connsiteY144" fmla="*/ 143597 h 989988"/>
                    <a:gd name="connsiteX145" fmla="*/ 285819 w 824741"/>
                    <a:gd name="connsiteY145" fmla="*/ 185582 h 989988"/>
                    <a:gd name="connsiteX146" fmla="*/ 271107 w 824741"/>
                    <a:gd name="connsiteY146" fmla="*/ 193715 h 989988"/>
                    <a:gd name="connsiteX147" fmla="*/ 215127 w 824741"/>
                    <a:gd name="connsiteY147" fmla="*/ 159087 h 989988"/>
                    <a:gd name="connsiteX148" fmla="*/ 217460 w 824741"/>
                    <a:gd name="connsiteY148" fmla="*/ 143597 h 989988"/>
                    <a:gd name="connsiteX149" fmla="*/ 273618 w 824741"/>
                    <a:gd name="connsiteY149" fmla="*/ 76493 h 989988"/>
                    <a:gd name="connsiteX150" fmla="*/ 328222 w 824741"/>
                    <a:gd name="connsiteY150" fmla="*/ 51255 h 989988"/>
                    <a:gd name="connsiteX151" fmla="*/ 360638 w 824741"/>
                    <a:gd name="connsiteY151" fmla="*/ 70214 h 989988"/>
                    <a:gd name="connsiteX152" fmla="*/ 307171 w 824741"/>
                    <a:gd name="connsiteY152" fmla="*/ 96469 h 989988"/>
                    <a:gd name="connsiteX153" fmla="*/ 273618 w 824741"/>
                    <a:gd name="connsiteY153" fmla="*/ 76493 h 989988"/>
                    <a:gd name="connsiteX154" fmla="*/ 59090 w 824741"/>
                    <a:gd name="connsiteY154" fmla="*/ 389764 h 989988"/>
                    <a:gd name="connsiteX155" fmla="*/ 126313 w 824741"/>
                    <a:gd name="connsiteY155" fmla="*/ 435696 h 989988"/>
                    <a:gd name="connsiteX156" fmla="*/ 124459 w 824741"/>
                    <a:gd name="connsiteY156" fmla="*/ 450109 h 989988"/>
                    <a:gd name="connsiteX157" fmla="*/ 57834 w 824741"/>
                    <a:gd name="connsiteY157" fmla="*/ 404417 h 989988"/>
                    <a:gd name="connsiteX158" fmla="*/ 59090 w 824741"/>
                    <a:gd name="connsiteY158" fmla="*/ 389764 h 989988"/>
                    <a:gd name="connsiteX159" fmla="*/ 68240 w 824741"/>
                    <a:gd name="connsiteY159" fmla="*/ 463566 h 989988"/>
                    <a:gd name="connsiteX160" fmla="*/ 84029 w 824741"/>
                    <a:gd name="connsiteY160" fmla="*/ 453219 h 989988"/>
                    <a:gd name="connsiteX161" fmla="*/ 114890 w 824741"/>
                    <a:gd name="connsiteY161" fmla="*/ 474510 h 989988"/>
                    <a:gd name="connsiteX162" fmla="*/ 85285 w 824741"/>
                    <a:gd name="connsiteY162" fmla="*/ 494905 h 989988"/>
                    <a:gd name="connsiteX163" fmla="*/ 66625 w 824741"/>
                    <a:gd name="connsiteY163" fmla="*/ 481747 h 989988"/>
                    <a:gd name="connsiteX164" fmla="*/ 68240 w 824741"/>
                    <a:gd name="connsiteY164" fmla="*/ 463566 h 989988"/>
                    <a:gd name="connsiteX165" fmla="*/ 12919 w 824741"/>
                    <a:gd name="connsiteY165" fmla="*/ 532703 h 989988"/>
                    <a:gd name="connsiteX166" fmla="*/ 43839 w 824741"/>
                    <a:gd name="connsiteY166" fmla="*/ 554891 h 989988"/>
                    <a:gd name="connsiteX167" fmla="*/ 40011 w 824741"/>
                    <a:gd name="connsiteY167" fmla="*/ 602139 h 989988"/>
                    <a:gd name="connsiteX168" fmla="*/ 10168 w 824741"/>
                    <a:gd name="connsiteY168" fmla="*/ 580369 h 989988"/>
                    <a:gd name="connsiteX169" fmla="*/ 12919 w 824741"/>
                    <a:gd name="connsiteY169" fmla="*/ 532703 h 989988"/>
                    <a:gd name="connsiteX170" fmla="*/ 57654 w 824741"/>
                    <a:gd name="connsiteY170" fmla="*/ 406809 h 989988"/>
                    <a:gd name="connsiteX171" fmla="*/ 124160 w 824741"/>
                    <a:gd name="connsiteY171" fmla="*/ 452442 h 989988"/>
                    <a:gd name="connsiteX172" fmla="*/ 121169 w 824741"/>
                    <a:gd name="connsiteY172" fmla="*/ 476305 h 989988"/>
                    <a:gd name="connsiteX173" fmla="*/ 55741 w 824741"/>
                    <a:gd name="connsiteY173" fmla="*/ 430971 h 989988"/>
                    <a:gd name="connsiteX174" fmla="*/ 57654 w 824741"/>
                    <a:gd name="connsiteY174" fmla="*/ 406809 h 989988"/>
                    <a:gd name="connsiteX175" fmla="*/ 45514 w 824741"/>
                    <a:gd name="connsiteY175" fmla="*/ 556147 h 989988"/>
                    <a:gd name="connsiteX176" fmla="*/ 57296 w 824741"/>
                    <a:gd name="connsiteY176" fmla="*/ 564580 h 989988"/>
                    <a:gd name="connsiteX177" fmla="*/ 54784 w 824741"/>
                    <a:gd name="connsiteY177" fmla="*/ 592630 h 989988"/>
                    <a:gd name="connsiteX178" fmla="*/ 41806 w 824741"/>
                    <a:gd name="connsiteY178" fmla="*/ 602199 h 989988"/>
                    <a:gd name="connsiteX179" fmla="*/ 45514 w 824741"/>
                    <a:gd name="connsiteY179" fmla="*/ 556147 h 989988"/>
                    <a:gd name="connsiteX180" fmla="*/ 330555 w 824741"/>
                    <a:gd name="connsiteY180" fmla="*/ 50118 h 989988"/>
                    <a:gd name="connsiteX181" fmla="*/ 369191 w 824741"/>
                    <a:gd name="connsiteY181" fmla="*/ 32296 h 989988"/>
                    <a:gd name="connsiteX182" fmla="*/ 400768 w 824741"/>
                    <a:gd name="connsiteY182" fmla="*/ 50477 h 989988"/>
                    <a:gd name="connsiteX183" fmla="*/ 362911 w 824741"/>
                    <a:gd name="connsiteY183" fmla="*/ 69077 h 989988"/>
                    <a:gd name="connsiteX184" fmla="*/ 330555 w 824741"/>
                    <a:gd name="connsiteY184" fmla="*/ 50118 h 989988"/>
                    <a:gd name="connsiteX185" fmla="*/ 188752 w 824741"/>
                    <a:gd name="connsiteY185" fmla="*/ 290364 h 989988"/>
                    <a:gd name="connsiteX186" fmla="*/ 229899 w 824741"/>
                    <a:gd name="connsiteY186" fmla="*/ 316978 h 989988"/>
                    <a:gd name="connsiteX187" fmla="*/ 227029 w 824741"/>
                    <a:gd name="connsiteY187" fmla="*/ 333186 h 989988"/>
                    <a:gd name="connsiteX188" fmla="*/ 186300 w 824741"/>
                    <a:gd name="connsiteY188" fmla="*/ 306691 h 989988"/>
                    <a:gd name="connsiteX189" fmla="*/ 188752 w 824741"/>
                    <a:gd name="connsiteY189" fmla="*/ 290364 h 989988"/>
                    <a:gd name="connsiteX190" fmla="*/ 189948 w 824741"/>
                    <a:gd name="connsiteY190" fmla="*/ 288629 h 989988"/>
                    <a:gd name="connsiteX191" fmla="*/ 204601 w 824741"/>
                    <a:gd name="connsiteY191" fmla="*/ 280017 h 989988"/>
                    <a:gd name="connsiteX192" fmla="*/ 245449 w 824741"/>
                    <a:gd name="connsiteY192" fmla="*/ 306213 h 989988"/>
                    <a:gd name="connsiteX193" fmla="*/ 231095 w 824741"/>
                    <a:gd name="connsiteY193" fmla="*/ 315244 h 989988"/>
                    <a:gd name="connsiteX194" fmla="*/ 189948 w 824741"/>
                    <a:gd name="connsiteY194" fmla="*/ 288629 h 989988"/>
                    <a:gd name="connsiteX195" fmla="*/ 364765 w 824741"/>
                    <a:gd name="connsiteY195" fmla="*/ 70154 h 989988"/>
                    <a:gd name="connsiteX196" fmla="*/ 401546 w 824741"/>
                    <a:gd name="connsiteY196" fmla="*/ 52032 h 989988"/>
                    <a:gd name="connsiteX197" fmla="*/ 398257 w 824741"/>
                    <a:gd name="connsiteY197" fmla="*/ 65848 h 989988"/>
                    <a:gd name="connsiteX198" fmla="*/ 376307 w 824741"/>
                    <a:gd name="connsiteY198" fmla="*/ 76912 h 989988"/>
                    <a:gd name="connsiteX199" fmla="*/ 364765 w 824741"/>
                    <a:gd name="connsiteY199" fmla="*/ 70154 h 989988"/>
                    <a:gd name="connsiteX200" fmla="*/ 86780 w 824741"/>
                    <a:gd name="connsiteY200" fmla="*/ 495921 h 989988"/>
                    <a:gd name="connsiteX201" fmla="*/ 116325 w 824741"/>
                    <a:gd name="connsiteY201" fmla="*/ 475587 h 989988"/>
                    <a:gd name="connsiteX202" fmla="*/ 120871 w 824741"/>
                    <a:gd name="connsiteY202" fmla="*/ 478697 h 989988"/>
                    <a:gd name="connsiteX203" fmla="*/ 116146 w 824741"/>
                    <a:gd name="connsiteY203" fmla="*/ 516495 h 989988"/>
                    <a:gd name="connsiteX204" fmla="*/ 86780 w 824741"/>
                    <a:gd name="connsiteY204" fmla="*/ 495921 h 989988"/>
                    <a:gd name="connsiteX205" fmla="*/ 51435 w 824741"/>
                    <a:gd name="connsiteY205" fmla="*/ 492931 h 989988"/>
                    <a:gd name="connsiteX206" fmla="*/ 65429 w 824741"/>
                    <a:gd name="connsiteY206" fmla="*/ 483601 h 989988"/>
                    <a:gd name="connsiteX207" fmla="*/ 115847 w 824741"/>
                    <a:gd name="connsiteY207" fmla="*/ 518887 h 989988"/>
                    <a:gd name="connsiteX208" fmla="*/ 113575 w 824741"/>
                    <a:gd name="connsiteY208" fmla="*/ 536770 h 989988"/>
                    <a:gd name="connsiteX209" fmla="*/ 51435 w 824741"/>
                    <a:gd name="connsiteY209" fmla="*/ 492931 h 989988"/>
                    <a:gd name="connsiteX210" fmla="*/ 9928 w 824741"/>
                    <a:gd name="connsiteY210" fmla="*/ 582941 h 989988"/>
                    <a:gd name="connsiteX211" fmla="*/ 39772 w 824741"/>
                    <a:gd name="connsiteY211" fmla="*/ 604651 h 989988"/>
                    <a:gd name="connsiteX212" fmla="*/ 34868 w 824741"/>
                    <a:gd name="connsiteY212" fmla="*/ 665296 h 989988"/>
                    <a:gd name="connsiteX213" fmla="*/ 6340 w 824741"/>
                    <a:gd name="connsiteY213" fmla="*/ 644124 h 989988"/>
                    <a:gd name="connsiteX214" fmla="*/ 9928 w 824741"/>
                    <a:gd name="connsiteY214" fmla="*/ 582941 h 989988"/>
                    <a:gd name="connsiteX215" fmla="*/ 185941 w 824741"/>
                    <a:gd name="connsiteY215" fmla="*/ 308964 h 989988"/>
                    <a:gd name="connsiteX216" fmla="*/ 226670 w 824741"/>
                    <a:gd name="connsiteY216" fmla="*/ 335459 h 989988"/>
                    <a:gd name="connsiteX217" fmla="*/ 219732 w 824741"/>
                    <a:gd name="connsiteY217" fmla="*/ 374752 h 989988"/>
                    <a:gd name="connsiteX218" fmla="*/ 180020 w 824741"/>
                    <a:gd name="connsiteY218" fmla="*/ 348556 h 989988"/>
                    <a:gd name="connsiteX219" fmla="*/ 185941 w 824741"/>
                    <a:gd name="connsiteY219" fmla="*/ 308964 h 989988"/>
                    <a:gd name="connsiteX220" fmla="*/ 296943 w 824741"/>
                    <a:gd name="connsiteY220" fmla="*/ 103526 h 989988"/>
                    <a:gd name="connsiteX221" fmla="*/ 306751 w 824741"/>
                    <a:gd name="connsiteY221" fmla="*/ 98742 h 989988"/>
                    <a:gd name="connsiteX222" fmla="*/ 372300 w 824741"/>
                    <a:gd name="connsiteY222" fmla="*/ 137736 h 989988"/>
                    <a:gd name="connsiteX223" fmla="*/ 362851 w 824741"/>
                    <a:gd name="connsiteY223" fmla="*/ 142939 h 989988"/>
                    <a:gd name="connsiteX224" fmla="*/ 296943 w 824741"/>
                    <a:gd name="connsiteY224" fmla="*/ 103526 h 989988"/>
                    <a:gd name="connsiteX225" fmla="*/ 378222 w 824741"/>
                    <a:gd name="connsiteY225" fmla="*/ 78049 h 989988"/>
                    <a:gd name="connsiteX226" fmla="*/ 398795 w 824741"/>
                    <a:gd name="connsiteY226" fmla="*/ 67642 h 989988"/>
                    <a:gd name="connsiteX227" fmla="*/ 407168 w 824741"/>
                    <a:gd name="connsiteY227" fmla="*/ 72486 h 989988"/>
                    <a:gd name="connsiteX228" fmla="*/ 406689 w 824741"/>
                    <a:gd name="connsiteY228" fmla="*/ 74460 h 989988"/>
                    <a:gd name="connsiteX229" fmla="*/ 402383 w 824741"/>
                    <a:gd name="connsiteY229" fmla="*/ 92103 h 989988"/>
                    <a:gd name="connsiteX230" fmla="*/ 378222 w 824741"/>
                    <a:gd name="connsiteY230" fmla="*/ 78049 h 989988"/>
                    <a:gd name="connsiteX231" fmla="*/ 127868 w 824741"/>
                    <a:gd name="connsiteY231" fmla="*/ 436712 h 989988"/>
                    <a:gd name="connsiteX232" fmla="*/ 162317 w 824741"/>
                    <a:gd name="connsiteY232" fmla="*/ 460216 h 989988"/>
                    <a:gd name="connsiteX233" fmla="*/ 160164 w 824741"/>
                    <a:gd name="connsiteY233" fmla="*/ 474630 h 989988"/>
                    <a:gd name="connsiteX234" fmla="*/ 126074 w 824741"/>
                    <a:gd name="connsiteY234" fmla="*/ 451186 h 989988"/>
                    <a:gd name="connsiteX235" fmla="*/ 127868 w 824741"/>
                    <a:gd name="connsiteY235" fmla="*/ 436712 h 989988"/>
                    <a:gd name="connsiteX236" fmla="*/ 50478 w 824741"/>
                    <a:gd name="connsiteY236" fmla="*/ 494845 h 989988"/>
                    <a:gd name="connsiteX237" fmla="*/ 113275 w 824741"/>
                    <a:gd name="connsiteY237" fmla="*/ 539042 h 989988"/>
                    <a:gd name="connsiteX238" fmla="*/ 109986 w 824741"/>
                    <a:gd name="connsiteY238" fmla="*/ 565059 h 989988"/>
                    <a:gd name="connsiteX239" fmla="*/ 48325 w 824741"/>
                    <a:gd name="connsiteY239" fmla="*/ 521220 h 989988"/>
                    <a:gd name="connsiteX240" fmla="*/ 50478 w 824741"/>
                    <a:gd name="connsiteY240" fmla="*/ 494845 h 989988"/>
                    <a:gd name="connsiteX241" fmla="*/ 371582 w 824741"/>
                    <a:gd name="connsiteY241" fmla="*/ 31219 h 989988"/>
                    <a:gd name="connsiteX242" fmla="*/ 423974 w 824741"/>
                    <a:gd name="connsiteY242" fmla="*/ 6998 h 989988"/>
                    <a:gd name="connsiteX243" fmla="*/ 454236 w 824741"/>
                    <a:gd name="connsiteY243" fmla="*/ 24162 h 989988"/>
                    <a:gd name="connsiteX244" fmla="*/ 402981 w 824741"/>
                    <a:gd name="connsiteY244" fmla="*/ 49401 h 989988"/>
                    <a:gd name="connsiteX245" fmla="*/ 371582 w 824741"/>
                    <a:gd name="connsiteY245" fmla="*/ 31219 h 989988"/>
                    <a:gd name="connsiteX246" fmla="*/ 125715 w 824741"/>
                    <a:gd name="connsiteY246" fmla="*/ 453518 h 989988"/>
                    <a:gd name="connsiteX247" fmla="*/ 159805 w 824741"/>
                    <a:gd name="connsiteY247" fmla="*/ 476903 h 989988"/>
                    <a:gd name="connsiteX248" fmla="*/ 156276 w 824741"/>
                    <a:gd name="connsiteY248" fmla="*/ 500586 h 989988"/>
                    <a:gd name="connsiteX249" fmla="*/ 122725 w 824741"/>
                    <a:gd name="connsiteY249" fmla="*/ 477381 h 989988"/>
                    <a:gd name="connsiteX250" fmla="*/ 125715 w 824741"/>
                    <a:gd name="connsiteY250" fmla="*/ 453518 h 989988"/>
                    <a:gd name="connsiteX251" fmla="*/ 48145 w 824741"/>
                    <a:gd name="connsiteY251" fmla="*/ 523732 h 989988"/>
                    <a:gd name="connsiteX252" fmla="*/ 109747 w 824741"/>
                    <a:gd name="connsiteY252" fmla="*/ 567451 h 989988"/>
                    <a:gd name="connsiteX253" fmla="*/ 108192 w 824741"/>
                    <a:gd name="connsiteY253" fmla="*/ 579711 h 989988"/>
                    <a:gd name="connsiteX254" fmla="*/ 47128 w 824741"/>
                    <a:gd name="connsiteY254" fmla="*/ 536052 h 989988"/>
                    <a:gd name="connsiteX255" fmla="*/ 48145 w 824741"/>
                    <a:gd name="connsiteY255" fmla="*/ 523732 h 989988"/>
                    <a:gd name="connsiteX256" fmla="*/ 426306 w 824741"/>
                    <a:gd name="connsiteY256" fmla="*/ 5921 h 989988"/>
                    <a:gd name="connsiteX257" fmla="*/ 434081 w 824741"/>
                    <a:gd name="connsiteY257" fmla="*/ 2333 h 989988"/>
                    <a:gd name="connsiteX258" fmla="*/ 464224 w 824741"/>
                    <a:gd name="connsiteY258" fmla="*/ 19258 h 989988"/>
                    <a:gd name="connsiteX259" fmla="*/ 456569 w 824741"/>
                    <a:gd name="connsiteY259" fmla="*/ 23026 h 989988"/>
                    <a:gd name="connsiteX260" fmla="*/ 426306 w 824741"/>
                    <a:gd name="connsiteY260" fmla="*/ 5921 h 989988"/>
                    <a:gd name="connsiteX261" fmla="*/ 6160 w 824741"/>
                    <a:gd name="connsiteY261" fmla="*/ 646576 h 989988"/>
                    <a:gd name="connsiteX262" fmla="*/ 34688 w 824741"/>
                    <a:gd name="connsiteY262" fmla="*/ 667688 h 989988"/>
                    <a:gd name="connsiteX263" fmla="*/ 31280 w 824741"/>
                    <a:gd name="connsiteY263" fmla="*/ 709613 h 989988"/>
                    <a:gd name="connsiteX264" fmla="*/ 3708 w 824741"/>
                    <a:gd name="connsiteY264" fmla="*/ 688920 h 989988"/>
                    <a:gd name="connsiteX265" fmla="*/ 6160 w 824741"/>
                    <a:gd name="connsiteY265" fmla="*/ 646576 h 989988"/>
                    <a:gd name="connsiteX266" fmla="*/ 46949 w 824741"/>
                    <a:gd name="connsiteY266" fmla="*/ 538624 h 989988"/>
                    <a:gd name="connsiteX267" fmla="*/ 107892 w 824741"/>
                    <a:gd name="connsiteY267" fmla="*/ 582104 h 989988"/>
                    <a:gd name="connsiteX268" fmla="*/ 106039 w 824741"/>
                    <a:gd name="connsiteY268" fmla="*/ 596995 h 989988"/>
                    <a:gd name="connsiteX269" fmla="*/ 45753 w 824741"/>
                    <a:gd name="connsiteY269" fmla="*/ 553695 h 989988"/>
                    <a:gd name="connsiteX270" fmla="*/ 46949 w 824741"/>
                    <a:gd name="connsiteY270" fmla="*/ 538624 h 989988"/>
                    <a:gd name="connsiteX271" fmla="*/ 36363 w 824741"/>
                    <a:gd name="connsiteY271" fmla="*/ 668944 h 989988"/>
                    <a:gd name="connsiteX272" fmla="*/ 47188 w 824741"/>
                    <a:gd name="connsiteY272" fmla="*/ 676958 h 989988"/>
                    <a:gd name="connsiteX273" fmla="*/ 47009 w 824741"/>
                    <a:gd name="connsiteY273" fmla="*/ 678812 h 989988"/>
                    <a:gd name="connsiteX274" fmla="*/ 45095 w 824741"/>
                    <a:gd name="connsiteY274" fmla="*/ 699984 h 989988"/>
                    <a:gd name="connsiteX275" fmla="*/ 33014 w 824741"/>
                    <a:gd name="connsiteY275" fmla="*/ 709672 h 989988"/>
                    <a:gd name="connsiteX276" fmla="*/ 36363 w 824741"/>
                    <a:gd name="connsiteY276" fmla="*/ 668944 h 989988"/>
                    <a:gd name="connsiteX277" fmla="*/ 3589 w 824741"/>
                    <a:gd name="connsiteY277" fmla="*/ 691431 h 989988"/>
                    <a:gd name="connsiteX278" fmla="*/ 31160 w 824741"/>
                    <a:gd name="connsiteY278" fmla="*/ 712124 h 989988"/>
                    <a:gd name="connsiteX279" fmla="*/ 29246 w 824741"/>
                    <a:gd name="connsiteY279" fmla="*/ 735270 h 989988"/>
                    <a:gd name="connsiteX280" fmla="*/ 2213 w 824741"/>
                    <a:gd name="connsiteY280" fmla="*/ 714816 h 989988"/>
                    <a:gd name="connsiteX281" fmla="*/ 3589 w 824741"/>
                    <a:gd name="connsiteY281" fmla="*/ 691431 h 989988"/>
                    <a:gd name="connsiteX282" fmla="*/ 408544 w 824741"/>
                    <a:gd name="connsiteY282" fmla="*/ 73383 h 989988"/>
                    <a:gd name="connsiteX283" fmla="*/ 438208 w 824741"/>
                    <a:gd name="connsiteY283" fmla="*/ 90548 h 989988"/>
                    <a:gd name="connsiteX284" fmla="*/ 438088 w 824741"/>
                    <a:gd name="connsiteY284" fmla="*/ 91086 h 989988"/>
                    <a:gd name="connsiteX285" fmla="*/ 408424 w 824741"/>
                    <a:gd name="connsiteY285" fmla="*/ 73922 h 989988"/>
                    <a:gd name="connsiteX286" fmla="*/ 408544 w 824741"/>
                    <a:gd name="connsiteY286" fmla="*/ 73383 h 989988"/>
                    <a:gd name="connsiteX287" fmla="*/ 59030 w 824741"/>
                    <a:gd name="connsiteY287" fmla="*/ 565776 h 989988"/>
                    <a:gd name="connsiteX288" fmla="*/ 105799 w 824741"/>
                    <a:gd name="connsiteY288" fmla="*/ 599328 h 989988"/>
                    <a:gd name="connsiteX289" fmla="*/ 102510 w 824741"/>
                    <a:gd name="connsiteY289" fmla="*/ 625643 h 989988"/>
                    <a:gd name="connsiteX290" fmla="*/ 56638 w 824741"/>
                    <a:gd name="connsiteY290" fmla="*/ 592391 h 989988"/>
                    <a:gd name="connsiteX291" fmla="*/ 59030 w 824741"/>
                    <a:gd name="connsiteY291" fmla="*/ 565776 h 989988"/>
                    <a:gd name="connsiteX292" fmla="*/ 407946 w 824741"/>
                    <a:gd name="connsiteY292" fmla="*/ 76015 h 989988"/>
                    <a:gd name="connsiteX293" fmla="*/ 437550 w 824741"/>
                    <a:gd name="connsiteY293" fmla="*/ 93180 h 989988"/>
                    <a:gd name="connsiteX294" fmla="*/ 434979 w 824741"/>
                    <a:gd name="connsiteY294" fmla="*/ 103108 h 989988"/>
                    <a:gd name="connsiteX295" fmla="*/ 427861 w 824741"/>
                    <a:gd name="connsiteY295" fmla="*/ 107055 h 989988"/>
                    <a:gd name="connsiteX296" fmla="*/ 403819 w 824741"/>
                    <a:gd name="connsiteY296" fmla="*/ 92940 h 989988"/>
                    <a:gd name="connsiteX297" fmla="*/ 407946 w 824741"/>
                    <a:gd name="connsiteY297" fmla="*/ 76015 h 989988"/>
                    <a:gd name="connsiteX298" fmla="*/ 2034 w 824741"/>
                    <a:gd name="connsiteY298" fmla="*/ 717328 h 989988"/>
                    <a:gd name="connsiteX299" fmla="*/ 29007 w 824741"/>
                    <a:gd name="connsiteY299" fmla="*/ 737722 h 989988"/>
                    <a:gd name="connsiteX300" fmla="*/ 28289 w 824741"/>
                    <a:gd name="connsiteY300" fmla="*/ 746753 h 989988"/>
                    <a:gd name="connsiteX301" fmla="*/ 1495 w 824741"/>
                    <a:gd name="connsiteY301" fmla="*/ 726418 h 989988"/>
                    <a:gd name="connsiteX302" fmla="*/ 2034 w 824741"/>
                    <a:gd name="connsiteY302" fmla="*/ 717328 h 989988"/>
                    <a:gd name="connsiteX303" fmla="*/ 327086 w 824741"/>
                    <a:gd name="connsiteY303" fmla="*/ 272242 h 989988"/>
                    <a:gd name="connsiteX304" fmla="*/ 333485 w 824741"/>
                    <a:gd name="connsiteY304" fmla="*/ 268116 h 989988"/>
                    <a:gd name="connsiteX305" fmla="*/ 331871 w 824741"/>
                    <a:gd name="connsiteY305" fmla="*/ 275233 h 989988"/>
                    <a:gd name="connsiteX306" fmla="*/ 327086 w 824741"/>
                    <a:gd name="connsiteY306" fmla="*/ 272242 h 989988"/>
                    <a:gd name="connsiteX307" fmla="*/ 438985 w 824741"/>
                    <a:gd name="connsiteY307" fmla="*/ 93957 h 989988"/>
                    <a:gd name="connsiteX308" fmla="*/ 444786 w 824741"/>
                    <a:gd name="connsiteY308" fmla="*/ 97366 h 989988"/>
                    <a:gd name="connsiteX309" fmla="*/ 444667 w 824741"/>
                    <a:gd name="connsiteY309" fmla="*/ 97725 h 989988"/>
                    <a:gd name="connsiteX310" fmla="*/ 436832 w 824741"/>
                    <a:gd name="connsiteY310" fmla="*/ 102031 h 989988"/>
                    <a:gd name="connsiteX311" fmla="*/ 438985 w 824741"/>
                    <a:gd name="connsiteY311" fmla="*/ 93957 h 989988"/>
                    <a:gd name="connsiteX312" fmla="*/ 364525 w 824741"/>
                    <a:gd name="connsiteY312" fmla="*/ 144016 h 989988"/>
                    <a:gd name="connsiteX313" fmla="*/ 374035 w 824741"/>
                    <a:gd name="connsiteY313" fmla="*/ 138812 h 989988"/>
                    <a:gd name="connsiteX314" fmla="*/ 407527 w 824741"/>
                    <a:gd name="connsiteY314" fmla="*/ 158728 h 989988"/>
                    <a:gd name="connsiteX315" fmla="*/ 398257 w 824741"/>
                    <a:gd name="connsiteY315" fmla="*/ 164111 h 989988"/>
                    <a:gd name="connsiteX316" fmla="*/ 364525 w 824741"/>
                    <a:gd name="connsiteY316" fmla="*/ 144016 h 989988"/>
                    <a:gd name="connsiteX317" fmla="*/ 439643 w 824741"/>
                    <a:gd name="connsiteY317" fmla="*/ 91385 h 989988"/>
                    <a:gd name="connsiteX318" fmla="*/ 447777 w 824741"/>
                    <a:gd name="connsiteY318" fmla="*/ 96051 h 989988"/>
                    <a:gd name="connsiteX319" fmla="*/ 447239 w 824741"/>
                    <a:gd name="connsiteY319" fmla="*/ 96350 h 989988"/>
                    <a:gd name="connsiteX320" fmla="*/ 439524 w 824741"/>
                    <a:gd name="connsiteY320" fmla="*/ 91924 h 989988"/>
                    <a:gd name="connsiteX321" fmla="*/ 439643 w 824741"/>
                    <a:gd name="connsiteY321" fmla="*/ 91385 h 989988"/>
                    <a:gd name="connsiteX322" fmla="*/ 42344 w 824741"/>
                    <a:gd name="connsiteY322" fmla="*/ 603873 h 989988"/>
                    <a:gd name="connsiteX323" fmla="*/ 55441 w 824741"/>
                    <a:gd name="connsiteY323" fmla="*/ 594185 h 989988"/>
                    <a:gd name="connsiteX324" fmla="*/ 102151 w 824741"/>
                    <a:gd name="connsiteY324" fmla="*/ 627976 h 989988"/>
                    <a:gd name="connsiteX325" fmla="*/ 99938 w 824741"/>
                    <a:gd name="connsiteY325" fmla="*/ 645798 h 989988"/>
                    <a:gd name="connsiteX326" fmla="*/ 42344 w 824741"/>
                    <a:gd name="connsiteY326" fmla="*/ 603873 h 989988"/>
                    <a:gd name="connsiteX327" fmla="*/ 236060 w 824741"/>
                    <a:gd name="connsiteY327" fmla="*/ 215127 h 989988"/>
                    <a:gd name="connsiteX328" fmla="*/ 270987 w 824741"/>
                    <a:gd name="connsiteY328" fmla="*/ 195809 h 989988"/>
                    <a:gd name="connsiteX329" fmla="*/ 271047 w 824741"/>
                    <a:gd name="connsiteY329" fmla="*/ 195809 h 989988"/>
                    <a:gd name="connsiteX330" fmla="*/ 287554 w 824741"/>
                    <a:gd name="connsiteY330" fmla="*/ 186658 h 989988"/>
                    <a:gd name="connsiteX331" fmla="*/ 320746 w 824741"/>
                    <a:gd name="connsiteY331" fmla="*/ 207053 h 989988"/>
                    <a:gd name="connsiteX332" fmla="*/ 321345 w 824741"/>
                    <a:gd name="connsiteY332" fmla="*/ 207292 h 989988"/>
                    <a:gd name="connsiteX333" fmla="*/ 321883 w 824741"/>
                    <a:gd name="connsiteY333" fmla="*/ 207591 h 989988"/>
                    <a:gd name="connsiteX334" fmla="*/ 322361 w 824741"/>
                    <a:gd name="connsiteY334" fmla="*/ 207950 h 989988"/>
                    <a:gd name="connsiteX335" fmla="*/ 322840 w 824741"/>
                    <a:gd name="connsiteY335" fmla="*/ 208428 h 989988"/>
                    <a:gd name="connsiteX336" fmla="*/ 322959 w 824741"/>
                    <a:gd name="connsiteY336" fmla="*/ 208488 h 989988"/>
                    <a:gd name="connsiteX337" fmla="*/ 322959 w 824741"/>
                    <a:gd name="connsiteY337" fmla="*/ 208548 h 989988"/>
                    <a:gd name="connsiteX338" fmla="*/ 323258 w 824741"/>
                    <a:gd name="connsiteY338" fmla="*/ 208847 h 989988"/>
                    <a:gd name="connsiteX339" fmla="*/ 323558 w 824741"/>
                    <a:gd name="connsiteY339" fmla="*/ 209146 h 989988"/>
                    <a:gd name="connsiteX340" fmla="*/ 323796 w 824741"/>
                    <a:gd name="connsiteY340" fmla="*/ 209505 h 989988"/>
                    <a:gd name="connsiteX341" fmla="*/ 324036 w 824741"/>
                    <a:gd name="connsiteY341" fmla="*/ 209923 h 989988"/>
                    <a:gd name="connsiteX342" fmla="*/ 324694 w 824741"/>
                    <a:gd name="connsiteY342" fmla="*/ 209565 h 989988"/>
                    <a:gd name="connsiteX343" fmla="*/ 362611 w 824741"/>
                    <a:gd name="connsiteY343" fmla="*/ 232889 h 989988"/>
                    <a:gd name="connsiteX344" fmla="*/ 313390 w 824741"/>
                    <a:gd name="connsiteY344" fmla="*/ 263750 h 989988"/>
                    <a:gd name="connsiteX345" fmla="*/ 276788 w 824741"/>
                    <a:gd name="connsiteY345" fmla="*/ 240784 h 989988"/>
                    <a:gd name="connsiteX346" fmla="*/ 276370 w 824741"/>
                    <a:gd name="connsiteY346" fmla="*/ 240784 h 989988"/>
                    <a:gd name="connsiteX347" fmla="*/ 275951 w 824741"/>
                    <a:gd name="connsiteY347" fmla="*/ 240724 h 989988"/>
                    <a:gd name="connsiteX348" fmla="*/ 275532 w 824741"/>
                    <a:gd name="connsiteY348" fmla="*/ 240664 h 989988"/>
                    <a:gd name="connsiteX349" fmla="*/ 275113 w 824741"/>
                    <a:gd name="connsiteY349" fmla="*/ 240545 h 989988"/>
                    <a:gd name="connsiteX350" fmla="*/ 274755 w 824741"/>
                    <a:gd name="connsiteY350" fmla="*/ 240425 h 989988"/>
                    <a:gd name="connsiteX351" fmla="*/ 274396 w 824741"/>
                    <a:gd name="connsiteY351" fmla="*/ 240246 h 989988"/>
                    <a:gd name="connsiteX352" fmla="*/ 274037 w 824741"/>
                    <a:gd name="connsiteY352" fmla="*/ 240066 h 989988"/>
                    <a:gd name="connsiteX353" fmla="*/ 273678 w 824741"/>
                    <a:gd name="connsiteY353" fmla="*/ 239887 h 989988"/>
                    <a:gd name="connsiteX354" fmla="*/ 273319 w 824741"/>
                    <a:gd name="connsiteY354" fmla="*/ 239647 h 989988"/>
                    <a:gd name="connsiteX355" fmla="*/ 272960 w 824741"/>
                    <a:gd name="connsiteY355" fmla="*/ 239408 h 989988"/>
                    <a:gd name="connsiteX356" fmla="*/ 272662 w 824741"/>
                    <a:gd name="connsiteY356" fmla="*/ 239109 h 989988"/>
                    <a:gd name="connsiteX357" fmla="*/ 272362 w 824741"/>
                    <a:gd name="connsiteY357" fmla="*/ 238810 h 989988"/>
                    <a:gd name="connsiteX358" fmla="*/ 272064 w 824741"/>
                    <a:gd name="connsiteY358" fmla="*/ 238511 h 989988"/>
                    <a:gd name="connsiteX359" fmla="*/ 271764 w 824741"/>
                    <a:gd name="connsiteY359" fmla="*/ 238152 h 989988"/>
                    <a:gd name="connsiteX360" fmla="*/ 271525 w 824741"/>
                    <a:gd name="connsiteY360" fmla="*/ 237793 h 989988"/>
                    <a:gd name="connsiteX361" fmla="*/ 271286 w 824741"/>
                    <a:gd name="connsiteY361" fmla="*/ 237435 h 989988"/>
                    <a:gd name="connsiteX362" fmla="*/ 236060 w 824741"/>
                    <a:gd name="connsiteY362" fmla="*/ 215127 h 989988"/>
                    <a:gd name="connsiteX363" fmla="*/ 163872 w 824741"/>
                    <a:gd name="connsiteY363" fmla="*/ 461293 h 989988"/>
                    <a:gd name="connsiteX364" fmla="*/ 200713 w 824741"/>
                    <a:gd name="connsiteY364" fmla="*/ 486412 h 989988"/>
                    <a:gd name="connsiteX365" fmla="*/ 198201 w 824741"/>
                    <a:gd name="connsiteY365" fmla="*/ 500706 h 989988"/>
                    <a:gd name="connsiteX366" fmla="*/ 161719 w 824741"/>
                    <a:gd name="connsiteY366" fmla="*/ 475647 h 989988"/>
                    <a:gd name="connsiteX367" fmla="*/ 163872 w 824741"/>
                    <a:gd name="connsiteY367" fmla="*/ 461293 h 989988"/>
                    <a:gd name="connsiteX368" fmla="*/ 114890 w 824741"/>
                    <a:gd name="connsiteY368" fmla="*/ 540179 h 989988"/>
                    <a:gd name="connsiteX369" fmla="*/ 147007 w 824741"/>
                    <a:gd name="connsiteY369" fmla="*/ 562786 h 989988"/>
                    <a:gd name="connsiteX370" fmla="*/ 143119 w 824741"/>
                    <a:gd name="connsiteY370" fmla="*/ 588623 h 989988"/>
                    <a:gd name="connsiteX371" fmla="*/ 111600 w 824741"/>
                    <a:gd name="connsiteY371" fmla="*/ 566195 h 989988"/>
                    <a:gd name="connsiteX372" fmla="*/ 114890 w 824741"/>
                    <a:gd name="connsiteY372" fmla="*/ 540179 h 989988"/>
                    <a:gd name="connsiteX373" fmla="*/ 314945 w 824741"/>
                    <a:gd name="connsiteY373" fmla="*/ 264587 h 989988"/>
                    <a:gd name="connsiteX374" fmla="*/ 363150 w 824741"/>
                    <a:gd name="connsiteY374" fmla="*/ 234385 h 989988"/>
                    <a:gd name="connsiteX375" fmla="*/ 359502 w 824741"/>
                    <a:gd name="connsiteY375" fmla="*/ 249516 h 989988"/>
                    <a:gd name="connsiteX376" fmla="*/ 334502 w 824741"/>
                    <a:gd name="connsiteY376" fmla="*/ 265544 h 989988"/>
                    <a:gd name="connsiteX377" fmla="*/ 325531 w 824741"/>
                    <a:gd name="connsiteY377" fmla="*/ 271226 h 989988"/>
                    <a:gd name="connsiteX378" fmla="*/ 314945 w 824741"/>
                    <a:gd name="connsiteY378" fmla="*/ 264587 h 989988"/>
                    <a:gd name="connsiteX379" fmla="*/ 48743 w 824741"/>
                    <a:gd name="connsiteY379" fmla="*/ 678931 h 989988"/>
                    <a:gd name="connsiteX380" fmla="*/ 49282 w 824741"/>
                    <a:gd name="connsiteY380" fmla="*/ 678513 h 989988"/>
                    <a:gd name="connsiteX381" fmla="*/ 76075 w 824741"/>
                    <a:gd name="connsiteY381" fmla="*/ 698369 h 989988"/>
                    <a:gd name="connsiteX382" fmla="*/ 61243 w 824741"/>
                    <a:gd name="connsiteY382" fmla="*/ 710510 h 989988"/>
                    <a:gd name="connsiteX383" fmla="*/ 46830 w 824741"/>
                    <a:gd name="connsiteY383" fmla="*/ 699685 h 989988"/>
                    <a:gd name="connsiteX384" fmla="*/ 48743 w 824741"/>
                    <a:gd name="connsiteY384" fmla="*/ 678931 h 989988"/>
                    <a:gd name="connsiteX385" fmla="*/ 403280 w 824741"/>
                    <a:gd name="connsiteY385" fmla="*/ 51913 h 989988"/>
                    <a:gd name="connsiteX386" fmla="*/ 464105 w 824741"/>
                    <a:gd name="connsiteY386" fmla="*/ 86960 h 989988"/>
                    <a:gd name="connsiteX387" fmla="*/ 449871 w 824741"/>
                    <a:gd name="connsiteY387" fmla="*/ 94854 h 989988"/>
                    <a:gd name="connsiteX388" fmla="*/ 399991 w 824741"/>
                    <a:gd name="connsiteY388" fmla="*/ 65907 h 989988"/>
                    <a:gd name="connsiteX389" fmla="*/ 403280 w 824741"/>
                    <a:gd name="connsiteY389" fmla="*/ 51913 h 989988"/>
                    <a:gd name="connsiteX390" fmla="*/ 111302 w 824741"/>
                    <a:gd name="connsiteY390" fmla="*/ 568647 h 989988"/>
                    <a:gd name="connsiteX391" fmla="*/ 142760 w 824741"/>
                    <a:gd name="connsiteY391" fmla="*/ 590955 h 989988"/>
                    <a:gd name="connsiteX392" fmla="*/ 140966 w 824741"/>
                    <a:gd name="connsiteY392" fmla="*/ 603156 h 989988"/>
                    <a:gd name="connsiteX393" fmla="*/ 109807 w 824741"/>
                    <a:gd name="connsiteY393" fmla="*/ 580848 h 989988"/>
                    <a:gd name="connsiteX394" fmla="*/ 111302 w 824741"/>
                    <a:gd name="connsiteY394" fmla="*/ 568647 h 989988"/>
                    <a:gd name="connsiteX395" fmla="*/ 161361 w 824741"/>
                    <a:gd name="connsiteY395" fmla="*/ 477979 h 989988"/>
                    <a:gd name="connsiteX396" fmla="*/ 197843 w 824741"/>
                    <a:gd name="connsiteY396" fmla="*/ 502979 h 989988"/>
                    <a:gd name="connsiteX397" fmla="*/ 193716 w 824741"/>
                    <a:gd name="connsiteY397" fmla="*/ 526543 h 989988"/>
                    <a:gd name="connsiteX398" fmla="*/ 157771 w 824741"/>
                    <a:gd name="connsiteY398" fmla="*/ 501723 h 989988"/>
                    <a:gd name="connsiteX399" fmla="*/ 161361 w 824741"/>
                    <a:gd name="connsiteY399" fmla="*/ 477979 h 989988"/>
                    <a:gd name="connsiteX400" fmla="*/ 109448 w 824741"/>
                    <a:gd name="connsiteY400" fmla="*/ 583180 h 989988"/>
                    <a:gd name="connsiteX401" fmla="*/ 140607 w 824741"/>
                    <a:gd name="connsiteY401" fmla="*/ 605369 h 989988"/>
                    <a:gd name="connsiteX402" fmla="*/ 138394 w 824741"/>
                    <a:gd name="connsiteY402" fmla="*/ 620141 h 989988"/>
                    <a:gd name="connsiteX403" fmla="*/ 107594 w 824741"/>
                    <a:gd name="connsiteY403" fmla="*/ 598012 h 989988"/>
                    <a:gd name="connsiteX404" fmla="*/ 109448 w 824741"/>
                    <a:gd name="connsiteY404" fmla="*/ 583180 h 989988"/>
                    <a:gd name="connsiteX405" fmla="*/ 206455 w 824741"/>
                    <a:gd name="connsiteY405" fmla="*/ 537787 h 989988"/>
                    <a:gd name="connsiteX406" fmla="*/ 208189 w 824741"/>
                    <a:gd name="connsiteY406" fmla="*/ 538983 h 989988"/>
                    <a:gd name="connsiteX407" fmla="*/ 205917 w 824741"/>
                    <a:gd name="connsiteY407" fmla="*/ 540777 h 989988"/>
                    <a:gd name="connsiteX408" fmla="*/ 206455 w 824741"/>
                    <a:gd name="connsiteY408" fmla="*/ 537787 h 989988"/>
                    <a:gd name="connsiteX409" fmla="*/ 335399 w 824741"/>
                    <a:gd name="connsiteY409" fmla="*/ 266860 h 989988"/>
                    <a:gd name="connsiteX410" fmla="*/ 359920 w 824741"/>
                    <a:gd name="connsiteY410" fmla="*/ 251131 h 989988"/>
                    <a:gd name="connsiteX411" fmla="*/ 373676 w 824741"/>
                    <a:gd name="connsiteY411" fmla="*/ 259623 h 989988"/>
                    <a:gd name="connsiteX412" fmla="*/ 364645 w 824741"/>
                    <a:gd name="connsiteY412" fmla="*/ 295747 h 989988"/>
                    <a:gd name="connsiteX413" fmla="*/ 333246 w 824741"/>
                    <a:gd name="connsiteY413" fmla="*/ 276070 h 989988"/>
                    <a:gd name="connsiteX414" fmla="*/ 335399 w 824741"/>
                    <a:gd name="connsiteY414" fmla="*/ 266860 h 989988"/>
                    <a:gd name="connsiteX415" fmla="*/ 231454 w 824741"/>
                    <a:gd name="connsiteY415" fmla="*/ 317935 h 989988"/>
                    <a:gd name="connsiteX416" fmla="*/ 311297 w 824741"/>
                    <a:gd name="connsiteY416" fmla="*/ 369549 h 989988"/>
                    <a:gd name="connsiteX417" fmla="*/ 307589 w 824741"/>
                    <a:gd name="connsiteY417" fmla="*/ 385697 h 989988"/>
                    <a:gd name="connsiteX418" fmla="*/ 228524 w 824741"/>
                    <a:gd name="connsiteY418" fmla="*/ 334203 h 989988"/>
                    <a:gd name="connsiteX419" fmla="*/ 231454 w 824741"/>
                    <a:gd name="connsiteY419" fmla="*/ 317935 h 989988"/>
                    <a:gd name="connsiteX420" fmla="*/ 62559 w 824741"/>
                    <a:gd name="connsiteY420" fmla="*/ 711467 h 989988"/>
                    <a:gd name="connsiteX421" fmla="*/ 77331 w 824741"/>
                    <a:gd name="connsiteY421" fmla="*/ 699386 h 989988"/>
                    <a:gd name="connsiteX422" fmla="*/ 91805 w 824741"/>
                    <a:gd name="connsiteY422" fmla="*/ 710091 h 989988"/>
                    <a:gd name="connsiteX423" fmla="*/ 89173 w 824741"/>
                    <a:gd name="connsiteY423" fmla="*/ 731382 h 989988"/>
                    <a:gd name="connsiteX424" fmla="*/ 62559 w 824741"/>
                    <a:gd name="connsiteY424" fmla="*/ 711467 h 989988"/>
                    <a:gd name="connsiteX425" fmla="*/ 232590 w 824741"/>
                    <a:gd name="connsiteY425" fmla="*/ 316260 h 989988"/>
                    <a:gd name="connsiteX426" fmla="*/ 247004 w 824741"/>
                    <a:gd name="connsiteY426" fmla="*/ 307289 h 989988"/>
                    <a:gd name="connsiteX427" fmla="*/ 326189 w 824741"/>
                    <a:gd name="connsiteY427" fmla="*/ 358125 h 989988"/>
                    <a:gd name="connsiteX428" fmla="*/ 312374 w 824741"/>
                    <a:gd name="connsiteY428" fmla="*/ 367874 h 989988"/>
                    <a:gd name="connsiteX429" fmla="*/ 232590 w 824741"/>
                    <a:gd name="connsiteY429" fmla="*/ 316260 h 989988"/>
                    <a:gd name="connsiteX430" fmla="*/ 157473 w 824741"/>
                    <a:gd name="connsiteY430" fmla="*/ 503995 h 989988"/>
                    <a:gd name="connsiteX431" fmla="*/ 193297 w 824741"/>
                    <a:gd name="connsiteY431" fmla="*/ 528696 h 989988"/>
                    <a:gd name="connsiteX432" fmla="*/ 183249 w 824741"/>
                    <a:gd name="connsiteY432" fmla="*/ 585871 h 989988"/>
                    <a:gd name="connsiteX433" fmla="*/ 148860 w 824741"/>
                    <a:gd name="connsiteY433" fmla="*/ 561590 h 989988"/>
                    <a:gd name="connsiteX434" fmla="*/ 148920 w 824741"/>
                    <a:gd name="connsiteY434" fmla="*/ 561171 h 989988"/>
                    <a:gd name="connsiteX435" fmla="*/ 147904 w 824741"/>
                    <a:gd name="connsiteY435" fmla="*/ 560932 h 989988"/>
                    <a:gd name="connsiteX436" fmla="*/ 146887 w 824741"/>
                    <a:gd name="connsiteY436" fmla="*/ 560453 h 989988"/>
                    <a:gd name="connsiteX437" fmla="*/ 145990 w 824741"/>
                    <a:gd name="connsiteY437" fmla="*/ 559855 h 989988"/>
                    <a:gd name="connsiteX438" fmla="*/ 145212 w 824741"/>
                    <a:gd name="connsiteY438" fmla="*/ 559018 h 989988"/>
                    <a:gd name="connsiteX439" fmla="*/ 115189 w 824741"/>
                    <a:gd name="connsiteY439" fmla="*/ 537846 h 989988"/>
                    <a:gd name="connsiteX440" fmla="*/ 122486 w 824741"/>
                    <a:gd name="connsiteY440" fmla="*/ 479714 h 989988"/>
                    <a:gd name="connsiteX441" fmla="*/ 155978 w 824741"/>
                    <a:gd name="connsiteY441" fmla="*/ 502859 h 989988"/>
                    <a:gd name="connsiteX442" fmla="*/ 155918 w 824741"/>
                    <a:gd name="connsiteY442" fmla="*/ 503338 h 989988"/>
                    <a:gd name="connsiteX443" fmla="*/ 156336 w 824741"/>
                    <a:gd name="connsiteY443" fmla="*/ 503457 h 989988"/>
                    <a:gd name="connsiteX444" fmla="*/ 156755 w 824741"/>
                    <a:gd name="connsiteY444" fmla="*/ 503636 h 989988"/>
                    <a:gd name="connsiteX445" fmla="*/ 157174 w 824741"/>
                    <a:gd name="connsiteY445" fmla="*/ 503816 h 989988"/>
                    <a:gd name="connsiteX446" fmla="*/ 157473 w 824741"/>
                    <a:gd name="connsiteY446" fmla="*/ 503995 h 989988"/>
                    <a:gd name="connsiteX447" fmla="*/ 458423 w 824741"/>
                    <a:gd name="connsiteY447" fmla="*/ 24102 h 989988"/>
                    <a:gd name="connsiteX448" fmla="*/ 466078 w 824741"/>
                    <a:gd name="connsiteY448" fmla="*/ 20275 h 989988"/>
                    <a:gd name="connsiteX449" fmla="*/ 524749 w 824741"/>
                    <a:gd name="connsiteY449" fmla="*/ 53408 h 989988"/>
                    <a:gd name="connsiteX450" fmla="*/ 517392 w 824741"/>
                    <a:gd name="connsiteY450" fmla="*/ 57475 h 989988"/>
                    <a:gd name="connsiteX451" fmla="*/ 458423 w 824741"/>
                    <a:gd name="connsiteY451" fmla="*/ 24102 h 989988"/>
                    <a:gd name="connsiteX452" fmla="*/ 399931 w 824741"/>
                    <a:gd name="connsiteY452" fmla="*/ 165188 h 989988"/>
                    <a:gd name="connsiteX453" fmla="*/ 409201 w 824741"/>
                    <a:gd name="connsiteY453" fmla="*/ 159685 h 989988"/>
                    <a:gd name="connsiteX454" fmla="*/ 445026 w 824741"/>
                    <a:gd name="connsiteY454" fmla="*/ 181036 h 989988"/>
                    <a:gd name="connsiteX455" fmla="*/ 435935 w 824741"/>
                    <a:gd name="connsiteY455" fmla="*/ 186718 h 989988"/>
                    <a:gd name="connsiteX456" fmla="*/ 399931 w 824741"/>
                    <a:gd name="connsiteY456" fmla="*/ 165188 h 989988"/>
                    <a:gd name="connsiteX457" fmla="*/ 194733 w 824741"/>
                    <a:gd name="connsiteY457" fmla="*/ 529772 h 989988"/>
                    <a:gd name="connsiteX458" fmla="*/ 204959 w 824741"/>
                    <a:gd name="connsiteY458" fmla="*/ 536770 h 989988"/>
                    <a:gd name="connsiteX459" fmla="*/ 197903 w 824741"/>
                    <a:gd name="connsiteY459" fmla="*/ 575166 h 989988"/>
                    <a:gd name="connsiteX460" fmla="*/ 184924 w 824741"/>
                    <a:gd name="connsiteY460" fmla="*/ 585632 h 989988"/>
                    <a:gd name="connsiteX461" fmla="*/ 194733 w 824741"/>
                    <a:gd name="connsiteY461" fmla="*/ 529772 h 989988"/>
                    <a:gd name="connsiteX462" fmla="*/ 33493 w 824741"/>
                    <a:gd name="connsiteY462" fmla="*/ 711287 h 989988"/>
                    <a:gd name="connsiteX463" fmla="*/ 45693 w 824741"/>
                    <a:gd name="connsiteY463" fmla="*/ 701479 h 989988"/>
                    <a:gd name="connsiteX464" fmla="*/ 88874 w 824741"/>
                    <a:gd name="connsiteY464" fmla="*/ 733715 h 989988"/>
                    <a:gd name="connsiteX465" fmla="*/ 86661 w 824741"/>
                    <a:gd name="connsiteY465" fmla="*/ 751239 h 989988"/>
                    <a:gd name="connsiteX466" fmla="*/ 33493 w 824741"/>
                    <a:gd name="connsiteY466" fmla="*/ 711287 h 989988"/>
                    <a:gd name="connsiteX467" fmla="*/ 148502 w 824741"/>
                    <a:gd name="connsiteY467" fmla="*/ 563922 h 989988"/>
                    <a:gd name="connsiteX468" fmla="*/ 182831 w 824741"/>
                    <a:gd name="connsiteY468" fmla="*/ 588084 h 989988"/>
                    <a:gd name="connsiteX469" fmla="*/ 178286 w 824741"/>
                    <a:gd name="connsiteY469" fmla="*/ 613682 h 989988"/>
                    <a:gd name="connsiteX470" fmla="*/ 144614 w 824741"/>
                    <a:gd name="connsiteY470" fmla="*/ 589699 h 989988"/>
                    <a:gd name="connsiteX471" fmla="*/ 148502 w 824741"/>
                    <a:gd name="connsiteY471" fmla="*/ 563922 h 989988"/>
                    <a:gd name="connsiteX472" fmla="*/ 228165 w 824741"/>
                    <a:gd name="connsiteY472" fmla="*/ 336416 h 989988"/>
                    <a:gd name="connsiteX473" fmla="*/ 307111 w 824741"/>
                    <a:gd name="connsiteY473" fmla="*/ 387730 h 989988"/>
                    <a:gd name="connsiteX474" fmla="*/ 298259 w 824741"/>
                    <a:gd name="connsiteY474" fmla="*/ 426485 h 989988"/>
                    <a:gd name="connsiteX475" fmla="*/ 221228 w 824741"/>
                    <a:gd name="connsiteY475" fmla="*/ 375649 h 989988"/>
                    <a:gd name="connsiteX476" fmla="*/ 228165 w 824741"/>
                    <a:gd name="connsiteY476" fmla="*/ 336416 h 989988"/>
                    <a:gd name="connsiteX477" fmla="*/ 144255 w 824741"/>
                    <a:gd name="connsiteY477" fmla="*/ 591972 h 989988"/>
                    <a:gd name="connsiteX478" fmla="*/ 177926 w 824741"/>
                    <a:gd name="connsiteY478" fmla="*/ 615895 h 989988"/>
                    <a:gd name="connsiteX479" fmla="*/ 175774 w 824741"/>
                    <a:gd name="connsiteY479" fmla="*/ 627976 h 989988"/>
                    <a:gd name="connsiteX480" fmla="*/ 142461 w 824741"/>
                    <a:gd name="connsiteY480" fmla="*/ 604172 h 989988"/>
                    <a:gd name="connsiteX481" fmla="*/ 144255 w 824741"/>
                    <a:gd name="connsiteY481" fmla="*/ 591972 h 989988"/>
                    <a:gd name="connsiteX482" fmla="*/ 32775 w 824741"/>
                    <a:gd name="connsiteY482" fmla="*/ 713321 h 989988"/>
                    <a:gd name="connsiteX483" fmla="*/ 86422 w 824741"/>
                    <a:gd name="connsiteY483" fmla="*/ 753571 h 989988"/>
                    <a:gd name="connsiteX484" fmla="*/ 83551 w 824741"/>
                    <a:gd name="connsiteY484" fmla="*/ 776358 h 989988"/>
                    <a:gd name="connsiteX485" fmla="*/ 30861 w 824741"/>
                    <a:gd name="connsiteY485" fmla="*/ 736526 h 989988"/>
                    <a:gd name="connsiteX486" fmla="*/ 32775 w 824741"/>
                    <a:gd name="connsiteY486" fmla="*/ 713321 h 989988"/>
                    <a:gd name="connsiteX487" fmla="*/ 30681 w 824741"/>
                    <a:gd name="connsiteY487" fmla="*/ 738978 h 989988"/>
                    <a:gd name="connsiteX488" fmla="*/ 83192 w 824741"/>
                    <a:gd name="connsiteY488" fmla="*/ 778690 h 989988"/>
                    <a:gd name="connsiteX489" fmla="*/ 82056 w 824741"/>
                    <a:gd name="connsiteY489" fmla="*/ 787661 h 989988"/>
                    <a:gd name="connsiteX490" fmla="*/ 29904 w 824741"/>
                    <a:gd name="connsiteY490" fmla="*/ 748069 h 989988"/>
                    <a:gd name="connsiteX491" fmla="*/ 30681 w 824741"/>
                    <a:gd name="connsiteY491" fmla="*/ 738978 h 989988"/>
                    <a:gd name="connsiteX492" fmla="*/ 142102 w 824741"/>
                    <a:gd name="connsiteY492" fmla="*/ 606445 h 989988"/>
                    <a:gd name="connsiteX493" fmla="*/ 175355 w 824741"/>
                    <a:gd name="connsiteY493" fmla="*/ 630189 h 989988"/>
                    <a:gd name="connsiteX494" fmla="*/ 172783 w 824741"/>
                    <a:gd name="connsiteY494" fmla="*/ 644841 h 989988"/>
                    <a:gd name="connsiteX495" fmla="*/ 139889 w 824741"/>
                    <a:gd name="connsiteY495" fmla="*/ 621218 h 989988"/>
                    <a:gd name="connsiteX496" fmla="*/ 142102 w 824741"/>
                    <a:gd name="connsiteY496" fmla="*/ 606445 h 989988"/>
                    <a:gd name="connsiteX497" fmla="*/ 375052 w 824741"/>
                    <a:gd name="connsiteY497" fmla="*/ 260520 h 989988"/>
                    <a:gd name="connsiteX498" fmla="*/ 409381 w 824741"/>
                    <a:gd name="connsiteY498" fmla="*/ 281692 h 989988"/>
                    <a:gd name="connsiteX499" fmla="*/ 403460 w 824741"/>
                    <a:gd name="connsiteY499" fmla="*/ 303282 h 989988"/>
                    <a:gd name="connsiteX500" fmla="*/ 390841 w 824741"/>
                    <a:gd name="connsiteY500" fmla="*/ 312253 h 989988"/>
                    <a:gd name="connsiteX501" fmla="*/ 366021 w 824741"/>
                    <a:gd name="connsiteY501" fmla="*/ 296704 h 989988"/>
                    <a:gd name="connsiteX502" fmla="*/ 375052 w 824741"/>
                    <a:gd name="connsiteY502" fmla="*/ 260520 h 989988"/>
                    <a:gd name="connsiteX503" fmla="*/ 205438 w 824741"/>
                    <a:gd name="connsiteY503" fmla="*/ 543050 h 989988"/>
                    <a:gd name="connsiteX504" fmla="*/ 209505 w 824741"/>
                    <a:gd name="connsiteY504" fmla="*/ 539880 h 989988"/>
                    <a:gd name="connsiteX505" fmla="*/ 242160 w 824741"/>
                    <a:gd name="connsiteY505" fmla="*/ 562487 h 989988"/>
                    <a:gd name="connsiteX506" fmla="*/ 214290 w 824741"/>
                    <a:gd name="connsiteY506" fmla="*/ 585274 h 989988"/>
                    <a:gd name="connsiteX507" fmla="*/ 199518 w 824741"/>
                    <a:gd name="connsiteY507" fmla="*/ 574927 h 989988"/>
                    <a:gd name="connsiteX508" fmla="*/ 205438 w 824741"/>
                    <a:gd name="connsiteY508" fmla="*/ 543050 h 989988"/>
                    <a:gd name="connsiteX509" fmla="*/ 519187 w 824741"/>
                    <a:gd name="connsiteY509" fmla="*/ 58491 h 989988"/>
                    <a:gd name="connsiteX510" fmla="*/ 526543 w 824741"/>
                    <a:gd name="connsiteY510" fmla="*/ 54425 h 989988"/>
                    <a:gd name="connsiteX511" fmla="*/ 556387 w 824741"/>
                    <a:gd name="connsiteY511" fmla="*/ 71230 h 989988"/>
                    <a:gd name="connsiteX512" fmla="*/ 549210 w 824741"/>
                    <a:gd name="connsiteY512" fmla="*/ 75477 h 989988"/>
                    <a:gd name="connsiteX513" fmla="*/ 519187 w 824741"/>
                    <a:gd name="connsiteY513" fmla="*/ 58491 h 989988"/>
                    <a:gd name="connsiteX514" fmla="*/ 139531 w 824741"/>
                    <a:gd name="connsiteY514" fmla="*/ 623550 h 989988"/>
                    <a:gd name="connsiteX515" fmla="*/ 172425 w 824741"/>
                    <a:gd name="connsiteY515" fmla="*/ 647114 h 989988"/>
                    <a:gd name="connsiteX516" fmla="*/ 164351 w 824741"/>
                    <a:gd name="connsiteY516" fmla="*/ 692747 h 989988"/>
                    <a:gd name="connsiteX517" fmla="*/ 132593 w 824741"/>
                    <a:gd name="connsiteY517" fmla="*/ 669661 h 989988"/>
                    <a:gd name="connsiteX518" fmla="*/ 132772 w 824741"/>
                    <a:gd name="connsiteY518" fmla="*/ 668944 h 989988"/>
                    <a:gd name="connsiteX519" fmla="*/ 132353 w 824741"/>
                    <a:gd name="connsiteY519" fmla="*/ 668824 h 989988"/>
                    <a:gd name="connsiteX520" fmla="*/ 131935 w 824741"/>
                    <a:gd name="connsiteY520" fmla="*/ 668645 h 989988"/>
                    <a:gd name="connsiteX521" fmla="*/ 131576 w 824741"/>
                    <a:gd name="connsiteY521" fmla="*/ 668465 h 989988"/>
                    <a:gd name="connsiteX522" fmla="*/ 131217 w 824741"/>
                    <a:gd name="connsiteY522" fmla="*/ 668226 h 989988"/>
                    <a:gd name="connsiteX523" fmla="*/ 131158 w 824741"/>
                    <a:gd name="connsiteY523" fmla="*/ 668525 h 989988"/>
                    <a:gd name="connsiteX524" fmla="*/ 101493 w 824741"/>
                    <a:gd name="connsiteY524" fmla="*/ 646935 h 989988"/>
                    <a:gd name="connsiteX525" fmla="*/ 107295 w 824741"/>
                    <a:gd name="connsiteY525" fmla="*/ 600405 h 989988"/>
                    <a:gd name="connsiteX526" fmla="*/ 138036 w 824741"/>
                    <a:gd name="connsiteY526" fmla="*/ 622473 h 989988"/>
                    <a:gd name="connsiteX527" fmla="*/ 137976 w 824741"/>
                    <a:gd name="connsiteY527" fmla="*/ 623251 h 989988"/>
                    <a:gd name="connsiteX528" fmla="*/ 138334 w 824741"/>
                    <a:gd name="connsiteY528" fmla="*/ 623431 h 989988"/>
                    <a:gd name="connsiteX529" fmla="*/ 138753 w 824741"/>
                    <a:gd name="connsiteY529" fmla="*/ 623670 h 989988"/>
                    <a:gd name="connsiteX530" fmla="*/ 139112 w 824741"/>
                    <a:gd name="connsiteY530" fmla="*/ 623909 h 989988"/>
                    <a:gd name="connsiteX531" fmla="*/ 139471 w 824741"/>
                    <a:gd name="connsiteY531" fmla="*/ 624148 h 989988"/>
                    <a:gd name="connsiteX532" fmla="*/ 139531 w 824741"/>
                    <a:gd name="connsiteY532" fmla="*/ 623550 h 989988"/>
                    <a:gd name="connsiteX533" fmla="*/ 410696 w 824741"/>
                    <a:gd name="connsiteY533" fmla="*/ 282529 h 989988"/>
                    <a:gd name="connsiteX534" fmla="*/ 422418 w 824741"/>
                    <a:gd name="connsiteY534" fmla="*/ 289766 h 989988"/>
                    <a:gd name="connsiteX535" fmla="*/ 405433 w 824741"/>
                    <a:gd name="connsiteY535" fmla="*/ 301787 h 989988"/>
                    <a:gd name="connsiteX536" fmla="*/ 410696 w 824741"/>
                    <a:gd name="connsiteY536" fmla="*/ 282529 h 989988"/>
                    <a:gd name="connsiteX537" fmla="*/ 173860 w 824741"/>
                    <a:gd name="connsiteY537" fmla="*/ 648190 h 989988"/>
                    <a:gd name="connsiteX538" fmla="*/ 183190 w 824741"/>
                    <a:gd name="connsiteY538" fmla="*/ 654829 h 989988"/>
                    <a:gd name="connsiteX539" fmla="*/ 178166 w 824741"/>
                    <a:gd name="connsiteY539" fmla="*/ 681922 h 989988"/>
                    <a:gd name="connsiteX540" fmla="*/ 166085 w 824741"/>
                    <a:gd name="connsiteY540" fmla="*/ 692388 h 989988"/>
                    <a:gd name="connsiteX541" fmla="*/ 173860 w 824741"/>
                    <a:gd name="connsiteY541" fmla="*/ 648190 h 989988"/>
                    <a:gd name="connsiteX542" fmla="*/ 312672 w 824741"/>
                    <a:gd name="connsiteY542" fmla="*/ 370446 h 989988"/>
                    <a:gd name="connsiteX543" fmla="*/ 353999 w 824741"/>
                    <a:gd name="connsiteY543" fmla="*/ 397120 h 989988"/>
                    <a:gd name="connsiteX544" fmla="*/ 349872 w 824741"/>
                    <a:gd name="connsiteY544" fmla="*/ 413148 h 989988"/>
                    <a:gd name="connsiteX545" fmla="*/ 309024 w 824741"/>
                    <a:gd name="connsiteY545" fmla="*/ 386534 h 989988"/>
                    <a:gd name="connsiteX546" fmla="*/ 312672 w 824741"/>
                    <a:gd name="connsiteY546" fmla="*/ 370446 h 989988"/>
                    <a:gd name="connsiteX547" fmla="*/ 496639 w 824741"/>
                    <a:gd name="connsiteY547" fmla="*/ 106337 h 989988"/>
                    <a:gd name="connsiteX548" fmla="*/ 496939 w 824741"/>
                    <a:gd name="connsiteY548" fmla="*/ 106636 h 989988"/>
                    <a:gd name="connsiteX549" fmla="*/ 497237 w 824741"/>
                    <a:gd name="connsiteY549" fmla="*/ 106935 h 989988"/>
                    <a:gd name="connsiteX550" fmla="*/ 497537 w 824741"/>
                    <a:gd name="connsiteY550" fmla="*/ 107234 h 989988"/>
                    <a:gd name="connsiteX551" fmla="*/ 497895 w 824741"/>
                    <a:gd name="connsiteY551" fmla="*/ 107593 h 989988"/>
                    <a:gd name="connsiteX552" fmla="*/ 498852 w 824741"/>
                    <a:gd name="connsiteY552" fmla="*/ 106995 h 989988"/>
                    <a:gd name="connsiteX553" fmla="*/ 532284 w 824741"/>
                    <a:gd name="connsiteY553" fmla="*/ 126313 h 989988"/>
                    <a:gd name="connsiteX554" fmla="*/ 497776 w 824741"/>
                    <a:gd name="connsiteY554" fmla="*/ 147963 h 989988"/>
                    <a:gd name="connsiteX555" fmla="*/ 463387 w 824741"/>
                    <a:gd name="connsiteY555" fmla="*/ 127868 h 989988"/>
                    <a:gd name="connsiteX556" fmla="*/ 464045 w 824741"/>
                    <a:gd name="connsiteY556" fmla="*/ 127509 h 989988"/>
                    <a:gd name="connsiteX557" fmla="*/ 463805 w 824741"/>
                    <a:gd name="connsiteY557" fmla="*/ 127389 h 989988"/>
                    <a:gd name="connsiteX558" fmla="*/ 463566 w 824741"/>
                    <a:gd name="connsiteY558" fmla="*/ 127270 h 989988"/>
                    <a:gd name="connsiteX559" fmla="*/ 463327 w 824741"/>
                    <a:gd name="connsiteY559" fmla="*/ 127091 h 989988"/>
                    <a:gd name="connsiteX560" fmla="*/ 463088 w 824741"/>
                    <a:gd name="connsiteY560" fmla="*/ 126911 h 989988"/>
                    <a:gd name="connsiteX561" fmla="*/ 462490 w 824741"/>
                    <a:gd name="connsiteY561" fmla="*/ 126432 h 989988"/>
                    <a:gd name="connsiteX562" fmla="*/ 461712 w 824741"/>
                    <a:gd name="connsiteY562" fmla="*/ 126911 h 989988"/>
                    <a:gd name="connsiteX563" fmla="*/ 429596 w 824741"/>
                    <a:gd name="connsiteY563" fmla="*/ 108131 h 989988"/>
                    <a:gd name="connsiteX564" fmla="*/ 449751 w 824741"/>
                    <a:gd name="connsiteY564" fmla="*/ 96947 h 989988"/>
                    <a:gd name="connsiteX565" fmla="*/ 449751 w 824741"/>
                    <a:gd name="connsiteY565" fmla="*/ 96888 h 989988"/>
                    <a:gd name="connsiteX566" fmla="*/ 465779 w 824741"/>
                    <a:gd name="connsiteY566" fmla="*/ 88036 h 989988"/>
                    <a:gd name="connsiteX567" fmla="*/ 497118 w 824741"/>
                    <a:gd name="connsiteY567" fmla="*/ 106038 h 989988"/>
                    <a:gd name="connsiteX568" fmla="*/ 496639 w 824741"/>
                    <a:gd name="connsiteY568" fmla="*/ 106337 h 989988"/>
                    <a:gd name="connsiteX569" fmla="*/ 313929 w 824741"/>
                    <a:gd name="connsiteY569" fmla="*/ 368771 h 989988"/>
                    <a:gd name="connsiteX570" fmla="*/ 327684 w 824741"/>
                    <a:gd name="connsiteY570" fmla="*/ 358963 h 989988"/>
                    <a:gd name="connsiteX571" fmla="*/ 368592 w 824741"/>
                    <a:gd name="connsiteY571" fmla="*/ 385278 h 989988"/>
                    <a:gd name="connsiteX572" fmla="*/ 355075 w 824741"/>
                    <a:gd name="connsiteY572" fmla="*/ 395445 h 989988"/>
                    <a:gd name="connsiteX573" fmla="*/ 313929 w 824741"/>
                    <a:gd name="connsiteY573" fmla="*/ 368771 h 989988"/>
                    <a:gd name="connsiteX574" fmla="*/ 364765 w 824741"/>
                    <a:gd name="connsiteY574" fmla="*/ 234085 h 989988"/>
                    <a:gd name="connsiteX575" fmla="*/ 437729 w 824741"/>
                    <a:gd name="connsiteY575" fmla="*/ 278881 h 989988"/>
                    <a:gd name="connsiteX576" fmla="*/ 424213 w 824741"/>
                    <a:gd name="connsiteY576" fmla="*/ 288450 h 989988"/>
                    <a:gd name="connsiteX577" fmla="*/ 361056 w 824741"/>
                    <a:gd name="connsiteY577" fmla="*/ 249456 h 989988"/>
                    <a:gd name="connsiteX578" fmla="*/ 364765 w 824741"/>
                    <a:gd name="connsiteY578" fmla="*/ 234085 h 989988"/>
                    <a:gd name="connsiteX579" fmla="*/ 87917 w 824741"/>
                    <a:gd name="connsiteY579" fmla="*/ 754767 h 989988"/>
                    <a:gd name="connsiteX580" fmla="*/ 115189 w 824741"/>
                    <a:gd name="connsiteY580" fmla="*/ 775161 h 989988"/>
                    <a:gd name="connsiteX581" fmla="*/ 111780 w 824741"/>
                    <a:gd name="connsiteY581" fmla="*/ 797768 h 989988"/>
                    <a:gd name="connsiteX582" fmla="*/ 84987 w 824741"/>
                    <a:gd name="connsiteY582" fmla="*/ 777553 h 989988"/>
                    <a:gd name="connsiteX583" fmla="*/ 87917 w 824741"/>
                    <a:gd name="connsiteY583" fmla="*/ 754767 h 989988"/>
                    <a:gd name="connsiteX584" fmla="*/ 499390 w 824741"/>
                    <a:gd name="connsiteY584" fmla="*/ 148920 h 989988"/>
                    <a:gd name="connsiteX585" fmla="*/ 532823 w 824741"/>
                    <a:gd name="connsiteY585" fmla="*/ 127928 h 989988"/>
                    <a:gd name="connsiteX586" fmla="*/ 528576 w 824741"/>
                    <a:gd name="connsiteY586" fmla="*/ 141444 h 989988"/>
                    <a:gd name="connsiteX587" fmla="*/ 508541 w 824741"/>
                    <a:gd name="connsiteY587" fmla="*/ 154243 h 989988"/>
                    <a:gd name="connsiteX588" fmla="*/ 499390 w 824741"/>
                    <a:gd name="connsiteY588" fmla="*/ 148920 h 989988"/>
                    <a:gd name="connsiteX589" fmla="*/ 202209 w 824741"/>
                    <a:gd name="connsiteY589" fmla="*/ 487488 h 989988"/>
                    <a:gd name="connsiteX590" fmla="*/ 273678 w 824741"/>
                    <a:gd name="connsiteY590" fmla="*/ 536291 h 989988"/>
                    <a:gd name="connsiteX591" fmla="*/ 270449 w 824741"/>
                    <a:gd name="connsiteY591" fmla="*/ 550346 h 989988"/>
                    <a:gd name="connsiteX592" fmla="*/ 199696 w 824741"/>
                    <a:gd name="connsiteY592" fmla="*/ 501723 h 989988"/>
                    <a:gd name="connsiteX593" fmla="*/ 202209 w 824741"/>
                    <a:gd name="connsiteY593" fmla="*/ 487488 h 989988"/>
                    <a:gd name="connsiteX594" fmla="*/ 84747 w 824741"/>
                    <a:gd name="connsiteY594" fmla="*/ 779826 h 989988"/>
                    <a:gd name="connsiteX595" fmla="*/ 111421 w 824741"/>
                    <a:gd name="connsiteY595" fmla="*/ 800041 h 989988"/>
                    <a:gd name="connsiteX596" fmla="*/ 110105 w 824741"/>
                    <a:gd name="connsiteY596" fmla="*/ 808893 h 989988"/>
                    <a:gd name="connsiteX597" fmla="*/ 83611 w 824741"/>
                    <a:gd name="connsiteY597" fmla="*/ 788797 h 989988"/>
                    <a:gd name="connsiteX598" fmla="*/ 84747 w 824741"/>
                    <a:gd name="connsiteY598" fmla="*/ 779826 h 989988"/>
                    <a:gd name="connsiteX599" fmla="*/ 510036 w 824741"/>
                    <a:gd name="connsiteY599" fmla="*/ 155140 h 989988"/>
                    <a:gd name="connsiteX600" fmla="*/ 526363 w 824741"/>
                    <a:gd name="connsiteY600" fmla="*/ 144674 h 989988"/>
                    <a:gd name="connsiteX601" fmla="*/ 526723 w 824741"/>
                    <a:gd name="connsiteY601" fmla="*/ 144913 h 989988"/>
                    <a:gd name="connsiteX602" fmla="*/ 521400 w 824741"/>
                    <a:gd name="connsiteY602" fmla="*/ 161779 h 989988"/>
                    <a:gd name="connsiteX603" fmla="*/ 510036 w 824741"/>
                    <a:gd name="connsiteY603" fmla="*/ 155140 h 989988"/>
                    <a:gd name="connsiteX604" fmla="*/ 181754 w 824741"/>
                    <a:gd name="connsiteY604" fmla="*/ 671157 h 989988"/>
                    <a:gd name="connsiteX605" fmla="*/ 194613 w 824741"/>
                    <a:gd name="connsiteY605" fmla="*/ 680367 h 989988"/>
                    <a:gd name="connsiteX606" fmla="*/ 188154 w 824741"/>
                    <a:gd name="connsiteY606" fmla="*/ 686049 h 989988"/>
                    <a:gd name="connsiteX607" fmla="*/ 180139 w 824741"/>
                    <a:gd name="connsiteY607" fmla="*/ 680247 h 989988"/>
                    <a:gd name="connsiteX608" fmla="*/ 181754 w 824741"/>
                    <a:gd name="connsiteY608" fmla="*/ 671157 h 989988"/>
                    <a:gd name="connsiteX609" fmla="*/ 308546 w 824741"/>
                    <a:gd name="connsiteY609" fmla="*/ 388687 h 989988"/>
                    <a:gd name="connsiteX610" fmla="*/ 349334 w 824741"/>
                    <a:gd name="connsiteY610" fmla="*/ 415242 h 989988"/>
                    <a:gd name="connsiteX611" fmla="*/ 339406 w 824741"/>
                    <a:gd name="connsiteY611" fmla="*/ 453698 h 989988"/>
                    <a:gd name="connsiteX612" fmla="*/ 299635 w 824741"/>
                    <a:gd name="connsiteY612" fmla="*/ 427502 h 989988"/>
                    <a:gd name="connsiteX613" fmla="*/ 308546 w 824741"/>
                    <a:gd name="connsiteY613" fmla="*/ 388687 h 989988"/>
                    <a:gd name="connsiteX614" fmla="*/ 199338 w 824741"/>
                    <a:gd name="connsiteY614" fmla="*/ 503935 h 989988"/>
                    <a:gd name="connsiteX615" fmla="*/ 269970 w 824741"/>
                    <a:gd name="connsiteY615" fmla="*/ 552439 h 989988"/>
                    <a:gd name="connsiteX616" fmla="*/ 264647 w 824741"/>
                    <a:gd name="connsiteY616" fmla="*/ 575585 h 989988"/>
                    <a:gd name="connsiteX617" fmla="*/ 210282 w 824741"/>
                    <a:gd name="connsiteY617" fmla="*/ 537906 h 989988"/>
                    <a:gd name="connsiteX618" fmla="*/ 195151 w 824741"/>
                    <a:gd name="connsiteY618" fmla="*/ 527440 h 989988"/>
                    <a:gd name="connsiteX619" fmla="*/ 199338 w 824741"/>
                    <a:gd name="connsiteY619" fmla="*/ 503935 h 989988"/>
                    <a:gd name="connsiteX620" fmla="*/ 184625 w 824741"/>
                    <a:gd name="connsiteY620" fmla="*/ 655846 h 989988"/>
                    <a:gd name="connsiteX621" fmla="*/ 205498 w 824741"/>
                    <a:gd name="connsiteY621" fmla="*/ 670858 h 989988"/>
                    <a:gd name="connsiteX622" fmla="*/ 196168 w 824741"/>
                    <a:gd name="connsiteY622" fmla="*/ 678991 h 989988"/>
                    <a:gd name="connsiteX623" fmla="*/ 182173 w 824741"/>
                    <a:gd name="connsiteY623" fmla="*/ 668884 h 989988"/>
                    <a:gd name="connsiteX624" fmla="*/ 184625 w 824741"/>
                    <a:gd name="connsiteY624" fmla="*/ 655846 h 989988"/>
                    <a:gd name="connsiteX625" fmla="*/ 215605 w 824741"/>
                    <a:gd name="connsiteY625" fmla="*/ 586170 h 989988"/>
                    <a:gd name="connsiteX626" fmla="*/ 243416 w 824741"/>
                    <a:gd name="connsiteY626" fmla="*/ 563384 h 989988"/>
                    <a:gd name="connsiteX627" fmla="*/ 264169 w 824741"/>
                    <a:gd name="connsiteY627" fmla="*/ 577738 h 989988"/>
                    <a:gd name="connsiteX628" fmla="*/ 255736 w 824741"/>
                    <a:gd name="connsiteY628" fmla="*/ 614340 h 989988"/>
                    <a:gd name="connsiteX629" fmla="*/ 215605 w 824741"/>
                    <a:gd name="connsiteY629" fmla="*/ 586170 h 989988"/>
                    <a:gd name="connsiteX630" fmla="*/ 550885 w 824741"/>
                    <a:gd name="connsiteY630" fmla="*/ 76434 h 989988"/>
                    <a:gd name="connsiteX631" fmla="*/ 558062 w 824741"/>
                    <a:gd name="connsiteY631" fmla="*/ 72187 h 989988"/>
                    <a:gd name="connsiteX632" fmla="*/ 589939 w 824741"/>
                    <a:gd name="connsiteY632" fmla="*/ 90189 h 989988"/>
                    <a:gd name="connsiteX633" fmla="*/ 582882 w 824741"/>
                    <a:gd name="connsiteY633" fmla="*/ 94615 h 989988"/>
                    <a:gd name="connsiteX634" fmla="*/ 550885 w 824741"/>
                    <a:gd name="connsiteY634" fmla="*/ 76434 h 989988"/>
                    <a:gd name="connsiteX635" fmla="*/ 93419 w 824741"/>
                    <a:gd name="connsiteY635" fmla="*/ 711227 h 989988"/>
                    <a:gd name="connsiteX636" fmla="*/ 121648 w 824741"/>
                    <a:gd name="connsiteY636" fmla="*/ 732100 h 989988"/>
                    <a:gd name="connsiteX637" fmla="*/ 121589 w 824741"/>
                    <a:gd name="connsiteY637" fmla="*/ 732399 h 989988"/>
                    <a:gd name="connsiteX638" fmla="*/ 121887 w 824741"/>
                    <a:gd name="connsiteY638" fmla="*/ 732459 h 989988"/>
                    <a:gd name="connsiteX639" fmla="*/ 122186 w 824741"/>
                    <a:gd name="connsiteY639" fmla="*/ 732519 h 989988"/>
                    <a:gd name="connsiteX640" fmla="*/ 122486 w 824741"/>
                    <a:gd name="connsiteY640" fmla="*/ 732639 h 989988"/>
                    <a:gd name="connsiteX641" fmla="*/ 122784 w 824741"/>
                    <a:gd name="connsiteY641" fmla="*/ 732758 h 989988"/>
                    <a:gd name="connsiteX642" fmla="*/ 123682 w 824741"/>
                    <a:gd name="connsiteY642" fmla="*/ 733236 h 989988"/>
                    <a:gd name="connsiteX643" fmla="*/ 124519 w 824741"/>
                    <a:gd name="connsiteY643" fmla="*/ 733834 h 989988"/>
                    <a:gd name="connsiteX644" fmla="*/ 125237 w 824741"/>
                    <a:gd name="connsiteY644" fmla="*/ 734552 h 989988"/>
                    <a:gd name="connsiteX645" fmla="*/ 125835 w 824741"/>
                    <a:gd name="connsiteY645" fmla="*/ 735389 h 989988"/>
                    <a:gd name="connsiteX646" fmla="*/ 153226 w 824741"/>
                    <a:gd name="connsiteY646" fmla="*/ 755604 h 989988"/>
                    <a:gd name="connsiteX647" fmla="*/ 146109 w 824741"/>
                    <a:gd name="connsiteY647" fmla="*/ 795974 h 989988"/>
                    <a:gd name="connsiteX648" fmla="*/ 116983 w 824741"/>
                    <a:gd name="connsiteY648" fmla="*/ 774085 h 989988"/>
                    <a:gd name="connsiteX649" fmla="*/ 117043 w 824741"/>
                    <a:gd name="connsiteY649" fmla="*/ 773427 h 989988"/>
                    <a:gd name="connsiteX650" fmla="*/ 116624 w 824741"/>
                    <a:gd name="connsiteY650" fmla="*/ 773248 h 989988"/>
                    <a:gd name="connsiteX651" fmla="*/ 116266 w 824741"/>
                    <a:gd name="connsiteY651" fmla="*/ 773068 h 989988"/>
                    <a:gd name="connsiteX652" fmla="*/ 115906 w 824741"/>
                    <a:gd name="connsiteY652" fmla="*/ 772829 h 989988"/>
                    <a:gd name="connsiteX653" fmla="*/ 115548 w 824741"/>
                    <a:gd name="connsiteY653" fmla="*/ 772530 h 989988"/>
                    <a:gd name="connsiteX654" fmla="*/ 115488 w 824741"/>
                    <a:gd name="connsiteY654" fmla="*/ 773008 h 989988"/>
                    <a:gd name="connsiteX655" fmla="*/ 88157 w 824741"/>
                    <a:gd name="connsiteY655" fmla="*/ 752435 h 989988"/>
                    <a:gd name="connsiteX656" fmla="*/ 93419 w 824741"/>
                    <a:gd name="connsiteY656" fmla="*/ 711227 h 989988"/>
                    <a:gd name="connsiteX657" fmla="*/ 185224 w 824741"/>
                    <a:gd name="connsiteY657" fmla="*/ 587247 h 989988"/>
                    <a:gd name="connsiteX658" fmla="*/ 198441 w 824741"/>
                    <a:gd name="connsiteY658" fmla="*/ 576661 h 989988"/>
                    <a:gd name="connsiteX659" fmla="*/ 213572 w 824741"/>
                    <a:gd name="connsiteY659" fmla="*/ 587247 h 989988"/>
                    <a:gd name="connsiteX660" fmla="*/ 255258 w 824741"/>
                    <a:gd name="connsiteY660" fmla="*/ 616433 h 989988"/>
                    <a:gd name="connsiteX661" fmla="*/ 251250 w 824741"/>
                    <a:gd name="connsiteY661" fmla="*/ 633897 h 989988"/>
                    <a:gd name="connsiteX662" fmla="*/ 185224 w 824741"/>
                    <a:gd name="connsiteY662" fmla="*/ 587247 h 989988"/>
                    <a:gd name="connsiteX663" fmla="*/ 154662 w 824741"/>
                    <a:gd name="connsiteY663" fmla="*/ 756681 h 989988"/>
                    <a:gd name="connsiteX664" fmla="*/ 163154 w 824741"/>
                    <a:gd name="connsiteY664" fmla="*/ 762960 h 989988"/>
                    <a:gd name="connsiteX665" fmla="*/ 159088 w 824741"/>
                    <a:gd name="connsiteY665" fmla="*/ 785089 h 989988"/>
                    <a:gd name="connsiteX666" fmla="*/ 147844 w 824741"/>
                    <a:gd name="connsiteY666" fmla="*/ 795496 h 989988"/>
                    <a:gd name="connsiteX667" fmla="*/ 154662 w 824741"/>
                    <a:gd name="connsiteY667" fmla="*/ 756681 h 989988"/>
                    <a:gd name="connsiteX668" fmla="*/ 437550 w 824741"/>
                    <a:gd name="connsiteY668" fmla="*/ 187675 h 989988"/>
                    <a:gd name="connsiteX669" fmla="*/ 446641 w 824741"/>
                    <a:gd name="connsiteY669" fmla="*/ 181993 h 989988"/>
                    <a:gd name="connsiteX670" fmla="*/ 516077 w 824741"/>
                    <a:gd name="connsiteY670" fmla="*/ 223320 h 989988"/>
                    <a:gd name="connsiteX671" fmla="*/ 507405 w 824741"/>
                    <a:gd name="connsiteY671" fmla="*/ 229540 h 989988"/>
                    <a:gd name="connsiteX672" fmla="*/ 437550 w 824741"/>
                    <a:gd name="connsiteY672" fmla="*/ 187675 h 989988"/>
                    <a:gd name="connsiteX673" fmla="*/ 528876 w 824741"/>
                    <a:gd name="connsiteY673" fmla="*/ 143119 h 989988"/>
                    <a:gd name="connsiteX674" fmla="*/ 528876 w 824741"/>
                    <a:gd name="connsiteY674" fmla="*/ 143119 h 989988"/>
                    <a:gd name="connsiteX675" fmla="*/ 560095 w 824741"/>
                    <a:gd name="connsiteY675" fmla="*/ 161121 h 989988"/>
                    <a:gd name="connsiteX676" fmla="*/ 559915 w 824741"/>
                    <a:gd name="connsiteY676" fmla="*/ 161838 h 989988"/>
                    <a:gd name="connsiteX677" fmla="*/ 528756 w 824741"/>
                    <a:gd name="connsiteY677" fmla="*/ 143717 h 989988"/>
                    <a:gd name="connsiteX678" fmla="*/ 528876 w 824741"/>
                    <a:gd name="connsiteY678" fmla="*/ 143119 h 989988"/>
                    <a:gd name="connsiteX679" fmla="*/ 116684 w 824741"/>
                    <a:gd name="connsiteY679" fmla="*/ 776298 h 989988"/>
                    <a:gd name="connsiteX680" fmla="*/ 145810 w 824741"/>
                    <a:gd name="connsiteY680" fmla="*/ 798127 h 989988"/>
                    <a:gd name="connsiteX681" fmla="*/ 141863 w 824741"/>
                    <a:gd name="connsiteY681" fmla="*/ 820495 h 989988"/>
                    <a:gd name="connsiteX682" fmla="*/ 113335 w 824741"/>
                    <a:gd name="connsiteY682" fmla="*/ 798845 h 989988"/>
                    <a:gd name="connsiteX683" fmla="*/ 116684 w 824741"/>
                    <a:gd name="connsiteY683" fmla="*/ 776298 h 989988"/>
                    <a:gd name="connsiteX684" fmla="*/ 184326 w 824741"/>
                    <a:gd name="connsiteY684" fmla="*/ 589101 h 989988"/>
                    <a:gd name="connsiteX685" fmla="*/ 250832 w 824741"/>
                    <a:gd name="connsiteY685" fmla="*/ 635930 h 989988"/>
                    <a:gd name="connsiteX686" fmla="*/ 245091 w 824741"/>
                    <a:gd name="connsiteY686" fmla="*/ 661169 h 989988"/>
                    <a:gd name="connsiteX687" fmla="*/ 179841 w 824741"/>
                    <a:gd name="connsiteY687" fmla="*/ 614758 h 989988"/>
                    <a:gd name="connsiteX688" fmla="*/ 184326 w 824741"/>
                    <a:gd name="connsiteY688" fmla="*/ 589101 h 989988"/>
                    <a:gd name="connsiteX689" fmla="*/ 188274 w 824741"/>
                    <a:gd name="connsiteY689" fmla="*/ 687843 h 989988"/>
                    <a:gd name="connsiteX690" fmla="*/ 195810 w 824741"/>
                    <a:gd name="connsiteY690" fmla="*/ 681264 h 989988"/>
                    <a:gd name="connsiteX691" fmla="*/ 221228 w 824741"/>
                    <a:gd name="connsiteY691" fmla="*/ 699685 h 989988"/>
                    <a:gd name="connsiteX692" fmla="*/ 213811 w 824741"/>
                    <a:gd name="connsiteY692" fmla="*/ 706383 h 989988"/>
                    <a:gd name="connsiteX693" fmla="*/ 188274 w 824741"/>
                    <a:gd name="connsiteY693" fmla="*/ 687843 h 989988"/>
                    <a:gd name="connsiteX694" fmla="*/ 112916 w 824741"/>
                    <a:gd name="connsiteY694" fmla="*/ 801177 h 989988"/>
                    <a:gd name="connsiteX695" fmla="*/ 141444 w 824741"/>
                    <a:gd name="connsiteY695" fmla="*/ 822708 h 989988"/>
                    <a:gd name="connsiteX696" fmla="*/ 139889 w 824741"/>
                    <a:gd name="connsiteY696" fmla="*/ 831500 h 989988"/>
                    <a:gd name="connsiteX697" fmla="*/ 111541 w 824741"/>
                    <a:gd name="connsiteY697" fmla="*/ 810029 h 989988"/>
                    <a:gd name="connsiteX698" fmla="*/ 112916 w 824741"/>
                    <a:gd name="connsiteY698" fmla="*/ 801177 h 989988"/>
                    <a:gd name="connsiteX699" fmla="*/ 528038 w 824741"/>
                    <a:gd name="connsiteY699" fmla="*/ 145690 h 989988"/>
                    <a:gd name="connsiteX700" fmla="*/ 559198 w 824741"/>
                    <a:gd name="connsiteY700" fmla="*/ 163752 h 989988"/>
                    <a:gd name="connsiteX701" fmla="*/ 553576 w 824741"/>
                    <a:gd name="connsiteY701" fmla="*/ 180618 h 989988"/>
                    <a:gd name="connsiteX702" fmla="*/ 522715 w 824741"/>
                    <a:gd name="connsiteY702" fmla="*/ 162616 h 989988"/>
                    <a:gd name="connsiteX703" fmla="*/ 528038 w 824741"/>
                    <a:gd name="connsiteY703" fmla="*/ 145690 h 989988"/>
                    <a:gd name="connsiteX704" fmla="*/ 197364 w 824741"/>
                    <a:gd name="connsiteY704" fmla="*/ 679889 h 989988"/>
                    <a:gd name="connsiteX705" fmla="*/ 206694 w 824741"/>
                    <a:gd name="connsiteY705" fmla="*/ 671754 h 989988"/>
                    <a:gd name="connsiteX706" fmla="*/ 231992 w 824741"/>
                    <a:gd name="connsiteY706" fmla="*/ 689936 h 989988"/>
                    <a:gd name="connsiteX707" fmla="*/ 222782 w 824741"/>
                    <a:gd name="connsiteY707" fmla="*/ 698309 h 989988"/>
                    <a:gd name="connsiteX708" fmla="*/ 197364 w 824741"/>
                    <a:gd name="connsiteY708" fmla="*/ 679889 h 989988"/>
                    <a:gd name="connsiteX709" fmla="*/ 179363 w 824741"/>
                    <a:gd name="connsiteY709" fmla="*/ 616971 h 989988"/>
                    <a:gd name="connsiteX710" fmla="*/ 244552 w 824741"/>
                    <a:gd name="connsiteY710" fmla="*/ 663262 h 989988"/>
                    <a:gd name="connsiteX711" fmla="*/ 241801 w 824741"/>
                    <a:gd name="connsiteY711" fmla="*/ 675164 h 989988"/>
                    <a:gd name="connsiteX712" fmla="*/ 177209 w 824741"/>
                    <a:gd name="connsiteY712" fmla="*/ 629052 h 989988"/>
                    <a:gd name="connsiteX713" fmla="*/ 179363 w 824741"/>
                    <a:gd name="connsiteY713" fmla="*/ 616971 h 989988"/>
                    <a:gd name="connsiteX714" fmla="*/ 275054 w 824741"/>
                    <a:gd name="connsiteY714" fmla="*/ 537129 h 989988"/>
                    <a:gd name="connsiteX715" fmla="*/ 311955 w 824741"/>
                    <a:gd name="connsiteY715" fmla="*/ 562248 h 989988"/>
                    <a:gd name="connsiteX716" fmla="*/ 308247 w 824741"/>
                    <a:gd name="connsiteY716" fmla="*/ 576243 h 989988"/>
                    <a:gd name="connsiteX717" fmla="*/ 271824 w 824741"/>
                    <a:gd name="connsiteY717" fmla="*/ 551243 h 989988"/>
                    <a:gd name="connsiteX718" fmla="*/ 275054 w 824741"/>
                    <a:gd name="connsiteY718" fmla="*/ 537129 h 989988"/>
                    <a:gd name="connsiteX719" fmla="*/ 355315 w 824741"/>
                    <a:gd name="connsiteY719" fmla="*/ 398017 h 989988"/>
                    <a:gd name="connsiteX720" fmla="*/ 399513 w 824741"/>
                    <a:gd name="connsiteY720" fmla="*/ 426605 h 989988"/>
                    <a:gd name="connsiteX721" fmla="*/ 394907 w 824741"/>
                    <a:gd name="connsiteY721" fmla="*/ 442574 h 989988"/>
                    <a:gd name="connsiteX722" fmla="*/ 351189 w 824741"/>
                    <a:gd name="connsiteY722" fmla="*/ 414105 h 989988"/>
                    <a:gd name="connsiteX723" fmla="*/ 355315 w 824741"/>
                    <a:gd name="connsiteY723" fmla="*/ 398017 h 989988"/>
                    <a:gd name="connsiteX724" fmla="*/ 560514 w 824741"/>
                    <a:gd name="connsiteY724" fmla="*/ 164410 h 989988"/>
                    <a:gd name="connsiteX725" fmla="*/ 564999 w 824741"/>
                    <a:gd name="connsiteY725" fmla="*/ 167042 h 989988"/>
                    <a:gd name="connsiteX726" fmla="*/ 559257 w 824741"/>
                    <a:gd name="connsiteY726" fmla="*/ 183848 h 989988"/>
                    <a:gd name="connsiteX727" fmla="*/ 554892 w 824741"/>
                    <a:gd name="connsiteY727" fmla="*/ 181276 h 989988"/>
                    <a:gd name="connsiteX728" fmla="*/ 560514 w 824741"/>
                    <a:gd name="connsiteY728" fmla="*/ 164410 h 989988"/>
                    <a:gd name="connsiteX729" fmla="*/ 356512 w 824741"/>
                    <a:gd name="connsiteY729" fmla="*/ 396342 h 989988"/>
                    <a:gd name="connsiteX730" fmla="*/ 369968 w 824741"/>
                    <a:gd name="connsiteY730" fmla="*/ 386116 h 989988"/>
                    <a:gd name="connsiteX731" fmla="*/ 413807 w 824741"/>
                    <a:gd name="connsiteY731" fmla="*/ 414285 h 989988"/>
                    <a:gd name="connsiteX732" fmla="*/ 400708 w 824741"/>
                    <a:gd name="connsiteY732" fmla="*/ 424871 h 989988"/>
                    <a:gd name="connsiteX733" fmla="*/ 356512 w 824741"/>
                    <a:gd name="connsiteY733" fmla="*/ 396342 h 989988"/>
                    <a:gd name="connsiteX734" fmla="*/ 176850 w 824741"/>
                    <a:gd name="connsiteY734" fmla="*/ 631265 h 989988"/>
                    <a:gd name="connsiteX735" fmla="*/ 241323 w 824741"/>
                    <a:gd name="connsiteY735" fmla="*/ 677317 h 989988"/>
                    <a:gd name="connsiteX736" fmla="*/ 237973 w 824741"/>
                    <a:gd name="connsiteY736" fmla="*/ 691790 h 989988"/>
                    <a:gd name="connsiteX737" fmla="*/ 174159 w 824741"/>
                    <a:gd name="connsiteY737" fmla="*/ 646037 h 989988"/>
                    <a:gd name="connsiteX738" fmla="*/ 176850 w 824741"/>
                    <a:gd name="connsiteY738" fmla="*/ 631265 h 989988"/>
                    <a:gd name="connsiteX739" fmla="*/ 164590 w 824741"/>
                    <a:gd name="connsiteY739" fmla="*/ 763977 h 989988"/>
                    <a:gd name="connsiteX740" fmla="*/ 186061 w 824741"/>
                    <a:gd name="connsiteY740" fmla="*/ 779946 h 989988"/>
                    <a:gd name="connsiteX741" fmla="*/ 171946 w 824741"/>
                    <a:gd name="connsiteY741" fmla="*/ 793223 h 989988"/>
                    <a:gd name="connsiteX742" fmla="*/ 160702 w 824741"/>
                    <a:gd name="connsiteY742" fmla="*/ 784790 h 989988"/>
                    <a:gd name="connsiteX743" fmla="*/ 164590 w 824741"/>
                    <a:gd name="connsiteY743" fmla="*/ 763977 h 989988"/>
                    <a:gd name="connsiteX744" fmla="*/ 223978 w 824741"/>
                    <a:gd name="connsiteY744" fmla="*/ 699086 h 989988"/>
                    <a:gd name="connsiteX745" fmla="*/ 233189 w 824741"/>
                    <a:gd name="connsiteY745" fmla="*/ 690714 h 989988"/>
                    <a:gd name="connsiteX746" fmla="*/ 237555 w 824741"/>
                    <a:gd name="connsiteY746" fmla="*/ 693823 h 989988"/>
                    <a:gd name="connsiteX747" fmla="*/ 234564 w 824741"/>
                    <a:gd name="connsiteY747" fmla="*/ 706742 h 989988"/>
                    <a:gd name="connsiteX748" fmla="*/ 223978 w 824741"/>
                    <a:gd name="connsiteY748" fmla="*/ 699086 h 989988"/>
                    <a:gd name="connsiteX749" fmla="*/ 271345 w 824741"/>
                    <a:gd name="connsiteY749" fmla="*/ 553396 h 989988"/>
                    <a:gd name="connsiteX750" fmla="*/ 307709 w 824741"/>
                    <a:gd name="connsiteY750" fmla="*/ 578396 h 989988"/>
                    <a:gd name="connsiteX751" fmla="*/ 301788 w 824741"/>
                    <a:gd name="connsiteY751" fmla="*/ 601362 h 989988"/>
                    <a:gd name="connsiteX752" fmla="*/ 266023 w 824741"/>
                    <a:gd name="connsiteY752" fmla="*/ 576601 h 989988"/>
                    <a:gd name="connsiteX753" fmla="*/ 271345 w 824741"/>
                    <a:gd name="connsiteY753" fmla="*/ 553396 h 989988"/>
                    <a:gd name="connsiteX754" fmla="*/ 215067 w 824741"/>
                    <a:gd name="connsiteY754" fmla="*/ 707220 h 989988"/>
                    <a:gd name="connsiteX755" fmla="*/ 222483 w 824741"/>
                    <a:gd name="connsiteY755" fmla="*/ 700522 h 989988"/>
                    <a:gd name="connsiteX756" fmla="*/ 234086 w 824741"/>
                    <a:gd name="connsiteY756" fmla="*/ 708835 h 989988"/>
                    <a:gd name="connsiteX757" fmla="*/ 231694 w 824741"/>
                    <a:gd name="connsiteY757" fmla="*/ 719301 h 989988"/>
                    <a:gd name="connsiteX758" fmla="*/ 215067 w 824741"/>
                    <a:gd name="connsiteY758" fmla="*/ 707220 h 989988"/>
                    <a:gd name="connsiteX759" fmla="*/ 350710 w 824741"/>
                    <a:gd name="connsiteY759" fmla="*/ 416079 h 989988"/>
                    <a:gd name="connsiteX760" fmla="*/ 394429 w 824741"/>
                    <a:gd name="connsiteY760" fmla="*/ 444487 h 989988"/>
                    <a:gd name="connsiteX761" fmla="*/ 383305 w 824741"/>
                    <a:gd name="connsiteY761" fmla="*/ 482644 h 989988"/>
                    <a:gd name="connsiteX762" fmla="*/ 340722 w 824741"/>
                    <a:gd name="connsiteY762" fmla="*/ 454535 h 989988"/>
                    <a:gd name="connsiteX763" fmla="*/ 350710 w 824741"/>
                    <a:gd name="connsiteY763" fmla="*/ 416079 h 989988"/>
                    <a:gd name="connsiteX764" fmla="*/ 566195 w 824741"/>
                    <a:gd name="connsiteY764" fmla="*/ 167759 h 989988"/>
                    <a:gd name="connsiteX765" fmla="*/ 581685 w 824741"/>
                    <a:gd name="connsiteY765" fmla="*/ 176790 h 989988"/>
                    <a:gd name="connsiteX766" fmla="*/ 566016 w 824741"/>
                    <a:gd name="connsiteY766" fmla="*/ 187914 h 989988"/>
                    <a:gd name="connsiteX767" fmla="*/ 560454 w 824741"/>
                    <a:gd name="connsiteY767" fmla="*/ 184625 h 989988"/>
                    <a:gd name="connsiteX768" fmla="*/ 566195 w 824741"/>
                    <a:gd name="connsiteY768" fmla="*/ 167759 h 989988"/>
                    <a:gd name="connsiteX769" fmla="*/ 561351 w 824741"/>
                    <a:gd name="connsiteY769" fmla="*/ 161838 h 989988"/>
                    <a:gd name="connsiteX770" fmla="*/ 584137 w 824741"/>
                    <a:gd name="connsiteY770" fmla="*/ 174996 h 989988"/>
                    <a:gd name="connsiteX771" fmla="*/ 583540 w 824741"/>
                    <a:gd name="connsiteY771" fmla="*/ 175474 h 989988"/>
                    <a:gd name="connsiteX772" fmla="*/ 561112 w 824741"/>
                    <a:gd name="connsiteY772" fmla="*/ 162436 h 989988"/>
                    <a:gd name="connsiteX773" fmla="*/ 561351 w 824741"/>
                    <a:gd name="connsiteY773" fmla="*/ 161838 h 989988"/>
                    <a:gd name="connsiteX774" fmla="*/ 166264 w 824741"/>
                    <a:gd name="connsiteY774" fmla="*/ 694182 h 989988"/>
                    <a:gd name="connsiteX775" fmla="*/ 178704 w 824741"/>
                    <a:gd name="connsiteY775" fmla="*/ 683417 h 989988"/>
                    <a:gd name="connsiteX776" fmla="*/ 231215 w 824741"/>
                    <a:gd name="connsiteY776" fmla="*/ 721395 h 989988"/>
                    <a:gd name="connsiteX777" fmla="*/ 227267 w 824741"/>
                    <a:gd name="connsiteY777" fmla="*/ 738679 h 989988"/>
                    <a:gd name="connsiteX778" fmla="*/ 166264 w 824741"/>
                    <a:gd name="connsiteY778" fmla="*/ 694182 h 989988"/>
                    <a:gd name="connsiteX779" fmla="*/ 534438 w 824741"/>
                    <a:gd name="connsiteY779" fmla="*/ 127509 h 989988"/>
                    <a:gd name="connsiteX780" fmla="*/ 598850 w 824741"/>
                    <a:gd name="connsiteY780" fmla="*/ 164589 h 989988"/>
                    <a:gd name="connsiteX781" fmla="*/ 585872 w 824741"/>
                    <a:gd name="connsiteY781" fmla="*/ 173740 h 989988"/>
                    <a:gd name="connsiteX782" fmla="*/ 530071 w 824741"/>
                    <a:gd name="connsiteY782" fmla="*/ 141324 h 989988"/>
                    <a:gd name="connsiteX783" fmla="*/ 534438 w 824741"/>
                    <a:gd name="connsiteY783" fmla="*/ 127509 h 989988"/>
                    <a:gd name="connsiteX784" fmla="*/ 508780 w 824741"/>
                    <a:gd name="connsiteY784" fmla="*/ 230377 h 989988"/>
                    <a:gd name="connsiteX785" fmla="*/ 517512 w 824741"/>
                    <a:gd name="connsiteY785" fmla="*/ 224217 h 989988"/>
                    <a:gd name="connsiteX786" fmla="*/ 553158 w 824741"/>
                    <a:gd name="connsiteY786" fmla="*/ 245449 h 989988"/>
                    <a:gd name="connsiteX787" fmla="*/ 544665 w 824741"/>
                    <a:gd name="connsiteY787" fmla="*/ 251848 h 989988"/>
                    <a:gd name="connsiteX788" fmla="*/ 508780 w 824741"/>
                    <a:gd name="connsiteY788" fmla="*/ 230377 h 989988"/>
                    <a:gd name="connsiteX789" fmla="*/ 252147 w 824741"/>
                    <a:gd name="connsiteY789" fmla="*/ 636947 h 989988"/>
                    <a:gd name="connsiteX790" fmla="*/ 286357 w 824741"/>
                    <a:gd name="connsiteY790" fmla="*/ 660989 h 989988"/>
                    <a:gd name="connsiteX791" fmla="*/ 279898 w 824741"/>
                    <a:gd name="connsiteY791" fmla="*/ 685929 h 989988"/>
                    <a:gd name="connsiteX792" fmla="*/ 246406 w 824741"/>
                    <a:gd name="connsiteY792" fmla="*/ 662066 h 989988"/>
                    <a:gd name="connsiteX793" fmla="*/ 252147 w 824741"/>
                    <a:gd name="connsiteY793" fmla="*/ 636947 h 989988"/>
                    <a:gd name="connsiteX794" fmla="*/ 245868 w 824741"/>
                    <a:gd name="connsiteY794" fmla="*/ 664219 h 989988"/>
                    <a:gd name="connsiteX795" fmla="*/ 279360 w 824741"/>
                    <a:gd name="connsiteY795" fmla="*/ 687962 h 989988"/>
                    <a:gd name="connsiteX796" fmla="*/ 276310 w 824741"/>
                    <a:gd name="connsiteY796" fmla="*/ 699804 h 989988"/>
                    <a:gd name="connsiteX797" fmla="*/ 243117 w 824741"/>
                    <a:gd name="connsiteY797" fmla="*/ 676121 h 989988"/>
                    <a:gd name="connsiteX798" fmla="*/ 245868 w 824741"/>
                    <a:gd name="connsiteY798" fmla="*/ 664219 h 989988"/>
                    <a:gd name="connsiteX799" fmla="*/ 242698 w 824741"/>
                    <a:gd name="connsiteY799" fmla="*/ 678274 h 989988"/>
                    <a:gd name="connsiteX800" fmla="*/ 275772 w 824741"/>
                    <a:gd name="connsiteY800" fmla="*/ 701898 h 989988"/>
                    <a:gd name="connsiteX801" fmla="*/ 272064 w 824741"/>
                    <a:gd name="connsiteY801" fmla="*/ 716251 h 989988"/>
                    <a:gd name="connsiteX802" fmla="*/ 239349 w 824741"/>
                    <a:gd name="connsiteY802" fmla="*/ 692747 h 989988"/>
                    <a:gd name="connsiteX803" fmla="*/ 242698 w 824741"/>
                    <a:gd name="connsiteY803" fmla="*/ 678274 h 989988"/>
                    <a:gd name="connsiteX804" fmla="*/ 424452 w 824741"/>
                    <a:gd name="connsiteY804" fmla="*/ 290304 h 989988"/>
                    <a:gd name="connsiteX805" fmla="*/ 439225 w 824741"/>
                    <a:gd name="connsiteY805" fmla="*/ 279838 h 989988"/>
                    <a:gd name="connsiteX806" fmla="*/ 476963 w 824741"/>
                    <a:gd name="connsiteY806" fmla="*/ 303043 h 989988"/>
                    <a:gd name="connsiteX807" fmla="*/ 477442 w 824741"/>
                    <a:gd name="connsiteY807" fmla="*/ 303222 h 989988"/>
                    <a:gd name="connsiteX808" fmla="*/ 477920 w 824741"/>
                    <a:gd name="connsiteY808" fmla="*/ 303462 h 989988"/>
                    <a:gd name="connsiteX809" fmla="*/ 478399 w 824741"/>
                    <a:gd name="connsiteY809" fmla="*/ 303761 h 989988"/>
                    <a:gd name="connsiteX810" fmla="*/ 478817 w 824741"/>
                    <a:gd name="connsiteY810" fmla="*/ 304120 h 989988"/>
                    <a:gd name="connsiteX811" fmla="*/ 519067 w 824741"/>
                    <a:gd name="connsiteY811" fmla="*/ 328880 h 989988"/>
                    <a:gd name="connsiteX812" fmla="*/ 474810 w 824741"/>
                    <a:gd name="connsiteY812" fmla="*/ 364824 h 989988"/>
                    <a:gd name="connsiteX813" fmla="*/ 432885 w 824741"/>
                    <a:gd name="connsiteY813" fmla="*/ 338569 h 989988"/>
                    <a:gd name="connsiteX814" fmla="*/ 433124 w 824741"/>
                    <a:gd name="connsiteY814" fmla="*/ 338389 h 989988"/>
                    <a:gd name="connsiteX815" fmla="*/ 432825 w 824741"/>
                    <a:gd name="connsiteY815" fmla="*/ 338210 h 989988"/>
                    <a:gd name="connsiteX816" fmla="*/ 432526 w 824741"/>
                    <a:gd name="connsiteY816" fmla="*/ 337970 h 989988"/>
                    <a:gd name="connsiteX817" fmla="*/ 432227 w 824741"/>
                    <a:gd name="connsiteY817" fmla="*/ 337671 h 989988"/>
                    <a:gd name="connsiteX818" fmla="*/ 431988 w 824741"/>
                    <a:gd name="connsiteY818" fmla="*/ 337373 h 989988"/>
                    <a:gd name="connsiteX819" fmla="*/ 431509 w 824741"/>
                    <a:gd name="connsiteY819" fmla="*/ 337671 h 989988"/>
                    <a:gd name="connsiteX820" fmla="*/ 392455 w 824741"/>
                    <a:gd name="connsiteY820" fmla="*/ 313091 h 989988"/>
                    <a:gd name="connsiteX821" fmla="*/ 424452 w 824741"/>
                    <a:gd name="connsiteY821" fmla="*/ 290304 h 989988"/>
                    <a:gd name="connsiteX822" fmla="*/ 424452 w 824741"/>
                    <a:gd name="connsiteY822" fmla="*/ 290304 h 989988"/>
                    <a:gd name="connsiteX823" fmla="*/ 173142 w 824741"/>
                    <a:gd name="connsiteY823" fmla="*/ 794060 h 989988"/>
                    <a:gd name="connsiteX824" fmla="*/ 187257 w 824741"/>
                    <a:gd name="connsiteY824" fmla="*/ 780723 h 989988"/>
                    <a:gd name="connsiteX825" fmla="*/ 213153 w 824741"/>
                    <a:gd name="connsiteY825" fmla="*/ 799981 h 989988"/>
                    <a:gd name="connsiteX826" fmla="*/ 208429 w 824741"/>
                    <a:gd name="connsiteY826" fmla="*/ 820495 h 989988"/>
                    <a:gd name="connsiteX827" fmla="*/ 173142 w 824741"/>
                    <a:gd name="connsiteY827" fmla="*/ 794060 h 989988"/>
                    <a:gd name="connsiteX828" fmla="*/ 313210 w 824741"/>
                    <a:gd name="connsiteY828" fmla="*/ 563205 h 989988"/>
                    <a:gd name="connsiteX829" fmla="*/ 352564 w 824741"/>
                    <a:gd name="connsiteY829" fmla="*/ 589998 h 989988"/>
                    <a:gd name="connsiteX830" fmla="*/ 348557 w 824741"/>
                    <a:gd name="connsiteY830" fmla="*/ 603933 h 989988"/>
                    <a:gd name="connsiteX831" fmla="*/ 309562 w 824741"/>
                    <a:gd name="connsiteY831" fmla="*/ 577140 h 989988"/>
                    <a:gd name="connsiteX832" fmla="*/ 313210 w 824741"/>
                    <a:gd name="connsiteY832" fmla="*/ 563205 h 989988"/>
                    <a:gd name="connsiteX833" fmla="*/ 476066 w 824741"/>
                    <a:gd name="connsiteY833" fmla="*/ 365601 h 989988"/>
                    <a:gd name="connsiteX834" fmla="*/ 519007 w 824741"/>
                    <a:gd name="connsiteY834" fmla="*/ 330734 h 989988"/>
                    <a:gd name="connsiteX835" fmla="*/ 514044 w 824741"/>
                    <a:gd name="connsiteY835" fmla="*/ 345147 h 989988"/>
                    <a:gd name="connsiteX836" fmla="*/ 483482 w 824741"/>
                    <a:gd name="connsiteY836" fmla="*/ 370326 h 989988"/>
                    <a:gd name="connsiteX837" fmla="*/ 476066 w 824741"/>
                    <a:gd name="connsiteY837" fmla="*/ 365601 h 989988"/>
                    <a:gd name="connsiteX838" fmla="*/ 584497 w 824741"/>
                    <a:gd name="connsiteY838" fmla="*/ 95452 h 989988"/>
                    <a:gd name="connsiteX839" fmla="*/ 591553 w 824741"/>
                    <a:gd name="connsiteY839" fmla="*/ 91027 h 989988"/>
                    <a:gd name="connsiteX840" fmla="*/ 653394 w 824741"/>
                    <a:gd name="connsiteY840" fmla="*/ 125834 h 989988"/>
                    <a:gd name="connsiteX841" fmla="*/ 646636 w 824741"/>
                    <a:gd name="connsiteY841" fmla="*/ 130559 h 989988"/>
                    <a:gd name="connsiteX842" fmla="*/ 584497 w 824741"/>
                    <a:gd name="connsiteY842" fmla="*/ 95452 h 989988"/>
                    <a:gd name="connsiteX843" fmla="*/ 147964 w 824741"/>
                    <a:gd name="connsiteY843" fmla="*/ 797350 h 989988"/>
                    <a:gd name="connsiteX844" fmla="*/ 159626 w 824741"/>
                    <a:gd name="connsiteY844" fmla="*/ 786525 h 989988"/>
                    <a:gd name="connsiteX845" fmla="*/ 207950 w 824741"/>
                    <a:gd name="connsiteY845" fmla="*/ 822648 h 989988"/>
                    <a:gd name="connsiteX846" fmla="*/ 204062 w 824741"/>
                    <a:gd name="connsiteY846" fmla="*/ 839574 h 989988"/>
                    <a:gd name="connsiteX847" fmla="*/ 147964 w 824741"/>
                    <a:gd name="connsiteY847" fmla="*/ 797350 h 989988"/>
                    <a:gd name="connsiteX848" fmla="*/ 309024 w 824741"/>
                    <a:gd name="connsiteY848" fmla="*/ 579233 h 989988"/>
                    <a:gd name="connsiteX849" fmla="*/ 347959 w 824741"/>
                    <a:gd name="connsiteY849" fmla="*/ 605907 h 989988"/>
                    <a:gd name="connsiteX850" fmla="*/ 341320 w 824741"/>
                    <a:gd name="connsiteY850" fmla="*/ 628694 h 989988"/>
                    <a:gd name="connsiteX851" fmla="*/ 303043 w 824741"/>
                    <a:gd name="connsiteY851" fmla="*/ 602259 h 989988"/>
                    <a:gd name="connsiteX852" fmla="*/ 309024 w 824741"/>
                    <a:gd name="connsiteY852" fmla="*/ 579233 h 989988"/>
                    <a:gd name="connsiteX853" fmla="*/ 484798 w 824741"/>
                    <a:gd name="connsiteY853" fmla="*/ 371164 h 989988"/>
                    <a:gd name="connsiteX854" fmla="*/ 510634 w 824741"/>
                    <a:gd name="connsiteY854" fmla="*/ 349813 h 989988"/>
                    <a:gd name="connsiteX855" fmla="*/ 500108 w 824741"/>
                    <a:gd name="connsiteY855" fmla="*/ 380673 h 989988"/>
                    <a:gd name="connsiteX856" fmla="*/ 484798 w 824741"/>
                    <a:gd name="connsiteY856" fmla="*/ 371164 h 989988"/>
                    <a:gd name="connsiteX857" fmla="*/ 147186 w 824741"/>
                    <a:gd name="connsiteY857" fmla="*/ 799204 h 989988"/>
                    <a:gd name="connsiteX858" fmla="*/ 203584 w 824741"/>
                    <a:gd name="connsiteY858" fmla="*/ 841547 h 989988"/>
                    <a:gd name="connsiteX859" fmla="*/ 198560 w 824741"/>
                    <a:gd name="connsiteY859" fmla="*/ 863437 h 989988"/>
                    <a:gd name="connsiteX860" fmla="*/ 143179 w 824741"/>
                    <a:gd name="connsiteY860" fmla="*/ 821572 h 989988"/>
                    <a:gd name="connsiteX861" fmla="*/ 147186 w 824741"/>
                    <a:gd name="connsiteY861" fmla="*/ 799204 h 989988"/>
                    <a:gd name="connsiteX862" fmla="*/ 142880 w 824741"/>
                    <a:gd name="connsiteY862" fmla="*/ 823785 h 989988"/>
                    <a:gd name="connsiteX863" fmla="*/ 198141 w 824741"/>
                    <a:gd name="connsiteY863" fmla="*/ 865590 h 989988"/>
                    <a:gd name="connsiteX864" fmla="*/ 196168 w 824741"/>
                    <a:gd name="connsiteY864" fmla="*/ 874262 h 989988"/>
                    <a:gd name="connsiteX865" fmla="*/ 141325 w 824741"/>
                    <a:gd name="connsiteY865" fmla="*/ 832636 h 989988"/>
                    <a:gd name="connsiteX866" fmla="*/ 142880 w 824741"/>
                    <a:gd name="connsiteY866" fmla="*/ 823785 h 989988"/>
                    <a:gd name="connsiteX867" fmla="*/ 302565 w 824741"/>
                    <a:gd name="connsiteY867" fmla="*/ 604232 h 989988"/>
                    <a:gd name="connsiteX868" fmla="*/ 340782 w 824741"/>
                    <a:gd name="connsiteY868" fmla="*/ 630667 h 989988"/>
                    <a:gd name="connsiteX869" fmla="*/ 324813 w 824741"/>
                    <a:gd name="connsiteY869" fmla="*/ 685690 h 989988"/>
                    <a:gd name="connsiteX870" fmla="*/ 289109 w 824741"/>
                    <a:gd name="connsiteY870" fmla="*/ 660511 h 989988"/>
                    <a:gd name="connsiteX871" fmla="*/ 288989 w 824741"/>
                    <a:gd name="connsiteY871" fmla="*/ 660391 h 989988"/>
                    <a:gd name="connsiteX872" fmla="*/ 288211 w 824741"/>
                    <a:gd name="connsiteY872" fmla="*/ 659853 h 989988"/>
                    <a:gd name="connsiteX873" fmla="*/ 288211 w 824741"/>
                    <a:gd name="connsiteY873" fmla="*/ 659793 h 989988"/>
                    <a:gd name="connsiteX874" fmla="*/ 288092 w 824741"/>
                    <a:gd name="connsiteY874" fmla="*/ 659614 h 989988"/>
                    <a:gd name="connsiteX875" fmla="*/ 287912 w 824741"/>
                    <a:gd name="connsiteY875" fmla="*/ 659434 h 989988"/>
                    <a:gd name="connsiteX876" fmla="*/ 287733 w 824741"/>
                    <a:gd name="connsiteY876" fmla="*/ 659195 h 989988"/>
                    <a:gd name="connsiteX877" fmla="*/ 287554 w 824741"/>
                    <a:gd name="connsiteY877" fmla="*/ 659016 h 989988"/>
                    <a:gd name="connsiteX878" fmla="*/ 287075 w 824741"/>
                    <a:gd name="connsiteY878" fmla="*/ 658358 h 989988"/>
                    <a:gd name="connsiteX879" fmla="*/ 286956 w 824741"/>
                    <a:gd name="connsiteY879" fmla="*/ 658896 h 989988"/>
                    <a:gd name="connsiteX880" fmla="*/ 252745 w 824741"/>
                    <a:gd name="connsiteY880" fmla="*/ 634734 h 989988"/>
                    <a:gd name="connsiteX881" fmla="*/ 265664 w 824741"/>
                    <a:gd name="connsiteY881" fmla="*/ 578635 h 989988"/>
                    <a:gd name="connsiteX882" fmla="*/ 301369 w 824741"/>
                    <a:gd name="connsiteY882" fmla="*/ 603335 h 989988"/>
                    <a:gd name="connsiteX883" fmla="*/ 301369 w 824741"/>
                    <a:gd name="connsiteY883" fmla="*/ 603515 h 989988"/>
                    <a:gd name="connsiteX884" fmla="*/ 301668 w 824741"/>
                    <a:gd name="connsiteY884" fmla="*/ 603814 h 989988"/>
                    <a:gd name="connsiteX885" fmla="*/ 301967 w 824741"/>
                    <a:gd name="connsiteY885" fmla="*/ 604113 h 989988"/>
                    <a:gd name="connsiteX886" fmla="*/ 302206 w 824741"/>
                    <a:gd name="connsiteY886" fmla="*/ 604531 h 989988"/>
                    <a:gd name="connsiteX887" fmla="*/ 302446 w 824741"/>
                    <a:gd name="connsiteY887" fmla="*/ 604950 h 989988"/>
                    <a:gd name="connsiteX888" fmla="*/ 302565 w 824741"/>
                    <a:gd name="connsiteY888" fmla="*/ 604232 h 989988"/>
                    <a:gd name="connsiteX889" fmla="*/ 546100 w 824741"/>
                    <a:gd name="connsiteY889" fmla="*/ 252626 h 989988"/>
                    <a:gd name="connsiteX890" fmla="*/ 554593 w 824741"/>
                    <a:gd name="connsiteY890" fmla="*/ 246226 h 989988"/>
                    <a:gd name="connsiteX891" fmla="*/ 592690 w 824741"/>
                    <a:gd name="connsiteY891" fmla="*/ 268953 h 989988"/>
                    <a:gd name="connsiteX892" fmla="*/ 584437 w 824741"/>
                    <a:gd name="connsiteY892" fmla="*/ 275651 h 989988"/>
                    <a:gd name="connsiteX893" fmla="*/ 546100 w 824741"/>
                    <a:gd name="connsiteY893" fmla="*/ 252626 h 989988"/>
                    <a:gd name="connsiteX894" fmla="*/ 341978 w 824741"/>
                    <a:gd name="connsiteY894" fmla="*/ 631564 h 989988"/>
                    <a:gd name="connsiteX895" fmla="*/ 349155 w 824741"/>
                    <a:gd name="connsiteY895" fmla="*/ 636528 h 989988"/>
                    <a:gd name="connsiteX896" fmla="*/ 338150 w 824741"/>
                    <a:gd name="connsiteY896" fmla="*/ 673429 h 989988"/>
                    <a:gd name="connsiteX897" fmla="*/ 326488 w 824741"/>
                    <a:gd name="connsiteY897" fmla="*/ 684733 h 989988"/>
                    <a:gd name="connsiteX898" fmla="*/ 341978 w 824741"/>
                    <a:gd name="connsiteY898" fmla="*/ 631564 h 989988"/>
                    <a:gd name="connsiteX899" fmla="*/ 287673 w 824741"/>
                    <a:gd name="connsiteY899" fmla="*/ 661887 h 989988"/>
                    <a:gd name="connsiteX900" fmla="*/ 324215 w 824741"/>
                    <a:gd name="connsiteY900" fmla="*/ 687663 h 989988"/>
                    <a:gd name="connsiteX901" fmla="*/ 317038 w 824741"/>
                    <a:gd name="connsiteY901" fmla="*/ 712364 h 989988"/>
                    <a:gd name="connsiteX902" fmla="*/ 281214 w 824741"/>
                    <a:gd name="connsiteY902" fmla="*/ 686886 h 989988"/>
                    <a:gd name="connsiteX903" fmla="*/ 287673 w 824741"/>
                    <a:gd name="connsiteY903" fmla="*/ 661887 h 989988"/>
                    <a:gd name="connsiteX904" fmla="*/ 280616 w 824741"/>
                    <a:gd name="connsiteY904" fmla="*/ 688920 h 989988"/>
                    <a:gd name="connsiteX905" fmla="*/ 316380 w 824741"/>
                    <a:gd name="connsiteY905" fmla="*/ 714278 h 989988"/>
                    <a:gd name="connsiteX906" fmla="*/ 312972 w 824741"/>
                    <a:gd name="connsiteY906" fmla="*/ 726000 h 989988"/>
                    <a:gd name="connsiteX907" fmla="*/ 277506 w 824741"/>
                    <a:gd name="connsiteY907" fmla="*/ 700701 h 989988"/>
                    <a:gd name="connsiteX908" fmla="*/ 280616 w 824741"/>
                    <a:gd name="connsiteY908" fmla="*/ 688920 h 989988"/>
                    <a:gd name="connsiteX909" fmla="*/ 648131 w 824741"/>
                    <a:gd name="connsiteY909" fmla="*/ 131456 h 989988"/>
                    <a:gd name="connsiteX910" fmla="*/ 654889 w 824741"/>
                    <a:gd name="connsiteY910" fmla="*/ 126672 h 989988"/>
                    <a:gd name="connsiteX911" fmla="*/ 686468 w 824741"/>
                    <a:gd name="connsiteY911" fmla="*/ 144494 h 989988"/>
                    <a:gd name="connsiteX912" fmla="*/ 679949 w 824741"/>
                    <a:gd name="connsiteY912" fmla="*/ 149458 h 989988"/>
                    <a:gd name="connsiteX913" fmla="*/ 648131 w 824741"/>
                    <a:gd name="connsiteY913" fmla="*/ 131456 h 989988"/>
                    <a:gd name="connsiteX914" fmla="*/ 277027 w 824741"/>
                    <a:gd name="connsiteY914" fmla="*/ 702794 h 989988"/>
                    <a:gd name="connsiteX915" fmla="*/ 312434 w 824741"/>
                    <a:gd name="connsiteY915" fmla="*/ 728033 h 989988"/>
                    <a:gd name="connsiteX916" fmla="*/ 308307 w 824741"/>
                    <a:gd name="connsiteY916" fmla="*/ 742208 h 989988"/>
                    <a:gd name="connsiteX917" fmla="*/ 273319 w 824741"/>
                    <a:gd name="connsiteY917" fmla="*/ 717148 h 989988"/>
                    <a:gd name="connsiteX918" fmla="*/ 277027 w 824741"/>
                    <a:gd name="connsiteY918" fmla="*/ 702794 h 989988"/>
                    <a:gd name="connsiteX919" fmla="*/ 204959 w 824741"/>
                    <a:gd name="connsiteY919" fmla="*/ 842504 h 989988"/>
                    <a:gd name="connsiteX920" fmla="*/ 233787 w 824741"/>
                    <a:gd name="connsiteY920" fmla="*/ 864155 h 989988"/>
                    <a:gd name="connsiteX921" fmla="*/ 228225 w 824741"/>
                    <a:gd name="connsiteY921" fmla="*/ 885805 h 989988"/>
                    <a:gd name="connsiteX922" fmla="*/ 199936 w 824741"/>
                    <a:gd name="connsiteY922" fmla="*/ 864394 h 989988"/>
                    <a:gd name="connsiteX923" fmla="*/ 204959 w 824741"/>
                    <a:gd name="connsiteY923" fmla="*/ 842504 h 989988"/>
                    <a:gd name="connsiteX924" fmla="*/ 350351 w 824741"/>
                    <a:gd name="connsiteY924" fmla="*/ 637365 h 989988"/>
                    <a:gd name="connsiteX925" fmla="*/ 375829 w 824741"/>
                    <a:gd name="connsiteY925" fmla="*/ 654949 h 989988"/>
                    <a:gd name="connsiteX926" fmla="*/ 350052 w 824741"/>
                    <a:gd name="connsiteY926" fmla="*/ 680427 h 989988"/>
                    <a:gd name="connsiteX927" fmla="*/ 339645 w 824741"/>
                    <a:gd name="connsiteY927" fmla="*/ 673130 h 989988"/>
                    <a:gd name="connsiteX928" fmla="*/ 350351 w 824741"/>
                    <a:gd name="connsiteY928" fmla="*/ 637365 h 989988"/>
                    <a:gd name="connsiteX929" fmla="*/ 512728 w 824741"/>
                    <a:gd name="connsiteY929" fmla="*/ 348138 h 989988"/>
                    <a:gd name="connsiteX930" fmla="*/ 514462 w 824741"/>
                    <a:gd name="connsiteY930" fmla="*/ 346702 h 989988"/>
                    <a:gd name="connsiteX931" fmla="*/ 549748 w 824741"/>
                    <a:gd name="connsiteY931" fmla="*/ 368472 h 989988"/>
                    <a:gd name="connsiteX932" fmla="*/ 536770 w 824741"/>
                    <a:gd name="connsiteY932" fmla="*/ 403699 h 989988"/>
                    <a:gd name="connsiteX933" fmla="*/ 501305 w 824741"/>
                    <a:gd name="connsiteY933" fmla="*/ 381450 h 989988"/>
                    <a:gd name="connsiteX934" fmla="*/ 512728 w 824741"/>
                    <a:gd name="connsiteY934" fmla="*/ 348138 h 989988"/>
                    <a:gd name="connsiteX935" fmla="*/ 199458 w 824741"/>
                    <a:gd name="connsiteY935" fmla="*/ 866547 h 989988"/>
                    <a:gd name="connsiteX936" fmla="*/ 227627 w 824741"/>
                    <a:gd name="connsiteY936" fmla="*/ 887898 h 989988"/>
                    <a:gd name="connsiteX937" fmla="*/ 225414 w 824741"/>
                    <a:gd name="connsiteY937" fmla="*/ 896510 h 989988"/>
                    <a:gd name="connsiteX938" fmla="*/ 197424 w 824741"/>
                    <a:gd name="connsiteY938" fmla="*/ 875219 h 989988"/>
                    <a:gd name="connsiteX939" fmla="*/ 199458 w 824741"/>
                    <a:gd name="connsiteY939" fmla="*/ 866547 h 989988"/>
                    <a:gd name="connsiteX940" fmla="*/ 238870 w 824741"/>
                    <a:gd name="connsiteY940" fmla="*/ 694840 h 989988"/>
                    <a:gd name="connsiteX941" fmla="*/ 270927 w 824741"/>
                    <a:gd name="connsiteY941" fmla="*/ 717866 h 989988"/>
                    <a:gd name="connsiteX942" fmla="*/ 271824 w 824741"/>
                    <a:gd name="connsiteY942" fmla="*/ 718105 h 989988"/>
                    <a:gd name="connsiteX943" fmla="*/ 272602 w 824741"/>
                    <a:gd name="connsiteY943" fmla="*/ 718524 h 989988"/>
                    <a:gd name="connsiteX944" fmla="*/ 273260 w 824741"/>
                    <a:gd name="connsiteY944" fmla="*/ 719122 h 989988"/>
                    <a:gd name="connsiteX945" fmla="*/ 273798 w 824741"/>
                    <a:gd name="connsiteY945" fmla="*/ 719900 h 989988"/>
                    <a:gd name="connsiteX946" fmla="*/ 307709 w 824741"/>
                    <a:gd name="connsiteY946" fmla="*/ 744301 h 989988"/>
                    <a:gd name="connsiteX947" fmla="*/ 294970 w 824741"/>
                    <a:gd name="connsiteY947" fmla="*/ 788020 h 989988"/>
                    <a:gd name="connsiteX948" fmla="*/ 261298 w 824741"/>
                    <a:gd name="connsiteY948" fmla="*/ 763499 h 989988"/>
                    <a:gd name="connsiteX949" fmla="*/ 261418 w 824741"/>
                    <a:gd name="connsiteY949" fmla="*/ 763080 h 989988"/>
                    <a:gd name="connsiteX950" fmla="*/ 261059 w 824741"/>
                    <a:gd name="connsiteY950" fmla="*/ 762901 h 989988"/>
                    <a:gd name="connsiteX951" fmla="*/ 260760 w 824741"/>
                    <a:gd name="connsiteY951" fmla="*/ 762662 h 989988"/>
                    <a:gd name="connsiteX952" fmla="*/ 260461 w 824741"/>
                    <a:gd name="connsiteY952" fmla="*/ 762422 h 989988"/>
                    <a:gd name="connsiteX953" fmla="*/ 260161 w 824741"/>
                    <a:gd name="connsiteY953" fmla="*/ 762183 h 989988"/>
                    <a:gd name="connsiteX954" fmla="*/ 260042 w 824741"/>
                    <a:gd name="connsiteY954" fmla="*/ 762602 h 989988"/>
                    <a:gd name="connsiteX955" fmla="*/ 228524 w 824741"/>
                    <a:gd name="connsiteY955" fmla="*/ 739636 h 989988"/>
                    <a:gd name="connsiteX956" fmla="*/ 238870 w 824741"/>
                    <a:gd name="connsiteY956" fmla="*/ 694840 h 989988"/>
                    <a:gd name="connsiteX957" fmla="*/ 400888 w 824741"/>
                    <a:gd name="connsiteY957" fmla="*/ 427442 h 989988"/>
                    <a:gd name="connsiteX958" fmla="*/ 486472 w 824741"/>
                    <a:gd name="connsiteY958" fmla="*/ 482644 h 989988"/>
                    <a:gd name="connsiteX959" fmla="*/ 480850 w 824741"/>
                    <a:gd name="connsiteY959" fmla="*/ 498373 h 989988"/>
                    <a:gd name="connsiteX960" fmla="*/ 396283 w 824741"/>
                    <a:gd name="connsiteY960" fmla="*/ 443291 h 989988"/>
                    <a:gd name="connsiteX961" fmla="*/ 400888 w 824741"/>
                    <a:gd name="connsiteY961" fmla="*/ 427442 h 989988"/>
                    <a:gd name="connsiteX962" fmla="*/ 402025 w 824741"/>
                    <a:gd name="connsiteY962" fmla="*/ 425768 h 989988"/>
                    <a:gd name="connsiteX963" fmla="*/ 415122 w 824741"/>
                    <a:gd name="connsiteY963" fmla="*/ 415182 h 989988"/>
                    <a:gd name="connsiteX964" fmla="*/ 499929 w 824741"/>
                    <a:gd name="connsiteY964" fmla="*/ 469606 h 989988"/>
                    <a:gd name="connsiteX965" fmla="*/ 487489 w 824741"/>
                    <a:gd name="connsiteY965" fmla="*/ 481089 h 989988"/>
                    <a:gd name="connsiteX966" fmla="*/ 402025 w 824741"/>
                    <a:gd name="connsiteY966" fmla="*/ 425768 h 989988"/>
                    <a:gd name="connsiteX967" fmla="*/ 308904 w 824741"/>
                    <a:gd name="connsiteY967" fmla="*/ 745078 h 989988"/>
                    <a:gd name="connsiteX968" fmla="*/ 315424 w 824741"/>
                    <a:gd name="connsiteY968" fmla="*/ 749683 h 989988"/>
                    <a:gd name="connsiteX969" fmla="*/ 307709 w 824741"/>
                    <a:gd name="connsiteY969" fmla="*/ 775699 h 989988"/>
                    <a:gd name="connsiteX970" fmla="*/ 296763 w 824741"/>
                    <a:gd name="connsiteY970" fmla="*/ 786943 h 989988"/>
                    <a:gd name="connsiteX971" fmla="*/ 308904 w 824741"/>
                    <a:gd name="connsiteY971" fmla="*/ 745078 h 989988"/>
                    <a:gd name="connsiteX972" fmla="*/ 633060 w 824741"/>
                    <a:gd name="connsiteY972" fmla="*/ 184984 h 989988"/>
                    <a:gd name="connsiteX973" fmla="*/ 633299 w 824741"/>
                    <a:gd name="connsiteY973" fmla="*/ 185103 h 989988"/>
                    <a:gd name="connsiteX974" fmla="*/ 633658 w 824741"/>
                    <a:gd name="connsiteY974" fmla="*/ 185223 h 989988"/>
                    <a:gd name="connsiteX975" fmla="*/ 633957 w 824741"/>
                    <a:gd name="connsiteY975" fmla="*/ 185403 h 989988"/>
                    <a:gd name="connsiteX976" fmla="*/ 634256 w 824741"/>
                    <a:gd name="connsiteY976" fmla="*/ 185582 h 989988"/>
                    <a:gd name="connsiteX977" fmla="*/ 634555 w 824741"/>
                    <a:gd name="connsiteY977" fmla="*/ 185821 h 989988"/>
                    <a:gd name="connsiteX978" fmla="*/ 635033 w 824741"/>
                    <a:gd name="connsiteY978" fmla="*/ 185522 h 989988"/>
                    <a:gd name="connsiteX979" fmla="*/ 670559 w 824741"/>
                    <a:gd name="connsiteY979" fmla="*/ 205976 h 989988"/>
                    <a:gd name="connsiteX980" fmla="*/ 639699 w 824741"/>
                    <a:gd name="connsiteY980" fmla="*/ 231035 h 989988"/>
                    <a:gd name="connsiteX981" fmla="*/ 603156 w 824741"/>
                    <a:gd name="connsiteY981" fmla="*/ 209684 h 989988"/>
                    <a:gd name="connsiteX982" fmla="*/ 603695 w 824741"/>
                    <a:gd name="connsiteY982" fmla="*/ 209266 h 989988"/>
                    <a:gd name="connsiteX983" fmla="*/ 603335 w 824741"/>
                    <a:gd name="connsiteY983" fmla="*/ 209146 h 989988"/>
                    <a:gd name="connsiteX984" fmla="*/ 602977 w 824741"/>
                    <a:gd name="connsiteY984" fmla="*/ 208907 h 989988"/>
                    <a:gd name="connsiteX985" fmla="*/ 602618 w 824741"/>
                    <a:gd name="connsiteY985" fmla="*/ 208727 h 989988"/>
                    <a:gd name="connsiteX986" fmla="*/ 602319 w 824741"/>
                    <a:gd name="connsiteY986" fmla="*/ 208488 h 989988"/>
                    <a:gd name="connsiteX987" fmla="*/ 601840 w 824741"/>
                    <a:gd name="connsiteY987" fmla="*/ 208787 h 989988"/>
                    <a:gd name="connsiteX988" fmla="*/ 567690 w 824741"/>
                    <a:gd name="connsiteY988" fmla="*/ 188811 h 989988"/>
                    <a:gd name="connsiteX989" fmla="*/ 600465 w 824741"/>
                    <a:gd name="connsiteY989" fmla="*/ 165547 h 989988"/>
                    <a:gd name="connsiteX990" fmla="*/ 633718 w 824741"/>
                    <a:gd name="connsiteY990" fmla="*/ 184685 h 989988"/>
                    <a:gd name="connsiteX991" fmla="*/ 633060 w 824741"/>
                    <a:gd name="connsiteY991" fmla="*/ 184984 h 989988"/>
                    <a:gd name="connsiteX992" fmla="*/ 640954 w 824741"/>
                    <a:gd name="connsiteY992" fmla="*/ 231633 h 989988"/>
                    <a:gd name="connsiteX993" fmla="*/ 670320 w 824741"/>
                    <a:gd name="connsiteY993" fmla="*/ 207770 h 989988"/>
                    <a:gd name="connsiteX994" fmla="*/ 665117 w 824741"/>
                    <a:gd name="connsiteY994" fmla="*/ 220629 h 989988"/>
                    <a:gd name="connsiteX995" fmla="*/ 647294 w 824741"/>
                    <a:gd name="connsiteY995" fmla="*/ 235341 h 989988"/>
                    <a:gd name="connsiteX996" fmla="*/ 640954 w 824741"/>
                    <a:gd name="connsiteY996" fmla="*/ 231633 h 989988"/>
                    <a:gd name="connsiteX997" fmla="*/ 395685 w 824741"/>
                    <a:gd name="connsiteY997" fmla="*/ 445265 h 989988"/>
                    <a:gd name="connsiteX998" fmla="*/ 480192 w 824741"/>
                    <a:gd name="connsiteY998" fmla="*/ 500227 h 989988"/>
                    <a:gd name="connsiteX999" fmla="*/ 466856 w 824741"/>
                    <a:gd name="connsiteY999" fmla="*/ 537727 h 989988"/>
                    <a:gd name="connsiteX1000" fmla="*/ 384561 w 824741"/>
                    <a:gd name="connsiteY1000" fmla="*/ 483481 h 989988"/>
                    <a:gd name="connsiteX1001" fmla="*/ 395685 w 824741"/>
                    <a:gd name="connsiteY1001" fmla="*/ 445265 h 989988"/>
                    <a:gd name="connsiteX1002" fmla="*/ 472597 w 824741"/>
                    <a:gd name="connsiteY1002" fmla="*/ 366499 h 989988"/>
                    <a:gd name="connsiteX1003" fmla="*/ 472776 w 824741"/>
                    <a:gd name="connsiteY1003" fmla="*/ 366558 h 989988"/>
                    <a:gd name="connsiteX1004" fmla="*/ 473016 w 824741"/>
                    <a:gd name="connsiteY1004" fmla="*/ 366678 h 989988"/>
                    <a:gd name="connsiteX1005" fmla="*/ 473255 w 824741"/>
                    <a:gd name="connsiteY1005" fmla="*/ 366798 h 989988"/>
                    <a:gd name="connsiteX1006" fmla="*/ 473554 w 824741"/>
                    <a:gd name="connsiteY1006" fmla="*/ 366917 h 989988"/>
                    <a:gd name="connsiteX1007" fmla="*/ 473793 w 824741"/>
                    <a:gd name="connsiteY1007" fmla="*/ 367037 h 989988"/>
                    <a:gd name="connsiteX1008" fmla="*/ 474032 w 824741"/>
                    <a:gd name="connsiteY1008" fmla="*/ 367276 h 989988"/>
                    <a:gd name="connsiteX1009" fmla="*/ 474451 w 824741"/>
                    <a:gd name="connsiteY1009" fmla="*/ 366977 h 989988"/>
                    <a:gd name="connsiteX1010" fmla="*/ 555609 w 824741"/>
                    <a:gd name="connsiteY1010" fmla="*/ 417813 h 989988"/>
                    <a:gd name="connsiteX1011" fmla="*/ 501305 w 824741"/>
                    <a:gd name="connsiteY1011" fmla="*/ 468291 h 989988"/>
                    <a:gd name="connsiteX1012" fmla="*/ 416737 w 824741"/>
                    <a:gd name="connsiteY1012" fmla="*/ 413926 h 989988"/>
                    <a:gd name="connsiteX1013" fmla="*/ 417036 w 824741"/>
                    <a:gd name="connsiteY1013" fmla="*/ 413627 h 989988"/>
                    <a:gd name="connsiteX1014" fmla="*/ 416617 w 824741"/>
                    <a:gd name="connsiteY1014" fmla="*/ 413447 h 989988"/>
                    <a:gd name="connsiteX1015" fmla="*/ 416259 w 824741"/>
                    <a:gd name="connsiteY1015" fmla="*/ 413208 h 989988"/>
                    <a:gd name="connsiteX1016" fmla="*/ 415720 w 824741"/>
                    <a:gd name="connsiteY1016" fmla="*/ 412789 h 989988"/>
                    <a:gd name="connsiteX1017" fmla="*/ 415421 w 824741"/>
                    <a:gd name="connsiteY1017" fmla="*/ 413088 h 989988"/>
                    <a:gd name="connsiteX1018" fmla="*/ 373197 w 824741"/>
                    <a:gd name="connsiteY1018" fmla="*/ 385936 h 989988"/>
                    <a:gd name="connsiteX1019" fmla="*/ 372241 w 824741"/>
                    <a:gd name="connsiteY1019" fmla="*/ 385757 h 989988"/>
                    <a:gd name="connsiteX1020" fmla="*/ 371344 w 824741"/>
                    <a:gd name="connsiteY1020" fmla="*/ 385338 h 989988"/>
                    <a:gd name="connsiteX1021" fmla="*/ 370626 w 824741"/>
                    <a:gd name="connsiteY1021" fmla="*/ 384740 h 989988"/>
                    <a:gd name="connsiteX1022" fmla="*/ 369968 w 824741"/>
                    <a:gd name="connsiteY1022" fmla="*/ 383962 h 989988"/>
                    <a:gd name="connsiteX1023" fmla="*/ 330435 w 824741"/>
                    <a:gd name="connsiteY1023" fmla="*/ 358544 h 989988"/>
                    <a:gd name="connsiteX1024" fmla="*/ 329717 w 824741"/>
                    <a:gd name="connsiteY1024" fmla="*/ 358305 h 989988"/>
                    <a:gd name="connsiteX1025" fmla="*/ 329059 w 824741"/>
                    <a:gd name="connsiteY1025" fmla="*/ 357946 h 989988"/>
                    <a:gd name="connsiteX1026" fmla="*/ 328521 w 824741"/>
                    <a:gd name="connsiteY1026" fmla="*/ 357468 h 989988"/>
                    <a:gd name="connsiteX1027" fmla="*/ 328043 w 824741"/>
                    <a:gd name="connsiteY1027" fmla="*/ 356870 h 989988"/>
                    <a:gd name="connsiteX1028" fmla="*/ 327923 w 824741"/>
                    <a:gd name="connsiteY1028" fmla="*/ 356930 h 989988"/>
                    <a:gd name="connsiteX1029" fmla="*/ 248859 w 824741"/>
                    <a:gd name="connsiteY1029" fmla="*/ 306093 h 989988"/>
                    <a:gd name="connsiteX1030" fmla="*/ 249037 w 824741"/>
                    <a:gd name="connsiteY1030" fmla="*/ 306034 h 989988"/>
                    <a:gd name="connsiteX1031" fmla="*/ 248679 w 824741"/>
                    <a:gd name="connsiteY1031" fmla="*/ 305794 h 989988"/>
                    <a:gd name="connsiteX1032" fmla="*/ 248320 w 824741"/>
                    <a:gd name="connsiteY1032" fmla="*/ 305495 h 989988"/>
                    <a:gd name="connsiteX1033" fmla="*/ 247961 w 824741"/>
                    <a:gd name="connsiteY1033" fmla="*/ 305196 h 989988"/>
                    <a:gd name="connsiteX1034" fmla="*/ 247662 w 824741"/>
                    <a:gd name="connsiteY1034" fmla="*/ 304837 h 989988"/>
                    <a:gd name="connsiteX1035" fmla="*/ 247303 w 824741"/>
                    <a:gd name="connsiteY1035" fmla="*/ 305076 h 989988"/>
                    <a:gd name="connsiteX1036" fmla="*/ 206634 w 824741"/>
                    <a:gd name="connsiteY1036" fmla="*/ 278881 h 989988"/>
                    <a:gd name="connsiteX1037" fmla="*/ 207352 w 824741"/>
                    <a:gd name="connsiteY1037" fmla="*/ 278463 h 989988"/>
                    <a:gd name="connsiteX1038" fmla="*/ 206934 w 824741"/>
                    <a:gd name="connsiteY1038" fmla="*/ 278223 h 989988"/>
                    <a:gd name="connsiteX1039" fmla="*/ 206574 w 824741"/>
                    <a:gd name="connsiteY1039" fmla="*/ 277924 h 989988"/>
                    <a:gd name="connsiteX1040" fmla="*/ 206216 w 824741"/>
                    <a:gd name="connsiteY1040" fmla="*/ 277565 h 989988"/>
                    <a:gd name="connsiteX1041" fmla="*/ 205917 w 824741"/>
                    <a:gd name="connsiteY1041" fmla="*/ 277206 h 989988"/>
                    <a:gd name="connsiteX1042" fmla="*/ 204959 w 824741"/>
                    <a:gd name="connsiteY1042" fmla="*/ 277745 h 989988"/>
                    <a:gd name="connsiteX1043" fmla="*/ 166982 w 824741"/>
                    <a:gd name="connsiteY1043" fmla="*/ 253343 h 989988"/>
                    <a:gd name="connsiteX1044" fmla="*/ 167341 w 824741"/>
                    <a:gd name="connsiteY1044" fmla="*/ 253104 h 989988"/>
                    <a:gd name="connsiteX1045" fmla="*/ 166802 w 824741"/>
                    <a:gd name="connsiteY1045" fmla="*/ 252985 h 989988"/>
                    <a:gd name="connsiteX1046" fmla="*/ 166264 w 824741"/>
                    <a:gd name="connsiteY1046" fmla="*/ 252745 h 989988"/>
                    <a:gd name="connsiteX1047" fmla="*/ 165726 w 824741"/>
                    <a:gd name="connsiteY1047" fmla="*/ 252506 h 989988"/>
                    <a:gd name="connsiteX1048" fmla="*/ 165247 w 824741"/>
                    <a:gd name="connsiteY1048" fmla="*/ 252267 h 989988"/>
                    <a:gd name="connsiteX1049" fmla="*/ 91326 w 824741"/>
                    <a:gd name="connsiteY1049" fmla="*/ 204720 h 989988"/>
                    <a:gd name="connsiteX1050" fmla="*/ 160822 w 824741"/>
                    <a:gd name="connsiteY1050" fmla="*/ 170570 h 989988"/>
                    <a:gd name="connsiteX1051" fmla="*/ 229660 w 824741"/>
                    <a:gd name="connsiteY1051" fmla="*/ 213691 h 989988"/>
                    <a:gd name="connsiteX1052" fmla="*/ 229780 w 824741"/>
                    <a:gd name="connsiteY1052" fmla="*/ 213811 h 989988"/>
                    <a:gd name="connsiteX1053" fmla="*/ 232232 w 824741"/>
                    <a:gd name="connsiteY1053" fmla="*/ 215306 h 989988"/>
                    <a:gd name="connsiteX1054" fmla="*/ 231933 w 824741"/>
                    <a:gd name="connsiteY1054" fmla="*/ 215426 h 989988"/>
                    <a:gd name="connsiteX1055" fmla="*/ 232352 w 824741"/>
                    <a:gd name="connsiteY1055" fmla="*/ 215665 h 989988"/>
                    <a:gd name="connsiteX1056" fmla="*/ 232710 w 824741"/>
                    <a:gd name="connsiteY1056" fmla="*/ 215964 h 989988"/>
                    <a:gd name="connsiteX1057" fmla="*/ 233069 w 824741"/>
                    <a:gd name="connsiteY1057" fmla="*/ 216263 h 989988"/>
                    <a:gd name="connsiteX1058" fmla="*/ 233368 w 824741"/>
                    <a:gd name="connsiteY1058" fmla="*/ 216622 h 989988"/>
                    <a:gd name="connsiteX1059" fmla="*/ 233907 w 824741"/>
                    <a:gd name="connsiteY1059" fmla="*/ 216323 h 989988"/>
                    <a:gd name="connsiteX1060" fmla="*/ 270509 w 824741"/>
                    <a:gd name="connsiteY1060" fmla="*/ 239229 h 989988"/>
                    <a:gd name="connsiteX1061" fmla="*/ 269432 w 824741"/>
                    <a:gd name="connsiteY1061" fmla="*/ 239887 h 989988"/>
                    <a:gd name="connsiteX1062" fmla="*/ 269791 w 824741"/>
                    <a:gd name="connsiteY1062" fmla="*/ 240186 h 989988"/>
                    <a:gd name="connsiteX1063" fmla="*/ 270150 w 824741"/>
                    <a:gd name="connsiteY1063" fmla="*/ 240485 h 989988"/>
                    <a:gd name="connsiteX1064" fmla="*/ 270509 w 824741"/>
                    <a:gd name="connsiteY1064" fmla="*/ 240844 h 989988"/>
                    <a:gd name="connsiteX1065" fmla="*/ 270807 w 824741"/>
                    <a:gd name="connsiteY1065" fmla="*/ 241202 h 989988"/>
                    <a:gd name="connsiteX1066" fmla="*/ 272183 w 824741"/>
                    <a:gd name="connsiteY1066" fmla="*/ 240365 h 989988"/>
                    <a:gd name="connsiteX1067" fmla="*/ 311357 w 824741"/>
                    <a:gd name="connsiteY1067" fmla="*/ 264946 h 989988"/>
                    <a:gd name="connsiteX1068" fmla="*/ 310759 w 824741"/>
                    <a:gd name="connsiteY1068" fmla="*/ 265305 h 989988"/>
                    <a:gd name="connsiteX1069" fmla="*/ 311117 w 824741"/>
                    <a:gd name="connsiteY1069" fmla="*/ 265604 h 989988"/>
                    <a:gd name="connsiteX1070" fmla="*/ 311417 w 824741"/>
                    <a:gd name="connsiteY1070" fmla="*/ 265903 h 989988"/>
                    <a:gd name="connsiteX1071" fmla="*/ 311715 w 824741"/>
                    <a:gd name="connsiteY1071" fmla="*/ 266202 h 989988"/>
                    <a:gd name="connsiteX1072" fmla="*/ 312015 w 824741"/>
                    <a:gd name="connsiteY1072" fmla="*/ 266501 h 989988"/>
                    <a:gd name="connsiteX1073" fmla="*/ 312972 w 824741"/>
                    <a:gd name="connsiteY1073" fmla="*/ 265903 h 989988"/>
                    <a:gd name="connsiteX1074" fmla="*/ 331811 w 824741"/>
                    <a:gd name="connsiteY1074" fmla="*/ 277685 h 989988"/>
                    <a:gd name="connsiteX1075" fmla="*/ 389106 w 824741"/>
                    <a:gd name="connsiteY1075" fmla="*/ 313510 h 989988"/>
                    <a:gd name="connsiteX1076" fmla="*/ 387611 w 824741"/>
                    <a:gd name="connsiteY1076" fmla="*/ 314586 h 989988"/>
                    <a:gd name="connsiteX1077" fmla="*/ 387969 w 824741"/>
                    <a:gd name="connsiteY1077" fmla="*/ 314825 h 989988"/>
                    <a:gd name="connsiteX1078" fmla="*/ 388269 w 824741"/>
                    <a:gd name="connsiteY1078" fmla="*/ 315065 h 989988"/>
                    <a:gd name="connsiteX1079" fmla="*/ 388568 w 824741"/>
                    <a:gd name="connsiteY1079" fmla="*/ 315364 h 989988"/>
                    <a:gd name="connsiteX1080" fmla="*/ 388867 w 824741"/>
                    <a:gd name="connsiteY1080" fmla="*/ 315662 h 989988"/>
                    <a:gd name="connsiteX1081" fmla="*/ 390541 w 824741"/>
                    <a:gd name="connsiteY1081" fmla="*/ 314466 h 989988"/>
                    <a:gd name="connsiteX1082" fmla="*/ 428758 w 824741"/>
                    <a:gd name="connsiteY1082" fmla="*/ 338389 h 989988"/>
                    <a:gd name="connsiteX1083" fmla="*/ 429356 w 824741"/>
                    <a:gd name="connsiteY1083" fmla="*/ 338688 h 989988"/>
                    <a:gd name="connsiteX1084" fmla="*/ 429954 w 824741"/>
                    <a:gd name="connsiteY1084" fmla="*/ 339047 h 989988"/>
                    <a:gd name="connsiteX1085" fmla="*/ 430493 w 824741"/>
                    <a:gd name="connsiteY1085" fmla="*/ 339525 h 989988"/>
                    <a:gd name="connsiteX1086" fmla="*/ 430971 w 824741"/>
                    <a:gd name="connsiteY1086" fmla="*/ 340064 h 989988"/>
                    <a:gd name="connsiteX1087" fmla="*/ 431151 w 824741"/>
                    <a:gd name="connsiteY1087" fmla="*/ 339944 h 989988"/>
                    <a:gd name="connsiteX1088" fmla="*/ 473136 w 824741"/>
                    <a:gd name="connsiteY1088" fmla="*/ 366200 h 989988"/>
                    <a:gd name="connsiteX1089" fmla="*/ 472597 w 824741"/>
                    <a:gd name="connsiteY1089" fmla="*/ 366499 h 989988"/>
                    <a:gd name="connsiteX1090" fmla="*/ 141146 w 824741"/>
                    <a:gd name="connsiteY1090" fmla="*/ 325411 h 989988"/>
                    <a:gd name="connsiteX1091" fmla="*/ 264707 w 824741"/>
                    <a:gd name="connsiteY1091" fmla="*/ 406809 h 989988"/>
                    <a:gd name="connsiteX1092" fmla="*/ 297780 w 824741"/>
                    <a:gd name="connsiteY1092" fmla="*/ 428579 h 989988"/>
                    <a:gd name="connsiteX1093" fmla="*/ 299216 w 824741"/>
                    <a:gd name="connsiteY1093" fmla="*/ 429535 h 989988"/>
                    <a:gd name="connsiteX1094" fmla="*/ 321405 w 824741"/>
                    <a:gd name="connsiteY1094" fmla="*/ 444188 h 989988"/>
                    <a:gd name="connsiteX1095" fmla="*/ 357050 w 824741"/>
                    <a:gd name="connsiteY1095" fmla="*/ 467692 h 989988"/>
                    <a:gd name="connsiteX1096" fmla="*/ 382707 w 824741"/>
                    <a:gd name="connsiteY1096" fmla="*/ 484618 h 989988"/>
                    <a:gd name="connsiteX1097" fmla="*/ 384023 w 824741"/>
                    <a:gd name="connsiteY1097" fmla="*/ 485455 h 989988"/>
                    <a:gd name="connsiteX1098" fmla="*/ 466198 w 824741"/>
                    <a:gd name="connsiteY1098" fmla="*/ 539581 h 989988"/>
                    <a:gd name="connsiteX1099" fmla="*/ 447956 w 824741"/>
                    <a:gd name="connsiteY1099" fmla="*/ 592092 h 989988"/>
                    <a:gd name="connsiteX1100" fmla="*/ 368951 w 824741"/>
                    <a:gd name="connsiteY1100" fmla="*/ 538983 h 989988"/>
                    <a:gd name="connsiteX1101" fmla="*/ 367636 w 824741"/>
                    <a:gd name="connsiteY1101" fmla="*/ 538145 h 989988"/>
                    <a:gd name="connsiteX1102" fmla="*/ 326787 w 824741"/>
                    <a:gd name="connsiteY1102" fmla="*/ 510634 h 989988"/>
                    <a:gd name="connsiteX1103" fmla="*/ 325411 w 824741"/>
                    <a:gd name="connsiteY1103" fmla="*/ 509737 h 989988"/>
                    <a:gd name="connsiteX1104" fmla="*/ 297900 w 824741"/>
                    <a:gd name="connsiteY1104" fmla="*/ 491196 h 989988"/>
                    <a:gd name="connsiteX1105" fmla="*/ 261597 w 824741"/>
                    <a:gd name="connsiteY1105" fmla="*/ 466795 h 989988"/>
                    <a:gd name="connsiteX1106" fmla="*/ 211718 w 824741"/>
                    <a:gd name="connsiteY1106" fmla="*/ 433303 h 989988"/>
                    <a:gd name="connsiteX1107" fmla="*/ 210223 w 824741"/>
                    <a:gd name="connsiteY1107" fmla="*/ 432287 h 989988"/>
                    <a:gd name="connsiteX1108" fmla="*/ 184984 w 824741"/>
                    <a:gd name="connsiteY1108" fmla="*/ 415301 h 989988"/>
                    <a:gd name="connsiteX1109" fmla="*/ 134686 w 824741"/>
                    <a:gd name="connsiteY1109" fmla="*/ 381570 h 989988"/>
                    <a:gd name="connsiteX1110" fmla="*/ 141146 w 824741"/>
                    <a:gd name="connsiteY1110" fmla="*/ 325411 h 989988"/>
                    <a:gd name="connsiteX1111" fmla="*/ 312254 w 824741"/>
                    <a:gd name="connsiteY1111" fmla="*/ 765174 h 989988"/>
                    <a:gd name="connsiteX1112" fmla="*/ 330914 w 824741"/>
                    <a:gd name="connsiteY1112" fmla="*/ 778630 h 989988"/>
                    <a:gd name="connsiteX1113" fmla="*/ 323856 w 824741"/>
                    <a:gd name="connsiteY1113" fmla="*/ 786046 h 989988"/>
                    <a:gd name="connsiteX1114" fmla="*/ 309204 w 824741"/>
                    <a:gd name="connsiteY1114" fmla="*/ 775400 h 989988"/>
                    <a:gd name="connsiteX1115" fmla="*/ 312254 w 824741"/>
                    <a:gd name="connsiteY1115" fmla="*/ 765174 h 989988"/>
                    <a:gd name="connsiteX1116" fmla="*/ 681324 w 824741"/>
                    <a:gd name="connsiteY1116" fmla="*/ 150295 h 989988"/>
                    <a:gd name="connsiteX1117" fmla="*/ 687843 w 824741"/>
                    <a:gd name="connsiteY1117" fmla="*/ 145332 h 989988"/>
                    <a:gd name="connsiteX1118" fmla="*/ 721574 w 824741"/>
                    <a:gd name="connsiteY1118" fmla="*/ 164350 h 989988"/>
                    <a:gd name="connsiteX1119" fmla="*/ 715235 w 824741"/>
                    <a:gd name="connsiteY1119" fmla="*/ 169553 h 989988"/>
                    <a:gd name="connsiteX1120" fmla="*/ 681324 w 824741"/>
                    <a:gd name="connsiteY1120" fmla="*/ 150295 h 989988"/>
                    <a:gd name="connsiteX1121" fmla="*/ 316620 w 824741"/>
                    <a:gd name="connsiteY1121" fmla="*/ 750640 h 989988"/>
                    <a:gd name="connsiteX1122" fmla="*/ 340961 w 824741"/>
                    <a:gd name="connsiteY1122" fmla="*/ 768044 h 989988"/>
                    <a:gd name="connsiteX1123" fmla="*/ 332229 w 824741"/>
                    <a:gd name="connsiteY1123" fmla="*/ 777195 h 989988"/>
                    <a:gd name="connsiteX1124" fmla="*/ 312852 w 824741"/>
                    <a:gd name="connsiteY1124" fmla="*/ 763140 h 989988"/>
                    <a:gd name="connsiteX1125" fmla="*/ 316620 w 824741"/>
                    <a:gd name="connsiteY1125" fmla="*/ 750640 h 989988"/>
                    <a:gd name="connsiteX1126" fmla="*/ 245629 w 824741"/>
                    <a:gd name="connsiteY1126" fmla="*/ 824084 h 989988"/>
                    <a:gd name="connsiteX1127" fmla="*/ 277566 w 824741"/>
                    <a:gd name="connsiteY1127" fmla="*/ 847767 h 989988"/>
                    <a:gd name="connsiteX1128" fmla="*/ 266382 w 824741"/>
                    <a:gd name="connsiteY1128" fmla="*/ 886343 h 989988"/>
                    <a:gd name="connsiteX1129" fmla="*/ 236298 w 824741"/>
                    <a:gd name="connsiteY1129" fmla="*/ 863676 h 989988"/>
                    <a:gd name="connsiteX1130" fmla="*/ 235700 w 824741"/>
                    <a:gd name="connsiteY1130" fmla="*/ 863556 h 989988"/>
                    <a:gd name="connsiteX1131" fmla="*/ 234983 w 824741"/>
                    <a:gd name="connsiteY1131" fmla="*/ 863317 h 989988"/>
                    <a:gd name="connsiteX1132" fmla="*/ 234385 w 824741"/>
                    <a:gd name="connsiteY1132" fmla="*/ 862898 h 989988"/>
                    <a:gd name="connsiteX1133" fmla="*/ 233907 w 824741"/>
                    <a:gd name="connsiteY1133" fmla="*/ 862360 h 989988"/>
                    <a:gd name="connsiteX1134" fmla="*/ 233548 w 824741"/>
                    <a:gd name="connsiteY1134" fmla="*/ 861702 h 989988"/>
                    <a:gd name="connsiteX1135" fmla="*/ 205379 w 824741"/>
                    <a:gd name="connsiteY1135" fmla="*/ 840531 h 989988"/>
                    <a:gd name="connsiteX1136" fmla="*/ 214469 w 824741"/>
                    <a:gd name="connsiteY1136" fmla="*/ 801058 h 989988"/>
                    <a:gd name="connsiteX1137" fmla="*/ 244432 w 824741"/>
                    <a:gd name="connsiteY1137" fmla="*/ 823186 h 989988"/>
                    <a:gd name="connsiteX1138" fmla="*/ 244253 w 824741"/>
                    <a:gd name="connsiteY1138" fmla="*/ 823785 h 989988"/>
                    <a:gd name="connsiteX1139" fmla="*/ 244612 w 824741"/>
                    <a:gd name="connsiteY1139" fmla="*/ 823964 h 989988"/>
                    <a:gd name="connsiteX1140" fmla="*/ 244911 w 824741"/>
                    <a:gd name="connsiteY1140" fmla="*/ 824203 h 989988"/>
                    <a:gd name="connsiteX1141" fmla="*/ 245210 w 824741"/>
                    <a:gd name="connsiteY1141" fmla="*/ 824502 h 989988"/>
                    <a:gd name="connsiteX1142" fmla="*/ 245509 w 824741"/>
                    <a:gd name="connsiteY1142" fmla="*/ 824801 h 989988"/>
                    <a:gd name="connsiteX1143" fmla="*/ 245629 w 824741"/>
                    <a:gd name="connsiteY1143" fmla="*/ 824084 h 989988"/>
                    <a:gd name="connsiteX1144" fmla="*/ 550944 w 824741"/>
                    <a:gd name="connsiteY1144" fmla="*/ 369190 h 989988"/>
                    <a:gd name="connsiteX1145" fmla="*/ 585154 w 824741"/>
                    <a:gd name="connsiteY1145" fmla="*/ 390362 h 989988"/>
                    <a:gd name="connsiteX1146" fmla="*/ 557045 w 824741"/>
                    <a:gd name="connsiteY1146" fmla="*/ 416437 h 989988"/>
                    <a:gd name="connsiteX1147" fmla="*/ 537966 w 824741"/>
                    <a:gd name="connsiteY1147" fmla="*/ 404417 h 989988"/>
                    <a:gd name="connsiteX1148" fmla="*/ 550944 w 824741"/>
                    <a:gd name="connsiteY1148" fmla="*/ 369190 h 989988"/>
                    <a:gd name="connsiteX1149" fmla="*/ 278821 w 824741"/>
                    <a:gd name="connsiteY1149" fmla="*/ 848604 h 989988"/>
                    <a:gd name="connsiteX1150" fmla="*/ 284623 w 824741"/>
                    <a:gd name="connsiteY1150" fmla="*/ 852971 h 989988"/>
                    <a:gd name="connsiteX1151" fmla="*/ 278283 w 824741"/>
                    <a:gd name="connsiteY1151" fmla="*/ 874142 h 989988"/>
                    <a:gd name="connsiteX1152" fmla="*/ 268116 w 824741"/>
                    <a:gd name="connsiteY1152" fmla="*/ 885147 h 989988"/>
                    <a:gd name="connsiteX1153" fmla="*/ 278821 w 824741"/>
                    <a:gd name="connsiteY1153" fmla="*/ 848604 h 989988"/>
                    <a:gd name="connsiteX1154" fmla="*/ 664877 w 824741"/>
                    <a:gd name="connsiteY1154" fmla="*/ 222782 h 989988"/>
                    <a:gd name="connsiteX1155" fmla="*/ 665535 w 824741"/>
                    <a:gd name="connsiteY1155" fmla="*/ 222244 h 989988"/>
                    <a:gd name="connsiteX1156" fmla="*/ 687544 w 824741"/>
                    <a:gd name="connsiteY1156" fmla="*/ 234983 h 989988"/>
                    <a:gd name="connsiteX1157" fmla="*/ 687245 w 824741"/>
                    <a:gd name="connsiteY1157" fmla="*/ 235760 h 989988"/>
                    <a:gd name="connsiteX1158" fmla="*/ 664877 w 824741"/>
                    <a:gd name="connsiteY1158" fmla="*/ 222782 h 989988"/>
                    <a:gd name="connsiteX1159" fmla="*/ 235043 w 824741"/>
                    <a:gd name="connsiteY1159" fmla="*/ 865171 h 989988"/>
                    <a:gd name="connsiteX1160" fmla="*/ 265784 w 824741"/>
                    <a:gd name="connsiteY1160" fmla="*/ 888317 h 989988"/>
                    <a:gd name="connsiteX1161" fmla="*/ 259564 w 824741"/>
                    <a:gd name="connsiteY1161" fmla="*/ 909668 h 989988"/>
                    <a:gd name="connsiteX1162" fmla="*/ 229421 w 824741"/>
                    <a:gd name="connsiteY1162" fmla="*/ 886821 h 989988"/>
                    <a:gd name="connsiteX1163" fmla="*/ 235043 w 824741"/>
                    <a:gd name="connsiteY1163" fmla="*/ 865171 h 989988"/>
                    <a:gd name="connsiteX1164" fmla="*/ 368353 w 824741"/>
                    <a:gd name="connsiteY1164" fmla="*/ 541016 h 989988"/>
                    <a:gd name="connsiteX1165" fmla="*/ 447298 w 824741"/>
                    <a:gd name="connsiteY1165" fmla="*/ 594005 h 989988"/>
                    <a:gd name="connsiteX1166" fmla="*/ 430553 w 824741"/>
                    <a:gd name="connsiteY1166" fmla="*/ 641014 h 989988"/>
                    <a:gd name="connsiteX1167" fmla="*/ 332887 w 824741"/>
                    <a:gd name="connsiteY1167" fmla="*/ 574269 h 989988"/>
                    <a:gd name="connsiteX1168" fmla="*/ 313809 w 824741"/>
                    <a:gd name="connsiteY1168" fmla="*/ 561171 h 989988"/>
                    <a:gd name="connsiteX1169" fmla="*/ 312493 w 824741"/>
                    <a:gd name="connsiteY1169" fmla="*/ 560274 h 989988"/>
                    <a:gd name="connsiteX1170" fmla="*/ 299395 w 824741"/>
                    <a:gd name="connsiteY1170" fmla="*/ 551303 h 989988"/>
                    <a:gd name="connsiteX1171" fmla="*/ 238332 w 824741"/>
                    <a:gd name="connsiteY1171" fmla="*/ 509557 h 989988"/>
                    <a:gd name="connsiteX1172" fmla="*/ 202687 w 824741"/>
                    <a:gd name="connsiteY1172" fmla="*/ 485216 h 989988"/>
                    <a:gd name="connsiteX1173" fmla="*/ 201251 w 824741"/>
                    <a:gd name="connsiteY1173" fmla="*/ 484199 h 989988"/>
                    <a:gd name="connsiteX1174" fmla="*/ 171707 w 824741"/>
                    <a:gd name="connsiteY1174" fmla="*/ 464044 h 989988"/>
                    <a:gd name="connsiteX1175" fmla="*/ 59329 w 824741"/>
                    <a:gd name="connsiteY1175" fmla="*/ 387252 h 989988"/>
                    <a:gd name="connsiteX1176" fmla="*/ 63456 w 824741"/>
                    <a:gd name="connsiteY1176" fmla="*/ 336296 h 989988"/>
                    <a:gd name="connsiteX1177" fmla="*/ 132892 w 824741"/>
                    <a:gd name="connsiteY1177" fmla="*/ 382886 h 989988"/>
                    <a:gd name="connsiteX1178" fmla="*/ 132892 w 824741"/>
                    <a:gd name="connsiteY1178" fmla="*/ 383005 h 989988"/>
                    <a:gd name="connsiteX1179" fmla="*/ 134507 w 824741"/>
                    <a:gd name="connsiteY1179" fmla="*/ 384082 h 989988"/>
                    <a:gd name="connsiteX1180" fmla="*/ 134507 w 824741"/>
                    <a:gd name="connsiteY1180" fmla="*/ 383962 h 989988"/>
                    <a:gd name="connsiteX1181" fmla="*/ 170152 w 824741"/>
                    <a:gd name="connsiteY1181" fmla="*/ 407885 h 989988"/>
                    <a:gd name="connsiteX1182" fmla="*/ 170152 w 824741"/>
                    <a:gd name="connsiteY1182" fmla="*/ 408065 h 989988"/>
                    <a:gd name="connsiteX1183" fmla="*/ 171707 w 824741"/>
                    <a:gd name="connsiteY1183" fmla="*/ 409141 h 989988"/>
                    <a:gd name="connsiteX1184" fmla="*/ 171707 w 824741"/>
                    <a:gd name="connsiteY1184" fmla="*/ 408962 h 989988"/>
                    <a:gd name="connsiteX1185" fmla="*/ 209864 w 824741"/>
                    <a:gd name="connsiteY1185" fmla="*/ 434619 h 989988"/>
                    <a:gd name="connsiteX1186" fmla="*/ 209864 w 824741"/>
                    <a:gd name="connsiteY1186" fmla="*/ 434798 h 989988"/>
                    <a:gd name="connsiteX1187" fmla="*/ 211359 w 824741"/>
                    <a:gd name="connsiteY1187" fmla="*/ 435815 h 989988"/>
                    <a:gd name="connsiteX1188" fmla="*/ 211419 w 824741"/>
                    <a:gd name="connsiteY1188" fmla="*/ 435636 h 989988"/>
                    <a:gd name="connsiteX1189" fmla="*/ 285401 w 824741"/>
                    <a:gd name="connsiteY1189" fmla="*/ 485336 h 989988"/>
                    <a:gd name="connsiteX1190" fmla="*/ 285341 w 824741"/>
                    <a:gd name="connsiteY1190" fmla="*/ 485575 h 989988"/>
                    <a:gd name="connsiteX1191" fmla="*/ 286716 w 824741"/>
                    <a:gd name="connsiteY1191" fmla="*/ 486472 h 989988"/>
                    <a:gd name="connsiteX1192" fmla="*/ 286836 w 824741"/>
                    <a:gd name="connsiteY1192" fmla="*/ 486173 h 989988"/>
                    <a:gd name="connsiteX1193" fmla="*/ 324993 w 824741"/>
                    <a:gd name="connsiteY1193" fmla="*/ 511830 h 989988"/>
                    <a:gd name="connsiteX1194" fmla="*/ 324873 w 824741"/>
                    <a:gd name="connsiteY1194" fmla="*/ 512129 h 989988"/>
                    <a:gd name="connsiteX1195" fmla="*/ 326189 w 824741"/>
                    <a:gd name="connsiteY1195" fmla="*/ 513026 h 989988"/>
                    <a:gd name="connsiteX1196" fmla="*/ 326249 w 824741"/>
                    <a:gd name="connsiteY1196" fmla="*/ 512727 h 989988"/>
                    <a:gd name="connsiteX1197" fmla="*/ 367097 w 824741"/>
                    <a:gd name="connsiteY1197" fmla="*/ 540119 h 989988"/>
                    <a:gd name="connsiteX1198" fmla="*/ 366978 w 824741"/>
                    <a:gd name="connsiteY1198" fmla="*/ 540478 h 989988"/>
                    <a:gd name="connsiteX1199" fmla="*/ 368233 w 824741"/>
                    <a:gd name="connsiteY1199" fmla="*/ 541375 h 989988"/>
                    <a:gd name="connsiteX1200" fmla="*/ 368353 w 824741"/>
                    <a:gd name="connsiteY1200" fmla="*/ 541016 h 989988"/>
                    <a:gd name="connsiteX1201" fmla="*/ 520742 w 824741"/>
                    <a:gd name="connsiteY1201" fmla="*/ 329956 h 989988"/>
                    <a:gd name="connsiteX1202" fmla="*/ 598671 w 824741"/>
                    <a:gd name="connsiteY1202" fmla="*/ 377742 h 989988"/>
                    <a:gd name="connsiteX1203" fmla="*/ 586590 w 824741"/>
                    <a:gd name="connsiteY1203" fmla="*/ 388986 h 989988"/>
                    <a:gd name="connsiteX1204" fmla="*/ 515599 w 824741"/>
                    <a:gd name="connsiteY1204" fmla="*/ 345028 h 989988"/>
                    <a:gd name="connsiteX1205" fmla="*/ 520742 w 824741"/>
                    <a:gd name="connsiteY1205" fmla="*/ 329956 h 989988"/>
                    <a:gd name="connsiteX1206" fmla="*/ 228882 w 824741"/>
                    <a:gd name="connsiteY1206" fmla="*/ 888795 h 989988"/>
                    <a:gd name="connsiteX1207" fmla="*/ 258966 w 824741"/>
                    <a:gd name="connsiteY1207" fmla="*/ 911582 h 989988"/>
                    <a:gd name="connsiteX1208" fmla="*/ 256453 w 824741"/>
                    <a:gd name="connsiteY1208" fmla="*/ 920074 h 989988"/>
                    <a:gd name="connsiteX1209" fmla="*/ 226610 w 824741"/>
                    <a:gd name="connsiteY1209" fmla="*/ 897347 h 989988"/>
                    <a:gd name="connsiteX1210" fmla="*/ 228882 w 824741"/>
                    <a:gd name="connsiteY1210" fmla="*/ 888795 h 989988"/>
                    <a:gd name="connsiteX1211" fmla="*/ 648610 w 824741"/>
                    <a:gd name="connsiteY1211" fmla="*/ 236179 h 989988"/>
                    <a:gd name="connsiteX1212" fmla="*/ 663262 w 824741"/>
                    <a:gd name="connsiteY1212" fmla="*/ 224098 h 989988"/>
                    <a:gd name="connsiteX1213" fmla="*/ 686468 w 824741"/>
                    <a:gd name="connsiteY1213" fmla="*/ 237554 h 989988"/>
                    <a:gd name="connsiteX1214" fmla="*/ 679471 w 824741"/>
                    <a:gd name="connsiteY1214" fmla="*/ 254240 h 989988"/>
                    <a:gd name="connsiteX1215" fmla="*/ 648610 w 824741"/>
                    <a:gd name="connsiteY1215" fmla="*/ 236179 h 989988"/>
                    <a:gd name="connsiteX1216" fmla="*/ 353820 w 824741"/>
                    <a:gd name="connsiteY1216" fmla="*/ 590955 h 989988"/>
                    <a:gd name="connsiteX1217" fmla="*/ 429894 w 824741"/>
                    <a:gd name="connsiteY1217" fmla="*/ 642808 h 989988"/>
                    <a:gd name="connsiteX1218" fmla="*/ 424990 w 824741"/>
                    <a:gd name="connsiteY1218" fmla="*/ 656504 h 989988"/>
                    <a:gd name="connsiteX1219" fmla="*/ 349753 w 824741"/>
                    <a:gd name="connsiteY1219" fmla="*/ 604830 h 989988"/>
                    <a:gd name="connsiteX1220" fmla="*/ 353820 w 824741"/>
                    <a:gd name="connsiteY1220" fmla="*/ 590955 h 989988"/>
                    <a:gd name="connsiteX1221" fmla="*/ 687604 w 824741"/>
                    <a:gd name="connsiteY1221" fmla="*/ 238212 h 989988"/>
                    <a:gd name="connsiteX1222" fmla="*/ 690535 w 824741"/>
                    <a:gd name="connsiteY1222" fmla="*/ 239887 h 989988"/>
                    <a:gd name="connsiteX1223" fmla="*/ 683537 w 824741"/>
                    <a:gd name="connsiteY1223" fmla="*/ 256573 h 989988"/>
                    <a:gd name="connsiteX1224" fmla="*/ 680607 w 824741"/>
                    <a:gd name="connsiteY1224" fmla="*/ 254839 h 989988"/>
                    <a:gd name="connsiteX1225" fmla="*/ 687604 w 824741"/>
                    <a:gd name="connsiteY1225" fmla="*/ 238212 h 989988"/>
                    <a:gd name="connsiteX1226" fmla="*/ 349214 w 824741"/>
                    <a:gd name="connsiteY1226" fmla="*/ 606804 h 989988"/>
                    <a:gd name="connsiteX1227" fmla="*/ 424333 w 824741"/>
                    <a:gd name="connsiteY1227" fmla="*/ 658358 h 989988"/>
                    <a:gd name="connsiteX1228" fmla="*/ 416378 w 824741"/>
                    <a:gd name="connsiteY1228" fmla="*/ 680726 h 989988"/>
                    <a:gd name="connsiteX1229" fmla="*/ 350590 w 824741"/>
                    <a:gd name="connsiteY1229" fmla="*/ 635153 h 989988"/>
                    <a:gd name="connsiteX1230" fmla="*/ 342576 w 824741"/>
                    <a:gd name="connsiteY1230" fmla="*/ 629531 h 989988"/>
                    <a:gd name="connsiteX1231" fmla="*/ 349214 w 824741"/>
                    <a:gd name="connsiteY1231" fmla="*/ 606804 h 989988"/>
                    <a:gd name="connsiteX1232" fmla="*/ 285819 w 824741"/>
                    <a:gd name="connsiteY1232" fmla="*/ 853868 h 989988"/>
                    <a:gd name="connsiteX1233" fmla="*/ 300950 w 824741"/>
                    <a:gd name="connsiteY1233" fmla="*/ 865051 h 989988"/>
                    <a:gd name="connsiteX1234" fmla="*/ 287673 w 824741"/>
                    <a:gd name="connsiteY1234" fmla="*/ 879644 h 989988"/>
                    <a:gd name="connsiteX1235" fmla="*/ 279898 w 824741"/>
                    <a:gd name="connsiteY1235" fmla="*/ 873843 h 989988"/>
                    <a:gd name="connsiteX1236" fmla="*/ 285819 w 824741"/>
                    <a:gd name="connsiteY1236" fmla="*/ 853868 h 989988"/>
                    <a:gd name="connsiteX1237" fmla="*/ 351189 w 824741"/>
                    <a:gd name="connsiteY1237" fmla="*/ 681264 h 989988"/>
                    <a:gd name="connsiteX1238" fmla="*/ 376965 w 824741"/>
                    <a:gd name="connsiteY1238" fmla="*/ 655786 h 989988"/>
                    <a:gd name="connsiteX1239" fmla="*/ 415720 w 824741"/>
                    <a:gd name="connsiteY1239" fmla="*/ 682580 h 989988"/>
                    <a:gd name="connsiteX1240" fmla="*/ 403221 w 824741"/>
                    <a:gd name="connsiteY1240" fmla="*/ 717746 h 989988"/>
                    <a:gd name="connsiteX1241" fmla="*/ 351189 w 824741"/>
                    <a:gd name="connsiteY1241" fmla="*/ 681264 h 989988"/>
                    <a:gd name="connsiteX1242" fmla="*/ 487608 w 824741"/>
                    <a:gd name="connsiteY1242" fmla="*/ 483422 h 989988"/>
                    <a:gd name="connsiteX1243" fmla="*/ 532046 w 824741"/>
                    <a:gd name="connsiteY1243" fmla="*/ 512129 h 989988"/>
                    <a:gd name="connsiteX1244" fmla="*/ 525945 w 824741"/>
                    <a:gd name="connsiteY1244" fmla="*/ 527679 h 989988"/>
                    <a:gd name="connsiteX1245" fmla="*/ 482047 w 824741"/>
                    <a:gd name="connsiteY1245" fmla="*/ 499091 h 989988"/>
                    <a:gd name="connsiteX1246" fmla="*/ 487608 w 824741"/>
                    <a:gd name="connsiteY1246" fmla="*/ 483422 h 989988"/>
                    <a:gd name="connsiteX1247" fmla="*/ 488625 w 824741"/>
                    <a:gd name="connsiteY1247" fmla="*/ 481867 h 989988"/>
                    <a:gd name="connsiteX1248" fmla="*/ 501005 w 824741"/>
                    <a:gd name="connsiteY1248" fmla="*/ 470324 h 989988"/>
                    <a:gd name="connsiteX1249" fmla="*/ 544963 w 824741"/>
                    <a:gd name="connsiteY1249" fmla="*/ 498553 h 989988"/>
                    <a:gd name="connsiteX1250" fmla="*/ 532943 w 824741"/>
                    <a:gd name="connsiteY1250" fmla="*/ 510574 h 989988"/>
                    <a:gd name="connsiteX1251" fmla="*/ 488625 w 824741"/>
                    <a:gd name="connsiteY1251" fmla="*/ 481867 h 989988"/>
                    <a:gd name="connsiteX1252" fmla="*/ 584197 w 824741"/>
                    <a:gd name="connsiteY1252" fmla="*/ 277745 h 989988"/>
                    <a:gd name="connsiteX1253" fmla="*/ 658478 w 824741"/>
                    <a:gd name="connsiteY1253" fmla="*/ 322122 h 989988"/>
                    <a:gd name="connsiteX1254" fmla="*/ 600106 w 824741"/>
                    <a:gd name="connsiteY1254" fmla="*/ 376367 h 989988"/>
                    <a:gd name="connsiteX1255" fmla="*/ 521878 w 824741"/>
                    <a:gd name="connsiteY1255" fmla="*/ 328282 h 989988"/>
                    <a:gd name="connsiteX1256" fmla="*/ 522057 w 824741"/>
                    <a:gd name="connsiteY1256" fmla="*/ 328162 h 989988"/>
                    <a:gd name="connsiteX1257" fmla="*/ 521699 w 824741"/>
                    <a:gd name="connsiteY1257" fmla="*/ 327983 h 989988"/>
                    <a:gd name="connsiteX1258" fmla="*/ 521340 w 824741"/>
                    <a:gd name="connsiteY1258" fmla="*/ 327804 h 989988"/>
                    <a:gd name="connsiteX1259" fmla="*/ 521041 w 824741"/>
                    <a:gd name="connsiteY1259" fmla="*/ 327564 h 989988"/>
                    <a:gd name="connsiteX1260" fmla="*/ 520742 w 824741"/>
                    <a:gd name="connsiteY1260" fmla="*/ 327325 h 989988"/>
                    <a:gd name="connsiteX1261" fmla="*/ 520502 w 824741"/>
                    <a:gd name="connsiteY1261" fmla="*/ 327504 h 989988"/>
                    <a:gd name="connsiteX1262" fmla="*/ 480073 w 824741"/>
                    <a:gd name="connsiteY1262" fmla="*/ 302625 h 989988"/>
                    <a:gd name="connsiteX1263" fmla="*/ 480552 w 824741"/>
                    <a:gd name="connsiteY1263" fmla="*/ 302266 h 989988"/>
                    <a:gd name="connsiteX1264" fmla="*/ 480133 w 824741"/>
                    <a:gd name="connsiteY1264" fmla="*/ 302086 h 989988"/>
                    <a:gd name="connsiteX1265" fmla="*/ 479714 w 824741"/>
                    <a:gd name="connsiteY1265" fmla="*/ 301907 h 989988"/>
                    <a:gd name="connsiteX1266" fmla="*/ 479295 w 824741"/>
                    <a:gd name="connsiteY1266" fmla="*/ 301727 h 989988"/>
                    <a:gd name="connsiteX1267" fmla="*/ 478937 w 824741"/>
                    <a:gd name="connsiteY1267" fmla="*/ 301548 h 989988"/>
                    <a:gd name="connsiteX1268" fmla="*/ 478697 w 824741"/>
                    <a:gd name="connsiteY1268" fmla="*/ 301727 h 989988"/>
                    <a:gd name="connsiteX1269" fmla="*/ 442813 w 824741"/>
                    <a:gd name="connsiteY1269" fmla="*/ 279658 h 989988"/>
                    <a:gd name="connsiteX1270" fmla="*/ 441617 w 824741"/>
                    <a:gd name="connsiteY1270" fmla="*/ 279419 h 989988"/>
                    <a:gd name="connsiteX1271" fmla="*/ 440540 w 824741"/>
                    <a:gd name="connsiteY1271" fmla="*/ 278881 h 989988"/>
                    <a:gd name="connsiteX1272" fmla="*/ 440301 w 824741"/>
                    <a:gd name="connsiteY1272" fmla="*/ 278762 h 989988"/>
                    <a:gd name="connsiteX1273" fmla="*/ 440062 w 824741"/>
                    <a:gd name="connsiteY1273" fmla="*/ 278582 h 989988"/>
                    <a:gd name="connsiteX1274" fmla="*/ 439823 w 824741"/>
                    <a:gd name="connsiteY1274" fmla="*/ 278403 h 989988"/>
                    <a:gd name="connsiteX1275" fmla="*/ 439583 w 824741"/>
                    <a:gd name="connsiteY1275" fmla="*/ 278163 h 989988"/>
                    <a:gd name="connsiteX1276" fmla="*/ 439344 w 824741"/>
                    <a:gd name="connsiteY1276" fmla="*/ 277924 h 989988"/>
                    <a:gd name="connsiteX1277" fmla="*/ 439105 w 824741"/>
                    <a:gd name="connsiteY1277" fmla="*/ 277685 h 989988"/>
                    <a:gd name="connsiteX1278" fmla="*/ 438865 w 824741"/>
                    <a:gd name="connsiteY1278" fmla="*/ 277386 h 989988"/>
                    <a:gd name="connsiteX1279" fmla="*/ 438627 w 824741"/>
                    <a:gd name="connsiteY1279" fmla="*/ 277087 h 989988"/>
                    <a:gd name="connsiteX1280" fmla="*/ 366021 w 824741"/>
                    <a:gd name="connsiteY1280" fmla="*/ 232471 h 989988"/>
                    <a:gd name="connsiteX1281" fmla="*/ 366619 w 824741"/>
                    <a:gd name="connsiteY1281" fmla="*/ 232112 h 989988"/>
                    <a:gd name="connsiteX1282" fmla="*/ 366379 w 824741"/>
                    <a:gd name="connsiteY1282" fmla="*/ 232052 h 989988"/>
                    <a:gd name="connsiteX1283" fmla="*/ 366140 w 824741"/>
                    <a:gd name="connsiteY1283" fmla="*/ 231992 h 989988"/>
                    <a:gd name="connsiteX1284" fmla="*/ 365901 w 824741"/>
                    <a:gd name="connsiteY1284" fmla="*/ 231932 h 989988"/>
                    <a:gd name="connsiteX1285" fmla="*/ 365661 w 824741"/>
                    <a:gd name="connsiteY1285" fmla="*/ 231813 h 989988"/>
                    <a:gd name="connsiteX1286" fmla="*/ 365363 w 824741"/>
                    <a:gd name="connsiteY1286" fmla="*/ 231753 h 989988"/>
                    <a:gd name="connsiteX1287" fmla="*/ 365064 w 824741"/>
                    <a:gd name="connsiteY1287" fmla="*/ 231633 h 989988"/>
                    <a:gd name="connsiteX1288" fmla="*/ 364765 w 824741"/>
                    <a:gd name="connsiteY1288" fmla="*/ 231514 h 989988"/>
                    <a:gd name="connsiteX1289" fmla="*/ 364525 w 824741"/>
                    <a:gd name="connsiteY1289" fmla="*/ 231334 h 989988"/>
                    <a:gd name="connsiteX1290" fmla="*/ 364406 w 824741"/>
                    <a:gd name="connsiteY1290" fmla="*/ 231394 h 989988"/>
                    <a:gd name="connsiteX1291" fmla="*/ 326608 w 824741"/>
                    <a:gd name="connsiteY1291" fmla="*/ 208129 h 989988"/>
                    <a:gd name="connsiteX1292" fmla="*/ 326907 w 824741"/>
                    <a:gd name="connsiteY1292" fmla="*/ 207950 h 989988"/>
                    <a:gd name="connsiteX1293" fmla="*/ 326368 w 824741"/>
                    <a:gd name="connsiteY1293" fmla="*/ 207830 h 989988"/>
                    <a:gd name="connsiteX1294" fmla="*/ 325890 w 824741"/>
                    <a:gd name="connsiteY1294" fmla="*/ 207651 h 989988"/>
                    <a:gd name="connsiteX1295" fmla="*/ 325411 w 824741"/>
                    <a:gd name="connsiteY1295" fmla="*/ 207352 h 989988"/>
                    <a:gd name="connsiteX1296" fmla="*/ 324993 w 824741"/>
                    <a:gd name="connsiteY1296" fmla="*/ 207053 h 989988"/>
                    <a:gd name="connsiteX1297" fmla="*/ 324933 w 824741"/>
                    <a:gd name="connsiteY1297" fmla="*/ 207112 h 989988"/>
                    <a:gd name="connsiteX1298" fmla="*/ 289587 w 824741"/>
                    <a:gd name="connsiteY1298" fmla="*/ 185343 h 989988"/>
                    <a:gd name="connsiteX1299" fmla="*/ 290065 w 824741"/>
                    <a:gd name="connsiteY1299" fmla="*/ 185103 h 989988"/>
                    <a:gd name="connsiteX1300" fmla="*/ 289707 w 824741"/>
                    <a:gd name="connsiteY1300" fmla="*/ 184804 h 989988"/>
                    <a:gd name="connsiteX1301" fmla="*/ 289347 w 824741"/>
                    <a:gd name="connsiteY1301" fmla="*/ 184505 h 989988"/>
                    <a:gd name="connsiteX1302" fmla="*/ 289049 w 824741"/>
                    <a:gd name="connsiteY1302" fmla="*/ 184146 h 989988"/>
                    <a:gd name="connsiteX1303" fmla="*/ 288690 w 824741"/>
                    <a:gd name="connsiteY1303" fmla="*/ 183788 h 989988"/>
                    <a:gd name="connsiteX1304" fmla="*/ 287852 w 824741"/>
                    <a:gd name="connsiteY1304" fmla="*/ 184266 h 989988"/>
                    <a:gd name="connsiteX1305" fmla="*/ 218835 w 824741"/>
                    <a:gd name="connsiteY1305" fmla="*/ 141803 h 989988"/>
                    <a:gd name="connsiteX1306" fmla="*/ 294610 w 824741"/>
                    <a:gd name="connsiteY1306" fmla="*/ 104483 h 989988"/>
                    <a:gd name="connsiteX1307" fmla="*/ 358066 w 824741"/>
                    <a:gd name="connsiteY1307" fmla="*/ 142401 h 989988"/>
                    <a:gd name="connsiteX1308" fmla="*/ 359262 w 824741"/>
                    <a:gd name="connsiteY1308" fmla="*/ 142760 h 989988"/>
                    <a:gd name="connsiteX1309" fmla="*/ 360220 w 824741"/>
                    <a:gd name="connsiteY1309" fmla="*/ 143418 h 989988"/>
                    <a:gd name="connsiteX1310" fmla="*/ 361116 w 824741"/>
                    <a:gd name="connsiteY1310" fmla="*/ 144315 h 989988"/>
                    <a:gd name="connsiteX1311" fmla="*/ 361715 w 824741"/>
                    <a:gd name="connsiteY1311" fmla="*/ 145451 h 989988"/>
                    <a:gd name="connsiteX1312" fmla="*/ 362373 w 824741"/>
                    <a:gd name="connsiteY1312" fmla="*/ 145092 h 989988"/>
                    <a:gd name="connsiteX1313" fmla="*/ 396104 w 824741"/>
                    <a:gd name="connsiteY1313" fmla="*/ 165247 h 989988"/>
                    <a:gd name="connsiteX1314" fmla="*/ 395386 w 824741"/>
                    <a:gd name="connsiteY1314" fmla="*/ 165666 h 989988"/>
                    <a:gd name="connsiteX1315" fmla="*/ 395745 w 824741"/>
                    <a:gd name="connsiteY1315" fmla="*/ 165965 h 989988"/>
                    <a:gd name="connsiteX1316" fmla="*/ 396104 w 824741"/>
                    <a:gd name="connsiteY1316" fmla="*/ 166264 h 989988"/>
                    <a:gd name="connsiteX1317" fmla="*/ 396462 w 824741"/>
                    <a:gd name="connsiteY1317" fmla="*/ 166563 h 989988"/>
                    <a:gd name="connsiteX1318" fmla="*/ 396822 w 824741"/>
                    <a:gd name="connsiteY1318" fmla="*/ 166862 h 989988"/>
                    <a:gd name="connsiteX1319" fmla="*/ 397778 w 824741"/>
                    <a:gd name="connsiteY1319" fmla="*/ 166324 h 989988"/>
                    <a:gd name="connsiteX1320" fmla="*/ 433902 w 824741"/>
                    <a:gd name="connsiteY1320" fmla="*/ 187854 h 989988"/>
                    <a:gd name="connsiteX1321" fmla="*/ 433483 w 824741"/>
                    <a:gd name="connsiteY1321" fmla="*/ 188094 h 989988"/>
                    <a:gd name="connsiteX1322" fmla="*/ 433722 w 824741"/>
                    <a:gd name="connsiteY1322" fmla="*/ 188452 h 989988"/>
                    <a:gd name="connsiteX1323" fmla="*/ 433962 w 824741"/>
                    <a:gd name="connsiteY1323" fmla="*/ 188752 h 989988"/>
                    <a:gd name="connsiteX1324" fmla="*/ 434141 w 824741"/>
                    <a:gd name="connsiteY1324" fmla="*/ 189111 h 989988"/>
                    <a:gd name="connsiteX1325" fmla="*/ 434320 w 824741"/>
                    <a:gd name="connsiteY1325" fmla="*/ 189469 h 989988"/>
                    <a:gd name="connsiteX1326" fmla="*/ 435457 w 824741"/>
                    <a:gd name="connsiteY1326" fmla="*/ 188752 h 989988"/>
                    <a:gd name="connsiteX1327" fmla="*/ 505431 w 824741"/>
                    <a:gd name="connsiteY1327" fmla="*/ 230617 h 989988"/>
                    <a:gd name="connsiteX1328" fmla="*/ 505252 w 824741"/>
                    <a:gd name="connsiteY1328" fmla="*/ 230736 h 989988"/>
                    <a:gd name="connsiteX1329" fmla="*/ 505850 w 824741"/>
                    <a:gd name="connsiteY1329" fmla="*/ 231275 h 989988"/>
                    <a:gd name="connsiteX1330" fmla="*/ 506388 w 824741"/>
                    <a:gd name="connsiteY1330" fmla="*/ 231873 h 989988"/>
                    <a:gd name="connsiteX1331" fmla="*/ 506926 w 824741"/>
                    <a:gd name="connsiteY1331" fmla="*/ 231454 h 989988"/>
                    <a:gd name="connsiteX1332" fmla="*/ 542093 w 824741"/>
                    <a:gd name="connsiteY1332" fmla="*/ 252506 h 989988"/>
                    <a:gd name="connsiteX1333" fmla="*/ 542930 w 824741"/>
                    <a:gd name="connsiteY1333" fmla="*/ 252626 h 989988"/>
                    <a:gd name="connsiteX1334" fmla="*/ 543648 w 824741"/>
                    <a:gd name="connsiteY1334" fmla="*/ 252985 h 989988"/>
                    <a:gd name="connsiteX1335" fmla="*/ 544246 w 824741"/>
                    <a:gd name="connsiteY1335" fmla="*/ 253463 h 989988"/>
                    <a:gd name="connsiteX1336" fmla="*/ 544785 w 824741"/>
                    <a:gd name="connsiteY1336" fmla="*/ 254121 h 989988"/>
                    <a:gd name="connsiteX1337" fmla="*/ 582702 w 824741"/>
                    <a:gd name="connsiteY1337" fmla="*/ 276788 h 989988"/>
                    <a:gd name="connsiteX1338" fmla="*/ 582702 w 824741"/>
                    <a:gd name="connsiteY1338" fmla="*/ 276848 h 989988"/>
                    <a:gd name="connsiteX1339" fmla="*/ 583061 w 824741"/>
                    <a:gd name="connsiteY1339" fmla="*/ 277027 h 989988"/>
                    <a:gd name="connsiteX1340" fmla="*/ 583360 w 824741"/>
                    <a:gd name="connsiteY1340" fmla="*/ 277206 h 989988"/>
                    <a:gd name="connsiteX1341" fmla="*/ 583719 w 824741"/>
                    <a:gd name="connsiteY1341" fmla="*/ 277386 h 989988"/>
                    <a:gd name="connsiteX1342" fmla="*/ 584078 w 824741"/>
                    <a:gd name="connsiteY1342" fmla="*/ 277625 h 989988"/>
                    <a:gd name="connsiteX1343" fmla="*/ 584197 w 824741"/>
                    <a:gd name="connsiteY1343" fmla="*/ 277745 h 989988"/>
                    <a:gd name="connsiteX1344" fmla="*/ 326368 w 824741"/>
                    <a:gd name="connsiteY1344" fmla="*/ 686826 h 989988"/>
                    <a:gd name="connsiteX1345" fmla="*/ 338688 w 824741"/>
                    <a:gd name="connsiteY1345" fmla="*/ 674865 h 989988"/>
                    <a:gd name="connsiteX1346" fmla="*/ 402623 w 824741"/>
                    <a:gd name="connsiteY1346" fmla="*/ 719600 h 989988"/>
                    <a:gd name="connsiteX1347" fmla="*/ 396642 w 824741"/>
                    <a:gd name="connsiteY1347" fmla="*/ 736406 h 989988"/>
                    <a:gd name="connsiteX1348" fmla="*/ 326368 w 824741"/>
                    <a:gd name="connsiteY1348" fmla="*/ 686826 h 989988"/>
                    <a:gd name="connsiteX1349" fmla="*/ 585812 w 824741"/>
                    <a:gd name="connsiteY1349" fmla="*/ 276489 h 989988"/>
                    <a:gd name="connsiteX1350" fmla="*/ 594066 w 824741"/>
                    <a:gd name="connsiteY1350" fmla="*/ 269790 h 989988"/>
                    <a:gd name="connsiteX1351" fmla="*/ 667748 w 824741"/>
                    <a:gd name="connsiteY1351" fmla="*/ 313689 h 989988"/>
                    <a:gd name="connsiteX1352" fmla="*/ 659973 w 824741"/>
                    <a:gd name="connsiteY1352" fmla="*/ 320866 h 989988"/>
                    <a:gd name="connsiteX1353" fmla="*/ 585812 w 824741"/>
                    <a:gd name="connsiteY1353" fmla="*/ 276489 h 989988"/>
                    <a:gd name="connsiteX1354" fmla="*/ 324993 w 824741"/>
                    <a:gd name="connsiteY1354" fmla="*/ 786824 h 989988"/>
                    <a:gd name="connsiteX1355" fmla="*/ 332050 w 824741"/>
                    <a:gd name="connsiteY1355" fmla="*/ 779407 h 989988"/>
                    <a:gd name="connsiteX1356" fmla="*/ 360518 w 824741"/>
                    <a:gd name="connsiteY1356" fmla="*/ 799922 h 989988"/>
                    <a:gd name="connsiteX1357" fmla="*/ 353580 w 824741"/>
                    <a:gd name="connsiteY1357" fmla="*/ 807517 h 989988"/>
                    <a:gd name="connsiteX1358" fmla="*/ 324993 w 824741"/>
                    <a:gd name="connsiteY1358" fmla="*/ 786824 h 989988"/>
                    <a:gd name="connsiteX1359" fmla="*/ 481329 w 824741"/>
                    <a:gd name="connsiteY1359" fmla="*/ 500945 h 989988"/>
                    <a:gd name="connsiteX1360" fmla="*/ 525168 w 824741"/>
                    <a:gd name="connsiteY1360" fmla="*/ 529413 h 989988"/>
                    <a:gd name="connsiteX1361" fmla="*/ 510634 w 824741"/>
                    <a:gd name="connsiteY1361" fmla="*/ 566614 h 989988"/>
                    <a:gd name="connsiteX1362" fmla="*/ 467992 w 824741"/>
                    <a:gd name="connsiteY1362" fmla="*/ 538444 h 989988"/>
                    <a:gd name="connsiteX1363" fmla="*/ 481329 w 824741"/>
                    <a:gd name="connsiteY1363" fmla="*/ 500945 h 989988"/>
                    <a:gd name="connsiteX1364" fmla="*/ 333366 w 824741"/>
                    <a:gd name="connsiteY1364" fmla="*/ 777972 h 989988"/>
                    <a:gd name="connsiteX1365" fmla="*/ 342038 w 824741"/>
                    <a:gd name="connsiteY1365" fmla="*/ 768822 h 989988"/>
                    <a:gd name="connsiteX1366" fmla="*/ 370327 w 824741"/>
                    <a:gd name="connsiteY1366" fmla="*/ 789097 h 989988"/>
                    <a:gd name="connsiteX1367" fmla="*/ 361715 w 824741"/>
                    <a:gd name="connsiteY1367" fmla="*/ 798486 h 989988"/>
                    <a:gd name="connsiteX1368" fmla="*/ 333366 w 824741"/>
                    <a:gd name="connsiteY1368" fmla="*/ 777972 h 989988"/>
                    <a:gd name="connsiteX1369" fmla="*/ 325411 w 824741"/>
                    <a:gd name="connsiteY1369" fmla="*/ 688560 h 989988"/>
                    <a:gd name="connsiteX1370" fmla="*/ 395984 w 824741"/>
                    <a:gd name="connsiteY1370" fmla="*/ 738260 h 989988"/>
                    <a:gd name="connsiteX1371" fmla="*/ 387372 w 824741"/>
                    <a:gd name="connsiteY1371" fmla="*/ 762482 h 989988"/>
                    <a:gd name="connsiteX1372" fmla="*/ 318235 w 824741"/>
                    <a:gd name="connsiteY1372" fmla="*/ 713321 h 989988"/>
                    <a:gd name="connsiteX1373" fmla="*/ 325411 w 824741"/>
                    <a:gd name="connsiteY1373" fmla="*/ 688560 h 989988"/>
                    <a:gd name="connsiteX1374" fmla="*/ 354537 w 824741"/>
                    <a:gd name="connsiteY1374" fmla="*/ 808294 h 989988"/>
                    <a:gd name="connsiteX1375" fmla="*/ 359980 w 824741"/>
                    <a:gd name="connsiteY1375" fmla="*/ 802374 h 989988"/>
                    <a:gd name="connsiteX1376" fmla="*/ 357289 w 824741"/>
                    <a:gd name="connsiteY1376" fmla="*/ 809909 h 989988"/>
                    <a:gd name="connsiteX1377" fmla="*/ 357109 w 824741"/>
                    <a:gd name="connsiteY1377" fmla="*/ 810089 h 989988"/>
                    <a:gd name="connsiteX1378" fmla="*/ 354537 w 824741"/>
                    <a:gd name="connsiteY1378" fmla="*/ 808294 h 989988"/>
                    <a:gd name="connsiteX1379" fmla="*/ 317637 w 824741"/>
                    <a:gd name="connsiteY1379" fmla="*/ 715234 h 989988"/>
                    <a:gd name="connsiteX1380" fmla="*/ 386714 w 824741"/>
                    <a:gd name="connsiteY1380" fmla="*/ 764276 h 989988"/>
                    <a:gd name="connsiteX1381" fmla="*/ 382647 w 824741"/>
                    <a:gd name="connsiteY1381" fmla="*/ 775759 h 989988"/>
                    <a:gd name="connsiteX1382" fmla="*/ 314287 w 824741"/>
                    <a:gd name="connsiteY1382" fmla="*/ 726897 h 989988"/>
                    <a:gd name="connsiteX1383" fmla="*/ 317637 w 824741"/>
                    <a:gd name="connsiteY1383" fmla="*/ 715234 h 989988"/>
                    <a:gd name="connsiteX1384" fmla="*/ 313689 w 824741"/>
                    <a:gd name="connsiteY1384" fmla="*/ 728930 h 989988"/>
                    <a:gd name="connsiteX1385" fmla="*/ 381989 w 824741"/>
                    <a:gd name="connsiteY1385" fmla="*/ 777673 h 989988"/>
                    <a:gd name="connsiteX1386" fmla="*/ 377025 w 824741"/>
                    <a:gd name="connsiteY1386" fmla="*/ 791668 h 989988"/>
                    <a:gd name="connsiteX1387" fmla="*/ 309562 w 824741"/>
                    <a:gd name="connsiteY1387" fmla="*/ 743164 h 989988"/>
                    <a:gd name="connsiteX1388" fmla="*/ 313689 w 824741"/>
                    <a:gd name="connsiteY1388" fmla="*/ 728930 h 989988"/>
                    <a:gd name="connsiteX1389" fmla="*/ 502500 w 824741"/>
                    <a:gd name="connsiteY1389" fmla="*/ 469008 h 989988"/>
                    <a:gd name="connsiteX1390" fmla="*/ 556806 w 824741"/>
                    <a:gd name="connsiteY1390" fmla="*/ 418531 h 989988"/>
                    <a:gd name="connsiteX1391" fmla="*/ 598850 w 824741"/>
                    <a:gd name="connsiteY1391" fmla="*/ 444846 h 989988"/>
                    <a:gd name="connsiteX1392" fmla="*/ 546340 w 824741"/>
                    <a:gd name="connsiteY1392" fmla="*/ 497237 h 989988"/>
                    <a:gd name="connsiteX1393" fmla="*/ 502500 w 824741"/>
                    <a:gd name="connsiteY1393" fmla="*/ 469008 h 989988"/>
                    <a:gd name="connsiteX1394" fmla="*/ 362791 w 824741"/>
                    <a:gd name="connsiteY1394" fmla="*/ 799323 h 989988"/>
                    <a:gd name="connsiteX1395" fmla="*/ 371403 w 824741"/>
                    <a:gd name="connsiteY1395" fmla="*/ 789934 h 989988"/>
                    <a:gd name="connsiteX1396" fmla="*/ 376307 w 824741"/>
                    <a:gd name="connsiteY1396" fmla="*/ 793462 h 989988"/>
                    <a:gd name="connsiteX1397" fmla="*/ 371882 w 824741"/>
                    <a:gd name="connsiteY1397" fmla="*/ 805843 h 989988"/>
                    <a:gd name="connsiteX1398" fmla="*/ 362791 w 824741"/>
                    <a:gd name="connsiteY1398" fmla="*/ 799323 h 989988"/>
                    <a:gd name="connsiteX1399" fmla="*/ 467334 w 824741"/>
                    <a:gd name="connsiteY1399" fmla="*/ 540358 h 989988"/>
                    <a:gd name="connsiteX1400" fmla="*/ 509976 w 824741"/>
                    <a:gd name="connsiteY1400" fmla="*/ 568468 h 989988"/>
                    <a:gd name="connsiteX1401" fmla="*/ 490001 w 824741"/>
                    <a:gd name="connsiteY1401" fmla="*/ 620380 h 989988"/>
                    <a:gd name="connsiteX1402" fmla="*/ 449093 w 824741"/>
                    <a:gd name="connsiteY1402" fmla="*/ 592869 h 989988"/>
                    <a:gd name="connsiteX1403" fmla="*/ 467334 w 824741"/>
                    <a:gd name="connsiteY1403" fmla="*/ 540358 h 989988"/>
                    <a:gd name="connsiteX1404" fmla="*/ 599867 w 824741"/>
                    <a:gd name="connsiteY1404" fmla="*/ 210043 h 989988"/>
                    <a:gd name="connsiteX1405" fmla="*/ 600106 w 824741"/>
                    <a:gd name="connsiteY1405" fmla="*/ 210282 h 989988"/>
                    <a:gd name="connsiteX1406" fmla="*/ 600345 w 824741"/>
                    <a:gd name="connsiteY1406" fmla="*/ 210581 h 989988"/>
                    <a:gd name="connsiteX1407" fmla="*/ 600584 w 824741"/>
                    <a:gd name="connsiteY1407" fmla="*/ 210880 h 989988"/>
                    <a:gd name="connsiteX1408" fmla="*/ 600764 w 824741"/>
                    <a:gd name="connsiteY1408" fmla="*/ 211179 h 989988"/>
                    <a:gd name="connsiteX1409" fmla="*/ 601362 w 824741"/>
                    <a:gd name="connsiteY1409" fmla="*/ 210761 h 989988"/>
                    <a:gd name="connsiteX1410" fmla="*/ 635871 w 824741"/>
                    <a:gd name="connsiteY1410" fmla="*/ 230916 h 989988"/>
                    <a:gd name="connsiteX1411" fmla="*/ 637127 w 824741"/>
                    <a:gd name="connsiteY1411" fmla="*/ 231155 h 989988"/>
                    <a:gd name="connsiteX1412" fmla="*/ 638323 w 824741"/>
                    <a:gd name="connsiteY1412" fmla="*/ 231633 h 989988"/>
                    <a:gd name="connsiteX1413" fmla="*/ 638622 w 824741"/>
                    <a:gd name="connsiteY1413" fmla="*/ 231813 h 989988"/>
                    <a:gd name="connsiteX1414" fmla="*/ 638861 w 824741"/>
                    <a:gd name="connsiteY1414" fmla="*/ 231992 h 989988"/>
                    <a:gd name="connsiteX1415" fmla="*/ 639101 w 824741"/>
                    <a:gd name="connsiteY1415" fmla="*/ 232171 h 989988"/>
                    <a:gd name="connsiteX1416" fmla="*/ 639339 w 824741"/>
                    <a:gd name="connsiteY1416" fmla="*/ 232411 h 989988"/>
                    <a:gd name="connsiteX1417" fmla="*/ 639579 w 824741"/>
                    <a:gd name="connsiteY1417" fmla="*/ 232650 h 989988"/>
                    <a:gd name="connsiteX1418" fmla="*/ 639818 w 824741"/>
                    <a:gd name="connsiteY1418" fmla="*/ 232889 h 989988"/>
                    <a:gd name="connsiteX1419" fmla="*/ 640057 w 824741"/>
                    <a:gd name="connsiteY1419" fmla="*/ 233188 h 989988"/>
                    <a:gd name="connsiteX1420" fmla="*/ 640297 w 824741"/>
                    <a:gd name="connsiteY1420" fmla="*/ 233487 h 989988"/>
                    <a:gd name="connsiteX1421" fmla="*/ 709972 w 824741"/>
                    <a:gd name="connsiteY1421" fmla="*/ 274216 h 989988"/>
                    <a:gd name="connsiteX1422" fmla="*/ 669063 w 824741"/>
                    <a:gd name="connsiteY1422" fmla="*/ 312194 h 989988"/>
                    <a:gd name="connsiteX1423" fmla="*/ 595621 w 824741"/>
                    <a:gd name="connsiteY1423" fmla="*/ 268415 h 989988"/>
                    <a:gd name="connsiteX1424" fmla="*/ 595859 w 824741"/>
                    <a:gd name="connsiteY1424" fmla="*/ 268176 h 989988"/>
                    <a:gd name="connsiteX1425" fmla="*/ 595501 w 824741"/>
                    <a:gd name="connsiteY1425" fmla="*/ 267996 h 989988"/>
                    <a:gd name="connsiteX1426" fmla="*/ 595142 w 824741"/>
                    <a:gd name="connsiteY1426" fmla="*/ 267817 h 989988"/>
                    <a:gd name="connsiteX1427" fmla="*/ 594783 w 824741"/>
                    <a:gd name="connsiteY1427" fmla="*/ 267637 h 989988"/>
                    <a:gd name="connsiteX1428" fmla="*/ 594424 w 824741"/>
                    <a:gd name="connsiteY1428" fmla="*/ 267398 h 989988"/>
                    <a:gd name="connsiteX1429" fmla="*/ 594245 w 824741"/>
                    <a:gd name="connsiteY1429" fmla="*/ 267518 h 989988"/>
                    <a:gd name="connsiteX1430" fmla="*/ 557583 w 824741"/>
                    <a:gd name="connsiteY1430" fmla="*/ 245628 h 989988"/>
                    <a:gd name="connsiteX1431" fmla="*/ 556866 w 824741"/>
                    <a:gd name="connsiteY1431" fmla="*/ 245389 h 989988"/>
                    <a:gd name="connsiteX1432" fmla="*/ 556207 w 824741"/>
                    <a:gd name="connsiteY1432" fmla="*/ 244970 h 989988"/>
                    <a:gd name="connsiteX1433" fmla="*/ 555609 w 824741"/>
                    <a:gd name="connsiteY1433" fmla="*/ 244492 h 989988"/>
                    <a:gd name="connsiteX1434" fmla="*/ 555131 w 824741"/>
                    <a:gd name="connsiteY1434" fmla="*/ 243834 h 989988"/>
                    <a:gd name="connsiteX1435" fmla="*/ 554832 w 824741"/>
                    <a:gd name="connsiteY1435" fmla="*/ 244073 h 989988"/>
                    <a:gd name="connsiteX1436" fmla="*/ 519247 w 824741"/>
                    <a:gd name="connsiteY1436" fmla="*/ 222842 h 989988"/>
                    <a:gd name="connsiteX1437" fmla="*/ 519845 w 824741"/>
                    <a:gd name="connsiteY1437" fmla="*/ 222423 h 989988"/>
                    <a:gd name="connsiteX1438" fmla="*/ 519486 w 824741"/>
                    <a:gd name="connsiteY1438" fmla="*/ 222244 h 989988"/>
                    <a:gd name="connsiteX1439" fmla="*/ 519127 w 824741"/>
                    <a:gd name="connsiteY1439" fmla="*/ 222064 h 989988"/>
                    <a:gd name="connsiteX1440" fmla="*/ 518769 w 824741"/>
                    <a:gd name="connsiteY1440" fmla="*/ 221825 h 989988"/>
                    <a:gd name="connsiteX1441" fmla="*/ 518409 w 824741"/>
                    <a:gd name="connsiteY1441" fmla="*/ 221646 h 989988"/>
                    <a:gd name="connsiteX1442" fmla="*/ 518349 w 824741"/>
                    <a:gd name="connsiteY1442" fmla="*/ 221526 h 989988"/>
                    <a:gd name="connsiteX1443" fmla="*/ 517811 w 824741"/>
                    <a:gd name="connsiteY1443" fmla="*/ 221945 h 989988"/>
                    <a:gd name="connsiteX1444" fmla="*/ 448554 w 824741"/>
                    <a:gd name="connsiteY1444" fmla="*/ 180618 h 989988"/>
                    <a:gd name="connsiteX1445" fmla="*/ 448614 w 824741"/>
                    <a:gd name="connsiteY1445" fmla="*/ 180558 h 989988"/>
                    <a:gd name="connsiteX1446" fmla="*/ 448076 w 824741"/>
                    <a:gd name="connsiteY1446" fmla="*/ 180379 h 989988"/>
                    <a:gd name="connsiteX1447" fmla="*/ 447538 w 824741"/>
                    <a:gd name="connsiteY1447" fmla="*/ 180139 h 989988"/>
                    <a:gd name="connsiteX1448" fmla="*/ 447059 w 824741"/>
                    <a:gd name="connsiteY1448" fmla="*/ 179840 h 989988"/>
                    <a:gd name="connsiteX1449" fmla="*/ 446581 w 824741"/>
                    <a:gd name="connsiteY1449" fmla="*/ 179481 h 989988"/>
                    <a:gd name="connsiteX1450" fmla="*/ 411235 w 824741"/>
                    <a:gd name="connsiteY1450" fmla="*/ 158370 h 989988"/>
                    <a:gd name="connsiteX1451" fmla="*/ 411354 w 824741"/>
                    <a:gd name="connsiteY1451" fmla="*/ 158310 h 989988"/>
                    <a:gd name="connsiteX1452" fmla="*/ 410936 w 824741"/>
                    <a:gd name="connsiteY1452" fmla="*/ 158130 h 989988"/>
                    <a:gd name="connsiteX1453" fmla="*/ 410517 w 824741"/>
                    <a:gd name="connsiteY1453" fmla="*/ 157951 h 989988"/>
                    <a:gd name="connsiteX1454" fmla="*/ 410158 w 824741"/>
                    <a:gd name="connsiteY1454" fmla="*/ 157652 h 989988"/>
                    <a:gd name="connsiteX1455" fmla="*/ 409799 w 824741"/>
                    <a:gd name="connsiteY1455" fmla="*/ 157353 h 989988"/>
                    <a:gd name="connsiteX1456" fmla="*/ 409560 w 824741"/>
                    <a:gd name="connsiteY1456" fmla="*/ 157472 h 989988"/>
                    <a:gd name="connsiteX1457" fmla="*/ 376188 w 824741"/>
                    <a:gd name="connsiteY1457" fmla="*/ 137557 h 989988"/>
                    <a:gd name="connsiteX1458" fmla="*/ 376726 w 824741"/>
                    <a:gd name="connsiteY1458" fmla="*/ 137198 h 989988"/>
                    <a:gd name="connsiteX1459" fmla="*/ 376547 w 824741"/>
                    <a:gd name="connsiteY1459" fmla="*/ 137138 h 989988"/>
                    <a:gd name="connsiteX1460" fmla="*/ 376128 w 824741"/>
                    <a:gd name="connsiteY1460" fmla="*/ 136958 h 989988"/>
                    <a:gd name="connsiteX1461" fmla="*/ 375709 w 824741"/>
                    <a:gd name="connsiteY1461" fmla="*/ 136719 h 989988"/>
                    <a:gd name="connsiteX1462" fmla="*/ 375350 w 824741"/>
                    <a:gd name="connsiteY1462" fmla="*/ 136420 h 989988"/>
                    <a:gd name="connsiteX1463" fmla="*/ 374992 w 824741"/>
                    <a:gd name="connsiteY1463" fmla="*/ 136181 h 989988"/>
                    <a:gd name="connsiteX1464" fmla="*/ 374334 w 824741"/>
                    <a:gd name="connsiteY1464" fmla="*/ 136480 h 989988"/>
                    <a:gd name="connsiteX1465" fmla="*/ 308964 w 824741"/>
                    <a:gd name="connsiteY1465" fmla="*/ 97486 h 989988"/>
                    <a:gd name="connsiteX1466" fmla="*/ 362373 w 824741"/>
                    <a:gd name="connsiteY1466" fmla="*/ 71171 h 989988"/>
                    <a:gd name="connsiteX1467" fmla="*/ 424572 w 824741"/>
                    <a:gd name="connsiteY1467" fmla="*/ 107474 h 989988"/>
                    <a:gd name="connsiteX1468" fmla="*/ 425349 w 824741"/>
                    <a:gd name="connsiteY1468" fmla="*/ 107713 h 989988"/>
                    <a:gd name="connsiteX1469" fmla="*/ 425948 w 824741"/>
                    <a:gd name="connsiteY1469" fmla="*/ 108131 h 989988"/>
                    <a:gd name="connsiteX1470" fmla="*/ 426546 w 824741"/>
                    <a:gd name="connsiteY1470" fmla="*/ 108610 h 989988"/>
                    <a:gd name="connsiteX1471" fmla="*/ 427024 w 824741"/>
                    <a:gd name="connsiteY1471" fmla="*/ 109268 h 989988"/>
                    <a:gd name="connsiteX1472" fmla="*/ 427323 w 824741"/>
                    <a:gd name="connsiteY1472" fmla="*/ 109088 h 989988"/>
                    <a:gd name="connsiteX1473" fmla="*/ 457825 w 824741"/>
                    <a:gd name="connsiteY1473" fmla="*/ 126911 h 989988"/>
                    <a:gd name="connsiteX1474" fmla="*/ 458064 w 824741"/>
                    <a:gd name="connsiteY1474" fmla="*/ 126971 h 989988"/>
                    <a:gd name="connsiteX1475" fmla="*/ 458842 w 824741"/>
                    <a:gd name="connsiteY1475" fmla="*/ 127330 h 989988"/>
                    <a:gd name="connsiteX1476" fmla="*/ 459559 w 824741"/>
                    <a:gd name="connsiteY1476" fmla="*/ 127808 h 989988"/>
                    <a:gd name="connsiteX1477" fmla="*/ 460217 w 824741"/>
                    <a:gd name="connsiteY1477" fmla="*/ 128466 h 989988"/>
                    <a:gd name="connsiteX1478" fmla="*/ 460815 w 824741"/>
                    <a:gd name="connsiteY1478" fmla="*/ 129184 h 989988"/>
                    <a:gd name="connsiteX1479" fmla="*/ 461293 w 824741"/>
                    <a:gd name="connsiteY1479" fmla="*/ 128945 h 989988"/>
                    <a:gd name="connsiteX1480" fmla="*/ 495742 w 824741"/>
                    <a:gd name="connsiteY1480" fmla="*/ 149040 h 989988"/>
                    <a:gd name="connsiteX1481" fmla="*/ 495084 w 824741"/>
                    <a:gd name="connsiteY1481" fmla="*/ 149458 h 989988"/>
                    <a:gd name="connsiteX1482" fmla="*/ 495563 w 824741"/>
                    <a:gd name="connsiteY1482" fmla="*/ 149638 h 989988"/>
                    <a:gd name="connsiteX1483" fmla="*/ 495982 w 824741"/>
                    <a:gd name="connsiteY1483" fmla="*/ 149817 h 989988"/>
                    <a:gd name="connsiteX1484" fmla="*/ 496400 w 824741"/>
                    <a:gd name="connsiteY1484" fmla="*/ 150056 h 989988"/>
                    <a:gd name="connsiteX1485" fmla="*/ 496759 w 824741"/>
                    <a:gd name="connsiteY1485" fmla="*/ 150355 h 989988"/>
                    <a:gd name="connsiteX1486" fmla="*/ 497417 w 824741"/>
                    <a:gd name="connsiteY1486" fmla="*/ 149996 h 989988"/>
                    <a:gd name="connsiteX1487" fmla="*/ 562188 w 824741"/>
                    <a:gd name="connsiteY1487" fmla="*/ 187854 h 989988"/>
                    <a:gd name="connsiteX1488" fmla="*/ 563325 w 824741"/>
                    <a:gd name="connsiteY1488" fmla="*/ 187914 h 989988"/>
                    <a:gd name="connsiteX1489" fmla="*/ 564282 w 824741"/>
                    <a:gd name="connsiteY1489" fmla="*/ 188273 h 989988"/>
                    <a:gd name="connsiteX1490" fmla="*/ 565059 w 824741"/>
                    <a:gd name="connsiteY1490" fmla="*/ 188931 h 989988"/>
                    <a:gd name="connsiteX1491" fmla="*/ 565717 w 824741"/>
                    <a:gd name="connsiteY1491" fmla="*/ 189828 h 989988"/>
                    <a:gd name="connsiteX1492" fmla="*/ 599927 w 824741"/>
                    <a:gd name="connsiteY1492" fmla="*/ 209863 h 989988"/>
                    <a:gd name="connsiteX1493" fmla="*/ 599867 w 824741"/>
                    <a:gd name="connsiteY1493" fmla="*/ 210043 h 989988"/>
                    <a:gd name="connsiteX1494" fmla="*/ 361894 w 824741"/>
                    <a:gd name="connsiteY1494" fmla="*/ 800998 h 989988"/>
                    <a:gd name="connsiteX1495" fmla="*/ 371224 w 824741"/>
                    <a:gd name="connsiteY1495" fmla="*/ 807697 h 989988"/>
                    <a:gd name="connsiteX1496" fmla="*/ 368174 w 824741"/>
                    <a:gd name="connsiteY1496" fmla="*/ 816369 h 989988"/>
                    <a:gd name="connsiteX1497" fmla="*/ 358903 w 824741"/>
                    <a:gd name="connsiteY1497" fmla="*/ 809670 h 989988"/>
                    <a:gd name="connsiteX1498" fmla="*/ 361894 w 824741"/>
                    <a:gd name="connsiteY1498" fmla="*/ 800998 h 989988"/>
                    <a:gd name="connsiteX1499" fmla="*/ 691671 w 824741"/>
                    <a:gd name="connsiteY1499" fmla="*/ 240545 h 989988"/>
                    <a:gd name="connsiteX1500" fmla="*/ 725342 w 824741"/>
                    <a:gd name="connsiteY1500" fmla="*/ 260102 h 989988"/>
                    <a:gd name="connsiteX1501" fmla="*/ 711467 w 824741"/>
                    <a:gd name="connsiteY1501" fmla="*/ 272960 h 989988"/>
                    <a:gd name="connsiteX1502" fmla="*/ 684614 w 824741"/>
                    <a:gd name="connsiteY1502" fmla="*/ 257291 h 989988"/>
                    <a:gd name="connsiteX1503" fmla="*/ 691671 w 824741"/>
                    <a:gd name="connsiteY1503" fmla="*/ 240545 h 989988"/>
                    <a:gd name="connsiteX1504" fmla="*/ 688680 w 824741"/>
                    <a:gd name="connsiteY1504" fmla="*/ 235640 h 989988"/>
                    <a:gd name="connsiteX1505" fmla="*/ 727495 w 824741"/>
                    <a:gd name="connsiteY1505" fmla="*/ 258128 h 989988"/>
                    <a:gd name="connsiteX1506" fmla="*/ 726837 w 824741"/>
                    <a:gd name="connsiteY1506" fmla="*/ 258726 h 989988"/>
                    <a:gd name="connsiteX1507" fmla="*/ 688382 w 824741"/>
                    <a:gd name="connsiteY1507" fmla="*/ 236358 h 989988"/>
                    <a:gd name="connsiteX1508" fmla="*/ 688680 w 824741"/>
                    <a:gd name="connsiteY1508" fmla="*/ 235640 h 989988"/>
                    <a:gd name="connsiteX1509" fmla="*/ 296525 w 824741"/>
                    <a:gd name="connsiteY1509" fmla="*/ 789097 h 989988"/>
                    <a:gd name="connsiteX1510" fmla="*/ 308247 w 824741"/>
                    <a:gd name="connsiteY1510" fmla="*/ 777075 h 989988"/>
                    <a:gd name="connsiteX1511" fmla="*/ 366978 w 824741"/>
                    <a:gd name="connsiteY1511" fmla="*/ 819658 h 989988"/>
                    <a:gd name="connsiteX1512" fmla="*/ 361116 w 824741"/>
                    <a:gd name="connsiteY1512" fmla="*/ 836224 h 989988"/>
                    <a:gd name="connsiteX1513" fmla="*/ 296525 w 824741"/>
                    <a:gd name="connsiteY1513" fmla="*/ 789097 h 989988"/>
                    <a:gd name="connsiteX1514" fmla="*/ 448435 w 824741"/>
                    <a:gd name="connsiteY1514" fmla="*/ 594723 h 989988"/>
                    <a:gd name="connsiteX1515" fmla="*/ 489283 w 824741"/>
                    <a:gd name="connsiteY1515" fmla="*/ 622174 h 989988"/>
                    <a:gd name="connsiteX1516" fmla="*/ 471102 w 824741"/>
                    <a:gd name="connsiteY1516" fmla="*/ 668705 h 989988"/>
                    <a:gd name="connsiteX1517" fmla="*/ 431749 w 824741"/>
                    <a:gd name="connsiteY1517" fmla="*/ 641791 h 989988"/>
                    <a:gd name="connsiteX1518" fmla="*/ 448435 w 824741"/>
                    <a:gd name="connsiteY1518" fmla="*/ 594723 h 989988"/>
                    <a:gd name="connsiteX1519" fmla="*/ 558301 w 824741"/>
                    <a:gd name="connsiteY1519" fmla="*/ 417156 h 989988"/>
                    <a:gd name="connsiteX1520" fmla="*/ 586769 w 824741"/>
                    <a:gd name="connsiteY1520" fmla="*/ 390720 h 989988"/>
                    <a:gd name="connsiteX1521" fmla="*/ 586888 w 824741"/>
                    <a:gd name="connsiteY1521" fmla="*/ 390661 h 989988"/>
                    <a:gd name="connsiteX1522" fmla="*/ 599927 w 824741"/>
                    <a:gd name="connsiteY1522" fmla="*/ 378520 h 989988"/>
                    <a:gd name="connsiteX1523" fmla="*/ 640356 w 824741"/>
                    <a:gd name="connsiteY1523" fmla="*/ 403400 h 989988"/>
                    <a:gd name="connsiteX1524" fmla="*/ 600226 w 824741"/>
                    <a:gd name="connsiteY1524" fmla="*/ 443470 h 989988"/>
                    <a:gd name="connsiteX1525" fmla="*/ 558301 w 824741"/>
                    <a:gd name="connsiteY1525" fmla="*/ 417156 h 989988"/>
                    <a:gd name="connsiteX1526" fmla="*/ 672173 w 824741"/>
                    <a:gd name="connsiteY1526" fmla="*/ 206813 h 989988"/>
                    <a:gd name="connsiteX1527" fmla="*/ 740354 w 824741"/>
                    <a:gd name="connsiteY1527" fmla="*/ 246107 h 989988"/>
                    <a:gd name="connsiteX1528" fmla="*/ 728930 w 824741"/>
                    <a:gd name="connsiteY1528" fmla="*/ 256753 h 989988"/>
                    <a:gd name="connsiteX1529" fmla="*/ 666612 w 824741"/>
                    <a:gd name="connsiteY1529" fmla="*/ 220629 h 989988"/>
                    <a:gd name="connsiteX1530" fmla="*/ 672173 w 824741"/>
                    <a:gd name="connsiteY1530" fmla="*/ 206813 h 989988"/>
                    <a:gd name="connsiteX1531" fmla="*/ 431091 w 824741"/>
                    <a:gd name="connsiteY1531" fmla="*/ 643645 h 989988"/>
                    <a:gd name="connsiteX1532" fmla="*/ 470444 w 824741"/>
                    <a:gd name="connsiteY1532" fmla="*/ 670439 h 989988"/>
                    <a:gd name="connsiteX1533" fmla="*/ 465121 w 824741"/>
                    <a:gd name="connsiteY1533" fmla="*/ 684015 h 989988"/>
                    <a:gd name="connsiteX1534" fmla="*/ 426246 w 824741"/>
                    <a:gd name="connsiteY1534" fmla="*/ 657281 h 989988"/>
                    <a:gd name="connsiteX1535" fmla="*/ 431091 w 824741"/>
                    <a:gd name="connsiteY1535" fmla="*/ 643645 h 989988"/>
                    <a:gd name="connsiteX1536" fmla="*/ 425529 w 824741"/>
                    <a:gd name="connsiteY1536" fmla="*/ 659135 h 989988"/>
                    <a:gd name="connsiteX1537" fmla="*/ 464403 w 824741"/>
                    <a:gd name="connsiteY1537" fmla="*/ 685809 h 989988"/>
                    <a:gd name="connsiteX1538" fmla="*/ 455731 w 824741"/>
                    <a:gd name="connsiteY1538" fmla="*/ 707938 h 989988"/>
                    <a:gd name="connsiteX1539" fmla="*/ 417574 w 824741"/>
                    <a:gd name="connsiteY1539" fmla="*/ 681503 h 989988"/>
                    <a:gd name="connsiteX1540" fmla="*/ 425529 w 824741"/>
                    <a:gd name="connsiteY1540" fmla="*/ 659135 h 989988"/>
                    <a:gd name="connsiteX1541" fmla="*/ 41507 w 824741"/>
                    <a:gd name="connsiteY1541" fmla="*/ 605847 h 989988"/>
                    <a:gd name="connsiteX1542" fmla="*/ 360458 w 824741"/>
                    <a:gd name="connsiteY1542" fmla="*/ 838019 h 989988"/>
                    <a:gd name="connsiteX1543" fmla="*/ 341081 w 824741"/>
                    <a:gd name="connsiteY1543" fmla="*/ 892443 h 989988"/>
                    <a:gd name="connsiteX1544" fmla="*/ 250592 w 824741"/>
                    <a:gd name="connsiteY1544" fmla="*/ 825220 h 989988"/>
                    <a:gd name="connsiteX1545" fmla="*/ 246167 w 824741"/>
                    <a:gd name="connsiteY1545" fmla="*/ 822050 h 989988"/>
                    <a:gd name="connsiteX1546" fmla="*/ 244971 w 824741"/>
                    <a:gd name="connsiteY1546" fmla="*/ 821093 h 989988"/>
                    <a:gd name="connsiteX1547" fmla="*/ 215007 w 824741"/>
                    <a:gd name="connsiteY1547" fmla="*/ 798845 h 989988"/>
                    <a:gd name="connsiteX1548" fmla="*/ 213692 w 824741"/>
                    <a:gd name="connsiteY1548" fmla="*/ 797888 h 989988"/>
                    <a:gd name="connsiteX1549" fmla="*/ 194135 w 824741"/>
                    <a:gd name="connsiteY1549" fmla="*/ 783415 h 989988"/>
                    <a:gd name="connsiteX1550" fmla="*/ 142162 w 824741"/>
                    <a:gd name="connsiteY1550" fmla="*/ 744839 h 989988"/>
                    <a:gd name="connsiteX1551" fmla="*/ 123502 w 824741"/>
                    <a:gd name="connsiteY1551" fmla="*/ 730964 h 989988"/>
                    <a:gd name="connsiteX1552" fmla="*/ 123502 w 824741"/>
                    <a:gd name="connsiteY1552" fmla="*/ 730904 h 989988"/>
                    <a:gd name="connsiteX1553" fmla="*/ 122007 w 824741"/>
                    <a:gd name="connsiteY1553" fmla="*/ 729827 h 989988"/>
                    <a:gd name="connsiteX1554" fmla="*/ 110225 w 824741"/>
                    <a:gd name="connsiteY1554" fmla="*/ 721095 h 989988"/>
                    <a:gd name="connsiteX1555" fmla="*/ 36602 w 824741"/>
                    <a:gd name="connsiteY1555" fmla="*/ 666492 h 989988"/>
                    <a:gd name="connsiteX1556" fmla="*/ 41507 w 824741"/>
                    <a:gd name="connsiteY1556" fmla="*/ 605847 h 989988"/>
                    <a:gd name="connsiteX1557" fmla="*/ 713500 w 824741"/>
                    <a:gd name="connsiteY1557" fmla="*/ 170929 h 989988"/>
                    <a:gd name="connsiteX1558" fmla="*/ 713740 w 824741"/>
                    <a:gd name="connsiteY1558" fmla="*/ 170989 h 989988"/>
                    <a:gd name="connsiteX1559" fmla="*/ 713919 w 824741"/>
                    <a:gd name="connsiteY1559" fmla="*/ 171109 h 989988"/>
                    <a:gd name="connsiteX1560" fmla="*/ 714098 w 824741"/>
                    <a:gd name="connsiteY1560" fmla="*/ 171228 h 989988"/>
                    <a:gd name="connsiteX1561" fmla="*/ 714278 w 824741"/>
                    <a:gd name="connsiteY1561" fmla="*/ 171348 h 989988"/>
                    <a:gd name="connsiteX1562" fmla="*/ 714756 w 824741"/>
                    <a:gd name="connsiteY1562" fmla="*/ 171766 h 989988"/>
                    <a:gd name="connsiteX1563" fmla="*/ 714996 w 824741"/>
                    <a:gd name="connsiteY1563" fmla="*/ 171527 h 989988"/>
                    <a:gd name="connsiteX1564" fmla="*/ 780664 w 824741"/>
                    <a:gd name="connsiteY1564" fmla="*/ 208667 h 989988"/>
                    <a:gd name="connsiteX1565" fmla="*/ 741849 w 824741"/>
                    <a:gd name="connsiteY1565" fmla="*/ 244791 h 989988"/>
                    <a:gd name="connsiteX1566" fmla="*/ 673370 w 824741"/>
                    <a:gd name="connsiteY1566" fmla="*/ 205318 h 989988"/>
                    <a:gd name="connsiteX1567" fmla="*/ 674746 w 824741"/>
                    <a:gd name="connsiteY1567" fmla="*/ 204242 h 989988"/>
                    <a:gd name="connsiteX1568" fmla="*/ 674386 w 824741"/>
                    <a:gd name="connsiteY1568" fmla="*/ 204062 h 989988"/>
                    <a:gd name="connsiteX1569" fmla="*/ 674088 w 824741"/>
                    <a:gd name="connsiteY1569" fmla="*/ 203943 h 989988"/>
                    <a:gd name="connsiteX1570" fmla="*/ 673729 w 824741"/>
                    <a:gd name="connsiteY1570" fmla="*/ 203763 h 989988"/>
                    <a:gd name="connsiteX1571" fmla="*/ 673430 w 824741"/>
                    <a:gd name="connsiteY1571" fmla="*/ 203524 h 989988"/>
                    <a:gd name="connsiteX1572" fmla="*/ 672114 w 824741"/>
                    <a:gd name="connsiteY1572" fmla="*/ 204600 h 989988"/>
                    <a:gd name="connsiteX1573" fmla="*/ 636708 w 824741"/>
                    <a:gd name="connsiteY1573" fmla="*/ 184206 h 989988"/>
                    <a:gd name="connsiteX1574" fmla="*/ 636768 w 824741"/>
                    <a:gd name="connsiteY1574" fmla="*/ 184206 h 989988"/>
                    <a:gd name="connsiteX1575" fmla="*/ 636229 w 824741"/>
                    <a:gd name="connsiteY1575" fmla="*/ 183967 h 989988"/>
                    <a:gd name="connsiteX1576" fmla="*/ 635751 w 824741"/>
                    <a:gd name="connsiteY1576" fmla="*/ 183728 h 989988"/>
                    <a:gd name="connsiteX1577" fmla="*/ 635333 w 824741"/>
                    <a:gd name="connsiteY1577" fmla="*/ 183489 h 989988"/>
                    <a:gd name="connsiteX1578" fmla="*/ 634914 w 824741"/>
                    <a:gd name="connsiteY1578" fmla="*/ 183130 h 989988"/>
                    <a:gd name="connsiteX1579" fmla="*/ 605190 w 824741"/>
                    <a:gd name="connsiteY1579" fmla="*/ 165965 h 989988"/>
                    <a:gd name="connsiteX1580" fmla="*/ 604652 w 824741"/>
                    <a:gd name="connsiteY1580" fmla="*/ 166144 h 989988"/>
                    <a:gd name="connsiteX1581" fmla="*/ 604113 w 824741"/>
                    <a:gd name="connsiteY1581" fmla="*/ 166264 h 989988"/>
                    <a:gd name="connsiteX1582" fmla="*/ 603575 w 824741"/>
                    <a:gd name="connsiteY1582" fmla="*/ 166324 h 989988"/>
                    <a:gd name="connsiteX1583" fmla="*/ 603037 w 824741"/>
                    <a:gd name="connsiteY1583" fmla="*/ 166324 h 989988"/>
                    <a:gd name="connsiteX1584" fmla="*/ 602558 w 824741"/>
                    <a:gd name="connsiteY1584" fmla="*/ 166264 h 989988"/>
                    <a:gd name="connsiteX1585" fmla="*/ 602080 w 824741"/>
                    <a:gd name="connsiteY1585" fmla="*/ 166144 h 989988"/>
                    <a:gd name="connsiteX1586" fmla="*/ 601601 w 824741"/>
                    <a:gd name="connsiteY1586" fmla="*/ 165965 h 989988"/>
                    <a:gd name="connsiteX1587" fmla="*/ 601122 w 824741"/>
                    <a:gd name="connsiteY1587" fmla="*/ 165726 h 989988"/>
                    <a:gd name="connsiteX1588" fmla="*/ 600644 w 824741"/>
                    <a:gd name="connsiteY1588" fmla="*/ 165427 h 989988"/>
                    <a:gd name="connsiteX1589" fmla="*/ 600226 w 824741"/>
                    <a:gd name="connsiteY1589" fmla="*/ 165068 h 989988"/>
                    <a:gd name="connsiteX1590" fmla="*/ 599867 w 824741"/>
                    <a:gd name="connsiteY1590" fmla="*/ 164709 h 989988"/>
                    <a:gd name="connsiteX1591" fmla="*/ 599508 w 824741"/>
                    <a:gd name="connsiteY1591" fmla="*/ 164290 h 989988"/>
                    <a:gd name="connsiteX1592" fmla="*/ 599209 w 824741"/>
                    <a:gd name="connsiteY1592" fmla="*/ 163812 h 989988"/>
                    <a:gd name="connsiteX1593" fmla="*/ 598910 w 824741"/>
                    <a:gd name="connsiteY1593" fmla="*/ 163334 h 989988"/>
                    <a:gd name="connsiteX1594" fmla="*/ 598671 w 824741"/>
                    <a:gd name="connsiteY1594" fmla="*/ 162795 h 989988"/>
                    <a:gd name="connsiteX1595" fmla="*/ 598491 w 824741"/>
                    <a:gd name="connsiteY1595" fmla="*/ 162257 h 989988"/>
                    <a:gd name="connsiteX1596" fmla="*/ 535992 w 824741"/>
                    <a:gd name="connsiteY1596" fmla="*/ 126193 h 989988"/>
                    <a:gd name="connsiteX1597" fmla="*/ 535216 w 824741"/>
                    <a:gd name="connsiteY1597" fmla="*/ 126014 h 989988"/>
                    <a:gd name="connsiteX1598" fmla="*/ 534497 w 824741"/>
                    <a:gd name="connsiteY1598" fmla="*/ 125655 h 989988"/>
                    <a:gd name="connsiteX1599" fmla="*/ 533839 w 824741"/>
                    <a:gd name="connsiteY1599" fmla="*/ 125237 h 989988"/>
                    <a:gd name="connsiteX1600" fmla="*/ 533361 w 824741"/>
                    <a:gd name="connsiteY1600" fmla="*/ 124638 h 989988"/>
                    <a:gd name="connsiteX1601" fmla="*/ 500886 w 824741"/>
                    <a:gd name="connsiteY1601" fmla="*/ 105978 h 989988"/>
                    <a:gd name="connsiteX1602" fmla="*/ 500945 w 824741"/>
                    <a:gd name="connsiteY1602" fmla="*/ 105919 h 989988"/>
                    <a:gd name="connsiteX1603" fmla="*/ 500527 w 824741"/>
                    <a:gd name="connsiteY1603" fmla="*/ 105679 h 989988"/>
                    <a:gd name="connsiteX1604" fmla="*/ 500168 w 824741"/>
                    <a:gd name="connsiteY1604" fmla="*/ 105440 h 989988"/>
                    <a:gd name="connsiteX1605" fmla="*/ 499750 w 824741"/>
                    <a:gd name="connsiteY1605" fmla="*/ 105141 h 989988"/>
                    <a:gd name="connsiteX1606" fmla="*/ 499390 w 824741"/>
                    <a:gd name="connsiteY1606" fmla="*/ 104842 h 989988"/>
                    <a:gd name="connsiteX1607" fmla="*/ 499152 w 824741"/>
                    <a:gd name="connsiteY1607" fmla="*/ 104962 h 989988"/>
                    <a:gd name="connsiteX1608" fmla="*/ 467932 w 824741"/>
                    <a:gd name="connsiteY1608" fmla="*/ 86960 h 989988"/>
                    <a:gd name="connsiteX1609" fmla="*/ 468470 w 824741"/>
                    <a:gd name="connsiteY1609" fmla="*/ 86661 h 989988"/>
                    <a:gd name="connsiteX1610" fmla="*/ 468111 w 824741"/>
                    <a:gd name="connsiteY1610" fmla="*/ 86362 h 989988"/>
                    <a:gd name="connsiteX1611" fmla="*/ 467753 w 824741"/>
                    <a:gd name="connsiteY1611" fmla="*/ 86063 h 989988"/>
                    <a:gd name="connsiteX1612" fmla="*/ 467394 w 824741"/>
                    <a:gd name="connsiteY1612" fmla="*/ 85764 h 989988"/>
                    <a:gd name="connsiteX1613" fmla="*/ 467035 w 824741"/>
                    <a:gd name="connsiteY1613" fmla="*/ 85465 h 989988"/>
                    <a:gd name="connsiteX1614" fmla="*/ 466258 w 824741"/>
                    <a:gd name="connsiteY1614" fmla="*/ 85883 h 989988"/>
                    <a:gd name="connsiteX1615" fmla="*/ 404895 w 824741"/>
                    <a:gd name="connsiteY1615" fmla="*/ 50537 h 989988"/>
                    <a:gd name="connsiteX1616" fmla="*/ 456210 w 824741"/>
                    <a:gd name="connsiteY1616" fmla="*/ 25299 h 989988"/>
                    <a:gd name="connsiteX1617" fmla="*/ 515419 w 824741"/>
                    <a:gd name="connsiteY1617" fmla="*/ 58731 h 989988"/>
                    <a:gd name="connsiteX1618" fmla="*/ 515001 w 824741"/>
                    <a:gd name="connsiteY1618" fmla="*/ 58970 h 989988"/>
                    <a:gd name="connsiteX1619" fmla="*/ 515359 w 824741"/>
                    <a:gd name="connsiteY1619" fmla="*/ 59269 h 989988"/>
                    <a:gd name="connsiteX1620" fmla="*/ 515778 w 824741"/>
                    <a:gd name="connsiteY1620" fmla="*/ 59508 h 989988"/>
                    <a:gd name="connsiteX1621" fmla="*/ 516137 w 824741"/>
                    <a:gd name="connsiteY1621" fmla="*/ 59807 h 989988"/>
                    <a:gd name="connsiteX1622" fmla="*/ 516555 w 824741"/>
                    <a:gd name="connsiteY1622" fmla="*/ 60106 h 989988"/>
                    <a:gd name="connsiteX1623" fmla="*/ 517094 w 824741"/>
                    <a:gd name="connsiteY1623" fmla="*/ 59807 h 989988"/>
                    <a:gd name="connsiteX1624" fmla="*/ 547177 w 824741"/>
                    <a:gd name="connsiteY1624" fmla="*/ 76792 h 989988"/>
                    <a:gd name="connsiteX1625" fmla="*/ 546638 w 824741"/>
                    <a:gd name="connsiteY1625" fmla="*/ 77092 h 989988"/>
                    <a:gd name="connsiteX1626" fmla="*/ 547057 w 824741"/>
                    <a:gd name="connsiteY1626" fmla="*/ 77271 h 989988"/>
                    <a:gd name="connsiteX1627" fmla="*/ 547476 w 824741"/>
                    <a:gd name="connsiteY1627" fmla="*/ 77450 h 989988"/>
                    <a:gd name="connsiteX1628" fmla="*/ 547895 w 824741"/>
                    <a:gd name="connsiteY1628" fmla="*/ 77749 h 989988"/>
                    <a:gd name="connsiteX1629" fmla="*/ 548253 w 824741"/>
                    <a:gd name="connsiteY1629" fmla="*/ 78049 h 989988"/>
                    <a:gd name="connsiteX1630" fmla="*/ 548851 w 824741"/>
                    <a:gd name="connsiteY1630" fmla="*/ 77690 h 989988"/>
                    <a:gd name="connsiteX1631" fmla="*/ 581027 w 824741"/>
                    <a:gd name="connsiteY1631" fmla="*/ 95871 h 989988"/>
                    <a:gd name="connsiteX1632" fmla="*/ 580549 w 824741"/>
                    <a:gd name="connsiteY1632" fmla="*/ 96170 h 989988"/>
                    <a:gd name="connsiteX1633" fmla="*/ 580967 w 824741"/>
                    <a:gd name="connsiteY1633" fmla="*/ 96230 h 989988"/>
                    <a:gd name="connsiteX1634" fmla="*/ 581387 w 824741"/>
                    <a:gd name="connsiteY1634" fmla="*/ 96350 h 989988"/>
                    <a:gd name="connsiteX1635" fmla="*/ 581745 w 824741"/>
                    <a:gd name="connsiteY1635" fmla="*/ 96529 h 989988"/>
                    <a:gd name="connsiteX1636" fmla="*/ 582104 w 824741"/>
                    <a:gd name="connsiteY1636" fmla="*/ 96708 h 989988"/>
                    <a:gd name="connsiteX1637" fmla="*/ 582463 w 824741"/>
                    <a:gd name="connsiteY1637" fmla="*/ 96888 h 989988"/>
                    <a:gd name="connsiteX1638" fmla="*/ 582702 w 824741"/>
                    <a:gd name="connsiteY1638" fmla="*/ 96708 h 989988"/>
                    <a:gd name="connsiteX1639" fmla="*/ 643407 w 824741"/>
                    <a:gd name="connsiteY1639" fmla="*/ 131038 h 989988"/>
                    <a:gd name="connsiteX1640" fmla="*/ 644304 w 824741"/>
                    <a:gd name="connsiteY1640" fmla="*/ 131217 h 989988"/>
                    <a:gd name="connsiteX1641" fmla="*/ 645141 w 824741"/>
                    <a:gd name="connsiteY1641" fmla="*/ 131636 h 989988"/>
                    <a:gd name="connsiteX1642" fmla="*/ 645859 w 824741"/>
                    <a:gd name="connsiteY1642" fmla="*/ 132174 h 989988"/>
                    <a:gd name="connsiteX1643" fmla="*/ 646517 w 824741"/>
                    <a:gd name="connsiteY1643" fmla="*/ 132892 h 989988"/>
                    <a:gd name="connsiteX1644" fmla="*/ 677975 w 824741"/>
                    <a:gd name="connsiteY1644" fmla="*/ 150655 h 989988"/>
                    <a:gd name="connsiteX1645" fmla="*/ 678394 w 824741"/>
                    <a:gd name="connsiteY1645" fmla="*/ 150894 h 989988"/>
                    <a:gd name="connsiteX1646" fmla="*/ 678753 w 824741"/>
                    <a:gd name="connsiteY1646" fmla="*/ 151133 h 989988"/>
                    <a:gd name="connsiteX1647" fmla="*/ 679111 w 824741"/>
                    <a:gd name="connsiteY1647" fmla="*/ 151432 h 989988"/>
                    <a:gd name="connsiteX1648" fmla="*/ 679411 w 824741"/>
                    <a:gd name="connsiteY1648" fmla="*/ 151791 h 989988"/>
                    <a:gd name="connsiteX1649" fmla="*/ 679709 w 824741"/>
                    <a:gd name="connsiteY1649" fmla="*/ 151611 h 989988"/>
                    <a:gd name="connsiteX1650" fmla="*/ 713740 w 824741"/>
                    <a:gd name="connsiteY1650" fmla="*/ 170810 h 989988"/>
                    <a:gd name="connsiteX1651" fmla="*/ 713500 w 824741"/>
                    <a:gd name="connsiteY1651" fmla="*/ 170929 h 989988"/>
                    <a:gd name="connsiteX1652" fmla="*/ 288690 w 824741"/>
                    <a:gd name="connsiteY1652" fmla="*/ 880422 h 989988"/>
                    <a:gd name="connsiteX1653" fmla="*/ 302026 w 824741"/>
                    <a:gd name="connsiteY1653" fmla="*/ 865889 h 989988"/>
                    <a:gd name="connsiteX1654" fmla="*/ 340423 w 824741"/>
                    <a:gd name="connsiteY1654" fmla="*/ 894297 h 989988"/>
                    <a:gd name="connsiteX1655" fmla="*/ 333485 w 824741"/>
                    <a:gd name="connsiteY1655" fmla="*/ 913914 h 989988"/>
                    <a:gd name="connsiteX1656" fmla="*/ 288690 w 824741"/>
                    <a:gd name="connsiteY1656" fmla="*/ 880422 h 989988"/>
                    <a:gd name="connsiteX1657" fmla="*/ 716611 w 824741"/>
                    <a:gd name="connsiteY1657" fmla="*/ 170211 h 989988"/>
                    <a:gd name="connsiteX1658" fmla="*/ 722950 w 824741"/>
                    <a:gd name="connsiteY1658" fmla="*/ 165068 h 989988"/>
                    <a:gd name="connsiteX1659" fmla="*/ 788080 w 824741"/>
                    <a:gd name="connsiteY1659" fmla="*/ 201730 h 989988"/>
                    <a:gd name="connsiteX1660" fmla="*/ 782099 w 824741"/>
                    <a:gd name="connsiteY1660" fmla="*/ 207352 h 989988"/>
                    <a:gd name="connsiteX1661" fmla="*/ 716611 w 824741"/>
                    <a:gd name="connsiteY1661" fmla="*/ 170211 h 989988"/>
                    <a:gd name="connsiteX1662" fmla="*/ 601302 w 824741"/>
                    <a:gd name="connsiteY1662" fmla="*/ 377144 h 989988"/>
                    <a:gd name="connsiteX1663" fmla="*/ 659674 w 824741"/>
                    <a:gd name="connsiteY1663" fmla="*/ 322839 h 989988"/>
                    <a:gd name="connsiteX1664" fmla="*/ 698011 w 824741"/>
                    <a:gd name="connsiteY1664" fmla="*/ 345746 h 989988"/>
                    <a:gd name="connsiteX1665" fmla="*/ 641732 w 824741"/>
                    <a:gd name="connsiteY1665" fmla="*/ 401904 h 989988"/>
                    <a:gd name="connsiteX1666" fmla="*/ 601302 w 824741"/>
                    <a:gd name="connsiteY1666" fmla="*/ 377144 h 989988"/>
                    <a:gd name="connsiteX1667" fmla="*/ 416917 w 824741"/>
                    <a:gd name="connsiteY1667" fmla="*/ 683357 h 989988"/>
                    <a:gd name="connsiteX1668" fmla="*/ 455014 w 824741"/>
                    <a:gd name="connsiteY1668" fmla="*/ 709672 h 989988"/>
                    <a:gd name="connsiteX1669" fmla="*/ 434201 w 824741"/>
                    <a:gd name="connsiteY1669" fmla="*/ 762841 h 989988"/>
                    <a:gd name="connsiteX1670" fmla="*/ 397778 w 824741"/>
                    <a:gd name="connsiteY1670" fmla="*/ 737184 h 989988"/>
                    <a:gd name="connsiteX1671" fmla="*/ 404238 w 824741"/>
                    <a:gd name="connsiteY1671" fmla="*/ 719122 h 989988"/>
                    <a:gd name="connsiteX1672" fmla="*/ 416917 w 824741"/>
                    <a:gd name="connsiteY1672" fmla="*/ 683357 h 989988"/>
                    <a:gd name="connsiteX1673" fmla="*/ 267877 w 824741"/>
                    <a:gd name="connsiteY1673" fmla="*/ 887419 h 989988"/>
                    <a:gd name="connsiteX1674" fmla="*/ 278881 w 824741"/>
                    <a:gd name="connsiteY1674" fmla="*/ 875458 h 989988"/>
                    <a:gd name="connsiteX1675" fmla="*/ 332827 w 824741"/>
                    <a:gd name="connsiteY1675" fmla="*/ 915708 h 989988"/>
                    <a:gd name="connsiteX1676" fmla="*/ 327086 w 824741"/>
                    <a:gd name="connsiteY1676" fmla="*/ 931856 h 989988"/>
                    <a:gd name="connsiteX1677" fmla="*/ 267877 w 824741"/>
                    <a:gd name="connsiteY1677" fmla="*/ 887419 h 989988"/>
                    <a:gd name="connsiteX1678" fmla="*/ 661169 w 824741"/>
                    <a:gd name="connsiteY1678" fmla="*/ 321523 h 989988"/>
                    <a:gd name="connsiteX1679" fmla="*/ 668944 w 824741"/>
                    <a:gd name="connsiteY1679" fmla="*/ 314347 h 989988"/>
                    <a:gd name="connsiteX1680" fmla="*/ 706922 w 824741"/>
                    <a:gd name="connsiteY1680" fmla="*/ 336954 h 989988"/>
                    <a:gd name="connsiteX1681" fmla="*/ 699386 w 824741"/>
                    <a:gd name="connsiteY1681" fmla="*/ 344430 h 989988"/>
                    <a:gd name="connsiteX1682" fmla="*/ 661169 w 824741"/>
                    <a:gd name="connsiteY1682" fmla="*/ 321523 h 989988"/>
                    <a:gd name="connsiteX1683" fmla="*/ 397120 w 824741"/>
                    <a:gd name="connsiteY1683" fmla="*/ 739038 h 989988"/>
                    <a:gd name="connsiteX1684" fmla="*/ 433483 w 824741"/>
                    <a:gd name="connsiteY1684" fmla="*/ 764635 h 989988"/>
                    <a:gd name="connsiteX1685" fmla="*/ 424093 w 824741"/>
                    <a:gd name="connsiteY1685" fmla="*/ 788558 h 989988"/>
                    <a:gd name="connsiteX1686" fmla="*/ 388508 w 824741"/>
                    <a:gd name="connsiteY1686" fmla="*/ 763200 h 989988"/>
                    <a:gd name="connsiteX1687" fmla="*/ 397120 w 824741"/>
                    <a:gd name="connsiteY1687" fmla="*/ 739038 h 989988"/>
                    <a:gd name="connsiteX1688" fmla="*/ 267039 w 824741"/>
                    <a:gd name="connsiteY1688" fmla="*/ 889154 h 989988"/>
                    <a:gd name="connsiteX1689" fmla="*/ 326428 w 824741"/>
                    <a:gd name="connsiteY1689" fmla="*/ 933710 h 989988"/>
                    <a:gd name="connsiteX1690" fmla="*/ 319012 w 824741"/>
                    <a:gd name="connsiteY1690" fmla="*/ 954583 h 989988"/>
                    <a:gd name="connsiteX1691" fmla="*/ 260760 w 824741"/>
                    <a:gd name="connsiteY1691" fmla="*/ 910505 h 989988"/>
                    <a:gd name="connsiteX1692" fmla="*/ 267039 w 824741"/>
                    <a:gd name="connsiteY1692" fmla="*/ 889154 h 989988"/>
                    <a:gd name="connsiteX1693" fmla="*/ 260221 w 824741"/>
                    <a:gd name="connsiteY1693" fmla="*/ 912479 h 989988"/>
                    <a:gd name="connsiteX1694" fmla="*/ 318354 w 824741"/>
                    <a:gd name="connsiteY1694" fmla="*/ 956437 h 989988"/>
                    <a:gd name="connsiteX1695" fmla="*/ 315424 w 824741"/>
                    <a:gd name="connsiteY1695" fmla="*/ 964750 h 989988"/>
                    <a:gd name="connsiteX1696" fmla="*/ 257770 w 824741"/>
                    <a:gd name="connsiteY1696" fmla="*/ 920971 h 989988"/>
                    <a:gd name="connsiteX1697" fmla="*/ 260221 w 824741"/>
                    <a:gd name="connsiteY1697" fmla="*/ 912479 h 989988"/>
                    <a:gd name="connsiteX1698" fmla="*/ 387850 w 824741"/>
                    <a:gd name="connsiteY1698" fmla="*/ 765114 h 989988"/>
                    <a:gd name="connsiteX1699" fmla="*/ 423435 w 824741"/>
                    <a:gd name="connsiteY1699" fmla="*/ 790412 h 989988"/>
                    <a:gd name="connsiteX1700" fmla="*/ 418950 w 824741"/>
                    <a:gd name="connsiteY1700" fmla="*/ 801835 h 989988"/>
                    <a:gd name="connsiteX1701" fmla="*/ 383663 w 824741"/>
                    <a:gd name="connsiteY1701" fmla="*/ 776657 h 989988"/>
                    <a:gd name="connsiteX1702" fmla="*/ 387850 w 824741"/>
                    <a:gd name="connsiteY1702" fmla="*/ 765114 h 989988"/>
                    <a:gd name="connsiteX1703" fmla="*/ 383125 w 824741"/>
                    <a:gd name="connsiteY1703" fmla="*/ 778451 h 989988"/>
                    <a:gd name="connsiteX1704" fmla="*/ 418292 w 824741"/>
                    <a:gd name="connsiteY1704" fmla="*/ 803510 h 989988"/>
                    <a:gd name="connsiteX1705" fmla="*/ 412909 w 824741"/>
                    <a:gd name="connsiteY1705" fmla="*/ 817325 h 989988"/>
                    <a:gd name="connsiteX1706" fmla="*/ 378102 w 824741"/>
                    <a:gd name="connsiteY1706" fmla="*/ 792386 h 989988"/>
                    <a:gd name="connsiteX1707" fmla="*/ 383125 w 824741"/>
                    <a:gd name="connsiteY1707" fmla="*/ 778451 h 989988"/>
                    <a:gd name="connsiteX1708" fmla="*/ 670320 w 824741"/>
                    <a:gd name="connsiteY1708" fmla="*/ 312971 h 989988"/>
                    <a:gd name="connsiteX1709" fmla="*/ 711228 w 824741"/>
                    <a:gd name="connsiteY1709" fmla="*/ 274934 h 989988"/>
                    <a:gd name="connsiteX1710" fmla="*/ 747650 w 824741"/>
                    <a:gd name="connsiteY1710" fmla="*/ 296165 h 989988"/>
                    <a:gd name="connsiteX1711" fmla="*/ 708237 w 824741"/>
                    <a:gd name="connsiteY1711" fmla="*/ 335519 h 989988"/>
                    <a:gd name="connsiteX1712" fmla="*/ 670320 w 824741"/>
                    <a:gd name="connsiteY1712" fmla="*/ 312971 h 989988"/>
                    <a:gd name="connsiteX1713" fmla="*/ 377444 w 824741"/>
                    <a:gd name="connsiteY1713" fmla="*/ 794240 h 989988"/>
                    <a:gd name="connsiteX1714" fmla="*/ 412132 w 824741"/>
                    <a:gd name="connsiteY1714" fmla="*/ 819120 h 989988"/>
                    <a:gd name="connsiteX1715" fmla="*/ 395625 w 824741"/>
                    <a:gd name="connsiteY1715" fmla="*/ 861343 h 989988"/>
                    <a:gd name="connsiteX1716" fmla="*/ 362253 w 824741"/>
                    <a:gd name="connsiteY1716" fmla="*/ 837002 h 989988"/>
                    <a:gd name="connsiteX1717" fmla="*/ 377444 w 824741"/>
                    <a:gd name="connsiteY1717" fmla="*/ 794240 h 989988"/>
                    <a:gd name="connsiteX1718" fmla="*/ 712783 w 824741"/>
                    <a:gd name="connsiteY1718" fmla="*/ 273618 h 989988"/>
                    <a:gd name="connsiteX1719" fmla="*/ 727017 w 824741"/>
                    <a:gd name="connsiteY1719" fmla="*/ 260341 h 989988"/>
                    <a:gd name="connsiteX1720" fmla="*/ 729170 w 824741"/>
                    <a:gd name="connsiteY1720" fmla="*/ 258367 h 989988"/>
                    <a:gd name="connsiteX1721" fmla="*/ 741610 w 824741"/>
                    <a:gd name="connsiteY1721" fmla="*/ 246764 h 989988"/>
                    <a:gd name="connsiteX1722" fmla="*/ 776836 w 824741"/>
                    <a:gd name="connsiteY1722" fmla="*/ 267099 h 989988"/>
                    <a:gd name="connsiteX1723" fmla="*/ 749085 w 824741"/>
                    <a:gd name="connsiteY1723" fmla="*/ 294850 h 989988"/>
                    <a:gd name="connsiteX1724" fmla="*/ 712783 w 824741"/>
                    <a:gd name="connsiteY1724" fmla="*/ 273618 h 989988"/>
                    <a:gd name="connsiteX1725" fmla="*/ 361595 w 824741"/>
                    <a:gd name="connsiteY1725" fmla="*/ 838796 h 989988"/>
                    <a:gd name="connsiteX1726" fmla="*/ 394967 w 824741"/>
                    <a:gd name="connsiteY1726" fmla="*/ 863138 h 989988"/>
                    <a:gd name="connsiteX1727" fmla="*/ 373915 w 824741"/>
                    <a:gd name="connsiteY1727" fmla="*/ 916845 h 989988"/>
                    <a:gd name="connsiteX1728" fmla="*/ 342218 w 824741"/>
                    <a:gd name="connsiteY1728" fmla="*/ 893281 h 989988"/>
                    <a:gd name="connsiteX1729" fmla="*/ 361595 w 824741"/>
                    <a:gd name="connsiteY1729" fmla="*/ 838796 h 989988"/>
                    <a:gd name="connsiteX1730" fmla="*/ 743046 w 824741"/>
                    <a:gd name="connsiteY1730" fmla="*/ 245449 h 989988"/>
                    <a:gd name="connsiteX1731" fmla="*/ 781920 w 824741"/>
                    <a:gd name="connsiteY1731" fmla="*/ 209385 h 989988"/>
                    <a:gd name="connsiteX1732" fmla="*/ 815591 w 824741"/>
                    <a:gd name="connsiteY1732" fmla="*/ 228463 h 989988"/>
                    <a:gd name="connsiteX1733" fmla="*/ 811584 w 824741"/>
                    <a:gd name="connsiteY1733" fmla="*/ 232411 h 989988"/>
                    <a:gd name="connsiteX1734" fmla="*/ 778212 w 824741"/>
                    <a:gd name="connsiteY1734" fmla="*/ 265783 h 989988"/>
                    <a:gd name="connsiteX1735" fmla="*/ 743046 w 824741"/>
                    <a:gd name="connsiteY1735" fmla="*/ 245449 h 989988"/>
                    <a:gd name="connsiteX1736" fmla="*/ 783356 w 824741"/>
                    <a:gd name="connsiteY1736" fmla="*/ 208009 h 989988"/>
                    <a:gd name="connsiteX1737" fmla="*/ 789336 w 824741"/>
                    <a:gd name="connsiteY1737" fmla="*/ 202447 h 989988"/>
                    <a:gd name="connsiteX1738" fmla="*/ 822768 w 824741"/>
                    <a:gd name="connsiteY1738" fmla="*/ 221287 h 989988"/>
                    <a:gd name="connsiteX1739" fmla="*/ 816967 w 824741"/>
                    <a:gd name="connsiteY1739" fmla="*/ 227088 h 989988"/>
                    <a:gd name="connsiteX1740" fmla="*/ 783356 w 824741"/>
                    <a:gd name="connsiteY1740" fmla="*/ 208009 h 989988"/>
                    <a:gd name="connsiteX1741" fmla="*/ 341560 w 824741"/>
                    <a:gd name="connsiteY1741" fmla="*/ 895135 h 989988"/>
                    <a:gd name="connsiteX1742" fmla="*/ 373257 w 824741"/>
                    <a:gd name="connsiteY1742" fmla="*/ 918579 h 989988"/>
                    <a:gd name="connsiteX1743" fmla="*/ 358724 w 824741"/>
                    <a:gd name="connsiteY1743" fmla="*/ 955660 h 989988"/>
                    <a:gd name="connsiteX1744" fmla="*/ 328222 w 824741"/>
                    <a:gd name="connsiteY1744" fmla="*/ 932753 h 989988"/>
                    <a:gd name="connsiteX1745" fmla="*/ 341560 w 824741"/>
                    <a:gd name="connsiteY1745" fmla="*/ 895135 h 989988"/>
                    <a:gd name="connsiteX1746" fmla="*/ 327504 w 824741"/>
                    <a:gd name="connsiteY1746" fmla="*/ 934547 h 989988"/>
                    <a:gd name="connsiteX1747" fmla="*/ 358007 w 824741"/>
                    <a:gd name="connsiteY1747" fmla="*/ 957454 h 989988"/>
                    <a:gd name="connsiteX1748" fmla="*/ 349932 w 824741"/>
                    <a:gd name="connsiteY1748" fmla="*/ 978027 h 989988"/>
                    <a:gd name="connsiteX1749" fmla="*/ 320088 w 824741"/>
                    <a:gd name="connsiteY1749" fmla="*/ 955420 h 989988"/>
                    <a:gd name="connsiteX1750" fmla="*/ 327504 w 824741"/>
                    <a:gd name="connsiteY1750" fmla="*/ 934547 h 989988"/>
                    <a:gd name="connsiteX1751" fmla="*/ 319431 w 824741"/>
                    <a:gd name="connsiteY1751" fmla="*/ 957215 h 989988"/>
                    <a:gd name="connsiteX1752" fmla="*/ 349214 w 824741"/>
                    <a:gd name="connsiteY1752" fmla="*/ 979822 h 989988"/>
                    <a:gd name="connsiteX1753" fmla="*/ 346045 w 824741"/>
                    <a:gd name="connsiteY1753" fmla="*/ 988075 h 989988"/>
                    <a:gd name="connsiteX1754" fmla="*/ 316500 w 824741"/>
                    <a:gd name="connsiteY1754" fmla="*/ 965587 h 989988"/>
                    <a:gd name="connsiteX1755" fmla="*/ 319431 w 824741"/>
                    <a:gd name="connsiteY1755" fmla="*/ 957215 h 989988"/>
                    <a:gd name="connsiteX1756" fmla="*/ 771753 w 824741"/>
                    <a:gd name="connsiteY1756" fmla="*/ 329598 h 989988"/>
                    <a:gd name="connsiteX1757" fmla="*/ 784252 w 824741"/>
                    <a:gd name="connsiteY1757" fmla="*/ 336954 h 989988"/>
                    <a:gd name="connsiteX1758" fmla="*/ 749744 w 824741"/>
                    <a:gd name="connsiteY1758" fmla="*/ 374812 h 989988"/>
                    <a:gd name="connsiteX1759" fmla="*/ 767028 w 824741"/>
                    <a:gd name="connsiteY1759" fmla="*/ 339286 h 989988"/>
                    <a:gd name="connsiteX1760" fmla="*/ 771753 w 824741"/>
                    <a:gd name="connsiteY1760" fmla="*/ 329598 h 989988"/>
                    <a:gd name="connsiteX1761" fmla="*/ 775042 w 824741"/>
                    <a:gd name="connsiteY1761" fmla="*/ 322839 h 989988"/>
                    <a:gd name="connsiteX1762" fmla="*/ 789455 w 824741"/>
                    <a:gd name="connsiteY1762" fmla="*/ 331272 h 989988"/>
                    <a:gd name="connsiteX1763" fmla="*/ 785509 w 824741"/>
                    <a:gd name="connsiteY1763" fmla="*/ 335578 h 989988"/>
                    <a:gd name="connsiteX1764" fmla="*/ 772530 w 824741"/>
                    <a:gd name="connsiteY1764" fmla="*/ 327923 h 989988"/>
                    <a:gd name="connsiteX1765" fmla="*/ 775042 w 824741"/>
                    <a:gd name="connsiteY1765" fmla="*/ 322839 h 989988"/>
                    <a:gd name="connsiteX1766" fmla="*/ 605309 w 824741"/>
                    <a:gd name="connsiteY1766" fmla="*/ 667688 h 989988"/>
                    <a:gd name="connsiteX1767" fmla="*/ 605489 w 824741"/>
                    <a:gd name="connsiteY1767" fmla="*/ 667807 h 989988"/>
                    <a:gd name="connsiteX1768" fmla="*/ 599927 w 824741"/>
                    <a:gd name="connsiteY1768" fmla="*/ 674685 h 989988"/>
                    <a:gd name="connsiteX1769" fmla="*/ 599747 w 824741"/>
                    <a:gd name="connsiteY1769" fmla="*/ 674566 h 989988"/>
                    <a:gd name="connsiteX1770" fmla="*/ 598611 w 824741"/>
                    <a:gd name="connsiteY1770" fmla="*/ 675941 h 989988"/>
                    <a:gd name="connsiteX1771" fmla="*/ 598850 w 824741"/>
                    <a:gd name="connsiteY1771" fmla="*/ 676001 h 989988"/>
                    <a:gd name="connsiteX1772" fmla="*/ 562368 w 824741"/>
                    <a:gd name="connsiteY1772" fmla="*/ 721155 h 989988"/>
                    <a:gd name="connsiteX1773" fmla="*/ 562188 w 824741"/>
                    <a:gd name="connsiteY1773" fmla="*/ 721036 h 989988"/>
                    <a:gd name="connsiteX1774" fmla="*/ 561052 w 824741"/>
                    <a:gd name="connsiteY1774" fmla="*/ 722411 h 989988"/>
                    <a:gd name="connsiteX1775" fmla="*/ 561232 w 824741"/>
                    <a:gd name="connsiteY1775" fmla="*/ 722531 h 989988"/>
                    <a:gd name="connsiteX1776" fmla="*/ 534617 w 824741"/>
                    <a:gd name="connsiteY1776" fmla="*/ 755485 h 989988"/>
                    <a:gd name="connsiteX1777" fmla="*/ 534438 w 824741"/>
                    <a:gd name="connsiteY1777" fmla="*/ 755365 h 989988"/>
                    <a:gd name="connsiteX1778" fmla="*/ 533301 w 824741"/>
                    <a:gd name="connsiteY1778" fmla="*/ 756801 h 989988"/>
                    <a:gd name="connsiteX1779" fmla="*/ 533421 w 824741"/>
                    <a:gd name="connsiteY1779" fmla="*/ 756860 h 989988"/>
                    <a:gd name="connsiteX1780" fmla="*/ 510814 w 824741"/>
                    <a:gd name="connsiteY1780" fmla="*/ 784850 h 989988"/>
                    <a:gd name="connsiteX1781" fmla="*/ 510694 w 824741"/>
                    <a:gd name="connsiteY1781" fmla="*/ 784790 h 989988"/>
                    <a:gd name="connsiteX1782" fmla="*/ 509558 w 824741"/>
                    <a:gd name="connsiteY1782" fmla="*/ 786166 h 989988"/>
                    <a:gd name="connsiteX1783" fmla="*/ 509678 w 824741"/>
                    <a:gd name="connsiteY1783" fmla="*/ 786226 h 989988"/>
                    <a:gd name="connsiteX1784" fmla="*/ 505192 w 824741"/>
                    <a:gd name="connsiteY1784" fmla="*/ 791788 h 989988"/>
                    <a:gd name="connsiteX1785" fmla="*/ 505072 w 824741"/>
                    <a:gd name="connsiteY1785" fmla="*/ 791728 h 989988"/>
                    <a:gd name="connsiteX1786" fmla="*/ 503936 w 824741"/>
                    <a:gd name="connsiteY1786" fmla="*/ 793104 h 989988"/>
                    <a:gd name="connsiteX1787" fmla="*/ 504055 w 824741"/>
                    <a:gd name="connsiteY1787" fmla="*/ 793163 h 989988"/>
                    <a:gd name="connsiteX1788" fmla="*/ 442155 w 824741"/>
                    <a:gd name="connsiteY1788" fmla="*/ 869657 h 989988"/>
                    <a:gd name="connsiteX1789" fmla="*/ 442095 w 824741"/>
                    <a:gd name="connsiteY1789" fmla="*/ 869657 h 989988"/>
                    <a:gd name="connsiteX1790" fmla="*/ 440959 w 824741"/>
                    <a:gd name="connsiteY1790" fmla="*/ 871032 h 989988"/>
                    <a:gd name="connsiteX1791" fmla="*/ 441019 w 824741"/>
                    <a:gd name="connsiteY1791" fmla="*/ 871092 h 989988"/>
                    <a:gd name="connsiteX1792" fmla="*/ 407646 w 824741"/>
                    <a:gd name="connsiteY1792" fmla="*/ 912419 h 989988"/>
                    <a:gd name="connsiteX1793" fmla="*/ 407586 w 824741"/>
                    <a:gd name="connsiteY1793" fmla="*/ 912419 h 989988"/>
                    <a:gd name="connsiteX1794" fmla="*/ 406450 w 824741"/>
                    <a:gd name="connsiteY1794" fmla="*/ 913794 h 989988"/>
                    <a:gd name="connsiteX1795" fmla="*/ 406450 w 824741"/>
                    <a:gd name="connsiteY1795" fmla="*/ 913854 h 989988"/>
                    <a:gd name="connsiteX1796" fmla="*/ 357827 w 824741"/>
                    <a:gd name="connsiteY1796" fmla="*/ 973961 h 989988"/>
                    <a:gd name="connsiteX1797" fmla="*/ 356631 w 824741"/>
                    <a:gd name="connsiteY1797" fmla="*/ 975396 h 989988"/>
                    <a:gd name="connsiteX1798" fmla="*/ 348318 w 824741"/>
                    <a:gd name="connsiteY1798" fmla="*/ 985683 h 989988"/>
                    <a:gd name="connsiteX1799" fmla="*/ 509678 w 824741"/>
                    <a:gd name="connsiteY1799" fmla="*/ 572834 h 989988"/>
                    <a:gd name="connsiteX1800" fmla="*/ 511591 w 824741"/>
                    <a:gd name="connsiteY1800" fmla="*/ 567869 h 989988"/>
                    <a:gd name="connsiteX1801" fmla="*/ 518110 w 824741"/>
                    <a:gd name="connsiteY1801" fmla="*/ 551363 h 989988"/>
                    <a:gd name="connsiteX1802" fmla="*/ 518828 w 824741"/>
                    <a:gd name="connsiteY1802" fmla="*/ 549568 h 989988"/>
                    <a:gd name="connsiteX1803" fmla="*/ 518769 w 824741"/>
                    <a:gd name="connsiteY1803" fmla="*/ 549568 h 989988"/>
                    <a:gd name="connsiteX1804" fmla="*/ 526902 w 824741"/>
                    <a:gd name="connsiteY1804" fmla="*/ 528935 h 989988"/>
                    <a:gd name="connsiteX1805" fmla="*/ 533361 w 824741"/>
                    <a:gd name="connsiteY1805" fmla="*/ 512488 h 989988"/>
                    <a:gd name="connsiteX1806" fmla="*/ 534677 w 824741"/>
                    <a:gd name="connsiteY1806" fmla="*/ 511112 h 989988"/>
                    <a:gd name="connsiteX1807" fmla="*/ 534438 w 824741"/>
                    <a:gd name="connsiteY1807" fmla="*/ 510993 h 989988"/>
                    <a:gd name="connsiteX1808" fmla="*/ 546698 w 824741"/>
                    <a:gd name="connsiteY1808" fmla="*/ 498732 h 989988"/>
                    <a:gd name="connsiteX1809" fmla="*/ 546758 w 824741"/>
                    <a:gd name="connsiteY1809" fmla="*/ 498732 h 989988"/>
                    <a:gd name="connsiteX1810" fmla="*/ 587008 w 824741"/>
                    <a:gd name="connsiteY1810" fmla="*/ 458542 h 989988"/>
                    <a:gd name="connsiteX1811" fmla="*/ 587188 w 824741"/>
                    <a:gd name="connsiteY1811" fmla="*/ 458662 h 989988"/>
                    <a:gd name="connsiteX1812" fmla="*/ 588563 w 824741"/>
                    <a:gd name="connsiteY1812" fmla="*/ 457286 h 989988"/>
                    <a:gd name="connsiteX1813" fmla="*/ 588324 w 824741"/>
                    <a:gd name="connsiteY1813" fmla="*/ 457167 h 989988"/>
                    <a:gd name="connsiteX1814" fmla="*/ 600465 w 824741"/>
                    <a:gd name="connsiteY1814" fmla="*/ 445026 h 989988"/>
                    <a:gd name="connsiteX1815" fmla="*/ 600584 w 824741"/>
                    <a:gd name="connsiteY1815" fmla="*/ 444906 h 989988"/>
                    <a:gd name="connsiteX1816" fmla="*/ 628575 w 824741"/>
                    <a:gd name="connsiteY1816" fmla="*/ 416976 h 989988"/>
                    <a:gd name="connsiteX1817" fmla="*/ 628813 w 824741"/>
                    <a:gd name="connsiteY1817" fmla="*/ 417036 h 989988"/>
                    <a:gd name="connsiteX1818" fmla="*/ 630130 w 824741"/>
                    <a:gd name="connsiteY1818" fmla="*/ 415660 h 989988"/>
                    <a:gd name="connsiteX1819" fmla="*/ 629950 w 824741"/>
                    <a:gd name="connsiteY1819" fmla="*/ 415600 h 989988"/>
                    <a:gd name="connsiteX1820" fmla="*/ 642031 w 824741"/>
                    <a:gd name="connsiteY1820" fmla="*/ 403519 h 989988"/>
                    <a:gd name="connsiteX1821" fmla="*/ 642031 w 824741"/>
                    <a:gd name="connsiteY1821" fmla="*/ 403459 h 989988"/>
                    <a:gd name="connsiteX1822" fmla="*/ 686408 w 824741"/>
                    <a:gd name="connsiteY1822" fmla="*/ 359142 h 989988"/>
                    <a:gd name="connsiteX1823" fmla="*/ 686527 w 824741"/>
                    <a:gd name="connsiteY1823" fmla="*/ 359202 h 989988"/>
                    <a:gd name="connsiteX1824" fmla="*/ 687903 w 824741"/>
                    <a:gd name="connsiteY1824" fmla="*/ 357826 h 989988"/>
                    <a:gd name="connsiteX1825" fmla="*/ 687783 w 824741"/>
                    <a:gd name="connsiteY1825" fmla="*/ 357707 h 989988"/>
                    <a:gd name="connsiteX1826" fmla="*/ 695319 w 824741"/>
                    <a:gd name="connsiteY1826" fmla="*/ 350231 h 989988"/>
                    <a:gd name="connsiteX1827" fmla="*/ 695439 w 824741"/>
                    <a:gd name="connsiteY1827" fmla="*/ 350291 h 989988"/>
                    <a:gd name="connsiteX1828" fmla="*/ 696814 w 824741"/>
                    <a:gd name="connsiteY1828" fmla="*/ 348975 h 989988"/>
                    <a:gd name="connsiteX1829" fmla="*/ 696695 w 824741"/>
                    <a:gd name="connsiteY1829" fmla="*/ 348915 h 989988"/>
                    <a:gd name="connsiteX1830" fmla="*/ 699626 w 824741"/>
                    <a:gd name="connsiteY1830" fmla="*/ 345925 h 989988"/>
                    <a:gd name="connsiteX1831" fmla="*/ 708537 w 824741"/>
                    <a:gd name="connsiteY1831" fmla="*/ 337074 h 989988"/>
                    <a:gd name="connsiteX1832" fmla="*/ 736287 w 824741"/>
                    <a:gd name="connsiteY1832" fmla="*/ 309323 h 989988"/>
                    <a:gd name="connsiteX1833" fmla="*/ 736406 w 824741"/>
                    <a:gd name="connsiteY1833" fmla="*/ 309383 h 989988"/>
                    <a:gd name="connsiteX1834" fmla="*/ 737783 w 824741"/>
                    <a:gd name="connsiteY1834" fmla="*/ 308007 h 989988"/>
                    <a:gd name="connsiteX1835" fmla="*/ 737723 w 824741"/>
                    <a:gd name="connsiteY1835" fmla="*/ 307947 h 989988"/>
                    <a:gd name="connsiteX1836" fmla="*/ 749325 w 824741"/>
                    <a:gd name="connsiteY1836" fmla="*/ 296285 h 989988"/>
                    <a:gd name="connsiteX1837" fmla="*/ 765652 w 824741"/>
                    <a:gd name="connsiteY1837" fmla="*/ 280017 h 989988"/>
                    <a:gd name="connsiteX1838" fmla="*/ 765712 w 824741"/>
                    <a:gd name="connsiteY1838" fmla="*/ 280017 h 989988"/>
                    <a:gd name="connsiteX1839" fmla="*/ 767088 w 824741"/>
                    <a:gd name="connsiteY1839" fmla="*/ 278642 h 989988"/>
                    <a:gd name="connsiteX1840" fmla="*/ 767028 w 824741"/>
                    <a:gd name="connsiteY1840" fmla="*/ 278582 h 989988"/>
                    <a:gd name="connsiteX1841" fmla="*/ 778451 w 824741"/>
                    <a:gd name="connsiteY1841" fmla="*/ 267159 h 989988"/>
                    <a:gd name="connsiteX1842" fmla="*/ 778451 w 824741"/>
                    <a:gd name="connsiteY1842" fmla="*/ 267099 h 989988"/>
                    <a:gd name="connsiteX1843" fmla="*/ 804587 w 824741"/>
                    <a:gd name="connsiteY1843" fmla="*/ 240963 h 989988"/>
                    <a:gd name="connsiteX1844" fmla="*/ 804647 w 824741"/>
                    <a:gd name="connsiteY1844" fmla="*/ 240963 h 989988"/>
                    <a:gd name="connsiteX1845" fmla="*/ 806022 w 824741"/>
                    <a:gd name="connsiteY1845" fmla="*/ 239588 h 989988"/>
                    <a:gd name="connsiteX1846" fmla="*/ 811824 w 824741"/>
                    <a:gd name="connsiteY1846" fmla="*/ 233727 h 989988"/>
                    <a:gd name="connsiteX1847" fmla="*/ 811824 w 824741"/>
                    <a:gd name="connsiteY1847" fmla="*/ 233786 h 989988"/>
                    <a:gd name="connsiteX1848" fmla="*/ 813199 w 824741"/>
                    <a:gd name="connsiteY1848" fmla="*/ 232411 h 989988"/>
                    <a:gd name="connsiteX1849" fmla="*/ 817206 w 824741"/>
                    <a:gd name="connsiteY1849" fmla="*/ 228404 h 989988"/>
                    <a:gd name="connsiteX1850" fmla="*/ 821871 w 824741"/>
                    <a:gd name="connsiteY1850" fmla="*/ 223739 h 989988"/>
                    <a:gd name="connsiteX1851" fmla="*/ 746992 w 824741"/>
                    <a:gd name="connsiteY1851" fmla="*/ 378879 h 989988"/>
                    <a:gd name="connsiteX1852" fmla="*/ 747471 w 824741"/>
                    <a:gd name="connsiteY1852" fmla="*/ 378400 h 989988"/>
                    <a:gd name="connsiteX1853" fmla="*/ 748787 w 824741"/>
                    <a:gd name="connsiteY1853" fmla="*/ 376965 h 989988"/>
                    <a:gd name="connsiteX1854" fmla="*/ 750820 w 824741"/>
                    <a:gd name="connsiteY1854" fmla="*/ 374752 h 989988"/>
                    <a:gd name="connsiteX1855" fmla="*/ 753452 w 824741"/>
                    <a:gd name="connsiteY1855" fmla="*/ 371881 h 989988"/>
                    <a:gd name="connsiteX1856" fmla="*/ 756561 w 824741"/>
                    <a:gd name="connsiteY1856" fmla="*/ 368472 h 989988"/>
                    <a:gd name="connsiteX1857" fmla="*/ 760031 w 824741"/>
                    <a:gd name="connsiteY1857" fmla="*/ 364704 h 989988"/>
                    <a:gd name="connsiteX1858" fmla="*/ 763739 w 824741"/>
                    <a:gd name="connsiteY1858" fmla="*/ 360638 h 989988"/>
                    <a:gd name="connsiteX1859" fmla="*/ 767566 w 824741"/>
                    <a:gd name="connsiteY1859" fmla="*/ 356451 h 989988"/>
                    <a:gd name="connsiteX1860" fmla="*/ 771454 w 824741"/>
                    <a:gd name="connsiteY1860" fmla="*/ 352264 h 989988"/>
                    <a:gd name="connsiteX1861" fmla="*/ 775221 w 824741"/>
                    <a:gd name="connsiteY1861" fmla="*/ 348257 h 989988"/>
                    <a:gd name="connsiteX1862" fmla="*/ 778691 w 824741"/>
                    <a:gd name="connsiteY1862" fmla="*/ 344490 h 989988"/>
                    <a:gd name="connsiteX1863" fmla="*/ 781801 w 824741"/>
                    <a:gd name="connsiteY1863" fmla="*/ 341140 h 989988"/>
                    <a:gd name="connsiteX1864" fmla="*/ 784432 w 824741"/>
                    <a:gd name="connsiteY1864" fmla="*/ 338270 h 989988"/>
                    <a:gd name="connsiteX1865" fmla="*/ 786465 w 824741"/>
                    <a:gd name="connsiteY1865" fmla="*/ 336116 h 989988"/>
                    <a:gd name="connsiteX1866" fmla="*/ 787781 w 824741"/>
                    <a:gd name="connsiteY1866" fmla="*/ 334741 h 989988"/>
                    <a:gd name="connsiteX1867" fmla="*/ 788260 w 824741"/>
                    <a:gd name="connsiteY1867" fmla="*/ 334262 h 989988"/>
                    <a:gd name="connsiteX1868" fmla="*/ 783654 w 824741"/>
                    <a:gd name="connsiteY1868" fmla="*/ 343413 h 989988"/>
                    <a:gd name="connsiteX1869" fmla="*/ 783535 w 824741"/>
                    <a:gd name="connsiteY1869" fmla="*/ 343353 h 989988"/>
                    <a:gd name="connsiteX1870" fmla="*/ 783356 w 824741"/>
                    <a:gd name="connsiteY1870" fmla="*/ 343772 h 989988"/>
                    <a:gd name="connsiteX1871" fmla="*/ 783116 w 824741"/>
                    <a:gd name="connsiteY1871" fmla="*/ 344191 h 989988"/>
                    <a:gd name="connsiteX1872" fmla="*/ 782937 w 824741"/>
                    <a:gd name="connsiteY1872" fmla="*/ 344609 h 989988"/>
                    <a:gd name="connsiteX1873" fmla="*/ 782757 w 824741"/>
                    <a:gd name="connsiteY1873" fmla="*/ 345028 h 989988"/>
                    <a:gd name="connsiteX1874" fmla="*/ 782877 w 824741"/>
                    <a:gd name="connsiteY1874" fmla="*/ 345147 h 989988"/>
                    <a:gd name="connsiteX1875" fmla="*/ 707998 w 824741"/>
                    <a:gd name="connsiteY1875" fmla="*/ 495323 h 989988"/>
                    <a:gd name="connsiteX1876" fmla="*/ 707759 w 824741"/>
                    <a:gd name="connsiteY1876" fmla="*/ 495742 h 989988"/>
                    <a:gd name="connsiteX1877" fmla="*/ 707520 w 824741"/>
                    <a:gd name="connsiteY1877" fmla="*/ 496161 h 989988"/>
                    <a:gd name="connsiteX1878" fmla="*/ 707340 w 824741"/>
                    <a:gd name="connsiteY1878" fmla="*/ 496579 h 989988"/>
                    <a:gd name="connsiteX1879" fmla="*/ 707161 w 824741"/>
                    <a:gd name="connsiteY1879" fmla="*/ 496998 h 989988"/>
                    <a:gd name="connsiteX1880" fmla="*/ 707220 w 824741"/>
                    <a:gd name="connsiteY1880" fmla="*/ 496998 h 989988"/>
                    <a:gd name="connsiteX1881" fmla="*/ 702197 w 824741"/>
                    <a:gd name="connsiteY1881" fmla="*/ 506986 h 989988"/>
                    <a:gd name="connsiteX1882" fmla="*/ 701061 w 824741"/>
                    <a:gd name="connsiteY1882" fmla="*/ 508362 h 989988"/>
                    <a:gd name="connsiteX1883" fmla="*/ 701240 w 824741"/>
                    <a:gd name="connsiteY1883" fmla="*/ 508481 h 989988"/>
                    <a:gd name="connsiteX1884" fmla="*/ 697233 w 824741"/>
                    <a:gd name="connsiteY1884" fmla="*/ 513265 h 989988"/>
                    <a:gd name="connsiteX1885" fmla="*/ 697054 w 824741"/>
                    <a:gd name="connsiteY1885" fmla="*/ 513146 h 989988"/>
                    <a:gd name="connsiteX1886" fmla="*/ 695858 w 824741"/>
                    <a:gd name="connsiteY1886" fmla="*/ 514581 h 989988"/>
                    <a:gd name="connsiteX1887" fmla="*/ 695977 w 824741"/>
                    <a:gd name="connsiteY1887" fmla="*/ 514641 h 989988"/>
                    <a:gd name="connsiteX1888" fmla="*/ 681743 w 824741"/>
                    <a:gd name="connsiteY1888" fmla="*/ 531566 h 989988"/>
                    <a:gd name="connsiteX1889" fmla="*/ 658358 w 824741"/>
                    <a:gd name="connsiteY1889" fmla="*/ 559736 h 989988"/>
                    <a:gd name="connsiteX1890" fmla="*/ 644124 w 824741"/>
                    <a:gd name="connsiteY1890" fmla="*/ 588862 h 989988"/>
                    <a:gd name="connsiteX1891" fmla="*/ 643347 w 824741"/>
                    <a:gd name="connsiteY1891" fmla="*/ 590537 h 989988"/>
                    <a:gd name="connsiteX1892" fmla="*/ 625703 w 824741"/>
                    <a:gd name="connsiteY1892" fmla="*/ 626780 h 989988"/>
                    <a:gd name="connsiteX1893" fmla="*/ 624867 w 824741"/>
                    <a:gd name="connsiteY1893" fmla="*/ 628394 h 989988"/>
                    <a:gd name="connsiteX1894" fmla="*/ 611529 w 824741"/>
                    <a:gd name="connsiteY1894" fmla="*/ 655846 h 989988"/>
                    <a:gd name="connsiteX1895" fmla="*/ 610751 w 824741"/>
                    <a:gd name="connsiteY1895" fmla="*/ 657461 h 989988"/>
                    <a:gd name="connsiteX1896" fmla="*/ 606565 w 824741"/>
                    <a:gd name="connsiteY1896" fmla="*/ 666013 h 989988"/>
                    <a:gd name="connsiteX1897" fmla="*/ 605309 w 824741"/>
                    <a:gd name="connsiteY1897" fmla="*/ 667688 h 989988"/>
                    <a:gd name="connsiteX1898" fmla="*/ 606984 w 824741"/>
                    <a:gd name="connsiteY1898" fmla="*/ 667807 h 989988"/>
                    <a:gd name="connsiteX1899" fmla="*/ 606984 w 824741"/>
                    <a:gd name="connsiteY1899" fmla="*/ 667807 h 989988"/>
                    <a:gd name="connsiteX1900" fmla="*/ 607043 w 824741"/>
                    <a:gd name="connsiteY1900" fmla="*/ 667688 h 989988"/>
                    <a:gd name="connsiteX1901" fmla="*/ 607103 w 824741"/>
                    <a:gd name="connsiteY1901" fmla="*/ 667568 h 989988"/>
                    <a:gd name="connsiteX1902" fmla="*/ 607103 w 824741"/>
                    <a:gd name="connsiteY1902" fmla="*/ 667508 h 989988"/>
                    <a:gd name="connsiteX1903" fmla="*/ 612128 w 824741"/>
                    <a:gd name="connsiteY1903" fmla="*/ 657281 h 989988"/>
                    <a:gd name="connsiteX1904" fmla="*/ 626302 w 824741"/>
                    <a:gd name="connsiteY1904" fmla="*/ 628215 h 989988"/>
                    <a:gd name="connsiteX1905" fmla="*/ 644722 w 824741"/>
                    <a:gd name="connsiteY1905" fmla="*/ 590357 h 989988"/>
                    <a:gd name="connsiteX1906" fmla="*/ 659674 w 824741"/>
                    <a:gd name="connsiteY1906" fmla="*/ 559736 h 989988"/>
                    <a:gd name="connsiteX1907" fmla="*/ 697233 w 824741"/>
                    <a:gd name="connsiteY1907" fmla="*/ 515000 h 989988"/>
                    <a:gd name="connsiteX1908" fmla="*/ 697293 w 824741"/>
                    <a:gd name="connsiteY1908" fmla="*/ 514940 h 989988"/>
                    <a:gd name="connsiteX1909" fmla="*/ 697353 w 824741"/>
                    <a:gd name="connsiteY1909" fmla="*/ 514880 h 989988"/>
                    <a:gd name="connsiteX1910" fmla="*/ 702496 w 824741"/>
                    <a:gd name="connsiteY1910" fmla="*/ 508780 h 989988"/>
                    <a:gd name="connsiteX1911" fmla="*/ 702496 w 824741"/>
                    <a:gd name="connsiteY1911" fmla="*/ 508720 h 989988"/>
                    <a:gd name="connsiteX1912" fmla="*/ 702556 w 824741"/>
                    <a:gd name="connsiteY1912" fmla="*/ 508660 h 989988"/>
                    <a:gd name="connsiteX1913" fmla="*/ 702616 w 824741"/>
                    <a:gd name="connsiteY1913" fmla="*/ 508541 h 989988"/>
                    <a:gd name="connsiteX1914" fmla="*/ 702616 w 824741"/>
                    <a:gd name="connsiteY1914" fmla="*/ 508481 h 989988"/>
                    <a:gd name="connsiteX1915" fmla="*/ 702676 w 824741"/>
                    <a:gd name="connsiteY1915" fmla="*/ 508421 h 989988"/>
                    <a:gd name="connsiteX1916" fmla="*/ 708477 w 824741"/>
                    <a:gd name="connsiteY1916" fmla="*/ 496759 h 989988"/>
                    <a:gd name="connsiteX1917" fmla="*/ 784192 w 824741"/>
                    <a:gd name="connsiteY1917" fmla="*/ 344968 h 989988"/>
                    <a:gd name="connsiteX1918" fmla="*/ 791130 w 824741"/>
                    <a:gd name="connsiteY1918" fmla="*/ 331093 h 989988"/>
                    <a:gd name="connsiteX1919" fmla="*/ 791190 w 824741"/>
                    <a:gd name="connsiteY1919" fmla="*/ 330973 h 989988"/>
                    <a:gd name="connsiteX1920" fmla="*/ 791190 w 824741"/>
                    <a:gd name="connsiteY1920" fmla="*/ 330913 h 989988"/>
                    <a:gd name="connsiteX1921" fmla="*/ 791250 w 824741"/>
                    <a:gd name="connsiteY1921" fmla="*/ 330794 h 989988"/>
                    <a:gd name="connsiteX1922" fmla="*/ 791250 w 824741"/>
                    <a:gd name="connsiteY1922" fmla="*/ 330734 h 989988"/>
                    <a:gd name="connsiteX1923" fmla="*/ 791250 w 824741"/>
                    <a:gd name="connsiteY1923" fmla="*/ 330554 h 989988"/>
                    <a:gd name="connsiteX1924" fmla="*/ 791310 w 824741"/>
                    <a:gd name="connsiteY1924" fmla="*/ 330435 h 989988"/>
                    <a:gd name="connsiteX1925" fmla="*/ 791310 w 824741"/>
                    <a:gd name="connsiteY1925" fmla="*/ 330315 h 989988"/>
                    <a:gd name="connsiteX1926" fmla="*/ 791250 w 824741"/>
                    <a:gd name="connsiteY1926" fmla="*/ 330196 h 989988"/>
                    <a:gd name="connsiteX1927" fmla="*/ 791190 w 824741"/>
                    <a:gd name="connsiteY1927" fmla="*/ 330136 h 989988"/>
                    <a:gd name="connsiteX1928" fmla="*/ 791070 w 824741"/>
                    <a:gd name="connsiteY1928" fmla="*/ 330076 h 989988"/>
                    <a:gd name="connsiteX1929" fmla="*/ 775880 w 824741"/>
                    <a:gd name="connsiteY1929" fmla="*/ 321165 h 989988"/>
                    <a:gd name="connsiteX1930" fmla="*/ 792805 w 824741"/>
                    <a:gd name="connsiteY1930" fmla="*/ 286357 h 989988"/>
                    <a:gd name="connsiteX1931" fmla="*/ 817326 w 824741"/>
                    <a:gd name="connsiteY1931" fmla="*/ 235999 h 989988"/>
                    <a:gd name="connsiteX1932" fmla="*/ 824562 w 824741"/>
                    <a:gd name="connsiteY1932" fmla="*/ 221107 h 989988"/>
                    <a:gd name="connsiteX1933" fmla="*/ 824622 w 824741"/>
                    <a:gd name="connsiteY1933" fmla="*/ 220988 h 989988"/>
                    <a:gd name="connsiteX1934" fmla="*/ 824742 w 824741"/>
                    <a:gd name="connsiteY1934" fmla="*/ 220868 h 989988"/>
                    <a:gd name="connsiteX1935" fmla="*/ 824742 w 824741"/>
                    <a:gd name="connsiteY1935" fmla="*/ 220808 h 989988"/>
                    <a:gd name="connsiteX1936" fmla="*/ 824742 w 824741"/>
                    <a:gd name="connsiteY1936" fmla="*/ 220689 h 989988"/>
                    <a:gd name="connsiteX1937" fmla="*/ 824742 w 824741"/>
                    <a:gd name="connsiteY1937" fmla="*/ 220509 h 989988"/>
                    <a:gd name="connsiteX1938" fmla="*/ 824742 w 824741"/>
                    <a:gd name="connsiteY1938" fmla="*/ 220449 h 989988"/>
                    <a:gd name="connsiteX1939" fmla="*/ 824682 w 824741"/>
                    <a:gd name="connsiteY1939" fmla="*/ 220330 h 989988"/>
                    <a:gd name="connsiteX1940" fmla="*/ 824682 w 824741"/>
                    <a:gd name="connsiteY1940" fmla="*/ 220210 h 989988"/>
                    <a:gd name="connsiteX1941" fmla="*/ 824682 w 824741"/>
                    <a:gd name="connsiteY1941" fmla="*/ 220151 h 989988"/>
                    <a:gd name="connsiteX1942" fmla="*/ 824622 w 824741"/>
                    <a:gd name="connsiteY1942" fmla="*/ 220091 h 989988"/>
                    <a:gd name="connsiteX1943" fmla="*/ 824503 w 824741"/>
                    <a:gd name="connsiteY1943" fmla="*/ 220031 h 989988"/>
                    <a:gd name="connsiteX1944" fmla="*/ 789934 w 824741"/>
                    <a:gd name="connsiteY1944" fmla="*/ 200474 h 989988"/>
                    <a:gd name="connsiteX1945" fmla="*/ 723608 w 824741"/>
                    <a:gd name="connsiteY1945" fmla="*/ 163034 h 989988"/>
                    <a:gd name="connsiteX1946" fmla="*/ 688561 w 824741"/>
                    <a:gd name="connsiteY1946" fmla="*/ 143238 h 989988"/>
                    <a:gd name="connsiteX1947" fmla="*/ 655607 w 824741"/>
                    <a:gd name="connsiteY1947" fmla="*/ 124638 h 989988"/>
                    <a:gd name="connsiteX1948" fmla="*/ 592271 w 824741"/>
                    <a:gd name="connsiteY1948" fmla="*/ 88933 h 989988"/>
                    <a:gd name="connsiteX1949" fmla="*/ 558839 w 824741"/>
                    <a:gd name="connsiteY1949" fmla="*/ 70034 h 989988"/>
                    <a:gd name="connsiteX1950" fmla="*/ 527380 w 824741"/>
                    <a:gd name="connsiteY1950" fmla="*/ 52271 h 989988"/>
                    <a:gd name="connsiteX1951" fmla="*/ 466915 w 824741"/>
                    <a:gd name="connsiteY1951" fmla="*/ 18181 h 989988"/>
                    <a:gd name="connsiteX1952" fmla="*/ 434979 w 824741"/>
                    <a:gd name="connsiteY1952" fmla="*/ 120 h 989988"/>
                    <a:gd name="connsiteX1953" fmla="*/ 434619 w 824741"/>
                    <a:gd name="connsiteY1953" fmla="*/ 0 h 989988"/>
                    <a:gd name="connsiteX1954" fmla="*/ 434320 w 824741"/>
                    <a:gd name="connsiteY1954" fmla="*/ 120 h 989988"/>
                    <a:gd name="connsiteX1955" fmla="*/ 424213 w 824741"/>
                    <a:gd name="connsiteY1955" fmla="*/ 4785 h 989988"/>
                    <a:gd name="connsiteX1956" fmla="*/ 369429 w 824741"/>
                    <a:gd name="connsiteY1956" fmla="*/ 30083 h 989988"/>
                    <a:gd name="connsiteX1957" fmla="*/ 328462 w 824741"/>
                    <a:gd name="connsiteY1957" fmla="*/ 48982 h 989988"/>
                    <a:gd name="connsiteX1958" fmla="*/ 271465 w 824741"/>
                    <a:gd name="connsiteY1958" fmla="*/ 75297 h 989988"/>
                    <a:gd name="connsiteX1959" fmla="*/ 259145 w 824741"/>
                    <a:gd name="connsiteY1959" fmla="*/ 80979 h 989988"/>
                    <a:gd name="connsiteX1960" fmla="*/ 179422 w 824741"/>
                    <a:gd name="connsiteY1960" fmla="*/ 117761 h 989988"/>
                    <a:gd name="connsiteX1961" fmla="*/ 122546 w 824741"/>
                    <a:gd name="connsiteY1961" fmla="*/ 144016 h 989988"/>
                    <a:gd name="connsiteX1962" fmla="*/ 49401 w 824741"/>
                    <a:gd name="connsiteY1962" fmla="*/ 177807 h 989988"/>
                    <a:gd name="connsiteX1963" fmla="*/ 31340 w 824741"/>
                    <a:gd name="connsiteY1963" fmla="*/ 186120 h 989988"/>
                    <a:gd name="connsiteX1964" fmla="*/ 31280 w 824741"/>
                    <a:gd name="connsiteY1964" fmla="*/ 186180 h 989988"/>
                    <a:gd name="connsiteX1965" fmla="*/ 31220 w 824741"/>
                    <a:gd name="connsiteY1965" fmla="*/ 186180 h 989988"/>
                    <a:gd name="connsiteX1966" fmla="*/ 31100 w 824741"/>
                    <a:gd name="connsiteY1966" fmla="*/ 186180 h 989988"/>
                    <a:gd name="connsiteX1967" fmla="*/ 30801 w 824741"/>
                    <a:gd name="connsiteY1967" fmla="*/ 186598 h 989988"/>
                    <a:gd name="connsiteX1968" fmla="*/ 30801 w 824741"/>
                    <a:gd name="connsiteY1968" fmla="*/ 186658 h 989988"/>
                    <a:gd name="connsiteX1969" fmla="*/ 30621 w 824741"/>
                    <a:gd name="connsiteY1969" fmla="*/ 187017 h 989988"/>
                    <a:gd name="connsiteX1970" fmla="*/ 30621 w 824741"/>
                    <a:gd name="connsiteY1970" fmla="*/ 187137 h 989988"/>
                    <a:gd name="connsiteX1971" fmla="*/ 30621 w 824741"/>
                    <a:gd name="connsiteY1971" fmla="*/ 187197 h 989988"/>
                    <a:gd name="connsiteX1972" fmla="*/ 30621 w 824741"/>
                    <a:gd name="connsiteY1972" fmla="*/ 187257 h 989988"/>
                    <a:gd name="connsiteX1973" fmla="*/ 29545 w 824741"/>
                    <a:gd name="connsiteY1973" fmla="*/ 206335 h 989988"/>
                    <a:gd name="connsiteX1974" fmla="*/ 27033 w 824741"/>
                    <a:gd name="connsiteY1974" fmla="*/ 249277 h 989988"/>
                    <a:gd name="connsiteX1975" fmla="*/ 27093 w 824741"/>
                    <a:gd name="connsiteY1975" fmla="*/ 249336 h 989988"/>
                    <a:gd name="connsiteX1976" fmla="*/ 27093 w 824741"/>
                    <a:gd name="connsiteY1976" fmla="*/ 249516 h 989988"/>
                    <a:gd name="connsiteX1977" fmla="*/ 27153 w 824741"/>
                    <a:gd name="connsiteY1977" fmla="*/ 249695 h 989988"/>
                    <a:gd name="connsiteX1978" fmla="*/ 27272 w 824741"/>
                    <a:gd name="connsiteY1978" fmla="*/ 249875 h 989988"/>
                    <a:gd name="connsiteX1979" fmla="*/ 27392 w 824741"/>
                    <a:gd name="connsiteY1979" fmla="*/ 249994 h 989988"/>
                    <a:gd name="connsiteX1980" fmla="*/ 27452 w 824741"/>
                    <a:gd name="connsiteY1980" fmla="*/ 250054 h 989988"/>
                    <a:gd name="connsiteX1981" fmla="*/ 66327 w 824741"/>
                    <a:gd name="connsiteY1981" fmla="*/ 275651 h 989988"/>
                    <a:gd name="connsiteX1982" fmla="*/ 115728 w 824741"/>
                    <a:gd name="connsiteY1982" fmla="*/ 308246 h 989988"/>
                    <a:gd name="connsiteX1983" fmla="*/ 84687 w 824741"/>
                    <a:gd name="connsiteY1983" fmla="*/ 326009 h 989988"/>
                    <a:gd name="connsiteX1984" fmla="*/ 80800 w 824741"/>
                    <a:gd name="connsiteY1984" fmla="*/ 323437 h 989988"/>
                    <a:gd name="connsiteX1985" fmla="*/ 43600 w 824741"/>
                    <a:gd name="connsiteY1985" fmla="*/ 298618 h 989988"/>
                    <a:gd name="connsiteX1986" fmla="*/ 43480 w 824741"/>
                    <a:gd name="connsiteY1986" fmla="*/ 298618 h 989988"/>
                    <a:gd name="connsiteX1987" fmla="*/ 43301 w 824741"/>
                    <a:gd name="connsiteY1987" fmla="*/ 298558 h 989988"/>
                    <a:gd name="connsiteX1988" fmla="*/ 43181 w 824741"/>
                    <a:gd name="connsiteY1988" fmla="*/ 298558 h 989988"/>
                    <a:gd name="connsiteX1989" fmla="*/ 43002 w 824741"/>
                    <a:gd name="connsiteY1989" fmla="*/ 298558 h 989988"/>
                    <a:gd name="connsiteX1990" fmla="*/ 42822 w 824741"/>
                    <a:gd name="connsiteY1990" fmla="*/ 298618 h 989988"/>
                    <a:gd name="connsiteX1991" fmla="*/ 42762 w 824741"/>
                    <a:gd name="connsiteY1991" fmla="*/ 298677 h 989988"/>
                    <a:gd name="connsiteX1992" fmla="*/ 25119 w 824741"/>
                    <a:gd name="connsiteY1992" fmla="*/ 308127 h 989988"/>
                    <a:gd name="connsiteX1993" fmla="*/ 25000 w 824741"/>
                    <a:gd name="connsiteY1993" fmla="*/ 308187 h 989988"/>
                    <a:gd name="connsiteX1994" fmla="*/ 24940 w 824741"/>
                    <a:gd name="connsiteY1994" fmla="*/ 308246 h 989988"/>
                    <a:gd name="connsiteX1995" fmla="*/ 24641 w 824741"/>
                    <a:gd name="connsiteY1995" fmla="*/ 308545 h 989988"/>
                    <a:gd name="connsiteX1996" fmla="*/ 24641 w 824741"/>
                    <a:gd name="connsiteY1996" fmla="*/ 308605 h 989988"/>
                    <a:gd name="connsiteX1997" fmla="*/ 24522 w 824741"/>
                    <a:gd name="connsiteY1997" fmla="*/ 309084 h 989988"/>
                    <a:gd name="connsiteX1998" fmla="*/ 24462 w 824741"/>
                    <a:gd name="connsiteY1998" fmla="*/ 309203 h 989988"/>
                    <a:gd name="connsiteX1999" fmla="*/ 24462 w 824741"/>
                    <a:gd name="connsiteY1999" fmla="*/ 309263 h 989988"/>
                    <a:gd name="connsiteX2000" fmla="*/ 21352 w 824741"/>
                    <a:gd name="connsiteY2000" fmla="*/ 363090 h 989988"/>
                    <a:gd name="connsiteX2001" fmla="*/ 20335 w 824741"/>
                    <a:gd name="connsiteY2001" fmla="*/ 380314 h 989988"/>
                    <a:gd name="connsiteX2002" fmla="*/ 18720 w 824741"/>
                    <a:gd name="connsiteY2002" fmla="*/ 407108 h 989988"/>
                    <a:gd name="connsiteX2003" fmla="*/ 15131 w 824741"/>
                    <a:gd name="connsiteY2003" fmla="*/ 469068 h 989988"/>
                    <a:gd name="connsiteX2004" fmla="*/ 13397 w 824741"/>
                    <a:gd name="connsiteY2004" fmla="*/ 498134 h 989988"/>
                    <a:gd name="connsiteX2005" fmla="*/ 12560 w 824741"/>
                    <a:gd name="connsiteY2005" fmla="*/ 513146 h 989988"/>
                    <a:gd name="connsiteX2006" fmla="*/ 11483 w 824741"/>
                    <a:gd name="connsiteY2006" fmla="*/ 530849 h 989988"/>
                    <a:gd name="connsiteX2007" fmla="*/ 8553 w 824741"/>
                    <a:gd name="connsiteY2007" fmla="*/ 581087 h 989988"/>
                    <a:gd name="connsiteX2008" fmla="*/ 4845 w 824741"/>
                    <a:gd name="connsiteY2008" fmla="*/ 644782 h 989988"/>
                    <a:gd name="connsiteX2009" fmla="*/ 2213 w 824741"/>
                    <a:gd name="connsiteY2009" fmla="*/ 689577 h 989988"/>
                    <a:gd name="connsiteX2010" fmla="*/ 718 w 824741"/>
                    <a:gd name="connsiteY2010" fmla="*/ 715474 h 989988"/>
                    <a:gd name="connsiteX2011" fmla="*/ 0 w 824741"/>
                    <a:gd name="connsiteY2011" fmla="*/ 727136 h 989988"/>
                    <a:gd name="connsiteX2012" fmla="*/ 60 w 824741"/>
                    <a:gd name="connsiteY2012" fmla="*/ 727136 h 989988"/>
                    <a:gd name="connsiteX2013" fmla="*/ 60 w 824741"/>
                    <a:gd name="connsiteY2013" fmla="*/ 727375 h 989988"/>
                    <a:gd name="connsiteX2014" fmla="*/ 60 w 824741"/>
                    <a:gd name="connsiteY2014" fmla="*/ 727495 h 989988"/>
                    <a:gd name="connsiteX2015" fmla="*/ 180 w 824741"/>
                    <a:gd name="connsiteY2015" fmla="*/ 727615 h 989988"/>
                    <a:gd name="connsiteX2016" fmla="*/ 239 w 824741"/>
                    <a:gd name="connsiteY2016" fmla="*/ 727734 h 989988"/>
                    <a:gd name="connsiteX2017" fmla="*/ 28708 w 824741"/>
                    <a:gd name="connsiteY2017" fmla="*/ 749265 h 989988"/>
                    <a:gd name="connsiteX2018" fmla="*/ 82415 w 824741"/>
                    <a:gd name="connsiteY2018" fmla="*/ 789993 h 989988"/>
                    <a:gd name="connsiteX2019" fmla="*/ 110345 w 824741"/>
                    <a:gd name="connsiteY2019" fmla="*/ 811285 h 989988"/>
                    <a:gd name="connsiteX2020" fmla="*/ 140069 w 824741"/>
                    <a:gd name="connsiteY2020" fmla="*/ 833772 h 989988"/>
                    <a:gd name="connsiteX2021" fmla="*/ 196228 w 824741"/>
                    <a:gd name="connsiteY2021" fmla="*/ 876355 h 989988"/>
                    <a:gd name="connsiteX2022" fmla="*/ 225474 w 824741"/>
                    <a:gd name="connsiteY2022" fmla="*/ 898544 h 989988"/>
                    <a:gd name="connsiteX2023" fmla="*/ 256573 w 824741"/>
                    <a:gd name="connsiteY2023" fmla="*/ 922108 h 989988"/>
                    <a:gd name="connsiteX2024" fmla="*/ 315364 w 824741"/>
                    <a:gd name="connsiteY2024" fmla="*/ 966664 h 989988"/>
                    <a:gd name="connsiteX2025" fmla="*/ 346045 w 824741"/>
                    <a:gd name="connsiteY2025" fmla="*/ 989869 h 989988"/>
                    <a:gd name="connsiteX2026" fmla="*/ 346104 w 824741"/>
                    <a:gd name="connsiteY2026" fmla="*/ 989929 h 989988"/>
                    <a:gd name="connsiteX2027" fmla="*/ 346224 w 824741"/>
                    <a:gd name="connsiteY2027" fmla="*/ 989989 h 989988"/>
                    <a:gd name="connsiteX2028" fmla="*/ 346344 w 824741"/>
                    <a:gd name="connsiteY2028" fmla="*/ 989989 h 989988"/>
                    <a:gd name="connsiteX2029" fmla="*/ 346464 w 824741"/>
                    <a:gd name="connsiteY2029" fmla="*/ 989989 h 989988"/>
                    <a:gd name="connsiteX2030" fmla="*/ 346523 w 824741"/>
                    <a:gd name="connsiteY2030" fmla="*/ 989989 h 989988"/>
                    <a:gd name="connsiteX2031" fmla="*/ 346643 w 824741"/>
                    <a:gd name="connsiteY2031" fmla="*/ 989929 h 989988"/>
                    <a:gd name="connsiteX2032" fmla="*/ 346763 w 824741"/>
                    <a:gd name="connsiteY2032" fmla="*/ 989929 h 989988"/>
                    <a:gd name="connsiteX2033" fmla="*/ 346763 w 824741"/>
                    <a:gd name="connsiteY2033" fmla="*/ 989869 h 989988"/>
                    <a:gd name="connsiteX2034" fmla="*/ 346882 w 824741"/>
                    <a:gd name="connsiteY2034" fmla="*/ 989750 h 989988"/>
                    <a:gd name="connsiteX2035" fmla="*/ 347002 w 824741"/>
                    <a:gd name="connsiteY2035" fmla="*/ 989630 h 989988"/>
                    <a:gd name="connsiteX2036" fmla="*/ 358425 w 824741"/>
                    <a:gd name="connsiteY2036" fmla="*/ 975516 h 989988"/>
                    <a:gd name="connsiteX2037" fmla="*/ 408184 w 824741"/>
                    <a:gd name="connsiteY2037" fmla="*/ 913974 h 989988"/>
                    <a:gd name="connsiteX2038" fmla="*/ 442753 w 824741"/>
                    <a:gd name="connsiteY2038" fmla="*/ 871272 h 989988"/>
                    <a:gd name="connsiteX2039" fmla="*/ 505790 w 824741"/>
                    <a:gd name="connsiteY2039" fmla="*/ 793283 h 989988"/>
                    <a:gd name="connsiteX2040" fmla="*/ 511412 w 824741"/>
                    <a:gd name="connsiteY2040" fmla="*/ 786285 h 989988"/>
                    <a:gd name="connsiteX2041" fmla="*/ 535216 w 824741"/>
                    <a:gd name="connsiteY2041" fmla="*/ 756920 h 989988"/>
                    <a:gd name="connsiteX2042" fmla="*/ 563025 w 824741"/>
                    <a:gd name="connsiteY2042" fmla="*/ 722531 h 989988"/>
                    <a:gd name="connsiteX2043" fmla="*/ 600644 w 824741"/>
                    <a:gd name="connsiteY2043" fmla="*/ 676001 h 989988"/>
                    <a:gd name="connsiteX2044" fmla="*/ 606984 w 824741"/>
                    <a:gd name="connsiteY2044" fmla="*/ 667807 h 98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Lst>
                  <a:rect l="l" t="t" r="r" b="b"/>
                  <a:pathLst>
                    <a:path w="824741" h="989988">
                      <a:moveTo>
                        <a:pt x="32236" y="189290"/>
                      </a:moveTo>
                      <a:lnTo>
                        <a:pt x="70573" y="214050"/>
                      </a:lnTo>
                      <a:lnTo>
                        <a:pt x="69257" y="230557"/>
                      </a:lnTo>
                      <a:lnTo>
                        <a:pt x="31280" y="205857"/>
                      </a:lnTo>
                      <a:lnTo>
                        <a:pt x="32236" y="189290"/>
                      </a:lnTo>
                      <a:moveTo>
                        <a:pt x="33552" y="187436"/>
                      </a:moveTo>
                      <a:lnTo>
                        <a:pt x="49222" y="180199"/>
                      </a:lnTo>
                      <a:lnTo>
                        <a:pt x="87259" y="204600"/>
                      </a:lnTo>
                      <a:lnTo>
                        <a:pt x="71829" y="212196"/>
                      </a:lnTo>
                      <a:lnTo>
                        <a:pt x="33552" y="187436"/>
                      </a:lnTo>
                      <a:moveTo>
                        <a:pt x="31100" y="208368"/>
                      </a:moveTo>
                      <a:lnTo>
                        <a:pt x="69078" y="233009"/>
                      </a:lnTo>
                      <a:lnTo>
                        <a:pt x="65848" y="273140"/>
                      </a:lnTo>
                      <a:lnTo>
                        <a:pt x="28768" y="248678"/>
                      </a:lnTo>
                      <a:lnTo>
                        <a:pt x="31100" y="208368"/>
                      </a:lnTo>
                      <a:moveTo>
                        <a:pt x="51614" y="179122"/>
                      </a:moveTo>
                      <a:lnTo>
                        <a:pt x="122366" y="146468"/>
                      </a:lnTo>
                      <a:lnTo>
                        <a:pt x="158968" y="169374"/>
                      </a:lnTo>
                      <a:lnTo>
                        <a:pt x="89532" y="203524"/>
                      </a:lnTo>
                      <a:lnTo>
                        <a:pt x="51614" y="179122"/>
                      </a:lnTo>
                      <a:moveTo>
                        <a:pt x="27093" y="309263"/>
                      </a:moveTo>
                      <a:lnTo>
                        <a:pt x="42524" y="300950"/>
                      </a:lnTo>
                      <a:lnTo>
                        <a:pt x="78109" y="324634"/>
                      </a:lnTo>
                      <a:lnTo>
                        <a:pt x="62857" y="333306"/>
                      </a:lnTo>
                      <a:lnTo>
                        <a:pt x="27093" y="309263"/>
                      </a:lnTo>
                      <a:moveTo>
                        <a:pt x="25957" y="311177"/>
                      </a:moveTo>
                      <a:lnTo>
                        <a:pt x="61602" y="335100"/>
                      </a:lnTo>
                      <a:lnTo>
                        <a:pt x="57475" y="386116"/>
                      </a:lnTo>
                      <a:lnTo>
                        <a:pt x="22907" y="362432"/>
                      </a:lnTo>
                      <a:lnTo>
                        <a:pt x="25957" y="311177"/>
                      </a:lnTo>
                      <a:moveTo>
                        <a:pt x="124699" y="145332"/>
                      </a:moveTo>
                      <a:lnTo>
                        <a:pt x="179183" y="120153"/>
                      </a:lnTo>
                      <a:lnTo>
                        <a:pt x="214708" y="141923"/>
                      </a:lnTo>
                      <a:lnTo>
                        <a:pt x="161241" y="168238"/>
                      </a:lnTo>
                      <a:lnTo>
                        <a:pt x="124699" y="145332"/>
                      </a:lnTo>
                      <a:moveTo>
                        <a:pt x="22787" y="365003"/>
                      </a:moveTo>
                      <a:lnTo>
                        <a:pt x="57296" y="388627"/>
                      </a:lnTo>
                      <a:lnTo>
                        <a:pt x="56159" y="403160"/>
                      </a:lnTo>
                      <a:lnTo>
                        <a:pt x="21950" y="379716"/>
                      </a:lnTo>
                      <a:lnTo>
                        <a:pt x="22787" y="365003"/>
                      </a:lnTo>
                      <a:moveTo>
                        <a:pt x="163094" y="169374"/>
                      </a:moveTo>
                      <a:lnTo>
                        <a:pt x="215665" y="143478"/>
                      </a:lnTo>
                      <a:lnTo>
                        <a:pt x="213273" y="159087"/>
                      </a:lnTo>
                      <a:lnTo>
                        <a:pt x="176312" y="177687"/>
                      </a:lnTo>
                      <a:lnTo>
                        <a:pt x="163094" y="169374"/>
                      </a:lnTo>
                      <a:moveTo>
                        <a:pt x="72367" y="215246"/>
                      </a:moveTo>
                      <a:lnTo>
                        <a:pt x="147066" y="263511"/>
                      </a:lnTo>
                      <a:lnTo>
                        <a:pt x="145033" y="279838"/>
                      </a:lnTo>
                      <a:lnTo>
                        <a:pt x="70991" y="231693"/>
                      </a:lnTo>
                      <a:lnTo>
                        <a:pt x="72367" y="215246"/>
                      </a:lnTo>
                      <a:moveTo>
                        <a:pt x="73683" y="213392"/>
                      </a:moveTo>
                      <a:lnTo>
                        <a:pt x="89053" y="205857"/>
                      </a:lnTo>
                      <a:lnTo>
                        <a:pt x="163094" y="253403"/>
                      </a:lnTo>
                      <a:lnTo>
                        <a:pt x="148202" y="261657"/>
                      </a:lnTo>
                      <a:lnTo>
                        <a:pt x="73683" y="213392"/>
                      </a:lnTo>
                      <a:moveTo>
                        <a:pt x="21770" y="382168"/>
                      </a:moveTo>
                      <a:lnTo>
                        <a:pt x="55920" y="405612"/>
                      </a:lnTo>
                      <a:lnTo>
                        <a:pt x="53946" y="429775"/>
                      </a:lnTo>
                      <a:lnTo>
                        <a:pt x="20335" y="406510"/>
                      </a:lnTo>
                      <a:lnTo>
                        <a:pt x="21770" y="382168"/>
                      </a:lnTo>
                      <a:moveTo>
                        <a:pt x="70872" y="234205"/>
                      </a:moveTo>
                      <a:lnTo>
                        <a:pt x="144734" y="282230"/>
                      </a:lnTo>
                      <a:lnTo>
                        <a:pt x="139769" y="322002"/>
                      </a:lnTo>
                      <a:lnTo>
                        <a:pt x="67582" y="274395"/>
                      </a:lnTo>
                      <a:lnTo>
                        <a:pt x="70872" y="234205"/>
                      </a:lnTo>
                      <a:moveTo>
                        <a:pt x="86123" y="327385"/>
                      </a:moveTo>
                      <a:lnTo>
                        <a:pt x="117163" y="309622"/>
                      </a:lnTo>
                      <a:lnTo>
                        <a:pt x="139471" y="324335"/>
                      </a:lnTo>
                      <a:lnTo>
                        <a:pt x="137796" y="338987"/>
                      </a:lnTo>
                      <a:lnTo>
                        <a:pt x="119734" y="349932"/>
                      </a:lnTo>
                      <a:lnTo>
                        <a:pt x="86123" y="327385"/>
                      </a:lnTo>
                      <a:moveTo>
                        <a:pt x="181575" y="119016"/>
                      </a:moveTo>
                      <a:lnTo>
                        <a:pt x="258846" y="83252"/>
                      </a:lnTo>
                      <a:lnTo>
                        <a:pt x="292757" y="103526"/>
                      </a:lnTo>
                      <a:lnTo>
                        <a:pt x="216981" y="140786"/>
                      </a:lnTo>
                      <a:lnTo>
                        <a:pt x="181575" y="119016"/>
                      </a:lnTo>
                      <a:moveTo>
                        <a:pt x="20215" y="408962"/>
                      </a:moveTo>
                      <a:lnTo>
                        <a:pt x="53767" y="432227"/>
                      </a:lnTo>
                      <a:lnTo>
                        <a:pt x="48982" y="491196"/>
                      </a:lnTo>
                      <a:lnTo>
                        <a:pt x="16686" y="468410"/>
                      </a:lnTo>
                      <a:lnTo>
                        <a:pt x="20215" y="408962"/>
                      </a:lnTo>
                      <a:moveTo>
                        <a:pt x="121349" y="350949"/>
                      </a:moveTo>
                      <a:lnTo>
                        <a:pt x="137616" y="341140"/>
                      </a:lnTo>
                      <a:lnTo>
                        <a:pt x="135464" y="360339"/>
                      </a:lnTo>
                      <a:lnTo>
                        <a:pt x="121349" y="350949"/>
                      </a:lnTo>
                      <a:moveTo>
                        <a:pt x="261298" y="82235"/>
                      </a:moveTo>
                      <a:lnTo>
                        <a:pt x="271226" y="77630"/>
                      </a:lnTo>
                      <a:lnTo>
                        <a:pt x="304838" y="97665"/>
                      </a:lnTo>
                      <a:lnTo>
                        <a:pt x="295030" y="102450"/>
                      </a:lnTo>
                      <a:lnTo>
                        <a:pt x="261298" y="82235"/>
                      </a:lnTo>
                      <a:moveTo>
                        <a:pt x="70095" y="443530"/>
                      </a:moveTo>
                      <a:lnTo>
                        <a:pt x="82594" y="452083"/>
                      </a:lnTo>
                      <a:lnTo>
                        <a:pt x="68480" y="461353"/>
                      </a:lnTo>
                      <a:lnTo>
                        <a:pt x="70095" y="443530"/>
                      </a:lnTo>
                      <a:moveTo>
                        <a:pt x="55441" y="433423"/>
                      </a:moveTo>
                      <a:lnTo>
                        <a:pt x="68360" y="442334"/>
                      </a:lnTo>
                      <a:lnTo>
                        <a:pt x="64772" y="481867"/>
                      </a:lnTo>
                      <a:lnTo>
                        <a:pt x="50777" y="491256"/>
                      </a:lnTo>
                      <a:lnTo>
                        <a:pt x="55441" y="433423"/>
                      </a:lnTo>
                      <a:moveTo>
                        <a:pt x="178226" y="178883"/>
                      </a:moveTo>
                      <a:lnTo>
                        <a:pt x="213871" y="160881"/>
                      </a:lnTo>
                      <a:lnTo>
                        <a:pt x="241981" y="178226"/>
                      </a:lnTo>
                      <a:lnTo>
                        <a:pt x="236060" y="213033"/>
                      </a:lnTo>
                      <a:lnTo>
                        <a:pt x="234325" y="214050"/>
                      </a:lnTo>
                      <a:lnTo>
                        <a:pt x="178226" y="178883"/>
                      </a:lnTo>
                      <a:moveTo>
                        <a:pt x="64472" y="334442"/>
                      </a:moveTo>
                      <a:lnTo>
                        <a:pt x="79664" y="325770"/>
                      </a:lnTo>
                      <a:lnTo>
                        <a:pt x="135045" y="362731"/>
                      </a:lnTo>
                      <a:lnTo>
                        <a:pt x="133012" y="380553"/>
                      </a:lnTo>
                      <a:lnTo>
                        <a:pt x="64472" y="334442"/>
                      </a:lnTo>
                      <a:moveTo>
                        <a:pt x="16567" y="470982"/>
                      </a:moveTo>
                      <a:lnTo>
                        <a:pt x="48803" y="493709"/>
                      </a:lnTo>
                      <a:lnTo>
                        <a:pt x="46650" y="520143"/>
                      </a:lnTo>
                      <a:lnTo>
                        <a:pt x="15012" y="497596"/>
                      </a:lnTo>
                      <a:lnTo>
                        <a:pt x="16567" y="470982"/>
                      </a:lnTo>
                      <a:moveTo>
                        <a:pt x="148681" y="264587"/>
                      </a:moveTo>
                      <a:lnTo>
                        <a:pt x="187077" y="289347"/>
                      </a:lnTo>
                      <a:lnTo>
                        <a:pt x="184685" y="305675"/>
                      </a:lnTo>
                      <a:lnTo>
                        <a:pt x="146647" y="280914"/>
                      </a:lnTo>
                      <a:lnTo>
                        <a:pt x="148681" y="264587"/>
                      </a:lnTo>
                      <a:moveTo>
                        <a:pt x="149937" y="262733"/>
                      </a:moveTo>
                      <a:lnTo>
                        <a:pt x="164889" y="254480"/>
                      </a:lnTo>
                      <a:lnTo>
                        <a:pt x="202986" y="278881"/>
                      </a:lnTo>
                      <a:lnTo>
                        <a:pt x="188334" y="287493"/>
                      </a:lnTo>
                      <a:lnTo>
                        <a:pt x="149937" y="262733"/>
                      </a:lnTo>
                      <a:moveTo>
                        <a:pt x="14833" y="500048"/>
                      </a:moveTo>
                      <a:lnTo>
                        <a:pt x="46470" y="522536"/>
                      </a:lnTo>
                      <a:lnTo>
                        <a:pt x="45514" y="534916"/>
                      </a:lnTo>
                      <a:lnTo>
                        <a:pt x="14174" y="512488"/>
                      </a:lnTo>
                      <a:lnTo>
                        <a:pt x="14833" y="500048"/>
                      </a:lnTo>
                      <a:moveTo>
                        <a:pt x="243536" y="179242"/>
                      </a:moveTo>
                      <a:lnTo>
                        <a:pt x="268954" y="194912"/>
                      </a:lnTo>
                      <a:lnTo>
                        <a:pt x="237973" y="212016"/>
                      </a:lnTo>
                      <a:lnTo>
                        <a:pt x="243536" y="179242"/>
                      </a:lnTo>
                      <a:moveTo>
                        <a:pt x="13936" y="515000"/>
                      </a:moveTo>
                      <a:lnTo>
                        <a:pt x="45274" y="537368"/>
                      </a:lnTo>
                      <a:lnTo>
                        <a:pt x="44078" y="552439"/>
                      </a:lnTo>
                      <a:lnTo>
                        <a:pt x="13098" y="530191"/>
                      </a:lnTo>
                      <a:lnTo>
                        <a:pt x="13936" y="515000"/>
                      </a:lnTo>
                      <a:moveTo>
                        <a:pt x="146349" y="283247"/>
                      </a:moveTo>
                      <a:lnTo>
                        <a:pt x="184386" y="307947"/>
                      </a:lnTo>
                      <a:lnTo>
                        <a:pt x="178465" y="347480"/>
                      </a:lnTo>
                      <a:lnTo>
                        <a:pt x="141384" y="323079"/>
                      </a:lnTo>
                      <a:lnTo>
                        <a:pt x="146349" y="283247"/>
                      </a:lnTo>
                      <a:moveTo>
                        <a:pt x="217460" y="143597"/>
                      </a:moveTo>
                      <a:lnTo>
                        <a:pt x="285819" y="185582"/>
                      </a:lnTo>
                      <a:lnTo>
                        <a:pt x="271107" y="193715"/>
                      </a:lnTo>
                      <a:lnTo>
                        <a:pt x="215127" y="159087"/>
                      </a:lnTo>
                      <a:lnTo>
                        <a:pt x="217460" y="143597"/>
                      </a:lnTo>
                      <a:moveTo>
                        <a:pt x="273618" y="76493"/>
                      </a:moveTo>
                      <a:lnTo>
                        <a:pt x="328222" y="51255"/>
                      </a:lnTo>
                      <a:lnTo>
                        <a:pt x="360638" y="70214"/>
                      </a:lnTo>
                      <a:lnTo>
                        <a:pt x="307171" y="96469"/>
                      </a:lnTo>
                      <a:lnTo>
                        <a:pt x="273618" y="76493"/>
                      </a:lnTo>
                      <a:moveTo>
                        <a:pt x="59090" y="389764"/>
                      </a:moveTo>
                      <a:lnTo>
                        <a:pt x="126313" y="435696"/>
                      </a:lnTo>
                      <a:lnTo>
                        <a:pt x="124459" y="450109"/>
                      </a:lnTo>
                      <a:lnTo>
                        <a:pt x="57834" y="404417"/>
                      </a:lnTo>
                      <a:lnTo>
                        <a:pt x="59090" y="389764"/>
                      </a:lnTo>
                      <a:moveTo>
                        <a:pt x="68240" y="463566"/>
                      </a:moveTo>
                      <a:lnTo>
                        <a:pt x="84029" y="453219"/>
                      </a:lnTo>
                      <a:lnTo>
                        <a:pt x="114890" y="474510"/>
                      </a:lnTo>
                      <a:lnTo>
                        <a:pt x="85285" y="494905"/>
                      </a:lnTo>
                      <a:lnTo>
                        <a:pt x="66625" y="481747"/>
                      </a:lnTo>
                      <a:lnTo>
                        <a:pt x="68240" y="463566"/>
                      </a:lnTo>
                      <a:moveTo>
                        <a:pt x="12919" y="532703"/>
                      </a:moveTo>
                      <a:lnTo>
                        <a:pt x="43839" y="554891"/>
                      </a:lnTo>
                      <a:lnTo>
                        <a:pt x="40011" y="602139"/>
                      </a:lnTo>
                      <a:lnTo>
                        <a:pt x="10168" y="580369"/>
                      </a:lnTo>
                      <a:lnTo>
                        <a:pt x="12919" y="532703"/>
                      </a:lnTo>
                      <a:moveTo>
                        <a:pt x="57654" y="406809"/>
                      </a:moveTo>
                      <a:lnTo>
                        <a:pt x="124160" y="452442"/>
                      </a:lnTo>
                      <a:lnTo>
                        <a:pt x="121169" y="476305"/>
                      </a:lnTo>
                      <a:lnTo>
                        <a:pt x="55741" y="430971"/>
                      </a:lnTo>
                      <a:lnTo>
                        <a:pt x="57654" y="406809"/>
                      </a:lnTo>
                      <a:moveTo>
                        <a:pt x="45514" y="556147"/>
                      </a:moveTo>
                      <a:lnTo>
                        <a:pt x="57296" y="564580"/>
                      </a:lnTo>
                      <a:lnTo>
                        <a:pt x="54784" y="592630"/>
                      </a:lnTo>
                      <a:lnTo>
                        <a:pt x="41806" y="602199"/>
                      </a:lnTo>
                      <a:lnTo>
                        <a:pt x="45514" y="556147"/>
                      </a:lnTo>
                      <a:moveTo>
                        <a:pt x="330555" y="50118"/>
                      </a:moveTo>
                      <a:lnTo>
                        <a:pt x="369191" y="32296"/>
                      </a:lnTo>
                      <a:lnTo>
                        <a:pt x="400768" y="50477"/>
                      </a:lnTo>
                      <a:lnTo>
                        <a:pt x="362911" y="69077"/>
                      </a:lnTo>
                      <a:lnTo>
                        <a:pt x="330555" y="50118"/>
                      </a:lnTo>
                      <a:moveTo>
                        <a:pt x="188752" y="290364"/>
                      </a:moveTo>
                      <a:lnTo>
                        <a:pt x="229899" y="316978"/>
                      </a:lnTo>
                      <a:lnTo>
                        <a:pt x="227029" y="333186"/>
                      </a:lnTo>
                      <a:lnTo>
                        <a:pt x="186300" y="306691"/>
                      </a:lnTo>
                      <a:lnTo>
                        <a:pt x="188752" y="290364"/>
                      </a:lnTo>
                      <a:moveTo>
                        <a:pt x="189948" y="288629"/>
                      </a:moveTo>
                      <a:lnTo>
                        <a:pt x="204601" y="280017"/>
                      </a:lnTo>
                      <a:lnTo>
                        <a:pt x="245449" y="306213"/>
                      </a:lnTo>
                      <a:lnTo>
                        <a:pt x="231095" y="315244"/>
                      </a:lnTo>
                      <a:lnTo>
                        <a:pt x="189948" y="288629"/>
                      </a:lnTo>
                      <a:moveTo>
                        <a:pt x="364765" y="70154"/>
                      </a:moveTo>
                      <a:lnTo>
                        <a:pt x="401546" y="52032"/>
                      </a:lnTo>
                      <a:lnTo>
                        <a:pt x="398257" y="65848"/>
                      </a:lnTo>
                      <a:lnTo>
                        <a:pt x="376307" y="76912"/>
                      </a:lnTo>
                      <a:lnTo>
                        <a:pt x="364765" y="70154"/>
                      </a:lnTo>
                      <a:moveTo>
                        <a:pt x="86780" y="495921"/>
                      </a:moveTo>
                      <a:lnTo>
                        <a:pt x="116325" y="475587"/>
                      </a:lnTo>
                      <a:lnTo>
                        <a:pt x="120871" y="478697"/>
                      </a:lnTo>
                      <a:lnTo>
                        <a:pt x="116146" y="516495"/>
                      </a:lnTo>
                      <a:lnTo>
                        <a:pt x="86780" y="495921"/>
                      </a:lnTo>
                      <a:moveTo>
                        <a:pt x="51435" y="492931"/>
                      </a:moveTo>
                      <a:lnTo>
                        <a:pt x="65429" y="483601"/>
                      </a:lnTo>
                      <a:lnTo>
                        <a:pt x="115847" y="518887"/>
                      </a:lnTo>
                      <a:lnTo>
                        <a:pt x="113575" y="536770"/>
                      </a:lnTo>
                      <a:lnTo>
                        <a:pt x="51435" y="492931"/>
                      </a:lnTo>
                      <a:moveTo>
                        <a:pt x="9928" y="582941"/>
                      </a:moveTo>
                      <a:lnTo>
                        <a:pt x="39772" y="604651"/>
                      </a:lnTo>
                      <a:lnTo>
                        <a:pt x="34868" y="665296"/>
                      </a:lnTo>
                      <a:lnTo>
                        <a:pt x="6340" y="644124"/>
                      </a:lnTo>
                      <a:lnTo>
                        <a:pt x="9928" y="582941"/>
                      </a:lnTo>
                      <a:moveTo>
                        <a:pt x="185941" y="308964"/>
                      </a:moveTo>
                      <a:lnTo>
                        <a:pt x="226670" y="335459"/>
                      </a:lnTo>
                      <a:lnTo>
                        <a:pt x="219732" y="374752"/>
                      </a:lnTo>
                      <a:lnTo>
                        <a:pt x="180020" y="348556"/>
                      </a:lnTo>
                      <a:lnTo>
                        <a:pt x="185941" y="308964"/>
                      </a:lnTo>
                      <a:moveTo>
                        <a:pt x="296943" y="103526"/>
                      </a:moveTo>
                      <a:lnTo>
                        <a:pt x="306751" y="98742"/>
                      </a:lnTo>
                      <a:lnTo>
                        <a:pt x="372300" y="137736"/>
                      </a:lnTo>
                      <a:lnTo>
                        <a:pt x="362851" y="142939"/>
                      </a:lnTo>
                      <a:lnTo>
                        <a:pt x="296943" y="103526"/>
                      </a:lnTo>
                      <a:moveTo>
                        <a:pt x="378222" y="78049"/>
                      </a:moveTo>
                      <a:lnTo>
                        <a:pt x="398795" y="67642"/>
                      </a:lnTo>
                      <a:lnTo>
                        <a:pt x="407168" y="72486"/>
                      </a:lnTo>
                      <a:lnTo>
                        <a:pt x="406689" y="74460"/>
                      </a:lnTo>
                      <a:lnTo>
                        <a:pt x="402383" y="92103"/>
                      </a:lnTo>
                      <a:lnTo>
                        <a:pt x="378222" y="78049"/>
                      </a:lnTo>
                      <a:moveTo>
                        <a:pt x="127868" y="436712"/>
                      </a:moveTo>
                      <a:lnTo>
                        <a:pt x="162317" y="460216"/>
                      </a:lnTo>
                      <a:lnTo>
                        <a:pt x="160164" y="474630"/>
                      </a:lnTo>
                      <a:lnTo>
                        <a:pt x="126074" y="451186"/>
                      </a:lnTo>
                      <a:lnTo>
                        <a:pt x="127868" y="436712"/>
                      </a:lnTo>
                      <a:moveTo>
                        <a:pt x="50478" y="494845"/>
                      </a:moveTo>
                      <a:lnTo>
                        <a:pt x="113275" y="539042"/>
                      </a:lnTo>
                      <a:lnTo>
                        <a:pt x="109986" y="565059"/>
                      </a:lnTo>
                      <a:lnTo>
                        <a:pt x="48325" y="521220"/>
                      </a:lnTo>
                      <a:lnTo>
                        <a:pt x="50478" y="494845"/>
                      </a:lnTo>
                      <a:moveTo>
                        <a:pt x="371582" y="31219"/>
                      </a:moveTo>
                      <a:lnTo>
                        <a:pt x="423974" y="6998"/>
                      </a:lnTo>
                      <a:lnTo>
                        <a:pt x="454236" y="24162"/>
                      </a:lnTo>
                      <a:lnTo>
                        <a:pt x="402981" y="49401"/>
                      </a:lnTo>
                      <a:lnTo>
                        <a:pt x="371582" y="31219"/>
                      </a:lnTo>
                      <a:moveTo>
                        <a:pt x="125715" y="453518"/>
                      </a:moveTo>
                      <a:lnTo>
                        <a:pt x="159805" y="476903"/>
                      </a:lnTo>
                      <a:lnTo>
                        <a:pt x="156276" y="500586"/>
                      </a:lnTo>
                      <a:lnTo>
                        <a:pt x="122725" y="477381"/>
                      </a:lnTo>
                      <a:lnTo>
                        <a:pt x="125715" y="453518"/>
                      </a:lnTo>
                      <a:moveTo>
                        <a:pt x="48145" y="523732"/>
                      </a:moveTo>
                      <a:lnTo>
                        <a:pt x="109747" y="567451"/>
                      </a:lnTo>
                      <a:lnTo>
                        <a:pt x="108192" y="579711"/>
                      </a:lnTo>
                      <a:lnTo>
                        <a:pt x="47128" y="536052"/>
                      </a:lnTo>
                      <a:lnTo>
                        <a:pt x="48145" y="523732"/>
                      </a:lnTo>
                      <a:moveTo>
                        <a:pt x="426306" y="5921"/>
                      </a:moveTo>
                      <a:lnTo>
                        <a:pt x="434081" y="2333"/>
                      </a:lnTo>
                      <a:lnTo>
                        <a:pt x="464224" y="19258"/>
                      </a:lnTo>
                      <a:lnTo>
                        <a:pt x="456569" y="23026"/>
                      </a:lnTo>
                      <a:lnTo>
                        <a:pt x="426306" y="5921"/>
                      </a:lnTo>
                      <a:moveTo>
                        <a:pt x="6160" y="646576"/>
                      </a:moveTo>
                      <a:lnTo>
                        <a:pt x="34688" y="667688"/>
                      </a:lnTo>
                      <a:lnTo>
                        <a:pt x="31280" y="709613"/>
                      </a:lnTo>
                      <a:lnTo>
                        <a:pt x="3708" y="688920"/>
                      </a:lnTo>
                      <a:lnTo>
                        <a:pt x="6160" y="646576"/>
                      </a:lnTo>
                      <a:moveTo>
                        <a:pt x="46949" y="538624"/>
                      </a:moveTo>
                      <a:lnTo>
                        <a:pt x="107892" y="582104"/>
                      </a:lnTo>
                      <a:lnTo>
                        <a:pt x="106039" y="596995"/>
                      </a:lnTo>
                      <a:lnTo>
                        <a:pt x="45753" y="553695"/>
                      </a:lnTo>
                      <a:lnTo>
                        <a:pt x="46949" y="538624"/>
                      </a:lnTo>
                      <a:moveTo>
                        <a:pt x="36363" y="668944"/>
                      </a:moveTo>
                      <a:lnTo>
                        <a:pt x="47188" y="676958"/>
                      </a:lnTo>
                      <a:lnTo>
                        <a:pt x="47009" y="678812"/>
                      </a:lnTo>
                      <a:lnTo>
                        <a:pt x="45095" y="699984"/>
                      </a:lnTo>
                      <a:lnTo>
                        <a:pt x="33014" y="709672"/>
                      </a:lnTo>
                      <a:lnTo>
                        <a:pt x="36363" y="668944"/>
                      </a:lnTo>
                      <a:moveTo>
                        <a:pt x="3589" y="691431"/>
                      </a:moveTo>
                      <a:lnTo>
                        <a:pt x="31160" y="712124"/>
                      </a:lnTo>
                      <a:lnTo>
                        <a:pt x="29246" y="735270"/>
                      </a:lnTo>
                      <a:lnTo>
                        <a:pt x="2213" y="714816"/>
                      </a:lnTo>
                      <a:lnTo>
                        <a:pt x="3589" y="691431"/>
                      </a:lnTo>
                      <a:moveTo>
                        <a:pt x="408544" y="73383"/>
                      </a:moveTo>
                      <a:lnTo>
                        <a:pt x="438208" y="90548"/>
                      </a:lnTo>
                      <a:lnTo>
                        <a:pt x="438088" y="91086"/>
                      </a:lnTo>
                      <a:lnTo>
                        <a:pt x="408424" y="73922"/>
                      </a:lnTo>
                      <a:lnTo>
                        <a:pt x="408544" y="73383"/>
                      </a:lnTo>
                      <a:moveTo>
                        <a:pt x="59030" y="565776"/>
                      </a:moveTo>
                      <a:lnTo>
                        <a:pt x="105799" y="599328"/>
                      </a:lnTo>
                      <a:lnTo>
                        <a:pt x="102510" y="625643"/>
                      </a:lnTo>
                      <a:lnTo>
                        <a:pt x="56638" y="592391"/>
                      </a:lnTo>
                      <a:lnTo>
                        <a:pt x="59030" y="565776"/>
                      </a:lnTo>
                      <a:moveTo>
                        <a:pt x="407946" y="76015"/>
                      </a:moveTo>
                      <a:lnTo>
                        <a:pt x="437550" y="93180"/>
                      </a:lnTo>
                      <a:lnTo>
                        <a:pt x="434979" y="103108"/>
                      </a:lnTo>
                      <a:lnTo>
                        <a:pt x="427861" y="107055"/>
                      </a:lnTo>
                      <a:lnTo>
                        <a:pt x="403819" y="92940"/>
                      </a:lnTo>
                      <a:lnTo>
                        <a:pt x="407946" y="76015"/>
                      </a:lnTo>
                      <a:moveTo>
                        <a:pt x="2034" y="717328"/>
                      </a:moveTo>
                      <a:lnTo>
                        <a:pt x="29007" y="737722"/>
                      </a:lnTo>
                      <a:lnTo>
                        <a:pt x="28289" y="746753"/>
                      </a:lnTo>
                      <a:lnTo>
                        <a:pt x="1495" y="726418"/>
                      </a:lnTo>
                      <a:lnTo>
                        <a:pt x="2034" y="717328"/>
                      </a:lnTo>
                      <a:moveTo>
                        <a:pt x="327086" y="272242"/>
                      </a:moveTo>
                      <a:lnTo>
                        <a:pt x="333485" y="268116"/>
                      </a:lnTo>
                      <a:lnTo>
                        <a:pt x="331871" y="275233"/>
                      </a:lnTo>
                      <a:lnTo>
                        <a:pt x="327086" y="272242"/>
                      </a:lnTo>
                      <a:moveTo>
                        <a:pt x="438985" y="93957"/>
                      </a:moveTo>
                      <a:lnTo>
                        <a:pt x="444786" y="97366"/>
                      </a:lnTo>
                      <a:lnTo>
                        <a:pt x="444667" y="97725"/>
                      </a:lnTo>
                      <a:lnTo>
                        <a:pt x="436832" y="102031"/>
                      </a:lnTo>
                      <a:lnTo>
                        <a:pt x="438985" y="93957"/>
                      </a:lnTo>
                      <a:moveTo>
                        <a:pt x="364525" y="144016"/>
                      </a:moveTo>
                      <a:lnTo>
                        <a:pt x="374035" y="138812"/>
                      </a:lnTo>
                      <a:lnTo>
                        <a:pt x="407527" y="158728"/>
                      </a:lnTo>
                      <a:lnTo>
                        <a:pt x="398257" y="164111"/>
                      </a:lnTo>
                      <a:lnTo>
                        <a:pt x="364525" y="144016"/>
                      </a:lnTo>
                      <a:moveTo>
                        <a:pt x="439643" y="91385"/>
                      </a:moveTo>
                      <a:lnTo>
                        <a:pt x="447777" y="96051"/>
                      </a:lnTo>
                      <a:lnTo>
                        <a:pt x="447239" y="96350"/>
                      </a:lnTo>
                      <a:lnTo>
                        <a:pt x="439524" y="91924"/>
                      </a:lnTo>
                      <a:lnTo>
                        <a:pt x="439643" y="91385"/>
                      </a:lnTo>
                      <a:moveTo>
                        <a:pt x="42344" y="603873"/>
                      </a:moveTo>
                      <a:lnTo>
                        <a:pt x="55441" y="594185"/>
                      </a:lnTo>
                      <a:lnTo>
                        <a:pt x="102151" y="627976"/>
                      </a:lnTo>
                      <a:lnTo>
                        <a:pt x="99938" y="645798"/>
                      </a:lnTo>
                      <a:lnTo>
                        <a:pt x="42344" y="603873"/>
                      </a:lnTo>
                      <a:moveTo>
                        <a:pt x="236060" y="215127"/>
                      </a:moveTo>
                      <a:lnTo>
                        <a:pt x="270987" y="195809"/>
                      </a:lnTo>
                      <a:lnTo>
                        <a:pt x="271047" y="195809"/>
                      </a:lnTo>
                      <a:lnTo>
                        <a:pt x="287554" y="186658"/>
                      </a:lnTo>
                      <a:lnTo>
                        <a:pt x="320746" y="207053"/>
                      </a:lnTo>
                      <a:lnTo>
                        <a:pt x="321345" y="207292"/>
                      </a:lnTo>
                      <a:lnTo>
                        <a:pt x="321883" y="207591"/>
                      </a:lnTo>
                      <a:lnTo>
                        <a:pt x="322361" y="207950"/>
                      </a:lnTo>
                      <a:lnTo>
                        <a:pt x="322840" y="208428"/>
                      </a:lnTo>
                      <a:lnTo>
                        <a:pt x="322959" y="208488"/>
                      </a:lnTo>
                      <a:lnTo>
                        <a:pt x="322959" y="208548"/>
                      </a:lnTo>
                      <a:lnTo>
                        <a:pt x="323258" y="208847"/>
                      </a:lnTo>
                      <a:lnTo>
                        <a:pt x="323558" y="209146"/>
                      </a:lnTo>
                      <a:lnTo>
                        <a:pt x="323796" y="209505"/>
                      </a:lnTo>
                      <a:lnTo>
                        <a:pt x="324036" y="209923"/>
                      </a:lnTo>
                      <a:lnTo>
                        <a:pt x="324694" y="209565"/>
                      </a:lnTo>
                      <a:lnTo>
                        <a:pt x="362611" y="232889"/>
                      </a:lnTo>
                      <a:lnTo>
                        <a:pt x="313390" y="263750"/>
                      </a:lnTo>
                      <a:lnTo>
                        <a:pt x="276788" y="240784"/>
                      </a:lnTo>
                      <a:cubicBezTo>
                        <a:pt x="276668" y="240784"/>
                        <a:pt x="276489" y="240784"/>
                        <a:pt x="276370" y="240784"/>
                      </a:cubicBezTo>
                      <a:cubicBezTo>
                        <a:pt x="276250" y="240784"/>
                        <a:pt x="276070" y="240724"/>
                        <a:pt x="275951" y="240724"/>
                      </a:cubicBezTo>
                      <a:cubicBezTo>
                        <a:pt x="275831" y="240724"/>
                        <a:pt x="275652" y="240664"/>
                        <a:pt x="275532" y="240664"/>
                      </a:cubicBezTo>
                      <a:cubicBezTo>
                        <a:pt x="275413" y="240664"/>
                        <a:pt x="275233" y="240604"/>
                        <a:pt x="275113" y="240545"/>
                      </a:cubicBezTo>
                      <a:cubicBezTo>
                        <a:pt x="274994" y="240485"/>
                        <a:pt x="274875" y="240485"/>
                        <a:pt x="274755" y="240425"/>
                      </a:cubicBezTo>
                      <a:cubicBezTo>
                        <a:pt x="274635" y="240365"/>
                        <a:pt x="274515" y="240306"/>
                        <a:pt x="274396" y="240246"/>
                      </a:cubicBezTo>
                      <a:cubicBezTo>
                        <a:pt x="274277" y="240186"/>
                        <a:pt x="274157" y="240126"/>
                        <a:pt x="274037" y="240066"/>
                      </a:cubicBezTo>
                      <a:cubicBezTo>
                        <a:pt x="273917" y="240006"/>
                        <a:pt x="273798" y="239947"/>
                        <a:pt x="273678" y="239887"/>
                      </a:cubicBezTo>
                      <a:cubicBezTo>
                        <a:pt x="273559" y="239827"/>
                        <a:pt x="273439" y="239707"/>
                        <a:pt x="273319" y="239647"/>
                      </a:cubicBezTo>
                      <a:cubicBezTo>
                        <a:pt x="273200" y="239588"/>
                        <a:pt x="273080" y="239468"/>
                        <a:pt x="272960" y="239408"/>
                      </a:cubicBezTo>
                      <a:cubicBezTo>
                        <a:pt x="272841" y="239348"/>
                        <a:pt x="272722" y="239229"/>
                        <a:pt x="272662" y="239109"/>
                      </a:cubicBezTo>
                      <a:cubicBezTo>
                        <a:pt x="272602" y="238990"/>
                        <a:pt x="272482" y="238930"/>
                        <a:pt x="272362" y="238810"/>
                      </a:cubicBezTo>
                      <a:cubicBezTo>
                        <a:pt x="272243" y="238691"/>
                        <a:pt x="272183" y="238631"/>
                        <a:pt x="272064" y="238511"/>
                      </a:cubicBezTo>
                      <a:cubicBezTo>
                        <a:pt x="271944" y="238392"/>
                        <a:pt x="271884" y="238272"/>
                        <a:pt x="271764" y="238152"/>
                      </a:cubicBezTo>
                      <a:cubicBezTo>
                        <a:pt x="271645" y="238033"/>
                        <a:pt x="271585" y="237913"/>
                        <a:pt x="271525" y="237793"/>
                      </a:cubicBezTo>
                      <a:cubicBezTo>
                        <a:pt x="271465" y="237674"/>
                        <a:pt x="271345" y="237554"/>
                        <a:pt x="271286" y="237435"/>
                      </a:cubicBezTo>
                      <a:lnTo>
                        <a:pt x="236060" y="215127"/>
                      </a:lnTo>
                      <a:moveTo>
                        <a:pt x="163872" y="461293"/>
                      </a:moveTo>
                      <a:lnTo>
                        <a:pt x="200713" y="486412"/>
                      </a:lnTo>
                      <a:lnTo>
                        <a:pt x="198201" y="500706"/>
                      </a:lnTo>
                      <a:lnTo>
                        <a:pt x="161719" y="475647"/>
                      </a:lnTo>
                      <a:lnTo>
                        <a:pt x="163872" y="461293"/>
                      </a:lnTo>
                      <a:moveTo>
                        <a:pt x="114890" y="540179"/>
                      </a:moveTo>
                      <a:lnTo>
                        <a:pt x="147007" y="562786"/>
                      </a:lnTo>
                      <a:lnTo>
                        <a:pt x="143119" y="588623"/>
                      </a:lnTo>
                      <a:lnTo>
                        <a:pt x="111600" y="566195"/>
                      </a:lnTo>
                      <a:lnTo>
                        <a:pt x="114890" y="540179"/>
                      </a:lnTo>
                      <a:moveTo>
                        <a:pt x="314945" y="264587"/>
                      </a:moveTo>
                      <a:lnTo>
                        <a:pt x="363150" y="234385"/>
                      </a:lnTo>
                      <a:lnTo>
                        <a:pt x="359502" y="249516"/>
                      </a:lnTo>
                      <a:lnTo>
                        <a:pt x="334502" y="265544"/>
                      </a:lnTo>
                      <a:lnTo>
                        <a:pt x="325531" y="271226"/>
                      </a:lnTo>
                      <a:lnTo>
                        <a:pt x="314945" y="264587"/>
                      </a:lnTo>
                      <a:moveTo>
                        <a:pt x="48743" y="678931"/>
                      </a:moveTo>
                      <a:lnTo>
                        <a:pt x="49282" y="678513"/>
                      </a:lnTo>
                      <a:lnTo>
                        <a:pt x="76075" y="698369"/>
                      </a:lnTo>
                      <a:lnTo>
                        <a:pt x="61243" y="710510"/>
                      </a:lnTo>
                      <a:lnTo>
                        <a:pt x="46830" y="699685"/>
                      </a:lnTo>
                      <a:lnTo>
                        <a:pt x="48743" y="678931"/>
                      </a:lnTo>
                      <a:moveTo>
                        <a:pt x="403280" y="51913"/>
                      </a:moveTo>
                      <a:lnTo>
                        <a:pt x="464105" y="86960"/>
                      </a:lnTo>
                      <a:lnTo>
                        <a:pt x="449871" y="94854"/>
                      </a:lnTo>
                      <a:lnTo>
                        <a:pt x="399991" y="65907"/>
                      </a:lnTo>
                      <a:lnTo>
                        <a:pt x="403280" y="51913"/>
                      </a:lnTo>
                      <a:moveTo>
                        <a:pt x="111302" y="568647"/>
                      </a:moveTo>
                      <a:lnTo>
                        <a:pt x="142760" y="590955"/>
                      </a:lnTo>
                      <a:lnTo>
                        <a:pt x="140966" y="603156"/>
                      </a:lnTo>
                      <a:lnTo>
                        <a:pt x="109807" y="580848"/>
                      </a:lnTo>
                      <a:lnTo>
                        <a:pt x="111302" y="568647"/>
                      </a:lnTo>
                      <a:moveTo>
                        <a:pt x="161361" y="477979"/>
                      </a:moveTo>
                      <a:lnTo>
                        <a:pt x="197843" y="502979"/>
                      </a:lnTo>
                      <a:lnTo>
                        <a:pt x="193716" y="526543"/>
                      </a:lnTo>
                      <a:lnTo>
                        <a:pt x="157771" y="501723"/>
                      </a:lnTo>
                      <a:lnTo>
                        <a:pt x="161361" y="477979"/>
                      </a:lnTo>
                      <a:moveTo>
                        <a:pt x="109448" y="583180"/>
                      </a:moveTo>
                      <a:lnTo>
                        <a:pt x="140607" y="605369"/>
                      </a:lnTo>
                      <a:lnTo>
                        <a:pt x="138394" y="620141"/>
                      </a:lnTo>
                      <a:lnTo>
                        <a:pt x="107594" y="598012"/>
                      </a:lnTo>
                      <a:lnTo>
                        <a:pt x="109448" y="583180"/>
                      </a:lnTo>
                      <a:moveTo>
                        <a:pt x="206455" y="537787"/>
                      </a:moveTo>
                      <a:lnTo>
                        <a:pt x="208189" y="538983"/>
                      </a:lnTo>
                      <a:lnTo>
                        <a:pt x="205917" y="540777"/>
                      </a:lnTo>
                      <a:lnTo>
                        <a:pt x="206455" y="537787"/>
                      </a:lnTo>
                      <a:moveTo>
                        <a:pt x="335399" y="266860"/>
                      </a:moveTo>
                      <a:lnTo>
                        <a:pt x="359920" y="251131"/>
                      </a:lnTo>
                      <a:lnTo>
                        <a:pt x="373676" y="259623"/>
                      </a:lnTo>
                      <a:lnTo>
                        <a:pt x="364645" y="295747"/>
                      </a:lnTo>
                      <a:lnTo>
                        <a:pt x="333246" y="276070"/>
                      </a:lnTo>
                      <a:lnTo>
                        <a:pt x="335399" y="266860"/>
                      </a:lnTo>
                      <a:moveTo>
                        <a:pt x="231454" y="317935"/>
                      </a:moveTo>
                      <a:lnTo>
                        <a:pt x="311297" y="369549"/>
                      </a:lnTo>
                      <a:lnTo>
                        <a:pt x="307589" y="385697"/>
                      </a:lnTo>
                      <a:lnTo>
                        <a:pt x="228524" y="334203"/>
                      </a:lnTo>
                      <a:lnTo>
                        <a:pt x="231454" y="317935"/>
                      </a:lnTo>
                      <a:moveTo>
                        <a:pt x="62559" y="711467"/>
                      </a:moveTo>
                      <a:lnTo>
                        <a:pt x="77331" y="699386"/>
                      </a:lnTo>
                      <a:lnTo>
                        <a:pt x="91805" y="710091"/>
                      </a:lnTo>
                      <a:lnTo>
                        <a:pt x="89173" y="731382"/>
                      </a:lnTo>
                      <a:lnTo>
                        <a:pt x="62559" y="711467"/>
                      </a:lnTo>
                      <a:moveTo>
                        <a:pt x="232590" y="316260"/>
                      </a:moveTo>
                      <a:lnTo>
                        <a:pt x="247004" y="307289"/>
                      </a:lnTo>
                      <a:lnTo>
                        <a:pt x="326189" y="358125"/>
                      </a:lnTo>
                      <a:lnTo>
                        <a:pt x="312374" y="367874"/>
                      </a:lnTo>
                      <a:lnTo>
                        <a:pt x="232590" y="316260"/>
                      </a:lnTo>
                      <a:moveTo>
                        <a:pt x="157473" y="503995"/>
                      </a:moveTo>
                      <a:lnTo>
                        <a:pt x="193297" y="528696"/>
                      </a:lnTo>
                      <a:lnTo>
                        <a:pt x="183249" y="585871"/>
                      </a:lnTo>
                      <a:lnTo>
                        <a:pt x="148860" y="561590"/>
                      </a:lnTo>
                      <a:lnTo>
                        <a:pt x="148920" y="561171"/>
                      </a:lnTo>
                      <a:lnTo>
                        <a:pt x="147904" y="560932"/>
                      </a:lnTo>
                      <a:lnTo>
                        <a:pt x="146887" y="560453"/>
                      </a:lnTo>
                      <a:lnTo>
                        <a:pt x="145990" y="559855"/>
                      </a:lnTo>
                      <a:lnTo>
                        <a:pt x="145212" y="559018"/>
                      </a:lnTo>
                      <a:lnTo>
                        <a:pt x="115189" y="537846"/>
                      </a:lnTo>
                      <a:lnTo>
                        <a:pt x="122486" y="479714"/>
                      </a:lnTo>
                      <a:lnTo>
                        <a:pt x="155978" y="502859"/>
                      </a:lnTo>
                      <a:lnTo>
                        <a:pt x="155918" y="503338"/>
                      </a:lnTo>
                      <a:lnTo>
                        <a:pt x="156336" y="503457"/>
                      </a:lnTo>
                      <a:lnTo>
                        <a:pt x="156755" y="503636"/>
                      </a:lnTo>
                      <a:lnTo>
                        <a:pt x="157174" y="503816"/>
                      </a:lnTo>
                      <a:lnTo>
                        <a:pt x="157473" y="503995"/>
                      </a:lnTo>
                      <a:moveTo>
                        <a:pt x="458423" y="24102"/>
                      </a:moveTo>
                      <a:lnTo>
                        <a:pt x="466078" y="20275"/>
                      </a:lnTo>
                      <a:lnTo>
                        <a:pt x="524749" y="53408"/>
                      </a:lnTo>
                      <a:lnTo>
                        <a:pt x="517392" y="57475"/>
                      </a:lnTo>
                      <a:lnTo>
                        <a:pt x="458423" y="24102"/>
                      </a:lnTo>
                      <a:moveTo>
                        <a:pt x="399931" y="165188"/>
                      </a:moveTo>
                      <a:lnTo>
                        <a:pt x="409201" y="159685"/>
                      </a:lnTo>
                      <a:lnTo>
                        <a:pt x="445026" y="181036"/>
                      </a:lnTo>
                      <a:lnTo>
                        <a:pt x="435935" y="186718"/>
                      </a:lnTo>
                      <a:lnTo>
                        <a:pt x="399931" y="165188"/>
                      </a:lnTo>
                      <a:moveTo>
                        <a:pt x="194733" y="529772"/>
                      </a:moveTo>
                      <a:lnTo>
                        <a:pt x="204959" y="536770"/>
                      </a:lnTo>
                      <a:lnTo>
                        <a:pt x="197903" y="575166"/>
                      </a:lnTo>
                      <a:lnTo>
                        <a:pt x="184924" y="585632"/>
                      </a:lnTo>
                      <a:lnTo>
                        <a:pt x="194733" y="529772"/>
                      </a:lnTo>
                      <a:moveTo>
                        <a:pt x="33493" y="711287"/>
                      </a:moveTo>
                      <a:lnTo>
                        <a:pt x="45693" y="701479"/>
                      </a:lnTo>
                      <a:lnTo>
                        <a:pt x="88874" y="733715"/>
                      </a:lnTo>
                      <a:lnTo>
                        <a:pt x="86661" y="751239"/>
                      </a:lnTo>
                      <a:lnTo>
                        <a:pt x="33493" y="711287"/>
                      </a:lnTo>
                      <a:moveTo>
                        <a:pt x="148502" y="563922"/>
                      </a:moveTo>
                      <a:lnTo>
                        <a:pt x="182831" y="588084"/>
                      </a:lnTo>
                      <a:lnTo>
                        <a:pt x="178286" y="613682"/>
                      </a:lnTo>
                      <a:lnTo>
                        <a:pt x="144614" y="589699"/>
                      </a:lnTo>
                      <a:lnTo>
                        <a:pt x="148502" y="563922"/>
                      </a:lnTo>
                      <a:moveTo>
                        <a:pt x="228165" y="336416"/>
                      </a:moveTo>
                      <a:lnTo>
                        <a:pt x="307111" y="387730"/>
                      </a:lnTo>
                      <a:lnTo>
                        <a:pt x="298259" y="426485"/>
                      </a:lnTo>
                      <a:lnTo>
                        <a:pt x="221228" y="375649"/>
                      </a:lnTo>
                      <a:lnTo>
                        <a:pt x="228165" y="336416"/>
                      </a:lnTo>
                      <a:moveTo>
                        <a:pt x="144255" y="591972"/>
                      </a:moveTo>
                      <a:lnTo>
                        <a:pt x="177926" y="615895"/>
                      </a:lnTo>
                      <a:lnTo>
                        <a:pt x="175774" y="627976"/>
                      </a:lnTo>
                      <a:lnTo>
                        <a:pt x="142461" y="604172"/>
                      </a:lnTo>
                      <a:lnTo>
                        <a:pt x="144255" y="591972"/>
                      </a:lnTo>
                      <a:moveTo>
                        <a:pt x="32775" y="713321"/>
                      </a:moveTo>
                      <a:lnTo>
                        <a:pt x="86422" y="753571"/>
                      </a:lnTo>
                      <a:lnTo>
                        <a:pt x="83551" y="776358"/>
                      </a:lnTo>
                      <a:lnTo>
                        <a:pt x="30861" y="736526"/>
                      </a:lnTo>
                      <a:lnTo>
                        <a:pt x="32775" y="713321"/>
                      </a:lnTo>
                      <a:moveTo>
                        <a:pt x="30681" y="738978"/>
                      </a:moveTo>
                      <a:lnTo>
                        <a:pt x="83192" y="778690"/>
                      </a:lnTo>
                      <a:lnTo>
                        <a:pt x="82056" y="787661"/>
                      </a:lnTo>
                      <a:lnTo>
                        <a:pt x="29904" y="748069"/>
                      </a:lnTo>
                      <a:lnTo>
                        <a:pt x="30681" y="738978"/>
                      </a:lnTo>
                      <a:moveTo>
                        <a:pt x="142102" y="606445"/>
                      </a:moveTo>
                      <a:lnTo>
                        <a:pt x="175355" y="630189"/>
                      </a:lnTo>
                      <a:lnTo>
                        <a:pt x="172783" y="644841"/>
                      </a:lnTo>
                      <a:lnTo>
                        <a:pt x="139889" y="621218"/>
                      </a:lnTo>
                      <a:lnTo>
                        <a:pt x="142102" y="606445"/>
                      </a:lnTo>
                      <a:moveTo>
                        <a:pt x="375052" y="260520"/>
                      </a:moveTo>
                      <a:lnTo>
                        <a:pt x="409381" y="281692"/>
                      </a:lnTo>
                      <a:lnTo>
                        <a:pt x="403460" y="303282"/>
                      </a:lnTo>
                      <a:lnTo>
                        <a:pt x="390841" y="312253"/>
                      </a:lnTo>
                      <a:lnTo>
                        <a:pt x="366021" y="296704"/>
                      </a:lnTo>
                      <a:lnTo>
                        <a:pt x="375052" y="260520"/>
                      </a:lnTo>
                      <a:moveTo>
                        <a:pt x="205438" y="543050"/>
                      </a:moveTo>
                      <a:lnTo>
                        <a:pt x="209505" y="539880"/>
                      </a:lnTo>
                      <a:lnTo>
                        <a:pt x="242160" y="562487"/>
                      </a:lnTo>
                      <a:lnTo>
                        <a:pt x="214290" y="585274"/>
                      </a:lnTo>
                      <a:lnTo>
                        <a:pt x="199518" y="574927"/>
                      </a:lnTo>
                      <a:lnTo>
                        <a:pt x="205438" y="543050"/>
                      </a:lnTo>
                      <a:moveTo>
                        <a:pt x="519187" y="58491"/>
                      </a:moveTo>
                      <a:lnTo>
                        <a:pt x="526543" y="54425"/>
                      </a:lnTo>
                      <a:lnTo>
                        <a:pt x="556387" y="71230"/>
                      </a:lnTo>
                      <a:lnTo>
                        <a:pt x="549210" y="75477"/>
                      </a:lnTo>
                      <a:lnTo>
                        <a:pt x="519187" y="58491"/>
                      </a:lnTo>
                      <a:moveTo>
                        <a:pt x="139531" y="623550"/>
                      </a:moveTo>
                      <a:lnTo>
                        <a:pt x="172425" y="647114"/>
                      </a:lnTo>
                      <a:lnTo>
                        <a:pt x="164351" y="692747"/>
                      </a:lnTo>
                      <a:lnTo>
                        <a:pt x="132593" y="669661"/>
                      </a:lnTo>
                      <a:lnTo>
                        <a:pt x="132772" y="668944"/>
                      </a:lnTo>
                      <a:lnTo>
                        <a:pt x="132353" y="668824"/>
                      </a:lnTo>
                      <a:lnTo>
                        <a:pt x="131935" y="668645"/>
                      </a:lnTo>
                      <a:lnTo>
                        <a:pt x="131576" y="668465"/>
                      </a:lnTo>
                      <a:lnTo>
                        <a:pt x="131217" y="668226"/>
                      </a:lnTo>
                      <a:lnTo>
                        <a:pt x="131158" y="668525"/>
                      </a:lnTo>
                      <a:lnTo>
                        <a:pt x="101493" y="646935"/>
                      </a:lnTo>
                      <a:lnTo>
                        <a:pt x="107295" y="600405"/>
                      </a:lnTo>
                      <a:lnTo>
                        <a:pt x="138036" y="622473"/>
                      </a:lnTo>
                      <a:lnTo>
                        <a:pt x="137976" y="623251"/>
                      </a:lnTo>
                      <a:lnTo>
                        <a:pt x="138334" y="623431"/>
                      </a:lnTo>
                      <a:lnTo>
                        <a:pt x="138753" y="623670"/>
                      </a:lnTo>
                      <a:lnTo>
                        <a:pt x="139112" y="623909"/>
                      </a:lnTo>
                      <a:lnTo>
                        <a:pt x="139471" y="624148"/>
                      </a:lnTo>
                      <a:lnTo>
                        <a:pt x="139531" y="623550"/>
                      </a:lnTo>
                      <a:moveTo>
                        <a:pt x="410696" y="282529"/>
                      </a:moveTo>
                      <a:lnTo>
                        <a:pt x="422418" y="289766"/>
                      </a:lnTo>
                      <a:lnTo>
                        <a:pt x="405433" y="301787"/>
                      </a:lnTo>
                      <a:lnTo>
                        <a:pt x="410696" y="282529"/>
                      </a:lnTo>
                      <a:moveTo>
                        <a:pt x="173860" y="648190"/>
                      </a:moveTo>
                      <a:lnTo>
                        <a:pt x="183190" y="654829"/>
                      </a:lnTo>
                      <a:lnTo>
                        <a:pt x="178166" y="681922"/>
                      </a:lnTo>
                      <a:lnTo>
                        <a:pt x="166085" y="692388"/>
                      </a:lnTo>
                      <a:lnTo>
                        <a:pt x="173860" y="648190"/>
                      </a:lnTo>
                      <a:moveTo>
                        <a:pt x="312672" y="370446"/>
                      </a:moveTo>
                      <a:lnTo>
                        <a:pt x="353999" y="397120"/>
                      </a:lnTo>
                      <a:lnTo>
                        <a:pt x="349872" y="413148"/>
                      </a:lnTo>
                      <a:lnTo>
                        <a:pt x="309024" y="386534"/>
                      </a:lnTo>
                      <a:lnTo>
                        <a:pt x="312672" y="370446"/>
                      </a:lnTo>
                      <a:moveTo>
                        <a:pt x="496639" y="106337"/>
                      </a:moveTo>
                      <a:lnTo>
                        <a:pt x="496939" y="106636"/>
                      </a:lnTo>
                      <a:lnTo>
                        <a:pt x="497237" y="106935"/>
                      </a:lnTo>
                      <a:lnTo>
                        <a:pt x="497537" y="107234"/>
                      </a:lnTo>
                      <a:lnTo>
                        <a:pt x="497895" y="107593"/>
                      </a:lnTo>
                      <a:lnTo>
                        <a:pt x="498852" y="106995"/>
                      </a:lnTo>
                      <a:lnTo>
                        <a:pt x="532284" y="126313"/>
                      </a:lnTo>
                      <a:lnTo>
                        <a:pt x="497776" y="147963"/>
                      </a:lnTo>
                      <a:lnTo>
                        <a:pt x="463387" y="127868"/>
                      </a:lnTo>
                      <a:lnTo>
                        <a:pt x="464045" y="127509"/>
                      </a:lnTo>
                      <a:lnTo>
                        <a:pt x="463805" y="127389"/>
                      </a:lnTo>
                      <a:lnTo>
                        <a:pt x="463566" y="127270"/>
                      </a:lnTo>
                      <a:lnTo>
                        <a:pt x="463327" y="127091"/>
                      </a:lnTo>
                      <a:lnTo>
                        <a:pt x="463088" y="126911"/>
                      </a:lnTo>
                      <a:lnTo>
                        <a:pt x="462490" y="126432"/>
                      </a:lnTo>
                      <a:lnTo>
                        <a:pt x="461712" y="126911"/>
                      </a:lnTo>
                      <a:lnTo>
                        <a:pt x="429596" y="108131"/>
                      </a:lnTo>
                      <a:lnTo>
                        <a:pt x="449751" y="96947"/>
                      </a:lnTo>
                      <a:lnTo>
                        <a:pt x="449751" y="96888"/>
                      </a:lnTo>
                      <a:lnTo>
                        <a:pt x="465779" y="88036"/>
                      </a:lnTo>
                      <a:lnTo>
                        <a:pt x="497118" y="106038"/>
                      </a:lnTo>
                      <a:lnTo>
                        <a:pt x="496639" y="106337"/>
                      </a:lnTo>
                      <a:moveTo>
                        <a:pt x="313929" y="368771"/>
                      </a:moveTo>
                      <a:lnTo>
                        <a:pt x="327684" y="358963"/>
                      </a:lnTo>
                      <a:lnTo>
                        <a:pt x="368592" y="385278"/>
                      </a:lnTo>
                      <a:lnTo>
                        <a:pt x="355075" y="395445"/>
                      </a:lnTo>
                      <a:lnTo>
                        <a:pt x="313929" y="368771"/>
                      </a:lnTo>
                      <a:moveTo>
                        <a:pt x="364765" y="234085"/>
                      </a:moveTo>
                      <a:lnTo>
                        <a:pt x="437729" y="278881"/>
                      </a:lnTo>
                      <a:lnTo>
                        <a:pt x="424213" y="288450"/>
                      </a:lnTo>
                      <a:lnTo>
                        <a:pt x="361056" y="249456"/>
                      </a:lnTo>
                      <a:lnTo>
                        <a:pt x="364765" y="234085"/>
                      </a:lnTo>
                      <a:moveTo>
                        <a:pt x="87917" y="754767"/>
                      </a:moveTo>
                      <a:lnTo>
                        <a:pt x="115189" y="775161"/>
                      </a:lnTo>
                      <a:lnTo>
                        <a:pt x="111780" y="797768"/>
                      </a:lnTo>
                      <a:lnTo>
                        <a:pt x="84987" y="777553"/>
                      </a:lnTo>
                      <a:lnTo>
                        <a:pt x="87917" y="754767"/>
                      </a:lnTo>
                      <a:moveTo>
                        <a:pt x="499390" y="148920"/>
                      </a:moveTo>
                      <a:lnTo>
                        <a:pt x="532823" y="127928"/>
                      </a:lnTo>
                      <a:lnTo>
                        <a:pt x="528576" y="141444"/>
                      </a:lnTo>
                      <a:lnTo>
                        <a:pt x="508541" y="154243"/>
                      </a:lnTo>
                      <a:lnTo>
                        <a:pt x="499390" y="148920"/>
                      </a:lnTo>
                      <a:moveTo>
                        <a:pt x="202209" y="487488"/>
                      </a:moveTo>
                      <a:lnTo>
                        <a:pt x="273678" y="536291"/>
                      </a:lnTo>
                      <a:lnTo>
                        <a:pt x="270449" y="550346"/>
                      </a:lnTo>
                      <a:lnTo>
                        <a:pt x="199696" y="501723"/>
                      </a:lnTo>
                      <a:lnTo>
                        <a:pt x="202209" y="487488"/>
                      </a:lnTo>
                      <a:moveTo>
                        <a:pt x="84747" y="779826"/>
                      </a:moveTo>
                      <a:lnTo>
                        <a:pt x="111421" y="800041"/>
                      </a:lnTo>
                      <a:lnTo>
                        <a:pt x="110105" y="808893"/>
                      </a:lnTo>
                      <a:lnTo>
                        <a:pt x="83611" y="788797"/>
                      </a:lnTo>
                      <a:lnTo>
                        <a:pt x="84747" y="779826"/>
                      </a:lnTo>
                      <a:moveTo>
                        <a:pt x="510036" y="155140"/>
                      </a:moveTo>
                      <a:lnTo>
                        <a:pt x="526363" y="144674"/>
                      </a:lnTo>
                      <a:lnTo>
                        <a:pt x="526723" y="144913"/>
                      </a:lnTo>
                      <a:lnTo>
                        <a:pt x="521400" y="161779"/>
                      </a:lnTo>
                      <a:lnTo>
                        <a:pt x="510036" y="155140"/>
                      </a:lnTo>
                      <a:moveTo>
                        <a:pt x="181754" y="671157"/>
                      </a:moveTo>
                      <a:lnTo>
                        <a:pt x="194613" y="680367"/>
                      </a:lnTo>
                      <a:lnTo>
                        <a:pt x="188154" y="686049"/>
                      </a:lnTo>
                      <a:lnTo>
                        <a:pt x="180139" y="680247"/>
                      </a:lnTo>
                      <a:lnTo>
                        <a:pt x="181754" y="671157"/>
                      </a:lnTo>
                      <a:moveTo>
                        <a:pt x="308546" y="388687"/>
                      </a:moveTo>
                      <a:lnTo>
                        <a:pt x="349334" y="415242"/>
                      </a:lnTo>
                      <a:lnTo>
                        <a:pt x="339406" y="453698"/>
                      </a:lnTo>
                      <a:lnTo>
                        <a:pt x="299635" y="427502"/>
                      </a:lnTo>
                      <a:lnTo>
                        <a:pt x="308546" y="388687"/>
                      </a:lnTo>
                      <a:moveTo>
                        <a:pt x="199338" y="503935"/>
                      </a:moveTo>
                      <a:lnTo>
                        <a:pt x="269970" y="552439"/>
                      </a:lnTo>
                      <a:lnTo>
                        <a:pt x="264647" y="575585"/>
                      </a:lnTo>
                      <a:lnTo>
                        <a:pt x="210282" y="537906"/>
                      </a:lnTo>
                      <a:lnTo>
                        <a:pt x="195151" y="527440"/>
                      </a:lnTo>
                      <a:lnTo>
                        <a:pt x="199338" y="503935"/>
                      </a:lnTo>
                      <a:moveTo>
                        <a:pt x="184625" y="655846"/>
                      </a:moveTo>
                      <a:lnTo>
                        <a:pt x="205498" y="670858"/>
                      </a:lnTo>
                      <a:lnTo>
                        <a:pt x="196168" y="678991"/>
                      </a:lnTo>
                      <a:lnTo>
                        <a:pt x="182173" y="668884"/>
                      </a:lnTo>
                      <a:lnTo>
                        <a:pt x="184625" y="655846"/>
                      </a:lnTo>
                      <a:moveTo>
                        <a:pt x="215605" y="586170"/>
                      </a:moveTo>
                      <a:lnTo>
                        <a:pt x="243416" y="563384"/>
                      </a:lnTo>
                      <a:lnTo>
                        <a:pt x="264169" y="577738"/>
                      </a:lnTo>
                      <a:lnTo>
                        <a:pt x="255736" y="614340"/>
                      </a:lnTo>
                      <a:lnTo>
                        <a:pt x="215605" y="586170"/>
                      </a:lnTo>
                      <a:moveTo>
                        <a:pt x="550885" y="76434"/>
                      </a:moveTo>
                      <a:lnTo>
                        <a:pt x="558062" y="72187"/>
                      </a:lnTo>
                      <a:lnTo>
                        <a:pt x="589939" y="90189"/>
                      </a:lnTo>
                      <a:lnTo>
                        <a:pt x="582882" y="94615"/>
                      </a:lnTo>
                      <a:lnTo>
                        <a:pt x="550885" y="76434"/>
                      </a:lnTo>
                      <a:moveTo>
                        <a:pt x="93419" y="711227"/>
                      </a:moveTo>
                      <a:lnTo>
                        <a:pt x="121648" y="732100"/>
                      </a:lnTo>
                      <a:lnTo>
                        <a:pt x="121589" y="732399"/>
                      </a:lnTo>
                      <a:lnTo>
                        <a:pt x="121887" y="732459"/>
                      </a:lnTo>
                      <a:lnTo>
                        <a:pt x="122186" y="732519"/>
                      </a:lnTo>
                      <a:lnTo>
                        <a:pt x="122486" y="732639"/>
                      </a:lnTo>
                      <a:lnTo>
                        <a:pt x="122784" y="732758"/>
                      </a:lnTo>
                      <a:lnTo>
                        <a:pt x="123682" y="733236"/>
                      </a:lnTo>
                      <a:lnTo>
                        <a:pt x="124519" y="733834"/>
                      </a:lnTo>
                      <a:lnTo>
                        <a:pt x="125237" y="734552"/>
                      </a:lnTo>
                      <a:lnTo>
                        <a:pt x="125835" y="735389"/>
                      </a:lnTo>
                      <a:lnTo>
                        <a:pt x="153226" y="755604"/>
                      </a:lnTo>
                      <a:lnTo>
                        <a:pt x="146109" y="795974"/>
                      </a:lnTo>
                      <a:lnTo>
                        <a:pt x="116983" y="774085"/>
                      </a:lnTo>
                      <a:lnTo>
                        <a:pt x="117043" y="773427"/>
                      </a:lnTo>
                      <a:lnTo>
                        <a:pt x="116624" y="773248"/>
                      </a:lnTo>
                      <a:lnTo>
                        <a:pt x="116266" y="773068"/>
                      </a:lnTo>
                      <a:lnTo>
                        <a:pt x="115906" y="772829"/>
                      </a:lnTo>
                      <a:lnTo>
                        <a:pt x="115548" y="772530"/>
                      </a:lnTo>
                      <a:lnTo>
                        <a:pt x="115488" y="773008"/>
                      </a:lnTo>
                      <a:lnTo>
                        <a:pt x="88157" y="752435"/>
                      </a:lnTo>
                      <a:lnTo>
                        <a:pt x="93419" y="711227"/>
                      </a:lnTo>
                      <a:moveTo>
                        <a:pt x="185224" y="587247"/>
                      </a:moveTo>
                      <a:lnTo>
                        <a:pt x="198441" y="576661"/>
                      </a:lnTo>
                      <a:lnTo>
                        <a:pt x="213572" y="587247"/>
                      </a:lnTo>
                      <a:lnTo>
                        <a:pt x="255258" y="616433"/>
                      </a:lnTo>
                      <a:lnTo>
                        <a:pt x="251250" y="633897"/>
                      </a:lnTo>
                      <a:lnTo>
                        <a:pt x="185224" y="587247"/>
                      </a:lnTo>
                      <a:moveTo>
                        <a:pt x="154662" y="756681"/>
                      </a:moveTo>
                      <a:lnTo>
                        <a:pt x="163154" y="762960"/>
                      </a:lnTo>
                      <a:lnTo>
                        <a:pt x="159088" y="785089"/>
                      </a:lnTo>
                      <a:lnTo>
                        <a:pt x="147844" y="795496"/>
                      </a:lnTo>
                      <a:lnTo>
                        <a:pt x="154662" y="756681"/>
                      </a:lnTo>
                      <a:moveTo>
                        <a:pt x="437550" y="187675"/>
                      </a:moveTo>
                      <a:lnTo>
                        <a:pt x="446641" y="181993"/>
                      </a:lnTo>
                      <a:lnTo>
                        <a:pt x="516077" y="223320"/>
                      </a:lnTo>
                      <a:lnTo>
                        <a:pt x="507405" y="229540"/>
                      </a:lnTo>
                      <a:lnTo>
                        <a:pt x="437550" y="187675"/>
                      </a:lnTo>
                      <a:moveTo>
                        <a:pt x="528876" y="143119"/>
                      </a:moveTo>
                      <a:lnTo>
                        <a:pt x="528876" y="143119"/>
                      </a:lnTo>
                      <a:lnTo>
                        <a:pt x="560095" y="161121"/>
                      </a:lnTo>
                      <a:lnTo>
                        <a:pt x="559915" y="161838"/>
                      </a:lnTo>
                      <a:lnTo>
                        <a:pt x="528756" y="143717"/>
                      </a:lnTo>
                      <a:lnTo>
                        <a:pt x="528876" y="143119"/>
                      </a:lnTo>
                      <a:moveTo>
                        <a:pt x="116684" y="776298"/>
                      </a:moveTo>
                      <a:lnTo>
                        <a:pt x="145810" y="798127"/>
                      </a:lnTo>
                      <a:lnTo>
                        <a:pt x="141863" y="820495"/>
                      </a:lnTo>
                      <a:lnTo>
                        <a:pt x="113335" y="798845"/>
                      </a:lnTo>
                      <a:lnTo>
                        <a:pt x="116684" y="776298"/>
                      </a:lnTo>
                      <a:moveTo>
                        <a:pt x="184326" y="589101"/>
                      </a:moveTo>
                      <a:lnTo>
                        <a:pt x="250832" y="635930"/>
                      </a:lnTo>
                      <a:lnTo>
                        <a:pt x="245091" y="661169"/>
                      </a:lnTo>
                      <a:lnTo>
                        <a:pt x="179841" y="614758"/>
                      </a:lnTo>
                      <a:lnTo>
                        <a:pt x="184326" y="589101"/>
                      </a:lnTo>
                      <a:moveTo>
                        <a:pt x="188274" y="687843"/>
                      </a:moveTo>
                      <a:lnTo>
                        <a:pt x="195810" y="681264"/>
                      </a:lnTo>
                      <a:lnTo>
                        <a:pt x="221228" y="699685"/>
                      </a:lnTo>
                      <a:lnTo>
                        <a:pt x="213811" y="706383"/>
                      </a:lnTo>
                      <a:lnTo>
                        <a:pt x="188274" y="687843"/>
                      </a:lnTo>
                      <a:moveTo>
                        <a:pt x="112916" y="801177"/>
                      </a:moveTo>
                      <a:lnTo>
                        <a:pt x="141444" y="822708"/>
                      </a:lnTo>
                      <a:lnTo>
                        <a:pt x="139889" y="831500"/>
                      </a:lnTo>
                      <a:lnTo>
                        <a:pt x="111541" y="810029"/>
                      </a:lnTo>
                      <a:lnTo>
                        <a:pt x="112916" y="801177"/>
                      </a:lnTo>
                      <a:moveTo>
                        <a:pt x="528038" y="145690"/>
                      </a:moveTo>
                      <a:lnTo>
                        <a:pt x="559198" y="163752"/>
                      </a:lnTo>
                      <a:lnTo>
                        <a:pt x="553576" y="180618"/>
                      </a:lnTo>
                      <a:lnTo>
                        <a:pt x="522715" y="162616"/>
                      </a:lnTo>
                      <a:lnTo>
                        <a:pt x="528038" y="145690"/>
                      </a:lnTo>
                      <a:moveTo>
                        <a:pt x="197364" y="679889"/>
                      </a:moveTo>
                      <a:lnTo>
                        <a:pt x="206694" y="671754"/>
                      </a:lnTo>
                      <a:lnTo>
                        <a:pt x="231992" y="689936"/>
                      </a:lnTo>
                      <a:lnTo>
                        <a:pt x="222782" y="698309"/>
                      </a:lnTo>
                      <a:lnTo>
                        <a:pt x="197364" y="679889"/>
                      </a:lnTo>
                      <a:moveTo>
                        <a:pt x="179363" y="616971"/>
                      </a:moveTo>
                      <a:lnTo>
                        <a:pt x="244552" y="663262"/>
                      </a:lnTo>
                      <a:lnTo>
                        <a:pt x="241801" y="675164"/>
                      </a:lnTo>
                      <a:lnTo>
                        <a:pt x="177209" y="629052"/>
                      </a:lnTo>
                      <a:lnTo>
                        <a:pt x="179363" y="616971"/>
                      </a:lnTo>
                      <a:moveTo>
                        <a:pt x="275054" y="537129"/>
                      </a:moveTo>
                      <a:lnTo>
                        <a:pt x="311955" y="562248"/>
                      </a:lnTo>
                      <a:lnTo>
                        <a:pt x="308247" y="576243"/>
                      </a:lnTo>
                      <a:lnTo>
                        <a:pt x="271824" y="551243"/>
                      </a:lnTo>
                      <a:lnTo>
                        <a:pt x="275054" y="537129"/>
                      </a:lnTo>
                      <a:moveTo>
                        <a:pt x="355315" y="398017"/>
                      </a:moveTo>
                      <a:lnTo>
                        <a:pt x="399513" y="426605"/>
                      </a:lnTo>
                      <a:lnTo>
                        <a:pt x="394907" y="442574"/>
                      </a:lnTo>
                      <a:lnTo>
                        <a:pt x="351189" y="414105"/>
                      </a:lnTo>
                      <a:lnTo>
                        <a:pt x="355315" y="398017"/>
                      </a:lnTo>
                      <a:moveTo>
                        <a:pt x="560514" y="164410"/>
                      </a:moveTo>
                      <a:lnTo>
                        <a:pt x="564999" y="167042"/>
                      </a:lnTo>
                      <a:lnTo>
                        <a:pt x="559257" y="183848"/>
                      </a:lnTo>
                      <a:lnTo>
                        <a:pt x="554892" y="181276"/>
                      </a:lnTo>
                      <a:lnTo>
                        <a:pt x="560514" y="164410"/>
                      </a:lnTo>
                      <a:moveTo>
                        <a:pt x="356512" y="396342"/>
                      </a:moveTo>
                      <a:lnTo>
                        <a:pt x="369968" y="386116"/>
                      </a:lnTo>
                      <a:lnTo>
                        <a:pt x="413807" y="414285"/>
                      </a:lnTo>
                      <a:lnTo>
                        <a:pt x="400708" y="424871"/>
                      </a:lnTo>
                      <a:lnTo>
                        <a:pt x="356512" y="396342"/>
                      </a:lnTo>
                      <a:moveTo>
                        <a:pt x="176850" y="631265"/>
                      </a:moveTo>
                      <a:lnTo>
                        <a:pt x="241323" y="677317"/>
                      </a:lnTo>
                      <a:lnTo>
                        <a:pt x="237973" y="691790"/>
                      </a:lnTo>
                      <a:lnTo>
                        <a:pt x="174159" y="646037"/>
                      </a:lnTo>
                      <a:lnTo>
                        <a:pt x="176850" y="631265"/>
                      </a:lnTo>
                      <a:moveTo>
                        <a:pt x="164590" y="763977"/>
                      </a:moveTo>
                      <a:lnTo>
                        <a:pt x="186061" y="779946"/>
                      </a:lnTo>
                      <a:lnTo>
                        <a:pt x="171946" y="793223"/>
                      </a:lnTo>
                      <a:lnTo>
                        <a:pt x="160702" y="784790"/>
                      </a:lnTo>
                      <a:lnTo>
                        <a:pt x="164590" y="763977"/>
                      </a:lnTo>
                      <a:moveTo>
                        <a:pt x="223978" y="699086"/>
                      </a:moveTo>
                      <a:lnTo>
                        <a:pt x="233189" y="690714"/>
                      </a:lnTo>
                      <a:lnTo>
                        <a:pt x="237555" y="693823"/>
                      </a:lnTo>
                      <a:lnTo>
                        <a:pt x="234564" y="706742"/>
                      </a:lnTo>
                      <a:lnTo>
                        <a:pt x="223978" y="699086"/>
                      </a:lnTo>
                      <a:moveTo>
                        <a:pt x="271345" y="553396"/>
                      </a:moveTo>
                      <a:lnTo>
                        <a:pt x="307709" y="578396"/>
                      </a:lnTo>
                      <a:lnTo>
                        <a:pt x="301788" y="601362"/>
                      </a:lnTo>
                      <a:lnTo>
                        <a:pt x="266023" y="576601"/>
                      </a:lnTo>
                      <a:lnTo>
                        <a:pt x="271345" y="553396"/>
                      </a:lnTo>
                      <a:moveTo>
                        <a:pt x="215067" y="707220"/>
                      </a:moveTo>
                      <a:lnTo>
                        <a:pt x="222483" y="700522"/>
                      </a:lnTo>
                      <a:lnTo>
                        <a:pt x="234086" y="708835"/>
                      </a:lnTo>
                      <a:lnTo>
                        <a:pt x="231694" y="719301"/>
                      </a:lnTo>
                      <a:lnTo>
                        <a:pt x="215067" y="707220"/>
                      </a:lnTo>
                      <a:moveTo>
                        <a:pt x="350710" y="416079"/>
                      </a:moveTo>
                      <a:lnTo>
                        <a:pt x="394429" y="444487"/>
                      </a:lnTo>
                      <a:lnTo>
                        <a:pt x="383305" y="482644"/>
                      </a:lnTo>
                      <a:lnTo>
                        <a:pt x="340722" y="454535"/>
                      </a:lnTo>
                      <a:lnTo>
                        <a:pt x="350710" y="416079"/>
                      </a:lnTo>
                      <a:moveTo>
                        <a:pt x="566195" y="167759"/>
                      </a:moveTo>
                      <a:lnTo>
                        <a:pt x="581685" y="176790"/>
                      </a:lnTo>
                      <a:lnTo>
                        <a:pt x="566016" y="187914"/>
                      </a:lnTo>
                      <a:lnTo>
                        <a:pt x="560454" y="184625"/>
                      </a:lnTo>
                      <a:lnTo>
                        <a:pt x="566195" y="167759"/>
                      </a:lnTo>
                      <a:moveTo>
                        <a:pt x="561351" y="161838"/>
                      </a:moveTo>
                      <a:lnTo>
                        <a:pt x="584137" y="174996"/>
                      </a:lnTo>
                      <a:lnTo>
                        <a:pt x="583540" y="175474"/>
                      </a:lnTo>
                      <a:lnTo>
                        <a:pt x="561112" y="162436"/>
                      </a:lnTo>
                      <a:lnTo>
                        <a:pt x="561351" y="161838"/>
                      </a:lnTo>
                      <a:moveTo>
                        <a:pt x="166264" y="694182"/>
                      </a:moveTo>
                      <a:lnTo>
                        <a:pt x="178704" y="683417"/>
                      </a:lnTo>
                      <a:lnTo>
                        <a:pt x="231215" y="721395"/>
                      </a:lnTo>
                      <a:lnTo>
                        <a:pt x="227267" y="738679"/>
                      </a:lnTo>
                      <a:lnTo>
                        <a:pt x="166264" y="694182"/>
                      </a:lnTo>
                      <a:moveTo>
                        <a:pt x="534438" y="127509"/>
                      </a:moveTo>
                      <a:lnTo>
                        <a:pt x="598850" y="164589"/>
                      </a:lnTo>
                      <a:lnTo>
                        <a:pt x="585872" y="173740"/>
                      </a:lnTo>
                      <a:lnTo>
                        <a:pt x="530071" y="141324"/>
                      </a:lnTo>
                      <a:lnTo>
                        <a:pt x="534438" y="127509"/>
                      </a:lnTo>
                      <a:moveTo>
                        <a:pt x="508780" y="230377"/>
                      </a:moveTo>
                      <a:lnTo>
                        <a:pt x="517512" y="224217"/>
                      </a:lnTo>
                      <a:lnTo>
                        <a:pt x="553158" y="245449"/>
                      </a:lnTo>
                      <a:lnTo>
                        <a:pt x="544665" y="251848"/>
                      </a:lnTo>
                      <a:lnTo>
                        <a:pt x="508780" y="230377"/>
                      </a:lnTo>
                      <a:moveTo>
                        <a:pt x="252147" y="636947"/>
                      </a:moveTo>
                      <a:lnTo>
                        <a:pt x="286357" y="660989"/>
                      </a:lnTo>
                      <a:lnTo>
                        <a:pt x="279898" y="685929"/>
                      </a:lnTo>
                      <a:lnTo>
                        <a:pt x="246406" y="662066"/>
                      </a:lnTo>
                      <a:lnTo>
                        <a:pt x="252147" y="636947"/>
                      </a:lnTo>
                      <a:moveTo>
                        <a:pt x="245868" y="664219"/>
                      </a:moveTo>
                      <a:lnTo>
                        <a:pt x="279360" y="687962"/>
                      </a:lnTo>
                      <a:lnTo>
                        <a:pt x="276310" y="699804"/>
                      </a:lnTo>
                      <a:lnTo>
                        <a:pt x="243117" y="676121"/>
                      </a:lnTo>
                      <a:lnTo>
                        <a:pt x="245868" y="664219"/>
                      </a:lnTo>
                      <a:moveTo>
                        <a:pt x="242698" y="678274"/>
                      </a:moveTo>
                      <a:lnTo>
                        <a:pt x="275772" y="701898"/>
                      </a:lnTo>
                      <a:lnTo>
                        <a:pt x="272064" y="716251"/>
                      </a:lnTo>
                      <a:lnTo>
                        <a:pt x="239349" y="692747"/>
                      </a:lnTo>
                      <a:lnTo>
                        <a:pt x="242698" y="678274"/>
                      </a:lnTo>
                      <a:moveTo>
                        <a:pt x="424452" y="290304"/>
                      </a:moveTo>
                      <a:lnTo>
                        <a:pt x="439225" y="279838"/>
                      </a:lnTo>
                      <a:lnTo>
                        <a:pt x="476963" y="303043"/>
                      </a:lnTo>
                      <a:lnTo>
                        <a:pt x="477442" y="303222"/>
                      </a:lnTo>
                      <a:lnTo>
                        <a:pt x="477920" y="303462"/>
                      </a:lnTo>
                      <a:lnTo>
                        <a:pt x="478399" y="303761"/>
                      </a:lnTo>
                      <a:lnTo>
                        <a:pt x="478817" y="304120"/>
                      </a:lnTo>
                      <a:lnTo>
                        <a:pt x="519067" y="328880"/>
                      </a:lnTo>
                      <a:lnTo>
                        <a:pt x="474810" y="364824"/>
                      </a:lnTo>
                      <a:lnTo>
                        <a:pt x="432885" y="338569"/>
                      </a:lnTo>
                      <a:lnTo>
                        <a:pt x="433124" y="338389"/>
                      </a:lnTo>
                      <a:lnTo>
                        <a:pt x="432825" y="338210"/>
                      </a:lnTo>
                      <a:lnTo>
                        <a:pt x="432526" y="337970"/>
                      </a:lnTo>
                      <a:lnTo>
                        <a:pt x="432227" y="337671"/>
                      </a:lnTo>
                      <a:lnTo>
                        <a:pt x="431988" y="337373"/>
                      </a:lnTo>
                      <a:lnTo>
                        <a:pt x="431509" y="337671"/>
                      </a:lnTo>
                      <a:lnTo>
                        <a:pt x="392455" y="313091"/>
                      </a:lnTo>
                      <a:lnTo>
                        <a:pt x="424452" y="290304"/>
                      </a:lnTo>
                      <a:lnTo>
                        <a:pt x="424452" y="290304"/>
                      </a:lnTo>
                      <a:moveTo>
                        <a:pt x="173142" y="794060"/>
                      </a:moveTo>
                      <a:lnTo>
                        <a:pt x="187257" y="780723"/>
                      </a:lnTo>
                      <a:lnTo>
                        <a:pt x="213153" y="799981"/>
                      </a:lnTo>
                      <a:lnTo>
                        <a:pt x="208429" y="820495"/>
                      </a:lnTo>
                      <a:lnTo>
                        <a:pt x="173142" y="794060"/>
                      </a:lnTo>
                      <a:moveTo>
                        <a:pt x="313210" y="563205"/>
                      </a:moveTo>
                      <a:lnTo>
                        <a:pt x="352564" y="589998"/>
                      </a:lnTo>
                      <a:lnTo>
                        <a:pt x="348557" y="603933"/>
                      </a:lnTo>
                      <a:lnTo>
                        <a:pt x="309562" y="577140"/>
                      </a:lnTo>
                      <a:lnTo>
                        <a:pt x="313210" y="563205"/>
                      </a:lnTo>
                      <a:moveTo>
                        <a:pt x="476066" y="365601"/>
                      </a:moveTo>
                      <a:lnTo>
                        <a:pt x="519007" y="330734"/>
                      </a:lnTo>
                      <a:lnTo>
                        <a:pt x="514044" y="345147"/>
                      </a:lnTo>
                      <a:lnTo>
                        <a:pt x="483482" y="370326"/>
                      </a:lnTo>
                      <a:lnTo>
                        <a:pt x="476066" y="365601"/>
                      </a:lnTo>
                      <a:moveTo>
                        <a:pt x="584497" y="95452"/>
                      </a:moveTo>
                      <a:lnTo>
                        <a:pt x="591553" y="91027"/>
                      </a:lnTo>
                      <a:lnTo>
                        <a:pt x="653394" y="125834"/>
                      </a:lnTo>
                      <a:lnTo>
                        <a:pt x="646636" y="130559"/>
                      </a:lnTo>
                      <a:lnTo>
                        <a:pt x="584497" y="95452"/>
                      </a:lnTo>
                      <a:moveTo>
                        <a:pt x="147964" y="797350"/>
                      </a:moveTo>
                      <a:lnTo>
                        <a:pt x="159626" y="786525"/>
                      </a:lnTo>
                      <a:lnTo>
                        <a:pt x="207950" y="822648"/>
                      </a:lnTo>
                      <a:lnTo>
                        <a:pt x="204062" y="839574"/>
                      </a:lnTo>
                      <a:lnTo>
                        <a:pt x="147964" y="797350"/>
                      </a:lnTo>
                      <a:moveTo>
                        <a:pt x="309024" y="579233"/>
                      </a:moveTo>
                      <a:lnTo>
                        <a:pt x="347959" y="605907"/>
                      </a:lnTo>
                      <a:lnTo>
                        <a:pt x="341320" y="628694"/>
                      </a:lnTo>
                      <a:lnTo>
                        <a:pt x="303043" y="602259"/>
                      </a:lnTo>
                      <a:lnTo>
                        <a:pt x="309024" y="579233"/>
                      </a:lnTo>
                      <a:moveTo>
                        <a:pt x="484798" y="371164"/>
                      </a:moveTo>
                      <a:lnTo>
                        <a:pt x="510634" y="349813"/>
                      </a:lnTo>
                      <a:lnTo>
                        <a:pt x="500108" y="380673"/>
                      </a:lnTo>
                      <a:lnTo>
                        <a:pt x="484798" y="371164"/>
                      </a:lnTo>
                      <a:moveTo>
                        <a:pt x="147186" y="799204"/>
                      </a:moveTo>
                      <a:lnTo>
                        <a:pt x="203584" y="841547"/>
                      </a:lnTo>
                      <a:lnTo>
                        <a:pt x="198560" y="863437"/>
                      </a:lnTo>
                      <a:lnTo>
                        <a:pt x="143179" y="821572"/>
                      </a:lnTo>
                      <a:lnTo>
                        <a:pt x="147186" y="799204"/>
                      </a:lnTo>
                      <a:moveTo>
                        <a:pt x="142880" y="823785"/>
                      </a:moveTo>
                      <a:lnTo>
                        <a:pt x="198141" y="865590"/>
                      </a:lnTo>
                      <a:lnTo>
                        <a:pt x="196168" y="874262"/>
                      </a:lnTo>
                      <a:lnTo>
                        <a:pt x="141325" y="832636"/>
                      </a:lnTo>
                      <a:lnTo>
                        <a:pt x="142880" y="823785"/>
                      </a:lnTo>
                      <a:moveTo>
                        <a:pt x="302565" y="604232"/>
                      </a:moveTo>
                      <a:lnTo>
                        <a:pt x="340782" y="630667"/>
                      </a:lnTo>
                      <a:lnTo>
                        <a:pt x="324813" y="685690"/>
                      </a:lnTo>
                      <a:lnTo>
                        <a:pt x="289109" y="660511"/>
                      </a:lnTo>
                      <a:lnTo>
                        <a:pt x="288989" y="660391"/>
                      </a:lnTo>
                      <a:lnTo>
                        <a:pt x="288211" y="659853"/>
                      </a:lnTo>
                      <a:lnTo>
                        <a:pt x="288211" y="659793"/>
                      </a:lnTo>
                      <a:lnTo>
                        <a:pt x="288092" y="659614"/>
                      </a:lnTo>
                      <a:lnTo>
                        <a:pt x="287912" y="659434"/>
                      </a:lnTo>
                      <a:lnTo>
                        <a:pt x="287733" y="659195"/>
                      </a:lnTo>
                      <a:lnTo>
                        <a:pt x="287554" y="659016"/>
                      </a:lnTo>
                      <a:lnTo>
                        <a:pt x="287075" y="658358"/>
                      </a:lnTo>
                      <a:lnTo>
                        <a:pt x="286956" y="658896"/>
                      </a:lnTo>
                      <a:lnTo>
                        <a:pt x="252745" y="634734"/>
                      </a:lnTo>
                      <a:lnTo>
                        <a:pt x="265664" y="578635"/>
                      </a:lnTo>
                      <a:lnTo>
                        <a:pt x="301369" y="603335"/>
                      </a:lnTo>
                      <a:lnTo>
                        <a:pt x="301369" y="603515"/>
                      </a:lnTo>
                      <a:lnTo>
                        <a:pt x="301668" y="603814"/>
                      </a:lnTo>
                      <a:lnTo>
                        <a:pt x="301967" y="604113"/>
                      </a:lnTo>
                      <a:lnTo>
                        <a:pt x="302206" y="604531"/>
                      </a:lnTo>
                      <a:lnTo>
                        <a:pt x="302446" y="604950"/>
                      </a:lnTo>
                      <a:lnTo>
                        <a:pt x="302565" y="604232"/>
                      </a:lnTo>
                      <a:moveTo>
                        <a:pt x="546100" y="252626"/>
                      </a:moveTo>
                      <a:lnTo>
                        <a:pt x="554593" y="246226"/>
                      </a:lnTo>
                      <a:lnTo>
                        <a:pt x="592690" y="268953"/>
                      </a:lnTo>
                      <a:lnTo>
                        <a:pt x="584437" y="275651"/>
                      </a:lnTo>
                      <a:lnTo>
                        <a:pt x="546100" y="252626"/>
                      </a:lnTo>
                      <a:moveTo>
                        <a:pt x="341978" y="631564"/>
                      </a:moveTo>
                      <a:lnTo>
                        <a:pt x="349155" y="636528"/>
                      </a:lnTo>
                      <a:lnTo>
                        <a:pt x="338150" y="673429"/>
                      </a:lnTo>
                      <a:lnTo>
                        <a:pt x="326488" y="684733"/>
                      </a:lnTo>
                      <a:lnTo>
                        <a:pt x="341978" y="631564"/>
                      </a:lnTo>
                      <a:moveTo>
                        <a:pt x="287673" y="661887"/>
                      </a:moveTo>
                      <a:lnTo>
                        <a:pt x="324215" y="687663"/>
                      </a:lnTo>
                      <a:lnTo>
                        <a:pt x="317038" y="712364"/>
                      </a:lnTo>
                      <a:lnTo>
                        <a:pt x="281214" y="686886"/>
                      </a:lnTo>
                      <a:lnTo>
                        <a:pt x="287673" y="661887"/>
                      </a:lnTo>
                      <a:moveTo>
                        <a:pt x="280616" y="688920"/>
                      </a:moveTo>
                      <a:lnTo>
                        <a:pt x="316380" y="714278"/>
                      </a:lnTo>
                      <a:lnTo>
                        <a:pt x="312972" y="726000"/>
                      </a:lnTo>
                      <a:lnTo>
                        <a:pt x="277506" y="700701"/>
                      </a:lnTo>
                      <a:lnTo>
                        <a:pt x="280616" y="688920"/>
                      </a:lnTo>
                      <a:moveTo>
                        <a:pt x="648131" y="131456"/>
                      </a:moveTo>
                      <a:lnTo>
                        <a:pt x="654889" y="126672"/>
                      </a:lnTo>
                      <a:lnTo>
                        <a:pt x="686468" y="144494"/>
                      </a:lnTo>
                      <a:lnTo>
                        <a:pt x="679949" y="149458"/>
                      </a:lnTo>
                      <a:lnTo>
                        <a:pt x="648131" y="131456"/>
                      </a:lnTo>
                      <a:moveTo>
                        <a:pt x="277027" y="702794"/>
                      </a:moveTo>
                      <a:lnTo>
                        <a:pt x="312434" y="728033"/>
                      </a:lnTo>
                      <a:lnTo>
                        <a:pt x="308307" y="742208"/>
                      </a:lnTo>
                      <a:lnTo>
                        <a:pt x="273319" y="717148"/>
                      </a:lnTo>
                      <a:lnTo>
                        <a:pt x="277027" y="702794"/>
                      </a:lnTo>
                      <a:moveTo>
                        <a:pt x="204959" y="842504"/>
                      </a:moveTo>
                      <a:lnTo>
                        <a:pt x="233787" y="864155"/>
                      </a:lnTo>
                      <a:lnTo>
                        <a:pt x="228225" y="885805"/>
                      </a:lnTo>
                      <a:lnTo>
                        <a:pt x="199936" y="864394"/>
                      </a:lnTo>
                      <a:lnTo>
                        <a:pt x="204959" y="842504"/>
                      </a:lnTo>
                      <a:moveTo>
                        <a:pt x="350351" y="637365"/>
                      </a:moveTo>
                      <a:lnTo>
                        <a:pt x="375829" y="654949"/>
                      </a:lnTo>
                      <a:lnTo>
                        <a:pt x="350052" y="680427"/>
                      </a:lnTo>
                      <a:lnTo>
                        <a:pt x="339645" y="673130"/>
                      </a:lnTo>
                      <a:lnTo>
                        <a:pt x="350351" y="637365"/>
                      </a:lnTo>
                      <a:moveTo>
                        <a:pt x="512728" y="348138"/>
                      </a:moveTo>
                      <a:lnTo>
                        <a:pt x="514462" y="346702"/>
                      </a:lnTo>
                      <a:lnTo>
                        <a:pt x="549748" y="368472"/>
                      </a:lnTo>
                      <a:lnTo>
                        <a:pt x="536770" y="403699"/>
                      </a:lnTo>
                      <a:lnTo>
                        <a:pt x="501305" y="381450"/>
                      </a:lnTo>
                      <a:lnTo>
                        <a:pt x="512728" y="348138"/>
                      </a:lnTo>
                      <a:moveTo>
                        <a:pt x="199458" y="866547"/>
                      </a:moveTo>
                      <a:lnTo>
                        <a:pt x="227627" y="887898"/>
                      </a:lnTo>
                      <a:lnTo>
                        <a:pt x="225414" y="896510"/>
                      </a:lnTo>
                      <a:lnTo>
                        <a:pt x="197424" y="875219"/>
                      </a:lnTo>
                      <a:lnTo>
                        <a:pt x="199458" y="866547"/>
                      </a:lnTo>
                      <a:moveTo>
                        <a:pt x="238870" y="694840"/>
                      </a:moveTo>
                      <a:lnTo>
                        <a:pt x="270927" y="717866"/>
                      </a:lnTo>
                      <a:lnTo>
                        <a:pt x="271824" y="718105"/>
                      </a:lnTo>
                      <a:lnTo>
                        <a:pt x="272602" y="718524"/>
                      </a:lnTo>
                      <a:lnTo>
                        <a:pt x="273260" y="719122"/>
                      </a:lnTo>
                      <a:lnTo>
                        <a:pt x="273798" y="719900"/>
                      </a:lnTo>
                      <a:lnTo>
                        <a:pt x="307709" y="744301"/>
                      </a:lnTo>
                      <a:lnTo>
                        <a:pt x="294970" y="788020"/>
                      </a:lnTo>
                      <a:lnTo>
                        <a:pt x="261298" y="763499"/>
                      </a:lnTo>
                      <a:lnTo>
                        <a:pt x="261418" y="763080"/>
                      </a:lnTo>
                      <a:lnTo>
                        <a:pt x="261059" y="762901"/>
                      </a:lnTo>
                      <a:lnTo>
                        <a:pt x="260760" y="762662"/>
                      </a:lnTo>
                      <a:lnTo>
                        <a:pt x="260461" y="762422"/>
                      </a:lnTo>
                      <a:lnTo>
                        <a:pt x="260161" y="762183"/>
                      </a:lnTo>
                      <a:lnTo>
                        <a:pt x="260042" y="762602"/>
                      </a:lnTo>
                      <a:lnTo>
                        <a:pt x="228524" y="739636"/>
                      </a:lnTo>
                      <a:lnTo>
                        <a:pt x="238870" y="694840"/>
                      </a:lnTo>
                      <a:moveTo>
                        <a:pt x="400888" y="427442"/>
                      </a:moveTo>
                      <a:lnTo>
                        <a:pt x="486472" y="482644"/>
                      </a:lnTo>
                      <a:lnTo>
                        <a:pt x="480850" y="498373"/>
                      </a:lnTo>
                      <a:lnTo>
                        <a:pt x="396283" y="443291"/>
                      </a:lnTo>
                      <a:lnTo>
                        <a:pt x="400888" y="427442"/>
                      </a:lnTo>
                      <a:moveTo>
                        <a:pt x="402025" y="425768"/>
                      </a:moveTo>
                      <a:lnTo>
                        <a:pt x="415122" y="415182"/>
                      </a:lnTo>
                      <a:lnTo>
                        <a:pt x="499929" y="469606"/>
                      </a:lnTo>
                      <a:lnTo>
                        <a:pt x="487489" y="481089"/>
                      </a:lnTo>
                      <a:lnTo>
                        <a:pt x="402025" y="425768"/>
                      </a:lnTo>
                      <a:moveTo>
                        <a:pt x="308904" y="745078"/>
                      </a:moveTo>
                      <a:lnTo>
                        <a:pt x="315424" y="749683"/>
                      </a:lnTo>
                      <a:lnTo>
                        <a:pt x="307709" y="775699"/>
                      </a:lnTo>
                      <a:lnTo>
                        <a:pt x="296763" y="786943"/>
                      </a:lnTo>
                      <a:lnTo>
                        <a:pt x="308904" y="745078"/>
                      </a:lnTo>
                      <a:moveTo>
                        <a:pt x="633060" y="184984"/>
                      </a:moveTo>
                      <a:lnTo>
                        <a:pt x="633299" y="185103"/>
                      </a:lnTo>
                      <a:lnTo>
                        <a:pt x="633658" y="185223"/>
                      </a:lnTo>
                      <a:lnTo>
                        <a:pt x="633957" y="185403"/>
                      </a:lnTo>
                      <a:lnTo>
                        <a:pt x="634256" y="185582"/>
                      </a:lnTo>
                      <a:lnTo>
                        <a:pt x="634555" y="185821"/>
                      </a:lnTo>
                      <a:lnTo>
                        <a:pt x="635033" y="185522"/>
                      </a:lnTo>
                      <a:lnTo>
                        <a:pt x="670559" y="205976"/>
                      </a:lnTo>
                      <a:lnTo>
                        <a:pt x="639699" y="231035"/>
                      </a:lnTo>
                      <a:lnTo>
                        <a:pt x="603156" y="209684"/>
                      </a:lnTo>
                      <a:lnTo>
                        <a:pt x="603695" y="209266"/>
                      </a:lnTo>
                      <a:lnTo>
                        <a:pt x="603335" y="209146"/>
                      </a:lnTo>
                      <a:lnTo>
                        <a:pt x="602977" y="208907"/>
                      </a:lnTo>
                      <a:lnTo>
                        <a:pt x="602618" y="208727"/>
                      </a:lnTo>
                      <a:lnTo>
                        <a:pt x="602319" y="208488"/>
                      </a:lnTo>
                      <a:lnTo>
                        <a:pt x="601840" y="208787"/>
                      </a:lnTo>
                      <a:lnTo>
                        <a:pt x="567690" y="188811"/>
                      </a:lnTo>
                      <a:lnTo>
                        <a:pt x="600465" y="165547"/>
                      </a:lnTo>
                      <a:lnTo>
                        <a:pt x="633718" y="184685"/>
                      </a:lnTo>
                      <a:lnTo>
                        <a:pt x="633060" y="184984"/>
                      </a:lnTo>
                      <a:moveTo>
                        <a:pt x="640954" y="231633"/>
                      </a:moveTo>
                      <a:lnTo>
                        <a:pt x="670320" y="207770"/>
                      </a:lnTo>
                      <a:lnTo>
                        <a:pt x="665117" y="220629"/>
                      </a:lnTo>
                      <a:lnTo>
                        <a:pt x="647294" y="235341"/>
                      </a:lnTo>
                      <a:lnTo>
                        <a:pt x="640954" y="231633"/>
                      </a:lnTo>
                      <a:moveTo>
                        <a:pt x="395685" y="445265"/>
                      </a:moveTo>
                      <a:lnTo>
                        <a:pt x="480192" y="500227"/>
                      </a:lnTo>
                      <a:lnTo>
                        <a:pt x="466856" y="537727"/>
                      </a:lnTo>
                      <a:lnTo>
                        <a:pt x="384561" y="483481"/>
                      </a:lnTo>
                      <a:lnTo>
                        <a:pt x="395685" y="445265"/>
                      </a:lnTo>
                      <a:moveTo>
                        <a:pt x="472597" y="366499"/>
                      </a:moveTo>
                      <a:lnTo>
                        <a:pt x="472776" y="366558"/>
                      </a:lnTo>
                      <a:lnTo>
                        <a:pt x="473016" y="366678"/>
                      </a:lnTo>
                      <a:lnTo>
                        <a:pt x="473255" y="366798"/>
                      </a:lnTo>
                      <a:lnTo>
                        <a:pt x="473554" y="366917"/>
                      </a:lnTo>
                      <a:lnTo>
                        <a:pt x="473793" y="367037"/>
                      </a:lnTo>
                      <a:lnTo>
                        <a:pt x="474032" y="367276"/>
                      </a:lnTo>
                      <a:lnTo>
                        <a:pt x="474451" y="366977"/>
                      </a:lnTo>
                      <a:lnTo>
                        <a:pt x="555609" y="417813"/>
                      </a:lnTo>
                      <a:lnTo>
                        <a:pt x="501305" y="468291"/>
                      </a:lnTo>
                      <a:lnTo>
                        <a:pt x="416737" y="413926"/>
                      </a:lnTo>
                      <a:lnTo>
                        <a:pt x="417036" y="413627"/>
                      </a:lnTo>
                      <a:lnTo>
                        <a:pt x="416617" y="413447"/>
                      </a:lnTo>
                      <a:lnTo>
                        <a:pt x="416259" y="413208"/>
                      </a:lnTo>
                      <a:lnTo>
                        <a:pt x="415720" y="412789"/>
                      </a:lnTo>
                      <a:lnTo>
                        <a:pt x="415421" y="413088"/>
                      </a:lnTo>
                      <a:lnTo>
                        <a:pt x="373197" y="385936"/>
                      </a:lnTo>
                      <a:lnTo>
                        <a:pt x="372241" y="385757"/>
                      </a:lnTo>
                      <a:lnTo>
                        <a:pt x="371344" y="385338"/>
                      </a:lnTo>
                      <a:lnTo>
                        <a:pt x="370626" y="384740"/>
                      </a:lnTo>
                      <a:lnTo>
                        <a:pt x="369968" y="383962"/>
                      </a:lnTo>
                      <a:lnTo>
                        <a:pt x="330435" y="358544"/>
                      </a:lnTo>
                      <a:lnTo>
                        <a:pt x="329717" y="358305"/>
                      </a:lnTo>
                      <a:lnTo>
                        <a:pt x="329059" y="357946"/>
                      </a:lnTo>
                      <a:lnTo>
                        <a:pt x="328521" y="357468"/>
                      </a:lnTo>
                      <a:lnTo>
                        <a:pt x="328043" y="356870"/>
                      </a:lnTo>
                      <a:lnTo>
                        <a:pt x="327923" y="356930"/>
                      </a:lnTo>
                      <a:lnTo>
                        <a:pt x="248859" y="306093"/>
                      </a:lnTo>
                      <a:lnTo>
                        <a:pt x="249037" y="306034"/>
                      </a:lnTo>
                      <a:lnTo>
                        <a:pt x="248679" y="305794"/>
                      </a:lnTo>
                      <a:lnTo>
                        <a:pt x="248320" y="305495"/>
                      </a:lnTo>
                      <a:lnTo>
                        <a:pt x="247961" y="305196"/>
                      </a:lnTo>
                      <a:lnTo>
                        <a:pt x="247662" y="304837"/>
                      </a:lnTo>
                      <a:lnTo>
                        <a:pt x="247303" y="305076"/>
                      </a:lnTo>
                      <a:lnTo>
                        <a:pt x="206634" y="278881"/>
                      </a:lnTo>
                      <a:lnTo>
                        <a:pt x="207352" y="278463"/>
                      </a:lnTo>
                      <a:lnTo>
                        <a:pt x="206934" y="278223"/>
                      </a:lnTo>
                      <a:lnTo>
                        <a:pt x="206574" y="277924"/>
                      </a:lnTo>
                      <a:lnTo>
                        <a:pt x="206216" y="277565"/>
                      </a:lnTo>
                      <a:lnTo>
                        <a:pt x="205917" y="277206"/>
                      </a:lnTo>
                      <a:lnTo>
                        <a:pt x="204959" y="277745"/>
                      </a:lnTo>
                      <a:lnTo>
                        <a:pt x="166982" y="253343"/>
                      </a:lnTo>
                      <a:lnTo>
                        <a:pt x="167341" y="253104"/>
                      </a:lnTo>
                      <a:lnTo>
                        <a:pt x="166802" y="252985"/>
                      </a:lnTo>
                      <a:lnTo>
                        <a:pt x="166264" y="252745"/>
                      </a:lnTo>
                      <a:lnTo>
                        <a:pt x="165726" y="252506"/>
                      </a:lnTo>
                      <a:lnTo>
                        <a:pt x="165247" y="252267"/>
                      </a:lnTo>
                      <a:lnTo>
                        <a:pt x="91326" y="204720"/>
                      </a:lnTo>
                      <a:lnTo>
                        <a:pt x="160822" y="170570"/>
                      </a:lnTo>
                      <a:lnTo>
                        <a:pt x="229660" y="213691"/>
                      </a:lnTo>
                      <a:lnTo>
                        <a:pt x="229780" y="213811"/>
                      </a:lnTo>
                      <a:lnTo>
                        <a:pt x="232232" y="215306"/>
                      </a:lnTo>
                      <a:lnTo>
                        <a:pt x="231933" y="215426"/>
                      </a:lnTo>
                      <a:lnTo>
                        <a:pt x="232352" y="215665"/>
                      </a:lnTo>
                      <a:lnTo>
                        <a:pt x="232710" y="215964"/>
                      </a:lnTo>
                      <a:lnTo>
                        <a:pt x="233069" y="216263"/>
                      </a:lnTo>
                      <a:lnTo>
                        <a:pt x="233368" y="216622"/>
                      </a:lnTo>
                      <a:lnTo>
                        <a:pt x="233907" y="216323"/>
                      </a:lnTo>
                      <a:lnTo>
                        <a:pt x="270509" y="239229"/>
                      </a:lnTo>
                      <a:lnTo>
                        <a:pt x="269432" y="239887"/>
                      </a:lnTo>
                      <a:lnTo>
                        <a:pt x="269791" y="240186"/>
                      </a:lnTo>
                      <a:lnTo>
                        <a:pt x="270150" y="240485"/>
                      </a:lnTo>
                      <a:lnTo>
                        <a:pt x="270509" y="240844"/>
                      </a:lnTo>
                      <a:lnTo>
                        <a:pt x="270807" y="241202"/>
                      </a:lnTo>
                      <a:lnTo>
                        <a:pt x="272183" y="240365"/>
                      </a:lnTo>
                      <a:lnTo>
                        <a:pt x="311357" y="264946"/>
                      </a:lnTo>
                      <a:lnTo>
                        <a:pt x="310759" y="265305"/>
                      </a:lnTo>
                      <a:lnTo>
                        <a:pt x="311117" y="265604"/>
                      </a:lnTo>
                      <a:lnTo>
                        <a:pt x="311417" y="265903"/>
                      </a:lnTo>
                      <a:lnTo>
                        <a:pt x="311715" y="266202"/>
                      </a:lnTo>
                      <a:lnTo>
                        <a:pt x="312015" y="266501"/>
                      </a:lnTo>
                      <a:lnTo>
                        <a:pt x="312972" y="265903"/>
                      </a:lnTo>
                      <a:lnTo>
                        <a:pt x="331811" y="277685"/>
                      </a:lnTo>
                      <a:lnTo>
                        <a:pt x="389106" y="313510"/>
                      </a:lnTo>
                      <a:lnTo>
                        <a:pt x="387611" y="314586"/>
                      </a:lnTo>
                      <a:lnTo>
                        <a:pt x="387969" y="314825"/>
                      </a:lnTo>
                      <a:lnTo>
                        <a:pt x="388269" y="315065"/>
                      </a:lnTo>
                      <a:lnTo>
                        <a:pt x="388568" y="315364"/>
                      </a:lnTo>
                      <a:lnTo>
                        <a:pt x="388867" y="315662"/>
                      </a:lnTo>
                      <a:lnTo>
                        <a:pt x="390541" y="314466"/>
                      </a:lnTo>
                      <a:lnTo>
                        <a:pt x="428758" y="338389"/>
                      </a:lnTo>
                      <a:lnTo>
                        <a:pt x="429356" y="338688"/>
                      </a:lnTo>
                      <a:lnTo>
                        <a:pt x="429954" y="339047"/>
                      </a:lnTo>
                      <a:lnTo>
                        <a:pt x="430493" y="339525"/>
                      </a:lnTo>
                      <a:lnTo>
                        <a:pt x="430971" y="340064"/>
                      </a:lnTo>
                      <a:lnTo>
                        <a:pt x="431151" y="339944"/>
                      </a:lnTo>
                      <a:lnTo>
                        <a:pt x="473136" y="366200"/>
                      </a:lnTo>
                      <a:lnTo>
                        <a:pt x="472597" y="366499"/>
                      </a:lnTo>
                      <a:moveTo>
                        <a:pt x="141146" y="325411"/>
                      </a:moveTo>
                      <a:lnTo>
                        <a:pt x="264707" y="406809"/>
                      </a:lnTo>
                      <a:lnTo>
                        <a:pt x="297780" y="428579"/>
                      </a:lnTo>
                      <a:lnTo>
                        <a:pt x="299216" y="429535"/>
                      </a:lnTo>
                      <a:lnTo>
                        <a:pt x="321405" y="444188"/>
                      </a:lnTo>
                      <a:lnTo>
                        <a:pt x="357050" y="467692"/>
                      </a:lnTo>
                      <a:lnTo>
                        <a:pt x="382707" y="484618"/>
                      </a:lnTo>
                      <a:lnTo>
                        <a:pt x="384023" y="485455"/>
                      </a:lnTo>
                      <a:lnTo>
                        <a:pt x="466198" y="539581"/>
                      </a:lnTo>
                      <a:lnTo>
                        <a:pt x="447956" y="592092"/>
                      </a:lnTo>
                      <a:lnTo>
                        <a:pt x="368951" y="538983"/>
                      </a:lnTo>
                      <a:lnTo>
                        <a:pt x="367636" y="538145"/>
                      </a:lnTo>
                      <a:lnTo>
                        <a:pt x="326787" y="510634"/>
                      </a:lnTo>
                      <a:lnTo>
                        <a:pt x="325411" y="509737"/>
                      </a:lnTo>
                      <a:lnTo>
                        <a:pt x="297900" y="491196"/>
                      </a:lnTo>
                      <a:lnTo>
                        <a:pt x="261597" y="466795"/>
                      </a:lnTo>
                      <a:lnTo>
                        <a:pt x="211718" y="433303"/>
                      </a:lnTo>
                      <a:lnTo>
                        <a:pt x="210223" y="432287"/>
                      </a:lnTo>
                      <a:lnTo>
                        <a:pt x="184984" y="415301"/>
                      </a:lnTo>
                      <a:lnTo>
                        <a:pt x="134686" y="381570"/>
                      </a:lnTo>
                      <a:lnTo>
                        <a:pt x="141146" y="325411"/>
                      </a:lnTo>
                      <a:moveTo>
                        <a:pt x="312254" y="765174"/>
                      </a:moveTo>
                      <a:lnTo>
                        <a:pt x="330914" y="778630"/>
                      </a:lnTo>
                      <a:lnTo>
                        <a:pt x="323856" y="786046"/>
                      </a:lnTo>
                      <a:lnTo>
                        <a:pt x="309204" y="775400"/>
                      </a:lnTo>
                      <a:lnTo>
                        <a:pt x="312254" y="765174"/>
                      </a:lnTo>
                      <a:moveTo>
                        <a:pt x="681324" y="150295"/>
                      </a:moveTo>
                      <a:lnTo>
                        <a:pt x="687843" y="145332"/>
                      </a:lnTo>
                      <a:lnTo>
                        <a:pt x="721574" y="164350"/>
                      </a:lnTo>
                      <a:lnTo>
                        <a:pt x="715235" y="169553"/>
                      </a:lnTo>
                      <a:lnTo>
                        <a:pt x="681324" y="150295"/>
                      </a:lnTo>
                      <a:moveTo>
                        <a:pt x="316620" y="750640"/>
                      </a:moveTo>
                      <a:lnTo>
                        <a:pt x="340961" y="768044"/>
                      </a:lnTo>
                      <a:lnTo>
                        <a:pt x="332229" y="777195"/>
                      </a:lnTo>
                      <a:lnTo>
                        <a:pt x="312852" y="763140"/>
                      </a:lnTo>
                      <a:lnTo>
                        <a:pt x="316620" y="750640"/>
                      </a:lnTo>
                      <a:moveTo>
                        <a:pt x="245629" y="824084"/>
                      </a:moveTo>
                      <a:lnTo>
                        <a:pt x="277566" y="847767"/>
                      </a:lnTo>
                      <a:lnTo>
                        <a:pt x="266382" y="886343"/>
                      </a:lnTo>
                      <a:lnTo>
                        <a:pt x="236298" y="863676"/>
                      </a:lnTo>
                      <a:lnTo>
                        <a:pt x="235700" y="863556"/>
                      </a:lnTo>
                      <a:lnTo>
                        <a:pt x="234983" y="863317"/>
                      </a:lnTo>
                      <a:lnTo>
                        <a:pt x="234385" y="862898"/>
                      </a:lnTo>
                      <a:lnTo>
                        <a:pt x="233907" y="862360"/>
                      </a:lnTo>
                      <a:lnTo>
                        <a:pt x="233548" y="861702"/>
                      </a:lnTo>
                      <a:lnTo>
                        <a:pt x="205379" y="840531"/>
                      </a:lnTo>
                      <a:lnTo>
                        <a:pt x="214469" y="801058"/>
                      </a:lnTo>
                      <a:lnTo>
                        <a:pt x="244432" y="823186"/>
                      </a:lnTo>
                      <a:lnTo>
                        <a:pt x="244253" y="823785"/>
                      </a:lnTo>
                      <a:lnTo>
                        <a:pt x="244612" y="823964"/>
                      </a:lnTo>
                      <a:lnTo>
                        <a:pt x="244911" y="824203"/>
                      </a:lnTo>
                      <a:lnTo>
                        <a:pt x="245210" y="824502"/>
                      </a:lnTo>
                      <a:lnTo>
                        <a:pt x="245509" y="824801"/>
                      </a:lnTo>
                      <a:lnTo>
                        <a:pt x="245629" y="824084"/>
                      </a:lnTo>
                      <a:moveTo>
                        <a:pt x="550944" y="369190"/>
                      </a:moveTo>
                      <a:lnTo>
                        <a:pt x="585154" y="390362"/>
                      </a:lnTo>
                      <a:lnTo>
                        <a:pt x="557045" y="416437"/>
                      </a:lnTo>
                      <a:lnTo>
                        <a:pt x="537966" y="404417"/>
                      </a:lnTo>
                      <a:lnTo>
                        <a:pt x="550944" y="369190"/>
                      </a:lnTo>
                      <a:moveTo>
                        <a:pt x="278821" y="848604"/>
                      </a:moveTo>
                      <a:lnTo>
                        <a:pt x="284623" y="852971"/>
                      </a:lnTo>
                      <a:lnTo>
                        <a:pt x="278283" y="874142"/>
                      </a:lnTo>
                      <a:lnTo>
                        <a:pt x="268116" y="885147"/>
                      </a:lnTo>
                      <a:lnTo>
                        <a:pt x="278821" y="848604"/>
                      </a:lnTo>
                      <a:moveTo>
                        <a:pt x="664877" y="222782"/>
                      </a:moveTo>
                      <a:lnTo>
                        <a:pt x="665535" y="222244"/>
                      </a:lnTo>
                      <a:lnTo>
                        <a:pt x="687544" y="234983"/>
                      </a:lnTo>
                      <a:lnTo>
                        <a:pt x="687245" y="235760"/>
                      </a:lnTo>
                      <a:lnTo>
                        <a:pt x="664877" y="222782"/>
                      </a:lnTo>
                      <a:moveTo>
                        <a:pt x="235043" y="865171"/>
                      </a:moveTo>
                      <a:lnTo>
                        <a:pt x="265784" y="888317"/>
                      </a:lnTo>
                      <a:lnTo>
                        <a:pt x="259564" y="909668"/>
                      </a:lnTo>
                      <a:lnTo>
                        <a:pt x="229421" y="886821"/>
                      </a:lnTo>
                      <a:lnTo>
                        <a:pt x="235043" y="865171"/>
                      </a:lnTo>
                      <a:moveTo>
                        <a:pt x="368353" y="541016"/>
                      </a:moveTo>
                      <a:lnTo>
                        <a:pt x="447298" y="594005"/>
                      </a:lnTo>
                      <a:lnTo>
                        <a:pt x="430553" y="641014"/>
                      </a:lnTo>
                      <a:lnTo>
                        <a:pt x="332887" y="574269"/>
                      </a:lnTo>
                      <a:lnTo>
                        <a:pt x="313809" y="561171"/>
                      </a:lnTo>
                      <a:lnTo>
                        <a:pt x="312493" y="560274"/>
                      </a:lnTo>
                      <a:lnTo>
                        <a:pt x="299395" y="551303"/>
                      </a:lnTo>
                      <a:lnTo>
                        <a:pt x="238332" y="509557"/>
                      </a:lnTo>
                      <a:lnTo>
                        <a:pt x="202687" y="485216"/>
                      </a:lnTo>
                      <a:lnTo>
                        <a:pt x="201251" y="484199"/>
                      </a:lnTo>
                      <a:lnTo>
                        <a:pt x="171707" y="464044"/>
                      </a:lnTo>
                      <a:lnTo>
                        <a:pt x="59329" y="387252"/>
                      </a:lnTo>
                      <a:lnTo>
                        <a:pt x="63456" y="336296"/>
                      </a:lnTo>
                      <a:lnTo>
                        <a:pt x="132892" y="382886"/>
                      </a:lnTo>
                      <a:lnTo>
                        <a:pt x="132892" y="383005"/>
                      </a:lnTo>
                      <a:lnTo>
                        <a:pt x="134507" y="384082"/>
                      </a:lnTo>
                      <a:lnTo>
                        <a:pt x="134507" y="383962"/>
                      </a:lnTo>
                      <a:lnTo>
                        <a:pt x="170152" y="407885"/>
                      </a:lnTo>
                      <a:lnTo>
                        <a:pt x="170152" y="408065"/>
                      </a:lnTo>
                      <a:lnTo>
                        <a:pt x="171707" y="409141"/>
                      </a:lnTo>
                      <a:lnTo>
                        <a:pt x="171707" y="408962"/>
                      </a:lnTo>
                      <a:lnTo>
                        <a:pt x="209864" y="434619"/>
                      </a:lnTo>
                      <a:lnTo>
                        <a:pt x="209864" y="434798"/>
                      </a:lnTo>
                      <a:lnTo>
                        <a:pt x="211359" y="435815"/>
                      </a:lnTo>
                      <a:lnTo>
                        <a:pt x="211419" y="435636"/>
                      </a:lnTo>
                      <a:lnTo>
                        <a:pt x="285401" y="485336"/>
                      </a:lnTo>
                      <a:lnTo>
                        <a:pt x="285341" y="485575"/>
                      </a:lnTo>
                      <a:lnTo>
                        <a:pt x="286716" y="486472"/>
                      </a:lnTo>
                      <a:lnTo>
                        <a:pt x="286836" y="486173"/>
                      </a:lnTo>
                      <a:lnTo>
                        <a:pt x="324993" y="511830"/>
                      </a:lnTo>
                      <a:lnTo>
                        <a:pt x="324873" y="512129"/>
                      </a:lnTo>
                      <a:lnTo>
                        <a:pt x="326189" y="513026"/>
                      </a:lnTo>
                      <a:lnTo>
                        <a:pt x="326249" y="512727"/>
                      </a:lnTo>
                      <a:lnTo>
                        <a:pt x="367097" y="540119"/>
                      </a:lnTo>
                      <a:lnTo>
                        <a:pt x="366978" y="540478"/>
                      </a:lnTo>
                      <a:lnTo>
                        <a:pt x="368233" y="541375"/>
                      </a:lnTo>
                      <a:lnTo>
                        <a:pt x="368353" y="541016"/>
                      </a:lnTo>
                      <a:moveTo>
                        <a:pt x="520742" y="329956"/>
                      </a:moveTo>
                      <a:lnTo>
                        <a:pt x="598671" y="377742"/>
                      </a:lnTo>
                      <a:lnTo>
                        <a:pt x="586590" y="388986"/>
                      </a:lnTo>
                      <a:lnTo>
                        <a:pt x="515599" y="345028"/>
                      </a:lnTo>
                      <a:lnTo>
                        <a:pt x="520742" y="329956"/>
                      </a:lnTo>
                      <a:moveTo>
                        <a:pt x="228882" y="888795"/>
                      </a:moveTo>
                      <a:lnTo>
                        <a:pt x="258966" y="911582"/>
                      </a:lnTo>
                      <a:lnTo>
                        <a:pt x="256453" y="920074"/>
                      </a:lnTo>
                      <a:lnTo>
                        <a:pt x="226610" y="897347"/>
                      </a:lnTo>
                      <a:lnTo>
                        <a:pt x="228882" y="888795"/>
                      </a:lnTo>
                      <a:moveTo>
                        <a:pt x="648610" y="236179"/>
                      </a:moveTo>
                      <a:lnTo>
                        <a:pt x="663262" y="224098"/>
                      </a:lnTo>
                      <a:lnTo>
                        <a:pt x="686468" y="237554"/>
                      </a:lnTo>
                      <a:lnTo>
                        <a:pt x="679471" y="254240"/>
                      </a:lnTo>
                      <a:lnTo>
                        <a:pt x="648610" y="236179"/>
                      </a:lnTo>
                      <a:moveTo>
                        <a:pt x="353820" y="590955"/>
                      </a:moveTo>
                      <a:lnTo>
                        <a:pt x="429894" y="642808"/>
                      </a:lnTo>
                      <a:lnTo>
                        <a:pt x="424990" y="656504"/>
                      </a:lnTo>
                      <a:lnTo>
                        <a:pt x="349753" y="604830"/>
                      </a:lnTo>
                      <a:lnTo>
                        <a:pt x="353820" y="590955"/>
                      </a:lnTo>
                      <a:moveTo>
                        <a:pt x="687604" y="238212"/>
                      </a:moveTo>
                      <a:lnTo>
                        <a:pt x="690535" y="239887"/>
                      </a:lnTo>
                      <a:lnTo>
                        <a:pt x="683537" y="256573"/>
                      </a:lnTo>
                      <a:lnTo>
                        <a:pt x="680607" y="254839"/>
                      </a:lnTo>
                      <a:lnTo>
                        <a:pt x="687604" y="238212"/>
                      </a:lnTo>
                      <a:moveTo>
                        <a:pt x="349214" y="606804"/>
                      </a:moveTo>
                      <a:lnTo>
                        <a:pt x="424333" y="658358"/>
                      </a:lnTo>
                      <a:lnTo>
                        <a:pt x="416378" y="680726"/>
                      </a:lnTo>
                      <a:lnTo>
                        <a:pt x="350590" y="635153"/>
                      </a:lnTo>
                      <a:lnTo>
                        <a:pt x="342576" y="629531"/>
                      </a:lnTo>
                      <a:lnTo>
                        <a:pt x="349214" y="606804"/>
                      </a:lnTo>
                      <a:moveTo>
                        <a:pt x="285819" y="853868"/>
                      </a:moveTo>
                      <a:lnTo>
                        <a:pt x="300950" y="865051"/>
                      </a:lnTo>
                      <a:lnTo>
                        <a:pt x="287673" y="879644"/>
                      </a:lnTo>
                      <a:lnTo>
                        <a:pt x="279898" y="873843"/>
                      </a:lnTo>
                      <a:lnTo>
                        <a:pt x="285819" y="853868"/>
                      </a:lnTo>
                      <a:moveTo>
                        <a:pt x="351189" y="681264"/>
                      </a:moveTo>
                      <a:lnTo>
                        <a:pt x="376965" y="655786"/>
                      </a:lnTo>
                      <a:lnTo>
                        <a:pt x="415720" y="682580"/>
                      </a:lnTo>
                      <a:lnTo>
                        <a:pt x="403221" y="717746"/>
                      </a:lnTo>
                      <a:lnTo>
                        <a:pt x="351189" y="681264"/>
                      </a:lnTo>
                      <a:moveTo>
                        <a:pt x="487608" y="483422"/>
                      </a:moveTo>
                      <a:lnTo>
                        <a:pt x="532046" y="512129"/>
                      </a:lnTo>
                      <a:lnTo>
                        <a:pt x="525945" y="527679"/>
                      </a:lnTo>
                      <a:lnTo>
                        <a:pt x="482047" y="499091"/>
                      </a:lnTo>
                      <a:lnTo>
                        <a:pt x="487608" y="483422"/>
                      </a:lnTo>
                      <a:moveTo>
                        <a:pt x="488625" y="481867"/>
                      </a:moveTo>
                      <a:lnTo>
                        <a:pt x="501005" y="470324"/>
                      </a:lnTo>
                      <a:lnTo>
                        <a:pt x="544963" y="498553"/>
                      </a:lnTo>
                      <a:lnTo>
                        <a:pt x="532943" y="510574"/>
                      </a:lnTo>
                      <a:lnTo>
                        <a:pt x="488625" y="481867"/>
                      </a:lnTo>
                      <a:moveTo>
                        <a:pt x="584197" y="277745"/>
                      </a:moveTo>
                      <a:lnTo>
                        <a:pt x="658478" y="322122"/>
                      </a:lnTo>
                      <a:lnTo>
                        <a:pt x="600106" y="376367"/>
                      </a:lnTo>
                      <a:lnTo>
                        <a:pt x="521878" y="328282"/>
                      </a:lnTo>
                      <a:lnTo>
                        <a:pt x="522057" y="328162"/>
                      </a:lnTo>
                      <a:lnTo>
                        <a:pt x="521699" y="327983"/>
                      </a:lnTo>
                      <a:lnTo>
                        <a:pt x="521340" y="327804"/>
                      </a:lnTo>
                      <a:lnTo>
                        <a:pt x="521041" y="327564"/>
                      </a:lnTo>
                      <a:lnTo>
                        <a:pt x="520742" y="327325"/>
                      </a:lnTo>
                      <a:lnTo>
                        <a:pt x="520502" y="327504"/>
                      </a:lnTo>
                      <a:lnTo>
                        <a:pt x="480073" y="302625"/>
                      </a:lnTo>
                      <a:lnTo>
                        <a:pt x="480552" y="302266"/>
                      </a:lnTo>
                      <a:lnTo>
                        <a:pt x="480133" y="302086"/>
                      </a:lnTo>
                      <a:lnTo>
                        <a:pt x="479714" y="301907"/>
                      </a:lnTo>
                      <a:lnTo>
                        <a:pt x="479295" y="301727"/>
                      </a:lnTo>
                      <a:lnTo>
                        <a:pt x="478937" y="301548"/>
                      </a:lnTo>
                      <a:lnTo>
                        <a:pt x="478697" y="301727"/>
                      </a:lnTo>
                      <a:lnTo>
                        <a:pt x="442813" y="279658"/>
                      </a:lnTo>
                      <a:lnTo>
                        <a:pt x="441617" y="279419"/>
                      </a:lnTo>
                      <a:lnTo>
                        <a:pt x="440540" y="278881"/>
                      </a:lnTo>
                      <a:cubicBezTo>
                        <a:pt x="440480" y="278821"/>
                        <a:pt x="440361" y="278821"/>
                        <a:pt x="440301" y="278762"/>
                      </a:cubicBezTo>
                      <a:cubicBezTo>
                        <a:pt x="440242" y="278702"/>
                        <a:pt x="440122" y="278642"/>
                        <a:pt x="440062" y="278582"/>
                      </a:cubicBezTo>
                      <a:cubicBezTo>
                        <a:pt x="440002" y="278522"/>
                        <a:pt x="439882" y="278463"/>
                        <a:pt x="439823" y="278403"/>
                      </a:cubicBezTo>
                      <a:cubicBezTo>
                        <a:pt x="439763" y="278343"/>
                        <a:pt x="439643" y="278283"/>
                        <a:pt x="439583" y="278163"/>
                      </a:cubicBezTo>
                      <a:cubicBezTo>
                        <a:pt x="439524" y="278104"/>
                        <a:pt x="439404" y="277984"/>
                        <a:pt x="439344" y="277924"/>
                      </a:cubicBezTo>
                      <a:cubicBezTo>
                        <a:pt x="439285" y="277864"/>
                        <a:pt x="439165" y="277745"/>
                        <a:pt x="439105" y="277685"/>
                      </a:cubicBezTo>
                      <a:cubicBezTo>
                        <a:pt x="439045" y="277565"/>
                        <a:pt x="438925" y="277505"/>
                        <a:pt x="438865" y="277386"/>
                      </a:cubicBezTo>
                      <a:cubicBezTo>
                        <a:pt x="438806" y="277266"/>
                        <a:pt x="438687" y="277206"/>
                        <a:pt x="438627" y="277087"/>
                      </a:cubicBezTo>
                      <a:lnTo>
                        <a:pt x="366021" y="232471"/>
                      </a:lnTo>
                      <a:lnTo>
                        <a:pt x="366619" y="232112"/>
                      </a:lnTo>
                      <a:lnTo>
                        <a:pt x="366379" y="232052"/>
                      </a:lnTo>
                      <a:lnTo>
                        <a:pt x="366140" y="231992"/>
                      </a:lnTo>
                      <a:lnTo>
                        <a:pt x="365901" y="231932"/>
                      </a:lnTo>
                      <a:lnTo>
                        <a:pt x="365661" y="231813"/>
                      </a:lnTo>
                      <a:lnTo>
                        <a:pt x="365363" y="231753"/>
                      </a:lnTo>
                      <a:lnTo>
                        <a:pt x="365064" y="231633"/>
                      </a:lnTo>
                      <a:lnTo>
                        <a:pt x="364765" y="231514"/>
                      </a:lnTo>
                      <a:lnTo>
                        <a:pt x="364525" y="231334"/>
                      </a:lnTo>
                      <a:lnTo>
                        <a:pt x="364406" y="231394"/>
                      </a:lnTo>
                      <a:lnTo>
                        <a:pt x="326608" y="208129"/>
                      </a:lnTo>
                      <a:lnTo>
                        <a:pt x="326907" y="207950"/>
                      </a:lnTo>
                      <a:lnTo>
                        <a:pt x="326368" y="207830"/>
                      </a:lnTo>
                      <a:lnTo>
                        <a:pt x="325890" y="207651"/>
                      </a:lnTo>
                      <a:lnTo>
                        <a:pt x="325411" y="207352"/>
                      </a:lnTo>
                      <a:lnTo>
                        <a:pt x="324993" y="207053"/>
                      </a:lnTo>
                      <a:lnTo>
                        <a:pt x="324933" y="207112"/>
                      </a:lnTo>
                      <a:lnTo>
                        <a:pt x="289587" y="185343"/>
                      </a:lnTo>
                      <a:lnTo>
                        <a:pt x="290065" y="185103"/>
                      </a:lnTo>
                      <a:lnTo>
                        <a:pt x="289707" y="184804"/>
                      </a:lnTo>
                      <a:lnTo>
                        <a:pt x="289347" y="184505"/>
                      </a:lnTo>
                      <a:lnTo>
                        <a:pt x="289049" y="184146"/>
                      </a:lnTo>
                      <a:lnTo>
                        <a:pt x="288690" y="183788"/>
                      </a:lnTo>
                      <a:lnTo>
                        <a:pt x="287852" y="184266"/>
                      </a:lnTo>
                      <a:lnTo>
                        <a:pt x="218835" y="141803"/>
                      </a:lnTo>
                      <a:lnTo>
                        <a:pt x="294610" y="104483"/>
                      </a:lnTo>
                      <a:lnTo>
                        <a:pt x="358066" y="142401"/>
                      </a:lnTo>
                      <a:lnTo>
                        <a:pt x="359262" y="142760"/>
                      </a:lnTo>
                      <a:lnTo>
                        <a:pt x="360220" y="143418"/>
                      </a:lnTo>
                      <a:lnTo>
                        <a:pt x="361116" y="144315"/>
                      </a:lnTo>
                      <a:lnTo>
                        <a:pt x="361715" y="145451"/>
                      </a:lnTo>
                      <a:lnTo>
                        <a:pt x="362373" y="145092"/>
                      </a:lnTo>
                      <a:lnTo>
                        <a:pt x="396104" y="165247"/>
                      </a:lnTo>
                      <a:lnTo>
                        <a:pt x="395386" y="165666"/>
                      </a:lnTo>
                      <a:lnTo>
                        <a:pt x="395745" y="165965"/>
                      </a:lnTo>
                      <a:lnTo>
                        <a:pt x="396104" y="166264"/>
                      </a:lnTo>
                      <a:lnTo>
                        <a:pt x="396462" y="166563"/>
                      </a:lnTo>
                      <a:lnTo>
                        <a:pt x="396822" y="166862"/>
                      </a:lnTo>
                      <a:lnTo>
                        <a:pt x="397778" y="166324"/>
                      </a:lnTo>
                      <a:lnTo>
                        <a:pt x="433902" y="187854"/>
                      </a:lnTo>
                      <a:lnTo>
                        <a:pt x="433483" y="188094"/>
                      </a:lnTo>
                      <a:lnTo>
                        <a:pt x="433722" y="188452"/>
                      </a:lnTo>
                      <a:lnTo>
                        <a:pt x="433962" y="188752"/>
                      </a:lnTo>
                      <a:lnTo>
                        <a:pt x="434141" y="189111"/>
                      </a:lnTo>
                      <a:lnTo>
                        <a:pt x="434320" y="189469"/>
                      </a:lnTo>
                      <a:lnTo>
                        <a:pt x="435457" y="188752"/>
                      </a:lnTo>
                      <a:lnTo>
                        <a:pt x="505431" y="230617"/>
                      </a:lnTo>
                      <a:lnTo>
                        <a:pt x="505252" y="230736"/>
                      </a:lnTo>
                      <a:lnTo>
                        <a:pt x="505850" y="231275"/>
                      </a:lnTo>
                      <a:lnTo>
                        <a:pt x="506388" y="231873"/>
                      </a:lnTo>
                      <a:lnTo>
                        <a:pt x="506926" y="231454"/>
                      </a:lnTo>
                      <a:lnTo>
                        <a:pt x="542093" y="252506"/>
                      </a:lnTo>
                      <a:lnTo>
                        <a:pt x="542930" y="252626"/>
                      </a:lnTo>
                      <a:lnTo>
                        <a:pt x="543648" y="252985"/>
                      </a:lnTo>
                      <a:lnTo>
                        <a:pt x="544246" y="253463"/>
                      </a:lnTo>
                      <a:lnTo>
                        <a:pt x="544785" y="254121"/>
                      </a:lnTo>
                      <a:lnTo>
                        <a:pt x="582702" y="276788"/>
                      </a:lnTo>
                      <a:lnTo>
                        <a:pt x="582702" y="276848"/>
                      </a:lnTo>
                      <a:lnTo>
                        <a:pt x="583061" y="277027"/>
                      </a:lnTo>
                      <a:lnTo>
                        <a:pt x="583360" y="277206"/>
                      </a:lnTo>
                      <a:lnTo>
                        <a:pt x="583719" y="277386"/>
                      </a:lnTo>
                      <a:lnTo>
                        <a:pt x="584078" y="277625"/>
                      </a:lnTo>
                      <a:lnTo>
                        <a:pt x="584197" y="277745"/>
                      </a:lnTo>
                      <a:moveTo>
                        <a:pt x="326368" y="686826"/>
                      </a:moveTo>
                      <a:lnTo>
                        <a:pt x="338688" y="674865"/>
                      </a:lnTo>
                      <a:lnTo>
                        <a:pt x="402623" y="719600"/>
                      </a:lnTo>
                      <a:lnTo>
                        <a:pt x="396642" y="736406"/>
                      </a:lnTo>
                      <a:lnTo>
                        <a:pt x="326368" y="686826"/>
                      </a:lnTo>
                      <a:moveTo>
                        <a:pt x="585812" y="276489"/>
                      </a:moveTo>
                      <a:lnTo>
                        <a:pt x="594066" y="269790"/>
                      </a:lnTo>
                      <a:lnTo>
                        <a:pt x="667748" y="313689"/>
                      </a:lnTo>
                      <a:lnTo>
                        <a:pt x="659973" y="320866"/>
                      </a:lnTo>
                      <a:lnTo>
                        <a:pt x="585812" y="276489"/>
                      </a:lnTo>
                      <a:moveTo>
                        <a:pt x="324993" y="786824"/>
                      </a:moveTo>
                      <a:lnTo>
                        <a:pt x="332050" y="779407"/>
                      </a:lnTo>
                      <a:lnTo>
                        <a:pt x="360518" y="799922"/>
                      </a:lnTo>
                      <a:lnTo>
                        <a:pt x="353580" y="807517"/>
                      </a:lnTo>
                      <a:lnTo>
                        <a:pt x="324993" y="786824"/>
                      </a:lnTo>
                      <a:moveTo>
                        <a:pt x="481329" y="500945"/>
                      </a:moveTo>
                      <a:lnTo>
                        <a:pt x="525168" y="529413"/>
                      </a:lnTo>
                      <a:lnTo>
                        <a:pt x="510634" y="566614"/>
                      </a:lnTo>
                      <a:lnTo>
                        <a:pt x="467992" y="538444"/>
                      </a:lnTo>
                      <a:lnTo>
                        <a:pt x="481329" y="500945"/>
                      </a:lnTo>
                      <a:moveTo>
                        <a:pt x="333366" y="777972"/>
                      </a:moveTo>
                      <a:lnTo>
                        <a:pt x="342038" y="768822"/>
                      </a:lnTo>
                      <a:lnTo>
                        <a:pt x="370327" y="789097"/>
                      </a:lnTo>
                      <a:lnTo>
                        <a:pt x="361715" y="798486"/>
                      </a:lnTo>
                      <a:lnTo>
                        <a:pt x="333366" y="777972"/>
                      </a:lnTo>
                      <a:moveTo>
                        <a:pt x="325411" y="688560"/>
                      </a:moveTo>
                      <a:lnTo>
                        <a:pt x="395984" y="738260"/>
                      </a:lnTo>
                      <a:lnTo>
                        <a:pt x="387372" y="762482"/>
                      </a:lnTo>
                      <a:lnTo>
                        <a:pt x="318235" y="713321"/>
                      </a:lnTo>
                      <a:lnTo>
                        <a:pt x="325411" y="688560"/>
                      </a:lnTo>
                      <a:moveTo>
                        <a:pt x="354537" y="808294"/>
                      </a:moveTo>
                      <a:lnTo>
                        <a:pt x="359980" y="802374"/>
                      </a:lnTo>
                      <a:lnTo>
                        <a:pt x="357289" y="809909"/>
                      </a:lnTo>
                      <a:lnTo>
                        <a:pt x="357109" y="810089"/>
                      </a:lnTo>
                      <a:lnTo>
                        <a:pt x="354537" y="808294"/>
                      </a:lnTo>
                      <a:moveTo>
                        <a:pt x="317637" y="715234"/>
                      </a:moveTo>
                      <a:lnTo>
                        <a:pt x="386714" y="764276"/>
                      </a:lnTo>
                      <a:lnTo>
                        <a:pt x="382647" y="775759"/>
                      </a:lnTo>
                      <a:lnTo>
                        <a:pt x="314287" y="726897"/>
                      </a:lnTo>
                      <a:lnTo>
                        <a:pt x="317637" y="715234"/>
                      </a:lnTo>
                      <a:moveTo>
                        <a:pt x="313689" y="728930"/>
                      </a:moveTo>
                      <a:lnTo>
                        <a:pt x="381989" y="777673"/>
                      </a:lnTo>
                      <a:lnTo>
                        <a:pt x="377025" y="791668"/>
                      </a:lnTo>
                      <a:lnTo>
                        <a:pt x="309562" y="743164"/>
                      </a:lnTo>
                      <a:lnTo>
                        <a:pt x="313689" y="728930"/>
                      </a:lnTo>
                      <a:moveTo>
                        <a:pt x="502500" y="469008"/>
                      </a:moveTo>
                      <a:lnTo>
                        <a:pt x="556806" y="418531"/>
                      </a:lnTo>
                      <a:lnTo>
                        <a:pt x="598850" y="444846"/>
                      </a:lnTo>
                      <a:lnTo>
                        <a:pt x="546340" y="497237"/>
                      </a:lnTo>
                      <a:lnTo>
                        <a:pt x="502500" y="469008"/>
                      </a:lnTo>
                      <a:moveTo>
                        <a:pt x="362791" y="799323"/>
                      </a:moveTo>
                      <a:lnTo>
                        <a:pt x="371403" y="789934"/>
                      </a:lnTo>
                      <a:lnTo>
                        <a:pt x="376307" y="793462"/>
                      </a:lnTo>
                      <a:lnTo>
                        <a:pt x="371882" y="805843"/>
                      </a:lnTo>
                      <a:lnTo>
                        <a:pt x="362791" y="799323"/>
                      </a:lnTo>
                      <a:moveTo>
                        <a:pt x="467334" y="540358"/>
                      </a:moveTo>
                      <a:lnTo>
                        <a:pt x="509976" y="568468"/>
                      </a:lnTo>
                      <a:lnTo>
                        <a:pt x="490001" y="620380"/>
                      </a:lnTo>
                      <a:lnTo>
                        <a:pt x="449093" y="592869"/>
                      </a:lnTo>
                      <a:lnTo>
                        <a:pt x="467334" y="540358"/>
                      </a:lnTo>
                      <a:moveTo>
                        <a:pt x="599867" y="210043"/>
                      </a:moveTo>
                      <a:lnTo>
                        <a:pt x="600106" y="210282"/>
                      </a:lnTo>
                      <a:lnTo>
                        <a:pt x="600345" y="210581"/>
                      </a:lnTo>
                      <a:lnTo>
                        <a:pt x="600584" y="210880"/>
                      </a:lnTo>
                      <a:lnTo>
                        <a:pt x="600764" y="211179"/>
                      </a:lnTo>
                      <a:lnTo>
                        <a:pt x="601362" y="210761"/>
                      </a:lnTo>
                      <a:lnTo>
                        <a:pt x="635871" y="230916"/>
                      </a:lnTo>
                      <a:lnTo>
                        <a:pt x="637127" y="231155"/>
                      </a:lnTo>
                      <a:lnTo>
                        <a:pt x="638323" y="231633"/>
                      </a:lnTo>
                      <a:cubicBezTo>
                        <a:pt x="638442" y="231693"/>
                        <a:pt x="638502" y="231753"/>
                        <a:pt x="638622" y="231813"/>
                      </a:cubicBezTo>
                      <a:cubicBezTo>
                        <a:pt x="638741" y="231873"/>
                        <a:pt x="638801" y="231932"/>
                        <a:pt x="638861" y="231992"/>
                      </a:cubicBezTo>
                      <a:cubicBezTo>
                        <a:pt x="638921" y="232052"/>
                        <a:pt x="639041" y="232112"/>
                        <a:pt x="639101" y="232171"/>
                      </a:cubicBezTo>
                      <a:cubicBezTo>
                        <a:pt x="639160" y="232231"/>
                        <a:pt x="639280" y="232291"/>
                        <a:pt x="639339" y="232411"/>
                      </a:cubicBezTo>
                      <a:cubicBezTo>
                        <a:pt x="639459" y="232471"/>
                        <a:pt x="639519" y="232590"/>
                        <a:pt x="639579" y="232650"/>
                      </a:cubicBezTo>
                      <a:cubicBezTo>
                        <a:pt x="639639" y="232710"/>
                        <a:pt x="639758" y="232830"/>
                        <a:pt x="639818" y="232889"/>
                      </a:cubicBezTo>
                      <a:cubicBezTo>
                        <a:pt x="639878" y="232949"/>
                        <a:pt x="639997" y="233069"/>
                        <a:pt x="640057" y="233188"/>
                      </a:cubicBezTo>
                      <a:cubicBezTo>
                        <a:pt x="640117" y="233308"/>
                        <a:pt x="640177" y="233368"/>
                        <a:pt x="640297" y="233487"/>
                      </a:cubicBezTo>
                      <a:lnTo>
                        <a:pt x="709972" y="274216"/>
                      </a:lnTo>
                      <a:lnTo>
                        <a:pt x="669063" y="312194"/>
                      </a:lnTo>
                      <a:lnTo>
                        <a:pt x="595621" y="268415"/>
                      </a:lnTo>
                      <a:lnTo>
                        <a:pt x="595859" y="268176"/>
                      </a:lnTo>
                      <a:lnTo>
                        <a:pt x="595501" y="267996"/>
                      </a:lnTo>
                      <a:lnTo>
                        <a:pt x="595142" y="267817"/>
                      </a:lnTo>
                      <a:lnTo>
                        <a:pt x="594783" y="267637"/>
                      </a:lnTo>
                      <a:lnTo>
                        <a:pt x="594424" y="267398"/>
                      </a:lnTo>
                      <a:lnTo>
                        <a:pt x="594245" y="267518"/>
                      </a:lnTo>
                      <a:lnTo>
                        <a:pt x="557583" y="245628"/>
                      </a:lnTo>
                      <a:lnTo>
                        <a:pt x="556866" y="245389"/>
                      </a:lnTo>
                      <a:lnTo>
                        <a:pt x="556207" y="244970"/>
                      </a:lnTo>
                      <a:lnTo>
                        <a:pt x="555609" y="244492"/>
                      </a:lnTo>
                      <a:lnTo>
                        <a:pt x="555131" y="243834"/>
                      </a:lnTo>
                      <a:lnTo>
                        <a:pt x="554832" y="244073"/>
                      </a:lnTo>
                      <a:lnTo>
                        <a:pt x="519247" y="222842"/>
                      </a:lnTo>
                      <a:lnTo>
                        <a:pt x="519845" y="222423"/>
                      </a:lnTo>
                      <a:lnTo>
                        <a:pt x="519486" y="222244"/>
                      </a:lnTo>
                      <a:lnTo>
                        <a:pt x="519127" y="222064"/>
                      </a:lnTo>
                      <a:lnTo>
                        <a:pt x="518769" y="221825"/>
                      </a:lnTo>
                      <a:lnTo>
                        <a:pt x="518409" y="221646"/>
                      </a:lnTo>
                      <a:lnTo>
                        <a:pt x="518349" y="221526"/>
                      </a:lnTo>
                      <a:lnTo>
                        <a:pt x="517811" y="221945"/>
                      </a:lnTo>
                      <a:lnTo>
                        <a:pt x="448554" y="180618"/>
                      </a:lnTo>
                      <a:lnTo>
                        <a:pt x="448614" y="180558"/>
                      </a:lnTo>
                      <a:lnTo>
                        <a:pt x="448076" y="180379"/>
                      </a:lnTo>
                      <a:lnTo>
                        <a:pt x="447538" y="180139"/>
                      </a:lnTo>
                      <a:lnTo>
                        <a:pt x="447059" y="179840"/>
                      </a:lnTo>
                      <a:lnTo>
                        <a:pt x="446581" y="179481"/>
                      </a:lnTo>
                      <a:lnTo>
                        <a:pt x="411235" y="158370"/>
                      </a:lnTo>
                      <a:lnTo>
                        <a:pt x="411354" y="158310"/>
                      </a:lnTo>
                      <a:lnTo>
                        <a:pt x="410936" y="158130"/>
                      </a:lnTo>
                      <a:lnTo>
                        <a:pt x="410517" y="157951"/>
                      </a:lnTo>
                      <a:lnTo>
                        <a:pt x="410158" y="157652"/>
                      </a:lnTo>
                      <a:lnTo>
                        <a:pt x="409799" y="157353"/>
                      </a:lnTo>
                      <a:lnTo>
                        <a:pt x="409560" y="157472"/>
                      </a:lnTo>
                      <a:lnTo>
                        <a:pt x="376188" y="137557"/>
                      </a:lnTo>
                      <a:lnTo>
                        <a:pt x="376726" y="137198"/>
                      </a:lnTo>
                      <a:lnTo>
                        <a:pt x="376547" y="137138"/>
                      </a:lnTo>
                      <a:lnTo>
                        <a:pt x="376128" y="136958"/>
                      </a:lnTo>
                      <a:lnTo>
                        <a:pt x="375709" y="136719"/>
                      </a:lnTo>
                      <a:lnTo>
                        <a:pt x="375350" y="136420"/>
                      </a:lnTo>
                      <a:lnTo>
                        <a:pt x="374992" y="136181"/>
                      </a:lnTo>
                      <a:lnTo>
                        <a:pt x="374334" y="136480"/>
                      </a:lnTo>
                      <a:lnTo>
                        <a:pt x="308964" y="97486"/>
                      </a:lnTo>
                      <a:lnTo>
                        <a:pt x="362373" y="71171"/>
                      </a:lnTo>
                      <a:lnTo>
                        <a:pt x="424572" y="107474"/>
                      </a:lnTo>
                      <a:lnTo>
                        <a:pt x="425349" y="107713"/>
                      </a:lnTo>
                      <a:lnTo>
                        <a:pt x="425948" y="108131"/>
                      </a:lnTo>
                      <a:lnTo>
                        <a:pt x="426546" y="108610"/>
                      </a:lnTo>
                      <a:lnTo>
                        <a:pt x="427024" y="109268"/>
                      </a:lnTo>
                      <a:lnTo>
                        <a:pt x="427323" y="109088"/>
                      </a:lnTo>
                      <a:lnTo>
                        <a:pt x="457825" y="126911"/>
                      </a:lnTo>
                      <a:lnTo>
                        <a:pt x="458064" y="126971"/>
                      </a:lnTo>
                      <a:lnTo>
                        <a:pt x="458842" y="127330"/>
                      </a:lnTo>
                      <a:lnTo>
                        <a:pt x="459559" y="127808"/>
                      </a:lnTo>
                      <a:lnTo>
                        <a:pt x="460217" y="128466"/>
                      </a:lnTo>
                      <a:lnTo>
                        <a:pt x="460815" y="129184"/>
                      </a:lnTo>
                      <a:lnTo>
                        <a:pt x="461293" y="128945"/>
                      </a:lnTo>
                      <a:lnTo>
                        <a:pt x="495742" y="149040"/>
                      </a:lnTo>
                      <a:lnTo>
                        <a:pt x="495084" y="149458"/>
                      </a:lnTo>
                      <a:lnTo>
                        <a:pt x="495563" y="149638"/>
                      </a:lnTo>
                      <a:lnTo>
                        <a:pt x="495982" y="149817"/>
                      </a:lnTo>
                      <a:lnTo>
                        <a:pt x="496400" y="150056"/>
                      </a:lnTo>
                      <a:lnTo>
                        <a:pt x="496759" y="150355"/>
                      </a:lnTo>
                      <a:lnTo>
                        <a:pt x="497417" y="149996"/>
                      </a:lnTo>
                      <a:lnTo>
                        <a:pt x="562188" y="187854"/>
                      </a:lnTo>
                      <a:lnTo>
                        <a:pt x="563325" y="187914"/>
                      </a:lnTo>
                      <a:lnTo>
                        <a:pt x="564282" y="188273"/>
                      </a:lnTo>
                      <a:lnTo>
                        <a:pt x="565059" y="188931"/>
                      </a:lnTo>
                      <a:lnTo>
                        <a:pt x="565717" y="189828"/>
                      </a:lnTo>
                      <a:lnTo>
                        <a:pt x="599927" y="209863"/>
                      </a:lnTo>
                      <a:lnTo>
                        <a:pt x="599867" y="210043"/>
                      </a:lnTo>
                      <a:moveTo>
                        <a:pt x="361894" y="800998"/>
                      </a:moveTo>
                      <a:lnTo>
                        <a:pt x="371224" y="807697"/>
                      </a:lnTo>
                      <a:lnTo>
                        <a:pt x="368174" y="816369"/>
                      </a:lnTo>
                      <a:lnTo>
                        <a:pt x="358903" y="809670"/>
                      </a:lnTo>
                      <a:lnTo>
                        <a:pt x="361894" y="800998"/>
                      </a:lnTo>
                      <a:moveTo>
                        <a:pt x="691671" y="240545"/>
                      </a:moveTo>
                      <a:lnTo>
                        <a:pt x="725342" y="260102"/>
                      </a:lnTo>
                      <a:lnTo>
                        <a:pt x="711467" y="272960"/>
                      </a:lnTo>
                      <a:lnTo>
                        <a:pt x="684614" y="257291"/>
                      </a:lnTo>
                      <a:lnTo>
                        <a:pt x="691671" y="240545"/>
                      </a:lnTo>
                      <a:moveTo>
                        <a:pt x="688680" y="235640"/>
                      </a:moveTo>
                      <a:lnTo>
                        <a:pt x="727495" y="258128"/>
                      </a:lnTo>
                      <a:lnTo>
                        <a:pt x="726837" y="258726"/>
                      </a:lnTo>
                      <a:lnTo>
                        <a:pt x="688382" y="236358"/>
                      </a:lnTo>
                      <a:lnTo>
                        <a:pt x="688680" y="235640"/>
                      </a:lnTo>
                      <a:moveTo>
                        <a:pt x="296525" y="789097"/>
                      </a:moveTo>
                      <a:lnTo>
                        <a:pt x="308247" y="777075"/>
                      </a:lnTo>
                      <a:lnTo>
                        <a:pt x="366978" y="819658"/>
                      </a:lnTo>
                      <a:lnTo>
                        <a:pt x="361116" y="836224"/>
                      </a:lnTo>
                      <a:lnTo>
                        <a:pt x="296525" y="789097"/>
                      </a:lnTo>
                      <a:moveTo>
                        <a:pt x="448435" y="594723"/>
                      </a:moveTo>
                      <a:lnTo>
                        <a:pt x="489283" y="622174"/>
                      </a:lnTo>
                      <a:lnTo>
                        <a:pt x="471102" y="668705"/>
                      </a:lnTo>
                      <a:lnTo>
                        <a:pt x="431749" y="641791"/>
                      </a:lnTo>
                      <a:lnTo>
                        <a:pt x="448435" y="594723"/>
                      </a:lnTo>
                      <a:moveTo>
                        <a:pt x="558301" y="417156"/>
                      </a:moveTo>
                      <a:lnTo>
                        <a:pt x="586769" y="390720"/>
                      </a:lnTo>
                      <a:lnTo>
                        <a:pt x="586888" y="390661"/>
                      </a:lnTo>
                      <a:lnTo>
                        <a:pt x="599927" y="378520"/>
                      </a:lnTo>
                      <a:lnTo>
                        <a:pt x="640356" y="403400"/>
                      </a:lnTo>
                      <a:lnTo>
                        <a:pt x="600226" y="443470"/>
                      </a:lnTo>
                      <a:lnTo>
                        <a:pt x="558301" y="417156"/>
                      </a:lnTo>
                      <a:moveTo>
                        <a:pt x="672173" y="206813"/>
                      </a:moveTo>
                      <a:lnTo>
                        <a:pt x="740354" y="246107"/>
                      </a:lnTo>
                      <a:lnTo>
                        <a:pt x="728930" y="256753"/>
                      </a:lnTo>
                      <a:lnTo>
                        <a:pt x="666612" y="220629"/>
                      </a:lnTo>
                      <a:lnTo>
                        <a:pt x="672173" y="206813"/>
                      </a:lnTo>
                      <a:moveTo>
                        <a:pt x="431091" y="643645"/>
                      </a:moveTo>
                      <a:lnTo>
                        <a:pt x="470444" y="670439"/>
                      </a:lnTo>
                      <a:lnTo>
                        <a:pt x="465121" y="684015"/>
                      </a:lnTo>
                      <a:lnTo>
                        <a:pt x="426246" y="657281"/>
                      </a:lnTo>
                      <a:lnTo>
                        <a:pt x="431091" y="643645"/>
                      </a:lnTo>
                      <a:moveTo>
                        <a:pt x="425529" y="659135"/>
                      </a:moveTo>
                      <a:lnTo>
                        <a:pt x="464403" y="685809"/>
                      </a:lnTo>
                      <a:lnTo>
                        <a:pt x="455731" y="707938"/>
                      </a:lnTo>
                      <a:lnTo>
                        <a:pt x="417574" y="681503"/>
                      </a:lnTo>
                      <a:lnTo>
                        <a:pt x="425529" y="659135"/>
                      </a:lnTo>
                      <a:moveTo>
                        <a:pt x="41507" y="605847"/>
                      </a:moveTo>
                      <a:lnTo>
                        <a:pt x="360458" y="838019"/>
                      </a:lnTo>
                      <a:lnTo>
                        <a:pt x="341081" y="892443"/>
                      </a:lnTo>
                      <a:lnTo>
                        <a:pt x="250592" y="825220"/>
                      </a:lnTo>
                      <a:lnTo>
                        <a:pt x="246167" y="822050"/>
                      </a:lnTo>
                      <a:lnTo>
                        <a:pt x="244971" y="821093"/>
                      </a:lnTo>
                      <a:lnTo>
                        <a:pt x="215007" y="798845"/>
                      </a:lnTo>
                      <a:lnTo>
                        <a:pt x="213692" y="797888"/>
                      </a:lnTo>
                      <a:lnTo>
                        <a:pt x="194135" y="783415"/>
                      </a:lnTo>
                      <a:lnTo>
                        <a:pt x="142162" y="744839"/>
                      </a:lnTo>
                      <a:lnTo>
                        <a:pt x="123502" y="730964"/>
                      </a:lnTo>
                      <a:lnTo>
                        <a:pt x="123502" y="730904"/>
                      </a:lnTo>
                      <a:lnTo>
                        <a:pt x="122007" y="729827"/>
                      </a:lnTo>
                      <a:lnTo>
                        <a:pt x="110225" y="721095"/>
                      </a:lnTo>
                      <a:lnTo>
                        <a:pt x="36602" y="666492"/>
                      </a:lnTo>
                      <a:lnTo>
                        <a:pt x="41507" y="605847"/>
                      </a:lnTo>
                      <a:moveTo>
                        <a:pt x="713500" y="170929"/>
                      </a:moveTo>
                      <a:lnTo>
                        <a:pt x="713740" y="170989"/>
                      </a:lnTo>
                      <a:lnTo>
                        <a:pt x="713919" y="171109"/>
                      </a:lnTo>
                      <a:lnTo>
                        <a:pt x="714098" y="171228"/>
                      </a:lnTo>
                      <a:lnTo>
                        <a:pt x="714278" y="171348"/>
                      </a:lnTo>
                      <a:lnTo>
                        <a:pt x="714756" y="171766"/>
                      </a:lnTo>
                      <a:lnTo>
                        <a:pt x="714996" y="171527"/>
                      </a:lnTo>
                      <a:lnTo>
                        <a:pt x="780664" y="208667"/>
                      </a:lnTo>
                      <a:lnTo>
                        <a:pt x="741849" y="244791"/>
                      </a:lnTo>
                      <a:lnTo>
                        <a:pt x="673370" y="205318"/>
                      </a:lnTo>
                      <a:lnTo>
                        <a:pt x="674746" y="204242"/>
                      </a:lnTo>
                      <a:lnTo>
                        <a:pt x="674386" y="204062"/>
                      </a:lnTo>
                      <a:lnTo>
                        <a:pt x="674088" y="203943"/>
                      </a:lnTo>
                      <a:lnTo>
                        <a:pt x="673729" y="203763"/>
                      </a:lnTo>
                      <a:lnTo>
                        <a:pt x="673430" y="203524"/>
                      </a:lnTo>
                      <a:lnTo>
                        <a:pt x="672114" y="204600"/>
                      </a:lnTo>
                      <a:lnTo>
                        <a:pt x="636708" y="184206"/>
                      </a:lnTo>
                      <a:lnTo>
                        <a:pt x="636768" y="184206"/>
                      </a:lnTo>
                      <a:lnTo>
                        <a:pt x="636229" y="183967"/>
                      </a:lnTo>
                      <a:lnTo>
                        <a:pt x="635751" y="183728"/>
                      </a:lnTo>
                      <a:lnTo>
                        <a:pt x="635333" y="183489"/>
                      </a:lnTo>
                      <a:lnTo>
                        <a:pt x="634914" y="183130"/>
                      </a:lnTo>
                      <a:lnTo>
                        <a:pt x="605190" y="165965"/>
                      </a:lnTo>
                      <a:cubicBezTo>
                        <a:pt x="605010" y="166025"/>
                        <a:pt x="604831" y="166085"/>
                        <a:pt x="604652" y="166144"/>
                      </a:cubicBezTo>
                      <a:cubicBezTo>
                        <a:pt x="604472" y="166204"/>
                        <a:pt x="604292" y="166204"/>
                        <a:pt x="604113" y="166264"/>
                      </a:cubicBezTo>
                      <a:cubicBezTo>
                        <a:pt x="603934" y="166324"/>
                        <a:pt x="603754" y="166324"/>
                        <a:pt x="603575" y="166324"/>
                      </a:cubicBezTo>
                      <a:cubicBezTo>
                        <a:pt x="603395" y="166324"/>
                        <a:pt x="603216" y="166324"/>
                        <a:pt x="603037" y="166324"/>
                      </a:cubicBezTo>
                      <a:cubicBezTo>
                        <a:pt x="602857" y="166324"/>
                        <a:pt x="602678" y="166264"/>
                        <a:pt x="602558" y="166264"/>
                      </a:cubicBezTo>
                      <a:cubicBezTo>
                        <a:pt x="602379" y="166204"/>
                        <a:pt x="602199" y="166204"/>
                        <a:pt x="602080" y="166144"/>
                      </a:cubicBezTo>
                      <a:cubicBezTo>
                        <a:pt x="601900" y="166085"/>
                        <a:pt x="601780" y="166025"/>
                        <a:pt x="601601" y="165965"/>
                      </a:cubicBezTo>
                      <a:cubicBezTo>
                        <a:pt x="601422" y="165905"/>
                        <a:pt x="601302" y="165786"/>
                        <a:pt x="601122" y="165726"/>
                      </a:cubicBezTo>
                      <a:cubicBezTo>
                        <a:pt x="600944" y="165606"/>
                        <a:pt x="600824" y="165547"/>
                        <a:pt x="600644" y="165427"/>
                      </a:cubicBezTo>
                      <a:cubicBezTo>
                        <a:pt x="600525" y="165307"/>
                        <a:pt x="600345" y="165188"/>
                        <a:pt x="600226" y="165068"/>
                      </a:cubicBezTo>
                      <a:cubicBezTo>
                        <a:pt x="600106" y="164948"/>
                        <a:pt x="599987" y="164829"/>
                        <a:pt x="599867" y="164709"/>
                      </a:cubicBezTo>
                      <a:cubicBezTo>
                        <a:pt x="599747" y="164589"/>
                        <a:pt x="599627" y="164410"/>
                        <a:pt x="599508" y="164290"/>
                      </a:cubicBezTo>
                      <a:cubicBezTo>
                        <a:pt x="599389" y="164111"/>
                        <a:pt x="599269" y="163991"/>
                        <a:pt x="599209" y="163812"/>
                      </a:cubicBezTo>
                      <a:cubicBezTo>
                        <a:pt x="599089" y="163633"/>
                        <a:pt x="599029" y="163513"/>
                        <a:pt x="598910" y="163334"/>
                      </a:cubicBezTo>
                      <a:cubicBezTo>
                        <a:pt x="598790" y="163154"/>
                        <a:pt x="598731" y="162975"/>
                        <a:pt x="598671" y="162795"/>
                      </a:cubicBezTo>
                      <a:cubicBezTo>
                        <a:pt x="598611" y="162616"/>
                        <a:pt x="598551" y="162436"/>
                        <a:pt x="598491" y="162257"/>
                      </a:cubicBezTo>
                      <a:lnTo>
                        <a:pt x="535992" y="126193"/>
                      </a:lnTo>
                      <a:lnTo>
                        <a:pt x="535216" y="126014"/>
                      </a:lnTo>
                      <a:lnTo>
                        <a:pt x="534497" y="125655"/>
                      </a:lnTo>
                      <a:lnTo>
                        <a:pt x="533839" y="125237"/>
                      </a:lnTo>
                      <a:lnTo>
                        <a:pt x="533361" y="124638"/>
                      </a:lnTo>
                      <a:lnTo>
                        <a:pt x="500886" y="105978"/>
                      </a:lnTo>
                      <a:lnTo>
                        <a:pt x="500945" y="105919"/>
                      </a:lnTo>
                      <a:lnTo>
                        <a:pt x="500527" y="105679"/>
                      </a:lnTo>
                      <a:lnTo>
                        <a:pt x="500168" y="105440"/>
                      </a:lnTo>
                      <a:lnTo>
                        <a:pt x="499750" y="105141"/>
                      </a:lnTo>
                      <a:lnTo>
                        <a:pt x="499390" y="104842"/>
                      </a:lnTo>
                      <a:lnTo>
                        <a:pt x="499152" y="104962"/>
                      </a:lnTo>
                      <a:lnTo>
                        <a:pt x="467932" y="86960"/>
                      </a:lnTo>
                      <a:lnTo>
                        <a:pt x="468470" y="86661"/>
                      </a:lnTo>
                      <a:lnTo>
                        <a:pt x="468111" y="86362"/>
                      </a:lnTo>
                      <a:lnTo>
                        <a:pt x="467753" y="86063"/>
                      </a:lnTo>
                      <a:lnTo>
                        <a:pt x="467394" y="85764"/>
                      </a:lnTo>
                      <a:lnTo>
                        <a:pt x="467035" y="85465"/>
                      </a:lnTo>
                      <a:lnTo>
                        <a:pt x="466258" y="85883"/>
                      </a:lnTo>
                      <a:lnTo>
                        <a:pt x="404895" y="50537"/>
                      </a:lnTo>
                      <a:lnTo>
                        <a:pt x="456210" y="25299"/>
                      </a:lnTo>
                      <a:lnTo>
                        <a:pt x="515419" y="58731"/>
                      </a:lnTo>
                      <a:lnTo>
                        <a:pt x="515001" y="58970"/>
                      </a:lnTo>
                      <a:lnTo>
                        <a:pt x="515359" y="59269"/>
                      </a:lnTo>
                      <a:lnTo>
                        <a:pt x="515778" y="59508"/>
                      </a:lnTo>
                      <a:lnTo>
                        <a:pt x="516137" y="59807"/>
                      </a:lnTo>
                      <a:lnTo>
                        <a:pt x="516555" y="60106"/>
                      </a:lnTo>
                      <a:lnTo>
                        <a:pt x="517094" y="59807"/>
                      </a:lnTo>
                      <a:lnTo>
                        <a:pt x="547177" y="76792"/>
                      </a:lnTo>
                      <a:lnTo>
                        <a:pt x="546638" y="77092"/>
                      </a:lnTo>
                      <a:lnTo>
                        <a:pt x="547057" y="77271"/>
                      </a:lnTo>
                      <a:lnTo>
                        <a:pt x="547476" y="77450"/>
                      </a:lnTo>
                      <a:lnTo>
                        <a:pt x="547895" y="77749"/>
                      </a:lnTo>
                      <a:lnTo>
                        <a:pt x="548253" y="78049"/>
                      </a:lnTo>
                      <a:lnTo>
                        <a:pt x="548851" y="77690"/>
                      </a:lnTo>
                      <a:lnTo>
                        <a:pt x="581027" y="95871"/>
                      </a:lnTo>
                      <a:lnTo>
                        <a:pt x="580549" y="96170"/>
                      </a:lnTo>
                      <a:lnTo>
                        <a:pt x="580967" y="96230"/>
                      </a:lnTo>
                      <a:lnTo>
                        <a:pt x="581387" y="96350"/>
                      </a:lnTo>
                      <a:lnTo>
                        <a:pt x="581745" y="96529"/>
                      </a:lnTo>
                      <a:lnTo>
                        <a:pt x="582104" y="96708"/>
                      </a:lnTo>
                      <a:lnTo>
                        <a:pt x="582463" y="96888"/>
                      </a:lnTo>
                      <a:lnTo>
                        <a:pt x="582702" y="96708"/>
                      </a:lnTo>
                      <a:lnTo>
                        <a:pt x="643407" y="131038"/>
                      </a:lnTo>
                      <a:lnTo>
                        <a:pt x="644304" y="131217"/>
                      </a:lnTo>
                      <a:lnTo>
                        <a:pt x="645141" y="131636"/>
                      </a:lnTo>
                      <a:lnTo>
                        <a:pt x="645859" y="132174"/>
                      </a:lnTo>
                      <a:lnTo>
                        <a:pt x="646517" y="132892"/>
                      </a:lnTo>
                      <a:lnTo>
                        <a:pt x="677975" y="150655"/>
                      </a:lnTo>
                      <a:lnTo>
                        <a:pt x="678394" y="150894"/>
                      </a:lnTo>
                      <a:lnTo>
                        <a:pt x="678753" y="151133"/>
                      </a:lnTo>
                      <a:lnTo>
                        <a:pt x="679111" y="151432"/>
                      </a:lnTo>
                      <a:lnTo>
                        <a:pt x="679411" y="151791"/>
                      </a:lnTo>
                      <a:lnTo>
                        <a:pt x="679709" y="151611"/>
                      </a:lnTo>
                      <a:lnTo>
                        <a:pt x="713740" y="170810"/>
                      </a:lnTo>
                      <a:lnTo>
                        <a:pt x="713500" y="170929"/>
                      </a:lnTo>
                      <a:moveTo>
                        <a:pt x="288690" y="880422"/>
                      </a:moveTo>
                      <a:lnTo>
                        <a:pt x="302026" y="865889"/>
                      </a:lnTo>
                      <a:lnTo>
                        <a:pt x="340423" y="894297"/>
                      </a:lnTo>
                      <a:lnTo>
                        <a:pt x="333485" y="913914"/>
                      </a:lnTo>
                      <a:lnTo>
                        <a:pt x="288690" y="880422"/>
                      </a:lnTo>
                      <a:moveTo>
                        <a:pt x="716611" y="170211"/>
                      </a:moveTo>
                      <a:lnTo>
                        <a:pt x="722950" y="165068"/>
                      </a:lnTo>
                      <a:lnTo>
                        <a:pt x="788080" y="201730"/>
                      </a:lnTo>
                      <a:lnTo>
                        <a:pt x="782099" y="207352"/>
                      </a:lnTo>
                      <a:lnTo>
                        <a:pt x="716611" y="170211"/>
                      </a:lnTo>
                      <a:moveTo>
                        <a:pt x="601302" y="377144"/>
                      </a:moveTo>
                      <a:lnTo>
                        <a:pt x="659674" y="322839"/>
                      </a:lnTo>
                      <a:lnTo>
                        <a:pt x="698011" y="345746"/>
                      </a:lnTo>
                      <a:lnTo>
                        <a:pt x="641732" y="401904"/>
                      </a:lnTo>
                      <a:lnTo>
                        <a:pt x="601302" y="377144"/>
                      </a:lnTo>
                      <a:moveTo>
                        <a:pt x="416917" y="683357"/>
                      </a:moveTo>
                      <a:lnTo>
                        <a:pt x="455014" y="709672"/>
                      </a:lnTo>
                      <a:lnTo>
                        <a:pt x="434201" y="762841"/>
                      </a:lnTo>
                      <a:lnTo>
                        <a:pt x="397778" y="737184"/>
                      </a:lnTo>
                      <a:lnTo>
                        <a:pt x="404238" y="719122"/>
                      </a:lnTo>
                      <a:lnTo>
                        <a:pt x="416917" y="683357"/>
                      </a:lnTo>
                      <a:moveTo>
                        <a:pt x="267877" y="887419"/>
                      </a:moveTo>
                      <a:lnTo>
                        <a:pt x="278881" y="875458"/>
                      </a:lnTo>
                      <a:lnTo>
                        <a:pt x="332827" y="915708"/>
                      </a:lnTo>
                      <a:lnTo>
                        <a:pt x="327086" y="931856"/>
                      </a:lnTo>
                      <a:lnTo>
                        <a:pt x="267877" y="887419"/>
                      </a:lnTo>
                      <a:moveTo>
                        <a:pt x="661169" y="321523"/>
                      </a:moveTo>
                      <a:lnTo>
                        <a:pt x="668944" y="314347"/>
                      </a:lnTo>
                      <a:lnTo>
                        <a:pt x="706922" y="336954"/>
                      </a:lnTo>
                      <a:lnTo>
                        <a:pt x="699386" y="344430"/>
                      </a:lnTo>
                      <a:lnTo>
                        <a:pt x="661169" y="321523"/>
                      </a:lnTo>
                      <a:moveTo>
                        <a:pt x="397120" y="739038"/>
                      </a:moveTo>
                      <a:lnTo>
                        <a:pt x="433483" y="764635"/>
                      </a:lnTo>
                      <a:lnTo>
                        <a:pt x="424093" y="788558"/>
                      </a:lnTo>
                      <a:lnTo>
                        <a:pt x="388508" y="763200"/>
                      </a:lnTo>
                      <a:lnTo>
                        <a:pt x="397120" y="739038"/>
                      </a:lnTo>
                      <a:moveTo>
                        <a:pt x="267039" y="889154"/>
                      </a:moveTo>
                      <a:lnTo>
                        <a:pt x="326428" y="933710"/>
                      </a:lnTo>
                      <a:lnTo>
                        <a:pt x="319012" y="954583"/>
                      </a:lnTo>
                      <a:lnTo>
                        <a:pt x="260760" y="910505"/>
                      </a:lnTo>
                      <a:lnTo>
                        <a:pt x="267039" y="889154"/>
                      </a:lnTo>
                      <a:moveTo>
                        <a:pt x="260221" y="912479"/>
                      </a:moveTo>
                      <a:lnTo>
                        <a:pt x="318354" y="956437"/>
                      </a:lnTo>
                      <a:lnTo>
                        <a:pt x="315424" y="964750"/>
                      </a:lnTo>
                      <a:lnTo>
                        <a:pt x="257770" y="920971"/>
                      </a:lnTo>
                      <a:lnTo>
                        <a:pt x="260221" y="912479"/>
                      </a:lnTo>
                      <a:moveTo>
                        <a:pt x="387850" y="765114"/>
                      </a:moveTo>
                      <a:lnTo>
                        <a:pt x="423435" y="790412"/>
                      </a:lnTo>
                      <a:lnTo>
                        <a:pt x="418950" y="801835"/>
                      </a:lnTo>
                      <a:lnTo>
                        <a:pt x="383663" y="776657"/>
                      </a:lnTo>
                      <a:lnTo>
                        <a:pt x="387850" y="765114"/>
                      </a:lnTo>
                      <a:moveTo>
                        <a:pt x="383125" y="778451"/>
                      </a:moveTo>
                      <a:lnTo>
                        <a:pt x="418292" y="803510"/>
                      </a:lnTo>
                      <a:lnTo>
                        <a:pt x="412909" y="817325"/>
                      </a:lnTo>
                      <a:lnTo>
                        <a:pt x="378102" y="792386"/>
                      </a:lnTo>
                      <a:lnTo>
                        <a:pt x="383125" y="778451"/>
                      </a:lnTo>
                      <a:moveTo>
                        <a:pt x="670320" y="312971"/>
                      </a:moveTo>
                      <a:lnTo>
                        <a:pt x="711228" y="274934"/>
                      </a:lnTo>
                      <a:lnTo>
                        <a:pt x="747650" y="296165"/>
                      </a:lnTo>
                      <a:lnTo>
                        <a:pt x="708237" y="335519"/>
                      </a:lnTo>
                      <a:lnTo>
                        <a:pt x="670320" y="312971"/>
                      </a:lnTo>
                      <a:moveTo>
                        <a:pt x="377444" y="794240"/>
                      </a:moveTo>
                      <a:lnTo>
                        <a:pt x="412132" y="819120"/>
                      </a:lnTo>
                      <a:lnTo>
                        <a:pt x="395625" y="861343"/>
                      </a:lnTo>
                      <a:lnTo>
                        <a:pt x="362253" y="837002"/>
                      </a:lnTo>
                      <a:lnTo>
                        <a:pt x="377444" y="794240"/>
                      </a:lnTo>
                      <a:moveTo>
                        <a:pt x="712783" y="273618"/>
                      </a:moveTo>
                      <a:lnTo>
                        <a:pt x="727017" y="260341"/>
                      </a:lnTo>
                      <a:lnTo>
                        <a:pt x="729170" y="258367"/>
                      </a:lnTo>
                      <a:lnTo>
                        <a:pt x="741610" y="246764"/>
                      </a:lnTo>
                      <a:lnTo>
                        <a:pt x="776836" y="267099"/>
                      </a:lnTo>
                      <a:lnTo>
                        <a:pt x="749085" y="294850"/>
                      </a:lnTo>
                      <a:lnTo>
                        <a:pt x="712783" y="273618"/>
                      </a:lnTo>
                      <a:moveTo>
                        <a:pt x="361595" y="838796"/>
                      </a:moveTo>
                      <a:lnTo>
                        <a:pt x="394967" y="863138"/>
                      </a:lnTo>
                      <a:lnTo>
                        <a:pt x="373915" y="916845"/>
                      </a:lnTo>
                      <a:lnTo>
                        <a:pt x="342218" y="893281"/>
                      </a:lnTo>
                      <a:lnTo>
                        <a:pt x="361595" y="838796"/>
                      </a:lnTo>
                      <a:moveTo>
                        <a:pt x="743046" y="245449"/>
                      </a:moveTo>
                      <a:lnTo>
                        <a:pt x="781920" y="209385"/>
                      </a:lnTo>
                      <a:lnTo>
                        <a:pt x="815591" y="228463"/>
                      </a:lnTo>
                      <a:lnTo>
                        <a:pt x="811584" y="232411"/>
                      </a:lnTo>
                      <a:lnTo>
                        <a:pt x="778212" y="265783"/>
                      </a:lnTo>
                      <a:lnTo>
                        <a:pt x="743046" y="245449"/>
                      </a:lnTo>
                      <a:moveTo>
                        <a:pt x="783356" y="208009"/>
                      </a:moveTo>
                      <a:lnTo>
                        <a:pt x="789336" y="202447"/>
                      </a:lnTo>
                      <a:lnTo>
                        <a:pt x="822768" y="221287"/>
                      </a:lnTo>
                      <a:lnTo>
                        <a:pt x="816967" y="227088"/>
                      </a:lnTo>
                      <a:lnTo>
                        <a:pt x="783356" y="208009"/>
                      </a:lnTo>
                      <a:moveTo>
                        <a:pt x="341560" y="895135"/>
                      </a:moveTo>
                      <a:lnTo>
                        <a:pt x="373257" y="918579"/>
                      </a:lnTo>
                      <a:lnTo>
                        <a:pt x="358724" y="955660"/>
                      </a:lnTo>
                      <a:lnTo>
                        <a:pt x="328222" y="932753"/>
                      </a:lnTo>
                      <a:lnTo>
                        <a:pt x="341560" y="895135"/>
                      </a:lnTo>
                      <a:moveTo>
                        <a:pt x="327504" y="934547"/>
                      </a:moveTo>
                      <a:lnTo>
                        <a:pt x="358007" y="957454"/>
                      </a:lnTo>
                      <a:lnTo>
                        <a:pt x="349932" y="978027"/>
                      </a:lnTo>
                      <a:lnTo>
                        <a:pt x="320088" y="955420"/>
                      </a:lnTo>
                      <a:lnTo>
                        <a:pt x="327504" y="934547"/>
                      </a:lnTo>
                      <a:moveTo>
                        <a:pt x="319431" y="957215"/>
                      </a:moveTo>
                      <a:lnTo>
                        <a:pt x="349214" y="979822"/>
                      </a:lnTo>
                      <a:lnTo>
                        <a:pt x="346045" y="988075"/>
                      </a:lnTo>
                      <a:lnTo>
                        <a:pt x="316500" y="965587"/>
                      </a:lnTo>
                      <a:lnTo>
                        <a:pt x="319431" y="957215"/>
                      </a:lnTo>
                      <a:moveTo>
                        <a:pt x="771753" y="329598"/>
                      </a:moveTo>
                      <a:lnTo>
                        <a:pt x="784252" y="336954"/>
                      </a:lnTo>
                      <a:lnTo>
                        <a:pt x="749744" y="374812"/>
                      </a:lnTo>
                      <a:lnTo>
                        <a:pt x="767028" y="339286"/>
                      </a:lnTo>
                      <a:lnTo>
                        <a:pt x="771753" y="329598"/>
                      </a:lnTo>
                      <a:moveTo>
                        <a:pt x="775042" y="322839"/>
                      </a:moveTo>
                      <a:lnTo>
                        <a:pt x="789455" y="331272"/>
                      </a:lnTo>
                      <a:lnTo>
                        <a:pt x="785509" y="335578"/>
                      </a:lnTo>
                      <a:lnTo>
                        <a:pt x="772530" y="327923"/>
                      </a:lnTo>
                      <a:lnTo>
                        <a:pt x="775042" y="322839"/>
                      </a:lnTo>
                      <a:moveTo>
                        <a:pt x="605309" y="667688"/>
                      </a:moveTo>
                      <a:lnTo>
                        <a:pt x="605489" y="667807"/>
                      </a:lnTo>
                      <a:lnTo>
                        <a:pt x="599927" y="674685"/>
                      </a:lnTo>
                      <a:lnTo>
                        <a:pt x="599747" y="674566"/>
                      </a:lnTo>
                      <a:lnTo>
                        <a:pt x="598611" y="675941"/>
                      </a:lnTo>
                      <a:lnTo>
                        <a:pt x="598850" y="676001"/>
                      </a:lnTo>
                      <a:lnTo>
                        <a:pt x="562368" y="721155"/>
                      </a:lnTo>
                      <a:lnTo>
                        <a:pt x="562188" y="721036"/>
                      </a:lnTo>
                      <a:lnTo>
                        <a:pt x="561052" y="722411"/>
                      </a:lnTo>
                      <a:lnTo>
                        <a:pt x="561232" y="722531"/>
                      </a:lnTo>
                      <a:lnTo>
                        <a:pt x="534617" y="755485"/>
                      </a:lnTo>
                      <a:lnTo>
                        <a:pt x="534438" y="755365"/>
                      </a:lnTo>
                      <a:lnTo>
                        <a:pt x="533301" y="756801"/>
                      </a:lnTo>
                      <a:lnTo>
                        <a:pt x="533421" y="756860"/>
                      </a:lnTo>
                      <a:lnTo>
                        <a:pt x="510814" y="784850"/>
                      </a:lnTo>
                      <a:lnTo>
                        <a:pt x="510694" y="784790"/>
                      </a:lnTo>
                      <a:lnTo>
                        <a:pt x="509558" y="786166"/>
                      </a:lnTo>
                      <a:lnTo>
                        <a:pt x="509678" y="786226"/>
                      </a:lnTo>
                      <a:lnTo>
                        <a:pt x="505192" y="791788"/>
                      </a:lnTo>
                      <a:lnTo>
                        <a:pt x="505072" y="791728"/>
                      </a:lnTo>
                      <a:lnTo>
                        <a:pt x="503936" y="793104"/>
                      </a:lnTo>
                      <a:lnTo>
                        <a:pt x="504055" y="793163"/>
                      </a:lnTo>
                      <a:lnTo>
                        <a:pt x="442155" y="869657"/>
                      </a:lnTo>
                      <a:lnTo>
                        <a:pt x="442095" y="869657"/>
                      </a:lnTo>
                      <a:lnTo>
                        <a:pt x="440959" y="871032"/>
                      </a:lnTo>
                      <a:lnTo>
                        <a:pt x="441019" y="871092"/>
                      </a:lnTo>
                      <a:lnTo>
                        <a:pt x="407646" y="912419"/>
                      </a:lnTo>
                      <a:lnTo>
                        <a:pt x="407586" y="912419"/>
                      </a:lnTo>
                      <a:lnTo>
                        <a:pt x="406450" y="913794"/>
                      </a:lnTo>
                      <a:lnTo>
                        <a:pt x="406450" y="913854"/>
                      </a:lnTo>
                      <a:lnTo>
                        <a:pt x="357827" y="973961"/>
                      </a:lnTo>
                      <a:lnTo>
                        <a:pt x="356631" y="975396"/>
                      </a:lnTo>
                      <a:lnTo>
                        <a:pt x="348318" y="985683"/>
                      </a:lnTo>
                      <a:lnTo>
                        <a:pt x="509678" y="572834"/>
                      </a:lnTo>
                      <a:lnTo>
                        <a:pt x="511591" y="567869"/>
                      </a:lnTo>
                      <a:lnTo>
                        <a:pt x="518110" y="551363"/>
                      </a:lnTo>
                      <a:lnTo>
                        <a:pt x="518828" y="549568"/>
                      </a:lnTo>
                      <a:lnTo>
                        <a:pt x="518769" y="549568"/>
                      </a:lnTo>
                      <a:lnTo>
                        <a:pt x="526902" y="528935"/>
                      </a:lnTo>
                      <a:lnTo>
                        <a:pt x="533361" y="512488"/>
                      </a:lnTo>
                      <a:lnTo>
                        <a:pt x="534677" y="511112"/>
                      </a:lnTo>
                      <a:lnTo>
                        <a:pt x="534438" y="510993"/>
                      </a:lnTo>
                      <a:lnTo>
                        <a:pt x="546698" y="498732"/>
                      </a:lnTo>
                      <a:lnTo>
                        <a:pt x="546758" y="498732"/>
                      </a:lnTo>
                      <a:lnTo>
                        <a:pt x="587008" y="458542"/>
                      </a:lnTo>
                      <a:lnTo>
                        <a:pt x="587188" y="458662"/>
                      </a:lnTo>
                      <a:lnTo>
                        <a:pt x="588563" y="457286"/>
                      </a:lnTo>
                      <a:lnTo>
                        <a:pt x="588324" y="457167"/>
                      </a:lnTo>
                      <a:lnTo>
                        <a:pt x="600465" y="445026"/>
                      </a:lnTo>
                      <a:lnTo>
                        <a:pt x="600584" y="444906"/>
                      </a:lnTo>
                      <a:lnTo>
                        <a:pt x="628575" y="416976"/>
                      </a:lnTo>
                      <a:lnTo>
                        <a:pt x="628813" y="417036"/>
                      </a:lnTo>
                      <a:lnTo>
                        <a:pt x="630130" y="415660"/>
                      </a:lnTo>
                      <a:lnTo>
                        <a:pt x="629950" y="415600"/>
                      </a:lnTo>
                      <a:lnTo>
                        <a:pt x="642031" y="403519"/>
                      </a:lnTo>
                      <a:lnTo>
                        <a:pt x="642031" y="403459"/>
                      </a:lnTo>
                      <a:lnTo>
                        <a:pt x="686408" y="359142"/>
                      </a:lnTo>
                      <a:lnTo>
                        <a:pt x="686527" y="359202"/>
                      </a:lnTo>
                      <a:lnTo>
                        <a:pt x="687903" y="357826"/>
                      </a:lnTo>
                      <a:lnTo>
                        <a:pt x="687783" y="357707"/>
                      </a:lnTo>
                      <a:lnTo>
                        <a:pt x="695319" y="350231"/>
                      </a:lnTo>
                      <a:lnTo>
                        <a:pt x="695439" y="350291"/>
                      </a:lnTo>
                      <a:lnTo>
                        <a:pt x="696814" y="348975"/>
                      </a:lnTo>
                      <a:lnTo>
                        <a:pt x="696695" y="348915"/>
                      </a:lnTo>
                      <a:lnTo>
                        <a:pt x="699626" y="345925"/>
                      </a:lnTo>
                      <a:lnTo>
                        <a:pt x="708537" y="337074"/>
                      </a:lnTo>
                      <a:lnTo>
                        <a:pt x="736287" y="309323"/>
                      </a:lnTo>
                      <a:lnTo>
                        <a:pt x="736406" y="309383"/>
                      </a:lnTo>
                      <a:lnTo>
                        <a:pt x="737783" y="308007"/>
                      </a:lnTo>
                      <a:lnTo>
                        <a:pt x="737723" y="307947"/>
                      </a:lnTo>
                      <a:lnTo>
                        <a:pt x="749325" y="296285"/>
                      </a:lnTo>
                      <a:lnTo>
                        <a:pt x="765652" y="280017"/>
                      </a:lnTo>
                      <a:lnTo>
                        <a:pt x="765712" y="280017"/>
                      </a:lnTo>
                      <a:lnTo>
                        <a:pt x="767088" y="278642"/>
                      </a:lnTo>
                      <a:lnTo>
                        <a:pt x="767028" y="278582"/>
                      </a:lnTo>
                      <a:lnTo>
                        <a:pt x="778451" y="267159"/>
                      </a:lnTo>
                      <a:lnTo>
                        <a:pt x="778451" y="267099"/>
                      </a:lnTo>
                      <a:lnTo>
                        <a:pt x="804587" y="240963"/>
                      </a:lnTo>
                      <a:lnTo>
                        <a:pt x="804647" y="240963"/>
                      </a:lnTo>
                      <a:lnTo>
                        <a:pt x="806022" y="239588"/>
                      </a:lnTo>
                      <a:lnTo>
                        <a:pt x="811824" y="233727"/>
                      </a:lnTo>
                      <a:lnTo>
                        <a:pt x="811824" y="233786"/>
                      </a:lnTo>
                      <a:lnTo>
                        <a:pt x="813199" y="232411"/>
                      </a:lnTo>
                      <a:lnTo>
                        <a:pt x="817206" y="228404"/>
                      </a:lnTo>
                      <a:lnTo>
                        <a:pt x="821871" y="223739"/>
                      </a:lnTo>
                      <a:lnTo>
                        <a:pt x="746992" y="378879"/>
                      </a:lnTo>
                      <a:cubicBezTo>
                        <a:pt x="746992" y="378879"/>
                        <a:pt x="747172" y="378699"/>
                        <a:pt x="747471" y="378400"/>
                      </a:cubicBezTo>
                      <a:cubicBezTo>
                        <a:pt x="747770" y="378041"/>
                        <a:pt x="748189" y="377563"/>
                        <a:pt x="748787" y="376965"/>
                      </a:cubicBezTo>
                      <a:cubicBezTo>
                        <a:pt x="749325" y="376367"/>
                        <a:pt x="750043" y="375589"/>
                        <a:pt x="750820" y="374752"/>
                      </a:cubicBezTo>
                      <a:cubicBezTo>
                        <a:pt x="751598" y="373915"/>
                        <a:pt x="752495" y="372958"/>
                        <a:pt x="753452" y="371881"/>
                      </a:cubicBezTo>
                      <a:cubicBezTo>
                        <a:pt x="754408" y="370805"/>
                        <a:pt x="755485" y="369669"/>
                        <a:pt x="756561" y="368472"/>
                      </a:cubicBezTo>
                      <a:cubicBezTo>
                        <a:pt x="757698" y="367276"/>
                        <a:pt x="758834" y="366020"/>
                        <a:pt x="760031" y="364704"/>
                      </a:cubicBezTo>
                      <a:cubicBezTo>
                        <a:pt x="761227" y="363389"/>
                        <a:pt x="762483" y="362013"/>
                        <a:pt x="763739" y="360638"/>
                      </a:cubicBezTo>
                      <a:cubicBezTo>
                        <a:pt x="764994" y="359262"/>
                        <a:pt x="766310" y="357886"/>
                        <a:pt x="767566" y="356451"/>
                      </a:cubicBezTo>
                      <a:cubicBezTo>
                        <a:pt x="768882" y="355076"/>
                        <a:pt x="770138" y="353640"/>
                        <a:pt x="771454" y="352264"/>
                      </a:cubicBezTo>
                      <a:cubicBezTo>
                        <a:pt x="772770" y="350889"/>
                        <a:pt x="773966" y="349514"/>
                        <a:pt x="775221" y="348257"/>
                      </a:cubicBezTo>
                      <a:cubicBezTo>
                        <a:pt x="776418" y="346942"/>
                        <a:pt x="777614" y="345686"/>
                        <a:pt x="778691" y="344490"/>
                      </a:cubicBezTo>
                      <a:cubicBezTo>
                        <a:pt x="779826" y="343293"/>
                        <a:pt x="780843" y="342157"/>
                        <a:pt x="781801" y="341140"/>
                      </a:cubicBezTo>
                      <a:cubicBezTo>
                        <a:pt x="782757" y="340124"/>
                        <a:pt x="783654" y="339167"/>
                        <a:pt x="784432" y="338270"/>
                      </a:cubicBezTo>
                      <a:cubicBezTo>
                        <a:pt x="785209" y="337432"/>
                        <a:pt x="785867" y="336715"/>
                        <a:pt x="786465" y="336116"/>
                      </a:cubicBezTo>
                      <a:cubicBezTo>
                        <a:pt x="787004" y="335519"/>
                        <a:pt x="787482" y="335040"/>
                        <a:pt x="787781" y="334741"/>
                      </a:cubicBezTo>
                      <a:cubicBezTo>
                        <a:pt x="788080" y="334442"/>
                        <a:pt x="788260" y="334262"/>
                        <a:pt x="788260" y="334262"/>
                      </a:cubicBezTo>
                      <a:lnTo>
                        <a:pt x="783654" y="343413"/>
                      </a:lnTo>
                      <a:lnTo>
                        <a:pt x="783535" y="343353"/>
                      </a:lnTo>
                      <a:lnTo>
                        <a:pt x="783356" y="343772"/>
                      </a:lnTo>
                      <a:lnTo>
                        <a:pt x="783116" y="344191"/>
                      </a:lnTo>
                      <a:lnTo>
                        <a:pt x="782937" y="344609"/>
                      </a:lnTo>
                      <a:lnTo>
                        <a:pt x="782757" y="345028"/>
                      </a:lnTo>
                      <a:lnTo>
                        <a:pt x="782877" y="345147"/>
                      </a:lnTo>
                      <a:lnTo>
                        <a:pt x="707998" y="495323"/>
                      </a:lnTo>
                      <a:lnTo>
                        <a:pt x="707759" y="495742"/>
                      </a:lnTo>
                      <a:lnTo>
                        <a:pt x="707520" y="496161"/>
                      </a:lnTo>
                      <a:lnTo>
                        <a:pt x="707340" y="496579"/>
                      </a:lnTo>
                      <a:lnTo>
                        <a:pt x="707161" y="496998"/>
                      </a:lnTo>
                      <a:lnTo>
                        <a:pt x="707220" y="496998"/>
                      </a:lnTo>
                      <a:lnTo>
                        <a:pt x="702197" y="506986"/>
                      </a:lnTo>
                      <a:lnTo>
                        <a:pt x="701061" y="508362"/>
                      </a:lnTo>
                      <a:lnTo>
                        <a:pt x="701240" y="508481"/>
                      </a:lnTo>
                      <a:lnTo>
                        <a:pt x="697233" y="513265"/>
                      </a:lnTo>
                      <a:lnTo>
                        <a:pt x="697054" y="513146"/>
                      </a:lnTo>
                      <a:lnTo>
                        <a:pt x="695858" y="514581"/>
                      </a:lnTo>
                      <a:lnTo>
                        <a:pt x="695977" y="514641"/>
                      </a:lnTo>
                      <a:lnTo>
                        <a:pt x="681743" y="531566"/>
                      </a:lnTo>
                      <a:lnTo>
                        <a:pt x="658358" y="559736"/>
                      </a:lnTo>
                      <a:lnTo>
                        <a:pt x="644124" y="588862"/>
                      </a:lnTo>
                      <a:lnTo>
                        <a:pt x="643347" y="590537"/>
                      </a:lnTo>
                      <a:lnTo>
                        <a:pt x="625703" y="626780"/>
                      </a:lnTo>
                      <a:lnTo>
                        <a:pt x="624867" y="628394"/>
                      </a:lnTo>
                      <a:lnTo>
                        <a:pt x="611529" y="655846"/>
                      </a:lnTo>
                      <a:lnTo>
                        <a:pt x="610751" y="657461"/>
                      </a:lnTo>
                      <a:lnTo>
                        <a:pt x="606565" y="666013"/>
                      </a:lnTo>
                      <a:lnTo>
                        <a:pt x="605309" y="667688"/>
                      </a:lnTo>
                      <a:moveTo>
                        <a:pt x="606984" y="667807"/>
                      </a:moveTo>
                      <a:lnTo>
                        <a:pt x="606984" y="667807"/>
                      </a:lnTo>
                      <a:lnTo>
                        <a:pt x="607043" y="667688"/>
                      </a:lnTo>
                      <a:lnTo>
                        <a:pt x="607103" y="667568"/>
                      </a:lnTo>
                      <a:lnTo>
                        <a:pt x="607103" y="667508"/>
                      </a:lnTo>
                      <a:lnTo>
                        <a:pt x="612128" y="657281"/>
                      </a:lnTo>
                      <a:lnTo>
                        <a:pt x="626302" y="628215"/>
                      </a:lnTo>
                      <a:lnTo>
                        <a:pt x="644722" y="590357"/>
                      </a:lnTo>
                      <a:lnTo>
                        <a:pt x="659674" y="559736"/>
                      </a:lnTo>
                      <a:lnTo>
                        <a:pt x="697233" y="515000"/>
                      </a:lnTo>
                      <a:lnTo>
                        <a:pt x="697293" y="514940"/>
                      </a:lnTo>
                      <a:lnTo>
                        <a:pt x="697353" y="514880"/>
                      </a:lnTo>
                      <a:lnTo>
                        <a:pt x="702496" y="508780"/>
                      </a:lnTo>
                      <a:lnTo>
                        <a:pt x="702496" y="508720"/>
                      </a:lnTo>
                      <a:lnTo>
                        <a:pt x="702556" y="508660"/>
                      </a:lnTo>
                      <a:lnTo>
                        <a:pt x="702616" y="508541"/>
                      </a:lnTo>
                      <a:lnTo>
                        <a:pt x="702616" y="508481"/>
                      </a:lnTo>
                      <a:lnTo>
                        <a:pt x="702676" y="508421"/>
                      </a:lnTo>
                      <a:lnTo>
                        <a:pt x="708477" y="496759"/>
                      </a:lnTo>
                      <a:lnTo>
                        <a:pt x="784192" y="344968"/>
                      </a:lnTo>
                      <a:lnTo>
                        <a:pt x="791130" y="331093"/>
                      </a:lnTo>
                      <a:lnTo>
                        <a:pt x="791190" y="330973"/>
                      </a:lnTo>
                      <a:lnTo>
                        <a:pt x="791190" y="330913"/>
                      </a:lnTo>
                      <a:lnTo>
                        <a:pt x="791250" y="330794"/>
                      </a:lnTo>
                      <a:lnTo>
                        <a:pt x="791250" y="330734"/>
                      </a:lnTo>
                      <a:lnTo>
                        <a:pt x="791250" y="330554"/>
                      </a:lnTo>
                      <a:lnTo>
                        <a:pt x="791310" y="330435"/>
                      </a:lnTo>
                      <a:lnTo>
                        <a:pt x="791310" y="330315"/>
                      </a:lnTo>
                      <a:lnTo>
                        <a:pt x="791250" y="330196"/>
                      </a:lnTo>
                      <a:lnTo>
                        <a:pt x="791190" y="330136"/>
                      </a:lnTo>
                      <a:lnTo>
                        <a:pt x="791070" y="330076"/>
                      </a:lnTo>
                      <a:lnTo>
                        <a:pt x="775880" y="321165"/>
                      </a:lnTo>
                      <a:lnTo>
                        <a:pt x="792805" y="286357"/>
                      </a:lnTo>
                      <a:lnTo>
                        <a:pt x="817326" y="235999"/>
                      </a:lnTo>
                      <a:lnTo>
                        <a:pt x="824562" y="221107"/>
                      </a:lnTo>
                      <a:lnTo>
                        <a:pt x="824622" y="220988"/>
                      </a:lnTo>
                      <a:lnTo>
                        <a:pt x="824742" y="220868"/>
                      </a:lnTo>
                      <a:lnTo>
                        <a:pt x="824742" y="220808"/>
                      </a:lnTo>
                      <a:lnTo>
                        <a:pt x="824742" y="220689"/>
                      </a:lnTo>
                      <a:lnTo>
                        <a:pt x="824742" y="220509"/>
                      </a:lnTo>
                      <a:lnTo>
                        <a:pt x="824742" y="220449"/>
                      </a:lnTo>
                      <a:lnTo>
                        <a:pt x="824682" y="220330"/>
                      </a:lnTo>
                      <a:lnTo>
                        <a:pt x="824682" y="220210"/>
                      </a:lnTo>
                      <a:lnTo>
                        <a:pt x="824682" y="220151"/>
                      </a:lnTo>
                      <a:lnTo>
                        <a:pt x="824622" y="220091"/>
                      </a:lnTo>
                      <a:lnTo>
                        <a:pt x="824503" y="220031"/>
                      </a:lnTo>
                      <a:lnTo>
                        <a:pt x="789934" y="200474"/>
                      </a:lnTo>
                      <a:lnTo>
                        <a:pt x="723608" y="163034"/>
                      </a:lnTo>
                      <a:lnTo>
                        <a:pt x="688561" y="143238"/>
                      </a:lnTo>
                      <a:lnTo>
                        <a:pt x="655607" y="124638"/>
                      </a:lnTo>
                      <a:lnTo>
                        <a:pt x="592271" y="88933"/>
                      </a:lnTo>
                      <a:lnTo>
                        <a:pt x="558839" y="70034"/>
                      </a:lnTo>
                      <a:lnTo>
                        <a:pt x="527380" y="52271"/>
                      </a:lnTo>
                      <a:lnTo>
                        <a:pt x="466915" y="18181"/>
                      </a:lnTo>
                      <a:lnTo>
                        <a:pt x="434979" y="120"/>
                      </a:lnTo>
                      <a:lnTo>
                        <a:pt x="434619" y="0"/>
                      </a:lnTo>
                      <a:lnTo>
                        <a:pt x="434320" y="120"/>
                      </a:lnTo>
                      <a:lnTo>
                        <a:pt x="424213" y="4785"/>
                      </a:lnTo>
                      <a:lnTo>
                        <a:pt x="369429" y="30083"/>
                      </a:lnTo>
                      <a:lnTo>
                        <a:pt x="328462" y="48982"/>
                      </a:lnTo>
                      <a:lnTo>
                        <a:pt x="271465" y="75297"/>
                      </a:lnTo>
                      <a:lnTo>
                        <a:pt x="259145" y="80979"/>
                      </a:lnTo>
                      <a:lnTo>
                        <a:pt x="179422" y="117761"/>
                      </a:lnTo>
                      <a:lnTo>
                        <a:pt x="122546" y="144016"/>
                      </a:lnTo>
                      <a:lnTo>
                        <a:pt x="49401" y="177807"/>
                      </a:lnTo>
                      <a:lnTo>
                        <a:pt x="31340" y="186120"/>
                      </a:lnTo>
                      <a:lnTo>
                        <a:pt x="31280" y="186180"/>
                      </a:lnTo>
                      <a:lnTo>
                        <a:pt x="31220" y="186180"/>
                      </a:lnTo>
                      <a:lnTo>
                        <a:pt x="31100" y="186180"/>
                      </a:lnTo>
                      <a:lnTo>
                        <a:pt x="30801" y="186598"/>
                      </a:lnTo>
                      <a:lnTo>
                        <a:pt x="30801" y="186658"/>
                      </a:lnTo>
                      <a:lnTo>
                        <a:pt x="30621" y="187017"/>
                      </a:lnTo>
                      <a:lnTo>
                        <a:pt x="30621" y="187137"/>
                      </a:lnTo>
                      <a:lnTo>
                        <a:pt x="30621" y="187197"/>
                      </a:lnTo>
                      <a:lnTo>
                        <a:pt x="30621" y="187257"/>
                      </a:lnTo>
                      <a:lnTo>
                        <a:pt x="29545" y="206335"/>
                      </a:lnTo>
                      <a:lnTo>
                        <a:pt x="27033" y="249277"/>
                      </a:lnTo>
                      <a:lnTo>
                        <a:pt x="27093" y="249336"/>
                      </a:lnTo>
                      <a:lnTo>
                        <a:pt x="27093" y="249516"/>
                      </a:lnTo>
                      <a:lnTo>
                        <a:pt x="27153" y="249695"/>
                      </a:lnTo>
                      <a:lnTo>
                        <a:pt x="27272" y="249875"/>
                      </a:lnTo>
                      <a:lnTo>
                        <a:pt x="27392" y="249994"/>
                      </a:lnTo>
                      <a:lnTo>
                        <a:pt x="27452" y="250054"/>
                      </a:lnTo>
                      <a:lnTo>
                        <a:pt x="66327" y="275651"/>
                      </a:lnTo>
                      <a:lnTo>
                        <a:pt x="115728" y="308246"/>
                      </a:lnTo>
                      <a:lnTo>
                        <a:pt x="84687" y="326009"/>
                      </a:lnTo>
                      <a:lnTo>
                        <a:pt x="80800" y="323437"/>
                      </a:lnTo>
                      <a:lnTo>
                        <a:pt x="43600" y="298618"/>
                      </a:lnTo>
                      <a:lnTo>
                        <a:pt x="43480" y="298618"/>
                      </a:lnTo>
                      <a:lnTo>
                        <a:pt x="43301" y="298558"/>
                      </a:lnTo>
                      <a:lnTo>
                        <a:pt x="43181" y="298558"/>
                      </a:lnTo>
                      <a:lnTo>
                        <a:pt x="43002" y="298558"/>
                      </a:lnTo>
                      <a:lnTo>
                        <a:pt x="42822" y="298618"/>
                      </a:lnTo>
                      <a:lnTo>
                        <a:pt x="42762" y="298677"/>
                      </a:lnTo>
                      <a:lnTo>
                        <a:pt x="25119" y="308127"/>
                      </a:lnTo>
                      <a:lnTo>
                        <a:pt x="25000" y="308187"/>
                      </a:lnTo>
                      <a:lnTo>
                        <a:pt x="24940" y="308246"/>
                      </a:lnTo>
                      <a:lnTo>
                        <a:pt x="24641" y="308545"/>
                      </a:lnTo>
                      <a:lnTo>
                        <a:pt x="24641" y="308605"/>
                      </a:lnTo>
                      <a:lnTo>
                        <a:pt x="24522" y="309084"/>
                      </a:lnTo>
                      <a:lnTo>
                        <a:pt x="24462" y="309203"/>
                      </a:lnTo>
                      <a:lnTo>
                        <a:pt x="24462" y="309263"/>
                      </a:lnTo>
                      <a:lnTo>
                        <a:pt x="21352" y="363090"/>
                      </a:lnTo>
                      <a:lnTo>
                        <a:pt x="20335" y="380314"/>
                      </a:lnTo>
                      <a:lnTo>
                        <a:pt x="18720" y="407108"/>
                      </a:lnTo>
                      <a:lnTo>
                        <a:pt x="15131" y="469068"/>
                      </a:lnTo>
                      <a:lnTo>
                        <a:pt x="13397" y="498134"/>
                      </a:lnTo>
                      <a:lnTo>
                        <a:pt x="12560" y="513146"/>
                      </a:lnTo>
                      <a:lnTo>
                        <a:pt x="11483" y="530849"/>
                      </a:lnTo>
                      <a:lnTo>
                        <a:pt x="8553" y="581087"/>
                      </a:lnTo>
                      <a:lnTo>
                        <a:pt x="4845" y="644782"/>
                      </a:lnTo>
                      <a:lnTo>
                        <a:pt x="2213" y="689577"/>
                      </a:lnTo>
                      <a:lnTo>
                        <a:pt x="718" y="715474"/>
                      </a:lnTo>
                      <a:lnTo>
                        <a:pt x="0" y="727136"/>
                      </a:lnTo>
                      <a:lnTo>
                        <a:pt x="60" y="727136"/>
                      </a:lnTo>
                      <a:lnTo>
                        <a:pt x="60" y="727375"/>
                      </a:lnTo>
                      <a:lnTo>
                        <a:pt x="60" y="727495"/>
                      </a:lnTo>
                      <a:lnTo>
                        <a:pt x="180" y="727615"/>
                      </a:lnTo>
                      <a:lnTo>
                        <a:pt x="239" y="727734"/>
                      </a:lnTo>
                      <a:lnTo>
                        <a:pt x="28708" y="749265"/>
                      </a:lnTo>
                      <a:lnTo>
                        <a:pt x="82415" y="789993"/>
                      </a:lnTo>
                      <a:lnTo>
                        <a:pt x="110345" y="811285"/>
                      </a:lnTo>
                      <a:lnTo>
                        <a:pt x="140069" y="833772"/>
                      </a:lnTo>
                      <a:lnTo>
                        <a:pt x="196228" y="876355"/>
                      </a:lnTo>
                      <a:lnTo>
                        <a:pt x="225474" y="898544"/>
                      </a:lnTo>
                      <a:lnTo>
                        <a:pt x="256573" y="922108"/>
                      </a:lnTo>
                      <a:lnTo>
                        <a:pt x="315364" y="966664"/>
                      </a:lnTo>
                      <a:lnTo>
                        <a:pt x="346045" y="989869"/>
                      </a:lnTo>
                      <a:lnTo>
                        <a:pt x="346104" y="989929"/>
                      </a:lnTo>
                      <a:lnTo>
                        <a:pt x="346224" y="989989"/>
                      </a:lnTo>
                      <a:lnTo>
                        <a:pt x="346344" y="989989"/>
                      </a:lnTo>
                      <a:lnTo>
                        <a:pt x="346464" y="989989"/>
                      </a:lnTo>
                      <a:lnTo>
                        <a:pt x="346523" y="989989"/>
                      </a:lnTo>
                      <a:lnTo>
                        <a:pt x="346643" y="989929"/>
                      </a:lnTo>
                      <a:lnTo>
                        <a:pt x="346763" y="989929"/>
                      </a:lnTo>
                      <a:lnTo>
                        <a:pt x="346763" y="989869"/>
                      </a:lnTo>
                      <a:lnTo>
                        <a:pt x="346882" y="989750"/>
                      </a:lnTo>
                      <a:lnTo>
                        <a:pt x="347002" y="989630"/>
                      </a:lnTo>
                      <a:lnTo>
                        <a:pt x="358425" y="975516"/>
                      </a:lnTo>
                      <a:lnTo>
                        <a:pt x="408184" y="913974"/>
                      </a:lnTo>
                      <a:lnTo>
                        <a:pt x="442753" y="871272"/>
                      </a:lnTo>
                      <a:lnTo>
                        <a:pt x="505790" y="793283"/>
                      </a:lnTo>
                      <a:lnTo>
                        <a:pt x="511412" y="786285"/>
                      </a:lnTo>
                      <a:lnTo>
                        <a:pt x="535216" y="756920"/>
                      </a:lnTo>
                      <a:lnTo>
                        <a:pt x="563025" y="722531"/>
                      </a:lnTo>
                      <a:lnTo>
                        <a:pt x="600644" y="676001"/>
                      </a:lnTo>
                      <a:lnTo>
                        <a:pt x="606984" y="667807"/>
                      </a:lnTo>
                    </a:path>
                  </a:pathLst>
                </a:custGeom>
                <a:noFill/>
                <a:ln w="6350" cap="flat">
                  <a:solidFill>
                    <a:schemeClr val="bg1">
                      <a:alpha val="40000"/>
                    </a:schemeClr>
                  </a:solidFill>
                  <a:prstDash val="solid"/>
                  <a:miter/>
                </a:ln>
              </p:spPr>
              <p:txBody>
                <a:bodyPr rtlCol="0" anchor="ctr"/>
                <a:lstStyle/>
                <a:p>
                  <a:endParaRPr lang="en-GB"/>
                </a:p>
              </p:txBody>
            </p:sp>
            <p:grpSp>
              <p:nvGrpSpPr>
                <p:cNvPr id="7176" name="Graphic 3">
                  <a:extLst>
                    <a:ext uri="{FF2B5EF4-FFF2-40B4-BE49-F238E27FC236}">
                      <a16:creationId xmlns:a16="http://schemas.microsoft.com/office/drawing/2014/main" id="{1F62F809-B01C-48EA-B350-04D5A4B14E9B}"/>
                    </a:ext>
                  </a:extLst>
                </p:cNvPr>
                <p:cNvGrpSpPr/>
                <p:nvPr/>
              </p:nvGrpSpPr>
              <p:grpSpPr>
                <a:xfrm>
                  <a:off x="6456099" y="4685214"/>
                  <a:ext cx="564031" cy="1174733"/>
                  <a:chOff x="6456099" y="4685214"/>
                  <a:chExt cx="564031" cy="1174733"/>
                </a:xfrm>
                <a:noFill/>
              </p:grpSpPr>
              <p:grpSp>
                <p:nvGrpSpPr>
                  <p:cNvPr id="7177" name="Graphic 3">
                    <a:extLst>
                      <a:ext uri="{FF2B5EF4-FFF2-40B4-BE49-F238E27FC236}">
                        <a16:creationId xmlns:a16="http://schemas.microsoft.com/office/drawing/2014/main" id="{52473D31-3B6C-4147-BDC6-9722F4AAB2D7}"/>
                      </a:ext>
                    </a:extLst>
                  </p:cNvPr>
                  <p:cNvGrpSpPr/>
                  <p:nvPr/>
                </p:nvGrpSpPr>
                <p:grpSpPr>
                  <a:xfrm>
                    <a:off x="6467512" y="4736233"/>
                    <a:ext cx="552618" cy="1123714"/>
                    <a:chOff x="6467512" y="4736233"/>
                    <a:chExt cx="552618" cy="1123714"/>
                  </a:xfrm>
                  <a:grpFill/>
                </p:grpSpPr>
                <p:grpSp>
                  <p:nvGrpSpPr>
                    <p:cNvPr id="7179" name="Graphic 3">
                      <a:extLst>
                        <a:ext uri="{FF2B5EF4-FFF2-40B4-BE49-F238E27FC236}">
                          <a16:creationId xmlns:a16="http://schemas.microsoft.com/office/drawing/2014/main" id="{DE7464CD-D2B7-4017-BB60-83790F813064}"/>
                        </a:ext>
                      </a:extLst>
                    </p:cNvPr>
                    <p:cNvGrpSpPr/>
                    <p:nvPr/>
                  </p:nvGrpSpPr>
                  <p:grpSpPr>
                    <a:xfrm>
                      <a:off x="6858610" y="5671311"/>
                      <a:ext cx="143677" cy="97157"/>
                      <a:chOff x="6858610" y="5671311"/>
                      <a:chExt cx="143677" cy="97157"/>
                    </a:xfrm>
                    <a:grpFill/>
                  </p:grpSpPr>
                  <p:sp>
                    <p:nvSpPr>
                      <p:cNvPr id="7186" name="Vrije vorm: vorm 7185">
                        <a:extLst>
                          <a:ext uri="{FF2B5EF4-FFF2-40B4-BE49-F238E27FC236}">
                            <a16:creationId xmlns:a16="http://schemas.microsoft.com/office/drawing/2014/main" id="{4E2C6A6C-4AE5-4927-B57B-B3A5D2396ADB}"/>
                          </a:ext>
                        </a:extLst>
                      </p:cNvPr>
                      <p:cNvSpPr/>
                      <p:nvPr/>
                    </p:nvSpPr>
                    <p:spPr>
                      <a:xfrm>
                        <a:off x="6910280" y="5694526"/>
                        <a:ext cx="24146" cy="14590"/>
                      </a:xfrm>
                      <a:custGeom>
                        <a:avLst/>
                        <a:gdLst>
                          <a:gd name="connsiteX0" fmla="*/ 16372 w 24146"/>
                          <a:gd name="connsiteY0" fmla="*/ 10344 h 14590"/>
                          <a:gd name="connsiteX1" fmla="*/ 19242 w 24146"/>
                          <a:gd name="connsiteY1" fmla="*/ 9507 h 14590"/>
                          <a:gd name="connsiteX2" fmla="*/ 24147 w 24146"/>
                          <a:gd name="connsiteY2" fmla="*/ 5141 h 14590"/>
                          <a:gd name="connsiteX3" fmla="*/ 8717 w 24146"/>
                          <a:gd name="connsiteY3" fmla="*/ 895 h 14590"/>
                          <a:gd name="connsiteX4" fmla="*/ 44 w 24146"/>
                          <a:gd name="connsiteY4" fmla="*/ 14591 h 14590"/>
                          <a:gd name="connsiteX5" fmla="*/ 6145 w 24146"/>
                          <a:gd name="connsiteY5" fmla="*/ 14591 h 14590"/>
                          <a:gd name="connsiteX6" fmla="*/ 9315 w 24146"/>
                          <a:gd name="connsiteY6" fmla="*/ 13036 h 1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6" h="14590">
                            <a:moveTo>
                              <a:pt x="16372" y="10344"/>
                            </a:moveTo>
                            <a:cubicBezTo>
                              <a:pt x="17329" y="10046"/>
                              <a:pt x="18286" y="9747"/>
                              <a:pt x="19242" y="9507"/>
                            </a:cubicBezTo>
                            <a:lnTo>
                              <a:pt x="24147" y="5141"/>
                            </a:lnTo>
                            <a:cubicBezTo>
                              <a:pt x="20559" y="596"/>
                              <a:pt x="14398" y="-1258"/>
                              <a:pt x="8717" y="895"/>
                            </a:cubicBezTo>
                            <a:cubicBezTo>
                              <a:pt x="2975" y="3048"/>
                              <a:pt x="-434" y="8730"/>
                              <a:pt x="44" y="14591"/>
                            </a:cubicBezTo>
                            <a:lnTo>
                              <a:pt x="6145" y="14591"/>
                            </a:lnTo>
                            <a:cubicBezTo>
                              <a:pt x="7162" y="14052"/>
                              <a:pt x="8238" y="13514"/>
                              <a:pt x="9315" y="13036"/>
                            </a:cubicBezTo>
                          </a:path>
                        </a:pathLst>
                      </a:custGeom>
                      <a:grpFill/>
                      <a:ln w="6350" cap="flat">
                        <a:solidFill>
                          <a:schemeClr val="bg1">
                            <a:alpha val="40000"/>
                          </a:schemeClr>
                        </a:solidFill>
                        <a:prstDash val="solid"/>
                        <a:miter/>
                      </a:ln>
                    </p:spPr>
                    <p:txBody>
                      <a:bodyPr rtlCol="0" anchor="ctr"/>
                      <a:lstStyle/>
                      <a:p>
                        <a:endParaRPr lang="en-GB"/>
                      </a:p>
                    </p:txBody>
                  </p:sp>
                  <p:sp>
                    <p:nvSpPr>
                      <p:cNvPr id="7187" name="Vrije vorm: vorm 7186">
                        <a:extLst>
                          <a:ext uri="{FF2B5EF4-FFF2-40B4-BE49-F238E27FC236}">
                            <a16:creationId xmlns:a16="http://schemas.microsoft.com/office/drawing/2014/main" id="{DAB1460C-88FF-41B2-BC5F-E84D9ED4FA2D}"/>
                          </a:ext>
                        </a:extLst>
                      </p:cNvPr>
                      <p:cNvSpPr/>
                      <p:nvPr/>
                    </p:nvSpPr>
                    <p:spPr>
                      <a:xfrm>
                        <a:off x="6935992" y="5680113"/>
                        <a:ext cx="6379" cy="16982"/>
                      </a:xfrm>
                      <a:custGeom>
                        <a:avLst/>
                        <a:gdLst>
                          <a:gd name="connsiteX0" fmla="*/ 5134 w 6379"/>
                          <a:gd name="connsiteY0" fmla="*/ 2270 h 16982"/>
                          <a:gd name="connsiteX1" fmla="*/ 5791 w 6379"/>
                          <a:gd name="connsiteY1" fmla="*/ 715 h 16982"/>
                          <a:gd name="connsiteX2" fmla="*/ 2383 w 6379"/>
                          <a:gd name="connsiteY2" fmla="*/ 356 h 16982"/>
                          <a:gd name="connsiteX3" fmla="*/ 50 w 6379"/>
                          <a:gd name="connsiteY3" fmla="*/ 2868 h 16982"/>
                          <a:gd name="connsiteX4" fmla="*/ 1426 w 6379"/>
                          <a:gd name="connsiteY4" fmla="*/ 3586 h 16982"/>
                          <a:gd name="connsiteX5" fmla="*/ 1485 w 6379"/>
                          <a:gd name="connsiteY5" fmla="*/ 16982 h 16982"/>
                          <a:gd name="connsiteX6" fmla="*/ 6210 w 6379"/>
                          <a:gd name="connsiteY6" fmla="*/ 12796 h 16982"/>
                          <a:gd name="connsiteX7" fmla="*/ 5134 w 6379"/>
                          <a:gd name="connsiteY7" fmla="*/ 2270 h 16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79" h="16982">
                            <a:moveTo>
                              <a:pt x="5134" y="2270"/>
                            </a:moveTo>
                            <a:cubicBezTo>
                              <a:pt x="5672" y="1732"/>
                              <a:pt x="5971" y="1193"/>
                              <a:pt x="5791" y="715"/>
                            </a:cubicBezTo>
                            <a:cubicBezTo>
                              <a:pt x="5492" y="-63"/>
                              <a:pt x="3997" y="-242"/>
                              <a:pt x="2383" y="356"/>
                            </a:cubicBezTo>
                            <a:cubicBezTo>
                              <a:pt x="828" y="954"/>
                              <a:pt x="-249" y="2090"/>
                              <a:pt x="50" y="2868"/>
                            </a:cubicBezTo>
                            <a:cubicBezTo>
                              <a:pt x="230" y="3287"/>
                              <a:pt x="768" y="3526"/>
                              <a:pt x="1426" y="3586"/>
                            </a:cubicBezTo>
                            <a:cubicBezTo>
                              <a:pt x="2861" y="8071"/>
                              <a:pt x="2801" y="12736"/>
                              <a:pt x="1485" y="16982"/>
                            </a:cubicBezTo>
                            <a:lnTo>
                              <a:pt x="6210" y="12796"/>
                            </a:lnTo>
                            <a:cubicBezTo>
                              <a:pt x="6629" y="9267"/>
                              <a:pt x="6270" y="5739"/>
                              <a:pt x="5134" y="227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188" name="Vrije vorm: vorm 7187">
                        <a:extLst>
                          <a:ext uri="{FF2B5EF4-FFF2-40B4-BE49-F238E27FC236}">
                            <a16:creationId xmlns:a16="http://schemas.microsoft.com/office/drawing/2014/main" id="{18966419-BC55-4EB6-8C1A-322DD4B973D0}"/>
                          </a:ext>
                        </a:extLst>
                      </p:cNvPr>
                      <p:cNvSpPr/>
                      <p:nvPr/>
                    </p:nvSpPr>
                    <p:spPr>
                      <a:xfrm>
                        <a:off x="6890838" y="5697278"/>
                        <a:ext cx="13626" cy="11958"/>
                      </a:xfrm>
                      <a:custGeom>
                        <a:avLst/>
                        <a:gdLst>
                          <a:gd name="connsiteX0" fmla="*/ 5193 w 13626"/>
                          <a:gd name="connsiteY0" fmla="*/ 2150 h 11958"/>
                          <a:gd name="connsiteX1" fmla="*/ 5791 w 13626"/>
                          <a:gd name="connsiteY1" fmla="*/ 715 h 11958"/>
                          <a:gd name="connsiteX2" fmla="*/ 2382 w 13626"/>
                          <a:gd name="connsiteY2" fmla="*/ 356 h 11958"/>
                          <a:gd name="connsiteX3" fmla="*/ 50 w 13626"/>
                          <a:gd name="connsiteY3" fmla="*/ 2868 h 11958"/>
                          <a:gd name="connsiteX4" fmla="*/ 1605 w 13626"/>
                          <a:gd name="connsiteY4" fmla="*/ 3586 h 11958"/>
                          <a:gd name="connsiteX5" fmla="*/ 7406 w 13626"/>
                          <a:gd name="connsiteY5" fmla="*/ 11959 h 11958"/>
                          <a:gd name="connsiteX6" fmla="*/ 13626 w 13626"/>
                          <a:gd name="connsiteY6" fmla="*/ 11959 h 11958"/>
                          <a:gd name="connsiteX7" fmla="*/ 5193 w 13626"/>
                          <a:gd name="connsiteY7" fmla="*/ 2150 h 1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26" h="11958">
                            <a:moveTo>
                              <a:pt x="5193" y="2150"/>
                            </a:moveTo>
                            <a:cubicBezTo>
                              <a:pt x="5672" y="1672"/>
                              <a:pt x="5971" y="1134"/>
                              <a:pt x="5791" y="715"/>
                            </a:cubicBezTo>
                            <a:cubicBezTo>
                              <a:pt x="5493" y="-63"/>
                              <a:pt x="3997" y="-242"/>
                              <a:pt x="2382" y="356"/>
                            </a:cubicBezTo>
                            <a:cubicBezTo>
                              <a:pt x="827" y="954"/>
                              <a:pt x="-249" y="2090"/>
                              <a:pt x="50" y="2868"/>
                            </a:cubicBezTo>
                            <a:cubicBezTo>
                              <a:pt x="229" y="3346"/>
                              <a:pt x="827" y="3586"/>
                              <a:pt x="1605" y="3586"/>
                            </a:cubicBezTo>
                            <a:cubicBezTo>
                              <a:pt x="2980" y="6815"/>
                              <a:pt x="5014" y="9626"/>
                              <a:pt x="7406" y="11959"/>
                            </a:cubicBezTo>
                            <a:lnTo>
                              <a:pt x="13626" y="11959"/>
                            </a:lnTo>
                            <a:cubicBezTo>
                              <a:pt x="10038" y="9626"/>
                              <a:pt x="7048" y="6277"/>
                              <a:pt x="5193" y="215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189" name="Vrije vorm: vorm 7188">
                        <a:extLst>
                          <a:ext uri="{FF2B5EF4-FFF2-40B4-BE49-F238E27FC236}">
                            <a16:creationId xmlns:a16="http://schemas.microsoft.com/office/drawing/2014/main" id="{BE7D434B-0962-4057-8B56-5F48D9E4D4C9}"/>
                          </a:ext>
                        </a:extLst>
                      </p:cNvPr>
                      <p:cNvSpPr/>
                      <p:nvPr/>
                    </p:nvSpPr>
                    <p:spPr>
                      <a:xfrm>
                        <a:off x="6971511" y="5706358"/>
                        <a:ext cx="8968" cy="4673"/>
                      </a:xfrm>
                      <a:custGeom>
                        <a:avLst/>
                        <a:gdLst>
                          <a:gd name="connsiteX0" fmla="*/ 7473 w 8968"/>
                          <a:gd name="connsiteY0" fmla="*/ 845 h 4673"/>
                          <a:gd name="connsiteX1" fmla="*/ 3107 w 8968"/>
                          <a:gd name="connsiteY1" fmla="*/ 487 h 4673"/>
                          <a:gd name="connsiteX2" fmla="*/ 57 w 8968"/>
                          <a:gd name="connsiteY2" fmla="*/ 3656 h 4673"/>
                          <a:gd name="connsiteX3" fmla="*/ 356 w 8968"/>
                          <a:gd name="connsiteY3" fmla="*/ 4374 h 4673"/>
                          <a:gd name="connsiteX4" fmla="*/ 8968 w 8968"/>
                          <a:gd name="connsiteY4" fmla="*/ 4673 h 4673"/>
                          <a:gd name="connsiteX5" fmla="*/ 7473 w 8968"/>
                          <a:gd name="connsiteY5" fmla="*/ 845 h 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8" h="4673">
                            <a:moveTo>
                              <a:pt x="7473" y="845"/>
                            </a:moveTo>
                            <a:cubicBezTo>
                              <a:pt x="7114" y="-111"/>
                              <a:pt x="5140" y="-291"/>
                              <a:pt x="3107" y="487"/>
                            </a:cubicBezTo>
                            <a:cubicBezTo>
                              <a:pt x="1074" y="1264"/>
                              <a:pt x="-302" y="2699"/>
                              <a:pt x="57" y="3656"/>
                            </a:cubicBezTo>
                            <a:lnTo>
                              <a:pt x="356" y="4374"/>
                            </a:lnTo>
                            <a:lnTo>
                              <a:pt x="8968" y="4673"/>
                            </a:lnTo>
                            <a:lnTo>
                              <a:pt x="7473" y="845"/>
                            </a:lnTo>
                            <a:close/>
                          </a:path>
                        </a:pathLst>
                      </a:custGeom>
                      <a:grpFill/>
                      <a:ln w="6350" cap="flat">
                        <a:solidFill>
                          <a:schemeClr val="bg1">
                            <a:alpha val="40000"/>
                          </a:schemeClr>
                        </a:solidFill>
                        <a:prstDash val="solid"/>
                        <a:miter/>
                      </a:ln>
                    </p:spPr>
                    <p:txBody>
                      <a:bodyPr rtlCol="0" anchor="ctr"/>
                      <a:lstStyle/>
                      <a:p>
                        <a:endParaRPr lang="en-GB"/>
                      </a:p>
                    </p:txBody>
                  </p:sp>
                  <p:sp>
                    <p:nvSpPr>
                      <p:cNvPr id="7190" name="Vrije vorm: vorm 7189">
                        <a:extLst>
                          <a:ext uri="{FF2B5EF4-FFF2-40B4-BE49-F238E27FC236}">
                            <a16:creationId xmlns:a16="http://schemas.microsoft.com/office/drawing/2014/main" id="{B2D9BC52-E1DA-4846-972B-3B78CD34B00D}"/>
                          </a:ext>
                        </a:extLst>
                      </p:cNvPr>
                      <p:cNvSpPr/>
                      <p:nvPr/>
                    </p:nvSpPr>
                    <p:spPr>
                      <a:xfrm>
                        <a:off x="6882697" y="5740029"/>
                        <a:ext cx="7472" cy="6885"/>
                      </a:xfrm>
                      <a:custGeom>
                        <a:avLst/>
                        <a:gdLst>
                          <a:gd name="connsiteX0" fmla="*/ 7473 w 7472"/>
                          <a:gd name="connsiteY0" fmla="*/ 845 h 6885"/>
                          <a:gd name="connsiteX1" fmla="*/ 3107 w 7472"/>
                          <a:gd name="connsiteY1" fmla="*/ 487 h 6885"/>
                          <a:gd name="connsiteX2" fmla="*/ 57 w 7472"/>
                          <a:gd name="connsiteY2" fmla="*/ 3656 h 6885"/>
                          <a:gd name="connsiteX3" fmla="*/ 1253 w 7472"/>
                          <a:gd name="connsiteY3" fmla="*/ 6886 h 6885"/>
                          <a:gd name="connsiteX4" fmla="*/ 7473 w 7472"/>
                          <a:gd name="connsiteY4" fmla="*/ 965 h 6885"/>
                          <a:gd name="connsiteX5" fmla="*/ 7473 w 7472"/>
                          <a:gd name="connsiteY5" fmla="*/ 845 h 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72" h="6885">
                            <a:moveTo>
                              <a:pt x="7473" y="845"/>
                            </a:moveTo>
                            <a:cubicBezTo>
                              <a:pt x="7114" y="-111"/>
                              <a:pt x="5140" y="-291"/>
                              <a:pt x="3107" y="487"/>
                            </a:cubicBezTo>
                            <a:cubicBezTo>
                              <a:pt x="1074" y="1264"/>
                              <a:pt x="-302" y="2699"/>
                              <a:pt x="57" y="3656"/>
                            </a:cubicBezTo>
                            <a:lnTo>
                              <a:pt x="1253" y="6886"/>
                            </a:lnTo>
                            <a:lnTo>
                              <a:pt x="7473" y="965"/>
                            </a:lnTo>
                            <a:lnTo>
                              <a:pt x="7473" y="845"/>
                            </a:lnTo>
                            <a:close/>
                          </a:path>
                        </a:pathLst>
                      </a:custGeom>
                      <a:grpFill/>
                      <a:ln w="6350" cap="flat">
                        <a:solidFill>
                          <a:schemeClr val="bg1">
                            <a:alpha val="40000"/>
                          </a:schemeClr>
                        </a:solidFill>
                        <a:prstDash val="solid"/>
                        <a:miter/>
                      </a:ln>
                    </p:spPr>
                    <p:txBody>
                      <a:bodyPr rtlCol="0" anchor="ctr"/>
                      <a:lstStyle/>
                      <a:p>
                        <a:endParaRPr lang="en-GB"/>
                      </a:p>
                    </p:txBody>
                  </p:sp>
                  <p:sp>
                    <p:nvSpPr>
                      <p:cNvPr id="7191" name="Vrije vorm: vorm 7190">
                        <a:extLst>
                          <a:ext uri="{FF2B5EF4-FFF2-40B4-BE49-F238E27FC236}">
                            <a16:creationId xmlns:a16="http://schemas.microsoft.com/office/drawing/2014/main" id="{81153149-427C-4E3E-95C5-3435D4B4FCA7}"/>
                          </a:ext>
                        </a:extLst>
                      </p:cNvPr>
                      <p:cNvSpPr/>
                      <p:nvPr/>
                    </p:nvSpPr>
                    <p:spPr>
                      <a:xfrm>
                        <a:off x="6873203" y="5728196"/>
                        <a:ext cx="47587" cy="40272"/>
                      </a:xfrm>
                      <a:custGeom>
                        <a:avLst/>
                        <a:gdLst>
                          <a:gd name="connsiteX0" fmla="*/ 23725 w 47587"/>
                          <a:gd name="connsiteY0" fmla="*/ 32655 h 40272"/>
                          <a:gd name="connsiteX1" fmla="*/ 29227 w 47587"/>
                          <a:gd name="connsiteY1" fmla="*/ 30980 h 40272"/>
                          <a:gd name="connsiteX2" fmla="*/ 40172 w 47587"/>
                          <a:gd name="connsiteY2" fmla="*/ 24401 h 40272"/>
                          <a:gd name="connsiteX3" fmla="*/ 27433 w 47587"/>
                          <a:gd name="connsiteY3" fmla="*/ 26136 h 40272"/>
                          <a:gd name="connsiteX4" fmla="*/ 22887 w 47587"/>
                          <a:gd name="connsiteY4" fmla="*/ 28109 h 40272"/>
                          <a:gd name="connsiteX5" fmla="*/ 21990 w 47587"/>
                          <a:gd name="connsiteY5" fmla="*/ 25717 h 40272"/>
                          <a:gd name="connsiteX6" fmla="*/ 24802 w 47587"/>
                          <a:gd name="connsiteY6" fmla="*/ 24461 h 40272"/>
                          <a:gd name="connsiteX7" fmla="*/ 47588 w 47587"/>
                          <a:gd name="connsiteY7" fmla="*/ 4785 h 40272"/>
                          <a:gd name="connsiteX8" fmla="*/ 35686 w 47587"/>
                          <a:gd name="connsiteY8" fmla="*/ 0 h 40272"/>
                          <a:gd name="connsiteX9" fmla="*/ 11883 w 47587"/>
                          <a:gd name="connsiteY9" fmla="*/ 22547 h 40272"/>
                          <a:gd name="connsiteX10" fmla="*/ 11524 w 47587"/>
                          <a:gd name="connsiteY10" fmla="*/ 29485 h 40272"/>
                          <a:gd name="connsiteX11" fmla="*/ 14574 w 47587"/>
                          <a:gd name="connsiteY11" fmla="*/ 28528 h 40272"/>
                          <a:gd name="connsiteX12" fmla="*/ 15471 w 47587"/>
                          <a:gd name="connsiteY12" fmla="*/ 30920 h 40272"/>
                          <a:gd name="connsiteX13" fmla="*/ 10746 w 47587"/>
                          <a:gd name="connsiteY13" fmla="*/ 32475 h 40272"/>
                          <a:gd name="connsiteX14" fmla="*/ 41 w 47587"/>
                          <a:gd name="connsiteY14" fmla="*/ 39652 h 40272"/>
                          <a:gd name="connsiteX15" fmla="*/ 12541 w 47587"/>
                          <a:gd name="connsiteY15" fmla="*/ 37320 h 40272"/>
                          <a:gd name="connsiteX16" fmla="*/ 17804 w 47587"/>
                          <a:gd name="connsiteY16" fmla="*/ 34927 h 40272"/>
                          <a:gd name="connsiteX17" fmla="*/ 21273 w 47587"/>
                          <a:gd name="connsiteY17" fmla="*/ 35824 h 40272"/>
                          <a:gd name="connsiteX18" fmla="*/ 21572 w 47587"/>
                          <a:gd name="connsiteY18" fmla="*/ 35824 h 40272"/>
                          <a:gd name="connsiteX19" fmla="*/ 21811 w 47587"/>
                          <a:gd name="connsiteY19" fmla="*/ 35645 h 40272"/>
                          <a:gd name="connsiteX20" fmla="*/ 23725 w 47587"/>
                          <a:gd name="connsiteY20" fmla="*/ 32655 h 4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587" h="40272">
                            <a:moveTo>
                              <a:pt x="23725" y="32655"/>
                            </a:moveTo>
                            <a:cubicBezTo>
                              <a:pt x="25340" y="32296"/>
                              <a:pt x="27193" y="31758"/>
                              <a:pt x="29227" y="30980"/>
                            </a:cubicBezTo>
                            <a:cubicBezTo>
                              <a:pt x="35686" y="28528"/>
                              <a:pt x="40710" y="25897"/>
                              <a:pt x="40172" y="24401"/>
                            </a:cubicBezTo>
                            <a:cubicBezTo>
                              <a:pt x="39634" y="22906"/>
                              <a:pt x="33892" y="23684"/>
                              <a:pt x="27433" y="26136"/>
                            </a:cubicBezTo>
                            <a:cubicBezTo>
                              <a:pt x="25758" y="26794"/>
                              <a:pt x="24203" y="27451"/>
                              <a:pt x="22887" y="28109"/>
                            </a:cubicBezTo>
                            <a:lnTo>
                              <a:pt x="21990" y="25717"/>
                            </a:lnTo>
                            <a:cubicBezTo>
                              <a:pt x="22887" y="25298"/>
                              <a:pt x="23785" y="24880"/>
                              <a:pt x="24802" y="24461"/>
                            </a:cubicBezTo>
                            <a:lnTo>
                              <a:pt x="47588" y="4785"/>
                            </a:lnTo>
                            <a:cubicBezTo>
                              <a:pt x="42624" y="4306"/>
                              <a:pt x="38497" y="2392"/>
                              <a:pt x="35686" y="0"/>
                            </a:cubicBezTo>
                            <a:lnTo>
                              <a:pt x="11883" y="22547"/>
                            </a:lnTo>
                            <a:cubicBezTo>
                              <a:pt x="9850" y="24342"/>
                              <a:pt x="9730" y="27451"/>
                              <a:pt x="11524" y="29485"/>
                            </a:cubicBezTo>
                            <a:cubicBezTo>
                              <a:pt x="12601" y="29126"/>
                              <a:pt x="13618" y="28767"/>
                              <a:pt x="14574" y="28528"/>
                            </a:cubicBezTo>
                            <a:lnTo>
                              <a:pt x="15471" y="30920"/>
                            </a:lnTo>
                            <a:cubicBezTo>
                              <a:pt x="13976" y="31339"/>
                              <a:pt x="12361" y="31817"/>
                              <a:pt x="10746" y="32475"/>
                            </a:cubicBezTo>
                            <a:cubicBezTo>
                              <a:pt x="4287" y="34927"/>
                              <a:pt x="-497" y="38157"/>
                              <a:pt x="41" y="39652"/>
                            </a:cubicBezTo>
                            <a:cubicBezTo>
                              <a:pt x="579" y="41147"/>
                              <a:pt x="6082" y="39772"/>
                              <a:pt x="12541" y="37320"/>
                            </a:cubicBezTo>
                            <a:cubicBezTo>
                              <a:pt x="14634" y="36542"/>
                              <a:pt x="16369" y="35705"/>
                              <a:pt x="17804" y="34927"/>
                            </a:cubicBezTo>
                            <a:cubicBezTo>
                              <a:pt x="18940" y="35765"/>
                              <a:pt x="20615" y="35884"/>
                              <a:pt x="21273" y="35824"/>
                            </a:cubicBezTo>
                            <a:cubicBezTo>
                              <a:pt x="21452" y="35824"/>
                              <a:pt x="21572" y="35824"/>
                              <a:pt x="21572" y="35824"/>
                            </a:cubicBezTo>
                            <a:cubicBezTo>
                              <a:pt x="21572" y="35824"/>
                              <a:pt x="21632" y="35765"/>
                              <a:pt x="21811" y="35645"/>
                            </a:cubicBezTo>
                            <a:cubicBezTo>
                              <a:pt x="22289" y="35227"/>
                              <a:pt x="23485" y="34090"/>
                              <a:pt x="23725" y="3265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192" name="Vrije vorm: vorm 7191">
                        <a:extLst>
                          <a:ext uri="{FF2B5EF4-FFF2-40B4-BE49-F238E27FC236}">
                            <a16:creationId xmlns:a16="http://schemas.microsoft.com/office/drawing/2014/main" id="{21CA1DE3-6C88-466A-B859-3DA7E833DDAB}"/>
                          </a:ext>
                        </a:extLst>
                      </p:cNvPr>
                      <p:cNvSpPr/>
                      <p:nvPr/>
                    </p:nvSpPr>
                    <p:spPr>
                      <a:xfrm>
                        <a:off x="6942501" y="5713543"/>
                        <a:ext cx="59786" cy="21253"/>
                      </a:xfrm>
                      <a:custGeom>
                        <a:avLst/>
                        <a:gdLst>
                          <a:gd name="connsiteX0" fmla="*/ 43241 w 59786"/>
                          <a:gd name="connsiteY0" fmla="*/ 13636 h 21253"/>
                          <a:gd name="connsiteX1" fmla="*/ 48803 w 59786"/>
                          <a:gd name="connsiteY1" fmla="*/ 11961 h 21253"/>
                          <a:gd name="connsiteX2" fmla="*/ 59747 w 59786"/>
                          <a:gd name="connsiteY2" fmla="*/ 5383 h 21253"/>
                          <a:gd name="connsiteX3" fmla="*/ 47008 w 59786"/>
                          <a:gd name="connsiteY3" fmla="*/ 7117 h 21253"/>
                          <a:gd name="connsiteX4" fmla="*/ 42403 w 59786"/>
                          <a:gd name="connsiteY4" fmla="*/ 9091 h 21253"/>
                          <a:gd name="connsiteX5" fmla="*/ 41507 w 59786"/>
                          <a:gd name="connsiteY5" fmla="*/ 6698 h 21253"/>
                          <a:gd name="connsiteX6" fmla="*/ 43002 w 59786"/>
                          <a:gd name="connsiteY6" fmla="*/ 6041 h 21253"/>
                          <a:gd name="connsiteX7" fmla="*/ 43002 w 59786"/>
                          <a:gd name="connsiteY7" fmla="*/ 5981 h 21253"/>
                          <a:gd name="connsiteX8" fmla="*/ 38097 w 59786"/>
                          <a:gd name="connsiteY8" fmla="*/ 1017 h 21253"/>
                          <a:gd name="connsiteX9" fmla="*/ 5981 w 59786"/>
                          <a:gd name="connsiteY9" fmla="*/ 0 h 21253"/>
                          <a:gd name="connsiteX10" fmla="*/ 0 w 59786"/>
                          <a:gd name="connsiteY10" fmla="*/ 11423 h 21253"/>
                          <a:gd name="connsiteX11" fmla="*/ 29545 w 59786"/>
                          <a:gd name="connsiteY11" fmla="*/ 11005 h 21253"/>
                          <a:gd name="connsiteX12" fmla="*/ 34031 w 59786"/>
                          <a:gd name="connsiteY12" fmla="*/ 9510 h 21253"/>
                          <a:gd name="connsiteX13" fmla="*/ 34927 w 59786"/>
                          <a:gd name="connsiteY13" fmla="*/ 11902 h 21253"/>
                          <a:gd name="connsiteX14" fmla="*/ 30203 w 59786"/>
                          <a:gd name="connsiteY14" fmla="*/ 13457 h 21253"/>
                          <a:gd name="connsiteX15" fmla="*/ 19497 w 59786"/>
                          <a:gd name="connsiteY15" fmla="*/ 20634 h 21253"/>
                          <a:gd name="connsiteX16" fmla="*/ 31997 w 59786"/>
                          <a:gd name="connsiteY16" fmla="*/ 18301 h 21253"/>
                          <a:gd name="connsiteX17" fmla="*/ 37260 w 59786"/>
                          <a:gd name="connsiteY17" fmla="*/ 15909 h 21253"/>
                          <a:gd name="connsiteX18" fmla="*/ 40729 w 59786"/>
                          <a:gd name="connsiteY18" fmla="*/ 16806 h 21253"/>
                          <a:gd name="connsiteX19" fmla="*/ 41028 w 59786"/>
                          <a:gd name="connsiteY19" fmla="*/ 16806 h 21253"/>
                          <a:gd name="connsiteX20" fmla="*/ 41267 w 59786"/>
                          <a:gd name="connsiteY20" fmla="*/ 16627 h 21253"/>
                          <a:gd name="connsiteX21" fmla="*/ 43241 w 59786"/>
                          <a:gd name="connsiteY21" fmla="*/ 13636 h 2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786" h="21253">
                            <a:moveTo>
                              <a:pt x="43241" y="13636"/>
                            </a:moveTo>
                            <a:cubicBezTo>
                              <a:pt x="44855" y="13277"/>
                              <a:pt x="46710" y="12739"/>
                              <a:pt x="48803" y="11961"/>
                            </a:cubicBezTo>
                            <a:cubicBezTo>
                              <a:pt x="55262" y="9510"/>
                              <a:pt x="60285" y="6878"/>
                              <a:pt x="59747" y="5383"/>
                            </a:cubicBezTo>
                            <a:cubicBezTo>
                              <a:pt x="59209" y="3888"/>
                              <a:pt x="53468" y="4665"/>
                              <a:pt x="47008" y="7117"/>
                            </a:cubicBezTo>
                            <a:cubicBezTo>
                              <a:pt x="45334" y="7775"/>
                              <a:pt x="43779" y="8433"/>
                              <a:pt x="42403" y="9091"/>
                            </a:cubicBezTo>
                            <a:lnTo>
                              <a:pt x="41507" y="6698"/>
                            </a:lnTo>
                            <a:cubicBezTo>
                              <a:pt x="41985" y="6459"/>
                              <a:pt x="42463" y="6220"/>
                              <a:pt x="43002" y="6041"/>
                            </a:cubicBezTo>
                            <a:cubicBezTo>
                              <a:pt x="43002" y="6041"/>
                              <a:pt x="43002" y="6041"/>
                              <a:pt x="43002" y="5981"/>
                            </a:cubicBezTo>
                            <a:cubicBezTo>
                              <a:pt x="43002" y="3229"/>
                              <a:pt x="40848" y="1017"/>
                              <a:pt x="38097" y="1017"/>
                            </a:cubicBezTo>
                            <a:lnTo>
                              <a:pt x="5981" y="0"/>
                            </a:lnTo>
                            <a:cubicBezTo>
                              <a:pt x="5383" y="3648"/>
                              <a:pt x="3528" y="7835"/>
                              <a:pt x="0" y="11423"/>
                            </a:cubicBezTo>
                            <a:lnTo>
                              <a:pt x="29545" y="11005"/>
                            </a:lnTo>
                            <a:cubicBezTo>
                              <a:pt x="31100" y="10406"/>
                              <a:pt x="32595" y="9928"/>
                              <a:pt x="34031" y="9510"/>
                            </a:cubicBezTo>
                            <a:lnTo>
                              <a:pt x="34927" y="11902"/>
                            </a:lnTo>
                            <a:cubicBezTo>
                              <a:pt x="33432" y="12320"/>
                              <a:pt x="31818" y="12799"/>
                              <a:pt x="30203" y="13457"/>
                            </a:cubicBezTo>
                            <a:cubicBezTo>
                              <a:pt x="23743" y="15909"/>
                              <a:pt x="18959" y="19138"/>
                              <a:pt x="19497" y="20634"/>
                            </a:cubicBezTo>
                            <a:cubicBezTo>
                              <a:pt x="20035" y="22129"/>
                              <a:pt x="25538" y="20753"/>
                              <a:pt x="31997" y="18301"/>
                            </a:cubicBezTo>
                            <a:cubicBezTo>
                              <a:pt x="34091" y="17523"/>
                              <a:pt x="35824" y="16686"/>
                              <a:pt x="37260" y="15909"/>
                            </a:cubicBezTo>
                            <a:cubicBezTo>
                              <a:pt x="38397" y="16746"/>
                              <a:pt x="40071" y="16866"/>
                              <a:pt x="40729" y="16806"/>
                            </a:cubicBezTo>
                            <a:cubicBezTo>
                              <a:pt x="40908" y="16806"/>
                              <a:pt x="41028" y="16806"/>
                              <a:pt x="41028" y="16806"/>
                            </a:cubicBezTo>
                            <a:cubicBezTo>
                              <a:pt x="41028" y="16806"/>
                              <a:pt x="41088" y="16746"/>
                              <a:pt x="41267" y="16627"/>
                            </a:cubicBezTo>
                            <a:cubicBezTo>
                              <a:pt x="41805" y="16208"/>
                              <a:pt x="43002" y="15012"/>
                              <a:pt x="43241" y="1363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193" name="Vrije vorm: vorm 7192">
                        <a:extLst>
                          <a:ext uri="{FF2B5EF4-FFF2-40B4-BE49-F238E27FC236}">
                            <a16:creationId xmlns:a16="http://schemas.microsoft.com/office/drawing/2014/main" id="{6EAAE367-221F-4B0D-9DBA-1AAD27F2CE32}"/>
                          </a:ext>
                        </a:extLst>
                      </p:cNvPr>
                      <p:cNvSpPr/>
                      <p:nvPr/>
                    </p:nvSpPr>
                    <p:spPr>
                      <a:xfrm>
                        <a:off x="6867566" y="5705520"/>
                        <a:ext cx="8549" cy="5151"/>
                      </a:xfrm>
                      <a:custGeom>
                        <a:avLst/>
                        <a:gdLst>
                          <a:gd name="connsiteX0" fmla="*/ 5619 w 8549"/>
                          <a:gd name="connsiteY0" fmla="*/ 3656 h 5151"/>
                          <a:gd name="connsiteX1" fmla="*/ 8550 w 8549"/>
                          <a:gd name="connsiteY1" fmla="*/ 3656 h 5151"/>
                          <a:gd name="connsiteX2" fmla="*/ 7473 w 8549"/>
                          <a:gd name="connsiteY2" fmla="*/ 845 h 5151"/>
                          <a:gd name="connsiteX3" fmla="*/ 3107 w 8549"/>
                          <a:gd name="connsiteY3" fmla="*/ 487 h 5151"/>
                          <a:gd name="connsiteX4" fmla="*/ 57 w 8549"/>
                          <a:gd name="connsiteY4" fmla="*/ 3656 h 5151"/>
                          <a:gd name="connsiteX5" fmla="*/ 655 w 8549"/>
                          <a:gd name="connsiteY5" fmla="*/ 5152 h 5151"/>
                          <a:gd name="connsiteX6" fmla="*/ 2509 w 8549"/>
                          <a:gd name="connsiteY6" fmla="*/ 4135 h 5151"/>
                          <a:gd name="connsiteX7" fmla="*/ 5619 w 8549"/>
                          <a:gd name="connsiteY7" fmla="*/ 3656 h 5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9" h="5151">
                            <a:moveTo>
                              <a:pt x="5619" y="3656"/>
                            </a:moveTo>
                            <a:lnTo>
                              <a:pt x="8550" y="3656"/>
                            </a:lnTo>
                            <a:lnTo>
                              <a:pt x="7473" y="845"/>
                            </a:lnTo>
                            <a:cubicBezTo>
                              <a:pt x="7114" y="-111"/>
                              <a:pt x="5140" y="-291"/>
                              <a:pt x="3107" y="487"/>
                            </a:cubicBezTo>
                            <a:cubicBezTo>
                              <a:pt x="1074" y="1264"/>
                              <a:pt x="-302" y="2699"/>
                              <a:pt x="57" y="3656"/>
                            </a:cubicBezTo>
                            <a:lnTo>
                              <a:pt x="655" y="5152"/>
                            </a:lnTo>
                            <a:cubicBezTo>
                              <a:pt x="1194" y="4733"/>
                              <a:pt x="1851" y="4434"/>
                              <a:pt x="2509" y="4135"/>
                            </a:cubicBezTo>
                            <a:cubicBezTo>
                              <a:pt x="3466" y="3836"/>
                              <a:pt x="4542" y="3656"/>
                              <a:pt x="5619" y="365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194" name="Vrije vorm: vorm 7193">
                        <a:extLst>
                          <a:ext uri="{FF2B5EF4-FFF2-40B4-BE49-F238E27FC236}">
                            <a16:creationId xmlns:a16="http://schemas.microsoft.com/office/drawing/2014/main" id="{B7C5D4CB-4816-428E-A885-05E7BD7AC6B5}"/>
                          </a:ext>
                        </a:extLst>
                      </p:cNvPr>
                      <p:cNvSpPr/>
                      <p:nvPr/>
                    </p:nvSpPr>
                    <p:spPr>
                      <a:xfrm>
                        <a:off x="6957815" y="5671311"/>
                        <a:ext cx="8011" cy="6706"/>
                      </a:xfrm>
                      <a:custGeom>
                        <a:avLst/>
                        <a:gdLst>
                          <a:gd name="connsiteX0" fmla="*/ 6755 w 8011"/>
                          <a:gd name="connsiteY0" fmla="*/ 2580 h 6706"/>
                          <a:gd name="connsiteX1" fmla="*/ 8011 w 8011"/>
                          <a:gd name="connsiteY1" fmla="*/ 2221 h 6706"/>
                          <a:gd name="connsiteX2" fmla="*/ 7473 w 8011"/>
                          <a:gd name="connsiteY2" fmla="*/ 845 h 6706"/>
                          <a:gd name="connsiteX3" fmla="*/ 3107 w 8011"/>
                          <a:gd name="connsiteY3" fmla="*/ 487 h 6706"/>
                          <a:gd name="connsiteX4" fmla="*/ 57 w 8011"/>
                          <a:gd name="connsiteY4" fmla="*/ 3656 h 6706"/>
                          <a:gd name="connsiteX5" fmla="*/ 1193 w 8011"/>
                          <a:gd name="connsiteY5" fmla="*/ 6706 h 6706"/>
                          <a:gd name="connsiteX6" fmla="*/ 3944 w 8011"/>
                          <a:gd name="connsiteY6" fmla="*/ 4255 h 6706"/>
                          <a:gd name="connsiteX7" fmla="*/ 6755 w 8011"/>
                          <a:gd name="connsiteY7" fmla="*/ 2580 h 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11" h="6706">
                            <a:moveTo>
                              <a:pt x="6755" y="2580"/>
                            </a:moveTo>
                            <a:cubicBezTo>
                              <a:pt x="7174" y="2401"/>
                              <a:pt x="7592" y="2281"/>
                              <a:pt x="8011" y="2221"/>
                            </a:cubicBezTo>
                            <a:lnTo>
                              <a:pt x="7473" y="845"/>
                            </a:lnTo>
                            <a:cubicBezTo>
                              <a:pt x="7114" y="-112"/>
                              <a:pt x="5141" y="-291"/>
                              <a:pt x="3107" y="487"/>
                            </a:cubicBezTo>
                            <a:cubicBezTo>
                              <a:pt x="1073" y="1264"/>
                              <a:pt x="-302" y="2699"/>
                              <a:pt x="57" y="3656"/>
                            </a:cubicBezTo>
                            <a:lnTo>
                              <a:pt x="1193" y="6706"/>
                            </a:lnTo>
                            <a:lnTo>
                              <a:pt x="3944" y="4255"/>
                            </a:lnTo>
                            <a:cubicBezTo>
                              <a:pt x="4841" y="3537"/>
                              <a:pt x="5738" y="2939"/>
                              <a:pt x="6755" y="258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7195" name="Vrije vorm: vorm 7194">
                        <a:extLst>
                          <a:ext uri="{FF2B5EF4-FFF2-40B4-BE49-F238E27FC236}">
                            <a16:creationId xmlns:a16="http://schemas.microsoft.com/office/drawing/2014/main" id="{60C8D1B1-4AD6-4BD8-A253-7EE0DFFB65B5}"/>
                          </a:ext>
                        </a:extLst>
                      </p:cNvPr>
                      <p:cNvSpPr/>
                      <p:nvPr/>
                    </p:nvSpPr>
                    <p:spPr>
                      <a:xfrm>
                        <a:off x="6858610" y="5676792"/>
                        <a:ext cx="130520" cy="58602"/>
                      </a:xfrm>
                      <a:custGeom>
                        <a:avLst/>
                        <a:gdLst>
                          <a:gd name="connsiteX0" fmla="*/ 113974 w 130520"/>
                          <a:gd name="connsiteY0" fmla="*/ 16715 h 58602"/>
                          <a:gd name="connsiteX1" fmla="*/ 119536 w 130520"/>
                          <a:gd name="connsiteY1" fmla="*/ 15041 h 58602"/>
                          <a:gd name="connsiteX2" fmla="*/ 130481 w 130520"/>
                          <a:gd name="connsiteY2" fmla="*/ 8462 h 58602"/>
                          <a:gd name="connsiteX3" fmla="*/ 117742 w 130520"/>
                          <a:gd name="connsiteY3" fmla="*/ 10196 h 58602"/>
                          <a:gd name="connsiteX4" fmla="*/ 113197 w 130520"/>
                          <a:gd name="connsiteY4" fmla="*/ 12170 h 58602"/>
                          <a:gd name="connsiteX5" fmla="*/ 112001 w 130520"/>
                          <a:gd name="connsiteY5" fmla="*/ 8940 h 58602"/>
                          <a:gd name="connsiteX6" fmla="*/ 112419 w 130520"/>
                          <a:gd name="connsiteY6" fmla="*/ 8522 h 58602"/>
                          <a:gd name="connsiteX7" fmla="*/ 112659 w 130520"/>
                          <a:gd name="connsiteY7" fmla="*/ 1584 h 58602"/>
                          <a:gd name="connsiteX8" fmla="*/ 107276 w 130520"/>
                          <a:gd name="connsiteY8" fmla="*/ 328 h 58602"/>
                          <a:gd name="connsiteX9" fmla="*/ 105661 w 130520"/>
                          <a:gd name="connsiteY9" fmla="*/ 1345 h 58602"/>
                          <a:gd name="connsiteX10" fmla="*/ 73185 w 130520"/>
                          <a:gd name="connsiteY10" fmla="*/ 30112 h 58602"/>
                          <a:gd name="connsiteX11" fmla="*/ 65769 w 130520"/>
                          <a:gd name="connsiteY11" fmla="*/ 32445 h 58602"/>
                          <a:gd name="connsiteX12" fmla="*/ 58174 w 130520"/>
                          <a:gd name="connsiteY12" fmla="*/ 35913 h 58602"/>
                          <a:gd name="connsiteX13" fmla="*/ 14575 w 130520"/>
                          <a:gd name="connsiteY13" fmla="*/ 35913 h 58602"/>
                          <a:gd name="connsiteX14" fmla="*/ 12720 w 130520"/>
                          <a:gd name="connsiteY14" fmla="*/ 36213 h 58602"/>
                          <a:gd name="connsiteX15" fmla="*/ 9551 w 130520"/>
                          <a:gd name="connsiteY15" fmla="*/ 40698 h 58602"/>
                          <a:gd name="connsiteX16" fmla="*/ 14096 w 130520"/>
                          <a:gd name="connsiteY16" fmla="*/ 45722 h 58602"/>
                          <a:gd name="connsiteX17" fmla="*/ 15472 w 130520"/>
                          <a:gd name="connsiteY17" fmla="*/ 49250 h 58602"/>
                          <a:gd name="connsiteX18" fmla="*/ 10747 w 130520"/>
                          <a:gd name="connsiteY18" fmla="*/ 50805 h 58602"/>
                          <a:gd name="connsiteX19" fmla="*/ 41 w 130520"/>
                          <a:gd name="connsiteY19" fmla="*/ 57982 h 58602"/>
                          <a:gd name="connsiteX20" fmla="*/ 12542 w 130520"/>
                          <a:gd name="connsiteY20" fmla="*/ 55650 h 58602"/>
                          <a:gd name="connsiteX21" fmla="*/ 17805 w 130520"/>
                          <a:gd name="connsiteY21" fmla="*/ 53257 h 58602"/>
                          <a:gd name="connsiteX22" fmla="*/ 21273 w 130520"/>
                          <a:gd name="connsiteY22" fmla="*/ 54155 h 58602"/>
                          <a:gd name="connsiteX23" fmla="*/ 21572 w 130520"/>
                          <a:gd name="connsiteY23" fmla="*/ 54155 h 58602"/>
                          <a:gd name="connsiteX24" fmla="*/ 21811 w 130520"/>
                          <a:gd name="connsiteY24" fmla="*/ 53975 h 58602"/>
                          <a:gd name="connsiteX25" fmla="*/ 23785 w 130520"/>
                          <a:gd name="connsiteY25" fmla="*/ 50985 h 58602"/>
                          <a:gd name="connsiteX26" fmla="*/ 29347 w 130520"/>
                          <a:gd name="connsiteY26" fmla="*/ 49310 h 58602"/>
                          <a:gd name="connsiteX27" fmla="*/ 40291 w 130520"/>
                          <a:gd name="connsiteY27" fmla="*/ 42731 h 58602"/>
                          <a:gd name="connsiteX28" fmla="*/ 27552 w 130520"/>
                          <a:gd name="connsiteY28" fmla="*/ 44466 h 58602"/>
                          <a:gd name="connsiteX29" fmla="*/ 23008 w 130520"/>
                          <a:gd name="connsiteY29" fmla="*/ 46439 h 58602"/>
                          <a:gd name="connsiteX30" fmla="*/ 22111 w 130520"/>
                          <a:gd name="connsiteY30" fmla="*/ 44047 h 58602"/>
                          <a:gd name="connsiteX31" fmla="*/ 26656 w 130520"/>
                          <a:gd name="connsiteY31" fmla="*/ 42073 h 58602"/>
                          <a:gd name="connsiteX32" fmla="*/ 42744 w 130520"/>
                          <a:gd name="connsiteY32" fmla="*/ 41834 h 58602"/>
                          <a:gd name="connsiteX33" fmla="*/ 40291 w 130520"/>
                          <a:gd name="connsiteY33" fmla="*/ 46918 h 58602"/>
                          <a:gd name="connsiteX34" fmla="*/ 51296 w 130520"/>
                          <a:gd name="connsiteY34" fmla="*/ 47396 h 58602"/>
                          <a:gd name="connsiteX35" fmla="*/ 73007 w 130520"/>
                          <a:gd name="connsiteY35" fmla="*/ 51104 h 58602"/>
                          <a:gd name="connsiteX36" fmla="*/ 86702 w 130520"/>
                          <a:gd name="connsiteY36" fmla="*/ 33521 h 58602"/>
                          <a:gd name="connsiteX37" fmla="*/ 93700 w 130520"/>
                          <a:gd name="connsiteY37" fmla="*/ 26703 h 58602"/>
                          <a:gd name="connsiteX38" fmla="*/ 88018 w 130520"/>
                          <a:gd name="connsiteY38" fmla="*/ 24550 h 58602"/>
                          <a:gd name="connsiteX39" fmla="*/ 100218 w 130520"/>
                          <a:gd name="connsiteY39" fmla="*/ 14084 h 58602"/>
                          <a:gd name="connsiteX40" fmla="*/ 104943 w 130520"/>
                          <a:gd name="connsiteY40" fmla="*/ 12529 h 58602"/>
                          <a:gd name="connsiteX41" fmla="*/ 105841 w 130520"/>
                          <a:gd name="connsiteY41" fmla="*/ 14921 h 58602"/>
                          <a:gd name="connsiteX42" fmla="*/ 101116 w 130520"/>
                          <a:gd name="connsiteY42" fmla="*/ 16476 h 58602"/>
                          <a:gd name="connsiteX43" fmla="*/ 90410 w 130520"/>
                          <a:gd name="connsiteY43" fmla="*/ 23653 h 58602"/>
                          <a:gd name="connsiteX44" fmla="*/ 102910 w 130520"/>
                          <a:gd name="connsiteY44" fmla="*/ 21320 h 58602"/>
                          <a:gd name="connsiteX45" fmla="*/ 108173 w 130520"/>
                          <a:gd name="connsiteY45" fmla="*/ 18928 h 58602"/>
                          <a:gd name="connsiteX46" fmla="*/ 111642 w 130520"/>
                          <a:gd name="connsiteY46" fmla="*/ 19825 h 58602"/>
                          <a:gd name="connsiteX47" fmla="*/ 111941 w 130520"/>
                          <a:gd name="connsiteY47" fmla="*/ 19825 h 58602"/>
                          <a:gd name="connsiteX48" fmla="*/ 112180 w 130520"/>
                          <a:gd name="connsiteY48" fmla="*/ 19646 h 58602"/>
                          <a:gd name="connsiteX49" fmla="*/ 113974 w 130520"/>
                          <a:gd name="connsiteY49" fmla="*/ 16715 h 5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0520" h="58602">
                            <a:moveTo>
                              <a:pt x="113974" y="16715"/>
                            </a:moveTo>
                            <a:cubicBezTo>
                              <a:pt x="115589" y="16356"/>
                              <a:pt x="117443" y="15818"/>
                              <a:pt x="119536" y="15041"/>
                            </a:cubicBezTo>
                            <a:cubicBezTo>
                              <a:pt x="125996" y="12589"/>
                              <a:pt x="131019" y="9957"/>
                              <a:pt x="130481" y="8462"/>
                            </a:cubicBezTo>
                            <a:cubicBezTo>
                              <a:pt x="129943" y="6967"/>
                              <a:pt x="124201" y="7744"/>
                              <a:pt x="117742" y="10196"/>
                            </a:cubicBezTo>
                            <a:cubicBezTo>
                              <a:pt x="116067" y="10854"/>
                              <a:pt x="114512" y="11512"/>
                              <a:pt x="113197" y="12170"/>
                            </a:cubicBezTo>
                            <a:lnTo>
                              <a:pt x="112001" y="8940"/>
                            </a:lnTo>
                            <a:lnTo>
                              <a:pt x="112419" y="8522"/>
                            </a:lnTo>
                            <a:cubicBezTo>
                              <a:pt x="114393" y="6668"/>
                              <a:pt x="114512" y="3558"/>
                              <a:pt x="112659" y="1584"/>
                            </a:cubicBezTo>
                            <a:cubicBezTo>
                              <a:pt x="111223" y="89"/>
                              <a:pt x="109130" y="-390"/>
                              <a:pt x="107276" y="328"/>
                            </a:cubicBezTo>
                            <a:cubicBezTo>
                              <a:pt x="106678" y="567"/>
                              <a:pt x="106139" y="866"/>
                              <a:pt x="105661" y="1345"/>
                            </a:cubicBezTo>
                            <a:lnTo>
                              <a:pt x="73185" y="30112"/>
                            </a:lnTo>
                            <a:cubicBezTo>
                              <a:pt x="70854" y="30650"/>
                              <a:pt x="68341" y="31428"/>
                              <a:pt x="65769" y="32445"/>
                            </a:cubicBezTo>
                            <a:cubicBezTo>
                              <a:pt x="62959" y="33521"/>
                              <a:pt x="60446" y="34657"/>
                              <a:pt x="58174" y="35913"/>
                            </a:cubicBezTo>
                            <a:lnTo>
                              <a:pt x="14575" y="35913"/>
                            </a:lnTo>
                            <a:cubicBezTo>
                              <a:pt x="13917" y="35913"/>
                              <a:pt x="13319" y="36033"/>
                              <a:pt x="12720" y="36213"/>
                            </a:cubicBezTo>
                            <a:cubicBezTo>
                              <a:pt x="10927" y="36930"/>
                              <a:pt x="9610" y="38664"/>
                              <a:pt x="9551" y="40698"/>
                            </a:cubicBezTo>
                            <a:cubicBezTo>
                              <a:pt x="9491" y="43330"/>
                              <a:pt x="11525" y="45542"/>
                              <a:pt x="14096" y="45722"/>
                            </a:cubicBezTo>
                            <a:lnTo>
                              <a:pt x="15472" y="49250"/>
                            </a:lnTo>
                            <a:cubicBezTo>
                              <a:pt x="13977" y="49669"/>
                              <a:pt x="12362" y="50147"/>
                              <a:pt x="10747" y="50805"/>
                            </a:cubicBezTo>
                            <a:cubicBezTo>
                              <a:pt x="4288" y="53257"/>
                              <a:pt x="-497" y="56487"/>
                              <a:pt x="41" y="57982"/>
                            </a:cubicBezTo>
                            <a:cubicBezTo>
                              <a:pt x="580" y="59477"/>
                              <a:pt x="6082" y="58102"/>
                              <a:pt x="12542" y="55650"/>
                            </a:cubicBezTo>
                            <a:cubicBezTo>
                              <a:pt x="14635" y="54872"/>
                              <a:pt x="16369" y="54035"/>
                              <a:pt x="17805" y="53257"/>
                            </a:cubicBezTo>
                            <a:cubicBezTo>
                              <a:pt x="18941" y="54095"/>
                              <a:pt x="20615" y="54214"/>
                              <a:pt x="21273" y="54155"/>
                            </a:cubicBezTo>
                            <a:cubicBezTo>
                              <a:pt x="21453" y="54155"/>
                              <a:pt x="21572" y="54155"/>
                              <a:pt x="21572" y="54155"/>
                            </a:cubicBezTo>
                            <a:cubicBezTo>
                              <a:pt x="21572" y="54155"/>
                              <a:pt x="21632" y="54095"/>
                              <a:pt x="21811" y="53975"/>
                            </a:cubicBezTo>
                            <a:cubicBezTo>
                              <a:pt x="22290" y="53556"/>
                              <a:pt x="23546" y="52420"/>
                              <a:pt x="23785" y="50985"/>
                            </a:cubicBezTo>
                            <a:cubicBezTo>
                              <a:pt x="25399" y="50626"/>
                              <a:pt x="27254" y="50087"/>
                              <a:pt x="29347" y="49310"/>
                            </a:cubicBezTo>
                            <a:cubicBezTo>
                              <a:pt x="35806" y="46858"/>
                              <a:pt x="40830" y="44226"/>
                              <a:pt x="40291" y="42731"/>
                            </a:cubicBezTo>
                            <a:cubicBezTo>
                              <a:pt x="39753" y="41236"/>
                              <a:pt x="34012" y="42014"/>
                              <a:pt x="27552" y="44466"/>
                            </a:cubicBezTo>
                            <a:cubicBezTo>
                              <a:pt x="25878" y="45124"/>
                              <a:pt x="24383" y="45782"/>
                              <a:pt x="23008" y="46439"/>
                            </a:cubicBezTo>
                            <a:lnTo>
                              <a:pt x="22111" y="44047"/>
                            </a:lnTo>
                            <a:cubicBezTo>
                              <a:pt x="23546" y="43330"/>
                              <a:pt x="25041" y="42671"/>
                              <a:pt x="26656" y="42073"/>
                            </a:cubicBezTo>
                            <a:cubicBezTo>
                              <a:pt x="31919" y="40100"/>
                              <a:pt x="41069" y="37349"/>
                              <a:pt x="42744" y="41834"/>
                            </a:cubicBezTo>
                            <a:cubicBezTo>
                              <a:pt x="43402" y="43629"/>
                              <a:pt x="42744" y="45243"/>
                              <a:pt x="40291" y="46918"/>
                            </a:cubicBezTo>
                            <a:lnTo>
                              <a:pt x="51296" y="47396"/>
                            </a:lnTo>
                            <a:cubicBezTo>
                              <a:pt x="54526" y="51104"/>
                              <a:pt x="62421" y="55171"/>
                              <a:pt x="73007" y="51104"/>
                            </a:cubicBezTo>
                            <a:cubicBezTo>
                              <a:pt x="83831" y="46978"/>
                              <a:pt x="86881" y="38306"/>
                              <a:pt x="86702" y="33521"/>
                            </a:cubicBezTo>
                            <a:lnTo>
                              <a:pt x="93700" y="26703"/>
                            </a:lnTo>
                            <a:cubicBezTo>
                              <a:pt x="90410" y="27182"/>
                              <a:pt x="88736" y="26464"/>
                              <a:pt x="88018" y="24550"/>
                            </a:cubicBezTo>
                            <a:cubicBezTo>
                              <a:pt x="86343" y="20124"/>
                              <a:pt x="94955" y="16057"/>
                              <a:pt x="100218" y="14084"/>
                            </a:cubicBezTo>
                            <a:cubicBezTo>
                              <a:pt x="101833" y="13485"/>
                              <a:pt x="103448" y="12947"/>
                              <a:pt x="104943" y="12529"/>
                            </a:cubicBezTo>
                            <a:lnTo>
                              <a:pt x="105841" y="14921"/>
                            </a:lnTo>
                            <a:cubicBezTo>
                              <a:pt x="104345" y="15339"/>
                              <a:pt x="102731" y="15818"/>
                              <a:pt x="101116" y="16476"/>
                            </a:cubicBezTo>
                            <a:cubicBezTo>
                              <a:pt x="94657" y="18928"/>
                              <a:pt x="89872" y="22158"/>
                              <a:pt x="90410" y="23653"/>
                            </a:cubicBezTo>
                            <a:cubicBezTo>
                              <a:pt x="90949" y="25148"/>
                              <a:pt x="96450" y="23773"/>
                              <a:pt x="102910" y="21320"/>
                            </a:cubicBezTo>
                            <a:cubicBezTo>
                              <a:pt x="105003" y="20543"/>
                              <a:pt x="106738" y="19706"/>
                              <a:pt x="108173" y="18928"/>
                            </a:cubicBezTo>
                            <a:cubicBezTo>
                              <a:pt x="109309" y="19825"/>
                              <a:pt x="110984" y="19885"/>
                              <a:pt x="111642" y="19825"/>
                            </a:cubicBezTo>
                            <a:cubicBezTo>
                              <a:pt x="111821" y="19825"/>
                              <a:pt x="111941" y="19825"/>
                              <a:pt x="111941" y="19825"/>
                            </a:cubicBezTo>
                            <a:cubicBezTo>
                              <a:pt x="111941" y="19825"/>
                              <a:pt x="112001" y="19766"/>
                              <a:pt x="112180" y="19646"/>
                            </a:cubicBezTo>
                            <a:cubicBezTo>
                              <a:pt x="112479" y="19287"/>
                              <a:pt x="113675" y="18151"/>
                              <a:pt x="113974" y="16715"/>
                            </a:cubicBezTo>
                            <a:close/>
                          </a:path>
                        </a:pathLst>
                      </a:custGeom>
                      <a:grpFill/>
                      <a:ln w="6350" cap="flat">
                        <a:solidFill>
                          <a:schemeClr val="bg1">
                            <a:alpha val="40000"/>
                          </a:schemeClr>
                        </a:solidFill>
                        <a:prstDash val="solid"/>
                        <a:miter/>
                      </a:ln>
                    </p:spPr>
                    <p:txBody>
                      <a:bodyPr rtlCol="0" anchor="ctr"/>
                      <a:lstStyle/>
                      <a:p>
                        <a:endParaRPr lang="en-GB"/>
                      </a:p>
                    </p:txBody>
                  </p:sp>
                </p:grpSp>
                <p:sp>
                  <p:nvSpPr>
                    <p:cNvPr id="7180" name="Vrije vorm: vorm 7179">
                      <a:extLst>
                        <a:ext uri="{FF2B5EF4-FFF2-40B4-BE49-F238E27FC236}">
                          <a16:creationId xmlns:a16="http://schemas.microsoft.com/office/drawing/2014/main" id="{C3018F32-EE4A-4C12-A11A-6861C328E39D}"/>
                        </a:ext>
                      </a:extLst>
                    </p:cNvPr>
                    <p:cNvSpPr/>
                    <p:nvPr/>
                  </p:nvSpPr>
                  <p:spPr>
                    <a:xfrm>
                      <a:off x="6833413" y="4736233"/>
                      <a:ext cx="97306" cy="948123"/>
                    </a:xfrm>
                    <a:custGeom>
                      <a:avLst/>
                      <a:gdLst>
                        <a:gd name="connsiteX0" fmla="*/ 0 w 97306"/>
                        <a:gd name="connsiteY0" fmla="*/ 0 h 948123"/>
                        <a:gd name="connsiteX1" fmla="*/ 97306 w 97306"/>
                        <a:gd name="connsiteY1" fmla="*/ 948124 h 948123"/>
                      </a:gdLst>
                      <a:ahLst/>
                      <a:cxnLst>
                        <a:cxn ang="0">
                          <a:pos x="connsiteX0" y="connsiteY0"/>
                        </a:cxn>
                        <a:cxn ang="0">
                          <a:pos x="connsiteX1" y="connsiteY1"/>
                        </a:cxn>
                      </a:cxnLst>
                      <a:rect l="l" t="t" r="r" b="b"/>
                      <a:pathLst>
                        <a:path w="97306" h="948123">
                          <a:moveTo>
                            <a:pt x="0" y="0"/>
                          </a:moveTo>
                          <a:lnTo>
                            <a:pt x="97306" y="948124"/>
                          </a:lnTo>
                        </a:path>
                      </a:pathLst>
                    </a:custGeom>
                    <a:grpFill/>
                    <a:ln w="6350" cap="flat">
                      <a:solidFill>
                        <a:schemeClr val="bg1">
                          <a:alpha val="40000"/>
                        </a:schemeClr>
                      </a:solidFill>
                      <a:prstDash val="solid"/>
                      <a:miter/>
                    </a:ln>
                  </p:spPr>
                  <p:txBody>
                    <a:bodyPr rtlCol="0" anchor="ctr"/>
                    <a:lstStyle/>
                    <a:p>
                      <a:endParaRPr lang="en-GB"/>
                    </a:p>
                  </p:txBody>
                </p:sp>
                <p:sp>
                  <p:nvSpPr>
                    <p:cNvPr id="7181" name="Vrije vorm: vorm 7180">
                      <a:extLst>
                        <a:ext uri="{FF2B5EF4-FFF2-40B4-BE49-F238E27FC236}">
                          <a16:creationId xmlns:a16="http://schemas.microsoft.com/office/drawing/2014/main" id="{A7B34B25-E777-44DE-8CFC-B4EFA6151A4E}"/>
                        </a:ext>
                      </a:extLst>
                    </p:cNvPr>
                    <p:cNvSpPr/>
                    <p:nvPr/>
                  </p:nvSpPr>
                  <p:spPr>
                    <a:xfrm>
                      <a:off x="6467512" y="4833719"/>
                      <a:ext cx="437310" cy="854525"/>
                    </a:xfrm>
                    <a:custGeom>
                      <a:avLst/>
                      <a:gdLst>
                        <a:gd name="connsiteX0" fmla="*/ 437311 w 437310"/>
                        <a:gd name="connsiteY0" fmla="*/ 854526 h 854525"/>
                        <a:gd name="connsiteX1" fmla="*/ 0 w 437310"/>
                        <a:gd name="connsiteY1" fmla="*/ 0 h 854525"/>
                      </a:gdLst>
                      <a:ahLst/>
                      <a:cxnLst>
                        <a:cxn ang="0">
                          <a:pos x="connsiteX0" y="connsiteY0"/>
                        </a:cxn>
                        <a:cxn ang="0">
                          <a:pos x="connsiteX1" y="connsiteY1"/>
                        </a:cxn>
                      </a:cxnLst>
                      <a:rect l="l" t="t" r="r" b="b"/>
                      <a:pathLst>
                        <a:path w="437310" h="854525">
                          <a:moveTo>
                            <a:pt x="437311" y="854526"/>
                          </a:moveTo>
                          <a:lnTo>
                            <a:pt x="0" y="0"/>
                          </a:lnTo>
                        </a:path>
                      </a:pathLst>
                    </a:custGeom>
                    <a:grpFill/>
                    <a:ln w="6350" cap="flat">
                      <a:solidFill>
                        <a:schemeClr val="bg1">
                          <a:alpha val="40000"/>
                        </a:schemeClr>
                      </a:solidFill>
                      <a:prstDash val="solid"/>
                      <a:miter/>
                    </a:ln>
                  </p:spPr>
                  <p:txBody>
                    <a:bodyPr rtlCol="0" anchor="ctr"/>
                    <a:lstStyle/>
                    <a:p>
                      <a:endParaRPr lang="en-GB"/>
                    </a:p>
                  </p:txBody>
                </p:sp>
                <p:grpSp>
                  <p:nvGrpSpPr>
                    <p:cNvPr id="7182" name="Graphic 3">
                      <a:extLst>
                        <a:ext uri="{FF2B5EF4-FFF2-40B4-BE49-F238E27FC236}">
                          <a16:creationId xmlns:a16="http://schemas.microsoft.com/office/drawing/2014/main" id="{7A7338D1-AC8E-446A-8627-A749E99DFB99}"/>
                        </a:ext>
                      </a:extLst>
                    </p:cNvPr>
                    <p:cNvGrpSpPr/>
                    <p:nvPr/>
                  </p:nvGrpSpPr>
                  <p:grpSpPr>
                    <a:xfrm>
                      <a:off x="6903447" y="5782800"/>
                      <a:ext cx="116683" cy="77147"/>
                      <a:chOff x="6903447" y="5782800"/>
                      <a:chExt cx="116683" cy="77147"/>
                    </a:xfrm>
                    <a:grpFill/>
                  </p:grpSpPr>
                  <p:sp>
                    <p:nvSpPr>
                      <p:cNvPr id="7183" name="Vrije vorm: vorm 7182">
                        <a:extLst>
                          <a:ext uri="{FF2B5EF4-FFF2-40B4-BE49-F238E27FC236}">
                            <a16:creationId xmlns:a16="http://schemas.microsoft.com/office/drawing/2014/main" id="{A315C956-3CC6-48B2-B2B2-68A4C50E846D}"/>
                          </a:ext>
                        </a:extLst>
                      </p:cNvPr>
                      <p:cNvSpPr/>
                      <p:nvPr/>
                    </p:nvSpPr>
                    <p:spPr>
                      <a:xfrm>
                        <a:off x="6934128" y="5782800"/>
                        <a:ext cx="35764" cy="15909"/>
                      </a:xfrm>
                      <a:custGeom>
                        <a:avLst/>
                        <a:gdLst>
                          <a:gd name="connsiteX0" fmla="*/ 35765 w 35764"/>
                          <a:gd name="connsiteY0" fmla="*/ 0 h 15909"/>
                          <a:gd name="connsiteX1" fmla="*/ 18899 w 35764"/>
                          <a:gd name="connsiteY1" fmla="*/ 15131 h 15909"/>
                          <a:gd name="connsiteX2" fmla="*/ 0 w 35764"/>
                          <a:gd name="connsiteY2" fmla="*/ 12260 h 15909"/>
                        </a:gdLst>
                        <a:ahLst/>
                        <a:cxnLst>
                          <a:cxn ang="0">
                            <a:pos x="connsiteX0" y="connsiteY0"/>
                          </a:cxn>
                          <a:cxn ang="0">
                            <a:pos x="connsiteX1" y="connsiteY1"/>
                          </a:cxn>
                          <a:cxn ang="0">
                            <a:pos x="connsiteX2" y="connsiteY2"/>
                          </a:cxn>
                        </a:cxnLst>
                        <a:rect l="l" t="t" r="r" b="b"/>
                        <a:pathLst>
                          <a:path w="35764" h="15909">
                            <a:moveTo>
                              <a:pt x="35765" y="0"/>
                            </a:moveTo>
                            <a:cubicBezTo>
                              <a:pt x="32834" y="7296"/>
                              <a:pt x="26794" y="13098"/>
                              <a:pt x="18899" y="15131"/>
                            </a:cubicBezTo>
                            <a:cubicBezTo>
                              <a:pt x="12261" y="16866"/>
                              <a:pt x="5562" y="15610"/>
                              <a:pt x="0" y="12260"/>
                            </a:cubicBezTo>
                          </a:path>
                        </a:pathLst>
                      </a:custGeom>
                      <a:grpFill/>
                      <a:ln w="6350" cap="flat">
                        <a:solidFill>
                          <a:schemeClr val="bg1">
                            <a:alpha val="40000"/>
                          </a:schemeClr>
                        </a:solidFill>
                        <a:prstDash val="solid"/>
                        <a:miter/>
                      </a:ln>
                    </p:spPr>
                    <p:txBody>
                      <a:bodyPr rtlCol="0" anchor="ctr"/>
                      <a:lstStyle/>
                      <a:p>
                        <a:endParaRPr lang="en-GB"/>
                      </a:p>
                    </p:txBody>
                  </p:sp>
                  <p:sp>
                    <p:nvSpPr>
                      <p:cNvPr id="7184" name="Vrije vorm: vorm 7183">
                        <a:extLst>
                          <a:ext uri="{FF2B5EF4-FFF2-40B4-BE49-F238E27FC236}">
                            <a16:creationId xmlns:a16="http://schemas.microsoft.com/office/drawing/2014/main" id="{C161549A-D94D-444C-97FA-CE71AF2880D2}"/>
                          </a:ext>
                        </a:extLst>
                      </p:cNvPr>
                      <p:cNvSpPr/>
                      <p:nvPr/>
                    </p:nvSpPr>
                    <p:spPr>
                      <a:xfrm>
                        <a:off x="6920612" y="5793984"/>
                        <a:ext cx="71529" cy="31805"/>
                      </a:xfrm>
                      <a:custGeom>
                        <a:avLst/>
                        <a:gdLst>
                          <a:gd name="connsiteX0" fmla="*/ 71530 w 71529"/>
                          <a:gd name="connsiteY0" fmla="*/ 0 h 31805"/>
                          <a:gd name="connsiteX1" fmla="*/ 37799 w 71529"/>
                          <a:gd name="connsiteY1" fmla="*/ 30262 h 31805"/>
                          <a:gd name="connsiteX2" fmla="*/ 0 w 71529"/>
                          <a:gd name="connsiteY2" fmla="*/ 24581 h 31805"/>
                        </a:gdLst>
                        <a:ahLst/>
                        <a:cxnLst>
                          <a:cxn ang="0">
                            <a:pos x="connsiteX0" y="connsiteY0"/>
                          </a:cxn>
                          <a:cxn ang="0">
                            <a:pos x="connsiteX1" y="connsiteY1"/>
                          </a:cxn>
                          <a:cxn ang="0">
                            <a:pos x="connsiteX2" y="connsiteY2"/>
                          </a:cxn>
                        </a:cxnLst>
                        <a:rect l="l" t="t" r="r" b="b"/>
                        <a:pathLst>
                          <a:path w="71529" h="31805">
                            <a:moveTo>
                              <a:pt x="71530" y="0"/>
                            </a:moveTo>
                            <a:cubicBezTo>
                              <a:pt x="65728" y="14593"/>
                              <a:pt x="53648" y="26196"/>
                              <a:pt x="37799" y="30262"/>
                            </a:cubicBezTo>
                            <a:cubicBezTo>
                              <a:pt x="24581" y="33671"/>
                              <a:pt x="11125" y="31279"/>
                              <a:pt x="0" y="24581"/>
                            </a:cubicBezTo>
                          </a:path>
                        </a:pathLst>
                      </a:custGeom>
                      <a:grpFill/>
                      <a:ln w="6350" cap="flat">
                        <a:solidFill>
                          <a:schemeClr val="bg1">
                            <a:alpha val="40000"/>
                          </a:schemeClr>
                        </a:solidFill>
                        <a:prstDash val="solid"/>
                        <a:miter/>
                      </a:ln>
                    </p:spPr>
                    <p:txBody>
                      <a:bodyPr rtlCol="0" anchor="ctr"/>
                      <a:lstStyle/>
                      <a:p>
                        <a:endParaRPr lang="en-GB"/>
                      </a:p>
                    </p:txBody>
                  </p:sp>
                  <p:sp>
                    <p:nvSpPr>
                      <p:cNvPr id="7185" name="Vrije vorm: vorm 7184">
                        <a:extLst>
                          <a:ext uri="{FF2B5EF4-FFF2-40B4-BE49-F238E27FC236}">
                            <a16:creationId xmlns:a16="http://schemas.microsoft.com/office/drawing/2014/main" id="{2AFFF199-37E6-46F5-9FD7-C5495746292F}"/>
                          </a:ext>
                        </a:extLst>
                      </p:cNvPr>
                      <p:cNvSpPr/>
                      <p:nvPr/>
                    </p:nvSpPr>
                    <p:spPr>
                      <a:xfrm>
                        <a:off x="6903447" y="5808098"/>
                        <a:ext cx="116683" cy="51849"/>
                      </a:xfrm>
                      <a:custGeom>
                        <a:avLst/>
                        <a:gdLst>
                          <a:gd name="connsiteX0" fmla="*/ 116684 w 116683"/>
                          <a:gd name="connsiteY0" fmla="*/ 0 h 51849"/>
                          <a:gd name="connsiteX1" fmla="*/ 61662 w 116683"/>
                          <a:gd name="connsiteY1" fmla="*/ 49341 h 51849"/>
                          <a:gd name="connsiteX2" fmla="*/ 0 w 116683"/>
                          <a:gd name="connsiteY2" fmla="*/ 40071 h 51849"/>
                        </a:gdLst>
                        <a:ahLst/>
                        <a:cxnLst>
                          <a:cxn ang="0">
                            <a:pos x="connsiteX0" y="connsiteY0"/>
                          </a:cxn>
                          <a:cxn ang="0">
                            <a:pos x="connsiteX1" y="connsiteY1"/>
                          </a:cxn>
                          <a:cxn ang="0">
                            <a:pos x="connsiteX2" y="connsiteY2"/>
                          </a:cxn>
                        </a:cxnLst>
                        <a:rect l="l" t="t" r="r" b="b"/>
                        <a:pathLst>
                          <a:path w="116683" h="51849">
                            <a:moveTo>
                              <a:pt x="116684" y="0"/>
                            </a:moveTo>
                            <a:cubicBezTo>
                              <a:pt x="107175" y="23863"/>
                              <a:pt x="87498" y="42702"/>
                              <a:pt x="61662" y="49341"/>
                            </a:cubicBezTo>
                            <a:cubicBezTo>
                              <a:pt x="40071" y="54903"/>
                              <a:pt x="18182" y="50956"/>
                              <a:pt x="0" y="40071"/>
                            </a:cubicBezTo>
                          </a:path>
                        </a:pathLst>
                      </a:custGeom>
                      <a:grpFill/>
                      <a:ln w="6350" cap="flat">
                        <a:solidFill>
                          <a:schemeClr val="bg1">
                            <a:alpha val="40000"/>
                          </a:schemeClr>
                        </a:solidFill>
                        <a:prstDash val="solid"/>
                        <a:miter/>
                      </a:ln>
                    </p:spPr>
                    <p:txBody>
                      <a:bodyPr rtlCol="0" anchor="ctr"/>
                      <a:lstStyle/>
                      <a:p>
                        <a:endParaRPr lang="en-GB"/>
                      </a:p>
                    </p:txBody>
                  </p:sp>
                </p:grpSp>
              </p:grpSp>
              <p:sp>
                <p:nvSpPr>
                  <p:cNvPr id="7178" name="Vrije vorm: vorm 7177">
                    <a:extLst>
                      <a:ext uri="{FF2B5EF4-FFF2-40B4-BE49-F238E27FC236}">
                        <a16:creationId xmlns:a16="http://schemas.microsoft.com/office/drawing/2014/main" id="{4212A9CA-0872-4729-9224-93F835502E76}"/>
                      </a:ext>
                    </a:extLst>
                  </p:cNvPr>
                  <p:cNvSpPr/>
                  <p:nvPr/>
                </p:nvSpPr>
                <p:spPr>
                  <a:xfrm>
                    <a:off x="6456099" y="4685214"/>
                    <a:ext cx="387272" cy="189962"/>
                  </a:xfrm>
                  <a:custGeom>
                    <a:avLst/>
                    <a:gdLst>
                      <a:gd name="connsiteX0" fmla="*/ 374929 w 387272"/>
                      <a:gd name="connsiteY0" fmla="*/ 43310 h 189962"/>
                      <a:gd name="connsiteX1" fmla="*/ 205981 w 387272"/>
                      <a:gd name="connsiteY1" fmla="*/ 138292 h 189962"/>
                      <a:gd name="connsiteX2" fmla="*/ 12344 w 387272"/>
                      <a:gd name="connsiteY2" fmla="*/ 146653 h 189962"/>
                      <a:gd name="connsiteX3" fmla="*/ 181292 w 387272"/>
                      <a:gd name="connsiteY3" fmla="*/ 51671 h 189962"/>
                      <a:gd name="connsiteX4" fmla="*/ 374929 w 387272"/>
                      <a:gd name="connsiteY4" fmla="*/ 43310 h 189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272" h="189962">
                        <a:moveTo>
                          <a:pt x="374929" y="43310"/>
                        </a:moveTo>
                        <a:cubicBezTo>
                          <a:pt x="381746" y="67229"/>
                          <a:pt x="306106" y="109754"/>
                          <a:pt x="205981" y="138292"/>
                        </a:cubicBezTo>
                        <a:cubicBezTo>
                          <a:pt x="105856" y="166829"/>
                          <a:pt x="19162" y="170572"/>
                          <a:pt x="12344" y="146653"/>
                        </a:cubicBezTo>
                        <a:cubicBezTo>
                          <a:pt x="5527" y="122733"/>
                          <a:pt x="81167" y="80208"/>
                          <a:pt x="181292" y="51671"/>
                        </a:cubicBezTo>
                        <a:cubicBezTo>
                          <a:pt x="281418" y="23134"/>
                          <a:pt x="368112" y="19390"/>
                          <a:pt x="374929" y="43310"/>
                        </a:cubicBezTo>
                        <a:close/>
                      </a:path>
                    </a:pathLst>
                  </a:custGeom>
                  <a:grpFill/>
                  <a:ln w="6350" cap="flat">
                    <a:solidFill>
                      <a:schemeClr val="bg1">
                        <a:alpha val="40000"/>
                      </a:schemeClr>
                    </a:solidFill>
                    <a:prstDash val="solid"/>
                    <a:miter/>
                  </a:ln>
                </p:spPr>
                <p:txBody>
                  <a:bodyPr rtlCol="0" anchor="ctr"/>
                  <a:lstStyle/>
                  <a:p>
                    <a:endParaRPr lang="en-GB"/>
                  </a:p>
                </p:txBody>
              </p:sp>
            </p:grpSp>
          </p:grpSp>
        </p:grpSp>
        <p:grpSp>
          <p:nvGrpSpPr>
            <p:cNvPr id="7329" name="DRONE_2">
              <a:extLst>
                <a:ext uri="{FF2B5EF4-FFF2-40B4-BE49-F238E27FC236}">
                  <a16:creationId xmlns:a16="http://schemas.microsoft.com/office/drawing/2014/main" id="{FEFE62FB-4370-4BB4-9E72-C62DE0ED5B61}"/>
                </a:ext>
              </a:extLst>
            </p:cNvPr>
            <p:cNvGrpSpPr/>
            <p:nvPr userDrawn="1"/>
          </p:nvGrpSpPr>
          <p:grpSpPr>
            <a:xfrm>
              <a:off x="7574306" y="5160454"/>
              <a:ext cx="240811" cy="210837"/>
              <a:chOff x="7599362" y="5053134"/>
              <a:chExt cx="240811" cy="210837"/>
            </a:xfrm>
            <a:noFill/>
          </p:grpSpPr>
          <p:grpSp>
            <p:nvGrpSpPr>
              <p:cNvPr id="7330" name="Graphic 3">
                <a:extLst>
                  <a:ext uri="{FF2B5EF4-FFF2-40B4-BE49-F238E27FC236}">
                    <a16:creationId xmlns:a16="http://schemas.microsoft.com/office/drawing/2014/main" id="{6243E8AE-F28B-4D25-9999-640D9FE1DE2E}"/>
                  </a:ext>
                </a:extLst>
              </p:cNvPr>
              <p:cNvGrpSpPr/>
              <p:nvPr/>
            </p:nvGrpSpPr>
            <p:grpSpPr>
              <a:xfrm>
                <a:off x="7599362" y="5053134"/>
                <a:ext cx="137854" cy="161207"/>
                <a:chOff x="7599362" y="5053134"/>
                <a:chExt cx="137854" cy="161207"/>
              </a:xfrm>
              <a:noFill/>
            </p:grpSpPr>
            <p:sp>
              <p:nvSpPr>
                <p:cNvPr id="7335" name="Vrije vorm: vorm 7334">
                  <a:extLst>
                    <a:ext uri="{FF2B5EF4-FFF2-40B4-BE49-F238E27FC236}">
                      <a16:creationId xmlns:a16="http://schemas.microsoft.com/office/drawing/2014/main" id="{E97D23B2-494A-43EB-B740-57564DE2D8B8}"/>
                    </a:ext>
                  </a:extLst>
                </p:cNvPr>
                <p:cNvSpPr/>
                <p:nvPr/>
              </p:nvSpPr>
              <p:spPr>
                <a:xfrm>
                  <a:off x="7637347" y="5104705"/>
                  <a:ext cx="20508" cy="26615"/>
                </a:xfrm>
                <a:custGeom>
                  <a:avLst/>
                  <a:gdLst>
                    <a:gd name="connsiteX0" fmla="*/ 11658 w 20508"/>
                    <a:gd name="connsiteY0" fmla="*/ 18661 h 26615"/>
                    <a:gd name="connsiteX1" fmla="*/ 7172 w 20508"/>
                    <a:gd name="connsiteY1" fmla="*/ 17763 h 26615"/>
                    <a:gd name="connsiteX2" fmla="*/ 5377 w 20508"/>
                    <a:gd name="connsiteY2" fmla="*/ 9151 h 26615"/>
                    <a:gd name="connsiteX3" fmla="*/ 13990 w 20508"/>
                    <a:gd name="connsiteY3" fmla="*/ 7357 h 26615"/>
                    <a:gd name="connsiteX4" fmla="*/ 16621 w 20508"/>
                    <a:gd name="connsiteY4" fmla="*/ 11065 h 26615"/>
                    <a:gd name="connsiteX5" fmla="*/ 18834 w 20508"/>
                    <a:gd name="connsiteY5" fmla="*/ 8254 h 26615"/>
                    <a:gd name="connsiteX6" fmla="*/ 20509 w 20508"/>
                    <a:gd name="connsiteY6" fmla="*/ 599 h 26615"/>
                    <a:gd name="connsiteX7" fmla="*/ 2627 w 20508"/>
                    <a:gd name="connsiteY7" fmla="*/ 7297 h 26615"/>
                    <a:gd name="connsiteX8" fmla="*/ 3823 w 20508"/>
                    <a:gd name="connsiteY8" fmla="*/ 26615 h 26615"/>
                    <a:gd name="connsiteX9" fmla="*/ 9684 w 20508"/>
                    <a:gd name="connsiteY9" fmla="*/ 22369 h 26615"/>
                    <a:gd name="connsiteX10" fmla="*/ 11658 w 20508"/>
                    <a:gd name="connsiteY10" fmla="*/ 18661 h 2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08" h="26615">
                      <a:moveTo>
                        <a:pt x="11658" y="18661"/>
                      </a:moveTo>
                      <a:cubicBezTo>
                        <a:pt x="10162" y="18900"/>
                        <a:pt x="8547" y="18661"/>
                        <a:pt x="7172" y="17763"/>
                      </a:cubicBezTo>
                      <a:cubicBezTo>
                        <a:pt x="4301" y="15909"/>
                        <a:pt x="3524" y="12022"/>
                        <a:pt x="5377" y="9151"/>
                      </a:cubicBezTo>
                      <a:cubicBezTo>
                        <a:pt x="7232" y="6280"/>
                        <a:pt x="11119" y="5503"/>
                        <a:pt x="13990" y="7357"/>
                      </a:cubicBezTo>
                      <a:cubicBezTo>
                        <a:pt x="15366" y="8254"/>
                        <a:pt x="16263" y="9630"/>
                        <a:pt x="16621" y="11065"/>
                      </a:cubicBezTo>
                      <a:cubicBezTo>
                        <a:pt x="17339" y="10108"/>
                        <a:pt x="18116" y="9151"/>
                        <a:pt x="18834" y="8254"/>
                      </a:cubicBezTo>
                      <a:lnTo>
                        <a:pt x="20509" y="599"/>
                      </a:lnTo>
                      <a:cubicBezTo>
                        <a:pt x="13870" y="-1255"/>
                        <a:pt x="6574" y="1257"/>
                        <a:pt x="2627" y="7297"/>
                      </a:cubicBezTo>
                      <a:cubicBezTo>
                        <a:pt x="-1380" y="13457"/>
                        <a:pt x="-662" y="21292"/>
                        <a:pt x="3823" y="26615"/>
                      </a:cubicBezTo>
                      <a:lnTo>
                        <a:pt x="9684" y="22369"/>
                      </a:lnTo>
                      <a:cubicBezTo>
                        <a:pt x="10282" y="21172"/>
                        <a:pt x="10940" y="19917"/>
                        <a:pt x="11658" y="18661"/>
                      </a:cubicBezTo>
                      <a:close/>
                    </a:path>
                  </a:pathLst>
                </a:custGeom>
                <a:noFill/>
                <a:ln w="1515" cap="flat">
                  <a:solidFill>
                    <a:srgbClr val="FFFFFF"/>
                  </a:solidFill>
                  <a:prstDash val="solid"/>
                  <a:miter/>
                </a:ln>
              </p:spPr>
              <p:txBody>
                <a:bodyPr rtlCol="0" anchor="ctr"/>
                <a:lstStyle/>
                <a:p>
                  <a:endParaRPr lang="en-GB"/>
                </a:p>
              </p:txBody>
            </p:sp>
            <p:sp>
              <p:nvSpPr>
                <p:cNvPr id="7336" name="Vrije vorm: vorm 7335">
                  <a:extLst>
                    <a:ext uri="{FF2B5EF4-FFF2-40B4-BE49-F238E27FC236}">
                      <a16:creationId xmlns:a16="http://schemas.microsoft.com/office/drawing/2014/main" id="{80A4DA13-BE51-4F36-AFD3-257152204054}"/>
                    </a:ext>
                  </a:extLst>
                </p:cNvPr>
                <p:cNvSpPr/>
                <p:nvPr/>
              </p:nvSpPr>
              <p:spPr>
                <a:xfrm>
                  <a:off x="7644476" y="5113959"/>
                  <a:ext cx="6800" cy="6745"/>
                </a:xfrm>
                <a:custGeom>
                  <a:avLst/>
                  <a:gdLst>
                    <a:gd name="connsiteX0" fmla="*/ 6262 w 6800"/>
                    <a:gd name="connsiteY0" fmla="*/ 5219 h 6745"/>
                    <a:gd name="connsiteX1" fmla="*/ 6801 w 6800"/>
                    <a:gd name="connsiteY1" fmla="*/ 3724 h 6745"/>
                    <a:gd name="connsiteX2" fmla="*/ 5903 w 6800"/>
                    <a:gd name="connsiteY2" fmla="*/ 3485 h 6745"/>
                    <a:gd name="connsiteX3" fmla="*/ 5485 w 6800"/>
                    <a:gd name="connsiteY3" fmla="*/ 1451 h 6745"/>
                    <a:gd name="connsiteX4" fmla="*/ 5903 w 6800"/>
                    <a:gd name="connsiteY4" fmla="*/ 1033 h 6745"/>
                    <a:gd name="connsiteX5" fmla="*/ 5305 w 6800"/>
                    <a:gd name="connsiteY5" fmla="*/ 554 h 6745"/>
                    <a:gd name="connsiteX6" fmla="*/ 580 w 6800"/>
                    <a:gd name="connsiteY6" fmla="*/ 1511 h 6745"/>
                    <a:gd name="connsiteX7" fmla="*/ 1537 w 6800"/>
                    <a:gd name="connsiteY7" fmla="*/ 6236 h 6745"/>
                    <a:gd name="connsiteX8" fmla="*/ 6262 w 6800"/>
                    <a:gd name="connsiteY8" fmla="*/ 5219 h 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00" h="6745">
                      <a:moveTo>
                        <a:pt x="6262" y="5219"/>
                      </a:moveTo>
                      <a:cubicBezTo>
                        <a:pt x="6561" y="4741"/>
                        <a:pt x="6741" y="4203"/>
                        <a:pt x="6801" y="3724"/>
                      </a:cubicBezTo>
                      <a:cubicBezTo>
                        <a:pt x="6501" y="3724"/>
                        <a:pt x="6143" y="3724"/>
                        <a:pt x="5903" y="3485"/>
                      </a:cubicBezTo>
                      <a:cubicBezTo>
                        <a:pt x="5246" y="3066"/>
                        <a:pt x="5006" y="2109"/>
                        <a:pt x="5485" y="1451"/>
                      </a:cubicBezTo>
                      <a:cubicBezTo>
                        <a:pt x="5605" y="1272"/>
                        <a:pt x="5724" y="1152"/>
                        <a:pt x="5903" y="1033"/>
                      </a:cubicBezTo>
                      <a:cubicBezTo>
                        <a:pt x="5724" y="853"/>
                        <a:pt x="5545" y="674"/>
                        <a:pt x="5305" y="554"/>
                      </a:cubicBezTo>
                      <a:cubicBezTo>
                        <a:pt x="3750" y="-463"/>
                        <a:pt x="1657" y="-44"/>
                        <a:pt x="580" y="1511"/>
                      </a:cubicBezTo>
                      <a:cubicBezTo>
                        <a:pt x="-496" y="3066"/>
                        <a:pt x="-18" y="5159"/>
                        <a:pt x="1537" y="6236"/>
                      </a:cubicBezTo>
                      <a:cubicBezTo>
                        <a:pt x="3152" y="7193"/>
                        <a:pt x="5246" y="6774"/>
                        <a:pt x="6262" y="5219"/>
                      </a:cubicBezTo>
                      <a:close/>
                    </a:path>
                  </a:pathLst>
                </a:custGeom>
                <a:noFill/>
                <a:ln w="1515" cap="flat">
                  <a:solidFill>
                    <a:srgbClr val="FFFFFF"/>
                  </a:solidFill>
                  <a:prstDash val="solid"/>
                  <a:miter/>
                </a:ln>
              </p:spPr>
              <p:txBody>
                <a:bodyPr rtlCol="0" anchor="ctr"/>
                <a:lstStyle/>
                <a:p>
                  <a:endParaRPr lang="en-GB"/>
                </a:p>
              </p:txBody>
            </p:sp>
            <p:sp>
              <p:nvSpPr>
                <p:cNvPr id="7337" name="Vrije vorm: vorm 7336">
                  <a:extLst>
                    <a:ext uri="{FF2B5EF4-FFF2-40B4-BE49-F238E27FC236}">
                      <a16:creationId xmlns:a16="http://schemas.microsoft.com/office/drawing/2014/main" id="{F34948A6-F6F2-4774-87B8-4C6685E20AB9}"/>
                    </a:ext>
                  </a:extLst>
                </p:cNvPr>
                <p:cNvSpPr/>
                <p:nvPr/>
              </p:nvSpPr>
              <p:spPr>
                <a:xfrm>
                  <a:off x="7647185" y="5081883"/>
                  <a:ext cx="13422" cy="18815"/>
                </a:xfrm>
                <a:custGeom>
                  <a:avLst/>
                  <a:gdLst>
                    <a:gd name="connsiteX0" fmla="*/ 4929 w 13422"/>
                    <a:gd name="connsiteY0" fmla="*/ 2129 h 18815"/>
                    <a:gd name="connsiteX1" fmla="*/ 4510 w 13422"/>
                    <a:gd name="connsiteY1" fmla="*/ 156 h 18815"/>
                    <a:gd name="connsiteX2" fmla="*/ 982 w 13422"/>
                    <a:gd name="connsiteY2" fmla="*/ 2189 h 18815"/>
                    <a:gd name="connsiteX3" fmla="*/ 504 w 13422"/>
                    <a:gd name="connsiteY3" fmla="*/ 6256 h 18815"/>
                    <a:gd name="connsiteX4" fmla="*/ 2357 w 13422"/>
                    <a:gd name="connsiteY4" fmla="*/ 5957 h 18815"/>
                    <a:gd name="connsiteX5" fmla="*/ 11807 w 13422"/>
                    <a:gd name="connsiteY5" fmla="*/ 18816 h 18815"/>
                    <a:gd name="connsiteX6" fmla="*/ 13422 w 13422"/>
                    <a:gd name="connsiteY6" fmla="*/ 11400 h 18815"/>
                    <a:gd name="connsiteX7" fmla="*/ 4929 w 13422"/>
                    <a:gd name="connsiteY7" fmla="*/ 2129 h 1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22" h="18815">
                      <a:moveTo>
                        <a:pt x="4929" y="2129"/>
                      </a:moveTo>
                      <a:cubicBezTo>
                        <a:pt x="5109" y="1233"/>
                        <a:pt x="4989" y="515"/>
                        <a:pt x="4510" y="156"/>
                      </a:cubicBezTo>
                      <a:cubicBezTo>
                        <a:pt x="3673" y="-382"/>
                        <a:pt x="2118" y="515"/>
                        <a:pt x="982" y="2189"/>
                      </a:cubicBezTo>
                      <a:cubicBezTo>
                        <a:pt x="-94" y="3864"/>
                        <a:pt x="-334" y="5658"/>
                        <a:pt x="504" y="6256"/>
                      </a:cubicBezTo>
                      <a:cubicBezTo>
                        <a:pt x="982" y="6555"/>
                        <a:pt x="1639" y="6436"/>
                        <a:pt x="2357" y="5957"/>
                      </a:cubicBezTo>
                      <a:cubicBezTo>
                        <a:pt x="6903" y="9306"/>
                        <a:pt x="10132" y="13792"/>
                        <a:pt x="11807" y="18816"/>
                      </a:cubicBezTo>
                      <a:lnTo>
                        <a:pt x="13422" y="11400"/>
                      </a:lnTo>
                      <a:cubicBezTo>
                        <a:pt x="11328" y="7871"/>
                        <a:pt x="8458" y="4701"/>
                        <a:pt x="4929" y="2129"/>
                      </a:cubicBezTo>
                      <a:close/>
                    </a:path>
                  </a:pathLst>
                </a:custGeom>
                <a:noFill/>
                <a:ln w="1515" cap="flat">
                  <a:solidFill>
                    <a:srgbClr val="FFFFFF"/>
                  </a:solidFill>
                  <a:prstDash val="solid"/>
                  <a:miter/>
                </a:ln>
              </p:spPr>
              <p:txBody>
                <a:bodyPr rtlCol="0" anchor="ctr"/>
                <a:lstStyle/>
                <a:p>
                  <a:endParaRPr lang="en-GB"/>
                </a:p>
              </p:txBody>
            </p:sp>
            <p:sp>
              <p:nvSpPr>
                <p:cNvPr id="7338" name="Vrije vorm: vorm 7337">
                  <a:extLst>
                    <a:ext uri="{FF2B5EF4-FFF2-40B4-BE49-F238E27FC236}">
                      <a16:creationId xmlns:a16="http://schemas.microsoft.com/office/drawing/2014/main" id="{785EF7BD-221F-4A2C-8253-CBC47D6E836B}"/>
                    </a:ext>
                  </a:extLst>
                </p:cNvPr>
                <p:cNvSpPr/>
                <p:nvPr/>
              </p:nvSpPr>
              <p:spPr>
                <a:xfrm>
                  <a:off x="7615607" y="5130147"/>
                  <a:ext cx="19880" cy="9845"/>
                </a:xfrm>
                <a:custGeom>
                  <a:avLst/>
                  <a:gdLst>
                    <a:gd name="connsiteX0" fmla="*/ 4989 w 19880"/>
                    <a:gd name="connsiteY0" fmla="*/ 1950 h 9845"/>
                    <a:gd name="connsiteX1" fmla="*/ 4511 w 19880"/>
                    <a:gd name="connsiteY1" fmla="*/ 156 h 9845"/>
                    <a:gd name="connsiteX2" fmla="*/ 982 w 19880"/>
                    <a:gd name="connsiteY2" fmla="*/ 2190 h 9845"/>
                    <a:gd name="connsiteX3" fmla="*/ 504 w 19880"/>
                    <a:gd name="connsiteY3" fmla="*/ 6256 h 9845"/>
                    <a:gd name="connsiteX4" fmla="*/ 2477 w 19880"/>
                    <a:gd name="connsiteY4" fmla="*/ 5838 h 9845"/>
                    <a:gd name="connsiteX5" fmla="*/ 13900 w 19880"/>
                    <a:gd name="connsiteY5" fmla="*/ 9845 h 9845"/>
                    <a:gd name="connsiteX6" fmla="*/ 19881 w 19880"/>
                    <a:gd name="connsiteY6" fmla="*/ 5479 h 9845"/>
                    <a:gd name="connsiteX7" fmla="*/ 4989 w 19880"/>
                    <a:gd name="connsiteY7" fmla="*/ 1950 h 9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80" h="9845">
                      <a:moveTo>
                        <a:pt x="4989" y="1950"/>
                      </a:moveTo>
                      <a:cubicBezTo>
                        <a:pt x="5109" y="1113"/>
                        <a:pt x="4989" y="455"/>
                        <a:pt x="4511" y="156"/>
                      </a:cubicBezTo>
                      <a:cubicBezTo>
                        <a:pt x="3673" y="-382"/>
                        <a:pt x="2118" y="515"/>
                        <a:pt x="982" y="2190"/>
                      </a:cubicBezTo>
                      <a:cubicBezTo>
                        <a:pt x="-94" y="3864"/>
                        <a:pt x="-334" y="5658"/>
                        <a:pt x="504" y="6256"/>
                      </a:cubicBezTo>
                      <a:cubicBezTo>
                        <a:pt x="982" y="6555"/>
                        <a:pt x="1699" y="6376"/>
                        <a:pt x="2477" y="5838"/>
                      </a:cubicBezTo>
                      <a:cubicBezTo>
                        <a:pt x="6066" y="7991"/>
                        <a:pt x="9953" y="9307"/>
                        <a:pt x="13900" y="9845"/>
                      </a:cubicBezTo>
                      <a:lnTo>
                        <a:pt x="19881" y="5479"/>
                      </a:lnTo>
                      <a:cubicBezTo>
                        <a:pt x="14857" y="5838"/>
                        <a:pt x="9654" y="4701"/>
                        <a:pt x="4989" y="1950"/>
                      </a:cubicBezTo>
                      <a:close/>
                    </a:path>
                  </a:pathLst>
                </a:custGeom>
                <a:noFill/>
                <a:ln w="1515" cap="flat">
                  <a:solidFill>
                    <a:srgbClr val="FFFFFF"/>
                  </a:solidFill>
                  <a:prstDash val="solid"/>
                  <a:miter/>
                </a:ln>
              </p:spPr>
              <p:txBody>
                <a:bodyPr rtlCol="0" anchor="ctr"/>
                <a:lstStyle/>
                <a:p>
                  <a:endParaRPr lang="en-GB"/>
                </a:p>
              </p:txBody>
            </p:sp>
            <p:sp>
              <p:nvSpPr>
                <p:cNvPr id="7339" name="Vrije vorm: vorm 7338">
                  <a:extLst>
                    <a:ext uri="{FF2B5EF4-FFF2-40B4-BE49-F238E27FC236}">
                      <a16:creationId xmlns:a16="http://schemas.microsoft.com/office/drawing/2014/main" id="{A2E795EE-2953-4E1A-BB30-ED1A3CBEDD10}"/>
                    </a:ext>
                  </a:extLst>
                </p:cNvPr>
                <p:cNvSpPr/>
                <p:nvPr/>
              </p:nvSpPr>
              <p:spPr>
                <a:xfrm>
                  <a:off x="7700257" y="5081200"/>
                  <a:ext cx="9869" cy="8672"/>
                </a:xfrm>
                <a:custGeom>
                  <a:avLst/>
                  <a:gdLst>
                    <a:gd name="connsiteX0" fmla="*/ 5803 w 9869"/>
                    <a:gd name="connsiteY0" fmla="*/ 180 h 8672"/>
                    <a:gd name="connsiteX1" fmla="*/ 1318 w 9869"/>
                    <a:gd name="connsiteY1" fmla="*/ 2931 h 8672"/>
                    <a:gd name="connsiteX2" fmla="*/ 600 w 9869"/>
                    <a:gd name="connsiteY2" fmla="*/ 8134 h 8672"/>
                    <a:gd name="connsiteX3" fmla="*/ 1378 w 9869"/>
                    <a:gd name="connsiteY3" fmla="*/ 8673 h 8672"/>
                    <a:gd name="connsiteX4" fmla="*/ 9870 w 9869"/>
                    <a:gd name="connsiteY4" fmla="*/ 2931 h 8672"/>
                    <a:gd name="connsiteX5" fmla="*/ 5803 w 9869"/>
                    <a:gd name="connsiteY5" fmla="*/ 180 h 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9" h="8672">
                      <a:moveTo>
                        <a:pt x="5803" y="180"/>
                      </a:moveTo>
                      <a:cubicBezTo>
                        <a:pt x="4786" y="-478"/>
                        <a:pt x="2753" y="718"/>
                        <a:pt x="1318" y="2931"/>
                      </a:cubicBezTo>
                      <a:cubicBezTo>
                        <a:pt x="-118" y="5144"/>
                        <a:pt x="-417" y="7417"/>
                        <a:pt x="600" y="8134"/>
                      </a:cubicBezTo>
                      <a:lnTo>
                        <a:pt x="1378" y="8673"/>
                      </a:lnTo>
                      <a:lnTo>
                        <a:pt x="9870" y="2931"/>
                      </a:lnTo>
                      <a:lnTo>
                        <a:pt x="5803" y="180"/>
                      </a:lnTo>
                      <a:close/>
                    </a:path>
                  </a:pathLst>
                </a:custGeom>
                <a:noFill/>
                <a:ln w="1515" cap="flat">
                  <a:solidFill>
                    <a:srgbClr val="FFFFFF"/>
                  </a:solidFill>
                  <a:prstDash val="solid"/>
                  <a:miter/>
                </a:ln>
              </p:spPr>
              <p:txBody>
                <a:bodyPr rtlCol="0" anchor="ctr"/>
                <a:lstStyle/>
                <a:p>
                  <a:endParaRPr lang="en-GB"/>
                </a:p>
              </p:txBody>
            </p:sp>
            <p:sp>
              <p:nvSpPr>
                <p:cNvPr id="7340" name="Vrije vorm: vorm 7339">
                  <a:extLst>
                    <a:ext uri="{FF2B5EF4-FFF2-40B4-BE49-F238E27FC236}">
                      <a16:creationId xmlns:a16="http://schemas.microsoft.com/office/drawing/2014/main" id="{CC6E9A0B-A8C7-48FF-8DA9-573D30BC7609}"/>
                    </a:ext>
                  </a:extLst>
                </p:cNvPr>
                <p:cNvSpPr/>
                <p:nvPr/>
              </p:nvSpPr>
              <p:spPr>
                <a:xfrm>
                  <a:off x="7638177" y="5176055"/>
                  <a:ext cx="5923" cy="10406"/>
                </a:xfrm>
                <a:custGeom>
                  <a:avLst/>
                  <a:gdLst>
                    <a:gd name="connsiteX0" fmla="*/ 5803 w 5923"/>
                    <a:gd name="connsiteY0" fmla="*/ 180 h 10406"/>
                    <a:gd name="connsiteX1" fmla="*/ 1318 w 5923"/>
                    <a:gd name="connsiteY1" fmla="*/ 2931 h 10406"/>
                    <a:gd name="connsiteX2" fmla="*/ 600 w 5923"/>
                    <a:gd name="connsiteY2" fmla="*/ 8134 h 10406"/>
                    <a:gd name="connsiteX3" fmla="*/ 4069 w 5923"/>
                    <a:gd name="connsiteY3" fmla="*/ 10407 h 10406"/>
                    <a:gd name="connsiteX4" fmla="*/ 5923 w 5923"/>
                    <a:gd name="connsiteY4" fmla="*/ 300 h 10406"/>
                    <a:gd name="connsiteX5" fmla="*/ 5803 w 5923"/>
                    <a:gd name="connsiteY5" fmla="*/ 180 h 1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3" h="10406">
                      <a:moveTo>
                        <a:pt x="5803" y="180"/>
                      </a:moveTo>
                      <a:cubicBezTo>
                        <a:pt x="4786" y="-478"/>
                        <a:pt x="2753" y="718"/>
                        <a:pt x="1318" y="2931"/>
                      </a:cubicBezTo>
                      <a:cubicBezTo>
                        <a:pt x="-118" y="5144"/>
                        <a:pt x="-417" y="7417"/>
                        <a:pt x="600" y="8134"/>
                      </a:cubicBezTo>
                      <a:lnTo>
                        <a:pt x="4069" y="10407"/>
                      </a:lnTo>
                      <a:lnTo>
                        <a:pt x="5923" y="300"/>
                      </a:lnTo>
                      <a:lnTo>
                        <a:pt x="5803" y="180"/>
                      </a:lnTo>
                      <a:close/>
                    </a:path>
                  </a:pathLst>
                </a:custGeom>
                <a:noFill/>
                <a:ln w="1515" cap="flat">
                  <a:solidFill>
                    <a:srgbClr val="FFFFFF"/>
                  </a:solidFill>
                  <a:prstDash val="solid"/>
                  <a:miter/>
                </a:ln>
              </p:spPr>
              <p:txBody>
                <a:bodyPr rtlCol="0" anchor="ctr"/>
                <a:lstStyle/>
                <a:p>
                  <a:endParaRPr lang="en-GB"/>
                </a:p>
              </p:txBody>
            </p:sp>
            <p:sp>
              <p:nvSpPr>
                <p:cNvPr id="7341" name="Vrije vorm: vorm 7340">
                  <a:extLst>
                    <a:ext uri="{FF2B5EF4-FFF2-40B4-BE49-F238E27FC236}">
                      <a16:creationId xmlns:a16="http://schemas.microsoft.com/office/drawing/2014/main" id="{4B3D071F-4F8E-4899-A046-4EF6B23C362F}"/>
                    </a:ext>
                  </a:extLst>
                </p:cNvPr>
                <p:cNvSpPr/>
                <p:nvPr/>
              </p:nvSpPr>
              <p:spPr>
                <a:xfrm>
                  <a:off x="7645828" y="5147228"/>
                  <a:ext cx="29249" cy="67112"/>
                </a:xfrm>
                <a:custGeom>
                  <a:avLst/>
                  <a:gdLst>
                    <a:gd name="connsiteX0" fmla="*/ 18666 w 29249"/>
                    <a:gd name="connsiteY0" fmla="*/ 43540 h 67112"/>
                    <a:gd name="connsiteX1" fmla="*/ 22853 w 29249"/>
                    <a:gd name="connsiteY1" fmla="*/ 38037 h 67112"/>
                    <a:gd name="connsiteX2" fmla="*/ 28834 w 29249"/>
                    <a:gd name="connsiteY2" fmla="*/ 24043 h 67112"/>
                    <a:gd name="connsiteX3" fmla="*/ 17770 w 29249"/>
                    <a:gd name="connsiteY3" fmla="*/ 34688 h 67112"/>
                    <a:gd name="connsiteX4" fmla="*/ 14720 w 29249"/>
                    <a:gd name="connsiteY4" fmla="*/ 39832 h 67112"/>
                    <a:gd name="connsiteX5" fmla="*/ 12148 w 29249"/>
                    <a:gd name="connsiteY5" fmla="*/ 38157 h 67112"/>
                    <a:gd name="connsiteX6" fmla="*/ 13942 w 29249"/>
                    <a:gd name="connsiteY6" fmla="*/ 34987 h 67112"/>
                    <a:gd name="connsiteX7" fmla="*/ 22136 w 29249"/>
                    <a:gd name="connsiteY7" fmla="*/ 0 h 67112"/>
                    <a:gd name="connsiteX8" fmla="*/ 7304 w 29249"/>
                    <a:gd name="connsiteY8" fmla="*/ 3768 h 67112"/>
                    <a:gd name="connsiteX9" fmla="*/ 126 w 29249"/>
                    <a:gd name="connsiteY9" fmla="*/ 42224 h 67112"/>
                    <a:gd name="connsiteX10" fmla="*/ 4612 w 29249"/>
                    <a:gd name="connsiteY10" fmla="*/ 49162 h 67112"/>
                    <a:gd name="connsiteX11" fmla="*/ 6885 w 29249"/>
                    <a:gd name="connsiteY11" fmla="*/ 46052 h 67112"/>
                    <a:gd name="connsiteX12" fmla="*/ 9457 w 29249"/>
                    <a:gd name="connsiteY12" fmla="*/ 47726 h 67112"/>
                    <a:gd name="connsiteX13" fmla="*/ 5987 w 29249"/>
                    <a:gd name="connsiteY13" fmla="*/ 52571 h 67112"/>
                    <a:gd name="connsiteX14" fmla="*/ 664 w 29249"/>
                    <a:gd name="connsiteY14" fmla="*/ 66984 h 67112"/>
                    <a:gd name="connsiteX15" fmla="*/ 11131 w 29249"/>
                    <a:gd name="connsiteY15" fmla="*/ 55920 h 67112"/>
                    <a:gd name="connsiteX16" fmla="*/ 14540 w 29249"/>
                    <a:gd name="connsiteY16" fmla="*/ 49879 h 67112"/>
                    <a:gd name="connsiteX17" fmla="*/ 18547 w 29249"/>
                    <a:gd name="connsiteY17" fmla="*/ 48324 h 67112"/>
                    <a:gd name="connsiteX18" fmla="*/ 18786 w 29249"/>
                    <a:gd name="connsiteY18" fmla="*/ 48145 h 67112"/>
                    <a:gd name="connsiteX19" fmla="*/ 18906 w 29249"/>
                    <a:gd name="connsiteY19" fmla="*/ 47786 h 67112"/>
                    <a:gd name="connsiteX20" fmla="*/ 18666 w 29249"/>
                    <a:gd name="connsiteY20" fmla="*/ 43540 h 67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249" h="67112">
                      <a:moveTo>
                        <a:pt x="18666" y="43540"/>
                      </a:moveTo>
                      <a:cubicBezTo>
                        <a:pt x="19983" y="42045"/>
                        <a:pt x="21358" y="40250"/>
                        <a:pt x="22853" y="38037"/>
                      </a:cubicBezTo>
                      <a:cubicBezTo>
                        <a:pt x="27399" y="31100"/>
                        <a:pt x="30389" y="25059"/>
                        <a:pt x="28834" y="24043"/>
                      </a:cubicBezTo>
                      <a:cubicBezTo>
                        <a:pt x="27219" y="23026"/>
                        <a:pt x="22255" y="27751"/>
                        <a:pt x="17770" y="34688"/>
                      </a:cubicBezTo>
                      <a:cubicBezTo>
                        <a:pt x="16633" y="36483"/>
                        <a:pt x="15616" y="38217"/>
                        <a:pt x="14720" y="39832"/>
                      </a:cubicBezTo>
                      <a:lnTo>
                        <a:pt x="12148" y="38157"/>
                      </a:lnTo>
                      <a:cubicBezTo>
                        <a:pt x="12686" y="37140"/>
                        <a:pt x="13284" y="36064"/>
                        <a:pt x="13942" y="34987"/>
                      </a:cubicBezTo>
                      <a:lnTo>
                        <a:pt x="22136" y="0"/>
                      </a:lnTo>
                      <a:cubicBezTo>
                        <a:pt x="16992" y="3050"/>
                        <a:pt x="11669" y="4067"/>
                        <a:pt x="7304" y="3768"/>
                      </a:cubicBezTo>
                      <a:lnTo>
                        <a:pt x="126" y="42224"/>
                      </a:lnTo>
                      <a:cubicBezTo>
                        <a:pt x="-532" y="45394"/>
                        <a:pt x="1442" y="48504"/>
                        <a:pt x="4612" y="49162"/>
                      </a:cubicBezTo>
                      <a:cubicBezTo>
                        <a:pt x="5389" y="48085"/>
                        <a:pt x="6107" y="47068"/>
                        <a:pt x="6885" y="46052"/>
                      </a:cubicBezTo>
                      <a:lnTo>
                        <a:pt x="9457" y="47726"/>
                      </a:lnTo>
                      <a:cubicBezTo>
                        <a:pt x="8320" y="49162"/>
                        <a:pt x="7124" y="50776"/>
                        <a:pt x="5987" y="52571"/>
                      </a:cubicBezTo>
                      <a:cubicBezTo>
                        <a:pt x="1442" y="59508"/>
                        <a:pt x="-950" y="65908"/>
                        <a:pt x="664" y="66984"/>
                      </a:cubicBezTo>
                      <a:cubicBezTo>
                        <a:pt x="2279" y="68001"/>
                        <a:pt x="6586" y="62857"/>
                        <a:pt x="11131" y="55920"/>
                      </a:cubicBezTo>
                      <a:cubicBezTo>
                        <a:pt x="12567" y="53707"/>
                        <a:pt x="13703" y="51674"/>
                        <a:pt x="14540" y="49879"/>
                      </a:cubicBezTo>
                      <a:cubicBezTo>
                        <a:pt x="16215" y="49939"/>
                        <a:pt x="17889" y="48803"/>
                        <a:pt x="18547" y="48324"/>
                      </a:cubicBezTo>
                      <a:cubicBezTo>
                        <a:pt x="18726" y="48205"/>
                        <a:pt x="18786" y="48145"/>
                        <a:pt x="18786" y="48145"/>
                      </a:cubicBezTo>
                      <a:cubicBezTo>
                        <a:pt x="18786" y="48145"/>
                        <a:pt x="18846" y="48025"/>
                        <a:pt x="18906" y="47786"/>
                      </a:cubicBezTo>
                      <a:cubicBezTo>
                        <a:pt x="19085" y="47068"/>
                        <a:pt x="19444" y="45095"/>
                        <a:pt x="18666" y="43540"/>
                      </a:cubicBezTo>
                      <a:close/>
                    </a:path>
                  </a:pathLst>
                </a:custGeom>
                <a:noFill/>
                <a:ln w="1515" cap="flat">
                  <a:solidFill>
                    <a:srgbClr val="FFFFFF"/>
                  </a:solidFill>
                  <a:prstDash val="solid"/>
                  <a:miter/>
                </a:ln>
              </p:spPr>
              <p:txBody>
                <a:bodyPr rtlCol="0" anchor="ctr"/>
                <a:lstStyle/>
                <a:p>
                  <a:endParaRPr lang="en-GB"/>
                </a:p>
              </p:txBody>
            </p:sp>
            <p:sp>
              <p:nvSpPr>
                <p:cNvPr id="7342" name="Vrije vorm: vorm 7341">
                  <a:extLst>
                    <a:ext uri="{FF2B5EF4-FFF2-40B4-BE49-F238E27FC236}">
                      <a16:creationId xmlns:a16="http://schemas.microsoft.com/office/drawing/2014/main" id="{9CB32C5D-E947-4B13-89C0-F27E4D96EE3A}"/>
                    </a:ext>
                  </a:extLst>
                </p:cNvPr>
                <p:cNvSpPr/>
                <p:nvPr/>
              </p:nvSpPr>
              <p:spPr>
                <a:xfrm>
                  <a:off x="7681180" y="5076339"/>
                  <a:ext cx="56036" cy="47863"/>
                </a:xfrm>
                <a:custGeom>
                  <a:avLst/>
                  <a:gdLst>
                    <a:gd name="connsiteX0" fmla="*/ 45453 w 56036"/>
                    <a:gd name="connsiteY0" fmla="*/ 19635 h 47863"/>
                    <a:gd name="connsiteX1" fmla="*/ 49640 w 56036"/>
                    <a:gd name="connsiteY1" fmla="*/ 14133 h 47863"/>
                    <a:gd name="connsiteX2" fmla="*/ 55621 w 56036"/>
                    <a:gd name="connsiteY2" fmla="*/ 138 h 47863"/>
                    <a:gd name="connsiteX3" fmla="*/ 44556 w 56036"/>
                    <a:gd name="connsiteY3" fmla="*/ 10783 h 47863"/>
                    <a:gd name="connsiteX4" fmla="*/ 41507 w 56036"/>
                    <a:gd name="connsiteY4" fmla="*/ 15927 h 47863"/>
                    <a:gd name="connsiteX5" fmla="*/ 38935 w 56036"/>
                    <a:gd name="connsiteY5" fmla="*/ 14252 h 47863"/>
                    <a:gd name="connsiteX6" fmla="*/ 39892 w 56036"/>
                    <a:gd name="connsiteY6" fmla="*/ 12578 h 47863"/>
                    <a:gd name="connsiteX7" fmla="*/ 39892 w 56036"/>
                    <a:gd name="connsiteY7" fmla="*/ 12518 h 47863"/>
                    <a:gd name="connsiteX8" fmla="*/ 31698 w 56036"/>
                    <a:gd name="connsiteY8" fmla="*/ 11142 h 47863"/>
                    <a:gd name="connsiteX9" fmla="*/ 0 w 56036"/>
                    <a:gd name="connsiteY9" fmla="*/ 32673 h 47863"/>
                    <a:gd name="connsiteX10" fmla="*/ 2273 w 56036"/>
                    <a:gd name="connsiteY10" fmla="*/ 47864 h 47863"/>
                    <a:gd name="connsiteX11" fmla="*/ 30502 w 56036"/>
                    <a:gd name="connsiteY11" fmla="*/ 26752 h 47863"/>
                    <a:gd name="connsiteX12" fmla="*/ 33791 w 56036"/>
                    <a:gd name="connsiteY12" fmla="*/ 22206 h 47863"/>
                    <a:gd name="connsiteX13" fmla="*/ 36363 w 56036"/>
                    <a:gd name="connsiteY13" fmla="*/ 23881 h 47863"/>
                    <a:gd name="connsiteX14" fmla="*/ 32894 w 56036"/>
                    <a:gd name="connsiteY14" fmla="*/ 28726 h 47863"/>
                    <a:gd name="connsiteX15" fmla="*/ 27571 w 56036"/>
                    <a:gd name="connsiteY15" fmla="*/ 43139 h 47863"/>
                    <a:gd name="connsiteX16" fmla="*/ 38037 w 56036"/>
                    <a:gd name="connsiteY16" fmla="*/ 32075 h 47863"/>
                    <a:gd name="connsiteX17" fmla="*/ 41447 w 56036"/>
                    <a:gd name="connsiteY17" fmla="*/ 26034 h 47863"/>
                    <a:gd name="connsiteX18" fmla="*/ 45453 w 56036"/>
                    <a:gd name="connsiteY18" fmla="*/ 24479 h 47863"/>
                    <a:gd name="connsiteX19" fmla="*/ 45693 w 56036"/>
                    <a:gd name="connsiteY19" fmla="*/ 24300 h 47863"/>
                    <a:gd name="connsiteX20" fmla="*/ 45813 w 56036"/>
                    <a:gd name="connsiteY20" fmla="*/ 23941 h 47863"/>
                    <a:gd name="connsiteX21" fmla="*/ 45453 w 56036"/>
                    <a:gd name="connsiteY21" fmla="*/ 19635 h 4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036" h="47863">
                      <a:moveTo>
                        <a:pt x="45453" y="19635"/>
                      </a:moveTo>
                      <a:cubicBezTo>
                        <a:pt x="46769" y="18140"/>
                        <a:pt x="48145" y="16345"/>
                        <a:pt x="49640" y="14133"/>
                      </a:cubicBezTo>
                      <a:cubicBezTo>
                        <a:pt x="54186" y="7195"/>
                        <a:pt x="57176" y="1155"/>
                        <a:pt x="55621" y="138"/>
                      </a:cubicBezTo>
                      <a:cubicBezTo>
                        <a:pt x="54006" y="-879"/>
                        <a:pt x="49042" y="3846"/>
                        <a:pt x="44556" y="10783"/>
                      </a:cubicBezTo>
                      <a:cubicBezTo>
                        <a:pt x="43420" y="12578"/>
                        <a:pt x="42403" y="14312"/>
                        <a:pt x="41507" y="15927"/>
                      </a:cubicBezTo>
                      <a:lnTo>
                        <a:pt x="38935" y="14252"/>
                      </a:lnTo>
                      <a:cubicBezTo>
                        <a:pt x="39234" y="13714"/>
                        <a:pt x="39532" y="13116"/>
                        <a:pt x="39892" y="12578"/>
                      </a:cubicBezTo>
                      <a:cubicBezTo>
                        <a:pt x="39892" y="12578"/>
                        <a:pt x="39892" y="12578"/>
                        <a:pt x="39892" y="12518"/>
                      </a:cubicBezTo>
                      <a:cubicBezTo>
                        <a:pt x="38037" y="9886"/>
                        <a:pt x="34329" y="9228"/>
                        <a:pt x="31698" y="11142"/>
                      </a:cubicBezTo>
                      <a:lnTo>
                        <a:pt x="0" y="32673"/>
                      </a:lnTo>
                      <a:cubicBezTo>
                        <a:pt x="1973" y="36620"/>
                        <a:pt x="3110" y="41943"/>
                        <a:pt x="2273" y="47864"/>
                      </a:cubicBezTo>
                      <a:lnTo>
                        <a:pt x="30502" y="26752"/>
                      </a:lnTo>
                      <a:cubicBezTo>
                        <a:pt x="31578" y="25137"/>
                        <a:pt x="32714" y="23582"/>
                        <a:pt x="33791" y="22206"/>
                      </a:cubicBezTo>
                      <a:lnTo>
                        <a:pt x="36363" y="23881"/>
                      </a:lnTo>
                      <a:cubicBezTo>
                        <a:pt x="35227" y="25317"/>
                        <a:pt x="34031" y="26931"/>
                        <a:pt x="32894" y="28726"/>
                      </a:cubicBezTo>
                      <a:cubicBezTo>
                        <a:pt x="28349" y="35663"/>
                        <a:pt x="25956" y="42062"/>
                        <a:pt x="27571" y="43139"/>
                      </a:cubicBezTo>
                      <a:cubicBezTo>
                        <a:pt x="29186" y="44156"/>
                        <a:pt x="33492" y="39012"/>
                        <a:pt x="38037" y="32075"/>
                      </a:cubicBezTo>
                      <a:cubicBezTo>
                        <a:pt x="39532" y="29862"/>
                        <a:pt x="40609" y="27828"/>
                        <a:pt x="41447" y="26034"/>
                      </a:cubicBezTo>
                      <a:cubicBezTo>
                        <a:pt x="43121" y="26094"/>
                        <a:pt x="44796" y="24958"/>
                        <a:pt x="45453" y="24479"/>
                      </a:cubicBezTo>
                      <a:cubicBezTo>
                        <a:pt x="45633" y="24360"/>
                        <a:pt x="45693" y="24300"/>
                        <a:pt x="45693" y="24300"/>
                      </a:cubicBezTo>
                      <a:cubicBezTo>
                        <a:pt x="45693" y="24300"/>
                        <a:pt x="45753" y="24180"/>
                        <a:pt x="45813" y="23941"/>
                      </a:cubicBezTo>
                      <a:cubicBezTo>
                        <a:pt x="45813" y="23104"/>
                        <a:pt x="46171" y="21130"/>
                        <a:pt x="45453" y="19635"/>
                      </a:cubicBezTo>
                      <a:close/>
                    </a:path>
                  </a:pathLst>
                </a:custGeom>
                <a:noFill/>
                <a:ln w="1515" cap="flat">
                  <a:solidFill>
                    <a:srgbClr val="FFFFFF"/>
                  </a:solidFill>
                  <a:prstDash val="solid"/>
                  <a:miter/>
                </a:ln>
              </p:spPr>
              <p:txBody>
                <a:bodyPr rtlCol="0" anchor="ctr"/>
                <a:lstStyle/>
                <a:p>
                  <a:endParaRPr lang="en-GB"/>
                </a:p>
              </p:txBody>
            </p:sp>
            <p:sp>
              <p:nvSpPr>
                <p:cNvPr id="7343" name="Vrije vorm: vorm 7342">
                  <a:extLst>
                    <a:ext uri="{FF2B5EF4-FFF2-40B4-BE49-F238E27FC236}">
                      <a16:creationId xmlns:a16="http://schemas.microsoft.com/office/drawing/2014/main" id="{F50B398B-83CF-4F2B-A42C-95B64E560EEF}"/>
                    </a:ext>
                  </a:extLst>
                </p:cNvPr>
                <p:cNvSpPr/>
                <p:nvPr/>
              </p:nvSpPr>
              <p:spPr>
                <a:xfrm>
                  <a:off x="7599362" y="5153388"/>
                  <a:ext cx="8793" cy="9210"/>
                </a:xfrm>
                <a:custGeom>
                  <a:avLst/>
                  <a:gdLst>
                    <a:gd name="connsiteX0" fmla="*/ 5982 w 8793"/>
                    <a:gd name="connsiteY0" fmla="*/ 4187 h 9210"/>
                    <a:gd name="connsiteX1" fmla="*/ 8794 w 8793"/>
                    <a:gd name="connsiteY1" fmla="*/ 2154 h 9210"/>
                    <a:gd name="connsiteX2" fmla="*/ 5803 w 8793"/>
                    <a:gd name="connsiteY2" fmla="*/ 180 h 9210"/>
                    <a:gd name="connsiteX3" fmla="*/ 1318 w 8793"/>
                    <a:gd name="connsiteY3" fmla="*/ 2931 h 9210"/>
                    <a:gd name="connsiteX4" fmla="*/ 600 w 8793"/>
                    <a:gd name="connsiteY4" fmla="*/ 8134 h 9210"/>
                    <a:gd name="connsiteX5" fmla="*/ 2215 w 8793"/>
                    <a:gd name="connsiteY5" fmla="*/ 9211 h 9210"/>
                    <a:gd name="connsiteX6" fmla="*/ 3291 w 8793"/>
                    <a:gd name="connsiteY6" fmla="*/ 6938 h 9210"/>
                    <a:gd name="connsiteX7" fmla="*/ 5982 w 8793"/>
                    <a:gd name="connsiteY7" fmla="*/ 4187 h 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3" h="9210">
                      <a:moveTo>
                        <a:pt x="5982" y="4187"/>
                      </a:moveTo>
                      <a:lnTo>
                        <a:pt x="8794" y="2154"/>
                      </a:lnTo>
                      <a:lnTo>
                        <a:pt x="5803" y="180"/>
                      </a:lnTo>
                      <a:cubicBezTo>
                        <a:pt x="4786" y="-478"/>
                        <a:pt x="2753" y="718"/>
                        <a:pt x="1318" y="2931"/>
                      </a:cubicBezTo>
                      <a:cubicBezTo>
                        <a:pt x="-118" y="5144"/>
                        <a:pt x="-417" y="7417"/>
                        <a:pt x="600" y="8134"/>
                      </a:cubicBezTo>
                      <a:lnTo>
                        <a:pt x="2215" y="9211"/>
                      </a:lnTo>
                      <a:cubicBezTo>
                        <a:pt x="2454" y="8433"/>
                        <a:pt x="2813" y="7656"/>
                        <a:pt x="3291" y="6938"/>
                      </a:cubicBezTo>
                      <a:cubicBezTo>
                        <a:pt x="4009" y="5862"/>
                        <a:pt x="4906" y="4905"/>
                        <a:pt x="5982" y="4187"/>
                      </a:cubicBezTo>
                      <a:close/>
                    </a:path>
                  </a:pathLst>
                </a:custGeom>
                <a:noFill/>
                <a:ln w="1515" cap="flat">
                  <a:solidFill>
                    <a:srgbClr val="FFFFFF"/>
                  </a:solidFill>
                  <a:prstDash val="solid"/>
                  <a:miter/>
                </a:ln>
              </p:spPr>
              <p:txBody>
                <a:bodyPr rtlCol="0" anchor="ctr"/>
                <a:lstStyle/>
                <a:p>
                  <a:endParaRPr lang="en-GB"/>
                </a:p>
              </p:txBody>
            </p:sp>
            <p:sp>
              <p:nvSpPr>
                <p:cNvPr id="7344" name="Vrije vorm: vorm 7343">
                  <a:extLst>
                    <a:ext uri="{FF2B5EF4-FFF2-40B4-BE49-F238E27FC236}">
                      <a16:creationId xmlns:a16="http://schemas.microsoft.com/office/drawing/2014/main" id="{D7920CA5-7F7E-45D4-87A3-14775262E99F}"/>
                    </a:ext>
                  </a:extLst>
                </p:cNvPr>
                <p:cNvSpPr/>
                <p:nvPr/>
              </p:nvSpPr>
              <p:spPr>
                <a:xfrm>
                  <a:off x="7662519" y="5056979"/>
                  <a:ext cx="7178" cy="10287"/>
                </a:xfrm>
                <a:custGeom>
                  <a:avLst/>
                  <a:gdLst>
                    <a:gd name="connsiteX0" fmla="*/ 6222 w 7178"/>
                    <a:gd name="connsiteY0" fmla="*/ 2393 h 10287"/>
                    <a:gd name="connsiteX1" fmla="*/ 7178 w 7178"/>
                    <a:gd name="connsiteY1" fmla="*/ 1137 h 10287"/>
                    <a:gd name="connsiteX2" fmla="*/ 5743 w 7178"/>
                    <a:gd name="connsiteY2" fmla="*/ 180 h 10287"/>
                    <a:gd name="connsiteX3" fmla="*/ 1317 w 7178"/>
                    <a:gd name="connsiteY3" fmla="*/ 2931 h 10287"/>
                    <a:gd name="connsiteX4" fmla="*/ 600 w 7178"/>
                    <a:gd name="connsiteY4" fmla="*/ 8134 h 10287"/>
                    <a:gd name="connsiteX5" fmla="*/ 3889 w 7178"/>
                    <a:gd name="connsiteY5" fmla="*/ 10287 h 10287"/>
                    <a:gd name="connsiteX6" fmla="*/ 4847 w 7178"/>
                    <a:gd name="connsiteY6" fmla="*/ 5982 h 10287"/>
                    <a:gd name="connsiteX7" fmla="*/ 6222 w 7178"/>
                    <a:gd name="connsiteY7" fmla="*/ 2393 h 1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8" h="10287">
                      <a:moveTo>
                        <a:pt x="6222" y="2393"/>
                      </a:moveTo>
                      <a:cubicBezTo>
                        <a:pt x="6521" y="1974"/>
                        <a:pt x="6820" y="1555"/>
                        <a:pt x="7178" y="1137"/>
                      </a:cubicBezTo>
                      <a:lnTo>
                        <a:pt x="5743" y="180"/>
                      </a:lnTo>
                      <a:cubicBezTo>
                        <a:pt x="4727" y="-478"/>
                        <a:pt x="2693" y="718"/>
                        <a:pt x="1317" y="2931"/>
                      </a:cubicBezTo>
                      <a:cubicBezTo>
                        <a:pt x="-118" y="5144"/>
                        <a:pt x="-416" y="7417"/>
                        <a:pt x="600" y="8134"/>
                      </a:cubicBezTo>
                      <a:lnTo>
                        <a:pt x="3889" y="10287"/>
                      </a:lnTo>
                      <a:lnTo>
                        <a:pt x="4847" y="5982"/>
                      </a:lnTo>
                      <a:cubicBezTo>
                        <a:pt x="5025" y="4666"/>
                        <a:pt x="5564" y="3469"/>
                        <a:pt x="6222" y="2393"/>
                      </a:cubicBezTo>
                      <a:close/>
                    </a:path>
                  </a:pathLst>
                </a:custGeom>
                <a:noFill/>
                <a:ln w="1515" cap="flat">
                  <a:solidFill>
                    <a:srgbClr val="FFFFFF"/>
                  </a:solidFill>
                  <a:prstDash val="solid"/>
                  <a:miter/>
                </a:ln>
              </p:spPr>
              <p:txBody>
                <a:bodyPr rtlCol="0" anchor="ctr"/>
                <a:lstStyle/>
                <a:p>
                  <a:endParaRPr lang="en-GB"/>
                </a:p>
              </p:txBody>
            </p:sp>
            <p:sp>
              <p:nvSpPr>
                <p:cNvPr id="7345" name="Vrije vorm: vorm 7344">
                  <a:extLst>
                    <a:ext uri="{FF2B5EF4-FFF2-40B4-BE49-F238E27FC236}">
                      <a16:creationId xmlns:a16="http://schemas.microsoft.com/office/drawing/2014/main" id="{199AC5BC-F59D-4B6F-A532-B60F396CDB72}"/>
                    </a:ext>
                  </a:extLst>
                </p:cNvPr>
                <p:cNvSpPr/>
                <p:nvPr/>
              </p:nvSpPr>
              <p:spPr>
                <a:xfrm>
                  <a:off x="7605225" y="5053134"/>
                  <a:ext cx="95595" cy="139556"/>
                </a:xfrm>
                <a:custGeom>
                  <a:avLst/>
                  <a:gdLst>
                    <a:gd name="connsiteX0" fmla="*/ 85046 w 95595"/>
                    <a:gd name="connsiteY0" fmla="*/ 19634 h 139556"/>
                    <a:gd name="connsiteX1" fmla="*/ 89232 w 95595"/>
                    <a:gd name="connsiteY1" fmla="*/ 14132 h 139556"/>
                    <a:gd name="connsiteX2" fmla="*/ 95153 w 95595"/>
                    <a:gd name="connsiteY2" fmla="*/ 138 h 139556"/>
                    <a:gd name="connsiteX3" fmla="*/ 84089 w 95595"/>
                    <a:gd name="connsiteY3" fmla="*/ 10783 h 139556"/>
                    <a:gd name="connsiteX4" fmla="*/ 81099 w 95595"/>
                    <a:gd name="connsiteY4" fmla="*/ 15926 h 139556"/>
                    <a:gd name="connsiteX5" fmla="*/ 77630 w 95595"/>
                    <a:gd name="connsiteY5" fmla="*/ 13654 h 139556"/>
                    <a:gd name="connsiteX6" fmla="*/ 77750 w 95595"/>
                    <a:gd name="connsiteY6" fmla="*/ 12936 h 139556"/>
                    <a:gd name="connsiteX7" fmla="*/ 73085 w 95595"/>
                    <a:gd name="connsiteY7" fmla="*/ 6059 h 139556"/>
                    <a:gd name="connsiteX8" fmla="*/ 67044 w 95595"/>
                    <a:gd name="connsiteY8" fmla="*/ 8630 h 139556"/>
                    <a:gd name="connsiteX9" fmla="*/ 66207 w 95595"/>
                    <a:gd name="connsiteY9" fmla="*/ 10723 h 139556"/>
                    <a:gd name="connsiteX10" fmla="*/ 55083 w 95595"/>
                    <a:gd name="connsiteY10" fmla="*/ 61260 h 139556"/>
                    <a:gd name="connsiteX11" fmla="*/ 49520 w 95595"/>
                    <a:gd name="connsiteY11" fmla="*/ 68676 h 139556"/>
                    <a:gd name="connsiteX12" fmla="*/ 44616 w 95595"/>
                    <a:gd name="connsiteY12" fmla="*/ 77349 h 139556"/>
                    <a:gd name="connsiteX13" fmla="*/ 2512 w 95595"/>
                    <a:gd name="connsiteY13" fmla="*/ 107910 h 139556"/>
                    <a:gd name="connsiteX14" fmla="*/ 957 w 95595"/>
                    <a:gd name="connsiteY14" fmla="*/ 109525 h 139556"/>
                    <a:gd name="connsiteX15" fmla="*/ 1017 w 95595"/>
                    <a:gd name="connsiteY15" fmla="*/ 116104 h 139556"/>
                    <a:gd name="connsiteX16" fmla="*/ 8912 w 95595"/>
                    <a:gd name="connsiteY16" fmla="*/ 117718 h 139556"/>
                    <a:gd name="connsiteX17" fmla="*/ 12679 w 95595"/>
                    <a:gd name="connsiteY17" fmla="*/ 120170 h 139556"/>
                    <a:gd name="connsiteX18" fmla="*/ 9210 w 95595"/>
                    <a:gd name="connsiteY18" fmla="*/ 125015 h 139556"/>
                    <a:gd name="connsiteX19" fmla="*/ 3887 w 95595"/>
                    <a:gd name="connsiteY19" fmla="*/ 139429 h 139556"/>
                    <a:gd name="connsiteX20" fmla="*/ 14354 w 95595"/>
                    <a:gd name="connsiteY20" fmla="*/ 128364 h 139556"/>
                    <a:gd name="connsiteX21" fmla="*/ 17763 w 95595"/>
                    <a:gd name="connsiteY21" fmla="*/ 122324 h 139556"/>
                    <a:gd name="connsiteX22" fmla="*/ 21770 w 95595"/>
                    <a:gd name="connsiteY22" fmla="*/ 120769 h 139556"/>
                    <a:gd name="connsiteX23" fmla="*/ 22009 w 95595"/>
                    <a:gd name="connsiteY23" fmla="*/ 120589 h 139556"/>
                    <a:gd name="connsiteX24" fmla="*/ 22129 w 95595"/>
                    <a:gd name="connsiteY24" fmla="*/ 120290 h 139556"/>
                    <a:gd name="connsiteX25" fmla="*/ 21949 w 95595"/>
                    <a:gd name="connsiteY25" fmla="*/ 116044 h 139556"/>
                    <a:gd name="connsiteX26" fmla="*/ 26136 w 95595"/>
                    <a:gd name="connsiteY26" fmla="*/ 110542 h 139556"/>
                    <a:gd name="connsiteX27" fmla="*/ 32057 w 95595"/>
                    <a:gd name="connsiteY27" fmla="*/ 96547 h 139556"/>
                    <a:gd name="connsiteX28" fmla="*/ 20993 w 95595"/>
                    <a:gd name="connsiteY28" fmla="*/ 107192 h 139556"/>
                    <a:gd name="connsiteX29" fmla="*/ 18002 w 95595"/>
                    <a:gd name="connsiteY29" fmla="*/ 112336 h 139556"/>
                    <a:gd name="connsiteX30" fmla="*/ 15430 w 95595"/>
                    <a:gd name="connsiteY30" fmla="*/ 110661 h 139556"/>
                    <a:gd name="connsiteX31" fmla="*/ 18481 w 95595"/>
                    <a:gd name="connsiteY31" fmla="*/ 105518 h 139556"/>
                    <a:gd name="connsiteX32" fmla="*/ 33791 w 95595"/>
                    <a:gd name="connsiteY32" fmla="*/ 93975 h 139556"/>
                    <a:gd name="connsiteX33" fmla="*/ 35047 w 95595"/>
                    <a:gd name="connsiteY33" fmla="*/ 100614 h 139556"/>
                    <a:gd name="connsiteX34" fmla="*/ 45992 w 95595"/>
                    <a:gd name="connsiteY34" fmla="*/ 93377 h 139556"/>
                    <a:gd name="connsiteX35" fmla="*/ 69556 w 95595"/>
                    <a:gd name="connsiteY35" fmla="*/ 81774 h 139556"/>
                    <a:gd name="connsiteX36" fmla="*/ 70453 w 95595"/>
                    <a:gd name="connsiteY36" fmla="*/ 55160 h 139556"/>
                    <a:gd name="connsiteX37" fmla="*/ 72427 w 95595"/>
                    <a:gd name="connsiteY37" fmla="*/ 43677 h 139556"/>
                    <a:gd name="connsiteX38" fmla="*/ 65429 w 95595"/>
                    <a:gd name="connsiteY38" fmla="*/ 45591 h 139556"/>
                    <a:gd name="connsiteX39" fmla="*/ 69855 w 95595"/>
                    <a:gd name="connsiteY39" fmla="*/ 26931 h 139556"/>
                    <a:gd name="connsiteX40" fmla="*/ 73324 w 95595"/>
                    <a:gd name="connsiteY40" fmla="*/ 22087 h 139556"/>
                    <a:gd name="connsiteX41" fmla="*/ 75895 w 95595"/>
                    <a:gd name="connsiteY41" fmla="*/ 23761 h 139556"/>
                    <a:gd name="connsiteX42" fmla="*/ 72427 w 95595"/>
                    <a:gd name="connsiteY42" fmla="*/ 28606 h 139556"/>
                    <a:gd name="connsiteX43" fmla="*/ 67104 w 95595"/>
                    <a:gd name="connsiteY43" fmla="*/ 43019 h 139556"/>
                    <a:gd name="connsiteX44" fmla="*/ 77570 w 95595"/>
                    <a:gd name="connsiteY44" fmla="*/ 31955 h 139556"/>
                    <a:gd name="connsiteX45" fmla="*/ 80979 w 95595"/>
                    <a:gd name="connsiteY45" fmla="*/ 25915 h 139556"/>
                    <a:gd name="connsiteX46" fmla="*/ 84986 w 95595"/>
                    <a:gd name="connsiteY46" fmla="*/ 24359 h 139556"/>
                    <a:gd name="connsiteX47" fmla="*/ 85226 w 95595"/>
                    <a:gd name="connsiteY47" fmla="*/ 24120 h 139556"/>
                    <a:gd name="connsiteX48" fmla="*/ 85286 w 95595"/>
                    <a:gd name="connsiteY48" fmla="*/ 23821 h 139556"/>
                    <a:gd name="connsiteX49" fmla="*/ 85046 w 95595"/>
                    <a:gd name="connsiteY49" fmla="*/ 19634 h 13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5595" h="139556">
                      <a:moveTo>
                        <a:pt x="85046" y="19634"/>
                      </a:moveTo>
                      <a:cubicBezTo>
                        <a:pt x="86362" y="18139"/>
                        <a:pt x="87737" y="16345"/>
                        <a:pt x="89232" y="14132"/>
                      </a:cubicBezTo>
                      <a:cubicBezTo>
                        <a:pt x="93778" y="7195"/>
                        <a:pt x="96768" y="1154"/>
                        <a:pt x="95153" y="138"/>
                      </a:cubicBezTo>
                      <a:cubicBezTo>
                        <a:pt x="93539" y="-879"/>
                        <a:pt x="88574" y="3846"/>
                        <a:pt x="84089" y="10783"/>
                      </a:cubicBezTo>
                      <a:cubicBezTo>
                        <a:pt x="82953" y="12577"/>
                        <a:pt x="81936" y="14312"/>
                        <a:pt x="81099" y="15926"/>
                      </a:cubicBezTo>
                      <a:lnTo>
                        <a:pt x="77630" y="13654"/>
                      </a:lnTo>
                      <a:lnTo>
                        <a:pt x="77750" y="12936"/>
                      </a:lnTo>
                      <a:cubicBezTo>
                        <a:pt x="78348" y="9767"/>
                        <a:pt x="76314" y="6656"/>
                        <a:pt x="73085" y="6059"/>
                      </a:cubicBezTo>
                      <a:cubicBezTo>
                        <a:pt x="70692" y="5580"/>
                        <a:pt x="68300" y="6656"/>
                        <a:pt x="67044" y="8630"/>
                      </a:cubicBezTo>
                      <a:cubicBezTo>
                        <a:pt x="66626" y="9228"/>
                        <a:pt x="66326" y="9946"/>
                        <a:pt x="66207" y="10723"/>
                      </a:cubicBezTo>
                      <a:lnTo>
                        <a:pt x="55083" y="61260"/>
                      </a:lnTo>
                      <a:cubicBezTo>
                        <a:pt x="53228" y="63413"/>
                        <a:pt x="51315" y="65926"/>
                        <a:pt x="49520" y="68676"/>
                      </a:cubicBezTo>
                      <a:cubicBezTo>
                        <a:pt x="47547" y="71667"/>
                        <a:pt x="45932" y="74597"/>
                        <a:pt x="44616" y="77349"/>
                      </a:cubicBezTo>
                      <a:lnTo>
                        <a:pt x="2512" y="107910"/>
                      </a:lnTo>
                      <a:cubicBezTo>
                        <a:pt x="1854" y="108329"/>
                        <a:pt x="1316" y="108927"/>
                        <a:pt x="957" y="109525"/>
                      </a:cubicBezTo>
                      <a:cubicBezTo>
                        <a:pt x="-299" y="111499"/>
                        <a:pt x="-359" y="114070"/>
                        <a:pt x="1017" y="116104"/>
                      </a:cubicBezTo>
                      <a:cubicBezTo>
                        <a:pt x="2811" y="118675"/>
                        <a:pt x="6280" y="119393"/>
                        <a:pt x="8912" y="117718"/>
                      </a:cubicBezTo>
                      <a:lnTo>
                        <a:pt x="12679" y="120170"/>
                      </a:lnTo>
                      <a:cubicBezTo>
                        <a:pt x="11543" y="121606"/>
                        <a:pt x="10347" y="123221"/>
                        <a:pt x="9210" y="125015"/>
                      </a:cubicBezTo>
                      <a:cubicBezTo>
                        <a:pt x="4665" y="131953"/>
                        <a:pt x="2333" y="138352"/>
                        <a:pt x="3887" y="139429"/>
                      </a:cubicBezTo>
                      <a:cubicBezTo>
                        <a:pt x="5502" y="140445"/>
                        <a:pt x="9809" y="135302"/>
                        <a:pt x="14354" y="128364"/>
                      </a:cubicBezTo>
                      <a:cubicBezTo>
                        <a:pt x="15790" y="126151"/>
                        <a:pt x="16926" y="124118"/>
                        <a:pt x="17763" y="122324"/>
                      </a:cubicBezTo>
                      <a:cubicBezTo>
                        <a:pt x="19438" y="122383"/>
                        <a:pt x="21112" y="121247"/>
                        <a:pt x="21770" y="120769"/>
                      </a:cubicBezTo>
                      <a:cubicBezTo>
                        <a:pt x="21949" y="120649"/>
                        <a:pt x="22009" y="120589"/>
                        <a:pt x="22009" y="120589"/>
                      </a:cubicBezTo>
                      <a:cubicBezTo>
                        <a:pt x="22009" y="120589"/>
                        <a:pt x="22069" y="120470"/>
                        <a:pt x="22129" y="120290"/>
                      </a:cubicBezTo>
                      <a:cubicBezTo>
                        <a:pt x="22308" y="119513"/>
                        <a:pt x="22727" y="117539"/>
                        <a:pt x="21949" y="116044"/>
                      </a:cubicBezTo>
                      <a:cubicBezTo>
                        <a:pt x="23265" y="114549"/>
                        <a:pt x="24641" y="112754"/>
                        <a:pt x="26136" y="110542"/>
                      </a:cubicBezTo>
                      <a:cubicBezTo>
                        <a:pt x="30682" y="103604"/>
                        <a:pt x="33672" y="97563"/>
                        <a:pt x="32057" y="96547"/>
                      </a:cubicBezTo>
                      <a:cubicBezTo>
                        <a:pt x="30442" y="95530"/>
                        <a:pt x="25478" y="100255"/>
                        <a:pt x="20993" y="107192"/>
                      </a:cubicBezTo>
                      <a:cubicBezTo>
                        <a:pt x="19856" y="108986"/>
                        <a:pt x="18839" y="110721"/>
                        <a:pt x="18002" y="112336"/>
                      </a:cubicBezTo>
                      <a:lnTo>
                        <a:pt x="15430" y="110661"/>
                      </a:lnTo>
                      <a:cubicBezTo>
                        <a:pt x="16328" y="108986"/>
                        <a:pt x="17344" y="107252"/>
                        <a:pt x="18481" y="105518"/>
                      </a:cubicBezTo>
                      <a:cubicBezTo>
                        <a:pt x="22189" y="99896"/>
                        <a:pt x="29067" y="90865"/>
                        <a:pt x="33791" y="93975"/>
                      </a:cubicBezTo>
                      <a:cubicBezTo>
                        <a:pt x="35705" y="95231"/>
                        <a:pt x="36123" y="97265"/>
                        <a:pt x="35047" y="100614"/>
                      </a:cubicBezTo>
                      <a:lnTo>
                        <a:pt x="45992" y="93377"/>
                      </a:lnTo>
                      <a:cubicBezTo>
                        <a:pt x="51674" y="94693"/>
                        <a:pt x="62140" y="93078"/>
                        <a:pt x="69556" y="81774"/>
                      </a:cubicBezTo>
                      <a:cubicBezTo>
                        <a:pt x="77092" y="70232"/>
                        <a:pt x="73982" y="59646"/>
                        <a:pt x="70453" y="55160"/>
                      </a:cubicBezTo>
                      <a:lnTo>
                        <a:pt x="72427" y="43677"/>
                      </a:lnTo>
                      <a:cubicBezTo>
                        <a:pt x="69616" y="46428"/>
                        <a:pt x="67402" y="46907"/>
                        <a:pt x="65429" y="45591"/>
                      </a:cubicBezTo>
                      <a:cubicBezTo>
                        <a:pt x="60704" y="42481"/>
                        <a:pt x="66147" y="32553"/>
                        <a:pt x="69855" y="26931"/>
                      </a:cubicBezTo>
                      <a:cubicBezTo>
                        <a:pt x="70992" y="25197"/>
                        <a:pt x="72187" y="23582"/>
                        <a:pt x="73324" y="22087"/>
                      </a:cubicBezTo>
                      <a:lnTo>
                        <a:pt x="75895" y="23761"/>
                      </a:lnTo>
                      <a:cubicBezTo>
                        <a:pt x="74759" y="25197"/>
                        <a:pt x="73563" y="26811"/>
                        <a:pt x="72427" y="28606"/>
                      </a:cubicBezTo>
                      <a:cubicBezTo>
                        <a:pt x="67881" y="35543"/>
                        <a:pt x="65489" y="42003"/>
                        <a:pt x="67104" y="43019"/>
                      </a:cubicBezTo>
                      <a:cubicBezTo>
                        <a:pt x="68719" y="44036"/>
                        <a:pt x="73025" y="38893"/>
                        <a:pt x="77570" y="31955"/>
                      </a:cubicBezTo>
                      <a:cubicBezTo>
                        <a:pt x="79005" y="29742"/>
                        <a:pt x="80141" y="27709"/>
                        <a:pt x="80979" y="25915"/>
                      </a:cubicBezTo>
                      <a:cubicBezTo>
                        <a:pt x="82713" y="25974"/>
                        <a:pt x="84328" y="24838"/>
                        <a:pt x="84986" y="24359"/>
                      </a:cubicBezTo>
                      <a:cubicBezTo>
                        <a:pt x="85166" y="24240"/>
                        <a:pt x="85226" y="24120"/>
                        <a:pt x="85226" y="24120"/>
                      </a:cubicBezTo>
                      <a:cubicBezTo>
                        <a:pt x="85226" y="24120"/>
                        <a:pt x="85286" y="24001"/>
                        <a:pt x="85286" y="23821"/>
                      </a:cubicBezTo>
                      <a:cubicBezTo>
                        <a:pt x="85405" y="23103"/>
                        <a:pt x="85764" y="21130"/>
                        <a:pt x="85046" y="19634"/>
                      </a:cubicBezTo>
                      <a:close/>
                    </a:path>
                  </a:pathLst>
                </a:custGeom>
                <a:noFill/>
                <a:ln w="1515" cap="flat">
                  <a:solidFill>
                    <a:srgbClr val="FFFFFF"/>
                  </a:solidFill>
                  <a:prstDash val="solid"/>
                  <a:miter/>
                </a:ln>
              </p:spPr>
              <p:txBody>
                <a:bodyPr rtlCol="0" anchor="ctr"/>
                <a:lstStyle/>
                <a:p>
                  <a:endParaRPr lang="en-GB"/>
                </a:p>
              </p:txBody>
            </p:sp>
          </p:grpSp>
          <p:grpSp>
            <p:nvGrpSpPr>
              <p:cNvPr id="7331" name="Graphic 3">
                <a:extLst>
                  <a:ext uri="{FF2B5EF4-FFF2-40B4-BE49-F238E27FC236}">
                    <a16:creationId xmlns:a16="http://schemas.microsoft.com/office/drawing/2014/main" id="{80F08736-B2E0-4F9D-8268-999C4832376C}"/>
                  </a:ext>
                </a:extLst>
              </p:cNvPr>
              <p:cNvGrpSpPr/>
              <p:nvPr/>
            </p:nvGrpSpPr>
            <p:grpSpPr>
              <a:xfrm>
                <a:off x="7743978" y="5112839"/>
                <a:ext cx="96195" cy="151132"/>
                <a:chOff x="7743978" y="5112839"/>
                <a:chExt cx="96195" cy="151132"/>
              </a:xfrm>
              <a:noFill/>
            </p:grpSpPr>
            <p:sp>
              <p:nvSpPr>
                <p:cNvPr id="7332" name="Vrije vorm: vorm 7331">
                  <a:extLst>
                    <a:ext uri="{FF2B5EF4-FFF2-40B4-BE49-F238E27FC236}">
                      <a16:creationId xmlns:a16="http://schemas.microsoft.com/office/drawing/2014/main" id="{C288D000-3513-4592-B3E9-4F670B2E1976}"/>
                    </a:ext>
                  </a:extLst>
                </p:cNvPr>
                <p:cNvSpPr/>
                <p:nvPr/>
              </p:nvSpPr>
              <p:spPr>
                <a:xfrm>
                  <a:off x="7743978" y="5142504"/>
                  <a:ext cx="22115" cy="46410"/>
                </a:xfrm>
                <a:custGeom>
                  <a:avLst/>
                  <a:gdLst>
                    <a:gd name="connsiteX0" fmla="*/ 18660 w 22115"/>
                    <a:gd name="connsiteY0" fmla="*/ 0 h 46410"/>
                    <a:gd name="connsiteX1" fmla="*/ 18660 w 22115"/>
                    <a:gd name="connsiteY1" fmla="*/ 29664 h 46410"/>
                    <a:gd name="connsiteX2" fmla="*/ 0 w 22115"/>
                    <a:gd name="connsiteY2" fmla="*/ 46410 h 46410"/>
                  </a:gdLst>
                  <a:ahLst/>
                  <a:cxnLst>
                    <a:cxn ang="0">
                      <a:pos x="connsiteX0" y="connsiteY0"/>
                    </a:cxn>
                    <a:cxn ang="0">
                      <a:pos x="connsiteX1" y="connsiteY1"/>
                    </a:cxn>
                    <a:cxn ang="0">
                      <a:pos x="connsiteX2" y="connsiteY2"/>
                    </a:cxn>
                  </a:cxnLst>
                  <a:rect l="l" t="t" r="r" b="b"/>
                  <a:pathLst>
                    <a:path w="22115" h="46410">
                      <a:moveTo>
                        <a:pt x="18660" y="0"/>
                      </a:moveTo>
                      <a:cubicBezTo>
                        <a:pt x="23086" y="9031"/>
                        <a:pt x="23445" y="19916"/>
                        <a:pt x="18660" y="29664"/>
                      </a:cubicBezTo>
                      <a:cubicBezTo>
                        <a:pt x="14652" y="37738"/>
                        <a:pt x="7835" y="43539"/>
                        <a:pt x="0" y="46410"/>
                      </a:cubicBezTo>
                    </a:path>
                  </a:pathLst>
                </a:custGeom>
                <a:noFill/>
                <a:ln w="1954" cap="flat">
                  <a:solidFill>
                    <a:srgbClr val="FFFFFF"/>
                  </a:solidFill>
                  <a:prstDash val="solid"/>
                  <a:miter/>
                </a:ln>
              </p:spPr>
              <p:txBody>
                <a:bodyPr rtlCol="0" anchor="ctr"/>
                <a:lstStyle/>
                <a:p>
                  <a:endParaRPr lang="en-GB"/>
                </a:p>
              </p:txBody>
            </p:sp>
            <p:sp>
              <p:nvSpPr>
                <p:cNvPr id="7333" name="Vrije vorm: vorm 7332">
                  <a:extLst>
                    <a:ext uri="{FF2B5EF4-FFF2-40B4-BE49-F238E27FC236}">
                      <a16:creationId xmlns:a16="http://schemas.microsoft.com/office/drawing/2014/main" id="{A72CCBD8-64EF-4432-AFBC-4022EBA909EA}"/>
                    </a:ext>
                  </a:extLst>
                </p:cNvPr>
                <p:cNvSpPr/>
                <p:nvPr/>
              </p:nvSpPr>
              <p:spPr>
                <a:xfrm>
                  <a:off x="7754564" y="5129346"/>
                  <a:ext cx="44318" cy="92761"/>
                </a:xfrm>
                <a:custGeom>
                  <a:avLst/>
                  <a:gdLst>
                    <a:gd name="connsiteX0" fmla="*/ 37439 w 44318"/>
                    <a:gd name="connsiteY0" fmla="*/ 0 h 92761"/>
                    <a:gd name="connsiteX1" fmla="*/ 37380 w 44318"/>
                    <a:gd name="connsiteY1" fmla="*/ 59269 h 92761"/>
                    <a:gd name="connsiteX2" fmla="*/ 0 w 44318"/>
                    <a:gd name="connsiteY2" fmla="*/ 92761 h 92761"/>
                  </a:gdLst>
                  <a:ahLst/>
                  <a:cxnLst>
                    <a:cxn ang="0">
                      <a:pos x="connsiteX0" y="connsiteY0"/>
                    </a:cxn>
                    <a:cxn ang="0">
                      <a:pos x="connsiteX1" y="connsiteY1"/>
                    </a:cxn>
                    <a:cxn ang="0">
                      <a:pos x="connsiteX2" y="connsiteY2"/>
                    </a:cxn>
                  </a:cxnLst>
                  <a:rect l="l" t="t" r="r" b="b"/>
                  <a:pathLst>
                    <a:path w="44318" h="92761">
                      <a:moveTo>
                        <a:pt x="37439" y="0"/>
                      </a:moveTo>
                      <a:cubicBezTo>
                        <a:pt x="46291" y="18062"/>
                        <a:pt x="46949" y="39831"/>
                        <a:pt x="37380" y="59269"/>
                      </a:cubicBezTo>
                      <a:cubicBezTo>
                        <a:pt x="29425" y="75477"/>
                        <a:pt x="15729" y="87019"/>
                        <a:pt x="0" y="92761"/>
                      </a:cubicBezTo>
                    </a:path>
                  </a:pathLst>
                </a:custGeom>
                <a:noFill/>
                <a:ln w="3908" cap="flat">
                  <a:solidFill>
                    <a:srgbClr val="FFFFFF"/>
                  </a:solidFill>
                  <a:prstDash val="solid"/>
                  <a:miter/>
                </a:ln>
              </p:spPr>
              <p:txBody>
                <a:bodyPr rtlCol="0" anchor="ctr"/>
                <a:lstStyle/>
                <a:p>
                  <a:endParaRPr lang="en-GB"/>
                </a:p>
              </p:txBody>
            </p:sp>
            <p:sp>
              <p:nvSpPr>
                <p:cNvPr id="7334" name="Vrije vorm: vorm 7333">
                  <a:extLst>
                    <a:ext uri="{FF2B5EF4-FFF2-40B4-BE49-F238E27FC236}">
                      <a16:creationId xmlns:a16="http://schemas.microsoft.com/office/drawing/2014/main" id="{B9BBD513-6F6C-4EC5-B611-ED0BE9753A73}"/>
                    </a:ext>
                  </a:extLst>
                </p:cNvPr>
                <p:cNvSpPr/>
                <p:nvPr/>
              </p:nvSpPr>
              <p:spPr>
                <a:xfrm>
                  <a:off x="7768021" y="5112839"/>
                  <a:ext cx="72153" cy="151132"/>
                </a:xfrm>
                <a:custGeom>
                  <a:avLst/>
                  <a:gdLst>
                    <a:gd name="connsiteX0" fmla="*/ 60943 w 72153"/>
                    <a:gd name="connsiteY0" fmla="*/ 0 h 151132"/>
                    <a:gd name="connsiteX1" fmla="*/ 60883 w 72153"/>
                    <a:gd name="connsiteY1" fmla="*/ 96589 h 151132"/>
                    <a:gd name="connsiteX2" fmla="*/ 0 w 72153"/>
                    <a:gd name="connsiteY2" fmla="*/ 151133 h 151132"/>
                  </a:gdLst>
                  <a:ahLst/>
                  <a:cxnLst>
                    <a:cxn ang="0">
                      <a:pos x="connsiteX0" y="connsiteY0"/>
                    </a:cxn>
                    <a:cxn ang="0">
                      <a:pos x="connsiteX1" y="connsiteY1"/>
                    </a:cxn>
                    <a:cxn ang="0">
                      <a:pos x="connsiteX2" y="connsiteY2"/>
                    </a:cxn>
                  </a:cxnLst>
                  <a:rect l="l" t="t" r="r" b="b"/>
                  <a:pathLst>
                    <a:path w="72153" h="151132">
                      <a:moveTo>
                        <a:pt x="60943" y="0"/>
                      </a:moveTo>
                      <a:cubicBezTo>
                        <a:pt x="75357" y="29425"/>
                        <a:pt x="76434" y="64951"/>
                        <a:pt x="60883" y="96589"/>
                      </a:cubicBezTo>
                      <a:cubicBezTo>
                        <a:pt x="47846" y="123023"/>
                        <a:pt x="25658" y="141863"/>
                        <a:pt x="0" y="151133"/>
                      </a:cubicBezTo>
                    </a:path>
                  </a:pathLst>
                </a:custGeom>
                <a:noFill/>
                <a:ln w="7816" cap="flat">
                  <a:solidFill>
                    <a:srgbClr val="FFFFFF"/>
                  </a:solidFill>
                  <a:prstDash val="solid"/>
                  <a:miter/>
                </a:ln>
              </p:spPr>
              <p:txBody>
                <a:bodyPr rtlCol="0" anchor="ctr"/>
                <a:lstStyle/>
                <a:p>
                  <a:endParaRPr lang="en-GB"/>
                </a:p>
              </p:txBody>
            </p:sp>
          </p:grpSp>
        </p:grpSp>
        <p:grpSp>
          <p:nvGrpSpPr>
            <p:cNvPr id="7346" name="WERELD_3">
              <a:extLst>
                <a:ext uri="{FF2B5EF4-FFF2-40B4-BE49-F238E27FC236}">
                  <a16:creationId xmlns:a16="http://schemas.microsoft.com/office/drawing/2014/main" id="{95966926-0B01-44A0-A587-5BB6CE2E6CC9}"/>
                </a:ext>
              </a:extLst>
            </p:cNvPr>
            <p:cNvGrpSpPr/>
            <p:nvPr userDrawn="1"/>
          </p:nvGrpSpPr>
          <p:grpSpPr>
            <a:xfrm>
              <a:off x="4146132" y="4028686"/>
              <a:ext cx="1790150" cy="1786979"/>
              <a:chOff x="4114038" y="3845166"/>
              <a:chExt cx="1790150" cy="1786979"/>
            </a:xfrm>
          </p:grpSpPr>
          <p:grpSp>
            <p:nvGrpSpPr>
              <p:cNvPr id="7347" name="Groep 7346">
                <a:extLst>
                  <a:ext uri="{FF2B5EF4-FFF2-40B4-BE49-F238E27FC236}">
                    <a16:creationId xmlns:a16="http://schemas.microsoft.com/office/drawing/2014/main" id="{56DCCDFC-3E5E-4242-91A5-68CE74AB1C60}"/>
                  </a:ext>
                </a:extLst>
              </p:cNvPr>
              <p:cNvGrpSpPr/>
              <p:nvPr/>
            </p:nvGrpSpPr>
            <p:grpSpPr>
              <a:xfrm>
                <a:off x="4114038" y="3845166"/>
                <a:ext cx="944237" cy="1129159"/>
                <a:chOff x="4114038" y="3845166"/>
                <a:chExt cx="944237" cy="1129159"/>
              </a:xfrm>
            </p:grpSpPr>
            <p:sp>
              <p:nvSpPr>
                <p:cNvPr id="8065" name="Vrije vorm: vorm 8064">
                  <a:extLst>
                    <a:ext uri="{FF2B5EF4-FFF2-40B4-BE49-F238E27FC236}">
                      <a16:creationId xmlns:a16="http://schemas.microsoft.com/office/drawing/2014/main" id="{06AC8ABB-5F3A-4A01-B8B9-6233F0457053}"/>
                    </a:ext>
                  </a:extLst>
                </p:cNvPr>
                <p:cNvSpPr/>
                <p:nvPr/>
              </p:nvSpPr>
              <p:spPr>
                <a:xfrm>
                  <a:off x="4173248" y="4341206"/>
                  <a:ext cx="595799" cy="472357"/>
                </a:xfrm>
                <a:custGeom>
                  <a:avLst/>
                  <a:gdLst>
                    <a:gd name="connsiteX0" fmla="*/ 595800 w 595799"/>
                    <a:gd name="connsiteY0" fmla="*/ 0 h 472357"/>
                    <a:gd name="connsiteX1" fmla="*/ 0 w 595799"/>
                    <a:gd name="connsiteY1" fmla="*/ 472358 h 472357"/>
                  </a:gdLst>
                  <a:ahLst/>
                  <a:cxnLst>
                    <a:cxn ang="0">
                      <a:pos x="connsiteX0" y="connsiteY0"/>
                    </a:cxn>
                    <a:cxn ang="0">
                      <a:pos x="connsiteX1" y="connsiteY1"/>
                    </a:cxn>
                  </a:cxnLst>
                  <a:rect l="l" t="t" r="r" b="b"/>
                  <a:pathLst>
                    <a:path w="595799" h="472357">
                      <a:moveTo>
                        <a:pt x="595800" y="0"/>
                      </a:moveTo>
                      <a:cubicBezTo>
                        <a:pt x="356631" y="189709"/>
                        <a:pt x="127270" y="365841"/>
                        <a:pt x="0" y="472358"/>
                      </a:cubicBezTo>
                    </a:path>
                  </a:pathLst>
                </a:custGeom>
                <a:noFill/>
                <a:ln w="6350" cap="rnd">
                  <a:solidFill>
                    <a:schemeClr val="bg1">
                      <a:alpha val="40000"/>
                    </a:schemeClr>
                  </a:solidFill>
                  <a:prstDash val="solid"/>
                  <a:miter/>
                </a:ln>
              </p:spPr>
              <p:txBody>
                <a:bodyPr rtlCol="0" anchor="ctr"/>
                <a:lstStyle/>
                <a:p>
                  <a:endParaRPr lang="en-GB"/>
                </a:p>
              </p:txBody>
            </p:sp>
            <p:sp>
              <p:nvSpPr>
                <p:cNvPr id="8066" name="Vrije vorm: vorm 8065">
                  <a:extLst>
                    <a:ext uri="{FF2B5EF4-FFF2-40B4-BE49-F238E27FC236}">
                      <a16:creationId xmlns:a16="http://schemas.microsoft.com/office/drawing/2014/main" id="{2CDC3869-C77A-4C79-981B-60038BFEDEAA}"/>
                    </a:ext>
                  </a:extLst>
                </p:cNvPr>
                <p:cNvSpPr/>
                <p:nvPr/>
              </p:nvSpPr>
              <p:spPr>
                <a:xfrm>
                  <a:off x="4213319" y="4074406"/>
                  <a:ext cx="501662" cy="608717"/>
                </a:xfrm>
                <a:custGeom>
                  <a:avLst/>
                  <a:gdLst>
                    <a:gd name="connsiteX0" fmla="*/ 0 w 501662"/>
                    <a:gd name="connsiteY0" fmla="*/ 608718 h 608717"/>
                    <a:gd name="connsiteX1" fmla="*/ 501663 w 501662"/>
                    <a:gd name="connsiteY1" fmla="*/ 213153 h 608717"/>
                    <a:gd name="connsiteX2" fmla="*/ 347181 w 501662"/>
                    <a:gd name="connsiteY2" fmla="*/ 0 h 608717"/>
                  </a:gdLst>
                  <a:ahLst/>
                  <a:cxnLst>
                    <a:cxn ang="0">
                      <a:pos x="connsiteX0" y="connsiteY0"/>
                    </a:cxn>
                    <a:cxn ang="0">
                      <a:pos x="connsiteX1" y="connsiteY1"/>
                    </a:cxn>
                    <a:cxn ang="0">
                      <a:pos x="connsiteX2" y="connsiteY2"/>
                    </a:cxn>
                  </a:cxnLst>
                  <a:rect l="l" t="t" r="r" b="b"/>
                  <a:pathLst>
                    <a:path w="501662" h="608717">
                      <a:moveTo>
                        <a:pt x="0" y="608718"/>
                      </a:moveTo>
                      <a:cubicBezTo>
                        <a:pt x="131935" y="500826"/>
                        <a:pt x="314167" y="361654"/>
                        <a:pt x="501663" y="213153"/>
                      </a:cubicBezTo>
                      <a:cubicBezTo>
                        <a:pt x="450169" y="142282"/>
                        <a:pt x="398615" y="71350"/>
                        <a:pt x="347181" y="0"/>
                      </a:cubicBezTo>
                    </a:path>
                  </a:pathLst>
                </a:custGeom>
                <a:noFill/>
                <a:ln w="6350" cap="rnd">
                  <a:solidFill>
                    <a:schemeClr val="bg1">
                      <a:alpha val="40000"/>
                    </a:schemeClr>
                  </a:solidFill>
                  <a:prstDash val="solid"/>
                  <a:miter/>
                </a:ln>
              </p:spPr>
              <p:txBody>
                <a:bodyPr rtlCol="0" anchor="ctr"/>
                <a:lstStyle/>
                <a:p>
                  <a:endParaRPr lang="en-GB"/>
                </a:p>
              </p:txBody>
            </p:sp>
            <p:sp>
              <p:nvSpPr>
                <p:cNvPr id="8067" name="Vrije vorm: vorm 8066">
                  <a:extLst>
                    <a:ext uri="{FF2B5EF4-FFF2-40B4-BE49-F238E27FC236}">
                      <a16:creationId xmlns:a16="http://schemas.microsoft.com/office/drawing/2014/main" id="{99C13980-4867-472E-B407-4C50BD43B14D}"/>
                    </a:ext>
                  </a:extLst>
                </p:cNvPr>
                <p:cNvSpPr/>
                <p:nvPr/>
              </p:nvSpPr>
              <p:spPr>
                <a:xfrm>
                  <a:off x="4249741" y="4256579"/>
                  <a:ext cx="442693" cy="345266"/>
                </a:xfrm>
                <a:custGeom>
                  <a:avLst/>
                  <a:gdLst>
                    <a:gd name="connsiteX0" fmla="*/ 442693 w 442693"/>
                    <a:gd name="connsiteY0" fmla="*/ 0 h 345266"/>
                    <a:gd name="connsiteX1" fmla="*/ 0 w 442693"/>
                    <a:gd name="connsiteY1" fmla="*/ 345267 h 345266"/>
                  </a:gdLst>
                  <a:ahLst/>
                  <a:cxnLst>
                    <a:cxn ang="0">
                      <a:pos x="connsiteX0" y="connsiteY0"/>
                    </a:cxn>
                    <a:cxn ang="0">
                      <a:pos x="connsiteX1" y="connsiteY1"/>
                    </a:cxn>
                  </a:cxnLst>
                  <a:rect l="l" t="t" r="r" b="b"/>
                  <a:pathLst>
                    <a:path w="442693" h="345266">
                      <a:moveTo>
                        <a:pt x="442693" y="0"/>
                      </a:moveTo>
                      <a:cubicBezTo>
                        <a:pt x="282828" y="125894"/>
                        <a:pt x="125954" y="244911"/>
                        <a:pt x="0" y="345267"/>
                      </a:cubicBezTo>
                    </a:path>
                  </a:pathLst>
                </a:custGeom>
                <a:noFill/>
                <a:ln w="6350" cap="rnd">
                  <a:solidFill>
                    <a:schemeClr val="bg1">
                      <a:alpha val="40000"/>
                    </a:schemeClr>
                  </a:solidFill>
                  <a:prstDash val="solid"/>
                  <a:miter/>
                </a:ln>
              </p:spPr>
              <p:txBody>
                <a:bodyPr rtlCol="0" anchor="ctr"/>
                <a:lstStyle/>
                <a:p>
                  <a:endParaRPr lang="en-GB"/>
                </a:p>
              </p:txBody>
            </p:sp>
            <p:grpSp>
              <p:nvGrpSpPr>
                <p:cNvPr id="8068" name="Graphic 3">
                  <a:extLst>
                    <a:ext uri="{FF2B5EF4-FFF2-40B4-BE49-F238E27FC236}">
                      <a16:creationId xmlns:a16="http://schemas.microsoft.com/office/drawing/2014/main" id="{6E124256-95DB-4E18-BE9E-709EFBD825D4}"/>
                    </a:ext>
                  </a:extLst>
                </p:cNvPr>
                <p:cNvGrpSpPr/>
                <p:nvPr/>
              </p:nvGrpSpPr>
              <p:grpSpPr>
                <a:xfrm>
                  <a:off x="4230184" y="4263338"/>
                  <a:ext cx="480192" cy="394667"/>
                  <a:chOff x="4230184" y="4263338"/>
                  <a:chExt cx="480192" cy="394667"/>
                </a:xfrm>
                <a:noFill/>
              </p:grpSpPr>
              <p:sp>
                <p:nvSpPr>
                  <p:cNvPr id="8472" name="Vrije vorm: vorm 8471">
                    <a:extLst>
                      <a:ext uri="{FF2B5EF4-FFF2-40B4-BE49-F238E27FC236}">
                        <a16:creationId xmlns:a16="http://schemas.microsoft.com/office/drawing/2014/main" id="{AB5D5C76-82AB-418C-8451-82B5B00C4D1B}"/>
                      </a:ext>
                    </a:extLst>
                  </p:cNvPr>
                  <p:cNvSpPr/>
                  <p:nvPr/>
                </p:nvSpPr>
                <p:spPr>
                  <a:xfrm>
                    <a:off x="4247468" y="4263338"/>
                    <a:ext cx="449929" cy="350888"/>
                  </a:xfrm>
                  <a:custGeom>
                    <a:avLst/>
                    <a:gdLst>
                      <a:gd name="connsiteX0" fmla="*/ 449930 w 449929"/>
                      <a:gd name="connsiteY0" fmla="*/ 0 h 350888"/>
                      <a:gd name="connsiteX1" fmla="*/ 0 w 449929"/>
                      <a:gd name="connsiteY1" fmla="*/ 350889 h 350888"/>
                    </a:gdLst>
                    <a:ahLst/>
                    <a:cxnLst>
                      <a:cxn ang="0">
                        <a:pos x="connsiteX0" y="connsiteY0"/>
                      </a:cxn>
                      <a:cxn ang="0">
                        <a:pos x="connsiteX1" y="connsiteY1"/>
                      </a:cxn>
                    </a:cxnLst>
                    <a:rect l="l" t="t" r="r" b="b"/>
                    <a:pathLst>
                      <a:path w="449929" h="350888">
                        <a:moveTo>
                          <a:pt x="449930" y="0"/>
                        </a:moveTo>
                        <a:cubicBezTo>
                          <a:pt x="286836" y="128406"/>
                          <a:pt x="126971" y="249635"/>
                          <a:pt x="0" y="350889"/>
                        </a:cubicBezTo>
                      </a:path>
                    </a:pathLst>
                  </a:custGeom>
                  <a:noFill/>
                  <a:ln w="6350" cap="rnd">
                    <a:solidFill>
                      <a:schemeClr val="bg1">
                        <a:alpha val="40000"/>
                      </a:schemeClr>
                    </a:solidFill>
                    <a:prstDash val="solid"/>
                    <a:miter/>
                  </a:ln>
                </p:spPr>
                <p:txBody>
                  <a:bodyPr rtlCol="0" anchor="ctr"/>
                  <a:lstStyle/>
                  <a:p>
                    <a:endParaRPr lang="en-GB"/>
                  </a:p>
                </p:txBody>
              </p:sp>
              <p:sp>
                <p:nvSpPr>
                  <p:cNvPr id="8473" name="Vrije vorm: vorm 8472">
                    <a:extLst>
                      <a:ext uri="{FF2B5EF4-FFF2-40B4-BE49-F238E27FC236}">
                        <a16:creationId xmlns:a16="http://schemas.microsoft.com/office/drawing/2014/main" id="{E5A1D506-90AE-4E44-8BD6-EC7FD0CEC82E}"/>
                      </a:ext>
                    </a:extLst>
                  </p:cNvPr>
                  <p:cNvSpPr/>
                  <p:nvPr/>
                </p:nvSpPr>
                <p:spPr>
                  <a:xfrm>
                    <a:off x="4244418" y="4266328"/>
                    <a:ext cx="455133" cy="355314"/>
                  </a:xfrm>
                  <a:custGeom>
                    <a:avLst/>
                    <a:gdLst>
                      <a:gd name="connsiteX0" fmla="*/ 455133 w 455133"/>
                      <a:gd name="connsiteY0" fmla="*/ 0 h 355314"/>
                      <a:gd name="connsiteX1" fmla="*/ 0 w 455133"/>
                      <a:gd name="connsiteY1" fmla="*/ 355315 h 355314"/>
                    </a:gdLst>
                    <a:ahLst/>
                    <a:cxnLst>
                      <a:cxn ang="0">
                        <a:pos x="connsiteX0" y="connsiteY0"/>
                      </a:cxn>
                      <a:cxn ang="0">
                        <a:pos x="connsiteX1" y="connsiteY1"/>
                      </a:cxn>
                    </a:cxnLst>
                    <a:rect l="l" t="t" r="r" b="b"/>
                    <a:pathLst>
                      <a:path w="455133" h="355314">
                        <a:moveTo>
                          <a:pt x="455133" y="0"/>
                        </a:moveTo>
                        <a:cubicBezTo>
                          <a:pt x="289706" y="130320"/>
                          <a:pt x="127689" y="253283"/>
                          <a:pt x="0" y="355315"/>
                        </a:cubicBezTo>
                      </a:path>
                    </a:pathLst>
                  </a:custGeom>
                  <a:noFill/>
                  <a:ln w="6350" cap="rnd">
                    <a:solidFill>
                      <a:schemeClr val="bg1">
                        <a:alpha val="40000"/>
                      </a:schemeClr>
                    </a:solidFill>
                    <a:prstDash val="solid"/>
                    <a:miter/>
                  </a:ln>
                </p:spPr>
                <p:txBody>
                  <a:bodyPr rtlCol="0" anchor="ctr"/>
                  <a:lstStyle/>
                  <a:p>
                    <a:endParaRPr lang="en-GB"/>
                  </a:p>
                </p:txBody>
              </p:sp>
              <p:sp>
                <p:nvSpPr>
                  <p:cNvPr id="8474" name="Vrije vorm: vorm 8473">
                    <a:extLst>
                      <a:ext uri="{FF2B5EF4-FFF2-40B4-BE49-F238E27FC236}">
                        <a16:creationId xmlns:a16="http://schemas.microsoft.com/office/drawing/2014/main" id="{109155AD-BDD2-4A25-90E1-0031FC83330A}"/>
                      </a:ext>
                    </a:extLst>
                  </p:cNvPr>
                  <p:cNvSpPr/>
                  <p:nvPr/>
                </p:nvSpPr>
                <p:spPr>
                  <a:xfrm>
                    <a:off x="4241428" y="4269318"/>
                    <a:ext cx="460276" cy="359680"/>
                  </a:xfrm>
                  <a:custGeom>
                    <a:avLst/>
                    <a:gdLst>
                      <a:gd name="connsiteX0" fmla="*/ 460277 w 460276"/>
                      <a:gd name="connsiteY0" fmla="*/ 0 h 359680"/>
                      <a:gd name="connsiteX1" fmla="*/ 0 w 460276"/>
                      <a:gd name="connsiteY1" fmla="*/ 359681 h 359680"/>
                    </a:gdLst>
                    <a:ahLst/>
                    <a:cxnLst>
                      <a:cxn ang="0">
                        <a:pos x="connsiteX0" y="connsiteY0"/>
                      </a:cxn>
                      <a:cxn ang="0">
                        <a:pos x="connsiteX1" y="connsiteY1"/>
                      </a:cxn>
                    </a:cxnLst>
                    <a:rect l="l" t="t" r="r" b="b"/>
                    <a:pathLst>
                      <a:path w="460276" h="359680">
                        <a:moveTo>
                          <a:pt x="460277" y="0"/>
                        </a:moveTo>
                        <a:cubicBezTo>
                          <a:pt x="292457" y="132234"/>
                          <a:pt x="128287" y="256932"/>
                          <a:pt x="0" y="359681"/>
                        </a:cubicBezTo>
                      </a:path>
                    </a:pathLst>
                  </a:custGeom>
                  <a:noFill/>
                  <a:ln w="6350" cap="rnd">
                    <a:solidFill>
                      <a:schemeClr val="bg1">
                        <a:alpha val="40000"/>
                      </a:schemeClr>
                    </a:solidFill>
                    <a:prstDash val="solid"/>
                    <a:miter/>
                  </a:ln>
                </p:spPr>
                <p:txBody>
                  <a:bodyPr rtlCol="0" anchor="ctr"/>
                  <a:lstStyle/>
                  <a:p>
                    <a:endParaRPr lang="en-GB"/>
                  </a:p>
                </p:txBody>
              </p:sp>
              <p:sp>
                <p:nvSpPr>
                  <p:cNvPr id="8475" name="Vrije vorm: vorm 8474">
                    <a:extLst>
                      <a:ext uri="{FF2B5EF4-FFF2-40B4-BE49-F238E27FC236}">
                        <a16:creationId xmlns:a16="http://schemas.microsoft.com/office/drawing/2014/main" id="{8E740D9C-D188-4B90-97D9-DE5AD63A74B2}"/>
                      </a:ext>
                    </a:extLst>
                  </p:cNvPr>
                  <p:cNvSpPr/>
                  <p:nvPr/>
                </p:nvSpPr>
                <p:spPr>
                  <a:xfrm>
                    <a:off x="4238497" y="4272249"/>
                    <a:ext cx="465359" cy="364046"/>
                  </a:xfrm>
                  <a:custGeom>
                    <a:avLst/>
                    <a:gdLst>
                      <a:gd name="connsiteX0" fmla="*/ 465360 w 465359"/>
                      <a:gd name="connsiteY0" fmla="*/ 0 h 364046"/>
                      <a:gd name="connsiteX1" fmla="*/ 0 w 465359"/>
                      <a:gd name="connsiteY1" fmla="*/ 364046 h 364046"/>
                    </a:gdLst>
                    <a:ahLst/>
                    <a:cxnLst>
                      <a:cxn ang="0">
                        <a:pos x="connsiteX0" y="connsiteY0"/>
                      </a:cxn>
                      <a:cxn ang="0">
                        <a:pos x="connsiteX1" y="connsiteY1"/>
                      </a:cxn>
                    </a:cxnLst>
                    <a:rect l="l" t="t" r="r" b="b"/>
                    <a:pathLst>
                      <a:path w="465359" h="364046">
                        <a:moveTo>
                          <a:pt x="465360" y="0"/>
                        </a:moveTo>
                        <a:cubicBezTo>
                          <a:pt x="295208" y="134148"/>
                          <a:pt x="128884" y="260580"/>
                          <a:pt x="0" y="364046"/>
                        </a:cubicBezTo>
                      </a:path>
                    </a:pathLst>
                  </a:custGeom>
                  <a:noFill/>
                  <a:ln w="6350" cap="rnd">
                    <a:solidFill>
                      <a:schemeClr val="bg1">
                        <a:alpha val="40000"/>
                      </a:schemeClr>
                    </a:solidFill>
                    <a:prstDash val="solid"/>
                    <a:miter/>
                  </a:ln>
                </p:spPr>
                <p:txBody>
                  <a:bodyPr rtlCol="0" anchor="ctr"/>
                  <a:lstStyle/>
                  <a:p>
                    <a:endParaRPr lang="en-GB"/>
                  </a:p>
                </p:txBody>
              </p:sp>
              <p:sp>
                <p:nvSpPr>
                  <p:cNvPr id="8476" name="Vrije vorm: vorm 8475">
                    <a:extLst>
                      <a:ext uri="{FF2B5EF4-FFF2-40B4-BE49-F238E27FC236}">
                        <a16:creationId xmlns:a16="http://schemas.microsoft.com/office/drawing/2014/main" id="{55C6DB36-0113-4A62-9575-0BB00537806A}"/>
                      </a:ext>
                    </a:extLst>
                  </p:cNvPr>
                  <p:cNvSpPr/>
                  <p:nvPr/>
                </p:nvSpPr>
                <p:spPr>
                  <a:xfrm>
                    <a:off x="4235627" y="4275239"/>
                    <a:ext cx="470383" cy="368352"/>
                  </a:xfrm>
                  <a:custGeom>
                    <a:avLst/>
                    <a:gdLst>
                      <a:gd name="connsiteX0" fmla="*/ 470384 w 470383"/>
                      <a:gd name="connsiteY0" fmla="*/ 0 h 368352"/>
                      <a:gd name="connsiteX1" fmla="*/ 0 w 470383"/>
                      <a:gd name="connsiteY1" fmla="*/ 368353 h 368352"/>
                    </a:gdLst>
                    <a:ahLst/>
                    <a:cxnLst>
                      <a:cxn ang="0">
                        <a:pos x="connsiteX0" y="connsiteY0"/>
                      </a:cxn>
                      <a:cxn ang="0">
                        <a:pos x="connsiteX1" y="connsiteY1"/>
                      </a:cxn>
                    </a:cxnLst>
                    <a:rect l="l" t="t" r="r" b="b"/>
                    <a:pathLst>
                      <a:path w="470383" h="368352">
                        <a:moveTo>
                          <a:pt x="470384" y="0"/>
                        </a:moveTo>
                        <a:cubicBezTo>
                          <a:pt x="297900" y="136121"/>
                          <a:pt x="129423" y="264228"/>
                          <a:pt x="0" y="368353"/>
                        </a:cubicBezTo>
                      </a:path>
                    </a:pathLst>
                  </a:custGeom>
                  <a:noFill/>
                  <a:ln w="6350" cap="rnd">
                    <a:solidFill>
                      <a:schemeClr val="bg1">
                        <a:alpha val="40000"/>
                      </a:schemeClr>
                    </a:solidFill>
                    <a:prstDash val="solid"/>
                    <a:miter/>
                  </a:ln>
                </p:spPr>
                <p:txBody>
                  <a:bodyPr rtlCol="0" anchor="ctr"/>
                  <a:lstStyle/>
                  <a:p>
                    <a:endParaRPr lang="en-GB"/>
                  </a:p>
                </p:txBody>
              </p:sp>
              <p:sp>
                <p:nvSpPr>
                  <p:cNvPr id="8477" name="Vrije vorm: vorm 8476">
                    <a:extLst>
                      <a:ext uri="{FF2B5EF4-FFF2-40B4-BE49-F238E27FC236}">
                        <a16:creationId xmlns:a16="http://schemas.microsoft.com/office/drawing/2014/main" id="{0F41FE39-031A-4948-A1FE-F3E2EC0BD4C9}"/>
                      </a:ext>
                    </a:extLst>
                  </p:cNvPr>
                  <p:cNvSpPr/>
                  <p:nvPr/>
                </p:nvSpPr>
                <p:spPr>
                  <a:xfrm>
                    <a:off x="4232875" y="4278230"/>
                    <a:ext cx="475348" cy="372598"/>
                  </a:xfrm>
                  <a:custGeom>
                    <a:avLst/>
                    <a:gdLst>
                      <a:gd name="connsiteX0" fmla="*/ 475348 w 475348"/>
                      <a:gd name="connsiteY0" fmla="*/ 0 h 372598"/>
                      <a:gd name="connsiteX1" fmla="*/ 0 w 475348"/>
                      <a:gd name="connsiteY1" fmla="*/ 372599 h 372598"/>
                    </a:gdLst>
                    <a:ahLst/>
                    <a:cxnLst>
                      <a:cxn ang="0">
                        <a:pos x="connsiteX0" y="connsiteY0"/>
                      </a:cxn>
                      <a:cxn ang="0">
                        <a:pos x="connsiteX1" y="connsiteY1"/>
                      </a:cxn>
                    </a:cxnLst>
                    <a:rect l="l" t="t" r="r" b="b"/>
                    <a:pathLst>
                      <a:path w="475348" h="372598">
                        <a:moveTo>
                          <a:pt x="475348" y="0"/>
                        </a:moveTo>
                        <a:cubicBezTo>
                          <a:pt x="300531" y="138035"/>
                          <a:pt x="129901" y="267876"/>
                          <a:pt x="0" y="372599"/>
                        </a:cubicBezTo>
                      </a:path>
                    </a:pathLst>
                  </a:custGeom>
                  <a:noFill/>
                  <a:ln w="6350" cap="rnd">
                    <a:solidFill>
                      <a:schemeClr val="bg1">
                        <a:alpha val="40000"/>
                      </a:schemeClr>
                    </a:solidFill>
                    <a:prstDash val="solid"/>
                    <a:miter/>
                  </a:ln>
                </p:spPr>
                <p:txBody>
                  <a:bodyPr rtlCol="0" anchor="ctr"/>
                  <a:lstStyle/>
                  <a:p>
                    <a:endParaRPr lang="en-GB"/>
                  </a:p>
                </p:txBody>
              </p:sp>
              <p:sp>
                <p:nvSpPr>
                  <p:cNvPr id="8478" name="Vrije vorm: vorm 8477">
                    <a:extLst>
                      <a:ext uri="{FF2B5EF4-FFF2-40B4-BE49-F238E27FC236}">
                        <a16:creationId xmlns:a16="http://schemas.microsoft.com/office/drawing/2014/main" id="{DED432DE-93E1-49E8-9D86-B0E33D8967AD}"/>
                      </a:ext>
                    </a:extLst>
                  </p:cNvPr>
                  <p:cNvSpPr/>
                  <p:nvPr/>
                </p:nvSpPr>
                <p:spPr>
                  <a:xfrm>
                    <a:off x="4230184" y="4281220"/>
                    <a:ext cx="480192" cy="376785"/>
                  </a:xfrm>
                  <a:custGeom>
                    <a:avLst/>
                    <a:gdLst>
                      <a:gd name="connsiteX0" fmla="*/ 480192 w 480192"/>
                      <a:gd name="connsiteY0" fmla="*/ 0 h 376785"/>
                      <a:gd name="connsiteX1" fmla="*/ 0 w 480192"/>
                      <a:gd name="connsiteY1" fmla="*/ 376785 h 376785"/>
                    </a:gdLst>
                    <a:ahLst/>
                    <a:cxnLst>
                      <a:cxn ang="0">
                        <a:pos x="connsiteX0" y="connsiteY0"/>
                      </a:cxn>
                      <a:cxn ang="0">
                        <a:pos x="connsiteX1" y="connsiteY1"/>
                      </a:cxn>
                    </a:cxnLst>
                    <a:rect l="l" t="t" r="r" b="b"/>
                    <a:pathLst>
                      <a:path w="480192" h="376785">
                        <a:moveTo>
                          <a:pt x="480192" y="0"/>
                        </a:moveTo>
                        <a:cubicBezTo>
                          <a:pt x="303043" y="139949"/>
                          <a:pt x="130320" y="271525"/>
                          <a:pt x="0" y="376785"/>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069" name="Graphic 3">
                  <a:extLst>
                    <a:ext uri="{FF2B5EF4-FFF2-40B4-BE49-F238E27FC236}">
                      <a16:creationId xmlns:a16="http://schemas.microsoft.com/office/drawing/2014/main" id="{4A8386F6-B83F-40C2-8E02-E2DC78D904B8}"/>
                    </a:ext>
                  </a:extLst>
                </p:cNvPr>
                <p:cNvGrpSpPr/>
                <p:nvPr/>
              </p:nvGrpSpPr>
              <p:grpSpPr>
                <a:xfrm>
                  <a:off x="4256978" y="4263338"/>
                  <a:ext cx="453398" cy="373137"/>
                  <a:chOff x="4256978" y="4263338"/>
                  <a:chExt cx="453398" cy="373137"/>
                </a:xfrm>
                <a:noFill/>
              </p:grpSpPr>
              <p:sp>
                <p:nvSpPr>
                  <p:cNvPr id="8465" name="Vrije vorm: vorm 8464">
                    <a:extLst>
                      <a:ext uri="{FF2B5EF4-FFF2-40B4-BE49-F238E27FC236}">
                        <a16:creationId xmlns:a16="http://schemas.microsoft.com/office/drawing/2014/main" id="{671724CF-3A90-4F4F-950B-86B05C85CEB8}"/>
                      </a:ext>
                    </a:extLst>
                  </p:cNvPr>
                  <p:cNvSpPr/>
                  <p:nvPr/>
                </p:nvSpPr>
                <p:spPr>
                  <a:xfrm>
                    <a:off x="4279824" y="4263338"/>
                    <a:ext cx="417573" cy="325231"/>
                  </a:xfrm>
                  <a:custGeom>
                    <a:avLst/>
                    <a:gdLst>
                      <a:gd name="connsiteX0" fmla="*/ 417574 w 417573"/>
                      <a:gd name="connsiteY0" fmla="*/ 0 h 325231"/>
                      <a:gd name="connsiteX1" fmla="*/ 0 w 417573"/>
                      <a:gd name="connsiteY1" fmla="*/ 325232 h 325231"/>
                    </a:gdLst>
                    <a:ahLst/>
                    <a:cxnLst>
                      <a:cxn ang="0">
                        <a:pos x="connsiteX0" y="connsiteY0"/>
                      </a:cxn>
                      <a:cxn ang="0">
                        <a:pos x="connsiteX1" y="connsiteY1"/>
                      </a:cxn>
                    </a:cxnLst>
                    <a:rect l="l" t="t" r="r" b="b"/>
                    <a:pathLst>
                      <a:path w="417573" h="325231">
                        <a:moveTo>
                          <a:pt x="417574" y="0"/>
                        </a:moveTo>
                        <a:cubicBezTo>
                          <a:pt x="268056" y="117701"/>
                          <a:pt x="121229" y="229420"/>
                          <a:pt x="0" y="325232"/>
                        </a:cubicBezTo>
                      </a:path>
                    </a:pathLst>
                  </a:custGeom>
                  <a:noFill/>
                  <a:ln w="6350" cap="rnd">
                    <a:solidFill>
                      <a:schemeClr val="bg1">
                        <a:alpha val="40000"/>
                      </a:schemeClr>
                    </a:solidFill>
                    <a:prstDash val="solid"/>
                    <a:miter/>
                  </a:ln>
                </p:spPr>
                <p:txBody>
                  <a:bodyPr rtlCol="0" anchor="ctr"/>
                  <a:lstStyle/>
                  <a:p>
                    <a:endParaRPr lang="en-GB"/>
                  </a:p>
                </p:txBody>
              </p:sp>
              <p:sp>
                <p:nvSpPr>
                  <p:cNvPr id="8466" name="Vrije vorm: vorm 8465">
                    <a:extLst>
                      <a:ext uri="{FF2B5EF4-FFF2-40B4-BE49-F238E27FC236}">
                        <a16:creationId xmlns:a16="http://schemas.microsoft.com/office/drawing/2014/main" id="{9E8DB538-1D78-4D7B-AD90-FF0AF1F6CD41}"/>
                      </a:ext>
                    </a:extLst>
                  </p:cNvPr>
                  <p:cNvSpPr/>
                  <p:nvPr/>
                </p:nvSpPr>
                <p:spPr>
                  <a:xfrm>
                    <a:off x="4275817" y="4266328"/>
                    <a:ext cx="423734" cy="330315"/>
                  </a:xfrm>
                  <a:custGeom>
                    <a:avLst/>
                    <a:gdLst>
                      <a:gd name="connsiteX0" fmla="*/ 423734 w 423734"/>
                      <a:gd name="connsiteY0" fmla="*/ 0 h 330315"/>
                      <a:gd name="connsiteX1" fmla="*/ 0 w 423734"/>
                      <a:gd name="connsiteY1" fmla="*/ 330315 h 330315"/>
                    </a:gdLst>
                    <a:ahLst/>
                    <a:cxnLst>
                      <a:cxn ang="0">
                        <a:pos x="connsiteX0" y="connsiteY0"/>
                      </a:cxn>
                      <a:cxn ang="0">
                        <a:pos x="connsiteX1" y="connsiteY1"/>
                      </a:cxn>
                    </a:cxnLst>
                    <a:rect l="l" t="t" r="r" b="b"/>
                    <a:pathLst>
                      <a:path w="423734" h="330315">
                        <a:moveTo>
                          <a:pt x="423734" y="0"/>
                        </a:moveTo>
                        <a:cubicBezTo>
                          <a:pt x="271585" y="119854"/>
                          <a:pt x="122306" y="233487"/>
                          <a:pt x="0" y="330315"/>
                        </a:cubicBezTo>
                      </a:path>
                    </a:pathLst>
                  </a:custGeom>
                  <a:noFill/>
                  <a:ln w="6350" cap="rnd">
                    <a:solidFill>
                      <a:schemeClr val="bg1">
                        <a:alpha val="40000"/>
                      </a:schemeClr>
                    </a:solidFill>
                    <a:prstDash val="solid"/>
                    <a:miter/>
                  </a:ln>
                </p:spPr>
                <p:txBody>
                  <a:bodyPr rtlCol="0" anchor="ctr"/>
                  <a:lstStyle/>
                  <a:p>
                    <a:endParaRPr lang="en-GB"/>
                  </a:p>
                </p:txBody>
              </p:sp>
              <p:sp>
                <p:nvSpPr>
                  <p:cNvPr id="8467" name="Vrije vorm: vorm 8466">
                    <a:extLst>
                      <a:ext uri="{FF2B5EF4-FFF2-40B4-BE49-F238E27FC236}">
                        <a16:creationId xmlns:a16="http://schemas.microsoft.com/office/drawing/2014/main" id="{5B08C690-80D6-4EE9-81C5-5F255B87E58D}"/>
                      </a:ext>
                    </a:extLst>
                  </p:cNvPr>
                  <p:cNvSpPr/>
                  <p:nvPr/>
                </p:nvSpPr>
                <p:spPr>
                  <a:xfrm>
                    <a:off x="4271870" y="4269318"/>
                    <a:ext cx="429834" cy="335398"/>
                  </a:xfrm>
                  <a:custGeom>
                    <a:avLst/>
                    <a:gdLst>
                      <a:gd name="connsiteX0" fmla="*/ 429834 w 429834"/>
                      <a:gd name="connsiteY0" fmla="*/ 0 h 335398"/>
                      <a:gd name="connsiteX1" fmla="*/ 0 w 429834"/>
                      <a:gd name="connsiteY1" fmla="*/ 335399 h 335398"/>
                    </a:gdLst>
                    <a:ahLst/>
                    <a:cxnLst>
                      <a:cxn ang="0">
                        <a:pos x="connsiteX0" y="connsiteY0"/>
                      </a:cxn>
                      <a:cxn ang="0">
                        <a:pos x="connsiteX1" y="connsiteY1"/>
                      </a:cxn>
                    </a:cxnLst>
                    <a:rect l="l" t="t" r="r" b="b"/>
                    <a:pathLst>
                      <a:path w="429834" h="335398">
                        <a:moveTo>
                          <a:pt x="429834" y="0"/>
                        </a:moveTo>
                        <a:cubicBezTo>
                          <a:pt x="275053" y="122006"/>
                          <a:pt x="123322" y="237554"/>
                          <a:pt x="0" y="335399"/>
                        </a:cubicBezTo>
                      </a:path>
                    </a:pathLst>
                  </a:custGeom>
                  <a:noFill/>
                  <a:ln w="6350" cap="rnd">
                    <a:solidFill>
                      <a:schemeClr val="bg1">
                        <a:alpha val="40000"/>
                      </a:schemeClr>
                    </a:solidFill>
                    <a:prstDash val="solid"/>
                    <a:miter/>
                  </a:ln>
                </p:spPr>
                <p:txBody>
                  <a:bodyPr rtlCol="0" anchor="ctr"/>
                  <a:lstStyle/>
                  <a:p>
                    <a:endParaRPr lang="en-GB"/>
                  </a:p>
                </p:txBody>
              </p:sp>
              <p:sp>
                <p:nvSpPr>
                  <p:cNvPr id="8468" name="Vrije vorm: vorm 8467">
                    <a:extLst>
                      <a:ext uri="{FF2B5EF4-FFF2-40B4-BE49-F238E27FC236}">
                        <a16:creationId xmlns:a16="http://schemas.microsoft.com/office/drawing/2014/main" id="{39B4C2FE-3C09-4B02-8CF6-89803BA3005B}"/>
                      </a:ext>
                    </a:extLst>
                  </p:cNvPr>
                  <p:cNvSpPr/>
                  <p:nvPr/>
                </p:nvSpPr>
                <p:spPr>
                  <a:xfrm>
                    <a:off x="4268042" y="4272249"/>
                    <a:ext cx="435815" cy="340422"/>
                  </a:xfrm>
                  <a:custGeom>
                    <a:avLst/>
                    <a:gdLst>
                      <a:gd name="connsiteX0" fmla="*/ 435815 w 435815"/>
                      <a:gd name="connsiteY0" fmla="*/ 0 h 340422"/>
                      <a:gd name="connsiteX1" fmla="*/ 0 w 435815"/>
                      <a:gd name="connsiteY1" fmla="*/ 340423 h 340422"/>
                    </a:gdLst>
                    <a:ahLst/>
                    <a:cxnLst>
                      <a:cxn ang="0">
                        <a:pos x="connsiteX0" y="connsiteY0"/>
                      </a:cxn>
                      <a:cxn ang="0">
                        <a:pos x="connsiteX1" y="connsiteY1"/>
                      </a:cxn>
                    </a:cxnLst>
                    <a:rect l="l" t="t" r="r" b="b"/>
                    <a:pathLst>
                      <a:path w="435815" h="340422">
                        <a:moveTo>
                          <a:pt x="435815" y="0"/>
                        </a:moveTo>
                        <a:cubicBezTo>
                          <a:pt x="278403" y="124160"/>
                          <a:pt x="124220" y="241621"/>
                          <a:pt x="0" y="340423"/>
                        </a:cubicBezTo>
                      </a:path>
                    </a:pathLst>
                  </a:custGeom>
                  <a:noFill/>
                  <a:ln w="6350" cap="rnd">
                    <a:solidFill>
                      <a:schemeClr val="bg1">
                        <a:alpha val="40000"/>
                      </a:schemeClr>
                    </a:solidFill>
                    <a:prstDash val="solid"/>
                    <a:miter/>
                  </a:ln>
                </p:spPr>
                <p:txBody>
                  <a:bodyPr rtlCol="0" anchor="ctr"/>
                  <a:lstStyle/>
                  <a:p>
                    <a:endParaRPr lang="en-GB"/>
                  </a:p>
                </p:txBody>
              </p:sp>
              <p:sp>
                <p:nvSpPr>
                  <p:cNvPr id="8469" name="Vrije vorm: vorm 8468">
                    <a:extLst>
                      <a:ext uri="{FF2B5EF4-FFF2-40B4-BE49-F238E27FC236}">
                        <a16:creationId xmlns:a16="http://schemas.microsoft.com/office/drawing/2014/main" id="{2FF0F6BB-5333-4DAD-814E-6B0D4A5E4E7A}"/>
                      </a:ext>
                    </a:extLst>
                  </p:cNvPr>
                  <p:cNvSpPr/>
                  <p:nvPr/>
                </p:nvSpPr>
                <p:spPr>
                  <a:xfrm>
                    <a:off x="4264274" y="4275239"/>
                    <a:ext cx="441736" cy="345446"/>
                  </a:xfrm>
                  <a:custGeom>
                    <a:avLst/>
                    <a:gdLst>
                      <a:gd name="connsiteX0" fmla="*/ 441736 w 441736"/>
                      <a:gd name="connsiteY0" fmla="*/ 0 h 345446"/>
                      <a:gd name="connsiteX1" fmla="*/ 0 w 441736"/>
                      <a:gd name="connsiteY1" fmla="*/ 345447 h 345446"/>
                    </a:gdLst>
                    <a:ahLst/>
                    <a:cxnLst>
                      <a:cxn ang="0">
                        <a:pos x="connsiteX0" y="connsiteY0"/>
                      </a:cxn>
                      <a:cxn ang="0">
                        <a:pos x="connsiteX1" y="connsiteY1"/>
                      </a:cxn>
                    </a:cxnLst>
                    <a:rect l="l" t="t" r="r" b="b"/>
                    <a:pathLst>
                      <a:path w="441736" h="345446">
                        <a:moveTo>
                          <a:pt x="441736" y="0"/>
                        </a:moveTo>
                        <a:cubicBezTo>
                          <a:pt x="281692" y="126253"/>
                          <a:pt x="125117" y="245688"/>
                          <a:pt x="0" y="345447"/>
                        </a:cubicBezTo>
                      </a:path>
                    </a:pathLst>
                  </a:custGeom>
                  <a:noFill/>
                  <a:ln w="6350" cap="rnd">
                    <a:solidFill>
                      <a:schemeClr val="bg1">
                        <a:alpha val="40000"/>
                      </a:schemeClr>
                    </a:solidFill>
                    <a:prstDash val="solid"/>
                    <a:miter/>
                  </a:ln>
                </p:spPr>
                <p:txBody>
                  <a:bodyPr rtlCol="0" anchor="ctr"/>
                  <a:lstStyle/>
                  <a:p>
                    <a:endParaRPr lang="en-GB"/>
                  </a:p>
                </p:txBody>
              </p:sp>
              <p:sp>
                <p:nvSpPr>
                  <p:cNvPr id="8470" name="Vrije vorm: vorm 8469">
                    <a:extLst>
                      <a:ext uri="{FF2B5EF4-FFF2-40B4-BE49-F238E27FC236}">
                        <a16:creationId xmlns:a16="http://schemas.microsoft.com/office/drawing/2014/main" id="{30DAA4E4-3694-426C-BBF7-CD0815D188C7}"/>
                      </a:ext>
                    </a:extLst>
                  </p:cNvPr>
                  <p:cNvSpPr/>
                  <p:nvPr/>
                </p:nvSpPr>
                <p:spPr>
                  <a:xfrm>
                    <a:off x="4260626" y="4278230"/>
                    <a:ext cx="447597" cy="350350"/>
                  </a:xfrm>
                  <a:custGeom>
                    <a:avLst/>
                    <a:gdLst>
                      <a:gd name="connsiteX0" fmla="*/ 447597 w 447597"/>
                      <a:gd name="connsiteY0" fmla="*/ 0 h 350350"/>
                      <a:gd name="connsiteX1" fmla="*/ 0 w 447597"/>
                      <a:gd name="connsiteY1" fmla="*/ 350351 h 350350"/>
                    </a:gdLst>
                    <a:ahLst/>
                    <a:cxnLst>
                      <a:cxn ang="0">
                        <a:pos x="connsiteX0" y="connsiteY0"/>
                      </a:cxn>
                      <a:cxn ang="0">
                        <a:pos x="connsiteX1" y="connsiteY1"/>
                      </a:cxn>
                    </a:cxnLst>
                    <a:rect l="l" t="t" r="r" b="b"/>
                    <a:pathLst>
                      <a:path w="447597" h="350350">
                        <a:moveTo>
                          <a:pt x="447597" y="0"/>
                        </a:moveTo>
                        <a:cubicBezTo>
                          <a:pt x="284982" y="128406"/>
                          <a:pt x="125954" y="249755"/>
                          <a:pt x="0" y="350351"/>
                        </a:cubicBezTo>
                      </a:path>
                    </a:pathLst>
                  </a:custGeom>
                  <a:noFill/>
                  <a:ln w="6350" cap="rnd">
                    <a:solidFill>
                      <a:schemeClr val="bg1">
                        <a:alpha val="40000"/>
                      </a:schemeClr>
                    </a:solidFill>
                    <a:prstDash val="solid"/>
                    <a:miter/>
                  </a:ln>
                </p:spPr>
                <p:txBody>
                  <a:bodyPr rtlCol="0" anchor="ctr"/>
                  <a:lstStyle/>
                  <a:p>
                    <a:endParaRPr lang="en-GB"/>
                  </a:p>
                </p:txBody>
              </p:sp>
              <p:sp>
                <p:nvSpPr>
                  <p:cNvPr id="8471" name="Vrije vorm: vorm 8470">
                    <a:extLst>
                      <a:ext uri="{FF2B5EF4-FFF2-40B4-BE49-F238E27FC236}">
                        <a16:creationId xmlns:a16="http://schemas.microsoft.com/office/drawing/2014/main" id="{A6D055C5-353C-4A58-B196-A330FF67D45E}"/>
                      </a:ext>
                    </a:extLst>
                  </p:cNvPr>
                  <p:cNvSpPr/>
                  <p:nvPr/>
                </p:nvSpPr>
                <p:spPr>
                  <a:xfrm>
                    <a:off x="4256978" y="4281220"/>
                    <a:ext cx="453398" cy="355254"/>
                  </a:xfrm>
                  <a:custGeom>
                    <a:avLst/>
                    <a:gdLst>
                      <a:gd name="connsiteX0" fmla="*/ 453399 w 453398"/>
                      <a:gd name="connsiteY0" fmla="*/ 0 h 355254"/>
                      <a:gd name="connsiteX1" fmla="*/ 0 w 453398"/>
                      <a:gd name="connsiteY1" fmla="*/ 355255 h 355254"/>
                    </a:gdLst>
                    <a:ahLst/>
                    <a:cxnLst>
                      <a:cxn ang="0">
                        <a:pos x="connsiteX0" y="connsiteY0"/>
                      </a:cxn>
                      <a:cxn ang="0">
                        <a:pos x="connsiteX1" y="connsiteY1"/>
                      </a:cxn>
                    </a:cxnLst>
                    <a:rect l="l" t="t" r="r" b="b"/>
                    <a:pathLst>
                      <a:path w="453398" h="355254">
                        <a:moveTo>
                          <a:pt x="453399" y="0"/>
                        </a:moveTo>
                        <a:cubicBezTo>
                          <a:pt x="288151" y="130559"/>
                          <a:pt x="126732" y="253822"/>
                          <a:pt x="0" y="355255"/>
                        </a:cubicBezTo>
                      </a:path>
                    </a:pathLst>
                  </a:custGeom>
                  <a:noFill/>
                  <a:ln w="6350" cap="rnd">
                    <a:solidFill>
                      <a:schemeClr val="bg1">
                        <a:alpha val="40000"/>
                      </a:schemeClr>
                    </a:solidFill>
                    <a:prstDash val="solid"/>
                    <a:miter/>
                  </a:ln>
                </p:spPr>
                <p:txBody>
                  <a:bodyPr rtlCol="0" anchor="ctr"/>
                  <a:lstStyle/>
                  <a:p>
                    <a:endParaRPr lang="en-GB"/>
                  </a:p>
                </p:txBody>
              </p:sp>
            </p:grpSp>
            <p:sp>
              <p:nvSpPr>
                <p:cNvPr id="8070" name="Vrije vorm: vorm 8069">
                  <a:extLst>
                    <a:ext uri="{FF2B5EF4-FFF2-40B4-BE49-F238E27FC236}">
                      <a16:creationId xmlns:a16="http://schemas.microsoft.com/office/drawing/2014/main" id="{A19CB0EB-B694-43E6-9CD9-DC1C949C50D4}"/>
                    </a:ext>
                  </a:extLst>
                </p:cNvPr>
                <p:cNvSpPr/>
                <p:nvPr/>
              </p:nvSpPr>
              <p:spPr>
                <a:xfrm>
                  <a:off x="4243282" y="4442341"/>
                  <a:ext cx="584077" cy="483003"/>
                </a:xfrm>
                <a:custGeom>
                  <a:avLst/>
                  <a:gdLst>
                    <a:gd name="connsiteX0" fmla="*/ 13098 w 584077"/>
                    <a:gd name="connsiteY0" fmla="*/ 339167 h 483003"/>
                    <a:gd name="connsiteX1" fmla="*/ 0 w 584077"/>
                    <a:gd name="connsiteY1" fmla="*/ 483003 h 483003"/>
                    <a:gd name="connsiteX2" fmla="*/ 584078 w 584077"/>
                    <a:gd name="connsiteY2" fmla="*/ 0 h 483003"/>
                  </a:gdLst>
                  <a:ahLst/>
                  <a:cxnLst>
                    <a:cxn ang="0">
                      <a:pos x="connsiteX0" y="connsiteY0"/>
                    </a:cxn>
                    <a:cxn ang="0">
                      <a:pos x="connsiteX1" y="connsiteY1"/>
                    </a:cxn>
                    <a:cxn ang="0">
                      <a:pos x="connsiteX2" y="connsiteY2"/>
                    </a:cxn>
                  </a:cxnLst>
                  <a:rect l="l" t="t" r="r" b="b"/>
                  <a:pathLst>
                    <a:path w="584077" h="483003">
                      <a:moveTo>
                        <a:pt x="13098" y="339167"/>
                      </a:moveTo>
                      <a:cubicBezTo>
                        <a:pt x="4486" y="390960"/>
                        <a:pt x="598" y="439045"/>
                        <a:pt x="0" y="483003"/>
                      </a:cubicBezTo>
                      <a:cubicBezTo>
                        <a:pt x="114710" y="388328"/>
                        <a:pt x="341021" y="200354"/>
                        <a:pt x="584078" y="0"/>
                      </a:cubicBezTo>
                    </a:path>
                  </a:pathLst>
                </a:custGeom>
                <a:noFill/>
                <a:ln w="6350" cap="rnd">
                  <a:solidFill>
                    <a:schemeClr val="bg1">
                      <a:alpha val="40000"/>
                    </a:schemeClr>
                  </a:solidFill>
                  <a:prstDash val="solid"/>
                  <a:miter/>
                </a:ln>
              </p:spPr>
              <p:txBody>
                <a:bodyPr rtlCol="0" anchor="ctr"/>
                <a:lstStyle/>
                <a:p>
                  <a:endParaRPr lang="en-GB"/>
                </a:p>
              </p:txBody>
            </p:sp>
            <p:sp>
              <p:nvSpPr>
                <p:cNvPr id="8071" name="Vrije vorm: vorm 8070">
                  <a:extLst>
                    <a:ext uri="{FF2B5EF4-FFF2-40B4-BE49-F238E27FC236}">
                      <a16:creationId xmlns:a16="http://schemas.microsoft.com/office/drawing/2014/main" id="{13130A33-938C-4999-9A8B-D8ACB1C850CE}"/>
                    </a:ext>
                  </a:extLst>
                </p:cNvPr>
                <p:cNvSpPr/>
                <p:nvPr/>
              </p:nvSpPr>
              <p:spPr>
                <a:xfrm>
                  <a:off x="4222888" y="4772656"/>
                  <a:ext cx="154661" cy="41685"/>
                </a:xfrm>
                <a:custGeom>
                  <a:avLst/>
                  <a:gdLst>
                    <a:gd name="connsiteX0" fmla="*/ 0 w 154661"/>
                    <a:gd name="connsiteY0" fmla="*/ 0 h 41685"/>
                    <a:gd name="connsiteX1" fmla="*/ 154661 w 154661"/>
                    <a:gd name="connsiteY1" fmla="*/ 41686 h 41685"/>
                  </a:gdLst>
                  <a:ahLst/>
                  <a:cxnLst>
                    <a:cxn ang="0">
                      <a:pos x="connsiteX0" y="connsiteY0"/>
                    </a:cxn>
                    <a:cxn ang="0">
                      <a:pos x="connsiteX1" y="connsiteY1"/>
                    </a:cxn>
                  </a:cxnLst>
                  <a:rect l="l" t="t" r="r" b="b"/>
                  <a:pathLst>
                    <a:path w="154661" h="41685">
                      <a:moveTo>
                        <a:pt x="0" y="0"/>
                      </a:moveTo>
                      <a:cubicBezTo>
                        <a:pt x="51913" y="13397"/>
                        <a:pt x="103287" y="27631"/>
                        <a:pt x="154661" y="41686"/>
                      </a:cubicBezTo>
                    </a:path>
                  </a:pathLst>
                </a:custGeom>
                <a:noFill/>
                <a:ln w="6350" cap="rnd">
                  <a:solidFill>
                    <a:schemeClr val="bg1">
                      <a:alpha val="40000"/>
                    </a:schemeClr>
                  </a:solidFill>
                  <a:prstDash val="solid"/>
                  <a:miter/>
                </a:ln>
              </p:spPr>
              <p:txBody>
                <a:bodyPr rtlCol="0" anchor="ctr"/>
                <a:lstStyle/>
                <a:p>
                  <a:endParaRPr lang="en-GB"/>
                </a:p>
              </p:txBody>
            </p:sp>
            <p:sp>
              <p:nvSpPr>
                <p:cNvPr id="8072" name="Vrije vorm: vorm 8071">
                  <a:extLst>
                    <a:ext uri="{FF2B5EF4-FFF2-40B4-BE49-F238E27FC236}">
                      <a16:creationId xmlns:a16="http://schemas.microsoft.com/office/drawing/2014/main" id="{6F01EA64-FD8F-4CCC-BA3F-A63A2EA0DC49}"/>
                    </a:ext>
                  </a:extLst>
                </p:cNvPr>
                <p:cNvSpPr/>
                <p:nvPr/>
              </p:nvSpPr>
              <p:spPr>
                <a:xfrm>
                  <a:off x="4228210" y="4768230"/>
                  <a:ext cx="155199" cy="41267"/>
                </a:xfrm>
                <a:custGeom>
                  <a:avLst/>
                  <a:gdLst>
                    <a:gd name="connsiteX0" fmla="*/ 0 w 155199"/>
                    <a:gd name="connsiteY0" fmla="*/ 0 h 41267"/>
                    <a:gd name="connsiteX1" fmla="*/ 155199 w 155199"/>
                    <a:gd name="connsiteY1" fmla="*/ 41267 h 41267"/>
                  </a:gdLst>
                  <a:ahLst/>
                  <a:cxnLst>
                    <a:cxn ang="0">
                      <a:pos x="connsiteX0" y="connsiteY0"/>
                    </a:cxn>
                    <a:cxn ang="0">
                      <a:pos x="connsiteX1" y="connsiteY1"/>
                    </a:cxn>
                  </a:cxnLst>
                  <a:rect l="l" t="t" r="r" b="b"/>
                  <a:pathLst>
                    <a:path w="155199" h="41267">
                      <a:moveTo>
                        <a:pt x="0" y="0"/>
                      </a:moveTo>
                      <a:cubicBezTo>
                        <a:pt x="52092" y="13277"/>
                        <a:pt x="103706" y="27392"/>
                        <a:pt x="155199" y="41267"/>
                      </a:cubicBezTo>
                    </a:path>
                  </a:pathLst>
                </a:custGeom>
                <a:noFill/>
                <a:ln w="6350" cap="rnd">
                  <a:solidFill>
                    <a:schemeClr val="bg1">
                      <a:alpha val="40000"/>
                    </a:schemeClr>
                  </a:solidFill>
                  <a:prstDash val="solid"/>
                  <a:miter/>
                </a:ln>
              </p:spPr>
              <p:txBody>
                <a:bodyPr rtlCol="0" anchor="ctr"/>
                <a:lstStyle/>
                <a:p>
                  <a:endParaRPr lang="en-GB"/>
                </a:p>
              </p:txBody>
            </p:sp>
            <p:sp>
              <p:nvSpPr>
                <p:cNvPr id="8073" name="Vrije vorm: vorm 8072">
                  <a:extLst>
                    <a:ext uri="{FF2B5EF4-FFF2-40B4-BE49-F238E27FC236}">
                      <a16:creationId xmlns:a16="http://schemas.microsoft.com/office/drawing/2014/main" id="{93581979-2D15-483E-A185-22685EDD1D75}"/>
                    </a:ext>
                  </a:extLst>
                </p:cNvPr>
                <p:cNvSpPr/>
                <p:nvPr/>
              </p:nvSpPr>
              <p:spPr>
                <a:xfrm>
                  <a:off x="4275638" y="4729894"/>
                  <a:ext cx="151431" cy="43300"/>
                </a:xfrm>
                <a:custGeom>
                  <a:avLst/>
                  <a:gdLst>
                    <a:gd name="connsiteX0" fmla="*/ 0 w 151431"/>
                    <a:gd name="connsiteY0" fmla="*/ 0 h 43300"/>
                    <a:gd name="connsiteX1" fmla="*/ 151432 w 151431"/>
                    <a:gd name="connsiteY1" fmla="*/ 43300 h 43300"/>
                  </a:gdLst>
                  <a:ahLst/>
                  <a:cxnLst>
                    <a:cxn ang="0">
                      <a:pos x="connsiteX0" y="connsiteY0"/>
                    </a:cxn>
                    <a:cxn ang="0">
                      <a:pos x="connsiteX1" y="connsiteY1"/>
                    </a:cxn>
                  </a:cxnLst>
                  <a:rect l="l" t="t" r="r" b="b"/>
                  <a:pathLst>
                    <a:path w="151431" h="43300">
                      <a:moveTo>
                        <a:pt x="0" y="0"/>
                      </a:moveTo>
                      <a:cubicBezTo>
                        <a:pt x="51075" y="14055"/>
                        <a:pt x="101433" y="28767"/>
                        <a:pt x="151432" y="43300"/>
                      </a:cubicBezTo>
                    </a:path>
                  </a:pathLst>
                </a:custGeom>
                <a:noFill/>
                <a:ln w="6350" cap="rnd">
                  <a:solidFill>
                    <a:schemeClr val="bg1">
                      <a:alpha val="40000"/>
                    </a:schemeClr>
                  </a:solidFill>
                  <a:prstDash val="solid"/>
                  <a:miter/>
                </a:ln>
              </p:spPr>
              <p:txBody>
                <a:bodyPr rtlCol="0" anchor="ctr"/>
                <a:lstStyle/>
                <a:p>
                  <a:endParaRPr lang="en-GB"/>
                </a:p>
              </p:txBody>
            </p:sp>
            <p:sp>
              <p:nvSpPr>
                <p:cNvPr id="8074" name="Vrije vorm: vorm 8073">
                  <a:extLst>
                    <a:ext uri="{FF2B5EF4-FFF2-40B4-BE49-F238E27FC236}">
                      <a16:creationId xmlns:a16="http://schemas.microsoft.com/office/drawing/2014/main" id="{55DED1F5-929D-4B47-B8D8-CE999C667361}"/>
                    </a:ext>
                  </a:extLst>
                </p:cNvPr>
                <p:cNvSpPr/>
                <p:nvPr/>
              </p:nvSpPr>
              <p:spPr>
                <a:xfrm>
                  <a:off x="4281140" y="4724989"/>
                  <a:ext cx="151850" cy="43420"/>
                </a:xfrm>
                <a:custGeom>
                  <a:avLst/>
                  <a:gdLst>
                    <a:gd name="connsiteX0" fmla="*/ 0 w 151850"/>
                    <a:gd name="connsiteY0" fmla="*/ 0 h 43420"/>
                    <a:gd name="connsiteX1" fmla="*/ 151851 w 151850"/>
                    <a:gd name="connsiteY1" fmla="*/ 43420 h 43420"/>
                  </a:gdLst>
                  <a:ahLst/>
                  <a:cxnLst>
                    <a:cxn ang="0">
                      <a:pos x="connsiteX0" y="connsiteY0"/>
                    </a:cxn>
                    <a:cxn ang="0">
                      <a:pos x="connsiteX1" y="connsiteY1"/>
                    </a:cxn>
                  </a:cxnLst>
                  <a:rect l="l" t="t" r="r" b="b"/>
                  <a:pathLst>
                    <a:path w="151850" h="43420">
                      <a:moveTo>
                        <a:pt x="0" y="0"/>
                      </a:moveTo>
                      <a:cubicBezTo>
                        <a:pt x="51195" y="14174"/>
                        <a:pt x="101672" y="28887"/>
                        <a:pt x="151851" y="43420"/>
                      </a:cubicBezTo>
                    </a:path>
                  </a:pathLst>
                </a:custGeom>
                <a:noFill/>
                <a:ln w="6350" cap="rnd">
                  <a:solidFill>
                    <a:schemeClr val="bg1">
                      <a:alpha val="40000"/>
                    </a:schemeClr>
                  </a:solidFill>
                  <a:prstDash val="solid"/>
                  <a:miter/>
                </a:ln>
              </p:spPr>
              <p:txBody>
                <a:bodyPr rtlCol="0" anchor="ctr"/>
                <a:lstStyle/>
                <a:p>
                  <a:endParaRPr lang="en-GB"/>
                </a:p>
              </p:txBody>
            </p:sp>
            <p:sp>
              <p:nvSpPr>
                <p:cNvPr id="8075" name="Vrije vorm: vorm 8074">
                  <a:extLst>
                    <a:ext uri="{FF2B5EF4-FFF2-40B4-BE49-F238E27FC236}">
                      <a16:creationId xmlns:a16="http://schemas.microsoft.com/office/drawing/2014/main" id="{580C579A-A6F2-415B-804E-100FCFB9D2D6}"/>
                    </a:ext>
                  </a:extLst>
                </p:cNvPr>
                <p:cNvSpPr/>
                <p:nvPr/>
              </p:nvSpPr>
              <p:spPr>
                <a:xfrm>
                  <a:off x="4334488" y="4683483"/>
                  <a:ext cx="142221" cy="48503"/>
                </a:xfrm>
                <a:custGeom>
                  <a:avLst/>
                  <a:gdLst>
                    <a:gd name="connsiteX0" fmla="*/ 0 w 142221"/>
                    <a:gd name="connsiteY0" fmla="*/ 0 h 48503"/>
                    <a:gd name="connsiteX1" fmla="*/ 142222 w 142221"/>
                    <a:gd name="connsiteY1" fmla="*/ 48504 h 48503"/>
                  </a:gdLst>
                  <a:ahLst/>
                  <a:cxnLst>
                    <a:cxn ang="0">
                      <a:pos x="connsiteX0" y="connsiteY0"/>
                    </a:cxn>
                    <a:cxn ang="0">
                      <a:pos x="connsiteX1" y="connsiteY1"/>
                    </a:cxn>
                  </a:cxnLst>
                  <a:rect l="l" t="t" r="r" b="b"/>
                  <a:pathLst>
                    <a:path w="142221" h="48503">
                      <a:moveTo>
                        <a:pt x="0" y="0"/>
                      </a:moveTo>
                      <a:cubicBezTo>
                        <a:pt x="48145" y="15909"/>
                        <a:pt x="95452" y="32176"/>
                        <a:pt x="142222" y="48504"/>
                      </a:cubicBezTo>
                    </a:path>
                  </a:pathLst>
                </a:custGeom>
                <a:noFill/>
                <a:ln w="6350" cap="rnd">
                  <a:solidFill>
                    <a:schemeClr val="bg1">
                      <a:alpha val="40000"/>
                    </a:schemeClr>
                  </a:solidFill>
                  <a:prstDash val="solid"/>
                  <a:miter/>
                </a:ln>
              </p:spPr>
              <p:txBody>
                <a:bodyPr rtlCol="0" anchor="ctr"/>
                <a:lstStyle/>
                <a:p>
                  <a:endParaRPr lang="en-GB"/>
                </a:p>
              </p:txBody>
            </p:sp>
            <p:sp>
              <p:nvSpPr>
                <p:cNvPr id="8076" name="Vrije vorm: vorm 8075">
                  <a:extLst>
                    <a:ext uri="{FF2B5EF4-FFF2-40B4-BE49-F238E27FC236}">
                      <a16:creationId xmlns:a16="http://schemas.microsoft.com/office/drawing/2014/main" id="{6092EC73-FA78-4E75-86BC-C50207CB3DE5}"/>
                    </a:ext>
                  </a:extLst>
                </p:cNvPr>
                <p:cNvSpPr/>
                <p:nvPr/>
              </p:nvSpPr>
              <p:spPr>
                <a:xfrm>
                  <a:off x="4341067" y="4678160"/>
                  <a:ext cx="142460" cy="48204"/>
                </a:xfrm>
                <a:custGeom>
                  <a:avLst/>
                  <a:gdLst>
                    <a:gd name="connsiteX0" fmla="*/ 0 w 142460"/>
                    <a:gd name="connsiteY0" fmla="*/ 0 h 48204"/>
                    <a:gd name="connsiteX1" fmla="*/ 142461 w 142460"/>
                    <a:gd name="connsiteY1" fmla="*/ 48205 h 48204"/>
                  </a:gdLst>
                  <a:ahLst/>
                  <a:cxnLst>
                    <a:cxn ang="0">
                      <a:pos x="connsiteX0" y="connsiteY0"/>
                    </a:cxn>
                    <a:cxn ang="0">
                      <a:pos x="connsiteX1" y="connsiteY1"/>
                    </a:cxn>
                  </a:cxnLst>
                  <a:rect l="l" t="t" r="r" b="b"/>
                  <a:pathLst>
                    <a:path w="142460" h="48204">
                      <a:moveTo>
                        <a:pt x="0" y="0"/>
                      </a:moveTo>
                      <a:cubicBezTo>
                        <a:pt x="48205" y="15849"/>
                        <a:pt x="95572" y="32057"/>
                        <a:pt x="142461" y="48205"/>
                      </a:cubicBezTo>
                    </a:path>
                  </a:pathLst>
                </a:custGeom>
                <a:noFill/>
                <a:ln w="6350" cap="rnd">
                  <a:solidFill>
                    <a:schemeClr val="bg1">
                      <a:alpha val="40000"/>
                    </a:schemeClr>
                  </a:solidFill>
                  <a:prstDash val="solid"/>
                  <a:miter/>
                </a:ln>
              </p:spPr>
              <p:txBody>
                <a:bodyPr rtlCol="0" anchor="ctr"/>
                <a:lstStyle/>
                <a:p>
                  <a:endParaRPr lang="en-GB"/>
                </a:p>
              </p:txBody>
            </p:sp>
            <p:sp>
              <p:nvSpPr>
                <p:cNvPr id="8077" name="Vrije vorm: vorm 8076">
                  <a:extLst>
                    <a:ext uri="{FF2B5EF4-FFF2-40B4-BE49-F238E27FC236}">
                      <a16:creationId xmlns:a16="http://schemas.microsoft.com/office/drawing/2014/main" id="{09CC002C-7F34-445F-A8A5-785D17EBB684}"/>
                    </a:ext>
                  </a:extLst>
                </p:cNvPr>
                <p:cNvSpPr/>
                <p:nvPr/>
              </p:nvSpPr>
              <p:spPr>
                <a:xfrm>
                  <a:off x="4397285" y="4634023"/>
                  <a:ext cx="131635" cy="55381"/>
                </a:xfrm>
                <a:custGeom>
                  <a:avLst/>
                  <a:gdLst>
                    <a:gd name="connsiteX0" fmla="*/ 0 w 131635"/>
                    <a:gd name="connsiteY0" fmla="*/ 0 h 55381"/>
                    <a:gd name="connsiteX1" fmla="*/ 131636 w 131635"/>
                    <a:gd name="connsiteY1" fmla="*/ 55382 h 55381"/>
                  </a:gdLst>
                  <a:ahLst/>
                  <a:cxnLst>
                    <a:cxn ang="0">
                      <a:pos x="connsiteX0" y="connsiteY0"/>
                    </a:cxn>
                    <a:cxn ang="0">
                      <a:pos x="connsiteX1" y="connsiteY1"/>
                    </a:cxn>
                  </a:cxnLst>
                  <a:rect l="l" t="t" r="r" b="b"/>
                  <a:pathLst>
                    <a:path w="131635" h="55381">
                      <a:moveTo>
                        <a:pt x="0" y="0"/>
                      </a:moveTo>
                      <a:cubicBezTo>
                        <a:pt x="44616" y="18241"/>
                        <a:pt x="88395" y="36782"/>
                        <a:pt x="131636" y="55382"/>
                      </a:cubicBezTo>
                    </a:path>
                  </a:pathLst>
                </a:custGeom>
                <a:noFill/>
                <a:ln w="6350" cap="rnd">
                  <a:solidFill>
                    <a:schemeClr val="bg1">
                      <a:alpha val="40000"/>
                    </a:schemeClr>
                  </a:solidFill>
                  <a:prstDash val="solid"/>
                  <a:miter/>
                </a:ln>
              </p:spPr>
              <p:txBody>
                <a:bodyPr rtlCol="0" anchor="ctr"/>
                <a:lstStyle/>
                <a:p>
                  <a:endParaRPr lang="en-GB"/>
                </a:p>
              </p:txBody>
            </p:sp>
            <p:sp>
              <p:nvSpPr>
                <p:cNvPr id="8078" name="Vrije vorm: vorm 8077">
                  <a:extLst>
                    <a:ext uri="{FF2B5EF4-FFF2-40B4-BE49-F238E27FC236}">
                      <a16:creationId xmlns:a16="http://schemas.microsoft.com/office/drawing/2014/main" id="{DE373A27-D5B6-45D0-BCB1-8A9B0592C385}"/>
                    </a:ext>
                  </a:extLst>
                </p:cNvPr>
                <p:cNvSpPr/>
                <p:nvPr/>
              </p:nvSpPr>
              <p:spPr>
                <a:xfrm>
                  <a:off x="4404402" y="4628341"/>
                  <a:ext cx="131635" cy="55202"/>
                </a:xfrm>
                <a:custGeom>
                  <a:avLst/>
                  <a:gdLst>
                    <a:gd name="connsiteX0" fmla="*/ 0 w 131635"/>
                    <a:gd name="connsiteY0" fmla="*/ 0 h 55202"/>
                    <a:gd name="connsiteX1" fmla="*/ 131636 w 131635"/>
                    <a:gd name="connsiteY1" fmla="*/ 55202 h 55202"/>
                  </a:gdLst>
                  <a:ahLst/>
                  <a:cxnLst>
                    <a:cxn ang="0">
                      <a:pos x="connsiteX0" y="connsiteY0"/>
                    </a:cxn>
                    <a:cxn ang="0">
                      <a:pos x="connsiteX1" y="connsiteY1"/>
                    </a:cxn>
                  </a:cxnLst>
                  <a:rect l="l" t="t" r="r" b="b"/>
                  <a:pathLst>
                    <a:path w="131635" h="55202">
                      <a:moveTo>
                        <a:pt x="0" y="0"/>
                      </a:moveTo>
                      <a:cubicBezTo>
                        <a:pt x="44616" y="18182"/>
                        <a:pt x="88395" y="36662"/>
                        <a:pt x="131636" y="55202"/>
                      </a:cubicBezTo>
                    </a:path>
                  </a:pathLst>
                </a:custGeom>
                <a:noFill/>
                <a:ln w="6350" cap="rnd">
                  <a:solidFill>
                    <a:schemeClr val="bg1">
                      <a:alpha val="40000"/>
                    </a:schemeClr>
                  </a:solidFill>
                  <a:prstDash val="solid"/>
                  <a:miter/>
                </a:ln>
              </p:spPr>
              <p:txBody>
                <a:bodyPr rtlCol="0" anchor="ctr"/>
                <a:lstStyle/>
                <a:p>
                  <a:endParaRPr lang="en-GB"/>
                </a:p>
              </p:txBody>
            </p:sp>
            <p:sp>
              <p:nvSpPr>
                <p:cNvPr id="8079" name="Vrije vorm: vorm 8078">
                  <a:extLst>
                    <a:ext uri="{FF2B5EF4-FFF2-40B4-BE49-F238E27FC236}">
                      <a16:creationId xmlns:a16="http://schemas.microsoft.com/office/drawing/2014/main" id="{21F0587F-D2D8-4B2D-9F4E-C555C0732999}"/>
                    </a:ext>
                  </a:extLst>
                </p:cNvPr>
                <p:cNvSpPr/>
                <p:nvPr/>
              </p:nvSpPr>
              <p:spPr>
                <a:xfrm>
                  <a:off x="4464509" y="4580555"/>
                  <a:ext cx="118537" cy="63933"/>
                </a:xfrm>
                <a:custGeom>
                  <a:avLst/>
                  <a:gdLst>
                    <a:gd name="connsiteX0" fmla="*/ 0 w 118537"/>
                    <a:gd name="connsiteY0" fmla="*/ 0 h 63933"/>
                    <a:gd name="connsiteX1" fmla="*/ 118538 w 118537"/>
                    <a:gd name="connsiteY1" fmla="*/ 63934 h 63933"/>
                  </a:gdLst>
                  <a:ahLst/>
                  <a:cxnLst>
                    <a:cxn ang="0">
                      <a:pos x="connsiteX0" y="connsiteY0"/>
                    </a:cxn>
                    <a:cxn ang="0">
                      <a:pos x="connsiteX1" y="connsiteY1"/>
                    </a:cxn>
                  </a:cxnLst>
                  <a:rect l="l" t="t" r="r" b="b"/>
                  <a:pathLst>
                    <a:path w="118537" h="63933">
                      <a:moveTo>
                        <a:pt x="0" y="0"/>
                      </a:moveTo>
                      <a:cubicBezTo>
                        <a:pt x="40190" y="21112"/>
                        <a:pt x="79603" y="42463"/>
                        <a:pt x="118538" y="63934"/>
                      </a:cubicBezTo>
                    </a:path>
                  </a:pathLst>
                </a:custGeom>
                <a:noFill/>
                <a:ln w="6350" cap="rnd">
                  <a:solidFill>
                    <a:schemeClr val="bg1">
                      <a:alpha val="40000"/>
                    </a:schemeClr>
                  </a:solidFill>
                  <a:prstDash val="solid"/>
                  <a:miter/>
                </a:ln>
              </p:spPr>
              <p:txBody>
                <a:bodyPr rtlCol="0" anchor="ctr"/>
                <a:lstStyle/>
                <a:p>
                  <a:endParaRPr lang="en-GB"/>
                </a:p>
              </p:txBody>
            </p:sp>
            <p:sp>
              <p:nvSpPr>
                <p:cNvPr id="8080" name="Vrije vorm: vorm 8079">
                  <a:extLst>
                    <a:ext uri="{FF2B5EF4-FFF2-40B4-BE49-F238E27FC236}">
                      <a16:creationId xmlns:a16="http://schemas.microsoft.com/office/drawing/2014/main" id="{BCC842A5-12C9-4891-BC35-C36F5FDB6AC5}"/>
                    </a:ext>
                  </a:extLst>
                </p:cNvPr>
                <p:cNvSpPr/>
                <p:nvPr/>
              </p:nvSpPr>
              <p:spPr>
                <a:xfrm>
                  <a:off x="4472044" y="4574574"/>
                  <a:ext cx="118418" cy="63814"/>
                </a:xfrm>
                <a:custGeom>
                  <a:avLst/>
                  <a:gdLst>
                    <a:gd name="connsiteX0" fmla="*/ 0 w 118418"/>
                    <a:gd name="connsiteY0" fmla="*/ 0 h 63814"/>
                    <a:gd name="connsiteX1" fmla="*/ 118419 w 118418"/>
                    <a:gd name="connsiteY1" fmla="*/ 63814 h 63814"/>
                  </a:gdLst>
                  <a:ahLst/>
                  <a:cxnLst>
                    <a:cxn ang="0">
                      <a:pos x="connsiteX0" y="connsiteY0"/>
                    </a:cxn>
                    <a:cxn ang="0">
                      <a:pos x="connsiteX1" y="connsiteY1"/>
                    </a:cxn>
                  </a:cxnLst>
                  <a:rect l="l" t="t" r="r" b="b"/>
                  <a:pathLst>
                    <a:path w="118418" h="63814">
                      <a:moveTo>
                        <a:pt x="0" y="0"/>
                      </a:moveTo>
                      <a:cubicBezTo>
                        <a:pt x="40131" y="21112"/>
                        <a:pt x="79544" y="42403"/>
                        <a:pt x="118419" y="63814"/>
                      </a:cubicBezTo>
                    </a:path>
                  </a:pathLst>
                </a:custGeom>
                <a:noFill/>
                <a:ln w="6350" cap="rnd">
                  <a:solidFill>
                    <a:schemeClr val="bg1">
                      <a:alpha val="40000"/>
                    </a:schemeClr>
                  </a:solidFill>
                  <a:prstDash val="solid"/>
                  <a:miter/>
                </a:ln>
              </p:spPr>
              <p:txBody>
                <a:bodyPr rtlCol="0" anchor="ctr"/>
                <a:lstStyle/>
                <a:p>
                  <a:endParaRPr lang="en-GB"/>
                </a:p>
              </p:txBody>
            </p:sp>
            <p:sp>
              <p:nvSpPr>
                <p:cNvPr id="8081" name="Vrije vorm: vorm 8080">
                  <a:extLst>
                    <a:ext uri="{FF2B5EF4-FFF2-40B4-BE49-F238E27FC236}">
                      <a16:creationId xmlns:a16="http://schemas.microsoft.com/office/drawing/2014/main" id="{70FC1289-D09E-4217-84F3-D519AF69DF66}"/>
                    </a:ext>
                  </a:extLst>
                </p:cNvPr>
                <p:cNvSpPr/>
                <p:nvPr/>
              </p:nvSpPr>
              <p:spPr>
                <a:xfrm>
                  <a:off x="4535560" y="4524157"/>
                  <a:ext cx="107892" cy="70213"/>
                </a:xfrm>
                <a:custGeom>
                  <a:avLst/>
                  <a:gdLst>
                    <a:gd name="connsiteX0" fmla="*/ 0 w 107892"/>
                    <a:gd name="connsiteY0" fmla="*/ 0 h 70213"/>
                    <a:gd name="connsiteX1" fmla="*/ 107892 w 107892"/>
                    <a:gd name="connsiteY1" fmla="*/ 70214 h 70213"/>
                  </a:gdLst>
                  <a:ahLst/>
                  <a:cxnLst>
                    <a:cxn ang="0">
                      <a:pos x="connsiteX0" y="connsiteY0"/>
                    </a:cxn>
                    <a:cxn ang="0">
                      <a:pos x="connsiteX1" y="connsiteY1"/>
                    </a:cxn>
                  </a:cxnLst>
                  <a:rect l="l" t="t" r="r" b="b"/>
                  <a:pathLst>
                    <a:path w="107892" h="70213">
                      <a:moveTo>
                        <a:pt x="0" y="0"/>
                      </a:moveTo>
                      <a:cubicBezTo>
                        <a:pt x="36483" y="23265"/>
                        <a:pt x="72367" y="46709"/>
                        <a:pt x="107892" y="70214"/>
                      </a:cubicBezTo>
                    </a:path>
                  </a:pathLst>
                </a:custGeom>
                <a:noFill/>
                <a:ln w="6350" cap="rnd">
                  <a:solidFill>
                    <a:schemeClr val="bg1">
                      <a:alpha val="40000"/>
                    </a:schemeClr>
                  </a:solidFill>
                  <a:prstDash val="solid"/>
                  <a:miter/>
                </a:ln>
              </p:spPr>
              <p:txBody>
                <a:bodyPr rtlCol="0" anchor="ctr"/>
                <a:lstStyle/>
                <a:p>
                  <a:endParaRPr lang="en-GB"/>
                </a:p>
              </p:txBody>
            </p:sp>
            <p:sp>
              <p:nvSpPr>
                <p:cNvPr id="8082" name="Vrije vorm: vorm 8081">
                  <a:extLst>
                    <a:ext uri="{FF2B5EF4-FFF2-40B4-BE49-F238E27FC236}">
                      <a16:creationId xmlns:a16="http://schemas.microsoft.com/office/drawing/2014/main" id="{3EB38E9A-7F8C-479A-B8A2-8FCFA60F2FED}"/>
                    </a:ext>
                  </a:extLst>
                </p:cNvPr>
                <p:cNvSpPr/>
                <p:nvPr/>
              </p:nvSpPr>
              <p:spPr>
                <a:xfrm>
                  <a:off x="4543514" y="4517877"/>
                  <a:ext cx="107712" cy="70213"/>
                </a:xfrm>
                <a:custGeom>
                  <a:avLst/>
                  <a:gdLst>
                    <a:gd name="connsiteX0" fmla="*/ 0 w 107712"/>
                    <a:gd name="connsiteY0" fmla="*/ 0 h 70213"/>
                    <a:gd name="connsiteX1" fmla="*/ 107713 w 107712"/>
                    <a:gd name="connsiteY1" fmla="*/ 70214 h 70213"/>
                  </a:gdLst>
                  <a:ahLst/>
                  <a:cxnLst>
                    <a:cxn ang="0">
                      <a:pos x="connsiteX0" y="connsiteY0"/>
                    </a:cxn>
                    <a:cxn ang="0">
                      <a:pos x="connsiteX1" y="connsiteY1"/>
                    </a:cxn>
                  </a:cxnLst>
                  <a:rect l="l" t="t" r="r" b="b"/>
                  <a:pathLst>
                    <a:path w="107712" h="70213">
                      <a:moveTo>
                        <a:pt x="0" y="0"/>
                      </a:moveTo>
                      <a:cubicBezTo>
                        <a:pt x="36423" y="23265"/>
                        <a:pt x="72307" y="46709"/>
                        <a:pt x="107713" y="70214"/>
                      </a:cubicBezTo>
                    </a:path>
                  </a:pathLst>
                </a:custGeom>
                <a:noFill/>
                <a:ln w="6350" cap="rnd">
                  <a:solidFill>
                    <a:schemeClr val="bg1">
                      <a:alpha val="40000"/>
                    </a:schemeClr>
                  </a:solidFill>
                  <a:prstDash val="solid"/>
                  <a:miter/>
                </a:ln>
              </p:spPr>
              <p:txBody>
                <a:bodyPr rtlCol="0" anchor="ctr"/>
                <a:lstStyle/>
                <a:p>
                  <a:endParaRPr lang="en-GB"/>
                </a:p>
              </p:txBody>
            </p:sp>
            <p:sp>
              <p:nvSpPr>
                <p:cNvPr id="8083" name="Vrije vorm: vorm 8082">
                  <a:extLst>
                    <a:ext uri="{FF2B5EF4-FFF2-40B4-BE49-F238E27FC236}">
                      <a16:creationId xmlns:a16="http://schemas.microsoft.com/office/drawing/2014/main" id="{20A385FA-3A1B-4255-9A8D-7EE62FB43BF7}"/>
                    </a:ext>
                  </a:extLst>
                </p:cNvPr>
                <p:cNvSpPr/>
                <p:nvPr/>
              </p:nvSpPr>
              <p:spPr>
                <a:xfrm>
                  <a:off x="4241368" y="4757405"/>
                  <a:ext cx="153465" cy="42881"/>
                </a:xfrm>
                <a:custGeom>
                  <a:avLst/>
                  <a:gdLst>
                    <a:gd name="connsiteX0" fmla="*/ 0 w 153465"/>
                    <a:gd name="connsiteY0" fmla="*/ 0 h 42881"/>
                    <a:gd name="connsiteX1" fmla="*/ 153466 w 153465"/>
                    <a:gd name="connsiteY1" fmla="*/ 42882 h 42881"/>
                  </a:gdLst>
                  <a:ahLst/>
                  <a:cxnLst>
                    <a:cxn ang="0">
                      <a:pos x="connsiteX0" y="connsiteY0"/>
                    </a:cxn>
                    <a:cxn ang="0">
                      <a:pos x="connsiteX1" y="connsiteY1"/>
                    </a:cxn>
                  </a:cxnLst>
                  <a:rect l="l" t="t" r="r" b="b"/>
                  <a:pathLst>
                    <a:path w="153465" h="42881">
                      <a:moveTo>
                        <a:pt x="0" y="0"/>
                      </a:moveTo>
                      <a:cubicBezTo>
                        <a:pt x="51614" y="13815"/>
                        <a:pt x="102629" y="28408"/>
                        <a:pt x="153466" y="42882"/>
                      </a:cubicBezTo>
                    </a:path>
                  </a:pathLst>
                </a:custGeom>
                <a:noFill/>
                <a:ln w="6350" cap="rnd">
                  <a:solidFill>
                    <a:schemeClr val="bg1">
                      <a:alpha val="40000"/>
                    </a:schemeClr>
                  </a:solidFill>
                  <a:prstDash val="solid"/>
                  <a:miter/>
                </a:ln>
              </p:spPr>
              <p:txBody>
                <a:bodyPr rtlCol="0" anchor="ctr"/>
                <a:lstStyle/>
                <a:p>
                  <a:endParaRPr lang="en-GB"/>
                </a:p>
              </p:txBody>
            </p:sp>
            <p:sp>
              <p:nvSpPr>
                <p:cNvPr id="8084" name="Vrije vorm: vorm 8083">
                  <a:extLst>
                    <a:ext uri="{FF2B5EF4-FFF2-40B4-BE49-F238E27FC236}">
                      <a16:creationId xmlns:a16="http://schemas.microsoft.com/office/drawing/2014/main" id="{4C8255C5-C75A-4E60-85CE-3E83DFDAF88D}"/>
                    </a:ext>
                  </a:extLst>
                </p:cNvPr>
                <p:cNvSpPr/>
                <p:nvPr/>
              </p:nvSpPr>
              <p:spPr>
                <a:xfrm>
                  <a:off x="4252851" y="4748015"/>
                  <a:ext cx="154481" cy="42104"/>
                </a:xfrm>
                <a:custGeom>
                  <a:avLst/>
                  <a:gdLst>
                    <a:gd name="connsiteX0" fmla="*/ 0 w 154481"/>
                    <a:gd name="connsiteY0" fmla="*/ 0 h 42104"/>
                    <a:gd name="connsiteX1" fmla="*/ 154482 w 154481"/>
                    <a:gd name="connsiteY1" fmla="*/ 42105 h 42104"/>
                  </a:gdLst>
                  <a:ahLst/>
                  <a:cxnLst>
                    <a:cxn ang="0">
                      <a:pos x="connsiteX0" y="connsiteY0"/>
                    </a:cxn>
                    <a:cxn ang="0">
                      <a:pos x="connsiteX1" y="connsiteY1"/>
                    </a:cxn>
                  </a:cxnLst>
                  <a:rect l="l" t="t" r="r" b="b"/>
                  <a:pathLst>
                    <a:path w="154481" h="42104">
                      <a:moveTo>
                        <a:pt x="0" y="0"/>
                      </a:moveTo>
                      <a:cubicBezTo>
                        <a:pt x="51972" y="13636"/>
                        <a:pt x="103347" y="27930"/>
                        <a:pt x="154482" y="42105"/>
                      </a:cubicBezTo>
                    </a:path>
                  </a:pathLst>
                </a:custGeom>
                <a:noFill/>
                <a:ln w="6350" cap="rnd">
                  <a:solidFill>
                    <a:schemeClr val="bg1">
                      <a:alpha val="40000"/>
                    </a:schemeClr>
                  </a:solidFill>
                  <a:prstDash val="solid"/>
                  <a:miter/>
                </a:ln>
              </p:spPr>
              <p:txBody>
                <a:bodyPr rtlCol="0" anchor="ctr"/>
                <a:lstStyle/>
                <a:p>
                  <a:endParaRPr lang="en-GB"/>
                </a:p>
              </p:txBody>
            </p:sp>
            <p:sp>
              <p:nvSpPr>
                <p:cNvPr id="8085" name="Vrije vorm: vorm 8084">
                  <a:extLst>
                    <a:ext uri="{FF2B5EF4-FFF2-40B4-BE49-F238E27FC236}">
                      <a16:creationId xmlns:a16="http://schemas.microsoft.com/office/drawing/2014/main" id="{C14676C1-B043-4264-B9EE-E0A878467B9B}"/>
                    </a:ext>
                  </a:extLst>
                </p:cNvPr>
                <p:cNvSpPr/>
                <p:nvPr/>
              </p:nvSpPr>
              <p:spPr>
                <a:xfrm>
                  <a:off x="4246870" y="4192944"/>
                  <a:ext cx="399452" cy="304777"/>
                </a:xfrm>
                <a:custGeom>
                  <a:avLst/>
                  <a:gdLst>
                    <a:gd name="connsiteX0" fmla="*/ 0 w 399452"/>
                    <a:gd name="connsiteY0" fmla="*/ 304778 h 304777"/>
                    <a:gd name="connsiteX1" fmla="*/ 399452 w 399452"/>
                    <a:gd name="connsiteY1" fmla="*/ 0 h 304777"/>
                  </a:gdLst>
                  <a:ahLst/>
                  <a:cxnLst>
                    <a:cxn ang="0">
                      <a:pos x="connsiteX0" y="connsiteY0"/>
                    </a:cxn>
                    <a:cxn ang="0">
                      <a:pos x="connsiteX1" y="connsiteY1"/>
                    </a:cxn>
                  </a:cxnLst>
                  <a:rect l="l" t="t" r="r" b="b"/>
                  <a:pathLst>
                    <a:path w="399452" h="304777">
                      <a:moveTo>
                        <a:pt x="0" y="304778"/>
                      </a:moveTo>
                      <a:cubicBezTo>
                        <a:pt x="119913" y="212017"/>
                        <a:pt x="259204" y="108729"/>
                        <a:pt x="399452" y="0"/>
                      </a:cubicBezTo>
                    </a:path>
                  </a:pathLst>
                </a:custGeom>
                <a:noFill/>
                <a:ln w="6350" cap="rnd">
                  <a:solidFill>
                    <a:schemeClr val="bg1">
                      <a:alpha val="40000"/>
                    </a:schemeClr>
                  </a:solidFill>
                  <a:prstDash val="solid"/>
                  <a:miter/>
                </a:ln>
              </p:spPr>
              <p:txBody>
                <a:bodyPr rtlCol="0" anchor="ctr"/>
                <a:lstStyle/>
                <a:p>
                  <a:endParaRPr lang="en-GB"/>
                </a:p>
              </p:txBody>
            </p:sp>
            <p:sp>
              <p:nvSpPr>
                <p:cNvPr id="8086" name="Vrije vorm: vorm 8085">
                  <a:extLst>
                    <a:ext uri="{FF2B5EF4-FFF2-40B4-BE49-F238E27FC236}">
                      <a16:creationId xmlns:a16="http://schemas.microsoft.com/office/drawing/2014/main" id="{A2721C13-84BB-421E-99C5-001F5EF90089}"/>
                    </a:ext>
                  </a:extLst>
                </p:cNvPr>
                <p:cNvSpPr/>
                <p:nvPr/>
              </p:nvSpPr>
              <p:spPr>
                <a:xfrm>
                  <a:off x="4173666" y="4683124"/>
                  <a:ext cx="157711" cy="168715"/>
                </a:xfrm>
                <a:custGeom>
                  <a:avLst/>
                  <a:gdLst>
                    <a:gd name="connsiteX0" fmla="*/ 157712 w 157711"/>
                    <a:gd name="connsiteY0" fmla="*/ 168716 h 168715"/>
                    <a:gd name="connsiteX1" fmla="*/ 0 w 157711"/>
                    <a:gd name="connsiteY1" fmla="*/ 130798 h 168715"/>
                    <a:gd name="connsiteX2" fmla="*/ 39652 w 157711"/>
                    <a:gd name="connsiteY2" fmla="*/ 0 h 168715"/>
                    <a:gd name="connsiteX3" fmla="*/ 11184 w 157711"/>
                    <a:gd name="connsiteY3" fmla="*/ 23384 h 168715"/>
                  </a:gdLst>
                  <a:ahLst/>
                  <a:cxnLst>
                    <a:cxn ang="0">
                      <a:pos x="connsiteX0" y="connsiteY0"/>
                    </a:cxn>
                    <a:cxn ang="0">
                      <a:pos x="connsiteX1" y="connsiteY1"/>
                    </a:cxn>
                    <a:cxn ang="0">
                      <a:pos x="connsiteX2" y="connsiteY2"/>
                    </a:cxn>
                    <a:cxn ang="0">
                      <a:pos x="connsiteX3" y="connsiteY3"/>
                    </a:cxn>
                  </a:cxnLst>
                  <a:rect l="l" t="t" r="r" b="b"/>
                  <a:pathLst>
                    <a:path w="157711" h="168715">
                      <a:moveTo>
                        <a:pt x="157712" y="168716"/>
                      </a:moveTo>
                      <a:cubicBezTo>
                        <a:pt x="104782" y="155977"/>
                        <a:pt x="52331" y="142820"/>
                        <a:pt x="0" y="130798"/>
                      </a:cubicBezTo>
                      <a:cubicBezTo>
                        <a:pt x="8253" y="91086"/>
                        <a:pt x="21471" y="47188"/>
                        <a:pt x="39652" y="0"/>
                      </a:cubicBezTo>
                      <a:cubicBezTo>
                        <a:pt x="29904" y="7954"/>
                        <a:pt x="20394" y="15789"/>
                        <a:pt x="11184" y="23384"/>
                      </a:cubicBezTo>
                    </a:path>
                  </a:pathLst>
                </a:custGeom>
                <a:noFill/>
                <a:ln w="6350" cap="rnd">
                  <a:solidFill>
                    <a:schemeClr val="bg1">
                      <a:alpha val="40000"/>
                    </a:schemeClr>
                  </a:solidFill>
                  <a:prstDash val="solid"/>
                  <a:miter/>
                </a:ln>
              </p:spPr>
              <p:txBody>
                <a:bodyPr rtlCol="0" anchor="ctr"/>
                <a:lstStyle/>
                <a:p>
                  <a:endParaRPr lang="en-GB"/>
                </a:p>
              </p:txBody>
            </p:sp>
            <p:sp>
              <p:nvSpPr>
                <p:cNvPr id="8087" name="Vrije vorm: vorm 8086">
                  <a:extLst>
                    <a:ext uri="{FF2B5EF4-FFF2-40B4-BE49-F238E27FC236}">
                      <a16:creationId xmlns:a16="http://schemas.microsoft.com/office/drawing/2014/main" id="{B69B48CC-BCFE-4A41-9EF5-55850D65992E}"/>
                    </a:ext>
                  </a:extLst>
                </p:cNvPr>
                <p:cNvSpPr/>
                <p:nvPr/>
              </p:nvSpPr>
              <p:spPr>
                <a:xfrm>
                  <a:off x="4184850" y="4400535"/>
                  <a:ext cx="155438" cy="305973"/>
                </a:xfrm>
                <a:custGeom>
                  <a:avLst/>
                  <a:gdLst>
                    <a:gd name="connsiteX0" fmla="*/ 0 w 155438"/>
                    <a:gd name="connsiteY0" fmla="*/ 305974 h 305973"/>
                    <a:gd name="connsiteX1" fmla="*/ 155439 w 155438"/>
                    <a:gd name="connsiteY1" fmla="*/ 0 h 305973"/>
                  </a:gdLst>
                  <a:ahLst/>
                  <a:cxnLst>
                    <a:cxn ang="0">
                      <a:pos x="connsiteX0" y="connsiteY0"/>
                    </a:cxn>
                    <a:cxn ang="0">
                      <a:pos x="connsiteX1" y="connsiteY1"/>
                    </a:cxn>
                  </a:cxnLst>
                  <a:rect l="l" t="t" r="r" b="b"/>
                  <a:pathLst>
                    <a:path w="155438" h="305973">
                      <a:moveTo>
                        <a:pt x="0" y="305974"/>
                      </a:moveTo>
                      <a:cubicBezTo>
                        <a:pt x="32774" y="215904"/>
                        <a:pt x="86481" y="111720"/>
                        <a:pt x="155439" y="0"/>
                      </a:cubicBezTo>
                    </a:path>
                  </a:pathLst>
                </a:custGeom>
                <a:noFill/>
                <a:ln w="6350" cap="rnd">
                  <a:solidFill>
                    <a:schemeClr val="bg1">
                      <a:alpha val="40000"/>
                    </a:schemeClr>
                  </a:solidFill>
                  <a:prstDash val="solid"/>
                  <a:miter/>
                </a:ln>
              </p:spPr>
              <p:txBody>
                <a:bodyPr rtlCol="0" anchor="ctr"/>
                <a:lstStyle/>
                <a:p>
                  <a:endParaRPr lang="en-GB"/>
                </a:p>
              </p:txBody>
            </p:sp>
            <p:sp>
              <p:nvSpPr>
                <p:cNvPr id="8088" name="Vrije vorm: vorm 8087">
                  <a:extLst>
                    <a:ext uri="{FF2B5EF4-FFF2-40B4-BE49-F238E27FC236}">
                      <a16:creationId xmlns:a16="http://schemas.microsoft.com/office/drawing/2014/main" id="{4D6C7146-A9D3-4509-B9A2-8D01473DBAC7}"/>
                    </a:ext>
                  </a:extLst>
                </p:cNvPr>
                <p:cNvSpPr/>
                <p:nvPr/>
              </p:nvSpPr>
              <p:spPr>
                <a:xfrm>
                  <a:off x="4178211" y="4810035"/>
                  <a:ext cx="158608" cy="37379"/>
                </a:xfrm>
                <a:custGeom>
                  <a:avLst/>
                  <a:gdLst>
                    <a:gd name="connsiteX0" fmla="*/ 0 w 158608"/>
                    <a:gd name="connsiteY0" fmla="*/ 0 h 37379"/>
                    <a:gd name="connsiteX1" fmla="*/ 158609 w 158608"/>
                    <a:gd name="connsiteY1" fmla="*/ 37380 h 37379"/>
                  </a:gdLst>
                  <a:ahLst/>
                  <a:cxnLst>
                    <a:cxn ang="0">
                      <a:pos x="connsiteX0" y="connsiteY0"/>
                    </a:cxn>
                    <a:cxn ang="0">
                      <a:pos x="connsiteX1" y="connsiteY1"/>
                    </a:cxn>
                  </a:cxnLst>
                  <a:rect l="l" t="t" r="r" b="b"/>
                  <a:pathLst>
                    <a:path w="158608" h="37379">
                      <a:moveTo>
                        <a:pt x="0" y="0"/>
                      </a:moveTo>
                      <a:cubicBezTo>
                        <a:pt x="52690" y="11902"/>
                        <a:pt x="105381" y="24820"/>
                        <a:pt x="158609" y="37380"/>
                      </a:cubicBezTo>
                    </a:path>
                  </a:pathLst>
                </a:custGeom>
                <a:noFill/>
                <a:ln w="6350" cap="rnd">
                  <a:solidFill>
                    <a:schemeClr val="bg1">
                      <a:alpha val="40000"/>
                    </a:schemeClr>
                  </a:solidFill>
                  <a:prstDash val="solid"/>
                  <a:miter/>
                </a:ln>
              </p:spPr>
              <p:txBody>
                <a:bodyPr rtlCol="0" anchor="ctr"/>
                <a:lstStyle/>
                <a:p>
                  <a:endParaRPr lang="en-GB"/>
                </a:p>
              </p:txBody>
            </p:sp>
            <p:sp>
              <p:nvSpPr>
                <p:cNvPr id="8089" name="Vrije vorm: vorm 8088">
                  <a:extLst>
                    <a:ext uri="{FF2B5EF4-FFF2-40B4-BE49-F238E27FC236}">
                      <a16:creationId xmlns:a16="http://schemas.microsoft.com/office/drawing/2014/main" id="{CC7FDF26-9835-46D4-AD9F-9C9E518506C0}"/>
                    </a:ext>
                  </a:extLst>
                </p:cNvPr>
                <p:cNvSpPr/>
                <p:nvPr/>
              </p:nvSpPr>
              <p:spPr>
                <a:xfrm>
                  <a:off x="4189455" y="4800526"/>
                  <a:ext cx="157771" cy="38455"/>
                </a:xfrm>
                <a:custGeom>
                  <a:avLst/>
                  <a:gdLst>
                    <a:gd name="connsiteX0" fmla="*/ 0 w 157771"/>
                    <a:gd name="connsiteY0" fmla="*/ 0 h 38455"/>
                    <a:gd name="connsiteX1" fmla="*/ 157771 w 157771"/>
                    <a:gd name="connsiteY1" fmla="*/ 38456 h 38455"/>
                  </a:gdLst>
                  <a:ahLst/>
                  <a:cxnLst>
                    <a:cxn ang="0">
                      <a:pos x="connsiteX0" y="connsiteY0"/>
                    </a:cxn>
                    <a:cxn ang="0">
                      <a:pos x="connsiteX1" y="connsiteY1"/>
                    </a:cxn>
                  </a:cxnLst>
                  <a:rect l="l" t="t" r="r" b="b"/>
                  <a:pathLst>
                    <a:path w="157771" h="38455">
                      <a:moveTo>
                        <a:pt x="0" y="0"/>
                      </a:moveTo>
                      <a:cubicBezTo>
                        <a:pt x="52571" y="12260"/>
                        <a:pt x="104962" y="25537"/>
                        <a:pt x="157771" y="38456"/>
                      </a:cubicBezTo>
                    </a:path>
                  </a:pathLst>
                </a:custGeom>
                <a:noFill/>
                <a:ln w="6350" cap="rnd">
                  <a:solidFill>
                    <a:schemeClr val="bg1">
                      <a:alpha val="40000"/>
                    </a:schemeClr>
                  </a:solidFill>
                  <a:prstDash val="solid"/>
                  <a:miter/>
                </a:ln>
              </p:spPr>
              <p:txBody>
                <a:bodyPr rtlCol="0" anchor="ctr"/>
                <a:lstStyle/>
                <a:p>
                  <a:endParaRPr lang="en-GB"/>
                </a:p>
              </p:txBody>
            </p:sp>
            <p:sp>
              <p:nvSpPr>
                <p:cNvPr id="8090" name="Vrije vorm: vorm 8089">
                  <a:extLst>
                    <a:ext uri="{FF2B5EF4-FFF2-40B4-BE49-F238E27FC236}">
                      <a16:creationId xmlns:a16="http://schemas.microsoft.com/office/drawing/2014/main" id="{687046F7-3763-438E-B86C-6A6A79E1F081}"/>
                    </a:ext>
                  </a:extLst>
                </p:cNvPr>
                <p:cNvSpPr/>
                <p:nvPr/>
              </p:nvSpPr>
              <p:spPr>
                <a:xfrm>
                  <a:off x="4199323" y="4792273"/>
                  <a:ext cx="159326" cy="37439"/>
                </a:xfrm>
                <a:custGeom>
                  <a:avLst/>
                  <a:gdLst>
                    <a:gd name="connsiteX0" fmla="*/ 0 w 159326"/>
                    <a:gd name="connsiteY0" fmla="*/ 0 h 37439"/>
                    <a:gd name="connsiteX1" fmla="*/ 159327 w 159326"/>
                    <a:gd name="connsiteY1" fmla="*/ 37439 h 37439"/>
                  </a:gdLst>
                  <a:ahLst/>
                  <a:cxnLst>
                    <a:cxn ang="0">
                      <a:pos x="connsiteX0" y="connsiteY0"/>
                    </a:cxn>
                    <a:cxn ang="0">
                      <a:pos x="connsiteX1" y="connsiteY1"/>
                    </a:cxn>
                  </a:cxnLst>
                  <a:rect l="l" t="t" r="r" b="b"/>
                  <a:pathLst>
                    <a:path w="159326" h="37439">
                      <a:moveTo>
                        <a:pt x="0" y="0"/>
                      </a:moveTo>
                      <a:cubicBezTo>
                        <a:pt x="53109" y="12021"/>
                        <a:pt x="106098" y="24940"/>
                        <a:pt x="159327" y="37439"/>
                      </a:cubicBezTo>
                    </a:path>
                  </a:pathLst>
                </a:custGeom>
                <a:noFill/>
                <a:ln w="6350" cap="rnd">
                  <a:solidFill>
                    <a:schemeClr val="bg1">
                      <a:alpha val="40000"/>
                    </a:schemeClr>
                  </a:solidFill>
                  <a:prstDash val="solid"/>
                  <a:miter/>
                </a:ln>
              </p:spPr>
              <p:txBody>
                <a:bodyPr rtlCol="0" anchor="ctr"/>
                <a:lstStyle/>
                <a:p>
                  <a:endParaRPr lang="en-GB"/>
                </a:p>
              </p:txBody>
            </p:sp>
            <p:sp>
              <p:nvSpPr>
                <p:cNvPr id="8091" name="Vrije vorm: vorm 8090">
                  <a:extLst>
                    <a:ext uri="{FF2B5EF4-FFF2-40B4-BE49-F238E27FC236}">
                      <a16:creationId xmlns:a16="http://schemas.microsoft.com/office/drawing/2014/main" id="{B3863732-B1A0-4880-8B41-1F853F68A38C}"/>
                    </a:ext>
                  </a:extLst>
                </p:cNvPr>
                <p:cNvSpPr/>
                <p:nvPr/>
              </p:nvSpPr>
              <p:spPr>
                <a:xfrm>
                  <a:off x="4296331" y="4714224"/>
                  <a:ext cx="147484" cy="45393"/>
                </a:xfrm>
                <a:custGeom>
                  <a:avLst/>
                  <a:gdLst>
                    <a:gd name="connsiteX0" fmla="*/ 0 w 147484"/>
                    <a:gd name="connsiteY0" fmla="*/ 0 h 45393"/>
                    <a:gd name="connsiteX1" fmla="*/ 147485 w 147484"/>
                    <a:gd name="connsiteY1" fmla="*/ 45393 h 45393"/>
                  </a:gdLst>
                  <a:ahLst/>
                  <a:cxnLst>
                    <a:cxn ang="0">
                      <a:pos x="connsiteX0" y="connsiteY0"/>
                    </a:cxn>
                    <a:cxn ang="0">
                      <a:pos x="connsiteX1" y="connsiteY1"/>
                    </a:cxn>
                  </a:cxnLst>
                  <a:rect l="l" t="t" r="r" b="b"/>
                  <a:pathLst>
                    <a:path w="147484" h="45393">
                      <a:moveTo>
                        <a:pt x="0" y="0"/>
                      </a:moveTo>
                      <a:cubicBezTo>
                        <a:pt x="49820" y="14832"/>
                        <a:pt x="98862" y="30143"/>
                        <a:pt x="147485" y="45393"/>
                      </a:cubicBezTo>
                    </a:path>
                  </a:pathLst>
                </a:custGeom>
                <a:noFill/>
                <a:ln w="6350" cap="rnd">
                  <a:solidFill>
                    <a:schemeClr val="bg1">
                      <a:alpha val="40000"/>
                    </a:schemeClr>
                  </a:solidFill>
                  <a:prstDash val="solid"/>
                  <a:miter/>
                </a:ln>
              </p:spPr>
              <p:txBody>
                <a:bodyPr rtlCol="0" anchor="ctr"/>
                <a:lstStyle/>
                <a:p>
                  <a:endParaRPr lang="en-GB"/>
                </a:p>
              </p:txBody>
            </p:sp>
            <p:sp>
              <p:nvSpPr>
                <p:cNvPr id="8092" name="Vrije vorm: vorm 8091">
                  <a:extLst>
                    <a:ext uri="{FF2B5EF4-FFF2-40B4-BE49-F238E27FC236}">
                      <a16:creationId xmlns:a16="http://schemas.microsoft.com/office/drawing/2014/main" id="{AB7267C3-7F5F-4BE3-84DA-94EABD956119}"/>
                    </a:ext>
                  </a:extLst>
                </p:cNvPr>
                <p:cNvSpPr/>
                <p:nvPr/>
              </p:nvSpPr>
              <p:spPr>
                <a:xfrm>
                  <a:off x="4307993" y="4704834"/>
                  <a:ext cx="145750" cy="46649"/>
                </a:xfrm>
                <a:custGeom>
                  <a:avLst/>
                  <a:gdLst>
                    <a:gd name="connsiteX0" fmla="*/ 0 w 145750"/>
                    <a:gd name="connsiteY0" fmla="*/ 0 h 46649"/>
                    <a:gd name="connsiteX1" fmla="*/ 145750 w 145750"/>
                    <a:gd name="connsiteY1" fmla="*/ 46650 h 46649"/>
                  </a:gdLst>
                  <a:ahLst/>
                  <a:cxnLst>
                    <a:cxn ang="0">
                      <a:pos x="connsiteX0" y="connsiteY0"/>
                    </a:cxn>
                    <a:cxn ang="0">
                      <a:pos x="connsiteX1" y="connsiteY1"/>
                    </a:cxn>
                  </a:cxnLst>
                  <a:rect l="l" t="t" r="r" b="b"/>
                  <a:pathLst>
                    <a:path w="145750" h="46649">
                      <a:moveTo>
                        <a:pt x="0" y="0"/>
                      </a:moveTo>
                      <a:cubicBezTo>
                        <a:pt x="49281" y="15251"/>
                        <a:pt x="97725" y="30980"/>
                        <a:pt x="145750" y="46650"/>
                      </a:cubicBezTo>
                    </a:path>
                  </a:pathLst>
                </a:custGeom>
                <a:noFill/>
                <a:ln w="6350" cap="rnd">
                  <a:solidFill>
                    <a:schemeClr val="bg1">
                      <a:alpha val="40000"/>
                    </a:schemeClr>
                  </a:solidFill>
                  <a:prstDash val="solid"/>
                  <a:miter/>
                </a:ln>
              </p:spPr>
              <p:txBody>
                <a:bodyPr rtlCol="0" anchor="ctr"/>
                <a:lstStyle/>
                <a:p>
                  <a:endParaRPr lang="en-GB"/>
                </a:p>
              </p:txBody>
            </p:sp>
            <p:sp>
              <p:nvSpPr>
                <p:cNvPr id="8093" name="Vrije vorm: vorm 8092">
                  <a:extLst>
                    <a:ext uri="{FF2B5EF4-FFF2-40B4-BE49-F238E27FC236}">
                      <a16:creationId xmlns:a16="http://schemas.microsoft.com/office/drawing/2014/main" id="{7D679654-7BAD-46B0-AE95-E523EFC1B724}"/>
                    </a:ext>
                  </a:extLst>
                </p:cNvPr>
                <p:cNvSpPr/>
                <p:nvPr/>
              </p:nvSpPr>
              <p:spPr>
                <a:xfrm>
                  <a:off x="4354045" y="4667036"/>
                  <a:ext cx="140367" cy="50477"/>
                </a:xfrm>
                <a:custGeom>
                  <a:avLst/>
                  <a:gdLst>
                    <a:gd name="connsiteX0" fmla="*/ 0 w 140367"/>
                    <a:gd name="connsiteY0" fmla="*/ 0 h 50477"/>
                    <a:gd name="connsiteX1" fmla="*/ 140368 w 140367"/>
                    <a:gd name="connsiteY1" fmla="*/ 50477 h 50477"/>
                  </a:gdLst>
                  <a:ahLst/>
                  <a:cxnLst>
                    <a:cxn ang="0">
                      <a:pos x="connsiteX0" y="connsiteY0"/>
                    </a:cxn>
                    <a:cxn ang="0">
                      <a:pos x="connsiteX1" y="connsiteY1"/>
                    </a:cxn>
                  </a:cxnLst>
                  <a:rect l="l" t="t" r="r" b="b"/>
                  <a:pathLst>
                    <a:path w="140367" h="50477">
                      <a:moveTo>
                        <a:pt x="0" y="0"/>
                      </a:moveTo>
                      <a:cubicBezTo>
                        <a:pt x="47547" y="16566"/>
                        <a:pt x="94256" y="33552"/>
                        <a:pt x="140368" y="50477"/>
                      </a:cubicBezTo>
                    </a:path>
                  </a:pathLst>
                </a:custGeom>
                <a:noFill/>
                <a:ln w="6350" cap="rnd">
                  <a:solidFill>
                    <a:schemeClr val="bg1">
                      <a:alpha val="40000"/>
                    </a:schemeClr>
                  </a:solidFill>
                  <a:prstDash val="solid"/>
                  <a:miter/>
                </a:ln>
              </p:spPr>
              <p:txBody>
                <a:bodyPr rtlCol="0" anchor="ctr"/>
                <a:lstStyle/>
                <a:p>
                  <a:endParaRPr lang="en-GB"/>
                </a:p>
              </p:txBody>
            </p:sp>
            <p:sp>
              <p:nvSpPr>
                <p:cNvPr id="8094" name="Vrije vorm: vorm 8093">
                  <a:extLst>
                    <a:ext uri="{FF2B5EF4-FFF2-40B4-BE49-F238E27FC236}">
                      <a16:creationId xmlns:a16="http://schemas.microsoft.com/office/drawing/2014/main" id="{9775CC5B-23EC-4515-BFAB-A9F21EACD188}"/>
                    </a:ext>
                  </a:extLst>
                </p:cNvPr>
                <p:cNvSpPr/>
                <p:nvPr/>
              </p:nvSpPr>
              <p:spPr>
                <a:xfrm>
                  <a:off x="4360145" y="4662132"/>
                  <a:ext cx="140487" cy="50297"/>
                </a:xfrm>
                <a:custGeom>
                  <a:avLst/>
                  <a:gdLst>
                    <a:gd name="connsiteX0" fmla="*/ 0 w 140487"/>
                    <a:gd name="connsiteY0" fmla="*/ 0 h 50297"/>
                    <a:gd name="connsiteX1" fmla="*/ 140487 w 140487"/>
                    <a:gd name="connsiteY1" fmla="*/ 50298 h 50297"/>
                  </a:gdLst>
                  <a:ahLst/>
                  <a:cxnLst>
                    <a:cxn ang="0">
                      <a:pos x="connsiteX0" y="connsiteY0"/>
                    </a:cxn>
                    <a:cxn ang="0">
                      <a:pos x="connsiteX1" y="connsiteY1"/>
                    </a:cxn>
                  </a:cxnLst>
                  <a:rect l="l" t="t" r="r" b="b"/>
                  <a:pathLst>
                    <a:path w="140487" h="50297">
                      <a:moveTo>
                        <a:pt x="0" y="0"/>
                      </a:moveTo>
                      <a:cubicBezTo>
                        <a:pt x="47606" y="16507"/>
                        <a:pt x="94316" y="33432"/>
                        <a:pt x="140487" y="50298"/>
                      </a:cubicBezTo>
                    </a:path>
                  </a:pathLst>
                </a:custGeom>
                <a:noFill/>
                <a:ln w="6350" cap="rnd">
                  <a:solidFill>
                    <a:schemeClr val="bg1">
                      <a:alpha val="40000"/>
                    </a:schemeClr>
                  </a:solidFill>
                  <a:prstDash val="solid"/>
                  <a:miter/>
                </a:ln>
              </p:spPr>
              <p:txBody>
                <a:bodyPr rtlCol="0" anchor="ctr"/>
                <a:lstStyle/>
                <a:p>
                  <a:endParaRPr lang="en-GB"/>
                </a:p>
              </p:txBody>
            </p:sp>
            <p:sp>
              <p:nvSpPr>
                <p:cNvPr id="8095" name="Vrije vorm: vorm 8094">
                  <a:extLst>
                    <a:ext uri="{FF2B5EF4-FFF2-40B4-BE49-F238E27FC236}">
                      <a16:creationId xmlns:a16="http://schemas.microsoft.com/office/drawing/2014/main" id="{AEF9CF08-4CB7-4498-B74F-46AB02B842CE}"/>
                    </a:ext>
                  </a:extLst>
                </p:cNvPr>
                <p:cNvSpPr/>
                <p:nvPr/>
              </p:nvSpPr>
              <p:spPr>
                <a:xfrm>
                  <a:off x="4367860" y="4655972"/>
                  <a:ext cx="138274" cy="51972"/>
                </a:xfrm>
                <a:custGeom>
                  <a:avLst/>
                  <a:gdLst>
                    <a:gd name="connsiteX0" fmla="*/ 0 w 138274"/>
                    <a:gd name="connsiteY0" fmla="*/ 0 h 51972"/>
                    <a:gd name="connsiteX1" fmla="*/ 138274 w 138274"/>
                    <a:gd name="connsiteY1" fmla="*/ 51972 h 51972"/>
                  </a:gdLst>
                  <a:ahLst/>
                  <a:cxnLst>
                    <a:cxn ang="0">
                      <a:pos x="connsiteX0" y="connsiteY0"/>
                    </a:cxn>
                    <a:cxn ang="0">
                      <a:pos x="connsiteX1" y="connsiteY1"/>
                    </a:cxn>
                  </a:cxnLst>
                  <a:rect l="l" t="t" r="r" b="b"/>
                  <a:pathLst>
                    <a:path w="138274" h="51972">
                      <a:moveTo>
                        <a:pt x="0" y="0"/>
                      </a:moveTo>
                      <a:cubicBezTo>
                        <a:pt x="46829" y="17105"/>
                        <a:pt x="92821" y="34509"/>
                        <a:pt x="138274" y="51972"/>
                      </a:cubicBezTo>
                    </a:path>
                  </a:pathLst>
                </a:custGeom>
                <a:noFill/>
                <a:ln w="6350" cap="rnd">
                  <a:solidFill>
                    <a:schemeClr val="bg1">
                      <a:alpha val="40000"/>
                    </a:schemeClr>
                  </a:solidFill>
                  <a:prstDash val="solid"/>
                  <a:miter/>
                </a:ln>
              </p:spPr>
              <p:txBody>
                <a:bodyPr rtlCol="0" anchor="ctr"/>
                <a:lstStyle/>
                <a:p>
                  <a:endParaRPr lang="en-GB"/>
                </a:p>
              </p:txBody>
            </p:sp>
            <p:sp>
              <p:nvSpPr>
                <p:cNvPr id="8096" name="Vrije vorm: vorm 8095">
                  <a:extLst>
                    <a:ext uri="{FF2B5EF4-FFF2-40B4-BE49-F238E27FC236}">
                      <a16:creationId xmlns:a16="http://schemas.microsoft.com/office/drawing/2014/main" id="{BE034558-C2F5-41CB-9920-81C08B3C7A4E}"/>
                    </a:ext>
                  </a:extLst>
                </p:cNvPr>
                <p:cNvSpPr/>
                <p:nvPr/>
              </p:nvSpPr>
              <p:spPr>
                <a:xfrm>
                  <a:off x="4419833" y="4616021"/>
                  <a:ext cx="126252" cy="59329"/>
                </a:xfrm>
                <a:custGeom>
                  <a:avLst/>
                  <a:gdLst>
                    <a:gd name="connsiteX0" fmla="*/ 0 w 126252"/>
                    <a:gd name="connsiteY0" fmla="*/ 0 h 59329"/>
                    <a:gd name="connsiteX1" fmla="*/ 126253 w 126252"/>
                    <a:gd name="connsiteY1" fmla="*/ 59329 h 59329"/>
                  </a:gdLst>
                  <a:ahLst/>
                  <a:cxnLst>
                    <a:cxn ang="0">
                      <a:pos x="connsiteX0" y="connsiteY0"/>
                    </a:cxn>
                    <a:cxn ang="0">
                      <a:pos x="connsiteX1" y="connsiteY1"/>
                    </a:cxn>
                  </a:cxnLst>
                  <a:rect l="l" t="t" r="r" b="b"/>
                  <a:pathLst>
                    <a:path w="126252" h="59329">
                      <a:moveTo>
                        <a:pt x="0" y="0"/>
                      </a:moveTo>
                      <a:cubicBezTo>
                        <a:pt x="42822" y="19557"/>
                        <a:pt x="84807" y="39413"/>
                        <a:pt x="126253" y="59329"/>
                      </a:cubicBezTo>
                    </a:path>
                  </a:pathLst>
                </a:custGeom>
                <a:noFill/>
                <a:ln w="6350" cap="rnd">
                  <a:solidFill>
                    <a:schemeClr val="bg1">
                      <a:alpha val="40000"/>
                    </a:schemeClr>
                  </a:solidFill>
                  <a:prstDash val="solid"/>
                  <a:miter/>
                </a:ln>
              </p:spPr>
              <p:txBody>
                <a:bodyPr rtlCol="0" anchor="ctr"/>
                <a:lstStyle/>
                <a:p>
                  <a:endParaRPr lang="en-GB"/>
                </a:p>
              </p:txBody>
            </p:sp>
            <p:sp>
              <p:nvSpPr>
                <p:cNvPr id="8097" name="Vrije vorm: vorm 8096">
                  <a:extLst>
                    <a:ext uri="{FF2B5EF4-FFF2-40B4-BE49-F238E27FC236}">
                      <a16:creationId xmlns:a16="http://schemas.microsoft.com/office/drawing/2014/main" id="{A80FC92A-00EC-4D68-841B-5D33C21B338F}"/>
                    </a:ext>
                  </a:extLst>
                </p:cNvPr>
                <p:cNvSpPr/>
                <p:nvPr/>
              </p:nvSpPr>
              <p:spPr>
                <a:xfrm>
                  <a:off x="4426411" y="4610817"/>
                  <a:ext cx="126253" cy="59209"/>
                </a:xfrm>
                <a:custGeom>
                  <a:avLst/>
                  <a:gdLst>
                    <a:gd name="connsiteX0" fmla="*/ 0 w 126253"/>
                    <a:gd name="connsiteY0" fmla="*/ 0 h 59209"/>
                    <a:gd name="connsiteX1" fmla="*/ 126253 w 126253"/>
                    <a:gd name="connsiteY1" fmla="*/ 59209 h 59209"/>
                  </a:gdLst>
                  <a:ahLst/>
                  <a:cxnLst>
                    <a:cxn ang="0">
                      <a:pos x="connsiteX0" y="connsiteY0"/>
                    </a:cxn>
                    <a:cxn ang="0">
                      <a:pos x="connsiteX1" y="connsiteY1"/>
                    </a:cxn>
                  </a:cxnLst>
                  <a:rect l="l" t="t" r="r" b="b"/>
                  <a:pathLst>
                    <a:path w="126253" h="59209">
                      <a:moveTo>
                        <a:pt x="0" y="0"/>
                      </a:moveTo>
                      <a:cubicBezTo>
                        <a:pt x="42822" y="19557"/>
                        <a:pt x="84807" y="39293"/>
                        <a:pt x="126253" y="59209"/>
                      </a:cubicBezTo>
                    </a:path>
                  </a:pathLst>
                </a:custGeom>
                <a:noFill/>
                <a:ln w="6350" cap="rnd">
                  <a:solidFill>
                    <a:schemeClr val="bg1">
                      <a:alpha val="40000"/>
                    </a:schemeClr>
                  </a:solidFill>
                  <a:prstDash val="solid"/>
                  <a:miter/>
                </a:ln>
              </p:spPr>
              <p:txBody>
                <a:bodyPr rtlCol="0" anchor="ctr"/>
                <a:lstStyle/>
                <a:p>
                  <a:endParaRPr lang="en-GB"/>
                </a:p>
              </p:txBody>
            </p:sp>
            <p:sp>
              <p:nvSpPr>
                <p:cNvPr id="8098" name="Vrije vorm: vorm 8097">
                  <a:extLst>
                    <a:ext uri="{FF2B5EF4-FFF2-40B4-BE49-F238E27FC236}">
                      <a16:creationId xmlns:a16="http://schemas.microsoft.com/office/drawing/2014/main" id="{3418216E-BDB5-4FA9-8083-57A458194F07}"/>
                    </a:ext>
                  </a:extLst>
                </p:cNvPr>
                <p:cNvSpPr/>
                <p:nvPr/>
              </p:nvSpPr>
              <p:spPr>
                <a:xfrm>
                  <a:off x="4434665" y="4604299"/>
                  <a:ext cx="123681" cy="61062"/>
                </a:xfrm>
                <a:custGeom>
                  <a:avLst/>
                  <a:gdLst>
                    <a:gd name="connsiteX0" fmla="*/ 0 w 123681"/>
                    <a:gd name="connsiteY0" fmla="*/ 0 h 61062"/>
                    <a:gd name="connsiteX1" fmla="*/ 123681 w 123681"/>
                    <a:gd name="connsiteY1" fmla="*/ 61063 h 61062"/>
                  </a:gdLst>
                  <a:ahLst/>
                  <a:cxnLst>
                    <a:cxn ang="0">
                      <a:pos x="connsiteX0" y="connsiteY0"/>
                    </a:cxn>
                    <a:cxn ang="0">
                      <a:pos x="connsiteX1" y="connsiteY1"/>
                    </a:cxn>
                  </a:cxnLst>
                  <a:rect l="l" t="t" r="r" b="b"/>
                  <a:pathLst>
                    <a:path w="123681" h="61062">
                      <a:moveTo>
                        <a:pt x="0" y="0"/>
                      </a:moveTo>
                      <a:cubicBezTo>
                        <a:pt x="41925" y="20155"/>
                        <a:pt x="83072" y="40549"/>
                        <a:pt x="123681" y="61063"/>
                      </a:cubicBezTo>
                    </a:path>
                  </a:pathLst>
                </a:custGeom>
                <a:noFill/>
                <a:ln w="6350" cap="rnd">
                  <a:solidFill>
                    <a:schemeClr val="bg1">
                      <a:alpha val="40000"/>
                    </a:schemeClr>
                  </a:solidFill>
                  <a:prstDash val="solid"/>
                  <a:miter/>
                </a:ln>
              </p:spPr>
              <p:txBody>
                <a:bodyPr rtlCol="0" anchor="ctr"/>
                <a:lstStyle/>
                <a:p>
                  <a:endParaRPr lang="en-GB"/>
                </a:p>
              </p:txBody>
            </p:sp>
            <p:sp>
              <p:nvSpPr>
                <p:cNvPr id="8099" name="Vrije vorm: vorm 8098">
                  <a:extLst>
                    <a:ext uri="{FF2B5EF4-FFF2-40B4-BE49-F238E27FC236}">
                      <a16:creationId xmlns:a16="http://schemas.microsoft.com/office/drawing/2014/main" id="{1709E5D7-3B37-481C-A8E9-FAD93F4842CE}"/>
                    </a:ext>
                  </a:extLst>
                </p:cNvPr>
                <p:cNvSpPr/>
                <p:nvPr/>
              </p:nvSpPr>
              <p:spPr>
                <a:xfrm>
                  <a:off x="4488432" y="4561536"/>
                  <a:ext cx="118657" cy="62558"/>
                </a:xfrm>
                <a:custGeom>
                  <a:avLst/>
                  <a:gdLst>
                    <a:gd name="connsiteX0" fmla="*/ 0 w 118657"/>
                    <a:gd name="connsiteY0" fmla="*/ 0 h 62558"/>
                    <a:gd name="connsiteX1" fmla="*/ 118657 w 118657"/>
                    <a:gd name="connsiteY1" fmla="*/ 62558 h 62558"/>
                  </a:gdLst>
                  <a:ahLst/>
                  <a:cxnLst>
                    <a:cxn ang="0">
                      <a:pos x="connsiteX0" y="connsiteY0"/>
                    </a:cxn>
                    <a:cxn ang="0">
                      <a:pos x="connsiteX1" y="connsiteY1"/>
                    </a:cxn>
                  </a:cxnLst>
                  <a:rect l="l" t="t" r="r" b="b"/>
                  <a:pathLst>
                    <a:path w="118657" h="62558">
                      <a:moveTo>
                        <a:pt x="0" y="0"/>
                      </a:moveTo>
                      <a:cubicBezTo>
                        <a:pt x="40190" y="20693"/>
                        <a:pt x="79663" y="41566"/>
                        <a:pt x="118657" y="62558"/>
                      </a:cubicBezTo>
                    </a:path>
                  </a:pathLst>
                </a:custGeom>
                <a:noFill/>
                <a:ln w="6350" cap="rnd">
                  <a:solidFill>
                    <a:schemeClr val="bg1">
                      <a:alpha val="40000"/>
                    </a:schemeClr>
                  </a:solidFill>
                  <a:prstDash val="solid"/>
                  <a:miter/>
                </a:ln>
              </p:spPr>
              <p:txBody>
                <a:bodyPr rtlCol="0" anchor="ctr"/>
                <a:lstStyle/>
                <a:p>
                  <a:endParaRPr lang="en-GB"/>
                </a:p>
              </p:txBody>
            </p:sp>
            <p:sp>
              <p:nvSpPr>
                <p:cNvPr id="8100" name="Vrije vorm: vorm 8099">
                  <a:extLst>
                    <a:ext uri="{FF2B5EF4-FFF2-40B4-BE49-F238E27FC236}">
                      <a16:creationId xmlns:a16="http://schemas.microsoft.com/office/drawing/2014/main" id="{E7D14C6C-60E5-4128-A021-49D981DC88D7}"/>
                    </a:ext>
                  </a:extLst>
                </p:cNvPr>
                <p:cNvSpPr/>
                <p:nvPr/>
              </p:nvSpPr>
              <p:spPr>
                <a:xfrm>
                  <a:off x="4496147" y="4556931"/>
                  <a:ext cx="117760" cy="61541"/>
                </a:xfrm>
                <a:custGeom>
                  <a:avLst/>
                  <a:gdLst>
                    <a:gd name="connsiteX0" fmla="*/ 0 w 117760"/>
                    <a:gd name="connsiteY0" fmla="*/ 0 h 61541"/>
                    <a:gd name="connsiteX1" fmla="*/ 117760 w 117760"/>
                    <a:gd name="connsiteY1" fmla="*/ 61542 h 61541"/>
                  </a:gdLst>
                  <a:ahLst/>
                  <a:cxnLst>
                    <a:cxn ang="0">
                      <a:pos x="connsiteX0" y="connsiteY0"/>
                    </a:cxn>
                    <a:cxn ang="0">
                      <a:pos x="connsiteX1" y="connsiteY1"/>
                    </a:cxn>
                  </a:cxnLst>
                  <a:rect l="l" t="t" r="r" b="b"/>
                  <a:pathLst>
                    <a:path w="117760" h="61541">
                      <a:moveTo>
                        <a:pt x="0" y="0"/>
                      </a:moveTo>
                      <a:cubicBezTo>
                        <a:pt x="39891" y="20394"/>
                        <a:pt x="79065" y="40908"/>
                        <a:pt x="117760" y="61542"/>
                      </a:cubicBezTo>
                    </a:path>
                  </a:pathLst>
                </a:custGeom>
                <a:noFill/>
                <a:ln w="6350" cap="rnd">
                  <a:solidFill>
                    <a:schemeClr val="bg1">
                      <a:alpha val="40000"/>
                    </a:schemeClr>
                  </a:solidFill>
                  <a:prstDash val="solid"/>
                  <a:miter/>
                </a:ln>
              </p:spPr>
              <p:txBody>
                <a:bodyPr rtlCol="0" anchor="ctr"/>
                <a:lstStyle/>
                <a:p>
                  <a:endParaRPr lang="en-GB"/>
                </a:p>
              </p:txBody>
            </p:sp>
            <p:sp>
              <p:nvSpPr>
                <p:cNvPr id="8101" name="Vrije vorm: vorm 8100">
                  <a:extLst>
                    <a:ext uri="{FF2B5EF4-FFF2-40B4-BE49-F238E27FC236}">
                      <a16:creationId xmlns:a16="http://schemas.microsoft.com/office/drawing/2014/main" id="{78A4EA9D-4BEA-4D14-98CF-DF9E6E34EDEE}"/>
                    </a:ext>
                  </a:extLst>
                </p:cNvPr>
                <p:cNvSpPr/>
                <p:nvPr/>
              </p:nvSpPr>
              <p:spPr>
                <a:xfrm>
                  <a:off x="4504819" y="4550053"/>
                  <a:ext cx="115069" cy="63575"/>
                </a:xfrm>
                <a:custGeom>
                  <a:avLst/>
                  <a:gdLst>
                    <a:gd name="connsiteX0" fmla="*/ 0 w 115069"/>
                    <a:gd name="connsiteY0" fmla="*/ 0 h 63575"/>
                    <a:gd name="connsiteX1" fmla="*/ 115069 w 115069"/>
                    <a:gd name="connsiteY1" fmla="*/ 63575 h 63575"/>
                  </a:gdLst>
                  <a:ahLst/>
                  <a:cxnLst>
                    <a:cxn ang="0">
                      <a:pos x="connsiteX0" y="connsiteY0"/>
                    </a:cxn>
                    <a:cxn ang="0">
                      <a:pos x="connsiteX1" y="connsiteY1"/>
                    </a:cxn>
                  </a:cxnLst>
                  <a:rect l="l" t="t" r="r" b="b"/>
                  <a:pathLst>
                    <a:path w="115069" h="63575">
                      <a:moveTo>
                        <a:pt x="0" y="0"/>
                      </a:moveTo>
                      <a:cubicBezTo>
                        <a:pt x="38935" y="21052"/>
                        <a:pt x="77271" y="42284"/>
                        <a:pt x="115069" y="63575"/>
                      </a:cubicBezTo>
                    </a:path>
                  </a:pathLst>
                </a:custGeom>
                <a:noFill/>
                <a:ln w="6350" cap="rnd">
                  <a:solidFill>
                    <a:schemeClr val="bg1">
                      <a:alpha val="40000"/>
                    </a:schemeClr>
                  </a:solidFill>
                  <a:prstDash val="solid"/>
                  <a:miter/>
                </a:ln>
              </p:spPr>
              <p:txBody>
                <a:bodyPr rtlCol="0" anchor="ctr"/>
                <a:lstStyle/>
                <a:p>
                  <a:endParaRPr lang="en-GB"/>
                </a:p>
              </p:txBody>
            </p:sp>
            <p:sp>
              <p:nvSpPr>
                <p:cNvPr id="8102" name="Vrije vorm: vorm 8101">
                  <a:extLst>
                    <a:ext uri="{FF2B5EF4-FFF2-40B4-BE49-F238E27FC236}">
                      <a16:creationId xmlns:a16="http://schemas.microsoft.com/office/drawing/2014/main" id="{B394F435-A784-4189-B28C-A6625BBA7607}"/>
                    </a:ext>
                  </a:extLst>
                </p:cNvPr>
                <p:cNvSpPr/>
                <p:nvPr/>
              </p:nvSpPr>
              <p:spPr>
                <a:xfrm>
                  <a:off x="4228210" y="4634262"/>
                  <a:ext cx="45573" cy="133968"/>
                </a:xfrm>
                <a:custGeom>
                  <a:avLst/>
                  <a:gdLst>
                    <a:gd name="connsiteX0" fmla="*/ 0 w 45573"/>
                    <a:gd name="connsiteY0" fmla="*/ 133968 h 133968"/>
                    <a:gd name="connsiteX1" fmla="*/ 45573 w 45573"/>
                    <a:gd name="connsiteY1" fmla="*/ 0 h 133968"/>
                  </a:gdLst>
                  <a:ahLst/>
                  <a:cxnLst>
                    <a:cxn ang="0">
                      <a:pos x="connsiteX0" y="connsiteY0"/>
                    </a:cxn>
                    <a:cxn ang="0">
                      <a:pos x="connsiteX1" y="connsiteY1"/>
                    </a:cxn>
                  </a:cxnLst>
                  <a:rect l="l" t="t" r="r" b="b"/>
                  <a:pathLst>
                    <a:path w="45573" h="133968">
                      <a:moveTo>
                        <a:pt x="0" y="133968"/>
                      </a:moveTo>
                      <a:cubicBezTo>
                        <a:pt x="11303" y="92163"/>
                        <a:pt x="26495" y="47308"/>
                        <a:pt x="45573" y="0"/>
                      </a:cubicBezTo>
                    </a:path>
                  </a:pathLst>
                </a:custGeom>
                <a:noFill/>
                <a:ln w="6350" cap="rnd">
                  <a:solidFill>
                    <a:schemeClr val="bg1">
                      <a:alpha val="40000"/>
                    </a:schemeClr>
                  </a:solidFill>
                  <a:prstDash val="solid"/>
                  <a:miter/>
                </a:ln>
              </p:spPr>
              <p:txBody>
                <a:bodyPr rtlCol="0" anchor="ctr"/>
                <a:lstStyle/>
                <a:p>
                  <a:endParaRPr lang="en-GB"/>
                </a:p>
              </p:txBody>
            </p:sp>
            <p:sp>
              <p:nvSpPr>
                <p:cNvPr id="8103" name="Vrije vorm: vorm 8102">
                  <a:extLst>
                    <a:ext uri="{FF2B5EF4-FFF2-40B4-BE49-F238E27FC236}">
                      <a16:creationId xmlns:a16="http://schemas.microsoft.com/office/drawing/2014/main" id="{D71CB958-C6D9-4503-BAFF-216B1ECAAC92}"/>
                    </a:ext>
                  </a:extLst>
                </p:cNvPr>
                <p:cNvSpPr/>
                <p:nvPr/>
              </p:nvSpPr>
              <p:spPr>
                <a:xfrm>
                  <a:off x="4241368" y="4622360"/>
                  <a:ext cx="47367" cy="135044"/>
                </a:xfrm>
                <a:custGeom>
                  <a:avLst/>
                  <a:gdLst>
                    <a:gd name="connsiteX0" fmla="*/ 0 w 47367"/>
                    <a:gd name="connsiteY0" fmla="*/ 135045 h 135044"/>
                    <a:gd name="connsiteX1" fmla="*/ 47368 w 47367"/>
                    <a:gd name="connsiteY1" fmla="*/ 0 h 135044"/>
                  </a:gdLst>
                  <a:ahLst/>
                  <a:cxnLst>
                    <a:cxn ang="0">
                      <a:pos x="connsiteX0" y="connsiteY0"/>
                    </a:cxn>
                    <a:cxn ang="0">
                      <a:pos x="connsiteX1" y="connsiteY1"/>
                    </a:cxn>
                  </a:cxnLst>
                  <a:rect l="l" t="t" r="r" b="b"/>
                  <a:pathLst>
                    <a:path w="47367" h="135044">
                      <a:moveTo>
                        <a:pt x="0" y="135045"/>
                      </a:moveTo>
                      <a:cubicBezTo>
                        <a:pt x="12021" y="92701"/>
                        <a:pt x="27870" y="47487"/>
                        <a:pt x="47368" y="0"/>
                      </a:cubicBezTo>
                    </a:path>
                  </a:pathLst>
                </a:custGeom>
                <a:noFill/>
                <a:ln w="6350" cap="rnd">
                  <a:solidFill>
                    <a:schemeClr val="bg1">
                      <a:alpha val="40000"/>
                    </a:schemeClr>
                  </a:solidFill>
                  <a:prstDash val="solid"/>
                  <a:miter/>
                </a:ln>
              </p:spPr>
              <p:txBody>
                <a:bodyPr rtlCol="0" anchor="ctr"/>
                <a:lstStyle/>
                <a:p>
                  <a:endParaRPr lang="en-GB"/>
                </a:p>
              </p:txBody>
            </p:sp>
            <p:sp>
              <p:nvSpPr>
                <p:cNvPr id="8104" name="Vrije vorm: vorm 8103">
                  <a:extLst>
                    <a:ext uri="{FF2B5EF4-FFF2-40B4-BE49-F238E27FC236}">
                      <a16:creationId xmlns:a16="http://schemas.microsoft.com/office/drawing/2014/main" id="{2C950383-E35E-462D-9BE3-0D71F482231F}"/>
                    </a:ext>
                  </a:extLst>
                </p:cNvPr>
                <p:cNvSpPr/>
                <p:nvPr/>
              </p:nvSpPr>
              <p:spPr>
                <a:xfrm>
                  <a:off x="4281319" y="4597181"/>
                  <a:ext cx="39113" cy="128226"/>
                </a:xfrm>
                <a:custGeom>
                  <a:avLst/>
                  <a:gdLst>
                    <a:gd name="connsiteX0" fmla="*/ 0 w 39113"/>
                    <a:gd name="connsiteY0" fmla="*/ 128227 h 128226"/>
                    <a:gd name="connsiteX1" fmla="*/ 39114 w 39113"/>
                    <a:gd name="connsiteY1" fmla="*/ 0 h 128226"/>
                  </a:gdLst>
                  <a:ahLst/>
                  <a:cxnLst>
                    <a:cxn ang="0">
                      <a:pos x="connsiteX0" y="connsiteY0"/>
                    </a:cxn>
                    <a:cxn ang="0">
                      <a:pos x="connsiteX1" y="connsiteY1"/>
                    </a:cxn>
                  </a:cxnLst>
                  <a:rect l="l" t="t" r="r" b="b"/>
                  <a:pathLst>
                    <a:path w="39113" h="128226">
                      <a:moveTo>
                        <a:pt x="0" y="128227"/>
                      </a:moveTo>
                      <a:cubicBezTo>
                        <a:pt x="10347" y="87378"/>
                        <a:pt x="23384" y="44497"/>
                        <a:pt x="39114" y="0"/>
                      </a:cubicBezTo>
                    </a:path>
                  </a:pathLst>
                </a:custGeom>
                <a:noFill/>
                <a:ln w="6350" cap="rnd">
                  <a:solidFill>
                    <a:schemeClr val="bg1">
                      <a:alpha val="40000"/>
                    </a:schemeClr>
                  </a:solidFill>
                  <a:prstDash val="solid"/>
                  <a:miter/>
                </a:ln>
              </p:spPr>
              <p:txBody>
                <a:bodyPr rtlCol="0" anchor="ctr"/>
                <a:lstStyle/>
                <a:p>
                  <a:endParaRPr lang="en-GB"/>
                </a:p>
              </p:txBody>
            </p:sp>
            <p:sp>
              <p:nvSpPr>
                <p:cNvPr id="8105" name="Vrije vorm: vorm 8104">
                  <a:extLst>
                    <a:ext uri="{FF2B5EF4-FFF2-40B4-BE49-F238E27FC236}">
                      <a16:creationId xmlns:a16="http://schemas.microsoft.com/office/drawing/2014/main" id="{A5F66A45-0EE0-4806-A3C6-F6F398873BF9}"/>
                    </a:ext>
                  </a:extLst>
                </p:cNvPr>
                <p:cNvSpPr/>
                <p:nvPr/>
              </p:nvSpPr>
              <p:spPr>
                <a:xfrm>
                  <a:off x="4296331" y="4586655"/>
                  <a:ext cx="37499" cy="127568"/>
                </a:xfrm>
                <a:custGeom>
                  <a:avLst/>
                  <a:gdLst>
                    <a:gd name="connsiteX0" fmla="*/ 0 w 37499"/>
                    <a:gd name="connsiteY0" fmla="*/ 127569 h 127568"/>
                    <a:gd name="connsiteX1" fmla="*/ 37499 w 37499"/>
                    <a:gd name="connsiteY1" fmla="*/ 0 h 127568"/>
                  </a:gdLst>
                  <a:ahLst/>
                  <a:cxnLst>
                    <a:cxn ang="0">
                      <a:pos x="connsiteX0" y="connsiteY0"/>
                    </a:cxn>
                    <a:cxn ang="0">
                      <a:pos x="connsiteX1" y="connsiteY1"/>
                    </a:cxn>
                  </a:cxnLst>
                  <a:rect l="l" t="t" r="r" b="b"/>
                  <a:pathLst>
                    <a:path w="37499" h="127568">
                      <a:moveTo>
                        <a:pt x="0" y="127569"/>
                      </a:moveTo>
                      <a:cubicBezTo>
                        <a:pt x="9988" y="86720"/>
                        <a:pt x="22488" y="44138"/>
                        <a:pt x="37499" y="0"/>
                      </a:cubicBezTo>
                    </a:path>
                  </a:pathLst>
                </a:custGeom>
                <a:noFill/>
                <a:ln w="6350" cap="rnd">
                  <a:solidFill>
                    <a:schemeClr val="bg1">
                      <a:alpha val="40000"/>
                    </a:schemeClr>
                  </a:solidFill>
                  <a:prstDash val="solid"/>
                  <a:miter/>
                </a:ln>
              </p:spPr>
              <p:txBody>
                <a:bodyPr rtlCol="0" anchor="ctr"/>
                <a:lstStyle/>
                <a:p>
                  <a:endParaRPr lang="en-GB"/>
                </a:p>
              </p:txBody>
            </p:sp>
            <p:sp>
              <p:nvSpPr>
                <p:cNvPr id="8106" name="Vrije vorm: vorm 8105">
                  <a:extLst>
                    <a:ext uri="{FF2B5EF4-FFF2-40B4-BE49-F238E27FC236}">
                      <a16:creationId xmlns:a16="http://schemas.microsoft.com/office/drawing/2014/main" id="{735D3152-1749-4450-B4D0-C1A498333315}"/>
                    </a:ext>
                  </a:extLst>
                </p:cNvPr>
                <p:cNvSpPr/>
                <p:nvPr/>
              </p:nvSpPr>
              <p:spPr>
                <a:xfrm>
                  <a:off x="4354045" y="4549455"/>
                  <a:ext cx="27212" cy="117581"/>
                </a:xfrm>
                <a:custGeom>
                  <a:avLst/>
                  <a:gdLst>
                    <a:gd name="connsiteX0" fmla="*/ 0 w 27212"/>
                    <a:gd name="connsiteY0" fmla="*/ 117581 h 117581"/>
                    <a:gd name="connsiteX1" fmla="*/ 27212 w 27212"/>
                    <a:gd name="connsiteY1" fmla="*/ 0 h 117581"/>
                  </a:gdLst>
                  <a:ahLst/>
                  <a:cxnLst>
                    <a:cxn ang="0">
                      <a:pos x="connsiteX0" y="connsiteY0"/>
                    </a:cxn>
                    <a:cxn ang="0">
                      <a:pos x="connsiteX1" y="connsiteY1"/>
                    </a:cxn>
                  </a:cxnLst>
                  <a:rect l="l" t="t" r="r" b="b"/>
                  <a:pathLst>
                    <a:path w="27212" h="117581">
                      <a:moveTo>
                        <a:pt x="0" y="117581"/>
                      </a:moveTo>
                      <a:cubicBezTo>
                        <a:pt x="7416" y="79364"/>
                        <a:pt x="16507" y="40131"/>
                        <a:pt x="27212" y="0"/>
                      </a:cubicBezTo>
                    </a:path>
                  </a:pathLst>
                </a:custGeom>
                <a:noFill/>
                <a:ln w="6350" cap="rnd">
                  <a:solidFill>
                    <a:schemeClr val="bg1">
                      <a:alpha val="40000"/>
                    </a:schemeClr>
                  </a:solidFill>
                  <a:prstDash val="solid"/>
                  <a:miter/>
                </a:ln>
              </p:spPr>
              <p:txBody>
                <a:bodyPr rtlCol="0" anchor="ctr"/>
                <a:lstStyle/>
                <a:p>
                  <a:endParaRPr lang="en-GB"/>
                </a:p>
              </p:txBody>
            </p:sp>
            <p:sp>
              <p:nvSpPr>
                <p:cNvPr id="8107" name="Vrije vorm: vorm 8106">
                  <a:extLst>
                    <a:ext uri="{FF2B5EF4-FFF2-40B4-BE49-F238E27FC236}">
                      <a16:creationId xmlns:a16="http://schemas.microsoft.com/office/drawing/2014/main" id="{3951F532-5F81-42A4-A580-37B285905244}"/>
                    </a:ext>
                  </a:extLst>
                </p:cNvPr>
                <p:cNvSpPr/>
                <p:nvPr/>
              </p:nvSpPr>
              <p:spPr>
                <a:xfrm>
                  <a:off x="4360145" y="4543474"/>
                  <a:ext cx="28647" cy="118657"/>
                </a:xfrm>
                <a:custGeom>
                  <a:avLst/>
                  <a:gdLst>
                    <a:gd name="connsiteX0" fmla="*/ 0 w 28647"/>
                    <a:gd name="connsiteY0" fmla="*/ 118658 h 118657"/>
                    <a:gd name="connsiteX1" fmla="*/ 28648 w 28647"/>
                    <a:gd name="connsiteY1" fmla="*/ 0 h 118657"/>
                  </a:gdLst>
                  <a:ahLst/>
                  <a:cxnLst>
                    <a:cxn ang="0">
                      <a:pos x="connsiteX0" y="connsiteY0"/>
                    </a:cxn>
                    <a:cxn ang="0">
                      <a:pos x="connsiteX1" y="connsiteY1"/>
                    </a:cxn>
                  </a:cxnLst>
                  <a:rect l="l" t="t" r="r" b="b"/>
                  <a:pathLst>
                    <a:path w="28647" h="118657">
                      <a:moveTo>
                        <a:pt x="0" y="118658"/>
                      </a:moveTo>
                      <a:cubicBezTo>
                        <a:pt x="7895" y="80142"/>
                        <a:pt x="17464" y="40549"/>
                        <a:pt x="28648" y="0"/>
                      </a:cubicBezTo>
                    </a:path>
                  </a:pathLst>
                </a:custGeom>
                <a:noFill/>
                <a:ln w="6350" cap="rnd">
                  <a:solidFill>
                    <a:schemeClr val="bg1">
                      <a:alpha val="40000"/>
                    </a:schemeClr>
                  </a:solidFill>
                  <a:prstDash val="solid"/>
                  <a:miter/>
                </a:ln>
              </p:spPr>
              <p:txBody>
                <a:bodyPr rtlCol="0" anchor="ctr"/>
                <a:lstStyle/>
                <a:p>
                  <a:endParaRPr lang="en-GB"/>
                </a:p>
              </p:txBody>
            </p:sp>
            <p:sp>
              <p:nvSpPr>
                <p:cNvPr id="8108" name="Vrije vorm: vorm 8107">
                  <a:extLst>
                    <a:ext uri="{FF2B5EF4-FFF2-40B4-BE49-F238E27FC236}">
                      <a16:creationId xmlns:a16="http://schemas.microsoft.com/office/drawing/2014/main" id="{E8E668A9-2C60-475D-B24B-C688B3EF13C4}"/>
                    </a:ext>
                  </a:extLst>
                </p:cNvPr>
                <p:cNvSpPr/>
                <p:nvPr/>
              </p:nvSpPr>
              <p:spPr>
                <a:xfrm>
                  <a:off x="4419235" y="4504719"/>
                  <a:ext cx="19257" cy="111839"/>
                </a:xfrm>
                <a:custGeom>
                  <a:avLst/>
                  <a:gdLst>
                    <a:gd name="connsiteX0" fmla="*/ 0 w 19257"/>
                    <a:gd name="connsiteY0" fmla="*/ 111840 h 111839"/>
                    <a:gd name="connsiteX1" fmla="*/ 19258 w 19257"/>
                    <a:gd name="connsiteY1" fmla="*/ 0 h 111839"/>
                  </a:gdLst>
                  <a:ahLst/>
                  <a:cxnLst>
                    <a:cxn ang="0">
                      <a:pos x="connsiteX0" y="connsiteY0"/>
                    </a:cxn>
                    <a:cxn ang="0">
                      <a:pos x="connsiteX1" y="connsiteY1"/>
                    </a:cxn>
                  </a:cxnLst>
                  <a:rect l="l" t="t" r="r" b="b"/>
                  <a:pathLst>
                    <a:path w="19257" h="111839">
                      <a:moveTo>
                        <a:pt x="0" y="111840"/>
                      </a:moveTo>
                      <a:cubicBezTo>
                        <a:pt x="5263" y="75178"/>
                        <a:pt x="11662" y="37918"/>
                        <a:pt x="19258" y="0"/>
                      </a:cubicBezTo>
                    </a:path>
                  </a:pathLst>
                </a:custGeom>
                <a:noFill/>
                <a:ln w="6350" cap="rnd">
                  <a:solidFill>
                    <a:schemeClr val="bg1">
                      <a:alpha val="40000"/>
                    </a:schemeClr>
                  </a:solidFill>
                  <a:prstDash val="solid"/>
                  <a:miter/>
                </a:ln>
              </p:spPr>
              <p:txBody>
                <a:bodyPr rtlCol="0" anchor="ctr"/>
                <a:lstStyle/>
                <a:p>
                  <a:endParaRPr lang="en-GB"/>
                </a:p>
              </p:txBody>
            </p:sp>
            <p:sp>
              <p:nvSpPr>
                <p:cNvPr id="8109" name="Vrije vorm: vorm 8108">
                  <a:extLst>
                    <a:ext uri="{FF2B5EF4-FFF2-40B4-BE49-F238E27FC236}">
                      <a16:creationId xmlns:a16="http://schemas.microsoft.com/office/drawing/2014/main" id="{CA39C8A9-7616-4533-81A7-17350D80BA7A}"/>
                    </a:ext>
                  </a:extLst>
                </p:cNvPr>
                <p:cNvSpPr/>
                <p:nvPr/>
              </p:nvSpPr>
              <p:spPr>
                <a:xfrm>
                  <a:off x="4425813" y="4500772"/>
                  <a:ext cx="17703" cy="110523"/>
                </a:xfrm>
                <a:custGeom>
                  <a:avLst/>
                  <a:gdLst>
                    <a:gd name="connsiteX0" fmla="*/ 0 w 17703"/>
                    <a:gd name="connsiteY0" fmla="*/ 110524 h 110523"/>
                    <a:gd name="connsiteX1" fmla="*/ 17703 w 17703"/>
                    <a:gd name="connsiteY1" fmla="*/ 0 h 110523"/>
                  </a:gdLst>
                  <a:ahLst/>
                  <a:cxnLst>
                    <a:cxn ang="0">
                      <a:pos x="connsiteX0" y="connsiteY0"/>
                    </a:cxn>
                    <a:cxn ang="0">
                      <a:pos x="connsiteX1" y="connsiteY1"/>
                    </a:cxn>
                  </a:cxnLst>
                  <a:rect l="l" t="t" r="r" b="b"/>
                  <a:pathLst>
                    <a:path w="17703" h="110523">
                      <a:moveTo>
                        <a:pt x="0" y="110524"/>
                      </a:moveTo>
                      <a:cubicBezTo>
                        <a:pt x="4785" y="74280"/>
                        <a:pt x="10705" y="37380"/>
                        <a:pt x="17703" y="0"/>
                      </a:cubicBezTo>
                    </a:path>
                  </a:pathLst>
                </a:custGeom>
                <a:noFill/>
                <a:ln w="6350" cap="rnd">
                  <a:solidFill>
                    <a:schemeClr val="bg1">
                      <a:alpha val="40000"/>
                    </a:schemeClr>
                  </a:solidFill>
                  <a:prstDash val="solid"/>
                  <a:miter/>
                </a:ln>
              </p:spPr>
              <p:txBody>
                <a:bodyPr rtlCol="0" anchor="ctr"/>
                <a:lstStyle/>
                <a:p>
                  <a:endParaRPr lang="en-GB"/>
                </a:p>
              </p:txBody>
            </p:sp>
            <p:sp>
              <p:nvSpPr>
                <p:cNvPr id="8110" name="Vrije vorm: vorm 8109">
                  <a:extLst>
                    <a:ext uri="{FF2B5EF4-FFF2-40B4-BE49-F238E27FC236}">
                      <a16:creationId xmlns:a16="http://schemas.microsoft.com/office/drawing/2014/main" id="{EC6CECAE-37FF-4C05-B6FE-D97B0191FFFA}"/>
                    </a:ext>
                  </a:extLst>
                </p:cNvPr>
                <p:cNvSpPr/>
                <p:nvPr/>
              </p:nvSpPr>
              <p:spPr>
                <a:xfrm>
                  <a:off x="4488432" y="4457053"/>
                  <a:ext cx="11183" cy="104483"/>
                </a:xfrm>
                <a:custGeom>
                  <a:avLst/>
                  <a:gdLst>
                    <a:gd name="connsiteX0" fmla="*/ 0 w 11183"/>
                    <a:gd name="connsiteY0" fmla="*/ 104483 h 104483"/>
                    <a:gd name="connsiteX1" fmla="*/ 11184 w 11183"/>
                    <a:gd name="connsiteY1" fmla="*/ 0 h 104483"/>
                  </a:gdLst>
                  <a:ahLst/>
                  <a:cxnLst>
                    <a:cxn ang="0">
                      <a:pos x="connsiteX0" y="connsiteY0"/>
                    </a:cxn>
                    <a:cxn ang="0">
                      <a:pos x="connsiteX1" y="connsiteY1"/>
                    </a:cxn>
                  </a:cxnLst>
                  <a:rect l="l" t="t" r="r" b="b"/>
                  <a:pathLst>
                    <a:path w="11183" h="104483">
                      <a:moveTo>
                        <a:pt x="0" y="104483"/>
                      </a:moveTo>
                      <a:cubicBezTo>
                        <a:pt x="2930" y="70034"/>
                        <a:pt x="6639" y="35226"/>
                        <a:pt x="11184" y="0"/>
                      </a:cubicBezTo>
                    </a:path>
                  </a:pathLst>
                </a:custGeom>
                <a:noFill/>
                <a:ln w="6350" cap="rnd">
                  <a:solidFill>
                    <a:schemeClr val="bg1">
                      <a:alpha val="40000"/>
                    </a:schemeClr>
                  </a:solidFill>
                  <a:prstDash val="solid"/>
                  <a:miter/>
                </a:ln>
              </p:spPr>
              <p:txBody>
                <a:bodyPr rtlCol="0" anchor="ctr"/>
                <a:lstStyle/>
                <a:p>
                  <a:endParaRPr lang="en-GB"/>
                </a:p>
              </p:txBody>
            </p:sp>
            <p:sp>
              <p:nvSpPr>
                <p:cNvPr id="8111" name="Vrije vorm: vorm 8110">
                  <a:extLst>
                    <a:ext uri="{FF2B5EF4-FFF2-40B4-BE49-F238E27FC236}">
                      <a16:creationId xmlns:a16="http://schemas.microsoft.com/office/drawing/2014/main" id="{BBDD1B21-3D34-4577-8052-FAFB1222C335}"/>
                    </a:ext>
                  </a:extLst>
                </p:cNvPr>
                <p:cNvSpPr/>
                <p:nvPr/>
              </p:nvSpPr>
              <p:spPr>
                <a:xfrm>
                  <a:off x="4495788" y="4450654"/>
                  <a:ext cx="11961" cy="106576"/>
                </a:xfrm>
                <a:custGeom>
                  <a:avLst/>
                  <a:gdLst>
                    <a:gd name="connsiteX0" fmla="*/ 0 w 11961"/>
                    <a:gd name="connsiteY0" fmla="*/ 106576 h 106576"/>
                    <a:gd name="connsiteX1" fmla="*/ 11961 w 11961"/>
                    <a:gd name="connsiteY1" fmla="*/ 0 h 106576"/>
                  </a:gdLst>
                  <a:ahLst/>
                  <a:cxnLst>
                    <a:cxn ang="0">
                      <a:pos x="connsiteX0" y="connsiteY0"/>
                    </a:cxn>
                    <a:cxn ang="0">
                      <a:pos x="connsiteX1" y="connsiteY1"/>
                    </a:cxn>
                  </a:cxnLst>
                  <a:rect l="l" t="t" r="r" b="b"/>
                  <a:pathLst>
                    <a:path w="11961" h="106576">
                      <a:moveTo>
                        <a:pt x="0" y="106576"/>
                      </a:moveTo>
                      <a:cubicBezTo>
                        <a:pt x="3170" y="71469"/>
                        <a:pt x="7177" y="35944"/>
                        <a:pt x="11961" y="0"/>
                      </a:cubicBezTo>
                    </a:path>
                  </a:pathLst>
                </a:custGeom>
                <a:noFill/>
                <a:ln w="6350" cap="rnd">
                  <a:solidFill>
                    <a:schemeClr val="bg1">
                      <a:alpha val="40000"/>
                    </a:schemeClr>
                  </a:solidFill>
                  <a:prstDash val="solid"/>
                  <a:miter/>
                </a:ln>
              </p:spPr>
              <p:txBody>
                <a:bodyPr rtlCol="0" anchor="ctr"/>
                <a:lstStyle/>
                <a:p>
                  <a:endParaRPr lang="en-GB"/>
                </a:p>
              </p:txBody>
            </p:sp>
            <p:sp>
              <p:nvSpPr>
                <p:cNvPr id="8112" name="Vrije vorm: vorm 8111">
                  <a:extLst>
                    <a:ext uri="{FF2B5EF4-FFF2-40B4-BE49-F238E27FC236}">
                      <a16:creationId xmlns:a16="http://schemas.microsoft.com/office/drawing/2014/main" id="{024BCA9E-A122-4B0F-82D3-D94E95ADF027}"/>
                    </a:ext>
                  </a:extLst>
                </p:cNvPr>
                <p:cNvSpPr/>
                <p:nvPr/>
              </p:nvSpPr>
              <p:spPr>
                <a:xfrm>
                  <a:off x="4535560" y="4427568"/>
                  <a:ext cx="1794" cy="96588"/>
                </a:xfrm>
                <a:custGeom>
                  <a:avLst/>
                  <a:gdLst>
                    <a:gd name="connsiteX0" fmla="*/ 0 w 1794"/>
                    <a:gd name="connsiteY0" fmla="*/ 96589 h 96588"/>
                    <a:gd name="connsiteX1" fmla="*/ 1795 w 1794"/>
                    <a:gd name="connsiteY1" fmla="*/ 0 h 96588"/>
                  </a:gdLst>
                  <a:ahLst/>
                  <a:cxnLst>
                    <a:cxn ang="0">
                      <a:pos x="connsiteX0" y="connsiteY0"/>
                    </a:cxn>
                    <a:cxn ang="0">
                      <a:pos x="connsiteX1" y="connsiteY1"/>
                    </a:cxn>
                  </a:cxnLst>
                  <a:rect l="l" t="t" r="r" b="b"/>
                  <a:pathLst>
                    <a:path w="1794" h="96588">
                      <a:moveTo>
                        <a:pt x="0" y="96589"/>
                      </a:moveTo>
                      <a:cubicBezTo>
                        <a:pt x="60" y="64652"/>
                        <a:pt x="658" y="32476"/>
                        <a:pt x="1795" y="0"/>
                      </a:cubicBezTo>
                    </a:path>
                  </a:pathLst>
                </a:custGeom>
                <a:noFill/>
                <a:ln w="6350" cap="rnd">
                  <a:solidFill>
                    <a:schemeClr val="bg1">
                      <a:alpha val="40000"/>
                    </a:schemeClr>
                  </a:solidFill>
                  <a:prstDash val="solid"/>
                  <a:miter/>
                </a:ln>
              </p:spPr>
              <p:txBody>
                <a:bodyPr rtlCol="0" anchor="ctr"/>
                <a:lstStyle/>
                <a:p>
                  <a:endParaRPr lang="en-GB"/>
                </a:p>
              </p:txBody>
            </p:sp>
            <p:sp>
              <p:nvSpPr>
                <p:cNvPr id="8113" name="Vrije vorm: vorm 8112">
                  <a:extLst>
                    <a:ext uri="{FF2B5EF4-FFF2-40B4-BE49-F238E27FC236}">
                      <a16:creationId xmlns:a16="http://schemas.microsoft.com/office/drawing/2014/main" id="{053A5756-46F5-4577-8B63-90C8F9850E36}"/>
                    </a:ext>
                  </a:extLst>
                </p:cNvPr>
                <p:cNvSpPr/>
                <p:nvPr/>
              </p:nvSpPr>
              <p:spPr>
                <a:xfrm>
                  <a:off x="4543514" y="4420989"/>
                  <a:ext cx="2332" cy="96887"/>
                </a:xfrm>
                <a:custGeom>
                  <a:avLst/>
                  <a:gdLst>
                    <a:gd name="connsiteX0" fmla="*/ 0 w 2332"/>
                    <a:gd name="connsiteY0" fmla="*/ 96888 h 96887"/>
                    <a:gd name="connsiteX1" fmla="*/ 2333 w 2332"/>
                    <a:gd name="connsiteY1" fmla="*/ 0 h 96887"/>
                  </a:gdLst>
                  <a:ahLst/>
                  <a:cxnLst>
                    <a:cxn ang="0">
                      <a:pos x="connsiteX0" y="connsiteY0"/>
                    </a:cxn>
                    <a:cxn ang="0">
                      <a:pos x="connsiteX1" y="connsiteY1"/>
                    </a:cxn>
                  </a:cxnLst>
                  <a:rect l="l" t="t" r="r" b="b"/>
                  <a:pathLst>
                    <a:path w="2332" h="96887">
                      <a:moveTo>
                        <a:pt x="0" y="96888"/>
                      </a:moveTo>
                      <a:cubicBezTo>
                        <a:pt x="239" y="64831"/>
                        <a:pt x="1017" y="32535"/>
                        <a:pt x="2333" y="0"/>
                      </a:cubicBezTo>
                    </a:path>
                  </a:pathLst>
                </a:custGeom>
                <a:noFill/>
                <a:ln w="6350" cap="rnd">
                  <a:solidFill>
                    <a:schemeClr val="bg1">
                      <a:alpha val="40000"/>
                    </a:schemeClr>
                  </a:solidFill>
                  <a:prstDash val="solid"/>
                  <a:miter/>
                </a:ln>
              </p:spPr>
              <p:txBody>
                <a:bodyPr rtlCol="0" anchor="ctr"/>
                <a:lstStyle/>
                <a:p>
                  <a:endParaRPr lang="en-GB"/>
                </a:p>
              </p:txBody>
            </p:sp>
            <p:sp>
              <p:nvSpPr>
                <p:cNvPr id="8114" name="Vrije vorm: vorm 8113">
                  <a:extLst>
                    <a:ext uri="{FF2B5EF4-FFF2-40B4-BE49-F238E27FC236}">
                      <a16:creationId xmlns:a16="http://schemas.microsoft.com/office/drawing/2014/main" id="{D81041AD-C3B0-432C-A799-63C40FA06E9A}"/>
                    </a:ext>
                  </a:extLst>
                </p:cNvPr>
                <p:cNvSpPr/>
                <p:nvPr/>
              </p:nvSpPr>
              <p:spPr>
                <a:xfrm>
                  <a:off x="4252851" y="4611954"/>
                  <a:ext cx="48982" cy="136061"/>
                </a:xfrm>
                <a:custGeom>
                  <a:avLst/>
                  <a:gdLst>
                    <a:gd name="connsiteX0" fmla="*/ 0 w 48982"/>
                    <a:gd name="connsiteY0" fmla="*/ 136061 h 136061"/>
                    <a:gd name="connsiteX1" fmla="*/ 48982 w 48982"/>
                    <a:gd name="connsiteY1" fmla="*/ 0 h 136061"/>
                  </a:gdLst>
                  <a:ahLst/>
                  <a:cxnLst>
                    <a:cxn ang="0">
                      <a:pos x="connsiteX0" y="connsiteY0"/>
                    </a:cxn>
                    <a:cxn ang="0">
                      <a:pos x="connsiteX1" y="connsiteY1"/>
                    </a:cxn>
                  </a:cxnLst>
                  <a:rect l="l" t="t" r="r" b="b"/>
                  <a:pathLst>
                    <a:path w="48982" h="136061">
                      <a:moveTo>
                        <a:pt x="0" y="136061"/>
                      </a:moveTo>
                      <a:cubicBezTo>
                        <a:pt x="12679" y="93299"/>
                        <a:pt x="29066" y="47726"/>
                        <a:pt x="48982" y="0"/>
                      </a:cubicBezTo>
                    </a:path>
                  </a:pathLst>
                </a:custGeom>
                <a:noFill/>
                <a:ln w="6350" cap="rnd">
                  <a:solidFill>
                    <a:schemeClr val="bg1">
                      <a:alpha val="40000"/>
                    </a:schemeClr>
                  </a:solidFill>
                  <a:prstDash val="solid"/>
                  <a:miter/>
                </a:ln>
              </p:spPr>
              <p:txBody>
                <a:bodyPr rtlCol="0" anchor="ctr"/>
                <a:lstStyle/>
                <a:p>
                  <a:endParaRPr lang="en-GB"/>
                </a:p>
              </p:txBody>
            </p:sp>
            <p:sp>
              <p:nvSpPr>
                <p:cNvPr id="8115" name="Vrije vorm: vorm 8114">
                  <a:extLst>
                    <a:ext uri="{FF2B5EF4-FFF2-40B4-BE49-F238E27FC236}">
                      <a16:creationId xmlns:a16="http://schemas.microsoft.com/office/drawing/2014/main" id="{889BAEE9-A163-4770-88B2-C22CD7FFDCE1}"/>
                    </a:ext>
                  </a:extLst>
                </p:cNvPr>
                <p:cNvSpPr/>
                <p:nvPr/>
              </p:nvSpPr>
              <p:spPr>
                <a:xfrm>
                  <a:off x="4189455" y="4661115"/>
                  <a:ext cx="50836" cy="139410"/>
                </a:xfrm>
                <a:custGeom>
                  <a:avLst/>
                  <a:gdLst>
                    <a:gd name="connsiteX0" fmla="*/ 0 w 50836"/>
                    <a:gd name="connsiteY0" fmla="*/ 139411 h 139410"/>
                    <a:gd name="connsiteX1" fmla="*/ 50836 w 50836"/>
                    <a:gd name="connsiteY1" fmla="*/ 0 h 139410"/>
                  </a:gdLst>
                  <a:ahLst/>
                  <a:cxnLst>
                    <a:cxn ang="0">
                      <a:pos x="connsiteX0" y="connsiteY0"/>
                    </a:cxn>
                    <a:cxn ang="0">
                      <a:pos x="connsiteX1" y="connsiteY1"/>
                    </a:cxn>
                  </a:cxnLst>
                  <a:rect l="l" t="t" r="r" b="b"/>
                  <a:pathLst>
                    <a:path w="50836" h="139410">
                      <a:moveTo>
                        <a:pt x="0" y="139411"/>
                      </a:moveTo>
                      <a:cubicBezTo>
                        <a:pt x="11603" y="97007"/>
                        <a:pt x="28588" y="50178"/>
                        <a:pt x="50836" y="0"/>
                      </a:cubicBezTo>
                    </a:path>
                  </a:pathLst>
                </a:custGeom>
                <a:noFill/>
                <a:ln w="6350" cap="rnd">
                  <a:solidFill>
                    <a:schemeClr val="bg1">
                      <a:alpha val="40000"/>
                    </a:schemeClr>
                  </a:solidFill>
                  <a:prstDash val="solid"/>
                  <a:miter/>
                </a:ln>
              </p:spPr>
              <p:txBody>
                <a:bodyPr rtlCol="0" anchor="ctr"/>
                <a:lstStyle/>
                <a:p>
                  <a:endParaRPr lang="en-GB"/>
                </a:p>
              </p:txBody>
            </p:sp>
            <p:sp>
              <p:nvSpPr>
                <p:cNvPr id="8116" name="Vrije vorm: vorm 8115">
                  <a:extLst>
                    <a:ext uri="{FF2B5EF4-FFF2-40B4-BE49-F238E27FC236}">
                      <a16:creationId xmlns:a16="http://schemas.microsoft.com/office/drawing/2014/main" id="{B80B4E84-9DF4-43DE-AA97-91E7C300DD32}"/>
                    </a:ext>
                  </a:extLst>
                </p:cNvPr>
                <p:cNvSpPr/>
                <p:nvPr/>
              </p:nvSpPr>
              <p:spPr>
                <a:xfrm>
                  <a:off x="4199323" y="4651307"/>
                  <a:ext cx="53168" cy="140965"/>
                </a:xfrm>
                <a:custGeom>
                  <a:avLst/>
                  <a:gdLst>
                    <a:gd name="connsiteX0" fmla="*/ 0 w 53168"/>
                    <a:gd name="connsiteY0" fmla="*/ 140966 h 140965"/>
                    <a:gd name="connsiteX1" fmla="*/ 53169 w 53168"/>
                    <a:gd name="connsiteY1" fmla="*/ 0 h 140965"/>
                  </a:gdLst>
                  <a:ahLst/>
                  <a:cxnLst>
                    <a:cxn ang="0">
                      <a:pos x="connsiteX0" y="connsiteY0"/>
                    </a:cxn>
                    <a:cxn ang="0">
                      <a:pos x="connsiteX1" y="connsiteY1"/>
                    </a:cxn>
                  </a:cxnLst>
                  <a:rect l="l" t="t" r="r" b="b"/>
                  <a:pathLst>
                    <a:path w="53168" h="140965">
                      <a:moveTo>
                        <a:pt x="0" y="140966"/>
                      </a:moveTo>
                      <a:cubicBezTo>
                        <a:pt x="12500" y="97845"/>
                        <a:pt x="30322" y="50597"/>
                        <a:pt x="53169" y="0"/>
                      </a:cubicBezTo>
                    </a:path>
                  </a:pathLst>
                </a:custGeom>
                <a:noFill/>
                <a:ln w="6350" cap="rnd">
                  <a:solidFill>
                    <a:schemeClr val="bg1">
                      <a:alpha val="40000"/>
                    </a:schemeClr>
                  </a:solidFill>
                  <a:prstDash val="solid"/>
                  <a:miter/>
                </a:ln>
              </p:spPr>
              <p:txBody>
                <a:bodyPr rtlCol="0" anchor="ctr"/>
                <a:lstStyle/>
                <a:p>
                  <a:endParaRPr lang="en-GB"/>
                </a:p>
              </p:txBody>
            </p:sp>
            <p:sp>
              <p:nvSpPr>
                <p:cNvPr id="8117" name="Vrije vorm: vorm 8116">
                  <a:extLst>
                    <a:ext uri="{FF2B5EF4-FFF2-40B4-BE49-F238E27FC236}">
                      <a16:creationId xmlns:a16="http://schemas.microsoft.com/office/drawing/2014/main" id="{4167AC5E-397B-45DD-8DE1-A381FED28CDF}"/>
                    </a:ext>
                  </a:extLst>
                </p:cNvPr>
                <p:cNvSpPr/>
                <p:nvPr/>
              </p:nvSpPr>
              <p:spPr>
                <a:xfrm>
                  <a:off x="4222888" y="4640542"/>
                  <a:ext cx="43061" cy="132113"/>
                </a:xfrm>
                <a:custGeom>
                  <a:avLst/>
                  <a:gdLst>
                    <a:gd name="connsiteX0" fmla="*/ 0 w 43061"/>
                    <a:gd name="connsiteY0" fmla="*/ 132114 h 132113"/>
                    <a:gd name="connsiteX1" fmla="*/ 43061 w 43061"/>
                    <a:gd name="connsiteY1" fmla="*/ 0 h 132113"/>
                  </a:gdLst>
                  <a:ahLst/>
                  <a:cxnLst>
                    <a:cxn ang="0">
                      <a:pos x="connsiteX0" y="connsiteY0"/>
                    </a:cxn>
                    <a:cxn ang="0">
                      <a:pos x="connsiteX1" y="connsiteY1"/>
                    </a:cxn>
                  </a:cxnLst>
                  <a:rect l="l" t="t" r="r" b="b"/>
                  <a:pathLst>
                    <a:path w="43061" h="132113">
                      <a:moveTo>
                        <a:pt x="0" y="132114"/>
                      </a:moveTo>
                      <a:cubicBezTo>
                        <a:pt x="10526" y="90907"/>
                        <a:pt x="24880" y="46709"/>
                        <a:pt x="43061" y="0"/>
                      </a:cubicBezTo>
                    </a:path>
                  </a:pathLst>
                </a:custGeom>
                <a:noFill/>
                <a:ln w="6350" cap="rnd">
                  <a:solidFill>
                    <a:schemeClr val="bg1">
                      <a:alpha val="40000"/>
                    </a:schemeClr>
                  </a:solidFill>
                  <a:prstDash val="solid"/>
                  <a:miter/>
                </a:ln>
              </p:spPr>
              <p:txBody>
                <a:bodyPr rtlCol="0" anchor="ctr"/>
                <a:lstStyle/>
                <a:p>
                  <a:endParaRPr lang="en-GB"/>
                </a:p>
              </p:txBody>
            </p:sp>
            <p:sp>
              <p:nvSpPr>
                <p:cNvPr id="8118" name="Vrije vorm: vorm 8117">
                  <a:extLst>
                    <a:ext uri="{FF2B5EF4-FFF2-40B4-BE49-F238E27FC236}">
                      <a16:creationId xmlns:a16="http://schemas.microsoft.com/office/drawing/2014/main" id="{9370F5D2-3A27-4727-B241-30DB1D272356}"/>
                    </a:ext>
                  </a:extLst>
                </p:cNvPr>
                <p:cNvSpPr/>
                <p:nvPr/>
              </p:nvSpPr>
              <p:spPr>
                <a:xfrm>
                  <a:off x="4307993" y="4577086"/>
                  <a:ext cx="38037" cy="127748"/>
                </a:xfrm>
                <a:custGeom>
                  <a:avLst/>
                  <a:gdLst>
                    <a:gd name="connsiteX0" fmla="*/ 0 w 38037"/>
                    <a:gd name="connsiteY0" fmla="*/ 127748 h 127748"/>
                    <a:gd name="connsiteX1" fmla="*/ 38037 w 38037"/>
                    <a:gd name="connsiteY1" fmla="*/ 0 h 127748"/>
                  </a:gdLst>
                  <a:ahLst/>
                  <a:cxnLst>
                    <a:cxn ang="0">
                      <a:pos x="connsiteX0" y="connsiteY0"/>
                    </a:cxn>
                    <a:cxn ang="0">
                      <a:pos x="connsiteX1" y="connsiteY1"/>
                    </a:cxn>
                  </a:cxnLst>
                  <a:rect l="l" t="t" r="r" b="b"/>
                  <a:pathLst>
                    <a:path w="38037" h="127748">
                      <a:moveTo>
                        <a:pt x="0" y="127748"/>
                      </a:moveTo>
                      <a:cubicBezTo>
                        <a:pt x="10227" y="86780"/>
                        <a:pt x="22906" y="44078"/>
                        <a:pt x="38037" y="0"/>
                      </a:cubicBezTo>
                    </a:path>
                  </a:pathLst>
                </a:custGeom>
                <a:noFill/>
                <a:ln w="6350" cap="rnd">
                  <a:solidFill>
                    <a:schemeClr val="bg1">
                      <a:alpha val="40000"/>
                    </a:schemeClr>
                  </a:solidFill>
                  <a:prstDash val="solid"/>
                  <a:miter/>
                </a:ln>
              </p:spPr>
              <p:txBody>
                <a:bodyPr rtlCol="0" anchor="ctr"/>
                <a:lstStyle/>
                <a:p>
                  <a:endParaRPr lang="en-GB"/>
                </a:p>
              </p:txBody>
            </p:sp>
            <p:sp>
              <p:nvSpPr>
                <p:cNvPr id="8119" name="Vrije vorm: vorm 8118">
                  <a:extLst>
                    <a:ext uri="{FF2B5EF4-FFF2-40B4-BE49-F238E27FC236}">
                      <a16:creationId xmlns:a16="http://schemas.microsoft.com/office/drawing/2014/main" id="{76EDD4BB-3A2C-4F73-AEBE-E3A782E255EA}"/>
                    </a:ext>
                  </a:extLst>
                </p:cNvPr>
                <p:cNvSpPr/>
                <p:nvPr/>
              </p:nvSpPr>
              <p:spPr>
                <a:xfrm>
                  <a:off x="4341067" y="4557649"/>
                  <a:ext cx="29604" cy="120511"/>
                </a:xfrm>
                <a:custGeom>
                  <a:avLst/>
                  <a:gdLst>
                    <a:gd name="connsiteX0" fmla="*/ 0 w 29604"/>
                    <a:gd name="connsiteY0" fmla="*/ 120512 h 120511"/>
                    <a:gd name="connsiteX1" fmla="*/ 29605 w 29604"/>
                    <a:gd name="connsiteY1" fmla="*/ 0 h 120511"/>
                  </a:gdLst>
                  <a:ahLst/>
                  <a:cxnLst>
                    <a:cxn ang="0">
                      <a:pos x="connsiteX0" y="connsiteY0"/>
                    </a:cxn>
                    <a:cxn ang="0">
                      <a:pos x="connsiteX1" y="connsiteY1"/>
                    </a:cxn>
                  </a:cxnLst>
                  <a:rect l="l" t="t" r="r" b="b"/>
                  <a:pathLst>
                    <a:path w="29604" h="120511">
                      <a:moveTo>
                        <a:pt x="0" y="120512"/>
                      </a:moveTo>
                      <a:cubicBezTo>
                        <a:pt x="8074" y="81458"/>
                        <a:pt x="17882" y="41267"/>
                        <a:pt x="29605" y="0"/>
                      </a:cubicBezTo>
                    </a:path>
                  </a:pathLst>
                </a:custGeom>
                <a:noFill/>
                <a:ln w="6350" cap="rnd">
                  <a:solidFill>
                    <a:schemeClr val="bg1">
                      <a:alpha val="40000"/>
                    </a:schemeClr>
                  </a:solidFill>
                  <a:prstDash val="solid"/>
                  <a:miter/>
                </a:ln>
              </p:spPr>
              <p:txBody>
                <a:bodyPr rtlCol="0" anchor="ctr"/>
                <a:lstStyle/>
                <a:p>
                  <a:endParaRPr lang="en-GB"/>
                </a:p>
              </p:txBody>
            </p:sp>
            <p:sp>
              <p:nvSpPr>
                <p:cNvPr id="8120" name="Vrije vorm: vorm 8119">
                  <a:extLst>
                    <a:ext uri="{FF2B5EF4-FFF2-40B4-BE49-F238E27FC236}">
                      <a16:creationId xmlns:a16="http://schemas.microsoft.com/office/drawing/2014/main" id="{87398D6C-2DF4-42EA-949F-B2DE230FF270}"/>
                    </a:ext>
                  </a:extLst>
                </p:cNvPr>
                <p:cNvSpPr/>
                <p:nvPr/>
              </p:nvSpPr>
              <p:spPr>
                <a:xfrm>
                  <a:off x="4334488" y="4563510"/>
                  <a:ext cx="28767" cy="119973"/>
                </a:xfrm>
                <a:custGeom>
                  <a:avLst/>
                  <a:gdLst>
                    <a:gd name="connsiteX0" fmla="*/ 0 w 28767"/>
                    <a:gd name="connsiteY0" fmla="*/ 119973 h 119973"/>
                    <a:gd name="connsiteX1" fmla="*/ 28767 w 28767"/>
                    <a:gd name="connsiteY1" fmla="*/ 0 h 119973"/>
                  </a:gdLst>
                  <a:ahLst/>
                  <a:cxnLst>
                    <a:cxn ang="0">
                      <a:pos x="connsiteX0" y="connsiteY0"/>
                    </a:cxn>
                    <a:cxn ang="0">
                      <a:pos x="connsiteX1" y="connsiteY1"/>
                    </a:cxn>
                  </a:cxnLst>
                  <a:rect l="l" t="t" r="r" b="b"/>
                  <a:pathLst>
                    <a:path w="28767" h="119973">
                      <a:moveTo>
                        <a:pt x="0" y="119973"/>
                      </a:moveTo>
                      <a:cubicBezTo>
                        <a:pt x="7775" y="81158"/>
                        <a:pt x="17344" y="41088"/>
                        <a:pt x="28767" y="0"/>
                      </a:cubicBezTo>
                    </a:path>
                  </a:pathLst>
                </a:custGeom>
                <a:noFill/>
                <a:ln w="6350" cap="rnd">
                  <a:solidFill>
                    <a:schemeClr val="bg1">
                      <a:alpha val="40000"/>
                    </a:schemeClr>
                  </a:solidFill>
                  <a:prstDash val="solid"/>
                  <a:miter/>
                </a:ln>
              </p:spPr>
              <p:txBody>
                <a:bodyPr rtlCol="0" anchor="ctr"/>
                <a:lstStyle/>
                <a:p>
                  <a:endParaRPr lang="en-GB"/>
                </a:p>
              </p:txBody>
            </p:sp>
            <p:sp>
              <p:nvSpPr>
                <p:cNvPr id="8121" name="Vrije vorm: vorm 8120">
                  <a:extLst>
                    <a:ext uri="{FF2B5EF4-FFF2-40B4-BE49-F238E27FC236}">
                      <a16:creationId xmlns:a16="http://schemas.microsoft.com/office/drawing/2014/main" id="{10F2D1AC-AEB9-49EE-9828-54C96CE5A938}"/>
                    </a:ext>
                  </a:extLst>
                </p:cNvPr>
                <p:cNvSpPr/>
                <p:nvPr/>
              </p:nvSpPr>
              <p:spPr>
                <a:xfrm>
                  <a:off x="4367860" y="4539168"/>
                  <a:ext cx="26434" cy="116803"/>
                </a:xfrm>
                <a:custGeom>
                  <a:avLst/>
                  <a:gdLst>
                    <a:gd name="connsiteX0" fmla="*/ 0 w 26434"/>
                    <a:gd name="connsiteY0" fmla="*/ 116803 h 116803"/>
                    <a:gd name="connsiteX1" fmla="*/ 26435 w 26434"/>
                    <a:gd name="connsiteY1" fmla="*/ 0 h 116803"/>
                  </a:gdLst>
                  <a:ahLst/>
                  <a:cxnLst>
                    <a:cxn ang="0">
                      <a:pos x="connsiteX0" y="connsiteY0"/>
                    </a:cxn>
                    <a:cxn ang="0">
                      <a:pos x="connsiteX1" y="connsiteY1"/>
                    </a:cxn>
                  </a:cxnLst>
                  <a:rect l="l" t="t" r="r" b="b"/>
                  <a:pathLst>
                    <a:path w="26434" h="116803">
                      <a:moveTo>
                        <a:pt x="0" y="116803"/>
                      </a:moveTo>
                      <a:cubicBezTo>
                        <a:pt x="7297" y="78766"/>
                        <a:pt x="16088" y="39831"/>
                        <a:pt x="26435" y="0"/>
                      </a:cubicBezTo>
                    </a:path>
                  </a:pathLst>
                </a:custGeom>
                <a:noFill/>
                <a:ln w="6350" cap="rnd">
                  <a:solidFill>
                    <a:schemeClr val="bg1">
                      <a:alpha val="40000"/>
                    </a:schemeClr>
                  </a:solidFill>
                  <a:prstDash val="solid"/>
                  <a:miter/>
                </a:ln>
              </p:spPr>
              <p:txBody>
                <a:bodyPr rtlCol="0" anchor="ctr"/>
                <a:lstStyle/>
                <a:p>
                  <a:endParaRPr lang="en-GB"/>
                </a:p>
              </p:txBody>
            </p:sp>
            <p:sp>
              <p:nvSpPr>
                <p:cNvPr id="8122" name="Vrije vorm: vorm 8121">
                  <a:extLst>
                    <a:ext uri="{FF2B5EF4-FFF2-40B4-BE49-F238E27FC236}">
                      <a16:creationId xmlns:a16="http://schemas.microsoft.com/office/drawing/2014/main" id="{F7277A2C-D782-4645-BCEC-6107B5980EE3}"/>
                    </a:ext>
                  </a:extLst>
                </p:cNvPr>
                <p:cNvSpPr/>
                <p:nvPr/>
              </p:nvSpPr>
              <p:spPr>
                <a:xfrm>
                  <a:off x="4396269" y="4522482"/>
                  <a:ext cx="19497" cy="111600"/>
                </a:xfrm>
                <a:custGeom>
                  <a:avLst/>
                  <a:gdLst>
                    <a:gd name="connsiteX0" fmla="*/ 0 w 19497"/>
                    <a:gd name="connsiteY0" fmla="*/ 111600 h 111600"/>
                    <a:gd name="connsiteX1" fmla="*/ 19497 w 19497"/>
                    <a:gd name="connsiteY1" fmla="*/ 0 h 111600"/>
                  </a:gdLst>
                  <a:ahLst/>
                  <a:cxnLst>
                    <a:cxn ang="0">
                      <a:pos x="connsiteX0" y="connsiteY0"/>
                    </a:cxn>
                    <a:cxn ang="0">
                      <a:pos x="connsiteX1" y="connsiteY1"/>
                    </a:cxn>
                  </a:cxnLst>
                  <a:rect l="l" t="t" r="r" b="b"/>
                  <a:pathLst>
                    <a:path w="19497" h="111600">
                      <a:moveTo>
                        <a:pt x="0" y="111600"/>
                      </a:moveTo>
                      <a:cubicBezTo>
                        <a:pt x="5263" y="75058"/>
                        <a:pt x="11722" y="37858"/>
                        <a:pt x="19497" y="0"/>
                      </a:cubicBezTo>
                    </a:path>
                  </a:pathLst>
                </a:custGeom>
                <a:noFill/>
                <a:ln w="6350" cap="rnd">
                  <a:solidFill>
                    <a:schemeClr val="bg1">
                      <a:alpha val="40000"/>
                    </a:schemeClr>
                  </a:solidFill>
                  <a:prstDash val="solid"/>
                  <a:miter/>
                </a:ln>
              </p:spPr>
              <p:txBody>
                <a:bodyPr rtlCol="0" anchor="ctr"/>
                <a:lstStyle/>
                <a:p>
                  <a:endParaRPr lang="en-GB"/>
                </a:p>
              </p:txBody>
            </p:sp>
            <p:sp>
              <p:nvSpPr>
                <p:cNvPr id="8123" name="Vrije vorm: vorm 8122">
                  <a:extLst>
                    <a:ext uri="{FF2B5EF4-FFF2-40B4-BE49-F238E27FC236}">
                      <a16:creationId xmlns:a16="http://schemas.microsoft.com/office/drawing/2014/main" id="{2F02EB96-7613-4D60-85D9-91735B6E9F8B}"/>
                    </a:ext>
                  </a:extLst>
                </p:cNvPr>
                <p:cNvSpPr/>
                <p:nvPr/>
              </p:nvSpPr>
              <p:spPr>
                <a:xfrm>
                  <a:off x="4404402" y="4516142"/>
                  <a:ext cx="19377" cy="112198"/>
                </a:xfrm>
                <a:custGeom>
                  <a:avLst/>
                  <a:gdLst>
                    <a:gd name="connsiteX0" fmla="*/ 0 w 19377"/>
                    <a:gd name="connsiteY0" fmla="*/ 112198 h 112198"/>
                    <a:gd name="connsiteX1" fmla="*/ 19377 w 19377"/>
                    <a:gd name="connsiteY1" fmla="*/ 0 h 112198"/>
                  </a:gdLst>
                  <a:ahLst/>
                  <a:cxnLst>
                    <a:cxn ang="0">
                      <a:pos x="connsiteX0" y="connsiteY0"/>
                    </a:cxn>
                    <a:cxn ang="0">
                      <a:pos x="connsiteX1" y="connsiteY1"/>
                    </a:cxn>
                  </a:cxnLst>
                  <a:rect l="l" t="t" r="r" b="b"/>
                  <a:pathLst>
                    <a:path w="19377" h="112198">
                      <a:moveTo>
                        <a:pt x="0" y="112198"/>
                      </a:moveTo>
                      <a:cubicBezTo>
                        <a:pt x="5263" y="75477"/>
                        <a:pt x="11722" y="38038"/>
                        <a:pt x="19377" y="0"/>
                      </a:cubicBezTo>
                    </a:path>
                  </a:pathLst>
                </a:custGeom>
                <a:noFill/>
                <a:ln w="6350" cap="rnd">
                  <a:solidFill>
                    <a:schemeClr val="bg1">
                      <a:alpha val="40000"/>
                    </a:schemeClr>
                  </a:solidFill>
                  <a:prstDash val="solid"/>
                  <a:miter/>
                </a:ln>
              </p:spPr>
              <p:txBody>
                <a:bodyPr rtlCol="0" anchor="ctr"/>
                <a:lstStyle/>
                <a:p>
                  <a:endParaRPr lang="en-GB"/>
                </a:p>
              </p:txBody>
            </p:sp>
            <p:sp>
              <p:nvSpPr>
                <p:cNvPr id="8124" name="Vrije vorm: vorm 8123">
                  <a:extLst>
                    <a:ext uri="{FF2B5EF4-FFF2-40B4-BE49-F238E27FC236}">
                      <a16:creationId xmlns:a16="http://schemas.microsoft.com/office/drawing/2014/main" id="{C8BD9DAC-A279-4526-9F01-20E25B1D9842}"/>
                    </a:ext>
                  </a:extLst>
                </p:cNvPr>
                <p:cNvSpPr/>
                <p:nvPr/>
              </p:nvSpPr>
              <p:spPr>
                <a:xfrm>
                  <a:off x="4435083" y="4497124"/>
                  <a:ext cx="13097" cy="106815"/>
                </a:xfrm>
                <a:custGeom>
                  <a:avLst/>
                  <a:gdLst>
                    <a:gd name="connsiteX0" fmla="*/ 0 w 13097"/>
                    <a:gd name="connsiteY0" fmla="*/ 106816 h 106815"/>
                    <a:gd name="connsiteX1" fmla="*/ 13098 w 13097"/>
                    <a:gd name="connsiteY1" fmla="*/ 0 h 106815"/>
                  </a:gdLst>
                  <a:ahLst/>
                  <a:cxnLst>
                    <a:cxn ang="0">
                      <a:pos x="connsiteX0" y="connsiteY0"/>
                    </a:cxn>
                    <a:cxn ang="0">
                      <a:pos x="connsiteX1" y="connsiteY1"/>
                    </a:cxn>
                  </a:cxnLst>
                  <a:rect l="l" t="t" r="r" b="b"/>
                  <a:pathLst>
                    <a:path w="13097" h="106815">
                      <a:moveTo>
                        <a:pt x="0" y="106816"/>
                      </a:moveTo>
                      <a:cubicBezTo>
                        <a:pt x="3409" y="71709"/>
                        <a:pt x="7775" y="36124"/>
                        <a:pt x="13098" y="0"/>
                      </a:cubicBezTo>
                    </a:path>
                  </a:pathLst>
                </a:custGeom>
                <a:noFill/>
                <a:ln w="6350" cap="rnd">
                  <a:solidFill>
                    <a:schemeClr val="bg1">
                      <a:alpha val="40000"/>
                    </a:schemeClr>
                  </a:solidFill>
                  <a:prstDash val="solid"/>
                  <a:miter/>
                </a:ln>
              </p:spPr>
              <p:txBody>
                <a:bodyPr rtlCol="0" anchor="ctr"/>
                <a:lstStyle/>
                <a:p>
                  <a:endParaRPr lang="en-GB"/>
                </a:p>
              </p:txBody>
            </p:sp>
            <p:sp>
              <p:nvSpPr>
                <p:cNvPr id="8125" name="Vrije vorm: vorm 8124">
                  <a:extLst>
                    <a:ext uri="{FF2B5EF4-FFF2-40B4-BE49-F238E27FC236}">
                      <a16:creationId xmlns:a16="http://schemas.microsoft.com/office/drawing/2014/main" id="{B9157BA1-C8F2-4421-AC65-4D59B64A4E01}"/>
                    </a:ext>
                  </a:extLst>
                </p:cNvPr>
                <p:cNvSpPr/>
                <p:nvPr/>
              </p:nvSpPr>
              <p:spPr>
                <a:xfrm>
                  <a:off x="4464509" y="4478524"/>
                  <a:ext cx="7535" cy="102031"/>
                </a:xfrm>
                <a:custGeom>
                  <a:avLst/>
                  <a:gdLst>
                    <a:gd name="connsiteX0" fmla="*/ 0 w 7535"/>
                    <a:gd name="connsiteY0" fmla="*/ 102031 h 102031"/>
                    <a:gd name="connsiteX1" fmla="*/ 7535 w 7535"/>
                    <a:gd name="connsiteY1" fmla="*/ 0 h 102031"/>
                  </a:gdLst>
                  <a:ahLst/>
                  <a:cxnLst>
                    <a:cxn ang="0">
                      <a:pos x="connsiteX0" y="connsiteY0"/>
                    </a:cxn>
                    <a:cxn ang="0">
                      <a:pos x="connsiteX1" y="connsiteY1"/>
                    </a:cxn>
                  </a:cxnLst>
                  <a:rect l="l" t="t" r="r" b="b"/>
                  <a:pathLst>
                    <a:path w="7535" h="102031">
                      <a:moveTo>
                        <a:pt x="0" y="102031"/>
                      </a:moveTo>
                      <a:cubicBezTo>
                        <a:pt x="1734" y="68419"/>
                        <a:pt x="4246" y="34389"/>
                        <a:pt x="7535" y="0"/>
                      </a:cubicBezTo>
                    </a:path>
                  </a:pathLst>
                </a:custGeom>
                <a:noFill/>
                <a:ln w="6350" cap="rnd">
                  <a:solidFill>
                    <a:schemeClr val="bg1">
                      <a:alpha val="40000"/>
                    </a:schemeClr>
                  </a:solidFill>
                  <a:prstDash val="solid"/>
                  <a:miter/>
                </a:ln>
              </p:spPr>
              <p:txBody>
                <a:bodyPr rtlCol="0" anchor="ctr"/>
                <a:lstStyle/>
                <a:p>
                  <a:endParaRPr lang="en-GB"/>
                </a:p>
              </p:txBody>
            </p:sp>
            <p:sp>
              <p:nvSpPr>
                <p:cNvPr id="8126" name="Vrije vorm: vorm 8125">
                  <a:extLst>
                    <a:ext uri="{FF2B5EF4-FFF2-40B4-BE49-F238E27FC236}">
                      <a16:creationId xmlns:a16="http://schemas.microsoft.com/office/drawing/2014/main" id="{CCE024AA-65EB-4664-9B54-17D5C639F4F5}"/>
                    </a:ext>
                  </a:extLst>
                </p:cNvPr>
                <p:cNvSpPr/>
                <p:nvPr/>
              </p:nvSpPr>
              <p:spPr>
                <a:xfrm>
                  <a:off x="4472044" y="4474038"/>
                  <a:ext cx="5741" cy="100535"/>
                </a:xfrm>
                <a:custGeom>
                  <a:avLst/>
                  <a:gdLst>
                    <a:gd name="connsiteX0" fmla="*/ 0 w 5741"/>
                    <a:gd name="connsiteY0" fmla="*/ 100536 h 100535"/>
                    <a:gd name="connsiteX1" fmla="*/ 5742 w 5741"/>
                    <a:gd name="connsiteY1" fmla="*/ 0 h 100535"/>
                  </a:gdLst>
                  <a:ahLst/>
                  <a:cxnLst>
                    <a:cxn ang="0">
                      <a:pos x="connsiteX0" y="connsiteY0"/>
                    </a:cxn>
                    <a:cxn ang="0">
                      <a:pos x="connsiteX1" y="connsiteY1"/>
                    </a:cxn>
                  </a:cxnLst>
                  <a:rect l="l" t="t" r="r" b="b"/>
                  <a:pathLst>
                    <a:path w="5741" h="100535">
                      <a:moveTo>
                        <a:pt x="0" y="100536"/>
                      </a:moveTo>
                      <a:cubicBezTo>
                        <a:pt x="1196" y="67343"/>
                        <a:pt x="3110" y="33851"/>
                        <a:pt x="5742" y="0"/>
                      </a:cubicBezTo>
                    </a:path>
                  </a:pathLst>
                </a:custGeom>
                <a:noFill/>
                <a:ln w="6350" cap="rnd">
                  <a:solidFill>
                    <a:schemeClr val="bg1">
                      <a:alpha val="40000"/>
                    </a:schemeClr>
                  </a:solidFill>
                  <a:prstDash val="solid"/>
                  <a:miter/>
                </a:ln>
              </p:spPr>
              <p:txBody>
                <a:bodyPr rtlCol="0" anchor="ctr"/>
                <a:lstStyle/>
                <a:p>
                  <a:endParaRPr lang="en-GB"/>
                </a:p>
              </p:txBody>
            </p:sp>
            <p:sp>
              <p:nvSpPr>
                <p:cNvPr id="8127" name="Vrije vorm: vorm 8126">
                  <a:extLst>
                    <a:ext uri="{FF2B5EF4-FFF2-40B4-BE49-F238E27FC236}">
                      <a16:creationId xmlns:a16="http://schemas.microsoft.com/office/drawing/2014/main" id="{19190577-265A-4617-8233-F0E86CDCCDDC}"/>
                    </a:ext>
                  </a:extLst>
                </p:cNvPr>
                <p:cNvSpPr/>
                <p:nvPr/>
              </p:nvSpPr>
              <p:spPr>
                <a:xfrm>
                  <a:off x="4213019" y="4778517"/>
                  <a:ext cx="33372" cy="27571"/>
                </a:xfrm>
                <a:custGeom>
                  <a:avLst/>
                  <a:gdLst>
                    <a:gd name="connsiteX0" fmla="*/ 0 w 33372"/>
                    <a:gd name="connsiteY0" fmla="*/ 27571 h 27571"/>
                    <a:gd name="connsiteX1" fmla="*/ 33373 w 33372"/>
                    <a:gd name="connsiteY1" fmla="*/ 0 h 27571"/>
                  </a:gdLst>
                  <a:ahLst/>
                  <a:cxnLst>
                    <a:cxn ang="0">
                      <a:pos x="connsiteX0" y="connsiteY0"/>
                    </a:cxn>
                    <a:cxn ang="0">
                      <a:pos x="connsiteX1" y="connsiteY1"/>
                    </a:cxn>
                  </a:cxnLst>
                  <a:rect l="l" t="t" r="r" b="b"/>
                  <a:pathLst>
                    <a:path w="33372" h="27571">
                      <a:moveTo>
                        <a:pt x="0" y="27571"/>
                      </a:moveTo>
                      <a:cubicBezTo>
                        <a:pt x="10586" y="18779"/>
                        <a:pt x="21710" y="9569"/>
                        <a:pt x="33373" y="0"/>
                      </a:cubicBezTo>
                    </a:path>
                  </a:pathLst>
                </a:custGeom>
                <a:noFill/>
                <a:ln w="6350" cap="rnd">
                  <a:solidFill>
                    <a:schemeClr val="bg1">
                      <a:alpha val="40000"/>
                    </a:schemeClr>
                  </a:solidFill>
                  <a:prstDash val="solid"/>
                  <a:miter/>
                </a:ln>
              </p:spPr>
              <p:txBody>
                <a:bodyPr rtlCol="0" anchor="ctr"/>
                <a:lstStyle/>
                <a:p>
                  <a:endParaRPr lang="en-GB"/>
                </a:p>
              </p:txBody>
            </p:sp>
            <p:sp>
              <p:nvSpPr>
                <p:cNvPr id="8128" name="Vrije vorm: vorm 8127">
                  <a:extLst>
                    <a:ext uri="{FF2B5EF4-FFF2-40B4-BE49-F238E27FC236}">
                      <a16:creationId xmlns:a16="http://schemas.microsoft.com/office/drawing/2014/main" id="{93E6BE49-4790-4DA7-BB3A-38B2B20EFADF}"/>
                    </a:ext>
                  </a:extLst>
                </p:cNvPr>
                <p:cNvSpPr/>
                <p:nvPr/>
              </p:nvSpPr>
              <p:spPr>
                <a:xfrm>
                  <a:off x="4239215" y="4785395"/>
                  <a:ext cx="33192" cy="27272"/>
                </a:xfrm>
                <a:custGeom>
                  <a:avLst/>
                  <a:gdLst>
                    <a:gd name="connsiteX0" fmla="*/ 0 w 33192"/>
                    <a:gd name="connsiteY0" fmla="*/ 27272 h 27272"/>
                    <a:gd name="connsiteX1" fmla="*/ 33193 w 33192"/>
                    <a:gd name="connsiteY1" fmla="*/ 0 h 27272"/>
                  </a:gdLst>
                  <a:ahLst/>
                  <a:cxnLst>
                    <a:cxn ang="0">
                      <a:pos x="connsiteX0" y="connsiteY0"/>
                    </a:cxn>
                    <a:cxn ang="0">
                      <a:pos x="connsiteX1" y="connsiteY1"/>
                    </a:cxn>
                  </a:cxnLst>
                  <a:rect l="l" t="t" r="r" b="b"/>
                  <a:pathLst>
                    <a:path w="33192" h="27272">
                      <a:moveTo>
                        <a:pt x="0" y="27272"/>
                      </a:moveTo>
                      <a:cubicBezTo>
                        <a:pt x="10586" y="18540"/>
                        <a:pt x="21650" y="9450"/>
                        <a:pt x="33193" y="0"/>
                      </a:cubicBezTo>
                    </a:path>
                  </a:pathLst>
                </a:custGeom>
                <a:noFill/>
                <a:ln w="6350" cap="rnd">
                  <a:solidFill>
                    <a:schemeClr val="bg1">
                      <a:alpha val="40000"/>
                    </a:schemeClr>
                  </a:solidFill>
                  <a:prstDash val="solid"/>
                  <a:miter/>
                </a:ln>
              </p:spPr>
              <p:txBody>
                <a:bodyPr rtlCol="0" anchor="ctr"/>
                <a:lstStyle/>
                <a:p>
                  <a:endParaRPr lang="en-GB"/>
                </a:p>
              </p:txBody>
            </p:sp>
            <p:sp>
              <p:nvSpPr>
                <p:cNvPr id="8129" name="Vrije vorm: vorm 8128">
                  <a:extLst>
                    <a:ext uri="{FF2B5EF4-FFF2-40B4-BE49-F238E27FC236}">
                      <a16:creationId xmlns:a16="http://schemas.microsoft.com/office/drawing/2014/main" id="{17EC02EA-80AB-42BC-84A7-BED6F48AA893}"/>
                    </a:ext>
                  </a:extLst>
                </p:cNvPr>
                <p:cNvSpPr/>
                <p:nvPr/>
              </p:nvSpPr>
              <p:spPr>
                <a:xfrm>
                  <a:off x="4290350" y="4743589"/>
                  <a:ext cx="33432" cy="27152"/>
                </a:xfrm>
                <a:custGeom>
                  <a:avLst/>
                  <a:gdLst>
                    <a:gd name="connsiteX0" fmla="*/ 0 w 33432"/>
                    <a:gd name="connsiteY0" fmla="*/ 27152 h 27152"/>
                    <a:gd name="connsiteX1" fmla="*/ 33432 w 33432"/>
                    <a:gd name="connsiteY1" fmla="*/ 0 h 27152"/>
                  </a:gdLst>
                  <a:ahLst/>
                  <a:cxnLst>
                    <a:cxn ang="0">
                      <a:pos x="connsiteX0" y="connsiteY0"/>
                    </a:cxn>
                    <a:cxn ang="0">
                      <a:pos x="connsiteX1" y="connsiteY1"/>
                    </a:cxn>
                  </a:cxnLst>
                  <a:rect l="l" t="t" r="r" b="b"/>
                  <a:pathLst>
                    <a:path w="33432" h="27152">
                      <a:moveTo>
                        <a:pt x="0" y="27152"/>
                      </a:moveTo>
                      <a:cubicBezTo>
                        <a:pt x="10766" y="18361"/>
                        <a:pt x="21950" y="9330"/>
                        <a:pt x="33432" y="0"/>
                      </a:cubicBezTo>
                    </a:path>
                  </a:pathLst>
                </a:custGeom>
                <a:noFill/>
                <a:ln w="6350" cap="rnd">
                  <a:solidFill>
                    <a:schemeClr val="bg1">
                      <a:alpha val="40000"/>
                    </a:schemeClr>
                  </a:solidFill>
                  <a:prstDash val="solid"/>
                  <a:miter/>
                </a:ln>
              </p:spPr>
              <p:txBody>
                <a:bodyPr rtlCol="0" anchor="ctr"/>
                <a:lstStyle/>
                <a:p>
                  <a:endParaRPr lang="en-GB"/>
                </a:p>
              </p:txBody>
            </p:sp>
            <p:sp>
              <p:nvSpPr>
                <p:cNvPr id="8130" name="Vrije vorm: vorm 8129">
                  <a:extLst>
                    <a:ext uri="{FF2B5EF4-FFF2-40B4-BE49-F238E27FC236}">
                      <a16:creationId xmlns:a16="http://schemas.microsoft.com/office/drawing/2014/main" id="{4969B008-6F76-47AC-9D97-5038597F2B3E}"/>
                    </a:ext>
                  </a:extLst>
                </p:cNvPr>
                <p:cNvSpPr/>
                <p:nvPr/>
              </p:nvSpPr>
              <p:spPr>
                <a:xfrm>
                  <a:off x="4342681" y="4698794"/>
                  <a:ext cx="36542" cy="29484"/>
                </a:xfrm>
                <a:custGeom>
                  <a:avLst/>
                  <a:gdLst>
                    <a:gd name="connsiteX0" fmla="*/ 0 w 36542"/>
                    <a:gd name="connsiteY0" fmla="*/ 29485 h 29484"/>
                    <a:gd name="connsiteX1" fmla="*/ 36542 w 36542"/>
                    <a:gd name="connsiteY1" fmla="*/ 0 h 29484"/>
                  </a:gdLst>
                  <a:ahLst/>
                  <a:cxnLst>
                    <a:cxn ang="0">
                      <a:pos x="connsiteX0" y="connsiteY0"/>
                    </a:cxn>
                    <a:cxn ang="0">
                      <a:pos x="connsiteX1" y="connsiteY1"/>
                    </a:cxn>
                  </a:cxnLst>
                  <a:rect l="l" t="t" r="r" b="b"/>
                  <a:pathLst>
                    <a:path w="36542" h="29484">
                      <a:moveTo>
                        <a:pt x="0" y="29485"/>
                      </a:moveTo>
                      <a:cubicBezTo>
                        <a:pt x="11842" y="19916"/>
                        <a:pt x="24043" y="10107"/>
                        <a:pt x="36542" y="0"/>
                      </a:cubicBezTo>
                    </a:path>
                  </a:pathLst>
                </a:custGeom>
                <a:noFill/>
                <a:ln w="6350" cap="rnd">
                  <a:solidFill>
                    <a:schemeClr val="bg1">
                      <a:alpha val="40000"/>
                    </a:schemeClr>
                  </a:solidFill>
                  <a:prstDash val="solid"/>
                  <a:miter/>
                </a:ln>
              </p:spPr>
              <p:txBody>
                <a:bodyPr rtlCol="0" anchor="ctr"/>
                <a:lstStyle/>
                <a:p>
                  <a:endParaRPr lang="en-GB"/>
                </a:p>
              </p:txBody>
            </p:sp>
            <p:sp>
              <p:nvSpPr>
                <p:cNvPr id="8131" name="Vrije vorm: vorm 8130">
                  <a:extLst>
                    <a:ext uri="{FF2B5EF4-FFF2-40B4-BE49-F238E27FC236}">
                      <a16:creationId xmlns:a16="http://schemas.microsoft.com/office/drawing/2014/main" id="{25E5DC86-9861-46D6-BCD3-9287E7A33C3B}"/>
                    </a:ext>
                  </a:extLst>
                </p:cNvPr>
                <p:cNvSpPr/>
                <p:nvPr/>
              </p:nvSpPr>
              <p:spPr>
                <a:xfrm>
                  <a:off x="4399797" y="4650769"/>
                  <a:ext cx="39233" cy="31518"/>
                </a:xfrm>
                <a:custGeom>
                  <a:avLst/>
                  <a:gdLst>
                    <a:gd name="connsiteX0" fmla="*/ 0 w 39233"/>
                    <a:gd name="connsiteY0" fmla="*/ 31519 h 31518"/>
                    <a:gd name="connsiteX1" fmla="*/ 39234 w 39233"/>
                    <a:gd name="connsiteY1" fmla="*/ 0 h 31518"/>
                  </a:gdLst>
                  <a:ahLst/>
                  <a:cxnLst>
                    <a:cxn ang="0">
                      <a:pos x="connsiteX0" y="connsiteY0"/>
                    </a:cxn>
                    <a:cxn ang="0">
                      <a:pos x="connsiteX1" y="connsiteY1"/>
                    </a:cxn>
                  </a:cxnLst>
                  <a:rect l="l" t="t" r="r" b="b"/>
                  <a:pathLst>
                    <a:path w="39233" h="31518">
                      <a:moveTo>
                        <a:pt x="0" y="31519"/>
                      </a:moveTo>
                      <a:cubicBezTo>
                        <a:pt x="12798" y="21232"/>
                        <a:pt x="25896" y="10706"/>
                        <a:pt x="39234" y="0"/>
                      </a:cubicBezTo>
                    </a:path>
                  </a:pathLst>
                </a:custGeom>
                <a:noFill/>
                <a:ln w="6350" cap="rnd">
                  <a:solidFill>
                    <a:schemeClr val="bg1">
                      <a:alpha val="40000"/>
                    </a:schemeClr>
                  </a:solidFill>
                  <a:prstDash val="solid"/>
                  <a:miter/>
                </a:ln>
              </p:spPr>
              <p:txBody>
                <a:bodyPr rtlCol="0" anchor="ctr"/>
                <a:lstStyle/>
                <a:p>
                  <a:endParaRPr lang="en-GB"/>
                </a:p>
              </p:txBody>
            </p:sp>
            <p:sp>
              <p:nvSpPr>
                <p:cNvPr id="8132" name="Vrije vorm: vorm 8131">
                  <a:extLst>
                    <a:ext uri="{FF2B5EF4-FFF2-40B4-BE49-F238E27FC236}">
                      <a16:creationId xmlns:a16="http://schemas.microsoft.com/office/drawing/2014/main" id="{D6708954-2711-40DD-9F82-0EE4BE761AB8}"/>
                    </a:ext>
                  </a:extLst>
                </p:cNvPr>
                <p:cNvSpPr/>
                <p:nvPr/>
              </p:nvSpPr>
              <p:spPr>
                <a:xfrm>
                  <a:off x="4458946" y="4600710"/>
                  <a:ext cx="42582" cy="34090"/>
                </a:xfrm>
                <a:custGeom>
                  <a:avLst/>
                  <a:gdLst>
                    <a:gd name="connsiteX0" fmla="*/ 0 w 42582"/>
                    <a:gd name="connsiteY0" fmla="*/ 34090 h 34090"/>
                    <a:gd name="connsiteX1" fmla="*/ 42583 w 42582"/>
                    <a:gd name="connsiteY1" fmla="*/ 0 h 34090"/>
                  </a:gdLst>
                  <a:ahLst/>
                  <a:cxnLst>
                    <a:cxn ang="0">
                      <a:pos x="connsiteX0" y="connsiteY0"/>
                    </a:cxn>
                    <a:cxn ang="0">
                      <a:pos x="connsiteX1" y="connsiteY1"/>
                    </a:cxn>
                  </a:cxnLst>
                  <a:rect l="l" t="t" r="r" b="b"/>
                  <a:pathLst>
                    <a:path w="42582" h="34090">
                      <a:moveTo>
                        <a:pt x="0" y="34090"/>
                      </a:moveTo>
                      <a:cubicBezTo>
                        <a:pt x="13935" y="22906"/>
                        <a:pt x="28109" y="11543"/>
                        <a:pt x="42583" y="0"/>
                      </a:cubicBezTo>
                    </a:path>
                  </a:pathLst>
                </a:custGeom>
                <a:noFill/>
                <a:ln w="6350" cap="rnd">
                  <a:solidFill>
                    <a:schemeClr val="bg1">
                      <a:alpha val="40000"/>
                    </a:schemeClr>
                  </a:solidFill>
                  <a:prstDash val="solid"/>
                  <a:miter/>
                </a:ln>
              </p:spPr>
              <p:txBody>
                <a:bodyPr rtlCol="0" anchor="ctr"/>
                <a:lstStyle/>
                <a:p>
                  <a:endParaRPr lang="en-GB"/>
                </a:p>
              </p:txBody>
            </p:sp>
            <p:sp>
              <p:nvSpPr>
                <p:cNvPr id="8133" name="Vrije vorm: vorm 8132">
                  <a:extLst>
                    <a:ext uri="{FF2B5EF4-FFF2-40B4-BE49-F238E27FC236}">
                      <a16:creationId xmlns:a16="http://schemas.microsoft.com/office/drawing/2014/main" id="{43C40271-6E57-491C-9704-592C82C4AB33}"/>
                    </a:ext>
                  </a:extLst>
                </p:cNvPr>
                <p:cNvSpPr/>
                <p:nvPr/>
              </p:nvSpPr>
              <p:spPr>
                <a:xfrm>
                  <a:off x="4526050" y="4546106"/>
                  <a:ext cx="43659" cy="34927"/>
                </a:xfrm>
                <a:custGeom>
                  <a:avLst/>
                  <a:gdLst>
                    <a:gd name="connsiteX0" fmla="*/ 0 w 43659"/>
                    <a:gd name="connsiteY0" fmla="*/ 34928 h 34927"/>
                    <a:gd name="connsiteX1" fmla="*/ 43659 w 43659"/>
                    <a:gd name="connsiteY1" fmla="*/ 0 h 34927"/>
                  </a:gdLst>
                  <a:ahLst/>
                  <a:cxnLst>
                    <a:cxn ang="0">
                      <a:pos x="connsiteX0" y="connsiteY0"/>
                    </a:cxn>
                    <a:cxn ang="0">
                      <a:pos x="connsiteX1" y="connsiteY1"/>
                    </a:cxn>
                  </a:cxnLst>
                  <a:rect l="l" t="t" r="r" b="b"/>
                  <a:pathLst>
                    <a:path w="43659" h="34927">
                      <a:moveTo>
                        <a:pt x="0" y="34928"/>
                      </a:moveTo>
                      <a:cubicBezTo>
                        <a:pt x="14354" y="23445"/>
                        <a:pt x="28946" y="11782"/>
                        <a:pt x="43659" y="0"/>
                      </a:cubicBezTo>
                    </a:path>
                  </a:pathLst>
                </a:custGeom>
                <a:noFill/>
                <a:ln w="6350" cap="rnd">
                  <a:solidFill>
                    <a:schemeClr val="bg1">
                      <a:alpha val="40000"/>
                    </a:schemeClr>
                  </a:solidFill>
                  <a:prstDash val="solid"/>
                  <a:miter/>
                </a:ln>
              </p:spPr>
              <p:txBody>
                <a:bodyPr rtlCol="0" anchor="ctr"/>
                <a:lstStyle/>
                <a:p>
                  <a:endParaRPr lang="en-GB"/>
                </a:p>
              </p:txBody>
            </p:sp>
            <p:sp>
              <p:nvSpPr>
                <p:cNvPr id="8134" name="Vrije vorm: vorm 8133">
                  <a:extLst>
                    <a:ext uri="{FF2B5EF4-FFF2-40B4-BE49-F238E27FC236}">
                      <a16:creationId xmlns:a16="http://schemas.microsoft.com/office/drawing/2014/main" id="{2F3656CA-D81B-401C-8BF7-235D64751DD5}"/>
                    </a:ext>
                  </a:extLst>
                </p:cNvPr>
                <p:cNvSpPr/>
                <p:nvPr/>
              </p:nvSpPr>
              <p:spPr>
                <a:xfrm>
                  <a:off x="4263018" y="4792273"/>
                  <a:ext cx="32475" cy="26554"/>
                </a:xfrm>
                <a:custGeom>
                  <a:avLst/>
                  <a:gdLst>
                    <a:gd name="connsiteX0" fmla="*/ 0 w 32475"/>
                    <a:gd name="connsiteY0" fmla="*/ 26554 h 26554"/>
                    <a:gd name="connsiteX1" fmla="*/ 32475 w 32475"/>
                    <a:gd name="connsiteY1" fmla="*/ 0 h 26554"/>
                  </a:gdLst>
                  <a:ahLst/>
                  <a:cxnLst>
                    <a:cxn ang="0">
                      <a:pos x="connsiteX0" y="connsiteY0"/>
                    </a:cxn>
                    <a:cxn ang="0">
                      <a:pos x="connsiteX1" y="connsiteY1"/>
                    </a:cxn>
                  </a:cxnLst>
                  <a:rect l="l" t="t" r="r" b="b"/>
                  <a:pathLst>
                    <a:path w="32475" h="26554">
                      <a:moveTo>
                        <a:pt x="0" y="26554"/>
                      </a:moveTo>
                      <a:cubicBezTo>
                        <a:pt x="10347" y="18062"/>
                        <a:pt x="21172" y="9210"/>
                        <a:pt x="32475" y="0"/>
                      </a:cubicBezTo>
                    </a:path>
                  </a:pathLst>
                </a:custGeom>
                <a:noFill/>
                <a:ln w="6350" cap="rnd">
                  <a:solidFill>
                    <a:schemeClr val="bg1">
                      <a:alpha val="40000"/>
                    </a:schemeClr>
                  </a:solidFill>
                  <a:prstDash val="solid"/>
                  <a:miter/>
                </a:ln>
              </p:spPr>
              <p:txBody>
                <a:bodyPr rtlCol="0" anchor="ctr"/>
                <a:lstStyle/>
                <a:p>
                  <a:endParaRPr lang="en-GB"/>
                </a:p>
              </p:txBody>
            </p:sp>
            <p:sp>
              <p:nvSpPr>
                <p:cNvPr id="8135" name="Vrije vorm: vorm 8134">
                  <a:extLst>
                    <a:ext uri="{FF2B5EF4-FFF2-40B4-BE49-F238E27FC236}">
                      <a16:creationId xmlns:a16="http://schemas.microsoft.com/office/drawing/2014/main" id="{250551BC-3E9A-4485-9FFA-6275156FE222}"/>
                    </a:ext>
                  </a:extLst>
                </p:cNvPr>
                <p:cNvSpPr/>
                <p:nvPr/>
              </p:nvSpPr>
              <p:spPr>
                <a:xfrm>
                  <a:off x="4314153" y="4750826"/>
                  <a:ext cx="32295" cy="26195"/>
                </a:xfrm>
                <a:custGeom>
                  <a:avLst/>
                  <a:gdLst>
                    <a:gd name="connsiteX0" fmla="*/ 0 w 32295"/>
                    <a:gd name="connsiteY0" fmla="*/ 26196 h 26195"/>
                    <a:gd name="connsiteX1" fmla="*/ 32296 w 32295"/>
                    <a:gd name="connsiteY1" fmla="*/ 0 h 26195"/>
                  </a:gdLst>
                  <a:ahLst/>
                  <a:cxnLst>
                    <a:cxn ang="0">
                      <a:pos x="connsiteX0" y="connsiteY0"/>
                    </a:cxn>
                    <a:cxn ang="0">
                      <a:pos x="connsiteX1" y="connsiteY1"/>
                    </a:cxn>
                  </a:cxnLst>
                  <a:rect l="l" t="t" r="r" b="b"/>
                  <a:pathLst>
                    <a:path w="32295" h="26195">
                      <a:moveTo>
                        <a:pt x="0" y="26196"/>
                      </a:moveTo>
                      <a:cubicBezTo>
                        <a:pt x="10466" y="17703"/>
                        <a:pt x="21172" y="8971"/>
                        <a:pt x="32296" y="0"/>
                      </a:cubicBezTo>
                    </a:path>
                  </a:pathLst>
                </a:custGeom>
                <a:noFill/>
                <a:ln w="6350" cap="rnd">
                  <a:solidFill>
                    <a:schemeClr val="bg1">
                      <a:alpha val="40000"/>
                    </a:schemeClr>
                  </a:solidFill>
                  <a:prstDash val="solid"/>
                  <a:miter/>
                </a:ln>
              </p:spPr>
              <p:txBody>
                <a:bodyPr rtlCol="0" anchor="ctr"/>
                <a:lstStyle/>
                <a:p>
                  <a:endParaRPr lang="en-GB"/>
                </a:p>
              </p:txBody>
            </p:sp>
            <p:sp>
              <p:nvSpPr>
                <p:cNvPr id="8136" name="Vrije vorm: vorm 8135">
                  <a:extLst>
                    <a:ext uri="{FF2B5EF4-FFF2-40B4-BE49-F238E27FC236}">
                      <a16:creationId xmlns:a16="http://schemas.microsoft.com/office/drawing/2014/main" id="{362FCB0F-194D-49B0-8A58-6ACA3F5D9FF0}"/>
                    </a:ext>
                  </a:extLst>
                </p:cNvPr>
                <p:cNvSpPr/>
                <p:nvPr/>
              </p:nvSpPr>
              <p:spPr>
                <a:xfrm>
                  <a:off x="4365468" y="4706150"/>
                  <a:ext cx="36183" cy="29245"/>
                </a:xfrm>
                <a:custGeom>
                  <a:avLst/>
                  <a:gdLst>
                    <a:gd name="connsiteX0" fmla="*/ 0 w 36183"/>
                    <a:gd name="connsiteY0" fmla="*/ 29246 h 29245"/>
                    <a:gd name="connsiteX1" fmla="*/ 36184 w 36183"/>
                    <a:gd name="connsiteY1" fmla="*/ 0 h 29245"/>
                  </a:gdLst>
                  <a:ahLst/>
                  <a:cxnLst>
                    <a:cxn ang="0">
                      <a:pos x="connsiteX0" y="connsiteY0"/>
                    </a:cxn>
                    <a:cxn ang="0">
                      <a:pos x="connsiteX1" y="connsiteY1"/>
                    </a:cxn>
                  </a:cxnLst>
                  <a:rect l="l" t="t" r="r" b="b"/>
                  <a:pathLst>
                    <a:path w="36183" h="29245">
                      <a:moveTo>
                        <a:pt x="0" y="29246"/>
                      </a:moveTo>
                      <a:cubicBezTo>
                        <a:pt x="11782" y="19736"/>
                        <a:pt x="23863" y="9988"/>
                        <a:pt x="36184" y="0"/>
                      </a:cubicBezTo>
                    </a:path>
                  </a:pathLst>
                </a:custGeom>
                <a:noFill/>
                <a:ln w="6350" cap="rnd">
                  <a:solidFill>
                    <a:schemeClr val="bg1">
                      <a:alpha val="40000"/>
                    </a:schemeClr>
                  </a:solidFill>
                  <a:prstDash val="solid"/>
                  <a:miter/>
                </a:ln>
              </p:spPr>
              <p:txBody>
                <a:bodyPr rtlCol="0" anchor="ctr"/>
                <a:lstStyle/>
                <a:p>
                  <a:endParaRPr lang="en-GB"/>
                </a:p>
              </p:txBody>
            </p:sp>
            <p:sp>
              <p:nvSpPr>
                <p:cNvPr id="8137" name="Vrije vorm: vorm 8136">
                  <a:extLst>
                    <a:ext uri="{FF2B5EF4-FFF2-40B4-BE49-F238E27FC236}">
                      <a16:creationId xmlns:a16="http://schemas.microsoft.com/office/drawing/2014/main" id="{34911578-F66A-43E8-9467-2136DE9D9F5E}"/>
                    </a:ext>
                  </a:extLst>
                </p:cNvPr>
                <p:cNvSpPr/>
                <p:nvPr/>
              </p:nvSpPr>
              <p:spPr>
                <a:xfrm>
                  <a:off x="4420610" y="4659202"/>
                  <a:ext cx="39293" cy="31697"/>
                </a:xfrm>
                <a:custGeom>
                  <a:avLst/>
                  <a:gdLst>
                    <a:gd name="connsiteX0" fmla="*/ 0 w 39293"/>
                    <a:gd name="connsiteY0" fmla="*/ 31698 h 31697"/>
                    <a:gd name="connsiteX1" fmla="*/ 39293 w 39293"/>
                    <a:gd name="connsiteY1" fmla="*/ 0 h 31697"/>
                  </a:gdLst>
                  <a:ahLst/>
                  <a:cxnLst>
                    <a:cxn ang="0">
                      <a:pos x="connsiteX0" y="connsiteY0"/>
                    </a:cxn>
                    <a:cxn ang="0">
                      <a:pos x="connsiteX1" y="connsiteY1"/>
                    </a:cxn>
                  </a:cxnLst>
                  <a:rect l="l" t="t" r="r" b="b"/>
                  <a:pathLst>
                    <a:path w="39293" h="31697">
                      <a:moveTo>
                        <a:pt x="0" y="31698"/>
                      </a:moveTo>
                      <a:cubicBezTo>
                        <a:pt x="12859" y="21351"/>
                        <a:pt x="25956" y="10765"/>
                        <a:pt x="39293" y="0"/>
                      </a:cubicBezTo>
                    </a:path>
                  </a:pathLst>
                </a:custGeom>
                <a:noFill/>
                <a:ln w="6350" cap="rnd">
                  <a:solidFill>
                    <a:schemeClr val="bg1">
                      <a:alpha val="40000"/>
                    </a:schemeClr>
                  </a:solidFill>
                  <a:prstDash val="solid"/>
                  <a:miter/>
                </a:ln>
              </p:spPr>
              <p:txBody>
                <a:bodyPr rtlCol="0" anchor="ctr"/>
                <a:lstStyle/>
                <a:p>
                  <a:endParaRPr lang="en-GB"/>
                </a:p>
              </p:txBody>
            </p:sp>
            <p:sp>
              <p:nvSpPr>
                <p:cNvPr id="8138" name="Vrije vorm: vorm 8137">
                  <a:extLst>
                    <a:ext uri="{FF2B5EF4-FFF2-40B4-BE49-F238E27FC236}">
                      <a16:creationId xmlns:a16="http://schemas.microsoft.com/office/drawing/2014/main" id="{F4D4D161-E0FF-46A8-9623-8A888D2A1171}"/>
                    </a:ext>
                  </a:extLst>
                </p:cNvPr>
                <p:cNvSpPr/>
                <p:nvPr/>
              </p:nvSpPr>
              <p:spPr>
                <a:xfrm>
                  <a:off x="4479281" y="4610459"/>
                  <a:ext cx="41267" cy="33192"/>
                </a:xfrm>
                <a:custGeom>
                  <a:avLst/>
                  <a:gdLst>
                    <a:gd name="connsiteX0" fmla="*/ 0 w 41267"/>
                    <a:gd name="connsiteY0" fmla="*/ 33193 h 33192"/>
                    <a:gd name="connsiteX1" fmla="*/ 41267 w 41267"/>
                    <a:gd name="connsiteY1" fmla="*/ 0 h 33192"/>
                  </a:gdLst>
                  <a:ahLst/>
                  <a:cxnLst>
                    <a:cxn ang="0">
                      <a:pos x="connsiteX0" y="connsiteY0"/>
                    </a:cxn>
                    <a:cxn ang="0">
                      <a:pos x="connsiteX1" y="connsiteY1"/>
                    </a:cxn>
                  </a:cxnLst>
                  <a:rect l="l" t="t" r="r" b="b"/>
                  <a:pathLst>
                    <a:path w="41267" h="33192">
                      <a:moveTo>
                        <a:pt x="0" y="33193"/>
                      </a:moveTo>
                      <a:cubicBezTo>
                        <a:pt x="13516" y="22308"/>
                        <a:pt x="27272" y="11244"/>
                        <a:pt x="41267" y="0"/>
                      </a:cubicBezTo>
                    </a:path>
                  </a:pathLst>
                </a:custGeom>
                <a:noFill/>
                <a:ln w="6350" cap="rnd">
                  <a:solidFill>
                    <a:schemeClr val="bg1">
                      <a:alpha val="40000"/>
                    </a:schemeClr>
                  </a:solidFill>
                  <a:prstDash val="solid"/>
                  <a:miter/>
                </a:ln>
              </p:spPr>
              <p:txBody>
                <a:bodyPr rtlCol="0" anchor="ctr"/>
                <a:lstStyle/>
                <a:p>
                  <a:endParaRPr lang="en-GB"/>
                </a:p>
              </p:txBody>
            </p:sp>
            <p:sp>
              <p:nvSpPr>
                <p:cNvPr id="8139" name="Vrije vorm: vorm 8138">
                  <a:extLst>
                    <a:ext uri="{FF2B5EF4-FFF2-40B4-BE49-F238E27FC236}">
                      <a16:creationId xmlns:a16="http://schemas.microsoft.com/office/drawing/2014/main" id="{56C28268-D6BA-43B6-A60C-B87578B95EBC}"/>
                    </a:ext>
                  </a:extLst>
                </p:cNvPr>
                <p:cNvSpPr/>
                <p:nvPr/>
              </p:nvSpPr>
              <p:spPr>
                <a:xfrm>
                  <a:off x="4544889" y="4556812"/>
                  <a:ext cx="42403" cy="34089"/>
                </a:xfrm>
                <a:custGeom>
                  <a:avLst/>
                  <a:gdLst>
                    <a:gd name="connsiteX0" fmla="*/ 0 w 42403"/>
                    <a:gd name="connsiteY0" fmla="*/ 34090 h 34089"/>
                    <a:gd name="connsiteX1" fmla="*/ 42403 w 42403"/>
                    <a:gd name="connsiteY1" fmla="*/ 0 h 34089"/>
                  </a:gdLst>
                  <a:ahLst/>
                  <a:cxnLst>
                    <a:cxn ang="0">
                      <a:pos x="connsiteX0" y="connsiteY0"/>
                    </a:cxn>
                    <a:cxn ang="0">
                      <a:pos x="connsiteX1" y="connsiteY1"/>
                    </a:cxn>
                  </a:cxnLst>
                  <a:rect l="l" t="t" r="r" b="b"/>
                  <a:pathLst>
                    <a:path w="42403" h="34089">
                      <a:moveTo>
                        <a:pt x="0" y="34090"/>
                      </a:moveTo>
                      <a:cubicBezTo>
                        <a:pt x="13935" y="22906"/>
                        <a:pt x="28109" y="11543"/>
                        <a:pt x="42403" y="0"/>
                      </a:cubicBezTo>
                    </a:path>
                  </a:pathLst>
                </a:custGeom>
                <a:noFill/>
                <a:ln w="6350" cap="rnd">
                  <a:solidFill>
                    <a:schemeClr val="bg1">
                      <a:alpha val="40000"/>
                    </a:schemeClr>
                  </a:solidFill>
                  <a:prstDash val="solid"/>
                  <a:miter/>
                </a:ln>
              </p:spPr>
              <p:txBody>
                <a:bodyPr rtlCol="0" anchor="ctr"/>
                <a:lstStyle/>
                <a:p>
                  <a:endParaRPr lang="en-GB"/>
                </a:p>
              </p:txBody>
            </p:sp>
            <p:sp>
              <p:nvSpPr>
                <p:cNvPr id="8140" name="Vrije vorm: vorm 8139">
                  <a:extLst>
                    <a:ext uri="{FF2B5EF4-FFF2-40B4-BE49-F238E27FC236}">
                      <a16:creationId xmlns:a16="http://schemas.microsoft.com/office/drawing/2014/main" id="{F54D3FAC-D314-4DD6-9AC7-E331016B1DDC}"/>
                    </a:ext>
                  </a:extLst>
                </p:cNvPr>
                <p:cNvSpPr/>
                <p:nvPr/>
              </p:nvSpPr>
              <p:spPr>
                <a:xfrm>
                  <a:off x="4288974" y="4798313"/>
                  <a:ext cx="31757" cy="25896"/>
                </a:xfrm>
                <a:custGeom>
                  <a:avLst/>
                  <a:gdLst>
                    <a:gd name="connsiteX0" fmla="*/ 0 w 31757"/>
                    <a:gd name="connsiteY0" fmla="*/ 25896 h 25896"/>
                    <a:gd name="connsiteX1" fmla="*/ 31758 w 31757"/>
                    <a:gd name="connsiteY1" fmla="*/ 0 h 25896"/>
                  </a:gdLst>
                  <a:ahLst/>
                  <a:cxnLst>
                    <a:cxn ang="0">
                      <a:pos x="connsiteX0" y="connsiteY0"/>
                    </a:cxn>
                    <a:cxn ang="0">
                      <a:pos x="connsiteX1" y="connsiteY1"/>
                    </a:cxn>
                  </a:cxnLst>
                  <a:rect l="l" t="t" r="r" b="b"/>
                  <a:pathLst>
                    <a:path w="31757" h="25896">
                      <a:moveTo>
                        <a:pt x="0" y="25896"/>
                      </a:moveTo>
                      <a:cubicBezTo>
                        <a:pt x="10167" y="17583"/>
                        <a:pt x="20813" y="8911"/>
                        <a:pt x="31758" y="0"/>
                      </a:cubicBezTo>
                    </a:path>
                  </a:pathLst>
                </a:custGeom>
                <a:noFill/>
                <a:ln w="6350" cap="rnd">
                  <a:solidFill>
                    <a:schemeClr val="bg1">
                      <a:alpha val="40000"/>
                    </a:schemeClr>
                  </a:solidFill>
                  <a:prstDash val="solid"/>
                  <a:miter/>
                </a:ln>
              </p:spPr>
              <p:txBody>
                <a:bodyPr rtlCol="0" anchor="ctr"/>
                <a:lstStyle/>
                <a:p>
                  <a:endParaRPr lang="en-GB"/>
                </a:p>
              </p:txBody>
            </p:sp>
            <p:sp>
              <p:nvSpPr>
                <p:cNvPr id="8141" name="Vrije vorm: vorm 8140">
                  <a:extLst>
                    <a:ext uri="{FF2B5EF4-FFF2-40B4-BE49-F238E27FC236}">
                      <a16:creationId xmlns:a16="http://schemas.microsoft.com/office/drawing/2014/main" id="{4C91D432-3326-48B3-85AF-5883E381B63B}"/>
                    </a:ext>
                  </a:extLst>
                </p:cNvPr>
                <p:cNvSpPr/>
                <p:nvPr/>
              </p:nvSpPr>
              <p:spPr>
                <a:xfrm>
                  <a:off x="4338375" y="4757883"/>
                  <a:ext cx="32116" cy="26075"/>
                </a:xfrm>
                <a:custGeom>
                  <a:avLst/>
                  <a:gdLst>
                    <a:gd name="connsiteX0" fmla="*/ 0 w 32116"/>
                    <a:gd name="connsiteY0" fmla="*/ 26076 h 26075"/>
                    <a:gd name="connsiteX1" fmla="*/ 32116 w 32116"/>
                    <a:gd name="connsiteY1" fmla="*/ 0 h 26075"/>
                  </a:gdLst>
                  <a:ahLst/>
                  <a:cxnLst>
                    <a:cxn ang="0">
                      <a:pos x="connsiteX0" y="connsiteY0"/>
                    </a:cxn>
                    <a:cxn ang="0">
                      <a:pos x="connsiteX1" y="connsiteY1"/>
                    </a:cxn>
                  </a:cxnLst>
                  <a:rect l="l" t="t" r="r" b="b"/>
                  <a:pathLst>
                    <a:path w="32116" h="26075">
                      <a:moveTo>
                        <a:pt x="0" y="26076"/>
                      </a:moveTo>
                      <a:cubicBezTo>
                        <a:pt x="10406" y="17643"/>
                        <a:pt x="21112" y="8911"/>
                        <a:pt x="32116" y="0"/>
                      </a:cubicBezTo>
                    </a:path>
                  </a:pathLst>
                </a:custGeom>
                <a:noFill/>
                <a:ln w="6350" cap="rnd">
                  <a:solidFill>
                    <a:schemeClr val="bg1">
                      <a:alpha val="40000"/>
                    </a:schemeClr>
                  </a:solidFill>
                  <a:prstDash val="solid"/>
                  <a:miter/>
                </a:ln>
              </p:spPr>
              <p:txBody>
                <a:bodyPr rtlCol="0" anchor="ctr"/>
                <a:lstStyle/>
                <a:p>
                  <a:endParaRPr lang="en-GB"/>
                </a:p>
              </p:txBody>
            </p:sp>
            <p:sp>
              <p:nvSpPr>
                <p:cNvPr id="8142" name="Vrije vorm: vorm 8141">
                  <a:extLst>
                    <a:ext uri="{FF2B5EF4-FFF2-40B4-BE49-F238E27FC236}">
                      <a16:creationId xmlns:a16="http://schemas.microsoft.com/office/drawing/2014/main" id="{F306F7B4-3B8C-4993-A40D-1A16A7AC9A6C}"/>
                    </a:ext>
                  </a:extLst>
                </p:cNvPr>
                <p:cNvSpPr/>
                <p:nvPr/>
              </p:nvSpPr>
              <p:spPr>
                <a:xfrm>
                  <a:off x="4389570" y="4713865"/>
                  <a:ext cx="35345" cy="28587"/>
                </a:xfrm>
                <a:custGeom>
                  <a:avLst/>
                  <a:gdLst>
                    <a:gd name="connsiteX0" fmla="*/ 0 w 35345"/>
                    <a:gd name="connsiteY0" fmla="*/ 28588 h 28587"/>
                    <a:gd name="connsiteX1" fmla="*/ 35346 w 35345"/>
                    <a:gd name="connsiteY1" fmla="*/ 0 h 28587"/>
                  </a:gdLst>
                  <a:ahLst/>
                  <a:cxnLst>
                    <a:cxn ang="0">
                      <a:pos x="connsiteX0" y="connsiteY0"/>
                    </a:cxn>
                    <a:cxn ang="0">
                      <a:pos x="connsiteX1" y="connsiteY1"/>
                    </a:cxn>
                  </a:cxnLst>
                  <a:rect l="l" t="t" r="r" b="b"/>
                  <a:pathLst>
                    <a:path w="35345" h="28587">
                      <a:moveTo>
                        <a:pt x="0" y="28588"/>
                      </a:moveTo>
                      <a:cubicBezTo>
                        <a:pt x="11483" y="19258"/>
                        <a:pt x="23265" y="9748"/>
                        <a:pt x="35346" y="0"/>
                      </a:cubicBezTo>
                    </a:path>
                  </a:pathLst>
                </a:custGeom>
                <a:noFill/>
                <a:ln w="6350" cap="rnd">
                  <a:solidFill>
                    <a:schemeClr val="bg1">
                      <a:alpha val="40000"/>
                    </a:schemeClr>
                  </a:solidFill>
                  <a:prstDash val="solid"/>
                  <a:miter/>
                </a:ln>
              </p:spPr>
              <p:txBody>
                <a:bodyPr rtlCol="0" anchor="ctr"/>
                <a:lstStyle/>
                <a:p>
                  <a:endParaRPr lang="en-GB"/>
                </a:p>
              </p:txBody>
            </p:sp>
            <p:sp>
              <p:nvSpPr>
                <p:cNvPr id="8143" name="Vrije vorm: vorm 8142">
                  <a:extLst>
                    <a:ext uri="{FF2B5EF4-FFF2-40B4-BE49-F238E27FC236}">
                      <a16:creationId xmlns:a16="http://schemas.microsoft.com/office/drawing/2014/main" id="{97A86764-41E2-4D0D-9AFD-F2A458596A2B}"/>
                    </a:ext>
                  </a:extLst>
                </p:cNvPr>
                <p:cNvSpPr/>
                <p:nvPr/>
              </p:nvSpPr>
              <p:spPr>
                <a:xfrm>
                  <a:off x="4442799" y="4668472"/>
                  <a:ext cx="38216" cy="30860"/>
                </a:xfrm>
                <a:custGeom>
                  <a:avLst/>
                  <a:gdLst>
                    <a:gd name="connsiteX0" fmla="*/ 0 w 38216"/>
                    <a:gd name="connsiteY0" fmla="*/ 30860 h 30860"/>
                    <a:gd name="connsiteX1" fmla="*/ 38217 w 38216"/>
                    <a:gd name="connsiteY1" fmla="*/ 0 h 30860"/>
                  </a:gdLst>
                  <a:ahLst/>
                  <a:cxnLst>
                    <a:cxn ang="0">
                      <a:pos x="connsiteX0" y="connsiteY0"/>
                    </a:cxn>
                    <a:cxn ang="0">
                      <a:pos x="connsiteX1" y="connsiteY1"/>
                    </a:cxn>
                  </a:cxnLst>
                  <a:rect l="l" t="t" r="r" b="b"/>
                  <a:pathLst>
                    <a:path w="38216" h="30860">
                      <a:moveTo>
                        <a:pt x="0" y="30860"/>
                      </a:moveTo>
                      <a:cubicBezTo>
                        <a:pt x="12500" y="20753"/>
                        <a:pt x="25238" y="10466"/>
                        <a:pt x="38217" y="0"/>
                      </a:cubicBezTo>
                    </a:path>
                  </a:pathLst>
                </a:custGeom>
                <a:noFill/>
                <a:ln w="6350" cap="rnd">
                  <a:solidFill>
                    <a:schemeClr val="bg1">
                      <a:alpha val="40000"/>
                    </a:schemeClr>
                  </a:solidFill>
                  <a:prstDash val="solid"/>
                  <a:miter/>
                </a:ln>
              </p:spPr>
              <p:txBody>
                <a:bodyPr rtlCol="0" anchor="ctr"/>
                <a:lstStyle/>
                <a:p>
                  <a:endParaRPr lang="en-GB"/>
                </a:p>
              </p:txBody>
            </p:sp>
            <p:sp>
              <p:nvSpPr>
                <p:cNvPr id="8144" name="Vrije vorm: vorm 8143">
                  <a:extLst>
                    <a:ext uri="{FF2B5EF4-FFF2-40B4-BE49-F238E27FC236}">
                      <a16:creationId xmlns:a16="http://schemas.microsoft.com/office/drawing/2014/main" id="{8B52348E-5271-4D26-8E1B-01C90D82D007}"/>
                    </a:ext>
                  </a:extLst>
                </p:cNvPr>
                <p:cNvSpPr/>
                <p:nvPr/>
              </p:nvSpPr>
              <p:spPr>
                <a:xfrm>
                  <a:off x="4499675" y="4620626"/>
                  <a:ext cx="40609" cy="32774"/>
                </a:xfrm>
                <a:custGeom>
                  <a:avLst/>
                  <a:gdLst>
                    <a:gd name="connsiteX0" fmla="*/ 0 w 40609"/>
                    <a:gd name="connsiteY0" fmla="*/ 32774 h 32774"/>
                    <a:gd name="connsiteX1" fmla="*/ 40609 w 40609"/>
                    <a:gd name="connsiteY1" fmla="*/ 0 h 32774"/>
                  </a:gdLst>
                  <a:ahLst/>
                  <a:cxnLst>
                    <a:cxn ang="0">
                      <a:pos x="connsiteX0" y="connsiteY0"/>
                    </a:cxn>
                    <a:cxn ang="0">
                      <a:pos x="connsiteX1" y="connsiteY1"/>
                    </a:cxn>
                  </a:cxnLst>
                  <a:rect l="l" t="t" r="r" b="b"/>
                  <a:pathLst>
                    <a:path w="40609" h="32774">
                      <a:moveTo>
                        <a:pt x="0" y="32774"/>
                      </a:moveTo>
                      <a:cubicBezTo>
                        <a:pt x="13337" y="22009"/>
                        <a:pt x="26854" y="11064"/>
                        <a:pt x="40609" y="0"/>
                      </a:cubicBezTo>
                    </a:path>
                  </a:pathLst>
                </a:custGeom>
                <a:noFill/>
                <a:ln w="6350" cap="rnd">
                  <a:solidFill>
                    <a:schemeClr val="bg1">
                      <a:alpha val="40000"/>
                    </a:schemeClr>
                  </a:solidFill>
                  <a:prstDash val="solid"/>
                  <a:miter/>
                </a:ln>
              </p:spPr>
              <p:txBody>
                <a:bodyPr rtlCol="0" anchor="ctr"/>
                <a:lstStyle/>
                <a:p>
                  <a:endParaRPr lang="en-GB"/>
                </a:p>
              </p:txBody>
            </p:sp>
            <p:sp>
              <p:nvSpPr>
                <p:cNvPr id="8145" name="Vrije vorm: vorm 8144">
                  <a:extLst>
                    <a:ext uri="{FF2B5EF4-FFF2-40B4-BE49-F238E27FC236}">
                      <a16:creationId xmlns:a16="http://schemas.microsoft.com/office/drawing/2014/main" id="{C3EA2E68-53A3-4392-90ED-35E40492F955}"/>
                    </a:ext>
                  </a:extLst>
                </p:cNvPr>
                <p:cNvSpPr/>
                <p:nvPr/>
              </p:nvSpPr>
              <p:spPr>
                <a:xfrm>
                  <a:off x="4564327" y="4568474"/>
                  <a:ext cx="40489" cy="32714"/>
                </a:xfrm>
                <a:custGeom>
                  <a:avLst/>
                  <a:gdLst>
                    <a:gd name="connsiteX0" fmla="*/ 0 w 40489"/>
                    <a:gd name="connsiteY0" fmla="*/ 32715 h 32714"/>
                    <a:gd name="connsiteX1" fmla="*/ 40490 w 40489"/>
                    <a:gd name="connsiteY1" fmla="*/ 0 h 32714"/>
                  </a:gdLst>
                  <a:ahLst/>
                  <a:cxnLst>
                    <a:cxn ang="0">
                      <a:pos x="connsiteX0" y="connsiteY0"/>
                    </a:cxn>
                    <a:cxn ang="0">
                      <a:pos x="connsiteX1" y="connsiteY1"/>
                    </a:cxn>
                  </a:cxnLst>
                  <a:rect l="l" t="t" r="r" b="b"/>
                  <a:pathLst>
                    <a:path w="40489" h="32714">
                      <a:moveTo>
                        <a:pt x="0" y="32715"/>
                      </a:moveTo>
                      <a:cubicBezTo>
                        <a:pt x="13337" y="21950"/>
                        <a:pt x="26854" y="11065"/>
                        <a:pt x="40490" y="0"/>
                      </a:cubicBezTo>
                    </a:path>
                  </a:pathLst>
                </a:custGeom>
                <a:noFill/>
                <a:ln w="6350" cap="rnd">
                  <a:solidFill>
                    <a:schemeClr val="bg1">
                      <a:alpha val="40000"/>
                    </a:schemeClr>
                  </a:solidFill>
                  <a:prstDash val="solid"/>
                  <a:miter/>
                </a:ln>
              </p:spPr>
              <p:txBody>
                <a:bodyPr rtlCol="0" anchor="ctr"/>
                <a:lstStyle/>
                <a:p>
                  <a:endParaRPr lang="en-GB"/>
                </a:p>
              </p:txBody>
            </p:sp>
            <p:sp>
              <p:nvSpPr>
                <p:cNvPr id="8146" name="Vrije vorm: vorm 8145">
                  <a:extLst>
                    <a:ext uri="{FF2B5EF4-FFF2-40B4-BE49-F238E27FC236}">
                      <a16:creationId xmlns:a16="http://schemas.microsoft.com/office/drawing/2014/main" id="{1A7C7A4D-EE38-4A91-A76B-6938F8F37494}"/>
                    </a:ext>
                  </a:extLst>
                </p:cNvPr>
                <p:cNvSpPr/>
                <p:nvPr/>
              </p:nvSpPr>
              <p:spPr>
                <a:xfrm>
                  <a:off x="4311821" y="4804653"/>
                  <a:ext cx="30860" cy="25118"/>
                </a:xfrm>
                <a:custGeom>
                  <a:avLst/>
                  <a:gdLst>
                    <a:gd name="connsiteX0" fmla="*/ 0 w 30860"/>
                    <a:gd name="connsiteY0" fmla="*/ 25119 h 25118"/>
                    <a:gd name="connsiteX1" fmla="*/ 30860 w 30860"/>
                    <a:gd name="connsiteY1" fmla="*/ 0 h 25118"/>
                  </a:gdLst>
                  <a:ahLst/>
                  <a:cxnLst>
                    <a:cxn ang="0">
                      <a:pos x="connsiteX0" y="connsiteY0"/>
                    </a:cxn>
                    <a:cxn ang="0">
                      <a:pos x="connsiteX1" y="connsiteY1"/>
                    </a:cxn>
                  </a:cxnLst>
                  <a:rect l="l" t="t" r="r" b="b"/>
                  <a:pathLst>
                    <a:path w="30860" h="25118">
                      <a:moveTo>
                        <a:pt x="0" y="25119"/>
                      </a:moveTo>
                      <a:cubicBezTo>
                        <a:pt x="9928" y="17045"/>
                        <a:pt x="20275" y="8612"/>
                        <a:pt x="30860" y="0"/>
                      </a:cubicBezTo>
                    </a:path>
                  </a:pathLst>
                </a:custGeom>
                <a:noFill/>
                <a:ln w="6350" cap="rnd">
                  <a:solidFill>
                    <a:schemeClr val="bg1">
                      <a:alpha val="40000"/>
                    </a:schemeClr>
                  </a:solidFill>
                  <a:prstDash val="solid"/>
                  <a:miter/>
                </a:ln>
              </p:spPr>
              <p:txBody>
                <a:bodyPr rtlCol="0" anchor="ctr"/>
                <a:lstStyle/>
                <a:p>
                  <a:endParaRPr lang="en-GB"/>
                </a:p>
              </p:txBody>
            </p:sp>
            <p:sp>
              <p:nvSpPr>
                <p:cNvPr id="8147" name="Vrije vorm: vorm 8146">
                  <a:extLst>
                    <a:ext uri="{FF2B5EF4-FFF2-40B4-BE49-F238E27FC236}">
                      <a16:creationId xmlns:a16="http://schemas.microsoft.com/office/drawing/2014/main" id="{555E26B9-625F-414A-933D-A424C63A2728}"/>
                    </a:ext>
                  </a:extLst>
                </p:cNvPr>
                <p:cNvSpPr/>
                <p:nvPr/>
              </p:nvSpPr>
              <p:spPr>
                <a:xfrm>
                  <a:off x="4360623" y="4763266"/>
                  <a:ext cx="33073" cy="26853"/>
                </a:xfrm>
                <a:custGeom>
                  <a:avLst/>
                  <a:gdLst>
                    <a:gd name="connsiteX0" fmla="*/ 0 w 33073"/>
                    <a:gd name="connsiteY0" fmla="*/ 26854 h 26853"/>
                    <a:gd name="connsiteX1" fmla="*/ 33074 w 33073"/>
                    <a:gd name="connsiteY1" fmla="*/ 0 h 26853"/>
                  </a:gdLst>
                  <a:ahLst/>
                  <a:cxnLst>
                    <a:cxn ang="0">
                      <a:pos x="connsiteX0" y="connsiteY0"/>
                    </a:cxn>
                    <a:cxn ang="0">
                      <a:pos x="connsiteX1" y="connsiteY1"/>
                    </a:cxn>
                  </a:cxnLst>
                  <a:rect l="l" t="t" r="r" b="b"/>
                  <a:pathLst>
                    <a:path w="33073" h="26853">
                      <a:moveTo>
                        <a:pt x="0" y="26854"/>
                      </a:moveTo>
                      <a:cubicBezTo>
                        <a:pt x="10706" y="18122"/>
                        <a:pt x="21710" y="9211"/>
                        <a:pt x="33074" y="0"/>
                      </a:cubicBezTo>
                    </a:path>
                  </a:pathLst>
                </a:custGeom>
                <a:noFill/>
                <a:ln w="6350" cap="rnd">
                  <a:solidFill>
                    <a:schemeClr val="bg1">
                      <a:alpha val="40000"/>
                    </a:schemeClr>
                  </a:solidFill>
                  <a:prstDash val="solid"/>
                  <a:miter/>
                </a:ln>
              </p:spPr>
              <p:txBody>
                <a:bodyPr rtlCol="0" anchor="ctr"/>
                <a:lstStyle/>
                <a:p>
                  <a:endParaRPr lang="en-GB"/>
                </a:p>
              </p:txBody>
            </p:sp>
            <p:sp>
              <p:nvSpPr>
                <p:cNvPr id="8148" name="Vrije vorm: vorm 8147">
                  <a:extLst>
                    <a:ext uri="{FF2B5EF4-FFF2-40B4-BE49-F238E27FC236}">
                      <a16:creationId xmlns:a16="http://schemas.microsoft.com/office/drawing/2014/main" id="{7AB58C34-DE9A-4596-A228-98891DC30CEF}"/>
                    </a:ext>
                  </a:extLst>
                </p:cNvPr>
                <p:cNvSpPr/>
                <p:nvPr/>
              </p:nvSpPr>
              <p:spPr>
                <a:xfrm>
                  <a:off x="4411220" y="4721042"/>
                  <a:ext cx="34389" cy="27930"/>
                </a:xfrm>
                <a:custGeom>
                  <a:avLst/>
                  <a:gdLst>
                    <a:gd name="connsiteX0" fmla="*/ 0 w 34389"/>
                    <a:gd name="connsiteY0" fmla="*/ 27930 h 27930"/>
                    <a:gd name="connsiteX1" fmla="*/ 34389 w 34389"/>
                    <a:gd name="connsiteY1" fmla="*/ 0 h 27930"/>
                  </a:gdLst>
                  <a:ahLst/>
                  <a:cxnLst>
                    <a:cxn ang="0">
                      <a:pos x="connsiteX0" y="connsiteY0"/>
                    </a:cxn>
                    <a:cxn ang="0">
                      <a:pos x="connsiteX1" y="connsiteY1"/>
                    </a:cxn>
                  </a:cxnLst>
                  <a:rect l="l" t="t" r="r" b="b"/>
                  <a:pathLst>
                    <a:path w="34389" h="27930">
                      <a:moveTo>
                        <a:pt x="0" y="27930"/>
                      </a:moveTo>
                      <a:cubicBezTo>
                        <a:pt x="11244" y="18839"/>
                        <a:pt x="22667" y="9510"/>
                        <a:pt x="34389" y="0"/>
                      </a:cubicBezTo>
                    </a:path>
                  </a:pathLst>
                </a:custGeom>
                <a:noFill/>
                <a:ln w="6350" cap="rnd">
                  <a:solidFill>
                    <a:schemeClr val="bg1">
                      <a:alpha val="40000"/>
                    </a:schemeClr>
                  </a:solidFill>
                  <a:prstDash val="solid"/>
                  <a:miter/>
                </a:ln>
              </p:spPr>
              <p:txBody>
                <a:bodyPr rtlCol="0" anchor="ctr"/>
                <a:lstStyle/>
                <a:p>
                  <a:endParaRPr lang="en-GB"/>
                </a:p>
              </p:txBody>
            </p:sp>
            <p:sp>
              <p:nvSpPr>
                <p:cNvPr id="8149" name="Vrije vorm: vorm 8148">
                  <a:extLst>
                    <a:ext uri="{FF2B5EF4-FFF2-40B4-BE49-F238E27FC236}">
                      <a16:creationId xmlns:a16="http://schemas.microsoft.com/office/drawing/2014/main" id="{22DBDA42-7CEC-45A2-BA98-C9095A03016E}"/>
                    </a:ext>
                  </a:extLst>
                </p:cNvPr>
                <p:cNvSpPr/>
                <p:nvPr/>
              </p:nvSpPr>
              <p:spPr>
                <a:xfrm>
                  <a:off x="4463492" y="4676964"/>
                  <a:ext cx="36482" cy="29604"/>
                </a:xfrm>
                <a:custGeom>
                  <a:avLst/>
                  <a:gdLst>
                    <a:gd name="connsiteX0" fmla="*/ 0 w 36482"/>
                    <a:gd name="connsiteY0" fmla="*/ 29605 h 29604"/>
                    <a:gd name="connsiteX1" fmla="*/ 36483 w 36482"/>
                    <a:gd name="connsiteY1" fmla="*/ 0 h 29604"/>
                  </a:gdLst>
                  <a:ahLst/>
                  <a:cxnLst>
                    <a:cxn ang="0">
                      <a:pos x="connsiteX0" y="connsiteY0"/>
                    </a:cxn>
                    <a:cxn ang="0">
                      <a:pos x="connsiteX1" y="connsiteY1"/>
                    </a:cxn>
                  </a:cxnLst>
                  <a:rect l="l" t="t" r="r" b="b"/>
                  <a:pathLst>
                    <a:path w="36482" h="29604">
                      <a:moveTo>
                        <a:pt x="0" y="29605"/>
                      </a:moveTo>
                      <a:cubicBezTo>
                        <a:pt x="11961" y="19916"/>
                        <a:pt x="24102" y="10048"/>
                        <a:pt x="36483" y="0"/>
                      </a:cubicBezTo>
                    </a:path>
                  </a:pathLst>
                </a:custGeom>
                <a:noFill/>
                <a:ln w="6350" cap="rnd">
                  <a:solidFill>
                    <a:schemeClr val="bg1">
                      <a:alpha val="40000"/>
                    </a:schemeClr>
                  </a:solidFill>
                  <a:prstDash val="solid"/>
                  <a:miter/>
                </a:ln>
              </p:spPr>
              <p:txBody>
                <a:bodyPr rtlCol="0" anchor="ctr"/>
                <a:lstStyle/>
                <a:p>
                  <a:endParaRPr lang="en-GB"/>
                </a:p>
              </p:txBody>
            </p:sp>
            <p:sp>
              <p:nvSpPr>
                <p:cNvPr id="8150" name="Vrije vorm: vorm 8149">
                  <a:extLst>
                    <a:ext uri="{FF2B5EF4-FFF2-40B4-BE49-F238E27FC236}">
                      <a16:creationId xmlns:a16="http://schemas.microsoft.com/office/drawing/2014/main" id="{471C5A02-EFAB-4F69-9C7D-AD6338B5CE6D}"/>
                    </a:ext>
                  </a:extLst>
                </p:cNvPr>
                <p:cNvSpPr/>
                <p:nvPr/>
              </p:nvSpPr>
              <p:spPr>
                <a:xfrm>
                  <a:off x="4518276" y="4630255"/>
                  <a:ext cx="39293" cy="31877"/>
                </a:xfrm>
                <a:custGeom>
                  <a:avLst/>
                  <a:gdLst>
                    <a:gd name="connsiteX0" fmla="*/ 0 w 39293"/>
                    <a:gd name="connsiteY0" fmla="*/ 31877 h 31877"/>
                    <a:gd name="connsiteX1" fmla="*/ 39293 w 39293"/>
                    <a:gd name="connsiteY1" fmla="*/ 0 h 31877"/>
                  </a:gdLst>
                  <a:ahLst/>
                  <a:cxnLst>
                    <a:cxn ang="0">
                      <a:pos x="connsiteX0" y="connsiteY0"/>
                    </a:cxn>
                    <a:cxn ang="0">
                      <a:pos x="connsiteX1" y="connsiteY1"/>
                    </a:cxn>
                  </a:cxnLst>
                  <a:rect l="l" t="t" r="r" b="b"/>
                  <a:pathLst>
                    <a:path w="39293" h="31877">
                      <a:moveTo>
                        <a:pt x="0" y="31877"/>
                      </a:moveTo>
                      <a:cubicBezTo>
                        <a:pt x="12918" y="21411"/>
                        <a:pt x="26016" y="10765"/>
                        <a:pt x="39293" y="0"/>
                      </a:cubicBezTo>
                    </a:path>
                  </a:pathLst>
                </a:custGeom>
                <a:noFill/>
                <a:ln w="6350" cap="rnd">
                  <a:solidFill>
                    <a:schemeClr val="bg1">
                      <a:alpha val="40000"/>
                    </a:schemeClr>
                  </a:solidFill>
                  <a:prstDash val="solid"/>
                  <a:miter/>
                </a:ln>
              </p:spPr>
              <p:txBody>
                <a:bodyPr rtlCol="0" anchor="ctr"/>
                <a:lstStyle/>
                <a:p>
                  <a:endParaRPr lang="en-GB"/>
                </a:p>
              </p:txBody>
            </p:sp>
            <p:sp>
              <p:nvSpPr>
                <p:cNvPr id="8151" name="Vrije vorm: vorm 8150">
                  <a:extLst>
                    <a:ext uri="{FF2B5EF4-FFF2-40B4-BE49-F238E27FC236}">
                      <a16:creationId xmlns:a16="http://schemas.microsoft.com/office/drawing/2014/main" id="{2D021D56-06E3-42DC-B58F-66D9D91E9A55}"/>
                    </a:ext>
                  </a:extLst>
                </p:cNvPr>
                <p:cNvSpPr/>
                <p:nvPr/>
              </p:nvSpPr>
              <p:spPr>
                <a:xfrm>
                  <a:off x="4581851" y="4580076"/>
                  <a:ext cx="37618" cy="30501"/>
                </a:xfrm>
                <a:custGeom>
                  <a:avLst/>
                  <a:gdLst>
                    <a:gd name="connsiteX0" fmla="*/ 0 w 37618"/>
                    <a:gd name="connsiteY0" fmla="*/ 30502 h 30501"/>
                    <a:gd name="connsiteX1" fmla="*/ 37619 w 37618"/>
                    <a:gd name="connsiteY1" fmla="*/ 0 h 30501"/>
                  </a:gdLst>
                  <a:ahLst/>
                  <a:cxnLst>
                    <a:cxn ang="0">
                      <a:pos x="connsiteX0" y="connsiteY0"/>
                    </a:cxn>
                    <a:cxn ang="0">
                      <a:pos x="connsiteX1" y="connsiteY1"/>
                    </a:cxn>
                  </a:cxnLst>
                  <a:rect l="l" t="t" r="r" b="b"/>
                  <a:pathLst>
                    <a:path w="37618" h="30501">
                      <a:moveTo>
                        <a:pt x="0" y="30502"/>
                      </a:moveTo>
                      <a:cubicBezTo>
                        <a:pt x="12380" y="20454"/>
                        <a:pt x="24940" y="10287"/>
                        <a:pt x="37619" y="0"/>
                      </a:cubicBezTo>
                    </a:path>
                  </a:pathLst>
                </a:custGeom>
                <a:noFill/>
                <a:ln w="6350" cap="rnd">
                  <a:solidFill>
                    <a:schemeClr val="bg1">
                      <a:alpha val="40000"/>
                    </a:schemeClr>
                  </a:solidFill>
                  <a:prstDash val="solid"/>
                  <a:miter/>
                </a:ln>
              </p:spPr>
              <p:txBody>
                <a:bodyPr rtlCol="0" anchor="ctr"/>
                <a:lstStyle/>
                <a:p>
                  <a:endParaRPr lang="en-GB"/>
                </a:p>
              </p:txBody>
            </p:sp>
            <p:sp>
              <p:nvSpPr>
                <p:cNvPr id="8152" name="Vrije vorm: vorm 8151">
                  <a:extLst>
                    <a:ext uri="{FF2B5EF4-FFF2-40B4-BE49-F238E27FC236}">
                      <a16:creationId xmlns:a16="http://schemas.microsoft.com/office/drawing/2014/main" id="{0551D03E-B521-4316-AB23-783116748173}"/>
                    </a:ext>
                  </a:extLst>
                </p:cNvPr>
                <p:cNvSpPr/>
                <p:nvPr/>
              </p:nvSpPr>
              <p:spPr>
                <a:xfrm>
                  <a:off x="4329464" y="4809138"/>
                  <a:ext cx="31338" cy="25477"/>
                </a:xfrm>
                <a:custGeom>
                  <a:avLst/>
                  <a:gdLst>
                    <a:gd name="connsiteX0" fmla="*/ 0 w 31338"/>
                    <a:gd name="connsiteY0" fmla="*/ 25478 h 25477"/>
                    <a:gd name="connsiteX1" fmla="*/ 31339 w 31338"/>
                    <a:gd name="connsiteY1" fmla="*/ 0 h 25477"/>
                  </a:gdLst>
                  <a:ahLst/>
                  <a:cxnLst>
                    <a:cxn ang="0">
                      <a:pos x="connsiteX0" y="connsiteY0"/>
                    </a:cxn>
                    <a:cxn ang="0">
                      <a:pos x="connsiteX1" y="connsiteY1"/>
                    </a:cxn>
                  </a:cxnLst>
                  <a:rect l="l" t="t" r="r" b="b"/>
                  <a:pathLst>
                    <a:path w="31338" h="25477">
                      <a:moveTo>
                        <a:pt x="0" y="25478"/>
                      </a:moveTo>
                      <a:cubicBezTo>
                        <a:pt x="10107" y="17284"/>
                        <a:pt x="20514" y="8791"/>
                        <a:pt x="31339" y="0"/>
                      </a:cubicBezTo>
                    </a:path>
                  </a:pathLst>
                </a:custGeom>
                <a:noFill/>
                <a:ln w="6350" cap="rnd">
                  <a:solidFill>
                    <a:schemeClr val="bg1">
                      <a:alpha val="40000"/>
                    </a:schemeClr>
                  </a:solidFill>
                  <a:prstDash val="solid"/>
                  <a:miter/>
                </a:ln>
              </p:spPr>
              <p:txBody>
                <a:bodyPr rtlCol="0" anchor="ctr"/>
                <a:lstStyle/>
                <a:p>
                  <a:endParaRPr lang="en-GB"/>
                </a:p>
              </p:txBody>
            </p:sp>
            <p:sp>
              <p:nvSpPr>
                <p:cNvPr id="8153" name="Vrije vorm: vorm 8152">
                  <a:extLst>
                    <a:ext uri="{FF2B5EF4-FFF2-40B4-BE49-F238E27FC236}">
                      <a16:creationId xmlns:a16="http://schemas.microsoft.com/office/drawing/2014/main" id="{569392DF-F9E3-4793-A8F7-D59CC613626E}"/>
                    </a:ext>
                  </a:extLst>
                </p:cNvPr>
                <p:cNvSpPr/>
                <p:nvPr/>
              </p:nvSpPr>
              <p:spPr>
                <a:xfrm>
                  <a:off x="4377310" y="4768649"/>
                  <a:ext cx="33312" cy="27092"/>
                </a:xfrm>
                <a:custGeom>
                  <a:avLst/>
                  <a:gdLst>
                    <a:gd name="connsiteX0" fmla="*/ 0 w 33312"/>
                    <a:gd name="connsiteY0" fmla="*/ 27092 h 27092"/>
                    <a:gd name="connsiteX1" fmla="*/ 33313 w 33312"/>
                    <a:gd name="connsiteY1" fmla="*/ 0 h 27092"/>
                  </a:gdLst>
                  <a:ahLst/>
                  <a:cxnLst>
                    <a:cxn ang="0">
                      <a:pos x="connsiteX0" y="connsiteY0"/>
                    </a:cxn>
                    <a:cxn ang="0">
                      <a:pos x="connsiteX1" y="connsiteY1"/>
                    </a:cxn>
                  </a:cxnLst>
                  <a:rect l="l" t="t" r="r" b="b"/>
                  <a:pathLst>
                    <a:path w="33312" h="27092">
                      <a:moveTo>
                        <a:pt x="0" y="27092"/>
                      </a:moveTo>
                      <a:cubicBezTo>
                        <a:pt x="10825" y="18301"/>
                        <a:pt x="21889" y="9270"/>
                        <a:pt x="33313" y="0"/>
                      </a:cubicBezTo>
                    </a:path>
                  </a:pathLst>
                </a:custGeom>
                <a:noFill/>
                <a:ln w="6350" cap="rnd">
                  <a:solidFill>
                    <a:schemeClr val="bg1">
                      <a:alpha val="40000"/>
                    </a:schemeClr>
                  </a:solidFill>
                  <a:prstDash val="solid"/>
                  <a:miter/>
                </a:ln>
              </p:spPr>
              <p:txBody>
                <a:bodyPr rtlCol="0" anchor="ctr"/>
                <a:lstStyle/>
                <a:p>
                  <a:endParaRPr lang="en-GB"/>
                </a:p>
              </p:txBody>
            </p:sp>
            <p:sp>
              <p:nvSpPr>
                <p:cNvPr id="8154" name="Vrije vorm: vorm 8153">
                  <a:extLst>
                    <a:ext uri="{FF2B5EF4-FFF2-40B4-BE49-F238E27FC236}">
                      <a16:creationId xmlns:a16="http://schemas.microsoft.com/office/drawing/2014/main" id="{DBADC069-B7CE-487C-8A24-CA6B8A7B3CB9}"/>
                    </a:ext>
                  </a:extLst>
                </p:cNvPr>
                <p:cNvSpPr/>
                <p:nvPr/>
              </p:nvSpPr>
              <p:spPr>
                <a:xfrm>
                  <a:off x="4427727" y="4726604"/>
                  <a:ext cx="34568" cy="28109"/>
                </a:xfrm>
                <a:custGeom>
                  <a:avLst/>
                  <a:gdLst>
                    <a:gd name="connsiteX0" fmla="*/ 0 w 34568"/>
                    <a:gd name="connsiteY0" fmla="*/ 28109 h 28109"/>
                    <a:gd name="connsiteX1" fmla="*/ 34568 w 34568"/>
                    <a:gd name="connsiteY1" fmla="*/ 0 h 28109"/>
                  </a:gdLst>
                  <a:ahLst/>
                  <a:cxnLst>
                    <a:cxn ang="0">
                      <a:pos x="connsiteX0" y="connsiteY0"/>
                    </a:cxn>
                    <a:cxn ang="0">
                      <a:pos x="connsiteX1" y="connsiteY1"/>
                    </a:cxn>
                  </a:cxnLst>
                  <a:rect l="l" t="t" r="r" b="b"/>
                  <a:pathLst>
                    <a:path w="34568" h="28109">
                      <a:moveTo>
                        <a:pt x="0" y="28109"/>
                      </a:moveTo>
                      <a:cubicBezTo>
                        <a:pt x="11304" y="18959"/>
                        <a:pt x="22787" y="9569"/>
                        <a:pt x="34568" y="0"/>
                      </a:cubicBezTo>
                    </a:path>
                  </a:pathLst>
                </a:custGeom>
                <a:noFill/>
                <a:ln w="6350" cap="rnd">
                  <a:solidFill>
                    <a:schemeClr val="bg1">
                      <a:alpha val="40000"/>
                    </a:schemeClr>
                  </a:solidFill>
                  <a:prstDash val="solid"/>
                  <a:miter/>
                </a:ln>
              </p:spPr>
              <p:txBody>
                <a:bodyPr rtlCol="0" anchor="ctr"/>
                <a:lstStyle/>
                <a:p>
                  <a:endParaRPr lang="en-GB"/>
                </a:p>
              </p:txBody>
            </p:sp>
            <p:sp>
              <p:nvSpPr>
                <p:cNvPr id="8155" name="Vrije vorm: vorm 8154">
                  <a:extLst>
                    <a:ext uri="{FF2B5EF4-FFF2-40B4-BE49-F238E27FC236}">
                      <a16:creationId xmlns:a16="http://schemas.microsoft.com/office/drawing/2014/main" id="{526D5A6A-719B-4979-BF35-A99083D9F06A}"/>
                    </a:ext>
                  </a:extLst>
                </p:cNvPr>
                <p:cNvSpPr/>
                <p:nvPr/>
              </p:nvSpPr>
              <p:spPr>
                <a:xfrm>
                  <a:off x="4479580" y="4683782"/>
                  <a:ext cx="35346" cy="28767"/>
                </a:xfrm>
                <a:custGeom>
                  <a:avLst/>
                  <a:gdLst>
                    <a:gd name="connsiteX0" fmla="*/ 0 w 35346"/>
                    <a:gd name="connsiteY0" fmla="*/ 28767 h 28767"/>
                    <a:gd name="connsiteX1" fmla="*/ 35346 w 35346"/>
                    <a:gd name="connsiteY1" fmla="*/ 0 h 28767"/>
                  </a:gdLst>
                  <a:ahLst/>
                  <a:cxnLst>
                    <a:cxn ang="0">
                      <a:pos x="connsiteX0" y="connsiteY0"/>
                    </a:cxn>
                    <a:cxn ang="0">
                      <a:pos x="connsiteX1" y="connsiteY1"/>
                    </a:cxn>
                  </a:cxnLst>
                  <a:rect l="l" t="t" r="r" b="b"/>
                  <a:pathLst>
                    <a:path w="35346" h="28767">
                      <a:moveTo>
                        <a:pt x="0" y="28767"/>
                      </a:moveTo>
                      <a:cubicBezTo>
                        <a:pt x="11603" y="19377"/>
                        <a:pt x="23385" y="9749"/>
                        <a:pt x="35346" y="0"/>
                      </a:cubicBezTo>
                    </a:path>
                  </a:pathLst>
                </a:custGeom>
                <a:noFill/>
                <a:ln w="6350" cap="rnd">
                  <a:solidFill>
                    <a:schemeClr val="bg1">
                      <a:alpha val="40000"/>
                    </a:schemeClr>
                  </a:solidFill>
                  <a:prstDash val="solid"/>
                  <a:miter/>
                </a:ln>
              </p:spPr>
              <p:txBody>
                <a:bodyPr rtlCol="0" anchor="ctr"/>
                <a:lstStyle/>
                <a:p>
                  <a:endParaRPr lang="en-GB"/>
                </a:p>
              </p:txBody>
            </p:sp>
            <p:sp>
              <p:nvSpPr>
                <p:cNvPr id="8156" name="Vrije vorm: vorm 8155">
                  <a:extLst>
                    <a:ext uri="{FF2B5EF4-FFF2-40B4-BE49-F238E27FC236}">
                      <a16:creationId xmlns:a16="http://schemas.microsoft.com/office/drawing/2014/main" id="{20C1330F-CE1D-4F92-BE90-B6E4769131CF}"/>
                    </a:ext>
                  </a:extLst>
                </p:cNvPr>
                <p:cNvSpPr/>
                <p:nvPr/>
              </p:nvSpPr>
              <p:spPr>
                <a:xfrm>
                  <a:off x="4533227" y="4637970"/>
                  <a:ext cx="38037" cy="30920"/>
                </a:xfrm>
                <a:custGeom>
                  <a:avLst/>
                  <a:gdLst>
                    <a:gd name="connsiteX0" fmla="*/ 0 w 38037"/>
                    <a:gd name="connsiteY0" fmla="*/ 30920 h 30920"/>
                    <a:gd name="connsiteX1" fmla="*/ 38037 w 38037"/>
                    <a:gd name="connsiteY1" fmla="*/ 0 h 30920"/>
                  </a:gdLst>
                  <a:ahLst/>
                  <a:cxnLst>
                    <a:cxn ang="0">
                      <a:pos x="connsiteX0" y="connsiteY0"/>
                    </a:cxn>
                    <a:cxn ang="0">
                      <a:pos x="connsiteX1" y="connsiteY1"/>
                    </a:cxn>
                  </a:cxnLst>
                  <a:rect l="l" t="t" r="r" b="b"/>
                  <a:pathLst>
                    <a:path w="38037" h="30920">
                      <a:moveTo>
                        <a:pt x="0" y="30920"/>
                      </a:moveTo>
                      <a:cubicBezTo>
                        <a:pt x="12500" y="20753"/>
                        <a:pt x="25179" y="10466"/>
                        <a:pt x="38037" y="0"/>
                      </a:cubicBezTo>
                    </a:path>
                  </a:pathLst>
                </a:custGeom>
                <a:noFill/>
                <a:ln w="6350" cap="rnd">
                  <a:solidFill>
                    <a:schemeClr val="bg1">
                      <a:alpha val="40000"/>
                    </a:schemeClr>
                  </a:solidFill>
                  <a:prstDash val="solid"/>
                  <a:miter/>
                </a:ln>
              </p:spPr>
              <p:txBody>
                <a:bodyPr rtlCol="0" anchor="ctr"/>
                <a:lstStyle/>
                <a:p>
                  <a:endParaRPr lang="en-GB"/>
                </a:p>
              </p:txBody>
            </p:sp>
            <p:sp>
              <p:nvSpPr>
                <p:cNvPr id="8157" name="Vrije vorm: vorm 8156">
                  <a:extLst>
                    <a:ext uri="{FF2B5EF4-FFF2-40B4-BE49-F238E27FC236}">
                      <a16:creationId xmlns:a16="http://schemas.microsoft.com/office/drawing/2014/main" id="{6034F5C8-7768-4846-9F2D-A61C27E71394}"/>
                    </a:ext>
                  </a:extLst>
                </p:cNvPr>
                <p:cNvSpPr/>
                <p:nvPr/>
              </p:nvSpPr>
              <p:spPr>
                <a:xfrm>
                  <a:off x="4595785" y="4587074"/>
                  <a:ext cx="37977" cy="30920"/>
                </a:xfrm>
                <a:custGeom>
                  <a:avLst/>
                  <a:gdLst>
                    <a:gd name="connsiteX0" fmla="*/ 0 w 37977"/>
                    <a:gd name="connsiteY0" fmla="*/ 30920 h 30920"/>
                    <a:gd name="connsiteX1" fmla="*/ 37978 w 37977"/>
                    <a:gd name="connsiteY1" fmla="*/ 0 h 30920"/>
                  </a:gdLst>
                  <a:ahLst/>
                  <a:cxnLst>
                    <a:cxn ang="0">
                      <a:pos x="connsiteX0" y="connsiteY0"/>
                    </a:cxn>
                    <a:cxn ang="0">
                      <a:pos x="connsiteX1" y="connsiteY1"/>
                    </a:cxn>
                  </a:cxnLst>
                  <a:rect l="l" t="t" r="r" b="b"/>
                  <a:pathLst>
                    <a:path w="37977" h="30920">
                      <a:moveTo>
                        <a:pt x="0" y="30920"/>
                      </a:moveTo>
                      <a:cubicBezTo>
                        <a:pt x="12500" y="20753"/>
                        <a:pt x="25179" y="10406"/>
                        <a:pt x="37978" y="0"/>
                      </a:cubicBezTo>
                    </a:path>
                  </a:pathLst>
                </a:custGeom>
                <a:noFill/>
                <a:ln w="6350" cap="rnd">
                  <a:solidFill>
                    <a:schemeClr val="bg1">
                      <a:alpha val="40000"/>
                    </a:schemeClr>
                  </a:solidFill>
                  <a:prstDash val="solid"/>
                  <a:miter/>
                </a:ln>
              </p:spPr>
              <p:txBody>
                <a:bodyPr rtlCol="0" anchor="ctr"/>
                <a:lstStyle/>
                <a:p>
                  <a:endParaRPr lang="en-GB"/>
                </a:p>
              </p:txBody>
            </p:sp>
            <p:sp>
              <p:nvSpPr>
                <p:cNvPr id="8158" name="Vrije vorm: vorm 8157">
                  <a:extLst>
                    <a:ext uri="{FF2B5EF4-FFF2-40B4-BE49-F238E27FC236}">
                      <a16:creationId xmlns:a16="http://schemas.microsoft.com/office/drawing/2014/main" id="{B2982C6C-DC41-456C-A64E-8C507A0CDE6A}"/>
                    </a:ext>
                  </a:extLst>
                </p:cNvPr>
                <p:cNvSpPr/>
                <p:nvPr/>
              </p:nvSpPr>
              <p:spPr>
                <a:xfrm>
                  <a:off x="4264992" y="4735755"/>
                  <a:ext cx="33851" cy="27511"/>
                </a:xfrm>
                <a:custGeom>
                  <a:avLst/>
                  <a:gdLst>
                    <a:gd name="connsiteX0" fmla="*/ 0 w 33851"/>
                    <a:gd name="connsiteY0" fmla="*/ 27511 h 27511"/>
                    <a:gd name="connsiteX1" fmla="*/ 33851 w 33851"/>
                    <a:gd name="connsiteY1" fmla="*/ 0 h 27511"/>
                  </a:gdLst>
                  <a:ahLst/>
                  <a:cxnLst>
                    <a:cxn ang="0">
                      <a:pos x="connsiteX0" y="connsiteY0"/>
                    </a:cxn>
                    <a:cxn ang="0">
                      <a:pos x="connsiteX1" y="connsiteY1"/>
                    </a:cxn>
                  </a:cxnLst>
                  <a:rect l="l" t="t" r="r" b="b"/>
                  <a:pathLst>
                    <a:path w="33851" h="27511">
                      <a:moveTo>
                        <a:pt x="0" y="27511"/>
                      </a:moveTo>
                      <a:cubicBezTo>
                        <a:pt x="10885" y="18600"/>
                        <a:pt x="22189" y="9450"/>
                        <a:pt x="33851" y="0"/>
                      </a:cubicBezTo>
                    </a:path>
                  </a:pathLst>
                </a:custGeom>
                <a:noFill/>
                <a:ln w="6350" cap="rnd">
                  <a:solidFill>
                    <a:schemeClr val="bg1">
                      <a:alpha val="40000"/>
                    </a:schemeClr>
                  </a:solidFill>
                  <a:prstDash val="solid"/>
                  <a:miter/>
                </a:ln>
              </p:spPr>
              <p:txBody>
                <a:bodyPr rtlCol="0" anchor="ctr"/>
                <a:lstStyle/>
                <a:p>
                  <a:endParaRPr lang="en-GB"/>
                </a:p>
              </p:txBody>
            </p:sp>
            <p:sp>
              <p:nvSpPr>
                <p:cNvPr id="8159" name="Vrije vorm: vorm 8158">
                  <a:extLst>
                    <a:ext uri="{FF2B5EF4-FFF2-40B4-BE49-F238E27FC236}">
                      <a16:creationId xmlns:a16="http://schemas.microsoft.com/office/drawing/2014/main" id="{9CCE124F-85E6-4C86-A7AC-D413FB2933B2}"/>
                    </a:ext>
                  </a:extLst>
                </p:cNvPr>
                <p:cNvSpPr/>
                <p:nvPr/>
              </p:nvSpPr>
              <p:spPr>
                <a:xfrm>
                  <a:off x="4317084" y="4690540"/>
                  <a:ext cx="37738" cy="30382"/>
                </a:xfrm>
                <a:custGeom>
                  <a:avLst/>
                  <a:gdLst>
                    <a:gd name="connsiteX0" fmla="*/ 0 w 37738"/>
                    <a:gd name="connsiteY0" fmla="*/ 30382 h 30382"/>
                    <a:gd name="connsiteX1" fmla="*/ 37738 w 37738"/>
                    <a:gd name="connsiteY1" fmla="*/ 0 h 30382"/>
                  </a:gdLst>
                  <a:ahLst/>
                  <a:cxnLst>
                    <a:cxn ang="0">
                      <a:pos x="connsiteX0" y="connsiteY0"/>
                    </a:cxn>
                    <a:cxn ang="0">
                      <a:pos x="connsiteX1" y="connsiteY1"/>
                    </a:cxn>
                  </a:cxnLst>
                  <a:rect l="l" t="t" r="r" b="b"/>
                  <a:pathLst>
                    <a:path w="37738" h="30382">
                      <a:moveTo>
                        <a:pt x="0" y="30382"/>
                      </a:moveTo>
                      <a:cubicBezTo>
                        <a:pt x="12201" y="20514"/>
                        <a:pt x="24820" y="10347"/>
                        <a:pt x="37738" y="0"/>
                      </a:cubicBezTo>
                    </a:path>
                  </a:pathLst>
                </a:custGeom>
                <a:noFill/>
                <a:ln w="6350" cap="rnd">
                  <a:solidFill>
                    <a:schemeClr val="bg1">
                      <a:alpha val="40000"/>
                    </a:schemeClr>
                  </a:solidFill>
                  <a:prstDash val="solid"/>
                  <a:miter/>
                </a:ln>
              </p:spPr>
              <p:txBody>
                <a:bodyPr rtlCol="0" anchor="ctr"/>
                <a:lstStyle/>
                <a:p>
                  <a:endParaRPr lang="en-GB"/>
                </a:p>
              </p:txBody>
            </p:sp>
            <p:sp>
              <p:nvSpPr>
                <p:cNvPr id="8160" name="Vrije vorm: vorm 8159">
                  <a:extLst>
                    <a:ext uri="{FF2B5EF4-FFF2-40B4-BE49-F238E27FC236}">
                      <a16:creationId xmlns:a16="http://schemas.microsoft.com/office/drawing/2014/main" id="{59CDD1AE-7394-4200-A8EA-AC2FE34B277E}"/>
                    </a:ext>
                  </a:extLst>
                </p:cNvPr>
                <p:cNvSpPr/>
                <p:nvPr/>
              </p:nvSpPr>
              <p:spPr>
                <a:xfrm>
                  <a:off x="4375396" y="4641439"/>
                  <a:ext cx="40728" cy="32595"/>
                </a:xfrm>
                <a:custGeom>
                  <a:avLst/>
                  <a:gdLst>
                    <a:gd name="connsiteX0" fmla="*/ 0 w 40728"/>
                    <a:gd name="connsiteY0" fmla="*/ 32595 h 32595"/>
                    <a:gd name="connsiteX1" fmla="*/ 40729 w 40728"/>
                    <a:gd name="connsiteY1" fmla="*/ 0 h 32595"/>
                  </a:gdLst>
                  <a:ahLst/>
                  <a:cxnLst>
                    <a:cxn ang="0">
                      <a:pos x="connsiteX0" y="connsiteY0"/>
                    </a:cxn>
                    <a:cxn ang="0">
                      <a:pos x="connsiteX1" y="connsiteY1"/>
                    </a:cxn>
                  </a:cxnLst>
                  <a:rect l="l" t="t" r="r" b="b"/>
                  <a:pathLst>
                    <a:path w="40728" h="32595">
                      <a:moveTo>
                        <a:pt x="0" y="32595"/>
                      </a:moveTo>
                      <a:cubicBezTo>
                        <a:pt x="13277" y="21950"/>
                        <a:pt x="26853" y="11065"/>
                        <a:pt x="40729" y="0"/>
                      </a:cubicBezTo>
                    </a:path>
                  </a:pathLst>
                </a:custGeom>
                <a:noFill/>
                <a:ln w="6350" cap="rnd">
                  <a:solidFill>
                    <a:schemeClr val="bg1">
                      <a:alpha val="40000"/>
                    </a:schemeClr>
                  </a:solidFill>
                  <a:prstDash val="solid"/>
                  <a:miter/>
                </a:ln>
              </p:spPr>
              <p:txBody>
                <a:bodyPr rtlCol="0" anchor="ctr"/>
                <a:lstStyle/>
                <a:p>
                  <a:endParaRPr lang="en-GB"/>
                </a:p>
              </p:txBody>
            </p:sp>
            <p:sp>
              <p:nvSpPr>
                <p:cNvPr id="8161" name="Vrije vorm: vorm 8160">
                  <a:extLst>
                    <a:ext uri="{FF2B5EF4-FFF2-40B4-BE49-F238E27FC236}">
                      <a16:creationId xmlns:a16="http://schemas.microsoft.com/office/drawing/2014/main" id="{6B0143E8-4E0A-4977-A865-AFEA226B84B0}"/>
                    </a:ext>
                  </a:extLst>
                </p:cNvPr>
                <p:cNvSpPr/>
                <p:nvPr/>
              </p:nvSpPr>
              <p:spPr>
                <a:xfrm>
                  <a:off x="4437476" y="4589466"/>
                  <a:ext cx="43719" cy="34867"/>
                </a:xfrm>
                <a:custGeom>
                  <a:avLst/>
                  <a:gdLst>
                    <a:gd name="connsiteX0" fmla="*/ 0 w 43719"/>
                    <a:gd name="connsiteY0" fmla="*/ 34868 h 34867"/>
                    <a:gd name="connsiteX1" fmla="*/ 43719 w 43719"/>
                    <a:gd name="connsiteY1" fmla="*/ 0 h 34867"/>
                  </a:gdLst>
                  <a:ahLst/>
                  <a:cxnLst>
                    <a:cxn ang="0">
                      <a:pos x="connsiteX0" y="connsiteY0"/>
                    </a:cxn>
                    <a:cxn ang="0">
                      <a:pos x="connsiteX1" y="connsiteY1"/>
                    </a:cxn>
                  </a:cxnLst>
                  <a:rect l="l" t="t" r="r" b="b"/>
                  <a:pathLst>
                    <a:path w="43719" h="34867">
                      <a:moveTo>
                        <a:pt x="0" y="34868"/>
                      </a:moveTo>
                      <a:cubicBezTo>
                        <a:pt x="14294" y="23445"/>
                        <a:pt x="28887" y="11842"/>
                        <a:pt x="43719" y="0"/>
                      </a:cubicBezTo>
                    </a:path>
                  </a:pathLst>
                </a:custGeom>
                <a:noFill/>
                <a:ln w="6350" cap="rnd">
                  <a:solidFill>
                    <a:schemeClr val="bg1">
                      <a:alpha val="40000"/>
                    </a:schemeClr>
                  </a:solidFill>
                  <a:prstDash val="solid"/>
                  <a:miter/>
                </a:ln>
              </p:spPr>
              <p:txBody>
                <a:bodyPr rtlCol="0" anchor="ctr"/>
                <a:lstStyle/>
                <a:p>
                  <a:endParaRPr lang="en-GB"/>
                </a:p>
              </p:txBody>
            </p:sp>
            <p:sp>
              <p:nvSpPr>
                <p:cNvPr id="8162" name="Vrije vorm: vorm 8161">
                  <a:extLst>
                    <a:ext uri="{FF2B5EF4-FFF2-40B4-BE49-F238E27FC236}">
                      <a16:creationId xmlns:a16="http://schemas.microsoft.com/office/drawing/2014/main" id="{413174A8-5871-45D4-A682-E1A0A43354A6}"/>
                    </a:ext>
                  </a:extLst>
                </p:cNvPr>
                <p:cNvSpPr/>
                <p:nvPr/>
              </p:nvSpPr>
              <p:spPr>
                <a:xfrm>
                  <a:off x="4423302" y="4558845"/>
                  <a:ext cx="42164" cy="33372"/>
                </a:xfrm>
                <a:custGeom>
                  <a:avLst/>
                  <a:gdLst>
                    <a:gd name="connsiteX0" fmla="*/ 0 w 42164"/>
                    <a:gd name="connsiteY0" fmla="*/ 33373 h 33372"/>
                    <a:gd name="connsiteX1" fmla="*/ 42164 w 42164"/>
                    <a:gd name="connsiteY1" fmla="*/ 0 h 33372"/>
                  </a:gdLst>
                  <a:ahLst/>
                  <a:cxnLst>
                    <a:cxn ang="0">
                      <a:pos x="connsiteX0" y="connsiteY0"/>
                    </a:cxn>
                    <a:cxn ang="0">
                      <a:pos x="connsiteX1" y="connsiteY1"/>
                    </a:cxn>
                  </a:cxnLst>
                  <a:rect l="l" t="t" r="r" b="b"/>
                  <a:pathLst>
                    <a:path w="42164" h="33372">
                      <a:moveTo>
                        <a:pt x="0" y="33373"/>
                      </a:moveTo>
                      <a:cubicBezTo>
                        <a:pt x="13815" y="22428"/>
                        <a:pt x="27870" y="11304"/>
                        <a:pt x="42164" y="0"/>
                      </a:cubicBezTo>
                    </a:path>
                  </a:pathLst>
                </a:custGeom>
                <a:noFill/>
                <a:ln w="6350" cap="rnd">
                  <a:solidFill>
                    <a:schemeClr val="bg1">
                      <a:alpha val="40000"/>
                    </a:schemeClr>
                  </a:solidFill>
                  <a:prstDash val="solid"/>
                  <a:miter/>
                </a:ln>
              </p:spPr>
              <p:txBody>
                <a:bodyPr rtlCol="0" anchor="ctr"/>
                <a:lstStyle/>
                <a:p>
                  <a:endParaRPr lang="en-GB"/>
                </a:p>
              </p:txBody>
            </p:sp>
            <p:sp>
              <p:nvSpPr>
                <p:cNvPr id="8163" name="Vrije vorm: vorm 8162">
                  <a:extLst>
                    <a:ext uri="{FF2B5EF4-FFF2-40B4-BE49-F238E27FC236}">
                      <a16:creationId xmlns:a16="http://schemas.microsoft.com/office/drawing/2014/main" id="{D785AE89-4D2A-4084-BFFC-27680BA03F88}"/>
                    </a:ext>
                  </a:extLst>
                </p:cNvPr>
                <p:cNvSpPr/>
                <p:nvPr/>
              </p:nvSpPr>
              <p:spPr>
                <a:xfrm>
                  <a:off x="4425275" y="4543534"/>
                  <a:ext cx="41326" cy="32654"/>
                </a:xfrm>
                <a:custGeom>
                  <a:avLst/>
                  <a:gdLst>
                    <a:gd name="connsiteX0" fmla="*/ 0 w 41326"/>
                    <a:gd name="connsiteY0" fmla="*/ 32655 h 32654"/>
                    <a:gd name="connsiteX1" fmla="*/ 41327 w 41326"/>
                    <a:gd name="connsiteY1" fmla="*/ 0 h 32654"/>
                  </a:gdLst>
                  <a:ahLst/>
                  <a:cxnLst>
                    <a:cxn ang="0">
                      <a:pos x="connsiteX0" y="connsiteY0"/>
                    </a:cxn>
                    <a:cxn ang="0">
                      <a:pos x="connsiteX1" y="connsiteY1"/>
                    </a:cxn>
                  </a:cxnLst>
                  <a:rect l="l" t="t" r="r" b="b"/>
                  <a:pathLst>
                    <a:path w="41326" h="32654">
                      <a:moveTo>
                        <a:pt x="0" y="32655"/>
                      </a:moveTo>
                      <a:cubicBezTo>
                        <a:pt x="13576" y="21949"/>
                        <a:pt x="27332" y="11065"/>
                        <a:pt x="41327" y="0"/>
                      </a:cubicBezTo>
                    </a:path>
                  </a:pathLst>
                </a:custGeom>
                <a:noFill/>
                <a:ln w="6350" cap="rnd">
                  <a:solidFill>
                    <a:schemeClr val="bg1">
                      <a:alpha val="40000"/>
                    </a:schemeClr>
                  </a:solidFill>
                  <a:prstDash val="solid"/>
                  <a:miter/>
                </a:ln>
              </p:spPr>
              <p:txBody>
                <a:bodyPr rtlCol="0" anchor="ctr"/>
                <a:lstStyle/>
                <a:p>
                  <a:endParaRPr lang="en-GB"/>
                </a:p>
              </p:txBody>
            </p:sp>
            <p:sp>
              <p:nvSpPr>
                <p:cNvPr id="8164" name="Vrije vorm: vorm 8163">
                  <a:extLst>
                    <a:ext uri="{FF2B5EF4-FFF2-40B4-BE49-F238E27FC236}">
                      <a16:creationId xmlns:a16="http://schemas.microsoft.com/office/drawing/2014/main" id="{CE29FC0B-821E-4636-B88B-A4276D9DE36A}"/>
                    </a:ext>
                  </a:extLst>
                </p:cNvPr>
                <p:cNvSpPr/>
                <p:nvPr/>
              </p:nvSpPr>
              <p:spPr>
                <a:xfrm>
                  <a:off x="4428146" y="4528463"/>
                  <a:ext cx="39831" cy="31338"/>
                </a:xfrm>
                <a:custGeom>
                  <a:avLst/>
                  <a:gdLst>
                    <a:gd name="connsiteX0" fmla="*/ 0 w 39831"/>
                    <a:gd name="connsiteY0" fmla="*/ 31339 h 31338"/>
                    <a:gd name="connsiteX1" fmla="*/ 39831 w 39831"/>
                    <a:gd name="connsiteY1" fmla="*/ 0 h 31338"/>
                  </a:gdLst>
                  <a:ahLst/>
                  <a:cxnLst>
                    <a:cxn ang="0">
                      <a:pos x="connsiteX0" y="connsiteY0"/>
                    </a:cxn>
                    <a:cxn ang="0">
                      <a:pos x="connsiteX1" y="connsiteY1"/>
                    </a:cxn>
                  </a:cxnLst>
                  <a:rect l="l" t="t" r="r" b="b"/>
                  <a:pathLst>
                    <a:path w="39831" h="31338">
                      <a:moveTo>
                        <a:pt x="0" y="31339"/>
                      </a:moveTo>
                      <a:cubicBezTo>
                        <a:pt x="13098" y="21052"/>
                        <a:pt x="26375" y="10586"/>
                        <a:pt x="39831" y="0"/>
                      </a:cubicBezTo>
                    </a:path>
                  </a:pathLst>
                </a:custGeom>
                <a:noFill/>
                <a:ln w="6350" cap="rnd">
                  <a:solidFill>
                    <a:schemeClr val="bg1">
                      <a:alpha val="40000"/>
                    </a:schemeClr>
                  </a:solidFill>
                  <a:prstDash val="solid"/>
                  <a:miter/>
                </a:ln>
              </p:spPr>
              <p:txBody>
                <a:bodyPr rtlCol="0" anchor="ctr"/>
                <a:lstStyle/>
                <a:p>
                  <a:endParaRPr lang="en-GB"/>
                </a:p>
              </p:txBody>
            </p:sp>
            <p:sp>
              <p:nvSpPr>
                <p:cNvPr id="8165" name="Vrije vorm: vorm 8164">
                  <a:extLst>
                    <a:ext uri="{FF2B5EF4-FFF2-40B4-BE49-F238E27FC236}">
                      <a16:creationId xmlns:a16="http://schemas.microsoft.com/office/drawing/2014/main" id="{0A8D2B5A-E43B-42E9-ACA8-AB7650C7780F}"/>
                    </a:ext>
                  </a:extLst>
                </p:cNvPr>
                <p:cNvSpPr/>
                <p:nvPr/>
              </p:nvSpPr>
              <p:spPr>
                <a:xfrm>
                  <a:off x="4431316" y="4514947"/>
                  <a:ext cx="38216" cy="30022"/>
                </a:xfrm>
                <a:custGeom>
                  <a:avLst/>
                  <a:gdLst>
                    <a:gd name="connsiteX0" fmla="*/ 0 w 38216"/>
                    <a:gd name="connsiteY0" fmla="*/ 30023 h 30022"/>
                    <a:gd name="connsiteX1" fmla="*/ 38217 w 38216"/>
                    <a:gd name="connsiteY1" fmla="*/ 0 h 30022"/>
                  </a:gdLst>
                  <a:ahLst/>
                  <a:cxnLst>
                    <a:cxn ang="0">
                      <a:pos x="connsiteX0" y="connsiteY0"/>
                    </a:cxn>
                    <a:cxn ang="0">
                      <a:pos x="connsiteX1" y="connsiteY1"/>
                    </a:cxn>
                  </a:cxnLst>
                  <a:rect l="l" t="t" r="r" b="b"/>
                  <a:pathLst>
                    <a:path w="38216" h="30022">
                      <a:moveTo>
                        <a:pt x="0" y="30023"/>
                      </a:moveTo>
                      <a:cubicBezTo>
                        <a:pt x="12560" y="20155"/>
                        <a:pt x="25299" y="10167"/>
                        <a:pt x="38217" y="0"/>
                      </a:cubicBezTo>
                    </a:path>
                  </a:pathLst>
                </a:custGeom>
                <a:noFill/>
                <a:ln w="6350" cap="rnd">
                  <a:solidFill>
                    <a:schemeClr val="bg1">
                      <a:alpha val="40000"/>
                    </a:schemeClr>
                  </a:solidFill>
                  <a:prstDash val="solid"/>
                  <a:miter/>
                </a:ln>
              </p:spPr>
              <p:txBody>
                <a:bodyPr rtlCol="0" anchor="ctr"/>
                <a:lstStyle/>
                <a:p>
                  <a:endParaRPr lang="en-GB"/>
                </a:p>
              </p:txBody>
            </p:sp>
            <p:sp>
              <p:nvSpPr>
                <p:cNvPr id="8166" name="Vrije vorm: vorm 8165">
                  <a:extLst>
                    <a:ext uri="{FF2B5EF4-FFF2-40B4-BE49-F238E27FC236}">
                      <a16:creationId xmlns:a16="http://schemas.microsoft.com/office/drawing/2014/main" id="{DAB37A1E-727D-4191-B46D-74FA19E6082E}"/>
                    </a:ext>
                  </a:extLst>
                </p:cNvPr>
                <p:cNvSpPr/>
                <p:nvPr/>
              </p:nvSpPr>
              <p:spPr>
                <a:xfrm>
                  <a:off x="4433768" y="4503164"/>
                  <a:ext cx="35944" cy="28169"/>
                </a:xfrm>
                <a:custGeom>
                  <a:avLst/>
                  <a:gdLst>
                    <a:gd name="connsiteX0" fmla="*/ 0 w 35944"/>
                    <a:gd name="connsiteY0" fmla="*/ 28169 h 28169"/>
                    <a:gd name="connsiteX1" fmla="*/ 35944 w 35944"/>
                    <a:gd name="connsiteY1" fmla="*/ 0 h 28169"/>
                  </a:gdLst>
                  <a:ahLst/>
                  <a:cxnLst>
                    <a:cxn ang="0">
                      <a:pos x="connsiteX0" y="connsiteY0"/>
                    </a:cxn>
                    <a:cxn ang="0">
                      <a:pos x="connsiteX1" y="connsiteY1"/>
                    </a:cxn>
                  </a:cxnLst>
                  <a:rect l="l" t="t" r="r" b="b"/>
                  <a:pathLst>
                    <a:path w="35944" h="28169">
                      <a:moveTo>
                        <a:pt x="0" y="28169"/>
                      </a:moveTo>
                      <a:cubicBezTo>
                        <a:pt x="11842" y="18899"/>
                        <a:pt x="23863" y="9510"/>
                        <a:pt x="35944" y="0"/>
                      </a:cubicBezTo>
                    </a:path>
                  </a:pathLst>
                </a:custGeom>
                <a:noFill/>
                <a:ln w="6350" cap="rnd">
                  <a:solidFill>
                    <a:schemeClr val="bg1">
                      <a:alpha val="40000"/>
                    </a:schemeClr>
                  </a:solidFill>
                  <a:prstDash val="solid"/>
                  <a:miter/>
                </a:ln>
              </p:spPr>
              <p:txBody>
                <a:bodyPr rtlCol="0" anchor="ctr"/>
                <a:lstStyle/>
                <a:p>
                  <a:endParaRPr lang="en-GB"/>
                </a:p>
              </p:txBody>
            </p:sp>
            <p:sp>
              <p:nvSpPr>
                <p:cNvPr id="8167" name="Vrije vorm: vorm 8166">
                  <a:extLst>
                    <a:ext uri="{FF2B5EF4-FFF2-40B4-BE49-F238E27FC236}">
                      <a16:creationId xmlns:a16="http://schemas.microsoft.com/office/drawing/2014/main" id="{F28DA896-A24B-401D-B53E-CB394B2D6EEB}"/>
                    </a:ext>
                  </a:extLst>
                </p:cNvPr>
                <p:cNvSpPr/>
                <p:nvPr/>
              </p:nvSpPr>
              <p:spPr>
                <a:xfrm>
                  <a:off x="4435622" y="4491622"/>
                  <a:ext cx="35405" cy="27690"/>
                </a:xfrm>
                <a:custGeom>
                  <a:avLst/>
                  <a:gdLst>
                    <a:gd name="connsiteX0" fmla="*/ 0 w 35405"/>
                    <a:gd name="connsiteY0" fmla="*/ 27691 h 27690"/>
                    <a:gd name="connsiteX1" fmla="*/ 35406 w 35405"/>
                    <a:gd name="connsiteY1" fmla="*/ 0 h 27690"/>
                  </a:gdLst>
                  <a:ahLst/>
                  <a:cxnLst>
                    <a:cxn ang="0">
                      <a:pos x="connsiteX0" y="connsiteY0"/>
                    </a:cxn>
                    <a:cxn ang="0">
                      <a:pos x="connsiteX1" y="connsiteY1"/>
                    </a:cxn>
                  </a:cxnLst>
                  <a:rect l="l" t="t" r="r" b="b"/>
                  <a:pathLst>
                    <a:path w="35405" h="27690">
                      <a:moveTo>
                        <a:pt x="0" y="27691"/>
                      </a:moveTo>
                      <a:cubicBezTo>
                        <a:pt x="11662" y="18540"/>
                        <a:pt x="23444" y="9330"/>
                        <a:pt x="35406" y="0"/>
                      </a:cubicBezTo>
                    </a:path>
                  </a:pathLst>
                </a:custGeom>
                <a:noFill/>
                <a:ln w="6350" cap="rnd">
                  <a:solidFill>
                    <a:schemeClr val="bg1">
                      <a:alpha val="40000"/>
                    </a:schemeClr>
                  </a:solidFill>
                  <a:prstDash val="solid"/>
                  <a:miter/>
                </a:ln>
              </p:spPr>
              <p:txBody>
                <a:bodyPr rtlCol="0" anchor="ctr"/>
                <a:lstStyle/>
                <a:p>
                  <a:endParaRPr lang="en-GB"/>
                </a:p>
              </p:txBody>
            </p:sp>
            <p:sp>
              <p:nvSpPr>
                <p:cNvPr id="8168" name="Vrije vorm: vorm 8167">
                  <a:extLst>
                    <a:ext uri="{FF2B5EF4-FFF2-40B4-BE49-F238E27FC236}">
                      <a16:creationId xmlns:a16="http://schemas.microsoft.com/office/drawing/2014/main" id="{D0F8C227-2573-49D5-95E0-5AB030504FDA}"/>
                    </a:ext>
                  </a:extLst>
                </p:cNvPr>
                <p:cNvSpPr/>
                <p:nvPr/>
              </p:nvSpPr>
              <p:spPr>
                <a:xfrm>
                  <a:off x="4358590" y="4610279"/>
                  <a:ext cx="41984" cy="33372"/>
                </a:xfrm>
                <a:custGeom>
                  <a:avLst/>
                  <a:gdLst>
                    <a:gd name="connsiteX0" fmla="*/ 0 w 41984"/>
                    <a:gd name="connsiteY0" fmla="*/ 33372 h 33372"/>
                    <a:gd name="connsiteX1" fmla="*/ 41985 w 41984"/>
                    <a:gd name="connsiteY1" fmla="*/ 0 h 33372"/>
                  </a:gdLst>
                  <a:ahLst/>
                  <a:cxnLst>
                    <a:cxn ang="0">
                      <a:pos x="connsiteX0" y="connsiteY0"/>
                    </a:cxn>
                    <a:cxn ang="0">
                      <a:pos x="connsiteX1" y="connsiteY1"/>
                    </a:cxn>
                  </a:cxnLst>
                  <a:rect l="l" t="t" r="r" b="b"/>
                  <a:pathLst>
                    <a:path w="41984" h="33372">
                      <a:moveTo>
                        <a:pt x="0" y="33372"/>
                      </a:moveTo>
                      <a:cubicBezTo>
                        <a:pt x="13696" y="22487"/>
                        <a:pt x="27691" y="11363"/>
                        <a:pt x="41985" y="0"/>
                      </a:cubicBezTo>
                    </a:path>
                  </a:pathLst>
                </a:custGeom>
                <a:noFill/>
                <a:ln w="6350" cap="rnd">
                  <a:solidFill>
                    <a:schemeClr val="bg1">
                      <a:alpha val="40000"/>
                    </a:schemeClr>
                  </a:solidFill>
                  <a:prstDash val="solid"/>
                  <a:miter/>
                </a:ln>
              </p:spPr>
              <p:txBody>
                <a:bodyPr rtlCol="0" anchor="ctr"/>
                <a:lstStyle/>
                <a:p>
                  <a:endParaRPr lang="en-GB"/>
                </a:p>
              </p:txBody>
            </p:sp>
            <p:sp>
              <p:nvSpPr>
                <p:cNvPr id="8169" name="Vrije vorm: vorm 8168">
                  <a:extLst>
                    <a:ext uri="{FF2B5EF4-FFF2-40B4-BE49-F238E27FC236}">
                      <a16:creationId xmlns:a16="http://schemas.microsoft.com/office/drawing/2014/main" id="{1FA718AA-52DC-4E05-B64E-0B0648E14B76}"/>
                    </a:ext>
                  </a:extLst>
                </p:cNvPr>
                <p:cNvSpPr/>
                <p:nvPr/>
              </p:nvSpPr>
              <p:spPr>
                <a:xfrm>
                  <a:off x="4361879" y="4593473"/>
                  <a:ext cx="41566" cy="32953"/>
                </a:xfrm>
                <a:custGeom>
                  <a:avLst/>
                  <a:gdLst>
                    <a:gd name="connsiteX0" fmla="*/ 0 w 41566"/>
                    <a:gd name="connsiteY0" fmla="*/ 32953 h 32953"/>
                    <a:gd name="connsiteX1" fmla="*/ 41566 w 41566"/>
                    <a:gd name="connsiteY1" fmla="*/ 0 h 32953"/>
                  </a:gdLst>
                  <a:ahLst/>
                  <a:cxnLst>
                    <a:cxn ang="0">
                      <a:pos x="connsiteX0" y="connsiteY0"/>
                    </a:cxn>
                    <a:cxn ang="0">
                      <a:pos x="connsiteX1" y="connsiteY1"/>
                    </a:cxn>
                  </a:cxnLst>
                  <a:rect l="l" t="t" r="r" b="b"/>
                  <a:pathLst>
                    <a:path w="41566" h="32953">
                      <a:moveTo>
                        <a:pt x="0" y="32953"/>
                      </a:moveTo>
                      <a:cubicBezTo>
                        <a:pt x="13576" y="22188"/>
                        <a:pt x="27392" y="11184"/>
                        <a:pt x="41566" y="0"/>
                      </a:cubicBezTo>
                    </a:path>
                  </a:pathLst>
                </a:custGeom>
                <a:noFill/>
                <a:ln w="6350" cap="rnd">
                  <a:solidFill>
                    <a:schemeClr val="bg1">
                      <a:alpha val="40000"/>
                    </a:schemeClr>
                  </a:solidFill>
                  <a:prstDash val="solid"/>
                  <a:miter/>
                </a:ln>
              </p:spPr>
              <p:txBody>
                <a:bodyPr rtlCol="0" anchor="ctr"/>
                <a:lstStyle/>
                <a:p>
                  <a:endParaRPr lang="en-GB"/>
                </a:p>
              </p:txBody>
            </p:sp>
            <p:sp>
              <p:nvSpPr>
                <p:cNvPr id="8170" name="Vrije vorm: vorm 8169">
                  <a:extLst>
                    <a:ext uri="{FF2B5EF4-FFF2-40B4-BE49-F238E27FC236}">
                      <a16:creationId xmlns:a16="http://schemas.microsoft.com/office/drawing/2014/main" id="{66CD0D2C-DC4C-4E7B-84C7-0FA2126406CC}"/>
                    </a:ext>
                  </a:extLst>
                </p:cNvPr>
                <p:cNvSpPr/>
                <p:nvPr/>
              </p:nvSpPr>
              <p:spPr>
                <a:xfrm>
                  <a:off x="4366485" y="4577505"/>
                  <a:ext cx="39173" cy="30980"/>
                </a:xfrm>
                <a:custGeom>
                  <a:avLst/>
                  <a:gdLst>
                    <a:gd name="connsiteX0" fmla="*/ 0 w 39173"/>
                    <a:gd name="connsiteY0" fmla="*/ 30980 h 30980"/>
                    <a:gd name="connsiteX1" fmla="*/ 39174 w 39173"/>
                    <a:gd name="connsiteY1" fmla="*/ 0 h 30980"/>
                  </a:gdLst>
                  <a:ahLst/>
                  <a:cxnLst>
                    <a:cxn ang="0">
                      <a:pos x="connsiteX0" y="connsiteY0"/>
                    </a:cxn>
                    <a:cxn ang="0">
                      <a:pos x="connsiteX1" y="connsiteY1"/>
                    </a:cxn>
                  </a:cxnLst>
                  <a:rect l="l" t="t" r="r" b="b"/>
                  <a:pathLst>
                    <a:path w="39173" h="30980">
                      <a:moveTo>
                        <a:pt x="0" y="30980"/>
                      </a:moveTo>
                      <a:cubicBezTo>
                        <a:pt x="12799" y="20813"/>
                        <a:pt x="25896" y="10526"/>
                        <a:pt x="39174" y="0"/>
                      </a:cubicBezTo>
                    </a:path>
                  </a:pathLst>
                </a:custGeom>
                <a:noFill/>
                <a:ln w="6350" cap="rnd">
                  <a:solidFill>
                    <a:schemeClr val="bg1">
                      <a:alpha val="40000"/>
                    </a:schemeClr>
                  </a:solidFill>
                  <a:prstDash val="solid"/>
                  <a:miter/>
                </a:ln>
              </p:spPr>
              <p:txBody>
                <a:bodyPr rtlCol="0" anchor="ctr"/>
                <a:lstStyle/>
                <a:p>
                  <a:endParaRPr lang="en-GB"/>
                </a:p>
              </p:txBody>
            </p:sp>
            <p:sp>
              <p:nvSpPr>
                <p:cNvPr id="8171" name="Vrije vorm: vorm 8170">
                  <a:extLst>
                    <a:ext uri="{FF2B5EF4-FFF2-40B4-BE49-F238E27FC236}">
                      <a16:creationId xmlns:a16="http://schemas.microsoft.com/office/drawing/2014/main" id="{7E4B3A67-88D0-4526-B7B7-4D1BF8AAE724}"/>
                    </a:ext>
                  </a:extLst>
                </p:cNvPr>
                <p:cNvSpPr/>
                <p:nvPr/>
              </p:nvSpPr>
              <p:spPr>
                <a:xfrm>
                  <a:off x="4370133" y="4563629"/>
                  <a:ext cx="37439" cy="29544"/>
                </a:xfrm>
                <a:custGeom>
                  <a:avLst/>
                  <a:gdLst>
                    <a:gd name="connsiteX0" fmla="*/ 0 w 37439"/>
                    <a:gd name="connsiteY0" fmla="*/ 29545 h 29544"/>
                    <a:gd name="connsiteX1" fmla="*/ 37439 w 37439"/>
                    <a:gd name="connsiteY1" fmla="*/ 0 h 29544"/>
                  </a:gdLst>
                  <a:ahLst/>
                  <a:cxnLst>
                    <a:cxn ang="0">
                      <a:pos x="connsiteX0" y="connsiteY0"/>
                    </a:cxn>
                    <a:cxn ang="0">
                      <a:pos x="connsiteX1" y="connsiteY1"/>
                    </a:cxn>
                  </a:cxnLst>
                  <a:rect l="l" t="t" r="r" b="b"/>
                  <a:pathLst>
                    <a:path w="37439" h="29544">
                      <a:moveTo>
                        <a:pt x="0" y="29545"/>
                      </a:moveTo>
                      <a:cubicBezTo>
                        <a:pt x="12260" y="19856"/>
                        <a:pt x="24760" y="9988"/>
                        <a:pt x="37439" y="0"/>
                      </a:cubicBezTo>
                    </a:path>
                  </a:pathLst>
                </a:custGeom>
                <a:noFill/>
                <a:ln w="6350" cap="rnd">
                  <a:solidFill>
                    <a:schemeClr val="bg1">
                      <a:alpha val="40000"/>
                    </a:schemeClr>
                  </a:solidFill>
                  <a:prstDash val="solid"/>
                  <a:miter/>
                </a:ln>
              </p:spPr>
              <p:txBody>
                <a:bodyPr rtlCol="0" anchor="ctr"/>
                <a:lstStyle/>
                <a:p>
                  <a:endParaRPr lang="en-GB"/>
                </a:p>
              </p:txBody>
            </p:sp>
            <p:sp>
              <p:nvSpPr>
                <p:cNvPr id="8172" name="Vrije vorm: vorm 8171">
                  <a:extLst>
                    <a:ext uri="{FF2B5EF4-FFF2-40B4-BE49-F238E27FC236}">
                      <a16:creationId xmlns:a16="http://schemas.microsoft.com/office/drawing/2014/main" id="{FF0A9943-51E4-4515-A604-4F8FC2A16B70}"/>
                    </a:ext>
                  </a:extLst>
                </p:cNvPr>
                <p:cNvSpPr/>
                <p:nvPr/>
              </p:nvSpPr>
              <p:spPr>
                <a:xfrm>
                  <a:off x="4373303" y="4549934"/>
                  <a:ext cx="36721" cy="28886"/>
                </a:xfrm>
                <a:custGeom>
                  <a:avLst/>
                  <a:gdLst>
                    <a:gd name="connsiteX0" fmla="*/ 0 w 36721"/>
                    <a:gd name="connsiteY0" fmla="*/ 28887 h 28886"/>
                    <a:gd name="connsiteX1" fmla="*/ 36721 w 36721"/>
                    <a:gd name="connsiteY1" fmla="*/ 0 h 28886"/>
                  </a:gdLst>
                  <a:ahLst/>
                  <a:cxnLst>
                    <a:cxn ang="0">
                      <a:pos x="connsiteX0" y="connsiteY0"/>
                    </a:cxn>
                    <a:cxn ang="0">
                      <a:pos x="connsiteX1" y="connsiteY1"/>
                    </a:cxn>
                  </a:cxnLst>
                  <a:rect l="l" t="t" r="r" b="b"/>
                  <a:pathLst>
                    <a:path w="36721" h="28886">
                      <a:moveTo>
                        <a:pt x="0" y="28887"/>
                      </a:moveTo>
                      <a:cubicBezTo>
                        <a:pt x="12021" y="19377"/>
                        <a:pt x="24282" y="9808"/>
                        <a:pt x="36721" y="0"/>
                      </a:cubicBezTo>
                    </a:path>
                  </a:pathLst>
                </a:custGeom>
                <a:noFill/>
                <a:ln w="6350" cap="rnd">
                  <a:solidFill>
                    <a:schemeClr val="bg1">
                      <a:alpha val="40000"/>
                    </a:schemeClr>
                  </a:solidFill>
                  <a:prstDash val="solid"/>
                  <a:miter/>
                </a:ln>
              </p:spPr>
              <p:txBody>
                <a:bodyPr rtlCol="0" anchor="ctr"/>
                <a:lstStyle/>
                <a:p>
                  <a:endParaRPr lang="en-GB"/>
                </a:p>
              </p:txBody>
            </p:sp>
            <p:sp>
              <p:nvSpPr>
                <p:cNvPr id="8173" name="Vrije vorm: vorm 8172">
                  <a:extLst>
                    <a:ext uri="{FF2B5EF4-FFF2-40B4-BE49-F238E27FC236}">
                      <a16:creationId xmlns:a16="http://schemas.microsoft.com/office/drawing/2014/main" id="{CDF5497E-785E-4DB9-878F-FF766ED69390}"/>
                    </a:ext>
                  </a:extLst>
                </p:cNvPr>
                <p:cNvSpPr/>
                <p:nvPr/>
              </p:nvSpPr>
              <p:spPr>
                <a:xfrm>
                  <a:off x="4376771" y="4537195"/>
                  <a:ext cx="36063" cy="28288"/>
                </a:xfrm>
                <a:custGeom>
                  <a:avLst/>
                  <a:gdLst>
                    <a:gd name="connsiteX0" fmla="*/ 0 w 36063"/>
                    <a:gd name="connsiteY0" fmla="*/ 28289 h 28288"/>
                    <a:gd name="connsiteX1" fmla="*/ 36064 w 36063"/>
                    <a:gd name="connsiteY1" fmla="*/ 0 h 28288"/>
                  </a:gdLst>
                  <a:ahLst/>
                  <a:cxnLst>
                    <a:cxn ang="0">
                      <a:pos x="connsiteX0" y="connsiteY0"/>
                    </a:cxn>
                    <a:cxn ang="0">
                      <a:pos x="connsiteX1" y="connsiteY1"/>
                    </a:cxn>
                  </a:cxnLst>
                  <a:rect l="l" t="t" r="r" b="b"/>
                  <a:pathLst>
                    <a:path w="36063" h="28288">
                      <a:moveTo>
                        <a:pt x="0" y="28289"/>
                      </a:moveTo>
                      <a:cubicBezTo>
                        <a:pt x="11842" y="18959"/>
                        <a:pt x="23863" y="9569"/>
                        <a:pt x="36064" y="0"/>
                      </a:cubicBezTo>
                    </a:path>
                  </a:pathLst>
                </a:custGeom>
                <a:noFill/>
                <a:ln w="6350" cap="rnd">
                  <a:solidFill>
                    <a:schemeClr val="bg1">
                      <a:alpha val="40000"/>
                    </a:schemeClr>
                  </a:solidFill>
                  <a:prstDash val="solid"/>
                  <a:miter/>
                </a:ln>
              </p:spPr>
              <p:txBody>
                <a:bodyPr rtlCol="0" anchor="ctr"/>
                <a:lstStyle/>
                <a:p>
                  <a:endParaRPr lang="en-GB"/>
                </a:p>
              </p:txBody>
            </p:sp>
            <p:sp>
              <p:nvSpPr>
                <p:cNvPr id="8174" name="Vrije vorm: vorm 8173">
                  <a:extLst>
                    <a:ext uri="{FF2B5EF4-FFF2-40B4-BE49-F238E27FC236}">
                      <a16:creationId xmlns:a16="http://schemas.microsoft.com/office/drawing/2014/main" id="{E072CA29-38EC-49BB-ACAE-B3E63FB2E35C}"/>
                    </a:ext>
                  </a:extLst>
                </p:cNvPr>
                <p:cNvSpPr/>
                <p:nvPr/>
              </p:nvSpPr>
              <p:spPr>
                <a:xfrm>
                  <a:off x="4302910" y="4658663"/>
                  <a:ext cx="36841" cy="29544"/>
                </a:xfrm>
                <a:custGeom>
                  <a:avLst/>
                  <a:gdLst>
                    <a:gd name="connsiteX0" fmla="*/ 0 w 36841"/>
                    <a:gd name="connsiteY0" fmla="*/ 29545 h 29544"/>
                    <a:gd name="connsiteX1" fmla="*/ 36841 w 36841"/>
                    <a:gd name="connsiteY1" fmla="*/ 0 h 29544"/>
                  </a:gdLst>
                  <a:ahLst/>
                  <a:cxnLst>
                    <a:cxn ang="0">
                      <a:pos x="connsiteX0" y="connsiteY0"/>
                    </a:cxn>
                    <a:cxn ang="0">
                      <a:pos x="connsiteX1" y="connsiteY1"/>
                    </a:cxn>
                  </a:cxnLst>
                  <a:rect l="l" t="t" r="r" b="b"/>
                  <a:pathLst>
                    <a:path w="36841" h="29544">
                      <a:moveTo>
                        <a:pt x="0" y="29545"/>
                      </a:moveTo>
                      <a:cubicBezTo>
                        <a:pt x="11961" y="19916"/>
                        <a:pt x="24222" y="10048"/>
                        <a:pt x="36841" y="0"/>
                      </a:cubicBezTo>
                    </a:path>
                  </a:pathLst>
                </a:custGeom>
                <a:noFill/>
                <a:ln w="6350" cap="rnd">
                  <a:solidFill>
                    <a:schemeClr val="bg1">
                      <a:alpha val="40000"/>
                    </a:schemeClr>
                  </a:solidFill>
                  <a:prstDash val="solid"/>
                  <a:miter/>
                </a:ln>
              </p:spPr>
              <p:txBody>
                <a:bodyPr rtlCol="0" anchor="ctr"/>
                <a:lstStyle/>
                <a:p>
                  <a:endParaRPr lang="en-GB"/>
                </a:p>
              </p:txBody>
            </p:sp>
            <p:sp>
              <p:nvSpPr>
                <p:cNvPr id="8175" name="Vrije vorm: vorm 8174">
                  <a:extLst>
                    <a:ext uri="{FF2B5EF4-FFF2-40B4-BE49-F238E27FC236}">
                      <a16:creationId xmlns:a16="http://schemas.microsoft.com/office/drawing/2014/main" id="{0FB1AFF1-C02A-416D-86C6-2ACF243E1A91}"/>
                    </a:ext>
                  </a:extLst>
                </p:cNvPr>
                <p:cNvSpPr/>
                <p:nvPr/>
              </p:nvSpPr>
              <p:spPr>
                <a:xfrm>
                  <a:off x="4308412" y="4641200"/>
                  <a:ext cx="34867" cy="27870"/>
                </a:xfrm>
                <a:custGeom>
                  <a:avLst/>
                  <a:gdLst>
                    <a:gd name="connsiteX0" fmla="*/ 0 w 34867"/>
                    <a:gd name="connsiteY0" fmla="*/ 27870 h 27870"/>
                    <a:gd name="connsiteX1" fmla="*/ 34868 w 34867"/>
                    <a:gd name="connsiteY1" fmla="*/ 0 h 27870"/>
                  </a:gdLst>
                  <a:ahLst/>
                  <a:cxnLst>
                    <a:cxn ang="0">
                      <a:pos x="connsiteX0" y="connsiteY0"/>
                    </a:cxn>
                    <a:cxn ang="0">
                      <a:pos x="connsiteX1" y="connsiteY1"/>
                    </a:cxn>
                  </a:cxnLst>
                  <a:rect l="l" t="t" r="r" b="b"/>
                  <a:pathLst>
                    <a:path w="34867" h="27870">
                      <a:moveTo>
                        <a:pt x="0" y="27870"/>
                      </a:moveTo>
                      <a:cubicBezTo>
                        <a:pt x="11364" y="18780"/>
                        <a:pt x="23026" y="9450"/>
                        <a:pt x="34868" y="0"/>
                      </a:cubicBezTo>
                    </a:path>
                  </a:pathLst>
                </a:custGeom>
                <a:noFill/>
                <a:ln w="6350" cap="rnd">
                  <a:solidFill>
                    <a:schemeClr val="bg1">
                      <a:alpha val="40000"/>
                    </a:schemeClr>
                  </a:solidFill>
                  <a:prstDash val="solid"/>
                  <a:miter/>
                </a:ln>
              </p:spPr>
              <p:txBody>
                <a:bodyPr rtlCol="0" anchor="ctr"/>
                <a:lstStyle/>
                <a:p>
                  <a:endParaRPr lang="en-GB"/>
                </a:p>
              </p:txBody>
            </p:sp>
            <p:sp>
              <p:nvSpPr>
                <p:cNvPr id="8176" name="Vrije vorm: vorm 8175">
                  <a:extLst>
                    <a:ext uri="{FF2B5EF4-FFF2-40B4-BE49-F238E27FC236}">
                      <a16:creationId xmlns:a16="http://schemas.microsoft.com/office/drawing/2014/main" id="{C8F76574-FC15-4042-8768-E59C0A8F80FA}"/>
                    </a:ext>
                  </a:extLst>
                </p:cNvPr>
                <p:cNvSpPr/>
                <p:nvPr/>
              </p:nvSpPr>
              <p:spPr>
                <a:xfrm>
                  <a:off x="4313914" y="4623257"/>
                  <a:ext cx="33970" cy="27032"/>
                </a:xfrm>
                <a:custGeom>
                  <a:avLst/>
                  <a:gdLst>
                    <a:gd name="connsiteX0" fmla="*/ 0 w 33970"/>
                    <a:gd name="connsiteY0" fmla="*/ 27033 h 27032"/>
                    <a:gd name="connsiteX1" fmla="*/ 33971 w 33970"/>
                    <a:gd name="connsiteY1" fmla="*/ 0 h 27032"/>
                  </a:gdLst>
                  <a:ahLst/>
                  <a:cxnLst>
                    <a:cxn ang="0">
                      <a:pos x="connsiteX0" y="connsiteY0"/>
                    </a:cxn>
                    <a:cxn ang="0">
                      <a:pos x="connsiteX1" y="connsiteY1"/>
                    </a:cxn>
                  </a:cxnLst>
                  <a:rect l="l" t="t" r="r" b="b"/>
                  <a:pathLst>
                    <a:path w="33970" h="27032">
                      <a:moveTo>
                        <a:pt x="0" y="27033"/>
                      </a:moveTo>
                      <a:cubicBezTo>
                        <a:pt x="11065" y="18181"/>
                        <a:pt x="22428" y="9150"/>
                        <a:pt x="33971" y="0"/>
                      </a:cubicBezTo>
                    </a:path>
                  </a:pathLst>
                </a:custGeom>
                <a:noFill/>
                <a:ln w="6350" cap="rnd">
                  <a:solidFill>
                    <a:schemeClr val="bg1">
                      <a:alpha val="40000"/>
                    </a:schemeClr>
                  </a:solidFill>
                  <a:prstDash val="solid"/>
                  <a:miter/>
                </a:ln>
              </p:spPr>
              <p:txBody>
                <a:bodyPr rtlCol="0" anchor="ctr"/>
                <a:lstStyle/>
                <a:p>
                  <a:endParaRPr lang="en-GB"/>
                </a:p>
              </p:txBody>
            </p:sp>
            <p:sp>
              <p:nvSpPr>
                <p:cNvPr id="8177" name="Vrije vorm: vorm 8176">
                  <a:extLst>
                    <a:ext uri="{FF2B5EF4-FFF2-40B4-BE49-F238E27FC236}">
                      <a16:creationId xmlns:a16="http://schemas.microsoft.com/office/drawing/2014/main" id="{B26D7EB6-943E-4691-8CC7-5A4868560756}"/>
                    </a:ext>
                  </a:extLst>
                </p:cNvPr>
                <p:cNvSpPr/>
                <p:nvPr/>
              </p:nvSpPr>
              <p:spPr>
                <a:xfrm>
                  <a:off x="4317921" y="4607408"/>
                  <a:ext cx="34269" cy="27152"/>
                </a:xfrm>
                <a:custGeom>
                  <a:avLst/>
                  <a:gdLst>
                    <a:gd name="connsiteX0" fmla="*/ 0 w 34269"/>
                    <a:gd name="connsiteY0" fmla="*/ 27153 h 27152"/>
                    <a:gd name="connsiteX1" fmla="*/ 34269 w 34269"/>
                    <a:gd name="connsiteY1" fmla="*/ 0 h 27152"/>
                  </a:gdLst>
                  <a:ahLst/>
                  <a:cxnLst>
                    <a:cxn ang="0">
                      <a:pos x="connsiteX0" y="connsiteY0"/>
                    </a:cxn>
                    <a:cxn ang="0">
                      <a:pos x="connsiteX1" y="connsiteY1"/>
                    </a:cxn>
                  </a:cxnLst>
                  <a:rect l="l" t="t" r="r" b="b"/>
                  <a:pathLst>
                    <a:path w="34269" h="27152">
                      <a:moveTo>
                        <a:pt x="0" y="27153"/>
                      </a:moveTo>
                      <a:cubicBezTo>
                        <a:pt x="11184" y="18241"/>
                        <a:pt x="22607" y="9211"/>
                        <a:pt x="34269" y="0"/>
                      </a:cubicBezTo>
                    </a:path>
                  </a:pathLst>
                </a:custGeom>
                <a:noFill/>
                <a:ln w="6350" cap="rnd">
                  <a:solidFill>
                    <a:schemeClr val="bg1">
                      <a:alpha val="40000"/>
                    </a:schemeClr>
                  </a:solidFill>
                  <a:prstDash val="solid"/>
                  <a:miter/>
                </a:ln>
              </p:spPr>
              <p:txBody>
                <a:bodyPr rtlCol="0" anchor="ctr"/>
                <a:lstStyle/>
                <a:p>
                  <a:endParaRPr lang="en-GB"/>
                </a:p>
              </p:txBody>
            </p:sp>
            <p:sp>
              <p:nvSpPr>
                <p:cNvPr id="8178" name="Vrije vorm: vorm 8177">
                  <a:extLst>
                    <a:ext uri="{FF2B5EF4-FFF2-40B4-BE49-F238E27FC236}">
                      <a16:creationId xmlns:a16="http://schemas.microsoft.com/office/drawing/2014/main" id="{9A80C248-FD73-4566-889E-7AA3E8AC3F05}"/>
                    </a:ext>
                  </a:extLst>
                </p:cNvPr>
                <p:cNvSpPr/>
                <p:nvPr/>
              </p:nvSpPr>
              <p:spPr>
                <a:xfrm>
                  <a:off x="4323364" y="4592756"/>
                  <a:ext cx="32296" cy="25537"/>
                </a:xfrm>
                <a:custGeom>
                  <a:avLst/>
                  <a:gdLst>
                    <a:gd name="connsiteX0" fmla="*/ 0 w 32296"/>
                    <a:gd name="connsiteY0" fmla="*/ 25537 h 25537"/>
                    <a:gd name="connsiteX1" fmla="*/ 32296 w 32296"/>
                    <a:gd name="connsiteY1" fmla="*/ 0 h 25537"/>
                  </a:gdLst>
                  <a:ahLst/>
                  <a:cxnLst>
                    <a:cxn ang="0">
                      <a:pos x="connsiteX0" y="connsiteY0"/>
                    </a:cxn>
                    <a:cxn ang="0">
                      <a:pos x="connsiteX1" y="connsiteY1"/>
                    </a:cxn>
                  </a:cxnLst>
                  <a:rect l="l" t="t" r="r" b="b"/>
                  <a:pathLst>
                    <a:path w="32296" h="25537">
                      <a:moveTo>
                        <a:pt x="0" y="25537"/>
                      </a:moveTo>
                      <a:cubicBezTo>
                        <a:pt x="10586" y="17165"/>
                        <a:pt x="21351" y="8612"/>
                        <a:pt x="32296" y="0"/>
                      </a:cubicBezTo>
                    </a:path>
                  </a:pathLst>
                </a:custGeom>
                <a:noFill/>
                <a:ln w="6350" cap="rnd">
                  <a:solidFill>
                    <a:schemeClr val="bg1">
                      <a:alpha val="40000"/>
                    </a:schemeClr>
                  </a:solidFill>
                  <a:prstDash val="solid"/>
                  <a:miter/>
                </a:ln>
              </p:spPr>
              <p:txBody>
                <a:bodyPr rtlCol="0" anchor="ctr"/>
                <a:lstStyle/>
                <a:p>
                  <a:endParaRPr lang="en-GB"/>
                </a:p>
              </p:txBody>
            </p:sp>
            <p:sp>
              <p:nvSpPr>
                <p:cNvPr id="8179" name="Vrije vorm: vorm 8178">
                  <a:extLst>
                    <a:ext uri="{FF2B5EF4-FFF2-40B4-BE49-F238E27FC236}">
                      <a16:creationId xmlns:a16="http://schemas.microsoft.com/office/drawing/2014/main" id="{53F7F751-D8F2-41A3-B6C5-A1B15D441FD7}"/>
                    </a:ext>
                  </a:extLst>
                </p:cNvPr>
                <p:cNvSpPr/>
                <p:nvPr/>
              </p:nvSpPr>
              <p:spPr>
                <a:xfrm>
                  <a:off x="4327789" y="4579239"/>
                  <a:ext cx="31458" cy="24819"/>
                </a:xfrm>
                <a:custGeom>
                  <a:avLst/>
                  <a:gdLst>
                    <a:gd name="connsiteX0" fmla="*/ 0 w 31458"/>
                    <a:gd name="connsiteY0" fmla="*/ 24820 h 24819"/>
                    <a:gd name="connsiteX1" fmla="*/ 31459 w 31458"/>
                    <a:gd name="connsiteY1" fmla="*/ 0 h 24819"/>
                  </a:gdLst>
                  <a:ahLst/>
                  <a:cxnLst>
                    <a:cxn ang="0">
                      <a:pos x="connsiteX0" y="connsiteY0"/>
                    </a:cxn>
                    <a:cxn ang="0">
                      <a:pos x="connsiteX1" y="connsiteY1"/>
                    </a:cxn>
                  </a:cxnLst>
                  <a:rect l="l" t="t" r="r" b="b"/>
                  <a:pathLst>
                    <a:path w="31458" h="24819">
                      <a:moveTo>
                        <a:pt x="0" y="24820"/>
                      </a:moveTo>
                      <a:cubicBezTo>
                        <a:pt x="10287" y="16686"/>
                        <a:pt x="20813" y="8373"/>
                        <a:pt x="31459" y="0"/>
                      </a:cubicBezTo>
                    </a:path>
                  </a:pathLst>
                </a:custGeom>
                <a:noFill/>
                <a:ln w="6350" cap="rnd">
                  <a:solidFill>
                    <a:schemeClr val="bg1">
                      <a:alpha val="40000"/>
                    </a:schemeClr>
                  </a:solidFill>
                  <a:prstDash val="solid"/>
                  <a:miter/>
                </a:ln>
              </p:spPr>
              <p:txBody>
                <a:bodyPr rtlCol="0" anchor="ctr"/>
                <a:lstStyle/>
                <a:p>
                  <a:endParaRPr lang="en-GB"/>
                </a:p>
              </p:txBody>
            </p:sp>
            <p:sp>
              <p:nvSpPr>
                <p:cNvPr id="8180" name="Vrije vorm: vorm 8179">
                  <a:extLst>
                    <a:ext uri="{FF2B5EF4-FFF2-40B4-BE49-F238E27FC236}">
                      <a16:creationId xmlns:a16="http://schemas.microsoft.com/office/drawing/2014/main" id="{2B106663-78EC-406C-BE3B-8D2FF5149A3F}"/>
                    </a:ext>
                  </a:extLst>
                </p:cNvPr>
                <p:cNvSpPr/>
                <p:nvPr/>
              </p:nvSpPr>
              <p:spPr>
                <a:xfrm>
                  <a:off x="4248485" y="4705492"/>
                  <a:ext cx="33073" cy="26853"/>
                </a:xfrm>
                <a:custGeom>
                  <a:avLst/>
                  <a:gdLst>
                    <a:gd name="connsiteX0" fmla="*/ 0 w 33073"/>
                    <a:gd name="connsiteY0" fmla="*/ 26853 h 26853"/>
                    <a:gd name="connsiteX1" fmla="*/ 33074 w 33073"/>
                    <a:gd name="connsiteY1" fmla="*/ 0 h 26853"/>
                  </a:gdLst>
                  <a:ahLst/>
                  <a:cxnLst>
                    <a:cxn ang="0">
                      <a:pos x="connsiteX0" y="connsiteY0"/>
                    </a:cxn>
                    <a:cxn ang="0">
                      <a:pos x="connsiteX1" y="connsiteY1"/>
                    </a:cxn>
                  </a:cxnLst>
                  <a:rect l="l" t="t" r="r" b="b"/>
                  <a:pathLst>
                    <a:path w="33073" h="26853">
                      <a:moveTo>
                        <a:pt x="0" y="26853"/>
                      </a:moveTo>
                      <a:cubicBezTo>
                        <a:pt x="10706" y="18121"/>
                        <a:pt x="21710" y="9150"/>
                        <a:pt x="33074" y="0"/>
                      </a:cubicBezTo>
                    </a:path>
                  </a:pathLst>
                </a:custGeom>
                <a:noFill/>
                <a:ln w="6350" cap="rnd">
                  <a:solidFill>
                    <a:schemeClr val="bg1">
                      <a:alpha val="40000"/>
                    </a:schemeClr>
                  </a:solidFill>
                  <a:prstDash val="solid"/>
                  <a:miter/>
                </a:ln>
              </p:spPr>
              <p:txBody>
                <a:bodyPr rtlCol="0" anchor="ctr"/>
                <a:lstStyle/>
                <a:p>
                  <a:endParaRPr lang="en-GB"/>
                </a:p>
              </p:txBody>
            </p:sp>
            <p:sp>
              <p:nvSpPr>
                <p:cNvPr id="8181" name="Vrije vorm: vorm 8180">
                  <a:extLst>
                    <a:ext uri="{FF2B5EF4-FFF2-40B4-BE49-F238E27FC236}">
                      <a16:creationId xmlns:a16="http://schemas.microsoft.com/office/drawing/2014/main" id="{5FFC759B-4CEF-4D28-A21F-765CB26914E8}"/>
                    </a:ext>
                  </a:extLst>
                </p:cNvPr>
                <p:cNvSpPr/>
                <p:nvPr/>
              </p:nvSpPr>
              <p:spPr>
                <a:xfrm>
                  <a:off x="4255064" y="4686115"/>
                  <a:ext cx="32116" cy="26015"/>
                </a:xfrm>
                <a:custGeom>
                  <a:avLst/>
                  <a:gdLst>
                    <a:gd name="connsiteX0" fmla="*/ 0 w 32116"/>
                    <a:gd name="connsiteY0" fmla="*/ 26016 h 26015"/>
                    <a:gd name="connsiteX1" fmla="*/ 32116 w 32116"/>
                    <a:gd name="connsiteY1" fmla="*/ 0 h 26015"/>
                  </a:gdLst>
                  <a:ahLst/>
                  <a:cxnLst>
                    <a:cxn ang="0">
                      <a:pos x="connsiteX0" y="connsiteY0"/>
                    </a:cxn>
                    <a:cxn ang="0">
                      <a:pos x="connsiteX1" y="connsiteY1"/>
                    </a:cxn>
                  </a:cxnLst>
                  <a:rect l="l" t="t" r="r" b="b"/>
                  <a:pathLst>
                    <a:path w="32116" h="26015">
                      <a:moveTo>
                        <a:pt x="0" y="26016"/>
                      </a:moveTo>
                      <a:cubicBezTo>
                        <a:pt x="10406" y="17583"/>
                        <a:pt x="21112" y="8911"/>
                        <a:pt x="32116" y="0"/>
                      </a:cubicBezTo>
                    </a:path>
                  </a:pathLst>
                </a:custGeom>
                <a:noFill/>
                <a:ln w="6350" cap="rnd">
                  <a:solidFill>
                    <a:schemeClr val="bg1">
                      <a:alpha val="40000"/>
                    </a:schemeClr>
                  </a:solidFill>
                  <a:prstDash val="solid"/>
                  <a:miter/>
                </a:ln>
              </p:spPr>
              <p:txBody>
                <a:bodyPr rtlCol="0" anchor="ctr"/>
                <a:lstStyle/>
                <a:p>
                  <a:endParaRPr lang="en-GB"/>
                </a:p>
              </p:txBody>
            </p:sp>
            <p:sp>
              <p:nvSpPr>
                <p:cNvPr id="8182" name="Vrije vorm: vorm 8181">
                  <a:extLst>
                    <a:ext uri="{FF2B5EF4-FFF2-40B4-BE49-F238E27FC236}">
                      <a16:creationId xmlns:a16="http://schemas.microsoft.com/office/drawing/2014/main" id="{DE9D3317-B072-4AF2-816E-4147C2F3CA55}"/>
                    </a:ext>
                  </a:extLst>
                </p:cNvPr>
                <p:cNvSpPr/>
                <p:nvPr/>
              </p:nvSpPr>
              <p:spPr>
                <a:xfrm>
                  <a:off x="4262420" y="4667156"/>
                  <a:ext cx="30442" cy="24521"/>
                </a:xfrm>
                <a:custGeom>
                  <a:avLst/>
                  <a:gdLst>
                    <a:gd name="connsiteX0" fmla="*/ 0 w 30442"/>
                    <a:gd name="connsiteY0" fmla="*/ 24521 h 24521"/>
                    <a:gd name="connsiteX1" fmla="*/ 30442 w 30442"/>
                    <a:gd name="connsiteY1" fmla="*/ 0 h 24521"/>
                  </a:gdLst>
                  <a:ahLst/>
                  <a:cxnLst>
                    <a:cxn ang="0">
                      <a:pos x="connsiteX0" y="connsiteY0"/>
                    </a:cxn>
                    <a:cxn ang="0">
                      <a:pos x="connsiteX1" y="connsiteY1"/>
                    </a:cxn>
                  </a:cxnLst>
                  <a:rect l="l" t="t" r="r" b="b"/>
                  <a:pathLst>
                    <a:path w="30442" h="24521">
                      <a:moveTo>
                        <a:pt x="0" y="24521"/>
                      </a:moveTo>
                      <a:cubicBezTo>
                        <a:pt x="9928" y="16507"/>
                        <a:pt x="20036" y="8313"/>
                        <a:pt x="30442" y="0"/>
                      </a:cubicBezTo>
                    </a:path>
                  </a:pathLst>
                </a:custGeom>
                <a:noFill/>
                <a:ln w="6350" cap="rnd">
                  <a:solidFill>
                    <a:schemeClr val="bg1">
                      <a:alpha val="40000"/>
                    </a:schemeClr>
                  </a:solidFill>
                  <a:prstDash val="solid"/>
                  <a:miter/>
                </a:ln>
              </p:spPr>
              <p:txBody>
                <a:bodyPr rtlCol="0" anchor="ctr"/>
                <a:lstStyle/>
                <a:p>
                  <a:endParaRPr lang="en-GB"/>
                </a:p>
              </p:txBody>
            </p:sp>
            <p:sp>
              <p:nvSpPr>
                <p:cNvPr id="8183" name="Vrije vorm: vorm 8182">
                  <a:extLst>
                    <a:ext uri="{FF2B5EF4-FFF2-40B4-BE49-F238E27FC236}">
                      <a16:creationId xmlns:a16="http://schemas.microsoft.com/office/drawing/2014/main" id="{FD75C905-A759-48A9-B60E-EDC269ED825C}"/>
                    </a:ext>
                  </a:extLst>
                </p:cNvPr>
                <p:cNvSpPr/>
                <p:nvPr/>
              </p:nvSpPr>
              <p:spPr>
                <a:xfrm>
                  <a:off x="4268162" y="4650529"/>
                  <a:ext cx="29783" cy="23863"/>
                </a:xfrm>
                <a:custGeom>
                  <a:avLst/>
                  <a:gdLst>
                    <a:gd name="connsiteX0" fmla="*/ 0 w 29783"/>
                    <a:gd name="connsiteY0" fmla="*/ 23863 h 23863"/>
                    <a:gd name="connsiteX1" fmla="*/ 29784 w 29783"/>
                    <a:gd name="connsiteY1" fmla="*/ 0 h 23863"/>
                  </a:gdLst>
                  <a:ahLst/>
                  <a:cxnLst>
                    <a:cxn ang="0">
                      <a:pos x="connsiteX0" y="connsiteY0"/>
                    </a:cxn>
                    <a:cxn ang="0">
                      <a:pos x="connsiteX1" y="connsiteY1"/>
                    </a:cxn>
                  </a:cxnLst>
                  <a:rect l="l" t="t" r="r" b="b"/>
                  <a:pathLst>
                    <a:path w="29783" h="23863">
                      <a:moveTo>
                        <a:pt x="0" y="23863"/>
                      </a:moveTo>
                      <a:cubicBezTo>
                        <a:pt x="9689" y="16028"/>
                        <a:pt x="19617" y="8074"/>
                        <a:pt x="29784" y="0"/>
                      </a:cubicBezTo>
                    </a:path>
                  </a:pathLst>
                </a:custGeom>
                <a:noFill/>
                <a:ln w="6350" cap="rnd">
                  <a:solidFill>
                    <a:schemeClr val="bg1">
                      <a:alpha val="40000"/>
                    </a:schemeClr>
                  </a:solidFill>
                  <a:prstDash val="solid"/>
                  <a:miter/>
                </a:ln>
              </p:spPr>
              <p:txBody>
                <a:bodyPr rtlCol="0" anchor="ctr"/>
                <a:lstStyle/>
                <a:p>
                  <a:endParaRPr lang="en-GB"/>
                </a:p>
              </p:txBody>
            </p:sp>
            <p:sp>
              <p:nvSpPr>
                <p:cNvPr id="8184" name="Vrije vorm: vorm 8183">
                  <a:extLst>
                    <a:ext uri="{FF2B5EF4-FFF2-40B4-BE49-F238E27FC236}">
                      <a16:creationId xmlns:a16="http://schemas.microsoft.com/office/drawing/2014/main" id="{699968E6-69AB-4698-84B9-D31232B29E25}"/>
                    </a:ext>
                  </a:extLst>
                </p:cNvPr>
                <p:cNvSpPr/>
                <p:nvPr/>
              </p:nvSpPr>
              <p:spPr>
                <a:xfrm>
                  <a:off x="4274800" y="4634082"/>
                  <a:ext cx="28647" cy="22906"/>
                </a:xfrm>
                <a:custGeom>
                  <a:avLst/>
                  <a:gdLst>
                    <a:gd name="connsiteX0" fmla="*/ 0 w 28647"/>
                    <a:gd name="connsiteY0" fmla="*/ 22906 h 22906"/>
                    <a:gd name="connsiteX1" fmla="*/ 28648 w 28647"/>
                    <a:gd name="connsiteY1" fmla="*/ 0 h 22906"/>
                  </a:gdLst>
                  <a:ahLst/>
                  <a:cxnLst>
                    <a:cxn ang="0">
                      <a:pos x="connsiteX0" y="connsiteY0"/>
                    </a:cxn>
                    <a:cxn ang="0">
                      <a:pos x="connsiteX1" y="connsiteY1"/>
                    </a:cxn>
                  </a:cxnLst>
                  <a:rect l="l" t="t" r="r" b="b"/>
                  <a:pathLst>
                    <a:path w="28647" h="22906">
                      <a:moveTo>
                        <a:pt x="0" y="22906"/>
                      </a:moveTo>
                      <a:cubicBezTo>
                        <a:pt x="9390" y="15370"/>
                        <a:pt x="18899" y="7775"/>
                        <a:pt x="28648" y="0"/>
                      </a:cubicBezTo>
                    </a:path>
                  </a:pathLst>
                </a:custGeom>
                <a:noFill/>
                <a:ln w="6350" cap="rnd">
                  <a:solidFill>
                    <a:schemeClr val="bg1">
                      <a:alpha val="40000"/>
                    </a:schemeClr>
                  </a:solidFill>
                  <a:prstDash val="solid"/>
                  <a:miter/>
                </a:ln>
              </p:spPr>
              <p:txBody>
                <a:bodyPr rtlCol="0" anchor="ctr"/>
                <a:lstStyle/>
                <a:p>
                  <a:endParaRPr lang="en-GB"/>
                </a:p>
              </p:txBody>
            </p:sp>
            <p:sp>
              <p:nvSpPr>
                <p:cNvPr id="8185" name="Vrije vorm: vorm 8184">
                  <a:extLst>
                    <a:ext uri="{FF2B5EF4-FFF2-40B4-BE49-F238E27FC236}">
                      <a16:creationId xmlns:a16="http://schemas.microsoft.com/office/drawing/2014/main" id="{7BAE8687-2120-4F81-AFDD-B70671B7E51D}"/>
                    </a:ext>
                  </a:extLst>
                </p:cNvPr>
                <p:cNvSpPr/>
                <p:nvPr/>
              </p:nvSpPr>
              <p:spPr>
                <a:xfrm>
                  <a:off x="4281319" y="4619609"/>
                  <a:ext cx="26793" cy="21351"/>
                </a:xfrm>
                <a:custGeom>
                  <a:avLst/>
                  <a:gdLst>
                    <a:gd name="connsiteX0" fmla="*/ 0 w 26793"/>
                    <a:gd name="connsiteY0" fmla="*/ 21351 h 21351"/>
                    <a:gd name="connsiteX1" fmla="*/ 26794 w 26793"/>
                    <a:gd name="connsiteY1" fmla="*/ 0 h 21351"/>
                  </a:gdLst>
                  <a:ahLst/>
                  <a:cxnLst>
                    <a:cxn ang="0">
                      <a:pos x="connsiteX0" y="connsiteY0"/>
                    </a:cxn>
                    <a:cxn ang="0">
                      <a:pos x="connsiteX1" y="connsiteY1"/>
                    </a:cxn>
                  </a:cxnLst>
                  <a:rect l="l" t="t" r="r" b="b"/>
                  <a:pathLst>
                    <a:path w="26793" h="21351">
                      <a:moveTo>
                        <a:pt x="0" y="21351"/>
                      </a:moveTo>
                      <a:cubicBezTo>
                        <a:pt x="8791" y="14354"/>
                        <a:pt x="17703" y="7236"/>
                        <a:pt x="26794" y="0"/>
                      </a:cubicBezTo>
                    </a:path>
                  </a:pathLst>
                </a:custGeom>
                <a:noFill/>
                <a:ln w="6350" cap="rnd">
                  <a:solidFill>
                    <a:schemeClr val="bg1">
                      <a:alpha val="40000"/>
                    </a:schemeClr>
                  </a:solidFill>
                  <a:prstDash val="solid"/>
                  <a:miter/>
                </a:ln>
              </p:spPr>
              <p:txBody>
                <a:bodyPr rtlCol="0" anchor="ctr"/>
                <a:lstStyle/>
                <a:p>
                  <a:endParaRPr lang="en-GB"/>
                </a:p>
              </p:txBody>
            </p:sp>
            <p:sp>
              <p:nvSpPr>
                <p:cNvPr id="8186" name="Vrije vorm: vorm 8185">
                  <a:extLst>
                    <a:ext uri="{FF2B5EF4-FFF2-40B4-BE49-F238E27FC236}">
                      <a16:creationId xmlns:a16="http://schemas.microsoft.com/office/drawing/2014/main" id="{54673607-8B15-4B6F-82DD-250A2F86C68E}"/>
                    </a:ext>
                  </a:extLst>
                </p:cNvPr>
                <p:cNvSpPr/>
                <p:nvPr/>
              </p:nvSpPr>
              <p:spPr>
                <a:xfrm>
                  <a:off x="4196991" y="4747716"/>
                  <a:ext cx="32774" cy="27152"/>
                </a:xfrm>
                <a:custGeom>
                  <a:avLst/>
                  <a:gdLst>
                    <a:gd name="connsiteX0" fmla="*/ 0 w 32774"/>
                    <a:gd name="connsiteY0" fmla="*/ 27152 h 27152"/>
                    <a:gd name="connsiteX1" fmla="*/ 32775 w 32774"/>
                    <a:gd name="connsiteY1" fmla="*/ 0 h 27152"/>
                  </a:gdLst>
                  <a:ahLst/>
                  <a:cxnLst>
                    <a:cxn ang="0">
                      <a:pos x="connsiteX0" y="connsiteY0"/>
                    </a:cxn>
                    <a:cxn ang="0">
                      <a:pos x="connsiteX1" y="connsiteY1"/>
                    </a:cxn>
                  </a:cxnLst>
                  <a:rect l="l" t="t" r="r" b="b"/>
                  <a:pathLst>
                    <a:path w="32774" h="27152">
                      <a:moveTo>
                        <a:pt x="0" y="27152"/>
                      </a:moveTo>
                      <a:cubicBezTo>
                        <a:pt x="10406" y="18421"/>
                        <a:pt x="21351" y="9390"/>
                        <a:pt x="32775" y="0"/>
                      </a:cubicBezTo>
                    </a:path>
                  </a:pathLst>
                </a:custGeom>
                <a:noFill/>
                <a:ln w="6350" cap="rnd">
                  <a:solidFill>
                    <a:schemeClr val="bg1">
                      <a:alpha val="40000"/>
                    </a:schemeClr>
                  </a:solidFill>
                  <a:prstDash val="solid"/>
                  <a:miter/>
                </a:ln>
              </p:spPr>
              <p:txBody>
                <a:bodyPr rtlCol="0" anchor="ctr"/>
                <a:lstStyle/>
                <a:p>
                  <a:endParaRPr lang="en-GB"/>
                </a:p>
              </p:txBody>
            </p:sp>
            <p:sp>
              <p:nvSpPr>
                <p:cNvPr id="8187" name="Vrije vorm: vorm 8186">
                  <a:extLst>
                    <a:ext uri="{FF2B5EF4-FFF2-40B4-BE49-F238E27FC236}">
                      <a16:creationId xmlns:a16="http://schemas.microsoft.com/office/drawing/2014/main" id="{F4738D91-E77F-4A49-B794-7AD6615DD3C4}"/>
                    </a:ext>
                  </a:extLst>
                </p:cNvPr>
                <p:cNvSpPr/>
                <p:nvPr/>
              </p:nvSpPr>
              <p:spPr>
                <a:xfrm>
                  <a:off x="4203809" y="4728757"/>
                  <a:ext cx="30800" cy="25418"/>
                </a:xfrm>
                <a:custGeom>
                  <a:avLst/>
                  <a:gdLst>
                    <a:gd name="connsiteX0" fmla="*/ 0 w 30800"/>
                    <a:gd name="connsiteY0" fmla="*/ 25418 h 25418"/>
                    <a:gd name="connsiteX1" fmla="*/ 30801 w 30800"/>
                    <a:gd name="connsiteY1" fmla="*/ 0 h 25418"/>
                  </a:gdLst>
                  <a:ahLst/>
                  <a:cxnLst>
                    <a:cxn ang="0">
                      <a:pos x="connsiteX0" y="connsiteY0"/>
                    </a:cxn>
                    <a:cxn ang="0">
                      <a:pos x="connsiteX1" y="connsiteY1"/>
                    </a:cxn>
                  </a:cxnLst>
                  <a:rect l="l" t="t" r="r" b="b"/>
                  <a:pathLst>
                    <a:path w="30800" h="25418">
                      <a:moveTo>
                        <a:pt x="0" y="25418"/>
                      </a:moveTo>
                      <a:cubicBezTo>
                        <a:pt x="9868" y="17225"/>
                        <a:pt x="20155" y="8732"/>
                        <a:pt x="30801" y="0"/>
                      </a:cubicBezTo>
                    </a:path>
                  </a:pathLst>
                </a:custGeom>
                <a:noFill/>
                <a:ln w="6350" cap="rnd">
                  <a:solidFill>
                    <a:schemeClr val="bg1">
                      <a:alpha val="40000"/>
                    </a:schemeClr>
                  </a:solidFill>
                  <a:prstDash val="solid"/>
                  <a:miter/>
                </a:ln>
              </p:spPr>
              <p:txBody>
                <a:bodyPr rtlCol="0" anchor="ctr"/>
                <a:lstStyle/>
                <a:p>
                  <a:endParaRPr lang="en-GB"/>
                </a:p>
              </p:txBody>
            </p:sp>
            <p:sp>
              <p:nvSpPr>
                <p:cNvPr id="8188" name="Vrije vorm: vorm 8187">
                  <a:extLst>
                    <a:ext uri="{FF2B5EF4-FFF2-40B4-BE49-F238E27FC236}">
                      <a16:creationId xmlns:a16="http://schemas.microsoft.com/office/drawing/2014/main" id="{13236B77-0C32-40C4-B720-F267E63C9898}"/>
                    </a:ext>
                  </a:extLst>
                </p:cNvPr>
                <p:cNvSpPr/>
                <p:nvPr/>
              </p:nvSpPr>
              <p:spPr>
                <a:xfrm>
                  <a:off x="4210747" y="4708722"/>
                  <a:ext cx="30681" cy="25119"/>
                </a:xfrm>
                <a:custGeom>
                  <a:avLst/>
                  <a:gdLst>
                    <a:gd name="connsiteX0" fmla="*/ 0 w 30681"/>
                    <a:gd name="connsiteY0" fmla="*/ 25119 h 25119"/>
                    <a:gd name="connsiteX1" fmla="*/ 30681 w 30681"/>
                    <a:gd name="connsiteY1" fmla="*/ 0 h 25119"/>
                  </a:gdLst>
                  <a:ahLst/>
                  <a:cxnLst>
                    <a:cxn ang="0">
                      <a:pos x="connsiteX0" y="connsiteY0"/>
                    </a:cxn>
                    <a:cxn ang="0">
                      <a:pos x="connsiteX1" y="connsiteY1"/>
                    </a:cxn>
                  </a:cxnLst>
                  <a:rect l="l" t="t" r="r" b="b"/>
                  <a:pathLst>
                    <a:path w="30681" h="25119">
                      <a:moveTo>
                        <a:pt x="0" y="25119"/>
                      </a:moveTo>
                      <a:cubicBezTo>
                        <a:pt x="9868" y="16985"/>
                        <a:pt x="20096" y="8612"/>
                        <a:pt x="30681" y="0"/>
                      </a:cubicBezTo>
                    </a:path>
                  </a:pathLst>
                </a:custGeom>
                <a:noFill/>
                <a:ln w="6350" cap="rnd">
                  <a:solidFill>
                    <a:schemeClr val="bg1">
                      <a:alpha val="40000"/>
                    </a:schemeClr>
                  </a:solidFill>
                  <a:prstDash val="solid"/>
                  <a:miter/>
                </a:ln>
              </p:spPr>
              <p:txBody>
                <a:bodyPr rtlCol="0" anchor="ctr"/>
                <a:lstStyle/>
                <a:p>
                  <a:endParaRPr lang="en-GB"/>
                </a:p>
              </p:txBody>
            </p:sp>
            <p:sp>
              <p:nvSpPr>
                <p:cNvPr id="8189" name="Vrije vorm: vorm 8188">
                  <a:extLst>
                    <a:ext uri="{FF2B5EF4-FFF2-40B4-BE49-F238E27FC236}">
                      <a16:creationId xmlns:a16="http://schemas.microsoft.com/office/drawing/2014/main" id="{73D19FEC-A7C7-453C-9D86-77F9EC7014F4}"/>
                    </a:ext>
                  </a:extLst>
                </p:cNvPr>
                <p:cNvSpPr/>
                <p:nvPr/>
              </p:nvSpPr>
              <p:spPr>
                <a:xfrm>
                  <a:off x="4217505" y="4691557"/>
                  <a:ext cx="29365" cy="23922"/>
                </a:xfrm>
                <a:custGeom>
                  <a:avLst/>
                  <a:gdLst>
                    <a:gd name="connsiteX0" fmla="*/ 0 w 29365"/>
                    <a:gd name="connsiteY0" fmla="*/ 23923 h 23922"/>
                    <a:gd name="connsiteX1" fmla="*/ 29366 w 29365"/>
                    <a:gd name="connsiteY1" fmla="*/ 0 h 23922"/>
                  </a:gdLst>
                  <a:ahLst/>
                  <a:cxnLst>
                    <a:cxn ang="0">
                      <a:pos x="connsiteX0" y="connsiteY0"/>
                    </a:cxn>
                    <a:cxn ang="0">
                      <a:pos x="connsiteX1" y="connsiteY1"/>
                    </a:cxn>
                  </a:cxnLst>
                  <a:rect l="l" t="t" r="r" b="b"/>
                  <a:pathLst>
                    <a:path w="29365" h="23922">
                      <a:moveTo>
                        <a:pt x="0" y="23923"/>
                      </a:moveTo>
                      <a:cubicBezTo>
                        <a:pt x="9510" y="16148"/>
                        <a:pt x="19258" y="8134"/>
                        <a:pt x="29366" y="0"/>
                      </a:cubicBezTo>
                    </a:path>
                  </a:pathLst>
                </a:custGeom>
                <a:noFill/>
                <a:ln w="6350" cap="rnd">
                  <a:solidFill>
                    <a:schemeClr val="bg1">
                      <a:alpha val="40000"/>
                    </a:schemeClr>
                  </a:solidFill>
                  <a:prstDash val="solid"/>
                  <a:miter/>
                </a:ln>
              </p:spPr>
              <p:txBody>
                <a:bodyPr rtlCol="0" anchor="ctr"/>
                <a:lstStyle/>
                <a:p>
                  <a:endParaRPr lang="en-GB"/>
                </a:p>
              </p:txBody>
            </p:sp>
            <p:sp>
              <p:nvSpPr>
                <p:cNvPr id="8190" name="Vrije vorm: vorm 8189">
                  <a:extLst>
                    <a:ext uri="{FF2B5EF4-FFF2-40B4-BE49-F238E27FC236}">
                      <a16:creationId xmlns:a16="http://schemas.microsoft.com/office/drawing/2014/main" id="{35F85E3E-1919-4D72-9798-AA551362B411}"/>
                    </a:ext>
                  </a:extLst>
                </p:cNvPr>
                <p:cNvSpPr/>
                <p:nvPr/>
              </p:nvSpPr>
              <p:spPr>
                <a:xfrm>
                  <a:off x="4225339" y="4674153"/>
                  <a:ext cx="28109" cy="22786"/>
                </a:xfrm>
                <a:custGeom>
                  <a:avLst/>
                  <a:gdLst>
                    <a:gd name="connsiteX0" fmla="*/ 0 w 28109"/>
                    <a:gd name="connsiteY0" fmla="*/ 22787 h 22786"/>
                    <a:gd name="connsiteX1" fmla="*/ 28109 w 28109"/>
                    <a:gd name="connsiteY1" fmla="*/ 0 h 22786"/>
                  </a:gdLst>
                  <a:ahLst/>
                  <a:cxnLst>
                    <a:cxn ang="0">
                      <a:pos x="connsiteX0" y="connsiteY0"/>
                    </a:cxn>
                    <a:cxn ang="0">
                      <a:pos x="connsiteX1" y="connsiteY1"/>
                    </a:cxn>
                  </a:cxnLst>
                  <a:rect l="l" t="t" r="r" b="b"/>
                  <a:pathLst>
                    <a:path w="28109" h="22786">
                      <a:moveTo>
                        <a:pt x="0" y="22787"/>
                      </a:moveTo>
                      <a:cubicBezTo>
                        <a:pt x="9151" y="15370"/>
                        <a:pt x="18481" y="7775"/>
                        <a:pt x="28109" y="0"/>
                      </a:cubicBezTo>
                    </a:path>
                  </a:pathLst>
                </a:custGeom>
                <a:noFill/>
                <a:ln w="6350" cap="rnd">
                  <a:solidFill>
                    <a:schemeClr val="bg1">
                      <a:alpha val="40000"/>
                    </a:schemeClr>
                  </a:solidFill>
                  <a:prstDash val="solid"/>
                  <a:miter/>
                </a:ln>
              </p:spPr>
              <p:txBody>
                <a:bodyPr rtlCol="0" anchor="ctr"/>
                <a:lstStyle/>
                <a:p>
                  <a:endParaRPr lang="en-GB"/>
                </a:p>
              </p:txBody>
            </p:sp>
            <p:sp>
              <p:nvSpPr>
                <p:cNvPr id="8191" name="Vrije vorm: vorm 8190">
                  <a:extLst>
                    <a:ext uri="{FF2B5EF4-FFF2-40B4-BE49-F238E27FC236}">
                      <a16:creationId xmlns:a16="http://schemas.microsoft.com/office/drawing/2014/main" id="{89D694E9-C5C6-4422-B6D8-4A613E2868A3}"/>
                    </a:ext>
                  </a:extLst>
                </p:cNvPr>
                <p:cNvSpPr/>
                <p:nvPr/>
              </p:nvSpPr>
              <p:spPr>
                <a:xfrm>
                  <a:off x="4232098" y="4658663"/>
                  <a:ext cx="27092" cy="21889"/>
                </a:xfrm>
                <a:custGeom>
                  <a:avLst/>
                  <a:gdLst>
                    <a:gd name="connsiteX0" fmla="*/ 0 w 27092"/>
                    <a:gd name="connsiteY0" fmla="*/ 21890 h 21889"/>
                    <a:gd name="connsiteX1" fmla="*/ 27093 w 27092"/>
                    <a:gd name="connsiteY1" fmla="*/ 0 h 21889"/>
                  </a:gdLst>
                  <a:ahLst/>
                  <a:cxnLst>
                    <a:cxn ang="0">
                      <a:pos x="connsiteX0" y="connsiteY0"/>
                    </a:cxn>
                    <a:cxn ang="0">
                      <a:pos x="connsiteX1" y="connsiteY1"/>
                    </a:cxn>
                  </a:cxnLst>
                  <a:rect l="l" t="t" r="r" b="b"/>
                  <a:pathLst>
                    <a:path w="27092" h="21889">
                      <a:moveTo>
                        <a:pt x="0" y="21890"/>
                      </a:moveTo>
                      <a:cubicBezTo>
                        <a:pt x="8852" y="14713"/>
                        <a:pt x="17882" y="7416"/>
                        <a:pt x="27093" y="0"/>
                      </a:cubicBezTo>
                    </a:path>
                  </a:pathLst>
                </a:custGeom>
                <a:noFill/>
                <a:ln w="6350" cap="rnd">
                  <a:solidFill>
                    <a:schemeClr val="bg1">
                      <a:alpha val="40000"/>
                    </a:schemeClr>
                  </a:solidFill>
                  <a:prstDash val="solid"/>
                  <a:miter/>
                </a:ln>
              </p:spPr>
              <p:txBody>
                <a:bodyPr rtlCol="0" anchor="ctr"/>
                <a:lstStyle/>
                <a:p>
                  <a:endParaRPr lang="en-GB"/>
                </a:p>
              </p:txBody>
            </p:sp>
            <p:sp>
              <p:nvSpPr>
                <p:cNvPr id="8192" name="Vrije vorm: vorm 8191">
                  <a:extLst>
                    <a:ext uri="{FF2B5EF4-FFF2-40B4-BE49-F238E27FC236}">
                      <a16:creationId xmlns:a16="http://schemas.microsoft.com/office/drawing/2014/main" id="{42BD51AA-FBE4-4393-B2F2-69F0F4063571}"/>
                    </a:ext>
                  </a:extLst>
                </p:cNvPr>
                <p:cNvSpPr/>
                <p:nvPr/>
              </p:nvSpPr>
              <p:spPr>
                <a:xfrm>
                  <a:off x="4505118" y="4533666"/>
                  <a:ext cx="46171" cy="36781"/>
                </a:xfrm>
                <a:custGeom>
                  <a:avLst/>
                  <a:gdLst>
                    <a:gd name="connsiteX0" fmla="*/ 0 w 46171"/>
                    <a:gd name="connsiteY0" fmla="*/ 36781 h 36781"/>
                    <a:gd name="connsiteX1" fmla="*/ 46171 w 46171"/>
                    <a:gd name="connsiteY1" fmla="*/ 0 h 36781"/>
                  </a:gdLst>
                  <a:ahLst/>
                  <a:cxnLst>
                    <a:cxn ang="0">
                      <a:pos x="connsiteX0" y="connsiteY0"/>
                    </a:cxn>
                    <a:cxn ang="0">
                      <a:pos x="connsiteX1" y="connsiteY1"/>
                    </a:cxn>
                  </a:cxnLst>
                  <a:rect l="l" t="t" r="r" b="b"/>
                  <a:pathLst>
                    <a:path w="46171" h="36781">
                      <a:moveTo>
                        <a:pt x="0" y="36781"/>
                      </a:moveTo>
                      <a:cubicBezTo>
                        <a:pt x="15191" y="24700"/>
                        <a:pt x="30561" y="12440"/>
                        <a:pt x="46171" y="0"/>
                      </a:cubicBezTo>
                    </a:path>
                  </a:pathLst>
                </a:custGeom>
                <a:noFill/>
                <a:ln w="6350" cap="rnd">
                  <a:solidFill>
                    <a:schemeClr val="bg1">
                      <a:alpha val="40000"/>
                    </a:schemeClr>
                  </a:solidFill>
                  <a:prstDash val="solid"/>
                  <a:miter/>
                </a:ln>
              </p:spPr>
              <p:txBody>
                <a:bodyPr rtlCol="0" anchor="ctr"/>
                <a:lstStyle/>
                <a:p>
                  <a:endParaRPr lang="en-GB"/>
                </a:p>
              </p:txBody>
            </p:sp>
            <p:sp>
              <p:nvSpPr>
                <p:cNvPr id="8193" name="Vrije vorm: vorm 8192">
                  <a:extLst>
                    <a:ext uri="{FF2B5EF4-FFF2-40B4-BE49-F238E27FC236}">
                      <a16:creationId xmlns:a16="http://schemas.microsoft.com/office/drawing/2014/main" id="{292D6C43-23C4-41FF-B17A-BA5BBF558C02}"/>
                    </a:ext>
                  </a:extLst>
                </p:cNvPr>
                <p:cNvSpPr/>
                <p:nvPr/>
              </p:nvSpPr>
              <p:spPr>
                <a:xfrm>
                  <a:off x="4412895" y="4694906"/>
                  <a:ext cx="18540" cy="15011"/>
                </a:xfrm>
                <a:custGeom>
                  <a:avLst/>
                  <a:gdLst>
                    <a:gd name="connsiteX0" fmla="*/ 0 w 18540"/>
                    <a:gd name="connsiteY0" fmla="*/ 15012 h 15011"/>
                    <a:gd name="connsiteX1" fmla="*/ 18540 w 18540"/>
                    <a:gd name="connsiteY1" fmla="*/ 0 h 15011"/>
                  </a:gdLst>
                  <a:ahLst/>
                  <a:cxnLst>
                    <a:cxn ang="0">
                      <a:pos x="connsiteX0" y="connsiteY0"/>
                    </a:cxn>
                    <a:cxn ang="0">
                      <a:pos x="connsiteX1" y="connsiteY1"/>
                    </a:cxn>
                  </a:cxnLst>
                  <a:rect l="l" t="t" r="r" b="b"/>
                  <a:pathLst>
                    <a:path w="18540" h="15011">
                      <a:moveTo>
                        <a:pt x="0" y="15012"/>
                      </a:moveTo>
                      <a:cubicBezTo>
                        <a:pt x="6100" y="10048"/>
                        <a:pt x="12320" y="5084"/>
                        <a:pt x="18540" y="0"/>
                      </a:cubicBezTo>
                    </a:path>
                  </a:pathLst>
                </a:custGeom>
                <a:noFill/>
                <a:ln w="6350" cap="rnd">
                  <a:solidFill>
                    <a:schemeClr val="bg1">
                      <a:alpha val="40000"/>
                    </a:schemeClr>
                  </a:solidFill>
                  <a:prstDash val="solid"/>
                  <a:miter/>
                </a:ln>
              </p:spPr>
              <p:txBody>
                <a:bodyPr rtlCol="0" anchor="ctr"/>
                <a:lstStyle/>
                <a:p>
                  <a:endParaRPr lang="en-GB"/>
                </a:p>
              </p:txBody>
            </p:sp>
            <p:sp>
              <p:nvSpPr>
                <p:cNvPr id="8194" name="Vrije vorm: vorm 8193">
                  <a:extLst>
                    <a:ext uri="{FF2B5EF4-FFF2-40B4-BE49-F238E27FC236}">
                      <a16:creationId xmlns:a16="http://schemas.microsoft.com/office/drawing/2014/main" id="{C810FD84-A0D9-4F8B-BC22-A6AEDBFD6B37}"/>
                    </a:ext>
                  </a:extLst>
                </p:cNvPr>
                <p:cNvSpPr/>
                <p:nvPr/>
              </p:nvSpPr>
              <p:spPr>
                <a:xfrm>
                  <a:off x="4469951" y="4648018"/>
                  <a:ext cx="19676" cy="15848"/>
                </a:xfrm>
                <a:custGeom>
                  <a:avLst/>
                  <a:gdLst>
                    <a:gd name="connsiteX0" fmla="*/ 0 w 19676"/>
                    <a:gd name="connsiteY0" fmla="*/ 15849 h 15848"/>
                    <a:gd name="connsiteX1" fmla="*/ 19676 w 19676"/>
                    <a:gd name="connsiteY1" fmla="*/ 0 h 15848"/>
                  </a:gdLst>
                  <a:ahLst/>
                  <a:cxnLst>
                    <a:cxn ang="0">
                      <a:pos x="connsiteX0" y="connsiteY0"/>
                    </a:cxn>
                    <a:cxn ang="0">
                      <a:pos x="connsiteX1" y="connsiteY1"/>
                    </a:cxn>
                  </a:cxnLst>
                  <a:rect l="l" t="t" r="r" b="b"/>
                  <a:pathLst>
                    <a:path w="19676" h="15848">
                      <a:moveTo>
                        <a:pt x="0" y="15849"/>
                      </a:moveTo>
                      <a:cubicBezTo>
                        <a:pt x="6519" y="10586"/>
                        <a:pt x="13038" y="5323"/>
                        <a:pt x="19676" y="0"/>
                      </a:cubicBezTo>
                    </a:path>
                  </a:pathLst>
                </a:custGeom>
                <a:noFill/>
                <a:ln w="6350" cap="rnd">
                  <a:solidFill>
                    <a:schemeClr val="bg1">
                      <a:alpha val="40000"/>
                    </a:schemeClr>
                  </a:solidFill>
                  <a:prstDash val="solid"/>
                  <a:miter/>
                </a:ln>
              </p:spPr>
              <p:txBody>
                <a:bodyPr rtlCol="0" anchor="ctr"/>
                <a:lstStyle/>
                <a:p>
                  <a:endParaRPr lang="en-GB"/>
                </a:p>
              </p:txBody>
            </p:sp>
            <p:sp>
              <p:nvSpPr>
                <p:cNvPr id="8195" name="Vrije vorm: vorm 8194">
                  <a:extLst>
                    <a:ext uri="{FF2B5EF4-FFF2-40B4-BE49-F238E27FC236}">
                      <a16:creationId xmlns:a16="http://schemas.microsoft.com/office/drawing/2014/main" id="{45F73EDD-4802-4F41-9B4B-151C9748A0C0}"/>
                    </a:ext>
                  </a:extLst>
                </p:cNvPr>
                <p:cNvSpPr/>
                <p:nvPr/>
              </p:nvSpPr>
              <p:spPr>
                <a:xfrm>
                  <a:off x="4404103" y="4619549"/>
                  <a:ext cx="22128" cy="17643"/>
                </a:xfrm>
                <a:custGeom>
                  <a:avLst/>
                  <a:gdLst>
                    <a:gd name="connsiteX0" fmla="*/ 0 w 22128"/>
                    <a:gd name="connsiteY0" fmla="*/ 17643 h 17643"/>
                    <a:gd name="connsiteX1" fmla="*/ 22129 w 22128"/>
                    <a:gd name="connsiteY1" fmla="*/ 0 h 17643"/>
                  </a:gdLst>
                  <a:ahLst/>
                  <a:cxnLst>
                    <a:cxn ang="0">
                      <a:pos x="connsiteX0" y="connsiteY0"/>
                    </a:cxn>
                    <a:cxn ang="0">
                      <a:pos x="connsiteX1" y="connsiteY1"/>
                    </a:cxn>
                  </a:cxnLst>
                  <a:rect l="l" t="t" r="r" b="b"/>
                  <a:pathLst>
                    <a:path w="22128" h="17643">
                      <a:moveTo>
                        <a:pt x="0" y="17643"/>
                      </a:moveTo>
                      <a:cubicBezTo>
                        <a:pt x="7297" y="11842"/>
                        <a:pt x="14653" y="5921"/>
                        <a:pt x="22129" y="0"/>
                      </a:cubicBezTo>
                    </a:path>
                  </a:pathLst>
                </a:custGeom>
                <a:noFill/>
                <a:ln w="6350" cap="rnd">
                  <a:solidFill>
                    <a:schemeClr val="bg1">
                      <a:alpha val="40000"/>
                    </a:schemeClr>
                  </a:solidFill>
                  <a:prstDash val="solid"/>
                  <a:miter/>
                </a:ln>
              </p:spPr>
              <p:txBody>
                <a:bodyPr rtlCol="0" anchor="ctr"/>
                <a:lstStyle/>
                <a:p>
                  <a:endParaRPr lang="en-GB"/>
                </a:p>
              </p:txBody>
            </p:sp>
            <p:sp>
              <p:nvSpPr>
                <p:cNvPr id="8196" name="Vrije vorm: vorm 8195">
                  <a:extLst>
                    <a:ext uri="{FF2B5EF4-FFF2-40B4-BE49-F238E27FC236}">
                      <a16:creationId xmlns:a16="http://schemas.microsoft.com/office/drawing/2014/main" id="{93D5CD76-7174-485C-84E3-9B9C0C7F6B9C}"/>
                    </a:ext>
                  </a:extLst>
                </p:cNvPr>
                <p:cNvSpPr/>
                <p:nvPr/>
              </p:nvSpPr>
              <p:spPr>
                <a:xfrm>
                  <a:off x="4342263" y="4670625"/>
                  <a:ext cx="20035" cy="16088"/>
                </a:xfrm>
                <a:custGeom>
                  <a:avLst/>
                  <a:gdLst>
                    <a:gd name="connsiteX0" fmla="*/ 0 w 20035"/>
                    <a:gd name="connsiteY0" fmla="*/ 16088 h 16088"/>
                    <a:gd name="connsiteX1" fmla="*/ 20035 w 20035"/>
                    <a:gd name="connsiteY1" fmla="*/ 0 h 16088"/>
                  </a:gdLst>
                  <a:ahLst/>
                  <a:cxnLst>
                    <a:cxn ang="0">
                      <a:pos x="connsiteX0" y="connsiteY0"/>
                    </a:cxn>
                    <a:cxn ang="0">
                      <a:pos x="connsiteX1" y="connsiteY1"/>
                    </a:cxn>
                  </a:cxnLst>
                  <a:rect l="l" t="t" r="r" b="b"/>
                  <a:pathLst>
                    <a:path w="20035" h="16088">
                      <a:moveTo>
                        <a:pt x="0" y="16088"/>
                      </a:moveTo>
                      <a:cubicBezTo>
                        <a:pt x="6579" y="10825"/>
                        <a:pt x="13277" y="5443"/>
                        <a:pt x="20035" y="0"/>
                      </a:cubicBezTo>
                    </a:path>
                  </a:pathLst>
                </a:custGeom>
                <a:noFill/>
                <a:ln w="6350" cap="rnd">
                  <a:solidFill>
                    <a:schemeClr val="bg1">
                      <a:alpha val="40000"/>
                    </a:schemeClr>
                  </a:solidFill>
                  <a:prstDash val="solid"/>
                  <a:miter/>
                </a:ln>
              </p:spPr>
              <p:txBody>
                <a:bodyPr rtlCol="0" anchor="ctr"/>
                <a:lstStyle/>
                <a:p>
                  <a:endParaRPr lang="en-GB"/>
                </a:p>
              </p:txBody>
            </p:sp>
            <p:sp>
              <p:nvSpPr>
                <p:cNvPr id="8197" name="Vrije vorm: vorm 8196">
                  <a:extLst>
                    <a:ext uri="{FF2B5EF4-FFF2-40B4-BE49-F238E27FC236}">
                      <a16:creationId xmlns:a16="http://schemas.microsoft.com/office/drawing/2014/main" id="{D5C02426-5034-46EE-A99F-68503DFB0621}"/>
                    </a:ext>
                  </a:extLst>
                </p:cNvPr>
                <p:cNvSpPr/>
                <p:nvPr/>
              </p:nvSpPr>
              <p:spPr>
                <a:xfrm>
                  <a:off x="4285326" y="4716556"/>
                  <a:ext cx="19856" cy="16088"/>
                </a:xfrm>
                <a:custGeom>
                  <a:avLst/>
                  <a:gdLst>
                    <a:gd name="connsiteX0" fmla="*/ 0 w 19856"/>
                    <a:gd name="connsiteY0" fmla="*/ 16088 h 16088"/>
                    <a:gd name="connsiteX1" fmla="*/ 19856 w 19856"/>
                    <a:gd name="connsiteY1" fmla="*/ 0 h 16088"/>
                  </a:gdLst>
                  <a:ahLst/>
                  <a:cxnLst>
                    <a:cxn ang="0">
                      <a:pos x="connsiteX0" y="connsiteY0"/>
                    </a:cxn>
                    <a:cxn ang="0">
                      <a:pos x="connsiteX1" y="connsiteY1"/>
                    </a:cxn>
                  </a:cxnLst>
                  <a:rect l="l" t="t" r="r" b="b"/>
                  <a:pathLst>
                    <a:path w="19856" h="16088">
                      <a:moveTo>
                        <a:pt x="0" y="16088"/>
                      </a:moveTo>
                      <a:cubicBezTo>
                        <a:pt x="6519" y="10825"/>
                        <a:pt x="13158" y="5443"/>
                        <a:pt x="19856" y="0"/>
                      </a:cubicBezTo>
                    </a:path>
                  </a:pathLst>
                </a:custGeom>
                <a:noFill/>
                <a:ln w="6350" cap="rnd">
                  <a:solidFill>
                    <a:schemeClr val="bg1">
                      <a:alpha val="40000"/>
                    </a:schemeClr>
                  </a:solidFill>
                  <a:prstDash val="solid"/>
                  <a:miter/>
                </a:ln>
              </p:spPr>
              <p:txBody>
                <a:bodyPr rtlCol="0" anchor="ctr"/>
                <a:lstStyle/>
                <a:p>
                  <a:endParaRPr lang="en-GB"/>
                </a:p>
              </p:txBody>
            </p:sp>
            <p:sp>
              <p:nvSpPr>
                <p:cNvPr id="8198" name="Vrije vorm: vorm 8197">
                  <a:extLst>
                    <a:ext uri="{FF2B5EF4-FFF2-40B4-BE49-F238E27FC236}">
                      <a16:creationId xmlns:a16="http://schemas.microsoft.com/office/drawing/2014/main" id="{7EC3B971-9999-48DE-BB3B-438110725989}"/>
                    </a:ext>
                  </a:extLst>
                </p:cNvPr>
                <p:cNvSpPr/>
                <p:nvPr/>
              </p:nvSpPr>
              <p:spPr>
                <a:xfrm>
                  <a:off x="4470669" y="4565603"/>
                  <a:ext cx="23384" cy="18599"/>
                </a:xfrm>
                <a:custGeom>
                  <a:avLst/>
                  <a:gdLst>
                    <a:gd name="connsiteX0" fmla="*/ 0 w 23384"/>
                    <a:gd name="connsiteY0" fmla="*/ 18600 h 18599"/>
                    <a:gd name="connsiteX1" fmla="*/ 23384 w 23384"/>
                    <a:gd name="connsiteY1" fmla="*/ 0 h 18599"/>
                  </a:gdLst>
                  <a:ahLst/>
                  <a:cxnLst>
                    <a:cxn ang="0">
                      <a:pos x="connsiteX0" y="connsiteY0"/>
                    </a:cxn>
                    <a:cxn ang="0">
                      <a:pos x="connsiteX1" y="connsiteY1"/>
                    </a:cxn>
                  </a:cxnLst>
                  <a:rect l="l" t="t" r="r" b="b"/>
                  <a:pathLst>
                    <a:path w="23384" h="18599">
                      <a:moveTo>
                        <a:pt x="0" y="18600"/>
                      </a:moveTo>
                      <a:cubicBezTo>
                        <a:pt x="7715" y="12440"/>
                        <a:pt x="15550" y="6280"/>
                        <a:pt x="23384" y="0"/>
                      </a:cubicBezTo>
                    </a:path>
                  </a:pathLst>
                </a:custGeom>
                <a:noFill/>
                <a:ln w="6350" cap="rnd">
                  <a:solidFill>
                    <a:schemeClr val="bg1">
                      <a:alpha val="40000"/>
                    </a:schemeClr>
                  </a:solidFill>
                  <a:prstDash val="solid"/>
                  <a:miter/>
                </a:ln>
              </p:spPr>
              <p:txBody>
                <a:bodyPr rtlCol="0" anchor="ctr"/>
                <a:lstStyle/>
                <a:p>
                  <a:endParaRPr lang="en-GB"/>
                </a:p>
              </p:txBody>
            </p:sp>
            <p:sp>
              <p:nvSpPr>
                <p:cNvPr id="8199" name="Vrije vorm: vorm 8198">
                  <a:extLst>
                    <a:ext uri="{FF2B5EF4-FFF2-40B4-BE49-F238E27FC236}">
                      <a16:creationId xmlns:a16="http://schemas.microsoft.com/office/drawing/2014/main" id="{BF259C68-4297-4045-914C-5A0DBF3F5947}"/>
                    </a:ext>
                  </a:extLst>
                </p:cNvPr>
                <p:cNvSpPr/>
                <p:nvPr/>
              </p:nvSpPr>
              <p:spPr>
                <a:xfrm>
                  <a:off x="4465346" y="4554120"/>
                  <a:ext cx="23564" cy="18659"/>
                </a:xfrm>
                <a:custGeom>
                  <a:avLst/>
                  <a:gdLst>
                    <a:gd name="connsiteX0" fmla="*/ 0 w 23564"/>
                    <a:gd name="connsiteY0" fmla="*/ 18660 h 18659"/>
                    <a:gd name="connsiteX1" fmla="*/ 23564 w 23564"/>
                    <a:gd name="connsiteY1" fmla="*/ 0 h 18659"/>
                  </a:gdLst>
                  <a:ahLst/>
                  <a:cxnLst>
                    <a:cxn ang="0">
                      <a:pos x="connsiteX0" y="connsiteY0"/>
                    </a:cxn>
                    <a:cxn ang="0">
                      <a:pos x="connsiteX1" y="connsiteY1"/>
                    </a:cxn>
                  </a:cxnLst>
                  <a:rect l="l" t="t" r="r" b="b"/>
                  <a:pathLst>
                    <a:path w="23564" h="18659">
                      <a:moveTo>
                        <a:pt x="0" y="18660"/>
                      </a:moveTo>
                      <a:cubicBezTo>
                        <a:pt x="7775" y="12500"/>
                        <a:pt x="15610" y="6280"/>
                        <a:pt x="23564" y="0"/>
                      </a:cubicBezTo>
                    </a:path>
                  </a:pathLst>
                </a:custGeom>
                <a:noFill/>
                <a:ln w="6350" cap="rnd">
                  <a:solidFill>
                    <a:schemeClr val="bg1">
                      <a:alpha val="40000"/>
                    </a:schemeClr>
                  </a:solidFill>
                  <a:prstDash val="solid"/>
                  <a:miter/>
                </a:ln>
              </p:spPr>
              <p:txBody>
                <a:bodyPr rtlCol="0" anchor="ctr"/>
                <a:lstStyle/>
                <a:p>
                  <a:endParaRPr lang="en-GB"/>
                </a:p>
              </p:txBody>
            </p:sp>
            <p:sp>
              <p:nvSpPr>
                <p:cNvPr id="8200" name="Vrije vorm: vorm 8199">
                  <a:extLst>
                    <a:ext uri="{FF2B5EF4-FFF2-40B4-BE49-F238E27FC236}">
                      <a16:creationId xmlns:a16="http://schemas.microsoft.com/office/drawing/2014/main" id="{85B5DF30-41C1-4BE8-B133-523B4FD4E0C4}"/>
                    </a:ext>
                  </a:extLst>
                </p:cNvPr>
                <p:cNvSpPr/>
                <p:nvPr/>
              </p:nvSpPr>
              <p:spPr>
                <a:xfrm>
                  <a:off x="4397585" y="4608545"/>
                  <a:ext cx="22726" cy="18061"/>
                </a:xfrm>
                <a:custGeom>
                  <a:avLst/>
                  <a:gdLst>
                    <a:gd name="connsiteX0" fmla="*/ 0 w 22726"/>
                    <a:gd name="connsiteY0" fmla="*/ 18062 h 18061"/>
                    <a:gd name="connsiteX1" fmla="*/ 22727 w 22726"/>
                    <a:gd name="connsiteY1" fmla="*/ 0 h 18061"/>
                  </a:gdLst>
                  <a:ahLst/>
                  <a:cxnLst>
                    <a:cxn ang="0">
                      <a:pos x="connsiteX0" y="connsiteY0"/>
                    </a:cxn>
                    <a:cxn ang="0">
                      <a:pos x="connsiteX1" y="connsiteY1"/>
                    </a:cxn>
                  </a:cxnLst>
                  <a:rect l="l" t="t" r="r" b="b"/>
                  <a:pathLst>
                    <a:path w="22726" h="18061">
                      <a:moveTo>
                        <a:pt x="0" y="18062"/>
                      </a:moveTo>
                      <a:cubicBezTo>
                        <a:pt x="7476" y="12081"/>
                        <a:pt x="15071" y="6041"/>
                        <a:pt x="22727" y="0"/>
                      </a:cubicBezTo>
                    </a:path>
                  </a:pathLst>
                </a:custGeom>
                <a:noFill/>
                <a:ln w="6350" cap="rnd">
                  <a:solidFill>
                    <a:schemeClr val="bg1">
                      <a:alpha val="40000"/>
                    </a:schemeClr>
                  </a:solidFill>
                  <a:prstDash val="solid"/>
                  <a:miter/>
                </a:ln>
              </p:spPr>
              <p:txBody>
                <a:bodyPr rtlCol="0" anchor="ctr"/>
                <a:lstStyle/>
                <a:p>
                  <a:endParaRPr lang="en-GB"/>
                </a:p>
              </p:txBody>
            </p:sp>
            <p:sp>
              <p:nvSpPr>
                <p:cNvPr id="8201" name="Vrije vorm: vorm 8200">
                  <a:extLst>
                    <a:ext uri="{FF2B5EF4-FFF2-40B4-BE49-F238E27FC236}">
                      <a16:creationId xmlns:a16="http://schemas.microsoft.com/office/drawing/2014/main" id="{B923FAD9-50D1-4421-91A3-7731F52B08BC}"/>
                    </a:ext>
                  </a:extLst>
                </p:cNvPr>
                <p:cNvSpPr/>
                <p:nvPr/>
              </p:nvSpPr>
              <p:spPr>
                <a:xfrm>
                  <a:off x="4335744" y="4660338"/>
                  <a:ext cx="19616" cy="15669"/>
                </a:xfrm>
                <a:custGeom>
                  <a:avLst/>
                  <a:gdLst>
                    <a:gd name="connsiteX0" fmla="*/ 0 w 19616"/>
                    <a:gd name="connsiteY0" fmla="*/ 15669 h 15669"/>
                    <a:gd name="connsiteX1" fmla="*/ 19617 w 19616"/>
                    <a:gd name="connsiteY1" fmla="*/ 0 h 15669"/>
                  </a:gdLst>
                  <a:ahLst/>
                  <a:cxnLst>
                    <a:cxn ang="0">
                      <a:pos x="connsiteX0" y="connsiteY0"/>
                    </a:cxn>
                    <a:cxn ang="0">
                      <a:pos x="connsiteX1" y="connsiteY1"/>
                    </a:cxn>
                  </a:cxnLst>
                  <a:rect l="l" t="t" r="r" b="b"/>
                  <a:pathLst>
                    <a:path w="19616" h="15669">
                      <a:moveTo>
                        <a:pt x="0" y="15669"/>
                      </a:moveTo>
                      <a:cubicBezTo>
                        <a:pt x="6459" y="10526"/>
                        <a:pt x="12978" y="5263"/>
                        <a:pt x="19617" y="0"/>
                      </a:cubicBezTo>
                    </a:path>
                  </a:pathLst>
                </a:custGeom>
                <a:noFill/>
                <a:ln w="6350" cap="rnd">
                  <a:solidFill>
                    <a:schemeClr val="bg1">
                      <a:alpha val="40000"/>
                    </a:schemeClr>
                  </a:solidFill>
                  <a:prstDash val="solid"/>
                  <a:miter/>
                </a:ln>
              </p:spPr>
              <p:txBody>
                <a:bodyPr rtlCol="0" anchor="ctr"/>
                <a:lstStyle/>
                <a:p>
                  <a:endParaRPr lang="en-GB"/>
                </a:p>
              </p:txBody>
            </p:sp>
            <p:sp>
              <p:nvSpPr>
                <p:cNvPr id="8202" name="Vrije vorm: vorm 8201">
                  <a:extLst>
                    <a:ext uri="{FF2B5EF4-FFF2-40B4-BE49-F238E27FC236}">
                      <a16:creationId xmlns:a16="http://schemas.microsoft.com/office/drawing/2014/main" id="{93D1FFE3-E873-447E-AFA3-C85FF8ECAFF0}"/>
                    </a:ext>
                  </a:extLst>
                </p:cNvPr>
                <p:cNvSpPr/>
                <p:nvPr/>
              </p:nvSpPr>
              <p:spPr>
                <a:xfrm>
                  <a:off x="4277193" y="4706150"/>
                  <a:ext cx="21111" cy="17104"/>
                </a:xfrm>
                <a:custGeom>
                  <a:avLst/>
                  <a:gdLst>
                    <a:gd name="connsiteX0" fmla="*/ 0 w 21111"/>
                    <a:gd name="connsiteY0" fmla="*/ 17105 h 17104"/>
                    <a:gd name="connsiteX1" fmla="*/ 21112 w 21111"/>
                    <a:gd name="connsiteY1" fmla="*/ 0 h 17104"/>
                  </a:gdLst>
                  <a:ahLst/>
                  <a:cxnLst>
                    <a:cxn ang="0">
                      <a:pos x="connsiteX0" y="connsiteY0"/>
                    </a:cxn>
                    <a:cxn ang="0">
                      <a:pos x="connsiteX1" y="connsiteY1"/>
                    </a:cxn>
                  </a:cxnLst>
                  <a:rect l="l" t="t" r="r" b="b"/>
                  <a:pathLst>
                    <a:path w="21111" h="17104">
                      <a:moveTo>
                        <a:pt x="0" y="17105"/>
                      </a:moveTo>
                      <a:cubicBezTo>
                        <a:pt x="6937" y="11483"/>
                        <a:pt x="13935" y="5801"/>
                        <a:pt x="21112" y="0"/>
                      </a:cubicBezTo>
                    </a:path>
                  </a:pathLst>
                </a:custGeom>
                <a:noFill/>
                <a:ln w="6350" cap="rnd">
                  <a:solidFill>
                    <a:schemeClr val="bg1">
                      <a:alpha val="40000"/>
                    </a:schemeClr>
                  </a:solidFill>
                  <a:prstDash val="solid"/>
                  <a:miter/>
                </a:ln>
              </p:spPr>
              <p:txBody>
                <a:bodyPr rtlCol="0" anchor="ctr"/>
                <a:lstStyle/>
                <a:p>
                  <a:endParaRPr lang="en-GB"/>
                </a:p>
              </p:txBody>
            </p:sp>
            <p:sp>
              <p:nvSpPr>
                <p:cNvPr id="8203" name="Vrije vorm: vorm 8202">
                  <a:extLst>
                    <a:ext uri="{FF2B5EF4-FFF2-40B4-BE49-F238E27FC236}">
                      <a16:creationId xmlns:a16="http://schemas.microsoft.com/office/drawing/2014/main" id="{D02CF2F6-30D4-4714-9E4A-0B4CA6B6A8F2}"/>
                    </a:ext>
                  </a:extLst>
                </p:cNvPr>
                <p:cNvSpPr/>
                <p:nvPr/>
              </p:nvSpPr>
              <p:spPr>
                <a:xfrm>
                  <a:off x="4529878" y="4595327"/>
                  <a:ext cx="25118" cy="20274"/>
                </a:xfrm>
                <a:custGeom>
                  <a:avLst/>
                  <a:gdLst>
                    <a:gd name="connsiteX0" fmla="*/ 0 w 25118"/>
                    <a:gd name="connsiteY0" fmla="*/ 20274 h 20274"/>
                    <a:gd name="connsiteX1" fmla="*/ 25119 w 25118"/>
                    <a:gd name="connsiteY1" fmla="*/ 0 h 20274"/>
                  </a:gdLst>
                  <a:ahLst/>
                  <a:cxnLst>
                    <a:cxn ang="0">
                      <a:pos x="connsiteX0" y="connsiteY0"/>
                    </a:cxn>
                    <a:cxn ang="0">
                      <a:pos x="connsiteX1" y="connsiteY1"/>
                    </a:cxn>
                  </a:cxnLst>
                  <a:rect l="l" t="t" r="r" b="b"/>
                  <a:pathLst>
                    <a:path w="25118" h="20274">
                      <a:moveTo>
                        <a:pt x="0" y="20274"/>
                      </a:moveTo>
                      <a:cubicBezTo>
                        <a:pt x="8313" y="13576"/>
                        <a:pt x="16686" y="6818"/>
                        <a:pt x="25119" y="0"/>
                      </a:cubicBezTo>
                    </a:path>
                  </a:pathLst>
                </a:custGeom>
                <a:noFill/>
                <a:ln w="6350" cap="rnd">
                  <a:solidFill>
                    <a:schemeClr val="bg1">
                      <a:alpha val="40000"/>
                    </a:schemeClr>
                  </a:solidFill>
                  <a:prstDash val="solid"/>
                  <a:miter/>
                </a:ln>
              </p:spPr>
              <p:txBody>
                <a:bodyPr rtlCol="0" anchor="ctr"/>
                <a:lstStyle/>
                <a:p>
                  <a:endParaRPr lang="en-GB"/>
                </a:p>
              </p:txBody>
            </p:sp>
            <p:sp>
              <p:nvSpPr>
                <p:cNvPr id="8204" name="Vrije vorm: vorm 8203">
                  <a:extLst>
                    <a:ext uri="{FF2B5EF4-FFF2-40B4-BE49-F238E27FC236}">
                      <a16:creationId xmlns:a16="http://schemas.microsoft.com/office/drawing/2014/main" id="{670339BE-BF50-479A-9A1F-D3148CBEDA7C}"/>
                    </a:ext>
                  </a:extLst>
                </p:cNvPr>
                <p:cNvSpPr/>
                <p:nvPr/>
              </p:nvSpPr>
              <p:spPr>
                <a:xfrm>
                  <a:off x="4468157" y="4501370"/>
                  <a:ext cx="26673" cy="20992"/>
                </a:xfrm>
                <a:custGeom>
                  <a:avLst/>
                  <a:gdLst>
                    <a:gd name="connsiteX0" fmla="*/ 0 w 26673"/>
                    <a:gd name="connsiteY0" fmla="*/ 20992 h 20992"/>
                    <a:gd name="connsiteX1" fmla="*/ 26674 w 26673"/>
                    <a:gd name="connsiteY1" fmla="*/ 0 h 20992"/>
                  </a:gdLst>
                  <a:ahLst/>
                  <a:cxnLst>
                    <a:cxn ang="0">
                      <a:pos x="connsiteX0" y="connsiteY0"/>
                    </a:cxn>
                    <a:cxn ang="0">
                      <a:pos x="connsiteX1" y="connsiteY1"/>
                    </a:cxn>
                  </a:cxnLst>
                  <a:rect l="l" t="t" r="r" b="b"/>
                  <a:pathLst>
                    <a:path w="26673" h="20992">
                      <a:moveTo>
                        <a:pt x="0" y="20992"/>
                      </a:moveTo>
                      <a:cubicBezTo>
                        <a:pt x="8851" y="14055"/>
                        <a:pt x="17703" y="7057"/>
                        <a:pt x="26674" y="0"/>
                      </a:cubicBezTo>
                    </a:path>
                  </a:pathLst>
                </a:custGeom>
                <a:noFill/>
                <a:ln w="6350" cap="rnd">
                  <a:solidFill>
                    <a:schemeClr val="bg1">
                      <a:alpha val="40000"/>
                    </a:schemeClr>
                  </a:solidFill>
                  <a:prstDash val="solid"/>
                  <a:miter/>
                </a:ln>
              </p:spPr>
              <p:txBody>
                <a:bodyPr rtlCol="0" anchor="ctr"/>
                <a:lstStyle/>
                <a:p>
                  <a:endParaRPr lang="en-GB"/>
                </a:p>
              </p:txBody>
            </p:sp>
            <p:grpSp>
              <p:nvGrpSpPr>
                <p:cNvPr id="8205" name="Graphic 3">
                  <a:extLst>
                    <a:ext uri="{FF2B5EF4-FFF2-40B4-BE49-F238E27FC236}">
                      <a16:creationId xmlns:a16="http://schemas.microsoft.com/office/drawing/2014/main" id="{E46B9F30-DB46-4DE6-A97A-24091CDF9A55}"/>
                    </a:ext>
                  </a:extLst>
                </p:cNvPr>
                <p:cNvGrpSpPr/>
                <p:nvPr/>
              </p:nvGrpSpPr>
              <p:grpSpPr>
                <a:xfrm>
                  <a:off x="4548298" y="4275957"/>
                  <a:ext cx="25477" cy="71110"/>
                  <a:chOff x="4548298" y="4275957"/>
                  <a:chExt cx="25477" cy="71110"/>
                </a:xfrm>
                <a:noFill/>
              </p:grpSpPr>
              <p:sp>
                <p:nvSpPr>
                  <p:cNvPr id="8462" name="Vrije vorm: vorm 8461">
                    <a:extLst>
                      <a:ext uri="{FF2B5EF4-FFF2-40B4-BE49-F238E27FC236}">
                        <a16:creationId xmlns:a16="http://schemas.microsoft.com/office/drawing/2014/main" id="{B3D664F3-2FD0-4518-A5DC-3A3D50087D15}"/>
                      </a:ext>
                    </a:extLst>
                  </p:cNvPr>
                  <p:cNvSpPr/>
                  <p:nvPr/>
                </p:nvSpPr>
                <p:spPr>
                  <a:xfrm>
                    <a:off x="4554100" y="4331876"/>
                    <a:ext cx="19676" cy="15191"/>
                  </a:xfrm>
                  <a:custGeom>
                    <a:avLst/>
                    <a:gdLst>
                      <a:gd name="connsiteX0" fmla="*/ 0 w 19676"/>
                      <a:gd name="connsiteY0" fmla="*/ 15191 h 15191"/>
                      <a:gd name="connsiteX1" fmla="*/ 19676 w 19676"/>
                      <a:gd name="connsiteY1" fmla="*/ 0 h 15191"/>
                    </a:gdLst>
                    <a:ahLst/>
                    <a:cxnLst>
                      <a:cxn ang="0">
                        <a:pos x="connsiteX0" y="connsiteY0"/>
                      </a:cxn>
                      <a:cxn ang="0">
                        <a:pos x="connsiteX1" y="connsiteY1"/>
                      </a:cxn>
                    </a:cxnLst>
                    <a:rect l="l" t="t" r="r" b="b"/>
                    <a:pathLst>
                      <a:path w="19676" h="15191">
                        <a:moveTo>
                          <a:pt x="0" y="15191"/>
                        </a:moveTo>
                        <a:cubicBezTo>
                          <a:pt x="6519" y="10107"/>
                          <a:pt x="13098" y="5084"/>
                          <a:pt x="19676" y="0"/>
                        </a:cubicBezTo>
                      </a:path>
                    </a:pathLst>
                  </a:custGeom>
                  <a:noFill/>
                  <a:ln w="6350" cap="rnd">
                    <a:solidFill>
                      <a:schemeClr val="bg1">
                        <a:alpha val="40000"/>
                      </a:schemeClr>
                    </a:solidFill>
                    <a:prstDash val="solid"/>
                    <a:miter/>
                  </a:ln>
                </p:spPr>
                <p:txBody>
                  <a:bodyPr rtlCol="0" anchor="ctr"/>
                  <a:lstStyle/>
                  <a:p>
                    <a:endParaRPr lang="en-GB"/>
                  </a:p>
                </p:txBody>
              </p:sp>
              <p:sp>
                <p:nvSpPr>
                  <p:cNvPr id="8463" name="Vrije vorm: vorm 8462">
                    <a:extLst>
                      <a:ext uri="{FF2B5EF4-FFF2-40B4-BE49-F238E27FC236}">
                        <a16:creationId xmlns:a16="http://schemas.microsoft.com/office/drawing/2014/main" id="{97BD03D5-6F28-43C9-A631-B519D70AF471}"/>
                      </a:ext>
                    </a:extLst>
                  </p:cNvPr>
                  <p:cNvSpPr/>
                  <p:nvPr/>
                </p:nvSpPr>
                <p:spPr>
                  <a:xfrm>
                    <a:off x="4551050" y="4303947"/>
                    <a:ext cx="16088" cy="12380"/>
                  </a:xfrm>
                  <a:custGeom>
                    <a:avLst/>
                    <a:gdLst>
                      <a:gd name="connsiteX0" fmla="*/ 0 w 16088"/>
                      <a:gd name="connsiteY0" fmla="*/ 12380 h 12380"/>
                      <a:gd name="connsiteX1" fmla="*/ 16088 w 16088"/>
                      <a:gd name="connsiteY1" fmla="*/ 0 h 12380"/>
                    </a:gdLst>
                    <a:ahLst/>
                    <a:cxnLst>
                      <a:cxn ang="0">
                        <a:pos x="connsiteX0" y="connsiteY0"/>
                      </a:cxn>
                      <a:cxn ang="0">
                        <a:pos x="connsiteX1" y="connsiteY1"/>
                      </a:cxn>
                    </a:cxnLst>
                    <a:rect l="l" t="t" r="r" b="b"/>
                    <a:pathLst>
                      <a:path w="16088" h="12380">
                        <a:moveTo>
                          <a:pt x="0" y="12380"/>
                        </a:moveTo>
                        <a:cubicBezTo>
                          <a:pt x="5383" y="8253"/>
                          <a:pt x="10705" y="4127"/>
                          <a:pt x="16088" y="0"/>
                        </a:cubicBezTo>
                      </a:path>
                    </a:pathLst>
                  </a:custGeom>
                  <a:noFill/>
                  <a:ln w="6350" cap="rnd">
                    <a:solidFill>
                      <a:schemeClr val="bg1">
                        <a:alpha val="40000"/>
                      </a:schemeClr>
                    </a:solidFill>
                    <a:prstDash val="solid"/>
                    <a:miter/>
                  </a:ln>
                </p:spPr>
                <p:txBody>
                  <a:bodyPr rtlCol="0" anchor="ctr"/>
                  <a:lstStyle/>
                  <a:p>
                    <a:endParaRPr lang="en-GB"/>
                  </a:p>
                </p:txBody>
              </p:sp>
              <p:sp>
                <p:nvSpPr>
                  <p:cNvPr id="8464" name="Vrije vorm: vorm 8463">
                    <a:extLst>
                      <a:ext uri="{FF2B5EF4-FFF2-40B4-BE49-F238E27FC236}">
                        <a16:creationId xmlns:a16="http://schemas.microsoft.com/office/drawing/2014/main" id="{9FA415FD-9244-4236-8A46-1F9D7739EB72}"/>
                      </a:ext>
                    </a:extLst>
                  </p:cNvPr>
                  <p:cNvSpPr/>
                  <p:nvPr/>
                </p:nvSpPr>
                <p:spPr>
                  <a:xfrm>
                    <a:off x="4548298" y="4275957"/>
                    <a:ext cx="12380" cy="9509"/>
                  </a:xfrm>
                  <a:custGeom>
                    <a:avLst/>
                    <a:gdLst>
                      <a:gd name="connsiteX0" fmla="*/ 0 w 12380"/>
                      <a:gd name="connsiteY0" fmla="*/ 9510 h 9509"/>
                      <a:gd name="connsiteX1" fmla="*/ 12380 w 12380"/>
                      <a:gd name="connsiteY1" fmla="*/ 0 h 9509"/>
                    </a:gdLst>
                    <a:ahLst/>
                    <a:cxnLst>
                      <a:cxn ang="0">
                        <a:pos x="connsiteX0" y="connsiteY0"/>
                      </a:cxn>
                      <a:cxn ang="0">
                        <a:pos x="connsiteX1" y="connsiteY1"/>
                      </a:cxn>
                    </a:cxnLst>
                    <a:rect l="l" t="t" r="r" b="b"/>
                    <a:pathLst>
                      <a:path w="12380" h="9509">
                        <a:moveTo>
                          <a:pt x="0" y="9510"/>
                        </a:moveTo>
                        <a:cubicBezTo>
                          <a:pt x="4127" y="6340"/>
                          <a:pt x="8253" y="3170"/>
                          <a:pt x="12380" y="0"/>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06" name="Graphic 3">
                  <a:extLst>
                    <a:ext uri="{FF2B5EF4-FFF2-40B4-BE49-F238E27FC236}">
                      <a16:creationId xmlns:a16="http://schemas.microsoft.com/office/drawing/2014/main" id="{2B3C4DD0-97D3-475B-B6B1-BFF0AEB35BF0}"/>
                    </a:ext>
                  </a:extLst>
                </p:cNvPr>
                <p:cNvGrpSpPr/>
                <p:nvPr/>
              </p:nvGrpSpPr>
              <p:grpSpPr>
                <a:xfrm>
                  <a:off x="4506374" y="4299641"/>
                  <a:ext cx="23444" cy="84208"/>
                  <a:chOff x="4506374" y="4299641"/>
                  <a:chExt cx="23444" cy="84208"/>
                </a:xfrm>
                <a:noFill/>
              </p:grpSpPr>
              <p:sp>
                <p:nvSpPr>
                  <p:cNvPr id="8459" name="Vrije vorm: vorm 8458">
                    <a:extLst>
                      <a:ext uri="{FF2B5EF4-FFF2-40B4-BE49-F238E27FC236}">
                        <a16:creationId xmlns:a16="http://schemas.microsoft.com/office/drawing/2014/main" id="{5A8D0267-799B-4CD6-B4AF-3C6669F636E7}"/>
                      </a:ext>
                    </a:extLst>
                  </p:cNvPr>
                  <p:cNvSpPr/>
                  <p:nvPr/>
                </p:nvSpPr>
                <p:spPr>
                  <a:xfrm>
                    <a:off x="4506374" y="4367043"/>
                    <a:ext cx="21829" cy="16805"/>
                  </a:xfrm>
                  <a:custGeom>
                    <a:avLst/>
                    <a:gdLst>
                      <a:gd name="connsiteX0" fmla="*/ 0 w 21829"/>
                      <a:gd name="connsiteY0" fmla="*/ 16806 h 16805"/>
                      <a:gd name="connsiteX1" fmla="*/ 21829 w 21829"/>
                      <a:gd name="connsiteY1" fmla="*/ 0 h 16805"/>
                    </a:gdLst>
                    <a:ahLst/>
                    <a:cxnLst>
                      <a:cxn ang="0">
                        <a:pos x="connsiteX0" y="connsiteY0"/>
                      </a:cxn>
                      <a:cxn ang="0">
                        <a:pos x="connsiteX1" y="connsiteY1"/>
                      </a:cxn>
                    </a:cxnLst>
                    <a:rect l="l" t="t" r="r" b="b"/>
                    <a:pathLst>
                      <a:path w="21829" h="16805">
                        <a:moveTo>
                          <a:pt x="0" y="16806"/>
                        </a:moveTo>
                        <a:cubicBezTo>
                          <a:pt x="7236" y="11244"/>
                          <a:pt x="14533" y="5622"/>
                          <a:pt x="21829" y="0"/>
                        </a:cubicBezTo>
                      </a:path>
                    </a:pathLst>
                  </a:custGeom>
                  <a:noFill/>
                  <a:ln w="6350" cap="rnd">
                    <a:solidFill>
                      <a:schemeClr val="bg1">
                        <a:alpha val="40000"/>
                      </a:schemeClr>
                    </a:solidFill>
                    <a:prstDash val="solid"/>
                    <a:miter/>
                  </a:ln>
                </p:spPr>
                <p:txBody>
                  <a:bodyPr rtlCol="0" anchor="ctr"/>
                  <a:lstStyle/>
                  <a:p>
                    <a:endParaRPr lang="en-GB"/>
                  </a:p>
                </p:txBody>
              </p:sp>
              <p:sp>
                <p:nvSpPr>
                  <p:cNvPr id="8460" name="Vrije vorm: vorm 8459">
                    <a:extLst>
                      <a:ext uri="{FF2B5EF4-FFF2-40B4-BE49-F238E27FC236}">
                        <a16:creationId xmlns:a16="http://schemas.microsoft.com/office/drawing/2014/main" id="{421D4B0D-769E-45CF-8EB2-B4274D798821}"/>
                      </a:ext>
                    </a:extLst>
                  </p:cNvPr>
                  <p:cNvSpPr/>
                  <p:nvPr/>
                </p:nvSpPr>
                <p:spPr>
                  <a:xfrm>
                    <a:off x="4509783" y="4333431"/>
                    <a:ext cx="19019" cy="14592"/>
                  </a:xfrm>
                  <a:custGeom>
                    <a:avLst/>
                    <a:gdLst>
                      <a:gd name="connsiteX0" fmla="*/ 0 w 19019"/>
                      <a:gd name="connsiteY0" fmla="*/ 14593 h 14592"/>
                      <a:gd name="connsiteX1" fmla="*/ 19019 w 19019"/>
                      <a:gd name="connsiteY1" fmla="*/ 0 h 14592"/>
                    </a:gdLst>
                    <a:ahLst/>
                    <a:cxnLst>
                      <a:cxn ang="0">
                        <a:pos x="connsiteX0" y="connsiteY0"/>
                      </a:cxn>
                      <a:cxn ang="0">
                        <a:pos x="connsiteX1" y="connsiteY1"/>
                      </a:cxn>
                    </a:cxnLst>
                    <a:rect l="l" t="t" r="r" b="b"/>
                    <a:pathLst>
                      <a:path w="19019" h="14592">
                        <a:moveTo>
                          <a:pt x="0" y="14593"/>
                        </a:moveTo>
                        <a:cubicBezTo>
                          <a:pt x="6340" y="9749"/>
                          <a:pt x="12679" y="4904"/>
                          <a:pt x="19019" y="0"/>
                        </a:cubicBezTo>
                      </a:path>
                    </a:pathLst>
                  </a:custGeom>
                  <a:noFill/>
                  <a:ln w="6350" cap="rnd">
                    <a:solidFill>
                      <a:schemeClr val="bg1">
                        <a:alpha val="40000"/>
                      </a:schemeClr>
                    </a:solidFill>
                    <a:prstDash val="solid"/>
                    <a:miter/>
                  </a:ln>
                </p:spPr>
                <p:txBody>
                  <a:bodyPr rtlCol="0" anchor="ctr"/>
                  <a:lstStyle/>
                  <a:p>
                    <a:endParaRPr lang="en-GB"/>
                  </a:p>
                </p:txBody>
              </p:sp>
              <p:sp>
                <p:nvSpPr>
                  <p:cNvPr id="8461" name="Vrije vorm: vorm 8460">
                    <a:extLst>
                      <a:ext uri="{FF2B5EF4-FFF2-40B4-BE49-F238E27FC236}">
                        <a16:creationId xmlns:a16="http://schemas.microsoft.com/office/drawing/2014/main" id="{CB7B665B-42C4-4DE9-BC74-104B0ACE854B}"/>
                      </a:ext>
                    </a:extLst>
                  </p:cNvPr>
                  <p:cNvSpPr/>
                  <p:nvPr/>
                </p:nvSpPr>
                <p:spPr>
                  <a:xfrm>
                    <a:off x="4513670" y="4299641"/>
                    <a:ext cx="16148" cy="12320"/>
                  </a:xfrm>
                  <a:custGeom>
                    <a:avLst/>
                    <a:gdLst>
                      <a:gd name="connsiteX0" fmla="*/ 0 w 16148"/>
                      <a:gd name="connsiteY0" fmla="*/ 12320 h 12320"/>
                      <a:gd name="connsiteX1" fmla="*/ 16148 w 16148"/>
                      <a:gd name="connsiteY1" fmla="*/ 0 h 12320"/>
                    </a:gdLst>
                    <a:ahLst/>
                    <a:cxnLst>
                      <a:cxn ang="0">
                        <a:pos x="connsiteX0" y="connsiteY0"/>
                      </a:cxn>
                      <a:cxn ang="0">
                        <a:pos x="connsiteX1" y="connsiteY1"/>
                      </a:cxn>
                    </a:cxnLst>
                    <a:rect l="l" t="t" r="r" b="b"/>
                    <a:pathLst>
                      <a:path w="16148" h="12320">
                        <a:moveTo>
                          <a:pt x="0" y="12320"/>
                        </a:moveTo>
                        <a:cubicBezTo>
                          <a:pt x="5383" y="8253"/>
                          <a:pt x="10765" y="4127"/>
                          <a:pt x="16148" y="0"/>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07" name="Graphic 3">
                  <a:extLst>
                    <a:ext uri="{FF2B5EF4-FFF2-40B4-BE49-F238E27FC236}">
                      <a16:creationId xmlns:a16="http://schemas.microsoft.com/office/drawing/2014/main" id="{D4220618-9155-4CF7-9C15-B0DB0023B32D}"/>
                    </a:ext>
                  </a:extLst>
                </p:cNvPr>
                <p:cNvGrpSpPr/>
                <p:nvPr/>
              </p:nvGrpSpPr>
              <p:grpSpPr>
                <a:xfrm>
                  <a:off x="4460322" y="4327630"/>
                  <a:ext cx="32774" cy="91684"/>
                  <a:chOff x="4460322" y="4327630"/>
                  <a:chExt cx="32774" cy="91684"/>
                </a:xfrm>
                <a:noFill/>
              </p:grpSpPr>
              <p:sp>
                <p:nvSpPr>
                  <p:cNvPr id="8456" name="Vrije vorm: vorm 8455">
                    <a:extLst>
                      <a:ext uri="{FF2B5EF4-FFF2-40B4-BE49-F238E27FC236}">
                        <a16:creationId xmlns:a16="http://schemas.microsoft.com/office/drawing/2014/main" id="{0BF8E29B-7B57-4E73-AB93-2A8EACA15E85}"/>
                      </a:ext>
                    </a:extLst>
                  </p:cNvPr>
                  <p:cNvSpPr/>
                  <p:nvPr/>
                </p:nvSpPr>
                <p:spPr>
                  <a:xfrm>
                    <a:off x="4460322" y="4403406"/>
                    <a:ext cx="20693" cy="15908"/>
                  </a:xfrm>
                  <a:custGeom>
                    <a:avLst/>
                    <a:gdLst>
                      <a:gd name="connsiteX0" fmla="*/ 0 w 20693"/>
                      <a:gd name="connsiteY0" fmla="*/ 15909 h 15908"/>
                      <a:gd name="connsiteX1" fmla="*/ 20693 w 20693"/>
                      <a:gd name="connsiteY1" fmla="*/ 0 h 15908"/>
                    </a:gdLst>
                    <a:ahLst/>
                    <a:cxnLst>
                      <a:cxn ang="0">
                        <a:pos x="connsiteX0" y="connsiteY0"/>
                      </a:cxn>
                      <a:cxn ang="0">
                        <a:pos x="connsiteX1" y="connsiteY1"/>
                      </a:cxn>
                    </a:cxnLst>
                    <a:rect l="l" t="t" r="r" b="b"/>
                    <a:pathLst>
                      <a:path w="20693" h="15908">
                        <a:moveTo>
                          <a:pt x="0" y="15909"/>
                        </a:moveTo>
                        <a:cubicBezTo>
                          <a:pt x="6878" y="10646"/>
                          <a:pt x="13756" y="5323"/>
                          <a:pt x="20693" y="0"/>
                        </a:cubicBezTo>
                      </a:path>
                    </a:pathLst>
                  </a:custGeom>
                  <a:noFill/>
                  <a:ln w="6350" cap="rnd">
                    <a:solidFill>
                      <a:schemeClr val="bg1">
                        <a:alpha val="40000"/>
                      </a:schemeClr>
                    </a:solidFill>
                    <a:prstDash val="solid"/>
                    <a:miter/>
                  </a:ln>
                </p:spPr>
                <p:txBody>
                  <a:bodyPr rtlCol="0" anchor="ctr"/>
                  <a:lstStyle/>
                  <a:p>
                    <a:endParaRPr lang="en-GB"/>
                  </a:p>
                </p:txBody>
              </p:sp>
              <p:sp>
                <p:nvSpPr>
                  <p:cNvPr id="8457" name="Vrije vorm: vorm 8456">
                    <a:extLst>
                      <a:ext uri="{FF2B5EF4-FFF2-40B4-BE49-F238E27FC236}">
                        <a16:creationId xmlns:a16="http://schemas.microsoft.com/office/drawing/2014/main" id="{4CBCF760-5811-47FF-97CF-78DE212546C9}"/>
                      </a:ext>
                    </a:extLst>
                  </p:cNvPr>
                  <p:cNvSpPr/>
                  <p:nvPr/>
                </p:nvSpPr>
                <p:spPr>
                  <a:xfrm>
                    <a:off x="4467619" y="4365608"/>
                    <a:ext cx="19138" cy="14652"/>
                  </a:xfrm>
                  <a:custGeom>
                    <a:avLst/>
                    <a:gdLst>
                      <a:gd name="connsiteX0" fmla="*/ 0 w 19138"/>
                      <a:gd name="connsiteY0" fmla="*/ 14653 h 14652"/>
                      <a:gd name="connsiteX1" fmla="*/ 19138 w 19138"/>
                      <a:gd name="connsiteY1" fmla="*/ 0 h 14652"/>
                    </a:gdLst>
                    <a:ahLst/>
                    <a:cxnLst>
                      <a:cxn ang="0">
                        <a:pos x="connsiteX0" y="connsiteY0"/>
                      </a:cxn>
                      <a:cxn ang="0">
                        <a:pos x="connsiteX1" y="connsiteY1"/>
                      </a:cxn>
                    </a:cxnLst>
                    <a:rect l="l" t="t" r="r" b="b"/>
                    <a:pathLst>
                      <a:path w="19138" h="14652">
                        <a:moveTo>
                          <a:pt x="0" y="14653"/>
                        </a:moveTo>
                        <a:cubicBezTo>
                          <a:pt x="6340" y="9808"/>
                          <a:pt x="12739" y="4904"/>
                          <a:pt x="19138" y="0"/>
                        </a:cubicBezTo>
                      </a:path>
                    </a:pathLst>
                  </a:custGeom>
                  <a:noFill/>
                  <a:ln w="6350" cap="rnd">
                    <a:solidFill>
                      <a:schemeClr val="bg1">
                        <a:alpha val="40000"/>
                      </a:schemeClr>
                    </a:solidFill>
                    <a:prstDash val="solid"/>
                    <a:miter/>
                  </a:ln>
                </p:spPr>
                <p:txBody>
                  <a:bodyPr rtlCol="0" anchor="ctr"/>
                  <a:lstStyle/>
                  <a:p>
                    <a:endParaRPr lang="en-GB"/>
                  </a:p>
                </p:txBody>
              </p:sp>
              <p:sp>
                <p:nvSpPr>
                  <p:cNvPr id="8458" name="Vrije vorm: vorm 8457">
                    <a:extLst>
                      <a:ext uri="{FF2B5EF4-FFF2-40B4-BE49-F238E27FC236}">
                        <a16:creationId xmlns:a16="http://schemas.microsoft.com/office/drawing/2014/main" id="{DA7FFAB1-05A0-4125-BE4D-6EADF4EC605F}"/>
                      </a:ext>
                    </a:extLst>
                  </p:cNvPr>
                  <p:cNvSpPr/>
                  <p:nvPr/>
                </p:nvSpPr>
                <p:spPr>
                  <a:xfrm>
                    <a:off x="4475633" y="4327630"/>
                    <a:ext cx="17463" cy="13277"/>
                  </a:xfrm>
                  <a:custGeom>
                    <a:avLst/>
                    <a:gdLst>
                      <a:gd name="connsiteX0" fmla="*/ 0 w 17463"/>
                      <a:gd name="connsiteY0" fmla="*/ 13277 h 13277"/>
                      <a:gd name="connsiteX1" fmla="*/ 17464 w 17463"/>
                      <a:gd name="connsiteY1" fmla="*/ 0 h 13277"/>
                    </a:gdLst>
                    <a:ahLst/>
                    <a:cxnLst>
                      <a:cxn ang="0">
                        <a:pos x="connsiteX0" y="connsiteY0"/>
                      </a:cxn>
                      <a:cxn ang="0">
                        <a:pos x="connsiteX1" y="connsiteY1"/>
                      </a:cxn>
                    </a:cxnLst>
                    <a:rect l="l" t="t" r="r" b="b"/>
                    <a:pathLst>
                      <a:path w="17463" h="13277">
                        <a:moveTo>
                          <a:pt x="0" y="13277"/>
                        </a:moveTo>
                        <a:cubicBezTo>
                          <a:pt x="5801" y="8851"/>
                          <a:pt x="11603" y="4426"/>
                          <a:pt x="17464" y="0"/>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08" name="Graphic 3">
                  <a:extLst>
                    <a:ext uri="{FF2B5EF4-FFF2-40B4-BE49-F238E27FC236}">
                      <a16:creationId xmlns:a16="http://schemas.microsoft.com/office/drawing/2014/main" id="{7AA51CA7-421C-49AE-B41D-2E3848EACA3C}"/>
                    </a:ext>
                  </a:extLst>
                </p:cNvPr>
                <p:cNvGrpSpPr/>
                <p:nvPr/>
              </p:nvGrpSpPr>
              <p:grpSpPr>
                <a:xfrm>
                  <a:off x="4417022" y="4353886"/>
                  <a:ext cx="41506" cy="98741"/>
                  <a:chOff x="4417022" y="4353886"/>
                  <a:chExt cx="41506" cy="98741"/>
                </a:xfrm>
                <a:noFill/>
              </p:grpSpPr>
              <p:sp>
                <p:nvSpPr>
                  <p:cNvPr id="8453" name="Vrije vorm: vorm 8452">
                    <a:extLst>
                      <a:ext uri="{FF2B5EF4-FFF2-40B4-BE49-F238E27FC236}">
                        <a16:creationId xmlns:a16="http://schemas.microsoft.com/office/drawing/2014/main" id="{DC4D4414-D1EF-461B-820E-7680BFA8C227}"/>
                      </a:ext>
                    </a:extLst>
                  </p:cNvPr>
                  <p:cNvSpPr/>
                  <p:nvPr/>
                </p:nvSpPr>
                <p:spPr>
                  <a:xfrm>
                    <a:off x="4417022" y="4438334"/>
                    <a:ext cx="18599" cy="14293"/>
                  </a:xfrm>
                  <a:custGeom>
                    <a:avLst/>
                    <a:gdLst>
                      <a:gd name="connsiteX0" fmla="*/ 0 w 18599"/>
                      <a:gd name="connsiteY0" fmla="*/ 14294 h 14293"/>
                      <a:gd name="connsiteX1" fmla="*/ 18600 w 18599"/>
                      <a:gd name="connsiteY1" fmla="*/ 0 h 14293"/>
                    </a:gdLst>
                    <a:ahLst/>
                    <a:cxnLst>
                      <a:cxn ang="0">
                        <a:pos x="connsiteX0" y="connsiteY0"/>
                      </a:cxn>
                      <a:cxn ang="0">
                        <a:pos x="connsiteX1" y="connsiteY1"/>
                      </a:cxn>
                    </a:cxnLst>
                    <a:rect l="l" t="t" r="r" b="b"/>
                    <a:pathLst>
                      <a:path w="18599" h="14293">
                        <a:moveTo>
                          <a:pt x="0" y="14294"/>
                        </a:moveTo>
                        <a:cubicBezTo>
                          <a:pt x="6160" y="9569"/>
                          <a:pt x="12380" y="4785"/>
                          <a:pt x="18600" y="0"/>
                        </a:cubicBezTo>
                      </a:path>
                    </a:pathLst>
                  </a:custGeom>
                  <a:noFill/>
                  <a:ln w="6350" cap="rnd">
                    <a:solidFill>
                      <a:schemeClr val="bg1">
                        <a:alpha val="40000"/>
                      </a:schemeClr>
                    </a:solidFill>
                    <a:prstDash val="solid"/>
                    <a:miter/>
                  </a:ln>
                </p:spPr>
                <p:txBody>
                  <a:bodyPr rtlCol="0" anchor="ctr"/>
                  <a:lstStyle/>
                  <a:p>
                    <a:endParaRPr lang="en-GB"/>
                  </a:p>
                </p:txBody>
              </p:sp>
              <p:sp>
                <p:nvSpPr>
                  <p:cNvPr id="8454" name="Vrije vorm: vorm 8453">
                    <a:extLst>
                      <a:ext uri="{FF2B5EF4-FFF2-40B4-BE49-F238E27FC236}">
                        <a16:creationId xmlns:a16="http://schemas.microsoft.com/office/drawing/2014/main" id="{B8533E08-675F-4EA9-AB0D-FE0461AABB2D}"/>
                      </a:ext>
                    </a:extLst>
                  </p:cNvPr>
                  <p:cNvSpPr/>
                  <p:nvPr/>
                </p:nvSpPr>
                <p:spPr>
                  <a:xfrm>
                    <a:off x="4429521" y="4396289"/>
                    <a:ext cx="17104" cy="13097"/>
                  </a:xfrm>
                  <a:custGeom>
                    <a:avLst/>
                    <a:gdLst>
                      <a:gd name="connsiteX0" fmla="*/ 0 w 17104"/>
                      <a:gd name="connsiteY0" fmla="*/ 13098 h 13097"/>
                      <a:gd name="connsiteX1" fmla="*/ 17105 w 17104"/>
                      <a:gd name="connsiteY1" fmla="*/ 0 h 13097"/>
                    </a:gdLst>
                    <a:ahLst/>
                    <a:cxnLst>
                      <a:cxn ang="0">
                        <a:pos x="connsiteX0" y="connsiteY0"/>
                      </a:cxn>
                      <a:cxn ang="0">
                        <a:pos x="connsiteX1" y="connsiteY1"/>
                      </a:cxn>
                    </a:cxnLst>
                    <a:rect l="l" t="t" r="r" b="b"/>
                    <a:pathLst>
                      <a:path w="17104" h="13097">
                        <a:moveTo>
                          <a:pt x="0" y="13098"/>
                        </a:moveTo>
                        <a:cubicBezTo>
                          <a:pt x="5682" y="8732"/>
                          <a:pt x="11364" y="4366"/>
                          <a:pt x="17105" y="0"/>
                        </a:cubicBezTo>
                      </a:path>
                    </a:pathLst>
                  </a:custGeom>
                  <a:noFill/>
                  <a:ln w="6350" cap="rnd">
                    <a:solidFill>
                      <a:schemeClr val="bg1">
                        <a:alpha val="40000"/>
                      </a:schemeClr>
                    </a:solidFill>
                    <a:prstDash val="solid"/>
                    <a:miter/>
                  </a:ln>
                </p:spPr>
                <p:txBody>
                  <a:bodyPr rtlCol="0" anchor="ctr"/>
                  <a:lstStyle/>
                  <a:p>
                    <a:endParaRPr lang="en-GB"/>
                  </a:p>
                </p:txBody>
              </p:sp>
              <p:sp>
                <p:nvSpPr>
                  <p:cNvPr id="8455" name="Vrije vorm: vorm 8454">
                    <a:extLst>
                      <a:ext uri="{FF2B5EF4-FFF2-40B4-BE49-F238E27FC236}">
                        <a16:creationId xmlns:a16="http://schemas.microsoft.com/office/drawing/2014/main" id="{A765A5D4-851E-4CDF-B8FB-E5C0DD470207}"/>
                      </a:ext>
                    </a:extLst>
                  </p:cNvPr>
                  <p:cNvSpPr/>
                  <p:nvPr/>
                </p:nvSpPr>
                <p:spPr>
                  <a:xfrm>
                    <a:off x="4443038" y="4353886"/>
                    <a:ext cx="15490" cy="11781"/>
                  </a:xfrm>
                  <a:custGeom>
                    <a:avLst/>
                    <a:gdLst>
                      <a:gd name="connsiteX0" fmla="*/ 0 w 15490"/>
                      <a:gd name="connsiteY0" fmla="*/ 11782 h 11781"/>
                      <a:gd name="connsiteX1" fmla="*/ 15490 w 15490"/>
                      <a:gd name="connsiteY1" fmla="*/ 0 h 11781"/>
                    </a:gdLst>
                    <a:ahLst/>
                    <a:cxnLst>
                      <a:cxn ang="0">
                        <a:pos x="connsiteX0" y="connsiteY0"/>
                      </a:cxn>
                      <a:cxn ang="0">
                        <a:pos x="connsiteX1" y="connsiteY1"/>
                      </a:cxn>
                    </a:cxnLst>
                    <a:rect l="l" t="t" r="r" b="b"/>
                    <a:pathLst>
                      <a:path w="15490" h="11781">
                        <a:moveTo>
                          <a:pt x="0" y="11782"/>
                        </a:moveTo>
                        <a:cubicBezTo>
                          <a:pt x="5143" y="7835"/>
                          <a:pt x="10347" y="3947"/>
                          <a:pt x="15490" y="0"/>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09" name="Graphic 3">
                  <a:extLst>
                    <a:ext uri="{FF2B5EF4-FFF2-40B4-BE49-F238E27FC236}">
                      <a16:creationId xmlns:a16="http://schemas.microsoft.com/office/drawing/2014/main" id="{6D099D94-32D8-409F-9285-33855F646754}"/>
                    </a:ext>
                  </a:extLst>
                </p:cNvPr>
                <p:cNvGrpSpPr/>
                <p:nvPr/>
              </p:nvGrpSpPr>
              <p:grpSpPr>
                <a:xfrm>
                  <a:off x="4374738" y="4379543"/>
                  <a:ext cx="50058" cy="105739"/>
                  <a:chOff x="4374738" y="4379543"/>
                  <a:chExt cx="50058" cy="105739"/>
                </a:xfrm>
                <a:noFill/>
              </p:grpSpPr>
              <p:sp>
                <p:nvSpPr>
                  <p:cNvPr id="8450" name="Vrije vorm: vorm 8449">
                    <a:extLst>
                      <a:ext uri="{FF2B5EF4-FFF2-40B4-BE49-F238E27FC236}">
                        <a16:creationId xmlns:a16="http://schemas.microsoft.com/office/drawing/2014/main" id="{96762B2C-FAF0-49D1-9FB8-7C3197D74586}"/>
                      </a:ext>
                    </a:extLst>
                  </p:cNvPr>
                  <p:cNvSpPr/>
                  <p:nvPr/>
                </p:nvSpPr>
                <p:spPr>
                  <a:xfrm>
                    <a:off x="4374738" y="4471766"/>
                    <a:ext cx="17523" cy="13516"/>
                  </a:xfrm>
                  <a:custGeom>
                    <a:avLst/>
                    <a:gdLst>
                      <a:gd name="connsiteX0" fmla="*/ 0 w 17523"/>
                      <a:gd name="connsiteY0" fmla="*/ 13516 h 13516"/>
                      <a:gd name="connsiteX1" fmla="*/ 17523 w 17523"/>
                      <a:gd name="connsiteY1" fmla="*/ 0 h 13516"/>
                    </a:gdLst>
                    <a:ahLst/>
                    <a:cxnLst>
                      <a:cxn ang="0">
                        <a:pos x="connsiteX0" y="connsiteY0"/>
                      </a:cxn>
                      <a:cxn ang="0">
                        <a:pos x="connsiteX1" y="connsiteY1"/>
                      </a:cxn>
                    </a:cxnLst>
                    <a:rect l="l" t="t" r="r" b="b"/>
                    <a:pathLst>
                      <a:path w="17523" h="13516">
                        <a:moveTo>
                          <a:pt x="0" y="13516"/>
                        </a:moveTo>
                        <a:cubicBezTo>
                          <a:pt x="5801" y="9031"/>
                          <a:pt x="11662" y="4545"/>
                          <a:pt x="17523" y="0"/>
                        </a:cubicBezTo>
                      </a:path>
                    </a:pathLst>
                  </a:custGeom>
                  <a:noFill/>
                  <a:ln w="6350" cap="rnd">
                    <a:solidFill>
                      <a:schemeClr val="bg1">
                        <a:alpha val="40000"/>
                      </a:schemeClr>
                    </a:solidFill>
                    <a:prstDash val="solid"/>
                    <a:miter/>
                  </a:ln>
                </p:spPr>
                <p:txBody>
                  <a:bodyPr rtlCol="0" anchor="ctr"/>
                  <a:lstStyle/>
                  <a:p>
                    <a:endParaRPr lang="en-GB"/>
                  </a:p>
                </p:txBody>
              </p:sp>
              <p:sp>
                <p:nvSpPr>
                  <p:cNvPr id="8451" name="Vrije vorm: vorm 8450">
                    <a:extLst>
                      <a:ext uri="{FF2B5EF4-FFF2-40B4-BE49-F238E27FC236}">
                        <a16:creationId xmlns:a16="http://schemas.microsoft.com/office/drawing/2014/main" id="{AFA18201-13FE-4A29-8498-E9967FE5DC00}"/>
                      </a:ext>
                    </a:extLst>
                  </p:cNvPr>
                  <p:cNvSpPr/>
                  <p:nvPr/>
                </p:nvSpPr>
                <p:spPr>
                  <a:xfrm>
                    <a:off x="4390228" y="4426013"/>
                    <a:ext cx="17643" cy="13516"/>
                  </a:xfrm>
                  <a:custGeom>
                    <a:avLst/>
                    <a:gdLst>
                      <a:gd name="connsiteX0" fmla="*/ 0 w 17643"/>
                      <a:gd name="connsiteY0" fmla="*/ 13516 h 13516"/>
                      <a:gd name="connsiteX1" fmla="*/ 17643 w 17643"/>
                      <a:gd name="connsiteY1" fmla="*/ 0 h 13516"/>
                    </a:gdLst>
                    <a:ahLst/>
                    <a:cxnLst>
                      <a:cxn ang="0">
                        <a:pos x="connsiteX0" y="connsiteY0"/>
                      </a:cxn>
                      <a:cxn ang="0">
                        <a:pos x="connsiteX1" y="connsiteY1"/>
                      </a:cxn>
                    </a:cxnLst>
                    <a:rect l="l" t="t" r="r" b="b"/>
                    <a:pathLst>
                      <a:path w="17643" h="13516">
                        <a:moveTo>
                          <a:pt x="0" y="13516"/>
                        </a:moveTo>
                        <a:cubicBezTo>
                          <a:pt x="5861" y="9031"/>
                          <a:pt x="11722" y="4545"/>
                          <a:pt x="17643" y="0"/>
                        </a:cubicBezTo>
                      </a:path>
                    </a:pathLst>
                  </a:custGeom>
                  <a:noFill/>
                  <a:ln w="6350" cap="rnd">
                    <a:solidFill>
                      <a:schemeClr val="bg1">
                        <a:alpha val="40000"/>
                      </a:schemeClr>
                    </a:solidFill>
                    <a:prstDash val="solid"/>
                    <a:miter/>
                  </a:ln>
                </p:spPr>
                <p:txBody>
                  <a:bodyPr rtlCol="0" anchor="ctr"/>
                  <a:lstStyle/>
                  <a:p>
                    <a:endParaRPr lang="en-GB"/>
                  </a:p>
                </p:txBody>
              </p:sp>
              <p:sp>
                <p:nvSpPr>
                  <p:cNvPr id="8452" name="Vrije vorm: vorm 8451">
                    <a:extLst>
                      <a:ext uri="{FF2B5EF4-FFF2-40B4-BE49-F238E27FC236}">
                        <a16:creationId xmlns:a16="http://schemas.microsoft.com/office/drawing/2014/main" id="{03677E90-0EC3-459C-BE6F-A31A2A21B393}"/>
                      </a:ext>
                    </a:extLst>
                  </p:cNvPr>
                  <p:cNvSpPr/>
                  <p:nvPr/>
                </p:nvSpPr>
                <p:spPr>
                  <a:xfrm>
                    <a:off x="4407034" y="4379543"/>
                    <a:ext cx="17762" cy="13516"/>
                  </a:xfrm>
                  <a:custGeom>
                    <a:avLst/>
                    <a:gdLst>
                      <a:gd name="connsiteX0" fmla="*/ 0 w 17762"/>
                      <a:gd name="connsiteY0" fmla="*/ 13516 h 13516"/>
                      <a:gd name="connsiteX1" fmla="*/ 17763 w 17762"/>
                      <a:gd name="connsiteY1" fmla="*/ 0 h 13516"/>
                    </a:gdLst>
                    <a:ahLst/>
                    <a:cxnLst>
                      <a:cxn ang="0">
                        <a:pos x="connsiteX0" y="connsiteY0"/>
                      </a:cxn>
                      <a:cxn ang="0">
                        <a:pos x="connsiteX1" y="connsiteY1"/>
                      </a:cxn>
                    </a:cxnLst>
                    <a:rect l="l" t="t" r="r" b="b"/>
                    <a:pathLst>
                      <a:path w="17762" h="13516">
                        <a:moveTo>
                          <a:pt x="0" y="13516"/>
                        </a:moveTo>
                        <a:cubicBezTo>
                          <a:pt x="5861" y="9031"/>
                          <a:pt x="11782" y="4545"/>
                          <a:pt x="17763" y="0"/>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10" name="Graphic 3">
                  <a:extLst>
                    <a:ext uri="{FF2B5EF4-FFF2-40B4-BE49-F238E27FC236}">
                      <a16:creationId xmlns:a16="http://schemas.microsoft.com/office/drawing/2014/main" id="{92C6E35E-FB97-4EC2-9299-B7B9C9E7A187}"/>
                    </a:ext>
                  </a:extLst>
                </p:cNvPr>
                <p:cNvGrpSpPr/>
                <p:nvPr/>
              </p:nvGrpSpPr>
              <p:grpSpPr>
                <a:xfrm>
                  <a:off x="4331318" y="4405858"/>
                  <a:ext cx="58850" cy="112975"/>
                  <a:chOff x="4331318" y="4405858"/>
                  <a:chExt cx="58850" cy="112975"/>
                </a:xfrm>
                <a:noFill/>
              </p:grpSpPr>
              <p:sp>
                <p:nvSpPr>
                  <p:cNvPr id="8447" name="Vrije vorm: vorm 8446">
                    <a:extLst>
                      <a:ext uri="{FF2B5EF4-FFF2-40B4-BE49-F238E27FC236}">
                        <a16:creationId xmlns:a16="http://schemas.microsoft.com/office/drawing/2014/main" id="{9301EC35-F39D-47B9-B9EE-E0E0AEF3FE93}"/>
                      </a:ext>
                    </a:extLst>
                  </p:cNvPr>
                  <p:cNvSpPr/>
                  <p:nvPr/>
                </p:nvSpPr>
                <p:spPr>
                  <a:xfrm>
                    <a:off x="4331318" y="4504660"/>
                    <a:ext cx="18300" cy="14174"/>
                  </a:xfrm>
                  <a:custGeom>
                    <a:avLst/>
                    <a:gdLst>
                      <a:gd name="connsiteX0" fmla="*/ 0 w 18300"/>
                      <a:gd name="connsiteY0" fmla="*/ 14174 h 14174"/>
                      <a:gd name="connsiteX1" fmla="*/ 18301 w 18300"/>
                      <a:gd name="connsiteY1" fmla="*/ 0 h 14174"/>
                    </a:gdLst>
                    <a:ahLst/>
                    <a:cxnLst>
                      <a:cxn ang="0">
                        <a:pos x="connsiteX0" y="connsiteY0"/>
                      </a:cxn>
                      <a:cxn ang="0">
                        <a:pos x="connsiteX1" y="connsiteY1"/>
                      </a:cxn>
                    </a:cxnLst>
                    <a:rect l="l" t="t" r="r" b="b"/>
                    <a:pathLst>
                      <a:path w="18300" h="14174">
                        <a:moveTo>
                          <a:pt x="0" y="14174"/>
                        </a:moveTo>
                        <a:cubicBezTo>
                          <a:pt x="6041" y="9450"/>
                          <a:pt x="12141" y="4725"/>
                          <a:pt x="18301" y="0"/>
                        </a:cubicBezTo>
                      </a:path>
                    </a:pathLst>
                  </a:custGeom>
                  <a:noFill/>
                  <a:ln w="6350" cap="rnd">
                    <a:solidFill>
                      <a:schemeClr val="bg1">
                        <a:alpha val="40000"/>
                      </a:schemeClr>
                    </a:solidFill>
                    <a:prstDash val="solid"/>
                    <a:miter/>
                  </a:ln>
                </p:spPr>
                <p:txBody>
                  <a:bodyPr rtlCol="0" anchor="ctr"/>
                  <a:lstStyle/>
                  <a:p>
                    <a:endParaRPr lang="en-GB"/>
                  </a:p>
                </p:txBody>
              </p:sp>
              <p:sp>
                <p:nvSpPr>
                  <p:cNvPr id="8448" name="Vrije vorm: vorm 8447">
                    <a:extLst>
                      <a:ext uri="{FF2B5EF4-FFF2-40B4-BE49-F238E27FC236}">
                        <a16:creationId xmlns:a16="http://schemas.microsoft.com/office/drawing/2014/main" id="{AEE49134-0040-486E-801A-D81183BF646D}"/>
                      </a:ext>
                    </a:extLst>
                  </p:cNvPr>
                  <p:cNvSpPr/>
                  <p:nvPr/>
                </p:nvSpPr>
                <p:spPr>
                  <a:xfrm>
                    <a:off x="4351114" y="4455737"/>
                    <a:ext cx="17942" cy="13755"/>
                  </a:xfrm>
                  <a:custGeom>
                    <a:avLst/>
                    <a:gdLst>
                      <a:gd name="connsiteX0" fmla="*/ 0 w 17942"/>
                      <a:gd name="connsiteY0" fmla="*/ 13756 h 13755"/>
                      <a:gd name="connsiteX1" fmla="*/ 17942 w 17942"/>
                      <a:gd name="connsiteY1" fmla="*/ 0 h 13755"/>
                    </a:gdLst>
                    <a:ahLst/>
                    <a:cxnLst>
                      <a:cxn ang="0">
                        <a:pos x="connsiteX0" y="connsiteY0"/>
                      </a:cxn>
                      <a:cxn ang="0">
                        <a:pos x="connsiteX1" y="connsiteY1"/>
                      </a:cxn>
                    </a:cxnLst>
                    <a:rect l="l" t="t" r="r" b="b"/>
                    <a:pathLst>
                      <a:path w="17942" h="13755">
                        <a:moveTo>
                          <a:pt x="0" y="13756"/>
                        </a:moveTo>
                        <a:cubicBezTo>
                          <a:pt x="5921" y="9210"/>
                          <a:pt x="11902" y="4605"/>
                          <a:pt x="17942" y="0"/>
                        </a:cubicBezTo>
                      </a:path>
                    </a:pathLst>
                  </a:custGeom>
                  <a:noFill/>
                  <a:ln w="6350" cap="rnd">
                    <a:solidFill>
                      <a:schemeClr val="bg1">
                        <a:alpha val="40000"/>
                      </a:schemeClr>
                    </a:solidFill>
                    <a:prstDash val="solid"/>
                    <a:miter/>
                  </a:ln>
                </p:spPr>
                <p:txBody>
                  <a:bodyPr rtlCol="0" anchor="ctr"/>
                  <a:lstStyle/>
                  <a:p>
                    <a:endParaRPr lang="en-GB"/>
                  </a:p>
                </p:txBody>
              </p:sp>
              <p:sp>
                <p:nvSpPr>
                  <p:cNvPr id="8449" name="Vrije vorm: vorm 8448">
                    <a:extLst>
                      <a:ext uri="{FF2B5EF4-FFF2-40B4-BE49-F238E27FC236}">
                        <a16:creationId xmlns:a16="http://schemas.microsoft.com/office/drawing/2014/main" id="{1DF0DF67-82A4-4402-8B7A-99074EA1DF0D}"/>
                      </a:ext>
                    </a:extLst>
                  </p:cNvPr>
                  <p:cNvSpPr/>
                  <p:nvPr/>
                </p:nvSpPr>
                <p:spPr>
                  <a:xfrm>
                    <a:off x="4372705" y="4405858"/>
                    <a:ext cx="17463" cy="13277"/>
                  </a:xfrm>
                  <a:custGeom>
                    <a:avLst/>
                    <a:gdLst>
                      <a:gd name="connsiteX0" fmla="*/ 0 w 17463"/>
                      <a:gd name="connsiteY0" fmla="*/ 13277 h 13277"/>
                      <a:gd name="connsiteX1" fmla="*/ 17464 w 17463"/>
                      <a:gd name="connsiteY1" fmla="*/ 0 h 13277"/>
                    </a:gdLst>
                    <a:ahLst/>
                    <a:cxnLst>
                      <a:cxn ang="0">
                        <a:pos x="connsiteX0" y="connsiteY0"/>
                      </a:cxn>
                      <a:cxn ang="0">
                        <a:pos x="connsiteX1" y="connsiteY1"/>
                      </a:cxn>
                    </a:cxnLst>
                    <a:rect l="l" t="t" r="r" b="b"/>
                    <a:pathLst>
                      <a:path w="17463" h="13277">
                        <a:moveTo>
                          <a:pt x="0" y="13277"/>
                        </a:moveTo>
                        <a:cubicBezTo>
                          <a:pt x="5801" y="8851"/>
                          <a:pt x="11603" y="4426"/>
                          <a:pt x="17464" y="0"/>
                        </a:cubicBezTo>
                      </a:path>
                    </a:pathLst>
                  </a:custGeom>
                  <a:noFill/>
                  <a:ln w="6350" cap="rnd">
                    <a:solidFill>
                      <a:schemeClr val="bg1">
                        <a:alpha val="40000"/>
                      </a:schemeClr>
                    </a:solidFill>
                    <a:prstDash val="solid"/>
                    <a:miter/>
                  </a:ln>
                </p:spPr>
                <p:txBody>
                  <a:bodyPr rtlCol="0" anchor="ctr"/>
                  <a:lstStyle/>
                  <a:p>
                    <a:endParaRPr lang="en-GB"/>
                  </a:p>
                </p:txBody>
              </p:sp>
            </p:grpSp>
            <p:sp>
              <p:nvSpPr>
                <p:cNvPr id="8211" name="Vrije vorm: vorm 8210">
                  <a:extLst>
                    <a:ext uri="{FF2B5EF4-FFF2-40B4-BE49-F238E27FC236}">
                      <a16:creationId xmlns:a16="http://schemas.microsoft.com/office/drawing/2014/main" id="{B00ACB0B-A049-488D-B174-C21894FB87FB}"/>
                    </a:ext>
                  </a:extLst>
                </p:cNvPr>
                <p:cNvSpPr/>
                <p:nvPr/>
              </p:nvSpPr>
              <p:spPr>
                <a:xfrm>
                  <a:off x="4406376" y="4553223"/>
                  <a:ext cx="22427" cy="17703"/>
                </a:xfrm>
                <a:custGeom>
                  <a:avLst/>
                  <a:gdLst>
                    <a:gd name="connsiteX0" fmla="*/ 0 w 22427"/>
                    <a:gd name="connsiteY0" fmla="*/ 17703 h 17703"/>
                    <a:gd name="connsiteX1" fmla="*/ 22428 w 22427"/>
                    <a:gd name="connsiteY1" fmla="*/ 0 h 17703"/>
                  </a:gdLst>
                  <a:ahLst/>
                  <a:cxnLst>
                    <a:cxn ang="0">
                      <a:pos x="connsiteX0" y="connsiteY0"/>
                    </a:cxn>
                    <a:cxn ang="0">
                      <a:pos x="connsiteX1" y="connsiteY1"/>
                    </a:cxn>
                  </a:cxnLst>
                  <a:rect l="l" t="t" r="r" b="b"/>
                  <a:pathLst>
                    <a:path w="22427" h="17703">
                      <a:moveTo>
                        <a:pt x="0" y="17703"/>
                      </a:moveTo>
                      <a:cubicBezTo>
                        <a:pt x="7416" y="11842"/>
                        <a:pt x="14892" y="5981"/>
                        <a:pt x="22428" y="0"/>
                      </a:cubicBezTo>
                    </a:path>
                  </a:pathLst>
                </a:custGeom>
                <a:noFill/>
                <a:ln w="6350" cap="rnd">
                  <a:solidFill>
                    <a:schemeClr val="bg1">
                      <a:alpha val="40000"/>
                    </a:schemeClr>
                  </a:solidFill>
                  <a:prstDash val="solid"/>
                  <a:miter/>
                </a:ln>
              </p:spPr>
              <p:txBody>
                <a:bodyPr rtlCol="0" anchor="ctr"/>
                <a:lstStyle/>
                <a:p>
                  <a:endParaRPr lang="en-GB"/>
                </a:p>
              </p:txBody>
            </p:sp>
            <p:sp>
              <p:nvSpPr>
                <p:cNvPr id="8212" name="Vrije vorm: vorm 8211">
                  <a:extLst>
                    <a:ext uri="{FF2B5EF4-FFF2-40B4-BE49-F238E27FC236}">
                      <a16:creationId xmlns:a16="http://schemas.microsoft.com/office/drawing/2014/main" id="{EA72172D-5AC6-4013-8C53-2156EA1393F1}"/>
                    </a:ext>
                  </a:extLst>
                </p:cNvPr>
                <p:cNvSpPr/>
                <p:nvPr/>
              </p:nvSpPr>
              <p:spPr>
                <a:xfrm>
                  <a:off x="4349081" y="4601727"/>
                  <a:ext cx="18300" cy="14533"/>
                </a:xfrm>
                <a:custGeom>
                  <a:avLst/>
                  <a:gdLst>
                    <a:gd name="connsiteX0" fmla="*/ 0 w 18300"/>
                    <a:gd name="connsiteY0" fmla="*/ 14533 h 14533"/>
                    <a:gd name="connsiteX1" fmla="*/ 18301 w 18300"/>
                    <a:gd name="connsiteY1" fmla="*/ 0 h 14533"/>
                  </a:gdLst>
                  <a:ahLst/>
                  <a:cxnLst>
                    <a:cxn ang="0">
                      <a:pos x="connsiteX0" y="connsiteY0"/>
                    </a:cxn>
                    <a:cxn ang="0">
                      <a:pos x="connsiteX1" y="connsiteY1"/>
                    </a:cxn>
                  </a:cxnLst>
                  <a:rect l="l" t="t" r="r" b="b"/>
                  <a:pathLst>
                    <a:path w="18300" h="14533">
                      <a:moveTo>
                        <a:pt x="0" y="14533"/>
                      </a:moveTo>
                      <a:cubicBezTo>
                        <a:pt x="6041" y="9748"/>
                        <a:pt x="12141" y="4904"/>
                        <a:pt x="18301" y="0"/>
                      </a:cubicBezTo>
                    </a:path>
                  </a:pathLst>
                </a:custGeom>
                <a:noFill/>
                <a:ln w="6350" cap="rnd">
                  <a:solidFill>
                    <a:schemeClr val="bg1">
                      <a:alpha val="40000"/>
                    </a:schemeClr>
                  </a:solidFill>
                  <a:prstDash val="solid"/>
                  <a:miter/>
                </a:ln>
              </p:spPr>
              <p:txBody>
                <a:bodyPr rtlCol="0" anchor="ctr"/>
                <a:lstStyle/>
                <a:p>
                  <a:endParaRPr lang="en-GB"/>
                </a:p>
              </p:txBody>
            </p:sp>
            <p:sp>
              <p:nvSpPr>
                <p:cNvPr id="8213" name="Vrije vorm: vorm 8212">
                  <a:extLst>
                    <a:ext uri="{FF2B5EF4-FFF2-40B4-BE49-F238E27FC236}">
                      <a16:creationId xmlns:a16="http://schemas.microsoft.com/office/drawing/2014/main" id="{86F0102F-DFB7-4264-B47D-901CBCD31008}"/>
                    </a:ext>
                  </a:extLst>
                </p:cNvPr>
                <p:cNvSpPr/>
                <p:nvPr/>
              </p:nvSpPr>
              <p:spPr>
                <a:xfrm>
                  <a:off x="4294716" y="4643173"/>
                  <a:ext cx="20394" cy="16327"/>
                </a:xfrm>
                <a:custGeom>
                  <a:avLst/>
                  <a:gdLst>
                    <a:gd name="connsiteX0" fmla="*/ 0 w 20394"/>
                    <a:gd name="connsiteY0" fmla="*/ 16327 h 16327"/>
                    <a:gd name="connsiteX1" fmla="*/ 20394 w 20394"/>
                    <a:gd name="connsiteY1" fmla="*/ 0 h 16327"/>
                  </a:gdLst>
                  <a:ahLst/>
                  <a:cxnLst>
                    <a:cxn ang="0">
                      <a:pos x="connsiteX0" y="connsiteY0"/>
                    </a:cxn>
                    <a:cxn ang="0">
                      <a:pos x="connsiteX1" y="connsiteY1"/>
                    </a:cxn>
                  </a:cxnLst>
                  <a:rect l="l" t="t" r="r" b="b"/>
                  <a:pathLst>
                    <a:path w="20394" h="16327">
                      <a:moveTo>
                        <a:pt x="0" y="16327"/>
                      </a:moveTo>
                      <a:cubicBezTo>
                        <a:pt x="6698" y="10944"/>
                        <a:pt x="13516" y="5502"/>
                        <a:pt x="20394" y="0"/>
                      </a:cubicBezTo>
                    </a:path>
                  </a:pathLst>
                </a:custGeom>
                <a:noFill/>
                <a:ln w="6350" cap="rnd">
                  <a:solidFill>
                    <a:schemeClr val="bg1">
                      <a:alpha val="40000"/>
                    </a:schemeClr>
                  </a:solidFill>
                  <a:prstDash val="solid"/>
                  <a:miter/>
                </a:ln>
              </p:spPr>
              <p:txBody>
                <a:bodyPr rtlCol="0" anchor="ctr"/>
                <a:lstStyle/>
                <a:p>
                  <a:endParaRPr lang="en-GB"/>
                </a:p>
              </p:txBody>
            </p:sp>
            <p:sp>
              <p:nvSpPr>
                <p:cNvPr id="8214" name="Vrije vorm: vorm 8213">
                  <a:extLst>
                    <a:ext uri="{FF2B5EF4-FFF2-40B4-BE49-F238E27FC236}">
                      <a16:creationId xmlns:a16="http://schemas.microsoft.com/office/drawing/2014/main" id="{F266D24D-9ABC-4ABC-969E-251D7356A511}"/>
                    </a:ext>
                  </a:extLst>
                </p:cNvPr>
                <p:cNvSpPr/>
                <p:nvPr/>
              </p:nvSpPr>
              <p:spPr>
                <a:xfrm>
                  <a:off x="4244956" y="4683065"/>
                  <a:ext cx="20513" cy="16566"/>
                </a:xfrm>
                <a:custGeom>
                  <a:avLst/>
                  <a:gdLst>
                    <a:gd name="connsiteX0" fmla="*/ 0 w 20513"/>
                    <a:gd name="connsiteY0" fmla="*/ 16567 h 16566"/>
                    <a:gd name="connsiteX1" fmla="*/ 20514 w 20513"/>
                    <a:gd name="connsiteY1" fmla="*/ 0 h 16566"/>
                  </a:gdLst>
                  <a:ahLst/>
                  <a:cxnLst>
                    <a:cxn ang="0">
                      <a:pos x="connsiteX0" y="connsiteY0"/>
                    </a:cxn>
                    <a:cxn ang="0">
                      <a:pos x="connsiteX1" y="connsiteY1"/>
                    </a:cxn>
                  </a:cxnLst>
                  <a:rect l="l" t="t" r="r" b="b"/>
                  <a:pathLst>
                    <a:path w="20513" h="16566">
                      <a:moveTo>
                        <a:pt x="0" y="16567"/>
                      </a:moveTo>
                      <a:cubicBezTo>
                        <a:pt x="6698" y="11124"/>
                        <a:pt x="13516" y="5562"/>
                        <a:pt x="20514" y="0"/>
                      </a:cubicBezTo>
                    </a:path>
                  </a:pathLst>
                </a:custGeom>
                <a:noFill/>
                <a:ln w="6350" cap="rnd">
                  <a:solidFill>
                    <a:schemeClr val="bg1">
                      <a:alpha val="40000"/>
                    </a:schemeClr>
                  </a:solidFill>
                  <a:prstDash val="solid"/>
                  <a:miter/>
                </a:ln>
              </p:spPr>
              <p:txBody>
                <a:bodyPr rtlCol="0" anchor="ctr"/>
                <a:lstStyle/>
                <a:p>
                  <a:endParaRPr lang="en-GB"/>
                </a:p>
              </p:txBody>
            </p:sp>
            <p:sp>
              <p:nvSpPr>
                <p:cNvPr id="8215" name="Vrije vorm: vorm 8214">
                  <a:extLst>
                    <a:ext uri="{FF2B5EF4-FFF2-40B4-BE49-F238E27FC236}">
                      <a16:creationId xmlns:a16="http://schemas.microsoft.com/office/drawing/2014/main" id="{5C3046EC-F3B2-4424-A0E8-576A388A2591}"/>
                    </a:ext>
                  </a:extLst>
                </p:cNvPr>
                <p:cNvSpPr/>
                <p:nvPr/>
              </p:nvSpPr>
              <p:spPr>
                <a:xfrm>
                  <a:off x="4358949" y="4738685"/>
                  <a:ext cx="18360" cy="14891"/>
                </a:xfrm>
                <a:custGeom>
                  <a:avLst/>
                  <a:gdLst>
                    <a:gd name="connsiteX0" fmla="*/ 0 w 18360"/>
                    <a:gd name="connsiteY0" fmla="*/ 14892 h 14891"/>
                    <a:gd name="connsiteX1" fmla="*/ 18361 w 18360"/>
                    <a:gd name="connsiteY1" fmla="*/ 0 h 14891"/>
                  </a:gdLst>
                  <a:ahLst/>
                  <a:cxnLst>
                    <a:cxn ang="0">
                      <a:pos x="connsiteX0" y="connsiteY0"/>
                    </a:cxn>
                    <a:cxn ang="0">
                      <a:pos x="connsiteX1" y="connsiteY1"/>
                    </a:cxn>
                  </a:cxnLst>
                  <a:rect l="l" t="t" r="r" b="b"/>
                  <a:pathLst>
                    <a:path w="18360" h="14891">
                      <a:moveTo>
                        <a:pt x="0" y="14892"/>
                      </a:moveTo>
                      <a:cubicBezTo>
                        <a:pt x="6041" y="9988"/>
                        <a:pt x="12141" y="5024"/>
                        <a:pt x="18361" y="0"/>
                      </a:cubicBezTo>
                    </a:path>
                  </a:pathLst>
                </a:custGeom>
                <a:noFill/>
                <a:ln w="6350" cap="rnd">
                  <a:solidFill>
                    <a:schemeClr val="bg1">
                      <a:alpha val="40000"/>
                    </a:schemeClr>
                  </a:solidFill>
                  <a:prstDash val="solid"/>
                  <a:miter/>
                </a:ln>
              </p:spPr>
              <p:txBody>
                <a:bodyPr rtlCol="0" anchor="ctr"/>
                <a:lstStyle/>
                <a:p>
                  <a:endParaRPr lang="en-GB"/>
                </a:p>
              </p:txBody>
            </p:sp>
            <p:sp>
              <p:nvSpPr>
                <p:cNvPr id="8216" name="Vrije vorm: vorm 8215">
                  <a:extLst>
                    <a:ext uri="{FF2B5EF4-FFF2-40B4-BE49-F238E27FC236}">
                      <a16:creationId xmlns:a16="http://schemas.microsoft.com/office/drawing/2014/main" id="{87C13F60-760E-41E8-AA6B-087116ABB908}"/>
                    </a:ext>
                  </a:extLst>
                </p:cNvPr>
                <p:cNvSpPr/>
                <p:nvPr/>
              </p:nvSpPr>
              <p:spPr>
                <a:xfrm>
                  <a:off x="4307335" y="4780670"/>
                  <a:ext cx="18241" cy="14832"/>
                </a:xfrm>
                <a:custGeom>
                  <a:avLst/>
                  <a:gdLst>
                    <a:gd name="connsiteX0" fmla="*/ 0 w 18241"/>
                    <a:gd name="connsiteY0" fmla="*/ 14832 h 14832"/>
                    <a:gd name="connsiteX1" fmla="*/ 18241 w 18241"/>
                    <a:gd name="connsiteY1" fmla="*/ 0 h 14832"/>
                  </a:gdLst>
                  <a:ahLst/>
                  <a:cxnLst>
                    <a:cxn ang="0">
                      <a:pos x="connsiteX0" y="connsiteY0"/>
                    </a:cxn>
                    <a:cxn ang="0">
                      <a:pos x="connsiteX1" y="connsiteY1"/>
                    </a:cxn>
                  </a:cxnLst>
                  <a:rect l="l" t="t" r="r" b="b"/>
                  <a:pathLst>
                    <a:path w="18241" h="14832">
                      <a:moveTo>
                        <a:pt x="0" y="14832"/>
                      </a:moveTo>
                      <a:cubicBezTo>
                        <a:pt x="5981" y="9988"/>
                        <a:pt x="12021" y="5024"/>
                        <a:pt x="18241" y="0"/>
                      </a:cubicBezTo>
                    </a:path>
                  </a:pathLst>
                </a:custGeom>
                <a:noFill/>
                <a:ln w="6350" cap="rnd">
                  <a:solidFill>
                    <a:schemeClr val="bg1">
                      <a:alpha val="40000"/>
                    </a:schemeClr>
                  </a:solidFill>
                  <a:prstDash val="solid"/>
                  <a:miter/>
                </a:ln>
              </p:spPr>
              <p:txBody>
                <a:bodyPr rtlCol="0" anchor="ctr"/>
                <a:lstStyle/>
                <a:p>
                  <a:endParaRPr lang="en-GB"/>
                </a:p>
              </p:txBody>
            </p:sp>
            <p:sp>
              <p:nvSpPr>
                <p:cNvPr id="8217" name="Vrije vorm: vorm 8216">
                  <a:extLst>
                    <a:ext uri="{FF2B5EF4-FFF2-40B4-BE49-F238E27FC236}">
                      <a16:creationId xmlns:a16="http://schemas.microsoft.com/office/drawing/2014/main" id="{0C98C38B-69C5-4667-8BEE-89CAD954B0D8}"/>
                    </a:ext>
                  </a:extLst>
                </p:cNvPr>
                <p:cNvSpPr/>
                <p:nvPr/>
              </p:nvSpPr>
              <p:spPr>
                <a:xfrm>
                  <a:off x="4429761" y="4331757"/>
                  <a:ext cx="35107" cy="129123"/>
                </a:xfrm>
                <a:custGeom>
                  <a:avLst/>
                  <a:gdLst>
                    <a:gd name="connsiteX0" fmla="*/ 0 w 35107"/>
                    <a:gd name="connsiteY0" fmla="*/ 129124 h 129123"/>
                    <a:gd name="connsiteX1" fmla="*/ 35107 w 35107"/>
                    <a:gd name="connsiteY1" fmla="*/ 0 h 129123"/>
                  </a:gdLst>
                  <a:ahLst/>
                  <a:cxnLst>
                    <a:cxn ang="0">
                      <a:pos x="connsiteX0" y="connsiteY0"/>
                    </a:cxn>
                    <a:cxn ang="0">
                      <a:pos x="connsiteX1" y="connsiteY1"/>
                    </a:cxn>
                  </a:cxnLst>
                  <a:rect l="l" t="t" r="r" b="b"/>
                  <a:pathLst>
                    <a:path w="35107" h="129123">
                      <a:moveTo>
                        <a:pt x="0" y="129124"/>
                      </a:moveTo>
                      <a:cubicBezTo>
                        <a:pt x="10227" y="86780"/>
                        <a:pt x="22009" y="43719"/>
                        <a:pt x="35107" y="0"/>
                      </a:cubicBezTo>
                    </a:path>
                  </a:pathLst>
                </a:custGeom>
                <a:noFill/>
                <a:ln w="6350" cap="rnd">
                  <a:solidFill>
                    <a:schemeClr val="bg1">
                      <a:alpha val="40000"/>
                    </a:schemeClr>
                  </a:solidFill>
                  <a:prstDash val="solid"/>
                  <a:miter/>
                </a:ln>
              </p:spPr>
              <p:txBody>
                <a:bodyPr rtlCol="0" anchor="ctr"/>
                <a:lstStyle/>
                <a:p>
                  <a:endParaRPr lang="en-GB"/>
                </a:p>
              </p:txBody>
            </p:sp>
            <p:sp>
              <p:nvSpPr>
                <p:cNvPr id="8218" name="Vrije vorm: vorm 8217">
                  <a:extLst>
                    <a:ext uri="{FF2B5EF4-FFF2-40B4-BE49-F238E27FC236}">
                      <a16:creationId xmlns:a16="http://schemas.microsoft.com/office/drawing/2014/main" id="{AA6A6B9E-F57D-4A9C-87A4-3D8843B81C82}"/>
                    </a:ext>
                  </a:extLst>
                </p:cNvPr>
                <p:cNvSpPr/>
                <p:nvPr/>
              </p:nvSpPr>
              <p:spPr>
                <a:xfrm>
                  <a:off x="4448241" y="4325178"/>
                  <a:ext cx="25238" cy="121408"/>
                </a:xfrm>
                <a:custGeom>
                  <a:avLst/>
                  <a:gdLst>
                    <a:gd name="connsiteX0" fmla="*/ 0 w 25238"/>
                    <a:gd name="connsiteY0" fmla="*/ 121409 h 121408"/>
                    <a:gd name="connsiteX1" fmla="*/ 25239 w 25238"/>
                    <a:gd name="connsiteY1" fmla="*/ 0 h 121408"/>
                  </a:gdLst>
                  <a:ahLst/>
                  <a:cxnLst>
                    <a:cxn ang="0">
                      <a:pos x="connsiteX0" y="connsiteY0"/>
                    </a:cxn>
                    <a:cxn ang="0">
                      <a:pos x="connsiteX1" y="connsiteY1"/>
                    </a:cxn>
                  </a:cxnLst>
                  <a:rect l="l" t="t" r="r" b="b"/>
                  <a:pathLst>
                    <a:path w="25238" h="121408">
                      <a:moveTo>
                        <a:pt x="0" y="121409"/>
                      </a:moveTo>
                      <a:cubicBezTo>
                        <a:pt x="7237" y="81517"/>
                        <a:pt x="15729" y="41028"/>
                        <a:pt x="25239" y="0"/>
                      </a:cubicBezTo>
                    </a:path>
                  </a:pathLst>
                </a:custGeom>
                <a:noFill/>
                <a:ln w="6350" cap="rnd">
                  <a:solidFill>
                    <a:schemeClr val="bg1">
                      <a:alpha val="40000"/>
                    </a:schemeClr>
                  </a:solidFill>
                  <a:prstDash val="solid"/>
                  <a:miter/>
                </a:ln>
              </p:spPr>
              <p:txBody>
                <a:bodyPr rtlCol="0" anchor="ctr"/>
                <a:lstStyle/>
                <a:p>
                  <a:endParaRPr lang="en-GB"/>
                </a:p>
              </p:txBody>
            </p:sp>
            <p:sp>
              <p:nvSpPr>
                <p:cNvPr id="8219" name="Vrije vorm: vorm 8218">
                  <a:extLst>
                    <a:ext uri="{FF2B5EF4-FFF2-40B4-BE49-F238E27FC236}">
                      <a16:creationId xmlns:a16="http://schemas.microsoft.com/office/drawing/2014/main" id="{CE5C41AB-BB63-43D5-BD8A-0EC92DEEE031}"/>
                    </a:ext>
                  </a:extLst>
                </p:cNvPr>
                <p:cNvSpPr/>
                <p:nvPr/>
              </p:nvSpPr>
              <p:spPr>
                <a:xfrm>
                  <a:off x="4456674" y="4320035"/>
                  <a:ext cx="23564" cy="120033"/>
                </a:xfrm>
                <a:custGeom>
                  <a:avLst/>
                  <a:gdLst>
                    <a:gd name="connsiteX0" fmla="*/ 0 w 23564"/>
                    <a:gd name="connsiteY0" fmla="*/ 120033 h 120033"/>
                    <a:gd name="connsiteX1" fmla="*/ 23564 w 23564"/>
                    <a:gd name="connsiteY1" fmla="*/ 0 h 120033"/>
                  </a:gdLst>
                  <a:ahLst/>
                  <a:cxnLst>
                    <a:cxn ang="0">
                      <a:pos x="connsiteX0" y="connsiteY0"/>
                    </a:cxn>
                    <a:cxn ang="0">
                      <a:pos x="connsiteX1" y="connsiteY1"/>
                    </a:cxn>
                  </a:cxnLst>
                  <a:rect l="l" t="t" r="r" b="b"/>
                  <a:pathLst>
                    <a:path w="23564" h="120033">
                      <a:moveTo>
                        <a:pt x="0" y="120033"/>
                      </a:moveTo>
                      <a:cubicBezTo>
                        <a:pt x="6758" y="80561"/>
                        <a:pt x="14653" y="40549"/>
                        <a:pt x="23564" y="0"/>
                      </a:cubicBezTo>
                    </a:path>
                  </a:pathLst>
                </a:custGeom>
                <a:noFill/>
                <a:ln w="6350" cap="rnd">
                  <a:solidFill>
                    <a:schemeClr val="bg1">
                      <a:alpha val="40000"/>
                    </a:schemeClr>
                  </a:solidFill>
                  <a:prstDash val="solid"/>
                  <a:miter/>
                </a:ln>
              </p:spPr>
              <p:txBody>
                <a:bodyPr rtlCol="0" anchor="ctr"/>
                <a:lstStyle/>
                <a:p>
                  <a:endParaRPr lang="en-GB"/>
                </a:p>
              </p:txBody>
            </p:sp>
            <p:sp>
              <p:nvSpPr>
                <p:cNvPr id="8220" name="Vrije vorm: vorm 8219">
                  <a:extLst>
                    <a:ext uri="{FF2B5EF4-FFF2-40B4-BE49-F238E27FC236}">
                      <a16:creationId xmlns:a16="http://schemas.microsoft.com/office/drawing/2014/main" id="{C599D20E-9169-4A68-BFA4-CA448B0FA2DB}"/>
                    </a:ext>
                  </a:extLst>
                </p:cNvPr>
                <p:cNvSpPr/>
                <p:nvPr/>
              </p:nvSpPr>
              <p:spPr>
                <a:xfrm>
                  <a:off x="4384606" y="4354723"/>
                  <a:ext cx="49879" cy="141085"/>
                </a:xfrm>
                <a:custGeom>
                  <a:avLst/>
                  <a:gdLst>
                    <a:gd name="connsiteX0" fmla="*/ 0 w 49879"/>
                    <a:gd name="connsiteY0" fmla="*/ 141085 h 141085"/>
                    <a:gd name="connsiteX1" fmla="*/ 49879 w 49879"/>
                    <a:gd name="connsiteY1" fmla="*/ 0 h 141085"/>
                  </a:gdLst>
                  <a:ahLst/>
                  <a:cxnLst>
                    <a:cxn ang="0">
                      <a:pos x="connsiteX0" y="connsiteY0"/>
                    </a:cxn>
                    <a:cxn ang="0">
                      <a:pos x="connsiteX1" y="connsiteY1"/>
                    </a:cxn>
                  </a:cxnLst>
                  <a:rect l="l" t="t" r="r" b="b"/>
                  <a:pathLst>
                    <a:path w="49879" h="141085">
                      <a:moveTo>
                        <a:pt x="0" y="141085"/>
                      </a:moveTo>
                      <a:cubicBezTo>
                        <a:pt x="14593" y="95153"/>
                        <a:pt x="31279" y="48025"/>
                        <a:pt x="49879" y="0"/>
                      </a:cubicBezTo>
                    </a:path>
                  </a:pathLst>
                </a:custGeom>
                <a:noFill/>
                <a:ln w="6350" cap="rnd">
                  <a:solidFill>
                    <a:schemeClr val="bg1">
                      <a:alpha val="40000"/>
                    </a:schemeClr>
                  </a:solidFill>
                  <a:prstDash val="solid"/>
                  <a:miter/>
                </a:ln>
              </p:spPr>
              <p:txBody>
                <a:bodyPr rtlCol="0" anchor="ctr"/>
                <a:lstStyle/>
                <a:p>
                  <a:endParaRPr lang="en-GB"/>
                </a:p>
              </p:txBody>
            </p:sp>
            <p:sp>
              <p:nvSpPr>
                <p:cNvPr id="8221" name="Vrije vorm: vorm 8220">
                  <a:extLst>
                    <a:ext uri="{FF2B5EF4-FFF2-40B4-BE49-F238E27FC236}">
                      <a16:creationId xmlns:a16="http://schemas.microsoft.com/office/drawing/2014/main" id="{3F5EA5DF-E35B-4659-8B9B-89450059F95D}"/>
                    </a:ext>
                  </a:extLst>
                </p:cNvPr>
                <p:cNvSpPr/>
                <p:nvPr/>
              </p:nvSpPr>
              <p:spPr>
                <a:xfrm>
                  <a:off x="4400515" y="4347725"/>
                  <a:ext cx="43240" cy="135762"/>
                </a:xfrm>
                <a:custGeom>
                  <a:avLst/>
                  <a:gdLst>
                    <a:gd name="connsiteX0" fmla="*/ 0 w 43240"/>
                    <a:gd name="connsiteY0" fmla="*/ 135762 h 135762"/>
                    <a:gd name="connsiteX1" fmla="*/ 43241 w 43240"/>
                    <a:gd name="connsiteY1" fmla="*/ 0 h 135762"/>
                  </a:gdLst>
                  <a:ahLst/>
                  <a:cxnLst>
                    <a:cxn ang="0">
                      <a:pos x="connsiteX0" y="connsiteY0"/>
                    </a:cxn>
                    <a:cxn ang="0">
                      <a:pos x="connsiteX1" y="connsiteY1"/>
                    </a:cxn>
                  </a:cxnLst>
                  <a:rect l="l" t="t" r="r" b="b"/>
                  <a:pathLst>
                    <a:path w="43240" h="135762">
                      <a:moveTo>
                        <a:pt x="0" y="135762"/>
                      </a:moveTo>
                      <a:cubicBezTo>
                        <a:pt x="12619" y="91445"/>
                        <a:pt x="27152" y="46111"/>
                        <a:pt x="43241" y="0"/>
                      </a:cubicBezTo>
                    </a:path>
                  </a:pathLst>
                </a:custGeom>
                <a:noFill/>
                <a:ln w="6350" cap="rnd">
                  <a:solidFill>
                    <a:schemeClr val="bg1">
                      <a:alpha val="40000"/>
                    </a:schemeClr>
                  </a:solidFill>
                  <a:prstDash val="solid"/>
                  <a:miter/>
                </a:ln>
              </p:spPr>
              <p:txBody>
                <a:bodyPr rtlCol="0" anchor="ctr"/>
                <a:lstStyle/>
                <a:p>
                  <a:endParaRPr lang="en-GB"/>
                </a:p>
              </p:txBody>
            </p:sp>
            <p:sp>
              <p:nvSpPr>
                <p:cNvPr id="8222" name="Vrije vorm: vorm 8221">
                  <a:extLst>
                    <a:ext uri="{FF2B5EF4-FFF2-40B4-BE49-F238E27FC236}">
                      <a16:creationId xmlns:a16="http://schemas.microsoft.com/office/drawing/2014/main" id="{307F6389-2B51-4301-AFEE-4B4D40B2891A}"/>
                    </a:ext>
                  </a:extLst>
                </p:cNvPr>
                <p:cNvSpPr/>
                <p:nvPr/>
              </p:nvSpPr>
              <p:spPr>
                <a:xfrm>
                  <a:off x="4410802" y="4342642"/>
                  <a:ext cx="39652" cy="132891"/>
                </a:xfrm>
                <a:custGeom>
                  <a:avLst/>
                  <a:gdLst>
                    <a:gd name="connsiteX0" fmla="*/ 39652 w 39652"/>
                    <a:gd name="connsiteY0" fmla="*/ 0 h 132891"/>
                    <a:gd name="connsiteX1" fmla="*/ 0 w 39652"/>
                    <a:gd name="connsiteY1" fmla="*/ 132891 h 132891"/>
                  </a:gdLst>
                  <a:ahLst/>
                  <a:cxnLst>
                    <a:cxn ang="0">
                      <a:pos x="connsiteX0" y="connsiteY0"/>
                    </a:cxn>
                    <a:cxn ang="0">
                      <a:pos x="connsiteX1" y="connsiteY1"/>
                    </a:cxn>
                  </a:cxnLst>
                  <a:rect l="l" t="t" r="r" b="b"/>
                  <a:pathLst>
                    <a:path w="39652" h="132891">
                      <a:moveTo>
                        <a:pt x="39652" y="0"/>
                      </a:moveTo>
                      <a:cubicBezTo>
                        <a:pt x="24880" y="45095"/>
                        <a:pt x="11543" y="89411"/>
                        <a:pt x="0" y="132891"/>
                      </a:cubicBezTo>
                    </a:path>
                  </a:pathLst>
                </a:custGeom>
                <a:noFill/>
                <a:ln w="6350" cap="rnd">
                  <a:solidFill>
                    <a:schemeClr val="bg1">
                      <a:alpha val="40000"/>
                    </a:schemeClr>
                  </a:solidFill>
                  <a:prstDash val="solid"/>
                  <a:miter/>
                </a:ln>
              </p:spPr>
              <p:txBody>
                <a:bodyPr rtlCol="0" anchor="ctr"/>
                <a:lstStyle/>
                <a:p>
                  <a:endParaRPr lang="en-GB"/>
                </a:p>
              </p:txBody>
            </p:sp>
            <p:sp>
              <p:nvSpPr>
                <p:cNvPr id="8223" name="Vrije vorm: vorm 8222">
                  <a:extLst>
                    <a:ext uri="{FF2B5EF4-FFF2-40B4-BE49-F238E27FC236}">
                      <a16:creationId xmlns:a16="http://schemas.microsoft.com/office/drawing/2014/main" id="{B4610578-9E40-4225-A125-DCA431A25541}"/>
                    </a:ext>
                  </a:extLst>
                </p:cNvPr>
                <p:cNvSpPr/>
                <p:nvPr/>
              </p:nvSpPr>
              <p:spPr>
                <a:xfrm>
                  <a:off x="4341007" y="4380081"/>
                  <a:ext cx="60046" cy="149577"/>
                </a:xfrm>
                <a:custGeom>
                  <a:avLst/>
                  <a:gdLst>
                    <a:gd name="connsiteX0" fmla="*/ 0 w 60046"/>
                    <a:gd name="connsiteY0" fmla="*/ 149578 h 149577"/>
                    <a:gd name="connsiteX1" fmla="*/ 60046 w 60046"/>
                    <a:gd name="connsiteY1" fmla="*/ 0 h 149577"/>
                  </a:gdLst>
                  <a:ahLst/>
                  <a:cxnLst>
                    <a:cxn ang="0">
                      <a:pos x="connsiteX0" y="connsiteY0"/>
                    </a:cxn>
                    <a:cxn ang="0">
                      <a:pos x="connsiteX1" y="connsiteY1"/>
                    </a:cxn>
                  </a:cxnLst>
                  <a:rect l="l" t="t" r="r" b="b"/>
                  <a:pathLst>
                    <a:path w="60046" h="149577">
                      <a:moveTo>
                        <a:pt x="0" y="149578"/>
                      </a:moveTo>
                      <a:cubicBezTo>
                        <a:pt x="17344" y="101194"/>
                        <a:pt x="37439" y="51195"/>
                        <a:pt x="60046" y="0"/>
                      </a:cubicBezTo>
                    </a:path>
                  </a:pathLst>
                </a:custGeom>
                <a:noFill/>
                <a:ln w="6350" cap="rnd">
                  <a:solidFill>
                    <a:schemeClr val="bg1">
                      <a:alpha val="40000"/>
                    </a:schemeClr>
                  </a:solidFill>
                  <a:prstDash val="solid"/>
                  <a:miter/>
                </a:ln>
              </p:spPr>
              <p:txBody>
                <a:bodyPr rtlCol="0" anchor="ctr"/>
                <a:lstStyle/>
                <a:p>
                  <a:endParaRPr lang="en-GB"/>
                </a:p>
              </p:txBody>
            </p:sp>
            <p:sp>
              <p:nvSpPr>
                <p:cNvPr id="8224" name="Vrije vorm: vorm 8223">
                  <a:extLst>
                    <a:ext uri="{FF2B5EF4-FFF2-40B4-BE49-F238E27FC236}">
                      <a16:creationId xmlns:a16="http://schemas.microsoft.com/office/drawing/2014/main" id="{CCF23EA0-0E52-4896-8E18-120F23360B9D}"/>
                    </a:ext>
                  </a:extLst>
                </p:cNvPr>
                <p:cNvSpPr/>
                <p:nvPr/>
              </p:nvSpPr>
              <p:spPr>
                <a:xfrm>
                  <a:off x="4356437" y="4373084"/>
                  <a:ext cx="53766" cy="144553"/>
                </a:xfrm>
                <a:custGeom>
                  <a:avLst/>
                  <a:gdLst>
                    <a:gd name="connsiteX0" fmla="*/ 0 w 53766"/>
                    <a:gd name="connsiteY0" fmla="*/ 144554 h 144553"/>
                    <a:gd name="connsiteX1" fmla="*/ 53767 w 53766"/>
                    <a:gd name="connsiteY1" fmla="*/ 0 h 144553"/>
                  </a:gdLst>
                  <a:ahLst/>
                  <a:cxnLst>
                    <a:cxn ang="0">
                      <a:pos x="connsiteX0" y="connsiteY0"/>
                    </a:cxn>
                    <a:cxn ang="0">
                      <a:pos x="connsiteX1" y="connsiteY1"/>
                    </a:cxn>
                  </a:cxnLst>
                  <a:rect l="l" t="t" r="r" b="b"/>
                  <a:pathLst>
                    <a:path w="53766" h="144553">
                      <a:moveTo>
                        <a:pt x="0" y="144554"/>
                      </a:moveTo>
                      <a:cubicBezTo>
                        <a:pt x="15550" y="97665"/>
                        <a:pt x="33612" y="49401"/>
                        <a:pt x="53767" y="0"/>
                      </a:cubicBezTo>
                    </a:path>
                  </a:pathLst>
                </a:custGeom>
                <a:noFill/>
                <a:ln w="6350" cap="rnd">
                  <a:solidFill>
                    <a:schemeClr val="bg1">
                      <a:alpha val="40000"/>
                    </a:schemeClr>
                  </a:solidFill>
                  <a:prstDash val="solid"/>
                  <a:miter/>
                </a:ln>
              </p:spPr>
              <p:txBody>
                <a:bodyPr rtlCol="0" anchor="ctr"/>
                <a:lstStyle/>
                <a:p>
                  <a:endParaRPr lang="en-GB"/>
                </a:p>
              </p:txBody>
            </p:sp>
            <p:sp>
              <p:nvSpPr>
                <p:cNvPr id="8225" name="Vrije vorm: vorm 8224">
                  <a:extLst>
                    <a:ext uri="{FF2B5EF4-FFF2-40B4-BE49-F238E27FC236}">
                      <a16:creationId xmlns:a16="http://schemas.microsoft.com/office/drawing/2014/main" id="{B602AF1A-CAA7-4ED7-B25A-8159C2150900}"/>
                    </a:ext>
                  </a:extLst>
                </p:cNvPr>
                <p:cNvSpPr/>
                <p:nvPr/>
              </p:nvSpPr>
              <p:spPr>
                <a:xfrm>
                  <a:off x="4305362" y="4290311"/>
                  <a:ext cx="111480" cy="219611"/>
                </a:xfrm>
                <a:custGeom>
                  <a:avLst/>
                  <a:gdLst>
                    <a:gd name="connsiteX0" fmla="*/ 61063 w 111480"/>
                    <a:gd name="connsiteY0" fmla="*/ 219612 h 219611"/>
                    <a:gd name="connsiteX1" fmla="*/ 111481 w 111480"/>
                    <a:gd name="connsiteY1" fmla="*/ 77809 h 219611"/>
                    <a:gd name="connsiteX2" fmla="*/ 0 w 111480"/>
                    <a:gd name="connsiteY2" fmla="*/ 0 h 219611"/>
                  </a:gdLst>
                  <a:ahLst/>
                  <a:cxnLst>
                    <a:cxn ang="0">
                      <a:pos x="connsiteX0" y="connsiteY0"/>
                    </a:cxn>
                    <a:cxn ang="0">
                      <a:pos x="connsiteX1" y="connsiteY1"/>
                    </a:cxn>
                    <a:cxn ang="0">
                      <a:pos x="connsiteX2" y="connsiteY2"/>
                    </a:cxn>
                  </a:cxnLst>
                  <a:rect l="l" t="t" r="r" b="b"/>
                  <a:pathLst>
                    <a:path w="111480" h="219611">
                      <a:moveTo>
                        <a:pt x="61063" y="219612"/>
                      </a:moveTo>
                      <a:cubicBezTo>
                        <a:pt x="75656" y="173500"/>
                        <a:pt x="92582" y="126193"/>
                        <a:pt x="111481" y="77809"/>
                      </a:cubicBezTo>
                      <a:cubicBezTo>
                        <a:pt x="74998" y="51733"/>
                        <a:pt x="37918" y="25777"/>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26" name="Vrije vorm: vorm 8225">
                  <a:extLst>
                    <a:ext uri="{FF2B5EF4-FFF2-40B4-BE49-F238E27FC236}">
                      <a16:creationId xmlns:a16="http://schemas.microsoft.com/office/drawing/2014/main" id="{4F1A54F8-48DB-4036-9637-7BC92D446896}"/>
                    </a:ext>
                  </a:extLst>
                </p:cNvPr>
                <p:cNvSpPr/>
                <p:nvPr/>
              </p:nvSpPr>
              <p:spPr>
                <a:xfrm>
                  <a:off x="4296211" y="4383371"/>
                  <a:ext cx="83371" cy="181275"/>
                </a:xfrm>
                <a:custGeom>
                  <a:avLst/>
                  <a:gdLst>
                    <a:gd name="connsiteX0" fmla="*/ 0 w 83371"/>
                    <a:gd name="connsiteY0" fmla="*/ 181276 h 181275"/>
                    <a:gd name="connsiteX1" fmla="*/ 83371 w 83371"/>
                    <a:gd name="connsiteY1" fmla="*/ 0 h 181275"/>
                  </a:gdLst>
                  <a:ahLst/>
                  <a:cxnLst>
                    <a:cxn ang="0">
                      <a:pos x="connsiteX0" y="connsiteY0"/>
                    </a:cxn>
                    <a:cxn ang="0">
                      <a:pos x="connsiteX1" y="connsiteY1"/>
                    </a:cxn>
                  </a:cxnLst>
                  <a:rect l="l" t="t" r="r" b="b"/>
                  <a:pathLst>
                    <a:path w="83371" h="181275">
                      <a:moveTo>
                        <a:pt x="0" y="181276"/>
                      </a:moveTo>
                      <a:cubicBezTo>
                        <a:pt x="23205" y="123442"/>
                        <a:pt x="51314" y="62738"/>
                        <a:pt x="83371" y="0"/>
                      </a:cubicBezTo>
                    </a:path>
                  </a:pathLst>
                </a:custGeom>
                <a:noFill/>
                <a:ln w="6350" cap="rnd">
                  <a:solidFill>
                    <a:schemeClr val="bg1">
                      <a:alpha val="40000"/>
                    </a:schemeClr>
                  </a:solidFill>
                  <a:prstDash val="solid"/>
                  <a:miter/>
                </a:ln>
              </p:spPr>
              <p:txBody>
                <a:bodyPr rtlCol="0" anchor="ctr"/>
                <a:lstStyle/>
                <a:p>
                  <a:endParaRPr lang="en-GB"/>
                </a:p>
              </p:txBody>
            </p:sp>
            <p:sp>
              <p:nvSpPr>
                <p:cNvPr id="8227" name="Vrije vorm: vorm 8226">
                  <a:extLst>
                    <a:ext uri="{FF2B5EF4-FFF2-40B4-BE49-F238E27FC236}">
                      <a16:creationId xmlns:a16="http://schemas.microsoft.com/office/drawing/2014/main" id="{0FE5B79E-B813-40B2-8E02-9E564B95EB8A}"/>
                    </a:ext>
                  </a:extLst>
                </p:cNvPr>
                <p:cNvSpPr/>
                <p:nvPr/>
              </p:nvSpPr>
              <p:spPr>
                <a:xfrm>
                  <a:off x="4310983" y="4397306"/>
                  <a:ext cx="67283" cy="155738"/>
                </a:xfrm>
                <a:custGeom>
                  <a:avLst/>
                  <a:gdLst>
                    <a:gd name="connsiteX0" fmla="*/ 0 w 67283"/>
                    <a:gd name="connsiteY0" fmla="*/ 155738 h 155738"/>
                    <a:gd name="connsiteX1" fmla="*/ 67283 w 67283"/>
                    <a:gd name="connsiteY1" fmla="*/ 0 h 155738"/>
                  </a:gdLst>
                  <a:ahLst/>
                  <a:cxnLst>
                    <a:cxn ang="0">
                      <a:pos x="connsiteX0" y="connsiteY0"/>
                    </a:cxn>
                    <a:cxn ang="0">
                      <a:pos x="connsiteX1" y="connsiteY1"/>
                    </a:cxn>
                  </a:cxnLst>
                  <a:rect l="l" t="t" r="r" b="b"/>
                  <a:pathLst>
                    <a:path w="67283" h="155738">
                      <a:moveTo>
                        <a:pt x="0" y="155738"/>
                      </a:moveTo>
                      <a:cubicBezTo>
                        <a:pt x="19198" y="105620"/>
                        <a:pt x="41746" y="53587"/>
                        <a:pt x="67283" y="0"/>
                      </a:cubicBezTo>
                    </a:path>
                  </a:pathLst>
                </a:custGeom>
                <a:noFill/>
                <a:ln w="6350" cap="rnd">
                  <a:solidFill>
                    <a:schemeClr val="bg1">
                      <a:alpha val="40000"/>
                    </a:schemeClr>
                  </a:solidFill>
                  <a:prstDash val="solid"/>
                  <a:miter/>
                </a:ln>
              </p:spPr>
              <p:txBody>
                <a:bodyPr rtlCol="0" anchor="ctr"/>
                <a:lstStyle/>
                <a:p>
                  <a:endParaRPr lang="en-GB"/>
                </a:p>
              </p:txBody>
            </p:sp>
            <p:sp>
              <p:nvSpPr>
                <p:cNvPr id="8228" name="Vrije vorm: vorm 8227">
                  <a:extLst>
                    <a:ext uri="{FF2B5EF4-FFF2-40B4-BE49-F238E27FC236}">
                      <a16:creationId xmlns:a16="http://schemas.microsoft.com/office/drawing/2014/main" id="{8E576C80-9BE7-4E4C-9E49-EA507A70EDED}"/>
                    </a:ext>
                  </a:extLst>
                </p:cNvPr>
                <p:cNvSpPr/>
                <p:nvPr/>
              </p:nvSpPr>
              <p:spPr>
                <a:xfrm>
                  <a:off x="4320612" y="4392402"/>
                  <a:ext cx="64173" cy="153166"/>
                </a:xfrm>
                <a:custGeom>
                  <a:avLst/>
                  <a:gdLst>
                    <a:gd name="connsiteX0" fmla="*/ 0 w 64173"/>
                    <a:gd name="connsiteY0" fmla="*/ 153166 h 153166"/>
                    <a:gd name="connsiteX1" fmla="*/ 64173 w 64173"/>
                    <a:gd name="connsiteY1" fmla="*/ 0 h 153166"/>
                  </a:gdLst>
                  <a:ahLst/>
                  <a:cxnLst>
                    <a:cxn ang="0">
                      <a:pos x="connsiteX0" y="connsiteY0"/>
                    </a:cxn>
                    <a:cxn ang="0">
                      <a:pos x="connsiteX1" y="connsiteY1"/>
                    </a:cxn>
                  </a:cxnLst>
                  <a:rect l="l" t="t" r="r" b="b"/>
                  <a:pathLst>
                    <a:path w="64173" h="153166">
                      <a:moveTo>
                        <a:pt x="0" y="153166"/>
                      </a:moveTo>
                      <a:cubicBezTo>
                        <a:pt x="18361" y="103825"/>
                        <a:pt x="39892" y="52630"/>
                        <a:pt x="64173" y="0"/>
                      </a:cubicBezTo>
                    </a:path>
                  </a:pathLst>
                </a:custGeom>
                <a:noFill/>
                <a:ln w="6350" cap="rnd">
                  <a:solidFill>
                    <a:schemeClr val="bg1">
                      <a:alpha val="40000"/>
                    </a:schemeClr>
                  </a:solidFill>
                  <a:prstDash val="solid"/>
                  <a:miter/>
                </a:ln>
              </p:spPr>
              <p:txBody>
                <a:bodyPr rtlCol="0" anchor="ctr"/>
                <a:lstStyle/>
                <a:p>
                  <a:endParaRPr lang="en-GB"/>
                </a:p>
              </p:txBody>
            </p:sp>
            <p:sp>
              <p:nvSpPr>
                <p:cNvPr id="8229" name="Vrije vorm: vorm 8228">
                  <a:extLst>
                    <a:ext uri="{FF2B5EF4-FFF2-40B4-BE49-F238E27FC236}">
                      <a16:creationId xmlns:a16="http://schemas.microsoft.com/office/drawing/2014/main" id="{1F75E7F5-72DD-4D1C-B8B3-29446AD0D5DF}"/>
                    </a:ext>
                  </a:extLst>
                </p:cNvPr>
                <p:cNvSpPr/>
                <p:nvPr/>
              </p:nvSpPr>
              <p:spPr>
                <a:xfrm>
                  <a:off x="4249083" y="4429721"/>
                  <a:ext cx="86600" cy="172124"/>
                </a:xfrm>
                <a:custGeom>
                  <a:avLst/>
                  <a:gdLst>
                    <a:gd name="connsiteX0" fmla="*/ 0 w 86600"/>
                    <a:gd name="connsiteY0" fmla="*/ 172125 h 172124"/>
                    <a:gd name="connsiteX1" fmla="*/ 86601 w 86600"/>
                    <a:gd name="connsiteY1" fmla="*/ 0 h 172124"/>
                  </a:gdLst>
                  <a:ahLst/>
                  <a:cxnLst>
                    <a:cxn ang="0">
                      <a:pos x="connsiteX0" y="connsiteY0"/>
                    </a:cxn>
                    <a:cxn ang="0">
                      <a:pos x="connsiteX1" y="connsiteY1"/>
                    </a:cxn>
                  </a:cxnLst>
                  <a:rect l="l" t="t" r="r" b="b"/>
                  <a:pathLst>
                    <a:path w="86600" h="172124">
                      <a:moveTo>
                        <a:pt x="0" y="172125"/>
                      </a:moveTo>
                      <a:cubicBezTo>
                        <a:pt x="23863" y="117701"/>
                        <a:pt x="53049" y="59986"/>
                        <a:pt x="86601" y="0"/>
                      </a:cubicBezTo>
                    </a:path>
                  </a:pathLst>
                </a:custGeom>
                <a:noFill/>
                <a:ln w="6350" cap="rnd">
                  <a:solidFill>
                    <a:schemeClr val="bg1">
                      <a:alpha val="40000"/>
                    </a:schemeClr>
                  </a:solidFill>
                  <a:prstDash val="solid"/>
                  <a:miter/>
                </a:ln>
              </p:spPr>
              <p:txBody>
                <a:bodyPr rtlCol="0" anchor="ctr"/>
                <a:lstStyle/>
                <a:p>
                  <a:endParaRPr lang="en-GB"/>
                </a:p>
              </p:txBody>
            </p:sp>
            <p:sp>
              <p:nvSpPr>
                <p:cNvPr id="8230" name="Vrije vorm: vorm 8229">
                  <a:extLst>
                    <a:ext uri="{FF2B5EF4-FFF2-40B4-BE49-F238E27FC236}">
                      <a16:creationId xmlns:a16="http://schemas.microsoft.com/office/drawing/2014/main" id="{ECD346AE-B607-4E50-9402-EC3666C09813}"/>
                    </a:ext>
                  </a:extLst>
                </p:cNvPr>
                <p:cNvSpPr/>
                <p:nvPr/>
              </p:nvSpPr>
              <p:spPr>
                <a:xfrm>
                  <a:off x="4230184" y="4614167"/>
                  <a:ext cx="17284" cy="43838"/>
                </a:xfrm>
                <a:custGeom>
                  <a:avLst/>
                  <a:gdLst>
                    <a:gd name="connsiteX0" fmla="*/ 0 w 17284"/>
                    <a:gd name="connsiteY0" fmla="*/ 43839 h 43838"/>
                    <a:gd name="connsiteX1" fmla="*/ 17284 w 17284"/>
                    <a:gd name="connsiteY1" fmla="*/ 0 h 43838"/>
                  </a:gdLst>
                  <a:ahLst/>
                  <a:cxnLst>
                    <a:cxn ang="0">
                      <a:pos x="connsiteX0" y="connsiteY0"/>
                    </a:cxn>
                    <a:cxn ang="0">
                      <a:pos x="connsiteX1" y="connsiteY1"/>
                    </a:cxn>
                  </a:cxnLst>
                  <a:rect l="l" t="t" r="r" b="b"/>
                  <a:pathLst>
                    <a:path w="17284" h="43838">
                      <a:moveTo>
                        <a:pt x="0" y="43839"/>
                      </a:moveTo>
                      <a:cubicBezTo>
                        <a:pt x="5383" y="29485"/>
                        <a:pt x="11124" y="14892"/>
                        <a:pt x="17284" y="0"/>
                      </a:cubicBezTo>
                    </a:path>
                  </a:pathLst>
                </a:custGeom>
                <a:noFill/>
                <a:ln w="6350" cap="rnd">
                  <a:solidFill>
                    <a:schemeClr val="bg1">
                      <a:alpha val="40000"/>
                    </a:schemeClr>
                  </a:solidFill>
                  <a:prstDash val="solid"/>
                  <a:miter/>
                </a:ln>
              </p:spPr>
              <p:txBody>
                <a:bodyPr rtlCol="0" anchor="ctr"/>
                <a:lstStyle/>
                <a:p>
                  <a:endParaRPr lang="en-GB"/>
                </a:p>
              </p:txBody>
            </p:sp>
            <p:sp>
              <p:nvSpPr>
                <p:cNvPr id="8231" name="Vrije vorm: vorm 8230">
                  <a:extLst>
                    <a:ext uri="{FF2B5EF4-FFF2-40B4-BE49-F238E27FC236}">
                      <a16:creationId xmlns:a16="http://schemas.microsoft.com/office/drawing/2014/main" id="{5984AC4E-3CD5-45EC-96D3-C65F26E773A0}"/>
                    </a:ext>
                  </a:extLst>
                </p:cNvPr>
                <p:cNvSpPr/>
                <p:nvPr/>
              </p:nvSpPr>
              <p:spPr>
                <a:xfrm>
                  <a:off x="4278568" y="4576368"/>
                  <a:ext cx="16686" cy="42882"/>
                </a:xfrm>
                <a:custGeom>
                  <a:avLst/>
                  <a:gdLst>
                    <a:gd name="connsiteX0" fmla="*/ 0 w 16686"/>
                    <a:gd name="connsiteY0" fmla="*/ 42882 h 42882"/>
                    <a:gd name="connsiteX1" fmla="*/ 16686 w 16686"/>
                    <a:gd name="connsiteY1" fmla="*/ 0 h 42882"/>
                  </a:gdLst>
                  <a:ahLst/>
                  <a:cxnLst>
                    <a:cxn ang="0">
                      <a:pos x="connsiteX0" y="connsiteY0"/>
                    </a:cxn>
                    <a:cxn ang="0">
                      <a:pos x="connsiteX1" y="connsiteY1"/>
                    </a:cxn>
                  </a:cxnLst>
                  <a:rect l="l" t="t" r="r" b="b"/>
                  <a:pathLst>
                    <a:path w="16686" h="42882">
                      <a:moveTo>
                        <a:pt x="0" y="42882"/>
                      </a:moveTo>
                      <a:cubicBezTo>
                        <a:pt x="5263" y="28767"/>
                        <a:pt x="10825" y="14474"/>
                        <a:pt x="16686" y="0"/>
                      </a:cubicBezTo>
                    </a:path>
                  </a:pathLst>
                </a:custGeom>
                <a:noFill/>
                <a:ln w="6350" cap="rnd">
                  <a:solidFill>
                    <a:schemeClr val="bg1">
                      <a:alpha val="40000"/>
                    </a:schemeClr>
                  </a:solidFill>
                  <a:prstDash val="solid"/>
                  <a:miter/>
                </a:ln>
              </p:spPr>
              <p:txBody>
                <a:bodyPr rtlCol="0" anchor="ctr"/>
                <a:lstStyle/>
                <a:p>
                  <a:endParaRPr lang="en-GB"/>
                </a:p>
              </p:txBody>
            </p:sp>
            <p:sp>
              <p:nvSpPr>
                <p:cNvPr id="8232" name="Vrije vorm: vorm 8231">
                  <a:extLst>
                    <a:ext uri="{FF2B5EF4-FFF2-40B4-BE49-F238E27FC236}">
                      <a16:creationId xmlns:a16="http://schemas.microsoft.com/office/drawing/2014/main" id="{97220537-27A6-4DD6-AE33-30D46FD4252C}"/>
                    </a:ext>
                  </a:extLst>
                </p:cNvPr>
                <p:cNvSpPr/>
                <p:nvPr/>
              </p:nvSpPr>
              <p:spPr>
                <a:xfrm>
                  <a:off x="4290290" y="4567697"/>
                  <a:ext cx="16028" cy="42283"/>
                </a:xfrm>
                <a:custGeom>
                  <a:avLst/>
                  <a:gdLst>
                    <a:gd name="connsiteX0" fmla="*/ 0 w 16028"/>
                    <a:gd name="connsiteY0" fmla="*/ 42283 h 42283"/>
                    <a:gd name="connsiteX1" fmla="*/ 16028 w 16028"/>
                    <a:gd name="connsiteY1" fmla="*/ 0 h 42283"/>
                  </a:gdLst>
                  <a:ahLst/>
                  <a:cxnLst>
                    <a:cxn ang="0">
                      <a:pos x="connsiteX0" y="connsiteY0"/>
                    </a:cxn>
                    <a:cxn ang="0">
                      <a:pos x="connsiteX1" y="connsiteY1"/>
                    </a:cxn>
                  </a:cxnLst>
                  <a:rect l="l" t="t" r="r" b="b"/>
                  <a:pathLst>
                    <a:path w="16028" h="42283">
                      <a:moveTo>
                        <a:pt x="0" y="42283"/>
                      </a:moveTo>
                      <a:cubicBezTo>
                        <a:pt x="5024" y="28349"/>
                        <a:pt x="10406" y="14294"/>
                        <a:pt x="16028" y="0"/>
                      </a:cubicBezTo>
                    </a:path>
                  </a:pathLst>
                </a:custGeom>
                <a:noFill/>
                <a:ln w="6350" cap="rnd">
                  <a:solidFill>
                    <a:schemeClr val="bg1">
                      <a:alpha val="40000"/>
                    </a:schemeClr>
                  </a:solidFill>
                  <a:prstDash val="solid"/>
                  <a:miter/>
                </a:ln>
              </p:spPr>
              <p:txBody>
                <a:bodyPr rtlCol="0" anchor="ctr"/>
                <a:lstStyle/>
                <a:p>
                  <a:endParaRPr lang="en-GB"/>
                </a:p>
              </p:txBody>
            </p:sp>
            <p:sp>
              <p:nvSpPr>
                <p:cNvPr id="8233" name="Vrije vorm: vorm 8232">
                  <a:extLst>
                    <a:ext uri="{FF2B5EF4-FFF2-40B4-BE49-F238E27FC236}">
                      <a16:creationId xmlns:a16="http://schemas.microsoft.com/office/drawing/2014/main" id="{6D8370D9-470D-46D8-8DC3-3449B8A57E64}"/>
                    </a:ext>
                  </a:extLst>
                </p:cNvPr>
                <p:cNvSpPr/>
                <p:nvPr/>
              </p:nvSpPr>
              <p:spPr>
                <a:xfrm>
                  <a:off x="4323603" y="4539467"/>
                  <a:ext cx="18779" cy="44197"/>
                </a:xfrm>
                <a:custGeom>
                  <a:avLst/>
                  <a:gdLst>
                    <a:gd name="connsiteX0" fmla="*/ 0 w 18779"/>
                    <a:gd name="connsiteY0" fmla="*/ 44198 h 44197"/>
                    <a:gd name="connsiteX1" fmla="*/ 18780 w 18779"/>
                    <a:gd name="connsiteY1" fmla="*/ 0 h 44197"/>
                  </a:gdLst>
                  <a:ahLst/>
                  <a:cxnLst>
                    <a:cxn ang="0">
                      <a:pos x="connsiteX0" y="connsiteY0"/>
                    </a:cxn>
                    <a:cxn ang="0">
                      <a:pos x="connsiteX1" y="connsiteY1"/>
                    </a:cxn>
                  </a:cxnLst>
                  <a:rect l="l" t="t" r="r" b="b"/>
                  <a:pathLst>
                    <a:path w="18779" h="44197">
                      <a:moveTo>
                        <a:pt x="0" y="44198"/>
                      </a:moveTo>
                      <a:cubicBezTo>
                        <a:pt x="5981" y="29605"/>
                        <a:pt x="12261" y="14892"/>
                        <a:pt x="18780" y="0"/>
                      </a:cubicBezTo>
                    </a:path>
                  </a:pathLst>
                </a:custGeom>
                <a:noFill/>
                <a:ln w="6350" cap="rnd">
                  <a:solidFill>
                    <a:schemeClr val="bg1">
                      <a:alpha val="40000"/>
                    </a:schemeClr>
                  </a:solidFill>
                  <a:prstDash val="solid"/>
                  <a:miter/>
                </a:ln>
              </p:spPr>
              <p:txBody>
                <a:bodyPr rtlCol="0" anchor="ctr"/>
                <a:lstStyle/>
                <a:p>
                  <a:endParaRPr lang="en-GB"/>
                </a:p>
              </p:txBody>
            </p:sp>
            <p:sp>
              <p:nvSpPr>
                <p:cNvPr id="8234" name="Vrije vorm: vorm 8233">
                  <a:extLst>
                    <a:ext uri="{FF2B5EF4-FFF2-40B4-BE49-F238E27FC236}">
                      <a16:creationId xmlns:a16="http://schemas.microsoft.com/office/drawing/2014/main" id="{2F783F1F-5B11-4339-A634-114B73277DB7}"/>
                    </a:ext>
                  </a:extLst>
                </p:cNvPr>
                <p:cNvSpPr/>
                <p:nvPr/>
              </p:nvSpPr>
              <p:spPr>
                <a:xfrm>
                  <a:off x="4335923" y="4530436"/>
                  <a:ext cx="18001" cy="43539"/>
                </a:xfrm>
                <a:custGeom>
                  <a:avLst/>
                  <a:gdLst>
                    <a:gd name="connsiteX0" fmla="*/ 0 w 18001"/>
                    <a:gd name="connsiteY0" fmla="*/ 43540 h 43539"/>
                    <a:gd name="connsiteX1" fmla="*/ 18002 w 18001"/>
                    <a:gd name="connsiteY1" fmla="*/ 0 h 43539"/>
                  </a:gdLst>
                  <a:ahLst/>
                  <a:cxnLst>
                    <a:cxn ang="0">
                      <a:pos x="connsiteX0" y="connsiteY0"/>
                    </a:cxn>
                    <a:cxn ang="0">
                      <a:pos x="connsiteX1" y="connsiteY1"/>
                    </a:cxn>
                  </a:cxnLst>
                  <a:rect l="l" t="t" r="r" b="b"/>
                  <a:pathLst>
                    <a:path w="18001" h="43539">
                      <a:moveTo>
                        <a:pt x="0" y="43540"/>
                      </a:moveTo>
                      <a:cubicBezTo>
                        <a:pt x="5741" y="29186"/>
                        <a:pt x="11722" y="14653"/>
                        <a:pt x="18002" y="0"/>
                      </a:cubicBezTo>
                    </a:path>
                  </a:pathLst>
                </a:custGeom>
                <a:noFill/>
                <a:ln w="6350" cap="rnd">
                  <a:solidFill>
                    <a:schemeClr val="bg1">
                      <a:alpha val="40000"/>
                    </a:schemeClr>
                  </a:solidFill>
                  <a:prstDash val="solid"/>
                  <a:miter/>
                </a:ln>
              </p:spPr>
              <p:txBody>
                <a:bodyPr rtlCol="0" anchor="ctr"/>
                <a:lstStyle/>
                <a:p>
                  <a:endParaRPr lang="en-GB"/>
                </a:p>
              </p:txBody>
            </p:sp>
            <p:sp>
              <p:nvSpPr>
                <p:cNvPr id="8235" name="Vrije vorm: vorm 8234">
                  <a:extLst>
                    <a:ext uri="{FF2B5EF4-FFF2-40B4-BE49-F238E27FC236}">
                      <a16:creationId xmlns:a16="http://schemas.microsoft.com/office/drawing/2014/main" id="{D08C4DE9-EE87-45C1-B605-47F6E6A0BC22}"/>
                    </a:ext>
                  </a:extLst>
                </p:cNvPr>
                <p:cNvSpPr/>
                <p:nvPr/>
              </p:nvSpPr>
              <p:spPr>
                <a:xfrm>
                  <a:off x="4373303" y="4504959"/>
                  <a:ext cx="13456" cy="39712"/>
                </a:xfrm>
                <a:custGeom>
                  <a:avLst/>
                  <a:gdLst>
                    <a:gd name="connsiteX0" fmla="*/ 0 w 13456"/>
                    <a:gd name="connsiteY0" fmla="*/ 39712 h 39712"/>
                    <a:gd name="connsiteX1" fmla="*/ 13457 w 13456"/>
                    <a:gd name="connsiteY1" fmla="*/ 0 h 39712"/>
                  </a:gdLst>
                  <a:ahLst/>
                  <a:cxnLst>
                    <a:cxn ang="0">
                      <a:pos x="connsiteX0" y="connsiteY0"/>
                    </a:cxn>
                    <a:cxn ang="0">
                      <a:pos x="connsiteX1" y="connsiteY1"/>
                    </a:cxn>
                  </a:cxnLst>
                  <a:rect l="l" t="t" r="r" b="b"/>
                  <a:pathLst>
                    <a:path w="13456" h="39712">
                      <a:moveTo>
                        <a:pt x="0" y="39712"/>
                      </a:moveTo>
                      <a:cubicBezTo>
                        <a:pt x="4306" y="26554"/>
                        <a:pt x="8791" y="13337"/>
                        <a:pt x="13457" y="0"/>
                      </a:cubicBezTo>
                    </a:path>
                  </a:pathLst>
                </a:custGeom>
                <a:noFill/>
                <a:ln w="6350" cap="rnd">
                  <a:solidFill>
                    <a:schemeClr val="bg1">
                      <a:alpha val="40000"/>
                    </a:schemeClr>
                  </a:solidFill>
                  <a:prstDash val="solid"/>
                  <a:miter/>
                </a:ln>
              </p:spPr>
              <p:txBody>
                <a:bodyPr rtlCol="0" anchor="ctr"/>
                <a:lstStyle/>
                <a:p>
                  <a:endParaRPr lang="en-GB"/>
                </a:p>
              </p:txBody>
            </p:sp>
            <p:sp>
              <p:nvSpPr>
                <p:cNvPr id="8236" name="Vrije vorm: vorm 8235">
                  <a:extLst>
                    <a:ext uri="{FF2B5EF4-FFF2-40B4-BE49-F238E27FC236}">
                      <a16:creationId xmlns:a16="http://schemas.microsoft.com/office/drawing/2014/main" id="{5C64A889-CF20-4AD7-8C13-9D3E76AFD20B}"/>
                    </a:ext>
                  </a:extLst>
                </p:cNvPr>
                <p:cNvSpPr/>
                <p:nvPr/>
              </p:nvSpPr>
              <p:spPr>
                <a:xfrm>
                  <a:off x="4386221" y="4495091"/>
                  <a:ext cx="13157" cy="39472"/>
                </a:xfrm>
                <a:custGeom>
                  <a:avLst/>
                  <a:gdLst>
                    <a:gd name="connsiteX0" fmla="*/ 0 w 13157"/>
                    <a:gd name="connsiteY0" fmla="*/ 39473 h 39472"/>
                    <a:gd name="connsiteX1" fmla="*/ 13158 w 13157"/>
                    <a:gd name="connsiteY1" fmla="*/ 0 h 39472"/>
                  </a:gdLst>
                  <a:ahLst/>
                  <a:cxnLst>
                    <a:cxn ang="0">
                      <a:pos x="connsiteX0" y="connsiteY0"/>
                    </a:cxn>
                    <a:cxn ang="0">
                      <a:pos x="connsiteX1" y="connsiteY1"/>
                    </a:cxn>
                  </a:cxnLst>
                  <a:rect l="l" t="t" r="r" b="b"/>
                  <a:pathLst>
                    <a:path w="13157" h="39472">
                      <a:moveTo>
                        <a:pt x="0" y="39473"/>
                      </a:moveTo>
                      <a:cubicBezTo>
                        <a:pt x="4187" y="26435"/>
                        <a:pt x="8612" y="13277"/>
                        <a:pt x="13158" y="0"/>
                      </a:cubicBezTo>
                    </a:path>
                  </a:pathLst>
                </a:custGeom>
                <a:noFill/>
                <a:ln w="6350" cap="rnd">
                  <a:solidFill>
                    <a:schemeClr val="bg1">
                      <a:alpha val="40000"/>
                    </a:schemeClr>
                  </a:solidFill>
                  <a:prstDash val="solid"/>
                  <a:miter/>
                </a:ln>
              </p:spPr>
              <p:txBody>
                <a:bodyPr rtlCol="0" anchor="ctr"/>
                <a:lstStyle/>
                <a:p>
                  <a:endParaRPr lang="en-GB"/>
                </a:p>
              </p:txBody>
            </p:sp>
            <p:sp>
              <p:nvSpPr>
                <p:cNvPr id="8237" name="Vrije vorm: vorm 8236">
                  <a:extLst>
                    <a:ext uri="{FF2B5EF4-FFF2-40B4-BE49-F238E27FC236}">
                      <a16:creationId xmlns:a16="http://schemas.microsoft.com/office/drawing/2014/main" id="{BC45EE61-A653-4273-B3A6-F7037AEBC71B}"/>
                    </a:ext>
                  </a:extLst>
                </p:cNvPr>
                <p:cNvSpPr/>
                <p:nvPr/>
              </p:nvSpPr>
              <p:spPr>
                <a:xfrm>
                  <a:off x="4399738" y="4485342"/>
                  <a:ext cx="12200" cy="38635"/>
                </a:xfrm>
                <a:custGeom>
                  <a:avLst/>
                  <a:gdLst>
                    <a:gd name="connsiteX0" fmla="*/ 0 w 12200"/>
                    <a:gd name="connsiteY0" fmla="*/ 38636 h 38635"/>
                    <a:gd name="connsiteX1" fmla="*/ 12201 w 12200"/>
                    <a:gd name="connsiteY1" fmla="*/ 0 h 38635"/>
                  </a:gdLst>
                  <a:ahLst/>
                  <a:cxnLst>
                    <a:cxn ang="0">
                      <a:pos x="connsiteX0" y="connsiteY0"/>
                    </a:cxn>
                    <a:cxn ang="0">
                      <a:pos x="connsiteX1" y="connsiteY1"/>
                    </a:cxn>
                  </a:cxnLst>
                  <a:rect l="l" t="t" r="r" b="b"/>
                  <a:pathLst>
                    <a:path w="12200" h="38635">
                      <a:moveTo>
                        <a:pt x="0" y="38636"/>
                      </a:moveTo>
                      <a:cubicBezTo>
                        <a:pt x="3887" y="25837"/>
                        <a:pt x="8014" y="12978"/>
                        <a:pt x="12201" y="0"/>
                      </a:cubicBezTo>
                    </a:path>
                  </a:pathLst>
                </a:custGeom>
                <a:noFill/>
                <a:ln w="6350" cap="rnd">
                  <a:solidFill>
                    <a:schemeClr val="bg1">
                      <a:alpha val="40000"/>
                    </a:schemeClr>
                  </a:solidFill>
                  <a:prstDash val="solid"/>
                  <a:miter/>
                </a:ln>
              </p:spPr>
              <p:txBody>
                <a:bodyPr rtlCol="0" anchor="ctr"/>
                <a:lstStyle/>
                <a:p>
                  <a:endParaRPr lang="en-GB"/>
                </a:p>
              </p:txBody>
            </p:sp>
            <p:sp>
              <p:nvSpPr>
                <p:cNvPr id="8238" name="Vrije vorm: vorm 8237">
                  <a:extLst>
                    <a:ext uri="{FF2B5EF4-FFF2-40B4-BE49-F238E27FC236}">
                      <a16:creationId xmlns:a16="http://schemas.microsoft.com/office/drawing/2014/main" id="{800614D8-DFE4-4D7D-B92B-A209AB7ED1C7}"/>
                    </a:ext>
                  </a:extLst>
                </p:cNvPr>
                <p:cNvSpPr/>
                <p:nvPr/>
              </p:nvSpPr>
              <p:spPr>
                <a:xfrm>
                  <a:off x="4431316" y="4464529"/>
                  <a:ext cx="7535" cy="34867"/>
                </a:xfrm>
                <a:custGeom>
                  <a:avLst/>
                  <a:gdLst>
                    <a:gd name="connsiteX0" fmla="*/ 0 w 7535"/>
                    <a:gd name="connsiteY0" fmla="*/ 34867 h 34867"/>
                    <a:gd name="connsiteX1" fmla="*/ 7536 w 7535"/>
                    <a:gd name="connsiteY1" fmla="*/ 0 h 34867"/>
                  </a:gdLst>
                  <a:ahLst/>
                  <a:cxnLst>
                    <a:cxn ang="0">
                      <a:pos x="connsiteX0" y="connsiteY0"/>
                    </a:cxn>
                    <a:cxn ang="0">
                      <a:pos x="connsiteX1" y="connsiteY1"/>
                    </a:cxn>
                  </a:cxnLst>
                  <a:rect l="l" t="t" r="r" b="b"/>
                  <a:pathLst>
                    <a:path w="7535" h="34867">
                      <a:moveTo>
                        <a:pt x="0" y="34867"/>
                      </a:moveTo>
                      <a:cubicBezTo>
                        <a:pt x="2392" y="23325"/>
                        <a:pt x="4904" y="11722"/>
                        <a:pt x="7536" y="0"/>
                      </a:cubicBezTo>
                    </a:path>
                  </a:pathLst>
                </a:custGeom>
                <a:noFill/>
                <a:ln w="6350" cap="rnd">
                  <a:solidFill>
                    <a:schemeClr val="bg1">
                      <a:alpha val="40000"/>
                    </a:schemeClr>
                  </a:solidFill>
                  <a:prstDash val="solid"/>
                  <a:miter/>
                </a:ln>
              </p:spPr>
              <p:txBody>
                <a:bodyPr rtlCol="0" anchor="ctr"/>
                <a:lstStyle/>
                <a:p>
                  <a:endParaRPr lang="en-GB"/>
                </a:p>
              </p:txBody>
            </p:sp>
            <p:sp>
              <p:nvSpPr>
                <p:cNvPr id="8239" name="Vrije vorm: vorm 8238">
                  <a:extLst>
                    <a:ext uri="{FF2B5EF4-FFF2-40B4-BE49-F238E27FC236}">
                      <a16:creationId xmlns:a16="http://schemas.microsoft.com/office/drawing/2014/main" id="{9FC44EDC-7E86-4805-98A7-FC21DAC230A2}"/>
                    </a:ext>
                  </a:extLst>
                </p:cNvPr>
                <p:cNvSpPr/>
                <p:nvPr/>
              </p:nvSpPr>
              <p:spPr>
                <a:xfrm>
                  <a:off x="4440765" y="4458130"/>
                  <a:ext cx="6339" cy="33910"/>
                </a:xfrm>
                <a:custGeom>
                  <a:avLst/>
                  <a:gdLst>
                    <a:gd name="connsiteX0" fmla="*/ 0 w 6339"/>
                    <a:gd name="connsiteY0" fmla="*/ 33911 h 33910"/>
                    <a:gd name="connsiteX1" fmla="*/ 6340 w 6339"/>
                    <a:gd name="connsiteY1" fmla="*/ 0 h 33910"/>
                  </a:gdLst>
                  <a:ahLst/>
                  <a:cxnLst>
                    <a:cxn ang="0">
                      <a:pos x="connsiteX0" y="connsiteY0"/>
                    </a:cxn>
                    <a:cxn ang="0">
                      <a:pos x="connsiteX1" y="connsiteY1"/>
                    </a:cxn>
                  </a:cxnLst>
                  <a:rect l="l" t="t" r="r" b="b"/>
                  <a:pathLst>
                    <a:path w="6339" h="33910">
                      <a:moveTo>
                        <a:pt x="0" y="33911"/>
                      </a:moveTo>
                      <a:cubicBezTo>
                        <a:pt x="2034" y="22667"/>
                        <a:pt x="4127" y="11363"/>
                        <a:pt x="6340" y="0"/>
                      </a:cubicBezTo>
                    </a:path>
                  </a:pathLst>
                </a:custGeom>
                <a:noFill/>
                <a:ln w="6350" cap="rnd">
                  <a:solidFill>
                    <a:schemeClr val="bg1">
                      <a:alpha val="40000"/>
                    </a:schemeClr>
                  </a:solidFill>
                  <a:prstDash val="solid"/>
                  <a:miter/>
                </a:ln>
              </p:spPr>
              <p:txBody>
                <a:bodyPr rtlCol="0" anchor="ctr"/>
                <a:lstStyle/>
                <a:p>
                  <a:endParaRPr lang="en-GB"/>
                </a:p>
              </p:txBody>
            </p:sp>
            <p:sp>
              <p:nvSpPr>
                <p:cNvPr id="8240" name="Vrije vorm: vorm 8239">
                  <a:extLst>
                    <a:ext uri="{FF2B5EF4-FFF2-40B4-BE49-F238E27FC236}">
                      <a16:creationId xmlns:a16="http://schemas.microsoft.com/office/drawing/2014/main" id="{81DD78DB-9FC2-4E9A-9754-32BDA02D8985}"/>
                    </a:ext>
                  </a:extLst>
                </p:cNvPr>
                <p:cNvSpPr/>
                <p:nvPr/>
              </p:nvSpPr>
              <p:spPr>
                <a:xfrm>
                  <a:off x="4475214" y="4431994"/>
                  <a:ext cx="5621" cy="33192"/>
                </a:xfrm>
                <a:custGeom>
                  <a:avLst/>
                  <a:gdLst>
                    <a:gd name="connsiteX0" fmla="*/ 0 w 5621"/>
                    <a:gd name="connsiteY0" fmla="*/ 33193 h 33192"/>
                    <a:gd name="connsiteX1" fmla="*/ 5622 w 5621"/>
                    <a:gd name="connsiteY1" fmla="*/ 0 h 33192"/>
                  </a:gdLst>
                  <a:ahLst/>
                  <a:cxnLst>
                    <a:cxn ang="0">
                      <a:pos x="connsiteX0" y="connsiteY0"/>
                    </a:cxn>
                    <a:cxn ang="0">
                      <a:pos x="connsiteX1" y="connsiteY1"/>
                    </a:cxn>
                  </a:cxnLst>
                  <a:rect l="l" t="t" r="r" b="b"/>
                  <a:pathLst>
                    <a:path w="5621" h="33192">
                      <a:moveTo>
                        <a:pt x="0" y="33193"/>
                      </a:moveTo>
                      <a:cubicBezTo>
                        <a:pt x="1794" y="22188"/>
                        <a:pt x="3708" y="11124"/>
                        <a:pt x="5622" y="0"/>
                      </a:cubicBezTo>
                    </a:path>
                  </a:pathLst>
                </a:custGeom>
                <a:noFill/>
                <a:ln w="6350" cap="rnd">
                  <a:solidFill>
                    <a:schemeClr val="bg1">
                      <a:alpha val="40000"/>
                    </a:schemeClr>
                  </a:solidFill>
                  <a:prstDash val="solid"/>
                  <a:miter/>
                </a:ln>
              </p:spPr>
              <p:txBody>
                <a:bodyPr rtlCol="0" anchor="ctr"/>
                <a:lstStyle/>
                <a:p>
                  <a:endParaRPr lang="en-GB"/>
                </a:p>
              </p:txBody>
            </p:sp>
            <p:sp>
              <p:nvSpPr>
                <p:cNvPr id="8241" name="Vrije vorm: vorm 8240">
                  <a:extLst>
                    <a:ext uri="{FF2B5EF4-FFF2-40B4-BE49-F238E27FC236}">
                      <a16:creationId xmlns:a16="http://schemas.microsoft.com/office/drawing/2014/main" id="{8EE88B34-5E36-4BAF-8BD0-BA26A2EDCE55}"/>
                    </a:ext>
                  </a:extLst>
                </p:cNvPr>
                <p:cNvSpPr/>
                <p:nvPr/>
              </p:nvSpPr>
              <p:spPr>
                <a:xfrm>
                  <a:off x="4493994" y="4418896"/>
                  <a:ext cx="3827" cy="31697"/>
                </a:xfrm>
                <a:custGeom>
                  <a:avLst/>
                  <a:gdLst>
                    <a:gd name="connsiteX0" fmla="*/ 0 w 3827"/>
                    <a:gd name="connsiteY0" fmla="*/ 31698 h 31697"/>
                    <a:gd name="connsiteX1" fmla="*/ 3827 w 3827"/>
                    <a:gd name="connsiteY1" fmla="*/ 0 h 31697"/>
                  </a:gdLst>
                  <a:ahLst/>
                  <a:cxnLst>
                    <a:cxn ang="0">
                      <a:pos x="connsiteX0" y="connsiteY0"/>
                    </a:cxn>
                    <a:cxn ang="0">
                      <a:pos x="connsiteX1" y="connsiteY1"/>
                    </a:cxn>
                  </a:cxnLst>
                  <a:rect l="l" t="t" r="r" b="b"/>
                  <a:pathLst>
                    <a:path w="3827" h="31697">
                      <a:moveTo>
                        <a:pt x="0" y="31698"/>
                      </a:moveTo>
                      <a:cubicBezTo>
                        <a:pt x="1196" y="21172"/>
                        <a:pt x="2512" y="10586"/>
                        <a:pt x="3827" y="0"/>
                      </a:cubicBezTo>
                    </a:path>
                  </a:pathLst>
                </a:custGeom>
                <a:noFill/>
                <a:ln w="6350" cap="rnd">
                  <a:solidFill>
                    <a:schemeClr val="bg1">
                      <a:alpha val="40000"/>
                    </a:schemeClr>
                  </a:solidFill>
                  <a:prstDash val="solid"/>
                  <a:miter/>
                </a:ln>
              </p:spPr>
              <p:txBody>
                <a:bodyPr rtlCol="0" anchor="ctr"/>
                <a:lstStyle/>
                <a:p>
                  <a:endParaRPr lang="en-GB"/>
                </a:p>
              </p:txBody>
            </p:sp>
            <p:sp>
              <p:nvSpPr>
                <p:cNvPr id="8242" name="Vrije vorm: vorm 8241">
                  <a:extLst>
                    <a:ext uri="{FF2B5EF4-FFF2-40B4-BE49-F238E27FC236}">
                      <a16:creationId xmlns:a16="http://schemas.microsoft.com/office/drawing/2014/main" id="{E747BEB3-6B67-44C6-A9B0-D8EE6B4C35B8}"/>
                    </a:ext>
                  </a:extLst>
                </p:cNvPr>
                <p:cNvSpPr/>
                <p:nvPr/>
              </p:nvSpPr>
              <p:spPr>
                <a:xfrm>
                  <a:off x="4506972" y="4410284"/>
                  <a:ext cx="1913" cy="30202"/>
                </a:xfrm>
                <a:custGeom>
                  <a:avLst/>
                  <a:gdLst>
                    <a:gd name="connsiteX0" fmla="*/ 0 w 1913"/>
                    <a:gd name="connsiteY0" fmla="*/ 30203 h 30202"/>
                    <a:gd name="connsiteX1" fmla="*/ 1914 w 1913"/>
                    <a:gd name="connsiteY1" fmla="*/ 0 h 30202"/>
                  </a:gdLst>
                  <a:ahLst/>
                  <a:cxnLst>
                    <a:cxn ang="0">
                      <a:pos x="connsiteX0" y="connsiteY0"/>
                    </a:cxn>
                    <a:cxn ang="0">
                      <a:pos x="connsiteX1" y="connsiteY1"/>
                    </a:cxn>
                  </a:cxnLst>
                  <a:rect l="l" t="t" r="r" b="b"/>
                  <a:pathLst>
                    <a:path w="1913" h="30202">
                      <a:moveTo>
                        <a:pt x="0" y="30203"/>
                      </a:moveTo>
                      <a:cubicBezTo>
                        <a:pt x="598" y="20155"/>
                        <a:pt x="1196" y="10107"/>
                        <a:pt x="1914" y="0"/>
                      </a:cubicBezTo>
                    </a:path>
                  </a:pathLst>
                </a:custGeom>
                <a:noFill/>
                <a:ln w="6350" cap="rnd">
                  <a:solidFill>
                    <a:schemeClr val="bg1">
                      <a:alpha val="40000"/>
                    </a:schemeClr>
                  </a:solidFill>
                  <a:prstDash val="solid"/>
                  <a:miter/>
                </a:ln>
              </p:spPr>
              <p:txBody>
                <a:bodyPr rtlCol="0" anchor="ctr"/>
                <a:lstStyle/>
                <a:p>
                  <a:endParaRPr lang="en-GB"/>
                </a:p>
              </p:txBody>
            </p:sp>
            <p:sp>
              <p:nvSpPr>
                <p:cNvPr id="8243" name="Vrije vorm: vorm 8242">
                  <a:extLst>
                    <a:ext uri="{FF2B5EF4-FFF2-40B4-BE49-F238E27FC236}">
                      <a16:creationId xmlns:a16="http://schemas.microsoft.com/office/drawing/2014/main" id="{25BA2321-8E2C-4007-ACEE-4F2FC593C323}"/>
                    </a:ext>
                  </a:extLst>
                </p:cNvPr>
                <p:cNvSpPr/>
                <p:nvPr/>
              </p:nvSpPr>
              <p:spPr>
                <a:xfrm>
                  <a:off x="4530895" y="4392701"/>
                  <a:ext cx="837" cy="29245"/>
                </a:xfrm>
                <a:custGeom>
                  <a:avLst/>
                  <a:gdLst>
                    <a:gd name="connsiteX0" fmla="*/ 0 w 837"/>
                    <a:gd name="connsiteY0" fmla="*/ 29245 h 29245"/>
                    <a:gd name="connsiteX1" fmla="*/ 837 w 837"/>
                    <a:gd name="connsiteY1" fmla="*/ 0 h 29245"/>
                  </a:gdLst>
                  <a:ahLst/>
                  <a:cxnLst>
                    <a:cxn ang="0">
                      <a:pos x="connsiteX0" y="connsiteY0"/>
                    </a:cxn>
                    <a:cxn ang="0">
                      <a:pos x="connsiteX1" y="connsiteY1"/>
                    </a:cxn>
                  </a:cxnLst>
                  <a:rect l="l" t="t" r="r" b="b"/>
                  <a:pathLst>
                    <a:path w="837" h="29245">
                      <a:moveTo>
                        <a:pt x="0" y="29245"/>
                      </a:moveTo>
                      <a:cubicBezTo>
                        <a:pt x="239" y="19497"/>
                        <a:pt x="479" y="9749"/>
                        <a:pt x="837" y="0"/>
                      </a:cubicBezTo>
                    </a:path>
                  </a:pathLst>
                </a:custGeom>
                <a:noFill/>
                <a:ln w="6350" cap="rnd">
                  <a:solidFill>
                    <a:schemeClr val="bg1">
                      <a:alpha val="40000"/>
                    </a:schemeClr>
                  </a:solidFill>
                  <a:prstDash val="solid"/>
                  <a:miter/>
                </a:ln>
              </p:spPr>
              <p:txBody>
                <a:bodyPr rtlCol="0" anchor="ctr"/>
                <a:lstStyle/>
                <a:p>
                  <a:endParaRPr lang="en-GB"/>
                </a:p>
              </p:txBody>
            </p:sp>
            <p:sp>
              <p:nvSpPr>
                <p:cNvPr id="8244" name="Vrije vorm: vorm 8243">
                  <a:extLst>
                    <a:ext uri="{FF2B5EF4-FFF2-40B4-BE49-F238E27FC236}">
                      <a16:creationId xmlns:a16="http://schemas.microsoft.com/office/drawing/2014/main" id="{BC319196-3955-4EE9-A30A-5B5F6AD9E00E}"/>
                    </a:ext>
                  </a:extLst>
                </p:cNvPr>
                <p:cNvSpPr/>
                <p:nvPr/>
              </p:nvSpPr>
              <p:spPr>
                <a:xfrm>
                  <a:off x="4549076" y="4379244"/>
                  <a:ext cx="1076" cy="27690"/>
                </a:xfrm>
                <a:custGeom>
                  <a:avLst/>
                  <a:gdLst>
                    <a:gd name="connsiteX0" fmla="*/ 1076 w 1076"/>
                    <a:gd name="connsiteY0" fmla="*/ 27691 h 27690"/>
                    <a:gd name="connsiteX1" fmla="*/ 0 w 1076"/>
                    <a:gd name="connsiteY1" fmla="*/ 0 h 27690"/>
                  </a:gdLst>
                  <a:ahLst/>
                  <a:cxnLst>
                    <a:cxn ang="0">
                      <a:pos x="connsiteX0" y="connsiteY0"/>
                    </a:cxn>
                    <a:cxn ang="0">
                      <a:pos x="connsiteX1" y="connsiteY1"/>
                    </a:cxn>
                  </a:cxnLst>
                  <a:rect l="l" t="t" r="r" b="b"/>
                  <a:pathLst>
                    <a:path w="1076" h="27690">
                      <a:moveTo>
                        <a:pt x="1076" y="27691"/>
                      </a:moveTo>
                      <a:cubicBezTo>
                        <a:pt x="658" y="18480"/>
                        <a:pt x="299" y="9270"/>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45" name="Vrije vorm: vorm 8244">
                  <a:extLst>
                    <a:ext uri="{FF2B5EF4-FFF2-40B4-BE49-F238E27FC236}">
                      <a16:creationId xmlns:a16="http://schemas.microsoft.com/office/drawing/2014/main" id="{D89EAF12-8954-4F80-819A-ACF77B397491}"/>
                    </a:ext>
                  </a:extLst>
                </p:cNvPr>
                <p:cNvSpPr/>
                <p:nvPr/>
              </p:nvSpPr>
              <p:spPr>
                <a:xfrm>
                  <a:off x="4560320" y="4370512"/>
                  <a:ext cx="3110" cy="26075"/>
                </a:xfrm>
                <a:custGeom>
                  <a:avLst/>
                  <a:gdLst>
                    <a:gd name="connsiteX0" fmla="*/ 3110 w 3110"/>
                    <a:gd name="connsiteY0" fmla="*/ 26076 h 26075"/>
                    <a:gd name="connsiteX1" fmla="*/ 0 w 3110"/>
                    <a:gd name="connsiteY1" fmla="*/ 0 h 26075"/>
                  </a:gdLst>
                  <a:ahLst/>
                  <a:cxnLst>
                    <a:cxn ang="0">
                      <a:pos x="connsiteX0" y="connsiteY0"/>
                    </a:cxn>
                    <a:cxn ang="0">
                      <a:pos x="connsiteX1" y="connsiteY1"/>
                    </a:cxn>
                  </a:cxnLst>
                  <a:rect l="l" t="t" r="r" b="b"/>
                  <a:pathLst>
                    <a:path w="3110" h="26075">
                      <a:moveTo>
                        <a:pt x="3110" y="26076"/>
                      </a:moveTo>
                      <a:cubicBezTo>
                        <a:pt x="2034" y="17404"/>
                        <a:pt x="1017" y="8732"/>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46" name="Vrije vorm: vorm 8245">
                  <a:extLst>
                    <a:ext uri="{FF2B5EF4-FFF2-40B4-BE49-F238E27FC236}">
                      <a16:creationId xmlns:a16="http://schemas.microsoft.com/office/drawing/2014/main" id="{E3622F26-BF9C-43FD-B9B4-014D67F5A1F4}"/>
                    </a:ext>
                  </a:extLst>
                </p:cNvPr>
                <p:cNvSpPr/>
                <p:nvPr/>
              </p:nvSpPr>
              <p:spPr>
                <a:xfrm>
                  <a:off x="4580774" y="4354723"/>
                  <a:ext cx="5801" cy="23863"/>
                </a:xfrm>
                <a:custGeom>
                  <a:avLst/>
                  <a:gdLst>
                    <a:gd name="connsiteX0" fmla="*/ 5801 w 5801"/>
                    <a:gd name="connsiteY0" fmla="*/ 23863 h 23863"/>
                    <a:gd name="connsiteX1" fmla="*/ 0 w 5801"/>
                    <a:gd name="connsiteY1" fmla="*/ 0 h 23863"/>
                  </a:gdLst>
                  <a:ahLst/>
                  <a:cxnLst>
                    <a:cxn ang="0">
                      <a:pos x="connsiteX0" y="connsiteY0"/>
                    </a:cxn>
                    <a:cxn ang="0">
                      <a:pos x="connsiteX1" y="connsiteY1"/>
                    </a:cxn>
                  </a:cxnLst>
                  <a:rect l="l" t="t" r="r" b="b"/>
                  <a:pathLst>
                    <a:path w="5801" h="23863">
                      <a:moveTo>
                        <a:pt x="5801" y="23863"/>
                      </a:moveTo>
                      <a:cubicBezTo>
                        <a:pt x="3828" y="15909"/>
                        <a:pt x="1914" y="7954"/>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47" name="Vrije vorm: vorm 8246">
                  <a:extLst>
                    <a:ext uri="{FF2B5EF4-FFF2-40B4-BE49-F238E27FC236}">
                      <a16:creationId xmlns:a16="http://schemas.microsoft.com/office/drawing/2014/main" id="{509EA38A-6025-4B8C-B93E-CE4EDC4E2A59}"/>
                    </a:ext>
                  </a:extLst>
                </p:cNvPr>
                <p:cNvSpPr/>
                <p:nvPr/>
              </p:nvSpPr>
              <p:spPr>
                <a:xfrm>
                  <a:off x="4598298" y="4340967"/>
                  <a:ext cx="7834" cy="22248"/>
                </a:xfrm>
                <a:custGeom>
                  <a:avLst/>
                  <a:gdLst>
                    <a:gd name="connsiteX0" fmla="*/ 7835 w 7834"/>
                    <a:gd name="connsiteY0" fmla="*/ 22248 h 22248"/>
                    <a:gd name="connsiteX1" fmla="*/ 0 w 7834"/>
                    <a:gd name="connsiteY1" fmla="*/ 0 h 22248"/>
                  </a:gdLst>
                  <a:ahLst/>
                  <a:cxnLst>
                    <a:cxn ang="0">
                      <a:pos x="connsiteX0" y="connsiteY0"/>
                    </a:cxn>
                    <a:cxn ang="0">
                      <a:pos x="connsiteX1" y="connsiteY1"/>
                    </a:cxn>
                  </a:cxnLst>
                  <a:rect l="l" t="t" r="r" b="b"/>
                  <a:pathLst>
                    <a:path w="7834" h="22248">
                      <a:moveTo>
                        <a:pt x="7835" y="22248"/>
                      </a:moveTo>
                      <a:cubicBezTo>
                        <a:pt x="5203" y="14832"/>
                        <a:pt x="2572" y="7416"/>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48" name="Vrije vorm: vorm 8247">
                  <a:extLst>
                    <a:ext uri="{FF2B5EF4-FFF2-40B4-BE49-F238E27FC236}">
                      <a16:creationId xmlns:a16="http://schemas.microsoft.com/office/drawing/2014/main" id="{93E847BE-2839-4CCE-86C0-1D037569CABE}"/>
                    </a:ext>
                  </a:extLst>
                </p:cNvPr>
                <p:cNvSpPr/>
                <p:nvPr/>
              </p:nvSpPr>
              <p:spPr>
                <a:xfrm>
                  <a:off x="4609721" y="4332116"/>
                  <a:ext cx="9927" cy="20573"/>
                </a:xfrm>
                <a:custGeom>
                  <a:avLst/>
                  <a:gdLst>
                    <a:gd name="connsiteX0" fmla="*/ 9928 w 9927"/>
                    <a:gd name="connsiteY0" fmla="*/ 20574 h 20573"/>
                    <a:gd name="connsiteX1" fmla="*/ 0 w 9927"/>
                    <a:gd name="connsiteY1" fmla="*/ 0 h 20573"/>
                  </a:gdLst>
                  <a:ahLst/>
                  <a:cxnLst>
                    <a:cxn ang="0">
                      <a:pos x="connsiteX0" y="connsiteY0"/>
                    </a:cxn>
                    <a:cxn ang="0">
                      <a:pos x="connsiteX1" y="connsiteY1"/>
                    </a:cxn>
                  </a:cxnLst>
                  <a:rect l="l" t="t" r="r" b="b"/>
                  <a:pathLst>
                    <a:path w="9927" h="20573">
                      <a:moveTo>
                        <a:pt x="9928" y="20574"/>
                      </a:moveTo>
                      <a:cubicBezTo>
                        <a:pt x="6579" y="13696"/>
                        <a:pt x="3289" y="6878"/>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49" name="Vrije vorm: vorm 8248">
                  <a:extLst>
                    <a:ext uri="{FF2B5EF4-FFF2-40B4-BE49-F238E27FC236}">
                      <a16:creationId xmlns:a16="http://schemas.microsoft.com/office/drawing/2014/main" id="{8552DE20-600D-4BB5-8EA1-26A72A571ECF}"/>
                    </a:ext>
                  </a:extLst>
                </p:cNvPr>
                <p:cNvSpPr/>
                <p:nvPr/>
              </p:nvSpPr>
              <p:spPr>
                <a:xfrm>
                  <a:off x="4263078" y="4422963"/>
                  <a:ext cx="81397" cy="167759"/>
                </a:xfrm>
                <a:custGeom>
                  <a:avLst/>
                  <a:gdLst>
                    <a:gd name="connsiteX0" fmla="*/ 0 w 81397"/>
                    <a:gd name="connsiteY0" fmla="*/ 167759 h 167759"/>
                    <a:gd name="connsiteX1" fmla="*/ 81398 w 81397"/>
                    <a:gd name="connsiteY1" fmla="*/ 0 h 167759"/>
                  </a:gdLst>
                  <a:ahLst/>
                  <a:cxnLst>
                    <a:cxn ang="0">
                      <a:pos x="connsiteX0" y="connsiteY0"/>
                    </a:cxn>
                    <a:cxn ang="0">
                      <a:pos x="connsiteX1" y="connsiteY1"/>
                    </a:cxn>
                  </a:cxnLst>
                  <a:rect l="l" t="t" r="r" b="b"/>
                  <a:pathLst>
                    <a:path w="81397" h="167759">
                      <a:moveTo>
                        <a:pt x="0" y="167759"/>
                      </a:moveTo>
                      <a:cubicBezTo>
                        <a:pt x="22667" y="114471"/>
                        <a:pt x="50059" y="58252"/>
                        <a:pt x="81398" y="0"/>
                      </a:cubicBezTo>
                    </a:path>
                  </a:pathLst>
                </a:custGeom>
                <a:noFill/>
                <a:ln w="6350" cap="rnd">
                  <a:solidFill>
                    <a:schemeClr val="bg1">
                      <a:alpha val="40000"/>
                    </a:schemeClr>
                  </a:solidFill>
                  <a:prstDash val="solid"/>
                  <a:miter/>
                </a:ln>
              </p:spPr>
              <p:txBody>
                <a:bodyPr rtlCol="0" anchor="ctr"/>
                <a:lstStyle/>
                <a:p>
                  <a:endParaRPr lang="en-GB"/>
                </a:p>
              </p:txBody>
            </p:sp>
            <p:sp>
              <p:nvSpPr>
                <p:cNvPr id="8250" name="Vrije vorm: vorm 8249">
                  <a:extLst>
                    <a:ext uri="{FF2B5EF4-FFF2-40B4-BE49-F238E27FC236}">
                      <a16:creationId xmlns:a16="http://schemas.microsoft.com/office/drawing/2014/main" id="{DD6202BB-7BD6-4A0A-89C4-AC7E11DAD599}"/>
                    </a:ext>
                  </a:extLst>
                </p:cNvPr>
                <p:cNvSpPr/>
                <p:nvPr/>
              </p:nvSpPr>
              <p:spPr>
                <a:xfrm>
                  <a:off x="4272229" y="4418119"/>
                  <a:ext cx="78646" cy="165426"/>
                </a:xfrm>
                <a:custGeom>
                  <a:avLst/>
                  <a:gdLst>
                    <a:gd name="connsiteX0" fmla="*/ 0 w 78646"/>
                    <a:gd name="connsiteY0" fmla="*/ 165427 h 165426"/>
                    <a:gd name="connsiteX1" fmla="*/ 78647 w 78646"/>
                    <a:gd name="connsiteY1" fmla="*/ 0 h 165426"/>
                  </a:gdLst>
                  <a:ahLst/>
                  <a:cxnLst>
                    <a:cxn ang="0">
                      <a:pos x="connsiteX0" y="connsiteY0"/>
                    </a:cxn>
                    <a:cxn ang="0">
                      <a:pos x="connsiteX1" y="connsiteY1"/>
                    </a:cxn>
                  </a:cxnLst>
                  <a:rect l="l" t="t" r="r" b="b"/>
                  <a:pathLst>
                    <a:path w="78646" h="165426">
                      <a:moveTo>
                        <a:pt x="0" y="165427"/>
                      </a:moveTo>
                      <a:cubicBezTo>
                        <a:pt x="22009" y="112736"/>
                        <a:pt x="48504" y="57355"/>
                        <a:pt x="78647" y="0"/>
                      </a:cubicBezTo>
                    </a:path>
                  </a:pathLst>
                </a:custGeom>
                <a:noFill/>
                <a:ln w="6350" cap="rnd">
                  <a:solidFill>
                    <a:schemeClr val="bg1">
                      <a:alpha val="40000"/>
                    </a:schemeClr>
                  </a:solidFill>
                  <a:prstDash val="solid"/>
                  <a:miter/>
                </a:ln>
              </p:spPr>
              <p:txBody>
                <a:bodyPr rtlCol="0" anchor="ctr"/>
                <a:lstStyle/>
                <a:p>
                  <a:endParaRPr lang="en-GB"/>
                </a:p>
              </p:txBody>
            </p:sp>
            <p:sp>
              <p:nvSpPr>
                <p:cNvPr id="8251" name="Vrije vorm: vorm 8250">
                  <a:extLst>
                    <a:ext uri="{FF2B5EF4-FFF2-40B4-BE49-F238E27FC236}">
                      <a16:creationId xmlns:a16="http://schemas.microsoft.com/office/drawing/2014/main" id="{B68EF6DD-7F93-480E-839F-45B569FED49A}"/>
                    </a:ext>
                  </a:extLst>
                </p:cNvPr>
                <p:cNvSpPr/>
                <p:nvPr/>
              </p:nvSpPr>
              <p:spPr>
                <a:xfrm>
                  <a:off x="4477906" y="4306458"/>
                  <a:ext cx="20274" cy="117222"/>
                </a:xfrm>
                <a:custGeom>
                  <a:avLst/>
                  <a:gdLst>
                    <a:gd name="connsiteX0" fmla="*/ 0 w 20274"/>
                    <a:gd name="connsiteY0" fmla="*/ 117222 h 117222"/>
                    <a:gd name="connsiteX1" fmla="*/ 20274 w 20274"/>
                    <a:gd name="connsiteY1" fmla="*/ 0 h 117222"/>
                  </a:gdLst>
                  <a:ahLst/>
                  <a:cxnLst>
                    <a:cxn ang="0">
                      <a:pos x="connsiteX0" y="connsiteY0"/>
                    </a:cxn>
                    <a:cxn ang="0">
                      <a:pos x="connsiteX1" y="connsiteY1"/>
                    </a:cxn>
                  </a:cxnLst>
                  <a:rect l="l" t="t" r="r" b="b"/>
                  <a:pathLst>
                    <a:path w="20274" h="117222">
                      <a:moveTo>
                        <a:pt x="0" y="117222"/>
                      </a:moveTo>
                      <a:cubicBezTo>
                        <a:pt x="5801" y="78587"/>
                        <a:pt x="12559" y="39533"/>
                        <a:pt x="20274" y="0"/>
                      </a:cubicBezTo>
                    </a:path>
                  </a:pathLst>
                </a:custGeom>
                <a:noFill/>
                <a:ln w="6350" cap="rnd">
                  <a:solidFill>
                    <a:schemeClr val="bg1">
                      <a:alpha val="40000"/>
                    </a:schemeClr>
                  </a:solidFill>
                  <a:prstDash val="solid"/>
                  <a:miter/>
                </a:ln>
              </p:spPr>
              <p:txBody>
                <a:bodyPr rtlCol="0" anchor="ctr"/>
                <a:lstStyle/>
                <a:p>
                  <a:endParaRPr lang="en-GB"/>
                </a:p>
              </p:txBody>
            </p:sp>
            <p:sp>
              <p:nvSpPr>
                <p:cNvPr id="8252" name="Vrije vorm: vorm 8251">
                  <a:extLst>
                    <a:ext uri="{FF2B5EF4-FFF2-40B4-BE49-F238E27FC236}">
                      <a16:creationId xmlns:a16="http://schemas.microsoft.com/office/drawing/2014/main" id="{939EB8D2-36A8-4F88-BD60-254255D555ED}"/>
                    </a:ext>
                  </a:extLst>
                </p:cNvPr>
                <p:cNvSpPr/>
                <p:nvPr/>
              </p:nvSpPr>
              <p:spPr>
                <a:xfrm>
                  <a:off x="4494711" y="4299222"/>
                  <a:ext cx="12978" cy="111480"/>
                </a:xfrm>
                <a:custGeom>
                  <a:avLst/>
                  <a:gdLst>
                    <a:gd name="connsiteX0" fmla="*/ 0 w 12978"/>
                    <a:gd name="connsiteY0" fmla="*/ 111481 h 111480"/>
                    <a:gd name="connsiteX1" fmla="*/ 12978 w 12978"/>
                    <a:gd name="connsiteY1" fmla="*/ 0 h 111480"/>
                  </a:gdLst>
                  <a:ahLst/>
                  <a:cxnLst>
                    <a:cxn ang="0">
                      <a:pos x="connsiteX0" y="connsiteY0"/>
                    </a:cxn>
                    <a:cxn ang="0">
                      <a:pos x="connsiteX1" y="connsiteY1"/>
                    </a:cxn>
                  </a:cxnLst>
                  <a:rect l="l" t="t" r="r" b="b"/>
                  <a:pathLst>
                    <a:path w="12978" h="111480">
                      <a:moveTo>
                        <a:pt x="0" y="111481"/>
                      </a:moveTo>
                      <a:cubicBezTo>
                        <a:pt x="3528" y="74699"/>
                        <a:pt x="7835" y="37559"/>
                        <a:pt x="12978" y="0"/>
                      </a:cubicBezTo>
                    </a:path>
                  </a:pathLst>
                </a:custGeom>
                <a:noFill/>
                <a:ln w="6350" cap="rnd">
                  <a:solidFill>
                    <a:schemeClr val="bg1">
                      <a:alpha val="40000"/>
                    </a:schemeClr>
                  </a:solidFill>
                  <a:prstDash val="solid"/>
                  <a:miter/>
                </a:ln>
              </p:spPr>
              <p:txBody>
                <a:bodyPr rtlCol="0" anchor="ctr"/>
                <a:lstStyle/>
                <a:p>
                  <a:endParaRPr lang="en-GB"/>
                </a:p>
              </p:txBody>
            </p:sp>
            <p:sp>
              <p:nvSpPr>
                <p:cNvPr id="8253" name="Vrije vorm: vorm 8252">
                  <a:extLst>
                    <a:ext uri="{FF2B5EF4-FFF2-40B4-BE49-F238E27FC236}">
                      <a16:creationId xmlns:a16="http://schemas.microsoft.com/office/drawing/2014/main" id="{7EAB714C-7AB1-4892-BE3C-3D74B77084A4}"/>
                    </a:ext>
                  </a:extLst>
                </p:cNvPr>
                <p:cNvSpPr/>
                <p:nvPr/>
              </p:nvSpPr>
              <p:spPr>
                <a:xfrm>
                  <a:off x="4505477" y="4294079"/>
                  <a:ext cx="8971" cy="108310"/>
                </a:xfrm>
                <a:custGeom>
                  <a:avLst/>
                  <a:gdLst>
                    <a:gd name="connsiteX0" fmla="*/ 0 w 8971"/>
                    <a:gd name="connsiteY0" fmla="*/ 108311 h 108310"/>
                    <a:gd name="connsiteX1" fmla="*/ 8971 w 8971"/>
                    <a:gd name="connsiteY1" fmla="*/ 0 h 108310"/>
                  </a:gdLst>
                  <a:ahLst/>
                  <a:cxnLst>
                    <a:cxn ang="0">
                      <a:pos x="connsiteX0" y="connsiteY0"/>
                    </a:cxn>
                    <a:cxn ang="0">
                      <a:pos x="connsiteX1" y="connsiteY1"/>
                    </a:cxn>
                  </a:cxnLst>
                  <a:rect l="l" t="t" r="r" b="b"/>
                  <a:pathLst>
                    <a:path w="8971" h="108310">
                      <a:moveTo>
                        <a:pt x="0" y="108311"/>
                      </a:moveTo>
                      <a:cubicBezTo>
                        <a:pt x="2273" y="72546"/>
                        <a:pt x="5263" y="36422"/>
                        <a:pt x="8971" y="0"/>
                      </a:cubicBezTo>
                    </a:path>
                  </a:pathLst>
                </a:custGeom>
                <a:noFill/>
                <a:ln w="6350" cap="rnd">
                  <a:solidFill>
                    <a:schemeClr val="bg1">
                      <a:alpha val="40000"/>
                    </a:schemeClr>
                  </a:solidFill>
                  <a:prstDash val="solid"/>
                  <a:miter/>
                </a:ln>
              </p:spPr>
              <p:txBody>
                <a:bodyPr rtlCol="0" anchor="ctr"/>
                <a:lstStyle/>
                <a:p>
                  <a:endParaRPr lang="en-GB"/>
                </a:p>
              </p:txBody>
            </p:sp>
            <p:sp>
              <p:nvSpPr>
                <p:cNvPr id="8254" name="Vrije vorm: vorm 8253">
                  <a:extLst>
                    <a:ext uri="{FF2B5EF4-FFF2-40B4-BE49-F238E27FC236}">
                      <a16:creationId xmlns:a16="http://schemas.microsoft.com/office/drawing/2014/main" id="{D80653C3-AB2C-4DD1-8031-0A4E8106AF20}"/>
                    </a:ext>
                  </a:extLst>
                </p:cNvPr>
                <p:cNvSpPr/>
                <p:nvPr/>
              </p:nvSpPr>
              <p:spPr>
                <a:xfrm>
                  <a:off x="4528084" y="4179607"/>
                  <a:ext cx="108490" cy="205318"/>
                </a:xfrm>
                <a:custGeom>
                  <a:avLst/>
                  <a:gdLst>
                    <a:gd name="connsiteX0" fmla="*/ 0 w 108490"/>
                    <a:gd name="connsiteY0" fmla="*/ 205318 h 205318"/>
                    <a:gd name="connsiteX1" fmla="*/ 2392 w 108490"/>
                    <a:gd name="connsiteY1" fmla="*/ 102270 h 205318"/>
                    <a:gd name="connsiteX2" fmla="*/ 957 w 108490"/>
                    <a:gd name="connsiteY2" fmla="*/ 82295 h 205318"/>
                    <a:gd name="connsiteX3" fmla="*/ 108490 w 108490"/>
                    <a:gd name="connsiteY3" fmla="*/ 0 h 205318"/>
                  </a:gdLst>
                  <a:ahLst/>
                  <a:cxnLst>
                    <a:cxn ang="0">
                      <a:pos x="connsiteX0" y="connsiteY0"/>
                    </a:cxn>
                    <a:cxn ang="0">
                      <a:pos x="connsiteX1" y="connsiteY1"/>
                    </a:cxn>
                    <a:cxn ang="0">
                      <a:pos x="connsiteX2" y="connsiteY2"/>
                    </a:cxn>
                    <a:cxn ang="0">
                      <a:pos x="connsiteX3" y="connsiteY3"/>
                    </a:cxn>
                  </a:cxnLst>
                  <a:rect l="l" t="t" r="r" b="b"/>
                  <a:pathLst>
                    <a:path w="108490" h="205318">
                      <a:moveTo>
                        <a:pt x="0" y="205318"/>
                      </a:moveTo>
                      <a:cubicBezTo>
                        <a:pt x="239" y="171228"/>
                        <a:pt x="1017" y="136899"/>
                        <a:pt x="2392" y="102270"/>
                      </a:cubicBezTo>
                      <a:cubicBezTo>
                        <a:pt x="1914" y="95632"/>
                        <a:pt x="1436" y="88933"/>
                        <a:pt x="957" y="82295"/>
                      </a:cubicBezTo>
                      <a:cubicBezTo>
                        <a:pt x="36542" y="55262"/>
                        <a:pt x="72487" y="27810"/>
                        <a:pt x="108490" y="0"/>
                      </a:cubicBezTo>
                    </a:path>
                  </a:pathLst>
                </a:custGeom>
                <a:noFill/>
                <a:ln w="6350" cap="rnd">
                  <a:solidFill>
                    <a:schemeClr val="bg1">
                      <a:alpha val="40000"/>
                    </a:schemeClr>
                  </a:solidFill>
                  <a:prstDash val="solid"/>
                  <a:miter/>
                </a:ln>
              </p:spPr>
              <p:txBody>
                <a:bodyPr rtlCol="0" anchor="ctr"/>
                <a:lstStyle/>
                <a:p>
                  <a:endParaRPr lang="en-GB"/>
                </a:p>
              </p:txBody>
            </p:sp>
            <p:sp>
              <p:nvSpPr>
                <p:cNvPr id="8255" name="Vrije vorm: vorm 8254">
                  <a:extLst>
                    <a:ext uri="{FF2B5EF4-FFF2-40B4-BE49-F238E27FC236}">
                      <a16:creationId xmlns:a16="http://schemas.microsoft.com/office/drawing/2014/main" id="{010065B4-DBE1-4848-AD6A-5DB7BBBD60EE}"/>
                    </a:ext>
                  </a:extLst>
                </p:cNvPr>
                <p:cNvSpPr/>
                <p:nvPr/>
              </p:nvSpPr>
              <p:spPr>
                <a:xfrm>
                  <a:off x="4540045" y="4274581"/>
                  <a:ext cx="5143" cy="97126"/>
                </a:xfrm>
                <a:custGeom>
                  <a:avLst/>
                  <a:gdLst>
                    <a:gd name="connsiteX0" fmla="*/ 5144 w 5143"/>
                    <a:gd name="connsiteY0" fmla="*/ 97127 h 97126"/>
                    <a:gd name="connsiteX1" fmla="*/ 0 w 5143"/>
                    <a:gd name="connsiteY1" fmla="*/ 0 h 97126"/>
                  </a:gdLst>
                  <a:ahLst/>
                  <a:cxnLst>
                    <a:cxn ang="0">
                      <a:pos x="connsiteX0" y="connsiteY0"/>
                    </a:cxn>
                    <a:cxn ang="0">
                      <a:pos x="connsiteX1" y="connsiteY1"/>
                    </a:cxn>
                  </a:cxnLst>
                  <a:rect l="l" t="t" r="r" b="b"/>
                  <a:pathLst>
                    <a:path w="5143" h="97126">
                      <a:moveTo>
                        <a:pt x="5144" y="97127"/>
                      </a:moveTo>
                      <a:cubicBezTo>
                        <a:pt x="2990" y="64951"/>
                        <a:pt x="1256" y="32595"/>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56" name="Vrije vorm: vorm 8255">
                  <a:extLst>
                    <a:ext uri="{FF2B5EF4-FFF2-40B4-BE49-F238E27FC236}">
                      <a16:creationId xmlns:a16="http://schemas.microsoft.com/office/drawing/2014/main" id="{97D9D316-35CF-484B-A01F-EBCF1850BF74}"/>
                    </a:ext>
                  </a:extLst>
                </p:cNvPr>
                <p:cNvSpPr/>
                <p:nvPr/>
              </p:nvSpPr>
              <p:spPr>
                <a:xfrm>
                  <a:off x="4546923" y="4269378"/>
                  <a:ext cx="9270" cy="93837"/>
                </a:xfrm>
                <a:custGeom>
                  <a:avLst/>
                  <a:gdLst>
                    <a:gd name="connsiteX0" fmla="*/ 9270 w 9270"/>
                    <a:gd name="connsiteY0" fmla="*/ 93838 h 93837"/>
                    <a:gd name="connsiteX1" fmla="*/ 0 w 9270"/>
                    <a:gd name="connsiteY1" fmla="*/ 0 h 93837"/>
                  </a:gdLst>
                  <a:ahLst/>
                  <a:cxnLst>
                    <a:cxn ang="0">
                      <a:pos x="connsiteX0" y="connsiteY0"/>
                    </a:cxn>
                    <a:cxn ang="0">
                      <a:pos x="connsiteX1" y="connsiteY1"/>
                    </a:cxn>
                  </a:cxnLst>
                  <a:rect l="l" t="t" r="r" b="b"/>
                  <a:pathLst>
                    <a:path w="9270" h="93837">
                      <a:moveTo>
                        <a:pt x="9270" y="93838"/>
                      </a:moveTo>
                      <a:cubicBezTo>
                        <a:pt x="5801" y="62738"/>
                        <a:pt x="2691" y="31458"/>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57" name="Vrije vorm: vorm 8256">
                  <a:extLst>
                    <a:ext uri="{FF2B5EF4-FFF2-40B4-BE49-F238E27FC236}">
                      <a16:creationId xmlns:a16="http://schemas.microsoft.com/office/drawing/2014/main" id="{D48BD5BC-72B8-4CD8-96C5-969632185335}"/>
                    </a:ext>
                  </a:extLst>
                </p:cNvPr>
                <p:cNvSpPr/>
                <p:nvPr/>
              </p:nvSpPr>
              <p:spPr>
                <a:xfrm>
                  <a:off x="4557868" y="4261005"/>
                  <a:ext cx="19975" cy="85404"/>
                </a:xfrm>
                <a:custGeom>
                  <a:avLst/>
                  <a:gdLst>
                    <a:gd name="connsiteX0" fmla="*/ 19975 w 19975"/>
                    <a:gd name="connsiteY0" fmla="*/ 85405 h 85404"/>
                    <a:gd name="connsiteX1" fmla="*/ 0 w 19975"/>
                    <a:gd name="connsiteY1" fmla="*/ 0 h 85404"/>
                  </a:gdLst>
                  <a:ahLst/>
                  <a:cxnLst>
                    <a:cxn ang="0">
                      <a:pos x="connsiteX0" y="connsiteY0"/>
                    </a:cxn>
                    <a:cxn ang="0">
                      <a:pos x="connsiteX1" y="connsiteY1"/>
                    </a:cxn>
                  </a:cxnLst>
                  <a:rect l="l" t="t" r="r" b="b"/>
                  <a:pathLst>
                    <a:path w="19975" h="85404">
                      <a:moveTo>
                        <a:pt x="19975" y="85405"/>
                      </a:moveTo>
                      <a:cubicBezTo>
                        <a:pt x="13038" y="57056"/>
                        <a:pt x="6399" y="28588"/>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58" name="Vrije vorm: vorm 8257">
                  <a:extLst>
                    <a:ext uri="{FF2B5EF4-FFF2-40B4-BE49-F238E27FC236}">
                      <a16:creationId xmlns:a16="http://schemas.microsoft.com/office/drawing/2014/main" id="{EB7A1E8F-5A0E-470F-8C3A-1DFA021BB7A0}"/>
                    </a:ext>
                  </a:extLst>
                </p:cNvPr>
                <p:cNvSpPr/>
                <p:nvPr/>
              </p:nvSpPr>
              <p:spPr>
                <a:xfrm>
                  <a:off x="4567437" y="4253649"/>
                  <a:ext cx="27750" cy="79304"/>
                </a:xfrm>
                <a:custGeom>
                  <a:avLst/>
                  <a:gdLst>
                    <a:gd name="connsiteX0" fmla="*/ 27751 w 27750"/>
                    <a:gd name="connsiteY0" fmla="*/ 79304 h 79304"/>
                    <a:gd name="connsiteX1" fmla="*/ 0 w 27750"/>
                    <a:gd name="connsiteY1" fmla="*/ 0 h 79304"/>
                  </a:gdLst>
                  <a:ahLst/>
                  <a:cxnLst>
                    <a:cxn ang="0">
                      <a:pos x="connsiteX0" y="connsiteY0"/>
                    </a:cxn>
                    <a:cxn ang="0">
                      <a:pos x="connsiteX1" y="connsiteY1"/>
                    </a:cxn>
                  </a:cxnLst>
                  <a:rect l="l" t="t" r="r" b="b"/>
                  <a:pathLst>
                    <a:path w="27750" h="79304">
                      <a:moveTo>
                        <a:pt x="27751" y="79304"/>
                      </a:moveTo>
                      <a:cubicBezTo>
                        <a:pt x="18361" y="52929"/>
                        <a:pt x="9091" y="26554"/>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59" name="Vrije vorm: vorm 8258">
                  <a:extLst>
                    <a:ext uri="{FF2B5EF4-FFF2-40B4-BE49-F238E27FC236}">
                      <a16:creationId xmlns:a16="http://schemas.microsoft.com/office/drawing/2014/main" id="{224247BC-FD61-411B-888A-B800BC3D8E08}"/>
                    </a:ext>
                  </a:extLst>
                </p:cNvPr>
                <p:cNvSpPr/>
                <p:nvPr/>
              </p:nvSpPr>
              <p:spPr>
                <a:xfrm>
                  <a:off x="4574375" y="4248326"/>
                  <a:ext cx="32714" cy="75356"/>
                </a:xfrm>
                <a:custGeom>
                  <a:avLst/>
                  <a:gdLst>
                    <a:gd name="connsiteX0" fmla="*/ 32714 w 32714"/>
                    <a:gd name="connsiteY0" fmla="*/ 75357 h 75356"/>
                    <a:gd name="connsiteX1" fmla="*/ 0 w 32714"/>
                    <a:gd name="connsiteY1" fmla="*/ 0 h 75356"/>
                  </a:gdLst>
                  <a:ahLst/>
                  <a:cxnLst>
                    <a:cxn ang="0">
                      <a:pos x="connsiteX0" y="connsiteY0"/>
                    </a:cxn>
                    <a:cxn ang="0">
                      <a:pos x="connsiteX1" y="connsiteY1"/>
                    </a:cxn>
                  </a:cxnLst>
                  <a:rect l="l" t="t" r="r" b="b"/>
                  <a:pathLst>
                    <a:path w="32714" h="75356">
                      <a:moveTo>
                        <a:pt x="32714" y="75357"/>
                      </a:moveTo>
                      <a:cubicBezTo>
                        <a:pt x="21710" y="50298"/>
                        <a:pt x="10765" y="25179"/>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60" name="Vrije vorm: vorm 8259">
                  <a:extLst>
                    <a:ext uri="{FF2B5EF4-FFF2-40B4-BE49-F238E27FC236}">
                      <a16:creationId xmlns:a16="http://schemas.microsoft.com/office/drawing/2014/main" id="{445B59D4-5185-4EE5-81D0-E0C67259D4FD}"/>
                    </a:ext>
                  </a:extLst>
                </p:cNvPr>
                <p:cNvSpPr/>
                <p:nvPr/>
              </p:nvSpPr>
              <p:spPr>
                <a:xfrm>
                  <a:off x="4588609" y="4237441"/>
                  <a:ext cx="36841" cy="71948"/>
                </a:xfrm>
                <a:custGeom>
                  <a:avLst/>
                  <a:gdLst>
                    <a:gd name="connsiteX0" fmla="*/ 36841 w 36841"/>
                    <a:gd name="connsiteY0" fmla="*/ 71948 h 71948"/>
                    <a:gd name="connsiteX1" fmla="*/ 0 w 36841"/>
                    <a:gd name="connsiteY1" fmla="*/ 0 h 71948"/>
                  </a:gdLst>
                  <a:ahLst/>
                  <a:cxnLst>
                    <a:cxn ang="0">
                      <a:pos x="connsiteX0" y="connsiteY0"/>
                    </a:cxn>
                    <a:cxn ang="0">
                      <a:pos x="connsiteX1" y="connsiteY1"/>
                    </a:cxn>
                  </a:cxnLst>
                  <a:rect l="l" t="t" r="r" b="b"/>
                  <a:pathLst>
                    <a:path w="36841" h="71948">
                      <a:moveTo>
                        <a:pt x="36841" y="71948"/>
                      </a:moveTo>
                      <a:cubicBezTo>
                        <a:pt x="24461" y="48025"/>
                        <a:pt x="12201" y="24043"/>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261" name="Vrije vorm: vorm 8260">
                  <a:extLst>
                    <a:ext uri="{FF2B5EF4-FFF2-40B4-BE49-F238E27FC236}">
                      <a16:creationId xmlns:a16="http://schemas.microsoft.com/office/drawing/2014/main" id="{6E2CCEC3-2843-4CB1-9AAF-F326407C2D36}"/>
                    </a:ext>
                  </a:extLst>
                </p:cNvPr>
                <p:cNvSpPr/>
                <p:nvPr/>
              </p:nvSpPr>
              <p:spPr>
                <a:xfrm>
                  <a:off x="4597460" y="4230683"/>
                  <a:ext cx="41805" cy="68000"/>
                </a:xfrm>
                <a:custGeom>
                  <a:avLst/>
                  <a:gdLst>
                    <a:gd name="connsiteX0" fmla="*/ 41805 w 41805"/>
                    <a:gd name="connsiteY0" fmla="*/ 68001 h 68000"/>
                    <a:gd name="connsiteX1" fmla="*/ 0 w 41805"/>
                    <a:gd name="connsiteY1" fmla="*/ 0 h 68000"/>
                  </a:gdLst>
                  <a:ahLst/>
                  <a:cxnLst>
                    <a:cxn ang="0">
                      <a:pos x="connsiteX0" y="connsiteY0"/>
                    </a:cxn>
                    <a:cxn ang="0">
                      <a:pos x="connsiteX1" y="connsiteY1"/>
                    </a:cxn>
                  </a:cxnLst>
                  <a:rect l="l" t="t" r="r" b="b"/>
                  <a:pathLst>
                    <a:path w="41805" h="68000">
                      <a:moveTo>
                        <a:pt x="41805" y="68001"/>
                      </a:moveTo>
                      <a:cubicBezTo>
                        <a:pt x="27870" y="45334"/>
                        <a:pt x="13935" y="22667"/>
                        <a:pt x="0" y="0"/>
                      </a:cubicBezTo>
                    </a:path>
                  </a:pathLst>
                </a:custGeom>
                <a:noFill/>
                <a:ln w="6350" cap="rnd">
                  <a:solidFill>
                    <a:schemeClr val="bg1">
                      <a:alpha val="40000"/>
                    </a:schemeClr>
                  </a:solidFill>
                  <a:prstDash val="solid"/>
                  <a:miter/>
                </a:ln>
              </p:spPr>
              <p:txBody>
                <a:bodyPr rtlCol="0" anchor="ctr"/>
                <a:lstStyle/>
                <a:p>
                  <a:endParaRPr lang="en-GB"/>
                </a:p>
              </p:txBody>
            </p:sp>
            <p:grpSp>
              <p:nvGrpSpPr>
                <p:cNvPr id="8262" name="Graphic 3">
                  <a:extLst>
                    <a:ext uri="{FF2B5EF4-FFF2-40B4-BE49-F238E27FC236}">
                      <a16:creationId xmlns:a16="http://schemas.microsoft.com/office/drawing/2014/main" id="{F46F5D38-D10F-4F07-968F-F398F23954E3}"/>
                    </a:ext>
                  </a:extLst>
                </p:cNvPr>
                <p:cNvGrpSpPr/>
                <p:nvPr/>
              </p:nvGrpSpPr>
              <p:grpSpPr>
                <a:xfrm>
                  <a:off x="4303807" y="4410403"/>
                  <a:ext cx="72905" cy="135762"/>
                  <a:chOff x="4303807" y="4410403"/>
                  <a:chExt cx="72905" cy="135762"/>
                </a:xfrm>
                <a:noFill/>
              </p:grpSpPr>
              <p:sp>
                <p:nvSpPr>
                  <p:cNvPr id="8439" name="Vrije vorm: vorm 8438">
                    <a:extLst>
                      <a:ext uri="{FF2B5EF4-FFF2-40B4-BE49-F238E27FC236}">
                        <a16:creationId xmlns:a16="http://schemas.microsoft.com/office/drawing/2014/main" id="{F3475216-7CEE-44EC-896D-6CDDD9FB511A}"/>
                      </a:ext>
                    </a:extLst>
                  </p:cNvPr>
                  <p:cNvSpPr/>
                  <p:nvPr/>
                </p:nvSpPr>
                <p:spPr>
                  <a:xfrm>
                    <a:off x="4303807" y="4528044"/>
                    <a:ext cx="23205" cy="18121"/>
                  </a:xfrm>
                  <a:custGeom>
                    <a:avLst/>
                    <a:gdLst>
                      <a:gd name="connsiteX0" fmla="*/ 23205 w 23205"/>
                      <a:gd name="connsiteY0" fmla="*/ 0 h 18121"/>
                      <a:gd name="connsiteX1" fmla="*/ 0 w 23205"/>
                      <a:gd name="connsiteY1" fmla="*/ 18121 h 18121"/>
                    </a:gdLst>
                    <a:ahLst/>
                    <a:cxnLst>
                      <a:cxn ang="0">
                        <a:pos x="connsiteX0" y="connsiteY0"/>
                      </a:cxn>
                      <a:cxn ang="0">
                        <a:pos x="connsiteX1" y="connsiteY1"/>
                      </a:cxn>
                    </a:cxnLst>
                    <a:rect l="l" t="t" r="r" b="b"/>
                    <a:pathLst>
                      <a:path w="23205" h="18121">
                        <a:moveTo>
                          <a:pt x="23205" y="0"/>
                        </a:moveTo>
                        <a:cubicBezTo>
                          <a:pt x="15371" y="6100"/>
                          <a:pt x="7656" y="12141"/>
                          <a:pt x="0" y="18121"/>
                        </a:cubicBezTo>
                      </a:path>
                    </a:pathLst>
                  </a:custGeom>
                  <a:noFill/>
                  <a:ln w="6350" cap="rnd">
                    <a:solidFill>
                      <a:schemeClr val="bg1">
                        <a:alpha val="40000"/>
                      </a:schemeClr>
                    </a:solidFill>
                    <a:prstDash val="solid"/>
                    <a:miter/>
                  </a:ln>
                </p:spPr>
                <p:txBody>
                  <a:bodyPr rtlCol="0" anchor="ctr"/>
                  <a:lstStyle/>
                  <a:p>
                    <a:endParaRPr lang="en-GB"/>
                  </a:p>
                </p:txBody>
              </p:sp>
              <p:sp>
                <p:nvSpPr>
                  <p:cNvPr id="8440" name="Vrije vorm: vorm 8439">
                    <a:extLst>
                      <a:ext uri="{FF2B5EF4-FFF2-40B4-BE49-F238E27FC236}">
                        <a16:creationId xmlns:a16="http://schemas.microsoft.com/office/drawing/2014/main" id="{802865A0-8D64-44CA-B67A-0C9E0EEAB7DB}"/>
                      </a:ext>
                    </a:extLst>
                  </p:cNvPr>
                  <p:cNvSpPr/>
                  <p:nvPr/>
                </p:nvSpPr>
                <p:spPr>
                  <a:xfrm>
                    <a:off x="4310983" y="4511597"/>
                    <a:ext cx="22427" cy="17403"/>
                  </a:xfrm>
                  <a:custGeom>
                    <a:avLst/>
                    <a:gdLst>
                      <a:gd name="connsiteX0" fmla="*/ 22428 w 22427"/>
                      <a:gd name="connsiteY0" fmla="*/ 0 h 17403"/>
                      <a:gd name="connsiteX1" fmla="*/ 0 w 22427"/>
                      <a:gd name="connsiteY1" fmla="*/ 17404 h 17403"/>
                    </a:gdLst>
                    <a:ahLst/>
                    <a:cxnLst>
                      <a:cxn ang="0">
                        <a:pos x="connsiteX0" y="connsiteY0"/>
                      </a:cxn>
                      <a:cxn ang="0">
                        <a:pos x="connsiteX1" y="connsiteY1"/>
                      </a:cxn>
                    </a:cxnLst>
                    <a:rect l="l" t="t" r="r" b="b"/>
                    <a:pathLst>
                      <a:path w="22427" h="17403">
                        <a:moveTo>
                          <a:pt x="22428" y="0"/>
                        </a:moveTo>
                        <a:cubicBezTo>
                          <a:pt x="14892" y="5861"/>
                          <a:pt x="7416" y="11662"/>
                          <a:pt x="0" y="17404"/>
                        </a:cubicBezTo>
                      </a:path>
                    </a:pathLst>
                  </a:custGeom>
                  <a:noFill/>
                  <a:ln w="6350" cap="rnd">
                    <a:solidFill>
                      <a:schemeClr val="bg1">
                        <a:alpha val="40000"/>
                      </a:schemeClr>
                    </a:solidFill>
                    <a:prstDash val="solid"/>
                    <a:miter/>
                  </a:ln>
                </p:spPr>
                <p:txBody>
                  <a:bodyPr rtlCol="0" anchor="ctr"/>
                  <a:lstStyle/>
                  <a:p>
                    <a:endParaRPr lang="en-GB"/>
                  </a:p>
                </p:txBody>
              </p:sp>
              <p:sp>
                <p:nvSpPr>
                  <p:cNvPr id="8441" name="Vrije vorm: vorm 8440">
                    <a:extLst>
                      <a:ext uri="{FF2B5EF4-FFF2-40B4-BE49-F238E27FC236}">
                        <a16:creationId xmlns:a16="http://schemas.microsoft.com/office/drawing/2014/main" id="{869DA0AA-A4A5-4642-A71F-60CA7A0C0E51}"/>
                      </a:ext>
                    </a:extLst>
                  </p:cNvPr>
                  <p:cNvSpPr/>
                  <p:nvPr/>
                </p:nvSpPr>
                <p:spPr>
                  <a:xfrm>
                    <a:off x="4318519" y="4495031"/>
                    <a:ext cx="21590" cy="16686"/>
                  </a:xfrm>
                  <a:custGeom>
                    <a:avLst/>
                    <a:gdLst>
                      <a:gd name="connsiteX0" fmla="*/ 21590 w 21590"/>
                      <a:gd name="connsiteY0" fmla="*/ 0 h 16686"/>
                      <a:gd name="connsiteX1" fmla="*/ 0 w 21590"/>
                      <a:gd name="connsiteY1" fmla="*/ 16686 h 16686"/>
                    </a:gdLst>
                    <a:ahLst/>
                    <a:cxnLst>
                      <a:cxn ang="0">
                        <a:pos x="connsiteX0" y="connsiteY0"/>
                      </a:cxn>
                      <a:cxn ang="0">
                        <a:pos x="connsiteX1" y="connsiteY1"/>
                      </a:cxn>
                    </a:cxnLst>
                    <a:rect l="l" t="t" r="r" b="b"/>
                    <a:pathLst>
                      <a:path w="21590" h="16686">
                        <a:moveTo>
                          <a:pt x="21590" y="0"/>
                        </a:moveTo>
                        <a:cubicBezTo>
                          <a:pt x="14354" y="5622"/>
                          <a:pt x="7177" y="11184"/>
                          <a:pt x="0" y="16686"/>
                        </a:cubicBezTo>
                      </a:path>
                    </a:pathLst>
                  </a:custGeom>
                  <a:noFill/>
                  <a:ln w="6350" cap="rnd">
                    <a:solidFill>
                      <a:schemeClr val="bg1">
                        <a:alpha val="40000"/>
                      </a:schemeClr>
                    </a:solidFill>
                    <a:prstDash val="solid"/>
                    <a:miter/>
                  </a:ln>
                </p:spPr>
                <p:txBody>
                  <a:bodyPr rtlCol="0" anchor="ctr"/>
                  <a:lstStyle/>
                  <a:p>
                    <a:endParaRPr lang="en-GB"/>
                  </a:p>
                </p:txBody>
              </p:sp>
              <p:sp>
                <p:nvSpPr>
                  <p:cNvPr id="8442" name="Vrije vorm: vorm 8441">
                    <a:extLst>
                      <a:ext uri="{FF2B5EF4-FFF2-40B4-BE49-F238E27FC236}">
                        <a16:creationId xmlns:a16="http://schemas.microsoft.com/office/drawing/2014/main" id="{07416BB8-B8A9-4F92-9AF3-E2EF6A8718EE}"/>
                      </a:ext>
                    </a:extLst>
                  </p:cNvPr>
                  <p:cNvSpPr/>
                  <p:nvPr/>
                </p:nvSpPr>
                <p:spPr>
                  <a:xfrm>
                    <a:off x="4326294" y="4478345"/>
                    <a:ext cx="20693" cy="15908"/>
                  </a:xfrm>
                  <a:custGeom>
                    <a:avLst/>
                    <a:gdLst>
                      <a:gd name="connsiteX0" fmla="*/ 20693 w 20693"/>
                      <a:gd name="connsiteY0" fmla="*/ 0 h 15908"/>
                      <a:gd name="connsiteX1" fmla="*/ 0 w 20693"/>
                      <a:gd name="connsiteY1" fmla="*/ 15909 h 15908"/>
                    </a:gdLst>
                    <a:ahLst/>
                    <a:cxnLst>
                      <a:cxn ang="0">
                        <a:pos x="connsiteX0" y="connsiteY0"/>
                      </a:cxn>
                      <a:cxn ang="0">
                        <a:pos x="connsiteX1" y="connsiteY1"/>
                      </a:cxn>
                    </a:cxnLst>
                    <a:rect l="l" t="t" r="r" b="b"/>
                    <a:pathLst>
                      <a:path w="20693" h="15908">
                        <a:moveTo>
                          <a:pt x="20693" y="0"/>
                        </a:moveTo>
                        <a:cubicBezTo>
                          <a:pt x="13756" y="5323"/>
                          <a:pt x="6878" y="10645"/>
                          <a:pt x="0" y="15909"/>
                        </a:cubicBezTo>
                      </a:path>
                    </a:pathLst>
                  </a:custGeom>
                  <a:noFill/>
                  <a:ln w="6350" cap="rnd">
                    <a:solidFill>
                      <a:schemeClr val="bg1">
                        <a:alpha val="40000"/>
                      </a:schemeClr>
                    </a:solidFill>
                    <a:prstDash val="solid"/>
                    <a:miter/>
                  </a:ln>
                </p:spPr>
                <p:txBody>
                  <a:bodyPr rtlCol="0" anchor="ctr"/>
                  <a:lstStyle/>
                  <a:p>
                    <a:endParaRPr lang="en-GB"/>
                  </a:p>
                </p:txBody>
              </p:sp>
              <p:sp>
                <p:nvSpPr>
                  <p:cNvPr id="8443" name="Vrije vorm: vorm 8442">
                    <a:extLst>
                      <a:ext uri="{FF2B5EF4-FFF2-40B4-BE49-F238E27FC236}">
                        <a16:creationId xmlns:a16="http://schemas.microsoft.com/office/drawing/2014/main" id="{99D778B8-8AB9-454E-9F17-99CB7C239D2B}"/>
                      </a:ext>
                    </a:extLst>
                  </p:cNvPr>
                  <p:cNvSpPr/>
                  <p:nvPr/>
                </p:nvSpPr>
                <p:spPr>
                  <a:xfrm>
                    <a:off x="4334368" y="4461539"/>
                    <a:ext cx="19736" cy="15131"/>
                  </a:xfrm>
                  <a:custGeom>
                    <a:avLst/>
                    <a:gdLst>
                      <a:gd name="connsiteX0" fmla="*/ 19736 w 19736"/>
                      <a:gd name="connsiteY0" fmla="*/ 0 h 15131"/>
                      <a:gd name="connsiteX1" fmla="*/ 0 w 19736"/>
                      <a:gd name="connsiteY1" fmla="*/ 15131 h 15131"/>
                    </a:gdLst>
                    <a:ahLst/>
                    <a:cxnLst>
                      <a:cxn ang="0">
                        <a:pos x="connsiteX0" y="connsiteY0"/>
                      </a:cxn>
                      <a:cxn ang="0">
                        <a:pos x="connsiteX1" y="connsiteY1"/>
                      </a:cxn>
                    </a:cxnLst>
                    <a:rect l="l" t="t" r="r" b="b"/>
                    <a:pathLst>
                      <a:path w="19736" h="15131">
                        <a:moveTo>
                          <a:pt x="19736" y="0"/>
                        </a:moveTo>
                        <a:cubicBezTo>
                          <a:pt x="13098" y="5083"/>
                          <a:pt x="6519" y="10107"/>
                          <a:pt x="0" y="15131"/>
                        </a:cubicBezTo>
                      </a:path>
                    </a:pathLst>
                  </a:custGeom>
                  <a:noFill/>
                  <a:ln w="6350" cap="rnd">
                    <a:solidFill>
                      <a:schemeClr val="bg1">
                        <a:alpha val="40000"/>
                      </a:schemeClr>
                    </a:solidFill>
                    <a:prstDash val="solid"/>
                    <a:miter/>
                  </a:ln>
                </p:spPr>
                <p:txBody>
                  <a:bodyPr rtlCol="0" anchor="ctr"/>
                  <a:lstStyle/>
                  <a:p>
                    <a:endParaRPr lang="en-GB"/>
                  </a:p>
                </p:txBody>
              </p:sp>
              <p:sp>
                <p:nvSpPr>
                  <p:cNvPr id="8444" name="Vrije vorm: vorm 8443">
                    <a:extLst>
                      <a:ext uri="{FF2B5EF4-FFF2-40B4-BE49-F238E27FC236}">
                        <a16:creationId xmlns:a16="http://schemas.microsoft.com/office/drawing/2014/main" id="{BD9843ED-E6A1-4B1F-9793-2B07B8B920E3}"/>
                      </a:ext>
                    </a:extLst>
                  </p:cNvPr>
                  <p:cNvSpPr/>
                  <p:nvPr/>
                </p:nvSpPr>
                <p:spPr>
                  <a:xfrm>
                    <a:off x="4342741" y="4444553"/>
                    <a:ext cx="18719" cy="14353"/>
                  </a:xfrm>
                  <a:custGeom>
                    <a:avLst/>
                    <a:gdLst>
                      <a:gd name="connsiteX0" fmla="*/ 18720 w 18719"/>
                      <a:gd name="connsiteY0" fmla="*/ 0 h 14353"/>
                      <a:gd name="connsiteX1" fmla="*/ 0 w 18719"/>
                      <a:gd name="connsiteY1" fmla="*/ 14354 h 14353"/>
                    </a:gdLst>
                    <a:ahLst/>
                    <a:cxnLst>
                      <a:cxn ang="0">
                        <a:pos x="connsiteX0" y="connsiteY0"/>
                      </a:cxn>
                      <a:cxn ang="0">
                        <a:pos x="connsiteX1" y="connsiteY1"/>
                      </a:cxn>
                    </a:cxnLst>
                    <a:rect l="l" t="t" r="r" b="b"/>
                    <a:pathLst>
                      <a:path w="18719" h="14353">
                        <a:moveTo>
                          <a:pt x="18720" y="0"/>
                        </a:moveTo>
                        <a:cubicBezTo>
                          <a:pt x="12440" y="4785"/>
                          <a:pt x="6160" y="9569"/>
                          <a:pt x="0" y="14354"/>
                        </a:cubicBezTo>
                      </a:path>
                    </a:pathLst>
                  </a:custGeom>
                  <a:noFill/>
                  <a:ln w="6350" cap="rnd">
                    <a:solidFill>
                      <a:schemeClr val="bg1">
                        <a:alpha val="40000"/>
                      </a:schemeClr>
                    </a:solidFill>
                    <a:prstDash val="solid"/>
                    <a:miter/>
                  </a:ln>
                </p:spPr>
                <p:txBody>
                  <a:bodyPr rtlCol="0" anchor="ctr"/>
                  <a:lstStyle/>
                  <a:p>
                    <a:endParaRPr lang="en-GB"/>
                  </a:p>
                </p:txBody>
              </p:sp>
              <p:sp>
                <p:nvSpPr>
                  <p:cNvPr id="8445" name="Vrije vorm: vorm 8444">
                    <a:extLst>
                      <a:ext uri="{FF2B5EF4-FFF2-40B4-BE49-F238E27FC236}">
                        <a16:creationId xmlns:a16="http://schemas.microsoft.com/office/drawing/2014/main" id="{DD88FD9C-FD24-49EF-84E6-675284F9FAFC}"/>
                      </a:ext>
                    </a:extLst>
                  </p:cNvPr>
                  <p:cNvSpPr/>
                  <p:nvPr/>
                </p:nvSpPr>
                <p:spPr>
                  <a:xfrm>
                    <a:off x="4351293" y="4427508"/>
                    <a:ext cx="17703" cy="13516"/>
                  </a:xfrm>
                  <a:custGeom>
                    <a:avLst/>
                    <a:gdLst>
                      <a:gd name="connsiteX0" fmla="*/ 17703 w 17703"/>
                      <a:gd name="connsiteY0" fmla="*/ 0 h 13516"/>
                      <a:gd name="connsiteX1" fmla="*/ 0 w 17703"/>
                      <a:gd name="connsiteY1" fmla="*/ 13516 h 13516"/>
                    </a:gdLst>
                    <a:ahLst/>
                    <a:cxnLst>
                      <a:cxn ang="0">
                        <a:pos x="connsiteX0" y="connsiteY0"/>
                      </a:cxn>
                      <a:cxn ang="0">
                        <a:pos x="connsiteX1" y="connsiteY1"/>
                      </a:cxn>
                    </a:cxnLst>
                    <a:rect l="l" t="t" r="r" b="b"/>
                    <a:pathLst>
                      <a:path w="17703" h="13516">
                        <a:moveTo>
                          <a:pt x="17703" y="0"/>
                        </a:moveTo>
                        <a:cubicBezTo>
                          <a:pt x="11782" y="4545"/>
                          <a:pt x="5861" y="9031"/>
                          <a:pt x="0" y="13516"/>
                        </a:cubicBezTo>
                      </a:path>
                    </a:pathLst>
                  </a:custGeom>
                  <a:noFill/>
                  <a:ln w="6350" cap="rnd">
                    <a:solidFill>
                      <a:schemeClr val="bg1">
                        <a:alpha val="40000"/>
                      </a:schemeClr>
                    </a:solidFill>
                    <a:prstDash val="solid"/>
                    <a:miter/>
                  </a:ln>
                </p:spPr>
                <p:txBody>
                  <a:bodyPr rtlCol="0" anchor="ctr"/>
                  <a:lstStyle/>
                  <a:p>
                    <a:endParaRPr lang="en-GB"/>
                  </a:p>
                </p:txBody>
              </p:sp>
              <p:sp>
                <p:nvSpPr>
                  <p:cNvPr id="8446" name="Vrije vorm: vorm 8445">
                    <a:extLst>
                      <a:ext uri="{FF2B5EF4-FFF2-40B4-BE49-F238E27FC236}">
                        <a16:creationId xmlns:a16="http://schemas.microsoft.com/office/drawing/2014/main" id="{5583A7D0-4512-400D-8F70-A84FAE34F38B}"/>
                      </a:ext>
                    </a:extLst>
                  </p:cNvPr>
                  <p:cNvSpPr/>
                  <p:nvPr/>
                </p:nvSpPr>
                <p:spPr>
                  <a:xfrm>
                    <a:off x="4360025" y="4410403"/>
                    <a:ext cx="16686" cy="12679"/>
                  </a:xfrm>
                  <a:custGeom>
                    <a:avLst/>
                    <a:gdLst>
                      <a:gd name="connsiteX0" fmla="*/ 16686 w 16686"/>
                      <a:gd name="connsiteY0" fmla="*/ 0 h 12679"/>
                      <a:gd name="connsiteX1" fmla="*/ 0 w 16686"/>
                      <a:gd name="connsiteY1" fmla="*/ 12679 h 12679"/>
                    </a:gdLst>
                    <a:ahLst/>
                    <a:cxnLst>
                      <a:cxn ang="0">
                        <a:pos x="connsiteX0" y="connsiteY0"/>
                      </a:cxn>
                      <a:cxn ang="0">
                        <a:pos x="connsiteX1" y="connsiteY1"/>
                      </a:cxn>
                    </a:cxnLst>
                    <a:rect l="l" t="t" r="r" b="b"/>
                    <a:pathLst>
                      <a:path w="16686" h="12679">
                        <a:moveTo>
                          <a:pt x="16686" y="0"/>
                        </a:moveTo>
                        <a:cubicBezTo>
                          <a:pt x="11124" y="4246"/>
                          <a:pt x="5562" y="8493"/>
                          <a:pt x="0" y="12679"/>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63" name="Graphic 3">
                  <a:extLst>
                    <a:ext uri="{FF2B5EF4-FFF2-40B4-BE49-F238E27FC236}">
                      <a16:creationId xmlns:a16="http://schemas.microsoft.com/office/drawing/2014/main" id="{74F8ADC6-3D7C-479F-B85B-EB28D27D7DDA}"/>
                    </a:ext>
                  </a:extLst>
                </p:cNvPr>
                <p:cNvGrpSpPr/>
                <p:nvPr/>
              </p:nvGrpSpPr>
              <p:grpSpPr>
                <a:xfrm>
                  <a:off x="4258293" y="4438334"/>
                  <a:ext cx="81696" cy="143537"/>
                  <a:chOff x="4258293" y="4438334"/>
                  <a:chExt cx="81696" cy="143537"/>
                </a:xfrm>
                <a:noFill/>
              </p:grpSpPr>
              <p:sp>
                <p:nvSpPr>
                  <p:cNvPr id="8431" name="Vrije vorm: vorm 8430">
                    <a:extLst>
                      <a:ext uri="{FF2B5EF4-FFF2-40B4-BE49-F238E27FC236}">
                        <a16:creationId xmlns:a16="http://schemas.microsoft.com/office/drawing/2014/main" id="{69F2F216-81E1-4099-B3F4-27A132C3384F}"/>
                      </a:ext>
                    </a:extLst>
                  </p:cNvPr>
                  <p:cNvSpPr/>
                  <p:nvPr/>
                </p:nvSpPr>
                <p:spPr>
                  <a:xfrm>
                    <a:off x="4258293" y="4564407"/>
                    <a:ext cx="22188" cy="17463"/>
                  </a:xfrm>
                  <a:custGeom>
                    <a:avLst/>
                    <a:gdLst>
                      <a:gd name="connsiteX0" fmla="*/ 22189 w 22188"/>
                      <a:gd name="connsiteY0" fmla="*/ 0 h 17463"/>
                      <a:gd name="connsiteX1" fmla="*/ 0 w 22188"/>
                      <a:gd name="connsiteY1" fmla="*/ 17464 h 17463"/>
                    </a:gdLst>
                    <a:ahLst/>
                    <a:cxnLst>
                      <a:cxn ang="0">
                        <a:pos x="connsiteX0" y="connsiteY0"/>
                      </a:cxn>
                      <a:cxn ang="0">
                        <a:pos x="connsiteX1" y="connsiteY1"/>
                      </a:cxn>
                    </a:cxnLst>
                    <a:rect l="l" t="t" r="r" b="b"/>
                    <a:pathLst>
                      <a:path w="22188" h="17463">
                        <a:moveTo>
                          <a:pt x="22189" y="0"/>
                        </a:moveTo>
                        <a:cubicBezTo>
                          <a:pt x="14713" y="5861"/>
                          <a:pt x="7297" y="11722"/>
                          <a:pt x="0" y="17464"/>
                        </a:cubicBezTo>
                      </a:path>
                    </a:pathLst>
                  </a:custGeom>
                  <a:noFill/>
                  <a:ln w="6350" cap="rnd">
                    <a:solidFill>
                      <a:schemeClr val="bg1">
                        <a:alpha val="40000"/>
                      </a:schemeClr>
                    </a:solidFill>
                    <a:prstDash val="solid"/>
                    <a:miter/>
                  </a:ln>
                </p:spPr>
                <p:txBody>
                  <a:bodyPr rtlCol="0" anchor="ctr"/>
                  <a:lstStyle/>
                  <a:p>
                    <a:endParaRPr lang="en-GB"/>
                  </a:p>
                </p:txBody>
              </p:sp>
              <p:sp>
                <p:nvSpPr>
                  <p:cNvPr id="8432" name="Vrije vorm: vorm 8431">
                    <a:extLst>
                      <a:ext uri="{FF2B5EF4-FFF2-40B4-BE49-F238E27FC236}">
                        <a16:creationId xmlns:a16="http://schemas.microsoft.com/office/drawing/2014/main" id="{99CE66F0-E569-43EC-976E-48CD0AB8FB68}"/>
                      </a:ext>
                    </a:extLst>
                  </p:cNvPr>
                  <p:cNvSpPr/>
                  <p:nvPr/>
                </p:nvSpPr>
                <p:spPr>
                  <a:xfrm>
                    <a:off x="4266607" y="4546883"/>
                    <a:ext cx="21470" cy="16865"/>
                  </a:xfrm>
                  <a:custGeom>
                    <a:avLst/>
                    <a:gdLst>
                      <a:gd name="connsiteX0" fmla="*/ 21471 w 21470"/>
                      <a:gd name="connsiteY0" fmla="*/ 0 h 16865"/>
                      <a:gd name="connsiteX1" fmla="*/ 0 w 21470"/>
                      <a:gd name="connsiteY1" fmla="*/ 16866 h 16865"/>
                    </a:gdLst>
                    <a:ahLst/>
                    <a:cxnLst>
                      <a:cxn ang="0">
                        <a:pos x="connsiteX0" y="connsiteY0"/>
                      </a:cxn>
                      <a:cxn ang="0">
                        <a:pos x="connsiteX1" y="connsiteY1"/>
                      </a:cxn>
                    </a:cxnLst>
                    <a:rect l="l" t="t" r="r" b="b"/>
                    <a:pathLst>
                      <a:path w="21470" h="16865">
                        <a:moveTo>
                          <a:pt x="21471" y="0"/>
                        </a:moveTo>
                        <a:cubicBezTo>
                          <a:pt x="14234" y="5682"/>
                          <a:pt x="7057" y="11304"/>
                          <a:pt x="0" y="16866"/>
                        </a:cubicBezTo>
                      </a:path>
                    </a:pathLst>
                  </a:custGeom>
                  <a:noFill/>
                  <a:ln w="6350" cap="rnd">
                    <a:solidFill>
                      <a:schemeClr val="bg1">
                        <a:alpha val="40000"/>
                      </a:schemeClr>
                    </a:solidFill>
                    <a:prstDash val="solid"/>
                    <a:miter/>
                  </a:ln>
                </p:spPr>
                <p:txBody>
                  <a:bodyPr rtlCol="0" anchor="ctr"/>
                  <a:lstStyle/>
                  <a:p>
                    <a:endParaRPr lang="en-GB"/>
                  </a:p>
                </p:txBody>
              </p:sp>
              <p:sp>
                <p:nvSpPr>
                  <p:cNvPr id="8433" name="Vrije vorm: vorm 8432">
                    <a:extLst>
                      <a:ext uri="{FF2B5EF4-FFF2-40B4-BE49-F238E27FC236}">
                        <a16:creationId xmlns:a16="http://schemas.microsoft.com/office/drawing/2014/main" id="{BFC36402-557D-4814-8A1C-025E3CBCDC18}"/>
                      </a:ext>
                    </a:extLst>
                  </p:cNvPr>
                  <p:cNvSpPr/>
                  <p:nvPr/>
                </p:nvSpPr>
                <p:spPr>
                  <a:xfrm>
                    <a:off x="4275219" y="4529240"/>
                    <a:ext cx="20752" cy="16207"/>
                  </a:xfrm>
                  <a:custGeom>
                    <a:avLst/>
                    <a:gdLst>
                      <a:gd name="connsiteX0" fmla="*/ 20753 w 20752"/>
                      <a:gd name="connsiteY0" fmla="*/ 0 h 16207"/>
                      <a:gd name="connsiteX1" fmla="*/ 0 w 20752"/>
                      <a:gd name="connsiteY1" fmla="*/ 16208 h 16207"/>
                    </a:gdLst>
                    <a:ahLst/>
                    <a:cxnLst>
                      <a:cxn ang="0">
                        <a:pos x="connsiteX0" y="connsiteY0"/>
                      </a:cxn>
                      <a:cxn ang="0">
                        <a:pos x="connsiteX1" y="connsiteY1"/>
                      </a:cxn>
                    </a:cxnLst>
                    <a:rect l="l" t="t" r="r" b="b"/>
                    <a:pathLst>
                      <a:path w="20752" h="16207">
                        <a:moveTo>
                          <a:pt x="20753" y="0"/>
                        </a:moveTo>
                        <a:cubicBezTo>
                          <a:pt x="13756" y="5443"/>
                          <a:pt x="6818" y="10825"/>
                          <a:pt x="0" y="16208"/>
                        </a:cubicBezTo>
                      </a:path>
                    </a:pathLst>
                  </a:custGeom>
                  <a:noFill/>
                  <a:ln w="6350" cap="rnd">
                    <a:solidFill>
                      <a:schemeClr val="bg1">
                        <a:alpha val="40000"/>
                      </a:schemeClr>
                    </a:solidFill>
                    <a:prstDash val="solid"/>
                    <a:miter/>
                  </a:ln>
                </p:spPr>
                <p:txBody>
                  <a:bodyPr rtlCol="0" anchor="ctr"/>
                  <a:lstStyle/>
                  <a:p>
                    <a:endParaRPr lang="en-GB"/>
                  </a:p>
                </p:txBody>
              </p:sp>
              <p:sp>
                <p:nvSpPr>
                  <p:cNvPr id="8434" name="Vrije vorm: vorm 8433">
                    <a:extLst>
                      <a:ext uri="{FF2B5EF4-FFF2-40B4-BE49-F238E27FC236}">
                        <a16:creationId xmlns:a16="http://schemas.microsoft.com/office/drawing/2014/main" id="{B9193A8C-041C-4A20-9ABB-616B3FB26DE5}"/>
                      </a:ext>
                    </a:extLst>
                  </p:cNvPr>
                  <p:cNvSpPr/>
                  <p:nvPr/>
                </p:nvSpPr>
                <p:spPr>
                  <a:xfrm>
                    <a:off x="4284250" y="4511358"/>
                    <a:ext cx="19975" cy="15490"/>
                  </a:xfrm>
                  <a:custGeom>
                    <a:avLst/>
                    <a:gdLst>
                      <a:gd name="connsiteX0" fmla="*/ 19975 w 19975"/>
                      <a:gd name="connsiteY0" fmla="*/ 0 h 15490"/>
                      <a:gd name="connsiteX1" fmla="*/ 0 w 19975"/>
                      <a:gd name="connsiteY1" fmla="*/ 15490 h 15490"/>
                    </a:gdLst>
                    <a:ahLst/>
                    <a:cxnLst>
                      <a:cxn ang="0">
                        <a:pos x="connsiteX0" y="connsiteY0"/>
                      </a:cxn>
                      <a:cxn ang="0">
                        <a:pos x="connsiteX1" y="connsiteY1"/>
                      </a:cxn>
                    </a:cxnLst>
                    <a:rect l="l" t="t" r="r" b="b"/>
                    <a:pathLst>
                      <a:path w="19975" h="15490">
                        <a:moveTo>
                          <a:pt x="19975" y="0"/>
                        </a:moveTo>
                        <a:cubicBezTo>
                          <a:pt x="13277" y="5203"/>
                          <a:pt x="6579" y="10347"/>
                          <a:pt x="0" y="15490"/>
                        </a:cubicBezTo>
                      </a:path>
                    </a:pathLst>
                  </a:custGeom>
                  <a:noFill/>
                  <a:ln w="6350" cap="rnd">
                    <a:solidFill>
                      <a:schemeClr val="bg1">
                        <a:alpha val="40000"/>
                      </a:schemeClr>
                    </a:solidFill>
                    <a:prstDash val="solid"/>
                    <a:miter/>
                  </a:ln>
                </p:spPr>
                <p:txBody>
                  <a:bodyPr rtlCol="0" anchor="ctr"/>
                  <a:lstStyle/>
                  <a:p>
                    <a:endParaRPr lang="en-GB"/>
                  </a:p>
                </p:txBody>
              </p:sp>
              <p:sp>
                <p:nvSpPr>
                  <p:cNvPr id="8435" name="Vrije vorm: vorm 8434">
                    <a:extLst>
                      <a:ext uri="{FF2B5EF4-FFF2-40B4-BE49-F238E27FC236}">
                        <a16:creationId xmlns:a16="http://schemas.microsoft.com/office/drawing/2014/main" id="{C7CCD94E-2886-4F3B-962A-E3C954AD3685}"/>
                      </a:ext>
                    </a:extLst>
                  </p:cNvPr>
                  <p:cNvSpPr/>
                  <p:nvPr/>
                </p:nvSpPr>
                <p:spPr>
                  <a:xfrm>
                    <a:off x="4293580" y="4493356"/>
                    <a:ext cx="19138" cy="14772"/>
                  </a:xfrm>
                  <a:custGeom>
                    <a:avLst/>
                    <a:gdLst>
                      <a:gd name="connsiteX0" fmla="*/ 19138 w 19138"/>
                      <a:gd name="connsiteY0" fmla="*/ 0 h 14772"/>
                      <a:gd name="connsiteX1" fmla="*/ 0 w 19138"/>
                      <a:gd name="connsiteY1" fmla="*/ 14773 h 14772"/>
                    </a:gdLst>
                    <a:ahLst/>
                    <a:cxnLst>
                      <a:cxn ang="0">
                        <a:pos x="connsiteX0" y="connsiteY0"/>
                      </a:cxn>
                      <a:cxn ang="0">
                        <a:pos x="connsiteX1" y="connsiteY1"/>
                      </a:cxn>
                    </a:cxnLst>
                    <a:rect l="l" t="t" r="r" b="b"/>
                    <a:pathLst>
                      <a:path w="19138" h="14772">
                        <a:moveTo>
                          <a:pt x="19138" y="0"/>
                        </a:moveTo>
                        <a:cubicBezTo>
                          <a:pt x="12739" y="4964"/>
                          <a:pt x="6340" y="9868"/>
                          <a:pt x="0" y="14773"/>
                        </a:cubicBezTo>
                      </a:path>
                    </a:pathLst>
                  </a:custGeom>
                  <a:noFill/>
                  <a:ln w="6350" cap="rnd">
                    <a:solidFill>
                      <a:schemeClr val="bg1">
                        <a:alpha val="40000"/>
                      </a:schemeClr>
                    </a:solidFill>
                    <a:prstDash val="solid"/>
                    <a:miter/>
                  </a:ln>
                </p:spPr>
                <p:txBody>
                  <a:bodyPr rtlCol="0" anchor="ctr"/>
                  <a:lstStyle/>
                  <a:p>
                    <a:endParaRPr lang="en-GB"/>
                  </a:p>
                </p:txBody>
              </p:sp>
              <p:sp>
                <p:nvSpPr>
                  <p:cNvPr id="8436" name="Vrije vorm: vorm 8435">
                    <a:extLst>
                      <a:ext uri="{FF2B5EF4-FFF2-40B4-BE49-F238E27FC236}">
                        <a16:creationId xmlns:a16="http://schemas.microsoft.com/office/drawing/2014/main" id="{F9120AA5-ABDD-42A0-89CA-1095F77789F1}"/>
                      </a:ext>
                    </a:extLst>
                  </p:cNvPr>
                  <p:cNvSpPr/>
                  <p:nvPr/>
                </p:nvSpPr>
                <p:spPr>
                  <a:xfrm>
                    <a:off x="4303268" y="4475175"/>
                    <a:ext cx="18241" cy="14054"/>
                  </a:xfrm>
                  <a:custGeom>
                    <a:avLst/>
                    <a:gdLst>
                      <a:gd name="connsiteX0" fmla="*/ 18241 w 18241"/>
                      <a:gd name="connsiteY0" fmla="*/ 0 h 14054"/>
                      <a:gd name="connsiteX1" fmla="*/ 0 w 18241"/>
                      <a:gd name="connsiteY1" fmla="*/ 14055 h 14054"/>
                    </a:gdLst>
                    <a:ahLst/>
                    <a:cxnLst>
                      <a:cxn ang="0">
                        <a:pos x="connsiteX0" y="connsiteY0"/>
                      </a:cxn>
                      <a:cxn ang="0">
                        <a:pos x="connsiteX1" y="connsiteY1"/>
                      </a:cxn>
                    </a:cxnLst>
                    <a:rect l="l" t="t" r="r" b="b"/>
                    <a:pathLst>
                      <a:path w="18241" h="14054">
                        <a:moveTo>
                          <a:pt x="18241" y="0"/>
                        </a:moveTo>
                        <a:cubicBezTo>
                          <a:pt x="12141" y="4725"/>
                          <a:pt x="6041" y="9390"/>
                          <a:pt x="0" y="14055"/>
                        </a:cubicBezTo>
                      </a:path>
                    </a:pathLst>
                  </a:custGeom>
                  <a:noFill/>
                  <a:ln w="6350" cap="rnd">
                    <a:solidFill>
                      <a:schemeClr val="bg1">
                        <a:alpha val="40000"/>
                      </a:schemeClr>
                    </a:solidFill>
                    <a:prstDash val="solid"/>
                    <a:miter/>
                  </a:ln>
                </p:spPr>
                <p:txBody>
                  <a:bodyPr rtlCol="0" anchor="ctr"/>
                  <a:lstStyle/>
                  <a:p>
                    <a:endParaRPr lang="en-GB"/>
                  </a:p>
                </p:txBody>
              </p:sp>
              <p:sp>
                <p:nvSpPr>
                  <p:cNvPr id="8437" name="Vrije vorm: vorm 8436">
                    <a:extLst>
                      <a:ext uri="{FF2B5EF4-FFF2-40B4-BE49-F238E27FC236}">
                        <a16:creationId xmlns:a16="http://schemas.microsoft.com/office/drawing/2014/main" id="{6D853061-5813-4508-8364-DB29E759AC88}"/>
                      </a:ext>
                    </a:extLst>
                  </p:cNvPr>
                  <p:cNvSpPr/>
                  <p:nvPr/>
                </p:nvSpPr>
                <p:spPr>
                  <a:xfrm>
                    <a:off x="4313316" y="4456814"/>
                    <a:ext cx="17284" cy="13277"/>
                  </a:xfrm>
                  <a:custGeom>
                    <a:avLst/>
                    <a:gdLst>
                      <a:gd name="connsiteX0" fmla="*/ 17284 w 17284"/>
                      <a:gd name="connsiteY0" fmla="*/ 0 h 13277"/>
                      <a:gd name="connsiteX1" fmla="*/ 0 w 17284"/>
                      <a:gd name="connsiteY1" fmla="*/ 13277 h 13277"/>
                    </a:gdLst>
                    <a:ahLst/>
                    <a:cxnLst>
                      <a:cxn ang="0">
                        <a:pos x="connsiteX0" y="connsiteY0"/>
                      </a:cxn>
                      <a:cxn ang="0">
                        <a:pos x="connsiteX1" y="connsiteY1"/>
                      </a:cxn>
                    </a:cxnLst>
                    <a:rect l="l" t="t" r="r" b="b"/>
                    <a:pathLst>
                      <a:path w="17284" h="13277">
                        <a:moveTo>
                          <a:pt x="17284" y="0"/>
                        </a:moveTo>
                        <a:cubicBezTo>
                          <a:pt x="11483" y="4426"/>
                          <a:pt x="5742" y="8852"/>
                          <a:pt x="0" y="13277"/>
                        </a:cubicBezTo>
                      </a:path>
                    </a:pathLst>
                  </a:custGeom>
                  <a:noFill/>
                  <a:ln w="6350" cap="rnd">
                    <a:solidFill>
                      <a:schemeClr val="bg1">
                        <a:alpha val="40000"/>
                      </a:schemeClr>
                    </a:solidFill>
                    <a:prstDash val="solid"/>
                    <a:miter/>
                  </a:ln>
                </p:spPr>
                <p:txBody>
                  <a:bodyPr rtlCol="0" anchor="ctr"/>
                  <a:lstStyle/>
                  <a:p>
                    <a:endParaRPr lang="en-GB"/>
                  </a:p>
                </p:txBody>
              </p:sp>
              <p:sp>
                <p:nvSpPr>
                  <p:cNvPr id="8438" name="Vrije vorm: vorm 8437">
                    <a:extLst>
                      <a:ext uri="{FF2B5EF4-FFF2-40B4-BE49-F238E27FC236}">
                        <a16:creationId xmlns:a16="http://schemas.microsoft.com/office/drawing/2014/main" id="{09569362-C1E4-4113-96B3-666B0446ECE0}"/>
                      </a:ext>
                    </a:extLst>
                  </p:cNvPr>
                  <p:cNvSpPr/>
                  <p:nvPr/>
                </p:nvSpPr>
                <p:spPr>
                  <a:xfrm>
                    <a:off x="4323663" y="4438334"/>
                    <a:ext cx="16327" cy="12439"/>
                  </a:xfrm>
                  <a:custGeom>
                    <a:avLst/>
                    <a:gdLst>
                      <a:gd name="connsiteX0" fmla="*/ 16328 w 16327"/>
                      <a:gd name="connsiteY0" fmla="*/ 0 h 12439"/>
                      <a:gd name="connsiteX1" fmla="*/ 0 w 16327"/>
                      <a:gd name="connsiteY1" fmla="*/ 12440 h 12439"/>
                    </a:gdLst>
                    <a:ahLst/>
                    <a:cxnLst>
                      <a:cxn ang="0">
                        <a:pos x="connsiteX0" y="connsiteY0"/>
                      </a:cxn>
                      <a:cxn ang="0">
                        <a:pos x="connsiteX1" y="connsiteY1"/>
                      </a:cxn>
                    </a:cxnLst>
                    <a:rect l="l" t="t" r="r" b="b"/>
                    <a:pathLst>
                      <a:path w="16327" h="12439">
                        <a:moveTo>
                          <a:pt x="16328" y="0"/>
                        </a:moveTo>
                        <a:cubicBezTo>
                          <a:pt x="10885" y="4186"/>
                          <a:pt x="5443" y="8313"/>
                          <a:pt x="0" y="12440"/>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64" name="Graphic 3">
                  <a:extLst>
                    <a:ext uri="{FF2B5EF4-FFF2-40B4-BE49-F238E27FC236}">
                      <a16:creationId xmlns:a16="http://schemas.microsoft.com/office/drawing/2014/main" id="{7764A624-242C-47B1-BCC2-E83840EB0BAE}"/>
                    </a:ext>
                  </a:extLst>
                </p:cNvPr>
                <p:cNvGrpSpPr/>
                <p:nvPr/>
              </p:nvGrpSpPr>
              <p:grpSpPr>
                <a:xfrm>
                  <a:off x="4348124" y="4384567"/>
                  <a:ext cx="62558" cy="127030"/>
                  <a:chOff x="4348124" y="4384567"/>
                  <a:chExt cx="62558" cy="127030"/>
                </a:xfrm>
                <a:noFill/>
              </p:grpSpPr>
              <p:sp>
                <p:nvSpPr>
                  <p:cNvPr id="8423" name="Vrije vorm: vorm 8422">
                    <a:extLst>
                      <a:ext uri="{FF2B5EF4-FFF2-40B4-BE49-F238E27FC236}">
                        <a16:creationId xmlns:a16="http://schemas.microsoft.com/office/drawing/2014/main" id="{67C0CB5C-B1D8-4227-B8D0-861801AEED92}"/>
                      </a:ext>
                    </a:extLst>
                  </p:cNvPr>
                  <p:cNvSpPr/>
                  <p:nvPr/>
                </p:nvSpPr>
                <p:spPr>
                  <a:xfrm>
                    <a:off x="4348124" y="4492938"/>
                    <a:ext cx="24102" cy="18659"/>
                  </a:xfrm>
                  <a:custGeom>
                    <a:avLst/>
                    <a:gdLst>
                      <a:gd name="connsiteX0" fmla="*/ 24102 w 24102"/>
                      <a:gd name="connsiteY0" fmla="*/ 0 h 18659"/>
                      <a:gd name="connsiteX1" fmla="*/ 0 w 24102"/>
                      <a:gd name="connsiteY1" fmla="*/ 18660 h 18659"/>
                    </a:gdLst>
                    <a:ahLst/>
                    <a:cxnLst>
                      <a:cxn ang="0">
                        <a:pos x="connsiteX0" y="connsiteY0"/>
                      </a:cxn>
                      <a:cxn ang="0">
                        <a:pos x="connsiteX1" y="connsiteY1"/>
                      </a:cxn>
                    </a:cxnLst>
                    <a:rect l="l" t="t" r="r" b="b"/>
                    <a:pathLst>
                      <a:path w="24102" h="18659">
                        <a:moveTo>
                          <a:pt x="24102" y="0"/>
                        </a:moveTo>
                        <a:cubicBezTo>
                          <a:pt x="15968" y="6280"/>
                          <a:pt x="7954" y="12500"/>
                          <a:pt x="0" y="18660"/>
                        </a:cubicBezTo>
                      </a:path>
                    </a:pathLst>
                  </a:custGeom>
                  <a:noFill/>
                  <a:ln w="6350" cap="rnd">
                    <a:solidFill>
                      <a:schemeClr val="bg1">
                        <a:alpha val="40000"/>
                      </a:schemeClr>
                    </a:solidFill>
                    <a:prstDash val="solid"/>
                    <a:miter/>
                  </a:ln>
                </p:spPr>
                <p:txBody>
                  <a:bodyPr rtlCol="0" anchor="ctr"/>
                  <a:lstStyle/>
                  <a:p>
                    <a:endParaRPr lang="en-GB"/>
                  </a:p>
                </p:txBody>
              </p:sp>
              <p:sp>
                <p:nvSpPr>
                  <p:cNvPr id="8424" name="Vrije vorm: vorm 8423">
                    <a:extLst>
                      <a:ext uri="{FF2B5EF4-FFF2-40B4-BE49-F238E27FC236}">
                        <a16:creationId xmlns:a16="http://schemas.microsoft.com/office/drawing/2014/main" id="{9E0A266F-BAB0-4164-9FCC-E85A45BCD221}"/>
                      </a:ext>
                    </a:extLst>
                  </p:cNvPr>
                  <p:cNvSpPr/>
                  <p:nvPr/>
                </p:nvSpPr>
                <p:spPr>
                  <a:xfrm>
                    <a:off x="4354045" y="4477746"/>
                    <a:ext cx="23205" cy="17882"/>
                  </a:xfrm>
                  <a:custGeom>
                    <a:avLst/>
                    <a:gdLst>
                      <a:gd name="connsiteX0" fmla="*/ 23205 w 23205"/>
                      <a:gd name="connsiteY0" fmla="*/ 0 h 17882"/>
                      <a:gd name="connsiteX1" fmla="*/ 0 w 23205"/>
                      <a:gd name="connsiteY1" fmla="*/ 17882 h 17882"/>
                    </a:gdLst>
                    <a:ahLst/>
                    <a:cxnLst>
                      <a:cxn ang="0">
                        <a:pos x="connsiteX0" y="connsiteY0"/>
                      </a:cxn>
                      <a:cxn ang="0">
                        <a:pos x="connsiteX1" y="connsiteY1"/>
                      </a:cxn>
                    </a:cxnLst>
                    <a:rect l="l" t="t" r="r" b="b"/>
                    <a:pathLst>
                      <a:path w="23205" h="17882">
                        <a:moveTo>
                          <a:pt x="23205" y="0"/>
                        </a:moveTo>
                        <a:cubicBezTo>
                          <a:pt x="15430" y="5981"/>
                          <a:pt x="7656" y="11961"/>
                          <a:pt x="0" y="17882"/>
                        </a:cubicBezTo>
                      </a:path>
                    </a:pathLst>
                  </a:custGeom>
                  <a:noFill/>
                  <a:ln w="6350" cap="rnd">
                    <a:solidFill>
                      <a:schemeClr val="bg1">
                        <a:alpha val="40000"/>
                      </a:schemeClr>
                    </a:solidFill>
                    <a:prstDash val="solid"/>
                    <a:miter/>
                  </a:ln>
                </p:spPr>
                <p:txBody>
                  <a:bodyPr rtlCol="0" anchor="ctr"/>
                  <a:lstStyle/>
                  <a:p>
                    <a:endParaRPr lang="en-GB"/>
                  </a:p>
                </p:txBody>
              </p:sp>
              <p:sp>
                <p:nvSpPr>
                  <p:cNvPr id="8425" name="Vrije vorm: vorm 8424">
                    <a:extLst>
                      <a:ext uri="{FF2B5EF4-FFF2-40B4-BE49-F238E27FC236}">
                        <a16:creationId xmlns:a16="http://schemas.microsoft.com/office/drawing/2014/main" id="{2A992545-C7E3-4591-96AB-A1E47B452327}"/>
                      </a:ext>
                    </a:extLst>
                  </p:cNvPr>
                  <p:cNvSpPr/>
                  <p:nvPr/>
                </p:nvSpPr>
                <p:spPr>
                  <a:xfrm>
                    <a:off x="4360205" y="4462376"/>
                    <a:ext cx="22248" cy="17105"/>
                  </a:xfrm>
                  <a:custGeom>
                    <a:avLst/>
                    <a:gdLst>
                      <a:gd name="connsiteX0" fmla="*/ 22248 w 22248"/>
                      <a:gd name="connsiteY0" fmla="*/ 0 h 17105"/>
                      <a:gd name="connsiteX1" fmla="*/ 0 w 22248"/>
                      <a:gd name="connsiteY1" fmla="*/ 17105 h 17105"/>
                    </a:gdLst>
                    <a:ahLst/>
                    <a:cxnLst>
                      <a:cxn ang="0">
                        <a:pos x="connsiteX0" y="connsiteY0"/>
                      </a:cxn>
                      <a:cxn ang="0">
                        <a:pos x="connsiteX1" y="connsiteY1"/>
                      </a:cxn>
                    </a:cxnLst>
                    <a:rect l="l" t="t" r="r" b="b"/>
                    <a:pathLst>
                      <a:path w="22248" h="17105">
                        <a:moveTo>
                          <a:pt x="22248" y="0"/>
                        </a:moveTo>
                        <a:cubicBezTo>
                          <a:pt x="14772" y="5742"/>
                          <a:pt x="7356" y="11423"/>
                          <a:pt x="0" y="17105"/>
                        </a:cubicBezTo>
                      </a:path>
                    </a:pathLst>
                  </a:custGeom>
                  <a:noFill/>
                  <a:ln w="6350" cap="rnd">
                    <a:solidFill>
                      <a:schemeClr val="bg1">
                        <a:alpha val="40000"/>
                      </a:schemeClr>
                    </a:solidFill>
                    <a:prstDash val="solid"/>
                    <a:miter/>
                  </a:ln>
                </p:spPr>
                <p:txBody>
                  <a:bodyPr rtlCol="0" anchor="ctr"/>
                  <a:lstStyle/>
                  <a:p>
                    <a:endParaRPr lang="en-GB"/>
                  </a:p>
                </p:txBody>
              </p:sp>
              <p:sp>
                <p:nvSpPr>
                  <p:cNvPr id="8426" name="Vrije vorm: vorm 8425">
                    <a:extLst>
                      <a:ext uri="{FF2B5EF4-FFF2-40B4-BE49-F238E27FC236}">
                        <a16:creationId xmlns:a16="http://schemas.microsoft.com/office/drawing/2014/main" id="{33F84908-1395-48C5-B020-6C0B3E7A90F0}"/>
                      </a:ext>
                    </a:extLst>
                  </p:cNvPr>
                  <p:cNvSpPr/>
                  <p:nvPr/>
                </p:nvSpPr>
                <p:spPr>
                  <a:xfrm>
                    <a:off x="4366545" y="4447005"/>
                    <a:ext cx="21231" cy="16327"/>
                  </a:xfrm>
                  <a:custGeom>
                    <a:avLst/>
                    <a:gdLst>
                      <a:gd name="connsiteX0" fmla="*/ 21231 w 21231"/>
                      <a:gd name="connsiteY0" fmla="*/ 0 h 16327"/>
                      <a:gd name="connsiteX1" fmla="*/ 0 w 21231"/>
                      <a:gd name="connsiteY1" fmla="*/ 16328 h 16327"/>
                    </a:gdLst>
                    <a:ahLst/>
                    <a:cxnLst>
                      <a:cxn ang="0">
                        <a:pos x="connsiteX0" y="connsiteY0"/>
                      </a:cxn>
                      <a:cxn ang="0">
                        <a:pos x="connsiteX1" y="connsiteY1"/>
                      </a:cxn>
                    </a:cxnLst>
                    <a:rect l="l" t="t" r="r" b="b"/>
                    <a:pathLst>
                      <a:path w="21231" h="16327">
                        <a:moveTo>
                          <a:pt x="21231" y="0"/>
                        </a:moveTo>
                        <a:cubicBezTo>
                          <a:pt x="14114" y="5443"/>
                          <a:pt x="6997" y="10885"/>
                          <a:pt x="0" y="16328"/>
                        </a:cubicBezTo>
                      </a:path>
                    </a:pathLst>
                  </a:custGeom>
                  <a:noFill/>
                  <a:ln w="6350" cap="rnd">
                    <a:solidFill>
                      <a:schemeClr val="bg1">
                        <a:alpha val="40000"/>
                      </a:schemeClr>
                    </a:solidFill>
                    <a:prstDash val="solid"/>
                    <a:miter/>
                  </a:ln>
                </p:spPr>
                <p:txBody>
                  <a:bodyPr rtlCol="0" anchor="ctr"/>
                  <a:lstStyle/>
                  <a:p>
                    <a:endParaRPr lang="en-GB"/>
                  </a:p>
                </p:txBody>
              </p:sp>
              <p:sp>
                <p:nvSpPr>
                  <p:cNvPr id="8427" name="Vrije vorm: vorm 8426">
                    <a:extLst>
                      <a:ext uri="{FF2B5EF4-FFF2-40B4-BE49-F238E27FC236}">
                        <a16:creationId xmlns:a16="http://schemas.microsoft.com/office/drawing/2014/main" id="{7B7A8E01-8C23-4A3E-B356-41FFDB238047}"/>
                      </a:ext>
                    </a:extLst>
                  </p:cNvPr>
                  <p:cNvSpPr/>
                  <p:nvPr/>
                </p:nvSpPr>
                <p:spPr>
                  <a:xfrm>
                    <a:off x="4373063" y="4431515"/>
                    <a:ext cx="20214" cy="15489"/>
                  </a:xfrm>
                  <a:custGeom>
                    <a:avLst/>
                    <a:gdLst>
                      <a:gd name="connsiteX0" fmla="*/ 20215 w 20214"/>
                      <a:gd name="connsiteY0" fmla="*/ 0 h 15489"/>
                      <a:gd name="connsiteX1" fmla="*/ 0 w 20214"/>
                      <a:gd name="connsiteY1" fmla="*/ 15490 h 15489"/>
                    </a:gdLst>
                    <a:ahLst/>
                    <a:cxnLst>
                      <a:cxn ang="0">
                        <a:pos x="connsiteX0" y="connsiteY0"/>
                      </a:cxn>
                      <a:cxn ang="0">
                        <a:pos x="connsiteX1" y="connsiteY1"/>
                      </a:cxn>
                    </a:cxnLst>
                    <a:rect l="l" t="t" r="r" b="b"/>
                    <a:pathLst>
                      <a:path w="20214" h="15489">
                        <a:moveTo>
                          <a:pt x="20215" y="0"/>
                        </a:moveTo>
                        <a:cubicBezTo>
                          <a:pt x="13457" y="5203"/>
                          <a:pt x="6698" y="10347"/>
                          <a:pt x="0" y="15490"/>
                        </a:cubicBezTo>
                      </a:path>
                    </a:pathLst>
                  </a:custGeom>
                  <a:noFill/>
                  <a:ln w="6350" cap="rnd">
                    <a:solidFill>
                      <a:schemeClr val="bg1">
                        <a:alpha val="40000"/>
                      </a:schemeClr>
                    </a:solidFill>
                    <a:prstDash val="solid"/>
                    <a:miter/>
                  </a:ln>
                </p:spPr>
                <p:txBody>
                  <a:bodyPr rtlCol="0" anchor="ctr"/>
                  <a:lstStyle/>
                  <a:p>
                    <a:endParaRPr lang="en-GB"/>
                  </a:p>
                </p:txBody>
              </p:sp>
              <p:sp>
                <p:nvSpPr>
                  <p:cNvPr id="8428" name="Vrije vorm: vorm 8427">
                    <a:extLst>
                      <a:ext uri="{FF2B5EF4-FFF2-40B4-BE49-F238E27FC236}">
                        <a16:creationId xmlns:a16="http://schemas.microsoft.com/office/drawing/2014/main" id="{2ADB8FDA-CB2E-40D2-A35B-7C17C1D85527}"/>
                      </a:ext>
                    </a:extLst>
                  </p:cNvPr>
                  <p:cNvSpPr/>
                  <p:nvPr/>
                </p:nvSpPr>
                <p:spPr>
                  <a:xfrm>
                    <a:off x="4379822" y="4415965"/>
                    <a:ext cx="19138" cy="14592"/>
                  </a:xfrm>
                  <a:custGeom>
                    <a:avLst/>
                    <a:gdLst>
                      <a:gd name="connsiteX0" fmla="*/ 19138 w 19138"/>
                      <a:gd name="connsiteY0" fmla="*/ 0 h 14592"/>
                      <a:gd name="connsiteX1" fmla="*/ 0 w 19138"/>
                      <a:gd name="connsiteY1" fmla="*/ 14593 h 14592"/>
                    </a:gdLst>
                    <a:ahLst/>
                    <a:cxnLst>
                      <a:cxn ang="0">
                        <a:pos x="connsiteX0" y="connsiteY0"/>
                      </a:cxn>
                      <a:cxn ang="0">
                        <a:pos x="connsiteX1" y="connsiteY1"/>
                      </a:cxn>
                    </a:cxnLst>
                    <a:rect l="l" t="t" r="r" b="b"/>
                    <a:pathLst>
                      <a:path w="19138" h="14592">
                        <a:moveTo>
                          <a:pt x="19138" y="0"/>
                        </a:moveTo>
                        <a:cubicBezTo>
                          <a:pt x="12739" y="4904"/>
                          <a:pt x="6340" y="9749"/>
                          <a:pt x="0" y="14593"/>
                        </a:cubicBezTo>
                      </a:path>
                    </a:pathLst>
                  </a:custGeom>
                  <a:noFill/>
                  <a:ln w="6350" cap="rnd">
                    <a:solidFill>
                      <a:schemeClr val="bg1">
                        <a:alpha val="40000"/>
                      </a:schemeClr>
                    </a:solidFill>
                    <a:prstDash val="solid"/>
                    <a:miter/>
                  </a:ln>
                </p:spPr>
                <p:txBody>
                  <a:bodyPr rtlCol="0" anchor="ctr"/>
                  <a:lstStyle/>
                  <a:p>
                    <a:endParaRPr lang="en-GB"/>
                  </a:p>
                </p:txBody>
              </p:sp>
              <p:sp>
                <p:nvSpPr>
                  <p:cNvPr id="8429" name="Vrije vorm: vorm 8428">
                    <a:extLst>
                      <a:ext uri="{FF2B5EF4-FFF2-40B4-BE49-F238E27FC236}">
                        <a16:creationId xmlns:a16="http://schemas.microsoft.com/office/drawing/2014/main" id="{39F3C3F3-2800-46B5-A796-780B154CB191}"/>
                      </a:ext>
                    </a:extLst>
                  </p:cNvPr>
                  <p:cNvSpPr/>
                  <p:nvPr/>
                </p:nvSpPr>
                <p:spPr>
                  <a:xfrm>
                    <a:off x="4386700" y="4400296"/>
                    <a:ext cx="18061" cy="13755"/>
                  </a:xfrm>
                  <a:custGeom>
                    <a:avLst/>
                    <a:gdLst>
                      <a:gd name="connsiteX0" fmla="*/ 18062 w 18061"/>
                      <a:gd name="connsiteY0" fmla="*/ 0 h 13755"/>
                      <a:gd name="connsiteX1" fmla="*/ 0 w 18061"/>
                      <a:gd name="connsiteY1" fmla="*/ 13756 h 13755"/>
                    </a:gdLst>
                    <a:ahLst/>
                    <a:cxnLst>
                      <a:cxn ang="0">
                        <a:pos x="connsiteX0" y="connsiteY0"/>
                      </a:cxn>
                      <a:cxn ang="0">
                        <a:pos x="connsiteX1" y="connsiteY1"/>
                      </a:cxn>
                    </a:cxnLst>
                    <a:rect l="l" t="t" r="r" b="b"/>
                    <a:pathLst>
                      <a:path w="18061" h="13755">
                        <a:moveTo>
                          <a:pt x="18062" y="0"/>
                        </a:moveTo>
                        <a:cubicBezTo>
                          <a:pt x="12021" y="4605"/>
                          <a:pt x="5981" y="9211"/>
                          <a:pt x="0" y="13756"/>
                        </a:cubicBezTo>
                      </a:path>
                    </a:pathLst>
                  </a:custGeom>
                  <a:noFill/>
                  <a:ln w="6350" cap="rnd">
                    <a:solidFill>
                      <a:schemeClr val="bg1">
                        <a:alpha val="40000"/>
                      </a:schemeClr>
                    </a:solidFill>
                    <a:prstDash val="solid"/>
                    <a:miter/>
                  </a:ln>
                </p:spPr>
                <p:txBody>
                  <a:bodyPr rtlCol="0" anchor="ctr"/>
                  <a:lstStyle/>
                  <a:p>
                    <a:endParaRPr lang="en-GB"/>
                  </a:p>
                </p:txBody>
              </p:sp>
              <p:sp>
                <p:nvSpPr>
                  <p:cNvPr id="8430" name="Vrije vorm: vorm 8429">
                    <a:extLst>
                      <a:ext uri="{FF2B5EF4-FFF2-40B4-BE49-F238E27FC236}">
                        <a16:creationId xmlns:a16="http://schemas.microsoft.com/office/drawing/2014/main" id="{98320308-C325-4997-8E8F-21465C3C6404}"/>
                      </a:ext>
                    </a:extLst>
                  </p:cNvPr>
                  <p:cNvSpPr/>
                  <p:nvPr/>
                </p:nvSpPr>
                <p:spPr>
                  <a:xfrm>
                    <a:off x="4393757" y="4384567"/>
                    <a:ext cx="16925" cy="12858"/>
                  </a:xfrm>
                  <a:custGeom>
                    <a:avLst/>
                    <a:gdLst>
                      <a:gd name="connsiteX0" fmla="*/ 16926 w 16925"/>
                      <a:gd name="connsiteY0" fmla="*/ 0 h 12858"/>
                      <a:gd name="connsiteX1" fmla="*/ 0 w 16925"/>
                      <a:gd name="connsiteY1" fmla="*/ 12859 h 12858"/>
                    </a:gdLst>
                    <a:ahLst/>
                    <a:cxnLst>
                      <a:cxn ang="0">
                        <a:pos x="connsiteX0" y="connsiteY0"/>
                      </a:cxn>
                      <a:cxn ang="0">
                        <a:pos x="connsiteX1" y="connsiteY1"/>
                      </a:cxn>
                    </a:cxnLst>
                    <a:rect l="l" t="t" r="r" b="b"/>
                    <a:pathLst>
                      <a:path w="16925" h="12858">
                        <a:moveTo>
                          <a:pt x="16926" y="0"/>
                        </a:moveTo>
                        <a:cubicBezTo>
                          <a:pt x="11244" y="4306"/>
                          <a:pt x="5622" y="8612"/>
                          <a:pt x="0" y="12859"/>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65" name="Graphic 3">
                  <a:extLst>
                    <a:ext uri="{FF2B5EF4-FFF2-40B4-BE49-F238E27FC236}">
                      <a16:creationId xmlns:a16="http://schemas.microsoft.com/office/drawing/2014/main" id="{EA610737-782B-4DD7-8515-0F56D30F9319}"/>
                    </a:ext>
                  </a:extLst>
                </p:cNvPr>
                <p:cNvGrpSpPr/>
                <p:nvPr/>
              </p:nvGrpSpPr>
              <p:grpSpPr>
                <a:xfrm>
                  <a:off x="4389989" y="4358431"/>
                  <a:ext cx="55142" cy="120810"/>
                  <a:chOff x="4389989" y="4358431"/>
                  <a:chExt cx="55142" cy="120810"/>
                </a:xfrm>
                <a:noFill/>
              </p:grpSpPr>
              <p:sp>
                <p:nvSpPr>
                  <p:cNvPr id="8415" name="Vrije vorm: vorm 8414">
                    <a:extLst>
                      <a:ext uri="{FF2B5EF4-FFF2-40B4-BE49-F238E27FC236}">
                        <a16:creationId xmlns:a16="http://schemas.microsoft.com/office/drawing/2014/main" id="{C125811D-83DA-4495-A46F-F523AA84355E}"/>
                      </a:ext>
                    </a:extLst>
                  </p:cNvPr>
                  <p:cNvSpPr/>
                  <p:nvPr/>
                </p:nvSpPr>
                <p:spPr>
                  <a:xfrm>
                    <a:off x="4389989" y="4460103"/>
                    <a:ext cx="24819" cy="19138"/>
                  </a:xfrm>
                  <a:custGeom>
                    <a:avLst/>
                    <a:gdLst>
                      <a:gd name="connsiteX0" fmla="*/ 24820 w 24819"/>
                      <a:gd name="connsiteY0" fmla="*/ 0 h 19138"/>
                      <a:gd name="connsiteX1" fmla="*/ 0 w 24819"/>
                      <a:gd name="connsiteY1" fmla="*/ 19138 h 19138"/>
                    </a:gdLst>
                    <a:ahLst/>
                    <a:cxnLst>
                      <a:cxn ang="0">
                        <a:pos x="connsiteX0" y="connsiteY0"/>
                      </a:cxn>
                      <a:cxn ang="0">
                        <a:pos x="connsiteX1" y="connsiteY1"/>
                      </a:cxn>
                    </a:cxnLst>
                    <a:rect l="l" t="t" r="r" b="b"/>
                    <a:pathLst>
                      <a:path w="24819" h="19138">
                        <a:moveTo>
                          <a:pt x="24820" y="0"/>
                        </a:moveTo>
                        <a:cubicBezTo>
                          <a:pt x="16507" y="6399"/>
                          <a:pt x="8194" y="12799"/>
                          <a:pt x="0" y="19138"/>
                        </a:cubicBezTo>
                      </a:path>
                    </a:pathLst>
                  </a:custGeom>
                  <a:noFill/>
                  <a:ln w="6350" cap="rnd">
                    <a:solidFill>
                      <a:schemeClr val="bg1">
                        <a:alpha val="40000"/>
                      </a:schemeClr>
                    </a:solidFill>
                    <a:prstDash val="solid"/>
                    <a:miter/>
                  </a:ln>
                </p:spPr>
                <p:txBody>
                  <a:bodyPr rtlCol="0" anchor="ctr"/>
                  <a:lstStyle/>
                  <a:p>
                    <a:endParaRPr lang="en-GB"/>
                  </a:p>
                </p:txBody>
              </p:sp>
              <p:sp>
                <p:nvSpPr>
                  <p:cNvPr id="8416" name="Vrije vorm: vorm 8415">
                    <a:extLst>
                      <a:ext uri="{FF2B5EF4-FFF2-40B4-BE49-F238E27FC236}">
                        <a16:creationId xmlns:a16="http://schemas.microsoft.com/office/drawing/2014/main" id="{905BF43E-99B0-40FA-ACE7-C0F75503DCE8}"/>
                      </a:ext>
                    </a:extLst>
                  </p:cNvPr>
                  <p:cNvSpPr/>
                  <p:nvPr/>
                </p:nvSpPr>
                <p:spPr>
                  <a:xfrm>
                    <a:off x="4394953" y="4445750"/>
                    <a:ext cx="23803" cy="18300"/>
                  </a:xfrm>
                  <a:custGeom>
                    <a:avLst/>
                    <a:gdLst>
                      <a:gd name="connsiteX0" fmla="*/ 23803 w 23803"/>
                      <a:gd name="connsiteY0" fmla="*/ 0 h 18300"/>
                      <a:gd name="connsiteX1" fmla="*/ 0 w 23803"/>
                      <a:gd name="connsiteY1" fmla="*/ 18301 h 18300"/>
                    </a:gdLst>
                    <a:ahLst/>
                    <a:cxnLst>
                      <a:cxn ang="0">
                        <a:pos x="connsiteX0" y="connsiteY0"/>
                      </a:cxn>
                      <a:cxn ang="0">
                        <a:pos x="connsiteX1" y="connsiteY1"/>
                      </a:cxn>
                    </a:cxnLst>
                    <a:rect l="l" t="t" r="r" b="b"/>
                    <a:pathLst>
                      <a:path w="23803" h="18300">
                        <a:moveTo>
                          <a:pt x="23803" y="0"/>
                        </a:moveTo>
                        <a:cubicBezTo>
                          <a:pt x="15789" y="6160"/>
                          <a:pt x="7894" y="12260"/>
                          <a:pt x="0" y="18301"/>
                        </a:cubicBezTo>
                      </a:path>
                    </a:pathLst>
                  </a:custGeom>
                  <a:noFill/>
                  <a:ln w="6350" cap="rnd">
                    <a:solidFill>
                      <a:schemeClr val="bg1">
                        <a:alpha val="40000"/>
                      </a:schemeClr>
                    </a:solidFill>
                    <a:prstDash val="solid"/>
                    <a:miter/>
                  </a:ln>
                </p:spPr>
                <p:txBody>
                  <a:bodyPr rtlCol="0" anchor="ctr"/>
                  <a:lstStyle/>
                  <a:p>
                    <a:endParaRPr lang="en-GB"/>
                  </a:p>
                </p:txBody>
              </p:sp>
              <p:sp>
                <p:nvSpPr>
                  <p:cNvPr id="8417" name="Vrije vorm: vorm 8416">
                    <a:extLst>
                      <a:ext uri="{FF2B5EF4-FFF2-40B4-BE49-F238E27FC236}">
                        <a16:creationId xmlns:a16="http://schemas.microsoft.com/office/drawing/2014/main" id="{35AF43CD-D04D-4D41-8AC3-E5A2E1FD21C0}"/>
                      </a:ext>
                    </a:extLst>
                  </p:cNvPr>
                  <p:cNvSpPr/>
                  <p:nvPr/>
                </p:nvSpPr>
                <p:spPr>
                  <a:xfrm>
                    <a:off x="4400096" y="4431336"/>
                    <a:ext cx="22786" cy="17463"/>
                  </a:xfrm>
                  <a:custGeom>
                    <a:avLst/>
                    <a:gdLst>
                      <a:gd name="connsiteX0" fmla="*/ 22787 w 22786"/>
                      <a:gd name="connsiteY0" fmla="*/ 0 h 17463"/>
                      <a:gd name="connsiteX1" fmla="*/ 0 w 22786"/>
                      <a:gd name="connsiteY1" fmla="*/ 17464 h 17463"/>
                    </a:gdLst>
                    <a:ahLst/>
                    <a:cxnLst>
                      <a:cxn ang="0">
                        <a:pos x="connsiteX0" y="connsiteY0"/>
                      </a:cxn>
                      <a:cxn ang="0">
                        <a:pos x="connsiteX1" y="connsiteY1"/>
                      </a:cxn>
                    </a:cxnLst>
                    <a:rect l="l" t="t" r="r" b="b"/>
                    <a:pathLst>
                      <a:path w="22786" h="17463">
                        <a:moveTo>
                          <a:pt x="22787" y="0"/>
                        </a:moveTo>
                        <a:cubicBezTo>
                          <a:pt x="15131" y="5861"/>
                          <a:pt x="7536" y="11662"/>
                          <a:pt x="0" y="17464"/>
                        </a:cubicBezTo>
                      </a:path>
                    </a:pathLst>
                  </a:custGeom>
                  <a:noFill/>
                  <a:ln w="6350" cap="rnd">
                    <a:solidFill>
                      <a:schemeClr val="bg1">
                        <a:alpha val="40000"/>
                      </a:schemeClr>
                    </a:solidFill>
                    <a:prstDash val="solid"/>
                    <a:miter/>
                  </a:ln>
                </p:spPr>
                <p:txBody>
                  <a:bodyPr rtlCol="0" anchor="ctr"/>
                  <a:lstStyle/>
                  <a:p>
                    <a:endParaRPr lang="en-GB"/>
                  </a:p>
                </p:txBody>
              </p:sp>
              <p:sp>
                <p:nvSpPr>
                  <p:cNvPr id="8418" name="Vrije vorm: vorm 8417">
                    <a:extLst>
                      <a:ext uri="{FF2B5EF4-FFF2-40B4-BE49-F238E27FC236}">
                        <a16:creationId xmlns:a16="http://schemas.microsoft.com/office/drawing/2014/main" id="{6B5346E8-AF10-4BD2-884A-7170A2835607}"/>
                      </a:ext>
                    </a:extLst>
                  </p:cNvPr>
                  <p:cNvSpPr/>
                  <p:nvPr/>
                </p:nvSpPr>
                <p:spPr>
                  <a:xfrm>
                    <a:off x="4405419" y="4416863"/>
                    <a:ext cx="21710" cy="16626"/>
                  </a:xfrm>
                  <a:custGeom>
                    <a:avLst/>
                    <a:gdLst>
                      <a:gd name="connsiteX0" fmla="*/ 21710 w 21710"/>
                      <a:gd name="connsiteY0" fmla="*/ 0 h 16626"/>
                      <a:gd name="connsiteX1" fmla="*/ 0 w 21710"/>
                      <a:gd name="connsiteY1" fmla="*/ 16627 h 16626"/>
                    </a:gdLst>
                    <a:ahLst/>
                    <a:cxnLst>
                      <a:cxn ang="0">
                        <a:pos x="connsiteX0" y="connsiteY0"/>
                      </a:cxn>
                      <a:cxn ang="0">
                        <a:pos x="connsiteX1" y="connsiteY1"/>
                      </a:cxn>
                    </a:cxnLst>
                    <a:rect l="l" t="t" r="r" b="b"/>
                    <a:pathLst>
                      <a:path w="21710" h="16626">
                        <a:moveTo>
                          <a:pt x="21710" y="0"/>
                        </a:moveTo>
                        <a:cubicBezTo>
                          <a:pt x="14413" y="5562"/>
                          <a:pt x="7177" y="11124"/>
                          <a:pt x="0" y="16627"/>
                        </a:cubicBezTo>
                      </a:path>
                    </a:pathLst>
                  </a:custGeom>
                  <a:noFill/>
                  <a:ln w="6350" cap="rnd">
                    <a:solidFill>
                      <a:schemeClr val="bg1">
                        <a:alpha val="40000"/>
                      </a:schemeClr>
                    </a:solidFill>
                    <a:prstDash val="solid"/>
                    <a:miter/>
                  </a:ln>
                </p:spPr>
                <p:txBody>
                  <a:bodyPr rtlCol="0" anchor="ctr"/>
                  <a:lstStyle/>
                  <a:p>
                    <a:endParaRPr lang="en-GB"/>
                  </a:p>
                </p:txBody>
              </p:sp>
              <p:sp>
                <p:nvSpPr>
                  <p:cNvPr id="8419" name="Vrije vorm: vorm 8418">
                    <a:extLst>
                      <a:ext uri="{FF2B5EF4-FFF2-40B4-BE49-F238E27FC236}">
                        <a16:creationId xmlns:a16="http://schemas.microsoft.com/office/drawing/2014/main" id="{8AF25CF0-7AB2-4700-BBA2-3AC352983575}"/>
                      </a:ext>
                    </a:extLst>
                  </p:cNvPr>
                  <p:cNvSpPr/>
                  <p:nvPr/>
                </p:nvSpPr>
                <p:spPr>
                  <a:xfrm>
                    <a:off x="4410802" y="4402329"/>
                    <a:ext cx="20633" cy="15789"/>
                  </a:xfrm>
                  <a:custGeom>
                    <a:avLst/>
                    <a:gdLst>
                      <a:gd name="connsiteX0" fmla="*/ 20634 w 20633"/>
                      <a:gd name="connsiteY0" fmla="*/ 0 h 15789"/>
                      <a:gd name="connsiteX1" fmla="*/ 0 w 20633"/>
                      <a:gd name="connsiteY1" fmla="*/ 15789 h 15789"/>
                    </a:gdLst>
                    <a:ahLst/>
                    <a:cxnLst>
                      <a:cxn ang="0">
                        <a:pos x="connsiteX0" y="connsiteY0"/>
                      </a:cxn>
                      <a:cxn ang="0">
                        <a:pos x="connsiteX1" y="connsiteY1"/>
                      </a:cxn>
                    </a:cxnLst>
                    <a:rect l="l" t="t" r="r" b="b"/>
                    <a:pathLst>
                      <a:path w="20633" h="15789">
                        <a:moveTo>
                          <a:pt x="20634" y="0"/>
                        </a:moveTo>
                        <a:cubicBezTo>
                          <a:pt x="13696" y="5263"/>
                          <a:pt x="6878" y="10526"/>
                          <a:pt x="0" y="15789"/>
                        </a:cubicBezTo>
                      </a:path>
                    </a:pathLst>
                  </a:custGeom>
                  <a:noFill/>
                  <a:ln w="6350" cap="rnd">
                    <a:solidFill>
                      <a:schemeClr val="bg1">
                        <a:alpha val="40000"/>
                      </a:schemeClr>
                    </a:solidFill>
                    <a:prstDash val="solid"/>
                    <a:miter/>
                  </a:ln>
                </p:spPr>
                <p:txBody>
                  <a:bodyPr rtlCol="0" anchor="ctr"/>
                  <a:lstStyle/>
                  <a:p>
                    <a:endParaRPr lang="en-GB"/>
                  </a:p>
                </p:txBody>
              </p:sp>
              <p:sp>
                <p:nvSpPr>
                  <p:cNvPr id="8420" name="Vrije vorm: vorm 8419">
                    <a:extLst>
                      <a:ext uri="{FF2B5EF4-FFF2-40B4-BE49-F238E27FC236}">
                        <a16:creationId xmlns:a16="http://schemas.microsoft.com/office/drawing/2014/main" id="{5A062EC6-D5A4-4431-B4FA-4C7D20FA4F1A}"/>
                      </a:ext>
                    </a:extLst>
                  </p:cNvPr>
                  <p:cNvSpPr/>
                  <p:nvPr/>
                </p:nvSpPr>
                <p:spPr>
                  <a:xfrm>
                    <a:off x="4416424" y="4387737"/>
                    <a:ext cx="19497" cy="14891"/>
                  </a:xfrm>
                  <a:custGeom>
                    <a:avLst/>
                    <a:gdLst>
                      <a:gd name="connsiteX0" fmla="*/ 19497 w 19497"/>
                      <a:gd name="connsiteY0" fmla="*/ 0 h 14891"/>
                      <a:gd name="connsiteX1" fmla="*/ 0 w 19497"/>
                      <a:gd name="connsiteY1" fmla="*/ 14892 h 14891"/>
                    </a:gdLst>
                    <a:ahLst/>
                    <a:cxnLst>
                      <a:cxn ang="0">
                        <a:pos x="connsiteX0" y="connsiteY0"/>
                      </a:cxn>
                      <a:cxn ang="0">
                        <a:pos x="connsiteX1" y="connsiteY1"/>
                      </a:cxn>
                    </a:cxnLst>
                    <a:rect l="l" t="t" r="r" b="b"/>
                    <a:pathLst>
                      <a:path w="19497" h="14891">
                        <a:moveTo>
                          <a:pt x="19497" y="0"/>
                        </a:moveTo>
                        <a:cubicBezTo>
                          <a:pt x="12978" y="4964"/>
                          <a:pt x="6459" y="9928"/>
                          <a:pt x="0" y="14892"/>
                        </a:cubicBezTo>
                      </a:path>
                    </a:pathLst>
                  </a:custGeom>
                  <a:noFill/>
                  <a:ln w="6350" cap="rnd">
                    <a:solidFill>
                      <a:schemeClr val="bg1">
                        <a:alpha val="40000"/>
                      </a:schemeClr>
                    </a:solidFill>
                    <a:prstDash val="solid"/>
                    <a:miter/>
                  </a:ln>
                </p:spPr>
                <p:txBody>
                  <a:bodyPr rtlCol="0" anchor="ctr"/>
                  <a:lstStyle/>
                  <a:p>
                    <a:endParaRPr lang="en-GB"/>
                  </a:p>
                </p:txBody>
              </p:sp>
              <p:sp>
                <p:nvSpPr>
                  <p:cNvPr id="8421" name="Vrije vorm: vorm 8420">
                    <a:extLst>
                      <a:ext uri="{FF2B5EF4-FFF2-40B4-BE49-F238E27FC236}">
                        <a16:creationId xmlns:a16="http://schemas.microsoft.com/office/drawing/2014/main" id="{2FA1AA82-83E6-48D8-93DC-0D0E0BCCDC13}"/>
                      </a:ext>
                    </a:extLst>
                  </p:cNvPr>
                  <p:cNvSpPr/>
                  <p:nvPr/>
                </p:nvSpPr>
                <p:spPr>
                  <a:xfrm>
                    <a:off x="4422105" y="4373084"/>
                    <a:ext cx="18360" cy="13995"/>
                  </a:xfrm>
                  <a:custGeom>
                    <a:avLst/>
                    <a:gdLst>
                      <a:gd name="connsiteX0" fmla="*/ 18361 w 18360"/>
                      <a:gd name="connsiteY0" fmla="*/ 0 h 13995"/>
                      <a:gd name="connsiteX1" fmla="*/ 0 w 18360"/>
                      <a:gd name="connsiteY1" fmla="*/ 13995 h 13995"/>
                    </a:gdLst>
                    <a:ahLst/>
                    <a:cxnLst>
                      <a:cxn ang="0">
                        <a:pos x="connsiteX0" y="connsiteY0"/>
                      </a:cxn>
                      <a:cxn ang="0">
                        <a:pos x="connsiteX1" y="connsiteY1"/>
                      </a:cxn>
                    </a:cxnLst>
                    <a:rect l="l" t="t" r="r" b="b"/>
                    <a:pathLst>
                      <a:path w="18360" h="13995">
                        <a:moveTo>
                          <a:pt x="18361" y="0"/>
                        </a:moveTo>
                        <a:cubicBezTo>
                          <a:pt x="12201" y="4665"/>
                          <a:pt x="6100" y="9330"/>
                          <a:pt x="0" y="13995"/>
                        </a:cubicBezTo>
                      </a:path>
                    </a:pathLst>
                  </a:custGeom>
                  <a:noFill/>
                  <a:ln w="6350" cap="rnd">
                    <a:solidFill>
                      <a:schemeClr val="bg1">
                        <a:alpha val="40000"/>
                      </a:schemeClr>
                    </a:solidFill>
                    <a:prstDash val="solid"/>
                    <a:miter/>
                  </a:ln>
                </p:spPr>
                <p:txBody>
                  <a:bodyPr rtlCol="0" anchor="ctr"/>
                  <a:lstStyle/>
                  <a:p>
                    <a:endParaRPr lang="en-GB"/>
                  </a:p>
                </p:txBody>
              </p:sp>
              <p:sp>
                <p:nvSpPr>
                  <p:cNvPr id="8422" name="Vrije vorm: vorm 8421">
                    <a:extLst>
                      <a:ext uri="{FF2B5EF4-FFF2-40B4-BE49-F238E27FC236}">
                        <a16:creationId xmlns:a16="http://schemas.microsoft.com/office/drawing/2014/main" id="{DE3185F4-BACE-4506-AE37-DE77E2C5EE40}"/>
                      </a:ext>
                    </a:extLst>
                  </p:cNvPr>
                  <p:cNvSpPr/>
                  <p:nvPr/>
                </p:nvSpPr>
                <p:spPr>
                  <a:xfrm>
                    <a:off x="4427907" y="4358431"/>
                    <a:ext cx="17224" cy="13038"/>
                  </a:xfrm>
                  <a:custGeom>
                    <a:avLst/>
                    <a:gdLst>
                      <a:gd name="connsiteX0" fmla="*/ 17225 w 17224"/>
                      <a:gd name="connsiteY0" fmla="*/ 0 h 13038"/>
                      <a:gd name="connsiteX1" fmla="*/ 0 w 17224"/>
                      <a:gd name="connsiteY1" fmla="*/ 13038 h 13038"/>
                    </a:gdLst>
                    <a:ahLst/>
                    <a:cxnLst>
                      <a:cxn ang="0">
                        <a:pos x="connsiteX0" y="connsiteY0"/>
                      </a:cxn>
                      <a:cxn ang="0">
                        <a:pos x="connsiteX1" y="connsiteY1"/>
                      </a:cxn>
                    </a:cxnLst>
                    <a:rect l="l" t="t" r="r" b="b"/>
                    <a:pathLst>
                      <a:path w="17224" h="13038">
                        <a:moveTo>
                          <a:pt x="17225" y="0"/>
                        </a:moveTo>
                        <a:cubicBezTo>
                          <a:pt x="11483" y="4366"/>
                          <a:pt x="5742" y="8732"/>
                          <a:pt x="0" y="13038"/>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66" name="Graphic 3">
                  <a:extLst>
                    <a:ext uri="{FF2B5EF4-FFF2-40B4-BE49-F238E27FC236}">
                      <a16:creationId xmlns:a16="http://schemas.microsoft.com/office/drawing/2014/main" id="{1132FFE6-1BEB-4F05-81D6-32BF47BAA70B}"/>
                    </a:ext>
                  </a:extLst>
                </p:cNvPr>
                <p:cNvGrpSpPr/>
                <p:nvPr/>
              </p:nvGrpSpPr>
              <p:grpSpPr>
                <a:xfrm>
                  <a:off x="4466363" y="4843288"/>
                  <a:ext cx="85165" cy="35944"/>
                  <a:chOff x="4466363" y="4843288"/>
                  <a:chExt cx="85165" cy="35944"/>
                </a:xfrm>
                <a:noFill/>
              </p:grpSpPr>
              <p:sp>
                <p:nvSpPr>
                  <p:cNvPr id="8410" name="Vrije vorm: vorm 8409">
                    <a:extLst>
                      <a:ext uri="{FF2B5EF4-FFF2-40B4-BE49-F238E27FC236}">
                        <a16:creationId xmlns:a16="http://schemas.microsoft.com/office/drawing/2014/main" id="{100D1A82-BE05-4D1A-AC9D-2D0121E725F4}"/>
                      </a:ext>
                    </a:extLst>
                  </p:cNvPr>
                  <p:cNvSpPr/>
                  <p:nvPr/>
                </p:nvSpPr>
                <p:spPr>
                  <a:xfrm>
                    <a:off x="4523479" y="4855908"/>
                    <a:ext cx="28049" cy="23324"/>
                  </a:xfrm>
                  <a:custGeom>
                    <a:avLst/>
                    <a:gdLst>
                      <a:gd name="connsiteX0" fmla="*/ 28050 w 28049"/>
                      <a:gd name="connsiteY0" fmla="*/ 0 h 23324"/>
                      <a:gd name="connsiteX1" fmla="*/ 0 w 28049"/>
                      <a:gd name="connsiteY1" fmla="*/ 23325 h 23324"/>
                    </a:gdLst>
                    <a:ahLst/>
                    <a:cxnLst>
                      <a:cxn ang="0">
                        <a:pos x="connsiteX0" y="connsiteY0"/>
                      </a:cxn>
                      <a:cxn ang="0">
                        <a:pos x="connsiteX1" y="connsiteY1"/>
                      </a:cxn>
                    </a:cxnLst>
                    <a:rect l="l" t="t" r="r" b="b"/>
                    <a:pathLst>
                      <a:path w="28049" h="23324">
                        <a:moveTo>
                          <a:pt x="28050" y="0"/>
                        </a:moveTo>
                        <a:cubicBezTo>
                          <a:pt x="18540" y="7894"/>
                          <a:pt x="9210" y="15729"/>
                          <a:pt x="0" y="23325"/>
                        </a:cubicBezTo>
                      </a:path>
                    </a:pathLst>
                  </a:custGeom>
                  <a:noFill/>
                  <a:ln w="6350" cap="rnd">
                    <a:solidFill>
                      <a:schemeClr val="bg1">
                        <a:alpha val="40000"/>
                      </a:schemeClr>
                    </a:solidFill>
                    <a:prstDash val="solid"/>
                    <a:miter/>
                  </a:ln>
                </p:spPr>
                <p:txBody>
                  <a:bodyPr rtlCol="0" anchor="ctr"/>
                  <a:lstStyle/>
                  <a:p>
                    <a:endParaRPr lang="en-GB"/>
                  </a:p>
                </p:txBody>
              </p:sp>
              <p:sp>
                <p:nvSpPr>
                  <p:cNvPr id="8411" name="Vrije vorm: vorm 8410">
                    <a:extLst>
                      <a:ext uri="{FF2B5EF4-FFF2-40B4-BE49-F238E27FC236}">
                        <a16:creationId xmlns:a16="http://schemas.microsoft.com/office/drawing/2014/main" id="{D4956615-1015-4229-B8A1-16C578046E55}"/>
                      </a:ext>
                    </a:extLst>
                  </p:cNvPr>
                  <p:cNvSpPr/>
                  <p:nvPr/>
                </p:nvSpPr>
                <p:spPr>
                  <a:xfrm>
                    <a:off x="4509245" y="4852797"/>
                    <a:ext cx="27989" cy="23265"/>
                  </a:xfrm>
                  <a:custGeom>
                    <a:avLst/>
                    <a:gdLst>
                      <a:gd name="connsiteX0" fmla="*/ 27990 w 27989"/>
                      <a:gd name="connsiteY0" fmla="*/ 0 h 23265"/>
                      <a:gd name="connsiteX1" fmla="*/ 0 w 27989"/>
                      <a:gd name="connsiteY1" fmla="*/ 23265 h 23265"/>
                    </a:gdLst>
                    <a:ahLst/>
                    <a:cxnLst>
                      <a:cxn ang="0">
                        <a:pos x="connsiteX0" y="connsiteY0"/>
                      </a:cxn>
                      <a:cxn ang="0">
                        <a:pos x="connsiteX1" y="connsiteY1"/>
                      </a:cxn>
                    </a:cxnLst>
                    <a:rect l="l" t="t" r="r" b="b"/>
                    <a:pathLst>
                      <a:path w="27989" h="23265">
                        <a:moveTo>
                          <a:pt x="27990" y="0"/>
                        </a:moveTo>
                        <a:cubicBezTo>
                          <a:pt x="18480" y="7895"/>
                          <a:pt x="9150" y="15669"/>
                          <a:pt x="0" y="23265"/>
                        </a:cubicBezTo>
                      </a:path>
                    </a:pathLst>
                  </a:custGeom>
                  <a:noFill/>
                  <a:ln w="6350" cap="rnd">
                    <a:solidFill>
                      <a:schemeClr val="bg1">
                        <a:alpha val="40000"/>
                      </a:schemeClr>
                    </a:solidFill>
                    <a:prstDash val="solid"/>
                    <a:miter/>
                  </a:ln>
                </p:spPr>
                <p:txBody>
                  <a:bodyPr rtlCol="0" anchor="ctr"/>
                  <a:lstStyle/>
                  <a:p>
                    <a:endParaRPr lang="en-GB"/>
                  </a:p>
                </p:txBody>
              </p:sp>
              <p:sp>
                <p:nvSpPr>
                  <p:cNvPr id="8412" name="Vrije vorm: vorm 8411">
                    <a:extLst>
                      <a:ext uri="{FF2B5EF4-FFF2-40B4-BE49-F238E27FC236}">
                        <a16:creationId xmlns:a16="http://schemas.microsoft.com/office/drawing/2014/main" id="{59D959FB-9BEB-4732-A89D-7C09CD99D49F}"/>
                      </a:ext>
                    </a:extLst>
                  </p:cNvPr>
                  <p:cNvSpPr/>
                  <p:nvPr/>
                </p:nvSpPr>
                <p:spPr>
                  <a:xfrm>
                    <a:off x="4494891" y="4849687"/>
                    <a:ext cx="27989" cy="23145"/>
                  </a:xfrm>
                  <a:custGeom>
                    <a:avLst/>
                    <a:gdLst>
                      <a:gd name="connsiteX0" fmla="*/ 27990 w 27989"/>
                      <a:gd name="connsiteY0" fmla="*/ 0 h 23145"/>
                      <a:gd name="connsiteX1" fmla="*/ 0 w 27989"/>
                      <a:gd name="connsiteY1" fmla="*/ 23145 h 23145"/>
                    </a:gdLst>
                    <a:ahLst/>
                    <a:cxnLst>
                      <a:cxn ang="0">
                        <a:pos x="connsiteX0" y="connsiteY0"/>
                      </a:cxn>
                      <a:cxn ang="0">
                        <a:pos x="connsiteX1" y="connsiteY1"/>
                      </a:cxn>
                    </a:cxnLst>
                    <a:rect l="l" t="t" r="r" b="b"/>
                    <a:pathLst>
                      <a:path w="27989" h="23145">
                        <a:moveTo>
                          <a:pt x="27990" y="0"/>
                        </a:moveTo>
                        <a:cubicBezTo>
                          <a:pt x="18481" y="7895"/>
                          <a:pt x="9151" y="15610"/>
                          <a:pt x="0" y="23145"/>
                        </a:cubicBezTo>
                      </a:path>
                    </a:pathLst>
                  </a:custGeom>
                  <a:noFill/>
                  <a:ln w="6350" cap="rnd">
                    <a:solidFill>
                      <a:schemeClr val="bg1">
                        <a:alpha val="40000"/>
                      </a:schemeClr>
                    </a:solidFill>
                    <a:prstDash val="solid"/>
                    <a:miter/>
                  </a:ln>
                </p:spPr>
                <p:txBody>
                  <a:bodyPr rtlCol="0" anchor="ctr"/>
                  <a:lstStyle/>
                  <a:p>
                    <a:endParaRPr lang="en-GB"/>
                  </a:p>
                </p:txBody>
              </p:sp>
              <p:sp>
                <p:nvSpPr>
                  <p:cNvPr id="8413" name="Vrije vorm: vorm 8412">
                    <a:extLst>
                      <a:ext uri="{FF2B5EF4-FFF2-40B4-BE49-F238E27FC236}">
                        <a16:creationId xmlns:a16="http://schemas.microsoft.com/office/drawing/2014/main" id="{168D1955-2BF5-437A-898D-CA26A1A93B5C}"/>
                      </a:ext>
                    </a:extLst>
                  </p:cNvPr>
                  <p:cNvSpPr/>
                  <p:nvPr/>
                </p:nvSpPr>
                <p:spPr>
                  <a:xfrm>
                    <a:off x="4480657" y="4846518"/>
                    <a:ext cx="27930" cy="23025"/>
                  </a:xfrm>
                  <a:custGeom>
                    <a:avLst/>
                    <a:gdLst>
                      <a:gd name="connsiteX0" fmla="*/ 27930 w 27930"/>
                      <a:gd name="connsiteY0" fmla="*/ 0 h 23025"/>
                      <a:gd name="connsiteX1" fmla="*/ 0 w 27930"/>
                      <a:gd name="connsiteY1" fmla="*/ 23026 h 23025"/>
                    </a:gdLst>
                    <a:ahLst/>
                    <a:cxnLst>
                      <a:cxn ang="0">
                        <a:pos x="connsiteX0" y="connsiteY0"/>
                      </a:cxn>
                      <a:cxn ang="0">
                        <a:pos x="connsiteX1" y="connsiteY1"/>
                      </a:cxn>
                    </a:cxnLst>
                    <a:rect l="l" t="t" r="r" b="b"/>
                    <a:pathLst>
                      <a:path w="27930" h="23025">
                        <a:moveTo>
                          <a:pt x="27930" y="0"/>
                        </a:moveTo>
                        <a:cubicBezTo>
                          <a:pt x="18481" y="7835"/>
                          <a:pt x="9151" y="15550"/>
                          <a:pt x="0" y="23026"/>
                        </a:cubicBezTo>
                      </a:path>
                    </a:pathLst>
                  </a:custGeom>
                  <a:noFill/>
                  <a:ln w="6350" cap="rnd">
                    <a:solidFill>
                      <a:schemeClr val="bg1">
                        <a:alpha val="40000"/>
                      </a:schemeClr>
                    </a:solidFill>
                    <a:prstDash val="solid"/>
                    <a:miter/>
                  </a:ln>
                </p:spPr>
                <p:txBody>
                  <a:bodyPr rtlCol="0" anchor="ctr"/>
                  <a:lstStyle/>
                  <a:p>
                    <a:endParaRPr lang="en-GB"/>
                  </a:p>
                </p:txBody>
              </p:sp>
              <p:sp>
                <p:nvSpPr>
                  <p:cNvPr id="8414" name="Vrije vorm: vorm 8413">
                    <a:extLst>
                      <a:ext uri="{FF2B5EF4-FFF2-40B4-BE49-F238E27FC236}">
                        <a16:creationId xmlns:a16="http://schemas.microsoft.com/office/drawing/2014/main" id="{04EDBC7B-7EA1-4B71-A52B-CE7F90963B1B}"/>
                      </a:ext>
                    </a:extLst>
                  </p:cNvPr>
                  <p:cNvSpPr/>
                  <p:nvPr/>
                </p:nvSpPr>
                <p:spPr>
                  <a:xfrm>
                    <a:off x="4466363" y="4843288"/>
                    <a:ext cx="27870" cy="22966"/>
                  </a:xfrm>
                  <a:custGeom>
                    <a:avLst/>
                    <a:gdLst>
                      <a:gd name="connsiteX0" fmla="*/ 27870 w 27870"/>
                      <a:gd name="connsiteY0" fmla="*/ 0 h 22966"/>
                      <a:gd name="connsiteX1" fmla="*/ 0 w 27870"/>
                      <a:gd name="connsiteY1" fmla="*/ 22966 h 22966"/>
                    </a:gdLst>
                    <a:ahLst/>
                    <a:cxnLst>
                      <a:cxn ang="0">
                        <a:pos x="connsiteX0" y="connsiteY0"/>
                      </a:cxn>
                      <a:cxn ang="0">
                        <a:pos x="connsiteX1" y="connsiteY1"/>
                      </a:cxn>
                    </a:cxnLst>
                    <a:rect l="l" t="t" r="r" b="b"/>
                    <a:pathLst>
                      <a:path w="27870" h="22966">
                        <a:moveTo>
                          <a:pt x="27870" y="0"/>
                        </a:moveTo>
                        <a:cubicBezTo>
                          <a:pt x="18420" y="7835"/>
                          <a:pt x="9090" y="15490"/>
                          <a:pt x="0" y="22966"/>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67" name="Graphic 3">
                  <a:extLst>
                    <a:ext uri="{FF2B5EF4-FFF2-40B4-BE49-F238E27FC236}">
                      <a16:creationId xmlns:a16="http://schemas.microsoft.com/office/drawing/2014/main" id="{21098723-1D2B-47D7-B14C-918E7887D944}"/>
                    </a:ext>
                  </a:extLst>
                </p:cNvPr>
                <p:cNvGrpSpPr/>
                <p:nvPr/>
              </p:nvGrpSpPr>
              <p:grpSpPr>
                <a:xfrm>
                  <a:off x="4507510" y="4804653"/>
                  <a:ext cx="82354" cy="40668"/>
                  <a:chOff x="4507510" y="4804653"/>
                  <a:chExt cx="82354" cy="40668"/>
                </a:xfrm>
                <a:noFill/>
              </p:grpSpPr>
              <p:sp>
                <p:nvSpPr>
                  <p:cNvPr id="8405" name="Vrije vorm: vorm 8404">
                    <a:extLst>
                      <a:ext uri="{FF2B5EF4-FFF2-40B4-BE49-F238E27FC236}">
                        <a16:creationId xmlns:a16="http://schemas.microsoft.com/office/drawing/2014/main" id="{CE312CB7-0470-44A6-97AD-EE3A3322DC9E}"/>
                      </a:ext>
                    </a:extLst>
                  </p:cNvPr>
                  <p:cNvSpPr/>
                  <p:nvPr/>
                </p:nvSpPr>
                <p:spPr>
                  <a:xfrm>
                    <a:off x="4562353" y="4822296"/>
                    <a:ext cx="27511" cy="23025"/>
                  </a:xfrm>
                  <a:custGeom>
                    <a:avLst/>
                    <a:gdLst>
                      <a:gd name="connsiteX0" fmla="*/ 27511 w 27511"/>
                      <a:gd name="connsiteY0" fmla="*/ 0 h 23025"/>
                      <a:gd name="connsiteX1" fmla="*/ 0 w 27511"/>
                      <a:gd name="connsiteY1" fmla="*/ 23026 h 23025"/>
                    </a:gdLst>
                    <a:ahLst/>
                    <a:cxnLst>
                      <a:cxn ang="0">
                        <a:pos x="connsiteX0" y="connsiteY0"/>
                      </a:cxn>
                      <a:cxn ang="0">
                        <a:pos x="connsiteX1" y="connsiteY1"/>
                      </a:cxn>
                    </a:cxnLst>
                    <a:rect l="l" t="t" r="r" b="b"/>
                    <a:pathLst>
                      <a:path w="27511" h="23025">
                        <a:moveTo>
                          <a:pt x="27511" y="0"/>
                        </a:moveTo>
                        <a:cubicBezTo>
                          <a:pt x="18241" y="7775"/>
                          <a:pt x="9031" y="15490"/>
                          <a:pt x="0" y="23026"/>
                        </a:cubicBezTo>
                      </a:path>
                    </a:pathLst>
                  </a:custGeom>
                  <a:noFill/>
                  <a:ln w="6350" cap="rnd">
                    <a:solidFill>
                      <a:schemeClr val="bg1">
                        <a:alpha val="40000"/>
                      </a:schemeClr>
                    </a:solidFill>
                    <a:prstDash val="solid"/>
                    <a:miter/>
                  </a:ln>
                </p:spPr>
                <p:txBody>
                  <a:bodyPr rtlCol="0" anchor="ctr"/>
                  <a:lstStyle/>
                  <a:p>
                    <a:endParaRPr lang="en-GB"/>
                  </a:p>
                </p:txBody>
              </p:sp>
              <p:sp>
                <p:nvSpPr>
                  <p:cNvPr id="8406" name="Vrije vorm: vorm 8405">
                    <a:extLst>
                      <a:ext uri="{FF2B5EF4-FFF2-40B4-BE49-F238E27FC236}">
                        <a16:creationId xmlns:a16="http://schemas.microsoft.com/office/drawing/2014/main" id="{45A50D08-18C7-4A12-9B81-457B88457D96}"/>
                      </a:ext>
                    </a:extLst>
                  </p:cNvPr>
                  <p:cNvSpPr/>
                  <p:nvPr/>
                </p:nvSpPr>
                <p:spPr>
                  <a:xfrm>
                    <a:off x="4548657" y="4817870"/>
                    <a:ext cx="28528" cy="23803"/>
                  </a:xfrm>
                  <a:custGeom>
                    <a:avLst/>
                    <a:gdLst>
                      <a:gd name="connsiteX0" fmla="*/ 28528 w 28528"/>
                      <a:gd name="connsiteY0" fmla="*/ 0 h 23803"/>
                      <a:gd name="connsiteX1" fmla="*/ 0 w 28528"/>
                      <a:gd name="connsiteY1" fmla="*/ 23804 h 23803"/>
                    </a:gdLst>
                    <a:ahLst/>
                    <a:cxnLst>
                      <a:cxn ang="0">
                        <a:pos x="connsiteX0" y="connsiteY0"/>
                      </a:cxn>
                      <a:cxn ang="0">
                        <a:pos x="connsiteX1" y="connsiteY1"/>
                      </a:cxn>
                    </a:cxnLst>
                    <a:rect l="l" t="t" r="r" b="b"/>
                    <a:pathLst>
                      <a:path w="28528" h="23803">
                        <a:moveTo>
                          <a:pt x="28528" y="0"/>
                        </a:moveTo>
                        <a:cubicBezTo>
                          <a:pt x="18899" y="8074"/>
                          <a:pt x="9390" y="16028"/>
                          <a:pt x="0" y="23804"/>
                        </a:cubicBezTo>
                      </a:path>
                    </a:pathLst>
                  </a:custGeom>
                  <a:noFill/>
                  <a:ln w="6350" cap="rnd">
                    <a:solidFill>
                      <a:schemeClr val="bg1">
                        <a:alpha val="40000"/>
                      </a:schemeClr>
                    </a:solidFill>
                    <a:prstDash val="solid"/>
                    <a:miter/>
                  </a:ln>
                </p:spPr>
                <p:txBody>
                  <a:bodyPr rtlCol="0" anchor="ctr"/>
                  <a:lstStyle/>
                  <a:p>
                    <a:endParaRPr lang="en-GB"/>
                  </a:p>
                </p:txBody>
              </p:sp>
              <p:sp>
                <p:nvSpPr>
                  <p:cNvPr id="8407" name="Vrije vorm: vorm 8406">
                    <a:extLst>
                      <a:ext uri="{FF2B5EF4-FFF2-40B4-BE49-F238E27FC236}">
                        <a16:creationId xmlns:a16="http://schemas.microsoft.com/office/drawing/2014/main" id="{00D5C337-D5AD-4474-B8CB-9F4502E9C62F}"/>
                      </a:ext>
                    </a:extLst>
                  </p:cNvPr>
                  <p:cNvSpPr/>
                  <p:nvPr/>
                </p:nvSpPr>
                <p:spPr>
                  <a:xfrm>
                    <a:off x="4534962" y="4813504"/>
                    <a:ext cx="29544" cy="24640"/>
                  </a:xfrm>
                  <a:custGeom>
                    <a:avLst/>
                    <a:gdLst>
                      <a:gd name="connsiteX0" fmla="*/ 29545 w 29544"/>
                      <a:gd name="connsiteY0" fmla="*/ 0 h 24640"/>
                      <a:gd name="connsiteX1" fmla="*/ 0 w 29544"/>
                      <a:gd name="connsiteY1" fmla="*/ 24641 h 24640"/>
                    </a:gdLst>
                    <a:ahLst/>
                    <a:cxnLst>
                      <a:cxn ang="0">
                        <a:pos x="connsiteX0" y="connsiteY0"/>
                      </a:cxn>
                      <a:cxn ang="0">
                        <a:pos x="connsiteX1" y="connsiteY1"/>
                      </a:cxn>
                    </a:cxnLst>
                    <a:rect l="l" t="t" r="r" b="b"/>
                    <a:pathLst>
                      <a:path w="29544" h="24640">
                        <a:moveTo>
                          <a:pt x="29545" y="0"/>
                        </a:moveTo>
                        <a:cubicBezTo>
                          <a:pt x="19557" y="8313"/>
                          <a:pt x="9689" y="16567"/>
                          <a:pt x="0" y="24641"/>
                        </a:cubicBezTo>
                      </a:path>
                    </a:pathLst>
                  </a:custGeom>
                  <a:noFill/>
                  <a:ln w="6350" cap="rnd">
                    <a:solidFill>
                      <a:schemeClr val="bg1">
                        <a:alpha val="40000"/>
                      </a:schemeClr>
                    </a:solidFill>
                    <a:prstDash val="solid"/>
                    <a:miter/>
                  </a:ln>
                </p:spPr>
                <p:txBody>
                  <a:bodyPr rtlCol="0" anchor="ctr"/>
                  <a:lstStyle/>
                  <a:p>
                    <a:endParaRPr lang="en-GB"/>
                  </a:p>
                </p:txBody>
              </p:sp>
              <p:sp>
                <p:nvSpPr>
                  <p:cNvPr id="8408" name="Vrije vorm: vorm 8407">
                    <a:extLst>
                      <a:ext uri="{FF2B5EF4-FFF2-40B4-BE49-F238E27FC236}">
                        <a16:creationId xmlns:a16="http://schemas.microsoft.com/office/drawing/2014/main" id="{745826E6-C7D0-4D0B-BB8B-E8DD791FFD41}"/>
                      </a:ext>
                    </a:extLst>
                  </p:cNvPr>
                  <p:cNvSpPr/>
                  <p:nvPr/>
                </p:nvSpPr>
                <p:spPr>
                  <a:xfrm>
                    <a:off x="4521266" y="4809078"/>
                    <a:ext cx="30561" cy="25358"/>
                  </a:xfrm>
                  <a:custGeom>
                    <a:avLst/>
                    <a:gdLst>
                      <a:gd name="connsiteX0" fmla="*/ 30561 w 30561"/>
                      <a:gd name="connsiteY0" fmla="*/ 0 h 25358"/>
                      <a:gd name="connsiteX1" fmla="*/ 0 w 30561"/>
                      <a:gd name="connsiteY1" fmla="*/ 25358 h 25358"/>
                    </a:gdLst>
                    <a:ahLst/>
                    <a:cxnLst>
                      <a:cxn ang="0">
                        <a:pos x="connsiteX0" y="connsiteY0"/>
                      </a:cxn>
                      <a:cxn ang="0">
                        <a:pos x="connsiteX1" y="connsiteY1"/>
                      </a:cxn>
                    </a:cxnLst>
                    <a:rect l="l" t="t" r="r" b="b"/>
                    <a:pathLst>
                      <a:path w="30561" h="25358">
                        <a:moveTo>
                          <a:pt x="30561" y="0"/>
                        </a:moveTo>
                        <a:cubicBezTo>
                          <a:pt x="20215" y="8612"/>
                          <a:pt x="9988" y="17105"/>
                          <a:pt x="0" y="25358"/>
                        </a:cubicBezTo>
                      </a:path>
                    </a:pathLst>
                  </a:custGeom>
                  <a:noFill/>
                  <a:ln w="6350" cap="rnd">
                    <a:solidFill>
                      <a:schemeClr val="bg1">
                        <a:alpha val="40000"/>
                      </a:schemeClr>
                    </a:solidFill>
                    <a:prstDash val="solid"/>
                    <a:miter/>
                  </a:ln>
                </p:spPr>
                <p:txBody>
                  <a:bodyPr rtlCol="0" anchor="ctr"/>
                  <a:lstStyle/>
                  <a:p>
                    <a:endParaRPr lang="en-GB"/>
                  </a:p>
                </p:txBody>
              </p:sp>
              <p:sp>
                <p:nvSpPr>
                  <p:cNvPr id="8409" name="Vrije vorm: vorm 8408">
                    <a:extLst>
                      <a:ext uri="{FF2B5EF4-FFF2-40B4-BE49-F238E27FC236}">
                        <a16:creationId xmlns:a16="http://schemas.microsoft.com/office/drawing/2014/main" id="{ABF41DB9-2E43-4440-89B6-9085E815BD70}"/>
                      </a:ext>
                    </a:extLst>
                  </p:cNvPr>
                  <p:cNvSpPr/>
                  <p:nvPr/>
                </p:nvSpPr>
                <p:spPr>
                  <a:xfrm>
                    <a:off x="4507510" y="4804653"/>
                    <a:ext cx="31578" cy="26135"/>
                  </a:xfrm>
                  <a:custGeom>
                    <a:avLst/>
                    <a:gdLst>
                      <a:gd name="connsiteX0" fmla="*/ 31578 w 31578"/>
                      <a:gd name="connsiteY0" fmla="*/ 0 h 26135"/>
                      <a:gd name="connsiteX1" fmla="*/ 0 w 31578"/>
                      <a:gd name="connsiteY1" fmla="*/ 26136 h 26135"/>
                    </a:gdLst>
                    <a:ahLst/>
                    <a:cxnLst>
                      <a:cxn ang="0">
                        <a:pos x="connsiteX0" y="connsiteY0"/>
                      </a:cxn>
                      <a:cxn ang="0">
                        <a:pos x="connsiteX1" y="connsiteY1"/>
                      </a:cxn>
                    </a:cxnLst>
                    <a:rect l="l" t="t" r="r" b="b"/>
                    <a:pathLst>
                      <a:path w="31578" h="26135">
                        <a:moveTo>
                          <a:pt x="31578" y="0"/>
                        </a:moveTo>
                        <a:cubicBezTo>
                          <a:pt x="20873" y="8851"/>
                          <a:pt x="10347" y="17583"/>
                          <a:pt x="0" y="26136"/>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68" name="Graphic 3">
                  <a:extLst>
                    <a:ext uri="{FF2B5EF4-FFF2-40B4-BE49-F238E27FC236}">
                      <a16:creationId xmlns:a16="http://schemas.microsoft.com/office/drawing/2014/main" id="{0E591651-86BE-4C6D-B714-57B6BC06DF8E}"/>
                    </a:ext>
                  </a:extLst>
                </p:cNvPr>
                <p:cNvGrpSpPr/>
                <p:nvPr/>
              </p:nvGrpSpPr>
              <p:grpSpPr>
                <a:xfrm>
                  <a:off x="4550571" y="4768888"/>
                  <a:ext cx="80919" cy="40728"/>
                  <a:chOff x="4550571" y="4768888"/>
                  <a:chExt cx="80919" cy="40728"/>
                </a:xfrm>
                <a:noFill/>
              </p:grpSpPr>
              <p:sp>
                <p:nvSpPr>
                  <p:cNvPr id="8400" name="Vrije vorm: vorm 8399">
                    <a:extLst>
                      <a:ext uri="{FF2B5EF4-FFF2-40B4-BE49-F238E27FC236}">
                        <a16:creationId xmlns:a16="http://schemas.microsoft.com/office/drawing/2014/main" id="{B9B67D26-0F33-45FD-BBCD-8A1BE344CEDC}"/>
                      </a:ext>
                    </a:extLst>
                  </p:cNvPr>
                  <p:cNvSpPr/>
                  <p:nvPr/>
                </p:nvSpPr>
                <p:spPr>
                  <a:xfrm>
                    <a:off x="4603561" y="4786112"/>
                    <a:ext cx="27929" cy="23504"/>
                  </a:xfrm>
                  <a:custGeom>
                    <a:avLst/>
                    <a:gdLst>
                      <a:gd name="connsiteX0" fmla="*/ 27930 w 27929"/>
                      <a:gd name="connsiteY0" fmla="*/ 0 h 23504"/>
                      <a:gd name="connsiteX1" fmla="*/ 0 w 27929"/>
                      <a:gd name="connsiteY1" fmla="*/ 23504 h 23504"/>
                    </a:gdLst>
                    <a:ahLst/>
                    <a:cxnLst>
                      <a:cxn ang="0">
                        <a:pos x="connsiteX0" y="connsiteY0"/>
                      </a:cxn>
                      <a:cxn ang="0">
                        <a:pos x="connsiteX1" y="connsiteY1"/>
                      </a:cxn>
                    </a:cxnLst>
                    <a:rect l="l" t="t" r="r" b="b"/>
                    <a:pathLst>
                      <a:path w="27929" h="23504">
                        <a:moveTo>
                          <a:pt x="27930" y="0"/>
                        </a:moveTo>
                        <a:cubicBezTo>
                          <a:pt x="18540" y="7895"/>
                          <a:pt x="9210" y="15729"/>
                          <a:pt x="0" y="23504"/>
                        </a:cubicBezTo>
                      </a:path>
                    </a:pathLst>
                  </a:custGeom>
                  <a:noFill/>
                  <a:ln w="6350" cap="rnd">
                    <a:solidFill>
                      <a:schemeClr val="bg1">
                        <a:alpha val="40000"/>
                      </a:schemeClr>
                    </a:solidFill>
                    <a:prstDash val="solid"/>
                    <a:miter/>
                  </a:ln>
                </p:spPr>
                <p:txBody>
                  <a:bodyPr rtlCol="0" anchor="ctr"/>
                  <a:lstStyle/>
                  <a:p>
                    <a:endParaRPr lang="en-GB"/>
                  </a:p>
                </p:txBody>
              </p:sp>
              <p:sp>
                <p:nvSpPr>
                  <p:cNvPr id="8401" name="Vrije vorm: vorm 8400">
                    <a:extLst>
                      <a:ext uri="{FF2B5EF4-FFF2-40B4-BE49-F238E27FC236}">
                        <a16:creationId xmlns:a16="http://schemas.microsoft.com/office/drawing/2014/main" id="{777C87B0-F99C-44D4-AC20-FDF05316E22E}"/>
                      </a:ext>
                    </a:extLst>
                  </p:cNvPr>
                  <p:cNvSpPr/>
                  <p:nvPr/>
                </p:nvSpPr>
                <p:spPr>
                  <a:xfrm>
                    <a:off x="4590343" y="4781806"/>
                    <a:ext cx="28468" cy="23863"/>
                  </a:xfrm>
                  <a:custGeom>
                    <a:avLst/>
                    <a:gdLst>
                      <a:gd name="connsiteX0" fmla="*/ 28468 w 28468"/>
                      <a:gd name="connsiteY0" fmla="*/ 0 h 23863"/>
                      <a:gd name="connsiteX1" fmla="*/ 0 w 28468"/>
                      <a:gd name="connsiteY1" fmla="*/ 23863 h 23863"/>
                    </a:gdLst>
                    <a:ahLst/>
                    <a:cxnLst>
                      <a:cxn ang="0">
                        <a:pos x="connsiteX0" y="connsiteY0"/>
                      </a:cxn>
                      <a:cxn ang="0">
                        <a:pos x="connsiteX1" y="connsiteY1"/>
                      </a:cxn>
                    </a:cxnLst>
                    <a:rect l="l" t="t" r="r" b="b"/>
                    <a:pathLst>
                      <a:path w="28468" h="23863">
                        <a:moveTo>
                          <a:pt x="28468" y="0"/>
                        </a:moveTo>
                        <a:cubicBezTo>
                          <a:pt x="18839" y="8074"/>
                          <a:pt x="9330" y="16028"/>
                          <a:pt x="0" y="23863"/>
                        </a:cubicBezTo>
                      </a:path>
                    </a:pathLst>
                  </a:custGeom>
                  <a:noFill/>
                  <a:ln w="6350" cap="rnd">
                    <a:solidFill>
                      <a:schemeClr val="bg1">
                        <a:alpha val="40000"/>
                      </a:schemeClr>
                    </a:solidFill>
                    <a:prstDash val="solid"/>
                    <a:miter/>
                  </a:ln>
                </p:spPr>
                <p:txBody>
                  <a:bodyPr rtlCol="0" anchor="ctr"/>
                  <a:lstStyle/>
                  <a:p>
                    <a:endParaRPr lang="en-GB"/>
                  </a:p>
                </p:txBody>
              </p:sp>
              <p:sp>
                <p:nvSpPr>
                  <p:cNvPr id="8402" name="Vrije vorm: vorm 8401">
                    <a:extLst>
                      <a:ext uri="{FF2B5EF4-FFF2-40B4-BE49-F238E27FC236}">
                        <a16:creationId xmlns:a16="http://schemas.microsoft.com/office/drawing/2014/main" id="{18C32E1B-B1F4-4E58-90F7-5E7A90BA2A78}"/>
                      </a:ext>
                    </a:extLst>
                  </p:cNvPr>
                  <p:cNvSpPr/>
                  <p:nvPr/>
                </p:nvSpPr>
                <p:spPr>
                  <a:xfrm>
                    <a:off x="4577066" y="4777560"/>
                    <a:ext cx="29066" cy="24281"/>
                  </a:xfrm>
                  <a:custGeom>
                    <a:avLst/>
                    <a:gdLst>
                      <a:gd name="connsiteX0" fmla="*/ 29067 w 29066"/>
                      <a:gd name="connsiteY0" fmla="*/ 0 h 24281"/>
                      <a:gd name="connsiteX1" fmla="*/ 0 w 29066"/>
                      <a:gd name="connsiteY1" fmla="*/ 24282 h 24281"/>
                    </a:gdLst>
                    <a:ahLst/>
                    <a:cxnLst>
                      <a:cxn ang="0">
                        <a:pos x="connsiteX0" y="connsiteY0"/>
                      </a:cxn>
                      <a:cxn ang="0">
                        <a:pos x="connsiteX1" y="connsiteY1"/>
                      </a:cxn>
                    </a:cxnLst>
                    <a:rect l="l" t="t" r="r" b="b"/>
                    <a:pathLst>
                      <a:path w="29066" h="24281">
                        <a:moveTo>
                          <a:pt x="29067" y="0"/>
                        </a:moveTo>
                        <a:cubicBezTo>
                          <a:pt x="19258" y="8194"/>
                          <a:pt x="9569" y="16268"/>
                          <a:pt x="0" y="24282"/>
                        </a:cubicBezTo>
                      </a:path>
                    </a:pathLst>
                  </a:custGeom>
                  <a:noFill/>
                  <a:ln w="6350" cap="rnd">
                    <a:solidFill>
                      <a:schemeClr val="bg1">
                        <a:alpha val="40000"/>
                      </a:schemeClr>
                    </a:solidFill>
                    <a:prstDash val="solid"/>
                    <a:miter/>
                  </a:ln>
                </p:spPr>
                <p:txBody>
                  <a:bodyPr rtlCol="0" anchor="ctr"/>
                  <a:lstStyle/>
                  <a:p>
                    <a:endParaRPr lang="en-GB"/>
                  </a:p>
                </p:txBody>
              </p:sp>
              <p:sp>
                <p:nvSpPr>
                  <p:cNvPr id="8403" name="Vrije vorm: vorm 8402">
                    <a:extLst>
                      <a:ext uri="{FF2B5EF4-FFF2-40B4-BE49-F238E27FC236}">
                        <a16:creationId xmlns:a16="http://schemas.microsoft.com/office/drawing/2014/main" id="{93D6C91E-D03F-4143-AD9E-14AAE717D385}"/>
                      </a:ext>
                    </a:extLst>
                  </p:cNvPr>
                  <p:cNvSpPr/>
                  <p:nvPr/>
                </p:nvSpPr>
                <p:spPr>
                  <a:xfrm>
                    <a:off x="4563789" y="4773194"/>
                    <a:ext cx="29604" cy="24640"/>
                  </a:xfrm>
                  <a:custGeom>
                    <a:avLst/>
                    <a:gdLst>
                      <a:gd name="connsiteX0" fmla="*/ 29605 w 29604"/>
                      <a:gd name="connsiteY0" fmla="*/ 0 h 24640"/>
                      <a:gd name="connsiteX1" fmla="*/ 0 w 29604"/>
                      <a:gd name="connsiteY1" fmla="*/ 24641 h 24640"/>
                    </a:gdLst>
                    <a:ahLst/>
                    <a:cxnLst>
                      <a:cxn ang="0">
                        <a:pos x="connsiteX0" y="connsiteY0"/>
                      </a:cxn>
                      <a:cxn ang="0">
                        <a:pos x="connsiteX1" y="connsiteY1"/>
                      </a:cxn>
                    </a:cxnLst>
                    <a:rect l="l" t="t" r="r" b="b"/>
                    <a:pathLst>
                      <a:path w="29604" h="24640">
                        <a:moveTo>
                          <a:pt x="29605" y="0"/>
                        </a:moveTo>
                        <a:cubicBezTo>
                          <a:pt x="19617" y="8313"/>
                          <a:pt x="9749" y="16566"/>
                          <a:pt x="0" y="24641"/>
                        </a:cubicBezTo>
                      </a:path>
                    </a:pathLst>
                  </a:custGeom>
                  <a:noFill/>
                  <a:ln w="6350" cap="rnd">
                    <a:solidFill>
                      <a:schemeClr val="bg1">
                        <a:alpha val="40000"/>
                      </a:schemeClr>
                    </a:solidFill>
                    <a:prstDash val="solid"/>
                    <a:miter/>
                  </a:ln>
                </p:spPr>
                <p:txBody>
                  <a:bodyPr rtlCol="0" anchor="ctr"/>
                  <a:lstStyle/>
                  <a:p>
                    <a:endParaRPr lang="en-GB"/>
                  </a:p>
                </p:txBody>
              </p:sp>
              <p:sp>
                <p:nvSpPr>
                  <p:cNvPr id="8404" name="Vrije vorm: vorm 8403">
                    <a:extLst>
                      <a:ext uri="{FF2B5EF4-FFF2-40B4-BE49-F238E27FC236}">
                        <a16:creationId xmlns:a16="http://schemas.microsoft.com/office/drawing/2014/main" id="{8BEEAD3F-8545-4A9D-963A-E80B587D133E}"/>
                      </a:ext>
                    </a:extLst>
                  </p:cNvPr>
                  <p:cNvSpPr/>
                  <p:nvPr/>
                </p:nvSpPr>
                <p:spPr>
                  <a:xfrm>
                    <a:off x="4550571" y="4768888"/>
                    <a:ext cx="30143" cy="25059"/>
                  </a:xfrm>
                  <a:custGeom>
                    <a:avLst/>
                    <a:gdLst>
                      <a:gd name="connsiteX0" fmla="*/ 30143 w 30143"/>
                      <a:gd name="connsiteY0" fmla="*/ 0 h 25059"/>
                      <a:gd name="connsiteX1" fmla="*/ 0 w 30143"/>
                      <a:gd name="connsiteY1" fmla="*/ 25059 h 25059"/>
                    </a:gdLst>
                    <a:ahLst/>
                    <a:cxnLst>
                      <a:cxn ang="0">
                        <a:pos x="connsiteX0" y="connsiteY0"/>
                      </a:cxn>
                      <a:cxn ang="0">
                        <a:pos x="connsiteX1" y="connsiteY1"/>
                      </a:cxn>
                    </a:cxnLst>
                    <a:rect l="l" t="t" r="r" b="b"/>
                    <a:pathLst>
                      <a:path w="30143" h="25059">
                        <a:moveTo>
                          <a:pt x="30143" y="0"/>
                        </a:moveTo>
                        <a:cubicBezTo>
                          <a:pt x="19976" y="8493"/>
                          <a:pt x="9928" y="16806"/>
                          <a:pt x="0" y="25059"/>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69" name="Graphic 3">
                  <a:extLst>
                    <a:ext uri="{FF2B5EF4-FFF2-40B4-BE49-F238E27FC236}">
                      <a16:creationId xmlns:a16="http://schemas.microsoft.com/office/drawing/2014/main" id="{70F937C2-9B7B-4EEB-A3A9-A804FE6D48DA}"/>
                    </a:ext>
                  </a:extLst>
                </p:cNvPr>
                <p:cNvGrpSpPr/>
                <p:nvPr/>
              </p:nvGrpSpPr>
              <p:grpSpPr>
                <a:xfrm>
                  <a:off x="4596503" y="4729355"/>
                  <a:ext cx="76314" cy="44855"/>
                  <a:chOff x="4596503" y="4729355"/>
                  <a:chExt cx="76314" cy="44855"/>
                </a:xfrm>
                <a:noFill/>
              </p:grpSpPr>
              <p:sp>
                <p:nvSpPr>
                  <p:cNvPr id="8395" name="Vrije vorm: vorm 8394">
                    <a:extLst>
                      <a:ext uri="{FF2B5EF4-FFF2-40B4-BE49-F238E27FC236}">
                        <a16:creationId xmlns:a16="http://schemas.microsoft.com/office/drawing/2014/main" id="{7246310E-C7F8-4EB7-8C70-A9D18A326823}"/>
                      </a:ext>
                    </a:extLst>
                  </p:cNvPr>
                  <p:cNvSpPr/>
                  <p:nvPr/>
                </p:nvSpPr>
                <p:spPr>
                  <a:xfrm>
                    <a:off x="4644708" y="4750527"/>
                    <a:ext cx="28109" cy="23683"/>
                  </a:xfrm>
                  <a:custGeom>
                    <a:avLst/>
                    <a:gdLst>
                      <a:gd name="connsiteX0" fmla="*/ 28109 w 28109"/>
                      <a:gd name="connsiteY0" fmla="*/ 0 h 23683"/>
                      <a:gd name="connsiteX1" fmla="*/ 0 w 28109"/>
                      <a:gd name="connsiteY1" fmla="*/ 23684 h 23683"/>
                    </a:gdLst>
                    <a:ahLst/>
                    <a:cxnLst>
                      <a:cxn ang="0">
                        <a:pos x="connsiteX0" y="connsiteY0"/>
                      </a:cxn>
                      <a:cxn ang="0">
                        <a:pos x="connsiteX1" y="connsiteY1"/>
                      </a:cxn>
                    </a:cxnLst>
                    <a:rect l="l" t="t" r="r" b="b"/>
                    <a:pathLst>
                      <a:path w="28109" h="23683">
                        <a:moveTo>
                          <a:pt x="28109" y="0"/>
                        </a:moveTo>
                        <a:cubicBezTo>
                          <a:pt x="18660" y="7954"/>
                          <a:pt x="9270" y="15849"/>
                          <a:pt x="0" y="23684"/>
                        </a:cubicBezTo>
                      </a:path>
                    </a:pathLst>
                  </a:custGeom>
                  <a:noFill/>
                  <a:ln w="6350" cap="rnd">
                    <a:solidFill>
                      <a:schemeClr val="bg1">
                        <a:alpha val="40000"/>
                      </a:schemeClr>
                    </a:solidFill>
                    <a:prstDash val="solid"/>
                    <a:miter/>
                  </a:ln>
                </p:spPr>
                <p:txBody>
                  <a:bodyPr rtlCol="0" anchor="ctr"/>
                  <a:lstStyle/>
                  <a:p>
                    <a:endParaRPr lang="en-GB"/>
                  </a:p>
                </p:txBody>
              </p:sp>
              <p:sp>
                <p:nvSpPr>
                  <p:cNvPr id="8396" name="Vrije vorm: vorm 8395">
                    <a:extLst>
                      <a:ext uri="{FF2B5EF4-FFF2-40B4-BE49-F238E27FC236}">
                        <a16:creationId xmlns:a16="http://schemas.microsoft.com/office/drawing/2014/main" id="{01F84408-EE8A-4C8E-82E7-44A085D0CF74}"/>
                      </a:ext>
                    </a:extLst>
                  </p:cNvPr>
                  <p:cNvSpPr/>
                  <p:nvPr/>
                </p:nvSpPr>
                <p:spPr>
                  <a:xfrm>
                    <a:off x="4632687" y="4745264"/>
                    <a:ext cx="28767" cy="24161"/>
                  </a:xfrm>
                  <a:custGeom>
                    <a:avLst/>
                    <a:gdLst>
                      <a:gd name="connsiteX0" fmla="*/ 28767 w 28767"/>
                      <a:gd name="connsiteY0" fmla="*/ 0 h 24161"/>
                      <a:gd name="connsiteX1" fmla="*/ 0 w 28767"/>
                      <a:gd name="connsiteY1" fmla="*/ 24162 h 24161"/>
                    </a:gdLst>
                    <a:ahLst/>
                    <a:cxnLst>
                      <a:cxn ang="0">
                        <a:pos x="connsiteX0" y="connsiteY0"/>
                      </a:cxn>
                      <a:cxn ang="0">
                        <a:pos x="connsiteX1" y="connsiteY1"/>
                      </a:cxn>
                    </a:cxnLst>
                    <a:rect l="l" t="t" r="r" b="b"/>
                    <a:pathLst>
                      <a:path w="28767" h="24161">
                        <a:moveTo>
                          <a:pt x="28767" y="0"/>
                        </a:moveTo>
                        <a:cubicBezTo>
                          <a:pt x="19079" y="8134"/>
                          <a:pt x="9509" y="16208"/>
                          <a:pt x="0" y="24162"/>
                        </a:cubicBezTo>
                      </a:path>
                    </a:pathLst>
                  </a:custGeom>
                  <a:noFill/>
                  <a:ln w="6350" cap="rnd">
                    <a:solidFill>
                      <a:schemeClr val="bg1">
                        <a:alpha val="40000"/>
                      </a:schemeClr>
                    </a:solidFill>
                    <a:prstDash val="solid"/>
                    <a:miter/>
                  </a:ln>
                </p:spPr>
                <p:txBody>
                  <a:bodyPr rtlCol="0" anchor="ctr"/>
                  <a:lstStyle/>
                  <a:p>
                    <a:endParaRPr lang="en-GB"/>
                  </a:p>
                </p:txBody>
              </p:sp>
              <p:sp>
                <p:nvSpPr>
                  <p:cNvPr id="8397" name="Vrije vorm: vorm 8396">
                    <a:extLst>
                      <a:ext uri="{FF2B5EF4-FFF2-40B4-BE49-F238E27FC236}">
                        <a16:creationId xmlns:a16="http://schemas.microsoft.com/office/drawing/2014/main" id="{83E57E61-29EE-49D8-B51E-A030918DF348}"/>
                      </a:ext>
                    </a:extLst>
                  </p:cNvPr>
                  <p:cNvSpPr/>
                  <p:nvPr/>
                </p:nvSpPr>
                <p:spPr>
                  <a:xfrm>
                    <a:off x="4620665" y="4739941"/>
                    <a:ext cx="29425" cy="24640"/>
                  </a:xfrm>
                  <a:custGeom>
                    <a:avLst/>
                    <a:gdLst>
                      <a:gd name="connsiteX0" fmla="*/ 29425 w 29425"/>
                      <a:gd name="connsiteY0" fmla="*/ 0 h 24640"/>
                      <a:gd name="connsiteX1" fmla="*/ 0 w 29425"/>
                      <a:gd name="connsiteY1" fmla="*/ 24641 h 24640"/>
                    </a:gdLst>
                    <a:ahLst/>
                    <a:cxnLst>
                      <a:cxn ang="0">
                        <a:pos x="connsiteX0" y="connsiteY0"/>
                      </a:cxn>
                      <a:cxn ang="0">
                        <a:pos x="connsiteX1" y="connsiteY1"/>
                      </a:cxn>
                    </a:cxnLst>
                    <a:rect l="l" t="t" r="r" b="b"/>
                    <a:pathLst>
                      <a:path w="29425" h="24640">
                        <a:moveTo>
                          <a:pt x="29425" y="0"/>
                        </a:moveTo>
                        <a:cubicBezTo>
                          <a:pt x="19497" y="8313"/>
                          <a:pt x="9689" y="16507"/>
                          <a:pt x="0" y="24641"/>
                        </a:cubicBezTo>
                      </a:path>
                    </a:pathLst>
                  </a:custGeom>
                  <a:noFill/>
                  <a:ln w="6350" cap="rnd">
                    <a:solidFill>
                      <a:schemeClr val="bg1">
                        <a:alpha val="40000"/>
                      </a:schemeClr>
                    </a:solidFill>
                    <a:prstDash val="solid"/>
                    <a:miter/>
                  </a:ln>
                </p:spPr>
                <p:txBody>
                  <a:bodyPr rtlCol="0" anchor="ctr"/>
                  <a:lstStyle/>
                  <a:p>
                    <a:endParaRPr lang="en-GB"/>
                  </a:p>
                </p:txBody>
              </p:sp>
              <p:sp>
                <p:nvSpPr>
                  <p:cNvPr id="8398" name="Vrije vorm: vorm 8397">
                    <a:extLst>
                      <a:ext uri="{FF2B5EF4-FFF2-40B4-BE49-F238E27FC236}">
                        <a16:creationId xmlns:a16="http://schemas.microsoft.com/office/drawing/2014/main" id="{CEA63E2C-7F54-4666-9A37-0E725A125EE9}"/>
                      </a:ext>
                    </a:extLst>
                  </p:cNvPr>
                  <p:cNvSpPr/>
                  <p:nvPr/>
                </p:nvSpPr>
                <p:spPr>
                  <a:xfrm>
                    <a:off x="4608584" y="4734678"/>
                    <a:ext cx="30083" cy="25119"/>
                  </a:xfrm>
                  <a:custGeom>
                    <a:avLst/>
                    <a:gdLst>
                      <a:gd name="connsiteX0" fmla="*/ 30083 w 30083"/>
                      <a:gd name="connsiteY0" fmla="*/ 0 h 25119"/>
                      <a:gd name="connsiteX1" fmla="*/ 0 w 30083"/>
                      <a:gd name="connsiteY1" fmla="*/ 25119 h 25119"/>
                    </a:gdLst>
                    <a:ahLst/>
                    <a:cxnLst>
                      <a:cxn ang="0">
                        <a:pos x="connsiteX0" y="connsiteY0"/>
                      </a:cxn>
                      <a:cxn ang="0">
                        <a:pos x="connsiteX1" y="connsiteY1"/>
                      </a:cxn>
                    </a:cxnLst>
                    <a:rect l="l" t="t" r="r" b="b"/>
                    <a:pathLst>
                      <a:path w="30083" h="25119">
                        <a:moveTo>
                          <a:pt x="30083" y="0"/>
                        </a:moveTo>
                        <a:cubicBezTo>
                          <a:pt x="19976" y="8493"/>
                          <a:pt x="9928" y="16866"/>
                          <a:pt x="0" y="25119"/>
                        </a:cubicBezTo>
                      </a:path>
                    </a:pathLst>
                  </a:custGeom>
                  <a:noFill/>
                  <a:ln w="6350" cap="rnd">
                    <a:solidFill>
                      <a:schemeClr val="bg1">
                        <a:alpha val="40000"/>
                      </a:schemeClr>
                    </a:solidFill>
                    <a:prstDash val="solid"/>
                    <a:miter/>
                  </a:ln>
                </p:spPr>
                <p:txBody>
                  <a:bodyPr rtlCol="0" anchor="ctr"/>
                  <a:lstStyle/>
                  <a:p>
                    <a:endParaRPr lang="en-GB"/>
                  </a:p>
                </p:txBody>
              </p:sp>
              <p:sp>
                <p:nvSpPr>
                  <p:cNvPr id="8399" name="Vrije vorm: vorm 8398">
                    <a:extLst>
                      <a:ext uri="{FF2B5EF4-FFF2-40B4-BE49-F238E27FC236}">
                        <a16:creationId xmlns:a16="http://schemas.microsoft.com/office/drawing/2014/main" id="{51A252D1-17A9-4FB2-A0B9-AA17771FA00E}"/>
                      </a:ext>
                    </a:extLst>
                  </p:cNvPr>
                  <p:cNvSpPr/>
                  <p:nvPr/>
                </p:nvSpPr>
                <p:spPr>
                  <a:xfrm>
                    <a:off x="4596503" y="4729355"/>
                    <a:ext cx="30741" cy="25597"/>
                  </a:xfrm>
                  <a:custGeom>
                    <a:avLst/>
                    <a:gdLst>
                      <a:gd name="connsiteX0" fmla="*/ 30741 w 30741"/>
                      <a:gd name="connsiteY0" fmla="*/ 0 h 25597"/>
                      <a:gd name="connsiteX1" fmla="*/ 0 w 30741"/>
                      <a:gd name="connsiteY1" fmla="*/ 25598 h 25597"/>
                    </a:gdLst>
                    <a:ahLst/>
                    <a:cxnLst>
                      <a:cxn ang="0">
                        <a:pos x="connsiteX0" y="connsiteY0"/>
                      </a:cxn>
                      <a:cxn ang="0">
                        <a:pos x="connsiteX1" y="connsiteY1"/>
                      </a:cxn>
                    </a:cxnLst>
                    <a:rect l="l" t="t" r="r" b="b"/>
                    <a:pathLst>
                      <a:path w="30741" h="25597">
                        <a:moveTo>
                          <a:pt x="30741" y="0"/>
                        </a:moveTo>
                        <a:cubicBezTo>
                          <a:pt x="20394" y="8612"/>
                          <a:pt x="10167" y="17165"/>
                          <a:pt x="0" y="25598"/>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70" name="Graphic 3">
                  <a:extLst>
                    <a:ext uri="{FF2B5EF4-FFF2-40B4-BE49-F238E27FC236}">
                      <a16:creationId xmlns:a16="http://schemas.microsoft.com/office/drawing/2014/main" id="{05CCDB21-54DB-4538-82E7-095F27A5548C}"/>
                    </a:ext>
                  </a:extLst>
                </p:cNvPr>
                <p:cNvGrpSpPr/>
                <p:nvPr/>
              </p:nvGrpSpPr>
              <p:grpSpPr>
                <a:xfrm>
                  <a:off x="4640521" y="4691856"/>
                  <a:ext cx="74160" cy="46111"/>
                  <a:chOff x="4640521" y="4691856"/>
                  <a:chExt cx="74160" cy="46111"/>
                </a:xfrm>
                <a:noFill/>
              </p:grpSpPr>
              <p:sp>
                <p:nvSpPr>
                  <p:cNvPr id="8390" name="Vrije vorm: vorm 8389">
                    <a:extLst>
                      <a:ext uri="{FF2B5EF4-FFF2-40B4-BE49-F238E27FC236}">
                        <a16:creationId xmlns:a16="http://schemas.microsoft.com/office/drawing/2014/main" id="{87EEF3A3-266B-48BF-8DB6-4BF15818B14A}"/>
                      </a:ext>
                    </a:extLst>
                  </p:cNvPr>
                  <p:cNvSpPr/>
                  <p:nvPr/>
                </p:nvSpPr>
                <p:spPr>
                  <a:xfrm>
                    <a:off x="4687709" y="4715241"/>
                    <a:ext cx="26973" cy="22726"/>
                  </a:xfrm>
                  <a:custGeom>
                    <a:avLst/>
                    <a:gdLst>
                      <a:gd name="connsiteX0" fmla="*/ 26973 w 26973"/>
                      <a:gd name="connsiteY0" fmla="*/ 0 h 22726"/>
                      <a:gd name="connsiteX1" fmla="*/ 0 w 26973"/>
                      <a:gd name="connsiteY1" fmla="*/ 22727 h 22726"/>
                    </a:gdLst>
                    <a:ahLst/>
                    <a:cxnLst>
                      <a:cxn ang="0">
                        <a:pos x="connsiteX0" y="connsiteY0"/>
                      </a:cxn>
                      <a:cxn ang="0">
                        <a:pos x="connsiteX1" y="connsiteY1"/>
                      </a:cxn>
                    </a:cxnLst>
                    <a:rect l="l" t="t" r="r" b="b"/>
                    <a:pathLst>
                      <a:path w="26973" h="22726">
                        <a:moveTo>
                          <a:pt x="26973" y="0"/>
                        </a:moveTo>
                        <a:cubicBezTo>
                          <a:pt x="17883" y="7655"/>
                          <a:pt x="8912" y="15251"/>
                          <a:pt x="0" y="22727"/>
                        </a:cubicBezTo>
                      </a:path>
                    </a:pathLst>
                  </a:custGeom>
                  <a:noFill/>
                  <a:ln w="6350" cap="rnd">
                    <a:solidFill>
                      <a:schemeClr val="bg1">
                        <a:alpha val="40000"/>
                      </a:schemeClr>
                    </a:solidFill>
                    <a:prstDash val="solid"/>
                    <a:miter/>
                  </a:ln>
                </p:spPr>
                <p:txBody>
                  <a:bodyPr rtlCol="0" anchor="ctr"/>
                  <a:lstStyle/>
                  <a:p>
                    <a:endParaRPr lang="en-GB"/>
                  </a:p>
                </p:txBody>
              </p:sp>
              <p:sp>
                <p:nvSpPr>
                  <p:cNvPr id="8391" name="Vrije vorm: vorm 8390">
                    <a:extLst>
                      <a:ext uri="{FF2B5EF4-FFF2-40B4-BE49-F238E27FC236}">
                        <a16:creationId xmlns:a16="http://schemas.microsoft.com/office/drawing/2014/main" id="{10E87D16-97AD-45EC-9D5E-10EC7575E379}"/>
                      </a:ext>
                    </a:extLst>
                  </p:cNvPr>
                  <p:cNvSpPr/>
                  <p:nvPr/>
                </p:nvSpPr>
                <p:spPr>
                  <a:xfrm>
                    <a:off x="4675927" y="4709380"/>
                    <a:ext cx="28169" cy="23683"/>
                  </a:xfrm>
                  <a:custGeom>
                    <a:avLst/>
                    <a:gdLst>
                      <a:gd name="connsiteX0" fmla="*/ 28169 w 28169"/>
                      <a:gd name="connsiteY0" fmla="*/ 0 h 23683"/>
                      <a:gd name="connsiteX1" fmla="*/ 0 w 28169"/>
                      <a:gd name="connsiteY1" fmla="*/ 23683 h 23683"/>
                    </a:gdLst>
                    <a:ahLst/>
                    <a:cxnLst>
                      <a:cxn ang="0">
                        <a:pos x="connsiteX0" y="connsiteY0"/>
                      </a:cxn>
                      <a:cxn ang="0">
                        <a:pos x="connsiteX1" y="connsiteY1"/>
                      </a:cxn>
                    </a:cxnLst>
                    <a:rect l="l" t="t" r="r" b="b"/>
                    <a:pathLst>
                      <a:path w="28169" h="23683">
                        <a:moveTo>
                          <a:pt x="28169" y="0"/>
                        </a:moveTo>
                        <a:cubicBezTo>
                          <a:pt x="18720" y="7954"/>
                          <a:pt x="9330" y="15849"/>
                          <a:pt x="0" y="23683"/>
                        </a:cubicBezTo>
                      </a:path>
                    </a:pathLst>
                  </a:custGeom>
                  <a:noFill/>
                  <a:ln w="6350" cap="rnd">
                    <a:solidFill>
                      <a:schemeClr val="bg1">
                        <a:alpha val="40000"/>
                      </a:schemeClr>
                    </a:solidFill>
                    <a:prstDash val="solid"/>
                    <a:miter/>
                  </a:ln>
                </p:spPr>
                <p:txBody>
                  <a:bodyPr rtlCol="0" anchor="ctr"/>
                  <a:lstStyle/>
                  <a:p>
                    <a:endParaRPr lang="en-GB"/>
                  </a:p>
                </p:txBody>
              </p:sp>
              <p:sp>
                <p:nvSpPr>
                  <p:cNvPr id="8392" name="Vrije vorm: vorm 8391">
                    <a:extLst>
                      <a:ext uri="{FF2B5EF4-FFF2-40B4-BE49-F238E27FC236}">
                        <a16:creationId xmlns:a16="http://schemas.microsoft.com/office/drawing/2014/main" id="{370E2258-E3B2-4BE6-8B1C-7FA912EEAD59}"/>
                      </a:ext>
                    </a:extLst>
                  </p:cNvPr>
                  <p:cNvSpPr/>
                  <p:nvPr/>
                </p:nvSpPr>
                <p:spPr>
                  <a:xfrm>
                    <a:off x="4664145" y="4703519"/>
                    <a:ext cx="29365" cy="24580"/>
                  </a:xfrm>
                  <a:custGeom>
                    <a:avLst/>
                    <a:gdLst>
                      <a:gd name="connsiteX0" fmla="*/ 29366 w 29365"/>
                      <a:gd name="connsiteY0" fmla="*/ 0 h 24580"/>
                      <a:gd name="connsiteX1" fmla="*/ 0 w 29365"/>
                      <a:gd name="connsiteY1" fmla="*/ 24581 h 24580"/>
                    </a:gdLst>
                    <a:ahLst/>
                    <a:cxnLst>
                      <a:cxn ang="0">
                        <a:pos x="connsiteX0" y="connsiteY0"/>
                      </a:cxn>
                      <a:cxn ang="0">
                        <a:pos x="connsiteX1" y="connsiteY1"/>
                      </a:cxn>
                    </a:cxnLst>
                    <a:rect l="l" t="t" r="r" b="b"/>
                    <a:pathLst>
                      <a:path w="29365" h="24580">
                        <a:moveTo>
                          <a:pt x="29366" y="0"/>
                        </a:moveTo>
                        <a:cubicBezTo>
                          <a:pt x="19497" y="8253"/>
                          <a:pt x="9749" y="16447"/>
                          <a:pt x="0" y="24581"/>
                        </a:cubicBezTo>
                      </a:path>
                    </a:pathLst>
                  </a:custGeom>
                  <a:noFill/>
                  <a:ln w="6350" cap="rnd">
                    <a:solidFill>
                      <a:schemeClr val="bg1">
                        <a:alpha val="40000"/>
                      </a:schemeClr>
                    </a:solidFill>
                    <a:prstDash val="solid"/>
                    <a:miter/>
                  </a:ln>
                </p:spPr>
                <p:txBody>
                  <a:bodyPr rtlCol="0" anchor="ctr"/>
                  <a:lstStyle/>
                  <a:p>
                    <a:endParaRPr lang="en-GB"/>
                  </a:p>
                </p:txBody>
              </p:sp>
              <p:sp>
                <p:nvSpPr>
                  <p:cNvPr id="8393" name="Vrije vorm: vorm 8392">
                    <a:extLst>
                      <a:ext uri="{FF2B5EF4-FFF2-40B4-BE49-F238E27FC236}">
                        <a16:creationId xmlns:a16="http://schemas.microsoft.com/office/drawing/2014/main" id="{BC7D5098-1D22-42E9-91A4-D0F9214DF2E8}"/>
                      </a:ext>
                    </a:extLst>
                  </p:cNvPr>
                  <p:cNvSpPr/>
                  <p:nvPr/>
                </p:nvSpPr>
                <p:spPr>
                  <a:xfrm>
                    <a:off x="4652363" y="4697658"/>
                    <a:ext cx="30501" cy="25537"/>
                  </a:xfrm>
                  <a:custGeom>
                    <a:avLst/>
                    <a:gdLst>
                      <a:gd name="connsiteX0" fmla="*/ 30502 w 30501"/>
                      <a:gd name="connsiteY0" fmla="*/ 0 h 25537"/>
                      <a:gd name="connsiteX1" fmla="*/ 0 w 30501"/>
                      <a:gd name="connsiteY1" fmla="*/ 25538 h 25537"/>
                    </a:gdLst>
                    <a:ahLst/>
                    <a:cxnLst>
                      <a:cxn ang="0">
                        <a:pos x="connsiteX0" y="connsiteY0"/>
                      </a:cxn>
                      <a:cxn ang="0">
                        <a:pos x="connsiteX1" y="connsiteY1"/>
                      </a:cxn>
                    </a:cxnLst>
                    <a:rect l="l" t="t" r="r" b="b"/>
                    <a:pathLst>
                      <a:path w="30501" h="25537">
                        <a:moveTo>
                          <a:pt x="30502" y="0"/>
                        </a:moveTo>
                        <a:cubicBezTo>
                          <a:pt x="20215" y="8612"/>
                          <a:pt x="10048" y="17105"/>
                          <a:pt x="0" y="25538"/>
                        </a:cubicBezTo>
                      </a:path>
                    </a:pathLst>
                  </a:custGeom>
                  <a:noFill/>
                  <a:ln w="6350" cap="rnd">
                    <a:solidFill>
                      <a:schemeClr val="bg1">
                        <a:alpha val="40000"/>
                      </a:schemeClr>
                    </a:solidFill>
                    <a:prstDash val="solid"/>
                    <a:miter/>
                  </a:ln>
                </p:spPr>
                <p:txBody>
                  <a:bodyPr rtlCol="0" anchor="ctr"/>
                  <a:lstStyle/>
                  <a:p>
                    <a:endParaRPr lang="en-GB"/>
                  </a:p>
                </p:txBody>
              </p:sp>
              <p:sp>
                <p:nvSpPr>
                  <p:cNvPr id="8394" name="Vrije vorm: vorm 8393">
                    <a:extLst>
                      <a:ext uri="{FF2B5EF4-FFF2-40B4-BE49-F238E27FC236}">
                        <a16:creationId xmlns:a16="http://schemas.microsoft.com/office/drawing/2014/main" id="{E069D8A9-855F-4407-9BD3-CA663B74FD15}"/>
                      </a:ext>
                    </a:extLst>
                  </p:cNvPr>
                  <p:cNvSpPr/>
                  <p:nvPr/>
                </p:nvSpPr>
                <p:spPr>
                  <a:xfrm>
                    <a:off x="4640521" y="4691856"/>
                    <a:ext cx="31697" cy="26435"/>
                  </a:xfrm>
                  <a:custGeom>
                    <a:avLst/>
                    <a:gdLst>
                      <a:gd name="connsiteX0" fmla="*/ 31698 w 31697"/>
                      <a:gd name="connsiteY0" fmla="*/ 0 h 26435"/>
                      <a:gd name="connsiteX1" fmla="*/ 0 w 31697"/>
                      <a:gd name="connsiteY1" fmla="*/ 26435 h 26435"/>
                    </a:gdLst>
                    <a:ahLst/>
                    <a:cxnLst>
                      <a:cxn ang="0">
                        <a:pos x="connsiteX0" y="connsiteY0"/>
                      </a:cxn>
                      <a:cxn ang="0">
                        <a:pos x="connsiteX1" y="connsiteY1"/>
                      </a:cxn>
                    </a:cxnLst>
                    <a:rect l="l" t="t" r="r" b="b"/>
                    <a:pathLst>
                      <a:path w="31697" h="26435">
                        <a:moveTo>
                          <a:pt x="31698" y="0"/>
                        </a:moveTo>
                        <a:cubicBezTo>
                          <a:pt x="21052" y="8912"/>
                          <a:pt x="10466" y="17703"/>
                          <a:pt x="0" y="26435"/>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71" name="Graphic 3">
                  <a:extLst>
                    <a:ext uri="{FF2B5EF4-FFF2-40B4-BE49-F238E27FC236}">
                      <a16:creationId xmlns:a16="http://schemas.microsoft.com/office/drawing/2014/main" id="{71B6B2E9-55B1-4E9A-AA9A-E101B47AC5B9}"/>
                    </a:ext>
                  </a:extLst>
                </p:cNvPr>
                <p:cNvGrpSpPr/>
                <p:nvPr/>
              </p:nvGrpSpPr>
              <p:grpSpPr>
                <a:xfrm>
                  <a:off x="4646384" y="4648735"/>
                  <a:ext cx="113273" cy="55680"/>
                  <a:chOff x="4646384" y="4648735"/>
                  <a:chExt cx="113273" cy="55680"/>
                </a:xfrm>
                <a:noFill/>
              </p:grpSpPr>
              <p:sp>
                <p:nvSpPr>
                  <p:cNvPr id="8385" name="Vrije vorm: vorm 8384">
                    <a:extLst>
                      <a:ext uri="{FF2B5EF4-FFF2-40B4-BE49-F238E27FC236}">
                        <a16:creationId xmlns:a16="http://schemas.microsoft.com/office/drawing/2014/main" id="{5F2526C9-D05E-488B-B6B8-D65FFFA8AF13}"/>
                      </a:ext>
                    </a:extLst>
                  </p:cNvPr>
                  <p:cNvSpPr/>
                  <p:nvPr/>
                </p:nvSpPr>
                <p:spPr>
                  <a:xfrm>
                    <a:off x="4727541" y="4677323"/>
                    <a:ext cx="32116" cy="27092"/>
                  </a:xfrm>
                  <a:custGeom>
                    <a:avLst/>
                    <a:gdLst>
                      <a:gd name="connsiteX0" fmla="*/ 32116 w 32116"/>
                      <a:gd name="connsiteY0" fmla="*/ 0 h 27092"/>
                      <a:gd name="connsiteX1" fmla="*/ 0 w 32116"/>
                      <a:gd name="connsiteY1" fmla="*/ 27093 h 27092"/>
                    </a:gdLst>
                    <a:ahLst/>
                    <a:cxnLst>
                      <a:cxn ang="0">
                        <a:pos x="connsiteX0" y="connsiteY0"/>
                      </a:cxn>
                      <a:cxn ang="0">
                        <a:pos x="connsiteX1" y="connsiteY1"/>
                      </a:cxn>
                    </a:cxnLst>
                    <a:rect l="l" t="t" r="r" b="b"/>
                    <a:pathLst>
                      <a:path w="32116" h="27092">
                        <a:moveTo>
                          <a:pt x="32116" y="0"/>
                        </a:moveTo>
                        <a:cubicBezTo>
                          <a:pt x="21351" y="9091"/>
                          <a:pt x="10645" y="18122"/>
                          <a:pt x="0" y="27093"/>
                        </a:cubicBezTo>
                      </a:path>
                    </a:pathLst>
                  </a:custGeom>
                  <a:noFill/>
                  <a:ln w="6350" cap="rnd">
                    <a:solidFill>
                      <a:schemeClr val="bg1">
                        <a:alpha val="40000"/>
                      </a:schemeClr>
                    </a:solidFill>
                    <a:prstDash val="solid"/>
                    <a:miter/>
                  </a:ln>
                </p:spPr>
                <p:txBody>
                  <a:bodyPr rtlCol="0" anchor="ctr"/>
                  <a:lstStyle/>
                  <a:p>
                    <a:endParaRPr lang="en-GB"/>
                  </a:p>
                </p:txBody>
              </p:sp>
              <p:sp>
                <p:nvSpPr>
                  <p:cNvPr id="8386" name="Vrije vorm: vorm 8385">
                    <a:extLst>
                      <a:ext uri="{FF2B5EF4-FFF2-40B4-BE49-F238E27FC236}">
                        <a16:creationId xmlns:a16="http://schemas.microsoft.com/office/drawing/2014/main" id="{0559854D-ED2A-4BAE-B76A-5926721C92DB}"/>
                      </a:ext>
                    </a:extLst>
                  </p:cNvPr>
                  <p:cNvSpPr/>
                  <p:nvPr/>
                </p:nvSpPr>
                <p:spPr>
                  <a:xfrm>
                    <a:off x="4717194" y="4670146"/>
                    <a:ext cx="33551" cy="28169"/>
                  </a:xfrm>
                  <a:custGeom>
                    <a:avLst/>
                    <a:gdLst>
                      <a:gd name="connsiteX0" fmla="*/ 33552 w 33551"/>
                      <a:gd name="connsiteY0" fmla="*/ 0 h 28169"/>
                      <a:gd name="connsiteX1" fmla="*/ 0 w 33551"/>
                      <a:gd name="connsiteY1" fmla="*/ 28169 h 28169"/>
                    </a:gdLst>
                    <a:ahLst/>
                    <a:cxnLst>
                      <a:cxn ang="0">
                        <a:pos x="connsiteX0" y="connsiteY0"/>
                      </a:cxn>
                      <a:cxn ang="0">
                        <a:pos x="connsiteX1" y="connsiteY1"/>
                      </a:cxn>
                    </a:cxnLst>
                    <a:rect l="l" t="t" r="r" b="b"/>
                    <a:pathLst>
                      <a:path w="33551" h="28169">
                        <a:moveTo>
                          <a:pt x="33552" y="0"/>
                        </a:moveTo>
                        <a:cubicBezTo>
                          <a:pt x="22308" y="9450"/>
                          <a:pt x="11124" y="18839"/>
                          <a:pt x="0" y="28169"/>
                        </a:cubicBezTo>
                      </a:path>
                    </a:pathLst>
                  </a:custGeom>
                  <a:noFill/>
                  <a:ln w="6350" cap="rnd">
                    <a:solidFill>
                      <a:schemeClr val="bg1">
                        <a:alpha val="40000"/>
                      </a:schemeClr>
                    </a:solidFill>
                    <a:prstDash val="solid"/>
                    <a:miter/>
                  </a:ln>
                </p:spPr>
                <p:txBody>
                  <a:bodyPr rtlCol="0" anchor="ctr"/>
                  <a:lstStyle/>
                  <a:p>
                    <a:endParaRPr lang="en-GB"/>
                  </a:p>
                </p:txBody>
              </p:sp>
              <p:sp>
                <p:nvSpPr>
                  <p:cNvPr id="8387" name="Vrije vorm: vorm 8386">
                    <a:extLst>
                      <a:ext uri="{FF2B5EF4-FFF2-40B4-BE49-F238E27FC236}">
                        <a16:creationId xmlns:a16="http://schemas.microsoft.com/office/drawing/2014/main" id="{D9035FA7-673E-40E1-B3D9-9F51C72AC615}"/>
                      </a:ext>
                    </a:extLst>
                  </p:cNvPr>
                  <p:cNvSpPr/>
                  <p:nvPr/>
                </p:nvSpPr>
                <p:spPr>
                  <a:xfrm>
                    <a:off x="4706907" y="4663029"/>
                    <a:ext cx="34927" cy="29305"/>
                  </a:xfrm>
                  <a:custGeom>
                    <a:avLst/>
                    <a:gdLst>
                      <a:gd name="connsiteX0" fmla="*/ 34928 w 34927"/>
                      <a:gd name="connsiteY0" fmla="*/ 0 h 29305"/>
                      <a:gd name="connsiteX1" fmla="*/ 0 w 34927"/>
                      <a:gd name="connsiteY1" fmla="*/ 29305 h 29305"/>
                    </a:gdLst>
                    <a:ahLst/>
                    <a:cxnLst>
                      <a:cxn ang="0">
                        <a:pos x="connsiteX0" y="connsiteY0"/>
                      </a:cxn>
                      <a:cxn ang="0">
                        <a:pos x="connsiteX1" y="connsiteY1"/>
                      </a:cxn>
                    </a:cxnLst>
                    <a:rect l="l" t="t" r="r" b="b"/>
                    <a:pathLst>
                      <a:path w="34927" h="29305">
                        <a:moveTo>
                          <a:pt x="34928" y="0"/>
                        </a:moveTo>
                        <a:cubicBezTo>
                          <a:pt x="23205" y="9868"/>
                          <a:pt x="11543" y="19617"/>
                          <a:pt x="0" y="29305"/>
                        </a:cubicBezTo>
                      </a:path>
                    </a:pathLst>
                  </a:custGeom>
                  <a:noFill/>
                  <a:ln w="6350" cap="rnd">
                    <a:solidFill>
                      <a:schemeClr val="bg1">
                        <a:alpha val="40000"/>
                      </a:schemeClr>
                    </a:solidFill>
                    <a:prstDash val="solid"/>
                    <a:miter/>
                  </a:ln>
                </p:spPr>
                <p:txBody>
                  <a:bodyPr rtlCol="0" anchor="ctr"/>
                  <a:lstStyle/>
                  <a:p>
                    <a:endParaRPr lang="en-GB"/>
                  </a:p>
                </p:txBody>
              </p:sp>
              <p:sp>
                <p:nvSpPr>
                  <p:cNvPr id="8388" name="Vrije vorm: vorm 8387">
                    <a:extLst>
                      <a:ext uri="{FF2B5EF4-FFF2-40B4-BE49-F238E27FC236}">
                        <a16:creationId xmlns:a16="http://schemas.microsoft.com/office/drawing/2014/main" id="{AF20E003-12EF-44BD-8AF3-D134E1A1F068}"/>
                      </a:ext>
                    </a:extLst>
                  </p:cNvPr>
                  <p:cNvSpPr/>
                  <p:nvPr/>
                </p:nvSpPr>
                <p:spPr>
                  <a:xfrm>
                    <a:off x="4696501" y="4655852"/>
                    <a:ext cx="36362" cy="30381"/>
                  </a:xfrm>
                  <a:custGeom>
                    <a:avLst/>
                    <a:gdLst>
                      <a:gd name="connsiteX0" fmla="*/ 36363 w 36362"/>
                      <a:gd name="connsiteY0" fmla="*/ 0 h 30381"/>
                      <a:gd name="connsiteX1" fmla="*/ 0 w 36362"/>
                      <a:gd name="connsiteY1" fmla="*/ 30382 h 30381"/>
                    </a:gdLst>
                    <a:ahLst/>
                    <a:cxnLst>
                      <a:cxn ang="0">
                        <a:pos x="connsiteX0" y="connsiteY0"/>
                      </a:cxn>
                      <a:cxn ang="0">
                        <a:pos x="connsiteX1" y="connsiteY1"/>
                      </a:cxn>
                    </a:cxnLst>
                    <a:rect l="l" t="t" r="r" b="b"/>
                    <a:pathLst>
                      <a:path w="36362" h="30381">
                        <a:moveTo>
                          <a:pt x="36363" y="0"/>
                        </a:moveTo>
                        <a:cubicBezTo>
                          <a:pt x="24162" y="10227"/>
                          <a:pt x="12021" y="20334"/>
                          <a:pt x="0" y="30382"/>
                        </a:cubicBezTo>
                      </a:path>
                    </a:pathLst>
                  </a:custGeom>
                  <a:noFill/>
                  <a:ln w="6350" cap="rnd">
                    <a:solidFill>
                      <a:schemeClr val="bg1">
                        <a:alpha val="40000"/>
                      </a:schemeClr>
                    </a:solidFill>
                    <a:prstDash val="solid"/>
                    <a:miter/>
                  </a:ln>
                </p:spPr>
                <p:txBody>
                  <a:bodyPr rtlCol="0" anchor="ctr"/>
                  <a:lstStyle/>
                  <a:p>
                    <a:endParaRPr lang="en-GB"/>
                  </a:p>
                </p:txBody>
              </p:sp>
              <p:sp>
                <p:nvSpPr>
                  <p:cNvPr id="8389" name="Vrije vorm: vorm 8388">
                    <a:extLst>
                      <a:ext uri="{FF2B5EF4-FFF2-40B4-BE49-F238E27FC236}">
                        <a16:creationId xmlns:a16="http://schemas.microsoft.com/office/drawing/2014/main" id="{4666E7A0-1503-4FE0-862C-8F2B4FFBE20A}"/>
                      </a:ext>
                    </a:extLst>
                  </p:cNvPr>
                  <p:cNvSpPr/>
                  <p:nvPr/>
                </p:nvSpPr>
                <p:spPr>
                  <a:xfrm>
                    <a:off x="4646384" y="4648735"/>
                    <a:ext cx="77508" cy="53269"/>
                  </a:xfrm>
                  <a:custGeom>
                    <a:avLst/>
                    <a:gdLst>
                      <a:gd name="connsiteX0" fmla="*/ 77509 w 77508"/>
                      <a:gd name="connsiteY0" fmla="*/ 0 h 53269"/>
                      <a:gd name="connsiteX1" fmla="*/ 39771 w 77508"/>
                      <a:gd name="connsiteY1" fmla="*/ 31518 h 53269"/>
                    </a:gdLst>
                    <a:ahLst/>
                    <a:cxnLst>
                      <a:cxn ang="0">
                        <a:pos x="connsiteX0" y="connsiteY0"/>
                      </a:cxn>
                      <a:cxn ang="0">
                        <a:pos x="connsiteX1" y="connsiteY1"/>
                      </a:cxn>
                    </a:cxnLst>
                    <a:rect l="l" t="t" r="r" b="b"/>
                    <a:pathLst>
                      <a:path w="77508" h="53269">
                        <a:moveTo>
                          <a:pt x="77509" y="0"/>
                        </a:moveTo>
                        <a:cubicBezTo>
                          <a:pt x="-34510" y="73802"/>
                          <a:pt x="-4487" y="57176"/>
                          <a:pt x="39771" y="31518"/>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72" name="Graphic 3">
                  <a:extLst>
                    <a:ext uri="{FF2B5EF4-FFF2-40B4-BE49-F238E27FC236}">
                      <a16:creationId xmlns:a16="http://schemas.microsoft.com/office/drawing/2014/main" id="{A377596F-F624-4333-AE3D-404D769A0441}"/>
                    </a:ext>
                  </a:extLst>
                </p:cNvPr>
                <p:cNvGrpSpPr/>
                <p:nvPr/>
              </p:nvGrpSpPr>
              <p:grpSpPr>
                <a:xfrm>
                  <a:off x="4433768" y="4333551"/>
                  <a:ext cx="44137" cy="111899"/>
                  <a:chOff x="4433768" y="4333551"/>
                  <a:chExt cx="44137" cy="111899"/>
                </a:xfrm>
                <a:noFill/>
              </p:grpSpPr>
              <p:sp>
                <p:nvSpPr>
                  <p:cNvPr id="8377" name="Vrije vorm: vorm 8376">
                    <a:extLst>
                      <a:ext uri="{FF2B5EF4-FFF2-40B4-BE49-F238E27FC236}">
                        <a16:creationId xmlns:a16="http://schemas.microsoft.com/office/drawing/2014/main" id="{ADA95247-EDFA-4C0D-B1A6-A02C56EAED69}"/>
                      </a:ext>
                    </a:extLst>
                  </p:cNvPr>
                  <p:cNvSpPr/>
                  <p:nvPr/>
                </p:nvSpPr>
                <p:spPr>
                  <a:xfrm>
                    <a:off x="4433768" y="4426073"/>
                    <a:ext cx="25178" cy="19377"/>
                  </a:xfrm>
                  <a:custGeom>
                    <a:avLst/>
                    <a:gdLst>
                      <a:gd name="connsiteX0" fmla="*/ 25179 w 25178"/>
                      <a:gd name="connsiteY0" fmla="*/ 0 h 19377"/>
                      <a:gd name="connsiteX1" fmla="*/ 0 w 25178"/>
                      <a:gd name="connsiteY1" fmla="*/ 19378 h 19377"/>
                    </a:gdLst>
                    <a:ahLst/>
                    <a:cxnLst>
                      <a:cxn ang="0">
                        <a:pos x="connsiteX0" y="connsiteY0"/>
                      </a:cxn>
                      <a:cxn ang="0">
                        <a:pos x="connsiteX1" y="connsiteY1"/>
                      </a:cxn>
                    </a:cxnLst>
                    <a:rect l="l" t="t" r="r" b="b"/>
                    <a:pathLst>
                      <a:path w="25178" h="19377">
                        <a:moveTo>
                          <a:pt x="25179" y="0"/>
                        </a:moveTo>
                        <a:cubicBezTo>
                          <a:pt x="16746" y="6519"/>
                          <a:pt x="8313" y="12978"/>
                          <a:pt x="0" y="19378"/>
                        </a:cubicBezTo>
                      </a:path>
                    </a:pathLst>
                  </a:custGeom>
                  <a:noFill/>
                  <a:ln w="6350" cap="rnd">
                    <a:solidFill>
                      <a:schemeClr val="bg1">
                        <a:alpha val="40000"/>
                      </a:schemeClr>
                    </a:solidFill>
                    <a:prstDash val="solid"/>
                    <a:miter/>
                  </a:ln>
                </p:spPr>
                <p:txBody>
                  <a:bodyPr rtlCol="0" anchor="ctr"/>
                  <a:lstStyle/>
                  <a:p>
                    <a:endParaRPr lang="en-GB"/>
                  </a:p>
                </p:txBody>
              </p:sp>
              <p:sp>
                <p:nvSpPr>
                  <p:cNvPr id="8378" name="Vrije vorm: vorm 8377">
                    <a:extLst>
                      <a:ext uri="{FF2B5EF4-FFF2-40B4-BE49-F238E27FC236}">
                        <a16:creationId xmlns:a16="http://schemas.microsoft.com/office/drawing/2014/main" id="{575E0A0C-4D06-459B-B7F2-B7060B7B0115}"/>
                      </a:ext>
                    </a:extLst>
                  </p:cNvPr>
                  <p:cNvSpPr/>
                  <p:nvPr/>
                </p:nvSpPr>
                <p:spPr>
                  <a:xfrm>
                    <a:off x="4437236" y="4412975"/>
                    <a:ext cx="24162" cy="18540"/>
                  </a:xfrm>
                  <a:custGeom>
                    <a:avLst/>
                    <a:gdLst>
                      <a:gd name="connsiteX0" fmla="*/ 24162 w 24162"/>
                      <a:gd name="connsiteY0" fmla="*/ 0 h 18540"/>
                      <a:gd name="connsiteX1" fmla="*/ 0 w 24162"/>
                      <a:gd name="connsiteY1" fmla="*/ 18540 h 18540"/>
                    </a:gdLst>
                    <a:ahLst/>
                    <a:cxnLst>
                      <a:cxn ang="0">
                        <a:pos x="connsiteX0" y="connsiteY0"/>
                      </a:cxn>
                      <a:cxn ang="0">
                        <a:pos x="connsiteX1" y="connsiteY1"/>
                      </a:cxn>
                    </a:cxnLst>
                    <a:rect l="l" t="t" r="r" b="b"/>
                    <a:pathLst>
                      <a:path w="24162" h="18540">
                        <a:moveTo>
                          <a:pt x="24162" y="0"/>
                        </a:moveTo>
                        <a:cubicBezTo>
                          <a:pt x="16088" y="6220"/>
                          <a:pt x="8014" y="12380"/>
                          <a:pt x="0" y="18540"/>
                        </a:cubicBezTo>
                      </a:path>
                    </a:pathLst>
                  </a:custGeom>
                  <a:noFill/>
                  <a:ln w="6350" cap="rnd">
                    <a:solidFill>
                      <a:schemeClr val="bg1">
                        <a:alpha val="40000"/>
                      </a:schemeClr>
                    </a:solidFill>
                    <a:prstDash val="solid"/>
                    <a:miter/>
                  </a:ln>
                </p:spPr>
                <p:txBody>
                  <a:bodyPr rtlCol="0" anchor="ctr"/>
                  <a:lstStyle/>
                  <a:p>
                    <a:endParaRPr lang="en-GB"/>
                  </a:p>
                </p:txBody>
              </p:sp>
              <p:sp>
                <p:nvSpPr>
                  <p:cNvPr id="8379" name="Vrije vorm: vorm 8378">
                    <a:extLst>
                      <a:ext uri="{FF2B5EF4-FFF2-40B4-BE49-F238E27FC236}">
                        <a16:creationId xmlns:a16="http://schemas.microsoft.com/office/drawing/2014/main" id="{95D113EE-C8C6-498B-B38C-837D37FF6C14}"/>
                      </a:ext>
                    </a:extLst>
                  </p:cNvPr>
                  <p:cNvSpPr/>
                  <p:nvPr/>
                </p:nvSpPr>
                <p:spPr>
                  <a:xfrm>
                    <a:off x="4440825" y="4399818"/>
                    <a:ext cx="23085" cy="17702"/>
                  </a:xfrm>
                  <a:custGeom>
                    <a:avLst/>
                    <a:gdLst>
                      <a:gd name="connsiteX0" fmla="*/ 23086 w 23085"/>
                      <a:gd name="connsiteY0" fmla="*/ 0 h 17702"/>
                      <a:gd name="connsiteX1" fmla="*/ 0 w 23085"/>
                      <a:gd name="connsiteY1" fmla="*/ 17703 h 17702"/>
                    </a:gdLst>
                    <a:ahLst/>
                    <a:cxnLst>
                      <a:cxn ang="0">
                        <a:pos x="connsiteX0" y="connsiteY0"/>
                      </a:cxn>
                      <a:cxn ang="0">
                        <a:pos x="connsiteX1" y="connsiteY1"/>
                      </a:cxn>
                    </a:cxnLst>
                    <a:rect l="l" t="t" r="r" b="b"/>
                    <a:pathLst>
                      <a:path w="23085" h="17702">
                        <a:moveTo>
                          <a:pt x="23086" y="0"/>
                        </a:moveTo>
                        <a:cubicBezTo>
                          <a:pt x="15371" y="5921"/>
                          <a:pt x="7655" y="11842"/>
                          <a:pt x="0" y="17703"/>
                        </a:cubicBezTo>
                      </a:path>
                    </a:pathLst>
                  </a:custGeom>
                  <a:noFill/>
                  <a:ln w="6350" cap="rnd">
                    <a:solidFill>
                      <a:schemeClr val="bg1">
                        <a:alpha val="40000"/>
                      </a:schemeClr>
                    </a:solidFill>
                    <a:prstDash val="solid"/>
                    <a:miter/>
                  </a:ln>
                </p:spPr>
                <p:txBody>
                  <a:bodyPr rtlCol="0" anchor="ctr"/>
                  <a:lstStyle/>
                  <a:p>
                    <a:endParaRPr lang="en-GB"/>
                  </a:p>
                </p:txBody>
              </p:sp>
              <p:sp>
                <p:nvSpPr>
                  <p:cNvPr id="8380" name="Vrije vorm: vorm 8379">
                    <a:extLst>
                      <a:ext uri="{FF2B5EF4-FFF2-40B4-BE49-F238E27FC236}">
                        <a16:creationId xmlns:a16="http://schemas.microsoft.com/office/drawing/2014/main" id="{8B75F2CB-422F-4C7E-A83E-3809178B2DA2}"/>
                      </a:ext>
                    </a:extLst>
                  </p:cNvPr>
                  <p:cNvSpPr/>
                  <p:nvPr/>
                </p:nvSpPr>
                <p:spPr>
                  <a:xfrm>
                    <a:off x="4444593" y="4386660"/>
                    <a:ext cx="21949" cy="16805"/>
                  </a:xfrm>
                  <a:custGeom>
                    <a:avLst/>
                    <a:gdLst>
                      <a:gd name="connsiteX0" fmla="*/ 21949 w 21949"/>
                      <a:gd name="connsiteY0" fmla="*/ 0 h 16805"/>
                      <a:gd name="connsiteX1" fmla="*/ 0 w 21949"/>
                      <a:gd name="connsiteY1" fmla="*/ 16806 h 16805"/>
                    </a:gdLst>
                    <a:ahLst/>
                    <a:cxnLst>
                      <a:cxn ang="0">
                        <a:pos x="connsiteX0" y="connsiteY0"/>
                      </a:cxn>
                      <a:cxn ang="0">
                        <a:pos x="connsiteX1" y="connsiteY1"/>
                      </a:cxn>
                    </a:cxnLst>
                    <a:rect l="l" t="t" r="r" b="b"/>
                    <a:pathLst>
                      <a:path w="21949" h="16805">
                        <a:moveTo>
                          <a:pt x="21949" y="0"/>
                        </a:moveTo>
                        <a:cubicBezTo>
                          <a:pt x="14593" y="5622"/>
                          <a:pt x="7236" y="11244"/>
                          <a:pt x="0" y="16806"/>
                        </a:cubicBezTo>
                      </a:path>
                    </a:pathLst>
                  </a:custGeom>
                  <a:noFill/>
                  <a:ln w="6350" cap="rnd">
                    <a:solidFill>
                      <a:schemeClr val="bg1">
                        <a:alpha val="40000"/>
                      </a:schemeClr>
                    </a:solidFill>
                    <a:prstDash val="solid"/>
                    <a:miter/>
                  </a:ln>
                </p:spPr>
                <p:txBody>
                  <a:bodyPr rtlCol="0" anchor="ctr"/>
                  <a:lstStyle/>
                  <a:p>
                    <a:endParaRPr lang="en-GB"/>
                  </a:p>
                </p:txBody>
              </p:sp>
              <p:sp>
                <p:nvSpPr>
                  <p:cNvPr id="8381" name="Vrije vorm: vorm 8380">
                    <a:extLst>
                      <a:ext uri="{FF2B5EF4-FFF2-40B4-BE49-F238E27FC236}">
                        <a16:creationId xmlns:a16="http://schemas.microsoft.com/office/drawing/2014/main" id="{A2949981-8D5B-4594-BAB5-AA9750796C00}"/>
                      </a:ext>
                    </a:extLst>
                  </p:cNvPr>
                  <p:cNvSpPr/>
                  <p:nvPr/>
                </p:nvSpPr>
                <p:spPr>
                  <a:xfrm>
                    <a:off x="4448421" y="4373443"/>
                    <a:ext cx="20872" cy="15968"/>
                  </a:xfrm>
                  <a:custGeom>
                    <a:avLst/>
                    <a:gdLst>
                      <a:gd name="connsiteX0" fmla="*/ 20873 w 20872"/>
                      <a:gd name="connsiteY0" fmla="*/ 0 h 15968"/>
                      <a:gd name="connsiteX1" fmla="*/ 0 w 20872"/>
                      <a:gd name="connsiteY1" fmla="*/ 15969 h 15968"/>
                    </a:gdLst>
                    <a:ahLst/>
                    <a:cxnLst>
                      <a:cxn ang="0">
                        <a:pos x="connsiteX0" y="connsiteY0"/>
                      </a:cxn>
                      <a:cxn ang="0">
                        <a:pos x="connsiteX1" y="connsiteY1"/>
                      </a:cxn>
                    </a:cxnLst>
                    <a:rect l="l" t="t" r="r" b="b"/>
                    <a:pathLst>
                      <a:path w="20872" h="15968">
                        <a:moveTo>
                          <a:pt x="20873" y="0"/>
                        </a:moveTo>
                        <a:cubicBezTo>
                          <a:pt x="13875" y="5323"/>
                          <a:pt x="6937" y="10646"/>
                          <a:pt x="0" y="15969"/>
                        </a:cubicBezTo>
                      </a:path>
                    </a:pathLst>
                  </a:custGeom>
                  <a:noFill/>
                  <a:ln w="6350" cap="rnd">
                    <a:solidFill>
                      <a:schemeClr val="bg1">
                        <a:alpha val="40000"/>
                      </a:schemeClr>
                    </a:solidFill>
                    <a:prstDash val="solid"/>
                    <a:miter/>
                  </a:ln>
                </p:spPr>
                <p:txBody>
                  <a:bodyPr rtlCol="0" anchor="ctr"/>
                  <a:lstStyle/>
                  <a:p>
                    <a:endParaRPr lang="en-GB"/>
                  </a:p>
                </p:txBody>
              </p:sp>
              <p:sp>
                <p:nvSpPr>
                  <p:cNvPr id="8382" name="Vrije vorm: vorm 8381">
                    <a:extLst>
                      <a:ext uri="{FF2B5EF4-FFF2-40B4-BE49-F238E27FC236}">
                        <a16:creationId xmlns:a16="http://schemas.microsoft.com/office/drawing/2014/main" id="{4BC7A1CA-153F-4976-B181-4B9784AD1FCA}"/>
                      </a:ext>
                    </a:extLst>
                  </p:cNvPr>
                  <p:cNvSpPr/>
                  <p:nvPr/>
                </p:nvSpPr>
                <p:spPr>
                  <a:xfrm>
                    <a:off x="4452308" y="4360165"/>
                    <a:ext cx="19736" cy="15071"/>
                  </a:xfrm>
                  <a:custGeom>
                    <a:avLst/>
                    <a:gdLst>
                      <a:gd name="connsiteX0" fmla="*/ 19736 w 19736"/>
                      <a:gd name="connsiteY0" fmla="*/ 0 h 15071"/>
                      <a:gd name="connsiteX1" fmla="*/ 0 w 19736"/>
                      <a:gd name="connsiteY1" fmla="*/ 15071 h 15071"/>
                    </a:gdLst>
                    <a:ahLst/>
                    <a:cxnLst>
                      <a:cxn ang="0">
                        <a:pos x="connsiteX0" y="connsiteY0"/>
                      </a:cxn>
                      <a:cxn ang="0">
                        <a:pos x="connsiteX1" y="connsiteY1"/>
                      </a:cxn>
                    </a:cxnLst>
                    <a:rect l="l" t="t" r="r" b="b"/>
                    <a:pathLst>
                      <a:path w="19736" h="15071">
                        <a:moveTo>
                          <a:pt x="19736" y="0"/>
                        </a:moveTo>
                        <a:cubicBezTo>
                          <a:pt x="13158" y="5024"/>
                          <a:pt x="6579" y="10048"/>
                          <a:pt x="0" y="15071"/>
                        </a:cubicBezTo>
                      </a:path>
                    </a:pathLst>
                  </a:custGeom>
                  <a:noFill/>
                  <a:ln w="6350" cap="rnd">
                    <a:solidFill>
                      <a:schemeClr val="bg1">
                        <a:alpha val="40000"/>
                      </a:schemeClr>
                    </a:solidFill>
                    <a:prstDash val="solid"/>
                    <a:miter/>
                  </a:ln>
                </p:spPr>
                <p:txBody>
                  <a:bodyPr rtlCol="0" anchor="ctr"/>
                  <a:lstStyle/>
                  <a:p>
                    <a:endParaRPr lang="en-GB"/>
                  </a:p>
                </p:txBody>
              </p:sp>
              <p:sp>
                <p:nvSpPr>
                  <p:cNvPr id="8383" name="Vrije vorm: vorm 8382">
                    <a:extLst>
                      <a:ext uri="{FF2B5EF4-FFF2-40B4-BE49-F238E27FC236}">
                        <a16:creationId xmlns:a16="http://schemas.microsoft.com/office/drawing/2014/main" id="{0FF984DD-F217-46BD-808E-AF026FCD2602}"/>
                      </a:ext>
                    </a:extLst>
                  </p:cNvPr>
                  <p:cNvSpPr/>
                  <p:nvPr/>
                </p:nvSpPr>
                <p:spPr>
                  <a:xfrm>
                    <a:off x="4456315" y="4346888"/>
                    <a:ext cx="18600" cy="14114"/>
                  </a:xfrm>
                  <a:custGeom>
                    <a:avLst/>
                    <a:gdLst>
                      <a:gd name="connsiteX0" fmla="*/ 18600 w 18600"/>
                      <a:gd name="connsiteY0" fmla="*/ 0 h 14114"/>
                      <a:gd name="connsiteX1" fmla="*/ 0 w 18600"/>
                      <a:gd name="connsiteY1" fmla="*/ 14115 h 14114"/>
                    </a:gdLst>
                    <a:ahLst/>
                    <a:cxnLst>
                      <a:cxn ang="0">
                        <a:pos x="connsiteX0" y="connsiteY0"/>
                      </a:cxn>
                      <a:cxn ang="0">
                        <a:pos x="connsiteX1" y="connsiteY1"/>
                      </a:cxn>
                    </a:cxnLst>
                    <a:rect l="l" t="t" r="r" b="b"/>
                    <a:pathLst>
                      <a:path w="18600" h="14114">
                        <a:moveTo>
                          <a:pt x="18600" y="0"/>
                        </a:moveTo>
                        <a:cubicBezTo>
                          <a:pt x="12380" y="4725"/>
                          <a:pt x="6220" y="9450"/>
                          <a:pt x="0" y="14115"/>
                        </a:cubicBezTo>
                      </a:path>
                    </a:pathLst>
                  </a:custGeom>
                  <a:noFill/>
                  <a:ln w="6350" cap="rnd">
                    <a:solidFill>
                      <a:schemeClr val="bg1">
                        <a:alpha val="40000"/>
                      </a:schemeClr>
                    </a:solidFill>
                    <a:prstDash val="solid"/>
                    <a:miter/>
                  </a:ln>
                </p:spPr>
                <p:txBody>
                  <a:bodyPr rtlCol="0" anchor="ctr"/>
                  <a:lstStyle/>
                  <a:p>
                    <a:endParaRPr lang="en-GB"/>
                  </a:p>
                </p:txBody>
              </p:sp>
              <p:sp>
                <p:nvSpPr>
                  <p:cNvPr id="8384" name="Vrije vorm: vorm 8383">
                    <a:extLst>
                      <a:ext uri="{FF2B5EF4-FFF2-40B4-BE49-F238E27FC236}">
                        <a16:creationId xmlns:a16="http://schemas.microsoft.com/office/drawing/2014/main" id="{6A9EFB91-E18B-4EDC-915F-A11B0ADE041E}"/>
                      </a:ext>
                    </a:extLst>
                  </p:cNvPr>
                  <p:cNvSpPr/>
                  <p:nvPr/>
                </p:nvSpPr>
                <p:spPr>
                  <a:xfrm>
                    <a:off x="4460502" y="4333551"/>
                    <a:ext cx="17404" cy="13217"/>
                  </a:xfrm>
                  <a:custGeom>
                    <a:avLst/>
                    <a:gdLst>
                      <a:gd name="connsiteX0" fmla="*/ 17404 w 17404"/>
                      <a:gd name="connsiteY0" fmla="*/ 0 h 13217"/>
                      <a:gd name="connsiteX1" fmla="*/ 0 w 17404"/>
                      <a:gd name="connsiteY1" fmla="*/ 13218 h 13217"/>
                    </a:gdLst>
                    <a:ahLst/>
                    <a:cxnLst>
                      <a:cxn ang="0">
                        <a:pos x="connsiteX0" y="connsiteY0"/>
                      </a:cxn>
                      <a:cxn ang="0">
                        <a:pos x="connsiteX1" y="connsiteY1"/>
                      </a:cxn>
                    </a:cxnLst>
                    <a:rect l="l" t="t" r="r" b="b"/>
                    <a:pathLst>
                      <a:path w="17404" h="13217">
                        <a:moveTo>
                          <a:pt x="17404" y="0"/>
                        </a:moveTo>
                        <a:cubicBezTo>
                          <a:pt x="11603" y="4426"/>
                          <a:pt x="5801" y="8851"/>
                          <a:pt x="0" y="13218"/>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73" name="Graphic 3">
                  <a:extLst>
                    <a:ext uri="{FF2B5EF4-FFF2-40B4-BE49-F238E27FC236}">
                      <a16:creationId xmlns:a16="http://schemas.microsoft.com/office/drawing/2014/main" id="{9C24E407-6143-4133-B11D-FC4B1617215F}"/>
                    </a:ext>
                  </a:extLst>
                </p:cNvPr>
                <p:cNvGrpSpPr/>
                <p:nvPr/>
              </p:nvGrpSpPr>
              <p:grpSpPr>
                <a:xfrm>
                  <a:off x="4480537" y="4306219"/>
                  <a:ext cx="33252" cy="103227"/>
                  <a:chOff x="4480537" y="4306219"/>
                  <a:chExt cx="33252" cy="103227"/>
                </a:xfrm>
                <a:noFill/>
              </p:grpSpPr>
              <p:sp>
                <p:nvSpPr>
                  <p:cNvPr id="8369" name="Vrije vorm: vorm 8368">
                    <a:extLst>
                      <a:ext uri="{FF2B5EF4-FFF2-40B4-BE49-F238E27FC236}">
                        <a16:creationId xmlns:a16="http://schemas.microsoft.com/office/drawing/2014/main" id="{284DCCCF-D3EF-4FFC-834C-E089950039A1}"/>
                      </a:ext>
                    </a:extLst>
                  </p:cNvPr>
                  <p:cNvSpPr/>
                  <p:nvPr/>
                </p:nvSpPr>
                <p:spPr>
                  <a:xfrm>
                    <a:off x="4480537" y="4389411"/>
                    <a:ext cx="25956" cy="20035"/>
                  </a:xfrm>
                  <a:custGeom>
                    <a:avLst/>
                    <a:gdLst>
                      <a:gd name="connsiteX0" fmla="*/ 25956 w 25956"/>
                      <a:gd name="connsiteY0" fmla="*/ 0 h 20035"/>
                      <a:gd name="connsiteX1" fmla="*/ 0 w 25956"/>
                      <a:gd name="connsiteY1" fmla="*/ 20035 h 20035"/>
                    </a:gdLst>
                    <a:ahLst/>
                    <a:cxnLst>
                      <a:cxn ang="0">
                        <a:pos x="connsiteX0" y="connsiteY0"/>
                      </a:cxn>
                      <a:cxn ang="0">
                        <a:pos x="connsiteX1" y="connsiteY1"/>
                      </a:cxn>
                    </a:cxnLst>
                    <a:rect l="l" t="t" r="r" b="b"/>
                    <a:pathLst>
                      <a:path w="25956" h="20035">
                        <a:moveTo>
                          <a:pt x="25956" y="0"/>
                        </a:moveTo>
                        <a:cubicBezTo>
                          <a:pt x="17225" y="6698"/>
                          <a:pt x="8612" y="13397"/>
                          <a:pt x="0" y="20035"/>
                        </a:cubicBezTo>
                      </a:path>
                    </a:pathLst>
                  </a:custGeom>
                  <a:noFill/>
                  <a:ln w="6350" cap="rnd">
                    <a:solidFill>
                      <a:schemeClr val="bg1">
                        <a:alpha val="40000"/>
                      </a:schemeClr>
                    </a:solidFill>
                    <a:prstDash val="solid"/>
                    <a:miter/>
                  </a:ln>
                </p:spPr>
                <p:txBody>
                  <a:bodyPr rtlCol="0" anchor="ctr"/>
                  <a:lstStyle/>
                  <a:p>
                    <a:endParaRPr lang="en-GB"/>
                  </a:p>
                </p:txBody>
              </p:sp>
              <p:sp>
                <p:nvSpPr>
                  <p:cNvPr id="8370" name="Vrije vorm: vorm 8369">
                    <a:extLst>
                      <a:ext uri="{FF2B5EF4-FFF2-40B4-BE49-F238E27FC236}">
                        <a16:creationId xmlns:a16="http://schemas.microsoft.com/office/drawing/2014/main" id="{AB0FB5A3-51A6-474F-A8B5-132CCBE18650}"/>
                      </a:ext>
                    </a:extLst>
                  </p:cNvPr>
                  <p:cNvSpPr/>
                  <p:nvPr/>
                </p:nvSpPr>
                <p:spPr>
                  <a:xfrm>
                    <a:off x="4482570" y="4377629"/>
                    <a:ext cx="24820" cy="19078"/>
                  </a:xfrm>
                  <a:custGeom>
                    <a:avLst/>
                    <a:gdLst>
                      <a:gd name="connsiteX0" fmla="*/ 24820 w 24820"/>
                      <a:gd name="connsiteY0" fmla="*/ 0 h 19078"/>
                      <a:gd name="connsiteX1" fmla="*/ 0 w 24820"/>
                      <a:gd name="connsiteY1" fmla="*/ 19079 h 19078"/>
                    </a:gdLst>
                    <a:ahLst/>
                    <a:cxnLst>
                      <a:cxn ang="0">
                        <a:pos x="connsiteX0" y="connsiteY0"/>
                      </a:cxn>
                      <a:cxn ang="0">
                        <a:pos x="connsiteX1" y="connsiteY1"/>
                      </a:cxn>
                    </a:cxnLst>
                    <a:rect l="l" t="t" r="r" b="b"/>
                    <a:pathLst>
                      <a:path w="24820" h="19078">
                        <a:moveTo>
                          <a:pt x="24820" y="0"/>
                        </a:moveTo>
                        <a:cubicBezTo>
                          <a:pt x="16507" y="6399"/>
                          <a:pt x="8253" y="12739"/>
                          <a:pt x="0" y="19079"/>
                        </a:cubicBezTo>
                      </a:path>
                    </a:pathLst>
                  </a:custGeom>
                  <a:noFill/>
                  <a:ln w="6350" cap="rnd">
                    <a:solidFill>
                      <a:schemeClr val="bg1">
                        <a:alpha val="40000"/>
                      </a:schemeClr>
                    </a:solidFill>
                    <a:prstDash val="solid"/>
                    <a:miter/>
                  </a:ln>
                </p:spPr>
                <p:txBody>
                  <a:bodyPr rtlCol="0" anchor="ctr"/>
                  <a:lstStyle/>
                  <a:p>
                    <a:endParaRPr lang="en-GB"/>
                  </a:p>
                </p:txBody>
              </p:sp>
              <p:sp>
                <p:nvSpPr>
                  <p:cNvPr id="8371" name="Vrije vorm: vorm 8370">
                    <a:extLst>
                      <a:ext uri="{FF2B5EF4-FFF2-40B4-BE49-F238E27FC236}">
                        <a16:creationId xmlns:a16="http://schemas.microsoft.com/office/drawing/2014/main" id="{A5462A15-7510-4674-B6B1-73B78513E2F8}"/>
                      </a:ext>
                    </a:extLst>
                  </p:cNvPr>
                  <p:cNvSpPr/>
                  <p:nvPr/>
                </p:nvSpPr>
                <p:spPr>
                  <a:xfrm>
                    <a:off x="4484664" y="4365787"/>
                    <a:ext cx="23683" cy="18181"/>
                  </a:xfrm>
                  <a:custGeom>
                    <a:avLst/>
                    <a:gdLst>
                      <a:gd name="connsiteX0" fmla="*/ 23683 w 23683"/>
                      <a:gd name="connsiteY0" fmla="*/ 0 h 18181"/>
                      <a:gd name="connsiteX1" fmla="*/ 0 w 23683"/>
                      <a:gd name="connsiteY1" fmla="*/ 18181 h 18181"/>
                    </a:gdLst>
                    <a:ahLst/>
                    <a:cxnLst>
                      <a:cxn ang="0">
                        <a:pos x="connsiteX0" y="connsiteY0"/>
                      </a:cxn>
                      <a:cxn ang="0">
                        <a:pos x="connsiteX1" y="connsiteY1"/>
                      </a:cxn>
                    </a:cxnLst>
                    <a:rect l="l" t="t" r="r" b="b"/>
                    <a:pathLst>
                      <a:path w="23683" h="18181">
                        <a:moveTo>
                          <a:pt x="23683" y="0"/>
                        </a:moveTo>
                        <a:cubicBezTo>
                          <a:pt x="15789" y="6100"/>
                          <a:pt x="7894" y="12141"/>
                          <a:pt x="0" y="18181"/>
                        </a:cubicBezTo>
                      </a:path>
                    </a:pathLst>
                  </a:custGeom>
                  <a:noFill/>
                  <a:ln w="6350" cap="rnd">
                    <a:solidFill>
                      <a:schemeClr val="bg1">
                        <a:alpha val="40000"/>
                      </a:schemeClr>
                    </a:solidFill>
                    <a:prstDash val="solid"/>
                    <a:miter/>
                  </a:ln>
                </p:spPr>
                <p:txBody>
                  <a:bodyPr rtlCol="0" anchor="ctr"/>
                  <a:lstStyle/>
                  <a:p>
                    <a:endParaRPr lang="en-GB"/>
                  </a:p>
                </p:txBody>
              </p:sp>
              <p:sp>
                <p:nvSpPr>
                  <p:cNvPr id="8372" name="Vrije vorm: vorm 8371">
                    <a:extLst>
                      <a:ext uri="{FF2B5EF4-FFF2-40B4-BE49-F238E27FC236}">
                        <a16:creationId xmlns:a16="http://schemas.microsoft.com/office/drawing/2014/main" id="{3CE6D766-CA58-4109-AA83-6AAD9ED0EE16}"/>
                      </a:ext>
                    </a:extLst>
                  </p:cNvPr>
                  <p:cNvSpPr/>
                  <p:nvPr/>
                </p:nvSpPr>
                <p:spPr>
                  <a:xfrm>
                    <a:off x="4486817" y="4353945"/>
                    <a:ext cx="22487" cy="17224"/>
                  </a:xfrm>
                  <a:custGeom>
                    <a:avLst/>
                    <a:gdLst>
                      <a:gd name="connsiteX0" fmla="*/ 22488 w 22487"/>
                      <a:gd name="connsiteY0" fmla="*/ 0 h 17224"/>
                      <a:gd name="connsiteX1" fmla="*/ 0 w 22487"/>
                      <a:gd name="connsiteY1" fmla="*/ 17225 h 17224"/>
                    </a:gdLst>
                    <a:ahLst/>
                    <a:cxnLst>
                      <a:cxn ang="0">
                        <a:pos x="connsiteX0" y="connsiteY0"/>
                      </a:cxn>
                      <a:cxn ang="0">
                        <a:pos x="connsiteX1" y="connsiteY1"/>
                      </a:cxn>
                    </a:cxnLst>
                    <a:rect l="l" t="t" r="r" b="b"/>
                    <a:pathLst>
                      <a:path w="22487" h="17224">
                        <a:moveTo>
                          <a:pt x="22488" y="0"/>
                        </a:moveTo>
                        <a:cubicBezTo>
                          <a:pt x="14952" y="5742"/>
                          <a:pt x="7476" y="11543"/>
                          <a:pt x="0" y="17225"/>
                        </a:cubicBezTo>
                      </a:path>
                    </a:pathLst>
                  </a:custGeom>
                  <a:noFill/>
                  <a:ln w="6350" cap="rnd">
                    <a:solidFill>
                      <a:schemeClr val="bg1">
                        <a:alpha val="40000"/>
                      </a:schemeClr>
                    </a:solidFill>
                    <a:prstDash val="solid"/>
                    <a:miter/>
                  </a:ln>
                </p:spPr>
                <p:txBody>
                  <a:bodyPr rtlCol="0" anchor="ctr"/>
                  <a:lstStyle/>
                  <a:p>
                    <a:endParaRPr lang="en-GB"/>
                  </a:p>
                </p:txBody>
              </p:sp>
              <p:sp>
                <p:nvSpPr>
                  <p:cNvPr id="8373" name="Vrije vorm: vorm 8372">
                    <a:extLst>
                      <a:ext uri="{FF2B5EF4-FFF2-40B4-BE49-F238E27FC236}">
                        <a16:creationId xmlns:a16="http://schemas.microsoft.com/office/drawing/2014/main" id="{04284FB2-CFAE-4BCC-8F29-FCEE122253A9}"/>
                      </a:ext>
                    </a:extLst>
                  </p:cNvPr>
                  <p:cNvSpPr/>
                  <p:nvPr/>
                </p:nvSpPr>
                <p:spPr>
                  <a:xfrm>
                    <a:off x="4489030" y="4342044"/>
                    <a:ext cx="21291" cy="16267"/>
                  </a:xfrm>
                  <a:custGeom>
                    <a:avLst/>
                    <a:gdLst>
                      <a:gd name="connsiteX0" fmla="*/ 21291 w 21291"/>
                      <a:gd name="connsiteY0" fmla="*/ 0 h 16267"/>
                      <a:gd name="connsiteX1" fmla="*/ 0 w 21291"/>
                      <a:gd name="connsiteY1" fmla="*/ 16268 h 16267"/>
                    </a:gdLst>
                    <a:ahLst/>
                    <a:cxnLst>
                      <a:cxn ang="0">
                        <a:pos x="connsiteX0" y="connsiteY0"/>
                      </a:cxn>
                      <a:cxn ang="0">
                        <a:pos x="connsiteX1" y="connsiteY1"/>
                      </a:cxn>
                    </a:cxnLst>
                    <a:rect l="l" t="t" r="r" b="b"/>
                    <a:pathLst>
                      <a:path w="21291" h="16267">
                        <a:moveTo>
                          <a:pt x="21291" y="0"/>
                        </a:moveTo>
                        <a:cubicBezTo>
                          <a:pt x="14174" y="5443"/>
                          <a:pt x="7057" y="10885"/>
                          <a:pt x="0" y="16268"/>
                        </a:cubicBezTo>
                      </a:path>
                    </a:pathLst>
                  </a:custGeom>
                  <a:noFill/>
                  <a:ln w="6350" cap="rnd">
                    <a:solidFill>
                      <a:schemeClr val="bg1">
                        <a:alpha val="40000"/>
                      </a:schemeClr>
                    </a:solidFill>
                    <a:prstDash val="solid"/>
                    <a:miter/>
                  </a:ln>
                </p:spPr>
                <p:txBody>
                  <a:bodyPr rtlCol="0" anchor="ctr"/>
                  <a:lstStyle/>
                  <a:p>
                    <a:endParaRPr lang="en-GB"/>
                  </a:p>
                </p:txBody>
              </p:sp>
              <p:sp>
                <p:nvSpPr>
                  <p:cNvPr id="8374" name="Vrije vorm: vorm 8373">
                    <a:extLst>
                      <a:ext uri="{FF2B5EF4-FFF2-40B4-BE49-F238E27FC236}">
                        <a16:creationId xmlns:a16="http://schemas.microsoft.com/office/drawing/2014/main" id="{72234625-2727-4462-A8A4-7DBEF1C09A57}"/>
                      </a:ext>
                    </a:extLst>
                  </p:cNvPr>
                  <p:cNvSpPr/>
                  <p:nvPr/>
                </p:nvSpPr>
                <p:spPr>
                  <a:xfrm>
                    <a:off x="4491362" y="4330142"/>
                    <a:ext cx="20095" cy="15310"/>
                  </a:xfrm>
                  <a:custGeom>
                    <a:avLst/>
                    <a:gdLst>
                      <a:gd name="connsiteX0" fmla="*/ 20095 w 20095"/>
                      <a:gd name="connsiteY0" fmla="*/ 0 h 15310"/>
                      <a:gd name="connsiteX1" fmla="*/ 0 w 20095"/>
                      <a:gd name="connsiteY1" fmla="*/ 15311 h 15310"/>
                    </a:gdLst>
                    <a:ahLst/>
                    <a:cxnLst>
                      <a:cxn ang="0">
                        <a:pos x="connsiteX0" y="connsiteY0"/>
                      </a:cxn>
                      <a:cxn ang="0">
                        <a:pos x="connsiteX1" y="connsiteY1"/>
                      </a:cxn>
                    </a:cxnLst>
                    <a:rect l="l" t="t" r="r" b="b"/>
                    <a:pathLst>
                      <a:path w="20095" h="15310">
                        <a:moveTo>
                          <a:pt x="20095" y="0"/>
                        </a:moveTo>
                        <a:cubicBezTo>
                          <a:pt x="13397" y="5143"/>
                          <a:pt x="6698" y="10227"/>
                          <a:pt x="0" y="15311"/>
                        </a:cubicBezTo>
                      </a:path>
                    </a:pathLst>
                  </a:custGeom>
                  <a:noFill/>
                  <a:ln w="6350" cap="rnd">
                    <a:solidFill>
                      <a:schemeClr val="bg1">
                        <a:alpha val="40000"/>
                      </a:schemeClr>
                    </a:solidFill>
                    <a:prstDash val="solid"/>
                    <a:miter/>
                  </a:ln>
                </p:spPr>
                <p:txBody>
                  <a:bodyPr rtlCol="0" anchor="ctr"/>
                  <a:lstStyle/>
                  <a:p>
                    <a:endParaRPr lang="en-GB"/>
                  </a:p>
                </p:txBody>
              </p:sp>
              <p:sp>
                <p:nvSpPr>
                  <p:cNvPr id="8375" name="Vrije vorm: vorm 8374">
                    <a:extLst>
                      <a:ext uri="{FF2B5EF4-FFF2-40B4-BE49-F238E27FC236}">
                        <a16:creationId xmlns:a16="http://schemas.microsoft.com/office/drawing/2014/main" id="{206D57C9-35C1-4332-9570-3703CFD82041}"/>
                      </a:ext>
                    </a:extLst>
                  </p:cNvPr>
                  <p:cNvSpPr/>
                  <p:nvPr/>
                </p:nvSpPr>
                <p:spPr>
                  <a:xfrm>
                    <a:off x="4493754" y="4318181"/>
                    <a:ext cx="18839" cy="14353"/>
                  </a:xfrm>
                  <a:custGeom>
                    <a:avLst/>
                    <a:gdLst>
                      <a:gd name="connsiteX0" fmla="*/ 18839 w 18839"/>
                      <a:gd name="connsiteY0" fmla="*/ 0 h 14353"/>
                      <a:gd name="connsiteX1" fmla="*/ 0 w 18839"/>
                      <a:gd name="connsiteY1" fmla="*/ 14354 h 14353"/>
                    </a:gdLst>
                    <a:ahLst/>
                    <a:cxnLst>
                      <a:cxn ang="0">
                        <a:pos x="connsiteX0" y="connsiteY0"/>
                      </a:cxn>
                      <a:cxn ang="0">
                        <a:pos x="connsiteX1" y="connsiteY1"/>
                      </a:cxn>
                    </a:cxnLst>
                    <a:rect l="l" t="t" r="r" b="b"/>
                    <a:pathLst>
                      <a:path w="18839" h="14353">
                        <a:moveTo>
                          <a:pt x="18839" y="0"/>
                        </a:moveTo>
                        <a:cubicBezTo>
                          <a:pt x="12560" y="4785"/>
                          <a:pt x="6280" y="9569"/>
                          <a:pt x="0" y="14354"/>
                        </a:cubicBezTo>
                      </a:path>
                    </a:pathLst>
                  </a:custGeom>
                  <a:noFill/>
                  <a:ln w="6350" cap="rnd">
                    <a:solidFill>
                      <a:schemeClr val="bg1">
                        <a:alpha val="40000"/>
                      </a:schemeClr>
                    </a:solidFill>
                    <a:prstDash val="solid"/>
                    <a:miter/>
                  </a:ln>
                </p:spPr>
                <p:txBody>
                  <a:bodyPr rtlCol="0" anchor="ctr"/>
                  <a:lstStyle/>
                  <a:p>
                    <a:endParaRPr lang="en-GB"/>
                  </a:p>
                </p:txBody>
              </p:sp>
              <p:sp>
                <p:nvSpPr>
                  <p:cNvPr id="8376" name="Vrije vorm: vorm 8375">
                    <a:extLst>
                      <a:ext uri="{FF2B5EF4-FFF2-40B4-BE49-F238E27FC236}">
                        <a16:creationId xmlns:a16="http://schemas.microsoft.com/office/drawing/2014/main" id="{0B78D41E-6BDF-4B2E-BBDE-B2DF80A8A916}"/>
                      </a:ext>
                    </a:extLst>
                  </p:cNvPr>
                  <p:cNvSpPr/>
                  <p:nvPr/>
                </p:nvSpPr>
                <p:spPr>
                  <a:xfrm>
                    <a:off x="4496207" y="4306219"/>
                    <a:ext cx="17583" cy="13396"/>
                  </a:xfrm>
                  <a:custGeom>
                    <a:avLst/>
                    <a:gdLst>
                      <a:gd name="connsiteX0" fmla="*/ 17583 w 17583"/>
                      <a:gd name="connsiteY0" fmla="*/ 0 h 13396"/>
                      <a:gd name="connsiteX1" fmla="*/ 0 w 17583"/>
                      <a:gd name="connsiteY1" fmla="*/ 13397 h 13396"/>
                    </a:gdLst>
                    <a:ahLst/>
                    <a:cxnLst>
                      <a:cxn ang="0">
                        <a:pos x="connsiteX0" y="connsiteY0"/>
                      </a:cxn>
                      <a:cxn ang="0">
                        <a:pos x="connsiteX1" y="connsiteY1"/>
                      </a:cxn>
                    </a:cxnLst>
                    <a:rect l="l" t="t" r="r" b="b"/>
                    <a:pathLst>
                      <a:path w="17583" h="13396">
                        <a:moveTo>
                          <a:pt x="17583" y="0"/>
                        </a:moveTo>
                        <a:cubicBezTo>
                          <a:pt x="11722" y="4486"/>
                          <a:pt x="5861" y="8911"/>
                          <a:pt x="0" y="13397"/>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74" name="Graphic 3">
                  <a:extLst>
                    <a:ext uri="{FF2B5EF4-FFF2-40B4-BE49-F238E27FC236}">
                      <a16:creationId xmlns:a16="http://schemas.microsoft.com/office/drawing/2014/main" id="{C156AF68-F8A8-42F8-996B-36F93AE9562E}"/>
                    </a:ext>
                  </a:extLst>
                </p:cNvPr>
                <p:cNvGrpSpPr/>
                <p:nvPr/>
              </p:nvGrpSpPr>
              <p:grpSpPr>
                <a:xfrm>
                  <a:off x="4528682" y="4280562"/>
                  <a:ext cx="26434" cy="91744"/>
                  <a:chOff x="4528682" y="4280562"/>
                  <a:chExt cx="26434" cy="91744"/>
                </a:xfrm>
                <a:noFill/>
              </p:grpSpPr>
              <p:sp>
                <p:nvSpPr>
                  <p:cNvPr id="8361" name="Vrije vorm: vorm 8360">
                    <a:extLst>
                      <a:ext uri="{FF2B5EF4-FFF2-40B4-BE49-F238E27FC236}">
                        <a16:creationId xmlns:a16="http://schemas.microsoft.com/office/drawing/2014/main" id="{A645F571-D31D-4DE8-AA1C-3428D29C0D0D}"/>
                      </a:ext>
                    </a:extLst>
                  </p:cNvPr>
                  <p:cNvSpPr/>
                  <p:nvPr/>
                </p:nvSpPr>
                <p:spPr>
                  <a:xfrm>
                    <a:off x="4528682" y="4351912"/>
                    <a:ext cx="26434" cy="20394"/>
                  </a:xfrm>
                  <a:custGeom>
                    <a:avLst/>
                    <a:gdLst>
                      <a:gd name="connsiteX0" fmla="*/ 26435 w 26434"/>
                      <a:gd name="connsiteY0" fmla="*/ 0 h 20394"/>
                      <a:gd name="connsiteX1" fmla="*/ 0 w 26434"/>
                      <a:gd name="connsiteY1" fmla="*/ 20394 h 20394"/>
                    </a:gdLst>
                    <a:ahLst/>
                    <a:cxnLst>
                      <a:cxn ang="0">
                        <a:pos x="connsiteX0" y="connsiteY0"/>
                      </a:cxn>
                      <a:cxn ang="0">
                        <a:pos x="connsiteX1" y="connsiteY1"/>
                      </a:cxn>
                    </a:cxnLst>
                    <a:rect l="l" t="t" r="r" b="b"/>
                    <a:pathLst>
                      <a:path w="26434" h="20394">
                        <a:moveTo>
                          <a:pt x="26435" y="0"/>
                        </a:moveTo>
                        <a:cubicBezTo>
                          <a:pt x="17583" y="6818"/>
                          <a:pt x="8791" y="13636"/>
                          <a:pt x="0" y="20394"/>
                        </a:cubicBezTo>
                      </a:path>
                    </a:pathLst>
                  </a:custGeom>
                  <a:noFill/>
                  <a:ln w="6350" cap="rnd">
                    <a:solidFill>
                      <a:schemeClr val="bg1">
                        <a:alpha val="40000"/>
                      </a:schemeClr>
                    </a:solidFill>
                    <a:prstDash val="solid"/>
                    <a:miter/>
                  </a:ln>
                </p:spPr>
                <p:txBody>
                  <a:bodyPr rtlCol="0" anchor="ctr"/>
                  <a:lstStyle/>
                  <a:p>
                    <a:endParaRPr lang="en-GB"/>
                  </a:p>
                </p:txBody>
              </p:sp>
              <p:sp>
                <p:nvSpPr>
                  <p:cNvPr id="8362" name="Vrije vorm: vorm 8361">
                    <a:extLst>
                      <a:ext uri="{FF2B5EF4-FFF2-40B4-BE49-F238E27FC236}">
                        <a16:creationId xmlns:a16="http://schemas.microsoft.com/office/drawing/2014/main" id="{33CB0735-B0D5-4929-A0D4-79D66C461F44}"/>
                      </a:ext>
                    </a:extLst>
                  </p:cNvPr>
                  <p:cNvSpPr/>
                  <p:nvPr/>
                </p:nvSpPr>
                <p:spPr>
                  <a:xfrm>
                    <a:off x="4528682" y="4341745"/>
                    <a:ext cx="25238" cy="19437"/>
                  </a:xfrm>
                  <a:custGeom>
                    <a:avLst/>
                    <a:gdLst>
                      <a:gd name="connsiteX0" fmla="*/ 25238 w 25238"/>
                      <a:gd name="connsiteY0" fmla="*/ 0 h 19437"/>
                      <a:gd name="connsiteX1" fmla="*/ 0 w 25238"/>
                      <a:gd name="connsiteY1" fmla="*/ 19437 h 19437"/>
                    </a:gdLst>
                    <a:ahLst/>
                    <a:cxnLst>
                      <a:cxn ang="0">
                        <a:pos x="connsiteX0" y="connsiteY0"/>
                      </a:cxn>
                      <a:cxn ang="0">
                        <a:pos x="connsiteX1" y="connsiteY1"/>
                      </a:cxn>
                    </a:cxnLst>
                    <a:rect l="l" t="t" r="r" b="b"/>
                    <a:pathLst>
                      <a:path w="25238" h="19437">
                        <a:moveTo>
                          <a:pt x="25238" y="0"/>
                        </a:moveTo>
                        <a:cubicBezTo>
                          <a:pt x="16806" y="6519"/>
                          <a:pt x="8373" y="12978"/>
                          <a:pt x="0" y="19437"/>
                        </a:cubicBezTo>
                      </a:path>
                    </a:pathLst>
                  </a:custGeom>
                  <a:noFill/>
                  <a:ln w="6350" cap="rnd">
                    <a:solidFill>
                      <a:schemeClr val="bg1">
                        <a:alpha val="40000"/>
                      </a:schemeClr>
                    </a:solidFill>
                    <a:prstDash val="solid"/>
                    <a:miter/>
                  </a:ln>
                </p:spPr>
                <p:txBody>
                  <a:bodyPr rtlCol="0" anchor="ctr"/>
                  <a:lstStyle/>
                  <a:p>
                    <a:endParaRPr lang="en-GB"/>
                  </a:p>
                </p:txBody>
              </p:sp>
              <p:sp>
                <p:nvSpPr>
                  <p:cNvPr id="8363" name="Vrije vorm: vorm 8362">
                    <a:extLst>
                      <a:ext uri="{FF2B5EF4-FFF2-40B4-BE49-F238E27FC236}">
                        <a16:creationId xmlns:a16="http://schemas.microsoft.com/office/drawing/2014/main" id="{5FF03FDF-BCEA-4EF6-9D4F-9302212F397C}"/>
                      </a:ext>
                    </a:extLst>
                  </p:cNvPr>
                  <p:cNvSpPr/>
                  <p:nvPr/>
                </p:nvSpPr>
                <p:spPr>
                  <a:xfrm>
                    <a:off x="4528742" y="4331577"/>
                    <a:ext cx="24042" cy="18480"/>
                  </a:xfrm>
                  <a:custGeom>
                    <a:avLst/>
                    <a:gdLst>
                      <a:gd name="connsiteX0" fmla="*/ 24042 w 24042"/>
                      <a:gd name="connsiteY0" fmla="*/ 0 h 18480"/>
                      <a:gd name="connsiteX1" fmla="*/ 0 w 24042"/>
                      <a:gd name="connsiteY1" fmla="*/ 18481 h 18480"/>
                    </a:gdLst>
                    <a:ahLst/>
                    <a:cxnLst>
                      <a:cxn ang="0">
                        <a:pos x="connsiteX0" y="connsiteY0"/>
                      </a:cxn>
                      <a:cxn ang="0">
                        <a:pos x="connsiteX1" y="connsiteY1"/>
                      </a:cxn>
                    </a:cxnLst>
                    <a:rect l="l" t="t" r="r" b="b"/>
                    <a:pathLst>
                      <a:path w="24042" h="18480">
                        <a:moveTo>
                          <a:pt x="24042" y="0"/>
                        </a:moveTo>
                        <a:cubicBezTo>
                          <a:pt x="16028" y="6160"/>
                          <a:pt x="8014" y="12320"/>
                          <a:pt x="0" y="18481"/>
                        </a:cubicBezTo>
                      </a:path>
                    </a:pathLst>
                  </a:custGeom>
                  <a:noFill/>
                  <a:ln w="6350" cap="rnd">
                    <a:solidFill>
                      <a:schemeClr val="bg1">
                        <a:alpha val="40000"/>
                      </a:schemeClr>
                    </a:solidFill>
                    <a:prstDash val="solid"/>
                    <a:miter/>
                  </a:ln>
                </p:spPr>
                <p:txBody>
                  <a:bodyPr rtlCol="0" anchor="ctr"/>
                  <a:lstStyle/>
                  <a:p>
                    <a:endParaRPr lang="en-GB"/>
                  </a:p>
                </p:txBody>
              </p:sp>
              <p:sp>
                <p:nvSpPr>
                  <p:cNvPr id="8364" name="Vrije vorm: vorm 8363">
                    <a:extLst>
                      <a:ext uri="{FF2B5EF4-FFF2-40B4-BE49-F238E27FC236}">
                        <a16:creationId xmlns:a16="http://schemas.microsoft.com/office/drawing/2014/main" id="{9CAAA85D-F36E-4C27-B41C-A0FA65EB31F2}"/>
                      </a:ext>
                    </a:extLst>
                  </p:cNvPr>
                  <p:cNvSpPr/>
                  <p:nvPr/>
                </p:nvSpPr>
                <p:spPr>
                  <a:xfrm>
                    <a:off x="4528861" y="4321410"/>
                    <a:ext cx="22786" cy="17523"/>
                  </a:xfrm>
                  <a:custGeom>
                    <a:avLst/>
                    <a:gdLst>
                      <a:gd name="connsiteX0" fmla="*/ 22787 w 22786"/>
                      <a:gd name="connsiteY0" fmla="*/ 0 h 17523"/>
                      <a:gd name="connsiteX1" fmla="*/ 0 w 22786"/>
                      <a:gd name="connsiteY1" fmla="*/ 17524 h 17523"/>
                    </a:gdLst>
                    <a:ahLst/>
                    <a:cxnLst>
                      <a:cxn ang="0">
                        <a:pos x="connsiteX0" y="connsiteY0"/>
                      </a:cxn>
                      <a:cxn ang="0">
                        <a:pos x="connsiteX1" y="connsiteY1"/>
                      </a:cxn>
                    </a:cxnLst>
                    <a:rect l="l" t="t" r="r" b="b"/>
                    <a:pathLst>
                      <a:path w="22786" h="17523">
                        <a:moveTo>
                          <a:pt x="22787" y="0"/>
                        </a:moveTo>
                        <a:cubicBezTo>
                          <a:pt x="15191" y="5861"/>
                          <a:pt x="7596" y="11662"/>
                          <a:pt x="0" y="17524"/>
                        </a:cubicBezTo>
                      </a:path>
                    </a:pathLst>
                  </a:custGeom>
                  <a:noFill/>
                  <a:ln w="6350" cap="rnd">
                    <a:solidFill>
                      <a:schemeClr val="bg1">
                        <a:alpha val="40000"/>
                      </a:schemeClr>
                    </a:solidFill>
                    <a:prstDash val="solid"/>
                    <a:miter/>
                  </a:ln>
                </p:spPr>
                <p:txBody>
                  <a:bodyPr rtlCol="0" anchor="ctr"/>
                  <a:lstStyle/>
                  <a:p>
                    <a:endParaRPr lang="en-GB"/>
                  </a:p>
                </p:txBody>
              </p:sp>
              <p:sp>
                <p:nvSpPr>
                  <p:cNvPr id="8365" name="Vrije vorm: vorm 8364">
                    <a:extLst>
                      <a:ext uri="{FF2B5EF4-FFF2-40B4-BE49-F238E27FC236}">
                        <a16:creationId xmlns:a16="http://schemas.microsoft.com/office/drawing/2014/main" id="{5E8C7D1D-EF55-41F9-B678-CBA1E578238C}"/>
                      </a:ext>
                    </a:extLst>
                  </p:cNvPr>
                  <p:cNvSpPr/>
                  <p:nvPr/>
                </p:nvSpPr>
                <p:spPr>
                  <a:xfrm>
                    <a:off x="4529041" y="4311243"/>
                    <a:ext cx="21530" cy="16506"/>
                  </a:xfrm>
                  <a:custGeom>
                    <a:avLst/>
                    <a:gdLst>
                      <a:gd name="connsiteX0" fmla="*/ 21530 w 21530"/>
                      <a:gd name="connsiteY0" fmla="*/ 0 h 16506"/>
                      <a:gd name="connsiteX1" fmla="*/ 0 w 21530"/>
                      <a:gd name="connsiteY1" fmla="*/ 16506 h 16506"/>
                    </a:gdLst>
                    <a:ahLst/>
                    <a:cxnLst>
                      <a:cxn ang="0">
                        <a:pos x="connsiteX0" y="connsiteY0"/>
                      </a:cxn>
                      <a:cxn ang="0">
                        <a:pos x="connsiteX1" y="connsiteY1"/>
                      </a:cxn>
                    </a:cxnLst>
                    <a:rect l="l" t="t" r="r" b="b"/>
                    <a:pathLst>
                      <a:path w="21530" h="16506">
                        <a:moveTo>
                          <a:pt x="21530" y="0"/>
                        </a:moveTo>
                        <a:cubicBezTo>
                          <a:pt x="14354" y="5502"/>
                          <a:pt x="7177" y="11004"/>
                          <a:pt x="0" y="16506"/>
                        </a:cubicBezTo>
                      </a:path>
                    </a:pathLst>
                  </a:custGeom>
                  <a:noFill/>
                  <a:ln w="6350" cap="rnd">
                    <a:solidFill>
                      <a:schemeClr val="bg1">
                        <a:alpha val="40000"/>
                      </a:schemeClr>
                    </a:solidFill>
                    <a:prstDash val="solid"/>
                    <a:miter/>
                  </a:ln>
                </p:spPr>
                <p:txBody>
                  <a:bodyPr rtlCol="0" anchor="ctr"/>
                  <a:lstStyle/>
                  <a:p>
                    <a:endParaRPr lang="en-GB"/>
                  </a:p>
                </p:txBody>
              </p:sp>
              <p:sp>
                <p:nvSpPr>
                  <p:cNvPr id="8366" name="Vrije vorm: vorm 8365">
                    <a:extLst>
                      <a:ext uri="{FF2B5EF4-FFF2-40B4-BE49-F238E27FC236}">
                        <a16:creationId xmlns:a16="http://schemas.microsoft.com/office/drawing/2014/main" id="{E628E1A2-8692-4493-8285-ABF1B51410A4}"/>
                      </a:ext>
                    </a:extLst>
                  </p:cNvPr>
                  <p:cNvSpPr/>
                  <p:nvPr/>
                </p:nvSpPr>
                <p:spPr>
                  <a:xfrm>
                    <a:off x="4529220" y="4301016"/>
                    <a:ext cx="20274" cy="15549"/>
                  </a:xfrm>
                  <a:custGeom>
                    <a:avLst/>
                    <a:gdLst>
                      <a:gd name="connsiteX0" fmla="*/ 20275 w 20274"/>
                      <a:gd name="connsiteY0" fmla="*/ 0 h 15549"/>
                      <a:gd name="connsiteX1" fmla="*/ 0 w 20274"/>
                      <a:gd name="connsiteY1" fmla="*/ 15550 h 15549"/>
                    </a:gdLst>
                    <a:ahLst/>
                    <a:cxnLst>
                      <a:cxn ang="0">
                        <a:pos x="connsiteX0" y="connsiteY0"/>
                      </a:cxn>
                      <a:cxn ang="0">
                        <a:pos x="connsiteX1" y="connsiteY1"/>
                      </a:cxn>
                    </a:cxnLst>
                    <a:rect l="l" t="t" r="r" b="b"/>
                    <a:pathLst>
                      <a:path w="20274" h="15549">
                        <a:moveTo>
                          <a:pt x="20275" y="0"/>
                        </a:moveTo>
                        <a:cubicBezTo>
                          <a:pt x="13516" y="5203"/>
                          <a:pt x="6758" y="10347"/>
                          <a:pt x="0" y="15550"/>
                        </a:cubicBezTo>
                      </a:path>
                    </a:pathLst>
                  </a:custGeom>
                  <a:noFill/>
                  <a:ln w="6350" cap="rnd">
                    <a:solidFill>
                      <a:schemeClr val="bg1">
                        <a:alpha val="40000"/>
                      </a:schemeClr>
                    </a:solidFill>
                    <a:prstDash val="solid"/>
                    <a:miter/>
                  </a:ln>
                </p:spPr>
                <p:txBody>
                  <a:bodyPr rtlCol="0" anchor="ctr"/>
                  <a:lstStyle/>
                  <a:p>
                    <a:endParaRPr lang="en-GB"/>
                  </a:p>
                </p:txBody>
              </p:sp>
              <p:sp>
                <p:nvSpPr>
                  <p:cNvPr id="8367" name="Vrije vorm: vorm 8366">
                    <a:extLst>
                      <a:ext uri="{FF2B5EF4-FFF2-40B4-BE49-F238E27FC236}">
                        <a16:creationId xmlns:a16="http://schemas.microsoft.com/office/drawing/2014/main" id="{F730BA37-B2D8-4F1D-9FA6-78D71AAEC737}"/>
                      </a:ext>
                    </a:extLst>
                  </p:cNvPr>
                  <p:cNvSpPr/>
                  <p:nvPr/>
                </p:nvSpPr>
                <p:spPr>
                  <a:xfrm>
                    <a:off x="4529400" y="4290789"/>
                    <a:ext cx="19018" cy="14533"/>
                  </a:xfrm>
                  <a:custGeom>
                    <a:avLst/>
                    <a:gdLst>
                      <a:gd name="connsiteX0" fmla="*/ 19019 w 19018"/>
                      <a:gd name="connsiteY0" fmla="*/ 0 h 14533"/>
                      <a:gd name="connsiteX1" fmla="*/ 0 w 19018"/>
                      <a:gd name="connsiteY1" fmla="*/ 14533 h 14533"/>
                    </a:gdLst>
                    <a:ahLst/>
                    <a:cxnLst>
                      <a:cxn ang="0">
                        <a:pos x="connsiteX0" y="connsiteY0"/>
                      </a:cxn>
                      <a:cxn ang="0">
                        <a:pos x="connsiteX1" y="connsiteY1"/>
                      </a:cxn>
                    </a:cxnLst>
                    <a:rect l="l" t="t" r="r" b="b"/>
                    <a:pathLst>
                      <a:path w="19018" h="14533">
                        <a:moveTo>
                          <a:pt x="19019" y="0"/>
                        </a:moveTo>
                        <a:cubicBezTo>
                          <a:pt x="12679" y="4844"/>
                          <a:pt x="6340" y="9689"/>
                          <a:pt x="0" y="14533"/>
                        </a:cubicBezTo>
                      </a:path>
                    </a:pathLst>
                  </a:custGeom>
                  <a:noFill/>
                  <a:ln w="6350" cap="rnd">
                    <a:solidFill>
                      <a:schemeClr val="bg1">
                        <a:alpha val="40000"/>
                      </a:schemeClr>
                    </a:solidFill>
                    <a:prstDash val="solid"/>
                    <a:miter/>
                  </a:ln>
                </p:spPr>
                <p:txBody>
                  <a:bodyPr rtlCol="0" anchor="ctr"/>
                  <a:lstStyle/>
                  <a:p>
                    <a:endParaRPr lang="en-GB"/>
                  </a:p>
                </p:txBody>
              </p:sp>
              <p:sp>
                <p:nvSpPr>
                  <p:cNvPr id="8368" name="Vrije vorm: vorm 8367">
                    <a:extLst>
                      <a:ext uri="{FF2B5EF4-FFF2-40B4-BE49-F238E27FC236}">
                        <a16:creationId xmlns:a16="http://schemas.microsoft.com/office/drawing/2014/main" id="{E2C9B01B-29B1-4749-8A3F-315557C17A6C}"/>
                      </a:ext>
                    </a:extLst>
                  </p:cNvPr>
                  <p:cNvSpPr/>
                  <p:nvPr/>
                </p:nvSpPr>
                <p:spPr>
                  <a:xfrm>
                    <a:off x="4529639" y="4280562"/>
                    <a:ext cx="17762" cy="13516"/>
                  </a:xfrm>
                  <a:custGeom>
                    <a:avLst/>
                    <a:gdLst>
                      <a:gd name="connsiteX0" fmla="*/ 17763 w 17762"/>
                      <a:gd name="connsiteY0" fmla="*/ 0 h 13516"/>
                      <a:gd name="connsiteX1" fmla="*/ 0 w 17762"/>
                      <a:gd name="connsiteY1" fmla="*/ 13516 h 13516"/>
                    </a:gdLst>
                    <a:ahLst/>
                    <a:cxnLst>
                      <a:cxn ang="0">
                        <a:pos x="connsiteX0" y="connsiteY0"/>
                      </a:cxn>
                      <a:cxn ang="0">
                        <a:pos x="connsiteX1" y="connsiteY1"/>
                      </a:cxn>
                    </a:cxnLst>
                    <a:rect l="l" t="t" r="r" b="b"/>
                    <a:pathLst>
                      <a:path w="17762" h="13516">
                        <a:moveTo>
                          <a:pt x="17763" y="0"/>
                        </a:moveTo>
                        <a:cubicBezTo>
                          <a:pt x="11842" y="4545"/>
                          <a:pt x="5921" y="9031"/>
                          <a:pt x="0" y="13516"/>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8275" name="Graphic 3">
                  <a:extLst>
                    <a:ext uri="{FF2B5EF4-FFF2-40B4-BE49-F238E27FC236}">
                      <a16:creationId xmlns:a16="http://schemas.microsoft.com/office/drawing/2014/main" id="{459E3EFD-E09F-43E2-BBF1-73690E3FCF1A}"/>
                    </a:ext>
                  </a:extLst>
                </p:cNvPr>
                <p:cNvGrpSpPr/>
                <p:nvPr/>
              </p:nvGrpSpPr>
              <p:grpSpPr>
                <a:xfrm>
                  <a:off x="4560021" y="4257297"/>
                  <a:ext cx="42522" cy="78646"/>
                  <a:chOff x="4560021" y="4257297"/>
                  <a:chExt cx="42522" cy="78646"/>
                </a:xfrm>
                <a:noFill/>
              </p:grpSpPr>
              <p:sp>
                <p:nvSpPr>
                  <p:cNvPr id="8353" name="Vrije vorm: vorm 8352">
                    <a:extLst>
                      <a:ext uri="{FF2B5EF4-FFF2-40B4-BE49-F238E27FC236}">
                        <a16:creationId xmlns:a16="http://schemas.microsoft.com/office/drawing/2014/main" id="{2BE97FD0-1D5E-47B1-9936-D9D79CA54837}"/>
                      </a:ext>
                    </a:extLst>
                  </p:cNvPr>
                  <p:cNvSpPr/>
                  <p:nvPr/>
                </p:nvSpPr>
                <p:spPr>
                  <a:xfrm>
                    <a:off x="4575810" y="4315190"/>
                    <a:ext cx="26733" cy="20753"/>
                  </a:xfrm>
                  <a:custGeom>
                    <a:avLst/>
                    <a:gdLst>
                      <a:gd name="connsiteX0" fmla="*/ 26734 w 26733"/>
                      <a:gd name="connsiteY0" fmla="*/ 0 h 20753"/>
                      <a:gd name="connsiteX1" fmla="*/ 0 w 26733"/>
                      <a:gd name="connsiteY1" fmla="*/ 20753 h 20753"/>
                    </a:gdLst>
                    <a:ahLst/>
                    <a:cxnLst>
                      <a:cxn ang="0">
                        <a:pos x="connsiteX0" y="connsiteY0"/>
                      </a:cxn>
                      <a:cxn ang="0">
                        <a:pos x="connsiteX1" y="connsiteY1"/>
                      </a:cxn>
                    </a:cxnLst>
                    <a:rect l="l" t="t" r="r" b="b"/>
                    <a:pathLst>
                      <a:path w="26733" h="20753">
                        <a:moveTo>
                          <a:pt x="26734" y="0"/>
                        </a:moveTo>
                        <a:cubicBezTo>
                          <a:pt x="17763" y="6938"/>
                          <a:pt x="8851" y="13875"/>
                          <a:pt x="0" y="20753"/>
                        </a:cubicBezTo>
                      </a:path>
                    </a:pathLst>
                  </a:custGeom>
                  <a:noFill/>
                  <a:ln w="6350" cap="rnd">
                    <a:solidFill>
                      <a:schemeClr val="bg1">
                        <a:alpha val="40000"/>
                      </a:schemeClr>
                    </a:solidFill>
                    <a:prstDash val="solid"/>
                    <a:miter/>
                  </a:ln>
                </p:spPr>
                <p:txBody>
                  <a:bodyPr rtlCol="0" anchor="ctr"/>
                  <a:lstStyle/>
                  <a:p>
                    <a:endParaRPr lang="en-GB"/>
                  </a:p>
                </p:txBody>
              </p:sp>
              <p:sp>
                <p:nvSpPr>
                  <p:cNvPr id="8354" name="Vrije vorm: vorm 8353">
                    <a:extLst>
                      <a:ext uri="{FF2B5EF4-FFF2-40B4-BE49-F238E27FC236}">
                        <a16:creationId xmlns:a16="http://schemas.microsoft.com/office/drawing/2014/main" id="{EEC76FF2-633A-4758-9CE1-66F7CF60457E}"/>
                      </a:ext>
                    </a:extLst>
                  </p:cNvPr>
                  <p:cNvSpPr/>
                  <p:nvPr/>
                </p:nvSpPr>
                <p:spPr>
                  <a:xfrm>
                    <a:off x="4573477" y="4306937"/>
                    <a:ext cx="25537" cy="19736"/>
                  </a:xfrm>
                  <a:custGeom>
                    <a:avLst/>
                    <a:gdLst>
                      <a:gd name="connsiteX0" fmla="*/ 25538 w 25537"/>
                      <a:gd name="connsiteY0" fmla="*/ 0 h 19736"/>
                      <a:gd name="connsiteX1" fmla="*/ 0 w 25537"/>
                      <a:gd name="connsiteY1" fmla="*/ 19736 h 19736"/>
                    </a:gdLst>
                    <a:ahLst/>
                    <a:cxnLst>
                      <a:cxn ang="0">
                        <a:pos x="connsiteX0" y="connsiteY0"/>
                      </a:cxn>
                      <a:cxn ang="0">
                        <a:pos x="connsiteX1" y="connsiteY1"/>
                      </a:cxn>
                    </a:cxnLst>
                    <a:rect l="l" t="t" r="r" b="b"/>
                    <a:pathLst>
                      <a:path w="25537" h="19736">
                        <a:moveTo>
                          <a:pt x="25538" y="0"/>
                        </a:moveTo>
                        <a:cubicBezTo>
                          <a:pt x="16985" y="6579"/>
                          <a:pt x="8493" y="13158"/>
                          <a:pt x="0" y="19736"/>
                        </a:cubicBezTo>
                      </a:path>
                    </a:pathLst>
                  </a:custGeom>
                  <a:noFill/>
                  <a:ln w="6350" cap="rnd">
                    <a:solidFill>
                      <a:schemeClr val="bg1">
                        <a:alpha val="40000"/>
                      </a:schemeClr>
                    </a:solidFill>
                    <a:prstDash val="solid"/>
                    <a:miter/>
                  </a:ln>
                </p:spPr>
                <p:txBody>
                  <a:bodyPr rtlCol="0" anchor="ctr"/>
                  <a:lstStyle/>
                  <a:p>
                    <a:endParaRPr lang="en-GB"/>
                  </a:p>
                </p:txBody>
              </p:sp>
              <p:sp>
                <p:nvSpPr>
                  <p:cNvPr id="8355" name="Vrije vorm: vorm 8354">
                    <a:extLst>
                      <a:ext uri="{FF2B5EF4-FFF2-40B4-BE49-F238E27FC236}">
                        <a16:creationId xmlns:a16="http://schemas.microsoft.com/office/drawing/2014/main" id="{B5D610B5-BA8C-4229-B53D-2C4A0EA585C1}"/>
                      </a:ext>
                    </a:extLst>
                  </p:cNvPr>
                  <p:cNvSpPr/>
                  <p:nvPr/>
                </p:nvSpPr>
                <p:spPr>
                  <a:xfrm>
                    <a:off x="4571145" y="4298683"/>
                    <a:ext cx="24281" cy="18719"/>
                  </a:xfrm>
                  <a:custGeom>
                    <a:avLst/>
                    <a:gdLst>
                      <a:gd name="connsiteX0" fmla="*/ 24282 w 24281"/>
                      <a:gd name="connsiteY0" fmla="*/ 0 h 18719"/>
                      <a:gd name="connsiteX1" fmla="*/ 0 w 24281"/>
                      <a:gd name="connsiteY1" fmla="*/ 18720 h 18719"/>
                    </a:gdLst>
                    <a:ahLst/>
                    <a:cxnLst>
                      <a:cxn ang="0">
                        <a:pos x="connsiteX0" y="connsiteY0"/>
                      </a:cxn>
                      <a:cxn ang="0">
                        <a:pos x="connsiteX1" y="connsiteY1"/>
                      </a:cxn>
                    </a:cxnLst>
                    <a:rect l="l" t="t" r="r" b="b"/>
                    <a:pathLst>
                      <a:path w="24281" h="18719">
                        <a:moveTo>
                          <a:pt x="24282" y="0"/>
                        </a:moveTo>
                        <a:cubicBezTo>
                          <a:pt x="16148" y="6280"/>
                          <a:pt x="8074" y="12500"/>
                          <a:pt x="0" y="18720"/>
                        </a:cubicBezTo>
                      </a:path>
                    </a:pathLst>
                  </a:custGeom>
                  <a:noFill/>
                  <a:ln w="6350" cap="rnd">
                    <a:solidFill>
                      <a:schemeClr val="bg1">
                        <a:alpha val="40000"/>
                      </a:schemeClr>
                    </a:solidFill>
                    <a:prstDash val="solid"/>
                    <a:miter/>
                  </a:ln>
                </p:spPr>
                <p:txBody>
                  <a:bodyPr rtlCol="0" anchor="ctr"/>
                  <a:lstStyle/>
                  <a:p>
                    <a:endParaRPr lang="en-GB"/>
                  </a:p>
                </p:txBody>
              </p:sp>
              <p:sp>
                <p:nvSpPr>
                  <p:cNvPr id="8356" name="Vrije vorm: vorm 8355">
                    <a:extLst>
                      <a:ext uri="{FF2B5EF4-FFF2-40B4-BE49-F238E27FC236}">
                        <a16:creationId xmlns:a16="http://schemas.microsoft.com/office/drawing/2014/main" id="{E6467F10-8FF4-4A26-B8BA-F8F163B9825F}"/>
                      </a:ext>
                    </a:extLst>
                  </p:cNvPr>
                  <p:cNvSpPr/>
                  <p:nvPr/>
                </p:nvSpPr>
                <p:spPr>
                  <a:xfrm>
                    <a:off x="4568932" y="4290430"/>
                    <a:ext cx="22966" cy="17703"/>
                  </a:xfrm>
                  <a:custGeom>
                    <a:avLst/>
                    <a:gdLst>
                      <a:gd name="connsiteX0" fmla="*/ 22966 w 22966"/>
                      <a:gd name="connsiteY0" fmla="*/ 0 h 17703"/>
                      <a:gd name="connsiteX1" fmla="*/ 0 w 22966"/>
                      <a:gd name="connsiteY1" fmla="*/ 17703 h 17703"/>
                    </a:gdLst>
                    <a:ahLst/>
                    <a:cxnLst>
                      <a:cxn ang="0">
                        <a:pos x="connsiteX0" y="connsiteY0"/>
                      </a:cxn>
                      <a:cxn ang="0">
                        <a:pos x="connsiteX1" y="connsiteY1"/>
                      </a:cxn>
                    </a:cxnLst>
                    <a:rect l="l" t="t" r="r" b="b"/>
                    <a:pathLst>
                      <a:path w="22966" h="17703">
                        <a:moveTo>
                          <a:pt x="22966" y="0"/>
                        </a:moveTo>
                        <a:cubicBezTo>
                          <a:pt x="15311" y="5921"/>
                          <a:pt x="7596" y="11842"/>
                          <a:pt x="0" y="17703"/>
                        </a:cubicBezTo>
                      </a:path>
                    </a:pathLst>
                  </a:custGeom>
                  <a:noFill/>
                  <a:ln w="6350" cap="rnd">
                    <a:solidFill>
                      <a:schemeClr val="bg1">
                        <a:alpha val="40000"/>
                      </a:schemeClr>
                    </a:solidFill>
                    <a:prstDash val="solid"/>
                    <a:miter/>
                  </a:ln>
                </p:spPr>
                <p:txBody>
                  <a:bodyPr rtlCol="0" anchor="ctr"/>
                  <a:lstStyle/>
                  <a:p>
                    <a:endParaRPr lang="en-GB"/>
                  </a:p>
                </p:txBody>
              </p:sp>
              <p:sp>
                <p:nvSpPr>
                  <p:cNvPr id="8357" name="Vrije vorm: vorm 8356">
                    <a:extLst>
                      <a:ext uri="{FF2B5EF4-FFF2-40B4-BE49-F238E27FC236}">
                        <a16:creationId xmlns:a16="http://schemas.microsoft.com/office/drawing/2014/main" id="{5F009CEC-B88C-498C-A64C-EE067A10D933}"/>
                      </a:ext>
                    </a:extLst>
                  </p:cNvPr>
                  <p:cNvSpPr/>
                  <p:nvPr/>
                </p:nvSpPr>
                <p:spPr>
                  <a:xfrm>
                    <a:off x="4566659" y="4282117"/>
                    <a:ext cx="21710" cy="16745"/>
                  </a:xfrm>
                  <a:custGeom>
                    <a:avLst/>
                    <a:gdLst>
                      <a:gd name="connsiteX0" fmla="*/ 21710 w 21710"/>
                      <a:gd name="connsiteY0" fmla="*/ 0 h 16745"/>
                      <a:gd name="connsiteX1" fmla="*/ 0 w 21710"/>
                      <a:gd name="connsiteY1" fmla="*/ 16746 h 16745"/>
                    </a:gdLst>
                    <a:ahLst/>
                    <a:cxnLst>
                      <a:cxn ang="0">
                        <a:pos x="connsiteX0" y="connsiteY0"/>
                      </a:cxn>
                      <a:cxn ang="0">
                        <a:pos x="connsiteX1" y="connsiteY1"/>
                      </a:cxn>
                    </a:cxnLst>
                    <a:rect l="l" t="t" r="r" b="b"/>
                    <a:pathLst>
                      <a:path w="21710" h="16745">
                        <a:moveTo>
                          <a:pt x="21710" y="0"/>
                        </a:moveTo>
                        <a:cubicBezTo>
                          <a:pt x="14474" y="5562"/>
                          <a:pt x="7237" y="11184"/>
                          <a:pt x="0" y="16746"/>
                        </a:cubicBezTo>
                      </a:path>
                    </a:pathLst>
                  </a:custGeom>
                  <a:noFill/>
                  <a:ln w="6350" cap="rnd">
                    <a:solidFill>
                      <a:schemeClr val="bg1">
                        <a:alpha val="40000"/>
                      </a:schemeClr>
                    </a:solidFill>
                    <a:prstDash val="solid"/>
                    <a:miter/>
                  </a:ln>
                </p:spPr>
                <p:txBody>
                  <a:bodyPr rtlCol="0" anchor="ctr"/>
                  <a:lstStyle/>
                  <a:p>
                    <a:endParaRPr lang="en-GB"/>
                  </a:p>
                </p:txBody>
              </p:sp>
              <p:sp>
                <p:nvSpPr>
                  <p:cNvPr id="8358" name="Vrije vorm: vorm 8357">
                    <a:extLst>
                      <a:ext uri="{FF2B5EF4-FFF2-40B4-BE49-F238E27FC236}">
                        <a16:creationId xmlns:a16="http://schemas.microsoft.com/office/drawing/2014/main" id="{A219994E-E730-4AC3-B6BC-2B364321CDEA}"/>
                      </a:ext>
                    </a:extLst>
                  </p:cNvPr>
                  <p:cNvSpPr/>
                  <p:nvPr/>
                </p:nvSpPr>
                <p:spPr>
                  <a:xfrm>
                    <a:off x="4564387" y="4273864"/>
                    <a:ext cx="20454" cy="15729"/>
                  </a:xfrm>
                  <a:custGeom>
                    <a:avLst/>
                    <a:gdLst>
                      <a:gd name="connsiteX0" fmla="*/ 20454 w 20454"/>
                      <a:gd name="connsiteY0" fmla="*/ 0 h 15729"/>
                      <a:gd name="connsiteX1" fmla="*/ 0 w 20454"/>
                      <a:gd name="connsiteY1" fmla="*/ 15729 h 15729"/>
                    </a:gdLst>
                    <a:ahLst/>
                    <a:cxnLst>
                      <a:cxn ang="0">
                        <a:pos x="connsiteX0" y="connsiteY0"/>
                      </a:cxn>
                      <a:cxn ang="0">
                        <a:pos x="connsiteX1" y="connsiteY1"/>
                      </a:cxn>
                    </a:cxnLst>
                    <a:rect l="l" t="t" r="r" b="b"/>
                    <a:pathLst>
                      <a:path w="20454" h="15729">
                        <a:moveTo>
                          <a:pt x="20454" y="0"/>
                        </a:moveTo>
                        <a:cubicBezTo>
                          <a:pt x="13636" y="5263"/>
                          <a:pt x="6818" y="10466"/>
                          <a:pt x="0" y="15729"/>
                        </a:cubicBezTo>
                      </a:path>
                    </a:pathLst>
                  </a:custGeom>
                  <a:noFill/>
                  <a:ln w="6350" cap="rnd">
                    <a:solidFill>
                      <a:schemeClr val="bg1">
                        <a:alpha val="40000"/>
                      </a:schemeClr>
                    </a:solidFill>
                    <a:prstDash val="solid"/>
                    <a:miter/>
                  </a:ln>
                </p:spPr>
                <p:txBody>
                  <a:bodyPr rtlCol="0" anchor="ctr"/>
                  <a:lstStyle/>
                  <a:p>
                    <a:endParaRPr lang="en-GB"/>
                  </a:p>
                </p:txBody>
              </p:sp>
              <p:sp>
                <p:nvSpPr>
                  <p:cNvPr id="8359" name="Vrije vorm: vorm 8358">
                    <a:extLst>
                      <a:ext uri="{FF2B5EF4-FFF2-40B4-BE49-F238E27FC236}">
                        <a16:creationId xmlns:a16="http://schemas.microsoft.com/office/drawing/2014/main" id="{E01604CE-9264-4872-8772-5697BA8BDBA7}"/>
                      </a:ext>
                    </a:extLst>
                  </p:cNvPr>
                  <p:cNvSpPr/>
                  <p:nvPr/>
                </p:nvSpPr>
                <p:spPr>
                  <a:xfrm>
                    <a:off x="4562174" y="4265610"/>
                    <a:ext cx="19138" cy="14712"/>
                  </a:xfrm>
                  <a:custGeom>
                    <a:avLst/>
                    <a:gdLst>
                      <a:gd name="connsiteX0" fmla="*/ 19138 w 19138"/>
                      <a:gd name="connsiteY0" fmla="*/ 0 h 14712"/>
                      <a:gd name="connsiteX1" fmla="*/ 0 w 19138"/>
                      <a:gd name="connsiteY1" fmla="*/ 14712 h 14712"/>
                    </a:gdLst>
                    <a:ahLst/>
                    <a:cxnLst>
                      <a:cxn ang="0">
                        <a:pos x="connsiteX0" y="connsiteY0"/>
                      </a:cxn>
                      <a:cxn ang="0">
                        <a:pos x="connsiteX1" y="connsiteY1"/>
                      </a:cxn>
                    </a:cxnLst>
                    <a:rect l="l" t="t" r="r" b="b"/>
                    <a:pathLst>
                      <a:path w="19138" h="14712">
                        <a:moveTo>
                          <a:pt x="19138" y="0"/>
                        </a:moveTo>
                        <a:cubicBezTo>
                          <a:pt x="12739" y="4904"/>
                          <a:pt x="6340" y="9808"/>
                          <a:pt x="0" y="14712"/>
                        </a:cubicBezTo>
                      </a:path>
                    </a:pathLst>
                  </a:custGeom>
                  <a:noFill/>
                  <a:ln w="6350" cap="rnd">
                    <a:solidFill>
                      <a:schemeClr val="bg1">
                        <a:alpha val="40000"/>
                      </a:schemeClr>
                    </a:solidFill>
                    <a:prstDash val="solid"/>
                    <a:miter/>
                  </a:ln>
                </p:spPr>
                <p:txBody>
                  <a:bodyPr rtlCol="0" anchor="ctr"/>
                  <a:lstStyle/>
                  <a:p>
                    <a:endParaRPr lang="en-GB"/>
                  </a:p>
                </p:txBody>
              </p:sp>
              <p:sp>
                <p:nvSpPr>
                  <p:cNvPr id="8360" name="Vrije vorm: vorm 8359">
                    <a:extLst>
                      <a:ext uri="{FF2B5EF4-FFF2-40B4-BE49-F238E27FC236}">
                        <a16:creationId xmlns:a16="http://schemas.microsoft.com/office/drawing/2014/main" id="{E97F204A-5D34-41C8-9B77-BC21FC8B88C9}"/>
                      </a:ext>
                    </a:extLst>
                  </p:cNvPr>
                  <p:cNvSpPr/>
                  <p:nvPr/>
                </p:nvSpPr>
                <p:spPr>
                  <a:xfrm>
                    <a:off x="4560021" y="4257297"/>
                    <a:ext cx="17822" cy="13635"/>
                  </a:xfrm>
                  <a:custGeom>
                    <a:avLst/>
                    <a:gdLst>
                      <a:gd name="connsiteX0" fmla="*/ 17822 w 17822"/>
                      <a:gd name="connsiteY0" fmla="*/ 0 h 13635"/>
                      <a:gd name="connsiteX1" fmla="*/ 0 w 17822"/>
                      <a:gd name="connsiteY1" fmla="*/ 13636 h 13635"/>
                    </a:gdLst>
                    <a:ahLst/>
                    <a:cxnLst>
                      <a:cxn ang="0">
                        <a:pos x="connsiteX0" y="connsiteY0"/>
                      </a:cxn>
                      <a:cxn ang="0">
                        <a:pos x="connsiteX1" y="connsiteY1"/>
                      </a:cxn>
                    </a:cxnLst>
                    <a:rect l="l" t="t" r="r" b="b"/>
                    <a:pathLst>
                      <a:path w="17822" h="13635">
                        <a:moveTo>
                          <a:pt x="17822" y="0"/>
                        </a:moveTo>
                        <a:cubicBezTo>
                          <a:pt x="11842" y="4545"/>
                          <a:pt x="5921" y="9150"/>
                          <a:pt x="0" y="13636"/>
                        </a:cubicBezTo>
                      </a:path>
                    </a:pathLst>
                  </a:custGeom>
                  <a:noFill/>
                  <a:ln w="6350" cap="rnd">
                    <a:solidFill>
                      <a:schemeClr val="bg1">
                        <a:alpha val="40000"/>
                      </a:schemeClr>
                    </a:solidFill>
                    <a:prstDash val="solid"/>
                    <a:miter/>
                  </a:ln>
                </p:spPr>
                <p:txBody>
                  <a:bodyPr rtlCol="0" anchor="ctr"/>
                  <a:lstStyle/>
                  <a:p>
                    <a:endParaRPr lang="en-GB"/>
                  </a:p>
                </p:txBody>
              </p:sp>
            </p:grpSp>
            <p:sp>
              <p:nvSpPr>
                <p:cNvPr id="8276" name="Vrije vorm: vorm 8275">
                  <a:extLst>
                    <a:ext uri="{FF2B5EF4-FFF2-40B4-BE49-F238E27FC236}">
                      <a16:creationId xmlns:a16="http://schemas.microsoft.com/office/drawing/2014/main" id="{8F3A9891-7D01-4EF3-9093-633239611028}"/>
                    </a:ext>
                  </a:extLst>
                </p:cNvPr>
                <p:cNvSpPr/>
                <p:nvPr/>
              </p:nvSpPr>
              <p:spPr>
                <a:xfrm>
                  <a:off x="4275458" y="4602145"/>
                  <a:ext cx="38814" cy="128047"/>
                </a:xfrm>
                <a:custGeom>
                  <a:avLst/>
                  <a:gdLst>
                    <a:gd name="connsiteX0" fmla="*/ 0 w 38814"/>
                    <a:gd name="connsiteY0" fmla="*/ 128047 h 128047"/>
                    <a:gd name="connsiteX1" fmla="*/ 38815 w 38814"/>
                    <a:gd name="connsiteY1" fmla="*/ 0 h 128047"/>
                  </a:gdLst>
                  <a:ahLst/>
                  <a:cxnLst>
                    <a:cxn ang="0">
                      <a:pos x="connsiteX0" y="connsiteY0"/>
                    </a:cxn>
                    <a:cxn ang="0">
                      <a:pos x="connsiteX1" y="connsiteY1"/>
                    </a:cxn>
                  </a:cxnLst>
                  <a:rect l="l" t="t" r="r" b="b"/>
                  <a:pathLst>
                    <a:path w="38814" h="128047">
                      <a:moveTo>
                        <a:pt x="0" y="128047"/>
                      </a:moveTo>
                      <a:cubicBezTo>
                        <a:pt x="10167" y="87259"/>
                        <a:pt x="23086" y="44497"/>
                        <a:pt x="38815" y="0"/>
                      </a:cubicBezTo>
                    </a:path>
                  </a:pathLst>
                </a:custGeom>
                <a:noFill/>
                <a:ln w="6350" cap="rnd">
                  <a:solidFill>
                    <a:schemeClr val="bg1">
                      <a:alpha val="40000"/>
                    </a:schemeClr>
                  </a:solidFill>
                  <a:prstDash val="solid"/>
                  <a:miter/>
                </a:ln>
              </p:spPr>
              <p:txBody>
                <a:bodyPr rtlCol="0" anchor="ctr"/>
                <a:lstStyle/>
                <a:p>
                  <a:endParaRPr lang="en-GB"/>
                </a:p>
              </p:txBody>
            </p:sp>
            <p:sp>
              <p:nvSpPr>
                <p:cNvPr id="8277" name="Vrije vorm: vorm 8276">
                  <a:extLst>
                    <a:ext uri="{FF2B5EF4-FFF2-40B4-BE49-F238E27FC236}">
                      <a16:creationId xmlns:a16="http://schemas.microsoft.com/office/drawing/2014/main" id="{6897C685-A12D-4B2E-9D9D-2E6BDF63F2CF}"/>
                    </a:ext>
                  </a:extLst>
                </p:cNvPr>
                <p:cNvSpPr/>
                <p:nvPr/>
              </p:nvSpPr>
              <p:spPr>
                <a:xfrm>
                  <a:off x="4213319" y="4455797"/>
                  <a:ext cx="103885" cy="227327"/>
                </a:xfrm>
                <a:custGeom>
                  <a:avLst/>
                  <a:gdLst>
                    <a:gd name="connsiteX0" fmla="*/ 0 w 103885"/>
                    <a:gd name="connsiteY0" fmla="*/ 227327 h 227327"/>
                    <a:gd name="connsiteX1" fmla="*/ 103885 w 103885"/>
                    <a:gd name="connsiteY1" fmla="*/ 0 h 227327"/>
                  </a:gdLst>
                  <a:ahLst/>
                  <a:cxnLst>
                    <a:cxn ang="0">
                      <a:pos x="connsiteX0" y="connsiteY0"/>
                    </a:cxn>
                    <a:cxn ang="0">
                      <a:pos x="connsiteX1" y="connsiteY1"/>
                    </a:cxn>
                  </a:cxnLst>
                  <a:rect l="l" t="t" r="r" b="b"/>
                  <a:pathLst>
                    <a:path w="103885" h="227327">
                      <a:moveTo>
                        <a:pt x="0" y="227327"/>
                      </a:moveTo>
                      <a:cubicBezTo>
                        <a:pt x="24760" y="157771"/>
                        <a:pt x="59986" y="81158"/>
                        <a:pt x="103885" y="0"/>
                      </a:cubicBezTo>
                    </a:path>
                  </a:pathLst>
                </a:custGeom>
                <a:noFill/>
                <a:ln w="6350" cap="rnd">
                  <a:solidFill>
                    <a:schemeClr val="bg1">
                      <a:alpha val="40000"/>
                    </a:schemeClr>
                  </a:solidFill>
                  <a:prstDash val="solid"/>
                  <a:miter/>
                </a:ln>
              </p:spPr>
              <p:txBody>
                <a:bodyPr rtlCol="0" anchor="ctr"/>
                <a:lstStyle/>
                <a:p>
                  <a:endParaRPr lang="en-GB"/>
                </a:p>
              </p:txBody>
            </p:sp>
            <p:sp>
              <p:nvSpPr>
                <p:cNvPr id="8278" name="Vrije vorm: vorm 8277">
                  <a:extLst>
                    <a:ext uri="{FF2B5EF4-FFF2-40B4-BE49-F238E27FC236}">
                      <a16:creationId xmlns:a16="http://schemas.microsoft.com/office/drawing/2014/main" id="{4BF2212A-E9A3-49AF-8654-9E7A6B9A3C49}"/>
                    </a:ext>
                  </a:extLst>
                </p:cNvPr>
                <p:cNvSpPr/>
                <p:nvPr/>
              </p:nvSpPr>
              <p:spPr>
                <a:xfrm>
                  <a:off x="4298005" y="4450773"/>
                  <a:ext cx="25657" cy="19676"/>
                </a:xfrm>
                <a:custGeom>
                  <a:avLst/>
                  <a:gdLst>
                    <a:gd name="connsiteX0" fmla="*/ 0 w 25657"/>
                    <a:gd name="connsiteY0" fmla="*/ 19677 h 19676"/>
                    <a:gd name="connsiteX1" fmla="*/ 25657 w 25657"/>
                    <a:gd name="connsiteY1" fmla="*/ 0 h 19676"/>
                  </a:gdLst>
                  <a:ahLst/>
                  <a:cxnLst>
                    <a:cxn ang="0">
                      <a:pos x="connsiteX0" y="connsiteY0"/>
                    </a:cxn>
                    <a:cxn ang="0">
                      <a:pos x="connsiteX1" y="connsiteY1"/>
                    </a:cxn>
                  </a:cxnLst>
                  <a:rect l="l" t="t" r="r" b="b"/>
                  <a:pathLst>
                    <a:path w="25657" h="19676">
                      <a:moveTo>
                        <a:pt x="0" y="19677"/>
                      </a:moveTo>
                      <a:cubicBezTo>
                        <a:pt x="8493" y="13158"/>
                        <a:pt x="17045" y="6639"/>
                        <a:pt x="25657" y="0"/>
                      </a:cubicBezTo>
                    </a:path>
                  </a:pathLst>
                </a:custGeom>
                <a:noFill/>
                <a:ln w="6350" cap="rnd">
                  <a:solidFill>
                    <a:schemeClr val="bg1">
                      <a:alpha val="40000"/>
                    </a:schemeClr>
                  </a:solidFill>
                  <a:prstDash val="solid"/>
                  <a:miter/>
                </a:ln>
              </p:spPr>
              <p:txBody>
                <a:bodyPr rtlCol="0" anchor="ctr"/>
                <a:lstStyle/>
                <a:p>
                  <a:endParaRPr lang="en-GB"/>
                </a:p>
              </p:txBody>
            </p:sp>
            <p:sp>
              <p:nvSpPr>
                <p:cNvPr id="8279" name="Vrije vorm: vorm 8278">
                  <a:extLst>
                    <a:ext uri="{FF2B5EF4-FFF2-40B4-BE49-F238E27FC236}">
                      <a16:creationId xmlns:a16="http://schemas.microsoft.com/office/drawing/2014/main" id="{AD5CA372-09E7-48EC-94E8-2DAFD81A5A71}"/>
                    </a:ext>
                  </a:extLst>
                </p:cNvPr>
                <p:cNvSpPr/>
                <p:nvPr/>
              </p:nvSpPr>
              <p:spPr>
                <a:xfrm>
                  <a:off x="4243282" y="4514947"/>
                  <a:ext cx="629889" cy="436771"/>
                </a:xfrm>
                <a:custGeom>
                  <a:avLst/>
                  <a:gdLst>
                    <a:gd name="connsiteX0" fmla="*/ 0 w 629889"/>
                    <a:gd name="connsiteY0" fmla="*/ 410397 h 436771"/>
                    <a:gd name="connsiteX1" fmla="*/ 108311 w 629889"/>
                    <a:gd name="connsiteY1" fmla="*/ 436772 h 436771"/>
                    <a:gd name="connsiteX2" fmla="*/ 629890 w 629889"/>
                    <a:gd name="connsiteY2" fmla="*/ 0 h 436771"/>
                  </a:gdLst>
                  <a:ahLst/>
                  <a:cxnLst>
                    <a:cxn ang="0">
                      <a:pos x="connsiteX0" y="connsiteY0"/>
                    </a:cxn>
                    <a:cxn ang="0">
                      <a:pos x="connsiteX1" y="connsiteY1"/>
                    </a:cxn>
                    <a:cxn ang="0">
                      <a:pos x="connsiteX2" y="connsiteY2"/>
                    </a:cxn>
                  </a:cxnLst>
                  <a:rect l="l" t="t" r="r" b="b"/>
                  <a:pathLst>
                    <a:path w="629889" h="436771">
                      <a:moveTo>
                        <a:pt x="0" y="410397"/>
                      </a:moveTo>
                      <a:cubicBezTo>
                        <a:pt x="34928" y="419727"/>
                        <a:pt x="71051" y="428698"/>
                        <a:pt x="108311" y="436772"/>
                      </a:cubicBezTo>
                      <a:cubicBezTo>
                        <a:pt x="232112" y="336774"/>
                        <a:pt x="424033" y="172006"/>
                        <a:pt x="629890" y="0"/>
                      </a:cubicBezTo>
                    </a:path>
                  </a:pathLst>
                </a:custGeom>
                <a:noFill/>
                <a:ln w="6350" cap="rnd">
                  <a:solidFill>
                    <a:schemeClr val="bg1">
                      <a:alpha val="40000"/>
                    </a:schemeClr>
                  </a:solidFill>
                  <a:prstDash val="solid"/>
                  <a:miter/>
                </a:ln>
              </p:spPr>
              <p:txBody>
                <a:bodyPr rtlCol="0" anchor="ctr"/>
                <a:lstStyle/>
                <a:p>
                  <a:endParaRPr lang="en-GB"/>
                </a:p>
              </p:txBody>
            </p:sp>
            <p:sp>
              <p:nvSpPr>
                <p:cNvPr id="8280" name="Vrije vorm: vorm 8279">
                  <a:extLst>
                    <a:ext uri="{FF2B5EF4-FFF2-40B4-BE49-F238E27FC236}">
                      <a16:creationId xmlns:a16="http://schemas.microsoft.com/office/drawing/2014/main" id="{4D62253F-59BD-4A12-BFEE-89B44EC3DADF}"/>
                    </a:ext>
                  </a:extLst>
                </p:cNvPr>
                <p:cNvSpPr/>
                <p:nvPr/>
              </p:nvSpPr>
              <p:spPr>
                <a:xfrm>
                  <a:off x="4269896" y="4890536"/>
                  <a:ext cx="231992" cy="74280"/>
                </a:xfrm>
                <a:custGeom>
                  <a:avLst/>
                  <a:gdLst>
                    <a:gd name="connsiteX0" fmla="*/ 231992 w 231992"/>
                    <a:gd name="connsiteY0" fmla="*/ 44556 h 74280"/>
                    <a:gd name="connsiteX1" fmla="*/ 30262 w 231992"/>
                    <a:gd name="connsiteY1" fmla="*/ 0 h 74280"/>
                    <a:gd name="connsiteX2" fmla="*/ 0 w 231992"/>
                    <a:gd name="connsiteY2" fmla="*/ 24401 h 74280"/>
                    <a:gd name="connsiteX3" fmla="*/ 195630 w 231992"/>
                    <a:gd name="connsiteY3" fmla="*/ 74280 h 74280"/>
                    <a:gd name="connsiteX4" fmla="*/ 231992 w 231992"/>
                    <a:gd name="connsiteY4" fmla="*/ 44556 h 74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92" h="74280">
                      <a:moveTo>
                        <a:pt x="231992" y="44556"/>
                      </a:moveTo>
                      <a:cubicBezTo>
                        <a:pt x="162795" y="31698"/>
                        <a:pt x="95572" y="16327"/>
                        <a:pt x="30262" y="0"/>
                      </a:cubicBezTo>
                      <a:cubicBezTo>
                        <a:pt x="19617" y="8612"/>
                        <a:pt x="9510" y="16746"/>
                        <a:pt x="0" y="24401"/>
                      </a:cubicBezTo>
                      <a:cubicBezTo>
                        <a:pt x="62738" y="42463"/>
                        <a:pt x="127928" y="59747"/>
                        <a:pt x="195630" y="74280"/>
                      </a:cubicBezTo>
                      <a:cubicBezTo>
                        <a:pt x="207411" y="64711"/>
                        <a:pt x="219552" y="54843"/>
                        <a:pt x="231992" y="44556"/>
                      </a:cubicBezTo>
                      <a:close/>
                    </a:path>
                  </a:pathLst>
                </a:custGeom>
                <a:noFill/>
                <a:ln w="6350" cap="rnd">
                  <a:solidFill>
                    <a:schemeClr val="bg1">
                      <a:alpha val="40000"/>
                    </a:schemeClr>
                  </a:solidFill>
                  <a:prstDash val="solid"/>
                  <a:miter/>
                </a:ln>
              </p:spPr>
              <p:txBody>
                <a:bodyPr rtlCol="0" anchor="ctr"/>
                <a:lstStyle/>
                <a:p>
                  <a:endParaRPr lang="en-GB"/>
                </a:p>
              </p:txBody>
            </p:sp>
            <p:sp>
              <p:nvSpPr>
                <p:cNvPr id="8281" name="Vrije vorm: vorm 8280">
                  <a:extLst>
                    <a:ext uri="{FF2B5EF4-FFF2-40B4-BE49-F238E27FC236}">
                      <a16:creationId xmlns:a16="http://schemas.microsoft.com/office/drawing/2014/main" id="{FC707063-BA38-419F-A364-42002136DE5C}"/>
                    </a:ext>
                  </a:extLst>
                </p:cNvPr>
                <p:cNvSpPr/>
                <p:nvPr/>
              </p:nvSpPr>
              <p:spPr>
                <a:xfrm>
                  <a:off x="4309428" y="4855130"/>
                  <a:ext cx="120212" cy="48144"/>
                </a:xfrm>
                <a:custGeom>
                  <a:avLst/>
                  <a:gdLst>
                    <a:gd name="connsiteX0" fmla="*/ 120213 w 120212"/>
                    <a:gd name="connsiteY0" fmla="*/ 19437 h 48144"/>
                    <a:gd name="connsiteX1" fmla="*/ 34449 w 120212"/>
                    <a:gd name="connsiteY1" fmla="*/ 0 h 48144"/>
                    <a:gd name="connsiteX2" fmla="*/ 0 w 120212"/>
                    <a:gd name="connsiteY2" fmla="*/ 27870 h 48144"/>
                    <a:gd name="connsiteX3" fmla="*/ 84807 w 120212"/>
                    <a:gd name="connsiteY3" fmla="*/ 48145 h 48144"/>
                    <a:gd name="connsiteX4" fmla="*/ 120213 w 120212"/>
                    <a:gd name="connsiteY4" fmla="*/ 19437 h 4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12" h="48144">
                      <a:moveTo>
                        <a:pt x="120213" y="19437"/>
                      </a:moveTo>
                      <a:cubicBezTo>
                        <a:pt x="91445" y="13157"/>
                        <a:pt x="62857" y="6639"/>
                        <a:pt x="34449" y="0"/>
                      </a:cubicBezTo>
                      <a:cubicBezTo>
                        <a:pt x="22488" y="9749"/>
                        <a:pt x="11005" y="19019"/>
                        <a:pt x="0" y="27870"/>
                      </a:cubicBezTo>
                      <a:cubicBezTo>
                        <a:pt x="27990" y="34807"/>
                        <a:pt x="56219" y="41626"/>
                        <a:pt x="84807" y="48145"/>
                      </a:cubicBezTo>
                      <a:cubicBezTo>
                        <a:pt x="96230" y="38994"/>
                        <a:pt x="108072" y="29365"/>
                        <a:pt x="120213" y="19437"/>
                      </a:cubicBezTo>
                      <a:close/>
                    </a:path>
                  </a:pathLst>
                </a:custGeom>
                <a:noFill/>
                <a:ln w="6350" cap="rnd">
                  <a:solidFill>
                    <a:schemeClr val="bg1">
                      <a:alpha val="40000"/>
                    </a:schemeClr>
                  </a:solidFill>
                  <a:prstDash val="solid"/>
                  <a:miter/>
                </a:ln>
              </p:spPr>
              <p:txBody>
                <a:bodyPr rtlCol="0" anchor="ctr"/>
                <a:lstStyle/>
                <a:p>
                  <a:endParaRPr lang="en-GB"/>
                </a:p>
              </p:txBody>
            </p:sp>
            <p:sp>
              <p:nvSpPr>
                <p:cNvPr id="8282" name="Vrije vorm: vorm 8281">
                  <a:extLst>
                    <a:ext uri="{FF2B5EF4-FFF2-40B4-BE49-F238E27FC236}">
                      <a16:creationId xmlns:a16="http://schemas.microsoft.com/office/drawing/2014/main" id="{1F0E9BFB-C262-4FE2-9E65-5FCAE6912CAD}"/>
                    </a:ext>
                  </a:extLst>
                </p:cNvPr>
                <p:cNvSpPr/>
                <p:nvPr/>
              </p:nvSpPr>
              <p:spPr>
                <a:xfrm>
                  <a:off x="4350995" y="4818528"/>
                  <a:ext cx="122365" cy="51374"/>
                </a:xfrm>
                <a:custGeom>
                  <a:avLst/>
                  <a:gdLst>
                    <a:gd name="connsiteX0" fmla="*/ 122366 w 122365"/>
                    <a:gd name="connsiteY0" fmla="*/ 20215 h 51374"/>
                    <a:gd name="connsiteX1" fmla="*/ 37918 w 122365"/>
                    <a:gd name="connsiteY1" fmla="*/ 0 h 51374"/>
                    <a:gd name="connsiteX2" fmla="*/ 0 w 122365"/>
                    <a:gd name="connsiteY2" fmla="*/ 30860 h 51374"/>
                    <a:gd name="connsiteX3" fmla="*/ 84388 w 122365"/>
                    <a:gd name="connsiteY3" fmla="*/ 51374 h 51374"/>
                    <a:gd name="connsiteX4" fmla="*/ 122366 w 122365"/>
                    <a:gd name="connsiteY4" fmla="*/ 20215 h 51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65" h="51374">
                      <a:moveTo>
                        <a:pt x="122366" y="20215"/>
                      </a:moveTo>
                      <a:cubicBezTo>
                        <a:pt x="94137" y="13636"/>
                        <a:pt x="66027" y="6878"/>
                        <a:pt x="37918" y="0"/>
                      </a:cubicBezTo>
                      <a:cubicBezTo>
                        <a:pt x="24820" y="10645"/>
                        <a:pt x="12141" y="20933"/>
                        <a:pt x="0" y="30860"/>
                      </a:cubicBezTo>
                      <a:cubicBezTo>
                        <a:pt x="27990" y="37798"/>
                        <a:pt x="56159" y="44676"/>
                        <a:pt x="84388" y="51374"/>
                      </a:cubicBezTo>
                      <a:cubicBezTo>
                        <a:pt x="96708" y="41327"/>
                        <a:pt x="109388" y="30920"/>
                        <a:pt x="122366" y="20215"/>
                      </a:cubicBezTo>
                      <a:close/>
                    </a:path>
                  </a:pathLst>
                </a:custGeom>
                <a:noFill/>
                <a:ln w="6350" cap="rnd">
                  <a:solidFill>
                    <a:schemeClr val="bg1">
                      <a:alpha val="40000"/>
                    </a:schemeClr>
                  </a:solidFill>
                  <a:prstDash val="solid"/>
                  <a:miter/>
                </a:ln>
              </p:spPr>
              <p:txBody>
                <a:bodyPr rtlCol="0" anchor="ctr"/>
                <a:lstStyle/>
                <a:p>
                  <a:endParaRPr lang="en-GB"/>
                </a:p>
              </p:txBody>
            </p:sp>
            <p:sp>
              <p:nvSpPr>
                <p:cNvPr id="8283" name="Vrije vorm: vorm 8282">
                  <a:extLst>
                    <a:ext uri="{FF2B5EF4-FFF2-40B4-BE49-F238E27FC236}">
                      <a16:creationId xmlns:a16="http://schemas.microsoft.com/office/drawing/2014/main" id="{FC5FEB82-381D-456D-8CD3-910701324A21}"/>
                    </a:ext>
                  </a:extLst>
                </p:cNvPr>
                <p:cNvSpPr/>
                <p:nvPr/>
              </p:nvSpPr>
              <p:spPr>
                <a:xfrm>
                  <a:off x="4397943" y="4777620"/>
                  <a:ext cx="121587" cy="56278"/>
                </a:xfrm>
                <a:custGeom>
                  <a:avLst/>
                  <a:gdLst>
                    <a:gd name="connsiteX0" fmla="*/ 121588 w 121587"/>
                    <a:gd name="connsiteY0" fmla="*/ 23085 h 56278"/>
                    <a:gd name="connsiteX1" fmla="*/ 41147 w 121587"/>
                    <a:gd name="connsiteY1" fmla="*/ 0 h 56278"/>
                    <a:gd name="connsiteX2" fmla="*/ 0 w 121587"/>
                    <a:gd name="connsiteY2" fmla="*/ 33552 h 56278"/>
                    <a:gd name="connsiteX3" fmla="*/ 81278 w 121587"/>
                    <a:gd name="connsiteY3" fmla="*/ 56278 h 56278"/>
                    <a:gd name="connsiteX4" fmla="*/ 121588 w 121587"/>
                    <a:gd name="connsiteY4" fmla="*/ 23085 h 56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587" h="56278">
                      <a:moveTo>
                        <a:pt x="121588" y="23085"/>
                      </a:moveTo>
                      <a:cubicBezTo>
                        <a:pt x="94854" y="15490"/>
                        <a:pt x="68061" y="7775"/>
                        <a:pt x="41147" y="0"/>
                      </a:cubicBezTo>
                      <a:cubicBezTo>
                        <a:pt x="27033" y="11543"/>
                        <a:pt x="13277" y="22727"/>
                        <a:pt x="0" y="33552"/>
                      </a:cubicBezTo>
                      <a:cubicBezTo>
                        <a:pt x="27092" y="41207"/>
                        <a:pt x="54185" y="48803"/>
                        <a:pt x="81278" y="56278"/>
                      </a:cubicBezTo>
                      <a:cubicBezTo>
                        <a:pt x="94376" y="45513"/>
                        <a:pt x="107832" y="34449"/>
                        <a:pt x="121588" y="23085"/>
                      </a:cubicBezTo>
                      <a:close/>
                    </a:path>
                  </a:pathLst>
                </a:custGeom>
                <a:noFill/>
                <a:ln w="6350" cap="rnd">
                  <a:solidFill>
                    <a:schemeClr val="bg1">
                      <a:alpha val="40000"/>
                    </a:schemeClr>
                  </a:solidFill>
                  <a:prstDash val="solid"/>
                  <a:miter/>
                </a:ln>
              </p:spPr>
              <p:txBody>
                <a:bodyPr rtlCol="0" anchor="ctr"/>
                <a:lstStyle/>
                <a:p>
                  <a:endParaRPr lang="en-GB"/>
                </a:p>
              </p:txBody>
            </p:sp>
            <p:sp>
              <p:nvSpPr>
                <p:cNvPr id="8284" name="Vrije vorm: vorm 8283">
                  <a:extLst>
                    <a:ext uri="{FF2B5EF4-FFF2-40B4-BE49-F238E27FC236}">
                      <a16:creationId xmlns:a16="http://schemas.microsoft.com/office/drawing/2014/main" id="{2BFCBA19-7182-4193-881B-C6A86DD00558}"/>
                    </a:ext>
                  </a:extLst>
                </p:cNvPr>
                <p:cNvSpPr/>
                <p:nvPr/>
              </p:nvSpPr>
              <p:spPr>
                <a:xfrm>
                  <a:off x="4445550" y="4736532"/>
                  <a:ext cx="117880" cy="58551"/>
                </a:xfrm>
                <a:custGeom>
                  <a:avLst/>
                  <a:gdLst>
                    <a:gd name="connsiteX0" fmla="*/ 117880 w 117880"/>
                    <a:gd name="connsiteY0" fmla="*/ 27810 h 58551"/>
                    <a:gd name="connsiteX1" fmla="*/ 43899 w 117880"/>
                    <a:gd name="connsiteY1" fmla="*/ 0 h 58551"/>
                    <a:gd name="connsiteX2" fmla="*/ 0 w 117880"/>
                    <a:gd name="connsiteY2" fmla="*/ 35824 h 58551"/>
                    <a:gd name="connsiteX3" fmla="*/ 80800 w 117880"/>
                    <a:gd name="connsiteY3" fmla="*/ 58551 h 58551"/>
                    <a:gd name="connsiteX4" fmla="*/ 117880 w 117880"/>
                    <a:gd name="connsiteY4" fmla="*/ 27810 h 58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80" h="58551">
                      <a:moveTo>
                        <a:pt x="117880" y="27810"/>
                      </a:moveTo>
                      <a:cubicBezTo>
                        <a:pt x="93359" y="18540"/>
                        <a:pt x="68718" y="9270"/>
                        <a:pt x="43899" y="0"/>
                      </a:cubicBezTo>
                      <a:cubicBezTo>
                        <a:pt x="28887" y="12260"/>
                        <a:pt x="14234" y="24222"/>
                        <a:pt x="0" y="35824"/>
                      </a:cubicBezTo>
                      <a:cubicBezTo>
                        <a:pt x="26973" y="43480"/>
                        <a:pt x="53886" y="51015"/>
                        <a:pt x="80800" y="58551"/>
                      </a:cubicBezTo>
                      <a:cubicBezTo>
                        <a:pt x="92881" y="48504"/>
                        <a:pt x="105261" y="38276"/>
                        <a:pt x="117880" y="27810"/>
                      </a:cubicBezTo>
                      <a:close/>
                    </a:path>
                  </a:pathLst>
                </a:custGeom>
                <a:noFill/>
                <a:ln w="6350" cap="rnd">
                  <a:solidFill>
                    <a:schemeClr val="bg1">
                      <a:alpha val="40000"/>
                    </a:schemeClr>
                  </a:solidFill>
                  <a:prstDash val="solid"/>
                  <a:miter/>
                </a:ln>
              </p:spPr>
              <p:txBody>
                <a:bodyPr rtlCol="0" anchor="ctr"/>
                <a:lstStyle/>
                <a:p>
                  <a:endParaRPr lang="en-GB"/>
                </a:p>
              </p:txBody>
            </p:sp>
            <p:sp>
              <p:nvSpPr>
                <p:cNvPr id="8285" name="Vrije vorm: vorm 8284">
                  <a:extLst>
                    <a:ext uri="{FF2B5EF4-FFF2-40B4-BE49-F238E27FC236}">
                      <a16:creationId xmlns:a16="http://schemas.microsoft.com/office/drawing/2014/main" id="{1965A7A8-1A40-48F8-9F78-DA1298934CBC}"/>
                    </a:ext>
                  </a:extLst>
                </p:cNvPr>
                <p:cNvSpPr/>
                <p:nvPr/>
              </p:nvSpPr>
              <p:spPr>
                <a:xfrm>
                  <a:off x="4496984" y="4692394"/>
                  <a:ext cx="116624" cy="65907"/>
                </a:xfrm>
                <a:custGeom>
                  <a:avLst/>
                  <a:gdLst>
                    <a:gd name="connsiteX0" fmla="*/ 116624 w 116624"/>
                    <a:gd name="connsiteY0" fmla="*/ 30262 h 65907"/>
                    <a:gd name="connsiteX1" fmla="*/ 46351 w 116624"/>
                    <a:gd name="connsiteY1" fmla="*/ 0 h 65907"/>
                    <a:gd name="connsiteX2" fmla="*/ 0 w 116624"/>
                    <a:gd name="connsiteY2" fmla="*/ 37918 h 65907"/>
                    <a:gd name="connsiteX3" fmla="*/ 73683 w 116624"/>
                    <a:gd name="connsiteY3" fmla="*/ 65908 h 65907"/>
                    <a:gd name="connsiteX4" fmla="*/ 116624 w 116624"/>
                    <a:gd name="connsiteY4" fmla="*/ 30262 h 65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624" h="65907">
                      <a:moveTo>
                        <a:pt x="116624" y="30262"/>
                      </a:moveTo>
                      <a:cubicBezTo>
                        <a:pt x="93359" y="20155"/>
                        <a:pt x="69974" y="10107"/>
                        <a:pt x="46351" y="0"/>
                      </a:cubicBezTo>
                      <a:cubicBezTo>
                        <a:pt x="30561" y="12918"/>
                        <a:pt x="15131" y="25538"/>
                        <a:pt x="0" y="37918"/>
                      </a:cubicBezTo>
                      <a:cubicBezTo>
                        <a:pt x="24700" y="47248"/>
                        <a:pt x="49221" y="56578"/>
                        <a:pt x="73683" y="65908"/>
                      </a:cubicBezTo>
                      <a:cubicBezTo>
                        <a:pt x="87797" y="54245"/>
                        <a:pt x="102091" y="42344"/>
                        <a:pt x="116624" y="30262"/>
                      </a:cubicBezTo>
                      <a:close/>
                    </a:path>
                  </a:pathLst>
                </a:custGeom>
                <a:noFill/>
                <a:ln w="6350" cap="rnd">
                  <a:solidFill>
                    <a:schemeClr val="bg1">
                      <a:alpha val="40000"/>
                    </a:schemeClr>
                  </a:solidFill>
                  <a:prstDash val="solid"/>
                  <a:miter/>
                </a:ln>
              </p:spPr>
              <p:txBody>
                <a:bodyPr rtlCol="0" anchor="ctr"/>
                <a:lstStyle/>
                <a:p>
                  <a:endParaRPr lang="en-GB"/>
                </a:p>
              </p:txBody>
            </p:sp>
            <p:sp>
              <p:nvSpPr>
                <p:cNvPr id="8286" name="Vrije vorm: vorm 8285">
                  <a:extLst>
                    <a:ext uri="{FF2B5EF4-FFF2-40B4-BE49-F238E27FC236}">
                      <a16:creationId xmlns:a16="http://schemas.microsoft.com/office/drawing/2014/main" id="{2F8F9B14-2ED1-4AA6-AD55-13AB302F8764}"/>
                    </a:ext>
                  </a:extLst>
                </p:cNvPr>
                <p:cNvSpPr/>
                <p:nvPr/>
              </p:nvSpPr>
              <p:spPr>
                <a:xfrm>
                  <a:off x="4550870" y="4646642"/>
                  <a:ext cx="114351" cy="70154"/>
                </a:xfrm>
                <a:custGeom>
                  <a:avLst/>
                  <a:gdLst>
                    <a:gd name="connsiteX0" fmla="*/ 114352 w 114351"/>
                    <a:gd name="connsiteY0" fmla="*/ 33133 h 70154"/>
                    <a:gd name="connsiteX1" fmla="*/ 48444 w 114351"/>
                    <a:gd name="connsiteY1" fmla="*/ 0 h 70154"/>
                    <a:gd name="connsiteX2" fmla="*/ 0 w 114351"/>
                    <a:gd name="connsiteY2" fmla="*/ 39652 h 70154"/>
                    <a:gd name="connsiteX3" fmla="*/ 69855 w 114351"/>
                    <a:gd name="connsiteY3" fmla="*/ 70154 h 70154"/>
                    <a:gd name="connsiteX4" fmla="*/ 114352 w 114351"/>
                    <a:gd name="connsiteY4" fmla="*/ 33133 h 70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51" h="70154">
                      <a:moveTo>
                        <a:pt x="114352" y="33133"/>
                      </a:moveTo>
                      <a:cubicBezTo>
                        <a:pt x="92522" y="22069"/>
                        <a:pt x="70573" y="11005"/>
                        <a:pt x="48444" y="0"/>
                      </a:cubicBezTo>
                      <a:cubicBezTo>
                        <a:pt x="31997" y="13457"/>
                        <a:pt x="15849" y="26674"/>
                        <a:pt x="0" y="39652"/>
                      </a:cubicBezTo>
                      <a:cubicBezTo>
                        <a:pt x="23445" y="49820"/>
                        <a:pt x="46710" y="59987"/>
                        <a:pt x="69855" y="70154"/>
                      </a:cubicBezTo>
                      <a:cubicBezTo>
                        <a:pt x="84448" y="58013"/>
                        <a:pt x="99280" y="45693"/>
                        <a:pt x="114352" y="33133"/>
                      </a:cubicBezTo>
                      <a:close/>
                    </a:path>
                  </a:pathLst>
                </a:custGeom>
                <a:noFill/>
                <a:ln w="6350" cap="rnd">
                  <a:solidFill>
                    <a:schemeClr val="bg1">
                      <a:alpha val="40000"/>
                    </a:schemeClr>
                  </a:solidFill>
                  <a:prstDash val="solid"/>
                  <a:miter/>
                </a:ln>
              </p:spPr>
              <p:txBody>
                <a:bodyPr rtlCol="0" anchor="ctr"/>
                <a:lstStyle/>
                <a:p>
                  <a:endParaRPr lang="en-GB"/>
                </a:p>
              </p:txBody>
            </p:sp>
            <p:sp>
              <p:nvSpPr>
                <p:cNvPr id="8287" name="Vrije vorm: vorm 8286">
                  <a:extLst>
                    <a:ext uri="{FF2B5EF4-FFF2-40B4-BE49-F238E27FC236}">
                      <a16:creationId xmlns:a16="http://schemas.microsoft.com/office/drawing/2014/main" id="{3BE295C2-56D5-44E9-8A51-C61A0D46C582}"/>
                    </a:ext>
                  </a:extLst>
                </p:cNvPr>
                <p:cNvSpPr/>
                <p:nvPr/>
              </p:nvSpPr>
              <p:spPr>
                <a:xfrm>
                  <a:off x="4608225" y="4598198"/>
                  <a:ext cx="107354" cy="75656"/>
                </a:xfrm>
                <a:custGeom>
                  <a:avLst/>
                  <a:gdLst>
                    <a:gd name="connsiteX0" fmla="*/ 107354 w 107354"/>
                    <a:gd name="connsiteY0" fmla="*/ 39712 h 75656"/>
                    <a:gd name="connsiteX1" fmla="*/ 50298 w 107354"/>
                    <a:gd name="connsiteY1" fmla="*/ 0 h 75656"/>
                    <a:gd name="connsiteX2" fmla="*/ 0 w 107354"/>
                    <a:gd name="connsiteY2" fmla="*/ 41147 h 75656"/>
                    <a:gd name="connsiteX3" fmla="*/ 64114 w 107354"/>
                    <a:gd name="connsiteY3" fmla="*/ 75656 h 75656"/>
                    <a:gd name="connsiteX4" fmla="*/ 107354 w 107354"/>
                    <a:gd name="connsiteY4" fmla="*/ 39712 h 75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4" h="75656">
                      <a:moveTo>
                        <a:pt x="107354" y="39712"/>
                      </a:moveTo>
                      <a:cubicBezTo>
                        <a:pt x="88455" y="26435"/>
                        <a:pt x="69436" y="13218"/>
                        <a:pt x="50298" y="0"/>
                      </a:cubicBezTo>
                      <a:cubicBezTo>
                        <a:pt x="33313" y="13935"/>
                        <a:pt x="16507" y="27631"/>
                        <a:pt x="0" y="41147"/>
                      </a:cubicBezTo>
                      <a:cubicBezTo>
                        <a:pt x="21530" y="52630"/>
                        <a:pt x="42882" y="64113"/>
                        <a:pt x="64114" y="75656"/>
                      </a:cubicBezTo>
                      <a:cubicBezTo>
                        <a:pt x="78347" y="63814"/>
                        <a:pt x="92761" y="51853"/>
                        <a:pt x="107354" y="39712"/>
                      </a:cubicBezTo>
                      <a:close/>
                    </a:path>
                  </a:pathLst>
                </a:custGeom>
                <a:noFill/>
                <a:ln w="6350" cap="rnd">
                  <a:solidFill>
                    <a:schemeClr val="bg1">
                      <a:alpha val="40000"/>
                    </a:schemeClr>
                  </a:solidFill>
                  <a:prstDash val="solid"/>
                  <a:miter/>
                </a:ln>
              </p:spPr>
              <p:txBody>
                <a:bodyPr rtlCol="0" anchor="ctr"/>
                <a:lstStyle/>
                <a:p>
                  <a:endParaRPr lang="en-GB"/>
                </a:p>
              </p:txBody>
            </p:sp>
            <p:sp>
              <p:nvSpPr>
                <p:cNvPr id="8288" name="Vrije vorm: vorm 8287">
                  <a:extLst>
                    <a:ext uri="{FF2B5EF4-FFF2-40B4-BE49-F238E27FC236}">
                      <a16:creationId xmlns:a16="http://schemas.microsoft.com/office/drawing/2014/main" id="{BA851BD0-0D69-4244-83A7-179534D1856F}"/>
                    </a:ext>
                  </a:extLst>
                </p:cNvPr>
                <p:cNvSpPr/>
                <p:nvPr/>
              </p:nvSpPr>
              <p:spPr>
                <a:xfrm>
                  <a:off x="4668571" y="4547601"/>
                  <a:ext cx="102868" cy="83610"/>
                </a:xfrm>
                <a:custGeom>
                  <a:avLst/>
                  <a:gdLst>
                    <a:gd name="connsiteX0" fmla="*/ 102868 w 102868"/>
                    <a:gd name="connsiteY0" fmla="*/ 43959 h 83610"/>
                    <a:gd name="connsiteX1" fmla="*/ 51853 w 102868"/>
                    <a:gd name="connsiteY1" fmla="*/ 0 h 83610"/>
                    <a:gd name="connsiteX2" fmla="*/ 0 w 102868"/>
                    <a:gd name="connsiteY2" fmla="*/ 42403 h 83610"/>
                    <a:gd name="connsiteX3" fmla="*/ 55082 w 102868"/>
                    <a:gd name="connsiteY3" fmla="*/ 83611 h 83610"/>
                    <a:gd name="connsiteX4" fmla="*/ 102868 w 102868"/>
                    <a:gd name="connsiteY4" fmla="*/ 43959 h 83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68" h="83610">
                      <a:moveTo>
                        <a:pt x="102868" y="43959"/>
                      </a:moveTo>
                      <a:cubicBezTo>
                        <a:pt x="85943" y="29246"/>
                        <a:pt x="68958" y="14593"/>
                        <a:pt x="51853" y="0"/>
                      </a:cubicBezTo>
                      <a:cubicBezTo>
                        <a:pt x="34389" y="14294"/>
                        <a:pt x="17105" y="28468"/>
                        <a:pt x="0" y="42403"/>
                      </a:cubicBezTo>
                      <a:cubicBezTo>
                        <a:pt x="18480" y="56099"/>
                        <a:pt x="36841" y="69855"/>
                        <a:pt x="55082" y="83611"/>
                      </a:cubicBezTo>
                      <a:cubicBezTo>
                        <a:pt x="70812" y="70573"/>
                        <a:pt x="86780" y="57295"/>
                        <a:pt x="102868" y="43959"/>
                      </a:cubicBezTo>
                      <a:close/>
                    </a:path>
                  </a:pathLst>
                </a:custGeom>
                <a:noFill/>
                <a:ln w="6350" cap="rnd">
                  <a:solidFill>
                    <a:schemeClr val="bg1">
                      <a:alpha val="40000"/>
                    </a:schemeClr>
                  </a:solidFill>
                  <a:prstDash val="solid"/>
                  <a:miter/>
                </a:ln>
              </p:spPr>
              <p:txBody>
                <a:bodyPr rtlCol="0" anchor="ctr"/>
                <a:lstStyle/>
                <a:p>
                  <a:endParaRPr lang="en-GB"/>
                </a:p>
              </p:txBody>
            </p:sp>
            <p:sp>
              <p:nvSpPr>
                <p:cNvPr id="8289" name="Vrije vorm: vorm 8288">
                  <a:extLst>
                    <a:ext uri="{FF2B5EF4-FFF2-40B4-BE49-F238E27FC236}">
                      <a16:creationId xmlns:a16="http://schemas.microsoft.com/office/drawing/2014/main" id="{4421A214-5110-4459-A721-6D295195E503}"/>
                    </a:ext>
                  </a:extLst>
                </p:cNvPr>
                <p:cNvSpPr/>
                <p:nvPr/>
              </p:nvSpPr>
              <p:spPr>
                <a:xfrm>
                  <a:off x="4445550" y="4564467"/>
                  <a:ext cx="463326" cy="326846"/>
                </a:xfrm>
                <a:custGeom>
                  <a:avLst/>
                  <a:gdLst>
                    <a:gd name="connsiteX0" fmla="*/ 0 w 463326"/>
                    <a:gd name="connsiteY0" fmla="*/ 310101 h 326846"/>
                    <a:gd name="connsiteX1" fmla="*/ 77570 w 463326"/>
                    <a:gd name="connsiteY1" fmla="*/ 326847 h 326846"/>
                    <a:gd name="connsiteX2" fmla="*/ 463327 w 463326"/>
                    <a:gd name="connsiteY2" fmla="*/ 0 h 326846"/>
                  </a:gdLst>
                  <a:ahLst/>
                  <a:cxnLst>
                    <a:cxn ang="0">
                      <a:pos x="connsiteX0" y="connsiteY0"/>
                    </a:cxn>
                    <a:cxn ang="0">
                      <a:pos x="connsiteX1" y="connsiteY1"/>
                    </a:cxn>
                    <a:cxn ang="0">
                      <a:pos x="connsiteX2" y="connsiteY2"/>
                    </a:cxn>
                  </a:cxnLst>
                  <a:rect l="l" t="t" r="r" b="b"/>
                  <a:pathLst>
                    <a:path w="463326" h="326846">
                      <a:moveTo>
                        <a:pt x="0" y="310101"/>
                      </a:moveTo>
                      <a:cubicBezTo>
                        <a:pt x="25717" y="315902"/>
                        <a:pt x="51554" y="321464"/>
                        <a:pt x="77570" y="326847"/>
                      </a:cubicBezTo>
                      <a:cubicBezTo>
                        <a:pt x="188632" y="233846"/>
                        <a:pt x="322600" y="118179"/>
                        <a:pt x="463327" y="0"/>
                      </a:cubicBezTo>
                    </a:path>
                  </a:pathLst>
                </a:custGeom>
                <a:noFill/>
                <a:ln w="6350" cap="rnd">
                  <a:solidFill>
                    <a:schemeClr val="bg1">
                      <a:alpha val="40000"/>
                    </a:schemeClr>
                  </a:solidFill>
                  <a:prstDash val="solid"/>
                  <a:miter/>
                </a:ln>
              </p:spPr>
              <p:txBody>
                <a:bodyPr rtlCol="0" anchor="ctr"/>
                <a:lstStyle/>
                <a:p>
                  <a:endParaRPr lang="en-GB"/>
                </a:p>
              </p:txBody>
            </p:sp>
            <p:sp>
              <p:nvSpPr>
                <p:cNvPr id="8290" name="Vrije vorm: vorm 8289">
                  <a:extLst>
                    <a:ext uri="{FF2B5EF4-FFF2-40B4-BE49-F238E27FC236}">
                      <a16:creationId xmlns:a16="http://schemas.microsoft.com/office/drawing/2014/main" id="{536B73E9-1DC2-4291-B9F4-24112C26FAB5}"/>
                    </a:ext>
                  </a:extLst>
                </p:cNvPr>
                <p:cNvSpPr/>
                <p:nvPr/>
              </p:nvSpPr>
              <p:spPr>
                <a:xfrm>
                  <a:off x="4458229" y="4864161"/>
                  <a:ext cx="76553" cy="17404"/>
                </a:xfrm>
                <a:custGeom>
                  <a:avLst/>
                  <a:gdLst>
                    <a:gd name="connsiteX0" fmla="*/ 0 w 76553"/>
                    <a:gd name="connsiteY0" fmla="*/ 0 h 17404"/>
                    <a:gd name="connsiteX1" fmla="*/ 76554 w 76553"/>
                    <a:gd name="connsiteY1" fmla="*/ 17404 h 17404"/>
                  </a:gdLst>
                  <a:ahLst/>
                  <a:cxnLst>
                    <a:cxn ang="0">
                      <a:pos x="connsiteX0" y="connsiteY0"/>
                    </a:cxn>
                    <a:cxn ang="0">
                      <a:pos x="connsiteX1" y="connsiteY1"/>
                    </a:cxn>
                  </a:cxnLst>
                  <a:rect l="l" t="t" r="r" b="b"/>
                  <a:pathLst>
                    <a:path w="76553" h="17404">
                      <a:moveTo>
                        <a:pt x="0" y="0"/>
                      </a:moveTo>
                      <a:cubicBezTo>
                        <a:pt x="25418" y="5981"/>
                        <a:pt x="50956" y="11782"/>
                        <a:pt x="76554" y="17404"/>
                      </a:cubicBezTo>
                    </a:path>
                  </a:pathLst>
                </a:custGeom>
                <a:noFill/>
                <a:ln w="6350" cap="rnd">
                  <a:solidFill>
                    <a:schemeClr val="bg1">
                      <a:alpha val="40000"/>
                    </a:schemeClr>
                  </a:solidFill>
                  <a:prstDash val="solid"/>
                  <a:miter/>
                </a:ln>
              </p:spPr>
              <p:txBody>
                <a:bodyPr rtlCol="0" anchor="ctr"/>
                <a:lstStyle/>
                <a:p>
                  <a:endParaRPr lang="en-GB"/>
                </a:p>
              </p:txBody>
            </p:sp>
            <p:sp>
              <p:nvSpPr>
                <p:cNvPr id="8291" name="Vrije vorm: vorm 8290">
                  <a:extLst>
                    <a:ext uri="{FF2B5EF4-FFF2-40B4-BE49-F238E27FC236}">
                      <a16:creationId xmlns:a16="http://schemas.microsoft.com/office/drawing/2014/main" id="{0411B48B-A33C-4629-BC6A-D80A864E726B}"/>
                    </a:ext>
                  </a:extLst>
                </p:cNvPr>
                <p:cNvSpPr/>
                <p:nvPr/>
              </p:nvSpPr>
              <p:spPr>
                <a:xfrm>
                  <a:off x="4468336" y="4855848"/>
                  <a:ext cx="76613" cy="17164"/>
                </a:xfrm>
                <a:custGeom>
                  <a:avLst/>
                  <a:gdLst>
                    <a:gd name="connsiteX0" fmla="*/ 0 w 76613"/>
                    <a:gd name="connsiteY0" fmla="*/ 0 h 17164"/>
                    <a:gd name="connsiteX1" fmla="*/ 76613 w 76613"/>
                    <a:gd name="connsiteY1" fmla="*/ 17165 h 17164"/>
                  </a:gdLst>
                  <a:ahLst/>
                  <a:cxnLst>
                    <a:cxn ang="0">
                      <a:pos x="connsiteX0" y="connsiteY0"/>
                    </a:cxn>
                    <a:cxn ang="0">
                      <a:pos x="connsiteX1" y="connsiteY1"/>
                    </a:cxn>
                  </a:cxnLst>
                  <a:rect l="l" t="t" r="r" b="b"/>
                  <a:pathLst>
                    <a:path w="76613" h="17164">
                      <a:moveTo>
                        <a:pt x="0" y="0"/>
                      </a:moveTo>
                      <a:cubicBezTo>
                        <a:pt x="25478" y="5921"/>
                        <a:pt x="51016" y="11603"/>
                        <a:pt x="76613" y="17165"/>
                      </a:cubicBezTo>
                    </a:path>
                  </a:pathLst>
                </a:custGeom>
                <a:noFill/>
                <a:ln w="6350" cap="rnd">
                  <a:solidFill>
                    <a:schemeClr val="bg1">
                      <a:alpha val="40000"/>
                    </a:schemeClr>
                  </a:solidFill>
                  <a:prstDash val="solid"/>
                  <a:miter/>
                </a:ln>
              </p:spPr>
              <p:txBody>
                <a:bodyPr rtlCol="0" anchor="ctr"/>
                <a:lstStyle/>
                <a:p>
                  <a:endParaRPr lang="en-GB"/>
                </a:p>
              </p:txBody>
            </p:sp>
            <p:sp>
              <p:nvSpPr>
                <p:cNvPr id="8292" name="Vrije vorm: vorm 8291">
                  <a:extLst>
                    <a:ext uri="{FF2B5EF4-FFF2-40B4-BE49-F238E27FC236}">
                      <a16:creationId xmlns:a16="http://schemas.microsoft.com/office/drawing/2014/main" id="{127772E2-77FA-45C5-AE6D-CD0A22A82F60}"/>
                    </a:ext>
                  </a:extLst>
                </p:cNvPr>
                <p:cNvSpPr/>
                <p:nvPr/>
              </p:nvSpPr>
              <p:spPr>
                <a:xfrm>
                  <a:off x="4501051" y="4828934"/>
                  <a:ext cx="72725" cy="19317"/>
                </a:xfrm>
                <a:custGeom>
                  <a:avLst/>
                  <a:gdLst>
                    <a:gd name="connsiteX0" fmla="*/ 0 w 72725"/>
                    <a:gd name="connsiteY0" fmla="*/ 0 h 19317"/>
                    <a:gd name="connsiteX1" fmla="*/ 72725 w 72725"/>
                    <a:gd name="connsiteY1" fmla="*/ 19318 h 19317"/>
                  </a:gdLst>
                  <a:ahLst/>
                  <a:cxnLst>
                    <a:cxn ang="0">
                      <a:pos x="connsiteX0" y="connsiteY0"/>
                    </a:cxn>
                    <a:cxn ang="0">
                      <a:pos x="connsiteX1" y="connsiteY1"/>
                    </a:cxn>
                  </a:cxnLst>
                  <a:rect l="l" t="t" r="r" b="b"/>
                  <a:pathLst>
                    <a:path w="72725" h="19317">
                      <a:moveTo>
                        <a:pt x="0" y="0"/>
                      </a:moveTo>
                      <a:cubicBezTo>
                        <a:pt x="24222" y="6579"/>
                        <a:pt x="48444" y="12978"/>
                        <a:pt x="72725" y="19318"/>
                      </a:cubicBezTo>
                    </a:path>
                  </a:pathLst>
                </a:custGeom>
                <a:noFill/>
                <a:ln w="6350" cap="rnd">
                  <a:solidFill>
                    <a:schemeClr val="bg1">
                      <a:alpha val="40000"/>
                    </a:schemeClr>
                  </a:solidFill>
                  <a:prstDash val="solid"/>
                  <a:miter/>
                </a:ln>
              </p:spPr>
              <p:txBody>
                <a:bodyPr rtlCol="0" anchor="ctr"/>
                <a:lstStyle/>
                <a:p>
                  <a:endParaRPr lang="en-GB"/>
                </a:p>
              </p:txBody>
            </p:sp>
            <p:sp>
              <p:nvSpPr>
                <p:cNvPr id="8293" name="Vrije vorm: vorm 8292">
                  <a:extLst>
                    <a:ext uri="{FF2B5EF4-FFF2-40B4-BE49-F238E27FC236}">
                      <a16:creationId xmlns:a16="http://schemas.microsoft.com/office/drawing/2014/main" id="{14110E98-3D8A-4B3B-816B-06A75247A91F}"/>
                    </a:ext>
                  </a:extLst>
                </p:cNvPr>
                <p:cNvSpPr/>
                <p:nvPr/>
              </p:nvSpPr>
              <p:spPr>
                <a:xfrm>
                  <a:off x="4511697" y="4820143"/>
                  <a:ext cx="73024" cy="18958"/>
                </a:xfrm>
                <a:custGeom>
                  <a:avLst/>
                  <a:gdLst>
                    <a:gd name="connsiteX0" fmla="*/ 0 w 73024"/>
                    <a:gd name="connsiteY0" fmla="*/ 0 h 18958"/>
                    <a:gd name="connsiteX1" fmla="*/ 73025 w 73024"/>
                    <a:gd name="connsiteY1" fmla="*/ 18959 h 18958"/>
                  </a:gdLst>
                  <a:ahLst/>
                  <a:cxnLst>
                    <a:cxn ang="0">
                      <a:pos x="connsiteX0" y="connsiteY0"/>
                    </a:cxn>
                    <a:cxn ang="0">
                      <a:pos x="connsiteX1" y="connsiteY1"/>
                    </a:cxn>
                  </a:cxnLst>
                  <a:rect l="l" t="t" r="r" b="b"/>
                  <a:pathLst>
                    <a:path w="73024" h="18958">
                      <a:moveTo>
                        <a:pt x="0" y="0"/>
                      </a:moveTo>
                      <a:cubicBezTo>
                        <a:pt x="24342" y="6399"/>
                        <a:pt x="48683" y="12739"/>
                        <a:pt x="73025" y="18959"/>
                      </a:cubicBezTo>
                    </a:path>
                  </a:pathLst>
                </a:custGeom>
                <a:noFill/>
                <a:ln w="6350" cap="rnd">
                  <a:solidFill>
                    <a:schemeClr val="bg1">
                      <a:alpha val="40000"/>
                    </a:schemeClr>
                  </a:solidFill>
                  <a:prstDash val="solid"/>
                  <a:miter/>
                </a:ln>
              </p:spPr>
              <p:txBody>
                <a:bodyPr rtlCol="0" anchor="ctr"/>
                <a:lstStyle/>
                <a:p>
                  <a:endParaRPr lang="en-GB"/>
                </a:p>
              </p:txBody>
            </p:sp>
            <p:sp>
              <p:nvSpPr>
                <p:cNvPr id="8294" name="Vrije vorm: vorm 8293">
                  <a:extLst>
                    <a:ext uri="{FF2B5EF4-FFF2-40B4-BE49-F238E27FC236}">
                      <a16:creationId xmlns:a16="http://schemas.microsoft.com/office/drawing/2014/main" id="{1A5C604F-52A0-4BA5-8A45-A73073F9D0A1}"/>
                    </a:ext>
                  </a:extLst>
                </p:cNvPr>
                <p:cNvSpPr/>
                <p:nvPr/>
              </p:nvSpPr>
              <p:spPr>
                <a:xfrm>
                  <a:off x="4531014" y="4803337"/>
                  <a:ext cx="69735" cy="22248"/>
                </a:xfrm>
                <a:custGeom>
                  <a:avLst/>
                  <a:gdLst>
                    <a:gd name="connsiteX0" fmla="*/ 0 w 69735"/>
                    <a:gd name="connsiteY0" fmla="*/ 0 h 22248"/>
                    <a:gd name="connsiteX1" fmla="*/ 69735 w 69735"/>
                    <a:gd name="connsiteY1" fmla="*/ 22248 h 22248"/>
                  </a:gdLst>
                  <a:ahLst/>
                  <a:cxnLst>
                    <a:cxn ang="0">
                      <a:pos x="connsiteX0" y="connsiteY0"/>
                    </a:cxn>
                    <a:cxn ang="0">
                      <a:pos x="connsiteX1" y="connsiteY1"/>
                    </a:cxn>
                  </a:cxnLst>
                  <a:rect l="l" t="t" r="r" b="b"/>
                  <a:pathLst>
                    <a:path w="69735" h="22248">
                      <a:moveTo>
                        <a:pt x="0" y="0"/>
                      </a:moveTo>
                      <a:cubicBezTo>
                        <a:pt x="23265" y="7476"/>
                        <a:pt x="46530" y="14892"/>
                        <a:pt x="69735" y="22248"/>
                      </a:cubicBezTo>
                    </a:path>
                  </a:pathLst>
                </a:custGeom>
                <a:noFill/>
                <a:ln w="6350" cap="rnd">
                  <a:solidFill>
                    <a:schemeClr val="bg1">
                      <a:alpha val="40000"/>
                    </a:schemeClr>
                  </a:solidFill>
                  <a:prstDash val="solid"/>
                  <a:miter/>
                </a:ln>
              </p:spPr>
              <p:txBody>
                <a:bodyPr rtlCol="0" anchor="ctr"/>
                <a:lstStyle/>
                <a:p>
                  <a:endParaRPr lang="en-GB"/>
                </a:p>
              </p:txBody>
            </p:sp>
            <p:sp>
              <p:nvSpPr>
                <p:cNvPr id="8295" name="Vrije vorm: vorm 8294">
                  <a:extLst>
                    <a:ext uri="{FF2B5EF4-FFF2-40B4-BE49-F238E27FC236}">
                      <a16:creationId xmlns:a16="http://schemas.microsoft.com/office/drawing/2014/main" id="{7D3535DF-C4FF-449B-AC5F-3EDB6563F153}"/>
                    </a:ext>
                  </a:extLst>
                </p:cNvPr>
                <p:cNvSpPr/>
                <p:nvPr/>
              </p:nvSpPr>
              <p:spPr>
                <a:xfrm>
                  <a:off x="4574674" y="4766256"/>
                  <a:ext cx="67940" cy="23504"/>
                </a:xfrm>
                <a:custGeom>
                  <a:avLst/>
                  <a:gdLst>
                    <a:gd name="connsiteX0" fmla="*/ 0 w 67940"/>
                    <a:gd name="connsiteY0" fmla="*/ 0 h 23504"/>
                    <a:gd name="connsiteX1" fmla="*/ 67941 w 67940"/>
                    <a:gd name="connsiteY1" fmla="*/ 23504 h 23504"/>
                  </a:gdLst>
                  <a:ahLst/>
                  <a:cxnLst>
                    <a:cxn ang="0">
                      <a:pos x="connsiteX0" y="connsiteY0"/>
                    </a:cxn>
                    <a:cxn ang="0">
                      <a:pos x="connsiteX1" y="connsiteY1"/>
                    </a:cxn>
                  </a:cxnLst>
                  <a:rect l="l" t="t" r="r" b="b"/>
                  <a:pathLst>
                    <a:path w="67940" h="23504">
                      <a:moveTo>
                        <a:pt x="0" y="0"/>
                      </a:moveTo>
                      <a:cubicBezTo>
                        <a:pt x="22727" y="7895"/>
                        <a:pt x="45393" y="15729"/>
                        <a:pt x="67941" y="23504"/>
                      </a:cubicBezTo>
                    </a:path>
                  </a:pathLst>
                </a:custGeom>
                <a:noFill/>
                <a:ln w="6350" cap="rnd">
                  <a:solidFill>
                    <a:schemeClr val="bg1">
                      <a:alpha val="40000"/>
                    </a:schemeClr>
                  </a:solidFill>
                  <a:prstDash val="solid"/>
                  <a:miter/>
                </a:ln>
              </p:spPr>
              <p:txBody>
                <a:bodyPr rtlCol="0" anchor="ctr"/>
                <a:lstStyle/>
                <a:p>
                  <a:endParaRPr lang="en-GB"/>
                </a:p>
              </p:txBody>
            </p:sp>
            <p:sp>
              <p:nvSpPr>
                <p:cNvPr id="8296" name="Vrije vorm: vorm 8295">
                  <a:extLst>
                    <a:ext uri="{FF2B5EF4-FFF2-40B4-BE49-F238E27FC236}">
                      <a16:creationId xmlns:a16="http://schemas.microsoft.com/office/drawing/2014/main" id="{42B79E72-0B75-4C71-A778-68B0A057AD6A}"/>
                    </a:ext>
                  </a:extLst>
                </p:cNvPr>
                <p:cNvSpPr/>
                <p:nvPr/>
              </p:nvSpPr>
              <p:spPr>
                <a:xfrm>
                  <a:off x="4543993" y="4791674"/>
                  <a:ext cx="71051" cy="22068"/>
                </a:xfrm>
                <a:custGeom>
                  <a:avLst/>
                  <a:gdLst>
                    <a:gd name="connsiteX0" fmla="*/ 0 w 71051"/>
                    <a:gd name="connsiteY0" fmla="*/ 0 h 22068"/>
                    <a:gd name="connsiteX1" fmla="*/ 71051 w 71051"/>
                    <a:gd name="connsiteY1" fmla="*/ 22069 h 22068"/>
                  </a:gdLst>
                  <a:ahLst/>
                  <a:cxnLst>
                    <a:cxn ang="0">
                      <a:pos x="connsiteX0" y="connsiteY0"/>
                    </a:cxn>
                    <a:cxn ang="0">
                      <a:pos x="connsiteX1" y="connsiteY1"/>
                    </a:cxn>
                  </a:cxnLst>
                  <a:rect l="l" t="t" r="r" b="b"/>
                  <a:pathLst>
                    <a:path w="71051" h="22068">
                      <a:moveTo>
                        <a:pt x="0" y="0"/>
                      </a:moveTo>
                      <a:cubicBezTo>
                        <a:pt x="23743" y="7416"/>
                        <a:pt x="47427" y="14832"/>
                        <a:pt x="71051" y="22069"/>
                      </a:cubicBezTo>
                    </a:path>
                  </a:pathLst>
                </a:custGeom>
                <a:noFill/>
                <a:ln w="6350" cap="rnd">
                  <a:solidFill>
                    <a:schemeClr val="bg1">
                      <a:alpha val="40000"/>
                    </a:schemeClr>
                  </a:solidFill>
                  <a:prstDash val="solid"/>
                  <a:miter/>
                </a:ln>
              </p:spPr>
              <p:txBody>
                <a:bodyPr rtlCol="0" anchor="ctr"/>
                <a:lstStyle/>
                <a:p>
                  <a:endParaRPr lang="en-GB"/>
                </a:p>
              </p:txBody>
            </p:sp>
            <p:sp>
              <p:nvSpPr>
                <p:cNvPr id="8297" name="Vrije vorm: vorm 8296">
                  <a:extLst>
                    <a:ext uri="{FF2B5EF4-FFF2-40B4-BE49-F238E27FC236}">
                      <a16:creationId xmlns:a16="http://schemas.microsoft.com/office/drawing/2014/main" id="{BE1DBF2E-AB9C-45C4-990C-C022C0778161}"/>
                    </a:ext>
                  </a:extLst>
                </p:cNvPr>
                <p:cNvSpPr/>
                <p:nvPr/>
              </p:nvSpPr>
              <p:spPr>
                <a:xfrm>
                  <a:off x="4621802" y="4727083"/>
                  <a:ext cx="61003" cy="28049"/>
                </a:xfrm>
                <a:custGeom>
                  <a:avLst/>
                  <a:gdLst>
                    <a:gd name="connsiteX0" fmla="*/ 0 w 61003"/>
                    <a:gd name="connsiteY0" fmla="*/ 0 h 28049"/>
                    <a:gd name="connsiteX1" fmla="*/ 61003 w 61003"/>
                    <a:gd name="connsiteY1" fmla="*/ 28050 h 28049"/>
                  </a:gdLst>
                  <a:ahLst/>
                  <a:cxnLst>
                    <a:cxn ang="0">
                      <a:pos x="connsiteX0" y="connsiteY0"/>
                    </a:cxn>
                    <a:cxn ang="0">
                      <a:pos x="connsiteX1" y="connsiteY1"/>
                    </a:cxn>
                  </a:cxnLst>
                  <a:rect l="l" t="t" r="r" b="b"/>
                  <a:pathLst>
                    <a:path w="61003" h="28049">
                      <a:moveTo>
                        <a:pt x="0" y="0"/>
                      </a:moveTo>
                      <a:cubicBezTo>
                        <a:pt x="20454" y="9330"/>
                        <a:pt x="40789" y="18720"/>
                        <a:pt x="61003" y="28050"/>
                      </a:cubicBezTo>
                    </a:path>
                  </a:pathLst>
                </a:custGeom>
                <a:noFill/>
                <a:ln w="6350" cap="rnd">
                  <a:solidFill>
                    <a:schemeClr val="bg1">
                      <a:alpha val="40000"/>
                    </a:schemeClr>
                  </a:solidFill>
                  <a:prstDash val="solid"/>
                  <a:miter/>
                </a:ln>
              </p:spPr>
              <p:txBody>
                <a:bodyPr rtlCol="0" anchor="ctr"/>
                <a:lstStyle/>
                <a:p>
                  <a:endParaRPr lang="en-GB"/>
                </a:p>
              </p:txBody>
            </p:sp>
            <p:sp>
              <p:nvSpPr>
                <p:cNvPr id="8298" name="Vrije vorm: vorm 8297">
                  <a:extLst>
                    <a:ext uri="{FF2B5EF4-FFF2-40B4-BE49-F238E27FC236}">
                      <a16:creationId xmlns:a16="http://schemas.microsoft.com/office/drawing/2014/main" id="{38D96BA1-5046-487C-80C7-DB8A1B7453E7}"/>
                    </a:ext>
                  </a:extLst>
                </p:cNvPr>
                <p:cNvSpPr/>
                <p:nvPr/>
              </p:nvSpPr>
              <p:spPr>
                <a:xfrm>
                  <a:off x="4635737" y="4715420"/>
                  <a:ext cx="62020" cy="27750"/>
                </a:xfrm>
                <a:custGeom>
                  <a:avLst/>
                  <a:gdLst>
                    <a:gd name="connsiteX0" fmla="*/ 0 w 62020"/>
                    <a:gd name="connsiteY0" fmla="*/ 0 h 27750"/>
                    <a:gd name="connsiteX1" fmla="*/ 62020 w 62020"/>
                    <a:gd name="connsiteY1" fmla="*/ 27751 h 27750"/>
                  </a:gdLst>
                  <a:ahLst/>
                  <a:cxnLst>
                    <a:cxn ang="0">
                      <a:pos x="connsiteX0" y="connsiteY0"/>
                    </a:cxn>
                    <a:cxn ang="0">
                      <a:pos x="connsiteX1" y="connsiteY1"/>
                    </a:cxn>
                  </a:cxnLst>
                  <a:rect l="l" t="t" r="r" b="b"/>
                  <a:pathLst>
                    <a:path w="62020" h="27750">
                      <a:moveTo>
                        <a:pt x="0" y="0"/>
                      </a:moveTo>
                      <a:cubicBezTo>
                        <a:pt x="20813" y="9270"/>
                        <a:pt x="41447" y="18540"/>
                        <a:pt x="62020" y="27751"/>
                      </a:cubicBezTo>
                    </a:path>
                  </a:pathLst>
                </a:custGeom>
                <a:noFill/>
                <a:ln w="6350" cap="rnd">
                  <a:solidFill>
                    <a:schemeClr val="bg1">
                      <a:alpha val="40000"/>
                    </a:schemeClr>
                  </a:solidFill>
                  <a:prstDash val="solid"/>
                  <a:miter/>
                </a:ln>
              </p:spPr>
              <p:txBody>
                <a:bodyPr rtlCol="0" anchor="ctr"/>
                <a:lstStyle/>
                <a:p>
                  <a:endParaRPr lang="en-GB"/>
                </a:p>
              </p:txBody>
            </p:sp>
            <p:sp>
              <p:nvSpPr>
                <p:cNvPr id="8299" name="Vrije vorm: vorm 8298">
                  <a:extLst>
                    <a:ext uri="{FF2B5EF4-FFF2-40B4-BE49-F238E27FC236}">
                      <a16:creationId xmlns:a16="http://schemas.microsoft.com/office/drawing/2014/main" id="{26267DFA-A8D6-4260-8A46-BCFFD8FC1F0F}"/>
                    </a:ext>
                  </a:extLst>
                </p:cNvPr>
                <p:cNvSpPr/>
                <p:nvPr/>
              </p:nvSpPr>
              <p:spPr>
                <a:xfrm>
                  <a:off x="4668152" y="4688447"/>
                  <a:ext cx="55381" cy="31817"/>
                </a:xfrm>
                <a:custGeom>
                  <a:avLst/>
                  <a:gdLst>
                    <a:gd name="connsiteX0" fmla="*/ 0 w 55381"/>
                    <a:gd name="connsiteY0" fmla="*/ 0 h 31817"/>
                    <a:gd name="connsiteX1" fmla="*/ 55382 w 55381"/>
                    <a:gd name="connsiteY1" fmla="*/ 31817 h 31817"/>
                  </a:gdLst>
                  <a:ahLst/>
                  <a:cxnLst>
                    <a:cxn ang="0">
                      <a:pos x="connsiteX0" y="connsiteY0"/>
                    </a:cxn>
                    <a:cxn ang="0">
                      <a:pos x="connsiteX1" y="connsiteY1"/>
                    </a:cxn>
                  </a:cxnLst>
                  <a:rect l="l" t="t" r="r" b="b"/>
                  <a:pathLst>
                    <a:path w="55381" h="31817">
                      <a:moveTo>
                        <a:pt x="0" y="0"/>
                      </a:moveTo>
                      <a:cubicBezTo>
                        <a:pt x="18540" y="10586"/>
                        <a:pt x="37021" y="21231"/>
                        <a:pt x="55382" y="31817"/>
                      </a:cubicBezTo>
                    </a:path>
                  </a:pathLst>
                </a:custGeom>
                <a:noFill/>
                <a:ln w="6350" cap="rnd">
                  <a:solidFill>
                    <a:schemeClr val="bg1">
                      <a:alpha val="40000"/>
                    </a:schemeClr>
                  </a:solidFill>
                  <a:prstDash val="solid"/>
                  <a:miter/>
                </a:ln>
              </p:spPr>
              <p:txBody>
                <a:bodyPr rtlCol="0" anchor="ctr"/>
                <a:lstStyle/>
                <a:p>
                  <a:endParaRPr lang="en-GB"/>
                </a:p>
              </p:txBody>
            </p:sp>
            <p:sp>
              <p:nvSpPr>
                <p:cNvPr id="8300" name="Vrije vorm: vorm 8299">
                  <a:extLst>
                    <a:ext uri="{FF2B5EF4-FFF2-40B4-BE49-F238E27FC236}">
                      <a16:creationId xmlns:a16="http://schemas.microsoft.com/office/drawing/2014/main" id="{634094DE-07DB-48C7-968A-ACCBA8F9384C}"/>
                    </a:ext>
                  </a:extLst>
                </p:cNvPr>
                <p:cNvSpPr/>
                <p:nvPr/>
              </p:nvSpPr>
              <p:spPr>
                <a:xfrm>
                  <a:off x="4681130" y="4677622"/>
                  <a:ext cx="55082" cy="32236"/>
                </a:xfrm>
                <a:custGeom>
                  <a:avLst/>
                  <a:gdLst>
                    <a:gd name="connsiteX0" fmla="*/ 0 w 55082"/>
                    <a:gd name="connsiteY0" fmla="*/ 0 h 32236"/>
                    <a:gd name="connsiteX1" fmla="*/ 55083 w 55082"/>
                    <a:gd name="connsiteY1" fmla="*/ 32236 h 32236"/>
                  </a:gdLst>
                  <a:ahLst/>
                  <a:cxnLst>
                    <a:cxn ang="0">
                      <a:pos x="connsiteX0" y="connsiteY0"/>
                    </a:cxn>
                    <a:cxn ang="0">
                      <a:pos x="connsiteX1" y="connsiteY1"/>
                    </a:cxn>
                  </a:cxnLst>
                  <a:rect l="l" t="t" r="r" b="b"/>
                  <a:pathLst>
                    <a:path w="55082" h="32236">
                      <a:moveTo>
                        <a:pt x="0" y="0"/>
                      </a:moveTo>
                      <a:cubicBezTo>
                        <a:pt x="18481" y="10706"/>
                        <a:pt x="36841" y="21471"/>
                        <a:pt x="55083" y="32236"/>
                      </a:cubicBezTo>
                    </a:path>
                  </a:pathLst>
                </a:custGeom>
                <a:noFill/>
                <a:ln w="6350" cap="rnd">
                  <a:solidFill>
                    <a:schemeClr val="bg1">
                      <a:alpha val="40000"/>
                    </a:schemeClr>
                  </a:solidFill>
                  <a:prstDash val="solid"/>
                  <a:miter/>
                </a:ln>
              </p:spPr>
              <p:txBody>
                <a:bodyPr rtlCol="0" anchor="ctr"/>
                <a:lstStyle/>
                <a:p>
                  <a:endParaRPr lang="en-GB"/>
                </a:p>
              </p:txBody>
            </p:sp>
            <p:sp>
              <p:nvSpPr>
                <p:cNvPr id="8301" name="Vrije vorm: vorm 8300">
                  <a:extLst>
                    <a:ext uri="{FF2B5EF4-FFF2-40B4-BE49-F238E27FC236}">
                      <a16:creationId xmlns:a16="http://schemas.microsoft.com/office/drawing/2014/main" id="{A7DB4A3C-8053-4F79-A38A-AA38CFA3B8DB}"/>
                    </a:ext>
                  </a:extLst>
                </p:cNvPr>
                <p:cNvSpPr/>
                <p:nvPr/>
              </p:nvSpPr>
              <p:spPr>
                <a:xfrm>
                  <a:off x="4589865" y="4753577"/>
                  <a:ext cx="66146" cy="24880"/>
                </a:xfrm>
                <a:custGeom>
                  <a:avLst/>
                  <a:gdLst>
                    <a:gd name="connsiteX0" fmla="*/ 0 w 66146"/>
                    <a:gd name="connsiteY0" fmla="*/ 0 h 24880"/>
                    <a:gd name="connsiteX1" fmla="*/ 66147 w 66146"/>
                    <a:gd name="connsiteY1" fmla="*/ 24880 h 24880"/>
                  </a:gdLst>
                  <a:ahLst/>
                  <a:cxnLst>
                    <a:cxn ang="0">
                      <a:pos x="connsiteX0" y="connsiteY0"/>
                    </a:cxn>
                    <a:cxn ang="0">
                      <a:pos x="connsiteX1" y="connsiteY1"/>
                    </a:cxn>
                  </a:cxnLst>
                  <a:rect l="l" t="t" r="r" b="b"/>
                  <a:pathLst>
                    <a:path w="66146" h="24880">
                      <a:moveTo>
                        <a:pt x="0" y="0"/>
                      </a:moveTo>
                      <a:cubicBezTo>
                        <a:pt x="22129" y="8313"/>
                        <a:pt x="44198" y="16627"/>
                        <a:pt x="66147" y="24880"/>
                      </a:cubicBezTo>
                    </a:path>
                  </a:pathLst>
                </a:custGeom>
                <a:noFill/>
                <a:ln w="6350" cap="rnd">
                  <a:solidFill>
                    <a:schemeClr val="bg1">
                      <a:alpha val="40000"/>
                    </a:schemeClr>
                  </a:solidFill>
                  <a:prstDash val="solid"/>
                  <a:miter/>
                </a:ln>
              </p:spPr>
              <p:txBody>
                <a:bodyPr rtlCol="0" anchor="ctr"/>
                <a:lstStyle/>
                <a:p>
                  <a:endParaRPr lang="en-GB"/>
                </a:p>
              </p:txBody>
            </p:sp>
            <p:sp>
              <p:nvSpPr>
                <p:cNvPr id="8302" name="Vrije vorm: vorm 8301">
                  <a:extLst>
                    <a:ext uri="{FF2B5EF4-FFF2-40B4-BE49-F238E27FC236}">
                      <a16:creationId xmlns:a16="http://schemas.microsoft.com/office/drawing/2014/main" id="{D2AE2AA4-B849-4D52-B227-E4F61BC695DC}"/>
                    </a:ext>
                  </a:extLst>
                </p:cNvPr>
                <p:cNvSpPr/>
                <p:nvPr/>
              </p:nvSpPr>
              <p:spPr>
                <a:xfrm>
                  <a:off x="4485740" y="4841554"/>
                  <a:ext cx="76074" cy="17523"/>
                </a:xfrm>
                <a:custGeom>
                  <a:avLst/>
                  <a:gdLst>
                    <a:gd name="connsiteX0" fmla="*/ 0 w 76074"/>
                    <a:gd name="connsiteY0" fmla="*/ 0 h 17523"/>
                    <a:gd name="connsiteX1" fmla="*/ 76075 w 76074"/>
                    <a:gd name="connsiteY1" fmla="*/ 17523 h 17523"/>
                  </a:gdLst>
                  <a:ahLst/>
                  <a:cxnLst>
                    <a:cxn ang="0">
                      <a:pos x="connsiteX0" y="connsiteY0"/>
                    </a:cxn>
                    <a:cxn ang="0">
                      <a:pos x="connsiteX1" y="connsiteY1"/>
                    </a:cxn>
                  </a:cxnLst>
                  <a:rect l="l" t="t" r="r" b="b"/>
                  <a:pathLst>
                    <a:path w="76074" h="17523">
                      <a:moveTo>
                        <a:pt x="0" y="0"/>
                      </a:moveTo>
                      <a:cubicBezTo>
                        <a:pt x="25298" y="5981"/>
                        <a:pt x="50657" y="11842"/>
                        <a:pt x="76075" y="17523"/>
                      </a:cubicBezTo>
                    </a:path>
                  </a:pathLst>
                </a:custGeom>
                <a:noFill/>
                <a:ln w="6350" cap="rnd">
                  <a:solidFill>
                    <a:schemeClr val="bg1">
                      <a:alpha val="40000"/>
                    </a:schemeClr>
                  </a:solidFill>
                  <a:prstDash val="solid"/>
                  <a:miter/>
                </a:ln>
              </p:spPr>
              <p:txBody>
                <a:bodyPr rtlCol="0" anchor="ctr"/>
                <a:lstStyle/>
                <a:p>
                  <a:endParaRPr lang="en-GB"/>
                </a:p>
              </p:txBody>
            </p:sp>
            <p:sp>
              <p:nvSpPr>
                <p:cNvPr id="8303" name="Vrije vorm: vorm 8302">
                  <a:extLst>
                    <a:ext uri="{FF2B5EF4-FFF2-40B4-BE49-F238E27FC236}">
                      <a16:creationId xmlns:a16="http://schemas.microsoft.com/office/drawing/2014/main" id="{B788C954-DFC4-4ED8-A6C0-11FCBD8F8F3F}"/>
                    </a:ext>
                  </a:extLst>
                </p:cNvPr>
                <p:cNvSpPr/>
                <p:nvPr/>
              </p:nvSpPr>
              <p:spPr>
                <a:xfrm>
                  <a:off x="4554519" y="4783003"/>
                  <a:ext cx="71230" cy="21769"/>
                </a:xfrm>
                <a:custGeom>
                  <a:avLst/>
                  <a:gdLst>
                    <a:gd name="connsiteX0" fmla="*/ 0 w 71230"/>
                    <a:gd name="connsiteY0" fmla="*/ 0 h 21769"/>
                    <a:gd name="connsiteX1" fmla="*/ 71230 w 71230"/>
                    <a:gd name="connsiteY1" fmla="*/ 21770 h 21769"/>
                  </a:gdLst>
                  <a:ahLst/>
                  <a:cxnLst>
                    <a:cxn ang="0">
                      <a:pos x="connsiteX0" y="connsiteY0"/>
                    </a:cxn>
                    <a:cxn ang="0">
                      <a:pos x="connsiteX1" y="connsiteY1"/>
                    </a:cxn>
                  </a:cxnLst>
                  <a:rect l="l" t="t" r="r" b="b"/>
                  <a:pathLst>
                    <a:path w="71230" h="21769">
                      <a:moveTo>
                        <a:pt x="0" y="0"/>
                      </a:moveTo>
                      <a:cubicBezTo>
                        <a:pt x="23803" y="7356"/>
                        <a:pt x="47547" y="14593"/>
                        <a:pt x="71230" y="21770"/>
                      </a:cubicBezTo>
                    </a:path>
                  </a:pathLst>
                </a:custGeom>
                <a:noFill/>
                <a:ln w="6350" cap="rnd">
                  <a:solidFill>
                    <a:schemeClr val="bg1">
                      <a:alpha val="40000"/>
                    </a:schemeClr>
                  </a:solidFill>
                  <a:prstDash val="solid"/>
                  <a:miter/>
                </a:ln>
              </p:spPr>
              <p:txBody>
                <a:bodyPr rtlCol="0" anchor="ctr"/>
                <a:lstStyle/>
                <a:p>
                  <a:endParaRPr lang="en-GB"/>
                </a:p>
              </p:txBody>
            </p:sp>
            <p:sp>
              <p:nvSpPr>
                <p:cNvPr id="8304" name="Vrije vorm: vorm 8303">
                  <a:extLst>
                    <a:ext uri="{FF2B5EF4-FFF2-40B4-BE49-F238E27FC236}">
                      <a16:creationId xmlns:a16="http://schemas.microsoft.com/office/drawing/2014/main" id="{A5EA5271-F944-4952-B037-7C1738F325D5}"/>
                    </a:ext>
                  </a:extLst>
                </p:cNvPr>
                <p:cNvSpPr/>
                <p:nvPr/>
              </p:nvSpPr>
              <p:spPr>
                <a:xfrm>
                  <a:off x="4602125" y="4743410"/>
                  <a:ext cx="65847" cy="24999"/>
                </a:xfrm>
                <a:custGeom>
                  <a:avLst/>
                  <a:gdLst>
                    <a:gd name="connsiteX0" fmla="*/ 0 w 65847"/>
                    <a:gd name="connsiteY0" fmla="*/ 0 h 24999"/>
                    <a:gd name="connsiteX1" fmla="*/ 65848 w 65847"/>
                    <a:gd name="connsiteY1" fmla="*/ 25000 h 24999"/>
                  </a:gdLst>
                  <a:ahLst/>
                  <a:cxnLst>
                    <a:cxn ang="0">
                      <a:pos x="connsiteX0" y="connsiteY0"/>
                    </a:cxn>
                    <a:cxn ang="0">
                      <a:pos x="connsiteX1" y="connsiteY1"/>
                    </a:cxn>
                  </a:cxnLst>
                  <a:rect l="l" t="t" r="r" b="b"/>
                  <a:pathLst>
                    <a:path w="65847" h="24999">
                      <a:moveTo>
                        <a:pt x="0" y="0"/>
                      </a:moveTo>
                      <a:cubicBezTo>
                        <a:pt x="22009" y="8373"/>
                        <a:pt x="43959" y="16686"/>
                        <a:pt x="65848" y="25000"/>
                      </a:cubicBezTo>
                    </a:path>
                  </a:pathLst>
                </a:custGeom>
                <a:noFill/>
                <a:ln w="6350" cap="rnd">
                  <a:solidFill>
                    <a:schemeClr val="bg1">
                      <a:alpha val="40000"/>
                    </a:schemeClr>
                  </a:solidFill>
                  <a:prstDash val="solid"/>
                  <a:miter/>
                </a:ln>
              </p:spPr>
              <p:txBody>
                <a:bodyPr rtlCol="0" anchor="ctr"/>
                <a:lstStyle/>
                <a:p>
                  <a:endParaRPr lang="en-GB"/>
                </a:p>
              </p:txBody>
            </p:sp>
            <p:sp>
              <p:nvSpPr>
                <p:cNvPr id="8305" name="Vrije vorm: vorm 8304">
                  <a:extLst>
                    <a:ext uri="{FF2B5EF4-FFF2-40B4-BE49-F238E27FC236}">
                      <a16:creationId xmlns:a16="http://schemas.microsoft.com/office/drawing/2014/main" id="{0354E1CD-F67B-43E4-A7E8-36A5C3B47782}"/>
                    </a:ext>
                  </a:extLst>
                </p:cNvPr>
                <p:cNvSpPr/>
                <p:nvPr/>
              </p:nvSpPr>
              <p:spPr>
                <a:xfrm>
                  <a:off x="4648416" y="4704834"/>
                  <a:ext cx="59747" cy="29544"/>
                </a:xfrm>
                <a:custGeom>
                  <a:avLst/>
                  <a:gdLst>
                    <a:gd name="connsiteX0" fmla="*/ 0 w 59747"/>
                    <a:gd name="connsiteY0" fmla="*/ 0 h 29544"/>
                    <a:gd name="connsiteX1" fmla="*/ 59747 w 59747"/>
                    <a:gd name="connsiteY1" fmla="*/ 29545 h 29544"/>
                  </a:gdLst>
                  <a:ahLst/>
                  <a:cxnLst>
                    <a:cxn ang="0">
                      <a:pos x="connsiteX0" y="connsiteY0"/>
                    </a:cxn>
                    <a:cxn ang="0">
                      <a:pos x="connsiteX1" y="connsiteY1"/>
                    </a:cxn>
                  </a:cxnLst>
                  <a:rect l="l" t="t" r="r" b="b"/>
                  <a:pathLst>
                    <a:path w="59747" h="29544">
                      <a:moveTo>
                        <a:pt x="0" y="0"/>
                      </a:moveTo>
                      <a:cubicBezTo>
                        <a:pt x="20035" y="9808"/>
                        <a:pt x="39951" y="19676"/>
                        <a:pt x="59747" y="29545"/>
                      </a:cubicBezTo>
                    </a:path>
                  </a:pathLst>
                </a:custGeom>
                <a:noFill/>
                <a:ln w="6350" cap="rnd">
                  <a:solidFill>
                    <a:schemeClr val="bg1">
                      <a:alpha val="40000"/>
                    </a:schemeClr>
                  </a:solidFill>
                  <a:prstDash val="solid"/>
                  <a:miter/>
                </a:ln>
              </p:spPr>
              <p:txBody>
                <a:bodyPr rtlCol="0" anchor="ctr"/>
                <a:lstStyle/>
                <a:p>
                  <a:endParaRPr lang="en-GB"/>
                </a:p>
              </p:txBody>
            </p:sp>
            <p:sp>
              <p:nvSpPr>
                <p:cNvPr id="8306" name="Vrije vorm: vorm 8305">
                  <a:extLst>
                    <a:ext uri="{FF2B5EF4-FFF2-40B4-BE49-F238E27FC236}">
                      <a16:creationId xmlns:a16="http://schemas.microsoft.com/office/drawing/2014/main" id="{021B12A9-8FA7-41AE-96A6-57F6E1969424}"/>
                    </a:ext>
                  </a:extLst>
                </p:cNvPr>
                <p:cNvSpPr/>
                <p:nvPr/>
              </p:nvSpPr>
              <p:spPr>
                <a:xfrm>
                  <a:off x="4696621" y="4663986"/>
                  <a:ext cx="52989" cy="34688"/>
                </a:xfrm>
                <a:custGeom>
                  <a:avLst/>
                  <a:gdLst>
                    <a:gd name="connsiteX0" fmla="*/ 0 w 52989"/>
                    <a:gd name="connsiteY0" fmla="*/ 0 h 34688"/>
                    <a:gd name="connsiteX1" fmla="*/ 52989 w 52989"/>
                    <a:gd name="connsiteY1" fmla="*/ 34688 h 34688"/>
                  </a:gdLst>
                  <a:ahLst/>
                  <a:cxnLst>
                    <a:cxn ang="0">
                      <a:pos x="connsiteX0" y="connsiteY0"/>
                    </a:cxn>
                    <a:cxn ang="0">
                      <a:pos x="connsiteX1" y="connsiteY1"/>
                    </a:cxn>
                  </a:cxnLst>
                  <a:rect l="l" t="t" r="r" b="b"/>
                  <a:pathLst>
                    <a:path w="52989" h="34688">
                      <a:moveTo>
                        <a:pt x="0" y="0"/>
                      </a:moveTo>
                      <a:cubicBezTo>
                        <a:pt x="17763" y="11543"/>
                        <a:pt x="35406" y="23085"/>
                        <a:pt x="52989" y="34688"/>
                      </a:cubicBezTo>
                    </a:path>
                  </a:pathLst>
                </a:custGeom>
                <a:noFill/>
                <a:ln w="6350" cap="rnd">
                  <a:solidFill>
                    <a:schemeClr val="bg1">
                      <a:alpha val="40000"/>
                    </a:schemeClr>
                  </a:solidFill>
                  <a:prstDash val="solid"/>
                  <a:miter/>
                </a:ln>
              </p:spPr>
              <p:txBody>
                <a:bodyPr rtlCol="0" anchor="ctr"/>
                <a:lstStyle/>
                <a:p>
                  <a:endParaRPr lang="en-GB"/>
                </a:p>
              </p:txBody>
            </p:sp>
            <p:sp>
              <p:nvSpPr>
                <p:cNvPr id="8307" name="Vrije vorm: vorm 8306">
                  <a:extLst>
                    <a:ext uri="{FF2B5EF4-FFF2-40B4-BE49-F238E27FC236}">
                      <a16:creationId xmlns:a16="http://schemas.microsoft.com/office/drawing/2014/main" id="{0B883B65-4323-4282-9B88-785EEA16C12D}"/>
                    </a:ext>
                  </a:extLst>
                </p:cNvPr>
                <p:cNvSpPr/>
                <p:nvPr/>
              </p:nvSpPr>
              <p:spPr>
                <a:xfrm>
                  <a:off x="4718630" y="4645625"/>
                  <a:ext cx="49699" cy="37140"/>
                </a:xfrm>
                <a:custGeom>
                  <a:avLst/>
                  <a:gdLst>
                    <a:gd name="connsiteX0" fmla="*/ 0 w 49699"/>
                    <a:gd name="connsiteY0" fmla="*/ 0 h 37140"/>
                    <a:gd name="connsiteX1" fmla="*/ 49700 w 49699"/>
                    <a:gd name="connsiteY1" fmla="*/ 37140 h 37140"/>
                  </a:gdLst>
                  <a:ahLst/>
                  <a:cxnLst>
                    <a:cxn ang="0">
                      <a:pos x="connsiteX0" y="connsiteY0"/>
                    </a:cxn>
                    <a:cxn ang="0">
                      <a:pos x="connsiteX1" y="connsiteY1"/>
                    </a:cxn>
                  </a:cxnLst>
                  <a:rect l="l" t="t" r="r" b="b"/>
                  <a:pathLst>
                    <a:path w="49699" h="37140">
                      <a:moveTo>
                        <a:pt x="0" y="0"/>
                      </a:moveTo>
                      <a:cubicBezTo>
                        <a:pt x="16686" y="12380"/>
                        <a:pt x="33253" y="24760"/>
                        <a:pt x="49700" y="37140"/>
                      </a:cubicBezTo>
                    </a:path>
                  </a:pathLst>
                </a:custGeom>
                <a:noFill/>
                <a:ln w="6350" cap="rnd">
                  <a:solidFill>
                    <a:schemeClr val="bg1">
                      <a:alpha val="40000"/>
                    </a:schemeClr>
                  </a:solidFill>
                  <a:prstDash val="solid"/>
                  <a:miter/>
                </a:ln>
              </p:spPr>
              <p:txBody>
                <a:bodyPr rtlCol="0" anchor="ctr"/>
                <a:lstStyle/>
                <a:p>
                  <a:endParaRPr lang="en-GB"/>
                </a:p>
              </p:txBody>
            </p:sp>
            <p:sp>
              <p:nvSpPr>
                <p:cNvPr id="8308" name="Vrije vorm: vorm 8307">
                  <a:extLst>
                    <a:ext uri="{FF2B5EF4-FFF2-40B4-BE49-F238E27FC236}">
                      <a16:creationId xmlns:a16="http://schemas.microsoft.com/office/drawing/2014/main" id="{0AA6E234-DB77-4FDD-BED3-D6C2B7BA6E89}"/>
                    </a:ext>
                  </a:extLst>
                </p:cNvPr>
                <p:cNvSpPr/>
                <p:nvPr/>
              </p:nvSpPr>
              <p:spPr>
                <a:xfrm>
                  <a:off x="4734299" y="4633365"/>
                  <a:ext cx="47546" cy="37977"/>
                </a:xfrm>
                <a:custGeom>
                  <a:avLst/>
                  <a:gdLst>
                    <a:gd name="connsiteX0" fmla="*/ 0 w 47546"/>
                    <a:gd name="connsiteY0" fmla="*/ 0 h 37977"/>
                    <a:gd name="connsiteX1" fmla="*/ 47547 w 47546"/>
                    <a:gd name="connsiteY1" fmla="*/ 37977 h 37977"/>
                  </a:gdLst>
                  <a:ahLst/>
                  <a:cxnLst>
                    <a:cxn ang="0">
                      <a:pos x="connsiteX0" y="connsiteY0"/>
                    </a:cxn>
                    <a:cxn ang="0">
                      <a:pos x="connsiteX1" y="connsiteY1"/>
                    </a:cxn>
                  </a:cxnLst>
                  <a:rect l="l" t="t" r="r" b="b"/>
                  <a:pathLst>
                    <a:path w="47546" h="37977">
                      <a:moveTo>
                        <a:pt x="0" y="0"/>
                      </a:moveTo>
                      <a:cubicBezTo>
                        <a:pt x="15909" y="12619"/>
                        <a:pt x="31758" y="25298"/>
                        <a:pt x="47547" y="37977"/>
                      </a:cubicBezTo>
                    </a:path>
                  </a:pathLst>
                </a:custGeom>
                <a:noFill/>
                <a:ln w="6350" cap="rnd">
                  <a:solidFill>
                    <a:schemeClr val="bg1">
                      <a:alpha val="40000"/>
                    </a:schemeClr>
                  </a:solidFill>
                  <a:prstDash val="solid"/>
                  <a:miter/>
                </a:ln>
              </p:spPr>
              <p:txBody>
                <a:bodyPr rtlCol="0" anchor="ctr"/>
                <a:lstStyle/>
                <a:p>
                  <a:endParaRPr lang="en-GB"/>
                </a:p>
              </p:txBody>
            </p:sp>
            <p:sp>
              <p:nvSpPr>
                <p:cNvPr id="8309" name="Vrije vorm: vorm 8308">
                  <a:extLst>
                    <a:ext uri="{FF2B5EF4-FFF2-40B4-BE49-F238E27FC236}">
                      <a16:creationId xmlns:a16="http://schemas.microsoft.com/office/drawing/2014/main" id="{440E8CEB-356E-4A30-9E95-647C961E8C70}"/>
                    </a:ext>
                  </a:extLst>
                </p:cNvPr>
                <p:cNvSpPr/>
                <p:nvPr/>
              </p:nvSpPr>
              <p:spPr>
                <a:xfrm>
                  <a:off x="4772456" y="4600112"/>
                  <a:ext cx="46888" cy="39712"/>
                </a:xfrm>
                <a:custGeom>
                  <a:avLst/>
                  <a:gdLst>
                    <a:gd name="connsiteX0" fmla="*/ 0 w 46888"/>
                    <a:gd name="connsiteY0" fmla="*/ 0 h 39712"/>
                    <a:gd name="connsiteX1" fmla="*/ 46889 w 46888"/>
                    <a:gd name="connsiteY1" fmla="*/ 39712 h 39712"/>
                  </a:gdLst>
                  <a:ahLst/>
                  <a:cxnLst>
                    <a:cxn ang="0">
                      <a:pos x="connsiteX0" y="connsiteY0"/>
                    </a:cxn>
                    <a:cxn ang="0">
                      <a:pos x="connsiteX1" y="connsiteY1"/>
                    </a:cxn>
                  </a:cxnLst>
                  <a:rect l="l" t="t" r="r" b="b"/>
                  <a:pathLst>
                    <a:path w="46888" h="39712">
                      <a:moveTo>
                        <a:pt x="0" y="0"/>
                      </a:moveTo>
                      <a:cubicBezTo>
                        <a:pt x="15729" y="13217"/>
                        <a:pt x="31339" y="26435"/>
                        <a:pt x="46889" y="39712"/>
                      </a:cubicBezTo>
                    </a:path>
                  </a:pathLst>
                </a:custGeom>
                <a:noFill/>
                <a:ln w="6350" cap="rnd">
                  <a:solidFill>
                    <a:schemeClr val="bg1">
                      <a:alpha val="40000"/>
                    </a:schemeClr>
                  </a:solidFill>
                  <a:prstDash val="solid"/>
                  <a:miter/>
                </a:ln>
              </p:spPr>
              <p:txBody>
                <a:bodyPr rtlCol="0" anchor="ctr"/>
                <a:lstStyle/>
                <a:p>
                  <a:endParaRPr lang="en-GB"/>
                </a:p>
              </p:txBody>
            </p:sp>
            <p:sp>
              <p:nvSpPr>
                <p:cNvPr id="8310" name="Vrije vorm: vorm 8309">
                  <a:extLst>
                    <a:ext uri="{FF2B5EF4-FFF2-40B4-BE49-F238E27FC236}">
                      <a16:creationId xmlns:a16="http://schemas.microsoft.com/office/drawing/2014/main" id="{6C9737B1-F07F-4D85-A914-05E8330FDE12}"/>
                    </a:ext>
                  </a:extLst>
                </p:cNvPr>
                <p:cNvSpPr/>
                <p:nvPr/>
              </p:nvSpPr>
              <p:spPr>
                <a:xfrm>
                  <a:off x="4661035" y="4774151"/>
                  <a:ext cx="157053" cy="79782"/>
                </a:xfrm>
                <a:custGeom>
                  <a:avLst/>
                  <a:gdLst>
                    <a:gd name="connsiteX0" fmla="*/ 157054 w 157053"/>
                    <a:gd name="connsiteY0" fmla="*/ 79783 h 79782"/>
                    <a:gd name="connsiteX1" fmla="*/ 8672 w 157053"/>
                    <a:gd name="connsiteY1" fmla="*/ 31758 h 79782"/>
                    <a:gd name="connsiteX2" fmla="*/ 0 w 157053"/>
                    <a:gd name="connsiteY2" fmla="*/ 0 h 79782"/>
                  </a:gdLst>
                  <a:ahLst/>
                  <a:cxnLst>
                    <a:cxn ang="0">
                      <a:pos x="connsiteX0" y="connsiteY0"/>
                    </a:cxn>
                    <a:cxn ang="0">
                      <a:pos x="connsiteX1" y="connsiteY1"/>
                    </a:cxn>
                    <a:cxn ang="0">
                      <a:pos x="connsiteX2" y="connsiteY2"/>
                    </a:cxn>
                  </a:cxnLst>
                  <a:rect l="l" t="t" r="r" b="b"/>
                  <a:pathLst>
                    <a:path w="157053" h="79782">
                      <a:moveTo>
                        <a:pt x="157054" y="79783"/>
                      </a:moveTo>
                      <a:cubicBezTo>
                        <a:pt x="107892" y="64114"/>
                        <a:pt x="58372" y="48085"/>
                        <a:pt x="8672" y="31758"/>
                      </a:cubicBezTo>
                      <a:cubicBezTo>
                        <a:pt x="5741" y="21172"/>
                        <a:pt x="2871" y="10586"/>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311" name="Vrije vorm: vorm 8310">
                  <a:extLst>
                    <a:ext uri="{FF2B5EF4-FFF2-40B4-BE49-F238E27FC236}">
                      <a16:creationId xmlns:a16="http://schemas.microsoft.com/office/drawing/2014/main" id="{09121354-46CC-46AD-8E67-93C54180BC3F}"/>
                    </a:ext>
                  </a:extLst>
                </p:cNvPr>
                <p:cNvSpPr/>
                <p:nvPr/>
              </p:nvSpPr>
              <p:spPr>
                <a:xfrm>
                  <a:off x="4703797" y="4737968"/>
                  <a:ext cx="124219" cy="80739"/>
                </a:xfrm>
                <a:custGeom>
                  <a:avLst/>
                  <a:gdLst>
                    <a:gd name="connsiteX0" fmla="*/ 124220 w 124219"/>
                    <a:gd name="connsiteY0" fmla="*/ 80740 h 80739"/>
                    <a:gd name="connsiteX1" fmla="*/ 10048 w 124219"/>
                    <a:gd name="connsiteY1" fmla="*/ 30382 h 80739"/>
                    <a:gd name="connsiteX2" fmla="*/ 0 w 124219"/>
                    <a:gd name="connsiteY2" fmla="*/ 0 h 80739"/>
                  </a:gdLst>
                  <a:ahLst/>
                  <a:cxnLst>
                    <a:cxn ang="0">
                      <a:pos x="connsiteX0" y="connsiteY0"/>
                    </a:cxn>
                    <a:cxn ang="0">
                      <a:pos x="connsiteX1" y="connsiteY1"/>
                    </a:cxn>
                    <a:cxn ang="0">
                      <a:pos x="connsiteX2" y="connsiteY2"/>
                    </a:cxn>
                  </a:cxnLst>
                  <a:rect l="l" t="t" r="r" b="b"/>
                  <a:pathLst>
                    <a:path w="124219" h="80739">
                      <a:moveTo>
                        <a:pt x="124220" y="80740"/>
                      </a:moveTo>
                      <a:cubicBezTo>
                        <a:pt x="86481" y="63994"/>
                        <a:pt x="48444" y="47248"/>
                        <a:pt x="10048" y="30382"/>
                      </a:cubicBezTo>
                      <a:cubicBezTo>
                        <a:pt x="6698" y="20275"/>
                        <a:pt x="3349" y="10107"/>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312" name="Vrije vorm: vorm 8311">
                  <a:extLst>
                    <a:ext uri="{FF2B5EF4-FFF2-40B4-BE49-F238E27FC236}">
                      <a16:creationId xmlns:a16="http://schemas.microsoft.com/office/drawing/2014/main" id="{796BF1C2-EABE-4ED1-84AA-71EA3DC2E2F9}"/>
                    </a:ext>
                  </a:extLst>
                </p:cNvPr>
                <p:cNvSpPr/>
                <p:nvPr/>
              </p:nvSpPr>
              <p:spPr>
                <a:xfrm>
                  <a:off x="4739921" y="4707466"/>
                  <a:ext cx="116743" cy="86182"/>
                </a:xfrm>
                <a:custGeom>
                  <a:avLst/>
                  <a:gdLst>
                    <a:gd name="connsiteX0" fmla="*/ 116743 w 116743"/>
                    <a:gd name="connsiteY0" fmla="*/ 86182 h 86182"/>
                    <a:gd name="connsiteX1" fmla="*/ 10944 w 116743"/>
                    <a:gd name="connsiteY1" fmla="*/ 29365 h 86182"/>
                    <a:gd name="connsiteX2" fmla="*/ 0 w 116743"/>
                    <a:gd name="connsiteY2" fmla="*/ 0 h 86182"/>
                  </a:gdLst>
                  <a:ahLst/>
                  <a:cxnLst>
                    <a:cxn ang="0">
                      <a:pos x="connsiteX0" y="connsiteY0"/>
                    </a:cxn>
                    <a:cxn ang="0">
                      <a:pos x="connsiteX1" y="connsiteY1"/>
                    </a:cxn>
                    <a:cxn ang="0">
                      <a:pos x="connsiteX2" y="connsiteY2"/>
                    </a:cxn>
                  </a:cxnLst>
                  <a:rect l="l" t="t" r="r" b="b"/>
                  <a:pathLst>
                    <a:path w="116743" h="86182">
                      <a:moveTo>
                        <a:pt x="116743" y="86182"/>
                      </a:moveTo>
                      <a:cubicBezTo>
                        <a:pt x="81756" y="67223"/>
                        <a:pt x="46530" y="48324"/>
                        <a:pt x="10944" y="29365"/>
                      </a:cubicBezTo>
                      <a:cubicBezTo>
                        <a:pt x="7296" y="19557"/>
                        <a:pt x="3648" y="9749"/>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313" name="Vrije vorm: vorm 8312">
                  <a:extLst>
                    <a:ext uri="{FF2B5EF4-FFF2-40B4-BE49-F238E27FC236}">
                      <a16:creationId xmlns:a16="http://schemas.microsoft.com/office/drawing/2014/main" id="{F494E862-83E9-400A-8DA0-C99CFC586011}"/>
                    </a:ext>
                  </a:extLst>
                </p:cNvPr>
                <p:cNvSpPr/>
                <p:nvPr/>
              </p:nvSpPr>
              <p:spPr>
                <a:xfrm>
                  <a:off x="4774549" y="4678220"/>
                  <a:ext cx="185282" cy="145152"/>
                </a:xfrm>
                <a:custGeom>
                  <a:avLst/>
                  <a:gdLst>
                    <a:gd name="connsiteX0" fmla="*/ 185283 w 185282"/>
                    <a:gd name="connsiteY0" fmla="*/ 145152 h 145152"/>
                    <a:gd name="connsiteX1" fmla="*/ 11902 w 185282"/>
                    <a:gd name="connsiteY1" fmla="*/ 28349 h 145152"/>
                    <a:gd name="connsiteX2" fmla="*/ 0 w 185282"/>
                    <a:gd name="connsiteY2" fmla="*/ 0 h 145152"/>
                  </a:gdLst>
                  <a:ahLst/>
                  <a:cxnLst>
                    <a:cxn ang="0">
                      <a:pos x="connsiteX0" y="connsiteY0"/>
                    </a:cxn>
                    <a:cxn ang="0">
                      <a:pos x="connsiteX1" y="connsiteY1"/>
                    </a:cxn>
                    <a:cxn ang="0">
                      <a:pos x="connsiteX2" y="connsiteY2"/>
                    </a:cxn>
                  </a:cxnLst>
                  <a:rect l="l" t="t" r="r" b="b"/>
                  <a:pathLst>
                    <a:path w="185282" h="145152">
                      <a:moveTo>
                        <a:pt x="185283" y="145152"/>
                      </a:moveTo>
                      <a:cubicBezTo>
                        <a:pt x="128406" y="105978"/>
                        <a:pt x="70632" y="67104"/>
                        <a:pt x="11902" y="28349"/>
                      </a:cubicBezTo>
                      <a:cubicBezTo>
                        <a:pt x="7954" y="18899"/>
                        <a:pt x="4007" y="9450"/>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314" name="Vrije vorm: vorm 8313">
                  <a:extLst>
                    <a:ext uri="{FF2B5EF4-FFF2-40B4-BE49-F238E27FC236}">
                      <a16:creationId xmlns:a16="http://schemas.microsoft.com/office/drawing/2014/main" id="{156FE109-942D-45F9-8681-55E68C2D0300}"/>
                    </a:ext>
                  </a:extLst>
                </p:cNvPr>
                <p:cNvSpPr/>
                <p:nvPr/>
              </p:nvSpPr>
              <p:spPr>
                <a:xfrm>
                  <a:off x="4826223" y="4634680"/>
                  <a:ext cx="150295" cy="154601"/>
                </a:xfrm>
                <a:custGeom>
                  <a:avLst/>
                  <a:gdLst>
                    <a:gd name="connsiteX0" fmla="*/ 150296 w 150295"/>
                    <a:gd name="connsiteY0" fmla="*/ 154602 h 154601"/>
                    <a:gd name="connsiteX1" fmla="*/ 15371 w 150295"/>
                    <a:gd name="connsiteY1" fmla="*/ 25119 h 154601"/>
                    <a:gd name="connsiteX2" fmla="*/ 0 w 150295"/>
                    <a:gd name="connsiteY2" fmla="*/ 0 h 154601"/>
                  </a:gdLst>
                  <a:ahLst/>
                  <a:cxnLst>
                    <a:cxn ang="0">
                      <a:pos x="connsiteX0" y="connsiteY0"/>
                    </a:cxn>
                    <a:cxn ang="0">
                      <a:pos x="connsiteX1" y="connsiteY1"/>
                    </a:cxn>
                    <a:cxn ang="0">
                      <a:pos x="connsiteX2" y="connsiteY2"/>
                    </a:cxn>
                  </a:cxnLst>
                  <a:rect l="l" t="t" r="r" b="b"/>
                  <a:pathLst>
                    <a:path w="150295" h="154601">
                      <a:moveTo>
                        <a:pt x="150296" y="154602"/>
                      </a:moveTo>
                      <a:cubicBezTo>
                        <a:pt x="105859" y="111122"/>
                        <a:pt x="60884" y="68001"/>
                        <a:pt x="15371" y="25119"/>
                      </a:cubicBezTo>
                      <a:cubicBezTo>
                        <a:pt x="10227" y="16746"/>
                        <a:pt x="5143" y="8373"/>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315" name="Vrije vorm: vorm 8314">
                  <a:extLst>
                    <a:ext uri="{FF2B5EF4-FFF2-40B4-BE49-F238E27FC236}">
                      <a16:creationId xmlns:a16="http://schemas.microsoft.com/office/drawing/2014/main" id="{6583A91A-1EBA-445E-8045-B5D79915A718}"/>
                    </a:ext>
                  </a:extLst>
                </p:cNvPr>
                <p:cNvSpPr/>
                <p:nvPr/>
              </p:nvSpPr>
              <p:spPr>
                <a:xfrm>
                  <a:off x="4496805" y="4588509"/>
                  <a:ext cx="429355" cy="362371"/>
                </a:xfrm>
                <a:custGeom>
                  <a:avLst/>
                  <a:gdLst>
                    <a:gd name="connsiteX0" fmla="*/ 0 w 429355"/>
                    <a:gd name="connsiteY0" fmla="*/ 362372 h 362371"/>
                    <a:gd name="connsiteX1" fmla="*/ 429356 w 429355"/>
                    <a:gd name="connsiteY1" fmla="*/ 0 h 362371"/>
                  </a:gdLst>
                  <a:ahLst/>
                  <a:cxnLst>
                    <a:cxn ang="0">
                      <a:pos x="connsiteX0" y="connsiteY0"/>
                    </a:cxn>
                    <a:cxn ang="0">
                      <a:pos x="connsiteX1" y="connsiteY1"/>
                    </a:cxn>
                  </a:cxnLst>
                  <a:rect l="l" t="t" r="r" b="b"/>
                  <a:pathLst>
                    <a:path w="429355" h="362371">
                      <a:moveTo>
                        <a:pt x="0" y="362372"/>
                      </a:moveTo>
                      <a:cubicBezTo>
                        <a:pt x="119614" y="264408"/>
                        <a:pt x="270149" y="133490"/>
                        <a:pt x="429356" y="0"/>
                      </a:cubicBezTo>
                    </a:path>
                  </a:pathLst>
                </a:custGeom>
                <a:noFill/>
                <a:ln w="6350" cap="rnd">
                  <a:solidFill>
                    <a:schemeClr val="bg1">
                      <a:alpha val="40000"/>
                    </a:schemeClr>
                  </a:solidFill>
                  <a:prstDash val="solid"/>
                  <a:miter/>
                </a:ln>
              </p:spPr>
              <p:txBody>
                <a:bodyPr rtlCol="0" anchor="ctr"/>
                <a:lstStyle/>
                <a:p>
                  <a:endParaRPr lang="en-GB"/>
                </a:p>
              </p:txBody>
            </p:sp>
            <p:sp>
              <p:nvSpPr>
                <p:cNvPr id="8316" name="Vrije vorm: vorm 8315">
                  <a:extLst>
                    <a:ext uri="{FF2B5EF4-FFF2-40B4-BE49-F238E27FC236}">
                      <a16:creationId xmlns:a16="http://schemas.microsoft.com/office/drawing/2014/main" id="{815156E7-232A-467D-82ED-2C3DFA0FE0C7}"/>
                    </a:ext>
                  </a:extLst>
                </p:cNvPr>
                <p:cNvSpPr/>
                <p:nvPr/>
              </p:nvSpPr>
              <p:spPr>
                <a:xfrm>
                  <a:off x="4735495" y="4677981"/>
                  <a:ext cx="254658" cy="221585"/>
                </a:xfrm>
                <a:custGeom>
                  <a:avLst/>
                  <a:gdLst>
                    <a:gd name="connsiteX0" fmla="*/ 0 w 254658"/>
                    <a:gd name="connsiteY0" fmla="*/ 221586 h 221585"/>
                    <a:gd name="connsiteX1" fmla="*/ 254659 w 254658"/>
                    <a:gd name="connsiteY1" fmla="*/ 0 h 221585"/>
                  </a:gdLst>
                  <a:ahLst/>
                  <a:cxnLst>
                    <a:cxn ang="0">
                      <a:pos x="connsiteX0" y="connsiteY0"/>
                    </a:cxn>
                    <a:cxn ang="0">
                      <a:pos x="connsiteX1" y="connsiteY1"/>
                    </a:cxn>
                  </a:cxnLst>
                  <a:rect l="l" t="t" r="r" b="b"/>
                  <a:pathLst>
                    <a:path w="254658" h="221585">
                      <a:moveTo>
                        <a:pt x="0" y="221586"/>
                      </a:moveTo>
                      <a:cubicBezTo>
                        <a:pt x="80201" y="151731"/>
                        <a:pt x="166025" y="75836"/>
                        <a:pt x="254659" y="0"/>
                      </a:cubicBezTo>
                    </a:path>
                  </a:pathLst>
                </a:custGeom>
                <a:noFill/>
                <a:ln w="6350" cap="rnd">
                  <a:solidFill>
                    <a:schemeClr val="bg1">
                      <a:alpha val="40000"/>
                    </a:schemeClr>
                  </a:solidFill>
                  <a:prstDash val="solid"/>
                  <a:miter/>
                </a:ln>
              </p:spPr>
              <p:txBody>
                <a:bodyPr rtlCol="0" anchor="ctr"/>
                <a:lstStyle/>
                <a:p>
                  <a:endParaRPr lang="en-GB"/>
                </a:p>
              </p:txBody>
            </p:sp>
            <p:sp>
              <p:nvSpPr>
                <p:cNvPr id="8317" name="Vrije vorm: vorm 8316">
                  <a:extLst>
                    <a:ext uri="{FF2B5EF4-FFF2-40B4-BE49-F238E27FC236}">
                      <a16:creationId xmlns:a16="http://schemas.microsoft.com/office/drawing/2014/main" id="{A4D70704-CC76-485F-97DE-32E30AB22858}"/>
                    </a:ext>
                  </a:extLst>
                </p:cNvPr>
                <p:cNvSpPr/>
                <p:nvPr/>
              </p:nvSpPr>
              <p:spPr>
                <a:xfrm>
                  <a:off x="4326175" y="4330142"/>
                  <a:ext cx="37259" cy="27870"/>
                </a:xfrm>
                <a:custGeom>
                  <a:avLst/>
                  <a:gdLst>
                    <a:gd name="connsiteX0" fmla="*/ 0 w 37259"/>
                    <a:gd name="connsiteY0" fmla="*/ 27870 h 27870"/>
                    <a:gd name="connsiteX1" fmla="*/ 37260 w 37259"/>
                    <a:gd name="connsiteY1" fmla="*/ 0 h 27870"/>
                  </a:gdLst>
                  <a:ahLst/>
                  <a:cxnLst>
                    <a:cxn ang="0">
                      <a:pos x="connsiteX0" y="connsiteY0"/>
                    </a:cxn>
                    <a:cxn ang="0">
                      <a:pos x="connsiteX1" y="connsiteY1"/>
                    </a:cxn>
                  </a:cxnLst>
                  <a:rect l="l" t="t" r="r" b="b"/>
                  <a:pathLst>
                    <a:path w="37259" h="27870">
                      <a:moveTo>
                        <a:pt x="0" y="27870"/>
                      </a:moveTo>
                      <a:cubicBezTo>
                        <a:pt x="12320" y="18660"/>
                        <a:pt x="24760" y="9330"/>
                        <a:pt x="37260" y="0"/>
                      </a:cubicBezTo>
                    </a:path>
                  </a:pathLst>
                </a:custGeom>
                <a:noFill/>
                <a:ln w="6350" cap="rnd">
                  <a:solidFill>
                    <a:schemeClr val="bg1">
                      <a:alpha val="40000"/>
                    </a:schemeClr>
                  </a:solidFill>
                  <a:prstDash val="solid"/>
                  <a:miter/>
                </a:ln>
              </p:spPr>
              <p:txBody>
                <a:bodyPr rtlCol="0" anchor="ctr"/>
                <a:lstStyle/>
                <a:p>
                  <a:endParaRPr lang="en-GB"/>
                </a:p>
              </p:txBody>
            </p:sp>
            <p:sp>
              <p:nvSpPr>
                <p:cNvPr id="8318" name="Vrije vorm: vorm 8317">
                  <a:extLst>
                    <a:ext uri="{FF2B5EF4-FFF2-40B4-BE49-F238E27FC236}">
                      <a16:creationId xmlns:a16="http://schemas.microsoft.com/office/drawing/2014/main" id="{5B852F4B-20F0-4828-AFFD-9A80F1EDE76C}"/>
                    </a:ext>
                  </a:extLst>
                </p:cNvPr>
                <p:cNvSpPr/>
                <p:nvPr/>
              </p:nvSpPr>
              <p:spPr>
                <a:xfrm>
                  <a:off x="4418218" y="4078354"/>
                  <a:ext cx="203285" cy="179182"/>
                </a:xfrm>
                <a:custGeom>
                  <a:avLst/>
                  <a:gdLst>
                    <a:gd name="connsiteX0" fmla="*/ 172066 w 203285"/>
                    <a:gd name="connsiteY0" fmla="*/ 0 h 179182"/>
                    <a:gd name="connsiteX1" fmla="*/ 0 w 203285"/>
                    <a:gd name="connsiteY1" fmla="*/ 128406 h 179182"/>
                    <a:gd name="connsiteX2" fmla="*/ 73384 w 203285"/>
                    <a:gd name="connsiteY2" fmla="*/ 179182 h 179182"/>
                    <a:gd name="connsiteX3" fmla="*/ 203285 w 203285"/>
                    <a:gd name="connsiteY3" fmla="*/ 80440 h 179182"/>
                  </a:gdLst>
                  <a:ahLst/>
                  <a:cxnLst>
                    <a:cxn ang="0">
                      <a:pos x="connsiteX0" y="connsiteY0"/>
                    </a:cxn>
                    <a:cxn ang="0">
                      <a:pos x="connsiteX1" y="connsiteY1"/>
                    </a:cxn>
                    <a:cxn ang="0">
                      <a:pos x="connsiteX2" y="connsiteY2"/>
                    </a:cxn>
                    <a:cxn ang="0">
                      <a:pos x="connsiteX3" y="connsiteY3"/>
                    </a:cxn>
                  </a:cxnLst>
                  <a:rect l="l" t="t" r="r" b="b"/>
                  <a:pathLst>
                    <a:path w="203285" h="179182">
                      <a:moveTo>
                        <a:pt x="172066" y="0"/>
                      </a:moveTo>
                      <a:cubicBezTo>
                        <a:pt x="114710" y="43719"/>
                        <a:pt x="56937" y="86541"/>
                        <a:pt x="0" y="128406"/>
                      </a:cubicBezTo>
                      <a:cubicBezTo>
                        <a:pt x="24760" y="145272"/>
                        <a:pt x="49162" y="162197"/>
                        <a:pt x="73384" y="179182"/>
                      </a:cubicBezTo>
                      <a:cubicBezTo>
                        <a:pt x="116325" y="146887"/>
                        <a:pt x="159745" y="113933"/>
                        <a:pt x="203285" y="80440"/>
                      </a:cubicBezTo>
                    </a:path>
                  </a:pathLst>
                </a:custGeom>
                <a:noFill/>
                <a:ln w="6350" cap="rnd">
                  <a:solidFill>
                    <a:schemeClr val="bg1">
                      <a:alpha val="40000"/>
                    </a:schemeClr>
                  </a:solidFill>
                  <a:prstDash val="solid"/>
                  <a:miter/>
                </a:ln>
              </p:spPr>
              <p:txBody>
                <a:bodyPr rtlCol="0" anchor="ctr"/>
                <a:lstStyle/>
                <a:p>
                  <a:endParaRPr lang="en-GB"/>
                </a:p>
              </p:txBody>
            </p:sp>
            <p:sp>
              <p:nvSpPr>
                <p:cNvPr id="8319" name="Vrije vorm: vorm 8318">
                  <a:extLst>
                    <a:ext uri="{FF2B5EF4-FFF2-40B4-BE49-F238E27FC236}">
                      <a16:creationId xmlns:a16="http://schemas.microsoft.com/office/drawing/2014/main" id="{0EE54F0C-7795-4B5B-B4E5-E4BD2DA373BF}"/>
                    </a:ext>
                  </a:extLst>
                </p:cNvPr>
                <p:cNvSpPr/>
                <p:nvPr/>
              </p:nvSpPr>
              <p:spPr>
                <a:xfrm>
                  <a:off x="4421567" y="4066273"/>
                  <a:ext cx="206514" cy="171347"/>
                </a:xfrm>
                <a:custGeom>
                  <a:avLst/>
                  <a:gdLst>
                    <a:gd name="connsiteX0" fmla="*/ 161779 w 206514"/>
                    <a:gd name="connsiteY0" fmla="*/ 0 h 171347"/>
                    <a:gd name="connsiteX1" fmla="*/ 0 w 206514"/>
                    <a:gd name="connsiteY1" fmla="*/ 120512 h 171347"/>
                    <a:gd name="connsiteX2" fmla="*/ 73204 w 206514"/>
                    <a:gd name="connsiteY2" fmla="*/ 171348 h 171347"/>
                    <a:gd name="connsiteX3" fmla="*/ 206515 w 206514"/>
                    <a:gd name="connsiteY3" fmla="*/ 70094 h 171347"/>
                  </a:gdLst>
                  <a:ahLst/>
                  <a:cxnLst>
                    <a:cxn ang="0">
                      <a:pos x="connsiteX0" y="connsiteY0"/>
                    </a:cxn>
                    <a:cxn ang="0">
                      <a:pos x="connsiteX1" y="connsiteY1"/>
                    </a:cxn>
                    <a:cxn ang="0">
                      <a:pos x="connsiteX2" y="connsiteY2"/>
                    </a:cxn>
                    <a:cxn ang="0">
                      <a:pos x="connsiteX3" y="connsiteY3"/>
                    </a:cxn>
                  </a:cxnLst>
                  <a:rect l="l" t="t" r="r" b="b"/>
                  <a:pathLst>
                    <a:path w="206514" h="171347">
                      <a:moveTo>
                        <a:pt x="161779" y="0"/>
                      </a:moveTo>
                      <a:cubicBezTo>
                        <a:pt x="107892" y="40968"/>
                        <a:pt x="53647" y="81099"/>
                        <a:pt x="0" y="120512"/>
                      </a:cubicBezTo>
                      <a:cubicBezTo>
                        <a:pt x="24641" y="137437"/>
                        <a:pt x="49042" y="154362"/>
                        <a:pt x="73204" y="171348"/>
                      </a:cubicBezTo>
                      <a:cubicBezTo>
                        <a:pt x="117342" y="138214"/>
                        <a:pt x="161958" y="104424"/>
                        <a:pt x="206515" y="70094"/>
                      </a:cubicBezTo>
                    </a:path>
                  </a:pathLst>
                </a:custGeom>
                <a:noFill/>
                <a:ln w="6350" cap="rnd">
                  <a:solidFill>
                    <a:schemeClr val="bg1">
                      <a:alpha val="40000"/>
                    </a:schemeClr>
                  </a:solidFill>
                  <a:prstDash val="solid"/>
                  <a:miter/>
                </a:ln>
              </p:spPr>
              <p:txBody>
                <a:bodyPr rtlCol="0" anchor="ctr"/>
                <a:lstStyle/>
                <a:p>
                  <a:endParaRPr lang="en-GB"/>
                </a:p>
              </p:txBody>
            </p:sp>
            <p:sp>
              <p:nvSpPr>
                <p:cNvPr id="8320" name="Vrije vorm: vorm 8319">
                  <a:extLst>
                    <a:ext uri="{FF2B5EF4-FFF2-40B4-BE49-F238E27FC236}">
                      <a16:creationId xmlns:a16="http://schemas.microsoft.com/office/drawing/2014/main" id="{1DA7EE85-A8A9-4216-8437-4364FD2061D2}"/>
                    </a:ext>
                  </a:extLst>
                </p:cNvPr>
                <p:cNvSpPr/>
                <p:nvPr/>
              </p:nvSpPr>
              <p:spPr>
                <a:xfrm>
                  <a:off x="4421208" y="4054550"/>
                  <a:ext cx="198918" cy="165008"/>
                </a:xfrm>
                <a:custGeom>
                  <a:avLst/>
                  <a:gdLst>
                    <a:gd name="connsiteX0" fmla="*/ 153705 w 198918"/>
                    <a:gd name="connsiteY0" fmla="*/ 0 h 165008"/>
                    <a:gd name="connsiteX1" fmla="*/ 0 w 198918"/>
                    <a:gd name="connsiteY1" fmla="*/ 114172 h 165008"/>
                    <a:gd name="connsiteX2" fmla="*/ 73085 w 198918"/>
                    <a:gd name="connsiteY2" fmla="*/ 165008 h 165008"/>
                    <a:gd name="connsiteX3" fmla="*/ 198919 w 198918"/>
                    <a:gd name="connsiteY3" fmla="*/ 69616 h 165008"/>
                  </a:gdLst>
                  <a:ahLst/>
                  <a:cxnLst>
                    <a:cxn ang="0">
                      <a:pos x="connsiteX0" y="connsiteY0"/>
                    </a:cxn>
                    <a:cxn ang="0">
                      <a:pos x="connsiteX1" y="connsiteY1"/>
                    </a:cxn>
                    <a:cxn ang="0">
                      <a:pos x="connsiteX2" y="connsiteY2"/>
                    </a:cxn>
                    <a:cxn ang="0">
                      <a:pos x="connsiteX3" y="connsiteY3"/>
                    </a:cxn>
                  </a:cxnLst>
                  <a:rect l="l" t="t" r="r" b="b"/>
                  <a:pathLst>
                    <a:path w="198918" h="165008">
                      <a:moveTo>
                        <a:pt x="153705" y="0"/>
                      </a:moveTo>
                      <a:cubicBezTo>
                        <a:pt x="102570" y="38755"/>
                        <a:pt x="51016" y="76793"/>
                        <a:pt x="0" y="114172"/>
                      </a:cubicBezTo>
                      <a:cubicBezTo>
                        <a:pt x="24641" y="131098"/>
                        <a:pt x="48982" y="148083"/>
                        <a:pt x="73085" y="165008"/>
                      </a:cubicBezTo>
                      <a:cubicBezTo>
                        <a:pt x="114830" y="133729"/>
                        <a:pt x="156934" y="101912"/>
                        <a:pt x="198919" y="69616"/>
                      </a:cubicBezTo>
                    </a:path>
                  </a:pathLst>
                </a:custGeom>
                <a:noFill/>
                <a:ln w="6350" cap="rnd">
                  <a:solidFill>
                    <a:schemeClr val="bg1">
                      <a:alpha val="40000"/>
                    </a:schemeClr>
                  </a:solidFill>
                  <a:prstDash val="solid"/>
                  <a:miter/>
                </a:ln>
              </p:spPr>
              <p:txBody>
                <a:bodyPr rtlCol="0" anchor="ctr"/>
                <a:lstStyle/>
                <a:p>
                  <a:endParaRPr lang="en-GB"/>
                </a:p>
              </p:txBody>
            </p:sp>
            <p:sp>
              <p:nvSpPr>
                <p:cNvPr id="8321" name="Vrije vorm: vorm 8320">
                  <a:extLst>
                    <a:ext uri="{FF2B5EF4-FFF2-40B4-BE49-F238E27FC236}">
                      <a16:creationId xmlns:a16="http://schemas.microsoft.com/office/drawing/2014/main" id="{73EAA520-520C-4C77-9294-901B453F4BFD}"/>
                    </a:ext>
                  </a:extLst>
                </p:cNvPr>
                <p:cNvSpPr/>
                <p:nvPr/>
              </p:nvSpPr>
              <p:spPr>
                <a:xfrm>
                  <a:off x="4427189" y="4045998"/>
                  <a:ext cx="184804" cy="153345"/>
                </a:xfrm>
                <a:custGeom>
                  <a:avLst/>
                  <a:gdLst>
                    <a:gd name="connsiteX0" fmla="*/ 141623 w 184804"/>
                    <a:gd name="connsiteY0" fmla="*/ 0 h 153345"/>
                    <a:gd name="connsiteX1" fmla="*/ 0 w 184804"/>
                    <a:gd name="connsiteY1" fmla="*/ 105081 h 153345"/>
                    <a:gd name="connsiteX2" fmla="*/ 69018 w 184804"/>
                    <a:gd name="connsiteY2" fmla="*/ 153346 h 153345"/>
                    <a:gd name="connsiteX3" fmla="*/ 184804 w 184804"/>
                    <a:gd name="connsiteY3" fmla="*/ 65788 h 153345"/>
                  </a:gdLst>
                  <a:ahLst/>
                  <a:cxnLst>
                    <a:cxn ang="0">
                      <a:pos x="connsiteX0" y="connsiteY0"/>
                    </a:cxn>
                    <a:cxn ang="0">
                      <a:pos x="connsiteX1" y="connsiteY1"/>
                    </a:cxn>
                    <a:cxn ang="0">
                      <a:pos x="connsiteX2" y="connsiteY2"/>
                    </a:cxn>
                    <a:cxn ang="0">
                      <a:pos x="connsiteX3" y="connsiteY3"/>
                    </a:cxn>
                  </a:cxnLst>
                  <a:rect l="l" t="t" r="r" b="b"/>
                  <a:pathLst>
                    <a:path w="184804" h="153345">
                      <a:moveTo>
                        <a:pt x="141623" y="0"/>
                      </a:moveTo>
                      <a:cubicBezTo>
                        <a:pt x="94555" y="35585"/>
                        <a:pt x="47128" y="70632"/>
                        <a:pt x="0" y="105081"/>
                      </a:cubicBezTo>
                      <a:cubicBezTo>
                        <a:pt x="23265" y="121169"/>
                        <a:pt x="46231" y="137258"/>
                        <a:pt x="69018" y="153346"/>
                      </a:cubicBezTo>
                      <a:cubicBezTo>
                        <a:pt x="107474" y="124579"/>
                        <a:pt x="146169" y="95393"/>
                        <a:pt x="184804" y="65788"/>
                      </a:cubicBezTo>
                    </a:path>
                  </a:pathLst>
                </a:custGeom>
                <a:noFill/>
                <a:ln w="6350" cap="rnd">
                  <a:solidFill>
                    <a:schemeClr val="bg1">
                      <a:alpha val="40000"/>
                    </a:schemeClr>
                  </a:solidFill>
                  <a:prstDash val="solid"/>
                  <a:miter/>
                </a:ln>
              </p:spPr>
              <p:txBody>
                <a:bodyPr rtlCol="0" anchor="ctr"/>
                <a:lstStyle/>
                <a:p>
                  <a:endParaRPr lang="en-GB"/>
                </a:p>
              </p:txBody>
            </p:sp>
            <p:sp>
              <p:nvSpPr>
                <p:cNvPr id="8322" name="Vrije vorm: vorm 8321">
                  <a:extLst>
                    <a:ext uri="{FF2B5EF4-FFF2-40B4-BE49-F238E27FC236}">
                      <a16:creationId xmlns:a16="http://schemas.microsoft.com/office/drawing/2014/main" id="{90D82999-8D51-474C-A369-12F0E7029326}"/>
                    </a:ext>
                  </a:extLst>
                </p:cNvPr>
                <p:cNvSpPr/>
                <p:nvPr/>
              </p:nvSpPr>
              <p:spPr>
                <a:xfrm>
                  <a:off x="4371568" y="3961311"/>
                  <a:ext cx="186837" cy="182651"/>
                </a:xfrm>
                <a:custGeom>
                  <a:avLst/>
                  <a:gdLst>
                    <a:gd name="connsiteX0" fmla="*/ 186838 w 186837"/>
                    <a:gd name="connsiteY0" fmla="*/ 67462 h 182651"/>
                    <a:gd name="connsiteX1" fmla="*/ 30681 w 186837"/>
                    <a:gd name="connsiteY1" fmla="*/ 182651 h 182651"/>
                    <a:gd name="connsiteX2" fmla="*/ 0 w 186837"/>
                    <a:gd name="connsiteY2" fmla="*/ 100296 h 182651"/>
                    <a:gd name="connsiteX3" fmla="*/ 138454 w 186837"/>
                    <a:gd name="connsiteY3" fmla="*/ 0 h 182651"/>
                  </a:gdLst>
                  <a:ahLst/>
                  <a:cxnLst>
                    <a:cxn ang="0">
                      <a:pos x="connsiteX0" y="connsiteY0"/>
                    </a:cxn>
                    <a:cxn ang="0">
                      <a:pos x="connsiteX1" y="connsiteY1"/>
                    </a:cxn>
                    <a:cxn ang="0">
                      <a:pos x="connsiteX2" y="connsiteY2"/>
                    </a:cxn>
                    <a:cxn ang="0">
                      <a:pos x="connsiteX3" y="connsiteY3"/>
                    </a:cxn>
                  </a:cxnLst>
                  <a:rect l="l" t="t" r="r" b="b"/>
                  <a:pathLst>
                    <a:path w="186837" h="182651">
                      <a:moveTo>
                        <a:pt x="186838" y="67462"/>
                      </a:moveTo>
                      <a:cubicBezTo>
                        <a:pt x="134985" y="106576"/>
                        <a:pt x="82654" y="144913"/>
                        <a:pt x="30681" y="182651"/>
                      </a:cubicBezTo>
                      <a:cubicBezTo>
                        <a:pt x="20215" y="155319"/>
                        <a:pt x="9988" y="127868"/>
                        <a:pt x="0" y="100296"/>
                      </a:cubicBezTo>
                      <a:cubicBezTo>
                        <a:pt x="46351" y="67283"/>
                        <a:pt x="92701" y="33911"/>
                        <a:pt x="138454" y="0"/>
                      </a:cubicBezTo>
                    </a:path>
                  </a:pathLst>
                </a:custGeom>
                <a:noFill/>
                <a:ln w="6350" cap="rnd">
                  <a:solidFill>
                    <a:schemeClr val="bg1">
                      <a:alpha val="40000"/>
                    </a:schemeClr>
                  </a:solidFill>
                  <a:prstDash val="solid"/>
                  <a:miter/>
                </a:ln>
              </p:spPr>
              <p:txBody>
                <a:bodyPr rtlCol="0" anchor="ctr"/>
                <a:lstStyle/>
                <a:p>
                  <a:endParaRPr lang="en-GB"/>
                </a:p>
              </p:txBody>
            </p:sp>
            <p:sp>
              <p:nvSpPr>
                <p:cNvPr id="8323" name="Vrije vorm: vorm 8322">
                  <a:extLst>
                    <a:ext uri="{FF2B5EF4-FFF2-40B4-BE49-F238E27FC236}">
                      <a16:creationId xmlns:a16="http://schemas.microsoft.com/office/drawing/2014/main" id="{62E5AB5C-C94E-4022-ACA7-F0F6EBD709CA}"/>
                    </a:ext>
                  </a:extLst>
                </p:cNvPr>
                <p:cNvSpPr/>
                <p:nvPr/>
              </p:nvSpPr>
              <p:spPr>
                <a:xfrm>
                  <a:off x="4392919" y="3973153"/>
                  <a:ext cx="171108" cy="169971"/>
                </a:xfrm>
                <a:custGeom>
                  <a:avLst/>
                  <a:gdLst>
                    <a:gd name="connsiteX0" fmla="*/ 171108 w 171108"/>
                    <a:gd name="connsiteY0" fmla="*/ 64532 h 169971"/>
                    <a:gd name="connsiteX1" fmla="*/ 28707 w 171108"/>
                    <a:gd name="connsiteY1" fmla="*/ 169972 h 169971"/>
                    <a:gd name="connsiteX2" fmla="*/ 0 w 171108"/>
                    <a:gd name="connsiteY2" fmla="*/ 91864 h 169971"/>
                    <a:gd name="connsiteX3" fmla="*/ 126134 w 171108"/>
                    <a:gd name="connsiteY3" fmla="*/ 0 h 169971"/>
                  </a:gdLst>
                  <a:ahLst/>
                  <a:cxnLst>
                    <a:cxn ang="0">
                      <a:pos x="connsiteX0" y="connsiteY0"/>
                    </a:cxn>
                    <a:cxn ang="0">
                      <a:pos x="connsiteX1" y="connsiteY1"/>
                    </a:cxn>
                    <a:cxn ang="0">
                      <a:pos x="connsiteX2" y="connsiteY2"/>
                    </a:cxn>
                    <a:cxn ang="0">
                      <a:pos x="connsiteX3" y="connsiteY3"/>
                    </a:cxn>
                  </a:cxnLst>
                  <a:rect l="l" t="t" r="r" b="b"/>
                  <a:pathLst>
                    <a:path w="171108" h="169971">
                      <a:moveTo>
                        <a:pt x="171108" y="64532"/>
                      </a:moveTo>
                      <a:cubicBezTo>
                        <a:pt x="123801" y="100237"/>
                        <a:pt x="76134" y="135404"/>
                        <a:pt x="28707" y="169972"/>
                      </a:cubicBezTo>
                      <a:cubicBezTo>
                        <a:pt x="18959" y="144076"/>
                        <a:pt x="9390" y="118000"/>
                        <a:pt x="0" y="91864"/>
                      </a:cubicBezTo>
                      <a:cubicBezTo>
                        <a:pt x="42224" y="61601"/>
                        <a:pt x="84388" y="31040"/>
                        <a:pt x="126134" y="0"/>
                      </a:cubicBezTo>
                    </a:path>
                  </a:pathLst>
                </a:custGeom>
                <a:noFill/>
                <a:ln w="6350" cap="rnd">
                  <a:solidFill>
                    <a:schemeClr val="bg1">
                      <a:alpha val="40000"/>
                    </a:schemeClr>
                  </a:solidFill>
                  <a:prstDash val="solid"/>
                  <a:miter/>
                </a:ln>
              </p:spPr>
              <p:txBody>
                <a:bodyPr rtlCol="0" anchor="ctr"/>
                <a:lstStyle/>
                <a:p>
                  <a:endParaRPr lang="en-GB"/>
                </a:p>
              </p:txBody>
            </p:sp>
            <p:sp>
              <p:nvSpPr>
                <p:cNvPr id="8324" name="Vrije vorm: vorm 8323">
                  <a:extLst>
                    <a:ext uri="{FF2B5EF4-FFF2-40B4-BE49-F238E27FC236}">
                      <a16:creationId xmlns:a16="http://schemas.microsoft.com/office/drawing/2014/main" id="{972BA12A-2468-4AE3-BDB2-F98076D18C14}"/>
                    </a:ext>
                  </a:extLst>
                </p:cNvPr>
                <p:cNvSpPr/>
                <p:nvPr/>
              </p:nvSpPr>
              <p:spPr>
                <a:xfrm>
                  <a:off x="4363435" y="4144022"/>
                  <a:ext cx="247362" cy="186120"/>
                </a:xfrm>
                <a:custGeom>
                  <a:avLst/>
                  <a:gdLst>
                    <a:gd name="connsiteX0" fmla="*/ 0 w 247362"/>
                    <a:gd name="connsiteY0" fmla="*/ 186120 h 186120"/>
                    <a:gd name="connsiteX1" fmla="*/ 247363 w 247362"/>
                    <a:gd name="connsiteY1" fmla="*/ 0 h 186120"/>
                  </a:gdLst>
                  <a:ahLst/>
                  <a:cxnLst>
                    <a:cxn ang="0">
                      <a:pos x="connsiteX0" y="connsiteY0"/>
                    </a:cxn>
                    <a:cxn ang="0">
                      <a:pos x="connsiteX1" y="connsiteY1"/>
                    </a:cxn>
                  </a:cxnLst>
                  <a:rect l="l" t="t" r="r" b="b"/>
                  <a:pathLst>
                    <a:path w="247362" h="186120">
                      <a:moveTo>
                        <a:pt x="0" y="186120"/>
                      </a:moveTo>
                      <a:cubicBezTo>
                        <a:pt x="79962" y="126433"/>
                        <a:pt x="163692" y="64173"/>
                        <a:pt x="247363" y="0"/>
                      </a:cubicBezTo>
                    </a:path>
                  </a:pathLst>
                </a:custGeom>
                <a:noFill/>
                <a:ln w="6350" cap="rnd">
                  <a:solidFill>
                    <a:schemeClr val="bg1">
                      <a:alpha val="40000"/>
                    </a:schemeClr>
                  </a:solidFill>
                  <a:prstDash val="solid"/>
                  <a:miter/>
                </a:ln>
              </p:spPr>
              <p:txBody>
                <a:bodyPr rtlCol="0" anchor="ctr"/>
                <a:lstStyle/>
                <a:p>
                  <a:endParaRPr lang="en-GB"/>
                </a:p>
              </p:txBody>
            </p:sp>
            <p:sp>
              <p:nvSpPr>
                <p:cNvPr id="8325" name="Vrije vorm: vorm 8324">
                  <a:extLst>
                    <a:ext uri="{FF2B5EF4-FFF2-40B4-BE49-F238E27FC236}">
                      <a16:creationId xmlns:a16="http://schemas.microsoft.com/office/drawing/2014/main" id="{C83D3744-CC52-4B8A-AF47-4E7BC4AF593D}"/>
                    </a:ext>
                  </a:extLst>
                </p:cNvPr>
                <p:cNvSpPr/>
                <p:nvPr/>
              </p:nvSpPr>
              <p:spPr>
                <a:xfrm>
                  <a:off x="4394710" y="4020102"/>
                  <a:ext cx="209029" cy="172782"/>
                </a:xfrm>
                <a:custGeom>
                  <a:avLst/>
                  <a:gdLst>
                    <a:gd name="connsiteX0" fmla="*/ 3 w 209029"/>
                    <a:gd name="connsiteY0" fmla="*/ 0 h 172782"/>
                    <a:gd name="connsiteX1" fmla="*/ 84451 w 209029"/>
                    <a:gd name="connsiteY1" fmla="*/ 172783 h 172782"/>
                    <a:gd name="connsiteX2" fmla="*/ 209030 w 209029"/>
                    <a:gd name="connsiteY2" fmla="*/ 78945 h 172782"/>
                  </a:gdLst>
                  <a:ahLst/>
                  <a:cxnLst>
                    <a:cxn ang="0">
                      <a:pos x="connsiteX0" y="connsiteY0"/>
                    </a:cxn>
                    <a:cxn ang="0">
                      <a:pos x="connsiteX1" y="connsiteY1"/>
                    </a:cxn>
                    <a:cxn ang="0">
                      <a:pos x="connsiteX2" y="connsiteY2"/>
                    </a:cxn>
                  </a:cxnLst>
                  <a:rect l="l" t="t" r="r" b="b"/>
                  <a:pathLst>
                    <a:path w="209029" h="172782">
                      <a:moveTo>
                        <a:pt x="3" y="0"/>
                      </a:moveTo>
                      <a:cubicBezTo>
                        <a:pt x="-595" y="418"/>
                        <a:pt x="82836" y="171407"/>
                        <a:pt x="84451" y="172783"/>
                      </a:cubicBezTo>
                      <a:cubicBezTo>
                        <a:pt x="125838" y="141982"/>
                        <a:pt x="167523" y="110703"/>
                        <a:pt x="209030" y="78945"/>
                      </a:cubicBezTo>
                    </a:path>
                  </a:pathLst>
                </a:custGeom>
                <a:noFill/>
                <a:ln w="6350" cap="rnd">
                  <a:solidFill>
                    <a:schemeClr val="bg1">
                      <a:alpha val="40000"/>
                    </a:schemeClr>
                  </a:solidFill>
                  <a:prstDash val="solid"/>
                  <a:miter/>
                </a:ln>
              </p:spPr>
              <p:txBody>
                <a:bodyPr rtlCol="0" anchor="ctr"/>
                <a:lstStyle/>
                <a:p>
                  <a:endParaRPr lang="en-GB"/>
                </a:p>
              </p:txBody>
            </p:sp>
            <p:sp>
              <p:nvSpPr>
                <p:cNvPr id="8326" name="Vrije vorm: vorm 8325">
                  <a:extLst>
                    <a:ext uri="{FF2B5EF4-FFF2-40B4-BE49-F238E27FC236}">
                      <a16:creationId xmlns:a16="http://schemas.microsoft.com/office/drawing/2014/main" id="{0ED2FE03-98CF-41CD-85C0-FF89E4A751E4}"/>
                    </a:ext>
                  </a:extLst>
                </p:cNvPr>
                <p:cNvSpPr/>
                <p:nvPr/>
              </p:nvSpPr>
              <p:spPr>
                <a:xfrm>
                  <a:off x="4363554" y="4278110"/>
                  <a:ext cx="86899" cy="64532"/>
                </a:xfrm>
                <a:custGeom>
                  <a:avLst/>
                  <a:gdLst>
                    <a:gd name="connsiteX0" fmla="*/ 0 w 86899"/>
                    <a:gd name="connsiteY0" fmla="*/ 0 h 64532"/>
                    <a:gd name="connsiteX1" fmla="*/ 86900 w 86899"/>
                    <a:gd name="connsiteY1" fmla="*/ 64532 h 64532"/>
                  </a:gdLst>
                  <a:ahLst/>
                  <a:cxnLst>
                    <a:cxn ang="0">
                      <a:pos x="connsiteX0" y="connsiteY0"/>
                    </a:cxn>
                    <a:cxn ang="0">
                      <a:pos x="connsiteX1" y="connsiteY1"/>
                    </a:cxn>
                  </a:cxnLst>
                  <a:rect l="l" t="t" r="r" b="b"/>
                  <a:pathLst>
                    <a:path w="86899" h="64532">
                      <a:moveTo>
                        <a:pt x="0" y="0"/>
                      </a:moveTo>
                      <a:cubicBezTo>
                        <a:pt x="29365" y="21411"/>
                        <a:pt x="58312" y="42942"/>
                        <a:pt x="86900" y="64532"/>
                      </a:cubicBezTo>
                    </a:path>
                  </a:pathLst>
                </a:custGeom>
                <a:noFill/>
                <a:ln w="6350" cap="rnd">
                  <a:solidFill>
                    <a:schemeClr val="bg1">
                      <a:alpha val="40000"/>
                    </a:schemeClr>
                  </a:solidFill>
                  <a:prstDash val="solid"/>
                  <a:miter/>
                </a:ln>
              </p:spPr>
              <p:txBody>
                <a:bodyPr rtlCol="0" anchor="ctr"/>
                <a:lstStyle/>
                <a:p>
                  <a:endParaRPr lang="en-GB"/>
                </a:p>
              </p:txBody>
            </p:sp>
            <p:sp>
              <p:nvSpPr>
                <p:cNvPr id="8327" name="Vrije vorm: vorm 8326">
                  <a:extLst>
                    <a:ext uri="{FF2B5EF4-FFF2-40B4-BE49-F238E27FC236}">
                      <a16:creationId xmlns:a16="http://schemas.microsoft.com/office/drawing/2014/main" id="{1EC8822C-05B1-481F-8DB7-C5B894C0945F}"/>
                    </a:ext>
                  </a:extLst>
                </p:cNvPr>
                <p:cNvSpPr/>
                <p:nvPr/>
              </p:nvSpPr>
              <p:spPr>
                <a:xfrm>
                  <a:off x="4193522" y="3888526"/>
                  <a:ext cx="286715" cy="431508"/>
                </a:xfrm>
                <a:custGeom>
                  <a:avLst/>
                  <a:gdLst>
                    <a:gd name="connsiteX0" fmla="*/ 286716 w 286715"/>
                    <a:gd name="connsiteY0" fmla="*/ 431509 h 431508"/>
                    <a:gd name="connsiteX1" fmla="*/ 0 w 286715"/>
                    <a:gd name="connsiteY1" fmla="*/ 195330 h 431508"/>
                    <a:gd name="connsiteX2" fmla="*/ 278403 w 286715"/>
                    <a:gd name="connsiteY2" fmla="*/ 0 h 431508"/>
                  </a:gdLst>
                  <a:ahLst/>
                  <a:cxnLst>
                    <a:cxn ang="0">
                      <a:pos x="connsiteX0" y="connsiteY0"/>
                    </a:cxn>
                    <a:cxn ang="0">
                      <a:pos x="connsiteX1" y="connsiteY1"/>
                    </a:cxn>
                    <a:cxn ang="0">
                      <a:pos x="connsiteX2" y="connsiteY2"/>
                    </a:cxn>
                  </a:cxnLst>
                  <a:rect l="l" t="t" r="r" b="b"/>
                  <a:pathLst>
                    <a:path w="286715" h="431508">
                      <a:moveTo>
                        <a:pt x="286716" y="431509"/>
                      </a:moveTo>
                      <a:cubicBezTo>
                        <a:pt x="195151" y="352384"/>
                        <a:pt x="100297" y="273737"/>
                        <a:pt x="0" y="195330"/>
                      </a:cubicBezTo>
                      <a:cubicBezTo>
                        <a:pt x="93060" y="131037"/>
                        <a:pt x="187376" y="66565"/>
                        <a:pt x="278403" y="0"/>
                      </a:cubicBezTo>
                    </a:path>
                  </a:pathLst>
                </a:custGeom>
                <a:noFill/>
                <a:ln w="6350" cap="rnd">
                  <a:solidFill>
                    <a:schemeClr val="bg1">
                      <a:alpha val="40000"/>
                    </a:schemeClr>
                  </a:solidFill>
                  <a:prstDash val="solid"/>
                  <a:miter/>
                </a:ln>
              </p:spPr>
              <p:txBody>
                <a:bodyPr rtlCol="0" anchor="ctr"/>
                <a:lstStyle/>
                <a:p>
                  <a:endParaRPr lang="en-GB"/>
                </a:p>
              </p:txBody>
            </p:sp>
            <p:sp>
              <p:nvSpPr>
                <p:cNvPr id="8328" name="Vrije vorm: vorm 8327">
                  <a:extLst>
                    <a:ext uri="{FF2B5EF4-FFF2-40B4-BE49-F238E27FC236}">
                      <a16:creationId xmlns:a16="http://schemas.microsoft.com/office/drawing/2014/main" id="{6CD3F619-6380-4DCD-9A2F-442447E1AFC4}"/>
                    </a:ext>
                  </a:extLst>
                </p:cNvPr>
                <p:cNvSpPr/>
                <p:nvPr/>
              </p:nvSpPr>
              <p:spPr>
                <a:xfrm>
                  <a:off x="4464628" y="4254546"/>
                  <a:ext cx="43061" cy="44676"/>
                </a:xfrm>
                <a:custGeom>
                  <a:avLst/>
                  <a:gdLst>
                    <a:gd name="connsiteX0" fmla="*/ 0 w 43061"/>
                    <a:gd name="connsiteY0" fmla="*/ 0 h 44676"/>
                    <a:gd name="connsiteX1" fmla="*/ 43061 w 43061"/>
                    <a:gd name="connsiteY1" fmla="*/ 44676 h 44676"/>
                  </a:gdLst>
                  <a:ahLst/>
                  <a:cxnLst>
                    <a:cxn ang="0">
                      <a:pos x="connsiteX0" y="connsiteY0"/>
                    </a:cxn>
                    <a:cxn ang="0">
                      <a:pos x="connsiteX1" y="connsiteY1"/>
                    </a:cxn>
                  </a:cxnLst>
                  <a:rect l="l" t="t" r="r" b="b"/>
                  <a:pathLst>
                    <a:path w="43061" h="44676">
                      <a:moveTo>
                        <a:pt x="0" y="0"/>
                      </a:moveTo>
                      <a:cubicBezTo>
                        <a:pt x="14414" y="14892"/>
                        <a:pt x="28767" y="29784"/>
                        <a:pt x="43061" y="44676"/>
                      </a:cubicBezTo>
                    </a:path>
                  </a:pathLst>
                </a:custGeom>
                <a:noFill/>
                <a:ln w="6350" cap="rnd">
                  <a:solidFill>
                    <a:schemeClr val="bg1">
                      <a:alpha val="40000"/>
                    </a:schemeClr>
                  </a:solidFill>
                  <a:prstDash val="solid"/>
                  <a:miter/>
                </a:ln>
              </p:spPr>
              <p:txBody>
                <a:bodyPr rtlCol="0" anchor="ctr"/>
                <a:lstStyle/>
                <a:p>
                  <a:endParaRPr lang="en-GB"/>
                </a:p>
              </p:txBody>
            </p:sp>
            <p:sp>
              <p:nvSpPr>
                <p:cNvPr id="8329" name="Vrije vorm: vorm 8328">
                  <a:extLst>
                    <a:ext uri="{FF2B5EF4-FFF2-40B4-BE49-F238E27FC236}">
                      <a16:creationId xmlns:a16="http://schemas.microsoft.com/office/drawing/2014/main" id="{C87971DC-91E7-4530-86D3-172AC0F27C87}"/>
                    </a:ext>
                  </a:extLst>
                </p:cNvPr>
                <p:cNvSpPr/>
                <p:nvPr/>
              </p:nvSpPr>
              <p:spPr>
                <a:xfrm>
                  <a:off x="4498240" y="4229367"/>
                  <a:ext cx="42343" cy="44855"/>
                </a:xfrm>
                <a:custGeom>
                  <a:avLst/>
                  <a:gdLst>
                    <a:gd name="connsiteX0" fmla="*/ 0 w 42343"/>
                    <a:gd name="connsiteY0" fmla="*/ 0 h 44855"/>
                    <a:gd name="connsiteX1" fmla="*/ 42344 w 42343"/>
                    <a:gd name="connsiteY1" fmla="*/ 44855 h 44855"/>
                  </a:gdLst>
                  <a:ahLst/>
                  <a:cxnLst>
                    <a:cxn ang="0">
                      <a:pos x="connsiteX0" y="connsiteY0"/>
                    </a:cxn>
                    <a:cxn ang="0">
                      <a:pos x="connsiteX1" y="connsiteY1"/>
                    </a:cxn>
                  </a:cxnLst>
                  <a:rect l="l" t="t" r="r" b="b"/>
                  <a:pathLst>
                    <a:path w="42343" h="44855">
                      <a:moveTo>
                        <a:pt x="0" y="0"/>
                      </a:moveTo>
                      <a:cubicBezTo>
                        <a:pt x="14174" y="14952"/>
                        <a:pt x="28289" y="29904"/>
                        <a:pt x="42344" y="44855"/>
                      </a:cubicBezTo>
                    </a:path>
                  </a:pathLst>
                </a:custGeom>
                <a:noFill/>
                <a:ln w="6350" cap="rnd">
                  <a:solidFill>
                    <a:schemeClr val="bg1">
                      <a:alpha val="40000"/>
                    </a:schemeClr>
                  </a:solidFill>
                  <a:prstDash val="solid"/>
                  <a:miter/>
                </a:ln>
              </p:spPr>
              <p:txBody>
                <a:bodyPr rtlCol="0" anchor="ctr"/>
                <a:lstStyle/>
                <a:p>
                  <a:endParaRPr lang="en-GB"/>
                </a:p>
              </p:txBody>
            </p:sp>
            <p:sp>
              <p:nvSpPr>
                <p:cNvPr id="8330" name="Vrije vorm: vorm 8329">
                  <a:extLst>
                    <a:ext uri="{FF2B5EF4-FFF2-40B4-BE49-F238E27FC236}">
                      <a16:creationId xmlns:a16="http://schemas.microsoft.com/office/drawing/2014/main" id="{4444CDDC-FC86-4795-9AD2-E14E129977A2}"/>
                    </a:ext>
                  </a:extLst>
                </p:cNvPr>
                <p:cNvSpPr/>
                <p:nvPr/>
              </p:nvSpPr>
              <p:spPr>
                <a:xfrm>
                  <a:off x="4511577" y="4178890"/>
                  <a:ext cx="58192" cy="73024"/>
                </a:xfrm>
                <a:custGeom>
                  <a:avLst/>
                  <a:gdLst>
                    <a:gd name="connsiteX0" fmla="*/ 0 w 58192"/>
                    <a:gd name="connsiteY0" fmla="*/ 0 h 73024"/>
                    <a:gd name="connsiteX1" fmla="*/ 58192 w 58192"/>
                    <a:gd name="connsiteY1" fmla="*/ 73024 h 73024"/>
                  </a:gdLst>
                  <a:ahLst/>
                  <a:cxnLst>
                    <a:cxn ang="0">
                      <a:pos x="connsiteX0" y="connsiteY0"/>
                    </a:cxn>
                    <a:cxn ang="0">
                      <a:pos x="connsiteX1" y="connsiteY1"/>
                    </a:cxn>
                  </a:cxnLst>
                  <a:rect l="l" t="t" r="r" b="b"/>
                  <a:pathLst>
                    <a:path w="58192" h="73024">
                      <a:moveTo>
                        <a:pt x="0" y="0"/>
                      </a:moveTo>
                      <a:cubicBezTo>
                        <a:pt x="19437" y="24401"/>
                        <a:pt x="38815" y="48683"/>
                        <a:pt x="58192" y="73024"/>
                      </a:cubicBezTo>
                    </a:path>
                  </a:pathLst>
                </a:custGeom>
                <a:noFill/>
                <a:ln w="6350" cap="rnd">
                  <a:solidFill>
                    <a:schemeClr val="bg1">
                      <a:alpha val="40000"/>
                    </a:schemeClr>
                  </a:solidFill>
                  <a:prstDash val="solid"/>
                  <a:miter/>
                </a:ln>
              </p:spPr>
              <p:txBody>
                <a:bodyPr rtlCol="0" anchor="ctr"/>
                <a:lstStyle/>
                <a:p>
                  <a:endParaRPr lang="en-GB"/>
                </a:p>
              </p:txBody>
            </p:sp>
            <p:sp>
              <p:nvSpPr>
                <p:cNvPr id="8331" name="Vrije vorm: vorm 8330">
                  <a:extLst>
                    <a:ext uri="{FF2B5EF4-FFF2-40B4-BE49-F238E27FC236}">
                      <a16:creationId xmlns:a16="http://schemas.microsoft.com/office/drawing/2014/main" id="{BB9E49AC-06A7-4F35-B6C0-0B727C2EA7EC}"/>
                    </a:ext>
                  </a:extLst>
                </p:cNvPr>
                <p:cNvSpPr/>
                <p:nvPr/>
              </p:nvSpPr>
              <p:spPr>
                <a:xfrm>
                  <a:off x="4532988" y="4142766"/>
                  <a:ext cx="64532" cy="87916"/>
                </a:xfrm>
                <a:custGeom>
                  <a:avLst/>
                  <a:gdLst>
                    <a:gd name="connsiteX0" fmla="*/ 0 w 64532"/>
                    <a:gd name="connsiteY0" fmla="*/ 0 h 87916"/>
                    <a:gd name="connsiteX1" fmla="*/ 64532 w 64532"/>
                    <a:gd name="connsiteY1" fmla="*/ 87917 h 87916"/>
                  </a:gdLst>
                  <a:ahLst/>
                  <a:cxnLst>
                    <a:cxn ang="0">
                      <a:pos x="connsiteX0" y="connsiteY0"/>
                    </a:cxn>
                    <a:cxn ang="0">
                      <a:pos x="connsiteX1" y="connsiteY1"/>
                    </a:cxn>
                  </a:cxnLst>
                  <a:rect l="l" t="t" r="r" b="b"/>
                  <a:pathLst>
                    <a:path w="64532" h="87916">
                      <a:moveTo>
                        <a:pt x="0" y="0"/>
                      </a:moveTo>
                      <a:cubicBezTo>
                        <a:pt x="21531" y="29366"/>
                        <a:pt x="43001" y="58671"/>
                        <a:pt x="64532" y="87917"/>
                      </a:cubicBezTo>
                    </a:path>
                  </a:pathLst>
                </a:custGeom>
                <a:noFill/>
                <a:ln w="6350" cap="rnd">
                  <a:solidFill>
                    <a:schemeClr val="bg1">
                      <a:alpha val="40000"/>
                    </a:schemeClr>
                  </a:solidFill>
                  <a:prstDash val="solid"/>
                  <a:miter/>
                </a:ln>
              </p:spPr>
              <p:txBody>
                <a:bodyPr rtlCol="0" anchor="ctr"/>
                <a:lstStyle/>
                <a:p>
                  <a:endParaRPr lang="en-GB"/>
                </a:p>
              </p:txBody>
            </p:sp>
            <p:sp>
              <p:nvSpPr>
                <p:cNvPr id="8332" name="Vrije vorm: vorm 8331">
                  <a:extLst>
                    <a:ext uri="{FF2B5EF4-FFF2-40B4-BE49-F238E27FC236}">
                      <a16:creationId xmlns:a16="http://schemas.microsoft.com/office/drawing/2014/main" id="{8F2673C9-FC96-469C-96D1-764892A93E36}"/>
                    </a:ext>
                  </a:extLst>
                </p:cNvPr>
                <p:cNvSpPr/>
                <p:nvPr/>
              </p:nvSpPr>
              <p:spPr>
                <a:xfrm>
                  <a:off x="4553562" y="4106822"/>
                  <a:ext cx="73084" cy="101372"/>
                </a:xfrm>
                <a:custGeom>
                  <a:avLst/>
                  <a:gdLst>
                    <a:gd name="connsiteX0" fmla="*/ 0 w 73084"/>
                    <a:gd name="connsiteY0" fmla="*/ 0 h 101372"/>
                    <a:gd name="connsiteX1" fmla="*/ 73085 w 73084"/>
                    <a:gd name="connsiteY1" fmla="*/ 101373 h 101372"/>
                  </a:gdLst>
                  <a:ahLst/>
                  <a:cxnLst>
                    <a:cxn ang="0">
                      <a:pos x="connsiteX0" y="connsiteY0"/>
                    </a:cxn>
                    <a:cxn ang="0">
                      <a:pos x="connsiteX1" y="connsiteY1"/>
                    </a:cxn>
                  </a:cxnLst>
                  <a:rect l="l" t="t" r="r" b="b"/>
                  <a:pathLst>
                    <a:path w="73084" h="101372">
                      <a:moveTo>
                        <a:pt x="0" y="0"/>
                      </a:moveTo>
                      <a:cubicBezTo>
                        <a:pt x="24342" y="33851"/>
                        <a:pt x="48743" y="67642"/>
                        <a:pt x="73085" y="101373"/>
                      </a:cubicBezTo>
                    </a:path>
                  </a:pathLst>
                </a:custGeom>
                <a:noFill/>
                <a:ln w="6350" cap="rnd">
                  <a:solidFill>
                    <a:schemeClr val="bg1">
                      <a:alpha val="40000"/>
                    </a:schemeClr>
                  </a:solidFill>
                  <a:prstDash val="solid"/>
                  <a:miter/>
                </a:ln>
              </p:spPr>
              <p:txBody>
                <a:bodyPr rtlCol="0" anchor="ctr"/>
                <a:lstStyle/>
                <a:p>
                  <a:endParaRPr lang="en-GB"/>
                </a:p>
              </p:txBody>
            </p:sp>
            <p:sp>
              <p:nvSpPr>
                <p:cNvPr id="8333" name="Vrije vorm: vorm 8332">
                  <a:extLst>
                    <a:ext uri="{FF2B5EF4-FFF2-40B4-BE49-F238E27FC236}">
                      <a16:creationId xmlns:a16="http://schemas.microsoft.com/office/drawing/2014/main" id="{64CC034A-4176-489C-9FF3-F8C6918D480E}"/>
                    </a:ext>
                  </a:extLst>
                </p:cNvPr>
                <p:cNvSpPr/>
                <p:nvPr/>
              </p:nvSpPr>
              <p:spPr>
                <a:xfrm>
                  <a:off x="4123249" y="4197490"/>
                  <a:ext cx="546279" cy="422597"/>
                </a:xfrm>
                <a:custGeom>
                  <a:avLst/>
                  <a:gdLst>
                    <a:gd name="connsiteX0" fmla="*/ 0 w 546279"/>
                    <a:gd name="connsiteY0" fmla="*/ 422598 h 422597"/>
                    <a:gd name="connsiteX1" fmla="*/ 546279 w 546279"/>
                    <a:gd name="connsiteY1" fmla="*/ 0 h 422597"/>
                  </a:gdLst>
                  <a:ahLst/>
                  <a:cxnLst>
                    <a:cxn ang="0">
                      <a:pos x="connsiteX0" y="connsiteY0"/>
                    </a:cxn>
                    <a:cxn ang="0">
                      <a:pos x="connsiteX1" y="connsiteY1"/>
                    </a:cxn>
                  </a:cxnLst>
                  <a:rect l="l" t="t" r="r" b="b"/>
                  <a:pathLst>
                    <a:path w="546279" h="422597">
                      <a:moveTo>
                        <a:pt x="0" y="422598"/>
                      </a:moveTo>
                      <a:cubicBezTo>
                        <a:pt x="143837" y="304000"/>
                        <a:pt x="344370" y="157353"/>
                        <a:pt x="546279" y="0"/>
                      </a:cubicBezTo>
                    </a:path>
                  </a:pathLst>
                </a:custGeom>
                <a:noFill/>
                <a:ln w="6350" cap="rnd">
                  <a:solidFill>
                    <a:schemeClr val="bg1">
                      <a:alpha val="40000"/>
                    </a:schemeClr>
                  </a:solidFill>
                  <a:prstDash val="solid"/>
                  <a:miter/>
                </a:ln>
              </p:spPr>
              <p:txBody>
                <a:bodyPr rtlCol="0" anchor="ctr"/>
                <a:lstStyle/>
                <a:p>
                  <a:endParaRPr lang="en-GB"/>
                </a:p>
              </p:txBody>
            </p:sp>
            <p:sp>
              <p:nvSpPr>
                <p:cNvPr id="8334" name="Vrije vorm: vorm 8333">
                  <a:extLst>
                    <a:ext uri="{FF2B5EF4-FFF2-40B4-BE49-F238E27FC236}">
                      <a16:creationId xmlns:a16="http://schemas.microsoft.com/office/drawing/2014/main" id="{B170A410-2AEC-42DC-8805-849CFC0CEF79}"/>
                    </a:ext>
                  </a:extLst>
                </p:cNvPr>
                <p:cNvSpPr/>
                <p:nvPr/>
              </p:nvSpPr>
              <p:spPr>
                <a:xfrm>
                  <a:off x="4151418" y="4323504"/>
                  <a:ext cx="505191" cy="399093"/>
                </a:xfrm>
                <a:custGeom>
                  <a:avLst/>
                  <a:gdLst>
                    <a:gd name="connsiteX0" fmla="*/ 0 w 505191"/>
                    <a:gd name="connsiteY0" fmla="*/ 399093 h 399093"/>
                    <a:gd name="connsiteX1" fmla="*/ 505192 w 505191"/>
                    <a:gd name="connsiteY1" fmla="*/ 0 h 399093"/>
                  </a:gdLst>
                  <a:ahLst/>
                  <a:cxnLst>
                    <a:cxn ang="0">
                      <a:pos x="connsiteX0" y="connsiteY0"/>
                    </a:cxn>
                    <a:cxn ang="0">
                      <a:pos x="connsiteX1" y="connsiteY1"/>
                    </a:cxn>
                  </a:cxnLst>
                  <a:rect l="l" t="t" r="r" b="b"/>
                  <a:pathLst>
                    <a:path w="505191" h="399093">
                      <a:moveTo>
                        <a:pt x="0" y="399093"/>
                      </a:moveTo>
                      <a:cubicBezTo>
                        <a:pt x="122964" y="295328"/>
                        <a:pt x="308904" y="154004"/>
                        <a:pt x="505192" y="0"/>
                      </a:cubicBezTo>
                    </a:path>
                  </a:pathLst>
                </a:custGeom>
                <a:noFill/>
                <a:ln w="6350" cap="rnd">
                  <a:solidFill>
                    <a:schemeClr val="bg1">
                      <a:alpha val="40000"/>
                    </a:schemeClr>
                  </a:solidFill>
                  <a:prstDash val="solid"/>
                  <a:miter/>
                </a:ln>
              </p:spPr>
              <p:txBody>
                <a:bodyPr rtlCol="0" anchor="ctr"/>
                <a:lstStyle/>
                <a:p>
                  <a:endParaRPr lang="en-GB"/>
                </a:p>
              </p:txBody>
            </p:sp>
            <p:sp>
              <p:nvSpPr>
                <p:cNvPr id="8335" name="Vrije vorm: vorm 8334">
                  <a:extLst>
                    <a:ext uri="{FF2B5EF4-FFF2-40B4-BE49-F238E27FC236}">
                      <a16:creationId xmlns:a16="http://schemas.microsoft.com/office/drawing/2014/main" id="{DB4C5013-41A8-46B9-9656-3630E13FDA07}"/>
                    </a:ext>
                  </a:extLst>
                </p:cNvPr>
                <p:cNvSpPr/>
                <p:nvPr/>
              </p:nvSpPr>
              <p:spPr>
                <a:xfrm>
                  <a:off x="4114038" y="4415009"/>
                  <a:ext cx="439642" cy="351726"/>
                </a:xfrm>
                <a:custGeom>
                  <a:avLst/>
                  <a:gdLst>
                    <a:gd name="connsiteX0" fmla="*/ 0 w 439642"/>
                    <a:gd name="connsiteY0" fmla="*/ 351726 h 351726"/>
                    <a:gd name="connsiteX1" fmla="*/ 439643 w 439642"/>
                    <a:gd name="connsiteY1" fmla="*/ 0 h 351726"/>
                  </a:gdLst>
                  <a:ahLst/>
                  <a:cxnLst>
                    <a:cxn ang="0">
                      <a:pos x="connsiteX0" y="connsiteY0"/>
                    </a:cxn>
                    <a:cxn ang="0">
                      <a:pos x="connsiteX1" y="connsiteY1"/>
                    </a:cxn>
                  </a:cxnLst>
                  <a:rect l="l" t="t" r="r" b="b"/>
                  <a:pathLst>
                    <a:path w="439642" h="351726">
                      <a:moveTo>
                        <a:pt x="0" y="351726"/>
                      </a:moveTo>
                      <a:cubicBezTo>
                        <a:pt x="99160" y="264228"/>
                        <a:pt x="260401" y="139829"/>
                        <a:pt x="439643" y="0"/>
                      </a:cubicBezTo>
                    </a:path>
                  </a:pathLst>
                </a:custGeom>
                <a:noFill/>
                <a:ln w="6350" cap="rnd">
                  <a:solidFill>
                    <a:schemeClr val="bg1">
                      <a:alpha val="40000"/>
                    </a:schemeClr>
                  </a:solidFill>
                  <a:prstDash val="solid"/>
                  <a:miter/>
                </a:ln>
              </p:spPr>
              <p:txBody>
                <a:bodyPr rtlCol="0" anchor="ctr"/>
                <a:lstStyle/>
                <a:p>
                  <a:endParaRPr lang="en-GB"/>
                </a:p>
              </p:txBody>
            </p:sp>
            <p:sp>
              <p:nvSpPr>
                <p:cNvPr id="8336" name="Vrije vorm: vorm 8335">
                  <a:extLst>
                    <a:ext uri="{FF2B5EF4-FFF2-40B4-BE49-F238E27FC236}">
                      <a16:creationId xmlns:a16="http://schemas.microsoft.com/office/drawing/2014/main" id="{9993CDE1-7A04-4247-A64F-DD9AF02CF3DD}"/>
                    </a:ext>
                  </a:extLst>
                </p:cNvPr>
                <p:cNvSpPr/>
                <p:nvPr/>
              </p:nvSpPr>
              <p:spPr>
                <a:xfrm>
                  <a:off x="4124744" y="4491861"/>
                  <a:ext cx="425528" cy="345327"/>
                </a:xfrm>
                <a:custGeom>
                  <a:avLst/>
                  <a:gdLst>
                    <a:gd name="connsiteX0" fmla="*/ 0 w 425528"/>
                    <a:gd name="connsiteY0" fmla="*/ 345327 h 345327"/>
                    <a:gd name="connsiteX1" fmla="*/ 425529 w 425528"/>
                    <a:gd name="connsiteY1" fmla="*/ 0 h 345327"/>
                  </a:gdLst>
                  <a:ahLst/>
                  <a:cxnLst>
                    <a:cxn ang="0">
                      <a:pos x="connsiteX0" y="connsiteY0"/>
                    </a:cxn>
                    <a:cxn ang="0">
                      <a:pos x="connsiteX1" y="connsiteY1"/>
                    </a:cxn>
                  </a:cxnLst>
                  <a:rect l="l" t="t" r="r" b="b"/>
                  <a:pathLst>
                    <a:path w="425528" h="345327">
                      <a:moveTo>
                        <a:pt x="0" y="345327"/>
                      </a:moveTo>
                      <a:cubicBezTo>
                        <a:pt x="83790" y="269611"/>
                        <a:pt x="242339" y="144734"/>
                        <a:pt x="425529" y="0"/>
                      </a:cubicBezTo>
                    </a:path>
                  </a:pathLst>
                </a:custGeom>
                <a:noFill/>
                <a:ln w="6350" cap="rnd">
                  <a:solidFill>
                    <a:schemeClr val="bg1">
                      <a:alpha val="40000"/>
                    </a:schemeClr>
                  </a:solidFill>
                  <a:prstDash val="solid"/>
                  <a:miter/>
                </a:ln>
              </p:spPr>
              <p:txBody>
                <a:bodyPr rtlCol="0" anchor="ctr"/>
                <a:lstStyle/>
                <a:p>
                  <a:endParaRPr lang="en-GB"/>
                </a:p>
              </p:txBody>
            </p:sp>
            <p:sp>
              <p:nvSpPr>
                <p:cNvPr id="8337" name="Vrije vorm: vorm 8336">
                  <a:extLst>
                    <a:ext uri="{FF2B5EF4-FFF2-40B4-BE49-F238E27FC236}">
                      <a16:creationId xmlns:a16="http://schemas.microsoft.com/office/drawing/2014/main" id="{1F496867-A64F-4E7D-98EB-F037C72687B6}"/>
                    </a:ext>
                  </a:extLst>
                </p:cNvPr>
                <p:cNvSpPr/>
                <p:nvPr/>
              </p:nvSpPr>
              <p:spPr>
                <a:xfrm>
                  <a:off x="4213558" y="4886828"/>
                  <a:ext cx="76373" cy="62976"/>
                </a:xfrm>
                <a:custGeom>
                  <a:avLst/>
                  <a:gdLst>
                    <a:gd name="connsiteX0" fmla="*/ 0 w 76373"/>
                    <a:gd name="connsiteY0" fmla="*/ 62977 h 62976"/>
                    <a:gd name="connsiteX1" fmla="*/ 76374 w 76373"/>
                    <a:gd name="connsiteY1" fmla="*/ 0 h 62976"/>
                  </a:gdLst>
                  <a:ahLst/>
                  <a:cxnLst>
                    <a:cxn ang="0">
                      <a:pos x="connsiteX0" y="connsiteY0"/>
                    </a:cxn>
                    <a:cxn ang="0">
                      <a:pos x="connsiteX1" y="connsiteY1"/>
                    </a:cxn>
                  </a:cxnLst>
                  <a:rect l="l" t="t" r="r" b="b"/>
                  <a:pathLst>
                    <a:path w="76373" h="62976">
                      <a:moveTo>
                        <a:pt x="0" y="62977"/>
                      </a:moveTo>
                      <a:cubicBezTo>
                        <a:pt x="20095" y="46470"/>
                        <a:pt x="45872" y="25238"/>
                        <a:pt x="76374" y="0"/>
                      </a:cubicBezTo>
                    </a:path>
                  </a:pathLst>
                </a:custGeom>
                <a:noFill/>
                <a:ln w="6350" cap="rnd">
                  <a:solidFill>
                    <a:schemeClr val="bg1">
                      <a:alpha val="40000"/>
                    </a:schemeClr>
                  </a:solidFill>
                  <a:prstDash val="solid"/>
                  <a:miter/>
                </a:ln>
              </p:spPr>
              <p:txBody>
                <a:bodyPr rtlCol="0" anchor="ctr"/>
                <a:lstStyle/>
                <a:p>
                  <a:endParaRPr lang="en-GB"/>
                </a:p>
              </p:txBody>
            </p:sp>
            <p:sp>
              <p:nvSpPr>
                <p:cNvPr id="8338" name="Vrije vorm: vorm 8337">
                  <a:extLst>
                    <a:ext uri="{FF2B5EF4-FFF2-40B4-BE49-F238E27FC236}">
                      <a16:creationId xmlns:a16="http://schemas.microsoft.com/office/drawing/2014/main" id="{A2949649-F898-4C3D-9600-78E565D38015}"/>
                    </a:ext>
                  </a:extLst>
                </p:cNvPr>
                <p:cNvSpPr/>
                <p:nvPr/>
              </p:nvSpPr>
              <p:spPr>
                <a:xfrm>
                  <a:off x="4323603" y="4923549"/>
                  <a:ext cx="62678" cy="50776"/>
                </a:xfrm>
                <a:custGeom>
                  <a:avLst/>
                  <a:gdLst>
                    <a:gd name="connsiteX0" fmla="*/ 0 w 62678"/>
                    <a:gd name="connsiteY0" fmla="*/ 50776 h 50776"/>
                    <a:gd name="connsiteX1" fmla="*/ 62678 w 62678"/>
                    <a:gd name="connsiteY1" fmla="*/ 0 h 50776"/>
                  </a:gdLst>
                  <a:ahLst/>
                  <a:cxnLst>
                    <a:cxn ang="0">
                      <a:pos x="connsiteX0" y="connsiteY0"/>
                    </a:cxn>
                    <a:cxn ang="0">
                      <a:pos x="connsiteX1" y="connsiteY1"/>
                    </a:cxn>
                  </a:cxnLst>
                  <a:rect l="l" t="t" r="r" b="b"/>
                  <a:pathLst>
                    <a:path w="62678" h="50776">
                      <a:moveTo>
                        <a:pt x="0" y="50776"/>
                      </a:moveTo>
                      <a:cubicBezTo>
                        <a:pt x="18959" y="35705"/>
                        <a:pt x="39892" y="18719"/>
                        <a:pt x="62678" y="0"/>
                      </a:cubicBezTo>
                    </a:path>
                  </a:pathLst>
                </a:custGeom>
                <a:noFill/>
                <a:ln w="6350" cap="rnd">
                  <a:solidFill>
                    <a:schemeClr val="bg1">
                      <a:alpha val="40000"/>
                    </a:schemeClr>
                  </a:solidFill>
                  <a:prstDash val="solid"/>
                  <a:miter/>
                </a:ln>
              </p:spPr>
              <p:txBody>
                <a:bodyPr rtlCol="0" anchor="ctr"/>
                <a:lstStyle/>
                <a:p>
                  <a:endParaRPr lang="en-GB"/>
                </a:p>
              </p:txBody>
            </p:sp>
            <p:sp>
              <p:nvSpPr>
                <p:cNvPr id="8339" name="Vrije vorm: vorm 8338">
                  <a:extLst>
                    <a:ext uri="{FF2B5EF4-FFF2-40B4-BE49-F238E27FC236}">
                      <a16:creationId xmlns:a16="http://schemas.microsoft.com/office/drawing/2014/main" id="{1B0D09B4-E873-4F2D-BC2D-B6E857A94338}"/>
                    </a:ext>
                  </a:extLst>
                </p:cNvPr>
                <p:cNvSpPr/>
                <p:nvPr/>
              </p:nvSpPr>
              <p:spPr>
                <a:xfrm>
                  <a:off x="4125282" y="4483189"/>
                  <a:ext cx="417873" cy="338269"/>
                </a:xfrm>
                <a:custGeom>
                  <a:avLst/>
                  <a:gdLst>
                    <a:gd name="connsiteX0" fmla="*/ 0 w 417873"/>
                    <a:gd name="connsiteY0" fmla="*/ 338270 h 338269"/>
                    <a:gd name="connsiteX1" fmla="*/ 417873 w 417873"/>
                    <a:gd name="connsiteY1" fmla="*/ 0 h 338269"/>
                  </a:gdLst>
                  <a:ahLst/>
                  <a:cxnLst>
                    <a:cxn ang="0">
                      <a:pos x="connsiteX0" y="connsiteY0"/>
                    </a:cxn>
                    <a:cxn ang="0">
                      <a:pos x="connsiteX1" y="connsiteY1"/>
                    </a:cxn>
                  </a:cxnLst>
                  <a:rect l="l" t="t" r="r" b="b"/>
                  <a:pathLst>
                    <a:path w="417873" h="338269">
                      <a:moveTo>
                        <a:pt x="0" y="338270"/>
                      </a:moveTo>
                      <a:cubicBezTo>
                        <a:pt x="86302" y="260939"/>
                        <a:pt x="240664" y="139650"/>
                        <a:pt x="417873" y="0"/>
                      </a:cubicBezTo>
                    </a:path>
                  </a:pathLst>
                </a:custGeom>
                <a:noFill/>
                <a:ln w="6350" cap="rnd">
                  <a:solidFill>
                    <a:schemeClr val="bg1">
                      <a:alpha val="40000"/>
                    </a:schemeClr>
                  </a:solidFill>
                  <a:prstDash val="solid"/>
                  <a:miter/>
                </a:ln>
              </p:spPr>
              <p:txBody>
                <a:bodyPr rtlCol="0" anchor="ctr"/>
                <a:lstStyle/>
                <a:p>
                  <a:endParaRPr lang="en-GB"/>
                </a:p>
              </p:txBody>
            </p:sp>
            <p:sp>
              <p:nvSpPr>
                <p:cNvPr id="8340" name="Vrije vorm: vorm 8339">
                  <a:extLst>
                    <a:ext uri="{FF2B5EF4-FFF2-40B4-BE49-F238E27FC236}">
                      <a16:creationId xmlns:a16="http://schemas.microsoft.com/office/drawing/2014/main" id="{FCEC37DD-8666-4C8D-B09C-551922156561}"/>
                    </a:ext>
                  </a:extLst>
                </p:cNvPr>
                <p:cNvSpPr/>
                <p:nvPr/>
              </p:nvSpPr>
              <p:spPr>
                <a:xfrm>
                  <a:off x="4183415" y="4212501"/>
                  <a:ext cx="452561" cy="347120"/>
                </a:xfrm>
                <a:custGeom>
                  <a:avLst/>
                  <a:gdLst>
                    <a:gd name="connsiteX0" fmla="*/ 0 w 452561"/>
                    <a:gd name="connsiteY0" fmla="*/ 347121 h 347120"/>
                    <a:gd name="connsiteX1" fmla="*/ 452561 w 452561"/>
                    <a:gd name="connsiteY1" fmla="*/ 0 h 347120"/>
                  </a:gdLst>
                  <a:ahLst/>
                  <a:cxnLst>
                    <a:cxn ang="0">
                      <a:pos x="connsiteX0" y="connsiteY0"/>
                    </a:cxn>
                    <a:cxn ang="0">
                      <a:pos x="connsiteX1" y="connsiteY1"/>
                    </a:cxn>
                  </a:cxnLst>
                  <a:rect l="l" t="t" r="r" b="b"/>
                  <a:pathLst>
                    <a:path w="452561" h="347120">
                      <a:moveTo>
                        <a:pt x="0" y="347121"/>
                      </a:moveTo>
                      <a:cubicBezTo>
                        <a:pt x="129064" y="244731"/>
                        <a:pt x="289646" y="126133"/>
                        <a:pt x="452561" y="0"/>
                      </a:cubicBezTo>
                    </a:path>
                  </a:pathLst>
                </a:custGeom>
                <a:noFill/>
                <a:ln w="6350" cap="rnd">
                  <a:solidFill>
                    <a:schemeClr val="bg1">
                      <a:alpha val="40000"/>
                    </a:schemeClr>
                  </a:solidFill>
                  <a:prstDash val="solid"/>
                  <a:miter/>
                </a:ln>
              </p:spPr>
              <p:txBody>
                <a:bodyPr rtlCol="0" anchor="ctr"/>
                <a:lstStyle/>
                <a:p>
                  <a:endParaRPr lang="en-GB"/>
                </a:p>
              </p:txBody>
            </p:sp>
            <p:sp>
              <p:nvSpPr>
                <p:cNvPr id="8341" name="Vrije vorm: vorm 8340">
                  <a:extLst>
                    <a:ext uri="{FF2B5EF4-FFF2-40B4-BE49-F238E27FC236}">
                      <a16:creationId xmlns:a16="http://schemas.microsoft.com/office/drawing/2014/main" id="{9128CF8E-1EE7-4FBD-A1E7-FAADB7306B6E}"/>
                    </a:ext>
                  </a:extLst>
                </p:cNvPr>
                <p:cNvSpPr/>
                <p:nvPr/>
              </p:nvSpPr>
              <p:spPr>
                <a:xfrm>
                  <a:off x="4287898" y="4119621"/>
                  <a:ext cx="199995" cy="329836"/>
                </a:xfrm>
                <a:custGeom>
                  <a:avLst/>
                  <a:gdLst>
                    <a:gd name="connsiteX0" fmla="*/ 0 w 199995"/>
                    <a:gd name="connsiteY0" fmla="*/ 329837 h 329836"/>
                    <a:gd name="connsiteX1" fmla="*/ 199995 w 199995"/>
                    <a:gd name="connsiteY1" fmla="*/ 0 h 329836"/>
                  </a:gdLst>
                  <a:ahLst/>
                  <a:cxnLst>
                    <a:cxn ang="0">
                      <a:pos x="connsiteX0" y="connsiteY0"/>
                    </a:cxn>
                    <a:cxn ang="0">
                      <a:pos x="connsiteX1" y="connsiteY1"/>
                    </a:cxn>
                  </a:cxnLst>
                  <a:rect l="l" t="t" r="r" b="b"/>
                  <a:pathLst>
                    <a:path w="199995" h="329836">
                      <a:moveTo>
                        <a:pt x="0" y="329837"/>
                      </a:moveTo>
                      <a:cubicBezTo>
                        <a:pt x="54724" y="226071"/>
                        <a:pt x="124220" y="115010"/>
                        <a:pt x="199995" y="0"/>
                      </a:cubicBezTo>
                    </a:path>
                  </a:pathLst>
                </a:custGeom>
                <a:noFill/>
                <a:ln w="6350" cap="rnd">
                  <a:solidFill>
                    <a:schemeClr val="bg1">
                      <a:alpha val="40000"/>
                    </a:schemeClr>
                  </a:solidFill>
                  <a:prstDash val="solid"/>
                  <a:miter/>
                </a:ln>
              </p:spPr>
              <p:txBody>
                <a:bodyPr rtlCol="0" anchor="ctr"/>
                <a:lstStyle/>
                <a:p>
                  <a:endParaRPr lang="en-GB"/>
                </a:p>
              </p:txBody>
            </p:sp>
            <p:sp>
              <p:nvSpPr>
                <p:cNvPr id="8342" name="Vrije vorm: vorm 8341">
                  <a:extLst>
                    <a:ext uri="{FF2B5EF4-FFF2-40B4-BE49-F238E27FC236}">
                      <a16:creationId xmlns:a16="http://schemas.microsoft.com/office/drawing/2014/main" id="{BA45EEA1-ABFF-4BF0-BFC6-621389A31A45}"/>
                    </a:ext>
                  </a:extLst>
                </p:cNvPr>
                <p:cNvSpPr/>
                <p:nvPr/>
              </p:nvSpPr>
              <p:spPr>
                <a:xfrm>
                  <a:off x="4154408" y="4706509"/>
                  <a:ext cx="30442" cy="115248"/>
                </a:xfrm>
                <a:custGeom>
                  <a:avLst/>
                  <a:gdLst>
                    <a:gd name="connsiteX0" fmla="*/ 0 w 30442"/>
                    <a:gd name="connsiteY0" fmla="*/ 115249 h 115248"/>
                    <a:gd name="connsiteX1" fmla="*/ 30442 w 30442"/>
                    <a:gd name="connsiteY1" fmla="*/ 0 h 115248"/>
                  </a:gdLst>
                  <a:ahLst/>
                  <a:cxnLst>
                    <a:cxn ang="0">
                      <a:pos x="connsiteX0" y="connsiteY0"/>
                    </a:cxn>
                    <a:cxn ang="0">
                      <a:pos x="connsiteX1" y="connsiteY1"/>
                    </a:cxn>
                  </a:cxnLst>
                  <a:rect l="l" t="t" r="r" b="b"/>
                  <a:pathLst>
                    <a:path w="30442" h="115248">
                      <a:moveTo>
                        <a:pt x="0" y="115249"/>
                      </a:moveTo>
                      <a:cubicBezTo>
                        <a:pt x="5861" y="80261"/>
                        <a:pt x="16028" y="41626"/>
                        <a:pt x="30442" y="0"/>
                      </a:cubicBezTo>
                    </a:path>
                  </a:pathLst>
                </a:custGeom>
                <a:noFill/>
                <a:ln w="6350" cap="rnd">
                  <a:solidFill>
                    <a:schemeClr val="bg1">
                      <a:alpha val="40000"/>
                    </a:schemeClr>
                  </a:solidFill>
                  <a:prstDash val="solid"/>
                  <a:miter/>
                </a:ln>
              </p:spPr>
              <p:txBody>
                <a:bodyPr rtlCol="0" anchor="ctr"/>
                <a:lstStyle/>
                <a:p>
                  <a:endParaRPr lang="en-GB"/>
                </a:p>
              </p:txBody>
            </p:sp>
            <p:sp>
              <p:nvSpPr>
                <p:cNvPr id="8343" name="Vrije vorm: vorm 8342">
                  <a:extLst>
                    <a:ext uri="{FF2B5EF4-FFF2-40B4-BE49-F238E27FC236}">
                      <a16:creationId xmlns:a16="http://schemas.microsoft.com/office/drawing/2014/main" id="{7FC8B94F-A5E7-4CD1-B734-03114A857D02}"/>
                    </a:ext>
                  </a:extLst>
                </p:cNvPr>
                <p:cNvSpPr/>
                <p:nvPr/>
              </p:nvSpPr>
              <p:spPr>
                <a:xfrm>
                  <a:off x="4828675" y="4437795"/>
                  <a:ext cx="229600" cy="231155"/>
                </a:xfrm>
                <a:custGeom>
                  <a:avLst/>
                  <a:gdLst>
                    <a:gd name="connsiteX0" fmla="*/ 229600 w 229600"/>
                    <a:gd name="connsiteY0" fmla="*/ 231155 h 231155"/>
                    <a:gd name="connsiteX1" fmla="*/ 0 w 229600"/>
                    <a:gd name="connsiteY1" fmla="*/ 0 h 231155"/>
                  </a:gdLst>
                  <a:ahLst/>
                  <a:cxnLst>
                    <a:cxn ang="0">
                      <a:pos x="connsiteX0" y="connsiteY0"/>
                    </a:cxn>
                    <a:cxn ang="0">
                      <a:pos x="connsiteX1" y="connsiteY1"/>
                    </a:cxn>
                  </a:cxnLst>
                  <a:rect l="l" t="t" r="r" b="b"/>
                  <a:pathLst>
                    <a:path w="229600" h="231155">
                      <a:moveTo>
                        <a:pt x="229600" y="231155"/>
                      </a:moveTo>
                      <a:cubicBezTo>
                        <a:pt x="154542" y="153346"/>
                        <a:pt x="77989" y="76434"/>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344" name="Vrije vorm: vorm 8343">
                  <a:extLst>
                    <a:ext uri="{FF2B5EF4-FFF2-40B4-BE49-F238E27FC236}">
                      <a16:creationId xmlns:a16="http://schemas.microsoft.com/office/drawing/2014/main" id="{98B52435-8DAA-45C4-BC42-1110DF0FF66A}"/>
                    </a:ext>
                  </a:extLst>
                </p:cNvPr>
                <p:cNvSpPr/>
                <p:nvPr/>
              </p:nvSpPr>
              <p:spPr>
                <a:xfrm>
                  <a:off x="4669468" y="4197490"/>
                  <a:ext cx="266680" cy="164230"/>
                </a:xfrm>
                <a:custGeom>
                  <a:avLst/>
                  <a:gdLst>
                    <a:gd name="connsiteX0" fmla="*/ 0 w 266680"/>
                    <a:gd name="connsiteY0" fmla="*/ 0 h 164230"/>
                    <a:gd name="connsiteX1" fmla="*/ 266681 w 266680"/>
                    <a:gd name="connsiteY1" fmla="*/ 164231 h 164230"/>
                  </a:gdLst>
                  <a:ahLst/>
                  <a:cxnLst>
                    <a:cxn ang="0">
                      <a:pos x="connsiteX0" y="connsiteY0"/>
                    </a:cxn>
                    <a:cxn ang="0">
                      <a:pos x="connsiteX1" y="connsiteY1"/>
                    </a:cxn>
                  </a:cxnLst>
                  <a:rect l="l" t="t" r="r" b="b"/>
                  <a:pathLst>
                    <a:path w="266680" h="164230">
                      <a:moveTo>
                        <a:pt x="0" y="0"/>
                      </a:moveTo>
                      <a:cubicBezTo>
                        <a:pt x="126193" y="73563"/>
                        <a:pt x="148980" y="87019"/>
                        <a:pt x="266681" y="164231"/>
                      </a:cubicBezTo>
                    </a:path>
                  </a:pathLst>
                </a:custGeom>
                <a:noFill/>
                <a:ln w="6350" cap="rnd">
                  <a:solidFill>
                    <a:schemeClr val="bg1">
                      <a:alpha val="40000"/>
                    </a:schemeClr>
                  </a:solidFill>
                  <a:prstDash val="solid"/>
                  <a:miter/>
                </a:ln>
              </p:spPr>
              <p:txBody>
                <a:bodyPr rtlCol="0" anchor="ctr"/>
                <a:lstStyle/>
                <a:p>
                  <a:endParaRPr lang="en-GB"/>
                </a:p>
              </p:txBody>
            </p:sp>
            <p:sp>
              <p:nvSpPr>
                <p:cNvPr id="8345" name="Vrije vorm: vorm 8344">
                  <a:extLst>
                    <a:ext uri="{FF2B5EF4-FFF2-40B4-BE49-F238E27FC236}">
                      <a16:creationId xmlns:a16="http://schemas.microsoft.com/office/drawing/2014/main" id="{BB811BD5-87C7-4920-B380-1652D0016F9C}"/>
                    </a:ext>
                  </a:extLst>
                </p:cNvPr>
                <p:cNvSpPr/>
                <p:nvPr/>
              </p:nvSpPr>
              <p:spPr>
                <a:xfrm>
                  <a:off x="4832742" y="4226676"/>
                  <a:ext cx="217339" cy="550166"/>
                </a:xfrm>
                <a:custGeom>
                  <a:avLst/>
                  <a:gdLst>
                    <a:gd name="connsiteX0" fmla="*/ 0 w 217339"/>
                    <a:gd name="connsiteY0" fmla="*/ 0 h 550166"/>
                    <a:gd name="connsiteX1" fmla="*/ 217340 w 217339"/>
                    <a:gd name="connsiteY1" fmla="*/ 550167 h 550166"/>
                  </a:gdLst>
                  <a:ahLst/>
                  <a:cxnLst>
                    <a:cxn ang="0">
                      <a:pos x="connsiteX0" y="connsiteY0"/>
                    </a:cxn>
                    <a:cxn ang="0">
                      <a:pos x="connsiteX1" y="connsiteY1"/>
                    </a:cxn>
                  </a:cxnLst>
                  <a:rect l="l" t="t" r="r" b="b"/>
                  <a:pathLst>
                    <a:path w="217339" h="550166">
                      <a:moveTo>
                        <a:pt x="0" y="0"/>
                      </a:moveTo>
                      <a:cubicBezTo>
                        <a:pt x="81278" y="233786"/>
                        <a:pt x="122605" y="321464"/>
                        <a:pt x="217340" y="550167"/>
                      </a:cubicBezTo>
                    </a:path>
                  </a:pathLst>
                </a:custGeom>
                <a:noFill/>
                <a:ln w="6350" cap="rnd">
                  <a:solidFill>
                    <a:schemeClr val="bg1">
                      <a:alpha val="40000"/>
                    </a:schemeClr>
                  </a:solidFill>
                  <a:prstDash val="solid"/>
                  <a:miter/>
                </a:ln>
              </p:spPr>
              <p:txBody>
                <a:bodyPr rtlCol="0" anchor="ctr"/>
                <a:lstStyle/>
                <a:p>
                  <a:endParaRPr lang="en-GB"/>
                </a:p>
              </p:txBody>
            </p:sp>
            <p:sp>
              <p:nvSpPr>
                <p:cNvPr id="8346" name="Vrije vorm: vorm 8345">
                  <a:extLst>
                    <a:ext uri="{FF2B5EF4-FFF2-40B4-BE49-F238E27FC236}">
                      <a16:creationId xmlns:a16="http://schemas.microsoft.com/office/drawing/2014/main" id="{ABB14CE1-EA1C-4B5E-A296-3888F9FECFE9}"/>
                    </a:ext>
                  </a:extLst>
                </p:cNvPr>
                <p:cNvSpPr/>
                <p:nvPr/>
              </p:nvSpPr>
              <p:spPr>
                <a:xfrm>
                  <a:off x="4441902" y="3845166"/>
                  <a:ext cx="609913" cy="937597"/>
                </a:xfrm>
                <a:custGeom>
                  <a:avLst/>
                  <a:gdLst>
                    <a:gd name="connsiteX0" fmla="*/ 609914 w 609913"/>
                    <a:gd name="connsiteY0" fmla="*/ 937597 h 937597"/>
                    <a:gd name="connsiteX1" fmla="*/ 0 w 609913"/>
                    <a:gd name="connsiteY1" fmla="*/ 0 h 937597"/>
                  </a:gdLst>
                  <a:ahLst/>
                  <a:cxnLst>
                    <a:cxn ang="0">
                      <a:pos x="connsiteX0" y="connsiteY0"/>
                    </a:cxn>
                    <a:cxn ang="0">
                      <a:pos x="connsiteX1" y="connsiteY1"/>
                    </a:cxn>
                  </a:cxnLst>
                  <a:rect l="l" t="t" r="r" b="b"/>
                  <a:pathLst>
                    <a:path w="609913" h="937597">
                      <a:moveTo>
                        <a:pt x="609914" y="937597"/>
                      </a:moveTo>
                      <a:cubicBezTo>
                        <a:pt x="370087" y="556028"/>
                        <a:pt x="237315" y="381091"/>
                        <a:pt x="0" y="0"/>
                      </a:cubicBezTo>
                    </a:path>
                  </a:pathLst>
                </a:custGeom>
                <a:noFill/>
                <a:ln w="6350" cap="rnd">
                  <a:solidFill>
                    <a:schemeClr val="bg1">
                      <a:alpha val="40000"/>
                    </a:schemeClr>
                  </a:solidFill>
                  <a:prstDash val="solid"/>
                  <a:miter/>
                </a:ln>
              </p:spPr>
              <p:txBody>
                <a:bodyPr rtlCol="0" anchor="ctr"/>
                <a:lstStyle/>
                <a:p>
                  <a:endParaRPr lang="en-GB"/>
                </a:p>
              </p:txBody>
            </p:sp>
            <p:sp>
              <p:nvSpPr>
                <p:cNvPr id="8347" name="Vrije vorm: vorm 8346">
                  <a:extLst>
                    <a:ext uri="{FF2B5EF4-FFF2-40B4-BE49-F238E27FC236}">
                      <a16:creationId xmlns:a16="http://schemas.microsoft.com/office/drawing/2014/main" id="{291AFC71-510E-41A9-8652-8D760EFEB7B1}"/>
                    </a:ext>
                  </a:extLst>
                </p:cNvPr>
                <p:cNvSpPr/>
                <p:nvPr/>
              </p:nvSpPr>
              <p:spPr>
                <a:xfrm>
                  <a:off x="4776463" y="4274701"/>
                  <a:ext cx="262075" cy="484378"/>
                </a:xfrm>
                <a:custGeom>
                  <a:avLst/>
                  <a:gdLst>
                    <a:gd name="connsiteX0" fmla="*/ 0 w 262075"/>
                    <a:gd name="connsiteY0" fmla="*/ 0 h 484378"/>
                    <a:gd name="connsiteX1" fmla="*/ 262075 w 262075"/>
                    <a:gd name="connsiteY1" fmla="*/ 484379 h 484378"/>
                  </a:gdLst>
                  <a:ahLst/>
                  <a:cxnLst>
                    <a:cxn ang="0">
                      <a:pos x="connsiteX0" y="connsiteY0"/>
                    </a:cxn>
                    <a:cxn ang="0">
                      <a:pos x="connsiteX1" y="connsiteY1"/>
                    </a:cxn>
                  </a:cxnLst>
                  <a:rect l="l" t="t" r="r" b="b"/>
                  <a:pathLst>
                    <a:path w="262075" h="484378">
                      <a:moveTo>
                        <a:pt x="0" y="0"/>
                      </a:moveTo>
                      <a:cubicBezTo>
                        <a:pt x="155678" y="335638"/>
                        <a:pt x="85165" y="159865"/>
                        <a:pt x="262075" y="484379"/>
                      </a:cubicBezTo>
                    </a:path>
                  </a:pathLst>
                </a:custGeom>
                <a:noFill/>
                <a:ln w="6350" cap="rnd">
                  <a:solidFill>
                    <a:schemeClr val="bg1">
                      <a:alpha val="40000"/>
                    </a:schemeClr>
                  </a:solidFill>
                  <a:prstDash val="solid"/>
                  <a:miter/>
                </a:ln>
              </p:spPr>
              <p:txBody>
                <a:bodyPr rtlCol="0" anchor="ctr"/>
                <a:lstStyle/>
                <a:p>
                  <a:endParaRPr lang="en-GB"/>
                </a:p>
              </p:txBody>
            </p:sp>
            <p:sp>
              <p:nvSpPr>
                <p:cNvPr id="8348" name="Vrije vorm: vorm 8347">
                  <a:extLst>
                    <a:ext uri="{FF2B5EF4-FFF2-40B4-BE49-F238E27FC236}">
                      <a16:creationId xmlns:a16="http://schemas.microsoft.com/office/drawing/2014/main" id="{D432B174-7DA8-40C3-BCA7-5BD8F530F6B2}"/>
                    </a:ext>
                  </a:extLst>
                </p:cNvPr>
                <p:cNvSpPr/>
                <p:nvPr/>
              </p:nvSpPr>
              <p:spPr>
                <a:xfrm>
                  <a:off x="4744227" y="4459266"/>
                  <a:ext cx="93179" cy="79483"/>
                </a:xfrm>
                <a:custGeom>
                  <a:avLst/>
                  <a:gdLst>
                    <a:gd name="connsiteX0" fmla="*/ 93180 w 93179"/>
                    <a:gd name="connsiteY0" fmla="*/ 12380 h 79483"/>
                    <a:gd name="connsiteX1" fmla="*/ 84209 w 93179"/>
                    <a:gd name="connsiteY1" fmla="*/ 0 h 79483"/>
                    <a:gd name="connsiteX2" fmla="*/ 0 w 93179"/>
                    <a:gd name="connsiteY2" fmla="*/ 68778 h 79483"/>
                    <a:gd name="connsiteX3" fmla="*/ 11244 w 93179"/>
                    <a:gd name="connsiteY3" fmla="*/ 79484 h 79483"/>
                    <a:gd name="connsiteX4" fmla="*/ 93180 w 93179"/>
                    <a:gd name="connsiteY4" fmla="*/ 12380 h 79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79" h="79483">
                      <a:moveTo>
                        <a:pt x="93180" y="12380"/>
                      </a:moveTo>
                      <a:cubicBezTo>
                        <a:pt x="90189" y="8253"/>
                        <a:pt x="87199" y="4127"/>
                        <a:pt x="84209" y="0"/>
                      </a:cubicBezTo>
                      <a:cubicBezTo>
                        <a:pt x="55860" y="23145"/>
                        <a:pt x="27751" y="46111"/>
                        <a:pt x="0" y="68778"/>
                      </a:cubicBezTo>
                      <a:cubicBezTo>
                        <a:pt x="3768" y="72367"/>
                        <a:pt x="7536" y="75895"/>
                        <a:pt x="11244" y="79484"/>
                      </a:cubicBezTo>
                      <a:cubicBezTo>
                        <a:pt x="38217" y="57415"/>
                        <a:pt x="65609" y="34987"/>
                        <a:pt x="93180" y="12380"/>
                      </a:cubicBezTo>
                      <a:close/>
                    </a:path>
                  </a:pathLst>
                </a:custGeom>
                <a:noFill/>
                <a:ln w="6350" cap="rnd">
                  <a:solidFill>
                    <a:schemeClr val="bg1">
                      <a:alpha val="40000"/>
                    </a:schemeClr>
                  </a:solidFill>
                  <a:prstDash val="solid"/>
                  <a:miter/>
                </a:ln>
              </p:spPr>
              <p:txBody>
                <a:bodyPr rtlCol="0" anchor="ctr"/>
                <a:lstStyle/>
                <a:p>
                  <a:endParaRPr lang="en-GB"/>
                </a:p>
              </p:txBody>
            </p:sp>
            <p:sp>
              <p:nvSpPr>
                <p:cNvPr id="8349" name="Vrije vorm: vorm 8348">
                  <a:extLst>
                    <a:ext uri="{FF2B5EF4-FFF2-40B4-BE49-F238E27FC236}">
                      <a16:creationId xmlns:a16="http://schemas.microsoft.com/office/drawing/2014/main" id="{30394303-3EE2-4C78-BEE2-E5F2CE0F2E36}"/>
                    </a:ext>
                  </a:extLst>
                </p:cNvPr>
                <p:cNvSpPr/>
                <p:nvPr/>
              </p:nvSpPr>
              <p:spPr>
                <a:xfrm>
                  <a:off x="4755471" y="4471706"/>
                  <a:ext cx="91146" cy="77570"/>
                </a:xfrm>
                <a:custGeom>
                  <a:avLst/>
                  <a:gdLst>
                    <a:gd name="connsiteX0" fmla="*/ 91146 w 91146"/>
                    <a:gd name="connsiteY0" fmla="*/ 12739 h 77570"/>
                    <a:gd name="connsiteX1" fmla="*/ 81876 w 91146"/>
                    <a:gd name="connsiteY1" fmla="*/ 0 h 77570"/>
                    <a:gd name="connsiteX2" fmla="*/ 0 w 91146"/>
                    <a:gd name="connsiteY2" fmla="*/ 67104 h 77570"/>
                    <a:gd name="connsiteX3" fmla="*/ 12320 w 91146"/>
                    <a:gd name="connsiteY3" fmla="*/ 77570 h 77570"/>
                    <a:gd name="connsiteX4" fmla="*/ 91146 w 91146"/>
                    <a:gd name="connsiteY4" fmla="*/ 12739 h 77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46" h="77570">
                      <a:moveTo>
                        <a:pt x="91146" y="12739"/>
                      </a:moveTo>
                      <a:cubicBezTo>
                        <a:pt x="88036" y="8493"/>
                        <a:pt x="84986" y="4246"/>
                        <a:pt x="81876" y="0"/>
                      </a:cubicBezTo>
                      <a:cubicBezTo>
                        <a:pt x="54305" y="22547"/>
                        <a:pt x="26973" y="44975"/>
                        <a:pt x="0" y="67104"/>
                      </a:cubicBezTo>
                      <a:cubicBezTo>
                        <a:pt x="4127" y="70573"/>
                        <a:pt x="8194" y="74041"/>
                        <a:pt x="12320" y="77570"/>
                      </a:cubicBezTo>
                      <a:cubicBezTo>
                        <a:pt x="38337" y="56159"/>
                        <a:pt x="64652" y="34509"/>
                        <a:pt x="91146" y="12739"/>
                      </a:cubicBezTo>
                      <a:close/>
                    </a:path>
                  </a:pathLst>
                </a:custGeom>
                <a:noFill/>
                <a:ln w="6350" cap="rnd">
                  <a:solidFill>
                    <a:schemeClr val="bg1">
                      <a:alpha val="40000"/>
                    </a:schemeClr>
                  </a:solidFill>
                  <a:prstDash val="solid"/>
                  <a:miter/>
                </a:ln>
              </p:spPr>
              <p:txBody>
                <a:bodyPr rtlCol="0" anchor="ctr"/>
                <a:lstStyle/>
                <a:p>
                  <a:endParaRPr lang="en-GB"/>
                </a:p>
              </p:txBody>
            </p:sp>
            <p:sp>
              <p:nvSpPr>
                <p:cNvPr id="8350" name="Vrije vorm: vorm 8349">
                  <a:extLst>
                    <a:ext uri="{FF2B5EF4-FFF2-40B4-BE49-F238E27FC236}">
                      <a16:creationId xmlns:a16="http://schemas.microsoft.com/office/drawing/2014/main" id="{DA5A5BA1-2756-4F10-A699-02EEA335E052}"/>
                    </a:ext>
                  </a:extLst>
                </p:cNvPr>
                <p:cNvSpPr/>
                <p:nvPr/>
              </p:nvSpPr>
              <p:spPr>
                <a:xfrm>
                  <a:off x="4767612" y="4484445"/>
                  <a:ext cx="88574" cy="75776"/>
                </a:xfrm>
                <a:custGeom>
                  <a:avLst/>
                  <a:gdLst>
                    <a:gd name="connsiteX0" fmla="*/ 88574 w 88574"/>
                    <a:gd name="connsiteY0" fmla="*/ 13158 h 75776"/>
                    <a:gd name="connsiteX1" fmla="*/ 79065 w 88574"/>
                    <a:gd name="connsiteY1" fmla="*/ 0 h 75776"/>
                    <a:gd name="connsiteX2" fmla="*/ 0 w 88574"/>
                    <a:gd name="connsiteY2" fmla="*/ 65010 h 75776"/>
                    <a:gd name="connsiteX3" fmla="*/ 12619 w 88574"/>
                    <a:gd name="connsiteY3" fmla="*/ 75776 h 75776"/>
                    <a:gd name="connsiteX4" fmla="*/ 88574 w 88574"/>
                    <a:gd name="connsiteY4" fmla="*/ 13158 h 75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4" h="75776">
                      <a:moveTo>
                        <a:pt x="88574" y="13158"/>
                      </a:moveTo>
                      <a:cubicBezTo>
                        <a:pt x="85405" y="8792"/>
                        <a:pt x="82235" y="4366"/>
                        <a:pt x="79065" y="0"/>
                      </a:cubicBezTo>
                      <a:cubicBezTo>
                        <a:pt x="52451" y="21830"/>
                        <a:pt x="26076" y="43540"/>
                        <a:pt x="0" y="65010"/>
                      </a:cubicBezTo>
                      <a:cubicBezTo>
                        <a:pt x="4246" y="68599"/>
                        <a:pt x="8433" y="72187"/>
                        <a:pt x="12619" y="75776"/>
                      </a:cubicBezTo>
                      <a:cubicBezTo>
                        <a:pt x="37678" y="55083"/>
                        <a:pt x="63037" y="34150"/>
                        <a:pt x="88574" y="13158"/>
                      </a:cubicBezTo>
                      <a:close/>
                    </a:path>
                  </a:pathLst>
                </a:custGeom>
                <a:noFill/>
                <a:ln w="6350" cap="rnd">
                  <a:solidFill>
                    <a:schemeClr val="bg1">
                      <a:alpha val="40000"/>
                    </a:schemeClr>
                  </a:solidFill>
                  <a:prstDash val="solid"/>
                  <a:miter/>
                </a:ln>
              </p:spPr>
              <p:txBody>
                <a:bodyPr rtlCol="0" anchor="ctr"/>
                <a:lstStyle/>
                <a:p>
                  <a:endParaRPr lang="en-GB"/>
                </a:p>
              </p:txBody>
            </p:sp>
            <p:sp>
              <p:nvSpPr>
                <p:cNvPr id="8351" name="Vrije vorm: vorm 8350">
                  <a:extLst>
                    <a:ext uri="{FF2B5EF4-FFF2-40B4-BE49-F238E27FC236}">
                      <a16:creationId xmlns:a16="http://schemas.microsoft.com/office/drawing/2014/main" id="{3F1AC9DF-C909-4637-B0D7-6C4AE279943C}"/>
                    </a:ext>
                  </a:extLst>
                </p:cNvPr>
                <p:cNvSpPr/>
                <p:nvPr/>
              </p:nvSpPr>
              <p:spPr>
                <a:xfrm>
                  <a:off x="4779992" y="4497602"/>
                  <a:ext cx="85524" cy="73383"/>
                </a:xfrm>
                <a:custGeom>
                  <a:avLst/>
                  <a:gdLst>
                    <a:gd name="connsiteX0" fmla="*/ 85524 w 85524"/>
                    <a:gd name="connsiteY0" fmla="*/ 12919 h 73383"/>
                    <a:gd name="connsiteX1" fmla="*/ 76194 w 85524"/>
                    <a:gd name="connsiteY1" fmla="*/ 0 h 73383"/>
                    <a:gd name="connsiteX2" fmla="*/ 0 w 85524"/>
                    <a:gd name="connsiteY2" fmla="*/ 62798 h 73383"/>
                    <a:gd name="connsiteX3" fmla="*/ 12380 w 85524"/>
                    <a:gd name="connsiteY3" fmla="*/ 73384 h 73383"/>
                    <a:gd name="connsiteX4" fmla="*/ 85524 w 85524"/>
                    <a:gd name="connsiteY4" fmla="*/ 12919 h 73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24" h="73383">
                      <a:moveTo>
                        <a:pt x="85524" y="12919"/>
                      </a:moveTo>
                      <a:cubicBezTo>
                        <a:pt x="82414" y="8612"/>
                        <a:pt x="79304" y="4306"/>
                        <a:pt x="76194" y="0"/>
                      </a:cubicBezTo>
                      <a:cubicBezTo>
                        <a:pt x="50537" y="21112"/>
                        <a:pt x="25119" y="42104"/>
                        <a:pt x="0" y="62798"/>
                      </a:cubicBezTo>
                      <a:cubicBezTo>
                        <a:pt x="4126" y="66326"/>
                        <a:pt x="8253" y="69855"/>
                        <a:pt x="12380" y="73384"/>
                      </a:cubicBezTo>
                      <a:cubicBezTo>
                        <a:pt x="36482" y="53408"/>
                        <a:pt x="60943" y="33193"/>
                        <a:pt x="85524" y="12919"/>
                      </a:cubicBezTo>
                      <a:close/>
                    </a:path>
                  </a:pathLst>
                </a:custGeom>
                <a:noFill/>
                <a:ln w="6350" cap="rnd">
                  <a:solidFill>
                    <a:schemeClr val="bg1">
                      <a:alpha val="40000"/>
                    </a:schemeClr>
                  </a:solidFill>
                  <a:prstDash val="solid"/>
                  <a:miter/>
                </a:ln>
              </p:spPr>
              <p:txBody>
                <a:bodyPr rtlCol="0" anchor="ctr"/>
                <a:lstStyle/>
                <a:p>
                  <a:endParaRPr lang="en-GB"/>
                </a:p>
              </p:txBody>
            </p:sp>
            <p:sp>
              <p:nvSpPr>
                <p:cNvPr id="8352" name="Vrije vorm: vorm 8351">
                  <a:extLst>
                    <a:ext uri="{FF2B5EF4-FFF2-40B4-BE49-F238E27FC236}">
                      <a16:creationId xmlns:a16="http://schemas.microsoft.com/office/drawing/2014/main" id="{6EBDD7D0-EBAE-41E1-B6FE-0DB204848A5C}"/>
                    </a:ext>
                  </a:extLst>
                </p:cNvPr>
                <p:cNvSpPr/>
                <p:nvPr/>
              </p:nvSpPr>
              <p:spPr>
                <a:xfrm>
                  <a:off x="4842371" y="4744128"/>
                  <a:ext cx="185701" cy="102330"/>
                </a:xfrm>
                <a:custGeom>
                  <a:avLst/>
                  <a:gdLst>
                    <a:gd name="connsiteX0" fmla="*/ 0 w 185701"/>
                    <a:gd name="connsiteY0" fmla="*/ 62020 h 102330"/>
                    <a:gd name="connsiteX1" fmla="*/ 69675 w 185701"/>
                    <a:gd name="connsiteY1" fmla="*/ 102330 h 102330"/>
                    <a:gd name="connsiteX2" fmla="*/ 185701 w 185701"/>
                    <a:gd name="connsiteY2" fmla="*/ 0 h 102330"/>
                  </a:gdLst>
                  <a:ahLst/>
                  <a:cxnLst>
                    <a:cxn ang="0">
                      <a:pos x="connsiteX0" y="connsiteY0"/>
                    </a:cxn>
                    <a:cxn ang="0">
                      <a:pos x="connsiteX1" y="connsiteY1"/>
                    </a:cxn>
                    <a:cxn ang="0">
                      <a:pos x="connsiteX2" y="connsiteY2"/>
                    </a:cxn>
                  </a:cxnLst>
                  <a:rect l="l" t="t" r="r" b="b"/>
                  <a:pathLst>
                    <a:path w="185701" h="102330">
                      <a:moveTo>
                        <a:pt x="0" y="62020"/>
                      </a:moveTo>
                      <a:cubicBezTo>
                        <a:pt x="23325" y="75477"/>
                        <a:pt x="46590" y="88873"/>
                        <a:pt x="69675" y="102330"/>
                      </a:cubicBezTo>
                      <a:cubicBezTo>
                        <a:pt x="107713" y="68479"/>
                        <a:pt x="146408" y="34150"/>
                        <a:pt x="185701" y="0"/>
                      </a:cubicBezTo>
                    </a:path>
                  </a:pathLst>
                </a:custGeom>
                <a:noFill/>
                <a:ln w="6350" cap="rnd">
                  <a:solidFill>
                    <a:schemeClr val="bg1">
                      <a:alpha val="40000"/>
                    </a:schemeClr>
                  </a:solidFill>
                  <a:prstDash val="solid"/>
                  <a:miter/>
                </a:ln>
              </p:spPr>
              <p:txBody>
                <a:bodyPr rtlCol="0" anchor="ctr"/>
                <a:lstStyle/>
                <a:p>
                  <a:endParaRPr lang="en-GB"/>
                </a:p>
              </p:txBody>
            </p:sp>
          </p:grpSp>
          <p:grpSp>
            <p:nvGrpSpPr>
              <p:cNvPr id="7348" name="Graphic 3">
                <a:extLst>
                  <a:ext uri="{FF2B5EF4-FFF2-40B4-BE49-F238E27FC236}">
                    <a16:creationId xmlns:a16="http://schemas.microsoft.com/office/drawing/2014/main" id="{31D1CAB4-FFDB-4A44-91EE-73308FEFFFCE}"/>
                  </a:ext>
                </a:extLst>
              </p:cNvPr>
              <p:cNvGrpSpPr/>
              <p:nvPr/>
            </p:nvGrpSpPr>
            <p:grpSpPr>
              <a:xfrm>
                <a:off x="5568789" y="5004110"/>
                <a:ext cx="335399" cy="517663"/>
                <a:chOff x="5568789" y="5004110"/>
                <a:chExt cx="335399" cy="517663"/>
              </a:xfrm>
              <a:noFill/>
            </p:grpSpPr>
            <p:grpSp>
              <p:nvGrpSpPr>
                <p:cNvPr id="7582" name="Graphic 3">
                  <a:extLst>
                    <a:ext uri="{FF2B5EF4-FFF2-40B4-BE49-F238E27FC236}">
                      <a16:creationId xmlns:a16="http://schemas.microsoft.com/office/drawing/2014/main" id="{2D1A293B-DBB4-49DE-B7A6-A02DCF34F9AB}"/>
                    </a:ext>
                  </a:extLst>
                </p:cNvPr>
                <p:cNvGrpSpPr/>
                <p:nvPr/>
              </p:nvGrpSpPr>
              <p:grpSpPr>
                <a:xfrm>
                  <a:off x="5568789" y="5004110"/>
                  <a:ext cx="335399" cy="409200"/>
                  <a:chOff x="5568789" y="5004110"/>
                  <a:chExt cx="335399" cy="409200"/>
                </a:xfrm>
                <a:noFill/>
              </p:grpSpPr>
              <p:sp>
                <p:nvSpPr>
                  <p:cNvPr id="7587" name="Vrije vorm: vorm 7586">
                    <a:extLst>
                      <a:ext uri="{FF2B5EF4-FFF2-40B4-BE49-F238E27FC236}">
                        <a16:creationId xmlns:a16="http://schemas.microsoft.com/office/drawing/2014/main" id="{80896776-69AC-4BEC-ACB6-135AD8FB498B}"/>
                      </a:ext>
                    </a:extLst>
                  </p:cNvPr>
                  <p:cNvSpPr/>
                  <p:nvPr/>
                </p:nvSpPr>
                <p:spPr>
                  <a:xfrm>
                    <a:off x="5737565" y="5020377"/>
                    <a:ext cx="1315" cy="2571"/>
                  </a:xfrm>
                  <a:custGeom>
                    <a:avLst/>
                    <a:gdLst>
                      <a:gd name="connsiteX0" fmla="*/ 0 w 1315"/>
                      <a:gd name="connsiteY0" fmla="*/ 2572 h 2571"/>
                      <a:gd name="connsiteX1" fmla="*/ 0 w 1315"/>
                      <a:gd name="connsiteY1" fmla="*/ 2572 h 2571"/>
                      <a:gd name="connsiteX2" fmla="*/ 478 w 1315"/>
                      <a:gd name="connsiteY2" fmla="*/ 1615 h 2571"/>
                      <a:gd name="connsiteX3" fmla="*/ 1316 w 1315"/>
                      <a:gd name="connsiteY3" fmla="*/ 0 h 2571"/>
                    </a:gdLst>
                    <a:ahLst/>
                    <a:cxnLst>
                      <a:cxn ang="0">
                        <a:pos x="connsiteX0" y="connsiteY0"/>
                      </a:cxn>
                      <a:cxn ang="0">
                        <a:pos x="connsiteX1" y="connsiteY1"/>
                      </a:cxn>
                      <a:cxn ang="0">
                        <a:pos x="connsiteX2" y="connsiteY2"/>
                      </a:cxn>
                      <a:cxn ang="0">
                        <a:pos x="connsiteX3" y="connsiteY3"/>
                      </a:cxn>
                    </a:cxnLst>
                    <a:rect l="l" t="t" r="r" b="b"/>
                    <a:pathLst>
                      <a:path w="1315" h="2571">
                        <a:moveTo>
                          <a:pt x="0" y="2572"/>
                        </a:moveTo>
                        <a:lnTo>
                          <a:pt x="0" y="2572"/>
                        </a:lnTo>
                        <a:lnTo>
                          <a:pt x="478" y="1615"/>
                        </a:lnTo>
                        <a:lnTo>
                          <a:pt x="1316" y="0"/>
                        </a:lnTo>
                      </a:path>
                    </a:pathLst>
                  </a:custGeom>
                  <a:noFill/>
                  <a:ln w="6350" cap="flat">
                    <a:solidFill>
                      <a:schemeClr val="bg1">
                        <a:alpha val="40000"/>
                      </a:schemeClr>
                    </a:solidFill>
                    <a:prstDash val="solid"/>
                    <a:miter/>
                  </a:ln>
                </p:spPr>
                <p:txBody>
                  <a:bodyPr rtlCol="0" anchor="ctr"/>
                  <a:lstStyle/>
                  <a:p>
                    <a:endParaRPr lang="en-GB"/>
                  </a:p>
                </p:txBody>
              </p:sp>
              <p:sp>
                <p:nvSpPr>
                  <p:cNvPr id="7588" name="Vrije vorm: vorm 7587">
                    <a:extLst>
                      <a:ext uri="{FF2B5EF4-FFF2-40B4-BE49-F238E27FC236}">
                        <a16:creationId xmlns:a16="http://schemas.microsoft.com/office/drawing/2014/main" id="{EA8C4A6F-F0B4-4F60-A06F-B62D7F94CF13}"/>
                      </a:ext>
                    </a:extLst>
                  </p:cNvPr>
                  <p:cNvSpPr/>
                  <p:nvPr/>
                </p:nvSpPr>
                <p:spPr>
                  <a:xfrm>
                    <a:off x="5738343" y="5019002"/>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589" name="Vrije vorm: vorm 7588">
                    <a:extLst>
                      <a:ext uri="{FF2B5EF4-FFF2-40B4-BE49-F238E27FC236}">
                        <a16:creationId xmlns:a16="http://schemas.microsoft.com/office/drawing/2014/main" id="{5ED9E713-5D07-429B-848F-D9A7DF5BE68B}"/>
                      </a:ext>
                    </a:extLst>
                  </p:cNvPr>
                  <p:cNvSpPr/>
                  <p:nvPr/>
                </p:nvSpPr>
                <p:spPr>
                  <a:xfrm>
                    <a:off x="5739300" y="5057577"/>
                    <a:ext cx="2811" cy="5502"/>
                  </a:xfrm>
                  <a:custGeom>
                    <a:avLst/>
                    <a:gdLst>
                      <a:gd name="connsiteX0" fmla="*/ 2811 w 2811"/>
                      <a:gd name="connsiteY0" fmla="*/ 0 h 5502"/>
                      <a:gd name="connsiteX1" fmla="*/ 2632 w 2811"/>
                      <a:gd name="connsiteY1" fmla="*/ 419 h 5502"/>
                      <a:gd name="connsiteX2" fmla="*/ 2512 w 2811"/>
                      <a:gd name="connsiteY2" fmla="*/ 598 h 5502"/>
                      <a:gd name="connsiteX3" fmla="*/ 1495 w 2811"/>
                      <a:gd name="connsiteY3" fmla="*/ 2572 h 5502"/>
                      <a:gd name="connsiteX4" fmla="*/ 0 w 2811"/>
                      <a:gd name="connsiteY4" fmla="*/ 5502 h 5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 h="5502">
                        <a:moveTo>
                          <a:pt x="2811" y="0"/>
                        </a:moveTo>
                        <a:lnTo>
                          <a:pt x="2632" y="419"/>
                        </a:lnTo>
                        <a:lnTo>
                          <a:pt x="2512" y="598"/>
                        </a:lnTo>
                        <a:lnTo>
                          <a:pt x="1495" y="2572"/>
                        </a:lnTo>
                        <a:lnTo>
                          <a:pt x="0" y="5502"/>
                        </a:lnTo>
                      </a:path>
                    </a:pathLst>
                  </a:custGeom>
                  <a:noFill/>
                  <a:ln w="6350" cap="flat">
                    <a:solidFill>
                      <a:schemeClr val="bg1">
                        <a:alpha val="40000"/>
                      </a:schemeClr>
                    </a:solidFill>
                    <a:prstDash val="solid"/>
                    <a:miter/>
                  </a:ln>
                </p:spPr>
                <p:txBody>
                  <a:bodyPr rtlCol="0" anchor="ctr"/>
                  <a:lstStyle/>
                  <a:p>
                    <a:endParaRPr lang="en-GB"/>
                  </a:p>
                </p:txBody>
              </p:sp>
              <p:sp>
                <p:nvSpPr>
                  <p:cNvPr id="7590" name="Vrije vorm: vorm 7589">
                    <a:extLst>
                      <a:ext uri="{FF2B5EF4-FFF2-40B4-BE49-F238E27FC236}">
                        <a16:creationId xmlns:a16="http://schemas.microsoft.com/office/drawing/2014/main" id="{937D192C-97B6-4733-927F-F732F54CB046}"/>
                      </a:ext>
                    </a:extLst>
                  </p:cNvPr>
                  <p:cNvSpPr/>
                  <p:nvPr/>
                </p:nvSpPr>
                <p:spPr>
                  <a:xfrm>
                    <a:off x="5862443" y="5123305"/>
                    <a:ext cx="1913" cy="3767"/>
                  </a:xfrm>
                  <a:custGeom>
                    <a:avLst/>
                    <a:gdLst>
                      <a:gd name="connsiteX0" fmla="*/ 0 w 1913"/>
                      <a:gd name="connsiteY0" fmla="*/ 3768 h 3767"/>
                      <a:gd name="connsiteX1" fmla="*/ 119 w 1913"/>
                      <a:gd name="connsiteY1" fmla="*/ 3529 h 3767"/>
                      <a:gd name="connsiteX2" fmla="*/ 718 w 1913"/>
                      <a:gd name="connsiteY2" fmla="*/ 2333 h 3767"/>
                      <a:gd name="connsiteX3" fmla="*/ 778 w 1913"/>
                      <a:gd name="connsiteY3" fmla="*/ 2213 h 3767"/>
                      <a:gd name="connsiteX4" fmla="*/ 1914 w 1913"/>
                      <a:gd name="connsiteY4" fmla="*/ 0 h 3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 h="3767">
                        <a:moveTo>
                          <a:pt x="0" y="3768"/>
                        </a:moveTo>
                        <a:lnTo>
                          <a:pt x="119" y="3529"/>
                        </a:lnTo>
                        <a:lnTo>
                          <a:pt x="718" y="2333"/>
                        </a:lnTo>
                        <a:lnTo>
                          <a:pt x="778" y="2213"/>
                        </a:lnTo>
                        <a:lnTo>
                          <a:pt x="1914" y="0"/>
                        </a:lnTo>
                      </a:path>
                    </a:pathLst>
                  </a:custGeom>
                  <a:noFill/>
                  <a:ln w="6350" cap="flat">
                    <a:solidFill>
                      <a:schemeClr val="bg1">
                        <a:alpha val="40000"/>
                      </a:schemeClr>
                    </a:solidFill>
                    <a:prstDash val="solid"/>
                    <a:miter/>
                  </a:ln>
                </p:spPr>
                <p:txBody>
                  <a:bodyPr rtlCol="0" anchor="ctr"/>
                  <a:lstStyle/>
                  <a:p>
                    <a:endParaRPr lang="en-GB"/>
                  </a:p>
                </p:txBody>
              </p:sp>
              <p:sp>
                <p:nvSpPr>
                  <p:cNvPr id="7591" name="Vrije vorm: vorm 7590">
                    <a:extLst>
                      <a:ext uri="{FF2B5EF4-FFF2-40B4-BE49-F238E27FC236}">
                        <a16:creationId xmlns:a16="http://schemas.microsoft.com/office/drawing/2014/main" id="{934EC752-F722-457A-84F0-19E6F0C3CB1B}"/>
                      </a:ext>
                    </a:extLst>
                  </p:cNvPr>
                  <p:cNvSpPr/>
                  <p:nvPr/>
                </p:nvSpPr>
                <p:spPr>
                  <a:xfrm>
                    <a:off x="5761727" y="5048845"/>
                    <a:ext cx="717" cy="1375"/>
                  </a:xfrm>
                  <a:custGeom>
                    <a:avLst/>
                    <a:gdLst>
                      <a:gd name="connsiteX0" fmla="*/ 0 w 717"/>
                      <a:gd name="connsiteY0" fmla="*/ 1376 h 1375"/>
                      <a:gd name="connsiteX1" fmla="*/ 718 w 717"/>
                      <a:gd name="connsiteY1" fmla="*/ 0 h 1375"/>
                    </a:gdLst>
                    <a:ahLst/>
                    <a:cxnLst>
                      <a:cxn ang="0">
                        <a:pos x="connsiteX0" y="connsiteY0"/>
                      </a:cxn>
                      <a:cxn ang="0">
                        <a:pos x="connsiteX1" y="connsiteY1"/>
                      </a:cxn>
                    </a:cxnLst>
                    <a:rect l="l" t="t" r="r" b="b"/>
                    <a:pathLst>
                      <a:path w="717" h="1375">
                        <a:moveTo>
                          <a:pt x="0" y="1376"/>
                        </a:moveTo>
                        <a:lnTo>
                          <a:pt x="718" y="0"/>
                        </a:lnTo>
                      </a:path>
                    </a:pathLst>
                  </a:custGeom>
                  <a:noFill/>
                  <a:ln w="6350" cap="flat">
                    <a:solidFill>
                      <a:schemeClr val="bg1">
                        <a:alpha val="40000"/>
                      </a:schemeClr>
                    </a:solidFill>
                    <a:prstDash val="solid"/>
                    <a:miter/>
                  </a:ln>
                </p:spPr>
                <p:txBody>
                  <a:bodyPr rtlCol="0" anchor="ctr"/>
                  <a:lstStyle/>
                  <a:p>
                    <a:endParaRPr lang="en-GB"/>
                  </a:p>
                </p:txBody>
              </p:sp>
              <p:sp>
                <p:nvSpPr>
                  <p:cNvPr id="7592" name="Vrije vorm: vorm 7591">
                    <a:extLst>
                      <a:ext uri="{FF2B5EF4-FFF2-40B4-BE49-F238E27FC236}">
                        <a16:creationId xmlns:a16="http://schemas.microsoft.com/office/drawing/2014/main" id="{609C1357-56A1-446F-B332-FF482FCEE5A6}"/>
                      </a:ext>
                    </a:extLst>
                  </p:cNvPr>
                  <p:cNvSpPr/>
                  <p:nvPr/>
                </p:nvSpPr>
                <p:spPr>
                  <a:xfrm>
                    <a:off x="5746895" y="5210743"/>
                    <a:ext cx="20693" cy="10526"/>
                  </a:xfrm>
                  <a:custGeom>
                    <a:avLst/>
                    <a:gdLst>
                      <a:gd name="connsiteX0" fmla="*/ 0 w 20693"/>
                      <a:gd name="connsiteY0" fmla="*/ 0 h 10526"/>
                      <a:gd name="connsiteX1" fmla="*/ 1316 w 20693"/>
                      <a:gd name="connsiteY1" fmla="*/ 718 h 10526"/>
                      <a:gd name="connsiteX2" fmla="*/ 2273 w 20693"/>
                      <a:gd name="connsiteY2" fmla="*/ 1196 h 10526"/>
                      <a:gd name="connsiteX3" fmla="*/ 4725 w 20693"/>
                      <a:gd name="connsiteY3" fmla="*/ 2452 h 10526"/>
                      <a:gd name="connsiteX4" fmla="*/ 5622 w 20693"/>
                      <a:gd name="connsiteY4" fmla="*/ 2930 h 10526"/>
                      <a:gd name="connsiteX5" fmla="*/ 7296 w 20693"/>
                      <a:gd name="connsiteY5" fmla="*/ 3768 h 10526"/>
                      <a:gd name="connsiteX6" fmla="*/ 9749 w 20693"/>
                      <a:gd name="connsiteY6" fmla="*/ 5024 h 10526"/>
                      <a:gd name="connsiteX7" fmla="*/ 12201 w 20693"/>
                      <a:gd name="connsiteY7" fmla="*/ 6280 h 10526"/>
                      <a:gd name="connsiteX8" fmla="*/ 12320 w 20693"/>
                      <a:gd name="connsiteY8" fmla="*/ 6340 h 10526"/>
                      <a:gd name="connsiteX9" fmla="*/ 13038 w 20693"/>
                      <a:gd name="connsiteY9" fmla="*/ 6698 h 10526"/>
                      <a:gd name="connsiteX10" fmla="*/ 14593 w 20693"/>
                      <a:gd name="connsiteY10" fmla="*/ 7476 h 10526"/>
                      <a:gd name="connsiteX11" fmla="*/ 16327 w 20693"/>
                      <a:gd name="connsiteY11" fmla="*/ 8313 h 10526"/>
                      <a:gd name="connsiteX12" fmla="*/ 18780 w 20693"/>
                      <a:gd name="connsiteY12" fmla="*/ 9569 h 10526"/>
                      <a:gd name="connsiteX13" fmla="*/ 20693 w 20693"/>
                      <a:gd name="connsiteY13" fmla="*/ 10526 h 10526"/>
                      <a:gd name="connsiteX14" fmla="*/ 20693 w 20693"/>
                      <a:gd name="connsiteY14" fmla="*/ 10526 h 1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693" h="10526">
                        <a:moveTo>
                          <a:pt x="0" y="0"/>
                        </a:moveTo>
                        <a:lnTo>
                          <a:pt x="1316" y="718"/>
                        </a:lnTo>
                        <a:lnTo>
                          <a:pt x="2273" y="1196"/>
                        </a:lnTo>
                        <a:lnTo>
                          <a:pt x="4725" y="2452"/>
                        </a:lnTo>
                        <a:lnTo>
                          <a:pt x="5622" y="2930"/>
                        </a:lnTo>
                        <a:lnTo>
                          <a:pt x="7296" y="3768"/>
                        </a:lnTo>
                        <a:lnTo>
                          <a:pt x="9749" y="5024"/>
                        </a:lnTo>
                        <a:lnTo>
                          <a:pt x="12201" y="6280"/>
                        </a:lnTo>
                        <a:lnTo>
                          <a:pt x="12320" y="6340"/>
                        </a:lnTo>
                        <a:lnTo>
                          <a:pt x="13038" y="6698"/>
                        </a:lnTo>
                        <a:lnTo>
                          <a:pt x="14593" y="7476"/>
                        </a:lnTo>
                        <a:lnTo>
                          <a:pt x="16327" y="8313"/>
                        </a:lnTo>
                        <a:lnTo>
                          <a:pt x="18780" y="9569"/>
                        </a:lnTo>
                        <a:lnTo>
                          <a:pt x="20693" y="10526"/>
                        </a:lnTo>
                        <a:lnTo>
                          <a:pt x="20693" y="10526"/>
                        </a:lnTo>
                      </a:path>
                    </a:pathLst>
                  </a:custGeom>
                  <a:noFill/>
                  <a:ln w="6350" cap="flat">
                    <a:solidFill>
                      <a:schemeClr val="bg1">
                        <a:alpha val="40000"/>
                      </a:schemeClr>
                    </a:solidFill>
                    <a:prstDash val="solid"/>
                    <a:miter/>
                  </a:ln>
                </p:spPr>
                <p:txBody>
                  <a:bodyPr rtlCol="0" anchor="ctr"/>
                  <a:lstStyle/>
                  <a:p>
                    <a:endParaRPr lang="en-GB"/>
                  </a:p>
                </p:txBody>
              </p:sp>
              <p:sp>
                <p:nvSpPr>
                  <p:cNvPr id="7593" name="Vrije vorm: vorm 7592">
                    <a:extLst>
                      <a:ext uri="{FF2B5EF4-FFF2-40B4-BE49-F238E27FC236}">
                        <a16:creationId xmlns:a16="http://schemas.microsoft.com/office/drawing/2014/main" id="{EE8F037E-000C-4A7D-9078-CA6E66A7CC86}"/>
                      </a:ext>
                    </a:extLst>
                  </p:cNvPr>
                  <p:cNvSpPr/>
                  <p:nvPr/>
                </p:nvSpPr>
                <p:spPr>
                  <a:xfrm>
                    <a:off x="5808198" y="5242023"/>
                    <a:ext cx="597" cy="119"/>
                  </a:xfrm>
                  <a:custGeom>
                    <a:avLst/>
                    <a:gdLst>
                      <a:gd name="connsiteX0" fmla="*/ 0 w 597"/>
                      <a:gd name="connsiteY0" fmla="*/ 0 h 119"/>
                      <a:gd name="connsiteX1" fmla="*/ 0 w 597"/>
                      <a:gd name="connsiteY1" fmla="*/ 0 h 119"/>
                      <a:gd name="connsiteX2" fmla="*/ 598 w 597"/>
                      <a:gd name="connsiteY2" fmla="*/ 119 h 119"/>
                    </a:gdLst>
                    <a:ahLst/>
                    <a:cxnLst>
                      <a:cxn ang="0">
                        <a:pos x="connsiteX0" y="connsiteY0"/>
                      </a:cxn>
                      <a:cxn ang="0">
                        <a:pos x="connsiteX1" y="connsiteY1"/>
                      </a:cxn>
                      <a:cxn ang="0">
                        <a:pos x="connsiteX2" y="connsiteY2"/>
                      </a:cxn>
                    </a:cxnLst>
                    <a:rect l="l" t="t" r="r" b="b"/>
                    <a:pathLst>
                      <a:path w="597" h="119">
                        <a:moveTo>
                          <a:pt x="0" y="0"/>
                        </a:moveTo>
                        <a:lnTo>
                          <a:pt x="0" y="0"/>
                        </a:lnTo>
                        <a:lnTo>
                          <a:pt x="598" y="119"/>
                        </a:lnTo>
                      </a:path>
                    </a:pathLst>
                  </a:custGeom>
                  <a:noFill/>
                  <a:ln w="6350" cap="flat">
                    <a:solidFill>
                      <a:schemeClr val="bg1">
                        <a:alpha val="40000"/>
                      </a:schemeClr>
                    </a:solidFill>
                    <a:prstDash val="solid"/>
                    <a:miter/>
                  </a:ln>
                </p:spPr>
                <p:txBody>
                  <a:bodyPr rtlCol="0" anchor="ctr"/>
                  <a:lstStyle/>
                  <a:p>
                    <a:endParaRPr lang="en-GB"/>
                  </a:p>
                </p:txBody>
              </p:sp>
              <p:sp>
                <p:nvSpPr>
                  <p:cNvPr id="7594" name="Vrije vorm: vorm 7593">
                    <a:extLst>
                      <a:ext uri="{FF2B5EF4-FFF2-40B4-BE49-F238E27FC236}">
                        <a16:creationId xmlns:a16="http://schemas.microsoft.com/office/drawing/2014/main" id="{870AA134-5C0A-47E7-875E-138F54A85FF2}"/>
                      </a:ext>
                    </a:extLst>
                  </p:cNvPr>
                  <p:cNvSpPr/>
                  <p:nvPr/>
                </p:nvSpPr>
                <p:spPr>
                  <a:xfrm>
                    <a:off x="5718726" y="5004110"/>
                    <a:ext cx="185462" cy="143118"/>
                  </a:xfrm>
                  <a:custGeom>
                    <a:avLst/>
                    <a:gdLst>
                      <a:gd name="connsiteX0" fmla="*/ 19617 w 185462"/>
                      <a:gd name="connsiteY0" fmla="*/ 24999 h 143118"/>
                      <a:gd name="connsiteX1" fmla="*/ 17583 w 185462"/>
                      <a:gd name="connsiteY1" fmla="*/ 23085 h 143118"/>
                      <a:gd name="connsiteX2" fmla="*/ 15550 w 185462"/>
                      <a:gd name="connsiteY2" fmla="*/ 21172 h 143118"/>
                      <a:gd name="connsiteX3" fmla="*/ 13516 w 185462"/>
                      <a:gd name="connsiteY3" fmla="*/ 19258 h 143118"/>
                      <a:gd name="connsiteX4" fmla="*/ 11483 w 185462"/>
                      <a:gd name="connsiteY4" fmla="*/ 17344 h 143118"/>
                      <a:gd name="connsiteX5" fmla="*/ 9450 w 185462"/>
                      <a:gd name="connsiteY5" fmla="*/ 15430 h 143118"/>
                      <a:gd name="connsiteX6" fmla="*/ 7416 w 185462"/>
                      <a:gd name="connsiteY6" fmla="*/ 13516 h 143118"/>
                      <a:gd name="connsiteX7" fmla="*/ 5383 w 185462"/>
                      <a:gd name="connsiteY7" fmla="*/ 11603 h 143118"/>
                      <a:gd name="connsiteX8" fmla="*/ 3349 w 185462"/>
                      <a:gd name="connsiteY8" fmla="*/ 9689 h 143118"/>
                      <a:gd name="connsiteX9" fmla="*/ 1316 w 185462"/>
                      <a:gd name="connsiteY9" fmla="*/ 7775 h 143118"/>
                      <a:gd name="connsiteX10" fmla="*/ 0 w 185462"/>
                      <a:gd name="connsiteY10" fmla="*/ 6519 h 143118"/>
                      <a:gd name="connsiteX11" fmla="*/ 1555 w 185462"/>
                      <a:gd name="connsiteY11" fmla="*/ 3469 h 143118"/>
                      <a:gd name="connsiteX12" fmla="*/ 3110 w 185462"/>
                      <a:gd name="connsiteY12" fmla="*/ 419 h 143118"/>
                      <a:gd name="connsiteX13" fmla="*/ 3289 w 185462"/>
                      <a:gd name="connsiteY13" fmla="*/ 0 h 143118"/>
                      <a:gd name="connsiteX14" fmla="*/ 6041 w 185462"/>
                      <a:gd name="connsiteY14" fmla="*/ 538 h 143118"/>
                      <a:gd name="connsiteX15" fmla="*/ 8792 w 185462"/>
                      <a:gd name="connsiteY15" fmla="*/ 1076 h 143118"/>
                      <a:gd name="connsiteX16" fmla="*/ 11543 w 185462"/>
                      <a:gd name="connsiteY16" fmla="*/ 1615 h 143118"/>
                      <a:gd name="connsiteX17" fmla="*/ 14294 w 185462"/>
                      <a:gd name="connsiteY17" fmla="*/ 2153 h 143118"/>
                      <a:gd name="connsiteX18" fmla="*/ 17045 w 185462"/>
                      <a:gd name="connsiteY18" fmla="*/ 2691 h 143118"/>
                      <a:gd name="connsiteX19" fmla="*/ 19796 w 185462"/>
                      <a:gd name="connsiteY19" fmla="*/ 3229 h 143118"/>
                      <a:gd name="connsiteX20" fmla="*/ 22547 w 185462"/>
                      <a:gd name="connsiteY20" fmla="*/ 3768 h 143118"/>
                      <a:gd name="connsiteX21" fmla="*/ 25298 w 185462"/>
                      <a:gd name="connsiteY21" fmla="*/ 4306 h 143118"/>
                      <a:gd name="connsiteX22" fmla="*/ 28050 w 185462"/>
                      <a:gd name="connsiteY22" fmla="*/ 4844 h 143118"/>
                      <a:gd name="connsiteX23" fmla="*/ 30801 w 185462"/>
                      <a:gd name="connsiteY23" fmla="*/ 5383 h 143118"/>
                      <a:gd name="connsiteX24" fmla="*/ 33552 w 185462"/>
                      <a:gd name="connsiteY24" fmla="*/ 5921 h 143118"/>
                      <a:gd name="connsiteX25" fmla="*/ 36303 w 185462"/>
                      <a:gd name="connsiteY25" fmla="*/ 6459 h 143118"/>
                      <a:gd name="connsiteX26" fmla="*/ 39054 w 185462"/>
                      <a:gd name="connsiteY26" fmla="*/ 6997 h 143118"/>
                      <a:gd name="connsiteX27" fmla="*/ 41805 w 185462"/>
                      <a:gd name="connsiteY27" fmla="*/ 7536 h 143118"/>
                      <a:gd name="connsiteX28" fmla="*/ 44556 w 185462"/>
                      <a:gd name="connsiteY28" fmla="*/ 8074 h 143118"/>
                      <a:gd name="connsiteX29" fmla="*/ 47308 w 185462"/>
                      <a:gd name="connsiteY29" fmla="*/ 8612 h 143118"/>
                      <a:gd name="connsiteX30" fmla="*/ 50059 w 185462"/>
                      <a:gd name="connsiteY30" fmla="*/ 9151 h 143118"/>
                      <a:gd name="connsiteX31" fmla="*/ 52810 w 185462"/>
                      <a:gd name="connsiteY31" fmla="*/ 9689 h 143118"/>
                      <a:gd name="connsiteX32" fmla="*/ 55561 w 185462"/>
                      <a:gd name="connsiteY32" fmla="*/ 10227 h 143118"/>
                      <a:gd name="connsiteX33" fmla="*/ 58312 w 185462"/>
                      <a:gd name="connsiteY33" fmla="*/ 10765 h 143118"/>
                      <a:gd name="connsiteX34" fmla="*/ 61063 w 185462"/>
                      <a:gd name="connsiteY34" fmla="*/ 11304 h 143118"/>
                      <a:gd name="connsiteX35" fmla="*/ 63814 w 185462"/>
                      <a:gd name="connsiteY35" fmla="*/ 11842 h 143118"/>
                      <a:gd name="connsiteX36" fmla="*/ 66565 w 185462"/>
                      <a:gd name="connsiteY36" fmla="*/ 12380 h 143118"/>
                      <a:gd name="connsiteX37" fmla="*/ 69317 w 185462"/>
                      <a:gd name="connsiteY37" fmla="*/ 12918 h 143118"/>
                      <a:gd name="connsiteX38" fmla="*/ 72068 w 185462"/>
                      <a:gd name="connsiteY38" fmla="*/ 13457 h 143118"/>
                      <a:gd name="connsiteX39" fmla="*/ 74819 w 185462"/>
                      <a:gd name="connsiteY39" fmla="*/ 13995 h 143118"/>
                      <a:gd name="connsiteX40" fmla="*/ 77570 w 185462"/>
                      <a:gd name="connsiteY40" fmla="*/ 14533 h 143118"/>
                      <a:gd name="connsiteX41" fmla="*/ 80321 w 185462"/>
                      <a:gd name="connsiteY41" fmla="*/ 15072 h 143118"/>
                      <a:gd name="connsiteX42" fmla="*/ 83072 w 185462"/>
                      <a:gd name="connsiteY42" fmla="*/ 15610 h 143118"/>
                      <a:gd name="connsiteX43" fmla="*/ 85824 w 185462"/>
                      <a:gd name="connsiteY43" fmla="*/ 16148 h 143118"/>
                      <a:gd name="connsiteX44" fmla="*/ 88574 w 185462"/>
                      <a:gd name="connsiteY44" fmla="*/ 16686 h 143118"/>
                      <a:gd name="connsiteX45" fmla="*/ 91326 w 185462"/>
                      <a:gd name="connsiteY45" fmla="*/ 17225 h 143118"/>
                      <a:gd name="connsiteX46" fmla="*/ 94077 w 185462"/>
                      <a:gd name="connsiteY46" fmla="*/ 17763 h 143118"/>
                      <a:gd name="connsiteX47" fmla="*/ 96828 w 185462"/>
                      <a:gd name="connsiteY47" fmla="*/ 18301 h 143118"/>
                      <a:gd name="connsiteX48" fmla="*/ 99579 w 185462"/>
                      <a:gd name="connsiteY48" fmla="*/ 18839 h 143118"/>
                      <a:gd name="connsiteX49" fmla="*/ 102330 w 185462"/>
                      <a:gd name="connsiteY49" fmla="*/ 19377 h 143118"/>
                      <a:gd name="connsiteX50" fmla="*/ 105081 w 185462"/>
                      <a:gd name="connsiteY50" fmla="*/ 19916 h 143118"/>
                      <a:gd name="connsiteX51" fmla="*/ 107833 w 185462"/>
                      <a:gd name="connsiteY51" fmla="*/ 20454 h 143118"/>
                      <a:gd name="connsiteX52" fmla="*/ 110584 w 185462"/>
                      <a:gd name="connsiteY52" fmla="*/ 20992 h 143118"/>
                      <a:gd name="connsiteX53" fmla="*/ 113335 w 185462"/>
                      <a:gd name="connsiteY53" fmla="*/ 21530 h 143118"/>
                      <a:gd name="connsiteX54" fmla="*/ 114471 w 185462"/>
                      <a:gd name="connsiteY54" fmla="*/ 21770 h 143118"/>
                      <a:gd name="connsiteX55" fmla="*/ 116265 w 185462"/>
                      <a:gd name="connsiteY55" fmla="*/ 23983 h 143118"/>
                      <a:gd name="connsiteX56" fmla="*/ 118059 w 185462"/>
                      <a:gd name="connsiteY56" fmla="*/ 26196 h 143118"/>
                      <a:gd name="connsiteX57" fmla="*/ 119854 w 185462"/>
                      <a:gd name="connsiteY57" fmla="*/ 28408 h 143118"/>
                      <a:gd name="connsiteX58" fmla="*/ 121648 w 185462"/>
                      <a:gd name="connsiteY58" fmla="*/ 30621 h 143118"/>
                      <a:gd name="connsiteX59" fmla="*/ 123442 w 185462"/>
                      <a:gd name="connsiteY59" fmla="*/ 32834 h 143118"/>
                      <a:gd name="connsiteX60" fmla="*/ 125236 w 185462"/>
                      <a:gd name="connsiteY60" fmla="*/ 35047 h 143118"/>
                      <a:gd name="connsiteX61" fmla="*/ 127030 w 185462"/>
                      <a:gd name="connsiteY61" fmla="*/ 37260 h 143118"/>
                      <a:gd name="connsiteX62" fmla="*/ 128825 w 185462"/>
                      <a:gd name="connsiteY62" fmla="*/ 39473 h 143118"/>
                      <a:gd name="connsiteX63" fmla="*/ 130619 w 185462"/>
                      <a:gd name="connsiteY63" fmla="*/ 41686 h 143118"/>
                      <a:gd name="connsiteX64" fmla="*/ 132413 w 185462"/>
                      <a:gd name="connsiteY64" fmla="*/ 43899 h 143118"/>
                      <a:gd name="connsiteX65" fmla="*/ 134207 w 185462"/>
                      <a:gd name="connsiteY65" fmla="*/ 46111 h 143118"/>
                      <a:gd name="connsiteX66" fmla="*/ 136002 w 185462"/>
                      <a:gd name="connsiteY66" fmla="*/ 48324 h 143118"/>
                      <a:gd name="connsiteX67" fmla="*/ 137796 w 185462"/>
                      <a:gd name="connsiteY67" fmla="*/ 50537 h 143118"/>
                      <a:gd name="connsiteX68" fmla="*/ 139590 w 185462"/>
                      <a:gd name="connsiteY68" fmla="*/ 52750 h 143118"/>
                      <a:gd name="connsiteX69" fmla="*/ 141384 w 185462"/>
                      <a:gd name="connsiteY69" fmla="*/ 54963 h 143118"/>
                      <a:gd name="connsiteX70" fmla="*/ 143179 w 185462"/>
                      <a:gd name="connsiteY70" fmla="*/ 57176 h 143118"/>
                      <a:gd name="connsiteX71" fmla="*/ 144973 w 185462"/>
                      <a:gd name="connsiteY71" fmla="*/ 59389 h 143118"/>
                      <a:gd name="connsiteX72" fmla="*/ 146767 w 185462"/>
                      <a:gd name="connsiteY72" fmla="*/ 61601 h 143118"/>
                      <a:gd name="connsiteX73" fmla="*/ 148561 w 185462"/>
                      <a:gd name="connsiteY73" fmla="*/ 63814 h 143118"/>
                      <a:gd name="connsiteX74" fmla="*/ 150355 w 185462"/>
                      <a:gd name="connsiteY74" fmla="*/ 66027 h 143118"/>
                      <a:gd name="connsiteX75" fmla="*/ 152150 w 185462"/>
                      <a:gd name="connsiteY75" fmla="*/ 68240 h 143118"/>
                      <a:gd name="connsiteX76" fmla="*/ 153944 w 185462"/>
                      <a:gd name="connsiteY76" fmla="*/ 70453 h 143118"/>
                      <a:gd name="connsiteX77" fmla="*/ 155738 w 185462"/>
                      <a:gd name="connsiteY77" fmla="*/ 72666 h 143118"/>
                      <a:gd name="connsiteX78" fmla="*/ 157532 w 185462"/>
                      <a:gd name="connsiteY78" fmla="*/ 74879 h 143118"/>
                      <a:gd name="connsiteX79" fmla="*/ 159327 w 185462"/>
                      <a:gd name="connsiteY79" fmla="*/ 77092 h 143118"/>
                      <a:gd name="connsiteX80" fmla="*/ 161121 w 185462"/>
                      <a:gd name="connsiteY80" fmla="*/ 79304 h 143118"/>
                      <a:gd name="connsiteX81" fmla="*/ 162915 w 185462"/>
                      <a:gd name="connsiteY81" fmla="*/ 81517 h 143118"/>
                      <a:gd name="connsiteX82" fmla="*/ 164709 w 185462"/>
                      <a:gd name="connsiteY82" fmla="*/ 83730 h 143118"/>
                      <a:gd name="connsiteX83" fmla="*/ 166503 w 185462"/>
                      <a:gd name="connsiteY83" fmla="*/ 85943 h 143118"/>
                      <a:gd name="connsiteX84" fmla="*/ 168298 w 185462"/>
                      <a:gd name="connsiteY84" fmla="*/ 88156 h 143118"/>
                      <a:gd name="connsiteX85" fmla="*/ 170092 w 185462"/>
                      <a:gd name="connsiteY85" fmla="*/ 90369 h 143118"/>
                      <a:gd name="connsiteX86" fmla="*/ 171886 w 185462"/>
                      <a:gd name="connsiteY86" fmla="*/ 92581 h 143118"/>
                      <a:gd name="connsiteX87" fmla="*/ 173680 w 185462"/>
                      <a:gd name="connsiteY87" fmla="*/ 94794 h 143118"/>
                      <a:gd name="connsiteX88" fmla="*/ 175475 w 185462"/>
                      <a:gd name="connsiteY88" fmla="*/ 97007 h 143118"/>
                      <a:gd name="connsiteX89" fmla="*/ 177269 w 185462"/>
                      <a:gd name="connsiteY89" fmla="*/ 99220 h 143118"/>
                      <a:gd name="connsiteX90" fmla="*/ 179063 w 185462"/>
                      <a:gd name="connsiteY90" fmla="*/ 101433 h 143118"/>
                      <a:gd name="connsiteX91" fmla="*/ 180857 w 185462"/>
                      <a:gd name="connsiteY91" fmla="*/ 103646 h 143118"/>
                      <a:gd name="connsiteX92" fmla="*/ 182652 w 185462"/>
                      <a:gd name="connsiteY92" fmla="*/ 105859 h 143118"/>
                      <a:gd name="connsiteX93" fmla="*/ 184446 w 185462"/>
                      <a:gd name="connsiteY93" fmla="*/ 108072 h 143118"/>
                      <a:gd name="connsiteX94" fmla="*/ 185462 w 185462"/>
                      <a:gd name="connsiteY94" fmla="*/ 109328 h 143118"/>
                      <a:gd name="connsiteX95" fmla="*/ 184087 w 185462"/>
                      <a:gd name="connsiteY95" fmla="*/ 112079 h 143118"/>
                      <a:gd name="connsiteX96" fmla="*/ 183608 w 185462"/>
                      <a:gd name="connsiteY96" fmla="*/ 115368 h 143118"/>
                      <a:gd name="connsiteX97" fmla="*/ 183130 w 185462"/>
                      <a:gd name="connsiteY97" fmla="*/ 118658 h 143118"/>
                      <a:gd name="connsiteX98" fmla="*/ 182652 w 185462"/>
                      <a:gd name="connsiteY98" fmla="*/ 121947 h 143118"/>
                      <a:gd name="connsiteX99" fmla="*/ 182173 w 185462"/>
                      <a:gd name="connsiteY99" fmla="*/ 125236 h 143118"/>
                      <a:gd name="connsiteX100" fmla="*/ 181694 w 185462"/>
                      <a:gd name="connsiteY100" fmla="*/ 128526 h 143118"/>
                      <a:gd name="connsiteX101" fmla="*/ 181455 w 185462"/>
                      <a:gd name="connsiteY101" fmla="*/ 130021 h 143118"/>
                      <a:gd name="connsiteX102" fmla="*/ 179900 w 185462"/>
                      <a:gd name="connsiteY102" fmla="*/ 133071 h 143118"/>
                      <a:gd name="connsiteX103" fmla="*/ 178345 w 185462"/>
                      <a:gd name="connsiteY103" fmla="*/ 136121 h 143118"/>
                      <a:gd name="connsiteX104" fmla="*/ 176790 w 185462"/>
                      <a:gd name="connsiteY104" fmla="*/ 139172 h 143118"/>
                      <a:gd name="connsiteX105" fmla="*/ 175235 w 185462"/>
                      <a:gd name="connsiteY105" fmla="*/ 142222 h 143118"/>
                      <a:gd name="connsiteX106" fmla="*/ 174757 w 185462"/>
                      <a:gd name="connsiteY106" fmla="*/ 143119 h 143118"/>
                      <a:gd name="connsiteX107" fmla="*/ 172125 w 185462"/>
                      <a:gd name="connsiteY107" fmla="*/ 142222 h 143118"/>
                      <a:gd name="connsiteX108" fmla="*/ 170510 w 185462"/>
                      <a:gd name="connsiteY108" fmla="*/ 141683 h 14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85462" h="143118">
                        <a:moveTo>
                          <a:pt x="19617" y="24999"/>
                        </a:moveTo>
                        <a:lnTo>
                          <a:pt x="17583" y="23085"/>
                        </a:lnTo>
                        <a:lnTo>
                          <a:pt x="15550" y="21172"/>
                        </a:lnTo>
                        <a:lnTo>
                          <a:pt x="13516" y="19258"/>
                        </a:lnTo>
                        <a:lnTo>
                          <a:pt x="11483" y="17344"/>
                        </a:lnTo>
                        <a:lnTo>
                          <a:pt x="9450" y="15430"/>
                        </a:lnTo>
                        <a:lnTo>
                          <a:pt x="7416" y="13516"/>
                        </a:lnTo>
                        <a:lnTo>
                          <a:pt x="5383" y="11603"/>
                        </a:lnTo>
                        <a:lnTo>
                          <a:pt x="3349" y="9689"/>
                        </a:lnTo>
                        <a:lnTo>
                          <a:pt x="1316" y="7775"/>
                        </a:lnTo>
                        <a:lnTo>
                          <a:pt x="0" y="6519"/>
                        </a:lnTo>
                        <a:lnTo>
                          <a:pt x="1555" y="3469"/>
                        </a:lnTo>
                        <a:lnTo>
                          <a:pt x="3110" y="419"/>
                        </a:lnTo>
                        <a:lnTo>
                          <a:pt x="3289" y="0"/>
                        </a:lnTo>
                        <a:lnTo>
                          <a:pt x="6041" y="538"/>
                        </a:lnTo>
                        <a:lnTo>
                          <a:pt x="8792" y="1076"/>
                        </a:lnTo>
                        <a:lnTo>
                          <a:pt x="11543" y="1615"/>
                        </a:lnTo>
                        <a:lnTo>
                          <a:pt x="14294" y="2153"/>
                        </a:lnTo>
                        <a:lnTo>
                          <a:pt x="17045" y="2691"/>
                        </a:lnTo>
                        <a:lnTo>
                          <a:pt x="19796" y="3229"/>
                        </a:lnTo>
                        <a:lnTo>
                          <a:pt x="22547" y="3768"/>
                        </a:lnTo>
                        <a:lnTo>
                          <a:pt x="25298" y="4306"/>
                        </a:lnTo>
                        <a:lnTo>
                          <a:pt x="28050" y="4844"/>
                        </a:lnTo>
                        <a:lnTo>
                          <a:pt x="30801" y="5383"/>
                        </a:lnTo>
                        <a:lnTo>
                          <a:pt x="33552" y="5921"/>
                        </a:lnTo>
                        <a:lnTo>
                          <a:pt x="36303" y="6459"/>
                        </a:lnTo>
                        <a:lnTo>
                          <a:pt x="39054" y="6997"/>
                        </a:lnTo>
                        <a:lnTo>
                          <a:pt x="41805" y="7536"/>
                        </a:lnTo>
                        <a:lnTo>
                          <a:pt x="44556" y="8074"/>
                        </a:lnTo>
                        <a:lnTo>
                          <a:pt x="47308" y="8612"/>
                        </a:lnTo>
                        <a:lnTo>
                          <a:pt x="50059" y="9151"/>
                        </a:lnTo>
                        <a:lnTo>
                          <a:pt x="52810" y="9689"/>
                        </a:lnTo>
                        <a:lnTo>
                          <a:pt x="55561" y="10227"/>
                        </a:lnTo>
                        <a:lnTo>
                          <a:pt x="58312" y="10765"/>
                        </a:lnTo>
                        <a:lnTo>
                          <a:pt x="61063" y="11304"/>
                        </a:lnTo>
                        <a:lnTo>
                          <a:pt x="63814" y="11842"/>
                        </a:lnTo>
                        <a:lnTo>
                          <a:pt x="66565" y="12380"/>
                        </a:lnTo>
                        <a:lnTo>
                          <a:pt x="69317" y="12918"/>
                        </a:lnTo>
                        <a:lnTo>
                          <a:pt x="72068" y="13457"/>
                        </a:lnTo>
                        <a:lnTo>
                          <a:pt x="74819" y="13995"/>
                        </a:lnTo>
                        <a:lnTo>
                          <a:pt x="77570" y="14533"/>
                        </a:lnTo>
                        <a:lnTo>
                          <a:pt x="80321" y="15072"/>
                        </a:lnTo>
                        <a:lnTo>
                          <a:pt x="83072" y="15610"/>
                        </a:lnTo>
                        <a:lnTo>
                          <a:pt x="85824" y="16148"/>
                        </a:lnTo>
                        <a:lnTo>
                          <a:pt x="88574" y="16686"/>
                        </a:lnTo>
                        <a:lnTo>
                          <a:pt x="91326" y="17225"/>
                        </a:lnTo>
                        <a:lnTo>
                          <a:pt x="94077" y="17763"/>
                        </a:lnTo>
                        <a:lnTo>
                          <a:pt x="96828" y="18301"/>
                        </a:lnTo>
                        <a:lnTo>
                          <a:pt x="99579" y="18839"/>
                        </a:lnTo>
                        <a:lnTo>
                          <a:pt x="102330" y="19377"/>
                        </a:lnTo>
                        <a:lnTo>
                          <a:pt x="105081" y="19916"/>
                        </a:lnTo>
                        <a:lnTo>
                          <a:pt x="107833" y="20454"/>
                        </a:lnTo>
                        <a:lnTo>
                          <a:pt x="110584" y="20992"/>
                        </a:lnTo>
                        <a:lnTo>
                          <a:pt x="113335" y="21530"/>
                        </a:lnTo>
                        <a:lnTo>
                          <a:pt x="114471" y="21770"/>
                        </a:lnTo>
                        <a:lnTo>
                          <a:pt x="116265" y="23983"/>
                        </a:lnTo>
                        <a:lnTo>
                          <a:pt x="118059" y="26196"/>
                        </a:lnTo>
                        <a:lnTo>
                          <a:pt x="119854" y="28408"/>
                        </a:lnTo>
                        <a:lnTo>
                          <a:pt x="121648" y="30621"/>
                        </a:lnTo>
                        <a:lnTo>
                          <a:pt x="123442" y="32834"/>
                        </a:lnTo>
                        <a:lnTo>
                          <a:pt x="125236" y="35047"/>
                        </a:lnTo>
                        <a:lnTo>
                          <a:pt x="127030" y="37260"/>
                        </a:lnTo>
                        <a:lnTo>
                          <a:pt x="128825" y="39473"/>
                        </a:lnTo>
                        <a:lnTo>
                          <a:pt x="130619" y="41686"/>
                        </a:lnTo>
                        <a:lnTo>
                          <a:pt x="132413" y="43899"/>
                        </a:lnTo>
                        <a:lnTo>
                          <a:pt x="134207" y="46111"/>
                        </a:lnTo>
                        <a:lnTo>
                          <a:pt x="136002" y="48324"/>
                        </a:lnTo>
                        <a:lnTo>
                          <a:pt x="137796" y="50537"/>
                        </a:lnTo>
                        <a:lnTo>
                          <a:pt x="139590" y="52750"/>
                        </a:lnTo>
                        <a:lnTo>
                          <a:pt x="141384" y="54963"/>
                        </a:lnTo>
                        <a:lnTo>
                          <a:pt x="143179" y="57176"/>
                        </a:lnTo>
                        <a:lnTo>
                          <a:pt x="144973" y="59389"/>
                        </a:lnTo>
                        <a:lnTo>
                          <a:pt x="146767" y="61601"/>
                        </a:lnTo>
                        <a:lnTo>
                          <a:pt x="148561" y="63814"/>
                        </a:lnTo>
                        <a:lnTo>
                          <a:pt x="150355" y="66027"/>
                        </a:lnTo>
                        <a:lnTo>
                          <a:pt x="152150" y="68240"/>
                        </a:lnTo>
                        <a:lnTo>
                          <a:pt x="153944" y="70453"/>
                        </a:lnTo>
                        <a:lnTo>
                          <a:pt x="155738" y="72666"/>
                        </a:lnTo>
                        <a:lnTo>
                          <a:pt x="157532" y="74879"/>
                        </a:lnTo>
                        <a:lnTo>
                          <a:pt x="159327" y="77092"/>
                        </a:lnTo>
                        <a:lnTo>
                          <a:pt x="161121" y="79304"/>
                        </a:lnTo>
                        <a:lnTo>
                          <a:pt x="162915" y="81517"/>
                        </a:lnTo>
                        <a:lnTo>
                          <a:pt x="164709" y="83730"/>
                        </a:lnTo>
                        <a:lnTo>
                          <a:pt x="166503" y="85943"/>
                        </a:lnTo>
                        <a:lnTo>
                          <a:pt x="168298" y="88156"/>
                        </a:lnTo>
                        <a:lnTo>
                          <a:pt x="170092" y="90369"/>
                        </a:lnTo>
                        <a:lnTo>
                          <a:pt x="171886" y="92581"/>
                        </a:lnTo>
                        <a:lnTo>
                          <a:pt x="173680" y="94794"/>
                        </a:lnTo>
                        <a:lnTo>
                          <a:pt x="175475" y="97007"/>
                        </a:lnTo>
                        <a:lnTo>
                          <a:pt x="177269" y="99220"/>
                        </a:lnTo>
                        <a:lnTo>
                          <a:pt x="179063" y="101433"/>
                        </a:lnTo>
                        <a:lnTo>
                          <a:pt x="180857" y="103646"/>
                        </a:lnTo>
                        <a:lnTo>
                          <a:pt x="182652" y="105859"/>
                        </a:lnTo>
                        <a:lnTo>
                          <a:pt x="184446" y="108072"/>
                        </a:lnTo>
                        <a:lnTo>
                          <a:pt x="185462" y="109328"/>
                        </a:lnTo>
                        <a:lnTo>
                          <a:pt x="184087" y="112079"/>
                        </a:lnTo>
                        <a:lnTo>
                          <a:pt x="183608" y="115368"/>
                        </a:lnTo>
                        <a:lnTo>
                          <a:pt x="183130" y="118658"/>
                        </a:lnTo>
                        <a:lnTo>
                          <a:pt x="182652" y="121947"/>
                        </a:lnTo>
                        <a:lnTo>
                          <a:pt x="182173" y="125236"/>
                        </a:lnTo>
                        <a:lnTo>
                          <a:pt x="181694" y="128526"/>
                        </a:lnTo>
                        <a:lnTo>
                          <a:pt x="181455" y="130021"/>
                        </a:lnTo>
                        <a:lnTo>
                          <a:pt x="179900" y="133071"/>
                        </a:lnTo>
                        <a:lnTo>
                          <a:pt x="178345" y="136121"/>
                        </a:lnTo>
                        <a:lnTo>
                          <a:pt x="176790" y="139172"/>
                        </a:lnTo>
                        <a:lnTo>
                          <a:pt x="175235" y="142222"/>
                        </a:lnTo>
                        <a:lnTo>
                          <a:pt x="174757" y="143119"/>
                        </a:lnTo>
                        <a:lnTo>
                          <a:pt x="172125" y="142222"/>
                        </a:lnTo>
                        <a:lnTo>
                          <a:pt x="170510" y="141683"/>
                        </a:lnTo>
                      </a:path>
                    </a:pathLst>
                  </a:custGeom>
                  <a:noFill/>
                  <a:ln w="6350" cap="flat">
                    <a:solidFill>
                      <a:schemeClr val="bg1">
                        <a:alpha val="40000"/>
                      </a:schemeClr>
                    </a:solidFill>
                    <a:prstDash val="solid"/>
                    <a:miter/>
                  </a:ln>
                </p:spPr>
                <p:txBody>
                  <a:bodyPr rtlCol="0" anchor="ctr"/>
                  <a:lstStyle/>
                  <a:p>
                    <a:endParaRPr lang="en-GB"/>
                  </a:p>
                </p:txBody>
              </p:sp>
              <p:sp>
                <p:nvSpPr>
                  <p:cNvPr id="7595" name="Vrije vorm: vorm 7594">
                    <a:extLst>
                      <a:ext uri="{FF2B5EF4-FFF2-40B4-BE49-F238E27FC236}">
                        <a16:creationId xmlns:a16="http://schemas.microsoft.com/office/drawing/2014/main" id="{B76DA869-DF04-455D-B01C-0FFE1CC74155}"/>
                      </a:ext>
                    </a:extLst>
                  </p:cNvPr>
                  <p:cNvSpPr/>
                  <p:nvPr/>
                </p:nvSpPr>
                <p:spPr>
                  <a:xfrm>
                    <a:off x="5727877" y="5015951"/>
                    <a:ext cx="17224" cy="59089"/>
                  </a:xfrm>
                  <a:custGeom>
                    <a:avLst/>
                    <a:gdLst>
                      <a:gd name="connsiteX0" fmla="*/ 16507 w 17224"/>
                      <a:gd name="connsiteY0" fmla="*/ 59090 h 59089"/>
                      <a:gd name="connsiteX1" fmla="*/ 14354 w 17224"/>
                      <a:gd name="connsiteY1" fmla="*/ 57295 h 59089"/>
                      <a:gd name="connsiteX2" fmla="*/ 12201 w 17224"/>
                      <a:gd name="connsiteY2" fmla="*/ 55501 h 59089"/>
                      <a:gd name="connsiteX3" fmla="*/ 10048 w 17224"/>
                      <a:gd name="connsiteY3" fmla="*/ 53707 h 59089"/>
                      <a:gd name="connsiteX4" fmla="*/ 7895 w 17224"/>
                      <a:gd name="connsiteY4" fmla="*/ 51913 h 59089"/>
                      <a:gd name="connsiteX5" fmla="*/ 5741 w 17224"/>
                      <a:gd name="connsiteY5" fmla="*/ 50118 h 59089"/>
                      <a:gd name="connsiteX6" fmla="*/ 3588 w 17224"/>
                      <a:gd name="connsiteY6" fmla="*/ 48324 h 59089"/>
                      <a:gd name="connsiteX7" fmla="*/ 2572 w 17224"/>
                      <a:gd name="connsiteY7" fmla="*/ 47487 h 59089"/>
                      <a:gd name="connsiteX8" fmla="*/ 4127 w 17224"/>
                      <a:gd name="connsiteY8" fmla="*/ 44437 h 59089"/>
                      <a:gd name="connsiteX9" fmla="*/ 5263 w 17224"/>
                      <a:gd name="connsiteY9" fmla="*/ 42224 h 59089"/>
                      <a:gd name="connsiteX10" fmla="*/ 3170 w 17224"/>
                      <a:gd name="connsiteY10" fmla="*/ 40370 h 59089"/>
                      <a:gd name="connsiteX11" fmla="*/ 1076 w 17224"/>
                      <a:gd name="connsiteY11" fmla="*/ 38516 h 59089"/>
                      <a:gd name="connsiteX12" fmla="*/ 0 w 17224"/>
                      <a:gd name="connsiteY12" fmla="*/ 37559 h 59089"/>
                      <a:gd name="connsiteX13" fmla="*/ 1136 w 17224"/>
                      <a:gd name="connsiteY13" fmla="*/ 34330 h 59089"/>
                      <a:gd name="connsiteX14" fmla="*/ 2273 w 17224"/>
                      <a:gd name="connsiteY14" fmla="*/ 31100 h 59089"/>
                      <a:gd name="connsiteX15" fmla="*/ 3409 w 17224"/>
                      <a:gd name="connsiteY15" fmla="*/ 27870 h 59089"/>
                      <a:gd name="connsiteX16" fmla="*/ 4306 w 17224"/>
                      <a:gd name="connsiteY16" fmla="*/ 25299 h 59089"/>
                      <a:gd name="connsiteX17" fmla="*/ 5861 w 17224"/>
                      <a:gd name="connsiteY17" fmla="*/ 22248 h 59089"/>
                      <a:gd name="connsiteX18" fmla="*/ 7416 w 17224"/>
                      <a:gd name="connsiteY18" fmla="*/ 19198 h 59089"/>
                      <a:gd name="connsiteX19" fmla="*/ 8971 w 17224"/>
                      <a:gd name="connsiteY19" fmla="*/ 16148 h 59089"/>
                      <a:gd name="connsiteX20" fmla="*/ 10466 w 17224"/>
                      <a:gd name="connsiteY20" fmla="*/ 13218 h 59089"/>
                      <a:gd name="connsiteX21" fmla="*/ 12021 w 17224"/>
                      <a:gd name="connsiteY21" fmla="*/ 10167 h 59089"/>
                      <a:gd name="connsiteX22" fmla="*/ 13576 w 17224"/>
                      <a:gd name="connsiteY22" fmla="*/ 7117 h 59089"/>
                      <a:gd name="connsiteX23" fmla="*/ 13636 w 17224"/>
                      <a:gd name="connsiteY23" fmla="*/ 6998 h 59089"/>
                      <a:gd name="connsiteX24" fmla="*/ 15191 w 17224"/>
                      <a:gd name="connsiteY24" fmla="*/ 3947 h 59089"/>
                      <a:gd name="connsiteX25" fmla="*/ 16746 w 17224"/>
                      <a:gd name="connsiteY25" fmla="*/ 897 h 59089"/>
                      <a:gd name="connsiteX26" fmla="*/ 17225 w 17224"/>
                      <a:gd name="connsiteY26" fmla="*/ 0 h 5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224" h="59089">
                        <a:moveTo>
                          <a:pt x="16507" y="59090"/>
                        </a:moveTo>
                        <a:lnTo>
                          <a:pt x="14354" y="57295"/>
                        </a:lnTo>
                        <a:lnTo>
                          <a:pt x="12201" y="55501"/>
                        </a:lnTo>
                        <a:lnTo>
                          <a:pt x="10048" y="53707"/>
                        </a:lnTo>
                        <a:lnTo>
                          <a:pt x="7895" y="51913"/>
                        </a:lnTo>
                        <a:lnTo>
                          <a:pt x="5741" y="50118"/>
                        </a:lnTo>
                        <a:lnTo>
                          <a:pt x="3588" y="48324"/>
                        </a:lnTo>
                        <a:lnTo>
                          <a:pt x="2572" y="47487"/>
                        </a:lnTo>
                        <a:lnTo>
                          <a:pt x="4127" y="44437"/>
                        </a:lnTo>
                        <a:lnTo>
                          <a:pt x="5263" y="42224"/>
                        </a:lnTo>
                        <a:lnTo>
                          <a:pt x="3170" y="40370"/>
                        </a:lnTo>
                        <a:lnTo>
                          <a:pt x="1076" y="38516"/>
                        </a:lnTo>
                        <a:lnTo>
                          <a:pt x="0" y="37559"/>
                        </a:lnTo>
                        <a:lnTo>
                          <a:pt x="1136" y="34330"/>
                        </a:lnTo>
                        <a:lnTo>
                          <a:pt x="2273" y="31100"/>
                        </a:lnTo>
                        <a:lnTo>
                          <a:pt x="3409" y="27870"/>
                        </a:lnTo>
                        <a:lnTo>
                          <a:pt x="4306" y="25299"/>
                        </a:lnTo>
                        <a:lnTo>
                          <a:pt x="5861" y="22248"/>
                        </a:lnTo>
                        <a:lnTo>
                          <a:pt x="7416" y="19198"/>
                        </a:lnTo>
                        <a:lnTo>
                          <a:pt x="8971" y="16148"/>
                        </a:lnTo>
                        <a:lnTo>
                          <a:pt x="10466" y="13218"/>
                        </a:lnTo>
                        <a:lnTo>
                          <a:pt x="12021" y="10167"/>
                        </a:lnTo>
                        <a:lnTo>
                          <a:pt x="13576" y="7117"/>
                        </a:lnTo>
                        <a:lnTo>
                          <a:pt x="13636" y="6998"/>
                        </a:lnTo>
                        <a:lnTo>
                          <a:pt x="15191" y="3947"/>
                        </a:lnTo>
                        <a:lnTo>
                          <a:pt x="16746" y="897"/>
                        </a:lnTo>
                        <a:lnTo>
                          <a:pt x="17225" y="0"/>
                        </a:lnTo>
                      </a:path>
                    </a:pathLst>
                  </a:custGeom>
                  <a:noFill/>
                  <a:ln w="6350" cap="flat">
                    <a:solidFill>
                      <a:schemeClr val="bg1">
                        <a:alpha val="40000"/>
                      </a:schemeClr>
                    </a:solidFill>
                    <a:prstDash val="solid"/>
                    <a:miter/>
                  </a:ln>
                </p:spPr>
                <p:txBody>
                  <a:bodyPr rtlCol="0" anchor="ctr"/>
                  <a:lstStyle/>
                  <a:p>
                    <a:endParaRPr lang="en-GB"/>
                  </a:p>
                </p:txBody>
              </p:sp>
              <p:sp>
                <p:nvSpPr>
                  <p:cNvPr id="7596" name="Vrije vorm: vorm 7595">
                    <a:extLst>
                      <a:ext uri="{FF2B5EF4-FFF2-40B4-BE49-F238E27FC236}">
                        <a16:creationId xmlns:a16="http://schemas.microsoft.com/office/drawing/2014/main" id="{6B74346A-E4BA-40D6-98A7-DF879A3BEECA}"/>
                      </a:ext>
                    </a:extLst>
                  </p:cNvPr>
                  <p:cNvSpPr/>
                  <p:nvPr/>
                </p:nvSpPr>
                <p:spPr>
                  <a:xfrm>
                    <a:off x="5732183" y="5041190"/>
                    <a:ext cx="19856" cy="5263"/>
                  </a:xfrm>
                  <a:custGeom>
                    <a:avLst/>
                    <a:gdLst>
                      <a:gd name="connsiteX0" fmla="*/ 0 w 19856"/>
                      <a:gd name="connsiteY0" fmla="*/ 0 h 5263"/>
                      <a:gd name="connsiteX1" fmla="*/ 2691 w 19856"/>
                      <a:gd name="connsiteY1" fmla="*/ 718 h 5263"/>
                      <a:gd name="connsiteX2" fmla="*/ 5383 w 19856"/>
                      <a:gd name="connsiteY2" fmla="*/ 1435 h 5263"/>
                      <a:gd name="connsiteX3" fmla="*/ 8074 w 19856"/>
                      <a:gd name="connsiteY3" fmla="*/ 2153 h 5263"/>
                      <a:gd name="connsiteX4" fmla="*/ 10765 w 19856"/>
                      <a:gd name="connsiteY4" fmla="*/ 2871 h 5263"/>
                      <a:gd name="connsiteX5" fmla="*/ 13457 w 19856"/>
                      <a:gd name="connsiteY5" fmla="*/ 3588 h 5263"/>
                      <a:gd name="connsiteX6" fmla="*/ 16148 w 19856"/>
                      <a:gd name="connsiteY6" fmla="*/ 4306 h 5263"/>
                      <a:gd name="connsiteX7" fmla="*/ 18839 w 19856"/>
                      <a:gd name="connsiteY7" fmla="*/ 5024 h 5263"/>
                      <a:gd name="connsiteX8" fmla="*/ 19856 w 19856"/>
                      <a:gd name="connsiteY8" fmla="*/ 5263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56" h="5263">
                        <a:moveTo>
                          <a:pt x="0" y="0"/>
                        </a:moveTo>
                        <a:lnTo>
                          <a:pt x="2691" y="718"/>
                        </a:lnTo>
                        <a:lnTo>
                          <a:pt x="5383" y="1435"/>
                        </a:lnTo>
                        <a:lnTo>
                          <a:pt x="8074" y="2153"/>
                        </a:lnTo>
                        <a:lnTo>
                          <a:pt x="10765" y="2871"/>
                        </a:lnTo>
                        <a:lnTo>
                          <a:pt x="13457" y="3588"/>
                        </a:lnTo>
                        <a:lnTo>
                          <a:pt x="16148" y="4306"/>
                        </a:lnTo>
                        <a:lnTo>
                          <a:pt x="18839" y="5024"/>
                        </a:lnTo>
                        <a:lnTo>
                          <a:pt x="19856" y="5263"/>
                        </a:lnTo>
                      </a:path>
                    </a:pathLst>
                  </a:custGeom>
                  <a:noFill/>
                  <a:ln w="6350" cap="flat">
                    <a:solidFill>
                      <a:schemeClr val="bg1">
                        <a:alpha val="40000"/>
                      </a:schemeClr>
                    </a:solidFill>
                    <a:prstDash val="solid"/>
                    <a:miter/>
                  </a:ln>
                </p:spPr>
                <p:txBody>
                  <a:bodyPr rtlCol="0" anchor="ctr"/>
                  <a:lstStyle/>
                  <a:p>
                    <a:endParaRPr lang="en-GB"/>
                  </a:p>
                </p:txBody>
              </p:sp>
              <p:sp>
                <p:nvSpPr>
                  <p:cNvPr id="7597" name="Vrije vorm: vorm 7596">
                    <a:extLst>
                      <a:ext uri="{FF2B5EF4-FFF2-40B4-BE49-F238E27FC236}">
                        <a16:creationId xmlns:a16="http://schemas.microsoft.com/office/drawing/2014/main" id="{FADC5857-352D-4968-96C9-09E98908D03A}"/>
                      </a:ext>
                    </a:extLst>
                  </p:cNvPr>
                  <p:cNvSpPr/>
                  <p:nvPr/>
                </p:nvSpPr>
                <p:spPr>
                  <a:xfrm>
                    <a:off x="5752218" y="5026238"/>
                    <a:ext cx="18779" cy="24281"/>
                  </a:xfrm>
                  <a:custGeom>
                    <a:avLst/>
                    <a:gdLst>
                      <a:gd name="connsiteX0" fmla="*/ 18779 w 18779"/>
                      <a:gd name="connsiteY0" fmla="*/ 1914 h 24281"/>
                      <a:gd name="connsiteX1" fmla="*/ 17643 w 18779"/>
                      <a:gd name="connsiteY1" fmla="*/ 4127 h 24281"/>
                      <a:gd name="connsiteX2" fmla="*/ 16088 w 18779"/>
                      <a:gd name="connsiteY2" fmla="*/ 7177 h 24281"/>
                      <a:gd name="connsiteX3" fmla="*/ 14533 w 18779"/>
                      <a:gd name="connsiteY3" fmla="*/ 10227 h 24281"/>
                      <a:gd name="connsiteX4" fmla="*/ 12978 w 18779"/>
                      <a:gd name="connsiteY4" fmla="*/ 13277 h 24281"/>
                      <a:gd name="connsiteX5" fmla="*/ 11423 w 18779"/>
                      <a:gd name="connsiteY5" fmla="*/ 16327 h 24281"/>
                      <a:gd name="connsiteX6" fmla="*/ 10765 w 18779"/>
                      <a:gd name="connsiteY6" fmla="*/ 17643 h 24281"/>
                      <a:gd name="connsiteX7" fmla="*/ 9210 w 18779"/>
                      <a:gd name="connsiteY7" fmla="*/ 20693 h 24281"/>
                      <a:gd name="connsiteX8" fmla="*/ 8493 w 18779"/>
                      <a:gd name="connsiteY8" fmla="*/ 22129 h 24281"/>
                      <a:gd name="connsiteX9" fmla="*/ 9150 w 18779"/>
                      <a:gd name="connsiteY9" fmla="*/ 22906 h 24281"/>
                      <a:gd name="connsiteX10" fmla="*/ 9509 w 18779"/>
                      <a:gd name="connsiteY10" fmla="*/ 23504 h 24281"/>
                      <a:gd name="connsiteX11" fmla="*/ 9449 w 18779"/>
                      <a:gd name="connsiteY11" fmla="*/ 23983 h 24281"/>
                      <a:gd name="connsiteX12" fmla="*/ 9090 w 18779"/>
                      <a:gd name="connsiteY12" fmla="*/ 24222 h 24281"/>
                      <a:gd name="connsiteX13" fmla="*/ 8373 w 18779"/>
                      <a:gd name="connsiteY13" fmla="*/ 24282 h 24281"/>
                      <a:gd name="connsiteX14" fmla="*/ 7356 w 18779"/>
                      <a:gd name="connsiteY14" fmla="*/ 24102 h 24281"/>
                      <a:gd name="connsiteX15" fmla="*/ 6160 w 18779"/>
                      <a:gd name="connsiteY15" fmla="*/ 23743 h 24281"/>
                      <a:gd name="connsiteX16" fmla="*/ 4844 w 18779"/>
                      <a:gd name="connsiteY16" fmla="*/ 23205 h 24281"/>
                      <a:gd name="connsiteX17" fmla="*/ 3469 w 18779"/>
                      <a:gd name="connsiteY17" fmla="*/ 22488 h 24281"/>
                      <a:gd name="connsiteX18" fmla="*/ 2153 w 18779"/>
                      <a:gd name="connsiteY18" fmla="*/ 21710 h 24281"/>
                      <a:gd name="connsiteX19" fmla="*/ 957 w 18779"/>
                      <a:gd name="connsiteY19" fmla="*/ 20873 h 24281"/>
                      <a:gd name="connsiteX20" fmla="*/ 0 w 18779"/>
                      <a:gd name="connsiteY20" fmla="*/ 20035 h 24281"/>
                      <a:gd name="connsiteX21" fmla="*/ 1555 w 18779"/>
                      <a:gd name="connsiteY21" fmla="*/ 16985 h 24281"/>
                      <a:gd name="connsiteX22" fmla="*/ 3110 w 18779"/>
                      <a:gd name="connsiteY22" fmla="*/ 13935 h 24281"/>
                      <a:gd name="connsiteX23" fmla="*/ 4665 w 18779"/>
                      <a:gd name="connsiteY23" fmla="*/ 10885 h 24281"/>
                      <a:gd name="connsiteX24" fmla="*/ 6220 w 18779"/>
                      <a:gd name="connsiteY24" fmla="*/ 7835 h 24281"/>
                      <a:gd name="connsiteX25" fmla="*/ 7775 w 18779"/>
                      <a:gd name="connsiteY25" fmla="*/ 4785 h 24281"/>
                      <a:gd name="connsiteX26" fmla="*/ 9330 w 18779"/>
                      <a:gd name="connsiteY26" fmla="*/ 1734 h 24281"/>
                      <a:gd name="connsiteX27" fmla="*/ 10227 w 18779"/>
                      <a:gd name="connsiteY27" fmla="*/ 0 h 2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779" h="24281">
                        <a:moveTo>
                          <a:pt x="18779" y="1914"/>
                        </a:moveTo>
                        <a:lnTo>
                          <a:pt x="17643" y="4127"/>
                        </a:lnTo>
                        <a:lnTo>
                          <a:pt x="16088" y="7177"/>
                        </a:lnTo>
                        <a:lnTo>
                          <a:pt x="14533" y="10227"/>
                        </a:lnTo>
                        <a:lnTo>
                          <a:pt x="12978" y="13277"/>
                        </a:lnTo>
                        <a:lnTo>
                          <a:pt x="11423" y="16327"/>
                        </a:lnTo>
                        <a:lnTo>
                          <a:pt x="10765" y="17643"/>
                        </a:lnTo>
                        <a:lnTo>
                          <a:pt x="9210" y="20693"/>
                        </a:lnTo>
                        <a:lnTo>
                          <a:pt x="8493" y="22129"/>
                        </a:lnTo>
                        <a:lnTo>
                          <a:pt x="9150" y="22906"/>
                        </a:lnTo>
                        <a:lnTo>
                          <a:pt x="9509" y="23504"/>
                        </a:lnTo>
                        <a:lnTo>
                          <a:pt x="9449" y="23983"/>
                        </a:lnTo>
                        <a:lnTo>
                          <a:pt x="9090" y="24222"/>
                        </a:lnTo>
                        <a:lnTo>
                          <a:pt x="8373" y="24282"/>
                        </a:lnTo>
                        <a:lnTo>
                          <a:pt x="7356" y="24102"/>
                        </a:lnTo>
                        <a:lnTo>
                          <a:pt x="6160" y="23743"/>
                        </a:lnTo>
                        <a:lnTo>
                          <a:pt x="4844" y="23205"/>
                        </a:lnTo>
                        <a:lnTo>
                          <a:pt x="3469" y="22488"/>
                        </a:lnTo>
                        <a:lnTo>
                          <a:pt x="2153" y="21710"/>
                        </a:lnTo>
                        <a:lnTo>
                          <a:pt x="957" y="20873"/>
                        </a:lnTo>
                        <a:lnTo>
                          <a:pt x="0" y="20035"/>
                        </a:lnTo>
                        <a:lnTo>
                          <a:pt x="1555" y="16985"/>
                        </a:lnTo>
                        <a:lnTo>
                          <a:pt x="3110" y="13935"/>
                        </a:lnTo>
                        <a:lnTo>
                          <a:pt x="4665" y="10885"/>
                        </a:lnTo>
                        <a:lnTo>
                          <a:pt x="6220" y="7835"/>
                        </a:lnTo>
                        <a:lnTo>
                          <a:pt x="7775" y="4785"/>
                        </a:lnTo>
                        <a:lnTo>
                          <a:pt x="9330" y="1734"/>
                        </a:lnTo>
                        <a:lnTo>
                          <a:pt x="10227" y="0"/>
                        </a:lnTo>
                      </a:path>
                    </a:pathLst>
                  </a:custGeom>
                  <a:noFill/>
                  <a:ln w="6350" cap="flat">
                    <a:solidFill>
                      <a:schemeClr val="bg1">
                        <a:alpha val="40000"/>
                      </a:schemeClr>
                    </a:solidFill>
                    <a:prstDash val="solid"/>
                    <a:miter/>
                  </a:ln>
                </p:spPr>
                <p:txBody>
                  <a:bodyPr rtlCol="0" anchor="ctr"/>
                  <a:lstStyle/>
                  <a:p>
                    <a:endParaRPr lang="en-GB"/>
                  </a:p>
                </p:txBody>
              </p:sp>
              <p:sp>
                <p:nvSpPr>
                  <p:cNvPr id="7598" name="Vrije vorm: vorm 7597">
                    <a:extLst>
                      <a:ext uri="{FF2B5EF4-FFF2-40B4-BE49-F238E27FC236}">
                        <a16:creationId xmlns:a16="http://schemas.microsoft.com/office/drawing/2014/main" id="{49885B38-DC53-4322-BED1-C37C97A76C47}"/>
                      </a:ext>
                    </a:extLst>
                  </p:cNvPr>
                  <p:cNvSpPr/>
                  <p:nvPr/>
                </p:nvSpPr>
                <p:spPr>
                  <a:xfrm>
                    <a:off x="5762385" y="5026358"/>
                    <a:ext cx="8672" cy="4066"/>
                  </a:xfrm>
                  <a:custGeom>
                    <a:avLst/>
                    <a:gdLst>
                      <a:gd name="connsiteX0" fmla="*/ 7476 w 8672"/>
                      <a:gd name="connsiteY0" fmla="*/ 4067 h 4066"/>
                      <a:gd name="connsiteX1" fmla="*/ 7357 w 8672"/>
                      <a:gd name="connsiteY1" fmla="*/ 4067 h 4066"/>
                      <a:gd name="connsiteX2" fmla="*/ 6160 w 8672"/>
                      <a:gd name="connsiteY2" fmla="*/ 3708 h 4066"/>
                      <a:gd name="connsiteX3" fmla="*/ 4844 w 8672"/>
                      <a:gd name="connsiteY3" fmla="*/ 3170 h 4066"/>
                      <a:gd name="connsiteX4" fmla="*/ 3469 w 8672"/>
                      <a:gd name="connsiteY4" fmla="*/ 2452 h 4066"/>
                      <a:gd name="connsiteX5" fmla="*/ 2153 w 8672"/>
                      <a:gd name="connsiteY5" fmla="*/ 1674 h 4066"/>
                      <a:gd name="connsiteX6" fmla="*/ 957 w 8672"/>
                      <a:gd name="connsiteY6" fmla="*/ 837 h 4066"/>
                      <a:gd name="connsiteX7" fmla="*/ 0 w 8672"/>
                      <a:gd name="connsiteY7" fmla="*/ 0 h 4066"/>
                      <a:gd name="connsiteX8" fmla="*/ 2751 w 8672"/>
                      <a:gd name="connsiteY8" fmla="*/ 598 h 4066"/>
                      <a:gd name="connsiteX9" fmla="*/ 5503 w 8672"/>
                      <a:gd name="connsiteY9" fmla="*/ 1196 h 4066"/>
                      <a:gd name="connsiteX10" fmla="*/ 8253 w 8672"/>
                      <a:gd name="connsiteY10" fmla="*/ 1794 h 4066"/>
                      <a:gd name="connsiteX11" fmla="*/ 8672 w 8672"/>
                      <a:gd name="connsiteY11" fmla="*/ 1914 h 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72" h="4066">
                        <a:moveTo>
                          <a:pt x="7476" y="4067"/>
                        </a:moveTo>
                        <a:lnTo>
                          <a:pt x="7357" y="4067"/>
                        </a:lnTo>
                        <a:lnTo>
                          <a:pt x="6160" y="3708"/>
                        </a:lnTo>
                        <a:lnTo>
                          <a:pt x="4844" y="3170"/>
                        </a:lnTo>
                        <a:lnTo>
                          <a:pt x="3469" y="2452"/>
                        </a:lnTo>
                        <a:lnTo>
                          <a:pt x="2153" y="1674"/>
                        </a:lnTo>
                        <a:lnTo>
                          <a:pt x="957" y="837"/>
                        </a:lnTo>
                        <a:lnTo>
                          <a:pt x="0" y="0"/>
                        </a:lnTo>
                        <a:lnTo>
                          <a:pt x="2751" y="598"/>
                        </a:lnTo>
                        <a:lnTo>
                          <a:pt x="5503" y="1196"/>
                        </a:lnTo>
                        <a:lnTo>
                          <a:pt x="8253" y="1794"/>
                        </a:lnTo>
                        <a:lnTo>
                          <a:pt x="8672" y="1914"/>
                        </a:lnTo>
                      </a:path>
                    </a:pathLst>
                  </a:custGeom>
                  <a:noFill/>
                  <a:ln w="6350" cap="flat">
                    <a:solidFill>
                      <a:schemeClr val="bg1">
                        <a:alpha val="40000"/>
                      </a:schemeClr>
                    </a:solidFill>
                    <a:prstDash val="solid"/>
                    <a:miter/>
                  </a:ln>
                </p:spPr>
                <p:txBody>
                  <a:bodyPr rtlCol="0" anchor="ctr"/>
                  <a:lstStyle/>
                  <a:p>
                    <a:endParaRPr lang="en-GB"/>
                  </a:p>
                </p:txBody>
              </p:sp>
              <p:sp>
                <p:nvSpPr>
                  <p:cNvPr id="7599" name="Vrije vorm: vorm 7598">
                    <a:extLst>
                      <a:ext uri="{FF2B5EF4-FFF2-40B4-BE49-F238E27FC236}">
                        <a16:creationId xmlns:a16="http://schemas.microsoft.com/office/drawing/2014/main" id="{ABD0E29C-FD11-4AF0-9A86-74020FF2591E}"/>
                      </a:ext>
                    </a:extLst>
                  </p:cNvPr>
                  <p:cNvSpPr/>
                  <p:nvPr/>
                </p:nvSpPr>
                <p:spPr>
                  <a:xfrm>
                    <a:off x="5760711" y="5048427"/>
                    <a:ext cx="78048" cy="39831"/>
                  </a:xfrm>
                  <a:custGeom>
                    <a:avLst/>
                    <a:gdLst>
                      <a:gd name="connsiteX0" fmla="*/ 0 w 78048"/>
                      <a:gd name="connsiteY0" fmla="*/ 0 h 39831"/>
                      <a:gd name="connsiteX1" fmla="*/ 1674 w 78048"/>
                      <a:gd name="connsiteY1" fmla="*/ 419 h 39831"/>
                      <a:gd name="connsiteX2" fmla="*/ 4366 w 78048"/>
                      <a:gd name="connsiteY2" fmla="*/ 1136 h 39831"/>
                      <a:gd name="connsiteX3" fmla="*/ 7057 w 78048"/>
                      <a:gd name="connsiteY3" fmla="*/ 1854 h 39831"/>
                      <a:gd name="connsiteX4" fmla="*/ 9749 w 78048"/>
                      <a:gd name="connsiteY4" fmla="*/ 2572 h 39831"/>
                      <a:gd name="connsiteX5" fmla="*/ 12440 w 78048"/>
                      <a:gd name="connsiteY5" fmla="*/ 3290 h 39831"/>
                      <a:gd name="connsiteX6" fmla="*/ 15131 w 78048"/>
                      <a:gd name="connsiteY6" fmla="*/ 4007 h 39831"/>
                      <a:gd name="connsiteX7" fmla="*/ 17822 w 78048"/>
                      <a:gd name="connsiteY7" fmla="*/ 4725 h 39831"/>
                      <a:gd name="connsiteX8" fmla="*/ 20514 w 78048"/>
                      <a:gd name="connsiteY8" fmla="*/ 5443 h 39831"/>
                      <a:gd name="connsiteX9" fmla="*/ 21471 w 78048"/>
                      <a:gd name="connsiteY9" fmla="*/ 5682 h 39831"/>
                      <a:gd name="connsiteX10" fmla="*/ 23923 w 78048"/>
                      <a:gd name="connsiteY10" fmla="*/ 7058 h 39831"/>
                      <a:gd name="connsiteX11" fmla="*/ 26375 w 78048"/>
                      <a:gd name="connsiteY11" fmla="*/ 8433 h 39831"/>
                      <a:gd name="connsiteX12" fmla="*/ 28827 w 78048"/>
                      <a:gd name="connsiteY12" fmla="*/ 9808 h 39831"/>
                      <a:gd name="connsiteX13" fmla="*/ 31279 w 78048"/>
                      <a:gd name="connsiteY13" fmla="*/ 11184 h 39831"/>
                      <a:gd name="connsiteX14" fmla="*/ 33731 w 78048"/>
                      <a:gd name="connsiteY14" fmla="*/ 12560 h 39831"/>
                      <a:gd name="connsiteX15" fmla="*/ 36183 w 78048"/>
                      <a:gd name="connsiteY15" fmla="*/ 13935 h 39831"/>
                      <a:gd name="connsiteX16" fmla="*/ 38635 w 78048"/>
                      <a:gd name="connsiteY16" fmla="*/ 15311 h 39831"/>
                      <a:gd name="connsiteX17" fmla="*/ 41088 w 78048"/>
                      <a:gd name="connsiteY17" fmla="*/ 16686 h 39831"/>
                      <a:gd name="connsiteX18" fmla="*/ 43539 w 78048"/>
                      <a:gd name="connsiteY18" fmla="*/ 18062 h 39831"/>
                      <a:gd name="connsiteX19" fmla="*/ 45992 w 78048"/>
                      <a:gd name="connsiteY19" fmla="*/ 19437 h 39831"/>
                      <a:gd name="connsiteX20" fmla="*/ 48444 w 78048"/>
                      <a:gd name="connsiteY20" fmla="*/ 20813 h 39831"/>
                      <a:gd name="connsiteX21" fmla="*/ 50896 w 78048"/>
                      <a:gd name="connsiteY21" fmla="*/ 22189 h 39831"/>
                      <a:gd name="connsiteX22" fmla="*/ 53348 w 78048"/>
                      <a:gd name="connsiteY22" fmla="*/ 23564 h 39831"/>
                      <a:gd name="connsiteX23" fmla="*/ 55800 w 78048"/>
                      <a:gd name="connsiteY23" fmla="*/ 24940 h 39831"/>
                      <a:gd name="connsiteX24" fmla="*/ 58252 w 78048"/>
                      <a:gd name="connsiteY24" fmla="*/ 26315 h 39831"/>
                      <a:gd name="connsiteX25" fmla="*/ 60704 w 78048"/>
                      <a:gd name="connsiteY25" fmla="*/ 27691 h 39831"/>
                      <a:gd name="connsiteX26" fmla="*/ 63156 w 78048"/>
                      <a:gd name="connsiteY26" fmla="*/ 29067 h 39831"/>
                      <a:gd name="connsiteX27" fmla="*/ 65608 w 78048"/>
                      <a:gd name="connsiteY27" fmla="*/ 30442 h 39831"/>
                      <a:gd name="connsiteX28" fmla="*/ 68061 w 78048"/>
                      <a:gd name="connsiteY28" fmla="*/ 31817 h 39831"/>
                      <a:gd name="connsiteX29" fmla="*/ 70513 w 78048"/>
                      <a:gd name="connsiteY29" fmla="*/ 33193 h 39831"/>
                      <a:gd name="connsiteX30" fmla="*/ 72965 w 78048"/>
                      <a:gd name="connsiteY30" fmla="*/ 34569 h 39831"/>
                      <a:gd name="connsiteX31" fmla="*/ 73503 w 78048"/>
                      <a:gd name="connsiteY31" fmla="*/ 34868 h 39831"/>
                      <a:gd name="connsiteX32" fmla="*/ 75417 w 78048"/>
                      <a:gd name="connsiteY32" fmla="*/ 36961 h 39831"/>
                      <a:gd name="connsiteX33" fmla="*/ 77331 w 78048"/>
                      <a:gd name="connsiteY33" fmla="*/ 39054 h 39831"/>
                      <a:gd name="connsiteX34" fmla="*/ 78048 w 78048"/>
                      <a:gd name="connsiteY34" fmla="*/ 39832 h 3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048" h="39831">
                        <a:moveTo>
                          <a:pt x="0" y="0"/>
                        </a:moveTo>
                        <a:lnTo>
                          <a:pt x="1674" y="419"/>
                        </a:lnTo>
                        <a:lnTo>
                          <a:pt x="4366" y="1136"/>
                        </a:lnTo>
                        <a:lnTo>
                          <a:pt x="7057" y="1854"/>
                        </a:lnTo>
                        <a:lnTo>
                          <a:pt x="9749" y="2572"/>
                        </a:lnTo>
                        <a:lnTo>
                          <a:pt x="12440" y="3290"/>
                        </a:lnTo>
                        <a:lnTo>
                          <a:pt x="15131" y="4007"/>
                        </a:lnTo>
                        <a:lnTo>
                          <a:pt x="17822" y="4725"/>
                        </a:lnTo>
                        <a:lnTo>
                          <a:pt x="20514" y="5443"/>
                        </a:lnTo>
                        <a:lnTo>
                          <a:pt x="21471" y="5682"/>
                        </a:lnTo>
                        <a:lnTo>
                          <a:pt x="23923" y="7058"/>
                        </a:lnTo>
                        <a:lnTo>
                          <a:pt x="26375" y="8433"/>
                        </a:lnTo>
                        <a:lnTo>
                          <a:pt x="28827" y="9808"/>
                        </a:lnTo>
                        <a:lnTo>
                          <a:pt x="31279" y="11184"/>
                        </a:lnTo>
                        <a:lnTo>
                          <a:pt x="33731" y="12560"/>
                        </a:lnTo>
                        <a:lnTo>
                          <a:pt x="36183" y="13935"/>
                        </a:lnTo>
                        <a:lnTo>
                          <a:pt x="38635" y="15311"/>
                        </a:lnTo>
                        <a:lnTo>
                          <a:pt x="41088" y="16686"/>
                        </a:lnTo>
                        <a:lnTo>
                          <a:pt x="43539" y="18062"/>
                        </a:lnTo>
                        <a:lnTo>
                          <a:pt x="45992" y="19437"/>
                        </a:lnTo>
                        <a:lnTo>
                          <a:pt x="48444" y="20813"/>
                        </a:lnTo>
                        <a:lnTo>
                          <a:pt x="50896" y="22189"/>
                        </a:lnTo>
                        <a:lnTo>
                          <a:pt x="53348" y="23564"/>
                        </a:lnTo>
                        <a:lnTo>
                          <a:pt x="55800" y="24940"/>
                        </a:lnTo>
                        <a:lnTo>
                          <a:pt x="58252" y="26315"/>
                        </a:lnTo>
                        <a:lnTo>
                          <a:pt x="60704" y="27691"/>
                        </a:lnTo>
                        <a:lnTo>
                          <a:pt x="63156" y="29067"/>
                        </a:lnTo>
                        <a:lnTo>
                          <a:pt x="65608" y="30442"/>
                        </a:lnTo>
                        <a:lnTo>
                          <a:pt x="68061" y="31817"/>
                        </a:lnTo>
                        <a:lnTo>
                          <a:pt x="70513" y="33193"/>
                        </a:lnTo>
                        <a:lnTo>
                          <a:pt x="72965" y="34569"/>
                        </a:lnTo>
                        <a:lnTo>
                          <a:pt x="73503" y="34868"/>
                        </a:lnTo>
                        <a:lnTo>
                          <a:pt x="75417" y="36961"/>
                        </a:lnTo>
                        <a:lnTo>
                          <a:pt x="77331" y="39054"/>
                        </a:lnTo>
                        <a:lnTo>
                          <a:pt x="78048" y="39832"/>
                        </a:lnTo>
                      </a:path>
                    </a:pathLst>
                  </a:custGeom>
                  <a:noFill/>
                  <a:ln w="6350" cap="flat">
                    <a:solidFill>
                      <a:schemeClr val="bg1">
                        <a:alpha val="40000"/>
                      </a:schemeClr>
                    </a:solidFill>
                    <a:prstDash val="solid"/>
                    <a:miter/>
                  </a:ln>
                </p:spPr>
                <p:txBody>
                  <a:bodyPr rtlCol="0" anchor="ctr"/>
                  <a:lstStyle/>
                  <a:p>
                    <a:endParaRPr lang="en-GB"/>
                  </a:p>
                </p:txBody>
              </p:sp>
              <p:sp>
                <p:nvSpPr>
                  <p:cNvPr id="7600" name="Vrije vorm: vorm 7599">
                    <a:extLst>
                      <a:ext uri="{FF2B5EF4-FFF2-40B4-BE49-F238E27FC236}">
                        <a16:creationId xmlns:a16="http://schemas.microsoft.com/office/drawing/2014/main" id="{65D1D368-6900-40B6-AF25-F2E854F28C2D}"/>
                      </a:ext>
                    </a:extLst>
                  </p:cNvPr>
                  <p:cNvSpPr/>
                  <p:nvPr/>
                </p:nvSpPr>
                <p:spPr>
                  <a:xfrm>
                    <a:off x="5796535" y="5026059"/>
                    <a:ext cx="50776" cy="29604"/>
                  </a:xfrm>
                  <a:custGeom>
                    <a:avLst/>
                    <a:gdLst>
                      <a:gd name="connsiteX0" fmla="*/ 36841 w 50776"/>
                      <a:gd name="connsiteY0" fmla="*/ 0 h 29604"/>
                      <a:gd name="connsiteX1" fmla="*/ 35286 w 50776"/>
                      <a:gd name="connsiteY1" fmla="*/ 3050 h 29604"/>
                      <a:gd name="connsiteX2" fmla="*/ 33731 w 50776"/>
                      <a:gd name="connsiteY2" fmla="*/ 6100 h 29604"/>
                      <a:gd name="connsiteX3" fmla="*/ 32954 w 50776"/>
                      <a:gd name="connsiteY3" fmla="*/ 7655 h 29604"/>
                      <a:gd name="connsiteX4" fmla="*/ 33731 w 50776"/>
                      <a:gd name="connsiteY4" fmla="*/ 8612 h 29604"/>
                      <a:gd name="connsiteX5" fmla="*/ 33911 w 50776"/>
                      <a:gd name="connsiteY5" fmla="*/ 8792 h 29604"/>
                      <a:gd name="connsiteX6" fmla="*/ 34987 w 50776"/>
                      <a:gd name="connsiteY6" fmla="*/ 10107 h 29604"/>
                      <a:gd name="connsiteX7" fmla="*/ 36782 w 50776"/>
                      <a:gd name="connsiteY7" fmla="*/ 12320 h 29604"/>
                      <a:gd name="connsiteX8" fmla="*/ 38576 w 50776"/>
                      <a:gd name="connsiteY8" fmla="*/ 14533 h 29604"/>
                      <a:gd name="connsiteX9" fmla="*/ 39174 w 50776"/>
                      <a:gd name="connsiteY9" fmla="*/ 15311 h 29604"/>
                      <a:gd name="connsiteX10" fmla="*/ 40968 w 50776"/>
                      <a:gd name="connsiteY10" fmla="*/ 17523 h 29604"/>
                      <a:gd name="connsiteX11" fmla="*/ 42762 w 50776"/>
                      <a:gd name="connsiteY11" fmla="*/ 19737 h 29604"/>
                      <a:gd name="connsiteX12" fmla="*/ 44556 w 50776"/>
                      <a:gd name="connsiteY12" fmla="*/ 21950 h 29604"/>
                      <a:gd name="connsiteX13" fmla="*/ 46351 w 50776"/>
                      <a:gd name="connsiteY13" fmla="*/ 24162 h 29604"/>
                      <a:gd name="connsiteX14" fmla="*/ 48145 w 50776"/>
                      <a:gd name="connsiteY14" fmla="*/ 26375 h 29604"/>
                      <a:gd name="connsiteX15" fmla="*/ 49939 w 50776"/>
                      <a:gd name="connsiteY15" fmla="*/ 28588 h 29604"/>
                      <a:gd name="connsiteX16" fmla="*/ 50776 w 50776"/>
                      <a:gd name="connsiteY16" fmla="*/ 29605 h 29604"/>
                      <a:gd name="connsiteX17" fmla="*/ 48384 w 50776"/>
                      <a:gd name="connsiteY17" fmla="*/ 28229 h 29604"/>
                      <a:gd name="connsiteX18" fmla="*/ 45992 w 50776"/>
                      <a:gd name="connsiteY18" fmla="*/ 26853 h 29604"/>
                      <a:gd name="connsiteX19" fmla="*/ 43599 w 50776"/>
                      <a:gd name="connsiteY19" fmla="*/ 25478 h 29604"/>
                      <a:gd name="connsiteX20" fmla="*/ 41207 w 50776"/>
                      <a:gd name="connsiteY20" fmla="*/ 24102 h 29604"/>
                      <a:gd name="connsiteX21" fmla="*/ 38815 w 50776"/>
                      <a:gd name="connsiteY21" fmla="*/ 22727 h 29604"/>
                      <a:gd name="connsiteX22" fmla="*/ 36423 w 50776"/>
                      <a:gd name="connsiteY22" fmla="*/ 21351 h 29604"/>
                      <a:gd name="connsiteX23" fmla="*/ 34030 w 50776"/>
                      <a:gd name="connsiteY23" fmla="*/ 19976 h 29604"/>
                      <a:gd name="connsiteX24" fmla="*/ 31638 w 50776"/>
                      <a:gd name="connsiteY24" fmla="*/ 18600 h 29604"/>
                      <a:gd name="connsiteX25" fmla="*/ 29246 w 50776"/>
                      <a:gd name="connsiteY25" fmla="*/ 17225 h 29604"/>
                      <a:gd name="connsiteX26" fmla="*/ 26853 w 50776"/>
                      <a:gd name="connsiteY26" fmla="*/ 15849 h 29604"/>
                      <a:gd name="connsiteX27" fmla="*/ 24461 w 50776"/>
                      <a:gd name="connsiteY27" fmla="*/ 14474 h 29604"/>
                      <a:gd name="connsiteX28" fmla="*/ 22069 w 50776"/>
                      <a:gd name="connsiteY28" fmla="*/ 13098 h 29604"/>
                      <a:gd name="connsiteX29" fmla="*/ 19676 w 50776"/>
                      <a:gd name="connsiteY29" fmla="*/ 11722 h 29604"/>
                      <a:gd name="connsiteX30" fmla="*/ 17284 w 50776"/>
                      <a:gd name="connsiteY30" fmla="*/ 10347 h 29604"/>
                      <a:gd name="connsiteX31" fmla="*/ 14892 w 50776"/>
                      <a:gd name="connsiteY31" fmla="*/ 8971 h 29604"/>
                      <a:gd name="connsiteX32" fmla="*/ 12500 w 50776"/>
                      <a:gd name="connsiteY32" fmla="*/ 7596 h 29604"/>
                      <a:gd name="connsiteX33" fmla="*/ 10107 w 50776"/>
                      <a:gd name="connsiteY33" fmla="*/ 6220 h 29604"/>
                      <a:gd name="connsiteX34" fmla="*/ 7715 w 50776"/>
                      <a:gd name="connsiteY34" fmla="*/ 4844 h 29604"/>
                      <a:gd name="connsiteX35" fmla="*/ 5323 w 50776"/>
                      <a:gd name="connsiteY35" fmla="*/ 3469 h 29604"/>
                      <a:gd name="connsiteX36" fmla="*/ 2930 w 50776"/>
                      <a:gd name="connsiteY36" fmla="*/ 2093 h 29604"/>
                      <a:gd name="connsiteX37" fmla="*/ 538 w 50776"/>
                      <a:gd name="connsiteY37" fmla="*/ 718 h 29604"/>
                      <a:gd name="connsiteX38" fmla="*/ 0 w 50776"/>
                      <a:gd name="connsiteY38" fmla="*/ 419 h 29604"/>
                      <a:gd name="connsiteX39" fmla="*/ 2751 w 50776"/>
                      <a:gd name="connsiteY39" fmla="*/ 1017 h 29604"/>
                      <a:gd name="connsiteX40" fmla="*/ 5502 w 50776"/>
                      <a:gd name="connsiteY40" fmla="*/ 1615 h 29604"/>
                      <a:gd name="connsiteX41" fmla="*/ 8253 w 50776"/>
                      <a:gd name="connsiteY41" fmla="*/ 2213 h 29604"/>
                      <a:gd name="connsiteX42" fmla="*/ 11005 w 50776"/>
                      <a:gd name="connsiteY42" fmla="*/ 2811 h 29604"/>
                      <a:gd name="connsiteX43" fmla="*/ 13756 w 50776"/>
                      <a:gd name="connsiteY43" fmla="*/ 3409 h 29604"/>
                      <a:gd name="connsiteX44" fmla="*/ 16507 w 50776"/>
                      <a:gd name="connsiteY44" fmla="*/ 4007 h 29604"/>
                      <a:gd name="connsiteX45" fmla="*/ 19258 w 50776"/>
                      <a:gd name="connsiteY45" fmla="*/ 4605 h 29604"/>
                      <a:gd name="connsiteX46" fmla="*/ 19617 w 50776"/>
                      <a:gd name="connsiteY46" fmla="*/ 4665 h 29604"/>
                      <a:gd name="connsiteX47" fmla="*/ 22368 w 50776"/>
                      <a:gd name="connsiteY47" fmla="*/ 5263 h 29604"/>
                      <a:gd name="connsiteX48" fmla="*/ 25119 w 50776"/>
                      <a:gd name="connsiteY48" fmla="*/ 5861 h 29604"/>
                      <a:gd name="connsiteX49" fmla="*/ 27691 w 50776"/>
                      <a:gd name="connsiteY49" fmla="*/ 6399 h 29604"/>
                      <a:gd name="connsiteX50" fmla="*/ 30442 w 50776"/>
                      <a:gd name="connsiteY50" fmla="*/ 6998 h 29604"/>
                      <a:gd name="connsiteX51" fmla="*/ 33193 w 50776"/>
                      <a:gd name="connsiteY51" fmla="*/ 7596 h 29604"/>
                      <a:gd name="connsiteX52" fmla="*/ 33373 w 50776"/>
                      <a:gd name="connsiteY52" fmla="*/ 7655 h 2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0776" h="29604">
                        <a:moveTo>
                          <a:pt x="36841" y="0"/>
                        </a:moveTo>
                        <a:lnTo>
                          <a:pt x="35286" y="3050"/>
                        </a:lnTo>
                        <a:lnTo>
                          <a:pt x="33731" y="6100"/>
                        </a:lnTo>
                        <a:lnTo>
                          <a:pt x="32954" y="7655"/>
                        </a:lnTo>
                        <a:lnTo>
                          <a:pt x="33731" y="8612"/>
                        </a:lnTo>
                        <a:lnTo>
                          <a:pt x="33911" y="8792"/>
                        </a:lnTo>
                        <a:lnTo>
                          <a:pt x="34987" y="10107"/>
                        </a:lnTo>
                        <a:lnTo>
                          <a:pt x="36782" y="12320"/>
                        </a:lnTo>
                        <a:lnTo>
                          <a:pt x="38576" y="14533"/>
                        </a:lnTo>
                        <a:lnTo>
                          <a:pt x="39174" y="15311"/>
                        </a:lnTo>
                        <a:lnTo>
                          <a:pt x="40968" y="17523"/>
                        </a:lnTo>
                        <a:lnTo>
                          <a:pt x="42762" y="19737"/>
                        </a:lnTo>
                        <a:lnTo>
                          <a:pt x="44556" y="21950"/>
                        </a:lnTo>
                        <a:lnTo>
                          <a:pt x="46351" y="24162"/>
                        </a:lnTo>
                        <a:lnTo>
                          <a:pt x="48145" y="26375"/>
                        </a:lnTo>
                        <a:lnTo>
                          <a:pt x="49939" y="28588"/>
                        </a:lnTo>
                        <a:lnTo>
                          <a:pt x="50776" y="29605"/>
                        </a:lnTo>
                        <a:lnTo>
                          <a:pt x="48384" y="28229"/>
                        </a:lnTo>
                        <a:lnTo>
                          <a:pt x="45992" y="26853"/>
                        </a:lnTo>
                        <a:lnTo>
                          <a:pt x="43599" y="25478"/>
                        </a:lnTo>
                        <a:lnTo>
                          <a:pt x="41207" y="24102"/>
                        </a:lnTo>
                        <a:lnTo>
                          <a:pt x="38815" y="22727"/>
                        </a:lnTo>
                        <a:lnTo>
                          <a:pt x="36423" y="21351"/>
                        </a:lnTo>
                        <a:lnTo>
                          <a:pt x="34030" y="19976"/>
                        </a:lnTo>
                        <a:lnTo>
                          <a:pt x="31638" y="18600"/>
                        </a:lnTo>
                        <a:lnTo>
                          <a:pt x="29246" y="17225"/>
                        </a:lnTo>
                        <a:lnTo>
                          <a:pt x="26853" y="15849"/>
                        </a:lnTo>
                        <a:lnTo>
                          <a:pt x="24461" y="14474"/>
                        </a:lnTo>
                        <a:lnTo>
                          <a:pt x="22069" y="13098"/>
                        </a:lnTo>
                        <a:lnTo>
                          <a:pt x="19676" y="11722"/>
                        </a:lnTo>
                        <a:lnTo>
                          <a:pt x="17284" y="10347"/>
                        </a:lnTo>
                        <a:lnTo>
                          <a:pt x="14892" y="8971"/>
                        </a:lnTo>
                        <a:lnTo>
                          <a:pt x="12500" y="7596"/>
                        </a:lnTo>
                        <a:lnTo>
                          <a:pt x="10107" y="6220"/>
                        </a:lnTo>
                        <a:lnTo>
                          <a:pt x="7715" y="4844"/>
                        </a:lnTo>
                        <a:lnTo>
                          <a:pt x="5323" y="3469"/>
                        </a:lnTo>
                        <a:lnTo>
                          <a:pt x="2930" y="2093"/>
                        </a:lnTo>
                        <a:lnTo>
                          <a:pt x="538" y="718"/>
                        </a:lnTo>
                        <a:lnTo>
                          <a:pt x="0" y="419"/>
                        </a:lnTo>
                        <a:lnTo>
                          <a:pt x="2751" y="1017"/>
                        </a:lnTo>
                        <a:lnTo>
                          <a:pt x="5502" y="1615"/>
                        </a:lnTo>
                        <a:lnTo>
                          <a:pt x="8253" y="2213"/>
                        </a:lnTo>
                        <a:lnTo>
                          <a:pt x="11005" y="2811"/>
                        </a:lnTo>
                        <a:lnTo>
                          <a:pt x="13756" y="3409"/>
                        </a:lnTo>
                        <a:lnTo>
                          <a:pt x="16507" y="4007"/>
                        </a:lnTo>
                        <a:lnTo>
                          <a:pt x="19258" y="4605"/>
                        </a:lnTo>
                        <a:lnTo>
                          <a:pt x="19617" y="4665"/>
                        </a:lnTo>
                        <a:lnTo>
                          <a:pt x="22368" y="5263"/>
                        </a:lnTo>
                        <a:lnTo>
                          <a:pt x="25119" y="5861"/>
                        </a:lnTo>
                        <a:lnTo>
                          <a:pt x="27691" y="6399"/>
                        </a:lnTo>
                        <a:lnTo>
                          <a:pt x="30442" y="6998"/>
                        </a:lnTo>
                        <a:lnTo>
                          <a:pt x="33193" y="7596"/>
                        </a:lnTo>
                        <a:lnTo>
                          <a:pt x="33373" y="7655"/>
                        </a:lnTo>
                      </a:path>
                    </a:pathLst>
                  </a:custGeom>
                  <a:noFill/>
                  <a:ln w="6350" cap="flat">
                    <a:solidFill>
                      <a:schemeClr val="bg1">
                        <a:alpha val="40000"/>
                      </a:schemeClr>
                    </a:solidFill>
                    <a:prstDash val="solid"/>
                    <a:miter/>
                  </a:ln>
                </p:spPr>
                <p:txBody>
                  <a:bodyPr rtlCol="0" anchor="ctr"/>
                  <a:lstStyle/>
                  <a:p>
                    <a:endParaRPr lang="en-GB"/>
                  </a:p>
                </p:txBody>
              </p:sp>
              <p:sp>
                <p:nvSpPr>
                  <p:cNvPr id="7601" name="Vrije vorm: vorm 7600">
                    <a:extLst>
                      <a:ext uri="{FF2B5EF4-FFF2-40B4-BE49-F238E27FC236}">
                        <a16:creationId xmlns:a16="http://schemas.microsoft.com/office/drawing/2014/main" id="{DEAA99B0-62EB-4AA4-B2C0-780B6D12BFCB}"/>
                      </a:ext>
                    </a:extLst>
                  </p:cNvPr>
                  <p:cNvSpPr/>
                  <p:nvPr/>
                </p:nvSpPr>
                <p:spPr>
                  <a:xfrm>
                    <a:off x="5718726" y="5010389"/>
                    <a:ext cx="26375" cy="5681"/>
                  </a:xfrm>
                  <a:custGeom>
                    <a:avLst/>
                    <a:gdLst>
                      <a:gd name="connsiteX0" fmla="*/ 0 w 26375"/>
                      <a:gd name="connsiteY0" fmla="*/ 0 h 5681"/>
                      <a:gd name="connsiteX1" fmla="*/ 2751 w 26375"/>
                      <a:gd name="connsiteY1" fmla="*/ 598 h 5681"/>
                      <a:gd name="connsiteX2" fmla="*/ 5502 w 26375"/>
                      <a:gd name="connsiteY2" fmla="*/ 1196 h 5681"/>
                      <a:gd name="connsiteX3" fmla="*/ 8253 w 26375"/>
                      <a:gd name="connsiteY3" fmla="*/ 1794 h 5681"/>
                      <a:gd name="connsiteX4" fmla="*/ 11005 w 26375"/>
                      <a:gd name="connsiteY4" fmla="*/ 2392 h 5681"/>
                      <a:gd name="connsiteX5" fmla="*/ 13756 w 26375"/>
                      <a:gd name="connsiteY5" fmla="*/ 2990 h 5681"/>
                      <a:gd name="connsiteX6" fmla="*/ 16028 w 26375"/>
                      <a:gd name="connsiteY6" fmla="*/ 3469 h 5681"/>
                      <a:gd name="connsiteX7" fmla="*/ 16447 w 26375"/>
                      <a:gd name="connsiteY7" fmla="*/ 3529 h 5681"/>
                      <a:gd name="connsiteX8" fmla="*/ 16746 w 26375"/>
                      <a:gd name="connsiteY8" fmla="*/ 3589 h 5681"/>
                      <a:gd name="connsiteX9" fmla="*/ 19497 w 26375"/>
                      <a:gd name="connsiteY9" fmla="*/ 4187 h 5681"/>
                      <a:gd name="connsiteX10" fmla="*/ 21770 w 26375"/>
                      <a:gd name="connsiteY10" fmla="*/ 4665 h 5681"/>
                      <a:gd name="connsiteX11" fmla="*/ 24521 w 26375"/>
                      <a:gd name="connsiteY11" fmla="*/ 5263 h 5681"/>
                      <a:gd name="connsiteX12" fmla="*/ 26375 w 26375"/>
                      <a:gd name="connsiteY12" fmla="*/ 5682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75" h="5681">
                        <a:moveTo>
                          <a:pt x="0" y="0"/>
                        </a:moveTo>
                        <a:lnTo>
                          <a:pt x="2751" y="598"/>
                        </a:lnTo>
                        <a:lnTo>
                          <a:pt x="5502" y="1196"/>
                        </a:lnTo>
                        <a:lnTo>
                          <a:pt x="8253" y="1794"/>
                        </a:lnTo>
                        <a:lnTo>
                          <a:pt x="11005" y="2392"/>
                        </a:lnTo>
                        <a:lnTo>
                          <a:pt x="13756" y="2990"/>
                        </a:lnTo>
                        <a:lnTo>
                          <a:pt x="16028" y="3469"/>
                        </a:lnTo>
                        <a:lnTo>
                          <a:pt x="16447" y="3529"/>
                        </a:lnTo>
                        <a:lnTo>
                          <a:pt x="16746" y="3589"/>
                        </a:lnTo>
                        <a:lnTo>
                          <a:pt x="19497" y="4187"/>
                        </a:lnTo>
                        <a:lnTo>
                          <a:pt x="21770" y="4665"/>
                        </a:lnTo>
                        <a:lnTo>
                          <a:pt x="24521" y="5263"/>
                        </a:lnTo>
                        <a:lnTo>
                          <a:pt x="26375" y="5682"/>
                        </a:lnTo>
                      </a:path>
                    </a:pathLst>
                  </a:custGeom>
                  <a:noFill/>
                  <a:ln w="6350" cap="flat">
                    <a:solidFill>
                      <a:schemeClr val="bg1">
                        <a:alpha val="40000"/>
                      </a:schemeClr>
                    </a:solidFill>
                    <a:prstDash val="solid"/>
                    <a:miter/>
                  </a:ln>
                </p:spPr>
                <p:txBody>
                  <a:bodyPr rtlCol="0" anchor="ctr"/>
                  <a:lstStyle/>
                  <a:p>
                    <a:endParaRPr lang="en-GB"/>
                  </a:p>
                </p:txBody>
              </p:sp>
              <p:sp>
                <p:nvSpPr>
                  <p:cNvPr id="7602" name="Vrije vorm: vorm 7601">
                    <a:extLst>
                      <a:ext uri="{FF2B5EF4-FFF2-40B4-BE49-F238E27FC236}">
                        <a16:creationId xmlns:a16="http://schemas.microsoft.com/office/drawing/2014/main" id="{ECFC5B98-2626-4698-B53C-499F8DCC7131}"/>
                      </a:ext>
                    </a:extLst>
                  </p:cNvPr>
                  <p:cNvSpPr/>
                  <p:nvPr/>
                </p:nvSpPr>
                <p:spPr>
                  <a:xfrm>
                    <a:off x="5862443" y="5100758"/>
                    <a:ext cx="22068" cy="26076"/>
                  </a:xfrm>
                  <a:custGeom>
                    <a:avLst/>
                    <a:gdLst>
                      <a:gd name="connsiteX0" fmla="*/ 22069 w 22068"/>
                      <a:gd name="connsiteY0" fmla="*/ 0 h 26076"/>
                      <a:gd name="connsiteX1" fmla="*/ 21052 w 22068"/>
                      <a:gd name="connsiteY1" fmla="*/ 1974 h 26076"/>
                      <a:gd name="connsiteX2" fmla="*/ 19497 w 22068"/>
                      <a:gd name="connsiteY2" fmla="*/ 5024 h 26076"/>
                      <a:gd name="connsiteX3" fmla="*/ 18361 w 22068"/>
                      <a:gd name="connsiteY3" fmla="*/ 7297 h 26076"/>
                      <a:gd name="connsiteX4" fmla="*/ 17882 w 22068"/>
                      <a:gd name="connsiteY4" fmla="*/ 8194 h 26076"/>
                      <a:gd name="connsiteX5" fmla="*/ 17703 w 22068"/>
                      <a:gd name="connsiteY5" fmla="*/ 8553 h 26076"/>
                      <a:gd name="connsiteX6" fmla="*/ 17523 w 22068"/>
                      <a:gd name="connsiteY6" fmla="*/ 8852 h 26076"/>
                      <a:gd name="connsiteX7" fmla="*/ 16148 w 22068"/>
                      <a:gd name="connsiteY7" fmla="*/ 11543 h 26076"/>
                      <a:gd name="connsiteX8" fmla="*/ 15789 w 22068"/>
                      <a:gd name="connsiteY8" fmla="*/ 12261 h 26076"/>
                      <a:gd name="connsiteX9" fmla="*/ 14652 w 22068"/>
                      <a:gd name="connsiteY9" fmla="*/ 14533 h 26076"/>
                      <a:gd name="connsiteX10" fmla="*/ 13098 w 22068"/>
                      <a:gd name="connsiteY10" fmla="*/ 17583 h 26076"/>
                      <a:gd name="connsiteX11" fmla="*/ 11543 w 22068"/>
                      <a:gd name="connsiteY11" fmla="*/ 20634 h 26076"/>
                      <a:gd name="connsiteX12" fmla="*/ 9988 w 22068"/>
                      <a:gd name="connsiteY12" fmla="*/ 23684 h 26076"/>
                      <a:gd name="connsiteX13" fmla="*/ 9270 w 22068"/>
                      <a:gd name="connsiteY13" fmla="*/ 25119 h 26076"/>
                      <a:gd name="connsiteX14" fmla="*/ 6340 w 22068"/>
                      <a:gd name="connsiteY14" fmla="*/ 25418 h 26076"/>
                      <a:gd name="connsiteX15" fmla="*/ 3409 w 22068"/>
                      <a:gd name="connsiteY15" fmla="*/ 25717 h 26076"/>
                      <a:gd name="connsiteX16" fmla="*/ 478 w 22068"/>
                      <a:gd name="connsiteY16" fmla="*/ 26016 h 26076"/>
                      <a:gd name="connsiteX17" fmla="*/ 0 w 22068"/>
                      <a:gd name="connsiteY17" fmla="*/ 26076 h 2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068" h="26076">
                        <a:moveTo>
                          <a:pt x="22069" y="0"/>
                        </a:moveTo>
                        <a:lnTo>
                          <a:pt x="21052" y="1974"/>
                        </a:lnTo>
                        <a:lnTo>
                          <a:pt x="19497" y="5024"/>
                        </a:lnTo>
                        <a:lnTo>
                          <a:pt x="18361" y="7297"/>
                        </a:lnTo>
                        <a:lnTo>
                          <a:pt x="17882" y="8194"/>
                        </a:lnTo>
                        <a:lnTo>
                          <a:pt x="17703" y="8553"/>
                        </a:lnTo>
                        <a:lnTo>
                          <a:pt x="17523" y="8852"/>
                        </a:lnTo>
                        <a:lnTo>
                          <a:pt x="16148" y="11543"/>
                        </a:lnTo>
                        <a:lnTo>
                          <a:pt x="15789" y="12261"/>
                        </a:lnTo>
                        <a:lnTo>
                          <a:pt x="14652" y="14533"/>
                        </a:lnTo>
                        <a:lnTo>
                          <a:pt x="13098" y="17583"/>
                        </a:lnTo>
                        <a:lnTo>
                          <a:pt x="11543" y="20634"/>
                        </a:lnTo>
                        <a:lnTo>
                          <a:pt x="9988" y="23684"/>
                        </a:lnTo>
                        <a:lnTo>
                          <a:pt x="9270" y="25119"/>
                        </a:lnTo>
                        <a:lnTo>
                          <a:pt x="6340" y="25418"/>
                        </a:lnTo>
                        <a:lnTo>
                          <a:pt x="3409" y="25717"/>
                        </a:lnTo>
                        <a:lnTo>
                          <a:pt x="478" y="26016"/>
                        </a:lnTo>
                        <a:lnTo>
                          <a:pt x="0" y="26076"/>
                        </a:lnTo>
                      </a:path>
                    </a:pathLst>
                  </a:custGeom>
                  <a:noFill/>
                  <a:ln w="6350" cap="flat">
                    <a:solidFill>
                      <a:schemeClr val="bg1">
                        <a:alpha val="40000"/>
                      </a:schemeClr>
                    </a:solidFill>
                    <a:prstDash val="solid"/>
                    <a:miter/>
                  </a:ln>
                </p:spPr>
                <p:txBody>
                  <a:bodyPr rtlCol="0" anchor="ctr"/>
                  <a:lstStyle/>
                  <a:p>
                    <a:endParaRPr lang="en-GB"/>
                  </a:p>
                </p:txBody>
              </p:sp>
              <p:sp>
                <p:nvSpPr>
                  <p:cNvPr id="7603" name="Vrije vorm: vorm 7602">
                    <a:extLst>
                      <a:ext uri="{FF2B5EF4-FFF2-40B4-BE49-F238E27FC236}">
                        <a16:creationId xmlns:a16="http://schemas.microsoft.com/office/drawing/2014/main" id="{9F5D9A53-C1B3-4962-A488-50071BF4738C}"/>
                      </a:ext>
                    </a:extLst>
                  </p:cNvPr>
                  <p:cNvSpPr/>
                  <p:nvPr/>
                </p:nvSpPr>
                <p:spPr>
                  <a:xfrm>
                    <a:off x="5863878" y="5117444"/>
                    <a:ext cx="7834" cy="8552"/>
                  </a:xfrm>
                  <a:custGeom>
                    <a:avLst/>
                    <a:gdLst>
                      <a:gd name="connsiteX0" fmla="*/ 1256 w 7834"/>
                      <a:gd name="connsiteY0" fmla="*/ 4665 h 8552"/>
                      <a:gd name="connsiteX1" fmla="*/ 479 w 7834"/>
                      <a:gd name="connsiteY1" fmla="*/ 1674 h 8552"/>
                      <a:gd name="connsiteX2" fmla="*/ 0 w 7834"/>
                      <a:gd name="connsiteY2" fmla="*/ 0 h 8552"/>
                      <a:gd name="connsiteX3" fmla="*/ 1914 w 7834"/>
                      <a:gd name="connsiteY3" fmla="*/ 2093 h 8552"/>
                      <a:gd name="connsiteX4" fmla="*/ 3828 w 7834"/>
                      <a:gd name="connsiteY4" fmla="*/ 4187 h 8552"/>
                      <a:gd name="connsiteX5" fmla="*/ 5741 w 7834"/>
                      <a:gd name="connsiteY5" fmla="*/ 6280 h 8552"/>
                      <a:gd name="connsiteX6" fmla="*/ 7655 w 7834"/>
                      <a:gd name="connsiteY6" fmla="*/ 8373 h 8552"/>
                      <a:gd name="connsiteX7" fmla="*/ 7835 w 7834"/>
                      <a:gd name="connsiteY7" fmla="*/ 8552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34" h="8552">
                        <a:moveTo>
                          <a:pt x="1256" y="4665"/>
                        </a:moveTo>
                        <a:lnTo>
                          <a:pt x="479" y="1674"/>
                        </a:lnTo>
                        <a:lnTo>
                          <a:pt x="0" y="0"/>
                        </a:lnTo>
                        <a:lnTo>
                          <a:pt x="1914" y="2093"/>
                        </a:lnTo>
                        <a:lnTo>
                          <a:pt x="3828" y="4187"/>
                        </a:lnTo>
                        <a:lnTo>
                          <a:pt x="5741" y="6280"/>
                        </a:lnTo>
                        <a:lnTo>
                          <a:pt x="7655" y="8373"/>
                        </a:lnTo>
                        <a:lnTo>
                          <a:pt x="7835" y="8552"/>
                        </a:lnTo>
                      </a:path>
                    </a:pathLst>
                  </a:custGeom>
                  <a:noFill/>
                  <a:ln w="6350" cap="flat">
                    <a:solidFill>
                      <a:schemeClr val="bg1">
                        <a:alpha val="40000"/>
                      </a:schemeClr>
                    </a:solidFill>
                    <a:prstDash val="solid"/>
                    <a:miter/>
                  </a:ln>
                </p:spPr>
                <p:txBody>
                  <a:bodyPr rtlCol="0" anchor="ctr"/>
                  <a:lstStyle/>
                  <a:p>
                    <a:endParaRPr lang="en-GB"/>
                  </a:p>
                </p:txBody>
              </p:sp>
              <p:sp>
                <p:nvSpPr>
                  <p:cNvPr id="7604" name="Vrije vorm: vorm 7603">
                    <a:extLst>
                      <a:ext uri="{FF2B5EF4-FFF2-40B4-BE49-F238E27FC236}">
                        <a16:creationId xmlns:a16="http://schemas.microsoft.com/office/drawing/2014/main" id="{4F7458CE-D15C-4EAD-9314-FBC8AF0AEFF8}"/>
                      </a:ext>
                    </a:extLst>
                  </p:cNvPr>
                  <p:cNvSpPr/>
                  <p:nvPr/>
                </p:nvSpPr>
                <p:spPr>
                  <a:xfrm>
                    <a:off x="5741931" y="5054587"/>
                    <a:ext cx="96648" cy="39054"/>
                  </a:xfrm>
                  <a:custGeom>
                    <a:avLst/>
                    <a:gdLst>
                      <a:gd name="connsiteX0" fmla="*/ 0 w 96648"/>
                      <a:gd name="connsiteY0" fmla="*/ 3170 h 39054"/>
                      <a:gd name="connsiteX1" fmla="*/ 1675 w 96648"/>
                      <a:gd name="connsiteY1" fmla="*/ 1256 h 39054"/>
                      <a:gd name="connsiteX2" fmla="*/ 4545 w 96648"/>
                      <a:gd name="connsiteY2" fmla="*/ 299 h 39054"/>
                      <a:gd name="connsiteX3" fmla="*/ 4904 w 96648"/>
                      <a:gd name="connsiteY3" fmla="*/ 180 h 39054"/>
                      <a:gd name="connsiteX4" fmla="*/ 7775 w 96648"/>
                      <a:gd name="connsiteY4" fmla="*/ 60 h 39054"/>
                      <a:gd name="connsiteX5" fmla="*/ 9629 w 96648"/>
                      <a:gd name="connsiteY5" fmla="*/ 0 h 39054"/>
                      <a:gd name="connsiteX6" fmla="*/ 12440 w 96648"/>
                      <a:gd name="connsiteY6" fmla="*/ 359 h 39054"/>
                      <a:gd name="connsiteX7" fmla="*/ 15251 w 96648"/>
                      <a:gd name="connsiteY7" fmla="*/ 718 h 39054"/>
                      <a:gd name="connsiteX8" fmla="*/ 15789 w 96648"/>
                      <a:gd name="connsiteY8" fmla="*/ 778 h 39054"/>
                      <a:gd name="connsiteX9" fmla="*/ 18540 w 96648"/>
                      <a:gd name="connsiteY9" fmla="*/ 1375 h 39054"/>
                      <a:gd name="connsiteX10" fmla="*/ 21291 w 96648"/>
                      <a:gd name="connsiteY10" fmla="*/ 1974 h 39054"/>
                      <a:gd name="connsiteX11" fmla="*/ 23325 w 96648"/>
                      <a:gd name="connsiteY11" fmla="*/ 2452 h 39054"/>
                      <a:gd name="connsiteX12" fmla="*/ 26016 w 96648"/>
                      <a:gd name="connsiteY12" fmla="*/ 3229 h 39054"/>
                      <a:gd name="connsiteX13" fmla="*/ 28707 w 96648"/>
                      <a:gd name="connsiteY13" fmla="*/ 4007 h 39054"/>
                      <a:gd name="connsiteX14" fmla="*/ 31399 w 96648"/>
                      <a:gd name="connsiteY14" fmla="*/ 4785 h 39054"/>
                      <a:gd name="connsiteX15" fmla="*/ 31997 w 96648"/>
                      <a:gd name="connsiteY15" fmla="*/ 4964 h 39054"/>
                      <a:gd name="connsiteX16" fmla="*/ 34628 w 96648"/>
                      <a:gd name="connsiteY16" fmla="*/ 5921 h 39054"/>
                      <a:gd name="connsiteX17" fmla="*/ 37260 w 96648"/>
                      <a:gd name="connsiteY17" fmla="*/ 6878 h 39054"/>
                      <a:gd name="connsiteX18" fmla="*/ 39891 w 96648"/>
                      <a:gd name="connsiteY18" fmla="*/ 7835 h 39054"/>
                      <a:gd name="connsiteX19" fmla="*/ 41566 w 96648"/>
                      <a:gd name="connsiteY19" fmla="*/ 8433 h 39054"/>
                      <a:gd name="connsiteX20" fmla="*/ 44138 w 96648"/>
                      <a:gd name="connsiteY20" fmla="*/ 9510 h 39054"/>
                      <a:gd name="connsiteX21" fmla="*/ 46709 w 96648"/>
                      <a:gd name="connsiteY21" fmla="*/ 10586 h 39054"/>
                      <a:gd name="connsiteX22" fmla="*/ 49281 w 96648"/>
                      <a:gd name="connsiteY22" fmla="*/ 11662 h 39054"/>
                      <a:gd name="connsiteX23" fmla="*/ 51674 w 96648"/>
                      <a:gd name="connsiteY23" fmla="*/ 12679 h 39054"/>
                      <a:gd name="connsiteX24" fmla="*/ 54185 w 96648"/>
                      <a:gd name="connsiteY24" fmla="*/ 13875 h 39054"/>
                      <a:gd name="connsiteX25" fmla="*/ 56697 w 96648"/>
                      <a:gd name="connsiteY25" fmla="*/ 15072 h 39054"/>
                      <a:gd name="connsiteX26" fmla="*/ 59209 w 96648"/>
                      <a:gd name="connsiteY26" fmla="*/ 16267 h 39054"/>
                      <a:gd name="connsiteX27" fmla="*/ 61721 w 96648"/>
                      <a:gd name="connsiteY27" fmla="*/ 17464 h 39054"/>
                      <a:gd name="connsiteX28" fmla="*/ 61960 w 96648"/>
                      <a:gd name="connsiteY28" fmla="*/ 17583 h 39054"/>
                      <a:gd name="connsiteX29" fmla="*/ 64412 w 96648"/>
                      <a:gd name="connsiteY29" fmla="*/ 18899 h 39054"/>
                      <a:gd name="connsiteX30" fmla="*/ 66864 w 96648"/>
                      <a:gd name="connsiteY30" fmla="*/ 20215 h 39054"/>
                      <a:gd name="connsiteX31" fmla="*/ 69317 w 96648"/>
                      <a:gd name="connsiteY31" fmla="*/ 21530 h 39054"/>
                      <a:gd name="connsiteX32" fmla="*/ 71769 w 96648"/>
                      <a:gd name="connsiteY32" fmla="*/ 22846 h 39054"/>
                      <a:gd name="connsiteX33" fmla="*/ 72128 w 96648"/>
                      <a:gd name="connsiteY33" fmla="*/ 23026 h 39054"/>
                      <a:gd name="connsiteX34" fmla="*/ 74520 w 96648"/>
                      <a:gd name="connsiteY34" fmla="*/ 24401 h 39054"/>
                      <a:gd name="connsiteX35" fmla="*/ 76912 w 96648"/>
                      <a:gd name="connsiteY35" fmla="*/ 25777 h 39054"/>
                      <a:gd name="connsiteX36" fmla="*/ 79304 w 96648"/>
                      <a:gd name="connsiteY36" fmla="*/ 27152 h 39054"/>
                      <a:gd name="connsiteX37" fmla="*/ 81756 w 96648"/>
                      <a:gd name="connsiteY37" fmla="*/ 28588 h 39054"/>
                      <a:gd name="connsiteX38" fmla="*/ 84448 w 96648"/>
                      <a:gd name="connsiteY38" fmla="*/ 29365 h 39054"/>
                      <a:gd name="connsiteX39" fmla="*/ 87139 w 96648"/>
                      <a:gd name="connsiteY39" fmla="*/ 30143 h 39054"/>
                      <a:gd name="connsiteX40" fmla="*/ 89831 w 96648"/>
                      <a:gd name="connsiteY40" fmla="*/ 30920 h 39054"/>
                      <a:gd name="connsiteX41" fmla="*/ 92522 w 96648"/>
                      <a:gd name="connsiteY41" fmla="*/ 31698 h 39054"/>
                      <a:gd name="connsiteX42" fmla="*/ 95213 w 96648"/>
                      <a:gd name="connsiteY42" fmla="*/ 32475 h 39054"/>
                      <a:gd name="connsiteX43" fmla="*/ 96649 w 96648"/>
                      <a:gd name="connsiteY43" fmla="*/ 32894 h 39054"/>
                      <a:gd name="connsiteX44" fmla="*/ 95094 w 96648"/>
                      <a:gd name="connsiteY44" fmla="*/ 35944 h 39054"/>
                      <a:gd name="connsiteX45" fmla="*/ 93539 w 96648"/>
                      <a:gd name="connsiteY45" fmla="*/ 39054 h 3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6648" h="39054">
                        <a:moveTo>
                          <a:pt x="0" y="3170"/>
                        </a:moveTo>
                        <a:lnTo>
                          <a:pt x="1675" y="1256"/>
                        </a:lnTo>
                        <a:lnTo>
                          <a:pt x="4545" y="299"/>
                        </a:lnTo>
                        <a:lnTo>
                          <a:pt x="4904" y="180"/>
                        </a:lnTo>
                        <a:lnTo>
                          <a:pt x="7775" y="60"/>
                        </a:lnTo>
                        <a:lnTo>
                          <a:pt x="9629" y="0"/>
                        </a:lnTo>
                        <a:lnTo>
                          <a:pt x="12440" y="359"/>
                        </a:lnTo>
                        <a:lnTo>
                          <a:pt x="15251" y="718"/>
                        </a:lnTo>
                        <a:lnTo>
                          <a:pt x="15789" y="778"/>
                        </a:lnTo>
                        <a:lnTo>
                          <a:pt x="18540" y="1375"/>
                        </a:lnTo>
                        <a:lnTo>
                          <a:pt x="21291" y="1974"/>
                        </a:lnTo>
                        <a:lnTo>
                          <a:pt x="23325" y="2452"/>
                        </a:lnTo>
                        <a:lnTo>
                          <a:pt x="26016" y="3229"/>
                        </a:lnTo>
                        <a:lnTo>
                          <a:pt x="28707" y="4007"/>
                        </a:lnTo>
                        <a:lnTo>
                          <a:pt x="31399" y="4785"/>
                        </a:lnTo>
                        <a:lnTo>
                          <a:pt x="31997" y="4964"/>
                        </a:lnTo>
                        <a:lnTo>
                          <a:pt x="34628" y="5921"/>
                        </a:lnTo>
                        <a:lnTo>
                          <a:pt x="37260" y="6878"/>
                        </a:lnTo>
                        <a:lnTo>
                          <a:pt x="39891" y="7835"/>
                        </a:lnTo>
                        <a:lnTo>
                          <a:pt x="41566" y="8433"/>
                        </a:lnTo>
                        <a:lnTo>
                          <a:pt x="44138" y="9510"/>
                        </a:lnTo>
                        <a:lnTo>
                          <a:pt x="46709" y="10586"/>
                        </a:lnTo>
                        <a:lnTo>
                          <a:pt x="49281" y="11662"/>
                        </a:lnTo>
                        <a:lnTo>
                          <a:pt x="51674" y="12679"/>
                        </a:lnTo>
                        <a:lnTo>
                          <a:pt x="54185" y="13875"/>
                        </a:lnTo>
                        <a:lnTo>
                          <a:pt x="56697" y="15072"/>
                        </a:lnTo>
                        <a:lnTo>
                          <a:pt x="59209" y="16267"/>
                        </a:lnTo>
                        <a:lnTo>
                          <a:pt x="61721" y="17464"/>
                        </a:lnTo>
                        <a:lnTo>
                          <a:pt x="61960" y="17583"/>
                        </a:lnTo>
                        <a:lnTo>
                          <a:pt x="64412" y="18899"/>
                        </a:lnTo>
                        <a:lnTo>
                          <a:pt x="66864" y="20215"/>
                        </a:lnTo>
                        <a:lnTo>
                          <a:pt x="69317" y="21530"/>
                        </a:lnTo>
                        <a:lnTo>
                          <a:pt x="71769" y="22846"/>
                        </a:lnTo>
                        <a:lnTo>
                          <a:pt x="72128" y="23026"/>
                        </a:lnTo>
                        <a:lnTo>
                          <a:pt x="74520" y="24401"/>
                        </a:lnTo>
                        <a:lnTo>
                          <a:pt x="76912" y="25777"/>
                        </a:lnTo>
                        <a:lnTo>
                          <a:pt x="79304" y="27152"/>
                        </a:lnTo>
                        <a:lnTo>
                          <a:pt x="81756" y="28588"/>
                        </a:lnTo>
                        <a:lnTo>
                          <a:pt x="84448" y="29365"/>
                        </a:lnTo>
                        <a:lnTo>
                          <a:pt x="87139" y="30143"/>
                        </a:lnTo>
                        <a:lnTo>
                          <a:pt x="89831" y="30920"/>
                        </a:lnTo>
                        <a:lnTo>
                          <a:pt x="92522" y="31698"/>
                        </a:lnTo>
                        <a:lnTo>
                          <a:pt x="95213" y="32475"/>
                        </a:lnTo>
                        <a:lnTo>
                          <a:pt x="96649" y="32894"/>
                        </a:lnTo>
                        <a:lnTo>
                          <a:pt x="95094" y="35944"/>
                        </a:lnTo>
                        <a:lnTo>
                          <a:pt x="93539" y="39054"/>
                        </a:lnTo>
                      </a:path>
                    </a:pathLst>
                  </a:custGeom>
                  <a:noFill/>
                  <a:ln w="6350" cap="flat">
                    <a:solidFill>
                      <a:schemeClr val="bg1">
                        <a:alpha val="40000"/>
                      </a:schemeClr>
                    </a:solidFill>
                    <a:prstDash val="solid"/>
                    <a:miter/>
                  </a:ln>
                </p:spPr>
                <p:txBody>
                  <a:bodyPr rtlCol="0" anchor="ctr"/>
                  <a:lstStyle/>
                  <a:p>
                    <a:endParaRPr lang="en-GB"/>
                  </a:p>
                </p:txBody>
              </p:sp>
              <p:sp>
                <p:nvSpPr>
                  <p:cNvPr id="7605" name="Vrije vorm: vorm 7604">
                    <a:extLst>
                      <a:ext uri="{FF2B5EF4-FFF2-40B4-BE49-F238E27FC236}">
                        <a16:creationId xmlns:a16="http://schemas.microsoft.com/office/drawing/2014/main" id="{773B3EA9-AE68-4A39-ACD9-D5C93A44B2E5}"/>
                      </a:ext>
                    </a:extLst>
                  </p:cNvPr>
                  <p:cNvSpPr/>
                  <p:nvPr/>
                </p:nvSpPr>
                <p:spPr>
                  <a:xfrm>
                    <a:off x="5739001" y="5060329"/>
                    <a:ext cx="124757" cy="69555"/>
                  </a:xfrm>
                  <a:custGeom>
                    <a:avLst/>
                    <a:gdLst>
                      <a:gd name="connsiteX0" fmla="*/ 0 w 124757"/>
                      <a:gd name="connsiteY0" fmla="*/ 5382 h 69555"/>
                      <a:gd name="connsiteX1" fmla="*/ 179 w 124757"/>
                      <a:gd name="connsiteY1" fmla="*/ 2871 h 69555"/>
                      <a:gd name="connsiteX2" fmla="*/ 1854 w 124757"/>
                      <a:gd name="connsiteY2" fmla="*/ 1076 h 69555"/>
                      <a:gd name="connsiteX3" fmla="*/ 2273 w 124757"/>
                      <a:gd name="connsiteY3" fmla="*/ 957 h 69555"/>
                      <a:gd name="connsiteX4" fmla="*/ 5024 w 124757"/>
                      <a:gd name="connsiteY4" fmla="*/ 119 h 69555"/>
                      <a:gd name="connsiteX5" fmla="*/ 7895 w 124757"/>
                      <a:gd name="connsiteY5" fmla="*/ 60 h 69555"/>
                      <a:gd name="connsiteX6" fmla="*/ 9689 w 124757"/>
                      <a:gd name="connsiteY6" fmla="*/ 0 h 69555"/>
                      <a:gd name="connsiteX7" fmla="*/ 12500 w 124757"/>
                      <a:gd name="connsiteY7" fmla="*/ 359 h 69555"/>
                      <a:gd name="connsiteX8" fmla="*/ 15311 w 124757"/>
                      <a:gd name="connsiteY8" fmla="*/ 718 h 69555"/>
                      <a:gd name="connsiteX9" fmla="*/ 15849 w 124757"/>
                      <a:gd name="connsiteY9" fmla="*/ 778 h 69555"/>
                      <a:gd name="connsiteX10" fmla="*/ 18600 w 124757"/>
                      <a:gd name="connsiteY10" fmla="*/ 1435 h 69555"/>
                      <a:gd name="connsiteX11" fmla="*/ 21351 w 124757"/>
                      <a:gd name="connsiteY11" fmla="*/ 2093 h 69555"/>
                      <a:gd name="connsiteX12" fmla="*/ 23384 w 124757"/>
                      <a:gd name="connsiteY12" fmla="*/ 2572 h 69555"/>
                      <a:gd name="connsiteX13" fmla="*/ 26076 w 124757"/>
                      <a:gd name="connsiteY13" fmla="*/ 3409 h 69555"/>
                      <a:gd name="connsiteX14" fmla="*/ 28767 w 124757"/>
                      <a:gd name="connsiteY14" fmla="*/ 4246 h 69555"/>
                      <a:gd name="connsiteX15" fmla="*/ 31459 w 124757"/>
                      <a:gd name="connsiteY15" fmla="*/ 5083 h 69555"/>
                      <a:gd name="connsiteX16" fmla="*/ 32057 w 124757"/>
                      <a:gd name="connsiteY16" fmla="*/ 5263 h 69555"/>
                      <a:gd name="connsiteX17" fmla="*/ 34688 w 124757"/>
                      <a:gd name="connsiteY17" fmla="*/ 6220 h 69555"/>
                      <a:gd name="connsiteX18" fmla="*/ 37320 w 124757"/>
                      <a:gd name="connsiteY18" fmla="*/ 7177 h 69555"/>
                      <a:gd name="connsiteX19" fmla="*/ 39951 w 124757"/>
                      <a:gd name="connsiteY19" fmla="*/ 8134 h 69555"/>
                      <a:gd name="connsiteX20" fmla="*/ 41626 w 124757"/>
                      <a:gd name="connsiteY20" fmla="*/ 8732 h 69555"/>
                      <a:gd name="connsiteX21" fmla="*/ 44198 w 124757"/>
                      <a:gd name="connsiteY21" fmla="*/ 9808 h 69555"/>
                      <a:gd name="connsiteX22" fmla="*/ 46769 w 124757"/>
                      <a:gd name="connsiteY22" fmla="*/ 10885 h 69555"/>
                      <a:gd name="connsiteX23" fmla="*/ 49341 w 124757"/>
                      <a:gd name="connsiteY23" fmla="*/ 11961 h 69555"/>
                      <a:gd name="connsiteX24" fmla="*/ 51733 w 124757"/>
                      <a:gd name="connsiteY24" fmla="*/ 12978 h 69555"/>
                      <a:gd name="connsiteX25" fmla="*/ 54245 w 124757"/>
                      <a:gd name="connsiteY25" fmla="*/ 14174 h 69555"/>
                      <a:gd name="connsiteX26" fmla="*/ 56757 w 124757"/>
                      <a:gd name="connsiteY26" fmla="*/ 15370 h 69555"/>
                      <a:gd name="connsiteX27" fmla="*/ 59269 w 124757"/>
                      <a:gd name="connsiteY27" fmla="*/ 16566 h 69555"/>
                      <a:gd name="connsiteX28" fmla="*/ 61781 w 124757"/>
                      <a:gd name="connsiteY28" fmla="*/ 17763 h 69555"/>
                      <a:gd name="connsiteX29" fmla="*/ 62020 w 124757"/>
                      <a:gd name="connsiteY29" fmla="*/ 17882 h 69555"/>
                      <a:gd name="connsiteX30" fmla="*/ 64472 w 124757"/>
                      <a:gd name="connsiteY30" fmla="*/ 19198 h 69555"/>
                      <a:gd name="connsiteX31" fmla="*/ 66924 w 124757"/>
                      <a:gd name="connsiteY31" fmla="*/ 20514 h 69555"/>
                      <a:gd name="connsiteX32" fmla="*/ 69376 w 124757"/>
                      <a:gd name="connsiteY32" fmla="*/ 21829 h 69555"/>
                      <a:gd name="connsiteX33" fmla="*/ 71829 w 124757"/>
                      <a:gd name="connsiteY33" fmla="*/ 23145 h 69555"/>
                      <a:gd name="connsiteX34" fmla="*/ 72187 w 124757"/>
                      <a:gd name="connsiteY34" fmla="*/ 23325 h 69555"/>
                      <a:gd name="connsiteX35" fmla="*/ 74579 w 124757"/>
                      <a:gd name="connsiteY35" fmla="*/ 24700 h 69555"/>
                      <a:gd name="connsiteX36" fmla="*/ 76972 w 124757"/>
                      <a:gd name="connsiteY36" fmla="*/ 26076 h 69555"/>
                      <a:gd name="connsiteX37" fmla="*/ 79364 w 124757"/>
                      <a:gd name="connsiteY37" fmla="*/ 27451 h 69555"/>
                      <a:gd name="connsiteX38" fmla="*/ 81816 w 124757"/>
                      <a:gd name="connsiteY38" fmla="*/ 28887 h 69555"/>
                      <a:gd name="connsiteX39" fmla="*/ 84508 w 124757"/>
                      <a:gd name="connsiteY39" fmla="*/ 29664 h 69555"/>
                      <a:gd name="connsiteX40" fmla="*/ 87199 w 124757"/>
                      <a:gd name="connsiteY40" fmla="*/ 30442 h 69555"/>
                      <a:gd name="connsiteX41" fmla="*/ 89890 w 124757"/>
                      <a:gd name="connsiteY41" fmla="*/ 31219 h 69555"/>
                      <a:gd name="connsiteX42" fmla="*/ 92581 w 124757"/>
                      <a:gd name="connsiteY42" fmla="*/ 31997 h 69555"/>
                      <a:gd name="connsiteX43" fmla="*/ 95273 w 124757"/>
                      <a:gd name="connsiteY43" fmla="*/ 32774 h 69555"/>
                      <a:gd name="connsiteX44" fmla="*/ 96708 w 124757"/>
                      <a:gd name="connsiteY44" fmla="*/ 33193 h 69555"/>
                      <a:gd name="connsiteX45" fmla="*/ 98682 w 124757"/>
                      <a:gd name="connsiteY45" fmla="*/ 35226 h 69555"/>
                      <a:gd name="connsiteX46" fmla="*/ 100656 w 124757"/>
                      <a:gd name="connsiteY46" fmla="*/ 37260 h 69555"/>
                      <a:gd name="connsiteX47" fmla="*/ 102629 w 124757"/>
                      <a:gd name="connsiteY47" fmla="*/ 39293 h 69555"/>
                      <a:gd name="connsiteX48" fmla="*/ 104603 w 124757"/>
                      <a:gd name="connsiteY48" fmla="*/ 41327 h 69555"/>
                      <a:gd name="connsiteX49" fmla="*/ 106577 w 124757"/>
                      <a:gd name="connsiteY49" fmla="*/ 43360 h 69555"/>
                      <a:gd name="connsiteX50" fmla="*/ 108550 w 124757"/>
                      <a:gd name="connsiteY50" fmla="*/ 45393 h 69555"/>
                      <a:gd name="connsiteX51" fmla="*/ 110524 w 124757"/>
                      <a:gd name="connsiteY51" fmla="*/ 47427 h 69555"/>
                      <a:gd name="connsiteX52" fmla="*/ 112497 w 124757"/>
                      <a:gd name="connsiteY52" fmla="*/ 49460 h 69555"/>
                      <a:gd name="connsiteX53" fmla="*/ 114471 w 124757"/>
                      <a:gd name="connsiteY53" fmla="*/ 51494 h 69555"/>
                      <a:gd name="connsiteX54" fmla="*/ 116444 w 124757"/>
                      <a:gd name="connsiteY54" fmla="*/ 53527 h 69555"/>
                      <a:gd name="connsiteX55" fmla="*/ 118418 w 124757"/>
                      <a:gd name="connsiteY55" fmla="*/ 55561 h 69555"/>
                      <a:gd name="connsiteX56" fmla="*/ 120392 w 124757"/>
                      <a:gd name="connsiteY56" fmla="*/ 57594 h 69555"/>
                      <a:gd name="connsiteX57" fmla="*/ 122366 w 124757"/>
                      <a:gd name="connsiteY57" fmla="*/ 59628 h 69555"/>
                      <a:gd name="connsiteX58" fmla="*/ 123502 w 124757"/>
                      <a:gd name="connsiteY58" fmla="*/ 60824 h 69555"/>
                      <a:gd name="connsiteX59" fmla="*/ 124339 w 124757"/>
                      <a:gd name="connsiteY59" fmla="*/ 63754 h 69555"/>
                      <a:gd name="connsiteX60" fmla="*/ 124579 w 124757"/>
                      <a:gd name="connsiteY60" fmla="*/ 64652 h 69555"/>
                      <a:gd name="connsiteX61" fmla="*/ 124698 w 124757"/>
                      <a:gd name="connsiteY61" fmla="*/ 65190 h 69555"/>
                      <a:gd name="connsiteX62" fmla="*/ 124758 w 124757"/>
                      <a:gd name="connsiteY62" fmla="*/ 65369 h 69555"/>
                      <a:gd name="connsiteX63" fmla="*/ 124160 w 124757"/>
                      <a:gd name="connsiteY63" fmla="*/ 66386 h 69555"/>
                      <a:gd name="connsiteX64" fmla="*/ 122964 w 124757"/>
                      <a:gd name="connsiteY64" fmla="*/ 68300 h 69555"/>
                      <a:gd name="connsiteX65" fmla="*/ 120033 w 124757"/>
                      <a:gd name="connsiteY65" fmla="*/ 69077 h 69555"/>
                      <a:gd name="connsiteX66" fmla="*/ 118299 w 124757"/>
                      <a:gd name="connsiteY66" fmla="*/ 69556 h 69555"/>
                      <a:gd name="connsiteX67" fmla="*/ 115428 w 124757"/>
                      <a:gd name="connsiteY67" fmla="*/ 69436 h 69555"/>
                      <a:gd name="connsiteX68" fmla="*/ 112557 w 124757"/>
                      <a:gd name="connsiteY68" fmla="*/ 69316 h 69555"/>
                      <a:gd name="connsiteX69" fmla="*/ 111241 w 124757"/>
                      <a:gd name="connsiteY69" fmla="*/ 69256 h 69555"/>
                      <a:gd name="connsiteX70" fmla="*/ 108490 w 124757"/>
                      <a:gd name="connsiteY70" fmla="*/ 68718 h 69555"/>
                      <a:gd name="connsiteX71" fmla="*/ 105739 w 124757"/>
                      <a:gd name="connsiteY71" fmla="*/ 68180 h 69555"/>
                      <a:gd name="connsiteX72" fmla="*/ 102988 w 124757"/>
                      <a:gd name="connsiteY72" fmla="*/ 67642 h 69555"/>
                      <a:gd name="connsiteX73" fmla="*/ 102450 w 124757"/>
                      <a:gd name="connsiteY73" fmla="*/ 67522 h 6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4757" h="69555">
                        <a:moveTo>
                          <a:pt x="0" y="5382"/>
                        </a:moveTo>
                        <a:lnTo>
                          <a:pt x="179" y="2871"/>
                        </a:lnTo>
                        <a:lnTo>
                          <a:pt x="1854" y="1076"/>
                        </a:lnTo>
                        <a:lnTo>
                          <a:pt x="2273" y="957"/>
                        </a:lnTo>
                        <a:lnTo>
                          <a:pt x="5024" y="119"/>
                        </a:lnTo>
                        <a:lnTo>
                          <a:pt x="7895" y="60"/>
                        </a:lnTo>
                        <a:lnTo>
                          <a:pt x="9689" y="0"/>
                        </a:lnTo>
                        <a:lnTo>
                          <a:pt x="12500" y="359"/>
                        </a:lnTo>
                        <a:lnTo>
                          <a:pt x="15311" y="718"/>
                        </a:lnTo>
                        <a:lnTo>
                          <a:pt x="15849" y="778"/>
                        </a:lnTo>
                        <a:lnTo>
                          <a:pt x="18600" y="1435"/>
                        </a:lnTo>
                        <a:lnTo>
                          <a:pt x="21351" y="2093"/>
                        </a:lnTo>
                        <a:lnTo>
                          <a:pt x="23384" y="2572"/>
                        </a:lnTo>
                        <a:lnTo>
                          <a:pt x="26076" y="3409"/>
                        </a:lnTo>
                        <a:lnTo>
                          <a:pt x="28767" y="4246"/>
                        </a:lnTo>
                        <a:lnTo>
                          <a:pt x="31459" y="5083"/>
                        </a:lnTo>
                        <a:lnTo>
                          <a:pt x="32057" y="5263"/>
                        </a:lnTo>
                        <a:lnTo>
                          <a:pt x="34688" y="6220"/>
                        </a:lnTo>
                        <a:lnTo>
                          <a:pt x="37320" y="7177"/>
                        </a:lnTo>
                        <a:lnTo>
                          <a:pt x="39951" y="8134"/>
                        </a:lnTo>
                        <a:lnTo>
                          <a:pt x="41626" y="8732"/>
                        </a:lnTo>
                        <a:lnTo>
                          <a:pt x="44198" y="9808"/>
                        </a:lnTo>
                        <a:lnTo>
                          <a:pt x="46769" y="10885"/>
                        </a:lnTo>
                        <a:lnTo>
                          <a:pt x="49341" y="11961"/>
                        </a:lnTo>
                        <a:lnTo>
                          <a:pt x="51733" y="12978"/>
                        </a:lnTo>
                        <a:lnTo>
                          <a:pt x="54245" y="14174"/>
                        </a:lnTo>
                        <a:lnTo>
                          <a:pt x="56757" y="15370"/>
                        </a:lnTo>
                        <a:lnTo>
                          <a:pt x="59269" y="16566"/>
                        </a:lnTo>
                        <a:lnTo>
                          <a:pt x="61781" y="17763"/>
                        </a:lnTo>
                        <a:lnTo>
                          <a:pt x="62020" y="17882"/>
                        </a:lnTo>
                        <a:lnTo>
                          <a:pt x="64472" y="19198"/>
                        </a:lnTo>
                        <a:lnTo>
                          <a:pt x="66924" y="20514"/>
                        </a:lnTo>
                        <a:lnTo>
                          <a:pt x="69376" y="21829"/>
                        </a:lnTo>
                        <a:lnTo>
                          <a:pt x="71829" y="23145"/>
                        </a:lnTo>
                        <a:lnTo>
                          <a:pt x="72187" y="23325"/>
                        </a:lnTo>
                        <a:lnTo>
                          <a:pt x="74579" y="24700"/>
                        </a:lnTo>
                        <a:lnTo>
                          <a:pt x="76972" y="26076"/>
                        </a:lnTo>
                        <a:lnTo>
                          <a:pt x="79364" y="27451"/>
                        </a:lnTo>
                        <a:lnTo>
                          <a:pt x="81816" y="28887"/>
                        </a:lnTo>
                        <a:lnTo>
                          <a:pt x="84508" y="29664"/>
                        </a:lnTo>
                        <a:lnTo>
                          <a:pt x="87199" y="30442"/>
                        </a:lnTo>
                        <a:lnTo>
                          <a:pt x="89890" y="31219"/>
                        </a:lnTo>
                        <a:lnTo>
                          <a:pt x="92581" y="31997"/>
                        </a:lnTo>
                        <a:lnTo>
                          <a:pt x="95273" y="32774"/>
                        </a:lnTo>
                        <a:lnTo>
                          <a:pt x="96708" y="33193"/>
                        </a:lnTo>
                        <a:lnTo>
                          <a:pt x="98682" y="35226"/>
                        </a:lnTo>
                        <a:lnTo>
                          <a:pt x="100656" y="37260"/>
                        </a:lnTo>
                        <a:lnTo>
                          <a:pt x="102629" y="39293"/>
                        </a:lnTo>
                        <a:lnTo>
                          <a:pt x="104603" y="41327"/>
                        </a:lnTo>
                        <a:lnTo>
                          <a:pt x="106577" y="43360"/>
                        </a:lnTo>
                        <a:lnTo>
                          <a:pt x="108550" y="45393"/>
                        </a:lnTo>
                        <a:lnTo>
                          <a:pt x="110524" y="47427"/>
                        </a:lnTo>
                        <a:lnTo>
                          <a:pt x="112497" y="49460"/>
                        </a:lnTo>
                        <a:lnTo>
                          <a:pt x="114471" y="51494"/>
                        </a:lnTo>
                        <a:lnTo>
                          <a:pt x="116444" y="53527"/>
                        </a:lnTo>
                        <a:lnTo>
                          <a:pt x="118418" y="55561"/>
                        </a:lnTo>
                        <a:lnTo>
                          <a:pt x="120392" y="57594"/>
                        </a:lnTo>
                        <a:lnTo>
                          <a:pt x="122366" y="59628"/>
                        </a:lnTo>
                        <a:lnTo>
                          <a:pt x="123502" y="60824"/>
                        </a:lnTo>
                        <a:lnTo>
                          <a:pt x="124339" y="63754"/>
                        </a:lnTo>
                        <a:lnTo>
                          <a:pt x="124579" y="64652"/>
                        </a:lnTo>
                        <a:lnTo>
                          <a:pt x="124698" y="65190"/>
                        </a:lnTo>
                        <a:lnTo>
                          <a:pt x="124758" y="65369"/>
                        </a:lnTo>
                        <a:lnTo>
                          <a:pt x="124160" y="66386"/>
                        </a:lnTo>
                        <a:lnTo>
                          <a:pt x="122964" y="68300"/>
                        </a:lnTo>
                        <a:lnTo>
                          <a:pt x="120033" y="69077"/>
                        </a:lnTo>
                        <a:lnTo>
                          <a:pt x="118299" y="69556"/>
                        </a:lnTo>
                        <a:lnTo>
                          <a:pt x="115428" y="69436"/>
                        </a:lnTo>
                        <a:lnTo>
                          <a:pt x="112557" y="69316"/>
                        </a:lnTo>
                        <a:lnTo>
                          <a:pt x="111241" y="69256"/>
                        </a:lnTo>
                        <a:lnTo>
                          <a:pt x="108490" y="68718"/>
                        </a:lnTo>
                        <a:lnTo>
                          <a:pt x="105739" y="68180"/>
                        </a:lnTo>
                        <a:lnTo>
                          <a:pt x="102988" y="67642"/>
                        </a:lnTo>
                        <a:lnTo>
                          <a:pt x="102450" y="67522"/>
                        </a:lnTo>
                      </a:path>
                    </a:pathLst>
                  </a:custGeom>
                  <a:noFill/>
                  <a:ln w="6350" cap="flat">
                    <a:solidFill>
                      <a:schemeClr val="bg1">
                        <a:alpha val="40000"/>
                      </a:schemeClr>
                    </a:solidFill>
                    <a:prstDash val="solid"/>
                    <a:miter/>
                  </a:ln>
                </p:spPr>
                <p:txBody>
                  <a:bodyPr rtlCol="0" anchor="ctr"/>
                  <a:lstStyle/>
                  <a:p>
                    <a:endParaRPr lang="en-GB"/>
                  </a:p>
                </p:txBody>
              </p:sp>
              <p:sp>
                <p:nvSpPr>
                  <p:cNvPr id="7606" name="Vrije vorm: vorm 7605">
                    <a:extLst>
                      <a:ext uri="{FF2B5EF4-FFF2-40B4-BE49-F238E27FC236}">
                        <a16:creationId xmlns:a16="http://schemas.microsoft.com/office/drawing/2014/main" id="{71AF0B3B-2434-4BF9-821B-5E5B749A2080}"/>
                      </a:ext>
                    </a:extLst>
                  </p:cNvPr>
                  <p:cNvSpPr/>
                  <p:nvPr/>
                </p:nvSpPr>
                <p:spPr>
                  <a:xfrm>
                    <a:off x="5884512" y="5100758"/>
                    <a:ext cx="12080" cy="14832"/>
                  </a:xfrm>
                  <a:custGeom>
                    <a:avLst/>
                    <a:gdLst>
                      <a:gd name="connsiteX0" fmla="*/ 0 w 12080"/>
                      <a:gd name="connsiteY0" fmla="*/ 0 h 14832"/>
                      <a:gd name="connsiteX1" fmla="*/ 1794 w 12080"/>
                      <a:gd name="connsiteY1" fmla="*/ 2213 h 14832"/>
                      <a:gd name="connsiteX2" fmla="*/ 3469 w 12080"/>
                      <a:gd name="connsiteY2" fmla="*/ 4246 h 14832"/>
                      <a:gd name="connsiteX3" fmla="*/ 5263 w 12080"/>
                      <a:gd name="connsiteY3" fmla="*/ 6459 h 14832"/>
                      <a:gd name="connsiteX4" fmla="*/ 7057 w 12080"/>
                      <a:gd name="connsiteY4" fmla="*/ 8672 h 14832"/>
                      <a:gd name="connsiteX5" fmla="*/ 8851 w 12080"/>
                      <a:gd name="connsiteY5" fmla="*/ 10885 h 14832"/>
                      <a:gd name="connsiteX6" fmla="*/ 10645 w 12080"/>
                      <a:gd name="connsiteY6" fmla="*/ 13098 h 14832"/>
                      <a:gd name="connsiteX7" fmla="*/ 12081 w 12080"/>
                      <a:gd name="connsiteY7" fmla="*/ 14832 h 1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80" h="14832">
                        <a:moveTo>
                          <a:pt x="0" y="0"/>
                        </a:moveTo>
                        <a:lnTo>
                          <a:pt x="1794" y="2213"/>
                        </a:lnTo>
                        <a:lnTo>
                          <a:pt x="3469" y="4246"/>
                        </a:lnTo>
                        <a:lnTo>
                          <a:pt x="5263" y="6459"/>
                        </a:lnTo>
                        <a:lnTo>
                          <a:pt x="7057" y="8672"/>
                        </a:lnTo>
                        <a:lnTo>
                          <a:pt x="8851" y="10885"/>
                        </a:lnTo>
                        <a:lnTo>
                          <a:pt x="10645" y="13098"/>
                        </a:lnTo>
                        <a:lnTo>
                          <a:pt x="12081" y="14832"/>
                        </a:lnTo>
                      </a:path>
                    </a:pathLst>
                  </a:custGeom>
                  <a:noFill/>
                  <a:ln w="6350" cap="flat">
                    <a:solidFill>
                      <a:schemeClr val="bg1">
                        <a:alpha val="40000"/>
                      </a:schemeClr>
                    </a:solidFill>
                    <a:prstDash val="solid"/>
                    <a:miter/>
                  </a:ln>
                </p:spPr>
                <p:txBody>
                  <a:bodyPr rtlCol="0" anchor="ctr"/>
                  <a:lstStyle/>
                  <a:p>
                    <a:endParaRPr lang="en-GB"/>
                  </a:p>
                </p:txBody>
              </p:sp>
              <p:sp>
                <p:nvSpPr>
                  <p:cNvPr id="7607" name="Vrije vorm: vorm 7606">
                    <a:extLst>
                      <a:ext uri="{FF2B5EF4-FFF2-40B4-BE49-F238E27FC236}">
                        <a16:creationId xmlns:a16="http://schemas.microsoft.com/office/drawing/2014/main" id="{D1C47DEC-1B16-4D6F-AEE7-EAAB5EDC87B1}"/>
                      </a:ext>
                    </a:extLst>
                  </p:cNvPr>
                  <p:cNvSpPr/>
                  <p:nvPr/>
                </p:nvSpPr>
                <p:spPr>
                  <a:xfrm>
                    <a:off x="5884512" y="5114274"/>
                    <a:ext cx="12200" cy="25238"/>
                  </a:xfrm>
                  <a:custGeom>
                    <a:avLst/>
                    <a:gdLst>
                      <a:gd name="connsiteX0" fmla="*/ 8493 w 12200"/>
                      <a:gd name="connsiteY0" fmla="*/ 0 h 25238"/>
                      <a:gd name="connsiteX1" fmla="*/ 11124 w 12200"/>
                      <a:gd name="connsiteY1" fmla="*/ 957 h 25238"/>
                      <a:gd name="connsiteX2" fmla="*/ 12201 w 12200"/>
                      <a:gd name="connsiteY2" fmla="*/ 1316 h 25238"/>
                      <a:gd name="connsiteX3" fmla="*/ 10645 w 12200"/>
                      <a:gd name="connsiteY3" fmla="*/ 4366 h 25238"/>
                      <a:gd name="connsiteX4" fmla="*/ 9090 w 12200"/>
                      <a:gd name="connsiteY4" fmla="*/ 7416 h 25238"/>
                      <a:gd name="connsiteX5" fmla="*/ 7535 w 12200"/>
                      <a:gd name="connsiteY5" fmla="*/ 10466 h 25238"/>
                      <a:gd name="connsiteX6" fmla="*/ 5981 w 12200"/>
                      <a:gd name="connsiteY6" fmla="*/ 13516 h 25238"/>
                      <a:gd name="connsiteX7" fmla="*/ 4426 w 12200"/>
                      <a:gd name="connsiteY7" fmla="*/ 16567 h 25238"/>
                      <a:gd name="connsiteX8" fmla="*/ 2871 w 12200"/>
                      <a:gd name="connsiteY8" fmla="*/ 19617 h 25238"/>
                      <a:gd name="connsiteX9" fmla="*/ 1316 w 12200"/>
                      <a:gd name="connsiteY9" fmla="*/ 22667 h 25238"/>
                      <a:gd name="connsiteX10" fmla="*/ 0 w 12200"/>
                      <a:gd name="connsiteY10" fmla="*/ 25239 h 2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00" h="25238">
                        <a:moveTo>
                          <a:pt x="8493" y="0"/>
                        </a:moveTo>
                        <a:lnTo>
                          <a:pt x="11124" y="957"/>
                        </a:lnTo>
                        <a:lnTo>
                          <a:pt x="12201" y="1316"/>
                        </a:lnTo>
                        <a:lnTo>
                          <a:pt x="10645" y="4366"/>
                        </a:lnTo>
                        <a:lnTo>
                          <a:pt x="9090" y="7416"/>
                        </a:lnTo>
                        <a:lnTo>
                          <a:pt x="7535" y="10466"/>
                        </a:lnTo>
                        <a:lnTo>
                          <a:pt x="5981" y="13516"/>
                        </a:lnTo>
                        <a:lnTo>
                          <a:pt x="4426" y="16567"/>
                        </a:lnTo>
                        <a:lnTo>
                          <a:pt x="2871" y="19617"/>
                        </a:lnTo>
                        <a:lnTo>
                          <a:pt x="1316" y="22667"/>
                        </a:lnTo>
                        <a:lnTo>
                          <a:pt x="0" y="25239"/>
                        </a:lnTo>
                      </a:path>
                    </a:pathLst>
                  </a:custGeom>
                  <a:noFill/>
                  <a:ln w="6350" cap="flat">
                    <a:solidFill>
                      <a:schemeClr val="bg1">
                        <a:alpha val="40000"/>
                      </a:schemeClr>
                    </a:solidFill>
                    <a:prstDash val="solid"/>
                    <a:miter/>
                  </a:ln>
                </p:spPr>
                <p:txBody>
                  <a:bodyPr rtlCol="0" anchor="ctr"/>
                  <a:lstStyle/>
                  <a:p>
                    <a:endParaRPr lang="en-GB"/>
                  </a:p>
                </p:txBody>
              </p:sp>
              <p:sp>
                <p:nvSpPr>
                  <p:cNvPr id="7608" name="Vrije vorm: vorm 7607">
                    <a:extLst>
                      <a:ext uri="{FF2B5EF4-FFF2-40B4-BE49-F238E27FC236}">
                        <a16:creationId xmlns:a16="http://schemas.microsoft.com/office/drawing/2014/main" id="{6C778911-89A6-4F1B-A7F7-86C36B01F22B}"/>
                      </a:ext>
                    </a:extLst>
                  </p:cNvPr>
                  <p:cNvSpPr/>
                  <p:nvPr/>
                </p:nvSpPr>
                <p:spPr>
                  <a:xfrm>
                    <a:off x="5881521" y="5138377"/>
                    <a:ext cx="11482" cy="10406"/>
                  </a:xfrm>
                  <a:custGeom>
                    <a:avLst/>
                    <a:gdLst>
                      <a:gd name="connsiteX0" fmla="*/ 0 w 11482"/>
                      <a:gd name="connsiteY0" fmla="*/ 0 h 10406"/>
                      <a:gd name="connsiteX1" fmla="*/ 2572 w 11482"/>
                      <a:gd name="connsiteY1" fmla="*/ 1017 h 10406"/>
                      <a:gd name="connsiteX2" fmla="*/ 3050 w 11482"/>
                      <a:gd name="connsiteY2" fmla="*/ 1196 h 10406"/>
                      <a:gd name="connsiteX3" fmla="*/ 4964 w 11482"/>
                      <a:gd name="connsiteY3" fmla="*/ 3289 h 10406"/>
                      <a:gd name="connsiteX4" fmla="*/ 6878 w 11482"/>
                      <a:gd name="connsiteY4" fmla="*/ 5382 h 10406"/>
                      <a:gd name="connsiteX5" fmla="*/ 8791 w 11482"/>
                      <a:gd name="connsiteY5" fmla="*/ 7476 h 10406"/>
                      <a:gd name="connsiteX6" fmla="*/ 10705 w 11482"/>
                      <a:gd name="connsiteY6" fmla="*/ 9569 h 10406"/>
                      <a:gd name="connsiteX7" fmla="*/ 11483 w 11482"/>
                      <a:gd name="connsiteY7" fmla="*/ 10406 h 1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82" h="10406">
                        <a:moveTo>
                          <a:pt x="0" y="0"/>
                        </a:moveTo>
                        <a:lnTo>
                          <a:pt x="2572" y="1017"/>
                        </a:lnTo>
                        <a:lnTo>
                          <a:pt x="3050" y="1196"/>
                        </a:lnTo>
                        <a:lnTo>
                          <a:pt x="4964" y="3289"/>
                        </a:lnTo>
                        <a:lnTo>
                          <a:pt x="6878" y="5382"/>
                        </a:lnTo>
                        <a:lnTo>
                          <a:pt x="8791" y="7476"/>
                        </a:lnTo>
                        <a:lnTo>
                          <a:pt x="10705" y="9569"/>
                        </a:lnTo>
                        <a:lnTo>
                          <a:pt x="11483" y="10406"/>
                        </a:lnTo>
                      </a:path>
                    </a:pathLst>
                  </a:custGeom>
                  <a:noFill/>
                  <a:ln w="6350" cap="flat">
                    <a:solidFill>
                      <a:schemeClr val="bg1">
                        <a:alpha val="40000"/>
                      </a:schemeClr>
                    </a:solidFill>
                    <a:prstDash val="solid"/>
                    <a:miter/>
                  </a:ln>
                </p:spPr>
                <p:txBody>
                  <a:bodyPr rtlCol="0" anchor="ctr"/>
                  <a:lstStyle/>
                  <a:p>
                    <a:endParaRPr lang="en-GB"/>
                  </a:p>
                </p:txBody>
              </p:sp>
              <p:sp>
                <p:nvSpPr>
                  <p:cNvPr id="7609" name="Vrije vorm: vorm 7608">
                    <a:extLst>
                      <a:ext uri="{FF2B5EF4-FFF2-40B4-BE49-F238E27FC236}">
                        <a16:creationId xmlns:a16="http://schemas.microsoft.com/office/drawing/2014/main" id="{6C5C9264-1731-4047-A764-9FA1AD50B4B0}"/>
                      </a:ext>
                    </a:extLst>
                  </p:cNvPr>
                  <p:cNvSpPr/>
                  <p:nvPr/>
                </p:nvSpPr>
                <p:spPr>
                  <a:xfrm>
                    <a:off x="5733439" y="5016131"/>
                    <a:ext cx="4964" cy="2870"/>
                  </a:xfrm>
                  <a:custGeom>
                    <a:avLst/>
                    <a:gdLst>
                      <a:gd name="connsiteX0" fmla="*/ 4964 w 4964"/>
                      <a:gd name="connsiteY0" fmla="*/ 2871 h 2870"/>
                      <a:gd name="connsiteX1" fmla="*/ 4964 w 4964"/>
                      <a:gd name="connsiteY1" fmla="*/ 2871 h 2870"/>
                      <a:gd name="connsiteX2" fmla="*/ 4964 w 4964"/>
                      <a:gd name="connsiteY2" fmla="*/ 2632 h 2870"/>
                      <a:gd name="connsiteX3" fmla="*/ 4785 w 4964"/>
                      <a:gd name="connsiteY3" fmla="*/ 2333 h 2870"/>
                      <a:gd name="connsiteX4" fmla="*/ 4426 w 4964"/>
                      <a:gd name="connsiteY4" fmla="*/ 1974 h 2870"/>
                      <a:gd name="connsiteX5" fmla="*/ 3947 w 4964"/>
                      <a:gd name="connsiteY5" fmla="*/ 1555 h 2870"/>
                      <a:gd name="connsiteX6" fmla="*/ 3349 w 4964"/>
                      <a:gd name="connsiteY6" fmla="*/ 1136 h 2870"/>
                      <a:gd name="connsiteX7" fmla="*/ 2691 w 4964"/>
                      <a:gd name="connsiteY7" fmla="*/ 778 h 2870"/>
                      <a:gd name="connsiteX8" fmla="*/ 2033 w 4964"/>
                      <a:gd name="connsiteY8" fmla="*/ 419 h 2870"/>
                      <a:gd name="connsiteX9" fmla="*/ 1435 w 4964"/>
                      <a:gd name="connsiteY9" fmla="*/ 179 h 2870"/>
                      <a:gd name="connsiteX10" fmla="*/ 1136 w 4964"/>
                      <a:gd name="connsiteY10" fmla="*/ 120 h 2870"/>
                      <a:gd name="connsiteX11" fmla="*/ 837 w 4964"/>
                      <a:gd name="connsiteY11" fmla="*/ 60 h 2870"/>
                      <a:gd name="connsiteX12" fmla="*/ 538 w 4964"/>
                      <a:gd name="connsiteY12" fmla="*/ 0 h 2870"/>
                      <a:gd name="connsiteX13" fmla="*/ 419 w 4964"/>
                      <a:gd name="connsiteY13" fmla="*/ 0 h 2870"/>
                      <a:gd name="connsiteX14" fmla="*/ 119 w 4964"/>
                      <a:gd name="connsiteY14" fmla="*/ 60 h 2870"/>
                      <a:gd name="connsiteX15" fmla="*/ 0 w 4964"/>
                      <a:gd name="connsiteY15" fmla="*/ 239 h 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64" h="2870">
                        <a:moveTo>
                          <a:pt x="4964" y="2871"/>
                        </a:moveTo>
                        <a:lnTo>
                          <a:pt x="4964" y="2871"/>
                        </a:lnTo>
                        <a:lnTo>
                          <a:pt x="4964" y="2632"/>
                        </a:lnTo>
                        <a:lnTo>
                          <a:pt x="4785" y="2333"/>
                        </a:lnTo>
                        <a:lnTo>
                          <a:pt x="4426" y="1974"/>
                        </a:lnTo>
                        <a:lnTo>
                          <a:pt x="3947" y="1555"/>
                        </a:lnTo>
                        <a:lnTo>
                          <a:pt x="3349" y="1136"/>
                        </a:lnTo>
                        <a:lnTo>
                          <a:pt x="2691" y="778"/>
                        </a:lnTo>
                        <a:lnTo>
                          <a:pt x="2033" y="419"/>
                        </a:lnTo>
                        <a:lnTo>
                          <a:pt x="1435" y="179"/>
                        </a:lnTo>
                        <a:lnTo>
                          <a:pt x="1136" y="120"/>
                        </a:lnTo>
                        <a:lnTo>
                          <a:pt x="837" y="60"/>
                        </a:lnTo>
                        <a:lnTo>
                          <a:pt x="538" y="0"/>
                        </a:lnTo>
                        <a:lnTo>
                          <a:pt x="419" y="0"/>
                        </a:lnTo>
                        <a:lnTo>
                          <a:pt x="119" y="60"/>
                        </a:lnTo>
                        <a:lnTo>
                          <a:pt x="0" y="239"/>
                        </a:lnTo>
                      </a:path>
                    </a:pathLst>
                  </a:custGeom>
                  <a:noFill/>
                  <a:ln w="6350" cap="flat">
                    <a:solidFill>
                      <a:schemeClr val="bg1">
                        <a:alpha val="40000"/>
                      </a:schemeClr>
                    </a:solidFill>
                    <a:prstDash val="solid"/>
                    <a:miter/>
                  </a:ln>
                </p:spPr>
                <p:txBody>
                  <a:bodyPr rtlCol="0" anchor="ctr"/>
                  <a:lstStyle/>
                  <a:p>
                    <a:endParaRPr lang="en-GB"/>
                  </a:p>
                </p:txBody>
              </p:sp>
              <p:sp>
                <p:nvSpPr>
                  <p:cNvPr id="7610" name="Vrije vorm: vorm 7609">
                    <a:extLst>
                      <a:ext uri="{FF2B5EF4-FFF2-40B4-BE49-F238E27FC236}">
                        <a16:creationId xmlns:a16="http://schemas.microsoft.com/office/drawing/2014/main" id="{BD563137-9746-4488-B6A3-6928D2963F64}"/>
                      </a:ext>
                    </a:extLst>
                  </p:cNvPr>
                  <p:cNvSpPr/>
                  <p:nvPr/>
                </p:nvSpPr>
                <p:spPr>
                  <a:xfrm>
                    <a:off x="5733439" y="5016310"/>
                    <a:ext cx="4964" cy="2930"/>
                  </a:xfrm>
                  <a:custGeom>
                    <a:avLst/>
                    <a:gdLst>
                      <a:gd name="connsiteX0" fmla="*/ 4964 w 4964"/>
                      <a:gd name="connsiteY0" fmla="*/ 2691 h 2930"/>
                      <a:gd name="connsiteX1" fmla="*/ 4785 w 4964"/>
                      <a:gd name="connsiteY1" fmla="*/ 2871 h 2930"/>
                      <a:gd name="connsiteX2" fmla="*/ 4486 w 4964"/>
                      <a:gd name="connsiteY2" fmla="*/ 2931 h 2930"/>
                      <a:gd name="connsiteX3" fmla="*/ 4067 w 4964"/>
                      <a:gd name="connsiteY3" fmla="*/ 2871 h 2930"/>
                      <a:gd name="connsiteX4" fmla="*/ 3528 w 4964"/>
                      <a:gd name="connsiteY4" fmla="*/ 2691 h 2930"/>
                      <a:gd name="connsiteX5" fmla="*/ 2930 w 4964"/>
                      <a:gd name="connsiteY5" fmla="*/ 2452 h 2930"/>
                      <a:gd name="connsiteX6" fmla="*/ 2273 w 4964"/>
                      <a:gd name="connsiteY6" fmla="*/ 2153 h 2930"/>
                      <a:gd name="connsiteX7" fmla="*/ 1615 w 4964"/>
                      <a:gd name="connsiteY7" fmla="*/ 1795 h 2930"/>
                      <a:gd name="connsiteX8" fmla="*/ 1017 w 4964"/>
                      <a:gd name="connsiteY8" fmla="*/ 1376 h 2930"/>
                      <a:gd name="connsiteX9" fmla="*/ 538 w 4964"/>
                      <a:gd name="connsiteY9" fmla="*/ 957 h 2930"/>
                      <a:gd name="connsiteX10" fmla="*/ 179 w 4964"/>
                      <a:gd name="connsiteY10" fmla="*/ 598 h 2930"/>
                      <a:gd name="connsiteX11" fmla="*/ 179 w 4964"/>
                      <a:gd name="connsiteY11" fmla="*/ 538 h 2930"/>
                      <a:gd name="connsiteX12" fmla="*/ 0 w 4964"/>
                      <a:gd name="connsiteY12" fmla="*/ 239 h 2930"/>
                      <a:gd name="connsiteX13" fmla="*/ 0 w 4964"/>
                      <a:gd name="connsiteY13" fmla="*/ 0 h 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4" h="2930">
                        <a:moveTo>
                          <a:pt x="4964" y="2691"/>
                        </a:moveTo>
                        <a:lnTo>
                          <a:pt x="4785" y="2871"/>
                        </a:lnTo>
                        <a:lnTo>
                          <a:pt x="4486" y="2931"/>
                        </a:lnTo>
                        <a:lnTo>
                          <a:pt x="4067" y="2871"/>
                        </a:lnTo>
                        <a:lnTo>
                          <a:pt x="3528" y="2691"/>
                        </a:lnTo>
                        <a:lnTo>
                          <a:pt x="2930" y="2452"/>
                        </a:lnTo>
                        <a:lnTo>
                          <a:pt x="2273" y="2153"/>
                        </a:lnTo>
                        <a:lnTo>
                          <a:pt x="1615" y="1795"/>
                        </a:lnTo>
                        <a:lnTo>
                          <a:pt x="1017" y="1376"/>
                        </a:lnTo>
                        <a:lnTo>
                          <a:pt x="538" y="957"/>
                        </a:lnTo>
                        <a:lnTo>
                          <a:pt x="179" y="598"/>
                        </a:lnTo>
                        <a:lnTo>
                          <a:pt x="179" y="538"/>
                        </a:lnTo>
                        <a:lnTo>
                          <a:pt x="0" y="23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11" name="Vrije vorm: vorm 7610">
                    <a:extLst>
                      <a:ext uri="{FF2B5EF4-FFF2-40B4-BE49-F238E27FC236}">
                        <a16:creationId xmlns:a16="http://schemas.microsoft.com/office/drawing/2014/main" id="{2963A8EE-99D5-4353-ABE0-96313D037C36}"/>
                      </a:ext>
                    </a:extLst>
                  </p:cNvPr>
                  <p:cNvSpPr/>
                  <p:nvPr/>
                </p:nvSpPr>
                <p:spPr>
                  <a:xfrm>
                    <a:off x="5732063" y="5019540"/>
                    <a:ext cx="5502" cy="3349"/>
                  </a:xfrm>
                  <a:custGeom>
                    <a:avLst/>
                    <a:gdLst>
                      <a:gd name="connsiteX0" fmla="*/ 5503 w 5502"/>
                      <a:gd name="connsiteY0" fmla="*/ 3349 h 3349"/>
                      <a:gd name="connsiteX1" fmla="*/ 5503 w 5502"/>
                      <a:gd name="connsiteY1" fmla="*/ 3349 h 3349"/>
                      <a:gd name="connsiteX2" fmla="*/ 5503 w 5502"/>
                      <a:gd name="connsiteY2" fmla="*/ 3050 h 3349"/>
                      <a:gd name="connsiteX3" fmla="*/ 5323 w 5502"/>
                      <a:gd name="connsiteY3" fmla="*/ 2691 h 3349"/>
                      <a:gd name="connsiteX4" fmla="*/ 4964 w 5502"/>
                      <a:gd name="connsiteY4" fmla="*/ 2273 h 3349"/>
                      <a:gd name="connsiteX5" fmla="*/ 4426 w 5502"/>
                      <a:gd name="connsiteY5" fmla="*/ 1794 h 3349"/>
                      <a:gd name="connsiteX6" fmla="*/ 3768 w 5502"/>
                      <a:gd name="connsiteY6" fmla="*/ 1316 h 3349"/>
                      <a:gd name="connsiteX7" fmla="*/ 3050 w 5502"/>
                      <a:gd name="connsiteY7" fmla="*/ 897 h 3349"/>
                      <a:gd name="connsiteX8" fmla="*/ 2333 w 5502"/>
                      <a:gd name="connsiteY8" fmla="*/ 538 h 3349"/>
                      <a:gd name="connsiteX9" fmla="*/ 1615 w 5502"/>
                      <a:gd name="connsiteY9" fmla="*/ 239 h 3349"/>
                      <a:gd name="connsiteX10" fmla="*/ 1017 w 5502"/>
                      <a:gd name="connsiteY10" fmla="*/ 60 h 3349"/>
                      <a:gd name="connsiteX11" fmla="*/ 538 w 5502"/>
                      <a:gd name="connsiteY11" fmla="*/ 0 h 3349"/>
                      <a:gd name="connsiteX12" fmla="*/ 180 w 5502"/>
                      <a:gd name="connsiteY12" fmla="*/ 60 h 3349"/>
                      <a:gd name="connsiteX13" fmla="*/ 0 w 5502"/>
                      <a:gd name="connsiteY13" fmla="*/ 239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2" h="3349">
                        <a:moveTo>
                          <a:pt x="5503" y="3349"/>
                        </a:moveTo>
                        <a:lnTo>
                          <a:pt x="5503" y="3349"/>
                        </a:lnTo>
                        <a:lnTo>
                          <a:pt x="5503" y="3050"/>
                        </a:lnTo>
                        <a:lnTo>
                          <a:pt x="5323" y="2691"/>
                        </a:lnTo>
                        <a:lnTo>
                          <a:pt x="4964" y="2273"/>
                        </a:lnTo>
                        <a:lnTo>
                          <a:pt x="4426" y="1794"/>
                        </a:lnTo>
                        <a:lnTo>
                          <a:pt x="3768" y="1316"/>
                        </a:lnTo>
                        <a:lnTo>
                          <a:pt x="3050" y="897"/>
                        </a:lnTo>
                        <a:lnTo>
                          <a:pt x="2333" y="538"/>
                        </a:lnTo>
                        <a:lnTo>
                          <a:pt x="1615" y="239"/>
                        </a:lnTo>
                        <a:lnTo>
                          <a:pt x="1017" y="60"/>
                        </a:lnTo>
                        <a:lnTo>
                          <a:pt x="538" y="0"/>
                        </a:lnTo>
                        <a:lnTo>
                          <a:pt x="180" y="60"/>
                        </a:lnTo>
                        <a:lnTo>
                          <a:pt x="0" y="239"/>
                        </a:lnTo>
                      </a:path>
                    </a:pathLst>
                  </a:custGeom>
                  <a:noFill/>
                  <a:ln w="6350" cap="flat">
                    <a:solidFill>
                      <a:schemeClr val="bg1">
                        <a:alpha val="40000"/>
                      </a:schemeClr>
                    </a:solidFill>
                    <a:prstDash val="solid"/>
                    <a:miter/>
                  </a:ln>
                </p:spPr>
                <p:txBody>
                  <a:bodyPr rtlCol="0" anchor="ctr"/>
                  <a:lstStyle/>
                  <a:p>
                    <a:endParaRPr lang="en-GB"/>
                  </a:p>
                </p:txBody>
              </p:sp>
              <p:sp>
                <p:nvSpPr>
                  <p:cNvPr id="7612" name="Vrije vorm: vorm 7611">
                    <a:extLst>
                      <a:ext uri="{FF2B5EF4-FFF2-40B4-BE49-F238E27FC236}">
                        <a16:creationId xmlns:a16="http://schemas.microsoft.com/office/drawing/2014/main" id="{D2153401-812B-4F1F-A52C-3A828A4F30E0}"/>
                      </a:ext>
                    </a:extLst>
                  </p:cNvPr>
                  <p:cNvSpPr/>
                  <p:nvPr/>
                </p:nvSpPr>
                <p:spPr>
                  <a:xfrm>
                    <a:off x="5732003" y="5019779"/>
                    <a:ext cx="5562" cy="3349"/>
                  </a:xfrm>
                  <a:custGeom>
                    <a:avLst/>
                    <a:gdLst>
                      <a:gd name="connsiteX0" fmla="*/ 5562 w 5562"/>
                      <a:gd name="connsiteY0" fmla="*/ 3110 h 3349"/>
                      <a:gd name="connsiteX1" fmla="*/ 5382 w 5562"/>
                      <a:gd name="connsiteY1" fmla="*/ 3289 h 3349"/>
                      <a:gd name="connsiteX2" fmla="*/ 5024 w 5562"/>
                      <a:gd name="connsiteY2" fmla="*/ 3349 h 3349"/>
                      <a:gd name="connsiteX3" fmla="*/ 4545 w 5562"/>
                      <a:gd name="connsiteY3" fmla="*/ 3289 h 3349"/>
                      <a:gd name="connsiteX4" fmla="*/ 3947 w 5562"/>
                      <a:gd name="connsiteY4" fmla="*/ 3110 h 3349"/>
                      <a:gd name="connsiteX5" fmla="*/ 3229 w 5562"/>
                      <a:gd name="connsiteY5" fmla="*/ 2811 h 3349"/>
                      <a:gd name="connsiteX6" fmla="*/ 2512 w 5562"/>
                      <a:gd name="connsiteY6" fmla="*/ 2452 h 3349"/>
                      <a:gd name="connsiteX7" fmla="*/ 1794 w 5562"/>
                      <a:gd name="connsiteY7" fmla="*/ 2034 h 3349"/>
                      <a:gd name="connsiteX8" fmla="*/ 1136 w 5562"/>
                      <a:gd name="connsiteY8" fmla="*/ 1555 h 3349"/>
                      <a:gd name="connsiteX9" fmla="*/ 598 w 5562"/>
                      <a:gd name="connsiteY9" fmla="*/ 1076 h 3349"/>
                      <a:gd name="connsiteX10" fmla="*/ 239 w 5562"/>
                      <a:gd name="connsiteY10" fmla="*/ 658 h 3349"/>
                      <a:gd name="connsiteX11" fmla="*/ 0 w 5562"/>
                      <a:gd name="connsiteY11" fmla="*/ 299 h 3349"/>
                      <a:gd name="connsiteX12" fmla="*/ 0 w 5562"/>
                      <a:gd name="connsiteY12" fmla="*/ 0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2" h="3349">
                        <a:moveTo>
                          <a:pt x="5562" y="3110"/>
                        </a:moveTo>
                        <a:lnTo>
                          <a:pt x="5382" y="3289"/>
                        </a:lnTo>
                        <a:lnTo>
                          <a:pt x="5024" y="3349"/>
                        </a:lnTo>
                        <a:lnTo>
                          <a:pt x="4545" y="3289"/>
                        </a:lnTo>
                        <a:lnTo>
                          <a:pt x="3947" y="3110"/>
                        </a:lnTo>
                        <a:lnTo>
                          <a:pt x="3229" y="2811"/>
                        </a:lnTo>
                        <a:lnTo>
                          <a:pt x="2512" y="2452"/>
                        </a:lnTo>
                        <a:lnTo>
                          <a:pt x="1794" y="2034"/>
                        </a:lnTo>
                        <a:lnTo>
                          <a:pt x="1136" y="1555"/>
                        </a:lnTo>
                        <a:lnTo>
                          <a:pt x="598" y="1076"/>
                        </a:lnTo>
                        <a:lnTo>
                          <a:pt x="239" y="658"/>
                        </a:lnTo>
                        <a:lnTo>
                          <a:pt x="0" y="29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13" name="Vrije vorm: vorm 7612">
                    <a:extLst>
                      <a:ext uri="{FF2B5EF4-FFF2-40B4-BE49-F238E27FC236}">
                        <a16:creationId xmlns:a16="http://schemas.microsoft.com/office/drawing/2014/main" id="{8F416441-6778-412C-8050-F213962EBE3B}"/>
                      </a:ext>
                    </a:extLst>
                  </p:cNvPr>
                  <p:cNvSpPr/>
                  <p:nvPr/>
                </p:nvSpPr>
                <p:spPr>
                  <a:xfrm>
                    <a:off x="5813879" y="5033894"/>
                    <a:ext cx="7296" cy="4186"/>
                  </a:xfrm>
                  <a:custGeom>
                    <a:avLst/>
                    <a:gdLst>
                      <a:gd name="connsiteX0" fmla="*/ 7177 w 7296"/>
                      <a:gd name="connsiteY0" fmla="*/ 4187 h 4186"/>
                      <a:gd name="connsiteX1" fmla="*/ 7236 w 7296"/>
                      <a:gd name="connsiteY1" fmla="*/ 4067 h 4186"/>
                      <a:gd name="connsiteX2" fmla="*/ 7296 w 7296"/>
                      <a:gd name="connsiteY2" fmla="*/ 3888 h 4186"/>
                      <a:gd name="connsiteX3" fmla="*/ 7177 w 7296"/>
                      <a:gd name="connsiteY3" fmla="*/ 3469 h 4186"/>
                      <a:gd name="connsiteX4" fmla="*/ 6818 w 7296"/>
                      <a:gd name="connsiteY4" fmla="*/ 2931 h 4186"/>
                      <a:gd name="connsiteX5" fmla="*/ 6220 w 7296"/>
                      <a:gd name="connsiteY5" fmla="*/ 2333 h 4186"/>
                      <a:gd name="connsiteX6" fmla="*/ 5442 w 7296"/>
                      <a:gd name="connsiteY6" fmla="*/ 1735 h 4186"/>
                      <a:gd name="connsiteX7" fmla="*/ 4545 w 7296"/>
                      <a:gd name="connsiteY7" fmla="*/ 1196 h 4186"/>
                      <a:gd name="connsiteX8" fmla="*/ 3588 w 7296"/>
                      <a:gd name="connsiteY8" fmla="*/ 718 h 4186"/>
                      <a:gd name="connsiteX9" fmla="*/ 2632 w 7296"/>
                      <a:gd name="connsiteY9" fmla="*/ 359 h 4186"/>
                      <a:gd name="connsiteX10" fmla="*/ 1734 w 7296"/>
                      <a:gd name="connsiteY10" fmla="*/ 120 h 4186"/>
                      <a:gd name="connsiteX11" fmla="*/ 957 w 7296"/>
                      <a:gd name="connsiteY11" fmla="*/ 0 h 4186"/>
                      <a:gd name="connsiteX12" fmla="*/ 359 w 7296"/>
                      <a:gd name="connsiteY12" fmla="*/ 60 h 4186"/>
                      <a:gd name="connsiteX13" fmla="*/ 0 w 7296"/>
                      <a:gd name="connsiteY13" fmla="*/ 239 h 4186"/>
                      <a:gd name="connsiteX14" fmla="*/ 0 w 7296"/>
                      <a:gd name="connsiteY14" fmla="*/ 239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96" h="4186">
                        <a:moveTo>
                          <a:pt x="7177" y="4187"/>
                        </a:moveTo>
                        <a:lnTo>
                          <a:pt x="7236" y="4067"/>
                        </a:lnTo>
                        <a:lnTo>
                          <a:pt x="7296" y="3888"/>
                        </a:lnTo>
                        <a:lnTo>
                          <a:pt x="7177" y="3469"/>
                        </a:lnTo>
                        <a:lnTo>
                          <a:pt x="6818" y="2931"/>
                        </a:lnTo>
                        <a:lnTo>
                          <a:pt x="6220" y="2333"/>
                        </a:lnTo>
                        <a:lnTo>
                          <a:pt x="5442" y="1735"/>
                        </a:lnTo>
                        <a:lnTo>
                          <a:pt x="4545" y="1196"/>
                        </a:lnTo>
                        <a:lnTo>
                          <a:pt x="3588" y="718"/>
                        </a:lnTo>
                        <a:lnTo>
                          <a:pt x="2632" y="359"/>
                        </a:lnTo>
                        <a:lnTo>
                          <a:pt x="1734" y="120"/>
                        </a:lnTo>
                        <a:lnTo>
                          <a:pt x="957" y="0"/>
                        </a:lnTo>
                        <a:lnTo>
                          <a:pt x="359" y="60"/>
                        </a:lnTo>
                        <a:lnTo>
                          <a:pt x="0" y="239"/>
                        </a:lnTo>
                        <a:lnTo>
                          <a:pt x="0" y="239"/>
                        </a:lnTo>
                      </a:path>
                    </a:pathLst>
                  </a:custGeom>
                  <a:noFill/>
                  <a:ln w="6350" cap="flat">
                    <a:solidFill>
                      <a:schemeClr val="bg1">
                        <a:alpha val="40000"/>
                      </a:schemeClr>
                    </a:solidFill>
                    <a:prstDash val="solid"/>
                    <a:miter/>
                  </a:ln>
                </p:spPr>
                <p:txBody>
                  <a:bodyPr rtlCol="0" anchor="ctr"/>
                  <a:lstStyle/>
                  <a:p>
                    <a:endParaRPr lang="en-GB"/>
                  </a:p>
                </p:txBody>
              </p:sp>
              <p:sp>
                <p:nvSpPr>
                  <p:cNvPr id="7614" name="Vrije vorm: vorm 7613">
                    <a:extLst>
                      <a:ext uri="{FF2B5EF4-FFF2-40B4-BE49-F238E27FC236}">
                        <a16:creationId xmlns:a16="http://schemas.microsoft.com/office/drawing/2014/main" id="{0EE9F8F6-73A5-4E32-8015-0E1BF8F76800}"/>
                      </a:ext>
                    </a:extLst>
                  </p:cNvPr>
                  <p:cNvSpPr/>
                  <p:nvPr/>
                </p:nvSpPr>
                <p:spPr>
                  <a:xfrm>
                    <a:off x="5813999" y="5034133"/>
                    <a:ext cx="7057" cy="4186"/>
                  </a:xfrm>
                  <a:custGeom>
                    <a:avLst/>
                    <a:gdLst>
                      <a:gd name="connsiteX0" fmla="*/ 7057 w 7057"/>
                      <a:gd name="connsiteY0" fmla="*/ 3947 h 4186"/>
                      <a:gd name="connsiteX1" fmla="*/ 6698 w 7057"/>
                      <a:gd name="connsiteY1" fmla="*/ 4127 h 4186"/>
                      <a:gd name="connsiteX2" fmla="*/ 6100 w 7057"/>
                      <a:gd name="connsiteY2" fmla="*/ 4187 h 4186"/>
                      <a:gd name="connsiteX3" fmla="*/ 5383 w 7057"/>
                      <a:gd name="connsiteY3" fmla="*/ 4067 h 4186"/>
                      <a:gd name="connsiteX4" fmla="*/ 4545 w 7057"/>
                      <a:gd name="connsiteY4" fmla="*/ 3827 h 4186"/>
                      <a:gd name="connsiteX5" fmla="*/ 3589 w 7057"/>
                      <a:gd name="connsiteY5" fmla="*/ 3469 h 4186"/>
                      <a:gd name="connsiteX6" fmla="*/ 2632 w 7057"/>
                      <a:gd name="connsiteY6" fmla="*/ 2990 h 4186"/>
                      <a:gd name="connsiteX7" fmla="*/ 1794 w 7057"/>
                      <a:gd name="connsiteY7" fmla="*/ 2452 h 4186"/>
                      <a:gd name="connsiteX8" fmla="*/ 1076 w 7057"/>
                      <a:gd name="connsiteY8" fmla="*/ 1854 h 4186"/>
                      <a:gd name="connsiteX9" fmla="*/ 479 w 7057"/>
                      <a:gd name="connsiteY9" fmla="*/ 1316 h 4186"/>
                      <a:gd name="connsiteX10" fmla="*/ 120 w 7057"/>
                      <a:gd name="connsiteY10" fmla="*/ 778 h 4186"/>
                      <a:gd name="connsiteX11" fmla="*/ 0 w 7057"/>
                      <a:gd name="connsiteY11" fmla="*/ 359 h 4186"/>
                      <a:gd name="connsiteX12" fmla="*/ 120 w 7057"/>
                      <a:gd name="connsiteY12" fmla="*/ 0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57" h="4186">
                        <a:moveTo>
                          <a:pt x="7057" y="3947"/>
                        </a:moveTo>
                        <a:lnTo>
                          <a:pt x="6698" y="4127"/>
                        </a:lnTo>
                        <a:lnTo>
                          <a:pt x="6100" y="4187"/>
                        </a:lnTo>
                        <a:lnTo>
                          <a:pt x="5383" y="4067"/>
                        </a:lnTo>
                        <a:lnTo>
                          <a:pt x="4545" y="3827"/>
                        </a:lnTo>
                        <a:lnTo>
                          <a:pt x="3589" y="3469"/>
                        </a:lnTo>
                        <a:lnTo>
                          <a:pt x="2632" y="2990"/>
                        </a:lnTo>
                        <a:lnTo>
                          <a:pt x="1794" y="2452"/>
                        </a:lnTo>
                        <a:lnTo>
                          <a:pt x="1076" y="1854"/>
                        </a:lnTo>
                        <a:lnTo>
                          <a:pt x="479" y="1316"/>
                        </a:lnTo>
                        <a:lnTo>
                          <a:pt x="120" y="778"/>
                        </a:lnTo>
                        <a:lnTo>
                          <a:pt x="0" y="359"/>
                        </a:lnTo>
                        <a:lnTo>
                          <a:pt x="120" y="0"/>
                        </a:lnTo>
                      </a:path>
                    </a:pathLst>
                  </a:custGeom>
                  <a:noFill/>
                  <a:ln w="6350" cap="flat">
                    <a:solidFill>
                      <a:schemeClr val="bg1">
                        <a:alpha val="40000"/>
                      </a:schemeClr>
                    </a:solidFill>
                    <a:prstDash val="solid"/>
                    <a:miter/>
                  </a:ln>
                </p:spPr>
                <p:txBody>
                  <a:bodyPr rtlCol="0" anchor="ctr"/>
                  <a:lstStyle/>
                  <a:p>
                    <a:endParaRPr lang="en-GB"/>
                  </a:p>
                </p:txBody>
              </p:sp>
              <p:sp>
                <p:nvSpPr>
                  <p:cNvPr id="7615" name="Vrije vorm: vorm 7614">
                    <a:extLst>
                      <a:ext uri="{FF2B5EF4-FFF2-40B4-BE49-F238E27FC236}">
                        <a16:creationId xmlns:a16="http://schemas.microsoft.com/office/drawing/2014/main" id="{2981E84F-268A-4170-9FD9-1618E9AD11AB}"/>
                      </a:ext>
                    </a:extLst>
                  </p:cNvPr>
                  <p:cNvSpPr/>
                  <p:nvPr/>
                </p:nvSpPr>
                <p:spPr>
                  <a:xfrm>
                    <a:off x="5826678" y="5041429"/>
                    <a:ext cx="7236" cy="4246"/>
                  </a:xfrm>
                  <a:custGeom>
                    <a:avLst/>
                    <a:gdLst>
                      <a:gd name="connsiteX0" fmla="*/ 7057 w 7236"/>
                      <a:gd name="connsiteY0" fmla="*/ 4007 h 4246"/>
                      <a:gd name="connsiteX1" fmla="*/ 6698 w 7236"/>
                      <a:gd name="connsiteY1" fmla="*/ 4187 h 4246"/>
                      <a:gd name="connsiteX2" fmla="*/ 6100 w 7236"/>
                      <a:gd name="connsiteY2" fmla="*/ 4246 h 4246"/>
                      <a:gd name="connsiteX3" fmla="*/ 5323 w 7236"/>
                      <a:gd name="connsiteY3" fmla="*/ 4127 h 4246"/>
                      <a:gd name="connsiteX4" fmla="*/ 4426 w 7236"/>
                      <a:gd name="connsiteY4" fmla="*/ 3888 h 4246"/>
                      <a:gd name="connsiteX5" fmla="*/ 3469 w 7236"/>
                      <a:gd name="connsiteY5" fmla="*/ 3529 h 4246"/>
                      <a:gd name="connsiteX6" fmla="*/ 2572 w 7236"/>
                      <a:gd name="connsiteY6" fmla="*/ 3050 h 4246"/>
                      <a:gd name="connsiteX7" fmla="*/ 1735 w 7236"/>
                      <a:gd name="connsiteY7" fmla="*/ 2512 h 4246"/>
                      <a:gd name="connsiteX8" fmla="*/ 1017 w 7236"/>
                      <a:gd name="connsiteY8" fmla="*/ 1974 h 4246"/>
                      <a:gd name="connsiteX9" fmla="*/ 479 w 7236"/>
                      <a:gd name="connsiteY9" fmla="*/ 1435 h 4246"/>
                      <a:gd name="connsiteX10" fmla="*/ 120 w 7236"/>
                      <a:gd name="connsiteY10" fmla="*/ 957 h 4246"/>
                      <a:gd name="connsiteX11" fmla="*/ 0 w 7236"/>
                      <a:gd name="connsiteY11" fmla="*/ 538 h 4246"/>
                      <a:gd name="connsiteX12" fmla="*/ 60 w 7236"/>
                      <a:gd name="connsiteY12" fmla="*/ 359 h 4246"/>
                      <a:gd name="connsiteX13" fmla="*/ 120 w 7236"/>
                      <a:gd name="connsiteY13" fmla="*/ 239 h 4246"/>
                      <a:gd name="connsiteX14" fmla="*/ 120 w 7236"/>
                      <a:gd name="connsiteY14" fmla="*/ 239 h 4246"/>
                      <a:gd name="connsiteX15" fmla="*/ 479 w 7236"/>
                      <a:gd name="connsiteY15" fmla="*/ 60 h 4246"/>
                      <a:gd name="connsiteX16" fmla="*/ 1076 w 7236"/>
                      <a:gd name="connsiteY16" fmla="*/ 0 h 4246"/>
                      <a:gd name="connsiteX17" fmla="*/ 1854 w 7236"/>
                      <a:gd name="connsiteY17" fmla="*/ 120 h 4246"/>
                      <a:gd name="connsiteX18" fmla="*/ 2751 w 7236"/>
                      <a:gd name="connsiteY18" fmla="*/ 359 h 4246"/>
                      <a:gd name="connsiteX19" fmla="*/ 3708 w 7236"/>
                      <a:gd name="connsiteY19" fmla="*/ 718 h 4246"/>
                      <a:gd name="connsiteX20" fmla="*/ 4665 w 7236"/>
                      <a:gd name="connsiteY20" fmla="*/ 1196 h 4246"/>
                      <a:gd name="connsiteX21" fmla="*/ 5503 w 7236"/>
                      <a:gd name="connsiteY21" fmla="*/ 1735 h 4246"/>
                      <a:gd name="connsiteX22" fmla="*/ 6220 w 7236"/>
                      <a:gd name="connsiteY22" fmla="*/ 2333 h 4246"/>
                      <a:gd name="connsiteX23" fmla="*/ 6758 w 7236"/>
                      <a:gd name="connsiteY23" fmla="*/ 2871 h 4246"/>
                      <a:gd name="connsiteX24" fmla="*/ 7117 w 7236"/>
                      <a:gd name="connsiteY24" fmla="*/ 3349 h 4246"/>
                      <a:gd name="connsiteX25" fmla="*/ 7237 w 7236"/>
                      <a:gd name="connsiteY25" fmla="*/ 3768 h 4246"/>
                      <a:gd name="connsiteX26" fmla="*/ 7177 w 7236"/>
                      <a:gd name="connsiteY26" fmla="*/ 3947 h 4246"/>
                      <a:gd name="connsiteX27" fmla="*/ 7057 w 7236"/>
                      <a:gd name="connsiteY27" fmla="*/ 4007 h 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36" h="4246">
                        <a:moveTo>
                          <a:pt x="7057" y="4007"/>
                        </a:moveTo>
                        <a:lnTo>
                          <a:pt x="6698" y="4187"/>
                        </a:lnTo>
                        <a:lnTo>
                          <a:pt x="6100" y="4246"/>
                        </a:lnTo>
                        <a:lnTo>
                          <a:pt x="5323" y="4127"/>
                        </a:lnTo>
                        <a:lnTo>
                          <a:pt x="4426" y="3888"/>
                        </a:lnTo>
                        <a:lnTo>
                          <a:pt x="3469" y="3529"/>
                        </a:lnTo>
                        <a:lnTo>
                          <a:pt x="2572" y="3050"/>
                        </a:lnTo>
                        <a:lnTo>
                          <a:pt x="1735" y="2512"/>
                        </a:lnTo>
                        <a:lnTo>
                          <a:pt x="1017" y="1974"/>
                        </a:lnTo>
                        <a:lnTo>
                          <a:pt x="479" y="1435"/>
                        </a:lnTo>
                        <a:lnTo>
                          <a:pt x="120" y="957"/>
                        </a:lnTo>
                        <a:lnTo>
                          <a:pt x="0" y="538"/>
                        </a:lnTo>
                        <a:lnTo>
                          <a:pt x="60" y="359"/>
                        </a:lnTo>
                        <a:lnTo>
                          <a:pt x="120" y="239"/>
                        </a:lnTo>
                        <a:lnTo>
                          <a:pt x="120" y="239"/>
                        </a:lnTo>
                        <a:lnTo>
                          <a:pt x="479" y="60"/>
                        </a:lnTo>
                        <a:lnTo>
                          <a:pt x="1076" y="0"/>
                        </a:lnTo>
                        <a:lnTo>
                          <a:pt x="1854" y="120"/>
                        </a:lnTo>
                        <a:lnTo>
                          <a:pt x="2751" y="359"/>
                        </a:lnTo>
                        <a:lnTo>
                          <a:pt x="3708" y="718"/>
                        </a:lnTo>
                        <a:lnTo>
                          <a:pt x="4665" y="1196"/>
                        </a:lnTo>
                        <a:lnTo>
                          <a:pt x="5503" y="1735"/>
                        </a:lnTo>
                        <a:lnTo>
                          <a:pt x="6220" y="2333"/>
                        </a:lnTo>
                        <a:lnTo>
                          <a:pt x="6758" y="2871"/>
                        </a:lnTo>
                        <a:lnTo>
                          <a:pt x="7117" y="3349"/>
                        </a:lnTo>
                        <a:lnTo>
                          <a:pt x="7237" y="3768"/>
                        </a:lnTo>
                        <a:lnTo>
                          <a:pt x="7177" y="3947"/>
                        </a:lnTo>
                        <a:lnTo>
                          <a:pt x="7057" y="4007"/>
                        </a:lnTo>
                      </a:path>
                    </a:pathLst>
                  </a:custGeom>
                  <a:noFill/>
                  <a:ln w="6350" cap="flat">
                    <a:solidFill>
                      <a:schemeClr val="bg1">
                        <a:alpha val="40000"/>
                      </a:schemeClr>
                    </a:solidFill>
                    <a:prstDash val="solid"/>
                    <a:miter/>
                  </a:ln>
                </p:spPr>
                <p:txBody>
                  <a:bodyPr rtlCol="0" anchor="ctr"/>
                  <a:lstStyle/>
                  <a:p>
                    <a:endParaRPr lang="en-GB"/>
                  </a:p>
                </p:txBody>
              </p:sp>
              <p:sp>
                <p:nvSpPr>
                  <p:cNvPr id="7616" name="Vrije vorm: vorm 7615">
                    <a:extLst>
                      <a:ext uri="{FF2B5EF4-FFF2-40B4-BE49-F238E27FC236}">
                        <a16:creationId xmlns:a16="http://schemas.microsoft.com/office/drawing/2014/main" id="{748121EE-0852-452E-80B2-DF49039BA63C}"/>
                      </a:ext>
                    </a:extLst>
                  </p:cNvPr>
                  <p:cNvSpPr/>
                  <p:nvPr/>
                </p:nvSpPr>
                <p:spPr>
                  <a:xfrm>
                    <a:off x="5730568" y="5063259"/>
                    <a:ext cx="8433" cy="2451"/>
                  </a:xfrm>
                  <a:custGeom>
                    <a:avLst/>
                    <a:gdLst>
                      <a:gd name="connsiteX0" fmla="*/ 0 w 8433"/>
                      <a:gd name="connsiteY0" fmla="*/ 0 h 2451"/>
                      <a:gd name="connsiteX1" fmla="*/ 2691 w 8433"/>
                      <a:gd name="connsiteY1" fmla="*/ 778 h 2451"/>
                      <a:gd name="connsiteX2" fmla="*/ 5383 w 8433"/>
                      <a:gd name="connsiteY2" fmla="*/ 1555 h 2451"/>
                      <a:gd name="connsiteX3" fmla="*/ 8074 w 8433"/>
                      <a:gd name="connsiteY3" fmla="*/ 2333 h 2451"/>
                      <a:gd name="connsiteX4" fmla="*/ 8433 w 8433"/>
                      <a:gd name="connsiteY4" fmla="*/ 2452 h 2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3" h="2451">
                        <a:moveTo>
                          <a:pt x="0" y="0"/>
                        </a:moveTo>
                        <a:lnTo>
                          <a:pt x="2691" y="778"/>
                        </a:lnTo>
                        <a:lnTo>
                          <a:pt x="5383" y="1555"/>
                        </a:lnTo>
                        <a:lnTo>
                          <a:pt x="8074" y="2333"/>
                        </a:lnTo>
                        <a:lnTo>
                          <a:pt x="8433" y="2452"/>
                        </a:lnTo>
                      </a:path>
                    </a:pathLst>
                  </a:custGeom>
                  <a:noFill/>
                  <a:ln w="6350" cap="flat">
                    <a:solidFill>
                      <a:schemeClr val="bg1">
                        <a:alpha val="40000"/>
                      </a:schemeClr>
                    </a:solidFill>
                    <a:prstDash val="solid"/>
                    <a:miter/>
                  </a:ln>
                </p:spPr>
                <p:txBody>
                  <a:bodyPr rtlCol="0" anchor="ctr"/>
                  <a:lstStyle/>
                  <a:p>
                    <a:endParaRPr lang="en-GB"/>
                  </a:p>
                </p:txBody>
              </p:sp>
              <p:sp>
                <p:nvSpPr>
                  <p:cNvPr id="7617" name="Vrije vorm: vorm 7616">
                    <a:extLst>
                      <a:ext uri="{FF2B5EF4-FFF2-40B4-BE49-F238E27FC236}">
                        <a16:creationId xmlns:a16="http://schemas.microsoft.com/office/drawing/2014/main" id="{DF83C50F-D474-49FB-85FA-D708D3C2A89B}"/>
                      </a:ext>
                    </a:extLst>
                  </p:cNvPr>
                  <p:cNvSpPr/>
                  <p:nvPr/>
                </p:nvSpPr>
                <p:spPr>
                  <a:xfrm>
                    <a:off x="5745759" y="5065233"/>
                    <a:ext cx="97007" cy="42164"/>
                  </a:xfrm>
                  <a:custGeom>
                    <a:avLst/>
                    <a:gdLst>
                      <a:gd name="connsiteX0" fmla="*/ 0 w 97007"/>
                      <a:gd name="connsiteY0" fmla="*/ 2691 h 42164"/>
                      <a:gd name="connsiteX1" fmla="*/ 2512 w 97007"/>
                      <a:gd name="connsiteY1" fmla="*/ 777 h 42164"/>
                      <a:gd name="connsiteX2" fmla="*/ 3170 w 97007"/>
                      <a:gd name="connsiteY2" fmla="*/ 299 h 42164"/>
                      <a:gd name="connsiteX3" fmla="*/ 6041 w 97007"/>
                      <a:gd name="connsiteY3" fmla="*/ 179 h 42164"/>
                      <a:gd name="connsiteX4" fmla="*/ 8911 w 97007"/>
                      <a:gd name="connsiteY4" fmla="*/ 60 h 42164"/>
                      <a:gd name="connsiteX5" fmla="*/ 10048 w 97007"/>
                      <a:gd name="connsiteY5" fmla="*/ 0 h 42164"/>
                      <a:gd name="connsiteX6" fmla="*/ 12799 w 97007"/>
                      <a:gd name="connsiteY6" fmla="*/ 538 h 42164"/>
                      <a:gd name="connsiteX7" fmla="*/ 15550 w 97007"/>
                      <a:gd name="connsiteY7" fmla="*/ 1076 h 42164"/>
                      <a:gd name="connsiteX8" fmla="*/ 18301 w 97007"/>
                      <a:gd name="connsiteY8" fmla="*/ 1615 h 42164"/>
                      <a:gd name="connsiteX9" fmla="*/ 20394 w 97007"/>
                      <a:gd name="connsiteY9" fmla="*/ 2033 h 42164"/>
                      <a:gd name="connsiteX10" fmla="*/ 23026 w 97007"/>
                      <a:gd name="connsiteY10" fmla="*/ 2871 h 42164"/>
                      <a:gd name="connsiteX11" fmla="*/ 25657 w 97007"/>
                      <a:gd name="connsiteY11" fmla="*/ 3708 h 42164"/>
                      <a:gd name="connsiteX12" fmla="*/ 28289 w 97007"/>
                      <a:gd name="connsiteY12" fmla="*/ 4545 h 42164"/>
                      <a:gd name="connsiteX13" fmla="*/ 30920 w 97007"/>
                      <a:gd name="connsiteY13" fmla="*/ 5382 h 42164"/>
                      <a:gd name="connsiteX14" fmla="*/ 33552 w 97007"/>
                      <a:gd name="connsiteY14" fmla="*/ 6220 h 42164"/>
                      <a:gd name="connsiteX15" fmla="*/ 36123 w 97007"/>
                      <a:gd name="connsiteY15" fmla="*/ 7296 h 42164"/>
                      <a:gd name="connsiteX16" fmla="*/ 38695 w 97007"/>
                      <a:gd name="connsiteY16" fmla="*/ 8373 h 42164"/>
                      <a:gd name="connsiteX17" fmla="*/ 41267 w 97007"/>
                      <a:gd name="connsiteY17" fmla="*/ 9449 h 42164"/>
                      <a:gd name="connsiteX18" fmla="*/ 43839 w 97007"/>
                      <a:gd name="connsiteY18" fmla="*/ 10526 h 42164"/>
                      <a:gd name="connsiteX19" fmla="*/ 46410 w 97007"/>
                      <a:gd name="connsiteY19" fmla="*/ 11602 h 42164"/>
                      <a:gd name="connsiteX20" fmla="*/ 48563 w 97007"/>
                      <a:gd name="connsiteY20" fmla="*/ 12500 h 42164"/>
                      <a:gd name="connsiteX21" fmla="*/ 51075 w 97007"/>
                      <a:gd name="connsiteY21" fmla="*/ 13756 h 42164"/>
                      <a:gd name="connsiteX22" fmla="*/ 53587 w 97007"/>
                      <a:gd name="connsiteY22" fmla="*/ 15011 h 42164"/>
                      <a:gd name="connsiteX23" fmla="*/ 55441 w 97007"/>
                      <a:gd name="connsiteY23" fmla="*/ 15968 h 42164"/>
                      <a:gd name="connsiteX24" fmla="*/ 57953 w 97007"/>
                      <a:gd name="connsiteY24" fmla="*/ 17224 h 42164"/>
                      <a:gd name="connsiteX25" fmla="*/ 60465 w 97007"/>
                      <a:gd name="connsiteY25" fmla="*/ 18480 h 42164"/>
                      <a:gd name="connsiteX26" fmla="*/ 62977 w 97007"/>
                      <a:gd name="connsiteY26" fmla="*/ 19736 h 42164"/>
                      <a:gd name="connsiteX27" fmla="*/ 64173 w 97007"/>
                      <a:gd name="connsiteY27" fmla="*/ 20334 h 42164"/>
                      <a:gd name="connsiteX28" fmla="*/ 66565 w 97007"/>
                      <a:gd name="connsiteY28" fmla="*/ 21710 h 42164"/>
                      <a:gd name="connsiteX29" fmla="*/ 68958 w 97007"/>
                      <a:gd name="connsiteY29" fmla="*/ 23085 h 42164"/>
                      <a:gd name="connsiteX30" fmla="*/ 70692 w 97007"/>
                      <a:gd name="connsiteY30" fmla="*/ 24102 h 42164"/>
                      <a:gd name="connsiteX31" fmla="*/ 73084 w 97007"/>
                      <a:gd name="connsiteY31" fmla="*/ 25478 h 42164"/>
                      <a:gd name="connsiteX32" fmla="*/ 75477 w 97007"/>
                      <a:gd name="connsiteY32" fmla="*/ 26853 h 42164"/>
                      <a:gd name="connsiteX33" fmla="*/ 77869 w 97007"/>
                      <a:gd name="connsiteY33" fmla="*/ 28229 h 42164"/>
                      <a:gd name="connsiteX34" fmla="*/ 78646 w 97007"/>
                      <a:gd name="connsiteY34" fmla="*/ 28707 h 42164"/>
                      <a:gd name="connsiteX35" fmla="*/ 80919 w 97007"/>
                      <a:gd name="connsiteY35" fmla="*/ 30262 h 42164"/>
                      <a:gd name="connsiteX36" fmla="*/ 83192 w 97007"/>
                      <a:gd name="connsiteY36" fmla="*/ 31817 h 42164"/>
                      <a:gd name="connsiteX37" fmla="*/ 85464 w 97007"/>
                      <a:gd name="connsiteY37" fmla="*/ 33372 h 42164"/>
                      <a:gd name="connsiteX38" fmla="*/ 87737 w 97007"/>
                      <a:gd name="connsiteY38" fmla="*/ 34927 h 42164"/>
                      <a:gd name="connsiteX39" fmla="*/ 90010 w 97007"/>
                      <a:gd name="connsiteY39" fmla="*/ 36482 h 42164"/>
                      <a:gd name="connsiteX40" fmla="*/ 90847 w 97007"/>
                      <a:gd name="connsiteY40" fmla="*/ 37020 h 42164"/>
                      <a:gd name="connsiteX41" fmla="*/ 93000 w 97007"/>
                      <a:gd name="connsiteY41" fmla="*/ 38815 h 42164"/>
                      <a:gd name="connsiteX42" fmla="*/ 95153 w 97007"/>
                      <a:gd name="connsiteY42" fmla="*/ 40609 h 42164"/>
                      <a:gd name="connsiteX43" fmla="*/ 97007 w 97007"/>
                      <a:gd name="connsiteY43" fmla="*/ 42164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7007" h="42164">
                        <a:moveTo>
                          <a:pt x="0" y="2691"/>
                        </a:moveTo>
                        <a:lnTo>
                          <a:pt x="2512" y="777"/>
                        </a:lnTo>
                        <a:lnTo>
                          <a:pt x="3170" y="299"/>
                        </a:lnTo>
                        <a:lnTo>
                          <a:pt x="6041" y="179"/>
                        </a:lnTo>
                        <a:lnTo>
                          <a:pt x="8911" y="60"/>
                        </a:lnTo>
                        <a:lnTo>
                          <a:pt x="10048" y="0"/>
                        </a:lnTo>
                        <a:lnTo>
                          <a:pt x="12799" y="538"/>
                        </a:lnTo>
                        <a:lnTo>
                          <a:pt x="15550" y="1076"/>
                        </a:lnTo>
                        <a:lnTo>
                          <a:pt x="18301" y="1615"/>
                        </a:lnTo>
                        <a:lnTo>
                          <a:pt x="20394" y="2033"/>
                        </a:lnTo>
                        <a:lnTo>
                          <a:pt x="23026" y="2871"/>
                        </a:lnTo>
                        <a:lnTo>
                          <a:pt x="25657" y="3708"/>
                        </a:lnTo>
                        <a:lnTo>
                          <a:pt x="28289" y="4545"/>
                        </a:lnTo>
                        <a:lnTo>
                          <a:pt x="30920" y="5382"/>
                        </a:lnTo>
                        <a:lnTo>
                          <a:pt x="33552" y="6220"/>
                        </a:lnTo>
                        <a:lnTo>
                          <a:pt x="36123" y="7296"/>
                        </a:lnTo>
                        <a:lnTo>
                          <a:pt x="38695" y="8373"/>
                        </a:lnTo>
                        <a:lnTo>
                          <a:pt x="41267" y="9449"/>
                        </a:lnTo>
                        <a:lnTo>
                          <a:pt x="43839" y="10526"/>
                        </a:lnTo>
                        <a:lnTo>
                          <a:pt x="46410" y="11602"/>
                        </a:lnTo>
                        <a:lnTo>
                          <a:pt x="48563" y="12500"/>
                        </a:lnTo>
                        <a:lnTo>
                          <a:pt x="51075" y="13756"/>
                        </a:lnTo>
                        <a:lnTo>
                          <a:pt x="53587" y="15011"/>
                        </a:lnTo>
                        <a:lnTo>
                          <a:pt x="55441" y="15968"/>
                        </a:lnTo>
                        <a:lnTo>
                          <a:pt x="57953" y="17224"/>
                        </a:lnTo>
                        <a:lnTo>
                          <a:pt x="60465" y="18480"/>
                        </a:lnTo>
                        <a:lnTo>
                          <a:pt x="62977" y="19736"/>
                        </a:lnTo>
                        <a:lnTo>
                          <a:pt x="64173" y="20334"/>
                        </a:lnTo>
                        <a:lnTo>
                          <a:pt x="66565" y="21710"/>
                        </a:lnTo>
                        <a:lnTo>
                          <a:pt x="68958" y="23085"/>
                        </a:lnTo>
                        <a:lnTo>
                          <a:pt x="70692" y="24102"/>
                        </a:lnTo>
                        <a:lnTo>
                          <a:pt x="73084" y="25478"/>
                        </a:lnTo>
                        <a:lnTo>
                          <a:pt x="75477" y="26853"/>
                        </a:lnTo>
                        <a:lnTo>
                          <a:pt x="77869" y="28229"/>
                        </a:lnTo>
                        <a:lnTo>
                          <a:pt x="78646" y="28707"/>
                        </a:lnTo>
                        <a:lnTo>
                          <a:pt x="80919" y="30262"/>
                        </a:lnTo>
                        <a:lnTo>
                          <a:pt x="83192" y="31817"/>
                        </a:lnTo>
                        <a:lnTo>
                          <a:pt x="85464" y="33372"/>
                        </a:lnTo>
                        <a:lnTo>
                          <a:pt x="87737" y="34927"/>
                        </a:lnTo>
                        <a:lnTo>
                          <a:pt x="90010" y="36482"/>
                        </a:lnTo>
                        <a:lnTo>
                          <a:pt x="90847" y="37020"/>
                        </a:lnTo>
                        <a:lnTo>
                          <a:pt x="93000" y="38815"/>
                        </a:lnTo>
                        <a:lnTo>
                          <a:pt x="95153" y="40609"/>
                        </a:lnTo>
                        <a:lnTo>
                          <a:pt x="97007" y="42164"/>
                        </a:lnTo>
                      </a:path>
                    </a:pathLst>
                  </a:custGeom>
                  <a:noFill/>
                  <a:ln w="6350" cap="flat">
                    <a:solidFill>
                      <a:schemeClr val="bg1">
                        <a:alpha val="40000"/>
                      </a:schemeClr>
                    </a:solidFill>
                    <a:prstDash val="solid"/>
                    <a:miter/>
                  </a:ln>
                </p:spPr>
                <p:txBody>
                  <a:bodyPr rtlCol="0" anchor="ctr"/>
                  <a:lstStyle/>
                  <a:p>
                    <a:endParaRPr lang="en-GB"/>
                  </a:p>
                </p:txBody>
              </p:sp>
              <p:sp>
                <p:nvSpPr>
                  <p:cNvPr id="7618" name="Vrije vorm: vorm 7617">
                    <a:extLst>
                      <a:ext uri="{FF2B5EF4-FFF2-40B4-BE49-F238E27FC236}">
                        <a16:creationId xmlns:a16="http://schemas.microsoft.com/office/drawing/2014/main" id="{B0E66E94-9E32-48FA-95F1-C38BF7510785}"/>
                      </a:ext>
                    </a:extLst>
                  </p:cNvPr>
                  <p:cNvSpPr/>
                  <p:nvPr/>
                </p:nvSpPr>
                <p:spPr>
                  <a:xfrm>
                    <a:off x="5846833" y="5111524"/>
                    <a:ext cx="6339" cy="12140"/>
                  </a:xfrm>
                  <a:custGeom>
                    <a:avLst/>
                    <a:gdLst>
                      <a:gd name="connsiteX0" fmla="*/ 0 w 6339"/>
                      <a:gd name="connsiteY0" fmla="*/ 0 h 12140"/>
                      <a:gd name="connsiteX1" fmla="*/ 299 w 6339"/>
                      <a:gd name="connsiteY1" fmla="*/ 359 h 12140"/>
                      <a:gd name="connsiteX2" fmla="*/ 2153 w 6339"/>
                      <a:gd name="connsiteY2" fmla="*/ 2572 h 12140"/>
                      <a:gd name="connsiteX3" fmla="*/ 4007 w 6339"/>
                      <a:gd name="connsiteY3" fmla="*/ 4785 h 12140"/>
                      <a:gd name="connsiteX4" fmla="*/ 5861 w 6339"/>
                      <a:gd name="connsiteY4" fmla="*/ 6997 h 12140"/>
                      <a:gd name="connsiteX5" fmla="*/ 6340 w 6339"/>
                      <a:gd name="connsiteY5" fmla="*/ 7536 h 12140"/>
                      <a:gd name="connsiteX6" fmla="*/ 6340 w 6339"/>
                      <a:gd name="connsiteY6" fmla="*/ 7536 h 12140"/>
                      <a:gd name="connsiteX7" fmla="*/ 5861 w 6339"/>
                      <a:gd name="connsiteY7" fmla="*/ 10825 h 12140"/>
                      <a:gd name="connsiteX8" fmla="*/ 5682 w 6339"/>
                      <a:gd name="connsiteY8" fmla="*/ 12141 h 12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9" h="12140">
                        <a:moveTo>
                          <a:pt x="0" y="0"/>
                        </a:moveTo>
                        <a:lnTo>
                          <a:pt x="299" y="359"/>
                        </a:lnTo>
                        <a:lnTo>
                          <a:pt x="2153" y="2572"/>
                        </a:lnTo>
                        <a:lnTo>
                          <a:pt x="4007" y="4785"/>
                        </a:lnTo>
                        <a:lnTo>
                          <a:pt x="5861" y="6997"/>
                        </a:lnTo>
                        <a:lnTo>
                          <a:pt x="6340" y="7536"/>
                        </a:lnTo>
                        <a:lnTo>
                          <a:pt x="6340" y="7536"/>
                        </a:lnTo>
                        <a:lnTo>
                          <a:pt x="5861" y="10825"/>
                        </a:lnTo>
                        <a:lnTo>
                          <a:pt x="5682" y="12141"/>
                        </a:lnTo>
                      </a:path>
                    </a:pathLst>
                  </a:custGeom>
                  <a:noFill/>
                  <a:ln w="6350" cap="flat">
                    <a:solidFill>
                      <a:schemeClr val="bg1">
                        <a:alpha val="40000"/>
                      </a:schemeClr>
                    </a:solidFill>
                    <a:prstDash val="solid"/>
                    <a:miter/>
                  </a:ln>
                </p:spPr>
                <p:txBody>
                  <a:bodyPr rtlCol="0" anchor="ctr"/>
                  <a:lstStyle/>
                  <a:p>
                    <a:endParaRPr lang="en-GB"/>
                  </a:p>
                </p:txBody>
              </p:sp>
              <p:sp>
                <p:nvSpPr>
                  <p:cNvPr id="7619" name="Vrije vorm: vorm 7618">
                    <a:extLst>
                      <a:ext uri="{FF2B5EF4-FFF2-40B4-BE49-F238E27FC236}">
                        <a16:creationId xmlns:a16="http://schemas.microsoft.com/office/drawing/2014/main" id="{0040350C-90B4-4727-986B-BEF8A88653AE}"/>
                      </a:ext>
                    </a:extLst>
                  </p:cNvPr>
                  <p:cNvSpPr/>
                  <p:nvPr/>
                </p:nvSpPr>
                <p:spPr>
                  <a:xfrm>
                    <a:off x="5817408" y="5131080"/>
                    <a:ext cx="60225" cy="23683"/>
                  </a:xfrm>
                  <a:custGeom>
                    <a:avLst/>
                    <a:gdLst>
                      <a:gd name="connsiteX0" fmla="*/ 0 w 60225"/>
                      <a:gd name="connsiteY0" fmla="*/ 0 h 23683"/>
                      <a:gd name="connsiteX1" fmla="*/ 2572 w 60225"/>
                      <a:gd name="connsiteY1" fmla="*/ 957 h 23683"/>
                      <a:gd name="connsiteX2" fmla="*/ 5143 w 60225"/>
                      <a:gd name="connsiteY2" fmla="*/ 1914 h 23683"/>
                      <a:gd name="connsiteX3" fmla="*/ 7715 w 60225"/>
                      <a:gd name="connsiteY3" fmla="*/ 2871 h 23683"/>
                      <a:gd name="connsiteX4" fmla="*/ 10287 w 60225"/>
                      <a:gd name="connsiteY4" fmla="*/ 3828 h 23683"/>
                      <a:gd name="connsiteX5" fmla="*/ 12260 w 60225"/>
                      <a:gd name="connsiteY5" fmla="*/ 4605 h 23683"/>
                      <a:gd name="connsiteX6" fmla="*/ 14952 w 60225"/>
                      <a:gd name="connsiteY6" fmla="*/ 5443 h 23683"/>
                      <a:gd name="connsiteX7" fmla="*/ 17643 w 60225"/>
                      <a:gd name="connsiteY7" fmla="*/ 6280 h 23683"/>
                      <a:gd name="connsiteX8" fmla="*/ 20335 w 60225"/>
                      <a:gd name="connsiteY8" fmla="*/ 7117 h 23683"/>
                      <a:gd name="connsiteX9" fmla="*/ 23026 w 60225"/>
                      <a:gd name="connsiteY9" fmla="*/ 7954 h 23683"/>
                      <a:gd name="connsiteX10" fmla="*/ 23983 w 60225"/>
                      <a:gd name="connsiteY10" fmla="*/ 8253 h 23683"/>
                      <a:gd name="connsiteX11" fmla="*/ 26734 w 60225"/>
                      <a:gd name="connsiteY11" fmla="*/ 8852 h 23683"/>
                      <a:gd name="connsiteX12" fmla="*/ 29485 w 60225"/>
                      <a:gd name="connsiteY12" fmla="*/ 9450 h 23683"/>
                      <a:gd name="connsiteX13" fmla="*/ 32236 w 60225"/>
                      <a:gd name="connsiteY13" fmla="*/ 10048 h 23683"/>
                      <a:gd name="connsiteX14" fmla="*/ 32894 w 60225"/>
                      <a:gd name="connsiteY14" fmla="*/ 10167 h 23683"/>
                      <a:gd name="connsiteX15" fmla="*/ 35466 w 60225"/>
                      <a:gd name="connsiteY15" fmla="*/ 11184 h 23683"/>
                      <a:gd name="connsiteX16" fmla="*/ 38037 w 60225"/>
                      <a:gd name="connsiteY16" fmla="*/ 12201 h 23683"/>
                      <a:gd name="connsiteX17" fmla="*/ 40609 w 60225"/>
                      <a:gd name="connsiteY17" fmla="*/ 13218 h 23683"/>
                      <a:gd name="connsiteX18" fmla="*/ 43181 w 60225"/>
                      <a:gd name="connsiteY18" fmla="*/ 14234 h 23683"/>
                      <a:gd name="connsiteX19" fmla="*/ 45753 w 60225"/>
                      <a:gd name="connsiteY19" fmla="*/ 15251 h 23683"/>
                      <a:gd name="connsiteX20" fmla="*/ 48324 w 60225"/>
                      <a:gd name="connsiteY20" fmla="*/ 16268 h 23683"/>
                      <a:gd name="connsiteX21" fmla="*/ 50896 w 60225"/>
                      <a:gd name="connsiteY21" fmla="*/ 17284 h 23683"/>
                      <a:gd name="connsiteX22" fmla="*/ 53468 w 60225"/>
                      <a:gd name="connsiteY22" fmla="*/ 18301 h 23683"/>
                      <a:gd name="connsiteX23" fmla="*/ 55441 w 60225"/>
                      <a:gd name="connsiteY23" fmla="*/ 19079 h 23683"/>
                      <a:gd name="connsiteX24" fmla="*/ 57475 w 60225"/>
                      <a:gd name="connsiteY24" fmla="*/ 21052 h 23683"/>
                      <a:gd name="connsiteX25" fmla="*/ 59508 w 60225"/>
                      <a:gd name="connsiteY25" fmla="*/ 23026 h 23683"/>
                      <a:gd name="connsiteX26" fmla="*/ 60226 w 60225"/>
                      <a:gd name="connsiteY26" fmla="*/ 23684 h 23683"/>
                      <a:gd name="connsiteX27" fmla="*/ 57594 w 60225"/>
                      <a:gd name="connsiteY27" fmla="*/ 22787 h 23683"/>
                      <a:gd name="connsiteX28" fmla="*/ 54963 w 60225"/>
                      <a:gd name="connsiteY28" fmla="*/ 21890 h 23683"/>
                      <a:gd name="connsiteX29" fmla="*/ 52331 w 60225"/>
                      <a:gd name="connsiteY29" fmla="*/ 20992 h 23683"/>
                      <a:gd name="connsiteX30" fmla="*/ 49700 w 60225"/>
                      <a:gd name="connsiteY30" fmla="*/ 20096 h 23683"/>
                      <a:gd name="connsiteX31" fmla="*/ 47068 w 60225"/>
                      <a:gd name="connsiteY31" fmla="*/ 19198 h 23683"/>
                      <a:gd name="connsiteX32" fmla="*/ 44437 w 60225"/>
                      <a:gd name="connsiteY32" fmla="*/ 18301 h 23683"/>
                      <a:gd name="connsiteX33" fmla="*/ 41805 w 60225"/>
                      <a:gd name="connsiteY33" fmla="*/ 17404 h 23683"/>
                      <a:gd name="connsiteX34" fmla="*/ 39174 w 60225"/>
                      <a:gd name="connsiteY34" fmla="*/ 16507 h 23683"/>
                      <a:gd name="connsiteX35" fmla="*/ 36542 w 60225"/>
                      <a:gd name="connsiteY35" fmla="*/ 15610 h 23683"/>
                      <a:gd name="connsiteX36" fmla="*/ 33911 w 60225"/>
                      <a:gd name="connsiteY36" fmla="*/ 14713 h 23683"/>
                      <a:gd name="connsiteX37" fmla="*/ 31279 w 60225"/>
                      <a:gd name="connsiteY37" fmla="*/ 13815 h 23683"/>
                      <a:gd name="connsiteX38" fmla="*/ 28648 w 60225"/>
                      <a:gd name="connsiteY38" fmla="*/ 12919 h 23683"/>
                      <a:gd name="connsiteX39" fmla="*/ 26016 w 60225"/>
                      <a:gd name="connsiteY39" fmla="*/ 12021 h 23683"/>
                      <a:gd name="connsiteX40" fmla="*/ 23385 w 60225"/>
                      <a:gd name="connsiteY40" fmla="*/ 11124 h 23683"/>
                      <a:gd name="connsiteX41" fmla="*/ 20753 w 60225"/>
                      <a:gd name="connsiteY41" fmla="*/ 10227 h 23683"/>
                      <a:gd name="connsiteX42" fmla="*/ 18122 w 60225"/>
                      <a:gd name="connsiteY42" fmla="*/ 9330 h 23683"/>
                      <a:gd name="connsiteX43" fmla="*/ 15490 w 60225"/>
                      <a:gd name="connsiteY43" fmla="*/ 8433 h 23683"/>
                      <a:gd name="connsiteX44" fmla="*/ 12859 w 60225"/>
                      <a:gd name="connsiteY44" fmla="*/ 7536 h 23683"/>
                      <a:gd name="connsiteX45" fmla="*/ 10227 w 60225"/>
                      <a:gd name="connsiteY45" fmla="*/ 6639 h 23683"/>
                      <a:gd name="connsiteX46" fmla="*/ 7596 w 60225"/>
                      <a:gd name="connsiteY46" fmla="*/ 5742 h 23683"/>
                      <a:gd name="connsiteX47" fmla="*/ 4964 w 60225"/>
                      <a:gd name="connsiteY47" fmla="*/ 4844 h 23683"/>
                      <a:gd name="connsiteX48" fmla="*/ 2333 w 60225"/>
                      <a:gd name="connsiteY48" fmla="*/ 3947 h 23683"/>
                      <a:gd name="connsiteX49" fmla="*/ 1136 w 60225"/>
                      <a:gd name="connsiteY49" fmla="*/ 3529 h 2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225" h="23683">
                        <a:moveTo>
                          <a:pt x="0" y="0"/>
                        </a:moveTo>
                        <a:lnTo>
                          <a:pt x="2572" y="957"/>
                        </a:lnTo>
                        <a:lnTo>
                          <a:pt x="5143" y="1914"/>
                        </a:lnTo>
                        <a:lnTo>
                          <a:pt x="7715" y="2871"/>
                        </a:lnTo>
                        <a:lnTo>
                          <a:pt x="10287" y="3828"/>
                        </a:lnTo>
                        <a:lnTo>
                          <a:pt x="12260" y="4605"/>
                        </a:lnTo>
                        <a:lnTo>
                          <a:pt x="14952" y="5443"/>
                        </a:lnTo>
                        <a:lnTo>
                          <a:pt x="17643" y="6280"/>
                        </a:lnTo>
                        <a:lnTo>
                          <a:pt x="20335" y="7117"/>
                        </a:lnTo>
                        <a:lnTo>
                          <a:pt x="23026" y="7954"/>
                        </a:lnTo>
                        <a:lnTo>
                          <a:pt x="23983" y="8253"/>
                        </a:lnTo>
                        <a:lnTo>
                          <a:pt x="26734" y="8852"/>
                        </a:lnTo>
                        <a:lnTo>
                          <a:pt x="29485" y="9450"/>
                        </a:lnTo>
                        <a:lnTo>
                          <a:pt x="32236" y="10048"/>
                        </a:lnTo>
                        <a:lnTo>
                          <a:pt x="32894" y="10167"/>
                        </a:lnTo>
                        <a:lnTo>
                          <a:pt x="35466" y="11184"/>
                        </a:lnTo>
                        <a:lnTo>
                          <a:pt x="38037" y="12201"/>
                        </a:lnTo>
                        <a:lnTo>
                          <a:pt x="40609" y="13218"/>
                        </a:lnTo>
                        <a:lnTo>
                          <a:pt x="43181" y="14234"/>
                        </a:lnTo>
                        <a:lnTo>
                          <a:pt x="45753" y="15251"/>
                        </a:lnTo>
                        <a:lnTo>
                          <a:pt x="48324" y="16268"/>
                        </a:lnTo>
                        <a:lnTo>
                          <a:pt x="50896" y="17284"/>
                        </a:lnTo>
                        <a:lnTo>
                          <a:pt x="53468" y="18301"/>
                        </a:lnTo>
                        <a:lnTo>
                          <a:pt x="55441" y="19079"/>
                        </a:lnTo>
                        <a:lnTo>
                          <a:pt x="57475" y="21052"/>
                        </a:lnTo>
                        <a:lnTo>
                          <a:pt x="59508" y="23026"/>
                        </a:lnTo>
                        <a:lnTo>
                          <a:pt x="60226" y="23684"/>
                        </a:lnTo>
                        <a:lnTo>
                          <a:pt x="57594" y="22787"/>
                        </a:lnTo>
                        <a:lnTo>
                          <a:pt x="54963" y="21890"/>
                        </a:lnTo>
                        <a:lnTo>
                          <a:pt x="52331" y="20992"/>
                        </a:lnTo>
                        <a:lnTo>
                          <a:pt x="49700" y="20096"/>
                        </a:lnTo>
                        <a:lnTo>
                          <a:pt x="47068" y="19198"/>
                        </a:lnTo>
                        <a:lnTo>
                          <a:pt x="44437" y="18301"/>
                        </a:lnTo>
                        <a:lnTo>
                          <a:pt x="41805" y="17404"/>
                        </a:lnTo>
                        <a:lnTo>
                          <a:pt x="39174" y="16507"/>
                        </a:lnTo>
                        <a:lnTo>
                          <a:pt x="36542" y="15610"/>
                        </a:lnTo>
                        <a:lnTo>
                          <a:pt x="33911" y="14713"/>
                        </a:lnTo>
                        <a:lnTo>
                          <a:pt x="31279" y="13815"/>
                        </a:lnTo>
                        <a:lnTo>
                          <a:pt x="28648" y="12919"/>
                        </a:lnTo>
                        <a:lnTo>
                          <a:pt x="26016" y="12021"/>
                        </a:lnTo>
                        <a:lnTo>
                          <a:pt x="23385" y="11124"/>
                        </a:lnTo>
                        <a:lnTo>
                          <a:pt x="20753" y="10227"/>
                        </a:lnTo>
                        <a:lnTo>
                          <a:pt x="18122" y="9330"/>
                        </a:lnTo>
                        <a:lnTo>
                          <a:pt x="15490" y="8433"/>
                        </a:lnTo>
                        <a:lnTo>
                          <a:pt x="12859" y="7536"/>
                        </a:lnTo>
                        <a:lnTo>
                          <a:pt x="10227" y="6639"/>
                        </a:lnTo>
                        <a:lnTo>
                          <a:pt x="7596" y="5742"/>
                        </a:lnTo>
                        <a:lnTo>
                          <a:pt x="4964" y="4844"/>
                        </a:lnTo>
                        <a:lnTo>
                          <a:pt x="2333" y="3947"/>
                        </a:lnTo>
                        <a:lnTo>
                          <a:pt x="1136" y="3529"/>
                        </a:lnTo>
                      </a:path>
                    </a:pathLst>
                  </a:custGeom>
                  <a:noFill/>
                  <a:ln w="6350" cap="flat">
                    <a:solidFill>
                      <a:schemeClr val="bg1">
                        <a:alpha val="40000"/>
                      </a:schemeClr>
                    </a:solidFill>
                    <a:prstDash val="solid"/>
                    <a:miter/>
                  </a:ln>
                </p:spPr>
                <p:txBody>
                  <a:bodyPr rtlCol="0" anchor="ctr"/>
                  <a:lstStyle/>
                  <a:p>
                    <a:endParaRPr lang="en-GB"/>
                  </a:p>
                </p:txBody>
              </p:sp>
              <p:sp>
                <p:nvSpPr>
                  <p:cNvPr id="7620" name="Vrije vorm: vorm 7619">
                    <a:extLst>
                      <a:ext uri="{FF2B5EF4-FFF2-40B4-BE49-F238E27FC236}">
                        <a16:creationId xmlns:a16="http://schemas.microsoft.com/office/drawing/2014/main" id="{98989F8A-2140-478B-A2B3-0916F9AC1C44}"/>
                      </a:ext>
                    </a:extLst>
                  </p:cNvPr>
                  <p:cNvSpPr/>
                  <p:nvPr/>
                </p:nvSpPr>
                <p:spPr>
                  <a:xfrm>
                    <a:off x="5818903" y="5136164"/>
                    <a:ext cx="70273" cy="21949"/>
                  </a:xfrm>
                  <a:custGeom>
                    <a:avLst/>
                    <a:gdLst>
                      <a:gd name="connsiteX0" fmla="*/ 70273 w 70273"/>
                      <a:gd name="connsiteY0" fmla="*/ 10347 h 21949"/>
                      <a:gd name="connsiteX1" fmla="*/ 69915 w 70273"/>
                      <a:gd name="connsiteY1" fmla="*/ 11064 h 21949"/>
                      <a:gd name="connsiteX2" fmla="*/ 68360 w 70273"/>
                      <a:gd name="connsiteY2" fmla="*/ 14114 h 21949"/>
                      <a:gd name="connsiteX3" fmla="*/ 66805 w 70273"/>
                      <a:gd name="connsiteY3" fmla="*/ 17165 h 21949"/>
                      <a:gd name="connsiteX4" fmla="*/ 65250 w 70273"/>
                      <a:gd name="connsiteY4" fmla="*/ 20215 h 21949"/>
                      <a:gd name="connsiteX5" fmla="*/ 64353 w 70273"/>
                      <a:gd name="connsiteY5" fmla="*/ 21949 h 21949"/>
                      <a:gd name="connsiteX6" fmla="*/ 61721 w 70273"/>
                      <a:gd name="connsiteY6" fmla="*/ 21052 h 21949"/>
                      <a:gd name="connsiteX7" fmla="*/ 59090 w 70273"/>
                      <a:gd name="connsiteY7" fmla="*/ 20155 h 21949"/>
                      <a:gd name="connsiteX8" fmla="*/ 56458 w 70273"/>
                      <a:gd name="connsiteY8" fmla="*/ 19258 h 21949"/>
                      <a:gd name="connsiteX9" fmla="*/ 53827 w 70273"/>
                      <a:gd name="connsiteY9" fmla="*/ 18361 h 21949"/>
                      <a:gd name="connsiteX10" fmla="*/ 51195 w 70273"/>
                      <a:gd name="connsiteY10" fmla="*/ 17464 h 21949"/>
                      <a:gd name="connsiteX11" fmla="*/ 48563 w 70273"/>
                      <a:gd name="connsiteY11" fmla="*/ 16566 h 21949"/>
                      <a:gd name="connsiteX12" fmla="*/ 45932 w 70273"/>
                      <a:gd name="connsiteY12" fmla="*/ 15669 h 21949"/>
                      <a:gd name="connsiteX13" fmla="*/ 43300 w 70273"/>
                      <a:gd name="connsiteY13" fmla="*/ 14772 h 21949"/>
                      <a:gd name="connsiteX14" fmla="*/ 40669 w 70273"/>
                      <a:gd name="connsiteY14" fmla="*/ 13875 h 21949"/>
                      <a:gd name="connsiteX15" fmla="*/ 38037 w 70273"/>
                      <a:gd name="connsiteY15" fmla="*/ 12978 h 21949"/>
                      <a:gd name="connsiteX16" fmla="*/ 35406 w 70273"/>
                      <a:gd name="connsiteY16" fmla="*/ 12081 h 21949"/>
                      <a:gd name="connsiteX17" fmla="*/ 32774 w 70273"/>
                      <a:gd name="connsiteY17" fmla="*/ 11184 h 21949"/>
                      <a:gd name="connsiteX18" fmla="*/ 30143 w 70273"/>
                      <a:gd name="connsiteY18" fmla="*/ 10287 h 21949"/>
                      <a:gd name="connsiteX19" fmla="*/ 27512 w 70273"/>
                      <a:gd name="connsiteY19" fmla="*/ 9390 h 21949"/>
                      <a:gd name="connsiteX20" fmla="*/ 24880 w 70273"/>
                      <a:gd name="connsiteY20" fmla="*/ 8493 h 21949"/>
                      <a:gd name="connsiteX21" fmla="*/ 22248 w 70273"/>
                      <a:gd name="connsiteY21" fmla="*/ 7595 h 21949"/>
                      <a:gd name="connsiteX22" fmla="*/ 19617 w 70273"/>
                      <a:gd name="connsiteY22" fmla="*/ 6698 h 21949"/>
                      <a:gd name="connsiteX23" fmla="*/ 16985 w 70273"/>
                      <a:gd name="connsiteY23" fmla="*/ 5801 h 21949"/>
                      <a:gd name="connsiteX24" fmla="*/ 14354 w 70273"/>
                      <a:gd name="connsiteY24" fmla="*/ 4904 h 21949"/>
                      <a:gd name="connsiteX25" fmla="*/ 11722 w 70273"/>
                      <a:gd name="connsiteY25" fmla="*/ 4007 h 21949"/>
                      <a:gd name="connsiteX26" fmla="*/ 9091 w 70273"/>
                      <a:gd name="connsiteY26" fmla="*/ 3110 h 21949"/>
                      <a:gd name="connsiteX27" fmla="*/ 6459 w 70273"/>
                      <a:gd name="connsiteY27" fmla="*/ 2213 h 21949"/>
                      <a:gd name="connsiteX28" fmla="*/ 3828 w 70273"/>
                      <a:gd name="connsiteY28" fmla="*/ 1316 h 21949"/>
                      <a:gd name="connsiteX29" fmla="*/ 1196 w 70273"/>
                      <a:gd name="connsiteY29" fmla="*/ 419 h 21949"/>
                      <a:gd name="connsiteX30" fmla="*/ 0 w 70273"/>
                      <a:gd name="connsiteY30" fmla="*/ 0 h 2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0273" h="21949">
                        <a:moveTo>
                          <a:pt x="70273" y="10347"/>
                        </a:moveTo>
                        <a:lnTo>
                          <a:pt x="69915" y="11064"/>
                        </a:lnTo>
                        <a:lnTo>
                          <a:pt x="68360" y="14114"/>
                        </a:lnTo>
                        <a:lnTo>
                          <a:pt x="66805" y="17165"/>
                        </a:lnTo>
                        <a:lnTo>
                          <a:pt x="65250" y="20215"/>
                        </a:lnTo>
                        <a:lnTo>
                          <a:pt x="64353" y="21949"/>
                        </a:lnTo>
                        <a:lnTo>
                          <a:pt x="61721" y="21052"/>
                        </a:lnTo>
                        <a:lnTo>
                          <a:pt x="59090" y="20155"/>
                        </a:lnTo>
                        <a:lnTo>
                          <a:pt x="56458" y="19258"/>
                        </a:lnTo>
                        <a:lnTo>
                          <a:pt x="53827" y="18361"/>
                        </a:lnTo>
                        <a:lnTo>
                          <a:pt x="51195" y="17464"/>
                        </a:lnTo>
                        <a:lnTo>
                          <a:pt x="48563" y="16566"/>
                        </a:lnTo>
                        <a:lnTo>
                          <a:pt x="45932" y="15669"/>
                        </a:lnTo>
                        <a:lnTo>
                          <a:pt x="43300" y="14772"/>
                        </a:lnTo>
                        <a:lnTo>
                          <a:pt x="40669" y="13875"/>
                        </a:lnTo>
                        <a:lnTo>
                          <a:pt x="38037" y="12978"/>
                        </a:lnTo>
                        <a:lnTo>
                          <a:pt x="35406" y="12081"/>
                        </a:lnTo>
                        <a:lnTo>
                          <a:pt x="32774" y="11184"/>
                        </a:lnTo>
                        <a:lnTo>
                          <a:pt x="30143" y="10287"/>
                        </a:lnTo>
                        <a:lnTo>
                          <a:pt x="27512" y="9390"/>
                        </a:lnTo>
                        <a:lnTo>
                          <a:pt x="24880" y="8493"/>
                        </a:lnTo>
                        <a:lnTo>
                          <a:pt x="22248" y="7595"/>
                        </a:lnTo>
                        <a:lnTo>
                          <a:pt x="19617" y="6698"/>
                        </a:lnTo>
                        <a:lnTo>
                          <a:pt x="16985" y="5801"/>
                        </a:lnTo>
                        <a:lnTo>
                          <a:pt x="14354" y="4904"/>
                        </a:lnTo>
                        <a:lnTo>
                          <a:pt x="11722" y="4007"/>
                        </a:lnTo>
                        <a:lnTo>
                          <a:pt x="9091" y="3110"/>
                        </a:lnTo>
                        <a:lnTo>
                          <a:pt x="6459" y="2213"/>
                        </a:lnTo>
                        <a:lnTo>
                          <a:pt x="3828" y="1316"/>
                        </a:lnTo>
                        <a:lnTo>
                          <a:pt x="1196" y="41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21" name="Vrije vorm: vorm 7620">
                    <a:extLst>
                      <a:ext uri="{FF2B5EF4-FFF2-40B4-BE49-F238E27FC236}">
                        <a16:creationId xmlns:a16="http://schemas.microsoft.com/office/drawing/2014/main" id="{11E735D9-2440-48E0-B00C-01D4E8BEA244}"/>
                      </a:ext>
                    </a:extLst>
                  </p:cNvPr>
                  <p:cNvSpPr/>
                  <p:nvPr/>
                </p:nvSpPr>
                <p:spPr>
                  <a:xfrm>
                    <a:off x="5875481" y="5150278"/>
                    <a:ext cx="7834" cy="7774"/>
                  </a:xfrm>
                  <a:custGeom>
                    <a:avLst/>
                    <a:gdLst>
                      <a:gd name="connsiteX0" fmla="*/ 7835 w 7834"/>
                      <a:gd name="connsiteY0" fmla="*/ 7775 h 7774"/>
                      <a:gd name="connsiteX1" fmla="*/ 5801 w 7834"/>
                      <a:gd name="connsiteY1" fmla="*/ 5801 h 7774"/>
                      <a:gd name="connsiteX2" fmla="*/ 3768 w 7834"/>
                      <a:gd name="connsiteY2" fmla="*/ 3828 h 7774"/>
                      <a:gd name="connsiteX3" fmla="*/ 2930 w 7834"/>
                      <a:gd name="connsiteY3" fmla="*/ 2990 h 7774"/>
                      <a:gd name="connsiteX4" fmla="*/ 897 w 7834"/>
                      <a:gd name="connsiteY4" fmla="*/ 1017 h 7774"/>
                      <a:gd name="connsiteX5" fmla="*/ 0 w 7834"/>
                      <a:gd name="connsiteY5" fmla="*/ 0 h 7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4" h="7774">
                        <a:moveTo>
                          <a:pt x="7835" y="7775"/>
                        </a:moveTo>
                        <a:lnTo>
                          <a:pt x="5801" y="5801"/>
                        </a:lnTo>
                        <a:lnTo>
                          <a:pt x="3768" y="3828"/>
                        </a:lnTo>
                        <a:lnTo>
                          <a:pt x="2930" y="2990"/>
                        </a:lnTo>
                        <a:lnTo>
                          <a:pt x="897" y="1017"/>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22" name="Vrije vorm: vorm 7621">
                    <a:extLst>
                      <a:ext uri="{FF2B5EF4-FFF2-40B4-BE49-F238E27FC236}">
                        <a16:creationId xmlns:a16="http://schemas.microsoft.com/office/drawing/2014/main" id="{EA2B9028-1A91-4126-BB87-9BB04FDA2095}"/>
                      </a:ext>
                    </a:extLst>
                  </p:cNvPr>
                  <p:cNvSpPr/>
                  <p:nvPr/>
                </p:nvSpPr>
                <p:spPr>
                  <a:xfrm>
                    <a:off x="5817827" y="5130363"/>
                    <a:ext cx="71349" cy="19975"/>
                  </a:xfrm>
                  <a:custGeom>
                    <a:avLst/>
                    <a:gdLst>
                      <a:gd name="connsiteX0" fmla="*/ 71350 w 71349"/>
                      <a:gd name="connsiteY0" fmla="*/ 16148 h 19975"/>
                      <a:gd name="connsiteX1" fmla="*/ 69376 w 71349"/>
                      <a:gd name="connsiteY1" fmla="*/ 14115 h 19975"/>
                      <a:gd name="connsiteX2" fmla="*/ 67403 w 71349"/>
                      <a:gd name="connsiteY2" fmla="*/ 12081 h 19975"/>
                      <a:gd name="connsiteX3" fmla="*/ 65429 w 71349"/>
                      <a:gd name="connsiteY3" fmla="*/ 10048 h 19975"/>
                      <a:gd name="connsiteX4" fmla="*/ 63575 w 71349"/>
                      <a:gd name="connsiteY4" fmla="*/ 8074 h 19975"/>
                      <a:gd name="connsiteX5" fmla="*/ 62020 w 71349"/>
                      <a:gd name="connsiteY5" fmla="*/ 11124 h 19975"/>
                      <a:gd name="connsiteX6" fmla="*/ 61183 w 71349"/>
                      <a:gd name="connsiteY6" fmla="*/ 12799 h 19975"/>
                      <a:gd name="connsiteX7" fmla="*/ 60824 w 71349"/>
                      <a:gd name="connsiteY7" fmla="*/ 13457 h 19975"/>
                      <a:gd name="connsiteX8" fmla="*/ 59269 w 71349"/>
                      <a:gd name="connsiteY8" fmla="*/ 16507 h 19975"/>
                      <a:gd name="connsiteX9" fmla="*/ 59030 w 71349"/>
                      <a:gd name="connsiteY9" fmla="*/ 16985 h 19975"/>
                      <a:gd name="connsiteX10" fmla="*/ 57535 w 71349"/>
                      <a:gd name="connsiteY10" fmla="*/ 19976 h 19975"/>
                      <a:gd name="connsiteX11" fmla="*/ 54963 w 71349"/>
                      <a:gd name="connsiteY11" fmla="*/ 18959 h 19975"/>
                      <a:gd name="connsiteX12" fmla="*/ 52391 w 71349"/>
                      <a:gd name="connsiteY12" fmla="*/ 17942 h 19975"/>
                      <a:gd name="connsiteX13" fmla="*/ 49820 w 71349"/>
                      <a:gd name="connsiteY13" fmla="*/ 16926 h 19975"/>
                      <a:gd name="connsiteX14" fmla="*/ 47248 w 71349"/>
                      <a:gd name="connsiteY14" fmla="*/ 15909 h 19975"/>
                      <a:gd name="connsiteX15" fmla="*/ 44676 w 71349"/>
                      <a:gd name="connsiteY15" fmla="*/ 14892 h 19975"/>
                      <a:gd name="connsiteX16" fmla="*/ 42104 w 71349"/>
                      <a:gd name="connsiteY16" fmla="*/ 13875 h 19975"/>
                      <a:gd name="connsiteX17" fmla="*/ 39532 w 71349"/>
                      <a:gd name="connsiteY17" fmla="*/ 12859 h 19975"/>
                      <a:gd name="connsiteX18" fmla="*/ 36961 w 71349"/>
                      <a:gd name="connsiteY18" fmla="*/ 11842 h 19975"/>
                      <a:gd name="connsiteX19" fmla="*/ 34389 w 71349"/>
                      <a:gd name="connsiteY19" fmla="*/ 10825 h 19975"/>
                      <a:gd name="connsiteX20" fmla="*/ 31817 w 71349"/>
                      <a:gd name="connsiteY20" fmla="*/ 9808 h 19975"/>
                      <a:gd name="connsiteX21" fmla="*/ 30203 w 71349"/>
                      <a:gd name="connsiteY21" fmla="*/ 9151 h 19975"/>
                      <a:gd name="connsiteX22" fmla="*/ 27452 w 71349"/>
                      <a:gd name="connsiteY22" fmla="*/ 8552 h 19975"/>
                      <a:gd name="connsiteX23" fmla="*/ 24700 w 71349"/>
                      <a:gd name="connsiteY23" fmla="*/ 7954 h 19975"/>
                      <a:gd name="connsiteX24" fmla="*/ 21949 w 71349"/>
                      <a:gd name="connsiteY24" fmla="*/ 7357 h 19975"/>
                      <a:gd name="connsiteX25" fmla="*/ 20873 w 71349"/>
                      <a:gd name="connsiteY25" fmla="*/ 7117 h 19975"/>
                      <a:gd name="connsiteX26" fmla="*/ 18181 w 71349"/>
                      <a:gd name="connsiteY26" fmla="*/ 6280 h 19975"/>
                      <a:gd name="connsiteX27" fmla="*/ 15490 w 71349"/>
                      <a:gd name="connsiteY27" fmla="*/ 5443 h 19975"/>
                      <a:gd name="connsiteX28" fmla="*/ 12799 w 71349"/>
                      <a:gd name="connsiteY28" fmla="*/ 4605 h 19975"/>
                      <a:gd name="connsiteX29" fmla="*/ 10107 w 71349"/>
                      <a:gd name="connsiteY29" fmla="*/ 3768 h 19975"/>
                      <a:gd name="connsiteX30" fmla="*/ 9928 w 71349"/>
                      <a:gd name="connsiteY30" fmla="*/ 3708 h 19975"/>
                      <a:gd name="connsiteX31" fmla="*/ 7356 w 71349"/>
                      <a:gd name="connsiteY31" fmla="*/ 2751 h 19975"/>
                      <a:gd name="connsiteX32" fmla="*/ 4785 w 71349"/>
                      <a:gd name="connsiteY32" fmla="*/ 1794 h 19975"/>
                      <a:gd name="connsiteX33" fmla="*/ 2213 w 71349"/>
                      <a:gd name="connsiteY33" fmla="*/ 837 h 19975"/>
                      <a:gd name="connsiteX34" fmla="*/ 0 w 71349"/>
                      <a:gd name="connsiteY34" fmla="*/ 0 h 1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1349" h="19975">
                        <a:moveTo>
                          <a:pt x="71350" y="16148"/>
                        </a:moveTo>
                        <a:lnTo>
                          <a:pt x="69376" y="14115"/>
                        </a:lnTo>
                        <a:lnTo>
                          <a:pt x="67403" y="12081"/>
                        </a:lnTo>
                        <a:lnTo>
                          <a:pt x="65429" y="10048"/>
                        </a:lnTo>
                        <a:lnTo>
                          <a:pt x="63575" y="8074"/>
                        </a:lnTo>
                        <a:lnTo>
                          <a:pt x="62020" y="11124"/>
                        </a:lnTo>
                        <a:lnTo>
                          <a:pt x="61183" y="12799"/>
                        </a:lnTo>
                        <a:lnTo>
                          <a:pt x="60824" y="13457"/>
                        </a:lnTo>
                        <a:lnTo>
                          <a:pt x="59269" y="16507"/>
                        </a:lnTo>
                        <a:lnTo>
                          <a:pt x="59030" y="16985"/>
                        </a:lnTo>
                        <a:lnTo>
                          <a:pt x="57535" y="19976"/>
                        </a:lnTo>
                        <a:lnTo>
                          <a:pt x="54963" y="18959"/>
                        </a:lnTo>
                        <a:lnTo>
                          <a:pt x="52391" y="17942"/>
                        </a:lnTo>
                        <a:lnTo>
                          <a:pt x="49820" y="16926"/>
                        </a:lnTo>
                        <a:lnTo>
                          <a:pt x="47248" y="15909"/>
                        </a:lnTo>
                        <a:lnTo>
                          <a:pt x="44676" y="14892"/>
                        </a:lnTo>
                        <a:lnTo>
                          <a:pt x="42104" y="13875"/>
                        </a:lnTo>
                        <a:lnTo>
                          <a:pt x="39532" y="12859"/>
                        </a:lnTo>
                        <a:lnTo>
                          <a:pt x="36961" y="11842"/>
                        </a:lnTo>
                        <a:lnTo>
                          <a:pt x="34389" y="10825"/>
                        </a:lnTo>
                        <a:lnTo>
                          <a:pt x="31817" y="9808"/>
                        </a:lnTo>
                        <a:lnTo>
                          <a:pt x="30203" y="9151"/>
                        </a:lnTo>
                        <a:lnTo>
                          <a:pt x="27452" y="8552"/>
                        </a:lnTo>
                        <a:lnTo>
                          <a:pt x="24700" y="7954"/>
                        </a:lnTo>
                        <a:lnTo>
                          <a:pt x="21949" y="7357"/>
                        </a:lnTo>
                        <a:lnTo>
                          <a:pt x="20873" y="7117"/>
                        </a:lnTo>
                        <a:lnTo>
                          <a:pt x="18181" y="6280"/>
                        </a:lnTo>
                        <a:lnTo>
                          <a:pt x="15490" y="5443"/>
                        </a:lnTo>
                        <a:lnTo>
                          <a:pt x="12799" y="4605"/>
                        </a:lnTo>
                        <a:lnTo>
                          <a:pt x="10107" y="3768"/>
                        </a:lnTo>
                        <a:lnTo>
                          <a:pt x="9928" y="3708"/>
                        </a:lnTo>
                        <a:lnTo>
                          <a:pt x="7356" y="2751"/>
                        </a:lnTo>
                        <a:lnTo>
                          <a:pt x="4785" y="1794"/>
                        </a:lnTo>
                        <a:lnTo>
                          <a:pt x="2213" y="837"/>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23" name="Vrije vorm: vorm 7622">
                    <a:extLst>
                      <a:ext uri="{FF2B5EF4-FFF2-40B4-BE49-F238E27FC236}">
                        <a16:creationId xmlns:a16="http://schemas.microsoft.com/office/drawing/2014/main" id="{8D511B64-9CCB-444C-B9E6-B2DC0CEA2F9A}"/>
                      </a:ext>
                    </a:extLst>
                  </p:cNvPr>
                  <p:cNvSpPr/>
                  <p:nvPr/>
                </p:nvSpPr>
                <p:spPr>
                  <a:xfrm>
                    <a:off x="5876976" y="5102612"/>
                    <a:ext cx="16327" cy="17463"/>
                  </a:xfrm>
                  <a:custGeom>
                    <a:avLst/>
                    <a:gdLst>
                      <a:gd name="connsiteX0" fmla="*/ 7296 w 16327"/>
                      <a:gd name="connsiteY0" fmla="*/ 0 h 17463"/>
                      <a:gd name="connsiteX1" fmla="*/ 9090 w 16327"/>
                      <a:gd name="connsiteY1" fmla="*/ 2213 h 17463"/>
                      <a:gd name="connsiteX2" fmla="*/ 10406 w 16327"/>
                      <a:gd name="connsiteY2" fmla="*/ 3768 h 17463"/>
                      <a:gd name="connsiteX3" fmla="*/ 12201 w 16327"/>
                      <a:gd name="connsiteY3" fmla="*/ 5981 h 17463"/>
                      <a:gd name="connsiteX4" fmla="*/ 13995 w 16327"/>
                      <a:gd name="connsiteY4" fmla="*/ 8194 h 17463"/>
                      <a:gd name="connsiteX5" fmla="*/ 15789 w 16327"/>
                      <a:gd name="connsiteY5" fmla="*/ 10406 h 17463"/>
                      <a:gd name="connsiteX6" fmla="*/ 16327 w 16327"/>
                      <a:gd name="connsiteY6" fmla="*/ 11064 h 17463"/>
                      <a:gd name="connsiteX7" fmla="*/ 15968 w 16327"/>
                      <a:gd name="connsiteY7" fmla="*/ 11722 h 17463"/>
                      <a:gd name="connsiteX8" fmla="*/ 14413 w 16327"/>
                      <a:gd name="connsiteY8" fmla="*/ 14772 h 17463"/>
                      <a:gd name="connsiteX9" fmla="*/ 13038 w 16327"/>
                      <a:gd name="connsiteY9" fmla="*/ 17464 h 17463"/>
                      <a:gd name="connsiteX10" fmla="*/ 10406 w 16327"/>
                      <a:gd name="connsiteY10" fmla="*/ 16506 h 17463"/>
                      <a:gd name="connsiteX11" fmla="*/ 7775 w 16327"/>
                      <a:gd name="connsiteY11" fmla="*/ 15550 h 17463"/>
                      <a:gd name="connsiteX12" fmla="*/ 5143 w 16327"/>
                      <a:gd name="connsiteY12" fmla="*/ 14593 h 17463"/>
                      <a:gd name="connsiteX13" fmla="*/ 2512 w 16327"/>
                      <a:gd name="connsiteY13" fmla="*/ 13636 h 17463"/>
                      <a:gd name="connsiteX14" fmla="*/ 0 w 16327"/>
                      <a:gd name="connsiteY14" fmla="*/ 12739 h 17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27" h="17463">
                        <a:moveTo>
                          <a:pt x="7296" y="0"/>
                        </a:moveTo>
                        <a:lnTo>
                          <a:pt x="9090" y="2213"/>
                        </a:lnTo>
                        <a:lnTo>
                          <a:pt x="10406" y="3768"/>
                        </a:lnTo>
                        <a:lnTo>
                          <a:pt x="12201" y="5981"/>
                        </a:lnTo>
                        <a:lnTo>
                          <a:pt x="13995" y="8194"/>
                        </a:lnTo>
                        <a:lnTo>
                          <a:pt x="15789" y="10406"/>
                        </a:lnTo>
                        <a:lnTo>
                          <a:pt x="16327" y="11064"/>
                        </a:lnTo>
                        <a:lnTo>
                          <a:pt x="15968" y="11722"/>
                        </a:lnTo>
                        <a:lnTo>
                          <a:pt x="14413" y="14772"/>
                        </a:lnTo>
                        <a:lnTo>
                          <a:pt x="13038" y="17464"/>
                        </a:lnTo>
                        <a:lnTo>
                          <a:pt x="10406" y="16506"/>
                        </a:lnTo>
                        <a:lnTo>
                          <a:pt x="7775" y="15550"/>
                        </a:lnTo>
                        <a:lnTo>
                          <a:pt x="5143" y="14593"/>
                        </a:lnTo>
                        <a:lnTo>
                          <a:pt x="2512" y="13636"/>
                        </a:lnTo>
                        <a:lnTo>
                          <a:pt x="0" y="12739"/>
                        </a:lnTo>
                      </a:path>
                    </a:pathLst>
                  </a:custGeom>
                  <a:noFill/>
                  <a:ln w="6350" cap="flat">
                    <a:solidFill>
                      <a:schemeClr val="bg1">
                        <a:alpha val="40000"/>
                      </a:schemeClr>
                    </a:solidFill>
                    <a:prstDash val="solid"/>
                    <a:miter/>
                  </a:ln>
                </p:spPr>
                <p:txBody>
                  <a:bodyPr rtlCol="0" anchor="ctr"/>
                  <a:lstStyle/>
                  <a:p>
                    <a:endParaRPr lang="en-GB"/>
                  </a:p>
                </p:txBody>
              </p:sp>
              <p:sp>
                <p:nvSpPr>
                  <p:cNvPr id="7624" name="Vrije vorm: vorm 7623">
                    <a:extLst>
                      <a:ext uri="{FF2B5EF4-FFF2-40B4-BE49-F238E27FC236}">
                        <a16:creationId xmlns:a16="http://schemas.microsoft.com/office/drawing/2014/main" id="{9A90B641-62D5-423C-A478-25E01881D72F}"/>
                      </a:ext>
                    </a:extLst>
                  </p:cNvPr>
                  <p:cNvSpPr/>
                  <p:nvPr/>
                </p:nvSpPr>
                <p:spPr>
                  <a:xfrm>
                    <a:off x="5880385" y="5113019"/>
                    <a:ext cx="657" cy="1375"/>
                  </a:xfrm>
                  <a:custGeom>
                    <a:avLst/>
                    <a:gdLst>
                      <a:gd name="connsiteX0" fmla="*/ 0 w 657"/>
                      <a:gd name="connsiteY0" fmla="*/ 1375 h 1375"/>
                      <a:gd name="connsiteX1" fmla="*/ 658 w 657"/>
                      <a:gd name="connsiteY1" fmla="*/ 0 h 1375"/>
                    </a:gdLst>
                    <a:ahLst/>
                    <a:cxnLst>
                      <a:cxn ang="0">
                        <a:pos x="connsiteX0" y="connsiteY0"/>
                      </a:cxn>
                      <a:cxn ang="0">
                        <a:pos x="connsiteX1" y="connsiteY1"/>
                      </a:cxn>
                    </a:cxnLst>
                    <a:rect l="l" t="t" r="r" b="b"/>
                    <a:pathLst>
                      <a:path w="657" h="1375">
                        <a:moveTo>
                          <a:pt x="0" y="1375"/>
                        </a:moveTo>
                        <a:lnTo>
                          <a:pt x="658" y="0"/>
                        </a:lnTo>
                      </a:path>
                    </a:pathLst>
                  </a:custGeom>
                  <a:noFill/>
                  <a:ln w="6350" cap="flat">
                    <a:solidFill>
                      <a:schemeClr val="bg1">
                        <a:alpha val="40000"/>
                      </a:schemeClr>
                    </a:solidFill>
                    <a:prstDash val="solid"/>
                    <a:miter/>
                  </a:ln>
                </p:spPr>
                <p:txBody>
                  <a:bodyPr rtlCol="0" anchor="ctr"/>
                  <a:lstStyle/>
                  <a:p>
                    <a:endParaRPr lang="en-GB"/>
                  </a:p>
                </p:txBody>
              </p:sp>
              <p:sp>
                <p:nvSpPr>
                  <p:cNvPr id="7625" name="Vrije vorm: vorm 7624">
                    <a:extLst>
                      <a:ext uri="{FF2B5EF4-FFF2-40B4-BE49-F238E27FC236}">
                        <a16:creationId xmlns:a16="http://schemas.microsoft.com/office/drawing/2014/main" id="{24034684-E759-4A8B-97A2-EE99B508CCE5}"/>
                      </a:ext>
                    </a:extLst>
                  </p:cNvPr>
                  <p:cNvSpPr/>
                  <p:nvPr/>
                </p:nvSpPr>
                <p:spPr>
                  <a:xfrm>
                    <a:off x="5878292" y="5112301"/>
                    <a:ext cx="4904" cy="2810"/>
                  </a:xfrm>
                  <a:custGeom>
                    <a:avLst/>
                    <a:gdLst>
                      <a:gd name="connsiteX0" fmla="*/ 0 w 4904"/>
                      <a:gd name="connsiteY0" fmla="*/ 718 h 2810"/>
                      <a:gd name="connsiteX1" fmla="*/ 2093 w 4904"/>
                      <a:gd name="connsiteY1" fmla="*/ 2093 h 2810"/>
                      <a:gd name="connsiteX2" fmla="*/ 4545 w 4904"/>
                      <a:gd name="connsiteY2" fmla="*/ 2811 h 2810"/>
                      <a:gd name="connsiteX3" fmla="*/ 4904 w 4904"/>
                      <a:gd name="connsiteY3" fmla="*/ 2153 h 2810"/>
                      <a:gd name="connsiteX4" fmla="*/ 2751 w 4904"/>
                      <a:gd name="connsiteY4" fmla="*/ 718 h 2810"/>
                      <a:gd name="connsiteX5" fmla="*/ 2691 w 4904"/>
                      <a:gd name="connsiteY5" fmla="*/ 718 h 2810"/>
                      <a:gd name="connsiteX6" fmla="*/ 299 w 4904"/>
                      <a:gd name="connsiteY6" fmla="*/ 0 h 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4" h="2810">
                        <a:moveTo>
                          <a:pt x="0" y="718"/>
                        </a:moveTo>
                        <a:lnTo>
                          <a:pt x="2093" y="2093"/>
                        </a:lnTo>
                        <a:lnTo>
                          <a:pt x="4545" y="2811"/>
                        </a:lnTo>
                        <a:lnTo>
                          <a:pt x="4904" y="2153"/>
                        </a:lnTo>
                        <a:lnTo>
                          <a:pt x="2751" y="718"/>
                        </a:lnTo>
                        <a:lnTo>
                          <a:pt x="2691" y="718"/>
                        </a:lnTo>
                        <a:lnTo>
                          <a:pt x="299" y="0"/>
                        </a:lnTo>
                      </a:path>
                    </a:pathLst>
                  </a:custGeom>
                  <a:noFill/>
                  <a:ln w="6350" cap="flat">
                    <a:solidFill>
                      <a:schemeClr val="bg1">
                        <a:alpha val="40000"/>
                      </a:schemeClr>
                    </a:solidFill>
                    <a:prstDash val="solid"/>
                    <a:miter/>
                  </a:ln>
                </p:spPr>
                <p:txBody>
                  <a:bodyPr rtlCol="0" anchor="ctr"/>
                  <a:lstStyle/>
                  <a:p>
                    <a:endParaRPr lang="en-GB"/>
                  </a:p>
                </p:txBody>
              </p:sp>
              <p:sp>
                <p:nvSpPr>
                  <p:cNvPr id="7626" name="Vrije vorm: vorm 7625">
                    <a:extLst>
                      <a:ext uri="{FF2B5EF4-FFF2-40B4-BE49-F238E27FC236}">
                        <a16:creationId xmlns:a16="http://schemas.microsoft.com/office/drawing/2014/main" id="{FF03A1DA-F088-46FE-A7F3-60D7FAADC8B4}"/>
                      </a:ext>
                    </a:extLst>
                  </p:cNvPr>
                  <p:cNvSpPr/>
                  <p:nvPr/>
                </p:nvSpPr>
                <p:spPr>
                  <a:xfrm>
                    <a:off x="5880863" y="5109251"/>
                    <a:ext cx="9270" cy="10765"/>
                  </a:xfrm>
                  <a:custGeom>
                    <a:avLst/>
                    <a:gdLst>
                      <a:gd name="connsiteX0" fmla="*/ 9270 w 9270"/>
                      <a:gd name="connsiteY0" fmla="*/ 10765 h 10765"/>
                      <a:gd name="connsiteX1" fmla="*/ 7416 w 9270"/>
                      <a:gd name="connsiteY1" fmla="*/ 8612 h 10765"/>
                      <a:gd name="connsiteX2" fmla="*/ 5562 w 9270"/>
                      <a:gd name="connsiteY2" fmla="*/ 6459 h 10765"/>
                      <a:gd name="connsiteX3" fmla="*/ 3708 w 9270"/>
                      <a:gd name="connsiteY3" fmla="*/ 4306 h 10765"/>
                      <a:gd name="connsiteX4" fmla="*/ 3170 w 9270"/>
                      <a:gd name="connsiteY4" fmla="*/ 3648 h 10765"/>
                      <a:gd name="connsiteX5" fmla="*/ 1316 w 9270"/>
                      <a:gd name="connsiteY5" fmla="*/ 1495 h 10765"/>
                      <a:gd name="connsiteX6" fmla="*/ 0 w 9270"/>
                      <a:gd name="connsiteY6" fmla="*/ 0 h 1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0" h="10765">
                        <a:moveTo>
                          <a:pt x="9270" y="10765"/>
                        </a:moveTo>
                        <a:lnTo>
                          <a:pt x="7416" y="8612"/>
                        </a:lnTo>
                        <a:lnTo>
                          <a:pt x="5562" y="6459"/>
                        </a:lnTo>
                        <a:lnTo>
                          <a:pt x="3708" y="4306"/>
                        </a:lnTo>
                        <a:lnTo>
                          <a:pt x="3170" y="3648"/>
                        </a:lnTo>
                        <a:lnTo>
                          <a:pt x="1316" y="1495"/>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27" name="Vrije vorm: vorm 7626">
                    <a:extLst>
                      <a:ext uri="{FF2B5EF4-FFF2-40B4-BE49-F238E27FC236}">
                        <a16:creationId xmlns:a16="http://schemas.microsoft.com/office/drawing/2014/main" id="{F92F50F7-E67B-49D8-9CEE-3CA55A27CCF7}"/>
                      </a:ext>
                    </a:extLst>
                  </p:cNvPr>
                  <p:cNvSpPr/>
                  <p:nvPr/>
                </p:nvSpPr>
                <p:spPr>
                  <a:xfrm>
                    <a:off x="5880205" y="5102612"/>
                    <a:ext cx="4066" cy="6757"/>
                  </a:xfrm>
                  <a:custGeom>
                    <a:avLst/>
                    <a:gdLst>
                      <a:gd name="connsiteX0" fmla="*/ 3349 w 4066"/>
                      <a:gd name="connsiteY0" fmla="*/ 119 h 6757"/>
                      <a:gd name="connsiteX1" fmla="*/ 4067 w 4066"/>
                      <a:gd name="connsiteY1" fmla="*/ 0 h 6757"/>
                      <a:gd name="connsiteX2" fmla="*/ 2512 w 4066"/>
                      <a:gd name="connsiteY2" fmla="*/ 3050 h 6757"/>
                      <a:gd name="connsiteX3" fmla="*/ 957 w 4066"/>
                      <a:gd name="connsiteY3" fmla="*/ 6100 h 6757"/>
                      <a:gd name="connsiteX4" fmla="*/ 718 w 4066"/>
                      <a:gd name="connsiteY4" fmla="*/ 6579 h 6757"/>
                      <a:gd name="connsiteX5" fmla="*/ 718 w 4066"/>
                      <a:gd name="connsiteY5" fmla="*/ 6639 h 6757"/>
                      <a:gd name="connsiteX6" fmla="*/ 0 w 4066"/>
                      <a:gd name="connsiteY6" fmla="*/ 6758 h 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6" h="6757">
                        <a:moveTo>
                          <a:pt x="3349" y="119"/>
                        </a:moveTo>
                        <a:lnTo>
                          <a:pt x="4067" y="0"/>
                        </a:lnTo>
                        <a:lnTo>
                          <a:pt x="2512" y="3050"/>
                        </a:lnTo>
                        <a:lnTo>
                          <a:pt x="957" y="6100"/>
                        </a:lnTo>
                        <a:lnTo>
                          <a:pt x="718" y="6579"/>
                        </a:lnTo>
                        <a:lnTo>
                          <a:pt x="718" y="6639"/>
                        </a:lnTo>
                        <a:lnTo>
                          <a:pt x="0" y="6758"/>
                        </a:lnTo>
                      </a:path>
                    </a:pathLst>
                  </a:custGeom>
                  <a:noFill/>
                  <a:ln w="6350" cap="flat">
                    <a:solidFill>
                      <a:schemeClr val="bg1">
                        <a:alpha val="40000"/>
                      </a:schemeClr>
                    </a:solidFill>
                    <a:prstDash val="solid"/>
                    <a:miter/>
                  </a:ln>
                </p:spPr>
                <p:txBody>
                  <a:bodyPr rtlCol="0" anchor="ctr"/>
                  <a:lstStyle/>
                  <a:p>
                    <a:endParaRPr lang="en-GB"/>
                  </a:p>
                </p:txBody>
              </p:sp>
              <p:sp>
                <p:nvSpPr>
                  <p:cNvPr id="7628" name="Vrije vorm: vorm 7627">
                    <a:extLst>
                      <a:ext uri="{FF2B5EF4-FFF2-40B4-BE49-F238E27FC236}">
                        <a16:creationId xmlns:a16="http://schemas.microsoft.com/office/drawing/2014/main" id="{7C109694-B5E6-4A34-AA41-23E826F31FBC}"/>
                      </a:ext>
                    </a:extLst>
                  </p:cNvPr>
                  <p:cNvSpPr/>
                  <p:nvPr/>
                </p:nvSpPr>
                <p:spPr>
                  <a:xfrm>
                    <a:off x="5858555" y="5231078"/>
                    <a:ext cx="1555" cy="2392"/>
                  </a:xfrm>
                  <a:custGeom>
                    <a:avLst/>
                    <a:gdLst>
                      <a:gd name="connsiteX0" fmla="*/ 1196 w 1555"/>
                      <a:gd name="connsiteY0" fmla="*/ 0 h 2392"/>
                      <a:gd name="connsiteX1" fmla="*/ 1495 w 1555"/>
                      <a:gd name="connsiteY1" fmla="*/ 120 h 2392"/>
                      <a:gd name="connsiteX2" fmla="*/ 1555 w 1555"/>
                      <a:gd name="connsiteY2" fmla="*/ 239 h 2392"/>
                      <a:gd name="connsiteX3" fmla="*/ 1555 w 1555"/>
                      <a:gd name="connsiteY3" fmla="*/ 419 h 2392"/>
                      <a:gd name="connsiteX4" fmla="*/ 1555 w 1555"/>
                      <a:gd name="connsiteY4" fmla="*/ 479 h 2392"/>
                      <a:gd name="connsiteX5" fmla="*/ 1555 w 1555"/>
                      <a:gd name="connsiteY5" fmla="*/ 658 h 2392"/>
                      <a:gd name="connsiteX6" fmla="*/ 1495 w 1555"/>
                      <a:gd name="connsiteY6" fmla="*/ 897 h 2392"/>
                      <a:gd name="connsiteX7" fmla="*/ 1375 w 1555"/>
                      <a:gd name="connsiteY7" fmla="*/ 1196 h 2392"/>
                      <a:gd name="connsiteX8" fmla="*/ 1256 w 1555"/>
                      <a:gd name="connsiteY8" fmla="*/ 1495 h 2392"/>
                      <a:gd name="connsiteX9" fmla="*/ 1076 w 1555"/>
                      <a:gd name="connsiteY9" fmla="*/ 1794 h 2392"/>
                      <a:gd name="connsiteX10" fmla="*/ 957 w 1555"/>
                      <a:gd name="connsiteY10" fmla="*/ 1914 h 2392"/>
                      <a:gd name="connsiteX11" fmla="*/ 897 w 1555"/>
                      <a:gd name="connsiteY11" fmla="*/ 2033 h 2392"/>
                      <a:gd name="connsiteX12" fmla="*/ 718 w 1555"/>
                      <a:gd name="connsiteY12" fmla="*/ 2213 h 2392"/>
                      <a:gd name="connsiteX13" fmla="*/ 538 w 1555"/>
                      <a:gd name="connsiteY13" fmla="*/ 2333 h 2392"/>
                      <a:gd name="connsiteX14" fmla="*/ 479 w 1555"/>
                      <a:gd name="connsiteY14" fmla="*/ 2333 h 2392"/>
                      <a:gd name="connsiteX15" fmla="*/ 419 w 1555"/>
                      <a:gd name="connsiteY15" fmla="*/ 2392 h 2392"/>
                      <a:gd name="connsiteX16" fmla="*/ 299 w 1555"/>
                      <a:gd name="connsiteY16" fmla="*/ 2392 h 2392"/>
                      <a:gd name="connsiteX17" fmla="*/ 0 w 1555"/>
                      <a:gd name="connsiteY17" fmla="*/ 2273 h 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55" h="2392">
                        <a:moveTo>
                          <a:pt x="1196" y="0"/>
                        </a:moveTo>
                        <a:lnTo>
                          <a:pt x="1495" y="120"/>
                        </a:lnTo>
                        <a:lnTo>
                          <a:pt x="1555" y="239"/>
                        </a:lnTo>
                        <a:lnTo>
                          <a:pt x="1555" y="419"/>
                        </a:lnTo>
                        <a:lnTo>
                          <a:pt x="1555" y="479"/>
                        </a:lnTo>
                        <a:lnTo>
                          <a:pt x="1555" y="658"/>
                        </a:lnTo>
                        <a:lnTo>
                          <a:pt x="1495" y="897"/>
                        </a:lnTo>
                        <a:lnTo>
                          <a:pt x="1375" y="1196"/>
                        </a:lnTo>
                        <a:lnTo>
                          <a:pt x="1256" y="1495"/>
                        </a:lnTo>
                        <a:lnTo>
                          <a:pt x="1076" y="1794"/>
                        </a:lnTo>
                        <a:lnTo>
                          <a:pt x="957" y="1914"/>
                        </a:lnTo>
                        <a:lnTo>
                          <a:pt x="897" y="2033"/>
                        </a:lnTo>
                        <a:lnTo>
                          <a:pt x="718" y="2213"/>
                        </a:lnTo>
                        <a:lnTo>
                          <a:pt x="538" y="2333"/>
                        </a:lnTo>
                        <a:lnTo>
                          <a:pt x="479" y="2333"/>
                        </a:lnTo>
                        <a:lnTo>
                          <a:pt x="419" y="2392"/>
                        </a:lnTo>
                        <a:lnTo>
                          <a:pt x="299" y="2392"/>
                        </a:lnTo>
                        <a:lnTo>
                          <a:pt x="0" y="2273"/>
                        </a:lnTo>
                      </a:path>
                    </a:pathLst>
                  </a:custGeom>
                  <a:noFill/>
                  <a:ln w="6350" cap="flat">
                    <a:solidFill>
                      <a:schemeClr val="bg1">
                        <a:alpha val="40000"/>
                      </a:schemeClr>
                    </a:solidFill>
                    <a:prstDash val="solid"/>
                    <a:miter/>
                  </a:ln>
                </p:spPr>
                <p:txBody>
                  <a:bodyPr rtlCol="0" anchor="ctr"/>
                  <a:lstStyle/>
                  <a:p>
                    <a:endParaRPr lang="en-GB"/>
                  </a:p>
                </p:txBody>
              </p:sp>
              <p:sp>
                <p:nvSpPr>
                  <p:cNvPr id="7629" name="Vrije vorm: vorm 7628">
                    <a:extLst>
                      <a:ext uri="{FF2B5EF4-FFF2-40B4-BE49-F238E27FC236}">
                        <a16:creationId xmlns:a16="http://schemas.microsoft.com/office/drawing/2014/main" id="{7214AB65-7EA5-4A7F-89F9-6AC18B364814}"/>
                      </a:ext>
                    </a:extLst>
                  </p:cNvPr>
                  <p:cNvSpPr/>
                  <p:nvPr/>
                </p:nvSpPr>
                <p:spPr>
                  <a:xfrm>
                    <a:off x="5859751" y="5231676"/>
                    <a:ext cx="1315" cy="2392"/>
                  </a:xfrm>
                  <a:custGeom>
                    <a:avLst/>
                    <a:gdLst>
                      <a:gd name="connsiteX0" fmla="*/ 1196 w 1315"/>
                      <a:gd name="connsiteY0" fmla="*/ 120 h 2392"/>
                      <a:gd name="connsiteX1" fmla="*/ 1076 w 1315"/>
                      <a:gd name="connsiteY1" fmla="*/ 120 h 2392"/>
                      <a:gd name="connsiteX2" fmla="*/ 957 w 1315"/>
                      <a:gd name="connsiteY2" fmla="*/ 180 h 2392"/>
                      <a:gd name="connsiteX3" fmla="*/ 778 w 1315"/>
                      <a:gd name="connsiteY3" fmla="*/ 299 h 2392"/>
                      <a:gd name="connsiteX4" fmla="*/ 598 w 1315"/>
                      <a:gd name="connsiteY4" fmla="*/ 479 h 2392"/>
                      <a:gd name="connsiteX5" fmla="*/ 538 w 1315"/>
                      <a:gd name="connsiteY5" fmla="*/ 598 h 2392"/>
                      <a:gd name="connsiteX6" fmla="*/ 419 w 1315"/>
                      <a:gd name="connsiteY6" fmla="*/ 718 h 2392"/>
                      <a:gd name="connsiteX7" fmla="*/ 239 w 1315"/>
                      <a:gd name="connsiteY7" fmla="*/ 1017 h 2392"/>
                      <a:gd name="connsiteX8" fmla="*/ 120 w 1315"/>
                      <a:gd name="connsiteY8" fmla="*/ 1316 h 2392"/>
                      <a:gd name="connsiteX9" fmla="*/ 60 w 1315"/>
                      <a:gd name="connsiteY9" fmla="*/ 1555 h 2392"/>
                      <a:gd name="connsiteX10" fmla="*/ 60 w 1315"/>
                      <a:gd name="connsiteY10" fmla="*/ 1615 h 2392"/>
                      <a:gd name="connsiteX11" fmla="*/ 0 w 1315"/>
                      <a:gd name="connsiteY11" fmla="*/ 1854 h 2392"/>
                      <a:gd name="connsiteX12" fmla="*/ 0 w 1315"/>
                      <a:gd name="connsiteY12" fmla="*/ 2093 h 2392"/>
                      <a:gd name="connsiteX13" fmla="*/ 0 w 1315"/>
                      <a:gd name="connsiteY13" fmla="*/ 2153 h 2392"/>
                      <a:gd name="connsiteX14" fmla="*/ 0 w 1315"/>
                      <a:gd name="connsiteY14" fmla="*/ 2273 h 2392"/>
                      <a:gd name="connsiteX15" fmla="*/ 60 w 1315"/>
                      <a:gd name="connsiteY15" fmla="*/ 2392 h 2392"/>
                      <a:gd name="connsiteX16" fmla="*/ 179 w 1315"/>
                      <a:gd name="connsiteY16" fmla="*/ 2392 h 2392"/>
                      <a:gd name="connsiteX17" fmla="*/ 299 w 1315"/>
                      <a:gd name="connsiteY17" fmla="*/ 2333 h 2392"/>
                      <a:gd name="connsiteX18" fmla="*/ 479 w 1315"/>
                      <a:gd name="connsiteY18" fmla="*/ 2213 h 2392"/>
                      <a:gd name="connsiteX19" fmla="*/ 658 w 1315"/>
                      <a:gd name="connsiteY19" fmla="*/ 2034 h 2392"/>
                      <a:gd name="connsiteX20" fmla="*/ 837 w 1315"/>
                      <a:gd name="connsiteY20" fmla="*/ 1794 h 2392"/>
                      <a:gd name="connsiteX21" fmla="*/ 1017 w 1315"/>
                      <a:gd name="connsiteY21" fmla="*/ 1495 h 2392"/>
                      <a:gd name="connsiteX22" fmla="*/ 1136 w 1315"/>
                      <a:gd name="connsiteY22" fmla="*/ 1196 h 2392"/>
                      <a:gd name="connsiteX23" fmla="*/ 1256 w 1315"/>
                      <a:gd name="connsiteY23" fmla="*/ 897 h 2392"/>
                      <a:gd name="connsiteX24" fmla="*/ 1316 w 1315"/>
                      <a:gd name="connsiteY24" fmla="*/ 658 h 2392"/>
                      <a:gd name="connsiteX25" fmla="*/ 1316 w 1315"/>
                      <a:gd name="connsiteY25" fmla="*/ 419 h 2392"/>
                      <a:gd name="connsiteX26" fmla="*/ 1316 w 1315"/>
                      <a:gd name="connsiteY26" fmla="*/ 239 h 2392"/>
                      <a:gd name="connsiteX27" fmla="*/ 1196 w 1315"/>
                      <a:gd name="connsiteY27" fmla="*/ 120 h 2392"/>
                      <a:gd name="connsiteX28" fmla="*/ 897 w 1315"/>
                      <a:gd name="connsiteY28" fmla="*/ 0 h 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15" h="2392">
                        <a:moveTo>
                          <a:pt x="1196" y="120"/>
                        </a:moveTo>
                        <a:lnTo>
                          <a:pt x="1076" y="120"/>
                        </a:lnTo>
                        <a:lnTo>
                          <a:pt x="957" y="180"/>
                        </a:lnTo>
                        <a:lnTo>
                          <a:pt x="778" y="299"/>
                        </a:lnTo>
                        <a:lnTo>
                          <a:pt x="598" y="479"/>
                        </a:lnTo>
                        <a:lnTo>
                          <a:pt x="538" y="598"/>
                        </a:lnTo>
                        <a:lnTo>
                          <a:pt x="419" y="718"/>
                        </a:lnTo>
                        <a:lnTo>
                          <a:pt x="239" y="1017"/>
                        </a:lnTo>
                        <a:lnTo>
                          <a:pt x="120" y="1316"/>
                        </a:lnTo>
                        <a:lnTo>
                          <a:pt x="60" y="1555"/>
                        </a:lnTo>
                        <a:lnTo>
                          <a:pt x="60" y="1615"/>
                        </a:lnTo>
                        <a:lnTo>
                          <a:pt x="0" y="1854"/>
                        </a:lnTo>
                        <a:lnTo>
                          <a:pt x="0" y="2093"/>
                        </a:lnTo>
                        <a:lnTo>
                          <a:pt x="0" y="2153"/>
                        </a:lnTo>
                        <a:lnTo>
                          <a:pt x="0" y="2273"/>
                        </a:lnTo>
                        <a:lnTo>
                          <a:pt x="60" y="2392"/>
                        </a:lnTo>
                        <a:lnTo>
                          <a:pt x="179" y="2392"/>
                        </a:lnTo>
                        <a:lnTo>
                          <a:pt x="299" y="2333"/>
                        </a:lnTo>
                        <a:lnTo>
                          <a:pt x="479" y="2213"/>
                        </a:lnTo>
                        <a:lnTo>
                          <a:pt x="658" y="2034"/>
                        </a:lnTo>
                        <a:lnTo>
                          <a:pt x="837" y="1794"/>
                        </a:lnTo>
                        <a:lnTo>
                          <a:pt x="1017" y="1495"/>
                        </a:lnTo>
                        <a:lnTo>
                          <a:pt x="1136" y="1196"/>
                        </a:lnTo>
                        <a:lnTo>
                          <a:pt x="1256" y="897"/>
                        </a:lnTo>
                        <a:lnTo>
                          <a:pt x="1316" y="658"/>
                        </a:lnTo>
                        <a:lnTo>
                          <a:pt x="1316" y="419"/>
                        </a:lnTo>
                        <a:lnTo>
                          <a:pt x="1316" y="239"/>
                        </a:lnTo>
                        <a:lnTo>
                          <a:pt x="1196" y="120"/>
                        </a:lnTo>
                        <a:lnTo>
                          <a:pt x="897" y="0"/>
                        </a:lnTo>
                      </a:path>
                    </a:pathLst>
                  </a:custGeom>
                  <a:noFill/>
                  <a:ln w="6350" cap="flat">
                    <a:solidFill>
                      <a:schemeClr val="bg1">
                        <a:alpha val="40000"/>
                      </a:schemeClr>
                    </a:solidFill>
                    <a:prstDash val="solid"/>
                    <a:miter/>
                  </a:ln>
                </p:spPr>
                <p:txBody>
                  <a:bodyPr rtlCol="0" anchor="ctr"/>
                  <a:lstStyle/>
                  <a:p>
                    <a:endParaRPr lang="en-GB"/>
                  </a:p>
                </p:txBody>
              </p:sp>
              <p:sp>
                <p:nvSpPr>
                  <p:cNvPr id="7630" name="Vrije vorm: vorm 7629">
                    <a:extLst>
                      <a:ext uri="{FF2B5EF4-FFF2-40B4-BE49-F238E27FC236}">
                        <a16:creationId xmlns:a16="http://schemas.microsoft.com/office/drawing/2014/main" id="{790C949C-6463-4630-BBDB-BCD05D46C776}"/>
                      </a:ext>
                    </a:extLst>
                  </p:cNvPr>
                  <p:cNvSpPr/>
                  <p:nvPr/>
                </p:nvSpPr>
                <p:spPr>
                  <a:xfrm>
                    <a:off x="5859512" y="5232872"/>
                    <a:ext cx="119" cy="837"/>
                  </a:xfrm>
                  <a:custGeom>
                    <a:avLst/>
                    <a:gdLst>
                      <a:gd name="connsiteX0" fmla="*/ 0 w 119"/>
                      <a:gd name="connsiteY0" fmla="*/ 837 h 837"/>
                      <a:gd name="connsiteX1" fmla="*/ 0 w 119"/>
                      <a:gd name="connsiteY1" fmla="*/ 718 h 837"/>
                      <a:gd name="connsiteX2" fmla="*/ 0 w 119"/>
                      <a:gd name="connsiteY2" fmla="*/ 658 h 837"/>
                      <a:gd name="connsiteX3" fmla="*/ 0 w 119"/>
                      <a:gd name="connsiteY3" fmla="*/ 419 h 837"/>
                      <a:gd name="connsiteX4" fmla="*/ 60 w 119"/>
                      <a:gd name="connsiteY4" fmla="*/ 180 h 837"/>
                      <a:gd name="connsiteX5" fmla="*/ 119 w 119"/>
                      <a:gd name="connsiteY5" fmla="*/ 0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 h="837">
                        <a:moveTo>
                          <a:pt x="0" y="837"/>
                        </a:moveTo>
                        <a:lnTo>
                          <a:pt x="0" y="718"/>
                        </a:lnTo>
                        <a:lnTo>
                          <a:pt x="0" y="658"/>
                        </a:lnTo>
                        <a:lnTo>
                          <a:pt x="0" y="419"/>
                        </a:lnTo>
                        <a:lnTo>
                          <a:pt x="60" y="180"/>
                        </a:lnTo>
                        <a:lnTo>
                          <a:pt x="119" y="0"/>
                        </a:lnTo>
                      </a:path>
                    </a:pathLst>
                  </a:custGeom>
                  <a:noFill/>
                  <a:ln w="6350" cap="flat">
                    <a:solidFill>
                      <a:schemeClr val="bg1">
                        <a:alpha val="40000"/>
                      </a:schemeClr>
                    </a:solidFill>
                    <a:prstDash val="solid"/>
                    <a:miter/>
                  </a:ln>
                </p:spPr>
                <p:txBody>
                  <a:bodyPr rtlCol="0" anchor="ctr"/>
                  <a:lstStyle/>
                  <a:p>
                    <a:endParaRPr lang="en-GB"/>
                  </a:p>
                </p:txBody>
              </p:sp>
              <p:sp>
                <p:nvSpPr>
                  <p:cNvPr id="7631" name="Vrije vorm: vorm 7630">
                    <a:extLst>
                      <a:ext uri="{FF2B5EF4-FFF2-40B4-BE49-F238E27FC236}">
                        <a16:creationId xmlns:a16="http://schemas.microsoft.com/office/drawing/2014/main" id="{0D65996C-99F9-48BB-98EF-99DE0AC23FAE}"/>
                      </a:ext>
                    </a:extLst>
                  </p:cNvPr>
                  <p:cNvSpPr/>
                  <p:nvPr/>
                </p:nvSpPr>
                <p:spPr>
                  <a:xfrm>
                    <a:off x="5859572" y="5233829"/>
                    <a:ext cx="299" cy="119"/>
                  </a:xfrm>
                  <a:custGeom>
                    <a:avLst/>
                    <a:gdLst>
                      <a:gd name="connsiteX0" fmla="*/ 299 w 299"/>
                      <a:gd name="connsiteY0" fmla="*/ 120 h 119"/>
                      <a:gd name="connsiteX1" fmla="*/ 0 w 299"/>
                      <a:gd name="connsiteY1" fmla="*/ 0 h 119"/>
                    </a:gdLst>
                    <a:ahLst/>
                    <a:cxnLst>
                      <a:cxn ang="0">
                        <a:pos x="connsiteX0" y="connsiteY0"/>
                      </a:cxn>
                      <a:cxn ang="0">
                        <a:pos x="connsiteX1" y="connsiteY1"/>
                      </a:cxn>
                    </a:cxnLst>
                    <a:rect l="l" t="t" r="r" b="b"/>
                    <a:pathLst>
                      <a:path w="299" h="119">
                        <a:moveTo>
                          <a:pt x="299" y="12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32" name="Vrije vorm: vorm 7631">
                    <a:extLst>
                      <a:ext uri="{FF2B5EF4-FFF2-40B4-BE49-F238E27FC236}">
                        <a16:creationId xmlns:a16="http://schemas.microsoft.com/office/drawing/2014/main" id="{7E229C22-39BB-4F21-8634-577FFCEB6531}"/>
                      </a:ext>
                    </a:extLst>
                  </p:cNvPr>
                  <p:cNvSpPr/>
                  <p:nvPr/>
                </p:nvSpPr>
                <p:spPr>
                  <a:xfrm>
                    <a:off x="5860230" y="5231676"/>
                    <a:ext cx="418" cy="179"/>
                  </a:xfrm>
                  <a:custGeom>
                    <a:avLst/>
                    <a:gdLst>
                      <a:gd name="connsiteX0" fmla="*/ 0 w 418"/>
                      <a:gd name="connsiteY0" fmla="*/ 180 h 179"/>
                      <a:gd name="connsiteX1" fmla="*/ 179 w 418"/>
                      <a:gd name="connsiteY1" fmla="*/ 60 h 179"/>
                      <a:gd name="connsiteX2" fmla="*/ 179 w 418"/>
                      <a:gd name="connsiteY2" fmla="*/ 60 h 179"/>
                      <a:gd name="connsiteX3" fmla="*/ 299 w 418"/>
                      <a:gd name="connsiteY3" fmla="*/ 0 h 179"/>
                      <a:gd name="connsiteX4" fmla="*/ 418 w 418"/>
                      <a:gd name="connsiteY4" fmla="*/ 0 h 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 h="179">
                        <a:moveTo>
                          <a:pt x="0" y="180"/>
                        </a:moveTo>
                        <a:lnTo>
                          <a:pt x="179" y="60"/>
                        </a:lnTo>
                        <a:lnTo>
                          <a:pt x="179" y="60"/>
                        </a:lnTo>
                        <a:lnTo>
                          <a:pt x="299" y="0"/>
                        </a:lnTo>
                        <a:lnTo>
                          <a:pt x="418" y="0"/>
                        </a:lnTo>
                      </a:path>
                    </a:pathLst>
                  </a:custGeom>
                  <a:noFill/>
                  <a:ln w="6350" cap="flat">
                    <a:solidFill>
                      <a:schemeClr val="bg1">
                        <a:alpha val="40000"/>
                      </a:schemeClr>
                    </a:solidFill>
                    <a:prstDash val="solid"/>
                    <a:miter/>
                  </a:ln>
                </p:spPr>
                <p:txBody>
                  <a:bodyPr rtlCol="0" anchor="ctr"/>
                  <a:lstStyle/>
                  <a:p>
                    <a:endParaRPr lang="en-GB"/>
                  </a:p>
                </p:txBody>
              </p:sp>
              <p:sp>
                <p:nvSpPr>
                  <p:cNvPr id="7633" name="Vrije vorm: vorm 7632">
                    <a:extLst>
                      <a:ext uri="{FF2B5EF4-FFF2-40B4-BE49-F238E27FC236}">
                        <a16:creationId xmlns:a16="http://schemas.microsoft.com/office/drawing/2014/main" id="{B446FD84-BCF6-47F8-9059-1D4E54687FC6}"/>
                      </a:ext>
                    </a:extLst>
                  </p:cNvPr>
                  <p:cNvSpPr/>
                  <p:nvPr/>
                </p:nvSpPr>
                <p:spPr>
                  <a:xfrm>
                    <a:off x="5861486" y="5228746"/>
                    <a:ext cx="657" cy="478"/>
                  </a:xfrm>
                  <a:custGeom>
                    <a:avLst/>
                    <a:gdLst>
                      <a:gd name="connsiteX0" fmla="*/ 0 w 657"/>
                      <a:gd name="connsiteY0" fmla="*/ 479 h 478"/>
                      <a:gd name="connsiteX1" fmla="*/ 60 w 657"/>
                      <a:gd name="connsiteY1" fmla="*/ 359 h 478"/>
                      <a:gd name="connsiteX2" fmla="*/ 239 w 657"/>
                      <a:gd name="connsiteY2" fmla="*/ 180 h 478"/>
                      <a:gd name="connsiteX3" fmla="*/ 419 w 657"/>
                      <a:gd name="connsiteY3" fmla="*/ 60 h 478"/>
                      <a:gd name="connsiteX4" fmla="*/ 419 w 657"/>
                      <a:gd name="connsiteY4" fmla="*/ 60 h 478"/>
                      <a:gd name="connsiteX5" fmla="*/ 538 w 657"/>
                      <a:gd name="connsiteY5" fmla="*/ 0 h 478"/>
                      <a:gd name="connsiteX6" fmla="*/ 658 w 657"/>
                      <a:gd name="connsiteY6" fmla="*/ 0 h 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 h="478">
                        <a:moveTo>
                          <a:pt x="0" y="479"/>
                        </a:moveTo>
                        <a:lnTo>
                          <a:pt x="60" y="359"/>
                        </a:lnTo>
                        <a:lnTo>
                          <a:pt x="239" y="180"/>
                        </a:lnTo>
                        <a:lnTo>
                          <a:pt x="419" y="60"/>
                        </a:lnTo>
                        <a:lnTo>
                          <a:pt x="419" y="60"/>
                        </a:lnTo>
                        <a:lnTo>
                          <a:pt x="538" y="0"/>
                        </a:lnTo>
                        <a:lnTo>
                          <a:pt x="658" y="0"/>
                        </a:lnTo>
                      </a:path>
                    </a:pathLst>
                  </a:custGeom>
                  <a:noFill/>
                  <a:ln w="6350" cap="flat">
                    <a:solidFill>
                      <a:schemeClr val="bg1">
                        <a:alpha val="40000"/>
                      </a:schemeClr>
                    </a:solidFill>
                    <a:prstDash val="solid"/>
                    <a:miter/>
                  </a:ln>
                </p:spPr>
                <p:txBody>
                  <a:bodyPr rtlCol="0" anchor="ctr"/>
                  <a:lstStyle/>
                  <a:p>
                    <a:endParaRPr lang="en-GB"/>
                  </a:p>
                </p:txBody>
              </p:sp>
              <p:sp>
                <p:nvSpPr>
                  <p:cNvPr id="7634" name="Vrije vorm: vorm 7633">
                    <a:extLst>
                      <a:ext uri="{FF2B5EF4-FFF2-40B4-BE49-F238E27FC236}">
                        <a16:creationId xmlns:a16="http://schemas.microsoft.com/office/drawing/2014/main" id="{C8F213B7-A4F4-4335-BCA5-6BD746D47E53}"/>
                      </a:ext>
                    </a:extLst>
                  </p:cNvPr>
                  <p:cNvSpPr/>
                  <p:nvPr/>
                </p:nvSpPr>
                <p:spPr>
                  <a:xfrm>
                    <a:off x="5861307" y="5228805"/>
                    <a:ext cx="1315" cy="2332"/>
                  </a:xfrm>
                  <a:custGeom>
                    <a:avLst/>
                    <a:gdLst>
                      <a:gd name="connsiteX0" fmla="*/ 1136 w 1315"/>
                      <a:gd name="connsiteY0" fmla="*/ 120 h 2332"/>
                      <a:gd name="connsiteX1" fmla="*/ 1017 w 1315"/>
                      <a:gd name="connsiteY1" fmla="*/ 120 h 2332"/>
                      <a:gd name="connsiteX2" fmla="*/ 897 w 1315"/>
                      <a:gd name="connsiteY2" fmla="*/ 179 h 2332"/>
                      <a:gd name="connsiteX3" fmla="*/ 897 w 1315"/>
                      <a:gd name="connsiteY3" fmla="*/ 179 h 2332"/>
                      <a:gd name="connsiteX4" fmla="*/ 718 w 1315"/>
                      <a:gd name="connsiteY4" fmla="*/ 299 h 2332"/>
                      <a:gd name="connsiteX5" fmla="*/ 538 w 1315"/>
                      <a:gd name="connsiteY5" fmla="*/ 479 h 2332"/>
                      <a:gd name="connsiteX6" fmla="*/ 478 w 1315"/>
                      <a:gd name="connsiteY6" fmla="*/ 598 h 2332"/>
                      <a:gd name="connsiteX7" fmla="*/ 419 w 1315"/>
                      <a:gd name="connsiteY7" fmla="*/ 718 h 2332"/>
                      <a:gd name="connsiteX8" fmla="*/ 239 w 1315"/>
                      <a:gd name="connsiteY8" fmla="*/ 1017 h 2332"/>
                      <a:gd name="connsiteX9" fmla="*/ 119 w 1315"/>
                      <a:gd name="connsiteY9" fmla="*/ 1316 h 2332"/>
                      <a:gd name="connsiteX10" fmla="*/ 60 w 1315"/>
                      <a:gd name="connsiteY10" fmla="*/ 1555 h 2332"/>
                      <a:gd name="connsiteX11" fmla="*/ 60 w 1315"/>
                      <a:gd name="connsiteY11" fmla="*/ 1555 h 2332"/>
                      <a:gd name="connsiteX12" fmla="*/ 0 w 1315"/>
                      <a:gd name="connsiteY12" fmla="*/ 1794 h 2332"/>
                      <a:gd name="connsiteX13" fmla="*/ 0 w 1315"/>
                      <a:gd name="connsiteY13" fmla="*/ 2033 h 2332"/>
                      <a:gd name="connsiteX14" fmla="*/ 0 w 1315"/>
                      <a:gd name="connsiteY14" fmla="*/ 2213 h 2332"/>
                      <a:gd name="connsiteX15" fmla="*/ 60 w 1315"/>
                      <a:gd name="connsiteY15" fmla="*/ 2333 h 2332"/>
                      <a:gd name="connsiteX16" fmla="*/ 179 w 1315"/>
                      <a:gd name="connsiteY16" fmla="*/ 2333 h 2332"/>
                      <a:gd name="connsiteX17" fmla="*/ 299 w 1315"/>
                      <a:gd name="connsiteY17" fmla="*/ 2273 h 2332"/>
                      <a:gd name="connsiteX18" fmla="*/ 478 w 1315"/>
                      <a:gd name="connsiteY18" fmla="*/ 2153 h 2332"/>
                      <a:gd name="connsiteX19" fmla="*/ 658 w 1315"/>
                      <a:gd name="connsiteY19" fmla="*/ 1974 h 2332"/>
                      <a:gd name="connsiteX20" fmla="*/ 837 w 1315"/>
                      <a:gd name="connsiteY20" fmla="*/ 1734 h 2332"/>
                      <a:gd name="connsiteX21" fmla="*/ 1017 w 1315"/>
                      <a:gd name="connsiteY21" fmla="*/ 1435 h 2332"/>
                      <a:gd name="connsiteX22" fmla="*/ 1136 w 1315"/>
                      <a:gd name="connsiteY22" fmla="*/ 1136 h 2332"/>
                      <a:gd name="connsiteX23" fmla="*/ 1256 w 1315"/>
                      <a:gd name="connsiteY23" fmla="*/ 837 h 2332"/>
                      <a:gd name="connsiteX24" fmla="*/ 1316 w 1315"/>
                      <a:gd name="connsiteY24" fmla="*/ 598 h 2332"/>
                      <a:gd name="connsiteX25" fmla="*/ 1316 w 1315"/>
                      <a:gd name="connsiteY25" fmla="*/ 598 h 2332"/>
                      <a:gd name="connsiteX26" fmla="*/ 1316 w 1315"/>
                      <a:gd name="connsiteY26" fmla="*/ 538 h 2332"/>
                      <a:gd name="connsiteX27" fmla="*/ 1316 w 1315"/>
                      <a:gd name="connsiteY27" fmla="*/ 359 h 2332"/>
                      <a:gd name="connsiteX28" fmla="*/ 1316 w 1315"/>
                      <a:gd name="connsiteY28" fmla="*/ 179 h 2332"/>
                      <a:gd name="connsiteX29" fmla="*/ 1136 w 1315"/>
                      <a:gd name="connsiteY29" fmla="*/ 120 h 2332"/>
                      <a:gd name="connsiteX30" fmla="*/ 1136 w 1315"/>
                      <a:gd name="connsiteY30" fmla="*/ 120 h 2332"/>
                      <a:gd name="connsiteX31" fmla="*/ 837 w 1315"/>
                      <a:gd name="connsiteY31" fmla="*/ 0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15" h="2332">
                        <a:moveTo>
                          <a:pt x="1136" y="120"/>
                        </a:moveTo>
                        <a:lnTo>
                          <a:pt x="1017" y="120"/>
                        </a:lnTo>
                        <a:lnTo>
                          <a:pt x="897" y="179"/>
                        </a:lnTo>
                        <a:lnTo>
                          <a:pt x="897" y="179"/>
                        </a:lnTo>
                        <a:lnTo>
                          <a:pt x="718" y="299"/>
                        </a:lnTo>
                        <a:lnTo>
                          <a:pt x="538" y="479"/>
                        </a:lnTo>
                        <a:lnTo>
                          <a:pt x="478" y="598"/>
                        </a:lnTo>
                        <a:lnTo>
                          <a:pt x="419" y="718"/>
                        </a:lnTo>
                        <a:lnTo>
                          <a:pt x="239" y="1017"/>
                        </a:lnTo>
                        <a:lnTo>
                          <a:pt x="119" y="1316"/>
                        </a:lnTo>
                        <a:lnTo>
                          <a:pt x="60" y="1555"/>
                        </a:lnTo>
                        <a:lnTo>
                          <a:pt x="60" y="1555"/>
                        </a:lnTo>
                        <a:lnTo>
                          <a:pt x="0" y="1794"/>
                        </a:lnTo>
                        <a:lnTo>
                          <a:pt x="0" y="2033"/>
                        </a:lnTo>
                        <a:lnTo>
                          <a:pt x="0" y="2213"/>
                        </a:lnTo>
                        <a:lnTo>
                          <a:pt x="60" y="2333"/>
                        </a:lnTo>
                        <a:lnTo>
                          <a:pt x="179" y="2333"/>
                        </a:lnTo>
                        <a:lnTo>
                          <a:pt x="299" y="2273"/>
                        </a:lnTo>
                        <a:lnTo>
                          <a:pt x="478" y="2153"/>
                        </a:lnTo>
                        <a:lnTo>
                          <a:pt x="658" y="1974"/>
                        </a:lnTo>
                        <a:lnTo>
                          <a:pt x="837" y="1734"/>
                        </a:lnTo>
                        <a:lnTo>
                          <a:pt x="1017" y="1435"/>
                        </a:lnTo>
                        <a:lnTo>
                          <a:pt x="1136" y="1136"/>
                        </a:lnTo>
                        <a:lnTo>
                          <a:pt x="1256" y="837"/>
                        </a:lnTo>
                        <a:lnTo>
                          <a:pt x="1316" y="598"/>
                        </a:lnTo>
                        <a:lnTo>
                          <a:pt x="1316" y="598"/>
                        </a:lnTo>
                        <a:lnTo>
                          <a:pt x="1316" y="538"/>
                        </a:lnTo>
                        <a:lnTo>
                          <a:pt x="1316" y="359"/>
                        </a:lnTo>
                        <a:lnTo>
                          <a:pt x="1316" y="179"/>
                        </a:lnTo>
                        <a:lnTo>
                          <a:pt x="1136" y="120"/>
                        </a:lnTo>
                        <a:lnTo>
                          <a:pt x="1136" y="120"/>
                        </a:lnTo>
                        <a:lnTo>
                          <a:pt x="837" y="0"/>
                        </a:lnTo>
                      </a:path>
                    </a:pathLst>
                  </a:custGeom>
                  <a:noFill/>
                  <a:ln w="6350" cap="flat">
                    <a:solidFill>
                      <a:schemeClr val="bg1">
                        <a:alpha val="40000"/>
                      </a:schemeClr>
                    </a:solidFill>
                    <a:prstDash val="solid"/>
                    <a:miter/>
                  </a:ln>
                </p:spPr>
                <p:txBody>
                  <a:bodyPr rtlCol="0" anchor="ctr"/>
                  <a:lstStyle/>
                  <a:p>
                    <a:endParaRPr lang="en-GB"/>
                  </a:p>
                </p:txBody>
              </p:sp>
              <p:sp>
                <p:nvSpPr>
                  <p:cNvPr id="7635" name="Vrije vorm: vorm 7634">
                    <a:extLst>
                      <a:ext uri="{FF2B5EF4-FFF2-40B4-BE49-F238E27FC236}">
                        <a16:creationId xmlns:a16="http://schemas.microsoft.com/office/drawing/2014/main" id="{46B01EEC-6AD5-456F-87E8-8E19FD595121}"/>
                      </a:ext>
                    </a:extLst>
                  </p:cNvPr>
                  <p:cNvSpPr/>
                  <p:nvPr/>
                </p:nvSpPr>
                <p:spPr>
                  <a:xfrm>
                    <a:off x="5860948" y="5230360"/>
                    <a:ext cx="59" cy="538"/>
                  </a:xfrm>
                  <a:custGeom>
                    <a:avLst/>
                    <a:gdLst>
                      <a:gd name="connsiteX0" fmla="*/ 60 w 59"/>
                      <a:gd name="connsiteY0" fmla="*/ 538 h 538"/>
                      <a:gd name="connsiteX1" fmla="*/ 0 w 59"/>
                      <a:gd name="connsiteY1" fmla="*/ 419 h 538"/>
                      <a:gd name="connsiteX2" fmla="*/ 0 w 59"/>
                      <a:gd name="connsiteY2" fmla="*/ 299 h 538"/>
                      <a:gd name="connsiteX3" fmla="*/ 0 w 59"/>
                      <a:gd name="connsiteY3" fmla="*/ 239 h 538"/>
                      <a:gd name="connsiteX4" fmla="*/ 0 w 59"/>
                      <a:gd name="connsiteY4" fmla="*/ 0 h 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 h="538">
                        <a:moveTo>
                          <a:pt x="60" y="538"/>
                        </a:moveTo>
                        <a:lnTo>
                          <a:pt x="0" y="419"/>
                        </a:lnTo>
                        <a:lnTo>
                          <a:pt x="0" y="299"/>
                        </a:lnTo>
                        <a:lnTo>
                          <a:pt x="0" y="23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36" name="Vrije vorm: vorm 7635">
                    <a:extLst>
                      <a:ext uri="{FF2B5EF4-FFF2-40B4-BE49-F238E27FC236}">
                        <a16:creationId xmlns:a16="http://schemas.microsoft.com/office/drawing/2014/main" id="{00EB1463-11BF-4D9B-827C-A80873829067}"/>
                      </a:ext>
                    </a:extLst>
                  </p:cNvPr>
                  <p:cNvSpPr/>
                  <p:nvPr/>
                </p:nvSpPr>
                <p:spPr>
                  <a:xfrm>
                    <a:off x="5861067" y="5230898"/>
                    <a:ext cx="299" cy="119"/>
                  </a:xfrm>
                  <a:custGeom>
                    <a:avLst/>
                    <a:gdLst>
                      <a:gd name="connsiteX0" fmla="*/ 299 w 299"/>
                      <a:gd name="connsiteY0" fmla="*/ 120 h 119"/>
                      <a:gd name="connsiteX1" fmla="*/ 0 w 299"/>
                      <a:gd name="connsiteY1" fmla="*/ 0 h 119"/>
                    </a:gdLst>
                    <a:ahLst/>
                    <a:cxnLst>
                      <a:cxn ang="0">
                        <a:pos x="connsiteX0" y="connsiteY0"/>
                      </a:cxn>
                      <a:cxn ang="0">
                        <a:pos x="connsiteX1" y="connsiteY1"/>
                      </a:cxn>
                    </a:cxnLst>
                    <a:rect l="l" t="t" r="r" b="b"/>
                    <a:pathLst>
                      <a:path w="299" h="119">
                        <a:moveTo>
                          <a:pt x="299" y="12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37" name="Vrije vorm: vorm 7636">
                    <a:extLst>
                      <a:ext uri="{FF2B5EF4-FFF2-40B4-BE49-F238E27FC236}">
                        <a16:creationId xmlns:a16="http://schemas.microsoft.com/office/drawing/2014/main" id="{FD3BFBEA-FF80-4770-B325-040B55E1101C}"/>
                      </a:ext>
                    </a:extLst>
                  </p:cNvPr>
                  <p:cNvSpPr/>
                  <p:nvPr/>
                </p:nvSpPr>
                <p:spPr>
                  <a:xfrm>
                    <a:off x="5857957" y="5232573"/>
                    <a:ext cx="777" cy="1136"/>
                  </a:xfrm>
                  <a:custGeom>
                    <a:avLst/>
                    <a:gdLst>
                      <a:gd name="connsiteX0" fmla="*/ 419 w 777"/>
                      <a:gd name="connsiteY0" fmla="*/ 0 h 1136"/>
                      <a:gd name="connsiteX1" fmla="*/ 598 w 777"/>
                      <a:gd name="connsiteY1" fmla="*/ 120 h 1136"/>
                      <a:gd name="connsiteX2" fmla="*/ 718 w 777"/>
                      <a:gd name="connsiteY2" fmla="*/ 179 h 1136"/>
                      <a:gd name="connsiteX3" fmla="*/ 778 w 777"/>
                      <a:gd name="connsiteY3" fmla="*/ 239 h 1136"/>
                      <a:gd name="connsiteX4" fmla="*/ 778 w 777"/>
                      <a:gd name="connsiteY4" fmla="*/ 299 h 1136"/>
                      <a:gd name="connsiteX5" fmla="*/ 778 w 777"/>
                      <a:gd name="connsiteY5" fmla="*/ 419 h 1136"/>
                      <a:gd name="connsiteX6" fmla="*/ 778 w 777"/>
                      <a:gd name="connsiteY6" fmla="*/ 419 h 1136"/>
                      <a:gd name="connsiteX7" fmla="*/ 778 w 777"/>
                      <a:gd name="connsiteY7" fmla="*/ 538 h 1136"/>
                      <a:gd name="connsiteX8" fmla="*/ 718 w 777"/>
                      <a:gd name="connsiteY8" fmla="*/ 658 h 1136"/>
                      <a:gd name="connsiteX9" fmla="*/ 658 w 777"/>
                      <a:gd name="connsiteY9" fmla="*/ 718 h 1136"/>
                      <a:gd name="connsiteX10" fmla="*/ 658 w 777"/>
                      <a:gd name="connsiteY10" fmla="*/ 718 h 1136"/>
                      <a:gd name="connsiteX11" fmla="*/ 658 w 777"/>
                      <a:gd name="connsiteY11" fmla="*/ 778 h 1136"/>
                      <a:gd name="connsiteX12" fmla="*/ 598 w 777"/>
                      <a:gd name="connsiteY12" fmla="*/ 897 h 1136"/>
                      <a:gd name="connsiteX13" fmla="*/ 538 w 777"/>
                      <a:gd name="connsiteY13" fmla="*/ 1017 h 1136"/>
                      <a:gd name="connsiteX14" fmla="*/ 478 w 777"/>
                      <a:gd name="connsiteY14" fmla="*/ 1076 h 1136"/>
                      <a:gd name="connsiteX15" fmla="*/ 419 w 777"/>
                      <a:gd name="connsiteY15" fmla="*/ 1136 h 1136"/>
                      <a:gd name="connsiteX16" fmla="*/ 359 w 777"/>
                      <a:gd name="connsiteY16" fmla="*/ 1136 h 1136"/>
                      <a:gd name="connsiteX17" fmla="*/ 299 w 777"/>
                      <a:gd name="connsiteY17" fmla="*/ 1136 h 1136"/>
                      <a:gd name="connsiteX18" fmla="*/ 0 w 777"/>
                      <a:gd name="connsiteY18" fmla="*/ 1017 h 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7" h="1136">
                        <a:moveTo>
                          <a:pt x="419" y="0"/>
                        </a:moveTo>
                        <a:lnTo>
                          <a:pt x="598" y="120"/>
                        </a:lnTo>
                        <a:lnTo>
                          <a:pt x="718" y="179"/>
                        </a:lnTo>
                        <a:lnTo>
                          <a:pt x="778" y="239"/>
                        </a:lnTo>
                        <a:lnTo>
                          <a:pt x="778" y="299"/>
                        </a:lnTo>
                        <a:lnTo>
                          <a:pt x="778" y="419"/>
                        </a:lnTo>
                        <a:lnTo>
                          <a:pt x="778" y="419"/>
                        </a:lnTo>
                        <a:lnTo>
                          <a:pt x="778" y="538"/>
                        </a:lnTo>
                        <a:lnTo>
                          <a:pt x="718" y="658"/>
                        </a:lnTo>
                        <a:lnTo>
                          <a:pt x="658" y="718"/>
                        </a:lnTo>
                        <a:lnTo>
                          <a:pt x="658" y="718"/>
                        </a:lnTo>
                        <a:lnTo>
                          <a:pt x="658" y="778"/>
                        </a:lnTo>
                        <a:lnTo>
                          <a:pt x="598" y="897"/>
                        </a:lnTo>
                        <a:lnTo>
                          <a:pt x="538" y="1017"/>
                        </a:lnTo>
                        <a:lnTo>
                          <a:pt x="478" y="1076"/>
                        </a:lnTo>
                        <a:lnTo>
                          <a:pt x="419" y="1136"/>
                        </a:lnTo>
                        <a:lnTo>
                          <a:pt x="359" y="1136"/>
                        </a:lnTo>
                        <a:lnTo>
                          <a:pt x="299" y="1136"/>
                        </a:lnTo>
                        <a:lnTo>
                          <a:pt x="0" y="1017"/>
                        </a:lnTo>
                      </a:path>
                    </a:pathLst>
                  </a:custGeom>
                  <a:noFill/>
                  <a:ln w="6350" cap="flat">
                    <a:solidFill>
                      <a:schemeClr val="bg1">
                        <a:alpha val="40000"/>
                      </a:schemeClr>
                    </a:solidFill>
                    <a:prstDash val="solid"/>
                    <a:miter/>
                  </a:ln>
                </p:spPr>
                <p:txBody>
                  <a:bodyPr rtlCol="0" anchor="ctr"/>
                  <a:lstStyle/>
                  <a:p>
                    <a:endParaRPr lang="en-GB"/>
                  </a:p>
                </p:txBody>
              </p:sp>
              <p:sp>
                <p:nvSpPr>
                  <p:cNvPr id="7638" name="Vrije vorm: vorm 7637">
                    <a:extLst>
                      <a:ext uri="{FF2B5EF4-FFF2-40B4-BE49-F238E27FC236}">
                        <a16:creationId xmlns:a16="http://schemas.microsoft.com/office/drawing/2014/main" id="{B88325E1-9AE2-4CC3-A773-ECD83428D9BB}"/>
                      </a:ext>
                    </a:extLst>
                  </p:cNvPr>
                  <p:cNvSpPr/>
                  <p:nvPr/>
                </p:nvSpPr>
                <p:spPr>
                  <a:xfrm>
                    <a:off x="5862622" y="5228327"/>
                    <a:ext cx="717" cy="1076"/>
                  </a:xfrm>
                  <a:custGeom>
                    <a:avLst/>
                    <a:gdLst>
                      <a:gd name="connsiteX0" fmla="*/ 299 w 717"/>
                      <a:gd name="connsiteY0" fmla="*/ 0 h 1076"/>
                      <a:gd name="connsiteX1" fmla="*/ 479 w 717"/>
                      <a:gd name="connsiteY1" fmla="*/ 60 h 1076"/>
                      <a:gd name="connsiteX2" fmla="*/ 479 w 717"/>
                      <a:gd name="connsiteY2" fmla="*/ 60 h 1076"/>
                      <a:gd name="connsiteX3" fmla="*/ 658 w 717"/>
                      <a:gd name="connsiteY3" fmla="*/ 120 h 1076"/>
                      <a:gd name="connsiteX4" fmla="*/ 718 w 717"/>
                      <a:gd name="connsiteY4" fmla="*/ 180 h 1076"/>
                      <a:gd name="connsiteX5" fmla="*/ 718 w 717"/>
                      <a:gd name="connsiteY5" fmla="*/ 239 h 1076"/>
                      <a:gd name="connsiteX6" fmla="*/ 718 w 717"/>
                      <a:gd name="connsiteY6" fmla="*/ 359 h 1076"/>
                      <a:gd name="connsiteX7" fmla="*/ 718 w 717"/>
                      <a:gd name="connsiteY7" fmla="*/ 479 h 1076"/>
                      <a:gd name="connsiteX8" fmla="*/ 658 w 717"/>
                      <a:gd name="connsiteY8" fmla="*/ 598 h 1076"/>
                      <a:gd name="connsiteX9" fmla="*/ 598 w 717"/>
                      <a:gd name="connsiteY9" fmla="*/ 718 h 1076"/>
                      <a:gd name="connsiteX10" fmla="*/ 538 w 717"/>
                      <a:gd name="connsiteY10" fmla="*/ 837 h 1076"/>
                      <a:gd name="connsiteX11" fmla="*/ 479 w 717"/>
                      <a:gd name="connsiteY11" fmla="*/ 957 h 1076"/>
                      <a:gd name="connsiteX12" fmla="*/ 419 w 717"/>
                      <a:gd name="connsiteY12" fmla="*/ 1017 h 1076"/>
                      <a:gd name="connsiteX13" fmla="*/ 359 w 717"/>
                      <a:gd name="connsiteY13" fmla="*/ 1076 h 1076"/>
                      <a:gd name="connsiteX14" fmla="*/ 299 w 717"/>
                      <a:gd name="connsiteY14" fmla="*/ 1076 h 1076"/>
                      <a:gd name="connsiteX15" fmla="*/ 299 w 717"/>
                      <a:gd name="connsiteY15" fmla="*/ 1076 h 1076"/>
                      <a:gd name="connsiteX16" fmla="*/ 299 w 717"/>
                      <a:gd name="connsiteY16" fmla="*/ 1076 h 1076"/>
                      <a:gd name="connsiteX17" fmla="*/ 239 w 717"/>
                      <a:gd name="connsiteY17" fmla="*/ 1076 h 1076"/>
                      <a:gd name="connsiteX18" fmla="*/ 0 w 717"/>
                      <a:gd name="connsiteY18" fmla="*/ 957 h 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17" h="1076">
                        <a:moveTo>
                          <a:pt x="299" y="0"/>
                        </a:moveTo>
                        <a:lnTo>
                          <a:pt x="479" y="60"/>
                        </a:lnTo>
                        <a:lnTo>
                          <a:pt x="479" y="60"/>
                        </a:lnTo>
                        <a:lnTo>
                          <a:pt x="658" y="120"/>
                        </a:lnTo>
                        <a:lnTo>
                          <a:pt x="718" y="180"/>
                        </a:lnTo>
                        <a:lnTo>
                          <a:pt x="718" y="239"/>
                        </a:lnTo>
                        <a:lnTo>
                          <a:pt x="718" y="359"/>
                        </a:lnTo>
                        <a:lnTo>
                          <a:pt x="718" y="479"/>
                        </a:lnTo>
                        <a:lnTo>
                          <a:pt x="658" y="598"/>
                        </a:lnTo>
                        <a:lnTo>
                          <a:pt x="598" y="718"/>
                        </a:lnTo>
                        <a:lnTo>
                          <a:pt x="538" y="837"/>
                        </a:lnTo>
                        <a:lnTo>
                          <a:pt x="479" y="957"/>
                        </a:lnTo>
                        <a:lnTo>
                          <a:pt x="419" y="1017"/>
                        </a:lnTo>
                        <a:lnTo>
                          <a:pt x="359" y="1076"/>
                        </a:lnTo>
                        <a:lnTo>
                          <a:pt x="299" y="1076"/>
                        </a:lnTo>
                        <a:lnTo>
                          <a:pt x="299" y="1076"/>
                        </a:lnTo>
                        <a:lnTo>
                          <a:pt x="299" y="1076"/>
                        </a:lnTo>
                        <a:lnTo>
                          <a:pt x="239" y="1076"/>
                        </a:lnTo>
                        <a:lnTo>
                          <a:pt x="0" y="957"/>
                        </a:lnTo>
                      </a:path>
                    </a:pathLst>
                  </a:custGeom>
                  <a:noFill/>
                  <a:ln w="6350" cap="flat">
                    <a:solidFill>
                      <a:schemeClr val="bg1">
                        <a:alpha val="40000"/>
                      </a:schemeClr>
                    </a:solidFill>
                    <a:prstDash val="solid"/>
                    <a:miter/>
                  </a:ln>
                </p:spPr>
                <p:txBody>
                  <a:bodyPr rtlCol="0" anchor="ctr"/>
                  <a:lstStyle/>
                  <a:p>
                    <a:endParaRPr lang="en-GB"/>
                  </a:p>
                </p:txBody>
              </p:sp>
              <p:sp>
                <p:nvSpPr>
                  <p:cNvPr id="7639" name="Vrije vorm: vorm 7638">
                    <a:extLst>
                      <a:ext uri="{FF2B5EF4-FFF2-40B4-BE49-F238E27FC236}">
                        <a16:creationId xmlns:a16="http://schemas.microsoft.com/office/drawing/2014/main" id="{4ED7C8D2-CBBD-4E66-AC90-75883D71624C}"/>
                      </a:ext>
                    </a:extLst>
                  </p:cNvPr>
                  <p:cNvSpPr/>
                  <p:nvPr/>
                </p:nvSpPr>
                <p:spPr>
                  <a:xfrm>
                    <a:off x="5857240" y="5225576"/>
                    <a:ext cx="6339" cy="11004"/>
                  </a:xfrm>
                  <a:custGeom>
                    <a:avLst/>
                    <a:gdLst>
                      <a:gd name="connsiteX0" fmla="*/ 5681 w 6339"/>
                      <a:gd name="connsiteY0" fmla="*/ 119 h 11004"/>
                      <a:gd name="connsiteX1" fmla="*/ 5562 w 6339"/>
                      <a:gd name="connsiteY1" fmla="*/ 119 h 11004"/>
                      <a:gd name="connsiteX2" fmla="*/ 5562 w 6339"/>
                      <a:gd name="connsiteY2" fmla="*/ 119 h 11004"/>
                      <a:gd name="connsiteX3" fmla="*/ 5083 w 6339"/>
                      <a:gd name="connsiteY3" fmla="*/ 179 h 11004"/>
                      <a:gd name="connsiteX4" fmla="*/ 4366 w 6339"/>
                      <a:gd name="connsiteY4" fmla="*/ 598 h 11004"/>
                      <a:gd name="connsiteX5" fmla="*/ 3588 w 6339"/>
                      <a:gd name="connsiteY5" fmla="*/ 1375 h 11004"/>
                      <a:gd name="connsiteX6" fmla="*/ 2751 w 6339"/>
                      <a:gd name="connsiteY6" fmla="*/ 2452 h 11004"/>
                      <a:gd name="connsiteX7" fmla="*/ 1973 w 6339"/>
                      <a:gd name="connsiteY7" fmla="*/ 3708 h 11004"/>
                      <a:gd name="connsiteX8" fmla="*/ 1256 w 6339"/>
                      <a:gd name="connsiteY8" fmla="*/ 5083 h 11004"/>
                      <a:gd name="connsiteX9" fmla="*/ 658 w 6339"/>
                      <a:gd name="connsiteY9" fmla="*/ 6519 h 11004"/>
                      <a:gd name="connsiteX10" fmla="*/ 239 w 6339"/>
                      <a:gd name="connsiteY10" fmla="*/ 7894 h 11004"/>
                      <a:gd name="connsiteX11" fmla="*/ 0 w 6339"/>
                      <a:gd name="connsiteY11" fmla="*/ 9090 h 11004"/>
                      <a:gd name="connsiteX12" fmla="*/ 0 w 6339"/>
                      <a:gd name="connsiteY12" fmla="*/ 10048 h 11004"/>
                      <a:gd name="connsiteX13" fmla="*/ 239 w 6339"/>
                      <a:gd name="connsiteY13" fmla="*/ 10705 h 11004"/>
                      <a:gd name="connsiteX14" fmla="*/ 418 w 6339"/>
                      <a:gd name="connsiteY14" fmla="*/ 10825 h 11004"/>
                      <a:gd name="connsiteX15" fmla="*/ 418 w 6339"/>
                      <a:gd name="connsiteY15" fmla="*/ 10825 h 11004"/>
                      <a:gd name="connsiteX16" fmla="*/ 658 w 6339"/>
                      <a:gd name="connsiteY16" fmla="*/ 11004 h 11004"/>
                      <a:gd name="connsiteX17" fmla="*/ 1256 w 6339"/>
                      <a:gd name="connsiteY17" fmla="*/ 10944 h 11004"/>
                      <a:gd name="connsiteX18" fmla="*/ 1973 w 6339"/>
                      <a:gd name="connsiteY18" fmla="*/ 10526 h 11004"/>
                      <a:gd name="connsiteX19" fmla="*/ 2751 w 6339"/>
                      <a:gd name="connsiteY19" fmla="*/ 9748 h 11004"/>
                      <a:gd name="connsiteX20" fmla="*/ 3588 w 6339"/>
                      <a:gd name="connsiteY20" fmla="*/ 8732 h 11004"/>
                      <a:gd name="connsiteX21" fmla="*/ 4366 w 6339"/>
                      <a:gd name="connsiteY21" fmla="*/ 7476 h 11004"/>
                      <a:gd name="connsiteX22" fmla="*/ 5083 w 6339"/>
                      <a:gd name="connsiteY22" fmla="*/ 6100 h 11004"/>
                      <a:gd name="connsiteX23" fmla="*/ 5681 w 6339"/>
                      <a:gd name="connsiteY23" fmla="*/ 4665 h 11004"/>
                      <a:gd name="connsiteX24" fmla="*/ 6100 w 6339"/>
                      <a:gd name="connsiteY24" fmla="*/ 3289 h 11004"/>
                      <a:gd name="connsiteX25" fmla="*/ 6340 w 6339"/>
                      <a:gd name="connsiteY25" fmla="*/ 2093 h 11004"/>
                      <a:gd name="connsiteX26" fmla="*/ 6340 w 6339"/>
                      <a:gd name="connsiteY26" fmla="*/ 1136 h 11004"/>
                      <a:gd name="connsiteX27" fmla="*/ 6160 w 6339"/>
                      <a:gd name="connsiteY27" fmla="*/ 478 h 11004"/>
                      <a:gd name="connsiteX28" fmla="*/ 6100 w 6339"/>
                      <a:gd name="connsiteY28" fmla="*/ 478 h 11004"/>
                      <a:gd name="connsiteX29" fmla="*/ 6040 w 6339"/>
                      <a:gd name="connsiteY29" fmla="*/ 418 h 11004"/>
                      <a:gd name="connsiteX30" fmla="*/ 5681 w 6339"/>
                      <a:gd name="connsiteY30" fmla="*/ 119 h 11004"/>
                      <a:gd name="connsiteX31" fmla="*/ 5382 w 6339"/>
                      <a:gd name="connsiteY31" fmla="*/ 0 h 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39" h="11004">
                        <a:moveTo>
                          <a:pt x="5681" y="119"/>
                        </a:moveTo>
                        <a:lnTo>
                          <a:pt x="5562" y="119"/>
                        </a:lnTo>
                        <a:lnTo>
                          <a:pt x="5562" y="119"/>
                        </a:lnTo>
                        <a:lnTo>
                          <a:pt x="5083" y="179"/>
                        </a:lnTo>
                        <a:lnTo>
                          <a:pt x="4366" y="598"/>
                        </a:lnTo>
                        <a:lnTo>
                          <a:pt x="3588" y="1375"/>
                        </a:lnTo>
                        <a:lnTo>
                          <a:pt x="2751" y="2452"/>
                        </a:lnTo>
                        <a:lnTo>
                          <a:pt x="1973" y="3708"/>
                        </a:lnTo>
                        <a:lnTo>
                          <a:pt x="1256" y="5083"/>
                        </a:lnTo>
                        <a:lnTo>
                          <a:pt x="658" y="6519"/>
                        </a:lnTo>
                        <a:lnTo>
                          <a:pt x="239" y="7894"/>
                        </a:lnTo>
                        <a:lnTo>
                          <a:pt x="0" y="9090"/>
                        </a:lnTo>
                        <a:lnTo>
                          <a:pt x="0" y="10048"/>
                        </a:lnTo>
                        <a:lnTo>
                          <a:pt x="239" y="10705"/>
                        </a:lnTo>
                        <a:lnTo>
                          <a:pt x="418" y="10825"/>
                        </a:lnTo>
                        <a:lnTo>
                          <a:pt x="418" y="10825"/>
                        </a:lnTo>
                        <a:lnTo>
                          <a:pt x="658" y="11004"/>
                        </a:lnTo>
                        <a:lnTo>
                          <a:pt x="1256" y="10944"/>
                        </a:lnTo>
                        <a:lnTo>
                          <a:pt x="1973" y="10526"/>
                        </a:lnTo>
                        <a:lnTo>
                          <a:pt x="2751" y="9748"/>
                        </a:lnTo>
                        <a:lnTo>
                          <a:pt x="3588" y="8732"/>
                        </a:lnTo>
                        <a:lnTo>
                          <a:pt x="4366" y="7476"/>
                        </a:lnTo>
                        <a:lnTo>
                          <a:pt x="5083" y="6100"/>
                        </a:lnTo>
                        <a:lnTo>
                          <a:pt x="5681" y="4665"/>
                        </a:lnTo>
                        <a:lnTo>
                          <a:pt x="6100" y="3289"/>
                        </a:lnTo>
                        <a:lnTo>
                          <a:pt x="6340" y="2093"/>
                        </a:lnTo>
                        <a:lnTo>
                          <a:pt x="6340" y="1136"/>
                        </a:lnTo>
                        <a:lnTo>
                          <a:pt x="6160" y="478"/>
                        </a:lnTo>
                        <a:lnTo>
                          <a:pt x="6100" y="478"/>
                        </a:lnTo>
                        <a:lnTo>
                          <a:pt x="6040" y="418"/>
                        </a:lnTo>
                        <a:lnTo>
                          <a:pt x="5681" y="119"/>
                        </a:lnTo>
                        <a:lnTo>
                          <a:pt x="5382" y="0"/>
                        </a:lnTo>
                      </a:path>
                    </a:pathLst>
                  </a:custGeom>
                  <a:noFill/>
                  <a:ln w="6350" cap="flat">
                    <a:solidFill>
                      <a:schemeClr val="bg1">
                        <a:alpha val="40000"/>
                      </a:schemeClr>
                    </a:solidFill>
                    <a:prstDash val="solid"/>
                    <a:miter/>
                  </a:ln>
                </p:spPr>
                <p:txBody>
                  <a:bodyPr rtlCol="0" anchor="ctr"/>
                  <a:lstStyle/>
                  <a:p>
                    <a:endParaRPr lang="en-GB"/>
                  </a:p>
                </p:txBody>
              </p:sp>
              <p:sp>
                <p:nvSpPr>
                  <p:cNvPr id="7640" name="Vrije vorm: vorm 7639">
                    <a:extLst>
                      <a:ext uri="{FF2B5EF4-FFF2-40B4-BE49-F238E27FC236}">
                        <a16:creationId xmlns:a16="http://schemas.microsoft.com/office/drawing/2014/main" id="{337F55AF-0A79-4546-952D-A4EF42A0667A}"/>
                      </a:ext>
                    </a:extLst>
                  </p:cNvPr>
                  <p:cNvSpPr/>
                  <p:nvPr/>
                </p:nvSpPr>
                <p:spPr>
                  <a:xfrm>
                    <a:off x="5856940" y="5235444"/>
                    <a:ext cx="658" cy="957"/>
                  </a:xfrm>
                  <a:custGeom>
                    <a:avLst/>
                    <a:gdLst>
                      <a:gd name="connsiteX0" fmla="*/ 658 w 658"/>
                      <a:gd name="connsiteY0" fmla="*/ 957 h 957"/>
                      <a:gd name="connsiteX1" fmla="*/ 239 w 658"/>
                      <a:gd name="connsiteY1" fmla="*/ 658 h 957"/>
                      <a:gd name="connsiteX2" fmla="*/ 60 w 658"/>
                      <a:gd name="connsiteY2" fmla="*/ 180 h 957"/>
                      <a:gd name="connsiteX3" fmla="*/ 0 w 658"/>
                      <a:gd name="connsiteY3" fmla="*/ 0 h 957"/>
                    </a:gdLst>
                    <a:ahLst/>
                    <a:cxnLst>
                      <a:cxn ang="0">
                        <a:pos x="connsiteX0" y="connsiteY0"/>
                      </a:cxn>
                      <a:cxn ang="0">
                        <a:pos x="connsiteX1" y="connsiteY1"/>
                      </a:cxn>
                      <a:cxn ang="0">
                        <a:pos x="connsiteX2" y="connsiteY2"/>
                      </a:cxn>
                      <a:cxn ang="0">
                        <a:pos x="connsiteX3" y="connsiteY3"/>
                      </a:cxn>
                    </a:cxnLst>
                    <a:rect l="l" t="t" r="r" b="b"/>
                    <a:pathLst>
                      <a:path w="658" h="957">
                        <a:moveTo>
                          <a:pt x="658" y="957"/>
                        </a:moveTo>
                        <a:lnTo>
                          <a:pt x="239" y="658"/>
                        </a:lnTo>
                        <a:lnTo>
                          <a:pt x="60" y="18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41" name="Vrije vorm: vorm 7640">
                    <a:extLst>
                      <a:ext uri="{FF2B5EF4-FFF2-40B4-BE49-F238E27FC236}">
                        <a16:creationId xmlns:a16="http://schemas.microsoft.com/office/drawing/2014/main" id="{32516A96-22E0-4CB2-A921-51A4FBDC415D}"/>
                      </a:ext>
                    </a:extLst>
                  </p:cNvPr>
                  <p:cNvSpPr/>
                  <p:nvPr/>
                </p:nvSpPr>
                <p:spPr>
                  <a:xfrm>
                    <a:off x="5856940" y="5234487"/>
                    <a:ext cx="5980" cy="956"/>
                  </a:xfrm>
                  <a:custGeom>
                    <a:avLst/>
                    <a:gdLst>
                      <a:gd name="connsiteX0" fmla="*/ 0 w 5980"/>
                      <a:gd name="connsiteY0" fmla="*/ 957 h 956"/>
                      <a:gd name="connsiteX1" fmla="*/ 0 w 5980"/>
                      <a:gd name="connsiteY1" fmla="*/ 0 h 956"/>
                    </a:gdLst>
                    <a:ahLst/>
                    <a:cxnLst>
                      <a:cxn ang="0">
                        <a:pos x="connsiteX0" y="connsiteY0"/>
                      </a:cxn>
                      <a:cxn ang="0">
                        <a:pos x="connsiteX1" y="connsiteY1"/>
                      </a:cxn>
                    </a:cxnLst>
                    <a:rect l="l" t="t" r="r" b="b"/>
                    <a:pathLst>
                      <a:path w="5980" h="956">
                        <a:moveTo>
                          <a:pt x="0" y="957"/>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42" name="Vrije vorm: vorm 7641">
                    <a:extLst>
                      <a:ext uri="{FF2B5EF4-FFF2-40B4-BE49-F238E27FC236}">
                        <a16:creationId xmlns:a16="http://schemas.microsoft.com/office/drawing/2014/main" id="{E83E3F1B-BE67-4329-B438-27D6EAE7FAA0}"/>
                      </a:ext>
                    </a:extLst>
                  </p:cNvPr>
                  <p:cNvSpPr/>
                  <p:nvPr/>
                </p:nvSpPr>
                <p:spPr>
                  <a:xfrm>
                    <a:off x="5857120" y="5227789"/>
                    <a:ext cx="2571" cy="5801"/>
                  </a:xfrm>
                  <a:custGeom>
                    <a:avLst/>
                    <a:gdLst>
                      <a:gd name="connsiteX0" fmla="*/ 0 w 2571"/>
                      <a:gd name="connsiteY0" fmla="*/ 5801 h 5801"/>
                      <a:gd name="connsiteX1" fmla="*/ 60 w 2571"/>
                      <a:gd name="connsiteY1" fmla="*/ 5442 h 5801"/>
                      <a:gd name="connsiteX2" fmla="*/ 479 w 2571"/>
                      <a:gd name="connsiteY2" fmla="*/ 4067 h 5801"/>
                      <a:gd name="connsiteX3" fmla="*/ 479 w 2571"/>
                      <a:gd name="connsiteY3" fmla="*/ 4067 h 5801"/>
                      <a:gd name="connsiteX4" fmla="*/ 1076 w 2571"/>
                      <a:gd name="connsiteY4" fmla="*/ 2632 h 5801"/>
                      <a:gd name="connsiteX5" fmla="*/ 1794 w 2571"/>
                      <a:gd name="connsiteY5" fmla="*/ 1256 h 5801"/>
                      <a:gd name="connsiteX6" fmla="*/ 2572 w 2571"/>
                      <a:gd name="connsiteY6" fmla="*/ 0 h 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 h="5801">
                        <a:moveTo>
                          <a:pt x="0" y="5801"/>
                        </a:moveTo>
                        <a:lnTo>
                          <a:pt x="60" y="5442"/>
                        </a:lnTo>
                        <a:lnTo>
                          <a:pt x="479" y="4067"/>
                        </a:lnTo>
                        <a:lnTo>
                          <a:pt x="479" y="4067"/>
                        </a:lnTo>
                        <a:lnTo>
                          <a:pt x="1076" y="2632"/>
                        </a:lnTo>
                        <a:lnTo>
                          <a:pt x="1794" y="1256"/>
                        </a:lnTo>
                        <a:lnTo>
                          <a:pt x="2572" y="0"/>
                        </a:lnTo>
                      </a:path>
                    </a:pathLst>
                  </a:custGeom>
                  <a:noFill/>
                  <a:ln w="6350" cap="flat">
                    <a:solidFill>
                      <a:schemeClr val="bg1">
                        <a:alpha val="40000"/>
                      </a:schemeClr>
                    </a:solidFill>
                    <a:prstDash val="solid"/>
                    <a:miter/>
                  </a:ln>
                </p:spPr>
                <p:txBody>
                  <a:bodyPr rtlCol="0" anchor="ctr"/>
                  <a:lstStyle/>
                  <a:p>
                    <a:endParaRPr lang="en-GB"/>
                  </a:p>
                </p:txBody>
              </p:sp>
              <p:sp>
                <p:nvSpPr>
                  <p:cNvPr id="7643" name="Vrije vorm: vorm 7642">
                    <a:extLst>
                      <a:ext uri="{FF2B5EF4-FFF2-40B4-BE49-F238E27FC236}">
                        <a16:creationId xmlns:a16="http://schemas.microsoft.com/office/drawing/2014/main" id="{679343FC-0D63-49E3-8EA5-8E3177FD80AD}"/>
                      </a:ext>
                    </a:extLst>
                  </p:cNvPr>
                  <p:cNvSpPr/>
                  <p:nvPr/>
                </p:nvSpPr>
                <p:spPr>
                  <a:xfrm>
                    <a:off x="5860708" y="5227190"/>
                    <a:ext cx="777" cy="1076"/>
                  </a:xfrm>
                  <a:custGeom>
                    <a:avLst/>
                    <a:gdLst>
                      <a:gd name="connsiteX0" fmla="*/ 419 w 777"/>
                      <a:gd name="connsiteY0" fmla="*/ 0 h 1076"/>
                      <a:gd name="connsiteX1" fmla="*/ 718 w 777"/>
                      <a:gd name="connsiteY1" fmla="*/ 120 h 1076"/>
                      <a:gd name="connsiteX2" fmla="*/ 778 w 777"/>
                      <a:gd name="connsiteY2" fmla="*/ 180 h 1076"/>
                      <a:gd name="connsiteX3" fmla="*/ 778 w 777"/>
                      <a:gd name="connsiteY3" fmla="*/ 239 h 1076"/>
                      <a:gd name="connsiteX4" fmla="*/ 778 w 777"/>
                      <a:gd name="connsiteY4" fmla="*/ 359 h 1076"/>
                      <a:gd name="connsiteX5" fmla="*/ 778 w 777"/>
                      <a:gd name="connsiteY5" fmla="*/ 479 h 1076"/>
                      <a:gd name="connsiteX6" fmla="*/ 718 w 777"/>
                      <a:gd name="connsiteY6" fmla="*/ 598 h 1076"/>
                      <a:gd name="connsiteX7" fmla="*/ 658 w 777"/>
                      <a:gd name="connsiteY7" fmla="*/ 718 h 1076"/>
                      <a:gd name="connsiteX8" fmla="*/ 598 w 777"/>
                      <a:gd name="connsiteY8" fmla="*/ 837 h 1076"/>
                      <a:gd name="connsiteX9" fmla="*/ 538 w 777"/>
                      <a:gd name="connsiteY9" fmla="*/ 957 h 1076"/>
                      <a:gd name="connsiteX10" fmla="*/ 538 w 777"/>
                      <a:gd name="connsiteY10" fmla="*/ 957 h 1076"/>
                      <a:gd name="connsiteX11" fmla="*/ 479 w 777"/>
                      <a:gd name="connsiteY11" fmla="*/ 1017 h 1076"/>
                      <a:gd name="connsiteX12" fmla="*/ 419 w 777"/>
                      <a:gd name="connsiteY12" fmla="*/ 1076 h 1076"/>
                      <a:gd name="connsiteX13" fmla="*/ 359 w 777"/>
                      <a:gd name="connsiteY13" fmla="*/ 1076 h 1076"/>
                      <a:gd name="connsiteX14" fmla="*/ 359 w 777"/>
                      <a:gd name="connsiteY14" fmla="*/ 1076 h 1076"/>
                      <a:gd name="connsiteX15" fmla="*/ 299 w 777"/>
                      <a:gd name="connsiteY15" fmla="*/ 1076 h 1076"/>
                      <a:gd name="connsiteX16" fmla="*/ 0 w 777"/>
                      <a:gd name="connsiteY16" fmla="*/ 957 h 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 h="1076">
                        <a:moveTo>
                          <a:pt x="419" y="0"/>
                        </a:moveTo>
                        <a:lnTo>
                          <a:pt x="718" y="120"/>
                        </a:lnTo>
                        <a:lnTo>
                          <a:pt x="778" y="180"/>
                        </a:lnTo>
                        <a:lnTo>
                          <a:pt x="778" y="239"/>
                        </a:lnTo>
                        <a:lnTo>
                          <a:pt x="778" y="359"/>
                        </a:lnTo>
                        <a:lnTo>
                          <a:pt x="778" y="479"/>
                        </a:lnTo>
                        <a:lnTo>
                          <a:pt x="718" y="598"/>
                        </a:lnTo>
                        <a:lnTo>
                          <a:pt x="658" y="718"/>
                        </a:lnTo>
                        <a:lnTo>
                          <a:pt x="598" y="837"/>
                        </a:lnTo>
                        <a:lnTo>
                          <a:pt x="538" y="957"/>
                        </a:lnTo>
                        <a:lnTo>
                          <a:pt x="538" y="957"/>
                        </a:lnTo>
                        <a:lnTo>
                          <a:pt x="479" y="1017"/>
                        </a:lnTo>
                        <a:lnTo>
                          <a:pt x="419" y="1076"/>
                        </a:lnTo>
                        <a:lnTo>
                          <a:pt x="359" y="1076"/>
                        </a:lnTo>
                        <a:lnTo>
                          <a:pt x="359" y="1076"/>
                        </a:lnTo>
                        <a:lnTo>
                          <a:pt x="299" y="1076"/>
                        </a:lnTo>
                        <a:lnTo>
                          <a:pt x="0" y="957"/>
                        </a:lnTo>
                      </a:path>
                    </a:pathLst>
                  </a:custGeom>
                  <a:noFill/>
                  <a:ln w="6350" cap="flat">
                    <a:solidFill>
                      <a:schemeClr val="bg1">
                        <a:alpha val="40000"/>
                      </a:schemeClr>
                    </a:solidFill>
                    <a:prstDash val="solid"/>
                    <a:miter/>
                  </a:ln>
                </p:spPr>
                <p:txBody>
                  <a:bodyPr rtlCol="0" anchor="ctr"/>
                  <a:lstStyle/>
                  <a:p>
                    <a:endParaRPr lang="en-GB"/>
                  </a:p>
                </p:txBody>
              </p:sp>
              <p:sp>
                <p:nvSpPr>
                  <p:cNvPr id="7644" name="Vrije vorm: vorm 7643">
                    <a:extLst>
                      <a:ext uri="{FF2B5EF4-FFF2-40B4-BE49-F238E27FC236}">
                        <a16:creationId xmlns:a16="http://schemas.microsoft.com/office/drawing/2014/main" id="{56283360-F85E-4D05-96B6-1930D6ADFFBB}"/>
                      </a:ext>
                    </a:extLst>
                  </p:cNvPr>
                  <p:cNvSpPr/>
                  <p:nvPr/>
                </p:nvSpPr>
                <p:spPr>
                  <a:xfrm>
                    <a:off x="5860888" y="5227310"/>
                    <a:ext cx="538" cy="956"/>
                  </a:xfrm>
                  <a:custGeom>
                    <a:avLst/>
                    <a:gdLst>
                      <a:gd name="connsiteX0" fmla="*/ 538 w 538"/>
                      <a:gd name="connsiteY0" fmla="*/ 0 h 956"/>
                      <a:gd name="connsiteX1" fmla="*/ 538 w 538"/>
                      <a:gd name="connsiteY1" fmla="*/ 0 h 956"/>
                      <a:gd name="connsiteX2" fmla="*/ 419 w 538"/>
                      <a:gd name="connsiteY2" fmla="*/ 0 h 956"/>
                      <a:gd name="connsiteX3" fmla="*/ 359 w 538"/>
                      <a:gd name="connsiteY3" fmla="*/ 60 h 956"/>
                      <a:gd name="connsiteX4" fmla="*/ 299 w 538"/>
                      <a:gd name="connsiteY4" fmla="*/ 120 h 956"/>
                      <a:gd name="connsiteX5" fmla="*/ 239 w 538"/>
                      <a:gd name="connsiteY5" fmla="*/ 239 h 956"/>
                      <a:gd name="connsiteX6" fmla="*/ 179 w 538"/>
                      <a:gd name="connsiteY6" fmla="*/ 299 h 956"/>
                      <a:gd name="connsiteX7" fmla="*/ 120 w 538"/>
                      <a:gd name="connsiteY7" fmla="*/ 359 h 956"/>
                      <a:gd name="connsiteX8" fmla="*/ 60 w 538"/>
                      <a:gd name="connsiteY8" fmla="*/ 479 h 956"/>
                      <a:gd name="connsiteX9" fmla="*/ 60 w 538"/>
                      <a:gd name="connsiteY9" fmla="*/ 479 h 956"/>
                      <a:gd name="connsiteX10" fmla="*/ 0 w 538"/>
                      <a:gd name="connsiteY10" fmla="*/ 598 h 956"/>
                      <a:gd name="connsiteX11" fmla="*/ 0 w 538"/>
                      <a:gd name="connsiteY11" fmla="*/ 658 h 956"/>
                      <a:gd name="connsiteX12" fmla="*/ 0 w 538"/>
                      <a:gd name="connsiteY12" fmla="*/ 658 h 956"/>
                      <a:gd name="connsiteX13" fmla="*/ 0 w 538"/>
                      <a:gd name="connsiteY13" fmla="*/ 718 h 956"/>
                      <a:gd name="connsiteX14" fmla="*/ 0 w 538"/>
                      <a:gd name="connsiteY14" fmla="*/ 837 h 956"/>
                      <a:gd name="connsiteX15" fmla="*/ 0 w 538"/>
                      <a:gd name="connsiteY15" fmla="*/ 897 h 956"/>
                      <a:gd name="connsiteX16" fmla="*/ 60 w 538"/>
                      <a:gd name="connsiteY16" fmla="*/ 957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8" h="956">
                        <a:moveTo>
                          <a:pt x="538" y="0"/>
                        </a:moveTo>
                        <a:lnTo>
                          <a:pt x="538" y="0"/>
                        </a:lnTo>
                        <a:lnTo>
                          <a:pt x="419" y="0"/>
                        </a:lnTo>
                        <a:lnTo>
                          <a:pt x="359" y="60"/>
                        </a:lnTo>
                        <a:lnTo>
                          <a:pt x="299" y="120"/>
                        </a:lnTo>
                        <a:lnTo>
                          <a:pt x="239" y="239"/>
                        </a:lnTo>
                        <a:lnTo>
                          <a:pt x="179" y="299"/>
                        </a:lnTo>
                        <a:lnTo>
                          <a:pt x="120" y="359"/>
                        </a:lnTo>
                        <a:lnTo>
                          <a:pt x="60" y="479"/>
                        </a:lnTo>
                        <a:lnTo>
                          <a:pt x="60" y="479"/>
                        </a:lnTo>
                        <a:lnTo>
                          <a:pt x="0" y="598"/>
                        </a:lnTo>
                        <a:lnTo>
                          <a:pt x="0" y="658"/>
                        </a:lnTo>
                        <a:lnTo>
                          <a:pt x="0" y="658"/>
                        </a:lnTo>
                        <a:lnTo>
                          <a:pt x="0" y="718"/>
                        </a:lnTo>
                        <a:lnTo>
                          <a:pt x="0" y="837"/>
                        </a:lnTo>
                        <a:lnTo>
                          <a:pt x="0" y="897"/>
                        </a:lnTo>
                        <a:lnTo>
                          <a:pt x="60" y="957"/>
                        </a:lnTo>
                      </a:path>
                    </a:pathLst>
                  </a:custGeom>
                  <a:noFill/>
                  <a:ln w="6350" cap="flat">
                    <a:solidFill>
                      <a:schemeClr val="bg1">
                        <a:alpha val="40000"/>
                      </a:schemeClr>
                    </a:solidFill>
                    <a:prstDash val="solid"/>
                    <a:miter/>
                  </a:ln>
                </p:spPr>
                <p:txBody>
                  <a:bodyPr rtlCol="0" anchor="ctr"/>
                  <a:lstStyle/>
                  <a:p>
                    <a:endParaRPr lang="en-GB"/>
                  </a:p>
                </p:txBody>
              </p:sp>
              <p:sp>
                <p:nvSpPr>
                  <p:cNvPr id="7645" name="Vrije vorm: vorm 7644">
                    <a:extLst>
                      <a:ext uri="{FF2B5EF4-FFF2-40B4-BE49-F238E27FC236}">
                        <a16:creationId xmlns:a16="http://schemas.microsoft.com/office/drawing/2014/main" id="{731F69AB-B8F2-4358-8B1B-2FC92E8C8C30}"/>
                      </a:ext>
                    </a:extLst>
                  </p:cNvPr>
                  <p:cNvSpPr/>
                  <p:nvPr/>
                </p:nvSpPr>
                <p:spPr>
                  <a:xfrm>
                    <a:off x="5860589" y="5227190"/>
                    <a:ext cx="478" cy="957"/>
                  </a:xfrm>
                  <a:custGeom>
                    <a:avLst/>
                    <a:gdLst>
                      <a:gd name="connsiteX0" fmla="*/ 60 w 478"/>
                      <a:gd name="connsiteY0" fmla="*/ 957 h 957"/>
                      <a:gd name="connsiteX1" fmla="*/ 60 w 478"/>
                      <a:gd name="connsiteY1" fmla="*/ 957 h 957"/>
                      <a:gd name="connsiteX2" fmla="*/ 60 w 478"/>
                      <a:gd name="connsiteY2" fmla="*/ 957 h 957"/>
                      <a:gd name="connsiteX3" fmla="*/ 0 w 478"/>
                      <a:gd name="connsiteY3" fmla="*/ 837 h 957"/>
                      <a:gd name="connsiteX4" fmla="*/ 0 w 478"/>
                      <a:gd name="connsiteY4" fmla="*/ 718 h 957"/>
                      <a:gd name="connsiteX5" fmla="*/ 0 w 478"/>
                      <a:gd name="connsiteY5" fmla="*/ 598 h 957"/>
                      <a:gd name="connsiteX6" fmla="*/ 60 w 478"/>
                      <a:gd name="connsiteY6" fmla="*/ 479 h 957"/>
                      <a:gd name="connsiteX7" fmla="*/ 119 w 478"/>
                      <a:gd name="connsiteY7" fmla="*/ 359 h 957"/>
                      <a:gd name="connsiteX8" fmla="*/ 179 w 478"/>
                      <a:gd name="connsiteY8" fmla="*/ 239 h 957"/>
                      <a:gd name="connsiteX9" fmla="*/ 239 w 478"/>
                      <a:gd name="connsiteY9" fmla="*/ 120 h 957"/>
                      <a:gd name="connsiteX10" fmla="*/ 299 w 478"/>
                      <a:gd name="connsiteY10" fmla="*/ 60 h 957"/>
                      <a:gd name="connsiteX11" fmla="*/ 359 w 478"/>
                      <a:gd name="connsiteY11" fmla="*/ 0 h 957"/>
                      <a:gd name="connsiteX12" fmla="*/ 419 w 478"/>
                      <a:gd name="connsiteY12" fmla="*/ 0 h 957"/>
                      <a:gd name="connsiteX13" fmla="*/ 478 w 478"/>
                      <a:gd name="connsiteY13" fmla="*/ 0 h 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 h="957">
                        <a:moveTo>
                          <a:pt x="60" y="957"/>
                        </a:moveTo>
                        <a:lnTo>
                          <a:pt x="60" y="957"/>
                        </a:lnTo>
                        <a:lnTo>
                          <a:pt x="60" y="957"/>
                        </a:lnTo>
                        <a:lnTo>
                          <a:pt x="0" y="837"/>
                        </a:lnTo>
                        <a:lnTo>
                          <a:pt x="0" y="718"/>
                        </a:lnTo>
                        <a:lnTo>
                          <a:pt x="0" y="598"/>
                        </a:lnTo>
                        <a:lnTo>
                          <a:pt x="60" y="479"/>
                        </a:lnTo>
                        <a:lnTo>
                          <a:pt x="119" y="359"/>
                        </a:lnTo>
                        <a:lnTo>
                          <a:pt x="179" y="239"/>
                        </a:lnTo>
                        <a:lnTo>
                          <a:pt x="239" y="120"/>
                        </a:lnTo>
                        <a:lnTo>
                          <a:pt x="299" y="60"/>
                        </a:lnTo>
                        <a:lnTo>
                          <a:pt x="359" y="0"/>
                        </a:lnTo>
                        <a:lnTo>
                          <a:pt x="419" y="0"/>
                        </a:lnTo>
                        <a:lnTo>
                          <a:pt x="478" y="0"/>
                        </a:lnTo>
                      </a:path>
                    </a:pathLst>
                  </a:custGeom>
                  <a:noFill/>
                  <a:ln w="6350" cap="flat">
                    <a:solidFill>
                      <a:schemeClr val="bg1">
                        <a:alpha val="40000"/>
                      </a:schemeClr>
                    </a:solidFill>
                    <a:prstDash val="solid"/>
                    <a:miter/>
                  </a:ln>
                </p:spPr>
                <p:txBody>
                  <a:bodyPr rtlCol="0" anchor="ctr"/>
                  <a:lstStyle/>
                  <a:p>
                    <a:endParaRPr lang="en-GB"/>
                  </a:p>
                </p:txBody>
              </p:sp>
              <p:sp>
                <p:nvSpPr>
                  <p:cNvPr id="7646" name="Vrije vorm: vorm 7645">
                    <a:extLst>
                      <a:ext uri="{FF2B5EF4-FFF2-40B4-BE49-F238E27FC236}">
                        <a16:creationId xmlns:a16="http://schemas.microsoft.com/office/drawing/2014/main" id="{3FA4E7D1-4332-482A-B02A-66B3B8040D3C}"/>
                      </a:ext>
                    </a:extLst>
                  </p:cNvPr>
                  <p:cNvSpPr/>
                  <p:nvPr/>
                </p:nvSpPr>
                <p:spPr>
                  <a:xfrm>
                    <a:off x="5858256" y="5232693"/>
                    <a:ext cx="478" cy="956"/>
                  </a:xfrm>
                  <a:custGeom>
                    <a:avLst/>
                    <a:gdLst>
                      <a:gd name="connsiteX0" fmla="*/ 479 w 478"/>
                      <a:gd name="connsiteY0" fmla="*/ 0 h 956"/>
                      <a:gd name="connsiteX1" fmla="*/ 479 w 478"/>
                      <a:gd name="connsiteY1" fmla="*/ 0 h 956"/>
                      <a:gd name="connsiteX2" fmla="*/ 359 w 478"/>
                      <a:gd name="connsiteY2" fmla="*/ 0 h 956"/>
                      <a:gd name="connsiteX3" fmla="*/ 299 w 478"/>
                      <a:gd name="connsiteY3" fmla="*/ 60 h 956"/>
                      <a:gd name="connsiteX4" fmla="*/ 239 w 478"/>
                      <a:gd name="connsiteY4" fmla="*/ 119 h 956"/>
                      <a:gd name="connsiteX5" fmla="*/ 179 w 478"/>
                      <a:gd name="connsiteY5" fmla="*/ 239 h 956"/>
                      <a:gd name="connsiteX6" fmla="*/ 120 w 478"/>
                      <a:gd name="connsiteY6" fmla="*/ 299 h 956"/>
                      <a:gd name="connsiteX7" fmla="*/ 120 w 478"/>
                      <a:gd name="connsiteY7" fmla="*/ 359 h 956"/>
                      <a:gd name="connsiteX8" fmla="*/ 120 w 478"/>
                      <a:gd name="connsiteY8" fmla="*/ 359 h 956"/>
                      <a:gd name="connsiteX9" fmla="*/ 60 w 478"/>
                      <a:gd name="connsiteY9" fmla="*/ 478 h 956"/>
                      <a:gd name="connsiteX10" fmla="*/ 60 w 478"/>
                      <a:gd name="connsiteY10" fmla="*/ 478 h 956"/>
                      <a:gd name="connsiteX11" fmla="*/ 0 w 478"/>
                      <a:gd name="connsiteY11" fmla="*/ 598 h 956"/>
                      <a:gd name="connsiteX12" fmla="*/ 0 w 478"/>
                      <a:gd name="connsiteY12" fmla="*/ 718 h 956"/>
                      <a:gd name="connsiteX13" fmla="*/ 0 w 478"/>
                      <a:gd name="connsiteY13" fmla="*/ 837 h 956"/>
                      <a:gd name="connsiteX14" fmla="*/ 0 w 478"/>
                      <a:gd name="connsiteY14" fmla="*/ 897 h 956"/>
                      <a:gd name="connsiteX15" fmla="*/ 60 w 478"/>
                      <a:gd name="connsiteY15" fmla="*/ 957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8" h="956">
                        <a:moveTo>
                          <a:pt x="479" y="0"/>
                        </a:moveTo>
                        <a:lnTo>
                          <a:pt x="479" y="0"/>
                        </a:lnTo>
                        <a:lnTo>
                          <a:pt x="359" y="0"/>
                        </a:lnTo>
                        <a:lnTo>
                          <a:pt x="299" y="60"/>
                        </a:lnTo>
                        <a:lnTo>
                          <a:pt x="239" y="119"/>
                        </a:lnTo>
                        <a:lnTo>
                          <a:pt x="179" y="239"/>
                        </a:lnTo>
                        <a:lnTo>
                          <a:pt x="120" y="299"/>
                        </a:lnTo>
                        <a:lnTo>
                          <a:pt x="120" y="359"/>
                        </a:lnTo>
                        <a:lnTo>
                          <a:pt x="120" y="359"/>
                        </a:lnTo>
                        <a:lnTo>
                          <a:pt x="60" y="478"/>
                        </a:lnTo>
                        <a:lnTo>
                          <a:pt x="60" y="478"/>
                        </a:lnTo>
                        <a:lnTo>
                          <a:pt x="0" y="598"/>
                        </a:lnTo>
                        <a:lnTo>
                          <a:pt x="0" y="718"/>
                        </a:lnTo>
                        <a:lnTo>
                          <a:pt x="0" y="837"/>
                        </a:lnTo>
                        <a:lnTo>
                          <a:pt x="0" y="897"/>
                        </a:lnTo>
                        <a:lnTo>
                          <a:pt x="60" y="957"/>
                        </a:lnTo>
                      </a:path>
                    </a:pathLst>
                  </a:custGeom>
                  <a:noFill/>
                  <a:ln w="6350" cap="flat">
                    <a:solidFill>
                      <a:schemeClr val="bg1">
                        <a:alpha val="40000"/>
                      </a:schemeClr>
                    </a:solidFill>
                    <a:prstDash val="solid"/>
                    <a:miter/>
                  </a:ln>
                </p:spPr>
                <p:txBody>
                  <a:bodyPr rtlCol="0" anchor="ctr"/>
                  <a:lstStyle/>
                  <a:p>
                    <a:endParaRPr lang="en-GB"/>
                  </a:p>
                </p:txBody>
              </p:sp>
              <p:sp>
                <p:nvSpPr>
                  <p:cNvPr id="7647" name="Vrije vorm: vorm 7646">
                    <a:extLst>
                      <a:ext uri="{FF2B5EF4-FFF2-40B4-BE49-F238E27FC236}">
                        <a16:creationId xmlns:a16="http://schemas.microsoft.com/office/drawing/2014/main" id="{C6695645-7233-4E23-92E7-F6290822C722}"/>
                      </a:ext>
                    </a:extLst>
                  </p:cNvPr>
                  <p:cNvSpPr/>
                  <p:nvPr/>
                </p:nvSpPr>
                <p:spPr>
                  <a:xfrm>
                    <a:off x="5857838" y="5232573"/>
                    <a:ext cx="478" cy="956"/>
                  </a:xfrm>
                  <a:custGeom>
                    <a:avLst/>
                    <a:gdLst>
                      <a:gd name="connsiteX0" fmla="*/ 60 w 478"/>
                      <a:gd name="connsiteY0" fmla="*/ 957 h 956"/>
                      <a:gd name="connsiteX1" fmla="*/ 60 w 478"/>
                      <a:gd name="connsiteY1" fmla="*/ 957 h 956"/>
                      <a:gd name="connsiteX2" fmla="*/ 0 w 478"/>
                      <a:gd name="connsiteY2" fmla="*/ 837 h 956"/>
                      <a:gd name="connsiteX3" fmla="*/ 0 w 478"/>
                      <a:gd name="connsiteY3" fmla="*/ 718 h 956"/>
                      <a:gd name="connsiteX4" fmla="*/ 0 w 478"/>
                      <a:gd name="connsiteY4" fmla="*/ 598 h 956"/>
                      <a:gd name="connsiteX5" fmla="*/ 60 w 478"/>
                      <a:gd name="connsiteY5" fmla="*/ 479 h 956"/>
                      <a:gd name="connsiteX6" fmla="*/ 120 w 478"/>
                      <a:gd name="connsiteY6" fmla="*/ 359 h 956"/>
                      <a:gd name="connsiteX7" fmla="*/ 180 w 478"/>
                      <a:gd name="connsiteY7" fmla="*/ 239 h 956"/>
                      <a:gd name="connsiteX8" fmla="*/ 239 w 478"/>
                      <a:gd name="connsiteY8" fmla="*/ 120 h 956"/>
                      <a:gd name="connsiteX9" fmla="*/ 299 w 478"/>
                      <a:gd name="connsiteY9" fmla="*/ 60 h 956"/>
                      <a:gd name="connsiteX10" fmla="*/ 359 w 478"/>
                      <a:gd name="connsiteY10" fmla="*/ 0 h 956"/>
                      <a:gd name="connsiteX11" fmla="*/ 359 w 478"/>
                      <a:gd name="connsiteY11" fmla="*/ 0 h 956"/>
                      <a:gd name="connsiteX12" fmla="*/ 419 w 478"/>
                      <a:gd name="connsiteY12" fmla="*/ 0 h 956"/>
                      <a:gd name="connsiteX13" fmla="*/ 479 w 478"/>
                      <a:gd name="connsiteY13" fmla="*/ 0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 h="956">
                        <a:moveTo>
                          <a:pt x="60" y="957"/>
                        </a:moveTo>
                        <a:lnTo>
                          <a:pt x="60" y="957"/>
                        </a:lnTo>
                        <a:lnTo>
                          <a:pt x="0" y="837"/>
                        </a:lnTo>
                        <a:lnTo>
                          <a:pt x="0" y="718"/>
                        </a:lnTo>
                        <a:lnTo>
                          <a:pt x="0" y="598"/>
                        </a:lnTo>
                        <a:lnTo>
                          <a:pt x="60" y="479"/>
                        </a:lnTo>
                        <a:lnTo>
                          <a:pt x="120" y="359"/>
                        </a:lnTo>
                        <a:lnTo>
                          <a:pt x="180" y="239"/>
                        </a:lnTo>
                        <a:lnTo>
                          <a:pt x="239" y="120"/>
                        </a:lnTo>
                        <a:lnTo>
                          <a:pt x="299" y="60"/>
                        </a:lnTo>
                        <a:lnTo>
                          <a:pt x="359" y="0"/>
                        </a:lnTo>
                        <a:lnTo>
                          <a:pt x="359" y="0"/>
                        </a:lnTo>
                        <a:lnTo>
                          <a:pt x="419" y="0"/>
                        </a:lnTo>
                        <a:lnTo>
                          <a:pt x="479" y="0"/>
                        </a:lnTo>
                      </a:path>
                    </a:pathLst>
                  </a:custGeom>
                  <a:noFill/>
                  <a:ln w="6350" cap="flat">
                    <a:solidFill>
                      <a:schemeClr val="bg1">
                        <a:alpha val="40000"/>
                      </a:schemeClr>
                    </a:solidFill>
                    <a:prstDash val="solid"/>
                    <a:miter/>
                  </a:ln>
                </p:spPr>
                <p:txBody>
                  <a:bodyPr rtlCol="0" anchor="ctr"/>
                  <a:lstStyle/>
                  <a:p>
                    <a:endParaRPr lang="en-GB"/>
                  </a:p>
                </p:txBody>
              </p:sp>
              <p:sp>
                <p:nvSpPr>
                  <p:cNvPr id="7648" name="Vrije vorm: vorm 7647">
                    <a:extLst>
                      <a:ext uri="{FF2B5EF4-FFF2-40B4-BE49-F238E27FC236}">
                        <a16:creationId xmlns:a16="http://schemas.microsoft.com/office/drawing/2014/main" id="{67CBC85D-CBA3-4330-B8FF-2BE1E43DAF67}"/>
                      </a:ext>
                    </a:extLst>
                  </p:cNvPr>
                  <p:cNvSpPr/>
                  <p:nvPr/>
                </p:nvSpPr>
                <p:spPr>
                  <a:xfrm>
                    <a:off x="5859811" y="5234188"/>
                    <a:ext cx="538" cy="1135"/>
                  </a:xfrm>
                  <a:custGeom>
                    <a:avLst/>
                    <a:gdLst>
                      <a:gd name="connsiteX0" fmla="*/ 478 w 538"/>
                      <a:gd name="connsiteY0" fmla="*/ 119 h 1135"/>
                      <a:gd name="connsiteX1" fmla="*/ 478 w 538"/>
                      <a:gd name="connsiteY1" fmla="*/ 119 h 1135"/>
                      <a:gd name="connsiteX2" fmla="*/ 359 w 538"/>
                      <a:gd name="connsiteY2" fmla="*/ 119 h 1135"/>
                      <a:gd name="connsiteX3" fmla="*/ 299 w 538"/>
                      <a:gd name="connsiteY3" fmla="*/ 179 h 1135"/>
                      <a:gd name="connsiteX4" fmla="*/ 239 w 538"/>
                      <a:gd name="connsiteY4" fmla="*/ 239 h 1135"/>
                      <a:gd name="connsiteX5" fmla="*/ 179 w 538"/>
                      <a:gd name="connsiteY5" fmla="*/ 359 h 1135"/>
                      <a:gd name="connsiteX6" fmla="*/ 119 w 538"/>
                      <a:gd name="connsiteY6" fmla="*/ 478 h 1135"/>
                      <a:gd name="connsiteX7" fmla="*/ 119 w 538"/>
                      <a:gd name="connsiteY7" fmla="*/ 538 h 1135"/>
                      <a:gd name="connsiteX8" fmla="*/ 60 w 538"/>
                      <a:gd name="connsiteY8" fmla="*/ 598 h 1135"/>
                      <a:gd name="connsiteX9" fmla="*/ 60 w 538"/>
                      <a:gd name="connsiteY9" fmla="*/ 658 h 1135"/>
                      <a:gd name="connsiteX10" fmla="*/ 0 w 538"/>
                      <a:gd name="connsiteY10" fmla="*/ 777 h 1135"/>
                      <a:gd name="connsiteX11" fmla="*/ 0 w 538"/>
                      <a:gd name="connsiteY11" fmla="*/ 837 h 1135"/>
                      <a:gd name="connsiteX12" fmla="*/ 0 w 538"/>
                      <a:gd name="connsiteY12" fmla="*/ 837 h 1135"/>
                      <a:gd name="connsiteX13" fmla="*/ 0 w 538"/>
                      <a:gd name="connsiteY13" fmla="*/ 897 h 1135"/>
                      <a:gd name="connsiteX14" fmla="*/ 0 w 538"/>
                      <a:gd name="connsiteY14" fmla="*/ 1017 h 1135"/>
                      <a:gd name="connsiteX15" fmla="*/ 0 w 538"/>
                      <a:gd name="connsiteY15" fmla="*/ 1076 h 1135"/>
                      <a:gd name="connsiteX16" fmla="*/ 60 w 538"/>
                      <a:gd name="connsiteY16" fmla="*/ 1136 h 1135"/>
                      <a:gd name="connsiteX17" fmla="*/ 119 w 538"/>
                      <a:gd name="connsiteY17" fmla="*/ 1136 h 1135"/>
                      <a:gd name="connsiteX18" fmla="*/ 179 w 538"/>
                      <a:gd name="connsiteY18" fmla="*/ 1136 h 1135"/>
                      <a:gd name="connsiteX19" fmla="*/ 239 w 538"/>
                      <a:gd name="connsiteY19" fmla="*/ 1076 h 1135"/>
                      <a:gd name="connsiteX20" fmla="*/ 299 w 538"/>
                      <a:gd name="connsiteY20" fmla="*/ 1017 h 1135"/>
                      <a:gd name="connsiteX21" fmla="*/ 359 w 538"/>
                      <a:gd name="connsiteY21" fmla="*/ 897 h 1135"/>
                      <a:gd name="connsiteX22" fmla="*/ 419 w 538"/>
                      <a:gd name="connsiteY22" fmla="*/ 777 h 1135"/>
                      <a:gd name="connsiteX23" fmla="*/ 478 w 538"/>
                      <a:gd name="connsiteY23" fmla="*/ 658 h 1135"/>
                      <a:gd name="connsiteX24" fmla="*/ 538 w 538"/>
                      <a:gd name="connsiteY24" fmla="*/ 538 h 1135"/>
                      <a:gd name="connsiteX25" fmla="*/ 538 w 538"/>
                      <a:gd name="connsiteY25" fmla="*/ 418 h 1135"/>
                      <a:gd name="connsiteX26" fmla="*/ 538 w 538"/>
                      <a:gd name="connsiteY26" fmla="*/ 299 h 1135"/>
                      <a:gd name="connsiteX27" fmla="*/ 478 w 538"/>
                      <a:gd name="connsiteY27" fmla="*/ 119 h 1135"/>
                      <a:gd name="connsiteX28" fmla="*/ 478 w 538"/>
                      <a:gd name="connsiteY28" fmla="*/ 119 h 1135"/>
                      <a:gd name="connsiteX29" fmla="*/ 478 w 538"/>
                      <a:gd name="connsiteY29" fmla="*/ 119 h 1135"/>
                      <a:gd name="connsiteX30" fmla="*/ 478 w 538"/>
                      <a:gd name="connsiteY30" fmla="*/ 119 h 1135"/>
                      <a:gd name="connsiteX31" fmla="*/ 179 w 538"/>
                      <a:gd name="connsiteY31" fmla="*/ 0 h 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8" h="1135">
                        <a:moveTo>
                          <a:pt x="478" y="119"/>
                        </a:moveTo>
                        <a:lnTo>
                          <a:pt x="478" y="119"/>
                        </a:lnTo>
                        <a:lnTo>
                          <a:pt x="359" y="119"/>
                        </a:lnTo>
                        <a:lnTo>
                          <a:pt x="299" y="179"/>
                        </a:lnTo>
                        <a:lnTo>
                          <a:pt x="239" y="239"/>
                        </a:lnTo>
                        <a:lnTo>
                          <a:pt x="179" y="359"/>
                        </a:lnTo>
                        <a:lnTo>
                          <a:pt x="119" y="478"/>
                        </a:lnTo>
                        <a:lnTo>
                          <a:pt x="119" y="538"/>
                        </a:lnTo>
                        <a:lnTo>
                          <a:pt x="60" y="598"/>
                        </a:lnTo>
                        <a:lnTo>
                          <a:pt x="60" y="658"/>
                        </a:lnTo>
                        <a:lnTo>
                          <a:pt x="0" y="777"/>
                        </a:lnTo>
                        <a:lnTo>
                          <a:pt x="0" y="837"/>
                        </a:lnTo>
                        <a:lnTo>
                          <a:pt x="0" y="837"/>
                        </a:lnTo>
                        <a:lnTo>
                          <a:pt x="0" y="897"/>
                        </a:lnTo>
                        <a:lnTo>
                          <a:pt x="0" y="1017"/>
                        </a:lnTo>
                        <a:lnTo>
                          <a:pt x="0" y="1076"/>
                        </a:lnTo>
                        <a:lnTo>
                          <a:pt x="60" y="1136"/>
                        </a:lnTo>
                        <a:lnTo>
                          <a:pt x="119" y="1136"/>
                        </a:lnTo>
                        <a:lnTo>
                          <a:pt x="179" y="1136"/>
                        </a:lnTo>
                        <a:lnTo>
                          <a:pt x="239" y="1076"/>
                        </a:lnTo>
                        <a:lnTo>
                          <a:pt x="299" y="1017"/>
                        </a:lnTo>
                        <a:lnTo>
                          <a:pt x="359" y="897"/>
                        </a:lnTo>
                        <a:lnTo>
                          <a:pt x="419" y="777"/>
                        </a:lnTo>
                        <a:lnTo>
                          <a:pt x="478" y="658"/>
                        </a:lnTo>
                        <a:lnTo>
                          <a:pt x="538" y="538"/>
                        </a:lnTo>
                        <a:lnTo>
                          <a:pt x="538" y="418"/>
                        </a:lnTo>
                        <a:lnTo>
                          <a:pt x="538" y="299"/>
                        </a:lnTo>
                        <a:lnTo>
                          <a:pt x="478" y="119"/>
                        </a:lnTo>
                        <a:lnTo>
                          <a:pt x="478" y="119"/>
                        </a:lnTo>
                        <a:lnTo>
                          <a:pt x="478" y="119"/>
                        </a:lnTo>
                        <a:lnTo>
                          <a:pt x="478" y="119"/>
                        </a:lnTo>
                        <a:lnTo>
                          <a:pt x="179" y="0"/>
                        </a:lnTo>
                      </a:path>
                    </a:pathLst>
                  </a:custGeom>
                  <a:noFill/>
                  <a:ln w="6350" cap="flat">
                    <a:solidFill>
                      <a:schemeClr val="bg1">
                        <a:alpha val="40000"/>
                      </a:schemeClr>
                    </a:solidFill>
                    <a:prstDash val="solid"/>
                    <a:miter/>
                  </a:ln>
                </p:spPr>
                <p:txBody>
                  <a:bodyPr rtlCol="0" anchor="ctr"/>
                  <a:lstStyle/>
                  <a:p>
                    <a:endParaRPr lang="en-GB"/>
                  </a:p>
                </p:txBody>
              </p:sp>
              <p:sp>
                <p:nvSpPr>
                  <p:cNvPr id="7649" name="Vrije vorm: vorm 7648">
                    <a:extLst>
                      <a:ext uri="{FF2B5EF4-FFF2-40B4-BE49-F238E27FC236}">
                        <a16:creationId xmlns:a16="http://schemas.microsoft.com/office/drawing/2014/main" id="{22C33D28-10FD-4517-BECC-DB9E9F31D545}"/>
                      </a:ext>
                    </a:extLst>
                  </p:cNvPr>
                  <p:cNvSpPr/>
                  <p:nvPr/>
                </p:nvSpPr>
                <p:spPr>
                  <a:xfrm>
                    <a:off x="5859393" y="5234188"/>
                    <a:ext cx="478" cy="956"/>
                  </a:xfrm>
                  <a:custGeom>
                    <a:avLst/>
                    <a:gdLst>
                      <a:gd name="connsiteX0" fmla="*/ 60 w 478"/>
                      <a:gd name="connsiteY0" fmla="*/ 957 h 956"/>
                      <a:gd name="connsiteX1" fmla="*/ 60 w 478"/>
                      <a:gd name="connsiteY1" fmla="*/ 957 h 956"/>
                      <a:gd name="connsiteX2" fmla="*/ 0 w 478"/>
                      <a:gd name="connsiteY2" fmla="*/ 837 h 956"/>
                      <a:gd name="connsiteX3" fmla="*/ 0 w 478"/>
                      <a:gd name="connsiteY3" fmla="*/ 718 h 956"/>
                      <a:gd name="connsiteX4" fmla="*/ 0 w 478"/>
                      <a:gd name="connsiteY4" fmla="*/ 598 h 956"/>
                      <a:gd name="connsiteX5" fmla="*/ 60 w 478"/>
                      <a:gd name="connsiteY5" fmla="*/ 478 h 956"/>
                      <a:gd name="connsiteX6" fmla="*/ 120 w 478"/>
                      <a:gd name="connsiteY6" fmla="*/ 359 h 956"/>
                      <a:gd name="connsiteX7" fmla="*/ 179 w 478"/>
                      <a:gd name="connsiteY7" fmla="*/ 239 h 956"/>
                      <a:gd name="connsiteX8" fmla="*/ 239 w 478"/>
                      <a:gd name="connsiteY8" fmla="*/ 119 h 956"/>
                      <a:gd name="connsiteX9" fmla="*/ 299 w 478"/>
                      <a:gd name="connsiteY9" fmla="*/ 60 h 956"/>
                      <a:gd name="connsiteX10" fmla="*/ 359 w 478"/>
                      <a:gd name="connsiteY10" fmla="*/ 0 h 956"/>
                      <a:gd name="connsiteX11" fmla="*/ 419 w 478"/>
                      <a:gd name="connsiteY11" fmla="*/ 0 h 956"/>
                      <a:gd name="connsiteX12" fmla="*/ 479 w 478"/>
                      <a:gd name="connsiteY12" fmla="*/ 0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8" h="956">
                        <a:moveTo>
                          <a:pt x="60" y="957"/>
                        </a:moveTo>
                        <a:lnTo>
                          <a:pt x="60" y="957"/>
                        </a:lnTo>
                        <a:lnTo>
                          <a:pt x="0" y="837"/>
                        </a:lnTo>
                        <a:lnTo>
                          <a:pt x="0" y="718"/>
                        </a:lnTo>
                        <a:lnTo>
                          <a:pt x="0" y="598"/>
                        </a:lnTo>
                        <a:lnTo>
                          <a:pt x="60" y="478"/>
                        </a:lnTo>
                        <a:lnTo>
                          <a:pt x="120" y="359"/>
                        </a:lnTo>
                        <a:lnTo>
                          <a:pt x="179" y="239"/>
                        </a:lnTo>
                        <a:lnTo>
                          <a:pt x="239" y="119"/>
                        </a:lnTo>
                        <a:lnTo>
                          <a:pt x="299" y="60"/>
                        </a:lnTo>
                        <a:lnTo>
                          <a:pt x="359" y="0"/>
                        </a:lnTo>
                        <a:lnTo>
                          <a:pt x="419" y="0"/>
                        </a:lnTo>
                        <a:lnTo>
                          <a:pt x="479" y="0"/>
                        </a:lnTo>
                      </a:path>
                    </a:pathLst>
                  </a:custGeom>
                  <a:noFill/>
                  <a:ln w="6350" cap="flat">
                    <a:solidFill>
                      <a:schemeClr val="bg1">
                        <a:alpha val="40000"/>
                      </a:schemeClr>
                    </a:solidFill>
                    <a:prstDash val="solid"/>
                    <a:miter/>
                  </a:ln>
                </p:spPr>
                <p:txBody>
                  <a:bodyPr rtlCol="0" anchor="ctr"/>
                  <a:lstStyle/>
                  <a:p>
                    <a:endParaRPr lang="en-GB"/>
                  </a:p>
                </p:txBody>
              </p:sp>
              <p:sp>
                <p:nvSpPr>
                  <p:cNvPr id="7650" name="Vrije vorm: vorm 7649">
                    <a:extLst>
                      <a:ext uri="{FF2B5EF4-FFF2-40B4-BE49-F238E27FC236}">
                        <a16:creationId xmlns:a16="http://schemas.microsoft.com/office/drawing/2014/main" id="{E891466D-47BD-45B6-B762-EF724EB7399F}"/>
                      </a:ext>
                    </a:extLst>
                  </p:cNvPr>
                  <p:cNvSpPr/>
                  <p:nvPr/>
                </p:nvSpPr>
                <p:spPr>
                  <a:xfrm>
                    <a:off x="5859452" y="5235145"/>
                    <a:ext cx="298" cy="119"/>
                  </a:xfrm>
                  <a:custGeom>
                    <a:avLst/>
                    <a:gdLst>
                      <a:gd name="connsiteX0" fmla="*/ 299 w 298"/>
                      <a:gd name="connsiteY0" fmla="*/ 120 h 119"/>
                      <a:gd name="connsiteX1" fmla="*/ 119 w 298"/>
                      <a:gd name="connsiteY1" fmla="*/ 60 h 119"/>
                      <a:gd name="connsiteX2" fmla="*/ 119 w 298"/>
                      <a:gd name="connsiteY2" fmla="*/ 60 h 119"/>
                      <a:gd name="connsiteX3" fmla="*/ 0 w 298"/>
                      <a:gd name="connsiteY3" fmla="*/ 0 h 119"/>
                    </a:gdLst>
                    <a:ahLst/>
                    <a:cxnLst>
                      <a:cxn ang="0">
                        <a:pos x="connsiteX0" y="connsiteY0"/>
                      </a:cxn>
                      <a:cxn ang="0">
                        <a:pos x="connsiteX1" y="connsiteY1"/>
                      </a:cxn>
                      <a:cxn ang="0">
                        <a:pos x="connsiteX2" y="connsiteY2"/>
                      </a:cxn>
                      <a:cxn ang="0">
                        <a:pos x="connsiteX3" y="connsiteY3"/>
                      </a:cxn>
                    </a:cxnLst>
                    <a:rect l="l" t="t" r="r" b="b"/>
                    <a:pathLst>
                      <a:path w="298" h="119">
                        <a:moveTo>
                          <a:pt x="299" y="120"/>
                        </a:moveTo>
                        <a:lnTo>
                          <a:pt x="119" y="60"/>
                        </a:lnTo>
                        <a:lnTo>
                          <a:pt x="119" y="6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51" name="Vrije vorm: vorm 7650">
                    <a:extLst>
                      <a:ext uri="{FF2B5EF4-FFF2-40B4-BE49-F238E27FC236}">
                        <a16:creationId xmlns:a16="http://schemas.microsoft.com/office/drawing/2014/main" id="{27C4EF3B-A8E7-481B-8484-104994D2797D}"/>
                      </a:ext>
                    </a:extLst>
                  </p:cNvPr>
                  <p:cNvSpPr/>
                  <p:nvPr/>
                </p:nvSpPr>
                <p:spPr>
                  <a:xfrm>
                    <a:off x="5858675" y="5231078"/>
                    <a:ext cx="1076" cy="1196"/>
                  </a:xfrm>
                  <a:custGeom>
                    <a:avLst/>
                    <a:gdLst>
                      <a:gd name="connsiteX0" fmla="*/ 1076 w 1076"/>
                      <a:gd name="connsiteY0" fmla="*/ 0 h 1196"/>
                      <a:gd name="connsiteX1" fmla="*/ 957 w 1076"/>
                      <a:gd name="connsiteY1" fmla="*/ 0 h 1196"/>
                      <a:gd name="connsiteX2" fmla="*/ 837 w 1076"/>
                      <a:gd name="connsiteY2" fmla="*/ 60 h 1196"/>
                      <a:gd name="connsiteX3" fmla="*/ 837 w 1076"/>
                      <a:gd name="connsiteY3" fmla="*/ 60 h 1196"/>
                      <a:gd name="connsiteX4" fmla="*/ 658 w 1076"/>
                      <a:gd name="connsiteY4" fmla="*/ 179 h 1196"/>
                      <a:gd name="connsiteX5" fmla="*/ 478 w 1076"/>
                      <a:gd name="connsiteY5" fmla="*/ 359 h 1196"/>
                      <a:gd name="connsiteX6" fmla="*/ 299 w 1076"/>
                      <a:gd name="connsiteY6" fmla="*/ 598 h 1196"/>
                      <a:gd name="connsiteX7" fmla="*/ 119 w 1076"/>
                      <a:gd name="connsiteY7" fmla="*/ 897 h 1196"/>
                      <a:gd name="connsiteX8" fmla="*/ 0 w 1076"/>
                      <a:gd name="connsiteY8" fmla="*/ 1196 h 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 h="1196">
                        <a:moveTo>
                          <a:pt x="1076" y="0"/>
                        </a:moveTo>
                        <a:lnTo>
                          <a:pt x="957" y="0"/>
                        </a:lnTo>
                        <a:lnTo>
                          <a:pt x="837" y="60"/>
                        </a:lnTo>
                        <a:lnTo>
                          <a:pt x="837" y="60"/>
                        </a:lnTo>
                        <a:lnTo>
                          <a:pt x="658" y="179"/>
                        </a:lnTo>
                        <a:lnTo>
                          <a:pt x="478" y="359"/>
                        </a:lnTo>
                        <a:lnTo>
                          <a:pt x="299" y="598"/>
                        </a:lnTo>
                        <a:lnTo>
                          <a:pt x="119" y="897"/>
                        </a:lnTo>
                        <a:lnTo>
                          <a:pt x="0" y="1196"/>
                        </a:lnTo>
                      </a:path>
                    </a:pathLst>
                  </a:custGeom>
                  <a:noFill/>
                  <a:ln w="6350" cap="flat">
                    <a:solidFill>
                      <a:schemeClr val="bg1">
                        <a:alpha val="40000"/>
                      </a:schemeClr>
                    </a:solidFill>
                    <a:prstDash val="solid"/>
                    <a:miter/>
                  </a:ln>
                </p:spPr>
                <p:txBody>
                  <a:bodyPr rtlCol="0" anchor="ctr"/>
                  <a:lstStyle/>
                  <a:p>
                    <a:endParaRPr lang="en-GB"/>
                  </a:p>
                </p:txBody>
              </p:sp>
              <p:sp>
                <p:nvSpPr>
                  <p:cNvPr id="7652" name="Vrije vorm: vorm 7651">
                    <a:extLst>
                      <a:ext uri="{FF2B5EF4-FFF2-40B4-BE49-F238E27FC236}">
                        <a16:creationId xmlns:a16="http://schemas.microsoft.com/office/drawing/2014/main" id="{717CC241-2FDA-4402-8DAA-9859D7AE57C0}"/>
                      </a:ext>
                    </a:extLst>
                  </p:cNvPr>
                  <p:cNvSpPr/>
                  <p:nvPr/>
                </p:nvSpPr>
                <p:spPr>
                  <a:xfrm>
                    <a:off x="5860050" y="5230061"/>
                    <a:ext cx="5980" cy="119"/>
                  </a:xfrm>
                  <a:custGeom>
                    <a:avLst/>
                    <a:gdLst>
                      <a:gd name="connsiteX0" fmla="*/ 0 w 5980"/>
                      <a:gd name="connsiteY0" fmla="*/ 0 h 119"/>
                      <a:gd name="connsiteX1" fmla="*/ 0 w 5980"/>
                      <a:gd name="connsiteY1" fmla="*/ 60 h 119"/>
                      <a:gd name="connsiteX2" fmla="*/ 0 w 5980"/>
                      <a:gd name="connsiteY2" fmla="*/ 119 h 119"/>
                    </a:gdLst>
                    <a:ahLst/>
                    <a:cxnLst>
                      <a:cxn ang="0">
                        <a:pos x="connsiteX0" y="connsiteY0"/>
                      </a:cxn>
                      <a:cxn ang="0">
                        <a:pos x="connsiteX1" y="connsiteY1"/>
                      </a:cxn>
                      <a:cxn ang="0">
                        <a:pos x="connsiteX2" y="connsiteY2"/>
                      </a:cxn>
                    </a:cxnLst>
                    <a:rect l="l" t="t" r="r" b="b"/>
                    <a:pathLst>
                      <a:path w="5980" h="119">
                        <a:moveTo>
                          <a:pt x="0" y="0"/>
                        </a:moveTo>
                        <a:lnTo>
                          <a:pt x="0" y="60"/>
                        </a:lnTo>
                        <a:lnTo>
                          <a:pt x="0" y="119"/>
                        </a:lnTo>
                      </a:path>
                    </a:pathLst>
                  </a:custGeom>
                  <a:noFill/>
                  <a:ln w="6350" cap="flat">
                    <a:solidFill>
                      <a:schemeClr val="bg1">
                        <a:alpha val="40000"/>
                      </a:schemeClr>
                    </a:solidFill>
                    <a:prstDash val="solid"/>
                    <a:miter/>
                  </a:ln>
                </p:spPr>
                <p:txBody>
                  <a:bodyPr rtlCol="0" anchor="ctr"/>
                  <a:lstStyle/>
                  <a:p>
                    <a:endParaRPr lang="en-GB"/>
                  </a:p>
                </p:txBody>
              </p:sp>
              <p:sp>
                <p:nvSpPr>
                  <p:cNvPr id="7653" name="Vrije vorm: vorm 7652">
                    <a:extLst>
                      <a:ext uri="{FF2B5EF4-FFF2-40B4-BE49-F238E27FC236}">
                        <a16:creationId xmlns:a16="http://schemas.microsoft.com/office/drawing/2014/main" id="{13CE5897-C44D-4080-A2D6-C8E6AE381F2F}"/>
                      </a:ext>
                    </a:extLst>
                  </p:cNvPr>
                  <p:cNvSpPr/>
                  <p:nvPr/>
                </p:nvSpPr>
                <p:spPr>
                  <a:xfrm>
                    <a:off x="5860170" y="5228506"/>
                    <a:ext cx="478" cy="837"/>
                  </a:xfrm>
                  <a:custGeom>
                    <a:avLst/>
                    <a:gdLst>
                      <a:gd name="connsiteX0" fmla="*/ 478 w 478"/>
                      <a:gd name="connsiteY0" fmla="*/ 0 h 837"/>
                      <a:gd name="connsiteX1" fmla="*/ 299 w 478"/>
                      <a:gd name="connsiteY1" fmla="*/ 239 h 837"/>
                      <a:gd name="connsiteX2" fmla="*/ 119 w 478"/>
                      <a:gd name="connsiteY2" fmla="*/ 538 h 837"/>
                      <a:gd name="connsiteX3" fmla="*/ 0 w 478"/>
                      <a:gd name="connsiteY3" fmla="*/ 837 h 837"/>
                    </a:gdLst>
                    <a:ahLst/>
                    <a:cxnLst>
                      <a:cxn ang="0">
                        <a:pos x="connsiteX0" y="connsiteY0"/>
                      </a:cxn>
                      <a:cxn ang="0">
                        <a:pos x="connsiteX1" y="connsiteY1"/>
                      </a:cxn>
                      <a:cxn ang="0">
                        <a:pos x="connsiteX2" y="connsiteY2"/>
                      </a:cxn>
                      <a:cxn ang="0">
                        <a:pos x="connsiteX3" y="connsiteY3"/>
                      </a:cxn>
                    </a:cxnLst>
                    <a:rect l="l" t="t" r="r" b="b"/>
                    <a:pathLst>
                      <a:path w="478" h="837">
                        <a:moveTo>
                          <a:pt x="478" y="0"/>
                        </a:moveTo>
                        <a:lnTo>
                          <a:pt x="299" y="239"/>
                        </a:lnTo>
                        <a:lnTo>
                          <a:pt x="119" y="538"/>
                        </a:lnTo>
                        <a:lnTo>
                          <a:pt x="0" y="837"/>
                        </a:lnTo>
                      </a:path>
                    </a:pathLst>
                  </a:custGeom>
                  <a:noFill/>
                  <a:ln w="6350" cap="flat">
                    <a:solidFill>
                      <a:schemeClr val="bg1">
                        <a:alpha val="40000"/>
                      </a:schemeClr>
                    </a:solidFill>
                    <a:prstDash val="solid"/>
                    <a:miter/>
                  </a:ln>
                </p:spPr>
                <p:txBody>
                  <a:bodyPr rtlCol="0" anchor="ctr"/>
                  <a:lstStyle/>
                  <a:p>
                    <a:endParaRPr lang="en-GB"/>
                  </a:p>
                </p:txBody>
              </p:sp>
              <p:sp>
                <p:nvSpPr>
                  <p:cNvPr id="7654" name="Vrije vorm: vorm 7653">
                    <a:extLst>
                      <a:ext uri="{FF2B5EF4-FFF2-40B4-BE49-F238E27FC236}">
                        <a16:creationId xmlns:a16="http://schemas.microsoft.com/office/drawing/2014/main" id="{1B702626-44B5-4E90-B75E-D50A6FB91D31}"/>
                      </a:ext>
                    </a:extLst>
                  </p:cNvPr>
                  <p:cNvSpPr/>
                  <p:nvPr/>
                </p:nvSpPr>
                <p:spPr>
                  <a:xfrm>
                    <a:off x="5858615" y="5232513"/>
                    <a:ext cx="5980" cy="119"/>
                  </a:xfrm>
                  <a:custGeom>
                    <a:avLst/>
                    <a:gdLst>
                      <a:gd name="connsiteX0" fmla="*/ 0 w 5980"/>
                      <a:gd name="connsiteY0" fmla="*/ 0 h 119"/>
                      <a:gd name="connsiteX1" fmla="*/ 0 w 5980"/>
                      <a:gd name="connsiteY1" fmla="*/ 120 h 119"/>
                    </a:gdLst>
                    <a:ahLst/>
                    <a:cxnLst>
                      <a:cxn ang="0">
                        <a:pos x="connsiteX0" y="connsiteY0"/>
                      </a:cxn>
                      <a:cxn ang="0">
                        <a:pos x="connsiteX1" y="connsiteY1"/>
                      </a:cxn>
                    </a:cxnLst>
                    <a:rect l="l" t="t" r="r" b="b"/>
                    <a:pathLst>
                      <a:path w="5980" h="119">
                        <a:moveTo>
                          <a:pt x="0" y="0"/>
                        </a:moveTo>
                        <a:lnTo>
                          <a:pt x="0" y="120"/>
                        </a:lnTo>
                      </a:path>
                    </a:pathLst>
                  </a:custGeom>
                  <a:noFill/>
                  <a:ln w="6350" cap="flat">
                    <a:solidFill>
                      <a:schemeClr val="bg1">
                        <a:alpha val="40000"/>
                      </a:schemeClr>
                    </a:solidFill>
                    <a:prstDash val="solid"/>
                    <a:miter/>
                  </a:ln>
                </p:spPr>
                <p:txBody>
                  <a:bodyPr rtlCol="0" anchor="ctr"/>
                  <a:lstStyle/>
                  <a:p>
                    <a:endParaRPr lang="en-GB"/>
                  </a:p>
                </p:txBody>
              </p:sp>
              <p:sp>
                <p:nvSpPr>
                  <p:cNvPr id="7655" name="Vrije vorm: vorm 7654">
                    <a:extLst>
                      <a:ext uri="{FF2B5EF4-FFF2-40B4-BE49-F238E27FC236}">
                        <a16:creationId xmlns:a16="http://schemas.microsoft.com/office/drawing/2014/main" id="{DC650603-D63C-48AE-8204-9DC9FD765F7A}"/>
                      </a:ext>
                    </a:extLst>
                  </p:cNvPr>
                  <p:cNvSpPr/>
                  <p:nvPr/>
                </p:nvSpPr>
                <p:spPr>
                  <a:xfrm>
                    <a:off x="5862503" y="5228327"/>
                    <a:ext cx="418" cy="538"/>
                  </a:xfrm>
                  <a:custGeom>
                    <a:avLst/>
                    <a:gdLst>
                      <a:gd name="connsiteX0" fmla="*/ 418 w 418"/>
                      <a:gd name="connsiteY0" fmla="*/ 0 h 538"/>
                      <a:gd name="connsiteX1" fmla="*/ 418 w 418"/>
                      <a:gd name="connsiteY1" fmla="*/ 0 h 538"/>
                      <a:gd name="connsiteX2" fmla="*/ 299 w 418"/>
                      <a:gd name="connsiteY2" fmla="*/ 0 h 538"/>
                      <a:gd name="connsiteX3" fmla="*/ 239 w 418"/>
                      <a:gd name="connsiteY3" fmla="*/ 60 h 538"/>
                      <a:gd name="connsiteX4" fmla="*/ 179 w 418"/>
                      <a:gd name="connsiteY4" fmla="*/ 120 h 538"/>
                      <a:gd name="connsiteX5" fmla="*/ 119 w 418"/>
                      <a:gd name="connsiteY5" fmla="*/ 239 h 538"/>
                      <a:gd name="connsiteX6" fmla="*/ 60 w 418"/>
                      <a:gd name="connsiteY6" fmla="*/ 359 h 538"/>
                      <a:gd name="connsiteX7" fmla="*/ 0 w 418"/>
                      <a:gd name="connsiteY7" fmla="*/ 479 h 538"/>
                      <a:gd name="connsiteX8" fmla="*/ 0 w 418"/>
                      <a:gd name="connsiteY8" fmla="*/ 538 h 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8" h="538">
                        <a:moveTo>
                          <a:pt x="418" y="0"/>
                        </a:moveTo>
                        <a:lnTo>
                          <a:pt x="418" y="0"/>
                        </a:lnTo>
                        <a:lnTo>
                          <a:pt x="299" y="0"/>
                        </a:lnTo>
                        <a:lnTo>
                          <a:pt x="239" y="60"/>
                        </a:lnTo>
                        <a:lnTo>
                          <a:pt x="179" y="120"/>
                        </a:lnTo>
                        <a:lnTo>
                          <a:pt x="119" y="239"/>
                        </a:lnTo>
                        <a:lnTo>
                          <a:pt x="60" y="359"/>
                        </a:lnTo>
                        <a:lnTo>
                          <a:pt x="0" y="479"/>
                        </a:lnTo>
                        <a:lnTo>
                          <a:pt x="0" y="538"/>
                        </a:lnTo>
                      </a:path>
                    </a:pathLst>
                  </a:custGeom>
                  <a:noFill/>
                  <a:ln w="6350" cap="flat">
                    <a:solidFill>
                      <a:schemeClr val="bg1">
                        <a:alpha val="40000"/>
                      </a:schemeClr>
                    </a:solidFill>
                    <a:prstDash val="solid"/>
                    <a:miter/>
                  </a:ln>
                </p:spPr>
                <p:txBody>
                  <a:bodyPr rtlCol="0" anchor="ctr"/>
                  <a:lstStyle/>
                  <a:p>
                    <a:endParaRPr lang="en-GB"/>
                  </a:p>
                </p:txBody>
              </p:sp>
              <p:sp>
                <p:nvSpPr>
                  <p:cNvPr id="7656" name="Vrije vorm: vorm 7655">
                    <a:extLst>
                      <a:ext uri="{FF2B5EF4-FFF2-40B4-BE49-F238E27FC236}">
                        <a16:creationId xmlns:a16="http://schemas.microsoft.com/office/drawing/2014/main" id="{1CC3B9BC-14C0-41AF-B164-B2BE8CDFB815}"/>
                      </a:ext>
                    </a:extLst>
                  </p:cNvPr>
                  <p:cNvSpPr/>
                  <p:nvPr/>
                </p:nvSpPr>
                <p:spPr>
                  <a:xfrm>
                    <a:off x="5862024" y="5225516"/>
                    <a:ext cx="597" cy="59"/>
                  </a:xfrm>
                  <a:custGeom>
                    <a:avLst/>
                    <a:gdLst>
                      <a:gd name="connsiteX0" fmla="*/ 0 w 597"/>
                      <a:gd name="connsiteY0" fmla="*/ 60 h 59"/>
                      <a:gd name="connsiteX1" fmla="*/ 598 w 597"/>
                      <a:gd name="connsiteY1" fmla="*/ 0 h 59"/>
                    </a:gdLst>
                    <a:ahLst/>
                    <a:cxnLst>
                      <a:cxn ang="0">
                        <a:pos x="connsiteX0" y="connsiteY0"/>
                      </a:cxn>
                      <a:cxn ang="0">
                        <a:pos x="connsiteX1" y="connsiteY1"/>
                      </a:cxn>
                    </a:cxnLst>
                    <a:rect l="l" t="t" r="r" b="b"/>
                    <a:pathLst>
                      <a:path w="597" h="59">
                        <a:moveTo>
                          <a:pt x="0" y="60"/>
                        </a:moveTo>
                        <a:lnTo>
                          <a:pt x="598" y="0"/>
                        </a:lnTo>
                      </a:path>
                    </a:pathLst>
                  </a:custGeom>
                  <a:noFill/>
                  <a:ln w="6350" cap="flat">
                    <a:solidFill>
                      <a:schemeClr val="bg1">
                        <a:alpha val="40000"/>
                      </a:schemeClr>
                    </a:solidFill>
                    <a:prstDash val="solid"/>
                    <a:miter/>
                  </a:ln>
                </p:spPr>
                <p:txBody>
                  <a:bodyPr rtlCol="0" anchor="ctr"/>
                  <a:lstStyle/>
                  <a:p>
                    <a:endParaRPr lang="en-GB"/>
                  </a:p>
                </p:txBody>
              </p:sp>
              <p:sp>
                <p:nvSpPr>
                  <p:cNvPr id="7657" name="Vrije vorm: vorm 7656">
                    <a:extLst>
                      <a:ext uri="{FF2B5EF4-FFF2-40B4-BE49-F238E27FC236}">
                        <a16:creationId xmlns:a16="http://schemas.microsoft.com/office/drawing/2014/main" id="{E313BDBA-F72B-4D2A-8854-B70F0D30F548}"/>
                      </a:ext>
                    </a:extLst>
                  </p:cNvPr>
                  <p:cNvSpPr/>
                  <p:nvPr/>
                </p:nvSpPr>
                <p:spPr>
                  <a:xfrm>
                    <a:off x="5857598" y="5236401"/>
                    <a:ext cx="298" cy="119"/>
                  </a:xfrm>
                  <a:custGeom>
                    <a:avLst/>
                    <a:gdLst>
                      <a:gd name="connsiteX0" fmla="*/ 299 w 298"/>
                      <a:gd name="connsiteY0" fmla="*/ 119 h 119"/>
                      <a:gd name="connsiteX1" fmla="*/ 0 w 298"/>
                      <a:gd name="connsiteY1" fmla="*/ 0 h 119"/>
                      <a:gd name="connsiteX2" fmla="*/ 0 w 298"/>
                      <a:gd name="connsiteY2" fmla="*/ 0 h 119"/>
                    </a:gdLst>
                    <a:ahLst/>
                    <a:cxnLst>
                      <a:cxn ang="0">
                        <a:pos x="connsiteX0" y="connsiteY0"/>
                      </a:cxn>
                      <a:cxn ang="0">
                        <a:pos x="connsiteX1" y="connsiteY1"/>
                      </a:cxn>
                      <a:cxn ang="0">
                        <a:pos x="connsiteX2" y="connsiteY2"/>
                      </a:cxn>
                    </a:cxnLst>
                    <a:rect l="l" t="t" r="r" b="b"/>
                    <a:pathLst>
                      <a:path w="298" h="119">
                        <a:moveTo>
                          <a:pt x="299" y="119"/>
                        </a:moveTo>
                        <a:lnTo>
                          <a:pt x="0" y="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58" name="Vrije vorm: vorm 7657">
                    <a:extLst>
                      <a:ext uri="{FF2B5EF4-FFF2-40B4-BE49-F238E27FC236}">
                        <a16:creationId xmlns:a16="http://schemas.microsoft.com/office/drawing/2014/main" id="{C8F83A5E-447C-43B6-A0EC-2F2272CC0B26}"/>
                      </a:ext>
                    </a:extLst>
                  </p:cNvPr>
                  <p:cNvSpPr/>
                  <p:nvPr/>
                </p:nvSpPr>
                <p:spPr>
                  <a:xfrm>
                    <a:off x="5858794" y="5231257"/>
                    <a:ext cx="1256" cy="2212"/>
                  </a:xfrm>
                  <a:custGeom>
                    <a:avLst/>
                    <a:gdLst>
                      <a:gd name="connsiteX0" fmla="*/ 1256 w 1256"/>
                      <a:gd name="connsiteY0" fmla="*/ 0 h 2212"/>
                      <a:gd name="connsiteX1" fmla="*/ 1136 w 1256"/>
                      <a:gd name="connsiteY1" fmla="*/ 0 h 2212"/>
                      <a:gd name="connsiteX2" fmla="*/ 1017 w 1256"/>
                      <a:gd name="connsiteY2" fmla="*/ 60 h 2212"/>
                      <a:gd name="connsiteX3" fmla="*/ 837 w 1256"/>
                      <a:gd name="connsiteY3" fmla="*/ 180 h 2212"/>
                      <a:gd name="connsiteX4" fmla="*/ 658 w 1256"/>
                      <a:gd name="connsiteY4" fmla="*/ 359 h 2212"/>
                      <a:gd name="connsiteX5" fmla="*/ 598 w 1256"/>
                      <a:gd name="connsiteY5" fmla="*/ 479 h 2212"/>
                      <a:gd name="connsiteX6" fmla="*/ 479 w 1256"/>
                      <a:gd name="connsiteY6" fmla="*/ 598 h 2212"/>
                      <a:gd name="connsiteX7" fmla="*/ 299 w 1256"/>
                      <a:gd name="connsiteY7" fmla="*/ 897 h 2212"/>
                      <a:gd name="connsiteX8" fmla="*/ 180 w 1256"/>
                      <a:gd name="connsiteY8" fmla="*/ 1196 h 2212"/>
                      <a:gd name="connsiteX9" fmla="*/ 60 w 1256"/>
                      <a:gd name="connsiteY9" fmla="*/ 1436 h 2212"/>
                      <a:gd name="connsiteX10" fmla="*/ 60 w 1256"/>
                      <a:gd name="connsiteY10" fmla="*/ 1436 h 2212"/>
                      <a:gd name="connsiteX11" fmla="*/ 0 w 1256"/>
                      <a:gd name="connsiteY11" fmla="*/ 1675 h 2212"/>
                      <a:gd name="connsiteX12" fmla="*/ 0 w 1256"/>
                      <a:gd name="connsiteY12" fmla="*/ 1914 h 2212"/>
                      <a:gd name="connsiteX13" fmla="*/ 0 w 1256"/>
                      <a:gd name="connsiteY13" fmla="*/ 1974 h 2212"/>
                      <a:gd name="connsiteX14" fmla="*/ 0 w 1256"/>
                      <a:gd name="connsiteY14" fmla="*/ 2093 h 2212"/>
                      <a:gd name="connsiteX15" fmla="*/ 60 w 1256"/>
                      <a:gd name="connsiteY15" fmla="*/ 2213 h 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6" h="2212">
                        <a:moveTo>
                          <a:pt x="1256" y="0"/>
                        </a:moveTo>
                        <a:lnTo>
                          <a:pt x="1136" y="0"/>
                        </a:lnTo>
                        <a:lnTo>
                          <a:pt x="1017" y="60"/>
                        </a:lnTo>
                        <a:lnTo>
                          <a:pt x="837" y="180"/>
                        </a:lnTo>
                        <a:lnTo>
                          <a:pt x="658" y="359"/>
                        </a:lnTo>
                        <a:lnTo>
                          <a:pt x="598" y="479"/>
                        </a:lnTo>
                        <a:lnTo>
                          <a:pt x="479" y="598"/>
                        </a:lnTo>
                        <a:lnTo>
                          <a:pt x="299" y="897"/>
                        </a:lnTo>
                        <a:lnTo>
                          <a:pt x="180" y="1196"/>
                        </a:lnTo>
                        <a:lnTo>
                          <a:pt x="60" y="1436"/>
                        </a:lnTo>
                        <a:lnTo>
                          <a:pt x="60" y="1436"/>
                        </a:lnTo>
                        <a:lnTo>
                          <a:pt x="0" y="1675"/>
                        </a:lnTo>
                        <a:lnTo>
                          <a:pt x="0" y="1914"/>
                        </a:lnTo>
                        <a:lnTo>
                          <a:pt x="0" y="1974"/>
                        </a:lnTo>
                        <a:lnTo>
                          <a:pt x="0" y="2093"/>
                        </a:lnTo>
                        <a:lnTo>
                          <a:pt x="60" y="2213"/>
                        </a:lnTo>
                      </a:path>
                    </a:pathLst>
                  </a:custGeom>
                  <a:noFill/>
                  <a:ln w="6350" cap="flat">
                    <a:solidFill>
                      <a:schemeClr val="bg1">
                        <a:alpha val="40000"/>
                      </a:schemeClr>
                    </a:solidFill>
                    <a:prstDash val="solid"/>
                    <a:miter/>
                  </a:ln>
                </p:spPr>
                <p:txBody>
                  <a:bodyPr rtlCol="0" anchor="ctr"/>
                  <a:lstStyle/>
                  <a:p>
                    <a:endParaRPr lang="en-GB"/>
                  </a:p>
                </p:txBody>
              </p:sp>
              <p:sp>
                <p:nvSpPr>
                  <p:cNvPr id="7659" name="Vrije vorm: vorm 7658">
                    <a:extLst>
                      <a:ext uri="{FF2B5EF4-FFF2-40B4-BE49-F238E27FC236}">
                        <a16:creationId xmlns:a16="http://schemas.microsoft.com/office/drawing/2014/main" id="{2CA4AC97-F708-4D5B-A523-4AF5FAD7518E}"/>
                      </a:ext>
                    </a:extLst>
                  </p:cNvPr>
                  <p:cNvSpPr/>
                  <p:nvPr/>
                </p:nvSpPr>
                <p:spPr>
                  <a:xfrm>
                    <a:off x="5860290" y="5228207"/>
                    <a:ext cx="1315" cy="2332"/>
                  </a:xfrm>
                  <a:custGeom>
                    <a:avLst/>
                    <a:gdLst>
                      <a:gd name="connsiteX0" fmla="*/ 1256 w 1315"/>
                      <a:gd name="connsiteY0" fmla="*/ 119 h 2332"/>
                      <a:gd name="connsiteX1" fmla="*/ 1136 w 1315"/>
                      <a:gd name="connsiteY1" fmla="*/ 119 h 2332"/>
                      <a:gd name="connsiteX2" fmla="*/ 1017 w 1315"/>
                      <a:gd name="connsiteY2" fmla="*/ 179 h 2332"/>
                      <a:gd name="connsiteX3" fmla="*/ 837 w 1315"/>
                      <a:gd name="connsiteY3" fmla="*/ 299 h 2332"/>
                      <a:gd name="connsiteX4" fmla="*/ 658 w 1315"/>
                      <a:gd name="connsiteY4" fmla="*/ 478 h 2332"/>
                      <a:gd name="connsiteX5" fmla="*/ 598 w 1315"/>
                      <a:gd name="connsiteY5" fmla="*/ 598 h 2332"/>
                      <a:gd name="connsiteX6" fmla="*/ 479 w 1315"/>
                      <a:gd name="connsiteY6" fmla="*/ 718 h 2332"/>
                      <a:gd name="connsiteX7" fmla="*/ 299 w 1315"/>
                      <a:gd name="connsiteY7" fmla="*/ 1017 h 2332"/>
                      <a:gd name="connsiteX8" fmla="*/ 180 w 1315"/>
                      <a:gd name="connsiteY8" fmla="*/ 1316 h 2332"/>
                      <a:gd name="connsiteX9" fmla="*/ 60 w 1315"/>
                      <a:gd name="connsiteY9" fmla="*/ 1555 h 2332"/>
                      <a:gd name="connsiteX10" fmla="*/ 60 w 1315"/>
                      <a:gd name="connsiteY10" fmla="*/ 1555 h 2332"/>
                      <a:gd name="connsiteX11" fmla="*/ 0 w 1315"/>
                      <a:gd name="connsiteY11" fmla="*/ 1794 h 2332"/>
                      <a:gd name="connsiteX12" fmla="*/ 0 w 1315"/>
                      <a:gd name="connsiteY12" fmla="*/ 2033 h 2332"/>
                      <a:gd name="connsiteX13" fmla="*/ 0 w 1315"/>
                      <a:gd name="connsiteY13" fmla="*/ 2093 h 2332"/>
                      <a:gd name="connsiteX14" fmla="*/ 0 w 1315"/>
                      <a:gd name="connsiteY14" fmla="*/ 2213 h 2332"/>
                      <a:gd name="connsiteX15" fmla="*/ 60 w 1315"/>
                      <a:gd name="connsiteY15" fmla="*/ 2332 h 2332"/>
                      <a:gd name="connsiteX16" fmla="*/ 180 w 1315"/>
                      <a:gd name="connsiteY16" fmla="*/ 2332 h 2332"/>
                      <a:gd name="connsiteX17" fmla="*/ 239 w 1315"/>
                      <a:gd name="connsiteY17" fmla="*/ 2272 h 2332"/>
                      <a:gd name="connsiteX18" fmla="*/ 299 w 1315"/>
                      <a:gd name="connsiteY18" fmla="*/ 2272 h 2332"/>
                      <a:gd name="connsiteX19" fmla="*/ 479 w 1315"/>
                      <a:gd name="connsiteY19" fmla="*/ 2153 h 2332"/>
                      <a:gd name="connsiteX20" fmla="*/ 658 w 1315"/>
                      <a:gd name="connsiteY20" fmla="*/ 1973 h 2332"/>
                      <a:gd name="connsiteX21" fmla="*/ 837 w 1315"/>
                      <a:gd name="connsiteY21" fmla="*/ 1734 h 2332"/>
                      <a:gd name="connsiteX22" fmla="*/ 1017 w 1315"/>
                      <a:gd name="connsiteY22" fmla="*/ 1435 h 2332"/>
                      <a:gd name="connsiteX23" fmla="*/ 1136 w 1315"/>
                      <a:gd name="connsiteY23" fmla="*/ 1136 h 2332"/>
                      <a:gd name="connsiteX24" fmla="*/ 1196 w 1315"/>
                      <a:gd name="connsiteY24" fmla="*/ 1017 h 2332"/>
                      <a:gd name="connsiteX25" fmla="*/ 1256 w 1315"/>
                      <a:gd name="connsiteY25" fmla="*/ 837 h 2332"/>
                      <a:gd name="connsiteX26" fmla="*/ 1316 w 1315"/>
                      <a:gd name="connsiteY26" fmla="*/ 598 h 2332"/>
                      <a:gd name="connsiteX27" fmla="*/ 1316 w 1315"/>
                      <a:gd name="connsiteY27" fmla="*/ 418 h 2332"/>
                      <a:gd name="connsiteX28" fmla="*/ 1316 w 1315"/>
                      <a:gd name="connsiteY28" fmla="*/ 359 h 2332"/>
                      <a:gd name="connsiteX29" fmla="*/ 1316 w 1315"/>
                      <a:gd name="connsiteY29" fmla="*/ 179 h 2332"/>
                      <a:gd name="connsiteX30" fmla="*/ 1256 w 1315"/>
                      <a:gd name="connsiteY30" fmla="*/ 119 h 2332"/>
                      <a:gd name="connsiteX31" fmla="*/ 957 w 1315"/>
                      <a:gd name="connsiteY31" fmla="*/ 0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15" h="2332">
                        <a:moveTo>
                          <a:pt x="1256" y="119"/>
                        </a:moveTo>
                        <a:lnTo>
                          <a:pt x="1136" y="119"/>
                        </a:lnTo>
                        <a:lnTo>
                          <a:pt x="1017" y="179"/>
                        </a:lnTo>
                        <a:lnTo>
                          <a:pt x="837" y="299"/>
                        </a:lnTo>
                        <a:lnTo>
                          <a:pt x="658" y="478"/>
                        </a:lnTo>
                        <a:lnTo>
                          <a:pt x="598" y="598"/>
                        </a:lnTo>
                        <a:lnTo>
                          <a:pt x="479" y="718"/>
                        </a:lnTo>
                        <a:lnTo>
                          <a:pt x="299" y="1017"/>
                        </a:lnTo>
                        <a:lnTo>
                          <a:pt x="180" y="1316"/>
                        </a:lnTo>
                        <a:lnTo>
                          <a:pt x="60" y="1555"/>
                        </a:lnTo>
                        <a:lnTo>
                          <a:pt x="60" y="1555"/>
                        </a:lnTo>
                        <a:lnTo>
                          <a:pt x="0" y="1794"/>
                        </a:lnTo>
                        <a:lnTo>
                          <a:pt x="0" y="2033"/>
                        </a:lnTo>
                        <a:lnTo>
                          <a:pt x="0" y="2093"/>
                        </a:lnTo>
                        <a:lnTo>
                          <a:pt x="0" y="2213"/>
                        </a:lnTo>
                        <a:lnTo>
                          <a:pt x="60" y="2332"/>
                        </a:lnTo>
                        <a:lnTo>
                          <a:pt x="180" y="2332"/>
                        </a:lnTo>
                        <a:lnTo>
                          <a:pt x="239" y="2272"/>
                        </a:lnTo>
                        <a:lnTo>
                          <a:pt x="299" y="2272"/>
                        </a:lnTo>
                        <a:lnTo>
                          <a:pt x="479" y="2153"/>
                        </a:lnTo>
                        <a:lnTo>
                          <a:pt x="658" y="1973"/>
                        </a:lnTo>
                        <a:lnTo>
                          <a:pt x="837" y="1734"/>
                        </a:lnTo>
                        <a:lnTo>
                          <a:pt x="1017" y="1435"/>
                        </a:lnTo>
                        <a:lnTo>
                          <a:pt x="1136" y="1136"/>
                        </a:lnTo>
                        <a:lnTo>
                          <a:pt x="1196" y="1017"/>
                        </a:lnTo>
                        <a:lnTo>
                          <a:pt x="1256" y="837"/>
                        </a:lnTo>
                        <a:lnTo>
                          <a:pt x="1316" y="598"/>
                        </a:lnTo>
                        <a:lnTo>
                          <a:pt x="1316" y="418"/>
                        </a:lnTo>
                        <a:lnTo>
                          <a:pt x="1316" y="359"/>
                        </a:lnTo>
                        <a:lnTo>
                          <a:pt x="1316" y="179"/>
                        </a:lnTo>
                        <a:lnTo>
                          <a:pt x="1256" y="119"/>
                        </a:lnTo>
                        <a:lnTo>
                          <a:pt x="957" y="0"/>
                        </a:lnTo>
                      </a:path>
                    </a:pathLst>
                  </a:custGeom>
                  <a:noFill/>
                  <a:ln w="6350" cap="flat">
                    <a:solidFill>
                      <a:schemeClr val="bg1">
                        <a:alpha val="40000"/>
                      </a:schemeClr>
                    </a:solidFill>
                    <a:prstDash val="solid"/>
                    <a:miter/>
                  </a:ln>
                </p:spPr>
                <p:txBody>
                  <a:bodyPr rtlCol="0" anchor="ctr"/>
                  <a:lstStyle/>
                  <a:p>
                    <a:endParaRPr lang="en-GB"/>
                  </a:p>
                </p:txBody>
              </p:sp>
              <p:sp>
                <p:nvSpPr>
                  <p:cNvPr id="7660" name="Vrije vorm: vorm 7659">
                    <a:extLst>
                      <a:ext uri="{FF2B5EF4-FFF2-40B4-BE49-F238E27FC236}">
                        <a16:creationId xmlns:a16="http://schemas.microsoft.com/office/drawing/2014/main" id="{B5E8EB65-EB8B-4DB8-ACDA-3BCBAB074C36}"/>
                      </a:ext>
                    </a:extLst>
                  </p:cNvPr>
                  <p:cNvSpPr/>
                  <p:nvPr/>
                </p:nvSpPr>
                <p:spPr>
                  <a:xfrm>
                    <a:off x="5860170" y="5230360"/>
                    <a:ext cx="298" cy="119"/>
                  </a:xfrm>
                  <a:custGeom>
                    <a:avLst/>
                    <a:gdLst>
                      <a:gd name="connsiteX0" fmla="*/ 299 w 298"/>
                      <a:gd name="connsiteY0" fmla="*/ 119 h 119"/>
                      <a:gd name="connsiteX1" fmla="*/ 0 w 298"/>
                      <a:gd name="connsiteY1" fmla="*/ 0 h 119"/>
                    </a:gdLst>
                    <a:ahLst/>
                    <a:cxnLst>
                      <a:cxn ang="0">
                        <a:pos x="connsiteX0" y="connsiteY0"/>
                      </a:cxn>
                      <a:cxn ang="0">
                        <a:pos x="connsiteX1" y="connsiteY1"/>
                      </a:cxn>
                    </a:cxnLst>
                    <a:rect l="l" t="t" r="r" b="b"/>
                    <a:pathLst>
                      <a:path w="298" h="119">
                        <a:moveTo>
                          <a:pt x="299" y="119"/>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61" name="Vrije vorm: vorm 7660">
                    <a:extLst>
                      <a:ext uri="{FF2B5EF4-FFF2-40B4-BE49-F238E27FC236}">
                        <a16:creationId xmlns:a16="http://schemas.microsoft.com/office/drawing/2014/main" id="{24CC8595-22DE-4288-B9AB-77E7E18505CA}"/>
                      </a:ext>
                    </a:extLst>
                  </p:cNvPr>
                  <p:cNvSpPr/>
                  <p:nvPr/>
                </p:nvSpPr>
                <p:spPr>
                  <a:xfrm>
                    <a:off x="5862742" y="5228506"/>
                    <a:ext cx="478" cy="956"/>
                  </a:xfrm>
                  <a:custGeom>
                    <a:avLst/>
                    <a:gdLst>
                      <a:gd name="connsiteX0" fmla="*/ 479 w 478"/>
                      <a:gd name="connsiteY0" fmla="*/ 0 h 956"/>
                      <a:gd name="connsiteX1" fmla="*/ 479 w 478"/>
                      <a:gd name="connsiteY1" fmla="*/ 0 h 956"/>
                      <a:gd name="connsiteX2" fmla="*/ 359 w 478"/>
                      <a:gd name="connsiteY2" fmla="*/ 0 h 956"/>
                      <a:gd name="connsiteX3" fmla="*/ 299 w 478"/>
                      <a:gd name="connsiteY3" fmla="*/ 60 h 956"/>
                      <a:gd name="connsiteX4" fmla="*/ 299 w 478"/>
                      <a:gd name="connsiteY4" fmla="*/ 60 h 956"/>
                      <a:gd name="connsiteX5" fmla="*/ 299 w 478"/>
                      <a:gd name="connsiteY5" fmla="*/ 60 h 956"/>
                      <a:gd name="connsiteX6" fmla="*/ 239 w 478"/>
                      <a:gd name="connsiteY6" fmla="*/ 119 h 956"/>
                      <a:gd name="connsiteX7" fmla="*/ 179 w 478"/>
                      <a:gd name="connsiteY7" fmla="*/ 239 h 956"/>
                      <a:gd name="connsiteX8" fmla="*/ 120 w 478"/>
                      <a:gd name="connsiteY8" fmla="*/ 359 h 956"/>
                      <a:gd name="connsiteX9" fmla="*/ 120 w 478"/>
                      <a:gd name="connsiteY9" fmla="*/ 359 h 956"/>
                      <a:gd name="connsiteX10" fmla="*/ 60 w 478"/>
                      <a:gd name="connsiteY10" fmla="*/ 419 h 956"/>
                      <a:gd name="connsiteX11" fmla="*/ 60 w 478"/>
                      <a:gd name="connsiteY11" fmla="*/ 478 h 956"/>
                      <a:gd name="connsiteX12" fmla="*/ 0 w 478"/>
                      <a:gd name="connsiteY12" fmla="*/ 598 h 956"/>
                      <a:gd name="connsiteX13" fmla="*/ 0 w 478"/>
                      <a:gd name="connsiteY13" fmla="*/ 718 h 956"/>
                      <a:gd name="connsiteX14" fmla="*/ 0 w 478"/>
                      <a:gd name="connsiteY14" fmla="*/ 837 h 956"/>
                      <a:gd name="connsiteX15" fmla="*/ 0 w 478"/>
                      <a:gd name="connsiteY15" fmla="*/ 897 h 956"/>
                      <a:gd name="connsiteX16" fmla="*/ 0 w 478"/>
                      <a:gd name="connsiteY16" fmla="*/ 957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8" h="956">
                        <a:moveTo>
                          <a:pt x="479" y="0"/>
                        </a:moveTo>
                        <a:lnTo>
                          <a:pt x="479" y="0"/>
                        </a:lnTo>
                        <a:lnTo>
                          <a:pt x="359" y="0"/>
                        </a:lnTo>
                        <a:lnTo>
                          <a:pt x="299" y="60"/>
                        </a:lnTo>
                        <a:lnTo>
                          <a:pt x="299" y="60"/>
                        </a:lnTo>
                        <a:lnTo>
                          <a:pt x="299" y="60"/>
                        </a:lnTo>
                        <a:lnTo>
                          <a:pt x="239" y="119"/>
                        </a:lnTo>
                        <a:lnTo>
                          <a:pt x="179" y="239"/>
                        </a:lnTo>
                        <a:lnTo>
                          <a:pt x="120" y="359"/>
                        </a:lnTo>
                        <a:lnTo>
                          <a:pt x="120" y="359"/>
                        </a:lnTo>
                        <a:lnTo>
                          <a:pt x="60" y="419"/>
                        </a:lnTo>
                        <a:lnTo>
                          <a:pt x="60" y="478"/>
                        </a:lnTo>
                        <a:lnTo>
                          <a:pt x="0" y="598"/>
                        </a:lnTo>
                        <a:lnTo>
                          <a:pt x="0" y="718"/>
                        </a:lnTo>
                        <a:lnTo>
                          <a:pt x="0" y="837"/>
                        </a:lnTo>
                        <a:lnTo>
                          <a:pt x="0" y="897"/>
                        </a:lnTo>
                        <a:lnTo>
                          <a:pt x="0" y="957"/>
                        </a:lnTo>
                      </a:path>
                    </a:pathLst>
                  </a:custGeom>
                  <a:noFill/>
                  <a:ln w="6350" cap="flat">
                    <a:solidFill>
                      <a:schemeClr val="bg1">
                        <a:alpha val="40000"/>
                      </a:schemeClr>
                    </a:solidFill>
                    <a:prstDash val="solid"/>
                    <a:miter/>
                  </a:ln>
                </p:spPr>
                <p:txBody>
                  <a:bodyPr rtlCol="0" anchor="ctr"/>
                  <a:lstStyle/>
                  <a:p>
                    <a:endParaRPr lang="en-GB"/>
                  </a:p>
                </p:txBody>
              </p:sp>
              <p:sp>
                <p:nvSpPr>
                  <p:cNvPr id="7662" name="Vrije vorm: vorm 7661">
                    <a:extLst>
                      <a:ext uri="{FF2B5EF4-FFF2-40B4-BE49-F238E27FC236}">
                        <a16:creationId xmlns:a16="http://schemas.microsoft.com/office/drawing/2014/main" id="{BFB20D87-9069-4811-A252-EDDFF95B5646}"/>
                      </a:ext>
                    </a:extLst>
                  </p:cNvPr>
                  <p:cNvSpPr/>
                  <p:nvPr/>
                </p:nvSpPr>
                <p:spPr>
                  <a:xfrm>
                    <a:off x="5795399" y="5150159"/>
                    <a:ext cx="22128" cy="7296"/>
                  </a:xfrm>
                  <a:custGeom>
                    <a:avLst/>
                    <a:gdLst>
                      <a:gd name="connsiteX0" fmla="*/ 0 w 22128"/>
                      <a:gd name="connsiteY0" fmla="*/ 1555 h 7296"/>
                      <a:gd name="connsiteX1" fmla="*/ 1495 w 22128"/>
                      <a:gd name="connsiteY1" fmla="*/ 479 h 7296"/>
                      <a:gd name="connsiteX2" fmla="*/ 3110 w 22128"/>
                      <a:gd name="connsiteY2" fmla="*/ 0 h 7296"/>
                      <a:gd name="connsiteX3" fmla="*/ 3349 w 22128"/>
                      <a:gd name="connsiteY3" fmla="*/ 60 h 7296"/>
                      <a:gd name="connsiteX4" fmla="*/ 4486 w 22128"/>
                      <a:gd name="connsiteY4" fmla="*/ 299 h 7296"/>
                      <a:gd name="connsiteX5" fmla="*/ 7057 w 22128"/>
                      <a:gd name="connsiteY5" fmla="*/ 1316 h 7296"/>
                      <a:gd name="connsiteX6" fmla="*/ 9629 w 22128"/>
                      <a:gd name="connsiteY6" fmla="*/ 2333 h 7296"/>
                      <a:gd name="connsiteX7" fmla="*/ 9868 w 22128"/>
                      <a:gd name="connsiteY7" fmla="*/ 2452 h 7296"/>
                      <a:gd name="connsiteX8" fmla="*/ 12440 w 22128"/>
                      <a:gd name="connsiteY8" fmla="*/ 3469 h 7296"/>
                      <a:gd name="connsiteX9" fmla="*/ 15012 w 22128"/>
                      <a:gd name="connsiteY9" fmla="*/ 4486 h 7296"/>
                      <a:gd name="connsiteX10" fmla="*/ 17583 w 22128"/>
                      <a:gd name="connsiteY10" fmla="*/ 5503 h 7296"/>
                      <a:gd name="connsiteX11" fmla="*/ 20155 w 22128"/>
                      <a:gd name="connsiteY11" fmla="*/ 6519 h 7296"/>
                      <a:gd name="connsiteX12" fmla="*/ 22129 w 22128"/>
                      <a:gd name="connsiteY12" fmla="*/ 7297 h 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128" h="7296">
                        <a:moveTo>
                          <a:pt x="0" y="1555"/>
                        </a:moveTo>
                        <a:lnTo>
                          <a:pt x="1495" y="479"/>
                        </a:lnTo>
                        <a:lnTo>
                          <a:pt x="3110" y="0"/>
                        </a:lnTo>
                        <a:lnTo>
                          <a:pt x="3349" y="60"/>
                        </a:lnTo>
                        <a:lnTo>
                          <a:pt x="4486" y="299"/>
                        </a:lnTo>
                        <a:lnTo>
                          <a:pt x="7057" y="1316"/>
                        </a:lnTo>
                        <a:lnTo>
                          <a:pt x="9629" y="2333"/>
                        </a:lnTo>
                        <a:lnTo>
                          <a:pt x="9868" y="2452"/>
                        </a:lnTo>
                        <a:lnTo>
                          <a:pt x="12440" y="3469"/>
                        </a:lnTo>
                        <a:lnTo>
                          <a:pt x="15012" y="4486"/>
                        </a:lnTo>
                        <a:lnTo>
                          <a:pt x="17583" y="5503"/>
                        </a:lnTo>
                        <a:lnTo>
                          <a:pt x="20155" y="6519"/>
                        </a:lnTo>
                        <a:lnTo>
                          <a:pt x="22129" y="7297"/>
                        </a:lnTo>
                      </a:path>
                    </a:pathLst>
                  </a:custGeom>
                  <a:noFill/>
                  <a:ln w="6350" cap="flat">
                    <a:solidFill>
                      <a:schemeClr val="bg1">
                        <a:alpha val="40000"/>
                      </a:schemeClr>
                    </a:solidFill>
                    <a:prstDash val="solid"/>
                    <a:miter/>
                  </a:ln>
                </p:spPr>
                <p:txBody>
                  <a:bodyPr rtlCol="0" anchor="ctr"/>
                  <a:lstStyle/>
                  <a:p>
                    <a:endParaRPr lang="en-GB"/>
                  </a:p>
                </p:txBody>
              </p:sp>
              <p:sp>
                <p:nvSpPr>
                  <p:cNvPr id="7663" name="Vrije vorm: vorm 7662">
                    <a:extLst>
                      <a:ext uri="{FF2B5EF4-FFF2-40B4-BE49-F238E27FC236}">
                        <a16:creationId xmlns:a16="http://schemas.microsoft.com/office/drawing/2014/main" id="{0744A9E0-331C-4753-A5FB-98E2F3CB154D}"/>
                      </a:ext>
                    </a:extLst>
                  </p:cNvPr>
                  <p:cNvSpPr/>
                  <p:nvPr/>
                </p:nvSpPr>
                <p:spPr>
                  <a:xfrm>
                    <a:off x="5811248" y="5156917"/>
                    <a:ext cx="7834" cy="3827"/>
                  </a:xfrm>
                  <a:custGeom>
                    <a:avLst/>
                    <a:gdLst>
                      <a:gd name="connsiteX0" fmla="*/ 0 w 7834"/>
                      <a:gd name="connsiteY0" fmla="*/ 3828 h 3827"/>
                      <a:gd name="connsiteX1" fmla="*/ 1734 w 7834"/>
                      <a:gd name="connsiteY1" fmla="*/ 1854 h 3827"/>
                      <a:gd name="connsiteX2" fmla="*/ 3469 w 7834"/>
                      <a:gd name="connsiteY2" fmla="*/ 538 h 3827"/>
                      <a:gd name="connsiteX3" fmla="*/ 5083 w 7834"/>
                      <a:gd name="connsiteY3" fmla="*/ 0 h 3827"/>
                      <a:gd name="connsiteX4" fmla="*/ 6399 w 7834"/>
                      <a:gd name="connsiteY4" fmla="*/ 299 h 3827"/>
                      <a:gd name="connsiteX5" fmla="*/ 7356 w 7834"/>
                      <a:gd name="connsiteY5" fmla="*/ 1376 h 3827"/>
                      <a:gd name="connsiteX6" fmla="*/ 7835 w 7834"/>
                      <a:gd name="connsiteY6" fmla="*/ 3110 h 3827"/>
                      <a:gd name="connsiteX7" fmla="*/ 7835 w 7834"/>
                      <a:gd name="connsiteY7" fmla="*/ 3469 h 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34" h="3827">
                        <a:moveTo>
                          <a:pt x="0" y="3828"/>
                        </a:moveTo>
                        <a:lnTo>
                          <a:pt x="1734" y="1854"/>
                        </a:lnTo>
                        <a:lnTo>
                          <a:pt x="3469" y="538"/>
                        </a:lnTo>
                        <a:lnTo>
                          <a:pt x="5083" y="0"/>
                        </a:lnTo>
                        <a:lnTo>
                          <a:pt x="6399" y="299"/>
                        </a:lnTo>
                        <a:lnTo>
                          <a:pt x="7356" y="1376"/>
                        </a:lnTo>
                        <a:lnTo>
                          <a:pt x="7835" y="3110"/>
                        </a:lnTo>
                        <a:lnTo>
                          <a:pt x="7835" y="3469"/>
                        </a:lnTo>
                      </a:path>
                    </a:pathLst>
                  </a:custGeom>
                  <a:noFill/>
                  <a:ln w="6350" cap="flat">
                    <a:solidFill>
                      <a:schemeClr val="bg1">
                        <a:alpha val="40000"/>
                      </a:schemeClr>
                    </a:solidFill>
                    <a:prstDash val="solid"/>
                    <a:miter/>
                  </a:ln>
                </p:spPr>
                <p:txBody>
                  <a:bodyPr rtlCol="0" anchor="ctr"/>
                  <a:lstStyle/>
                  <a:p>
                    <a:endParaRPr lang="en-GB"/>
                  </a:p>
                </p:txBody>
              </p:sp>
              <p:sp>
                <p:nvSpPr>
                  <p:cNvPr id="7664" name="Vrije vorm: vorm 7663">
                    <a:extLst>
                      <a:ext uri="{FF2B5EF4-FFF2-40B4-BE49-F238E27FC236}">
                        <a16:creationId xmlns:a16="http://schemas.microsoft.com/office/drawing/2014/main" id="{EC064BA9-EED3-46E7-8BF0-3B85A3BA2989}"/>
                      </a:ext>
                    </a:extLst>
                  </p:cNvPr>
                  <p:cNvSpPr/>
                  <p:nvPr/>
                </p:nvSpPr>
                <p:spPr>
                  <a:xfrm>
                    <a:off x="5764598" y="5154106"/>
                    <a:ext cx="23205" cy="53706"/>
                  </a:xfrm>
                  <a:custGeom>
                    <a:avLst/>
                    <a:gdLst>
                      <a:gd name="connsiteX0" fmla="*/ 23205 w 23205"/>
                      <a:gd name="connsiteY0" fmla="*/ 0 h 53706"/>
                      <a:gd name="connsiteX1" fmla="*/ 20873 w 23205"/>
                      <a:gd name="connsiteY1" fmla="*/ 3110 h 53706"/>
                      <a:gd name="connsiteX2" fmla="*/ 19019 w 23205"/>
                      <a:gd name="connsiteY2" fmla="*/ 5562 h 53706"/>
                      <a:gd name="connsiteX3" fmla="*/ 16686 w 23205"/>
                      <a:gd name="connsiteY3" fmla="*/ 8672 h 53706"/>
                      <a:gd name="connsiteX4" fmla="*/ 16387 w 23205"/>
                      <a:gd name="connsiteY4" fmla="*/ 9090 h 53706"/>
                      <a:gd name="connsiteX5" fmla="*/ 18720 w 23205"/>
                      <a:gd name="connsiteY5" fmla="*/ 10048 h 53706"/>
                      <a:gd name="connsiteX6" fmla="*/ 19557 w 23205"/>
                      <a:gd name="connsiteY6" fmla="*/ 11842 h 53706"/>
                      <a:gd name="connsiteX7" fmla="*/ 20036 w 23205"/>
                      <a:gd name="connsiteY7" fmla="*/ 12858 h 53706"/>
                      <a:gd name="connsiteX8" fmla="*/ 20036 w 23205"/>
                      <a:gd name="connsiteY8" fmla="*/ 12918 h 53706"/>
                      <a:gd name="connsiteX9" fmla="*/ 20394 w 23205"/>
                      <a:gd name="connsiteY9" fmla="*/ 13696 h 53706"/>
                      <a:gd name="connsiteX10" fmla="*/ 21232 w 23205"/>
                      <a:gd name="connsiteY10" fmla="*/ 15370 h 53706"/>
                      <a:gd name="connsiteX11" fmla="*/ 21232 w 23205"/>
                      <a:gd name="connsiteY11" fmla="*/ 15430 h 53706"/>
                      <a:gd name="connsiteX12" fmla="*/ 21232 w 23205"/>
                      <a:gd name="connsiteY12" fmla="*/ 15490 h 53706"/>
                      <a:gd name="connsiteX13" fmla="*/ 19557 w 23205"/>
                      <a:gd name="connsiteY13" fmla="*/ 18361 h 53706"/>
                      <a:gd name="connsiteX14" fmla="*/ 18241 w 23205"/>
                      <a:gd name="connsiteY14" fmla="*/ 20634 h 53706"/>
                      <a:gd name="connsiteX15" fmla="*/ 16627 w 23205"/>
                      <a:gd name="connsiteY15" fmla="*/ 23444 h 53706"/>
                      <a:gd name="connsiteX16" fmla="*/ 15371 w 23205"/>
                      <a:gd name="connsiteY16" fmla="*/ 26315 h 53706"/>
                      <a:gd name="connsiteX17" fmla="*/ 13756 w 23205"/>
                      <a:gd name="connsiteY17" fmla="*/ 29904 h 53706"/>
                      <a:gd name="connsiteX18" fmla="*/ 12859 w 23205"/>
                      <a:gd name="connsiteY18" fmla="*/ 31997 h 53706"/>
                      <a:gd name="connsiteX19" fmla="*/ 11722 w 23205"/>
                      <a:gd name="connsiteY19" fmla="*/ 35705 h 53706"/>
                      <a:gd name="connsiteX20" fmla="*/ 10885 w 23205"/>
                      <a:gd name="connsiteY20" fmla="*/ 38336 h 53706"/>
                      <a:gd name="connsiteX21" fmla="*/ 10227 w 23205"/>
                      <a:gd name="connsiteY21" fmla="*/ 40430 h 53706"/>
                      <a:gd name="connsiteX22" fmla="*/ 9749 w 23205"/>
                      <a:gd name="connsiteY22" fmla="*/ 43300 h 53706"/>
                      <a:gd name="connsiteX23" fmla="*/ 9689 w 23205"/>
                      <a:gd name="connsiteY23" fmla="*/ 43779 h 53706"/>
                      <a:gd name="connsiteX24" fmla="*/ 9211 w 23205"/>
                      <a:gd name="connsiteY24" fmla="*/ 46590 h 53706"/>
                      <a:gd name="connsiteX25" fmla="*/ 8971 w 23205"/>
                      <a:gd name="connsiteY25" fmla="*/ 48145 h 53706"/>
                      <a:gd name="connsiteX26" fmla="*/ 6758 w 23205"/>
                      <a:gd name="connsiteY26" fmla="*/ 50059 h 53706"/>
                      <a:gd name="connsiteX27" fmla="*/ 5801 w 23205"/>
                      <a:gd name="connsiteY27" fmla="*/ 50836 h 53706"/>
                      <a:gd name="connsiteX28" fmla="*/ 5622 w 23205"/>
                      <a:gd name="connsiteY28" fmla="*/ 50955 h 53706"/>
                      <a:gd name="connsiteX29" fmla="*/ 5562 w 23205"/>
                      <a:gd name="connsiteY29" fmla="*/ 51015 h 53706"/>
                      <a:gd name="connsiteX30" fmla="*/ 5503 w 23205"/>
                      <a:gd name="connsiteY30" fmla="*/ 51075 h 53706"/>
                      <a:gd name="connsiteX31" fmla="*/ 5263 w 23205"/>
                      <a:gd name="connsiteY31" fmla="*/ 51255 h 53706"/>
                      <a:gd name="connsiteX32" fmla="*/ 4366 w 23205"/>
                      <a:gd name="connsiteY32" fmla="*/ 51972 h 53706"/>
                      <a:gd name="connsiteX33" fmla="*/ 4366 w 23205"/>
                      <a:gd name="connsiteY33" fmla="*/ 51972 h 53706"/>
                      <a:gd name="connsiteX34" fmla="*/ 4366 w 23205"/>
                      <a:gd name="connsiteY34" fmla="*/ 51972 h 53706"/>
                      <a:gd name="connsiteX35" fmla="*/ 4306 w 23205"/>
                      <a:gd name="connsiteY35" fmla="*/ 51972 h 53706"/>
                      <a:gd name="connsiteX36" fmla="*/ 4127 w 23205"/>
                      <a:gd name="connsiteY36" fmla="*/ 52152 h 53706"/>
                      <a:gd name="connsiteX37" fmla="*/ 2871 w 23205"/>
                      <a:gd name="connsiteY37" fmla="*/ 53228 h 53706"/>
                      <a:gd name="connsiteX38" fmla="*/ 2632 w 23205"/>
                      <a:gd name="connsiteY38" fmla="*/ 53408 h 53706"/>
                      <a:gd name="connsiteX39" fmla="*/ 2333 w 23205"/>
                      <a:gd name="connsiteY39" fmla="*/ 53707 h 53706"/>
                      <a:gd name="connsiteX40" fmla="*/ 1914 w 23205"/>
                      <a:gd name="connsiteY40" fmla="*/ 53468 h 53706"/>
                      <a:gd name="connsiteX41" fmla="*/ 1854 w 23205"/>
                      <a:gd name="connsiteY41" fmla="*/ 53468 h 53706"/>
                      <a:gd name="connsiteX42" fmla="*/ 1675 w 23205"/>
                      <a:gd name="connsiteY42" fmla="*/ 53408 h 53706"/>
                      <a:gd name="connsiteX43" fmla="*/ 1136 w 23205"/>
                      <a:gd name="connsiteY43" fmla="*/ 53169 h 53706"/>
                      <a:gd name="connsiteX44" fmla="*/ 0 w 23205"/>
                      <a:gd name="connsiteY44" fmla="*/ 52630 h 5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3205" h="53706">
                        <a:moveTo>
                          <a:pt x="23205" y="0"/>
                        </a:moveTo>
                        <a:lnTo>
                          <a:pt x="20873" y="3110"/>
                        </a:lnTo>
                        <a:lnTo>
                          <a:pt x="19019" y="5562"/>
                        </a:lnTo>
                        <a:lnTo>
                          <a:pt x="16686" y="8672"/>
                        </a:lnTo>
                        <a:lnTo>
                          <a:pt x="16387" y="9090"/>
                        </a:lnTo>
                        <a:lnTo>
                          <a:pt x="18720" y="10048"/>
                        </a:lnTo>
                        <a:lnTo>
                          <a:pt x="19557" y="11842"/>
                        </a:lnTo>
                        <a:lnTo>
                          <a:pt x="20036" y="12858"/>
                        </a:lnTo>
                        <a:lnTo>
                          <a:pt x="20036" y="12918"/>
                        </a:lnTo>
                        <a:lnTo>
                          <a:pt x="20394" y="13696"/>
                        </a:lnTo>
                        <a:lnTo>
                          <a:pt x="21232" y="15370"/>
                        </a:lnTo>
                        <a:lnTo>
                          <a:pt x="21232" y="15430"/>
                        </a:lnTo>
                        <a:lnTo>
                          <a:pt x="21232" y="15490"/>
                        </a:lnTo>
                        <a:lnTo>
                          <a:pt x="19557" y="18361"/>
                        </a:lnTo>
                        <a:lnTo>
                          <a:pt x="18241" y="20634"/>
                        </a:lnTo>
                        <a:lnTo>
                          <a:pt x="16627" y="23444"/>
                        </a:lnTo>
                        <a:lnTo>
                          <a:pt x="15371" y="26315"/>
                        </a:lnTo>
                        <a:lnTo>
                          <a:pt x="13756" y="29904"/>
                        </a:lnTo>
                        <a:lnTo>
                          <a:pt x="12859" y="31997"/>
                        </a:lnTo>
                        <a:lnTo>
                          <a:pt x="11722" y="35705"/>
                        </a:lnTo>
                        <a:lnTo>
                          <a:pt x="10885" y="38336"/>
                        </a:lnTo>
                        <a:lnTo>
                          <a:pt x="10227" y="40430"/>
                        </a:lnTo>
                        <a:lnTo>
                          <a:pt x="9749" y="43300"/>
                        </a:lnTo>
                        <a:lnTo>
                          <a:pt x="9689" y="43779"/>
                        </a:lnTo>
                        <a:lnTo>
                          <a:pt x="9211" y="46590"/>
                        </a:lnTo>
                        <a:lnTo>
                          <a:pt x="8971" y="48145"/>
                        </a:lnTo>
                        <a:lnTo>
                          <a:pt x="6758" y="50059"/>
                        </a:lnTo>
                        <a:lnTo>
                          <a:pt x="5801" y="50836"/>
                        </a:lnTo>
                        <a:lnTo>
                          <a:pt x="5622" y="50955"/>
                        </a:lnTo>
                        <a:lnTo>
                          <a:pt x="5562" y="51015"/>
                        </a:lnTo>
                        <a:lnTo>
                          <a:pt x="5503" y="51075"/>
                        </a:lnTo>
                        <a:lnTo>
                          <a:pt x="5263" y="51255"/>
                        </a:lnTo>
                        <a:lnTo>
                          <a:pt x="4366" y="51972"/>
                        </a:lnTo>
                        <a:lnTo>
                          <a:pt x="4366" y="51972"/>
                        </a:lnTo>
                        <a:lnTo>
                          <a:pt x="4366" y="51972"/>
                        </a:lnTo>
                        <a:lnTo>
                          <a:pt x="4306" y="51972"/>
                        </a:lnTo>
                        <a:lnTo>
                          <a:pt x="4127" y="52152"/>
                        </a:lnTo>
                        <a:lnTo>
                          <a:pt x="2871" y="53228"/>
                        </a:lnTo>
                        <a:lnTo>
                          <a:pt x="2632" y="53408"/>
                        </a:lnTo>
                        <a:lnTo>
                          <a:pt x="2333" y="53707"/>
                        </a:lnTo>
                        <a:lnTo>
                          <a:pt x="1914" y="53468"/>
                        </a:lnTo>
                        <a:lnTo>
                          <a:pt x="1854" y="53468"/>
                        </a:lnTo>
                        <a:lnTo>
                          <a:pt x="1675" y="53408"/>
                        </a:lnTo>
                        <a:lnTo>
                          <a:pt x="1136" y="53169"/>
                        </a:lnTo>
                        <a:lnTo>
                          <a:pt x="0" y="52630"/>
                        </a:lnTo>
                      </a:path>
                    </a:pathLst>
                  </a:custGeom>
                  <a:noFill/>
                  <a:ln w="6350" cap="flat">
                    <a:solidFill>
                      <a:schemeClr val="bg1">
                        <a:alpha val="40000"/>
                      </a:schemeClr>
                    </a:solidFill>
                    <a:prstDash val="solid"/>
                    <a:miter/>
                  </a:ln>
                </p:spPr>
                <p:txBody>
                  <a:bodyPr rtlCol="0" anchor="ctr"/>
                  <a:lstStyle/>
                  <a:p>
                    <a:endParaRPr lang="en-GB"/>
                  </a:p>
                </p:txBody>
              </p:sp>
              <p:sp>
                <p:nvSpPr>
                  <p:cNvPr id="7665" name="Vrije vorm: vorm 7664">
                    <a:extLst>
                      <a:ext uri="{FF2B5EF4-FFF2-40B4-BE49-F238E27FC236}">
                        <a16:creationId xmlns:a16="http://schemas.microsoft.com/office/drawing/2014/main" id="{857583CF-C516-4B12-A3AF-BD968569AA2B}"/>
                      </a:ext>
                    </a:extLst>
                  </p:cNvPr>
                  <p:cNvSpPr/>
                  <p:nvPr/>
                </p:nvSpPr>
                <p:spPr>
                  <a:xfrm>
                    <a:off x="5745579" y="5134549"/>
                    <a:ext cx="71529" cy="87796"/>
                  </a:xfrm>
                  <a:custGeom>
                    <a:avLst/>
                    <a:gdLst>
                      <a:gd name="connsiteX0" fmla="*/ 3349 w 71529"/>
                      <a:gd name="connsiteY0" fmla="*/ 87797 h 87796"/>
                      <a:gd name="connsiteX1" fmla="*/ 3170 w 71529"/>
                      <a:gd name="connsiteY1" fmla="*/ 86720 h 87796"/>
                      <a:gd name="connsiteX2" fmla="*/ 2691 w 71529"/>
                      <a:gd name="connsiteY2" fmla="*/ 84149 h 87796"/>
                      <a:gd name="connsiteX3" fmla="*/ 2093 w 71529"/>
                      <a:gd name="connsiteY3" fmla="*/ 80800 h 87796"/>
                      <a:gd name="connsiteX4" fmla="*/ 1974 w 71529"/>
                      <a:gd name="connsiteY4" fmla="*/ 80022 h 87796"/>
                      <a:gd name="connsiteX5" fmla="*/ 1615 w 71529"/>
                      <a:gd name="connsiteY5" fmla="*/ 78048 h 87796"/>
                      <a:gd name="connsiteX6" fmla="*/ 1017 w 71529"/>
                      <a:gd name="connsiteY6" fmla="*/ 74699 h 87796"/>
                      <a:gd name="connsiteX7" fmla="*/ 957 w 71529"/>
                      <a:gd name="connsiteY7" fmla="*/ 74400 h 87796"/>
                      <a:gd name="connsiteX8" fmla="*/ 658 w 71529"/>
                      <a:gd name="connsiteY8" fmla="*/ 72726 h 87796"/>
                      <a:gd name="connsiteX9" fmla="*/ 479 w 71529"/>
                      <a:gd name="connsiteY9" fmla="*/ 71709 h 87796"/>
                      <a:gd name="connsiteX10" fmla="*/ 419 w 71529"/>
                      <a:gd name="connsiteY10" fmla="*/ 71470 h 87796"/>
                      <a:gd name="connsiteX11" fmla="*/ 359 w 71529"/>
                      <a:gd name="connsiteY11" fmla="*/ 70333 h 87796"/>
                      <a:gd name="connsiteX12" fmla="*/ 299 w 71529"/>
                      <a:gd name="connsiteY12" fmla="*/ 69197 h 87796"/>
                      <a:gd name="connsiteX13" fmla="*/ 299 w 71529"/>
                      <a:gd name="connsiteY13" fmla="*/ 68659 h 87796"/>
                      <a:gd name="connsiteX14" fmla="*/ 180 w 71529"/>
                      <a:gd name="connsiteY14" fmla="*/ 66446 h 87796"/>
                      <a:gd name="connsiteX15" fmla="*/ 180 w 71529"/>
                      <a:gd name="connsiteY15" fmla="*/ 66147 h 87796"/>
                      <a:gd name="connsiteX16" fmla="*/ 120 w 71529"/>
                      <a:gd name="connsiteY16" fmla="*/ 65429 h 87796"/>
                      <a:gd name="connsiteX17" fmla="*/ 0 w 71529"/>
                      <a:gd name="connsiteY17" fmla="*/ 63037 h 87796"/>
                      <a:gd name="connsiteX18" fmla="*/ 538 w 71529"/>
                      <a:gd name="connsiteY18" fmla="*/ 59329 h 87796"/>
                      <a:gd name="connsiteX19" fmla="*/ 598 w 71529"/>
                      <a:gd name="connsiteY19" fmla="*/ 58970 h 87796"/>
                      <a:gd name="connsiteX20" fmla="*/ 1017 w 71529"/>
                      <a:gd name="connsiteY20" fmla="*/ 56159 h 87796"/>
                      <a:gd name="connsiteX21" fmla="*/ 1376 w 71529"/>
                      <a:gd name="connsiteY21" fmla="*/ 53647 h 87796"/>
                      <a:gd name="connsiteX22" fmla="*/ 1495 w 71529"/>
                      <a:gd name="connsiteY22" fmla="*/ 52929 h 87796"/>
                      <a:gd name="connsiteX23" fmla="*/ 1555 w 71529"/>
                      <a:gd name="connsiteY23" fmla="*/ 52810 h 87796"/>
                      <a:gd name="connsiteX24" fmla="*/ 1735 w 71529"/>
                      <a:gd name="connsiteY24" fmla="*/ 52152 h 87796"/>
                      <a:gd name="connsiteX25" fmla="*/ 2871 w 71529"/>
                      <a:gd name="connsiteY25" fmla="*/ 48444 h 87796"/>
                      <a:gd name="connsiteX26" fmla="*/ 4007 w 71529"/>
                      <a:gd name="connsiteY26" fmla="*/ 44736 h 87796"/>
                      <a:gd name="connsiteX27" fmla="*/ 4844 w 71529"/>
                      <a:gd name="connsiteY27" fmla="*/ 41985 h 87796"/>
                      <a:gd name="connsiteX28" fmla="*/ 6399 w 71529"/>
                      <a:gd name="connsiteY28" fmla="*/ 38337 h 87796"/>
                      <a:gd name="connsiteX29" fmla="*/ 7954 w 71529"/>
                      <a:gd name="connsiteY29" fmla="*/ 34808 h 87796"/>
                      <a:gd name="connsiteX30" fmla="*/ 8134 w 71529"/>
                      <a:gd name="connsiteY30" fmla="*/ 34329 h 87796"/>
                      <a:gd name="connsiteX31" fmla="*/ 9629 w 71529"/>
                      <a:gd name="connsiteY31" fmla="*/ 30861 h 87796"/>
                      <a:gd name="connsiteX32" fmla="*/ 9629 w 71529"/>
                      <a:gd name="connsiteY32" fmla="*/ 30861 h 87796"/>
                      <a:gd name="connsiteX33" fmla="*/ 9689 w 71529"/>
                      <a:gd name="connsiteY33" fmla="*/ 30801 h 87796"/>
                      <a:gd name="connsiteX34" fmla="*/ 10227 w 71529"/>
                      <a:gd name="connsiteY34" fmla="*/ 29904 h 87796"/>
                      <a:gd name="connsiteX35" fmla="*/ 10227 w 71529"/>
                      <a:gd name="connsiteY35" fmla="*/ 29844 h 87796"/>
                      <a:gd name="connsiteX36" fmla="*/ 10287 w 71529"/>
                      <a:gd name="connsiteY36" fmla="*/ 29784 h 87796"/>
                      <a:gd name="connsiteX37" fmla="*/ 10347 w 71529"/>
                      <a:gd name="connsiteY37" fmla="*/ 29724 h 87796"/>
                      <a:gd name="connsiteX38" fmla="*/ 10646 w 71529"/>
                      <a:gd name="connsiteY38" fmla="*/ 29186 h 87796"/>
                      <a:gd name="connsiteX39" fmla="*/ 10766 w 71529"/>
                      <a:gd name="connsiteY39" fmla="*/ 28947 h 87796"/>
                      <a:gd name="connsiteX40" fmla="*/ 12739 w 71529"/>
                      <a:gd name="connsiteY40" fmla="*/ 25538 h 87796"/>
                      <a:gd name="connsiteX41" fmla="*/ 14713 w 71529"/>
                      <a:gd name="connsiteY41" fmla="*/ 22129 h 87796"/>
                      <a:gd name="connsiteX42" fmla="*/ 15669 w 71529"/>
                      <a:gd name="connsiteY42" fmla="*/ 20514 h 87796"/>
                      <a:gd name="connsiteX43" fmla="*/ 18062 w 71529"/>
                      <a:gd name="connsiteY43" fmla="*/ 17404 h 87796"/>
                      <a:gd name="connsiteX44" fmla="*/ 20454 w 71529"/>
                      <a:gd name="connsiteY44" fmla="*/ 14294 h 87796"/>
                      <a:gd name="connsiteX45" fmla="*/ 20574 w 71529"/>
                      <a:gd name="connsiteY45" fmla="*/ 14114 h 87796"/>
                      <a:gd name="connsiteX46" fmla="*/ 22428 w 71529"/>
                      <a:gd name="connsiteY46" fmla="*/ 11662 h 87796"/>
                      <a:gd name="connsiteX47" fmla="*/ 25119 w 71529"/>
                      <a:gd name="connsiteY47" fmla="*/ 9091 h 87796"/>
                      <a:gd name="connsiteX48" fmla="*/ 25358 w 71529"/>
                      <a:gd name="connsiteY48" fmla="*/ 8851 h 87796"/>
                      <a:gd name="connsiteX49" fmla="*/ 26196 w 71529"/>
                      <a:gd name="connsiteY49" fmla="*/ 8074 h 87796"/>
                      <a:gd name="connsiteX50" fmla="*/ 27332 w 71529"/>
                      <a:gd name="connsiteY50" fmla="*/ 6997 h 87796"/>
                      <a:gd name="connsiteX51" fmla="*/ 28109 w 71529"/>
                      <a:gd name="connsiteY51" fmla="*/ 6280 h 87796"/>
                      <a:gd name="connsiteX52" fmla="*/ 29425 w 71529"/>
                      <a:gd name="connsiteY52" fmla="*/ 5024 h 87796"/>
                      <a:gd name="connsiteX53" fmla="*/ 29784 w 71529"/>
                      <a:gd name="connsiteY53" fmla="*/ 4785 h 87796"/>
                      <a:gd name="connsiteX54" fmla="*/ 32775 w 71529"/>
                      <a:gd name="connsiteY54" fmla="*/ 2990 h 87796"/>
                      <a:gd name="connsiteX55" fmla="*/ 33133 w 71529"/>
                      <a:gd name="connsiteY55" fmla="*/ 2751 h 87796"/>
                      <a:gd name="connsiteX56" fmla="*/ 33671 w 71529"/>
                      <a:gd name="connsiteY56" fmla="*/ 2452 h 87796"/>
                      <a:gd name="connsiteX57" fmla="*/ 33791 w 71529"/>
                      <a:gd name="connsiteY57" fmla="*/ 2392 h 87796"/>
                      <a:gd name="connsiteX58" fmla="*/ 35286 w 71529"/>
                      <a:gd name="connsiteY58" fmla="*/ 1495 h 87796"/>
                      <a:gd name="connsiteX59" fmla="*/ 36064 w 71529"/>
                      <a:gd name="connsiteY59" fmla="*/ 1017 h 87796"/>
                      <a:gd name="connsiteX60" fmla="*/ 37798 w 71529"/>
                      <a:gd name="connsiteY60" fmla="*/ 718 h 87796"/>
                      <a:gd name="connsiteX61" fmla="*/ 37798 w 71529"/>
                      <a:gd name="connsiteY61" fmla="*/ 718 h 87796"/>
                      <a:gd name="connsiteX62" fmla="*/ 39533 w 71529"/>
                      <a:gd name="connsiteY62" fmla="*/ 419 h 87796"/>
                      <a:gd name="connsiteX63" fmla="*/ 39772 w 71529"/>
                      <a:gd name="connsiteY63" fmla="*/ 359 h 87796"/>
                      <a:gd name="connsiteX64" fmla="*/ 40549 w 71529"/>
                      <a:gd name="connsiteY64" fmla="*/ 239 h 87796"/>
                      <a:gd name="connsiteX65" fmla="*/ 41865 w 71529"/>
                      <a:gd name="connsiteY65" fmla="*/ 0 h 87796"/>
                      <a:gd name="connsiteX66" fmla="*/ 42643 w 71529"/>
                      <a:gd name="connsiteY66" fmla="*/ 299 h 87796"/>
                      <a:gd name="connsiteX67" fmla="*/ 42702 w 71529"/>
                      <a:gd name="connsiteY67" fmla="*/ 299 h 87796"/>
                      <a:gd name="connsiteX68" fmla="*/ 45334 w 71529"/>
                      <a:gd name="connsiteY68" fmla="*/ 1256 h 87796"/>
                      <a:gd name="connsiteX69" fmla="*/ 47667 w 71529"/>
                      <a:gd name="connsiteY69" fmla="*/ 2093 h 87796"/>
                      <a:gd name="connsiteX70" fmla="*/ 50298 w 71529"/>
                      <a:gd name="connsiteY70" fmla="*/ 3050 h 87796"/>
                      <a:gd name="connsiteX71" fmla="*/ 52930 w 71529"/>
                      <a:gd name="connsiteY71" fmla="*/ 4007 h 87796"/>
                      <a:gd name="connsiteX72" fmla="*/ 55561 w 71529"/>
                      <a:gd name="connsiteY72" fmla="*/ 4964 h 87796"/>
                      <a:gd name="connsiteX73" fmla="*/ 55740 w 71529"/>
                      <a:gd name="connsiteY73" fmla="*/ 5024 h 87796"/>
                      <a:gd name="connsiteX74" fmla="*/ 57415 w 71529"/>
                      <a:gd name="connsiteY74" fmla="*/ 5622 h 87796"/>
                      <a:gd name="connsiteX75" fmla="*/ 60047 w 71529"/>
                      <a:gd name="connsiteY75" fmla="*/ 6579 h 87796"/>
                      <a:gd name="connsiteX76" fmla="*/ 61661 w 71529"/>
                      <a:gd name="connsiteY76" fmla="*/ 7177 h 87796"/>
                      <a:gd name="connsiteX77" fmla="*/ 61841 w 71529"/>
                      <a:gd name="connsiteY77" fmla="*/ 7237 h 87796"/>
                      <a:gd name="connsiteX78" fmla="*/ 63934 w 71529"/>
                      <a:gd name="connsiteY78" fmla="*/ 8014 h 87796"/>
                      <a:gd name="connsiteX79" fmla="*/ 63934 w 71529"/>
                      <a:gd name="connsiteY79" fmla="*/ 8014 h 87796"/>
                      <a:gd name="connsiteX80" fmla="*/ 64532 w 71529"/>
                      <a:gd name="connsiteY80" fmla="*/ 8253 h 87796"/>
                      <a:gd name="connsiteX81" fmla="*/ 67164 w 71529"/>
                      <a:gd name="connsiteY81" fmla="*/ 9210 h 87796"/>
                      <a:gd name="connsiteX82" fmla="*/ 68479 w 71529"/>
                      <a:gd name="connsiteY82" fmla="*/ 9689 h 87796"/>
                      <a:gd name="connsiteX83" fmla="*/ 70154 w 71529"/>
                      <a:gd name="connsiteY83" fmla="*/ 12141 h 87796"/>
                      <a:gd name="connsiteX84" fmla="*/ 71530 w 71529"/>
                      <a:gd name="connsiteY84" fmla="*/ 14114 h 8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71529" h="87796">
                        <a:moveTo>
                          <a:pt x="3349" y="87797"/>
                        </a:moveTo>
                        <a:lnTo>
                          <a:pt x="3170" y="86720"/>
                        </a:lnTo>
                        <a:lnTo>
                          <a:pt x="2691" y="84149"/>
                        </a:lnTo>
                        <a:lnTo>
                          <a:pt x="2093" y="80800"/>
                        </a:lnTo>
                        <a:lnTo>
                          <a:pt x="1974" y="80022"/>
                        </a:lnTo>
                        <a:lnTo>
                          <a:pt x="1615" y="78048"/>
                        </a:lnTo>
                        <a:lnTo>
                          <a:pt x="1017" y="74699"/>
                        </a:lnTo>
                        <a:lnTo>
                          <a:pt x="957" y="74400"/>
                        </a:lnTo>
                        <a:lnTo>
                          <a:pt x="658" y="72726"/>
                        </a:lnTo>
                        <a:lnTo>
                          <a:pt x="479" y="71709"/>
                        </a:lnTo>
                        <a:lnTo>
                          <a:pt x="419" y="71470"/>
                        </a:lnTo>
                        <a:lnTo>
                          <a:pt x="359" y="70333"/>
                        </a:lnTo>
                        <a:lnTo>
                          <a:pt x="299" y="69197"/>
                        </a:lnTo>
                        <a:lnTo>
                          <a:pt x="299" y="68659"/>
                        </a:lnTo>
                        <a:lnTo>
                          <a:pt x="180" y="66446"/>
                        </a:lnTo>
                        <a:lnTo>
                          <a:pt x="180" y="66147"/>
                        </a:lnTo>
                        <a:lnTo>
                          <a:pt x="120" y="65429"/>
                        </a:lnTo>
                        <a:lnTo>
                          <a:pt x="0" y="63037"/>
                        </a:lnTo>
                        <a:lnTo>
                          <a:pt x="538" y="59329"/>
                        </a:lnTo>
                        <a:lnTo>
                          <a:pt x="598" y="58970"/>
                        </a:lnTo>
                        <a:lnTo>
                          <a:pt x="1017" y="56159"/>
                        </a:lnTo>
                        <a:lnTo>
                          <a:pt x="1376" y="53647"/>
                        </a:lnTo>
                        <a:lnTo>
                          <a:pt x="1495" y="52929"/>
                        </a:lnTo>
                        <a:lnTo>
                          <a:pt x="1555" y="52810"/>
                        </a:lnTo>
                        <a:lnTo>
                          <a:pt x="1735" y="52152"/>
                        </a:lnTo>
                        <a:lnTo>
                          <a:pt x="2871" y="48444"/>
                        </a:lnTo>
                        <a:lnTo>
                          <a:pt x="4007" y="44736"/>
                        </a:lnTo>
                        <a:lnTo>
                          <a:pt x="4844" y="41985"/>
                        </a:lnTo>
                        <a:lnTo>
                          <a:pt x="6399" y="38337"/>
                        </a:lnTo>
                        <a:lnTo>
                          <a:pt x="7954" y="34808"/>
                        </a:lnTo>
                        <a:lnTo>
                          <a:pt x="8134" y="34329"/>
                        </a:lnTo>
                        <a:lnTo>
                          <a:pt x="9629" y="30861"/>
                        </a:lnTo>
                        <a:lnTo>
                          <a:pt x="9629" y="30861"/>
                        </a:lnTo>
                        <a:lnTo>
                          <a:pt x="9689" y="30801"/>
                        </a:lnTo>
                        <a:lnTo>
                          <a:pt x="10227" y="29904"/>
                        </a:lnTo>
                        <a:lnTo>
                          <a:pt x="10227" y="29844"/>
                        </a:lnTo>
                        <a:lnTo>
                          <a:pt x="10287" y="29784"/>
                        </a:lnTo>
                        <a:lnTo>
                          <a:pt x="10347" y="29724"/>
                        </a:lnTo>
                        <a:lnTo>
                          <a:pt x="10646" y="29186"/>
                        </a:lnTo>
                        <a:lnTo>
                          <a:pt x="10766" y="28947"/>
                        </a:lnTo>
                        <a:lnTo>
                          <a:pt x="12739" y="25538"/>
                        </a:lnTo>
                        <a:lnTo>
                          <a:pt x="14713" y="22129"/>
                        </a:lnTo>
                        <a:lnTo>
                          <a:pt x="15669" y="20514"/>
                        </a:lnTo>
                        <a:lnTo>
                          <a:pt x="18062" y="17404"/>
                        </a:lnTo>
                        <a:lnTo>
                          <a:pt x="20454" y="14294"/>
                        </a:lnTo>
                        <a:lnTo>
                          <a:pt x="20574" y="14114"/>
                        </a:lnTo>
                        <a:lnTo>
                          <a:pt x="22428" y="11662"/>
                        </a:lnTo>
                        <a:lnTo>
                          <a:pt x="25119" y="9091"/>
                        </a:lnTo>
                        <a:lnTo>
                          <a:pt x="25358" y="8851"/>
                        </a:lnTo>
                        <a:lnTo>
                          <a:pt x="26196" y="8074"/>
                        </a:lnTo>
                        <a:lnTo>
                          <a:pt x="27332" y="6997"/>
                        </a:lnTo>
                        <a:lnTo>
                          <a:pt x="28109" y="6280"/>
                        </a:lnTo>
                        <a:lnTo>
                          <a:pt x="29425" y="5024"/>
                        </a:lnTo>
                        <a:lnTo>
                          <a:pt x="29784" y="4785"/>
                        </a:lnTo>
                        <a:lnTo>
                          <a:pt x="32775" y="2990"/>
                        </a:lnTo>
                        <a:lnTo>
                          <a:pt x="33133" y="2751"/>
                        </a:lnTo>
                        <a:lnTo>
                          <a:pt x="33671" y="2452"/>
                        </a:lnTo>
                        <a:lnTo>
                          <a:pt x="33791" y="2392"/>
                        </a:lnTo>
                        <a:lnTo>
                          <a:pt x="35286" y="1495"/>
                        </a:lnTo>
                        <a:lnTo>
                          <a:pt x="36064" y="1017"/>
                        </a:lnTo>
                        <a:lnTo>
                          <a:pt x="37798" y="718"/>
                        </a:lnTo>
                        <a:lnTo>
                          <a:pt x="37798" y="718"/>
                        </a:lnTo>
                        <a:lnTo>
                          <a:pt x="39533" y="419"/>
                        </a:lnTo>
                        <a:lnTo>
                          <a:pt x="39772" y="359"/>
                        </a:lnTo>
                        <a:lnTo>
                          <a:pt x="40549" y="239"/>
                        </a:lnTo>
                        <a:lnTo>
                          <a:pt x="41865" y="0"/>
                        </a:lnTo>
                        <a:lnTo>
                          <a:pt x="42643" y="299"/>
                        </a:lnTo>
                        <a:lnTo>
                          <a:pt x="42702" y="299"/>
                        </a:lnTo>
                        <a:lnTo>
                          <a:pt x="45334" y="1256"/>
                        </a:lnTo>
                        <a:lnTo>
                          <a:pt x="47667" y="2093"/>
                        </a:lnTo>
                        <a:lnTo>
                          <a:pt x="50298" y="3050"/>
                        </a:lnTo>
                        <a:lnTo>
                          <a:pt x="52930" y="4007"/>
                        </a:lnTo>
                        <a:lnTo>
                          <a:pt x="55561" y="4964"/>
                        </a:lnTo>
                        <a:lnTo>
                          <a:pt x="55740" y="5024"/>
                        </a:lnTo>
                        <a:lnTo>
                          <a:pt x="57415" y="5622"/>
                        </a:lnTo>
                        <a:lnTo>
                          <a:pt x="60047" y="6579"/>
                        </a:lnTo>
                        <a:lnTo>
                          <a:pt x="61661" y="7177"/>
                        </a:lnTo>
                        <a:lnTo>
                          <a:pt x="61841" y="7237"/>
                        </a:lnTo>
                        <a:lnTo>
                          <a:pt x="63934" y="8014"/>
                        </a:lnTo>
                        <a:lnTo>
                          <a:pt x="63934" y="8014"/>
                        </a:lnTo>
                        <a:lnTo>
                          <a:pt x="64532" y="8253"/>
                        </a:lnTo>
                        <a:lnTo>
                          <a:pt x="67164" y="9210"/>
                        </a:lnTo>
                        <a:lnTo>
                          <a:pt x="68479" y="9689"/>
                        </a:lnTo>
                        <a:lnTo>
                          <a:pt x="70154" y="12141"/>
                        </a:lnTo>
                        <a:lnTo>
                          <a:pt x="71530" y="14114"/>
                        </a:lnTo>
                      </a:path>
                    </a:pathLst>
                  </a:custGeom>
                  <a:noFill/>
                  <a:ln w="6350" cap="flat">
                    <a:solidFill>
                      <a:schemeClr val="bg1">
                        <a:alpha val="40000"/>
                      </a:schemeClr>
                    </a:solidFill>
                    <a:prstDash val="solid"/>
                    <a:miter/>
                  </a:ln>
                </p:spPr>
                <p:txBody>
                  <a:bodyPr rtlCol="0" anchor="ctr"/>
                  <a:lstStyle/>
                  <a:p>
                    <a:endParaRPr lang="en-GB"/>
                  </a:p>
                </p:txBody>
              </p:sp>
              <p:sp>
                <p:nvSpPr>
                  <p:cNvPr id="7666" name="Vrije vorm: vorm 7665">
                    <a:extLst>
                      <a:ext uri="{FF2B5EF4-FFF2-40B4-BE49-F238E27FC236}">
                        <a16:creationId xmlns:a16="http://schemas.microsoft.com/office/drawing/2014/main" id="{A0C75096-9250-4A4A-9551-4EE432AC51CE}"/>
                      </a:ext>
                    </a:extLst>
                  </p:cNvPr>
                  <p:cNvSpPr/>
                  <p:nvPr/>
                </p:nvSpPr>
                <p:spPr>
                  <a:xfrm>
                    <a:off x="5766871" y="5164154"/>
                    <a:ext cx="16446" cy="43659"/>
                  </a:xfrm>
                  <a:custGeom>
                    <a:avLst/>
                    <a:gdLst>
                      <a:gd name="connsiteX0" fmla="*/ 16447 w 16446"/>
                      <a:gd name="connsiteY0" fmla="*/ 0 h 43659"/>
                      <a:gd name="connsiteX1" fmla="*/ 15430 w 16446"/>
                      <a:gd name="connsiteY1" fmla="*/ 1794 h 43659"/>
                      <a:gd name="connsiteX2" fmla="*/ 14474 w 16446"/>
                      <a:gd name="connsiteY2" fmla="*/ 3469 h 43659"/>
                      <a:gd name="connsiteX3" fmla="*/ 12500 w 16446"/>
                      <a:gd name="connsiteY3" fmla="*/ 6878 h 43659"/>
                      <a:gd name="connsiteX4" fmla="*/ 10526 w 16446"/>
                      <a:gd name="connsiteY4" fmla="*/ 10287 h 43659"/>
                      <a:gd name="connsiteX5" fmla="*/ 10287 w 16446"/>
                      <a:gd name="connsiteY5" fmla="*/ 10705 h 43659"/>
                      <a:gd name="connsiteX6" fmla="*/ 8672 w 16446"/>
                      <a:gd name="connsiteY6" fmla="*/ 14294 h 43659"/>
                      <a:gd name="connsiteX7" fmla="*/ 7057 w 16446"/>
                      <a:gd name="connsiteY7" fmla="*/ 17882 h 43659"/>
                      <a:gd name="connsiteX8" fmla="*/ 5443 w 16446"/>
                      <a:gd name="connsiteY8" fmla="*/ 21471 h 43659"/>
                      <a:gd name="connsiteX9" fmla="*/ 5203 w 16446"/>
                      <a:gd name="connsiteY9" fmla="*/ 22069 h 43659"/>
                      <a:gd name="connsiteX10" fmla="*/ 4067 w 16446"/>
                      <a:gd name="connsiteY10" fmla="*/ 25777 h 43659"/>
                      <a:gd name="connsiteX11" fmla="*/ 2931 w 16446"/>
                      <a:gd name="connsiteY11" fmla="*/ 29485 h 43659"/>
                      <a:gd name="connsiteX12" fmla="*/ 1795 w 16446"/>
                      <a:gd name="connsiteY12" fmla="*/ 33193 h 43659"/>
                      <a:gd name="connsiteX13" fmla="*/ 1735 w 16446"/>
                      <a:gd name="connsiteY13" fmla="*/ 33313 h 43659"/>
                      <a:gd name="connsiteX14" fmla="*/ 1376 w 16446"/>
                      <a:gd name="connsiteY14" fmla="*/ 35466 h 43659"/>
                      <a:gd name="connsiteX15" fmla="*/ 957 w 16446"/>
                      <a:gd name="connsiteY15" fmla="*/ 37858 h 43659"/>
                      <a:gd name="connsiteX16" fmla="*/ 658 w 16446"/>
                      <a:gd name="connsiteY16" fmla="*/ 39532 h 43659"/>
                      <a:gd name="connsiteX17" fmla="*/ 538 w 16446"/>
                      <a:gd name="connsiteY17" fmla="*/ 40131 h 43659"/>
                      <a:gd name="connsiteX18" fmla="*/ 419 w 16446"/>
                      <a:gd name="connsiteY18" fmla="*/ 40968 h 43659"/>
                      <a:gd name="connsiteX19" fmla="*/ 419 w 16446"/>
                      <a:gd name="connsiteY19" fmla="*/ 41088 h 43659"/>
                      <a:gd name="connsiteX20" fmla="*/ 359 w 16446"/>
                      <a:gd name="connsiteY20" fmla="*/ 41446 h 43659"/>
                      <a:gd name="connsiteX21" fmla="*/ 0 w 16446"/>
                      <a:gd name="connsiteY21" fmla="*/ 43659 h 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46" h="43659">
                        <a:moveTo>
                          <a:pt x="16447" y="0"/>
                        </a:moveTo>
                        <a:lnTo>
                          <a:pt x="15430" y="1794"/>
                        </a:lnTo>
                        <a:lnTo>
                          <a:pt x="14474" y="3469"/>
                        </a:lnTo>
                        <a:lnTo>
                          <a:pt x="12500" y="6878"/>
                        </a:lnTo>
                        <a:lnTo>
                          <a:pt x="10526" y="10287"/>
                        </a:lnTo>
                        <a:lnTo>
                          <a:pt x="10287" y="10705"/>
                        </a:lnTo>
                        <a:lnTo>
                          <a:pt x="8672" y="14294"/>
                        </a:lnTo>
                        <a:lnTo>
                          <a:pt x="7057" y="17882"/>
                        </a:lnTo>
                        <a:lnTo>
                          <a:pt x="5443" y="21471"/>
                        </a:lnTo>
                        <a:lnTo>
                          <a:pt x="5203" y="22069"/>
                        </a:lnTo>
                        <a:lnTo>
                          <a:pt x="4067" y="25777"/>
                        </a:lnTo>
                        <a:lnTo>
                          <a:pt x="2931" y="29485"/>
                        </a:lnTo>
                        <a:lnTo>
                          <a:pt x="1795" y="33193"/>
                        </a:lnTo>
                        <a:lnTo>
                          <a:pt x="1735" y="33313"/>
                        </a:lnTo>
                        <a:lnTo>
                          <a:pt x="1376" y="35466"/>
                        </a:lnTo>
                        <a:lnTo>
                          <a:pt x="957" y="37858"/>
                        </a:lnTo>
                        <a:lnTo>
                          <a:pt x="658" y="39532"/>
                        </a:lnTo>
                        <a:lnTo>
                          <a:pt x="538" y="40131"/>
                        </a:lnTo>
                        <a:lnTo>
                          <a:pt x="419" y="40968"/>
                        </a:lnTo>
                        <a:lnTo>
                          <a:pt x="419" y="41088"/>
                        </a:lnTo>
                        <a:lnTo>
                          <a:pt x="359" y="41446"/>
                        </a:lnTo>
                        <a:lnTo>
                          <a:pt x="0" y="43659"/>
                        </a:lnTo>
                      </a:path>
                    </a:pathLst>
                  </a:custGeom>
                  <a:noFill/>
                  <a:ln w="6350" cap="flat">
                    <a:solidFill>
                      <a:schemeClr val="bg1">
                        <a:alpha val="40000"/>
                      </a:schemeClr>
                    </a:solidFill>
                    <a:prstDash val="solid"/>
                    <a:miter/>
                  </a:ln>
                </p:spPr>
                <p:txBody>
                  <a:bodyPr rtlCol="0" anchor="ctr"/>
                  <a:lstStyle/>
                  <a:p>
                    <a:endParaRPr lang="en-GB"/>
                  </a:p>
                </p:txBody>
              </p:sp>
              <p:sp>
                <p:nvSpPr>
                  <p:cNvPr id="7667" name="Vrije vorm: vorm 7666">
                    <a:extLst>
                      <a:ext uri="{FF2B5EF4-FFF2-40B4-BE49-F238E27FC236}">
                        <a16:creationId xmlns:a16="http://schemas.microsoft.com/office/drawing/2014/main" id="{955611F0-F179-4277-B36C-78A2E9331285}"/>
                      </a:ext>
                    </a:extLst>
                  </p:cNvPr>
                  <p:cNvSpPr/>
                  <p:nvPr/>
                </p:nvSpPr>
                <p:spPr>
                  <a:xfrm>
                    <a:off x="5767050" y="5216545"/>
                    <a:ext cx="64053" cy="173620"/>
                  </a:xfrm>
                  <a:custGeom>
                    <a:avLst/>
                    <a:gdLst>
                      <a:gd name="connsiteX0" fmla="*/ 0 w 64053"/>
                      <a:gd name="connsiteY0" fmla="*/ 0 h 173620"/>
                      <a:gd name="connsiteX1" fmla="*/ 0 w 64053"/>
                      <a:gd name="connsiteY1" fmla="*/ 0 h 173620"/>
                      <a:gd name="connsiteX2" fmla="*/ 479 w 64053"/>
                      <a:gd name="connsiteY2" fmla="*/ 3409 h 173620"/>
                      <a:gd name="connsiteX3" fmla="*/ 718 w 64053"/>
                      <a:gd name="connsiteY3" fmla="*/ 4844 h 173620"/>
                      <a:gd name="connsiteX4" fmla="*/ 1196 w 64053"/>
                      <a:gd name="connsiteY4" fmla="*/ 8194 h 173620"/>
                      <a:gd name="connsiteX5" fmla="*/ 1674 w 64053"/>
                      <a:gd name="connsiteY5" fmla="*/ 11543 h 173620"/>
                      <a:gd name="connsiteX6" fmla="*/ 1914 w 64053"/>
                      <a:gd name="connsiteY6" fmla="*/ 13277 h 173620"/>
                      <a:gd name="connsiteX7" fmla="*/ 1974 w 64053"/>
                      <a:gd name="connsiteY7" fmla="*/ 13696 h 173620"/>
                      <a:gd name="connsiteX8" fmla="*/ 2452 w 64053"/>
                      <a:gd name="connsiteY8" fmla="*/ 17045 h 173620"/>
                      <a:gd name="connsiteX9" fmla="*/ 2930 w 64053"/>
                      <a:gd name="connsiteY9" fmla="*/ 20394 h 173620"/>
                      <a:gd name="connsiteX10" fmla="*/ 3409 w 64053"/>
                      <a:gd name="connsiteY10" fmla="*/ 23743 h 173620"/>
                      <a:gd name="connsiteX11" fmla="*/ 3768 w 64053"/>
                      <a:gd name="connsiteY11" fmla="*/ 26255 h 173620"/>
                      <a:gd name="connsiteX12" fmla="*/ 4725 w 64053"/>
                      <a:gd name="connsiteY12" fmla="*/ 29305 h 173620"/>
                      <a:gd name="connsiteX13" fmla="*/ 5682 w 64053"/>
                      <a:gd name="connsiteY13" fmla="*/ 32356 h 173620"/>
                      <a:gd name="connsiteX14" fmla="*/ 6639 w 64053"/>
                      <a:gd name="connsiteY14" fmla="*/ 35406 h 173620"/>
                      <a:gd name="connsiteX15" fmla="*/ 7596 w 64053"/>
                      <a:gd name="connsiteY15" fmla="*/ 38456 h 173620"/>
                      <a:gd name="connsiteX16" fmla="*/ 8552 w 64053"/>
                      <a:gd name="connsiteY16" fmla="*/ 41506 h 173620"/>
                      <a:gd name="connsiteX17" fmla="*/ 9509 w 64053"/>
                      <a:gd name="connsiteY17" fmla="*/ 44556 h 173620"/>
                      <a:gd name="connsiteX18" fmla="*/ 10466 w 64053"/>
                      <a:gd name="connsiteY18" fmla="*/ 47606 h 173620"/>
                      <a:gd name="connsiteX19" fmla="*/ 11423 w 64053"/>
                      <a:gd name="connsiteY19" fmla="*/ 50657 h 173620"/>
                      <a:gd name="connsiteX20" fmla="*/ 12380 w 64053"/>
                      <a:gd name="connsiteY20" fmla="*/ 53707 h 173620"/>
                      <a:gd name="connsiteX21" fmla="*/ 13337 w 64053"/>
                      <a:gd name="connsiteY21" fmla="*/ 56757 h 173620"/>
                      <a:gd name="connsiteX22" fmla="*/ 13935 w 64053"/>
                      <a:gd name="connsiteY22" fmla="*/ 58611 h 173620"/>
                      <a:gd name="connsiteX23" fmla="*/ 14413 w 64053"/>
                      <a:gd name="connsiteY23" fmla="*/ 62020 h 173620"/>
                      <a:gd name="connsiteX24" fmla="*/ 14892 w 64053"/>
                      <a:gd name="connsiteY24" fmla="*/ 65429 h 173620"/>
                      <a:gd name="connsiteX25" fmla="*/ 15371 w 64053"/>
                      <a:gd name="connsiteY25" fmla="*/ 68838 h 173620"/>
                      <a:gd name="connsiteX26" fmla="*/ 15849 w 64053"/>
                      <a:gd name="connsiteY26" fmla="*/ 72247 h 173620"/>
                      <a:gd name="connsiteX27" fmla="*/ 16327 w 64053"/>
                      <a:gd name="connsiteY27" fmla="*/ 75656 h 173620"/>
                      <a:gd name="connsiteX28" fmla="*/ 16806 w 64053"/>
                      <a:gd name="connsiteY28" fmla="*/ 79065 h 173620"/>
                      <a:gd name="connsiteX29" fmla="*/ 17284 w 64053"/>
                      <a:gd name="connsiteY29" fmla="*/ 82474 h 173620"/>
                      <a:gd name="connsiteX30" fmla="*/ 17763 w 64053"/>
                      <a:gd name="connsiteY30" fmla="*/ 85883 h 173620"/>
                      <a:gd name="connsiteX31" fmla="*/ 18062 w 64053"/>
                      <a:gd name="connsiteY31" fmla="*/ 88216 h 173620"/>
                      <a:gd name="connsiteX32" fmla="*/ 18181 w 64053"/>
                      <a:gd name="connsiteY32" fmla="*/ 89232 h 173620"/>
                      <a:gd name="connsiteX33" fmla="*/ 18660 w 64053"/>
                      <a:gd name="connsiteY33" fmla="*/ 92641 h 173620"/>
                      <a:gd name="connsiteX34" fmla="*/ 19138 w 64053"/>
                      <a:gd name="connsiteY34" fmla="*/ 96050 h 173620"/>
                      <a:gd name="connsiteX35" fmla="*/ 19377 w 64053"/>
                      <a:gd name="connsiteY35" fmla="*/ 97605 h 173620"/>
                      <a:gd name="connsiteX36" fmla="*/ 19796 w 64053"/>
                      <a:gd name="connsiteY36" fmla="*/ 100655 h 173620"/>
                      <a:gd name="connsiteX37" fmla="*/ 20035 w 64053"/>
                      <a:gd name="connsiteY37" fmla="*/ 102270 h 173620"/>
                      <a:gd name="connsiteX38" fmla="*/ 20394 w 64053"/>
                      <a:gd name="connsiteY38" fmla="*/ 104962 h 173620"/>
                      <a:gd name="connsiteX39" fmla="*/ 20454 w 64053"/>
                      <a:gd name="connsiteY39" fmla="*/ 105440 h 173620"/>
                      <a:gd name="connsiteX40" fmla="*/ 20693 w 64053"/>
                      <a:gd name="connsiteY40" fmla="*/ 107115 h 173620"/>
                      <a:gd name="connsiteX41" fmla="*/ 21172 w 64053"/>
                      <a:gd name="connsiteY41" fmla="*/ 110524 h 173620"/>
                      <a:gd name="connsiteX42" fmla="*/ 21530 w 64053"/>
                      <a:gd name="connsiteY42" fmla="*/ 113275 h 173620"/>
                      <a:gd name="connsiteX43" fmla="*/ 21770 w 64053"/>
                      <a:gd name="connsiteY43" fmla="*/ 114770 h 173620"/>
                      <a:gd name="connsiteX44" fmla="*/ 21829 w 64053"/>
                      <a:gd name="connsiteY44" fmla="*/ 115069 h 173620"/>
                      <a:gd name="connsiteX45" fmla="*/ 21949 w 64053"/>
                      <a:gd name="connsiteY45" fmla="*/ 115787 h 173620"/>
                      <a:gd name="connsiteX46" fmla="*/ 22189 w 64053"/>
                      <a:gd name="connsiteY46" fmla="*/ 117701 h 173620"/>
                      <a:gd name="connsiteX47" fmla="*/ 22667 w 64053"/>
                      <a:gd name="connsiteY47" fmla="*/ 121110 h 173620"/>
                      <a:gd name="connsiteX48" fmla="*/ 22727 w 64053"/>
                      <a:gd name="connsiteY48" fmla="*/ 121349 h 173620"/>
                      <a:gd name="connsiteX49" fmla="*/ 23205 w 64053"/>
                      <a:gd name="connsiteY49" fmla="*/ 124758 h 173620"/>
                      <a:gd name="connsiteX50" fmla="*/ 23684 w 64053"/>
                      <a:gd name="connsiteY50" fmla="*/ 128167 h 173620"/>
                      <a:gd name="connsiteX51" fmla="*/ 24162 w 64053"/>
                      <a:gd name="connsiteY51" fmla="*/ 131576 h 173620"/>
                      <a:gd name="connsiteX52" fmla="*/ 24222 w 64053"/>
                      <a:gd name="connsiteY52" fmla="*/ 132054 h 173620"/>
                      <a:gd name="connsiteX53" fmla="*/ 24581 w 64053"/>
                      <a:gd name="connsiteY53" fmla="*/ 134447 h 173620"/>
                      <a:gd name="connsiteX54" fmla="*/ 25059 w 64053"/>
                      <a:gd name="connsiteY54" fmla="*/ 137856 h 173620"/>
                      <a:gd name="connsiteX55" fmla="*/ 25238 w 64053"/>
                      <a:gd name="connsiteY55" fmla="*/ 139171 h 173620"/>
                      <a:gd name="connsiteX56" fmla="*/ 24162 w 64053"/>
                      <a:gd name="connsiteY56" fmla="*/ 142879 h 173620"/>
                      <a:gd name="connsiteX57" fmla="*/ 23086 w 64053"/>
                      <a:gd name="connsiteY57" fmla="*/ 146588 h 173620"/>
                      <a:gd name="connsiteX58" fmla="*/ 22787 w 64053"/>
                      <a:gd name="connsiteY58" fmla="*/ 147724 h 173620"/>
                      <a:gd name="connsiteX59" fmla="*/ 22727 w 64053"/>
                      <a:gd name="connsiteY59" fmla="*/ 147963 h 173620"/>
                      <a:gd name="connsiteX60" fmla="*/ 22129 w 64053"/>
                      <a:gd name="connsiteY60" fmla="*/ 150116 h 173620"/>
                      <a:gd name="connsiteX61" fmla="*/ 22607 w 64053"/>
                      <a:gd name="connsiteY61" fmla="*/ 153465 h 173620"/>
                      <a:gd name="connsiteX62" fmla="*/ 22846 w 64053"/>
                      <a:gd name="connsiteY62" fmla="*/ 154900 h 173620"/>
                      <a:gd name="connsiteX63" fmla="*/ 23145 w 64053"/>
                      <a:gd name="connsiteY63" fmla="*/ 157113 h 173620"/>
                      <a:gd name="connsiteX64" fmla="*/ 23624 w 64053"/>
                      <a:gd name="connsiteY64" fmla="*/ 160462 h 173620"/>
                      <a:gd name="connsiteX65" fmla="*/ 24102 w 64053"/>
                      <a:gd name="connsiteY65" fmla="*/ 163812 h 173620"/>
                      <a:gd name="connsiteX66" fmla="*/ 24581 w 64053"/>
                      <a:gd name="connsiteY66" fmla="*/ 167161 h 173620"/>
                      <a:gd name="connsiteX67" fmla="*/ 24820 w 64053"/>
                      <a:gd name="connsiteY67" fmla="*/ 168955 h 173620"/>
                      <a:gd name="connsiteX68" fmla="*/ 25956 w 64053"/>
                      <a:gd name="connsiteY68" fmla="*/ 171886 h 173620"/>
                      <a:gd name="connsiteX69" fmla="*/ 26136 w 64053"/>
                      <a:gd name="connsiteY69" fmla="*/ 172305 h 173620"/>
                      <a:gd name="connsiteX70" fmla="*/ 28648 w 64053"/>
                      <a:gd name="connsiteY70" fmla="*/ 173560 h 173620"/>
                      <a:gd name="connsiteX71" fmla="*/ 28707 w 64053"/>
                      <a:gd name="connsiteY71" fmla="*/ 173620 h 173620"/>
                      <a:gd name="connsiteX72" fmla="*/ 31758 w 64053"/>
                      <a:gd name="connsiteY72" fmla="*/ 172843 h 173620"/>
                      <a:gd name="connsiteX73" fmla="*/ 32296 w 64053"/>
                      <a:gd name="connsiteY73" fmla="*/ 172723 h 173620"/>
                      <a:gd name="connsiteX74" fmla="*/ 35227 w 64053"/>
                      <a:gd name="connsiteY74" fmla="*/ 170750 h 173620"/>
                      <a:gd name="connsiteX75" fmla="*/ 36662 w 64053"/>
                      <a:gd name="connsiteY75" fmla="*/ 169792 h 173620"/>
                      <a:gd name="connsiteX76" fmla="*/ 39353 w 64053"/>
                      <a:gd name="connsiteY76" fmla="*/ 167161 h 173620"/>
                      <a:gd name="connsiteX77" fmla="*/ 41506 w 64053"/>
                      <a:gd name="connsiteY77" fmla="*/ 165068 h 173620"/>
                      <a:gd name="connsiteX78" fmla="*/ 43958 w 64053"/>
                      <a:gd name="connsiteY78" fmla="*/ 162077 h 173620"/>
                      <a:gd name="connsiteX79" fmla="*/ 46410 w 64053"/>
                      <a:gd name="connsiteY79" fmla="*/ 159087 h 173620"/>
                      <a:gd name="connsiteX80" fmla="*/ 46530 w 64053"/>
                      <a:gd name="connsiteY80" fmla="*/ 158908 h 173620"/>
                      <a:gd name="connsiteX81" fmla="*/ 48683 w 64053"/>
                      <a:gd name="connsiteY81" fmla="*/ 155618 h 173620"/>
                      <a:gd name="connsiteX82" fmla="*/ 50836 w 64053"/>
                      <a:gd name="connsiteY82" fmla="*/ 152329 h 173620"/>
                      <a:gd name="connsiteX83" fmla="*/ 51315 w 64053"/>
                      <a:gd name="connsiteY83" fmla="*/ 151611 h 173620"/>
                      <a:gd name="connsiteX84" fmla="*/ 53228 w 64053"/>
                      <a:gd name="connsiteY84" fmla="*/ 148142 h 173620"/>
                      <a:gd name="connsiteX85" fmla="*/ 55142 w 64053"/>
                      <a:gd name="connsiteY85" fmla="*/ 144674 h 173620"/>
                      <a:gd name="connsiteX86" fmla="*/ 55681 w 64053"/>
                      <a:gd name="connsiteY86" fmla="*/ 143776 h 173620"/>
                      <a:gd name="connsiteX87" fmla="*/ 57355 w 64053"/>
                      <a:gd name="connsiteY87" fmla="*/ 140188 h 173620"/>
                      <a:gd name="connsiteX88" fmla="*/ 59030 w 64053"/>
                      <a:gd name="connsiteY88" fmla="*/ 136599 h 173620"/>
                      <a:gd name="connsiteX89" fmla="*/ 59389 w 64053"/>
                      <a:gd name="connsiteY89" fmla="*/ 135822 h 173620"/>
                      <a:gd name="connsiteX90" fmla="*/ 60704 w 64053"/>
                      <a:gd name="connsiteY90" fmla="*/ 132114 h 173620"/>
                      <a:gd name="connsiteX91" fmla="*/ 62020 w 64053"/>
                      <a:gd name="connsiteY91" fmla="*/ 128406 h 173620"/>
                      <a:gd name="connsiteX92" fmla="*/ 62080 w 64053"/>
                      <a:gd name="connsiteY92" fmla="*/ 128227 h 173620"/>
                      <a:gd name="connsiteX93" fmla="*/ 62977 w 64053"/>
                      <a:gd name="connsiteY93" fmla="*/ 124459 h 173620"/>
                      <a:gd name="connsiteX94" fmla="*/ 63694 w 64053"/>
                      <a:gd name="connsiteY94" fmla="*/ 121468 h 173620"/>
                      <a:gd name="connsiteX95" fmla="*/ 63934 w 64053"/>
                      <a:gd name="connsiteY95" fmla="*/ 117820 h 173620"/>
                      <a:gd name="connsiteX96" fmla="*/ 64054 w 64053"/>
                      <a:gd name="connsiteY96" fmla="*/ 116026 h 173620"/>
                      <a:gd name="connsiteX97" fmla="*/ 63216 w 64053"/>
                      <a:gd name="connsiteY97" fmla="*/ 112856 h 173620"/>
                      <a:gd name="connsiteX98" fmla="*/ 63037 w 64053"/>
                      <a:gd name="connsiteY98" fmla="*/ 112258 h 173620"/>
                      <a:gd name="connsiteX99" fmla="*/ 60824 w 64053"/>
                      <a:gd name="connsiteY99" fmla="*/ 110524 h 173620"/>
                      <a:gd name="connsiteX100" fmla="*/ 60764 w 64053"/>
                      <a:gd name="connsiteY100" fmla="*/ 110464 h 173620"/>
                      <a:gd name="connsiteX101" fmla="*/ 58372 w 64053"/>
                      <a:gd name="connsiteY101" fmla="*/ 109028 h 173620"/>
                      <a:gd name="connsiteX102" fmla="*/ 55979 w 64053"/>
                      <a:gd name="connsiteY102" fmla="*/ 107593 h 173620"/>
                      <a:gd name="connsiteX103" fmla="*/ 53587 w 64053"/>
                      <a:gd name="connsiteY103" fmla="*/ 106158 h 173620"/>
                      <a:gd name="connsiteX104" fmla="*/ 52331 w 64053"/>
                      <a:gd name="connsiteY104" fmla="*/ 105380 h 17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4053" h="173620">
                        <a:moveTo>
                          <a:pt x="0" y="0"/>
                        </a:moveTo>
                        <a:lnTo>
                          <a:pt x="0" y="0"/>
                        </a:lnTo>
                        <a:lnTo>
                          <a:pt x="479" y="3409"/>
                        </a:lnTo>
                        <a:lnTo>
                          <a:pt x="718" y="4844"/>
                        </a:lnTo>
                        <a:lnTo>
                          <a:pt x="1196" y="8194"/>
                        </a:lnTo>
                        <a:lnTo>
                          <a:pt x="1674" y="11543"/>
                        </a:lnTo>
                        <a:lnTo>
                          <a:pt x="1914" y="13277"/>
                        </a:lnTo>
                        <a:lnTo>
                          <a:pt x="1974" y="13696"/>
                        </a:lnTo>
                        <a:lnTo>
                          <a:pt x="2452" y="17045"/>
                        </a:lnTo>
                        <a:lnTo>
                          <a:pt x="2930" y="20394"/>
                        </a:lnTo>
                        <a:lnTo>
                          <a:pt x="3409" y="23743"/>
                        </a:lnTo>
                        <a:lnTo>
                          <a:pt x="3768" y="26255"/>
                        </a:lnTo>
                        <a:lnTo>
                          <a:pt x="4725" y="29305"/>
                        </a:lnTo>
                        <a:lnTo>
                          <a:pt x="5682" y="32356"/>
                        </a:lnTo>
                        <a:lnTo>
                          <a:pt x="6639" y="35406"/>
                        </a:lnTo>
                        <a:lnTo>
                          <a:pt x="7596" y="38456"/>
                        </a:lnTo>
                        <a:lnTo>
                          <a:pt x="8552" y="41506"/>
                        </a:lnTo>
                        <a:lnTo>
                          <a:pt x="9509" y="44556"/>
                        </a:lnTo>
                        <a:lnTo>
                          <a:pt x="10466" y="47606"/>
                        </a:lnTo>
                        <a:lnTo>
                          <a:pt x="11423" y="50657"/>
                        </a:lnTo>
                        <a:lnTo>
                          <a:pt x="12380" y="53707"/>
                        </a:lnTo>
                        <a:lnTo>
                          <a:pt x="13337" y="56757"/>
                        </a:lnTo>
                        <a:lnTo>
                          <a:pt x="13935" y="58611"/>
                        </a:lnTo>
                        <a:lnTo>
                          <a:pt x="14413" y="62020"/>
                        </a:lnTo>
                        <a:lnTo>
                          <a:pt x="14892" y="65429"/>
                        </a:lnTo>
                        <a:lnTo>
                          <a:pt x="15371" y="68838"/>
                        </a:lnTo>
                        <a:lnTo>
                          <a:pt x="15849" y="72247"/>
                        </a:lnTo>
                        <a:lnTo>
                          <a:pt x="16327" y="75656"/>
                        </a:lnTo>
                        <a:lnTo>
                          <a:pt x="16806" y="79065"/>
                        </a:lnTo>
                        <a:lnTo>
                          <a:pt x="17284" y="82474"/>
                        </a:lnTo>
                        <a:lnTo>
                          <a:pt x="17763" y="85883"/>
                        </a:lnTo>
                        <a:lnTo>
                          <a:pt x="18062" y="88216"/>
                        </a:lnTo>
                        <a:lnTo>
                          <a:pt x="18181" y="89232"/>
                        </a:lnTo>
                        <a:lnTo>
                          <a:pt x="18660" y="92641"/>
                        </a:lnTo>
                        <a:lnTo>
                          <a:pt x="19138" y="96050"/>
                        </a:lnTo>
                        <a:lnTo>
                          <a:pt x="19377" y="97605"/>
                        </a:lnTo>
                        <a:lnTo>
                          <a:pt x="19796" y="100655"/>
                        </a:lnTo>
                        <a:lnTo>
                          <a:pt x="20035" y="102270"/>
                        </a:lnTo>
                        <a:lnTo>
                          <a:pt x="20394" y="104962"/>
                        </a:lnTo>
                        <a:lnTo>
                          <a:pt x="20454" y="105440"/>
                        </a:lnTo>
                        <a:lnTo>
                          <a:pt x="20693" y="107115"/>
                        </a:lnTo>
                        <a:lnTo>
                          <a:pt x="21172" y="110524"/>
                        </a:lnTo>
                        <a:lnTo>
                          <a:pt x="21530" y="113275"/>
                        </a:lnTo>
                        <a:lnTo>
                          <a:pt x="21770" y="114770"/>
                        </a:lnTo>
                        <a:lnTo>
                          <a:pt x="21829" y="115069"/>
                        </a:lnTo>
                        <a:lnTo>
                          <a:pt x="21949" y="115787"/>
                        </a:lnTo>
                        <a:lnTo>
                          <a:pt x="22189" y="117701"/>
                        </a:lnTo>
                        <a:lnTo>
                          <a:pt x="22667" y="121110"/>
                        </a:lnTo>
                        <a:lnTo>
                          <a:pt x="22727" y="121349"/>
                        </a:lnTo>
                        <a:lnTo>
                          <a:pt x="23205" y="124758"/>
                        </a:lnTo>
                        <a:lnTo>
                          <a:pt x="23684" y="128167"/>
                        </a:lnTo>
                        <a:lnTo>
                          <a:pt x="24162" y="131576"/>
                        </a:lnTo>
                        <a:lnTo>
                          <a:pt x="24222" y="132054"/>
                        </a:lnTo>
                        <a:lnTo>
                          <a:pt x="24581" y="134447"/>
                        </a:lnTo>
                        <a:lnTo>
                          <a:pt x="25059" y="137856"/>
                        </a:lnTo>
                        <a:lnTo>
                          <a:pt x="25238" y="139171"/>
                        </a:lnTo>
                        <a:lnTo>
                          <a:pt x="24162" y="142879"/>
                        </a:lnTo>
                        <a:lnTo>
                          <a:pt x="23086" y="146588"/>
                        </a:lnTo>
                        <a:lnTo>
                          <a:pt x="22787" y="147724"/>
                        </a:lnTo>
                        <a:lnTo>
                          <a:pt x="22727" y="147963"/>
                        </a:lnTo>
                        <a:lnTo>
                          <a:pt x="22129" y="150116"/>
                        </a:lnTo>
                        <a:lnTo>
                          <a:pt x="22607" y="153465"/>
                        </a:lnTo>
                        <a:lnTo>
                          <a:pt x="22846" y="154900"/>
                        </a:lnTo>
                        <a:lnTo>
                          <a:pt x="23145" y="157113"/>
                        </a:lnTo>
                        <a:lnTo>
                          <a:pt x="23624" y="160462"/>
                        </a:lnTo>
                        <a:lnTo>
                          <a:pt x="24102" y="163812"/>
                        </a:lnTo>
                        <a:lnTo>
                          <a:pt x="24581" y="167161"/>
                        </a:lnTo>
                        <a:lnTo>
                          <a:pt x="24820" y="168955"/>
                        </a:lnTo>
                        <a:lnTo>
                          <a:pt x="25956" y="171886"/>
                        </a:lnTo>
                        <a:lnTo>
                          <a:pt x="26136" y="172305"/>
                        </a:lnTo>
                        <a:lnTo>
                          <a:pt x="28648" y="173560"/>
                        </a:lnTo>
                        <a:lnTo>
                          <a:pt x="28707" y="173620"/>
                        </a:lnTo>
                        <a:lnTo>
                          <a:pt x="31758" y="172843"/>
                        </a:lnTo>
                        <a:lnTo>
                          <a:pt x="32296" y="172723"/>
                        </a:lnTo>
                        <a:lnTo>
                          <a:pt x="35227" y="170750"/>
                        </a:lnTo>
                        <a:lnTo>
                          <a:pt x="36662" y="169792"/>
                        </a:lnTo>
                        <a:lnTo>
                          <a:pt x="39353" y="167161"/>
                        </a:lnTo>
                        <a:lnTo>
                          <a:pt x="41506" y="165068"/>
                        </a:lnTo>
                        <a:lnTo>
                          <a:pt x="43958" y="162077"/>
                        </a:lnTo>
                        <a:lnTo>
                          <a:pt x="46410" y="159087"/>
                        </a:lnTo>
                        <a:lnTo>
                          <a:pt x="46530" y="158908"/>
                        </a:lnTo>
                        <a:lnTo>
                          <a:pt x="48683" y="155618"/>
                        </a:lnTo>
                        <a:lnTo>
                          <a:pt x="50836" y="152329"/>
                        </a:lnTo>
                        <a:lnTo>
                          <a:pt x="51315" y="151611"/>
                        </a:lnTo>
                        <a:lnTo>
                          <a:pt x="53228" y="148142"/>
                        </a:lnTo>
                        <a:lnTo>
                          <a:pt x="55142" y="144674"/>
                        </a:lnTo>
                        <a:lnTo>
                          <a:pt x="55681" y="143776"/>
                        </a:lnTo>
                        <a:lnTo>
                          <a:pt x="57355" y="140188"/>
                        </a:lnTo>
                        <a:lnTo>
                          <a:pt x="59030" y="136599"/>
                        </a:lnTo>
                        <a:lnTo>
                          <a:pt x="59389" y="135822"/>
                        </a:lnTo>
                        <a:lnTo>
                          <a:pt x="60704" y="132114"/>
                        </a:lnTo>
                        <a:lnTo>
                          <a:pt x="62020" y="128406"/>
                        </a:lnTo>
                        <a:lnTo>
                          <a:pt x="62080" y="128227"/>
                        </a:lnTo>
                        <a:lnTo>
                          <a:pt x="62977" y="124459"/>
                        </a:lnTo>
                        <a:lnTo>
                          <a:pt x="63694" y="121468"/>
                        </a:lnTo>
                        <a:lnTo>
                          <a:pt x="63934" y="117820"/>
                        </a:lnTo>
                        <a:lnTo>
                          <a:pt x="64054" y="116026"/>
                        </a:lnTo>
                        <a:lnTo>
                          <a:pt x="63216" y="112856"/>
                        </a:lnTo>
                        <a:lnTo>
                          <a:pt x="63037" y="112258"/>
                        </a:lnTo>
                        <a:lnTo>
                          <a:pt x="60824" y="110524"/>
                        </a:lnTo>
                        <a:lnTo>
                          <a:pt x="60764" y="110464"/>
                        </a:lnTo>
                        <a:lnTo>
                          <a:pt x="58372" y="109028"/>
                        </a:lnTo>
                        <a:lnTo>
                          <a:pt x="55979" y="107593"/>
                        </a:lnTo>
                        <a:lnTo>
                          <a:pt x="53587" y="106158"/>
                        </a:lnTo>
                        <a:lnTo>
                          <a:pt x="52331" y="105380"/>
                        </a:lnTo>
                      </a:path>
                    </a:pathLst>
                  </a:custGeom>
                  <a:noFill/>
                  <a:ln w="6350" cap="flat">
                    <a:solidFill>
                      <a:schemeClr val="bg1">
                        <a:alpha val="40000"/>
                      </a:schemeClr>
                    </a:solidFill>
                    <a:prstDash val="solid"/>
                    <a:miter/>
                  </a:ln>
                </p:spPr>
                <p:txBody>
                  <a:bodyPr rtlCol="0" anchor="ctr"/>
                  <a:lstStyle/>
                  <a:p>
                    <a:endParaRPr lang="en-GB"/>
                  </a:p>
                </p:txBody>
              </p:sp>
              <p:sp>
                <p:nvSpPr>
                  <p:cNvPr id="7668" name="Vrije vorm: vorm 7667">
                    <a:extLst>
                      <a:ext uri="{FF2B5EF4-FFF2-40B4-BE49-F238E27FC236}">
                        <a16:creationId xmlns:a16="http://schemas.microsoft.com/office/drawing/2014/main" id="{DD9AF542-AF4F-4250-88F9-FF1AF494EDDD}"/>
                      </a:ext>
                    </a:extLst>
                  </p:cNvPr>
                  <p:cNvSpPr/>
                  <p:nvPr/>
                </p:nvSpPr>
                <p:spPr>
                  <a:xfrm>
                    <a:off x="5773689" y="5366182"/>
                    <a:ext cx="19676" cy="22846"/>
                  </a:xfrm>
                  <a:custGeom>
                    <a:avLst/>
                    <a:gdLst>
                      <a:gd name="connsiteX0" fmla="*/ 19676 w 19676"/>
                      <a:gd name="connsiteY0" fmla="*/ 22846 h 22846"/>
                      <a:gd name="connsiteX1" fmla="*/ 17404 w 19676"/>
                      <a:gd name="connsiteY1" fmla="*/ 21232 h 22846"/>
                      <a:gd name="connsiteX2" fmla="*/ 15131 w 19676"/>
                      <a:gd name="connsiteY2" fmla="*/ 19617 h 22846"/>
                      <a:gd name="connsiteX3" fmla="*/ 12859 w 19676"/>
                      <a:gd name="connsiteY3" fmla="*/ 18002 h 22846"/>
                      <a:gd name="connsiteX4" fmla="*/ 10586 w 19676"/>
                      <a:gd name="connsiteY4" fmla="*/ 16387 h 22846"/>
                      <a:gd name="connsiteX5" fmla="*/ 8313 w 19676"/>
                      <a:gd name="connsiteY5" fmla="*/ 14773 h 22846"/>
                      <a:gd name="connsiteX6" fmla="*/ 7117 w 19676"/>
                      <a:gd name="connsiteY6" fmla="*/ 13875 h 22846"/>
                      <a:gd name="connsiteX7" fmla="*/ 4844 w 19676"/>
                      <a:gd name="connsiteY7" fmla="*/ 12261 h 22846"/>
                      <a:gd name="connsiteX8" fmla="*/ 3828 w 19676"/>
                      <a:gd name="connsiteY8" fmla="*/ 11483 h 22846"/>
                      <a:gd name="connsiteX9" fmla="*/ 3828 w 19676"/>
                      <a:gd name="connsiteY9" fmla="*/ 11483 h 22846"/>
                      <a:gd name="connsiteX10" fmla="*/ 1555 w 19676"/>
                      <a:gd name="connsiteY10" fmla="*/ 9868 h 22846"/>
                      <a:gd name="connsiteX11" fmla="*/ 1495 w 19676"/>
                      <a:gd name="connsiteY11" fmla="*/ 9868 h 22846"/>
                      <a:gd name="connsiteX12" fmla="*/ 299 w 19676"/>
                      <a:gd name="connsiteY12" fmla="*/ 6998 h 22846"/>
                      <a:gd name="connsiteX13" fmla="*/ 60 w 19676"/>
                      <a:gd name="connsiteY13" fmla="*/ 6459 h 22846"/>
                      <a:gd name="connsiteX14" fmla="*/ 0 w 19676"/>
                      <a:gd name="connsiteY14" fmla="*/ 2871 h 22846"/>
                      <a:gd name="connsiteX15" fmla="*/ 0 w 19676"/>
                      <a:gd name="connsiteY15" fmla="*/ 1196 h 22846"/>
                      <a:gd name="connsiteX16" fmla="*/ 239 w 19676"/>
                      <a:gd name="connsiteY16" fmla="*/ 0 h 2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6" h="22846">
                        <a:moveTo>
                          <a:pt x="19676" y="22846"/>
                        </a:moveTo>
                        <a:lnTo>
                          <a:pt x="17404" y="21232"/>
                        </a:lnTo>
                        <a:lnTo>
                          <a:pt x="15131" y="19617"/>
                        </a:lnTo>
                        <a:lnTo>
                          <a:pt x="12859" y="18002"/>
                        </a:lnTo>
                        <a:lnTo>
                          <a:pt x="10586" y="16387"/>
                        </a:lnTo>
                        <a:lnTo>
                          <a:pt x="8313" y="14773"/>
                        </a:lnTo>
                        <a:lnTo>
                          <a:pt x="7117" y="13875"/>
                        </a:lnTo>
                        <a:lnTo>
                          <a:pt x="4844" y="12261"/>
                        </a:lnTo>
                        <a:lnTo>
                          <a:pt x="3828" y="11483"/>
                        </a:lnTo>
                        <a:lnTo>
                          <a:pt x="3828" y="11483"/>
                        </a:lnTo>
                        <a:lnTo>
                          <a:pt x="1555" y="9868"/>
                        </a:lnTo>
                        <a:lnTo>
                          <a:pt x="1495" y="9868"/>
                        </a:lnTo>
                        <a:lnTo>
                          <a:pt x="299" y="6998"/>
                        </a:lnTo>
                        <a:lnTo>
                          <a:pt x="60" y="6459"/>
                        </a:lnTo>
                        <a:lnTo>
                          <a:pt x="0" y="2871"/>
                        </a:lnTo>
                        <a:lnTo>
                          <a:pt x="0" y="1196"/>
                        </a:lnTo>
                        <a:lnTo>
                          <a:pt x="239" y="0"/>
                        </a:lnTo>
                      </a:path>
                    </a:pathLst>
                  </a:custGeom>
                  <a:noFill/>
                  <a:ln w="6350" cap="flat">
                    <a:solidFill>
                      <a:schemeClr val="bg1">
                        <a:alpha val="40000"/>
                      </a:schemeClr>
                    </a:solidFill>
                    <a:prstDash val="solid"/>
                    <a:miter/>
                  </a:ln>
                </p:spPr>
                <p:txBody>
                  <a:bodyPr rtlCol="0" anchor="ctr"/>
                  <a:lstStyle/>
                  <a:p>
                    <a:endParaRPr lang="en-GB"/>
                  </a:p>
                </p:txBody>
              </p:sp>
              <p:sp>
                <p:nvSpPr>
                  <p:cNvPr id="7669" name="Vrije vorm: vorm 7668">
                    <a:extLst>
                      <a:ext uri="{FF2B5EF4-FFF2-40B4-BE49-F238E27FC236}">
                        <a16:creationId xmlns:a16="http://schemas.microsoft.com/office/drawing/2014/main" id="{4535B4E7-40D3-4EC8-BACC-47CCFE930205}"/>
                      </a:ext>
                    </a:extLst>
                  </p:cNvPr>
                  <p:cNvSpPr/>
                  <p:nvPr/>
                </p:nvSpPr>
                <p:spPr>
                  <a:xfrm>
                    <a:off x="5790136" y="5142803"/>
                    <a:ext cx="19497" cy="12320"/>
                  </a:xfrm>
                  <a:custGeom>
                    <a:avLst/>
                    <a:gdLst>
                      <a:gd name="connsiteX0" fmla="*/ 19497 w 19497"/>
                      <a:gd name="connsiteY0" fmla="*/ 0 h 12320"/>
                      <a:gd name="connsiteX1" fmla="*/ 16447 w 19497"/>
                      <a:gd name="connsiteY1" fmla="*/ 658 h 12320"/>
                      <a:gd name="connsiteX2" fmla="*/ 13815 w 19497"/>
                      <a:gd name="connsiteY2" fmla="*/ 1196 h 12320"/>
                      <a:gd name="connsiteX3" fmla="*/ 13815 w 19497"/>
                      <a:gd name="connsiteY3" fmla="*/ 1196 h 12320"/>
                      <a:gd name="connsiteX4" fmla="*/ 13696 w 19497"/>
                      <a:gd name="connsiteY4" fmla="*/ 1196 h 12320"/>
                      <a:gd name="connsiteX5" fmla="*/ 10705 w 19497"/>
                      <a:gd name="connsiteY5" fmla="*/ 3050 h 12320"/>
                      <a:gd name="connsiteX6" fmla="*/ 10048 w 19497"/>
                      <a:gd name="connsiteY6" fmla="*/ 3469 h 12320"/>
                      <a:gd name="connsiteX7" fmla="*/ 7057 w 19497"/>
                      <a:gd name="connsiteY7" fmla="*/ 5323 h 12320"/>
                      <a:gd name="connsiteX8" fmla="*/ 6997 w 19497"/>
                      <a:gd name="connsiteY8" fmla="*/ 5383 h 12320"/>
                      <a:gd name="connsiteX9" fmla="*/ 6220 w 19497"/>
                      <a:gd name="connsiteY9" fmla="*/ 6160 h 12320"/>
                      <a:gd name="connsiteX10" fmla="*/ 5682 w 19497"/>
                      <a:gd name="connsiteY10" fmla="*/ 6698 h 12320"/>
                      <a:gd name="connsiteX11" fmla="*/ 5622 w 19497"/>
                      <a:gd name="connsiteY11" fmla="*/ 6758 h 12320"/>
                      <a:gd name="connsiteX12" fmla="*/ 4665 w 19497"/>
                      <a:gd name="connsiteY12" fmla="*/ 7715 h 12320"/>
                      <a:gd name="connsiteX13" fmla="*/ 1974 w 19497"/>
                      <a:gd name="connsiteY13" fmla="*/ 10347 h 12320"/>
                      <a:gd name="connsiteX14" fmla="*/ 0 w 19497"/>
                      <a:gd name="connsiteY14" fmla="*/ 12320 h 1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497" h="12320">
                        <a:moveTo>
                          <a:pt x="19497" y="0"/>
                        </a:moveTo>
                        <a:lnTo>
                          <a:pt x="16447" y="658"/>
                        </a:lnTo>
                        <a:lnTo>
                          <a:pt x="13815" y="1196"/>
                        </a:lnTo>
                        <a:lnTo>
                          <a:pt x="13815" y="1196"/>
                        </a:lnTo>
                        <a:lnTo>
                          <a:pt x="13696" y="1196"/>
                        </a:lnTo>
                        <a:lnTo>
                          <a:pt x="10705" y="3050"/>
                        </a:lnTo>
                        <a:lnTo>
                          <a:pt x="10048" y="3469"/>
                        </a:lnTo>
                        <a:lnTo>
                          <a:pt x="7057" y="5323"/>
                        </a:lnTo>
                        <a:lnTo>
                          <a:pt x="6997" y="5383"/>
                        </a:lnTo>
                        <a:lnTo>
                          <a:pt x="6220" y="6160"/>
                        </a:lnTo>
                        <a:lnTo>
                          <a:pt x="5682" y="6698"/>
                        </a:lnTo>
                        <a:lnTo>
                          <a:pt x="5622" y="6758"/>
                        </a:lnTo>
                        <a:lnTo>
                          <a:pt x="4665" y="7715"/>
                        </a:lnTo>
                        <a:lnTo>
                          <a:pt x="1974" y="10347"/>
                        </a:lnTo>
                        <a:lnTo>
                          <a:pt x="0" y="12320"/>
                        </a:lnTo>
                      </a:path>
                    </a:pathLst>
                  </a:custGeom>
                  <a:noFill/>
                  <a:ln w="6350" cap="flat">
                    <a:solidFill>
                      <a:schemeClr val="bg1">
                        <a:alpha val="40000"/>
                      </a:schemeClr>
                    </a:solidFill>
                    <a:prstDash val="solid"/>
                    <a:miter/>
                  </a:ln>
                </p:spPr>
                <p:txBody>
                  <a:bodyPr rtlCol="0" anchor="ctr"/>
                  <a:lstStyle/>
                  <a:p>
                    <a:endParaRPr lang="en-GB"/>
                  </a:p>
                </p:txBody>
              </p:sp>
              <p:sp>
                <p:nvSpPr>
                  <p:cNvPr id="7670" name="Vrije vorm: vorm 7669">
                    <a:extLst>
                      <a:ext uri="{FF2B5EF4-FFF2-40B4-BE49-F238E27FC236}">
                        <a16:creationId xmlns:a16="http://schemas.microsoft.com/office/drawing/2014/main" id="{786DCC74-EC1B-4002-82C5-9171F513004E}"/>
                      </a:ext>
                    </a:extLst>
                  </p:cNvPr>
                  <p:cNvSpPr/>
                  <p:nvPr/>
                </p:nvSpPr>
                <p:spPr>
                  <a:xfrm>
                    <a:off x="5787744" y="5154106"/>
                    <a:ext cx="3229" cy="8612"/>
                  </a:xfrm>
                  <a:custGeom>
                    <a:avLst/>
                    <a:gdLst>
                      <a:gd name="connsiteX0" fmla="*/ 3229 w 3229"/>
                      <a:gd name="connsiteY0" fmla="*/ 8612 h 8612"/>
                      <a:gd name="connsiteX1" fmla="*/ 3110 w 3229"/>
                      <a:gd name="connsiteY1" fmla="*/ 7715 h 8612"/>
                      <a:gd name="connsiteX2" fmla="*/ 2751 w 3229"/>
                      <a:gd name="connsiteY2" fmla="*/ 4246 h 8612"/>
                      <a:gd name="connsiteX3" fmla="*/ 2392 w 3229"/>
                      <a:gd name="connsiteY3" fmla="*/ 957 h 8612"/>
                      <a:gd name="connsiteX4" fmla="*/ 0 w 3229"/>
                      <a:gd name="connsiteY4" fmla="*/ 0 h 8612"/>
                      <a:gd name="connsiteX5" fmla="*/ 359 w 3229"/>
                      <a:gd name="connsiteY5" fmla="*/ 3409 h 8612"/>
                      <a:gd name="connsiteX6" fmla="*/ 538 w 3229"/>
                      <a:gd name="connsiteY6" fmla="*/ 5024 h 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9" h="8612">
                        <a:moveTo>
                          <a:pt x="3229" y="8612"/>
                        </a:moveTo>
                        <a:lnTo>
                          <a:pt x="3110" y="7715"/>
                        </a:lnTo>
                        <a:lnTo>
                          <a:pt x="2751" y="4246"/>
                        </a:lnTo>
                        <a:lnTo>
                          <a:pt x="2392" y="957"/>
                        </a:lnTo>
                        <a:lnTo>
                          <a:pt x="0" y="0"/>
                        </a:lnTo>
                        <a:lnTo>
                          <a:pt x="359" y="3409"/>
                        </a:lnTo>
                        <a:lnTo>
                          <a:pt x="538" y="5024"/>
                        </a:lnTo>
                      </a:path>
                    </a:pathLst>
                  </a:custGeom>
                  <a:noFill/>
                  <a:ln w="6350" cap="flat">
                    <a:solidFill>
                      <a:schemeClr val="bg1">
                        <a:alpha val="40000"/>
                      </a:schemeClr>
                    </a:solidFill>
                    <a:prstDash val="solid"/>
                    <a:miter/>
                  </a:ln>
                </p:spPr>
                <p:txBody>
                  <a:bodyPr rtlCol="0" anchor="ctr"/>
                  <a:lstStyle/>
                  <a:p>
                    <a:endParaRPr lang="en-GB"/>
                  </a:p>
                </p:txBody>
              </p:sp>
              <p:sp>
                <p:nvSpPr>
                  <p:cNvPr id="7671" name="Vrije vorm: vorm 7670">
                    <a:extLst>
                      <a:ext uri="{FF2B5EF4-FFF2-40B4-BE49-F238E27FC236}">
                        <a16:creationId xmlns:a16="http://schemas.microsoft.com/office/drawing/2014/main" id="{06A1E395-62B6-484C-9833-0AD4FD944082}"/>
                      </a:ext>
                    </a:extLst>
                  </p:cNvPr>
                  <p:cNvSpPr/>
                  <p:nvPr/>
                </p:nvSpPr>
                <p:spPr>
                  <a:xfrm>
                    <a:off x="5808078" y="5158233"/>
                    <a:ext cx="9030" cy="16686"/>
                  </a:xfrm>
                  <a:custGeom>
                    <a:avLst/>
                    <a:gdLst>
                      <a:gd name="connsiteX0" fmla="*/ 9031 w 9030"/>
                      <a:gd name="connsiteY0" fmla="*/ 239 h 16686"/>
                      <a:gd name="connsiteX1" fmla="*/ 7835 w 9030"/>
                      <a:gd name="connsiteY1" fmla="*/ 0 h 16686"/>
                      <a:gd name="connsiteX2" fmla="*/ 6459 w 9030"/>
                      <a:gd name="connsiteY2" fmla="*/ 478 h 16686"/>
                      <a:gd name="connsiteX3" fmla="*/ 4964 w 9030"/>
                      <a:gd name="connsiteY3" fmla="*/ 1615 h 16686"/>
                      <a:gd name="connsiteX4" fmla="*/ 3469 w 9030"/>
                      <a:gd name="connsiteY4" fmla="*/ 3349 h 16686"/>
                      <a:gd name="connsiteX5" fmla="*/ 2751 w 9030"/>
                      <a:gd name="connsiteY5" fmla="*/ 4486 h 16686"/>
                      <a:gd name="connsiteX6" fmla="*/ 2392 w 9030"/>
                      <a:gd name="connsiteY6" fmla="*/ 5024 h 16686"/>
                      <a:gd name="connsiteX7" fmla="*/ 1435 w 9030"/>
                      <a:gd name="connsiteY7" fmla="*/ 6878 h 16686"/>
                      <a:gd name="connsiteX8" fmla="*/ 1136 w 9030"/>
                      <a:gd name="connsiteY8" fmla="*/ 7655 h 16686"/>
                      <a:gd name="connsiteX9" fmla="*/ 718 w 9030"/>
                      <a:gd name="connsiteY9" fmla="*/ 8851 h 16686"/>
                      <a:gd name="connsiteX10" fmla="*/ 598 w 9030"/>
                      <a:gd name="connsiteY10" fmla="*/ 9390 h 16686"/>
                      <a:gd name="connsiteX11" fmla="*/ 239 w 9030"/>
                      <a:gd name="connsiteY11" fmla="*/ 10765 h 16686"/>
                      <a:gd name="connsiteX12" fmla="*/ 0 w 9030"/>
                      <a:gd name="connsiteY12" fmla="*/ 12559 h 16686"/>
                      <a:gd name="connsiteX13" fmla="*/ 60 w 9030"/>
                      <a:gd name="connsiteY13" fmla="*/ 14114 h 16686"/>
                      <a:gd name="connsiteX14" fmla="*/ 120 w 9030"/>
                      <a:gd name="connsiteY14" fmla="*/ 14413 h 16686"/>
                      <a:gd name="connsiteX15" fmla="*/ 120 w 9030"/>
                      <a:gd name="connsiteY15" fmla="*/ 14473 h 16686"/>
                      <a:gd name="connsiteX16" fmla="*/ 359 w 9030"/>
                      <a:gd name="connsiteY16" fmla="*/ 15370 h 16686"/>
                      <a:gd name="connsiteX17" fmla="*/ 957 w 9030"/>
                      <a:gd name="connsiteY17" fmla="*/ 16267 h 16686"/>
                      <a:gd name="connsiteX18" fmla="*/ 1794 w 9030"/>
                      <a:gd name="connsiteY18" fmla="*/ 16686 h 1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30" h="16686">
                        <a:moveTo>
                          <a:pt x="9031" y="239"/>
                        </a:moveTo>
                        <a:lnTo>
                          <a:pt x="7835" y="0"/>
                        </a:lnTo>
                        <a:lnTo>
                          <a:pt x="6459" y="478"/>
                        </a:lnTo>
                        <a:lnTo>
                          <a:pt x="4964" y="1615"/>
                        </a:lnTo>
                        <a:lnTo>
                          <a:pt x="3469" y="3349"/>
                        </a:lnTo>
                        <a:lnTo>
                          <a:pt x="2751" y="4486"/>
                        </a:lnTo>
                        <a:lnTo>
                          <a:pt x="2392" y="5024"/>
                        </a:lnTo>
                        <a:lnTo>
                          <a:pt x="1435" y="6878"/>
                        </a:lnTo>
                        <a:lnTo>
                          <a:pt x="1136" y="7655"/>
                        </a:lnTo>
                        <a:lnTo>
                          <a:pt x="718" y="8851"/>
                        </a:lnTo>
                        <a:lnTo>
                          <a:pt x="598" y="9390"/>
                        </a:lnTo>
                        <a:lnTo>
                          <a:pt x="239" y="10765"/>
                        </a:lnTo>
                        <a:lnTo>
                          <a:pt x="0" y="12559"/>
                        </a:lnTo>
                        <a:lnTo>
                          <a:pt x="60" y="14114"/>
                        </a:lnTo>
                        <a:lnTo>
                          <a:pt x="120" y="14413"/>
                        </a:lnTo>
                        <a:lnTo>
                          <a:pt x="120" y="14473"/>
                        </a:lnTo>
                        <a:lnTo>
                          <a:pt x="359" y="15370"/>
                        </a:lnTo>
                        <a:lnTo>
                          <a:pt x="957" y="16267"/>
                        </a:lnTo>
                        <a:lnTo>
                          <a:pt x="1794" y="16686"/>
                        </a:lnTo>
                      </a:path>
                    </a:pathLst>
                  </a:custGeom>
                  <a:noFill/>
                  <a:ln w="6350" cap="flat">
                    <a:solidFill>
                      <a:schemeClr val="bg1">
                        <a:alpha val="40000"/>
                      </a:schemeClr>
                    </a:solidFill>
                    <a:prstDash val="solid"/>
                    <a:miter/>
                  </a:ln>
                </p:spPr>
                <p:txBody>
                  <a:bodyPr rtlCol="0" anchor="ctr"/>
                  <a:lstStyle/>
                  <a:p>
                    <a:endParaRPr lang="en-GB"/>
                  </a:p>
                </p:txBody>
              </p:sp>
              <p:sp>
                <p:nvSpPr>
                  <p:cNvPr id="7672" name="Vrije vorm: vorm 7671">
                    <a:extLst>
                      <a:ext uri="{FF2B5EF4-FFF2-40B4-BE49-F238E27FC236}">
                        <a16:creationId xmlns:a16="http://schemas.microsoft.com/office/drawing/2014/main" id="{75801F95-BC81-41ED-A8F1-12D41CBE8EF3}"/>
                      </a:ext>
                    </a:extLst>
                  </p:cNvPr>
                  <p:cNvSpPr/>
                  <p:nvPr/>
                </p:nvSpPr>
                <p:spPr>
                  <a:xfrm>
                    <a:off x="5807719" y="5164453"/>
                    <a:ext cx="10585" cy="75416"/>
                  </a:xfrm>
                  <a:custGeom>
                    <a:avLst/>
                    <a:gdLst>
                      <a:gd name="connsiteX0" fmla="*/ 10586 w 10585"/>
                      <a:gd name="connsiteY0" fmla="*/ 0 h 75416"/>
                      <a:gd name="connsiteX1" fmla="*/ 10526 w 10585"/>
                      <a:gd name="connsiteY1" fmla="*/ 299 h 75416"/>
                      <a:gd name="connsiteX2" fmla="*/ 9808 w 10585"/>
                      <a:gd name="connsiteY2" fmla="*/ 4067 h 75416"/>
                      <a:gd name="connsiteX3" fmla="*/ 9569 w 10585"/>
                      <a:gd name="connsiteY3" fmla="*/ 5263 h 75416"/>
                      <a:gd name="connsiteX4" fmla="*/ 8851 w 10585"/>
                      <a:gd name="connsiteY4" fmla="*/ 8792 h 75416"/>
                      <a:gd name="connsiteX5" fmla="*/ 8672 w 10585"/>
                      <a:gd name="connsiteY5" fmla="*/ 9749 h 75416"/>
                      <a:gd name="connsiteX6" fmla="*/ 8313 w 10585"/>
                      <a:gd name="connsiteY6" fmla="*/ 10765 h 75416"/>
                      <a:gd name="connsiteX7" fmla="*/ 7117 w 10585"/>
                      <a:gd name="connsiteY7" fmla="*/ 14414 h 75416"/>
                      <a:gd name="connsiteX8" fmla="*/ 5921 w 10585"/>
                      <a:gd name="connsiteY8" fmla="*/ 18122 h 75416"/>
                      <a:gd name="connsiteX9" fmla="*/ 5263 w 10585"/>
                      <a:gd name="connsiteY9" fmla="*/ 20215 h 75416"/>
                      <a:gd name="connsiteX10" fmla="*/ 3648 w 10585"/>
                      <a:gd name="connsiteY10" fmla="*/ 23803 h 75416"/>
                      <a:gd name="connsiteX11" fmla="*/ 2153 w 10585"/>
                      <a:gd name="connsiteY11" fmla="*/ 27152 h 75416"/>
                      <a:gd name="connsiteX12" fmla="*/ 598 w 10585"/>
                      <a:gd name="connsiteY12" fmla="*/ 30681 h 75416"/>
                      <a:gd name="connsiteX13" fmla="*/ 0 w 10585"/>
                      <a:gd name="connsiteY13" fmla="*/ 34090 h 75416"/>
                      <a:gd name="connsiteX14" fmla="*/ 419 w 10585"/>
                      <a:gd name="connsiteY14" fmla="*/ 37499 h 75416"/>
                      <a:gd name="connsiteX15" fmla="*/ 598 w 10585"/>
                      <a:gd name="connsiteY15" fmla="*/ 38994 h 75416"/>
                      <a:gd name="connsiteX16" fmla="*/ 1017 w 10585"/>
                      <a:gd name="connsiteY16" fmla="*/ 42403 h 75416"/>
                      <a:gd name="connsiteX17" fmla="*/ 1435 w 10585"/>
                      <a:gd name="connsiteY17" fmla="*/ 45813 h 75416"/>
                      <a:gd name="connsiteX18" fmla="*/ 1615 w 10585"/>
                      <a:gd name="connsiteY18" fmla="*/ 47248 h 75416"/>
                      <a:gd name="connsiteX19" fmla="*/ 2034 w 10585"/>
                      <a:gd name="connsiteY19" fmla="*/ 50657 h 75416"/>
                      <a:gd name="connsiteX20" fmla="*/ 2153 w 10585"/>
                      <a:gd name="connsiteY20" fmla="*/ 51434 h 75416"/>
                      <a:gd name="connsiteX21" fmla="*/ 2572 w 10585"/>
                      <a:gd name="connsiteY21" fmla="*/ 54843 h 75416"/>
                      <a:gd name="connsiteX22" fmla="*/ 2990 w 10585"/>
                      <a:gd name="connsiteY22" fmla="*/ 58252 h 75416"/>
                      <a:gd name="connsiteX23" fmla="*/ 3110 w 10585"/>
                      <a:gd name="connsiteY23" fmla="*/ 59508 h 75416"/>
                      <a:gd name="connsiteX24" fmla="*/ 3469 w 10585"/>
                      <a:gd name="connsiteY24" fmla="*/ 62738 h 75416"/>
                      <a:gd name="connsiteX25" fmla="*/ 3888 w 10585"/>
                      <a:gd name="connsiteY25" fmla="*/ 66147 h 75416"/>
                      <a:gd name="connsiteX26" fmla="*/ 4306 w 10585"/>
                      <a:gd name="connsiteY26" fmla="*/ 69556 h 75416"/>
                      <a:gd name="connsiteX27" fmla="*/ 4426 w 10585"/>
                      <a:gd name="connsiteY27" fmla="*/ 70572 h 75416"/>
                      <a:gd name="connsiteX28" fmla="*/ 4605 w 10585"/>
                      <a:gd name="connsiteY28" fmla="*/ 71171 h 75416"/>
                      <a:gd name="connsiteX29" fmla="*/ 4844 w 10585"/>
                      <a:gd name="connsiteY29" fmla="*/ 72008 h 75416"/>
                      <a:gd name="connsiteX30" fmla="*/ 4964 w 10585"/>
                      <a:gd name="connsiteY30" fmla="*/ 73563 h 75416"/>
                      <a:gd name="connsiteX31" fmla="*/ 5083 w 10585"/>
                      <a:gd name="connsiteY31" fmla="*/ 74580 h 75416"/>
                      <a:gd name="connsiteX32" fmla="*/ 5143 w 10585"/>
                      <a:gd name="connsiteY32" fmla="*/ 75417 h 75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585" h="75416">
                        <a:moveTo>
                          <a:pt x="10586" y="0"/>
                        </a:moveTo>
                        <a:lnTo>
                          <a:pt x="10526" y="299"/>
                        </a:lnTo>
                        <a:lnTo>
                          <a:pt x="9808" y="4067"/>
                        </a:lnTo>
                        <a:lnTo>
                          <a:pt x="9569" y="5263"/>
                        </a:lnTo>
                        <a:lnTo>
                          <a:pt x="8851" y="8792"/>
                        </a:lnTo>
                        <a:lnTo>
                          <a:pt x="8672" y="9749"/>
                        </a:lnTo>
                        <a:lnTo>
                          <a:pt x="8313" y="10765"/>
                        </a:lnTo>
                        <a:lnTo>
                          <a:pt x="7117" y="14414"/>
                        </a:lnTo>
                        <a:lnTo>
                          <a:pt x="5921" y="18122"/>
                        </a:lnTo>
                        <a:lnTo>
                          <a:pt x="5263" y="20215"/>
                        </a:lnTo>
                        <a:lnTo>
                          <a:pt x="3648" y="23803"/>
                        </a:lnTo>
                        <a:lnTo>
                          <a:pt x="2153" y="27152"/>
                        </a:lnTo>
                        <a:lnTo>
                          <a:pt x="598" y="30681"/>
                        </a:lnTo>
                        <a:lnTo>
                          <a:pt x="0" y="34090"/>
                        </a:lnTo>
                        <a:lnTo>
                          <a:pt x="419" y="37499"/>
                        </a:lnTo>
                        <a:lnTo>
                          <a:pt x="598" y="38994"/>
                        </a:lnTo>
                        <a:lnTo>
                          <a:pt x="1017" y="42403"/>
                        </a:lnTo>
                        <a:lnTo>
                          <a:pt x="1435" y="45813"/>
                        </a:lnTo>
                        <a:lnTo>
                          <a:pt x="1615" y="47248"/>
                        </a:lnTo>
                        <a:lnTo>
                          <a:pt x="2034" y="50657"/>
                        </a:lnTo>
                        <a:lnTo>
                          <a:pt x="2153" y="51434"/>
                        </a:lnTo>
                        <a:lnTo>
                          <a:pt x="2572" y="54843"/>
                        </a:lnTo>
                        <a:lnTo>
                          <a:pt x="2990" y="58252"/>
                        </a:lnTo>
                        <a:lnTo>
                          <a:pt x="3110" y="59508"/>
                        </a:lnTo>
                        <a:lnTo>
                          <a:pt x="3469" y="62738"/>
                        </a:lnTo>
                        <a:lnTo>
                          <a:pt x="3888" y="66147"/>
                        </a:lnTo>
                        <a:lnTo>
                          <a:pt x="4306" y="69556"/>
                        </a:lnTo>
                        <a:lnTo>
                          <a:pt x="4426" y="70572"/>
                        </a:lnTo>
                        <a:lnTo>
                          <a:pt x="4605" y="71171"/>
                        </a:lnTo>
                        <a:lnTo>
                          <a:pt x="4844" y="72008"/>
                        </a:lnTo>
                        <a:lnTo>
                          <a:pt x="4964" y="73563"/>
                        </a:lnTo>
                        <a:lnTo>
                          <a:pt x="5083" y="74580"/>
                        </a:lnTo>
                        <a:lnTo>
                          <a:pt x="5143" y="75417"/>
                        </a:lnTo>
                      </a:path>
                    </a:pathLst>
                  </a:custGeom>
                  <a:noFill/>
                  <a:ln w="6350" cap="flat">
                    <a:solidFill>
                      <a:schemeClr val="bg1">
                        <a:alpha val="40000"/>
                      </a:schemeClr>
                    </a:solidFill>
                    <a:prstDash val="solid"/>
                    <a:miter/>
                  </a:ln>
                </p:spPr>
                <p:txBody>
                  <a:bodyPr rtlCol="0" anchor="ctr"/>
                  <a:lstStyle/>
                  <a:p>
                    <a:endParaRPr lang="en-GB"/>
                  </a:p>
                </p:txBody>
              </p:sp>
              <p:sp>
                <p:nvSpPr>
                  <p:cNvPr id="7673" name="Vrije vorm: vorm 7672">
                    <a:extLst>
                      <a:ext uri="{FF2B5EF4-FFF2-40B4-BE49-F238E27FC236}">
                        <a16:creationId xmlns:a16="http://schemas.microsoft.com/office/drawing/2014/main" id="{35AE2640-D798-4113-B284-18CF0ED92610}"/>
                      </a:ext>
                    </a:extLst>
                  </p:cNvPr>
                  <p:cNvSpPr/>
                  <p:nvPr/>
                </p:nvSpPr>
                <p:spPr>
                  <a:xfrm>
                    <a:off x="5806404" y="5153986"/>
                    <a:ext cx="3229" cy="26853"/>
                  </a:xfrm>
                  <a:custGeom>
                    <a:avLst/>
                    <a:gdLst>
                      <a:gd name="connsiteX0" fmla="*/ 0 w 3229"/>
                      <a:gd name="connsiteY0" fmla="*/ 25478 h 26853"/>
                      <a:gd name="connsiteX1" fmla="*/ 1196 w 3229"/>
                      <a:gd name="connsiteY1" fmla="*/ 26016 h 26853"/>
                      <a:gd name="connsiteX2" fmla="*/ 1435 w 3229"/>
                      <a:gd name="connsiteY2" fmla="*/ 26136 h 26853"/>
                      <a:gd name="connsiteX3" fmla="*/ 2632 w 3229"/>
                      <a:gd name="connsiteY3" fmla="*/ 26614 h 26853"/>
                      <a:gd name="connsiteX4" fmla="*/ 3229 w 3229"/>
                      <a:gd name="connsiteY4" fmla="*/ 26853 h 26853"/>
                      <a:gd name="connsiteX5" fmla="*/ 3170 w 3229"/>
                      <a:gd name="connsiteY5" fmla="*/ 26196 h 26853"/>
                      <a:gd name="connsiteX6" fmla="*/ 2990 w 3229"/>
                      <a:gd name="connsiteY6" fmla="*/ 24401 h 26853"/>
                      <a:gd name="connsiteX7" fmla="*/ 2930 w 3229"/>
                      <a:gd name="connsiteY7" fmla="*/ 23744 h 26853"/>
                      <a:gd name="connsiteX8" fmla="*/ 2632 w 3229"/>
                      <a:gd name="connsiteY8" fmla="*/ 20275 h 26853"/>
                      <a:gd name="connsiteX9" fmla="*/ 2332 w 3229"/>
                      <a:gd name="connsiteY9" fmla="*/ 16806 h 26853"/>
                      <a:gd name="connsiteX10" fmla="*/ 2033 w 3229"/>
                      <a:gd name="connsiteY10" fmla="*/ 13337 h 26853"/>
                      <a:gd name="connsiteX11" fmla="*/ 1914 w 3229"/>
                      <a:gd name="connsiteY11" fmla="*/ 12081 h 26853"/>
                      <a:gd name="connsiteX12" fmla="*/ 1674 w 3229"/>
                      <a:gd name="connsiteY12" fmla="*/ 9330 h 26853"/>
                      <a:gd name="connsiteX13" fmla="*/ 1435 w 3229"/>
                      <a:gd name="connsiteY13" fmla="*/ 6280 h 26853"/>
                      <a:gd name="connsiteX14" fmla="*/ 1136 w 3229"/>
                      <a:gd name="connsiteY14" fmla="*/ 2811 h 26853"/>
                      <a:gd name="connsiteX15" fmla="*/ 1076 w 3229"/>
                      <a:gd name="connsiteY15" fmla="*/ 2452 h 26853"/>
                      <a:gd name="connsiteX16" fmla="*/ 1017 w 3229"/>
                      <a:gd name="connsiteY16" fmla="*/ 2093 h 26853"/>
                      <a:gd name="connsiteX17" fmla="*/ 837 w 3229"/>
                      <a:gd name="connsiteY17" fmla="*/ 0 h 2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9" h="26853">
                        <a:moveTo>
                          <a:pt x="0" y="25478"/>
                        </a:moveTo>
                        <a:lnTo>
                          <a:pt x="1196" y="26016"/>
                        </a:lnTo>
                        <a:lnTo>
                          <a:pt x="1435" y="26136"/>
                        </a:lnTo>
                        <a:lnTo>
                          <a:pt x="2632" y="26614"/>
                        </a:lnTo>
                        <a:lnTo>
                          <a:pt x="3229" y="26853"/>
                        </a:lnTo>
                        <a:lnTo>
                          <a:pt x="3170" y="26196"/>
                        </a:lnTo>
                        <a:lnTo>
                          <a:pt x="2990" y="24401"/>
                        </a:lnTo>
                        <a:lnTo>
                          <a:pt x="2930" y="23744"/>
                        </a:lnTo>
                        <a:lnTo>
                          <a:pt x="2632" y="20275"/>
                        </a:lnTo>
                        <a:lnTo>
                          <a:pt x="2332" y="16806"/>
                        </a:lnTo>
                        <a:lnTo>
                          <a:pt x="2033" y="13337"/>
                        </a:lnTo>
                        <a:lnTo>
                          <a:pt x="1914" y="12081"/>
                        </a:lnTo>
                        <a:lnTo>
                          <a:pt x="1674" y="9330"/>
                        </a:lnTo>
                        <a:lnTo>
                          <a:pt x="1435" y="6280"/>
                        </a:lnTo>
                        <a:lnTo>
                          <a:pt x="1136" y="2811"/>
                        </a:lnTo>
                        <a:lnTo>
                          <a:pt x="1076" y="2452"/>
                        </a:lnTo>
                        <a:lnTo>
                          <a:pt x="1017" y="2093"/>
                        </a:lnTo>
                        <a:lnTo>
                          <a:pt x="837" y="0"/>
                        </a:lnTo>
                      </a:path>
                    </a:pathLst>
                  </a:custGeom>
                  <a:noFill/>
                  <a:ln w="6350" cap="flat">
                    <a:solidFill>
                      <a:schemeClr val="bg1">
                        <a:alpha val="40000"/>
                      </a:schemeClr>
                    </a:solidFill>
                    <a:prstDash val="solid"/>
                    <a:miter/>
                  </a:ln>
                </p:spPr>
                <p:txBody>
                  <a:bodyPr rtlCol="0" anchor="ctr"/>
                  <a:lstStyle/>
                  <a:p>
                    <a:endParaRPr lang="en-GB"/>
                  </a:p>
                </p:txBody>
              </p:sp>
              <p:sp>
                <p:nvSpPr>
                  <p:cNvPr id="7674" name="Vrije vorm: vorm 7673">
                    <a:extLst>
                      <a:ext uri="{FF2B5EF4-FFF2-40B4-BE49-F238E27FC236}">
                        <a16:creationId xmlns:a16="http://schemas.microsoft.com/office/drawing/2014/main" id="{1B730F4F-C382-4588-A1A6-8D35BD07C96B}"/>
                      </a:ext>
                    </a:extLst>
                  </p:cNvPr>
                  <p:cNvSpPr/>
                  <p:nvPr/>
                </p:nvSpPr>
                <p:spPr>
                  <a:xfrm>
                    <a:off x="5771297" y="5180900"/>
                    <a:ext cx="38336" cy="36183"/>
                  </a:xfrm>
                  <a:custGeom>
                    <a:avLst/>
                    <a:gdLst>
                      <a:gd name="connsiteX0" fmla="*/ 0 w 38336"/>
                      <a:gd name="connsiteY0" fmla="*/ 25598 h 36183"/>
                      <a:gd name="connsiteX1" fmla="*/ 0 w 38336"/>
                      <a:gd name="connsiteY1" fmla="*/ 26614 h 36183"/>
                      <a:gd name="connsiteX2" fmla="*/ 0 w 38336"/>
                      <a:gd name="connsiteY2" fmla="*/ 26734 h 36183"/>
                      <a:gd name="connsiteX3" fmla="*/ 0 w 38336"/>
                      <a:gd name="connsiteY3" fmla="*/ 26853 h 36183"/>
                      <a:gd name="connsiteX4" fmla="*/ 1615 w 38336"/>
                      <a:gd name="connsiteY4" fmla="*/ 27631 h 36183"/>
                      <a:gd name="connsiteX5" fmla="*/ 1674 w 38336"/>
                      <a:gd name="connsiteY5" fmla="*/ 27691 h 36183"/>
                      <a:gd name="connsiteX6" fmla="*/ 2213 w 38336"/>
                      <a:gd name="connsiteY6" fmla="*/ 27930 h 36183"/>
                      <a:gd name="connsiteX7" fmla="*/ 2213 w 38336"/>
                      <a:gd name="connsiteY7" fmla="*/ 27990 h 36183"/>
                      <a:gd name="connsiteX8" fmla="*/ 3170 w 38336"/>
                      <a:gd name="connsiteY8" fmla="*/ 31100 h 36183"/>
                      <a:gd name="connsiteX9" fmla="*/ 3229 w 38336"/>
                      <a:gd name="connsiteY9" fmla="*/ 31339 h 36183"/>
                      <a:gd name="connsiteX10" fmla="*/ 3349 w 38336"/>
                      <a:gd name="connsiteY10" fmla="*/ 31698 h 36183"/>
                      <a:gd name="connsiteX11" fmla="*/ 3349 w 38336"/>
                      <a:gd name="connsiteY11" fmla="*/ 31698 h 36183"/>
                      <a:gd name="connsiteX12" fmla="*/ 3648 w 38336"/>
                      <a:gd name="connsiteY12" fmla="*/ 32774 h 36183"/>
                      <a:gd name="connsiteX13" fmla="*/ 5622 w 38336"/>
                      <a:gd name="connsiteY13" fmla="*/ 34808 h 36183"/>
                      <a:gd name="connsiteX14" fmla="*/ 6340 w 38336"/>
                      <a:gd name="connsiteY14" fmla="*/ 35526 h 36183"/>
                      <a:gd name="connsiteX15" fmla="*/ 7954 w 38336"/>
                      <a:gd name="connsiteY15" fmla="*/ 35824 h 36183"/>
                      <a:gd name="connsiteX16" fmla="*/ 10048 w 38336"/>
                      <a:gd name="connsiteY16" fmla="*/ 36183 h 36183"/>
                      <a:gd name="connsiteX17" fmla="*/ 10645 w 38336"/>
                      <a:gd name="connsiteY17" fmla="*/ 36004 h 36183"/>
                      <a:gd name="connsiteX18" fmla="*/ 12918 w 38336"/>
                      <a:gd name="connsiteY18" fmla="*/ 35227 h 36183"/>
                      <a:gd name="connsiteX19" fmla="*/ 14473 w 38336"/>
                      <a:gd name="connsiteY19" fmla="*/ 34688 h 36183"/>
                      <a:gd name="connsiteX20" fmla="*/ 14772 w 38336"/>
                      <a:gd name="connsiteY20" fmla="*/ 34509 h 36183"/>
                      <a:gd name="connsiteX21" fmla="*/ 15311 w 38336"/>
                      <a:gd name="connsiteY21" fmla="*/ 34090 h 36183"/>
                      <a:gd name="connsiteX22" fmla="*/ 15550 w 38336"/>
                      <a:gd name="connsiteY22" fmla="*/ 33911 h 36183"/>
                      <a:gd name="connsiteX23" fmla="*/ 18480 w 38336"/>
                      <a:gd name="connsiteY23" fmla="*/ 31817 h 36183"/>
                      <a:gd name="connsiteX24" fmla="*/ 19318 w 38336"/>
                      <a:gd name="connsiteY24" fmla="*/ 31220 h 36183"/>
                      <a:gd name="connsiteX25" fmla="*/ 21949 w 38336"/>
                      <a:gd name="connsiteY25" fmla="*/ 28468 h 36183"/>
                      <a:gd name="connsiteX26" fmla="*/ 23265 w 38336"/>
                      <a:gd name="connsiteY26" fmla="*/ 27093 h 36183"/>
                      <a:gd name="connsiteX27" fmla="*/ 24341 w 38336"/>
                      <a:gd name="connsiteY27" fmla="*/ 26016 h 36183"/>
                      <a:gd name="connsiteX28" fmla="*/ 24940 w 38336"/>
                      <a:gd name="connsiteY28" fmla="*/ 25239 h 36183"/>
                      <a:gd name="connsiteX29" fmla="*/ 25119 w 38336"/>
                      <a:gd name="connsiteY29" fmla="*/ 24940 h 36183"/>
                      <a:gd name="connsiteX30" fmla="*/ 25597 w 38336"/>
                      <a:gd name="connsiteY30" fmla="*/ 24282 h 36183"/>
                      <a:gd name="connsiteX31" fmla="*/ 27930 w 38336"/>
                      <a:gd name="connsiteY31" fmla="*/ 21112 h 36183"/>
                      <a:gd name="connsiteX32" fmla="*/ 29186 w 38336"/>
                      <a:gd name="connsiteY32" fmla="*/ 19437 h 36183"/>
                      <a:gd name="connsiteX33" fmla="*/ 29365 w 38336"/>
                      <a:gd name="connsiteY33" fmla="*/ 19138 h 36183"/>
                      <a:gd name="connsiteX34" fmla="*/ 31339 w 38336"/>
                      <a:gd name="connsiteY34" fmla="*/ 15729 h 36183"/>
                      <a:gd name="connsiteX35" fmla="*/ 33312 w 38336"/>
                      <a:gd name="connsiteY35" fmla="*/ 12320 h 36183"/>
                      <a:gd name="connsiteX36" fmla="*/ 33492 w 38336"/>
                      <a:gd name="connsiteY36" fmla="*/ 11961 h 36183"/>
                      <a:gd name="connsiteX37" fmla="*/ 35107 w 38336"/>
                      <a:gd name="connsiteY37" fmla="*/ 8373 h 36183"/>
                      <a:gd name="connsiteX38" fmla="*/ 36721 w 38336"/>
                      <a:gd name="connsiteY38" fmla="*/ 4785 h 36183"/>
                      <a:gd name="connsiteX39" fmla="*/ 37080 w 38336"/>
                      <a:gd name="connsiteY39" fmla="*/ 4007 h 36183"/>
                      <a:gd name="connsiteX40" fmla="*/ 38276 w 38336"/>
                      <a:gd name="connsiteY40" fmla="*/ 299 h 36183"/>
                      <a:gd name="connsiteX41" fmla="*/ 38336 w 38336"/>
                      <a:gd name="connsiteY41" fmla="*/ 0 h 3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8336" h="36183">
                        <a:moveTo>
                          <a:pt x="0" y="25598"/>
                        </a:moveTo>
                        <a:lnTo>
                          <a:pt x="0" y="26614"/>
                        </a:lnTo>
                        <a:lnTo>
                          <a:pt x="0" y="26734"/>
                        </a:lnTo>
                        <a:lnTo>
                          <a:pt x="0" y="26853"/>
                        </a:lnTo>
                        <a:lnTo>
                          <a:pt x="1615" y="27631"/>
                        </a:lnTo>
                        <a:lnTo>
                          <a:pt x="1674" y="27691"/>
                        </a:lnTo>
                        <a:lnTo>
                          <a:pt x="2213" y="27930"/>
                        </a:lnTo>
                        <a:lnTo>
                          <a:pt x="2213" y="27990"/>
                        </a:lnTo>
                        <a:lnTo>
                          <a:pt x="3170" y="31100"/>
                        </a:lnTo>
                        <a:lnTo>
                          <a:pt x="3229" y="31339"/>
                        </a:lnTo>
                        <a:lnTo>
                          <a:pt x="3349" y="31698"/>
                        </a:lnTo>
                        <a:lnTo>
                          <a:pt x="3349" y="31698"/>
                        </a:lnTo>
                        <a:lnTo>
                          <a:pt x="3648" y="32774"/>
                        </a:lnTo>
                        <a:lnTo>
                          <a:pt x="5622" y="34808"/>
                        </a:lnTo>
                        <a:lnTo>
                          <a:pt x="6340" y="35526"/>
                        </a:lnTo>
                        <a:lnTo>
                          <a:pt x="7954" y="35824"/>
                        </a:lnTo>
                        <a:lnTo>
                          <a:pt x="10048" y="36183"/>
                        </a:lnTo>
                        <a:lnTo>
                          <a:pt x="10645" y="36004"/>
                        </a:lnTo>
                        <a:lnTo>
                          <a:pt x="12918" y="35227"/>
                        </a:lnTo>
                        <a:lnTo>
                          <a:pt x="14473" y="34688"/>
                        </a:lnTo>
                        <a:lnTo>
                          <a:pt x="14772" y="34509"/>
                        </a:lnTo>
                        <a:lnTo>
                          <a:pt x="15311" y="34090"/>
                        </a:lnTo>
                        <a:lnTo>
                          <a:pt x="15550" y="33911"/>
                        </a:lnTo>
                        <a:lnTo>
                          <a:pt x="18480" y="31817"/>
                        </a:lnTo>
                        <a:lnTo>
                          <a:pt x="19318" y="31220"/>
                        </a:lnTo>
                        <a:lnTo>
                          <a:pt x="21949" y="28468"/>
                        </a:lnTo>
                        <a:lnTo>
                          <a:pt x="23265" y="27093"/>
                        </a:lnTo>
                        <a:lnTo>
                          <a:pt x="24341" y="26016"/>
                        </a:lnTo>
                        <a:lnTo>
                          <a:pt x="24940" y="25239"/>
                        </a:lnTo>
                        <a:lnTo>
                          <a:pt x="25119" y="24940"/>
                        </a:lnTo>
                        <a:lnTo>
                          <a:pt x="25597" y="24282"/>
                        </a:lnTo>
                        <a:lnTo>
                          <a:pt x="27930" y="21112"/>
                        </a:lnTo>
                        <a:lnTo>
                          <a:pt x="29186" y="19437"/>
                        </a:lnTo>
                        <a:lnTo>
                          <a:pt x="29365" y="19138"/>
                        </a:lnTo>
                        <a:lnTo>
                          <a:pt x="31339" y="15729"/>
                        </a:lnTo>
                        <a:lnTo>
                          <a:pt x="33312" y="12320"/>
                        </a:lnTo>
                        <a:lnTo>
                          <a:pt x="33492" y="11961"/>
                        </a:lnTo>
                        <a:lnTo>
                          <a:pt x="35107" y="8373"/>
                        </a:lnTo>
                        <a:lnTo>
                          <a:pt x="36721" y="4785"/>
                        </a:lnTo>
                        <a:lnTo>
                          <a:pt x="37080" y="4007"/>
                        </a:lnTo>
                        <a:lnTo>
                          <a:pt x="38276" y="299"/>
                        </a:lnTo>
                        <a:lnTo>
                          <a:pt x="38336" y="0"/>
                        </a:lnTo>
                      </a:path>
                    </a:pathLst>
                  </a:custGeom>
                  <a:noFill/>
                  <a:ln w="6350" cap="flat">
                    <a:solidFill>
                      <a:schemeClr val="bg1">
                        <a:alpha val="40000"/>
                      </a:schemeClr>
                    </a:solidFill>
                    <a:prstDash val="solid"/>
                    <a:miter/>
                  </a:ln>
                </p:spPr>
                <p:txBody>
                  <a:bodyPr rtlCol="0" anchor="ctr"/>
                  <a:lstStyle/>
                  <a:p>
                    <a:endParaRPr lang="en-GB"/>
                  </a:p>
                </p:txBody>
              </p:sp>
              <p:sp>
                <p:nvSpPr>
                  <p:cNvPr id="7675" name="Vrije vorm: vorm 7674">
                    <a:extLst>
                      <a:ext uri="{FF2B5EF4-FFF2-40B4-BE49-F238E27FC236}">
                        <a16:creationId xmlns:a16="http://schemas.microsoft.com/office/drawing/2014/main" id="{C0544728-F3D2-40AB-8505-AEA773CC2EAB}"/>
                      </a:ext>
                    </a:extLst>
                  </p:cNvPr>
                  <p:cNvSpPr/>
                  <p:nvPr/>
                </p:nvSpPr>
                <p:spPr>
                  <a:xfrm>
                    <a:off x="5764778" y="5208830"/>
                    <a:ext cx="8791" cy="7715"/>
                  </a:xfrm>
                  <a:custGeom>
                    <a:avLst/>
                    <a:gdLst>
                      <a:gd name="connsiteX0" fmla="*/ 0 w 8791"/>
                      <a:gd name="connsiteY0" fmla="*/ 6579 h 7715"/>
                      <a:gd name="connsiteX1" fmla="*/ 2273 w 8791"/>
                      <a:gd name="connsiteY1" fmla="*/ 7715 h 7715"/>
                      <a:gd name="connsiteX2" fmla="*/ 4785 w 8791"/>
                      <a:gd name="connsiteY2" fmla="*/ 4785 h 7715"/>
                      <a:gd name="connsiteX3" fmla="*/ 5502 w 8791"/>
                      <a:gd name="connsiteY3" fmla="*/ 3888 h 7715"/>
                      <a:gd name="connsiteX4" fmla="*/ 6997 w 8791"/>
                      <a:gd name="connsiteY4" fmla="*/ 2153 h 7715"/>
                      <a:gd name="connsiteX5" fmla="*/ 8134 w 8791"/>
                      <a:gd name="connsiteY5" fmla="*/ 778 h 7715"/>
                      <a:gd name="connsiteX6" fmla="*/ 8791 w 8791"/>
                      <a:gd name="connsiteY6" fmla="*/ 0 h 7715"/>
                      <a:gd name="connsiteX7" fmla="*/ 8791 w 8791"/>
                      <a:gd name="connsiteY7" fmla="*/ 0 h 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7715">
                        <a:moveTo>
                          <a:pt x="0" y="6579"/>
                        </a:moveTo>
                        <a:lnTo>
                          <a:pt x="2273" y="7715"/>
                        </a:lnTo>
                        <a:lnTo>
                          <a:pt x="4785" y="4785"/>
                        </a:lnTo>
                        <a:lnTo>
                          <a:pt x="5502" y="3888"/>
                        </a:lnTo>
                        <a:lnTo>
                          <a:pt x="6997" y="2153"/>
                        </a:lnTo>
                        <a:lnTo>
                          <a:pt x="8134" y="778"/>
                        </a:lnTo>
                        <a:lnTo>
                          <a:pt x="8791" y="0"/>
                        </a:lnTo>
                        <a:lnTo>
                          <a:pt x="8791" y="0"/>
                        </a:lnTo>
                      </a:path>
                    </a:pathLst>
                  </a:custGeom>
                  <a:noFill/>
                  <a:ln w="6350" cap="flat">
                    <a:solidFill>
                      <a:schemeClr val="bg1">
                        <a:alpha val="40000"/>
                      </a:schemeClr>
                    </a:solidFill>
                    <a:prstDash val="solid"/>
                    <a:miter/>
                  </a:ln>
                </p:spPr>
                <p:txBody>
                  <a:bodyPr rtlCol="0" anchor="ctr"/>
                  <a:lstStyle/>
                  <a:p>
                    <a:endParaRPr lang="en-GB"/>
                  </a:p>
                </p:txBody>
              </p:sp>
              <p:sp>
                <p:nvSpPr>
                  <p:cNvPr id="7676" name="Vrije vorm: vorm 7675">
                    <a:extLst>
                      <a:ext uri="{FF2B5EF4-FFF2-40B4-BE49-F238E27FC236}">
                        <a16:creationId xmlns:a16="http://schemas.microsoft.com/office/drawing/2014/main" id="{5635715B-8682-42CB-BBF7-70E2382DD2C1}"/>
                      </a:ext>
                    </a:extLst>
                  </p:cNvPr>
                  <p:cNvSpPr/>
                  <p:nvPr/>
                </p:nvSpPr>
                <p:spPr>
                  <a:xfrm>
                    <a:off x="5788401" y="5153329"/>
                    <a:ext cx="18958" cy="9389"/>
                  </a:xfrm>
                  <a:custGeom>
                    <a:avLst/>
                    <a:gdLst>
                      <a:gd name="connsiteX0" fmla="*/ 18959 w 18958"/>
                      <a:gd name="connsiteY0" fmla="*/ 598 h 9389"/>
                      <a:gd name="connsiteX1" fmla="*/ 17225 w 18958"/>
                      <a:gd name="connsiteY1" fmla="*/ 0 h 9389"/>
                      <a:gd name="connsiteX2" fmla="*/ 15131 w 18958"/>
                      <a:gd name="connsiteY2" fmla="*/ 479 h 9389"/>
                      <a:gd name="connsiteX3" fmla="*/ 13038 w 18958"/>
                      <a:gd name="connsiteY3" fmla="*/ 957 h 9389"/>
                      <a:gd name="connsiteX4" fmla="*/ 12799 w 18958"/>
                      <a:gd name="connsiteY4" fmla="*/ 1017 h 9389"/>
                      <a:gd name="connsiteX5" fmla="*/ 12260 w 18958"/>
                      <a:gd name="connsiteY5" fmla="*/ 1316 h 9389"/>
                      <a:gd name="connsiteX6" fmla="*/ 11363 w 18958"/>
                      <a:gd name="connsiteY6" fmla="*/ 1854 h 9389"/>
                      <a:gd name="connsiteX7" fmla="*/ 8373 w 18958"/>
                      <a:gd name="connsiteY7" fmla="*/ 3768 h 9389"/>
                      <a:gd name="connsiteX8" fmla="*/ 8313 w 18958"/>
                      <a:gd name="connsiteY8" fmla="*/ 3828 h 9389"/>
                      <a:gd name="connsiteX9" fmla="*/ 8194 w 18958"/>
                      <a:gd name="connsiteY9" fmla="*/ 3887 h 9389"/>
                      <a:gd name="connsiteX10" fmla="*/ 7715 w 18958"/>
                      <a:gd name="connsiteY10" fmla="*/ 4187 h 9389"/>
                      <a:gd name="connsiteX11" fmla="*/ 5861 w 18958"/>
                      <a:gd name="connsiteY11" fmla="*/ 6041 h 9389"/>
                      <a:gd name="connsiteX12" fmla="*/ 5801 w 18958"/>
                      <a:gd name="connsiteY12" fmla="*/ 6100 h 9389"/>
                      <a:gd name="connsiteX13" fmla="*/ 4964 w 18958"/>
                      <a:gd name="connsiteY13" fmla="*/ 6937 h 9389"/>
                      <a:gd name="connsiteX14" fmla="*/ 4007 w 18958"/>
                      <a:gd name="connsiteY14" fmla="*/ 7895 h 9389"/>
                      <a:gd name="connsiteX15" fmla="*/ 3409 w 18958"/>
                      <a:gd name="connsiteY15" fmla="*/ 8493 h 9389"/>
                      <a:gd name="connsiteX16" fmla="*/ 2512 w 18958"/>
                      <a:gd name="connsiteY16" fmla="*/ 9390 h 9389"/>
                      <a:gd name="connsiteX17" fmla="*/ 1615 w 18958"/>
                      <a:gd name="connsiteY17" fmla="*/ 9031 h 9389"/>
                      <a:gd name="connsiteX18" fmla="*/ 1555 w 18958"/>
                      <a:gd name="connsiteY18" fmla="*/ 8971 h 9389"/>
                      <a:gd name="connsiteX19" fmla="*/ 179 w 18958"/>
                      <a:gd name="connsiteY19" fmla="*/ 8433 h 9389"/>
                      <a:gd name="connsiteX20" fmla="*/ 0 w 18958"/>
                      <a:gd name="connsiteY20" fmla="*/ 8672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958" h="9389">
                        <a:moveTo>
                          <a:pt x="18959" y="598"/>
                        </a:moveTo>
                        <a:lnTo>
                          <a:pt x="17225" y="0"/>
                        </a:lnTo>
                        <a:lnTo>
                          <a:pt x="15131" y="479"/>
                        </a:lnTo>
                        <a:lnTo>
                          <a:pt x="13038" y="957"/>
                        </a:lnTo>
                        <a:lnTo>
                          <a:pt x="12799" y="1017"/>
                        </a:lnTo>
                        <a:lnTo>
                          <a:pt x="12260" y="1316"/>
                        </a:lnTo>
                        <a:lnTo>
                          <a:pt x="11363" y="1854"/>
                        </a:lnTo>
                        <a:lnTo>
                          <a:pt x="8373" y="3768"/>
                        </a:lnTo>
                        <a:lnTo>
                          <a:pt x="8313" y="3828"/>
                        </a:lnTo>
                        <a:lnTo>
                          <a:pt x="8194" y="3887"/>
                        </a:lnTo>
                        <a:lnTo>
                          <a:pt x="7715" y="4187"/>
                        </a:lnTo>
                        <a:lnTo>
                          <a:pt x="5861" y="6041"/>
                        </a:lnTo>
                        <a:lnTo>
                          <a:pt x="5801" y="6100"/>
                        </a:lnTo>
                        <a:lnTo>
                          <a:pt x="4964" y="6937"/>
                        </a:lnTo>
                        <a:lnTo>
                          <a:pt x="4007" y="7895"/>
                        </a:lnTo>
                        <a:lnTo>
                          <a:pt x="3409" y="8493"/>
                        </a:lnTo>
                        <a:lnTo>
                          <a:pt x="2512" y="9390"/>
                        </a:lnTo>
                        <a:lnTo>
                          <a:pt x="1615" y="9031"/>
                        </a:lnTo>
                        <a:lnTo>
                          <a:pt x="1555" y="8971"/>
                        </a:lnTo>
                        <a:lnTo>
                          <a:pt x="179" y="8433"/>
                        </a:lnTo>
                        <a:lnTo>
                          <a:pt x="0" y="8672"/>
                        </a:lnTo>
                      </a:path>
                    </a:pathLst>
                  </a:custGeom>
                  <a:noFill/>
                  <a:ln w="6350" cap="flat">
                    <a:solidFill>
                      <a:schemeClr val="bg1">
                        <a:alpha val="40000"/>
                      </a:schemeClr>
                    </a:solidFill>
                    <a:prstDash val="solid"/>
                    <a:miter/>
                  </a:ln>
                </p:spPr>
                <p:txBody>
                  <a:bodyPr rtlCol="0" anchor="ctr"/>
                  <a:lstStyle/>
                  <a:p>
                    <a:endParaRPr lang="en-GB"/>
                  </a:p>
                </p:txBody>
              </p:sp>
              <p:sp>
                <p:nvSpPr>
                  <p:cNvPr id="7677" name="Vrije vorm: vorm 7676">
                    <a:extLst>
                      <a:ext uri="{FF2B5EF4-FFF2-40B4-BE49-F238E27FC236}">
                        <a16:creationId xmlns:a16="http://schemas.microsoft.com/office/drawing/2014/main" id="{DCD94FA3-CD1A-458A-BDBD-09D862B4085D}"/>
                      </a:ext>
                    </a:extLst>
                  </p:cNvPr>
                  <p:cNvSpPr/>
                  <p:nvPr/>
                </p:nvSpPr>
                <p:spPr>
                  <a:xfrm>
                    <a:off x="5819202" y="5317679"/>
                    <a:ext cx="8672" cy="9928"/>
                  </a:xfrm>
                  <a:custGeom>
                    <a:avLst/>
                    <a:gdLst>
                      <a:gd name="connsiteX0" fmla="*/ 8672 w 8672"/>
                      <a:gd name="connsiteY0" fmla="*/ 9569 h 9928"/>
                      <a:gd name="connsiteX1" fmla="*/ 5682 w 8672"/>
                      <a:gd name="connsiteY1" fmla="*/ 9868 h 9928"/>
                      <a:gd name="connsiteX2" fmla="*/ 5323 w 8672"/>
                      <a:gd name="connsiteY2" fmla="*/ 9928 h 9928"/>
                      <a:gd name="connsiteX3" fmla="*/ 2512 w 8672"/>
                      <a:gd name="connsiteY3" fmla="*/ 9510 h 9928"/>
                      <a:gd name="connsiteX4" fmla="*/ 0 w 8672"/>
                      <a:gd name="connsiteY4" fmla="*/ 9151 h 9928"/>
                      <a:gd name="connsiteX5" fmla="*/ 239 w 8672"/>
                      <a:gd name="connsiteY5" fmla="*/ 5502 h 9928"/>
                      <a:gd name="connsiteX6" fmla="*/ 299 w 8672"/>
                      <a:gd name="connsiteY6" fmla="*/ 4486 h 9928"/>
                      <a:gd name="connsiteX7" fmla="*/ 479 w 8672"/>
                      <a:gd name="connsiteY7" fmla="*/ 1914 h 9928"/>
                      <a:gd name="connsiteX8" fmla="*/ 299 w 8672"/>
                      <a:gd name="connsiteY8" fmla="*/ 0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2" h="9928">
                        <a:moveTo>
                          <a:pt x="8672" y="9569"/>
                        </a:moveTo>
                        <a:lnTo>
                          <a:pt x="5682" y="9868"/>
                        </a:lnTo>
                        <a:lnTo>
                          <a:pt x="5323" y="9928"/>
                        </a:lnTo>
                        <a:lnTo>
                          <a:pt x="2512" y="9510"/>
                        </a:lnTo>
                        <a:lnTo>
                          <a:pt x="0" y="9151"/>
                        </a:lnTo>
                        <a:lnTo>
                          <a:pt x="239" y="5502"/>
                        </a:lnTo>
                        <a:lnTo>
                          <a:pt x="299" y="4486"/>
                        </a:lnTo>
                        <a:lnTo>
                          <a:pt x="479" y="1914"/>
                        </a:lnTo>
                        <a:lnTo>
                          <a:pt x="299" y="0"/>
                        </a:lnTo>
                      </a:path>
                    </a:pathLst>
                  </a:custGeom>
                  <a:noFill/>
                  <a:ln w="6350" cap="flat">
                    <a:solidFill>
                      <a:schemeClr val="bg1">
                        <a:alpha val="40000"/>
                      </a:schemeClr>
                    </a:solidFill>
                    <a:prstDash val="solid"/>
                    <a:miter/>
                  </a:ln>
                </p:spPr>
                <p:txBody>
                  <a:bodyPr rtlCol="0" anchor="ctr"/>
                  <a:lstStyle/>
                  <a:p>
                    <a:endParaRPr lang="en-GB"/>
                  </a:p>
                </p:txBody>
              </p:sp>
              <p:sp>
                <p:nvSpPr>
                  <p:cNvPr id="7678" name="Vrije vorm: vorm 7677">
                    <a:extLst>
                      <a:ext uri="{FF2B5EF4-FFF2-40B4-BE49-F238E27FC236}">
                        <a16:creationId xmlns:a16="http://schemas.microsoft.com/office/drawing/2014/main" id="{C7081819-F609-41E9-BBFA-4D111EB9B440}"/>
                      </a:ext>
                    </a:extLst>
                  </p:cNvPr>
                  <p:cNvSpPr/>
                  <p:nvPr/>
                </p:nvSpPr>
                <p:spPr>
                  <a:xfrm>
                    <a:off x="5735472" y="5247824"/>
                    <a:ext cx="33910" cy="91504"/>
                  </a:xfrm>
                  <a:custGeom>
                    <a:avLst/>
                    <a:gdLst>
                      <a:gd name="connsiteX0" fmla="*/ 33911 w 33910"/>
                      <a:gd name="connsiteY0" fmla="*/ 91505 h 91504"/>
                      <a:gd name="connsiteX1" fmla="*/ 32176 w 33910"/>
                      <a:gd name="connsiteY1" fmla="*/ 90369 h 91504"/>
                      <a:gd name="connsiteX2" fmla="*/ 32057 w 33910"/>
                      <a:gd name="connsiteY2" fmla="*/ 90249 h 91504"/>
                      <a:gd name="connsiteX3" fmla="*/ 31997 w 33910"/>
                      <a:gd name="connsiteY3" fmla="*/ 90189 h 91504"/>
                      <a:gd name="connsiteX4" fmla="*/ 31817 w 33910"/>
                      <a:gd name="connsiteY4" fmla="*/ 90070 h 91504"/>
                      <a:gd name="connsiteX5" fmla="*/ 29485 w 33910"/>
                      <a:gd name="connsiteY5" fmla="*/ 88515 h 91504"/>
                      <a:gd name="connsiteX6" fmla="*/ 29186 w 33910"/>
                      <a:gd name="connsiteY6" fmla="*/ 88335 h 91504"/>
                      <a:gd name="connsiteX7" fmla="*/ 29007 w 33910"/>
                      <a:gd name="connsiteY7" fmla="*/ 88216 h 91504"/>
                      <a:gd name="connsiteX8" fmla="*/ 28827 w 33910"/>
                      <a:gd name="connsiteY8" fmla="*/ 88096 h 91504"/>
                      <a:gd name="connsiteX9" fmla="*/ 28708 w 33910"/>
                      <a:gd name="connsiteY9" fmla="*/ 87917 h 91504"/>
                      <a:gd name="connsiteX10" fmla="*/ 28588 w 33910"/>
                      <a:gd name="connsiteY10" fmla="*/ 87737 h 91504"/>
                      <a:gd name="connsiteX11" fmla="*/ 28468 w 33910"/>
                      <a:gd name="connsiteY11" fmla="*/ 87558 h 91504"/>
                      <a:gd name="connsiteX12" fmla="*/ 28349 w 33910"/>
                      <a:gd name="connsiteY12" fmla="*/ 87318 h 91504"/>
                      <a:gd name="connsiteX13" fmla="*/ 28229 w 33910"/>
                      <a:gd name="connsiteY13" fmla="*/ 87079 h 91504"/>
                      <a:gd name="connsiteX14" fmla="*/ 28169 w 33910"/>
                      <a:gd name="connsiteY14" fmla="*/ 86840 h 91504"/>
                      <a:gd name="connsiteX15" fmla="*/ 28109 w 33910"/>
                      <a:gd name="connsiteY15" fmla="*/ 86541 h 91504"/>
                      <a:gd name="connsiteX16" fmla="*/ 28050 w 33910"/>
                      <a:gd name="connsiteY16" fmla="*/ 86242 h 91504"/>
                      <a:gd name="connsiteX17" fmla="*/ 27452 w 33910"/>
                      <a:gd name="connsiteY17" fmla="*/ 82953 h 91504"/>
                      <a:gd name="connsiteX18" fmla="*/ 26854 w 33910"/>
                      <a:gd name="connsiteY18" fmla="*/ 79663 h 91504"/>
                      <a:gd name="connsiteX19" fmla="*/ 26315 w 33910"/>
                      <a:gd name="connsiteY19" fmla="*/ 76793 h 91504"/>
                      <a:gd name="connsiteX20" fmla="*/ 26315 w 33910"/>
                      <a:gd name="connsiteY20" fmla="*/ 76793 h 91504"/>
                      <a:gd name="connsiteX21" fmla="*/ 26255 w 33910"/>
                      <a:gd name="connsiteY21" fmla="*/ 76613 h 91504"/>
                      <a:gd name="connsiteX22" fmla="*/ 26136 w 33910"/>
                      <a:gd name="connsiteY22" fmla="*/ 76134 h 91504"/>
                      <a:gd name="connsiteX23" fmla="*/ 26136 w 33910"/>
                      <a:gd name="connsiteY23" fmla="*/ 75955 h 91504"/>
                      <a:gd name="connsiteX24" fmla="*/ 26136 w 33910"/>
                      <a:gd name="connsiteY24" fmla="*/ 75955 h 91504"/>
                      <a:gd name="connsiteX25" fmla="*/ 25837 w 33910"/>
                      <a:gd name="connsiteY25" fmla="*/ 74460 h 91504"/>
                      <a:gd name="connsiteX26" fmla="*/ 25538 w 33910"/>
                      <a:gd name="connsiteY26" fmla="*/ 72845 h 91504"/>
                      <a:gd name="connsiteX27" fmla="*/ 25299 w 33910"/>
                      <a:gd name="connsiteY27" fmla="*/ 71470 h 91504"/>
                      <a:gd name="connsiteX28" fmla="*/ 25059 w 33910"/>
                      <a:gd name="connsiteY28" fmla="*/ 70214 h 91504"/>
                      <a:gd name="connsiteX29" fmla="*/ 24880 w 33910"/>
                      <a:gd name="connsiteY29" fmla="*/ 69257 h 91504"/>
                      <a:gd name="connsiteX30" fmla="*/ 24581 w 33910"/>
                      <a:gd name="connsiteY30" fmla="*/ 67582 h 91504"/>
                      <a:gd name="connsiteX31" fmla="*/ 24461 w 33910"/>
                      <a:gd name="connsiteY31" fmla="*/ 66984 h 91504"/>
                      <a:gd name="connsiteX32" fmla="*/ 24342 w 33910"/>
                      <a:gd name="connsiteY32" fmla="*/ 66207 h 91504"/>
                      <a:gd name="connsiteX33" fmla="*/ 23744 w 33910"/>
                      <a:gd name="connsiteY33" fmla="*/ 62917 h 91504"/>
                      <a:gd name="connsiteX34" fmla="*/ 23145 w 33910"/>
                      <a:gd name="connsiteY34" fmla="*/ 59628 h 91504"/>
                      <a:gd name="connsiteX35" fmla="*/ 22547 w 33910"/>
                      <a:gd name="connsiteY35" fmla="*/ 56338 h 91504"/>
                      <a:gd name="connsiteX36" fmla="*/ 21950 w 33910"/>
                      <a:gd name="connsiteY36" fmla="*/ 53169 h 91504"/>
                      <a:gd name="connsiteX37" fmla="*/ 21471 w 33910"/>
                      <a:gd name="connsiteY37" fmla="*/ 50477 h 91504"/>
                      <a:gd name="connsiteX38" fmla="*/ 20992 w 33910"/>
                      <a:gd name="connsiteY38" fmla="*/ 47906 h 91504"/>
                      <a:gd name="connsiteX39" fmla="*/ 20753 w 33910"/>
                      <a:gd name="connsiteY39" fmla="*/ 47367 h 91504"/>
                      <a:gd name="connsiteX40" fmla="*/ 20335 w 33910"/>
                      <a:gd name="connsiteY40" fmla="*/ 46470 h 91504"/>
                      <a:gd name="connsiteX41" fmla="*/ 19976 w 33910"/>
                      <a:gd name="connsiteY41" fmla="*/ 45573 h 91504"/>
                      <a:gd name="connsiteX42" fmla="*/ 19976 w 33910"/>
                      <a:gd name="connsiteY42" fmla="*/ 45573 h 91504"/>
                      <a:gd name="connsiteX43" fmla="*/ 18720 w 33910"/>
                      <a:gd name="connsiteY43" fmla="*/ 42702 h 91504"/>
                      <a:gd name="connsiteX44" fmla="*/ 18182 w 33910"/>
                      <a:gd name="connsiteY44" fmla="*/ 41506 h 91504"/>
                      <a:gd name="connsiteX45" fmla="*/ 16926 w 33910"/>
                      <a:gd name="connsiteY45" fmla="*/ 38636 h 91504"/>
                      <a:gd name="connsiteX46" fmla="*/ 15669 w 33910"/>
                      <a:gd name="connsiteY46" fmla="*/ 35765 h 91504"/>
                      <a:gd name="connsiteX47" fmla="*/ 14414 w 33910"/>
                      <a:gd name="connsiteY47" fmla="*/ 32894 h 91504"/>
                      <a:gd name="connsiteX48" fmla="*/ 13158 w 33910"/>
                      <a:gd name="connsiteY48" fmla="*/ 30023 h 91504"/>
                      <a:gd name="connsiteX49" fmla="*/ 11902 w 33910"/>
                      <a:gd name="connsiteY49" fmla="*/ 27152 h 91504"/>
                      <a:gd name="connsiteX50" fmla="*/ 10646 w 33910"/>
                      <a:gd name="connsiteY50" fmla="*/ 24282 h 91504"/>
                      <a:gd name="connsiteX51" fmla="*/ 9390 w 33910"/>
                      <a:gd name="connsiteY51" fmla="*/ 21411 h 91504"/>
                      <a:gd name="connsiteX52" fmla="*/ 8134 w 33910"/>
                      <a:gd name="connsiteY52" fmla="*/ 18540 h 91504"/>
                      <a:gd name="connsiteX53" fmla="*/ 6878 w 33910"/>
                      <a:gd name="connsiteY53" fmla="*/ 15669 h 91504"/>
                      <a:gd name="connsiteX54" fmla="*/ 5622 w 33910"/>
                      <a:gd name="connsiteY54" fmla="*/ 12799 h 91504"/>
                      <a:gd name="connsiteX55" fmla="*/ 4366 w 33910"/>
                      <a:gd name="connsiteY55" fmla="*/ 9928 h 91504"/>
                      <a:gd name="connsiteX56" fmla="*/ 3110 w 33910"/>
                      <a:gd name="connsiteY56" fmla="*/ 7057 h 91504"/>
                      <a:gd name="connsiteX57" fmla="*/ 1854 w 33910"/>
                      <a:gd name="connsiteY57" fmla="*/ 4187 h 91504"/>
                      <a:gd name="connsiteX58" fmla="*/ 598 w 33910"/>
                      <a:gd name="connsiteY58" fmla="*/ 1316 h 91504"/>
                      <a:gd name="connsiteX59" fmla="*/ 0 w 33910"/>
                      <a:gd name="connsiteY59" fmla="*/ 0 h 9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3910" h="91504">
                        <a:moveTo>
                          <a:pt x="33911" y="91505"/>
                        </a:moveTo>
                        <a:lnTo>
                          <a:pt x="32176" y="90369"/>
                        </a:lnTo>
                        <a:lnTo>
                          <a:pt x="32057" y="90249"/>
                        </a:lnTo>
                        <a:lnTo>
                          <a:pt x="31997" y="90189"/>
                        </a:lnTo>
                        <a:lnTo>
                          <a:pt x="31817" y="90070"/>
                        </a:lnTo>
                        <a:lnTo>
                          <a:pt x="29485" y="88515"/>
                        </a:lnTo>
                        <a:lnTo>
                          <a:pt x="29186" y="88335"/>
                        </a:lnTo>
                        <a:lnTo>
                          <a:pt x="29007" y="88216"/>
                        </a:lnTo>
                        <a:lnTo>
                          <a:pt x="28827" y="88096"/>
                        </a:lnTo>
                        <a:lnTo>
                          <a:pt x="28708" y="87917"/>
                        </a:lnTo>
                        <a:lnTo>
                          <a:pt x="28588" y="87737"/>
                        </a:lnTo>
                        <a:lnTo>
                          <a:pt x="28468" y="87558"/>
                        </a:lnTo>
                        <a:lnTo>
                          <a:pt x="28349" y="87318"/>
                        </a:lnTo>
                        <a:lnTo>
                          <a:pt x="28229" y="87079"/>
                        </a:lnTo>
                        <a:lnTo>
                          <a:pt x="28169" y="86840"/>
                        </a:lnTo>
                        <a:lnTo>
                          <a:pt x="28109" y="86541"/>
                        </a:lnTo>
                        <a:lnTo>
                          <a:pt x="28050" y="86242"/>
                        </a:lnTo>
                        <a:lnTo>
                          <a:pt x="27452" y="82953"/>
                        </a:lnTo>
                        <a:lnTo>
                          <a:pt x="26854" y="79663"/>
                        </a:lnTo>
                        <a:lnTo>
                          <a:pt x="26315" y="76793"/>
                        </a:lnTo>
                        <a:lnTo>
                          <a:pt x="26315" y="76793"/>
                        </a:lnTo>
                        <a:lnTo>
                          <a:pt x="26255" y="76613"/>
                        </a:lnTo>
                        <a:lnTo>
                          <a:pt x="26136" y="76134"/>
                        </a:lnTo>
                        <a:lnTo>
                          <a:pt x="26136" y="75955"/>
                        </a:lnTo>
                        <a:lnTo>
                          <a:pt x="26136" y="75955"/>
                        </a:lnTo>
                        <a:lnTo>
                          <a:pt x="25837" y="74460"/>
                        </a:lnTo>
                        <a:lnTo>
                          <a:pt x="25538" y="72845"/>
                        </a:lnTo>
                        <a:lnTo>
                          <a:pt x="25299" y="71470"/>
                        </a:lnTo>
                        <a:lnTo>
                          <a:pt x="25059" y="70214"/>
                        </a:lnTo>
                        <a:lnTo>
                          <a:pt x="24880" y="69257"/>
                        </a:lnTo>
                        <a:lnTo>
                          <a:pt x="24581" y="67582"/>
                        </a:lnTo>
                        <a:lnTo>
                          <a:pt x="24461" y="66984"/>
                        </a:lnTo>
                        <a:lnTo>
                          <a:pt x="24342" y="66207"/>
                        </a:lnTo>
                        <a:lnTo>
                          <a:pt x="23744" y="62917"/>
                        </a:lnTo>
                        <a:lnTo>
                          <a:pt x="23145" y="59628"/>
                        </a:lnTo>
                        <a:lnTo>
                          <a:pt x="22547" y="56338"/>
                        </a:lnTo>
                        <a:lnTo>
                          <a:pt x="21950" y="53169"/>
                        </a:lnTo>
                        <a:lnTo>
                          <a:pt x="21471" y="50477"/>
                        </a:lnTo>
                        <a:lnTo>
                          <a:pt x="20992" y="47906"/>
                        </a:lnTo>
                        <a:lnTo>
                          <a:pt x="20753" y="47367"/>
                        </a:lnTo>
                        <a:lnTo>
                          <a:pt x="20335" y="46470"/>
                        </a:lnTo>
                        <a:lnTo>
                          <a:pt x="19976" y="45573"/>
                        </a:lnTo>
                        <a:lnTo>
                          <a:pt x="19976" y="45573"/>
                        </a:lnTo>
                        <a:lnTo>
                          <a:pt x="18720" y="42702"/>
                        </a:lnTo>
                        <a:lnTo>
                          <a:pt x="18182" y="41506"/>
                        </a:lnTo>
                        <a:lnTo>
                          <a:pt x="16926" y="38636"/>
                        </a:lnTo>
                        <a:lnTo>
                          <a:pt x="15669" y="35765"/>
                        </a:lnTo>
                        <a:lnTo>
                          <a:pt x="14414" y="32894"/>
                        </a:lnTo>
                        <a:lnTo>
                          <a:pt x="13158" y="30023"/>
                        </a:lnTo>
                        <a:lnTo>
                          <a:pt x="11902" y="27152"/>
                        </a:lnTo>
                        <a:lnTo>
                          <a:pt x="10646" y="24282"/>
                        </a:lnTo>
                        <a:lnTo>
                          <a:pt x="9390" y="21411"/>
                        </a:lnTo>
                        <a:lnTo>
                          <a:pt x="8134" y="18540"/>
                        </a:lnTo>
                        <a:lnTo>
                          <a:pt x="6878" y="15669"/>
                        </a:lnTo>
                        <a:lnTo>
                          <a:pt x="5622" y="12799"/>
                        </a:lnTo>
                        <a:lnTo>
                          <a:pt x="4366" y="9928"/>
                        </a:lnTo>
                        <a:lnTo>
                          <a:pt x="3110" y="7057"/>
                        </a:lnTo>
                        <a:lnTo>
                          <a:pt x="1854" y="4187"/>
                        </a:lnTo>
                        <a:lnTo>
                          <a:pt x="598" y="1316"/>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79" name="Vrije vorm: vorm 7678">
                    <a:extLst>
                      <a:ext uri="{FF2B5EF4-FFF2-40B4-BE49-F238E27FC236}">
                        <a16:creationId xmlns:a16="http://schemas.microsoft.com/office/drawing/2014/main" id="{17387978-C06C-4BD7-A0A4-70788425AEB8}"/>
                      </a:ext>
                    </a:extLst>
                  </p:cNvPr>
                  <p:cNvSpPr/>
                  <p:nvPr/>
                </p:nvSpPr>
                <p:spPr>
                  <a:xfrm>
                    <a:off x="5786069" y="5246628"/>
                    <a:ext cx="3947" cy="13337"/>
                  </a:xfrm>
                  <a:custGeom>
                    <a:avLst/>
                    <a:gdLst>
                      <a:gd name="connsiteX0" fmla="*/ 0 w 3947"/>
                      <a:gd name="connsiteY0" fmla="*/ 0 h 13337"/>
                      <a:gd name="connsiteX1" fmla="*/ 299 w 3947"/>
                      <a:gd name="connsiteY1" fmla="*/ 1076 h 13337"/>
                      <a:gd name="connsiteX2" fmla="*/ 658 w 3947"/>
                      <a:gd name="connsiteY2" fmla="*/ 2273 h 13337"/>
                      <a:gd name="connsiteX3" fmla="*/ 957 w 3947"/>
                      <a:gd name="connsiteY3" fmla="*/ 3289 h 13337"/>
                      <a:gd name="connsiteX4" fmla="*/ 1854 w 3947"/>
                      <a:gd name="connsiteY4" fmla="*/ 6340 h 13337"/>
                      <a:gd name="connsiteX5" fmla="*/ 1854 w 3947"/>
                      <a:gd name="connsiteY5" fmla="*/ 6399 h 13337"/>
                      <a:gd name="connsiteX6" fmla="*/ 2273 w 3947"/>
                      <a:gd name="connsiteY6" fmla="*/ 7775 h 13337"/>
                      <a:gd name="connsiteX7" fmla="*/ 3229 w 3947"/>
                      <a:gd name="connsiteY7" fmla="*/ 10885 h 13337"/>
                      <a:gd name="connsiteX8" fmla="*/ 3947 w 3947"/>
                      <a:gd name="connsiteY8" fmla="*/ 13337 h 1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7" h="13337">
                        <a:moveTo>
                          <a:pt x="0" y="0"/>
                        </a:moveTo>
                        <a:lnTo>
                          <a:pt x="299" y="1076"/>
                        </a:lnTo>
                        <a:lnTo>
                          <a:pt x="658" y="2273"/>
                        </a:lnTo>
                        <a:lnTo>
                          <a:pt x="957" y="3289"/>
                        </a:lnTo>
                        <a:lnTo>
                          <a:pt x="1854" y="6340"/>
                        </a:lnTo>
                        <a:lnTo>
                          <a:pt x="1854" y="6399"/>
                        </a:lnTo>
                        <a:lnTo>
                          <a:pt x="2273" y="7775"/>
                        </a:lnTo>
                        <a:lnTo>
                          <a:pt x="3229" y="10885"/>
                        </a:lnTo>
                        <a:lnTo>
                          <a:pt x="3947" y="13337"/>
                        </a:lnTo>
                      </a:path>
                    </a:pathLst>
                  </a:custGeom>
                  <a:noFill/>
                  <a:ln w="6350" cap="flat">
                    <a:solidFill>
                      <a:schemeClr val="bg1">
                        <a:alpha val="40000"/>
                      </a:schemeClr>
                    </a:solidFill>
                    <a:prstDash val="solid"/>
                    <a:miter/>
                  </a:ln>
                </p:spPr>
                <p:txBody>
                  <a:bodyPr rtlCol="0" anchor="ctr"/>
                  <a:lstStyle/>
                  <a:p>
                    <a:endParaRPr lang="en-GB"/>
                  </a:p>
                </p:txBody>
              </p:sp>
              <p:sp>
                <p:nvSpPr>
                  <p:cNvPr id="7680" name="Vrije vorm: vorm 7679">
                    <a:extLst>
                      <a:ext uri="{FF2B5EF4-FFF2-40B4-BE49-F238E27FC236}">
                        <a16:creationId xmlns:a16="http://schemas.microsoft.com/office/drawing/2014/main" id="{B8AA91D6-F866-4313-AC44-855A9F476690}"/>
                      </a:ext>
                    </a:extLst>
                  </p:cNvPr>
                  <p:cNvSpPr/>
                  <p:nvPr/>
                </p:nvSpPr>
                <p:spPr>
                  <a:xfrm>
                    <a:off x="5797133" y="5231796"/>
                    <a:ext cx="4784" cy="13396"/>
                  </a:xfrm>
                  <a:custGeom>
                    <a:avLst/>
                    <a:gdLst>
                      <a:gd name="connsiteX0" fmla="*/ 0 w 4784"/>
                      <a:gd name="connsiteY0" fmla="*/ 2392 h 13396"/>
                      <a:gd name="connsiteX1" fmla="*/ 299 w 4784"/>
                      <a:gd name="connsiteY1" fmla="*/ 1615 h 13396"/>
                      <a:gd name="connsiteX2" fmla="*/ 1017 w 4784"/>
                      <a:gd name="connsiteY2" fmla="*/ 0 h 13396"/>
                      <a:gd name="connsiteX3" fmla="*/ 1675 w 4784"/>
                      <a:gd name="connsiteY3" fmla="*/ 2333 h 13396"/>
                      <a:gd name="connsiteX4" fmla="*/ 2572 w 4784"/>
                      <a:gd name="connsiteY4" fmla="*/ 5442 h 13396"/>
                      <a:gd name="connsiteX5" fmla="*/ 2632 w 4784"/>
                      <a:gd name="connsiteY5" fmla="*/ 5742 h 13396"/>
                      <a:gd name="connsiteX6" fmla="*/ 2632 w 4784"/>
                      <a:gd name="connsiteY6" fmla="*/ 5861 h 13396"/>
                      <a:gd name="connsiteX7" fmla="*/ 2691 w 4784"/>
                      <a:gd name="connsiteY7" fmla="*/ 6100 h 13396"/>
                      <a:gd name="connsiteX8" fmla="*/ 3589 w 4784"/>
                      <a:gd name="connsiteY8" fmla="*/ 9210 h 13396"/>
                      <a:gd name="connsiteX9" fmla="*/ 4486 w 4784"/>
                      <a:gd name="connsiteY9" fmla="*/ 12320 h 13396"/>
                      <a:gd name="connsiteX10" fmla="*/ 4785 w 4784"/>
                      <a:gd name="connsiteY10" fmla="*/ 13397 h 1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84" h="13396">
                        <a:moveTo>
                          <a:pt x="0" y="2392"/>
                        </a:moveTo>
                        <a:lnTo>
                          <a:pt x="299" y="1615"/>
                        </a:lnTo>
                        <a:lnTo>
                          <a:pt x="1017" y="0"/>
                        </a:lnTo>
                        <a:lnTo>
                          <a:pt x="1675" y="2333"/>
                        </a:lnTo>
                        <a:lnTo>
                          <a:pt x="2572" y="5442"/>
                        </a:lnTo>
                        <a:lnTo>
                          <a:pt x="2632" y="5742"/>
                        </a:lnTo>
                        <a:lnTo>
                          <a:pt x="2632" y="5861"/>
                        </a:lnTo>
                        <a:lnTo>
                          <a:pt x="2691" y="6100"/>
                        </a:lnTo>
                        <a:lnTo>
                          <a:pt x="3589" y="9210"/>
                        </a:lnTo>
                        <a:lnTo>
                          <a:pt x="4486" y="12320"/>
                        </a:lnTo>
                        <a:lnTo>
                          <a:pt x="4785" y="13397"/>
                        </a:lnTo>
                      </a:path>
                    </a:pathLst>
                  </a:custGeom>
                  <a:noFill/>
                  <a:ln w="6350" cap="flat">
                    <a:solidFill>
                      <a:schemeClr val="bg1">
                        <a:alpha val="40000"/>
                      </a:schemeClr>
                    </a:solidFill>
                    <a:prstDash val="solid"/>
                    <a:miter/>
                  </a:ln>
                </p:spPr>
                <p:txBody>
                  <a:bodyPr rtlCol="0" anchor="ctr"/>
                  <a:lstStyle/>
                  <a:p>
                    <a:endParaRPr lang="en-GB"/>
                  </a:p>
                </p:txBody>
              </p:sp>
              <p:sp>
                <p:nvSpPr>
                  <p:cNvPr id="7681" name="Vrije vorm: vorm 7680">
                    <a:extLst>
                      <a:ext uri="{FF2B5EF4-FFF2-40B4-BE49-F238E27FC236}">
                        <a16:creationId xmlns:a16="http://schemas.microsoft.com/office/drawing/2014/main" id="{2B9BB0C2-560D-4EE2-8582-2338D0ED2B84}"/>
                      </a:ext>
                    </a:extLst>
                  </p:cNvPr>
                  <p:cNvSpPr/>
                  <p:nvPr/>
                </p:nvSpPr>
                <p:spPr>
                  <a:xfrm>
                    <a:off x="5790076" y="5243996"/>
                    <a:ext cx="12021" cy="16028"/>
                  </a:xfrm>
                  <a:custGeom>
                    <a:avLst/>
                    <a:gdLst>
                      <a:gd name="connsiteX0" fmla="*/ 0 w 12021"/>
                      <a:gd name="connsiteY0" fmla="*/ 16028 h 16028"/>
                      <a:gd name="connsiteX1" fmla="*/ 2452 w 12021"/>
                      <a:gd name="connsiteY1" fmla="*/ 13038 h 16028"/>
                      <a:gd name="connsiteX2" fmla="*/ 4904 w 12021"/>
                      <a:gd name="connsiteY2" fmla="*/ 10048 h 16028"/>
                      <a:gd name="connsiteX3" fmla="*/ 7297 w 12021"/>
                      <a:gd name="connsiteY3" fmla="*/ 7057 h 16028"/>
                      <a:gd name="connsiteX4" fmla="*/ 9749 w 12021"/>
                      <a:gd name="connsiteY4" fmla="*/ 4067 h 16028"/>
                      <a:gd name="connsiteX5" fmla="*/ 10885 w 12021"/>
                      <a:gd name="connsiteY5" fmla="*/ 2691 h 16028"/>
                      <a:gd name="connsiteX6" fmla="*/ 12021 w 12021"/>
                      <a:gd name="connsiteY6" fmla="*/ 1316 h 16028"/>
                      <a:gd name="connsiteX7" fmla="*/ 9808 w 12021"/>
                      <a:gd name="connsiteY7" fmla="*/ 239 h 16028"/>
                      <a:gd name="connsiteX8" fmla="*/ 9330 w 12021"/>
                      <a:gd name="connsiteY8" fmla="*/ 0 h 1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1" h="16028">
                        <a:moveTo>
                          <a:pt x="0" y="16028"/>
                        </a:moveTo>
                        <a:lnTo>
                          <a:pt x="2452" y="13038"/>
                        </a:lnTo>
                        <a:lnTo>
                          <a:pt x="4904" y="10048"/>
                        </a:lnTo>
                        <a:lnTo>
                          <a:pt x="7297" y="7057"/>
                        </a:lnTo>
                        <a:lnTo>
                          <a:pt x="9749" y="4067"/>
                        </a:lnTo>
                        <a:lnTo>
                          <a:pt x="10885" y="2691"/>
                        </a:lnTo>
                        <a:lnTo>
                          <a:pt x="12021" y="1316"/>
                        </a:lnTo>
                        <a:lnTo>
                          <a:pt x="9808" y="239"/>
                        </a:lnTo>
                        <a:lnTo>
                          <a:pt x="9330" y="0"/>
                        </a:lnTo>
                      </a:path>
                    </a:pathLst>
                  </a:custGeom>
                  <a:noFill/>
                  <a:ln w="6350" cap="flat">
                    <a:solidFill>
                      <a:schemeClr val="bg1">
                        <a:alpha val="40000"/>
                      </a:schemeClr>
                    </a:solidFill>
                    <a:prstDash val="solid"/>
                    <a:miter/>
                  </a:ln>
                </p:spPr>
                <p:txBody>
                  <a:bodyPr rtlCol="0" anchor="ctr"/>
                  <a:lstStyle/>
                  <a:p>
                    <a:endParaRPr lang="en-GB"/>
                  </a:p>
                </p:txBody>
              </p:sp>
              <p:sp>
                <p:nvSpPr>
                  <p:cNvPr id="7682" name="Vrije vorm: vorm 7681">
                    <a:extLst>
                      <a:ext uri="{FF2B5EF4-FFF2-40B4-BE49-F238E27FC236}">
                        <a16:creationId xmlns:a16="http://schemas.microsoft.com/office/drawing/2014/main" id="{66D133F9-E38B-425F-A305-B1C3F36AB562}"/>
                      </a:ext>
                    </a:extLst>
                  </p:cNvPr>
                  <p:cNvSpPr/>
                  <p:nvPr/>
                </p:nvSpPr>
                <p:spPr>
                  <a:xfrm>
                    <a:off x="5788401" y="5247226"/>
                    <a:ext cx="8432" cy="8133"/>
                  </a:xfrm>
                  <a:custGeom>
                    <a:avLst/>
                    <a:gdLst>
                      <a:gd name="connsiteX0" fmla="*/ 0 w 8432"/>
                      <a:gd name="connsiteY0" fmla="*/ 7177 h 8133"/>
                      <a:gd name="connsiteX1" fmla="*/ 1854 w 8432"/>
                      <a:gd name="connsiteY1" fmla="*/ 8134 h 8133"/>
                      <a:gd name="connsiteX2" fmla="*/ 4306 w 8432"/>
                      <a:gd name="connsiteY2" fmla="*/ 5143 h 8133"/>
                      <a:gd name="connsiteX3" fmla="*/ 6100 w 8432"/>
                      <a:gd name="connsiteY3" fmla="*/ 2930 h 8133"/>
                      <a:gd name="connsiteX4" fmla="*/ 8433 w 8432"/>
                      <a:gd name="connsiteY4" fmla="*/ 0 h 8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2" h="8133">
                        <a:moveTo>
                          <a:pt x="0" y="7177"/>
                        </a:moveTo>
                        <a:lnTo>
                          <a:pt x="1854" y="8134"/>
                        </a:lnTo>
                        <a:lnTo>
                          <a:pt x="4306" y="5143"/>
                        </a:lnTo>
                        <a:lnTo>
                          <a:pt x="6100" y="2930"/>
                        </a:lnTo>
                        <a:lnTo>
                          <a:pt x="8433" y="0"/>
                        </a:lnTo>
                      </a:path>
                    </a:pathLst>
                  </a:custGeom>
                  <a:noFill/>
                  <a:ln w="6350" cap="flat">
                    <a:solidFill>
                      <a:schemeClr val="bg1">
                        <a:alpha val="40000"/>
                      </a:schemeClr>
                    </a:solidFill>
                    <a:prstDash val="solid"/>
                    <a:miter/>
                  </a:ln>
                </p:spPr>
                <p:txBody>
                  <a:bodyPr rtlCol="0" anchor="ctr"/>
                  <a:lstStyle/>
                  <a:p>
                    <a:endParaRPr lang="en-GB"/>
                  </a:p>
                </p:txBody>
              </p:sp>
              <p:sp>
                <p:nvSpPr>
                  <p:cNvPr id="7683" name="Vrije vorm: vorm 7682">
                    <a:extLst>
                      <a:ext uri="{FF2B5EF4-FFF2-40B4-BE49-F238E27FC236}">
                        <a16:creationId xmlns:a16="http://schemas.microsoft.com/office/drawing/2014/main" id="{B9D39D8D-7D3E-4B59-AA13-F5C5BD68106F}"/>
                      </a:ext>
                    </a:extLst>
                  </p:cNvPr>
                  <p:cNvSpPr/>
                  <p:nvPr/>
                </p:nvSpPr>
                <p:spPr>
                  <a:xfrm>
                    <a:off x="5797074" y="5233411"/>
                    <a:ext cx="1255" cy="5143"/>
                  </a:xfrm>
                  <a:custGeom>
                    <a:avLst/>
                    <a:gdLst>
                      <a:gd name="connsiteX0" fmla="*/ 0 w 1255"/>
                      <a:gd name="connsiteY0" fmla="*/ 0 h 5143"/>
                      <a:gd name="connsiteX1" fmla="*/ 119 w 1255"/>
                      <a:gd name="connsiteY1" fmla="*/ 718 h 5143"/>
                      <a:gd name="connsiteX2" fmla="*/ 359 w 1255"/>
                      <a:gd name="connsiteY2" fmla="*/ 2392 h 5143"/>
                      <a:gd name="connsiteX3" fmla="*/ 957 w 1255"/>
                      <a:gd name="connsiteY3" fmla="*/ 2691 h 5143"/>
                      <a:gd name="connsiteX4" fmla="*/ 1017 w 1255"/>
                      <a:gd name="connsiteY4" fmla="*/ 3170 h 5143"/>
                      <a:gd name="connsiteX5" fmla="*/ 1017 w 1255"/>
                      <a:gd name="connsiteY5" fmla="*/ 3229 h 5143"/>
                      <a:gd name="connsiteX6" fmla="*/ 1076 w 1255"/>
                      <a:gd name="connsiteY6" fmla="*/ 3469 h 5143"/>
                      <a:gd name="connsiteX7" fmla="*/ 1136 w 1255"/>
                      <a:gd name="connsiteY7" fmla="*/ 4127 h 5143"/>
                      <a:gd name="connsiteX8" fmla="*/ 1256 w 1255"/>
                      <a:gd name="connsiteY8" fmla="*/ 5143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 h="5143">
                        <a:moveTo>
                          <a:pt x="0" y="0"/>
                        </a:moveTo>
                        <a:lnTo>
                          <a:pt x="119" y="718"/>
                        </a:lnTo>
                        <a:lnTo>
                          <a:pt x="359" y="2392"/>
                        </a:lnTo>
                        <a:lnTo>
                          <a:pt x="957" y="2691"/>
                        </a:lnTo>
                        <a:lnTo>
                          <a:pt x="1017" y="3170"/>
                        </a:lnTo>
                        <a:lnTo>
                          <a:pt x="1017" y="3229"/>
                        </a:lnTo>
                        <a:lnTo>
                          <a:pt x="1076" y="3469"/>
                        </a:lnTo>
                        <a:lnTo>
                          <a:pt x="1136" y="4127"/>
                        </a:lnTo>
                        <a:lnTo>
                          <a:pt x="1256" y="5143"/>
                        </a:lnTo>
                      </a:path>
                    </a:pathLst>
                  </a:custGeom>
                  <a:noFill/>
                  <a:ln w="6350" cap="flat">
                    <a:solidFill>
                      <a:schemeClr val="bg1">
                        <a:alpha val="40000"/>
                      </a:schemeClr>
                    </a:solidFill>
                    <a:prstDash val="solid"/>
                    <a:miter/>
                  </a:ln>
                </p:spPr>
                <p:txBody>
                  <a:bodyPr rtlCol="0" anchor="ctr"/>
                  <a:lstStyle/>
                  <a:p>
                    <a:endParaRPr lang="en-GB"/>
                  </a:p>
                </p:txBody>
              </p:sp>
              <p:sp>
                <p:nvSpPr>
                  <p:cNvPr id="7684" name="Vrije vorm: vorm 7683">
                    <a:extLst>
                      <a:ext uri="{FF2B5EF4-FFF2-40B4-BE49-F238E27FC236}">
                        <a16:creationId xmlns:a16="http://schemas.microsoft.com/office/drawing/2014/main" id="{751BB227-55FD-400C-94E7-3198BDF9D5DE}"/>
                      </a:ext>
                    </a:extLst>
                  </p:cNvPr>
                  <p:cNvSpPr/>
                  <p:nvPr/>
                </p:nvSpPr>
                <p:spPr>
                  <a:xfrm>
                    <a:off x="5806523" y="5237836"/>
                    <a:ext cx="5801" cy="50895"/>
                  </a:xfrm>
                  <a:custGeom>
                    <a:avLst/>
                    <a:gdLst>
                      <a:gd name="connsiteX0" fmla="*/ 538 w 5801"/>
                      <a:gd name="connsiteY0" fmla="*/ 50896 h 50895"/>
                      <a:gd name="connsiteX1" fmla="*/ 2930 w 5801"/>
                      <a:gd name="connsiteY1" fmla="*/ 47846 h 50895"/>
                      <a:gd name="connsiteX2" fmla="*/ 3289 w 5801"/>
                      <a:gd name="connsiteY2" fmla="*/ 47367 h 50895"/>
                      <a:gd name="connsiteX3" fmla="*/ 3649 w 5801"/>
                      <a:gd name="connsiteY3" fmla="*/ 46889 h 50895"/>
                      <a:gd name="connsiteX4" fmla="*/ 4007 w 5801"/>
                      <a:gd name="connsiteY4" fmla="*/ 46351 h 50895"/>
                      <a:gd name="connsiteX5" fmla="*/ 4306 w 5801"/>
                      <a:gd name="connsiteY5" fmla="*/ 45812 h 50895"/>
                      <a:gd name="connsiteX6" fmla="*/ 4605 w 5801"/>
                      <a:gd name="connsiteY6" fmla="*/ 45214 h 50895"/>
                      <a:gd name="connsiteX7" fmla="*/ 4904 w 5801"/>
                      <a:gd name="connsiteY7" fmla="*/ 44616 h 50895"/>
                      <a:gd name="connsiteX8" fmla="*/ 5144 w 5801"/>
                      <a:gd name="connsiteY8" fmla="*/ 44018 h 50895"/>
                      <a:gd name="connsiteX9" fmla="*/ 5383 w 5801"/>
                      <a:gd name="connsiteY9" fmla="*/ 43420 h 50895"/>
                      <a:gd name="connsiteX10" fmla="*/ 5562 w 5801"/>
                      <a:gd name="connsiteY10" fmla="*/ 42882 h 50895"/>
                      <a:gd name="connsiteX11" fmla="*/ 5682 w 5801"/>
                      <a:gd name="connsiteY11" fmla="*/ 42343 h 50895"/>
                      <a:gd name="connsiteX12" fmla="*/ 5742 w 5801"/>
                      <a:gd name="connsiteY12" fmla="*/ 41865 h 50895"/>
                      <a:gd name="connsiteX13" fmla="*/ 5801 w 5801"/>
                      <a:gd name="connsiteY13" fmla="*/ 41446 h 50895"/>
                      <a:gd name="connsiteX14" fmla="*/ 5801 w 5801"/>
                      <a:gd name="connsiteY14" fmla="*/ 41028 h 50895"/>
                      <a:gd name="connsiteX15" fmla="*/ 5503 w 5801"/>
                      <a:gd name="connsiteY15" fmla="*/ 37559 h 50895"/>
                      <a:gd name="connsiteX16" fmla="*/ 5203 w 5801"/>
                      <a:gd name="connsiteY16" fmla="*/ 34090 h 50895"/>
                      <a:gd name="connsiteX17" fmla="*/ 4904 w 5801"/>
                      <a:gd name="connsiteY17" fmla="*/ 30800 h 50895"/>
                      <a:gd name="connsiteX18" fmla="*/ 4605 w 5801"/>
                      <a:gd name="connsiteY18" fmla="*/ 27332 h 50895"/>
                      <a:gd name="connsiteX19" fmla="*/ 4306 w 5801"/>
                      <a:gd name="connsiteY19" fmla="*/ 23863 h 50895"/>
                      <a:gd name="connsiteX20" fmla="*/ 4007 w 5801"/>
                      <a:gd name="connsiteY20" fmla="*/ 20394 h 50895"/>
                      <a:gd name="connsiteX21" fmla="*/ 3708 w 5801"/>
                      <a:gd name="connsiteY21" fmla="*/ 16925 h 50895"/>
                      <a:gd name="connsiteX22" fmla="*/ 3409 w 5801"/>
                      <a:gd name="connsiteY22" fmla="*/ 13457 h 50895"/>
                      <a:gd name="connsiteX23" fmla="*/ 3110 w 5801"/>
                      <a:gd name="connsiteY23" fmla="*/ 9988 h 50895"/>
                      <a:gd name="connsiteX24" fmla="*/ 2811 w 5801"/>
                      <a:gd name="connsiteY24" fmla="*/ 6519 h 50895"/>
                      <a:gd name="connsiteX25" fmla="*/ 2691 w 5801"/>
                      <a:gd name="connsiteY25" fmla="*/ 5143 h 50895"/>
                      <a:gd name="connsiteX26" fmla="*/ 2572 w 5801"/>
                      <a:gd name="connsiteY26" fmla="*/ 4187 h 50895"/>
                      <a:gd name="connsiteX27" fmla="*/ 2512 w 5801"/>
                      <a:gd name="connsiteY27" fmla="*/ 3289 h 50895"/>
                      <a:gd name="connsiteX28" fmla="*/ 1675 w 5801"/>
                      <a:gd name="connsiteY28" fmla="*/ 119 h 50895"/>
                      <a:gd name="connsiteX29" fmla="*/ 1675 w 5801"/>
                      <a:gd name="connsiteY29" fmla="*/ 60 h 50895"/>
                      <a:gd name="connsiteX30" fmla="*/ 1675 w 5801"/>
                      <a:gd name="connsiteY30" fmla="*/ 0 h 50895"/>
                      <a:gd name="connsiteX31" fmla="*/ 1675 w 5801"/>
                      <a:gd name="connsiteY31" fmla="*/ 60 h 50895"/>
                      <a:gd name="connsiteX32" fmla="*/ 1974 w 5801"/>
                      <a:gd name="connsiteY32" fmla="*/ 3528 h 50895"/>
                      <a:gd name="connsiteX33" fmla="*/ 2093 w 5801"/>
                      <a:gd name="connsiteY33" fmla="*/ 4725 h 50895"/>
                      <a:gd name="connsiteX34" fmla="*/ 2392 w 5801"/>
                      <a:gd name="connsiteY34" fmla="*/ 8194 h 50895"/>
                      <a:gd name="connsiteX35" fmla="*/ 2691 w 5801"/>
                      <a:gd name="connsiteY35" fmla="*/ 11662 h 50895"/>
                      <a:gd name="connsiteX36" fmla="*/ 2990 w 5801"/>
                      <a:gd name="connsiteY36" fmla="*/ 15131 h 50895"/>
                      <a:gd name="connsiteX37" fmla="*/ 3289 w 5801"/>
                      <a:gd name="connsiteY37" fmla="*/ 18600 h 50895"/>
                      <a:gd name="connsiteX38" fmla="*/ 3589 w 5801"/>
                      <a:gd name="connsiteY38" fmla="*/ 22069 h 50895"/>
                      <a:gd name="connsiteX39" fmla="*/ 3888 w 5801"/>
                      <a:gd name="connsiteY39" fmla="*/ 25537 h 50895"/>
                      <a:gd name="connsiteX40" fmla="*/ 4187 w 5801"/>
                      <a:gd name="connsiteY40" fmla="*/ 29006 h 50895"/>
                      <a:gd name="connsiteX41" fmla="*/ 4306 w 5801"/>
                      <a:gd name="connsiteY41" fmla="*/ 29963 h 50895"/>
                      <a:gd name="connsiteX42" fmla="*/ 4605 w 5801"/>
                      <a:gd name="connsiteY42" fmla="*/ 33432 h 50895"/>
                      <a:gd name="connsiteX43" fmla="*/ 4904 w 5801"/>
                      <a:gd name="connsiteY43" fmla="*/ 36901 h 50895"/>
                      <a:gd name="connsiteX44" fmla="*/ 5203 w 5801"/>
                      <a:gd name="connsiteY44" fmla="*/ 40370 h 50895"/>
                      <a:gd name="connsiteX45" fmla="*/ 5263 w 5801"/>
                      <a:gd name="connsiteY45" fmla="*/ 40729 h 50895"/>
                      <a:gd name="connsiteX46" fmla="*/ 5263 w 5801"/>
                      <a:gd name="connsiteY46" fmla="*/ 41147 h 50895"/>
                      <a:gd name="connsiteX47" fmla="*/ 5203 w 5801"/>
                      <a:gd name="connsiteY47" fmla="*/ 41566 h 50895"/>
                      <a:gd name="connsiteX48" fmla="*/ 5144 w 5801"/>
                      <a:gd name="connsiteY48" fmla="*/ 42044 h 50895"/>
                      <a:gd name="connsiteX49" fmla="*/ 5024 w 5801"/>
                      <a:gd name="connsiteY49" fmla="*/ 42583 h 50895"/>
                      <a:gd name="connsiteX50" fmla="*/ 4844 w 5801"/>
                      <a:gd name="connsiteY50" fmla="*/ 43121 h 50895"/>
                      <a:gd name="connsiteX51" fmla="*/ 4605 w 5801"/>
                      <a:gd name="connsiteY51" fmla="*/ 43719 h 50895"/>
                      <a:gd name="connsiteX52" fmla="*/ 4366 w 5801"/>
                      <a:gd name="connsiteY52" fmla="*/ 44317 h 50895"/>
                      <a:gd name="connsiteX53" fmla="*/ 4067 w 5801"/>
                      <a:gd name="connsiteY53" fmla="*/ 44915 h 50895"/>
                      <a:gd name="connsiteX54" fmla="*/ 3768 w 5801"/>
                      <a:gd name="connsiteY54" fmla="*/ 45513 h 50895"/>
                      <a:gd name="connsiteX55" fmla="*/ 3469 w 5801"/>
                      <a:gd name="connsiteY55" fmla="*/ 46052 h 50895"/>
                      <a:gd name="connsiteX56" fmla="*/ 3110 w 5801"/>
                      <a:gd name="connsiteY56" fmla="*/ 46590 h 50895"/>
                      <a:gd name="connsiteX57" fmla="*/ 2751 w 5801"/>
                      <a:gd name="connsiteY57" fmla="*/ 47068 h 50895"/>
                      <a:gd name="connsiteX58" fmla="*/ 359 w 5801"/>
                      <a:gd name="connsiteY58" fmla="*/ 50118 h 50895"/>
                      <a:gd name="connsiteX59" fmla="*/ 0 w 5801"/>
                      <a:gd name="connsiteY59" fmla="*/ 50597 h 50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801" h="50895">
                        <a:moveTo>
                          <a:pt x="538" y="50896"/>
                        </a:moveTo>
                        <a:lnTo>
                          <a:pt x="2930" y="47846"/>
                        </a:lnTo>
                        <a:lnTo>
                          <a:pt x="3289" y="47367"/>
                        </a:lnTo>
                        <a:lnTo>
                          <a:pt x="3649" y="46889"/>
                        </a:lnTo>
                        <a:lnTo>
                          <a:pt x="4007" y="46351"/>
                        </a:lnTo>
                        <a:lnTo>
                          <a:pt x="4306" y="45812"/>
                        </a:lnTo>
                        <a:lnTo>
                          <a:pt x="4605" y="45214"/>
                        </a:lnTo>
                        <a:lnTo>
                          <a:pt x="4904" y="44616"/>
                        </a:lnTo>
                        <a:lnTo>
                          <a:pt x="5144" y="44018"/>
                        </a:lnTo>
                        <a:lnTo>
                          <a:pt x="5383" y="43420"/>
                        </a:lnTo>
                        <a:lnTo>
                          <a:pt x="5562" y="42882"/>
                        </a:lnTo>
                        <a:lnTo>
                          <a:pt x="5682" y="42343"/>
                        </a:lnTo>
                        <a:lnTo>
                          <a:pt x="5742" y="41865"/>
                        </a:lnTo>
                        <a:lnTo>
                          <a:pt x="5801" y="41446"/>
                        </a:lnTo>
                        <a:lnTo>
                          <a:pt x="5801" y="41028"/>
                        </a:lnTo>
                        <a:lnTo>
                          <a:pt x="5503" y="37559"/>
                        </a:lnTo>
                        <a:lnTo>
                          <a:pt x="5203" y="34090"/>
                        </a:lnTo>
                        <a:lnTo>
                          <a:pt x="4904" y="30800"/>
                        </a:lnTo>
                        <a:lnTo>
                          <a:pt x="4605" y="27332"/>
                        </a:lnTo>
                        <a:lnTo>
                          <a:pt x="4306" y="23863"/>
                        </a:lnTo>
                        <a:lnTo>
                          <a:pt x="4007" y="20394"/>
                        </a:lnTo>
                        <a:lnTo>
                          <a:pt x="3708" y="16925"/>
                        </a:lnTo>
                        <a:lnTo>
                          <a:pt x="3409" y="13457"/>
                        </a:lnTo>
                        <a:lnTo>
                          <a:pt x="3110" y="9988"/>
                        </a:lnTo>
                        <a:lnTo>
                          <a:pt x="2811" y="6519"/>
                        </a:lnTo>
                        <a:lnTo>
                          <a:pt x="2691" y="5143"/>
                        </a:lnTo>
                        <a:lnTo>
                          <a:pt x="2572" y="4187"/>
                        </a:lnTo>
                        <a:lnTo>
                          <a:pt x="2512" y="3289"/>
                        </a:lnTo>
                        <a:lnTo>
                          <a:pt x="1675" y="119"/>
                        </a:lnTo>
                        <a:lnTo>
                          <a:pt x="1675" y="60"/>
                        </a:lnTo>
                        <a:lnTo>
                          <a:pt x="1675" y="0"/>
                        </a:lnTo>
                        <a:lnTo>
                          <a:pt x="1675" y="60"/>
                        </a:lnTo>
                        <a:lnTo>
                          <a:pt x="1974" y="3528"/>
                        </a:lnTo>
                        <a:lnTo>
                          <a:pt x="2093" y="4725"/>
                        </a:lnTo>
                        <a:lnTo>
                          <a:pt x="2392" y="8194"/>
                        </a:lnTo>
                        <a:lnTo>
                          <a:pt x="2691" y="11662"/>
                        </a:lnTo>
                        <a:lnTo>
                          <a:pt x="2990" y="15131"/>
                        </a:lnTo>
                        <a:lnTo>
                          <a:pt x="3289" y="18600"/>
                        </a:lnTo>
                        <a:lnTo>
                          <a:pt x="3589" y="22069"/>
                        </a:lnTo>
                        <a:lnTo>
                          <a:pt x="3888" y="25537"/>
                        </a:lnTo>
                        <a:lnTo>
                          <a:pt x="4187" y="29006"/>
                        </a:lnTo>
                        <a:lnTo>
                          <a:pt x="4306" y="29963"/>
                        </a:lnTo>
                        <a:lnTo>
                          <a:pt x="4605" y="33432"/>
                        </a:lnTo>
                        <a:lnTo>
                          <a:pt x="4904" y="36901"/>
                        </a:lnTo>
                        <a:lnTo>
                          <a:pt x="5203" y="40370"/>
                        </a:lnTo>
                        <a:lnTo>
                          <a:pt x="5263" y="40729"/>
                        </a:lnTo>
                        <a:lnTo>
                          <a:pt x="5263" y="41147"/>
                        </a:lnTo>
                        <a:lnTo>
                          <a:pt x="5203" y="41566"/>
                        </a:lnTo>
                        <a:lnTo>
                          <a:pt x="5144" y="42044"/>
                        </a:lnTo>
                        <a:lnTo>
                          <a:pt x="5024" y="42583"/>
                        </a:lnTo>
                        <a:lnTo>
                          <a:pt x="4844" y="43121"/>
                        </a:lnTo>
                        <a:lnTo>
                          <a:pt x="4605" y="43719"/>
                        </a:lnTo>
                        <a:lnTo>
                          <a:pt x="4366" y="44317"/>
                        </a:lnTo>
                        <a:lnTo>
                          <a:pt x="4067" y="44915"/>
                        </a:lnTo>
                        <a:lnTo>
                          <a:pt x="3768" y="45513"/>
                        </a:lnTo>
                        <a:lnTo>
                          <a:pt x="3469" y="46052"/>
                        </a:lnTo>
                        <a:lnTo>
                          <a:pt x="3110" y="46590"/>
                        </a:lnTo>
                        <a:lnTo>
                          <a:pt x="2751" y="47068"/>
                        </a:lnTo>
                        <a:lnTo>
                          <a:pt x="359" y="50118"/>
                        </a:lnTo>
                        <a:lnTo>
                          <a:pt x="0" y="50597"/>
                        </a:lnTo>
                      </a:path>
                    </a:pathLst>
                  </a:custGeom>
                  <a:noFill/>
                  <a:ln w="6350" cap="flat">
                    <a:solidFill>
                      <a:schemeClr val="bg1">
                        <a:alpha val="40000"/>
                      </a:schemeClr>
                    </a:solidFill>
                    <a:prstDash val="solid"/>
                    <a:miter/>
                  </a:ln>
                </p:spPr>
                <p:txBody>
                  <a:bodyPr rtlCol="0" anchor="ctr"/>
                  <a:lstStyle/>
                  <a:p>
                    <a:endParaRPr lang="en-GB"/>
                  </a:p>
                </p:txBody>
              </p:sp>
              <p:sp>
                <p:nvSpPr>
                  <p:cNvPr id="7685" name="Vrije vorm: vorm 7684">
                    <a:extLst>
                      <a:ext uri="{FF2B5EF4-FFF2-40B4-BE49-F238E27FC236}">
                        <a16:creationId xmlns:a16="http://schemas.microsoft.com/office/drawing/2014/main" id="{E78B4A0F-7460-4FD1-BC17-5910F660A915}"/>
                      </a:ext>
                    </a:extLst>
                  </p:cNvPr>
                  <p:cNvSpPr/>
                  <p:nvPr/>
                </p:nvSpPr>
                <p:spPr>
                  <a:xfrm>
                    <a:off x="5784035" y="5267500"/>
                    <a:ext cx="1495" cy="6698"/>
                  </a:xfrm>
                  <a:custGeom>
                    <a:avLst/>
                    <a:gdLst>
                      <a:gd name="connsiteX0" fmla="*/ 0 w 1495"/>
                      <a:gd name="connsiteY0" fmla="*/ 0 h 6698"/>
                      <a:gd name="connsiteX1" fmla="*/ 957 w 1495"/>
                      <a:gd name="connsiteY1" fmla="*/ 3110 h 6698"/>
                      <a:gd name="connsiteX2" fmla="*/ 1017 w 1495"/>
                      <a:gd name="connsiteY2" fmla="*/ 3290 h 6698"/>
                      <a:gd name="connsiteX3" fmla="*/ 1495 w 1495"/>
                      <a:gd name="connsiteY3" fmla="*/ 6698 h 6698"/>
                    </a:gdLst>
                    <a:ahLst/>
                    <a:cxnLst>
                      <a:cxn ang="0">
                        <a:pos x="connsiteX0" y="connsiteY0"/>
                      </a:cxn>
                      <a:cxn ang="0">
                        <a:pos x="connsiteX1" y="connsiteY1"/>
                      </a:cxn>
                      <a:cxn ang="0">
                        <a:pos x="connsiteX2" y="connsiteY2"/>
                      </a:cxn>
                      <a:cxn ang="0">
                        <a:pos x="connsiteX3" y="connsiteY3"/>
                      </a:cxn>
                    </a:cxnLst>
                    <a:rect l="l" t="t" r="r" b="b"/>
                    <a:pathLst>
                      <a:path w="1495" h="6698">
                        <a:moveTo>
                          <a:pt x="0" y="0"/>
                        </a:moveTo>
                        <a:lnTo>
                          <a:pt x="957" y="3110"/>
                        </a:lnTo>
                        <a:lnTo>
                          <a:pt x="1017" y="3290"/>
                        </a:lnTo>
                        <a:lnTo>
                          <a:pt x="1495" y="6698"/>
                        </a:lnTo>
                      </a:path>
                    </a:pathLst>
                  </a:custGeom>
                  <a:noFill/>
                  <a:ln w="6350" cap="flat">
                    <a:solidFill>
                      <a:schemeClr val="bg1">
                        <a:alpha val="40000"/>
                      </a:schemeClr>
                    </a:solidFill>
                    <a:prstDash val="solid"/>
                    <a:miter/>
                  </a:ln>
                </p:spPr>
                <p:txBody>
                  <a:bodyPr rtlCol="0" anchor="ctr"/>
                  <a:lstStyle/>
                  <a:p>
                    <a:endParaRPr lang="en-GB"/>
                  </a:p>
                </p:txBody>
              </p:sp>
              <p:sp>
                <p:nvSpPr>
                  <p:cNvPr id="7686" name="Vrije vorm: vorm 7685">
                    <a:extLst>
                      <a:ext uri="{FF2B5EF4-FFF2-40B4-BE49-F238E27FC236}">
                        <a16:creationId xmlns:a16="http://schemas.microsoft.com/office/drawing/2014/main" id="{694FD0AE-98D0-4645-B22A-E9F1A9B48237}"/>
                      </a:ext>
                    </a:extLst>
                  </p:cNvPr>
                  <p:cNvSpPr/>
                  <p:nvPr/>
                </p:nvSpPr>
                <p:spPr>
                  <a:xfrm>
                    <a:off x="5764598" y="5206856"/>
                    <a:ext cx="3409" cy="8612"/>
                  </a:xfrm>
                  <a:custGeom>
                    <a:avLst/>
                    <a:gdLst>
                      <a:gd name="connsiteX0" fmla="*/ 0 w 3409"/>
                      <a:gd name="connsiteY0" fmla="*/ 0 h 8612"/>
                      <a:gd name="connsiteX1" fmla="*/ 0 w 3409"/>
                      <a:gd name="connsiteY1" fmla="*/ 239 h 8612"/>
                      <a:gd name="connsiteX2" fmla="*/ 0 w 3409"/>
                      <a:gd name="connsiteY2" fmla="*/ 598 h 8612"/>
                      <a:gd name="connsiteX3" fmla="*/ 60 w 3409"/>
                      <a:gd name="connsiteY3" fmla="*/ 3110 h 8612"/>
                      <a:gd name="connsiteX4" fmla="*/ 120 w 3409"/>
                      <a:gd name="connsiteY4" fmla="*/ 6220 h 8612"/>
                      <a:gd name="connsiteX5" fmla="*/ 180 w 3409"/>
                      <a:gd name="connsiteY5" fmla="*/ 8612 h 8612"/>
                      <a:gd name="connsiteX6" fmla="*/ 2691 w 3409"/>
                      <a:gd name="connsiteY6" fmla="*/ 5681 h 8612"/>
                      <a:gd name="connsiteX7" fmla="*/ 3409 w 3409"/>
                      <a:gd name="connsiteY7" fmla="*/ 4844 h 8612"/>
                      <a:gd name="connsiteX8" fmla="*/ 3409 w 3409"/>
                      <a:gd name="connsiteY8" fmla="*/ 4844 h 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9" h="8612">
                        <a:moveTo>
                          <a:pt x="0" y="0"/>
                        </a:moveTo>
                        <a:lnTo>
                          <a:pt x="0" y="239"/>
                        </a:lnTo>
                        <a:lnTo>
                          <a:pt x="0" y="598"/>
                        </a:lnTo>
                        <a:lnTo>
                          <a:pt x="60" y="3110"/>
                        </a:lnTo>
                        <a:lnTo>
                          <a:pt x="120" y="6220"/>
                        </a:lnTo>
                        <a:lnTo>
                          <a:pt x="180" y="8612"/>
                        </a:lnTo>
                        <a:lnTo>
                          <a:pt x="2691" y="5681"/>
                        </a:lnTo>
                        <a:lnTo>
                          <a:pt x="3409" y="4844"/>
                        </a:lnTo>
                        <a:lnTo>
                          <a:pt x="3409" y="4844"/>
                        </a:lnTo>
                      </a:path>
                    </a:pathLst>
                  </a:custGeom>
                  <a:noFill/>
                  <a:ln w="6350" cap="flat">
                    <a:solidFill>
                      <a:schemeClr val="bg1">
                        <a:alpha val="40000"/>
                      </a:schemeClr>
                    </a:solidFill>
                    <a:prstDash val="solid"/>
                    <a:miter/>
                  </a:ln>
                </p:spPr>
                <p:txBody>
                  <a:bodyPr rtlCol="0" anchor="ctr"/>
                  <a:lstStyle/>
                  <a:p>
                    <a:endParaRPr lang="en-GB"/>
                  </a:p>
                </p:txBody>
              </p:sp>
              <p:sp>
                <p:nvSpPr>
                  <p:cNvPr id="7687" name="Vrije vorm: vorm 7686">
                    <a:extLst>
                      <a:ext uri="{FF2B5EF4-FFF2-40B4-BE49-F238E27FC236}">
                        <a16:creationId xmlns:a16="http://schemas.microsoft.com/office/drawing/2014/main" id="{3E807282-3651-44A4-B0BB-C4155615FD6F}"/>
                      </a:ext>
                    </a:extLst>
                  </p:cNvPr>
                  <p:cNvSpPr/>
                  <p:nvPr/>
                </p:nvSpPr>
                <p:spPr>
                  <a:xfrm>
                    <a:off x="5795339" y="5288373"/>
                    <a:ext cx="11124" cy="23145"/>
                  </a:xfrm>
                  <a:custGeom>
                    <a:avLst/>
                    <a:gdLst>
                      <a:gd name="connsiteX0" fmla="*/ 11124 w 11124"/>
                      <a:gd name="connsiteY0" fmla="*/ 0 h 23145"/>
                      <a:gd name="connsiteX1" fmla="*/ 8732 w 11124"/>
                      <a:gd name="connsiteY1" fmla="*/ 3050 h 23145"/>
                      <a:gd name="connsiteX2" fmla="*/ 8612 w 11124"/>
                      <a:gd name="connsiteY2" fmla="*/ 3170 h 23145"/>
                      <a:gd name="connsiteX3" fmla="*/ 7835 w 11124"/>
                      <a:gd name="connsiteY3" fmla="*/ 4186 h 23145"/>
                      <a:gd name="connsiteX4" fmla="*/ 6459 w 11124"/>
                      <a:gd name="connsiteY4" fmla="*/ 5921 h 23145"/>
                      <a:gd name="connsiteX5" fmla="*/ 4067 w 11124"/>
                      <a:gd name="connsiteY5" fmla="*/ 8971 h 23145"/>
                      <a:gd name="connsiteX6" fmla="*/ 1675 w 11124"/>
                      <a:gd name="connsiteY6" fmla="*/ 12021 h 23145"/>
                      <a:gd name="connsiteX7" fmla="*/ 1136 w 11124"/>
                      <a:gd name="connsiteY7" fmla="*/ 12739 h 23145"/>
                      <a:gd name="connsiteX8" fmla="*/ 0 w 11124"/>
                      <a:gd name="connsiteY8" fmla="*/ 14174 h 23145"/>
                      <a:gd name="connsiteX9" fmla="*/ 598 w 11124"/>
                      <a:gd name="connsiteY9" fmla="*/ 14533 h 23145"/>
                      <a:gd name="connsiteX10" fmla="*/ 778 w 11124"/>
                      <a:gd name="connsiteY10" fmla="*/ 15789 h 23145"/>
                      <a:gd name="connsiteX11" fmla="*/ 837 w 11124"/>
                      <a:gd name="connsiteY11" fmla="*/ 16208 h 23145"/>
                      <a:gd name="connsiteX12" fmla="*/ 1256 w 11124"/>
                      <a:gd name="connsiteY12" fmla="*/ 19617 h 23145"/>
                      <a:gd name="connsiteX13" fmla="*/ 1435 w 11124"/>
                      <a:gd name="connsiteY13" fmla="*/ 21172 h 23145"/>
                      <a:gd name="connsiteX14" fmla="*/ 1675 w 11124"/>
                      <a:gd name="connsiteY14" fmla="*/ 23145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24" h="23145">
                        <a:moveTo>
                          <a:pt x="11124" y="0"/>
                        </a:moveTo>
                        <a:lnTo>
                          <a:pt x="8732" y="3050"/>
                        </a:lnTo>
                        <a:lnTo>
                          <a:pt x="8612" y="3170"/>
                        </a:lnTo>
                        <a:lnTo>
                          <a:pt x="7835" y="4186"/>
                        </a:lnTo>
                        <a:lnTo>
                          <a:pt x="6459" y="5921"/>
                        </a:lnTo>
                        <a:lnTo>
                          <a:pt x="4067" y="8971"/>
                        </a:lnTo>
                        <a:lnTo>
                          <a:pt x="1675" y="12021"/>
                        </a:lnTo>
                        <a:lnTo>
                          <a:pt x="1136" y="12739"/>
                        </a:lnTo>
                        <a:lnTo>
                          <a:pt x="0" y="14174"/>
                        </a:lnTo>
                        <a:lnTo>
                          <a:pt x="598" y="14533"/>
                        </a:lnTo>
                        <a:lnTo>
                          <a:pt x="778" y="15789"/>
                        </a:lnTo>
                        <a:lnTo>
                          <a:pt x="837" y="16208"/>
                        </a:lnTo>
                        <a:lnTo>
                          <a:pt x="1256" y="19617"/>
                        </a:lnTo>
                        <a:lnTo>
                          <a:pt x="1435" y="21172"/>
                        </a:lnTo>
                        <a:lnTo>
                          <a:pt x="1675" y="23145"/>
                        </a:lnTo>
                      </a:path>
                    </a:pathLst>
                  </a:custGeom>
                  <a:noFill/>
                  <a:ln w="6350" cap="flat">
                    <a:solidFill>
                      <a:schemeClr val="bg1">
                        <a:alpha val="40000"/>
                      </a:schemeClr>
                    </a:solidFill>
                    <a:prstDash val="solid"/>
                    <a:miter/>
                  </a:ln>
                </p:spPr>
                <p:txBody>
                  <a:bodyPr rtlCol="0" anchor="ctr"/>
                  <a:lstStyle/>
                  <a:p>
                    <a:endParaRPr lang="en-GB"/>
                  </a:p>
                </p:txBody>
              </p:sp>
              <p:sp>
                <p:nvSpPr>
                  <p:cNvPr id="7688" name="Vrije vorm: vorm 7687">
                    <a:extLst>
                      <a:ext uri="{FF2B5EF4-FFF2-40B4-BE49-F238E27FC236}">
                        <a16:creationId xmlns:a16="http://schemas.microsoft.com/office/drawing/2014/main" id="{CA329F1D-46E3-4FDF-AE38-B7B8FFE995DA}"/>
                      </a:ext>
                    </a:extLst>
                  </p:cNvPr>
                  <p:cNvSpPr/>
                  <p:nvPr/>
                </p:nvSpPr>
                <p:spPr>
                  <a:xfrm>
                    <a:off x="5728116" y="5211461"/>
                    <a:ext cx="20812" cy="11064"/>
                  </a:xfrm>
                  <a:custGeom>
                    <a:avLst/>
                    <a:gdLst>
                      <a:gd name="connsiteX0" fmla="*/ 0 w 20812"/>
                      <a:gd name="connsiteY0" fmla="*/ 0 h 11064"/>
                      <a:gd name="connsiteX1" fmla="*/ 2452 w 20812"/>
                      <a:gd name="connsiteY1" fmla="*/ 1316 h 11064"/>
                      <a:gd name="connsiteX2" fmla="*/ 4904 w 20812"/>
                      <a:gd name="connsiteY2" fmla="*/ 2632 h 11064"/>
                      <a:gd name="connsiteX3" fmla="*/ 7356 w 20812"/>
                      <a:gd name="connsiteY3" fmla="*/ 3947 h 11064"/>
                      <a:gd name="connsiteX4" fmla="*/ 9808 w 20812"/>
                      <a:gd name="connsiteY4" fmla="*/ 5263 h 11064"/>
                      <a:gd name="connsiteX5" fmla="*/ 12260 w 20812"/>
                      <a:gd name="connsiteY5" fmla="*/ 6579 h 11064"/>
                      <a:gd name="connsiteX6" fmla="*/ 14713 w 20812"/>
                      <a:gd name="connsiteY6" fmla="*/ 7895 h 11064"/>
                      <a:gd name="connsiteX7" fmla="*/ 15311 w 20812"/>
                      <a:gd name="connsiteY7" fmla="*/ 8194 h 11064"/>
                      <a:gd name="connsiteX8" fmla="*/ 17763 w 20812"/>
                      <a:gd name="connsiteY8" fmla="*/ 9510 h 11064"/>
                      <a:gd name="connsiteX9" fmla="*/ 17942 w 20812"/>
                      <a:gd name="connsiteY9" fmla="*/ 9569 h 11064"/>
                      <a:gd name="connsiteX10" fmla="*/ 19676 w 20812"/>
                      <a:gd name="connsiteY10" fmla="*/ 10466 h 11064"/>
                      <a:gd name="connsiteX11" fmla="*/ 20813 w 20812"/>
                      <a:gd name="connsiteY11" fmla="*/ 11065 h 1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12" h="11064">
                        <a:moveTo>
                          <a:pt x="0" y="0"/>
                        </a:moveTo>
                        <a:lnTo>
                          <a:pt x="2452" y="1316"/>
                        </a:lnTo>
                        <a:lnTo>
                          <a:pt x="4904" y="2632"/>
                        </a:lnTo>
                        <a:lnTo>
                          <a:pt x="7356" y="3947"/>
                        </a:lnTo>
                        <a:lnTo>
                          <a:pt x="9808" y="5263"/>
                        </a:lnTo>
                        <a:lnTo>
                          <a:pt x="12260" y="6579"/>
                        </a:lnTo>
                        <a:lnTo>
                          <a:pt x="14713" y="7895"/>
                        </a:lnTo>
                        <a:lnTo>
                          <a:pt x="15311" y="8194"/>
                        </a:lnTo>
                        <a:lnTo>
                          <a:pt x="17763" y="9510"/>
                        </a:lnTo>
                        <a:lnTo>
                          <a:pt x="17942" y="9569"/>
                        </a:lnTo>
                        <a:lnTo>
                          <a:pt x="19676" y="10466"/>
                        </a:lnTo>
                        <a:lnTo>
                          <a:pt x="20813" y="11065"/>
                        </a:lnTo>
                      </a:path>
                    </a:pathLst>
                  </a:custGeom>
                  <a:noFill/>
                  <a:ln w="6350" cap="flat">
                    <a:solidFill>
                      <a:schemeClr val="bg1">
                        <a:alpha val="40000"/>
                      </a:schemeClr>
                    </a:solidFill>
                    <a:prstDash val="solid"/>
                    <a:miter/>
                  </a:ln>
                </p:spPr>
                <p:txBody>
                  <a:bodyPr rtlCol="0" anchor="ctr"/>
                  <a:lstStyle/>
                  <a:p>
                    <a:endParaRPr lang="en-GB"/>
                  </a:p>
                </p:txBody>
              </p:sp>
              <p:sp>
                <p:nvSpPr>
                  <p:cNvPr id="7689" name="Vrije vorm: vorm 7688">
                    <a:extLst>
                      <a:ext uri="{FF2B5EF4-FFF2-40B4-BE49-F238E27FC236}">
                        <a16:creationId xmlns:a16="http://schemas.microsoft.com/office/drawing/2014/main" id="{99EF8894-58D0-4E51-8AC3-1AB0C1B9AED4}"/>
                      </a:ext>
                    </a:extLst>
                  </p:cNvPr>
                  <p:cNvSpPr/>
                  <p:nvPr/>
                </p:nvSpPr>
                <p:spPr>
                  <a:xfrm>
                    <a:off x="5728116" y="5211461"/>
                    <a:ext cx="7356" cy="36661"/>
                  </a:xfrm>
                  <a:custGeom>
                    <a:avLst/>
                    <a:gdLst>
                      <a:gd name="connsiteX0" fmla="*/ 7356 w 7356"/>
                      <a:gd name="connsiteY0" fmla="*/ 36662 h 36661"/>
                      <a:gd name="connsiteX1" fmla="*/ 6698 w 7356"/>
                      <a:gd name="connsiteY1" fmla="*/ 33373 h 36661"/>
                      <a:gd name="connsiteX2" fmla="*/ 6041 w 7356"/>
                      <a:gd name="connsiteY2" fmla="*/ 30083 h 36661"/>
                      <a:gd name="connsiteX3" fmla="*/ 5383 w 7356"/>
                      <a:gd name="connsiteY3" fmla="*/ 26794 h 36661"/>
                      <a:gd name="connsiteX4" fmla="*/ 4725 w 7356"/>
                      <a:gd name="connsiteY4" fmla="*/ 23504 h 36661"/>
                      <a:gd name="connsiteX5" fmla="*/ 4545 w 7356"/>
                      <a:gd name="connsiteY5" fmla="*/ 22607 h 36661"/>
                      <a:gd name="connsiteX6" fmla="*/ 4007 w 7356"/>
                      <a:gd name="connsiteY6" fmla="*/ 20036 h 36661"/>
                      <a:gd name="connsiteX7" fmla="*/ 3947 w 7356"/>
                      <a:gd name="connsiteY7" fmla="*/ 19677 h 36661"/>
                      <a:gd name="connsiteX8" fmla="*/ 3469 w 7356"/>
                      <a:gd name="connsiteY8" fmla="*/ 17464 h 36661"/>
                      <a:gd name="connsiteX9" fmla="*/ 2811 w 7356"/>
                      <a:gd name="connsiteY9" fmla="*/ 14174 h 36661"/>
                      <a:gd name="connsiteX10" fmla="*/ 2153 w 7356"/>
                      <a:gd name="connsiteY10" fmla="*/ 10885 h 36661"/>
                      <a:gd name="connsiteX11" fmla="*/ 1974 w 7356"/>
                      <a:gd name="connsiteY11" fmla="*/ 9868 h 36661"/>
                      <a:gd name="connsiteX12" fmla="*/ 1914 w 7356"/>
                      <a:gd name="connsiteY12" fmla="*/ 9510 h 36661"/>
                      <a:gd name="connsiteX13" fmla="*/ 1256 w 7356"/>
                      <a:gd name="connsiteY13" fmla="*/ 6220 h 36661"/>
                      <a:gd name="connsiteX14" fmla="*/ 1196 w 7356"/>
                      <a:gd name="connsiteY14" fmla="*/ 6041 h 36661"/>
                      <a:gd name="connsiteX15" fmla="*/ 538 w 7356"/>
                      <a:gd name="connsiteY15" fmla="*/ 2751 h 36661"/>
                      <a:gd name="connsiteX16" fmla="*/ 180 w 7356"/>
                      <a:gd name="connsiteY16" fmla="*/ 957 h 36661"/>
                      <a:gd name="connsiteX17" fmla="*/ 0 w 7356"/>
                      <a:gd name="connsiteY17" fmla="*/ 0 h 3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56" h="36661">
                        <a:moveTo>
                          <a:pt x="7356" y="36662"/>
                        </a:moveTo>
                        <a:lnTo>
                          <a:pt x="6698" y="33373"/>
                        </a:lnTo>
                        <a:lnTo>
                          <a:pt x="6041" y="30083"/>
                        </a:lnTo>
                        <a:lnTo>
                          <a:pt x="5383" y="26794"/>
                        </a:lnTo>
                        <a:lnTo>
                          <a:pt x="4725" y="23504"/>
                        </a:lnTo>
                        <a:lnTo>
                          <a:pt x="4545" y="22607"/>
                        </a:lnTo>
                        <a:lnTo>
                          <a:pt x="4007" y="20036"/>
                        </a:lnTo>
                        <a:lnTo>
                          <a:pt x="3947" y="19677"/>
                        </a:lnTo>
                        <a:lnTo>
                          <a:pt x="3469" y="17464"/>
                        </a:lnTo>
                        <a:lnTo>
                          <a:pt x="2811" y="14174"/>
                        </a:lnTo>
                        <a:lnTo>
                          <a:pt x="2153" y="10885"/>
                        </a:lnTo>
                        <a:lnTo>
                          <a:pt x="1974" y="9868"/>
                        </a:lnTo>
                        <a:lnTo>
                          <a:pt x="1914" y="9510"/>
                        </a:lnTo>
                        <a:lnTo>
                          <a:pt x="1256" y="6220"/>
                        </a:lnTo>
                        <a:lnTo>
                          <a:pt x="1196" y="6041"/>
                        </a:lnTo>
                        <a:lnTo>
                          <a:pt x="538" y="2751"/>
                        </a:lnTo>
                        <a:lnTo>
                          <a:pt x="180" y="957"/>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90" name="Vrije vorm: vorm 7689">
                    <a:extLst>
                      <a:ext uri="{FF2B5EF4-FFF2-40B4-BE49-F238E27FC236}">
                        <a16:creationId xmlns:a16="http://schemas.microsoft.com/office/drawing/2014/main" id="{95A855DB-8A84-4C18-A2C5-A84D839A049D}"/>
                      </a:ext>
                    </a:extLst>
                  </p:cNvPr>
                  <p:cNvSpPr/>
                  <p:nvPr/>
                </p:nvSpPr>
                <p:spPr>
                  <a:xfrm>
                    <a:off x="5769084" y="5337714"/>
                    <a:ext cx="6220" cy="35824"/>
                  </a:xfrm>
                  <a:custGeom>
                    <a:avLst/>
                    <a:gdLst>
                      <a:gd name="connsiteX0" fmla="*/ 6220 w 6220"/>
                      <a:gd name="connsiteY0" fmla="*/ 35824 h 35824"/>
                      <a:gd name="connsiteX1" fmla="*/ 5622 w 6220"/>
                      <a:gd name="connsiteY1" fmla="*/ 32475 h 35824"/>
                      <a:gd name="connsiteX2" fmla="*/ 5024 w 6220"/>
                      <a:gd name="connsiteY2" fmla="*/ 29126 h 35824"/>
                      <a:gd name="connsiteX3" fmla="*/ 4844 w 6220"/>
                      <a:gd name="connsiteY3" fmla="*/ 28229 h 35824"/>
                      <a:gd name="connsiteX4" fmla="*/ 4545 w 6220"/>
                      <a:gd name="connsiteY4" fmla="*/ 26435 h 35824"/>
                      <a:gd name="connsiteX5" fmla="*/ 4246 w 6220"/>
                      <a:gd name="connsiteY5" fmla="*/ 24581 h 35824"/>
                      <a:gd name="connsiteX6" fmla="*/ 4246 w 6220"/>
                      <a:gd name="connsiteY6" fmla="*/ 24581 h 35824"/>
                      <a:gd name="connsiteX7" fmla="*/ 3768 w 6220"/>
                      <a:gd name="connsiteY7" fmla="*/ 21829 h 35824"/>
                      <a:gd name="connsiteX8" fmla="*/ 3589 w 6220"/>
                      <a:gd name="connsiteY8" fmla="*/ 20933 h 35824"/>
                      <a:gd name="connsiteX9" fmla="*/ 3529 w 6220"/>
                      <a:gd name="connsiteY9" fmla="*/ 20454 h 35824"/>
                      <a:gd name="connsiteX10" fmla="*/ 2931 w 6220"/>
                      <a:gd name="connsiteY10" fmla="*/ 17105 h 35824"/>
                      <a:gd name="connsiteX11" fmla="*/ 2691 w 6220"/>
                      <a:gd name="connsiteY11" fmla="*/ 15789 h 35824"/>
                      <a:gd name="connsiteX12" fmla="*/ 2452 w 6220"/>
                      <a:gd name="connsiteY12" fmla="*/ 14354 h 35824"/>
                      <a:gd name="connsiteX13" fmla="*/ 1854 w 6220"/>
                      <a:gd name="connsiteY13" fmla="*/ 11004 h 35824"/>
                      <a:gd name="connsiteX14" fmla="*/ 1675 w 6220"/>
                      <a:gd name="connsiteY14" fmla="*/ 9928 h 35824"/>
                      <a:gd name="connsiteX15" fmla="*/ 1436 w 6220"/>
                      <a:gd name="connsiteY15" fmla="*/ 8433 h 35824"/>
                      <a:gd name="connsiteX16" fmla="*/ 1077 w 6220"/>
                      <a:gd name="connsiteY16" fmla="*/ 6280 h 35824"/>
                      <a:gd name="connsiteX17" fmla="*/ 1077 w 6220"/>
                      <a:gd name="connsiteY17" fmla="*/ 6280 h 35824"/>
                      <a:gd name="connsiteX18" fmla="*/ 479 w 6220"/>
                      <a:gd name="connsiteY18" fmla="*/ 2930 h 35824"/>
                      <a:gd name="connsiteX19" fmla="*/ 359 w 6220"/>
                      <a:gd name="connsiteY19" fmla="*/ 2332 h 35824"/>
                      <a:gd name="connsiteX20" fmla="*/ 299 w 6220"/>
                      <a:gd name="connsiteY20" fmla="*/ 1973 h 35824"/>
                      <a:gd name="connsiteX21" fmla="*/ 299 w 6220"/>
                      <a:gd name="connsiteY21" fmla="*/ 1973 h 35824"/>
                      <a:gd name="connsiteX22" fmla="*/ 239 w 6220"/>
                      <a:gd name="connsiteY22" fmla="*/ 1495 h 35824"/>
                      <a:gd name="connsiteX23" fmla="*/ 0 w 6220"/>
                      <a:gd name="connsiteY23" fmla="*/ 0 h 3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20" h="35824">
                        <a:moveTo>
                          <a:pt x="6220" y="35824"/>
                        </a:moveTo>
                        <a:lnTo>
                          <a:pt x="5622" y="32475"/>
                        </a:lnTo>
                        <a:lnTo>
                          <a:pt x="5024" y="29126"/>
                        </a:lnTo>
                        <a:lnTo>
                          <a:pt x="4844" y="28229"/>
                        </a:lnTo>
                        <a:lnTo>
                          <a:pt x="4545" y="26435"/>
                        </a:lnTo>
                        <a:lnTo>
                          <a:pt x="4246" y="24581"/>
                        </a:lnTo>
                        <a:lnTo>
                          <a:pt x="4246" y="24581"/>
                        </a:lnTo>
                        <a:lnTo>
                          <a:pt x="3768" y="21829"/>
                        </a:lnTo>
                        <a:lnTo>
                          <a:pt x="3589" y="20933"/>
                        </a:lnTo>
                        <a:lnTo>
                          <a:pt x="3529" y="20454"/>
                        </a:lnTo>
                        <a:lnTo>
                          <a:pt x="2931" y="17105"/>
                        </a:lnTo>
                        <a:lnTo>
                          <a:pt x="2691" y="15789"/>
                        </a:lnTo>
                        <a:lnTo>
                          <a:pt x="2452" y="14354"/>
                        </a:lnTo>
                        <a:lnTo>
                          <a:pt x="1854" y="11004"/>
                        </a:lnTo>
                        <a:lnTo>
                          <a:pt x="1675" y="9928"/>
                        </a:lnTo>
                        <a:lnTo>
                          <a:pt x="1436" y="8433"/>
                        </a:lnTo>
                        <a:lnTo>
                          <a:pt x="1077" y="6280"/>
                        </a:lnTo>
                        <a:lnTo>
                          <a:pt x="1077" y="6280"/>
                        </a:lnTo>
                        <a:lnTo>
                          <a:pt x="479" y="2930"/>
                        </a:lnTo>
                        <a:lnTo>
                          <a:pt x="359" y="2332"/>
                        </a:lnTo>
                        <a:lnTo>
                          <a:pt x="299" y="1973"/>
                        </a:lnTo>
                        <a:lnTo>
                          <a:pt x="299" y="1973"/>
                        </a:lnTo>
                        <a:lnTo>
                          <a:pt x="239" y="1495"/>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691" name="Vrije vorm: vorm 7690">
                    <a:extLst>
                      <a:ext uri="{FF2B5EF4-FFF2-40B4-BE49-F238E27FC236}">
                        <a16:creationId xmlns:a16="http://schemas.microsoft.com/office/drawing/2014/main" id="{BC59E55B-1149-49AF-8185-FCEAABE39EA5}"/>
                      </a:ext>
                    </a:extLst>
                  </p:cNvPr>
                  <p:cNvSpPr/>
                  <p:nvPr/>
                </p:nvSpPr>
                <p:spPr>
                  <a:xfrm>
                    <a:off x="5795638" y="5332930"/>
                    <a:ext cx="29365" cy="50656"/>
                  </a:xfrm>
                  <a:custGeom>
                    <a:avLst/>
                    <a:gdLst>
                      <a:gd name="connsiteX0" fmla="*/ 29366 w 29365"/>
                      <a:gd name="connsiteY0" fmla="*/ 0 h 50656"/>
                      <a:gd name="connsiteX1" fmla="*/ 29067 w 29365"/>
                      <a:gd name="connsiteY1" fmla="*/ 60 h 50656"/>
                      <a:gd name="connsiteX2" fmla="*/ 26554 w 29365"/>
                      <a:gd name="connsiteY2" fmla="*/ 359 h 50656"/>
                      <a:gd name="connsiteX3" fmla="*/ 23564 w 29365"/>
                      <a:gd name="connsiteY3" fmla="*/ 2093 h 50656"/>
                      <a:gd name="connsiteX4" fmla="*/ 23026 w 29365"/>
                      <a:gd name="connsiteY4" fmla="*/ 2392 h 50656"/>
                      <a:gd name="connsiteX5" fmla="*/ 20275 w 29365"/>
                      <a:gd name="connsiteY5" fmla="*/ 4904 h 50656"/>
                      <a:gd name="connsiteX6" fmla="*/ 18959 w 29365"/>
                      <a:gd name="connsiteY6" fmla="*/ 6100 h 50656"/>
                      <a:gd name="connsiteX7" fmla="*/ 18540 w 29365"/>
                      <a:gd name="connsiteY7" fmla="*/ 6579 h 50656"/>
                      <a:gd name="connsiteX8" fmla="*/ 16088 w 29365"/>
                      <a:gd name="connsiteY8" fmla="*/ 9569 h 50656"/>
                      <a:gd name="connsiteX9" fmla="*/ 14653 w 29365"/>
                      <a:gd name="connsiteY9" fmla="*/ 11304 h 50656"/>
                      <a:gd name="connsiteX10" fmla="*/ 14174 w 29365"/>
                      <a:gd name="connsiteY10" fmla="*/ 11961 h 50656"/>
                      <a:gd name="connsiteX11" fmla="*/ 11961 w 29365"/>
                      <a:gd name="connsiteY11" fmla="*/ 15191 h 50656"/>
                      <a:gd name="connsiteX12" fmla="*/ 10407 w 29365"/>
                      <a:gd name="connsiteY12" fmla="*/ 17464 h 50656"/>
                      <a:gd name="connsiteX13" fmla="*/ 8493 w 29365"/>
                      <a:gd name="connsiteY13" fmla="*/ 20933 h 50656"/>
                      <a:gd name="connsiteX14" fmla="*/ 6579 w 29365"/>
                      <a:gd name="connsiteY14" fmla="*/ 24342 h 50656"/>
                      <a:gd name="connsiteX15" fmla="*/ 4964 w 29365"/>
                      <a:gd name="connsiteY15" fmla="*/ 27930 h 50656"/>
                      <a:gd name="connsiteX16" fmla="*/ 3947 w 29365"/>
                      <a:gd name="connsiteY16" fmla="*/ 30203 h 50656"/>
                      <a:gd name="connsiteX17" fmla="*/ 3469 w 29365"/>
                      <a:gd name="connsiteY17" fmla="*/ 31279 h 50656"/>
                      <a:gd name="connsiteX18" fmla="*/ 2213 w 29365"/>
                      <a:gd name="connsiteY18" fmla="*/ 34987 h 50656"/>
                      <a:gd name="connsiteX19" fmla="*/ 1555 w 29365"/>
                      <a:gd name="connsiteY19" fmla="*/ 36901 h 50656"/>
                      <a:gd name="connsiteX20" fmla="*/ 1256 w 29365"/>
                      <a:gd name="connsiteY20" fmla="*/ 37798 h 50656"/>
                      <a:gd name="connsiteX21" fmla="*/ 479 w 29365"/>
                      <a:gd name="connsiteY21" fmla="*/ 41566 h 50656"/>
                      <a:gd name="connsiteX22" fmla="*/ 60 w 29365"/>
                      <a:gd name="connsiteY22" fmla="*/ 43480 h 50656"/>
                      <a:gd name="connsiteX23" fmla="*/ 0 w 29365"/>
                      <a:gd name="connsiteY23" fmla="*/ 47068 h 50656"/>
                      <a:gd name="connsiteX24" fmla="*/ 0 w 29365"/>
                      <a:gd name="connsiteY24" fmla="*/ 47846 h 50656"/>
                      <a:gd name="connsiteX25" fmla="*/ 897 w 29365"/>
                      <a:gd name="connsiteY25" fmla="*/ 50298 h 50656"/>
                      <a:gd name="connsiteX26" fmla="*/ 1017 w 29365"/>
                      <a:gd name="connsiteY26" fmla="*/ 50657 h 5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365" h="50656">
                        <a:moveTo>
                          <a:pt x="29366" y="0"/>
                        </a:moveTo>
                        <a:lnTo>
                          <a:pt x="29067" y="60"/>
                        </a:lnTo>
                        <a:lnTo>
                          <a:pt x="26554" y="359"/>
                        </a:lnTo>
                        <a:lnTo>
                          <a:pt x="23564" y="2093"/>
                        </a:lnTo>
                        <a:lnTo>
                          <a:pt x="23026" y="2392"/>
                        </a:lnTo>
                        <a:lnTo>
                          <a:pt x="20275" y="4904"/>
                        </a:lnTo>
                        <a:lnTo>
                          <a:pt x="18959" y="6100"/>
                        </a:lnTo>
                        <a:lnTo>
                          <a:pt x="18540" y="6579"/>
                        </a:lnTo>
                        <a:lnTo>
                          <a:pt x="16088" y="9569"/>
                        </a:lnTo>
                        <a:lnTo>
                          <a:pt x="14653" y="11304"/>
                        </a:lnTo>
                        <a:lnTo>
                          <a:pt x="14174" y="11961"/>
                        </a:lnTo>
                        <a:lnTo>
                          <a:pt x="11961" y="15191"/>
                        </a:lnTo>
                        <a:lnTo>
                          <a:pt x="10407" y="17464"/>
                        </a:lnTo>
                        <a:lnTo>
                          <a:pt x="8493" y="20933"/>
                        </a:lnTo>
                        <a:lnTo>
                          <a:pt x="6579" y="24342"/>
                        </a:lnTo>
                        <a:lnTo>
                          <a:pt x="4964" y="27930"/>
                        </a:lnTo>
                        <a:lnTo>
                          <a:pt x="3947" y="30203"/>
                        </a:lnTo>
                        <a:lnTo>
                          <a:pt x="3469" y="31279"/>
                        </a:lnTo>
                        <a:lnTo>
                          <a:pt x="2213" y="34987"/>
                        </a:lnTo>
                        <a:lnTo>
                          <a:pt x="1555" y="36901"/>
                        </a:lnTo>
                        <a:lnTo>
                          <a:pt x="1256" y="37798"/>
                        </a:lnTo>
                        <a:lnTo>
                          <a:pt x="479" y="41566"/>
                        </a:lnTo>
                        <a:lnTo>
                          <a:pt x="60" y="43480"/>
                        </a:lnTo>
                        <a:lnTo>
                          <a:pt x="0" y="47068"/>
                        </a:lnTo>
                        <a:lnTo>
                          <a:pt x="0" y="47846"/>
                        </a:lnTo>
                        <a:lnTo>
                          <a:pt x="897" y="50298"/>
                        </a:lnTo>
                        <a:lnTo>
                          <a:pt x="1017" y="50657"/>
                        </a:lnTo>
                      </a:path>
                    </a:pathLst>
                  </a:custGeom>
                  <a:noFill/>
                  <a:ln w="6350" cap="flat">
                    <a:solidFill>
                      <a:schemeClr val="bg1">
                        <a:alpha val="40000"/>
                      </a:schemeClr>
                    </a:solidFill>
                    <a:prstDash val="solid"/>
                    <a:miter/>
                  </a:ln>
                </p:spPr>
                <p:txBody>
                  <a:bodyPr rtlCol="0" anchor="ctr"/>
                  <a:lstStyle/>
                  <a:p>
                    <a:endParaRPr lang="en-GB"/>
                  </a:p>
                </p:txBody>
              </p:sp>
              <p:sp>
                <p:nvSpPr>
                  <p:cNvPr id="7692" name="Vrije vorm: vorm 7691">
                    <a:extLst>
                      <a:ext uri="{FF2B5EF4-FFF2-40B4-BE49-F238E27FC236}">
                        <a16:creationId xmlns:a16="http://schemas.microsoft.com/office/drawing/2014/main" id="{77CC29DE-990C-48D1-BFB6-5A6614DD0F51}"/>
                      </a:ext>
                    </a:extLst>
                  </p:cNvPr>
                  <p:cNvSpPr/>
                  <p:nvPr/>
                </p:nvSpPr>
                <p:spPr>
                  <a:xfrm>
                    <a:off x="5796715" y="5332750"/>
                    <a:ext cx="30980" cy="51852"/>
                  </a:xfrm>
                  <a:custGeom>
                    <a:avLst/>
                    <a:gdLst>
                      <a:gd name="connsiteX0" fmla="*/ 0 w 30980"/>
                      <a:gd name="connsiteY0" fmla="*/ 50776 h 51852"/>
                      <a:gd name="connsiteX1" fmla="*/ 2093 w 30980"/>
                      <a:gd name="connsiteY1" fmla="*/ 51853 h 51852"/>
                      <a:gd name="connsiteX2" fmla="*/ 5024 w 30980"/>
                      <a:gd name="connsiteY2" fmla="*/ 51135 h 51852"/>
                      <a:gd name="connsiteX3" fmla="*/ 7954 w 30980"/>
                      <a:gd name="connsiteY3" fmla="*/ 49161 h 51852"/>
                      <a:gd name="connsiteX4" fmla="*/ 8612 w 30980"/>
                      <a:gd name="connsiteY4" fmla="*/ 48743 h 51852"/>
                      <a:gd name="connsiteX5" fmla="*/ 11303 w 30980"/>
                      <a:gd name="connsiteY5" fmla="*/ 46111 h 51852"/>
                      <a:gd name="connsiteX6" fmla="*/ 12559 w 30980"/>
                      <a:gd name="connsiteY6" fmla="*/ 44855 h 51852"/>
                      <a:gd name="connsiteX7" fmla="*/ 15011 w 30980"/>
                      <a:gd name="connsiteY7" fmla="*/ 41865 h 51852"/>
                      <a:gd name="connsiteX8" fmla="*/ 16686 w 30980"/>
                      <a:gd name="connsiteY8" fmla="*/ 39772 h 51852"/>
                      <a:gd name="connsiteX9" fmla="*/ 18839 w 30980"/>
                      <a:gd name="connsiteY9" fmla="*/ 36482 h 51852"/>
                      <a:gd name="connsiteX10" fmla="*/ 20633 w 30980"/>
                      <a:gd name="connsiteY10" fmla="*/ 33791 h 51852"/>
                      <a:gd name="connsiteX11" fmla="*/ 22547 w 30980"/>
                      <a:gd name="connsiteY11" fmla="*/ 30322 h 51852"/>
                      <a:gd name="connsiteX12" fmla="*/ 24222 w 30980"/>
                      <a:gd name="connsiteY12" fmla="*/ 27332 h 51852"/>
                      <a:gd name="connsiteX13" fmla="*/ 25896 w 30980"/>
                      <a:gd name="connsiteY13" fmla="*/ 23743 h 51852"/>
                      <a:gd name="connsiteX14" fmla="*/ 27272 w 30980"/>
                      <a:gd name="connsiteY14" fmla="*/ 20753 h 51852"/>
                      <a:gd name="connsiteX15" fmla="*/ 28588 w 30980"/>
                      <a:gd name="connsiteY15" fmla="*/ 17045 h 51852"/>
                      <a:gd name="connsiteX16" fmla="*/ 29485 w 30980"/>
                      <a:gd name="connsiteY16" fmla="*/ 14473 h 51852"/>
                      <a:gd name="connsiteX17" fmla="*/ 30322 w 30980"/>
                      <a:gd name="connsiteY17" fmla="*/ 10705 h 51852"/>
                      <a:gd name="connsiteX18" fmla="*/ 30741 w 30980"/>
                      <a:gd name="connsiteY18" fmla="*/ 8911 h 51852"/>
                      <a:gd name="connsiteX19" fmla="*/ 30920 w 30980"/>
                      <a:gd name="connsiteY19" fmla="*/ 5263 h 51852"/>
                      <a:gd name="connsiteX20" fmla="*/ 30980 w 30980"/>
                      <a:gd name="connsiteY20" fmla="*/ 4486 h 51852"/>
                      <a:gd name="connsiteX21" fmla="*/ 30143 w 30980"/>
                      <a:gd name="connsiteY21" fmla="*/ 1435 h 51852"/>
                      <a:gd name="connsiteX22" fmla="*/ 28289 w 30980"/>
                      <a:gd name="connsiteY22" fmla="*/ 0 h 5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980" h="51852">
                        <a:moveTo>
                          <a:pt x="0" y="50776"/>
                        </a:moveTo>
                        <a:lnTo>
                          <a:pt x="2093" y="51853"/>
                        </a:lnTo>
                        <a:lnTo>
                          <a:pt x="5024" y="51135"/>
                        </a:lnTo>
                        <a:lnTo>
                          <a:pt x="7954" y="49161"/>
                        </a:lnTo>
                        <a:lnTo>
                          <a:pt x="8612" y="48743"/>
                        </a:lnTo>
                        <a:lnTo>
                          <a:pt x="11303" y="46111"/>
                        </a:lnTo>
                        <a:lnTo>
                          <a:pt x="12559" y="44855"/>
                        </a:lnTo>
                        <a:lnTo>
                          <a:pt x="15011" y="41865"/>
                        </a:lnTo>
                        <a:lnTo>
                          <a:pt x="16686" y="39772"/>
                        </a:lnTo>
                        <a:lnTo>
                          <a:pt x="18839" y="36482"/>
                        </a:lnTo>
                        <a:lnTo>
                          <a:pt x="20633" y="33791"/>
                        </a:lnTo>
                        <a:lnTo>
                          <a:pt x="22547" y="30322"/>
                        </a:lnTo>
                        <a:lnTo>
                          <a:pt x="24222" y="27332"/>
                        </a:lnTo>
                        <a:lnTo>
                          <a:pt x="25896" y="23743"/>
                        </a:lnTo>
                        <a:lnTo>
                          <a:pt x="27272" y="20753"/>
                        </a:lnTo>
                        <a:lnTo>
                          <a:pt x="28588" y="17045"/>
                        </a:lnTo>
                        <a:lnTo>
                          <a:pt x="29485" y="14473"/>
                        </a:lnTo>
                        <a:lnTo>
                          <a:pt x="30322" y="10705"/>
                        </a:lnTo>
                        <a:lnTo>
                          <a:pt x="30741" y="8911"/>
                        </a:lnTo>
                        <a:lnTo>
                          <a:pt x="30920" y="5263"/>
                        </a:lnTo>
                        <a:lnTo>
                          <a:pt x="30980" y="4486"/>
                        </a:lnTo>
                        <a:lnTo>
                          <a:pt x="30143" y="1435"/>
                        </a:lnTo>
                        <a:lnTo>
                          <a:pt x="28289" y="0"/>
                        </a:lnTo>
                      </a:path>
                    </a:pathLst>
                  </a:custGeom>
                  <a:noFill/>
                  <a:ln w="6350" cap="flat">
                    <a:solidFill>
                      <a:schemeClr val="bg1">
                        <a:alpha val="40000"/>
                      </a:schemeClr>
                    </a:solidFill>
                    <a:prstDash val="solid"/>
                    <a:miter/>
                  </a:ln>
                </p:spPr>
                <p:txBody>
                  <a:bodyPr rtlCol="0" anchor="ctr"/>
                  <a:lstStyle/>
                  <a:p>
                    <a:endParaRPr lang="en-GB"/>
                  </a:p>
                </p:txBody>
              </p:sp>
              <p:sp>
                <p:nvSpPr>
                  <p:cNvPr id="7693" name="Vrije vorm: vorm 7692">
                    <a:extLst>
                      <a:ext uri="{FF2B5EF4-FFF2-40B4-BE49-F238E27FC236}">
                        <a16:creationId xmlns:a16="http://schemas.microsoft.com/office/drawing/2014/main" id="{1E9611A7-EF2C-4F38-9E40-B7C5414F6705}"/>
                      </a:ext>
                    </a:extLst>
                  </p:cNvPr>
                  <p:cNvSpPr/>
                  <p:nvPr/>
                </p:nvSpPr>
                <p:spPr>
                  <a:xfrm>
                    <a:off x="5798329" y="5301770"/>
                    <a:ext cx="1256" cy="2152"/>
                  </a:xfrm>
                  <a:custGeom>
                    <a:avLst/>
                    <a:gdLst>
                      <a:gd name="connsiteX0" fmla="*/ 1136 w 1256"/>
                      <a:gd name="connsiteY0" fmla="*/ 299 h 2152"/>
                      <a:gd name="connsiteX1" fmla="*/ 1017 w 1256"/>
                      <a:gd name="connsiteY1" fmla="*/ 299 h 2152"/>
                      <a:gd name="connsiteX2" fmla="*/ 957 w 1256"/>
                      <a:gd name="connsiteY2" fmla="*/ 299 h 2152"/>
                      <a:gd name="connsiteX3" fmla="*/ 897 w 1256"/>
                      <a:gd name="connsiteY3" fmla="*/ 299 h 2152"/>
                      <a:gd name="connsiteX4" fmla="*/ 837 w 1256"/>
                      <a:gd name="connsiteY4" fmla="*/ 299 h 2152"/>
                      <a:gd name="connsiteX5" fmla="*/ 658 w 1256"/>
                      <a:gd name="connsiteY5" fmla="*/ 419 h 2152"/>
                      <a:gd name="connsiteX6" fmla="*/ 658 w 1256"/>
                      <a:gd name="connsiteY6" fmla="*/ 419 h 2152"/>
                      <a:gd name="connsiteX7" fmla="*/ 479 w 1256"/>
                      <a:gd name="connsiteY7" fmla="*/ 598 h 2152"/>
                      <a:gd name="connsiteX8" fmla="*/ 299 w 1256"/>
                      <a:gd name="connsiteY8" fmla="*/ 837 h 2152"/>
                      <a:gd name="connsiteX9" fmla="*/ 180 w 1256"/>
                      <a:gd name="connsiteY9" fmla="*/ 1076 h 2152"/>
                      <a:gd name="connsiteX10" fmla="*/ 120 w 1256"/>
                      <a:gd name="connsiteY10" fmla="*/ 1196 h 2152"/>
                      <a:gd name="connsiteX11" fmla="*/ 60 w 1256"/>
                      <a:gd name="connsiteY11" fmla="*/ 1375 h 2152"/>
                      <a:gd name="connsiteX12" fmla="*/ 0 w 1256"/>
                      <a:gd name="connsiteY12" fmla="*/ 1615 h 2152"/>
                      <a:gd name="connsiteX13" fmla="*/ 0 w 1256"/>
                      <a:gd name="connsiteY13" fmla="*/ 1734 h 2152"/>
                      <a:gd name="connsiteX14" fmla="*/ 0 w 1256"/>
                      <a:gd name="connsiteY14" fmla="*/ 1794 h 2152"/>
                      <a:gd name="connsiteX15" fmla="*/ 0 w 1256"/>
                      <a:gd name="connsiteY15" fmla="*/ 1973 h 2152"/>
                      <a:gd name="connsiteX16" fmla="*/ 60 w 1256"/>
                      <a:gd name="connsiteY16" fmla="*/ 2093 h 2152"/>
                      <a:gd name="connsiteX17" fmla="*/ 180 w 1256"/>
                      <a:gd name="connsiteY17" fmla="*/ 2153 h 2152"/>
                      <a:gd name="connsiteX18" fmla="*/ 180 w 1256"/>
                      <a:gd name="connsiteY18" fmla="*/ 2153 h 2152"/>
                      <a:gd name="connsiteX19" fmla="*/ 299 w 1256"/>
                      <a:gd name="connsiteY19" fmla="*/ 2153 h 2152"/>
                      <a:gd name="connsiteX20" fmla="*/ 419 w 1256"/>
                      <a:gd name="connsiteY20" fmla="*/ 2093 h 2152"/>
                      <a:gd name="connsiteX21" fmla="*/ 598 w 1256"/>
                      <a:gd name="connsiteY21" fmla="*/ 1973 h 2152"/>
                      <a:gd name="connsiteX22" fmla="*/ 778 w 1256"/>
                      <a:gd name="connsiteY22" fmla="*/ 1794 h 2152"/>
                      <a:gd name="connsiteX23" fmla="*/ 957 w 1256"/>
                      <a:gd name="connsiteY23" fmla="*/ 1555 h 2152"/>
                      <a:gd name="connsiteX24" fmla="*/ 1076 w 1256"/>
                      <a:gd name="connsiteY24" fmla="*/ 1316 h 2152"/>
                      <a:gd name="connsiteX25" fmla="*/ 1196 w 1256"/>
                      <a:gd name="connsiteY25" fmla="*/ 1076 h 2152"/>
                      <a:gd name="connsiteX26" fmla="*/ 1256 w 1256"/>
                      <a:gd name="connsiteY26" fmla="*/ 837 h 2152"/>
                      <a:gd name="connsiteX27" fmla="*/ 1256 w 1256"/>
                      <a:gd name="connsiteY27" fmla="*/ 837 h 2152"/>
                      <a:gd name="connsiteX28" fmla="*/ 1256 w 1256"/>
                      <a:gd name="connsiteY28" fmla="*/ 837 h 2152"/>
                      <a:gd name="connsiteX29" fmla="*/ 1256 w 1256"/>
                      <a:gd name="connsiteY29" fmla="*/ 598 h 2152"/>
                      <a:gd name="connsiteX30" fmla="*/ 1256 w 1256"/>
                      <a:gd name="connsiteY30" fmla="*/ 419 h 2152"/>
                      <a:gd name="connsiteX31" fmla="*/ 1256 w 1256"/>
                      <a:gd name="connsiteY31" fmla="*/ 419 h 2152"/>
                      <a:gd name="connsiteX32" fmla="*/ 1196 w 1256"/>
                      <a:gd name="connsiteY32" fmla="*/ 299 h 2152"/>
                      <a:gd name="connsiteX33" fmla="*/ 1136 w 1256"/>
                      <a:gd name="connsiteY33" fmla="*/ 299 h 2152"/>
                      <a:gd name="connsiteX34" fmla="*/ 1017 w 1256"/>
                      <a:gd name="connsiteY34" fmla="*/ 239 h 2152"/>
                      <a:gd name="connsiteX35" fmla="*/ 957 w 1256"/>
                      <a:gd name="connsiteY35" fmla="*/ 179 h 2152"/>
                      <a:gd name="connsiteX36" fmla="*/ 598 w 1256"/>
                      <a:gd name="connsiteY36" fmla="*/ 0 h 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6" h="2152">
                        <a:moveTo>
                          <a:pt x="1136" y="299"/>
                        </a:moveTo>
                        <a:lnTo>
                          <a:pt x="1017" y="299"/>
                        </a:lnTo>
                        <a:lnTo>
                          <a:pt x="957" y="299"/>
                        </a:lnTo>
                        <a:lnTo>
                          <a:pt x="897" y="299"/>
                        </a:lnTo>
                        <a:lnTo>
                          <a:pt x="837" y="299"/>
                        </a:lnTo>
                        <a:lnTo>
                          <a:pt x="658" y="419"/>
                        </a:lnTo>
                        <a:lnTo>
                          <a:pt x="658" y="419"/>
                        </a:lnTo>
                        <a:lnTo>
                          <a:pt x="479" y="598"/>
                        </a:lnTo>
                        <a:lnTo>
                          <a:pt x="299" y="837"/>
                        </a:lnTo>
                        <a:lnTo>
                          <a:pt x="180" y="1076"/>
                        </a:lnTo>
                        <a:lnTo>
                          <a:pt x="120" y="1196"/>
                        </a:lnTo>
                        <a:lnTo>
                          <a:pt x="60" y="1375"/>
                        </a:lnTo>
                        <a:lnTo>
                          <a:pt x="0" y="1615"/>
                        </a:lnTo>
                        <a:lnTo>
                          <a:pt x="0" y="1734"/>
                        </a:lnTo>
                        <a:lnTo>
                          <a:pt x="0" y="1794"/>
                        </a:lnTo>
                        <a:lnTo>
                          <a:pt x="0" y="1973"/>
                        </a:lnTo>
                        <a:lnTo>
                          <a:pt x="60" y="2093"/>
                        </a:lnTo>
                        <a:lnTo>
                          <a:pt x="180" y="2153"/>
                        </a:lnTo>
                        <a:lnTo>
                          <a:pt x="180" y="2153"/>
                        </a:lnTo>
                        <a:lnTo>
                          <a:pt x="299" y="2153"/>
                        </a:lnTo>
                        <a:lnTo>
                          <a:pt x="419" y="2093"/>
                        </a:lnTo>
                        <a:lnTo>
                          <a:pt x="598" y="1973"/>
                        </a:lnTo>
                        <a:lnTo>
                          <a:pt x="778" y="1794"/>
                        </a:lnTo>
                        <a:lnTo>
                          <a:pt x="957" y="1555"/>
                        </a:lnTo>
                        <a:lnTo>
                          <a:pt x="1076" y="1316"/>
                        </a:lnTo>
                        <a:lnTo>
                          <a:pt x="1196" y="1076"/>
                        </a:lnTo>
                        <a:lnTo>
                          <a:pt x="1256" y="837"/>
                        </a:lnTo>
                        <a:lnTo>
                          <a:pt x="1256" y="837"/>
                        </a:lnTo>
                        <a:lnTo>
                          <a:pt x="1256" y="837"/>
                        </a:lnTo>
                        <a:lnTo>
                          <a:pt x="1256" y="598"/>
                        </a:lnTo>
                        <a:lnTo>
                          <a:pt x="1256" y="419"/>
                        </a:lnTo>
                        <a:lnTo>
                          <a:pt x="1256" y="419"/>
                        </a:lnTo>
                        <a:lnTo>
                          <a:pt x="1196" y="299"/>
                        </a:lnTo>
                        <a:lnTo>
                          <a:pt x="1136" y="299"/>
                        </a:lnTo>
                        <a:lnTo>
                          <a:pt x="1017" y="239"/>
                        </a:lnTo>
                        <a:lnTo>
                          <a:pt x="957" y="179"/>
                        </a:lnTo>
                        <a:lnTo>
                          <a:pt x="598" y="0"/>
                        </a:lnTo>
                      </a:path>
                    </a:pathLst>
                  </a:custGeom>
                  <a:noFill/>
                  <a:ln w="6350" cap="flat">
                    <a:solidFill>
                      <a:schemeClr val="bg1">
                        <a:alpha val="40000"/>
                      </a:schemeClr>
                    </a:solidFill>
                    <a:prstDash val="solid"/>
                    <a:miter/>
                  </a:ln>
                </p:spPr>
                <p:txBody>
                  <a:bodyPr rtlCol="0" anchor="ctr"/>
                  <a:lstStyle/>
                  <a:p>
                    <a:endParaRPr lang="en-GB"/>
                  </a:p>
                </p:txBody>
              </p:sp>
              <p:sp>
                <p:nvSpPr>
                  <p:cNvPr id="7694" name="Vrije vorm: vorm 7693">
                    <a:extLst>
                      <a:ext uri="{FF2B5EF4-FFF2-40B4-BE49-F238E27FC236}">
                        <a16:creationId xmlns:a16="http://schemas.microsoft.com/office/drawing/2014/main" id="{ACF49874-F83F-4624-9FDE-DB8B8B181A33}"/>
                      </a:ext>
                    </a:extLst>
                  </p:cNvPr>
                  <p:cNvSpPr/>
                  <p:nvPr/>
                </p:nvSpPr>
                <p:spPr>
                  <a:xfrm>
                    <a:off x="5797791" y="5301830"/>
                    <a:ext cx="1136" cy="1913"/>
                  </a:xfrm>
                  <a:custGeom>
                    <a:avLst/>
                    <a:gdLst>
                      <a:gd name="connsiteX0" fmla="*/ 179 w 1136"/>
                      <a:gd name="connsiteY0" fmla="*/ 1914 h 1913"/>
                      <a:gd name="connsiteX1" fmla="*/ 60 w 1136"/>
                      <a:gd name="connsiteY1" fmla="*/ 1854 h 1913"/>
                      <a:gd name="connsiteX2" fmla="*/ 0 w 1136"/>
                      <a:gd name="connsiteY2" fmla="*/ 1734 h 1913"/>
                      <a:gd name="connsiteX3" fmla="*/ 0 w 1136"/>
                      <a:gd name="connsiteY3" fmla="*/ 1555 h 1913"/>
                      <a:gd name="connsiteX4" fmla="*/ 60 w 1136"/>
                      <a:gd name="connsiteY4" fmla="*/ 1316 h 1913"/>
                      <a:gd name="connsiteX5" fmla="*/ 119 w 1136"/>
                      <a:gd name="connsiteY5" fmla="*/ 1076 h 1913"/>
                      <a:gd name="connsiteX6" fmla="*/ 239 w 1136"/>
                      <a:gd name="connsiteY6" fmla="*/ 837 h 1913"/>
                      <a:gd name="connsiteX7" fmla="*/ 359 w 1136"/>
                      <a:gd name="connsiteY7" fmla="*/ 598 h 1913"/>
                      <a:gd name="connsiteX8" fmla="*/ 538 w 1136"/>
                      <a:gd name="connsiteY8" fmla="*/ 359 h 1913"/>
                      <a:gd name="connsiteX9" fmla="*/ 718 w 1136"/>
                      <a:gd name="connsiteY9" fmla="*/ 179 h 1913"/>
                      <a:gd name="connsiteX10" fmla="*/ 897 w 1136"/>
                      <a:gd name="connsiteY10" fmla="*/ 60 h 1913"/>
                      <a:gd name="connsiteX11" fmla="*/ 1017 w 1136"/>
                      <a:gd name="connsiteY11" fmla="*/ 0 h 1913"/>
                      <a:gd name="connsiteX12" fmla="*/ 1136 w 1136"/>
                      <a:gd name="connsiteY12" fmla="*/ 0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6" h="1913">
                        <a:moveTo>
                          <a:pt x="179" y="1914"/>
                        </a:moveTo>
                        <a:lnTo>
                          <a:pt x="60" y="1854"/>
                        </a:lnTo>
                        <a:lnTo>
                          <a:pt x="0" y="1734"/>
                        </a:lnTo>
                        <a:lnTo>
                          <a:pt x="0" y="1555"/>
                        </a:lnTo>
                        <a:lnTo>
                          <a:pt x="60" y="1316"/>
                        </a:lnTo>
                        <a:lnTo>
                          <a:pt x="119" y="1076"/>
                        </a:lnTo>
                        <a:lnTo>
                          <a:pt x="239" y="837"/>
                        </a:lnTo>
                        <a:lnTo>
                          <a:pt x="359" y="598"/>
                        </a:lnTo>
                        <a:lnTo>
                          <a:pt x="538" y="359"/>
                        </a:lnTo>
                        <a:lnTo>
                          <a:pt x="718" y="179"/>
                        </a:lnTo>
                        <a:lnTo>
                          <a:pt x="897" y="60"/>
                        </a:lnTo>
                        <a:lnTo>
                          <a:pt x="1017" y="0"/>
                        </a:lnTo>
                        <a:lnTo>
                          <a:pt x="1136" y="0"/>
                        </a:lnTo>
                      </a:path>
                    </a:pathLst>
                  </a:custGeom>
                  <a:noFill/>
                  <a:ln w="6350" cap="flat">
                    <a:solidFill>
                      <a:schemeClr val="bg1">
                        <a:alpha val="40000"/>
                      </a:schemeClr>
                    </a:solidFill>
                    <a:prstDash val="solid"/>
                    <a:miter/>
                  </a:ln>
                </p:spPr>
                <p:txBody>
                  <a:bodyPr rtlCol="0" anchor="ctr"/>
                  <a:lstStyle/>
                  <a:p>
                    <a:endParaRPr lang="en-GB"/>
                  </a:p>
                </p:txBody>
              </p:sp>
              <p:sp>
                <p:nvSpPr>
                  <p:cNvPr id="7695" name="Vrije vorm: vorm 7694">
                    <a:extLst>
                      <a:ext uri="{FF2B5EF4-FFF2-40B4-BE49-F238E27FC236}">
                        <a16:creationId xmlns:a16="http://schemas.microsoft.com/office/drawing/2014/main" id="{0436C9FC-B087-40D3-9595-927584459A84}"/>
                      </a:ext>
                    </a:extLst>
                  </p:cNvPr>
                  <p:cNvSpPr/>
                  <p:nvPr/>
                </p:nvSpPr>
                <p:spPr>
                  <a:xfrm>
                    <a:off x="5813221" y="5278385"/>
                    <a:ext cx="2990" cy="5442"/>
                  </a:xfrm>
                  <a:custGeom>
                    <a:avLst/>
                    <a:gdLst>
                      <a:gd name="connsiteX0" fmla="*/ 2751 w 2990"/>
                      <a:gd name="connsiteY0" fmla="*/ 658 h 5442"/>
                      <a:gd name="connsiteX1" fmla="*/ 2512 w 2990"/>
                      <a:gd name="connsiteY1" fmla="*/ 658 h 5442"/>
                      <a:gd name="connsiteX2" fmla="*/ 2153 w 2990"/>
                      <a:gd name="connsiteY2" fmla="*/ 837 h 5442"/>
                      <a:gd name="connsiteX3" fmla="*/ 1795 w 2990"/>
                      <a:gd name="connsiteY3" fmla="*/ 1136 h 5442"/>
                      <a:gd name="connsiteX4" fmla="*/ 1795 w 2990"/>
                      <a:gd name="connsiteY4" fmla="*/ 1136 h 5442"/>
                      <a:gd name="connsiteX5" fmla="*/ 1376 w 2990"/>
                      <a:gd name="connsiteY5" fmla="*/ 1555 h 5442"/>
                      <a:gd name="connsiteX6" fmla="*/ 1017 w 2990"/>
                      <a:gd name="connsiteY6" fmla="*/ 2093 h 5442"/>
                      <a:gd name="connsiteX7" fmla="*/ 658 w 2990"/>
                      <a:gd name="connsiteY7" fmla="*/ 2691 h 5442"/>
                      <a:gd name="connsiteX8" fmla="*/ 359 w 2990"/>
                      <a:gd name="connsiteY8" fmla="*/ 3349 h 5442"/>
                      <a:gd name="connsiteX9" fmla="*/ 120 w 2990"/>
                      <a:gd name="connsiteY9" fmla="*/ 3947 h 5442"/>
                      <a:gd name="connsiteX10" fmla="*/ 60 w 2990"/>
                      <a:gd name="connsiteY10" fmla="*/ 4306 h 5442"/>
                      <a:gd name="connsiteX11" fmla="*/ 0 w 2990"/>
                      <a:gd name="connsiteY11" fmla="*/ 4486 h 5442"/>
                      <a:gd name="connsiteX12" fmla="*/ 0 w 2990"/>
                      <a:gd name="connsiteY12" fmla="*/ 4964 h 5442"/>
                      <a:gd name="connsiteX13" fmla="*/ 60 w 2990"/>
                      <a:gd name="connsiteY13" fmla="*/ 5263 h 5442"/>
                      <a:gd name="connsiteX14" fmla="*/ 239 w 2990"/>
                      <a:gd name="connsiteY14" fmla="*/ 5443 h 5442"/>
                      <a:gd name="connsiteX15" fmla="*/ 479 w 2990"/>
                      <a:gd name="connsiteY15" fmla="*/ 5443 h 5442"/>
                      <a:gd name="connsiteX16" fmla="*/ 837 w 2990"/>
                      <a:gd name="connsiteY16" fmla="*/ 5263 h 5442"/>
                      <a:gd name="connsiteX17" fmla="*/ 1196 w 2990"/>
                      <a:gd name="connsiteY17" fmla="*/ 4964 h 5442"/>
                      <a:gd name="connsiteX18" fmla="*/ 1615 w 2990"/>
                      <a:gd name="connsiteY18" fmla="*/ 4545 h 5442"/>
                      <a:gd name="connsiteX19" fmla="*/ 1974 w 2990"/>
                      <a:gd name="connsiteY19" fmla="*/ 4007 h 5442"/>
                      <a:gd name="connsiteX20" fmla="*/ 2333 w 2990"/>
                      <a:gd name="connsiteY20" fmla="*/ 3409 h 5442"/>
                      <a:gd name="connsiteX21" fmla="*/ 2632 w 2990"/>
                      <a:gd name="connsiteY21" fmla="*/ 2751 h 5442"/>
                      <a:gd name="connsiteX22" fmla="*/ 2871 w 2990"/>
                      <a:gd name="connsiteY22" fmla="*/ 2153 h 5442"/>
                      <a:gd name="connsiteX23" fmla="*/ 2931 w 2990"/>
                      <a:gd name="connsiteY23" fmla="*/ 1794 h 5442"/>
                      <a:gd name="connsiteX24" fmla="*/ 2990 w 2990"/>
                      <a:gd name="connsiteY24" fmla="*/ 1615 h 5442"/>
                      <a:gd name="connsiteX25" fmla="*/ 2990 w 2990"/>
                      <a:gd name="connsiteY25" fmla="*/ 1136 h 5442"/>
                      <a:gd name="connsiteX26" fmla="*/ 2931 w 2990"/>
                      <a:gd name="connsiteY26" fmla="*/ 837 h 5442"/>
                      <a:gd name="connsiteX27" fmla="*/ 2871 w 2990"/>
                      <a:gd name="connsiteY27" fmla="*/ 778 h 5442"/>
                      <a:gd name="connsiteX28" fmla="*/ 2751 w 2990"/>
                      <a:gd name="connsiteY28" fmla="*/ 658 h 5442"/>
                      <a:gd name="connsiteX29" fmla="*/ 1555 w 2990"/>
                      <a:gd name="connsiteY29" fmla="*/ 0 h 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90" h="5442">
                        <a:moveTo>
                          <a:pt x="2751" y="658"/>
                        </a:moveTo>
                        <a:lnTo>
                          <a:pt x="2512" y="658"/>
                        </a:lnTo>
                        <a:lnTo>
                          <a:pt x="2153" y="837"/>
                        </a:lnTo>
                        <a:lnTo>
                          <a:pt x="1795" y="1136"/>
                        </a:lnTo>
                        <a:lnTo>
                          <a:pt x="1795" y="1136"/>
                        </a:lnTo>
                        <a:lnTo>
                          <a:pt x="1376" y="1555"/>
                        </a:lnTo>
                        <a:lnTo>
                          <a:pt x="1017" y="2093"/>
                        </a:lnTo>
                        <a:lnTo>
                          <a:pt x="658" y="2691"/>
                        </a:lnTo>
                        <a:lnTo>
                          <a:pt x="359" y="3349"/>
                        </a:lnTo>
                        <a:lnTo>
                          <a:pt x="120" y="3947"/>
                        </a:lnTo>
                        <a:lnTo>
                          <a:pt x="60" y="4306"/>
                        </a:lnTo>
                        <a:lnTo>
                          <a:pt x="0" y="4486"/>
                        </a:lnTo>
                        <a:lnTo>
                          <a:pt x="0" y="4964"/>
                        </a:lnTo>
                        <a:lnTo>
                          <a:pt x="60" y="5263"/>
                        </a:lnTo>
                        <a:lnTo>
                          <a:pt x="239" y="5443"/>
                        </a:lnTo>
                        <a:lnTo>
                          <a:pt x="479" y="5443"/>
                        </a:lnTo>
                        <a:lnTo>
                          <a:pt x="837" y="5263"/>
                        </a:lnTo>
                        <a:lnTo>
                          <a:pt x="1196" y="4964"/>
                        </a:lnTo>
                        <a:lnTo>
                          <a:pt x="1615" y="4545"/>
                        </a:lnTo>
                        <a:lnTo>
                          <a:pt x="1974" y="4007"/>
                        </a:lnTo>
                        <a:lnTo>
                          <a:pt x="2333" y="3409"/>
                        </a:lnTo>
                        <a:lnTo>
                          <a:pt x="2632" y="2751"/>
                        </a:lnTo>
                        <a:lnTo>
                          <a:pt x="2871" y="2153"/>
                        </a:lnTo>
                        <a:lnTo>
                          <a:pt x="2931" y="1794"/>
                        </a:lnTo>
                        <a:lnTo>
                          <a:pt x="2990" y="1615"/>
                        </a:lnTo>
                        <a:lnTo>
                          <a:pt x="2990" y="1136"/>
                        </a:lnTo>
                        <a:lnTo>
                          <a:pt x="2931" y="837"/>
                        </a:lnTo>
                        <a:lnTo>
                          <a:pt x="2871" y="778"/>
                        </a:lnTo>
                        <a:lnTo>
                          <a:pt x="2751" y="658"/>
                        </a:lnTo>
                        <a:lnTo>
                          <a:pt x="1555" y="0"/>
                        </a:lnTo>
                      </a:path>
                    </a:pathLst>
                  </a:custGeom>
                  <a:noFill/>
                  <a:ln w="6350" cap="flat">
                    <a:solidFill>
                      <a:schemeClr val="bg1">
                        <a:alpha val="40000"/>
                      </a:schemeClr>
                    </a:solidFill>
                    <a:prstDash val="solid"/>
                    <a:miter/>
                  </a:ln>
                </p:spPr>
                <p:txBody>
                  <a:bodyPr rtlCol="0" anchor="ctr"/>
                  <a:lstStyle/>
                  <a:p>
                    <a:endParaRPr lang="en-GB"/>
                  </a:p>
                </p:txBody>
              </p:sp>
              <p:sp>
                <p:nvSpPr>
                  <p:cNvPr id="7696" name="Vrije vorm: vorm 7695">
                    <a:extLst>
                      <a:ext uri="{FF2B5EF4-FFF2-40B4-BE49-F238E27FC236}">
                        <a16:creationId xmlns:a16="http://schemas.microsoft.com/office/drawing/2014/main" id="{26E5FEB3-CDC6-4A40-B6FF-AF61DE78CA9B}"/>
                      </a:ext>
                    </a:extLst>
                  </p:cNvPr>
                  <p:cNvSpPr/>
                  <p:nvPr/>
                </p:nvSpPr>
                <p:spPr>
                  <a:xfrm>
                    <a:off x="5812085" y="5278385"/>
                    <a:ext cx="2691" cy="4784"/>
                  </a:xfrm>
                  <a:custGeom>
                    <a:avLst/>
                    <a:gdLst>
                      <a:gd name="connsiteX0" fmla="*/ 239 w 2691"/>
                      <a:gd name="connsiteY0" fmla="*/ 4785 h 4784"/>
                      <a:gd name="connsiteX1" fmla="*/ 60 w 2691"/>
                      <a:gd name="connsiteY1" fmla="*/ 4605 h 4784"/>
                      <a:gd name="connsiteX2" fmla="*/ 0 w 2691"/>
                      <a:gd name="connsiteY2" fmla="*/ 4306 h 4784"/>
                      <a:gd name="connsiteX3" fmla="*/ 0 w 2691"/>
                      <a:gd name="connsiteY3" fmla="*/ 3828 h 4784"/>
                      <a:gd name="connsiteX4" fmla="*/ 120 w 2691"/>
                      <a:gd name="connsiteY4" fmla="*/ 3289 h 4784"/>
                      <a:gd name="connsiteX5" fmla="*/ 299 w 2691"/>
                      <a:gd name="connsiteY5" fmla="*/ 2691 h 4784"/>
                      <a:gd name="connsiteX6" fmla="*/ 598 w 2691"/>
                      <a:gd name="connsiteY6" fmla="*/ 2034 h 4784"/>
                      <a:gd name="connsiteX7" fmla="*/ 957 w 2691"/>
                      <a:gd name="connsiteY7" fmla="*/ 1435 h 4784"/>
                      <a:gd name="connsiteX8" fmla="*/ 1316 w 2691"/>
                      <a:gd name="connsiteY8" fmla="*/ 897 h 4784"/>
                      <a:gd name="connsiteX9" fmla="*/ 1735 w 2691"/>
                      <a:gd name="connsiteY9" fmla="*/ 479 h 4784"/>
                      <a:gd name="connsiteX10" fmla="*/ 2093 w 2691"/>
                      <a:gd name="connsiteY10" fmla="*/ 180 h 4784"/>
                      <a:gd name="connsiteX11" fmla="*/ 2452 w 2691"/>
                      <a:gd name="connsiteY11" fmla="*/ 0 h 4784"/>
                      <a:gd name="connsiteX12" fmla="*/ 2691 w 2691"/>
                      <a:gd name="connsiteY12" fmla="*/ 0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1" h="4784">
                        <a:moveTo>
                          <a:pt x="239" y="4785"/>
                        </a:moveTo>
                        <a:lnTo>
                          <a:pt x="60" y="4605"/>
                        </a:lnTo>
                        <a:lnTo>
                          <a:pt x="0" y="4306"/>
                        </a:lnTo>
                        <a:lnTo>
                          <a:pt x="0" y="3828"/>
                        </a:lnTo>
                        <a:lnTo>
                          <a:pt x="120" y="3289"/>
                        </a:lnTo>
                        <a:lnTo>
                          <a:pt x="299" y="2691"/>
                        </a:lnTo>
                        <a:lnTo>
                          <a:pt x="598" y="2034"/>
                        </a:lnTo>
                        <a:lnTo>
                          <a:pt x="957" y="1435"/>
                        </a:lnTo>
                        <a:lnTo>
                          <a:pt x="1316" y="897"/>
                        </a:lnTo>
                        <a:lnTo>
                          <a:pt x="1735" y="479"/>
                        </a:lnTo>
                        <a:lnTo>
                          <a:pt x="2093" y="180"/>
                        </a:lnTo>
                        <a:lnTo>
                          <a:pt x="2452" y="0"/>
                        </a:lnTo>
                        <a:lnTo>
                          <a:pt x="2691" y="0"/>
                        </a:lnTo>
                      </a:path>
                    </a:pathLst>
                  </a:custGeom>
                  <a:noFill/>
                  <a:ln w="6350" cap="flat">
                    <a:solidFill>
                      <a:schemeClr val="bg1">
                        <a:alpha val="40000"/>
                      </a:schemeClr>
                    </a:solidFill>
                    <a:prstDash val="solid"/>
                    <a:miter/>
                  </a:ln>
                </p:spPr>
                <p:txBody>
                  <a:bodyPr rtlCol="0" anchor="ctr"/>
                  <a:lstStyle/>
                  <a:p>
                    <a:endParaRPr lang="en-GB"/>
                  </a:p>
                </p:txBody>
              </p:sp>
              <p:sp>
                <p:nvSpPr>
                  <p:cNvPr id="7697" name="Vrije vorm: vorm 7696">
                    <a:extLst>
                      <a:ext uri="{FF2B5EF4-FFF2-40B4-BE49-F238E27FC236}">
                        <a16:creationId xmlns:a16="http://schemas.microsoft.com/office/drawing/2014/main" id="{BA2A8ACE-9F35-45D1-AC6A-42D701C5D160}"/>
                      </a:ext>
                    </a:extLst>
                  </p:cNvPr>
                  <p:cNvSpPr/>
                  <p:nvPr/>
                </p:nvSpPr>
                <p:spPr>
                  <a:xfrm>
                    <a:off x="5792110" y="5347822"/>
                    <a:ext cx="3887" cy="4844"/>
                  </a:xfrm>
                  <a:custGeom>
                    <a:avLst/>
                    <a:gdLst>
                      <a:gd name="connsiteX0" fmla="*/ 1076 w 3887"/>
                      <a:gd name="connsiteY0" fmla="*/ 4545 h 4844"/>
                      <a:gd name="connsiteX1" fmla="*/ 957 w 3887"/>
                      <a:gd name="connsiteY1" fmla="*/ 4306 h 4844"/>
                      <a:gd name="connsiteX2" fmla="*/ 957 w 3887"/>
                      <a:gd name="connsiteY2" fmla="*/ 3887 h 4844"/>
                      <a:gd name="connsiteX3" fmla="*/ 1076 w 3887"/>
                      <a:gd name="connsiteY3" fmla="*/ 3409 h 4844"/>
                      <a:gd name="connsiteX4" fmla="*/ 1076 w 3887"/>
                      <a:gd name="connsiteY4" fmla="*/ 3409 h 4844"/>
                      <a:gd name="connsiteX5" fmla="*/ 1256 w 3887"/>
                      <a:gd name="connsiteY5" fmla="*/ 2811 h 4844"/>
                      <a:gd name="connsiteX6" fmla="*/ 1555 w 3887"/>
                      <a:gd name="connsiteY6" fmla="*/ 2213 h 4844"/>
                      <a:gd name="connsiteX7" fmla="*/ 1914 w 3887"/>
                      <a:gd name="connsiteY7" fmla="*/ 1615 h 4844"/>
                      <a:gd name="connsiteX8" fmla="*/ 2273 w 3887"/>
                      <a:gd name="connsiteY8" fmla="*/ 1076 h 4844"/>
                      <a:gd name="connsiteX9" fmla="*/ 2632 w 3887"/>
                      <a:gd name="connsiteY9" fmla="*/ 598 h 4844"/>
                      <a:gd name="connsiteX10" fmla="*/ 2691 w 3887"/>
                      <a:gd name="connsiteY10" fmla="*/ 538 h 4844"/>
                      <a:gd name="connsiteX11" fmla="*/ 2990 w 3887"/>
                      <a:gd name="connsiteY11" fmla="*/ 239 h 4844"/>
                      <a:gd name="connsiteX12" fmla="*/ 3349 w 3887"/>
                      <a:gd name="connsiteY12" fmla="*/ 60 h 4844"/>
                      <a:gd name="connsiteX13" fmla="*/ 3588 w 3887"/>
                      <a:gd name="connsiteY13" fmla="*/ 0 h 4844"/>
                      <a:gd name="connsiteX14" fmla="*/ 3768 w 3887"/>
                      <a:gd name="connsiteY14" fmla="*/ 119 h 4844"/>
                      <a:gd name="connsiteX15" fmla="*/ 3887 w 3887"/>
                      <a:gd name="connsiteY15" fmla="*/ 418 h 4844"/>
                      <a:gd name="connsiteX16" fmla="*/ 3887 w 3887"/>
                      <a:gd name="connsiteY16" fmla="*/ 837 h 4844"/>
                      <a:gd name="connsiteX17" fmla="*/ 3828 w 3887"/>
                      <a:gd name="connsiteY17" fmla="*/ 1196 h 4844"/>
                      <a:gd name="connsiteX18" fmla="*/ 3768 w 3887"/>
                      <a:gd name="connsiteY18" fmla="*/ 1375 h 4844"/>
                      <a:gd name="connsiteX19" fmla="*/ 3588 w 3887"/>
                      <a:gd name="connsiteY19" fmla="*/ 1973 h 4844"/>
                      <a:gd name="connsiteX20" fmla="*/ 3289 w 3887"/>
                      <a:gd name="connsiteY20" fmla="*/ 2572 h 4844"/>
                      <a:gd name="connsiteX21" fmla="*/ 2930 w 3887"/>
                      <a:gd name="connsiteY21" fmla="*/ 3170 h 4844"/>
                      <a:gd name="connsiteX22" fmla="*/ 2572 w 3887"/>
                      <a:gd name="connsiteY22" fmla="*/ 3708 h 4844"/>
                      <a:gd name="connsiteX23" fmla="*/ 2213 w 3887"/>
                      <a:gd name="connsiteY23" fmla="*/ 4186 h 4844"/>
                      <a:gd name="connsiteX24" fmla="*/ 1854 w 3887"/>
                      <a:gd name="connsiteY24" fmla="*/ 4545 h 4844"/>
                      <a:gd name="connsiteX25" fmla="*/ 1674 w 3887"/>
                      <a:gd name="connsiteY25" fmla="*/ 4665 h 4844"/>
                      <a:gd name="connsiteX26" fmla="*/ 1495 w 3887"/>
                      <a:gd name="connsiteY26" fmla="*/ 4785 h 4844"/>
                      <a:gd name="connsiteX27" fmla="*/ 1196 w 3887"/>
                      <a:gd name="connsiteY27" fmla="*/ 4844 h 4844"/>
                      <a:gd name="connsiteX28" fmla="*/ 1076 w 3887"/>
                      <a:gd name="connsiteY28" fmla="*/ 4545 h 4844"/>
                      <a:gd name="connsiteX29" fmla="*/ 0 w 3887"/>
                      <a:gd name="connsiteY29" fmla="*/ 3827 h 4844"/>
                      <a:gd name="connsiteX30" fmla="*/ 0 w 3887"/>
                      <a:gd name="connsiteY30" fmla="*/ 3827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887" h="4844">
                        <a:moveTo>
                          <a:pt x="1076" y="4545"/>
                        </a:moveTo>
                        <a:lnTo>
                          <a:pt x="957" y="4306"/>
                        </a:lnTo>
                        <a:lnTo>
                          <a:pt x="957" y="3887"/>
                        </a:lnTo>
                        <a:lnTo>
                          <a:pt x="1076" y="3409"/>
                        </a:lnTo>
                        <a:lnTo>
                          <a:pt x="1076" y="3409"/>
                        </a:lnTo>
                        <a:lnTo>
                          <a:pt x="1256" y="2811"/>
                        </a:lnTo>
                        <a:lnTo>
                          <a:pt x="1555" y="2213"/>
                        </a:lnTo>
                        <a:lnTo>
                          <a:pt x="1914" y="1615"/>
                        </a:lnTo>
                        <a:lnTo>
                          <a:pt x="2273" y="1076"/>
                        </a:lnTo>
                        <a:lnTo>
                          <a:pt x="2632" y="598"/>
                        </a:lnTo>
                        <a:lnTo>
                          <a:pt x="2691" y="538"/>
                        </a:lnTo>
                        <a:lnTo>
                          <a:pt x="2990" y="239"/>
                        </a:lnTo>
                        <a:lnTo>
                          <a:pt x="3349" y="60"/>
                        </a:lnTo>
                        <a:lnTo>
                          <a:pt x="3588" y="0"/>
                        </a:lnTo>
                        <a:lnTo>
                          <a:pt x="3768" y="119"/>
                        </a:lnTo>
                        <a:lnTo>
                          <a:pt x="3887" y="418"/>
                        </a:lnTo>
                        <a:lnTo>
                          <a:pt x="3887" y="837"/>
                        </a:lnTo>
                        <a:lnTo>
                          <a:pt x="3828" y="1196"/>
                        </a:lnTo>
                        <a:lnTo>
                          <a:pt x="3768" y="1375"/>
                        </a:lnTo>
                        <a:lnTo>
                          <a:pt x="3588" y="1973"/>
                        </a:lnTo>
                        <a:lnTo>
                          <a:pt x="3289" y="2572"/>
                        </a:lnTo>
                        <a:lnTo>
                          <a:pt x="2930" y="3170"/>
                        </a:lnTo>
                        <a:lnTo>
                          <a:pt x="2572" y="3708"/>
                        </a:lnTo>
                        <a:lnTo>
                          <a:pt x="2213" y="4186"/>
                        </a:lnTo>
                        <a:lnTo>
                          <a:pt x="1854" y="4545"/>
                        </a:lnTo>
                        <a:lnTo>
                          <a:pt x="1674" y="4665"/>
                        </a:lnTo>
                        <a:lnTo>
                          <a:pt x="1495" y="4785"/>
                        </a:lnTo>
                        <a:lnTo>
                          <a:pt x="1196" y="4844"/>
                        </a:lnTo>
                        <a:lnTo>
                          <a:pt x="1076" y="4545"/>
                        </a:lnTo>
                        <a:lnTo>
                          <a:pt x="0" y="3827"/>
                        </a:lnTo>
                        <a:lnTo>
                          <a:pt x="0" y="3827"/>
                        </a:lnTo>
                      </a:path>
                    </a:pathLst>
                  </a:custGeom>
                  <a:noFill/>
                  <a:ln w="6350" cap="flat">
                    <a:solidFill>
                      <a:schemeClr val="bg1">
                        <a:alpha val="40000"/>
                      </a:schemeClr>
                    </a:solidFill>
                    <a:prstDash val="solid"/>
                    <a:miter/>
                  </a:ln>
                </p:spPr>
                <p:txBody>
                  <a:bodyPr rtlCol="0" anchor="ctr"/>
                  <a:lstStyle/>
                  <a:p>
                    <a:endParaRPr lang="en-GB"/>
                  </a:p>
                </p:txBody>
              </p:sp>
              <p:sp>
                <p:nvSpPr>
                  <p:cNvPr id="7698" name="Vrije vorm: vorm 7697">
                    <a:extLst>
                      <a:ext uri="{FF2B5EF4-FFF2-40B4-BE49-F238E27FC236}">
                        <a16:creationId xmlns:a16="http://schemas.microsoft.com/office/drawing/2014/main" id="{A0B3C2B3-C754-43A0-AA5A-9A4008ED77E7}"/>
                      </a:ext>
                    </a:extLst>
                  </p:cNvPr>
                  <p:cNvSpPr/>
                  <p:nvPr/>
                </p:nvSpPr>
                <p:spPr>
                  <a:xfrm>
                    <a:off x="5791990" y="5347104"/>
                    <a:ext cx="2811" cy="4545"/>
                  </a:xfrm>
                  <a:custGeom>
                    <a:avLst/>
                    <a:gdLst>
                      <a:gd name="connsiteX0" fmla="*/ 120 w 2811"/>
                      <a:gd name="connsiteY0" fmla="*/ 4545 h 4545"/>
                      <a:gd name="connsiteX1" fmla="*/ 0 w 2811"/>
                      <a:gd name="connsiteY1" fmla="*/ 4306 h 4545"/>
                      <a:gd name="connsiteX2" fmla="*/ 0 w 2811"/>
                      <a:gd name="connsiteY2" fmla="*/ 3888 h 4545"/>
                      <a:gd name="connsiteX3" fmla="*/ 60 w 2811"/>
                      <a:gd name="connsiteY3" fmla="*/ 3469 h 4545"/>
                      <a:gd name="connsiteX4" fmla="*/ 60 w 2811"/>
                      <a:gd name="connsiteY4" fmla="*/ 3349 h 4545"/>
                      <a:gd name="connsiteX5" fmla="*/ 239 w 2811"/>
                      <a:gd name="connsiteY5" fmla="*/ 2751 h 4545"/>
                      <a:gd name="connsiteX6" fmla="*/ 538 w 2811"/>
                      <a:gd name="connsiteY6" fmla="*/ 2153 h 4545"/>
                      <a:gd name="connsiteX7" fmla="*/ 897 w 2811"/>
                      <a:gd name="connsiteY7" fmla="*/ 1555 h 4545"/>
                      <a:gd name="connsiteX8" fmla="*/ 1256 w 2811"/>
                      <a:gd name="connsiteY8" fmla="*/ 1017 h 4545"/>
                      <a:gd name="connsiteX9" fmla="*/ 1615 w 2811"/>
                      <a:gd name="connsiteY9" fmla="*/ 538 h 4545"/>
                      <a:gd name="connsiteX10" fmla="*/ 1974 w 2811"/>
                      <a:gd name="connsiteY10" fmla="*/ 239 h 4545"/>
                      <a:gd name="connsiteX11" fmla="*/ 2034 w 2811"/>
                      <a:gd name="connsiteY11" fmla="*/ 239 h 4545"/>
                      <a:gd name="connsiteX12" fmla="*/ 2392 w 2811"/>
                      <a:gd name="connsiteY12" fmla="*/ 60 h 4545"/>
                      <a:gd name="connsiteX13" fmla="*/ 2632 w 2811"/>
                      <a:gd name="connsiteY13" fmla="*/ 0 h 4545"/>
                      <a:gd name="connsiteX14" fmla="*/ 2811 w 2811"/>
                      <a:gd name="connsiteY14" fmla="*/ 120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1" h="4545">
                        <a:moveTo>
                          <a:pt x="120" y="4545"/>
                        </a:moveTo>
                        <a:lnTo>
                          <a:pt x="0" y="4306"/>
                        </a:lnTo>
                        <a:lnTo>
                          <a:pt x="0" y="3888"/>
                        </a:lnTo>
                        <a:lnTo>
                          <a:pt x="60" y="3469"/>
                        </a:lnTo>
                        <a:lnTo>
                          <a:pt x="60" y="3349"/>
                        </a:lnTo>
                        <a:lnTo>
                          <a:pt x="239" y="2751"/>
                        </a:lnTo>
                        <a:lnTo>
                          <a:pt x="538" y="2153"/>
                        </a:lnTo>
                        <a:lnTo>
                          <a:pt x="897" y="1555"/>
                        </a:lnTo>
                        <a:lnTo>
                          <a:pt x="1256" y="1017"/>
                        </a:lnTo>
                        <a:lnTo>
                          <a:pt x="1615" y="538"/>
                        </a:lnTo>
                        <a:lnTo>
                          <a:pt x="1974" y="239"/>
                        </a:lnTo>
                        <a:lnTo>
                          <a:pt x="2034" y="239"/>
                        </a:lnTo>
                        <a:lnTo>
                          <a:pt x="2392" y="60"/>
                        </a:lnTo>
                        <a:lnTo>
                          <a:pt x="2632" y="0"/>
                        </a:lnTo>
                        <a:lnTo>
                          <a:pt x="2811" y="120"/>
                        </a:lnTo>
                      </a:path>
                    </a:pathLst>
                  </a:custGeom>
                  <a:noFill/>
                  <a:ln w="6350" cap="flat">
                    <a:solidFill>
                      <a:schemeClr val="bg1">
                        <a:alpha val="40000"/>
                      </a:schemeClr>
                    </a:solidFill>
                    <a:prstDash val="solid"/>
                    <a:miter/>
                  </a:ln>
                </p:spPr>
                <p:txBody>
                  <a:bodyPr rtlCol="0" anchor="ctr"/>
                  <a:lstStyle/>
                  <a:p>
                    <a:endParaRPr lang="en-GB"/>
                  </a:p>
                </p:txBody>
              </p:sp>
              <p:sp>
                <p:nvSpPr>
                  <p:cNvPr id="7699" name="Vrije vorm: vorm 7698">
                    <a:extLst>
                      <a:ext uri="{FF2B5EF4-FFF2-40B4-BE49-F238E27FC236}">
                        <a16:creationId xmlns:a16="http://schemas.microsoft.com/office/drawing/2014/main" id="{0E33E491-0674-4594-ACEE-9C0C688C3441}"/>
                      </a:ext>
                    </a:extLst>
                  </p:cNvPr>
                  <p:cNvSpPr/>
                  <p:nvPr/>
                </p:nvSpPr>
                <p:spPr>
                  <a:xfrm>
                    <a:off x="5815913" y="5316004"/>
                    <a:ext cx="3648" cy="5263"/>
                  </a:xfrm>
                  <a:custGeom>
                    <a:avLst/>
                    <a:gdLst>
                      <a:gd name="connsiteX0" fmla="*/ 2273 w 3648"/>
                      <a:gd name="connsiteY0" fmla="*/ 0 h 5263"/>
                      <a:gd name="connsiteX1" fmla="*/ 3409 w 3648"/>
                      <a:gd name="connsiteY1" fmla="*/ 658 h 5263"/>
                      <a:gd name="connsiteX2" fmla="*/ 3529 w 3648"/>
                      <a:gd name="connsiteY2" fmla="*/ 718 h 5263"/>
                      <a:gd name="connsiteX3" fmla="*/ 3589 w 3648"/>
                      <a:gd name="connsiteY3" fmla="*/ 778 h 5263"/>
                      <a:gd name="connsiteX4" fmla="*/ 3648 w 3648"/>
                      <a:gd name="connsiteY4" fmla="*/ 1076 h 5263"/>
                      <a:gd name="connsiteX5" fmla="*/ 3648 w 3648"/>
                      <a:gd name="connsiteY5" fmla="*/ 1495 h 5263"/>
                      <a:gd name="connsiteX6" fmla="*/ 3589 w 3648"/>
                      <a:gd name="connsiteY6" fmla="*/ 1674 h 5263"/>
                      <a:gd name="connsiteX7" fmla="*/ 3529 w 3648"/>
                      <a:gd name="connsiteY7" fmla="*/ 2033 h 5263"/>
                      <a:gd name="connsiteX8" fmla="*/ 3349 w 3648"/>
                      <a:gd name="connsiteY8" fmla="*/ 2632 h 5263"/>
                      <a:gd name="connsiteX9" fmla="*/ 3050 w 3648"/>
                      <a:gd name="connsiteY9" fmla="*/ 3229 h 5263"/>
                      <a:gd name="connsiteX10" fmla="*/ 2751 w 3648"/>
                      <a:gd name="connsiteY10" fmla="*/ 3827 h 5263"/>
                      <a:gd name="connsiteX11" fmla="*/ 2392 w 3648"/>
                      <a:gd name="connsiteY11" fmla="*/ 4366 h 5263"/>
                      <a:gd name="connsiteX12" fmla="*/ 2034 w 3648"/>
                      <a:gd name="connsiteY12" fmla="*/ 4785 h 5263"/>
                      <a:gd name="connsiteX13" fmla="*/ 1735 w 3648"/>
                      <a:gd name="connsiteY13" fmla="*/ 5024 h 5263"/>
                      <a:gd name="connsiteX14" fmla="*/ 1675 w 3648"/>
                      <a:gd name="connsiteY14" fmla="*/ 5083 h 5263"/>
                      <a:gd name="connsiteX15" fmla="*/ 1375 w 3648"/>
                      <a:gd name="connsiteY15" fmla="*/ 5263 h 5263"/>
                      <a:gd name="connsiteX16" fmla="*/ 1136 w 3648"/>
                      <a:gd name="connsiteY16" fmla="*/ 5263 h 5263"/>
                      <a:gd name="connsiteX17" fmla="*/ 0 w 3648"/>
                      <a:gd name="connsiteY17" fmla="*/ 4605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48" h="5263">
                        <a:moveTo>
                          <a:pt x="2273" y="0"/>
                        </a:moveTo>
                        <a:lnTo>
                          <a:pt x="3409" y="658"/>
                        </a:lnTo>
                        <a:lnTo>
                          <a:pt x="3529" y="718"/>
                        </a:lnTo>
                        <a:lnTo>
                          <a:pt x="3589" y="778"/>
                        </a:lnTo>
                        <a:lnTo>
                          <a:pt x="3648" y="1076"/>
                        </a:lnTo>
                        <a:lnTo>
                          <a:pt x="3648" y="1495"/>
                        </a:lnTo>
                        <a:lnTo>
                          <a:pt x="3589" y="1674"/>
                        </a:lnTo>
                        <a:lnTo>
                          <a:pt x="3529" y="2033"/>
                        </a:lnTo>
                        <a:lnTo>
                          <a:pt x="3349" y="2632"/>
                        </a:lnTo>
                        <a:lnTo>
                          <a:pt x="3050" y="3229"/>
                        </a:lnTo>
                        <a:lnTo>
                          <a:pt x="2751" y="3827"/>
                        </a:lnTo>
                        <a:lnTo>
                          <a:pt x="2392" y="4366"/>
                        </a:lnTo>
                        <a:lnTo>
                          <a:pt x="2034" y="4785"/>
                        </a:lnTo>
                        <a:lnTo>
                          <a:pt x="1735" y="5024"/>
                        </a:lnTo>
                        <a:lnTo>
                          <a:pt x="1675" y="5083"/>
                        </a:lnTo>
                        <a:lnTo>
                          <a:pt x="1375" y="5263"/>
                        </a:lnTo>
                        <a:lnTo>
                          <a:pt x="1136" y="5263"/>
                        </a:lnTo>
                        <a:lnTo>
                          <a:pt x="0" y="4605"/>
                        </a:lnTo>
                      </a:path>
                    </a:pathLst>
                  </a:custGeom>
                  <a:noFill/>
                  <a:ln w="6350" cap="flat">
                    <a:solidFill>
                      <a:schemeClr val="bg1">
                        <a:alpha val="40000"/>
                      </a:schemeClr>
                    </a:solidFill>
                    <a:prstDash val="solid"/>
                    <a:miter/>
                  </a:ln>
                </p:spPr>
                <p:txBody>
                  <a:bodyPr rtlCol="0" anchor="ctr"/>
                  <a:lstStyle/>
                  <a:p>
                    <a:endParaRPr lang="en-GB"/>
                  </a:p>
                </p:txBody>
              </p:sp>
              <p:sp>
                <p:nvSpPr>
                  <p:cNvPr id="7700" name="Vrije vorm: vorm 7699">
                    <a:extLst>
                      <a:ext uri="{FF2B5EF4-FFF2-40B4-BE49-F238E27FC236}">
                        <a16:creationId xmlns:a16="http://schemas.microsoft.com/office/drawing/2014/main" id="{7933464F-6A44-4314-B1CC-40C4CCF4A313}"/>
                      </a:ext>
                    </a:extLst>
                  </p:cNvPr>
                  <p:cNvSpPr/>
                  <p:nvPr/>
                </p:nvSpPr>
                <p:spPr>
                  <a:xfrm>
                    <a:off x="5796595" y="5332930"/>
                    <a:ext cx="29544" cy="50597"/>
                  </a:xfrm>
                  <a:custGeom>
                    <a:avLst/>
                    <a:gdLst>
                      <a:gd name="connsiteX0" fmla="*/ 0 w 29544"/>
                      <a:gd name="connsiteY0" fmla="*/ 50238 h 50597"/>
                      <a:gd name="connsiteX1" fmla="*/ 718 w 29544"/>
                      <a:gd name="connsiteY1" fmla="*/ 50597 h 50597"/>
                      <a:gd name="connsiteX2" fmla="*/ 3648 w 29544"/>
                      <a:gd name="connsiteY2" fmla="*/ 49939 h 50597"/>
                      <a:gd name="connsiteX3" fmla="*/ 6579 w 29544"/>
                      <a:gd name="connsiteY3" fmla="*/ 48025 h 50597"/>
                      <a:gd name="connsiteX4" fmla="*/ 7236 w 29544"/>
                      <a:gd name="connsiteY4" fmla="*/ 47607 h 50597"/>
                      <a:gd name="connsiteX5" fmla="*/ 9928 w 29544"/>
                      <a:gd name="connsiteY5" fmla="*/ 44975 h 50597"/>
                      <a:gd name="connsiteX6" fmla="*/ 11184 w 29544"/>
                      <a:gd name="connsiteY6" fmla="*/ 43719 h 50597"/>
                      <a:gd name="connsiteX7" fmla="*/ 13636 w 29544"/>
                      <a:gd name="connsiteY7" fmla="*/ 40729 h 50597"/>
                      <a:gd name="connsiteX8" fmla="*/ 15311 w 29544"/>
                      <a:gd name="connsiteY8" fmla="*/ 38636 h 50597"/>
                      <a:gd name="connsiteX9" fmla="*/ 17464 w 29544"/>
                      <a:gd name="connsiteY9" fmla="*/ 35346 h 50597"/>
                      <a:gd name="connsiteX10" fmla="*/ 19258 w 29544"/>
                      <a:gd name="connsiteY10" fmla="*/ 32655 h 50597"/>
                      <a:gd name="connsiteX11" fmla="*/ 21172 w 29544"/>
                      <a:gd name="connsiteY11" fmla="*/ 29186 h 50597"/>
                      <a:gd name="connsiteX12" fmla="*/ 22846 w 29544"/>
                      <a:gd name="connsiteY12" fmla="*/ 26196 h 50597"/>
                      <a:gd name="connsiteX13" fmla="*/ 24461 w 29544"/>
                      <a:gd name="connsiteY13" fmla="*/ 22607 h 50597"/>
                      <a:gd name="connsiteX14" fmla="*/ 25837 w 29544"/>
                      <a:gd name="connsiteY14" fmla="*/ 19677 h 50597"/>
                      <a:gd name="connsiteX15" fmla="*/ 27152 w 29544"/>
                      <a:gd name="connsiteY15" fmla="*/ 15969 h 50597"/>
                      <a:gd name="connsiteX16" fmla="*/ 28050 w 29544"/>
                      <a:gd name="connsiteY16" fmla="*/ 13457 h 50597"/>
                      <a:gd name="connsiteX17" fmla="*/ 28887 w 29544"/>
                      <a:gd name="connsiteY17" fmla="*/ 9689 h 50597"/>
                      <a:gd name="connsiteX18" fmla="*/ 29305 w 29544"/>
                      <a:gd name="connsiteY18" fmla="*/ 7895 h 50597"/>
                      <a:gd name="connsiteX19" fmla="*/ 29485 w 29544"/>
                      <a:gd name="connsiteY19" fmla="*/ 4246 h 50597"/>
                      <a:gd name="connsiteX20" fmla="*/ 29545 w 29544"/>
                      <a:gd name="connsiteY20" fmla="*/ 3469 h 50597"/>
                      <a:gd name="connsiteX21" fmla="*/ 28707 w 29544"/>
                      <a:gd name="connsiteY21" fmla="*/ 419 h 50597"/>
                      <a:gd name="connsiteX22" fmla="*/ 28169 w 29544"/>
                      <a:gd name="connsiteY22" fmla="*/ 0 h 50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544" h="50597">
                        <a:moveTo>
                          <a:pt x="0" y="50238"/>
                        </a:moveTo>
                        <a:lnTo>
                          <a:pt x="718" y="50597"/>
                        </a:lnTo>
                        <a:lnTo>
                          <a:pt x="3648" y="49939"/>
                        </a:lnTo>
                        <a:lnTo>
                          <a:pt x="6579" y="48025"/>
                        </a:lnTo>
                        <a:lnTo>
                          <a:pt x="7236" y="47607"/>
                        </a:lnTo>
                        <a:lnTo>
                          <a:pt x="9928" y="44975"/>
                        </a:lnTo>
                        <a:lnTo>
                          <a:pt x="11184" y="43719"/>
                        </a:lnTo>
                        <a:lnTo>
                          <a:pt x="13636" y="40729"/>
                        </a:lnTo>
                        <a:lnTo>
                          <a:pt x="15311" y="38636"/>
                        </a:lnTo>
                        <a:lnTo>
                          <a:pt x="17464" y="35346"/>
                        </a:lnTo>
                        <a:lnTo>
                          <a:pt x="19258" y="32655"/>
                        </a:lnTo>
                        <a:lnTo>
                          <a:pt x="21172" y="29186"/>
                        </a:lnTo>
                        <a:lnTo>
                          <a:pt x="22846" y="26196"/>
                        </a:lnTo>
                        <a:lnTo>
                          <a:pt x="24461" y="22607"/>
                        </a:lnTo>
                        <a:lnTo>
                          <a:pt x="25837" y="19677"/>
                        </a:lnTo>
                        <a:lnTo>
                          <a:pt x="27152" y="15969"/>
                        </a:lnTo>
                        <a:lnTo>
                          <a:pt x="28050" y="13457"/>
                        </a:lnTo>
                        <a:lnTo>
                          <a:pt x="28887" y="9689"/>
                        </a:lnTo>
                        <a:lnTo>
                          <a:pt x="29305" y="7895"/>
                        </a:lnTo>
                        <a:lnTo>
                          <a:pt x="29485" y="4246"/>
                        </a:lnTo>
                        <a:lnTo>
                          <a:pt x="29545" y="3469"/>
                        </a:lnTo>
                        <a:lnTo>
                          <a:pt x="28707" y="419"/>
                        </a:lnTo>
                        <a:lnTo>
                          <a:pt x="28169" y="0"/>
                        </a:lnTo>
                      </a:path>
                    </a:pathLst>
                  </a:custGeom>
                  <a:noFill/>
                  <a:ln w="6350" cap="flat">
                    <a:solidFill>
                      <a:schemeClr val="bg1">
                        <a:alpha val="40000"/>
                      </a:schemeClr>
                    </a:solidFill>
                    <a:prstDash val="solid"/>
                    <a:miter/>
                  </a:ln>
                </p:spPr>
                <p:txBody>
                  <a:bodyPr rtlCol="0" anchor="ctr"/>
                  <a:lstStyle/>
                  <a:p>
                    <a:endParaRPr lang="en-GB"/>
                  </a:p>
                </p:txBody>
              </p:sp>
              <p:sp>
                <p:nvSpPr>
                  <p:cNvPr id="7701" name="Vrije vorm: vorm 7700">
                    <a:extLst>
                      <a:ext uri="{FF2B5EF4-FFF2-40B4-BE49-F238E27FC236}">
                        <a16:creationId xmlns:a16="http://schemas.microsoft.com/office/drawing/2014/main" id="{41F1F4C8-E16B-4F81-812E-A1896F77C33A}"/>
                      </a:ext>
                    </a:extLst>
                  </p:cNvPr>
                  <p:cNvSpPr/>
                  <p:nvPr/>
                </p:nvSpPr>
                <p:spPr>
                  <a:xfrm>
                    <a:off x="5792289" y="5162479"/>
                    <a:ext cx="7057" cy="28289"/>
                  </a:xfrm>
                  <a:custGeom>
                    <a:avLst/>
                    <a:gdLst>
                      <a:gd name="connsiteX0" fmla="*/ 5323 w 7057"/>
                      <a:gd name="connsiteY0" fmla="*/ 0 h 28289"/>
                      <a:gd name="connsiteX1" fmla="*/ 6100 w 7057"/>
                      <a:gd name="connsiteY1" fmla="*/ 1017 h 28289"/>
                      <a:gd name="connsiteX2" fmla="*/ 6220 w 7057"/>
                      <a:gd name="connsiteY2" fmla="*/ 1136 h 28289"/>
                      <a:gd name="connsiteX3" fmla="*/ 6340 w 7057"/>
                      <a:gd name="connsiteY3" fmla="*/ 1675 h 28289"/>
                      <a:gd name="connsiteX4" fmla="*/ 7057 w 7057"/>
                      <a:gd name="connsiteY4" fmla="*/ 4545 h 28289"/>
                      <a:gd name="connsiteX5" fmla="*/ 6998 w 7057"/>
                      <a:gd name="connsiteY5" fmla="*/ 6758 h 28289"/>
                      <a:gd name="connsiteX6" fmla="*/ 6938 w 7057"/>
                      <a:gd name="connsiteY6" fmla="*/ 8971 h 28289"/>
                      <a:gd name="connsiteX7" fmla="*/ 6818 w 7057"/>
                      <a:gd name="connsiteY7" fmla="*/ 9510 h 28289"/>
                      <a:gd name="connsiteX8" fmla="*/ 6519 w 7057"/>
                      <a:gd name="connsiteY8" fmla="*/ 11124 h 28289"/>
                      <a:gd name="connsiteX9" fmla="*/ 6160 w 7057"/>
                      <a:gd name="connsiteY9" fmla="*/ 13038 h 28289"/>
                      <a:gd name="connsiteX10" fmla="*/ 6041 w 7057"/>
                      <a:gd name="connsiteY10" fmla="*/ 13696 h 28289"/>
                      <a:gd name="connsiteX11" fmla="*/ 6041 w 7057"/>
                      <a:gd name="connsiteY11" fmla="*/ 13696 h 28289"/>
                      <a:gd name="connsiteX12" fmla="*/ 5981 w 7057"/>
                      <a:gd name="connsiteY12" fmla="*/ 14115 h 28289"/>
                      <a:gd name="connsiteX13" fmla="*/ 5323 w 7057"/>
                      <a:gd name="connsiteY13" fmla="*/ 16268 h 28289"/>
                      <a:gd name="connsiteX14" fmla="*/ 4904 w 7057"/>
                      <a:gd name="connsiteY14" fmla="*/ 17643 h 28289"/>
                      <a:gd name="connsiteX15" fmla="*/ 4306 w 7057"/>
                      <a:gd name="connsiteY15" fmla="*/ 19557 h 28289"/>
                      <a:gd name="connsiteX16" fmla="*/ 4127 w 7057"/>
                      <a:gd name="connsiteY16" fmla="*/ 20036 h 28289"/>
                      <a:gd name="connsiteX17" fmla="*/ 2512 w 7057"/>
                      <a:gd name="connsiteY17" fmla="*/ 23624 h 28289"/>
                      <a:gd name="connsiteX18" fmla="*/ 2452 w 7057"/>
                      <a:gd name="connsiteY18" fmla="*/ 23744 h 28289"/>
                      <a:gd name="connsiteX19" fmla="*/ 1914 w 7057"/>
                      <a:gd name="connsiteY19" fmla="*/ 24940 h 28289"/>
                      <a:gd name="connsiteX20" fmla="*/ 0 w 7057"/>
                      <a:gd name="connsiteY20" fmla="*/ 28289 h 2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57" h="28289">
                        <a:moveTo>
                          <a:pt x="5323" y="0"/>
                        </a:moveTo>
                        <a:lnTo>
                          <a:pt x="6100" y="1017"/>
                        </a:lnTo>
                        <a:lnTo>
                          <a:pt x="6220" y="1136"/>
                        </a:lnTo>
                        <a:lnTo>
                          <a:pt x="6340" y="1675"/>
                        </a:lnTo>
                        <a:lnTo>
                          <a:pt x="7057" y="4545"/>
                        </a:lnTo>
                        <a:lnTo>
                          <a:pt x="6998" y="6758"/>
                        </a:lnTo>
                        <a:lnTo>
                          <a:pt x="6938" y="8971"/>
                        </a:lnTo>
                        <a:lnTo>
                          <a:pt x="6818" y="9510"/>
                        </a:lnTo>
                        <a:lnTo>
                          <a:pt x="6519" y="11124"/>
                        </a:lnTo>
                        <a:lnTo>
                          <a:pt x="6160" y="13038"/>
                        </a:lnTo>
                        <a:lnTo>
                          <a:pt x="6041" y="13696"/>
                        </a:lnTo>
                        <a:lnTo>
                          <a:pt x="6041" y="13696"/>
                        </a:lnTo>
                        <a:lnTo>
                          <a:pt x="5981" y="14115"/>
                        </a:lnTo>
                        <a:lnTo>
                          <a:pt x="5323" y="16268"/>
                        </a:lnTo>
                        <a:lnTo>
                          <a:pt x="4904" y="17643"/>
                        </a:lnTo>
                        <a:lnTo>
                          <a:pt x="4306" y="19557"/>
                        </a:lnTo>
                        <a:lnTo>
                          <a:pt x="4127" y="20036"/>
                        </a:lnTo>
                        <a:lnTo>
                          <a:pt x="2512" y="23624"/>
                        </a:lnTo>
                        <a:lnTo>
                          <a:pt x="2452" y="23744"/>
                        </a:lnTo>
                        <a:lnTo>
                          <a:pt x="1914" y="24940"/>
                        </a:lnTo>
                        <a:lnTo>
                          <a:pt x="0" y="28289"/>
                        </a:lnTo>
                      </a:path>
                    </a:pathLst>
                  </a:custGeom>
                  <a:noFill/>
                  <a:ln w="6350" cap="flat">
                    <a:solidFill>
                      <a:schemeClr val="bg1">
                        <a:alpha val="40000"/>
                      </a:schemeClr>
                    </a:solidFill>
                    <a:prstDash val="solid"/>
                    <a:miter/>
                  </a:ln>
                </p:spPr>
                <p:txBody>
                  <a:bodyPr rtlCol="0" anchor="ctr"/>
                  <a:lstStyle/>
                  <a:p>
                    <a:endParaRPr lang="en-GB"/>
                  </a:p>
                </p:txBody>
              </p:sp>
              <p:sp>
                <p:nvSpPr>
                  <p:cNvPr id="7702" name="Vrije vorm: vorm 7701">
                    <a:extLst>
                      <a:ext uri="{FF2B5EF4-FFF2-40B4-BE49-F238E27FC236}">
                        <a16:creationId xmlns:a16="http://schemas.microsoft.com/office/drawing/2014/main" id="{D95EB75A-EF1E-41A2-90FB-EFD603526677}"/>
                      </a:ext>
                    </a:extLst>
                  </p:cNvPr>
                  <p:cNvSpPr/>
                  <p:nvPr/>
                </p:nvSpPr>
                <p:spPr>
                  <a:xfrm>
                    <a:off x="5785112" y="5189153"/>
                    <a:ext cx="4305" cy="7834"/>
                  </a:xfrm>
                  <a:custGeom>
                    <a:avLst/>
                    <a:gdLst>
                      <a:gd name="connsiteX0" fmla="*/ 4306 w 4305"/>
                      <a:gd name="connsiteY0" fmla="*/ 120 h 7834"/>
                      <a:gd name="connsiteX1" fmla="*/ 3887 w 4305"/>
                      <a:gd name="connsiteY1" fmla="*/ 0 h 7834"/>
                      <a:gd name="connsiteX2" fmla="*/ 3349 w 4305"/>
                      <a:gd name="connsiteY2" fmla="*/ 180 h 7834"/>
                      <a:gd name="connsiteX3" fmla="*/ 2751 w 4305"/>
                      <a:gd name="connsiteY3" fmla="*/ 598 h 7834"/>
                      <a:gd name="connsiteX4" fmla="*/ 2093 w 4305"/>
                      <a:gd name="connsiteY4" fmla="*/ 1256 h 7834"/>
                      <a:gd name="connsiteX5" fmla="*/ 1615 w 4305"/>
                      <a:gd name="connsiteY5" fmla="*/ 1914 h 7834"/>
                      <a:gd name="connsiteX6" fmla="*/ 1495 w 4305"/>
                      <a:gd name="connsiteY6" fmla="*/ 2034 h 7834"/>
                      <a:gd name="connsiteX7" fmla="*/ 1495 w 4305"/>
                      <a:gd name="connsiteY7" fmla="*/ 2034 h 7834"/>
                      <a:gd name="connsiteX8" fmla="*/ 1435 w 4305"/>
                      <a:gd name="connsiteY8" fmla="*/ 2093 h 7834"/>
                      <a:gd name="connsiteX9" fmla="*/ 897 w 4305"/>
                      <a:gd name="connsiteY9" fmla="*/ 3050 h 7834"/>
                      <a:gd name="connsiteX10" fmla="*/ 478 w 4305"/>
                      <a:gd name="connsiteY10" fmla="*/ 4067 h 7834"/>
                      <a:gd name="connsiteX11" fmla="*/ 418 w 4305"/>
                      <a:gd name="connsiteY11" fmla="*/ 4366 h 7834"/>
                      <a:gd name="connsiteX12" fmla="*/ 418 w 4305"/>
                      <a:gd name="connsiteY12" fmla="*/ 4366 h 7834"/>
                      <a:gd name="connsiteX13" fmla="*/ 179 w 4305"/>
                      <a:gd name="connsiteY13" fmla="*/ 5083 h 7834"/>
                      <a:gd name="connsiteX14" fmla="*/ 119 w 4305"/>
                      <a:gd name="connsiteY14" fmla="*/ 5502 h 7834"/>
                      <a:gd name="connsiteX15" fmla="*/ 0 w 4305"/>
                      <a:gd name="connsiteY15" fmla="*/ 6041 h 7834"/>
                      <a:gd name="connsiteX16" fmla="*/ 0 w 4305"/>
                      <a:gd name="connsiteY16" fmla="*/ 6100 h 7834"/>
                      <a:gd name="connsiteX17" fmla="*/ 0 w 4305"/>
                      <a:gd name="connsiteY17" fmla="*/ 6758 h 7834"/>
                      <a:gd name="connsiteX18" fmla="*/ 0 w 4305"/>
                      <a:gd name="connsiteY18" fmla="*/ 6878 h 7834"/>
                      <a:gd name="connsiteX19" fmla="*/ 179 w 4305"/>
                      <a:gd name="connsiteY19" fmla="*/ 7476 h 7834"/>
                      <a:gd name="connsiteX20" fmla="*/ 478 w 4305"/>
                      <a:gd name="connsiteY20" fmla="*/ 7835 h 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05" h="7834">
                        <a:moveTo>
                          <a:pt x="4306" y="120"/>
                        </a:moveTo>
                        <a:lnTo>
                          <a:pt x="3887" y="0"/>
                        </a:lnTo>
                        <a:lnTo>
                          <a:pt x="3349" y="180"/>
                        </a:lnTo>
                        <a:lnTo>
                          <a:pt x="2751" y="598"/>
                        </a:lnTo>
                        <a:lnTo>
                          <a:pt x="2093" y="1256"/>
                        </a:lnTo>
                        <a:lnTo>
                          <a:pt x="1615" y="1914"/>
                        </a:lnTo>
                        <a:lnTo>
                          <a:pt x="1495" y="2034"/>
                        </a:lnTo>
                        <a:lnTo>
                          <a:pt x="1495" y="2034"/>
                        </a:lnTo>
                        <a:lnTo>
                          <a:pt x="1435" y="2093"/>
                        </a:lnTo>
                        <a:lnTo>
                          <a:pt x="897" y="3050"/>
                        </a:lnTo>
                        <a:lnTo>
                          <a:pt x="478" y="4067"/>
                        </a:lnTo>
                        <a:lnTo>
                          <a:pt x="418" y="4366"/>
                        </a:lnTo>
                        <a:lnTo>
                          <a:pt x="418" y="4366"/>
                        </a:lnTo>
                        <a:lnTo>
                          <a:pt x="179" y="5083"/>
                        </a:lnTo>
                        <a:lnTo>
                          <a:pt x="119" y="5502"/>
                        </a:lnTo>
                        <a:lnTo>
                          <a:pt x="0" y="6041"/>
                        </a:lnTo>
                        <a:lnTo>
                          <a:pt x="0" y="6100"/>
                        </a:lnTo>
                        <a:lnTo>
                          <a:pt x="0" y="6758"/>
                        </a:lnTo>
                        <a:lnTo>
                          <a:pt x="0" y="6878"/>
                        </a:lnTo>
                        <a:lnTo>
                          <a:pt x="179" y="7476"/>
                        </a:lnTo>
                        <a:lnTo>
                          <a:pt x="478" y="7835"/>
                        </a:lnTo>
                      </a:path>
                    </a:pathLst>
                  </a:custGeom>
                  <a:noFill/>
                  <a:ln w="6350" cap="flat">
                    <a:solidFill>
                      <a:schemeClr val="bg1">
                        <a:alpha val="40000"/>
                      </a:schemeClr>
                    </a:solidFill>
                    <a:prstDash val="solid"/>
                    <a:miter/>
                  </a:ln>
                </p:spPr>
                <p:txBody>
                  <a:bodyPr rtlCol="0" anchor="ctr"/>
                  <a:lstStyle/>
                  <a:p>
                    <a:endParaRPr lang="en-GB"/>
                  </a:p>
                </p:txBody>
              </p:sp>
              <p:sp>
                <p:nvSpPr>
                  <p:cNvPr id="7703" name="Vrije vorm: vorm 7702">
                    <a:extLst>
                      <a:ext uri="{FF2B5EF4-FFF2-40B4-BE49-F238E27FC236}">
                        <a16:creationId xmlns:a16="http://schemas.microsoft.com/office/drawing/2014/main" id="{0D66A877-2641-42FF-8BC6-5E2B65149B24}"/>
                      </a:ext>
                    </a:extLst>
                  </p:cNvPr>
                  <p:cNvSpPr/>
                  <p:nvPr/>
                </p:nvSpPr>
                <p:spPr>
                  <a:xfrm>
                    <a:off x="5778234" y="5197646"/>
                    <a:ext cx="9090" cy="5980"/>
                  </a:xfrm>
                  <a:custGeom>
                    <a:avLst/>
                    <a:gdLst>
                      <a:gd name="connsiteX0" fmla="*/ 9091 w 9090"/>
                      <a:gd name="connsiteY0" fmla="*/ 0 h 5980"/>
                      <a:gd name="connsiteX1" fmla="*/ 8493 w 9090"/>
                      <a:gd name="connsiteY1" fmla="*/ 598 h 5980"/>
                      <a:gd name="connsiteX2" fmla="*/ 6280 w 9090"/>
                      <a:gd name="connsiteY2" fmla="*/ 2811 h 5980"/>
                      <a:gd name="connsiteX3" fmla="*/ 5801 w 9090"/>
                      <a:gd name="connsiteY3" fmla="*/ 3110 h 5980"/>
                      <a:gd name="connsiteX4" fmla="*/ 3947 w 9090"/>
                      <a:gd name="connsiteY4" fmla="*/ 4426 h 5980"/>
                      <a:gd name="connsiteX5" fmla="*/ 2930 w 9090"/>
                      <a:gd name="connsiteY5" fmla="*/ 5084 h 5980"/>
                      <a:gd name="connsiteX6" fmla="*/ 0 w 9090"/>
                      <a:gd name="connsiteY6" fmla="*/ 5981 h 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0" h="5980">
                        <a:moveTo>
                          <a:pt x="9091" y="0"/>
                        </a:moveTo>
                        <a:lnTo>
                          <a:pt x="8493" y="598"/>
                        </a:lnTo>
                        <a:lnTo>
                          <a:pt x="6280" y="2811"/>
                        </a:lnTo>
                        <a:lnTo>
                          <a:pt x="5801" y="3110"/>
                        </a:lnTo>
                        <a:lnTo>
                          <a:pt x="3947" y="4426"/>
                        </a:lnTo>
                        <a:lnTo>
                          <a:pt x="2930" y="5084"/>
                        </a:lnTo>
                        <a:lnTo>
                          <a:pt x="0" y="5981"/>
                        </a:lnTo>
                      </a:path>
                    </a:pathLst>
                  </a:custGeom>
                  <a:noFill/>
                  <a:ln w="6350" cap="flat">
                    <a:solidFill>
                      <a:schemeClr val="bg1">
                        <a:alpha val="40000"/>
                      </a:schemeClr>
                    </a:solidFill>
                    <a:prstDash val="solid"/>
                    <a:miter/>
                  </a:ln>
                </p:spPr>
                <p:txBody>
                  <a:bodyPr rtlCol="0" anchor="ctr"/>
                  <a:lstStyle/>
                  <a:p>
                    <a:endParaRPr lang="en-GB"/>
                  </a:p>
                </p:txBody>
              </p:sp>
              <p:sp>
                <p:nvSpPr>
                  <p:cNvPr id="7704" name="Vrije vorm: vorm 7703">
                    <a:extLst>
                      <a:ext uri="{FF2B5EF4-FFF2-40B4-BE49-F238E27FC236}">
                        <a16:creationId xmlns:a16="http://schemas.microsoft.com/office/drawing/2014/main" id="{631840FF-89A5-4D92-BF22-52EE5DDB2799}"/>
                      </a:ext>
                    </a:extLst>
                  </p:cNvPr>
                  <p:cNvSpPr/>
                  <p:nvPr/>
                </p:nvSpPr>
                <p:spPr>
                  <a:xfrm>
                    <a:off x="5784574" y="5179524"/>
                    <a:ext cx="3468" cy="5621"/>
                  </a:xfrm>
                  <a:custGeom>
                    <a:avLst/>
                    <a:gdLst>
                      <a:gd name="connsiteX0" fmla="*/ 299 w 3468"/>
                      <a:gd name="connsiteY0" fmla="*/ 5562 h 5621"/>
                      <a:gd name="connsiteX1" fmla="*/ 419 w 3468"/>
                      <a:gd name="connsiteY1" fmla="*/ 5562 h 5621"/>
                      <a:gd name="connsiteX2" fmla="*/ 658 w 3468"/>
                      <a:gd name="connsiteY2" fmla="*/ 5622 h 5621"/>
                      <a:gd name="connsiteX3" fmla="*/ 1076 w 3468"/>
                      <a:gd name="connsiteY3" fmla="*/ 5502 h 5621"/>
                      <a:gd name="connsiteX4" fmla="*/ 1495 w 3468"/>
                      <a:gd name="connsiteY4" fmla="*/ 5203 h 5621"/>
                      <a:gd name="connsiteX5" fmla="*/ 1974 w 3468"/>
                      <a:gd name="connsiteY5" fmla="*/ 4725 h 5621"/>
                      <a:gd name="connsiteX6" fmla="*/ 2392 w 3468"/>
                      <a:gd name="connsiteY6" fmla="*/ 4127 h 5621"/>
                      <a:gd name="connsiteX7" fmla="*/ 2811 w 3468"/>
                      <a:gd name="connsiteY7" fmla="*/ 3469 h 5621"/>
                      <a:gd name="connsiteX8" fmla="*/ 3110 w 3468"/>
                      <a:gd name="connsiteY8" fmla="*/ 2751 h 5621"/>
                      <a:gd name="connsiteX9" fmla="*/ 3349 w 3468"/>
                      <a:gd name="connsiteY9" fmla="*/ 2033 h 5621"/>
                      <a:gd name="connsiteX10" fmla="*/ 3469 w 3468"/>
                      <a:gd name="connsiteY10" fmla="*/ 1375 h 5621"/>
                      <a:gd name="connsiteX11" fmla="*/ 3469 w 3468"/>
                      <a:gd name="connsiteY11" fmla="*/ 1076 h 5621"/>
                      <a:gd name="connsiteX12" fmla="*/ 3469 w 3468"/>
                      <a:gd name="connsiteY12" fmla="*/ 778 h 5621"/>
                      <a:gd name="connsiteX13" fmla="*/ 3349 w 3468"/>
                      <a:gd name="connsiteY13" fmla="*/ 359 h 5621"/>
                      <a:gd name="connsiteX14" fmla="*/ 3110 w 3468"/>
                      <a:gd name="connsiteY14" fmla="*/ 60 h 5621"/>
                      <a:gd name="connsiteX15" fmla="*/ 3050 w 3468"/>
                      <a:gd name="connsiteY15" fmla="*/ 60 h 5621"/>
                      <a:gd name="connsiteX16" fmla="*/ 2751 w 3468"/>
                      <a:gd name="connsiteY16" fmla="*/ 0 h 5621"/>
                      <a:gd name="connsiteX17" fmla="*/ 2691 w 3468"/>
                      <a:gd name="connsiteY17" fmla="*/ 0 h 5621"/>
                      <a:gd name="connsiteX18" fmla="*/ 2333 w 3468"/>
                      <a:gd name="connsiteY18" fmla="*/ 119 h 5621"/>
                      <a:gd name="connsiteX19" fmla="*/ 2093 w 3468"/>
                      <a:gd name="connsiteY19" fmla="*/ 239 h 5621"/>
                      <a:gd name="connsiteX20" fmla="*/ 1854 w 3468"/>
                      <a:gd name="connsiteY20" fmla="*/ 359 h 5621"/>
                      <a:gd name="connsiteX21" fmla="*/ 1375 w 3468"/>
                      <a:gd name="connsiteY21" fmla="*/ 837 h 5621"/>
                      <a:gd name="connsiteX22" fmla="*/ 957 w 3468"/>
                      <a:gd name="connsiteY22" fmla="*/ 1435 h 5621"/>
                      <a:gd name="connsiteX23" fmla="*/ 538 w 3468"/>
                      <a:gd name="connsiteY23" fmla="*/ 2093 h 5621"/>
                      <a:gd name="connsiteX24" fmla="*/ 239 w 3468"/>
                      <a:gd name="connsiteY24" fmla="*/ 2811 h 5621"/>
                      <a:gd name="connsiteX25" fmla="*/ 0 w 3468"/>
                      <a:gd name="connsiteY25" fmla="*/ 3528 h 5621"/>
                      <a:gd name="connsiteX26" fmla="*/ 0 w 3468"/>
                      <a:gd name="connsiteY26" fmla="*/ 4246 h 5621"/>
                      <a:gd name="connsiteX27" fmla="*/ 0 w 3468"/>
                      <a:gd name="connsiteY27" fmla="*/ 4785 h 5621"/>
                      <a:gd name="connsiteX28" fmla="*/ 0 w 3468"/>
                      <a:gd name="connsiteY28" fmla="*/ 4785 h 5621"/>
                      <a:gd name="connsiteX29" fmla="*/ 120 w 3468"/>
                      <a:gd name="connsiteY29" fmla="*/ 5203 h 5621"/>
                      <a:gd name="connsiteX30" fmla="*/ 299 w 3468"/>
                      <a:gd name="connsiteY30" fmla="*/ 5562 h 5621"/>
                      <a:gd name="connsiteX31" fmla="*/ 299 w 3468"/>
                      <a:gd name="connsiteY31" fmla="*/ 5562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68" h="5621">
                        <a:moveTo>
                          <a:pt x="299" y="5562"/>
                        </a:moveTo>
                        <a:lnTo>
                          <a:pt x="419" y="5562"/>
                        </a:lnTo>
                        <a:lnTo>
                          <a:pt x="658" y="5622"/>
                        </a:lnTo>
                        <a:lnTo>
                          <a:pt x="1076" y="5502"/>
                        </a:lnTo>
                        <a:lnTo>
                          <a:pt x="1495" y="5203"/>
                        </a:lnTo>
                        <a:lnTo>
                          <a:pt x="1974" y="4725"/>
                        </a:lnTo>
                        <a:lnTo>
                          <a:pt x="2392" y="4127"/>
                        </a:lnTo>
                        <a:lnTo>
                          <a:pt x="2811" y="3469"/>
                        </a:lnTo>
                        <a:lnTo>
                          <a:pt x="3110" y="2751"/>
                        </a:lnTo>
                        <a:lnTo>
                          <a:pt x="3349" y="2033"/>
                        </a:lnTo>
                        <a:lnTo>
                          <a:pt x="3469" y="1375"/>
                        </a:lnTo>
                        <a:lnTo>
                          <a:pt x="3469" y="1076"/>
                        </a:lnTo>
                        <a:lnTo>
                          <a:pt x="3469" y="778"/>
                        </a:lnTo>
                        <a:lnTo>
                          <a:pt x="3349" y="359"/>
                        </a:lnTo>
                        <a:lnTo>
                          <a:pt x="3110" y="60"/>
                        </a:lnTo>
                        <a:lnTo>
                          <a:pt x="3050" y="60"/>
                        </a:lnTo>
                        <a:lnTo>
                          <a:pt x="2751" y="0"/>
                        </a:lnTo>
                        <a:lnTo>
                          <a:pt x="2691" y="0"/>
                        </a:lnTo>
                        <a:lnTo>
                          <a:pt x="2333" y="119"/>
                        </a:lnTo>
                        <a:lnTo>
                          <a:pt x="2093" y="239"/>
                        </a:lnTo>
                        <a:lnTo>
                          <a:pt x="1854" y="359"/>
                        </a:lnTo>
                        <a:lnTo>
                          <a:pt x="1375" y="837"/>
                        </a:lnTo>
                        <a:lnTo>
                          <a:pt x="957" y="1435"/>
                        </a:lnTo>
                        <a:lnTo>
                          <a:pt x="538" y="2093"/>
                        </a:lnTo>
                        <a:lnTo>
                          <a:pt x="239" y="2811"/>
                        </a:lnTo>
                        <a:lnTo>
                          <a:pt x="0" y="3528"/>
                        </a:lnTo>
                        <a:lnTo>
                          <a:pt x="0" y="4246"/>
                        </a:lnTo>
                        <a:lnTo>
                          <a:pt x="0" y="4785"/>
                        </a:lnTo>
                        <a:lnTo>
                          <a:pt x="0" y="4785"/>
                        </a:lnTo>
                        <a:lnTo>
                          <a:pt x="120" y="5203"/>
                        </a:lnTo>
                        <a:lnTo>
                          <a:pt x="299" y="5562"/>
                        </a:lnTo>
                        <a:lnTo>
                          <a:pt x="299" y="5562"/>
                        </a:lnTo>
                      </a:path>
                    </a:pathLst>
                  </a:custGeom>
                  <a:noFill/>
                  <a:ln w="6350" cap="flat">
                    <a:solidFill>
                      <a:schemeClr val="bg1">
                        <a:alpha val="40000"/>
                      </a:schemeClr>
                    </a:solidFill>
                    <a:prstDash val="solid"/>
                    <a:miter/>
                  </a:ln>
                </p:spPr>
                <p:txBody>
                  <a:bodyPr rtlCol="0" anchor="ctr"/>
                  <a:lstStyle/>
                  <a:p>
                    <a:endParaRPr lang="en-GB"/>
                  </a:p>
                </p:txBody>
              </p:sp>
              <p:sp>
                <p:nvSpPr>
                  <p:cNvPr id="7705" name="Vrije vorm: vorm 7704">
                    <a:extLst>
                      <a:ext uri="{FF2B5EF4-FFF2-40B4-BE49-F238E27FC236}">
                        <a16:creationId xmlns:a16="http://schemas.microsoft.com/office/drawing/2014/main" id="{EDEAB77B-B374-4ED4-AB5D-59B97E24A007}"/>
                      </a:ext>
                    </a:extLst>
                  </p:cNvPr>
                  <p:cNvSpPr/>
                  <p:nvPr/>
                </p:nvSpPr>
                <p:spPr>
                  <a:xfrm>
                    <a:off x="5726441" y="5221329"/>
                    <a:ext cx="6219" cy="12738"/>
                  </a:xfrm>
                  <a:custGeom>
                    <a:avLst/>
                    <a:gdLst>
                      <a:gd name="connsiteX0" fmla="*/ 6220 w 6219"/>
                      <a:gd name="connsiteY0" fmla="*/ 12739 h 12738"/>
                      <a:gd name="connsiteX1" fmla="*/ 4067 w 6219"/>
                      <a:gd name="connsiteY1" fmla="*/ 11543 h 12738"/>
                      <a:gd name="connsiteX2" fmla="*/ 2512 w 6219"/>
                      <a:gd name="connsiteY2" fmla="*/ 8971 h 12738"/>
                      <a:gd name="connsiteX3" fmla="*/ 957 w 6219"/>
                      <a:gd name="connsiteY3" fmla="*/ 6399 h 12738"/>
                      <a:gd name="connsiteX4" fmla="*/ 0 w 6219"/>
                      <a:gd name="connsiteY4" fmla="*/ 4785 h 12738"/>
                      <a:gd name="connsiteX5" fmla="*/ 2332 w 6219"/>
                      <a:gd name="connsiteY5" fmla="*/ 1674 h 12738"/>
                      <a:gd name="connsiteX6" fmla="*/ 3588 w 6219"/>
                      <a:gd name="connsiteY6" fmla="*/ 0 h 1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9" h="12738">
                        <a:moveTo>
                          <a:pt x="6220" y="12739"/>
                        </a:moveTo>
                        <a:lnTo>
                          <a:pt x="4067" y="11543"/>
                        </a:lnTo>
                        <a:lnTo>
                          <a:pt x="2512" y="8971"/>
                        </a:lnTo>
                        <a:lnTo>
                          <a:pt x="957" y="6399"/>
                        </a:lnTo>
                        <a:lnTo>
                          <a:pt x="0" y="4785"/>
                        </a:lnTo>
                        <a:lnTo>
                          <a:pt x="2332" y="1674"/>
                        </a:lnTo>
                        <a:lnTo>
                          <a:pt x="3588" y="0"/>
                        </a:lnTo>
                      </a:path>
                    </a:pathLst>
                  </a:custGeom>
                  <a:noFill/>
                  <a:ln w="6350" cap="flat">
                    <a:solidFill>
                      <a:schemeClr val="bg1">
                        <a:alpha val="40000"/>
                      </a:schemeClr>
                    </a:solidFill>
                    <a:prstDash val="solid"/>
                    <a:miter/>
                  </a:ln>
                </p:spPr>
                <p:txBody>
                  <a:bodyPr rtlCol="0" anchor="ctr"/>
                  <a:lstStyle/>
                  <a:p>
                    <a:endParaRPr lang="en-GB"/>
                  </a:p>
                </p:txBody>
              </p:sp>
              <p:sp>
                <p:nvSpPr>
                  <p:cNvPr id="7706" name="Vrije vorm: vorm 7705">
                    <a:extLst>
                      <a:ext uri="{FF2B5EF4-FFF2-40B4-BE49-F238E27FC236}">
                        <a16:creationId xmlns:a16="http://schemas.microsoft.com/office/drawing/2014/main" id="{BE456A9C-B98B-4D7C-9661-AA377528B7E6}"/>
                      </a:ext>
                    </a:extLst>
                  </p:cNvPr>
                  <p:cNvSpPr/>
                  <p:nvPr/>
                </p:nvSpPr>
                <p:spPr>
                  <a:xfrm>
                    <a:off x="5726561" y="5226114"/>
                    <a:ext cx="5143" cy="2751"/>
                  </a:xfrm>
                  <a:custGeom>
                    <a:avLst/>
                    <a:gdLst>
                      <a:gd name="connsiteX0" fmla="*/ 0 w 5143"/>
                      <a:gd name="connsiteY0" fmla="*/ 0 h 2751"/>
                      <a:gd name="connsiteX1" fmla="*/ 2452 w 5143"/>
                      <a:gd name="connsiteY1" fmla="*/ 1316 h 2751"/>
                      <a:gd name="connsiteX2" fmla="*/ 4904 w 5143"/>
                      <a:gd name="connsiteY2" fmla="*/ 2632 h 2751"/>
                      <a:gd name="connsiteX3" fmla="*/ 5143 w 5143"/>
                      <a:gd name="connsiteY3" fmla="*/ 2751 h 2751"/>
                    </a:gdLst>
                    <a:ahLst/>
                    <a:cxnLst>
                      <a:cxn ang="0">
                        <a:pos x="connsiteX0" y="connsiteY0"/>
                      </a:cxn>
                      <a:cxn ang="0">
                        <a:pos x="connsiteX1" y="connsiteY1"/>
                      </a:cxn>
                      <a:cxn ang="0">
                        <a:pos x="connsiteX2" y="connsiteY2"/>
                      </a:cxn>
                      <a:cxn ang="0">
                        <a:pos x="connsiteX3" y="connsiteY3"/>
                      </a:cxn>
                    </a:cxnLst>
                    <a:rect l="l" t="t" r="r" b="b"/>
                    <a:pathLst>
                      <a:path w="5143" h="2751">
                        <a:moveTo>
                          <a:pt x="0" y="0"/>
                        </a:moveTo>
                        <a:lnTo>
                          <a:pt x="2452" y="1316"/>
                        </a:lnTo>
                        <a:lnTo>
                          <a:pt x="4904" y="2632"/>
                        </a:lnTo>
                        <a:lnTo>
                          <a:pt x="5143" y="2751"/>
                        </a:lnTo>
                      </a:path>
                    </a:pathLst>
                  </a:custGeom>
                  <a:noFill/>
                  <a:ln w="6350" cap="flat">
                    <a:solidFill>
                      <a:schemeClr val="bg1">
                        <a:alpha val="40000"/>
                      </a:schemeClr>
                    </a:solidFill>
                    <a:prstDash val="solid"/>
                    <a:miter/>
                  </a:ln>
                </p:spPr>
                <p:txBody>
                  <a:bodyPr rtlCol="0" anchor="ctr"/>
                  <a:lstStyle/>
                  <a:p>
                    <a:endParaRPr lang="en-GB"/>
                  </a:p>
                </p:txBody>
              </p:sp>
              <p:sp>
                <p:nvSpPr>
                  <p:cNvPr id="7707" name="Vrije vorm: vorm 7706">
                    <a:extLst>
                      <a:ext uri="{FF2B5EF4-FFF2-40B4-BE49-F238E27FC236}">
                        <a16:creationId xmlns:a16="http://schemas.microsoft.com/office/drawing/2014/main" id="{7D5EDF71-91E2-47A7-AEBE-3FF188FBB02B}"/>
                      </a:ext>
                    </a:extLst>
                  </p:cNvPr>
                  <p:cNvSpPr/>
                  <p:nvPr/>
                </p:nvSpPr>
                <p:spPr>
                  <a:xfrm>
                    <a:off x="5783856" y="5168221"/>
                    <a:ext cx="6040" cy="8014"/>
                  </a:xfrm>
                  <a:custGeom>
                    <a:avLst/>
                    <a:gdLst>
                      <a:gd name="connsiteX0" fmla="*/ 0 w 6040"/>
                      <a:gd name="connsiteY0" fmla="*/ 7117 h 8014"/>
                      <a:gd name="connsiteX1" fmla="*/ 1734 w 6040"/>
                      <a:gd name="connsiteY1" fmla="*/ 7895 h 8014"/>
                      <a:gd name="connsiteX2" fmla="*/ 2033 w 6040"/>
                      <a:gd name="connsiteY2" fmla="*/ 7954 h 8014"/>
                      <a:gd name="connsiteX3" fmla="*/ 2213 w 6040"/>
                      <a:gd name="connsiteY3" fmla="*/ 8014 h 8014"/>
                      <a:gd name="connsiteX4" fmla="*/ 2751 w 6040"/>
                      <a:gd name="connsiteY4" fmla="*/ 7895 h 8014"/>
                      <a:gd name="connsiteX5" fmla="*/ 3349 w 6040"/>
                      <a:gd name="connsiteY5" fmla="*/ 7476 h 8014"/>
                      <a:gd name="connsiteX6" fmla="*/ 3528 w 6040"/>
                      <a:gd name="connsiteY6" fmla="*/ 7296 h 8014"/>
                      <a:gd name="connsiteX7" fmla="*/ 4007 w 6040"/>
                      <a:gd name="connsiteY7" fmla="*/ 6818 h 8014"/>
                      <a:gd name="connsiteX8" fmla="*/ 4605 w 6040"/>
                      <a:gd name="connsiteY8" fmla="*/ 5981 h 8014"/>
                      <a:gd name="connsiteX9" fmla="*/ 5143 w 6040"/>
                      <a:gd name="connsiteY9" fmla="*/ 5024 h 8014"/>
                      <a:gd name="connsiteX10" fmla="*/ 5502 w 6040"/>
                      <a:gd name="connsiteY10" fmla="*/ 4187 h 8014"/>
                      <a:gd name="connsiteX11" fmla="*/ 5562 w 6040"/>
                      <a:gd name="connsiteY11" fmla="*/ 4007 h 8014"/>
                      <a:gd name="connsiteX12" fmla="*/ 5861 w 6040"/>
                      <a:gd name="connsiteY12" fmla="*/ 2990 h 8014"/>
                      <a:gd name="connsiteX13" fmla="*/ 6041 w 6040"/>
                      <a:gd name="connsiteY13" fmla="*/ 2034 h 8014"/>
                      <a:gd name="connsiteX14" fmla="*/ 6041 w 6040"/>
                      <a:gd name="connsiteY14" fmla="*/ 1196 h 8014"/>
                      <a:gd name="connsiteX15" fmla="*/ 5861 w 6040"/>
                      <a:gd name="connsiteY15" fmla="*/ 538 h 8014"/>
                      <a:gd name="connsiteX16" fmla="*/ 5562 w 6040"/>
                      <a:gd name="connsiteY16" fmla="*/ 120 h 8014"/>
                      <a:gd name="connsiteX17" fmla="*/ 5083 w 6040"/>
                      <a:gd name="connsiteY17" fmla="*/ 0 h 8014"/>
                      <a:gd name="connsiteX18" fmla="*/ 5024 w 6040"/>
                      <a:gd name="connsiteY18" fmla="*/ 0 h 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40" h="8014">
                        <a:moveTo>
                          <a:pt x="0" y="7117"/>
                        </a:moveTo>
                        <a:lnTo>
                          <a:pt x="1734" y="7895"/>
                        </a:lnTo>
                        <a:lnTo>
                          <a:pt x="2033" y="7954"/>
                        </a:lnTo>
                        <a:lnTo>
                          <a:pt x="2213" y="8014"/>
                        </a:lnTo>
                        <a:lnTo>
                          <a:pt x="2751" y="7895"/>
                        </a:lnTo>
                        <a:lnTo>
                          <a:pt x="3349" y="7476"/>
                        </a:lnTo>
                        <a:lnTo>
                          <a:pt x="3528" y="7296"/>
                        </a:lnTo>
                        <a:lnTo>
                          <a:pt x="4007" y="6818"/>
                        </a:lnTo>
                        <a:lnTo>
                          <a:pt x="4605" y="5981"/>
                        </a:lnTo>
                        <a:lnTo>
                          <a:pt x="5143" y="5024"/>
                        </a:lnTo>
                        <a:lnTo>
                          <a:pt x="5502" y="4187"/>
                        </a:lnTo>
                        <a:lnTo>
                          <a:pt x="5562" y="4007"/>
                        </a:lnTo>
                        <a:lnTo>
                          <a:pt x="5861" y="2990"/>
                        </a:lnTo>
                        <a:lnTo>
                          <a:pt x="6041" y="2034"/>
                        </a:lnTo>
                        <a:lnTo>
                          <a:pt x="6041" y="1196"/>
                        </a:lnTo>
                        <a:lnTo>
                          <a:pt x="5861" y="538"/>
                        </a:lnTo>
                        <a:lnTo>
                          <a:pt x="5562" y="120"/>
                        </a:lnTo>
                        <a:lnTo>
                          <a:pt x="5083" y="0"/>
                        </a:lnTo>
                        <a:lnTo>
                          <a:pt x="5024" y="0"/>
                        </a:lnTo>
                      </a:path>
                    </a:pathLst>
                  </a:custGeom>
                  <a:noFill/>
                  <a:ln w="6350" cap="flat">
                    <a:solidFill>
                      <a:schemeClr val="bg1">
                        <a:alpha val="40000"/>
                      </a:schemeClr>
                    </a:solidFill>
                    <a:prstDash val="solid"/>
                    <a:miter/>
                  </a:ln>
                </p:spPr>
                <p:txBody>
                  <a:bodyPr rtlCol="0" anchor="ctr"/>
                  <a:lstStyle/>
                  <a:p>
                    <a:endParaRPr lang="en-GB"/>
                  </a:p>
                </p:txBody>
              </p:sp>
              <p:sp>
                <p:nvSpPr>
                  <p:cNvPr id="7708" name="Vrije vorm: vorm 7707">
                    <a:extLst>
                      <a:ext uri="{FF2B5EF4-FFF2-40B4-BE49-F238E27FC236}">
                        <a16:creationId xmlns:a16="http://schemas.microsoft.com/office/drawing/2014/main" id="{00E07ED0-A9A8-4681-B15B-F212532CE3DD}"/>
                      </a:ext>
                    </a:extLst>
                  </p:cNvPr>
                  <p:cNvSpPr/>
                  <p:nvPr/>
                </p:nvSpPr>
                <p:spPr>
                  <a:xfrm>
                    <a:off x="5787744" y="5189273"/>
                    <a:ext cx="4784" cy="8851"/>
                  </a:xfrm>
                  <a:custGeom>
                    <a:avLst/>
                    <a:gdLst>
                      <a:gd name="connsiteX0" fmla="*/ 4246 w 4784"/>
                      <a:gd name="connsiteY0" fmla="*/ 1136 h 8851"/>
                      <a:gd name="connsiteX1" fmla="*/ 3827 w 4784"/>
                      <a:gd name="connsiteY1" fmla="*/ 1017 h 8851"/>
                      <a:gd name="connsiteX2" fmla="*/ 3289 w 4784"/>
                      <a:gd name="connsiteY2" fmla="*/ 1196 h 8851"/>
                      <a:gd name="connsiteX3" fmla="*/ 2691 w 4784"/>
                      <a:gd name="connsiteY3" fmla="*/ 1615 h 8851"/>
                      <a:gd name="connsiteX4" fmla="*/ 2153 w 4784"/>
                      <a:gd name="connsiteY4" fmla="*/ 2213 h 8851"/>
                      <a:gd name="connsiteX5" fmla="*/ 2093 w 4784"/>
                      <a:gd name="connsiteY5" fmla="*/ 2273 h 8851"/>
                      <a:gd name="connsiteX6" fmla="*/ 1674 w 4784"/>
                      <a:gd name="connsiteY6" fmla="*/ 2811 h 8851"/>
                      <a:gd name="connsiteX7" fmla="*/ 1495 w 4784"/>
                      <a:gd name="connsiteY7" fmla="*/ 3050 h 8851"/>
                      <a:gd name="connsiteX8" fmla="*/ 957 w 4784"/>
                      <a:gd name="connsiteY8" fmla="*/ 4007 h 8851"/>
                      <a:gd name="connsiteX9" fmla="*/ 478 w 4784"/>
                      <a:gd name="connsiteY9" fmla="*/ 5024 h 8851"/>
                      <a:gd name="connsiteX10" fmla="*/ 239 w 4784"/>
                      <a:gd name="connsiteY10" fmla="*/ 5741 h 8851"/>
                      <a:gd name="connsiteX11" fmla="*/ 119 w 4784"/>
                      <a:gd name="connsiteY11" fmla="*/ 6041 h 8851"/>
                      <a:gd name="connsiteX12" fmla="*/ 60 w 4784"/>
                      <a:gd name="connsiteY12" fmla="*/ 6519 h 8851"/>
                      <a:gd name="connsiteX13" fmla="*/ 0 w 4784"/>
                      <a:gd name="connsiteY13" fmla="*/ 6997 h 8851"/>
                      <a:gd name="connsiteX14" fmla="*/ 0 w 4784"/>
                      <a:gd name="connsiteY14" fmla="*/ 7775 h 8851"/>
                      <a:gd name="connsiteX15" fmla="*/ 179 w 4784"/>
                      <a:gd name="connsiteY15" fmla="*/ 8373 h 8851"/>
                      <a:gd name="connsiteX16" fmla="*/ 299 w 4784"/>
                      <a:gd name="connsiteY16" fmla="*/ 8552 h 8851"/>
                      <a:gd name="connsiteX17" fmla="*/ 478 w 4784"/>
                      <a:gd name="connsiteY17" fmla="*/ 8732 h 8851"/>
                      <a:gd name="connsiteX18" fmla="*/ 897 w 4784"/>
                      <a:gd name="connsiteY18" fmla="*/ 8851 h 8851"/>
                      <a:gd name="connsiteX19" fmla="*/ 1435 w 4784"/>
                      <a:gd name="connsiteY19" fmla="*/ 8672 h 8851"/>
                      <a:gd name="connsiteX20" fmla="*/ 2033 w 4784"/>
                      <a:gd name="connsiteY20" fmla="*/ 8253 h 8851"/>
                      <a:gd name="connsiteX21" fmla="*/ 2691 w 4784"/>
                      <a:gd name="connsiteY21" fmla="*/ 7595 h 8851"/>
                      <a:gd name="connsiteX22" fmla="*/ 3289 w 4784"/>
                      <a:gd name="connsiteY22" fmla="*/ 6758 h 8851"/>
                      <a:gd name="connsiteX23" fmla="*/ 3289 w 4784"/>
                      <a:gd name="connsiteY23" fmla="*/ 6698 h 8851"/>
                      <a:gd name="connsiteX24" fmla="*/ 3469 w 4784"/>
                      <a:gd name="connsiteY24" fmla="*/ 6399 h 8851"/>
                      <a:gd name="connsiteX25" fmla="*/ 3708 w 4784"/>
                      <a:gd name="connsiteY25" fmla="*/ 6041 h 8851"/>
                      <a:gd name="connsiteX26" fmla="*/ 3827 w 4784"/>
                      <a:gd name="connsiteY26" fmla="*/ 5861 h 8851"/>
                      <a:gd name="connsiteX27" fmla="*/ 3887 w 4784"/>
                      <a:gd name="connsiteY27" fmla="*/ 5801 h 8851"/>
                      <a:gd name="connsiteX28" fmla="*/ 4306 w 4784"/>
                      <a:gd name="connsiteY28" fmla="*/ 4785 h 8851"/>
                      <a:gd name="connsiteX29" fmla="*/ 4545 w 4784"/>
                      <a:gd name="connsiteY29" fmla="*/ 4007 h 8851"/>
                      <a:gd name="connsiteX30" fmla="*/ 4605 w 4784"/>
                      <a:gd name="connsiteY30" fmla="*/ 3768 h 8851"/>
                      <a:gd name="connsiteX31" fmla="*/ 4785 w 4784"/>
                      <a:gd name="connsiteY31" fmla="*/ 2871 h 8851"/>
                      <a:gd name="connsiteX32" fmla="*/ 4785 w 4784"/>
                      <a:gd name="connsiteY32" fmla="*/ 2093 h 8851"/>
                      <a:gd name="connsiteX33" fmla="*/ 4605 w 4784"/>
                      <a:gd name="connsiteY33" fmla="*/ 1495 h 8851"/>
                      <a:gd name="connsiteX34" fmla="*/ 4605 w 4784"/>
                      <a:gd name="connsiteY34" fmla="*/ 1495 h 8851"/>
                      <a:gd name="connsiteX35" fmla="*/ 4246 w 4784"/>
                      <a:gd name="connsiteY35" fmla="*/ 1136 h 8851"/>
                      <a:gd name="connsiteX36" fmla="*/ 2093 w 4784"/>
                      <a:gd name="connsiteY36" fmla="*/ 179 h 8851"/>
                      <a:gd name="connsiteX37" fmla="*/ 1674 w 4784"/>
                      <a:gd name="connsiteY37" fmla="*/ 0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784" h="8851">
                        <a:moveTo>
                          <a:pt x="4246" y="1136"/>
                        </a:moveTo>
                        <a:lnTo>
                          <a:pt x="3827" y="1017"/>
                        </a:lnTo>
                        <a:lnTo>
                          <a:pt x="3289" y="1196"/>
                        </a:lnTo>
                        <a:lnTo>
                          <a:pt x="2691" y="1615"/>
                        </a:lnTo>
                        <a:lnTo>
                          <a:pt x="2153" y="2213"/>
                        </a:lnTo>
                        <a:lnTo>
                          <a:pt x="2093" y="2273"/>
                        </a:lnTo>
                        <a:lnTo>
                          <a:pt x="1674" y="2811"/>
                        </a:lnTo>
                        <a:lnTo>
                          <a:pt x="1495" y="3050"/>
                        </a:lnTo>
                        <a:lnTo>
                          <a:pt x="957" y="4007"/>
                        </a:lnTo>
                        <a:lnTo>
                          <a:pt x="478" y="5024"/>
                        </a:lnTo>
                        <a:lnTo>
                          <a:pt x="239" y="5741"/>
                        </a:lnTo>
                        <a:lnTo>
                          <a:pt x="119" y="6041"/>
                        </a:lnTo>
                        <a:lnTo>
                          <a:pt x="60" y="6519"/>
                        </a:lnTo>
                        <a:lnTo>
                          <a:pt x="0" y="6997"/>
                        </a:lnTo>
                        <a:lnTo>
                          <a:pt x="0" y="7775"/>
                        </a:lnTo>
                        <a:lnTo>
                          <a:pt x="179" y="8373"/>
                        </a:lnTo>
                        <a:lnTo>
                          <a:pt x="299" y="8552"/>
                        </a:lnTo>
                        <a:lnTo>
                          <a:pt x="478" y="8732"/>
                        </a:lnTo>
                        <a:lnTo>
                          <a:pt x="897" y="8851"/>
                        </a:lnTo>
                        <a:lnTo>
                          <a:pt x="1435" y="8672"/>
                        </a:lnTo>
                        <a:lnTo>
                          <a:pt x="2033" y="8253"/>
                        </a:lnTo>
                        <a:lnTo>
                          <a:pt x="2691" y="7595"/>
                        </a:lnTo>
                        <a:lnTo>
                          <a:pt x="3289" y="6758"/>
                        </a:lnTo>
                        <a:lnTo>
                          <a:pt x="3289" y="6698"/>
                        </a:lnTo>
                        <a:lnTo>
                          <a:pt x="3469" y="6399"/>
                        </a:lnTo>
                        <a:lnTo>
                          <a:pt x="3708" y="6041"/>
                        </a:lnTo>
                        <a:lnTo>
                          <a:pt x="3827" y="5861"/>
                        </a:lnTo>
                        <a:lnTo>
                          <a:pt x="3887" y="5801"/>
                        </a:lnTo>
                        <a:lnTo>
                          <a:pt x="4306" y="4785"/>
                        </a:lnTo>
                        <a:lnTo>
                          <a:pt x="4545" y="4007"/>
                        </a:lnTo>
                        <a:lnTo>
                          <a:pt x="4605" y="3768"/>
                        </a:lnTo>
                        <a:lnTo>
                          <a:pt x="4785" y="2871"/>
                        </a:lnTo>
                        <a:lnTo>
                          <a:pt x="4785" y="2093"/>
                        </a:lnTo>
                        <a:lnTo>
                          <a:pt x="4605" y="1495"/>
                        </a:lnTo>
                        <a:lnTo>
                          <a:pt x="4605" y="1495"/>
                        </a:lnTo>
                        <a:lnTo>
                          <a:pt x="4246" y="1136"/>
                        </a:lnTo>
                        <a:lnTo>
                          <a:pt x="2093" y="179"/>
                        </a:lnTo>
                        <a:lnTo>
                          <a:pt x="1674" y="0"/>
                        </a:lnTo>
                      </a:path>
                    </a:pathLst>
                  </a:custGeom>
                  <a:noFill/>
                  <a:ln w="6350" cap="flat">
                    <a:solidFill>
                      <a:schemeClr val="bg1">
                        <a:alpha val="40000"/>
                      </a:schemeClr>
                    </a:solidFill>
                    <a:prstDash val="solid"/>
                    <a:miter/>
                  </a:ln>
                </p:spPr>
                <p:txBody>
                  <a:bodyPr rtlCol="0" anchor="ctr"/>
                  <a:lstStyle/>
                  <a:p>
                    <a:endParaRPr lang="en-GB"/>
                  </a:p>
                </p:txBody>
              </p:sp>
              <p:sp>
                <p:nvSpPr>
                  <p:cNvPr id="7709" name="Vrije vorm: vorm 7708">
                    <a:extLst>
                      <a:ext uri="{FF2B5EF4-FFF2-40B4-BE49-F238E27FC236}">
                        <a16:creationId xmlns:a16="http://schemas.microsoft.com/office/drawing/2014/main" id="{78E9A9F7-6878-4C26-80C3-AE1749A878B8}"/>
                      </a:ext>
                    </a:extLst>
                  </p:cNvPr>
                  <p:cNvSpPr/>
                  <p:nvPr/>
                </p:nvSpPr>
                <p:spPr>
                  <a:xfrm>
                    <a:off x="5789059" y="5192741"/>
                    <a:ext cx="1913" cy="2930"/>
                  </a:xfrm>
                  <a:custGeom>
                    <a:avLst/>
                    <a:gdLst>
                      <a:gd name="connsiteX0" fmla="*/ 1734 w 1913"/>
                      <a:gd name="connsiteY0" fmla="*/ 0 h 2930"/>
                      <a:gd name="connsiteX1" fmla="*/ 1854 w 1913"/>
                      <a:gd name="connsiteY1" fmla="*/ 120 h 2930"/>
                      <a:gd name="connsiteX2" fmla="*/ 1914 w 1913"/>
                      <a:gd name="connsiteY2" fmla="*/ 359 h 2930"/>
                      <a:gd name="connsiteX3" fmla="*/ 1914 w 1913"/>
                      <a:gd name="connsiteY3" fmla="*/ 658 h 2930"/>
                      <a:gd name="connsiteX4" fmla="*/ 1854 w 1913"/>
                      <a:gd name="connsiteY4" fmla="*/ 1017 h 2930"/>
                      <a:gd name="connsiteX5" fmla="*/ 1734 w 1913"/>
                      <a:gd name="connsiteY5" fmla="*/ 1376 h 2930"/>
                      <a:gd name="connsiteX6" fmla="*/ 1555 w 1913"/>
                      <a:gd name="connsiteY6" fmla="*/ 1795 h 2930"/>
                      <a:gd name="connsiteX7" fmla="*/ 1316 w 1913"/>
                      <a:gd name="connsiteY7" fmla="*/ 2153 h 2930"/>
                      <a:gd name="connsiteX8" fmla="*/ 1076 w 1913"/>
                      <a:gd name="connsiteY8" fmla="*/ 2452 h 2930"/>
                      <a:gd name="connsiteX9" fmla="*/ 837 w 1913"/>
                      <a:gd name="connsiteY9" fmla="*/ 2691 h 2930"/>
                      <a:gd name="connsiteX10" fmla="*/ 598 w 1913"/>
                      <a:gd name="connsiteY10" fmla="*/ 2871 h 2930"/>
                      <a:gd name="connsiteX11" fmla="*/ 359 w 1913"/>
                      <a:gd name="connsiteY11" fmla="*/ 2931 h 2930"/>
                      <a:gd name="connsiteX12" fmla="*/ 180 w 1913"/>
                      <a:gd name="connsiteY12" fmla="*/ 2871 h 2930"/>
                      <a:gd name="connsiteX13" fmla="*/ 60 w 1913"/>
                      <a:gd name="connsiteY13" fmla="*/ 2751 h 2930"/>
                      <a:gd name="connsiteX14" fmla="*/ 0 w 1913"/>
                      <a:gd name="connsiteY14" fmla="*/ 2632 h 2930"/>
                      <a:gd name="connsiteX15" fmla="*/ 0 w 1913"/>
                      <a:gd name="connsiteY15" fmla="*/ 2572 h 2930"/>
                      <a:gd name="connsiteX16" fmla="*/ 0 w 1913"/>
                      <a:gd name="connsiteY16" fmla="*/ 2273 h 2930"/>
                      <a:gd name="connsiteX17" fmla="*/ 60 w 1913"/>
                      <a:gd name="connsiteY17" fmla="*/ 1914 h 2930"/>
                      <a:gd name="connsiteX18" fmla="*/ 180 w 1913"/>
                      <a:gd name="connsiteY18" fmla="*/ 1555 h 2930"/>
                      <a:gd name="connsiteX19" fmla="*/ 359 w 1913"/>
                      <a:gd name="connsiteY19" fmla="*/ 1136 h 2930"/>
                      <a:gd name="connsiteX20" fmla="*/ 598 w 1913"/>
                      <a:gd name="connsiteY20" fmla="*/ 778 h 2930"/>
                      <a:gd name="connsiteX21" fmla="*/ 837 w 1913"/>
                      <a:gd name="connsiteY21" fmla="*/ 479 h 2930"/>
                      <a:gd name="connsiteX22" fmla="*/ 1076 w 1913"/>
                      <a:gd name="connsiteY22" fmla="*/ 239 h 2930"/>
                      <a:gd name="connsiteX23" fmla="*/ 1316 w 1913"/>
                      <a:gd name="connsiteY23" fmla="*/ 60 h 2930"/>
                      <a:gd name="connsiteX24" fmla="*/ 1555 w 1913"/>
                      <a:gd name="connsiteY24" fmla="*/ 0 h 2930"/>
                      <a:gd name="connsiteX25" fmla="*/ 1734 w 1913"/>
                      <a:gd name="connsiteY25" fmla="*/ 0 h 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13" h="2930">
                        <a:moveTo>
                          <a:pt x="1734" y="0"/>
                        </a:moveTo>
                        <a:lnTo>
                          <a:pt x="1854" y="120"/>
                        </a:lnTo>
                        <a:lnTo>
                          <a:pt x="1914" y="359"/>
                        </a:lnTo>
                        <a:lnTo>
                          <a:pt x="1914" y="658"/>
                        </a:lnTo>
                        <a:lnTo>
                          <a:pt x="1854" y="1017"/>
                        </a:lnTo>
                        <a:lnTo>
                          <a:pt x="1734" y="1376"/>
                        </a:lnTo>
                        <a:lnTo>
                          <a:pt x="1555" y="1795"/>
                        </a:lnTo>
                        <a:lnTo>
                          <a:pt x="1316" y="2153"/>
                        </a:lnTo>
                        <a:lnTo>
                          <a:pt x="1076" y="2452"/>
                        </a:lnTo>
                        <a:lnTo>
                          <a:pt x="837" y="2691"/>
                        </a:lnTo>
                        <a:lnTo>
                          <a:pt x="598" y="2871"/>
                        </a:lnTo>
                        <a:lnTo>
                          <a:pt x="359" y="2931"/>
                        </a:lnTo>
                        <a:lnTo>
                          <a:pt x="180" y="2871"/>
                        </a:lnTo>
                        <a:lnTo>
                          <a:pt x="60" y="2751"/>
                        </a:lnTo>
                        <a:lnTo>
                          <a:pt x="0" y="2632"/>
                        </a:lnTo>
                        <a:lnTo>
                          <a:pt x="0" y="2572"/>
                        </a:lnTo>
                        <a:lnTo>
                          <a:pt x="0" y="2273"/>
                        </a:lnTo>
                        <a:lnTo>
                          <a:pt x="60" y="1914"/>
                        </a:lnTo>
                        <a:lnTo>
                          <a:pt x="180" y="1555"/>
                        </a:lnTo>
                        <a:lnTo>
                          <a:pt x="359" y="1136"/>
                        </a:lnTo>
                        <a:lnTo>
                          <a:pt x="598" y="778"/>
                        </a:lnTo>
                        <a:lnTo>
                          <a:pt x="837" y="479"/>
                        </a:lnTo>
                        <a:lnTo>
                          <a:pt x="1076" y="239"/>
                        </a:lnTo>
                        <a:lnTo>
                          <a:pt x="1316" y="60"/>
                        </a:lnTo>
                        <a:lnTo>
                          <a:pt x="1555" y="0"/>
                        </a:lnTo>
                        <a:lnTo>
                          <a:pt x="1734" y="0"/>
                        </a:lnTo>
                      </a:path>
                    </a:pathLst>
                  </a:custGeom>
                  <a:noFill/>
                  <a:ln w="6350" cap="flat">
                    <a:solidFill>
                      <a:schemeClr val="bg1">
                        <a:alpha val="40000"/>
                      </a:schemeClr>
                    </a:solidFill>
                    <a:prstDash val="solid"/>
                    <a:miter/>
                  </a:ln>
                </p:spPr>
                <p:txBody>
                  <a:bodyPr rtlCol="0" anchor="ctr"/>
                  <a:lstStyle/>
                  <a:p>
                    <a:endParaRPr lang="en-GB"/>
                  </a:p>
                </p:txBody>
              </p:sp>
              <p:sp>
                <p:nvSpPr>
                  <p:cNvPr id="7710" name="Vrije vorm: vorm 7709">
                    <a:extLst>
                      <a:ext uri="{FF2B5EF4-FFF2-40B4-BE49-F238E27FC236}">
                        <a16:creationId xmlns:a16="http://schemas.microsoft.com/office/drawing/2014/main" id="{A18AA096-B942-4584-BD41-4D7A1B689973}"/>
                      </a:ext>
                    </a:extLst>
                  </p:cNvPr>
                  <p:cNvSpPr/>
                  <p:nvPr/>
                </p:nvSpPr>
                <p:spPr>
                  <a:xfrm>
                    <a:off x="5787205" y="5310562"/>
                    <a:ext cx="4006" cy="5621"/>
                  </a:xfrm>
                  <a:custGeom>
                    <a:avLst/>
                    <a:gdLst>
                      <a:gd name="connsiteX0" fmla="*/ 2572 w 4006"/>
                      <a:gd name="connsiteY0" fmla="*/ 0 h 5621"/>
                      <a:gd name="connsiteX1" fmla="*/ 3708 w 4006"/>
                      <a:gd name="connsiteY1" fmla="*/ 718 h 5621"/>
                      <a:gd name="connsiteX2" fmla="*/ 3888 w 4006"/>
                      <a:gd name="connsiteY2" fmla="*/ 897 h 5621"/>
                      <a:gd name="connsiteX3" fmla="*/ 4007 w 4006"/>
                      <a:gd name="connsiteY3" fmla="*/ 1196 h 5621"/>
                      <a:gd name="connsiteX4" fmla="*/ 4007 w 4006"/>
                      <a:gd name="connsiteY4" fmla="*/ 1615 h 5621"/>
                      <a:gd name="connsiteX5" fmla="*/ 4007 w 4006"/>
                      <a:gd name="connsiteY5" fmla="*/ 1675 h 5621"/>
                      <a:gd name="connsiteX6" fmla="*/ 3888 w 4006"/>
                      <a:gd name="connsiteY6" fmla="*/ 2153 h 5621"/>
                      <a:gd name="connsiteX7" fmla="*/ 3708 w 4006"/>
                      <a:gd name="connsiteY7" fmla="*/ 2751 h 5621"/>
                      <a:gd name="connsiteX8" fmla="*/ 3409 w 4006"/>
                      <a:gd name="connsiteY8" fmla="*/ 3409 h 5621"/>
                      <a:gd name="connsiteX9" fmla="*/ 3050 w 4006"/>
                      <a:gd name="connsiteY9" fmla="*/ 4067 h 5621"/>
                      <a:gd name="connsiteX10" fmla="*/ 2632 w 4006"/>
                      <a:gd name="connsiteY10" fmla="*/ 4665 h 5621"/>
                      <a:gd name="connsiteX11" fmla="*/ 2392 w 4006"/>
                      <a:gd name="connsiteY11" fmla="*/ 4904 h 5621"/>
                      <a:gd name="connsiteX12" fmla="*/ 2213 w 4006"/>
                      <a:gd name="connsiteY12" fmla="*/ 5084 h 5621"/>
                      <a:gd name="connsiteX13" fmla="*/ 1794 w 4006"/>
                      <a:gd name="connsiteY13" fmla="*/ 5443 h 5621"/>
                      <a:gd name="connsiteX14" fmla="*/ 1435 w 4006"/>
                      <a:gd name="connsiteY14" fmla="*/ 5622 h 5621"/>
                      <a:gd name="connsiteX15" fmla="*/ 1136 w 4006"/>
                      <a:gd name="connsiteY15" fmla="*/ 5622 h 5621"/>
                      <a:gd name="connsiteX16" fmla="*/ 0 w 4006"/>
                      <a:gd name="connsiteY16" fmla="*/ 4904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06" h="5621">
                        <a:moveTo>
                          <a:pt x="2572" y="0"/>
                        </a:moveTo>
                        <a:lnTo>
                          <a:pt x="3708" y="718"/>
                        </a:lnTo>
                        <a:lnTo>
                          <a:pt x="3888" y="897"/>
                        </a:lnTo>
                        <a:lnTo>
                          <a:pt x="4007" y="1196"/>
                        </a:lnTo>
                        <a:lnTo>
                          <a:pt x="4007" y="1615"/>
                        </a:lnTo>
                        <a:lnTo>
                          <a:pt x="4007" y="1675"/>
                        </a:lnTo>
                        <a:lnTo>
                          <a:pt x="3888" y="2153"/>
                        </a:lnTo>
                        <a:lnTo>
                          <a:pt x="3708" y="2751"/>
                        </a:lnTo>
                        <a:lnTo>
                          <a:pt x="3409" y="3409"/>
                        </a:lnTo>
                        <a:lnTo>
                          <a:pt x="3050" y="4067"/>
                        </a:lnTo>
                        <a:lnTo>
                          <a:pt x="2632" y="4665"/>
                        </a:lnTo>
                        <a:lnTo>
                          <a:pt x="2392" y="4904"/>
                        </a:lnTo>
                        <a:lnTo>
                          <a:pt x="2213" y="5084"/>
                        </a:lnTo>
                        <a:lnTo>
                          <a:pt x="1794" y="5443"/>
                        </a:lnTo>
                        <a:lnTo>
                          <a:pt x="1435" y="5622"/>
                        </a:lnTo>
                        <a:lnTo>
                          <a:pt x="1136" y="5622"/>
                        </a:lnTo>
                        <a:lnTo>
                          <a:pt x="0" y="4904"/>
                        </a:lnTo>
                      </a:path>
                    </a:pathLst>
                  </a:custGeom>
                  <a:noFill/>
                  <a:ln w="6350" cap="flat">
                    <a:solidFill>
                      <a:schemeClr val="bg1">
                        <a:alpha val="40000"/>
                      </a:schemeClr>
                    </a:solidFill>
                    <a:prstDash val="solid"/>
                    <a:miter/>
                  </a:ln>
                </p:spPr>
                <p:txBody>
                  <a:bodyPr rtlCol="0" anchor="ctr"/>
                  <a:lstStyle/>
                  <a:p>
                    <a:endParaRPr lang="en-GB"/>
                  </a:p>
                </p:txBody>
              </p:sp>
              <p:sp>
                <p:nvSpPr>
                  <p:cNvPr id="7711" name="Vrije vorm: vorm 7710">
                    <a:extLst>
                      <a:ext uri="{FF2B5EF4-FFF2-40B4-BE49-F238E27FC236}">
                        <a16:creationId xmlns:a16="http://schemas.microsoft.com/office/drawing/2014/main" id="{4A64B799-33D0-4F00-B1D8-1EFFDE4E3B6F}"/>
                      </a:ext>
                    </a:extLst>
                  </p:cNvPr>
                  <p:cNvSpPr/>
                  <p:nvPr/>
                </p:nvSpPr>
                <p:spPr>
                  <a:xfrm>
                    <a:off x="5788103" y="5311279"/>
                    <a:ext cx="2810" cy="4964"/>
                  </a:xfrm>
                  <a:custGeom>
                    <a:avLst/>
                    <a:gdLst>
                      <a:gd name="connsiteX0" fmla="*/ 2811 w 2810"/>
                      <a:gd name="connsiteY0" fmla="*/ 0 h 4964"/>
                      <a:gd name="connsiteX1" fmla="*/ 2512 w 2810"/>
                      <a:gd name="connsiteY1" fmla="*/ 0 h 4964"/>
                      <a:gd name="connsiteX2" fmla="*/ 2153 w 2810"/>
                      <a:gd name="connsiteY2" fmla="*/ 180 h 4964"/>
                      <a:gd name="connsiteX3" fmla="*/ 1914 w 2810"/>
                      <a:gd name="connsiteY3" fmla="*/ 419 h 4964"/>
                      <a:gd name="connsiteX4" fmla="*/ 1794 w 2810"/>
                      <a:gd name="connsiteY4" fmla="*/ 538 h 4964"/>
                      <a:gd name="connsiteX5" fmla="*/ 1375 w 2810"/>
                      <a:gd name="connsiteY5" fmla="*/ 1017 h 4964"/>
                      <a:gd name="connsiteX6" fmla="*/ 957 w 2810"/>
                      <a:gd name="connsiteY6" fmla="*/ 1615 h 4964"/>
                      <a:gd name="connsiteX7" fmla="*/ 598 w 2810"/>
                      <a:gd name="connsiteY7" fmla="*/ 2273 h 4964"/>
                      <a:gd name="connsiteX8" fmla="*/ 598 w 2810"/>
                      <a:gd name="connsiteY8" fmla="*/ 2333 h 4964"/>
                      <a:gd name="connsiteX9" fmla="*/ 299 w 2810"/>
                      <a:gd name="connsiteY9" fmla="*/ 2930 h 4964"/>
                      <a:gd name="connsiteX10" fmla="*/ 119 w 2810"/>
                      <a:gd name="connsiteY10" fmla="*/ 3529 h 4964"/>
                      <a:gd name="connsiteX11" fmla="*/ 60 w 2810"/>
                      <a:gd name="connsiteY11" fmla="*/ 3828 h 4964"/>
                      <a:gd name="connsiteX12" fmla="*/ 0 w 2810"/>
                      <a:gd name="connsiteY12" fmla="*/ 4007 h 4964"/>
                      <a:gd name="connsiteX13" fmla="*/ 0 w 2810"/>
                      <a:gd name="connsiteY13" fmla="*/ 4067 h 4964"/>
                      <a:gd name="connsiteX14" fmla="*/ 0 w 2810"/>
                      <a:gd name="connsiteY14" fmla="*/ 4486 h 4964"/>
                      <a:gd name="connsiteX15" fmla="*/ 119 w 2810"/>
                      <a:gd name="connsiteY15" fmla="*/ 4785 h 4964"/>
                      <a:gd name="connsiteX16" fmla="*/ 299 w 2810"/>
                      <a:gd name="connsiteY16" fmla="*/ 4964 h 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10" h="4964">
                        <a:moveTo>
                          <a:pt x="2811" y="0"/>
                        </a:moveTo>
                        <a:lnTo>
                          <a:pt x="2512" y="0"/>
                        </a:lnTo>
                        <a:lnTo>
                          <a:pt x="2153" y="180"/>
                        </a:lnTo>
                        <a:lnTo>
                          <a:pt x="1914" y="419"/>
                        </a:lnTo>
                        <a:lnTo>
                          <a:pt x="1794" y="538"/>
                        </a:lnTo>
                        <a:lnTo>
                          <a:pt x="1375" y="1017"/>
                        </a:lnTo>
                        <a:lnTo>
                          <a:pt x="957" y="1615"/>
                        </a:lnTo>
                        <a:lnTo>
                          <a:pt x="598" y="2273"/>
                        </a:lnTo>
                        <a:lnTo>
                          <a:pt x="598" y="2333"/>
                        </a:lnTo>
                        <a:lnTo>
                          <a:pt x="299" y="2930"/>
                        </a:lnTo>
                        <a:lnTo>
                          <a:pt x="119" y="3529"/>
                        </a:lnTo>
                        <a:lnTo>
                          <a:pt x="60" y="3828"/>
                        </a:lnTo>
                        <a:lnTo>
                          <a:pt x="0" y="4007"/>
                        </a:lnTo>
                        <a:lnTo>
                          <a:pt x="0" y="4067"/>
                        </a:lnTo>
                        <a:lnTo>
                          <a:pt x="0" y="4486"/>
                        </a:lnTo>
                        <a:lnTo>
                          <a:pt x="119" y="4785"/>
                        </a:lnTo>
                        <a:lnTo>
                          <a:pt x="299" y="4964"/>
                        </a:lnTo>
                      </a:path>
                    </a:pathLst>
                  </a:custGeom>
                  <a:noFill/>
                  <a:ln w="6350" cap="flat">
                    <a:solidFill>
                      <a:schemeClr val="bg1">
                        <a:alpha val="40000"/>
                      </a:schemeClr>
                    </a:solidFill>
                    <a:prstDash val="solid"/>
                    <a:miter/>
                  </a:ln>
                </p:spPr>
                <p:txBody>
                  <a:bodyPr rtlCol="0" anchor="ctr"/>
                  <a:lstStyle/>
                  <a:p>
                    <a:endParaRPr lang="en-GB"/>
                  </a:p>
                </p:txBody>
              </p:sp>
              <p:sp>
                <p:nvSpPr>
                  <p:cNvPr id="7712" name="Vrije vorm: vorm 7711">
                    <a:extLst>
                      <a:ext uri="{FF2B5EF4-FFF2-40B4-BE49-F238E27FC236}">
                        <a16:creationId xmlns:a16="http://schemas.microsoft.com/office/drawing/2014/main" id="{02F8F785-7788-49B1-99D0-ADD58219DF79}"/>
                      </a:ext>
                    </a:extLst>
                  </p:cNvPr>
                  <p:cNvSpPr/>
                  <p:nvPr/>
                </p:nvSpPr>
                <p:spPr>
                  <a:xfrm>
                    <a:off x="5786966" y="5310382"/>
                    <a:ext cx="2870" cy="5083"/>
                  </a:xfrm>
                  <a:custGeom>
                    <a:avLst/>
                    <a:gdLst>
                      <a:gd name="connsiteX0" fmla="*/ 299 w 2870"/>
                      <a:gd name="connsiteY0" fmla="*/ 5083 h 5083"/>
                      <a:gd name="connsiteX1" fmla="*/ 119 w 2870"/>
                      <a:gd name="connsiteY1" fmla="*/ 4904 h 5083"/>
                      <a:gd name="connsiteX2" fmla="*/ 0 w 2870"/>
                      <a:gd name="connsiteY2" fmla="*/ 4605 h 5083"/>
                      <a:gd name="connsiteX3" fmla="*/ 0 w 2870"/>
                      <a:gd name="connsiteY3" fmla="*/ 4127 h 5083"/>
                      <a:gd name="connsiteX4" fmla="*/ 0 w 2870"/>
                      <a:gd name="connsiteY4" fmla="*/ 4067 h 5083"/>
                      <a:gd name="connsiteX5" fmla="*/ 119 w 2870"/>
                      <a:gd name="connsiteY5" fmla="*/ 3528 h 5083"/>
                      <a:gd name="connsiteX6" fmla="*/ 299 w 2870"/>
                      <a:gd name="connsiteY6" fmla="*/ 2930 h 5083"/>
                      <a:gd name="connsiteX7" fmla="*/ 598 w 2870"/>
                      <a:gd name="connsiteY7" fmla="*/ 2273 h 5083"/>
                      <a:gd name="connsiteX8" fmla="*/ 957 w 2870"/>
                      <a:gd name="connsiteY8" fmla="*/ 1615 h 5083"/>
                      <a:gd name="connsiteX9" fmla="*/ 1375 w 2870"/>
                      <a:gd name="connsiteY9" fmla="*/ 1017 h 5083"/>
                      <a:gd name="connsiteX10" fmla="*/ 1794 w 2870"/>
                      <a:gd name="connsiteY10" fmla="*/ 538 h 5083"/>
                      <a:gd name="connsiteX11" fmla="*/ 2153 w 2870"/>
                      <a:gd name="connsiteY11" fmla="*/ 239 h 5083"/>
                      <a:gd name="connsiteX12" fmla="*/ 2213 w 2870"/>
                      <a:gd name="connsiteY12" fmla="*/ 179 h 5083"/>
                      <a:gd name="connsiteX13" fmla="*/ 2572 w 2870"/>
                      <a:gd name="connsiteY13" fmla="*/ 0 h 5083"/>
                      <a:gd name="connsiteX14" fmla="*/ 2871 w 2870"/>
                      <a:gd name="connsiteY14" fmla="*/ 0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70" h="5083">
                        <a:moveTo>
                          <a:pt x="299" y="5083"/>
                        </a:moveTo>
                        <a:lnTo>
                          <a:pt x="119" y="4904"/>
                        </a:lnTo>
                        <a:lnTo>
                          <a:pt x="0" y="4605"/>
                        </a:lnTo>
                        <a:lnTo>
                          <a:pt x="0" y="4127"/>
                        </a:lnTo>
                        <a:lnTo>
                          <a:pt x="0" y="4067"/>
                        </a:lnTo>
                        <a:lnTo>
                          <a:pt x="119" y="3528"/>
                        </a:lnTo>
                        <a:lnTo>
                          <a:pt x="299" y="2930"/>
                        </a:lnTo>
                        <a:lnTo>
                          <a:pt x="598" y="2273"/>
                        </a:lnTo>
                        <a:lnTo>
                          <a:pt x="957" y="1615"/>
                        </a:lnTo>
                        <a:lnTo>
                          <a:pt x="1375" y="1017"/>
                        </a:lnTo>
                        <a:lnTo>
                          <a:pt x="1794" y="538"/>
                        </a:lnTo>
                        <a:lnTo>
                          <a:pt x="2153" y="239"/>
                        </a:lnTo>
                        <a:lnTo>
                          <a:pt x="2213" y="179"/>
                        </a:lnTo>
                        <a:lnTo>
                          <a:pt x="2572" y="0"/>
                        </a:lnTo>
                        <a:lnTo>
                          <a:pt x="2871" y="0"/>
                        </a:lnTo>
                      </a:path>
                    </a:pathLst>
                  </a:custGeom>
                  <a:noFill/>
                  <a:ln w="6350" cap="flat">
                    <a:solidFill>
                      <a:schemeClr val="bg1">
                        <a:alpha val="40000"/>
                      </a:schemeClr>
                    </a:solidFill>
                    <a:prstDash val="solid"/>
                    <a:miter/>
                  </a:ln>
                </p:spPr>
                <p:txBody>
                  <a:bodyPr rtlCol="0" anchor="ctr"/>
                  <a:lstStyle/>
                  <a:p>
                    <a:endParaRPr lang="en-GB"/>
                  </a:p>
                </p:txBody>
              </p:sp>
              <p:sp>
                <p:nvSpPr>
                  <p:cNvPr id="7713" name="Vrije vorm: vorm 7712">
                    <a:extLst>
                      <a:ext uri="{FF2B5EF4-FFF2-40B4-BE49-F238E27FC236}">
                        <a16:creationId xmlns:a16="http://schemas.microsoft.com/office/drawing/2014/main" id="{629CD000-841D-4A5A-8188-05EC52D8533E}"/>
                      </a:ext>
                    </a:extLst>
                  </p:cNvPr>
                  <p:cNvSpPr/>
                  <p:nvPr/>
                </p:nvSpPr>
                <p:spPr>
                  <a:xfrm>
                    <a:off x="5803951" y="5288373"/>
                    <a:ext cx="4006" cy="9090"/>
                  </a:xfrm>
                  <a:custGeom>
                    <a:avLst/>
                    <a:gdLst>
                      <a:gd name="connsiteX0" fmla="*/ 2512 w 4006"/>
                      <a:gd name="connsiteY0" fmla="*/ 0 h 9090"/>
                      <a:gd name="connsiteX1" fmla="*/ 3110 w 4006"/>
                      <a:gd name="connsiteY1" fmla="*/ 359 h 9090"/>
                      <a:gd name="connsiteX2" fmla="*/ 3469 w 4006"/>
                      <a:gd name="connsiteY2" fmla="*/ 3827 h 9090"/>
                      <a:gd name="connsiteX3" fmla="*/ 3828 w 4006"/>
                      <a:gd name="connsiteY3" fmla="*/ 7296 h 9090"/>
                      <a:gd name="connsiteX4" fmla="*/ 4007 w 4006"/>
                      <a:gd name="connsiteY4" fmla="*/ 9090 h 9090"/>
                      <a:gd name="connsiteX5" fmla="*/ 2333 w 4006"/>
                      <a:gd name="connsiteY5" fmla="*/ 6639 h 9090"/>
                      <a:gd name="connsiteX6" fmla="*/ 658 w 4006"/>
                      <a:gd name="connsiteY6" fmla="*/ 4186 h 9090"/>
                      <a:gd name="connsiteX7" fmla="*/ 0 w 4006"/>
                      <a:gd name="connsiteY7" fmla="*/ 3229 h 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6" h="9090">
                        <a:moveTo>
                          <a:pt x="2512" y="0"/>
                        </a:moveTo>
                        <a:lnTo>
                          <a:pt x="3110" y="359"/>
                        </a:lnTo>
                        <a:lnTo>
                          <a:pt x="3469" y="3827"/>
                        </a:lnTo>
                        <a:lnTo>
                          <a:pt x="3828" y="7296"/>
                        </a:lnTo>
                        <a:lnTo>
                          <a:pt x="4007" y="9090"/>
                        </a:lnTo>
                        <a:lnTo>
                          <a:pt x="2333" y="6639"/>
                        </a:lnTo>
                        <a:lnTo>
                          <a:pt x="658" y="4186"/>
                        </a:lnTo>
                        <a:lnTo>
                          <a:pt x="0" y="3229"/>
                        </a:lnTo>
                      </a:path>
                    </a:pathLst>
                  </a:custGeom>
                  <a:noFill/>
                  <a:ln w="6350" cap="flat">
                    <a:solidFill>
                      <a:schemeClr val="bg1">
                        <a:alpha val="40000"/>
                      </a:schemeClr>
                    </a:solidFill>
                    <a:prstDash val="solid"/>
                    <a:miter/>
                  </a:ln>
                </p:spPr>
                <p:txBody>
                  <a:bodyPr rtlCol="0" anchor="ctr"/>
                  <a:lstStyle/>
                  <a:p>
                    <a:endParaRPr lang="en-GB"/>
                  </a:p>
                </p:txBody>
              </p:sp>
              <p:sp>
                <p:nvSpPr>
                  <p:cNvPr id="7714" name="Vrije vorm: vorm 7713">
                    <a:extLst>
                      <a:ext uri="{FF2B5EF4-FFF2-40B4-BE49-F238E27FC236}">
                        <a16:creationId xmlns:a16="http://schemas.microsoft.com/office/drawing/2014/main" id="{7D226027-B2FE-4F4D-8F45-D63BC9C22527}"/>
                      </a:ext>
                    </a:extLst>
                  </p:cNvPr>
                  <p:cNvSpPr/>
                  <p:nvPr/>
                </p:nvSpPr>
                <p:spPr>
                  <a:xfrm>
                    <a:off x="5781882" y="5273781"/>
                    <a:ext cx="2930" cy="5263"/>
                  </a:xfrm>
                  <a:custGeom>
                    <a:avLst/>
                    <a:gdLst>
                      <a:gd name="connsiteX0" fmla="*/ 2930 w 2930"/>
                      <a:gd name="connsiteY0" fmla="*/ 0 h 5263"/>
                      <a:gd name="connsiteX1" fmla="*/ 2632 w 2930"/>
                      <a:gd name="connsiteY1" fmla="*/ 0 h 5263"/>
                      <a:gd name="connsiteX2" fmla="*/ 2273 w 2930"/>
                      <a:gd name="connsiteY2" fmla="*/ 179 h 5263"/>
                      <a:gd name="connsiteX3" fmla="*/ 1854 w 2930"/>
                      <a:gd name="connsiteY3" fmla="*/ 538 h 5263"/>
                      <a:gd name="connsiteX4" fmla="*/ 1435 w 2930"/>
                      <a:gd name="connsiteY4" fmla="*/ 1017 h 5263"/>
                      <a:gd name="connsiteX5" fmla="*/ 1017 w 2930"/>
                      <a:gd name="connsiteY5" fmla="*/ 1615 h 5263"/>
                      <a:gd name="connsiteX6" fmla="*/ 658 w 2930"/>
                      <a:gd name="connsiteY6" fmla="*/ 2273 h 5263"/>
                      <a:gd name="connsiteX7" fmla="*/ 359 w 2930"/>
                      <a:gd name="connsiteY7" fmla="*/ 2990 h 5263"/>
                      <a:gd name="connsiteX8" fmla="*/ 120 w 2930"/>
                      <a:gd name="connsiteY8" fmla="*/ 3648 h 5263"/>
                      <a:gd name="connsiteX9" fmla="*/ 0 w 2930"/>
                      <a:gd name="connsiteY9" fmla="*/ 4246 h 5263"/>
                      <a:gd name="connsiteX10" fmla="*/ 0 w 2930"/>
                      <a:gd name="connsiteY10" fmla="*/ 4725 h 5263"/>
                      <a:gd name="connsiteX11" fmla="*/ 120 w 2930"/>
                      <a:gd name="connsiteY11" fmla="*/ 5083 h 5263"/>
                      <a:gd name="connsiteX12" fmla="*/ 359 w 2930"/>
                      <a:gd name="connsiteY12" fmla="*/ 5263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0" h="5263">
                        <a:moveTo>
                          <a:pt x="2930" y="0"/>
                        </a:moveTo>
                        <a:lnTo>
                          <a:pt x="2632" y="0"/>
                        </a:lnTo>
                        <a:lnTo>
                          <a:pt x="2273" y="179"/>
                        </a:lnTo>
                        <a:lnTo>
                          <a:pt x="1854" y="538"/>
                        </a:lnTo>
                        <a:lnTo>
                          <a:pt x="1435" y="1017"/>
                        </a:lnTo>
                        <a:lnTo>
                          <a:pt x="1017" y="1615"/>
                        </a:lnTo>
                        <a:lnTo>
                          <a:pt x="658" y="2273"/>
                        </a:lnTo>
                        <a:lnTo>
                          <a:pt x="359" y="2990"/>
                        </a:lnTo>
                        <a:lnTo>
                          <a:pt x="120" y="3648"/>
                        </a:lnTo>
                        <a:lnTo>
                          <a:pt x="0" y="4246"/>
                        </a:lnTo>
                        <a:lnTo>
                          <a:pt x="0" y="4725"/>
                        </a:lnTo>
                        <a:lnTo>
                          <a:pt x="120" y="5083"/>
                        </a:lnTo>
                        <a:lnTo>
                          <a:pt x="359" y="5263"/>
                        </a:lnTo>
                      </a:path>
                    </a:pathLst>
                  </a:custGeom>
                  <a:noFill/>
                  <a:ln w="6350" cap="flat">
                    <a:solidFill>
                      <a:schemeClr val="bg1">
                        <a:alpha val="40000"/>
                      </a:schemeClr>
                    </a:solidFill>
                    <a:prstDash val="solid"/>
                    <a:miter/>
                  </a:ln>
                </p:spPr>
                <p:txBody>
                  <a:bodyPr rtlCol="0" anchor="ctr"/>
                  <a:lstStyle/>
                  <a:p>
                    <a:endParaRPr lang="en-GB"/>
                  </a:p>
                </p:txBody>
              </p:sp>
              <p:sp>
                <p:nvSpPr>
                  <p:cNvPr id="7715" name="Vrije vorm: vorm 7714">
                    <a:extLst>
                      <a:ext uri="{FF2B5EF4-FFF2-40B4-BE49-F238E27FC236}">
                        <a16:creationId xmlns:a16="http://schemas.microsoft.com/office/drawing/2014/main" id="{0BBAC5C0-D160-4C88-91F8-71D30AACDC4B}"/>
                      </a:ext>
                    </a:extLst>
                  </p:cNvPr>
                  <p:cNvSpPr/>
                  <p:nvPr/>
                </p:nvSpPr>
                <p:spPr>
                  <a:xfrm>
                    <a:off x="5785889" y="5277189"/>
                    <a:ext cx="10227" cy="31339"/>
                  </a:xfrm>
                  <a:custGeom>
                    <a:avLst/>
                    <a:gdLst>
                      <a:gd name="connsiteX0" fmla="*/ 0 w 10227"/>
                      <a:gd name="connsiteY0" fmla="*/ 0 h 31339"/>
                      <a:gd name="connsiteX1" fmla="*/ 479 w 10227"/>
                      <a:gd name="connsiteY1" fmla="*/ 3409 h 31339"/>
                      <a:gd name="connsiteX2" fmla="*/ 957 w 10227"/>
                      <a:gd name="connsiteY2" fmla="*/ 6818 h 31339"/>
                      <a:gd name="connsiteX3" fmla="*/ 1436 w 10227"/>
                      <a:gd name="connsiteY3" fmla="*/ 10227 h 31339"/>
                      <a:gd name="connsiteX4" fmla="*/ 1914 w 10227"/>
                      <a:gd name="connsiteY4" fmla="*/ 13636 h 31339"/>
                      <a:gd name="connsiteX5" fmla="*/ 2392 w 10227"/>
                      <a:gd name="connsiteY5" fmla="*/ 17045 h 31339"/>
                      <a:gd name="connsiteX6" fmla="*/ 2871 w 10227"/>
                      <a:gd name="connsiteY6" fmla="*/ 20454 h 31339"/>
                      <a:gd name="connsiteX7" fmla="*/ 2931 w 10227"/>
                      <a:gd name="connsiteY7" fmla="*/ 20992 h 31339"/>
                      <a:gd name="connsiteX8" fmla="*/ 3050 w 10227"/>
                      <a:gd name="connsiteY8" fmla="*/ 21950 h 31339"/>
                      <a:gd name="connsiteX9" fmla="*/ 3170 w 10227"/>
                      <a:gd name="connsiteY9" fmla="*/ 22667 h 31339"/>
                      <a:gd name="connsiteX10" fmla="*/ 3649 w 10227"/>
                      <a:gd name="connsiteY10" fmla="*/ 26076 h 31339"/>
                      <a:gd name="connsiteX11" fmla="*/ 3947 w 10227"/>
                      <a:gd name="connsiteY11" fmla="*/ 28229 h 31339"/>
                      <a:gd name="connsiteX12" fmla="*/ 4246 w 10227"/>
                      <a:gd name="connsiteY12" fmla="*/ 30502 h 31339"/>
                      <a:gd name="connsiteX13" fmla="*/ 4306 w 10227"/>
                      <a:gd name="connsiteY13" fmla="*/ 30801 h 31339"/>
                      <a:gd name="connsiteX14" fmla="*/ 4426 w 10227"/>
                      <a:gd name="connsiteY14" fmla="*/ 30980 h 31339"/>
                      <a:gd name="connsiteX15" fmla="*/ 4426 w 10227"/>
                      <a:gd name="connsiteY15" fmla="*/ 31040 h 31339"/>
                      <a:gd name="connsiteX16" fmla="*/ 4605 w 10227"/>
                      <a:gd name="connsiteY16" fmla="*/ 31220 h 31339"/>
                      <a:gd name="connsiteX17" fmla="*/ 4785 w 10227"/>
                      <a:gd name="connsiteY17" fmla="*/ 31339 h 31339"/>
                      <a:gd name="connsiteX18" fmla="*/ 5024 w 10227"/>
                      <a:gd name="connsiteY18" fmla="*/ 31339 h 31339"/>
                      <a:gd name="connsiteX19" fmla="*/ 5323 w 10227"/>
                      <a:gd name="connsiteY19" fmla="*/ 31279 h 31339"/>
                      <a:gd name="connsiteX20" fmla="*/ 5622 w 10227"/>
                      <a:gd name="connsiteY20" fmla="*/ 31160 h 31339"/>
                      <a:gd name="connsiteX21" fmla="*/ 5981 w 10227"/>
                      <a:gd name="connsiteY21" fmla="*/ 30980 h 31339"/>
                      <a:gd name="connsiteX22" fmla="*/ 6340 w 10227"/>
                      <a:gd name="connsiteY22" fmla="*/ 30681 h 31339"/>
                      <a:gd name="connsiteX23" fmla="*/ 6699 w 10227"/>
                      <a:gd name="connsiteY23" fmla="*/ 30322 h 31339"/>
                      <a:gd name="connsiteX24" fmla="*/ 7058 w 10227"/>
                      <a:gd name="connsiteY24" fmla="*/ 29904 h 31339"/>
                      <a:gd name="connsiteX25" fmla="*/ 7416 w 10227"/>
                      <a:gd name="connsiteY25" fmla="*/ 29425 h 31339"/>
                      <a:gd name="connsiteX26" fmla="*/ 7656 w 10227"/>
                      <a:gd name="connsiteY26" fmla="*/ 29126 h 31339"/>
                      <a:gd name="connsiteX27" fmla="*/ 10048 w 10227"/>
                      <a:gd name="connsiteY27" fmla="*/ 26076 h 31339"/>
                      <a:gd name="connsiteX28" fmla="*/ 10227 w 10227"/>
                      <a:gd name="connsiteY28" fmla="*/ 25837 h 31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27" h="31339">
                        <a:moveTo>
                          <a:pt x="0" y="0"/>
                        </a:moveTo>
                        <a:lnTo>
                          <a:pt x="479" y="3409"/>
                        </a:lnTo>
                        <a:lnTo>
                          <a:pt x="957" y="6818"/>
                        </a:lnTo>
                        <a:lnTo>
                          <a:pt x="1436" y="10227"/>
                        </a:lnTo>
                        <a:lnTo>
                          <a:pt x="1914" y="13636"/>
                        </a:lnTo>
                        <a:lnTo>
                          <a:pt x="2392" y="17045"/>
                        </a:lnTo>
                        <a:lnTo>
                          <a:pt x="2871" y="20454"/>
                        </a:lnTo>
                        <a:lnTo>
                          <a:pt x="2931" y="20992"/>
                        </a:lnTo>
                        <a:lnTo>
                          <a:pt x="3050" y="21950"/>
                        </a:lnTo>
                        <a:lnTo>
                          <a:pt x="3170" y="22667"/>
                        </a:lnTo>
                        <a:lnTo>
                          <a:pt x="3649" y="26076"/>
                        </a:lnTo>
                        <a:lnTo>
                          <a:pt x="3947" y="28229"/>
                        </a:lnTo>
                        <a:lnTo>
                          <a:pt x="4246" y="30502"/>
                        </a:lnTo>
                        <a:lnTo>
                          <a:pt x="4306" y="30801"/>
                        </a:lnTo>
                        <a:lnTo>
                          <a:pt x="4426" y="30980"/>
                        </a:lnTo>
                        <a:lnTo>
                          <a:pt x="4426" y="31040"/>
                        </a:lnTo>
                        <a:lnTo>
                          <a:pt x="4605" y="31220"/>
                        </a:lnTo>
                        <a:lnTo>
                          <a:pt x="4785" y="31339"/>
                        </a:lnTo>
                        <a:lnTo>
                          <a:pt x="5024" y="31339"/>
                        </a:lnTo>
                        <a:lnTo>
                          <a:pt x="5323" y="31279"/>
                        </a:lnTo>
                        <a:lnTo>
                          <a:pt x="5622" y="31160"/>
                        </a:lnTo>
                        <a:lnTo>
                          <a:pt x="5981" y="30980"/>
                        </a:lnTo>
                        <a:lnTo>
                          <a:pt x="6340" y="30681"/>
                        </a:lnTo>
                        <a:lnTo>
                          <a:pt x="6699" y="30322"/>
                        </a:lnTo>
                        <a:lnTo>
                          <a:pt x="7058" y="29904"/>
                        </a:lnTo>
                        <a:lnTo>
                          <a:pt x="7416" y="29425"/>
                        </a:lnTo>
                        <a:lnTo>
                          <a:pt x="7656" y="29126"/>
                        </a:lnTo>
                        <a:lnTo>
                          <a:pt x="10048" y="26076"/>
                        </a:lnTo>
                        <a:lnTo>
                          <a:pt x="10227" y="25837"/>
                        </a:lnTo>
                      </a:path>
                    </a:pathLst>
                  </a:custGeom>
                  <a:noFill/>
                  <a:ln w="6350" cap="flat">
                    <a:solidFill>
                      <a:schemeClr val="bg1">
                        <a:alpha val="40000"/>
                      </a:schemeClr>
                    </a:solidFill>
                    <a:prstDash val="solid"/>
                    <a:miter/>
                  </a:ln>
                </p:spPr>
                <p:txBody>
                  <a:bodyPr rtlCol="0" anchor="ctr"/>
                  <a:lstStyle/>
                  <a:p>
                    <a:endParaRPr lang="en-GB"/>
                  </a:p>
                </p:txBody>
              </p:sp>
              <p:sp>
                <p:nvSpPr>
                  <p:cNvPr id="7716" name="Vrije vorm: vorm 7715">
                    <a:extLst>
                      <a:ext uri="{FF2B5EF4-FFF2-40B4-BE49-F238E27FC236}">
                        <a16:creationId xmlns:a16="http://schemas.microsoft.com/office/drawing/2014/main" id="{8EE3C180-084F-49B6-B0CF-34AF172929EA}"/>
                      </a:ext>
                    </a:extLst>
                  </p:cNvPr>
                  <p:cNvSpPr/>
                  <p:nvPr/>
                </p:nvSpPr>
                <p:spPr>
                  <a:xfrm>
                    <a:off x="5809154" y="5239750"/>
                    <a:ext cx="2930" cy="5083"/>
                  </a:xfrm>
                  <a:custGeom>
                    <a:avLst/>
                    <a:gdLst>
                      <a:gd name="connsiteX0" fmla="*/ 2930 w 2930"/>
                      <a:gd name="connsiteY0" fmla="*/ 60 h 5083"/>
                      <a:gd name="connsiteX1" fmla="*/ 2632 w 2930"/>
                      <a:gd name="connsiteY1" fmla="*/ 0 h 5083"/>
                      <a:gd name="connsiteX2" fmla="*/ 2273 w 2930"/>
                      <a:gd name="connsiteY2" fmla="*/ 119 h 5083"/>
                      <a:gd name="connsiteX3" fmla="*/ 1854 w 2930"/>
                      <a:gd name="connsiteY3" fmla="*/ 419 h 5083"/>
                      <a:gd name="connsiteX4" fmla="*/ 1435 w 2930"/>
                      <a:gd name="connsiteY4" fmla="*/ 897 h 5083"/>
                      <a:gd name="connsiteX5" fmla="*/ 1017 w 2930"/>
                      <a:gd name="connsiteY5" fmla="*/ 1495 h 5083"/>
                      <a:gd name="connsiteX6" fmla="*/ 658 w 2930"/>
                      <a:gd name="connsiteY6" fmla="*/ 2153 h 5083"/>
                      <a:gd name="connsiteX7" fmla="*/ 359 w 2930"/>
                      <a:gd name="connsiteY7" fmla="*/ 2811 h 5083"/>
                      <a:gd name="connsiteX8" fmla="*/ 120 w 2930"/>
                      <a:gd name="connsiteY8" fmla="*/ 3469 h 5083"/>
                      <a:gd name="connsiteX9" fmla="*/ 120 w 2930"/>
                      <a:gd name="connsiteY9" fmla="*/ 3588 h 5083"/>
                      <a:gd name="connsiteX10" fmla="*/ 0 w 2930"/>
                      <a:gd name="connsiteY10" fmla="*/ 4067 h 5083"/>
                      <a:gd name="connsiteX11" fmla="*/ 0 w 2930"/>
                      <a:gd name="connsiteY11" fmla="*/ 4545 h 5083"/>
                      <a:gd name="connsiteX12" fmla="*/ 120 w 2930"/>
                      <a:gd name="connsiteY12" fmla="*/ 4904 h 5083"/>
                      <a:gd name="connsiteX13" fmla="*/ 299 w 2930"/>
                      <a:gd name="connsiteY13" fmla="*/ 5083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30" h="5083">
                        <a:moveTo>
                          <a:pt x="2930" y="60"/>
                        </a:moveTo>
                        <a:lnTo>
                          <a:pt x="2632" y="0"/>
                        </a:lnTo>
                        <a:lnTo>
                          <a:pt x="2273" y="119"/>
                        </a:lnTo>
                        <a:lnTo>
                          <a:pt x="1854" y="419"/>
                        </a:lnTo>
                        <a:lnTo>
                          <a:pt x="1435" y="897"/>
                        </a:lnTo>
                        <a:lnTo>
                          <a:pt x="1017" y="1495"/>
                        </a:lnTo>
                        <a:lnTo>
                          <a:pt x="658" y="2153"/>
                        </a:lnTo>
                        <a:lnTo>
                          <a:pt x="359" y="2811"/>
                        </a:lnTo>
                        <a:lnTo>
                          <a:pt x="120" y="3469"/>
                        </a:lnTo>
                        <a:lnTo>
                          <a:pt x="120" y="3588"/>
                        </a:lnTo>
                        <a:lnTo>
                          <a:pt x="0" y="4067"/>
                        </a:lnTo>
                        <a:lnTo>
                          <a:pt x="0" y="4545"/>
                        </a:lnTo>
                        <a:lnTo>
                          <a:pt x="120" y="4904"/>
                        </a:lnTo>
                        <a:lnTo>
                          <a:pt x="299" y="5083"/>
                        </a:lnTo>
                      </a:path>
                    </a:pathLst>
                  </a:custGeom>
                  <a:noFill/>
                  <a:ln w="6350" cap="flat">
                    <a:solidFill>
                      <a:schemeClr val="bg1">
                        <a:alpha val="40000"/>
                      </a:schemeClr>
                    </a:solidFill>
                    <a:prstDash val="solid"/>
                    <a:miter/>
                  </a:ln>
                </p:spPr>
                <p:txBody>
                  <a:bodyPr rtlCol="0" anchor="ctr"/>
                  <a:lstStyle/>
                  <a:p>
                    <a:endParaRPr lang="en-GB"/>
                  </a:p>
                </p:txBody>
              </p:sp>
              <p:sp>
                <p:nvSpPr>
                  <p:cNvPr id="7717" name="Vrije vorm: vorm 7716">
                    <a:extLst>
                      <a:ext uri="{FF2B5EF4-FFF2-40B4-BE49-F238E27FC236}">
                        <a16:creationId xmlns:a16="http://schemas.microsoft.com/office/drawing/2014/main" id="{99D185C3-74EF-4930-82E1-207C86C20C37}"/>
                      </a:ext>
                    </a:extLst>
                  </p:cNvPr>
                  <p:cNvSpPr/>
                  <p:nvPr/>
                </p:nvSpPr>
                <p:spPr>
                  <a:xfrm>
                    <a:off x="5815674" y="5316004"/>
                    <a:ext cx="2511" cy="4604"/>
                  </a:xfrm>
                  <a:custGeom>
                    <a:avLst/>
                    <a:gdLst>
                      <a:gd name="connsiteX0" fmla="*/ 2512 w 2511"/>
                      <a:gd name="connsiteY0" fmla="*/ 0 h 4604"/>
                      <a:gd name="connsiteX1" fmla="*/ 2273 w 2511"/>
                      <a:gd name="connsiteY1" fmla="*/ 0 h 4604"/>
                      <a:gd name="connsiteX2" fmla="*/ 1974 w 2511"/>
                      <a:gd name="connsiteY2" fmla="*/ 179 h 4604"/>
                      <a:gd name="connsiteX3" fmla="*/ 1615 w 2511"/>
                      <a:gd name="connsiteY3" fmla="*/ 478 h 4604"/>
                      <a:gd name="connsiteX4" fmla="*/ 1256 w 2511"/>
                      <a:gd name="connsiteY4" fmla="*/ 897 h 4604"/>
                      <a:gd name="connsiteX5" fmla="*/ 897 w 2511"/>
                      <a:gd name="connsiteY5" fmla="*/ 1435 h 4604"/>
                      <a:gd name="connsiteX6" fmla="*/ 598 w 2511"/>
                      <a:gd name="connsiteY6" fmla="*/ 2033 h 4604"/>
                      <a:gd name="connsiteX7" fmla="*/ 299 w 2511"/>
                      <a:gd name="connsiteY7" fmla="*/ 2632 h 4604"/>
                      <a:gd name="connsiteX8" fmla="*/ 119 w 2511"/>
                      <a:gd name="connsiteY8" fmla="*/ 3229 h 4604"/>
                      <a:gd name="connsiteX9" fmla="*/ 0 w 2511"/>
                      <a:gd name="connsiteY9" fmla="*/ 3768 h 4604"/>
                      <a:gd name="connsiteX10" fmla="*/ 0 w 2511"/>
                      <a:gd name="connsiteY10" fmla="*/ 3827 h 4604"/>
                      <a:gd name="connsiteX11" fmla="*/ 0 w 2511"/>
                      <a:gd name="connsiteY11" fmla="*/ 4186 h 4604"/>
                      <a:gd name="connsiteX12" fmla="*/ 60 w 2511"/>
                      <a:gd name="connsiteY12" fmla="*/ 4486 h 4604"/>
                      <a:gd name="connsiteX13" fmla="*/ 239 w 2511"/>
                      <a:gd name="connsiteY13" fmla="*/ 4605 h 4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1" h="4604">
                        <a:moveTo>
                          <a:pt x="2512" y="0"/>
                        </a:moveTo>
                        <a:lnTo>
                          <a:pt x="2273" y="0"/>
                        </a:lnTo>
                        <a:lnTo>
                          <a:pt x="1974" y="179"/>
                        </a:lnTo>
                        <a:lnTo>
                          <a:pt x="1615" y="478"/>
                        </a:lnTo>
                        <a:lnTo>
                          <a:pt x="1256" y="897"/>
                        </a:lnTo>
                        <a:lnTo>
                          <a:pt x="897" y="1435"/>
                        </a:lnTo>
                        <a:lnTo>
                          <a:pt x="598" y="2033"/>
                        </a:lnTo>
                        <a:lnTo>
                          <a:pt x="299" y="2632"/>
                        </a:lnTo>
                        <a:lnTo>
                          <a:pt x="119" y="3229"/>
                        </a:lnTo>
                        <a:lnTo>
                          <a:pt x="0" y="3768"/>
                        </a:lnTo>
                        <a:lnTo>
                          <a:pt x="0" y="3827"/>
                        </a:lnTo>
                        <a:lnTo>
                          <a:pt x="0" y="4186"/>
                        </a:lnTo>
                        <a:lnTo>
                          <a:pt x="60" y="4486"/>
                        </a:lnTo>
                        <a:lnTo>
                          <a:pt x="239" y="4605"/>
                        </a:lnTo>
                      </a:path>
                    </a:pathLst>
                  </a:custGeom>
                  <a:noFill/>
                  <a:ln w="6350" cap="flat">
                    <a:solidFill>
                      <a:schemeClr val="bg1">
                        <a:alpha val="40000"/>
                      </a:schemeClr>
                    </a:solidFill>
                    <a:prstDash val="solid"/>
                    <a:miter/>
                  </a:ln>
                </p:spPr>
                <p:txBody>
                  <a:bodyPr rtlCol="0" anchor="ctr"/>
                  <a:lstStyle/>
                  <a:p>
                    <a:endParaRPr lang="en-GB"/>
                  </a:p>
                </p:txBody>
              </p:sp>
              <p:sp>
                <p:nvSpPr>
                  <p:cNvPr id="7718" name="Vrije vorm: vorm 7717">
                    <a:extLst>
                      <a:ext uri="{FF2B5EF4-FFF2-40B4-BE49-F238E27FC236}">
                        <a16:creationId xmlns:a16="http://schemas.microsoft.com/office/drawing/2014/main" id="{22BF32EF-DE08-4B2F-8CAC-42FE4789607A}"/>
                      </a:ext>
                    </a:extLst>
                  </p:cNvPr>
                  <p:cNvSpPr/>
                  <p:nvPr/>
                </p:nvSpPr>
                <p:spPr>
                  <a:xfrm>
                    <a:off x="5790076" y="5302607"/>
                    <a:ext cx="5263" cy="5502"/>
                  </a:xfrm>
                  <a:custGeom>
                    <a:avLst/>
                    <a:gdLst>
                      <a:gd name="connsiteX0" fmla="*/ 0 w 5263"/>
                      <a:gd name="connsiteY0" fmla="*/ 5503 h 5502"/>
                      <a:gd name="connsiteX1" fmla="*/ 0 w 5263"/>
                      <a:gd name="connsiteY1" fmla="*/ 5503 h 5502"/>
                      <a:gd name="connsiteX2" fmla="*/ 359 w 5263"/>
                      <a:gd name="connsiteY2" fmla="*/ 5443 h 5502"/>
                      <a:gd name="connsiteX3" fmla="*/ 658 w 5263"/>
                      <a:gd name="connsiteY3" fmla="*/ 5323 h 5502"/>
                      <a:gd name="connsiteX4" fmla="*/ 1017 w 5263"/>
                      <a:gd name="connsiteY4" fmla="*/ 5144 h 5502"/>
                      <a:gd name="connsiteX5" fmla="*/ 1376 w 5263"/>
                      <a:gd name="connsiteY5" fmla="*/ 4845 h 5502"/>
                      <a:gd name="connsiteX6" fmla="*/ 1735 w 5263"/>
                      <a:gd name="connsiteY6" fmla="*/ 4486 h 5502"/>
                      <a:gd name="connsiteX7" fmla="*/ 2093 w 5263"/>
                      <a:gd name="connsiteY7" fmla="*/ 4067 h 5502"/>
                      <a:gd name="connsiteX8" fmla="*/ 2452 w 5263"/>
                      <a:gd name="connsiteY8" fmla="*/ 3589 h 5502"/>
                      <a:gd name="connsiteX9" fmla="*/ 2871 w 5263"/>
                      <a:gd name="connsiteY9" fmla="*/ 3050 h 5502"/>
                      <a:gd name="connsiteX10" fmla="*/ 5263 w 5263"/>
                      <a:gd name="connsiteY10" fmla="*/ 0 h 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63" h="5502">
                        <a:moveTo>
                          <a:pt x="0" y="5503"/>
                        </a:moveTo>
                        <a:lnTo>
                          <a:pt x="0" y="5503"/>
                        </a:lnTo>
                        <a:lnTo>
                          <a:pt x="359" y="5443"/>
                        </a:lnTo>
                        <a:lnTo>
                          <a:pt x="658" y="5323"/>
                        </a:lnTo>
                        <a:lnTo>
                          <a:pt x="1017" y="5144"/>
                        </a:lnTo>
                        <a:lnTo>
                          <a:pt x="1376" y="4845"/>
                        </a:lnTo>
                        <a:lnTo>
                          <a:pt x="1735" y="4486"/>
                        </a:lnTo>
                        <a:lnTo>
                          <a:pt x="2093" y="4067"/>
                        </a:lnTo>
                        <a:lnTo>
                          <a:pt x="2452" y="3589"/>
                        </a:lnTo>
                        <a:lnTo>
                          <a:pt x="2871" y="3050"/>
                        </a:lnTo>
                        <a:lnTo>
                          <a:pt x="5263" y="0"/>
                        </a:lnTo>
                      </a:path>
                    </a:pathLst>
                  </a:custGeom>
                  <a:noFill/>
                  <a:ln w="6350" cap="flat">
                    <a:solidFill>
                      <a:schemeClr val="bg1">
                        <a:alpha val="40000"/>
                      </a:schemeClr>
                    </a:solidFill>
                    <a:prstDash val="solid"/>
                    <a:miter/>
                  </a:ln>
                </p:spPr>
                <p:txBody>
                  <a:bodyPr rtlCol="0" anchor="ctr"/>
                  <a:lstStyle/>
                  <a:p>
                    <a:endParaRPr lang="en-GB"/>
                  </a:p>
                </p:txBody>
              </p:sp>
              <p:sp>
                <p:nvSpPr>
                  <p:cNvPr id="7719" name="Vrije vorm: vorm 7718">
                    <a:extLst>
                      <a:ext uri="{FF2B5EF4-FFF2-40B4-BE49-F238E27FC236}">
                        <a16:creationId xmlns:a16="http://schemas.microsoft.com/office/drawing/2014/main" id="{F00829F1-7A91-4B41-A333-217AAF4C9E84}"/>
                      </a:ext>
                    </a:extLst>
                  </p:cNvPr>
                  <p:cNvSpPr/>
                  <p:nvPr/>
                </p:nvSpPr>
                <p:spPr>
                  <a:xfrm>
                    <a:off x="5786368" y="5245252"/>
                    <a:ext cx="1375" cy="2451"/>
                  </a:xfrm>
                  <a:custGeom>
                    <a:avLst/>
                    <a:gdLst>
                      <a:gd name="connsiteX0" fmla="*/ 1376 w 1375"/>
                      <a:gd name="connsiteY0" fmla="*/ 2392 h 2451"/>
                      <a:gd name="connsiteX1" fmla="*/ 1376 w 1375"/>
                      <a:gd name="connsiteY1" fmla="*/ 2392 h 2451"/>
                      <a:gd name="connsiteX2" fmla="*/ 1017 w 1375"/>
                      <a:gd name="connsiteY2" fmla="*/ 0 h 2451"/>
                      <a:gd name="connsiteX3" fmla="*/ 0 w 1375"/>
                      <a:gd name="connsiteY3" fmla="*/ 2452 h 2451"/>
                    </a:gdLst>
                    <a:ahLst/>
                    <a:cxnLst>
                      <a:cxn ang="0">
                        <a:pos x="connsiteX0" y="connsiteY0"/>
                      </a:cxn>
                      <a:cxn ang="0">
                        <a:pos x="connsiteX1" y="connsiteY1"/>
                      </a:cxn>
                      <a:cxn ang="0">
                        <a:pos x="connsiteX2" y="connsiteY2"/>
                      </a:cxn>
                      <a:cxn ang="0">
                        <a:pos x="connsiteX3" y="connsiteY3"/>
                      </a:cxn>
                    </a:cxnLst>
                    <a:rect l="l" t="t" r="r" b="b"/>
                    <a:pathLst>
                      <a:path w="1375" h="2451">
                        <a:moveTo>
                          <a:pt x="1376" y="2392"/>
                        </a:moveTo>
                        <a:lnTo>
                          <a:pt x="1376" y="2392"/>
                        </a:lnTo>
                        <a:lnTo>
                          <a:pt x="1017" y="0"/>
                        </a:lnTo>
                        <a:lnTo>
                          <a:pt x="0" y="2452"/>
                        </a:lnTo>
                      </a:path>
                    </a:pathLst>
                  </a:custGeom>
                  <a:noFill/>
                  <a:ln w="6350" cap="flat">
                    <a:solidFill>
                      <a:schemeClr val="bg1">
                        <a:alpha val="40000"/>
                      </a:schemeClr>
                    </a:solidFill>
                    <a:prstDash val="solid"/>
                    <a:miter/>
                  </a:ln>
                </p:spPr>
                <p:txBody>
                  <a:bodyPr rtlCol="0" anchor="ctr"/>
                  <a:lstStyle/>
                  <a:p>
                    <a:endParaRPr lang="en-GB"/>
                  </a:p>
                </p:txBody>
              </p:sp>
              <p:sp>
                <p:nvSpPr>
                  <p:cNvPr id="7720" name="Vrije vorm: vorm 7719">
                    <a:extLst>
                      <a:ext uri="{FF2B5EF4-FFF2-40B4-BE49-F238E27FC236}">
                        <a16:creationId xmlns:a16="http://schemas.microsoft.com/office/drawing/2014/main" id="{577C4077-ACCA-4C9A-B60A-821274E47262}"/>
                      </a:ext>
                    </a:extLst>
                  </p:cNvPr>
                  <p:cNvSpPr/>
                  <p:nvPr/>
                </p:nvSpPr>
                <p:spPr>
                  <a:xfrm>
                    <a:off x="5787983" y="5248721"/>
                    <a:ext cx="4365" cy="4604"/>
                  </a:xfrm>
                  <a:custGeom>
                    <a:avLst/>
                    <a:gdLst>
                      <a:gd name="connsiteX0" fmla="*/ 4366 w 4365"/>
                      <a:gd name="connsiteY0" fmla="*/ 0 h 4604"/>
                      <a:gd name="connsiteX1" fmla="*/ 1914 w 4365"/>
                      <a:gd name="connsiteY1" fmla="*/ 2990 h 4604"/>
                      <a:gd name="connsiteX2" fmla="*/ 598 w 4365"/>
                      <a:gd name="connsiteY2" fmla="*/ 4605 h 4604"/>
                      <a:gd name="connsiteX3" fmla="*/ 60 w 4365"/>
                      <a:gd name="connsiteY3" fmla="*/ 4246 h 4604"/>
                      <a:gd name="connsiteX4" fmla="*/ 0 w 4365"/>
                      <a:gd name="connsiteY4" fmla="*/ 4186 h 4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5" h="4604">
                        <a:moveTo>
                          <a:pt x="4366" y="0"/>
                        </a:moveTo>
                        <a:lnTo>
                          <a:pt x="1914" y="2990"/>
                        </a:lnTo>
                        <a:lnTo>
                          <a:pt x="598" y="4605"/>
                        </a:lnTo>
                        <a:lnTo>
                          <a:pt x="60" y="4246"/>
                        </a:lnTo>
                        <a:lnTo>
                          <a:pt x="0" y="4186"/>
                        </a:lnTo>
                      </a:path>
                    </a:pathLst>
                  </a:custGeom>
                  <a:noFill/>
                  <a:ln w="6350" cap="flat">
                    <a:solidFill>
                      <a:schemeClr val="bg1">
                        <a:alpha val="40000"/>
                      </a:schemeClr>
                    </a:solidFill>
                    <a:prstDash val="solid"/>
                    <a:miter/>
                  </a:ln>
                </p:spPr>
                <p:txBody>
                  <a:bodyPr rtlCol="0" anchor="ctr"/>
                  <a:lstStyle/>
                  <a:p>
                    <a:endParaRPr lang="en-GB"/>
                  </a:p>
                </p:txBody>
              </p:sp>
              <p:sp>
                <p:nvSpPr>
                  <p:cNvPr id="7721" name="Vrije vorm: vorm 7720">
                    <a:extLst>
                      <a:ext uri="{FF2B5EF4-FFF2-40B4-BE49-F238E27FC236}">
                        <a16:creationId xmlns:a16="http://schemas.microsoft.com/office/drawing/2014/main" id="{5BF355D9-6847-4DCE-915D-D66CD6407A98}"/>
                      </a:ext>
                    </a:extLst>
                  </p:cNvPr>
                  <p:cNvSpPr/>
                  <p:nvPr/>
                </p:nvSpPr>
                <p:spPr>
                  <a:xfrm>
                    <a:off x="5788222" y="5248243"/>
                    <a:ext cx="3110" cy="3050"/>
                  </a:xfrm>
                  <a:custGeom>
                    <a:avLst/>
                    <a:gdLst>
                      <a:gd name="connsiteX0" fmla="*/ 3110 w 3110"/>
                      <a:gd name="connsiteY0" fmla="*/ 0 h 3050"/>
                      <a:gd name="connsiteX1" fmla="*/ 658 w 3110"/>
                      <a:gd name="connsiteY1" fmla="*/ 2990 h 3050"/>
                      <a:gd name="connsiteX2" fmla="*/ 598 w 3110"/>
                      <a:gd name="connsiteY2" fmla="*/ 3050 h 3050"/>
                      <a:gd name="connsiteX3" fmla="*/ 0 w 3110"/>
                      <a:gd name="connsiteY3" fmla="*/ 2751 h 3050"/>
                    </a:gdLst>
                    <a:ahLst/>
                    <a:cxnLst>
                      <a:cxn ang="0">
                        <a:pos x="connsiteX0" y="connsiteY0"/>
                      </a:cxn>
                      <a:cxn ang="0">
                        <a:pos x="connsiteX1" y="connsiteY1"/>
                      </a:cxn>
                      <a:cxn ang="0">
                        <a:pos x="connsiteX2" y="connsiteY2"/>
                      </a:cxn>
                      <a:cxn ang="0">
                        <a:pos x="connsiteX3" y="connsiteY3"/>
                      </a:cxn>
                    </a:cxnLst>
                    <a:rect l="l" t="t" r="r" b="b"/>
                    <a:pathLst>
                      <a:path w="3110" h="3050">
                        <a:moveTo>
                          <a:pt x="3110" y="0"/>
                        </a:moveTo>
                        <a:lnTo>
                          <a:pt x="658" y="2990"/>
                        </a:lnTo>
                        <a:lnTo>
                          <a:pt x="598" y="3050"/>
                        </a:lnTo>
                        <a:lnTo>
                          <a:pt x="0" y="2751"/>
                        </a:lnTo>
                      </a:path>
                    </a:pathLst>
                  </a:custGeom>
                  <a:noFill/>
                  <a:ln w="6350" cap="flat">
                    <a:solidFill>
                      <a:schemeClr val="bg1">
                        <a:alpha val="40000"/>
                      </a:schemeClr>
                    </a:solidFill>
                    <a:prstDash val="solid"/>
                    <a:miter/>
                  </a:ln>
                </p:spPr>
                <p:txBody>
                  <a:bodyPr rtlCol="0" anchor="ctr"/>
                  <a:lstStyle/>
                  <a:p>
                    <a:endParaRPr lang="en-GB"/>
                  </a:p>
                </p:txBody>
              </p:sp>
              <p:sp>
                <p:nvSpPr>
                  <p:cNvPr id="7722" name="Vrije vorm: vorm 7721">
                    <a:extLst>
                      <a:ext uri="{FF2B5EF4-FFF2-40B4-BE49-F238E27FC236}">
                        <a16:creationId xmlns:a16="http://schemas.microsoft.com/office/drawing/2014/main" id="{154AFD36-41D7-4CDA-8561-7BA9301322A8}"/>
                      </a:ext>
                    </a:extLst>
                  </p:cNvPr>
                  <p:cNvSpPr/>
                  <p:nvPr/>
                </p:nvSpPr>
                <p:spPr>
                  <a:xfrm>
                    <a:off x="5787684" y="5235863"/>
                    <a:ext cx="9688" cy="12081"/>
                  </a:xfrm>
                  <a:custGeom>
                    <a:avLst/>
                    <a:gdLst>
                      <a:gd name="connsiteX0" fmla="*/ 9689 w 9688"/>
                      <a:gd name="connsiteY0" fmla="*/ 0 h 12081"/>
                      <a:gd name="connsiteX1" fmla="*/ 9449 w 9688"/>
                      <a:gd name="connsiteY1" fmla="*/ 299 h 12081"/>
                      <a:gd name="connsiteX2" fmla="*/ 9390 w 9688"/>
                      <a:gd name="connsiteY2" fmla="*/ 359 h 12081"/>
                      <a:gd name="connsiteX3" fmla="*/ 9270 w 9688"/>
                      <a:gd name="connsiteY3" fmla="*/ 479 h 12081"/>
                      <a:gd name="connsiteX4" fmla="*/ 8791 w 9688"/>
                      <a:gd name="connsiteY4" fmla="*/ 1076 h 12081"/>
                      <a:gd name="connsiteX5" fmla="*/ 8313 w 9688"/>
                      <a:gd name="connsiteY5" fmla="*/ 1615 h 12081"/>
                      <a:gd name="connsiteX6" fmla="*/ 5861 w 9688"/>
                      <a:gd name="connsiteY6" fmla="*/ 4605 h 12081"/>
                      <a:gd name="connsiteX7" fmla="*/ 3409 w 9688"/>
                      <a:gd name="connsiteY7" fmla="*/ 7596 h 12081"/>
                      <a:gd name="connsiteX8" fmla="*/ 957 w 9688"/>
                      <a:gd name="connsiteY8" fmla="*/ 10586 h 12081"/>
                      <a:gd name="connsiteX9" fmla="*/ 0 w 9688"/>
                      <a:gd name="connsiteY9" fmla="*/ 11782 h 12081"/>
                      <a:gd name="connsiteX10" fmla="*/ 598 w 9688"/>
                      <a:gd name="connsiteY10" fmla="*/ 12081 h 12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8" h="12081">
                        <a:moveTo>
                          <a:pt x="9689" y="0"/>
                        </a:moveTo>
                        <a:lnTo>
                          <a:pt x="9449" y="299"/>
                        </a:lnTo>
                        <a:lnTo>
                          <a:pt x="9390" y="359"/>
                        </a:lnTo>
                        <a:lnTo>
                          <a:pt x="9270" y="479"/>
                        </a:lnTo>
                        <a:lnTo>
                          <a:pt x="8791" y="1076"/>
                        </a:lnTo>
                        <a:lnTo>
                          <a:pt x="8313" y="1615"/>
                        </a:lnTo>
                        <a:lnTo>
                          <a:pt x="5861" y="4605"/>
                        </a:lnTo>
                        <a:lnTo>
                          <a:pt x="3409" y="7596"/>
                        </a:lnTo>
                        <a:lnTo>
                          <a:pt x="957" y="10586"/>
                        </a:lnTo>
                        <a:lnTo>
                          <a:pt x="0" y="11782"/>
                        </a:lnTo>
                        <a:lnTo>
                          <a:pt x="598" y="12081"/>
                        </a:lnTo>
                      </a:path>
                    </a:pathLst>
                  </a:custGeom>
                  <a:noFill/>
                  <a:ln w="6350" cap="flat">
                    <a:solidFill>
                      <a:schemeClr val="bg1">
                        <a:alpha val="40000"/>
                      </a:schemeClr>
                    </a:solidFill>
                    <a:prstDash val="solid"/>
                    <a:miter/>
                  </a:ln>
                </p:spPr>
                <p:txBody>
                  <a:bodyPr rtlCol="0" anchor="ctr"/>
                  <a:lstStyle/>
                  <a:p>
                    <a:endParaRPr lang="en-GB"/>
                  </a:p>
                </p:txBody>
              </p:sp>
              <p:sp>
                <p:nvSpPr>
                  <p:cNvPr id="7723" name="Vrije vorm: vorm 7722">
                    <a:extLst>
                      <a:ext uri="{FF2B5EF4-FFF2-40B4-BE49-F238E27FC236}">
                        <a16:creationId xmlns:a16="http://schemas.microsoft.com/office/drawing/2014/main" id="{7118665C-0620-4B9F-A501-6973E70A1EBE}"/>
                      </a:ext>
                    </a:extLst>
                  </p:cNvPr>
                  <p:cNvSpPr/>
                  <p:nvPr/>
                </p:nvSpPr>
                <p:spPr>
                  <a:xfrm>
                    <a:off x="5788282" y="5236162"/>
                    <a:ext cx="9688" cy="15011"/>
                  </a:xfrm>
                  <a:custGeom>
                    <a:avLst/>
                    <a:gdLst>
                      <a:gd name="connsiteX0" fmla="*/ 9689 w 9688"/>
                      <a:gd name="connsiteY0" fmla="*/ 0 h 15011"/>
                      <a:gd name="connsiteX1" fmla="*/ 9450 w 9688"/>
                      <a:gd name="connsiteY1" fmla="*/ 299 h 15011"/>
                      <a:gd name="connsiteX2" fmla="*/ 9390 w 9688"/>
                      <a:gd name="connsiteY2" fmla="*/ 359 h 15011"/>
                      <a:gd name="connsiteX3" fmla="*/ 9270 w 9688"/>
                      <a:gd name="connsiteY3" fmla="*/ 479 h 15011"/>
                      <a:gd name="connsiteX4" fmla="*/ 8552 w 9688"/>
                      <a:gd name="connsiteY4" fmla="*/ 1316 h 15011"/>
                      <a:gd name="connsiteX5" fmla="*/ 8493 w 9688"/>
                      <a:gd name="connsiteY5" fmla="*/ 1376 h 15011"/>
                      <a:gd name="connsiteX6" fmla="*/ 6041 w 9688"/>
                      <a:gd name="connsiteY6" fmla="*/ 4366 h 15011"/>
                      <a:gd name="connsiteX7" fmla="*/ 3588 w 9688"/>
                      <a:gd name="connsiteY7" fmla="*/ 7357 h 15011"/>
                      <a:gd name="connsiteX8" fmla="*/ 1136 w 9688"/>
                      <a:gd name="connsiteY8" fmla="*/ 10347 h 15011"/>
                      <a:gd name="connsiteX9" fmla="*/ 0 w 9688"/>
                      <a:gd name="connsiteY9" fmla="*/ 11722 h 15011"/>
                      <a:gd name="connsiteX10" fmla="*/ 359 w 9688"/>
                      <a:gd name="connsiteY10" fmla="*/ 14114 h 15011"/>
                      <a:gd name="connsiteX11" fmla="*/ 479 w 9688"/>
                      <a:gd name="connsiteY11" fmla="*/ 15012 h 1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88" h="15011">
                        <a:moveTo>
                          <a:pt x="9689" y="0"/>
                        </a:moveTo>
                        <a:lnTo>
                          <a:pt x="9450" y="299"/>
                        </a:lnTo>
                        <a:lnTo>
                          <a:pt x="9390" y="359"/>
                        </a:lnTo>
                        <a:lnTo>
                          <a:pt x="9270" y="479"/>
                        </a:lnTo>
                        <a:lnTo>
                          <a:pt x="8552" y="1316"/>
                        </a:lnTo>
                        <a:lnTo>
                          <a:pt x="8493" y="1376"/>
                        </a:lnTo>
                        <a:lnTo>
                          <a:pt x="6041" y="4366"/>
                        </a:lnTo>
                        <a:lnTo>
                          <a:pt x="3588" y="7357"/>
                        </a:lnTo>
                        <a:lnTo>
                          <a:pt x="1136" y="10347"/>
                        </a:lnTo>
                        <a:lnTo>
                          <a:pt x="0" y="11722"/>
                        </a:lnTo>
                        <a:lnTo>
                          <a:pt x="359" y="14114"/>
                        </a:lnTo>
                        <a:lnTo>
                          <a:pt x="479" y="15012"/>
                        </a:lnTo>
                      </a:path>
                    </a:pathLst>
                  </a:custGeom>
                  <a:noFill/>
                  <a:ln w="6350" cap="flat">
                    <a:solidFill>
                      <a:schemeClr val="bg1">
                        <a:alpha val="40000"/>
                      </a:schemeClr>
                    </a:solidFill>
                    <a:prstDash val="solid"/>
                    <a:miter/>
                  </a:ln>
                </p:spPr>
                <p:txBody>
                  <a:bodyPr rtlCol="0" anchor="ctr"/>
                  <a:lstStyle/>
                  <a:p>
                    <a:endParaRPr lang="en-GB"/>
                  </a:p>
                </p:txBody>
              </p:sp>
              <p:sp>
                <p:nvSpPr>
                  <p:cNvPr id="7724" name="Vrije vorm: vorm 7723">
                    <a:extLst>
                      <a:ext uri="{FF2B5EF4-FFF2-40B4-BE49-F238E27FC236}">
                        <a16:creationId xmlns:a16="http://schemas.microsoft.com/office/drawing/2014/main" id="{765D11F5-518F-4695-A382-E6C420596859}"/>
                      </a:ext>
                    </a:extLst>
                  </p:cNvPr>
                  <p:cNvSpPr/>
                  <p:nvPr/>
                </p:nvSpPr>
                <p:spPr>
                  <a:xfrm>
                    <a:off x="5788222" y="5250994"/>
                    <a:ext cx="358" cy="2392"/>
                  </a:xfrm>
                  <a:custGeom>
                    <a:avLst/>
                    <a:gdLst>
                      <a:gd name="connsiteX0" fmla="*/ 0 w 358"/>
                      <a:gd name="connsiteY0" fmla="*/ 0 h 2392"/>
                      <a:gd name="connsiteX1" fmla="*/ 359 w 358"/>
                      <a:gd name="connsiteY1" fmla="*/ 2392 h 2392"/>
                    </a:gdLst>
                    <a:ahLst/>
                    <a:cxnLst>
                      <a:cxn ang="0">
                        <a:pos x="connsiteX0" y="connsiteY0"/>
                      </a:cxn>
                      <a:cxn ang="0">
                        <a:pos x="connsiteX1" y="connsiteY1"/>
                      </a:cxn>
                    </a:cxnLst>
                    <a:rect l="l" t="t" r="r" b="b"/>
                    <a:pathLst>
                      <a:path w="358" h="2392">
                        <a:moveTo>
                          <a:pt x="0" y="0"/>
                        </a:moveTo>
                        <a:lnTo>
                          <a:pt x="359" y="2392"/>
                        </a:lnTo>
                      </a:path>
                    </a:pathLst>
                  </a:custGeom>
                  <a:noFill/>
                  <a:ln w="6350" cap="flat">
                    <a:solidFill>
                      <a:schemeClr val="bg1">
                        <a:alpha val="40000"/>
                      </a:schemeClr>
                    </a:solidFill>
                    <a:prstDash val="solid"/>
                    <a:miter/>
                  </a:ln>
                </p:spPr>
                <p:txBody>
                  <a:bodyPr rtlCol="0" anchor="ctr"/>
                  <a:lstStyle/>
                  <a:p>
                    <a:endParaRPr lang="en-GB"/>
                  </a:p>
                </p:txBody>
              </p:sp>
              <p:sp>
                <p:nvSpPr>
                  <p:cNvPr id="7725" name="Vrije vorm: vorm 7724">
                    <a:extLst>
                      <a:ext uri="{FF2B5EF4-FFF2-40B4-BE49-F238E27FC236}">
                        <a16:creationId xmlns:a16="http://schemas.microsoft.com/office/drawing/2014/main" id="{9B7A5061-88EC-41E6-9CBA-EAFFE0FEB526}"/>
                      </a:ext>
                    </a:extLst>
                  </p:cNvPr>
                  <p:cNvSpPr/>
                  <p:nvPr/>
                </p:nvSpPr>
                <p:spPr>
                  <a:xfrm>
                    <a:off x="5794143" y="5247166"/>
                    <a:ext cx="358" cy="2631"/>
                  </a:xfrm>
                  <a:custGeom>
                    <a:avLst/>
                    <a:gdLst>
                      <a:gd name="connsiteX0" fmla="*/ 359 w 358"/>
                      <a:gd name="connsiteY0" fmla="*/ 2632 h 2631"/>
                      <a:gd name="connsiteX1" fmla="*/ 0 w 358"/>
                      <a:gd name="connsiteY1" fmla="*/ 0 h 2631"/>
                    </a:gdLst>
                    <a:ahLst/>
                    <a:cxnLst>
                      <a:cxn ang="0">
                        <a:pos x="connsiteX0" y="connsiteY0"/>
                      </a:cxn>
                      <a:cxn ang="0">
                        <a:pos x="connsiteX1" y="connsiteY1"/>
                      </a:cxn>
                    </a:cxnLst>
                    <a:rect l="l" t="t" r="r" b="b"/>
                    <a:pathLst>
                      <a:path w="358" h="2631">
                        <a:moveTo>
                          <a:pt x="359" y="2632"/>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26" name="Vrije vorm: vorm 7725">
                    <a:extLst>
                      <a:ext uri="{FF2B5EF4-FFF2-40B4-BE49-F238E27FC236}">
                        <a16:creationId xmlns:a16="http://schemas.microsoft.com/office/drawing/2014/main" id="{48BE54A1-AA2F-46A5-89CB-495B4D0BDB5B}"/>
                      </a:ext>
                    </a:extLst>
                  </p:cNvPr>
                  <p:cNvSpPr/>
                  <p:nvPr/>
                </p:nvSpPr>
                <p:spPr>
                  <a:xfrm>
                    <a:off x="5790734" y="5240887"/>
                    <a:ext cx="8432" cy="6219"/>
                  </a:xfrm>
                  <a:custGeom>
                    <a:avLst/>
                    <a:gdLst>
                      <a:gd name="connsiteX0" fmla="*/ 0 w 8432"/>
                      <a:gd name="connsiteY0" fmla="*/ 4605 h 6219"/>
                      <a:gd name="connsiteX1" fmla="*/ 538 w 8432"/>
                      <a:gd name="connsiteY1" fmla="*/ 4844 h 6219"/>
                      <a:gd name="connsiteX2" fmla="*/ 1375 w 8432"/>
                      <a:gd name="connsiteY2" fmla="*/ 5263 h 6219"/>
                      <a:gd name="connsiteX3" fmla="*/ 1973 w 8432"/>
                      <a:gd name="connsiteY3" fmla="*/ 5562 h 6219"/>
                      <a:gd name="connsiteX4" fmla="*/ 2990 w 8432"/>
                      <a:gd name="connsiteY4" fmla="*/ 6040 h 6219"/>
                      <a:gd name="connsiteX5" fmla="*/ 3409 w 8432"/>
                      <a:gd name="connsiteY5" fmla="*/ 6220 h 6219"/>
                      <a:gd name="connsiteX6" fmla="*/ 5861 w 8432"/>
                      <a:gd name="connsiteY6" fmla="*/ 3229 h 6219"/>
                      <a:gd name="connsiteX7" fmla="*/ 6639 w 8432"/>
                      <a:gd name="connsiteY7" fmla="*/ 2273 h 6219"/>
                      <a:gd name="connsiteX8" fmla="*/ 7715 w 8432"/>
                      <a:gd name="connsiteY8" fmla="*/ 897 h 6219"/>
                      <a:gd name="connsiteX9" fmla="*/ 7894 w 8432"/>
                      <a:gd name="connsiteY9" fmla="*/ 658 h 6219"/>
                      <a:gd name="connsiteX10" fmla="*/ 8433 w 8432"/>
                      <a:gd name="connsiteY10" fmla="*/ 0 h 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32" h="6219">
                        <a:moveTo>
                          <a:pt x="0" y="4605"/>
                        </a:moveTo>
                        <a:lnTo>
                          <a:pt x="538" y="4844"/>
                        </a:lnTo>
                        <a:lnTo>
                          <a:pt x="1375" y="5263"/>
                        </a:lnTo>
                        <a:lnTo>
                          <a:pt x="1973" y="5562"/>
                        </a:lnTo>
                        <a:lnTo>
                          <a:pt x="2990" y="6040"/>
                        </a:lnTo>
                        <a:lnTo>
                          <a:pt x="3409" y="6220"/>
                        </a:lnTo>
                        <a:lnTo>
                          <a:pt x="5861" y="3229"/>
                        </a:lnTo>
                        <a:lnTo>
                          <a:pt x="6639" y="2273"/>
                        </a:lnTo>
                        <a:lnTo>
                          <a:pt x="7715" y="897"/>
                        </a:lnTo>
                        <a:lnTo>
                          <a:pt x="7894" y="658"/>
                        </a:lnTo>
                        <a:lnTo>
                          <a:pt x="8433" y="0"/>
                        </a:lnTo>
                      </a:path>
                    </a:pathLst>
                  </a:custGeom>
                  <a:noFill/>
                  <a:ln w="6350" cap="flat">
                    <a:solidFill>
                      <a:schemeClr val="bg1">
                        <a:alpha val="40000"/>
                      </a:schemeClr>
                    </a:solidFill>
                    <a:prstDash val="solid"/>
                    <a:miter/>
                  </a:ln>
                </p:spPr>
                <p:txBody>
                  <a:bodyPr rtlCol="0" anchor="ctr"/>
                  <a:lstStyle/>
                  <a:p>
                    <a:endParaRPr lang="en-GB"/>
                  </a:p>
                </p:txBody>
              </p:sp>
              <p:sp>
                <p:nvSpPr>
                  <p:cNvPr id="7727" name="Vrije vorm: vorm 7726">
                    <a:extLst>
                      <a:ext uri="{FF2B5EF4-FFF2-40B4-BE49-F238E27FC236}">
                        <a16:creationId xmlns:a16="http://schemas.microsoft.com/office/drawing/2014/main" id="{6160F913-8FC3-40C4-83C0-AF81BBA07325}"/>
                      </a:ext>
                    </a:extLst>
                  </p:cNvPr>
                  <p:cNvSpPr/>
                  <p:nvPr/>
                </p:nvSpPr>
                <p:spPr>
                  <a:xfrm>
                    <a:off x="5790973" y="5239331"/>
                    <a:ext cx="8492" cy="10466"/>
                  </a:xfrm>
                  <a:custGeom>
                    <a:avLst/>
                    <a:gdLst>
                      <a:gd name="connsiteX0" fmla="*/ 4785 w 8492"/>
                      <a:gd name="connsiteY0" fmla="*/ 0 h 10466"/>
                      <a:gd name="connsiteX1" fmla="*/ 5502 w 8492"/>
                      <a:gd name="connsiteY1" fmla="*/ 359 h 10466"/>
                      <a:gd name="connsiteX2" fmla="*/ 6100 w 8492"/>
                      <a:gd name="connsiteY2" fmla="*/ 658 h 10466"/>
                      <a:gd name="connsiteX3" fmla="*/ 6160 w 8492"/>
                      <a:gd name="connsiteY3" fmla="*/ 718 h 10466"/>
                      <a:gd name="connsiteX4" fmla="*/ 6160 w 8492"/>
                      <a:gd name="connsiteY4" fmla="*/ 718 h 10466"/>
                      <a:gd name="connsiteX5" fmla="*/ 6758 w 8492"/>
                      <a:gd name="connsiteY5" fmla="*/ 1017 h 10466"/>
                      <a:gd name="connsiteX6" fmla="*/ 6758 w 8492"/>
                      <a:gd name="connsiteY6" fmla="*/ 1017 h 10466"/>
                      <a:gd name="connsiteX7" fmla="*/ 6937 w 8492"/>
                      <a:gd name="connsiteY7" fmla="*/ 1076 h 10466"/>
                      <a:gd name="connsiteX8" fmla="*/ 7057 w 8492"/>
                      <a:gd name="connsiteY8" fmla="*/ 1136 h 10466"/>
                      <a:gd name="connsiteX9" fmla="*/ 8134 w 8492"/>
                      <a:gd name="connsiteY9" fmla="*/ 1674 h 10466"/>
                      <a:gd name="connsiteX10" fmla="*/ 8493 w 8492"/>
                      <a:gd name="connsiteY10" fmla="*/ 4306 h 10466"/>
                      <a:gd name="connsiteX11" fmla="*/ 8493 w 8492"/>
                      <a:gd name="connsiteY11" fmla="*/ 4306 h 10466"/>
                      <a:gd name="connsiteX12" fmla="*/ 8253 w 8492"/>
                      <a:gd name="connsiteY12" fmla="*/ 4605 h 10466"/>
                      <a:gd name="connsiteX13" fmla="*/ 5801 w 8492"/>
                      <a:gd name="connsiteY13" fmla="*/ 7595 h 10466"/>
                      <a:gd name="connsiteX14" fmla="*/ 5622 w 8492"/>
                      <a:gd name="connsiteY14" fmla="*/ 7835 h 10466"/>
                      <a:gd name="connsiteX15" fmla="*/ 3469 w 8492"/>
                      <a:gd name="connsiteY15" fmla="*/ 10466 h 10466"/>
                      <a:gd name="connsiteX16" fmla="*/ 3349 w 8492"/>
                      <a:gd name="connsiteY16" fmla="*/ 10406 h 10466"/>
                      <a:gd name="connsiteX17" fmla="*/ 1256 w 8492"/>
                      <a:gd name="connsiteY17" fmla="*/ 9390 h 10466"/>
                      <a:gd name="connsiteX18" fmla="*/ 658 w 8492"/>
                      <a:gd name="connsiteY18" fmla="*/ 9090 h 10466"/>
                      <a:gd name="connsiteX19" fmla="*/ 239 w 8492"/>
                      <a:gd name="connsiteY19" fmla="*/ 8911 h 10466"/>
                      <a:gd name="connsiteX20" fmla="*/ 0 w 8492"/>
                      <a:gd name="connsiteY20" fmla="*/ 8791 h 1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492" h="10466">
                        <a:moveTo>
                          <a:pt x="4785" y="0"/>
                        </a:moveTo>
                        <a:lnTo>
                          <a:pt x="5502" y="359"/>
                        </a:lnTo>
                        <a:lnTo>
                          <a:pt x="6100" y="658"/>
                        </a:lnTo>
                        <a:lnTo>
                          <a:pt x="6160" y="718"/>
                        </a:lnTo>
                        <a:lnTo>
                          <a:pt x="6160" y="718"/>
                        </a:lnTo>
                        <a:lnTo>
                          <a:pt x="6758" y="1017"/>
                        </a:lnTo>
                        <a:lnTo>
                          <a:pt x="6758" y="1017"/>
                        </a:lnTo>
                        <a:lnTo>
                          <a:pt x="6937" y="1076"/>
                        </a:lnTo>
                        <a:lnTo>
                          <a:pt x="7057" y="1136"/>
                        </a:lnTo>
                        <a:lnTo>
                          <a:pt x="8134" y="1674"/>
                        </a:lnTo>
                        <a:lnTo>
                          <a:pt x="8493" y="4306"/>
                        </a:lnTo>
                        <a:lnTo>
                          <a:pt x="8493" y="4306"/>
                        </a:lnTo>
                        <a:lnTo>
                          <a:pt x="8253" y="4605"/>
                        </a:lnTo>
                        <a:lnTo>
                          <a:pt x="5801" y="7595"/>
                        </a:lnTo>
                        <a:lnTo>
                          <a:pt x="5622" y="7835"/>
                        </a:lnTo>
                        <a:lnTo>
                          <a:pt x="3469" y="10466"/>
                        </a:lnTo>
                        <a:lnTo>
                          <a:pt x="3349" y="10406"/>
                        </a:lnTo>
                        <a:lnTo>
                          <a:pt x="1256" y="9390"/>
                        </a:lnTo>
                        <a:lnTo>
                          <a:pt x="658" y="9090"/>
                        </a:lnTo>
                        <a:lnTo>
                          <a:pt x="239" y="8911"/>
                        </a:lnTo>
                        <a:lnTo>
                          <a:pt x="0" y="8791"/>
                        </a:lnTo>
                      </a:path>
                    </a:pathLst>
                  </a:custGeom>
                  <a:noFill/>
                  <a:ln w="6350" cap="flat">
                    <a:solidFill>
                      <a:schemeClr val="bg1">
                        <a:alpha val="40000"/>
                      </a:schemeClr>
                    </a:solidFill>
                    <a:prstDash val="solid"/>
                    <a:miter/>
                  </a:ln>
                </p:spPr>
                <p:txBody>
                  <a:bodyPr rtlCol="0" anchor="ctr"/>
                  <a:lstStyle/>
                  <a:p>
                    <a:endParaRPr lang="en-GB"/>
                  </a:p>
                </p:txBody>
              </p:sp>
              <p:sp>
                <p:nvSpPr>
                  <p:cNvPr id="7728" name="Vrije vorm: vorm 7727">
                    <a:extLst>
                      <a:ext uri="{FF2B5EF4-FFF2-40B4-BE49-F238E27FC236}">
                        <a16:creationId xmlns:a16="http://schemas.microsoft.com/office/drawing/2014/main" id="{5295356E-C3FC-48D3-AA52-7BC7D1E5F925}"/>
                      </a:ext>
                    </a:extLst>
                  </p:cNvPr>
                  <p:cNvSpPr/>
                  <p:nvPr/>
                </p:nvSpPr>
                <p:spPr>
                  <a:xfrm>
                    <a:off x="5791093" y="5248004"/>
                    <a:ext cx="5980" cy="119"/>
                  </a:xfrm>
                  <a:custGeom>
                    <a:avLst/>
                    <a:gdLst>
                      <a:gd name="connsiteX0" fmla="*/ 0 w 5980"/>
                      <a:gd name="connsiteY0" fmla="*/ 119 h 119"/>
                      <a:gd name="connsiteX1" fmla="*/ 0 w 5980"/>
                      <a:gd name="connsiteY1" fmla="*/ 0 h 119"/>
                    </a:gdLst>
                    <a:ahLst/>
                    <a:cxnLst>
                      <a:cxn ang="0">
                        <a:pos x="connsiteX0" y="connsiteY0"/>
                      </a:cxn>
                      <a:cxn ang="0">
                        <a:pos x="connsiteX1" y="connsiteY1"/>
                      </a:cxn>
                    </a:cxnLst>
                    <a:rect l="l" t="t" r="r" b="b"/>
                    <a:pathLst>
                      <a:path w="5980" h="119">
                        <a:moveTo>
                          <a:pt x="0" y="119"/>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29" name="Vrije vorm: vorm 7728">
                    <a:extLst>
                      <a:ext uri="{FF2B5EF4-FFF2-40B4-BE49-F238E27FC236}">
                        <a16:creationId xmlns:a16="http://schemas.microsoft.com/office/drawing/2014/main" id="{E9F8F267-200A-412B-8163-9E969464C53B}"/>
                      </a:ext>
                    </a:extLst>
                  </p:cNvPr>
                  <p:cNvSpPr/>
                  <p:nvPr/>
                </p:nvSpPr>
                <p:spPr>
                  <a:xfrm>
                    <a:off x="5797851" y="5238973"/>
                    <a:ext cx="598" cy="1315"/>
                  </a:xfrm>
                  <a:custGeom>
                    <a:avLst/>
                    <a:gdLst>
                      <a:gd name="connsiteX0" fmla="*/ 538 w 598"/>
                      <a:gd name="connsiteY0" fmla="*/ 0 h 1315"/>
                      <a:gd name="connsiteX1" fmla="*/ 598 w 598"/>
                      <a:gd name="connsiteY1" fmla="*/ 538 h 1315"/>
                      <a:gd name="connsiteX2" fmla="*/ 120 w 598"/>
                      <a:gd name="connsiteY2" fmla="*/ 1136 h 1315"/>
                      <a:gd name="connsiteX3" fmla="*/ 120 w 598"/>
                      <a:gd name="connsiteY3" fmla="*/ 1136 h 1315"/>
                      <a:gd name="connsiteX4" fmla="*/ 0 w 598"/>
                      <a:gd name="connsiteY4" fmla="*/ 1316 h 1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 h="1315">
                        <a:moveTo>
                          <a:pt x="538" y="0"/>
                        </a:moveTo>
                        <a:lnTo>
                          <a:pt x="598" y="538"/>
                        </a:lnTo>
                        <a:lnTo>
                          <a:pt x="120" y="1136"/>
                        </a:lnTo>
                        <a:lnTo>
                          <a:pt x="120" y="1136"/>
                        </a:lnTo>
                        <a:lnTo>
                          <a:pt x="0" y="1316"/>
                        </a:lnTo>
                      </a:path>
                    </a:pathLst>
                  </a:custGeom>
                  <a:noFill/>
                  <a:ln w="6350" cap="flat">
                    <a:solidFill>
                      <a:schemeClr val="bg1">
                        <a:alpha val="40000"/>
                      </a:schemeClr>
                    </a:solidFill>
                    <a:prstDash val="solid"/>
                    <a:miter/>
                  </a:ln>
                </p:spPr>
                <p:txBody>
                  <a:bodyPr rtlCol="0" anchor="ctr"/>
                  <a:lstStyle/>
                  <a:p>
                    <a:endParaRPr lang="en-GB"/>
                  </a:p>
                </p:txBody>
              </p:sp>
              <p:sp>
                <p:nvSpPr>
                  <p:cNvPr id="7730" name="Vrije vorm: vorm 7729">
                    <a:extLst>
                      <a:ext uri="{FF2B5EF4-FFF2-40B4-BE49-F238E27FC236}">
                        <a16:creationId xmlns:a16="http://schemas.microsoft.com/office/drawing/2014/main" id="{A37CA010-22CA-4706-8FAB-578CAD91997C}"/>
                      </a:ext>
                    </a:extLst>
                  </p:cNvPr>
                  <p:cNvSpPr/>
                  <p:nvPr/>
                </p:nvSpPr>
                <p:spPr>
                  <a:xfrm>
                    <a:off x="5789059" y="5247166"/>
                    <a:ext cx="1256" cy="2093"/>
                  </a:xfrm>
                  <a:custGeom>
                    <a:avLst/>
                    <a:gdLst>
                      <a:gd name="connsiteX0" fmla="*/ 1256 w 1256"/>
                      <a:gd name="connsiteY0" fmla="*/ 0 h 2093"/>
                      <a:gd name="connsiteX1" fmla="*/ 1136 w 1256"/>
                      <a:gd name="connsiteY1" fmla="*/ 0 h 2093"/>
                      <a:gd name="connsiteX2" fmla="*/ 957 w 1256"/>
                      <a:gd name="connsiteY2" fmla="*/ 60 h 2093"/>
                      <a:gd name="connsiteX3" fmla="*/ 778 w 1256"/>
                      <a:gd name="connsiteY3" fmla="*/ 179 h 2093"/>
                      <a:gd name="connsiteX4" fmla="*/ 598 w 1256"/>
                      <a:gd name="connsiteY4" fmla="*/ 359 h 2093"/>
                      <a:gd name="connsiteX5" fmla="*/ 419 w 1256"/>
                      <a:gd name="connsiteY5" fmla="*/ 598 h 2093"/>
                      <a:gd name="connsiteX6" fmla="*/ 239 w 1256"/>
                      <a:gd name="connsiteY6" fmla="*/ 837 h 2093"/>
                      <a:gd name="connsiteX7" fmla="*/ 120 w 1256"/>
                      <a:gd name="connsiteY7" fmla="*/ 1136 h 2093"/>
                      <a:gd name="connsiteX8" fmla="*/ 60 w 1256"/>
                      <a:gd name="connsiteY8" fmla="*/ 1435 h 2093"/>
                      <a:gd name="connsiteX9" fmla="*/ 0 w 1256"/>
                      <a:gd name="connsiteY9" fmla="*/ 1674 h 2093"/>
                      <a:gd name="connsiteX10" fmla="*/ 0 w 1256"/>
                      <a:gd name="connsiteY10" fmla="*/ 1854 h 2093"/>
                      <a:gd name="connsiteX11" fmla="*/ 60 w 1256"/>
                      <a:gd name="connsiteY11" fmla="*/ 2033 h 2093"/>
                      <a:gd name="connsiteX12" fmla="*/ 180 w 1256"/>
                      <a:gd name="connsiteY12" fmla="*/ 2093 h 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6" h="2093">
                        <a:moveTo>
                          <a:pt x="1256" y="0"/>
                        </a:moveTo>
                        <a:lnTo>
                          <a:pt x="1136" y="0"/>
                        </a:lnTo>
                        <a:lnTo>
                          <a:pt x="957" y="60"/>
                        </a:lnTo>
                        <a:lnTo>
                          <a:pt x="778" y="179"/>
                        </a:lnTo>
                        <a:lnTo>
                          <a:pt x="598" y="359"/>
                        </a:lnTo>
                        <a:lnTo>
                          <a:pt x="419" y="598"/>
                        </a:lnTo>
                        <a:lnTo>
                          <a:pt x="239" y="837"/>
                        </a:lnTo>
                        <a:lnTo>
                          <a:pt x="120" y="1136"/>
                        </a:lnTo>
                        <a:lnTo>
                          <a:pt x="60" y="1435"/>
                        </a:lnTo>
                        <a:lnTo>
                          <a:pt x="0" y="1674"/>
                        </a:lnTo>
                        <a:lnTo>
                          <a:pt x="0" y="1854"/>
                        </a:lnTo>
                        <a:lnTo>
                          <a:pt x="60" y="2033"/>
                        </a:lnTo>
                        <a:lnTo>
                          <a:pt x="180" y="2093"/>
                        </a:lnTo>
                      </a:path>
                    </a:pathLst>
                  </a:custGeom>
                  <a:noFill/>
                  <a:ln w="6350" cap="flat">
                    <a:solidFill>
                      <a:schemeClr val="bg1">
                        <a:alpha val="40000"/>
                      </a:schemeClr>
                    </a:solidFill>
                    <a:prstDash val="solid"/>
                    <a:miter/>
                  </a:ln>
                </p:spPr>
                <p:txBody>
                  <a:bodyPr rtlCol="0" anchor="ctr"/>
                  <a:lstStyle/>
                  <a:p>
                    <a:endParaRPr lang="en-GB"/>
                  </a:p>
                </p:txBody>
              </p:sp>
              <p:sp>
                <p:nvSpPr>
                  <p:cNvPr id="7731" name="Vrije vorm: vorm 7730">
                    <a:extLst>
                      <a:ext uri="{FF2B5EF4-FFF2-40B4-BE49-F238E27FC236}">
                        <a16:creationId xmlns:a16="http://schemas.microsoft.com/office/drawing/2014/main" id="{1C604694-ECCB-4E1C-9D38-24A462A4C9BB}"/>
                      </a:ext>
                    </a:extLst>
                  </p:cNvPr>
                  <p:cNvSpPr/>
                  <p:nvPr/>
                </p:nvSpPr>
                <p:spPr>
                  <a:xfrm>
                    <a:off x="5796475" y="5238195"/>
                    <a:ext cx="1136" cy="1495"/>
                  </a:xfrm>
                  <a:custGeom>
                    <a:avLst/>
                    <a:gdLst>
                      <a:gd name="connsiteX0" fmla="*/ 1136 w 1136"/>
                      <a:gd name="connsiteY0" fmla="*/ 0 h 1495"/>
                      <a:gd name="connsiteX1" fmla="*/ 1017 w 1136"/>
                      <a:gd name="connsiteY1" fmla="*/ 0 h 1495"/>
                      <a:gd name="connsiteX2" fmla="*/ 837 w 1136"/>
                      <a:gd name="connsiteY2" fmla="*/ 60 h 1495"/>
                      <a:gd name="connsiteX3" fmla="*/ 658 w 1136"/>
                      <a:gd name="connsiteY3" fmla="*/ 179 h 1495"/>
                      <a:gd name="connsiteX4" fmla="*/ 658 w 1136"/>
                      <a:gd name="connsiteY4" fmla="*/ 179 h 1495"/>
                      <a:gd name="connsiteX5" fmla="*/ 479 w 1136"/>
                      <a:gd name="connsiteY5" fmla="*/ 359 h 1495"/>
                      <a:gd name="connsiteX6" fmla="*/ 299 w 1136"/>
                      <a:gd name="connsiteY6" fmla="*/ 598 h 1495"/>
                      <a:gd name="connsiteX7" fmla="*/ 180 w 1136"/>
                      <a:gd name="connsiteY7" fmla="*/ 837 h 1495"/>
                      <a:gd name="connsiteX8" fmla="*/ 60 w 1136"/>
                      <a:gd name="connsiteY8" fmla="*/ 1136 h 1495"/>
                      <a:gd name="connsiteX9" fmla="*/ 0 w 1136"/>
                      <a:gd name="connsiteY9" fmla="*/ 1435 h 1495"/>
                      <a:gd name="connsiteX10" fmla="*/ 0 w 1136"/>
                      <a:gd name="connsiteY10" fmla="*/ 1495 h 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6" h="1495">
                        <a:moveTo>
                          <a:pt x="1136" y="0"/>
                        </a:moveTo>
                        <a:lnTo>
                          <a:pt x="1017" y="0"/>
                        </a:lnTo>
                        <a:lnTo>
                          <a:pt x="837" y="60"/>
                        </a:lnTo>
                        <a:lnTo>
                          <a:pt x="658" y="179"/>
                        </a:lnTo>
                        <a:lnTo>
                          <a:pt x="658" y="179"/>
                        </a:lnTo>
                        <a:lnTo>
                          <a:pt x="479" y="359"/>
                        </a:lnTo>
                        <a:lnTo>
                          <a:pt x="299" y="598"/>
                        </a:lnTo>
                        <a:lnTo>
                          <a:pt x="180" y="837"/>
                        </a:lnTo>
                        <a:lnTo>
                          <a:pt x="60" y="1136"/>
                        </a:lnTo>
                        <a:lnTo>
                          <a:pt x="0" y="1435"/>
                        </a:lnTo>
                        <a:lnTo>
                          <a:pt x="0" y="1495"/>
                        </a:lnTo>
                      </a:path>
                    </a:pathLst>
                  </a:custGeom>
                  <a:noFill/>
                  <a:ln w="6350" cap="flat">
                    <a:solidFill>
                      <a:schemeClr val="bg1">
                        <a:alpha val="40000"/>
                      </a:schemeClr>
                    </a:solidFill>
                    <a:prstDash val="solid"/>
                    <a:miter/>
                  </a:ln>
                </p:spPr>
                <p:txBody>
                  <a:bodyPr rtlCol="0" anchor="ctr"/>
                  <a:lstStyle/>
                  <a:p>
                    <a:endParaRPr lang="en-GB"/>
                  </a:p>
                </p:txBody>
              </p:sp>
              <p:sp>
                <p:nvSpPr>
                  <p:cNvPr id="7732" name="Vrije vorm: vorm 7731">
                    <a:extLst>
                      <a:ext uri="{FF2B5EF4-FFF2-40B4-BE49-F238E27FC236}">
                        <a16:creationId xmlns:a16="http://schemas.microsoft.com/office/drawing/2014/main" id="{E3744761-7A7C-430E-BBE2-55A12CB08D17}"/>
                      </a:ext>
                    </a:extLst>
                  </p:cNvPr>
                  <p:cNvSpPr/>
                  <p:nvPr/>
                </p:nvSpPr>
                <p:spPr>
                  <a:xfrm>
                    <a:off x="5795339" y="5239272"/>
                    <a:ext cx="418" cy="538"/>
                  </a:xfrm>
                  <a:custGeom>
                    <a:avLst/>
                    <a:gdLst>
                      <a:gd name="connsiteX0" fmla="*/ 0 w 418"/>
                      <a:gd name="connsiteY0" fmla="*/ 538 h 538"/>
                      <a:gd name="connsiteX1" fmla="*/ 419 w 418"/>
                      <a:gd name="connsiteY1" fmla="*/ 0 h 538"/>
                    </a:gdLst>
                    <a:ahLst/>
                    <a:cxnLst>
                      <a:cxn ang="0">
                        <a:pos x="connsiteX0" y="connsiteY0"/>
                      </a:cxn>
                      <a:cxn ang="0">
                        <a:pos x="connsiteX1" y="connsiteY1"/>
                      </a:cxn>
                    </a:cxnLst>
                    <a:rect l="l" t="t" r="r" b="b"/>
                    <a:pathLst>
                      <a:path w="418" h="538">
                        <a:moveTo>
                          <a:pt x="0" y="538"/>
                        </a:moveTo>
                        <a:lnTo>
                          <a:pt x="419" y="0"/>
                        </a:lnTo>
                      </a:path>
                    </a:pathLst>
                  </a:custGeom>
                  <a:noFill/>
                  <a:ln w="6350" cap="flat">
                    <a:solidFill>
                      <a:schemeClr val="bg1">
                        <a:alpha val="40000"/>
                      </a:schemeClr>
                    </a:solidFill>
                    <a:prstDash val="solid"/>
                    <a:miter/>
                  </a:ln>
                </p:spPr>
                <p:txBody>
                  <a:bodyPr rtlCol="0" anchor="ctr"/>
                  <a:lstStyle/>
                  <a:p>
                    <a:endParaRPr lang="en-GB"/>
                  </a:p>
                </p:txBody>
              </p:sp>
              <p:sp>
                <p:nvSpPr>
                  <p:cNvPr id="7733" name="Vrije vorm: vorm 7732">
                    <a:extLst>
                      <a:ext uri="{FF2B5EF4-FFF2-40B4-BE49-F238E27FC236}">
                        <a16:creationId xmlns:a16="http://schemas.microsoft.com/office/drawing/2014/main" id="{B076F482-CE67-4805-9C46-110206232EE3}"/>
                      </a:ext>
                    </a:extLst>
                  </p:cNvPr>
                  <p:cNvSpPr/>
                  <p:nvPr/>
                </p:nvSpPr>
                <p:spPr>
                  <a:xfrm>
                    <a:off x="5791152" y="5239750"/>
                    <a:ext cx="7236" cy="6698"/>
                  </a:xfrm>
                  <a:custGeom>
                    <a:avLst/>
                    <a:gdLst>
                      <a:gd name="connsiteX0" fmla="*/ 0 w 7236"/>
                      <a:gd name="connsiteY0" fmla="*/ 5203 h 6698"/>
                      <a:gd name="connsiteX1" fmla="*/ 1376 w 7236"/>
                      <a:gd name="connsiteY1" fmla="*/ 5921 h 6698"/>
                      <a:gd name="connsiteX2" fmla="*/ 1974 w 7236"/>
                      <a:gd name="connsiteY2" fmla="*/ 6220 h 6698"/>
                      <a:gd name="connsiteX3" fmla="*/ 2392 w 7236"/>
                      <a:gd name="connsiteY3" fmla="*/ 6399 h 6698"/>
                      <a:gd name="connsiteX4" fmla="*/ 2751 w 7236"/>
                      <a:gd name="connsiteY4" fmla="*/ 6579 h 6698"/>
                      <a:gd name="connsiteX5" fmla="*/ 2990 w 7236"/>
                      <a:gd name="connsiteY5" fmla="*/ 6698 h 6698"/>
                      <a:gd name="connsiteX6" fmla="*/ 2990 w 7236"/>
                      <a:gd name="connsiteY6" fmla="*/ 6698 h 6698"/>
                      <a:gd name="connsiteX7" fmla="*/ 3290 w 7236"/>
                      <a:gd name="connsiteY7" fmla="*/ 6340 h 6698"/>
                      <a:gd name="connsiteX8" fmla="*/ 5742 w 7236"/>
                      <a:gd name="connsiteY8" fmla="*/ 3349 h 6698"/>
                      <a:gd name="connsiteX9" fmla="*/ 5801 w 7236"/>
                      <a:gd name="connsiteY9" fmla="*/ 3289 h 6698"/>
                      <a:gd name="connsiteX10" fmla="*/ 5981 w 7236"/>
                      <a:gd name="connsiteY10" fmla="*/ 3050 h 6698"/>
                      <a:gd name="connsiteX11" fmla="*/ 6220 w 7236"/>
                      <a:gd name="connsiteY11" fmla="*/ 2751 h 6698"/>
                      <a:gd name="connsiteX12" fmla="*/ 7237 w 7236"/>
                      <a:gd name="connsiteY12" fmla="*/ 1495 h 6698"/>
                      <a:gd name="connsiteX13" fmla="*/ 6938 w 7236"/>
                      <a:gd name="connsiteY13" fmla="*/ 1316 h 6698"/>
                      <a:gd name="connsiteX14" fmla="*/ 6220 w 7236"/>
                      <a:gd name="connsiteY14" fmla="*/ 957 h 6698"/>
                      <a:gd name="connsiteX15" fmla="*/ 5622 w 7236"/>
                      <a:gd name="connsiteY15" fmla="*/ 658 h 6698"/>
                      <a:gd name="connsiteX16" fmla="*/ 4725 w 7236"/>
                      <a:gd name="connsiteY16" fmla="*/ 239 h 6698"/>
                      <a:gd name="connsiteX17" fmla="*/ 4187 w 7236"/>
                      <a:gd name="connsiteY17" fmla="*/ 0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36" h="6698">
                        <a:moveTo>
                          <a:pt x="0" y="5203"/>
                        </a:moveTo>
                        <a:lnTo>
                          <a:pt x="1376" y="5921"/>
                        </a:lnTo>
                        <a:lnTo>
                          <a:pt x="1974" y="6220"/>
                        </a:lnTo>
                        <a:lnTo>
                          <a:pt x="2392" y="6399"/>
                        </a:lnTo>
                        <a:lnTo>
                          <a:pt x="2751" y="6579"/>
                        </a:lnTo>
                        <a:lnTo>
                          <a:pt x="2990" y="6698"/>
                        </a:lnTo>
                        <a:lnTo>
                          <a:pt x="2990" y="6698"/>
                        </a:lnTo>
                        <a:lnTo>
                          <a:pt x="3290" y="6340"/>
                        </a:lnTo>
                        <a:lnTo>
                          <a:pt x="5742" y="3349"/>
                        </a:lnTo>
                        <a:lnTo>
                          <a:pt x="5801" y="3289"/>
                        </a:lnTo>
                        <a:lnTo>
                          <a:pt x="5981" y="3050"/>
                        </a:lnTo>
                        <a:lnTo>
                          <a:pt x="6220" y="2751"/>
                        </a:lnTo>
                        <a:lnTo>
                          <a:pt x="7237" y="1495"/>
                        </a:lnTo>
                        <a:lnTo>
                          <a:pt x="6938" y="1316"/>
                        </a:lnTo>
                        <a:lnTo>
                          <a:pt x="6220" y="957"/>
                        </a:lnTo>
                        <a:lnTo>
                          <a:pt x="5622" y="658"/>
                        </a:lnTo>
                        <a:lnTo>
                          <a:pt x="4725" y="239"/>
                        </a:lnTo>
                        <a:lnTo>
                          <a:pt x="4187" y="0"/>
                        </a:lnTo>
                      </a:path>
                    </a:pathLst>
                  </a:custGeom>
                  <a:noFill/>
                  <a:ln w="6350" cap="flat">
                    <a:solidFill>
                      <a:schemeClr val="bg1">
                        <a:alpha val="40000"/>
                      </a:schemeClr>
                    </a:solidFill>
                    <a:prstDash val="solid"/>
                    <a:miter/>
                  </a:ln>
                </p:spPr>
                <p:txBody>
                  <a:bodyPr rtlCol="0" anchor="ctr"/>
                  <a:lstStyle/>
                  <a:p>
                    <a:endParaRPr lang="en-GB"/>
                  </a:p>
                </p:txBody>
              </p:sp>
              <p:sp>
                <p:nvSpPr>
                  <p:cNvPr id="7734" name="Vrije vorm: vorm 7733">
                    <a:extLst>
                      <a:ext uri="{FF2B5EF4-FFF2-40B4-BE49-F238E27FC236}">
                        <a16:creationId xmlns:a16="http://schemas.microsoft.com/office/drawing/2014/main" id="{265BDC32-2058-4E60-B547-084469E3CEDB}"/>
                      </a:ext>
                    </a:extLst>
                  </p:cNvPr>
                  <p:cNvSpPr/>
                  <p:nvPr/>
                </p:nvSpPr>
                <p:spPr>
                  <a:xfrm>
                    <a:off x="5790734" y="5245013"/>
                    <a:ext cx="418" cy="2511"/>
                  </a:xfrm>
                  <a:custGeom>
                    <a:avLst/>
                    <a:gdLst>
                      <a:gd name="connsiteX0" fmla="*/ 299 w 418"/>
                      <a:gd name="connsiteY0" fmla="*/ 2512 h 2511"/>
                      <a:gd name="connsiteX1" fmla="*/ 0 w 418"/>
                      <a:gd name="connsiteY1" fmla="*/ 538 h 2511"/>
                      <a:gd name="connsiteX2" fmla="*/ 418 w 418"/>
                      <a:gd name="connsiteY2" fmla="*/ 0 h 2511"/>
                    </a:gdLst>
                    <a:ahLst/>
                    <a:cxnLst>
                      <a:cxn ang="0">
                        <a:pos x="connsiteX0" y="connsiteY0"/>
                      </a:cxn>
                      <a:cxn ang="0">
                        <a:pos x="connsiteX1" y="connsiteY1"/>
                      </a:cxn>
                      <a:cxn ang="0">
                        <a:pos x="connsiteX2" y="connsiteY2"/>
                      </a:cxn>
                    </a:cxnLst>
                    <a:rect l="l" t="t" r="r" b="b"/>
                    <a:pathLst>
                      <a:path w="418" h="2511">
                        <a:moveTo>
                          <a:pt x="299" y="2512"/>
                        </a:moveTo>
                        <a:lnTo>
                          <a:pt x="0" y="538"/>
                        </a:lnTo>
                        <a:lnTo>
                          <a:pt x="418" y="0"/>
                        </a:lnTo>
                      </a:path>
                    </a:pathLst>
                  </a:custGeom>
                  <a:noFill/>
                  <a:ln w="6350" cap="flat">
                    <a:solidFill>
                      <a:schemeClr val="bg1">
                        <a:alpha val="40000"/>
                      </a:schemeClr>
                    </a:solidFill>
                    <a:prstDash val="solid"/>
                    <a:miter/>
                  </a:ln>
                </p:spPr>
                <p:txBody>
                  <a:bodyPr rtlCol="0" anchor="ctr"/>
                  <a:lstStyle/>
                  <a:p>
                    <a:endParaRPr lang="en-GB"/>
                  </a:p>
                </p:txBody>
              </p:sp>
              <p:sp>
                <p:nvSpPr>
                  <p:cNvPr id="7735" name="Vrije vorm: vorm 7734">
                    <a:extLst>
                      <a:ext uri="{FF2B5EF4-FFF2-40B4-BE49-F238E27FC236}">
                        <a16:creationId xmlns:a16="http://schemas.microsoft.com/office/drawing/2014/main" id="{FF83C9B7-0DBE-42BA-B878-1F89C8ECBEF5}"/>
                      </a:ext>
                    </a:extLst>
                  </p:cNvPr>
                  <p:cNvSpPr/>
                  <p:nvPr/>
                </p:nvSpPr>
                <p:spPr>
                  <a:xfrm>
                    <a:off x="5768306" y="5206677"/>
                    <a:ext cx="2093" cy="3588"/>
                  </a:xfrm>
                  <a:custGeom>
                    <a:avLst/>
                    <a:gdLst>
                      <a:gd name="connsiteX0" fmla="*/ 1794 w 2093"/>
                      <a:gd name="connsiteY0" fmla="*/ 120 h 3588"/>
                      <a:gd name="connsiteX1" fmla="*/ 1914 w 2093"/>
                      <a:gd name="connsiteY1" fmla="*/ 239 h 3588"/>
                      <a:gd name="connsiteX2" fmla="*/ 1973 w 2093"/>
                      <a:gd name="connsiteY2" fmla="*/ 299 h 3588"/>
                      <a:gd name="connsiteX3" fmla="*/ 2033 w 2093"/>
                      <a:gd name="connsiteY3" fmla="*/ 419 h 3588"/>
                      <a:gd name="connsiteX4" fmla="*/ 2093 w 2093"/>
                      <a:gd name="connsiteY4" fmla="*/ 598 h 3588"/>
                      <a:gd name="connsiteX5" fmla="*/ 2093 w 2093"/>
                      <a:gd name="connsiteY5" fmla="*/ 658 h 3588"/>
                      <a:gd name="connsiteX6" fmla="*/ 2093 w 2093"/>
                      <a:gd name="connsiteY6" fmla="*/ 778 h 3588"/>
                      <a:gd name="connsiteX7" fmla="*/ 2093 w 2093"/>
                      <a:gd name="connsiteY7" fmla="*/ 957 h 3588"/>
                      <a:gd name="connsiteX8" fmla="*/ 2033 w 2093"/>
                      <a:gd name="connsiteY8" fmla="*/ 1375 h 3588"/>
                      <a:gd name="connsiteX9" fmla="*/ 1914 w 2093"/>
                      <a:gd name="connsiteY9" fmla="*/ 1794 h 3588"/>
                      <a:gd name="connsiteX10" fmla="*/ 1734 w 2093"/>
                      <a:gd name="connsiteY10" fmla="*/ 2273 h 3588"/>
                      <a:gd name="connsiteX11" fmla="*/ 1495 w 2093"/>
                      <a:gd name="connsiteY11" fmla="*/ 2691 h 3588"/>
                      <a:gd name="connsiteX12" fmla="*/ 1196 w 2093"/>
                      <a:gd name="connsiteY12" fmla="*/ 3050 h 3588"/>
                      <a:gd name="connsiteX13" fmla="*/ 1196 w 2093"/>
                      <a:gd name="connsiteY13" fmla="*/ 3110 h 3588"/>
                      <a:gd name="connsiteX14" fmla="*/ 957 w 2093"/>
                      <a:gd name="connsiteY14" fmla="*/ 3349 h 3588"/>
                      <a:gd name="connsiteX15" fmla="*/ 658 w 2093"/>
                      <a:gd name="connsiteY15" fmla="*/ 3529 h 3588"/>
                      <a:gd name="connsiteX16" fmla="*/ 418 w 2093"/>
                      <a:gd name="connsiteY16" fmla="*/ 3589 h 3588"/>
                      <a:gd name="connsiteX17" fmla="*/ 239 w 2093"/>
                      <a:gd name="connsiteY17" fmla="*/ 3529 h 3588"/>
                      <a:gd name="connsiteX18" fmla="*/ 60 w 2093"/>
                      <a:gd name="connsiteY18" fmla="*/ 3349 h 3588"/>
                      <a:gd name="connsiteX19" fmla="*/ 60 w 2093"/>
                      <a:gd name="connsiteY19" fmla="*/ 3229 h 3588"/>
                      <a:gd name="connsiteX20" fmla="*/ 0 w 2093"/>
                      <a:gd name="connsiteY20" fmla="*/ 3050 h 3588"/>
                      <a:gd name="connsiteX21" fmla="*/ 0 w 2093"/>
                      <a:gd name="connsiteY21" fmla="*/ 2871 h 3588"/>
                      <a:gd name="connsiteX22" fmla="*/ 0 w 2093"/>
                      <a:gd name="connsiteY22" fmla="*/ 2691 h 3588"/>
                      <a:gd name="connsiteX23" fmla="*/ 60 w 2093"/>
                      <a:gd name="connsiteY23" fmla="*/ 2452 h 3588"/>
                      <a:gd name="connsiteX24" fmla="*/ 60 w 2093"/>
                      <a:gd name="connsiteY24" fmla="*/ 2333 h 3588"/>
                      <a:gd name="connsiteX25" fmla="*/ 60 w 2093"/>
                      <a:gd name="connsiteY25" fmla="*/ 2273 h 3588"/>
                      <a:gd name="connsiteX26" fmla="*/ 119 w 2093"/>
                      <a:gd name="connsiteY26" fmla="*/ 2093 h 3588"/>
                      <a:gd name="connsiteX27" fmla="*/ 119 w 2093"/>
                      <a:gd name="connsiteY27" fmla="*/ 2034 h 3588"/>
                      <a:gd name="connsiteX28" fmla="*/ 179 w 2093"/>
                      <a:gd name="connsiteY28" fmla="*/ 1854 h 3588"/>
                      <a:gd name="connsiteX29" fmla="*/ 359 w 2093"/>
                      <a:gd name="connsiteY29" fmla="*/ 1375 h 3588"/>
                      <a:gd name="connsiteX30" fmla="*/ 598 w 2093"/>
                      <a:gd name="connsiteY30" fmla="*/ 957 h 3588"/>
                      <a:gd name="connsiteX31" fmla="*/ 718 w 2093"/>
                      <a:gd name="connsiteY31" fmla="*/ 778 h 3588"/>
                      <a:gd name="connsiteX32" fmla="*/ 837 w 2093"/>
                      <a:gd name="connsiteY32" fmla="*/ 598 h 3588"/>
                      <a:gd name="connsiteX33" fmla="*/ 1136 w 2093"/>
                      <a:gd name="connsiteY33" fmla="*/ 299 h 3588"/>
                      <a:gd name="connsiteX34" fmla="*/ 1316 w 2093"/>
                      <a:gd name="connsiteY34" fmla="*/ 180 h 3588"/>
                      <a:gd name="connsiteX35" fmla="*/ 1375 w 2093"/>
                      <a:gd name="connsiteY35" fmla="*/ 120 h 3588"/>
                      <a:gd name="connsiteX36" fmla="*/ 1495 w 2093"/>
                      <a:gd name="connsiteY36" fmla="*/ 60 h 3588"/>
                      <a:gd name="connsiteX37" fmla="*/ 1495 w 2093"/>
                      <a:gd name="connsiteY37" fmla="*/ 60 h 3588"/>
                      <a:gd name="connsiteX38" fmla="*/ 1615 w 2093"/>
                      <a:gd name="connsiteY38" fmla="*/ 0 h 3588"/>
                      <a:gd name="connsiteX39" fmla="*/ 1674 w 2093"/>
                      <a:gd name="connsiteY39" fmla="*/ 0 h 3588"/>
                      <a:gd name="connsiteX40" fmla="*/ 1794 w 2093"/>
                      <a:gd name="connsiteY40" fmla="*/ 120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093" h="3588">
                        <a:moveTo>
                          <a:pt x="1794" y="120"/>
                        </a:moveTo>
                        <a:lnTo>
                          <a:pt x="1914" y="239"/>
                        </a:lnTo>
                        <a:lnTo>
                          <a:pt x="1973" y="299"/>
                        </a:lnTo>
                        <a:lnTo>
                          <a:pt x="2033" y="419"/>
                        </a:lnTo>
                        <a:lnTo>
                          <a:pt x="2093" y="598"/>
                        </a:lnTo>
                        <a:lnTo>
                          <a:pt x="2093" y="658"/>
                        </a:lnTo>
                        <a:lnTo>
                          <a:pt x="2093" y="778"/>
                        </a:lnTo>
                        <a:lnTo>
                          <a:pt x="2093" y="957"/>
                        </a:lnTo>
                        <a:lnTo>
                          <a:pt x="2033" y="1375"/>
                        </a:lnTo>
                        <a:lnTo>
                          <a:pt x="1914" y="1794"/>
                        </a:lnTo>
                        <a:lnTo>
                          <a:pt x="1734" y="2273"/>
                        </a:lnTo>
                        <a:lnTo>
                          <a:pt x="1495" y="2691"/>
                        </a:lnTo>
                        <a:lnTo>
                          <a:pt x="1196" y="3050"/>
                        </a:lnTo>
                        <a:lnTo>
                          <a:pt x="1196" y="3110"/>
                        </a:lnTo>
                        <a:lnTo>
                          <a:pt x="957" y="3349"/>
                        </a:lnTo>
                        <a:lnTo>
                          <a:pt x="658" y="3529"/>
                        </a:lnTo>
                        <a:lnTo>
                          <a:pt x="418" y="3589"/>
                        </a:lnTo>
                        <a:lnTo>
                          <a:pt x="239" y="3529"/>
                        </a:lnTo>
                        <a:lnTo>
                          <a:pt x="60" y="3349"/>
                        </a:lnTo>
                        <a:lnTo>
                          <a:pt x="60" y="3229"/>
                        </a:lnTo>
                        <a:lnTo>
                          <a:pt x="0" y="3050"/>
                        </a:lnTo>
                        <a:lnTo>
                          <a:pt x="0" y="2871"/>
                        </a:lnTo>
                        <a:lnTo>
                          <a:pt x="0" y="2691"/>
                        </a:lnTo>
                        <a:lnTo>
                          <a:pt x="60" y="2452"/>
                        </a:lnTo>
                        <a:lnTo>
                          <a:pt x="60" y="2333"/>
                        </a:lnTo>
                        <a:lnTo>
                          <a:pt x="60" y="2273"/>
                        </a:lnTo>
                        <a:lnTo>
                          <a:pt x="119" y="2093"/>
                        </a:lnTo>
                        <a:lnTo>
                          <a:pt x="119" y="2034"/>
                        </a:lnTo>
                        <a:lnTo>
                          <a:pt x="179" y="1854"/>
                        </a:lnTo>
                        <a:lnTo>
                          <a:pt x="359" y="1375"/>
                        </a:lnTo>
                        <a:lnTo>
                          <a:pt x="598" y="957"/>
                        </a:lnTo>
                        <a:lnTo>
                          <a:pt x="718" y="778"/>
                        </a:lnTo>
                        <a:lnTo>
                          <a:pt x="837" y="598"/>
                        </a:lnTo>
                        <a:lnTo>
                          <a:pt x="1136" y="299"/>
                        </a:lnTo>
                        <a:lnTo>
                          <a:pt x="1316" y="180"/>
                        </a:lnTo>
                        <a:lnTo>
                          <a:pt x="1375" y="120"/>
                        </a:lnTo>
                        <a:lnTo>
                          <a:pt x="1495" y="60"/>
                        </a:lnTo>
                        <a:lnTo>
                          <a:pt x="1495" y="60"/>
                        </a:lnTo>
                        <a:lnTo>
                          <a:pt x="1615" y="0"/>
                        </a:lnTo>
                        <a:lnTo>
                          <a:pt x="1674" y="0"/>
                        </a:lnTo>
                        <a:lnTo>
                          <a:pt x="1794" y="120"/>
                        </a:lnTo>
                      </a:path>
                    </a:pathLst>
                  </a:custGeom>
                  <a:noFill/>
                  <a:ln w="6350" cap="flat">
                    <a:solidFill>
                      <a:schemeClr val="bg1">
                        <a:alpha val="40000"/>
                      </a:schemeClr>
                    </a:solidFill>
                    <a:prstDash val="solid"/>
                    <a:miter/>
                  </a:ln>
                </p:spPr>
                <p:txBody>
                  <a:bodyPr rtlCol="0" anchor="ctr"/>
                  <a:lstStyle/>
                  <a:p>
                    <a:endParaRPr lang="en-GB"/>
                  </a:p>
                </p:txBody>
              </p:sp>
              <p:sp>
                <p:nvSpPr>
                  <p:cNvPr id="7736" name="Vrije vorm: vorm 7735">
                    <a:extLst>
                      <a:ext uri="{FF2B5EF4-FFF2-40B4-BE49-F238E27FC236}">
                        <a16:creationId xmlns:a16="http://schemas.microsoft.com/office/drawing/2014/main" id="{F88F1200-5660-4F14-828E-E2C3FB170CBB}"/>
                      </a:ext>
                    </a:extLst>
                  </p:cNvPr>
                  <p:cNvSpPr/>
                  <p:nvPr/>
                </p:nvSpPr>
                <p:spPr>
                  <a:xfrm>
                    <a:off x="5768306" y="5207454"/>
                    <a:ext cx="597" cy="1375"/>
                  </a:xfrm>
                  <a:custGeom>
                    <a:avLst/>
                    <a:gdLst>
                      <a:gd name="connsiteX0" fmla="*/ 0 w 597"/>
                      <a:gd name="connsiteY0" fmla="*/ 1375 h 1375"/>
                      <a:gd name="connsiteX1" fmla="*/ 119 w 597"/>
                      <a:gd name="connsiteY1" fmla="*/ 1196 h 1375"/>
                      <a:gd name="connsiteX2" fmla="*/ 359 w 597"/>
                      <a:gd name="connsiteY2" fmla="*/ 778 h 1375"/>
                      <a:gd name="connsiteX3" fmla="*/ 538 w 597"/>
                      <a:gd name="connsiteY3" fmla="*/ 299 h 1375"/>
                      <a:gd name="connsiteX4" fmla="*/ 598 w 597"/>
                      <a:gd name="connsiteY4" fmla="*/ 0 h 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 h="1375">
                        <a:moveTo>
                          <a:pt x="0" y="1375"/>
                        </a:moveTo>
                        <a:lnTo>
                          <a:pt x="119" y="1196"/>
                        </a:lnTo>
                        <a:lnTo>
                          <a:pt x="359" y="778"/>
                        </a:lnTo>
                        <a:lnTo>
                          <a:pt x="538" y="299"/>
                        </a:lnTo>
                        <a:lnTo>
                          <a:pt x="598" y="0"/>
                        </a:lnTo>
                      </a:path>
                    </a:pathLst>
                  </a:custGeom>
                  <a:noFill/>
                  <a:ln w="6350" cap="flat">
                    <a:solidFill>
                      <a:schemeClr val="bg1">
                        <a:alpha val="40000"/>
                      </a:schemeClr>
                    </a:solidFill>
                    <a:prstDash val="solid"/>
                    <a:miter/>
                  </a:ln>
                </p:spPr>
                <p:txBody>
                  <a:bodyPr rtlCol="0" anchor="ctr"/>
                  <a:lstStyle/>
                  <a:p>
                    <a:endParaRPr lang="en-GB"/>
                  </a:p>
                </p:txBody>
              </p:sp>
              <p:sp>
                <p:nvSpPr>
                  <p:cNvPr id="7737" name="Vrije vorm: vorm 7736">
                    <a:extLst>
                      <a:ext uri="{FF2B5EF4-FFF2-40B4-BE49-F238E27FC236}">
                        <a16:creationId xmlns:a16="http://schemas.microsoft.com/office/drawing/2014/main" id="{D9B79391-5A43-4F18-BA19-2D664C4EF2B8}"/>
                      </a:ext>
                    </a:extLst>
                  </p:cNvPr>
                  <p:cNvSpPr/>
                  <p:nvPr/>
                </p:nvSpPr>
                <p:spPr>
                  <a:xfrm>
                    <a:off x="5789239" y="5247166"/>
                    <a:ext cx="1794" cy="2451"/>
                  </a:xfrm>
                  <a:custGeom>
                    <a:avLst/>
                    <a:gdLst>
                      <a:gd name="connsiteX0" fmla="*/ 1076 w 1794"/>
                      <a:gd name="connsiteY0" fmla="*/ 0 h 2451"/>
                      <a:gd name="connsiteX1" fmla="*/ 1674 w 1794"/>
                      <a:gd name="connsiteY1" fmla="*/ 299 h 2451"/>
                      <a:gd name="connsiteX2" fmla="*/ 1734 w 1794"/>
                      <a:gd name="connsiteY2" fmla="*/ 359 h 2451"/>
                      <a:gd name="connsiteX3" fmla="*/ 1734 w 1794"/>
                      <a:gd name="connsiteY3" fmla="*/ 359 h 2451"/>
                      <a:gd name="connsiteX4" fmla="*/ 1734 w 1794"/>
                      <a:gd name="connsiteY4" fmla="*/ 359 h 2451"/>
                      <a:gd name="connsiteX5" fmla="*/ 1794 w 1794"/>
                      <a:gd name="connsiteY5" fmla="*/ 538 h 2451"/>
                      <a:gd name="connsiteX6" fmla="*/ 1794 w 1794"/>
                      <a:gd name="connsiteY6" fmla="*/ 718 h 2451"/>
                      <a:gd name="connsiteX7" fmla="*/ 1794 w 1794"/>
                      <a:gd name="connsiteY7" fmla="*/ 837 h 2451"/>
                      <a:gd name="connsiteX8" fmla="*/ 1794 w 1794"/>
                      <a:gd name="connsiteY8" fmla="*/ 1017 h 2451"/>
                      <a:gd name="connsiteX9" fmla="*/ 1734 w 1794"/>
                      <a:gd name="connsiteY9" fmla="*/ 1316 h 2451"/>
                      <a:gd name="connsiteX10" fmla="*/ 1615 w 1794"/>
                      <a:gd name="connsiteY10" fmla="*/ 1615 h 2451"/>
                      <a:gd name="connsiteX11" fmla="*/ 1435 w 1794"/>
                      <a:gd name="connsiteY11" fmla="*/ 1854 h 2451"/>
                      <a:gd name="connsiteX12" fmla="*/ 1256 w 1794"/>
                      <a:gd name="connsiteY12" fmla="*/ 2093 h 2451"/>
                      <a:gd name="connsiteX13" fmla="*/ 1076 w 1794"/>
                      <a:gd name="connsiteY13" fmla="*/ 2273 h 2451"/>
                      <a:gd name="connsiteX14" fmla="*/ 897 w 1794"/>
                      <a:gd name="connsiteY14" fmla="*/ 2392 h 2451"/>
                      <a:gd name="connsiteX15" fmla="*/ 718 w 1794"/>
                      <a:gd name="connsiteY15" fmla="*/ 2452 h 2451"/>
                      <a:gd name="connsiteX16" fmla="*/ 598 w 1794"/>
                      <a:gd name="connsiteY16" fmla="*/ 2452 h 2451"/>
                      <a:gd name="connsiteX17" fmla="*/ 239 w 1794"/>
                      <a:gd name="connsiteY17" fmla="*/ 2273 h 2451"/>
                      <a:gd name="connsiteX18" fmla="*/ 0 w 1794"/>
                      <a:gd name="connsiteY18" fmla="*/ 2153 h 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94" h="2451">
                        <a:moveTo>
                          <a:pt x="1076" y="0"/>
                        </a:moveTo>
                        <a:lnTo>
                          <a:pt x="1674" y="299"/>
                        </a:lnTo>
                        <a:lnTo>
                          <a:pt x="1734" y="359"/>
                        </a:lnTo>
                        <a:lnTo>
                          <a:pt x="1734" y="359"/>
                        </a:lnTo>
                        <a:lnTo>
                          <a:pt x="1734" y="359"/>
                        </a:lnTo>
                        <a:lnTo>
                          <a:pt x="1794" y="538"/>
                        </a:lnTo>
                        <a:lnTo>
                          <a:pt x="1794" y="718"/>
                        </a:lnTo>
                        <a:lnTo>
                          <a:pt x="1794" y="837"/>
                        </a:lnTo>
                        <a:lnTo>
                          <a:pt x="1794" y="1017"/>
                        </a:lnTo>
                        <a:lnTo>
                          <a:pt x="1734" y="1316"/>
                        </a:lnTo>
                        <a:lnTo>
                          <a:pt x="1615" y="1615"/>
                        </a:lnTo>
                        <a:lnTo>
                          <a:pt x="1435" y="1854"/>
                        </a:lnTo>
                        <a:lnTo>
                          <a:pt x="1256" y="2093"/>
                        </a:lnTo>
                        <a:lnTo>
                          <a:pt x="1076" y="2273"/>
                        </a:lnTo>
                        <a:lnTo>
                          <a:pt x="897" y="2392"/>
                        </a:lnTo>
                        <a:lnTo>
                          <a:pt x="718" y="2452"/>
                        </a:lnTo>
                        <a:lnTo>
                          <a:pt x="598" y="2452"/>
                        </a:lnTo>
                        <a:lnTo>
                          <a:pt x="239" y="2273"/>
                        </a:lnTo>
                        <a:lnTo>
                          <a:pt x="0" y="2153"/>
                        </a:lnTo>
                      </a:path>
                    </a:pathLst>
                  </a:custGeom>
                  <a:noFill/>
                  <a:ln w="6350" cap="flat">
                    <a:solidFill>
                      <a:schemeClr val="bg1">
                        <a:alpha val="40000"/>
                      </a:schemeClr>
                    </a:solidFill>
                    <a:prstDash val="solid"/>
                    <a:miter/>
                  </a:ln>
                </p:spPr>
                <p:txBody>
                  <a:bodyPr rtlCol="0" anchor="ctr"/>
                  <a:lstStyle/>
                  <a:p>
                    <a:endParaRPr lang="en-GB"/>
                  </a:p>
                </p:txBody>
              </p:sp>
              <p:sp>
                <p:nvSpPr>
                  <p:cNvPr id="7738" name="Vrije vorm: vorm 7737">
                    <a:extLst>
                      <a:ext uri="{FF2B5EF4-FFF2-40B4-BE49-F238E27FC236}">
                        <a16:creationId xmlns:a16="http://schemas.microsoft.com/office/drawing/2014/main" id="{A6F942F0-2E79-4B5A-8824-324AE3D031FE}"/>
                      </a:ext>
                    </a:extLst>
                  </p:cNvPr>
                  <p:cNvSpPr/>
                  <p:nvPr/>
                </p:nvSpPr>
                <p:spPr>
                  <a:xfrm>
                    <a:off x="5789777" y="5247465"/>
                    <a:ext cx="1196" cy="2093"/>
                  </a:xfrm>
                  <a:custGeom>
                    <a:avLst/>
                    <a:gdLst>
                      <a:gd name="connsiteX0" fmla="*/ 1196 w 1196"/>
                      <a:gd name="connsiteY0" fmla="*/ 0 h 2093"/>
                      <a:gd name="connsiteX1" fmla="*/ 1076 w 1196"/>
                      <a:gd name="connsiteY1" fmla="*/ 0 h 2093"/>
                      <a:gd name="connsiteX2" fmla="*/ 897 w 1196"/>
                      <a:gd name="connsiteY2" fmla="*/ 60 h 2093"/>
                      <a:gd name="connsiteX3" fmla="*/ 718 w 1196"/>
                      <a:gd name="connsiteY3" fmla="*/ 180 h 2093"/>
                      <a:gd name="connsiteX4" fmla="*/ 658 w 1196"/>
                      <a:gd name="connsiteY4" fmla="*/ 239 h 2093"/>
                      <a:gd name="connsiteX5" fmla="*/ 538 w 1196"/>
                      <a:gd name="connsiteY5" fmla="*/ 359 h 2093"/>
                      <a:gd name="connsiteX6" fmla="*/ 359 w 1196"/>
                      <a:gd name="connsiteY6" fmla="*/ 598 h 2093"/>
                      <a:gd name="connsiteX7" fmla="*/ 180 w 1196"/>
                      <a:gd name="connsiteY7" fmla="*/ 837 h 2093"/>
                      <a:gd name="connsiteX8" fmla="*/ 60 w 1196"/>
                      <a:gd name="connsiteY8" fmla="*/ 1136 h 2093"/>
                      <a:gd name="connsiteX9" fmla="*/ 0 w 1196"/>
                      <a:gd name="connsiteY9" fmla="*/ 1435 h 2093"/>
                      <a:gd name="connsiteX10" fmla="*/ 0 w 1196"/>
                      <a:gd name="connsiteY10" fmla="*/ 1615 h 2093"/>
                      <a:gd name="connsiteX11" fmla="*/ 0 w 1196"/>
                      <a:gd name="connsiteY11" fmla="*/ 1675 h 2093"/>
                      <a:gd name="connsiteX12" fmla="*/ 0 w 1196"/>
                      <a:gd name="connsiteY12" fmla="*/ 1675 h 2093"/>
                      <a:gd name="connsiteX13" fmla="*/ 0 w 1196"/>
                      <a:gd name="connsiteY13" fmla="*/ 1854 h 2093"/>
                      <a:gd name="connsiteX14" fmla="*/ 60 w 1196"/>
                      <a:gd name="connsiteY14" fmla="*/ 2034 h 2093"/>
                      <a:gd name="connsiteX15" fmla="*/ 180 w 1196"/>
                      <a:gd name="connsiteY15" fmla="*/ 2093 h 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6" h="2093">
                        <a:moveTo>
                          <a:pt x="1196" y="0"/>
                        </a:moveTo>
                        <a:lnTo>
                          <a:pt x="1076" y="0"/>
                        </a:lnTo>
                        <a:lnTo>
                          <a:pt x="897" y="60"/>
                        </a:lnTo>
                        <a:lnTo>
                          <a:pt x="718" y="180"/>
                        </a:lnTo>
                        <a:lnTo>
                          <a:pt x="658" y="239"/>
                        </a:lnTo>
                        <a:lnTo>
                          <a:pt x="538" y="359"/>
                        </a:lnTo>
                        <a:lnTo>
                          <a:pt x="359" y="598"/>
                        </a:lnTo>
                        <a:lnTo>
                          <a:pt x="180" y="837"/>
                        </a:lnTo>
                        <a:lnTo>
                          <a:pt x="60" y="1136"/>
                        </a:lnTo>
                        <a:lnTo>
                          <a:pt x="0" y="1435"/>
                        </a:lnTo>
                        <a:lnTo>
                          <a:pt x="0" y="1615"/>
                        </a:lnTo>
                        <a:lnTo>
                          <a:pt x="0" y="1675"/>
                        </a:lnTo>
                        <a:lnTo>
                          <a:pt x="0" y="1675"/>
                        </a:lnTo>
                        <a:lnTo>
                          <a:pt x="0" y="1854"/>
                        </a:lnTo>
                        <a:lnTo>
                          <a:pt x="60" y="2034"/>
                        </a:lnTo>
                        <a:lnTo>
                          <a:pt x="180" y="2093"/>
                        </a:lnTo>
                      </a:path>
                    </a:pathLst>
                  </a:custGeom>
                  <a:noFill/>
                  <a:ln w="6350" cap="flat">
                    <a:solidFill>
                      <a:schemeClr val="bg1">
                        <a:alpha val="40000"/>
                      </a:schemeClr>
                    </a:solidFill>
                    <a:prstDash val="solid"/>
                    <a:miter/>
                  </a:ln>
                </p:spPr>
                <p:txBody>
                  <a:bodyPr rtlCol="0" anchor="ctr"/>
                  <a:lstStyle/>
                  <a:p>
                    <a:endParaRPr lang="en-GB"/>
                  </a:p>
                </p:txBody>
              </p:sp>
              <p:sp>
                <p:nvSpPr>
                  <p:cNvPr id="7739" name="Vrije vorm: vorm 7738">
                    <a:extLst>
                      <a:ext uri="{FF2B5EF4-FFF2-40B4-BE49-F238E27FC236}">
                        <a16:creationId xmlns:a16="http://schemas.microsoft.com/office/drawing/2014/main" id="{06FFCEE0-96DE-48B0-9A45-933B2FE34D74}"/>
                      </a:ext>
                    </a:extLst>
                  </p:cNvPr>
                  <p:cNvSpPr/>
                  <p:nvPr/>
                </p:nvSpPr>
                <p:spPr>
                  <a:xfrm>
                    <a:off x="5797074" y="5238494"/>
                    <a:ext cx="1315" cy="1854"/>
                  </a:xfrm>
                  <a:custGeom>
                    <a:avLst/>
                    <a:gdLst>
                      <a:gd name="connsiteX0" fmla="*/ 0 w 1315"/>
                      <a:gd name="connsiteY0" fmla="*/ 1435 h 1854"/>
                      <a:gd name="connsiteX1" fmla="*/ 0 w 1315"/>
                      <a:gd name="connsiteY1" fmla="*/ 1435 h 1854"/>
                      <a:gd name="connsiteX2" fmla="*/ 119 w 1315"/>
                      <a:gd name="connsiteY2" fmla="*/ 1136 h 1854"/>
                      <a:gd name="connsiteX3" fmla="*/ 239 w 1315"/>
                      <a:gd name="connsiteY3" fmla="*/ 837 h 1854"/>
                      <a:gd name="connsiteX4" fmla="*/ 418 w 1315"/>
                      <a:gd name="connsiteY4" fmla="*/ 598 h 1854"/>
                      <a:gd name="connsiteX5" fmla="*/ 418 w 1315"/>
                      <a:gd name="connsiteY5" fmla="*/ 538 h 1854"/>
                      <a:gd name="connsiteX6" fmla="*/ 538 w 1315"/>
                      <a:gd name="connsiteY6" fmla="*/ 359 h 1854"/>
                      <a:gd name="connsiteX7" fmla="*/ 658 w 1315"/>
                      <a:gd name="connsiteY7" fmla="*/ 239 h 1854"/>
                      <a:gd name="connsiteX8" fmla="*/ 718 w 1315"/>
                      <a:gd name="connsiteY8" fmla="*/ 180 h 1854"/>
                      <a:gd name="connsiteX9" fmla="*/ 897 w 1315"/>
                      <a:gd name="connsiteY9" fmla="*/ 60 h 1854"/>
                      <a:gd name="connsiteX10" fmla="*/ 1076 w 1315"/>
                      <a:gd name="connsiteY10" fmla="*/ 0 h 1854"/>
                      <a:gd name="connsiteX11" fmla="*/ 1196 w 1315"/>
                      <a:gd name="connsiteY11" fmla="*/ 0 h 1854"/>
                      <a:gd name="connsiteX12" fmla="*/ 1256 w 1315"/>
                      <a:gd name="connsiteY12" fmla="*/ 60 h 1854"/>
                      <a:gd name="connsiteX13" fmla="*/ 1256 w 1315"/>
                      <a:gd name="connsiteY13" fmla="*/ 60 h 1854"/>
                      <a:gd name="connsiteX14" fmla="*/ 1316 w 1315"/>
                      <a:gd name="connsiteY14" fmla="*/ 239 h 1854"/>
                      <a:gd name="connsiteX15" fmla="*/ 1316 w 1315"/>
                      <a:gd name="connsiteY15" fmla="*/ 479 h 1854"/>
                      <a:gd name="connsiteX16" fmla="*/ 1316 w 1315"/>
                      <a:gd name="connsiteY16" fmla="*/ 538 h 1854"/>
                      <a:gd name="connsiteX17" fmla="*/ 1256 w 1315"/>
                      <a:gd name="connsiteY17" fmla="*/ 778 h 1854"/>
                      <a:gd name="connsiteX18" fmla="*/ 1196 w 1315"/>
                      <a:gd name="connsiteY18" fmla="*/ 1017 h 1854"/>
                      <a:gd name="connsiteX19" fmla="*/ 1196 w 1315"/>
                      <a:gd name="connsiteY19" fmla="*/ 1076 h 1854"/>
                      <a:gd name="connsiteX20" fmla="*/ 1076 w 1315"/>
                      <a:gd name="connsiteY20" fmla="*/ 1375 h 1854"/>
                      <a:gd name="connsiteX21" fmla="*/ 957 w 1315"/>
                      <a:gd name="connsiteY21" fmla="*/ 1615 h 1854"/>
                      <a:gd name="connsiteX22" fmla="*/ 897 w 1315"/>
                      <a:gd name="connsiteY22" fmla="*/ 1675 h 1854"/>
                      <a:gd name="connsiteX23" fmla="*/ 897 w 1315"/>
                      <a:gd name="connsiteY23" fmla="*/ 1675 h 1854"/>
                      <a:gd name="connsiteX24" fmla="*/ 777 w 1315"/>
                      <a:gd name="connsiteY24" fmla="*/ 1854 h 1854"/>
                      <a:gd name="connsiteX25" fmla="*/ 777 w 1315"/>
                      <a:gd name="connsiteY25"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15" h="1854">
                        <a:moveTo>
                          <a:pt x="0" y="1435"/>
                        </a:moveTo>
                        <a:lnTo>
                          <a:pt x="0" y="1435"/>
                        </a:lnTo>
                        <a:lnTo>
                          <a:pt x="119" y="1136"/>
                        </a:lnTo>
                        <a:lnTo>
                          <a:pt x="239" y="837"/>
                        </a:lnTo>
                        <a:lnTo>
                          <a:pt x="418" y="598"/>
                        </a:lnTo>
                        <a:lnTo>
                          <a:pt x="418" y="538"/>
                        </a:lnTo>
                        <a:lnTo>
                          <a:pt x="538" y="359"/>
                        </a:lnTo>
                        <a:lnTo>
                          <a:pt x="658" y="239"/>
                        </a:lnTo>
                        <a:lnTo>
                          <a:pt x="718" y="180"/>
                        </a:lnTo>
                        <a:lnTo>
                          <a:pt x="897" y="60"/>
                        </a:lnTo>
                        <a:lnTo>
                          <a:pt x="1076" y="0"/>
                        </a:lnTo>
                        <a:lnTo>
                          <a:pt x="1196" y="0"/>
                        </a:lnTo>
                        <a:lnTo>
                          <a:pt x="1256" y="60"/>
                        </a:lnTo>
                        <a:lnTo>
                          <a:pt x="1256" y="60"/>
                        </a:lnTo>
                        <a:lnTo>
                          <a:pt x="1316" y="239"/>
                        </a:lnTo>
                        <a:lnTo>
                          <a:pt x="1316" y="479"/>
                        </a:lnTo>
                        <a:lnTo>
                          <a:pt x="1316" y="538"/>
                        </a:lnTo>
                        <a:lnTo>
                          <a:pt x="1256" y="778"/>
                        </a:lnTo>
                        <a:lnTo>
                          <a:pt x="1196" y="1017"/>
                        </a:lnTo>
                        <a:lnTo>
                          <a:pt x="1196" y="1076"/>
                        </a:lnTo>
                        <a:lnTo>
                          <a:pt x="1076" y="1375"/>
                        </a:lnTo>
                        <a:lnTo>
                          <a:pt x="957" y="1615"/>
                        </a:lnTo>
                        <a:lnTo>
                          <a:pt x="897" y="1675"/>
                        </a:lnTo>
                        <a:lnTo>
                          <a:pt x="897" y="1675"/>
                        </a:lnTo>
                        <a:lnTo>
                          <a:pt x="777" y="1854"/>
                        </a:lnTo>
                        <a:lnTo>
                          <a:pt x="777" y="1854"/>
                        </a:lnTo>
                      </a:path>
                    </a:pathLst>
                  </a:custGeom>
                  <a:noFill/>
                  <a:ln w="6350" cap="flat">
                    <a:solidFill>
                      <a:schemeClr val="bg1">
                        <a:alpha val="40000"/>
                      </a:schemeClr>
                    </a:solidFill>
                    <a:prstDash val="solid"/>
                    <a:miter/>
                  </a:ln>
                </p:spPr>
                <p:txBody>
                  <a:bodyPr rtlCol="0" anchor="ctr"/>
                  <a:lstStyle/>
                  <a:p>
                    <a:endParaRPr lang="en-GB"/>
                  </a:p>
                </p:txBody>
              </p:sp>
              <p:sp>
                <p:nvSpPr>
                  <p:cNvPr id="7740" name="Vrije vorm: vorm 7739">
                    <a:extLst>
                      <a:ext uri="{FF2B5EF4-FFF2-40B4-BE49-F238E27FC236}">
                        <a16:creationId xmlns:a16="http://schemas.microsoft.com/office/drawing/2014/main" id="{44775567-F3A5-41DA-9DAC-F58ED72D9C27}"/>
                      </a:ext>
                    </a:extLst>
                  </p:cNvPr>
                  <p:cNvSpPr/>
                  <p:nvPr/>
                </p:nvSpPr>
                <p:spPr>
                  <a:xfrm>
                    <a:off x="5795638" y="5242142"/>
                    <a:ext cx="59" cy="298"/>
                  </a:xfrm>
                  <a:custGeom>
                    <a:avLst/>
                    <a:gdLst>
                      <a:gd name="connsiteX0" fmla="*/ 60 w 59"/>
                      <a:gd name="connsiteY0" fmla="*/ 299 h 298"/>
                      <a:gd name="connsiteX1" fmla="*/ 0 w 59"/>
                      <a:gd name="connsiteY1" fmla="*/ 0 h 298"/>
                    </a:gdLst>
                    <a:ahLst/>
                    <a:cxnLst>
                      <a:cxn ang="0">
                        <a:pos x="connsiteX0" y="connsiteY0"/>
                      </a:cxn>
                      <a:cxn ang="0">
                        <a:pos x="connsiteX1" y="connsiteY1"/>
                      </a:cxn>
                    </a:cxnLst>
                    <a:rect l="l" t="t" r="r" b="b"/>
                    <a:pathLst>
                      <a:path w="59" h="298">
                        <a:moveTo>
                          <a:pt x="60" y="299"/>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41" name="Vrije vorm: vorm 7740">
                    <a:extLst>
                      <a:ext uri="{FF2B5EF4-FFF2-40B4-BE49-F238E27FC236}">
                        <a16:creationId xmlns:a16="http://schemas.microsoft.com/office/drawing/2014/main" id="{5685C4FC-1729-4E61-A029-9DC12FEBE1D0}"/>
                      </a:ext>
                    </a:extLst>
                  </p:cNvPr>
                  <p:cNvSpPr/>
                  <p:nvPr/>
                </p:nvSpPr>
                <p:spPr>
                  <a:xfrm>
                    <a:off x="5797612" y="5238195"/>
                    <a:ext cx="598" cy="298"/>
                  </a:xfrm>
                  <a:custGeom>
                    <a:avLst/>
                    <a:gdLst>
                      <a:gd name="connsiteX0" fmla="*/ 0 w 598"/>
                      <a:gd name="connsiteY0" fmla="*/ 0 h 298"/>
                      <a:gd name="connsiteX1" fmla="*/ 598 w 598"/>
                      <a:gd name="connsiteY1" fmla="*/ 299 h 298"/>
                    </a:gdLst>
                    <a:ahLst/>
                    <a:cxnLst>
                      <a:cxn ang="0">
                        <a:pos x="connsiteX0" y="connsiteY0"/>
                      </a:cxn>
                      <a:cxn ang="0">
                        <a:pos x="connsiteX1" y="connsiteY1"/>
                      </a:cxn>
                    </a:cxnLst>
                    <a:rect l="l" t="t" r="r" b="b"/>
                    <a:pathLst>
                      <a:path w="598" h="298">
                        <a:moveTo>
                          <a:pt x="0" y="0"/>
                        </a:moveTo>
                        <a:lnTo>
                          <a:pt x="598" y="299"/>
                        </a:lnTo>
                      </a:path>
                    </a:pathLst>
                  </a:custGeom>
                  <a:noFill/>
                  <a:ln w="6350" cap="flat">
                    <a:solidFill>
                      <a:schemeClr val="bg1">
                        <a:alpha val="40000"/>
                      </a:schemeClr>
                    </a:solidFill>
                    <a:prstDash val="solid"/>
                    <a:miter/>
                  </a:ln>
                </p:spPr>
                <p:txBody>
                  <a:bodyPr rtlCol="0" anchor="ctr"/>
                  <a:lstStyle/>
                  <a:p>
                    <a:endParaRPr lang="en-GB"/>
                  </a:p>
                </p:txBody>
              </p:sp>
              <p:sp>
                <p:nvSpPr>
                  <p:cNvPr id="7742" name="Vrije vorm: vorm 7741">
                    <a:extLst>
                      <a:ext uri="{FF2B5EF4-FFF2-40B4-BE49-F238E27FC236}">
                        <a16:creationId xmlns:a16="http://schemas.microsoft.com/office/drawing/2014/main" id="{44C7FA19-FE84-44FB-B08B-F9E56A762258}"/>
                      </a:ext>
                    </a:extLst>
                  </p:cNvPr>
                  <p:cNvSpPr/>
                  <p:nvPr/>
                </p:nvSpPr>
                <p:spPr>
                  <a:xfrm>
                    <a:off x="5796475" y="5301172"/>
                    <a:ext cx="239" cy="1315"/>
                  </a:xfrm>
                  <a:custGeom>
                    <a:avLst/>
                    <a:gdLst>
                      <a:gd name="connsiteX0" fmla="*/ 239 w 239"/>
                      <a:gd name="connsiteY0" fmla="*/ 1316 h 1315"/>
                      <a:gd name="connsiteX1" fmla="*/ 0 w 239"/>
                      <a:gd name="connsiteY1" fmla="*/ 0 h 1315"/>
                    </a:gdLst>
                    <a:ahLst/>
                    <a:cxnLst>
                      <a:cxn ang="0">
                        <a:pos x="connsiteX0" y="connsiteY0"/>
                      </a:cxn>
                      <a:cxn ang="0">
                        <a:pos x="connsiteX1" y="connsiteY1"/>
                      </a:cxn>
                    </a:cxnLst>
                    <a:rect l="l" t="t" r="r" b="b"/>
                    <a:pathLst>
                      <a:path w="239" h="1315">
                        <a:moveTo>
                          <a:pt x="239" y="1316"/>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43" name="Vrije vorm: vorm 7742">
                    <a:extLst>
                      <a:ext uri="{FF2B5EF4-FFF2-40B4-BE49-F238E27FC236}">
                        <a16:creationId xmlns:a16="http://schemas.microsoft.com/office/drawing/2014/main" id="{65BC2084-F4BA-4D5B-BD72-180FB714D056}"/>
                      </a:ext>
                    </a:extLst>
                  </p:cNvPr>
                  <p:cNvSpPr/>
                  <p:nvPr/>
                </p:nvSpPr>
                <p:spPr>
                  <a:xfrm>
                    <a:off x="5796715" y="5293936"/>
                    <a:ext cx="6698" cy="8851"/>
                  </a:xfrm>
                  <a:custGeom>
                    <a:avLst/>
                    <a:gdLst>
                      <a:gd name="connsiteX0" fmla="*/ 6698 w 6698"/>
                      <a:gd name="connsiteY0" fmla="*/ 0 h 8851"/>
                      <a:gd name="connsiteX1" fmla="*/ 5681 w 6698"/>
                      <a:gd name="connsiteY1" fmla="*/ 1316 h 8851"/>
                      <a:gd name="connsiteX2" fmla="*/ 3289 w 6698"/>
                      <a:gd name="connsiteY2" fmla="*/ 4366 h 8851"/>
                      <a:gd name="connsiteX3" fmla="*/ 897 w 6698"/>
                      <a:gd name="connsiteY3" fmla="*/ 7416 h 8851"/>
                      <a:gd name="connsiteX4" fmla="*/ 0 w 6698"/>
                      <a:gd name="connsiteY4" fmla="*/ 8552 h 8851"/>
                      <a:gd name="connsiteX5" fmla="*/ 598 w 6698"/>
                      <a:gd name="connsiteY5" fmla="*/ 8851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8" h="8851">
                        <a:moveTo>
                          <a:pt x="6698" y="0"/>
                        </a:moveTo>
                        <a:lnTo>
                          <a:pt x="5681" y="1316"/>
                        </a:lnTo>
                        <a:lnTo>
                          <a:pt x="3289" y="4366"/>
                        </a:lnTo>
                        <a:lnTo>
                          <a:pt x="897" y="7416"/>
                        </a:lnTo>
                        <a:lnTo>
                          <a:pt x="0" y="8552"/>
                        </a:lnTo>
                        <a:lnTo>
                          <a:pt x="598" y="8851"/>
                        </a:lnTo>
                      </a:path>
                    </a:pathLst>
                  </a:custGeom>
                  <a:noFill/>
                  <a:ln w="6350" cap="flat">
                    <a:solidFill>
                      <a:schemeClr val="bg1">
                        <a:alpha val="40000"/>
                      </a:schemeClr>
                    </a:solidFill>
                    <a:prstDash val="solid"/>
                    <a:miter/>
                  </a:ln>
                </p:spPr>
                <p:txBody>
                  <a:bodyPr rtlCol="0" anchor="ctr"/>
                  <a:lstStyle/>
                  <a:p>
                    <a:endParaRPr lang="en-GB"/>
                  </a:p>
                </p:txBody>
              </p:sp>
              <p:sp>
                <p:nvSpPr>
                  <p:cNvPr id="7744" name="Vrije vorm: vorm 7743">
                    <a:extLst>
                      <a:ext uri="{FF2B5EF4-FFF2-40B4-BE49-F238E27FC236}">
                        <a16:creationId xmlns:a16="http://schemas.microsoft.com/office/drawing/2014/main" id="{F220B827-697F-441B-B478-A5E1CB42D10F}"/>
                      </a:ext>
                    </a:extLst>
                  </p:cNvPr>
                  <p:cNvSpPr/>
                  <p:nvPr/>
                </p:nvSpPr>
                <p:spPr>
                  <a:xfrm>
                    <a:off x="5797313" y="5294175"/>
                    <a:ext cx="6638" cy="10825"/>
                  </a:xfrm>
                  <a:custGeom>
                    <a:avLst/>
                    <a:gdLst>
                      <a:gd name="connsiteX0" fmla="*/ 6639 w 6638"/>
                      <a:gd name="connsiteY0" fmla="*/ 0 h 10825"/>
                      <a:gd name="connsiteX1" fmla="*/ 5442 w 6638"/>
                      <a:gd name="connsiteY1" fmla="*/ 1555 h 10825"/>
                      <a:gd name="connsiteX2" fmla="*/ 3050 w 6638"/>
                      <a:gd name="connsiteY2" fmla="*/ 4605 h 10825"/>
                      <a:gd name="connsiteX3" fmla="*/ 658 w 6638"/>
                      <a:gd name="connsiteY3" fmla="*/ 7655 h 10825"/>
                      <a:gd name="connsiteX4" fmla="*/ 0 w 6638"/>
                      <a:gd name="connsiteY4" fmla="*/ 8552 h 10825"/>
                      <a:gd name="connsiteX5" fmla="*/ 299 w 6638"/>
                      <a:gd name="connsiteY5" fmla="*/ 9988 h 10825"/>
                      <a:gd name="connsiteX6" fmla="*/ 479 w 6638"/>
                      <a:gd name="connsiteY6" fmla="*/ 10825 h 1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38" h="10825">
                        <a:moveTo>
                          <a:pt x="6639" y="0"/>
                        </a:moveTo>
                        <a:lnTo>
                          <a:pt x="5442" y="1555"/>
                        </a:lnTo>
                        <a:lnTo>
                          <a:pt x="3050" y="4605"/>
                        </a:lnTo>
                        <a:lnTo>
                          <a:pt x="658" y="7655"/>
                        </a:lnTo>
                        <a:lnTo>
                          <a:pt x="0" y="8552"/>
                        </a:lnTo>
                        <a:lnTo>
                          <a:pt x="299" y="9988"/>
                        </a:lnTo>
                        <a:lnTo>
                          <a:pt x="479" y="10825"/>
                        </a:lnTo>
                      </a:path>
                    </a:pathLst>
                  </a:custGeom>
                  <a:noFill/>
                  <a:ln w="6350" cap="flat">
                    <a:solidFill>
                      <a:schemeClr val="bg1">
                        <a:alpha val="40000"/>
                      </a:schemeClr>
                    </a:solidFill>
                    <a:prstDash val="solid"/>
                    <a:miter/>
                  </a:ln>
                </p:spPr>
                <p:txBody>
                  <a:bodyPr rtlCol="0" anchor="ctr"/>
                  <a:lstStyle/>
                  <a:p>
                    <a:endParaRPr lang="en-GB"/>
                  </a:p>
                </p:txBody>
              </p:sp>
              <p:sp>
                <p:nvSpPr>
                  <p:cNvPr id="7745" name="Vrije vorm: vorm 7744">
                    <a:extLst>
                      <a:ext uri="{FF2B5EF4-FFF2-40B4-BE49-F238E27FC236}">
                        <a16:creationId xmlns:a16="http://schemas.microsoft.com/office/drawing/2014/main" id="{CE00A633-F604-4E82-A286-F8BE19C963ED}"/>
                      </a:ext>
                    </a:extLst>
                  </p:cNvPr>
                  <p:cNvSpPr/>
                  <p:nvPr/>
                </p:nvSpPr>
                <p:spPr>
                  <a:xfrm>
                    <a:off x="5797193" y="5304043"/>
                    <a:ext cx="1315" cy="1016"/>
                  </a:xfrm>
                  <a:custGeom>
                    <a:avLst/>
                    <a:gdLst>
                      <a:gd name="connsiteX0" fmla="*/ 1316 w 1315"/>
                      <a:gd name="connsiteY0" fmla="*/ 0 h 1016"/>
                      <a:gd name="connsiteX1" fmla="*/ 538 w 1315"/>
                      <a:gd name="connsiteY1" fmla="*/ 1017 h 1016"/>
                      <a:gd name="connsiteX2" fmla="*/ 0 w 1315"/>
                      <a:gd name="connsiteY2" fmla="*/ 718 h 1016"/>
                    </a:gdLst>
                    <a:ahLst/>
                    <a:cxnLst>
                      <a:cxn ang="0">
                        <a:pos x="connsiteX0" y="connsiteY0"/>
                      </a:cxn>
                      <a:cxn ang="0">
                        <a:pos x="connsiteX1" y="connsiteY1"/>
                      </a:cxn>
                      <a:cxn ang="0">
                        <a:pos x="connsiteX2" y="connsiteY2"/>
                      </a:cxn>
                    </a:cxnLst>
                    <a:rect l="l" t="t" r="r" b="b"/>
                    <a:pathLst>
                      <a:path w="1315" h="1016">
                        <a:moveTo>
                          <a:pt x="1316" y="0"/>
                        </a:moveTo>
                        <a:lnTo>
                          <a:pt x="538" y="1017"/>
                        </a:lnTo>
                        <a:lnTo>
                          <a:pt x="0" y="718"/>
                        </a:lnTo>
                      </a:path>
                    </a:pathLst>
                  </a:custGeom>
                  <a:noFill/>
                  <a:ln w="6350" cap="flat">
                    <a:solidFill>
                      <a:schemeClr val="bg1">
                        <a:alpha val="40000"/>
                      </a:schemeClr>
                    </a:solidFill>
                    <a:prstDash val="solid"/>
                    <a:miter/>
                  </a:ln>
                </p:spPr>
                <p:txBody>
                  <a:bodyPr rtlCol="0" anchor="ctr"/>
                  <a:lstStyle/>
                  <a:p>
                    <a:endParaRPr lang="en-GB"/>
                  </a:p>
                </p:txBody>
              </p:sp>
              <p:sp>
                <p:nvSpPr>
                  <p:cNvPr id="7746" name="Vrije vorm: vorm 7745">
                    <a:extLst>
                      <a:ext uri="{FF2B5EF4-FFF2-40B4-BE49-F238E27FC236}">
                        <a16:creationId xmlns:a16="http://schemas.microsoft.com/office/drawing/2014/main" id="{7C8419D2-0E5E-4046-932A-436E04C2A93D}"/>
                      </a:ext>
                    </a:extLst>
                  </p:cNvPr>
                  <p:cNvSpPr/>
                  <p:nvPr/>
                </p:nvSpPr>
                <p:spPr>
                  <a:xfrm>
                    <a:off x="5796116" y="5304222"/>
                    <a:ext cx="1435" cy="2152"/>
                  </a:xfrm>
                  <a:custGeom>
                    <a:avLst/>
                    <a:gdLst>
                      <a:gd name="connsiteX0" fmla="*/ 1076 w 1435"/>
                      <a:gd name="connsiteY0" fmla="*/ 479 h 2152"/>
                      <a:gd name="connsiteX1" fmla="*/ 1435 w 1435"/>
                      <a:gd name="connsiteY1" fmla="*/ 2153 h 2152"/>
                      <a:gd name="connsiteX2" fmla="*/ 0 w 1435"/>
                      <a:gd name="connsiteY2" fmla="*/ 0 h 2152"/>
                    </a:gdLst>
                    <a:ahLst/>
                    <a:cxnLst>
                      <a:cxn ang="0">
                        <a:pos x="connsiteX0" y="connsiteY0"/>
                      </a:cxn>
                      <a:cxn ang="0">
                        <a:pos x="connsiteX1" y="connsiteY1"/>
                      </a:cxn>
                      <a:cxn ang="0">
                        <a:pos x="connsiteX2" y="connsiteY2"/>
                      </a:cxn>
                    </a:cxnLst>
                    <a:rect l="l" t="t" r="r" b="b"/>
                    <a:pathLst>
                      <a:path w="1435" h="2152">
                        <a:moveTo>
                          <a:pt x="1076" y="479"/>
                        </a:moveTo>
                        <a:lnTo>
                          <a:pt x="1435" y="2153"/>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47" name="Vrije vorm: vorm 7746">
                    <a:extLst>
                      <a:ext uri="{FF2B5EF4-FFF2-40B4-BE49-F238E27FC236}">
                        <a16:creationId xmlns:a16="http://schemas.microsoft.com/office/drawing/2014/main" id="{4DAEE105-1641-42AE-9EB8-0982FD51DE47}"/>
                      </a:ext>
                    </a:extLst>
                  </p:cNvPr>
                  <p:cNvSpPr/>
                  <p:nvPr/>
                </p:nvSpPr>
                <p:spPr>
                  <a:xfrm>
                    <a:off x="5802217" y="5302548"/>
                    <a:ext cx="298" cy="1614"/>
                  </a:xfrm>
                  <a:custGeom>
                    <a:avLst/>
                    <a:gdLst>
                      <a:gd name="connsiteX0" fmla="*/ 299 w 298"/>
                      <a:gd name="connsiteY0" fmla="*/ 1615 h 1614"/>
                      <a:gd name="connsiteX1" fmla="*/ 0 w 298"/>
                      <a:gd name="connsiteY1" fmla="*/ 0 h 1614"/>
                    </a:gdLst>
                    <a:ahLst/>
                    <a:cxnLst>
                      <a:cxn ang="0">
                        <a:pos x="connsiteX0" y="connsiteY0"/>
                      </a:cxn>
                      <a:cxn ang="0">
                        <a:pos x="connsiteX1" y="connsiteY1"/>
                      </a:cxn>
                    </a:cxnLst>
                    <a:rect l="l" t="t" r="r" b="b"/>
                    <a:pathLst>
                      <a:path w="298" h="1614">
                        <a:moveTo>
                          <a:pt x="299" y="1615"/>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48" name="Vrije vorm: vorm 7747">
                    <a:extLst>
                      <a:ext uri="{FF2B5EF4-FFF2-40B4-BE49-F238E27FC236}">
                        <a16:creationId xmlns:a16="http://schemas.microsoft.com/office/drawing/2014/main" id="{DE11D505-41D7-4543-B483-1667456D4E39}"/>
                      </a:ext>
                    </a:extLst>
                  </p:cNvPr>
                  <p:cNvSpPr/>
                  <p:nvPr/>
                </p:nvSpPr>
                <p:spPr>
                  <a:xfrm>
                    <a:off x="5799047" y="5298122"/>
                    <a:ext cx="6579" cy="4366"/>
                  </a:xfrm>
                  <a:custGeom>
                    <a:avLst/>
                    <a:gdLst>
                      <a:gd name="connsiteX0" fmla="*/ 0 w 6579"/>
                      <a:gd name="connsiteY0" fmla="*/ 2811 h 4366"/>
                      <a:gd name="connsiteX1" fmla="*/ 359 w 6579"/>
                      <a:gd name="connsiteY1" fmla="*/ 2990 h 4366"/>
                      <a:gd name="connsiteX2" fmla="*/ 778 w 6579"/>
                      <a:gd name="connsiteY2" fmla="*/ 3170 h 4366"/>
                      <a:gd name="connsiteX3" fmla="*/ 1376 w 6579"/>
                      <a:gd name="connsiteY3" fmla="*/ 3469 h 4366"/>
                      <a:gd name="connsiteX4" fmla="*/ 3170 w 6579"/>
                      <a:gd name="connsiteY4" fmla="*/ 4366 h 4366"/>
                      <a:gd name="connsiteX5" fmla="*/ 5443 w 6579"/>
                      <a:gd name="connsiteY5" fmla="*/ 1436 h 4366"/>
                      <a:gd name="connsiteX6" fmla="*/ 6100 w 6579"/>
                      <a:gd name="connsiteY6" fmla="*/ 598 h 4366"/>
                      <a:gd name="connsiteX7" fmla="*/ 6579 w 6579"/>
                      <a:gd name="connsiteY7" fmla="*/ 0 h 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9" h="4366">
                        <a:moveTo>
                          <a:pt x="0" y="2811"/>
                        </a:moveTo>
                        <a:lnTo>
                          <a:pt x="359" y="2990"/>
                        </a:lnTo>
                        <a:lnTo>
                          <a:pt x="778" y="3170"/>
                        </a:lnTo>
                        <a:lnTo>
                          <a:pt x="1376" y="3469"/>
                        </a:lnTo>
                        <a:lnTo>
                          <a:pt x="3170" y="4366"/>
                        </a:lnTo>
                        <a:lnTo>
                          <a:pt x="5443" y="1436"/>
                        </a:lnTo>
                        <a:lnTo>
                          <a:pt x="6100" y="598"/>
                        </a:lnTo>
                        <a:lnTo>
                          <a:pt x="6579" y="0"/>
                        </a:lnTo>
                      </a:path>
                    </a:pathLst>
                  </a:custGeom>
                  <a:noFill/>
                  <a:ln w="6350" cap="flat">
                    <a:solidFill>
                      <a:schemeClr val="bg1">
                        <a:alpha val="40000"/>
                      </a:schemeClr>
                    </a:solidFill>
                    <a:prstDash val="solid"/>
                    <a:miter/>
                  </a:ln>
                </p:spPr>
                <p:txBody>
                  <a:bodyPr rtlCol="0" anchor="ctr"/>
                  <a:lstStyle/>
                  <a:p>
                    <a:endParaRPr lang="en-GB"/>
                  </a:p>
                </p:txBody>
              </p:sp>
              <p:sp>
                <p:nvSpPr>
                  <p:cNvPr id="7749" name="Vrije vorm: vorm 7748">
                    <a:extLst>
                      <a:ext uri="{FF2B5EF4-FFF2-40B4-BE49-F238E27FC236}">
                        <a16:creationId xmlns:a16="http://schemas.microsoft.com/office/drawing/2014/main" id="{84D825CC-E3C9-4376-9BBB-F6665B29D91B}"/>
                      </a:ext>
                    </a:extLst>
                  </p:cNvPr>
                  <p:cNvSpPr/>
                  <p:nvPr/>
                </p:nvSpPr>
                <p:spPr>
                  <a:xfrm>
                    <a:off x="5799585" y="5296627"/>
                    <a:ext cx="6279" cy="7535"/>
                  </a:xfrm>
                  <a:custGeom>
                    <a:avLst/>
                    <a:gdLst>
                      <a:gd name="connsiteX0" fmla="*/ 2811 w 6279"/>
                      <a:gd name="connsiteY0" fmla="*/ 0 h 7535"/>
                      <a:gd name="connsiteX1" fmla="*/ 3110 w 6279"/>
                      <a:gd name="connsiteY1" fmla="*/ 180 h 7535"/>
                      <a:gd name="connsiteX2" fmla="*/ 3588 w 6279"/>
                      <a:gd name="connsiteY2" fmla="*/ 419 h 7535"/>
                      <a:gd name="connsiteX3" fmla="*/ 3708 w 6279"/>
                      <a:gd name="connsiteY3" fmla="*/ 479 h 7535"/>
                      <a:gd name="connsiteX4" fmla="*/ 3828 w 6279"/>
                      <a:gd name="connsiteY4" fmla="*/ 538 h 7535"/>
                      <a:gd name="connsiteX5" fmla="*/ 4187 w 6279"/>
                      <a:gd name="connsiteY5" fmla="*/ 718 h 7535"/>
                      <a:gd name="connsiteX6" fmla="*/ 4306 w 6279"/>
                      <a:gd name="connsiteY6" fmla="*/ 778 h 7535"/>
                      <a:gd name="connsiteX7" fmla="*/ 4366 w 6279"/>
                      <a:gd name="connsiteY7" fmla="*/ 837 h 7535"/>
                      <a:gd name="connsiteX8" fmla="*/ 4545 w 6279"/>
                      <a:gd name="connsiteY8" fmla="*/ 897 h 7535"/>
                      <a:gd name="connsiteX9" fmla="*/ 5981 w 6279"/>
                      <a:gd name="connsiteY9" fmla="*/ 1615 h 7535"/>
                      <a:gd name="connsiteX10" fmla="*/ 6280 w 6279"/>
                      <a:gd name="connsiteY10" fmla="*/ 3230 h 7535"/>
                      <a:gd name="connsiteX11" fmla="*/ 3887 w 6279"/>
                      <a:gd name="connsiteY11" fmla="*/ 6280 h 7535"/>
                      <a:gd name="connsiteX12" fmla="*/ 2930 w 6279"/>
                      <a:gd name="connsiteY12" fmla="*/ 7536 h 7535"/>
                      <a:gd name="connsiteX13" fmla="*/ 479 w 6279"/>
                      <a:gd name="connsiteY13" fmla="*/ 6280 h 7535"/>
                      <a:gd name="connsiteX14" fmla="*/ 0 w 6279"/>
                      <a:gd name="connsiteY14" fmla="*/ 6041 h 7535"/>
                      <a:gd name="connsiteX15" fmla="*/ 0 w 6279"/>
                      <a:gd name="connsiteY15" fmla="*/ 6041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 h="7535">
                        <a:moveTo>
                          <a:pt x="2811" y="0"/>
                        </a:moveTo>
                        <a:lnTo>
                          <a:pt x="3110" y="180"/>
                        </a:lnTo>
                        <a:lnTo>
                          <a:pt x="3588" y="419"/>
                        </a:lnTo>
                        <a:lnTo>
                          <a:pt x="3708" y="479"/>
                        </a:lnTo>
                        <a:lnTo>
                          <a:pt x="3828" y="538"/>
                        </a:lnTo>
                        <a:lnTo>
                          <a:pt x="4187" y="718"/>
                        </a:lnTo>
                        <a:lnTo>
                          <a:pt x="4306" y="778"/>
                        </a:lnTo>
                        <a:lnTo>
                          <a:pt x="4366" y="837"/>
                        </a:lnTo>
                        <a:lnTo>
                          <a:pt x="4545" y="897"/>
                        </a:lnTo>
                        <a:lnTo>
                          <a:pt x="5981" y="1615"/>
                        </a:lnTo>
                        <a:lnTo>
                          <a:pt x="6280" y="3230"/>
                        </a:lnTo>
                        <a:lnTo>
                          <a:pt x="3887" y="6280"/>
                        </a:lnTo>
                        <a:lnTo>
                          <a:pt x="2930" y="7536"/>
                        </a:lnTo>
                        <a:lnTo>
                          <a:pt x="479" y="6280"/>
                        </a:lnTo>
                        <a:lnTo>
                          <a:pt x="0" y="6041"/>
                        </a:lnTo>
                        <a:lnTo>
                          <a:pt x="0" y="6041"/>
                        </a:lnTo>
                      </a:path>
                    </a:pathLst>
                  </a:custGeom>
                  <a:noFill/>
                  <a:ln w="6350" cap="flat">
                    <a:solidFill>
                      <a:schemeClr val="bg1">
                        <a:alpha val="40000"/>
                      </a:schemeClr>
                    </a:solidFill>
                    <a:prstDash val="solid"/>
                    <a:miter/>
                  </a:ln>
                </p:spPr>
                <p:txBody>
                  <a:bodyPr rtlCol="0" anchor="ctr"/>
                  <a:lstStyle/>
                  <a:p>
                    <a:endParaRPr lang="en-GB"/>
                  </a:p>
                </p:txBody>
              </p:sp>
              <p:sp>
                <p:nvSpPr>
                  <p:cNvPr id="7750" name="Vrije vorm: vorm 7749">
                    <a:extLst>
                      <a:ext uri="{FF2B5EF4-FFF2-40B4-BE49-F238E27FC236}">
                        <a16:creationId xmlns:a16="http://schemas.microsoft.com/office/drawing/2014/main" id="{139ED951-5EED-422F-8D41-1AB7584FD801}"/>
                      </a:ext>
                    </a:extLst>
                  </p:cNvPr>
                  <p:cNvSpPr/>
                  <p:nvPr/>
                </p:nvSpPr>
                <p:spPr>
                  <a:xfrm>
                    <a:off x="5803174" y="5292620"/>
                    <a:ext cx="1136" cy="3169"/>
                  </a:xfrm>
                  <a:custGeom>
                    <a:avLst/>
                    <a:gdLst>
                      <a:gd name="connsiteX0" fmla="*/ 0 w 1136"/>
                      <a:gd name="connsiteY0" fmla="*/ 0 h 3169"/>
                      <a:gd name="connsiteX1" fmla="*/ 239 w 1136"/>
                      <a:gd name="connsiteY1" fmla="*/ 1316 h 3169"/>
                      <a:gd name="connsiteX2" fmla="*/ 837 w 1136"/>
                      <a:gd name="connsiteY2" fmla="*/ 1615 h 3169"/>
                      <a:gd name="connsiteX3" fmla="*/ 1136 w 1136"/>
                      <a:gd name="connsiteY3" fmla="*/ 3170 h 3169"/>
                    </a:gdLst>
                    <a:ahLst/>
                    <a:cxnLst>
                      <a:cxn ang="0">
                        <a:pos x="connsiteX0" y="connsiteY0"/>
                      </a:cxn>
                      <a:cxn ang="0">
                        <a:pos x="connsiteX1" y="connsiteY1"/>
                      </a:cxn>
                      <a:cxn ang="0">
                        <a:pos x="connsiteX2" y="connsiteY2"/>
                      </a:cxn>
                      <a:cxn ang="0">
                        <a:pos x="connsiteX3" y="connsiteY3"/>
                      </a:cxn>
                    </a:cxnLst>
                    <a:rect l="l" t="t" r="r" b="b"/>
                    <a:pathLst>
                      <a:path w="1136" h="3169">
                        <a:moveTo>
                          <a:pt x="0" y="0"/>
                        </a:moveTo>
                        <a:lnTo>
                          <a:pt x="239" y="1316"/>
                        </a:lnTo>
                        <a:lnTo>
                          <a:pt x="837" y="1615"/>
                        </a:lnTo>
                        <a:lnTo>
                          <a:pt x="1136" y="3170"/>
                        </a:lnTo>
                      </a:path>
                    </a:pathLst>
                  </a:custGeom>
                  <a:noFill/>
                  <a:ln w="6350" cap="flat">
                    <a:solidFill>
                      <a:schemeClr val="bg1">
                        <a:alpha val="40000"/>
                      </a:schemeClr>
                    </a:solidFill>
                    <a:prstDash val="solid"/>
                    <a:miter/>
                  </a:ln>
                </p:spPr>
                <p:txBody>
                  <a:bodyPr rtlCol="0" anchor="ctr"/>
                  <a:lstStyle/>
                  <a:p>
                    <a:endParaRPr lang="en-GB"/>
                  </a:p>
                </p:txBody>
              </p:sp>
              <p:sp>
                <p:nvSpPr>
                  <p:cNvPr id="7751" name="Vrije vorm: vorm 7750">
                    <a:extLst>
                      <a:ext uri="{FF2B5EF4-FFF2-40B4-BE49-F238E27FC236}">
                        <a16:creationId xmlns:a16="http://schemas.microsoft.com/office/drawing/2014/main" id="{9468F4EC-D194-41CB-B050-5A2CE109AF37}"/>
                      </a:ext>
                    </a:extLst>
                  </p:cNvPr>
                  <p:cNvSpPr/>
                  <p:nvPr/>
                </p:nvSpPr>
                <p:spPr>
                  <a:xfrm>
                    <a:off x="5799286" y="5298421"/>
                    <a:ext cx="5681" cy="3648"/>
                  </a:xfrm>
                  <a:custGeom>
                    <a:avLst/>
                    <a:gdLst>
                      <a:gd name="connsiteX0" fmla="*/ 0 w 5681"/>
                      <a:gd name="connsiteY0" fmla="*/ 2153 h 3648"/>
                      <a:gd name="connsiteX1" fmla="*/ 778 w 5681"/>
                      <a:gd name="connsiteY1" fmla="*/ 2572 h 3648"/>
                      <a:gd name="connsiteX2" fmla="*/ 1375 w 5681"/>
                      <a:gd name="connsiteY2" fmla="*/ 2871 h 3648"/>
                      <a:gd name="connsiteX3" fmla="*/ 2930 w 5681"/>
                      <a:gd name="connsiteY3" fmla="*/ 3648 h 3648"/>
                      <a:gd name="connsiteX4" fmla="*/ 4904 w 5681"/>
                      <a:gd name="connsiteY4" fmla="*/ 1076 h 3648"/>
                      <a:gd name="connsiteX5" fmla="*/ 5143 w 5681"/>
                      <a:gd name="connsiteY5" fmla="*/ 718 h 3648"/>
                      <a:gd name="connsiteX6" fmla="*/ 5681 w 5681"/>
                      <a:gd name="connsiteY6" fmla="*/ 0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1" h="3648">
                        <a:moveTo>
                          <a:pt x="0" y="2153"/>
                        </a:moveTo>
                        <a:lnTo>
                          <a:pt x="778" y="2572"/>
                        </a:lnTo>
                        <a:lnTo>
                          <a:pt x="1375" y="2871"/>
                        </a:lnTo>
                        <a:lnTo>
                          <a:pt x="2930" y="3648"/>
                        </a:lnTo>
                        <a:lnTo>
                          <a:pt x="4904" y="1076"/>
                        </a:lnTo>
                        <a:lnTo>
                          <a:pt x="5143" y="718"/>
                        </a:lnTo>
                        <a:lnTo>
                          <a:pt x="5681" y="0"/>
                        </a:lnTo>
                      </a:path>
                    </a:pathLst>
                  </a:custGeom>
                  <a:noFill/>
                  <a:ln w="6350" cap="flat">
                    <a:solidFill>
                      <a:schemeClr val="bg1">
                        <a:alpha val="40000"/>
                      </a:schemeClr>
                    </a:solidFill>
                    <a:prstDash val="solid"/>
                    <a:miter/>
                  </a:ln>
                </p:spPr>
                <p:txBody>
                  <a:bodyPr rtlCol="0" anchor="ctr"/>
                  <a:lstStyle/>
                  <a:p>
                    <a:endParaRPr lang="en-GB"/>
                  </a:p>
                </p:txBody>
              </p:sp>
              <p:sp>
                <p:nvSpPr>
                  <p:cNvPr id="7752" name="Vrije vorm: vorm 7751">
                    <a:extLst>
                      <a:ext uri="{FF2B5EF4-FFF2-40B4-BE49-F238E27FC236}">
                        <a16:creationId xmlns:a16="http://schemas.microsoft.com/office/drawing/2014/main" id="{7E7545F7-C80E-44AC-A8FE-41DFF3B19B98}"/>
                      </a:ext>
                    </a:extLst>
                  </p:cNvPr>
                  <p:cNvSpPr/>
                  <p:nvPr/>
                </p:nvSpPr>
                <p:spPr>
                  <a:xfrm>
                    <a:off x="5802097" y="5296986"/>
                    <a:ext cx="2930" cy="1435"/>
                  </a:xfrm>
                  <a:custGeom>
                    <a:avLst/>
                    <a:gdLst>
                      <a:gd name="connsiteX0" fmla="*/ 0 w 2930"/>
                      <a:gd name="connsiteY0" fmla="*/ 0 h 1435"/>
                      <a:gd name="connsiteX1" fmla="*/ 359 w 2930"/>
                      <a:gd name="connsiteY1" fmla="*/ 179 h 1435"/>
                      <a:gd name="connsiteX2" fmla="*/ 778 w 2930"/>
                      <a:gd name="connsiteY2" fmla="*/ 359 h 1435"/>
                      <a:gd name="connsiteX3" fmla="*/ 897 w 2930"/>
                      <a:gd name="connsiteY3" fmla="*/ 418 h 1435"/>
                      <a:gd name="connsiteX4" fmla="*/ 1375 w 2930"/>
                      <a:gd name="connsiteY4" fmla="*/ 658 h 1435"/>
                      <a:gd name="connsiteX5" fmla="*/ 1495 w 2930"/>
                      <a:gd name="connsiteY5" fmla="*/ 718 h 1435"/>
                      <a:gd name="connsiteX6" fmla="*/ 2930 w 2930"/>
                      <a:gd name="connsiteY6" fmla="*/ 1435 h 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0" h="1435">
                        <a:moveTo>
                          <a:pt x="0" y="0"/>
                        </a:moveTo>
                        <a:lnTo>
                          <a:pt x="359" y="179"/>
                        </a:lnTo>
                        <a:lnTo>
                          <a:pt x="778" y="359"/>
                        </a:lnTo>
                        <a:lnTo>
                          <a:pt x="897" y="418"/>
                        </a:lnTo>
                        <a:lnTo>
                          <a:pt x="1375" y="658"/>
                        </a:lnTo>
                        <a:lnTo>
                          <a:pt x="1495" y="718"/>
                        </a:lnTo>
                        <a:lnTo>
                          <a:pt x="2930" y="1435"/>
                        </a:lnTo>
                      </a:path>
                    </a:pathLst>
                  </a:custGeom>
                  <a:noFill/>
                  <a:ln w="6350" cap="flat">
                    <a:solidFill>
                      <a:schemeClr val="bg1">
                        <a:alpha val="40000"/>
                      </a:schemeClr>
                    </a:solidFill>
                    <a:prstDash val="solid"/>
                    <a:miter/>
                  </a:ln>
                </p:spPr>
                <p:txBody>
                  <a:bodyPr rtlCol="0" anchor="ctr"/>
                  <a:lstStyle/>
                  <a:p>
                    <a:endParaRPr lang="en-GB"/>
                  </a:p>
                </p:txBody>
              </p:sp>
              <p:sp>
                <p:nvSpPr>
                  <p:cNvPr id="7753" name="Vrije vorm: vorm 7752">
                    <a:extLst>
                      <a:ext uri="{FF2B5EF4-FFF2-40B4-BE49-F238E27FC236}">
                        <a16:creationId xmlns:a16="http://schemas.microsoft.com/office/drawing/2014/main" id="{6AA95D2B-D59C-4D54-B8E5-28B5AACC4031}"/>
                      </a:ext>
                    </a:extLst>
                  </p:cNvPr>
                  <p:cNvSpPr/>
                  <p:nvPr/>
                </p:nvSpPr>
                <p:spPr>
                  <a:xfrm>
                    <a:off x="5802636" y="5295491"/>
                    <a:ext cx="1076" cy="1315"/>
                  </a:xfrm>
                  <a:custGeom>
                    <a:avLst/>
                    <a:gdLst>
                      <a:gd name="connsiteX0" fmla="*/ 1076 w 1076"/>
                      <a:gd name="connsiteY0" fmla="*/ 0 h 1315"/>
                      <a:gd name="connsiteX1" fmla="*/ 957 w 1076"/>
                      <a:gd name="connsiteY1" fmla="*/ 0 h 1315"/>
                      <a:gd name="connsiteX2" fmla="*/ 837 w 1076"/>
                      <a:gd name="connsiteY2" fmla="*/ 60 h 1315"/>
                      <a:gd name="connsiteX3" fmla="*/ 658 w 1076"/>
                      <a:gd name="connsiteY3" fmla="*/ 179 h 1315"/>
                      <a:gd name="connsiteX4" fmla="*/ 478 w 1076"/>
                      <a:gd name="connsiteY4" fmla="*/ 359 h 1315"/>
                      <a:gd name="connsiteX5" fmla="*/ 299 w 1076"/>
                      <a:gd name="connsiteY5" fmla="*/ 598 h 1315"/>
                      <a:gd name="connsiteX6" fmla="*/ 299 w 1076"/>
                      <a:gd name="connsiteY6" fmla="*/ 598 h 1315"/>
                      <a:gd name="connsiteX7" fmla="*/ 179 w 1076"/>
                      <a:gd name="connsiteY7" fmla="*/ 837 h 1315"/>
                      <a:gd name="connsiteX8" fmla="*/ 60 w 1076"/>
                      <a:gd name="connsiteY8" fmla="*/ 1076 h 1315"/>
                      <a:gd name="connsiteX9" fmla="*/ 0 w 1076"/>
                      <a:gd name="connsiteY9" fmla="*/ 1316 h 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6" h="1315">
                        <a:moveTo>
                          <a:pt x="1076" y="0"/>
                        </a:moveTo>
                        <a:lnTo>
                          <a:pt x="957" y="0"/>
                        </a:lnTo>
                        <a:lnTo>
                          <a:pt x="837" y="60"/>
                        </a:lnTo>
                        <a:lnTo>
                          <a:pt x="658" y="179"/>
                        </a:lnTo>
                        <a:lnTo>
                          <a:pt x="478" y="359"/>
                        </a:lnTo>
                        <a:lnTo>
                          <a:pt x="299" y="598"/>
                        </a:lnTo>
                        <a:lnTo>
                          <a:pt x="299" y="598"/>
                        </a:lnTo>
                        <a:lnTo>
                          <a:pt x="179" y="837"/>
                        </a:lnTo>
                        <a:lnTo>
                          <a:pt x="60" y="1076"/>
                        </a:lnTo>
                        <a:lnTo>
                          <a:pt x="0" y="1316"/>
                        </a:lnTo>
                      </a:path>
                    </a:pathLst>
                  </a:custGeom>
                  <a:noFill/>
                  <a:ln w="6350" cap="flat">
                    <a:solidFill>
                      <a:schemeClr val="bg1">
                        <a:alpha val="40000"/>
                      </a:schemeClr>
                    </a:solidFill>
                    <a:prstDash val="solid"/>
                    <a:miter/>
                  </a:ln>
                </p:spPr>
                <p:txBody>
                  <a:bodyPr rtlCol="0" anchor="ctr"/>
                  <a:lstStyle/>
                  <a:p>
                    <a:endParaRPr lang="en-GB"/>
                  </a:p>
                </p:txBody>
              </p:sp>
              <p:sp>
                <p:nvSpPr>
                  <p:cNvPr id="7754" name="Vrije vorm: vorm 7753">
                    <a:extLst>
                      <a:ext uri="{FF2B5EF4-FFF2-40B4-BE49-F238E27FC236}">
                        <a16:creationId xmlns:a16="http://schemas.microsoft.com/office/drawing/2014/main" id="{9BBDB199-70D0-4207-BB48-A5A842F9C2CF}"/>
                      </a:ext>
                    </a:extLst>
                  </p:cNvPr>
                  <p:cNvSpPr/>
                  <p:nvPr/>
                </p:nvSpPr>
                <p:spPr>
                  <a:xfrm>
                    <a:off x="5803712" y="5295491"/>
                    <a:ext cx="657" cy="1854"/>
                  </a:xfrm>
                  <a:custGeom>
                    <a:avLst/>
                    <a:gdLst>
                      <a:gd name="connsiteX0" fmla="*/ 0 w 657"/>
                      <a:gd name="connsiteY0" fmla="*/ 0 h 1854"/>
                      <a:gd name="connsiteX1" fmla="*/ 538 w 657"/>
                      <a:gd name="connsiteY1" fmla="*/ 299 h 1854"/>
                      <a:gd name="connsiteX2" fmla="*/ 538 w 657"/>
                      <a:gd name="connsiteY2" fmla="*/ 299 h 1854"/>
                      <a:gd name="connsiteX3" fmla="*/ 598 w 657"/>
                      <a:gd name="connsiteY3" fmla="*/ 359 h 1854"/>
                      <a:gd name="connsiteX4" fmla="*/ 658 w 657"/>
                      <a:gd name="connsiteY4" fmla="*/ 478 h 1854"/>
                      <a:gd name="connsiteX5" fmla="*/ 658 w 657"/>
                      <a:gd name="connsiteY5" fmla="*/ 658 h 1854"/>
                      <a:gd name="connsiteX6" fmla="*/ 598 w 657"/>
                      <a:gd name="connsiteY6" fmla="*/ 897 h 1854"/>
                      <a:gd name="connsiteX7" fmla="*/ 538 w 657"/>
                      <a:gd name="connsiteY7" fmla="*/ 1136 h 1854"/>
                      <a:gd name="connsiteX8" fmla="*/ 419 w 657"/>
                      <a:gd name="connsiteY8" fmla="*/ 1375 h 1854"/>
                      <a:gd name="connsiteX9" fmla="*/ 299 w 657"/>
                      <a:gd name="connsiteY9" fmla="*/ 1615 h 1854"/>
                      <a:gd name="connsiteX10" fmla="*/ 239 w 657"/>
                      <a:gd name="connsiteY10" fmla="*/ 1674 h 1854"/>
                      <a:gd name="connsiteX11" fmla="*/ 119 w 657"/>
                      <a:gd name="connsiteY11" fmla="*/ 1794 h 1854"/>
                      <a:gd name="connsiteX12" fmla="*/ 60 w 657"/>
                      <a:gd name="connsiteY12"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7" h="1854">
                        <a:moveTo>
                          <a:pt x="0" y="0"/>
                        </a:moveTo>
                        <a:lnTo>
                          <a:pt x="538" y="299"/>
                        </a:lnTo>
                        <a:lnTo>
                          <a:pt x="538" y="299"/>
                        </a:lnTo>
                        <a:lnTo>
                          <a:pt x="598" y="359"/>
                        </a:lnTo>
                        <a:lnTo>
                          <a:pt x="658" y="478"/>
                        </a:lnTo>
                        <a:lnTo>
                          <a:pt x="658" y="658"/>
                        </a:lnTo>
                        <a:lnTo>
                          <a:pt x="598" y="897"/>
                        </a:lnTo>
                        <a:lnTo>
                          <a:pt x="538" y="1136"/>
                        </a:lnTo>
                        <a:lnTo>
                          <a:pt x="419" y="1375"/>
                        </a:lnTo>
                        <a:lnTo>
                          <a:pt x="299" y="1615"/>
                        </a:lnTo>
                        <a:lnTo>
                          <a:pt x="239" y="1674"/>
                        </a:lnTo>
                        <a:lnTo>
                          <a:pt x="119" y="1794"/>
                        </a:lnTo>
                        <a:lnTo>
                          <a:pt x="60" y="1854"/>
                        </a:lnTo>
                      </a:path>
                    </a:pathLst>
                  </a:custGeom>
                  <a:noFill/>
                  <a:ln w="6350" cap="flat">
                    <a:solidFill>
                      <a:schemeClr val="bg1">
                        <a:alpha val="40000"/>
                      </a:schemeClr>
                    </a:solidFill>
                    <a:prstDash val="solid"/>
                    <a:miter/>
                  </a:ln>
                </p:spPr>
                <p:txBody>
                  <a:bodyPr rtlCol="0" anchor="ctr"/>
                  <a:lstStyle/>
                  <a:p>
                    <a:endParaRPr lang="en-GB"/>
                  </a:p>
                </p:txBody>
              </p:sp>
              <p:sp>
                <p:nvSpPr>
                  <p:cNvPr id="7755" name="Vrije vorm: vorm 7754">
                    <a:extLst>
                      <a:ext uri="{FF2B5EF4-FFF2-40B4-BE49-F238E27FC236}">
                        <a16:creationId xmlns:a16="http://schemas.microsoft.com/office/drawing/2014/main" id="{0E1A1C7C-767E-4F5A-949A-DCBDEBA16074}"/>
                      </a:ext>
                    </a:extLst>
                  </p:cNvPr>
                  <p:cNvSpPr/>
                  <p:nvPr/>
                </p:nvSpPr>
                <p:spPr>
                  <a:xfrm>
                    <a:off x="5803234" y="5295790"/>
                    <a:ext cx="1076" cy="1375"/>
                  </a:xfrm>
                  <a:custGeom>
                    <a:avLst/>
                    <a:gdLst>
                      <a:gd name="connsiteX0" fmla="*/ 1076 w 1076"/>
                      <a:gd name="connsiteY0" fmla="*/ 0 h 1375"/>
                      <a:gd name="connsiteX1" fmla="*/ 1076 w 1076"/>
                      <a:gd name="connsiteY1" fmla="*/ 0 h 1375"/>
                      <a:gd name="connsiteX2" fmla="*/ 957 w 1076"/>
                      <a:gd name="connsiteY2" fmla="*/ 0 h 1375"/>
                      <a:gd name="connsiteX3" fmla="*/ 837 w 1076"/>
                      <a:gd name="connsiteY3" fmla="*/ 60 h 1375"/>
                      <a:gd name="connsiteX4" fmla="*/ 658 w 1076"/>
                      <a:gd name="connsiteY4" fmla="*/ 179 h 1375"/>
                      <a:gd name="connsiteX5" fmla="*/ 658 w 1076"/>
                      <a:gd name="connsiteY5" fmla="*/ 179 h 1375"/>
                      <a:gd name="connsiteX6" fmla="*/ 479 w 1076"/>
                      <a:gd name="connsiteY6" fmla="*/ 359 h 1375"/>
                      <a:gd name="connsiteX7" fmla="*/ 299 w 1076"/>
                      <a:gd name="connsiteY7" fmla="*/ 598 h 1375"/>
                      <a:gd name="connsiteX8" fmla="*/ 180 w 1076"/>
                      <a:gd name="connsiteY8" fmla="*/ 837 h 1375"/>
                      <a:gd name="connsiteX9" fmla="*/ 120 w 1076"/>
                      <a:gd name="connsiteY9" fmla="*/ 957 h 1375"/>
                      <a:gd name="connsiteX10" fmla="*/ 120 w 1076"/>
                      <a:gd name="connsiteY10" fmla="*/ 957 h 1375"/>
                      <a:gd name="connsiteX11" fmla="*/ 60 w 1076"/>
                      <a:gd name="connsiteY11" fmla="*/ 1136 h 1375"/>
                      <a:gd name="connsiteX12" fmla="*/ 0 w 1076"/>
                      <a:gd name="connsiteY12" fmla="*/ 1375 h 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6" h="1375">
                        <a:moveTo>
                          <a:pt x="1076" y="0"/>
                        </a:moveTo>
                        <a:lnTo>
                          <a:pt x="1076" y="0"/>
                        </a:lnTo>
                        <a:lnTo>
                          <a:pt x="957" y="0"/>
                        </a:lnTo>
                        <a:lnTo>
                          <a:pt x="837" y="60"/>
                        </a:lnTo>
                        <a:lnTo>
                          <a:pt x="658" y="179"/>
                        </a:lnTo>
                        <a:lnTo>
                          <a:pt x="658" y="179"/>
                        </a:lnTo>
                        <a:lnTo>
                          <a:pt x="479" y="359"/>
                        </a:lnTo>
                        <a:lnTo>
                          <a:pt x="299" y="598"/>
                        </a:lnTo>
                        <a:lnTo>
                          <a:pt x="180" y="837"/>
                        </a:lnTo>
                        <a:lnTo>
                          <a:pt x="120" y="957"/>
                        </a:lnTo>
                        <a:lnTo>
                          <a:pt x="120" y="957"/>
                        </a:lnTo>
                        <a:lnTo>
                          <a:pt x="60" y="1136"/>
                        </a:lnTo>
                        <a:lnTo>
                          <a:pt x="0" y="1375"/>
                        </a:lnTo>
                      </a:path>
                    </a:pathLst>
                  </a:custGeom>
                  <a:noFill/>
                  <a:ln w="6350" cap="flat">
                    <a:solidFill>
                      <a:schemeClr val="bg1">
                        <a:alpha val="40000"/>
                      </a:schemeClr>
                    </a:solidFill>
                    <a:prstDash val="solid"/>
                    <a:miter/>
                  </a:ln>
                </p:spPr>
                <p:txBody>
                  <a:bodyPr rtlCol="0" anchor="ctr"/>
                  <a:lstStyle/>
                  <a:p>
                    <a:endParaRPr lang="en-GB"/>
                  </a:p>
                </p:txBody>
              </p:sp>
              <p:sp>
                <p:nvSpPr>
                  <p:cNvPr id="7756" name="Vrije vorm: vorm 7755">
                    <a:extLst>
                      <a:ext uri="{FF2B5EF4-FFF2-40B4-BE49-F238E27FC236}">
                        <a16:creationId xmlns:a16="http://schemas.microsoft.com/office/drawing/2014/main" id="{4E43F93A-0096-4C29-AF9E-4263E8808BCE}"/>
                      </a:ext>
                    </a:extLst>
                  </p:cNvPr>
                  <p:cNvSpPr/>
                  <p:nvPr/>
                </p:nvSpPr>
                <p:spPr>
                  <a:xfrm>
                    <a:off x="5802097" y="5296686"/>
                    <a:ext cx="239" cy="1435"/>
                  </a:xfrm>
                  <a:custGeom>
                    <a:avLst/>
                    <a:gdLst>
                      <a:gd name="connsiteX0" fmla="*/ 239 w 239"/>
                      <a:gd name="connsiteY0" fmla="*/ 1435 h 1435"/>
                      <a:gd name="connsiteX1" fmla="*/ 0 w 239"/>
                      <a:gd name="connsiteY1" fmla="*/ 359 h 1435"/>
                      <a:gd name="connsiteX2" fmla="*/ 239 w 239"/>
                      <a:gd name="connsiteY2" fmla="*/ 0 h 1435"/>
                    </a:gdLst>
                    <a:ahLst/>
                    <a:cxnLst>
                      <a:cxn ang="0">
                        <a:pos x="connsiteX0" y="connsiteY0"/>
                      </a:cxn>
                      <a:cxn ang="0">
                        <a:pos x="connsiteX1" y="connsiteY1"/>
                      </a:cxn>
                      <a:cxn ang="0">
                        <a:pos x="connsiteX2" y="connsiteY2"/>
                      </a:cxn>
                    </a:cxnLst>
                    <a:rect l="l" t="t" r="r" b="b"/>
                    <a:pathLst>
                      <a:path w="239" h="1435">
                        <a:moveTo>
                          <a:pt x="239" y="1435"/>
                        </a:moveTo>
                        <a:lnTo>
                          <a:pt x="0" y="359"/>
                        </a:lnTo>
                        <a:lnTo>
                          <a:pt x="239" y="0"/>
                        </a:lnTo>
                      </a:path>
                    </a:pathLst>
                  </a:custGeom>
                  <a:noFill/>
                  <a:ln w="6350" cap="flat">
                    <a:solidFill>
                      <a:schemeClr val="bg1">
                        <a:alpha val="40000"/>
                      </a:schemeClr>
                    </a:solidFill>
                    <a:prstDash val="solid"/>
                    <a:miter/>
                  </a:ln>
                </p:spPr>
                <p:txBody>
                  <a:bodyPr rtlCol="0" anchor="ctr"/>
                  <a:lstStyle/>
                  <a:p>
                    <a:endParaRPr lang="en-GB"/>
                  </a:p>
                </p:txBody>
              </p:sp>
              <p:sp>
                <p:nvSpPr>
                  <p:cNvPr id="7757" name="Vrije vorm: vorm 7756">
                    <a:extLst>
                      <a:ext uri="{FF2B5EF4-FFF2-40B4-BE49-F238E27FC236}">
                        <a16:creationId xmlns:a16="http://schemas.microsoft.com/office/drawing/2014/main" id="{5B04F26B-5A45-4103-BFE3-2FB575F39F0B}"/>
                      </a:ext>
                    </a:extLst>
                  </p:cNvPr>
                  <p:cNvSpPr/>
                  <p:nvPr/>
                </p:nvSpPr>
                <p:spPr>
                  <a:xfrm>
                    <a:off x="5799047" y="5300574"/>
                    <a:ext cx="298" cy="1375"/>
                  </a:xfrm>
                  <a:custGeom>
                    <a:avLst/>
                    <a:gdLst>
                      <a:gd name="connsiteX0" fmla="*/ 180 w 298"/>
                      <a:gd name="connsiteY0" fmla="*/ 1375 h 1375"/>
                      <a:gd name="connsiteX1" fmla="*/ 0 w 298"/>
                      <a:gd name="connsiteY1" fmla="*/ 359 h 1375"/>
                      <a:gd name="connsiteX2" fmla="*/ 299 w 298"/>
                      <a:gd name="connsiteY2" fmla="*/ 0 h 1375"/>
                    </a:gdLst>
                    <a:ahLst/>
                    <a:cxnLst>
                      <a:cxn ang="0">
                        <a:pos x="connsiteX0" y="connsiteY0"/>
                      </a:cxn>
                      <a:cxn ang="0">
                        <a:pos x="connsiteX1" y="connsiteY1"/>
                      </a:cxn>
                      <a:cxn ang="0">
                        <a:pos x="connsiteX2" y="connsiteY2"/>
                      </a:cxn>
                    </a:cxnLst>
                    <a:rect l="l" t="t" r="r" b="b"/>
                    <a:pathLst>
                      <a:path w="298" h="1375">
                        <a:moveTo>
                          <a:pt x="180" y="1375"/>
                        </a:moveTo>
                        <a:lnTo>
                          <a:pt x="0" y="359"/>
                        </a:lnTo>
                        <a:lnTo>
                          <a:pt x="299" y="0"/>
                        </a:lnTo>
                      </a:path>
                    </a:pathLst>
                  </a:custGeom>
                  <a:noFill/>
                  <a:ln w="6350" cap="flat">
                    <a:solidFill>
                      <a:schemeClr val="bg1">
                        <a:alpha val="40000"/>
                      </a:schemeClr>
                    </a:solidFill>
                    <a:prstDash val="solid"/>
                    <a:miter/>
                  </a:ln>
                </p:spPr>
                <p:txBody>
                  <a:bodyPr rtlCol="0" anchor="ctr"/>
                  <a:lstStyle/>
                  <a:p>
                    <a:endParaRPr lang="en-GB"/>
                  </a:p>
                </p:txBody>
              </p:sp>
              <p:sp>
                <p:nvSpPr>
                  <p:cNvPr id="7758" name="Vrije vorm: vorm 7757">
                    <a:extLst>
                      <a:ext uri="{FF2B5EF4-FFF2-40B4-BE49-F238E27FC236}">
                        <a16:creationId xmlns:a16="http://schemas.microsoft.com/office/drawing/2014/main" id="{7E7D0784-7B5C-42A6-8134-A00B6C24C483}"/>
                      </a:ext>
                    </a:extLst>
                  </p:cNvPr>
                  <p:cNvSpPr/>
                  <p:nvPr/>
                </p:nvSpPr>
                <p:spPr>
                  <a:xfrm>
                    <a:off x="5797970" y="5303744"/>
                    <a:ext cx="538" cy="299"/>
                  </a:xfrm>
                  <a:custGeom>
                    <a:avLst/>
                    <a:gdLst>
                      <a:gd name="connsiteX0" fmla="*/ 538 w 538"/>
                      <a:gd name="connsiteY0" fmla="*/ 299 h 299"/>
                      <a:gd name="connsiteX1" fmla="*/ 0 w 538"/>
                      <a:gd name="connsiteY1" fmla="*/ 0 h 299"/>
                      <a:gd name="connsiteX2" fmla="*/ 0 w 538"/>
                      <a:gd name="connsiteY2" fmla="*/ 0 h 299"/>
                    </a:gdLst>
                    <a:ahLst/>
                    <a:cxnLst>
                      <a:cxn ang="0">
                        <a:pos x="connsiteX0" y="connsiteY0"/>
                      </a:cxn>
                      <a:cxn ang="0">
                        <a:pos x="connsiteX1" y="connsiteY1"/>
                      </a:cxn>
                      <a:cxn ang="0">
                        <a:pos x="connsiteX2" y="connsiteY2"/>
                      </a:cxn>
                    </a:cxnLst>
                    <a:rect l="l" t="t" r="r" b="b"/>
                    <a:pathLst>
                      <a:path w="538" h="299">
                        <a:moveTo>
                          <a:pt x="538" y="299"/>
                        </a:moveTo>
                        <a:lnTo>
                          <a:pt x="0" y="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59" name="Vrije vorm: vorm 7758">
                    <a:extLst>
                      <a:ext uri="{FF2B5EF4-FFF2-40B4-BE49-F238E27FC236}">
                        <a16:creationId xmlns:a16="http://schemas.microsoft.com/office/drawing/2014/main" id="{3E7FFA6C-5F84-4A31-8AE4-3D4E3B7C2F0E}"/>
                      </a:ext>
                    </a:extLst>
                  </p:cNvPr>
                  <p:cNvSpPr/>
                  <p:nvPr/>
                </p:nvSpPr>
                <p:spPr>
                  <a:xfrm>
                    <a:off x="5788581" y="5161403"/>
                    <a:ext cx="59" cy="358"/>
                  </a:xfrm>
                  <a:custGeom>
                    <a:avLst/>
                    <a:gdLst>
                      <a:gd name="connsiteX0" fmla="*/ 60 w 59"/>
                      <a:gd name="connsiteY0" fmla="*/ 359 h 358"/>
                      <a:gd name="connsiteX1" fmla="*/ 0 w 59"/>
                      <a:gd name="connsiteY1" fmla="*/ 0 h 358"/>
                    </a:gdLst>
                    <a:ahLst/>
                    <a:cxnLst>
                      <a:cxn ang="0">
                        <a:pos x="connsiteX0" y="connsiteY0"/>
                      </a:cxn>
                      <a:cxn ang="0">
                        <a:pos x="connsiteX1" y="connsiteY1"/>
                      </a:cxn>
                    </a:cxnLst>
                    <a:rect l="l" t="t" r="r" b="b"/>
                    <a:pathLst>
                      <a:path w="59" h="358">
                        <a:moveTo>
                          <a:pt x="60" y="359"/>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60" name="Vrije vorm: vorm 7759">
                    <a:extLst>
                      <a:ext uri="{FF2B5EF4-FFF2-40B4-BE49-F238E27FC236}">
                        <a16:creationId xmlns:a16="http://schemas.microsoft.com/office/drawing/2014/main" id="{C0FCA816-920D-4529-9C33-E33A49A23C2B}"/>
                      </a:ext>
                    </a:extLst>
                  </p:cNvPr>
                  <p:cNvSpPr/>
                  <p:nvPr/>
                </p:nvSpPr>
                <p:spPr>
                  <a:xfrm>
                    <a:off x="5805147" y="5179524"/>
                    <a:ext cx="1256" cy="3947"/>
                  </a:xfrm>
                  <a:custGeom>
                    <a:avLst/>
                    <a:gdLst>
                      <a:gd name="connsiteX0" fmla="*/ 0 w 1256"/>
                      <a:gd name="connsiteY0" fmla="*/ 3947 h 3947"/>
                      <a:gd name="connsiteX1" fmla="*/ 1196 w 1256"/>
                      <a:gd name="connsiteY1" fmla="*/ 239 h 3947"/>
                      <a:gd name="connsiteX2" fmla="*/ 1256 w 1256"/>
                      <a:gd name="connsiteY2" fmla="*/ 0 h 3947"/>
                    </a:gdLst>
                    <a:ahLst/>
                    <a:cxnLst>
                      <a:cxn ang="0">
                        <a:pos x="connsiteX0" y="connsiteY0"/>
                      </a:cxn>
                      <a:cxn ang="0">
                        <a:pos x="connsiteX1" y="connsiteY1"/>
                      </a:cxn>
                      <a:cxn ang="0">
                        <a:pos x="connsiteX2" y="connsiteY2"/>
                      </a:cxn>
                    </a:cxnLst>
                    <a:rect l="l" t="t" r="r" b="b"/>
                    <a:pathLst>
                      <a:path w="1256" h="3947">
                        <a:moveTo>
                          <a:pt x="0" y="3947"/>
                        </a:moveTo>
                        <a:lnTo>
                          <a:pt x="1196" y="239"/>
                        </a:lnTo>
                        <a:lnTo>
                          <a:pt x="1256" y="0"/>
                        </a:lnTo>
                      </a:path>
                    </a:pathLst>
                  </a:custGeom>
                  <a:noFill/>
                  <a:ln w="6350" cap="flat">
                    <a:solidFill>
                      <a:schemeClr val="bg1">
                        <a:alpha val="40000"/>
                      </a:schemeClr>
                    </a:solidFill>
                    <a:prstDash val="solid"/>
                    <a:miter/>
                  </a:ln>
                </p:spPr>
                <p:txBody>
                  <a:bodyPr rtlCol="0" anchor="ctr"/>
                  <a:lstStyle/>
                  <a:p>
                    <a:endParaRPr lang="en-GB"/>
                  </a:p>
                </p:txBody>
              </p:sp>
              <p:sp>
                <p:nvSpPr>
                  <p:cNvPr id="7761" name="Vrije vorm: vorm 7760">
                    <a:extLst>
                      <a:ext uri="{FF2B5EF4-FFF2-40B4-BE49-F238E27FC236}">
                        <a16:creationId xmlns:a16="http://schemas.microsoft.com/office/drawing/2014/main" id="{5A9847B3-3FED-42D7-86B4-2D0B4F3E61FF}"/>
                      </a:ext>
                    </a:extLst>
                  </p:cNvPr>
                  <p:cNvSpPr/>
                  <p:nvPr/>
                </p:nvSpPr>
                <p:spPr>
                  <a:xfrm>
                    <a:off x="5776739" y="5162420"/>
                    <a:ext cx="26554" cy="43120"/>
                  </a:xfrm>
                  <a:custGeom>
                    <a:avLst/>
                    <a:gdLst>
                      <a:gd name="connsiteX0" fmla="*/ 24043 w 26554"/>
                      <a:gd name="connsiteY0" fmla="*/ 658 h 43120"/>
                      <a:gd name="connsiteX1" fmla="*/ 25717 w 26554"/>
                      <a:gd name="connsiteY1" fmla="*/ 2811 h 43120"/>
                      <a:gd name="connsiteX2" fmla="*/ 26495 w 26554"/>
                      <a:gd name="connsiteY2" fmla="*/ 6040 h 43120"/>
                      <a:gd name="connsiteX3" fmla="*/ 26554 w 26554"/>
                      <a:gd name="connsiteY3" fmla="*/ 6220 h 43120"/>
                      <a:gd name="connsiteX4" fmla="*/ 26554 w 26554"/>
                      <a:gd name="connsiteY4" fmla="*/ 6340 h 43120"/>
                      <a:gd name="connsiteX5" fmla="*/ 26495 w 26554"/>
                      <a:gd name="connsiteY5" fmla="*/ 8134 h 43120"/>
                      <a:gd name="connsiteX6" fmla="*/ 26495 w 26554"/>
                      <a:gd name="connsiteY6" fmla="*/ 8493 h 43120"/>
                      <a:gd name="connsiteX7" fmla="*/ 26435 w 26554"/>
                      <a:gd name="connsiteY7" fmla="*/ 10705 h 43120"/>
                      <a:gd name="connsiteX8" fmla="*/ 25717 w 26554"/>
                      <a:gd name="connsiteY8" fmla="*/ 14473 h 43120"/>
                      <a:gd name="connsiteX9" fmla="*/ 25538 w 26554"/>
                      <a:gd name="connsiteY9" fmla="*/ 15430 h 43120"/>
                      <a:gd name="connsiteX10" fmla="*/ 25478 w 26554"/>
                      <a:gd name="connsiteY10" fmla="*/ 15849 h 43120"/>
                      <a:gd name="connsiteX11" fmla="*/ 25179 w 26554"/>
                      <a:gd name="connsiteY11" fmla="*/ 16746 h 43120"/>
                      <a:gd name="connsiteX12" fmla="*/ 24760 w 26554"/>
                      <a:gd name="connsiteY12" fmla="*/ 18002 h 43120"/>
                      <a:gd name="connsiteX13" fmla="*/ 24342 w 26554"/>
                      <a:gd name="connsiteY13" fmla="*/ 19377 h 43120"/>
                      <a:gd name="connsiteX14" fmla="*/ 23743 w 26554"/>
                      <a:gd name="connsiteY14" fmla="*/ 21291 h 43120"/>
                      <a:gd name="connsiteX15" fmla="*/ 22846 w 26554"/>
                      <a:gd name="connsiteY15" fmla="*/ 23384 h 43120"/>
                      <a:gd name="connsiteX16" fmla="*/ 21351 w 26554"/>
                      <a:gd name="connsiteY16" fmla="*/ 26794 h 43120"/>
                      <a:gd name="connsiteX17" fmla="*/ 19377 w 26554"/>
                      <a:gd name="connsiteY17" fmla="*/ 30203 h 43120"/>
                      <a:gd name="connsiteX18" fmla="*/ 18481 w 26554"/>
                      <a:gd name="connsiteY18" fmla="*/ 31758 h 43120"/>
                      <a:gd name="connsiteX19" fmla="*/ 18361 w 26554"/>
                      <a:gd name="connsiteY19" fmla="*/ 31937 h 43120"/>
                      <a:gd name="connsiteX20" fmla="*/ 16985 w 26554"/>
                      <a:gd name="connsiteY20" fmla="*/ 33791 h 43120"/>
                      <a:gd name="connsiteX21" fmla="*/ 16985 w 26554"/>
                      <a:gd name="connsiteY21" fmla="*/ 33791 h 43120"/>
                      <a:gd name="connsiteX22" fmla="*/ 16567 w 26554"/>
                      <a:gd name="connsiteY22" fmla="*/ 34329 h 43120"/>
                      <a:gd name="connsiteX23" fmla="*/ 15430 w 26554"/>
                      <a:gd name="connsiteY23" fmla="*/ 35884 h 43120"/>
                      <a:gd name="connsiteX24" fmla="*/ 15072 w 26554"/>
                      <a:gd name="connsiteY24" fmla="*/ 36363 h 43120"/>
                      <a:gd name="connsiteX25" fmla="*/ 12440 w 26554"/>
                      <a:gd name="connsiteY25" fmla="*/ 39054 h 43120"/>
                      <a:gd name="connsiteX26" fmla="*/ 11782 w 26554"/>
                      <a:gd name="connsiteY26" fmla="*/ 39712 h 43120"/>
                      <a:gd name="connsiteX27" fmla="*/ 11662 w 26554"/>
                      <a:gd name="connsiteY27" fmla="*/ 39831 h 43120"/>
                      <a:gd name="connsiteX28" fmla="*/ 9031 w 26554"/>
                      <a:gd name="connsiteY28" fmla="*/ 41685 h 43120"/>
                      <a:gd name="connsiteX29" fmla="*/ 8313 w 26554"/>
                      <a:gd name="connsiteY29" fmla="*/ 42164 h 43120"/>
                      <a:gd name="connsiteX30" fmla="*/ 7416 w 26554"/>
                      <a:gd name="connsiteY30" fmla="*/ 42463 h 43120"/>
                      <a:gd name="connsiteX31" fmla="*/ 6280 w 26554"/>
                      <a:gd name="connsiteY31" fmla="*/ 42822 h 43120"/>
                      <a:gd name="connsiteX32" fmla="*/ 5323 w 26554"/>
                      <a:gd name="connsiteY32" fmla="*/ 43121 h 43120"/>
                      <a:gd name="connsiteX33" fmla="*/ 3828 w 26554"/>
                      <a:gd name="connsiteY33" fmla="*/ 42822 h 43120"/>
                      <a:gd name="connsiteX34" fmla="*/ 2811 w 26554"/>
                      <a:gd name="connsiteY34" fmla="*/ 42642 h 43120"/>
                      <a:gd name="connsiteX35" fmla="*/ 2153 w 26554"/>
                      <a:gd name="connsiteY35" fmla="*/ 41925 h 43120"/>
                      <a:gd name="connsiteX36" fmla="*/ 1615 w 26554"/>
                      <a:gd name="connsiteY36" fmla="*/ 41327 h 43120"/>
                      <a:gd name="connsiteX37" fmla="*/ 1017 w 26554"/>
                      <a:gd name="connsiteY37" fmla="*/ 40729 h 43120"/>
                      <a:gd name="connsiteX38" fmla="*/ 658 w 26554"/>
                      <a:gd name="connsiteY38" fmla="*/ 39413 h 43120"/>
                      <a:gd name="connsiteX39" fmla="*/ 60 w 26554"/>
                      <a:gd name="connsiteY39" fmla="*/ 37439 h 43120"/>
                      <a:gd name="connsiteX40" fmla="*/ 60 w 26554"/>
                      <a:gd name="connsiteY40" fmla="*/ 36661 h 43120"/>
                      <a:gd name="connsiteX41" fmla="*/ 0 w 26554"/>
                      <a:gd name="connsiteY41" fmla="*/ 33073 h 43120"/>
                      <a:gd name="connsiteX42" fmla="*/ 0 w 26554"/>
                      <a:gd name="connsiteY42" fmla="*/ 33013 h 43120"/>
                      <a:gd name="connsiteX43" fmla="*/ 120 w 26554"/>
                      <a:gd name="connsiteY43" fmla="*/ 32356 h 43120"/>
                      <a:gd name="connsiteX44" fmla="*/ 299 w 26554"/>
                      <a:gd name="connsiteY44" fmla="*/ 31339 h 43120"/>
                      <a:gd name="connsiteX45" fmla="*/ 897 w 26554"/>
                      <a:gd name="connsiteY45" fmla="*/ 27750 h 43120"/>
                      <a:gd name="connsiteX46" fmla="*/ 1794 w 26554"/>
                      <a:gd name="connsiteY46" fmla="*/ 24820 h 43120"/>
                      <a:gd name="connsiteX47" fmla="*/ 2632 w 26554"/>
                      <a:gd name="connsiteY47" fmla="*/ 22069 h 43120"/>
                      <a:gd name="connsiteX48" fmla="*/ 4246 w 26554"/>
                      <a:gd name="connsiteY48" fmla="*/ 18480 h 43120"/>
                      <a:gd name="connsiteX49" fmla="*/ 5203 w 26554"/>
                      <a:gd name="connsiteY49" fmla="*/ 16387 h 43120"/>
                      <a:gd name="connsiteX50" fmla="*/ 7177 w 26554"/>
                      <a:gd name="connsiteY50" fmla="*/ 13038 h 43120"/>
                      <a:gd name="connsiteX51" fmla="*/ 7416 w 26554"/>
                      <a:gd name="connsiteY51" fmla="*/ 12619 h 43120"/>
                      <a:gd name="connsiteX52" fmla="*/ 8313 w 26554"/>
                      <a:gd name="connsiteY52" fmla="*/ 11064 h 43120"/>
                      <a:gd name="connsiteX53" fmla="*/ 8552 w 26554"/>
                      <a:gd name="connsiteY53" fmla="*/ 10765 h 43120"/>
                      <a:gd name="connsiteX54" fmla="*/ 8732 w 26554"/>
                      <a:gd name="connsiteY54" fmla="*/ 10526 h 43120"/>
                      <a:gd name="connsiteX55" fmla="*/ 10406 w 26554"/>
                      <a:gd name="connsiteY55" fmla="*/ 8253 h 43120"/>
                      <a:gd name="connsiteX56" fmla="*/ 10645 w 26554"/>
                      <a:gd name="connsiteY56" fmla="*/ 7954 h 43120"/>
                      <a:gd name="connsiteX57" fmla="*/ 11603 w 26554"/>
                      <a:gd name="connsiteY57" fmla="*/ 6698 h 43120"/>
                      <a:gd name="connsiteX58" fmla="*/ 11782 w 26554"/>
                      <a:gd name="connsiteY58" fmla="*/ 6459 h 43120"/>
                      <a:gd name="connsiteX59" fmla="*/ 12380 w 26554"/>
                      <a:gd name="connsiteY59" fmla="*/ 5861 h 43120"/>
                      <a:gd name="connsiteX60" fmla="*/ 12440 w 26554"/>
                      <a:gd name="connsiteY60" fmla="*/ 5801 h 43120"/>
                      <a:gd name="connsiteX61" fmla="*/ 14832 w 26554"/>
                      <a:gd name="connsiteY61" fmla="*/ 3409 h 43120"/>
                      <a:gd name="connsiteX62" fmla="*/ 15311 w 26554"/>
                      <a:gd name="connsiteY62" fmla="*/ 2930 h 43120"/>
                      <a:gd name="connsiteX63" fmla="*/ 15789 w 26554"/>
                      <a:gd name="connsiteY63" fmla="*/ 2631 h 43120"/>
                      <a:gd name="connsiteX64" fmla="*/ 18540 w 26554"/>
                      <a:gd name="connsiteY64" fmla="*/ 837 h 43120"/>
                      <a:gd name="connsiteX65" fmla="*/ 18720 w 26554"/>
                      <a:gd name="connsiteY65" fmla="*/ 718 h 43120"/>
                      <a:gd name="connsiteX66" fmla="*/ 19019 w 26554"/>
                      <a:gd name="connsiteY66" fmla="*/ 658 h 43120"/>
                      <a:gd name="connsiteX67" fmla="*/ 19019 w 26554"/>
                      <a:gd name="connsiteY67" fmla="*/ 658 h 43120"/>
                      <a:gd name="connsiteX68" fmla="*/ 20693 w 26554"/>
                      <a:gd name="connsiteY68" fmla="*/ 239 h 43120"/>
                      <a:gd name="connsiteX69" fmla="*/ 20933 w 26554"/>
                      <a:gd name="connsiteY69" fmla="*/ 179 h 43120"/>
                      <a:gd name="connsiteX70" fmla="*/ 21710 w 26554"/>
                      <a:gd name="connsiteY70" fmla="*/ 0 h 43120"/>
                      <a:gd name="connsiteX71" fmla="*/ 21949 w 26554"/>
                      <a:gd name="connsiteY71" fmla="*/ 60 h 43120"/>
                      <a:gd name="connsiteX72" fmla="*/ 23325 w 26554"/>
                      <a:gd name="connsiteY72" fmla="*/ 478 h 43120"/>
                      <a:gd name="connsiteX73" fmla="*/ 24043 w 26554"/>
                      <a:gd name="connsiteY73" fmla="*/ 658 h 4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6554" h="43120">
                        <a:moveTo>
                          <a:pt x="24043" y="658"/>
                        </a:moveTo>
                        <a:lnTo>
                          <a:pt x="25717" y="2811"/>
                        </a:lnTo>
                        <a:lnTo>
                          <a:pt x="26495" y="6040"/>
                        </a:lnTo>
                        <a:lnTo>
                          <a:pt x="26554" y="6220"/>
                        </a:lnTo>
                        <a:lnTo>
                          <a:pt x="26554" y="6340"/>
                        </a:lnTo>
                        <a:lnTo>
                          <a:pt x="26495" y="8134"/>
                        </a:lnTo>
                        <a:lnTo>
                          <a:pt x="26495" y="8493"/>
                        </a:lnTo>
                        <a:lnTo>
                          <a:pt x="26435" y="10705"/>
                        </a:lnTo>
                        <a:lnTo>
                          <a:pt x="25717" y="14473"/>
                        </a:lnTo>
                        <a:lnTo>
                          <a:pt x="25538" y="15430"/>
                        </a:lnTo>
                        <a:lnTo>
                          <a:pt x="25478" y="15849"/>
                        </a:lnTo>
                        <a:lnTo>
                          <a:pt x="25179" y="16746"/>
                        </a:lnTo>
                        <a:lnTo>
                          <a:pt x="24760" y="18002"/>
                        </a:lnTo>
                        <a:lnTo>
                          <a:pt x="24342" y="19377"/>
                        </a:lnTo>
                        <a:lnTo>
                          <a:pt x="23743" y="21291"/>
                        </a:lnTo>
                        <a:lnTo>
                          <a:pt x="22846" y="23384"/>
                        </a:lnTo>
                        <a:lnTo>
                          <a:pt x="21351" y="26794"/>
                        </a:lnTo>
                        <a:lnTo>
                          <a:pt x="19377" y="30203"/>
                        </a:lnTo>
                        <a:lnTo>
                          <a:pt x="18481" y="31758"/>
                        </a:lnTo>
                        <a:lnTo>
                          <a:pt x="18361" y="31937"/>
                        </a:lnTo>
                        <a:lnTo>
                          <a:pt x="16985" y="33791"/>
                        </a:lnTo>
                        <a:lnTo>
                          <a:pt x="16985" y="33791"/>
                        </a:lnTo>
                        <a:lnTo>
                          <a:pt x="16567" y="34329"/>
                        </a:lnTo>
                        <a:lnTo>
                          <a:pt x="15430" y="35884"/>
                        </a:lnTo>
                        <a:lnTo>
                          <a:pt x="15072" y="36363"/>
                        </a:lnTo>
                        <a:lnTo>
                          <a:pt x="12440" y="39054"/>
                        </a:lnTo>
                        <a:lnTo>
                          <a:pt x="11782" y="39712"/>
                        </a:lnTo>
                        <a:lnTo>
                          <a:pt x="11662" y="39831"/>
                        </a:lnTo>
                        <a:lnTo>
                          <a:pt x="9031" y="41685"/>
                        </a:lnTo>
                        <a:lnTo>
                          <a:pt x="8313" y="42164"/>
                        </a:lnTo>
                        <a:lnTo>
                          <a:pt x="7416" y="42463"/>
                        </a:lnTo>
                        <a:lnTo>
                          <a:pt x="6280" y="42822"/>
                        </a:lnTo>
                        <a:lnTo>
                          <a:pt x="5323" y="43121"/>
                        </a:lnTo>
                        <a:lnTo>
                          <a:pt x="3828" y="42822"/>
                        </a:lnTo>
                        <a:lnTo>
                          <a:pt x="2811" y="42642"/>
                        </a:lnTo>
                        <a:lnTo>
                          <a:pt x="2153" y="41925"/>
                        </a:lnTo>
                        <a:lnTo>
                          <a:pt x="1615" y="41327"/>
                        </a:lnTo>
                        <a:lnTo>
                          <a:pt x="1017" y="40729"/>
                        </a:lnTo>
                        <a:lnTo>
                          <a:pt x="658" y="39413"/>
                        </a:lnTo>
                        <a:lnTo>
                          <a:pt x="60" y="37439"/>
                        </a:lnTo>
                        <a:lnTo>
                          <a:pt x="60" y="36661"/>
                        </a:lnTo>
                        <a:lnTo>
                          <a:pt x="0" y="33073"/>
                        </a:lnTo>
                        <a:lnTo>
                          <a:pt x="0" y="33013"/>
                        </a:lnTo>
                        <a:lnTo>
                          <a:pt x="120" y="32356"/>
                        </a:lnTo>
                        <a:lnTo>
                          <a:pt x="299" y="31339"/>
                        </a:lnTo>
                        <a:lnTo>
                          <a:pt x="897" y="27750"/>
                        </a:lnTo>
                        <a:lnTo>
                          <a:pt x="1794" y="24820"/>
                        </a:lnTo>
                        <a:lnTo>
                          <a:pt x="2632" y="22069"/>
                        </a:lnTo>
                        <a:lnTo>
                          <a:pt x="4246" y="18480"/>
                        </a:lnTo>
                        <a:lnTo>
                          <a:pt x="5203" y="16387"/>
                        </a:lnTo>
                        <a:lnTo>
                          <a:pt x="7177" y="13038"/>
                        </a:lnTo>
                        <a:lnTo>
                          <a:pt x="7416" y="12619"/>
                        </a:lnTo>
                        <a:lnTo>
                          <a:pt x="8313" y="11064"/>
                        </a:lnTo>
                        <a:lnTo>
                          <a:pt x="8552" y="10765"/>
                        </a:lnTo>
                        <a:lnTo>
                          <a:pt x="8732" y="10526"/>
                        </a:lnTo>
                        <a:lnTo>
                          <a:pt x="10406" y="8253"/>
                        </a:lnTo>
                        <a:lnTo>
                          <a:pt x="10645" y="7954"/>
                        </a:lnTo>
                        <a:lnTo>
                          <a:pt x="11603" y="6698"/>
                        </a:lnTo>
                        <a:lnTo>
                          <a:pt x="11782" y="6459"/>
                        </a:lnTo>
                        <a:lnTo>
                          <a:pt x="12380" y="5861"/>
                        </a:lnTo>
                        <a:lnTo>
                          <a:pt x="12440" y="5801"/>
                        </a:lnTo>
                        <a:lnTo>
                          <a:pt x="14832" y="3409"/>
                        </a:lnTo>
                        <a:lnTo>
                          <a:pt x="15311" y="2930"/>
                        </a:lnTo>
                        <a:lnTo>
                          <a:pt x="15789" y="2631"/>
                        </a:lnTo>
                        <a:lnTo>
                          <a:pt x="18540" y="837"/>
                        </a:lnTo>
                        <a:lnTo>
                          <a:pt x="18720" y="718"/>
                        </a:lnTo>
                        <a:lnTo>
                          <a:pt x="19019" y="658"/>
                        </a:lnTo>
                        <a:lnTo>
                          <a:pt x="19019" y="658"/>
                        </a:lnTo>
                        <a:lnTo>
                          <a:pt x="20693" y="239"/>
                        </a:lnTo>
                        <a:lnTo>
                          <a:pt x="20933" y="179"/>
                        </a:lnTo>
                        <a:lnTo>
                          <a:pt x="21710" y="0"/>
                        </a:lnTo>
                        <a:lnTo>
                          <a:pt x="21949" y="60"/>
                        </a:lnTo>
                        <a:lnTo>
                          <a:pt x="23325" y="478"/>
                        </a:lnTo>
                        <a:lnTo>
                          <a:pt x="24043" y="658"/>
                        </a:lnTo>
                      </a:path>
                    </a:pathLst>
                  </a:custGeom>
                  <a:noFill/>
                  <a:ln w="6350" cap="flat">
                    <a:solidFill>
                      <a:schemeClr val="bg1">
                        <a:alpha val="40000"/>
                      </a:schemeClr>
                    </a:solidFill>
                    <a:prstDash val="solid"/>
                    <a:miter/>
                  </a:ln>
                </p:spPr>
                <p:txBody>
                  <a:bodyPr rtlCol="0" anchor="ctr"/>
                  <a:lstStyle/>
                  <a:p>
                    <a:endParaRPr lang="en-GB"/>
                  </a:p>
                </p:txBody>
              </p:sp>
              <p:sp>
                <p:nvSpPr>
                  <p:cNvPr id="7762" name="Vrije vorm: vorm 7761">
                    <a:extLst>
                      <a:ext uri="{FF2B5EF4-FFF2-40B4-BE49-F238E27FC236}">
                        <a16:creationId xmlns:a16="http://schemas.microsoft.com/office/drawing/2014/main" id="{63DF7B19-F61E-4801-A4FA-2C5355AC7534}"/>
                      </a:ext>
                    </a:extLst>
                  </p:cNvPr>
                  <p:cNvSpPr/>
                  <p:nvPr/>
                </p:nvSpPr>
                <p:spPr>
                  <a:xfrm>
                    <a:off x="5809453" y="5240528"/>
                    <a:ext cx="4186" cy="5203"/>
                  </a:xfrm>
                  <a:custGeom>
                    <a:avLst/>
                    <a:gdLst>
                      <a:gd name="connsiteX0" fmla="*/ 1256 w 4186"/>
                      <a:gd name="connsiteY0" fmla="*/ 5083 h 5203"/>
                      <a:gd name="connsiteX1" fmla="*/ 1077 w 4186"/>
                      <a:gd name="connsiteY1" fmla="*/ 4904 h 5203"/>
                      <a:gd name="connsiteX2" fmla="*/ 957 w 4186"/>
                      <a:gd name="connsiteY2" fmla="*/ 4545 h 5203"/>
                      <a:gd name="connsiteX3" fmla="*/ 957 w 4186"/>
                      <a:gd name="connsiteY3" fmla="*/ 4127 h 5203"/>
                      <a:gd name="connsiteX4" fmla="*/ 957 w 4186"/>
                      <a:gd name="connsiteY4" fmla="*/ 4067 h 5203"/>
                      <a:gd name="connsiteX5" fmla="*/ 1017 w 4186"/>
                      <a:gd name="connsiteY5" fmla="*/ 3648 h 5203"/>
                      <a:gd name="connsiteX6" fmla="*/ 1077 w 4186"/>
                      <a:gd name="connsiteY6" fmla="*/ 3469 h 5203"/>
                      <a:gd name="connsiteX7" fmla="*/ 1316 w 4186"/>
                      <a:gd name="connsiteY7" fmla="*/ 2811 h 5203"/>
                      <a:gd name="connsiteX8" fmla="*/ 1615 w 4186"/>
                      <a:gd name="connsiteY8" fmla="*/ 2153 h 5203"/>
                      <a:gd name="connsiteX9" fmla="*/ 1974 w 4186"/>
                      <a:gd name="connsiteY9" fmla="*/ 1495 h 5203"/>
                      <a:gd name="connsiteX10" fmla="*/ 2392 w 4186"/>
                      <a:gd name="connsiteY10" fmla="*/ 897 h 5203"/>
                      <a:gd name="connsiteX11" fmla="*/ 2811 w 4186"/>
                      <a:gd name="connsiteY11" fmla="*/ 418 h 5203"/>
                      <a:gd name="connsiteX12" fmla="*/ 2871 w 4186"/>
                      <a:gd name="connsiteY12" fmla="*/ 359 h 5203"/>
                      <a:gd name="connsiteX13" fmla="*/ 3230 w 4186"/>
                      <a:gd name="connsiteY13" fmla="*/ 119 h 5203"/>
                      <a:gd name="connsiteX14" fmla="*/ 3290 w 4186"/>
                      <a:gd name="connsiteY14" fmla="*/ 119 h 5203"/>
                      <a:gd name="connsiteX15" fmla="*/ 3589 w 4186"/>
                      <a:gd name="connsiteY15" fmla="*/ 0 h 5203"/>
                      <a:gd name="connsiteX16" fmla="*/ 3888 w 4186"/>
                      <a:gd name="connsiteY16" fmla="*/ 60 h 5203"/>
                      <a:gd name="connsiteX17" fmla="*/ 4067 w 4186"/>
                      <a:gd name="connsiteY17" fmla="*/ 299 h 5203"/>
                      <a:gd name="connsiteX18" fmla="*/ 4187 w 4186"/>
                      <a:gd name="connsiteY18" fmla="*/ 658 h 5203"/>
                      <a:gd name="connsiteX19" fmla="*/ 4187 w 4186"/>
                      <a:gd name="connsiteY19" fmla="*/ 1136 h 5203"/>
                      <a:gd name="connsiteX20" fmla="*/ 4067 w 4186"/>
                      <a:gd name="connsiteY20" fmla="*/ 1734 h 5203"/>
                      <a:gd name="connsiteX21" fmla="*/ 3828 w 4186"/>
                      <a:gd name="connsiteY21" fmla="*/ 2392 h 5203"/>
                      <a:gd name="connsiteX22" fmla="*/ 3589 w 4186"/>
                      <a:gd name="connsiteY22" fmla="*/ 2990 h 5203"/>
                      <a:gd name="connsiteX23" fmla="*/ 3529 w 4186"/>
                      <a:gd name="connsiteY23" fmla="*/ 3110 h 5203"/>
                      <a:gd name="connsiteX24" fmla="*/ 3170 w 4186"/>
                      <a:gd name="connsiteY24" fmla="*/ 3768 h 5203"/>
                      <a:gd name="connsiteX25" fmla="*/ 2751 w 4186"/>
                      <a:gd name="connsiteY25" fmla="*/ 4366 h 5203"/>
                      <a:gd name="connsiteX26" fmla="*/ 2691 w 4186"/>
                      <a:gd name="connsiteY26" fmla="*/ 4426 h 5203"/>
                      <a:gd name="connsiteX27" fmla="*/ 2333 w 4186"/>
                      <a:gd name="connsiteY27" fmla="*/ 4785 h 5203"/>
                      <a:gd name="connsiteX28" fmla="*/ 1914 w 4186"/>
                      <a:gd name="connsiteY28" fmla="*/ 5083 h 5203"/>
                      <a:gd name="connsiteX29" fmla="*/ 1555 w 4186"/>
                      <a:gd name="connsiteY29" fmla="*/ 5203 h 5203"/>
                      <a:gd name="connsiteX30" fmla="*/ 1256 w 4186"/>
                      <a:gd name="connsiteY30" fmla="*/ 5083 h 5203"/>
                      <a:gd name="connsiteX31" fmla="*/ 538 w 4186"/>
                      <a:gd name="connsiteY31" fmla="*/ 4725 h 5203"/>
                      <a:gd name="connsiteX32" fmla="*/ 0 w 4186"/>
                      <a:gd name="connsiteY32" fmla="*/ 4426 h 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186" h="5203">
                        <a:moveTo>
                          <a:pt x="1256" y="5083"/>
                        </a:moveTo>
                        <a:lnTo>
                          <a:pt x="1077" y="4904"/>
                        </a:lnTo>
                        <a:lnTo>
                          <a:pt x="957" y="4545"/>
                        </a:lnTo>
                        <a:lnTo>
                          <a:pt x="957" y="4127"/>
                        </a:lnTo>
                        <a:lnTo>
                          <a:pt x="957" y="4067"/>
                        </a:lnTo>
                        <a:lnTo>
                          <a:pt x="1017" y="3648"/>
                        </a:lnTo>
                        <a:lnTo>
                          <a:pt x="1077" y="3469"/>
                        </a:lnTo>
                        <a:lnTo>
                          <a:pt x="1316" y="2811"/>
                        </a:lnTo>
                        <a:lnTo>
                          <a:pt x="1615" y="2153"/>
                        </a:lnTo>
                        <a:lnTo>
                          <a:pt x="1974" y="1495"/>
                        </a:lnTo>
                        <a:lnTo>
                          <a:pt x="2392" y="897"/>
                        </a:lnTo>
                        <a:lnTo>
                          <a:pt x="2811" y="418"/>
                        </a:lnTo>
                        <a:lnTo>
                          <a:pt x="2871" y="359"/>
                        </a:lnTo>
                        <a:lnTo>
                          <a:pt x="3230" y="119"/>
                        </a:lnTo>
                        <a:lnTo>
                          <a:pt x="3290" y="119"/>
                        </a:lnTo>
                        <a:lnTo>
                          <a:pt x="3589" y="0"/>
                        </a:lnTo>
                        <a:lnTo>
                          <a:pt x="3888" y="60"/>
                        </a:lnTo>
                        <a:lnTo>
                          <a:pt x="4067" y="299"/>
                        </a:lnTo>
                        <a:lnTo>
                          <a:pt x="4187" y="658"/>
                        </a:lnTo>
                        <a:lnTo>
                          <a:pt x="4187" y="1136"/>
                        </a:lnTo>
                        <a:lnTo>
                          <a:pt x="4067" y="1734"/>
                        </a:lnTo>
                        <a:lnTo>
                          <a:pt x="3828" y="2392"/>
                        </a:lnTo>
                        <a:lnTo>
                          <a:pt x="3589" y="2990"/>
                        </a:lnTo>
                        <a:lnTo>
                          <a:pt x="3529" y="3110"/>
                        </a:lnTo>
                        <a:lnTo>
                          <a:pt x="3170" y="3768"/>
                        </a:lnTo>
                        <a:lnTo>
                          <a:pt x="2751" y="4366"/>
                        </a:lnTo>
                        <a:lnTo>
                          <a:pt x="2691" y="4426"/>
                        </a:lnTo>
                        <a:lnTo>
                          <a:pt x="2333" y="4785"/>
                        </a:lnTo>
                        <a:lnTo>
                          <a:pt x="1914" y="5083"/>
                        </a:lnTo>
                        <a:lnTo>
                          <a:pt x="1555" y="5203"/>
                        </a:lnTo>
                        <a:lnTo>
                          <a:pt x="1256" y="5083"/>
                        </a:lnTo>
                        <a:lnTo>
                          <a:pt x="538" y="4725"/>
                        </a:lnTo>
                        <a:lnTo>
                          <a:pt x="0" y="4426"/>
                        </a:lnTo>
                      </a:path>
                    </a:pathLst>
                  </a:custGeom>
                  <a:noFill/>
                  <a:ln w="6350" cap="flat">
                    <a:solidFill>
                      <a:schemeClr val="bg1">
                        <a:alpha val="40000"/>
                      </a:schemeClr>
                    </a:solidFill>
                    <a:prstDash val="solid"/>
                    <a:miter/>
                  </a:ln>
                </p:spPr>
                <p:txBody>
                  <a:bodyPr rtlCol="0" anchor="ctr"/>
                  <a:lstStyle/>
                  <a:p>
                    <a:endParaRPr lang="en-GB"/>
                  </a:p>
                </p:txBody>
              </p:sp>
              <p:sp>
                <p:nvSpPr>
                  <p:cNvPr id="7763" name="Vrije vorm: vorm 7762">
                    <a:extLst>
                      <a:ext uri="{FF2B5EF4-FFF2-40B4-BE49-F238E27FC236}">
                        <a16:creationId xmlns:a16="http://schemas.microsoft.com/office/drawing/2014/main" id="{BCE4E4A9-04FB-4352-88BF-20A5D7C37062}"/>
                      </a:ext>
                    </a:extLst>
                  </p:cNvPr>
                  <p:cNvSpPr/>
                  <p:nvPr/>
                </p:nvSpPr>
                <p:spPr>
                  <a:xfrm>
                    <a:off x="5812085" y="5239810"/>
                    <a:ext cx="1196" cy="598"/>
                  </a:xfrm>
                  <a:custGeom>
                    <a:avLst/>
                    <a:gdLst>
                      <a:gd name="connsiteX0" fmla="*/ 0 w 1196"/>
                      <a:gd name="connsiteY0" fmla="*/ 0 h 598"/>
                      <a:gd name="connsiteX1" fmla="*/ 239 w 1196"/>
                      <a:gd name="connsiteY1" fmla="*/ 120 h 598"/>
                      <a:gd name="connsiteX2" fmla="*/ 598 w 1196"/>
                      <a:gd name="connsiteY2" fmla="*/ 299 h 598"/>
                      <a:gd name="connsiteX3" fmla="*/ 1196 w 1196"/>
                      <a:gd name="connsiteY3" fmla="*/ 598 h 598"/>
                    </a:gdLst>
                    <a:ahLst/>
                    <a:cxnLst>
                      <a:cxn ang="0">
                        <a:pos x="connsiteX0" y="connsiteY0"/>
                      </a:cxn>
                      <a:cxn ang="0">
                        <a:pos x="connsiteX1" y="connsiteY1"/>
                      </a:cxn>
                      <a:cxn ang="0">
                        <a:pos x="connsiteX2" y="connsiteY2"/>
                      </a:cxn>
                      <a:cxn ang="0">
                        <a:pos x="connsiteX3" y="connsiteY3"/>
                      </a:cxn>
                    </a:cxnLst>
                    <a:rect l="l" t="t" r="r" b="b"/>
                    <a:pathLst>
                      <a:path w="1196" h="598">
                        <a:moveTo>
                          <a:pt x="0" y="0"/>
                        </a:moveTo>
                        <a:lnTo>
                          <a:pt x="239" y="120"/>
                        </a:lnTo>
                        <a:lnTo>
                          <a:pt x="598" y="299"/>
                        </a:lnTo>
                        <a:lnTo>
                          <a:pt x="1196" y="598"/>
                        </a:lnTo>
                      </a:path>
                    </a:pathLst>
                  </a:custGeom>
                  <a:noFill/>
                  <a:ln w="6350" cap="flat">
                    <a:solidFill>
                      <a:schemeClr val="bg1">
                        <a:alpha val="40000"/>
                      </a:schemeClr>
                    </a:solidFill>
                    <a:prstDash val="solid"/>
                    <a:miter/>
                  </a:ln>
                </p:spPr>
                <p:txBody>
                  <a:bodyPr rtlCol="0" anchor="ctr"/>
                  <a:lstStyle/>
                  <a:p>
                    <a:endParaRPr lang="en-GB"/>
                  </a:p>
                </p:txBody>
              </p:sp>
              <p:sp>
                <p:nvSpPr>
                  <p:cNvPr id="7764" name="Vrije vorm: vorm 7763">
                    <a:extLst>
                      <a:ext uri="{FF2B5EF4-FFF2-40B4-BE49-F238E27FC236}">
                        <a16:creationId xmlns:a16="http://schemas.microsoft.com/office/drawing/2014/main" id="{668735BA-3051-4E14-ADDD-E167E93E1AB9}"/>
                      </a:ext>
                    </a:extLst>
                  </p:cNvPr>
                  <p:cNvSpPr/>
                  <p:nvPr/>
                </p:nvSpPr>
                <p:spPr>
                  <a:xfrm>
                    <a:off x="5782181" y="5274498"/>
                    <a:ext cx="4126" cy="5263"/>
                  </a:xfrm>
                  <a:custGeom>
                    <a:avLst/>
                    <a:gdLst>
                      <a:gd name="connsiteX0" fmla="*/ 1196 w 4126"/>
                      <a:gd name="connsiteY0" fmla="*/ 5263 h 5263"/>
                      <a:gd name="connsiteX1" fmla="*/ 957 w 4126"/>
                      <a:gd name="connsiteY1" fmla="*/ 5083 h 5263"/>
                      <a:gd name="connsiteX2" fmla="*/ 837 w 4126"/>
                      <a:gd name="connsiteY2" fmla="*/ 4725 h 5263"/>
                      <a:gd name="connsiteX3" fmla="*/ 837 w 4126"/>
                      <a:gd name="connsiteY3" fmla="*/ 4246 h 5263"/>
                      <a:gd name="connsiteX4" fmla="*/ 837 w 4126"/>
                      <a:gd name="connsiteY4" fmla="*/ 4246 h 5263"/>
                      <a:gd name="connsiteX5" fmla="*/ 957 w 4126"/>
                      <a:gd name="connsiteY5" fmla="*/ 3648 h 5263"/>
                      <a:gd name="connsiteX6" fmla="*/ 1196 w 4126"/>
                      <a:gd name="connsiteY6" fmla="*/ 2990 h 5263"/>
                      <a:gd name="connsiteX7" fmla="*/ 1495 w 4126"/>
                      <a:gd name="connsiteY7" fmla="*/ 2273 h 5263"/>
                      <a:gd name="connsiteX8" fmla="*/ 1854 w 4126"/>
                      <a:gd name="connsiteY8" fmla="*/ 1615 h 5263"/>
                      <a:gd name="connsiteX9" fmla="*/ 2273 w 4126"/>
                      <a:gd name="connsiteY9" fmla="*/ 1017 h 5263"/>
                      <a:gd name="connsiteX10" fmla="*/ 2691 w 4126"/>
                      <a:gd name="connsiteY10" fmla="*/ 538 h 5263"/>
                      <a:gd name="connsiteX11" fmla="*/ 2751 w 4126"/>
                      <a:gd name="connsiteY11" fmla="*/ 478 h 5263"/>
                      <a:gd name="connsiteX12" fmla="*/ 2871 w 4126"/>
                      <a:gd name="connsiteY12" fmla="*/ 359 h 5263"/>
                      <a:gd name="connsiteX13" fmla="*/ 3050 w 4126"/>
                      <a:gd name="connsiteY13" fmla="*/ 179 h 5263"/>
                      <a:gd name="connsiteX14" fmla="*/ 3230 w 4126"/>
                      <a:gd name="connsiteY14" fmla="*/ 119 h 5263"/>
                      <a:gd name="connsiteX15" fmla="*/ 3469 w 4126"/>
                      <a:gd name="connsiteY15" fmla="*/ 0 h 5263"/>
                      <a:gd name="connsiteX16" fmla="*/ 3768 w 4126"/>
                      <a:gd name="connsiteY16" fmla="*/ 0 h 5263"/>
                      <a:gd name="connsiteX17" fmla="*/ 4007 w 4126"/>
                      <a:gd name="connsiteY17" fmla="*/ 179 h 5263"/>
                      <a:gd name="connsiteX18" fmla="*/ 4127 w 4126"/>
                      <a:gd name="connsiteY18" fmla="*/ 538 h 5263"/>
                      <a:gd name="connsiteX19" fmla="*/ 4127 w 4126"/>
                      <a:gd name="connsiteY19" fmla="*/ 1017 h 5263"/>
                      <a:gd name="connsiteX20" fmla="*/ 4007 w 4126"/>
                      <a:gd name="connsiteY20" fmla="*/ 1615 h 5263"/>
                      <a:gd name="connsiteX21" fmla="*/ 3768 w 4126"/>
                      <a:gd name="connsiteY21" fmla="*/ 2273 h 5263"/>
                      <a:gd name="connsiteX22" fmla="*/ 3589 w 4126"/>
                      <a:gd name="connsiteY22" fmla="*/ 2632 h 5263"/>
                      <a:gd name="connsiteX23" fmla="*/ 3469 w 4126"/>
                      <a:gd name="connsiteY23" fmla="*/ 2930 h 5263"/>
                      <a:gd name="connsiteX24" fmla="*/ 3170 w 4126"/>
                      <a:gd name="connsiteY24" fmla="*/ 3469 h 5263"/>
                      <a:gd name="connsiteX25" fmla="*/ 3110 w 4126"/>
                      <a:gd name="connsiteY25" fmla="*/ 3588 h 5263"/>
                      <a:gd name="connsiteX26" fmla="*/ 2691 w 4126"/>
                      <a:gd name="connsiteY26" fmla="*/ 4186 h 5263"/>
                      <a:gd name="connsiteX27" fmla="*/ 2273 w 4126"/>
                      <a:gd name="connsiteY27" fmla="*/ 4665 h 5263"/>
                      <a:gd name="connsiteX28" fmla="*/ 1854 w 4126"/>
                      <a:gd name="connsiteY28" fmla="*/ 5024 h 5263"/>
                      <a:gd name="connsiteX29" fmla="*/ 1495 w 4126"/>
                      <a:gd name="connsiteY29" fmla="*/ 5203 h 5263"/>
                      <a:gd name="connsiteX30" fmla="*/ 1196 w 4126"/>
                      <a:gd name="connsiteY30" fmla="*/ 5263 h 5263"/>
                      <a:gd name="connsiteX31" fmla="*/ 0 w 4126"/>
                      <a:gd name="connsiteY31" fmla="*/ 4545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126" h="5263">
                        <a:moveTo>
                          <a:pt x="1196" y="5263"/>
                        </a:moveTo>
                        <a:lnTo>
                          <a:pt x="957" y="5083"/>
                        </a:lnTo>
                        <a:lnTo>
                          <a:pt x="837" y="4725"/>
                        </a:lnTo>
                        <a:lnTo>
                          <a:pt x="837" y="4246"/>
                        </a:lnTo>
                        <a:lnTo>
                          <a:pt x="837" y="4246"/>
                        </a:lnTo>
                        <a:lnTo>
                          <a:pt x="957" y="3648"/>
                        </a:lnTo>
                        <a:lnTo>
                          <a:pt x="1196" y="2990"/>
                        </a:lnTo>
                        <a:lnTo>
                          <a:pt x="1495" y="2273"/>
                        </a:lnTo>
                        <a:lnTo>
                          <a:pt x="1854" y="1615"/>
                        </a:lnTo>
                        <a:lnTo>
                          <a:pt x="2273" y="1017"/>
                        </a:lnTo>
                        <a:lnTo>
                          <a:pt x="2691" y="538"/>
                        </a:lnTo>
                        <a:lnTo>
                          <a:pt x="2751" y="478"/>
                        </a:lnTo>
                        <a:lnTo>
                          <a:pt x="2871" y="359"/>
                        </a:lnTo>
                        <a:lnTo>
                          <a:pt x="3050" y="179"/>
                        </a:lnTo>
                        <a:lnTo>
                          <a:pt x="3230" y="119"/>
                        </a:lnTo>
                        <a:lnTo>
                          <a:pt x="3469" y="0"/>
                        </a:lnTo>
                        <a:lnTo>
                          <a:pt x="3768" y="0"/>
                        </a:lnTo>
                        <a:lnTo>
                          <a:pt x="4007" y="179"/>
                        </a:lnTo>
                        <a:lnTo>
                          <a:pt x="4127" y="538"/>
                        </a:lnTo>
                        <a:lnTo>
                          <a:pt x="4127" y="1017"/>
                        </a:lnTo>
                        <a:lnTo>
                          <a:pt x="4007" y="1615"/>
                        </a:lnTo>
                        <a:lnTo>
                          <a:pt x="3768" y="2273"/>
                        </a:lnTo>
                        <a:lnTo>
                          <a:pt x="3589" y="2632"/>
                        </a:lnTo>
                        <a:lnTo>
                          <a:pt x="3469" y="2930"/>
                        </a:lnTo>
                        <a:lnTo>
                          <a:pt x="3170" y="3469"/>
                        </a:lnTo>
                        <a:lnTo>
                          <a:pt x="3110" y="3588"/>
                        </a:lnTo>
                        <a:lnTo>
                          <a:pt x="2691" y="4186"/>
                        </a:lnTo>
                        <a:lnTo>
                          <a:pt x="2273" y="4665"/>
                        </a:lnTo>
                        <a:lnTo>
                          <a:pt x="1854" y="5024"/>
                        </a:lnTo>
                        <a:lnTo>
                          <a:pt x="1495" y="5203"/>
                        </a:lnTo>
                        <a:lnTo>
                          <a:pt x="1196" y="5263"/>
                        </a:lnTo>
                        <a:lnTo>
                          <a:pt x="0" y="4545"/>
                        </a:lnTo>
                      </a:path>
                    </a:pathLst>
                  </a:custGeom>
                  <a:noFill/>
                  <a:ln w="6350" cap="flat">
                    <a:solidFill>
                      <a:schemeClr val="bg1">
                        <a:alpha val="40000"/>
                      </a:schemeClr>
                    </a:solidFill>
                    <a:prstDash val="solid"/>
                    <a:miter/>
                  </a:ln>
                </p:spPr>
                <p:txBody>
                  <a:bodyPr rtlCol="0" anchor="ctr"/>
                  <a:lstStyle/>
                  <a:p>
                    <a:endParaRPr lang="en-GB"/>
                  </a:p>
                </p:txBody>
              </p:sp>
              <p:sp>
                <p:nvSpPr>
                  <p:cNvPr id="7765" name="Vrije vorm: vorm 7764">
                    <a:extLst>
                      <a:ext uri="{FF2B5EF4-FFF2-40B4-BE49-F238E27FC236}">
                        <a16:creationId xmlns:a16="http://schemas.microsoft.com/office/drawing/2014/main" id="{70F22E6C-7CBE-4FC2-A8AB-633D9624B7F8}"/>
                      </a:ext>
                    </a:extLst>
                  </p:cNvPr>
                  <p:cNvSpPr/>
                  <p:nvPr/>
                </p:nvSpPr>
                <p:spPr>
                  <a:xfrm>
                    <a:off x="5784813" y="5273781"/>
                    <a:ext cx="1256" cy="717"/>
                  </a:xfrm>
                  <a:custGeom>
                    <a:avLst/>
                    <a:gdLst>
                      <a:gd name="connsiteX0" fmla="*/ 0 w 1256"/>
                      <a:gd name="connsiteY0" fmla="*/ 0 h 717"/>
                      <a:gd name="connsiteX1" fmla="*/ 0 w 1256"/>
                      <a:gd name="connsiteY1" fmla="*/ 0 h 717"/>
                      <a:gd name="connsiteX2" fmla="*/ 658 w 1256"/>
                      <a:gd name="connsiteY2" fmla="*/ 359 h 717"/>
                      <a:gd name="connsiteX3" fmla="*/ 1256 w 1256"/>
                      <a:gd name="connsiteY3" fmla="*/ 718 h 717"/>
                    </a:gdLst>
                    <a:ahLst/>
                    <a:cxnLst>
                      <a:cxn ang="0">
                        <a:pos x="connsiteX0" y="connsiteY0"/>
                      </a:cxn>
                      <a:cxn ang="0">
                        <a:pos x="connsiteX1" y="connsiteY1"/>
                      </a:cxn>
                      <a:cxn ang="0">
                        <a:pos x="connsiteX2" y="connsiteY2"/>
                      </a:cxn>
                      <a:cxn ang="0">
                        <a:pos x="connsiteX3" y="connsiteY3"/>
                      </a:cxn>
                    </a:cxnLst>
                    <a:rect l="l" t="t" r="r" b="b"/>
                    <a:pathLst>
                      <a:path w="1256" h="717">
                        <a:moveTo>
                          <a:pt x="0" y="0"/>
                        </a:moveTo>
                        <a:lnTo>
                          <a:pt x="0" y="0"/>
                        </a:lnTo>
                        <a:lnTo>
                          <a:pt x="658" y="359"/>
                        </a:lnTo>
                        <a:lnTo>
                          <a:pt x="1256" y="718"/>
                        </a:lnTo>
                      </a:path>
                    </a:pathLst>
                  </a:custGeom>
                  <a:noFill/>
                  <a:ln w="6350" cap="flat">
                    <a:solidFill>
                      <a:schemeClr val="bg1">
                        <a:alpha val="40000"/>
                      </a:schemeClr>
                    </a:solidFill>
                    <a:prstDash val="solid"/>
                    <a:miter/>
                  </a:ln>
                </p:spPr>
                <p:txBody>
                  <a:bodyPr rtlCol="0" anchor="ctr"/>
                  <a:lstStyle/>
                  <a:p>
                    <a:endParaRPr lang="en-GB"/>
                  </a:p>
                </p:txBody>
              </p:sp>
              <p:sp>
                <p:nvSpPr>
                  <p:cNvPr id="7766" name="Vrije vorm: vorm 7765">
                    <a:extLst>
                      <a:ext uri="{FF2B5EF4-FFF2-40B4-BE49-F238E27FC236}">
                        <a16:creationId xmlns:a16="http://schemas.microsoft.com/office/drawing/2014/main" id="{5932A153-447A-49CF-AC8C-CE8090D5F4C9}"/>
                      </a:ext>
                    </a:extLst>
                  </p:cNvPr>
                  <p:cNvSpPr/>
                  <p:nvPr/>
                </p:nvSpPr>
                <p:spPr>
                  <a:xfrm>
                    <a:off x="5812324" y="5283230"/>
                    <a:ext cx="1196" cy="658"/>
                  </a:xfrm>
                  <a:custGeom>
                    <a:avLst/>
                    <a:gdLst>
                      <a:gd name="connsiteX0" fmla="*/ 1196 w 1196"/>
                      <a:gd name="connsiteY0" fmla="*/ 658 h 658"/>
                      <a:gd name="connsiteX1" fmla="*/ 0 w 1196"/>
                      <a:gd name="connsiteY1" fmla="*/ 0 h 658"/>
                    </a:gdLst>
                    <a:ahLst/>
                    <a:cxnLst>
                      <a:cxn ang="0">
                        <a:pos x="connsiteX0" y="connsiteY0"/>
                      </a:cxn>
                      <a:cxn ang="0">
                        <a:pos x="connsiteX1" y="connsiteY1"/>
                      </a:cxn>
                    </a:cxnLst>
                    <a:rect l="l" t="t" r="r" b="b"/>
                    <a:pathLst>
                      <a:path w="1196" h="658">
                        <a:moveTo>
                          <a:pt x="1196" y="658"/>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67" name="Vrije vorm: vorm 7766">
                    <a:extLst>
                      <a:ext uri="{FF2B5EF4-FFF2-40B4-BE49-F238E27FC236}">
                        <a16:creationId xmlns:a16="http://schemas.microsoft.com/office/drawing/2014/main" id="{EA95F826-4853-49C1-9585-1B249A87A122}"/>
                      </a:ext>
                    </a:extLst>
                  </p:cNvPr>
                  <p:cNvSpPr/>
                  <p:nvPr/>
                </p:nvSpPr>
                <p:spPr>
                  <a:xfrm>
                    <a:off x="5794860" y="5347224"/>
                    <a:ext cx="1076" cy="717"/>
                  </a:xfrm>
                  <a:custGeom>
                    <a:avLst/>
                    <a:gdLst>
                      <a:gd name="connsiteX0" fmla="*/ 0 w 1076"/>
                      <a:gd name="connsiteY0" fmla="*/ 0 h 717"/>
                      <a:gd name="connsiteX1" fmla="*/ 1077 w 1076"/>
                      <a:gd name="connsiteY1" fmla="*/ 718 h 717"/>
                    </a:gdLst>
                    <a:ahLst/>
                    <a:cxnLst>
                      <a:cxn ang="0">
                        <a:pos x="connsiteX0" y="connsiteY0"/>
                      </a:cxn>
                      <a:cxn ang="0">
                        <a:pos x="connsiteX1" y="connsiteY1"/>
                      </a:cxn>
                    </a:cxnLst>
                    <a:rect l="l" t="t" r="r" b="b"/>
                    <a:pathLst>
                      <a:path w="1076" h="717">
                        <a:moveTo>
                          <a:pt x="0" y="0"/>
                        </a:moveTo>
                        <a:lnTo>
                          <a:pt x="1077" y="718"/>
                        </a:lnTo>
                      </a:path>
                    </a:pathLst>
                  </a:custGeom>
                  <a:noFill/>
                  <a:ln w="6350" cap="flat">
                    <a:solidFill>
                      <a:schemeClr val="bg1">
                        <a:alpha val="40000"/>
                      </a:schemeClr>
                    </a:solidFill>
                    <a:prstDash val="solid"/>
                    <a:miter/>
                  </a:ln>
                </p:spPr>
                <p:txBody>
                  <a:bodyPr rtlCol="0" anchor="ctr"/>
                  <a:lstStyle/>
                  <a:p>
                    <a:endParaRPr lang="en-GB"/>
                  </a:p>
                </p:txBody>
              </p:sp>
              <p:sp>
                <p:nvSpPr>
                  <p:cNvPr id="7768" name="Vrije vorm: vorm 7767">
                    <a:extLst>
                      <a:ext uri="{FF2B5EF4-FFF2-40B4-BE49-F238E27FC236}">
                        <a16:creationId xmlns:a16="http://schemas.microsoft.com/office/drawing/2014/main" id="{C097A554-FE49-41AB-BB43-8469F8308F0B}"/>
                      </a:ext>
                    </a:extLst>
                  </p:cNvPr>
                  <p:cNvSpPr/>
                  <p:nvPr/>
                </p:nvSpPr>
                <p:spPr>
                  <a:xfrm>
                    <a:off x="5816750" y="5316722"/>
                    <a:ext cx="2511" cy="4545"/>
                  </a:xfrm>
                  <a:custGeom>
                    <a:avLst/>
                    <a:gdLst>
                      <a:gd name="connsiteX0" fmla="*/ 239 w 2511"/>
                      <a:gd name="connsiteY0" fmla="*/ 4545 h 4545"/>
                      <a:gd name="connsiteX1" fmla="*/ 60 w 2511"/>
                      <a:gd name="connsiteY1" fmla="*/ 4426 h 4545"/>
                      <a:gd name="connsiteX2" fmla="*/ 0 w 2511"/>
                      <a:gd name="connsiteY2" fmla="*/ 4127 h 4545"/>
                      <a:gd name="connsiteX3" fmla="*/ 0 w 2511"/>
                      <a:gd name="connsiteY3" fmla="*/ 3768 h 4545"/>
                      <a:gd name="connsiteX4" fmla="*/ 0 w 2511"/>
                      <a:gd name="connsiteY4" fmla="*/ 3708 h 4545"/>
                      <a:gd name="connsiteX5" fmla="*/ 120 w 2511"/>
                      <a:gd name="connsiteY5" fmla="*/ 3289 h 4545"/>
                      <a:gd name="connsiteX6" fmla="*/ 120 w 2511"/>
                      <a:gd name="connsiteY6" fmla="*/ 3229 h 4545"/>
                      <a:gd name="connsiteX7" fmla="*/ 299 w 2511"/>
                      <a:gd name="connsiteY7" fmla="*/ 2632 h 4545"/>
                      <a:gd name="connsiteX8" fmla="*/ 598 w 2511"/>
                      <a:gd name="connsiteY8" fmla="*/ 2033 h 4545"/>
                      <a:gd name="connsiteX9" fmla="*/ 897 w 2511"/>
                      <a:gd name="connsiteY9" fmla="*/ 1435 h 4545"/>
                      <a:gd name="connsiteX10" fmla="*/ 1256 w 2511"/>
                      <a:gd name="connsiteY10" fmla="*/ 897 h 4545"/>
                      <a:gd name="connsiteX11" fmla="*/ 1555 w 2511"/>
                      <a:gd name="connsiteY11" fmla="*/ 538 h 4545"/>
                      <a:gd name="connsiteX12" fmla="*/ 1615 w 2511"/>
                      <a:gd name="connsiteY12" fmla="*/ 478 h 4545"/>
                      <a:gd name="connsiteX13" fmla="*/ 1974 w 2511"/>
                      <a:gd name="connsiteY13" fmla="*/ 179 h 4545"/>
                      <a:gd name="connsiteX14" fmla="*/ 2273 w 2511"/>
                      <a:gd name="connsiteY14" fmla="*/ 0 h 4545"/>
                      <a:gd name="connsiteX15" fmla="*/ 2512 w 2511"/>
                      <a:gd name="connsiteY15" fmla="*/ 0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1" h="4545">
                        <a:moveTo>
                          <a:pt x="239" y="4545"/>
                        </a:moveTo>
                        <a:lnTo>
                          <a:pt x="60" y="4426"/>
                        </a:lnTo>
                        <a:lnTo>
                          <a:pt x="0" y="4127"/>
                        </a:lnTo>
                        <a:lnTo>
                          <a:pt x="0" y="3768"/>
                        </a:lnTo>
                        <a:lnTo>
                          <a:pt x="0" y="3708"/>
                        </a:lnTo>
                        <a:lnTo>
                          <a:pt x="120" y="3289"/>
                        </a:lnTo>
                        <a:lnTo>
                          <a:pt x="120" y="3229"/>
                        </a:lnTo>
                        <a:lnTo>
                          <a:pt x="299" y="2632"/>
                        </a:lnTo>
                        <a:lnTo>
                          <a:pt x="598" y="2033"/>
                        </a:lnTo>
                        <a:lnTo>
                          <a:pt x="897" y="1435"/>
                        </a:lnTo>
                        <a:lnTo>
                          <a:pt x="1256" y="897"/>
                        </a:lnTo>
                        <a:lnTo>
                          <a:pt x="1555" y="538"/>
                        </a:lnTo>
                        <a:lnTo>
                          <a:pt x="1615" y="478"/>
                        </a:lnTo>
                        <a:lnTo>
                          <a:pt x="1974" y="179"/>
                        </a:lnTo>
                        <a:lnTo>
                          <a:pt x="2273" y="0"/>
                        </a:lnTo>
                        <a:lnTo>
                          <a:pt x="2512" y="0"/>
                        </a:lnTo>
                      </a:path>
                    </a:pathLst>
                  </a:custGeom>
                  <a:noFill/>
                  <a:ln w="6350" cap="flat">
                    <a:solidFill>
                      <a:schemeClr val="bg1">
                        <a:alpha val="40000"/>
                      </a:schemeClr>
                    </a:solidFill>
                    <a:prstDash val="solid"/>
                    <a:miter/>
                  </a:ln>
                </p:spPr>
                <p:txBody>
                  <a:bodyPr rtlCol="0" anchor="ctr"/>
                  <a:lstStyle/>
                  <a:p>
                    <a:endParaRPr lang="en-GB"/>
                  </a:p>
                </p:txBody>
              </p:sp>
              <p:sp>
                <p:nvSpPr>
                  <p:cNvPr id="7769" name="Vrije vorm: vorm 7768">
                    <a:extLst>
                      <a:ext uri="{FF2B5EF4-FFF2-40B4-BE49-F238E27FC236}">
                        <a16:creationId xmlns:a16="http://schemas.microsoft.com/office/drawing/2014/main" id="{86FCFFA6-7321-4719-B39D-363EA17ACB68}"/>
                      </a:ext>
                    </a:extLst>
                  </p:cNvPr>
                  <p:cNvSpPr/>
                  <p:nvPr/>
                </p:nvSpPr>
                <p:spPr>
                  <a:xfrm>
                    <a:off x="5800064" y="5341482"/>
                    <a:ext cx="16865" cy="30262"/>
                  </a:xfrm>
                  <a:custGeom>
                    <a:avLst/>
                    <a:gdLst>
                      <a:gd name="connsiteX0" fmla="*/ 16865 w 16865"/>
                      <a:gd name="connsiteY0" fmla="*/ 0 h 30262"/>
                      <a:gd name="connsiteX1" fmla="*/ 14593 w 16865"/>
                      <a:gd name="connsiteY1" fmla="*/ 1376 h 30262"/>
                      <a:gd name="connsiteX2" fmla="*/ 12739 w 16865"/>
                      <a:gd name="connsiteY2" fmla="*/ 3110 h 30262"/>
                      <a:gd name="connsiteX3" fmla="*/ 12021 w 16865"/>
                      <a:gd name="connsiteY3" fmla="*/ 3768 h 30262"/>
                      <a:gd name="connsiteX4" fmla="*/ 9569 w 16865"/>
                      <a:gd name="connsiteY4" fmla="*/ 6758 h 30262"/>
                      <a:gd name="connsiteX5" fmla="*/ 9330 w 16865"/>
                      <a:gd name="connsiteY5" fmla="*/ 7058 h 30262"/>
                      <a:gd name="connsiteX6" fmla="*/ 7236 w 16865"/>
                      <a:gd name="connsiteY6" fmla="*/ 10167 h 30262"/>
                      <a:gd name="connsiteX7" fmla="*/ 6698 w 16865"/>
                      <a:gd name="connsiteY7" fmla="*/ 11005 h 30262"/>
                      <a:gd name="connsiteX8" fmla="*/ 4785 w 16865"/>
                      <a:gd name="connsiteY8" fmla="*/ 14474 h 30262"/>
                      <a:gd name="connsiteX9" fmla="*/ 4306 w 16865"/>
                      <a:gd name="connsiteY9" fmla="*/ 15311 h 30262"/>
                      <a:gd name="connsiteX10" fmla="*/ 3947 w 16865"/>
                      <a:gd name="connsiteY10" fmla="*/ 16088 h 30262"/>
                      <a:gd name="connsiteX11" fmla="*/ 2272 w 16865"/>
                      <a:gd name="connsiteY11" fmla="*/ 19737 h 30262"/>
                      <a:gd name="connsiteX12" fmla="*/ 1017 w 16865"/>
                      <a:gd name="connsiteY12" fmla="*/ 23445 h 30262"/>
                      <a:gd name="connsiteX13" fmla="*/ 837 w 16865"/>
                      <a:gd name="connsiteY13" fmla="*/ 23863 h 30262"/>
                      <a:gd name="connsiteX14" fmla="*/ 658 w 16865"/>
                      <a:gd name="connsiteY14" fmla="*/ 24760 h 30262"/>
                      <a:gd name="connsiteX15" fmla="*/ 60 w 16865"/>
                      <a:gd name="connsiteY15" fmla="*/ 27452 h 30262"/>
                      <a:gd name="connsiteX16" fmla="*/ 0 w 16865"/>
                      <a:gd name="connsiteY16" fmla="*/ 30263 h 3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865" h="30262">
                        <a:moveTo>
                          <a:pt x="16865" y="0"/>
                        </a:moveTo>
                        <a:lnTo>
                          <a:pt x="14593" y="1376"/>
                        </a:lnTo>
                        <a:lnTo>
                          <a:pt x="12739" y="3110"/>
                        </a:lnTo>
                        <a:lnTo>
                          <a:pt x="12021" y="3768"/>
                        </a:lnTo>
                        <a:lnTo>
                          <a:pt x="9569" y="6758"/>
                        </a:lnTo>
                        <a:lnTo>
                          <a:pt x="9330" y="7058"/>
                        </a:lnTo>
                        <a:lnTo>
                          <a:pt x="7236" y="10167"/>
                        </a:lnTo>
                        <a:lnTo>
                          <a:pt x="6698" y="11005"/>
                        </a:lnTo>
                        <a:lnTo>
                          <a:pt x="4785" y="14474"/>
                        </a:lnTo>
                        <a:lnTo>
                          <a:pt x="4306" y="15311"/>
                        </a:lnTo>
                        <a:lnTo>
                          <a:pt x="3947" y="16088"/>
                        </a:lnTo>
                        <a:lnTo>
                          <a:pt x="2272" y="19737"/>
                        </a:lnTo>
                        <a:lnTo>
                          <a:pt x="1017" y="23445"/>
                        </a:lnTo>
                        <a:lnTo>
                          <a:pt x="837" y="23863"/>
                        </a:lnTo>
                        <a:lnTo>
                          <a:pt x="658" y="24760"/>
                        </a:lnTo>
                        <a:lnTo>
                          <a:pt x="60" y="27452"/>
                        </a:lnTo>
                        <a:lnTo>
                          <a:pt x="0" y="30263"/>
                        </a:lnTo>
                      </a:path>
                    </a:pathLst>
                  </a:custGeom>
                  <a:noFill/>
                  <a:ln w="6350" cap="flat">
                    <a:solidFill>
                      <a:schemeClr val="bg1">
                        <a:alpha val="40000"/>
                      </a:schemeClr>
                    </a:solidFill>
                    <a:prstDash val="solid"/>
                    <a:miter/>
                  </a:ln>
                </p:spPr>
                <p:txBody>
                  <a:bodyPr rtlCol="0" anchor="ctr"/>
                  <a:lstStyle/>
                  <a:p>
                    <a:endParaRPr lang="en-GB"/>
                  </a:p>
                </p:txBody>
              </p:sp>
              <p:sp>
                <p:nvSpPr>
                  <p:cNvPr id="7770" name="Vrije vorm: vorm 7769">
                    <a:extLst>
                      <a:ext uri="{FF2B5EF4-FFF2-40B4-BE49-F238E27FC236}">
                        <a16:creationId xmlns:a16="http://schemas.microsoft.com/office/drawing/2014/main" id="{45D5C68D-1501-425D-9DB6-91D6EA0FE57E}"/>
                      </a:ext>
                    </a:extLst>
                  </p:cNvPr>
                  <p:cNvSpPr/>
                  <p:nvPr/>
                </p:nvSpPr>
                <p:spPr>
                  <a:xfrm>
                    <a:off x="5809753" y="5158472"/>
                    <a:ext cx="9628" cy="16686"/>
                  </a:xfrm>
                  <a:custGeom>
                    <a:avLst/>
                    <a:gdLst>
                      <a:gd name="connsiteX0" fmla="*/ 7356 w 9628"/>
                      <a:gd name="connsiteY0" fmla="*/ 0 h 16686"/>
                      <a:gd name="connsiteX1" fmla="*/ 8373 w 9628"/>
                      <a:gd name="connsiteY1" fmla="*/ 359 h 16686"/>
                      <a:gd name="connsiteX2" fmla="*/ 9210 w 9628"/>
                      <a:gd name="connsiteY2" fmla="*/ 1316 h 16686"/>
                      <a:gd name="connsiteX3" fmla="*/ 9390 w 9628"/>
                      <a:gd name="connsiteY3" fmla="*/ 2034 h 16686"/>
                      <a:gd name="connsiteX4" fmla="*/ 9449 w 9628"/>
                      <a:gd name="connsiteY4" fmla="*/ 2213 h 16686"/>
                      <a:gd name="connsiteX5" fmla="*/ 9629 w 9628"/>
                      <a:gd name="connsiteY5" fmla="*/ 2811 h 16686"/>
                      <a:gd name="connsiteX6" fmla="*/ 9629 w 9628"/>
                      <a:gd name="connsiteY6" fmla="*/ 4785 h 16686"/>
                      <a:gd name="connsiteX7" fmla="*/ 9509 w 9628"/>
                      <a:gd name="connsiteY7" fmla="*/ 6698 h 16686"/>
                      <a:gd name="connsiteX8" fmla="*/ 9210 w 9628"/>
                      <a:gd name="connsiteY8" fmla="*/ 8194 h 16686"/>
                      <a:gd name="connsiteX9" fmla="*/ 9210 w 9628"/>
                      <a:gd name="connsiteY9" fmla="*/ 8253 h 16686"/>
                      <a:gd name="connsiteX10" fmla="*/ 8672 w 9628"/>
                      <a:gd name="connsiteY10" fmla="*/ 9808 h 16686"/>
                      <a:gd name="connsiteX11" fmla="*/ 8313 w 9628"/>
                      <a:gd name="connsiteY11" fmla="*/ 10526 h 16686"/>
                      <a:gd name="connsiteX12" fmla="*/ 7895 w 9628"/>
                      <a:gd name="connsiteY12" fmla="*/ 11304 h 16686"/>
                      <a:gd name="connsiteX13" fmla="*/ 6997 w 9628"/>
                      <a:gd name="connsiteY13" fmla="*/ 12619 h 16686"/>
                      <a:gd name="connsiteX14" fmla="*/ 5981 w 9628"/>
                      <a:gd name="connsiteY14" fmla="*/ 13696 h 16686"/>
                      <a:gd name="connsiteX15" fmla="*/ 4306 w 9628"/>
                      <a:gd name="connsiteY15" fmla="*/ 15430 h 16686"/>
                      <a:gd name="connsiteX16" fmla="*/ 3289 w 9628"/>
                      <a:gd name="connsiteY16" fmla="*/ 16148 h 16686"/>
                      <a:gd name="connsiteX17" fmla="*/ 3170 w 9628"/>
                      <a:gd name="connsiteY17" fmla="*/ 16208 h 16686"/>
                      <a:gd name="connsiteX18" fmla="*/ 3110 w 9628"/>
                      <a:gd name="connsiteY18" fmla="*/ 16268 h 16686"/>
                      <a:gd name="connsiteX19" fmla="*/ 1973 w 9628"/>
                      <a:gd name="connsiteY19" fmla="*/ 16686 h 16686"/>
                      <a:gd name="connsiteX20" fmla="*/ 957 w 9628"/>
                      <a:gd name="connsiteY20" fmla="*/ 16686 h 16686"/>
                      <a:gd name="connsiteX21" fmla="*/ 0 w 9628"/>
                      <a:gd name="connsiteY21" fmla="*/ 16268 h 1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28" h="16686">
                        <a:moveTo>
                          <a:pt x="7356" y="0"/>
                        </a:moveTo>
                        <a:lnTo>
                          <a:pt x="8373" y="359"/>
                        </a:lnTo>
                        <a:lnTo>
                          <a:pt x="9210" y="1316"/>
                        </a:lnTo>
                        <a:lnTo>
                          <a:pt x="9390" y="2034"/>
                        </a:lnTo>
                        <a:lnTo>
                          <a:pt x="9449" y="2213"/>
                        </a:lnTo>
                        <a:lnTo>
                          <a:pt x="9629" y="2811"/>
                        </a:lnTo>
                        <a:lnTo>
                          <a:pt x="9629" y="4785"/>
                        </a:lnTo>
                        <a:lnTo>
                          <a:pt x="9509" y="6698"/>
                        </a:lnTo>
                        <a:lnTo>
                          <a:pt x="9210" y="8194"/>
                        </a:lnTo>
                        <a:lnTo>
                          <a:pt x="9210" y="8253"/>
                        </a:lnTo>
                        <a:lnTo>
                          <a:pt x="8672" y="9808"/>
                        </a:lnTo>
                        <a:lnTo>
                          <a:pt x="8313" y="10526"/>
                        </a:lnTo>
                        <a:lnTo>
                          <a:pt x="7895" y="11304"/>
                        </a:lnTo>
                        <a:lnTo>
                          <a:pt x="6997" y="12619"/>
                        </a:lnTo>
                        <a:lnTo>
                          <a:pt x="5981" y="13696"/>
                        </a:lnTo>
                        <a:lnTo>
                          <a:pt x="4306" y="15430"/>
                        </a:lnTo>
                        <a:lnTo>
                          <a:pt x="3289" y="16148"/>
                        </a:lnTo>
                        <a:lnTo>
                          <a:pt x="3170" y="16208"/>
                        </a:lnTo>
                        <a:lnTo>
                          <a:pt x="3110" y="16268"/>
                        </a:lnTo>
                        <a:lnTo>
                          <a:pt x="1973" y="16686"/>
                        </a:lnTo>
                        <a:lnTo>
                          <a:pt x="957" y="16686"/>
                        </a:lnTo>
                        <a:lnTo>
                          <a:pt x="0" y="16268"/>
                        </a:lnTo>
                      </a:path>
                    </a:pathLst>
                  </a:custGeom>
                  <a:noFill/>
                  <a:ln w="6350" cap="flat">
                    <a:solidFill>
                      <a:schemeClr val="bg1">
                        <a:alpha val="40000"/>
                      </a:schemeClr>
                    </a:solidFill>
                    <a:prstDash val="solid"/>
                    <a:miter/>
                  </a:ln>
                </p:spPr>
                <p:txBody>
                  <a:bodyPr rtlCol="0" anchor="ctr"/>
                  <a:lstStyle/>
                  <a:p>
                    <a:endParaRPr lang="en-GB"/>
                  </a:p>
                </p:txBody>
              </p:sp>
              <p:sp>
                <p:nvSpPr>
                  <p:cNvPr id="7771" name="Vrije vorm: vorm 7770">
                    <a:extLst>
                      <a:ext uri="{FF2B5EF4-FFF2-40B4-BE49-F238E27FC236}">
                        <a16:creationId xmlns:a16="http://schemas.microsoft.com/office/drawing/2014/main" id="{7075C191-4751-4929-869C-83C7DC071289}"/>
                      </a:ext>
                    </a:extLst>
                  </p:cNvPr>
                  <p:cNvSpPr/>
                  <p:nvPr/>
                </p:nvSpPr>
                <p:spPr>
                  <a:xfrm>
                    <a:off x="5814298" y="5150219"/>
                    <a:ext cx="4067" cy="10466"/>
                  </a:xfrm>
                  <a:custGeom>
                    <a:avLst/>
                    <a:gdLst>
                      <a:gd name="connsiteX0" fmla="*/ 0 w 4067"/>
                      <a:gd name="connsiteY0" fmla="*/ 10466 h 10466"/>
                      <a:gd name="connsiteX1" fmla="*/ 359 w 4067"/>
                      <a:gd name="connsiteY1" fmla="*/ 8433 h 10466"/>
                      <a:gd name="connsiteX2" fmla="*/ 957 w 4067"/>
                      <a:gd name="connsiteY2" fmla="*/ 6280 h 10466"/>
                      <a:gd name="connsiteX3" fmla="*/ 1017 w 4067"/>
                      <a:gd name="connsiteY3" fmla="*/ 6100 h 10466"/>
                      <a:gd name="connsiteX4" fmla="*/ 1316 w 4067"/>
                      <a:gd name="connsiteY4" fmla="*/ 5323 h 10466"/>
                      <a:gd name="connsiteX5" fmla="*/ 1795 w 4067"/>
                      <a:gd name="connsiteY5" fmla="*/ 4067 h 10466"/>
                      <a:gd name="connsiteX6" fmla="*/ 2871 w 4067"/>
                      <a:gd name="connsiteY6" fmla="*/ 1914 h 10466"/>
                      <a:gd name="connsiteX7" fmla="*/ 4007 w 4067"/>
                      <a:gd name="connsiteY7" fmla="*/ 120 h 10466"/>
                      <a:gd name="connsiteX8" fmla="*/ 4067 w 4067"/>
                      <a:gd name="connsiteY8" fmla="*/ 0 h 1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7" h="10466">
                        <a:moveTo>
                          <a:pt x="0" y="10466"/>
                        </a:moveTo>
                        <a:lnTo>
                          <a:pt x="359" y="8433"/>
                        </a:lnTo>
                        <a:lnTo>
                          <a:pt x="957" y="6280"/>
                        </a:lnTo>
                        <a:lnTo>
                          <a:pt x="1017" y="6100"/>
                        </a:lnTo>
                        <a:lnTo>
                          <a:pt x="1316" y="5323"/>
                        </a:lnTo>
                        <a:lnTo>
                          <a:pt x="1795" y="4067"/>
                        </a:lnTo>
                        <a:lnTo>
                          <a:pt x="2871" y="1914"/>
                        </a:lnTo>
                        <a:lnTo>
                          <a:pt x="4007" y="120"/>
                        </a:lnTo>
                        <a:lnTo>
                          <a:pt x="4067" y="0"/>
                        </a:lnTo>
                      </a:path>
                    </a:pathLst>
                  </a:custGeom>
                  <a:noFill/>
                  <a:ln w="6350" cap="flat">
                    <a:solidFill>
                      <a:schemeClr val="bg1">
                        <a:alpha val="40000"/>
                      </a:schemeClr>
                    </a:solidFill>
                    <a:prstDash val="solid"/>
                    <a:miter/>
                  </a:ln>
                </p:spPr>
                <p:txBody>
                  <a:bodyPr rtlCol="0" anchor="ctr"/>
                  <a:lstStyle/>
                  <a:p>
                    <a:endParaRPr lang="en-GB"/>
                  </a:p>
                </p:txBody>
              </p:sp>
              <p:sp>
                <p:nvSpPr>
                  <p:cNvPr id="7772" name="Vrije vorm: vorm 7771">
                    <a:extLst>
                      <a:ext uri="{FF2B5EF4-FFF2-40B4-BE49-F238E27FC236}">
                        <a16:creationId xmlns:a16="http://schemas.microsoft.com/office/drawing/2014/main" id="{5B2AC621-6766-4E59-A9E0-C720F19C269A}"/>
                      </a:ext>
                    </a:extLst>
                  </p:cNvPr>
                  <p:cNvSpPr/>
                  <p:nvPr/>
                </p:nvSpPr>
                <p:spPr>
                  <a:xfrm>
                    <a:off x="5813999" y="5158532"/>
                    <a:ext cx="4066" cy="1614"/>
                  </a:xfrm>
                  <a:custGeom>
                    <a:avLst/>
                    <a:gdLst>
                      <a:gd name="connsiteX0" fmla="*/ 0 w 4066"/>
                      <a:gd name="connsiteY0" fmla="*/ 1615 h 1614"/>
                      <a:gd name="connsiteX1" fmla="*/ 1495 w 4066"/>
                      <a:gd name="connsiteY1" fmla="*/ 479 h 1614"/>
                      <a:gd name="connsiteX2" fmla="*/ 2871 w 4066"/>
                      <a:gd name="connsiteY2" fmla="*/ 0 h 1614"/>
                      <a:gd name="connsiteX3" fmla="*/ 3230 w 4066"/>
                      <a:gd name="connsiteY3" fmla="*/ 60 h 1614"/>
                      <a:gd name="connsiteX4" fmla="*/ 4067 w 4066"/>
                      <a:gd name="connsiteY4" fmla="*/ 239 h 1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1614">
                        <a:moveTo>
                          <a:pt x="0" y="1615"/>
                        </a:moveTo>
                        <a:lnTo>
                          <a:pt x="1495" y="479"/>
                        </a:lnTo>
                        <a:lnTo>
                          <a:pt x="2871" y="0"/>
                        </a:lnTo>
                        <a:lnTo>
                          <a:pt x="3230" y="60"/>
                        </a:lnTo>
                        <a:lnTo>
                          <a:pt x="4067" y="239"/>
                        </a:lnTo>
                      </a:path>
                    </a:pathLst>
                  </a:custGeom>
                  <a:noFill/>
                  <a:ln w="6350" cap="flat">
                    <a:solidFill>
                      <a:schemeClr val="bg1">
                        <a:alpha val="40000"/>
                      </a:schemeClr>
                    </a:solidFill>
                    <a:prstDash val="solid"/>
                    <a:miter/>
                  </a:ln>
                </p:spPr>
                <p:txBody>
                  <a:bodyPr rtlCol="0" anchor="ctr"/>
                  <a:lstStyle/>
                  <a:p>
                    <a:endParaRPr lang="en-GB"/>
                  </a:p>
                </p:txBody>
              </p:sp>
              <p:sp>
                <p:nvSpPr>
                  <p:cNvPr id="7773" name="Vrije vorm: vorm 7772">
                    <a:extLst>
                      <a:ext uri="{FF2B5EF4-FFF2-40B4-BE49-F238E27FC236}">
                        <a16:creationId xmlns:a16="http://schemas.microsoft.com/office/drawing/2014/main" id="{68787048-1AF0-4E59-9369-8502B9F265E3}"/>
                      </a:ext>
                    </a:extLst>
                  </p:cNvPr>
                  <p:cNvSpPr/>
                  <p:nvPr/>
                </p:nvSpPr>
                <p:spPr>
                  <a:xfrm>
                    <a:off x="5814597" y="5163795"/>
                    <a:ext cx="1315" cy="1435"/>
                  </a:xfrm>
                  <a:custGeom>
                    <a:avLst/>
                    <a:gdLst>
                      <a:gd name="connsiteX0" fmla="*/ 1316 w 1315"/>
                      <a:gd name="connsiteY0" fmla="*/ 1435 h 1435"/>
                      <a:gd name="connsiteX1" fmla="*/ 598 w 1315"/>
                      <a:gd name="connsiteY1" fmla="*/ 1017 h 1435"/>
                      <a:gd name="connsiteX2" fmla="*/ 538 w 1315"/>
                      <a:gd name="connsiteY2" fmla="*/ 957 h 1435"/>
                      <a:gd name="connsiteX3" fmla="*/ 0 w 1315"/>
                      <a:gd name="connsiteY3" fmla="*/ 0 h 1435"/>
                    </a:gdLst>
                    <a:ahLst/>
                    <a:cxnLst>
                      <a:cxn ang="0">
                        <a:pos x="connsiteX0" y="connsiteY0"/>
                      </a:cxn>
                      <a:cxn ang="0">
                        <a:pos x="connsiteX1" y="connsiteY1"/>
                      </a:cxn>
                      <a:cxn ang="0">
                        <a:pos x="connsiteX2" y="connsiteY2"/>
                      </a:cxn>
                      <a:cxn ang="0">
                        <a:pos x="connsiteX3" y="connsiteY3"/>
                      </a:cxn>
                    </a:cxnLst>
                    <a:rect l="l" t="t" r="r" b="b"/>
                    <a:pathLst>
                      <a:path w="1315" h="1435">
                        <a:moveTo>
                          <a:pt x="1316" y="1435"/>
                        </a:moveTo>
                        <a:lnTo>
                          <a:pt x="598" y="1017"/>
                        </a:lnTo>
                        <a:lnTo>
                          <a:pt x="538" y="957"/>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74" name="Vrije vorm: vorm 7773">
                    <a:extLst>
                      <a:ext uri="{FF2B5EF4-FFF2-40B4-BE49-F238E27FC236}">
                        <a16:creationId xmlns:a16="http://schemas.microsoft.com/office/drawing/2014/main" id="{74CDB524-7F95-4DFD-844E-DAE6EDD340B6}"/>
                      </a:ext>
                    </a:extLst>
                  </p:cNvPr>
                  <p:cNvSpPr/>
                  <p:nvPr/>
                </p:nvSpPr>
                <p:spPr>
                  <a:xfrm>
                    <a:off x="5765734" y="5205122"/>
                    <a:ext cx="5621" cy="6638"/>
                  </a:xfrm>
                  <a:custGeom>
                    <a:avLst/>
                    <a:gdLst>
                      <a:gd name="connsiteX0" fmla="*/ 718 w 5621"/>
                      <a:gd name="connsiteY0" fmla="*/ 2632 h 6638"/>
                      <a:gd name="connsiteX1" fmla="*/ 658 w 5621"/>
                      <a:gd name="connsiteY1" fmla="*/ 2811 h 6638"/>
                      <a:gd name="connsiteX2" fmla="*/ 598 w 5621"/>
                      <a:gd name="connsiteY2" fmla="*/ 2930 h 6638"/>
                      <a:gd name="connsiteX3" fmla="*/ 538 w 5621"/>
                      <a:gd name="connsiteY3" fmla="*/ 3170 h 6638"/>
                      <a:gd name="connsiteX4" fmla="*/ 0 w 5621"/>
                      <a:gd name="connsiteY4" fmla="*/ 5323 h 6638"/>
                      <a:gd name="connsiteX5" fmla="*/ 1017 w 5621"/>
                      <a:gd name="connsiteY5" fmla="*/ 5861 h 6638"/>
                      <a:gd name="connsiteX6" fmla="*/ 1376 w 5621"/>
                      <a:gd name="connsiteY6" fmla="*/ 6041 h 6638"/>
                      <a:gd name="connsiteX7" fmla="*/ 2213 w 5621"/>
                      <a:gd name="connsiteY7" fmla="*/ 6459 h 6638"/>
                      <a:gd name="connsiteX8" fmla="*/ 2632 w 5621"/>
                      <a:gd name="connsiteY8" fmla="*/ 6639 h 6638"/>
                      <a:gd name="connsiteX9" fmla="*/ 4127 w 5621"/>
                      <a:gd name="connsiteY9" fmla="*/ 4904 h 6638"/>
                      <a:gd name="connsiteX10" fmla="*/ 4187 w 5621"/>
                      <a:gd name="connsiteY10" fmla="*/ 4844 h 6638"/>
                      <a:gd name="connsiteX11" fmla="*/ 4366 w 5621"/>
                      <a:gd name="connsiteY11" fmla="*/ 4605 h 6638"/>
                      <a:gd name="connsiteX12" fmla="*/ 4844 w 5621"/>
                      <a:gd name="connsiteY12" fmla="*/ 4067 h 6638"/>
                      <a:gd name="connsiteX13" fmla="*/ 5084 w 5621"/>
                      <a:gd name="connsiteY13" fmla="*/ 3110 h 6638"/>
                      <a:gd name="connsiteX14" fmla="*/ 5263 w 5621"/>
                      <a:gd name="connsiteY14" fmla="*/ 2333 h 6638"/>
                      <a:gd name="connsiteX15" fmla="*/ 5263 w 5621"/>
                      <a:gd name="connsiteY15" fmla="*/ 2213 h 6638"/>
                      <a:gd name="connsiteX16" fmla="*/ 5503 w 5621"/>
                      <a:gd name="connsiteY16" fmla="*/ 1316 h 6638"/>
                      <a:gd name="connsiteX17" fmla="*/ 5562 w 5621"/>
                      <a:gd name="connsiteY17" fmla="*/ 1017 h 6638"/>
                      <a:gd name="connsiteX18" fmla="*/ 5622 w 5621"/>
                      <a:gd name="connsiteY18" fmla="*/ 718 h 6638"/>
                      <a:gd name="connsiteX19" fmla="*/ 5503 w 5621"/>
                      <a:gd name="connsiteY19" fmla="*/ 658 h 6638"/>
                      <a:gd name="connsiteX20" fmla="*/ 4545 w 5621"/>
                      <a:gd name="connsiteY20" fmla="*/ 120 h 6638"/>
                      <a:gd name="connsiteX21" fmla="*/ 4306 w 5621"/>
                      <a:gd name="connsiteY21" fmla="*/ 0 h 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21" h="6638">
                        <a:moveTo>
                          <a:pt x="718" y="2632"/>
                        </a:moveTo>
                        <a:lnTo>
                          <a:pt x="658" y="2811"/>
                        </a:lnTo>
                        <a:lnTo>
                          <a:pt x="598" y="2930"/>
                        </a:lnTo>
                        <a:lnTo>
                          <a:pt x="538" y="3170"/>
                        </a:lnTo>
                        <a:lnTo>
                          <a:pt x="0" y="5323"/>
                        </a:lnTo>
                        <a:lnTo>
                          <a:pt x="1017" y="5861"/>
                        </a:lnTo>
                        <a:lnTo>
                          <a:pt x="1376" y="6041"/>
                        </a:lnTo>
                        <a:lnTo>
                          <a:pt x="2213" y="6459"/>
                        </a:lnTo>
                        <a:lnTo>
                          <a:pt x="2632" y="6639"/>
                        </a:lnTo>
                        <a:lnTo>
                          <a:pt x="4127" y="4904"/>
                        </a:lnTo>
                        <a:lnTo>
                          <a:pt x="4187" y="4844"/>
                        </a:lnTo>
                        <a:lnTo>
                          <a:pt x="4366" y="4605"/>
                        </a:lnTo>
                        <a:lnTo>
                          <a:pt x="4844" y="4067"/>
                        </a:lnTo>
                        <a:lnTo>
                          <a:pt x="5084" y="3110"/>
                        </a:lnTo>
                        <a:lnTo>
                          <a:pt x="5263" y="2333"/>
                        </a:lnTo>
                        <a:lnTo>
                          <a:pt x="5263" y="2213"/>
                        </a:lnTo>
                        <a:lnTo>
                          <a:pt x="5503" y="1316"/>
                        </a:lnTo>
                        <a:lnTo>
                          <a:pt x="5562" y="1017"/>
                        </a:lnTo>
                        <a:lnTo>
                          <a:pt x="5622" y="718"/>
                        </a:lnTo>
                        <a:lnTo>
                          <a:pt x="5503" y="658"/>
                        </a:lnTo>
                        <a:lnTo>
                          <a:pt x="4545" y="120"/>
                        </a:lnTo>
                        <a:lnTo>
                          <a:pt x="4306" y="0"/>
                        </a:lnTo>
                      </a:path>
                    </a:pathLst>
                  </a:custGeom>
                  <a:noFill/>
                  <a:ln w="6350" cap="flat">
                    <a:solidFill>
                      <a:schemeClr val="bg1">
                        <a:alpha val="40000"/>
                      </a:schemeClr>
                    </a:solidFill>
                    <a:prstDash val="solid"/>
                    <a:miter/>
                  </a:ln>
                </p:spPr>
                <p:txBody>
                  <a:bodyPr rtlCol="0" anchor="ctr"/>
                  <a:lstStyle/>
                  <a:p>
                    <a:endParaRPr lang="en-GB"/>
                  </a:p>
                </p:txBody>
              </p:sp>
              <p:sp>
                <p:nvSpPr>
                  <p:cNvPr id="7775" name="Vrije vorm: vorm 7774">
                    <a:extLst>
                      <a:ext uri="{FF2B5EF4-FFF2-40B4-BE49-F238E27FC236}">
                        <a16:creationId xmlns:a16="http://schemas.microsoft.com/office/drawing/2014/main" id="{9F031DEF-FF23-4DD5-B54D-35D021EC8179}"/>
                      </a:ext>
                    </a:extLst>
                  </p:cNvPr>
                  <p:cNvSpPr/>
                  <p:nvPr/>
                </p:nvSpPr>
                <p:spPr>
                  <a:xfrm>
                    <a:off x="5783318" y="5158113"/>
                    <a:ext cx="5681" cy="7475"/>
                  </a:xfrm>
                  <a:custGeom>
                    <a:avLst/>
                    <a:gdLst>
                      <a:gd name="connsiteX0" fmla="*/ 837 w 5681"/>
                      <a:gd name="connsiteY0" fmla="*/ 2572 h 7475"/>
                      <a:gd name="connsiteX1" fmla="*/ 419 w 5681"/>
                      <a:gd name="connsiteY1" fmla="*/ 4306 h 7475"/>
                      <a:gd name="connsiteX2" fmla="*/ 0 w 5681"/>
                      <a:gd name="connsiteY2" fmla="*/ 6041 h 7475"/>
                      <a:gd name="connsiteX3" fmla="*/ 538 w 5681"/>
                      <a:gd name="connsiteY3" fmla="*/ 6399 h 7475"/>
                      <a:gd name="connsiteX4" fmla="*/ 1316 w 5681"/>
                      <a:gd name="connsiteY4" fmla="*/ 6937 h 7475"/>
                      <a:gd name="connsiteX5" fmla="*/ 1436 w 5681"/>
                      <a:gd name="connsiteY5" fmla="*/ 6997 h 7475"/>
                      <a:gd name="connsiteX6" fmla="*/ 2452 w 5681"/>
                      <a:gd name="connsiteY6" fmla="*/ 7416 h 7475"/>
                      <a:gd name="connsiteX7" fmla="*/ 2691 w 5681"/>
                      <a:gd name="connsiteY7" fmla="*/ 7476 h 7475"/>
                      <a:gd name="connsiteX8" fmla="*/ 4844 w 5681"/>
                      <a:gd name="connsiteY8" fmla="*/ 4964 h 7475"/>
                      <a:gd name="connsiteX9" fmla="*/ 5144 w 5681"/>
                      <a:gd name="connsiteY9" fmla="*/ 3828 h 7475"/>
                      <a:gd name="connsiteX10" fmla="*/ 5263 w 5681"/>
                      <a:gd name="connsiteY10" fmla="*/ 3229 h 7475"/>
                      <a:gd name="connsiteX11" fmla="*/ 5263 w 5681"/>
                      <a:gd name="connsiteY11" fmla="*/ 3229 h 7475"/>
                      <a:gd name="connsiteX12" fmla="*/ 5682 w 5681"/>
                      <a:gd name="connsiteY12" fmla="*/ 1495 h 7475"/>
                      <a:gd name="connsiteX13" fmla="*/ 5024 w 5681"/>
                      <a:gd name="connsiteY13" fmla="*/ 1017 h 7475"/>
                      <a:gd name="connsiteX14" fmla="*/ 4366 w 5681"/>
                      <a:gd name="connsiteY14" fmla="*/ 538 h 7475"/>
                      <a:gd name="connsiteX15" fmla="*/ 3050 w 5681"/>
                      <a:gd name="connsiteY15" fmla="*/ 0 h 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81" h="7475">
                        <a:moveTo>
                          <a:pt x="837" y="2572"/>
                        </a:moveTo>
                        <a:lnTo>
                          <a:pt x="419" y="4306"/>
                        </a:lnTo>
                        <a:lnTo>
                          <a:pt x="0" y="6041"/>
                        </a:lnTo>
                        <a:lnTo>
                          <a:pt x="538" y="6399"/>
                        </a:lnTo>
                        <a:lnTo>
                          <a:pt x="1316" y="6937"/>
                        </a:lnTo>
                        <a:lnTo>
                          <a:pt x="1436" y="6997"/>
                        </a:lnTo>
                        <a:lnTo>
                          <a:pt x="2452" y="7416"/>
                        </a:lnTo>
                        <a:lnTo>
                          <a:pt x="2691" y="7476"/>
                        </a:lnTo>
                        <a:lnTo>
                          <a:pt x="4844" y="4964"/>
                        </a:lnTo>
                        <a:lnTo>
                          <a:pt x="5144" y="3828"/>
                        </a:lnTo>
                        <a:lnTo>
                          <a:pt x="5263" y="3229"/>
                        </a:lnTo>
                        <a:lnTo>
                          <a:pt x="5263" y="3229"/>
                        </a:lnTo>
                        <a:lnTo>
                          <a:pt x="5682" y="1495"/>
                        </a:lnTo>
                        <a:lnTo>
                          <a:pt x="5024" y="1017"/>
                        </a:lnTo>
                        <a:lnTo>
                          <a:pt x="4366" y="538"/>
                        </a:lnTo>
                        <a:lnTo>
                          <a:pt x="3050" y="0"/>
                        </a:lnTo>
                      </a:path>
                    </a:pathLst>
                  </a:custGeom>
                  <a:noFill/>
                  <a:ln w="6350" cap="flat">
                    <a:solidFill>
                      <a:schemeClr val="bg1">
                        <a:alpha val="40000"/>
                      </a:schemeClr>
                    </a:solidFill>
                    <a:prstDash val="solid"/>
                    <a:miter/>
                  </a:ln>
                </p:spPr>
                <p:txBody>
                  <a:bodyPr rtlCol="0" anchor="ctr"/>
                  <a:lstStyle/>
                  <a:p>
                    <a:endParaRPr lang="en-GB"/>
                  </a:p>
                </p:txBody>
              </p:sp>
              <p:sp>
                <p:nvSpPr>
                  <p:cNvPr id="7776" name="Vrije vorm: vorm 7775">
                    <a:extLst>
                      <a:ext uri="{FF2B5EF4-FFF2-40B4-BE49-F238E27FC236}">
                        <a16:creationId xmlns:a16="http://schemas.microsoft.com/office/drawing/2014/main" id="{3FA4340E-961F-4E0E-BF96-5233B7CEC50E}"/>
                      </a:ext>
                    </a:extLst>
                  </p:cNvPr>
                  <p:cNvSpPr/>
                  <p:nvPr/>
                </p:nvSpPr>
                <p:spPr>
                  <a:xfrm>
                    <a:off x="5784215" y="5158173"/>
                    <a:ext cx="2152" cy="2990"/>
                  </a:xfrm>
                  <a:custGeom>
                    <a:avLst/>
                    <a:gdLst>
                      <a:gd name="connsiteX0" fmla="*/ 2153 w 2152"/>
                      <a:gd name="connsiteY0" fmla="*/ 0 h 2990"/>
                      <a:gd name="connsiteX1" fmla="*/ 479 w 2152"/>
                      <a:gd name="connsiteY1" fmla="*/ 1914 h 2990"/>
                      <a:gd name="connsiteX2" fmla="*/ 0 w 2152"/>
                      <a:gd name="connsiteY2" fmla="*/ 2452 h 2990"/>
                      <a:gd name="connsiteX3" fmla="*/ 778 w 2152"/>
                      <a:gd name="connsiteY3" fmla="*/ 2751 h 2990"/>
                      <a:gd name="connsiteX4" fmla="*/ 1375 w 2152"/>
                      <a:gd name="connsiteY4" fmla="*/ 299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 h="2990">
                        <a:moveTo>
                          <a:pt x="2153" y="0"/>
                        </a:moveTo>
                        <a:lnTo>
                          <a:pt x="479" y="1914"/>
                        </a:lnTo>
                        <a:lnTo>
                          <a:pt x="0" y="2452"/>
                        </a:lnTo>
                        <a:lnTo>
                          <a:pt x="778" y="2751"/>
                        </a:lnTo>
                        <a:lnTo>
                          <a:pt x="1375" y="2990"/>
                        </a:lnTo>
                      </a:path>
                    </a:pathLst>
                  </a:custGeom>
                  <a:noFill/>
                  <a:ln w="6350" cap="flat">
                    <a:solidFill>
                      <a:schemeClr val="bg1">
                        <a:alpha val="40000"/>
                      </a:schemeClr>
                    </a:solidFill>
                    <a:prstDash val="solid"/>
                    <a:miter/>
                  </a:ln>
                </p:spPr>
                <p:txBody>
                  <a:bodyPr rtlCol="0" anchor="ctr"/>
                  <a:lstStyle/>
                  <a:p>
                    <a:endParaRPr lang="en-GB"/>
                  </a:p>
                </p:txBody>
              </p:sp>
              <p:sp>
                <p:nvSpPr>
                  <p:cNvPr id="7777" name="Vrije vorm: vorm 7776">
                    <a:extLst>
                      <a:ext uri="{FF2B5EF4-FFF2-40B4-BE49-F238E27FC236}">
                        <a16:creationId xmlns:a16="http://schemas.microsoft.com/office/drawing/2014/main" id="{E0C18A39-0AFB-4438-A510-61E4C75AA318}"/>
                      </a:ext>
                    </a:extLst>
                  </p:cNvPr>
                  <p:cNvSpPr/>
                  <p:nvPr/>
                </p:nvSpPr>
                <p:spPr>
                  <a:xfrm>
                    <a:off x="5785889" y="5161163"/>
                    <a:ext cx="658" cy="1495"/>
                  </a:xfrm>
                  <a:custGeom>
                    <a:avLst/>
                    <a:gdLst>
                      <a:gd name="connsiteX0" fmla="*/ 658 w 658"/>
                      <a:gd name="connsiteY0" fmla="*/ 0 h 1495"/>
                      <a:gd name="connsiteX1" fmla="*/ 658 w 658"/>
                      <a:gd name="connsiteY1" fmla="*/ 0 h 1495"/>
                      <a:gd name="connsiteX2" fmla="*/ 538 w 658"/>
                      <a:gd name="connsiteY2" fmla="*/ 479 h 1495"/>
                      <a:gd name="connsiteX3" fmla="*/ 359 w 658"/>
                      <a:gd name="connsiteY3" fmla="*/ 957 h 1495"/>
                      <a:gd name="connsiteX4" fmla="*/ 120 w 658"/>
                      <a:gd name="connsiteY4" fmla="*/ 1375 h 1495"/>
                      <a:gd name="connsiteX5" fmla="*/ 0 w 658"/>
                      <a:gd name="connsiteY5" fmla="*/ 1495 h 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8" h="1495">
                        <a:moveTo>
                          <a:pt x="658" y="0"/>
                        </a:moveTo>
                        <a:lnTo>
                          <a:pt x="658" y="0"/>
                        </a:lnTo>
                        <a:lnTo>
                          <a:pt x="538" y="479"/>
                        </a:lnTo>
                        <a:lnTo>
                          <a:pt x="359" y="957"/>
                        </a:lnTo>
                        <a:lnTo>
                          <a:pt x="120" y="1375"/>
                        </a:lnTo>
                        <a:lnTo>
                          <a:pt x="0" y="1495"/>
                        </a:lnTo>
                      </a:path>
                    </a:pathLst>
                  </a:custGeom>
                  <a:noFill/>
                  <a:ln w="6350" cap="flat">
                    <a:solidFill>
                      <a:schemeClr val="bg1">
                        <a:alpha val="40000"/>
                      </a:schemeClr>
                    </a:solidFill>
                    <a:prstDash val="solid"/>
                    <a:miter/>
                  </a:ln>
                </p:spPr>
                <p:txBody>
                  <a:bodyPr rtlCol="0" anchor="ctr"/>
                  <a:lstStyle/>
                  <a:p>
                    <a:endParaRPr lang="en-GB"/>
                  </a:p>
                </p:txBody>
              </p:sp>
              <p:sp>
                <p:nvSpPr>
                  <p:cNvPr id="7778" name="Vrije vorm: vorm 7777">
                    <a:extLst>
                      <a:ext uri="{FF2B5EF4-FFF2-40B4-BE49-F238E27FC236}">
                        <a16:creationId xmlns:a16="http://schemas.microsoft.com/office/drawing/2014/main" id="{A698A7AA-B944-45D6-B267-A1E974272A28}"/>
                      </a:ext>
                    </a:extLst>
                  </p:cNvPr>
                  <p:cNvSpPr/>
                  <p:nvPr/>
                </p:nvSpPr>
                <p:spPr>
                  <a:xfrm>
                    <a:off x="5785770" y="5160386"/>
                    <a:ext cx="2152" cy="3588"/>
                  </a:xfrm>
                  <a:custGeom>
                    <a:avLst/>
                    <a:gdLst>
                      <a:gd name="connsiteX0" fmla="*/ 239 w 2152"/>
                      <a:gd name="connsiteY0" fmla="*/ 3529 h 3588"/>
                      <a:gd name="connsiteX1" fmla="*/ 419 w 2152"/>
                      <a:gd name="connsiteY1" fmla="*/ 3588 h 3588"/>
                      <a:gd name="connsiteX2" fmla="*/ 658 w 2152"/>
                      <a:gd name="connsiteY2" fmla="*/ 3529 h 3588"/>
                      <a:gd name="connsiteX3" fmla="*/ 957 w 2152"/>
                      <a:gd name="connsiteY3" fmla="*/ 3349 h 3588"/>
                      <a:gd name="connsiteX4" fmla="*/ 1256 w 2152"/>
                      <a:gd name="connsiteY4" fmla="*/ 3050 h 3588"/>
                      <a:gd name="connsiteX5" fmla="*/ 1555 w 2152"/>
                      <a:gd name="connsiteY5" fmla="*/ 2691 h 3588"/>
                      <a:gd name="connsiteX6" fmla="*/ 1794 w 2152"/>
                      <a:gd name="connsiteY6" fmla="*/ 2273 h 3588"/>
                      <a:gd name="connsiteX7" fmla="*/ 1974 w 2152"/>
                      <a:gd name="connsiteY7" fmla="*/ 1794 h 3588"/>
                      <a:gd name="connsiteX8" fmla="*/ 2093 w 2152"/>
                      <a:gd name="connsiteY8" fmla="*/ 1316 h 3588"/>
                      <a:gd name="connsiteX9" fmla="*/ 2153 w 2152"/>
                      <a:gd name="connsiteY9" fmla="*/ 897 h 3588"/>
                      <a:gd name="connsiteX10" fmla="*/ 2153 w 2152"/>
                      <a:gd name="connsiteY10" fmla="*/ 538 h 3588"/>
                      <a:gd name="connsiteX11" fmla="*/ 2093 w 2152"/>
                      <a:gd name="connsiteY11" fmla="*/ 239 h 3588"/>
                      <a:gd name="connsiteX12" fmla="*/ 1974 w 2152"/>
                      <a:gd name="connsiteY12" fmla="*/ 60 h 3588"/>
                      <a:gd name="connsiteX13" fmla="*/ 1794 w 2152"/>
                      <a:gd name="connsiteY13" fmla="*/ 0 h 3588"/>
                      <a:gd name="connsiteX14" fmla="*/ 1615 w 2152"/>
                      <a:gd name="connsiteY14" fmla="*/ 60 h 3588"/>
                      <a:gd name="connsiteX15" fmla="*/ 1495 w 2152"/>
                      <a:gd name="connsiteY15" fmla="*/ 60 h 3588"/>
                      <a:gd name="connsiteX16" fmla="*/ 1196 w 2152"/>
                      <a:gd name="connsiteY16" fmla="*/ 239 h 3588"/>
                      <a:gd name="connsiteX17" fmla="*/ 897 w 2152"/>
                      <a:gd name="connsiteY17" fmla="*/ 538 h 3588"/>
                      <a:gd name="connsiteX18" fmla="*/ 897 w 2152"/>
                      <a:gd name="connsiteY18" fmla="*/ 598 h 3588"/>
                      <a:gd name="connsiteX19" fmla="*/ 718 w 2152"/>
                      <a:gd name="connsiteY19" fmla="*/ 778 h 3588"/>
                      <a:gd name="connsiteX20" fmla="*/ 598 w 2152"/>
                      <a:gd name="connsiteY20" fmla="*/ 897 h 3588"/>
                      <a:gd name="connsiteX21" fmla="*/ 359 w 2152"/>
                      <a:gd name="connsiteY21" fmla="*/ 1316 h 3588"/>
                      <a:gd name="connsiteX22" fmla="*/ 179 w 2152"/>
                      <a:gd name="connsiteY22" fmla="*/ 1794 h 3588"/>
                      <a:gd name="connsiteX23" fmla="*/ 60 w 2152"/>
                      <a:gd name="connsiteY23" fmla="*/ 2273 h 3588"/>
                      <a:gd name="connsiteX24" fmla="*/ 60 w 2152"/>
                      <a:gd name="connsiteY24" fmla="*/ 2273 h 3588"/>
                      <a:gd name="connsiteX25" fmla="*/ 0 w 2152"/>
                      <a:gd name="connsiteY25" fmla="*/ 2691 h 3588"/>
                      <a:gd name="connsiteX26" fmla="*/ 0 w 2152"/>
                      <a:gd name="connsiteY26" fmla="*/ 3050 h 3588"/>
                      <a:gd name="connsiteX27" fmla="*/ 60 w 2152"/>
                      <a:gd name="connsiteY27" fmla="*/ 3349 h 3588"/>
                      <a:gd name="connsiteX28" fmla="*/ 60 w 2152"/>
                      <a:gd name="connsiteY28" fmla="*/ 3349 h 3588"/>
                      <a:gd name="connsiteX29" fmla="*/ 60 w 2152"/>
                      <a:gd name="connsiteY29" fmla="*/ 3349 h 3588"/>
                      <a:gd name="connsiteX30" fmla="*/ 239 w 2152"/>
                      <a:gd name="connsiteY30" fmla="*/ 3529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52" h="3588">
                        <a:moveTo>
                          <a:pt x="239" y="3529"/>
                        </a:moveTo>
                        <a:lnTo>
                          <a:pt x="419" y="3588"/>
                        </a:lnTo>
                        <a:lnTo>
                          <a:pt x="658" y="3529"/>
                        </a:lnTo>
                        <a:lnTo>
                          <a:pt x="957" y="3349"/>
                        </a:lnTo>
                        <a:lnTo>
                          <a:pt x="1256" y="3050"/>
                        </a:lnTo>
                        <a:lnTo>
                          <a:pt x="1555" y="2691"/>
                        </a:lnTo>
                        <a:lnTo>
                          <a:pt x="1794" y="2273"/>
                        </a:lnTo>
                        <a:lnTo>
                          <a:pt x="1974" y="1794"/>
                        </a:lnTo>
                        <a:lnTo>
                          <a:pt x="2093" y="1316"/>
                        </a:lnTo>
                        <a:lnTo>
                          <a:pt x="2153" y="897"/>
                        </a:lnTo>
                        <a:lnTo>
                          <a:pt x="2153" y="538"/>
                        </a:lnTo>
                        <a:lnTo>
                          <a:pt x="2093" y="239"/>
                        </a:lnTo>
                        <a:lnTo>
                          <a:pt x="1974" y="60"/>
                        </a:lnTo>
                        <a:lnTo>
                          <a:pt x="1794" y="0"/>
                        </a:lnTo>
                        <a:lnTo>
                          <a:pt x="1615" y="60"/>
                        </a:lnTo>
                        <a:lnTo>
                          <a:pt x="1495" y="60"/>
                        </a:lnTo>
                        <a:lnTo>
                          <a:pt x="1196" y="239"/>
                        </a:lnTo>
                        <a:lnTo>
                          <a:pt x="897" y="538"/>
                        </a:lnTo>
                        <a:lnTo>
                          <a:pt x="897" y="598"/>
                        </a:lnTo>
                        <a:lnTo>
                          <a:pt x="718" y="778"/>
                        </a:lnTo>
                        <a:lnTo>
                          <a:pt x="598" y="897"/>
                        </a:lnTo>
                        <a:lnTo>
                          <a:pt x="359" y="1316"/>
                        </a:lnTo>
                        <a:lnTo>
                          <a:pt x="179" y="1794"/>
                        </a:lnTo>
                        <a:lnTo>
                          <a:pt x="60" y="2273"/>
                        </a:lnTo>
                        <a:lnTo>
                          <a:pt x="60" y="2273"/>
                        </a:lnTo>
                        <a:lnTo>
                          <a:pt x="0" y="2691"/>
                        </a:lnTo>
                        <a:lnTo>
                          <a:pt x="0" y="3050"/>
                        </a:lnTo>
                        <a:lnTo>
                          <a:pt x="60" y="3349"/>
                        </a:lnTo>
                        <a:lnTo>
                          <a:pt x="60" y="3349"/>
                        </a:lnTo>
                        <a:lnTo>
                          <a:pt x="60" y="3349"/>
                        </a:lnTo>
                        <a:lnTo>
                          <a:pt x="239" y="3529"/>
                        </a:lnTo>
                      </a:path>
                    </a:pathLst>
                  </a:custGeom>
                  <a:noFill/>
                  <a:ln w="6350" cap="flat">
                    <a:solidFill>
                      <a:schemeClr val="bg1">
                        <a:alpha val="40000"/>
                      </a:schemeClr>
                    </a:solidFill>
                    <a:prstDash val="solid"/>
                    <a:miter/>
                  </a:ln>
                </p:spPr>
                <p:txBody>
                  <a:bodyPr rtlCol="0" anchor="ctr"/>
                  <a:lstStyle/>
                  <a:p>
                    <a:endParaRPr lang="en-GB"/>
                  </a:p>
                </p:txBody>
              </p:sp>
              <p:sp>
                <p:nvSpPr>
                  <p:cNvPr id="7779" name="Vrije vorm: vorm 7778">
                    <a:extLst>
                      <a:ext uri="{FF2B5EF4-FFF2-40B4-BE49-F238E27FC236}">
                        <a16:creationId xmlns:a16="http://schemas.microsoft.com/office/drawing/2014/main" id="{E5A02B18-ADEE-423D-B599-6725F8AD6B46}"/>
                      </a:ext>
                    </a:extLst>
                  </p:cNvPr>
                  <p:cNvSpPr/>
                  <p:nvPr/>
                </p:nvSpPr>
                <p:spPr>
                  <a:xfrm>
                    <a:off x="5784693" y="5158771"/>
                    <a:ext cx="3050" cy="6818"/>
                  </a:xfrm>
                  <a:custGeom>
                    <a:avLst/>
                    <a:gdLst>
                      <a:gd name="connsiteX0" fmla="*/ 1316 w 3050"/>
                      <a:gd name="connsiteY0" fmla="*/ 6818 h 6818"/>
                      <a:gd name="connsiteX1" fmla="*/ 1136 w 3050"/>
                      <a:gd name="connsiteY1" fmla="*/ 6698 h 6818"/>
                      <a:gd name="connsiteX2" fmla="*/ 538 w 3050"/>
                      <a:gd name="connsiteY2" fmla="*/ 6280 h 6818"/>
                      <a:gd name="connsiteX3" fmla="*/ 179 w 3050"/>
                      <a:gd name="connsiteY3" fmla="*/ 6041 h 6818"/>
                      <a:gd name="connsiteX4" fmla="*/ 0 w 3050"/>
                      <a:gd name="connsiteY4" fmla="*/ 5921 h 6818"/>
                      <a:gd name="connsiteX5" fmla="*/ 299 w 3050"/>
                      <a:gd name="connsiteY5" fmla="*/ 4725 h 6818"/>
                      <a:gd name="connsiteX6" fmla="*/ 419 w 3050"/>
                      <a:gd name="connsiteY6" fmla="*/ 4187 h 6818"/>
                      <a:gd name="connsiteX7" fmla="*/ 837 w 3050"/>
                      <a:gd name="connsiteY7" fmla="*/ 2452 h 6818"/>
                      <a:gd name="connsiteX8" fmla="*/ 1316 w 3050"/>
                      <a:gd name="connsiteY8" fmla="*/ 1914 h 6818"/>
                      <a:gd name="connsiteX9" fmla="*/ 1914 w 3050"/>
                      <a:gd name="connsiteY9" fmla="*/ 1256 h 6818"/>
                      <a:gd name="connsiteX10" fmla="*/ 2811 w 3050"/>
                      <a:gd name="connsiteY10" fmla="*/ 239 h 6818"/>
                      <a:gd name="connsiteX11" fmla="*/ 3050 w 3050"/>
                      <a:gd name="connsiteY11" fmla="*/ 0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0" h="6818">
                        <a:moveTo>
                          <a:pt x="1316" y="6818"/>
                        </a:moveTo>
                        <a:lnTo>
                          <a:pt x="1136" y="6698"/>
                        </a:lnTo>
                        <a:lnTo>
                          <a:pt x="538" y="6280"/>
                        </a:lnTo>
                        <a:lnTo>
                          <a:pt x="179" y="6041"/>
                        </a:lnTo>
                        <a:lnTo>
                          <a:pt x="0" y="5921"/>
                        </a:lnTo>
                        <a:lnTo>
                          <a:pt x="299" y="4725"/>
                        </a:lnTo>
                        <a:lnTo>
                          <a:pt x="419" y="4187"/>
                        </a:lnTo>
                        <a:lnTo>
                          <a:pt x="837" y="2452"/>
                        </a:lnTo>
                        <a:lnTo>
                          <a:pt x="1316" y="1914"/>
                        </a:lnTo>
                        <a:lnTo>
                          <a:pt x="1914" y="1256"/>
                        </a:lnTo>
                        <a:lnTo>
                          <a:pt x="2811" y="239"/>
                        </a:lnTo>
                        <a:lnTo>
                          <a:pt x="3050" y="0"/>
                        </a:lnTo>
                      </a:path>
                    </a:pathLst>
                  </a:custGeom>
                  <a:noFill/>
                  <a:ln w="6350" cap="flat">
                    <a:solidFill>
                      <a:schemeClr val="bg1">
                        <a:alpha val="40000"/>
                      </a:schemeClr>
                    </a:solidFill>
                    <a:prstDash val="solid"/>
                    <a:miter/>
                  </a:ln>
                </p:spPr>
                <p:txBody>
                  <a:bodyPr rtlCol="0" anchor="ctr"/>
                  <a:lstStyle/>
                  <a:p>
                    <a:endParaRPr lang="en-GB"/>
                  </a:p>
                </p:txBody>
              </p:sp>
              <p:sp>
                <p:nvSpPr>
                  <p:cNvPr id="7780" name="Vrije vorm: vorm 7779">
                    <a:extLst>
                      <a:ext uri="{FF2B5EF4-FFF2-40B4-BE49-F238E27FC236}">
                        <a16:creationId xmlns:a16="http://schemas.microsoft.com/office/drawing/2014/main" id="{824D543A-CD88-4FCD-8879-33C21DB853D6}"/>
                      </a:ext>
                    </a:extLst>
                  </p:cNvPr>
                  <p:cNvSpPr/>
                  <p:nvPr/>
                </p:nvSpPr>
                <p:spPr>
                  <a:xfrm>
                    <a:off x="5767110" y="5207813"/>
                    <a:ext cx="1375" cy="4006"/>
                  </a:xfrm>
                  <a:custGeom>
                    <a:avLst/>
                    <a:gdLst>
                      <a:gd name="connsiteX0" fmla="*/ 1375 w 1375"/>
                      <a:gd name="connsiteY0" fmla="*/ 4007 h 4006"/>
                      <a:gd name="connsiteX1" fmla="*/ 119 w 1375"/>
                      <a:gd name="connsiteY1" fmla="*/ 3349 h 4006"/>
                      <a:gd name="connsiteX2" fmla="*/ 0 w 1375"/>
                      <a:gd name="connsiteY2" fmla="*/ 3289 h 4006"/>
                      <a:gd name="connsiteX3" fmla="*/ 119 w 1375"/>
                      <a:gd name="connsiteY3" fmla="*/ 2811 h 4006"/>
                      <a:gd name="connsiteX4" fmla="*/ 299 w 1375"/>
                      <a:gd name="connsiteY4" fmla="*/ 1974 h 4006"/>
                      <a:gd name="connsiteX5" fmla="*/ 538 w 1375"/>
                      <a:gd name="connsiteY5" fmla="*/ 1017 h 4006"/>
                      <a:gd name="connsiteX6" fmla="*/ 778 w 1375"/>
                      <a:gd name="connsiteY6" fmla="*/ 0 h 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 h="4006">
                        <a:moveTo>
                          <a:pt x="1375" y="4007"/>
                        </a:moveTo>
                        <a:lnTo>
                          <a:pt x="119" y="3349"/>
                        </a:lnTo>
                        <a:lnTo>
                          <a:pt x="0" y="3289"/>
                        </a:lnTo>
                        <a:lnTo>
                          <a:pt x="119" y="2811"/>
                        </a:lnTo>
                        <a:lnTo>
                          <a:pt x="299" y="1974"/>
                        </a:lnTo>
                        <a:lnTo>
                          <a:pt x="538" y="1017"/>
                        </a:lnTo>
                        <a:lnTo>
                          <a:pt x="778" y="0"/>
                        </a:lnTo>
                      </a:path>
                    </a:pathLst>
                  </a:custGeom>
                  <a:noFill/>
                  <a:ln w="6350" cap="flat">
                    <a:solidFill>
                      <a:schemeClr val="bg1">
                        <a:alpha val="40000"/>
                      </a:schemeClr>
                    </a:solidFill>
                    <a:prstDash val="solid"/>
                    <a:miter/>
                  </a:ln>
                </p:spPr>
                <p:txBody>
                  <a:bodyPr rtlCol="0" anchor="ctr"/>
                  <a:lstStyle/>
                  <a:p>
                    <a:endParaRPr lang="en-GB"/>
                  </a:p>
                </p:txBody>
              </p:sp>
              <p:sp>
                <p:nvSpPr>
                  <p:cNvPr id="7781" name="Vrije vorm: vorm 7780">
                    <a:extLst>
                      <a:ext uri="{FF2B5EF4-FFF2-40B4-BE49-F238E27FC236}">
                        <a16:creationId xmlns:a16="http://schemas.microsoft.com/office/drawing/2014/main" id="{AC2E9DA9-9DE5-4FC3-B162-B6FA44A298A6}"/>
                      </a:ext>
                    </a:extLst>
                  </p:cNvPr>
                  <p:cNvSpPr/>
                  <p:nvPr/>
                </p:nvSpPr>
                <p:spPr>
                  <a:xfrm>
                    <a:off x="5767409" y="5205480"/>
                    <a:ext cx="2451" cy="2272"/>
                  </a:xfrm>
                  <a:custGeom>
                    <a:avLst/>
                    <a:gdLst>
                      <a:gd name="connsiteX0" fmla="*/ 0 w 2451"/>
                      <a:gd name="connsiteY0" fmla="*/ 2034 h 2272"/>
                      <a:gd name="connsiteX1" fmla="*/ 479 w 2451"/>
                      <a:gd name="connsiteY1" fmla="*/ 2273 h 2272"/>
                      <a:gd name="connsiteX2" fmla="*/ 1495 w 2451"/>
                      <a:gd name="connsiteY2" fmla="*/ 1076 h 2272"/>
                      <a:gd name="connsiteX3" fmla="*/ 1674 w 2451"/>
                      <a:gd name="connsiteY3" fmla="*/ 897 h 2272"/>
                      <a:gd name="connsiteX4" fmla="*/ 1734 w 2451"/>
                      <a:gd name="connsiteY4" fmla="*/ 837 h 2272"/>
                      <a:gd name="connsiteX5" fmla="*/ 1734 w 2451"/>
                      <a:gd name="connsiteY5" fmla="*/ 837 h 2272"/>
                      <a:gd name="connsiteX6" fmla="*/ 2452 w 2451"/>
                      <a:gd name="connsiteY6" fmla="*/ 0 h 2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1" h="2272">
                        <a:moveTo>
                          <a:pt x="0" y="2034"/>
                        </a:moveTo>
                        <a:lnTo>
                          <a:pt x="479" y="2273"/>
                        </a:lnTo>
                        <a:lnTo>
                          <a:pt x="1495" y="1076"/>
                        </a:lnTo>
                        <a:lnTo>
                          <a:pt x="1674" y="897"/>
                        </a:lnTo>
                        <a:lnTo>
                          <a:pt x="1734" y="837"/>
                        </a:lnTo>
                        <a:lnTo>
                          <a:pt x="1734" y="837"/>
                        </a:lnTo>
                        <a:lnTo>
                          <a:pt x="2452" y="0"/>
                        </a:lnTo>
                      </a:path>
                    </a:pathLst>
                  </a:custGeom>
                  <a:noFill/>
                  <a:ln w="6350" cap="flat">
                    <a:solidFill>
                      <a:schemeClr val="bg1">
                        <a:alpha val="40000"/>
                      </a:schemeClr>
                    </a:solidFill>
                    <a:prstDash val="solid"/>
                    <a:miter/>
                  </a:ln>
                </p:spPr>
                <p:txBody>
                  <a:bodyPr rtlCol="0" anchor="ctr"/>
                  <a:lstStyle/>
                  <a:p>
                    <a:endParaRPr lang="en-GB"/>
                  </a:p>
                </p:txBody>
              </p:sp>
              <p:sp>
                <p:nvSpPr>
                  <p:cNvPr id="7782" name="Vrije vorm: vorm 7781">
                    <a:extLst>
                      <a:ext uri="{FF2B5EF4-FFF2-40B4-BE49-F238E27FC236}">
                        <a16:creationId xmlns:a16="http://schemas.microsoft.com/office/drawing/2014/main" id="{8AF7382A-E137-416B-9FB9-71330E5B08A2}"/>
                      </a:ext>
                    </a:extLst>
                  </p:cNvPr>
                  <p:cNvSpPr/>
                  <p:nvPr/>
                </p:nvSpPr>
                <p:spPr>
                  <a:xfrm>
                    <a:off x="5785112" y="5172706"/>
                    <a:ext cx="478" cy="3349"/>
                  </a:xfrm>
                  <a:custGeom>
                    <a:avLst/>
                    <a:gdLst>
                      <a:gd name="connsiteX0" fmla="*/ 478 w 478"/>
                      <a:gd name="connsiteY0" fmla="*/ 3349 h 3349"/>
                      <a:gd name="connsiteX1" fmla="*/ 179 w 478"/>
                      <a:gd name="connsiteY1" fmla="*/ 2930 h 3349"/>
                      <a:gd name="connsiteX2" fmla="*/ 0 w 478"/>
                      <a:gd name="connsiteY2" fmla="*/ 2273 h 3349"/>
                      <a:gd name="connsiteX3" fmla="*/ 0 w 478"/>
                      <a:gd name="connsiteY3" fmla="*/ 1435 h 3349"/>
                      <a:gd name="connsiteX4" fmla="*/ 0 w 478"/>
                      <a:gd name="connsiteY4" fmla="*/ 1256 h 3349"/>
                      <a:gd name="connsiteX5" fmla="*/ 119 w 478"/>
                      <a:gd name="connsiteY5" fmla="*/ 419 h 3349"/>
                      <a:gd name="connsiteX6" fmla="*/ 179 w 478"/>
                      <a:gd name="connsiteY6" fmla="*/ 239 h 3349"/>
                      <a:gd name="connsiteX7" fmla="*/ 239 w 478"/>
                      <a:gd name="connsiteY7" fmla="*/ 0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8" h="3349">
                        <a:moveTo>
                          <a:pt x="478" y="3349"/>
                        </a:moveTo>
                        <a:lnTo>
                          <a:pt x="179" y="2930"/>
                        </a:lnTo>
                        <a:lnTo>
                          <a:pt x="0" y="2273"/>
                        </a:lnTo>
                        <a:lnTo>
                          <a:pt x="0" y="1435"/>
                        </a:lnTo>
                        <a:lnTo>
                          <a:pt x="0" y="1256"/>
                        </a:lnTo>
                        <a:lnTo>
                          <a:pt x="119" y="419"/>
                        </a:lnTo>
                        <a:lnTo>
                          <a:pt x="179" y="239"/>
                        </a:lnTo>
                        <a:lnTo>
                          <a:pt x="239" y="0"/>
                        </a:lnTo>
                      </a:path>
                    </a:pathLst>
                  </a:custGeom>
                  <a:noFill/>
                  <a:ln w="6350" cap="flat">
                    <a:solidFill>
                      <a:schemeClr val="bg1">
                        <a:alpha val="40000"/>
                      </a:schemeClr>
                    </a:solidFill>
                    <a:prstDash val="solid"/>
                    <a:miter/>
                  </a:ln>
                </p:spPr>
                <p:txBody>
                  <a:bodyPr rtlCol="0" anchor="ctr"/>
                  <a:lstStyle/>
                  <a:p>
                    <a:endParaRPr lang="en-GB"/>
                  </a:p>
                </p:txBody>
              </p:sp>
              <p:sp>
                <p:nvSpPr>
                  <p:cNvPr id="7783" name="Vrije vorm: vorm 7782">
                    <a:extLst>
                      <a:ext uri="{FF2B5EF4-FFF2-40B4-BE49-F238E27FC236}">
                        <a16:creationId xmlns:a16="http://schemas.microsoft.com/office/drawing/2014/main" id="{2945301B-6F76-433D-95C4-514445FE0B37}"/>
                      </a:ext>
                    </a:extLst>
                  </p:cNvPr>
                  <p:cNvSpPr/>
                  <p:nvPr/>
                </p:nvSpPr>
                <p:spPr>
                  <a:xfrm>
                    <a:off x="5786607" y="5170613"/>
                    <a:ext cx="1734" cy="2990"/>
                  </a:xfrm>
                  <a:custGeom>
                    <a:avLst/>
                    <a:gdLst>
                      <a:gd name="connsiteX0" fmla="*/ 1734 w 1734"/>
                      <a:gd name="connsiteY0" fmla="*/ 60 h 2990"/>
                      <a:gd name="connsiteX1" fmla="*/ 1555 w 1734"/>
                      <a:gd name="connsiteY1" fmla="*/ 0 h 2990"/>
                      <a:gd name="connsiteX2" fmla="*/ 1316 w 1734"/>
                      <a:gd name="connsiteY2" fmla="*/ 60 h 2990"/>
                      <a:gd name="connsiteX3" fmla="*/ 1076 w 1734"/>
                      <a:gd name="connsiteY3" fmla="*/ 239 h 2990"/>
                      <a:gd name="connsiteX4" fmla="*/ 1076 w 1734"/>
                      <a:gd name="connsiteY4" fmla="*/ 239 h 2990"/>
                      <a:gd name="connsiteX5" fmla="*/ 837 w 1734"/>
                      <a:gd name="connsiteY5" fmla="*/ 478 h 2990"/>
                      <a:gd name="connsiteX6" fmla="*/ 598 w 1734"/>
                      <a:gd name="connsiteY6" fmla="*/ 778 h 2990"/>
                      <a:gd name="connsiteX7" fmla="*/ 359 w 1734"/>
                      <a:gd name="connsiteY7" fmla="*/ 1136 h 2990"/>
                      <a:gd name="connsiteX8" fmla="*/ 179 w 1734"/>
                      <a:gd name="connsiteY8" fmla="*/ 1555 h 2990"/>
                      <a:gd name="connsiteX9" fmla="*/ 60 w 1734"/>
                      <a:gd name="connsiteY9" fmla="*/ 1973 h 2990"/>
                      <a:gd name="connsiteX10" fmla="*/ 0 w 1734"/>
                      <a:gd name="connsiteY10" fmla="*/ 2332 h 2990"/>
                      <a:gd name="connsiteX11" fmla="*/ 0 w 1734"/>
                      <a:gd name="connsiteY11" fmla="*/ 2632 h 2990"/>
                      <a:gd name="connsiteX12" fmla="*/ 60 w 1734"/>
                      <a:gd name="connsiteY12" fmla="*/ 2871 h 2990"/>
                      <a:gd name="connsiteX13" fmla="*/ 179 w 1734"/>
                      <a:gd name="connsiteY13" fmla="*/ 2990 h 2990"/>
                      <a:gd name="connsiteX14" fmla="*/ 179 w 1734"/>
                      <a:gd name="connsiteY14" fmla="*/ 2990 h 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34" h="2990">
                        <a:moveTo>
                          <a:pt x="1734" y="60"/>
                        </a:moveTo>
                        <a:lnTo>
                          <a:pt x="1555" y="0"/>
                        </a:lnTo>
                        <a:lnTo>
                          <a:pt x="1316" y="60"/>
                        </a:lnTo>
                        <a:lnTo>
                          <a:pt x="1076" y="239"/>
                        </a:lnTo>
                        <a:lnTo>
                          <a:pt x="1076" y="239"/>
                        </a:lnTo>
                        <a:lnTo>
                          <a:pt x="837" y="478"/>
                        </a:lnTo>
                        <a:lnTo>
                          <a:pt x="598" y="778"/>
                        </a:lnTo>
                        <a:lnTo>
                          <a:pt x="359" y="1136"/>
                        </a:lnTo>
                        <a:lnTo>
                          <a:pt x="179" y="1555"/>
                        </a:lnTo>
                        <a:lnTo>
                          <a:pt x="60" y="1973"/>
                        </a:lnTo>
                        <a:lnTo>
                          <a:pt x="0" y="2332"/>
                        </a:lnTo>
                        <a:lnTo>
                          <a:pt x="0" y="2632"/>
                        </a:lnTo>
                        <a:lnTo>
                          <a:pt x="60" y="2871"/>
                        </a:lnTo>
                        <a:lnTo>
                          <a:pt x="179" y="2990"/>
                        </a:lnTo>
                        <a:lnTo>
                          <a:pt x="179" y="2990"/>
                        </a:lnTo>
                      </a:path>
                    </a:pathLst>
                  </a:custGeom>
                  <a:noFill/>
                  <a:ln w="6350" cap="flat">
                    <a:solidFill>
                      <a:schemeClr val="bg1">
                        <a:alpha val="40000"/>
                      </a:schemeClr>
                    </a:solidFill>
                    <a:prstDash val="solid"/>
                    <a:miter/>
                  </a:ln>
                </p:spPr>
                <p:txBody>
                  <a:bodyPr rtlCol="0" anchor="ctr"/>
                  <a:lstStyle/>
                  <a:p>
                    <a:endParaRPr lang="en-GB"/>
                  </a:p>
                </p:txBody>
              </p:sp>
              <p:sp>
                <p:nvSpPr>
                  <p:cNvPr id="7784" name="Vrije vorm: vorm 7783">
                    <a:extLst>
                      <a:ext uri="{FF2B5EF4-FFF2-40B4-BE49-F238E27FC236}">
                        <a16:creationId xmlns:a16="http://schemas.microsoft.com/office/drawing/2014/main" id="{842F4767-59D8-4C8A-9304-A0F6531A5CBC}"/>
                      </a:ext>
                    </a:extLst>
                  </p:cNvPr>
                  <p:cNvSpPr/>
                  <p:nvPr/>
                </p:nvSpPr>
                <p:spPr>
                  <a:xfrm>
                    <a:off x="5788342" y="5170613"/>
                    <a:ext cx="179" cy="418"/>
                  </a:xfrm>
                  <a:custGeom>
                    <a:avLst/>
                    <a:gdLst>
                      <a:gd name="connsiteX0" fmla="*/ 179 w 179"/>
                      <a:gd name="connsiteY0" fmla="*/ 418 h 418"/>
                      <a:gd name="connsiteX1" fmla="*/ 120 w 179"/>
                      <a:gd name="connsiteY1" fmla="*/ 179 h 418"/>
                      <a:gd name="connsiteX2" fmla="*/ 0 w 179"/>
                      <a:gd name="connsiteY2" fmla="*/ 0 h 418"/>
                    </a:gdLst>
                    <a:ahLst/>
                    <a:cxnLst>
                      <a:cxn ang="0">
                        <a:pos x="connsiteX0" y="connsiteY0"/>
                      </a:cxn>
                      <a:cxn ang="0">
                        <a:pos x="connsiteX1" y="connsiteY1"/>
                      </a:cxn>
                      <a:cxn ang="0">
                        <a:pos x="connsiteX2" y="connsiteY2"/>
                      </a:cxn>
                    </a:cxnLst>
                    <a:rect l="l" t="t" r="r" b="b"/>
                    <a:pathLst>
                      <a:path w="179" h="418">
                        <a:moveTo>
                          <a:pt x="179" y="418"/>
                        </a:moveTo>
                        <a:lnTo>
                          <a:pt x="120" y="17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85" name="Vrije vorm: vorm 7784">
                    <a:extLst>
                      <a:ext uri="{FF2B5EF4-FFF2-40B4-BE49-F238E27FC236}">
                        <a16:creationId xmlns:a16="http://schemas.microsoft.com/office/drawing/2014/main" id="{7FC58BE4-5CB1-4D4D-9FDE-0D56912D135D}"/>
                      </a:ext>
                    </a:extLst>
                  </p:cNvPr>
                  <p:cNvSpPr/>
                  <p:nvPr/>
                </p:nvSpPr>
                <p:spPr>
                  <a:xfrm>
                    <a:off x="5786846" y="5171749"/>
                    <a:ext cx="1674" cy="1973"/>
                  </a:xfrm>
                  <a:custGeom>
                    <a:avLst/>
                    <a:gdLst>
                      <a:gd name="connsiteX0" fmla="*/ 0 w 1674"/>
                      <a:gd name="connsiteY0" fmla="*/ 1914 h 1973"/>
                      <a:gd name="connsiteX1" fmla="*/ 179 w 1674"/>
                      <a:gd name="connsiteY1" fmla="*/ 1973 h 1973"/>
                      <a:gd name="connsiteX2" fmla="*/ 419 w 1674"/>
                      <a:gd name="connsiteY2" fmla="*/ 1914 h 1973"/>
                      <a:gd name="connsiteX3" fmla="*/ 658 w 1674"/>
                      <a:gd name="connsiteY3" fmla="*/ 1734 h 1973"/>
                      <a:gd name="connsiteX4" fmla="*/ 897 w 1674"/>
                      <a:gd name="connsiteY4" fmla="*/ 1495 h 1973"/>
                      <a:gd name="connsiteX5" fmla="*/ 1136 w 1674"/>
                      <a:gd name="connsiteY5" fmla="*/ 1196 h 1973"/>
                      <a:gd name="connsiteX6" fmla="*/ 1375 w 1674"/>
                      <a:gd name="connsiteY6" fmla="*/ 837 h 1973"/>
                      <a:gd name="connsiteX7" fmla="*/ 1555 w 1674"/>
                      <a:gd name="connsiteY7" fmla="*/ 418 h 1973"/>
                      <a:gd name="connsiteX8" fmla="*/ 1674 w 1674"/>
                      <a:gd name="connsiteY8" fmla="*/ 0 h 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4" h="1973">
                        <a:moveTo>
                          <a:pt x="0" y="1914"/>
                        </a:moveTo>
                        <a:lnTo>
                          <a:pt x="179" y="1973"/>
                        </a:lnTo>
                        <a:lnTo>
                          <a:pt x="419" y="1914"/>
                        </a:lnTo>
                        <a:lnTo>
                          <a:pt x="658" y="1734"/>
                        </a:lnTo>
                        <a:lnTo>
                          <a:pt x="897" y="1495"/>
                        </a:lnTo>
                        <a:lnTo>
                          <a:pt x="1136" y="1196"/>
                        </a:lnTo>
                        <a:lnTo>
                          <a:pt x="1375" y="837"/>
                        </a:lnTo>
                        <a:lnTo>
                          <a:pt x="1555" y="418"/>
                        </a:lnTo>
                        <a:lnTo>
                          <a:pt x="1674" y="0"/>
                        </a:lnTo>
                      </a:path>
                    </a:pathLst>
                  </a:custGeom>
                  <a:noFill/>
                  <a:ln w="6350" cap="flat">
                    <a:solidFill>
                      <a:schemeClr val="bg1">
                        <a:alpha val="40000"/>
                      </a:schemeClr>
                    </a:solidFill>
                    <a:prstDash val="solid"/>
                    <a:miter/>
                  </a:ln>
                </p:spPr>
                <p:txBody>
                  <a:bodyPr rtlCol="0" anchor="ctr"/>
                  <a:lstStyle/>
                  <a:p>
                    <a:endParaRPr lang="en-GB"/>
                  </a:p>
                </p:txBody>
              </p:sp>
              <p:sp>
                <p:nvSpPr>
                  <p:cNvPr id="7786" name="Vrije vorm: vorm 7785">
                    <a:extLst>
                      <a:ext uri="{FF2B5EF4-FFF2-40B4-BE49-F238E27FC236}">
                        <a16:creationId xmlns:a16="http://schemas.microsoft.com/office/drawing/2014/main" id="{776567EF-C0EA-487B-A0B5-ECA94B76DB10}"/>
                      </a:ext>
                    </a:extLst>
                  </p:cNvPr>
                  <p:cNvSpPr/>
                  <p:nvPr/>
                </p:nvSpPr>
                <p:spPr>
                  <a:xfrm>
                    <a:off x="5785590" y="5196809"/>
                    <a:ext cx="2571" cy="1195"/>
                  </a:xfrm>
                  <a:custGeom>
                    <a:avLst/>
                    <a:gdLst>
                      <a:gd name="connsiteX0" fmla="*/ 2572 w 2571"/>
                      <a:gd name="connsiteY0" fmla="*/ 1196 h 1195"/>
                      <a:gd name="connsiteX1" fmla="*/ 2572 w 2571"/>
                      <a:gd name="connsiteY1" fmla="*/ 1196 h 1195"/>
                      <a:gd name="connsiteX2" fmla="*/ 2333 w 2571"/>
                      <a:gd name="connsiteY2" fmla="*/ 1076 h 1195"/>
                      <a:gd name="connsiteX3" fmla="*/ 1735 w 2571"/>
                      <a:gd name="connsiteY3" fmla="*/ 837 h 1195"/>
                      <a:gd name="connsiteX4" fmla="*/ 1555 w 2571"/>
                      <a:gd name="connsiteY4" fmla="*/ 718 h 1195"/>
                      <a:gd name="connsiteX5" fmla="*/ 1376 w 2571"/>
                      <a:gd name="connsiteY5" fmla="*/ 658 h 1195"/>
                      <a:gd name="connsiteX6" fmla="*/ 1017 w 2571"/>
                      <a:gd name="connsiteY6" fmla="*/ 478 h 1195"/>
                      <a:gd name="connsiteX7" fmla="*/ 1017 w 2571"/>
                      <a:gd name="connsiteY7" fmla="*/ 478 h 1195"/>
                      <a:gd name="connsiteX8" fmla="*/ 778 w 2571"/>
                      <a:gd name="connsiteY8" fmla="*/ 359 h 1195"/>
                      <a:gd name="connsiteX9" fmla="*/ 0 w 2571"/>
                      <a:gd name="connsiteY9" fmla="*/ 0 h 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1" h="1195">
                        <a:moveTo>
                          <a:pt x="2572" y="1196"/>
                        </a:moveTo>
                        <a:lnTo>
                          <a:pt x="2572" y="1196"/>
                        </a:lnTo>
                        <a:lnTo>
                          <a:pt x="2333" y="1076"/>
                        </a:lnTo>
                        <a:lnTo>
                          <a:pt x="1735" y="837"/>
                        </a:lnTo>
                        <a:lnTo>
                          <a:pt x="1555" y="718"/>
                        </a:lnTo>
                        <a:lnTo>
                          <a:pt x="1376" y="658"/>
                        </a:lnTo>
                        <a:lnTo>
                          <a:pt x="1017" y="478"/>
                        </a:lnTo>
                        <a:lnTo>
                          <a:pt x="1017" y="478"/>
                        </a:lnTo>
                        <a:lnTo>
                          <a:pt x="778" y="35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87" name="Vrije vorm: vorm 7786">
                    <a:extLst>
                      <a:ext uri="{FF2B5EF4-FFF2-40B4-BE49-F238E27FC236}">
                        <a16:creationId xmlns:a16="http://schemas.microsoft.com/office/drawing/2014/main" id="{78B38A2E-06ED-4BB5-B5BF-5F28870C58C8}"/>
                      </a:ext>
                    </a:extLst>
                  </p:cNvPr>
                  <p:cNvSpPr/>
                  <p:nvPr/>
                </p:nvSpPr>
                <p:spPr>
                  <a:xfrm>
                    <a:off x="5784574" y="5179763"/>
                    <a:ext cx="2152" cy="4605"/>
                  </a:xfrm>
                  <a:custGeom>
                    <a:avLst/>
                    <a:gdLst>
                      <a:gd name="connsiteX0" fmla="*/ 2153 w 2152"/>
                      <a:gd name="connsiteY0" fmla="*/ 0 h 4605"/>
                      <a:gd name="connsiteX1" fmla="*/ 2153 w 2152"/>
                      <a:gd name="connsiteY1" fmla="*/ 299 h 4605"/>
                      <a:gd name="connsiteX2" fmla="*/ 2153 w 2152"/>
                      <a:gd name="connsiteY2" fmla="*/ 598 h 4605"/>
                      <a:gd name="connsiteX3" fmla="*/ 2034 w 2152"/>
                      <a:gd name="connsiteY3" fmla="*/ 1256 h 4605"/>
                      <a:gd name="connsiteX4" fmla="*/ 1914 w 2152"/>
                      <a:gd name="connsiteY4" fmla="*/ 1615 h 4605"/>
                      <a:gd name="connsiteX5" fmla="*/ 1794 w 2152"/>
                      <a:gd name="connsiteY5" fmla="*/ 1974 h 4605"/>
                      <a:gd name="connsiteX6" fmla="*/ 1495 w 2152"/>
                      <a:gd name="connsiteY6" fmla="*/ 2691 h 4605"/>
                      <a:gd name="connsiteX7" fmla="*/ 1316 w 2152"/>
                      <a:gd name="connsiteY7" fmla="*/ 2990 h 4605"/>
                      <a:gd name="connsiteX8" fmla="*/ 1136 w 2152"/>
                      <a:gd name="connsiteY8" fmla="*/ 3349 h 4605"/>
                      <a:gd name="connsiteX9" fmla="*/ 718 w 2152"/>
                      <a:gd name="connsiteY9" fmla="*/ 3947 h 4605"/>
                      <a:gd name="connsiteX10" fmla="*/ 239 w 2152"/>
                      <a:gd name="connsiteY10" fmla="*/ 4426 h 4605"/>
                      <a:gd name="connsiteX11" fmla="*/ 0 w 2152"/>
                      <a:gd name="connsiteY11" fmla="*/ 4605 h 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52" h="4605">
                        <a:moveTo>
                          <a:pt x="2153" y="0"/>
                        </a:moveTo>
                        <a:lnTo>
                          <a:pt x="2153" y="299"/>
                        </a:lnTo>
                        <a:lnTo>
                          <a:pt x="2153" y="598"/>
                        </a:lnTo>
                        <a:lnTo>
                          <a:pt x="2034" y="1256"/>
                        </a:lnTo>
                        <a:lnTo>
                          <a:pt x="1914" y="1615"/>
                        </a:lnTo>
                        <a:lnTo>
                          <a:pt x="1794" y="1974"/>
                        </a:lnTo>
                        <a:lnTo>
                          <a:pt x="1495" y="2691"/>
                        </a:lnTo>
                        <a:lnTo>
                          <a:pt x="1316" y="2990"/>
                        </a:lnTo>
                        <a:lnTo>
                          <a:pt x="1136" y="3349"/>
                        </a:lnTo>
                        <a:lnTo>
                          <a:pt x="718" y="3947"/>
                        </a:lnTo>
                        <a:lnTo>
                          <a:pt x="239" y="4426"/>
                        </a:lnTo>
                        <a:lnTo>
                          <a:pt x="0" y="4605"/>
                        </a:lnTo>
                      </a:path>
                    </a:pathLst>
                  </a:custGeom>
                  <a:noFill/>
                  <a:ln w="6350" cap="flat">
                    <a:solidFill>
                      <a:schemeClr val="bg1">
                        <a:alpha val="40000"/>
                      </a:schemeClr>
                    </a:solidFill>
                    <a:prstDash val="solid"/>
                    <a:miter/>
                  </a:ln>
                </p:spPr>
                <p:txBody>
                  <a:bodyPr rtlCol="0" anchor="ctr"/>
                  <a:lstStyle/>
                  <a:p>
                    <a:endParaRPr lang="en-GB"/>
                  </a:p>
                </p:txBody>
              </p:sp>
              <p:sp>
                <p:nvSpPr>
                  <p:cNvPr id="7788" name="Vrije vorm: vorm 7787">
                    <a:extLst>
                      <a:ext uri="{FF2B5EF4-FFF2-40B4-BE49-F238E27FC236}">
                        <a16:creationId xmlns:a16="http://schemas.microsoft.com/office/drawing/2014/main" id="{24EA2CE7-7BEA-4B16-ABC2-82FFC9807045}"/>
                      </a:ext>
                    </a:extLst>
                  </p:cNvPr>
                  <p:cNvSpPr/>
                  <p:nvPr/>
                </p:nvSpPr>
                <p:spPr>
                  <a:xfrm>
                    <a:off x="5806643" y="5353443"/>
                    <a:ext cx="3468" cy="6040"/>
                  </a:xfrm>
                  <a:custGeom>
                    <a:avLst/>
                    <a:gdLst>
                      <a:gd name="connsiteX0" fmla="*/ 3469 w 3468"/>
                      <a:gd name="connsiteY0" fmla="*/ 0 h 6040"/>
                      <a:gd name="connsiteX1" fmla="*/ 3469 w 3468"/>
                      <a:gd name="connsiteY1" fmla="*/ 538 h 6040"/>
                      <a:gd name="connsiteX2" fmla="*/ 3289 w 3468"/>
                      <a:gd name="connsiteY2" fmla="*/ 1256 h 6040"/>
                      <a:gd name="connsiteX3" fmla="*/ 2990 w 3468"/>
                      <a:gd name="connsiteY3" fmla="*/ 2093 h 6040"/>
                      <a:gd name="connsiteX4" fmla="*/ 2572 w 3468"/>
                      <a:gd name="connsiteY4" fmla="*/ 2990 h 6040"/>
                      <a:gd name="connsiteX5" fmla="*/ 2093 w 3468"/>
                      <a:gd name="connsiteY5" fmla="*/ 3828 h 6040"/>
                      <a:gd name="connsiteX6" fmla="*/ 1555 w 3468"/>
                      <a:gd name="connsiteY6" fmla="*/ 4605 h 6040"/>
                      <a:gd name="connsiteX7" fmla="*/ 1017 w 3468"/>
                      <a:gd name="connsiteY7" fmla="*/ 5263 h 6040"/>
                      <a:gd name="connsiteX8" fmla="*/ 479 w 3468"/>
                      <a:gd name="connsiteY8" fmla="*/ 5742 h 6040"/>
                      <a:gd name="connsiteX9" fmla="*/ 0 w 3468"/>
                      <a:gd name="connsiteY9" fmla="*/ 6041 h 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8" h="6040">
                        <a:moveTo>
                          <a:pt x="3469" y="0"/>
                        </a:moveTo>
                        <a:lnTo>
                          <a:pt x="3469" y="538"/>
                        </a:lnTo>
                        <a:lnTo>
                          <a:pt x="3289" y="1256"/>
                        </a:lnTo>
                        <a:lnTo>
                          <a:pt x="2990" y="2093"/>
                        </a:lnTo>
                        <a:lnTo>
                          <a:pt x="2572" y="2990"/>
                        </a:lnTo>
                        <a:lnTo>
                          <a:pt x="2093" y="3828"/>
                        </a:lnTo>
                        <a:lnTo>
                          <a:pt x="1555" y="4605"/>
                        </a:lnTo>
                        <a:lnTo>
                          <a:pt x="1017" y="5263"/>
                        </a:lnTo>
                        <a:lnTo>
                          <a:pt x="479" y="5742"/>
                        </a:lnTo>
                        <a:lnTo>
                          <a:pt x="0" y="6041"/>
                        </a:lnTo>
                      </a:path>
                    </a:pathLst>
                  </a:custGeom>
                  <a:noFill/>
                  <a:ln w="6350" cap="flat">
                    <a:solidFill>
                      <a:schemeClr val="bg1">
                        <a:alpha val="40000"/>
                      </a:schemeClr>
                    </a:solidFill>
                    <a:prstDash val="solid"/>
                    <a:miter/>
                  </a:ln>
                </p:spPr>
                <p:txBody>
                  <a:bodyPr rtlCol="0" anchor="ctr"/>
                  <a:lstStyle/>
                  <a:p>
                    <a:endParaRPr lang="en-GB"/>
                  </a:p>
                </p:txBody>
              </p:sp>
              <p:sp>
                <p:nvSpPr>
                  <p:cNvPr id="7789" name="Vrije vorm: vorm 7788">
                    <a:extLst>
                      <a:ext uri="{FF2B5EF4-FFF2-40B4-BE49-F238E27FC236}">
                        <a16:creationId xmlns:a16="http://schemas.microsoft.com/office/drawing/2014/main" id="{7701CDE7-7C5B-4600-8C97-BAD561DA463F}"/>
                      </a:ext>
                    </a:extLst>
                  </p:cNvPr>
                  <p:cNvSpPr/>
                  <p:nvPr/>
                </p:nvSpPr>
                <p:spPr>
                  <a:xfrm>
                    <a:off x="5806762" y="5353324"/>
                    <a:ext cx="4006" cy="6518"/>
                  </a:xfrm>
                  <a:custGeom>
                    <a:avLst/>
                    <a:gdLst>
                      <a:gd name="connsiteX0" fmla="*/ 4007 w 4006"/>
                      <a:gd name="connsiteY0" fmla="*/ 179 h 6518"/>
                      <a:gd name="connsiteX1" fmla="*/ 3768 w 4006"/>
                      <a:gd name="connsiteY1" fmla="*/ 0 h 6518"/>
                      <a:gd name="connsiteX2" fmla="*/ 3409 w 4006"/>
                      <a:gd name="connsiteY2" fmla="*/ 60 h 6518"/>
                      <a:gd name="connsiteX3" fmla="*/ 3409 w 4006"/>
                      <a:gd name="connsiteY3" fmla="*/ 60 h 6518"/>
                      <a:gd name="connsiteX4" fmla="*/ 2990 w 4006"/>
                      <a:gd name="connsiteY4" fmla="*/ 359 h 6518"/>
                      <a:gd name="connsiteX5" fmla="*/ 2452 w 4006"/>
                      <a:gd name="connsiteY5" fmla="*/ 837 h 6518"/>
                      <a:gd name="connsiteX6" fmla="*/ 1914 w 4006"/>
                      <a:gd name="connsiteY6" fmla="*/ 1495 h 6518"/>
                      <a:gd name="connsiteX7" fmla="*/ 1375 w 4006"/>
                      <a:gd name="connsiteY7" fmla="*/ 2273 h 6518"/>
                      <a:gd name="connsiteX8" fmla="*/ 897 w 4006"/>
                      <a:gd name="connsiteY8" fmla="*/ 3110 h 6518"/>
                      <a:gd name="connsiteX9" fmla="*/ 478 w 4006"/>
                      <a:gd name="connsiteY9" fmla="*/ 4007 h 6518"/>
                      <a:gd name="connsiteX10" fmla="*/ 179 w 4006"/>
                      <a:gd name="connsiteY10" fmla="*/ 4844 h 6518"/>
                      <a:gd name="connsiteX11" fmla="*/ 0 w 4006"/>
                      <a:gd name="connsiteY11" fmla="*/ 5562 h 6518"/>
                      <a:gd name="connsiteX12" fmla="*/ 0 w 4006"/>
                      <a:gd name="connsiteY12" fmla="*/ 6100 h 6518"/>
                      <a:gd name="connsiteX13" fmla="*/ 0 w 4006"/>
                      <a:gd name="connsiteY13" fmla="*/ 6160 h 6518"/>
                      <a:gd name="connsiteX14" fmla="*/ 119 w 4006"/>
                      <a:gd name="connsiteY14" fmla="*/ 6519 h 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06" h="6518">
                        <a:moveTo>
                          <a:pt x="4007" y="179"/>
                        </a:moveTo>
                        <a:lnTo>
                          <a:pt x="3768" y="0"/>
                        </a:lnTo>
                        <a:lnTo>
                          <a:pt x="3409" y="60"/>
                        </a:lnTo>
                        <a:lnTo>
                          <a:pt x="3409" y="60"/>
                        </a:lnTo>
                        <a:lnTo>
                          <a:pt x="2990" y="359"/>
                        </a:lnTo>
                        <a:lnTo>
                          <a:pt x="2452" y="837"/>
                        </a:lnTo>
                        <a:lnTo>
                          <a:pt x="1914" y="1495"/>
                        </a:lnTo>
                        <a:lnTo>
                          <a:pt x="1375" y="2273"/>
                        </a:lnTo>
                        <a:lnTo>
                          <a:pt x="897" y="3110"/>
                        </a:lnTo>
                        <a:lnTo>
                          <a:pt x="478" y="4007"/>
                        </a:lnTo>
                        <a:lnTo>
                          <a:pt x="179" y="4844"/>
                        </a:lnTo>
                        <a:lnTo>
                          <a:pt x="0" y="5562"/>
                        </a:lnTo>
                        <a:lnTo>
                          <a:pt x="0" y="6100"/>
                        </a:lnTo>
                        <a:lnTo>
                          <a:pt x="0" y="6160"/>
                        </a:lnTo>
                        <a:lnTo>
                          <a:pt x="119" y="6519"/>
                        </a:lnTo>
                      </a:path>
                    </a:pathLst>
                  </a:custGeom>
                  <a:noFill/>
                  <a:ln w="6350" cap="flat">
                    <a:solidFill>
                      <a:schemeClr val="bg1">
                        <a:alpha val="40000"/>
                      </a:schemeClr>
                    </a:solidFill>
                    <a:prstDash val="solid"/>
                    <a:miter/>
                  </a:ln>
                </p:spPr>
                <p:txBody>
                  <a:bodyPr rtlCol="0" anchor="ctr"/>
                  <a:lstStyle/>
                  <a:p>
                    <a:endParaRPr lang="en-GB"/>
                  </a:p>
                </p:txBody>
              </p:sp>
              <p:sp>
                <p:nvSpPr>
                  <p:cNvPr id="7790" name="Vrije vorm: vorm 7789">
                    <a:extLst>
                      <a:ext uri="{FF2B5EF4-FFF2-40B4-BE49-F238E27FC236}">
                        <a16:creationId xmlns:a16="http://schemas.microsoft.com/office/drawing/2014/main" id="{FBCDD361-0B3A-4C65-B360-0EF0813EFB17}"/>
                      </a:ext>
                    </a:extLst>
                  </p:cNvPr>
                  <p:cNvSpPr/>
                  <p:nvPr/>
                </p:nvSpPr>
                <p:spPr>
                  <a:xfrm>
                    <a:off x="5806822" y="5353503"/>
                    <a:ext cx="4067" cy="6519"/>
                  </a:xfrm>
                  <a:custGeom>
                    <a:avLst/>
                    <a:gdLst>
                      <a:gd name="connsiteX0" fmla="*/ 3947 w 4067"/>
                      <a:gd name="connsiteY0" fmla="*/ 0 h 6519"/>
                      <a:gd name="connsiteX1" fmla="*/ 4067 w 4067"/>
                      <a:gd name="connsiteY1" fmla="*/ 359 h 6519"/>
                      <a:gd name="connsiteX2" fmla="*/ 4067 w 4067"/>
                      <a:gd name="connsiteY2" fmla="*/ 957 h 6519"/>
                      <a:gd name="connsiteX3" fmla="*/ 3888 w 4067"/>
                      <a:gd name="connsiteY3" fmla="*/ 1675 h 6519"/>
                      <a:gd name="connsiteX4" fmla="*/ 3589 w 4067"/>
                      <a:gd name="connsiteY4" fmla="*/ 2512 h 6519"/>
                      <a:gd name="connsiteX5" fmla="*/ 3170 w 4067"/>
                      <a:gd name="connsiteY5" fmla="*/ 3409 h 6519"/>
                      <a:gd name="connsiteX6" fmla="*/ 2691 w 4067"/>
                      <a:gd name="connsiteY6" fmla="*/ 4246 h 6519"/>
                      <a:gd name="connsiteX7" fmla="*/ 2153 w 4067"/>
                      <a:gd name="connsiteY7" fmla="*/ 5024 h 6519"/>
                      <a:gd name="connsiteX8" fmla="*/ 1615 w 4067"/>
                      <a:gd name="connsiteY8" fmla="*/ 5682 h 6519"/>
                      <a:gd name="connsiteX9" fmla="*/ 1077 w 4067"/>
                      <a:gd name="connsiteY9" fmla="*/ 6160 h 6519"/>
                      <a:gd name="connsiteX10" fmla="*/ 598 w 4067"/>
                      <a:gd name="connsiteY10" fmla="*/ 6459 h 6519"/>
                      <a:gd name="connsiteX11" fmla="*/ 239 w 4067"/>
                      <a:gd name="connsiteY11" fmla="*/ 6519 h 6519"/>
                      <a:gd name="connsiteX12" fmla="*/ 0 w 4067"/>
                      <a:gd name="connsiteY12" fmla="*/ 6340 h 6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7" h="6519">
                        <a:moveTo>
                          <a:pt x="3947" y="0"/>
                        </a:moveTo>
                        <a:lnTo>
                          <a:pt x="4067" y="359"/>
                        </a:lnTo>
                        <a:lnTo>
                          <a:pt x="4067" y="957"/>
                        </a:lnTo>
                        <a:lnTo>
                          <a:pt x="3888" y="1675"/>
                        </a:lnTo>
                        <a:lnTo>
                          <a:pt x="3589" y="2512"/>
                        </a:lnTo>
                        <a:lnTo>
                          <a:pt x="3170" y="3409"/>
                        </a:lnTo>
                        <a:lnTo>
                          <a:pt x="2691" y="4246"/>
                        </a:lnTo>
                        <a:lnTo>
                          <a:pt x="2153" y="5024"/>
                        </a:lnTo>
                        <a:lnTo>
                          <a:pt x="1615" y="5682"/>
                        </a:lnTo>
                        <a:lnTo>
                          <a:pt x="1077" y="6160"/>
                        </a:lnTo>
                        <a:lnTo>
                          <a:pt x="598" y="6459"/>
                        </a:lnTo>
                        <a:lnTo>
                          <a:pt x="239" y="6519"/>
                        </a:lnTo>
                        <a:lnTo>
                          <a:pt x="0" y="6340"/>
                        </a:lnTo>
                      </a:path>
                    </a:pathLst>
                  </a:custGeom>
                  <a:noFill/>
                  <a:ln w="6350" cap="flat">
                    <a:solidFill>
                      <a:schemeClr val="bg1">
                        <a:alpha val="40000"/>
                      </a:schemeClr>
                    </a:solidFill>
                    <a:prstDash val="solid"/>
                    <a:miter/>
                  </a:ln>
                </p:spPr>
                <p:txBody>
                  <a:bodyPr rtlCol="0" anchor="ctr"/>
                  <a:lstStyle/>
                  <a:p>
                    <a:endParaRPr lang="en-GB"/>
                  </a:p>
                </p:txBody>
              </p:sp>
              <p:sp>
                <p:nvSpPr>
                  <p:cNvPr id="7791" name="Vrije vorm: vorm 7790">
                    <a:extLst>
                      <a:ext uri="{FF2B5EF4-FFF2-40B4-BE49-F238E27FC236}">
                        <a16:creationId xmlns:a16="http://schemas.microsoft.com/office/drawing/2014/main" id="{1D83A79B-7F7D-4090-8DBC-E3689005E94B}"/>
                      </a:ext>
                    </a:extLst>
                  </p:cNvPr>
                  <p:cNvSpPr/>
                  <p:nvPr/>
                </p:nvSpPr>
                <p:spPr>
                  <a:xfrm>
                    <a:off x="5740556" y="5196390"/>
                    <a:ext cx="5322" cy="4305"/>
                  </a:xfrm>
                  <a:custGeom>
                    <a:avLst/>
                    <a:gdLst>
                      <a:gd name="connsiteX0" fmla="*/ 5323 w 5322"/>
                      <a:gd name="connsiteY0" fmla="*/ 4306 h 4305"/>
                      <a:gd name="connsiteX1" fmla="*/ 2990 w 5322"/>
                      <a:gd name="connsiteY1" fmla="*/ 3170 h 4305"/>
                      <a:gd name="connsiteX2" fmla="*/ 957 w 5322"/>
                      <a:gd name="connsiteY2" fmla="*/ 1196 h 4305"/>
                      <a:gd name="connsiteX3" fmla="*/ 658 w 5322"/>
                      <a:gd name="connsiteY3" fmla="*/ 897 h 4305"/>
                      <a:gd name="connsiteX4" fmla="*/ 179 w 5322"/>
                      <a:gd name="connsiteY4" fmla="*/ 419 h 4305"/>
                      <a:gd name="connsiteX5" fmla="*/ 60 w 5322"/>
                      <a:gd name="connsiteY5" fmla="*/ 119 h 4305"/>
                      <a:gd name="connsiteX6" fmla="*/ 0 w 5322"/>
                      <a:gd name="connsiteY6" fmla="*/ 0 h 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22" h="4305">
                        <a:moveTo>
                          <a:pt x="5323" y="4306"/>
                        </a:moveTo>
                        <a:lnTo>
                          <a:pt x="2990" y="3170"/>
                        </a:lnTo>
                        <a:lnTo>
                          <a:pt x="957" y="1196"/>
                        </a:lnTo>
                        <a:lnTo>
                          <a:pt x="658" y="897"/>
                        </a:lnTo>
                        <a:lnTo>
                          <a:pt x="179" y="419"/>
                        </a:lnTo>
                        <a:lnTo>
                          <a:pt x="60" y="11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792" name="Vrije vorm: vorm 7791">
                    <a:extLst>
                      <a:ext uri="{FF2B5EF4-FFF2-40B4-BE49-F238E27FC236}">
                        <a16:creationId xmlns:a16="http://schemas.microsoft.com/office/drawing/2014/main" id="{CBC7CE9A-88B5-4FC8-BEB0-CB008BAB7649}"/>
                      </a:ext>
                    </a:extLst>
                  </p:cNvPr>
                  <p:cNvSpPr/>
                  <p:nvPr/>
                </p:nvSpPr>
                <p:spPr>
                  <a:xfrm>
                    <a:off x="5769802" y="5139453"/>
                    <a:ext cx="4066" cy="1435"/>
                  </a:xfrm>
                  <a:custGeom>
                    <a:avLst/>
                    <a:gdLst>
                      <a:gd name="connsiteX0" fmla="*/ 0 w 4066"/>
                      <a:gd name="connsiteY0" fmla="*/ 0 h 1435"/>
                      <a:gd name="connsiteX1" fmla="*/ 1794 w 4066"/>
                      <a:gd name="connsiteY1" fmla="*/ 598 h 1435"/>
                      <a:gd name="connsiteX2" fmla="*/ 2871 w 4066"/>
                      <a:gd name="connsiteY2" fmla="*/ 1017 h 1435"/>
                      <a:gd name="connsiteX3" fmla="*/ 3708 w 4066"/>
                      <a:gd name="connsiteY3" fmla="*/ 1316 h 1435"/>
                      <a:gd name="connsiteX4" fmla="*/ 4067 w 4066"/>
                      <a:gd name="connsiteY4" fmla="*/ 1435 h 1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1435">
                        <a:moveTo>
                          <a:pt x="0" y="0"/>
                        </a:moveTo>
                        <a:lnTo>
                          <a:pt x="1794" y="598"/>
                        </a:lnTo>
                        <a:lnTo>
                          <a:pt x="2871" y="1017"/>
                        </a:lnTo>
                        <a:lnTo>
                          <a:pt x="3708" y="1316"/>
                        </a:lnTo>
                        <a:lnTo>
                          <a:pt x="4067" y="1435"/>
                        </a:lnTo>
                      </a:path>
                    </a:pathLst>
                  </a:custGeom>
                  <a:noFill/>
                  <a:ln w="6350" cap="flat">
                    <a:solidFill>
                      <a:schemeClr val="bg1">
                        <a:alpha val="40000"/>
                      </a:schemeClr>
                    </a:solidFill>
                    <a:prstDash val="solid"/>
                    <a:miter/>
                  </a:ln>
                </p:spPr>
                <p:txBody>
                  <a:bodyPr rtlCol="0" anchor="ctr"/>
                  <a:lstStyle/>
                  <a:p>
                    <a:endParaRPr lang="en-GB"/>
                  </a:p>
                </p:txBody>
              </p:sp>
              <p:sp>
                <p:nvSpPr>
                  <p:cNvPr id="7793" name="Vrije vorm: vorm 7792">
                    <a:extLst>
                      <a:ext uri="{FF2B5EF4-FFF2-40B4-BE49-F238E27FC236}">
                        <a16:creationId xmlns:a16="http://schemas.microsoft.com/office/drawing/2014/main" id="{B1CD0FD0-3A12-405D-9931-BEB0B6590DEA}"/>
                      </a:ext>
                    </a:extLst>
                  </p:cNvPr>
                  <p:cNvSpPr/>
                  <p:nvPr/>
                </p:nvSpPr>
                <p:spPr>
                  <a:xfrm>
                    <a:off x="5809693" y="5176653"/>
                    <a:ext cx="35286" cy="39293"/>
                  </a:xfrm>
                  <a:custGeom>
                    <a:avLst/>
                    <a:gdLst>
                      <a:gd name="connsiteX0" fmla="*/ 35286 w 35286"/>
                      <a:gd name="connsiteY0" fmla="*/ 0 h 39293"/>
                      <a:gd name="connsiteX1" fmla="*/ 34808 w 35286"/>
                      <a:gd name="connsiteY1" fmla="*/ 2273 h 39293"/>
                      <a:gd name="connsiteX2" fmla="*/ 33193 w 35286"/>
                      <a:gd name="connsiteY2" fmla="*/ 5861 h 39293"/>
                      <a:gd name="connsiteX3" fmla="*/ 31578 w 35286"/>
                      <a:gd name="connsiteY3" fmla="*/ 9450 h 39293"/>
                      <a:gd name="connsiteX4" fmla="*/ 30621 w 35286"/>
                      <a:gd name="connsiteY4" fmla="*/ 11603 h 39293"/>
                      <a:gd name="connsiteX5" fmla="*/ 28408 w 35286"/>
                      <a:gd name="connsiteY5" fmla="*/ 14892 h 39293"/>
                      <a:gd name="connsiteX6" fmla="*/ 26196 w 35286"/>
                      <a:gd name="connsiteY6" fmla="*/ 18182 h 39293"/>
                      <a:gd name="connsiteX7" fmla="*/ 24521 w 35286"/>
                      <a:gd name="connsiteY7" fmla="*/ 20693 h 39293"/>
                      <a:gd name="connsiteX8" fmla="*/ 21889 w 35286"/>
                      <a:gd name="connsiteY8" fmla="*/ 23445 h 39293"/>
                      <a:gd name="connsiteX9" fmla="*/ 19258 w 35286"/>
                      <a:gd name="connsiteY9" fmla="*/ 26196 h 39293"/>
                      <a:gd name="connsiteX10" fmla="*/ 16926 w 35286"/>
                      <a:gd name="connsiteY10" fmla="*/ 28648 h 39293"/>
                      <a:gd name="connsiteX11" fmla="*/ 14055 w 35286"/>
                      <a:gd name="connsiteY11" fmla="*/ 30861 h 39293"/>
                      <a:gd name="connsiteX12" fmla="*/ 11603 w 35286"/>
                      <a:gd name="connsiteY12" fmla="*/ 32715 h 39293"/>
                      <a:gd name="connsiteX13" fmla="*/ 8732 w 35286"/>
                      <a:gd name="connsiteY13" fmla="*/ 34928 h 39293"/>
                      <a:gd name="connsiteX14" fmla="*/ 8552 w 35286"/>
                      <a:gd name="connsiteY14" fmla="*/ 35107 h 39293"/>
                      <a:gd name="connsiteX15" fmla="*/ 5502 w 35286"/>
                      <a:gd name="connsiteY15" fmla="*/ 36602 h 39293"/>
                      <a:gd name="connsiteX16" fmla="*/ 4187 w 35286"/>
                      <a:gd name="connsiteY16" fmla="*/ 37260 h 39293"/>
                      <a:gd name="connsiteX17" fmla="*/ 1136 w 35286"/>
                      <a:gd name="connsiteY17" fmla="*/ 38755 h 39293"/>
                      <a:gd name="connsiteX18" fmla="*/ 0 w 35286"/>
                      <a:gd name="connsiteY18" fmla="*/ 39293 h 3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286" h="39293">
                        <a:moveTo>
                          <a:pt x="35286" y="0"/>
                        </a:moveTo>
                        <a:lnTo>
                          <a:pt x="34808" y="2273"/>
                        </a:lnTo>
                        <a:lnTo>
                          <a:pt x="33193" y="5861"/>
                        </a:lnTo>
                        <a:lnTo>
                          <a:pt x="31578" y="9450"/>
                        </a:lnTo>
                        <a:lnTo>
                          <a:pt x="30621" y="11603"/>
                        </a:lnTo>
                        <a:lnTo>
                          <a:pt x="28408" y="14892"/>
                        </a:lnTo>
                        <a:lnTo>
                          <a:pt x="26196" y="18182"/>
                        </a:lnTo>
                        <a:lnTo>
                          <a:pt x="24521" y="20693"/>
                        </a:lnTo>
                        <a:lnTo>
                          <a:pt x="21889" y="23445"/>
                        </a:lnTo>
                        <a:lnTo>
                          <a:pt x="19258" y="26196"/>
                        </a:lnTo>
                        <a:lnTo>
                          <a:pt x="16926" y="28648"/>
                        </a:lnTo>
                        <a:lnTo>
                          <a:pt x="14055" y="30861"/>
                        </a:lnTo>
                        <a:lnTo>
                          <a:pt x="11603" y="32715"/>
                        </a:lnTo>
                        <a:lnTo>
                          <a:pt x="8732" y="34928"/>
                        </a:lnTo>
                        <a:lnTo>
                          <a:pt x="8552" y="35107"/>
                        </a:lnTo>
                        <a:lnTo>
                          <a:pt x="5502" y="36602"/>
                        </a:lnTo>
                        <a:lnTo>
                          <a:pt x="4187" y="37260"/>
                        </a:lnTo>
                        <a:lnTo>
                          <a:pt x="1136" y="38755"/>
                        </a:lnTo>
                        <a:lnTo>
                          <a:pt x="0" y="39293"/>
                        </a:lnTo>
                      </a:path>
                    </a:pathLst>
                  </a:custGeom>
                  <a:noFill/>
                  <a:ln w="6350" cap="flat">
                    <a:solidFill>
                      <a:schemeClr val="bg1">
                        <a:alpha val="40000"/>
                      </a:schemeClr>
                    </a:solidFill>
                    <a:prstDash val="solid"/>
                    <a:miter/>
                  </a:ln>
                </p:spPr>
                <p:txBody>
                  <a:bodyPr rtlCol="0" anchor="ctr"/>
                  <a:lstStyle/>
                  <a:p>
                    <a:endParaRPr lang="en-GB"/>
                  </a:p>
                </p:txBody>
              </p:sp>
              <p:sp>
                <p:nvSpPr>
                  <p:cNvPr id="7794" name="Vrije vorm: vorm 7793">
                    <a:extLst>
                      <a:ext uri="{FF2B5EF4-FFF2-40B4-BE49-F238E27FC236}">
                        <a16:creationId xmlns:a16="http://schemas.microsoft.com/office/drawing/2014/main" id="{52979F0B-D805-4966-8257-6F324CB5D0B5}"/>
                      </a:ext>
                    </a:extLst>
                  </p:cNvPr>
                  <p:cNvSpPr/>
                  <p:nvPr/>
                </p:nvSpPr>
                <p:spPr>
                  <a:xfrm>
                    <a:off x="5809932" y="5175099"/>
                    <a:ext cx="12619" cy="16566"/>
                  </a:xfrm>
                  <a:custGeom>
                    <a:avLst/>
                    <a:gdLst>
                      <a:gd name="connsiteX0" fmla="*/ 0 w 12619"/>
                      <a:gd name="connsiteY0" fmla="*/ 16506 h 16566"/>
                      <a:gd name="connsiteX1" fmla="*/ 718 w 12619"/>
                      <a:gd name="connsiteY1" fmla="*/ 16566 h 16566"/>
                      <a:gd name="connsiteX2" fmla="*/ 2871 w 12619"/>
                      <a:gd name="connsiteY2" fmla="*/ 16028 h 16566"/>
                      <a:gd name="connsiteX3" fmla="*/ 5143 w 12619"/>
                      <a:gd name="connsiteY3" fmla="*/ 14892 h 16566"/>
                      <a:gd name="connsiteX4" fmla="*/ 7356 w 12619"/>
                      <a:gd name="connsiteY4" fmla="*/ 13217 h 16566"/>
                      <a:gd name="connsiteX5" fmla="*/ 9330 w 12619"/>
                      <a:gd name="connsiteY5" fmla="*/ 11124 h 16566"/>
                      <a:gd name="connsiteX6" fmla="*/ 10945 w 12619"/>
                      <a:gd name="connsiteY6" fmla="*/ 8791 h 16566"/>
                      <a:gd name="connsiteX7" fmla="*/ 12081 w 12619"/>
                      <a:gd name="connsiteY7" fmla="*/ 6340 h 16566"/>
                      <a:gd name="connsiteX8" fmla="*/ 12619 w 12619"/>
                      <a:gd name="connsiteY8" fmla="*/ 3947 h 16566"/>
                      <a:gd name="connsiteX9" fmla="*/ 12619 w 12619"/>
                      <a:gd name="connsiteY9" fmla="*/ 1794 h 16566"/>
                      <a:gd name="connsiteX10" fmla="*/ 12021 w 12619"/>
                      <a:gd name="connsiteY10" fmla="*/ 0 h 1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19" h="16566">
                        <a:moveTo>
                          <a:pt x="0" y="16506"/>
                        </a:moveTo>
                        <a:lnTo>
                          <a:pt x="718" y="16566"/>
                        </a:lnTo>
                        <a:lnTo>
                          <a:pt x="2871" y="16028"/>
                        </a:lnTo>
                        <a:lnTo>
                          <a:pt x="5143" y="14892"/>
                        </a:lnTo>
                        <a:lnTo>
                          <a:pt x="7356" y="13217"/>
                        </a:lnTo>
                        <a:lnTo>
                          <a:pt x="9330" y="11124"/>
                        </a:lnTo>
                        <a:lnTo>
                          <a:pt x="10945" y="8791"/>
                        </a:lnTo>
                        <a:lnTo>
                          <a:pt x="12081" y="6340"/>
                        </a:lnTo>
                        <a:lnTo>
                          <a:pt x="12619" y="3947"/>
                        </a:lnTo>
                        <a:lnTo>
                          <a:pt x="12619" y="1794"/>
                        </a:lnTo>
                        <a:lnTo>
                          <a:pt x="12021" y="0"/>
                        </a:lnTo>
                      </a:path>
                    </a:pathLst>
                  </a:custGeom>
                  <a:noFill/>
                  <a:ln w="6350" cap="flat">
                    <a:solidFill>
                      <a:schemeClr val="bg1">
                        <a:alpha val="40000"/>
                      </a:schemeClr>
                    </a:solidFill>
                    <a:prstDash val="solid"/>
                    <a:miter/>
                  </a:ln>
                </p:spPr>
                <p:txBody>
                  <a:bodyPr rtlCol="0" anchor="ctr"/>
                  <a:lstStyle/>
                  <a:p>
                    <a:endParaRPr lang="en-GB"/>
                  </a:p>
                </p:txBody>
              </p:sp>
              <p:sp>
                <p:nvSpPr>
                  <p:cNvPr id="7795" name="Vrije vorm: vorm 7794">
                    <a:extLst>
                      <a:ext uri="{FF2B5EF4-FFF2-40B4-BE49-F238E27FC236}">
                        <a16:creationId xmlns:a16="http://schemas.microsoft.com/office/drawing/2014/main" id="{67827406-ADD4-42AC-A906-752D847534F3}"/>
                      </a:ext>
                    </a:extLst>
                  </p:cNvPr>
                  <p:cNvSpPr/>
                  <p:nvPr/>
                </p:nvSpPr>
                <p:spPr>
                  <a:xfrm>
                    <a:off x="5819202" y="5160625"/>
                    <a:ext cx="13875" cy="3110"/>
                  </a:xfrm>
                  <a:custGeom>
                    <a:avLst/>
                    <a:gdLst>
                      <a:gd name="connsiteX0" fmla="*/ 0 w 13875"/>
                      <a:gd name="connsiteY0" fmla="*/ 60 h 3110"/>
                      <a:gd name="connsiteX1" fmla="*/ 479 w 13875"/>
                      <a:gd name="connsiteY1" fmla="*/ 0 h 3110"/>
                      <a:gd name="connsiteX2" fmla="*/ 3349 w 13875"/>
                      <a:gd name="connsiteY2" fmla="*/ 180 h 3110"/>
                      <a:gd name="connsiteX3" fmla="*/ 6220 w 13875"/>
                      <a:gd name="connsiteY3" fmla="*/ 359 h 3110"/>
                      <a:gd name="connsiteX4" fmla="*/ 7596 w 13875"/>
                      <a:gd name="connsiteY4" fmla="*/ 479 h 3110"/>
                      <a:gd name="connsiteX5" fmla="*/ 10167 w 13875"/>
                      <a:gd name="connsiteY5" fmla="*/ 1495 h 3110"/>
                      <a:gd name="connsiteX6" fmla="*/ 12739 w 13875"/>
                      <a:gd name="connsiteY6" fmla="*/ 2512 h 3110"/>
                      <a:gd name="connsiteX7" fmla="*/ 13636 w 13875"/>
                      <a:gd name="connsiteY7" fmla="*/ 2871 h 3110"/>
                      <a:gd name="connsiteX8" fmla="*/ 13875 w 13875"/>
                      <a:gd name="connsiteY8" fmla="*/ 3110 h 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5" h="3110">
                        <a:moveTo>
                          <a:pt x="0" y="60"/>
                        </a:moveTo>
                        <a:lnTo>
                          <a:pt x="479" y="0"/>
                        </a:lnTo>
                        <a:lnTo>
                          <a:pt x="3349" y="180"/>
                        </a:lnTo>
                        <a:lnTo>
                          <a:pt x="6220" y="359"/>
                        </a:lnTo>
                        <a:lnTo>
                          <a:pt x="7596" y="479"/>
                        </a:lnTo>
                        <a:lnTo>
                          <a:pt x="10167" y="1495"/>
                        </a:lnTo>
                        <a:lnTo>
                          <a:pt x="12739" y="2512"/>
                        </a:lnTo>
                        <a:lnTo>
                          <a:pt x="13636" y="2871"/>
                        </a:lnTo>
                        <a:lnTo>
                          <a:pt x="13875" y="3110"/>
                        </a:lnTo>
                      </a:path>
                    </a:pathLst>
                  </a:custGeom>
                  <a:noFill/>
                  <a:ln w="6350" cap="flat">
                    <a:solidFill>
                      <a:schemeClr val="bg1">
                        <a:alpha val="40000"/>
                      </a:schemeClr>
                    </a:solidFill>
                    <a:prstDash val="solid"/>
                    <a:miter/>
                  </a:ln>
                </p:spPr>
                <p:txBody>
                  <a:bodyPr rtlCol="0" anchor="ctr"/>
                  <a:lstStyle/>
                  <a:p>
                    <a:endParaRPr lang="en-GB"/>
                  </a:p>
                </p:txBody>
              </p:sp>
              <p:sp>
                <p:nvSpPr>
                  <p:cNvPr id="7796" name="Vrije vorm: vorm 7795">
                    <a:extLst>
                      <a:ext uri="{FF2B5EF4-FFF2-40B4-BE49-F238E27FC236}">
                        <a16:creationId xmlns:a16="http://schemas.microsoft.com/office/drawing/2014/main" id="{63623968-BAA4-4077-BD04-7ECB65B76B38}"/>
                      </a:ext>
                    </a:extLst>
                  </p:cNvPr>
                  <p:cNvSpPr/>
                  <p:nvPr/>
                </p:nvSpPr>
                <p:spPr>
                  <a:xfrm>
                    <a:off x="5815674" y="5227789"/>
                    <a:ext cx="49520" cy="48323"/>
                  </a:xfrm>
                  <a:custGeom>
                    <a:avLst/>
                    <a:gdLst>
                      <a:gd name="connsiteX0" fmla="*/ 49221 w 49520"/>
                      <a:gd name="connsiteY0" fmla="*/ 0 h 48323"/>
                      <a:gd name="connsiteX1" fmla="*/ 49401 w 49520"/>
                      <a:gd name="connsiteY1" fmla="*/ 3528 h 48323"/>
                      <a:gd name="connsiteX2" fmla="*/ 49520 w 49520"/>
                      <a:gd name="connsiteY2" fmla="*/ 5741 h 48323"/>
                      <a:gd name="connsiteX3" fmla="*/ 48803 w 49520"/>
                      <a:gd name="connsiteY3" fmla="*/ 9509 h 48323"/>
                      <a:gd name="connsiteX4" fmla="*/ 48085 w 49520"/>
                      <a:gd name="connsiteY4" fmla="*/ 13277 h 48323"/>
                      <a:gd name="connsiteX5" fmla="*/ 47906 w 49520"/>
                      <a:gd name="connsiteY5" fmla="*/ 14114 h 48323"/>
                      <a:gd name="connsiteX6" fmla="*/ 46410 w 49520"/>
                      <a:gd name="connsiteY6" fmla="*/ 17763 h 48323"/>
                      <a:gd name="connsiteX7" fmla="*/ 44915 w 49520"/>
                      <a:gd name="connsiteY7" fmla="*/ 21411 h 48323"/>
                      <a:gd name="connsiteX8" fmla="*/ 44377 w 49520"/>
                      <a:gd name="connsiteY8" fmla="*/ 22667 h 48323"/>
                      <a:gd name="connsiteX9" fmla="*/ 42224 w 49520"/>
                      <a:gd name="connsiteY9" fmla="*/ 25956 h 48323"/>
                      <a:gd name="connsiteX10" fmla="*/ 40071 w 49520"/>
                      <a:gd name="connsiteY10" fmla="*/ 29245 h 48323"/>
                      <a:gd name="connsiteX11" fmla="*/ 39114 w 49520"/>
                      <a:gd name="connsiteY11" fmla="*/ 30741 h 48323"/>
                      <a:gd name="connsiteX12" fmla="*/ 36542 w 49520"/>
                      <a:gd name="connsiteY12" fmla="*/ 33552 h 48323"/>
                      <a:gd name="connsiteX13" fmla="*/ 33970 w 49520"/>
                      <a:gd name="connsiteY13" fmla="*/ 36363 h 48323"/>
                      <a:gd name="connsiteX14" fmla="*/ 32595 w 49520"/>
                      <a:gd name="connsiteY14" fmla="*/ 37858 h 48323"/>
                      <a:gd name="connsiteX15" fmla="*/ 29724 w 49520"/>
                      <a:gd name="connsiteY15" fmla="*/ 40011 h 48323"/>
                      <a:gd name="connsiteX16" fmla="*/ 26853 w 49520"/>
                      <a:gd name="connsiteY16" fmla="*/ 42164 h 48323"/>
                      <a:gd name="connsiteX17" fmla="*/ 25238 w 49520"/>
                      <a:gd name="connsiteY17" fmla="*/ 43360 h 48323"/>
                      <a:gd name="connsiteX18" fmla="*/ 22188 w 49520"/>
                      <a:gd name="connsiteY18" fmla="*/ 44796 h 48323"/>
                      <a:gd name="connsiteX19" fmla="*/ 19138 w 49520"/>
                      <a:gd name="connsiteY19" fmla="*/ 46231 h 48323"/>
                      <a:gd name="connsiteX20" fmla="*/ 17523 w 49520"/>
                      <a:gd name="connsiteY20" fmla="*/ 47008 h 48323"/>
                      <a:gd name="connsiteX21" fmla="*/ 14473 w 49520"/>
                      <a:gd name="connsiteY21" fmla="*/ 47546 h 48323"/>
                      <a:gd name="connsiteX22" fmla="*/ 11423 w 49520"/>
                      <a:gd name="connsiteY22" fmla="*/ 48085 h 48323"/>
                      <a:gd name="connsiteX23" fmla="*/ 10048 w 49520"/>
                      <a:gd name="connsiteY23" fmla="*/ 48324 h 48323"/>
                      <a:gd name="connsiteX24" fmla="*/ 7236 w 49520"/>
                      <a:gd name="connsiteY24" fmla="*/ 47965 h 48323"/>
                      <a:gd name="connsiteX25" fmla="*/ 4426 w 49520"/>
                      <a:gd name="connsiteY25" fmla="*/ 47606 h 48323"/>
                      <a:gd name="connsiteX26" fmla="*/ 3469 w 49520"/>
                      <a:gd name="connsiteY26" fmla="*/ 47487 h 48323"/>
                      <a:gd name="connsiteX27" fmla="*/ 1076 w 49520"/>
                      <a:gd name="connsiteY27" fmla="*/ 46111 h 48323"/>
                      <a:gd name="connsiteX28" fmla="*/ 0 w 49520"/>
                      <a:gd name="connsiteY28" fmla="*/ 45513 h 4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9520" h="48323">
                        <a:moveTo>
                          <a:pt x="49221" y="0"/>
                        </a:moveTo>
                        <a:lnTo>
                          <a:pt x="49401" y="3528"/>
                        </a:lnTo>
                        <a:lnTo>
                          <a:pt x="49520" y="5741"/>
                        </a:lnTo>
                        <a:lnTo>
                          <a:pt x="48803" y="9509"/>
                        </a:lnTo>
                        <a:lnTo>
                          <a:pt x="48085" y="13277"/>
                        </a:lnTo>
                        <a:lnTo>
                          <a:pt x="47906" y="14114"/>
                        </a:lnTo>
                        <a:lnTo>
                          <a:pt x="46410" y="17763"/>
                        </a:lnTo>
                        <a:lnTo>
                          <a:pt x="44915" y="21411"/>
                        </a:lnTo>
                        <a:lnTo>
                          <a:pt x="44377" y="22667"/>
                        </a:lnTo>
                        <a:lnTo>
                          <a:pt x="42224" y="25956"/>
                        </a:lnTo>
                        <a:lnTo>
                          <a:pt x="40071" y="29245"/>
                        </a:lnTo>
                        <a:lnTo>
                          <a:pt x="39114" y="30741"/>
                        </a:lnTo>
                        <a:lnTo>
                          <a:pt x="36542" y="33552"/>
                        </a:lnTo>
                        <a:lnTo>
                          <a:pt x="33970" y="36363"/>
                        </a:lnTo>
                        <a:lnTo>
                          <a:pt x="32595" y="37858"/>
                        </a:lnTo>
                        <a:lnTo>
                          <a:pt x="29724" y="40011"/>
                        </a:lnTo>
                        <a:lnTo>
                          <a:pt x="26853" y="42164"/>
                        </a:lnTo>
                        <a:lnTo>
                          <a:pt x="25238" y="43360"/>
                        </a:lnTo>
                        <a:lnTo>
                          <a:pt x="22188" y="44796"/>
                        </a:lnTo>
                        <a:lnTo>
                          <a:pt x="19138" y="46231"/>
                        </a:lnTo>
                        <a:lnTo>
                          <a:pt x="17523" y="47008"/>
                        </a:lnTo>
                        <a:lnTo>
                          <a:pt x="14473" y="47546"/>
                        </a:lnTo>
                        <a:lnTo>
                          <a:pt x="11423" y="48085"/>
                        </a:lnTo>
                        <a:lnTo>
                          <a:pt x="10048" y="48324"/>
                        </a:lnTo>
                        <a:lnTo>
                          <a:pt x="7236" y="47965"/>
                        </a:lnTo>
                        <a:lnTo>
                          <a:pt x="4426" y="47606"/>
                        </a:lnTo>
                        <a:lnTo>
                          <a:pt x="3469" y="47487"/>
                        </a:lnTo>
                        <a:lnTo>
                          <a:pt x="1076" y="46111"/>
                        </a:lnTo>
                        <a:lnTo>
                          <a:pt x="0" y="45513"/>
                        </a:lnTo>
                      </a:path>
                    </a:pathLst>
                  </a:custGeom>
                  <a:noFill/>
                  <a:ln w="6350" cap="flat">
                    <a:solidFill>
                      <a:schemeClr val="bg1">
                        <a:alpha val="40000"/>
                      </a:schemeClr>
                    </a:solidFill>
                    <a:prstDash val="solid"/>
                    <a:miter/>
                  </a:ln>
                </p:spPr>
                <p:txBody>
                  <a:bodyPr rtlCol="0" anchor="ctr"/>
                  <a:lstStyle/>
                  <a:p>
                    <a:endParaRPr lang="en-GB"/>
                  </a:p>
                </p:txBody>
              </p:sp>
              <p:sp>
                <p:nvSpPr>
                  <p:cNvPr id="7797" name="Vrije vorm: vorm 7796">
                    <a:extLst>
                      <a:ext uri="{FF2B5EF4-FFF2-40B4-BE49-F238E27FC236}">
                        <a16:creationId xmlns:a16="http://schemas.microsoft.com/office/drawing/2014/main" id="{194B17F6-3843-4C16-A266-5DAF6BCAE532}"/>
                      </a:ext>
                    </a:extLst>
                  </p:cNvPr>
                  <p:cNvSpPr/>
                  <p:nvPr/>
                </p:nvSpPr>
                <p:spPr>
                  <a:xfrm>
                    <a:off x="5810709" y="5189333"/>
                    <a:ext cx="35166" cy="34807"/>
                  </a:xfrm>
                  <a:custGeom>
                    <a:avLst/>
                    <a:gdLst>
                      <a:gd name="connsiteX0" fmla="*/ 0 w 35166"/>
                      <a:gd name="connsiteY0" fmla="*/ 34807 h 34807"/>
                      <a:gd name="connsiteX1" fmla="*/ 1914 w 35166"/>
                      <a:gd name="connsiteY1" fmla="*/ 34389 h 34807"/>
                      <a:gd name="connsiteX2" fmla="*/ 4964 w 35166"/>
                      <a:gd name="connsiteY2" fmla="*/ 32894 h 34807"/>
                      <a:gd name="connsiteX3" fmla="*/ 8014 w 35166"/>
                      <a:gd name="connsiteY3" fmla="*/ 31399 h 34807"/>
                      <a:gd name="connsiteX4" fmla="*/ 10526 w 35166"/>
                      <a:gd name="connsiteY4" fmla="*/ 30143 h 34807"/>
                      <a:gd name="connsiteX5" fmla="*/ 12260 w 35166"/>
                      <a:gd name="connsiteY5" fmla="*/ 28827 h 34807"/>
                      <a:gd name="connsiteX6" fmla="*/ 15131 w 35166"/>
                      <a:gd name="connsiteY6" fmla="*/ 26614 h 34807"/>
                      <a:gd name="connsiteX7" fmla="*/ 18002 w 35166"/>
                      <a:gd name="connsiteY7" fmla="*/ 24401 h 34807"/>
                      <a:gd name="connsiteX8" fmla="*/ 18780 w 35166"/>
                      <a:gd name="connsiteY8" fmla="*/ 23803 h 34807"/>
                      <a:gd name="connsiteX9" fmla="*/ 18839 w 35166"/>
                      <a:gd name="connsiteY9" fmla="*/ 23743 h 34807"/>
                      <a:gd name="connsiteX10" fmla="*/ 21411 w 35166"/>
                      <a:gd name="connsiteY10" fmla="*/ 20992 h 34807"/>
                      <a:gd name="connsiteX11" fmla="*/ 23983 w 35166"/>
                      <a:gd name="connsiteY11" fmla="*/ 18241 h 34807"/>
                      <a:gd name="connsiteX12" fmla="*/ 26136 w 35166"/>
                      <a:gd name="connsiteY12" fmla="*/ 15968 h 34807"/>
                      <a:gd name="connsiteX13" fmla="*/ 28289 w 35166"/>
                      <a:gd name="connsiteY13" fmla="*/ 12679 h 34807"/>
                      <a:gd name="connsiteX14" fmla="*/ 30442 w 35166"/>
                      <a:gd name="connsiteY14" fmla="*/ 9389 h 34807"/>
                      <a:gd name="connsiteX15" fmla="*/ 32057 w 35166"/>
                      <a:gd name="connsiteY15" fmla="*/ 6997 h 34807"/>
                      <a:gd name="connsiteX16" fmla="*/ 33671 w 35166"/>
                      <a:gd name="connsiteY16" fmla="*/ 3409 h 34807"/>
                      <a:gd name="connsiteX17" fmla="*/ 35167 w 35166"/>
                      <a:gd name="connsiteY17" fmla="*/ 0 h 3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166" h="34807">
                        <a:moveTo>
                          <a:pt x="0" y="34807"/>
                        </a:moveTo>
                        <a:lnTo>
                          <a:pt x="1914" y="34389"/>
                        </a:lnTo>
                        <a:lnTo>
                          <a:pt x="4964" y="32894"/>
                        </a:lnTo>
                        <a:lnTo>
                          <a:pt x="8014" y="31399"/>
                        </a:lnTo>
                        <a:lnTo>
                          <a:pt x="10526" y="30143"/>
                        </a:lnTo>
                        <a:lnTo>
                          <a:pt x="12260" y="28827"/>
                        </a:lnTo>
                        <a:lnTo>
                          <a:pt x="15131" y="26614"/>
                        </a:lnTo>
                        <a:lnTo>
                          <a:pt x="18002" y="24401"/>
                        </a:lnTo>
                        <a:lnTo>
                          <a:pt x="18780" y="23803"/>
                        </a:lnTo>
                        <a:lnTo>
                          <a:pt x="18839" y="23743"/>
                        </a:lnTo>
                        <a:lnTo>
                          <a:pt x="21411" y="20992"/>
                        </a:lnTo>
                        <a:lnTo>
                          <a:pt x="23983" y="18241"/>
                        </a:lnTo>
                        <a:lnTo>
                          <a:pt x="26136" y="15968"/>
                        </a:lnTo>
                        <a:lnTo>
                          <a:pt x="28289" y="12679"/>
                        </a:lnTo>
                        <a:lnTo>
                          <a:pt x="30442" y="9389"/>
                        </a:lnTo>
                        <a:lnTo>
                          <a:pt x="32057" y="6997"/>
                        </a:lnTo>
                        <a:lnTo>
                          <a:pt x="33671" y="3409"/>
                        </a:lnTo>
                        <a:lnTo>
                          <a:pt x="35167" y="0"/>
                        </a:lnTo>
                      </a:path>
                    </a:pathLst>
                  </a:custGeom>
                  <a:noFill/>
                  <a:ln w="6350" cap="flat">
                    <a:solidFill>
                      <a:schemeClr val="bg1">
                        <a:alpha val="40000"/>
                      </a:schemeClr>
                    </a:solidFill>
                    <a:prstDash val="solid"/>
                    <a:miter/>
                  </a:ln>
                </p:spPr>
                <p:txBody>
                  <a:bodyPr rtlCol="0" anchor="ctr"/>
                  <a:lstStyle/>
                  <a:p>
                    <a:endParaRPr lang="en-GB"/>
                  </a:p>
                </p:txBody>
              </p:sp>
              <p:sp>
                <p:nvSpPr>
                  <p:cNvPr id="7798" name="Vrije vorm: vorm 7797">
                    <a:extLst>
                      <a:ext uri="{FF2B5EF4-FFF2-40B4-BE49-F238E27FC236}">
                        <a16:creationId xmlns:a16="http://schemas.microsoft.com/office/drawing/2014/main" id="{82CA1A5E-4DE7-48EB-9DDB-BB6E3CB5B90E}"/>
                      </a:ext>
                    </a:extLst>
                  </p:cNvPr>
                  <p:cNvSpPr/>
                  <p:nvPr/>
                </p:nvSpPr>
                <p:spPr>
                  <a:xfrm>
                    <a:off x="5810889" y="5196270"/>
                    <a:ext cx="35585" cy="31518"/>
                  </a:xfrm>
                  <a:custGeom>
                    <a:avLst/>
                    <a:gdLst>
                      <a:gd name="connsiteX0" fmla="*/ 35585 w 35585"/>
                      <a:gd name="connsiteY0" fmla="*/ 0 h 31518"/>
                      <a:gd name="connsiteX1" fmla="*/ 33013 w 35585"/>
                      <a:gd name="connsiteY1" fmla="*/ 2871 h 31518"/>
                      <a:gd name="connsiteX2" fmla="*/ 30442 w 35585"/>
                      <a:gd name="connsiteY2" fmla="*/ 5742 h 31518"/>
                      <a:gd name="connsiteX3" fmla="*/ 27870 w 35585"/>
                      <a:gd name="connsiteY3" fmla="*/ 8612 h 31518"/>
                      <a:gd name="connsiteX4" fmla="*/ 25298 w 35585"/>
                      <a:gd name="connsiteY4" fmla="*/ 11483 h 31518"/>
                      <a:gd name="connsiteX5" fmla="*/ 22727 w 35585"/>
                      <a:gd name="connsiteY5" fmla="*/ 14354 h 31518"/>
                      <a:gd name="connsiteX6" fmla="*/ 20155 w 35585"/>
                      <a:gd name="connsiteY6" fmla="*/ 17225 h 31518"/>
                      <a:gd name="connsiteX7" fmla="*/ 19856 w 35585"/>
                      <a:gd name="connsiteY7" fmla="*/ 17583 h 31518"/>
                      <a:gd name="connsiteX8" fmla="*/ 17284 w 35585"/>
                      <a:gd name="connsiteY8" fmla="*/ 20454 h 31518"/>
                      <a:gd name="connsiteX9" fmla="*/ 14772 w 35585"/>
                      <a:gd name="connsiteY9" fmla="*/ 23325 h 31518"/>
                      <a:gd name="connsiteX10" fmla="*/ 12201 w 35585"/>
                      <a:gd name="connsiteY10" fmla="*/ 26196 h 31518"/>
                      <a:gd name="connsiteX11" fmla="*/ 9629 w 35585"/>
                      <a:gd name="connsiteY11" fmla="*/ 29066 h 31518"/>
                      <a:gd name="connsiteX12" fmla="*/ 7476 w 35585"/>
                      <a:gd name="connsiteY12" fmla="*/ 31519 h 31518"/>
                      <a:gd name="connsiteX13" fmla="*/ 4545 w 35585"/>
                      <a:gd name="connsiteY13" fmla="*/ 31399 h 31518"/>
                      <a:gd name="connsiteX14" fmla="*/ 1615 w 35585"/>
                      <a:gd name="connsiteY14" fmla="*/ 31279 h 31518"/>
                      <a:gd name="connsiteX15" fmla="*/ 0 w 35585"/>
                      <a:gd name="connsiteY15" fmla="*/ 31219 h 3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585" h="31518">
                        <a:moveTo>
                          <a:pt x="35585" y="0"/>
                        </a:moveTo>
                        <a:lnTo>
                          <a:pt x="33013" y="2871"/>
                        </a:lnTo>
                        <a:lnTo>
                          <a:pt x="30442" y="5742"/>
                        </a:lnTo>
                        <a:lnTo>
                          <a:pt x="27870" y="8612"/>
                        </a:lnTo>
                        <a:lnTo>
                          <a:pt x="25298" y="11483"/>
                        </a:lnTo>
                        <a:lnTo>
                          <a:pt x="22727" y="14354"/>
                        </a:lnTo>
                        <a:lnTo>
                          <a:pt x="20155" y="17225"/>
                        </a:lnTo>
                        <a:lnTo>
                          <a:pt x="19856" y="17583"/>
                        </a:lnTo>
                        <a:lnTo>
                          <a:pt x="17284" y="20454"/>
                        </a:lnTo>
                        <a:lnTo>
                          <a:pt x="14772" y="23325"/>
                        </a:lnTo>
                        <a:lnTo>
                          <a:pt x="12201" y="26196"/>
                        </a:lnTo>
                        <a:lnTo>
                          <a:pt x="9629" y="29066"/>
                        </a:lnTo>
                        <a:lnTo>
                          <a:pt x="7476" y="31519"/>
                        </a:lnTo>
                        <a:lnTo>
                          <a:pt x="4545" y="31399"/>
                        </a:lnTo>
                        <a:lnTo>
                          <a:pt x="1615" y="31279"/>
                        </a:lnTo>
                        <a:lnTo>
                          <a:pt x="0" y="31219"/>
                        </a:lnTo>
                      </a:path>
                    </a:pathLst>
                  </a:custGeom>
                  <a:noFill/>
                  <a:ln w="6350" cap="flat">
                    <a:solidFill>
                      <a:schemeClr val="bg1">
                        <a:alpha val="40000"/>
                      </a:schemeClr>
                    </a:solidFill>
                    <a:prstDash val="solid"/>
                    <a:miter/>
                  </a:ln>
                </p:spPr>
                <p:txBody>
                  <a:bodyPr rtlCol="0" anchor="ctr"/>
                  <a:lstStyle/>
                  <a:p>
                    <a:endParaRPr lang="en-GB"/>
                  </a:p>
                </p:txBody>
              </p:sp>
              <p:sp>
                <p:nvSpPr>
                  <p:cNvPr id="7799" name="Vrije vorm: vorm 7798">
                    <a:extLst>
                      <a:ext uri="{FF2B5EF4-FFF2-40B4-BE49-F238E27FC236}">
                        <a16:creationId xmlns:a16="http://schemas.microsoft.com/office/drawing/2014/main" id="{C9C8CB31-8B19-4A5B-B08C-C325E942D971}"/>
                      </a:ext>
                    </a:extLst>
                  </p:cNvPr>
                  <p:cNvSpPr/>
                  <p:nvPr/>
                </p:nvSpPr>
                <p:spPr>
                  <a:xfrm>
                    <a:off x="5812444" y="5210923"/>
                    <a:ext cx="35166" cy="27750"/>
                  </a:xfrm>
                  <a:custGeom>
                    <a:avLst/>
                    <a:gdLst>
                      <a:gd name="connsiteX0" fmla="*/ 35167 w 35166"/>
                      <a:gd name="connsiteY0" fmla="*/ 0 h 27750"/>
                      <a:gd name="connsiteX1" fmla="*/ 34030 w 35166"/>
                      <a:gd name="connsiteY1" fmla="*/ 1256 h 27750"/>
                      <a:gd name="connsiteX2" fmla="*/ 32416 w 35166"/>
                      <a:gd name="connsiteY2" fmla="*/ 3050 h 27750"/>
                      <a:gd name="connsiteX3" fmla="*/ 30801 w 35166"/>
                      <a:gd name="connsiteY3" fmla="*/ 4844 h 27750"/>
                      <a:gd name="connsiteX4" fmla="*/ 28528 w 35166"/>
                      <a:gd name="connsiteY4" fmla="*/ 7356 h 27750"/>
                      <a:gd name="connsiteX5" fmla="*/ 25956 w 35166"/>
                      <a:gd name="connsiteY5" fmla="*/ 10227 h 27750"/>
                      <a:gd name="connsiteX6" fmla="*/ 24282 w 35166"/>
                      <a:gd name="connsiteY6" fmla="*/ 12081 h 27750"/>
                      <a:gd name="connsiteX7" fmla="*/ 23325 w 35166"/>
                      <a:gd name="connsiteY7" fmla="*/ 13158 h 27750"/>
                      <a:gd name="connsiteX8" fmla="*/ 21112 w 35166"/>
                      <a:gd name="connsiteY8" fmla="*/ 15669 h 27750"/>
                      <a:gd name="connsiteX9" fmla="*/ 19497 w 35166"/>
                      <a:gd name="connsiteY9" fmla="*/ 17464 h 27750"/>
                      <a:gd name="connsiteX10" fmla="*/ 16926 w 35166"/>
                      <a:gd name="connsiteY10" fmla="*/ 20334 h 27750"/>
                      <a:gd name="connsiteX11" fmla="*/ 14354 w 35166"/>
                      <a:gd name="connsiteY11" fmla="*/ 23205 h 27750"/>
                      <a:gd name="connsiteX12" fmla="*/ 11782 w 35166"/>
                      <a:gd name="connsiteY12" fmla="*/ 26076 h 27750"/>
                      <a:gd name="connsiteX13" fmla="*/ 10287 w 35166"/>
                      <a:gd name="connsiteY13" fmla="*/ 27751 h 27750"/>
                      <a:gd name="connsiteX14" fmla="*/ 7656 w 35166"/>
                      <a:gd name="connsiteY14" fmla="*/ 27631 h 27750"/>
                      <a:gd name="connsiteX15" fmla="*/ 4785 w 35166"/>
                      <a:gd name="connsiteY15" fmla="*/ 27511 h 27750"/>
                      <a:gd name="connsiteX16" fmla="*/ 1914 w 35166"/>
                      <a:gd name="connsiteY16" fmla="*/ 27391 h 27750"/>
                      <a:gd name="connsiteX17" fmla="*/ 538 w 35166"/>
                      <a:gd name="connsiteY17" fmla="*/ 27332 h 27750"/>
                      <a:gd name="connsiteX18" fmla="*/ 0 w 35166"/>
                      <a:gd name="connsiteY18" fmla="*/ 27332 h 2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166" h="27750">
                        <a:moveTo>
                          <a:pt x="35167" y="0"/>
                        </a:moveTo>
                        <a:lnTo>
                          <a:pt x="34030" y="1256"/>
                        </a:lnTo>
                        <a:lnTo>
                          <a:pt x="32416" y="3050"/>
                        </a:lnTo>
                        <a:lnTo>
                          <a:pt x="30801" y="4844"/>
                        </a:lnTo>
                        <a:lnTo>
                          <a:pt x="28528" y="7356"/>
                        </a:lnTo>
                        <a:lnTo>
                          <a:pt x="25956" y="10227"/>
                        </a:lnTo>
                        <a:lnTo>
                          <a:pt x="24282" y="12081"/>
                        </a:lnTo>
                        <a:lnTo>
                          <a:pt x="23325" y="13158"/>
                        </a:lnTo>
                        <a:lnTo>
                          <a:pt x="21112" y="15669"/>
                        </a:lnTo>
                        <a:lnTo>
                          <a:pt x="19497" y="17464"/>
                        </a:lnTo>
                        <a:lnTo>
                          <a:pt x="16926" y="20334"/>
                        </a:lnTo>
                        <a:lnTo>
                          <a:pt x="14354" y="23205"/>
                        </a:lnTo>
                        <a:lnTo>
                          <a:pt x="11782" y="26076"/>
                        </a:lnTo>
                        <a:lnTo>
                          <a:pt x="10287" y="27751"/>
                        </a:lnTo>
                        <a:lnTo>
                          <a:pt x="7656" y="27631"/>
                        </a:lnTo>
                        <a:lnTo>
                          <a:pt x="4785" y="27511"/>
                        </a:lnTo>
                        <a:lnTo>
                          <a:pt x="1914" y="27391"/>
                        </a:lnTo>
                        <a:lnTo>
                          <a:pt x="538" y="27332"/>
                        </a:lnTo>
                        <a:lnTo>
                          <a:pt x="0" y="27332"/>
                        </a:lnTo>
                      </a:path>
                    </a:pathLst>
                  </a:custGeom>
                  <a:noFill/>
                  <a:ln w="6350" cap="flat">
                    <a:solidFill>
                      <a:schemeClr val="bg1">
                        <a:alpha val="40000"/>
                      </a:schemeClr>
                    </a:solidFill>
                    <a:prstDash val="solid"/>
                    <a:miter/>
                  </a:ln>
                </p:spPr>
                <p:txBody>
                  <a:bodyPr rtlCol="0" anchor="ctr"/>
                  <a:lstStyle/>
                  <a:p>
                    <a:endParaRPr lang="en-GB"/>
                  </a:p>
                </p:txBody>
              </p:sp>
              <p:sp>
                <p:nvSpPr>
                  <p:cNvPr id="7800" name="Vrije vorm: vorm 7799">
                    <a:extLst>
                      <a:ext uri="{FF2B5EF4-FFF2-40B4-BE49-F238E27FC236}">
                        <a16:creationId xmlns:a16="http://schemas.microsoft.com/office/drawing/2014/main" id="{70FA28C1-9AE5-49D5-8EE2-DE2991A8A196}"/>
                      </a:ext>
                    </a:extLst>
                  </p:cNvPr>
                  <p:cNvSpPr/>
                  <p:nvPr/>
                </p:nvSpPr>
                <p:spPr>
                  <a:xfrm>
                    <a:off x="5735532" y="5140650"/>
                    <a:ext cx="51912" cy="80201"/>
                  </a:xfrm>
                  <a:custGeom>
                    <a:avLst/>
                    <a:gdLst>
                      <a:gd name="connsiteX0" fmla="*/ 51913 w 51912"/>
                      <a:gd name="connsiteY0" fmla="*/ 7954 h 80201"/>
                      <a:gd name="connsiteX1" fmla="*/ 51554 w 51912"/>
                      <a:gd name="connsiteY1" fmla="*/ 6758 h 80201"/>
                      <a:gd name="connsiteX2" fmla="*/ 49879 w 51912"/>
                      <a:gd name="connsiteY2" fmla="*/ 4725 h 80201"/>
                      <a:gd name="connsiteX3" fmla="*/ 48085 w 51912"/>
                      <a:gd name="connsiteY3" fmla="*/ 2512 h 80201"/>
                      <a:gd name="connsiteX4" fmla="*/ 47726 w 51912"/>
                      <a:gd name="connsiteY4" fmla="*/ 2093 h 80201"/>
                      <a:gd name="connsiteX5" fmla="*/ 45154 w 51912"/>
                      <a:gd name="connsiteY5" fmla="*/ 1076 h 80201"/>
                      <a:gd name="connsiteX6" fmla="*/ 44257 w 51912"/>
                      <a:gd name="connsiteY6" fmla="*/ 718 h 80201"/>
                      <a:gd name="connsiteX7" fmla="*/ 42463 w 51912"/>
                      <a:gd name="connsiteY7" fmla="*/ 0 h 80201"/>
                      <a:gd name="connsiteX8" fmla="*/ 41267 w 51912"/>
                      <a:gd name="connsiteY8" fmla="*/ 119 h 80201"/>
                      <a:gd name="connsiteX9" fmla="*/ 39234 w 51912"/>
                      <a:gd name="connsiteY9" fmla="*/ 299 h 80201"/>
                      <a:gd name="connsiteX10" fmla="*/ 37200 w 51912"/>
                      <a:gd name="connsiteY10" fmla="*/ 538 h 80201"/>
                      <a:gd name="connsiteX11" fmla="*/ 36602 w 51912"/>
                      <a:gd name="connsiteY11" fmla="*/ 598 h 80201"/>
                      <a:gd name="connsiteX12" fmla="*/ 36004 w 51912"/>
                      <a:gd name="connsiteY12" fmla="*/ 658 h 80201"/>
                      <a:gd name="connsiteX13" fmla="*/ 35286 w 51912"/>
                      <a:gd name="connsiteY13" fmla="*/ 1017 h 80201"/>
                      <a:gd name="connsiteX14" fmla="*/ 34090 w 51912"/>
                      <a:gd name="connsiteY14" fmla="*/ 1615 h 80201"/>
                      <a:gd name="connsiteX15" fmla="*/ 33671 w 51912"/>
                      <a:gd name="connsiteY15" fmla="*/ 1794 h 80201"/>
                      <a:gd name="connsiteX16" fmla="*/ 33671 w 51912"/>
                      <a:gd name="connsiteY16" fmla="*/ 1794 h 80201"/>
                      <a:gd name="connsiteX17" fmla="*/ 33313 w 51912"/>
                      <a:gd name="connsiteY17" fmla="*/ 1973 h 80201"/>
                      <a:gd name="connsiteX18" fmla="*/ 32356 w 51912"/>
                      <a:gd name="connsiteY18" fmla="*/ 2452 h 80201"/>
                      <a:gd name="connsiteX19" fmla="*/ 29545 w 51912"/>
                      <a:gd name="connsiteY19" fmla="*/ 3828 h 80201"/>
                      <a:gd name="connsiteX20" fmla="*/ 29246 w 51912"/>
                      <a:gd name="connsiteY20" fmla="*/ 3947 h 80201"/>
                      <a:gd name="connsiteX21" fmla="*/ 29007 w 51912"/>
                      <a:gd name="connsiteY21" fmla="*/ 4067 h 80201"/>
                      <a:gd name="connsiteX22" fmla="*/ 28707 w 51912"/>
                      <a:gd name="connsiteY22" fmla="*/ 4187 h 80201"/>
                      <a:gd name="connsiteX23" fmla="*/ 27212 w 51912"/>
                      <a:gd name="connsiteY23" fmla="*/ 5442 h 80201"/>
                      <a:gd name="connsiteX24" fmla="*/ 25598 w 51912"/>
                      <a:gd name="connsiteY24" fmla="*/ 6818 h 80201"/>
                      <a:gd name="connsiteX25" fmla="*/ 23086 w 51912"/>
                      <a:gd name="connsiteY25" fmla="*/ 8971 h 80201"/>
                      <a:gd name="connsiteX26" fmla="*/ 21351 w 51912"/>
                      <a:gd name="connsiteY26" fmla="*/ 10406 h 80201"/>
                      <a:gd name="connsiteX27" fmla="*/ 20215 w 51912"/>
                      <a:gd name="connsiteY27" fmla="*/ 11842 h 80201"/>
                      <a:gd name="connsiteX28" fmla="*/ 18062 w 51912"/>
                      <a:gd name="connsiteY28" fmla="*/ 14473 h 80201"/>
                      <a:gd name="connsiteX29" fmla="*/ 16866 w 51912"/>
                      <a:gd name="connsiteY29" fmla="*/ 15909 h 80201"/>
                      <a:gd name="connsiteX30" fmla="*/ 14713 w 51912"/>
                      <a:gd name="connsiteY30" fmla="*/ 18540 h 80201"/>
                      <a:gd name="connsiteX31" fmla="*/ 14354 w 51912"/>
                      <a:gd name="connsiteY31" fmla="*/ 18959 h 80201"/>
                      <a:gd name="connsiteX32" fmla="*/ 13696 w 51912"/>
                      <a:gd name="connsiteY32" fmla="*/ 20095 h 80201"/>
                      <a:gd name="connsiteX33" fmla="*/ 11961 w 51912"/>
                      <a:gd name="connsiteY33" fmla="*/ 23026 h 80201"/>
                      <a:gd name="connsiteX34" fmla="*/ 10227 w 51912"/>
                      <a:gd name="connsiteY34" fmla="*/ 25956 h 80201"/>
                      <a:gd name="connsiteX35" fmla="*/ 9270 w 51912"/>
                      <a:gd name="connsiteY35" fmla="*/ 27511 h 80201"/>
                      <a:gd name="connsiteX36" fmla="*/ 8313 w 51912"/>
                      <a:gd name="connsiteY36" fmla="*/ 29126 h 80201"/>
                      <a:gd name="connsiteX37" fmla="*/ 6997 w 51912"/>
                      <a:gd name="connsiteY37" fmla="*/ 32296 h 80201"/>
                      <a:gd name="connsiteX38" fmla="*/ 5682 w 51912"/>
                      <a:gd name="connsiteY38" fmla="*/ 35466 h 80201"/>
                      <a:gd name="connsiteX39" fmla="*/ 4366 w 51912"/>
                      <a:gd name="connsiteY39" fmla="*/ 38635 h 80201"/>
                      <a:gd name="connsiteX40" fmla="*/ 3708 w 51912"/>
                      <a:gd name="connsiteY40" fmla="*/ 40190 h 80201"/>
                      <a:gd name="connsiteX41" fmla="*/ 2871 w 51912"/>
                      <a:gd name="connsiteY41" fmla="*/ 43480 h 80201"/>
                      <a:gd name="connsiteX42" fmla="*/ 2034 w 51912"/>
                      <a:gd name="connsiteY42" fmla="*/ 46769 h 80201"/>
                      <a:gd name="connsiteX43" fmla="*/ 1495 w 51912"/>
                      <a:gd name="connsiteY43" fmla="*/ 48862 h 80201"/>
                      <a:gd name="connsiteX44" fmla="*/ 1316 w 51912"/>
                      <a:gd name="connsiteY44" fmla="*/ 49460 h 80201"/>
                      <a:gd name="connsiteX45" fmla="*/ 1136 w 51912"/>
                      <a:gd name="connsiteY45" fmla="*/ 50238 h 80201"/>
                      <a:gd name="connsiteX46" fmla="*/ 1136 w 51912"/>
                      <a:gd name="connsiteY46" fmla="*/ 50298 h 80201"/>
                      <a:gd name="connsiteX47" fmla="*/ 1017 w 51912"/>
                      <a:gd name="connsiteY47" fmla="*/ 50657 h 80201"/>
                      <a:gd name="connsiteX48" fmla="*/ 897 w 51912"/>
                      <a:gd name="connsiteY48" fmla="*/ 51195 h 80201"/>
                      <a:gd name="connsiteX49" fmla="*/ 837 w 51912"/>
                      <a:gd name="connsiteY49" fmla="*/ 51913 h 80201"/>
                      <a:gd name="connsiteX50" fmla="*/ 538 w 51912"/>
                      <a:gd name="connsiteY50" fmla="*/ 55202 h 80201"/>
                      <a:gd name="connsiteX51" fmla="*/ 359 w 51912"/>
                      <a:gd name="connsiteY51" fmla="*/ 57116 h 80201"/>
                      <a:gd name="connsiteX52" fmla="*/ 239 w 51912"/>
                      <a:gd name="connsiteY52" fmla="*/ 58611 h 80201"/>
                      <a:gd name="connsiteX53" fmla="*/ 60 w 51912"/>
                      <a:gd name="connsiteY53" fmla="*/ 60585 h 80201"/>
                      <a:gd name="connsiteX54" fmla="*/ 0 w 51912"/>
                      <a:gd name="connsiteY54" fmla="*/ 61362 h 80201"/>
                      <a:gd name="connsiteX55" fmla="*/ 0 w 51912"/>
                      <a:gd name="connsiteY55" fmla="*/ 61601 h 80201"/>
                      <a:gd name="connsiteX56" fmla="*/ 0 w 51912"/>
                      <a:gd name="connsiteY56" fmla="*/ 61661 h 80201"/>
                      <a:gd name="connsiteX57" fmla="*/ 359 w 51912"/>
                      <a:gd name="connsiteY57" fmla="*/ 64532 h 80201"/>
                      <a:gd name="connsiteX58" fmla="*/ 718 w 51912"/>
                      <a:gd name="connsiteY58" fmla="*/ 67702 h 80201"/>
                      <a:gd name="connsiteX59" fmla="*/ 957 w 51912"/>
                      <a:gd name="connsiteY59" fmla="*/ 69735 h 80201"/>
                      <a:gd name="connsiteX60" fmla="*/ 957 w 51912"/>
                      <a:gd name="connsiteY60" fmla="*/ 69975 h 80201"/>
                      <a:gd name="connsiteX61" fmla="*/ 1615 w 51912"/>
                      <a:gd name="connsiteY61" fmla="*/ 71350 h 80201"/>
                      <a:gd name="connsiteX62" fmla="*/ 2871 w 51912"/>
                      <a:gd name="connsiteY62" fmla="*/ 74041 h 80201"/>
                      <a:gd name="connsiteX63" fmla="*/ 3888 w 51912"/>
                      <a:gd name="connsiteY63" fmla="*/ 76314 h 80201"/>
                      <a:gd name="connsiteX64" fmla="*/ 6041 w 51912"/>
                      <a:gd name="connsiteY64" fmla="*/ 78168 h 80201"/>
                      <a:gd name="connsiteX65" fmla="*/ 8194 w 51912"/>
                      <a:gd name="connsiteY65" fmla="*/ 80022 h 80201"/>
                      <a:gd name="connsiteX66" fmla="*/ 8373 w 51912"/>
                      <a:gd name="connsiteY66" fmla="*/ 80201 h 80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1912" h="80201">
                        <a:moveTo>
                          <a:pt x="51913" y="7954"/>
                        </a:moveTo>
                        <a:lnTo>
                          <a:pt x="51554" y="6758"/>
                        </a:lnTo>
                        <a:lnTo>
                          <a:pt x="49879" y="4725"/>
                        </a:lnTo>
                        <a:lnTo>
                          <a:pt x="48085" y="2512"/>
                        </a:lnTo>
                        <a:lnTo>
                          <a:pt x="47726" y="2093"/>
                        </a:lnTo>
                        <a:lnTo>
                          <a:pt x="45154" y="1076"/>
                        </a:lnTo>
                        <a:lnTo>
                          <a:pt x="44257" y="718"/>
                        </a:lnTo>
                        <a:lnTo>
                          <a:pt x="42463" y="0"/>
                        </a:lnTo>
                        <a:lnTo>
                          <a:pt x="41267" y="119"/>
                        </a:lnTo>
                        <a:lnTo>
                          <a:pt x="39234" y="299"/>
                        </a:lnTo>
                        <a:lnTo>
                          <a:pt x="37200" y="538"/>
                        </a:lnTo>
                        <a:lnTo>
                          <a:pt x="36602" y="598"/>
                        </a:lnTo>
                        <a:lnTo>
                          <a:pt x="36004" y="658"/>
                        </a:lnTo>
                        <a:lnTo>
                          <a:pt x="35286" y="1017"/>
                        </a:lnTo>
                        <a:lnTo>
                          <a:pt x="34090" y="1615"/>
                        </a:lnTo>
                        <a:lnTo>
                          <a:pt x="33671" y="1794"/>
                        </a:lnTo>
                        <a:lnTo>
                          <a:pt x="33671" y="1794"/>
                        </a:lnTo>
                        <a:lnTo>
                          <a:pt x="33313" y="1973"/>
                        </a:lnTo>
                        <a:lnTo>
                          <a:pt x="32356" y="2452"/>
                        </a:lnTo>
                        <a:lnTo>
                          <a:pt x="29545" y="3828"/>
                        </a:lnTo>
                        <a:lnTo>
                          <a:pt x="29246" y="3947"/>
                        </a:lnTo>
                        <a:lnTo>
                          <a:pt x="29007" y="4067"/>
                        </a:lnTo>
                        <a:lnTo>
                          <a:pt x="28707" y="4187"/>
                        </a:lnTo>
                        <a:lnTo>
                          <a:pt x="27212" y="5442"/>
                        </a:lnTo>
                        <a:lnTo>
                          <a:pt x="25598" y="6818"/>
                        </a:lnTo>
                        <a:lnTo>
                          <a:pt x="23086" y="8971"/>
                        </a:lnTo>
                        <a:lnTo>
                          <a:pt x="21351" y="10406"/>
                        </a:lnTo>
                        <a:lnTo>
                          <a:pt x="20215" y="11842"/>
                        </a:lnTo>
                        <a:lnTo>
                          <a:pt x="18062" y="14473"/>
                        </a:lnTo>
                        <a:lnTo>
                          <a:pt x="16866" y="15909"/>
                        </a:lnTo>
                        <a:lnTo>
                          <a:pt x="14713" y="18540"/>
                        </a:lnTo>
                        <a:lnTo>
                          <a:pt x="14354" y="18959"/>
                        </a:lnTo>
                        <a:lnTo>
                          <a:pt x="13696" y="20095"/>
                        </a:lnTo>
                        <a:lnTo>
                          <a:pt x="11961" y="23026"/>
                        </a:lnTo>
                        <a:lnTo>
                          <a:pt x="10227" y="25956"/>
                        </a:lnTo>
                        <a:lnTo>
                          <a:pt x="9270" y="27511"/>
                        </a:lnTo>
                        <a:lnTo>
                          <a:pt x="8313" y="29126"/>
                        </a:lnTo>
                        <a:lnTo>
                          <a:pt x="6997" y="32296"/>
                        </a:lnTo>
                        <a:lnTo>
                          <a:pt x="5682" y="35466"/>
                        </a:lnTo>
                        <a:lnTo>
                          <a:pt x="4366" y="38635"/>
                        </a:lnTo>
                        <a:lnTo>
                          <a:pt x="3708" y="40190"/>
                        </a:lnTo>
                        <a:lnTo>
                          <a:pt x="2871" y="43480"/>
                        </a:lnTo>
                        <a:lnTo>
                          <a:pt x="2034" y="46769"/>
                        </a:lnTo>
                        <a:lnTo>
                          <a:pt x="1495" y="48862"/>
                        </a:lnTo>
                        <a:lnTo>
                          <a:pt x="1316" y="49460"/>
                        </a:lnTo>
                        <a:lnTo>
                          <a:pt x="1136" y="50238"/>
                        </a:lnTo>
                        <a:lnTo>
                          <a:pt x="1136" y="50298"/>
                        </a:lnTo>
                        <a:lnTo>
                          <a:pt x="1017" y="50657"/>
                        </a:lnTo>
                        <a:lnTo>
                          <a:pt x="897" y="51195"/>
                        </a:lnTo>
                        <a:lnTo>
                          <a:pt x="837" y="51913"/>
                        </a:lnTo>
                        <a:lnTo>
                          <a:pt x="538" y="55202"/>
                        </a:lnTo>
                        <a:lnTo>
                          <a:pt x="359" y="57116"/>
                        </a:lnTo>
                        <a:lnTo>
                          <a:pt x="239" y="58611"/>
                        </a:lnTo>
                        <a:lnTo>
                          <a:pt x="60" y="60585"/>
                        </a:lnTo>
                        <a:lnTo>
                          <a:pt x="0" y="61362"/>
                        </a:lnTo>
                        <a:lnTo>
                          <a:pt x="0" y="61601"/>
                        </a:lnTo>
                        <a:lnTo>
                          <a:pt x="0" y="61661"/>
                        </a:lnTo>
                        <a:lnTo>
                          <a:pt x="359" y="64532"/>
                        </a:lnTo>
                        <a:lnTo>
                          <a:pt x="718" y="67702"/>
                        </a:lnTo>
                        <a:lnTo>
                          <a:pt x="957" y="69735"/>
                        </a:lnTo>
                        <a:lnTo>
                          <a:pt x="957" y="69975"/>
                        </a:lnTo>
                        <a:lnTo>
                          <a:pt x="1615" y="71350"/>
                        </a:lnTo>
                        <a:lnTo>
                          <a:pt x="2871" y="74041"/>
                        </a:lnTo>
                        <a:lnTo>
                          <a:pt x="3888" y="76314"/>
                        </a:lnTo>
                        <a:lnTo>
                          <a:pt x="6041" y="78168"/>
                        </a:lnTo>
                        <a:lnTo>
                          <a:pt x="8194" y="80022"/>
                        </a:lnTo>
                        <a:lnTo>
                          <a:pt x="8373" y="80201"/>
                        </a:lnTo>
                      </a:path>
                    </a:pathLst>
                  </a:custGeom>
                  <a:noFill/>
                  <a:ln w="6350" cap="flat">
                    <a:solidFill>
                      <a:schemeClr val="bg1">
                        <a:alpha val="40000"/>
                      </a:schemeClr>
                    </a:solidFill>
                    <a:prstDash val="solid"/>
                    <a:miter/>
                  </a:ln>
                </p:spPr>
                <p:txBody>
                  <a:bodyPr rtlCol="0" anchor="ctr"/>
                  <a:lstStyle/>
                  <a:p>
                    <a:endParaRPr lang="en-GB"/>
                  </a:p>
                </p:txBody>
              </p:sp>
              <p:sp>
                <p:nvSpPr>
                  <p:cNvPr id="7801" name="Vrije vorm: vorm 7800">
                    <a:extLst>
                      <a:ext uri="{FF2B5EF4-FFF2-40B4-BE49-F238E27FC236}">
                        <a16:creationId xmlns:a16="http://schemas.microsoft.com/office/drawing/2014/main" id="{D6613CAF-BCA4-400C-82CB-86FCB0BBD751}"/>
                      </a:ext>
                    </a:extLst>
                  </p:cNvPr>
                  <p:cNvSpPr/>
                  <p:nvPr/>
                </p:nvSpPr>
                <p:spPr>
                  <a:xfrm>
                    <a:off x="5716812" y="5130961"/>
                    <a:ext cx="27092" cy="81457"/>
                  </a:xfrm>
                  <a:custGeom>
                    <a:avLst/>
                    <a:gdLst>
                      <a:gd name="connsiteX0" fmla="*/ 11483 w 27092"/>
                      <a:gd name="connsiteY0" fmla="*/ 81457 h 81457"/>
                      <a:gd name="connsiteX1" fmla="*/ 9031 w 27092"/>
                      <a:gd name="connsiteY1" fmla="*/ 80141 h 81457"/>
                      <a:gd name="connsiteX2" fmla="*/ 7775 w 27092"/>
                      <a:gd name="connsiteY2" fmla="*/ 79484 h 81457"/>
                      <a:gd name="connsiteX3" fmla="*/ 5682 w 27092"/>
                      <a:gd name="connsiteY3" fmla="*/ 77570 h 81457"/>
                      <a:gd name="connsiteX4" fmla="*/ 3589 w 27092"/>
                      <a:gd name="connsiteY4" fmla="*/ 75656 h 81457"/>
                      <a:gd name="connsiteX5" fmla="*/ 3349 w 27092"/>
                      <a:gd name="connsiteY5" fmla="*/ 75417 h 81457"/>
                      <a:gd name="connsiteX6" fmla="*/ 2213 w 27092"/>
                      <a:gd name="connsiteY6" fmla="*/ 72486 h 81457"/>
                      <a:gd name="connsiteX7" fmla="*/ 1076 w 27092"/>
                      <a:gd name="connsiteY7" fmla="*/ 69556 h 81457"/>
                      <a:gd name="connsiteX8" fmla="*/ 658 w 27092"/>
                      <a:gd name="connsiteY8" fmla="*/ 68539 h 81457"/>
                      <a:gd name="connsiteX9" fmla="*/ 419 w 27092"/>
                      <a:gd name="connsiteY9" fmla="*/ 65070 h 81457"/>
                      <a:gd name="connsiteX10" fmla="*/ 180 w 27092"/>
                      <a:gd name="connsiteY10" fmla="*/ 61601 h 81457"/>
                      <a:gd name="connsiteX11" fmla="*/ 0 w 27092"/>
                      <a:gd name="connsiteY11" fmla="*/ 59209 h 81457"/>
                      <a:gd name="connsiteX12" fmla="*/ 479 w 27092"/>
                      <a:gd name="connsiteY12" fmla="*/ 55501 h 81457"/>
                      <a:gd name="connsiteX13" fmla="*/ 598 w 27092"/>
                      <a:gd name="connsiteY13" fmla="*/ 54365 h 81457"/>
                      <a:gd name="connsiteX14" fmla="*/ 1076 w 27092"/>
                      <a:gd name="connsiteY14" fmla="*/ 50657 h 81457"/>
                      <a:gd name="connsiteX15" fmla="*/ 1256 w 27092"/>
                      <a:gd name="connsiteY15" fmla="*/ 49341 h 81457"/>
                      <a:gd name="connsiteX16" fmla="*/ 1435 w 27092"/>
                      <a:gd name="connsiteY16" fmla="*/ 48025 h 81457"/>
                      <a:gd name="connsiteX17" fmla="*/ 2512 w 27092"/>
                      <a:gd name="connsiteY17" fmla="*/ 44317 h 81457"/>
                      <a:gd name="connsiteX18" fmla="*/ 2632 w 27092"/>
                      <a:gd name="connsiteY18" fmla="*/ 43779 h 81457"/>
                      <a:gd name="connsiteX19" fmla="*/ 3708 w 27092"/>
                      <a:gd name="connsiteY19" fmla="*/ 40071 h 81457"/>
                      <a:gd name="connsiteX20" fmla="*/ 4785 w 27092"/>
                      <a:gd name="connsiteY20" fmla="*/ 36363 h 81457"/>
                      <a:gd name="connsiteX21" fmla="*/ 4904 w 27092"/>
                      <a:gd name="connsiteY21" fmla="*/ 35884 h 81457"/>
                      <a:gd name="connsiteX22" fmla="*/ 6459 w 27092"/>
                      <a:gd name="connsiteY22" fmla="*/ 32236 h 81457"/>
                      <a:gd name="connsiteX23" fmla="*/ 8014 w 27092"/>
                      <a:gd name="connsiteY23" fmla="*/ 28588 h 81457"/>
                      <a:gd name="connsiteX24" fmla="*/ 9569 w 27092"/>
                      <a:gd name="connsiteY24" fmla="*/ 24940 h 81457"/>
                      <a:gd name="connsiteX25" fmla="*/ 10167 w 27092"/>
                      <a:gd name="connsiteY25" fmla="*/ 23504 h 81457"/>
                      <a:gd name="connsiteX26" fmla="*/ 12201 w 27092"/>
                      <a:gd name="connsiteY26" fmla="*/ 20095 h 81457"/>
                      <a:gd name="connsiteX27" fmla="*/ 13277 w 27092"/>
                      <a:gd name="connsiteY27" fmla="*/ 18241 h 81457"/>
                      <a:gd name="connsiteX28" fmla="*/ 15311 w 27092"/>
                      <a:gd name="connsiteY28" fmla="*/ 14832 h 81457"/>
                      <a:gd name="connsiteX29" fmla="*/ 16926 w 27092"/>
                      <a:gd name="connsiteY29" fmla="*/ 12081 h 81457"/>
                      <a:gd name="connsiteX30" fmla="*/ 19318 w 27092"/>
                      <a:gd name="connsiteY30" fmla="*/ 9031 h 81457"/>
                      <a:gd name="connsiteX31" fmla="*/ 21710 w 27092"/>
                      <a:gd name="connsiteY31" fmla="*/ 5981 h 81457"/>
                      <a:gd name="connsiteX32" fmla="*/ 24102 w 27092"/>
                      <a:gd name="connsiteY32" fmla="*/ 2930 h 81457"/>
                      <a:gd name="connsiteX33" fmla="*/ 24521 w 27092"/>
                      <a:gd name="connsiteY33" fmla="*/ 2392 h 81457"/>
                      <a:gd name="connsiteX34" fmla="*/ 24940 w 27092"/>
                      <a:gd name="connsiteY34" fmla="*/ 1973 h 81457"/>
                      <a:gd name="connsiteX35" fmla="*/ 25717 w 27092"/>
                      <a:gd name="connsiteY35" fmla="*/ 1256 h 81457"/>
                      <a:gd name="connsiteX36" fmla="*/ 26315 w 27092"/>
                      <a:gd name="connsiteY36" fmla="*/ 718 h 81457"/>
                      <a:gd name="connsiteX37" fmla="*/ 27093 w 27092"/>
                      <a:gd name="connsiteY37" fmla="*/ 0 h 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7092" h="81457">
                        <a:moveTo>
                          <a:pt x="11483" y="81457"/>
                        </a:moveTo>
                        <a:lnTo>
                          <a:pt x="9031" y="80141"/>
                        </a:lnTo>
                        <a:lnTo>
                          <a:pt x="7775" y="79484"/>
                        </a:lnTo>
                        <a:lnTo>
                          <a:pt x="5682" y="77570"/>
                        </a:lnTo>
                        <a:lnTo>
                          <a:pt x="3589" y="75656"/>
                        </a:lnTo>
                        <a:lnTo>
                          <a:pt x="3349" y="75417"/>
                        </a:lnTo>
                        <a:lnTo>
                          <a:pt x="2213" y="72486"/>
                        </a:lnTo>
                        <a:lnTo>
                          <a:pt x="1076" y="69556"/>
                        </a:lnTo>
                        <a:lnTo>
                          <a:pt x="658" y="68539"/>
                        </a:lnTo>
                        <a:lnTo>
                          <a:pt x="419" y="65070"/>
                        </a:lnTo>
                        <a:lnTo>
                          <a:pt x="180" y="61601"/>
                        </a:lnTo>
                        <a:lnTo>
                          <a:pt x="0" y="59209"/>
                        </a:lnTo>
                        <a:lnTo>
                          <a:pt x="479" y="55501"/>
                        </a:lnTo>
                        <a:lnTo>
                          <a:pt x="598" y="54365"/>
                        </a:lnTo>
                        <a:lnTo>
                          <a:pt x="1076" y="50657"/>
                        </a:lnTo>
                        <a:lnTo>
                          <a:pt x="1256" y="49341"/>
                        </a:lnTo>
                        <a:lnTo>
                          <a:pt x="1435" y="48025"/>
                        </a:lnTo>
                        <a:lnTo>
                          <a:pt x="2512" y="44317"/>
                        </a:lnTo>
                        <a:lnTo>
                          <a:pt x="2632" y="43779"/>
                        </a:lnTo>
                        <a:lnTo>
                          <a:pt x="3708" y="40071"/>
                        </a:lnTo>
                        <a:lnTo>
                          <a:pt x="4785" y="36363"/>
                        </a:lnTo>
                        <a:lnTo>
                          <a:pt x="4904" y="35884"/>
                        </a:lnTo>
                        <a:lnTo>
                          <a:pt x="6459" y="32236"/>
                        </a:lnTo>
                        <a:lnTo>
                          <a:pt x="8014" y="28588"/>
                        </a:lnTo>
                        <a:lnTo>
                          <a:pt x="9569" y="24940"/>
                        </a:lnTo>
                        <a:lnTo>
                          <a:pt x="10167" y="23504"/>
                        </a:lnTo>
                        <a:lnTo>
                          <a:pt x="12201" y="20095"/>
                        </a:lnTo>
                        <a:lnTo>
                          <a:pt x="13277" y="18241"/>
                        </a:lnTo>
                        <a:lnTo>
                          <a:pt x="15311" y="14832"/>
                        </a:lnTo>
                        <a:lnTo>
                          <a:pt x="16926" y="12081"/>
                        </a:lnTo>
                        <a:lnTo>
                          <a:pt x="19318" y="9031"/>
                        </a:lnTo>
                        <a:lnTo>
                          <a:pt x="21710" y="5981"/>
                        </a:lnTo>
                        <a:lnTo>
                          <a:pt x="24102" y="2930"/>
                        </a:lnTo>
                        <a:lnTo>
                          <a:pt x="24521" y="2392"/>
                        </a:lnTo>
                        <a:lnTo>
                          <a:pt x="24940" y="1973"/>
                        </a:lnTo>
                        <a:lnTo>
                          <a:pt x="25717" y="1256"/>
                        </a:lnTo>
                        <a:lnTo>
                          <a:pt x="26315" y="718"/>
                        </a:lnTo>
                        <a:lnTo>
                          <a:pt x="27093" y="0"/>
                        </a:lnTo>
                      </a:path>
                    </a:pathLst>
                  </a:custGeom>
                  <a:noFill/>
                  <a:ln w="6350" cap="flat">
                    <a:solidFill>
                      <a:schemeClr val="bg1">
                        <a:alpha val="40000"/>
                      </a:schemeClr>
                    </a:solidFill>
                    <a:prstDash val="solid"/>
                    <a:miter/>
                  </a:ln>
                </p:spPr>
                <p:txBody>
                  <a:bodyPr rtlCol="0" anchor="ctr"/>
                  <a:lstStyle/>
                  <a:p>
                    <a:endParaRPr lang="en-GB"/>
                  </a:p>
                </p:txBody>
              </p:sp>
              <p:sp>
                <p:nvSpPr>
                  <p:cNvPr id="7802" name="Vrije vorm: vorm 7801">
                    <a:extLst>
                      <a:ext uri="{FF2B5EF4-FFF2-40B4-BE49-F238E27FC236}">
                        <a16:creationId xmlns:a16="http://schemas.microsoft.com/office/drawing/2014/main" id="{8759608A-FF98-4B1D-BC57-5E556D3849C9}"/>
                      </a:ext>
                    </a:extLst>
                  </p:cNvPr>
                  <p:cNvSpPr/>
                  <p:nvPr/>
                </p:nvSpPr>
                <p:spPr>
                  <a:xfrm>
                    <a:off x="5743905" y="5131080"/>
                    <a:ext cx="5023" cy="1973"/>
                  </a:xfrm>
                  <a:custGeom>
                    <a:avLst/>
                    <a:gdLst>
                      <a:gd name="connsiteX0" fmla="*/ 0 w 5023"/>
                      <a:gd name="connsiteY0" fmla="*/ 0 h 1973"/>
                      <a:gd name="connsiteX1" fmla="*/ 1794 w 5023"/>
                      <a:gd name="connsiteY1" fmla="*/ 718 h 1973"/>
                      <a:gd name="connsiteX2" fmla="*/ 2392 w 5023"/>
                      <a:gd name="connsiteY2" fmla="*/ 957 h 1973"/>
                      <a:gd name="connsiteX3" fmla="*/ 2392 w 5023"/>
                      <a:gd name="connsiteY3" fmla="*/ 957 h 1973"/>
                      <a:gd name="connsiteX4" fmla="*/ 4964 w 5023"/>
                      <a:gd name="connsiteY4" fmla="*/ 1974 h 1973"/>
                      <a:gd name="connsiteX5" fmla="*/ 5024 w 5023"/>
                      <a:gd name="connsiteY5" fmla="*/ 1974 h 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3" h="1973">
                        <a:moveTo>
                          <a:pt x="0" y="0"/>
                        </a:moveTo>
                        <a:lnTo>
                          <a:pt x="1794" y="718"/>
                        </a:lnTo>
                        <a:lnTo>
                          <a:pt x="2392" y="957"/>
                        </a:lnTo>
                        <a:lnTo>
                          <a:pt x="2392" y="957"/>
                        </a:lnTo>
                        <a:lnTo>
                          <a:pt x="4964" y="1974"/>
                        </a:lnTo>
                        <a:lnTo>
                          <a:pt x="5024" y="1974"/>
                        </a:lnTo>
                      </a:path>
                    </a:pathLst>
                  </a:custGeom>
                  <a:noFill/>
                  <a:ln w="6350" cap="flat">
                    <a:solidFill>
                      <a:schemeClr val="bg1">
                        <a:alpha val="40000"/>
                      </a:schemeClr>
                    </a:solidFill>
                    <a:prstDash val="solid"/>
                    <a:miter/>
                  </a:ln>
                </p:spPr>
                <p:txBody>
                  <a:bodyPr rtlCol="0" anchor="ctr"/>
                  <a:lstStyle/>
                  <a:p>
                    <a:endParaRPr lang="en-GB"/>
                  </a:p>
                </p:txBody>
              </p:sp>
              <p:sp>
                <p:nvSpPr>
                  <p:cNvPr id="7803" name="Vrije vorm: vorm 7802">
                    <a:extLst>
                      <a:ext uri="{FF2B5EF4-FFF2-40B4-BE49-F238E27FC236}">
                        <a16:creationId xmlns:a16="http://schemas.microsoft.com/office/drawing/2014/main" id="{C363C081-F797-4A7E-A544-C836F14EA07D}"/>
                      </a:ext>
                    </a:extLst>
                  </p:cNvPr>
                  <p:cNvSpPr/>
                  <p:nvPr/>
                </p:nvSpPr>
                <p:spPr>
                  <a:xfrm>
                    <a:off x="5778174" y="5135446"/>
                    <a:ext cx="1196" cy="1734"/>
                  </a:xfrm>
                  <a:custGeom>
                    <a:avLst/>
                    <a:gdLst>
                      <a:gd name="connsiteX0" fmla="*/ 0 w 1196"/>
                      <a:gd name="connsiteY0" fmla="*/ 0 h 1734"/>
                      <a:gd name="connsiteX1" fmla="*/ 1136 w 1196"/>
                      <a:gd name="connsiteY1" fmla="*/ 1495 h 1734"/>
                      <a:gd name="connsiteX2" fmla="*/ 1196 w 1196"/>
                      <a:gd name="connsiteY2" fmla="*/ 1734 h 1734"/>
                    </a:gdLst>
                    <a:ahLst/>
                    <a:cxnLst>
                      <a:cxn ang="0">
                        <a:pos x="connsiteX0" y="connsiteY0"/>
                      </a:cxn>
                      <a:cxn ang="0">
                        <a:pos x="connsiteX1" y="connsiteY1"/>
                      </a:cxn>
                      <a:cxn ang="0">
                        <a:pos x="connsiteX2" y="connsiteY2"/>
                      </a:cxn>
                    </a:cxnLst>
                    <a:rect l="l" t="t" r="r" b="b"/>
                    <a:pathLst>
                      <a:path w="1196" h="1734">
                        <a:moveTo>
                          <a:pt x="0" y="0"/>
                        </a:moveTo>
                        <a:lnTo>
                          <a:pt x="1136" y="1495"/>
                        </a:lnTo>
                        <a:lnTo>
                          <a:pt x="1196" y="1734"/>
                        </a:lnTo>
                      </a:path>
                    </a:pathLst>
                  </a:custGeom>
                  <a:noFill/>
                  <a:ln w="6350" cap="flat">
                    <a:solidFill>
                      <a:schemeClr val="bg1">
                        <a:alpha val="40000"/>
                      </a:schemeClr>
                    </a:solidFill>
                    <a:prstDash val="solid"/>
                    <a:miter/>
                  </a:ln>
                </p:spPr>
                <p:txBody>
                  <a:bodyPr rtlCol="0" anchor="ctr"/>
                  <a:lstStyle/>
                  <a:p>
                    <a:endParaRPr lang="en-GB"/>
                  </a:p>
                </p:txBody>
              </p:sp>
              <p:sp>
                <p:nvSpPr>
                  <p:cNvPr id="7804" name="Vrije vorm: vorm 7803">
                    <a:extLst>
                      <a:ext uri="{FF2B5EF4-FFF2-40B4-BE49-F238E27FC236}">
                        <a16:creationId xmlns:a16="http://schemas.microsoft.com/office/drawing/2014/main" id="{8E0A158E-1239-42B6-BAD6-3D9256FE005D}"/>
                      </a:ext>
                    </a:extLst>
                  </p:cNvPr>
                  <p:cNvSpPr/>
                  <p:nvPr/>
                </p:nvSpPr>
                <p:spPr>
                  <a:xfrm>
                    <a:off x="5740675" y="5134788"/>
                    <a:ext cx="42822" cy="79663"/>
                  </a:xfrm>
                  <a:custGeom>
                    <a:avLst/>
                    <a:gdLst>
                      <a:gd name="connsiteX0" fmla="*/ 42822 w 42822"/>
                      <a:gd name="connsiteY0" fmla="*/ 658 h 79663"/>
                      <a:gd name="connsiteX1" fmla="*/ 41028 w 42822"/>
                      <a:gd name="connsiteY1" fmla="*/ 0 h 79663"/>
                      <a:gd name="connsiteX2" fmla="*/ 39952 w 42822"/>
                      <a:gd name="connsiteY2" fmla="*/ 180 h 79663"/>
                      <a:gd name="connsiteX3" fmla="*/ 37439 w 42822"/>
                      <a:gd name="connsiteY3" fmla="*/ 658 h 79663"/>
                      <a:gd name="connsiteX4" fmla="*/ 36961 w 42822"/>
                      <a:gd name="connsiteY4" fmla="*/ 778 h 79663"/>
                      <a:gd name="connsiteX5" fmla="*/ 36782 w 42822"/>
                      <a:gd name="connsiteY5" fmla="*/ 837 h 79663"/>
                      <a:gd name="connsiteX6" fmla="*/ 36064 w 42822"/>
                      <a:gd name="connsiteY6" fmla="*/ 957 h 79663"/>
                      <a:gd name="connsiteX7" fmla="*/ 35286 w 42822"/>
                      <a:gd name="connsiteY7" fmla="*/ 1077 h 79663"/>
                      <a:gd name="connsiteX8" fmla="*/ 35227 w 42822"/>
                      <a:gd name="connsiteY8" fmla="*/ 1077 h 79663"/>
                      <a:gd name="connsiteX9" fmla="*/ 33911 w 42822"/>
                      <a:gd name="connsiteY9" fmla="*/ 1854 h 79663"/>
                      <a:gd name="connsiteX10" fmla="*/ 30921 w 42822"/>
                      <a:gd name="connsiteY10" fmla="*/ 3589 h 79663"/>
                      <a:gd name="connsiteX11" fmla="*/ 29126 w 42822"/>
                      <a:gd name="connsiteY11" fmla="*/ 4665 h 79663"/>
                      <a:gd name="connsiteX12" fmla="*/ 28648 w 42822"/>
                      <a:gd name="connsiteY12" fmla="*/ 4904 h 79663"/>
                      <a:gd name="connsiteX13" fmla="*/ 26136 w 42822"/>
                      <a:gd name="connsiteY13" fmla="*/ 7297 h 79663"/>
                      <a:gd name="connsiteX14" fmla="*/ 23385 w 42822"/>
                      <a:gd name="connsiteY14" fmla="*/ 9868 h 79663"/>
                      <a:gd name="connsiteX15" fmla="*/ 22308 w 42822"/>
                      <a:gd name="connsiteY15" fmla="*/ 10885 h 79663"/>
                      <a:gd name="connsiteX16" fmla="*/ 21770 w 42822"/>
                      <a:gd name="connsiteY16" fmla="*/ 11364 h 79663"/>
                      <a:gd name="connsiteX17" fmla="*/ 19617 w 42822"/>
                      <a:gd name="connsiteY17" fmla="*/ 14175 h 79663"/>
                      <a:gd name="connsiteX18" fmla="*/ 17225 w 42822"/>
                      <a:gd name="connsiteY18" fmla="*/ 17225 h 79663"/>
                      <a:gd name="connsiteX19" fmla="*/ 15072 w 42822"/>
                      <a:gd name="connsiteY19" fmla="*/ 19976 h 79663"/>
                      <a:gd name="connsiteX20" fmla="*/ 13098 w 42822"/>
                      <a:gd name="connsiteY20" fmla="*/ 23385 h 79663"/>
                      <a:gd name="connsiteX21" fmla="*/ 11244 w 42822"/>
                      <a:gd name="connsiteY21" fmla="*/ 26554 h 79663"/>
                      <a:gd name="connsiteX22" fmla="*/ 11184 w 42822"/>
                      <a:gd name="connsiteY22" fmla="*/ 26734 h 79663"/>
                      <a:gd name="connsiteX23" fmla="*/ 10885 w 42822"/>
                      <a:gd name="connsiteY23" fmla="*/ 27272 h 79663"/>
                      <a:gd name="connsiteX24" fmla="*/ 10706 w 42822"/>
                      <a:gd name="connsiteY24" fmla="*/ 27571 h 79663"/>
                      <a:gd name="connsiteX25" fmla="*/ 10646 w 42822"/>
                      <a:gd name="connsiteY25" fmla="*/ 27691 h 79663"/>
                      <a:gd name="connsiteX26" fmla="*/ 10347 w 42822"/>
                      <a:gd name="connsiteY26" fmla="*/ 28169 h 79663"/>
                      <a:gd name="connsiteX27" fmla="*/ 10287 w 42822"/>
                      <a:gd name="connsiteY27" fmla="*/ 28289 h 79663"/>
                      <a:gd name="connsiteX28" fmla="*/ 9151 w 42822"/>
                      <a:gd name="connsiteY28" fmla="*/ 30203 h 79663"/>
                      <a:gd name="connsiteX29" fmla="*/ 7954 w 42822"/>
                      <a:gd name="connsiteY29" fmla="*/ 33014 h 79663"/>
                      <a:gd name="connsiteX30" fmla="*/ 6399 w 42822"/>
                      <a:gd name="connsiteY30" fmla="*/ 36662 h 79663"/>
                      <a:gd name="connsiteX31" fmla="*/ 4844 w 42822"/>
                      <a:gd name="connsiteY31" fmla="*/ 40310 h 79663"/>
                      <a:gd name="connsiteX32" fmla="*/ 4486 w 42822"/>
                      <a:gd name="connsiteY32" fmla="*/ 41147 h 79663"/>
                      <a:gd name="connsiteX33" fmla="*/ 4127 w 42822"/>
                      <a:gd name="connsiteY33" fmla="*/ 42344 h 79663"/>
                      <a:gd name="connsiteX34" fmla="*/ 3050 w 42822"/>
                      <a:gd name="connsiteY34" fmla="*/ 46052 h 79663"/>
                      <a:gd name="connsiteX35" fmla="*/ 2931 w 42822"/>
                      <a:gd name="connsiteY35" fmla="*/ 46530 h 79663"/>
                      <a:gd name="connsiteX36" fmla="*/ 2751 w 42822"/>
                      <a:gd name="connsiteY36" fmla="*/ 47188 h 79663"/>
                      <a:gd name="connsiteX37" fmla="*/ 1675 w 42822"/>
                      <a:gd name="connsiteY37" fmla="*/ 50896 h 79663"/>
                      <a:gd name="connsiteX38" fmla="*/ 1376 w 42822"/>
                      <a:gd name="connsiteY38" fmla="*/ 51913 h 79663"/>
                      <a:gd name="connsiteX39" fmla="*/ 1376 w 42822"/>
                      <a:gd name="connsiteY39" fmla="*/ 52032 h 79663"/>
                      <a:gd name="connsiteX40" fmla="*/ 837 w 42822"/>
                      <a:gd name="connsiteY40" fmla="*/ 55740 h 79663"/>
                      <a:gd name="connsiteX41" fmla="*/ 479 w 42822"/>
                      <a:gd name="connsiteY41" fmla="*/ 58073 h 79663"/>
                      <a:gd name="connsiteX42" fmla="*/ 359 w 42822"/>
                      <a:gd name="connsiteY42" fmla="*/ 58910 h 79663"/>
                      <a:gd name="connsiteX43" fmla="*/ 299 w 42822"/>
                      <a:gd name="connsiteY43" fmla="*/ 59389 h 79663"/>
                      <a:gd name="connsiteX44" fmla="*/ 0 w 42822"/>
                      <a:gd name="connsiteY44" fmla="*/ 61482 h 79663"/>
                      <a:gd name="connsiteX45" fmla="*/ 0 w 42822"/>
                      <a:gd name="connsiteY45" fmla="*/ 61661 h 79663"/>
                      <a:gd name="connsiteX46" fmla="*/ 0 w 42822"/>
                      <a:gd name="connsiteY46" fmla="*/ 61721 h 79663"/>
                      <a:gd name="connsiteX47" fmla="*/ 60 w 42822"/>
                      <a:gd name="connsiteY47" fmla="*/ 62798 h 79663"/>
                      <a:gd name="connsiteX48" fmla="*/ 239 w 42822"/>
                      <a:gd name="connsiteY48" fmla="*/ 66326 h 79663"/>
                      <a:gd name="connsiteX49" fmla="*/ 299 w 42822"/>
                      <a:gd name="connsiteY49" fmla="*/ 67642 h 79663"/>
                      <a:gd name="connsiteX50" fmla="*/ 299 w 42822"/>
                      <a:gd name="connsiteY50" fmla="*/ 67702 h 79663"/>
                      <a:gd name="connsiteX51" fmla="*/ 359 w 42822"/>
                      <a:gd name="connsiteY51" fmla="*/ 69078 h 79663"/>
                      <a:gd name="connsiteX52" fmla="*/ 419 w 42822"/>
                      <a:gd name="connsiteY52" fmla="*/ 69975 h 79663"/>
                      <a:gd name="connsiteX53" fmla="*/ 778 w 42822"/>
                      <a:gd name="connsiteY53" fmla="*/ 70992 h 79663"/>
                      <a:gd name="connsiteX54" fmla="*/ 778 w 42822"/>
                      <a:gd name="connsiteY54" fmla="*/ 70992 h 79663"/>
                      <a:gd name="connsiteX55" fmla="*/ 1017 w 42822"/>
                      <a:gd name="connsiteY55" fmla="*/ 71709 h 79663"/>
                      <a:gd name="connsiteX56" fmla="*/ 1795 w 42822"/>
                      <a:gd name="connsiteY56" fmla="*/ 73862 h 79663"/>
                      <a:gd name="connsiteX57" fmla="*/ 2273 w 42822"/>
                      <a:gd name="connsiteY57" fmla="*/ 75178 h 79663"/>
                      <a:gd name="connsiteX58" fmla="*/ 2572 w 42822"/>
                      <a:gd name="connsiteY58" fmla="*/ 76015 h 79663"/>
                      <a:gd name="connsiteX59" fmla="*/ 4605 w 42822"/>
                      <a:gd name="connsiteY59" fmla="*/ 77989 h 79663"/>
                      <a:gd name="connsiteX60" fmla="*/ 5622 w 42822"/>
                      <a:gd name="connsiteY60" fmla="*/ 78946 h 79663"/>
                      <a:gd name="connsiteX61" fmla="*/ 6280 w 42822"/>
                      <a:gd name="connsiteY61" fmla="*/ 79544 h 79663"/>
                      <a:gd name="connsiteX62" fmla="*/ 7058 w 42822"/>
                      <a:gd name="connsiteY62" fmla="*/ 79663 h 7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2822" h="79663">
                        <a:moveTo>
                          <a:pt x="42822" y="658"/>
                        </a:moveTo>
                        <a:lnTo>
                          <a:pt x="41028" y="0"/>
                        </a:lnTo>
                        <a:lnTo>
                          <a:pt x="39952" y="180"/>
                        </a:lnTo>
                        <a:lnTo>
                          <a:pt x="37439" y="658"/>
                        </a:lnTo>
                        <a:lnTo>
                          <a:pt x="36961" y="778"/>
                        </a:lnTo>
                        <a:lnTo>
                          <a:pt x="36782" y="837"/>
                        </a:lnTo>
                        <a:lnTo>
                          <a:pt x="36064" y="957"/>
                        </a:lnTo>
                        <a:lnTo>
                          <a:pt x="35286" y="1077"/>
                        </a:lnTo>
                        <a:lnTo>
                          <a:pt x="35227" y="1077"/>
                        </a:lnTo>
                        <a:lnTo>
                          <a:pt x="33911" y="1854"/>
                        </a:lnTo>
                        <a:lnTo>
                          <a:pt x="30921" y="3589"/>
                        </a:lnTo>
                        <a:lnTo>
                          <a:pt x="29126" y="4665"/>
                        </a:lnTo>
                        <a:lnTo>
                          <a:pt x="28648" y="4904"/>
                        </a:lnTo>
                        <a:lnTo>
                          <a:pt x="26136" y="7297"/>
                        </a:lnTo>
                        <a:lnTo>
                          <a:pt x="23385" y="9868"/>
                        </a:lnTo>
                        <a:lnTo>
                          <a:pt x="22308" y="10885"/>
                        </a:lnTo>
                        <a:lnTo>
                          <a:pt x="21770" y="11364"/>
                        </a:lnTo>
                        <a:lnTo>
                          <a:pt x="19617" y="14175"/>
                        </a:lnTo>
                        <a:lnTo>
                          <a:pt x="17225" y="17225"/>
                        </a:lnTo>
                        <a:lnTo>
                          <a:pt x="15072" y="19976"/>
                        </a:lnTo>
                        <a:lnTo>
                          <a:pt x="13098" y="23385"/>
                        </a:lnTo>
                        <a:lnTo>
                          <a:pt x="11244" y="26554"/>
                        </a:lnTo>
                        <a:lnTo>
                          <a:pt x="11184" y="26734"/>
                        </a:lnTo>
                        <a:lnTo>
                          <a:pt x="10885" y="27272"/>
                        </a:lnTo>
                        <a:lnTo>
                          <a:pt x="10706" y="27571"/>
                        </a:lnTo>
                        <a:lnTo>
                          <a:pt x="10646" y="27691"/>
                        </a:lnTo>
                        <a:lnTo>
                          <a:pt x="10347" y="28169"/>
                        </a:lnTo>
                        <a:lnTo>
                          <a:pt x="10287" y="28289"/>
                        </a:lnTo>
                        <a:lnTo>
                          <a:pt x="9151" y="30203"/>
                        </a:lnTo>
                        <a:lnTo>
                          <a:pt x="7954" y="33014"/>
                        </a:lnTo>
                        <a:lnTo>
                          <a:pt x="6399" y="36662"/>
                        </a:lnTo>
                        <a:lnTo>
                          <a:pt x="4844" y="40310"/>
                        </a:lnTo>
                        <a:lnTo>
                          <a:pt x="4486" y="41147"/>
                        </a:lnTo>
                        <a:lnTo>
                          <a:pt x="4127" y="42344"/>
                        </a:lnTo>
                        <a:lnTo>
                          <a:pt x="3050" y="46052"/>
                        </a:lnTo>
                        <a:lnTo>
                          <a:pt x="2931" y="46530"/>
                        </a:lnTo>
                        <a:lnTo>
                          <a:pt x="2751" y="47188"/>
                        </a:lnTo>
                        <a:lnTo>
                          <a:pt x="1675" y="50896"/>
                        </a:lnTo>
                        <a:lnTo>
                          <a:pt x="1376" y="51913"/>
                        </a:lnTo>
                        <a:lnTo>
                          <a:pt x="1376" y="52032"/>
                        </a:lnTo>
                        <a:lnTo>
                          <a:pt x="837" y="55740"/>
                        </a:lnTo>
                        <a:lnTo>
                          <a:pt x="479" y="58073"/>
                        </a:lnTo>
                        <a:lnTo>
                          <a:pt x="359" y="58910"/>
                        </a:lnTo>
                        <a:lnTo>
                          <a:pt x="299" y="59389"/>
                        </a:lnTo>
                        <a:lnTo>
                          <a:pt x="0" y="61482"/>
                        </a:lnTo>
                        <a:lnTo>
                          <a:pt x="0" y="61661"/>
                        </a:lnTo>
                        <a:lnTo>
                          <a:pt x="0" y="61721"/>
                        </a:lnTo>
                        <a:lnTo>
                          <a:pt x="60" y="62798"/>
                        </a:lnTo>
                        <a:lnTo>
                          <a:pt x="239" y="66326"/>
                        </a:lnTo>
                        <a:lnTo>
                          <a:pt x="299" y="67642"/>
                        </a:lnTo>
                        <a:lnTo>
                          <a:pt x="299" y="67702"/>
                        </a:lnTo>
                        <a:lnTo>
                          <a:pt x="359" y="69078"/>
                        </a:lnTo>
                        <a:lnTo>
                          <a:pt x="419" y="69975"/>
                        </a:lnTo>
                        <a:lnTo>
                          <a:pt x="778" y="70992"/>
                        </a:lnTo>
                        <a:lnTo>
                          <a:pt x="778" y="70992"/>
                        </a:lnTo>
                        <a:lnTo>
                          <a:pt x="1017" y="71709"/>
                        </a:lnTo>
                        <a:lnTo>
                          <a:pt x="1795" y="73862"/>
                        </a:lnTo>
                        <a:lnTo>
                          <a:pt x="2273" y="75178"/>
                        </a:lnTo>
                        <a:lnTo>
                          <a:pt x="2572" y="76015"/>
                        </a:lnTo>
                        <a:lnTo>
                          <a:pt x="4605" y="77989"/>
                        </a:lnTo>
                        <a:lnTo>
                          <a:pt x="5622" y="78946"/>
                        </a:lnTo>
                        <a:lnTo>
                          <a:pt x="6280" y="79544"/>
                        </a:lnTo>
                        <a:lnTo>
                          <a:pt x="7058" y="79663"/>
                        </a:lnTo>
                      </a:path>
                    </a:pathLst>
                  </a:custGeom>
                  <a:noFill/>
                  <a:ln w="6350" cap="flat">
                    <a:solidFill>
                      <a:schemeClr val="bg1">
                        <a:alpha val="40000"/>
                      </a:schemeClr>
                    </a:solidFill>
                    <a:prstDash val="solid"/>
                    <a:miter/>
                  </a:ln>
                </p:spPr>
                <p:txBody>
                  <a:bodyPr rtlCol="0" anchor="ctr"/>
                  <a:lstStyle/>
                  <a:p>
                    <a:endParaRPr lang="en-GB"/>
                  </a:p>
                </p:txBody>
              </p:sp>
              <p:sp>
                <p:nvSpPr>
                  <p:cNvPr id="7805" name="Vrije vorm: vorm 7804">
                    <a:extLst>
                      <a:ext uri="{FF2B5EF4-FFF2-40B4-BE49-F238E27FC236}">
                        <a16:creationId xmlns:a16="http://schemas.microsoft.com/office/drawing/2014/main" id="{C030B900-E940-431D-8FB3-1C341EBFC5C5}"/>
                      </a:ext>
                    </a:extLst>
                  </p:cNvPr>
                  <p:cNvSpPr/>
                  <p:nvPr/>
                </p:nvSpPr>
                <p:spPr>
                  <a:xfrm>
                    <a:off x="5742470" y="5119119"/>
                    <a:ext cx="4066" cy="7715"/>
                  </a:xfrm>
                  <a:custGeom>
                    <a:avLst/>
                    <a:gdLst>
                      <a:gd name="connsiteX0" fmla="*/ 4067 w 4066"/>
                      <a:gd name="connsiteY0" fmla="*/ 6698 h 7715"/>
                      <a:gd name="connsiteX1" fmla="*/ 2990 w 4066"/>
                      <a:gd name="connsiteY1" fmla="*/ 7536 h 7715"/>
                      <a:gd name="connsiteX2" fmla="*/ 2512 w 4066"/>
                      <a:gd name="connsiteY2" fmla="*/ 7715 h 7715"/>
                      <a:gd name="connsiteX3" fmla="*/ 1973 w 4066"/>
                      <a:gd name="connsiteY3" fmla="*/ 7655 h 7715"/>
                      <a:gd name="connsiteX4" fmla="*/ 1435 w 4066"/>
                      <a:gd name="connsiteY4" fmla="*/ 7237 h 7715"/>
                      <a:gd name="connsiteX5" fmla="*/ 957 w 4066"/>
                      <a:gd name="connsiteY5" fmla="*/ 6698 h 7715"/>
                      <a:gd name="connsiteX6" fmla="*/ 897 w 4066"/>
                      <a:gd name="connsiteY6" fmla="*/ 6579 h 7715"/>
                      <a:gd name="connsiteX7" fmla="*/ 538 w 4066"/>
                      <a:gd name="connsiteY7" fmla="*/ 5981 h 7715"/>
                      <a:gd name="connsiteX8" fmla="*/ 359 w 4066"/>
                      <a:gd name="connsiteY8" fmla="*/ 5443 h 7715"/>
                      <a:gd name="connsiteX9" fmla="*/ 239 w 4066"/>
                      <a:gd name="connsiteY9" fmla="*/ 5203 h 7715"/>
                      <a:gd name="connsiteX10" fmla="*/ 119 w 4066"/>
                      <a:gd name="connsiteY10" fmla="*/ 4486 h 7715"/>
                      <a:gd name="connsiteX11" fmla="*/ 60 w 4066"/>
                      <a:gd name="connsiteY11" fmla="*/ 4306 h 7715"/>
                      <a:gd name="connsiteX12" fmla="*/ 0 w 4066"/>
                      <a:gd name="connsiteY12" fmla="*/ 3409 h 7715"/>
                      <a:gd name="connsiteX13" fmla="*/ 119 w 4066"/>
                      <a:gd name="connsiteY13" fmla="*/ 2572 h 7715"/>
                      <a:gd name="connsiteX14" fmla="*/ 359 w 4066"/>
                      <a:gd name="connsiteY14" fmla="*/ 1854 h 7715"/>
                      <a:gd name="connsiteX15" fmla="*/ 359 w 4066"/>
                      <a:gd name="connsiteY15" fmla="*/ 1854 h 7715"/>
                      <a:gd name="connsiteX16" fmla="*/ 478 w 4066"/>
                      <a:gd name="connsiteY16" fmla="*/ 1675 h 7715"/>
                      <a:gd name="connsiteX17" fmla="*/ 718 w 4066"/>
                      <a:gd name="connsiteY17" fmla="*/ 1256 h 7715"/>
                      <a:gd name="connsiteX18" fmla="*/ 1076 w 4066"/>
                      <a:gd name="connsiteY18" fmla="*/ 897 h 7715"/>
                      <a:gd name="connsiteX19" fmla="*/ 1136 w 4066"/>
                      <a:gd name="connsiteY19" fmla="*/ 837 h 7715"/>
                      <a:gd name="connsiteX20" fmla="*/ 2213 w 4066"/>
                      <a:gd name="connsiteY20" fmla="*/ 0 h 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66" h="7715">
                        <a:moveTo>
                          <a:pt x="4067" y="6698"/>
                        </a:moveTo>
                        <a:lnTo>
                          <a:pt x="2990" y="7536"/>
                        </a:lnTo>
                        <a:lnTo>
                          <a:pt x="2512" y="7715"/>
                        </a:lnTo>
                        <a:lnTo>
                          <a:pt x="1973" y="7655"/>
                        </a:lnTo>
                        <a:lnTo>
                          <a:pt x="1435" y="7237"/>
                        </a:lnTo>
                        <a:lnTo>
                          <a:pt x="957" y="6698"/>
                        </a:lnTo>
                        <a:lnTo>
                          <a:pt x="897" y="6579"/>
                        </a:lnTo>
                        <a:lnTo>
                          <a:pt x="538" y="5981"/>
                        </a:lnTo>
                        <a:lnTo>
                          <a:pt x="359" y="5443"/>
                        </a:lnTo>
                        <a:lnTo>
                          <a:pt x="239" y="5203"/>
                        </a:lnTo>
                        <a:lnTo>
                          <a:pt x="119" y="4486"/>
                        </a:lnTo>
                        <a:lnTo>
                          <a:pt x="60" y="4306"/>
                        </a:lnTo>
                        <a:lnTo>
                          <a:pt x="0" y="3409"/>
                        </a:lnTo>
                        <a:lnTo>
                          <a:pt x="119" y="2572"/>
                        </a:lnTo>
                        <a:lnTo>
                          <a:pt x="359" y="1854"/>
                        </a:lnTo>
                        <a:lnTo>
                          <a:pt x="359" y="1854"/>
                        </a:lnTo>
                        <a:lnTo>
                          <a:pt x="478" y="1675"/>
                        </a:lnTo>
                        <a:lnTo>
                          <a:pt x="718" y="1256"/>
                        </a:lnTo>
                        <a:lnTo>
                          <a:pt x="1076" y="897"/>
                        </a:lnTo>
                        <a:lnTo>
                          <a:pt x="1136" y="837"/>
                        </a:lnTo>
                        <a:lnTo>
                          <a:pt x="2213" y="0"/>
                        </a:lnTo>
                      </a:path>
                    </a:pathLst>
                  </a:custGeom>
                  <a:noFill/>
                  <a:ln w="6350" cap="flat">
                    <a:solidFill>
                      <a:schemeClr val="bg1">
                        <a:alpha val="40000"/>
                      </a:schemeClr>
                    </a:solidFill>
                    <a:prstDash val="solid"/>
                    <a:miter/>
                  </a:ln>
                </p:spPr>
                <p:txBody>
                  <a:bodyPr rtlCol="0" anchor="ctr"/>
                  <a:lstStyle/>
                  <a:p>
                    <a:endParaRPr lang="en-GB"/>
                  </a:p>
                </p:txBody>
              </p:sp>
              <p:sp>
                <p:nvSpPr>
                  <p:cNvPr id="7806" name="Vrije vorm: vorm 7805">
                    <a:extLst>
                      <a:ext uri="{FF2B5EF4-FFF2-40B4-BE49-F238E27FC236}">
                        <a16:creationId xmlns:a16="http://schemas.microsoft.com/office/drawing/2014/main" id="{9744950D-59C6-418B-BE98-DEDE5CCB62E4}"/>
                      </a:ext>
                    </a:extLst>
                  </p:cNvPr>
                  <p:cNvSpPr/>
                  <p:nvPr/>
                </p:nvSpPr>
                <p:spPr>
                  <a:xfrm>
                    <a:off x="5741752" y="5115829"/>
                    <a:ext cx="8791" cy="17164"/>
                  </a:xfrm>
                  <a:custGeom>
                    <a:avLst/>
                    <a:gdLst>
                      <a:gd name="connsiteX0" fmla="*/ 0 w 8791"/>
                      <a:gd name="connsiteY0" fmla="*/ 17165 h 17164"/>
                      <a:gd name="connsiteX1" fmla="*/ 119 w 8791"/>
                      <a:gd name="connsiteY1" fmla="*/ 13516 h 17164"/>
                      <a:gd name="connsiteX2" fmla="*/ 239 w 8791"/>
                      <a:gd name="connsiteY2" fmla="*/ 9868 h 17164"/>
                      <a:gd name="connsiteX3" fmla="*/ 299 w 8791"/>
                      <a:gd name="connsiteY3" fmla="*/ 7895 h 17164"/>
                      <a:gd name="connsiteX4" fmla="*/ 418 w 8791"/>
                      <a:gd name="connsiteY4" fmla="*/ 4665 h 17164"/>
                      <a:gd name="connsiteX5" fmla="*/ 538 w 8791"/>
                      <a:gd name="connsiteY5" fmla="*/ 1017 h 17164"/>
                      <a:gd name="connsiteX6" fmla="*/ 538 w 8791"/>
                      <a:gd name="connsiteY6" fmla="*/ 778 h 17164"/>
                      <a:gd name="connsiteX7" fmla="*/ 1615 w 8791"/>
                      <a:gd name="connsiteY7" fmla="*/ 0 h 17164"/>
                      <a:gd name="connsiteX8" fmla="*/ 4246 w 8791"/>
                      <a:gd name="connsiteY8" fmla="*/ 957 h 17164"/>
                      <a:gd name="connsiteX9" fmla="*/ 6878 w 8791"/>
                      <a:gd name="connsiteY9" fmla="*/ 1914 h 17164"/>
                      <a:gd name="connsiteX10" fmla="*/ 8791 w 8791"/>
                      <a:gd name="connsiteY10" fmla="*/ 2632 h 1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91" h="17164">
                        <a:moveTo>
                          <a:pt x="0" y="17165"/>
                        </a:moveTo>
                        <a:lnTo>
                          <a:pt x="119" y="13516"/>
                        </a:lnTo>
                        <a:lnTo>
                          <a:pt x="239" y="9868"/>
                        </a:lnTo>
                        <a:lnTo>
                          <a:pt x="299" y="7895"/>
                        </a:lnTo>
                        <a:lnTo>
                          <a:pt x="418" y="4665"/>
                        </a:lnTo>
                        <a:lnTo>
                          <a:pt x="538" y="1017"/>
                        </a:lnTo>
                        <a:lnTo>
                          <a:pt x="538" y="778"/>
                        </a:lnTo>
                        <a:lnTo>
                          <a:pt x="1615" y="0"/>
                        </a:lnTo>
                        <a:lnTo>
                          <a:pt x="4246" y="957"/>
                        </a:lnTo>
                        <a:lnTo>
                          <a:pt x="6878" y="1914"/>
                        </a:lnTo>
                        <a:lnTo>
                          <a:pt x="8791" y="2632"/>
                        </a:lnTo>
                      </a:path>
                    </a:pathLst>
                  </a:custGeom>
                  <a:noFill/>
                  <a:ln w="6350" cap="flat">
                    <a:solidFill>
                      <a:schemeClr val="bg1">
                        <a:alpha val="40000"/>
                      </a:schemeClr>
                    </a:solidFill>
                    <a:prstDash val="solid"/>
                    <a:miter/>
                  </a:ln>
                </p:spPr>
                <p:txBody>
                  <a:bodyPr rtlCol="0" anchor="ctr"/>
                  <a:lstStyle/>
                  <a:p>
                    <a:endParaRPr lang="en-GB"/>
                  </a:p>
                </p:txBody>
              </p:sp>
              <p:sp>
                <p:nvSpPr>
                  <p:cNvPr id="7807" name="Vrije vorm: vorm 7806">
                    <a:extLst>
                      <a:ext uri="{FF2B5EF4-FFF2-40B4-BE49-F238E27FC236}">
                        <a16:creationId xmlns:a16="http://schemas.microsoft.com/office/drawing/2014/main" id="{2E95CA9C-667F-4995-A9E2-0CF647D1D4AD}"/>
                      </a:ext>
                    </a:extLst>
                  </p:cNvPr>
                  <p:cNvSpPr/>
                  <p:nvPr/>
                </p:nvSpPr>
                <p:spPr>
                  <a:xfrm>
                    <a:off x="5748988" y="5118461"/>
                    <a:ext cx="10585" cy="14652"/>
                  </a:xfrm>
                  <a:custGeom>
                    <a:avLst/>
                    <a:gdLst>
                      <a:gd name="connsiteX0" fmla="*/ 10586 w 10585"/>
                      <a:gd name="connsiteY0" fmla="*/ 6698 h 14652"/>
                      <a:gd name="connsiteX1" fmla="*/ 8373 w 10585"/>
                      <a:gd name="connsiteY1" fmla="*/ 5024 h 14652"/>
                      <a:gd name="connsiteX2" fmla="*/ 6160 w 10585"/>
                      <a:gd name="connsiteY2" fmla="*/ 3349 h 14652"/>
                      <a:gd name="connsiteX3" fmla="*/ 3947 w 10585"/>
                      <a:gd name="connsiteY3" fmla="*/ 1675 h 14652"/>
                      <a:gd name="connsiteX4" fmla="*/ 1675 w 10585"/>
                      <a:gd name="connsiteY4" fmla="*/ 0 h 14652"/>
                      <a:gd name="connsiteX5" fmla="*/ 598 w 10585"/>
                      <a:gd name="connsiteY5" fmla="*/ 837 h 14652"/>
                      <a:gd name="connsiteX6" fmla="*/ 598 w 10585"/>
                      <a:gd name="connsiteY6" fmla="*/ 1136 h 14652"/>
                      <a:gd name="connsiteX7" fmla="*/ 598 w 10585"/>
                      <a:gd name="connsiteY7" fmla="*/ 1435 h 14652"/>
                      <a:gd name="connsiteX8" fmla="*/ 598 w 10585"/>
                      <a:gd name="connsiteY8" fmla="*/ 1914 h 14652"/>
                      <a:gd name="connsiteX9" fmla="*/ 538 w 10585"/>
                      <a:gd name="connsiteY9" fmla="*/ 3229 h 14652"/>
                      <a:gd name="connsiteX10" fmla="*/ 538 w 10585"/>
                      <a:gd name="connsiteY10" fmla="*/ 3409 h 14652"/>
                      <a:gd name="connsiteX11" fmla="*/ 419 w 10585"/>
                      <a:gd name="connsiteY11" fmla="*/ 6100 h 14652"/>
                      <a:gd name="connsiteX12" fmla="*/ 419 w 10585"/>
                      <a:gd name="connsiteY12" fmla="*/ 6280 h 14652"/>
                      <a:gd name="connsiteX13" fmla="*/ 359 w 10585"/>
                      <a:gd name="connsiteY13" fmla="*/ 7895 h 14652"/>
                      <a:gd name="connsiteX14" fmla="*/ 359 w 10585"/>
                      <a:gd name="connsiteY14" fmla="*/ 8074 h 14652"/>
                      <a:gd name="connsiteX15" fmla="*/ 299 w 10585"/>
                      <a:gd name="connsiteY15" fmla="*/ 9270 h 14652"/>
                      <a:gd name="connsiteX16" fmla="*/ 299 w 10585"/>
                      <a:gd name="connsiteY16" fmla="*/ 9270 h 14652"/>
                      <a:gd name="connsiteX17" fmla="*/ 120 w 10585"/>
                      <a:gd name="connsiteY17" fmla="*/ 12919 h 14652"/>
                      <a:gd name="connsiteX18" fmla="*/ 60 w 10585"/>
                      <a:gd name="connsiteY18" fmla="*/ 13696 h 14652"/>
                      <a:gd name="connsiteX19" fmla="*/ 0 w 10585"/>
                      <a:gd name="connsiteY19" fmla="*/ 14653 h 1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585" h="14652">
                        <a:moveTo>
                          <a:pt x="10586" y="6698"/>
                        </a:moveTo>
                        <a:lnTo>
                          <a:pt x="8373" y="5024"/>
                        </a:lnTo>
                        <a:lnTo>
                          <a:pt x="6160" y="3349"/>
                        </a:lnTo>
                        <a:lnTo>
                          <a:pt x="3947" y="1675"/>
                        </a:lnTo>
                        <a:lnTo>
                          <a:pt x="1675" y="0"/>
                        </a:lnTo>
                        <a:lnTo>
                          <a:pt x="598" y="837"/>
                        </a:lnTo>
                        <a:lnTo>
                          <a:pt x="598" y="1136"/>
                        </a:lnTo>
                        <a:lnTo>
                          <a:pt x="598" y="1435"/>
                        </a:lnTo>
                        <a:lnTo>
                          <a:pt x="598" y="1914"/>
                        </a:lnTo>
                        <a:lnTo>
                          <a:pt x="538" y="3229"/>
                        </a:lnTo>
                        <a:lnTo>
                          <a:pt x="538" y="3409"/>
                        </a:lnTo>
                        <a:lnTo>
                          <a:pt x="419" y="6100"/>
                        </a:lnTo>
                        <a:lnTo>
                          <a:pt x="419" y="6280"/>
                        </a:lnTo>
                        <a:lnTo>
                          <a:pt x="359" y="7895"/>
                        </a:lnTo>
                        <a:lnTo>
                          <a:pt x="359" y="8074"/>
                        </a:lnTo>
                        <a:lnTo>
                          <a:pt x="299" y="9270"/>
                        </a:lnTo>
                        <a:lnTo>
                          <a:pt x="299" y="9270"/>
                        </a:lnTo>
                        <a:lnTo>
                          <a:pt x="120" y="12919"/>
                        </a:lnTo>
                        <a:lnTo>
                          <a:pt x="60" y="13696"/>
                        </a:lnTo>
                        <a:lnTo>
                          <a:pt x="0" y="14653"/>
                        </a:lnTo>
                      </a:path>
                    </a:pathLst>
                  </a:custGeom>
                  <a:noFill/>
                  <a:ln w="6350" cap="flat">
                    <a:solidFill>
                      <a:schemeClr val="bg1">
                        <a:alpha val="40000"/>
                      </a:schemeClr>
                    </a:solidFill>
                    <a:prstDash val="solid"/>
                    <a:miter/>
                  </a:ln>
                </p:spPr>
                <p:txBody>
                  <a:bodyPr rtlCol="0" anchor="ctr"/>
                  <a:lstStyle/>
                  <a:p>
                    <a:endParaRPr lang="en-GB"/>
                  </a:p>
                </p:txBody>
              </p:sp>
              <p:sp>
                <p:nvSpPr>
                  <p:cNvPr id="7808" name="Vrije vorm: vorm 7807">
                    <a:extLst>
                      <a:ext uri="{FF2B5EF4-FFF2-40B4-BE49-F238E27FC236}">
                        <a16:creationId xmlns:a16="http://schemas.microsoft.com/office/drawing/2014/main" id="{F4E01923-423F-4D2E-A385-0EDEE28D1D96}"/>
                      </a:ext>
                    </a:extLst>
                  </p:cNvPr>
                  <p:cNvSpPr/>
                  <p:nvPr/>
                </p:nvSpPr>
                <p:spPr>
                  <a:xfrm>
                    <a:off x="5744682" y="5119059"/>
                    <a:ext cx="2990" cy="6757"/>
                  </a:xfrm>
                  <a:custGeom>
                    <a:avLst/>
                    <a:gdLst>
                      <a:gd name="connsiteX0" fmla="*/ 1854 w 2990"/>
                      <a:gd name="connsiteY0" fmla="*/ 6758 h 6757"/>
                      <a:gd name="connsiteX1" fmla="*/ 2273 w 2990"/>
                      <a:gd name="connsiteY1" fmla="*/ 6399 h 6757"/>
                      <a:gd name="connsiteX2" fmla="*/ 2632 w 2990"/>
                      <a:gd name="connsiteY2" fmla="*/ 5801 h 6757"/>
                      <a:gd name="connsiteX3" fmla="*/ 2871 w 2990"/>
                      <a:gd name="connsiteY3" fmla="*/ 5083 h 6757"/>
                      <a:gd name="connsiteX4" fmla="*/ 2990 w 2990"/>
                      <a:gd name="connsiteY4" fmla="*/ 4246 h 6757"/>
                      <a:gd name="connsiteX5" fmla="*/ 2930 w 2990"/>
                      <a:gd name="connsiteY5" fmla="*/ 3349 h 6757"/>
                      <a:gd name="connsiteX6" fmla="*/ 2751 w 2990"/>
                      <a:gd name="connsiteY6" fmla="*/ 2452 h 6757"/>
                      <a:gd name="connsiteX7" fmla="*/ 2452 w 2990"/>
                      <a:gd name="connsiteY7" fmla="*/ 1615 h 6757"/>
                      <a:gd name="connsiteX8" fmla="*/ 2033 w 2990"/>
                      <a:gd name="connsiteY8" fmla="*/ 897 h 6757"/>
                      <a:gd name="connsiteX9" fmla="*/ 1914 w 2990"/>
                      <a:gd name="connsiteY9" fmla="*/ 718 h 6757"/>
                      <a:gd name="connsiteX10" fmla="*/ 1555 w 2990"/>
                      <a:gd name="connsiteY10" fmla="*/ 359 h 6757"/>
                      <a:gd name="connsiteX11" fmla="*/ 1017 w 2990"/>
                      <a:gd name="connsiteY11" fmla="*/ 60 h 6757"/>
                      <a:gd name="connsiteX12" fmla="*/ 957 w 2990"/>
                      <a:gd name="connsiteY12" fmla="*/ 60 h 6757"/>
                      <a:gd name="connsiteX13" fmla="*/ 478 w 2990"/>
                      <a:gd name="connsiteY13" fmla="*/ 0 h 6757"/>
                      <a:gd name="connsiteX14" fmla="*/ 0 w 2990"/>
                      <a:gd name="connsiteY14" fmla="*/ 179 h 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90" h="6757">
                        <a:moveTo>
                          <a:pt x="1854" y="6758"/>
                        </a:moveTo>
                        <a:lnTo>
                          <a:pt x="2273" y="6399"/>
                        </a:lnTo>
                        <a:lnTo>
                          <a:pt x="2632" y="5801"/>
                        </a:lnTo>
                        <a:lnTo>
                          <a:pt x="2871" y="5083"/>
                        </a:lnTo>
                        <a:lnTo>
                          <a:pt x="2990" y="4246"/>
                        </a:lnTo>
                        <a:lnTo>
                          <a:pt x="2930" y="3349"/>
                        </a:lnTo>
                        <a:lnTo>
                          <a:pt x="2751" y="2452"/>
                        </a:lnTo>
                        <a:lnTo>
                          <a:pt x="2452" y="1615"/>
                        </a:lnTo>
                        <a:lnTo>
                          <a:pt x="2033" y="897"/>
                        </a:lnTo>
                        <a:lnTo>
                          <a:pt x="1914" y="718"/>
                        </a:lnTo>
                        <a:lnTo>
                          <a:pt x="1555" y="359"/>
                        </a:lnTo>
                        <a:lnTo>
                          <a:pt x="1017" y="60"/>
                        </a:lnTo>
                        <a:lnTo>
                          <a:pt x="957" y="60"/>
                        </a:lnTo>
                        <a:lnTo>
                          <a:pt x="478" y="0"/>
                        </a:lnTo>
                        <a:lnTo>
                          <a:pt x="0" y="179"/>
                        </a:lnTo>
                      </a:path>
                    </a:pathLst>
                  </a:custGeom>
                  <a:noFill/>
                  <a:ln w="6350" cap="flat">
                    <a:solidFill>
                      <a:schemeClr val="bg1">
                        <a:alpha val="40000"/>
                      </a:schemeClr>
                    </a:solidFill>
                    <a:prstDash val="solid"/>
                    <a:miter/>
                  </a:ln>
                </p:spPr>
                <p:txBody>
                  <a:bodyPr rtlCol="0" anchor="ctr"/>
                  <a:lstStyle/>
                  <a:p>
                    <a:endParaRPr lang="en-GB"/>
                  </a:p>
                </p:txBody>
              </p:sp>
              <p:sp>
                <p:nvSpPr>
                  <p:cNvPr id="7809" name="Vrije vorm: vorm 7808">
                    <a:extLst>
                      <a:ext uri="{FF2B5EF4-FFF2-40B4-BE49-F238E27FC236}">
                        <a16:creationId xmlns:a16="http://schemas.microsoft.com/office/drawing/2014/main" id="{C22B9B77-D462-4934-A94E-629CEBA95A9E}"/>
                      </a:ext>
                    </a:extLst>
                  </p:cNvPr>
                  <p:cNvSpPr/>
                  <p:nvPr/>
                </p:nvSpPr>
                <p:spPr>
                  <a:xfrm>
                    <a:off x="5742350" y="5116607"/>
                    <a:ext cx="7176" cy="2631"/>
                  </a:xfrm>
                  <a:custGeom>
                    <a:avLst/>
                    <a:gdLst>
                      <a:gd name="connsiteX0" fmla="*/ 0 w 7176"/>
                      <a:gd name="connsiteY0" fmla="*/ 0 h 2631"/>
                      <a:gd name="connsiteX1" fmla="*/ 2632 w 7176"/>
                      <a:gd name="connsiteY1" fmla="*/ 957 h 2631"/>
                      <a:gd name="connsiteX2" fmla="*/ 5263 w 7176"/>
                      <a:gd name="connsiteY2" fmla="*/ 1914 h 2631"/>
                      <a:gd name="connsiteX3" fmla="*/ 7177 w 7176"/>
                      <a:gd name="connsiteY3" fmla="*/ 2632 h 2631"/>
                    </a:gdLst>
                    <a:ahLst/>
                    <a:cxnLst>
                      <a:cxn ang="0">
                        <a:pos x="connsiteX0" y="connsiteY0"/>
                      </a:cxn>
                      <a:cxn ang="0">
                        <a:pos x="connsiteX1" y="connsiteY1"/>
                      </a:cxn>
                      <a:cxn ang="0">
                        <a:pos x="connsiteX2" y="connsiteY2"/>
                      </a:cxn>
                      <a:cxn ang="0">
                        <a:pos x="connsiteX3" y="connsiteY3"/>
                      </a:cxn>
                    </a:cxnLst>
                    <a:rect l="l" t="t" r="r" b="b"/>
                    <a:pathLst>
                      <a:path w="7176" h="2631">
                        <a:moveTo>
                          <a:pt x="0" y="0"/>
                        </a:moveTo>
                        <a:lnTo>
                          <a:pt x="2632" y="957"/>
                        </a:lnTo>
                        <a:lnTo>
                          <a:pt x="5263" y="1914"/>
                        </a:lnTo>
                        <a:lnTo>
                          <a:pt x="7177" y="2632"/>
                        </a:lnTo>
                      </a:path>
                    </a:pathLst>
                  </a:custGeom>
                  <a:noFill/>
                  <a:ln w="6350" cap="flat">
                    <a:solidFill>
                      <a:schemeClr val="bg1">
                        <a:alpha val="40000"/>
                      </a:schemeClr>
                    </a:solidFill>
                    <a:prstDash val="solid"/>
                    <a:miter/>
                  </a:ln>
                </p:spPr>
                <p:txBody>
                  <a:bodyPr rtlCol="0" anchor="ctr"/>
                  <a:lstStyle/>
                  <a:p>
                    <a:endParaRPr lang="en-GB"/>
                  </a:p>
                </p:txBody>
              </p:sp>
              <p:sp>
                <p:nvSpPr>
                  <p:cNvPr id="7810" name="Vrije vorm: vorm 7809">
                    <a:extLst>
                      <a:ext uri="{FF2B5EF4-FFF2-40B4-BE49-F238E27FC236}">
                        <a16:creationId xmlns:a16="http://schemas.microsoft.com/office/drawing/2014/main" id="{7EE8523E-116E-42AE-A38F-E8EDE99BC2AB}"/>
                      </a:ext>
                    </a:extLst>
                  </p:cNvPr>
                  <p:cNvSpPr/>
                  <p:nvPr/>
                </p:nvSpPr>
                <p:spPr>
                  <a:xfrm>
                    <a:off x="5749826" y="5119777"/>
                    <a:ext cx="418" cy="12320"/>
                  </a:xfrm>
                  <a:custGeom>
                    <a:avLst/>
                    <a:gdLst>
                      <a:gd name="connsiteX0" fmla="*/ 419 w 418"/>
                      <a:gd name="connsiteY0" fmla="*/ 0 h 12320"/>
                      <a:gd name="connsiteX1" fmla="*/ 419 w 418"/>
                      <a:gd name="connsiteY1" fmla="*/ 538 h 12320"/>
                      <a:gd name="connsiteX2" fmla="*/ 419 w 418"/>
                      <a:gd name="connsiteY2" fmla="*/ 1017 h 12320"/>
                      <a:gd name="connsiteX3" fmla="*/ 359 w 418"/>
                      <a:gd name="connsiteY3" fmla="*/ 2332 h 12320"/>
                      <a:gd name="connsiteX4" fmla="*/ 359 w 418"/>
                      <a:gd name="connsiteY4" fmla="*/ 2512 h 12320"/>
                      <a:gd name="connsiteX5" fmla="*/ 239 w 418"/>
                      <a:gd name="connsiteY5" fmla="*/ 4904 h 12320"/>
                      <a:gd name="connsiteX6" fmla="*/ 239 w 418"/>
                      <a:gd name="connsiteY6" fmla="*/ 5323 h 12320"/>
                      <a:gd name="connsiteX7" fmla="*/ 239 w 418"/>
                      <a:gd name="connsiteY7" fmla="*/ 5741 h 12320"/>
                      <a:gd name="connsiteX8" fmla="*/ 239 w 418"/>
                      <a:gd name="connsiteY8" fmla="*/ 5981 h 12320"/>
                      <a:gd name="connsiteX9" fmla="*/ 239 w 418"/>
                      <a:gd name="connsiteY9" fmla="*/ 6519 h 12320"/>
                      <a:gd name="connsiteX10" fmla="*/ 239 w 418"/>
                      <a:gd name="connsiteY10" fmla="*/ 6519 h 12320"/>
                      <a:gd name="connsiteX11" fmla="*/ 60 w 418"/>
                      <a:gd name="connsiteY11" fmla="*/ 10167 h 12320"/>
                      <a:gd name="connsiteX12" fmla="*/ 0 w 418"/>
                      <a:gd name="connsiteY12" fmla="*/ 11363 h 12320"/>
                      <a:gd name="connsiteX13" fmla="*/ 0 w 418"/>
                      <a:gd name="connsiteY13" fmla="*/ 11603 h 12320"/>
                      <a:gd name="connsiteX14" fmla="*/ 0 w 418"/>
                      <a:gd name="connsiteY14" fmla="*/ 12320 h 1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8" h="12320">
                        <a:moveTo>
                          <a:pt x="419" y="0"/>
                        </a:moveTo>
                        <a:lnTo>
                          <a:pt x="419" y="538"/>
                        </a:lnTo>
                        <a:lnTo>
                          <a:pt x="419" y="1017"/>
                        </a:lnTo>
                        <a:lnTo>
                          <a:pt x="359" y="2332"/>
                        </a:lnTo>
                        <a:lnTo>
                          <a:pt x="359" y="2512"/>
                        </a:lnTo>
                        <a:lnTo>
                          <a:pt x="239" y="4904"/>
                        </a:lnTo>
                        <a:lnTo>
                          <a:pt x="239" y="5323"/>
                        </a:lnTo>
                        <a:lnTo>
                          <a:pt x="239" y="5741"/>
                        </a:lnTo>
                        <a:lnTo>
                          <a:pt x="239" y="5981"/>
                        </a:lnTo>
                        <a:lnTo>
                          <a:pt x="239" y="6519"/>
                        </a:lnTo>
                        <a:lnTo>
                          <a:pt x="239" y="6519"/>
                        </a:lnTo>
                        <a:lnTo>
                          <a:pt x="60" y="10167"/>
                        </a:lnTo>
                        <a:lnTo>
                          <a:pt x="0" y="11363"/>
                        </a:lnTo>
                        <a:lnTo>
                          <a:pt x="0" y="11603"/>
                        </a:lnTo>
                        <a:lnTo>
                          <a:pt x="0" y="12320"/>
                        </a:lnTo>
                      </a:path>
                    </a:pathLst>
                  </a:custGeom>
                  <a:noFill/>
                  <a:ln w="6350" cap="flat">
                    <a:solidFill>
                      <a:schemeClr val="bg1">
                        <a:alpha val="40000"/>
                      </a:schemeClr>
                    </a:solidFill>
                    <a:prstDash val="solid"/>
                    <a:miter/>
                  </a:ln>
                </p:spPr>
                <p:txBody>
                  <a:bodyPr rtlCol="0" anchor="ctr"/>
                  <a:lstStyle/>
                  <a:p>
                    <a:endParaRPr lang="en-GB"/>
                  </a:p>
                </p:txBody>
              </p:sp>
              <p:sp>
                <p:nvSpPr>
                  <p:cNvPr id="7811" name="Vrije vorm: vorm 7810">
                    <a:extLst>
                      <a:ext uri="{FF2B5EF4-FFF2-40B4-BE49-F238E27FC236}">
                        <a16:creationId xmlns:a16="http://schemas.microsoft.com/office/drawing/2014/main" id="{4EEDDD6D-E90A-4CBE-AB03-A6945C5CDD71}"/>
                      </a:ext>
                    </a:extLst>
                  </p:cNvPr>
                  <p:cNvSpPr/>
                  <p:nvPr/>
                </p:nvSpPr>
                <p:spPr>
                  <a:xfrm>
                    <a:off x="5750244" y="5119777"/>
                    <a:ext cx="9210" cy="6100"/>
                  </a:xfrm>
                  <a:custGeom>
                    <a:avLst/>
                    <a:gdLst>
                      <a:gd name="connsiteX0" fmla="*/ 0 w 9210"/>
                      <a:gd name="connsiteY0" fmla="*/ 0 h 6100"/>
                      <a:gd name="connsiteX1" fmla="*/ 2213 w 9210"/>
                      <a:gd name="connsiteY1" fmla="*/ 1674 h 6100"/>
                      <a:gd name="connsiteX2" fmla="*/ 4426 w 9210"/>
                      <a:gd name="connsiteY2" fmla="*/ 3349 h 6100"/>
                      <a:gd name="connsiteX3" fmla="*/ 5024 w 9210"/>
                      <a:gd name="connsiteY3" fmla="*/ 3827 h 6100"/>
                      <a:gd name="connsiteX4" fmla="*/ 7236 w 9210"/>
                      <a:gd name="connsiteY4" fmla="*/ 5502 h 6100"/>
                      <a:gd name="connsiteX5" fmla="*/ 8014 w 9210"/>
                      <a:gd name="connsiteY5" fmla="*/ 6100 h 6100"/>
                      <a:gd name="connsiteX6" fmla="*/ 9210 w 9210"/>
                      <a:gd name="connsiteY6" fmla="*/ 5442 h 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10" h="6100">
                        <a:moveTo>
                          <a:pt x="0" y="0"/>
                        </a:moveTo>
                        <a:lnTo>
                          <a:pt x="2213" y="1674"/>
                        </a:lnTo>
                        <a:lnTo>
                          <a:pt x="4426" y="3349"/>
                        </a:lnTo>
                        <a:lnTo>
                          <a:pt x="5024" y="3827"/>
                        </a:lnTo>
                        <a:lnTo>
                          <a:pt x="7236" y="5502"/>
                        </a:lnTo>
                        <a:lnTo>
                          <a:pt x="8014" y="6100"/>
                        </a:lnTo>
                        <a:lnTo>
                          <a:pt x="9210" y="5442"/>
                        </a:lnTo>
                      </a:path>
                    </a:pathLst>
                  </a:custGeom>
                  <a:noFill/>
                  <a:ln w="6350" cap="flat">
                    <a:solidFill>
                      <a:schemeClr val="bg1">
                        <a:alpha val="40000"/>
                      </a:schemeClr>
                    </a:solidFill>
                    <a:prstDash val="solid"/>
                    <a:miter/>
                  </a:ln>
                </p:spPr>
                <p:txBody>
                  <a:bodyPr rtlCol="0" anchor="ctr"/>
                  <a:lstStyle/>
                  <a:p>
                    <a:endParaRPr lang="en-GB"/>
                  </a:p>
                </p:txBody>
              </p:sp>
              <p:sp>
                <p:nvSpPr>
                  <p:cNvPr id="7812" name="Vrije vorm: vorm 7811">
                    <a:extLst>
                      <a:ext uri="{FF2B5EF4-FFF2-40B4-BE49-F238E27FC236}">
                        <a16:creationId xmlns:a16="http://schemas.microsoft.com/office/drawing/2014/main" id="{1F3A96C7-2B57-4261-B7E3-CE26B2F87A71}"/>
                      </a:ext>
                    </a:extLst>
                  </p:cNvPr>
                  <p:cNvSpPr/>
                  <p:nvPr/>
                </p:nvSpPr>
                <p:spPr>
                  <a:xfrm>
                    <a:off x="5752696" y="5125279"/>
                    <a:ext cx="5621" cy="2332"/>
                  </a:xfrm>
                  <a:custGeom>
                    <a:avLst/>
                    <a:gdLst>
                      <a:gd name="connsiteX0" fmla="*/ 5622 w 5621"/>
                      <a:gd name="connsiteY0" fmla="*/ 538 h 2332"/>
                      <a:gd name="connsiteX1" fmla="*/ 4127 w 5621"/>
                      <a:gd name="connsiteY1" fmla="*/ 0 h 2332"/>
                      <a:gd name="connsiteX2" fmla="*/ 1914 w 5621"/>
                      <a:gd name="connsiteY2" fmla="*/ 1256 h 2332"/>
                      <a:gd name="connsiteX3" fmla="*/ 0 w 5621"/>
                      <a:gd name="connsiteY3" fmla="*/ 2333 h 2332"/>
                    </a:gdLst>
                    <a:ahLst/>
                    <a:cxnLst>
                      <a:cxn ang="0">
                        <a:pos x="connsiteX0" y="connsiteY0"/>
                      </a:cxn>
                      <a:cxn ang="0">
                        <a:pos x="connsiteX1" y="connsiteY1"/>
                      </a:cxn>
                      <a:cxn ang="0">
                        <a:pos x="connsiteX2" y="connsiteY2"/>
                      </a:cxn>
                      <a:cxn ang="0">
                        <a:pos x="connsiteX3" y="connsiteY3"/>
                      </a:cxn>
                    </a:cxnLst>
                    <a:rect l="l" t="t" r="r" b="b"/>
                    <a:pathLst>
                      <a:path w="5621" h="2332">
                        <a:moveTo>
                          <a:pt x="5622" y="538"/>
                        </a:moveTo>
                        <a:lnTo>
                          <a:pt x="4127" y="0"/>
                        </a:lnTo>
                        <a:lnTo>
                          <a:pt x="1914" y="1256"/>
                        </a:lnTo>
                        <a:lnTo>
                          <a:pt x="0" y="2333"/>
                        </a:lnTo>
                      </a:path>
                    </a:pathLst>
                  </a:custGeom>
                  <a:noFill/>
                  <a:ln w="6350" cap="flat">
                    <a:solidFill>
                      <a:schemeClr val="bg1">
                        <a:alpha val="40000"/>
                      </a:schemeClr>
                    </a:solidFill>
                    <a:prstDash val="solid"/>
                    <a:miter/>
                  </a:ln>
                </p:spPr>
                <p:txBody>
                  <a:bodyPr rtlCol="0" anchor="ctr"/>
                  <a:lstStyle/>
                  <a:p>
                    <a:endParaRPr lang="en-GB"/>
                  </a:p>
                </p:txBody>
              </p:sp>
              <p:sp>
                <p:nvSpPr>
                  <p:cNvPr id="7813" name="Vrije vorm: vorm 7812">
                    <a:extLst>
                      <a:ext uri="{FF2B5EF4-FFF2-40B4-BE49-F238E27FC236}">
                        <a16:creationId xmlns:a16="http://schemas.microsoft.com/office/drawing/2014/main" id="{AC4CBEDA-EBCB-441E-973F-660E46EA5AE2}"/>
                      </a:ext>
                    </a:extLst>
                  </p:cNvPr>
                  <p:cNvSpPr/>
                  <p:nvPr/>
                </p:nvSpPr>
                <p:spPr>
                  <a:xfrm>
                    <a:off x="5750125" y="5120315"/>
                    <a:ext cx="6698" cy="4964"/>
                  </a:xfrm>
                  <a:custGeom>
                    <a:avLst/>
                    <a:gdLst>
                      <a:gd name="connsiteX0" fmla="*/ 6698 w 6698"/>
                      <a:gd name="connsiteY0" fmla="*/ 4964 h 4964"/>
                      <a:gd name="connsiteX1" fmla="*/ 4426 w 6698"/>
                      <a:gd name="connsiteY1" fmla="*/ 3289 h 4964"/>
                      <a:gd name="connsiteX2" fmla="*/ 4127 w 6698"/>
                      <a:gd name="connsiteY2" fmla="*/ 3050 h 4964"/>
                      <a:gd name="connsiteX3" fmla="*/ 3648 w 6698"/>
                      <a:gd name="connsiteY3" fmla="*/ 2691 h 4964"/>
                      <a:gd name="connsiteX4" fmla="*/ 1375 w 6698"/>
                      <a:gd name="connsiteY4" fmla="*/ 1017 h 4964"/>
                      <a:gd name="connsiteX5" fmla="*/ 0 w 6698"/>
                      <a:gd name="connsiteY5" fmla="*/ 0 h 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8" h="4964">
                        <a:moveTo>
                          <a:pt x="6698" y="4964"/>
                        </a:moveTo>
                        <a:lnTo>
                          <a:pt x="4426" y="3289"/>
                        </a:lnTo>
                        <a:lnTo>
                          <a:pt x="4127" y="3050"/>
                        </a:lnTo>
                        <a:lnTo>
                          <a:pt x="3648" y="2691"/>
                        </a:lnTo>
                        <a:lnTo>
                          <a:pt x="1375" y="1017"/>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814" name="Vrije vorm: vorm 7813">
                    <a:extLst>
                      <a:ext uri="{FF2B5EF4-FFF2-40B4-BE49-F238E27FC236}">
                        <a16:creationId xmlns:a16="http://schemas.microsoft.com/office/drawing/2014/main" id="{FDF79E66-D56C-46F2-9FED-DE8EE9CFA86B}"/>
                      </a:ext>
                    </a:extLst>
                  </p:cNvPr>
                  <p:cNvSpPr/>
                  <p:nvPr/>
                </p:nvSpPr>
                <p:spPr>
                  <a:xfrm>
                    <a:off x="5743606" y="5119836"/>
                    <a:ext cx="3049" cy="6698"/>
                  </a:xfrm>
                  <a:custGeom>
                    <a:avLst/>
                    <a:gdLst>
                      <a:gd name="connsiteX0" fmla="*/ 0 w 3049"/>
                      <a:gd name="connsiteY0" fmla="*/ 120 h 6698"/>
                      <a:gd name="connsiteX1" fmla="*/ 478 w 3049"/>
                      <a:gd name="connsiteY1" fmla="*/ 0 h 6698"/>
                      <a:gd name="connsiteX2" fmla="*/ 538 w 3049"/>
                      <a:gd name="connsiteY2" fmla="*/ 0 h 6698"/>
                      <a:gd name="connsiteX3" fmla="*/ 1076 w 3049"/>
                      <a:gd name="connsiteY3" fmla="*/ 60 h 6698"/>
                      <a:gd name="connsiteX4" fmla="*/ 1615 w 3049"/>
                      <a:gd name="connsiteY4" fmla="*/ 359 h 6698"/>
                      <a:gd name="connsiteX5" fmla="*/ 2093 w 3049"/>
                      <a:gd name="connsiteY5" fmla="*/ 897 h 6698"/>
                      <a:gd name="connsiteX6" fmla="*/ 2512 w 3049"/>
                      <a:gd name="connsiteY6" fmla="*/ 1615 h 6698"/>
                      <a:gd name="connsiteX7" fmla="*/ 2811 w 3049"/>
                      <a:gd name="connsiteY7" fmla="*/ 2452 h 6698"/>
                      <a:gd name="connsiteX8" fmla="*/ 2990 w 3049"/>
                      <a:gd name="connsiteY8" fmla="*/ 3349 h 6698"/>
                      <a:gd name="connsiteX9" fmla="*/ 3050 w 3049"/>
                      <a:gd name="connsiteY9" fmla="*/ 4246 h 6698"/>
                      <a:gd name="connsiteX10" fmla="*/ 2930 w 3049"/>
                      <a:gd name="connsiteY10" fmla="*/ 5084 h 6698"/>
                      <a:gd name="connsiteX11" fmla="*/ 2691 w 3049"/>
                      <a:gd name="connsiteY11" fmla="*/ 5801 h 6698"/>
                      <a:gd name="connsiteX12" fmla="*/ 2512 w 3049"/>
                      <a:gd name="connsiteY12" fmla="*/ 6041 h 6698"/>
                      <a:gd name="connsiteX13" fmla="*/ 2332 w 3049"/>
                      <a:gd name="connsiteY13" fmla="*/ 6340 h 6698"/>
                      <a:gd name="connsiteX14" fmla="*/ 1914 w 3049"/>
                      <a:gd name="connsiteY14" fmla="*/ 6699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49" h="6698">
                        <a:moveTo>
                          <a:pt x="0" y="120"/>
                        </a:moveTo>
                        <a:lnTo>
                          <a:pt x="478" y="0"/>
                        </a:lnTo>
                        <a:lnTo>
                          <a:pt x="538" y="0"/>
                        </a:lnTo>
                        <a:lnTo>
                          <a:pt x="1076" y="60"/>
                        </a:lnTo>
                        <a:lnTo>
                          <a:pt x="1615" y="359"/>
                        </a:lnTo>
                        <a:lnTo>
                          <a:pt x="2093" y="897"/>
                        </a:lnTo>
                        <a:lnTo>
                          <a:pt x="2512" y="1615"/>
                        </a:lnTo>
                        <a:lnTo>
                          <a:pt x="2811" y="2452"/>
                        </a:lnTo>
                        <a:lnTo>
                          <a:pt x="2990" y="3349"/>
                        </a:lnTo>
                        <a:lnTo>
                          <a:pt x="3050" y="4246"/>
                        </a:lnTo>
                        <a:lnTo>
                          <a:pt x="2930" y="5084"/>
                        </a:lnTo>
                        <a:lnTo>
                          <a:pt x="2691" y="5801"/>
                        </a:lnTo>
                        <a:lnTo>
                          <a:pt x="2512" y="6041"/>
                        </a:lnTo>
                        <a:lnTo>
                          <a:pt x="2332" y="6340"/>
                        </a:lnTo>
                        <a:lnTo>
                          <a:pt x="1914" y="6699"/>
                        </a:lnTo>
                      </a:path>
                    </a:pathLst>
                  </a:custGeom>
                  <a:noFill/>
                  <a:ln w="6350" cap="flat">
                    <a:solidFill>
                      <a:schemeClr val="bg1">
                        <a:alpha val="40000"/>
                      </a:schemeClr>
                    </a:solidFill>
                    <a:prstDash val="solid"/>
                    <a:miter/>
                  </a:ln>
                </p:spPr>
                <p:txBody>
                  <a:bodyPr rtlCol="0" anchor="ctr"/>
                  <a:lstStyle/>
                  <a:p>
                    <a:endParaRPr lang="en-GB"/>
                  </a:p>
                </p:txBody>
              </p:sp>
              <p:sp>
                <p:nvSpPr>
                  <p:cNvPr id="7815" name="Vrije vorm: vorm 7814">
                    <a:extLst>
                      <a:ext uri="{FF2B5EF4-FFF2-40B4-BE49-F238E27FC236}">
                        <a16:creationId xmlns:a16="http://schemas.microsoft.com/office/drawing/2014/main" id="{92441C4B-85A4-42FF-9C9A-0EF9EB292A0A}"/>
                      </a:ext>
                    </a:extLst>
                  </p:cNvPr>
                  <p:cNvSpPr/>
                  <p:nvPr/>
                </p:nvSpPr>
                <p:spPr>
                  <a:xfrm>
                    <a:off x="5740974" y="5108832"/>
                    <a:ext cx="3887" cy="4784"/>
                  </a:xfrm>
                  <a:custGeom>
                    <a:avLst/>
                    <a:gdLst>
                      <a:gd name="connsiteX0" fmla="*/ 1555 w 3887"/>
                      <a:gd name="connsiteY0" fmla="*/ 4785 h 4784"/>
                      <a:gd name="connsiteX1" fmla="*/ 1196 w 3887"/>
                      <a:gd name="connsiteY1" fmla="*/ 3588 h 4784"/>
                      <a:gd name="connsiteX2" fmla="*/ 239 w 3887"/>
                      <a:gd name="connsiteY2" fmla="*/ 718 h 4784"/>
                      <a:gd name="connsiteX3" fmla="*/ 0 w 3887"/>
                      <a:gd name="connsiteY3" fmla="*/ 0 h 4784"/>
                      <a:gd name="connsiteX4" fmla="*/ 1256 w 3887"/>
                      <a:gd name="connsiteY4" fmla="*/ 419 h 4784"/>
                      <a:gd name="connsiteX5" fmla="*/ 3887 w 3887"/>
                      <a:gd name="connsiteY5" fmla="*/ 1375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87" h="4784">
                        <a:moveTo>
                          <a:pt x="1555" y="4785"/>
                        </a:moveTo>
                        <a:lnTo>
                          <a:pt x="1196" y="3588"/>
                        </a:lnTo>
                        <a:lnTo>
                          <a:pt x="239" y="718"/>
                        </a:lnTo>
                        <a:lnTo>
                          <a:pt x="0" y="0"/>
                        </a:lnTo>
                        <a:lnTo>
                          <a:pt x="1256" y="419"/>
                        </a:lnTo>
                        <a:lnTo>
                          <a:pt x="3887" y="1375"/>
                        </a:lnTo>
                      </a:path>
                    </a:pathLst>
                  </a:custGeom>
                  <a:noFill/>
                  <a:ln w="6350" cap="flat">
                    <a:solidFill>
                      <a:schemeClr val="bg1">
                        <a:alpha val="40000"/>
                      </a:schemeClr>
                    </a:solidFill>
                    <a:prstDash val="solid"/>
                    <a:miter/>
                  </a:ln>
                </p:spPr>
                <p:txBody>
                  <a:bodyPr rtlCol="0" anchor="ctr"/>
                  <a:lstStyle/>
                  <a:p>
                    <a:endParaRPr lang="en-GB"/>
                  </a:p>
                </p:txBody>
              </p:sp>
              <p:sp>
                <p:nvSpPr>
                  <p:cNvPr id="7816" name="Vrije vorm: vorm 7815">
                    <a:extLst>
                      <a:ext uri="{FF2B5EF4-FFF2-40B4-BE49-F238E27FC236}">
                        <a16:creationId xmlns:a16="http://schemas.microsoft.com/office/drawing/2014/main" id="{F9A123D5-10F1-4DE8-BD81-370E174572BE}"/>
                      </a:ext>
                    </a:extLst>
                  </p:cNvPr>
                  <p:cNvSpPr/>
                  <p:nvPr/>
                </p:nvSpPr>
                <p:spPr>
                  <a:xfrm>
                    <a:off x="5732541" y="5107875"/>
                    <a:ext cx="63874" cy="37320"/>
                  </a:xfrm>
                  <a:custGeom>
                    <a:avLst/>
                    <a:gdLst>
                      <a:gd name="connsiteX0" fmla="*/ 0 w 63874"/>
                      <a:gd name="connsiteY0" fmla="*/ 20394 h 37320"/>
                      <a:gd name="connsiteX1" fmla="*/ 120 w 63874"/>
                      <a:gd name="connsiteY1" fmla="*/ 20215 h 37320"/>
                      <a:gd name="connsiteX2" fmla="*/ 2034 w 63874"/>
                      <a:gd name="connsiteY2" fmla="*/ 17404 h 37320"/>
                      <a:gd name="connsiteX3" fmla="*/ 3947 w 63874"/>
                      <a:gd name="connsiteY3" fmla="*/ 14593 h 37320"/>
                      <a:gd name="connsiteX4" fmla="*/ 5861 w 63874"/>
                      <a:gd name="connsiteY4" fmla="*/ 11782 h 37320"/>
                      <a:gd name="connsiteX5" fmla="*/ 7775 w 63874"/>
                      <a:gd name="connsiteY5" fmla="*/ 8971 h 37320"/>
                      <a:gd name="connsiteX6" fmla="*/ 8253 w 63874"/>
                      <a:gd name="connsiteY6" fmla="*/ 8253 h 37320"/>
                      <a:gd name="connsiteX7" fmla="*/ 8493 w 63874"/>
                      <a:gd name="connsiteY7" fmla="*/ 7954 h 37320"/>
                      <a:gd name="connsiteX8" fmla="*/ 9988 w 63874"/>
                      <a:gd name="connsiteY8" fmla="*/ 5801 h 37320"/>
                      <a:gd name="connsiteX9" fmla="*/ 10586 w 63874"/>
                      <a:gd name="connsiteY9" fmla="*/ 4964 h 37320"/>
                      <a:gd name="connsiteX10" fmla="*/ 11244 w 63874"/>
                      <a:gd name="connsiteY10" fmla="*/ 4007 h 37320"/>
                      <a:gd name="connsiteX11" fmla="*/ 11304 w 63874"/>
                      <a:gd name="connsiteY11" fmla="*/ 3947 h 37320"/>
                      <a:gd name="connsiteX12" fmla="*/ 11842 w 63874"/>
                      <a:gd name="connsiteY12" fmla="*/ 3170 h 37320"/>
                      <a:gd name="connsiteX13" fmla="*/ 12380 w 63874"/>
                      <a:gd name="connsiteY13" fmla="*/ 2392 h 37320"/>
                      <a:gd name="connsiteX14" fmla="*/ 13218 w 63874"/>
                      <a:gd name="connsiteY14" fmla="*/ 1196 h 37320"/>
                      <a:gd name="connsiteX15" fmla="*/ 13935 w 63874"/>
                      <a:gd name="connsiteY15" fmla="*/ 180 h 37320"/>
                      <a:gd name="connsiteX16" fmla="*/ 14055 w 63874"/>
                      <a:gd name="connsiteY16" fmla="*/ 0 h 37320"/>
                      <a:gd name="connsiteX17" fmla="*/ 15849 w 63874"/>
                      <a:gd name="connsiteY17" fmla="*/ 658 h 37320"/>
                      <a:gd name="connsiteX18" fmla="*/ 18481 w 63874"/>
                      <a:gd name="connsiteY18" fmla="*/ 1555 h 37320"/>
                      <a:gd name="connsiteX19" fmla="*/ 21112 w 63874"/>
                      <a:gd name="connsiteY19" fmla="*/ 2452 h 37320"/>
                      <a:gd name="connsiteX20" fmla="*/ 23744 w 63874"/>
                      <a:gd name="connsiteY20" fmla="*/ 3349 h 37320"/>
                      <a:gd name="connsiteX21" fmla="*/ 24222 w 63874"/>
                      <a:gd name="connsiteY21" fmla="*/ 3529 h 37320"/>
                      <a:gd name="connsiteX22" fmla="*/ 24401 w 63874"/>
                      <a:gd name="connsiteY22" fmla="*/ 3589 h 37320"/>
                      <a:gd name="connsiteX23" fmla="*/ 25956 w 63874"/>
                      <a:gd name="connsiteY23" fmla="*/ 4127 h 37320"/>
                      <a:gd name="connsiteX24" fmla="*/ 28588 w 63874"/>
                      <a:gd name="connsiteY24" fmla="*/ 5024 h 37320"/>
                      <a:gd name="connsiteX25" fmla="*/ 31220 w 63874"/>
                      <a:gd name="connsiteY25" fmla="*/ 5921 h 37320"/>
                      <a:gd name="connsiteX26" fmla="*/ 33851 w 63874"/>
                      <a:gd name="connsiteY26" fmla="*/ 6818 h 37320"/>
                      <a:gd name="connsiteX27" fmla="*/ 36483 w 63874"/>
                      <a:gd name="connsiteY27" fmla="*/ 7715 h 37320"/>
                      <a:gd name="connsiteX28" fmla="*/ 37320 w 63874"/>
                      <a:gd name="connsiteY28" fmla="*/ 8014 h 37320"/>
                      <a:gd name="connsiteX29" fmla="*/ 39532 w 63874"/>
                      <a:gd name="connsiteY29" fmla="*/ 9749 h 37320"/>
                      <a:gd name="connsiteX30" fmla="*/ 41746 w 63874"/>
                      <a:gd name="connsiteY30" fmla="*/ 11483 h 37320"/>
                      <a:gd name="connsiteX31" fmla="*/ 43959 w 63874"/>
                      <a:gd name="connsiteY31" fmla="*/ 13218 h 37320"/>
                      <a:gd name="connsiteX32" fmla="*/ 46171 w 63874"/>
                      <a:gd name="connsiteY32" fmla="*/ 14952 h 37320"/>
                      <a:gd name="connsiteX33" fmla="*/ 48384 w 63874"/>
                      <a:gd name="connsiteY33" fmla="*/ 16686 h 37320"/>
                      <a:gd name="connsiteX34" fmla="*/ 50597 w 63874"/>
                      <a:gd name="connsiteY34" fmla="*/ 18421 h 37320"/>
                      <a:gd name="connsiteX35" fmla="*/ 52810 w 63874"/>
                      <a:gd name="connsiteY35" fmla="*/ 20155 h 37320"/>
                      <a:gd name="connsiteX36" fmla="*/ 55023 w 63874"/>
                      <a:gd name="connsiteY36" fmla="*/ 21890 h 37320"/>
                      <a:gd name="connsiteX37" fmla="*/ 57236 w 63874"/>
                      <a:gd name="connsiteY37" fmla="*/ 23624 h 37320"/>
                      <a:gd name="connsiteX38" fmla="*/ 59149 w 63874"/>
                      <a:gd name="connsiteY38" fmla="*/ 25179 h 37320"/>
                      <a:gd name="connsiteX39" fmla="*/ 61362 w 63874"/>
                      <a:gd name="connsiteY39" fmla="*/ 26913 h 37320"/>
                      <a:gd name="connsiteX40" fmla="*/ 63396 w 63874"/>
                      <a:gd name="connsiteY40" fmla="*/ 28528 h 37320"/>
                      <a:gd name="connsiteX41" fmla="*/ 63874 w 63874"/>
                      <a:gd name="connsiteY41" fmla="*/ 28947 h 37320"/>
                      <a:gd name="connsiteX42" fmla="*/ 62319 w 63874"/>
                      <a:gd name="connsiteY42" fmla="*/ 31997 h 37320"/>
                      <a:gd name="connsiteX43" fmla="*/ 62140 w 63874"/>
                      <a:gd name="connsiteY43" fmla="*/ 32356 h 37320"/>
                      <a:gd name="connsiteX44" fmla="*/ 61781 w 63874"/>
                      <a:gd name="connsiteY44" fmla="*/ 33014 h 37320"/>
                      <a:gd name="connsiteX45" fmla="*/ 61243 w 63874"/>
                      <a:gd name="connsiteY45" fmla="*/ 34030 h 37320"/>
                      <a:gd name="connsiteX46" fmla="*/ 61123 w 63874"/>
                      <a:gd name="connsiteY46" fmla="*/ 34270 h 37320"/>
                      <a:gd name="connsiteX47" fmla="*/ 60645 w 63874"/>
                      <a:gd name="connsiteY47" fmla="*/ 35167 h 37320"/>
                      <a:gd name="connsiteX48" fmla="*/ 60645 w 63874"/>
                      <a:gd name="connsiteY48" fmla="*/ 35167 h 37320"/>
                      <a:gd name="connsiteX49" fmla="*/ 59688 w 63874"/>
                      <a:gd name="connsiteY49" fmla="*/ 37021 h 37320"/>
                      <a:gd name="connsiteX50" fmla="*/ 59568 w 63874"/>
                      <a:gd name="connsiteY50" fmla="*/ 37021 h 37320"/>
                      <a:gd name="connsiteX51" fmla="*/ 58731 w 63874"/>
                      <a:gd name="connsiteY51" fmla="*/ 37081 h 37320"/>
                      <a:gd name="connsiteX52" fmla="*/ 55860 w 63874"/>
                      <a:gd name="connsiteY52" fmla="*/ 37200 h 37320"/>
                      <a:gd name="connsiteX53" fmla="*/ 53169 w 63874"/>
                      <a:gd name="connsiteY53" fmla="*/ 37320 h 37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3874" h="37320">
                        <a:moveTo>
                          <a:pt x="0" y="20394"/>
                        </a:moveTo>
                        <a:lnTo>
                          <a:pt x="120" y="20215"/>
                        </a:lnTo>
                        <a:lnTo>
                          <a:pt x="2034" y="17404"/>
                        </a:lnTo>
                        <a:lnTo>
                          <a:pt x="3947" y="14593"/>
                        </a:lnTo>
                        <a:lnTo>
                          <a:pt x="5861" y="11782"/>
                        </a:lnTo>
                        <a:lnTo>
                          <a:pt x="7775" y="8971"/>
                        </a:lnTo>
                        <a:lnTo>
                          <a:pt x="8253" y="8253"/>
                        </a:lnTo>
                        <a:lnTo>
                          <a:pt x="8493" y="7954"/>
                        </a:lnTo>
                        <a:lnTo>
                          <a:pt x="9988" y="5801"/>
                        </a:lnTo>
                        <a:lnTo>
                          <a:pt x="10586" y="4964"/>
                        </a:lnTo>
                        <a:lnTo>
                          <a:pt x="11244" y="4007"/>
                        </a:lnTo>
                        <a:lnTo>
                          <a:pt x="11304" y="3947"/>
                        </a:lnTo>
                        <a:lnTo>
                          <a:pt x="11842" y="3170"/>
                        </a:lnTo>
                        <a:lnTo>
                          <a:pt x="12380" y="2392"/>
                        </a:lnTo>
                        <a:lnTo>
                          <a:pt x="13218" y="1196"/>
                        </a:lnTo>
                        <a:lnTo>
                          <a:pt x="13935" y="180"/>
                        </a:lnTo>
                        <a:lnTo>
                          <a:pt x="14055" y="0"/>
                        </a:lnTo>
                        <a:lnTo>
                          <a:pt x="15849" y="658"/>
                        </a:lnTo>
                        <a:lnTo>
                          <a:pt x="18481" y="1555"/>
                        </a:lnTo>
                        <a:lnTo>
                          <a:pt x="21112" y="2452"/>
                        </a:lnTo>
                        <a:lnTo>
                          <a:pt x="23744" y="3349"/>
                        </a:lnTo>
                        <a:lnTo>
                          <a:pt x="24222" y="3529"/>
                        </a:lnTo>
                        <a:lnTo>
                          <a:pt x="24401" y="3589"/>
                        </a:lnTo>
                        <a:lnTo>
                          <a:pt x="25956" y="4127"/>
                        </a:lnTo>
                        <a:lnTo>
                          <a:pt x="28588" y="5024"/>
                        </a:lnTo>
                        <a:lnTo>
                          <a:pt x="31220" y="5921"/>
                        </a:lnTo>
                        <a:lnTo>
                          <a:pt x="33851" y="6818"/>
                        </a:lnTo>
                        <a:lnTo>
                          <a:pt x="36483" y="7715"/>
                        </a:lnTo>
                        <a:lnTo>
                          <a:pt x="37320" y="8014"/>
                        </a:lnTo>
                        <a:lnTo>
                          <a:pt x="39532" y="9749"/>
                        </a:lnTo>
                        <a:lnTo>
                          <a:pt x="41746" y="11483"/>
                        </a:lnTo>
                        <a:lnTo>
                          <a:pt x="43959" y="13218"/>
                        </a:lnTo>
                        <a:lnTo>
                          <a:pt x="46171" y="14952"/>
                        </a:lnTo>
                        <a:lnTo>
                          <a:pt x="48384" y="16686"/>
                        </a:lnTo>
                        <a:lnTo>
                          <a:pt x="50597" y="18421"/>
                        </a:lnTo>
                        <a:lnTo>
                          <a:pt x="52810" y="20155"/>
                        </a:lnTo>
                        <a:lnTo>
                          <a:pt x="55023" y="21890"/>
                        </a:lnTo>
                        <a:lnTo>
                          <a:pt x="57236" y="23624"/>
                        </a:lnTo>
                        <a:lnTo>
                          <a:pt x="59149" y="25179"/>
                        </a:lnTo>
                        <a:lnTo>
                          <a:pt x="61362" y="26913"/>
                        </a:lnTo>
                        <a:lnTo>
                          <a:pt x="63396" y="28528"/>
                        </a:lnTo>
                        <a:lnTo>
                          <a:pt x="63874" y="28947"/>
                        </a:lnTo>
                        <a:lnTo>
                          <a:pt x="62319" y="31997"/>
                        </a:lnTo>
                        <a:lnTo>
                          <a:pt x="62140" y="32356"/>
                        </a:lnTo>
                        <a:lnTo>
                          <a:pt x="61781" y="33014"/>
                        </a:lnTo>
                        <a:lnTo>
                          <a:pt x="61243" y="34030"/>
                        </a:lnTo>
                        <a:lnTo>
                          <a:pt x="61123" y="34270"/>
                        </a:lnTo>
                        <a:lnTo>
                          <a:pt x="60645" y="35167"/>
                        </a:lnTo>
                        <a:lnTo>
                          <a:pt x="60645" y="35167"/>
                        </a:lnTo>
                        <a:lnTo>
                          <a:pt x="59688" y="37021"/>
                        </a:lnTo>
                        <a:lnTo>
                          <a:pt x="59568" y="37021"/>
                        </a:lnTo>
                        <a:lnTo>
                          <a:pt x="58731" y="37081"/>
                        </a:lnTo>
                        <a:lnTo>
                          <a:pt x="55860" y="37200"/>
                        </a:lnTo>
                        <a:lnTo>
                          <a:pt x="53169" y="37320"/>
                        </a:lnTo>
                      </a:path>
                    </a:pathLst>
                  </a:custGeom>
                  <a:noFill/>
                  <a:ln w="6350" cap="flat">
                    <a:solidFill>
                      <a:schemeClr val="bg1">
                        <a:alpha val="40000"/>
                      </a:schemeClr>
                    </a:solidFill>
                    <a:prstDash val="solid"/>
                    <a:miter/>
                  </a:ln>
                </p:spPr>
                <p:txBody>
                  <a:bodyPr rtlCol="0" anchor="ctr"/>
                  <a:lstStyle/>
                  <a:p>
                    <a:endParaRPr lang="en-GB"/>
                  </a:p>
                </p:txBody>
              </p:sp>
              <p:sp>
                <p:nvSpPr>
                  <p:cNvPr id="7817" name="Vrije vorm: vorm 7816">
                    <a:extLst>
                      <a:ext uri="{FF2B5EF4-FFF2-40B4-BE49-F238E27FC236}">
                        <a16:creationId xmlns:a16="http://schemas.microsoft.com/office/drawing/2014/main" id="{AD54FD95-A216-4640-B171-B53A64D9ADDE}"/>
                      </a:ext>
                    </a:extLst>
                  </p:cNvPr>
                  <p:cNvSpPr/>
                  <p:nvPr/>
                </p:nvSpPr>
                <p:spPr>
                  <a:xfrm>
                    <a:off x="5759873" y="5116009"/>
                    <a:ext cx="9928" cy="14772"/>
                  </a:xfrm>
                  <a:custGeom>
                    <a:avLst/>
                    <a:gdLst>
                      <a:gd name="connsiteX0" fmla="*/ 9928 w 9928"/>
                      <a:gd name="connsiteY0" fmla="*/ 0 h 14772"/>
                      <a:gd name="connsiteX1" fmla="*/ 8014 w 9928"/>
                      <a:gd name="connsiteY1" fmla="*/ 2811 h 14772"/>
                      <a:gd name="connsiteX2" fmla="*/ 7117 w 9928"/>
                      <a:gd name="connsiteY2" fmla="*/ 4186 h 14772"/>
                      <a:gd name="connsiteX3" fmla="*/ 5562 w 9928"/>
                      <a:gd name="connsiteY3" fmla="*/ 6519 h 14772"/>
                      <a:gd name="connsiteX4" fmla="*/ 5562 w 9928"/>
                      <a:gd name="connsiteY4" fmla="*/ 6519 h 14772"/>
                      <a:gd name="connsiteX5" fmla="*/ 3828 w 9928"/>
                      <a:gd name="connsiteY5" fmla="*/ 9150 h 14772"/>
                      <a:gd name="connsiteX6" fmla="*/ 2512 w 9928"/>
                      <a:gd name="connsiteY6" fmla="*/ 11064 h 14772"/>
                      <a:gd name="connsiteX7" fmla="*/ 2034 w 9928"/>
                      <a:gd name="connsiteY7" fmla="*/ 11782 h 14772"/>
                      <a:gd name="connsiteX8" fmla="*/ 1974 w 9928"/>
                      <a:gd name="connsiteY8" fmla="*/ 11842 h 14772"/>
                      <a:gd name="connsiteX9" fmla="*/ 1854 w 9928"/>
                      <a:gd name="connsiteY9" fmla="*/ 11961 h 14772"/>
                      <a:gd name="connsiteX10" fmla="*/ 1017 w 9928"/>
                      <a:gd name="connsiteY10" fmla="*/ 13217 h 14772"/>
                      <a:gd name="connsiteX11" fmla="*/ 0 w 9928"/>
                      <a:gd name="connsiteY11" fmla="*/ 14772 h 1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28" h="14772">
                        <a:moveTo>
                          <a:pt x="9928" y="0"/>
                        </a:moveTo>
                        <a:lnTo>
                          <a:pt x="8014" y="2811"/>
                        </a:lnTo>
                        <a:lnTo>
                          <a:pt x="7117" y="4186"/>
                        </a:lnTo>
                        <a:lnTo>
                          <a:pt x="5562" y="6519"/>
                        </a:lnTo>
                        <a:lnTo>
                          <a:pt x="5562" y="6519"/>
                        </a:lnTo>
                        <a:lnTo>
                          <a:pt x="3828" y="9150"/>
                        </a:lnTo>
                        <a:lnTo>
                          <a:pt x="2512" y="11064"/>
                        </a:lnTo>
                        <a:lnTo>
                          <a:pt x="2034" y="11782"/>
                        </a:lnTo>
                        <a:lnTo>
                          <a:pt x="1974" y="11842"/>
                        </a:lnTo>
                        <a:lnTo>
                          <a:pt x="1854" y="11961"/>
                        </a:lnTo>
                        <a:lnTo>
                          <a:pt x="1017" y="13217"/>
                        </a:lnTo>
                        <a:lnTo>
                          <a:pt x="0" y="14772"/>
                        </a:lnTo>
                      </a:path>
                    </a:pathLst>
                  </a:custGeom>
                  <a:noFill/>
                  <a:ln w="6350" cap="flat">
                    <a:solidFill>
                      <a:schemeClr val="bg1">
                        <a:alpha val="40000"/>
                      </a:schemeClr>
                    </a:solidFill>
                    <a:prstDash val="solid"/>
                    <a:miter/>
                  </a:ln>
                </p:spPr>
                <p:txBody>
                  <a:bodyPr rtlCol="0" anchor="ctr"/>
                  <a:lstStyle/>
                  <a:p>
                    <a:endParaRPr lang="en-GB"/>
                  </a:p>
                </p:txBody>
              </p:sp>
              <p:sp>
                <p:nvSpPr>
                  <p:cNvPr id="7818" name="Vrije vorm: vorm 7817">
                    <a:extLst>
                      <a:ext uri="{FF2B5EF4-FFF2-40B4-BE49-F238E27FC236}">
                        <a16:creationId xmlns:a16="http://schemas.microsoft.com/office/drawing/2014/main" id="{A8420EA9-15F5-417F-82D9-925D12E926A4}"/>
                      </a:ext>
                    </a:extLst>
                  </p:cNvPr>
                  <p:cNvSpPr/>
                  <p:nvPr/>
                </p:nvSpPr>
                <p:spPr>
                  <a:xfrm>
                    <a:off x="5755627" y="5130841"/>
                    <a:ext cx="8791" cy="6279"/>
                  </a:xfrm>
                  <a:custGeom>
                    <a:avLst/>
                    <a:gdLst>
                      <a:gd name="connsiteX0" fmla="*/ 4187 w 8791"/>
                      <a:gd name="connsiteY0" fmla="*/ 0 h 6279"/>
                      <a:gd name="connsiteX1" fmla="*/ 4127 w 8791"/>
                      <a:gd name="connsiteY1" fmla="*/ 60 h 6279"/>
                      <a:gd name="connsiteX2" fmla="*/ 2333 w 8791"/>
                      <a:gd name="connsiteY2" fmla="*/ 2751 h 6279"/>
                      <a:gd name="connsiteX3" fmla="*/ 2333 w 8791"/>
                      <a:gd name="connsiteY3" fmla="*/ 2811 h 6279"/>
                      <a:gd name="connsiteX4" fmla="*/ 1555 w 8791"/>
                      <a:gd name="connsiteY4" fmla="*/ 3947 h 6279"/>
                      <a:gd name="connsiteX5" fmla="*/ 1316 w 8791"/>
                      <a:gd name="connsiteY5" fmla="*/ 4306 h 6279"/>
                      <a:gd name="connsiteX6" fmla="*/ 0 w 8791"/>
                      <a:gd name="connsiteY6" fmla="*/ 6280 h 6279"/>
                      <a:gd name="connsiteX7" fmla="*/ 2093 w 8791"/>
                      <a:gd name="connsiteY7" fmla="*/ 5263 h 6279"/>
                      <a:gd name="connsiteX8" fmla="*/ 2213 w 8791"/>
                      <a:gd name="connsiteY8" fmla="*/ 5203 h 6279"/>
                      <a:gd name="connsiteX9" fmla="*/ 2632 w 8791"/>
                      <a:gd name="connsiteY9" fmla="*/ 5143 h 6279"/>
                      <a:gd name="connsiteX10" fmla="*/ 3170 w 8791"/>
                      <a:gd name="connsiteY10" fmla="*/ 5083 h 6279"/>
                      <a:gd name="connsiteX11" fmla="*/ 3170 w 8791"/>
                      <a:gd name="connsiteY11" fmla="*/ 5083 h 6279"/>
                      <a:gd name="connsiteX12" fmla="*/ 3649 w 8791"/>
                      <a:gd name="connsiteY12" fmla="*/ 5024 h 6279"/>
                      <a:gd name="connsiteX13" fmla="*/ 5263 w 8791"/>
                      <a:gd name="connsiteY13" fmla="*/ 4904 h 6279"/>
                      <a:gd name="connsiteX14" fmla="*/ 7357 w 8791"/>
                      <a:gd name="connsiteY14" fmla="*/ 4725 h 6279"/>
                      <a:gd name="connsiteX15" fmla="*/ 8433 w 8791"/>
                      <a:gd name="connsiteY15" fmla="*/ 4605 h 6279"/>
                      <a:gd name="connsiteX16" fmla="*/ 8792 w 8791"/>
                      <a:gd name="connsiteY16" fmla="*/ 4545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91" h="6279">
                        <a:moveTo>
                          <a:pt x="4187" y="0"/>
                        </a:moveTo>
                        <a:lnTo>
                          <a:pt x="4127" y="60"/>
                        </a:lnTo>
                        <a:lnTo>
                          <a:pt x="2333" y="2751"/>
                        </a:lnTo>
                        <a:lnTo>
                          <a:pt x="2333" y="2811"/>
                        </a:lnTo>
                        <a:lnTo>
                          <a:pt x="1555" y="3947"/>
                        </a:lnTo>
                        <a:lnTo>
                          <a:pt x="1316" y="4306"/>
                        </a:lnTo>
                        <a:lnTo>
                          <a:pt x="0" y="6280"/>
                        </a:lnTo>
                        <a:lnTo>
                          <a:pt x="2093" y="5263"/>
                        </a:lnTo>
                        <a:lnTo>
                          <a:pt x="2213" y="5203"/>
                        </a:lnTo>
                        <a:lnTo>
                          <a:pt x="2632" y="5143"/>
                        </a:lnTo>
                        <a:lnTo>
                          <a:pt x="3170" y="5083"/>
                        </a:lnTo>
                        <a:lnTo>
                          <a:pt x="3170" y="5083"/>
                        </a:lnTo>
                        <a:lnTo>
                          <a:pt x="3649" y="5024"/>
                        </a:lnTo>
                        <a:lnTo>
                          <a:pt x="5263" y="4904"/>
                        </a:lnTo>
                        <a:lnTo>
                          <a:pt x="7357" y="4725"/>
                        </a:lnTo>
                        <a:lnTo>
                          <a:pt x="8433" y="4605"/>
                        </a:lnTo>
                        <a:lnTo>
                          <a:pt x="8792" y="4545"/>
                        </a:lnTo>
                      </a:path>
                    </a:pathLst>
                  </a:custGeom>
                  <a:noFill/>
                  <a:ln w="6350" cap="flat">
                    <a:solidFill>
                      <a:schemeClr val="bg1">
                        <a:alpha val="40000"/>
                      </a:schemeClr>
                    </a:solidFill>
                    <a:prstDash val="solid"/>
                    <a:miter/>
                  </a:ln>
                </p:spPr>
                <p:txBody>
                  <a:bodyPr rtlCol="0" anchor="ctr"/>
                  <a:lstStyle/>
                  <a:p>
                    <a:endParaRPr lang="en-GB"/>
                  </a:p>
                </p:txBody>
              </p:sp>
              <p:sp>
                <p:nvSpPr>
                  <p:cNvPr id="7819" name="Vrije vorm: vorm 7818">
                    <a:extLst>
                      <a:ext uri="{FF2B5EF4-FFF2-40B4-BE49-F238E27FC236}">
                        <a16:creationId xmlns:a16="http://schemas.microsoft.com/office/drawing/2014/main" id="{CF568652-9722-439D-96B9-9F75EF9B9951}"/>
                      </a:ext>
                    </a:extLst>
                  </p:cNvPr>
                  <p:cNvSpPr/>
                  <p:nvPr/>
                </p:nvSpPr>
                <p:spPr>
                  <a:xfrm>
                    <a:off x="5764299" y="5135387"/>
                    <a:ext cx="13516" cy="5322"/>
                  </a:xfrm>
                  <a:custGeom>
                    <a:avLst/>
                    <a:gdLst>
                      <a:gd name="connsiteX0" fmla="*/ 0 w 13516"/>
                      <a:gd name="connsiteY0" fmla="*/ 0 h 5322"/>
                      <a:gd name="connsiteX1" fmla="*/ 2572 w 13516"/>
                      <a:gd name="connsiteY1" fmla="*/ 1017 h 5322"/>
                      <a:gd name="connsiteX2" fmla="*/ 3289 w 13516"/>
                      <a:gd name="connsiteY2" fmla="*/ 1316 h 5322"/>
                      <a:gd name="connsiteX3" fmla="*/ 5861 w 13516"/>
                      <a:gd name="connsiteY3" fmla="*/ 2333 h 5322"/>
                      <a:gd name="connsiteX4" fmla="*/ 8433 w 13516"/>
                      <a:gd name="connsiteY4" fmla="*/ 3349 h 5322"/>
                      <a:gd name="connsiteX5" fmla="*/ 8792 w 13516"/>
                      <a:gd name="connsiteY5" fmla="*/ 3469 h 5322"/>
                      <a:gd name="connsiteX6" fmla="*/ 11364 w 13516"/>
                      <a:gd name="connsiteY6" fmla="*/ 4486 h 5322"/>
                      <a:gd name="connsiteX7" fmla="*/ 12560 w 13516"/>
                      <a:gd name="connsiteY7" fmla="*/ 4964 h 5322"/>
                      <a:gd name="connsiteX8" fmla="*/ 13516 w 13516"/>
                      <a:gd name="connsiteY8" fmla="*/ 5323 h 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6" h="5322">
                        <a:moveTo>
                          <a:pt x="0" y="0"/>
                        </a:moveTo>
                        <a:lnTo>
                          <a:pt x="2572" y="1017"/>
                        </a:lnTo>
                        <a:lnTo>
                          <a:pt x="3289" y="1316"/>
                        </a:lnTo>
                        <a:lnTo>
                          <a:pt x="5861" y="2333"/>
                        </a:lnTo>
                        <a:lnTo>
                          <a:pt x="8433" y="3349"/>
                        </a:lnTo>
                        <a:lnTo>
                          <a:pt x="8792" y="3469"/>
                        </a:lnTo>
                        <a:lnTo>
                          <a:pt x="11364" y="4486"/>
                        </a:lnTo>
                        <a:lnTo>
                          <a:pt x="12560" y="4964"/>
                        </a:lnTo>
                        <a:lnTo>
                          <a:pt x="13516" y="5323"/>
                        </a:lnTo>
                      </a:path>
                    </a:pathLst>
                  </a:custGeom>
                  <a:noFill/>
                  <a:ln w="6350" cap="flat">
                    <a:solidFill>
                      <a:schemeClr val="bg1">
                        <a:alpha val="40000"/>
                      </a:schemeClr>
                    </a:solidFill>
                    <a:prstDash val="solid"/>
                    <a:miter/>
                  </a:ln>
                </p:spPr>
                <p:txBody>
                  <a:bodyPr rtlCol="0" anchor="ctr"/>
                  <a:lstStyle/>
                  <a:p>
                    <a:endParaRPr lang="en-GB"/>
                  </a:p>
                </p:txBody>
              </p:sp>
              <p:sp>
                <p:nvSpPr>
                  <p:cNvPr id="7820" name="Vrije vorm: vorm 7819">
                    <a:extLst>
                      <a:ext uri="{FF2B5EF4-FFF2-40B4-BE49-F238E27FC236}">
                        <a16:creationId xmlns:a16="http://schemas.microsoft.com/office/drawing/2014/main" id="{701C0E38-197E-4846-AC9B-018C8895BBBB}"/>
                      </a:ext>
                    </a:extLst>
                  </p:cNvPr>
                  <p:cNvSpPr/>
                  <p:nvPr/>
                </p:nvSpPr>
                <p:spPr>
                  <a:xfrm>
                    <a:off x="5716453" y="5117564"/>
                    <a:ext cx="21231" cy="67761"/>
                  </a:xfrm>
                  <a:custGeom>
                    <a:avLst/>
                    <a:gdLst>
                      <a:gd name="connsiteX0" fmla="*/ 897 w 21231"/>
                      <a:gd name="connsiteY0" fmla="*/ 67761 h 67761"/>
                      <a:gd name="connsiteX1" fmla="*/ 359 w 21231"/>
                      <a:gd name="connsiteY1" fmla="*/ 64412 h 67761"/>
                      <a:gd name="connsiteX2" fmla="*/ 0 w 21231"/>
                      <a:gd name="connsiteY2" fmla="*/ 62020 h 67761"/>
                      <a:gd name="connsiteX3" fmla="*/ 60 w 21231"/>
                      <a:gd name="connsiteY3" fmla="*/ 58372 h 67761"/>
                      <a:gd name="connsiteX4" fmla="*/ 120 w 21231"/>
                      <a:gd name="connsiteY4" fmla="*/ 55800 h 67761"/>
                      <a:gd name="connsiteX5" fmla="*/ 180 w 21231"/>
                      <a:gd name="connsiteY5" fmla="*/ 53527 h 67761"/>
                      <a:gd name="connsiteX6" fmla="*/ 778 w 21231"/>
                      <a:gd name="connsiteY6" fmla="*/ 49819 h 67761"/>
                      <a:gd name="connsiteX7" fmla="*/ 1376 w 21231"/>
                      <a:gd name="connsiteY7" fmla="*/ 46111 h 67761"/>
                      <a:gd name="connsiteX8" fmla="*/ 1495 w 21231"/>
                      <a:gd name="connsiteY8" fmla="*/ 45393 h 67761"/>
                      <a:gd name="connsiteX9" fmla="*/ 1675 w 21231"/>
                      <a:gd name="connsiteY9" fmla="*/ 44437 h 67761"/>
                      <a:gd name="connsiteX10" fmla="*/ 1675 w 21231"/>
                      <a:gd name="connsiteY10" fmla="*/ 44377 h 67761"/>
                      <a:gd name="connsiteX11" fmla="*/ 2572 w 21231"/>
                      <a:gd name="connsiteY11" fmla="*/ 41267 h 67761"/>
                      <a:gd name="connsiteX12" fmla="*/ 3708 w 21231"/>
                      <a:gd name="connsiteY12" fmla="*/ 37559 h 67761"/>
                      <a:gd name="connsiteX13" fmla="*/ 4366 w 21231"/>
                      <a:gd name="connsiteY13" fmla="*/ 35286 h 67761"/>
                      <a:gd name="connsiteX14" fmla="*/ 5084 w 21231"/>
                      <a:gd name="connsiteY14" fmla="*/ 33671 h 67761"/>
                      <a:gd name="connsiteX15" fmla="*/ 5622 w 21231"/>
                      <a:gd name="connsiteY15" fmla="*/ 32415 h 67761"/>
                      <a:gd name="connsiteX16" fmla="*/ 6220 w 21231"/>
                      <a:gd name="connsiteY16" fmla="*/ 31040 h 67761"/>
                      <a:gd name="connsiteX17" fmla="*/ 7117 w 21231"/>
                      <a:gd name="connsiteY17" fmla="*/ 29006 h 67761"/>
                      <a:gd name="connsiteX18" fmla="*/ 8074 w 21231"/>
                      <a:gd name="connsiteY18" fmla="*/ 26794 h 67761"/>
                      <a:gd name="connsiteX19" fmla="*/ 9808 w 21231"/>
                      <a:gd name="connsiteY19" fmla="*/ 23265 h 67761"/>
                      <a:gd name="connsiteX20" fmla="*/ 11543 w 21231"/>
                      <a:gd name="connsiteY20" fmla="*/ 19736 h 67761"/>
                      <a:gd name="connsiteX21" fmla="*/ 13277 w 21231"/>
                      <a:gd name="connsiteY21" fmla="*/ 16208 h 67761"/>
                      <a:gd name="connsiteX22" fmla="*/ 14832 w 21231"/>
                      <a:gd name="connsiteY22" fmla="*/ 13038 h 67761"/>
                      <a:gd name="connsiteX23" fmla="*/ 16567 w 21231"/>
                      <a:gd name="connsiteY23" fmla="*/ 9509 h 67761"/>
                      <a:gd name="connsiteX24" fmla="*/ 18301 w 21231"/>
                      <a:gd name="connsiteY24" fmla="*/ 5981 h 67761"/>
                      <a:gd name="connsiteX25" fmla="*/ 20036 w 21231"/>
                      <a:gd name="connsiteY25" fmla="*/ 2452 h 67761"/>
                      <a:gd name="connsiteX26" fmla="*/ 21231 w 21231"/>
                      <a:gd name="connsiteY26" fmla="*/ 0 h 67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231" h="67761">
                        <a:moveTo>
                          <a:pt x="897" y="67761"/>
                        </a:moveTo>
                        <a:lnTo>
                          <a:pt x="359" y="64412"/>
                        </a:lnTo>
                        <a:lnTo>
                          <a:pt x="0" y="62020"/>
                        </a:lnTo>
                        <a:lnTo>
                          <a:pt x="60" y="58372"/>
                        </a:lnTo>
                        <a:lnTo>
                          <a:pt x="120" y="55800"/>
                        </a:lnTo>
                        <a:lnTo>
                          <a:pt x="180" y="53527"/>
                        </a:lnTo>
                        <a:lnTo>
                          <a:pt x="778" y="49819"/>
                        </a:lnTo>
                        <a:lnTo>
                          <a:pt x="1376" y="46111"/>
                        </a:lnTo>
                        <a:lnTo>
                          <a:pt x="1495" y="45393"/>
                        </a:lnTo>
                        <a:lnTo>
                          <a:pt x="1675" y="44437"/>
                        </a:lnTo>
                        <a:lnTo>
                          <a:pt x="1675" y="44377"/>
                        </a:lnTo>
                        <a:lnTo>
                          <a:pt x="2572" y="41267"/>
                        </a:lnTo>
                        <a:lnTo>
                          <a:pt x="3708" y="37559"/>
                        </a:lnTo>
                        <a:lnTo>
                          <a:pt x="4366" y="35286"/>
                        </a:lnTo>
                        <a:lnTo>
                          <a:pt x="5084" y="33671"/>
                        </a:lnTo>
                        <a:lnTo>
                          <a:pt x="5622" y="32415"/>
                        </a:lnTo>
                        <a:lnTo>
                          <a:pt x="6220" y="31040"/>
                        </a:lnTo>
                        <a:lnTo>
                          <a:pt x="7117" y="29006"/>
                        </a:lnTo>
                        <a:lnTo>
                          <a:pt x="8074" y="26794"/>
                        </a:lnTo>
                        <a:lnTo>
                          <a:pt x="9808" y="23265"/>
                        </a:lnTo>
                        <a:lnTo>
                          <a:pt x="11543" y="19736"/>
                        </a:lnTo>
                        <a:lnTo>
                          <a:pt x="13277" y="16208"/>
                        </a:lnTo>
                        <a:lnTo>
                          <a:pt x="14832" y="13038"/>
                        </a:lnTo>
                        <a:lnTo>
                          <a:pt x="16567" y="9509"/>
                        </a:lnTo>
                        <a:lnTo>
                          <a:pt x="18301" y="5981"/>
                        </a:lnTo>
                        <a:lnTo>
                          <a:pt x="20036" y="2452"/>
                        </a:lnTo>
                        <a:lnTo>
                          <a:pt x="21231" y="0"/>
                        </a:lnTo>
                      </a:path>
                    </a:pathLst>
                  </a:custGeom>
                  <a:noFill/>
                  <a:ln w="6350" cap="flat">
                    <a:solidFill>
                      <a:schemeClr val="bg1">
                        <a:alpha val="40000"/>
                      </a:schemeClr>
                    </a:solidFill>
                    <a:prstDash val="solid"/>
                    <a:miter/>
                  </a:ln>
                </p:spPr>
                <p:txBody>
                  <a:bodyPr rtlCol="0" anchor="ctr"/>
                  <a:lstStyle/>
                  <a:p>
                    <a:endParaRPr lang="en-GB"/>
                  </a:p>
                </p:txBody>
              </p:sp>
              <p:sp>
                <p:nvSpPr>
                  <p:cNvPr id="7821" name="Vrije vorm: vorm 7820">
                    <a:extLst>
                      <a:ext uri="{FF2B5EF4-FFF2-40B4-BE49-F238E27FC236}">
                        <a16:creationId xmlns:a16="http://schemas.microsoft.com/office/drawing/2014/main" id="{855A30DC-63C8-4B54-BFDD-AEBB7E070193}"/>
                      </a:ext>
                    </a:extLst>
                  </p:cNvPr>
                  <p:cNvSpPr/>
                  <p:nvPr/>
                </p:nvSpPr>
                <p:spPr>
                  <a:xfrm>
                    <a:off x="5726740" y="5102134"/>
                    <a:ext cx="140726" cy="60046"/>
                  </a:xfrm>
                  <a:custGeom>
                    <a:avLst/>
                    <a:gdLst>
                      <a:gd name="connsiteX0" fmla="*/ 0 w 140726"/>
                      <a:gd name="connsiteY0" fmla="*/ 4246 h 60046"/>
                      <a:gd name="connsiteX1" fmla="*/ 1555 w 140726"/>
                      <a:gd name="connsiteY1" fmla="*/ 1196 h 60046"/>
                      <a:gd name="connsiteX2" fmla="*/ 1615 w 140726"/>
                      <a:gd name="connsiteY2" fmla="*/ 1017 h 60046"/>
                      <a:gd name="connsiteX3" fmla="*/ 4246 w 140726"/>
                      <a:gd name="connsiteY3" fmla="*/ 1914 h 60046"/>
                      <a:gd name="connsiteX4" fmla="*/ 6878 w 140726"/>
                      <a:gd name="connsiteY4" fmla="*/ 2811 h 60046"/>
                      <a:gd name="connsiteX5" fmla="*/ 8253 w 140726"/>
                      <a:gd name="connsiteY5" fmla="*/ 3289 h 60046"/>
                      <a:gd name="connsiteX6" fmla="*/ 11064 w 140726"/>
                      <a:gd name="connsiteY6" fmla="*/ 1974 h 60046"/>
                      <a:gd name="connsiteX7" fmla="*/ 13875 w 140726"/>
                      <a:gd name="connsiteY7" fmla="*/ 658 h 60046"/>
                      <a:gd name="connsiteX8" fmla="*/ 15311 w 140726"/>
                      <a:gd name="connsiteY8" fmla="*/ 0 h 60046"/>
                      <a:gd name="connsiteX9" fmla="*/ 17942 w 140726"/>
                      <a:gd name="connsiteY9" fmla="*/ 897 h 60046"/>
                      <a:gd name="connsiteX10" fmla="*/ 20574 w 140726"/>
                      <a:gd name="connsiteY10" fmla="*/ 1794 h 60046"/>
                      <a:gd name="connsiteX11" fmla="*/ 21471 w 140726"/>
                      <a:gd name="connsiteY11" fmla="*/ 2093 h 60046"/>
                      <a:gd name="connsiteX12" fmla="*/ 24102 w 140726"/>
                      <a:gd name="connsiteY12" fmla="*/ 2990 h 60046"/>
                      <a:gd name="connsiteX13" fmla="*/ 26734 w 140726"/>
                      <a:gd name="connsiteY13" fmla="*/ 3887 h 60046"/>
                      <a:gd name="connsiteX14" fmla="*/ 29365 w 140726"/>
                      <a:gd name="connsiteY14" fmla="*/ 4785 h 60046"/>
                      <a:gd name="connsiteX15" fmla="*/ 29425 w 140726"/>
                      <a:gd name="connsiteY15" fmla="*/ 4785 h 60046"/>
                      <a:gd name="connsiteX16" fmla="*/ 32057 w 140726"/>
                      <a:gd name="connsiteY16" fmla="*/ 5682 h 60046"/>
                      <a:gd name="connsiteX17" fmla="*/ 33432 w 140726"/>
                      <a:gd name="connsiteY17" fmla="*/ 6160 h 60046"/>
                      <a:gd name="connsiteX18" fmla="*/ 33492 w 140726"/>
                      <a:gd name="connsiteY18" fmla="*/ 6160 h 60046"/>
                      <a:gd name="connsiteX19" fmla="*/ 36123 w 140726"/>
                      <a:gd name="connsiteY19" fmla="*/ 7057 h 60046"/>
                      <a:gd name="connsiteX20" fmla="*/ 38755 w 140726"/>
                      <a:gd name="connsiteY20" fmla="*/ 7954 h 60046"/>
                      <a:gd name="connsiteX21" fmla="*/ 41386 w 140726"/>
                      <a:gd name="connsiteY21" fmla="*/ 8851 h 60046"/>
                      <a:gd name="connsiteX22" fmla="*/ 44018 w 140726"/>
                      <a:gd name="connsiteY22" fmla="*/ 9749 h 60046"/>
                      <a:gd name="connsiteX23" fmla="*/ 44796 w 140726"/>
                      <a:gd name="connsiteY23" fmla="*/ 10048 h 60046"/>
                      <a:gd name="connsiteX24" fmla="*/ 47247 w 140726"/>
                      <a:gd name="connsiteY24" fmla="*/ 11363 h 60046"/>
                      <a:gd name="connsiteX25" fmla="*/ 49700 w 140726"/>
                      <a:gd name="connsiteY25" fmla="*/ 12679 h 60046"/>
                      <a:gd name="connsiteX26" fmla="*/ 52152 w 140726"/>
                      <a:gd name="connsiteY26" fmla="*/ 13995 h 60046"/>
                      <a:gd name="connsiteX27" fmla="*/ 54604 w 140726"/>
                      <a:gd name="connsiteY27" fmla="*/ 15311 h 60046"/>
                      <a:gd name="connsiteX28" fmla="*/ 57056 w 140726"/>
                      <a:gd name="connsiteY28" fmla="*/ 16626 h 60046"/>
                      <a:gd name="connsiteX29" fmla="*/ 59508 w 140726"/>
                      <a:gd name="connsiteY29" fmla="*/ 17942 h 60046"/>
                      <a:gd name="connsiteX30" fmla="*/ 60704 w 140726"/>
                      <a:gd name="connsiteY30" fmla="*/ 18600 h 60046"/>
                      <a:gd name="connsiteX31" fmla="*/ 63156 w 140726"/>
                      <a:gd name="connsiteY31" fmla="*/ 19916 h 60046"/>
                      <a:gd name="connsiteX32" fmla="*/ 65608 w 140726"/>
                      <a:gd name="connsiteY32" fmla="*/ 21231 h 60046"/>
                      <a:gd name="connsiteX33" fmla="*/ 66266 w 140726"/>
                      <a:gd name="connsiteY33" fmla="*/ 21590 h 60046"/>
                      <a:gd name="connsiteX34" fmla="*/ 68180 w 140726"/>
                      <a:gd name="connsiteY34" fmla="*/ 22667 h 60046"/>
                      <a:gd name="connsiteX35" fmla="*/ 68838 w 140726"/>
                      <a:gd name="connsiteY35" fmla="*/ 23026 h 60046"/>
                      <a:gd name="connsiteX36" fmla="*/ 71290 w 140726"/>
                      <a:gd name="connsiteY36" fmla="*/ 24342 h 60046"/>
                      <a:gd name="connsiteX37" fmla="*/ 71829 w 140726"/>
                      <a:gd name="connsiteY37" fmla="*/ 24641 h 60046"/>
                      <a:gd name="connsiteX38" fmla="*/ 74280 w 140726"/>
                      <a:gd name="connsiteY38" fmla="*/ 25956 h 60046"/>
                      <a:gd name="connsiteX39" fmla="*/ 76732 w 140726"/>
                      <a:gd name="connsiteY39" fmla="*/ 27332 h 60046"/>
                      <a:gd name="connsiteX40" fmla="*/ 79185 w 140726"/>
                      <a:gd name="connsiteY40" fmla="*/ 28648 h 60046"/>
                      <a:gd name="connsiteX41" fmla="*/ 81637 w 140726"/>
                      <a:gd name="connsiteY41" fmla="*/ 29963 h 60046"/>
                      <a:gd name="connsiteX42" fmla="*/ 83252 w 140726"/>
                      <a:gd name="connsiteY42" fmla="*/ 30860 h 60046"/>
                      <a:gd name="connsiteX43" fmla="*/ 85405 w 140726"/>
                      <a:gd name="connsiteY43" fmla="*/ 32057 h 60046"/>
                      <a:gd name="connsiteX44" fmla="*/ 88036 w 140726"/>
                      <a:gd name="connsiteY44" fmla="*/ 33013 h 60046"/>
                      <a:gd name="connsiteX45" fmla="*/ 90668 w 140726"/>
                      <a:gd name="connsiteY45" fmla="*/ 33970 h 60046"/>
                      <a:gd name="connsiteX46" fmla="*/ 90967 w 140726"/>
                      <a:gd name="connsiteY46" fmla="*/ 34090 h 60046"/>
                      <a:gd name="connsiteX47" fmla="*/ 93299 w 140726"/>
                      <a:gd name="connsiteY47" fmla="*/ 34927 h 60046"/>
                      <a:gd name="connsiteX48" fmla="*/ 95931 w 140726"/>
                      <a:gd name="connsiteY48" fmla="*/ 35884 h 60046"/>
                      <a:gd name="connsiteX49" fmla="*/ 98562 w 140726"/>
                      <a:gd name="connsiteY49" fmla="*/ 36841 h 60046"/>
                      <a:gd name="connsiteX50" fmla="*/ 101194 w 140726"/>
                      <a:gd name="connsiteY50" fmla="*/ 37798 h 60046"/>
                      <a:gd name="connsiteX51" fmla="*/ 103825 w 140726"/>
                      <a:gd name="connsiteY51" fmla="*/ 38755 h 60046"/>
                      <a:gd name="connsiteX52" fmla="*/ 106457 w 140726"/>
                      <a:gd name="connsiteY52" fmla="*/ 39712 h 60046"/>
                      <a:gd name="connsiteX53" fmla="*/ 109088 w 140726"/>
                      <a:gd name="connsiteY53" fmla="*/ 40669 h 60046"/>
                      <a:gd name="connsiteX54" fmla="*/ 111720 w 140726"/>
                      <a:gd name="connsiteY54" fmla="*/ 41626 h 60046"/>
                      <a:gd name="connsiteX55" fmla="*/ 114351 w 140726"/>
                      <a:gd name="connsiteY55" fmla="*/ 42583 h 60046"/>
                      <a:gd name="connsiteX56" fmla="*/ 116983 w 140726"/>
                      <a:gd name="connsiteY56" fmla="*/ 43539 h 60046"/>
                      <a:gd name="connsiteX57" fmla="*/ 119614 w 140726"/>
                      <a:gd name="connsiteY57" fmla="*/ 44497 h 60046"/>
                      <a:gd name="connsiteX58" fmla="*/ 120930 w 140726"/>
                      <a:gd name="connsiteY58" fmla="*/ 44975 h 60046"/>
                      <a:gd name="connsiteX59" fmla="*/ 123024 w 140726"/>
                      <a:gd name="connsiteY59" fmla="*/ 46889 h 60046"/>
                      <a:gd name="connsiteX60" fmla="*/ 125117 w 140726"/>
                      <a:gd name="connsiteY60" fmla="*/ 48803 h 60046"/>
                      <a:gd name="connsiteX61" fmla="*/ 125475 w 140726"/>
                      <a:gd name="connsiteY61" fmla="*/ 49161 h 60046"/>
                      <a:gd name="connsiteX62" fmla="*/ 126672 w 140726"/>
                      <a:gd name="connsiteY62" fmla="*/ 46829 h 60046"/>
                      <a:gd name="connsiteX63" fmla="*/ 129303 w 140726"/>
                      <a:gd name="connsiteY63" fmla="*/ 47786 h 60046"/>
                      <a:gd name="connsiteX64" fmla="*/ 131935 w 140726"/>
                      <a:gd name="connsiteY64" fmla="*/ 48743 h 60046"/>
                      <a:gd name="connsiteX65" fmla="*/ 133609 w 140726"/>
                      <a:gd name="connsiteY65" fmla="*/ 49341 h 60046"/>
                      <a:gd name="connsiteX66" fmla="*/ 135643 w 140726"/>
                      <a:gd name="connsiteY66" fmla="*/ 51255 h 60046"/>
                      <a:gd name="connsiteX67" fmla="*/ 137676 w 140726"/>
                      <a:gd name="connsiteY67" fmla="*/ 53169 h 60046"/>
                      <a:gd name="connsiteX68" fmla="*/ 139710 w 140726"/>
                      <a:gd name="connsiteY68" fmla="*/ 55082 h 60046"/>
                      <a:gd name="connsiteX69" fmla="*/ 140726 w 140726"/>
                      <a:gd name="connsiteY69" fmla="*/ 56039 h 60046"/>
                      <a:gd name="connsiteX70" fmla="*/ 140547 w 140726"/>
                      <a:gd name="connsiteY70" fmla="*/ 56458 h 60046"/>
                      <a:gd name="connsiteX71" fmla="*/ 139411 w 140726"/>
                      <a:gd name="connsiteY71" fmla="*/ 58671 h 60046"/>
                      <a:gd name="connsiteX72" fmla="*/ 138693 w 140726"/>
                      <a:gd name="connsiteY72" fmla="*/ 60046 h 60046"/>
                      <a:gd name="connsiteX73" fmla="*/ 137676 w 140726"/>
                      <a:gd name="connsiteY73" fmla="*/ 59687 h 60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40726" h="60046">
                        <a:moveTo>
                          <a:pt x="0" y="4246"/>
                        </a:moveTo>
                        <a:lnTo>
                          <a:pt x="1555" y="1196"/>
                        </a:lnTo>
                        <a:lnTo>
                          <a:pt x="1615" y="1017"/>
                        </a:lnTo>
                        <a:lnTo>
                          <a:pt x="4246" y="1914"/>
                        </a:lnTo>
                        <a:lnTo>
                          <a:pt x="6878" y="2811"/>
                        </a:lnTo>
                        <a:lnTo>
                          <a:pt x="8253" y="3289"/>
                        </a:lnTo>
                        <a:lnTo>
                          <a:pt x="11064" y="1974"/>
                        </a:lnTo>
                        <a:lnTo>
                          <a:pt x="13875" y="658"/>
                        </a:lnTo>
                        <a:lnTo>
                          <a:pt x="15311" y="0"/>
                        </a:lnTo>
                        <a:lnTo>
                          <a:pt x="17942" y="897"/>
                        </a:lnTo>
                        <a:lnTo>
                          <a:pt x="20574" y="1794"/>
                        </a:lnTo>
                        <a:lnTo>
                          <a:pt x="21471" y="2093"/>
                        </a:lnTo>
                        <a:lnTo>
                          <a:pt x="24102" y="2990"/>
                        </a:lnTo>
                        <a:lnTo>
                          <a:pt x="26734" y="3887"/>
                        </a:lnTo>
                        <a:lnTo>
                          <a:pt x="29365" y="4785"/>
                        </a:lnTo>
                        <a:lnTo>
                          <a:pt x="29425" y="4785"/>
                        </a:lnTo>
                        <a:lnTo>
                          <a:pt x="32057" y="5682"/>
                        </a:lnTo>
                        <a:lnTo>
                          <a:pt x="33432" y="6160"/>
                        </a:lnTo>
                        <a:lnTo>
                          <a:pt x="33492" y="6160"/>
                        </a:lnTo>
                        <a:lnTo>
                          <a:pt x="36123" y="7057"/>
                        </a:lnTo>
                        <a:lnTo>
                          <a:pt x="38755" y="7954"/>
                        </a:lnTo>
                        <a:lnTo>
                          <a:pt x="41386" y="8851"/>
                        </a:lnTo>
                        <a:lnTo>
                          <a:pt x="44018" y="9749"/>
                        </a:lnTo>
                        <a:lnTo>
                          <a:pt x="44796" y="10048"/>
                        </a:lnTo>
                        <a:lnTo>
                          <a:pt x="47247" y="11363"/>
                        </a:lnTo>
                        <a:lnTo>
                          <a:pt x="49700" y="12679"/>
                        </a:lnTo>
                        <a:lnTo>
                          <a:pt x="52152" y="13995"/>
                        </a:lnTo>
                        <a:lnTo>
                          <a:pt x="54604" y="15311"/>
                        </a:lnTo>
                        <a:lnTo>
                          <a:pt x="57056" y="16626"/>
                        </a:lnTo>
                        <a:lnTo>
                          <a:pt x="59508" y="17942"/>
                        </a:lnTo>
                        <a:lnTo>
                          <a:pt x="60704" y="18600"/>
                        </a:lnTo>
                        <a:lnTo>
                          <a:pt x="63156" y="19916"/>
                        </a:lnTo>
                        <a:lnTo>
                          <a:pt x="65608" y="21231"/>
                        </a:lnTo>
                        <a:lnTo>
                          <a:pt x="66266" y="21590"/>
                        </a:lnTo>
                        <a:lnTo>
                          <a:pt x="68180" y="22667"/>
                        </a:lnTo>
                        <a:lnTo>
                          <a:pt x="68838" y="23026"/>
                        </a:lnTo>
                        <a:lnTo>
                          <a:pt x="71290" y="24342"/>
                        </a:lnTo>
                        <a:lnTo>
                          <a:pt x="71829" y="24641"/>
                        </a:lnTo>
                        <a:lnTo>
                          <a:pt x="74280" y="25956"/>
                        </a:lnTo>
                        <a:lnTo>
                          <a:pt x="76732" y="27332"/>
                        </a:lnTo>
                        <a:lnTo>
                          <a:pt x="79185" y="28648"/>
                        </a:lnTo>
                        <a:lnTo>
                          <a:pt x="81637" y="29963"/>
                        </a:lnTo>
                        <a:lnTo>
                          <a:pt x="83252" y="30860"/>
                        </a:lnTo>
                        <a:lnTo>
                          <a:pt x="85405" y="32057"/>
                        </a:lnTo>
                        <a:lnTo>
                          <a:pt x="88036" y="33013"/>
                        </a:lnTo>
                        <a:lnTo>
                          <a:pt x="90668" y="33970"/>
                        </a:lnTo>
                        <a:lnTo>
                          <a:pt x="90967" y="34090"/>
                        </a:lnTo>
                        <a:lnTo>
                          <a:pt x="93299" y="34927"/>
                        </a:lnTo>
                        <a:lnTo>
                          <a:pt x="95931" y="35884"/>
                        </a:lnTo>
                        <a:lnTo>
                          <a:pt x="98562" y="36841"/>
                        </a:lnTo>
                        <a:lnTo>
                          <a:pt x="101194" y="37798"/>
                        </a:lnTo>
                        <a:lnTo>
                          <a:pt x="103825" y="38755"/>
                        </a:lnTo>
                        <a:lnTo>
                          <a:pt x="106457" y="39712"/>
                        </a:lnTo>
                        <a:lnTo>
                          <a:pt x="109088" y="40669"/>
                        </a:lnTo>
                        <a:lnTo>
                          <a:pt x="111720" y="41626"/>
                        </a:lnTo>
                        <a:lnTo>
                          <a:pt x="114351" y="42583"/>
                        </a:lnTo>
                        <a:lnTo>
                          <a:pt x="116983" y="43539"/>
                        </a:lnTo>
                        <a:lnTo>
                          <a:pt x="119614" y="44497"/>
                        </a:lnTo>
                        <a:lnTo>
                          <a:pt x="120930" y="44975"/>
                        </a:lnTo>
                        <a:lnTo>
                          <a:pt x="123024" y="46889"/>
                        </a:lnTo>
                        <a:lnTo>
                          <a:pt x="125117" y="48803"/>
                        </a:lnTo>
                        <a:lnTo>
                          <a:pt x="125475" y="49161"/>
                        </a:lnTo>
                        <a:lnTo>
                          <a:pt x="126672" y="46829"/>
                        </a:lnTo>
                        <a:lnTo>
                          <a:pt x="129303" y="47786"/>
                        </a:lnTo>
                        <a:lnTo>
                          <a:pt x="131935" y="48743"/>
                        </a:lnTo>
                        <a:lnTo>
                          <a:pt x="133609" y="49341"/>
                        </a:lnTo>
                        <a:lnTo>
                          <a:pt x="135643" y="51255"/>
                        </a:lnTo>
                        <a:lnTo>
                          <a:pt x="137676" y="53169"/>
                        </a:lnTo>
                        <a:lnTo>
                          <a:pt x="139710" y="55082"/>
                        </a:lnTo>
                        <a:lnTo>
                          <a:pt x="140726" y="56039"/>
                        </a:lnTo>
                        <a:lnTo>
                          <a:pt x="140547" y="56458"/>
                        </a:lnTo>
                        <a:lnTo>
                          <a:pt x="139411" y="58671"/>
                        </a:lnTo>
                        <a:lnTo>
                          <a:pt x="138693" y="60046"/>
                        </a:lnTo>
                        <a:lnTo>
                          <a:pt x="137676" y="59687"/>
                        </a:lnTo>
                      </a:path>
                    </a:pathLst>
                  </a:custGeom>
                  <a:noFill/>
                  <a:ln w="6350" cap="flat">
                    <a:solidFill>
                      <a:schemeClr val="bg1">
                        <a:alpha val="40000"/>
                      </a:schemeClr>
                    </a:solidFill>
                    <a:prstDash val="solid"/>
                    <a:miter/>
                  </a:ln>
                </p:spPr>
                <p:txBody>
                  <a:bodyPr rtlCol="0" anchor="ctr"/>
                  <a:lstStyle/>
                  <a:p>
                    <a:endParaRPr lang="en-GB"/>
                  </a:p>
                </p:txBody>
              </p:sp>
              <p:sp>
                <p:nvSpPr>
                  <p:cNvPr id="7822" name="Vrije vorm: vorm 7821">
                    <a:extLst>
                      <a:ext uri="{FF2B5EF4-FFF2-40B4-BE49-F238E27FC236}">
                        <a16:creationId xmlns:a16="http://schemas.microsoft.com/office/drawing/2014/main" id="{1A131D04-C2B7-489F-AB11-CA707F228CC9}"/>
                      </a:ext>
                    </a:extLst>
                  </p:cNvPr>
                  <p:cNvSpPr/>
                  <p:nvPr/>
                </p:nvSpPr>
                <p:spPr>
                  <a:xfrm>
                    <a:off x="5749646" y="5103748"/>
                    <a:ext cx="67761" cy="32834"/>
                  </a:xfrm>
                  <a:custGeom>
                    <a:avLst/>
                    <a:gdLst>
                      <a:gd name="connsiteX0" fmla="*/ 0 w 67761"/>
                      <a:gd name="connsiteY0" fmla="*/ 0 h 32834"/>
                      <a:gd name="connsiteX1" fmla="*/ 2811 w 67761"/>
                      <a:gd name="connsiteY1" fmla="*/ 299 h 32834"/>
                      <a:gd name="connsiteX2" fmla="*/ 4725 w 67761"/>
                      <a:gd name="connsiteY2" fmla="*/ 479 h 32834"/>
                      <a:gd name="connsiteX3" fmla="*/ 7416 w 67761"/>
                      <a:gd name="connsiteY3" fmla="*/ 1196 h 32834"/>
                      <a:gd name="connsiteX4" fmla="*/ 7536 w 67761"/>
                      <a:gd name="connsiteY4" fmla="*/ 1196 h 32834"/>
                      <a:gd name="connsiteX5" fmla="*/ 7596 w 67761"/>
                      <a:gd name="connsiteY5" fmla="*/ 1196 h 32834"/>
                      <a:gd name="connsiteX6" fmla="*/ 10287 w 67761"/>
                      <a:gd name="connsiteY6" fmla="*/ 1914 h 32834"/>
                      <a:gd name="connsiteX7" fmla="*/ 11364 w 67761"/>
                      <a:gd name="connsiteY7" fmla="*/ 2213 h 32834"/>
                      <a:gd name="connsiteX8" fmla="*/ 11782 w 67761"/>
                      <a:gd name="connsiteY8" fmla="*/ 2333 h 32834"/>
                      <a:gd name="connsiteX9" fmla="*/ 14414 w 67761"/>
                      <a:gd name="connsiteY9" fmla="*/ 3290 h 32834"/>
                      <a:gd name="connsiteX10" fmla="*/ 17045 w 67761"/>
                      <a:gd name="connsiteY10" fmla="*/ 4246 h 32834"/>
                      <a:gd name="connsiteX11" fmla="*/ 19677 w 67761"/>
                      <a:gd name="connsiteY11" fmla="*/ 5204 h 32834"/>
                      <a:gd name="connsiteX12" fmla="*/ 20753 w 67761"/>
                      <a:gd name="connsiteY12" fmla="*/ 5622 h 32834"/>
                      <a:gd name="connsiteX13" fmla="*/ 23265 w 67761"/>
                      <a:gd name="connsiteY13" fmla="*/ 6758 h 32834"/>
                      <a:gd name="connsiteX14" fmla="*/ 25777 w 67761"/>
                      <a:gd name="connsiteY14" fmla="*/ 7895 h 32834"/>
                      <a:gd name="connsiteX15" fmla="*/ 28289 w 67761"/>
                      <a:gd name="connsiteY15" fmla="*/ 9031 h 32834"/>
                      <a:gd name="connsiteX16" fmla="*/ 30741 w 67761"/>
                      <a:gd name="connsiteY16" fmla="*/ 10107 h 32834"/>
                      <a:gd name="connsiteX17" fmla="*/ 33193 w 67761"/>
                      <a:gd name="connsiteY17" fmla="*/ 11364 h 32834"/>
                      <a:gd name="connsiteX18" fmla="*/ 35645 w 67761"/>
                      <a:gd name="connsiteY18" fmla="*/ 12620 h 32834"/>
                      <a:gd name="connsiteX19" fmla="*/ 36184 w 67761"/>
                      <a:gd name="connsiteY19" fmla="*/ 12859 h 32834"/>
                      <a:gd name="connsiteX20" fmla="*/ 38636 w 67761"/>
                      <a:gd name="connsiteY20" fmla="*/ 14115 h 32834"/>
                      <a:gd name="connsiteX21" fmla="*/ 41147 w 67761"/>
                      <a:gd name="connsiteY21" fmla="*/ 15370 h 32834"/>
                      <a:gd name="connsiteX22" fmla="*/ 41207 w 67761"/>
                      <a:gd name="connsiteY22" fmla="*/ 15370 h 32834"/>
                      <a:gd name="connsiteX23" fmla="*/ 43600 w 67761"/>
                      <a:gd name="connsiteY23" fmla="*/ 16746 h 32834"/>
                      <a:gd name="connsiteX24" fmla="*/ 45992 w 67761"/>
                      <a:gd name="connsiteY24" fmla="*/ 18122 h 32834"/>
                      <a:gd name="connsiteX25" fmla="*/ 46351 w 67761"/>
                      <a:gd name="connsiteY25" fmla="*/ 18301 h 32834"/>
                      <a:gd name="connsiteX26" fmla="*/ 46650 w 67761"/>
                      <a:gd name="connsiteY26" fmla="*/ 18481 h 32834"/>
                      <a:gd name="connsiteX27" fmla="*/ 47308 w 67761"/>
                      <a:gd name="connsiteY27" fmla="*/ 18839 h 32834"/>
                      <a:gd name="connsiteX28" fmla="*/ 49700 w 67761"/>
                      <a:gd name="connsiteY28" fmla="*/ 20215 h 32834"/>
                      <a:gd name="connsiteX29" fmla="*/ 50597 w 67761"/>
                      <a:gd name="connsiteY29" fmla="*/ 20693 h 32834"/>
                      <a:gd name="connsiteX30" fmla="*/ 51016 w 67761"/>
                      <a:gd name="connsiteY30" fmla="*/ 20933 h 32834"/>
                      <a:gd name="connsiteX31" fmla="*/ 53348 w 67761"/>
                      <a:gd name="connsiteY31" fmla="*/ 22428 h 32834"/>
                      <a:gd name="connsiteX32" fmla="*/ 55681 w 67761"/>
                      <a:gd name="connsiteY32" fmla="*/ 23923 h 32834"/>
                      <a:gd name="connsiteX33" fmla="*/ 58013 w 67761"/>
                      <a:gd name="connsiteY33" fmla="*/ 25418 h 32834"/>
                      <a:gd name="connsiteX34" fmla="*/ 59568 w 67761"/>
                      <a:gd name="connsiteY34" fmla="*/ 26375 h 32834"/>
                      <a:gd name="connsiteX35" fmla="*/ 61781 w 67761"/>
                      <a:gd name="connsiteY35" fmla="*/ 27990 h 32834"/>
                      <a:gd name="connsiteX36" fmla="*/ 63994 w 67761"/>
                      <a:gd name="connsiteY36" fmla="*/ 29665 h 32834"/>
                      <a:gd name="connsiteX37" fmla="*/ 64293 w 67761"/>
                      <a:gd name="connsiteY37" fmla="*/ 29904 h 32834"/>
                      <a:gd name="connsiteX38" fmla="*/ 66147 w 67761"/>
                      <a:gd name="connsiteY38" fmla="*/ 31279 h 32834"/>
                      <a:gd name="connsiteX39" fmla="*/ 67762 w 67761"/>
                      <a:gd name="connsiteY39" fmla="*/ 32834 h 3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7761" h="32834">
                        <a:moveTo>
                          <a:pt x="0" y="0"/>
                        </a:moveTo>
                        <a:lnTo>
                          <a:pt x="2811" y="299"/>
                        </a:lnTo>
                        <a:lnTo>
                          <a:pt x="4725" y="479"/>
                        </a:lnTo>
                        <a:lnTo>
                          <a:pt x="7416" y="1196"/>
                        </a:lnTo>
                        <a:lnTo>
                          <a:pt x="7536" y="1196"/>
                        </a:lnTo>
                        <a:lnTo>
                          <a:pt x="7596" y="1196"/>
                        </a:lnTo>
                        <a:lnTo>
                          <a:pt x="10287" y="1914"/>
                        </a:lnTo>
                        <a:lnTo>
                          <a:pt x="11364" y="2213"/>
                        </a:lnTo>
                        <a:lnTo>
                          <a:pt x="11782" y="2333"/>
                        </a:lnTo>
                        <a:lnTo>
                          <a:pt x="14414" y="3290"/>
                        </a:lnTo>
                        <a:lnTo>
                          <a:pt x="17045" y="4246"/>
                        </a:lnTo>
                        <a:lnTo>
                          <a:pt x="19677" y="5204"/>
                        </a:lnTo>
                        <a:lnTo>
                          <a:pt x="20753" y="5622"/>
                        </a:lnTo>
                        <a:lnTo>
                          <a:pt x="23265" y="6758"/>
                        </a:lnTo>
                        <a:lnTo>
                          <a:pt x="25777" y="7895"/>
                        </a:lnTo>
                        <a:lnTo>
                          <a:pt x="28289" y="9031"/>
                        </a:lnTo>
                        <a:lnTo>
                          <a:pt x="30741" y="10107"/>
                        </a:lnTo>
                        <a:lnTo>
                          <a:pt x="33193" y="11364"/>
                        </a:lnTo>
                        <a:lnTo>
                          <a:pt x="35645" y="12620"/>
                        </a:lnTo>
                        <a:lnTo>
                          <a:pt x="36184" y="12859"/>
                        </a:lnTo>
                        <a:lnTo>
                          <a:pt x="38636" y="14115"/>
                        </a:lnTo>
                        <a:lnTo>
                          <a:pt x="41147" y="15370"/>
                        </a:lnTo>
                        <a:lnTo>
                          <a:pt x="41207" y="15370"/>
                        </a:lnTo>
                        <a:lnTo>
                          <a:pt x="43600" y="16746"/>
                        </a:lnTo>
                        <a:lnTo>
                          <a:pt x="45992" y="18122"/>
                        </a:lnTo>
                        <a:lnTo>
                          <a:pt x="46351" y="18301"/>
                        </a:lnTo>
                        <a:lnTo>
                          <a:pt x="46650" y="18481"/>
                        </a:lnTo>
                        <a:lnTo>
                          <a:pt x="47308" y="18839"/>
                        </a:lnTo>
                        <a:lnTo>
                          <a:pt x="49700" y="20215"/>
                        </a:lnTo>
                        <a:lnTo>
                          <a:pt x="50597" y="20693"/>
                        </a:lnTo>
                        <a:lnTo>
                          <a:pt x="51016" y="20933"/>
                        </a:lnTo>
                        <a:lnTo>
                          <a:pt x="53348" y="22428"/>
                        </a:lnTo>
                        <a:lnTo>
                          <a:pt x="55681" y="23923"/>
                        </a:lnTo>
                        <a:lnTo>
                          <a:pt x="58013" y="25418"/>
                        </a:lnTo>
                        <a:lnTo>
                          <a:pt x="59568" y="26375"/>
                        </a:lnTo>
                        <a:lnTo>
                          <a:pt x="61781" y="27990"/>
                        </a:lnTo>
                        <a:lnTo>
                          <a:pt x="63994" y="29665"/>
                        </a:lnTo>
                        <a:lnTo>
                          <a:pt x="64293" y="29904"/>
                        </a:lnTo>
                        <a:lnTo>
                          <a:pt x="66147" y="31279"/>
                        </a:lnTo>
                        <a:lnTo>
                          <a:pt x="67762" y="32834"/>
                        </a:lnTo>
                      </a:path>
                    </a:pathLst>
                  </a:custGeom>
                  <a:noFill/>
                  <a:ln w="6350" cap="flat">
                    <a:solidFill>
                      <a:schemeClr val="bg1">
                        <a:alpha val="40000"/>
                      </a:schemeClr>
                    </a:solidFill>
                    <a:prstDash val="solid"/>
                    <a:miter/>
                  </a:ln>
                </p:spPr>
                <p:txBody>
                  <a:bodyPr rtlCol="0" anchor="ctr"/>
                  <a:lstStyle/>
                  <a:p>
                    <a:endParaRPr lang="en-GB"/>
                  </a:p>
                </p:txBody>
              </p:sp>
              <p:sp>
                <p:nvSpPr>
                  <p:cNvPr id="7823" name="Vrije vorm: vorm 7822">
                    <a:extLst>
                      <a:ext uri="{FF2B5EF4-FFF2-40B4-BE49-F238E27FC236}">
                        <a16:creationId xmlns:a16="http://schemas.microsoft.com/office/drawing/2014/main" id="{7B451A89-8C02-419C-B839-B2F7C44DD54E}"/>
                      </a:ext>
                    </a:extLst>
                  </p:cNvPr>
                  <p:cNvSpPr/>
                  <p:nvPr/>
                </p:nvSpPr>
                <p:spPr>
                  <a:xfrm>
                    <a:off x="5805566" y="5150817"/>
                    <a:ext cx="28528" cy="10765"/>
                  </a:xfrm>
                  <a:custGeom>
                    <a:avLst/>
                    <a:gdLst>
                      <a:gd name="connsiteX0" fmla="*/ 28528 w 28528"/>
                      <a:gd name="connsiteY0" fmla="*/ 10765 h 10765"/>
                      <a:gd name="connsiteX1" fmla="*/ 25956 w 28528"/>
                      <a:gd name="connsiteY1" fmla="*/ 9748 h 10765"/>
                      <a:gd name="connsiteX2" fmla="*/ 23384 w 28528"/>
                      <a:gd name="connsiteY2" fmla="*/ 8732 h 10765"/>
                      <a:gd name="connsiteX3" fmla="*/ 20813 w 28528"/>
                      <a:gd name="connsiteY3" fmla="*/ 7715 h 10765"/>
                      <a:gd name="connsiteX4" fmla="*/ 18241 w 28528"/>
                      <a:gd name="connsiteY4" fmla="*/ 6698 h 10765"/>
                      <a:gd name="connsiteX5" fmla="*/ 15669 w 28528"/>
                      <a:gd name="connsiteY5" fmla="*/ 5681 h 10765"/>
                      <a:gd name="connsiteX6" fmla="*/ 13098 w 28528"/>
                      <a:gd name="connsiteY6" fmla="*/ 4665 h 10765"/>
                      <a:gd name="connsiteX7" fmla="*/ 10526 w 28528"/>
                      <a:gd name="connsiteY7" fmla="*/ 3648 h 10765"/>
                      <a:gd name="connsiteX8" fmla="*/ 7954 w 28528"/>
                      <a:gd name="connsiteY8" fmla="*/ 2632 h 10765"/>
                      <a:gd name="connsiteX9" fmla="*/ 5382 w 28528"/>
                      <a:gd name="connsiteY9" fmla="*/ 1615 h 10765"/>
                      <a:gd name="connsiteX10" fmla="*/ 2811 w 28528"/>
                      <a:gd name="connsiteY10" fmla="*/ 598 h 10765"/>
                      <a:gd name="connsiteX11" fmla="*/ 1136 w 28528"/>
                      <a:gd name="connsiteY11" fmla="*/ 0 h 10765"/>
                      <a:gd name="connsiteX12" fmla="*/ 0 w 28528"/>
                      <a:gd name="connsiteY12" fmla="*/ 1495 h 1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28" h="10765">
                        <a:moveTo>
                          <a:pt x="28528" y="10765"/>
                        </a:moveTo>
                        <a:lnTo>
                          <a:pt x="25956" y="9748"/>
                        </a:lnTo>
                        <a:lnTo>
                          <a:pt x="23384" y="8732"/>
                        </a:lnTo>
                        <a:lnTo>
                          <a:pt x="20813" y="7715"/>
                        </a:lnTo>
                        <a:lnTo>
                          <a:pt x="18241" y="6698"/>
                        </a:lnTo>
                        <a:lnTo>
                          <a:pt x="15669" y="5681"/>
                        </a:lnTo>
                        <a:lnTo>
                          <a:pt x="13098" y="4665"/>
                        </a:lnTo>
                        <a:lnTo>
                          <a:pt x="10526" y="3648"/>
                        </a:lnTo>
                        <a:lnTo>
                          <a:pt x="7954" y="2632"/>
                        </a:lnTo>
                        <a:lnTo>
                          <a:pt x="5382" y="1615"/>
                        </a:lnTo>
                        <a:lnTo>
                          <a:pt x="2811" y="598"/>
                        </a:lnTo>
                        <a:lnTo>
                          <a:pt x="1136" y="0"/>
                        </a:lnTo>
                        <a:lnTo>
                          <a:pt x="0" y="1495"/>
                        </a:lnTo>
                      </a:path>
                    </a:pathLst>
                  </a:custGeom>
                  <a:noFill/>
                  <a:ln w="6350" cap="flat">
                    <a:solidFill>
                      <a:schemeClr val="bg1">
                        <a:alpha val="40000"/>
                      </a:schemeClr>
                    </a:solidFill>
                    <a:prstDash val="solid"/>
                    <a:miter/>
                  </a:ln>
                </p:spPr>
                <p:txBody>
                  <a:bodyPr rtlCol="0" anchor="ctr"/>
                  <a:lstStyle/>
                  <a:p>
                    <a:endParaRPr lang="en-GB"/>
                  </a:p>
                </p:txBody>
              </p:sp>
              <p:sp>
                <p:nvSpPr>
                  <p:cNvPr id="7824" name="Vrije vorm: vorm 7823">
                    <a:extLst>
                      <a:ext uri="{FF2B5EF4-FFF2-40B4-BE49-F238E27FC236}">
                        <a16:creationId xmlns:a16="http://schemas.microsoft.com/office/drawing/2014/main" id="{3EA1BB84-5EB3-48D2-A16C-0C5D2A3B4F9F}"/>
                      </a:ext>
                    </a:extLst>
                  </p:cNvPr>
                  <p:cNvSpPr/>
                  <p:nvPr/>
                </p:nvSpPr>
                <p:spPr>
                  <a:xfrm>
                    <a:off x="5794322" y="5140470"/>
                    <a:ext cx="8313" cy="6519"/>
                  </a:xfrm>
                  <a:custGeom>
                    <a:avLst/>
                    <a:gdLst>
                      <a:gd name="connsiteX0" fmla="*/ 0 w 8313"/>
                      <a:gd name="connsiteY0" fmla="*/ 0 h 6519"/>
                      <a:gd name="connsiteX1" fmla="*/ 2213 w 8313"/>
                      <a:gd name="connsiteY1" fmla="*/ 1735 h 6519"/>
                      <a:gd name="connsiteX2" fmla="*/ 4426 w 8313"/>
                      <a:gd name="connsiteY2" fmla="*/ 3469 h 6519"/>
                      <a:gd name="connsiteX3" fmla="*/ 6639 w 8313"/>
                      <a:gd name="connsiteY3" fmla="*/ 5203 h 6519"/>
                      <a:gd name="connsiteX4" fmla="*/ 8313 w 8313"/>
                      <a:gd name="connsiteY4" fmla="*/ 6519 h 6519"/>
                      <a:gd name="connsiteX5" fmla="*/ 8313 w 8313"/>
                      <a:gd name="connsiteY5" fmla="*/ 6519 h 6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13" h="6519">
                        <a:moveTo>
                          <a:pt x="0" y="0"/>
                        </a:moveTo>
                        <a:lnTo>
                          <a:pt x="2213" y="1735"/>
                        </a:lnTo>
                        <a:lnTo>
                          <a:pt x="4426" y="3469"/>
                        </a:lnTo>
                        <a:lnTo>
                          <a:pt x="6639" y="5203"/>
                        </a:lnTo>
                        <a:lnTo>
                          <a:pt x="8313" y="6519"/>
                        </a:lnTo>
                        <a:lnTo>
                          <a:pt x="8313" y="6519"/>
                        </a:lnTo>
                      </a:path>
                    </a:pathLst>
                  </a:custGeom>
                  <a:noFill/>
                  <a:ln w="6350" cap="flat">
                    <a:solidFill>
                      <a:schemeClr val="bg1">
                        <a:alpha val="40000"/>
                      </a:schemeClr>
                    </a:solidFill>
                    <a:prstDash val="solid"/>
                    <a:miter/>
                  </a:ln>
                </p:spPr>
                <p:txBody>
                  <a:bodyPr rtlCol="0" anchor="ctr"/>
                  <a:lstStyle/>
                  <a:p>
                    <a:endParaRPr lang="en-GB"/>
                  </a:p>
                </p:txBody>
              </p:sp>
              <p:sp>
                <p:nvSpPr>
                  <p:cNvPr id="7825" name="Vrije vorm: vorm 7824">
                    <a:extLst>
                      <a:ext uri="{FF2B5EF4-FFF2-40B4-BE49-F238E27FC236}">
                        <a16:creationId xmlns:a16="http://schemas.microsoft.com/office/drawing/2014/main" id="{C7F411F5-50BD-461B-BAA3-371F3426EA09}"/>
                      </a:ext>
                    </a:extLst>
                  </p:cNvPr>
                  <p:cNvSpPr/>
                  <p:nvPr/>
                </p:nvSpPr>
                <p:spPr>
                  <a:xfrm>
                    <a:off x="5726740" y="5105662"/>
                    <a:ext cx="19736" cy="8134"/>
                  </a:xfrm>
                  <a:custGeom>
                    <a:avLst/>
                    <a:gdLst>
                      <a:gd name="connsiteX0" fmla="*/ 7835 w 19736"/>
                      <a:gd name="connsiteY0" fmla="*/ 8134 h 8134"/>
                      <a:gd name="connsiteX1" fmla="*/ 5562 w 19736"/>
                      <a:gd name="connsiteY1" fmla="*/ 6459 h 8134"/>
                      <a:gd name="connsiteX2" fmla="*/ 3289 w 19736"/>
                      <a:gd name="connsiteY2" fmla="*/ 4785 h 8134"/>
                      <a:gd name="connsiteX3" fmla="*/ 2213 w 19736"/>
                      <a:gd name="connsiteY3" fmla="*/ 4007 h 8134"/>
                      <a:gd name="connsiteX4" fmla="*/ 598 w 19736"/>
                      <a:gd name="connsiteY4" fmla="*/ 1615 h 8134"/>
                      <a:gd name="connsiteX5" fmla="*/ 0 w 19736"/>
                      <a:gd name="connsiteY5" fmla="*/ 718 h 8134"/>
                      <a:gd name="connsiteX6" fmla="*/ 2632 w 19736"/>
                      <a:gd name="connsiteY6" fmla="*/ 1675 h 8134"/>
                      <a:gd name="connsiteX7" fmla="*/ 5263 w 19736"/>
                      <a:gd name="connsiteY7" fmla="*/ 2632 h 8134"/>
                      <a:gd name="connsiteX8" fmla="*/ 6639 w 19736"/>
                      <a:gd name="connsiteY8" fmla="*/ 3110 h 8134"/>
                      <a:gd name="connsiteX9" fmla="*/ 8194 w 19736"/>
                      <a:gd name="connsiteY9" fmla="*/ 2392 h 8134"/>
                      <a:gd name="connsiteX10" fmla="*/ 11064 w 19736"/>
                      <a:gd name="connsiteY10" fmla="*/ 1136 h 8134"/>
                      <a:gd name="connsiteX11" fmla="*/ 13636 w 19736"/>
                      <a:gd name="connsiteY11" fmla="*/ 0 h 8134"/>
                      <a:gd name="connsiteX12" fmla="*/ 14712 w 19736"/>
                      <a:gd name="connsiteY12" fmla="*/ 359 h 8134"/>
                      <a:gd name="connsiteX13" fmla="*/ 17344 w 19736"/>
                      <a:gd name="connsiteY13" fmla="*/ 1256 h 8134"/>
                      <a:gd name="connsiteX14" fmla="*/ 19258 w 19736"/>
                      <a:gd name="connsiteY14" fmla="*/ 1914 h 8134"/>
                      <a:gd name="connsiteX15" fmla="*/ 19497 w 19736"/>
                      <a:gd name="connsiteY15" fmla="*/ 2034 h 8134"/>
                      <a:gd name="connsiteX16" fmla="*/ 19736 w 19736"/>
                      <a:gd name="connsiteY16" fmla="*/ 2153 h 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736" h="8134">
                        <a:moveTo>
                          <a:pt x="7835" y="8134"/>
                        </a:moveTo>
                        <a:lnTo>
                          <a:pt x="5562" y="6459"/>
                        </a:lnTo>
                        <a:lnTo>
                          <a:pt x="3289" y="4785"/>
                        </a:lnTo>
                        <a:lnTo>
                          <a:pt x="2213" y="4007"/>
                        </a:lnTo>
                        <a:lnTo>
                          <a:pt x="598" y="1615"/>
                        </a:lnTo>
                        <a:lnTo>
                          <a:pt x="0" y="718"/>
                        </a:lnTo>
                        <a:lnTo>
                          <a:pt x="2632" y="1675"/>
                        </a:lnTo>
                        <a:lnTo>
                          <a:pt x="5263" y="2632"/>
                        </a:lnTo>
                        <a:lnTo>
                          <a:pt x="6639" y="3110"/>
                        </a:lnTo>
                        <a:lnTo>
                          <a:pt x="8194" y="2392"/>
                        </a:lnTo>
                        <a:lnTo>
                          <a:pt x="11064" y="1136"/>
                        </a:lnTo>
                        <a:lnTo>
                          <a:pt x="13636" y="0"/>
                        </a:lnTo>
                        <a:lnTo>
                          <a:pt x="14712" y="359"/>
                        </a:lnTo>
                        <a:lnTo>
                          <a:pt x="17344" y="1256"/>
                        </a:lnTo>
                        <a:lnTo>
                          <a:pt x="19258" y="1914"/>
                        </a:lnTo>
                        <a:lnTo>
                          <a:pt x="19497" y="2034"/>
                        </a:lnTo>
                        <a:lnTo>
                          <a:pt x="19736" y="2153"/>
                        </a:lnTo>
                      </a:path>
                    </a:pathLst>
                  </a:custGeom>
                  <a:noFill/>
                  <a:ln w="6350" cap="flat">
                    <a:solidFill>
                      <a:schemeClr val="bg1">
                        <a:alpha val="40000"/>
                      </a:schemeClr>
                    </a:solidFill>
                    <a:prstDash val="solid"/>
                    <a:miter/>
                  </a:ln>
                </p:spPr>
                <p:txBody>
                  <a:bodyPr rtlCol="0" anchor="ctr"/>
                  <a:lstStyle/>
                  <a:p>
                    <a:endParaRPr lang="en-GB"/>
                  </a:p>
                </p:txBody>
              </p:sp>
              <p:sp>
                <p:nvSpPr>
                  <p:cNvPr id="7826" name="Vrije vorm: vorm 7825">
                    <a:extLst>
                      <a:ext uri="{FF2B5EF4-FFF2-40B4-BE49-F238E27FC236}">
                        <a16:creationId xmlns:a16="http://schemas.microsoft.com/office/drawing/2014/main" id="{383D173D-052F-40C2-9C67-267BC962D185}"/>
                      </a:ext>
                    </a:extLst>
                  </p:cNvPr>
                  <p:cNvSpPr/>
                  <p:nvPr/>
                </p:nvSpPr>
                <p:spPr>
                  <a:xfrm>
                    <a:off x="5769802" y="5116009"/>
                    <a:ext cx="80799" cy="38754"/>
                  </a:xfrm>
                  <a:custGeom>
                    <a:avLst/>
                    <a:gdLst>
                      <a:gd name="connsiteX0" fmla="*/ 0 w 80799"/>
                      <a:gd name="connsiteY0" fmla="*/ 0 h 38754"/>
                      <a:gd name="connsiteX1" fmla="*/ 2452 w 80799"/>
                      <a:gd name="connsiteY1" fmla="*/ 1316 h 38754"/>
                      <a:gd name="connsiteX2" fmla="*/ 4904 w 80799"/>
                      <a:gd name="connsiteY2" fmla="*/ 2632 h 38754"/>
                      <a:gd name="connsiteX3" fmla="*/ 7356 w 80799"/>
                      <a:gd name="connsiteY3" fmla="*/ 3947 h 38754"/>
                      <a:gd name="connsiteX4" fmla="*/ 9808 w 80799"/>
                      <a:gd name="connsiteY4" fmla="*/ 5263 h 38754"/>
                      <a:gd name="connsiteX5" fmla="*/ 12260 w 80799"/>
                      <a:gd name="connsiteY5" fmla="*/ 6579 h 38754"/>
                      <a:gd name="connsiteX6" fmla="*/ 14712 w 80799"/>
                      <a:gd name="connsiteY6" fmla="*/ 7895 h 38754"/>
                      <a:gd name="connsiteX7" fmla="*/ 17165 w 80799"/>
                      <a:gd name="connsiteY7" fmla="*/ 9210 h 38754"/>
                      <a:gd name="connsiteX8" fmla="*/ 19617 w 80799"/>
                      <a:gd name="connsiteY8" fmla="*/ 10526 h 38754"/>
                      <a:gd name="connsiteX9" fmla="*/ 22069 w 80799"/>
                      <a:gd name="connsiteY9" fmla="*/ 11842 h 38754"/>
                      <a:gd name="connsiteX10" fmla="*/ 24521 w 80799"/>
                      <a:gd name="connsiteY10" fmla="*/ 13157 h 38754"/>
                      <a:gd name="connsiteX11" fmla="*/ 26973 w 80799"/>
                      <a:gd name="connsiteY11" fmla="*/ 14473 h 38754"/>
                      <a:gd name="connsiteX12" fmla="*/ 29425 w 80799"/>
                      <a:gd name="connsiteY12" fmla="*/ 15789 h 38754"/>
                      <a:gd name="connsiteX13" fmla="*/ 31877 w 80799"/>
                      <a:gd name="connsiteY13" fmla="*/ 17105 h 38754"/>
                      <a:gd name="connsiteX14" fmla="*/ 34329 w 80799"/>
                      <a:gd name="connsiteY14" fmla="*/ 18420 h 38754"/>
                      <a:gd name="connsiteX15" fmla="*/ 36781 w 80799"/>
                      <a:gd name="connsiteY15" fmla="*/ 19736 h 38754"/>
                      <a:gd name="connsiteX16" fmla="*/ 39234 w 80799"/>
                      <a:gd name="connsiteY16" fmla="*/ 21052 h 38754"/>
                      <a:gd name="connsiteX17" fmla="*/ 40788 w 80799"/>
                      <a:gd name="connsiteY17" fmla="*/ 21889 h 38754"/>
                      <a:gd name="connsiteX18" fmla="*/ 43121 w 80799"/>
                      <a:gd name="connsiteY18" fmla="*/ 22727 h 38754"/>
                      <a:gd name="connsiteX19" fmla="*/ 43659 w 80799"/>
                      <a:gd name="connsiteY19" fmla="*/ 22906 h 38754"/>
                      <a:gd name="connsiteX20" fmla="*/ 46291 w 80799"/>
                      <a:gd name="connsiteY20" fmla="*/ 23863 h 38754"/>
                      <a:gd name="connsiteX21" fmla="*/ 48922 w 80799"/>
                      <a:gd name="connsiteY21" fmla="*/ 24820 h 38754"/>
                      <a:gd name="connsiteX22" fmla="*/ 51554 w 80799"/>
                      <a:gd name="connsiteY22" fmla="*/ 25777 h 38754"/>
                      <a:gd name="connsiteX23" fmla="*/ 51972 w 80799"/>
                      <a:gd name="connsiteY23" fmla="*/ 25956 h 38754"/>
                      <a:gd name="connsiteX24" fmla="*/ 52032 w 80799"/>
                      <a:gd name="connsiteY24" fmla="*/ 25956 h 38754"/>
                      <a:gd name="connsiteX25" fmla="*/ 54664 w 80799"/>
                      <a:gd name="connsiteY25" fmla="*/ 26913 h 38754"/>
                      <a:gd name="connsiteX26" fmla="*/ 57295 w 80799"/>
                      <a:gd name="connsiteY26" fmla="*/ 27870 h 38754"/>
                      <a:gd name="connsiteX27" fmla="*/ 59927 w 80799"/>
                      <a:gd name="connsiteY27" fmla="*/ 28827 h 38754"/>
                      <a:gd name="connsiteX28" fmla="*/ 62558 w 80799"/>
                      <a:gd name="connsiteY28" fmla="*/ 29784 h 38754"/>
                      <a:gd name="connsiteX29" fmla="*/ 65190 w 80799"/>
                      <a:gd name="connsiteY29" fmla="*/ 30741 h 38754"/>
                      <a:gd name="connsiteX30" fmla="*/ 67821 w 80799"/>
                      <a:gd name="connsiteY30" fmla="*/ 31698 h 38754"/>
                      <a:gd name="connsiteX31" fmla="*/ 70453 w 80799"/>
                      <a:gd name="connsiteY31" fmla="*/ 32655 h 38754"/>
                      <a:gd name="connsiteX32" fmla="*/ 73084 w 80799"/>
                      <a:gd name="connsiteY32" fmla="*/ 33612 h 38754"/>
                      <a:gd name="connsiteX33" fmla="*/ 75716 w 80799"/>
                      <a:gd name="connsiteY33" fmla="*/ 34568 h 38754"/>
                      <a:gd name="connsiteX34" fmla="*/ 76254 w 80799"/>
                      <a:gd name="connsiteY34" fmla="*/ 34748 h 38754"/>
                      <a:gd name="connsiteX35" fmla="*/ 78347 w 80799"/>
                      <a:gd name="connsiteY35" fmla="*/ 36602 h 38754"/>
                      <a:gd name="connsiteX36" fmla="*/ 80440 w 80799"/>
                      <a:gd name="connsiteY36" fmla="*/ 38456 h 38754"/>
                      <a:gd name="connsiteX37" fmla="*/ 80799 w 80799"/>
                      <a:gd name="connsiteY37" fmla="*/ 38755 h 3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0799" h="38754">
                        <a:moveTo>
                          <a:pt x="0" y="0"/>
                        </a:moveTo>
                        <a:lnTo>
                          <a:pt x="2452" y="1316"/>
                        </a:lnTo>
                        <a:lnTo>
                          <a:pt x="4904" y="2632"/>
                        </a:lnTo>
                        <a:lnTo>
                          <a:pt x="7356" y="3947"/>
                        </a:lnTo>
                        <a:lnTo>
                          <a:pt x="9808" y="5263"/>
                        </a:lnTo>
                        <a:lnTo>
                          <a:pt x="12260" y="6579"/>
                        </a:lnTo>
                        <a:lnTo>
                          <a:pt x="14712" y="7895"/>
                        </a:lnTo>
                        <a:lnTo>
                          <a:pt x="17165" y="9210"/>
                        </a:lnTo>
                        <a:lnTo>
                          <a:pt x="19617" y="10526"/>
                        </a:lnTo>
                        <a:lnTo>
                          <a:pt x="22069" y="11842"/>
                        </a:lnTo>
                        <a:lnTo>
                          <a:pt x="24521" y="13157"/>
                        </a:lnTo>
                        <a:lnTo>
                          <a:pt x="26973" y="14473"/>
                        </a:lnTo>
                        <a:lnTo>
                          <a:pt x="29425" y="15789"/>
                        </a:lnTo>
                        <a:lnTo>
                          <a:pt x="31877" y="17105"/>
                        </a:lnTo>
                        <a:lnTo>
                          <a:pt x="34329" y="18420"/>
                        </a:lnTo>
                        <a:lnTo>
                          <a:pt x="36781" y="19736"/>
                        </a:lnTo>
                        <a:lnTo>
                          <a:pt x="39234" y="21052"/>
                        </a:lnTo>
                        <a:lnTo>
                          <a:pt x="40788" y="21889"/>
                        </a:lnTo>
                        <a:lnTo>
                          <a:pt x="43121" y="22727"/>
                        </a:lnTo>
                        <a:lnTo>
                          <a:pt x="43659" y="22906"/>
                        </a:lnTo>
                        <a:lnTo>
                          <a:pt x="46291" y="23863"/>
                        </a:lnTo>
                        <a:lnTo>
                          <a:pt x="48922" y="24820"/>
                        </a:lnTo>
                        <a:lnTo>
                          <a:pt x="51554" y="25777"/>
                        </a:lnTo>
                        <a:lnTo>
                          <a:pt x="51972" y="25956"/>
                        </a:lnTo>
                        <a:lnTo>
                          <a:pt x="52032" y="25956"/>
                        </a:lnTo>
                        <a:lnTo>
                          <a:pt x="54664" y="26913"/>
                        </a:lnTo>
                        <a:lnTo>
                          <a:pt x="57295" y="27870"/>
                        </a:lnTo>
                        <a:lnTo>
                          <a:pt x="59927" y="28827"/>
                        </a:lnTo>
                        <a:lnTo>
                          <a:pt x="62558" y="29784"/>
                        </a:lnTo>
                        <a:lnTo>
                          <a:pt x="65190" y="30741"/>
                        </a:lnTo>
                        <a:lnTo>
                          <a:pt x="67821" y="31698"/>
                        </a:lnTo>
                        <a:lnTo>
                          <a:pt x="70453" y="32655"/>
                        </a:lnTo>
                        <a:lnTo>
                          <a:pt x="73084" y="33612"/>
                        </a:lnTo>
                        <a:lnTo>
                          <a:pt x="75716" y="34568"/>
                        </a:lnTo>
                        <a:lnTo>
                          <a:pt x="76254" y="34748"/>
                        </a:lnTo>
                        <a:lnTo>
                          <a:pt x="78347" y="36602"/>
                        </a:lnTo>
                        <a:lnTo>
                          <a:pt x="80440" y="38456"/>
                        </a:lnTo>
                        <a:lnTo>
                          <a:pt x="80799" y="38755"/>
                        </a:lnTo>
                      </a:path>
                    </a:pathLst>
                  </a:custGeom>
                  <a:noFill/>
                  <a:ln w="6350" cap="flat">
                    <a:solidFill>
                      <a:schemeClr val="bg1">
                        <a:alpha val="40000"/>
                      </a:schemeClr>
                    </a:solidFill>
                    <a:prstDash val="solid"/>
                    <a:miter/>
                  </a:ln>
                </p:spPr>
                <p:txBody>
                  <a:bodyPr rtlCol="0" anchor="ctr"/>
                  <a:lstStyle/>
                  <a:p>
                    <a:endParaRPr lang="en-GB"/>
                  </a:p>
                </p:txBody>
              </p:sp>
              <p:sp>
                <p:nvSpPr>
                  <p:cNvPr id="7827" name="Vrije vorm: vorm 7826">
                    <a:extLst>
                      <a:ext uri="{FF2B5EF4-FFF2-40B4-BE49-F238E27FC236}">
                        <a16:creationId xmlns:a16="http://schemas.microsoft.com/office/drawing/2014/main" id="{188DC556-A11F-4FC2-9F6C-FE7611E05657}"/>
                      </a:ext>
                    </a:extLst>
                  </p:cNvPr>
                  <p:cNvSpPr/>
                  <p:nvPr/>
                </p:nvSpPr>
                <p:spPr>
                  <a:xfrm>
                    <a:off x="5845577" y="5147228"/>
                    <a:ext cx="1913" cy="3767"/>
                  </a:xfrm>
                  <a:custGeom>
                    <a:avLst/>
                    <a:gdLst>
                      <a:gd name="connsiteX0" fmla="*/ 0 w 1913"/>
                      <a:gd name="connsiteY0" fmla="*/ 3768 h 3767"/>
                      <a:gd name="connsiteX1" fmla="*/ 1555 w 1913"/>
                      <a:gd name="connsiteY1" fmla="*/ 718 h 3767"/>
                      <a:gd name="connsiteX2" fmla="*/ 1914 w 1913"/>
                      <a:gd name="connsiteY2" fmla="*/ 0 h 3767"/>
                    </a:gdLst>
                    <a:ahLst/>
                    <a:cxnLst>
                      <a:cxn ang="0">
                        <a:pos x="connsiteX0" y="connsiteY0"/>
                      </a:cxn>
                      <a:cxn ang="0">
                        <a:pos x="connsiteX1" y="connsiteY1"/>
                      </a:cxn>
                      <a:cxn ang="0">
                        <a:pos x="connsiteX2" y="connsiteY2"/>
                      </a:cxn>
                    </a:cxnLst>
                    <a:rect l="l" t="t" r="r" b="b"/>
                    <a:pathLst>
                      <a:path w="1913" h="3767">
                        <a:moveTo>
                          <a:pt x="0" y="3768"/>
                        </a:moveTo>
                        <a:lnTo>
                          <a:pt x="1555" y="718"/>
                        </a:lnTo>
                        <a:lnTo>
                          <a:pt x="1914" y="0"/>
                        </a:lnTo>
                      </a:path>
                    </a:pathLst>
                  </a:custGeom>
                  <a:noFill/>
                  <a:ln w="6350" cap="flat">
                    <a:solidFill>
                      <a:schemeClr val="bg1">
                        <a:alpha val="40000"/>
                      </a:schemeClr>
                    </a:solidFill>
                    <a:prstDash val="solid"/>
                    <a:miter/>
                  </a:ln>
                </p:spPr>
                <p:txBody>
                  <a:bodyPr rtlCol="0" anchor="ctr"/>
                  <a:lstStyle/>
                  <a:p>
                    <a:endParaRPr lang="en-GB"/>
                  </a:p>
                </p:txBody>
              </p:sp>
              <p:sp>
                <p:nvSpPr>
                  <p:cNvPr id="7828" name="Vrije vorm: vorm 7827">
                    <a:extLst>
                      <a:ext uri="{FF2B5EF4-FFF2-40B4-BE49-F238E27FC236}">
                        <a16:creationId xmlns:a16="http://schemas.microsoft.com/office/drawing/2014/main" id="{41CEDF85-5409-4D65-8ACB-EA2386BFAE79}"/>
                      </a:ext>
                    </a:extLst>
                  </p:cNvPr>
                  <p:cNvSpPr/>
                  <p:nvPr/>
                </p:nvSpPr>
                <p:spPr>
                  <a:xfrm>
                    <a:off x="5844680" y="5165350"/>
                    <a:ext cx="20992" cy="74459"/>
                  </a:xfrm>
                  <a:custGeom>
                    <a:avLst/>
                    <a:gdLst>
                      <a:gd name="connsiteX0" fmla="*/ 17823 w 20992"/>
                      <a:gd name="connsiteY0" fmla="*/ 54903 h 74459"/>
                      <a:gd name="connsiteX1" fmla="*/ 18062 w 20992"/>
                      <a:gd name="connsiteY1" fmla="*/ 55022 h 74459"/>
                      <a:gd name="connsiteX2" fmla="*/ 18600 w 20992"/>
                      <a:gd name="connsiteY2" fmla="*/ 55262 h 74459"/>
                      <a:gd name="connsiteX3" fmla="*/ 19736 w 20992"/>
                      <a:gd name="connsiteY3" fmla="*/ 55740 h 74459"/>
                      <a:gd name="connsiteX4" fmla="*/ 20095 w 20992"/>
                      <a:gd name="connsiteY4" fmla="*/ 55979 h 74459"/>
                      <a:gd name="connsiteX5" fmla="*/ 20574 w 20992"/>
                      <a:gd name="connsiteY5" fmla="*/ 56278 h 74459"/>
                      <a:gd name="connsiteX6" fmla="*/ 20992 w 20992"/>
                      <a:gd name="connsiteY6" fmla="*/ 57654 h 74459"/>
                      <a:gd name="connsiteX7" fmla="*/ 20873 w 20992"/>
                      <a:gd name="connsiteY7" fmla="*/ 59747 h 74459"/>
                      <a:gd name="connsiteX8" fmla="*/ 20275 w 20992"/>
                      <a:gd name="connsiteY8" fmla="*/ 62319 h 74459"/>
                      <a:gd name="connsiteX9" fmla="*/ 20275 w 20992"/>
                      <a:gd name="connsiteY9" fmla="*/ 62379 h 74459"/>
                      <a:gd name="connsiteX10" fmla="*/ 19617 w 20992"/>
                      <a:gd name="connsiteY10" fmla="*/ 64293 h 74459"/>
                      <a:gd name="connsiteX11" fmla="*/ 18780 w 20992"/>
                      <a:gd name="connsiteY11" fmla="*/ 66266 h 74459"/>
                      <a:gd name="connsiteX12" fmla="*/ 17763 w 20992"/>
                      <a:gd name="connsiteY12" fmla="*/ 68180 h 74459"/>
                      <a:gd name="connsiteX13" fmla="*/ 16686 w 20992"/>
                      <a:gd name="connsiteY13" fmla="*/ 69974 h 74459"/>
                      <a:gd name="connsiteX14" fmla="*/ 15550 w 20992"/>
                      <a:gd name="connsiteY14" fmla="*/ 71529 h 74459"/>
                      <a:gd name="connsiteX15" fmla="*/ 14414 w 20992"/>
                      <a:gd name="connsiteY15" fmla="*/ 72785 h 74459"/>
                      <a:gd name="connsiteX16" fmla="*/ 13337 w 20992"/>
                      <a:gd name="connsiteY16" fmla="*/ 73742 h 74459"/>
                      <a:gd name="connsiteX17" fmla="*/ 12380 w 20992"/>
                      <a:gd name="connsiteY17" fmla="*/ 74280 h 74459"/>
                      <a:gd name="connsiteX18" fmla="*/ 11543 w 20992"/>
                      <a:gd name="connsiteY18" fmla="*/ 74460 h 74459"/>
                      <a:gd name="connsiteX19" fmla="*/ 11423 w 20992"/>
                      <a:gd name="connsiteY19" fmla="*/ 74400 h 74459"/>
                      <a:gd name="connsiteX20" fmla="*/ 10885 w 20992"/>
                      <a:gd name="connsiteY20" fmla="*/ 74161 h 74459"/>
                      <a:gd name="connsiteX21" fmla="*/ 8373 w 20992"/>
                      <a:gd name="connsiteY21" fmla="*/ 72965 h 74459"/>
                      <a:gd name="connsiteX22" fmla="*/ 5861 w 20992"/>
                      <a:gd name="connsiteY22" fmla="*/ 71769 h 74459"/>
                      <a:gd name="connsiteX23" fmla="*/ 5622 w 20992"/>
                      <a:gd name="connsiteY23" fmla="*/ 71649 h 74459"/>
                      <a:gd name="connsiteX24" fmla="*/ 5143 w 20992"/>
                      <a:gd name="connsiteY24" fmla="*/ 70991 h 74459"/>
                      <a:gd name="connsiteX25" fmla="*/ 4904 w 20992"/>
                      <a:gd name="connsiteY25" fmla="*/ 69915 h 74459"/>
                      <a:gd name="connsiteX26" fmla="*/ 4785 w 20992"/>
                      <a:gd name="connsiteY26" fmla="*/ 68599 h 74459"/>
                      <a:gd name="connsiteX27" fmla="*/ 4545 w 20992"/>
                      <a:gd name="connsiteY27" fmla="*/ 65130 h 74459"/>
                      <a:gd name="connsiteX28" fmla="*/ 4545 w 20992"/>
                      <a:gd name="connsiteY28" fmla="*/ 64891 h 74459"/>
                      <a:gd name="connsiteX29" fmla="*/ 4306 w 20992"/>
                      <a:gd name="connsiteY29" fmla="*/ 61422 h 74459"/>
                      <a:gd name="connsiteX30" fmla="*/ 4246 w 20992"/>
                      <a:gd name="connsiteY30" fmla="*/ 60525 h 74459"/>
                      <a:gd name="connsiteX31" fmla="*/ 4127 w 20992"/>
                      <a:gd name="connsiteY31" fmla="*/ 58910 h 74459"/>
                      <a:gd name="connsiteX32" fmla="*/ 3947 w 20992"/>
                      <a:gd name="connsiteY32" fmla="*/ 56398 h 74459"/>
                      <a:gd name="connsiteX33" fmla="*/ 3947 w 20992"/>
                      <a:gd name="connsiteY33" fmla="*/ 56398 h 74459"/>
                      <a:gd name="connsiteX34" fmla="*/ 3708 w 20992"/>
                      <a:gd name="connsiteY34" fmla="*/ 53049 h 74459"/>
                      <a:gd name="connsiteX35" fmla="*/ 3708 w 20992"/>
                      <a:gd name="connsiteY35" fmla="*/ 52690 h 74459"/>
                      <a:gd name="connsiteX36" fmla="*/ 3589 w 20992"/>
                      <a:gd name="connsiteY36" fmla="*/ 51314 h 74459"/>
                      <a:gd name="connsiteX37" fmla="*/ 3469 w 20992"/>
                      <a:gd name="connsiteY37" fmla="*/ 49999 h 74459"/>
                      <a:gd name="connsiteX38" fmla="*/ 3230 w 20992"/>
                      <a:gd name="connsiteY38" fmla="*/ 46949 h 74459"/>
                      <a:gd name="connsiteX39" fmla="*/ 3110 w 20992"/>
                      <a:gd name="connsiteY39" fmla="*/ 45573 h 74459"/>
                      <a:gd name="connsiteX40" fmla="*/ 2871 w 20992"/>
                      <a:gd name="connsiteY40" fmla="*/ 42104 h 74459"/>
                      <a:gd name="connsiteX41" fmla="*/ 2811 w 20992"/>
                      <a:gd name="connsiteY41" fmla="*/ 41267 h 74459"/>
                      <a:gd name="connsiteX42" fmla="*/ 2572 w 20992"/>
                      <a:gd name="connsiteY42" fmla="*/ 37798 h 74459"/>
                      <a:gd name="connsiteX43" fmla="*/ 2333 w 20992"/>
                      <a:gd name="connsiteY43" fmla="*/ 34329 h 74459"/>
                      <a:gd name="connsiteX44" fmla="*/ 2093 w 20992"/>
                      <a:gd name="connsiteY44" fmla="*/ 30920 h 74459"/>
                      <a:gd name="connsiteX45" fmla="*/ 1854 w 20992"/>
                      <a:gd name="connsiteY45" fmla="*/ 27451 h 74459"/>
                      <a:gd name="connsiteX46" fmla="*/ 1615 w 20992"/>
                      <a:gd name="connsiteY46" fmla="*/ 24042 h 74459"/>
                      <a:gd name="connsiteX47" fmla="*/ 1376 w 20992"/>
                      <a:gd name="connsiteY47" fmla="*/ 20574 h 74459"/>
                      <a:gd name="connsiteX48" fmla="*/ 1136 w 20992"/>
                      <a:gd name="connsiteY48" fmla="*/ 17105 h 74459"/>
                      <a:gd name="connsiteX49" fmla="*/ 897 w 20992"/>
                      <a:gd name="connsiteY49" fmla="*/ 13636 h 74459"/>
                      <a:gd name="connsiteX50" fmla="*/ 718 w 20992"/>
                      <a:gd name="connsiteY50" fmla="*/ 11363 h 74459"/>
                      <a:gd name="connsiteX51" fmla="*/ 479 w 20992"/>
                      <a:gd name="connsiteY51" fmla="*/ 7895 h 74459"/>
                      <a:gd name="connsiteX52" fmla="*/ 299 w 20992"/>
                      <a:gd name="connsiteY52" fmla="*/ 5681 h 74459"/>
                      <a:gd name="connsiteX53" fmla="*/ 60 w 20992"/>
                      <a:gd name="connsiteY53" fmla="*/ 2213 h 74459"/>
                      <a:gd name="connsiteX54" fmla="*/ 0 w 20992"/>
                      <a:gd name="connsiteY54" fmla="*/ 1734 h 74459"/>
                      <a:gd name="connsiteX55" fmla="*/ 0 w 20992"/>
                      <a:gd name="connsiteY55" fmla="*/ 1495 h 74459"/>
                      <a:gd name="connsiteX56" fmla="*/ 239 w 20992"/>
                      <a:gd name="connsiteY56" fmla="*/ 1017 h 74459"/>
                      <a:gd name="connsiteX57" fmla="*/ 359 w 20992"/>
                      <a:gd name="connsiteY57" fmla="*/ 718 h 74459"/>
                      <a:gd name="connsiteX58" fmla="*/ 718 w 20992"/>
                      <a:gd name="connsiteY58" fmla="*/ 0 h 7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0992" h="74459">
                        <a:moveTo>
                          <a:pt x="17823" y="54903"/>
                        </a:moveTo>
                        <a:lnTo>
                          <a:pt x="18062" y="55022"/>
                        </a:lnTo>
                        <a:lnTo>
                          <a:pt x="18600" y="55262"/>
                        </a:lnTo>
                        <a:lnTo>
                          <a:pt x="19736" y="55740"/>
                        </a:lnTo>
                        <a:lnTo>
                          <a:pt x="20095" y="55979"/>
                        </a:lnTo>
                        <a:lnTo>
                          <a:pt x="20574" y="56278"/>
                        </a:lnTo>
                        <a:lnTo>
                          <a:pt x="20992" y="57654"/>
                        </a:lnTo>
                        <a:lnTo>
                          <a:pt x="20873" y="59747"/>
                        </a:lnTo>
                        <a:lnTo>
                          <a:pt x="20275" y="62319"/>
                        </a:lnTo>
                        <a:lnTo>
                          <a:pt x="20275" y="62379"/>
                        </a:lnTo>
                        <a:lnTo>
                          <a:pt x="19617" y="64293"/>
                        </a:lnTo>
                        <a:lnTo>
                          <a:pt x="18780" y="66266"/>
                        </a:lnTo>
                        <a:lnTo>
                          <a:pt x="17763" y="68180"/>
                        </a:lnTo>
                        <a:lnTo>
                          <a:pt x="16686" y="69974"/>
                        </a:lnTo>
                        <a:lnTo>
                          <a:pt x="15550" y="71529"/>
                        </a:lnTo>
                        <a:lnTo>
                          <a:pt x="14414" y="72785"/>
                        </a:lnTo>
                        <a:lnTo>
                          <a:pt x="13337" y="73742"/>
                        </a:lnTo>
                        <a:lnTo>
                          <a:pt x="12380" y="74280"/>
                        </a:lnTo>
                        <a:lnTo>
                          <a:pt x="11543" y="74460"/>
                        </a:lnTo>
                        <a:lnTo>
                          <a:pt x="11423" y="74400"/>
                        </a:lnTo>
                        <a:lnTo>
                          <a:pt x="10885" y="74161"/>
                        </a:lnTo>
                        <a:lnTo>
                          <a:pt x="8373" y="72965"/>
                        </a:lnTo>
                        <a:lnTo>
                          <a:pt x="5861" y="71769"/>
                        </a:lnTo>
                        <a:lnTo>
                          <a:pt x="5622" y="71649"/>
                        </a:lnTo>
                        <a:lnTo>
                          <a:pt x="5143" y="70991"/>
                        </a:lnTo>
                        <a:lnTo>
                          <a:pt x="4904" y="69915"/>
                        </a:lnTo>
                        <a:lnTo>
                          <a:pt x="4785" y="68599"/>
                        </a:lnTo>
                        <a:lnTo>
                          <a:pt x="4545" y="65130"/>
                        </a:lnTo>
                        <a:lnTo>
                          <a:pt x="4545" y="64891"/>
                        </a:lnTo>
                        <a:lnTo>
                          <a:pt x="4306" y="61422"/>
                        </a:lnTo>
                        <a:lnTo>
                          <a:pt x="4246" y="60525"/>
                        </a:lnTo>
                        <a:lnTo>
                          <a:pt x="4127" y="58910"/>
                        </a:lnTo>
                        <a:lnTo>
                          <a:pt x="3947" y="56398"/>
                        </a:lnTo>
                        <a:lnTo>
                          <a:pt x="3947" y="56398"/>
                        </a:lnTo>
                        <a:lnTo>
                          <a:pt x="3708" y="53049"/>
                        </a:lnTo>
                        <a:lnTo>
                          <a:pt x="3708" y="52690"/>
                        </a:lnTo>
                        <a:lnTo>
                          <a:pt x="3589" y="51314"/>
                        </a:lnTo>
                        <a:lnTo>
                          <a:pt x="3469" y="49999"/>
                        </a:lnTo>
                        <a:lnTo>
                          <a:pt x="3230" y="46949"/>
                        </a:lnTo>
                        <a:lnTo>
                          <a:pt x="3110" y="45573"/>
                        </a:lnTo>
                        <a:lnTo>
                          <a:pt x="2871" y="42104"/>
                        </a:lnTo>
                        <a:lnTo>
                          <a:pt x="2811" y="41267"/>
                        </a:lnTo>
                        <a:lnTo>
                          <a:pt x="2572" y="37798"/>
                        </a:lnTo>
                        <a:lnTo>
                          <a:pt x="2333" y="34329"/>
                        </a:lnTo>
                        <a:lnTo>
                          <a:pt x="2093" y="30920"/>
                        </a:lnTo>
                        <a:lnTo>
                          <a:pt x="1854" y="27451"/>
                        </a:lnTo>
                        <a:lnTo>
                          <a:pt x="1615" y="24042"/>
                        </a:lnTo>
                        <a:lnTo>
                          <a:pt x="1376" y="20574"/>
                        </a:lnTo>
                        <a:lnTo>
                          <a:pt x="1136" y="17105"/>
                        </a:lnTo>
                        <a:lnTo>
                          <a:pt x="897" y="13636"/>
                        </a:lnTo>
                        <a:lnTo>
                          <a:pt x="718" y="11363"/>
                        </a:lnTo>
                        <a:lnTo>
                          <a:pt x="479" y="7895"/>
                        </a:lnTo>
                        <a:lnTo>
                          <a:pt x="299" y="5681"/>
                        </a:lnTo>
                        <a:lnTo>
                          <a:pt x="60" y="2213"/>
                        </a:lnTo>
                        <a:lnTo>
                          <a:pt x="0" y="1734"/>
                        </a:lnTo>
                        <a:lnTo>
                          <a:pt x="0" y="1495"/>
                        </a:lnTo>
                        <a:lnTo>
                          <a:pt x="239" y="1017"/>
                        </a:lnTo>
                        <a:lnTo>
                          <a:pt x="359" y="718"/>
                        </a:lnTo>
                        <a:lnTo>
                          <a:pt x="718" y="0"/>
                        </a:lnTo>
                      </a:path>
                    </a:pathLst>
                  </a:custGeom>
                  <a:noFill/>
                  <a:ln w="6350" cap="flat">
                    <a:solidFill>
                      <a:schemeClr val="bg1">
                        <a:alpha val="40000"/>
                      </a:schemeClr>
                    </a:solidFill>
                    <a:prstDash val="solid"/>
                    <a:miter/>
                  </a:ln>
                </p:spPr>
                <p:txBody>
                  <a:bodyPr rtlCol="0" anchor="ctr"/>
                  <a:lstStyle/>
                  <a:p>
                    <a:endParaRPr lang="en-GB"/>
                  </a:p>
                </p:txBody>
              </p:sp>
              <p:sp>
                <p:nvSpPr>
                  <p:cNvPr id="7829" name="Vrije vorm: vorm 7828">
                    <a:extLst>
                      <a:ext uri="{FF2B5EF4-FFF2-40B4-BE49-F238E27FC236}">
                        <a16:creationId xmlns:a16="http://schemas.microsoft.com/office/drawing/2014/main" id="{039C9CDE-6692-4511-9407-EF2A13EA3DDF}"/>
                      </a:ext>
                    </a:extLst>
                  </p:cNvPr>
                  <p:cNvSpPr/>
                  <p:nvPr/>
                </p:nvSpPr>
                <p:spPr>
                  <a:xfrm>
                    <a:off x="5854847" y="5221031"/>
                    <a:ext cx="9509" cy="18540"/>
                  </a:xfrm>
                  <a:custGeom>
                    <a:avLst/>
                    <a:gdLst>
                      <a:gd name="connsiteX0" fmla="*/ 598 w 9509"/>
                      <a:gd name="connsiteY0" fmla="*/ 18540 h 18540"/>
                      <a:gd name="connsiteX1" fmla="*/ 180 w 9509"/>
                      <a:gd name="connsiteY1" fmla="*/ 17882 h 18540"/>
                      <a:gd name="connsiteX2" fmla="*/ 0 w 9509"/>
                      <a:gd name="connsiteY2" fmla="*/ 16806 h 18540"/>
                      <a:gd name="connsiteX3" fmla="*/ 120 w 9509"/>
                      <a:gd name="connsiteY3" fmla="*/ 14653 h 18540"/>
                      <a:gd name="connsiteX4" fmla="*/ 778 w 9509"/>
                      <a:gd name="connsiteY4" fmla="*/ 11961 h 18540"/>
                      <a:gd name="connsiteX5" fmla="*/ 1555 w 9509"/>
                      <a:gd name="connsiteY5" fmla="*/ 9928 h 18540"/>
                      <a:gd name="connsiteX6" fmla="*/ 1914 w 9509"/>
                      <a:gd name="connsiteY6" fmla="*/ 9031 h 18540"/>
                      <a:gd name="connsiteX7" fmla="*/ 3349 w 9509"/>
                      <a:gd name="connsiteY7" fmla="*/ 6160 h 18540"/>
                      <a:gd name="connsiteX8" fmla="*/ 5024 w 9509"/>
                      <a:gd name="connsiteY8" fmla="*/ 3588 h 18540"/>
                      <a:gd name="connsiteX9" fmla="*/ 6698 w 9509"/>
                      <a:gd name="connsiteY9" fmla="*/ 1615 h 18540"/>
                      <a:gd name="connsiteX10" fmla="*/ 8253 w 9509"/>
                      <a:gd name="connsiteY10" fmla="*/ 359 h 18540"/>
                      <a:gd name="connsiteX11" fmla="*/ 8612 w 9509"/>
                      <a:gd name="connsiteY11" fmla="*/ 239 h 18540"/>
                      <a:gd name="connsiteX12" fmla="*/ 8672 w 9509"/>
                      <a:gd name="connsiteY12" fmla="*/ 239 h 18540"/>
                      <a:gd name="connsiteX13" fmla="*/ 9510 w 9509"/>
                      <a:gd name="connsiteY13" fmla="*/ 0 h 1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09" h="18540">
                        <a:moveTo>
                          <a:pt x="598" y="18540"/>
                        </a:moveTo>
                        <a:lnTo>
                          <a:pt x="180" y="17882"/>
                        </a:lnTo>
                        <a:lnTo>
                          <a:pt x="0" y="16806"/>
                        </a:lnTo>
                        <a:lnTo>
                          <a:pt x="120" y="14653"/>
                        </a:lnTo>
                        <a:lnTo>
                          <a:pt x="778" y="11961"/>
                        </a:lnTo>
                        <a:lnTo>
                          <a:pt x="1555" y="9928"/>
                        </a:lnTo>
                        <a:lnTo>
                          <a:pt x="1914" y="9031"/>
                        </a:lnTo>
                        <a:lnTo>
                          <a:pt x="3349" y="6160"/>
                        </a:lnTo>
                        <a:lnTo>
                          <a:pt x="5024" y="3588"/>
                        </a:lnTo>
                        <a:lnTo>
                          <a:pt x="6698" y="1615"/>
                        </a:lnTo>
                        <a:lnTo>
                          <a:pt x="8253" y="359"/>
                        </a:lnTo>
                        <a:lnTo>
                          <a:pt x="8612" y="239"/>
                        </a:lnTo>
                        <a:lnTo>
                          <a:pt x="8672" y="239"/>
                        </a:lnTo>
                        <a:lnTo>
                          <a:pt x="9510" y="0"/>
                        </a:lnTo>
                      </a:path>
                    </a:pathLst>
                  </a:custGeom>
                  <a:noFill/>
                  <a:ln w="6350" cap="flat">
                    <a:solidFill>
                      <a:schemeClr val="bg1">
                        <a:alpha val="40000"/>
                      </a:schemeClr>
                    </a:solidFill>
                    <a:prstDash val="solid"/>
                    <a:miter/>
                  </a:ln>
                </p:spPr>
                <p:txBody>
                  <a:bodyPr rtlCol="0" anchor="ctr"/>
                  <a:lstStyle/>
                  <a:p>
                    <a:endParaRPr lang="en-GB"/>
                  </a:p>
                </p:txBody>
              </p:sp>
              <p:sp>
                <p:nvSpPr>
                  <p:cNvPr id="7830" name="Vrije vorm: vorm 7829">
                    <a:extLst>
                      <a:ext uri="{FF2B5EF4-FFF2-40B4-BE49-F238E27FC236}">
                        <a16:creationId xmlns:a16="http://schemas.microsoft.com/office/drawing/2014/main" id="{AE9F30C9-2341-4965-91EF-C7D07318CF53}"/>
                      </a:ext>
                    </a:extLst>
                  </p:cNvPr>
                  <p:cNvSpPr/>
                  <p:nvPr/>
                </p:nvSpPr>
                <p:spPr>
                  <a:xfrm>
                    <a:off x="5856940" y="5234487"/>
                    <a:ext cx="658" cy="1913"/>
                  </a:xfrm>
                  <a:custGeom>
                    <a:avLst/>
                    <a:gdLst>
                      <a:gd name="connsiteX0" fmla="*/ 0 w 658"/>
                      <a:gd name="connsiteY0" fmla="*/ 0 h 1913"/>
                      <a:gd name="connsiteX1" fmla="*/ 0 w 658"/>
                      <a:gd name="connsiteY1" fmla="*/ 957 h 1913"/>
                      <a:gd name="connsiteX2" fmla="*/ 0 w 658"/>
                      <a:gd name="connsiteY2" fmla="*/ 957 h 1913"/>
                      <a:gd name="connsiteX3" fmla="*/ 60 w 658"/>
                      <a:gd name="connsiteY3" fmla="*/ 1136 h 1913"/>
                      <a:gd name="connsiteX4" fmla="*/ 239 w 658"/>
                      <a:gd name="connsiteY4" fmla="*/ 1615 h 1913"/>
                      <a:gd name="connsiteX5" fmla="*/ 658 w 658"/>
                      <a:gd name="connsiteY5" fmla="*/ 1914 h 1913"/>
                      <a:gd name="connsiteX6" fmla="*/ 658 w 658"/>
                      <a:gd name="connsiteY6" fmla="*/ 1914 h 1913"/>
                      <a:gd name="connsiteX7" fmla="*/ 658 w 658"/>
                      <a:gd name="connsiteY7" fmla="*/ 1914 h 1913"/>
                      <a:gd name="connsiteX8" fmla="*/ 658 w 658"/>
                      <a:gd name="connsiteY8" fmla="*/ 1914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 h="1913">
                        <a:moveTo>
                          <a:pt x="0" y="0"/>
                        </a:moveTo>
                        <a:lnTo>
                          <a:pt x="0" y="957"/>
                        </a:lnTo>
                        <a:lnTo>
                          <a:pt x="0" y="957"/>
                        </a:lnTo>
                        <a:lnTo>
                          <a:pt x="60" y="1136"/>
                        </a:lnTo>
                        <a:lnTo>
                          <a:pt x="239" y="1615"/>
                        </a:lnTo>
                        <a:lnTo>
                          <a:pt x="658" y="1914"/>
                        </a:lnTo>
                        <a:lnTo>
                          <a:pt x="658" y="1914"/>
                        </a:lnTo>
                        <a:lnTo>
                          <a:pt x="658" y="1914"/>
                        </a:lnTo>
                        <a:lnTo>
                          <a:pt x="658" y="1914"/>
                        </a:lnTo>
                      </a:path>
                    </a:pathLst>
                  </a:custGeom>
                  <a:noFill/>
                  <a:ln w="6350" cap="flat">
                    <a:solidFill>
                      <a:schemeClr val="bg1">
                        <a:alpha val="40000"/>
                      </a:schemeClr>
                    </a:solidFill>
                    <a:prstDash val="solid"/>
                    <a:miter/>
                  </a:ln>
                </p:spPr>
                <p:txBody>
                  <a:bodyPr rtlCol="0" anchor="ctr"/>
                  <a:lstStyle/>
                  <a:p>
                    <a:endParaRPr lang="en-GB"/>
                  </a:p>
                </p:txBody>
              </p:sp>
              <p:sp>
                <p:nvSpPr>
                  <p:cNvPr id="7831" name="Vrije vorm: vorm 7830">
                    <a:extLst>
                      <a:ext uri="{FF2B5EF4-FFF2-40B4-BE49-F238E27FC236}">
                        <a16:creationId xmlns:a16="http://schemas.microsoft.com/office/drawing/2014/main" id="{0247887D-0D6F-471A-BF55-783261EBACF3}"/>
                      </a:ext>
                    </a:extLst>
                  </p:cNvPr>
                  <p:cNvSpPr/>
                  <p:nvPr/>
                </p:nvSpPr>
                <p:spPr>
                  <a:xfrm>
                    <a:off x="5857120" y="5231915"/>
                    <a:ext cx="478" cy="1734"/>
                  </a:xfrm>
                  <a:custGeom>
                    <a:avLst/>
                    <a:gdLst>
                      <a:gd name="connsiteX0" fmla="*/ 479 w 478"/>
                      <a:gd name="connsiteY0" fmla="*/ 0 h 1734"/>
                      <a:gd name="connsiteX1" fmla="*/ 60 w 478"/>
                      <a:gd name="connsiteY1" fmla="*/ 1375 h 1734"/>
                      <a:gd name="connsiteX2" fmla="*/ 0 w 478"/>
                      <a:gd name="connsiteY2" fmla="*/ 1734 h 1734"/>
                    </a:gdLst>
                    <a:ahLst/>
                    <a:cxnLst>
                      <a:cxn ang="0">
                        <a:pos x="connsiteX0" y="connsiteY0"/>
                      </a:cxn>
                      <a:cxn ang="0">
                        <a:pos x="connsiteX1" y="connsiteY1"/>
                      </a:cxn>
                      <a:cxn ang="0">
                        <a:pos x="connsiteX2" y="connsiteY2"/>
                      </a:cxn>
                    </a:cxnLst>
                    <a:rect l="l" t="t" r="r" b="b"/>
                    <a:pathLst>
                      <a:path w="478" h="1734">
                        <a:moveTo>
                          <a:pt x="479" y="0"/>
                        </a:moveTo>
                        <a:lnTo>
                          <a:pt x="60" y="1375"/>
                        </a:lnTo>
                        <a:lnTo>
                          <a:pt x="0" y="1734"/>
                        </a:lnTo>
                      </a:path>
                    </a:pathLst>
                  </a:custGeom>
                  <a:noFill/>
                  <a:ln w="6350" cap="flat">
                    <a:solidFill>
                      <a:schemeClr val="bg1">
                        <a:alpha val="40000"/>
                      </a:schemeClr>
                    </a:solidFill>
                    <a:prstDash val="solid"/>
                    <a:miter/>
                  </a:ln>
                </p:spPr>
                <p:txBody>
                  <a:bodyPr rtlCol="0" anchor="ctr"/>
                  <a:lstStyle/>
                  <a:p>
                    <a:endParaRPr lang="en-GB"/>
                  </a:p>
                </p:txBody>
              </p:sp>
              <p:sp>
                <p:nvSpPr>
                  <p:cNvPr id="7832" name="Vrije vorm: vorm 7831">
                    <a:extLst>
                      <a:ext uri="{FF2B5EF4-FFF2-40B4-BE49-F238E27FC236}">
                        <a16:creationId xmlns:a16="http://schemas.microsoft.com/office/drawing/2014/main" id="{40C90386-AB4E-4D38-B779-D20F0306556B}"/>
                      </a:ext>
                    </a:extLst>
                  </p:cNvPr>
                  <p:cNvSpPr/>
                  <p:nvPr/>
                </p:nvSpPr>
                <p:spPr>
                  <a:xfrm>
                    <a:off x="5858196" y="5227789"/>
                    <a:ext cx="1495" cy="2631"/>
                  </a:xfrm>
                  <a:custGeom>
                    <a:avLst/>
                    <a:gdLst>
                      <a:gd name="connsiteX0" fmla="*/ 1495 w 1495"/>
                      <a:gd name="connsiteY0" fmla="*/ 0 h 2631"/>
                      <a:gd name="connsiteX1" fmla="*/ 718 w 1495"/>
                      <a:gd name="connsiteY1" fmla="*/ 1256 h 2631"/>
                      <a:gd name="connsiteX2" fmla="*/ 0 w 1495"/>
                      <a:gd name="connsiteY2" fmla="*/ 2632 h 2631"/>
                    </a:gdLst>
                    <a:ahLst/>
                    <a:cxnLst>
                      <a:cxn ang="0">
                        <a:pos x="connsiteX0" y="connsiteY0"/>
                      </a:cxn>
                      <a:cxn ang="0">
                        <a:pos x="connsiteX1" y="connsiteY1"/>
                      </a:cxn>
                      <a:cxn ang="0">
                        <a:pos x="connsiteX2" y="connsiteY2"/>
                      </a:cxn>
                    </a:cxnLst>
                    <a:rect l="l" t="t" r="r" b="b"/>
                    <a:pathLst>
                      <a:path w="1495" h="2631">
                        <a:moveTo>
                          <a:pt x="1495" y="0"/>
                        </a:moveTo>
                        <a:lnTo>
                          <a:pt x="718" y="1256"/>
                        </a:lnTo>
                        <a:lnTo>
                          <a:pt x="0" y="2632"/>
                        </a:lnTo>
                      </a:path>
                    </a:pathLst>
                  </a:custGeom>
                  <a:noFill/>
                  <a:ln w="6350" cap="flat">
                    <a:solidFill>
                      <a:schemeClr val="bg1">
                        <a:alpha val="40000"/>
                      </a:schemeClr>
                    </a:solidFill>
                    <a:prstDash val="solid"/>
                    <a:miter/>
                  </a:ln>
                </p:spPr>
                <p:txBody>
                  <a:bodyPr rtlCol="0" anchor="ctr"/>
                  <a:lstStyle/>
                  <a:p>
                    <a:endParaRPr lang="en-GB"/>
                  </a:p>
                </p:txBody>
              </p:sp>
              <p:sp>
                <p:nvSpPr>
                  <p:cNvPr id="7833" name="Vrije vorm: vorm 7832">
                    <a:extLst>
                      <a:ext uri="{FF2B5EF4-FFF2-40B4-BE49-F238E27FC236}">
                        <a16:creationId xmlns:a16="http://schemas.microsoft.com/office/drawing/2014/main" id="{73EED965-2935-4C22-9BDC-6F769EED1AF9}"/>
                      </a:ext>
                    </a:extLst>
                  </p:cNvPr>
                  <p:cNvSpPr/>
                  <p:nvPr/>
                </p:nvSpPr>
                <p:spPr>
                  <a:xfrm>
                    <a:off x="5862024" y="5225516"/>
                    <a:ext cx="597" cy="59"/>
                  </a:xfrm>
                  <a:custGeom>
                    <a:avLst/>
                    <a:gdLst>
                      <a:gd name="connsiteX0" fmla="*/ 598 w 597"/>
                      <a:gd name="connsiteY0" fmla="*/ 0 h 59"/>
                      <a:gd name="connsiteX1" fmla="*/ 0 w 597"/>
                      <a:gd name="connsiteY1" fmla="*/ 60 h 59"/>
                    </a:gdLst>
                    <a:ahLst/>
                    <a:cxnLst>
                      <a:cxn ang="0">
                        <a:pos x="connsiteX0" y="connsiteY0"/>
                      </a:cxn>
                      <a:cxn ang="0">
                        <a:pos x="connsiteX1" y="connsiteY1"/>
                      </a:cxn>
                    </a:cxnLst>
                    <a:rect l="l" t="t" r="r" b="b"/>
                    <a:pathLst>
                      <a:path w="597" h="59">
                        <a:moveTo>
                          <a:pt x="598" y="0"/>
                        </a:moveTo>
                        <a:lnTo>
                          <a:pt x="0" y="60"/>
                        </a:lnTo>
                      </a:path>
                    </a:pathLst>
                  </a:custGeom>
                  <a:noFill/>
                  <a:ln w="6350" cap="flat">
                    <a:solidFill>
                      <a:schemeClr val="bg1">
                        <a:alpha val="40000"/>
                      </a:schemeClr>
                    </a:solidFill>
                    <a:prstDash val="solid"/>
                    <a:miter/>
                  </a:ln>
                </p:spPr>
                <p:txBody>
                  <a:bodyPr rtlCol="0" anchor="ctr"/>
                  <a:lstStyle/>
                  <a:p>
                    <a:endParaRPr lang="en-GB"/>
                  </a:p>
                </p:txBody>
              </p:sp>
              <p:sp>
                <p:nvSpPr>
                  <p:cNvPr id="7834" name="Vrije vorm: vorm 7833">
                    <a:extLst>
                      <a:ext uri="{FF2B5EF4-FFF2-40B4-BE49-F238E27FC236}">
                        <a16:creationId xmlns:a16="http://schemas.microsoft.com/office/drawing/2014/main" id="{47FB17E6-98A3-4506-8121-E03F4840A0C7}"/>
                      </a:ext>
                    </a:extLst>
                  </p:cNvPr>
                  <p:cNvSpPr/>
                  <p:nvPr/>
                </p:nvSpPr>
                <p:spPr>
                  <a:xfrm>
                    <a:off x="5864775" y="5199978"/>
                    <a:ext cx="8731" cy="21291"/>
                  </a:xfrm>
                  <a:custGeom>
                    <a:avLst/>
                    <a:gdLst>
                      <a:gd name="connsiteX0" fmla="*/ 8732 w 8731"/>
                      <a:gd name="connsiteY0" fmla="*/ 0 h 21291"/>
                      <a:gd name="connsiteX1" fmla="*/ 7596 w 8731"/>
                      <a:gd name="connsiteY1" fmla="*/ 3708 h 21291"/>
                      <a:gd name="connsiteX2" fmla="*/ 6459 w 8731"/>
                      <a:gd name="connsiteY2" fmla="*/ 7416 h 21291"/>
                      <a:gd name="connsiteX3" fmla="*/ 5323 w 8731"/>
                      <a:gd name="connsiteY3" fmla="*/ 11124 h 21291"/>
                      <a:gd name="connsiteX4" fmla="*/ 4187 w 8731"/>
                      <a:gd name="connsiteY4" fmla="*/ 14832 h 21291"/>
                      <a:gd name="connsiteX5" fmla="*/ 3050 w 8731"/>
                      <a:gd name="connsiteY5" fmla="*/ 18540 h 21291"/>
                      <a:gd name="connsiteX6" fmla="*/ 2452 w 8731"/>
                      <a:gd name="connsiteY6" fmla="*/ 20394 h 21291"/>
                      <a:gd name="connsiteX7" fmla="*/ 538 w 8731"/>
                      <a:gd name="connsiteY7" fmla="*/ 19557 h 21291"/>
                      <a:gd name="connsiteX8" fmla="*/ 0 w 8731"/>
                      <a:gd name="connsiteY8" fmla="*/ 21291 h 2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1" h="21291">
                        <a:moveTo>
                          <a:pt x="8732" y="0"/>
                        </a:moveTo>
                        <a:lnTo>
                          <a:pt x="7596" y="3708"/>
                        </a:lnTo>
                        <a:lnTo>
                          <a:pt x="6459" y="7416"/>
                        </a:lnTo>
                        <a:lnTo>
                          <a:pt x="5323" y="11124"/>
                        </a:lnTo>
                        <a:lnTo>
                          <a:pt x="4187" y="14832"/>
                        </a:lnTo>
                        <a:lnTo>
                          <a:pt x="3050" y="18540"/>
                        </a:lnTo>
                        <a:lnTo>
                          <a:pt x="2452" y="20394"/>
                        </a:lnTo>
                        <a:lnTo>
                          <a:pt x="538" y="19557"/>
                        </a:lnTo>
                        <a:lnTo>
                          <a:pt x="0" y="21291"/>
                        </a:lnTo>
                      </a:path>
                    </a:pathLst>
                  </a:custGeom>
                  <a:noFill/>
                  <a:ln w="6350" cap="flat">
                    <a:solidFill>
                      <a:schemeClr val="bg1">
                        <a:alpha val="40000"/>
                      </a:schemeClr>
                    </a:solidFill>
                    <a:prstDash val="solid"/>
                    <a:miter/>
                  </a:ln>
                </p:spPr>
                <p:txBody>
                  <a:bodyPr rtlCol="0" anchor="ctr"/>
                  <a:lstStyle/>
                  <a:p>
                    <a:endParaRPr lang="en-GB"/>
                  </a:p>
                </p:txBody>
              </p:sp>
              <p:sp>
                <p:nvSpPr>
                  <p:cNvPr id="7835" name="Vrije vorm: vorm 7834">
                    <a:extLst>
                      <a:ext uri="{FF2B5EF4-FFF2-40B4-BE49-F238E27FC236}">
                        <a16:creationId xmlns:a16="http://schemas.microsoft.com/office/drawing/2014/main" id="{A2D5912B-0C9C-4484-8C86-245AF77F93E9}"/>
                      </a:ext>
                    </a:extLst>
                  </p:cNvPr>
                  <p:cNvSpPr/>
                  <p:nvPr/>
                </p:nvSpPr>
                <p:spPr>
                  <a:xfrm>
                    <a:off x="5844201" y="5166725"/>
                    <a:ext cx="5801" cy="2272"/>
                  </a:xfrm>
                  <a:custGeom>
                    <a:avLst/>
                    <a:gdLst>
                      <a:gd name="connsiteX0" fmla="*/ 0 w 5801"/>
                      <a:gd name="connsiteY0" fmla="*/ 0 h 2272"/>
                      <a:gd name="connsiteX1" fmla="*/ 2572 w 5801"/>
                      <a:gd name="connsiteY1" fmla="*/ 1017 h 2272"/>
                      <a:gd name="connsiteX2" fmla="*/ 3589 w 5801"/>
                      <a:gd name="connsiteY2" fmla="*/ 1435 h 2272"/>
                      <a:gd name="connsiteX3" fmla="*/ 3768 w 5801"/>
                      <a:gd name="connsiteY3" fmla="*/ 1495 h 2272"/>
                      <a:gd name="connsiteX4" fmla="*/ 5801 w 5801"/>
                      <a:gd name="connsiteY4" fmla="*/ 2273 h 2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1" h="2272">
                        <a:moveTo>
                          <a:pt x="0" y="0"/>
                        </a:moveTo>
                        <a:lnTo>
                          <a:pt x="2572" y="1017"/>
                        </a:lnTo>
                        <a:lnTo>
                          <a:pt x="3589" y="1435"/>
                        </a:lnTo>
                        <a:lnTo>
                          <a:pt x="3768" y="1495"/>
                        </a:lnTo>
                        <a:lnTo>
                          <a:pt x="5801" y="2273"/>
                        </a:lnTo>
                      </a:path>
                    </a:pathLst>
                  </a:custGeom>
                  <a:noFill/>
                  <a:ln w="6350" cap="flat">
                    <a:solidFill>
                      <a:schemeClr val="bg1">
                        <a:alpha val="40000"/>
                      </a:schemeClr>
                    </a:solidFill>
                    <a:prstDash val="solid"/>
                    <a:miter/>
                  </a:ln>
                </p:spPr>
                <p:txBody>
                  <a:bodyPr rtlCol="0" anchor="ctr"/>
                  <a:lstStyle/>
                  <a:p>
                    <a:endParaRPr lang="en-GB"/>
                  </a:p>
                </p:txBody>
              </p:sp>
              <p:sp>
                <p:nvSpPr>
                  <p:cNvPr id="7836" name="Vrije vorm: vorm 7835">
                    <a:extLst>
                      <a:ext uri="{FF2B5EF4-FFF2-40B4-BE49-F238E27FC236}">
                        <a16:creationId xmlns:a16="http://schemas.microsoft.com/office/drawing/2014/main" id="{DF096105-E4D5-4E5C-A3A4-01BC082A62B8}"/>
                      </a:ext>
                    </a:extLst>
                  </p:cNvPr>
                  <p:cNvSpPr/>
                  <p:nvPr/>
                </p:nvSpPr>
                <p:spPr>
                  <a:xfrm>
                    <a:off x="5850063" y="5168938"/>
                    <a:ext cx="4425" cy="65190"/>
                  </a:xfrm>
                  <a:custGeom>
                    <a:avLst/>
                    <a:gdLst>
                      <a:gd name="connsiteX0" fmla="*/ 0 w 4425"/>
                      <a:gd name="connsiteY0" fmla="*/ 0 h 65190"/>
                      <a:gd name="connsiteX1" fmla="*/ 239 w 4425"/>
                      <a:gd name="connsiteY1" fmla="*/ 3529 h 65190"/>
                      <a:gd name="connsiteX2" fmla="*/ 479 w 4425"/>
                      <a:gd name="connsiteY2" fmla="*/ 7057 h 65190"/>
                      <a:gd name="connsiteX3" fmla="*/ 538 w 4425"/>
                      <a:gd name="connsiteY3" fmla="*/ 8074 h 65190"/>
                      <a:gd name="connsiteX4" fmla="*/ 778 w 4425"/>
                      <a:gd name="connsiteY4" fmla="*/ 11603 h 65190"/>
                      <a:gd name="connsiteX5" fmla="*/ 1017 w 4425"/>
                      <a:gd name="connsiteY5" fmla="*/ 15131 h 65190"/>
                      <a:gd name="connsiteX6" fmla="*/ 1256 w 4425"/>
                      <a:gd name="connsiteY6" fmla="*/ 18660 h 65190"/>
                      <a:gd name="connsiteX7" fmla="*/ 1495 w 4425"/>
                      <a:gd name="connsiteY7" fmla="*/ 22189 h 65190"/>
                      <a:gd name="connsiteX8" fmla="*/ 1674 w 4425"/>
                      <a:gd name="connsiteY8" fmla="*/ 24760 h 65190"/>
                      <a:gd name="connsiteX9" fmla="*/ 1914 w 4425"/>
                      <a:gd name="connsiteY9" fmla="*/ 28289 h 65190"/>
                      <a:gd name="connsiteX10" fmla="*/ 2153 w 4425"/>
                      <a:gd name="connsiteY10" fmla="*/ 31817 h 65190"/>
                      <a:gd name="connsiteX11" fmla="*/ 2392 w 4425"/>
                      <a:gd name="connsiteY11" fmla="*/ 35346 h 65190"/>
                      <a:gd name="connsiteX12" fmla="*/ 2452 w 4425"/>
                      <a:gd name="connsiteY12" fmla="*/ 36662 h 65190"/>
                      <a:gd name="connsiteX13" fmla="*/ 2691 w 4425"/>
                      <a:gd name="connsiteY13" fmla="*/ 40191 h 65190"/>
                      <a:gd name="connsiteX14" fmla="*/ 2930 w 4425"/>
                      <a:gd name="connsiteY14" fmla="*/ 43719 h 65190"/>
                      <a:gd name="connsiteX15" fmla="*/ 3170 w 4425"/>
                      <a:gd name="connsiteY15" fmla="*/ 47248 h 65190"/>
                      <a:gd name="connsiteX16" fmla="*/ 3409 w 4425"/>
                      <a:gd name="connsiteY16" fmla="*/ 50776 h 65190"/>
                      <a:gd name="connsiteX17" fmla="*/ 3469 w 4425"/>
                      <a:gd name="connsiteY17" fmla="*/ 51853 h 65190"/>
                      <a:gd name="connsiteX18" fmla="*/ 3648 w 4425"/>
                      <a:gd name="connsiteY18" fmla="*/ 54424 h 65190"/>
                      <a:gd name="connsiteX19" fmla="*/ 3708 w 4425"/>
                      <a:gd name="connsiteY19" fmla="*/ 55561 h 65190"/>
                      <a:gd name="connsiteX20" fmla="*/ 3768 w 4425"/>
                      <a:gd name="connsiteY20" fmla="*/ 56398 h 65190"/>
                      <a:gd name="connsiteX21" fmla="*/ 3768 w 4425"/>
                      <a:gd name="connsiteY21" fmla="*/ 56398 h 65190"/>
                      <a:gd name="connsiteX22" fmla="*/ 3828 w 4425"/>
                      <a:gd name="connsiteY22" fmla="*/ 57056 h 65190"/>
                      <a:gd name="connsiteX23" fmla="*/ 4067 w 4425"/>
                      <a:gd name="connsiteY23" fmla="*/ 60166 h 65190"/>
                      <a:gd name="connsiteX24" fmla="*/ 4306 w 4425"/>
                      <a:gd name="connsiteY24" fmla="*/ 63695 h 65190"/>
                      <a:gd name="connsiteX25" fmla="*/ 4426 w 4425"/>
                      <a:gd name="connsiteY25" fmla="*/ 65190 h 6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5" h="65190">
                        <a:moveTo>
                          <a:pt x="0" y="0"/>
                        </a:moveTo>
                        <a:lnTo>
                          <a:pt x="239" y="3529"/>
                        </a:lnTo>
                        <a:lnTo>
                          <a:pt x="479" y="7057"/>
                        </a:lnTo>
                        <a:lnTo>
                          <a:pt x="538" y="8074"/>
                        </a:lnTo>
                        <a:lnTo>
                          <a:pt x="778" y="11603"/>
                        </a:lnTo>
                        <a:lnTo>
                          <a:pt x="1017" y="15131"/>
                        </a:lnTo>
                        <a:lnTo>
                          <a:pt x="1256" y="18660"/>
                        </a:lnTo>
                        <a:lnTo>
                          <a:pt x="1495" y="22189"/>
                        </a:lnTo>
                        <a:lnTo>
                          <a:pt x="1674" y="24760"/>
                        </a:lnTo>
                        <a:lnTo>
                          <a:pt x="1914" y="28289"/>
                        </a:lnTo>
                        <a:lnTo>
                          <a:pt x="2153" y="31817"/>
                        </a:lnTo>
                        <a:lnTo>
                          <a:pt x="2392" y="35346"/>
                        </a:lnTo>
                        <a:lnTo>
                          <a:pt x="2452" y="36662"/>
                        </a:lnTo>
                        <a:lnTo>
                          <a:pt x="2691" y="40191"/>
                        </a:lnTo>
                        <a:lnTo>
                          <a:pt x="2930" y="43719"/>
                        </a:lnTo>
                        <a:lnTo>
                          <a:pt x="3170" y="47248"/>
                        </a:lnTo>
                        <a:lnTo>
                          <a:pt x="3409" y="50776"/>
                        </a:lnTo>
                        <a:lnTo>
                          <a:pt x="3469" y="51853"/>
                        </a:lnTo>
                        <a:lnTo>
                          <a:pt x="3648" y="54424"/>
                        </a:lnTo>
                        <a:lnTo>
                          <a:pt x="3708" y="55561"/>
                        </a:lnTo>
                        <a:lnTo>
                          <a:pt x="3768" y="56398"/>
                        </a:lnTo>
                        <a:lnTo>
                          <a:pt x="3768" y="56398"/>
                        </a:lnTo>
                        <a:lnTo>
                          <a:pt x="3828" y="57056"/>
                        </a:lnTo>
                        <a:lnTo>
                          <a:pt x="4067" y="60166"/>
                        </a:lnTo>
                        <a:lnTo>
                          <a:pt x="4306" y="63695"/>
                        </a:lnTo>
                        <a:lnTo>
                          <a:pt x="4426" y="65190"/>
                        </a:lnTo>
                      </a:path>
                    </a:pathLst>
                  </a:custGeom>
                  <a:noFill/>
                  <a:ln w="6350" cap="flat">
                    <a:solidFill>
                      <a:schemeClr val="bg1">
                        <a:alpha val="40000"/>
                      </a:schemeClr>
                    </a:solidFill>
                    <a:prstDash val="solid"/>
                    <a:miter/>
                  </a:ln>
                </p:spPr>
                <p:txBody>
                  <a:bodyPr rtlCol="0" anchor="ctr"/>
                  <a:lstStyle/>
                  <a:p>
                    <a:endParaRPr lang="en-GB"/>
                  </a:p>
                </p:txBody>
              </p:sp>
              <p:sp>
                <p:nvSpPr>
                  <p:cNvPr id="7837" name="Vrije vorm: vorm 7836">
                    <a:extLst>
                      <a:ext uri="{FF2B5EF4-FFF2-40B4-BE49-F238E27FC236}">
                        <a16:creationId xmlns:a16="http://schemas.microsoft.com/office/drawing/2014/main" id="{ABEF26A8-450D-4BD5-9FCA-AD238E764B24}"/>
                      </a:ext>
                    </a:extLst>
                  </p:cNvPr>
                  <p:cNvSpPr/>
                  <p:nvPr/>
                </p:nvSpPr>
                <p:spPr>
                  <a:xfrm>
                    <a:off x="5852634" y="5218339"/>
                    <a:ext cx="13635" cy="15310"/>
                  </a:xfrm>
                  <a:custGeom>
                    <a:avLst/>
                    <a:gdLst>
                      <a:gd name="connsiteX0" fmla="*/ 13636 w 13635"/>
                      <a:gd name="connsiteY0" fmla="*/ 239 h 15310"/>
                      <a:gd name="connsiteX1" fmla="*/ 12799 w 13635"/>
                      <a:gd name="connsiteY1" fmla="*/ 0 h 15310"/>
                      <a:gd name="connsiteX2" fmla="*/ 12380 w 13635"/>
                      <a:gd name="connsiteY2" fmla="*/ 120 h 15310"/>
                      <a:gd name="connsiteX3" fmla="*/ 11722 w 13635"/>
                      <a:gd name="connsiteY3" fmla="*/ 299 h 15310"/>
                      <a:gd name="connsiteX4" fmla="*/ 10466 w 13635"/>
                      <a:gd name="connsiteY4" fmla="*/ 1076 h 15310"/>
                      <a:gd name="connsiteX5" fmla="*/ 10347 w 13635"/>
                      <a:gd name="connsiteY5" fmla="*/ 1196 h 15310"/>
                      <a:gd name="connsiteX6" fmla="*/ 9928 w 13635"/>
                      <a:gd name="connsiteY6" fmla="*/ 1555 h 15310"/>
                      <a:gd name="connsiteX7" fmla="*/ 9450 w 13635"/>
                      <a:gd name="connsiteY7" fmla="*/ 1974 h 15310"/>
                      <a:gd name="connsiteX8" fmla="*/ 9150 w 13635"/>
                      <a:gd name="connsiteY8" fmla="*/ 2273 h 15310"/>
                      <a:gd name="connsiteX9" fmla="*/ 8074 w 13635"/>
                      <a:gd name="connsiteY9" fmla="*/ 3528 h 15310"/>
                      <a:gd name="connsiteX10" fmla="*/ 7715 w 13635"/>
                      <a:gd name="connsiteY10" fmla="*/ 3947 h 15310"/>
                      <a:gd name="connsiteX11" fmla="*/ 6280 w 13635"/>
                      <a:gd name="connsiteY11" fmla="*/ 5921 h 15310"/>
                      <a:gd name="connsiteX12" fmla="*/ 5263 w 13635"/>
                      <a:gd name="connsiteY12" fmla="*/ 7596 h 15310"/>
                      <a:gd name="connsiteX13" fmla="*/ 4964 w 13635"/>
                      <a:gd name="connsiteY13" fmla="*/ 8134 h 15310"/>
                      <a:gd name="connsiteX14" fmla="*/ 3768 w 13635"/>
                      <a:gd name="connsiteY14" fmla="*/ 10526 h 15310"/>
                      <a:gd name="connsiteX15" fmla="*/ 3349 w 13635"/>
                      <a:gd name="connsiteY15" fmla="*/ 11423 h 15310"/>
                      <a:gd name="connsiteX16" fmla="*/ 2691 w 13635"/>
                      <a:gd name="connsiteY16" fmla="*/ 12918 h 15310"/>
                      <a:gd name="connsiteX17" fmla="*/ 2392 w 13635"/>
                      <a:gd name="connsiteY17" fmla="*/ 13696 h 15310"/>
                      <a:gd name="connsiteX18" fmla="*/ 1854 w 13635"/>
                      <a:gd name="connsiteY18" fmla="*/ 15311 h 15310"/>
                      <a:gd name="connsiteX19" fmla="*/ 1316 w 13635"/>
                      <a:gd name="connsiteY19" fmla="*/ 15072 h 15310"/>
                      <a:gd name="connsiteX20" fmla="*/ 778 w 13635"/>
                      <a:gd name="connsiteY20" fmla="*/ 14832 h 15310"/>
                      <a:gd name="connsiteX21" fmla="*/ 120 w 13635"/>
                      <a:gd name="connsiteY21" fmla="*/ 14533 h 15310"/>
                      <a:gd name="connsiteX22" fmla="*/ 0 w 13635"/>
                      <a:gd name="connsiteY22" fmla="*/ 14473 h 1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635" h="15310">
                        <a:moveTo>
                          <a:pt x="13636" y="239"/>
                        </a:moveTo>
                        <a:lnTo>
                          <a:pt x="12799" y="0"/>
                        </a:lnTo>
                        <a:lnTo>
                          <a:pt x="12380" y="120"/>
                        </a:lnTo>
                        <a:lnTo>
                          <a:pt x="11722" y="299"/>
                        </a:lnTo>
                        <a:lnTo>
                          <a:pt x="10466" y="1076"/>
                        </a:lnTo>
                        <a:lnTo>
                          <a:pt x="10347" y="1196"/>
                        </a:lnTo>
                        <a:lnTo>
                          <a:pt x="9928" y="1555"/>
                        </a:lnTo>
                        <a:lnTo>
                          <a:pt x="9450" y="1974"/>
                        </a:lnTo>
                        <a:lnTo>
                          <a:pt x="9150" y="2273"/>
                        </a:lnTo>
                        <a:lnTo>
                          <a:pt x="8074" y="3528"/>
                        </a:lnTo>
                        <a:lnTo>
                          <a:pt x="7715" y="3947"/>
                        </a:lnTo>
                        <a:lnTo>
                          <a:pt x="6280" y="5921"/>
                        </a:lnTo>
                        <a:lnTo>
                          <a:pt x="5263" y="7596"/>
                        </a:lnTo>
                        <a:lnTo>
                          <a:pt x="4964" y="8134"/>
                        </a:lnTo>
                        <a:lnTo>
                          <a:pt x="3768" y="10526"/>
                        </a:lnTo>
                        <a:lnTo>
                          <a:pt x="3349" y="11423"/>
                        </a:lnTo>
                        <a:lnTo>
                          <a:pt x="2691" y="12918"/>
                        </a:lnTo>
                        <a:lnTo>
                          <a:pt x="2392" y="13696"/>
                        </a:lnTo>
                        <a:lnTo>
                          <a:pt x="1854" y="15311"/>
                        </a:lnTo>
                        <a:lnTo>
                          <a:pt x="1316" y="15072"/>
                        </a:lnTo>
                        <a:lnTo>
                          <a:pt x="778" y="14832"/>
                        </a:lnTo>
                        <a:lnTo>
                          <a:pt x="120" y="14533"/>
                        </a:lnTo>
                        <a:lnTo>
                          <a:pt x="0" y="14473"/>
                        </a:lnTo>
                      </a:path>
                    </a:pathLst>
                  </a:custGeom>
                  <a:noFill/>
                  <a:ln w="6350" cap="flat">
                    <a:solidFill>
                      <a:schemeClr val="bg1">
                        <a:alpha val="40000"/>
                      </a:schemeClr>
                    </a:solidFill>
                    <a:prstDash val="solid"/>
                    <a:miter/>
                  </a:ln>
                </p:spPr>
                <p:txBody>
                  <a:bodyPr rtlCol="0" anchor="ctr"/>
                  <a:lstStyle/>
                  <a:p>
                    <a:endParaRPr lang="en-GB"/>
                  </a:p>
                </p:txBody>
              </p:sp>
              <p:sp>
                <p:nvSpPr>
                  <p:cNvPr id="7838" name="Vrije vorm: vorm 7837">
                    <a:extLst>
                      <a:ext uri="{FF2B5EF4-FFF2-40B4-BE49-F238E27FC236}">
                        <a16:creationId xmlns:a16="http://schemas.microsoft.com/office/drawing/2014/main" id="{07C7E492-6A50-420A-88D8-B699E3CAAA04}"/>
                      </a:ext>
                    </a:extLst>
                  </p:cNvPr>
                  <p:cNvSpPr/>
                  <p:nvPr/>
                </p:nvSpPr>
                <p:spPr>
                  <a:xfrm>
                    <a:off x="5852575" y="5232872"/>
                    <a:ext cx="777" cy="4006"/>
                  </a:xfrm>
                  <a:custGeom>
                    <a:avLst/>
                    <a:gdLst>
                      <a:gd name="connsiteX0" fmla="*/ 0 w 777"/>
                      <a:gd name="connsiteY0" fmla="*/ 0 h 4006"/>
                      <a:gd name="connsiteX1" fmla="*/ 239 w 777"/>
                      <a:gd name="connsiteY1" fmla="*/ 3469 h 4006"/>
                      <a:gd name="connsiteX2" fmla="*/ 299 w 777"/>
                      <a:gd name="connsiteY2" fmla="*/ 4007 h 4006"/>
                      <a:gd name="connsiteX3" fmla="*/ 419 w 777"/>
                      <a:gd name="connsiteY3" fmla="*/ 1854 h 4006"/>
                      <a:gd name="connsiteX4" fmla="*/ 778 w 777"/>
                      <a:gd name="connsiteY4" fmla="*/ 299 h 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 h="4006">
                        <a:moveTo>
                          <a:pt x="0" y="0"/>
                        </a:moveTo>
                        <a:lnTo>
                          <a:pt x="239" y="3469"/>
                        </a:lnTo>
                        <a:lnTo>
                          <a:pt x="299" y="4007"/>
                        </a:lnTo>
                        <a:lnTo>
                          <a:pt x="419" y="1854"/>
                        </a:lnTo>
                        <a:lnTo>
                          <a:pt x="778" y="299"/>
                        </a:lnTo>
                      </a:path>
                    </a:pathLst>
                  </a:custGeom>
                  <a:noFill/>
                  <a:ln w="6350" cap="flat">
                    <a:solidFill>
                      <a:schemeClr val="bg1">
                        <a:alpha val="40000"/>
                      </a:schemeClr>
                    </a:solidFill>
                    <a:prstDash val="solid"/>
                    <a:miter/>
                  </a:ln>
                </p:spPr>
                <p:txBody>
                  <a:bodyPr rtlCol="0" anchor="ctr"/>
                  <a:lstStyle/>
                  <a:p>
                    <a:endParaRPr lang="en-GB"/>
                  </a:p>
                </p:txBody>
              </p:sp>
              <p:sp>
                <p:nvSpPr>
                  <p:cNvPr id="7839" name="Vrije vorm: vorm 7838">
                    <a:extLst>
                      <a:ext uri="{FF2B5EF4-FFF2-40B4-BE49-F238E27FC236}">
                        <a16:creationId xmlns:a16="http://schemas.microsoft.com/office/drawing/2014/main" id="{B00B7349-E203-4A63-90A4-BC41638CE786}"/>
                      </a:ext>
                    </a:extLst>
                  </p:cNvPr>
                  <p:cNvSpPr/>
                  <p:nvPr/>
                </p:nvSpPr>
                <p:spPr>
                  <a:xfrm>
                    <a:off x="5758976" y="5092624"/>
                    <a:ext cx="62797" cy="44975"/>
                  </a:xfrm>
                  <a:custGeom>
                    <a:avLst/>
                    <a:gdLst>
                      <a:gd name="connsiteX0" fmla="*/ 0 w 62797"/>
                      <a:gd name="connsiteY0" fmla="*/ 8792 h 44975"/>
                      <a:gd name="connsiteX1" fmla="*/ 1555 w 62797"/>
                      <a:gd name="connsiteY1" fmla="*/ 5742 h 44975"/>
                      <a:gd name="connsiteX2" fmla="*/ 1735 w 62797"/>
                      <a:gd name="connsiteY2" fmla="*/ 5443 h 44975"/>
                      <a:gd name="connsiteX3" fmla="*/ 3290 w 62797"/>
                      <a:gd name="connsiteY3" fmla="*/ 2392 h 44975"/>
                      <a:gd name="connsiteX4" fmla="*/ 4067 w 62797"/>
                      <a:gd name="connsiteY4" fmla="*/ 897 h 44975"/>
                      <a:gd name="connsiteX5" fmla="*/ 4187 w 62797"/>
                      <a:gd name="connsiteY5" fmla="*/ 837 h 44975"/>
                      <a:gd name="connsiteX6" fmla="*/ 4306 w 62797"/>
                      <a:gd name="connsiteY6" fmla="*/ 778 h 44975"/>
                      <a:gd name="connsiteX7" fmla="*/ 6041 w 62797"/>
                      <a:gd name="connsiteY7" fmla="*/ 0 h 44975"/>
                      <a:gd name="connsiteX8" fmla="*/ 7058 w 62797"/>
                      <a:gd name="connsiteY8" fmla="*/ 60 h 44975"/>
                      <a:gd name="connsiteX9" fmla="*/ 9928 w 62797"/>
                      <a:gd name="connsiteY9" fmla="*/ 239 h 44975"/>
                      <a:gd name="connsiteX10" fmla="*/ 9988 w 62797"/>
                      <a:gd name="connsiteY10" fmla="*/ 239 h 44975"/>
                      <a:gd name="connsiteX11" fmla="*/ 10347 w 62797"/>
                      <a:gd name="connsiteY11" fmla="*/ 359 h 44975"/>
                      <a:gd name="connsiteX12" fmla="*/ 10347 w 62797"/>
                      <a:gd name="connsiteY12" fmla="*/ 359 h 44975"/>
                      <a:gd name="connsiteX13" fmla="*/ 10526 w 62797"/>
                      <a:gd name="connsiteY13" fmla="*/ 419 h 44975"/>
                      <a:gd name="connsiteX14" fmla="*/ 12679 w 62797"/>
                      <a:gd name="connsiteY14" fmla="*/ 957 h 44975"/>
                      <a:gd name="connsiteX15" fmla="*/ 15371 w 62797"/>
                      <a:gd name="connsiteY15" fmla="*/ 1615 h 44975"/>
                      <a:gd name="connsiteX16" fmla="*/ 15610 w 62797"/>
                      <a:gd name="connsiteY16" fmla="*/ 1675 h 44975"/>
                      <a:gd name="connsiteX17" fmla="*/ 16806 w 62797"/>
                      <a:gd name="connsiteY17" fmla="*/ 2093 h 44975"/>
                      <a:gd name="connsiteX18" fmla="*/ 19437 w 62797"/>
                      <a:gd name="connsiteY18" fmla="*/ 2990 h 44975"/>
                      <a:gd name="connsiteX19" fmla="*/ 22069 w 62797"/>
                      <a:gd name="connsiteY19" fmla="*/ 3888 h 44975"/>
                      <a:gd name="connsiteX20" fmla="*/ 22667 w 62797"/>
                      <a:gd name="connsiteY20" fmla="*/ 4127 h 44975"/>
                      <a:gd name="connsiteX21" fmla="*/ 25239 w 62797"/>
                      <a:gd name="connsiteY21" fmla="*/ 5203 h 44975"/>
                      <a:gd name="connsiteX22" fmla="*/ 27811 w 62797"/>
                      <a:gd name="connsiteY22" fmla="*/ 6280 h 44975"/>
                      <a:gd name="connsiteX23" fmla="*/ 30382 w 62797"/>
                      <a:gd name="connsiteY23" fmla="*/ 7357 h 44975"/>
                      <a:gd name="connsiteX24" fmla="*/ 30622 w 62797"/>
                      <a:gd name="connsiteY24" fmla="*/ 7476 h 44975"/>
                      <a:gd name="connsiteX25" fmla="*/ 33133 w 62797"/>
                      <a:gd name="connsiteY25" fmla="*/ 8732 h 44975"/>
                      <a:gd name="connsiteX26" fmla="*/ 35645 w 62797"/>
                      <a:gd name="connsiteY26" fmla="*/ 9988 h 44975"/>
                      <a:gd name="connsiteX27" fmla="*/ 38157 w 62797"/>
                      <a:gd name="connsiteY27" fmla="*/ 11244 h 44975"/>
                      <a:gd name="connsiteX28" fmla="*/ 38815 w 62797"/>
                      <a:gd name="connsiteY28" fmla="*/ 11603 h 44975"/>
                      <a:gd name="connsiteX29" fmla="*/ 41207 w 62797"/>
                      <a:gd name="connsiteY29" fmla="*/ 12978 h 44975"/>
                      <a:gd name="connsiteX30" fmla="*/ 43600 w 62797"/>
                      <a:gd name="connsiteY30" fmla="*/ 14354 h 44975"/>
                      <a:gd name="connsiteX31" fmla="*/ 44497 w 62797"/>
                      <a:gd name="connsiteY31" fmla="*/ 14892 h 44975"/>
                      <a:gd name="connsiteX32" fmla="*/ 46470 w 62797"/>
                      <a:gd name="connsiteY32" fmla="*/ 16028 h 44975"/>
                      <a:gd name="connsiteX33" fmla="*/ 48803 w 62797"/>
                      <a:gd name="connsiteY33" fmla="*/ 17583 h 44975"/>
                      <a:gd name="connsiteX34" fmla="*/ 51135 w 62797"/>
                      <a:gd name="connsiteY34" fmla="*/ 19138 h 44975"/>
                      <a:gd name="connsiteX35" fmla="*/ 53169 w 62797"/>
                      <a:gd name="connsiteY35" fmla="*/ 20454 h 44975"/>
                      <a:gd name="connsiteX36" fmla="*/ 55382 w 62797"/>
                      <a:gd name="connsiteY36" fmla="*/ 22189 h 44975"/>
                      <a:gd name="connsiteX37" fmla="*/ 55441 w 62797"/>
                      <a:gd name="connsiteY37" fmla="*/ 22248 h 44975"/>
                      <a:gd name="connsiteX38" fmla="*/ 57475 w 62797"/>
                      <a:gd name="connsiteY38" fmla="*/ 23804 h 44975"/>
                      <a:gd name="connsiteX39" fmla="*/ 58372 w 62797"/>
                      <a:gd name="connsiteY39" fmla="*/ 24461 h 44975"/>
                      <a:gd name="connsiteX40" fmla="*/ 59389 w 62797"/>
                      <a:gd name="connsiteY40" fmla="*/ 25538 h 44975"/>
                      <a:gd name="connsiteX41" fmla="*/ 59389 w 62797"/>
                      <a:gd name="connsiteY41" fmla="*/ 25538 h 44975"/>
                      <a:gd name="connsiteX42" fmla="*/ 59389 w 62797"/>
                      <a:gd name="connsiteY42" fmla="*/ 25538 h 44975"/>
                      <a:gd name="connsiteX43" fmla="*/ 61362 w 62797"/>
                      <a:gd name="connsiteY43" fmla="*/ 27571 h 44975"/>
                      <a:gd name="connsiteX44" fmla="*/ 61602 w 62797"/>
                      <a:gd name="connsiteY44" fmla="*/ 27811 h 44975"/>
                      <a:gd name="connsiteX45" fmla="*/ 62140 w 62797"/>
                      <a:gd name="connsiteY45" fmla="*/ 28947 h 44975"/>
                      <a:gd name="connsiteX46" fmla="*/ 62798 w 62797"/>
                      <a:gd name="connsiteY46" fmla="*/ 30262 h 44975"/>
                      <a:gd name="connsiteX47" fmla="*/ 62618 w 62797"/>
                      <a:gd name="connsiteY47" fmla="*/ 30681 h 44975"/>
                      <a:gd name="connsiteX48" fmla="*/ 62379 w 62797"/>
                      <a:gd name="connsiteY48" fmla="*/ 31160 h 44975"/>
                      <a:gd name="connsiteX49" fmla="*/ 62080 w 62797"/>
                      <a:gd name="connsiteY49" fmla="*/ 31817 h 44975"/>
                      <a:gd name="connsiteX50" fmla="*/ 60884 w 62797"/>
                      <a:gd name="connsiteY50" fmla="*/ 34210 h 44975"/>
                      <a:gd name="connsiteX51" fmla="*/ 60226 w 62797"/>
                      <a:gd name="connsiteY51" fmla="*/ 35526 h 44975"/>
                      <a:gd name="connsiteX52" fmla="*/ 59688 w 62797"/>
                      <a:gd name="connsiteY52" fmla="*/ 36602 h 44975"/>
                      <a:gd name="connsiteX53" fmla="*/ 59149 w 62797"/>
                      <a:gd name="connsiteY53" fmla="*/ 37738 h 44975"/>
                      <a:gd name="connsiteX54" fmla="*/ 58731 w 62797"/>
                      <a:gd name="connsiteY54" fmla="*/ 38576 h 44975"/>
                      <a:gd name="connsiteX55" fmla="*/ 58731 w 62797"/>
                      <a:gd name="connsiteY55" fmla="*/ 38576 h 44975"/>
                      <a:gd name="connsiteX56" fmla="*/ 59867 w 62797"/>
                      <a:gd name="connsiteY56" fmla="*/ 41387 h 44975"/>
                      <a:gd name="connsiteX57" fmla="*/ 60047 w 62797"/>
                      <a:gd name="connsiteY57" fmla="*/ 41805 h 44975"/>
                      <a:gd name="connsiteX58" fmla="*/ 60525 w 62797"/>
                      <a:gd name="connsiteY58" fmla="*/ 42942 h 44975"/>
                      <a:gd name="connsiteX59" fmla="*/ 61362 w 62797"/>
                      <a:gd name="connsiteY59" fmla="*/ 44975 h 4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2797" h="44975">
                        <a:moveTo>
                          <a:pt x="0" y="8792"/>
                        </a:moveTo>
                        <a:lnTo>
                          <a:pt x="1555" y="5742"/>
                        </a:lnTo>
                        <a:lnTo>
                          <a:pt x="1735" y="5443"/>
                        </a:lnTo>
                        <a:lnTo>
                          <a:pt x="3290" y="2392"/>
                        </a:lnTo>
                        <a:lnTo>
                          <a:pt x="4067" y="897"/>
                        </a:lnTo>
                        <a:lnTo>
                          <a:pt x="4187" y="837"/>
                        </a:lnTo>
                        <a:lnTo>
                          <a:pt x="4306" y="778"/>
                        </a:lnTo>
                        <a:lnTo>
                          <a:pt x="6041" y="0"/>
                        </a:lnTo>
                        <a:lnTo>
                          <a:pt x="7058" y="60"/>
                        </a:lnTo>
                        <a:lnTo>
                          <a:pt x="9928" y="239"/>
                        </a:lnTo>
                        <a:lnTo>
                          <a:pt x="9988" y="239"/>
                        </a:lnTo>
                        <a:lnTo>
                          <a:pt x="10347" y="359"/>
                        </a:lnTo>
                        <a:lnTo>
                          <a:pt x="10347" y="359"/>
                        </a:lnTo>
                        <a:lnTo>
                          <a:pt x="10526" y="419"/>
                        </a:lnTo>
                        <a:lnTo>
                          <a:pt x="12679" y="957"/>
                        </a:lnTo>
                        <a:lnTo>
                          <a:pt x="15371" y="1615"/>
                        </a:lnTo>
                        <a:lnTo>
                          <a:pt x="15610" y="1675"/>
                        </a:lnTo>
                        <a:lnTo>
                          <a:pt x="16806" y="2093"/>
                        </a:lnTo>
                        <a:lnTo>
                          <a:pt x="19437" y="2990"/>
                        </a:lnTo>
                        <a:lnTo>
                          <a:pt x="22069" y="3888"/>
                        </a:lnTo>
                        <a:lnTo>
                          <a:pt x="22667" y="4127"/>
                        </a:lnTo>
                        <a:lnTo>
                          <a:pt x="25239" y="5203"/>
                        </a:lnTo>
                        <a:lnTo>
                          <a:pt x="27811" y="6280"/>
                        </a:lnTo>
                        <a:lnTo>
                          <a:pt x="30382" y="7357"/>
                        </a:lnTo>
                        <a:lnTo>
                          <a:pt x="30622" y="7476"/>
                        </a:lnTo>
                        <a:lnTo>
                          <a:pt x="33133" y="8732"/>
                        </a:lnTo>
                        <a:lnTo>
                          <a:pt x="35645" y="9988"/>
                        </a:lnTo>
                        <a:lnTo>
                          <a:pt x="38157" y="11244"/>
                        </a:lnTo>
                        <a:lnTo>
                          <a:pt x="38815" y="11603"/>
                        </a:lnTo>
                        <a:lnTo>
                          <a:pt x="41207" y="12978"/>
                        </a:lnTo>
                        <a:lnTo>
                          <a:pt x="43600" y="14354"/>
                        </a:lnTo>
                        <a:lnTo>
                          <a:pt x="44497" y="14892"/>
                        </a:lnTo>
                        <a:lnTo>
                          <a:pt x="46470" y="16028"/>
                        </a:lnTo>
                        <a:lnTo>
                          <a:pt x="48803" y="17583"/>
                        </a:lnTo>
                        <a:lnTo>
                          <a:pt x="51135" y="19138"/>
                        </a:lnTo>
                        <a:lnTo>
                          <a:pt x="53169" y="20454"/>
                        </a:lnTo>
                        <a:lnTo>
                          <a:pt x="55382" y="22189"/>
                        </a:lnTo>
                        <a:lnTo>
                          <a:pt x="55441" y="22248"/>
                        </a:lnTo>
                        <a:lnTo>
                          <a:pt x="57475" y="23804"/>
                        </a:lnTo>
                        <a:lnTo>
                          <a:pt x="58372" y="24461"/>
                        </a:lnTo>
                        <a:lnTo>
                          <a:pt x="59389" y="25538"/>
                        </a:lnTo>
                        <a:lnTo>
                          <a:pt x="59389" y="25538"/>
                        </a:lnTo>
                        <a:lnTo>
                          <a:pt x="59389" y="25538"/>
                        </a:lnTo>
                        <a:lnTo>
                          <a:pt x="61362" y="27571"/>
                        </a:lnTo>
                        <a:lnTo>
                          <a:pt x="61602" y="27811"/>
                        </a:lnTo>
                        <a:lnTo>
                          <a:pt x="62140" y="28947"/>
                        </a:lnTo>
                        <a:lnTo>
                          <a:pt x="62798" y="30262"/>
                        </a:lnTo>
                        <a:lnTo>
                          <a:pt x="62618" y="30681"/>
                        </a:lnTo>
                        <a:lnTo>
                          <a:pt x="62379" y="31160"/>
                        </a:lnTo>
                        <a:lnTo>
                          <a:pt x="62080" y="31817"/>
                        </a:lnTo>
                        <a:lnTo>
                          <a:pt x="60884" y="34210"/>
                        </a:lnTo>
                        <a:lnTo>
                          <a:pt x="60226" y="35526"/>
                        </a:lnTo>
                        <a:lnTo>
                          <a:pt x="59688" y="36602"/>
                        </a:lnTo>
                        <a:lnTo>
                          <a:pt x="59149" y="37738"/>
                        </a:lnTo>
                        <a:lnTo>
                          <a:pt x="58731" y="38576"/>
                        </a:lnTo>
                        <a:lnTo>
                          <a:pt x="58731" y="38576"/>
                        </a:lnTo>
                        <a:lnTo>
                          <a:pt x="59867" y="41387"/>
                        </a:lnTo>
                        <a:lnTo>
                          <a:pt x="60047" y="41805"/>
                        </a:lnTo>
                        <a:lnTo>
                          <a:pt x="60525" y="42942"/>
                        </a:lnTo>
                        <a:lnTo>
                          <a:pt x="61362" y="44975"/>
                        </a:lnTo>
                      </a:path>
                    </a:pathLst>
                  </a:custGeom>
                  <a:noFill/>
                  <a:ln w="6350" cap="flat">
                    <a:solidFill>
                      <a:schemeClr val="bg1">
                        <a:alpha val="40000"/>
                      </a:schemeClr>
                    </a:solidFill>
                    <a:prstDash val="solid"/>
                    <a:miter/>
                  </a:ln>
                </p:spPr>
                <p:txBody>
                  <a:bodyPr rtlCol="0" anchor="ctr"/>
                  <a:lstStyle/>
                  <a:p>
                    <a:endParaRPr lang="en-GB"/>
                  </a:p>
                </p:txBody>
              </p:sp>
              <p:sp>
                <p:nvSpPr>
                  <p:cNvPr id="7840" name="Vrije vorm: vorm 7839">
                    <a:extLst>
                      <a:ext uri="{FF2B5EF4-FFF2-40B4-BE49-F238E27FC236}">
                        <a16:creationId xmlns:a16="http://schemas.microsoft.com/office/drawing/2014/main" id="{5CA3B0F7-46EB-49F4-8525-E46E06E9FAB7}"/>
                      </a:ext>
                    </a:extLst>
                  </p:cNvPr>
                  <p:cNvSpPr/>
                  <p:nvPr/>
                </p:nvSpPr>
                <p:spPr>
                  <a:xfrm>
                    <a:off x="5867167" y="5158592"/>
                    <a:ext cx="16626" cy="18360"/>
                  </a:xfrm>
                  <a:custGeom>
                    <a:avLst/>
                    <a:gdLst>
                      <a:gd name="connsiteX0" fmla="*/ 0 w 16626"/>
                      <a:gd name="connsiteY0" fmla="*/ 0 h 18360"/>
                      <a:gd name="connsiteX1" fmla="*/ 2034 w 16626"/>
                      <a:gd name="connsiteY1" fmla="*/ 1914 h 18360"/>
                      <a:gd name="connsiteX2" fmla="*/ 4067 w 16626"/>
                      <a:gd name="connsiteY2" fmla="*/ 3828 h 18360"/>
                      <a:gd name="connsiteX3" fmla="*/ 6100 w 16626"/>
                      <a:gd name="connsiteY3" fmla="*/ 5741 h 18360"/>
                      <a:gd name="connsiteX4" fmla="*/ 8134 w 16626"/>
                      <a:gd name="connsiteY4" fmla="*/ 7655 h 18360"/>
                      <a:gd name="connsiteX5" fmla="*/ 10167 w 16626"/>
                      <a:gd name="connsiteY5" fmla="*/ 9569 h 18360"/>
                      <a:gd name="connsiteX6" fmla="*/ 11902 w 16626"/>
                      <a:gd name="connsiteY6" fmla="*/ 11184 h 18360"/>
                      <a:gd name="connsiteX7" fmla="*/ 13576 w 16626"/>
                      <a:gd name="connsiteY7" fmla="*/ 11782 h 18360"/>
                      <a:gd name="connsiteX8" fmla="*/ 15610 w 16626"/>
                      <a:gd name="connsiteY8" fmla="*/ 13696 h 18360"/>
                      <a:gd name="connsiteX9" fmla="*/ 16447 w 16626"/>
                      <a:gd name="connsiteY9" fmla="*/ 14473 h 18360"/>
                      <a:gd name="connsiteX10" fmla="*/ 16567 w 16626"/>
                      <a:gd name="connsiteY10" fmla="*/ 14712 h 18360"/>
                      <a:gd name="connsiteX11" fmla="*/ 16627 w 16626"/>
                      <a:gd name="connsiteY11" fmla="*/ 15012 h 18360"/>
                      <a:gd name="connsiteX12" fmla="*/ 16627 w 16626"/>
                      <a:gd name="connsiteY12" fmla="*/ 15430 h 18360"/>
                      <a:gd name="connsiteX13" fmla="*/ 16507 w 16626"/>
                      <a:gd name="connsiteY13" fmla="*/ 15909 h 18360"/>
                      <a:gd name="connsiteX14" fmla="*/ 16327 w 16626"/>
                      <a:gd name="connsiteY14" fmla="*/ 16447 h 18360"/>
                      <a:gd name="connsiteX15" fmla="*/ 16088 w 16626"/>
                      <a:gd name="connsiteY15" fmla="*/ 16925 h 18360"/>
                      <a:gd name="connsiteX16" fmla="*/ 15849 w 16626"/>
                      <a:gd name="connsiteY16" fmla="*/ 17404 h 18360"/>
                      <a:gd name="connsiteX17" fmla="*/ 15550 w 16626"/>
                      <a:gd name="connsiteY17" fmla="*/ 17822 h 18360"/>
                      <a:gd name="connsiteX18" fmla="*/ 15251 w 16626"/>
                      <a:gd name="connsiteY18" fmla="*/ 18121 h 18360"/>
                      <a:gd name="connsiteX19" fmla="*/ 15012 w 16626"/>
                      <a:gd name="connsiteY19" fmla="*/ 18241 h 18360"/>
                      <a:gd name="connsiteX20" fmla="*/ 14952 w 16626"/>
                      <a:gd name="connsiteY20" fmla="*/ 18301 h 18360"/>
                      <a:gd name="connsiteX21" fmla="*/ 14713 w 16626"/>
                      <a:gd name="connsiteY21" fmla="*/ 18361 h 18360"/>
                      <a:gd name="connsiteX22" fmla="*/ 13038 w 16626"/>
                      <a:gd name="connsiteY22" fmla="*/ 17763 h 18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626" h="18360">
                        <a:moveTo>
                          <a:pt x="0" y="0"/>
                        </a:moveTo>
                        <a:lnTo>
                          <a:pt x="2034" y="1914"/>
                        </a:lnTo>
                        <a:lnTo>
                          <a:pt x="4067" y="3828"/>
                        </a:lnTo>
                        <a:lnTo>
                          <a:pt x="6100" y="5741"/>
                        </a:lnTo>
                        <a:lnTo>
                          <a:pt x="8134" y="7655"/>
                        </a:lnTo>
                        <a:lnTo>
                          <a:pt x="10167" y="9569"/>
                        </a:lnTo>
                        <a:lnTo>
                          <a:pt x="11902" y="11184"/>
                        </a:lnTo>
                        <a:lnTo>
                          <a:pt x="13576" y="11782"/>
                        </a:lnTo>
                        <a:lnTo>
                          <a:pt x="15610" y="13696"/>
                        </a:lnTo>
                        <a:lnTo>
                          <a:pt x="16447" y="14473"/>
                        </a:lnTo>
                        <a:lnTo>
                          <a:pt x="16567" y="14712"/>
                        </a:lnTo>
                        <a:lnTo>
                          <a:pt x="16627" y="15012"/>
                        </a:lnTo>
                        <a:lnTo>
                          <a:pt x="16627" y="15430"/>
                        </a:lnTo>
                        <a:lnTo>
                          <a:pt x="16507" y="15909"/>
                        </a:lnTo>
                        <a:lnTo>
                          <a:pt x="16327" y="16447"/>
                        </a:lnTo>
                        <a:lnTo>
                          <a:pt x="16088" y="16925"/>
                        </a:lnTo>
                        <a:lnTo>
                          <a:pt x="15849" y="17404"/>
                        </a:lnTo>
                        <a:lnTo>
                          <a:pt x="15550" y="17822"/>
                        </a:lnTo>
                        <a:lnTo>
                          <a:pt x="15251" y="18121"/>
                        </a:lnTo>
                        <a:lnTo>
                          <a:pt x="15012" y="18241"/>
                        </a:lnTo>
                        <a:lnTo>
                          <a:pt x="14952" y="18301"/>
                        </a:lnTo>
                        <a:lnTo>
                          <a:pt x="14713" y="18361"/>
                        </a:lnTo>
                        <a:lnTo>
                          <a:pt x="13038" y="17763"/>
                        </a:lnTo>
                      </a:path>
                    </a:pathLst>
                  </a:custGeom>
                  <a:noFill/>
                  <a:ln w="6350" cap="flat">
                    <a:solidFill>
                      <a:schemeClr val="bg1">
                        <a:alpha val="40000"/>
                      </a:schemeClr>
                    </a:solidFill>
                    <a:prstDash val="solid"/>
                    <a:miter/>
                  </a:ln>
                </p:spPr>
                <p:txBody>
                  <a:bodyPr rtlCol="0" anchor="ctr"/>
                  <a:lstStyle/>
                  <a:p>
                    <a:endParaRPr lang="en-GB"/>
                  </a:p>
                </p:txBody>
              </p:sp>
              <p:sp>
                <p:nvSpPr>
                  <p:cNvPr id="7841" name="Vrije vorm: vorm 7840">
                    <a:extLst>
                      <a:ext uri="{FF2B5EF4-FFF2-40B4-BE49-F238E27FC236}">
                        <a16:creationId xmlns:a16="http://schemas.microsoft.com/office/drawing/2014/main" id="{2518F8DD-2E9A-4047-BCD7-C773AF6EDC71}"/>
                      </a:ext>
                    </a:extLst>
                  </p:cNvPr>
                  <p:cNvSpPr/>
                  <p:nvPr/>
                </p:nvSpPr>
                <p:spPr>
                  <a:xfrm>
                    <a:off x="5855804" y="5181259"/>
                    <a:ext cx="13696" cy="16805"/>
                  </a:xfrm>
                  <a:custGeom>
                    <a:avLst/>
                    <a:gdLst>
                      <a:gd name="connsiteX0" fmla="*/ 7895 w 13696"/>
                      <a:gd name="connsiteY0" fmla="*/ 16627 h 16805"/>
                      <a:gd name="connsiteX1" fmla="*/ 7775 w 13696"/>
                      <a:gd name="connsiteY1" fmla="*/ 16567 h 16805"/>
                      <a:gd name="connsiteX2" fmla="*/ 6699 w 13696"/>
                      <a:gd name="connsiteY2" fmla="*/ 15729 h 16805"/>
                      <a:gd name="connsiteX3" fmla="*/ 4486 w 13696"/>
                      <a:gd name="connsiteY3" fmla="*/ 13995 h 16805"/>
                      <a:gd name="connsiteX4" fmla="*/ 2273 w 13696"/>
                      <a:gd name="connsiteY4" fmla="*/ 12260 h 16805"/>
                      <a:gd name="connsiteX5" fmla="*/ 180 w 13696"/>
                      <a:gd name="connsiteY5" fmla="*/ 10646 h 16805"/>
                      <a:gd name="connsiteX6" fmla="*/ 120 w 13696"/>
                      <a:gd name="connsiteY6" fmla="*/ 10586 h 16805"/>
                      <a:gd name="connsiteX7" fmla="*/ 60 w 13696"/>
                      <a:gd name="connsiteY7" fmla="*/ 10466 h 16805"/>
                      <a:gd name="connsiteX8" fmla="*/ 0 w 13696"/>
                      <a:gd name="connsiteY8" fmla="*/ 10347 h 16805"/>
                      <a:gd name="connsiteX9" fmla="*/ 0 w 13696"/>
                      <a:gd name="connsiteY9" fmla="*/ 10167 h 16805"/>
                      <a:gd name="connsiteX10" fmla="*/ 0 w 13696"/>
                      <a:gd name="connsiteY10" fmla="*/ 9988 h 16805"/>
                      <a:gd name="connsiteX11" fmla="*/ 0 w 13696"/>
                      <a:gd name="connsiteY11" fmla="*/ 9749 h 16805"/>
                      <a:gd name="connsiteX12" fmla="*/ 60 w 13696"/>
                      <a:gd name="connsiteY12" fmla="*/ 9510 h 16805"/>
                      <a:gd name="connsiteX13" fmla="*/ 120 w 13696"/>
                      <a:gd name="connsiteY13" fmla="*/ 9270 h 16805"/>
                      <a:gd name="connsiteX14" fmla="*/ 180 w 13696"/>
                      <a:gd name="connsiteY14" fmla="*/ 9031 h 16805"/>
                      <a:gd name="connsiteX15" fmla="*/ 299 w 13696"/>
                      <a:gd name="connsiteY15" fmla="*/ 8792 h 16805"/>
                      <a:gd name="connsiteX16" fmla="*/ 419 w 13696"/>
                      <a:gd name="connsiteY16" fmla="*/ 8552 h 16805"/>
                      <a:gd name="connsiteX17" fmla="*/ 538 w 13696"/>
                      <a:gd name="connsiteY17" fmla="*/ 8313 h 16805"/>
                      <a:gd name="connsiteX18" fmla="*/ 2093 w 13696"/>
                      <a:gd name="connsiteY18" fmla="*/ 5263 h 16805"/>
                      <a:gd name="connsiteX19" fmla="*/ 3649 w 13696"/>
                      <a:gd name="connsiteY19" fmla="*/ 2213 h 16805"/>
                      <a:gd name="connsiteX20" fmla="*/ 4067 w 13696"/>
                      <a:gd name="connsiteY20" fmla="*/ 1435 h 16805"/>
                      <a:gd name="connsiteX21" fmla="*/ 4187 w 13696"/>
                      <a:gd name="connsiteY21" fmla="*/ 1196 h 16805"/>
                      <a:gd name="connsiteX22" fmla="*/ 4306 w 13696"/>
                      <a:gd name="connsiteY22" fmla="*/ 957 h 16805"/>
                      <a:gd name="connsiteX23" fmla="*/ 4486 w 13696"/>
                      <a:gd name="connsiteY23" fmla="*/ 718 h 16805"/>
                      <a:gd name="connsiteX24" fmla="*/ 4665 w 13696"/>
                      <a:gd name="connsiteY24" fmla="*/ 538 h 16805"/>
                      <a:gd name="connsiteX25" fmla="*/ 4844 w 13696"/>
                      <a:gd name="connsiteY25" fmla="*/ 359 h 16805"/>
                      <a:gd name="connsiteX26" fmla="*/ 4964 w 13696"/>
                      <a:gd name="connsiteY26" fmla="*/ 239 h 16805"/>
                      <a:gd name="connsiteX27" fmla="*/ 4964 w 13696"/>
                      <a:gd name="connsiteY27" fmla="*/ 239 h 16805"/>
                      <a:gd name="connsiteX28" fmla="*/ 5144 w 13696"/>
                      <a:gd name="connsiteY28" fmla="*/ 120 h 16805"/>
                      <a:gd name="connsiteX29" fmla="*/ 5323 w 13696"/>
                      <a:gd name="connsiteY29" fmla="*/ 60 h 16805"/>
                      <a:gd name="connsiteX30" fmla="*/ 5443 w 13696"/>
                      <a:gd name="connsiteY30" fmla="*/ 0 h 16805"/>
                      <a:gd name="connsiteX31" fmla="*/ 5562 w 13696"/>
                      <a:gd name="connsiteY31" fmla="*/ 0 h 16805"/>
                      <a:gd name="connsiteX32" fmla="*/ 5682 w 13696"/>
                      <a:gd name="connsiteY32" fmla="*/ 0 h 16805"/>
                      <a:gd name="connsiteX33" fmla="*/ 5801 w 13696"/>
                      <a:gd name="connsiteY33" fmla="*/ 60 h 16805"/>
                      <a:gd name="connsiteX34" fmla="*/ 7954 w 13696"/>
                      <a:gd name="connsiteY34" fmla="*/ 1854 h 16805"/>
                      <a:gd name="connsiteX35" fmla="*/ 10107 w 13696"/>
                      <a:gd name="connsiteY35" fmla="*/ 3648 h 16805"/>
                      <a:gd name="connsiteX36" fmla="*/ 12261 w 13696"/>
                      <a:gd name="connsiteY36" fmla="*/ 5443 h 16805"/>
                      <a:gd name="connsiteX37" fmla="*/ 13397 w 13696"/>
                      <a:gd name="connsiteY37" fmla="*/ 6399 h 16805"/>
                      <a:gd name="connsiteX38" fmla="*/ 13516 w 13696"/>
                      <a:gd name="connsiteY38" fmla="*/ 6519 h 16805"/>
                      <a:gd name="connsiteX39" fmla="*/ 13576 w 13696"/>
                      <a:gd name="connsiteY39" fmla="*/ 6698 h 16805"/>
                      <a:gd name="connsiteX40" fmla="*/ 13636 w 13696"/>
                      <a:gd name="connsiteY40" fmla="*/ 6938 h 16805"/>
                      <a:gd name="connsiteX41" fmla="*/ 13696 w 13696"/>
                      <a:gd name="connsiteY41" fmla="*/ 7177 h 16805"/>
                      <a:gd name="connsiteX42" fmla="*/ 13696 w 13696"/>
                      <a:gd name="connsiteY42" fmla="*/ 7476 h 16805"/>
                      <a:gd name="connsiteX43" fmla="*/ 13696 w 13696"/>
                      <a:gd name="connsiteY43" fmla="*/ 7775 h 16805"/>
                      <a:gd name="connsiteX44" fmla="*/ 13636 w 13696"/>
                      <a:gd name="connsiteY44" fmla="*/ 8134 h 16805"/>
                      <a:gd name="connsiteX45" fmla="*/ 13576 w 13696"/>
                      <a:gd name="connsiteY45" fmla="*/ 8253 h 16805"/>
                      <a:gd name="connsiteX46" fmla="*/ 13516 w 13696"/>
                      <a:gd name="connsiteY46" fmla="*/ 8493 h 16805"/>
                      <a:gd name="connsiteX47" fmla="*/ 13397 w 13696"/>
                      <a:gd name="connsiteY47" fmla="*/ 8851 h 16805"/>
                      <a:gd name="connsiteX48" fmla="*/ 13277 w 13696"/>
                      <a:gd name="connsiteY48" fmla="*/ 9210 h 16805"/>
                      <a:gd name="connsiteX49" fmla="*/ 13098 w 13696"/>
                      <a:gd name="connsiteY49" fmla="*/ 9569 h 16805"/>
                      <a:gd name="connsiteX50" fmla="*/ 12919 w 13696"/>
                      <a:gd name="connsiteY50" fmla="*/ 9928 h 16805"/>
                      <a:gd name="connsiteX51" fmla="*/ 11364 w 13696"/>
                      <a:gd name="connsiteY51" fmla="*/ 12978 h 16805"/>
                      <a:gd name="connsiteX52" fmla="*/ 10945 w 13696"/>
                      <a:gd name="connsiteY52" fmla="*/ 13815 h 16805"/>
                      <a:gd name="connsiteX53" fmla="*/ 10287 w 13696"/>
                      <a:gd name="connsiteY53" fmla="*/ 15131 h 16805"/>
                      <a:gd name="connsiteX54" fmla="*/ 10048 w 13696"/>
                      <a:gd name="connsiteY54" fmla="*/ 15430 h 16805"/>
                      <a:gd name="connsiteX55" fmla="*/ 9808 w 13696"/>
                      <a:gd name="connsiteY55" fmla="*/ 15729 h 16805"/>
                      <a:gd name="connsiteX56" fmla="*/ 9569 w 13696"/>
                      <a:gd name="connsiteY56" fmla="*/ 15968 h 16805"/>
                      <a:gd name="connsiteX57" fmla="*/ 9330 w 13696"/>
                      <a:gd name="connsiteY57" fmla="*/ 16208 h 16805"/>
                      <a:gd name="connsiteX58" fmla="*/ 9091 w 13696"/>
                      <a:gd name="connsiteY58" fmla="*/ 16387 h 16805"/>
                      <a:gd name="connsiteX59" fmla="*/ 8852 w 13696"/>
                      <a:gd name="connsiteY59" fmla="*/ 16567 h 16805"/>
                      <a:gd name="connsiteX60" fmla="*/ 8612 w 13696"/>
                      <a:gd name="connsiteY60" fmla="*/ 16686 h 16805"/>
                      <a:gd name="connsiteX61" fmla="*/ 8433 w 13696"/>
                      <a:gd name="connsiteY61" fmla="*/ 16746 h 16805"/>
                      <a:gd name="connsiteX62" fmla="*/ 8253 w 13696"/>
                      <a:gd name="connsiteY62" fmla="*/ 16806 h 16805"/>
                      <a:gd name="connsiteX63" fmla="*/ 8074 w 13696"/>
                      <a:gd name="connsiteY63" fmla="*/ 16806 h 16805"/>
                      <a:gd name="connsiteX64" fmla="*/ 7895 w 13696"/>
                      <a:gd name="connsiteY64" fmla="*/ 16627 h 16805"/>
                      <a:gd name="connsiteX65" fmla="*/ 5921 w 13696"/>
                      <a:gd name="connsiteY65" fmla="*/ 15789 h 1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696" h="16805">
                        <a:moveTo>
                          <a:pt x="7895" y="16627"/>
                        </a:moveTo>
                        <a:lnTo>
                          <a:pt x="7775" y="16567"/>
                        </a:lnTo>
                        <a:lnTo>
                          <a:pt x="6699" y="15729"/>
                        </a:lnTo>
                        <a:lnTo>
                          <a:pt x="4486" y="13995"/>
                        </a:lnTo>
                        <a:lnTo>
                          <a:pt x="2273" y="12260"/>
                        </a:lnTo>
                        <a:lnTo>
                          <a:pt x="180" y="10646"/>
                        </a:lnTo>
                        <a:lnTo>
                          <a:pt x="120" y="10586"/>
                        </a:lnTo>
                        <a:lnTo>
                          <a:pt x="60" y="10466"/>
                        </a:lnTo>
                        <a:lnTo>
                          <a:pt x="0" y="10347"/>
                        </a:lnTo>
                        <a:lnTo>
                          <a:pt x="0" y="10167"/>
                        </a:lnTo>
                        <a:lnTo>
                          <a:pt x="0" y="9988"/>
                        </a:lnTo>
                        <a:lnTo>
                          <a:pt x="0" y="9749"/>
                        </a:lnTo>
                        <a:lnTo>
                          <a:pt x="60" y="9510"/>
                        </a:lnTo>
                        <a:lnTo>
                          <a:pt x="120" y="9270"/>
                        </a:lnTo>
                        <a:lnTo>
                          <a:pt x="180" y="9031"/>
                        </a:lnTo>
                        <a:lnTo>
                          <a:pt x="299" y="8792"/>
                        </a:lnTo>
                        <a:lnTo>
                          <a:pt x="419" y="8552"/>
                        </a:lnTo>
                        <a:lnTo>
                          <a:pt x="538" y="8313"/>
                        </a:lnTo>
                        <a:lnTo>
                          <a:pt x="2093" y="5263"/>
                        </a:lnTo>
                        <a:lnTo>
                          <a:pt x="3649" y="2213"/>
                        </a:lnTo>
                        <a:lnTo>
                          <a:pt x="4067" y="1435"/>
                        </a:lnTo>
                        <a:lnTo>
                          <a:pt x="4187" y="1196"/>
                        </a:lnTo>
                        <a:lnTo>
                          <a:pt x="4306" y="957"/>
                        </a:lnTo>
                        <a:lnTo>
                          <a:pt x="4486" y="718"/>
                        </a:lnTo>
                        <a:lnTo>
                          <a:pt x="4665" y="538"/>
                        </a:lnTo>
                        <a:lnTo>
                          <a:pt x="4844" y="359"/>
                        </a:lnTo>
                        <a:lnTo>
                          <a:pt x="4964" y="239"/>
                        </a:lnTo>
                        <a:lnTo>
                          <a:pt x="4964" y="239"/>
                        </a:lnTo>
                        <a:lnTo>
                          <a:pt x="5144" y="120"/>
                        </a:lnTo>
                        <a:lnTo>
                          <a:pt x="5323" y="60"/>
                        </a:lnTo>
                        <a:lnTo>
                          <a:pt x="5443" y="0"/>
                        </a:lnTo>
                        <a:lnTo>
                          <a:pt x="5562" y="0"/>
                        </a:lnTo>
                        <a:lnTo>
                          <a:pt x="5682" y="0"/>
                        </a:lnTo>
                        <a:lnTo>
                          <a:pt x="5801" y="60"/>
                        </a:lnTo>
                        <a:lnTo>
                          <a:pt x="7954" y="1854"/>
                        </a:lnTo>
                        <a:lnTo>
                          <a:pt x="10107" y="3648"/>
                        </a:lnTo>
                        <a:lnTo>
                          <a:pt x="12261" y="5443"/>
                        </a:lnTo>
                        <a:lnTo>
                          <a:pt x="13397" y="6399"/>
                        </a:lnTo>
                        <a:lnTo>
                          <a:pt x="13516" y="6519"/>
                        </a:lnTo>
                        <a:lnTo>
                          <a:pt x="13576" y="6698"/>
                        </a:lnTo>
                        <a:lnTo>
                          <a:pt x="13636" y="6938"/>
                        </a:lnTo>
                        <a:lnTo>
                          <a:pt x="13696" y="7177"/>
                        </a:lnTo>
                        <a:lnTo>
                          <a:pt x="13696" y="7476"/>
                        </a:lnTo>
                        <a:lnTo>
                          <a:pt x="13696" y="7775"/>
                        </a:lnTo>
                        <a:lnTo>
                          <a:pt x="13636" y="8134"/>
                        </a:lnTo>
                        <a:lnTo>
                          <a:pt x="13576" y="8253"/>
                        </a:lnTo>
                        <a:lnTo>
                          <a:pt x="13516" y="8493"/>
                        </a:lnTo>
                        <a:lnTo>
                          <a:pt x="13397" y="8851"/>
                        </a:lnTo>
                        <a:lnTo>
                          <a:pt x="13277" y="9210"/>
                        </a:lnTo>
                        <a:lnTo>
                          <a:pt x="13098" y="9569"/>
                        </a:lnTo>
                        <a:lnTo>
                          <a:pt x="12919" y="9928"/>
                        </a:lnTo>
                        <a:lnTo>
                          <a:pt x="11364" y="12978"/>
                        </a:lnTo>
                        <a:lnTo>
                          <a:pt x="10945" y="13815"/>
                        </a:lnTo>
                        <a:lnTo>
                          <a:pt x="10287" y="15131"/>
                        </a:lnTo>
                        <a:lnTo>
                          <a:pt x="10048" y="15430"/>
                        </a:lnTo>
                        <a:lnTo>
                          <a:pt x="9808" y="15729"/>
                        </a:lnTo>
                        <a:lnTo>
                          <a:pt x="9569" y="15968"/>
                        </a:lnTo>
                        <a:lnTo>
                          <a:pt x="9330" y="16208"/>
                        </a:lnTo>
                        <a:lnTo>
                          <a:pt x="9091" y="16387"/>
                        </a:lnTo>
                        <a:lnTo>
                          <a:pt x="8852" y="16567"/>
                        </a:lnTo>
                        <a:lnTo>
                          <a:pt x="8612" y="16686"/>
                        </a:lnTo>
                        <a:lnTo>
                          <a:pt x="8433" y="16746"/>
                        </a:lnTo>
                        <a:lnTo>
                          <a:pt x="8253" y="16806"/>
                        </a:lnTo>
                        <a:lnTo>
                          <a:pt x="8074" y="16806"/>
                        </a:lnTo>
                        <a:lnTo>
                          <a:pt x="7895" y="16627"/>
                        </a:lnTo>
                        <a:lnTo>
                          <a:pt x="5921" y="15789"/>
                        </a:lnTo>
                      </a:path>
                    </a:pathLst>
                  </a:custGeom>
                  <a:noFill/>
                  <a:ln w="6350" cap="flat">
                    <a:solidFill>
                      <a:schemeClr val="bg1">
                        <a:alpha val="40000"/>
                      </a:schemeClr>
                    </a:solidFill>
                    <a:prstDash val="solid"/>
                    <a:miter/>
                  </a:ln>
                </p:spPr>
                <p:txBody>
                  <a:bodyPr rtlCol="0" anchor="ctr"/>
                  <a:lstStyle/>
                  <a:p>
                    <a:endParaRPr lang="en-GB"/>
                  </a:p>
                </p:txBody>
              </p:sp>
              <p:sp>
                <p:nvSpPr>
                  <p:cNvPr id="7842" name="Vrije vorm: vorm 7841">
                    <a:extLst>
                      <a:ext uri="{FF2B5EF4-FFF2-40B4-BE49-F238E27FC236}">
                        <a16:creationId xmlns:a16="http://schemas.microsoft.com/office/drawing/2014/main" id="{1F3681DD-A49E-4CE9-96F1-708F5CA19750}"/>
                      </a:ext>
                    </a:extLst>
                  </p:cNvPr>
                  <p:cNvSpPr/>
                  <p:nvPr/>
                </p:nvSpPr>
                <p:spPr>
                  <a:xfrm>
                    <a:off x="5818963" y="5119358"/>
                    <a:ext cx="16267" cy="9748"/>
                  </a:xfrm>
                  <a:custGeom>
                    <a:avLst/>
                    <a:gdLst>
                      <a:gd name="connsiteX0" fmla="*/ 16267 w 16267"/>
                      <a:gd name="connsiteY0" fmla="*/ 0 h 9748"/>
                      <a:gd name="connsiteX1" fmla="*/ 14892 w 16267"/>
                      <a:gd name="connsiteY1" fmla="*/ 2691 h 9748"/>
                      <a:gd name="connsiteX2" fmla="*/ 14473 w 16267"/>
                      <a:gd name="connsiteY2" fmla="*/ 3469 h 9748"/>
                      <a:gd name="connsiteX3" fmla="*/ 14473 w 16267"/>
                      <a:gd name="connsiteY3" fmla="*/ 3469 h 9748"/>
                      <a:gd name="connsiteX4" fmla="*/ 14473 w 16267"/>
                      <a:gd name="connsiteY4" fmla="*/ 3469 h 9748"/>
                      <a:gd name="connsiteX5" fmla="*/ 13158 w 16267"/>
                      <a:gd name="connsiteY5" fmla="*/ 6041 h 9748"/>
                      <a:gd name="connsiteX6" fmla="*/ 12739 w 16267"/>
                      <a:gd name="connsiteY6" fmla="*/ 6937 h 9748"/>
                      <a:gd name="connsiteX7" fmla="*/ 12380 w 16267"/>
                      <a:gd name="connsiteY7" fmla="*/ 7715 h 9748"/>
                      <a:gd name="connsiteX8" fmla="*/ 12081 w 16267"/>
                      <a:gd name="connsiteY8" fmla="*/ 8373 h 9748"/>
                      <a:gd name="connsiteX9" fmla="*/ 11722 w 16267"/>
                      <a:gd name="connsiteY9" fmla="*/ 9090 h 9748"/>
                      <a:gd name="connsiteX10" fmla="*/ 8791 w 16267"/>
                      <a:gd name="connsiteY10" fmla="*/ 9449 h 9748"/>
                      <a:gd name="connsiteX11" fmla="*/ 6997 w 16267"/>
                      <a:gd name="connsiteY11" fmla="*/ 9689 h 9748"/>
                      <a:gd name="connsiteX12" fmla="*/ 6937 w 16267"/>
                      <a:gd name="connsiteY12" fmla="*/ 9689 h 9748"/>
                      <a:gd name="connsiteX13" fmla="*/ 6399 w 16267"/>
                      <a:gd name="connsiteY13" fmla="*/ 9749 h 9748"/>
                      <a:gd name="connsiteX14" fmla="*/ 3588 w 16267"/>
                      <a:gd name="connsiteY14" fmla="*/ 9330 h 9748"/>
                      <a:gd name="connsiteX15" fmla="*/ 778 w 16267"/>
                      <a:gd name="connsiteY15" fmla="*/ 8911 h 9748"/>
                      <a:gd name="connsiteX16" fmla="*/ 718 w 16267"/>
                      <a:gd name="connsiteY16" fmla="*/ 8911 h 9748"/>
                      <a:gd name="connsiteX17" fmla="*/ 0 w 16267"/>
                      <a:gd name="connsiteY17" fmla="*/ 8672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267" h="9748">
                        <a:moveTo>
                          <a:pt x="16267" y="0"/>
                        </a:moveTo>
                        <a:lnTo>
                          <a:pt x="14892" y="2691"/>
                        </a:lnTo>
                        <a:lnTo>
                          <a:pt x="14473" y="3469"/>
                        </a:lnTo>
                        <a:lnTo>
                          <a:pt x="14473" y="3469"/>
                        </a:lnTo>
                        <a:lnTo>
                          <a:pt x="14473" y="3469"/>
                        </a:lnTo>
                        <a:lnTo>
                          <a:pt x="13158" y="6041"/>
                        </a:lnTo>
                        <a:lnTo>
                          <a:pt x="12739" y="6937"/>
                        </a:lnTo>
                        <a:lnTo>
                          <a:pt x="12380" y="7715"/>
                        </a:lnTo>
                        <a:lnTo>
                          <a:pt x="12081" y="8373"/>
                        </a:lnTo>
                        <a:lnTo>
                          <a:pt x="11722" y="9090"/>
                        </a:lnTo>
                        <a:lnTo>
                          <a:pt x="8791" y="9449"/>
                        </a:lnTo>
                        <a:lnTo>
                          <a:pt x="6997" y="9689"/>
                        </a:lnTo>
                        <a:lnTo>
                          <a:pt x="6937" y="9689"/>
                        </a:lnTo>
                        <a:lnTo>
                          <a:pt x="6399" y="9749"/>
                        </a:lnTo>
                        <a:lnTo>
                          <a:pt x="3588" y="9330"/>
                        </a:lnTo>
                        <a:lnTo>
                          <a:pt x="778" y="8911"/>
                        </a:lnTo>
                        <a:lnTo>
                          <a:pt x="718" y="8911"/>
                        </a:lnTo>
                        <a:lnTo>
                          <a:pt x="0" y="8672"/>
                        </a:lnTo>
                      </a:path>
                    </a:pathLst>
                  </a:custGeom>
                  <a:noFill/>
                  <a:ln w="6350" cap="flat">
                    <a:solidFill>
                      <a:schemeClr val="bg1">
                        <a:alpha val="40000"/>
                      </a:schemeClr>
                    </a:solidFill>
                    <a:prstDash val="solid"/>
                    <a:miter/>
                  </a:ln>
                </p:spPr>
                <p:txBody>
                  <a:bodyPr rtlCol="0" anchor="ctr"/>
                  <a:lstStyle/>
                  <a:p>
                    <a:endParaRPr lang="en-GB"/>
                  </a:p>
                </p:txBody>
              </p:sp>
              <p:sp>
                <p:nvSpPr>
                  <p:cNvPr id="7843" name="Vrije vorm: vorm 7842">
                    <a:extLst>
                      <a:ext uri="{FF2B5EF4-FFF2-40B4-BE49-F238E27FC236}">
                        <a16:creationId xmlns:a16="http://schemas.microsoft.com/office/drawing/2014/main" id="{32456B55-CFD0-494E-A50C-308B4E158DE5}"/>
                      </a:ext>
                    </a:extLst>
                  </p:cNvPr>
                  <p:cNvSpPr/>
                  <p:nvPr/>
                </p:nvSpPr>
                <p:spPr>
                  <a:xfrm>
                    <a:off x="5754610" y="5079885"/>
                    <a:ext cx="6100" cy="18181"/>
                  </a:xfrm>
                  <a:custGeom>
                    <a:avLst/>
                    <a:gdLst>
                      <a:gd name="connsiteX0" fmla="*/ 6100 w 6100"/>
                      <a:gd name="connsiteY0" fmla="*/ 18182 h 18181"/>
                      <a:gd name="connsiteX1" fmla="*/ 4007 w 6100"/>
                      <a:gd name="connsiteY1" fmla="*/ 16268 h 18181"/>
                      <a:gd name="connsiteX2" fmla="*/ 2930 w 6100"/>
                      <a:gd name="connsiteY2" fmla="*/ 15311 h 18181"/>
                      <a:gd name="connsiteX3" fmla="*/ 1196 w 6100"/>
                      <a:gd name="connsiteY3" fmla="*/ 12978 h 18181"/>
                      <a:gd name="connsiteX4" fmla="*/ 239 w 6100"/>
                      <a:gd name="connsiteY4" fmla="*/ 11662 h 18181"/>
                      <a:gd name="connsiteX5" fmla="*/ 0 w 6100"/>
                      <a:gd name="connsiteY5" fmla="*/ 9091 h 18181"/>
                      <a:gd name="connsiteX6" fmla="*/ 778 w 6100"/>
                      <a:gd name="connsiteY6" fmla="*/ 7596 h 18181"/>
                      <a:gd name="connsiteX7" fmla="*/ 1854 w 6100"/>
                      <a:gd name="connsiteY7" fmla="*/ 5443 h 18181"/>
                      <a:gd name="connsiteX8" fmla="*/ 2512 w 6100"/>
                      <a:gd name="connsiteY8" fmla="*/ 4127 h 18181"/>
                      <a:gd name="connsiteX9" fmla="*/ 2512 w 6100"/>
                      <a:gd name="connsiteY9" fmla="*/ 4127 h 18181"/>
                      <a:gd name="connsiteX10" fmla="*/ 4067 w 6100"/>
                      <a:gd name="connsiteY10" fmla="*/ 1076 h 18181"/>
                      <a:gd name="connsiteX11" fmla="*/ 4605 w 6100"/>
                      <a:gd name="connsiteY11" fmla="*/ 0 h 1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00" h="18181">
                        <a:moveTo>
                          <a:pt x="6100" y="18182"/>
                        </a:moveTo>
                        <a:lnTo>
                          <a:pt x="4007" y="16268"/>
                        </a:lnTo>
                        <a:lnTo>
                          <a:pt x="2930" y="15311"/>
                        </a:lnTo>
                        <a:lnTo>
                          <a:pt x="1196" y="12978"/>
                        </a:lnTo>
                        <a:lnTo>
                          <a:pt x="239" y="11662"/>
                        </a:lnTo>
                        <a:lnTo>
                          <a:pt x="0" y="9091"/>
                        </a:lnTo>
                        <a:lnTo>
                          <a:pt x="778" y="7596"/>
                        </a:lnTo>
                        <a:lnTo>
                          <a:pt x="1854" y="5443"/>
                        </a:lnTo>
                        <a:lnTo>
                          <a:pt x="2512" y="4127"/>
                        </a:lnTo>
                        <a:lnTo>
                          <a:pt x="2512" y="4127"/>
                        </a:lnTo>
                        <a:lnTo>
                          <a:pt x="4067" y="1076"/>
                        </a:lnTo>
                        <a:lnTo>
                          <a:pt x="4605" y="0"/>
                        </a:lnTo>
                      </a:path>
                    </a:pathLst>
                  </a:custGeom>
                  <a:noFill/>
                  <a:ln w="6350" cap="flat">
                    <a:solidFill>
                      <a:schemeClr val="bg1">
                        <a:alpha val="40000"/>
                      </a:schemeClr>
                    </a:solidFill>
                    <a:prstDash val="solid"/>
                    <a:miter/>
                  </a:ln>
                </p:spPr>
                <p:txBody>
                  <a:bodyPr rtlCol="0" anchor="ctr"/>
                  <a:lstStyle/>
                  <a:p>
                    <a:endParaRPr lang="en-GB"/>
                  </a:p>
                </p:txBody>
              </p:sp>
              <p:sp>
                <p:nvSpPr>
                  <p:cNvPr id="7844" name="Vrije vorm: vorm 7843">
                    <a:extLst>
                      <a:ext uri="{FF2B5EF4-FFF2-40B4-BE49-F238E27FC236}">
                        <a16:creationId xmlns:a16="http://schemas.microsoft.com/office/drawing/2014/main" id="{CE4EE4CA-8B99-431A-A248-9B727D96BB17}"/>
                      </a:ext>
                    </a:extLst>
                  </p:cNvPr>
                  <p:cNvSpPr/>
                  <p:nvPr/>
                </p:nvSpPr>
                <p:spPr>
                  <a:xfrm>
                    <a:off x="5754610" y="5087780"/>
                    <a:ext cx="76134" cy="40728"/>
                  </a:xfrm>
                  <a:custGeom>
                    <a:avLst/>
                    <a:gdLst>
                      <a:gd name="connsiteX0" fmla="*/ 0 w 76134"/>
                      <a:gd name="connsiteY0" fmla="*/ 1256 h 40728"/>
                      <a:gd name="connsiteX1" fmla="*/ 1615 w 76134"/>
                      <a:gd name="connsiteY1" fmla="*/ 419 h 40728"/>
                      <a:gd name="connsiteX2" fmla="*/ 2333 w 76134"/>
                      <a:gd name="connsiteY2" fmla="*/ 0 h 40728"/>
                      <a:gd name="connsiteX3" fmla="*/ 4785 w 76134"/>
                      <a:gd name="connsiteY3" fmla="*/ 120 h 40728"/>
                      <a:gd name="connsiteX4" fmla="*/ 7297 w 76134"/>
                      <a:gd name="connsiteY4" fmla="*/ 239 h 40728"/>
                      <a:gd name="connsiteX5" fmla="*/ 7835 w 76134"/>
                      <a:gd name="connsiteY5" fmla="*/ 359 h 40728"/>
                      <a:gd name="connsiteX6" fmla="*/ 9569 w 76134"/>
                      <a:gd name="connsiteY6" fmla="*/ 778 h 40728"/>
                      <a:gd name="connsiteX7" fmla="*/ 10765 w 76134"/>
                      <a:gd name="connsiteY7" fmla="*/ 1076 h 40728"/>
                      <a:gd name="connsiteX8" fmla="*/ 11842 w 76134"/>
                      <a:gd name="connsiteY8" fmla="*/ 1316 h 40728"/>
                      <a:gd name="connsiteX9" fmla="*/ 13098 w 76134"/>
                      <a:gd name="connsiteY9" fmla="*/ 1615 h 40728"/>
                      <a:gd name="connsiteX10" fmla="*/ 14593 w 76134"/>
                      <a:gd name="connsiteY10" fmla="*/ 1974 h 40728"/>
                      <a:gd name="connsiteX11" fmla="*/ 17225 w 76134"/>
                      <a:gd name="connsiteY11" fmla="*/ 2871 h 40728"/>
                      <a:gd name="connsiteX12" fmla="*/ 19856 w 76134"/>
                      <a:gd name="connsiteY12" fmla="*/ 3768 h 40728"/>
                      <a:gd name="connsiteX13" fmla="*/ 22488 w 76134"/>
                      <a:gd name="connsiteY13" fmla="*/ 4665 h 40728"/>
                      <a:gd name="connsiteX14" fmla="*/ 23744 w 76134"/>
                      <a:gd name="connsiteY14" fmla="*/ 5084 h 40728"/>
                      <a:gd name="connsiteX15" fmla="*/ 26315 w 76134"/>
                      <a:gd name="connsiteY15" fmla="*/ 6160 h 40728"/>
                      <a:gd name="connsiteX16" fmla="*/ 27093 w 76134"/>
                      <a:gd name="connsiteY16" fmla="*/ 6519 h 40728"/>
                      <a:gd name="connsiteX17" fmla="*/ 29665 w 76134"/>
                      <a:gd name="connsiteY17" fmla="*/ 7596 h 40728"/>
                      <a:gd name="connsiteX18" fmla="*/ 32236 w 76134"/>
                      <a:gd name="connsiteY18" fmla="*/ 8672 h 40728"/>
                      <a:gd name="connsiteX19" fmla="*/ 34090 w 76134"/>
                      <a:gd name="connsiteY19" fmla="*/ 9450 h 40728"/>
                      <a:gd name="connsiteX20" fmla="*/ 36602 w 76134"/>
                      <a:gd name="connsiteY20" fmla="*/ 10706 h 40728"/>
                      <a:gd name="connsiteX21" fmla="*/ 39114 w 76134"/>
                      <a:gd name="connsiteY21" fmla="*/ 11961 h 40728"/>
                      <a:gd name="connsiteX22" fmla="*/ 41626 w 76134"/>
                      <a:gd name="connsiteY22" fmla="*/ 13218 h 40728"/>
                      <a:gd name="connsiteX23" fmla="*/ 44138 w 76134"/>
                      <a:gd name="connsiteY23" fmla="*/ 14473 h 40728"/>
                      <a:gd name="connsiteX24" fmla="*/ 44855 w 76134"/>
                      <a:gd name="connsiteY24" fmla="*/ 14832 h 40728"/>
                      <a:gd name="connsiteX25" fmla="*/ 47248 w 76134"/>
                      <a:gd name="connsiteY25" fmla="*/ 16208 h 40728"/>
                      <a:gd name="connsiteX26" fmla="*/ 49640 w 76134"/>
                      <a:gd name="connsiteY26" fmla="*/ 17583 h 40728"/>
                      <a:gd name="connsiteX27" fmla="*/ 52032 w 76134"/>
                      <a:gd name="connsiteY27" fmla="*/ 18959 h 40728"/>
                      <a:gd name="connsiteX28" fmla="*/ 54425 w 76134"/>
                      <a:gd name="connsiteY28" fmla="*/ 20335 h 40728"/>
                      <a:gd name="connsiteX29" fmla="*/ 54843 w 76134"/>
                      <a:gd name="connsiteY29" fmla="*/ 20574 h 40728"/>
                      <a:gd name="connsiteX30" fmla="*/ 55561 w 76134"/>
                      <a:gd name="connsiteY30" fmla="*/ 21052 h 40728"/>
                      <a:gd name="connsiteX31" fmla="*/ 57893 w 76134"/>
                      <a:gd name="connsiteY31" fmla="*/ 22607 h 40728"/>
                      <a:gd name="connsiteX32" fmla="*/ 60226 w 76134"/>
                      <a:gd name="connsiteY32" fmla="*/ 24162 h 40728"/>
                      <a:gd name="connsiteX33" fmla="*/ 62558 w 76134"/>
                      <a:gd name="connsiteY33" fmla="*/ 25717 h 40728"/>
                      <a:gd name="connsiteX34" fmla="*/ 63575 w 76134"/>
                      <a:gd name="connsiteY34" fmla="*/ 26375 h 40728"/>
                      <a:gd name="connsiteX35" fmla="*/ 65788 w 76134"/>
                      <a:gd name="connsiteY35" fmla="*/ 28109 h 40728"/>
                      <a:gd name="connsiteX36" fmla="*/ 68001 w 76134"/>
                      <a:gd name="connsiteY36" fmla="*/ 29844 h 40728"/>
                      <a:gd name="connsiteX37" fmla="*/ 69137 w 76134"/>
                      <a:gd name="connsiteY37" fmla="*/ 30741 h 40728"/>
                      <a:gd name="connsiteX38" fmla="*/ 69317 w 76134"/>
                      <a:gd name="connsiteY38" fmla="*/ 30861 h 40728"/>
                      <a:gd name="connsiteX39" fmla="*/ 70214 w 76134"/>
                      <a:gd name="connsiteY39" fmla="*/ 31578 h 40728"/>
                      <a:gd name="connsiteX40" fmla="*/ 70572 w 76134"/>
                      <a:gd name="connsiteY40" fmla="*/ 31937 h 40728"/>
                      <a:gd name="connsiteX41" fmla="*/ 70872 w 76134"/>
                      <a:gd name="connsiteY41" fmla="*/ 32296 h 40728"/>
                      <a:gd name="connsiteX42" fmla="*/ 71649 w 76134"/>
                      <a:gd name="connsiteY42" fmla="*/ 33133 h 40728"/>
                      <a:gd name="connsiteX43" fmla="*/ 73623 w 76134"/>
                      <a:gd name="connsiteY43" fmla="*/ 35167 h 40728"/>
                      <a:gd name="connsiteX44" fmla="*/ 75297 w 76134"/>
                      <a:gd name="connsiteY44" fmla="*/ 36901 h 40728"/>
                      <a:gd name="connsiteX45" fmla="*/ 76134 w 76134"/>
                      <a:gd name="connsiteY45" fmla="*/ 37798 h 40728"/>
                      <a:gd name="connsiteX46" fmla="*/ 76134 w 76134"/>
                      <a:gd name="connsiteY46" fmla="*/ 38277 h 40728"/>
                      <a:gd name="connsiteX47" fmla="*/ 76134 w 76134"/>
                      <a:gd name="connsiteY47" fmla="*/ 39114 h 40728"/>
                      <a:gd name="connsiteX48" fmla="*/ 76134 w 76134"/>
                      <a:gd name="connsiteY48" fmla="*/ 39891 h 40728"/>
                      <a:gd name="connsiteX49" fmla="*/ 76134 w 76134"/>
                      <a:gd name="connsiteY49" fmla="*/ 40729 h 4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6134" h="40728">
                        <a:moveTo>
                          <a:pt x="0" y="1256"/>
                        </a:moveTo>
                        <a:lnTo>
                          <a:pt x="1615" y="419"/>
                        </a:lnTo>
                        <a:lnTo>
                          <a:pt x="2333" y="0"/>
                        </a:lnTo>
                        <a:lnTo>
                          <a:pt x="4785" y="120"/>
                        </a:lnTo>
                        <a:lnTo>
                          <a:pt x="7297" y="239"/>
                        </a:lnTo>
                        <a:lnTo>
                          <a:pt x="7835" y="359"/>
                        </a:lnTo>
                        <a:lnTo>
                          <a:pt x="9569" y="778"/>
                        </a:lnTo>
                        <a:lnTo>
                          <a:pt x="10765" y="1076"/>
                        </a:lnTo>
                        <a:lnTo>
                          <a:pt x="11842" y="1316"/>
                        </a:lnTo>
                        <a:lnTo>
                          <a:pt x="13098" y="1615"/>
                        </a:lnTo>
                        <a:lnTo>
                          <a:pt x="14593" y="1974"/>
                        </a:lnTo>
                        <a:lnTo>
                          <a:pt x="17225" y="2871"/>
                        </a:lnTo>
                        <a:lnTo>
                          <a:pt x="19856" y="3768"/>
                        </a:lnTo>
                        <a:lnTo>
                          <a:pt x="22488" y="4665"/>
                        </a:lnTo>
                        <a:lnTo>
                          <a:pt x="23744" y="5084"/>
                        </a:lnTo>
                        <a:lnTo>
                          <a:pt x="26315" y="6160"/>
                        </a:lnTo>
                        <a:lnTo>
                          <a:pt x="27093" y="6519"/>
                        </a:lnTo>
                        <a:lnTo>
                          <a:pt x="29665" y="7596"/>
                        </a:lnTo>
                        <a:lnTo>
                          <a:pt x="32236" y="8672"/>
                        </a:lnTo>
                        <a:lnTo>
                          <a:pt x="34090" y="9450"/>
                        </a:lnTo>
                        <a:lnTo>
                          <a:pt x="36602" y="10706"/>
                        </a:lnTo>
                        <a:lnTo>
                          <a:pt x="39114" y="11961"/>
                        </a:lnTo>
                        <a:lnTo>
                          <a:pt x="41626" y="13218"/>
                        </a:lnTo>
                        <a:lnTo>
                          <a:pt x="44138" y="14473"/>
                        </a:lnTo>
                        <a:lnTo>
                          <a:pt x="44855" y="14832"/>
                        </a:lnTo>
                        <a:lnTo>
                          <a:pt x="47248" y="16208"/>
                        </a:lnTo>
                        <a:lnTo>
                          <a:pt x="49640" y="17583"/>
                        </a:lnTo>
                        <a:lnTo>
                          <a:pt x="52032" y="18959"/>
                        </a:lnTo>
                        <a:lnTo>
                          <a:pt x="54425" y="20335"/>
                        </a:lnTo>
                        <a:lnTo>
                          <a:pt x="54843" y="20574"/>
                        </a:lnTo>
                        <a:lnTo>
                          <a:pt x="55561" y="21052"/>
                        </a:lnTo>
                        <a:lnTo>
                          <a:pt x="57893" y="22607"/>
                        </a:lnTo>
                        <a:lnTo>
                          <a:pt x="60226" y="24162"/>
                        </a:lnTo>
                        <a:lnTo>
                          <a:pt x="62558" y="25717"/>
                        </a:lnTo>
                        <a:lnTo>
                          <a:pt x="63575" y="26375"/>
                        </a:lnTo>
                        <a:lnTo>
                          <a:pt x="65788" y="28109"/>
                        </a:lnTo>
                        <a:lnTo>
                          <a:pt x="68001" y="29844"/>
                        </a:lnTo>
                        <a:lnTo>
                          <a:pt x="69137" y="30741"/>
                        </a:lnTo>
                        <a:lnTo>
                          <a:pt x="69317" y="30861"/>
                        </a:lnTo>
                        <a:lnTo>
                          <a:pt x="70214" y="31578"/>
                        </a:lnTo>
                        <a:lnTo>
                          <a:pt x="70572" y="31937"/>
                        </a:lnTo>
                        <a:lnTo>
                          <a:pt x="70872" y="32296"/>
                        </a:lnTo>
                        <a:lnTo>
                          <a:pt x="71649" y="33133"/>
                        </a:lnTo>
                        <a:lnTo>
                          <a:pt x="73623" y="35167"/>
                        </a:lnTo>
                        <a:lnTo>
                          <a:pt x="75297" y="36901"/>
                        </a:lnTo>
                        <a:lnTo>
                          <a:pt x="76134" y="37798"/>
                        </a:lnTo>
                        <a:lnTo>
                          <a:pt x="76134" y="38277"/>
                        </a:lnTo>
                        <a:lnTo>
                          <a:pt x="76134" y="39114"/>
                        </a:lnTo>
                        <a:lnTo>
                          <a:pt x="76134" y="39891"/>
                        </a:lnTo>
                        <a:lnTo>
                          <a:pt x="76134" y="40729"/>
                        </a:lnTo>
                      </a:path>
                    </a:pathLst>
                  </a:custGeom>
                  <a:noFill/>
                  <a:ln w="6350" cap="flat">
                    <a:solidFill>
                      <a:schemeClr val="bg1">
                        <a:alpha val="40000"/>
                      </a:schemeClr>
                    </a:solidFill>
                    <a:prstDash val="solid"/>
                    <a:miter/>
                  </a:ln>
                </p:spPr>
                <p:txBody>
                  <a:bodyPr rtlCol="0" anchor="ctr"/>
                  <a:lstStyle/>
                  <a:p>
                    <a:endParaRPr lang="en-GB"/>
                  </a:p>
                </p:txBody>
              </p:sp>
              <p:sp>
                <p:nvSpPr>
                  <p:cNvPr id="7845" name="Vrije vorm: vorm 7844">
                    <a:extLst>
                      <a:ext uri="{FF2B5EF4-FFF2-40B4-BE49-F238E27FC236}">
                        <a16:creationId xmlns:a16="http://schemas.microsoft.com/office/drawing/2014/main" id="{8E9AC68C-9224-4FC0-AB0D-3FD1B0EB9215}"/>
                      </a:ext>
                    </a:extLst>
                  </p:cNvPr>
                  <p:cNvSpPr/>
                  <p:nvPr/>
                </p:nvSpPr>
                <p:spPr>
                  <a:xfrm>
                    <a:off x="5748211" y="5101057"/>
                    <a:ext cx="12559" cy="3289"/>
                  </a:xfrm>
                  <a:custGeom>
                    <a:avLst/>
                    <a:gdLst>
                      <a:gd name="connsiteX0" fmla="*/ 0 w 12559"/>
                      <a:gd name="connsiteY0" fmla="*/ 3289 h 3289"/>
                      <a:gd name="connsiteX1" fmla="*/ 1435 w 12559"/>
                      <a:gd name="connsiteY1" fmla="*/ 2691 h 3289"/>
                      <a:gd name="connsiteX2" fmla="*/ 4366 w 12559"/>
                      <a:gd name="connsiteY2" fmla="*/ 1973 h 3289"/>
                      <a:gd name="connsiteX3" fmla="*/ 7297 w 12559"/>
                      <a:gd name="connsiteY3" fmla="*/ 1256 h 3289"/>
                      <a:gd name="connsiteX4" fmla="*/ 10227 w 12559"/>
                      <a:gd name="connsiteY4" fmla="*/ 538 h 3289"/>
                      <a:gd name="connsiteX5" fmla="*/ 10825 w 12559"/>
                      <a:gd name="connsiteY5" fmla="*/ 419 h 3289"/>
                      <a:gd name="connsiteX6" fmla="*/ 12560 w 12559"/>
                      <a:gd name="connsiteY6" fmla="*/ 0 h 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9" h="3289">
                        <a:moveTo>
                          <a:pt x="0" y="3289"/>
                        </a:moveTo>
                        <a:lnTo>
                          <a:pt x="1435" y="2691"/>
                        </a:lnTo>
                        <a:lnTo>
                          <a:pt x="4366" y="1973"/>
                        </a:lnTo>
                        <a:lnTo>
                          <a:pt x="7297" y="1256"/>
                        </a:lnTo>
                        <a:lnTo>
                          <a:pt x="10227" y="538"/>
                        </a:lnTo>
                        <a:lnTo>
                          <a:pt x="10825" y="419"/>
                        </a:lnTo>
                        <a:lnTo>
                          <a:pt x="12560" y="0"/>
                        </a:lnTo>
                      </a:path>
                    </a:pathLst>
                  </a:custGeom>
                  <a:noFill/>
                  <a:ln w="6350" cap="flat">
                    <a:solidFill>
                      <a:schemeClr val="bg1">
                        <a:alpha val="40000"/>
                      </a:schemeClr>
                    </a:solidFill>
                    <a:prstDash val="solid"/>
                    <a:miter/>
                  </a:ln>
                </p:spPr>
                <p:txBody>
                  <a:bodyPr rtlCol="0" anchor="ctr"/>
                  <a:lstStyle/>
                  <a:p>
                    <a:endParaRPr lang="en-GB"/>
                  </a:p>
                </p:txBody>
              </p:sp>
              <p:sp>
                <p:nvSpPr>
                  <p:cNvPr id="7846" name="Vrije vorm: vorm 7845">
                    <a:extLst>
                      <a:ext uri="{FF2B5EF4-FFF2-40B4-BE49-F238E27FC236}">
                        <a16:creationId xmlns:a16="http://schemas.microsoft.com/office/drawing/2014/main" id="{4E806E3D-07A9-4A87-8EC7-2FE332463FF6}"/>
                      </a:ext>
                    </a:extLst>
                  </p:cNvPr>
                  <p:cNvSpPr/>
                  <p:nvPr/>
                </p:nvSpPr>
                <p:spPr>
                  <a:xfrm>
                    <a:off x="5840793" y="5216664"/>
                    <a:ext cx="7236" cy="16446"/>
                  </a:xfrm>
                  <a:custGeom>
                    <a:avLst/>
                    <a:gdLst>
                      <a:gd name="connsiteX0" fmla="*/ 7236 w 7236"/>
                      <a:gd name="connsiteY0" fmla="*/ 0 h 16446"/>
                      <a:gd name="connsiteX1" fmla="*/ 6160 w 7236"/>
                      <a:gd name="connsiteY1" fmla="*/ 837 h 16446"/>
                      <a:gd name="connsiteX2" fmla="*/ 6100 w 7236"/>
                      <a:gd name="connsiteY2" fmla="*/ 837 h 16446"/>
                      <a:gd name="connsiteX3" fmla="*/ 4785 w 7236"/>
                      <a:gd name="connsiteY3" fmla="*/ 2273 h 16446"/>
                      <a:gd name="connsiteX4" fmla="*/ 4007 w 7236"/>
                      <a:gd name="connsiteY4" fmla="*/ 3409 h 16446"/>
                      <a:gd name="connsiteX5" fmla="*/ 3469 w 7236"/>
                      <a:gd name="connsiteY5" fmla="*/ 4127 h 16446"/>
                      <a:gd name="connsiteX6" fmla="*/ 3229 w 7236"/>
                      <a:gd name="connsiteY6" fmla="*/ 4545 h 16446"/>
                      <a:gd name="connsiteX7" fmla="*/ 2273 w 7236"/>
                      <a:gd name="connsiteY7" fmla="*/ 6220 h 16446"/>
                      <a:gd name="connsiteX8" fmla="*/ 1256 w 7236"/>
                      <a:gd name="connsiteY8" fmla="*/ 8433 h 16446"/>
                      <a:gd name="connsiteX9" fmla="*/ 718 w 7236"/>
                      <a:gd name="connsiteY9" fmla="*/ 10048 h 16446"/>
                      <a:gd name="connsiteX10" fmla="*/ 538 w 7236"/>
                      <a:gd name="connsiteY10" fmla="*/ 10646 h 16446"/>
                      <a:gd name="connsiteX11" fmla="*/ 119 w 7236"/>
                      <a:gd name="connsiteY11" fmla="*/ 12679 h 16446"/>
                      <a:gd name="connsiteX12" fmla="*/ 60 w 7236"/>
                      <a:gd name="connsiteY12" fmla="*/ 13337 h 16446"/>
                      <a:gd name="connsiteX13" fmla="*/ 0 w 7236"/>
                      <a:gd name="connsiteY13" fmla="*/ 14354 h 16446"/>
                      <a:gd name="connsiteX14" fmla="*/ 239 w 7236"/>
                      <a:gd name="connsiteY14" fmla="*/ 15610 h 16446"/>
                      <a:gd name="connsiteX15" fmla="*/ 778 w 7236"/>
                      <a:gd name="connsiteY15" fmla="*/ 16328 h 16446"/>
                      <a:gd name="connsiteX16" fmla="*/ 1615 w 7236"/>
                      <a:gd name="connsiteY16" fmla="*/ 16447 h 16446"/>
                      <a:gd name="connsiteX17" fmla="*/ 2691 w 7236"/>
                      <a:gd name="connsiteY17" fmla="*/ 16029 h 16446"/>
                      <a:gd name="connsiteX18" fmla="*/ 3768 w 7236"/>
                      <a:gd name="connsiteY18" fmla="*/ 15131 h 1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236" h="16446">
                        <a:moveTo>
                          <a:pt x="7236" y="0"/>
                        </a:moveTo>
                        <a:lnTo>
                          <a:pt x="6160" y="837"/>
                        </a:lnTo>
                        <a:lnTo>
                          <a:pt x="6100" y="837"/>
                        </a:lnTo>
                        <a:lnTo>
                          <a:pt x="4785" y="2273"/>
                        </a:lnTo>
                        <a:lnTo>
                          <a:pt x="4007" y="3409"/>
                        </a:lnTo>
                        <a:lnTo>
                          <a:pt x="3469" y="4127"/>
                        </a:lnTo>
                        <a:lnTo>
                          <a:pt x="3229" y="4545"/>
                        </a:lnTo>
                        <a:lnTo>
                          <a:pt x="2273" y="6220"/>
                        </a:lnTo>
                        <a:lnTo>
                          <a:pt x="1256" y="8433"/>
                        </a:lnTo>
                        <a:lnTo>
                          <a:pt x="718" y="10048"/>
                        </a:lnTo>
                        <a:lnTo>
                          <a:pt x="538" y="10646"/>
                        </a:lnTo>
                        <a:lnTo>
                          <a:pt x="119" y="12679"/>
                        </a:lnTo>
                        <a:lnTo>
                          <a:pt x="60" y="13337"/>
                        </a:lnTo>
                        <a:lnTo>
                          <a:pt x="0" y="14354"/>
                        </a:lnTo>
                        <a:lnTo>
                          <a:pt x="239" y="15610"/>
                        </a:lnTo>
                        <a:lnTo>
                          <a:pt x="778" y="16328"/>
                        </a:lnTo>
                        <a:lnTo>
                          <a:pt x="1615" y="16447"/>
                        </a:lnTo>
                        <a:lnTo>
                          <a:pt x="2691" y="16029"/>
                        </a:lnTo>
                        <a:lnTo>
                          <a:pt x="3768" y="15131"/>
                        </a:lnTo>
                      </a:path>
                    </a:pathLst>
                  </a:custGeom>
                  <a:noFill/>
                  <a:ln w="6350" cap="flat">
                    <a:solidFill>
                      <a:schemeClr val="bg1">
                        <a:alpha val="40000"/>
                      </a:schemeClr>
                    </a:solidFill>
                    <a:prstDash val="solid"/>
                    <a:miter/>
                  </a:ln>
                </p:spPr>
                <p:txBody>
                  <a:bodyPr rtlCol="0" anchor="ctr"/>
                  <a:lstStyle/>
                  <a:p>
                    <a:endParaRPr lang="en-GB"/>
                  </a:p>
                </p:txBody>
              </p:sp>
              <p:sp>
                <p:nvSpPr>
                  <p:cNvPr id="7847" name="Vrije vorm: vorm 7846">
                    <a:extLst>
                      <a:ext uri="{FF2B5EF4-FFF2-40B4-BE49-F238E27FC236}">
                        <a16:creationId xmlns:a16="http://schemas.microsoft.com/office/drawing/2014/main" id="{C695C308-C4BF-40EA-84B7-891679188701}"/>
                      </a:ext>
                    </a:extLst>
                  </p:cNvPr>
                  <p:cNvSpPr/>
                  <p:nvPr/>
                </p:nvSpPr>
                <p:spPr>
                  <a:xfrm>
                    <a:off x="5842048" y="5218399"/>
                    <a:ext cx="7296" cy="15549"/>
                  </a:xfrm>
                  <a:custGeom>
                    <a:avLst/>
                    <a:gdLst>
                      <a:gd name="connsiteX0" fmla="*/ 6100 w 7296"/>
                      <a:gd name="connsiteY0" fmla="*/ 0 h 15549"/>
                      <a:gd name="connsiteX1" fmla="*/ 5503 w 7296"/>
                      <a:gd name="connsiteY1" fmla="*/ 239 h 15549"/>
                      <a:gd name="connsiteX2" fmla="*/ 4605 w 7296"/>
                      <a:gd name="connsiteY2" fmla="*/ 957 h 15549"/>
                      <a:gd name="connsiteX3" fmla="*/ 3648 w 7296"/>
                      <a:gd name="connsiteY3" fmla="*/ 2033 h 15549"/>
                      <a:gd name="connsiteX4" fmla="*/ 3589 w 7296"/>
                      <a:gd name="connsiteY4" fmla="*/ 2093 h 15549"/>
                      <a:gd name="connsiteX5" fmla="*/ 2990 w 7296"/>
                      <a:gd name="connsiteY5" fmla="*/ 2930 h 15549"/>
                      <a:gd name="connsiteX6" fmla="*/ 2632 w 7296"/>
                      <a:gd name="connsiteY6" fmla="*/ 3409 h 15549"/>
                      <a:gd name="connsiteX7" fmla="*/ 1735 w 7296"/>
                      <a:gd name="connsiteY7" fmla="*/ 4964 h 15549"/>
                      <a:gd name="connsiteX8" fmla="*/ 957 w 7296"/>
                      <a:gd name="connsiteY8" fmla="*/ 6639 h 15549"/>
                      <a:gd name="connsiteX9" fmla="*/ 419 w 7296"/>
                      <a:gd name="connsiteY9" fmla="*/ 8253 h 15549"/>
                      <a:gd name="connsiteX10" fmla="*/ 299 w 7296"/>
                      <a:gd name="connsiteY10" fmla="*/ 8732 h 15549"/>
                      <a:gd name="connsiteX11" fmla="*/ 60 w 7296"/>
                      <a:gd name="connsiteY11" fmla="*/ 9749 h 15549"/>
                      <a:gd name="connsiteX12" fmla="*/ 0 w 7296"/>
                      <a:gd name="connsiteY12" fmla="*/ 11004 h 15549"/>
                      <a:gd name="connsiteX13" fmla="*/ 180 w 7296"/>
                      <a:gd name="connsiteY13" fmla="*/ 11902 h 15549"/>
                      <a:gd name="connsiteX14" fmla="*/ 598 w 7296"/>
                      <a:gd name="connsiteY14" fmla="*/ 12440 h 15549"/>
                      <a:gd name="connsiteX15" fmla="*/ 2572 w 7296"/>
                      <a:gd name="connsiteY15" fmla="*/ 13337 h 15549"/>
                      <a:gd name="connsiteX16" fmla="*/ 5084 w 7296"/>
                      <a:gd name="connsiteY16" fmla="*/ 14533 h 15549"/>
                      <a:gd name="connsiteX17" fmla="*/ 7297 w 7296"/>
                      <a:gd name="connsiteY17" fmla="*/ 15550 h 1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96" h="15549">
                        <a:moveTo>
                          <a:pt x="6100" y="0"/>
                        </a:moveTo>
                        <a:lnTo>
                          <a:pt x="5503" y="239"/>
                        </a:lnTo>
                        <a:lnTo>
                          <a:pt x="4605" y="957"/>
                        </a:lnTo>
                        <a:lnTo>
                          <a:pt x="3648" y="2033"/>
                        </a:lnTo>
                        <a:lnTo>
                          <a:pt x="3589" y="2093"/>
                        </a:lnTo>
                        <a:lnTo>
                          <a:pt x="2990" y="2930"/>
                        </a:lnTo>
                        <a:lnTo>
                          <a:pt x="2632" y="3409"/>
                        </a:lnTo>
                        <a:lnTo>
                          <a:pt x="1735" y="4964"/>
                        </a:lnTo>
                        <a:lnTo>
                          <a:pt x="957" y="6639"/>
                        </a:lnTo>
                        <a:lnTo>
                          <a:pt x="419" y="8253"/>
                        </a:lnTo>
                        <a:lnTo>
                          <a:pt x="299" y="8732"/>
                        </a:lnTo>
                        <a:lnTo>
                          <a:pt x="60" y="9749"/>
                        </a:lnTo>
                        <a:lnTo>
                          <a:pt x="0" y="11004"/>
                        </a:lnTo>
                        <a:lnTo>
                          <a:pt x="180" y="11902"/>
                        </a:lnTo>
                        <a:lnTo>
                          <a:pt x="598" y="12440"/>
                        </a:lnTo>
                        <a:lnTo>
                          <a:pt x="2572" y="13337"/>
                        </a:lnTo>
                        <a:lnTo>
                          <a:pt x="5084" y="14533"/>
                        </a:lnTo>
                        <a:lnTo>
                          <a:pt x="7297" y="15550"/>
                        </a:lnTo>
                      </a:path>
                    </a:pathLst>
                  </a:custGeom>
                  <a:noFill/>
                  <a:ln w="6350" cap="flat">
                    <a:solidFill>
                      <a:schemeClr val="bg1">
                        <a:alpha val="40000"/>
                      </a:schemeClr>
                    </a:solidFill>
                    <a:prstDash val="solid"/>
                    <a:miter/>
                  </a:ln>
                </p:spPr>
                <p:txBody>
                  <a:bodyPr rtlCol="0" anchor="ctr"/>
                  <a:lstStyle/>
                  <a:p>
                    <a:endParaRPr lang="en-GB"/>
                  </a:p>
                </p:txBody>
              </p:sp>
              <p:sp>
                <p:nvSpPr>
                  <p:cNvPr id="7848" name="Vrije vorm: vorm 7847">
                    <a:extLst>
                      <a:ext uri="{FF2B5EF4-FFF2-40B4-BE49-F238E27FC236}">
                        <a16:creationId xmlns:a16="http://schemas.microsoft.com/office/drawing/2014/main" id="{5345D0DC-5573-4596-8887-D4BB0C408C8E}"/>
                      </a:ext>
                    </a:extLst>
                  </p:cNvPr>
                  <p:cNvSpPr/>
                  <p:nvPr/>
                </p:nvSpPr>
                <p:spPr>
                  <a:xfrm>
                    <a:off x="5759275" y="5078510"/>
                    <a:ext cx="76134" cy="40848"/>
                  </a:xfrm>
                  <a:custGeom>
                    <a:avLst/>
                    <a:gdLst>
                      <a:gd name="connsiteX0" fmla="*/ 0 w 76134"/>
                      <a:gd name="connsiteY0" fmla="*/ 1435 h 40848"/>
                      <a:gd name="connsiteX1" fmla="*/ 2452 w 76134"/>
                      <a:gd name="connsiteY1" fmla="*/ 0 h 40848"/>
                      <a:gd name="connsiteX2" fmla="*/ 5323 w 76134"/>
                      <a:gd name="connsiteY2" fmla="*/ 0 h 40848"/>
                      <a:gd name="connsiteX3" fmla="*/ 7476 w 76134"/>
                      <a:gd name="connsiteY3" fmla="*/ 0 h 40848"/>
                      <a:gd name="connsiteX4" fmla="*/ 10227 w 76134"/>
                      <a:gd name="connsiteY4" fmla="*/ 598 h 40848"/>
                      <a:gd name="connsiteX5" fmla="*/ 12978 w 76134"/>
                      <a:gd name="connsiteY5" fmla="*/ 1196 h 40848"/>
                      <a:gd name="connsiteX6" fmla="*/ 14832 w 76134"/>
                      <a:gd name="connsiteY6" fmla="*/ 1615 h 40848"/>
                      <a:gd name="connsiteX7" fmla="*/ 17464 w 76134"/>
                      <a:gd name="connsiteY7" fmla="*/ 2512 h 40848"/>
                      <a:gd name="connsiteX8" fmla="*/ 20095 w 76134"/>
                      <a:gd name="connsiteY8" fmla="*/ 3409 h 40848"/>
                      <a:gd name="connsiteX9" fmla="*/ 22727 w 76134"/>
                      <a:gd name="connsiteY9" fmla="*/ 4306 h 40848"/>
                      <a:gd name="connsiteX10" fmla="*/ 23983 w 76134"/>
                      <a:gd name="connsiteY10" fmla="*/ 4725 h 40848"/>
                      <a:gd name="connsiteX11" fmla="*/ 26554 w 76134"/>
                      <a:gd name="connsiteY11" fmla="*/ 5801 h 40848"/>
                      <a:gd name="connsiteX12" fmla="*/ 29126 w 76134"/>
                      <a:gd name="connsiteY12" fmla="*/ 6878 h 40848"/>
                      <a:gd name="connsiteX13" fmla="*/ 31698 w 76134"/>
                      <a:gd name="connsiteY13" fmla="*/ 7954 h 40848"/>
                      <a:gd name="connsiteX14" fmla="*/ 34269 w 76134"/>
                      <a:gd name="connsiteY14" fmla="*/ 9031 h 40848"/>
                      <a:gd name="connsiteX15" fmla="*/ 34389 w 76134"/>
                      <a:gd name="connsiteY15" fmla="*/ 9091 h 40848"/>
                      <a:gd name="connsiteX16" fmla="*/ 36901 w 76134"/>
                      <a:gd name="connsiteY16" fmla="*/ 10347 h 40848"/>
                      <a:gd name="connsiteX17" fmla="*/ 39413 w 76134"/>
                      <a:gd name="connsiteY17" fmla="*/ 11603 h 40848"/>
                      <a:gd name="connsiteX18" fmla="*/ 41925 w 76134"/>
                      <a:gd name="connsiteY18" fmla="*/ 12859 h 40848"/>
                      <a:gd name="connsiteX19" fmla="*/ 44437 w 76134"/>
                      <a:gd name="connsiteY19" fmla="*/ 14114 h 40848"/>
                      <a:gd name="connsiteX20" fmla="*/ 45154 w 76134"/>
                      <a:gd name="connsiteY20" fmla="*/ 14473 h 40848"/>
                      <a:gd name="connsiteX21" fmla="*/ 47546 w 76134"/>
                      <a:gd name="connsiteY21" fmla="*/ 15849 h 40848"/>
                      <a:gd name="connsiteX22" fmla="*/ 49939 w 76134"/>
                      <a:gd name="connsiteY22" fmla="*/ 17225 h 40848"/>
                      <a:gd name="connsiteX23" fmla="*/ 52331 w 76134"/>
                      <a:gd name="connsiteY23" fmla="*/ 18600 h 40848"/>
                      <a:gd name="connsiteX24" fmla="*/ 54723 w 76134"/>
                      <a:gd name="connsiteY24" fmla="*/ 19976 h 40848"/>
                      <a:gd name="connsiteX25" fmla="*/ 55142 w 76134"/>
                      <a:gd name="connsiteY25" fmla="*/ 20215 h 40848"/>
                      <a:gd name="connsiteX26" fmla="*/ 57475 w 76134"/>
                      <a:gd name="connsiteY26" fmla="*/ 21770 h 40848"/>
                      <a:gd name="connsiteX27" fmla="*/ 59807 w 76134"/>
                      <a:gd name="connsiteY27" fmla="*/ 23325 h 40848"/>
                      <a:gd name="connsiteX28" fmla="*/ 62139 w 76134"/>
                      <a:gd name="connsiteY28" fmla="*/ 24880 h 40848"/>
                      <a:gd name="connsiteX29" fmla="*/ 63814 w 76134"/>
                      <a:gd name="connsiteY29" fmla="*/ 26016 h 40848"/>
                      <a:gd name="connsiteX30" fmla="*/ 65967 w 76134"/>
                      <a:gd name="connsiteY30" fmla="*/ 27811 h 40848"/>
                      <a:gd name="connsiteX31" fmla="*/ 68120 w 76134"/>
                      <a:gd name="connsiteY31" fmla="*/ 29605 h 40848"/>
                      <a:gd name="connsiteX32" fmla="*/ 70333 w 76134"/>
                      <a:gd name="connsiteY32" fmla="*/ 31399 h 40848"/>
                      <a:gd name="connsiteX33" fmla="*/ 70991 w 76134"/>
                      <a:gd name="connsiteY33" fmla="*/ 32116 h 40848"/>
                      <a:gd name="connsiteX34" fmla="*/ 72905 w 76134"/>
                      <a:gd name="connsiteY34" fmla="*/ 34210 h 40848"/>
                      <a:gd name="connsiteX35" fmla="*/ 74819 w 76134"/>
                      <a:gd name="connsiteY35" fmla="*/ 36303 h 40848"/>
                      <a:gd name="connsiteX36" fmla="*/ 76134 w 76134"/>
                      <a:gd name="connsiteY36" fmla="*/ 37798 h 40848"/>
                      <a:gd name="connsiteX37" fmla="*/ 76134 w 76134"/>
                      <a:gd name="connsiteY37" fmla="*/ 40848 h 4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6134" h="40848">
                        <a:moveTo>
                          <a:pt x="0" y="1435"/>
                        </a:moveTo>
                        <a:lnTo>
                          <a:pt x="2452" y="0"/>
                        </a:lnTo>
                        <a:lnTo>
                          <a:pt x="5323" y="0"/>
                        </a:lnTo>
                        <a:lnTo>
                          <a:pt x="7476" y="0"/>
                        </a:lnTo>
                        <a:lnTo>
                          <a:pt x="10227" y="598"/>
                        </a:lnTo>
                        <a:lnTo>
                          <a:pt x="12978" y="1196"/>
                        </a:lnTo>
                        <a:lnTo>
                          <a:pt x="14832" y="1615"/>
                        </a:lnTo>
                        <a:lnTo>
                          <a:pt x="17464" y="2512"/>
                        </a:lnTo>
                        <a:lnTo>
                          <a:pt x="20095" y="3409"/>
                        </a:lnTo>
                        <a:lnTo>
                          <a:pt x="22727" y="4306"/>
                        </a:lnTo>
                        <a:lnTo>
                          <a:pt x="23983" y="4725"/>
                        </a:lnTo>
                        <a:lnTo>
                          <a:pt x="26554" y="5801"/>
                        </a:lnTo>
                        <a:lnTo>
                          <a:pt x="29126" y="6878"/>
                        </a:lnTo>
                        <a:lnTo>
                          <a:pt x="31698" y="7954"/>
                        </a:lnTo>
                        <a:lnTo>
                          <a:pt x="34269" y="9031"/>
                        </a:lnTo>
                        <a:lnTo>
                          <a:pt x="34389" y="9091"/>
                        </a:lnTo>
                        <a:lnTo>
                          <a:pt x="36901" y="10347"/>
                        </a:lnTo>
                        <a:lnTo>
                          <a:pt x="39413" y="11603"/>
                        </a:lnTo>
                        <a:lnTo>
                          <a:pt x="41925" y="12859"/>
                        </a:lnTo>
                        <a:lnTo>
                          <a:pt x="44437" y="14114"/>
                        </a:lnTo>
                        <a:lnTo>
                          <a:pt x="45154" y="14473"/>
                        </a:lnTo>
                        <a:lnTo>
                          <a:pt x="47546" y="15849"/>
                        </a:lnTo>
                        <a:lnTo>
                          <a:pt x="49939" y="17225"/>
                        </a:lnTo>
                        <a:lnTo>
                          <a:pt x="52331" y="18600"/>
                        </a:lnTo>
                        <a:lnTo>
                          <a:pt x="54723" y="19976"/>
                        </a:lnTo>
                        <a:lnTo>
                          <a:pt x="55142" y="20215"/>
                        </a:lnTo>
                        <a:lnTo>
                          <a:pt x="57475" y="21770"/>
                        </a:lnTo>
                        <a:lnTo>
                          <a:pt x="59807" y="23325"/>
                        </a:lnTo>
                        <a:lnTo>
                          <a:pt x="62139" y="24880"/>
                        </a:lnTo>
                        <a:lnTo>
                          <a:pt x="63814" y="26016"/>
                        </a:lnTo>
                        <a:lnTo>
                          <a:pt x="65967" y="27811"/>
                        </a:lnTo>
                        <a:lnTo>
                          <a:pt x="68120" y="29605"/>
                        </a:lnTo>
                        <a:lnTo>
                          <a:pt x="70333" y="31399"/>
                        </a:lnTo>
                        <a:lnTo>
                          <a:pt x="70991" y="32116"/>
                        </a:lnTo>
                        <a:lnTo>
                          <a:pt x="72905" y="34210"/>
                        </a:lnTo>
                        <a:lnTo>
                          <a:pt x="74819" y="36303"/>
                        </a:lnTo>
                        <a:lnTo>
                          <a:pt x="76134" y="37798"/>
                        </a:lnTo>
                        <a:lnTo>
                          <a:pt x="76134" y="40848"/>
                        </a:lnTo>
                      </a:path>
                    </a:pathLst>
                  </a:custGeom>
                  <a:noFill/>
                  <a:ln w="6350" cap="flat">
                    <a:solidFill>
                      <a:schemeClr val="bg1">
                        <a:alpha val="40000"/>
                      </a:schemeClr>
                    </a:solidFill>
                    <a:prstDash val="solid"/>
                    <a:miter/>
                  </a:ln>
                </p:spPr>
                <p:txBody>
                  <a:bodyPr rtlCol="0" anchor="ctr"/>
                  <a:lstStyle/>
                  <a:p>
                    <a:endParaRPr lang="en-GB"/>
                  </a:p>
                </p:txBody>
              </p:sp>
              <p:sp>
                <p:nvSpPr>
                  <p:cNvPr id="7849" name="Vrije vorm: vorm 7848">
                    <a:extLst>
                      <a:ext uri="{FF2B5EF4-FFF2-40B4-BE49-F238E27FC236}">
                        <a16:creationId xmlns:a16="http://schemas.microsoft.com/office/drawing/2014/main" id="{24D2381B-E1CE-4625-B017-5362E502E7EC}"/>
                      </a:ext>
                    </a:extLst>
                  </p:cNvPr>
                  <p:cNvSpPr/>
                  <p:nvPr/>
                </p:nvSpPr>
                <p:spPr>
                  <a:xfrm>
                    <a:off x="5866270" y="5218578"/>
                    <a:ext cx="897" cy="1854"/>
                  </a:xfrm>
                  <a:custGeom>
                    <a:avLst/>
                    <a:gdLst>
                      <a:gd name="connsiteX0" fmla="*/ 0 w 897"/>
                      <a:gd name="connsiteY0" fmla="*/ 0 h 1854"/>
                      <a:gd name="connsiteX1" fmla="*/ 598 w 897"/>
                      <a:gd name="connsiteY1" fmla="*/ 718 h 1854"/>
                      <a:gd name="connsiteX2" fmla="*/ 897 w 897"/>
                      <a:gd name="connsiteY2" fmla="*/ 1854 h 1854"/>
                    </a:gdLst>
                    <a:ahLst/>
                    <a:cxnLst>
                      <a:cxn ang="0">
                        <a:pos x="connsiteX0" y="connsiteY0"/>
                      </a:cxn>
                      <a:cxn ang="0">
                        <a:pos x="connsiteX1" y="connsiteY1"/>
                      </a:cxn>
                      <a:cxn ang="0">
                        <a:pos x="connsiteX2" y="connsiteY2"/>
                      </a:cxn>
                    </a:cxnLst>
                    <a:rect l="l" t="t" r="r" b="b"/>
                    <a:pathLst>
                      <a:path w="897" h="1854">
                        <a:moveTo>
                          <a:pt x="0" y="0"/>
                        </a:moveTo>
                        <a:lnTo>
                          <a:pt x="598" y="718"/>
                        </a:lnTo>
                        <a:lnTo>
                          <a:pt x="897" y="1854"/>
                        </a:lnTo>
                      </a:path>
                    </a:pathLst>
                  </a:custGeom>
                  <a:noFill/>
                  <a:ln w="6350" cap="flat">
                    <a:solidFill>
                      <a:schemeClr val="bg1">
                        <a:alpha val="40000"/>
                      </a:schemeClr>
                    </a:solidFill>
                    <a:prstDash val="solid"/>
                    <a:miter/>
                  </a:ln>
                </p:spPr>
                <p:txBody>
                  <a:bodyPr rtlCol="0" anchor="ctr"/>
                  <a:lstStyle/>
                  <a:p>
                    <a:endParaRPr lang="en-GB"/>
                  </a:p>
                </p:txBody>
              </p:sp>
              <p:sp>
                <p:nvSpPr>
                  <p:cNvPr id="7850" name="Vrije vorm: vorm 7849">
                    <a:extLst>
                      <a:ext uri="{FF2B5EF4-FFF2-40B4-BE49-F238E27FC236}">
                        <a16:creationId xmlns:a16="http://schemas.microsoft.com/office/drawing/2014/main" id="{057B78E3-2676-49CB-8B0D-12D99E652CD8}"/>
                      </a:ext>
                    </a:extLst>
                  </p:cNvPr>
                  <p:cNvSpPr/>
                  <p:nvPr/>
                </p:nvSpPr>
                <p:spPr>
                  <a:xfrm>
                    <a:off x="5865015" y="5218459"/>
                    <a:ext cx="298" cy="1136"/>
                  </a:xfrm>
                  <a:custGeom>
                    <a:avLst/>
                    <a:gdLst>
                      <a:gd name="connsiteX0" fmla="*/ 299 w 298"/>
                      <a:gd name="connsiteY0" fmla="*/ 1136 h 1136"/>
                      <a:gd name="connsiteX1" fmla="*/ 0 w 298"/>
                      <a:gd name="connsiteY1" fmla="*/ 0 h 1136"/>
                    </a:gdLst>
                    <a:ahLst/>
                    <a:cxnLst>
                      <a:cxn ang="0">
                        <a:pos x="connsiteX0" y="connsiteY0"/>
                      </a:cxn>
                      <a:cxn ang="0">
                        <a:pos x="connsiteX1" y="connsiteY1"/>
                      </a:cxn>
                    </a:cxnLst>
                    <a:rect l="l" t="t" r="r" b="b"/>
                    <a:pathLst>
                      <a:path w="298" h="1136">
                        <a:moveTo>
                          <a:pt x="299" y="1136"/>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851" name="Vrije vorm: vorm 7850">
                    <a:extLst>
                      <a:ext uri="{FF2B5EF4-FFF2-40B4-BE49-F238E27FC236}">
                        <a16:creationId xmlns:a16="http://schemas.microsoft.com/office/drawing/2014/main" id="{1263B97D-8C1E-4513-9EE8-0C8C69DF11A7}"/>
                      </a:ext>
                    </a:extLst>
                  </p:cNvPr>
                  <p:cNvSpPr/>
                  <p:nvPr/>
                </p:nvSpPr>
                <p:spPr>
                  <a:xfrm>
                    <a:off x="5853831" y="5180481"/>
                    <a:ext cx="7894" cy="16626"/>
                  </a:xfrm>
                  <a:custGeom>
                    <a:avLst/>
                    <a:gdLst>
                      <a:gd name="connsiteX0" fmla="*/ 7895 w 7894"/>
                      <a:gd name="connsiteY0" fmla="*/ 16627 h 16626"/>
                      <a:gd name="connsiteX1" fmla="*/ 7775 w 7894"/>
                      <a:gd name="connsiteY1" fmla="*/ 16567 h 16626"/>
                      <a:gd name="connsiteX2" fmla="*/ 5562 w 7894"/>
                      <a:gd name="connsiteY2" fmla="*/ 14832 h 16626"/>
                      <a:gd name="connsiteX3" fmla="*/ 3349 w 7894"/>
                      <a:gd name="connsiteY3" fmla="*/ 13098 h 16626"/>
                      <a:gd name="connsiteX4" fmla="*/ 1136 w 7894"/>
                      <a:gd name="connsiteY4" fmla="*/ 11364 h 16626"/>
                      <a:gd name="connsiteX5" fmla="*/ 179 w 7894"/>
                      <a:gd name="connsiteY5" fmla="*/ 10646 h 16626"/>
                      <a:gd name="connsiteX6" fmla="*/ 119 w 7894"/>
                      <a:gd name="connsiteY6" fmla="*/ 10586 h 16626"/>
                      <a:gd name="connsiteX7" fmla="*/ 60 w 7894"/>
                      <a:gd name="connsiteY7" fmla="*/ 10466 h 16626"/>
                      <a:gd name="connsiteX8" fmla="*/ 0 w 7894"/>
                      <a:gd name="connsiteY8" fmla="*/ 10347 h 16626"/>
                      <a:gd name="connsiteX9" fmla="*/ 0 w 7894"/>
                      <a:gd name="connsiteY9" fmla="*/ 10167 h 16626"/>
                      <a:gd name="connsiteX10" fmla="*/ 0 w 7894"/>
                      <a:gd name="connsiteY10" fmla="*/ 9988 h 16626"/>
                      <a:gd name="connsiteX11" fmla="*/ 0 w 7894"/>
                      <a:gd name="connsiteY11" fmla="*/ 9749 h 16626"/>
                      <a:gd name="connsiteX12" fmla="*/ 60 w 7894"/>
                      <a:gd name="connsiteY12" fmla="*/ 9510 h 16626"/>
                      <a:gd name="connsiteX13" fmla="*/ 119 w 7894"/>
                      <a:gd name="connsiteY13" fmla="*/ 9270 h 16626"/>
                      <a:gd name="connsiteX14" fmla="*/ 179 w 7894"/>
                      <a:gd name="connsiteY14" fmla="*/ 9031 h 16626"/>
                      <a:gd name="connsiteX15" fmla="*/ 299 w 7894"/>
                      <a:gd name="connsiteY15" fmla="*/ 8792 h 16626"/>
                      <a:gd name="connsiteX16" fmla="*/ 419 w 7894"/>
                      <a:gd name="connsiteY16" fmla="*/ 8552 h 16626"/>
                      <a:gd name="connsiteX17" fmla="*/ 538 w 7894"/>
                      <a:gd name="connsiteY17" fmla="*/ 8313 h 16626"/>
                      <a:gd name="connsiteX18" fmla="*/ 2093 w 7894"/>
                      <a:gd name="connsiteY18" fmla="*/ 5263 h 16626"/>
                      <a:gd name="connsiteX19" fmla="*/ 3648 w 7894"/>
                      <a:gd name="connsiteY19" fmla="*/ 2213 h 16626"/>
                      <a:gd name="connsiteX20" fmla="*/ 4067 w 7894"/>
                      <a:gd name="connsiteY20" fmla="*/ 1435 h 16626"/>
                      <a:gd name="connsiteX21" fmla="*/ 4187 w 7894"/>
                      <a:gd name="connsiteY21" fmla="*/ 1196 h 16626"/>
                      <a:gd name="connsiteX22" fmla="*/ 4306 w 7894"/>
                      <a:gd name="connsiteY22" fmla="*/ 957 h 16626"/>
                      <a:gd name="connsiteX23" fmla="*/ 4486 w 7894"/>
                      <a:gd name="connsiteY23" fmla="*/ 718 h 16626"/>
                      <a:gd name="connsiteX24" fmla="*/ 4665 w 7894"/>
                      <a:gd name="connsiteY24" fmla="*/ 538 h 16626"/>
                      <a:gd name="connsiteX25" fmla="*/ 4844 w 7894"/>
                      <a:gd name="connsiteY25" fmla="*/ 359 h 16626"/>
                      <a:gd name="connsiteX26" fmla="*/ 5024 w 7894"/>
                      <a:gd name="connsiteY26" fmla="*/ 239 h 16626"/>
                      <a:gd name="connsiteX27" fmla="*/ 5203 w 7894"/>
                      <a:gd name="connsiteY27" fmla="*/ 120 h 16626"/>
                      <a:gd name="connsiteX28" fmla="*/ 5382 w 7894"/>
                      <a:gd name="connsiteY28" fmla="*/ 60 h 16626"/>
                      <a:gd name="connsiteX29" fmla="*/ 5502 w 7894"/>
                      <a:gd name="connsiteY29" fmla="*/ 0 h 16626"/>
                      <a:gd name="connsiteX30" fmla="*/ 5622 w 7894"/>
                      <a:gd name="connsiteY30" fmla="*/ 0 h 16626"/>
                      <a:gd name="connsiteX31" fmla="*/ 5741 w 7894"/>
                      <a:gd name="connsiteY31" fmla="*/ 0 h 1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894" h="16626">
                        <a:moveTo>
                          <a:pt x="7895" y="16627"/>
                        </a:moveTo>
                        <a:lnTo>
                          <a:pt x="7775" y="16567"/>
                        </a:lnTo>
                        <a:lnTo>
                          <a:pt x="5562" y="14832"/>
                        </a:lnTo>
                        <a:lnTo>
                          <a:pt x="3349" y="13098"/>
                        </a:lnTo>
                        <a:lnTo>
                          <a:pt x="1136" y="11364"/>
                        </a:lnTo>
                        <a:lnTo>
                          <a:pt x="179" y="10646"/>
                        </a:lnTo>
                        <a:lnTo>
                          <a:pt x="119" y="10586"/>
                        </a:lnTo>
                        <a:lnTo>
                          <a:pt x="60" y="10466"/>
                        </a:lnTo>
                        <a:lnTo>
                          <a:pt x="0" y="10347"/>
                        </a:lnTo>
                        <a:lnTo>
                          <a:pt x="0" y="10167"/>
                        </a:lnTo>
                        <a:lnTo>
                          <a:pt x="0" y="9988"/>
                        </a:lnTo>
                        <a:lnTo>
                          <a:pt x="0" y="9749"/>
                        </a:lnTo>
                        <a:lnTo>
                          <a:pt x="60" y="9510"/>
                        </a:lnTo>
                        <a:lnTo>
                          <a:pt x="119" y="9270"/>
                        </a:lnTo>
                        <a:lnTo>
                          <a:pt x="179" y="9031"/>
                        </a:lnTo>
                        <a:lnTo>
                          <a:pt x="299" y="8792"/>
                        </a:lnTo>
                        <a:lnTo>
                          <a:pt x="419" y="8552"/>
                        </a:lnTo>
                        <a:lnTo>
                          <a:pt x="538" y="8313"/>
                        </a:lnTo>
                        <a:lnTo>
                          <a:pt x="2093" y="5263"/>
                        </a:lnTo>
                        <a:lnTo>
                          <a:pt x="3648" y="2213"/>
                        </a:lnTo>
                        <a:lnTo>
                          <a:pt x="4067" y="1435"/>
                        </a:lnTo>
                        <a:lnTo>
                          <a:pt x="4187" y="1196"/>
                        </a:lnTo>
                        <a:lnTo>
                          <a:pt x="4306" y="957"/>
                        </a:lnTo>
                        <a:lnTo>
                          <a:pt x="4486" y="718"/>
                        </a:lnTo>
                        <a:lnTo>
                          <a:pt x="4665" y="538"/>
                        </a:lnTo>
                        <a:lnTo>
                          <a:pt x="4844" y="359"/>
                        </a:lnTo>
                        <a:lnTo>
                          <a:pt x="5024" y="239"/>
                        </a:lnTo>
                        <a:lnTo>
                          <a:pt x="5203" y="120"/>
                        </a:lnTo>
                        <a:lnTo>
                          <a:pt x="5382" y="60"/>
                        </a:lnTo>
                        <a:lnTo>
                          <a:pt x="5502" y="0"/>
                        </a:lnTo>
                        <a:lnTo>
                          <a:pt x="5622" y="0"/>
                        </a:lnTo>
                        <a:lnTo>
                          <a:pt x="5741" y="0"/>
                        </a:lnTo>
                      </a:path>
                    </a:pathLst>
                  </a:custGeom>
                  <a:noFill/>
                  <a:ln w="6350" cap="flat">
                    <a:solidFill>
                      <a:schemeClr val="bg1">
                        <a:alpha val="40000"/>
                      </a:schemeClr>
                    </a:solidFill>
                    <a:prstDash val="solid"/>
                    <a:miter/>
                  </a:ln>
                </p:spPr>
                <p:txBody>
                  <a:bodyPr rtlCol="0" anchor="ctr"/>
                  <a:lstStyle/>
                  <a:p>
                    <a:endParaRPr lang="en-GB"/>
                  </a:p>
                </p:txBody>
              </p:sp>
              <p:sp>
                <p:nvSpPr>
                  <p:cNvPr id="7852" name="Vrije vorm: vorm 7851">
                    <a:extLst>
                      <a:ext uri="{FF2B5EF4-FFF2-40B4-BE49-F238E27FC236}">
                        <a16:creationId xmlns:a16="http://schemas.microsoft.com/office/drawing/2014/main" id="{13A967D3-5314-47F8-AAE0-672F58A9812A}"/>
                      </a:ext>
                    </a:extLst>
                  </p:cNvPr>
                  <p:cNvSpPr/>
                  <p:nvPr/>
                </p:nvSpPr>
                <p:spPr>
                  <a:xfrm>
                    <a:off x="5859452" y="5180362"/>
                    <a:ext cx="2033" cy="777"/>
                  </a:xfrm>
                  <a:custGeom>
                    <a:avLst/>
                    <a:gdLst>
                      <a:gd name="connsiteX0" fmla="*/ 0 w 2033"/>
                      <a:gd name="connsiteY0" fmla="*/ 0 h 777"/>
                      <a:gd name="connsiteX1" fmla="*/ 2033 w 2033"/>
                      <a:gd name="connsiteY1" fmla="*/ 777 h 777"/>
                    </a:gdLst>
                    <a:ahLst/>
                    <a:cxnLst>
                      <a:cxn ang="0">
                        <a:pos x="connsiteX0" y="connsiteY0"/>
                      </a:cxn>
                      <a:cxn ang="0">
                        <a:pos x="connsiteX1" y="connsiteY1"/>
                      </a:cxn>
                    </a:cxnLst>
                    <a:rect l="l" t="t" r="r" b="b"/>
                    <a:pathLst>
                      <a:path w="2033" h="777">
                        <a:moveTo>
                          <a:pt x="0" y="0"/>
                        </a:moveTo>
                        <a:lnTo>
                          <a:pt x="2033" y="777"/>
                        </a:lnTo>
                      </a:path>
                    </a:pathLst>
                  </a:custGeom>
                  <a:noFill/>
                  <a:ln w="6350" cap="flat">
                    <a:solidFill>
                      <a:schemeClr val="bg1">
                        <a:alpha val="40000"/>
                      </a:schemeClr>
                    </a:solidFill>
                    <a:prstDash val="solid"/>
                    <a:miter/>
                  </a:ln>
                </p:spPr>
                <p:txBody>
                  <a:bodyPr rtlCol="0" anchor="ctr"/>
                  <a:lstStyle/>
                  <a:p>
                    <a:endParaRPr lang="en-GB"/>
                  </a:p>
                </p:txBody>
              </p:sp>
              <p:sp>
                <p:nvSpPr>
                  <p:cNvPr id="7853" name="Vrije vorm: vorm 7852">
                    <a:extLst>
                      <a:ext uri="{FF2B5EF4-FFF2-40B4-BE49-F238E27FC236}">
                        <a16:creationId xmlns:a16="http://schemas.microsoft.com/office/drawing/2014/main" id="{B62C4B6A-17F7-4D91-9286-D2B347A61AA7}"/>
                      </a:ext>
                    </a:extLst>
                  </p:cNvPr>
                  <p:cNvSpPr/>
                  <p:nvPr/>
                </p:nvSpPr>
                <p:spPr>
                  <a:xfrm>
                    <a:off x="5858017" y="5155482"/>
                    <a:ext cx="7296" cy="6698"/>
                  </a:xfrm>
                  <a:custGeom>
                    <a:avLst/>
                    <a:gdLst>
                      <a:gd name="connsiteX0" fmla="*/ 7296 w 7296"/>
                      <a:gd name="connsiteY0" fmla="*/ 6698 h 6698"/>
                      <a:gd name="connsiteX1" fmla="*/ 6459 w 7296"/>
                      <a:gd name="connsiteY1" fmla="*/ 5921 h 6698"/>
                      <a:gd name="connsiteX2" fmla="*/ 4366 w 7296"/>
                      <a:gd name="connsiteY2" fmla="*/ 4007 h 6698"/>
                      <a:gd name="connsiteX3" fmla="*/ 2272 w 7296"/>
                      <a:gd name="connsiteY3" fmla="*/ 2093 h 6698"/>
                      <a:gd name="connsiteX4" fmla="*/ 179 w 7296"/>
                      <a:gd name="connsiteY4" fmla="*/ 180 h 6698"/>
                      <a:gd name="connsiteX5" fmla="*/ 0 w 7296"/>
                      <a:gd name="connsiteY5" fmla="*/ 0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 h="6698">
                        <a:moveTo>
                          <a:pt x="7296" y="6698"/>
                        </a:moveTo>
                        <a:lnTo>
                          <a:pt x="6459" y="5921"/>
                        </a:lnTo>
                        <a:lnTo>
                          <a:pt x="4366" y="4007"/>
                        </a:lnTo>
                        <a:lnTo>
                          <a:pt x="2272" y="2093"/>
                        </a:lnTo>
                        <a:lnTo>
                          <a:pt x="179" y="18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854" name="Vrije vorm: vorm 7853">
                    <a:extLst>
                      <a:ext uri="{FF2B5EF4-FFF2-40B4-BE49-F238E27FC236}">
                        <a16:creationId xmlns:a16="http://schemas.microsoft.com/office/drawing/2014/main" id="{19AA77DB-E601-4075-BB37-310E1A2276AB}"/>
                      </a:ext>
                    </a:extLst>
                  </p:cNvPr>
                  <p:cNvSpPr/>
                  <p:nvPr/>
                </p:nvSpPr>
                <p:spPr>
                  <a:xfrm>
                    <a:off x="5859692" y="5153389"/>
                    <a:ext cx="897" cy="1913"/>
                  </a:xfrm>
                  <a:custGeom>
                    <a:avLst/>
                    <a:gdLst>
                      <a:gd name="connsiteX0" fmla="*/ 897 w 897"/>
                      <a:gd name="connsiteY0" fmla="*/ 0 h 1913"/>
                      <a:gd name="connsiteX1" fmla="*/ 778 w 897"/>
                      <a:gd name="connsiteY1" fmla="*/ 0 h 1913"/>
                      <a:gd name="connsiteX2" fmla="*/ 658 w 897"/>
                      <a:gd name="connsiteY2" fmla="*/ 60 h 1913"/>
                      <a:gd name="connsiteX3" fmla="*/ 479 w 897"/>
                      <a:gd name="connsiteY3" fmla="*/ 179 h 1913"/>
                      <a:gd name="connsiteX4" fmla="*/ 359 w 897"/>
                      <a:gd name="connsiteY4" fmla="*/ 359 h 1913"/>
                      <a:gd name="connsiteX5" fmla="*/ 239 w 897"/>
                      <a:gd name="connsiteY5" fmla="*/ 598 h 1913"/>
                      <a:gd name="connsiteX6" fmla="*/ 120 w 897"/>
                      <a:gd name="connsiteY6" fmla="*/ 837 h 1913"/>
                      <a:gd name="connsiteX7" fmla="*/ 60 w 897"/>
                      <a:gd name="connsiteY7" fmla="*/ 1076 h 1913"/>
                      <a:gd name="connsiteX8" fmla="*/ 0 w 897"/>
                      <a:gd name="connsiteY8" fmla="*/ 1316 h 1913"/>
                      <a:gd name="connsiteX9" fmla="*/ 0 w 897"/>
                      <a:gd name="connsiteY9" fmla="*/ 1435 h 1913"/>
                      <a:gd name="connsiteX10" fmla="*/ 0 w 897"/>
                      <a:gd name="connsiteY10" fmla="*/ 1555 h 1913"/>
                      <a:gd name="connsiteX11" fmla="*/ 60 w 897"/>
                      <a:gd name="connsiteY11" fmla="*/ 1734 h 1913"/>
                      <a:gd name="connsiteX12" fmla="*/ 120 w 897"/>
                      <a:gd name="connsiteY12" fmla="*/ 1854 h 1913"/>
                      <a:gd name="connsiteX13" fmla="*/ 239 w 897"/>
                      <a:gd name="connsiteY13" fmla="*/ 1914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7" h="1913">
                        <a:moveTo>
                          <a:pt x="897" y="0"/>
                        </a:moveTo>
                        <a:lnTo>
                          <a:pt x="778" y="0"/>
                        </a:lnTo>
                        <a:lnTo>
                          <a:pt x="658" y="60"/>
                        </a:lnTo>
                        <a:lnTo>
                          <a:pt x="479" y="179"/>
                        </a:lnTo>
                        <a:lnTo>
                          <a:pt x="359" y="359"/>
                        </a:lnTo>
                        <a:lnTo>
                          <a:pt x="239" y="598"/>
                        </a:lnTo>
                        <a:lnTo>
                          <a:pt x="120" y="837"/>
                        </a:lnTo>
                        <a:lnTo>
                          <a:pt x="60" y="1076"/>
                        </a:lnTo>
                        <a:lnTo>
                          <a:pt x="0" y="1316"/>
                        </a:lnTo>
                        <a:lnTo>
                          <a:pt x="0" y="1435"/>
                        </a:lnTo>
                        <a:lnTo>
                          <a:pt x="0" y="1555"/>
                        </a:lnTo>
                        <a:lnTo>
                          <a:pt x="60" y="1734"/>
                        </a:lnTo>
                        <a:lnTo>
                          <a:pt x="120" y="1854"/>
                        </a:lnTo>
                        <a:lnTo>
                          <a:pt x="239" y="1914"/>
                        </a:lnTo>
                      </a:path>
                    </a:pathLst>
                  </a:custGeom>
                  <a:noFill/>
                  <a:ln w="6350" cap="flat">
                    <a:solidFill>
                      <a:schemeClr val="bg1">
                        <a:alpha val="40000"/>
                      </a:schemeClr>
                    </a:solidFill>
                    <a:prstDash val="solid"/>
                    <a:miter/>
                  </a:ln>
                </p:spPr>
                <p:txBody>
                  <a:bodyPr rtlCol="0" anchor="ctr"/>
                  <a:lstStyle/>
                  <a:p>
                    <a:endParaRPr lang="en-GB"/>
                  </a:p>
                </p:txBody>
              </p:sp>
              <p:sp>
                <p:nvSpPr>
                  <p:cNvPr id="7855" name="Vrije vorm: vorm 7854">
                    <a:extLst>
                      <a:ext uri="{FF2B5EF4-FFF2-40B4-BE49-F238E27FC236}">
                        <a16:creationId xmlns:a16="http://schemas.microsoft.com/office/drawing/2014/main" id="{5F4200FE-9D34-41B5-88C0-4B98A9EFD036}"/>
                      </a:ext>
                    </a:extLst>
                  </p:cNvPr>
                  <p:cNvSpPr/>
                  <p:nvPr/>
                </p:nvSpPr>
                <p:spPr>
                  <a:xfrm>
                    <a:off x="5857000" y="5151355"/>
                    <a:ext cx="7296" cy="10466"/>
                  </a:xfrm>
                  <a:custGeom>
                    <a:avLst/>
                    <a:gdLst>
                      <a:gd name="connsiteX0" fmla="*/ 7297 w 7296"/>
                      <a:gd name="connsiteY0" fmla="*/ 10466 h 10466"/>
                      <a:gd name="connsiteX1" fmla="*/ 5203 w 7296"/>
                      <a:gd name="connsiteY1" fmla="*/ 8552 h 10466"/>
                      <a:gd name="connsiteX2" fmla="*/ 3110 w 7296"/>
                      <a:gd name="connsiteY2" fmla="*/ 6639 h 10466"/>
                      <a:gd name="connsiteX3" fmla="*/ 1017 w 7296"/>
                      <a:gd name="connsiteY3" fmla="*/ 4725 h 10466"/>
                      <a:gd name="connsiteX4" fmla="*/ 0 w 7296"/>
                      <a:gd name="connsiteY4" fmla="*/ 3768 h 10466"/>
                      <a:gd name="connsiteX5" fmla="*/ 1076 w 7296"/>
                      <a:gd name="connsiteY5" fmla="*/ 4127 h 10466"/>
                      <a:gd name="connsiteX6" fmla="*/ 1615 w 7296"/>
                      <a:gd name="connsiteY6" fmla="*/ 3110 h 10466"/>
                      <a:gd name="connsiteX7" fmla="*/ 2392 w 7296"/>
                      <a:gd name="connsiteY7" fmla="*/ 1615 h 10466"/>
                      <a:gd name="connsiteX8" fmla="*/ 3170 w 7296"/>
                      <a:gd name="connsiteY8" fmla="*/ 0 h 1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6" h="10466">
                        <a:moveTo>
                          <a:pt x="7297" y="10466"/>
                        </a:moveTo>
                        <a:lnTo>
                          <a:pt x="5203" y="8552"/>
                        </a:lnTo>
                        <a:lnTo>
                          <a:pt x="3110" y="6639"/>
                        </a:lnTo>
                        <a:lnTo>
                          <a:pt x="1017" y="4725"/>
                        </a:lnTo>
                        <a:lnTo>
                          <a:pt x="0" y="3768"/>
                        </a:lnTo>
                        <a:lnTo>
                          <a:pt x="1076" y="4127"/>
                        </a:lnTo>
                        <a:lnTo>
                          <a:pt x="1615" y="3110"/>
                        </a:lnTo>
                        <a:lnTo>
                          <a:pt x="2392" y="1615"/>
                        </a:lnTo>
                        <a:lnTo>
                          <a:pt x="3170" y="0"/>
                        </a:lnTo>
                      </a:path>
                    </a:pathLst>
                  </a:custGeom>
                  <a:noFill/>
                  <a:ln w="6350" cap="flat">
                    <a:solidFill>
                      <a:schemeClr val="bg1">
                        <a:alpha val="40000"/>
                      </a:schemeClr>
                    </a:solidFill>
                    <a:prstDash val="solid"/>
                    <a:miter/>
                  </a:ln>
                </p:spPr>
                <p:txBody>
                  <a:bodyPr rtlCol="0" anchor="ctr"/>
                  <a:lstStyle/>
                  <a:p>
                    <a:endParaRPr lang="en-GB"/>
                  </a:p>
                </p:txBody>
              </p:sp>
              <p:sp>
                <p:nvSpPr>
                  <p:cNvPr id="7856" name="Vrije vorm: vorm 7855">
                    <a:extLst>
                      <a:ext uri="{FF2B5EF4-FFF2-40B4-BE49-F238E27FC236}">
                        <a16:creationId xmlns:a16="http://schemas.microsoft.com/office/drawing/2014/main" id="{0F255887-17C1-43B0-8A3F-7A38862321E6}"/>
                      </a:ext>
                    </a:extLst>
                  </p:cNvPr>
                  <p:cNvSpPr/>
                  <p:nvPr/>
                </p:nvSpPr>
                <p:spPr>
                  <a:xfrm>
                    <a:off x="5859871" y="5153448"/>
                    <a:ext cx="896" cy="1913"/>
                  </a:xfrm>
                  <a:custGeom>
                    <a:avLst/>
                    <a:gdLst>
                      <a:gd name="connsiteX0" fmla="*/ 0 w 896"/>
                      <a:gd name="connsiteY0" fmla="*/ 1914 h 1913"/>
                      <a:gd name="connsiteX1" fmla="*/ 119 w 896"/>
                      <a:gd name="connsiteY1" fmla="*/ 1914 h 1913"/>
                      <a:gd name="connsiteX2" fmla="*/ 239 w 896"/>
                      <a:gd name="connsiteY2" fmla="*/ 1854 h 1913"/>
                      <a:gd name="connsiteX3" fmla="*/ 418 w 896"/>
                      <a:gd name="connsiteY3" fmla="*/ 1734 h 1913"/>
                      <a:gd name="connsiteX4" fmla="*/ 538 w 896"/>
                      <a:gd name="connsiteY4" fmla="*/ 1555 h 1913"/>
                      <a:gd name="connsiteX5" fmla="*/ 658 w 896"/>
                      <a:gd name="connsiteY5" fmla="*/ 1316 h 1913"/>
                      <a:gd name="connsiteX6" fmla="*/ 777 w 896"/>
                      <a:gd name="connsiteY6" fmla="*/ 1076 h 1913"/>
                      <a:gd name="connsiteX7" fmla="*/ 837 w 896"/>
                      <a:gd name="connsiteY7" fmla="*/ 837 h 1913"/>
                      <a:gd name="connsiteX8" fmla="*/ 897 w 896"/>
                      <a:gd name="connsiteY8" fmla="*/ 598 h 1913"/>
                      <a:gd name="connsiteX9" fmla="*/ 897 w 896"/>
                      <a:gd name="connsiteY9" fmla="*/ 359 h 1913"/>
                      <a:gd name="connsiteX10" fmla="*/ 837 w 896"/>
                      <a:gd name="connsiteY10" fmla="*/ 179 h 1913"/>
                      <a:gd name="connsiteX11" fmla="*/ 777 w 896"/>
                      <a:gd name="connsiteY11" fmla="*/ 60 h 1913"/>
                      <a:gd name="connsiteX12" fmla="*/ 658 w 896"/>
                      <a:gd name="connsiteY12" fmla="*/ 0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6" h="1913">
                        <a:moveTo>
                          <a:pt x="0" y="1914"/>
                        </a:moveTo>
                        <a:lnTo>
                          <a:pt x="119" y="1914"/>
                        </a:lnTo>
                        <a:lnTo>
                          <a:pt x="239" y="1854"/>
                        </a:lnTo>
                        <a:lnTo>
                          <a:pt x="418" y="1734"/>
                        </a:lnTo>
                        <a:lnTo>
                          <a:pt x="538" y="1555"/>
                        </a:lnTo>
                        <a:lnTo>
                          <a:pt x="658" y="1316"/>
                        </a:lnTo>
                        <a:lnTo>
                          <a:pt x="777" y="1076"/>
                        </a:lnTo>
                        <a:lnTo>
                          <a:pt x="837" y="837"/>
                        </a:lnTo>
                        <a:lnTo>
                          <a:pt x="897" y="598"/>
                        </a:lnTo>
                        <a:lnTo>
                          <a:pt x="897" y="359"/>
                        </a:lnTo>
                        <a:lnTo>
                          <a:pt x="837" y="179"/>
                        </a:lnTo>
                        <a:lnTo>
                          <a:pt x="777" y="60"/>
                        </a:lnTo>
                        <a:lnTo>
                          <a:pt x="658" y="0"/>
                        </a:lnTo>
                      </a:path>
                    </a:pathLst>
                  </a:custGeom>
                  <a:noFill/>
                  <a:ln w="6350" cap="flat">
                    <a:solidFill>
                      <a:schemeClr val="bg1">
                        <a:alpha val="40000"/>
                      </a:schemeClr>
                    </a:solidFill>
                    <a:prstDash val="solid"/>
                    <a:miter/>
                  </a:ln>
                </p:spPr>
                <p:txBody>
                  <a:bodyPr rtlCol="0" anchor="ctr"/>
                  <a:lstStyle/>
                  <a:p>
                    <a:endParaRPr lang="en-GB"/>
                  </a:p>
                </p:txBody>
              </p:sp>
              <p:sp>
                <p:nvSpPr>
                  <p:cNvPr id="7857" name="Vrije vorm: vorm 7856">
                    <a:extLst>
                      <a:ext uri="{FF2B5EF4-FFF2-40B4-BE49-F238E27FC236}">
                        <a16:creationId xmlns:a16="http://schemas.microsoft.com/office/drawing/2014/main" id="{71F5DFDD-39E1-44B1-9002-B9AE065E838E}"/>
                      </a:ext>
                    </a:extLst>
                  </p:cNvPr>
                  <p:cNvSpPr/>
                  <p:nvPr/>
                </p:nvSpPr>
                <p:spPr>
                  <a:xfrm>
                    <a:off x="5864476" y="5157934"/>
                    <a:ext cx="1076" cy="1854"/>
                  </a:xfrm>
                  <a:custGeom>
                    <a:avLst/>
                    <a:gdLst>
                      <a:gd name="connsiteX0" fmla="*/ 239 w 1076"/>
                      <a:gd name="connsiteY0" fmla="*/ 1854 h 1854"/>
                      <a:gd name="connsiteX1" fmla="*/ 359 w 1076"/>
                      <a:gd name="connsiteY1" fmla="*/ 1854 h 1854"/>
                      <a:gd name="connsiteX2" fmla="*/ 479 w 1076"/>
                      <a:gd name="connsiteY2" fmla="*/ 1794 h 1854"/>
                      <a:gd name="connsiteX3" fmla="*/ 598 w 1076"/>
                      <a:gd name="connsiteY3" fmla="*/ 1674 h 1854"/>
                      <a:gd name="connsiteX4" fmla="*/ 718 w 1076"/>
                      <a:gd name="connsiteY4" fmla="*/ 1495 h 1854"/>
                      <a:gd name="connsiteX5" fmla="*/ 837 w 1076"/>
                      <a:gd name="connsiteY5" fmla="*/ 1256 h 1854"/>
                      <a:gd name="connsiteX6" fmla="*/ 957 w 1076"/>
                      <a:gd name="connsiteY6" fmla="*/ 1017 h 1854"/>
                      <a:gd name="connsiteX7" fmla="*/ 1017 w 1076"/>
                      <a:gd name="connsiteY7" fmla="*/ 777 h 1854"/>
                      <a:gd name="connsiteX8" fmla="*/ 1076 w 1076"/>
                      <a:gd name="connsiteY8" fmla="*/ 538 h 1854"/>
                      <a:gd name="connsiteX9" fmla="*/ 1076 w 1076"/>
                      <a:gd name="connsiteY9" fmla="*/ 359 h 1854"/>
                      <a:gd name="connsiteX10" fmla="*/ 1017 w 1076"/>
                      <a:gd name="connsiteY10" fmla="*/ 179 h 1854"/>
                      <a:gd name="connsiteX11" fmla="*/ 957 w 1076"/>
                      <a:gd name="connsiteY11" fmla="*/ 60 h 1854"/>
                      <a:gd name="connsiteX12" fmla="*/ 837 w 1076"/>
                      <a:gd name="connsiteY12" fmla="*/ 0 h 1854"/>
                      <a:gd name="connsiteX13" fmla="*/ 718 w 1076"/>
                      <a:gd name="connsiteY13" fmla="*/ 0 h 1854"/>
                      <a:gd name="connsiteX14" fmla="*/ 598 w 1076"/>
                      <a:gd name="connsiteY14" fmla="*/ 60 h 1854"/>
                      <a:gd name="connsiteX15" fmla="*/ 479 w 1076"/>
                      <a:gd name="connsiteY15" fmla="*/ 179 h 1854"/>
                      <a:gd name="connsiteX16" fmla="*/ 359 w 1076"/>
                      <a:gd name="connsiteY16" fmla="*/ 359 h 1854"/>
                      <a:gd name="connsiteX17" fmla="*/ 239 w 1076"/>
                      <a:gd name="connsiteY17" fmla="*/ 598 h 1854"/>
                      <a:gd name="connsiteX18" fmla="*/ 120 w 1076"/>
                      <a:gd name="connsiteY18" fmla="*/ 837 h 1854"/>
                      <a:gd name="connsiteX19" fmla="*/ 60 w 1076"/>
                      <a:gd name="connsiteY19" fmla="*/ 1076 h 1854"/>
                      <a:gd name="connsiteX20" fmla="*/ 0 w 1076"/>
                      <a:gd name="connsiteY20" fmla="*/ 1316 h 1854"/>
                      <a:gd name="connsiteX21" fmla="*/ 0 w 1076"/>
                      <a:gd name="connsiteY21" fmla="*/ 1435 h 1854"/>
                      <a:gd name="connsiteX22" fmla="*/ 0 w 1076"/>
                      <a:gd name="connsiteY22" fmla="*/ 1555 h 1854"/>
                      <a:gd name="connsiteX23" fmla="*/ 60 w 1076"/>
                      <a:gd name="connsiteY23" fmla="*/ 1734 h 1854"/>
                      <a:gd name="connsiteX24" fmla="*/ 120 w 1076"/>
                      <a:gd name="connsiteY24" fmla="*/ 1854 h 1854"/>
                      <a:gd name="connsiteX25" fmla="*/ 239 w 1076"/>
                      <a:gd name="connsiteY25"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76" h="1854">
                        <a:moveTo>
                          <a:pt x="239" y="1854"/>
                        </a:moveTo>
                        <a:lnTo>
                          <a:pt x="359" y="1854"/>
                        </a:lnTo>
                        <a:lnTo>
                          <a:pt x="479" y="1794"/>
                        </a:lnTo>
                        <a:lnTo>
                          <a:pt x="598" y="1674"/>
                        </a:lnTo>
                        <a:lnTo>
                          <a:pt x="718" y="1495"/>
                        </a:lnTo>
                        <a:lnTo>
                          <a:pt x="837" y="1256"/>
                        </a:lnTo>
                        <a:lnTo>
                          <a:pt x="957" y="1017"/>
                        </a:lnTo>
                        <a:lnTo>
                          <a:pt x="1017" y="777"/>
                        </a:lnTo>
                        <a:lnTo>
                          <a:pt x="1076" y="538"/>
                        </a:lnTo>
                        <a:lnTo>
                          <a:pt x="1076" y="359"/>
                        </a:lnTo>
                        <a:lnTo>
                          <a:pt x="1017" y="179"/>
                        </a:lnTo>
                        <a:lnTo>
                          <a:pt x="957" y="60"/>
                        </a:lnTo>
                        <a:lnTo>
                          <a:pt x="837" y="0"/>
                        </a:lnTo>
                        <a:lnTo>
                          <a:pt x="718" y="0"/>
                        </a:lnTo>
                        <a:lnTo>
                          <a:pt x="598" y="60"/>
                        </a:lnTo>
                        <a:lnTo>
                          <a:pt x="479" y="179"/>
                        </a:lnTo>
                        <a:lnTo>
                          <a:pt x="359" y="359"/>
                        </a:lnTo>
                        <a:lnTo>
                          <a:pt x="239" y="598"/>
                        </a:lnTo>
                        <a:lnTo>
                          <a:pt x="120" y="837"/>
                        </a:lnTo>
                        <a:lnTo>
                          <a:pt x="60" y="1076"/>
                        </a:lnTo>
                        <a:lnTo>
                          <a:pt x="0" y="1316"/>
                        </a:lnTo>
                        <a:lnTo>
                          <a:pt x="0" y="1435"/>
                        </a:lnTo>
                        <a:lnTo>
                          <a:pt x="0" y="1555"/>
                        </a:lnTo>
                        <a:lnTo>
                          <a:pt x="60" y="1734"/>
                        </a:lnTo>
                        <a:lnTo>
                          <a:pt x="120" y="1854"/>
                        </a:lnTo>
                        <a:lnTo>
                          <a:pt x="239" y="1854"/>
                        </a:lnTo>
                      </a:path>
                    </a:pathLst>
                  </a:custGeom>
                  <a:noFill/>
                  <a:ln w="6350" cap="flat">
                    <a:solidFill>
                      <a:schemeClr val="bg1">
                        <a:alpha val="40000"/>
                      </a:schemeClr>
                    </a:solidFill>
                    <a:prstDash val="solid"/>
                    <a:miter/>
                  </a:ln>
                </p:spPr>
                <p:txBody>
                  <a:bodyPr rtlCol="0" anchor="ctr"/>
                  <a:lstStyle/>
                  <a:p>
                    <a:endParaRPr lang="en-GB"/>
                  </a:p>
                </p:txBody>
              </p:sp>
              <p:sp>
                <p:nvSpPr>
                  <p:cNvPr id="7858" name="Vrije vorm: vorm 7857">
                    <a:extLst>
                      <a:ext uri="{FF2B5EF4-FFF2-40B4-BE49-F238E27FC236}">
                        <a16:creationId xmlns:a16="http://schemas.microsoft.com/office/drawing/2014/main" id="{DB28DDBC-C075-44C0-A889-DF6E2D432914}"/>
                      </a:ext>
                    </a:extLst>
                  </p:cNvPr>
                  <p:cNvSpPr/>
                  <p:nvPr/>
                </p:nvSpPr>
                <p:spPr>
                  <a:xfrm>
                    <a:off x="5862383" y="5155840"/>
                    <a:ext cx="837" cy="1913"/>
                  </a:xfrm>
                  <a:custGeom>
                    <a:avLst/>
                    <a:gdLst>
                      <a:gd name="connsiteX0" fmla="*/ 837 w 837"/>
                      <a:gd name="connsiteY0" fmla="*/ 0 h 1913"/>
                      <a:gd name="connsiteX1" fmla="*/ 718 w 837"/>
                      <a:gd name="connsiteY1" fmla="*/ 0 h 1913"/>
                      <a:gd name="connsiteX2" fmla="*/ 598 w 837"/>
                      <a:gd name="connsiteY2" fmla="*/ 60 h 1913"/>
                      <a:gd name="connsiteX3" fmla="*/ 479 w 837"/>
                      <a:gd name="connsiteY3" fmla="*/ 180 h 1913"/>
                      <a:gd name="connsiteX4" fmla="*/ 359 w 837"/>
                      <a:gd name="connsiteY4" fmla="*/ 359 h 1913"/>
                      <a:gd name="connsiteX5" fmla="*/ 239 w 837"/>
                      <a:gd name="connsiteY5" fmla="*/ 598 h 1913"/>
                      <a:gd name="connsiteX6" fmla="*/ 120 w 837"/>
                      <a:gd name="connsiteY6" fmla="*/ 837 h 1913"/>
                      <a:gd name="connsiteX7" fmla="*/ 60 w 837"/>
                      <a:gd name="connsiteY7" fmla="*/ 1076 h 1913"/>
                      <a:gd name="connsiteX8" fmla="*/ 0 w 837"/>
                      <a:gd name="connsiteY8" fmla="*/ 1316 h 1913"/>
                      <a:gd name="connsiteX9" fmla="*/ 0 w 837"/>
                      <a:gd name="connsiteY9" fmla="*/ 1435 h 1913"/>
                      <a:gd name="connsiteX10" fmla="*/ 0 w 837"/>
                      <a:gd name="connsiteY10" fmla="*/ 1555 h 1913"/>
                      <a:gd name="connsiteX11" fmla="*/ 60 w 837"/>
                      <a:gd name="connsiteY11" fmla="*/ 1734 h 1913"/>
                      <a:gd name="connsiteX12" fmla="*/ 120 w 837"/>
                      <a:gd name="connsiteY12" fmla="*/ 1854 h 1913"/>
                      <a:gd name="connsiteX13" fmla="*/ 239 w 837"/>
                      <a:gd name="connsiteY13" fmla="*/ 1914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 h="1913">
                        <a:moveTo>
                          <a:pt x="837" y="0"/>
                        </a:moveTo>
                        <a:lnTo>
                          <a:pt x="718" y="0"/>
                        </a:lnTo>
                        <a:lnTo>
                          <a:pt x="598" y="60"/>
                        </a:lnTo>
                        <a:lnTo>
                          <a:pt x="479" y="180"/>
                        </a:lnTo>
                        <a:lnTo>
                          <a:pt x="359" y="359"/>
                        </a:lnTo>
                        <a:lnTo>
                          <a:pt x="239" y="598"/>
                        </a:lnTo>
                        <a:lnTo>
                          <a:pt x="120" y="837"/>
                        </a:lnTo>
                        <a:lnTo>
                          <a:pt x="60" y="1076"/>
                        </a:lnTo>
                        <a:lnTo>
                          <a:pt x="0" y="1316"/>
                        </a:lnTo>
                        <a:lnTo>
                          <a:pt x="0" y="1435"/>
                        </a:lnTo>
                        <a:lnTo>
                          <a:pt x="0" y="1555"/>
                        </a:lnTo>
                        <a:lnTo>
                          <a:pt x="60" y="1734"/>
                        </a:lnTo>
                        <a:lnTo>
                          <a:pt x="120" y="1854"/>
                        </a:lnTo>
                        <a:lnTo>
                          <a:pt x="239" y="1914"/>
                        </a:lnTo>
                      </a:path>
                    </a:pathLst>
                  </a:custGeom>
                  <a:noFill/>
                  <a:ln w="6350" cap="flat">
                    <a:solidFill>
                      <a:schemeClr val="bg1">
                        <a:alpha val="40000"/>
                      </a:schemeClr>
                    </a:solidFill>
                    <a:prstDash val="solid"/>
                    <a:miter/>
                  </a:ln>
                </p:spPr>
                <p:txBody>
                  <a:bodyPr rtlCol="0" anchor="ctr"/>
                  <a:lstStyle/>
                  <a:p>
                    <a:endParaRPr lang="en-GB"/>
                  </a:p>
                </p:txBody>
              </p:sp>
              <p:sp>
                <p:nvSpPr>
                  <p:cNvPr id="7859" name="Vrije vorm: vorm 7858">
                    <a:extLst>
                      <a:ext uri="{FF2B5EF4-FFF2-40B4-BE49-F238E27FC236}">
                        <a16:creationId xmlns:a16="http://schemas.microsoft.com/office/drawing/2014/main" id="{93405DD5-BEDC-4230-BBDC-5478A9E82680}"/>
                      </a:ext>
                    </a:extLst>
                  </p:cNvPr>
                  <p:cNvSpPr/>
                  <p:nvPr/>
                </p:nvSpPr>
                <p:spPr>
                  <a:xfrm>
                    <a:off x="5862443" y="5155900"/>
                    <a:ext cx="837" cy="1854"/>
                  </a:xfrm>
                  <a:custGeom>
                    <a:avLst/>
                    <a:gdLst>
                      <a:gd name="connsiteX0" fmla="*/ 0 w 837"/>
                      <a:gd name="connsiteY0" fmla="*/ 1854 h 1854"/>
                      <a:gd name="connsiteX1" fmla="*/ 119 w 837"/>
                      <a:gd name="connsiteY1" fmla="*/ 1854 h 1854"/>
                      <a:gd name="connsiteX2" fmla="*/ 239 w 837"/>
                      <a:gd name="connsiteY2" fmla="*/ 1794 h 1854"/>
                      <a:gd name="connsiteX3" fmla="*/ 359 w 837"/>
                      <a:gd name="connsiteY3" fmla="*/ 1674 h 1854"/>
                      <a:gd name="connsiteX4" fmla="*/ 478 w 837"/>
                      <a:gd name="connsiteY4" fmla="*/ 1495 h 1854"/>
                      <a:gd name="connsiteX5" fmla="*/ 598 w 837"/>
                      <a:gd name="connsiteY5" fmla="*/ 1256 h 1854"/>
                      <a:gd name="connsiteX6" fmla="*/ 718 w 837"/>
                      <a:gd name="connsiteY6" fmla="*/ 1017 h 1854"/>
                      <a:gd name="connsiteX7" fmla="*/ 778 w 837"/>
                      <a:gd name="connsiteY7" fmla="*/ 778 h 1854"/>
                      <a:gd name="connsiteX8" fmla="*/ 837 w 837"/>
                      <a:gd name="connsiteY8" fmla="*/ 538 h 1854"/>
                      <a:gd name="connsiteX9" fmla="*/ 837 w 837"/>
                      <a:gd name="connsiteY9" fmla="*/ 359 h 1854"/>
                      <a:gd name="connsiteX10" fmla="*/ 778 w 837"/>
                      <a:gd name="connsiteY10" fmla="*/ 179 h 1854"/>
                      <a:gd name="connsiteX11" fmla="*/ 718 w 837"/>
                      <a:gd name="connsiteY11" fmla="*/ 60 h 1854"/>
                      <a:gd name="connsiteX12" fmla="*/ 598 w 837"/>
                      <a:gd name="connsiteY12" fmla="*/ 0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7" h="1854">
                        <a:moveTo>
                          <a:pt x="0" y="1854"/>
                        </a:moveTo>
                        <a:lnTo>
                          <a:pt x="119" y="1854"/>
                        </a:lnTo>
                        <a:lnTo>
                          <a:pt x="239" y="1794"/>
                        </a:lnTo>
                        <a:lnTo>
                          <a:pt x="359" y="1674"/>
                        </a:lnTo>
                        <a:lnTo>
                          <a:pt x="478" y="1495"/>
                        </a:lnTo>
                        <a:lnTo>
                          <a:pt x="598" y="1256"/>
                        </a:lnTo>
                        <a:lnTo>
                          <a:pt x="718" y="1017"/>
                        </a:lnTo>
                        <a:lnTo>
                          <a:pt x="778" y="778"/>
                        </a:lnTo>
                        <a:lnTo>
                          <a:pt x="837" y="538"/>
                        </a:lnTo>
                        <a:lnTo>
                          <a:pt x="837" y="359"/>
                        </a:lnTo>
                        <a:lnTo>
                          <a:pt x="778" y="179"/>
                        </a:lnTo>
                        <a:lnTo>
                          <a:pt x="718" y="60"/>
                        </a:lnTo>
                        <a:lnTo>
                          <a:pt x="598" y="0"/>
                        </a:lnTo>
                      </a:path>
                    </a:pathLst>
                  </a:custGeom>
                  <a:noFill/>
                  <a:ln w="6350" cap="flat">
                    <a:solidFill>
                      <a:schemeClr val="bg1">
                        <a:alpha val="40000"/>
                      </a:schemeClr>
                    </a:solidFill>
                    <a:prstDash val="solid"/>
                    <a:miter/>
                  </a:ln>
                </p:spPr>
                <p:txBody>
                  <a:bodyPr rtlCol="0" anchor="ctr"/>
                  <a:lstStyle/>
                  <a:p>
                    <a:endParaRPr lang="en-GB"/>
                  </a:p>
                </p:txBody>
              </p:sp>
              <p:sp>
                <p:nvSpPr>
                  <p:cNvPr id="7860" name="Vrije vorm: vorm 7859">
                    <a:extLst>
                      <a:ext uri="{FF2B5EF4-FFF2-40B4-BE49-F238E27FC236}">
                        <a16:creationId xmlns:a16="http://schemas.microsoft.com/office/drawing/2014/main" id="{14AB83A0-58C6-4F2F-BED4-CDED22465169}"/>
                      </a:ext>
                    </a:extLst>
                  </p:cNvPr>
                  <p:cNvSpPr/>
                  <p:nvPr/>
                </p:nvSpPr>
                <p:spPr>
                  <a:xfrm>
                    <a:off x="5877275" y="5173544"/>
                    <a:ext cx="1674" cy="597"/>
                  </a:xfrm>
                  <a:custGeom>
                    <a:avLst/>
                    <a:gdLst>
                      <a:gd name="connsiteX0" fmla="*/ 0 w 1674"/>
                      <a:gd name="connsiteY0" fmla="*/ 0 h 597"/>
                      <a:gd name="connsiteX1" fmla="*/ 1675 w 1674"/>
                      <a:gd name="connsiteY1" fmla="*/ 598 h 597"/>
                    </a:gdLst>
                    <a:ahLst/>
                    <a:cxnLst>
                      <a:cxn ang="0">
                        <a:pos x="connsiteX0" y="connsiteY0"/>
                      </a:cxn>
                      <a:cxn ang="0">
                        <a:pos x="connsiteX1" y="connsiteY1"/>
                      </a:cxn>
                    </a:cxnLst>
                    <a:rect l="l" t="t" r="r" b="b"/>
                    <a:pathLst>
                      <a:path w="1674" h="597">
                        <a:moveTo>
                          <a:pt x="0" y="0"/>
                        </a:moveTo>
                        <a:lnTo>
                          <a:pt x="1675" y="598"/>
                        </a:lnTo>
                      </a:path>
                    </a:pathLst>
                  </a:custGeom>
                  <a:noFill/>
                  <a:ln w="6350" cap="flat">
                    <a:solidFill>
                      <a:schemeClr val="bg1">
                        <a:alpha val="40000"/>
                      </a:schemeClr>
                    </a:solidFill>
                    <a:prstDash val="solid"/>
                    <a:miter/>
                  </a:ln>
                </p:spPr>
                <p:txBody>
                  <a:bodyPr rtlCol="0" anchor="ctr"/>
                  <a:lstStyle/>
                  <a:p>
                    <a:endParaRPr lang="en-GB"/>
                  </a:p>
                </p:txBody>
              </p:sp>
              <p:sp>
                <p:nvSpPr>
                  <p:cNvPr id="7861" name="Vrije vorm: vorm 7860">
                    <a:extLst>
                      <a:ext uri="{FF2B5EF4-FFF2-40B4-BE49-F238E27FC236}">
                        <a16:creationId xmlns:a16="http://schemas.microsoft.com/office/drawing/2014/main" id="{CCFBCC0F-7BD3-46A3-B21F-08D327C55FE8}"/>
                      </a:ext>
                    </a:extLst>
                  </p:cNvPr>
                  <p:cNvSpPr/>
                  <p:nvPr/>
                </p:nvSpPr>
                <p:spPr>
                  <a:xfrm>
                    <a:off x="5878950" y="5170374"/>
                    <a:ext cx="3049" cy="6519"/>
                  </a:xfrm>
                  <a:custGeom>
                    <a:avLst/>
                    <a:gdLst>
                      <a:gd name="connsiteX0" fmla="*/ 1914 w 3049"/>
                      <a:gd name="connsiteY0" fmla="*/ 0 h 6519"/>
                      <a:gd name="connsiteX1" fmla="*/ 359 w 3049"/>
                      <a:gd name="connsiteY1" fmla="*/ 3050 h 6519"/>
                      <a:gd name="connsiteX2" fmla="*/ 0 w 3049"/>
                      <a:gd name="connsiteY2" fmla="*/ 3828 h 6519"/>
                      <a:gd name="connsiteX3" fmla="*/ 1973 w 3049"/>
                      <a:gd name="connsiteY3" fmla="*/ 5622 h 6519"/>
                      <a:gd name="connsiteX4" fmla="*/ 2871 w 3049"/>
                      <a:gd name="connsiteY4" fmla="*/ 6459 h 6519"/>
                      <a:gd name="connsiteX5" fmla="*/ 3050 w 3049"/>
                      <a:gd name="connsiteY5" fmla="*/ 6519 h 6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9" h="6519">
                        <a:moveTo>
                          <a:pt x="1914" y="0"/>
                        </a:moveTo>
                        <a:lnTo>
                          <a:pt x="359" y="3050"/>
                        </a:lnTo>
                        <a:lnTo>
                          <a:pt x="0" y="3828"/>
                        </a:lnTo>
                        <a:lnTo>
                          <a:pt x="1973" y="5622"/>
                        </a:lnTo>
                        <a:lnTo>
                          <a:pt x="2871" y="6459"/>
                        </a:lnTo>
                        <a:lnTo>
                          <a:pt x="3050" y="6519"/>
                        </a:lnTo>
                      </a:path>
                    </a:pathLst>
                  </a:custGeom>
                  <a:noFill/>
                  <a:ln w="6350" cap="flat">
                    <a:solidFill>
                      <a:schemeClr val="bg1">
                        <a:alpha val="40000"/>
                      </a:schemeClr>
                    </a:solidFill>
                    <a:prstDash val="solid"/>
                    <a:miter/>
                  </a:ln>
                </p:spPr>
                <p:txBody>
                  <a:bodyPr rtlCol="0" anchor="ctr"/>
                  <a:lstStyle/>
                  <a:p>
                    <a:endParaRPr lang="en-GB"/>
                  </a:p>
                </p:txBody>
              </p:sp>
              <p:sp>
                <p:nvSpPr>
                  <p:cNvPr id="7862" name="Vrije vorm: vorm 7861">
                    <a:extLst>
                      <a:ext uri="{FF2B5EF4-FFF2-40B4-BE49-F238E27FC236}">
                        <a16:creationId xmlns:a16="http://schemas.microsoft.com/office/drawing/2014/main" id="{5C760D69-87DE-4DE7-9975-9EACB3F09596}"/>
                      </a:ext>
                    </a:extLst>
                  </p:cNvPr>
                  <p:cNvSpPr/>
                  <p:nvPr/>
                </p:nvSpPr>
                <p:spPr>
                  <a:xfrm>
                    <a:off x="5877215" y="5169776"/>
                    <a:ext cx="3110" cy="6518"/>
                  </a:xfrm>
                  <a:custGeom>
                    <a:avLst/>
                    <a:gdLst>
                      <a:gd name="connsiteX0" fmla="*/ 3110 w 3110"/>
                      <a:gd name="connsiteY0" fmla="*/ 6519 h 6518"/>
                      <a:gd name="connsiteX1" fmla="*/ 2930 w 3110"/>
                      <a:gd name="connsiteY1" fmla="*/ 6459 h 6518"/>
                      <a:gd name="connsiteX2" fmla="*/ 837 w 3110"/>
                      <a:gd name="connsiteY2" fmla="*/ 4545 h 6518"/>
                      <a:gd name="connsiteX3" fmla="*/ 0 w 3110"/>
                      <a:gd name="connsiteY3" fmla="*/ 3828 h 6518"/>
                      <a:gd name="connsiteX4" fmla="*/ 1555 w 3110"/>
                      <a:gd name="connsiteY4" fmla="*/ 778 h 6518"/>
                      <a:gd name="connsiteX5" fmla="*/ 1914 w 3110"/>
                      <a:gd name="connsiteY5" fmla="*/ 0 h 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 h="6518">
                        <a:moveTo>
                          <a:pt x="3110" y="6519"/>
                        </a:moveTo>
                        <a:lnTo>
                          <a:pt x="2930" y="6459"/>
                        </a:lnTo>
                        <a:lnTo>
                          <a:pt x="837" y="4545"/>
                        </a:lnTo>
                        <a:lnTo>
                          <a:pt x="0" y="3828"/>
                        </a:lnTo>
                        <a:lnTo>
                          <a:pt x="1555" y="778"/>
                        </a:lnTo>
                        <a:lnTo>
                          <a:pt x="1914" y="0"/>
                        </a:lnTo>
                      </a:path>
                    </a:pathLst>
                  </a:custGeom>
                  <a:noFill/>
                  <a:ln w="6350" cap="flat">
                    <a:solidFill>
                      <a:schemeClr val="bg1">
                        <a:alpha val="40000"/>
                      </a:schemeClr>
                    </a:solidFill>
                    <a:prstDash val="solid"/>
                    <a:miter/>
                  </a:ln>
                </p:spPr>
                <p:txBody>
                  <a:bodyPr rtlCol="0" anchor="ctr"/>
                  <a:lstStyle/>
                  <a:p>
                    <a:endParaRPr lang="en-GB"/>
                  </a:p>
                </p:txBody>
              </p:sp>
              <p:sp>
                <p:nvSpPr>
                  <p:cNvPr id="7863" name="Vrije vorm: vorm 7862">
                    <a:extLst>
                      <a:ext uri="{FF2B5EF4-FFF2-40B4-BE49-F238E27FC236}">
                        <a16:creationId xmlns:a16="http://schemas.microsoft.com/office/drawing/2014/main" id="{F9621BDA-DBD1-48F3-8DEC-6EE9A2CA8052}"/>
                      </a:ext>
                    </a:extLst>
                  </p:cNvPr>
                  <p:cNvSpPr/>
                  <p:nvPr/>
                </p:nvSpPr>
                <p:spPr>
                  <a:xfrm>
                    <a:off x="5864416" y="5202071"/>
                    <a:ext cx="4665" cy="2870"/>
                  </a:xfrm>
                  <a:custGeom>
                    <a:avLst/>
                    <a:gdLst>
                      <a:gd name="connsiteX0" fmla="*/ 0 w 4665"/>
                      <a:gd name="connsiteY0" fmla="*/ 0 h 2870"/>
                      <a:gd name="connsiteX1" fmla="*/ 2213 w 4665"/>
                      <a:gd name="connsiteY1" fmla="*/ 1675 h 2870"/>
                      <a:gd name="connsiteX2" fmla="*/ 2691 w 4665"/>
                      <a:gd name="connsiteY2" fmla="*/ 2034 h 2870"/>
                      <a:gd name="connsiteX3" fmla="*/ 4665 w 4665"/>
                      <a:gd name="connsiteY3" fmla="*/ 2871 h 2870"/>
                    </a:gdLst>
                    <a:ahLst/>
                    <a:cxnLst>
                      <a:cxn ang="0">
                        <a:pos x="connsiteX0" y="connsiteY0"/>
                      </a:cxn>
                      <a:cxn ang="0">
                        <a:pos x="connsiteX1" y="connsiteY1"/>
                      </a:cxn>
                      <a:cxn ang="0">
                        <a:pos x="connsiteX2" y="connsiteY2"/>
                      </a:cxn>
                      <a:cxn ang="0">
                        <a:pos x="connsiteX3" y="connsiteY3"/>
                      </a:cxn>
                    </a:cxnLst>
                    <a:rect l="l" t="t" r="r" b="b"/>
                    <a:pathLst>
                      <a:path w="4665" h="2870">
                        <a:moveTo>
                          <a:pt x="0" y="0"/>
                        </a:moveTo>
                        <a:lnTo>
                          <a:pt x="2213" y="1675"/>
                        </a:lnTo>
                        <a:lnTo>
                          <a:pt x="2691" y="2034"/>
                        </a:lnTo>
                        <a:lnTo>
                          <a:pt x="4665" y="2871"/>
                        </a:lnTo>
                      </a:path>
                    </a:pathLst>
                  </a:custGeom>
                  <a:noFill/>
                  <a:ln w="6350" cap="flat">
                    <a:solidFill>
                      <a:schemeClr val="bg1">
                        <a:alpha val="40000"/>
                      </a:schemeClr>
                    </a:solidFill>
                    <a:prstDash val="solid"/>
                    <a:miter/>
                  </a:ln>
                </p:spPr>
                <p:txBody>
                  <a:bodyPr rtlCol="0" anchor="ctr"/>
                  <a:lstStyle/>
                  <a:p>
                    <a:endParaRPr lang="en-GB"/>
                  </a:p>
                </p:txBody>
              </p:sp>
              <p:sp>
                <p:nvSpPr>
                  <p:cNvPr id="7864" name="Vrije vorm: vorm 7863">
                    <a:extLst>
                      <a:ext uri="{FF2B5EF4-FFF2-40B4-BE49-F238E27FC236}">
                        <a16:creationId xmlns:a16="http://schemas.microsoft.com/office/drawing/2014/main" id="{45E11FF2-CE5C-4988-9DCE-2E1012979284}"/>
                      </a:ext>
                    </a:extLst>
                  </p:cNvPr>
                  <p:cNvSpPr/>
                  <p:nvPr/>
                </p:nvSpPr>
                <p:spPr>
                  <a:xfrm>
                    <a:off x="5836367" y="5162001"/>
                    <a:ext cx="19796" cy="9449"/>
                  </a:xfrm>
                  <a:custGeom>
                    <a:avLst/>
                    <a:gdLst>
                      <a:gd name="connsiteX0" fmla="*/ 0 w 19796"/>
                      <a:gd name="connsiteY0" fmla="*/ 0 h 9449"/>
                      <a:gd name="connsiteX1" fmla="*/ 2572 w 19796"/>
                      <a:gd name="connsiteY1" fmla="*/ 1017 h 9449"/>
                      <a:gd name="connsiteX2" fmla="*/ 5144 w 19796"/>
                      <a:gd name="connsiteY2" fmla="*/ 2033 h 9449"/>
                      <a:gd name="connsiteX3" fmla="*/ 5263 w 19796"/>
                      <a:gd name="connsiteY3" fmla="*/ 2093 h 9449"/>
                      <a:gd name="connsiteX4" fmla="*/ 5921 w 19796"/>
                      <a:gd name="connsiteY4" fmla="*/ 2332 h 9449"/>
                      <a:gd name="connsiteX5" fmla="*/ 6280 w 19796"/>
                      <a:gd name="connsiteY5" fmla="*/ 2452 h 9449"/>
                      <a:gd name="connsiteX6" fmla="*/ 6340 w 19796"/>
                      <a:gd name="connsiteY6" fmla="*/ 2452 h 9449"/>
                      <a:gd name="connsiteX7" fmla="*/ 7297 w 19796"/>
                      <a:gd name="connsiteY7" fmla="*/ 2811 h 9449"/>
                      <a:gd name="connsiteX8" fmla="*/ 7715 w 19796"/>
                      <a:gd name="connsiteY8" fmla="*/ 2990 h 9449"/>
                      <a:gd name="connsiteX9" fmla="*/ 8553 w 19796"/>
                      <a:gd name="connsiteY9" fmla="*/ 3289 h 9449"/>
                      <a:gd name="connsiteX10" fmla="*/ 9808 w 19796"/>
                      <a:gd name="connsiteY10" fmla="*/ 3768 h 9449"/>
                      <a:gd name="connsiteX11" fmla="*/ 9928 w 19796"/>
                      <a:gd name="connsiteY11" fmla="*/ 3887 h 9449"/>
                      <a:gd name="connsiteX12" fmla="*/ 10885 w 19796"/>
                      <a:gd name="connsiteY12" fmla="*/ 4665 h 9449"/>
                      <a:gd name="connsiteX13" fmla="*/ 10885 w 19796"/>
                      <a:gd name="connsiteY13" fmla="*/ 4665 h 9449"/>
                      <a:gd name="connsiteX14" fmla="*/ 11184 w 19796"/>
                      <a:gd name="connsiteY14" fmla="*/ 4904 h 9449"/>
                      <a:gd name="connsiteX15" fmla="*/ 11304 w 19796"/>
                      <a:gd name="connsiteY15" fmla="*/ 4964 h 9449"/>
                      <a:gd name="connsiteX16" fmla="*/ 11722 w 19796"/>
                      <a:gd name="connsiteY16" fmla="*/ 5323 h 9449"/>
                      <a:gd name="connsiteX17" fmla="*/ 13576 w 19796"/>
                      <a:gd name="connsiteY17" fmla="*/ 6878 h 9449"/>
                      <a:gd name="connsiteX18" fmla="*/ 13636 w 19796"/>
                      <a:gd name="connsiteY18" fmla="*/ 6937 h 9449"/>
                      <a:gd name="connsiteX19" fmla="*/ 15670 w 19796"/>
                      <a:gd name="connsiteY19" fmla="*/ 8672 h 9449"/>
                      <a:gd name="connsiteX20" fmla="*/ 16148 w 19796"/>
                      <a:gd name="connsiteY20" fmla="*/ 8851 h 9449"/>
                      <a:gd name="connsiteX21" fmla="*/ 17703 w 19796"/>
                      <a:gd name="connsiteY21" fmla="*/ 9449 h 9449"/>
                      <a:gd name="connsiteX22" fmla="*/ 19497 w 19796"/>
                      <a:gd name="connsiteY22" fmla="*/ 5921 h 9449"/>
                      <a:gd name="connsiteX23" fmla="*/ 19796 w 19796"/>
                      <a:gd name="connsiteY23" fmla="*/ 5382 h 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796" h="9449">
                        <a:moveTo>
                          <a:pt x="0" y="0"/>
                        </a:moveTo>
                        <a:lnTo>
                          <a:pt x="2572" y="1017"/>
                        </a:lnTo>
                        <a:lnTo>
                          <a:pt x="5144" y="2033"/>
                        </a:lnTo>
                        <a:lnTo>
                          <a:pt x="5263" y="2093"/>
                        </a:lnTo>
                        <a:lnTo>
                          <a:pt x="5921" y="2332"/>
                        </a:lnTo>
                        <a:lnTo>
                          <a:pt x="6280" y="2452"/>
                        </a:lnTo>
                        <a:lnTo>
                          <a:pt x="6340" y="2452"/>
                        </a:lnTo>
                        <a:lnTo>
                          <a:pt x="7297" y="2811"/>
                        </a:lnTo>
                        <a:lnTo>
                          <a:pt x="7715" y="2990"/>
                        </a:lnTo>
                        <a:lnTo>
                          <a:pt x="8553" y="3289"/>
                        </a:lnTo>
                        <a:lnTo>
                          <a:pt x="9808" y="3768"/>
                        </a:lnTo>
                        <a:lnTo>
                          <a:pt x="9928" y="3887"/>
                        </a:lnTo>
                        <a:lnTo>
                          <a:pt x="10885" y="4665"/>
                        </a:lnTo>
                        <a:lnTo>
                          <a:pt x="10885" y="4665"/>
                        </a:lnTo>
                        <a:lnTo>
                          <a:pt x="11184" y="4904"/>
                        </a:lnTo>
                        <a:lnTo>
                          <a:pt x="11304" y="4964"/>
                        </a:lnTo>
                        <a:lnTo>
                          <a:pt x="11722" y="5323"/>
                        </a:lnTo>
                        <a:lnTo>
                          <a:pt x="13576" y="6878"/>
                        </a:lnTo>
                        <a:lnTo>
                          <a:pt x="13636" y="6937"/>
                        </a:lnTo>
                        <a:lnTo>
                          <a:pt x="15670" y="8672"/>
                        </a:lnTo>
                        <a:lnTo>
                          <a:pt x="16148" y="8851"/>
                        </a:lnTo>
                        <a:lnTo>
                          <a:pt x="17703" y="9449"/>
                        </a:lnTo>
                        <a:lnTo>
                          <a:pt x="19497" y="5921"/>
                        </a:lnTo>
                        <a:lnTo>
                          <a:pt x="19796" y="5382"/>
                        </a:lnTo>
                      </a:path>
                    </a:pathLst>
                  </a:custGeom>
                  <a:noFill/>
                  <a:ln w="6350" cap="flat">
                    <a:solidFill>
                      <a:schemeClr val="bg1">
                        <a:alpha val="40000"/>
                      </a:schemeClr>
                    </a:solidFill>
                    <a:prstDash val="solid"/>
                    <a:miter/>
                  </a:ln>
                </p:spPr>
                <p:txBody>
                  <a:bodyPr rtlCol="0" anchor="ctr"/>
                  <a:lstStyle/>
                  <a:p>
                    <a:endParaRPr lang="en-GB"/>
                  </a:p>
                </p:txBody>
              </p:sp>
              <p:sp>
                <p:nvSpPr>
                  <p:cNvPr id="7865" name="Vrije vorm: vorm 7864">
                    <a:extLst>
                      <a:ext uri="{FF2B5EF4-FFF2-40B4-BE49-F238E27FC236}">
                        <a16:creationId xmlns:a16="http://schemas.microsoft.com/office/drawing/2014/main" id="{4CC9AA4F-1FE7-4240-800E-7AAD70BE76DC}"/>
                      </a:ext>
                    </a:extLst>
                  </p:cNvPr>
                  <p:cNvSpPr/>
                  <p:nvPr/>
                </p:nvSpPr>
                <p:spPr>
                  <a:xfrm>
                    <a:off x="5864297" y="5180062"/>
                    <a:ext cx="15788" cy="23803"/>
                  </a:xfrm>
                  <a:custGeom>
                    <a:avLst/>
                    <a:gdLst>
                      <a:gd name="connsiteX0" fmla="*/ 15789 w 15788"/>
                      <a:gd name="connsiteY0" fmla="*/ 3050 h 23803"/>
                      <a:gd name="connsiteX1" fmla="*/ 15071 w 15788"/>
                      <a:gd name="connsiteY1" fmla="*/ 2452 h 23803"/>
                      <a:gd name="connsiteX2" fmla="*/ 13158 w 15788"/>
                      <a:gd name="connsiteY2" fmla="*/ 778 h 23803"/>
                      <a:gd name="connsiteX3" fmla="*/ 11184 w 15788"/>
                      <a:gd name="connsiteY3" fmla="*/ 0 h 23803"/>
                      <a:gd name="connsiteX4" fmla="*/ 9390 w 15788"/>
                      <a:gd name="connsiteY4" fmla="*/ 3529 h 23803"/>
                      <a:gd name="connsiteX5" fmla="*/ 7595 w 15788"/>
                      <a:gd name="connsiteY5" fmla="*/ 7057 h 23803"/>
                      <a:gd name="connsiteX6" fmla="*/ 5801 w 15788"/>
                      <a:gd name="connsiteY6" fmla="*/ 10586 h 23803"/>
                      <a:gd name="connsiteX7" fmla="*/ 4007 w 15788"/>
                      <a:gd name="connsiteY7" fmla="*/ 14115 h 23803"/>
                      <a:gd name="connsiteX8" fmla="*/ 2213 w 15788"/>
                      <a:gd name="connsiteY8" fmla="*/ 17643 h 23803"/>
                      <a:gd name="connsiteX9" fmla="*/ 419 w 15788"/>
                      <a:gd name="connsiteY9" fmla="*/ 21172 h 23803"/>
                      <a:gd name="connsiteX10" fmla="*/ 0 w 15788"/>
                      <a:gd name="connsiteY10" fmla="*/ 21950 h 23803"/>
                      <a:gd name="connsiteX11" fmla="*/ 1973 w 15788"/>
                      <a:gd name="connsiteY11" fmla="*/ 22787 h 23803"/>
                      <a:gd name="connsiteX12" fmla="*/ 2930 w 15788"/>
                      <a:gd name="connsiteY12" fmla="*/ 23504 h 23803"/>
                      <a:gd name="connsiteX13" fmla="*/ 3289 w 15788"/>
                      <a:gd name="connsiteY13" fmla="*/ 23804 h 2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88" h="23803">
                        <a:moveTo>
                          <a:pt x="15789" y="3050"/>
                        </a:moveTo>
                        <a:lnTo>
                          <a:pt x="15071" y="2452"/>
                        </a:lnTo>
                        <a:lnTo>
                          <a:pt x="13158" y="778"/>
                        </a:lnTo>
                        <a:lnTo>
                          <a:pt x="11184" y="0"/>
                        </a:lnTo>
                        <a:lnTo>
                          <a:pt x="9390" y="3529"/>
                        </a:lnTo>
                        <a:lnTo>
                          <a:pt x="7595" y="7057"/>
                        </a:lnTo>
                        <a:lnTo>
                          <a:pt x="5801" y="10586"/>
                        </a:lnTo>
                        <a:lnTo>
                          <a:pt x="4007" y="14115"/>
                        </a:lnTo>
                        <a:lnTo>
                          <a:pt x="2213" y="17643"/>
                        </a:lnTo>
                        <a:lnTo>
                          <a:pt x="419" y="21172"/>
                        </a:lnTo>
                        <a:lnTo>
                          <a:pt x="0" y="21950"/>
                        </a:lnTo>
                        <a:lnTo>
                          <a:pt x="1973" y="22787"/>
                        </a:lnTo>
                        <a:lnTo>
                          <a:pt x="2930" y="23504"/>
                        </a:lnTo>
                        <a:lnTo>
                          <a:pt x="3289" y="23804"/>
                        </a:lnTo>
                      </a:path>
                    </a:pathLst>
                  </a:custGeom>
                  <a:noFill/>
                  <a:ln w="6350" cap="flat">
                    <a:solidFill>
                      <a:schemeClr val="bg1">
                        <a:alpha val="40000"/>
                      </a:schemeClr>
                    </a:solidFill>
                    <a:prstDash val="solid"/>
                    <a:miter/>
                  </a:ln>
                </p:spPr>
                <p:txBody>
                  <a:bodyPr rtlCol="0" anchor="ctr"/>
                  <a:lstStyle/>
                  <a:p>
                    <a:endParaRPr lang="en-GB"/>
                  </a:p>
                </p:txBody>
              </p:sp>
              <p:sp>
                <p:nvSpPr>
                  <p:cNvPr id="7866" name="Vrije vorm: vorm 7865">
                    <a:extLst>
                      <a:ext uri="{FF2B5EF4-FFF2-40B4-BE49-F238E27FC236}">
                        <a16:creationId xmlns:a16="http://schemas.microsoft.com/office/drawing/2014/main" id="{58474846-26A4-48F9-BF80-D00EAA3C79E2}"/>
                      </a:ext>
                    </a:extLst>
                  </p:cNvPr>
                  <p:cNvSpPr/>
                  <p:nvPr/>
                </p:nvSpPr>
                <p:spPr>
                  <a:xfrm>
                    <a:off x="5854249" y="5165170"/>
                    <a:ext cx="2093" cy="3110"/>
                  </a:xfrm>
                  <a:custGeom>
                    <a:avLst/>
                    <a:gdLst>
                      <a:gd name="connsiteX0" fmla="*/ 0 w 2093"/>
                      <a:gd name="connsiteY0" fmla="*/ 0 h 3110"/>
                      <a:gd name="connsiteX1" fmla="*/ 2093 w 2093"/>
                      <a:gd name="connsiteY1" fmla="*/ 1854 h 3110"/>
                      <a:gd name="connsiteX2" fmla="*/ 2093 w 2093"/>
                      <a:gd name="connsiteY2" fmla="*/ 1854 h 3110"/>
                      <a:gd name="connsiteX3" fmla="*/ 2033 w 2093"/>
                      <a:gd name="connsiteY3" fmla="*/ 1974 h 3110"/>
                      <a:gd name="connsiteX4" fmla="*/ 1435 w 2093"/>
                      <a:gd name="connsiteY4" fmla="*/ 3110 h 3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 h="3110">
                        <a:moveTo>
                          <a:pt x="0" y="0"/>
                        </a:moveTo>
                        <a:lnTo>
                          <a:pt x="2093" y="1854"/>
                        </a:lnTo>
                        <a:lnTo>
                          <a:pt x="2093" y="1854"/>
                        </a:lnTo>
                        <a:lnTo>
                          <a:pt x="2033" y="1974"/>
                        </a:lnTo>
                        <a:lnTo>
                          <a:pt x="1435" y="3110"/>
                        </a:lnTo>
                      </a:path>
                    </a:pathLst>
                  </a:custGeom>
                  <a:noFill/>
                  <a:ln w="6350" cap="flat">
                    <a:solidFill>
                      <a:schemeClr val="bg1">
                        <a:alpha val="40000"/>
                      </a:schemeClr>
                    </a:solidFill>
                    <a:prstDash val="solid"/>
                    <a:miter/>
                  </a:ln>
                </p:spPr>
                <p:txBody>
                  <a:bodyPr rtlCol="0" anchor="ctr"/>
                  <a:lstStyle/>
                  <a:p>
                    <a:endParaRPr lang="en-GB"/>
                  </a:p>
                </p:txBody>
              </p:sp>
              <p:sp>
                <p:nvSpPr>
                  <p:cNvPr id="7867" name="Vrije vorm: vorm 7866">
                    <a:extLst>
                      <a:ext uri="{FF2B5EF4-FFF2-40B4-BE49-F238E27FC236}">
                        <a16:creationId xmlns:a16="http://schemas.microsoft.com/office/drawing/2014/main" id="{0D6E2AEB-E4BB-4854-9F5C-F59E56F06713}"/>
                      </a:ext>
                    </a:extLst>
                  </p:cNvPr>
                  <p:cNvSpPr/>
                  <p:nvPr/>
                </p:nvSpPr>
                <p:spPr>
                  <a:xfrm>
                    <a:off x="5840852" y="5165709"/>
                    <a:ext cx="658" cy="239"/>
                  </a:xfrm>
                  <a:custGeom>
                    <a:avLst/>
                    <a:gdLst>
                      <a:gd name="connsiteX0" fmla="*/ 0 w 658"/>
                      <a:gd name="connsiteY0" fmla="*/ 0 h 239"/>
                      <a:gd name="connsiteX1" fmla="*/ 658 w 658"/>
                      <a:gd name="connsiteY1" fmla="*/ 239 h 239"/>
                    </a:gdLst>
                    <a:ahLst/>
                    <a:cxnLst>
                      <a:cxn ang="0">
                        <a:pos x="connsiteX0" y="connsiteY0"/>
                      </a:cxn>
                      <a:cxn ang="0">
                        <a:pos x="connsiteX1" y="connsiteY1"/>
                      </a:cxn>
                    </a:cxnLst>
                    <a:rect l="l" t="t" r="r" b="b"/>
                    <a:pathLst>
                      <a:path w="658" h="239">
                        <a:moveTo>
                          <a:pt x="0" y="0"/>
                        </a:moveTo>
                        <a:lnTo>
                          <a:pt x="658" y="239"/>
                        </a:lnTo>
                      </a:path>
                    </a:pathLst>
                  </a:custGeom>
                  <a:noFill/>
                  <a:ln w="6350" cap="flat">
                    <a:solidFill>
                      <a:schemeClr val="bg1">
                        <a:alpha val="40000"/>
                      </a:schemeClr>
                    </a:solidFill>
                    <a:prstDash val="solid"/>
                    <a:miter/>
                  </a:ln>
                </p:spPr>
                <p:txBody>
                  <a:bodyPr rtlCol="0" anchor="ctr"/>
                  <a:lstStyle/>
                  <a:p>
                    <a:endParaRPr lang="en-GB"/>
                  </a:p>
                </p:txBody>
              </p:sp>
              <p:sp>
                <p:nvSpPr>
                  <p:cNvPr id="7868" name="Vrije vorm: vorm 7867">
                    <a:extLst>
                      <a:ext uri="{FF2B5EF4-FFF2-40B4-BE49-F238E27FC236}">
                        <a16:creationId xmlns:a16="http://schemas.microsoft.com/office/drawing/2014/main" id="{BE1D8866-139A-458D-B5AB-4775F179A74D}"/>
                      </a:ext>
                    </a:extLst>
                  </p:cNvPr>
                  <p:cNvSpPr/>
                  <p:nvPr/>
                </p:nvSpPr>
                <p:spPr>
                  <a:xfrm>
                    <a:off x="5841510" y="5164274"/>
                    <a:ext cx="1495" cy="2930"/>
                  </a:xfrm>
                  <a:custGeom>
                    <a:avLst/>
                    <a:gdLst>
                      <a:gd name="connsiteX0" fmla="*/ 837 w 1495"/>
                      <a:gd name="connsiteY0" fmla="*/ 0 h 2930"/>
                      <a:gd name="connsiteX1" fmla="*/ 0 w 1495"/>
                      <a:gd name="connsiteY1" fmla="*/ 1674 h 2930"/>
                      <a:gd name="connsiteX2" fmla="*/ 1495 w 1495"/>
                      <a:gd name="connsiteY2" fmla="*/ 2930 h 2930"/>
                    </a:gdLst>
                    <a:ahLst/>
                    <a:cxnLst>
                      <a:cxn ang="0">
                        <a:pos x="connsiteX0" y="connsiteY0"/>
                      </a:cxn>
                      <a:cxn ang="0">
                        <a:pos x="connsiteX1" y="connsiteY1"/>
                      </a:cxn>
                      <a:cxn ang="0">
                        <a:pos x="connsiteX2" y="connsiteY2"/>
                      </a:cxn>
                    </a:cxnLst>
                    <a:rect l="l" t="t" r="r" b="b"/>
                    <a:pathLst>
                      <a:path w="1495" h="2930">
                        <a:moveTo>
                          <a:pt x="837" y="0"/>
                        </a:moveTo>
                        <a:lnTo>
                          <a:pt x="0" y="1674"/>
                        </a:lnTo>
                        <a:lnTo>
                          <a:pt x="1495" y="2930"/>
                        </a:lnTo>
                      </a:path>
                    </a:pathLst>
                  </a:custGeom>
                  <a:noFill/>
                  <a:ln w="6350" cap="flat">
                    <a:solidFill>
                      <a:schemeClr val="bg1">
                        <a:alpha val="40000"/>
                      </a:schemeClr>
                    </a:solidFill>
                    <a:prstDash val="solid"/>
                    <a:miter/>
                  </a:ln>
                </p:spPr>
                <p:txBody>
                  <a:bodyPr rtlCol="0" anchor="ctr"/>
                  <a:lstStyle/>
                  <a:p>
                    <a:endParaRPr lang="en-GB"/>
                  </a:p>
                </p:txBody>
              </p:sp>
              <p:sp>
                <p:nvSpPr>
                  <p:cNvPr id="7869" name="Vrije vorm: vorm 7868">
                    <a:extLst>
                      <a:ext uri="{FF2B5EF4-FFF2-40B4-BE49-F238E27FC236}">
                        <a16:creationId xmlns:a16="http://schemas.microsoft.com/office/drawing/2014/main" id="{165A3930-83C1-49CC-8ED8-CCC260A9E209}"/>
                      </a:ext>
                    </a:extLst>
                  </p:cNvPr>
                  <p:cNvSpPr/>
                  <p:nvPr/>
                </p:nvSpPr>
                <p:spPr>
                  <a:xfrm>
                    <a:off x="5828652" y="5156798"/>
                    <a:ext cx="25657" cy="24759"/>
                  </a:xfrm>
                  <a:custGeom>
                    <a:avLst/>
                    <a:gdLst>
                      <a:gd name="connsiteX0" fmla="*/ 9210 w 25657"/>
                      <a:gd name="connsiteY0" fmla="*/ 20574 h 24759"/>
                      <a:gd name="connsiteX1" fmla="*/ 8732 w 25657"/>
                      <a:gd name="connsiteY1" fmla="*/ 21471 h 24759"/>
                      <a:gd name="connsiteX2" fmla="*/ 8672 w 25657"/>
                      <a:gd name="connsiteY2" fmla="*/ 21590 h 24759"/>
                      <a:gd name="connsiteX3" fmla="*/ 8253 w 25657"/>
                      <a:gd name="connsiteY3" fmla="*/ 21411 h 24759"/>
                      <a:gd name="connsiteX4" fmla="*/ 7237 w 25657"/>
                      <a:gd name="connsiteY4" fmla="*/ 20992 h 24759"/>
                      <a:gd name="connsiteX5" fmla="*/ 5024 w 25657"/>
                      <a:gd name="connsiteY5" fmla="*/ 19318 h 24759"/>
                      <a:gd name="connsiteX6" fmla="*/ 2811 w 25657"/>
                      <a:gd name="connsiteY6" fmla="*/ 17643 h 24759"/>
                      <a:gd name="connsiteX7" fmla="*/ 598 w 25657"/>
                      <a:gd name="connsiteY7" fmla="*/ 15968 h 24759"/>
                      <a:gd name="connsiteX8" fmla="*/ 0 w 25657"/>
                      <a:gd name="connsiteY8" fmla="*/ 15490 h 24759"/>
                      <a:gd name="connsiteX9" fmla="*/ 1555 w 25657"/>
                      <a:gd name="connsiteY9" fmla="*/ 12440 h 24759"/>
                      <a:gd name="connsiteX10" fmla="*/ 1675 w 25657"/>
                      <a:gd name="connsiteY10" fmla="*/ 12141 h 24759"/>
                      <a:gd name="connsiteX11" fmla="*/ 2572 w 25657"/>
                      <a:gd name="connsiteY11" fmla="*/ 10287 h 24759"/>
                      <a:gd name="connsiteX12" fmla="*/ 4127 w 25657"/>
                      <a:gd name="connsiteY12" fmla="*/ 7236 h 24759"/>
                      <a:gd name="connsiteX13" fmla="*/ 4306 w 25657"/>
                      <a:gd name="connsiteY13" fmla="*/ 6937 h 24759"/>
                      <a:gd name="connsiteX14" fmla="*/ 5383 w 25657"/>
                      <a:gd name="connsiteY14" fmla="*/ 4785 h 24759"/>
                      <a:gd name="connsiteX15" fmla="*/ 5502 w 25657"/>
                      <a:gd name="connsiteY15" fmla="*/ 4545 h 24759"/>
                      <a:gd name="connsiteX16" fmla="*/ 5502 w 25657"/>
                      <a:gd name="connsiteY16" fmla="*/ 4486 h 24759"/>
                      <a:gd name="connsiteX17" fmla="*/ 6519 w 25657"/>
                      <a:gd name="connsiteY17" fmla="*/ 2452 h 24759"/>
                      <a:gd name="connsiteX18" fmla="*/ 6997 w 25657"/>
                      <a:gd name="connsiteY18" fmla="*/ 1555 h 24759"/>
                      <a:gd name="connsiteX19" fmla="*/ 8552 w 25657"/>
                      <a:gd name="connsiteY19" fmla="*/ 0 h 24759"/>
                      <a:gd name="connsiteX20" fmla="*/ 11184 w 25657"/>
                      <a:gd name="connsiteY20" fmla="*/ 957 h 24759"/>
                      <a:gd name="connsiteX21" fmla="*/ 13815 w 25657"/>
                      <a:gd name="connsiteY21" fmla="*/ 1914 h 24759"/>
                      <a:gd name="connsiteX22" fmla="*/ 16447 w 25657"/>
                      <a:gd name="connsiteY22" fmla="*/ 2871 h 24759"/>
                      <a:gd name="connsiteX23" fmla="*/ 18720 w 25657"/>
                      <a:gd name="connsiteY23" fmla="*/ 3708 h 24759"/>
                      <a:gd name="connsiteX24" fmla="*/ 21351 w 25657"/>
                      <a:gd name="connsiteY24" fmla="*/ 4665 h 24759"/>
                      <a:gd name="connsiteX25" fmla="*/ 21471 w 25657"/>
                      <a:gd name="connsiteY25" fmla="*/ 4725 h 24759"/>
                      <a:gd name="connsiteX26" fmla="*/ 23564 w 25657"/>
                      <a:gd name="connsiteY26" fmla="*/ 6579 h 24759"/>
                      <a:gd name="connsiteX27" fmla="*/ 24043 w 25657"/>
                      <a:gd name="connsiteY27" fmla="*/ 6997 h 24759"/>
                      <a:gd name="connsiteX28" fmla="*/ 24043 w 25657"/>
                      <a:gd name="connsiteY28" fmla="*/ 6997 h 24759"/>
                      <a:gd name="connsiteX29" fmla="*/ 25657 w 25657"/>
                      <a:gd name="connsiteY29" fmla="*/ 8373 h 24759"/>
                      <a:gd name="connsiteX30" fmla="*/ 25657 w 25657"/>
                      <a:gd name="connsiteY30" fmla="*/ 9569 h 24759"/>
                      <a:gd name="connsiteX31" fmla="*/ 25657 w 25657"/>
                      <a:gd name="connsiteY31" fmla="*/ 9629 h 24759"/>
                      <a:gd name="connsiteX32" fmla="*/ 25657 w 25657"/>
                      <a:gd name="connsiteY32" fmla="*/ 10645 h 24759"/>
                      <a:gd name="connsiteX33" fmla="*/ 25657 w 25657"/>
                      <a:gd name="connsiteY33" fmla="*/ 10825 h 24759"/>
                      <a:gd name="connsiteX34" fmla="*/ 25119 w 25657"/>
                      <a:gd name="connsiteY34" fmla="*/ 11902 h 24759"/>
                      <a:gd name="connsiteX35" fmla="*/ 24940 w 25657"/>
                      <a:gd name="connsiteY35" fmla="*/ 12201 h 24759"/>
                      <a:gd name="connsiteX36" fmla="*/ 24940 w 25657"/>
                      <a:gd name="connsiteY36" fmla="*/ 12201 h 24759"/>
                      <a:gd name="connsiteX37" fmla="*/ 24880 w 25657"/>
                      <a:gd name="connsiteY37" fmla="*/ 12260 h 24759"/>
                      <a:gd name="connsiteX38" fmla="*/ 23325 w 25657"/>
                      <a:gd name="connsiteY38" fmla="*/ 15311 h 24759"/>
                      <a:gd name="connsiteX39" fmla="*/ 21770 w 25657"/>
                      <a:gd name="connsiteY39" fmla="*/ 18360 h 24759"/>
                      <a:gd name="connsiteX40" fmla="*/ 20753 w 25657"/>
                      <a:gd name="connsiteY40" fmla="*/ 20334 h 24759"/>
                      <a:gd name="connsiteX41" fmla="*/ 19916 w 25657"/>
                      <a:gd name="connsiteY41" fmla="*/ 22009 h 24759"/>
                      <a:gd name="connsiteX42" fmla="*/ 18540 w 25657"/>
                      <a:gd name="connsiteY42" fmla="*/ 24760 h 24759"/>
                      <a:gd name="connsiteX43" fmla="*/ 18002 w 25657"/>
                      <a:gd name="connsiteY43" fmla="*/ 24521 h 24759"/>
                      <a:gd name="connsiteX44" fmla="*/ 18002 w 25657"/>
                      <a:gd name="connsiteY44" fmla="*/ 24521 h 24759"/>
                      <a:gd name="connsiteX45" fmla="*/ 17523 w 25657"/>
                      <a:gd name="connsiteY45" fmla="*/ 24341 h 24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657" h="24759">
                        <a:moveTo>
                          <a:pt x="9210" y="20574"/>
                        </a:moveTo>
                        <a:lnTo>
                          <a:pt x="8732" y="21471"/>
                        </a:lnTo>
                        <a:lnTo>
                          <a:pt x="8672" y="21590"/>
                        </a:lnTo>
                        <a:lnTo>
                          <a:pt x="8253" y="21411"/>
                        </a:lnTo>
                        <a:lnTo>
                          <a:pt x="7237" y="20992"/>
                        </a:lnTo>
                        <a:lnTo>
                          <a:pt x="5024" y="19318"/>
                        </a:lnTo>
                        <a:lnTo>
                          <a:pt x="2811" y="17643"/>
                        </a:lnTo>
                        <a:lnTo>
                          <a:pt x="598" y="15968"/>
                        </a:lnTo>
                        <a:lnTo>
                          <a:pt x="0" y="15490"/>
                        </a:lnTo>
                        <a:lnTo>
                          <a:pt x="1555" y="12440"/>
                        </a:lnTo>
                        <a:lnTo>
                          <a:pt x="1675" y="12141"/>
                        </a:lnTo>
                        <a:lnTo>
                          <a:pt x="2572" y="10287"/>
                        </a:lnTo>
                        <a:lnTo>
                          <a:pt x="4127" y="7236"/>
                        </a:lnTo>
                        <a:lnTo>
                          <a:pt x="4306" y="6937"/>
                        </a:lnTo>
                        <a:lnTo>
                          <a:pt x="5383" y="4785"/>
                        </a:lnTo>
                        <a:lnTo>
                          <a:pt x="5502" y="4545"/>
                        </a:lnTo>
                        <a:lnTo>
                          <a:pt x="5502" y="4486"/>
                        </a:lnTo>
                        <a:lnTo>
                          <a:pt x="6519" y="2452"/>
                        </a:lnTo>
                        <a:lnTo>
                          <a:pt x="6997" y="1555"/>
                        </a:lnTo>
                        <a:lnTo>
                          <a:pt x="8552" y="0"/>
                        </a:lnTo>
                        <a:lnTo>
                          <a:pt x="11184" y="957"/>
                        </a:lnTo>
                        <a:lnTo>
                          <a:pt x="13815" y="1914"/>
                        </a:lnTo>
                        <a:lnTo>
                          <a:pt x="16447" y="2871"/>
                        </a:lnTo>
                        <a:lnTo>
                          <a:pt x="18720" y="3708"/>
                        </a:lnTo>
                        <a:lnTo>
                          <a:pt x="21351" y="4665"/>
                        </a:lnTo>
                        <a:lnTo>
                          <a:pt x="21471" y="4725"/>
                        </a:lnTo>
                        <a:lnTo>
                          <a:pt x="23564" y="6579"/>
                        </a:lnTo>
                        <a:lnTo>
                          <a:pt x="24043" y="6997"/>
                        </a:lnTo>
                        <a:lnTo>
                          <a:pt x="24043" y="6997"/>
                        </a:lnTo>
                        <a:lnTo>
                          <a:pt x="25657" y="8373"/>
                        </a:lnTo>
                        <a:lnTo>
                          <a:pt x="25657" y="9569"/>
                        </a:lnTo>
                        <a:lnTo>
                          <a:pt x="25657" y="9629"/>
                        </a:lnTo>
                        <a:lnTo>
                          <a:pt x="25657" y="10645"/>
                        </a:lnTo>
                        <a:lnTo>
                          <a:pt x="25657" y="10825"/>
                        </a:lnTo>
                        <a:lnTo>
                          <a:pt x="25119" y="11902"/>
                        </a:lnTo>
                        <a:lnTo>
                          <a:pt x="24940" y="12201"/>
                        </a:lnTo>
                        <a:lnTo>
                          <a:pt x="24940" y="12201"/>
                        </a:lnTo>
                        <a:lnTo>
                          <a:pt x="24880" y="12260"/>
                        </a:lnTo>
                        <a:lnTo>
                          <a:pt x="23325" y="15311"/>
                        </a:lnTo>
                        <a:lnTo>
                          <a:pt x="21770" y="18360"/>
                        </a:lnTo>
                        <a:lnTo>
                          <a:pt x="20753" y="20334"/>
                        </a:lnTo>
                        <a:lnTo>
                          <a:pt x="19916" y="22009"/>
                        </a:lnTo>
                        <a:lnTo>
                          <a:pt x="18540" y="24760"/>
                        </a:lnTo>
                        <a:lnTo>
                          <a:pt x="18002" y="24521"/>
                        </a:lnTo>
                        <a:lnTo>
                          <a:pt x="18002" y="24521"/>
                        </a:lnTo>
                        <a:lnTo>
                          <a:pt x="17523" y="24341"/>
                        </a:lnTo>
                      </a:path>
                    </a:pathLst>
                  </a:custGeom>
                  <a:noFill/>
                  <a:ln w="6350" cap="flat">
                    <a:solidFill>
                      <a:schemeClr val="bg1">
                        <a:alpha val="40000"/>
                      </a:schemeClr>
                    </a:solidFill>
                    <a:prstDash val="solid"/>
                    <a:miter/>
                  </a:ln>
                </p:spPr>
                <p:txBody>
                  <a:bodyPr rtlCol="0" anchor="ctr"/>
                  <a:lstStyle/>
                  <a:p>
                    <a:endParaRPr lang="en-GB"/>
                  </a:p>
                </p:txBody>
              </p:sp>
              <p:sp>
                <p:nvSpPr>
                  <p:cNvPr id="7870" name="Vrije vorm: vorm 7869">
                    <a:extLst>
                      <a:ext uri="{FF2B5EF4-FFF2-40B4-BE49-F238E27FC236}">
                        <a16:creationId xmlns:a16="http://schemas.microsoft.com/office/drawing/2014/main" id="{139EFDAE-C211-4F1A-A168-9B521D77DE07}"/>
                      </a:ext>
                    </a:extLst>
                  </p:cNvPr>
                  <p:cNvSpPr/>
                  <p:nvPr/>
                </p:nvSpPr>
                <p:spPr>
                  <a:xfrm>
                    <a:off x="5836367" y="5162001"/>
                    <a:ext cx="5322" cy="3708"/>
                  </a:xfrm>
                  <a:custGeom>
                    <a:avLst/>
                    <a:gdLst>
                      <a:gd name="connsiteX0" fmla="*/ 0 w 5322"/>
                      <a:gd name="connsiteY0" fmla="*/ 0 h 3708"/>
                      <a:gd name="connsiteX1" fmla="*/ 2153 w 5322"/>
                      <a:gd name="connsiteY1" fmla="*/ 1794 h 3708"/>
                      <a:gd name="connsiteX2" fmla="*/ 4306 w 5322"/>
                      <a:gd name="connsiteY2" fmla="*/ 3588 h 3708"/>
                      <a:gd name="connsiteX3" fmla="*/ 4486 w 5322"/>
                      <a:gd name="connsiteY3" fmla="*/ 3708 h 3708"/>
                      <a:gd name="connsiteX4" fmla="*/ 5323 w 5322"/>
                      <a:gd name="connsiteY4" fmla="*/ 2093 h 3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2" h="3708">
                        <a:moveTo>
                          <a:pt x="0" y="0"/>
                        </a:moveTo>
                        <a:lnTo>
                          <a:pt x="2153" y="1794"/>
                        </a:lnTo>
                        <a:lnTo>
                          <a:pt x="4306" y="3588"/>
                        </a:lnTo>
                        <a:lnTo>
                          <a:pt x="4486" y="3708"/>
                        </a:lnTo>
                        <a:lnTo>
                          <a:pt x="5323" y="2093"/>
                        </a:lnTo>
                      </a:path>
                    </a:pathLst>
                  </a:custGeom>
                  <a:noFill/>
                  <a:ln w="6350" cap="flat">
                    <a:solidFill>
                      <a:schemeClr val="bg1">
                        <a:alpha val="40000"/>
                      </a:schemeClr>
                    </a:solidFill>
                    <a:prstDash val="solid"/>
                    <a:miter/>
                  </a:ln>
                </p:spPr>
                <p:txBody>
                  <a:bodyPr rtlCol="0" anchor="ctr"/>
                  <a:lstStyle/>
                  <a:p>
                    <a:endParaRPr lang="en-GB"/>
                  </a:p>
                </p:txBody>
              </p:sp>
              <p:sp>
                <p:nvSpPr>
                  <p:cNvPr id="7871" name="Vrije vorm: vorm 7870">
                    <a:extLst>
                      <a:ext uri="{FF2B5EF4-FFF2-40B4-BE49-F238E27FC236}">
                        <a16:creationId xmlns:a16="http://schemas.microsoft.com/office/drawing/2014/main" id="{DC613E08-DC13-41C6-A9CC-F1F205EA161F}"/>
                      </a:ext>
                    </a:extLst>
                  </p:cNvPr>
                  <p:cNvSpPr/>
                  <p:nvPr/>
                </p:nvSpPr>
                <p:spPr>
                  <a:xfrm>
                    <a:off x="5834513" y="5160805"/>
                    <a:ext cx="13755" cy="5322"/>
                  </a:xfrm>
                  <a:custGeom>
                    <a:avLst/>
                    <a:gdLst>
                      <a:gd name="connsiteX0" fmla="*/ 0 w 13755"/>
                      <a:gd name="connsiteY0" fmla="*/ 0 h 5322"/>
                      <a:gd name="connsiteX1" fmla="*/ 2034 w 13755"/>
                      <a:gd name="connsiteY1" fmla="*/ 778 h 5322"/>
                      <a:gd name="connsiteX2" fmla="*/ 4605 w 13755"/>
                      <a:gd name="connsiteY2" fmla="*/ 1794 h 5322"/>
                      <a:gd name="connsiteX3" fmla="*/ 7177 w 13755"/>
                      <a:gd name="connsiteY3" fmla="*/ 2811 h 5322"/>
                      <a:gd name="connsiteX4" fmla="*/ 9330 w 13755"/>
                      <a:gd name="connsiteY4" fmla="*/ 3648 h 5322"/>
                      <a:gd name="connsiteX5" fmla="*/ 9749 w 13755"/>
                      <a:gd name="connsiteY5" fmla="*/ 3828 h 5322"/>
                      <a:gd name="connsiteX6" fmla="*/ 10586 w 13755"/>
                      <a:gd name="connsiteY6" fmla="*/ 4127 h 5322"/>
                      <a:gd name="connsiteX7" fmla="*/ 12320 w 13755"/>
                      <a:gd name="connsiteY7" fmla="*/ 4785 h 5322"/>
                      <a:gd name="connsiteX8" fmla="*/ 12799 w 13755"/>
                      <a:gd name="connsiteY8" fmla="*/ 4964 h 5322"/>
                      <a:gd name="connsiteX9" fmla="*/ 13756 w 13755"/>
                      <a:gd name="connsiteY9" fmla="*/ 5323 h 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55" h="5322">
                        <a:moveTo>
                          <a:pt x="0" y="0"/>
                        </a:moveTo>
                        <a:lnTo>
                          <a:pt x="2034" y="778"/>
                        </a:lnTo>
                        <a:lnTo>
                          <a:pt x="4605" y="1794"/>
                        </a:lnTo>
                        <a:lnTo>
                          <a:pt x="7177" y="2811"/>
                        </a:lnTo>
                        <a:lnTo>
                          <a:pt x="9330" y="3648"/>
                        </a:lnTo>
                        <a:lnTo>
                          <a:pt x="9749" y="3828"/>
                        </a:lnTo>
                        <a:lnTo>
                          <a:pt x="10586" y="4127"/>
                        </a:lnTo>
                        <a:lnTo>
                          <a:pt x="12320" y="4785"/>
                        </a:lnTo>
                        <a:lnTo>
                          <a:pt x="12799" y="4964"/>
                        </a:lnTo>
                        <a:lnTo>
                          <a:pt x="13756" y="5323"/>
                        </a:lnTo>
                      </a:path>
                    </a:pathLst>
                  </a:custGeom>
                  <a:noFill/>
                  <a:ln w="6350" cap="flat">
                    <a:solidFill>
                      <a:schemeClr val="bg1">
                        <a:alpha val="40000"/>
                      </a:schemeClr>
                    </a:solidFill>
                    <a:prstDash val="solid"/>
                    <a:miter/>
                  </a:ln>
                </p:spPr>
                <p:txBody>
                  <a:bodyPr rtlCol="0" anchor="ctr"/>
                  <a:lstStyle/>
                  <a:p>
                    <a:endParaRPr lang="en-GB"/>
                  </a:p>
                </p:txBody>
              </p:sp>
              <p:sp>
                <p:nvSpPr>
                  <p:cNvPr id="7872" name="Vrije vorm: vorm 7871">
                    <a:extLst>
                      <a:ext uri="{FF2B5EF4-FFF2-40B4-BE49-F238E27FC236}">
                        <a16:creationId xmlns:a16="http://schemas.microsoft.com/office/drawing/2014/main" id="{B4ED858E-66A0-4CC4-AACB-4933BFA9E9C7}"/>
                      </a:ext>
                    </a:extLst>
                  </p:cNvPr>
                  <p:cNvSpPr/>
                  <p:nvPr/>
                </p:nvSpPr>
                <p:spPr>
                  <a:xfrm>
                    <a:off x="5842347" y="5161582"/>
                    <a:ext cx="7775" cy="19915"/>
                  </a:xfrm>
                  <a:custGeom>
                    <a:avLst/>
                    <a:gdLst>
                      <a:gd name="connsiteX0" fmla="*/ 7775 w 7775"/>
                      <a:gd name="connsiteY0" fmla="*/ 0 h 19915"/>
                      <a:gd name="connsiteX1" fmla="*/ 7297 w 7775"/>
                      <a:gd name="connsiteY1" fmla="*/ 1973 h 19915"/>
                      <a:gd name="connsiteX2" fmla="*/ 6818 w 7775"/>
                      <a:gd name="connsiteY2" fmla="*/ 2871 h 19915"/>
                      <a:gd name="connsiteX3" fmla="*/ 6519 w 7775"/>
                      <a:gd name="connsiteY3" fmla="*/ 3409 h 19915"/>
                      <a:gd name="connsiteX4" fmla="*/ 5742 w 7775"/>
                      <a:gd name="connsiteY4" fmla="*/ 4904 h 19915"/>
                      <a:gd name="connsiteX5" fmla="*/ 5562 w 7775"/>
                      <a:gd name="connsiteY5" fmla="*/ 5203 h 19915"/>
                      <a:gd name="connsiteX6" fmla="*/ 5503 w 7775"/>
                      <a:gd name="connsiteY6" fmla="*/ 5263 h 19915"/>
                      <a:gd name="connsiteX7" fmla="*/ 3947 w 7775"/>
                      <a:gd name="connsiteY7" fmla="*/ 8313 h 19915"/>
                      <a:gd name="connsiteX8" fmla="*/ 2392 w 7775"/>
                      <a:gd name="connsiteY8" fmla="*/ 11363 h 19915"/>
                      <a:gd name="connsiteX9" fmla="*/ 2093 w 7775"/>
                      <a:gd name="connsiteY9" fmla="*/ 11961 h 19915"/>
                      <a:gd name="connsiteX10" fmla="*/ 538 w 7775"/>
                      <a:gd name="connsiteY10" fmla="*/ 15012 h 19915"/>
                      <a:gd name="connsiteX11" fmla="*/ 0 w 7775"/>
                      <a:gd name="connsiteY11" fmla="*/ 16088 h 19915"/>
                      <a:gd name="connsiteX12" fmla="*/ 299 w 7775"/>
                      <a:gd name="connsiteY12" fmla="*/ 16327 h 19915"/>
                      <a:gd name="connsiteX13" fmla="*/ 2273 w 7775"/>
                      <a:gd name="connsiteY13" fmla="*/ 17882 h 19915"/>
                      <a:gd name="connsiteX14" fmla="*/ 2273 w 7775"/>
                      <a:gd name="connsiteY14" fmla="*/ 17882 h 19915"/>
                      <a:gd name="connsiteX15" fmla="*/ 3888 w 7775"/>
                      <a:gd name="connsiteY15" fmla="*/ 19198 h 19915"/>
                      <a:gd name="connsiteX16" fmla="*/ 4187 w 7775"/>
                      <a:gd name="connsiteY16" fmla="*/ 19437 h 19915"/>
                      <a:gd name="connsiteX17" fmla="*/ 4306 w 7775"/>
                      <a:gd name="connsiteY17" fmla="*/ 19557 h 19915"/>
                      <a:gd name="connsiteX18" fmla="*/ 4785 w 7775"/>
                      <a:gd name="connsiteY18" fmla="*/ 19916 h 19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75" h="19915">
                        <a:moveTo>
                          <a:pt x="7775" y="0"/>
                        </a:moveTo>
                        <a:lnTo>
                          <a:pt x="7297" y="1973"/>
                        </a:lnTo>
                        <a:lnTo>
                          <a:pt x="6818" y="2871"/>
                        </a:lnTo>
                        <a:lnTo>
                          <a:pt x="6519" y="3409"/>
                        </a:lnTo>
                        <a:lnTo>
                          <a:pt x="5742" y="4904"/>
                        </a:lnTo>
                        <a:lnTo>
                          <a:pt x="5562" y="5203"/>
                        </a:lnTo>
                        <a:lnTo>
                          <a:pt x="5503" y="5263"/>
                        </a:lnTo>
                        <a:lnTo>
                          <a:pt x="3947" y="8313"/>
                        </a:lnTo>
                        <a:lnTo>
                          <a:pt x="2392" y="11363"/>
                        </a:lnTo>
                        <a:lnTo>
                          <a:pt x="2093" y="11961"/>
                        </a:lnTo>
                        <a:lnTo>
                          <a:pt x="538" y="15012"/>
                        </a:lnTo>
                        <a:lnTo>
                          <a:pt x="0" y="16088"/>
                        </a:lnTo>
                        <a:lnTo>
                          <a:pt x="299" y="16327"/>
                        </a:lnTo>
                        <a:lnTo>
                          <a:pt x="2273" y="17882"/>
                        </a:lnTo>
                        <a:lnTo>
                          <a:pt x="2273" y="17882"/>
                        </a:lnTo>
                        <a:lnTo>
                          <a:pt x="3888" y="19198"/>
                        </a:lnTo>
                        <a:lnTo>
                          <a:pt x="4187" y="19437"/>
                        </a:lnTo>
                        <a:lnTo>
                          <a:pt x="4306" y="19557"/>
                        </a:lnTo>
                        <a:lnTo>
                          <a:pt x="4785" y="19916"/>
                        </a:lnTo>
                      </a:path>
                    </a:pathLst>
                  </a:custGeom>
                  <a:noFill/>
                  <a:ln w="6350" cap="flat">
                    <a:solidFill>
                      <a:schemeClr val="bg1">
                        <a:alpha val="40000"/>
                      </a:schemeClr>
                    </a:solidFill>
                    <a:prstDash val="solid"/>
                    <a:miter/>
                  </a:ln>
                </p:spPr>
                <p:txBody>
                  <a:bodyPr rtlCol="0" anchor="ctr"/>
                  <a:lstStyle/>
                  <a:p>
                    <a:endParaRPr lang="en-GB"/>
                  </a:p>
                </p:txBody>
              </p:sp>
              <p:sp>
                <p:nvSpPr>
                  <p:cNvPr id="7873" name="Vrije vorm: vorm 7872">
                    <a:extLst>
                      <a:ext uri="{FF2B5EF4-FFF2-40B4-BE49-F238E27FC236}">
                        <a16:creationId xmlns:a16="http://schemas.microsoft.com/office/drawing/2014/main" id="{C7FCB682-82BB-4691-8130-3051B35A68D4}"/>
                      </a:ext>
                    </a:extLst>
                  </p:cNvPr>
                  <p:cNvSpPr/>
                  <p:nvPr/>
                </p:nvSpPr>
                <p:spPr>
                  <a:xfrm>
                    <a:off x="5852036" y="5169656"/>
                    <a:ext cx="2152" cy="1794"/>
                  </a:xfrm>
                  <a:custGeom>
                    <a:avLst/>
                    <a:gdLst>
                      <a:gd name="connsiteX0" fmla="*/ 0 w 2152"/>
                      <a:gd name="connsiteY0" fmla="*/ 0 h 1794"/>
                      <a:gd name="connsiteX1" fmla="*/ 418 w 2152"/>
                      <a:gd name="connsiteY1" fmla="*/ 359 h 1794"/>
                      <a:gd name="connsiteX2" fmla="*/ 538 w 2152"/>
                      <a:gd name="connsiteY2" fmla="*/ 419 h 1794"/>
                      <a:gd name="connsiteX3" fmla="*/ 2153 w 2152"/>
                      <a:gd name="connsiteY3" fmla="*/ 1794 h 1794"/>
                    </a:gdLst>
                    <a:ahLst/>
                    <a:cxnLst>
                      <a:cxn ang="0">
                        <a:pos x="connsiteX0" y="connsiteY0"/>
                      </a:cxn>
                      <a:cxn ang="0">
                        <a:pos x="connsiteX1" y="connsiteY1"/>
                      </a:cxn>
                      <a:cxn ang="0">
                        <a:pos x="connsiteX2" y="connsiteY2"/>
                      </a:cxn>
                      <a:cxn ang="0">
                        <a:pos x="connsiteX3" y="connsiteY3"/>
                      </a:cxn>
                    </a:cxnLst>
                    <a:rect l="l" t="t" r="r" b="b"/>
                    <a:pathLst>
                      <a:path w="2152" h="1794">
                        <a:moveTo>
                          <a:pt x="0" y="0"/>
                        </a:moveTo>
                        <a:lnTo>
                          <a:pt x="418" y="359"/>
                        </a:lnTo>
                        <a:lnTo>
                          <a:pt x="538" y="419"/>
                        </a:lnTo>
                        <a:lnTo>
                          <a:pt x="2153" y="1794"/>
                        </a:lnTo>
                      </a:path>
                    </a:pathLst>
                  </a:custGeom>
                  <a:noFill/>
                  <a:ln w="6350" cap="flat">
                    <a:solidFill>
                      <a:schemeClr val="bg1">
                        <a:alpha val="40000"/>
                      </a:schemeClr>
                    </a:solidFill>
                    <a:prstDash val="solid"/>
                    <a:miter/>
                  </a:ln>
                </p:spPr>
                <p:txBody>
                  <a:bodyPr rtlCol="0" anchor="ctr"/>
                  <a:lstStyle/>
                  <a:p>
                    <a:endParaRPr lang="en-GB"/>
                  </a:p>
                </p:txBody>
              </p:sp>
              <p:sp>
                <p:nvSpPr>
                  <p:cNvPr id="7874" name="Vrije vorm: vorm 7873">
                    <a:extLst>
                      <a:ext uri="{FF2B5EF4-FFF2-40B4-BE49-F238E27FC236}">
                        <a16:creationId xmlns:a16="http://schemas.microsoft.com/office/drawing/2014/main" id="{D832E8E0-A185-4DD4-9660-EE46E3A76963}"/>
                      </a:ext>
                    </a:extLst>
                  </p:cNvPr>
                  <p:cNvSpPr/>
                  <p:nvPr/>
                </p:nvSpPr>
                <p:spPr>
                  <a:xfrm>
                    <a:off x="5852694" y="5155243"/>
                    <a:ext cx="4425" cy="8552"/>
                  </a:xfrm>
                  <a:custGeom>
                    <a:avLst/>
                    <a:gdLst>
                      <a:gd name="connsiteX0" fmla="*/ 0 w 4425"/>
                      <a:gd name="connsiteY0" fmla="*/ 8552 h 8552"/>
                      <a:gd name="connsiteX1" fmla="*/ 598 w 4425"/>
                      <a:gd name="connsiteY1" fmla="*/ 7416 h 8552"/>
                      <a:gd name="connsiteX2" fmla="*/ 837 w 4425"/>
                      <a:gd name="connsiteY2" fmla="*/ 6997 h 8552"/>
                      <a:gd name="connsiteX3" fmla="*/ 2392 w 4425"/>
                      <a:gd name="connsiteY3" fmla="*/ 3947 h 8552"/>
                      <a:gd name="connsiteX4" fmla="*/ 3947 w 4425"/>
                      <a:gd name="connsiteY4" fmla="*/ 897 h 8552"/>
                      <a:gd name="connsiteX5" fmla="*/ 4426 w 4425"/>
                      <a:gd name="connsiteY5" fmla="*/ 0 h 8552"/>
                      <a:gd name="connsiteX6" fmla="*/ 2871 w 4425"/>
                      <a:gd name="connsiteY6" fmla="*/ 3050 h 8552"/>
                      <a:gd name="connsiteX7" fmla="*/ 1316 w 4425"/>
                      <a:gd name="connsiteY7" fmla="*/ 6100 h 8552"/>
                      <a:gd name="connsiteX8" fmla="*/ 837 w 4425"/>
                      <a:gd name="connsiteY8" fmla="*/ 6997 h 8552"/>
                      <a:gd name="connsiteX9" fmla="*/ 598 w 4425"/>
                      <a:gd name="connsiteY9" fmla="*/ 7416 h 8552"/>
                      <a:gd name="connsiteX10" fmla="*/ 0 w 4425"/>
                      <a:gd name="connsiteY10" fmla="*/ 8552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5" h="8552">
                        <a:moveTo>
                          <a:pt x="0" y="8552"/>
                        </a:moveTo>
                        <a:lnTo>
                          <a:pt x="598" y="7416"/>
                        </a:lnTo>
                        <a:lnTo>
                          <a:pt x="837" y="6997"/>
                        </a:lnTo>
                        <a:lnTo>
                          <a:pt x="2392" y="3947"/>
                        </a:lnTo>
                        <a:lnTo>
                          <a:pt x="3947" y="897"/>
                        </a:lnTo>
                        <a:lnTo>
                          <a:pt x="4426" y="0"/>
                        </a:lnTo>
                        <a:lnTo>
                          <a:pt x="2871" y="3050"/>
                        </a:lnTo>
                        <a:lnTo>
                          <a:pt x="1316" y="6100"/>
                        </a:lnTo>
                        <a:lnTo>
                          <a:pt x="837" y="6997"/>
                        </a:lnTo>
                        <a:lnTo>
                          <a:pt x="598" y="7416"/>
                        </a:lnTo>
                        <a:lnTo>
                          <a:pt x="0" y="8552"/>
                        </a:lnTo>
                      </a:path>
                    </a:pathLst>
                  </a:custGeom>
                  <a:noFill/>
                  <a:ln w="6350" cap="flat">
                    <a:solidFill>
                      <a:schemeClr val="bg1">
                        <a:alpha val="40000"/>
                      </a:schemeClr>
                    </a:solidFill>
                    <a:prstDash val="solid"/>
                    <a:miter/>
                  </a:ln>
                </p:spPr>
                <p:txBody>
                  <a:bodyPr rtlCol="0" anchor="ctr"/>
                  <a:lstStyle/>
                  <a:p>
                    <a:endParaRPr lang="en-GB"/>
                  </a:p>
                </p:txBody>
              </p:sp>
              <p:sp>
                <p:nvSpPr>
                  <p:cNvPr id="7875" name="Vrije vorm: vorm 7874">
                    <a:extLst>
                      <a:ext uri="{FF2B5EF4-FFF2-40B4-BE49-F238E27FC236}">
                        <a16:creationId xmlns:a16="http://schemas.microsoft.com/office/drawing/2014/main" id="{08B953EF-CF65-4231-8B75-7D9429C08EB2}"/>
                      </a:ext>
                    </a:extLst>
                  </p:cNvPr>
                  <p:cNvSpPr/>
                  <p:nvPr/>
                </p:nvSpPr>
                <p:spPr>
                  <a:xfrm>
                    <a:off x="5854668" y="5166905"/>
                    <a:ext cx="59" cy="298"/>
                  </a:xfrm>
                  <a:custGeom>
                    <a:avLst/>
                    <a:gdLst>
                      <a:gd name="connsiteX0" fmla="*/ 0 w 59"/>
                      <a:gd name="connsiteY0" fmla="*/ 0 h 298"/>
                      <a:gd name="connsiteX1" fmla="*/ 0 w 59"/>
                      <a:gd name="connsiteY1" fmla="*/ 179 h 298"/>
                      <a:gd name="connsiteX2" fmla="*/ 60 w 59"/>
                      <a:gd name="connsiteY2" fmla="*/ 299 h 298"/>
                    </a:gdLst>
                    <a:ahLst/>
                    <a:cxnLst>
                      <a:cxn ang="0">
                        <a:pos x="connsiteX0" y="connsiteY0"/>
                      </a:cxn>
                      <a:cxn ang="0">
                        <a:pos x="connsiteX1" y="connsiteY1"/>
                      </a:cxn>
                      <a:cxn ang="0">
                        <a:pos x="connsiteX2" y="connsiteY2"/>
                      </a:cxn>
                    </a:cxnLst>
                    <a:rect l="l" t="t" r="r" b="b"/>
                    <a:pathLst>
                      <a:path w="59" h="298">
                        <a:moveTo>
                          <a:pt x="0" y="0"/>
                        </a:moveTo>
                        <a:lnTo>
                          <a:pt x="0" y="179"/>
                        </a:lnTo>
                        <a:lnTo>
                          <a:pt x="60" y="299"/>
                        </a:lnTo>
                      </a:path>
                    </a:pathLst>
                  </a:custGeom>
                  <a:noFill/>
                  <a:ln w="6350" cap="flat">
                    <a:solidFill>
                      <a:schemeClr val="bg1">
                        <a:alpha val="40000"/>
                      </a:schemeClr>
                    </a:solidFill>
                    <a:prstDash val="solid"/>
                    <a:miter/>
                  </a:ln>
                </p:spPr>
                <p:txBody>
                  <a:bodyPr rtlCol="0" anchor="ctr"/>
                  <a:lstStyle/>
                  <a:p>
                    <a:endParaRPr lang="en-GB"/>
                  </a:p>
                </p:txBody>
              </p:sp>
              <p:sp>
                <p:nvSpPr>
                  <p:cNvPr id="7876" name="Vrije vorm: vorm 7875">
                    <a:extLst>
                      <a:ext uri="{FF2B5EF4-FFF2-40B4-BE49-F238E27FC236}">
                        <a16:creationId xmlns:a16="http://schemas.microsoft.com/office/drawing/2014/main" id="{50A21C7F-AC7F-43C2-A5FE-C405450AF27B}"/>
                      </a:ext>
                    </a:extLst>
                  </p:cNvPr>
                  <p:cNvSpPr/>
                  <p:nvPr/>
                </p:nvSpPr>
                <p:spPr>
                  <a:xfrm>
                    <a:off x="5855625" y="5164931"/>
                    <a:ext cx="239" cy="59"/>
                  </a:xfrm>
                  <a:custGeom>
                    <a:avLst/>
                    <a:gdLst>
                      <a:gd name="connsiteX0" fmla="*/ 239 w 239"/>
                      <a:gd name="connsiteY0" fmla="*/ 60 h 59"/>
                      <a:gd name="connsiteX1" fmla="*/ 120 w 239"/>
                      <a:gd name="connsiteY1" fmla="*/ 0 h 59"/>
                      <a:gd name="connsiteX2" fmla="*/ 0 w 239"/>
                      <a:gd name="connsiteY2" fmla="*/ 60 h 59"/>
                    </a:gdLst>
                    <a:ahLst/>
                    <a:cxnLst>
                      <a:cxn ang="0">
                        <a:pos x="connsiteX0" y="connsiteY0"/>
                      </a:cxn>
                      <a:cxn ang="0">
                        <a:pos x="connsiteX1" y="connsiteY1"/>
                      </a:cxn>
                      <a:cxn ang="0">
                        <a:pos x="connsiteX2" y="connsiteY2"/>
                      </a:cxn>
                    </a:cxnLst>
                    <a:rect l="l" t="t" r="r" b="b"/>
                    <a:pathLst>
                      <a:path w="239" h="59">
                        <a:moveTo>
                          <a:pt x="239" y="60"/>
                        </a:moveTo>
                        <a:lnTo>
                          <a:pt x="120" y="0"/>
                        </a:lnTo>
                        <a:lnTo>
                          <a:pt x="0" y="60"/>
                        </a:lnTo>
                      </a:path>
                    </a:pathLst>
                  </a:custGeom>
                  <a:noFill/>
                  <a:ln w="6350" cap="flat">
                    <a:solidFill>
                      <a:schemeClr val="bg1">
                        <a:alpha val="40000"/>
                      </a:schemeClr>
                    </a:solidFill>
                    <a:prstDash val="solid"/>
                    <a:miter/>
                  </a:ln>
                </p:spPr>
                <p:txBody>
                  <a:bodyPr rtlCol="0" anchor="ctr"/>
                  <a:lstStyle/>
                  <a:p>
                    <a:endParaRPr lang="en-GB"/>
                  </a:p>
                </p:txBody>
              </p:sp>
              <p:sp>
                <p:nvSpPr>
                  <p:cNvPr id="7877" name="Vrije vorm: vorm 7876">
                    <a:extLst>
                      <a:ext uri="{FF2B5EF4-FFF2-40B4-BE49-F238E27FC236}">
                        <a16:creationId xmlns:a16="http://schemas.microsoft.com/office/drawing/2014/main" id="{EE12363E-D988-4FA9-8155-39AB317247A1}"/>
                      </a:ext>
                    </a:extLst>
                  </p:cNvPr>
                  <p:cNvSpPr/>
                  <p:nvPr/>
                </p:nvSpPr>
                <p:spPr>
                  <a:xfrm>
                    <a:off x="5853591" y="5168998"/>
                    <a:ext cx="179" cy="298"/>
                  </a:xfrm>
                  <a:custGeom>
                    <a:avLst/>
                    <a:gdLst>
                      <a:gd name="connsiteX0" fmla="*/ 0 w 179"/>
                      <a:gd name="connsiteY0" fmla="*/ 0 h 298"/>
                      <a:gd name="connsiteX1" fmla="*/ 0 w 179"/>
                      <a:gd name="connsiteY1" fmla="*/ 0 h 298"/>
                      <a:gd name="connsiteX2" fmla="*/ 0 w 179"/>
                      <a:gd name="connsiteY2" fmla="*/ 120 h 298"/>
                      <a:gd name="connsiteX3" fmla="*/ 0 w 179"/>
                      <a:gd name="connsiteY3" fmla="*/ 120 h 298"/>
                      <a:gd name="connsiteX4" fmla="*/ 60 w 179"/>
                      <a:gd name="connsiteY4" fmla="*/ 239 h 298"/>
                      <a:gd name="connsiteX5" fmla="*/ 180 w 179"/>
                      <a:gd name="connsiteY5" fmla="*/ 299 h 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 h="298">
                        <a:moveTo>
                          <a:pt x="0" y="0"/>
                        </a:moveTo>
                        <a:lnTo>
                          <a:pt x="0" y="0"/>
                        </a:lnTo>
                        <a:lnTo>
                          <a:pt x="0" y="120"/>
                        </a:lnTo>
                        <a:lnTo>
                          <a:pt x="0" y="120"/>
                        </a:lnTo>
                        <a:lnTo>
                          <a:pt x="60" y="239"/>
                        </a:lnTo>
                        <a:lnTo>
                          <a:pt x="180" y="299"/>
                        </a:lnTo>
                      </a:path>
                    </a:pathLst>
                  </a:custGeom>
                  <a:noFill/>
                  <a:ln w="6350" cap="flat">
                    <a:solidFill>
                      <a:schemeClr val="bg1">
                        <a:alpha val="40000"/>
                      </a:schemeClr>
                    </a:solidFill>
                    <a:prstDash val="solid"/>
                    <a:miter/>
                  </a:ln>
                </p:spPr>
                <p:txBody>
                  <a:bodyPr rtlCol="0" anchor="ctr"/>
                  <a:lstStyle/>
                  <a:p>
                    <a:endParaRPr lang="en-GB"/>
                  </a:p>
                </p:txBody>
              </p:sp>
              <p:sp>
                <p:nvSpPr>
                  <p:cNvPr id="7878" name="Vrije vorm: vorm 7877">
                    <a:extLst>
                      <a:ext uri="{FF2B5EF4-FFF2-40B4-BE49-F238E27FC236}">
                        <a16:creationId xmlns:a16="http://schemas.microsoft.com/office/drawing/2014/main" id="{7680ACC5-2232-47DF-90C1-BDFAA36DE53F}"/>
                      </a:ext>
                    </a:extLst>
                  </p:cNvPr>
                  <p:cNvSpPr/>
                  <p:nvPr/>
                </p:nvSpPr>
                <p:spPr>
                  <a:xfrm>
                    <a:off x="5854309" y="5167323"/>
                    <a:ext cx="239" cy="59"/>
                  </a:xfrm>
                  <a:custGeom>
                    <a:avLst/>
                    <a:gdLst>
                      <a:gd name="connsiteX0" fmla="*/ 239 w 239"/>
                      <a:gd name="connsiteY0" fmla="*/ 0 h 59"/>
                      <a:gd name="connsiteX1" fmla="*/ 120 w 239"/>
                      <a:gd name="connsiteY1" fmla="*/ 0 h 59"/>
                      <a:gd name="connsiteX2" fmla="*/ 0 w 239"/>
                      <a:gd name="connsiteY2" fmla="*/ 60 h 59"/>
                    </a:gdLst>
                    <a:ahLst/>
                    <a:cxnLst>
                      <a:cxn ang="0">
                        <a:pos x="connsiteX0" y="connsiteY0"/>
                      </a:cxn>
                      <a:cxn ang="0">
                        <a:pos x="connsiteX1" y="connsiteY1"/>
                      </a:cxn>
                      <a:cxn ang="0">
                        <a:pos x="connsiteX2" y="connsiteY2"/>
                      </a:cxn>
                    </a:cxnLst>
                    <a:rect l="l" t="t" r="r" b="b"/>
                    <a:pathLst>
                      <a:path w="239" h="59">
                        <a:moveTo>
                          <a:pt x="239" y="0"/>
                        </a:moveTo>
                        <a:lnTo>
                          <a:pt x="120" y="0"/>
                        </a:lnTo>
                        <a:lnTo>
                          <a:pt x="0" y="60"/>
                        </a:lnTo>
                      </a:path>
                    </a:pathLst>
                  </a:custGeom>
                  <a:noFill/>
                  <a:ln w="6350" cap="flat">
                    <a:solidFill>
                      <a:schemeClr val="bg1">
                        <a:alpha val="40000"/>
                      </a:schemeClr>
                    </a:solidFill>
                    <a:prstDash val="solid"/>
                    <a:miter/>
                  </a:ln>
                </p:spPr>
                <p:txBody>
                  <a:bodyPr rtlCol="0" anchor="ctr"/>
                  <a:lstStyle/>
                  <a:p>
                    <a:endParaRPr lang="en-GB"/>
                  </a:p>
                </p:txBody>
              </p:sp>
              <p:sp>
                <p:nvSpPr>
                  <p:cNvPr id="7879" name="Vrije vorm: vorm 7878">
                    <a:extLst>
                      <a:ext uri="{FF2B5EF4-FFF2-40B4-BE49-F238E27FC236}">
                        <a16:creationId xmlns:a16="http://schemas.microsoft.com/office/drawing/2014/main" id="{703F3D12-37E1-4A1E-8B0A-9678BE892346}"/>
                      </a:ext>
                    </a:extLst>
                  </p:cNvPr>
                  <p:cNvSpPr/>
                  <p:nvPr/>
                </p:nvSpPr>
                <p:spPr>
                  <a:xfrm>
                    <a:off x="5854668" y="5164991"/>
                    <a:ext cx="2272" cy="2750"/>
                  </a:xfrm>
                  <a:custGeom>
                    <a:avLst/>
                    <a:gdLst>
                      <a:gd name="connsiteX0" fmla="*/ 1196 w 2272"/>
                      <a:gd name="connsiteY0" fmla="*/ 0 h 2750"/>
                      <a:gd name="connsiteX1" fmla="*/ 2213 w 2272"/>
                      <a:gd name="connsiteY1" fmla="*/ 419 h 2750"/>
                      <a:gd name="connsiteX2" fmla="*/ 2273 w 2272"/>
                      <a:gd name="connsiteY2" fmla="*/ 538 h 2750"/>
                      <a:gd name="connsiteX3" fmla="*/ 2273 w 2272"/>
                      <a:gd name="connsiteY3" fmla="*/ 718 h 2750"/>
                      <a:gd name="connsiteX4" fmla="*/ 2273 w 2272"/>
                      <a:gd name="connsiteY4" fmla="*/ 957 h 2750"/>
                      <a:gd name="connsiteX5" fmla="*/ 2273 w 2272"/>
                      <a:gd name="connsiteY5" fmla="*/ 1076 h 2750"/>
                      <a:gd name="connsiteX6" fmla="*/ 2213 w 2272"/>
                      <a:gd name="connsiteY6" fmla="*/ 1256 h 2750"/>
                      <a:gd name="connsiteX7" fmla="*/ 2093 w 2272"/>
                      <a:gd name="connsiteY7" fmla="*/ 1555 h 2750"/>
                      <a:gd name="connsiteX8" fmla="*/ 1974 w 2272"/>
                      <a:gd name="connsiteY8" fmla="*/ 1854 h 2750"/>
                      <a:gd name="connsiteX9" fmla="*/ 1795 w 2272"/>
                      <a:gd name="connsiteY9" fmla="*/ 2153 h 2750"/>
                      <a:gd name="connsiteX10" fmla="*/ 1615 w 2272"/>
                      <a:gd name="connsiteY10" fmla="*/ 2392 h 2750"/>
                      <a:gd name="connsiteX11" fmla="*/ 1495 w 2272"/>
                      <a:gd name="connsiteY11" fmla="*/ 2512 h 2750"/>
                      <a:gd name="connsiteX12" fmla="*/ 1436 w 2272"/>
                      <a:gd name="connsiteY12" fmla="*/ 2572 h 2750"/>
                      <a:gd name="connsiteX13" fmla="*/ 1256 w 2272"/>
                      <a:gd name="connsiteY13" fmla="*/ 2691 h 2750"/>
                      <a:gd name="connsiteX14" fmla="*/ 1136 w 2272"/>
                      <a:gd name="connsiteY14" fmla="*/ 2751 h 2750"/>
                      <a:gd name="connsiteX15" fmla="*/ 1017 w 2272"/>
                      <a:gd name="connsiteY15" fmla="*/ 2691 h 2750"/>
                      <a:gd name="connsiteX16" fmla="*/ 0 w 2272"/>
                      <a:gd name="connsiteY16" fmla="*/ 2273 h 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2" h="2750">
                        <a:moveTo>
                          <a:pt x="1196" y="0"/>
                        </a:moveTo>
                        <a:lnTo>
                          <a:pt x="2213" y="419"/>
                        </a:lnTo>
                        <a:lnTo>
                          <a:pt x="2273" y="538"/>
                        </a:lnTo>
                        <a:lnTo>
                          <a:pt x="2273" y="718"/>
                        </a:lnTo>
                        <a:lnTo>
                          <a:pt x="2273" y="957"/>
                        </a:lnTo>
                        <a:lnTo>
                          <a:pt x="2273" y="1076"/>
                        </a:lnTo>
                        <a:lnTo>
                          <a:pt x="2213" y="1256"/>
                        </a:lnTo>
                        <a:lnTo>
                          <a:pt x="2093" y="1555"/>
                        </a:lnTo>
                        <a:lnTo>
                          <a:pt x="1974" y="1854"/>
                        </a:lnTo>
                        <a:lnTo>
                          <a:pt x="1795" y="2153"/>
                        </a:lnTo>
                        <a:lnTo>
                          <a:pt x="1615" y="2392"/>
                        </a:lnTo>
                        <a:lnTo>
                          <a:pt x="1495" y="2512"/>
                        </a:lnTo>
                        <a:lnTo>
                          <a:pt x="1436" y="2572"/>
                        </a:lnTo>
                        <a:lnTo>
                          <a:pt x="1256" y="2691"/>
                        </a:lnTo>
                        <a:lnTo>
                          <a:pt x="1136" y="2751"/>
                        </a:lnTo>
                        <a:lnTo>
                          <a:pt x="1017" y="2691"/>
                        </a:lnTo>
                        <a:lnTo>
                          <a:pt x="0" y="2273"/>
                        </a:lnTo>
                      </a:path>
                    </a:pathLst>
                  </a:custGeom>
                  <a:noFill/>
                  <a:ln w="6350" cap="flat">
                    <a:solidFill>
                      <a:schemeClr val="bg1">
                        <a:alpha val="40000"/>
                      </a:schemeClr>
                    </a:solidFill>
                    <a:prstDash val="solid"/>
                    <a:miter/>
                  </a:ln>
                </p:spPr>
                <p:txBody>
                  <a:bodyPr rtlCol="0" anchor="ctr"/>
                  <a:lstStyle/>
                  <a:p>
                    <a:endParaRPr lang="en-GB"/>
                  </a:p>
                </p:txBody>
              </p:sp>
              <p:sp>
                <p:nvSpPr>
                  <p:cNvPr id="7880" name="Vrije vorm: vorm 7879">
                    <a:extLst>
                      <a:ext uri="{FF2B5EF4-FFF2-40B4-BE49-F238E27FC236}">
                        <a16:creationId xmlns:a16="http://schemas.microsoft.com/office/drawing/2014/main" id="{32B6AA05-A913-4906-8DED-3A9FDF7D10CC}"/>
                      </a:ext>
                    </a:extLst>
                  </p:cNvPr>
                  <p:cNvSpPr/>
                  <p:nvPr/>
                </p:nvSpPr>
                <p:spPr>
                  <a:xfrm>
                    <a:off x="5855744" y="5165230"/>
                    <a:ext cx="1255" cy="2332"/>
                  </a:xfrm>
                  <a:custGeom>
                    <a:avLst/>
                    <a:gdLst>
                      <a:gd name="connsiteX0" fmla="*/ 60 w 1255"/>
                      <a:gd name="connsiteY0" fmla="*/ 2333 h 2332"/>
                      <a:gd name="connsiteX1" fmla="*/ 0 w 1255"/>
                      <a:gd name="connsiteY1" fmla="*/ 2213 h 2332"/>
                      <a:gd name="connsiteX2" fmla="*/ 0 w 1255"/>
                      <a:gd name="connsiteY2" fmla="*/ 2034 h 2332"/>
                      <a:gd name="connsiteX3" fmla="*/ 0 w 1255"/>
                      <a:gd name="connsiteY3" fmla="*/ 1794 h 2332"/>
                      <a:gd name="connsiteX4" fmla="*/ 60 w 1255"/>
                      <a:gd name="connsiteY4" fmla="*/ 1495 h 2332"/>
                      <a:gd name="connsiteX5" fmla="*/ 179 w 1255"/>
                      <a:gd name="connsiteY5" fmla="*/ 1196 h 2332"/>
                      <a:gd name="connsiteX6" fmla="*/ 299 w 1255"/>
                      <a:gd name="connsiteY6" fmla="*/ 897 h 2332"/>
                      <a:gd name="connsiteX7" fmla="*/ 478 w 1255"/>
                      <a:gd name="connsiteY7" fmla="*/ 598 h 2332"/>
                      <a:gd name="connsiteX8" fmla="*/ 658 w 1255"/>
                      <a:gd name="connsiteY8" fmla="*/ 359 h 2332"/>
                      <a:gd name="connsiteX9" fmla="*/ 837 w 1255"/>
                      <a:gd name="connsiteY9" fmla="*/ 180 h 2332"/>
                      <a:gd name="connsiteX10" fmla="*/ 1017 w 1255"/>
                      <a:gd name="connsiteY10" fmla="*/ 60 h 2332"/>
                      <a:gd name="connsiteX11" fmla="*/ 1136 w 1255"/>
                      <a:gd name="connsiteY11" fmla="*/ 0 h 2332"/>
                      <a:gd name="connsiteX12" fmla="*/ 1256 w 1255"/>
                      <a:gd name="connsiteY12" fmla="*/ 60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5" h="2332">
                        <a:moveTo>
                          <a:pt x="60" y="2333"/>
                        </a:moveTo>
                        <a:lnTo>
                          <a:pt x="0" y="2213"/>
                        </a:lnTo>
                        <a:lnTo>
                          <a:pt x="0" y="2034"/>
                        </a:lnTo>
                        <a:lnTo>
                          <a:pt x="0" y="1794"/>
                        </a:lnTo>
                        <a:lnTo>
                          <a:pt x="60" y="1495"/>
                        </a:lnTo>
                        <a:lnTo>
                          <a:pt x="179" y="1196"/>
                        </a:lnTo>
                        <a:lnTo>
                          <a:pt x="299" y="897"/>
                        </a:lnTo>
                        <a:lnTo>
                          <a:pt x="478" y="598"/>
                        </a:lnTo>
                        <a:lnTo>
                          <a:pt x="658" y="359"/>
                        </a:lnTo>
                        <a:lnTo>
                          <a:pt x="837" y="180"/>
                        </a:lnTo>
                        <a:lnTo>
                          <a:pt x="1017" y="60"/>
                        </a:lnTo>
                        <a:lnTo>
                          <a:pt x="1136" y="0"/>
                        </a:lnTo>
                        <a:lnTo>
                          <a:pt x="1256" y="60"/>
                        </a:lnTo>
                      </a:path>
                    </a:pathLst>
                  </a:custGeom>
                  <a:noFill/>
                  <a:ln w="6350" cap="flat">
                    <a:solidFill>
                      <a:schemeClr val="bg1">
                        <a:alpha val="40000"/>
                      </a:schemeClr>
                    </a:solidFill>
                    <a:prstDash val="solid"/>
                    <a:miter/>
                  </a:ln>
                </p:spPr>
                <p:txBody>
                  <a:bodyPr rtlCol="0" anchor="ctr"/>
                  <a:lstStyle/>
                  <a:p>
                    <a:endParaRPr lang="en-GB"/>
                  </a:p>
                </p:txBody>
              </p:sp>
              <p:sp>
                <p:nvSpPr>
                  <p:cNvPr id="7881" name="Vrije vorm: vorm 7880">
                    <a:extLst>
                      <a:ext uri="{FF2B5EF4-FFF2-40B4-BE49-F238E27FC236}">
                        <a16:creationId xmlns:a16="http://schemas.microsoft.com/office/drawing/2014/main" id="{8AA4FAE3-8D91-4EE3-AD1C-5E0D34B4CDE2}"/>
                      </a:ext>
                    </a:extLst>
                  </p:cNvPr>
                  <p:cNvSpPr/>
                  <p:nvPr/>
                </p:nvSpPr>
                <p:spPr>
                  <a:xfrm>
                    <a:off x="5853831" y="5167802"/>
                    <a:ext cx="1913" cy="1913"/>
                  </a:xfrm>
                  <a:custGeom>
                    <a:avLst/>
                    <a:gdLst>
                      <a:gd name="connsiteX0" fmla="*/ 1017 w 1913"/>
                      <a:gd name="connsiteY0" fmla="*/ 1854 h 1913"/>
                      <a:gd name="connsiteX1" fmla="*/ 897 w 1913"/>
                      <a:gd name="connsiteY1" fmla="*/ 1794 h 1913"/>
                      <a:gd name="connsiteX2" fmla="*/ 837 w 1913"/>
                      <a:gd name="connsiteY2" fmla="*/ 1675 h 1913"/>
                      <a:gd name="connsiteX3" fmla="*/ 837 w 1913"/>
                      <a:gd name="connsiteY3" fmla="*/ 1675 h 1913"/>
                      <a:gd name="connsiteX4" fmla="*/ 837 w 1913"/>
                      <a:gd name="connsiteY4" fmla="*/ 1555 h 1913"/>
                      <a:gd name="connsiteX5" fmla="*/ 837 w 1913"/>
                      <a:gd name="connsiteY5" fmla="*/ 1495 h 1913"/>
                      <a:gd name="connsiteX6" fmla="*/ 837 w 1913"/>
                      <a:gd name="connsiteY6" fmla="*/ 1316 h 1913"/>
                      <a:gd name="connsiteX7" fmla="*/ 837 w 1913"/>
                      <a:gd name="connsiteY7" fmla="*/ 1196 h 1913"/>
                      <a:gd name="connsiteX8" fmla="*/ 837 w 1913"/>
                      <a:gd name="connsiteY8" fmla="*/ 1076 h 1913"/>
                      <a:gd name="connsiteX9" fmla="*/ 897 w 1913"/>
                      <a:gd name="connsiteY9" fmla="*/ 837 h 1913"/>
                      <a:gd name="connsiteX10" fmla="*/ 1017 w 1913"/>
                      <a:gd name="connsiteY10" fmla="*/ 598 h 1913"/>
                      <a:gd name="connsiteX11" fmla="*/ 1136 w 1913"/>
                      <a:gd name="connsiteY11" fmla="*/ 359 h 1913"/>
                      <a:gd name="connsiteX12" fmla="*/ 1256 w 1913"/>
                      <a:gd name="connsiteY12" fmla="*/ 180 h 1913"/>
                      <a:gd name="connsiteX13" fmla="*/ 1435 w 1913"/>
                      <a:gd name="connsiteY13" fmla="*/ 60 h 1913"/>
                      <a:gd name="connsiteX14" fmla="*/ 1555 w 1913"/>
                      <a:gd name="connsiteY14" fmla="*/ 0 h 1913"/>
                      <a:gd name="connsiteX15" fmla="*/ 1674 w 1913"/>
                      <a:gd name="connsiteY15" fmla="*/ 0 h 1913"/>
                      <a:gd name="connsiteX16" fmla="*/ 1794 w 1913"/>
                      <a:gd name="connsiteY16" fmla="*/ 60 h 1913"/>
                      <a:gd name="connsiteX17" fmla="*/ 1854 w 1913"/>
                      <a:gd name="connsiteY17" fmla="*/ 180 h 1913"/>
                      <a:gd name="connsiteX18" fmla="*/ 1914 w 1913"/>
                      <a:gd name="connsiteY18" fmla="*/ 359 h 1913"/>
                      <a:gd name="connsiteX19" fmla="*/ 1914 w 1913"/>
                      <a:gd name="connsiteY19" fmla="*/ 538 h 1913"/>
                      <a:gd name="connsiteX20" fmla="*/ 1914 w 1913"/>
                      <a:gd name="connsiteY20" fmla="*/ 658 h 1913"/>
                      <a:gd name="connsiteX21" fmla="*/ 1914 w 1913"/>
                      <a:gd name="connsiteY21" fmla="*/ 778 h 1913"/>
                      <a:gd name="connsiteX22" fmla="*/ 1854 w 1913"/>
                      <a:gd name="connsiteY22" fmla="*/ 1017 h 1913"/>
                      <a:gd name="connsiteX23" fmla="*/ 1734 w 1913"/>
                      <a:gd name="connsiteY23" fmla="*/ 1256 h 1913"/>
                      <a:gd name="connsiteX24" fmla="*/ 1615 w 1913"/>
                      <a:gd name="connsiteY24" fmla="*/ 1495 h 1913"/>
                      <a:gd name="connsiteX25" fmla="*/ 1555 w 1913"/>
                      <a:gd name="connsiteY25" fmla="*/ 1555 h 1913"/>
                      <a:gd name="connsiteX26" fmla="*/ 1435 w 1913"/>
                      <a:gd name="connsiteY26" fmla="*/ 1675 h 1913"/>
                      <a:gd name="connsiteX27" fmla="*/ 1316 w 1913"/>
                      <a:gd name="connsiteY27" fmla="*/ 1794 h 1913"/>
                      <a:gd name="connsiteX28" fmla="*/ 1256 w 1913"/>
                      <a:gd name="connsiteY28" fmla="*/ 1854 h 1913"/>
                      <a:gd name="connsiteX29" fmla="*/ 1256 w 1913"/>
                      <a:gd name="connsiteY29" fmla="*/ 1854 h 1913"/>
                      <a:gd name="connsiteX30" fmla="*/ 1136 w 1913"/>
                      <a:gd name="connsiteY30" fmla="*/ 1914 h 1913"/>
                      <a:gd name="connsiteX31" fmla="*/ 1136 w 1913"/>
                      <a:gd name="connsiteY31" fmla="*/ 1914 h 1913"/>
                      <a:gd name="connsiteX32" fmla="*/ 1017 w 1913"/>
                      <a:gd name="connsiteY32" fmla="*/ 1854 h 1913"/>
                      <a:gd name="connsiteX33" fmla="*/ 0 w 1913"/>
                      <a:gd name="connsiteY33" fmla="*/ 1435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13" h="1913">
                        <a:moveTo>
                          <a:pt x="1017" y="1854"/>
                        </a:moveTo>
                        <a:lnTo>
                          <a:pt x="897" y="1794"/>
                        </a:lnTo>
                        <a:lnTo>
                          <a:pt x="837" y="1675"/>
                        </a:lnTo>
                        <a:lnTo>
                          <a:pt x="837" y="1675"/>
                        </a:lnTo>
                        <a:lnTo>
                          <a:pt x="837" y="1555"/>
                        </a:lnTo>
                        <a:lnTo>
                          <a:pt x="837" y="1495"/>
                        </a:lnTo>
                        <a:lnTo>
                          <a:pt x="837" y="1316"/>
                        </a:lnTo>
                        <a:lnTo>
                          <a:pt x="837" y="1196"/>
                        </a:lnTo>
                        <a:lnTo>
                          <a:pt x="837" y="1076"/>
                        </a:lnTo>
                        <a:lnTo>
                          <a:pt x="897" y="837"/>
                        </a:lnTo>
                        <a:lnTo>
                          <a:pt x="1017" y="598"/>
                        </a:lnTo>
                        <a:lnTo>
                          <a:pt x="1136" y="359"/>
                        </a:lnTo>
                        <a:lnTo>
                          <a:pt x="1256" y="180"/>
                        </a:lnTo>
                        <a:lnTo>
                          <a:pt x="1435" y="60"/>
                        </a:lnTo>
                        <a:lnTo>
                          <a:pt x="1555" y="0"/>
                        </a:lnTo>
                        <a:lnTo>
                          <a:pt x="1674" y="0"/>
                        </a:lnTo>
                        <a:lnTo>
                          <a:pt x="1794" y="60"/>
                        </a:lnTo>
                        <a:lnTo>
                          <a:pt x="1854" y="180"/>
                        </a:lnTo>
                        <a:lnTo>
                          <a:pt x="1914" y="359"/>
                        </a:lnTo>
                        <a:lnTo>
                          <a:pt x="1914" y="538"/>
                        </a:lnTo>
                        <a:lnTo>
                          <a:pt x="1914" y="658"/>
                        </a:lnTo>
                        <a:lnTo>
                          <a:pt x="1914" y="778"/>
                        </a:lnTo>
                        <a:lnTo>
                          <a:pt x="1854" y="1017"/>
                        </a:lnTo>
                        <a:lnTo>
                          <a:pt x="1734" y="1256"/>
                        </a:lnTo>
                        <a:lnTo>
                          <a:pt x="1615" y="1495"/>
                        </a:lnTo>
                        <a:lnTo>
                          <a:pt x="1555" y="1555"/>
                        </a:lnTo>
                        <a:lnTo>
                          <a:pt x="1435" y="1675"/>
                        </a:lnTo>
                        <a:lnTo>
                          <a:pt x="1316" y="1794"/>
                        </a:lnTo>
                        <a:lnTo>
                          <a:pt x="1256" y="1854"/>
                        </a:lnTo>
                        <a:lnTo>
                          <a:pt x="1256" y="1854"/>
                        </a:lnTo>
                        <a:lnTo>
                          <a:pt x="1136" y="1914"/>
                        </a:lnTo>
                        <a:lnTo>
                          <a:pt x="1136" y="1914"/>
                        </a:lnTo>
                        <a:lnTo>
                          <a:pt x="1017" y="1854"/>
                        </a:lnTo>
                        <a:lnTo>
                          <a:pt x="0" y="1435"/>
                        </a:lnTo>
                      </a:path>
                    </a:pathLst>
                  </a:custGeom>
                  <a:noFill/>
                  <a:ln w="6350" cap="flat">
                    <a:solidFill>
                      <a:schemeClr val="bg1">
                        <a:alpha val="40000"/>
                      </a:schemeClr>
                    </a:solidFill>
                    <a:prstDash val="solid"/>
                    <a:miter/>
                  </a:ln>
                </p:spPr>
                <p:txBody>
                  <a:bodyPr rtlCol="0" anchor="ctr"/>
                  <a:lstStyle/>
                  <a:p>
                    <a:endParaRPr lang="en-GB"/>
                  </a:p>
                </p:txBody>
              </p:sp>
              <p:sp>
                <p:nvSpPr>
                  <p:cNvPr id="7882" name="Vrije vorm: vorm 7881">
                    <a:extLst>
                      <a:ext uri="{FF2B5EF4-FFF2-40B4-BE49-F238E27FC236}">
                        <a16:creationId xmlns:a16="http://schemas.microsoft.com/office/drawing/2014/main" id="{8C486465-7427-4AEF-833D-6DEC71650B53}"/>
                      </a:ext>
                    </a:extLst>
                  </p:cNvPr>
                  <p:cNvSpPr/>
                  <p:nvPr/>
                </p:nvSpPr>
                <p:spPr>
                  <a:xfrm>
                    <a:off x="5854548" y="5167323"/>
                    <a:ext cx="1016" cy="418"/>
                  </a:xfrm>
                  <a:custGeom>
                    <a:avLst/>
                    <a:gdLst>
                      <a:gd name="connsiteX0" fmla="*/ 0 w 1016"/>
                      <a:gd name="connsiteY0" fmla="*/ 0 h 418"/>
                      <a:gd name="connsiteX1" fmla="*/ 1017 w 1016"/>
                      <a:gd name="connsiteY1" fmla="*/ 419 h 418"/>
                    </a:gdLst>
                    <a:ahLst/>
                    <a:cxnLst>
                      <a:cxn ang="0">
                        <a:pos x="connsiteX0" y="connsiteY0"/>
                      </a:cxn>
                      <a:cxn ang="0">
                        <a:pos x="connsiteX1" y="connsiteY1"/>
                      </a:cxn>
                    </a:cxnLst>
                    <a:rect l="l" t="t" r="r" b="b"/>
                    <a:pathLst>
                      <a:path w="1016" h="418">
                        <a:moveTo>
                          <a:pt x="0" y="0"/>
                        </a:moveTo>
                        <a:lnTo>
                          <a:pt x="1017" y="419"/>
                        </a:lnTo>
                      </a:path>
                    </a:pathLst>
                  </a:custGeom>
                  <a:noFill/>
                  <a:ln w="6350" cap="flat">
                    <a:solidFill>
                      <a:schemeClr val="bg1">
                        <a:alpha val="40000"/>
                      </a:schemeClr>
                    </a:solidFill>
                    <a:prstDash val="solid"/>
                    <a:miter/>
                  </a:ln>
                </p:spPr>
                <p:txBody>
                  <a:bodyPr rtlCol="0" anchor="ctr"/>
                  <a:lstStyle/>
                  <a:p>
                    <a:endParaRPr lang="en-GB"/>
                  </a:p>
                </p:txBody>
              </p:sp>
              <p:sp>
                <p:nvSpPr>
                  <p:cNvPr id="7883" name="Vrije vorm: vorm 7882">
                    <a:extLst>
                      <a:ext uri="{FF2B5EF4-FFF2-40B4-BE49-F238E27FC236}">
                        <a16:creationId xmlns:a16="http://schemas.microsoft.com/office/drawing/2014/main" id="{6F10E738-0EDE-4E31-A17C-C69DF6823D25}"/>
                      </a:ext>
                    </a:extLst>
                  </p:cNvPr>
                  <p:cNvSpPr/>
                  <p:nvPr/>
                </p:nvSpPr>
                <p:spPr>
                  <a:xfrm>
                    <a:off x="5842407" y="5165170"/>
                    <a:ext cx="2033" cy="1136"/>
                  </a:xfrm>
                  <a:custGeom>
                    <a:avLst/>
                    <a:gdLst>
                      <a:gd name="connsiteX0" fmla="*/ 0 w 2033"/>
                      <a:gd name="connsiteY0" fmla="*/ 0 h 1136"/>
                      <a:gd name="connsiteX1" fmla="*/ 778 w 2033"/>
                      <a:gd name="connsiteY1" fmla="*/ 658 h 1136"/>
                      <a:gd name="connsiteX2" fmla="*/ 1196 w 2033"/>
                      <a:gd name="connsiteY2" fmla="*/ 837 h 1136"/>
                      <a:gd name="connsiteX3" fmla="*/ 2034 w 2033"/>
                      <a:gd name="connsiteY3" fmla="*/ 1136 h 1136"/>
                    </a:gdLst>
                    <a:ahLst/>
                    <a:cxnLst>
                      <a:cxn ang="0">
                        <a:pos x="connsiteX0" y="connsiteY0"/>
                      </a:cxn>
                      <a:cxn ang="0">
                        <a:pos x="connsiteX1" y="connsiteY1"/>
                      </a:cxn>
                      <a:cxn ang="0">
                        <a:pos x="connsiteX2" y="connsiteY2"/>
                      </a:cxn>
                      <a:cxn ang="0">
                        <a:pos x="connsiteX3" y="connsiteY3"/>
                      </a:cxn>
                    </a:cxnLst>
                    <a:rect l="l" t="t" r="r" b="b"/>
                    <a:pathLst>
                      <a:path w="2033" h="1136">
                        <a:moveTo>
                          <a:pt x="0" y="0"/>
                        </a:moveTo>
                        <a:lnTo>
                          <a:pt x="778" y="658"/>
                        </a:lnTo>
                        <a:lnTo>
                          <a:pt x="1196" y="837"/>
                        </a:lnTo>
                        <a:lnTo>
                          <a:pt x="2034" y="1136"/>
                        </a:lnTo>
                      </a:path>
                    </a:pathLst>
                  </a:custGeom>
                  <a:noFill/>
                  <a:ln w="6350" cap="flat">
                    <a:solidFill>
                      <a:schemeClr val="bg1">
                        <a:alpha val="40000"/>
                      </a:schemeClr>
                    </a:solidFill>
                    <a:prstDash val="solid"/>
                    <a:miter/>
                  </a:ln>
                </p:spPr>
                <p:txBody>
                  <a:bodyPr rtlCol="0" anchor="ctr"/>
                  <a:lstStyle/>
                  <a:p>
                    <a:endParaRPr lang="en-GB"/>
                  </a:p>
                </p:txBody>
              </p:sp>
              <p:sp>
                <p:nvSpPr>
                  <p:cNvPr id="7884" name="Vrije vorm: vorm 7883">
                    <a:extLst>
                      <a:ext uri="{FF2B5EF4-FFF2-40B4-BE49-F238E27FC236}">
                        <a16:creationId xmlns:a16="http://schemas.microsoft.com/office/drawing/2014/main" id="{32E6BFB3-FC15-431F-B2A5-7869F63D925D}"/>
                      </a:ext>
                    </a:extLst>
                  </p:cNvPr>
                  <p:cNvSpPr/>
                  <p:nvPr/>
                </p:nvSpPr>
                <p:spPr>
                  <a:xfrm>
                    <a:off x="5867287" y="5200158"/>
                    <a:ext cx="1734" cy="4844"/>
                  </a:xfrm>
                  <a:custGeom>
                    <a:avLst/>
                    <a:gdLst>
                      <a:gd name="connsiteX0" fmla="*/ 478 w 1734"/>
                      <a:gd name="connsiteY0" fmla="*/ 0 h 4844"/>
                      <a:gd name="connsiteX1" fmla="*/ 239 w 1734"/>
                      <a:gd name="connsiteY1" fmla="*/ 897 h 4844"/>
                      <a:gd name="connsiteX2" fmla="*/ 60 w 1734"/>
                      <a:gd name="connsiteY2" fmla="*/ 1734 h 4844"/>
                      <a:gd name="connsiteX3" fmla="*/ 0 w 1734"/>
                      <a:gd name="connsiteY3" fmla="*/ 2452 h 4844"/>
                      <a:gd name="connsiteX4" fmla="*/ 60 w 1734"/>
                      <a:gd name="connsiteY4" fmla="*/ 3050 h 4844"/>
                      <a:gd name="connsiteX5" fmla="*/ 119 w 1734"/>
                      <a:gd name="connsiteY5" fmla="*/ 3349 h 4844"/>
                      <a:gd name="connsiteX6" fmla="*/ 179 w 1734"/>
                      <a:gd name="connsiteY6" fmla="*/ 3528 h 4844"/>
                      <a:gd name="connsiteX7" fmla="*/ 419 w 1734"/>
                      <a:gd name="connsiteY7" fmla="*/ 3827 h 4844"/>
                      <a:gd name="connsiteX8" fmla="*/ 1734 w 1734"/>
                      <a:gd name="connsiteY8" fmla="*/ 4844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4" h="4844">
                        <a:moveTo>
                          <a:pt x="478" y="0"/>
                        </a:moveTo>
                        <a:lnTo>
                          <a:pt x="239" y="897"/>
                        </a:lnTo>
                        <a:lnTo>
                          <a:pt x="60" y="1734"/>
                        </a:lnTo>
                        <a:lnTo>
                          <a:pt x="0" y="2452"/>
                        </a:lnTo>
                        <a:lnTo>
                          <a:pt x="60" y="3050"/>
                        </a:lnTo>
                        <a:lnTo>
                          <a:pt x="119" y="3349"/>
                        </a:lnTo>
                        <a:lnTo>
                          <a:pt x="179" y="3528"/>
                        </a:lnTo>
                        <a:lnTo>
                          <a:pt x="419" y="3827"/>
                        </a:lnTo>
                        <a:lnTo>
                          <a:pt x="1734" y="4844"/>
                        </a:lnTo>
                      </a:path>
                    </a:pathLst>
                  </a:custGeom>
                  <a:noFill/>
                  <a:ln w="6350" cap="flat">
                    <a:solidFill>
                      <a:schemeClr val="bg1">
                        <a:alpha val="40000"/>
                      </a:schemeClr>
                    </a:solidFill>
                    <a:prstDash val="solid"/>
                    <a:miter/>
                  </a:ln>
                </p:spPr>
                <p:txBody>
                  <a:bodyPr rtlCol="0" anchor="ctr"/>
                  <a:lstStyle/>
                  <a:p>
                    <a:endParaRPr lang="en-GB"/>
                  </a:p>
                </p:txBody>
              </p:sp>
              <p:sp>
                <p:nvSpPr>
                  <p:cNvPr id="7885" name="Vrije vorm: vorm 7884">
                    <a:extLst>
                      <a:ext uri="{FF2B5EF4-FFF2-40B4-BE49-F238E27FC236}">
                        <a16:creationId xmlns:a16="http://schemas.microsoft.com/office/drawing/2014/main" id="{B1BF0309-F59B-4CB2-A5F0-6B493CBB530D}"/>
                      </a:ext>
                    </a:extLst>
                  </p:cNvPr>
                  <p:cNvSpPr/>
                  <p:nvPr/>
                </p:nvSpPr>
                <p:spPr>
                  <a:xfrm>
                    <a:off x="5866390" y="5180840"/>
                    <a:ext cx="11243" cy="22068"/>
                  </a:xfrm>
                  <a:custGeom>
                    <a:avLst/>
                    <a:gdLst>
                      <a:gd name="connsiteX0" fmla="*/ 0 w 11243"/>
                      <a:gd name="connsiteY0" fmla="*/ 22069 h 22068"/>
                      <a:gd name="connsiteX1" fmla="*/ 359 w 11243"/>
                      <a:gd name="connsiteY1" fmla="*/ 21351 h 22068"/>
                      <a:gd name="connsiteX2" fmla="*/ 1375 w 11243"/>
                      <a:gd name="connsiteY2" fmla="*/ 19318 h 22068"/>
                      <a:gd name="connsiteX3" fmla="*/ 3170 w 11243"/>
                      <a:gd name="connsiteY3" fmla="*/ 15789 h 22068"/>
                      <a:gd name="connsiteX4" fmla="*/ 4964 w 11243"/>
                      <a:gd name="connsiteY4" fmla="*/ 12260 h 22068"/>
                      <a:gd name="connsiteX5" fmla="*/ 6758 w 11243"/>
                      <a:gd name="connsiteY5" fmla="*/ 8732 h 22068"/>
                      <a:gd name="connsiteX6" fmla="*/ 8493 w 11243"/>
                      <a:gd name="connsiteY6" fmla="*/ 5323 h 22068"/>
                      <a:gd name="connsiteX7" fmla="*/ 10287 w 11243"/>
                      <a:gd name="connsiteY7" fmla="*/ 1794 h 22068"/>
                      <a:gd name="connsiteX8" fmla="*/ 10885 w 11243"/>
                      <a:gd name="connsiteY8" fmla="*/ 658 h 22068"/>
                      <a:gd name="connsiteX9" fmla="*/ 11244 w 11243"/>
                      <a:gd name="connsiteY9" fmla="*/ 0 h 22068"/>
                      <a:gd name="connsiteX10" fmla="*/ 10885 w 11243"/>
                      <a:gd name="connsiteY10" fmla="*/ 658 h 22068"/>
                      <a:gd name="connsiteX11" fmla="*/ 9091 w 11243"/>
                      <a:gd name="connsiteY11" fmla="*/ 4187 h 22068"/>
                      <a:gd name="connsiteX12" fmla="*/ 7297 w 11243"/>
                      <a:gd name="connsiteY12" fmla="*/ 7715 h 22068"/>
                      <a:gd name="connsiteX13" fmla="*/ 5502 w 11243"/>
                      <a:gd name="connsiteY13" fmla="*/ 11244 h 22068"/>
                      <a:gd name="connsiteX14" fmla="*/ 3708 w 11243"/>
                      <a:gd name="connsiteY14" fmla="*/ 14773 h 22068"/>
                      <a:gd name="connsiteX15" fmla="*/ 1914 w 11243"/>
                      <a:gd name="connsiteY15" fmla="*/ 18301 h 22068"/>
                      <a:gd name="connsiteX16" fmla="*/ 419 w 11243"/>
                      <a:gd name="connsiteY16" fmla="*/ 21291 h 22068"/>
                      <a:gd name="connsiteX17" fmla="*/ 0 w 11243"/>
                      <a:gd name="connsiteY17" fmla="*/ 22069 h 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243" h="22068">
                        <a:moveTo>
                          <a:pt x="0" y="22069"/>
                        </a:moveTo>
                        <a:lnTo>
                          <a:pt x="359" y="21351"/>
                        </a:lnTo>
                        <a:lnTo>
                          <a:pt x="1375" y="19318"/>
                        </a:lnTo>
                        <a:lnTo>
                          <a:pt x="3170" y="15789"/>
                        </a:lnTo>
                        <a:lnTo>
                          <a:pt x="4964" y="12260"/>
                        </a:lnTo>
                        <a:lnTo>
                          <a:pt x="6758" y="8732"/>
                        </a:lnTo>
                        <a:lnTo>
                          <a:pt x="8493" y="5323"/>
                        </a:lnTo>
                        <a:lnTo>
                          <a:pt x="10287" y="1794"/>
                        </a:lnTo>
                        <a:lnTo>
                          <a:pt x="10885" y="658"/>
                        </a:lnTo>
                        <a:lnTo>
                          <a:pt x="11244" y="0"/>
                        </a:lnTo>
                        <a:lnTo>
                          <a:pt x="10885" y="658"/>
                        </a:lnTo>
                        <a:lnTo>
                          <a:pt x="9091" y="4187"/>
                        </a:lnTo>
                        <a:lnTo>
                          <a:pt x="7297" y="7715"/>
                        </a:lnTo>
                        <a:lnTo>
                          <a:pt x="5502" y="11244"/>
                        </a:lnTo>
                        <a:lnTo>
                          <a:pt x="3708" y="14773"/>
                        </a:lnTo>
                        <a:lnTo>
                          <a:pt x="1914" y="18301"/>
                        </a:lnTo>
                        <a:lnTo>
                          <a:pt x="419" y="21291"/>
                        </a:lnTo>
                        <a:lnTo>
                          <a:pt x="0" y="22069"/>
                        </a:lnTo>
                      </a:path>
                    </a:pathLst>
                  </a:custGeom>
                  <a:noFill/>
                  <a:ln w="6350" cap="flat">
                    <a:solidFill>
                      <a:schemeClr val="bg1">
                        <a:alpha val="40000"/>
                      </a:schemeClr>
                    </a:solidFill>
                    <a:prstDash val="solid"/>
                    <a:miter/>
                  </a:ln>
                </p:spPr>
                <p:txBody>
                  <a:bodyPr rtlCol="0" anchor="ctr"/>
                  <a:lstStyle/>
                  <a:p>
                    <a:endParaRPr lang="en-GB"/>
                  </a:p>
                </p:txBody>
              </p:sp>
              <p:sp>
                <p:nvSpPr>
                  <p:cNvPr id="7886" name="Vrije vorm: vorm 7885">
                    <a:extLst>
                      <a:ext uri="{FF2B5EF4-FFF2-40B4-BE49-F238E27FC236}">
                        <a16:creationId xmlns:a16="http://schemas.microsoft.com/office/drawing/2014/main" id="{AFC359C2-8DFA-42C1-8125-B2EF6108EA69}"/>
                      </a:ext>
                    </a:extLst>
                  </p:cNvPr>
                  <p:cNvSpPr/>
                  <p:nvPr/>
                </p:nvSpPr>
                <p:spPr>
                  <a:xfrm>
                    <a:off x="5868962" y="5182814"/>
                    <a:ext cx="11423" cy="21949"/>
                  </a:xfrm>
                  <a:custGeom>
                    <a:avLst/>
                    <a:gdLst>
                      <a:gd name="connsiteX0" fmla="*/ 11124 w 11423"/>
                      <a:gd name="connsiteY0" fmla="*/ 658 h 21949"/>
                      <a:gd name="connsiteX1" fmla="*/ 11005 w 11423"/>
                      <a:gd name="connsiteY1" fmla="*/ 598 h 21949"/>
                      <a:gd name="connsiteX2" fmla="*/ 11005 w 11423"/>
                      <a:gd name="connsiteY2" fmla="*/ 598 h 21949"/>
                      <a:gd name="connsiteX3" fmla="*/ 10706 w 11423"/>
                      <a:gd name="connsiteY3" fmla="*/ 479 h 21949"/>
                      <a:gd name="connsiteX4" fmla="*/ 10167 w 11423"/>
                      <a:gd name="connsiteY4" fmla="*/ 658 h 21949"/>
                      <a:gd name="connsiteX5" fmla="*/ 9868 w 11423"/>
                      <a:gd name="connsiteY5" fmla="*/ 897 h 21949"/>
                      <a:gd name="connsiteX6" fmla="*/ 9808 w 11423"/>
                      <a:gd name="connsiteY6" fmla="*/ 957 h 21949"/>
                      <a:gd name="connsiteX7" fmla="*/ 9569 w 11423"/>
                      <a:gd name="connsiteY7" fmla="*/ 1136 h 21949"/>
                      <a:gd name="connsiteX8" fmla="*/ 8911 w 11423"/>
                      <a:gd name="connsiteY8" fmla="*/ 1914 h 21949"/>
                      <a:gd name="connsiteX9" fmla="*/ 8253 w 11423"/>
                      <a:gd name="connsiteY9" fmla="*/ 2871 h 21949"/>
                      <a:gd name="connsiteX10" fmla="*/ 7596 w 11423"/>
                      <a:gd name="connsiteY10" fmla="*/ 4007 h 21949"/>
                      <a:gd name="connsiteX11" fmla="*/ 5801 w 11423"/>
                      <a:gd name="connsiteY11" fmla="*/ 7536 h 21949"/>
                      <a:gd name="connsiteX12" fmla="*/ 4007 w 11423"/>
                      <a:gd name="connsiteY12" fmla="*/ 11064 h 21949"/>
                      <a:gd name="connsiteX13" fmla="*/ 2213 w 11423"/>
                      <a:gd name="connsiteY13" fmla="*/ 14593 h 21949"/>
                      <a:gd name="connsiteX14" fmla="*/ 479 w 11423"/>
                      <a:gd name="connsiteY14" fmla="*/ 18002 h 21949"/>
                      <a:gd name="connsiteX15" fmla="*/ 239 w 11423"/>
                      <a:gd name="connsiteY15" fmla="*/ 18899 h 21949"/>
                      <a:gd name="connsiteX16" fmla="*/ 60 w 11423"/>
                      <a:gd name="connsiteY16" fmla="*/ 19736 h 21949"/>
                      <a:gd name="connsiteX17" fmla="*/ 0 w 11423"/>
                      <a:gd name="connsiteY17" fmla="*/ 20454 h 21949"/>
                      <a:gd name="connsiteX18" fmla="*/ 60 w 11423"/>
                      <a:gd name="connsiteY18" fmla="*/ 20873 h 21949"/>
                      <a:gd name="connsiteX19" fmla="*/ 60 w 11423"/>
                      <a:gd name="connsiteY19" fmla="*/ 21052 h 21949"/>
                      <a:gd name="connsiteX20" fmla="*/ 180 w 11423"/>
                      <a:gd name="connsiteY20" fmla="*/ 21530 h 21949"/>
                      <a:gd name="connsiteX21" fmla="*/ 299 w 11423"/>
                      <a:gd name="connsiteY21" fmla="*/ 21710 h 21949"/>
                      <a:gd name="connsiteX22" fmla="*/ 299 w 11423"/>
                      <a:gd name="connsiteY22" fmla="*/ 21710 h 21949"/>
                      <a:gd name="connsiteX23" fmla="*/ 359 w 11423"/>
                      <a:gd name="connsiteY23" fmla="*/ 21830 h 21949"/>
                      <a:gd name="connsiteX24" fmla="*/ 658 w 11423"/>
                      <a:gd name="connsiteY24" fmla="*/ 21949 h 21949"/>
                      <a:gd name="connsiteX25" fmla="*/ 1017 w 11423"/>
                      <a:gd name="connsiteY25" fmla="*/ 21889 h 21949"/>
                      <a:gd name="connsiteX26" fmla="*/ 1495 w 11423"/>
                      <a:gd name="connsiteY26" fmla="*/ 21650 h 21949"/>
                      <a:gd name="connsiteX27" fmla="*/ 1974 w 11423"/>
                      <a:gd name="connsiteY27" fmla="*/ 21291 h 21949"/>
                      <a:gd name="connsiteX28" fmla="*/ 2512 w 11423"/>
                      <a:gd name="connsiteY28" fmla="*/ 20753 h 21949"/>
                      <a:gd name="connsiteX29" fmla="*/ 3050 w 11423"/>
                      <a:gd name="connsiteY29" fmla="*/ 20095 h 21949"/>
                      <a:gd name="connsiteX30" fmla="*/ 4545 w 11423"/>
                      <a:gd name="connsiteY30" fmla="*/ 17165 h 21949"/>
                      <a:gd name="connsiteX31" fmla="*/ 6340 w 11423"/>
                      <a:gd name="connsiteY31" fmla="*/ 13636 h 21949"/>
                      <a:gd name="connsiteX32" fmla="*/ 8134 w 11423"/>
                      <a:gd name="connsiteY32" fmla="*/ 10107 h 21949"/>
                      <a:gd name="connsiteX33" fmla="*/ 9928 w 11423"/>
                      <a:gd name="connsiteY33" fmla="*/ 6579 h 21949"/>
                      <a:gd name="connsiteX34" fmla="*/ 10107 w 11423"/>
                      <a:gd name="connsiteY34" fmla="*/ 6220 h 21949"/>
                      <a:gd name="connsiteX35" fmla="*/ 10646 w 11423"/>
                      <a:gd name="connsiteY35" fmla="*/ 5024 h 21949"/>
                      <a:gd name="connsiteX36" fmla="*/ 11065 w 11423"/>
                      <a:gd name="connsiteY36" fmla="*/ 3828 h 21949"/>
                      <a:gd name="connsiteX37" fmla="*/ 11304 w 11423"/>
                      <a:gd name="connsiteY37" fmla="*/ 2751 h 21949"/>
                      <a:gd name="connsiteX38" fmla="*/ 11423 w 11423"/>
                      <a:gd name="connsiteY38" fmla="*/ 1794 h 21949"/>
                      <a:gd name="connsiteX39" fmla="*/ 11364 w 11423"/>
                      <a:gd name="connsiteY39" fmla="*/ 1076 h 21949"/>
                      <a:gd name="connsiteX40" fmla="*/ 11124 w 11423"/>
                      <a:gd name="connsiteY40" fmla="*/ 658 h 21949"/>
                      <a:gd name="connsiteX41" fmla="*/ 11005 w 11423"/>
                      <a:gd name="connsiteY41" fmla="*/ 598 h 21949"/>
                      <a:gd name="connsiteX42" fmla="*/ 11005 w 11423"/>
                      <a:gd name="connsiteY42" fmla="*/ 598 h 21949"/>
                      <a:gd name="connsiteX43" fmla="*/ 10167 w 11423"/>
                      <a:gd name="connsiteY43" fmla="*/ 299 h 21949"/>
                      <a:gd name="connsiteX44" fmla="*/ 9450 w 11423"/>
                      <a:gd name="connsiteY44" fmla="*/ 0 h 2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23" h="21949">
                        <a:moveTo>
                          <a:pt x="11124" y="658"/>
                        </a:moveTo>
                        <a:lnTo>
                          <a:pt x="11005" y="598"/>
                        </a:lnTo>
                        <a:lnTo>
                          <a:pt x="11005" y="598"/>
                        </a:lnTo>
                        <a:lnTo>
                          <a:pt x="10706" y="479"/>
                        </a:lnTo>
                        <a:lnTo>
                          <a:pt x="10167" y="658"/>
                        </a:lnTo>
                        <a:lnTo>
                          <a:pt x="9868" y="897"/>
                        </a:lnTo>
                        <a:lnTo>
                          <a:pt x="9808" y="957"/>
                        </a:lnTo>
                        <a:lnTo>
                          <a:pt x="9569" y="1136"/>
                        </a:lnTo>
                        <a:lnTo>
                          <a:pt x="8911" y="1914"/>
                        </a:lnTo>
                        <a:lnTo>
                          <a:pt x="8253" y="2871"/>
                        </a:lnTo>
                        <a:lnTo>
                          <a:pt x="7596" y="4007"/>
                        </a:lnTo>
                        <a:lnTo>
                          <a:pt x="5801" y="7536"/>
                        </a:lnTo>
                        <a:lnTo>
                          <a:pt x="4007" y="11064"/>
                        </a:lnTo>
                        <a:lnTo>
                          <a:pt x="2213" y="14593"/>
                        </a:lnTo>
                        <a:lnTo>
                          <a:pt x="479" y="18002"/>
                        </a:lnTo>
                        <a:lnTo>
                          <a:pt x="239" y="18899"/>
                        </a:lnTo>
                        <a:lnTo>
                          <a:pt x="60" y="19736"/>
                        </a:lnTo>
                        <a:lnTo>
                          <a:pt x="0" y="20454"/>
                        </a:lnTo>
                        <a:lnTo>
                          <a:pt x="60" y="20873"/>
                        </a:lnTo>
                        <a:lnTo>
                          <a:pt x="60" y="21052"/>
                        </a:lnTo>
                        <a:lnTo>
                          <a:pt x="180" y="21530"/>
                        </a:lnTo>
                        <a:lnTo>
                          <a:pt x="299" y="21710"/>
                        </a:lnTo>
                        <a:lnTo>
                          <a:pt x="299" y="21710"/>
                        </a:lnTo>
                        <a:lnTo>
                          <a:pt x="359" y="21830"/>
                        </a:lnTo>
                        <a:lnTo>
                          <a:pt x="658" y="21949"/>
                        </a:lnTo>
                        <a:lnTo>
                          <a:pt x="1017" y="21889"/>
                        </a:lnTo>
                        <a:lnTo>
                          <a:pt x="1495" y="21650"/>
                        </a:lnTo>
                        <a:lnTo>
                          <a:pt x="1974" y="21291"/>
                        </a:lnTo>
                        <a:lnTo>
                          <a:pt x="2512" y="20753"/>
                        </a:lnTo>
                        <a:lnTo>
                          <a:pt x="3050" y="20095"/>
                        </a:lnTo>
                        <a:lnTo>
                          <a:pt x="4545" y="17165"/>
                        </a:lnTo>
                        <a:lnTo>
                          <a:pt x="6340" y="13636"/>
                        </a:lnTo>
                        <a:lnTo>
                          <a:pt x="8134" y="10107"/>
                        </a:lnTo>
                        <a:lnTo>
                          <a:pt x="9928" y="6579"/>
                        </a:lnTo>
                        <a:lnTo>
                          <a:pt x="10107" y="6220"/>
                        </a:lnTo>
                        <a:lnTo>
                          <a:pt x="10646" y="5024"/>
                        </a:lnTo>
                        <a:lnTo>
                          <a:pt x="11065" y="3828"/>
                        </a:lnTo>
                        <a:lnTo>
                          <a:pt x="11304" y="2751"/>
                        </a:lnTo>
                        <a:lnTo>
                          <a:pt x="11423" y="1794"/>
                        </a:lnTo>
                        <a:lnTo>
                          <a:pt x="11364" y="1076"/>
                        </a:lnTo>
                        <a:lnTo>
                          <a:pt x="11124" y="658"/>
                        </a:lnTo>
                        <a:lnTo>
                          <a:pt x="11005" y="598"/>
                        </a:lnTo>
                        <a:lnTo>
                          <a:pt x="11005" y="598"/>
                        </a:lnTo>
                        <a:lnTo>
                          <a:pt x="10167" y="299"/>
                        </a:lnTo>
                        <a:lnTo>
                          <a:pt x="9450" y="0"/>
                        </a:lnTo>
                      </a:path>
                    </a:pathLst>
                  </a:custGeom>
                  <a:noFill/>
                  <a:ln w="6350" cap="flat">
                    <a:solidFill>
                      <a:schemeClr val="bg1">
                        <a:alpha val="40000"/>
                      </a:schemeClr>
                    </a:solidFill>
                    <a:prstDash val="solid"/>
                    <a:miter/>
                  </a:ln>
                </p:spPr>
                <p:txBody>
                  <a:bodyPr rtlCol="0" anchor="ctr"/>
                  <a:lstStyle/>
                  <a:p>
                    <a:endParaRPr lang="en-GB"/>
                  </a:p>
                </p:txBody>
              </p:sp>
              <p:sp>
                <p:nvSpPr>
                  <p:cNvPr id="7887" name="Vrije vorm: vorm 7886">
                    <a:extLst>
                      <a:ext uri="{FF2B5EF4-FFF2-40B4-BE49-F238E27FC236}">
                        <a16:creationId xmlns:a16="http://schemas.microsoft.com/office/drawing/2014/main" id="{5A1170A5-5691-43B2-BCA2-5497635AFA7E}"/>
                      </a:ext>
                    </a:extLst>
                  </p:cNvPr>
                  <p:cNvSpPr/>
                  <p:nvPr/>
                </p:nvSpPr>
                <p:spPr>
                  <a:xfrm>
                    <a:off x="5869081" y="5204524"/>
                    <a:ext cx="179" cy="358"/>
                  </a:xfrm>
                  <a:custGeom>
                    <a:avLst/>
                    <a:gdLst>
                      <a:gd name="connsiteX0" fmla="*/ 179 w 179"/>
                      <a:gd name="connsiteY0" fmla="*/ 0 h 358"/>
                      <a:gd name="connsiteX1" fmla="*/ 0 w 179"/>
                      <a:gd name="connsiteY1" fmla="*/ 359 h 358"/>
                      <a:gd name="connsiteX2" fmla="*/ 179 w 179"/>
                      <a:gd name="connsiteY2" fmla="*/ 0 h 358"/>
                    </a:gdLst>
                    <a:ahLst/>
                    <a:cxnLst>
                      <a:cxn ang="0">
                        <a:pos x="connsiteX0" y="connsiteY0"/>
                      </a:cxn>
                      <a:cxn ang="0">
                        <a:pos x="connsiteX1" y="connsiteY1"/>
                      </a:cxn>
                      <a:cxn ang="0">
                        <a:pos x="connsiteX2" y="connsiteY2"/>
                      </a:cxn>
                    </a:cxnLst>
                    <a:rect l="l" t="t" r="r" b="b"/>
                    <a:pathLst>
                      <a:path w="179" h="358">
                        <a:moveTo>
                          <a:pt x="179" y="0"/>
                        </a:moveTo>
                        <a:lnTo>
                          <a:pt x="0" y="359"/>
                        </a:lnTo>
                        <a:lnTo>
                          <a:pt x="179" y="0"/>
                        </a:lnTo>
                      </a:path>
                    </a:pathLst>
                  </a:custGeom>
                  <a:noFill/>
                  <a:ln w="6350" cap="flat">
                    <a:solidFill>
                      <a:schemeClr val="bg1">
                        <a:alpha val="40000"/>
                      </a:schemeClr>
                    </a:solidFill>
                    <a:prstDash val="solid"/>
                    <a:miter/>
                  </a:ln>
                </p:spPr>
                <p:txBody>
                  <a:bodyPr rtlCol="0" anchor="ctr"/>
                  <a:lstStyle/>
                  <a:p>
                    <a:endParaRPr lang="en-GB"/>
                  </a:p>
                </p:txBody>
              </p:sp>
              <p:sp>
                <p:nvSpPr>
                  <p:cNvPr id="7888" name="Vrije vorm: vorm 7887">
                    <a:extLst>
                      <a:ext uri="{FF2B5EF4-FFF2-40B4-BE49-F238E27FC236}">
                        <a16:creationId xmlns:a16="http://schemas.microsoft.com/office/drawing/2014/main" id="{F361851A-A4CE-4770-8CA9-82AF92F55DA9}"/>
                      </a:ext>
                    </a:extLst>
                  </p:cNvPr>
                  <p:cNvSpPr/>
                  <p:nvPr/>
                </p:nvSpPr>
                <p:spPr>
                  <a:xfrm>
                    <a:off x="5879966" y="5183113"/>
                    <a:ext cx="119" cy="298"/>
                  </a:xfrm>
                  <a:custGeom>
                    <a:avLst/>
                    <a:gdLst>
                      <a:gd name="connsiteX0" fmla="*/ 0 w 119"/>
                      <a:gd name="connsiteY0" fmla="*/ 299 h 298"/>
                      <a:gd name="connsiteX1" fmla="*/ 119 w 119"/>
                      <a:gd name="connsiteY1" fmla="*/ 0 h 298"/>
                      <a:gd name="connsiteX2" fmla="*/ 0 w 119"/>
                      <a:gd name="connsiteY2" fmla="*/ 299 h 298"/>
                    </a:gdLst>
                    <a:ahLst/>
                    <a:cxnLst>
                      <a:cxn ang="0">
                        <a:pos x="connsiteX0" y="connsiteY0"/>
                      </a:cxn>
                      <a:cxn ang="0">
                        <a:pos x="connsiteX1" y="connsiteY1"/>
                      </a:cxn>
                      <a:cxn ang="0">
                        <a:pos x="connsiteX2" y="connsiteY2"/>
                      </a:cxn>
                    </a:cxnLst>
                    <a:rect l="l" t="t" r="r" b="b"/>
                    <a:pathLst>
                      <a:path w="119" h="298">
                        <a:moveTo>
                          <a:pt x="0" y="299"/>
                        </a:moveTo>
                        <a:lnTo>
                          <a:pt x="119" y="0"/>
                        </a:lnTo>
                        <a:lnTo>
                          <a:pt x="0" y="299"/>
                        </a:lnTo>
                      </a:path>
                    </a:pathLst>
                  </a:custGeom>
                  <a:noFill/>
                  <a:ln w="6350" cap="flat">
                    <a:solidFill>
                      <a:schemeClr val="bg1">
                        <a:alpha val="40000"/>
                      </a:schemeClr>
                    </a:solidFill>
                    <a:prstDash val="solid"/>
                    <a:miter/>
                  </a:ln>
                </p:spPr>
                <p:txBody>
                  <a:bodyPr rtlCol="0" anchor="ctr"/>
                  <a:lstStyle/>
                  <a:p>
                    <a:endParaRPr lang="en-GB"/>
                  </a:p>
                </p:txBody>
              </p:sp>
              <p:sp>
                <p:nvSpPr>
                  <p:cNvPr id="7889" name="Vrije vorm: vorm 7888">
                    <a:extLst>
                      <a:ext uri="{FF2B5EF4-FFF2-40B4-BE49-F238E27FC236}">
                        <a16:creationId xmlns:a16="http://schemas.microsoft.com/office/drawing/2014/main" id="{B7B68FC9-D834-4777-B4BB-17D9DD32E9BC}"/>
                      </a:ext>
                    </a:extLst>
                  </p:cNvPr>
                  <p:cNvSpPr/>
                  <p:nvPr/>
                </p:nvSpPr>
                <p:spPr>
                  <a:xfrm>
                    <a:off x="5874823" y="5182694"/>
                    <a:ext cx="3588" cy="3528"/>
                  </a:xfrm>
                  <a:custGeom>
                    <a:avLst/>
                    <a:gdLst>
                      <a:gd name="connsiteX0" fmla="*/ 3588 w 3588"/>
                      <a:gd name="connsiteY0" fmla="*/ 120 h 3528"/>
                      <a:gd name="connsiteX1" fmla="*/ 3170 w 3588"/>
                      <a:gd name="connsiteY1" fmla="*/ 0 h 3528"/>
                      <a:gd name="connsiteX2" fmla="*/ 3110 w 3588"/>
                      <a:gd name="connsiteY2" fmla="*/ 0 h 3528"/>
                      <a:gd name="connsiteX3" fmla="*/ 2632 w 3588"/>
                      <a:gd name="connsiteY3" fmla="*/ 180 h 3528"/>
                      <a:gd name="connsiteX4" fmla="*/ 1973 w 3588"/>
                      <a:gd name="connsiteY4" fmla="*/ 658 h 3528"/>
                      <a:gd name="connsiteX5" fmla="*/ 1316 w 3588"/>
                      <a:gd name="connsiteY5" fmla="*/ 1435 h 3528"/>
                      <a:gd name="connsiteX6" fmla="*/ 658 w 3588"/>
                      <a:gd name="connsiteY6" fmla="*/ 2392 h 3528"/>
                      <a:gd name="connsiteX7" fmla="*/ 0 w 3588"/>
                      <a:gd name="connsiteY7" fmla="*/ 3529 h 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8" h="3528">
                        <a:moveTo>
                          <a:pt x="3588" y="120"/>
                        </a:moveTo>
                        <a:lnTo>
                          <a:pt x="3170" y="0"/>
                        </a:lnTo>
                        <a:lnTo>
                          <a:pt x="3110" y="0"/>
                        </a:lnTo>
                        <a:lnTo>
                          <a:pt x="2632" y="180"/>
                        </a:lnTo>
                        <a:lnTo>
                          <a:pt x="1973" y="658"/>
                        </a:lnTo>
                        <a:lnTo>
                          <a:pt x="1316" y="1435"/>
                        </a:lnTo>
                        <a:lnTo>
                          <a:pt x="658" y="2392"/>
                        </a:lnTo>
                        <a:lnTo>
                          <a:pt x="0" y="3529"/>
                        </a:lnTo>
                      </a:path>
                    </a:pathLst>
                  </a:custGeom>
                  <a:noFill/>
                  <a:ln w="6350" cap="flat">
                    <a:solidFill>
                      <a:schemeClr val="bg1">
                        <a:alpha val="40000"/>
                      </a:schemeClr>
                    </a:solidFill>
                    <a:prstDash val="solid"/>
                    <a:miter/>
                  </a:ln>
                </p:spPr>
                <p:txBody>
                  <a:bodyPr rtlCol="0" anchor="ctr"/>
                  <a:lstStyle/>
                  <a:p>
                    <a:endParaRPr lang="en-GB"/>
                  </a:p>
                </p:txBody>
              </p:sp>
              <p:sp>
                <p:nvSpPr>
                  <p:cNvPr id="7890" name="Vrije vorm: vorm 7889">
                    <a:extLst>
                      <a:ext uri="{FF2B5EF4-FFF2-40B4-BE49-F238E27FC236}">
                        <a16:creationId xmlns:a16="http://schemas.microsoft.com/office/drawing/2014/main" id="{75DCE9DE-3CE3-419F-92F2-28D3E8810CF5}"/>
                      </a:ext>
                    </a:extLst>
                  </p:cNvPr>
                  <p:cNvSpPr/>
                  <p:nvPr/>
                </p:nvSpPr>
                <p:spPr>
                  <a:xfrm>
                    <a:off x="5867706" y="5203866"/>
                    <a:ext cx="1614" cy="717"/>
                  </a:xfrm>
                  <a:custGeom>
                    <a:avLst/>
                    <a:gdLst>
                      <a:gd name="connsiteX0" fmla="*/ 1615 w 1614"/>
                      <a:gd name="connsiteY0" fmla="*/ 718 h 717"/>
                      <a:gd name="connsiteX1" fmla="*/ 1495 w 1614"/>
                      <a:gd name="connsiteY1" fmla="*/ 658 h 717"/>
                      <a:gd name="connsiteX2" fmla="*/ 1495 w 1614"/>
                      <a:gd name="connsiteY2" fmla="*/ 658 h 717"/>
                      <a:gd name="connsiteX3" fmla="*/ 0 w 1614"/>
                      <a:gd name="connsiteY3" fmla="*/ 0 h 717"/>
                    </a:gdLst>
                    <a:ahLst/>
                    <a:cxnLst>
                      <a:cxn ang="0">
                        <a:pos x="connsiteX0" y="connsiteY0"/>
                      </a:cxn>
                      <a:cxn ang="0">
                        <a:pos x="connsiteX1" y="connsiteY1"/>
                      </a:cxn>
                      <a:cxn ang="0">
                        <a:pos x="connsiteX2" y="connsiteY2"/>
                      </a:cxn>
                      <a:cxn ang="0">
                        <a:pos x="connsiteX3" y="connsiteY3"/>
                      </a:cxn>
                    </a:cxnLst>
                    <a:rect l="l" t="t" r="r" b="b"/>
                    <a:pathLst>
                      <a:path w="1614" h="717">
                        <a:moveTo>
                          <a:pt x="1615" y="718"/>
                        </a:moveTo>
                        <a:lnTo>
                          <a:pt x="1495" y="658"/>
                        </a:lnTo>
                        <a:lnTo>
                          <a:pt x="1495" y="658"/>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891" name="Vrije vorm: vorm 7890">
                    <a:extLst>
                      <a:ext uri="{FF2B5EF4-FFF2-40B4-BE49-F238E27FC236}">
                        <a16:creationId xmlns:a16="http://schemas.microsoft.com/office/drawing/2014/main" id="{4BAFF9B4-8025-4A13-BEAA-79B32F021D3E}"/>
                      </a:ext>
                    </a:extLst>
                  </p:cNvPr>
                  <p:cNvSpPr/>
                  <p:nvPr/>
                </p:nvSpPr>
                <p:spPr>
                  <a:xfrm>
                    <a:off x="5743665" y="5065233"/>
                    <a:ext cx="109327" cy="62797"/>
                  </a:xfrm>
                  <a:custGeom>
                    <a:avLst/>
                    <a:gdLst>
                      <a:gd name="connsiteX0" fmla="*/ 11722 w 109327"/>
                      <a:gd name="connsiteY0" fmla="*/ 22308 h 62797"/>
                      <a:gd name="connsiteX1" fmla="*/ 11722 w 109327"/>
                      <a:gd name="connsiteY1" fmla="*/ 22308 h 62797"/>
                      <a:gd name="connsiteX2" fmla="*/ 9629 w 109327"/>
                      <a:gd name="connsiteY2" fmla="*/ 20394 h 62797"/>
                      <a:gd name="connsiteX3" fmla="*/ 7536 w 109327"/>
                      <a:gd name="connsiteY3" fmla="*/ 18480 h 62797"/>
                      <a:gd name="connsiteX4" fmla="*/ 5443 w 109327"/>
                      <a:gd name="connsiteY4" fmla="*/ 16566 h 62797"/>
                      <a:gd name="connsiteX5" fmla="*/ 4725 w 109327"/>
                      <a:gd name="connsiteY5" fmla="*/ 15909 h 62797"/>
                      <a:gd name="connsiteX6" fmla="*/ 2990 w 109327"/>
                      <a:gd name="connsiteY6" fmla="*/ 13576 h 62797"/>
                      <a:gd name="connsiteX7" fmla="*/ 1256 w 109327"/>
                      <a:gd name="connsiteY7" fmla="*/ 11243 h 62797"/>
                      <a:gd name="connsiteX8" fmla="*/ 658 w 109327"/>
                      <a:gd name="connsiteY8" fmla="*/ 10466 h 62797"/>
                      <a:gd name="connsiteX9" fmla="*/ 538 w 109327"/>
                      <a:gd name="connsiteY9" fmla="*/ 9748 h 62797"/>
                      <a:gd name="connsiteX10" fmla="*/ 60 w 109327"/>
                      <a:gd name="connsiteY10" fmla="*/ 6639 h 62797"/>
                      <a:gd name="connsiteX11" fmla="*/ 0 w 109327"/>
                      <a:gd name="connsiteY11" fmla="*/ 6399 h 62797"/>
                      <a:gd name="connsiteX12" fmla="*/ 1555 w 109327"/>
                      <a:gd name="connsiteY12" fmla="*/ 3349 h 62797"/>
                      <a:gd name="connsiteX13" fmla="*/ 1914 w 109327"/>
                      <a:gd name="connsiteY13" fmla="*/ 2691 h 62797"/>
                      <a:gd name="connsiteX14" fmla="*/ 4426 w 109327"/>
                      <a:gd name="connsiteY14" fmla="*/ 777 h 62797"/>
                      <a:gd name="connsiteX15" fmla="*/ 5084 w 109327"/>
                      <a:gd name="connsiteY15" fmla="*/ 299 h 62797"/>
                      <a:gd name="connsiteX16" fmla="*/ 7954 w 109327"/>
                      <a:gd name="connsiteY16" fmla="*/ 179 h 62797"/>
                      <a:gd name="connsiteX17" fmla="*/ 10825 w 109327"/>
                      <a:gd name="connsiteY17" fmla="*/ 60 h 62797"/>
                      <a:gd name="connsiteX18" fmla="*/ 11961 w 109327"/>
                      <a:gd name="connsiteY18" fmla="*/ 0 h 62797"/>
                      <a:gd name="connsiteX19" fmla="*/ 14713 w 109327"/>
                      <a:gd name="connsiteY19" fmla="*/ 538 h 62797"/>
                      <a:gd name="connsiteX20" fmla="*/ 17464 w 109327"/>
                      <a:gd name="connsiteY20" fmla="*/ 1076 h 62797"/>
                      <a:gd name="connsiteX21" fmla="*/ 20215 w 109327"/>
                      <a:gd name="connsiteY21" fmla="*/ 1615 h 62797"/>
                      <a:gd name="connsiteX22" fmla="*/ 22308 w 109327"/>
                      <a:gd name="connsiteY22" fmla="*/ 2033 h 62797"/>
                      <a:gd name="connsiteX23" fmla="*/ 24940 w 109327"/>
                      <a:gd name="connsiteY23" fmla="*/ 2871 h 62797"/>
                      <a:gd name="connsiteX24" fmla="*/ 27571 w 109327"/>
                      <a:gd name="connsiteY24" fmla="*/ 3708 h 62797"/>
                      <a:gd name="connsiteX25" fmla="*/ 30203 w 109327"/>
                      <a:gd name="connsiteY25" fmla="*/ 4545 h 62797"/>
                      <a:gd name="connsiteX26" fmla="*/ 32834 w 109327"/>
                      <a:gd name="connsiteY26" fmla="*/ 5382 h 62797"/>
                      <a:gd name="connsiteX27" fmla="*/ 35466 w 109327"/>
                      <a:gd name="connsiteY27" fmla="*/ 6220 h 62797"/>
                      <a:gd name="connsiteX28" fmla="*/ 38038 w 109327"/>
                      <a:gd name="connsiteY28" fmla="*/ 7296 h 62797"/>
                      <a:gd name="connsiteX29" fmla="*/ 40609 w 109327"/>
                      <a:gd name="connsiteY29" fmla="*/ 8373 h 62797"/>
                      <a:gd name="connsiteX30" fmla="*/ 43181 w 109327"/>
                      <a:gd name="connsiteY30" fmla="*/ 9449 h 62797"/>
                      <a:gd name="connsiteX31" fmla="*/ 45753 w 109327"/>
                      <a:gd name="connsiteY31" fmla="*/ 10526 h 62797"/>
                      <a:gd name="connsiteX32" fmla="*/ 48324 w 109327"/>
                      <a:gd name="connsiteY32" fmla="*/ 11602 h 62797"/>
                      <a:gd name="connsiteX33" fmla="*/ 50477 w 109327"/>
                      <a:gd name="connsiteY33" fmla="*/ 12500 h 62797"/>
                      <a:gd name="connsiteX34" fmla="*/ 52989 w 109327"/>
                      <a:gd name="connsiteY34" fmla="*/ 13756 h 62797"/>
                      <a:gd name="connsiteX35" fmla="*/ 55501 w 109327"/>
                      <a:gd name="connsiteY35" fmla="*/ 15011 h 62797"/>
                      <a:gd name="connsiteX36" fmla="*/ 57355 w 109327"/>
                      <a:gd name="connsiteY36" fmla="*/ 15968 h 62797"/>
                      <a:gd name="connsiteX37" fmla="*/ 59867 w 109327"/>
                      <a:gd name="connsiteY37" fmla="*/ 17224 h 62797"/>
                      <a:gd name="connsiteX38" fmla="*/ 62379 w 109327"/>
                      <a:gd name="connsiteY38" fmla="*/ 18480 h 62797"/>
                      <a:gd name="connsiteX39" fmla="*/ 64891 w 109327"/>
                      <a:gd name="connsiteY39" fmla="*/ 19736 h 62797"/>
                      <a:gd name="connsiteX40" fmla="*/ 66087 w 109327"/>
                      <a:gd name="connsiteY40" fmla="*/ 20334 h 62797"/>
                      <a:gd name="connsiteX41" fmla="*/ 68479 w 109327"/>
                      <a:gd name="connsiteY41" fmla="*/ 21710 h 62797"/>
                      <a:gd name="connsiteX42" fmla="*/ 70872 w 109327"/>
                      <a:gd name="connsiteY42" fmla="*/ 23085 h 62797"/>
                      <a:gd name="connsiteX43" fmla="*/ 72606 w 109327"/>
                      <a:gd name="connsiteY43" fmla="*/ 24102 h 62797"/>
                      <a:gd name="connsiteX44" fmla="*/ 74998 w 109327"/>
                      <a:gd name="connsiteY44" fmla="*/ 25478 h 62797"/>
                      <a:gd name="connsiteX45" fmla="*/ 77391 w 109327"/>
                      <a:gd name="connsiteY45" fmla="*/ 26853 h 62797"/>
                      <a:gd name="connsiteX46" fmla="*/ 79783 w 109327"/>
                      <a:gd name="connsiteY46" fmla="*/ 28229 h 62797"/>
                      <a:gd name="connsiteX47" fmla="*/ 80561 w 109327"/>
                      <a:gd name="connsiteY47" fmla="*/ 28707 h 62797"/>
                      <a:gd name="connsiteX48" fmla="*/ 82833 w 109327"/>
                      <a:gd name="connsiteY48" fmla="*/ 30262 h 62797"/>
                      <a:gd name="connsiteX49" fmla="*/ 85106 w 109327"/>
                      <a:gd name="connsiteY49" fmla="*/ 31817 h 62797"/>
                      <a:gd name="connsiteX50" fmla="*/ 87379 w 109327"/>
                      <a:gd name="connsiteY50" fmla="*/ 33372 h 62797"/>
                      <a:gd name="connsiteX51" fmla="*/ 89651 w 109327"/>
                      <a:gd name="connsiteY51" fmla="*/ 34927 h 62797"/>
                      <a:gd name="connsiteX52" fmla="*/ 91924 w 109327"/>
                      <a:gd name="connsiteY52" fmla="*/ 36482 h 62797"/>
                      <a:gd name="connsiteX53" fmla="*/ 92761 w 109327"/>
                      <a:gd name="connsiteY53" fmla="*/ 37020 h 62797"/>
                      <a:gd name="connsiteX54" fmla="*/ 94914 w 109327"/>
                      <a:gd name="connsiteY54" fmla="*/ 38815 h 62797"/>
                      <a:gd name="connsiteX55" fmla="*/ 97067 w 109327"/>
                      <a:gd name="connsiteY55" fmla="*/ 40609 h 62797"/>
                      <a:gd name="connsiteX56" fmla="*/ 98921 w 109327"/>
                      <a:gd name="connsiteY56" fmla="*/ 42164 h 62797"/>
                      <a:gd name="connsiteX57" fmla="*/ 101074 w 109327"/>
                      <a:gd name="connsiteY57" fmla="*/ 43958 h 62797"/>
                      <a:gd name="connsiteX58" fmla="*/ 101912 w 109327"/>
                      <a:gd name="connsiteY58" fmla="*/ 44676 h 62797"/>
                      <a:gd name="connsiteX59" fmla="*/ 102988 w 109327"/>
                      <a:gd name="connsiteY59" fmla="*/ 45991 h 62797"/>
                      <a:gd name="connsiteX60" fmla="*/ 103287 w 109327"/>
                      <a:gd name="connsiteY60" fmla="*/ 46351 h 62797"/>
                      <a:gd name="connsiteX61" fmla="*/ 105141 w 109327"/>
                      <a:gd name="connsiteY61" fmla="*/ 48563 h 62797"/>
                      <a:gd name="connsiteX62" fmla="*/ 106995 w 109327"/>
                      <a:gd name="connsiteY62" fmla="*/ 50776 h 62797"/>
                      <a:gd name="connsiteX63" fmla="*/ 108849 w 109327"/>
                      <a:gd name="connsiteY63" fmla="*/ 52989 h 62797"/>
                      <a:gd name="connsiteX64" fmla="*/ 109328 w 109327"/>
                      <a:gd name="connsiteY64" fmla="*/ 53527 h 62797"/>
                      <a:gd name="connsiteX65" fmla="*/ 109328 w 109327"/>
                      <a:gd name="connsiteY65" fmla="*/ 53527 h 62797"/>
                      <a:gd name="connsiteX66" fmla="*/ 108849 w 109327"/>
                      <a:gd name="connsiteY66" fmla="*/ 56817 h 62797"/>
                      <a:gd name="connsiteX67" fmla="*/ 108670 w 109327"/>
                      <a:gd name="connsiteY67" fmla="*/ 58132 h 62797"/>
                      <a:gd name="connsiteX68" fmla="*/ 107354 w 109327"/>
                      <a:gd name="connsiteY68" fmla="*/ 60704 h 62797"/>
                      <a:gd name="connsiteX69" fmla="*/ 106816 w 109327"/>
                      <a:gd name="connsiteY69" fmla="*/ 61721 h 62797"/>
                      <a:gd name="connsiteX70" fmla="*/ 106756 w 109327"/>
                      <a:gd name="connsiteY70" fmla="*/ 61840 h 62797"/>
                      <a:gd name="connsiteX71" fmla="*/ 103826 w 109327"/>
                      <a:gd name="connsiteY71" fmla="*/ 62199 h 62797"/>
                      <a:gd name="connsiteX72" fmla="*/ 100895 w 109327"/>
                      <a:gd name="connsiteY72" fmla="*/ 62558 h 62797"/>
                      <a:gd name="connsiteX73" fmla="*/ 100357 w 109327"/>
                      <a:gd name="connsiteY73" fmla="*/ 62618 h 62797"/>
                      <a:gd name="connsiteX74" fmla="*/ 98921 w 109327"/>
                      <a:gd name="connsiteY74" fmla="*/ 62798 h 62797"/>
                      <a:gd name="connsiteX75" fmla="*/ 97067 w 109327"/>
                      <a:gd name="connsiteY75" fmla="*/ 62558 h 62797"/>
                      <a:gd name="connsiteX76" fmla="*/ 94256 w 109327"/>
                      <a:gd name="connsiteY76" fmla="*/ 62139 h 62797"/>
                      <a:gd name="connsiteX77" fmla="*/ 91445 w 109327"/>
                      <a:gd name="connsiteY77" fmla="*/ 61721 h 62797"/>
                      <a:gd name="connsiteX78" fmla="*/ 90668 w 109327"/>
                      <a:gd name="connsiteY78" fmla="*/ 61601 h 62797"/>
                      <a:gd name="connsiteX79" fmla="*/ 87977 w 109327"/>
                      <a:gd name="connsiteY79" fmla="*/ 60884 h 62797"/>
                      <a:gd name="connsiteX80" fmla="*/ 87797 w 109327"/>
                      <a:gd name="connsiteY80" fmla="*/ 60824 h 6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9327" h="62797">
                        <a:moveTo>
                          <a:pt x="11722" y="22308"/>
                        </a:moveTo>
                        <a:lnTo>
                          <a:pt x="11722" y="22308"/>
                        </a:lnTo>
                        <a:lnTo>
                          <a:pt x="9629" y="20394"/>
                        </a:lnTo>
                        <a:lnTo>
                          <a:pt x="7536" y="18480"/>
                        </a:lnTo>
                        <a:lnTo>
                          <a:pt x="5443" y="16566"/>
                        </a:lnTo>
                        <a:lnTo>
                          <a:pt x="4725" y="15909"/>
                        </a:lnTo>
                        <a:lnTo>
                          <a:pt x="2990" y="13576"/>
                        </a:lnTo>
                        <a:lnTo>
                          <a:pt x="1256" y="11243"/>
                        </a:lnTo>
                        <a:lnTo>
                          <a:pt x="658" y="10466"/>
                        </a:lnTo>
                        <a:lnTo>
                          <a:pt x="538" y="9748"/>
                        </a:lnTo>
                        <a:lnTo>
                          <a:pt x="60" y="6639"/>
                        </a:lnTo>
                        <a:lnTo>
                          <a:pt x="0" y="6399"/>
                        </a:lnTo>
                        <a:lnTo>
                          <a:pt x="1555" y="3349"/>
                        </a:lnTo>
                        <a:lnTo>
                          <a:pt x="1914" y="2691"/>
                        </a:lnTo>
                        <a:lnTo>
                          <a:pt x="4426" y="777"/>
                        </a:lnTo>
                        <a:lnTo>
                          <a:pt x="5084" y="299"/>
                        </a:lnTo>
                        <a:lnTo>
                          <a:pt x="7954" y="179"/>
                        </a:lnTo>
                        <a:lnTo>
                          <a:pt x="10825" y="60"/>
                        </a:lnTo>
                        <a:lnTo>
                          <a:pt x="11961" y="0"/>
                        </a:lnTo>
                        <a:lnTo>
                          <a:pt x="14713" y="538"/>
                        </a:lnTo>
                        <a:lnTo>
                          <a:pt x="17464" y="1076"/>
                        </a:lnTo>
                        <a:lnTo>
                          <a:pt x="20215" y="1615"/>
                        </a:lnTo>
                        <a:lnTo>
                          <a:pt x="22308" y="2033"/>
                        </a:lnTo>
                        <a:lnTo>
                          <a:pt x="24940" y="2871"/>
                        </a:lnTo>
                        <a:lnTo>
                          <a:pt x="27571" y="3708"/>
                        </a:lnTo>
                        <a:lnTo>
                          <a:pt x="30203" y="4545"/>
                        </a:lnTo>
                        <a:lnTo>
                          <a:pt x="32834" y="5382"/>
                        </a:lnTo>
                        <a:lnTo>
                          <a:pt x="35466" y="6220"/>
                        </a:lnTo>
                        <a:lnTo>
                          <a:pt x="38038" y="7296"/>
                        </a:lnTo>
                        <a:lnTo>
                          <a:pt x="40609" y="8373"/>
                        </a:lnTo>
                        <a:lnTo>
                          <a:pt x="43181" y="9449"/>
                        </a:lnTo>
                        <a:lnTo>
                          <a:pt x="45753" y="10526"/>
                        </a:lnTo>
                        <a:lnTo>
                          <a:pt x="48324" y="11602"/>
                        </a:lnTo>
                        <a:lnTo>
                          <a:pt x="50477" y="12500"/>
                        </a:lnTo>
                        <a:lnTo>
                          <a:pt x="52989" y="13756"/>
                        </a:lnTo>
                        <a:lnTo>
                          <a:pt x="55501" y="15011"/>
                        </a:lnTo>
                        <a:lnTo>
                          <a:pt x="57355" y="15968"/>
                        </a:lnTo>
                        <a:lnTo>
                          <a:pt x="59867" y="17224"/>
                        </a:lnTo>
                        <a:lnTo>
                          <a:pt x="62379" y="18480"/>
                        </a:lnTo>
                        <a:lnTo>
                          <a:pt x="64891" y="19736"/>
                        </a:lnTo>
                        <a:lnTo>
                          <a:pt x="66087" y="20334"/>
                        </a:lnTo>
                        <a:lnTo>
                          <a:pt x="68479" y="21710"/>
                        </a:lnTo>
                        <a:lnTo>
                          <a:pt x="70872" y="23085"/>
                        </a:lnTo>
                        <a:lnTo>
                          <a:pt x="72606" y="24102"/>
                        </a:lnTo>
                        <a:lnTo>
                          <a:pt x="74998" y="25478"/>
                        </a:lnTo>
                        <a:lnTo>
                          <a:pt x="77391" y="26853"/>
                        </a:lnTo>
                        <a:lnTo>
                          <a:pt x="79783" y="28229"/>
                        </a:lnTo>
                        <a:lnTo>
                          <a:pt x="80561" y="28707"/>
                        </a:lnTo>
                        <a:lnTo>
                          <a:pt x="82833" y="30262"/>
                        </a:lnTo>
                        <a:lnTo>
                          <a:pt x="85106" y="31817"/>
                        </a:lnTo>
                        <a:lnTo>
                          <a:pt x="87379" y="33372"/>
                        </a:lnTo>
                        <a:lnTo>
                          <a:pt x="89651" y="34927"/>
                        </a:lnTo>
                        <a:lnTo>
                          <a:pt x="91924" y="36482"/>
                        </a:lnTo>
                        <a:lnTo>
                          <a:pt x="92761" y="37020"/>
                        </a:lnTo>
                        <a:lnTo>
                          <a:pt x="94914" y="38815"/>
                        </a:lnTo>
                        <a:lnTo>
                          <a:pt x="97067" y="40609"/>
                        </a:lnTo>
                        <a:lnTo>
                          <a:pt x="98921" y="42164"/>
                        </a:lnTo>
                        <a:lnTo>
                          <a:pt x="101074" y="43958"/>
                        </a:lnTo>
                        <a:lnTo>
                          <a:pt x="101912" y="44676"/>
                        </a:lnTo>
                        <a:lnTo>
                          <a:pt x="102988" y="45991"/>
                        </a:lnTo>
                        <a:lnTo>
                          <a:pt x="103287" y="46351"/>
                        </a:lnTo>
                        <a:lnTo>
                          <a:pt x="105141" y="48563"/>
                        </a:lnTo>
                        <a:lnTo>
                          <a:pt x="106995" y="50776"/>
                        </a:lnTo>
                        <a:lnTo>
                          <a:pt x="108849" y="52989"/>
                        </a:lnTo>
                        <a:lnTo>
                          <a:pt x="109328" y="53527"/>
                        </a:lnTo>
                        <a:lnTo>
                          <a:pt x="109328" y="53527"/>
                        </a:lnTo>
                        <a:lnTo>
                          <a:pt x="108849" y="56817"/>
                        </a:lnTo>
                        <a:lnTo>
                          <a:pt x="108670" y="58132"/>
                        </a:lnTo>
                        <a:lnTo>
                          <a:pt x="107354" y="60704"/>
                        </a:lnTo>
                        <a:lnTo>
                          <a:pt x="106816" y="61721"/>
                        </a:lnTo>
                        <a:lnTo>
                          <a:pt x="106756" y="61840"/>
                        </a:lnTo>
                        <a:lnTo>
                          <a:pt x="103826" y="62199"/>
                        </a:lnTo>
                        <a:lnTo>
                          <a:pt x="100895" y="62558"/>
                        </a:lnTo>
                        <a:lnTo>
                          <a:pt x="100357" y="62618"/>
                        </a:lnTo>
                        <a:lnTo>
                          <a:pt x="98921" y="62798"/>
                        </a:lnTo>
                        <a:lnTo>
                          <a:pt x="97067" y="62558"/>
                        </a:lnTo>
                        <a:lnTo>
                          <a:pt x="94256" y="62139"/>
                        </a:lnTo>
                        <a:lnTo>
                          <a:pt x="91445" y="61721"/>
                        </a:lnTo>
                        <a:lnTo>
                          <a:pt x="90668" y="61601"/>
                        </a:lnTo>
                        <a:lnTo>
                          <a:pt x="87977" y="60884"/>
                        </a:lnTo>
                        <a:lnTo>
                          <a:pt x="87797" y="60824"/>
                        </a:lnTo>
                      </a:path>
                    </a:pathLst>
                  </a:custGeom>
                  <a:noFill/>
                  <a:ln w="6350" cap="flat">
                    <a:solidFill>
                      <a:schemeClr val="bg1">
                        <a:alpha val="40000"/>
                      </a:schemeClr>
                    </a:solidFill>
                    <a:prstDash val="solid"/>
                    <a:miter/>
                  </a:ln>
                </p:spPr>
                <p:txBody>
                  <a:bodyPr rtlCol="0" anchor="ctr"/>
                  <a:lstStyle/>
                  <a:p>
                    <a:endParaRPr lang="en-GB"/>
                  </a:p>
                </p:txBody>
              </p:sp>
              <p:sp>
                <p:nvSpPr>
                  <p:cNvPr id="7892" name="Vrije vorm: vorm 7891">
                    <a:extLst>
                      <a:ext uri="{FF2B5EF4-FFF2-40B4-BE49-F238E27FC236}">
                        <a16:creationId xmlns:a16="http://schemas.microsoft.com/office/drawing/2014/main" id="{08845942-2688-4B5B-9045-661240CA1037}"/>
                      </a:ext>
                    </a:extLst>
                  </p:cNvPr>
                  <p:cNvSpPr/>
                  <p:nvPr/>
                </p:nvSpPr>
                <p:spPr>
                  <a:xfrm>
                    <a:off x="5743845" y="5069240"/>
                    <a:ext cx="107354" cy="58072"/>
                  </a:xfrm>
                  <a:custGeom>
                    <a:avLst/>
                    <a:gdLst>
                      <a:gd name="connsiteX0" fmla="*/ 106756 w 107354"/>
                      <a:gd name="connsiteY0" fmla="*/ 58073 h 58072"/>
                      <a:gd name="connsiteX1" fmla="*/ 106935 w 107354"/>
                      <a:gd name="connsiteY1" fmla="*/ 56877 h 58072"/>
                      <a:gd name="connsiteX2" fmla="*/ 107234 w 107354"/>
                      <a:gd name="connsiteY2" fmla="*/ 54604 h 58072"/>
                      <a:gd name="connsiteX3" fmla="*/ 107354 w 107354"/>
                      <a:gd name="connsiteY3" fmla="*/ 53587 h 58072"/>
                      <a:gd name="connsiteX4" fmla="*/ 105500 w 107354"/>
                      <a:gd name="connsiteY4" fmla="*/ 51434 h 58072"/>
                      <a:gd name="connsiteX5" fmla="*/ 103646 w 107354"/>
                      <a:gd name="connsiteY5" fmla="*/ 49281 h 58072"/>
                      <a:gd name="connsiteX6" fmla="*/ 101792 w 107354"/>
                      <a:gd name="connsiteY6" fmla="*/ 47128 h 58072"/>
                      <a:gd name="connsiteX7" fmla="*/ 101313 w 107354"/>
                      <a:gd name="connsiteY7" fmla="*/ 46590 h 58072"/>
                      <a:gd name="connsiteX8" fmla="*/ 99878 w 107354"/>
                      <a:gd name="connsiteY8" fmla="*/ 44915 h 58072"/>
                      <a:gd name="connsiteX9" fmla="*/ 97725 w 107354"/>
                      <a:gd name="connsiteY9" fmla="*/ 43121 h 58072"/>
                      <a:gd name="connsiteX10" fmla="*/ 95572 w 107354"/>
                      <a:gd name="connsiteY10" fmla="*/ 41327 h 58072"/>
                      <a:gd name="connsiteX11" fmla="*/ 93419 w 107354"/>
                      <a:gd name="connsiteY11" fmla="*/ 39532 h 58072"/>
                      <a:gd name="connsiteX12" fmla="*/ 91266 w 107354"/>
                      <a:gd name="connsiteY12" fmla="*/ 37738 h 58072"/>
                      <a:gd name="connsiteX13" fmla="*/ 90727 w 107354"/>
                      <a:gd name="connsiteY13" fmla="*/ 37260 h 58072"/>
                      <a:gd name="connsiteX14" fmla="*/ 88455 w 107354"/>
                      <a:gd name="connsiteY14" fmla="*/ 35705 h 58072"/>
                      <a:gd name="connsiteX15" fmla="*/ 86182 w 107354"/>
                      <a:gd name="connsiteY15" fmla="*/ 34150 h 58072"/>
                      <a:gd name="connsiteX16" fmla="*/ 83909 w 107354"/>
                      <a:gd name="connsiteY16" fmla="*/ 32595 h 58072"/>
                      <a:gd name="connsiteX17" fmla="*/ 81637 w 107354"/>
                      <a:gd name="connsiteY17" fmla="*/ 31040 h 58072"/>
                      <a:gd name="connsiteX18" fmla="*/ 79364 w 107354"/>
                      <a:gd name="connsiteY18" fmla="*/ 29485 h 58072"/>
                      <a:gd name="connsiteX19" fmla="*/ 78527 w 107354"/>
                      <a:gd name="connsiteY19" fmla="*/ 28946 h 58072"/>
                      <a:gd name="connsiteX20" fmla="*/ 76134 w 107354"/>
                      <a:gd name="connsiteY20" fmla="*/ 27571 h 58072"/>
                      <a:gd name="connsiteX21" fmla="*/ 73742 w 107354"/>
                      <a:gd name="connsiteY21" fmla="*/ 26196 h 58072"/>
                      <a:gd name="connsiteX22" fmla="*/ 71350 w 107354"/>
                      <a:gd name="connsiteY22" fmla="*/ 24820 h 58072"/>
                      <a:gd name="connsiteX23" fmla="*/ 68958 w 107354"/>
                      <a:gd name="connsiteY23" fmla="*/ 23444 h 58072"/>
                      <a:gd name="connsiteX24" fmla="*/ 66565 w 107354"/>
                      <a:gd name="connsiteY24" fmla="*/ 22069 h 58072"/>
                      <a:gd name="connsiteX25" fmla="*/ 64054 w 107354"/>
                      <a:gd name="connsiteY25" fmla="*/ 20574 h 58072"/>
                      <a:gd name="connsiteX26" fmla="*/ 61542 w 107354"/>
                      <a:gd name="connsiteY26" fmla="*/ 19318 h 58072"/>
                      <a:gd name="connsiteX27" fmla="*/ 59030 w 107354"/>
                      <a:gd name="connsiteY27" fmla="*/ 18062 h 58072"/>
                      <a:gd name="connsiteX28" fmla="*/ 56518 w 107354"/>
                      <a:gd name="connsiteY28" fmla="*/ 16806 h 58072"/>
                      <a:gd name="connsiteX29" fmla="*/ 54006 w 107354"/>
                      <a:gd name="connsiteY29" fmla="*/ 15550 h 58072"/>
                      <a:gd name="connsiteX30" fmla="*/ 51494 w 107354"/>
                      <a:gd name="connsiteY30" fmla="*/ 14294 h 58072"/>
                      <a:gd name="connsiteX31" fmla="*/ 48982 w 107354"/>
                      <a:gd name="connsiteY31" fmla="*/ 13038 h 58072"/>
                      <a:gd name="connsiteX32" fmla="*/ 48444 w 107354"/>
                      <a:gd name="connsiteY32" fmla="*/ 12739 h 58072"/>
                      <a:gd name="connsiteX33" fmla="*/ 45872 w 107354"/>
                      <a:gd name="connsiteY33" fmla="*/ 11662 h 58072"/>
                      <a:gd name="connsiteX34" fmla="*/ 43300 w 107354"/>
                      <a:gd name="connsiteY34" fmla="*/ 10586 h 58072"/>
                      <a:gd name="connsiteX35" fmla="*/ 40729 w 107354"/>
                      <a:gd name="connsiteY35" fmla="*/ 9509 h 58072"/>
                      <a:gd name="connsiteX36" fmla="*/ 38157 w 107354"/>
                      <a:gd name="connsiteY36" fmla="*/ 8433 h 58072"/>
                      <a:gd name="connsiteX37" fmla="*/ 35585 w 107354"/>
                      <a:gd name="connsiteY37" fmla="*/ 7356 h 58072"/>
                      <a:gd name="connsiteX38" fmla="*/ 33432 w 107354"/>
                      <a:gd name="connsiteY38" fmla="*/ 6459 h 58072"/>
                      <a:gd name="connsiteX39" fmla="*/ 30801 w 107354"/>
                      <a:gd name="connsiteY39" fmla="*/ 5562 h 58072"/>
                      <a:gd name="connsiteX40" fmla="*/ 28169 w 107354"/>
                      <a:gd name="connsiteY40" fmla="*/ 4665 h 58072"/>
                      <a:gd name="connsiteX41" fmla="*/ 25538 w 107354"/>
                      <a:gd name="connsiteY41" fmla="*/ 3768 h 58072"/>
                      <a:gd name="connsiteX42" fmla="*/ 22906 w 107354"/>
                      <a:gd name="connsiteY42" fmla="*/ 2871 h 58072"/>
                      <a:gd name="connsiteX43" fmla="*/ 20275 w 107354"/>
                      <a:gd name="connsiteY43" fmla="*/ 2033 h 58072"/>
                      <a:gd name="connsiteX44" fmla="*/ 17523 w 107354"/>
                      <a:gd name="connsiteY44" fmla="*/ 1495 h 58072"/>
                      <a:gd name="connsiteX45" fmla="*/ 14772 w 107354"/>
                      <a:gd name="connsiteY45" fmla="*/ 957 h 58072"/>
                      <a:gd name="connsiteX46" fmla="*/ 12021 w 107354"/>
                      <a:gd name="connsiteY46" fmla="*/ 419 h 58072"/>
                      <a:gd name="connsiteX47" fmla="*/ 9928 w 107354"/>
                      <a:gd name="connsiteY47" fmla="*/ 0 h 58072"/>
                      <a:gd name="connsiteX48" fmla="*/ 7057 w 107354"/>
                      <a:gd name="connsiteY48" fmla="*/ 60 h 58072"/>
                      <a:gd name="connsiteX49" fmla="*/ 4187 w 107354"/>
                      <a:gd name="connsiteY49" fmla="*/ 119 h 58072"/>
                      <a:gd name="connsiteX50" fmla="*/ 3110 w 107354"/>
                      <a:gd name="connsiteY50" fmla="*/ 119 h 58072"/>
                      <a:gd name="connsiteX51" fmla="*/ 2213 w 107354"/>
                      <a:gd name="connsiteY51" fmla="*/ 778 h 58072"/>
                      <a:gd name="connsiteX52" fmla="*/ 0 w 107354"/>
                      <a:gd name="connsiteY52" fmla="*/ 2392 h 5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7354" h="58072">
                        <a:moveTo>
                          <a:pt x="106756" y="58073"/>
                        </a:moveTo>
                        <a:lnTo>
                          <a:pt x="106935" y="56877"/>
                        </a:lnTo>
                        <a:lnTo>
                          <a:pt x="107234" y="54604"/>
                        </a:lnTo>
                        <a:lnTo>
                          <a:pt x="107354" y="53587"/>
                        </a:lnTo>
                        <a:lnTo>
                          <a:pt x="105500" y="51434"/>
                        </a:lnTo>
                        <a:lnTo>
                          <a:pt x="103646" y="49281"/>
                        </a:lnTo>
                        <a:lnTo>
                          <a:pt x="101792" y="47128"/>
                        </a:lnTo>
                        <a:lnTo>
                          <a:pt x="101313" y="46590"/>
                        </a:lnTo>
                        <a:lnTo>
                          <a:pt x="99878" y="44915"/>
                        </a:lnTo>
                        <a:lnTo>
                          <a:pt x="97725" y="43121"/>
                        </a:lnTo>
                        <a:lnTo>
                          <a:pt x="95572" y="41327"/>
                        </a:lnTo>
                        <a:lnTo>
                          <a:pt x="93419" y="39532"/>
                        </a:lnTo>
                        <a:lnTo>
                          <a:pt x="91266" y="37738"/>
                        </a:lnTo>
                        <a:lnTo>
                          <a:pt x="90727" y="37260"/>
                        </a:lnTo>
                        <a:lnTo>
                          <a:pt x="88455" y="35705"/>
                        </a:lnTo>
                        <a:lnTo>
                          <a:pt x="86182" y="34150"/>
                        </a:lnTo>
                        <a:lnTo>
                          <a:pt x="83909" y="32595"/>
                        </a:lnTo>
                        <a:lnTo>
                          <a:pt x="81637" y="31040"/>
                        </a:lnTo>
                        <a:lnTo>
                          <a:pt x="79364" y="29485"/>
                        </a:lnTo>
                        <a:lnTo>
                          <a:pt x="78527" y="28946"/>
                        </a:lnTo>
                        <a:lnTo>
                          <a:pt x="76134" y="27571"/>
                        </a:lnTo>
                        <a:lnTo>
                          <a:pt x="73742" y="26196"/>
                        </a:lnTo>
                        <a:lnTo>
                          <a:pt x="71350" y="24820"/>
                        </a:lnTo>
                        <a:lnTo>
                          <a:pt x="68958" y="23444"/>
                        </a:lnTo>
                        <a:lnTo>
                          <a:pt x="66565" y="22069"/>
                        </a:lnTo>
                        <a:lnTo>
                          <a:pt x="64054" y="20574"/>
                        </a:lnTo>
                        <a:lnTo>
                          <a:pt x="61542" y="19318"/>
                        </a:lnTo>
                        <a:lnTo>
                          <a:pt x="59030" y="18062"/>
                        </a:lnTo>
                        <a:lnTo>
                          <a:pt x="56518" y="16806"/>
                        </a:lnTo>
                        <a:lnTo>
                          <a:pt x="54006" y="15550"/>
                        </a:lnTo>
                        <a:lnTo>
                          <a:pt x="51494" y="14294"/>
                        </a:lnTo>
                        <a:lnTo>
                          <a:pt x="48982" y="13038"/>
                        </a:lnTo>
                        <a:lnTo>
                          <a:pt x="48444" y="12739"/>
                        </a:lnTo>
                        <a:lnTo>
                          <a:pt x="45872" y="11662"/>
                        </a:lnTo>
                        <a:lnTo>
                          <a:pt x="43300" y="10586"/>
                        </a:lnTo>
                        <a:lnTo>
                          <a:pt x="40729" y="9509"/>
                        </a:lnTo>
                        <a:lnTo>
                          <a:pt x="38157" y="8433"/>
                        </a:lnTo>
                        <a:lnTo>
                          <a:pt x="35585" y="7356"/>
                        </a:lnTo>
                        <a:lnTo>
                          <a:pt x="33432" y="6459"/>
                        </a:lnTo>
                        <a:lnTo>
                          <a:pt x="30801" y="5562"/>
                        </a:lnTo>
                        <a:lnTo>
                          <a:pt x="28169" y="4665"/>
                        </a:lnTo>
                        <a:lnTo>
                          <a:pt x="25538" y="3768"/>
                        </a:lnTo>
                        <a:lnTo>
                          <a:pt x="22906" y="2871"/>
                        </a:lnTo>
                        <a:lnTo>
                          <a:pt x="20275" y="2033"/>
                        </a:lnTo>
                        <a:lnTo>
                          <a:pt x="17523" y="1495"/>
                        </a:lnTo>
                        <a:lnTo>
                          <a:pt x="14772" y="957"/>
                        </a:lnTo>
                        <a:lnTo>
                          <a:pt x="12021" y="419"/>
                        </a:lnTo>
                        <a:lnTo>
                          <a:pt x="9928" y="0"/>
                        </a:lnTo>
                        <a:lnTo>
                          <a:pt x="7057" y="60"/>
                        </a:lnTo>
                        <a:lnTo>
                          <a:pt x="4187" y="119"/>
                        </a:lnTo>
                        <a:lnTo>
                          <a:pt x="3110" y="119"/>
                        </a:lnTo>
                        <a:lnTo>
                          <a:pt x="2213" y="778"/>
                        </a:lnTo>
                        <a:lnTo>
                          <a:pt x="0" y="2392"/>
                        </a:lnTo>
                      </a:path>
                    </a:pathLst>
                  </a:custGeom>
                  <a:noFill/>
                  <a:ln w="6350" cap="flat">
                    <a:solidFill>
                      <a:schemeClr val="bg1">
                        <a:alpha val="40000"/>
                      </a:schemeClr>
                    </a:solidFill>
                    <a:prstDash val="solid"/>
                    <a:miter/>
                  </a:ln>
                </p:spPr>
                <p:txBody>
                  <a:bodyPr rtlCol="0" anchor="ctr"/>
                  <a:lstStyle/>
                  <a:p>
                    <a:endParaRPr lang="en-GB"/>
                  </a:p>
                </p:txBody>
              </p:sp>
              <p:sp>
                <p:nvSpPr>
                  <p:cNvPr id="7893" name="Vrije vorm: vorm 7892">
                    <a:extLst>
                      <a:ext uri="{FF2B5EF4-FFF2-40B4-BE49-F238E27FC236}">
                        <a16:creationId xmlns:a16="http://schemas.microsoft.com/office/drawing/2014/main" id="{07C69384-DE7E-4BE7-BE21-E19E5435EE9E}"/>
                      </a:ext>
                    </a:extLst>
                  </p:cNvPr>
                  <p:cNvSpPr/>
                  <p:nvPr/>
                </p:nvSpPr>
                <p:spPr>
                  <a:xfrm>
                    <a:off x="5758378" y="5370010"/>
                    <a:ext cx="11124" cy="20753"/>
                  </a:xfrm>
                  <a:custGeom>
                    <a:avLst/>
                    <a:gdLst>
                      <a:gd name="connsiteX0" fmla="*/ 3828 w 11124"/>
                      <a:gd name="connsiteY0" fmla="*/ 0 h 20753"/>
                      <a:gd name="connsiteX1" fmla="*/ 5562 w 11124"/>
                      <a:gd name="connsiteY1" fmla="*/ 1256 h 20753"/>
                      <a:gd name="connsiteX2" fmla="*/ 7117 w 11124"/>
                      <a:gd name="connsiteY2" fmla="*/ 2392 h 20753"/>
                      <a:gd name="connsiteX3" fmla="*/ 7117 w 11124"/>
                      <a:gd name="connsiteY3" fmla="*/ 2392 h 20753"/>
                      <a:gd name="connsiteX4" fmla="*/ 7177 w 11124"/>
                      <a:gd name="connsiteY4" fmla="*/ 2452 h 20753"/>
                      <a:gd name="connsiteX5" fmla="*/ 8911 w 11124"/>
                      <a:gd name="connsiteY5" fmla="*/ 3708 h 20753"/>
                      <a:gd name="connsiteX6" fmla="*/ 9689 w 11124"/>
                      <a:gd name="connsiteY6" fmla="*/ 4306 h 20753"/>
                      <a:gd name="connsiteX7" fmla="*/ 9689 w 11124"/>
                      <a:gd name="connsiteY7" fmla="*/ 4306 h 20753"/>
                      <a:gd name="connsiteX8" fmla="*/ 10526 w 11124"/>
                      <a:gd name="connsiteY8" fmla="*/ 4904 h 20753"/>
                      <a:gd name="connsiteX9" fmla="*/ 10885 w 11124"/>
                      <a:gd name="connsiteY9" fmla="*/ 5143 h 20753"/>
                      <a:gd name="connsiteX10" fmla="*/ 11124 w 11124"/>
                      <a:gd name="connsiteY10" fmla="*/ 5323 h 20753"/>
                      <a:gd name="connsiteX11" fmla="*/ 10945 w 11124"/>
                      <a:gd name="connsiteY11" fmla="*/ 6399 h 20753"/>
                      <a:gd name="connsiteX12" fmla="*/ 10765 w 11124"/>
                      <a:gd name="connsiteY12" fmla="*/ 7476 h 20753"/>
                      <a:gd name="connsiteX13" fmla="*/ 10646 w 11124"/>
                      <a:gd name="connsiteY13" fmla="*/ 8493 h 20753"/>
                      <a:gd name="connsiteX14" fmla="*/ 10586 w 11124"/>
                      <a:gd name="connsiteY14" fmla="*/ 9510 h 20753"/>
                      <a:gd name="connsiteX15" fmla="*/ 10526 w 11124"/>
                      <a:gd name="connsiteY15" fmla="*/ 10466 h 20753"/>
                      <a:gd name="connsiteX16" fmla="*/ 10526 w 11124"/>
                      <a:gd name="connsiteY16" fmla="*/ 10706 h 20753"/>
                      <a:gd name="connsiteX17" fmla="*/ 10526 w 11124"/>
                      <a:gd name="connsiteY17" fmla="*/ 11005 h 20753"/>
                      <a:gd name="connsiteX18" fmla="*/ 10526 w 11124"/>
                      <a:gd name="connsiteY18" fmla="*/ 11423 h 20753"/>
                      <a:gd name="connsiteX19" fmla="*/ 10526 w 11124"/>
                      <a:gd name="connsiteY19" fmla="*/ 11483 h 20753"/>
                      <a:gd name="connsiteX20" fmla="*/ 10526 w 11124"/>
                      <a:gd name="connsiteY20" fmla="*/ 12260 h 20753"/>
                      <a:gd name="connsiteX21" fmla="*/ 10586 w 11124"/>
                      <a:gd name="connsiteY21" fmla="*/ 13098 h 20753"/>
                      <a:gd name="connsiteX22" fmla="*/ 10646 w 11124"/>
                      <a:gd name="connsiteY22" fmla="*/ 13875 h 20753"/>
                      <a:gd name="connsiteX23" fmla="*/ 10765 w 11124"/>
                      <a:gd name="connsiteY23" fmla="*/ 14653 h 20753"/>
                      <a:gd name="connsiteX24" fmla="*/ 10885 w 11124"/>
                      <a:gd name="connsiteY24" fmla="*/ 15370 h 20753"/>
                      <a:gd name="connsiteX25" fmla="*/ 10945 w 11124"/>
                      <a:gd name="connsiteY25" fmla="*/ 15610 h 20753"/>
                      <a:gd name="connsiteX26" fmla="*/ 11064 w 11124"/>
                      <a:gd name="connsiteY26" fmla="*/ 16028 h 20753"/>
                      <a:gd name="connsiteX27" fmla="*/ 9988 w 11124"/>
                      <a:gd name="connsiteY27" fmla="*/ 17703 h 20753"/>
                      <a:gd name="connsiteX28" fmla="*/ 8552 w 11124"/>
                      <a:gd name="connsiteY28" fmla="*/ 19856 h 20753"/>
                      <a:gd name="connsiteX29" fmla="*/ 7954 w 11124"/>
                      <a:gd name="connsiteY29" fmla="*/ 20753 h 20753"/>
                      <a:gd name="connsiteX30" fmla="*/ 6639 w 11124"/>
                      <a:gd name="connsiteY30" fmla="*/ 19736 h 20753"/>
                      <a:gd name="connsiteX31" fmla="*/ 5742 w 11124"/>
                      <a:gd name="connsiteY31" fmla="*/ 19079 h 20753"/>
                      <a:gd name="connsiteX32" fmla="*/ 4904 w 11124"/>
                      <a:gd name="connsiteY32" fmla="*/ 18421 h 20753"/>
                      <a:gd name="connsiteX33" fmla="*/ 4545 w 11124"/>
                      <a:gd name="connsiteY33" fmla="*/ 18182 h 20753"/>
                      <a:gd name="connsiteX34" fmla="*/ 3947 w 11124"/>
                      <a:gd name="connsiteY34" fmla="*/ 17703 h 20753"/>
                      <a:gd name="connsiteX35" fmla="*/ 3588 w 11124"/>
                      <a:gd name="connsiteY35" fmla="*/ 17464 h 20753"/>
                      <a:gd name="connsiteX36" fmla="*/ 3349 w 11124"/>
                      <a:gd name="connsiteY36" fmla="*/ 17284 h 20753"/>
                      <a:gd name="connsiteX37" fmla="*/ 1555 w 11124"/>
                      <a:gd name="connsiteY37" fmla="*/ 15909 h 20753"/>
                      <a:gd name="connsiteX38" fmla="*/ 778 w 11124"/>
                      <a:gd name="connsiteY38" fmla="*/ 15311 h 20753"/>
                      <a:gd name="connsiteX39" fmla="*/ 538 w 11124"/>
                      <a:gd name="connsiteY39" fmla="*/ 14653 h 20753"/>
                      <a:gd name="connsiteX40" fmla="*/ 479 w 11124"/>
                      <a:gd name="connsiteY40" fmla="*/ 14473 h 20753"/>
                      <a:gd name="connsiteX41" fmla="*/ 359 w 11124"/>
                      <a:gd name="connsiteY41" fmla="*/ 13935 h 20753"/>
                      <a:gd name="connsiteX42" fmla="*/ 180 w 11124"/>
                      <a:gd name="connsiteY42" fmla="*/ 13158 h 20753"/>
                      <a:gd name="connsiteX43" fmla="*/ 60 w 11124"/>
                      <a:gd name="connsiteY43" fmla="*/ 12320 h 20753"/>
                      <a:gd name="connsiteX44" fmla="*/ 0 w 11124"/>
                      <a:gd name="connsiteY44" fmla="*/ 11423 h 20753"/>
                      <a:gd name="connsiteX45" fmla="*/ 0 w 11124"/>
                      <a:gd name="connsiteY45" fmla="*/ 10466 h 20753"/>
                      <a:gd name="connsiteX46" fmla="*/ 0 w 11124"/>
                      <a:gd name="connsiteY46" fmla="*/ 9450 h 20753"/>
                      <a:gd name="connsiteX47" fmla="*/ 60 w 11124"/>
                      <a:gd name="connsiteY47" fmla="*/ 8493 h 20753"/>
                      <a:gd name="connsiteX48" fmla="*/ 60 w 11124"/>
                      <a:gd name="connsiteY48" fmla="*/ 8373 h 20753"/>
                      <a:gd name="connsiteX49" fmla="*/ 180 w 11124"/>
                      <a:gd name="connsiteY49" fmla="*/ 7237 h 20753"/>
                      <a:gd name="connsiteX50" fmla="*/ 359 w 11124"/>
                      <a:gd name="connsiteY50" fmla="*/ 6100 h 20753"/>
                      <a:gd name="connsiteX51" fmla="*/ 598 w 11124"/>
                      <a:gd name="connsiteY51" fmla="*/ 4904 h 20753"/>
                      <a:gd name="connsiteX52" fmla="*/ 837 w 11124"/>
                      <a:gd name="connsiteY52" fmla="*/ 3648 h 20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124" h="20753">
                        <a:moveTo>
                          <a:pt x="3828" y="0"/>
                        </a:moveTo>
                        <a:lnTo>
                          <a:pt x="5562" y="1256"/>
                        </a:lnTo>
                        <a:lnTo>
                          <a:pt x="7117" y="2392"/>
                        </a:lnTo>
                        <a:lnTo>
                          <a:pt x="7117" y="2392"/>
                        </a:lnTo>
                        <a:lnTo>
                          <a:pt x="7177" y="2452"/>
                        </a:lnTo>
                        <a:lnTo>
                          <a:pt x="8911" y="3708"/>
                        </a:lnTo>
                        <a:lnTo>
                          <a:pt x="9689" y="4306"/>
                        </a:lnTo>
                        <a:lnTo>
                          <a:pt x="9689" y="4306"/>
                        </a:lnTo>
                        <a:lnTo>
                          <a:pt x="10526" y="4904"/>
                        </a:lnTo>
                        <a:lnTo>
                          <a:pt x="10885" y="5143"/>
                        </a:lnTo>
                        <a:lnTo>
                          <a:pt x="11124" y="5323"/>
                        </a:lnTo>
                        <a:lnTo>
                          <a:pt x="10945" y="6399"/>
                        </a:lnTo>
                        <a:lnTo>
                          <a:pt x="10765" y="7476"/>
                        </a:lnTo>
                        <a:lnTo>
                          <a:pt x="10646" y="8493"/>
                        </a:lnTo>
                        <a:lnTo>
                          <a:pt x="10586" y="9510"/>
                        </a:lnTo>
                        <a:lnTo>
                          <a:pt x="10526" y="10466"/>
                        </a:lnTo>
                        <a:lnTo>
                          <a:pt x="10526" y="10706"/>
                        </a:lnTo>
                        <a:lnTo>
                          <a:pt x="10526" y="11005"/>
                        </a:lnTo>
                        <a:lnTo>
                          <a:pt x="10526" y="11423"/>
                        </a:lnTo>
                        <a:lnTo>
                          <a:pt x="10526" y="11483"/>
                        </a:lnTo>
                        <a:lnTo>
                          <a:pt x="10526" y="12260"/>
                        </a:lnTo>
                        <a:lnTo>
                          <a:pt x="10586" y="13098"/>
                        </a:lnTo>
                        <a:lnTo>
                          <a:pt x="10646" y="13875"/>
                        </a:lnTo>
                        <a:lnTo>
                          <a:pt x="10765" y="14653"/>
                        </a:lnTo>
                        <a:lnTo>
                          <a:pt x="10885" y="15370"/>
                        </a:lnTo>
                        <a:lnTo>
                          <a:pt x="10945" y="15610"/>
                        </a:lnTo>
                        <a:lnTo>
                          <a:pt x="11064" y="16028"/>
                        </a:lnTo>
                        <a:lnTo>
                          <a:pt x="9988" y="17703"/>
                        </a:lnTo>
                        <a:lnTo>
                          <a:pt x="8552" y="19856"/>
                        </a:lnTo>
                        <a:lnTo>
                          <a:pt x="7954" y="20753"/>
                        </a:lnTo>
                        <a:lnTo>
                          <a:pt x="6639" y="19736"/>
                        </a:lnTo>
                        <a:lnTo>
                          <a:pt x="5742" y="19079"/>
                        </a:lnTo>
                        <a:lnTo>
                          <a:pt x="4904" y="18421"/>
                        </a:lnTo>
                        <a:lnTo>
                          <a:pt x="4545" y="18182"/>
                        </a:lnTo>
                        <a:lnTo>
                          <a:pt x="3947" y="17703"/>
                        </a:lnTo>
                        <a:lnTo>
                          <a:pt x="3588" y="17464"/>
                        </a:lnTo>
                        <a:lnTo>
                          <a:pt x="3349" y="17284"/>
                        </a:lnTo>
                        <a:lnTo>
                          <a:pt x="1555" y="15909"/>
                        </a:lnTo>
                        <a:lnTo>
                          <a:pt x="778" y="15311"/>
                        </a:lnTo>
                        <a:lnTo>
                          <a:pt x="538" y="14653"/>
                        </a:lnTo>
                        <a:lnTo>
                          <a:pt x="479" y="14473"/>
                        </a:lnTo>
                        <a:lnTo>
                          <a:pt x="359" y="13935"/>
                        </a:lnTo>
                        <a:lnTo>
                          <a:pt x="180" y="13158"/>
                        </a:lnTo>
                        <a:lnTo>
                          <a:pt x="60" y="12320"/>
                        </a:lnTo>
                        <a:lnTo>
                          <a:pt x="0" y="11423"/>
                        </a:lnTo>
                        <a:lnTo>
                          <a:pt x="0" y="10466"/>
                        </a:lnTo>
                        <a:lnTo>
                          <a:pt x="0" y="9450"/>
                        </a:lnTo>
                        <a:lnTo>
                          <a:pt x="60" y="8493"/>
                        </a:lnTo>
                        <a:lnTo>
                          <a:pt x="60" y="8373"/>
                        </a:lnTo>
                        <a:lnTo>
                          <a:pt x="180" y="7237"/>
                        </a:lnTo>
                        <a:lnTo>
                          <a:pt x="359" y="6100"/>
                        </a:lnTo>
                        <a:lnTo>
                          <a:pt x="598" y="4904"/>
                        </a:lnTo>
                        <a:lnTo>
                          <a:pt x="837" y="3648"/>
                        </a:lnTo>
                      </a:path>
                    </a:pathLst>
                  </a:custGeom>
                  <a:noFill/>
                  <a:ln w="6350" cap="flat">
                    <a:solidFill>
                      <a:schemeClr val="bg1">
                        <a:alpha val="40000"/>
                      </a:schemeClr>
                    </a:solidFill>
                    <a:prstDash val="solid"/>
                    <a:miter/>
                  </a:ln>
                </p:spPr>
                <p:txBody>
                  <a:bodyPr rtlCol="0" anchor="ctr"/>
                  <a:lstStyle/>
                  <a:p>
                    <a:endParaRPr lang="en-GB"/>
                  </a:p>
                </p:txBody>
              </p:sp>
              <p:sp>
                <p:nvSpPr>
                  <p:cNvPr id="7894" name="Vrije vorm: vorm 7893">
                    <a:extLst>
                      <a:ext uri="{FF2B5EF4-FFF2-40B4-BE49-F238E27FC236}">
                        <a16:creationId xmlns:a16="http://schemas.microsoft.com/office/drawing/2014/main" id="{859755BF-D2F3-40A9-9366-A905CAE77BE2}"/>
                      </a:ext>
                    </a:extLst>
                  </p:cNvPr>
                  <p:cNvSpPr/>
                  <p:nvPr/>
                </p:nvSpPr>
                <p:spPr>
                  <a:xfrm>
                    <a:off x="5765555" y="5379161"/>
                    <a:ext cx="896" cy="11602"/>
                  </a:xfrm>
                  <a:custGeom>
                    <a:avLst/>
                    <a:gdLst>
                      <a:gd name="connsiteX0" fmla="*/ 897 w 896"/>
                      <a:gd name="connsiteY0" fmla="*/ 0 h 11602"/>
                      <a:gd name="connsiteX1" fmla="*/ 837 w 896"/>
                      <a:gd name="connsiteY1" fmla="*/ 419 h 11602"/>
                      <a:gd name="connsiteX2" fmla="*/ 837 w 896"/>
                      <a:gd name="connsiteY2" fmla="*/ 419 h 11602"/>
                      <a:gd name="connsiteX3" fmla="*/ 658 w 896"/>
                      <a:gd name="connsiteY3" fmla="*/ 1256 h 11602"/>
                      <a:gd name="connsiteX4" fmla="*/ 419 w 896"/>
                      <a:gd name="connsiteY4" fmla="*/ 2452 h 11602"/>
                      <a:gd name="connsiteX5" fmla="*/ 239 w 896"/>
                      <a:gd name="connsiteY5" fmla="*/ 3588 h 11602"/>
                      <a:gd name="connsiteX6" fmla="*/ 120 w 896"/>
                      <a:gd name="connsiteY6" fmla="*/ 4725 h 11602"/>
                      <a:gd name="connsiteX7" fmla="*/ 60 w 896"/>
                      <a:gd name="connsiteY7" fmla="*/ 5801 h 11602"/>
                      <a:gd name="connsiteX8" fmla="*/ 0 w 896"/>
                      <a:gd name="connsiteY8" fmla="*/ 6818 h 11602"/>
                      <a:gd name="connsiteX9" fmla="*/ 0 w 896"/>
                      <a:gd name="connsiteY9" fmla="*/ 7775 h 11602"/>
                      <a:gd name="connsiteX10" fmla="*/ 60 w 896"/>
                      <a:gd name="connsiteY10" fmla="*/ 8672 h 11602"/>
                      <a:gd name="connsiteX11" fmla="*/ 179 w 896"/>
                      <a:gd name="connsiteY11" fmla="*/ 9509 h 11602"/>
                      <a:gd name="connsiteX12" fmla="*/ 299 w 896"/>
                      <a:gd name="connsiteY12" fmla="*/ 10287 h 11602"/>
                      <a:gd name="connsiteX13" fmla="*/ 419 w 896"/>
                      <a:gd name="connsiteY13" fmla="*/ 10645 h 11602"/>
                      <a:gd name="connsiteX14" fmla="*/ 479 w 896"/>
                      <a:gd name="connsiteY14" fmla="*/ 10944 h 11602"/>
                      <a:gd name="connsiteX15" fmla="*/ 718 w 896"/>
                      <a:gd name="connsiteY15" fmla="*/ 1160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6" h="11602">
                        <a:moveTo>
                          <a:pt x="897" y="0"/>
                        </a:moveTo>
                        <a:lnTo>
                          <a:pt x="837" y="419"/>
                        </a:lnTo>
                        <a:lnTo>
                          <a:pt x="837" y="419"/>
                        </a:lnTo>
                        <a:lnTo>
                          <a:pt x="658" y="1256"/>
                        </a:lnTo>
                        <a:lnTo>
                          <a:pt x="419" y="2452"/>
                        </a:lnTo>
                        <a:lnTo>
                          <a:pt x="239" y="3588"/>
                        </a:lnTo>
                        <a:lnTo>
                          <a:pt x="120" y="4725"/>
                        </a:lnTo>
                        <a:lnTo>
                          <a:pt x="60" y="5801"/>
                        </a:lnTo>
                        <a:lnTo>
                          <a:pt x="0" y="6818"/>
                        </a:lnTo>
                        <a:lnTo>
                          <a:pt x="0" y="7775"/>
                        </a:lnTo>
                        <a:lnTo>
                          <a:pt x="60" y="8672"/>
                        </a:lnTo>
                        <a:lnTo>
                          <a:pt x="179" y="9509"/>
                        </a:lnTo>
                        <a:lnTo>
                          <a:pt x="299" y="10287"/>
                        </a:lnTo>
                        <a:lnTo>
                          <a:pt x="419" y="10645"/>
                        </a:lnTo>
                        <a:lnTo>
                          <a:pt x="479" y="10944"/>
                        </a:lnTo>
                        <a:lnTo>
                          <a:pt x="718" y="11603"/>
                        </a:lnTo>
                      </a:path>
                    </a:pathLst>
                  </a:custGeom>
                  <a:noFill/>
                  <a:ln w="6350" cap="flat">
                    <a:solidFill>
                      <a:schemeClr val="bg1">
                        <a:alpha val="40000"/>
                      </a:schemeClr>
                    </a:solidFill>
                    <a:prstDash val="solid"/>
                    <a:miter/>
                  </a:ln>
                </p:spPr>
                <p:txBody>
                  <a:bodyPr rtlCol="0" anchor="ctr"/>
                  <a:lstStyle/>
                  <a:p>
                    <a:endParaRPr lang="en-GB"/>
                  </a:p>
                </p:txBody>
              </p:sp>
              <p:sp>
                <p:nvSpPr>
                  <p:cNvPr id="7895" name="Vrije vorm: vorm 7894">
                    <a:extLst>
                      <a:ext uri="{FF2B5EF4-FFF2-40B4-BE49-F238E27FC236}">
                        <a16:creationId xmlns:a16="http://schemas.microsoft.com/office/drawing/2014/main" id="{9DC789D3-1038-4E25-A7D1-547DC2D14776}"/>
                      </a:ext>
                    </a:extLst>
                  </p:cNvPr>
                  <p:cNvSpPr/>
                  <p:nvPr/>
                </p:nvSpPr>
                <p:spPr>
                  <a:xfrm>
                    <a:off x="5759156" y="5370010"/>
                    <a:ext cx="10406" cy="9150"/>
                  </a:xfrm>
                  <a:custGeom>
                    <a:avLst/>
                    <a:gdLst>
                      <a:gd name="connsiteX0" fmla="*/ 3050 w 10406"/>
                      <a:gd name="connsiteY0" fmla="*/ 0 h 9150"/>
                      <a:gd name="connsiteX1" fmla="*/ 598 w 10406"/>
                      <a:gd name="connsiteY1" fmla="*/ 2990 h 9150"/>
                      <a:gd name="connsiteX2" fmla="*/ 0 w 10406"/>
                      <a:gd name="connsiteY2" fmla="*/ 3768 h 9150"/>
                      <a:gd name="connsiteX3" fmla="*/ 2273 w 10406"/>
                      <a:gd name="connsiteY3" fmla="*/ 5443 h 9150"/>
                      <a:gd name="connsiteX4" fmla="*/ 2512 w 10406"/>
                      <a:gd name="connsiteY4" fmla="*/ 5622 h 9150"/>
                      <a:gd name="connsiteX5" fmla="*/ 4785 w 10406"/>
                      <a:gd name="connsiteY5" fmla="*/ 7297 h 9150"/>
                      <a:gd name="connsiteX6" fmla="*/ 5024 w 10406"/>
                      <a:gd name="connsiteY6" fmla="*/ 7476 h 9150"/>
                      <a:gd name="connsiteX7" fmla="*/ 6459 w 10406"/>
                      <a:gd name="connsiteY7" fmla="*/ 8493 h 9150"/>
                      <a:gd name="connsiteX8" fmla="*/ 6937 w 10406"/>
                      <a:gd name="connsiteY8" fmla="*/ 8851 h 9150"/>
                      <a:gd name="connsiteX9" fmla="*/ 7356 w 10406"/>
                      <a:gd name="connsiteY9" fmla="*/ 9151 h 9150"/>
                      <a:gd name="connsiteX10" fmla="*/ 7656 w 10406"/>
                      <a:gd name="connsiteY10" fmla="*/ 8732 h 9150"/>
                      <a:gd name="connsiteX11" fmla="*/ 8134 w 10406"/>
                      <a:gd name="connsiteY11" fmla="*/ 8134 h 9150"/>
                      <a:gd name="connsiteX12" fmla="*/ 8134 w 10406"/>
                      <a:gd name="connsiteY12" fmla="*/ 8134 h 9150"/>
                      <a:gd name="connsiteX13" fmla="*/ 8134 w 10406"/>
                      <a:gd name="connsiteY13" fmla="*/ 8134 h 9150"/>
                      <a:gd name="connsiteX14" fmla="*/ 8194 w 10406"/>
                      <a:gd name="connsiteY14" fmla="*/ 8074 h 9150"/>
                      <a:gd name="connsiteX15" fmla="*/ 9689 w 10406"/>
                      <a:gd name="connsiteY15" fmla="*/ 6160 h 9150"/>
                      <a:gd name="connsiteX16" fmla="*/ 10406 w 10406"/>
                      <a:gd name="connsiteY16" fmla="*/ 5323 h 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06" h="9150">
                        <a:moveTo>
                          <a:pt x="3050" y="0"/>
                        </a:moveTo>
                        <a:lnTo>
                          <a:pt x="598" y="2990"/>
                        </a:lnTo>
                        <a:lnTo>
                          <a:pt x="0" y="3768"/>
                        </a:lnTo>
                        <a:lnTo>
                          <a:pt x="2273" y="5443"/>
                        </a:lnTo>
                        <a:lnTo>
                          <a:pt x="2512" y="5622"/>
                        </a:lnTo>
                        <a:lnTo>
                          <a:pt x="4785" y="7297"/>
                        </a:lnTo>
                        <a:lnTo>
                          <a:pt x="5024" y="7476"/>
                        </a:lnTo>
                        <a:lnTo>
                          <a:pt x="6459" y="8493"/>
                        </a:lnTo>
                        <a:lnTo>
                          <a:pt x="6937" y="8851"/>
                        </a:lnTo>
                        <a:lnTo>
                          <a:pt x="7356" y="9151"/>
                        </a:lnTo>
                        <a:lnTo>
                          <a:pt x="7656" y="8732"/>
                        </a:lnTo>
                        <a:lnTo>
                          <a:pt x="8134" y="8134"/>
                        </a:lnTo>
                        <a:lnTo>
                          <a:pt x="8134" y="8134"/>
                        </a:lnTo>
                        <a:lnTo>
                          <a:pt x="8134" y="8134"/>
                        </a:lnTo>
                        <a:lnTo>
                          <a:pt x="8194" y="8074"/>
                        </a:lnTo>
                        <a:lnTo>
                          <a:pt x="9689" y="6160"/>
                        </a:lnTo>
                        <a:lnTo>
                          <a:pt x="10406" y="5323"/>
                        </a:lnTo>
                      </a:path>
                    </a:pathLst>
                  </a:custGeom>
                  <a:noFill/>
                  <a:ln w="6350" cap="flat">
                    <a:solidFill>
                      <a:schemeClr val="bg1">
                        <a:alpha val="40000"/>
                      </a:schemeClr>
                    </a:solidFill>
                    <a:prstDash val="solid"/>
                    <a:miter/>
                  </a:ln>
                </p:spPr>
                <p:txBody>
                  <a:bodyPr rtlCol="0" anchor="ctr"/>
                  <a:lstStyle/>
                  <a:p>
                    <a:endParaRPr lang="en-GB"/>
                  </a:p>
                </p:txBody>
              </p:sp>
              <p:sp>
                <p:nvSpPr>
                  <p:cNvPr id="7896" name="Vrije vorm: vorm 7895">
                    <a:extLst>
                      <a:ext uri="{FF2B5EF4-FFF2-40B4-BE49-F238E27FC236}">
                        <a16:creationId xmlns:a16="http://schemas.microsoft.com/office/drawing/2014/main" id="{A03DE9E3-0B04-418A-898D-6C2D9C938152}"/>
                      </a:ext>
                    </a:extLst>
                  </p:cNvPr>
                  <p:cNvSpPr/>
                  <p:nvPr/>
                </p:nvSpPr>
                <p:spPr>
                  <a:xfrm>
                    <a:off x="5714839" y="5395249"/>
                    <a:ext cx="30860" cy="15489"/>
                  </a:xfrm>
                  <a:custGeom>
                    <a:avLst/>
                    <a:gdLst>
                      <a:gd name="connsiteX0" fmla="*/ 30860 w 30860"/>
                      <a:gd name="connsiteY0" fmla="*/ 15490 h 15489"/>
                      <a:gd name="connsiteX1" fmla="*/ 27930 w 30860"/>
                      <a:gd name="connsiteY1" fmla="*/ 15490 h 15489"/>
                      <a:gd name="connsiteX2" fmla="*/ 24999 w 30860"/>
                      <a:gd name="connsiteY2" fmla="*/ 15490 h 15489"/>
                      <a:gd name="connsiteX3" fmla="*/ 22069 w 30860"/>
                      <a:gd name="connsiteY3" fmla="*/ 15490 h 15489"/>
                      <a:gd name="connsiteX4" fmla="*/ 19138 w 30860"/>
                      <a:gd name="connsiteY4" fmla="*/ 15490 h 15489"/>
                      <a:gd name="connsiteX5" fmla="*/ 18600 w 30860"/>
                      <a:gd name="connsiteY5" fmla="*/ 15490 h 15489"/>
                      <a:gd name="connsiteX6" fmla="*/ 16447 w 30860"/>
                      <a:gd name="connsiteY6" fmla="*/ 13696 h 15489"/>
                      <a:gd name="connsiteX7" fmla="*/ 14294 w 30860"/>
                      <a:gd name="connsiteY7" fmla="*/ 11902 h 15489"/>
                      <a:gd name="connsiteX8" fmla="*/ 12141 w 30860"/>
                      <a:gd name="connsiteY8" fmla="*/ 10107 h 15489"/>
                      <a:gd name="connsiteX9" fmla="*/ 9988 w 30860"/>
                      <a:gd name="connsiteY9" fmla="*/ 8313 h 15489"/>
                      <a:gd name="connsiteX10" fmla="*/ 7835 w 30860"/>
                      <a:gd name="connsiteY10" fmla="*/ 6519 h 15489"/>
                      <a:gd name="connsiteX11" fmla="*/ 5681 w 30860"/>
                      <a:gd name="connsiteY11" fmla="*/ 4725 h 15489"/>
                      <a:gd name="connsiteX12" fmla="*/ 3528 w 30860"/>
                      <a:gd name="connsiteY12" fmla="*/ 2930 h 15489"/>
                      <a:gd name="connsiteX13" fmla="*/ 1375 w 30860"/>
                      <a:gd name="connsiteY13" fmla="*/ 1136 h 15489"/>
                      <a:gd name="connsiteX14" fmla="*/ 0 w 30860"/>
                      <a:gd name="connsiteY14" fmla="*/ 0 h 1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860" h="15489">
                        <a:moveTo>
                          <a:pt x="30860" y="15490"/>
                        </a:moveTo>
                        <a:lnTo>
                          <a:pt x="27930" y="15490"/>
                        </a:lnTo>
                        <a:lnTo>
                          <a:pt x="24999" y="15490"/>
                        </a:lnTo>
                        <a:lnTo>
                          <a:pt x="22069" y="15490"/>
                        </a:lnTo>
                        <a:lnTo>
                          <a:pt x="19138" y="15490"/>
                        </a:lnTo>
                        <a:lnTo>
                          <a:pt x="18600" y="15490"/>
                        </a:lnTo>
                        <a:lnTo>
                          <a:pt x="16447" y="13696"/>
                        </a:lnTo>
                        <a:lnTo>
                          <a:pt x="14294" y="11902"/>
                        </a:lnTo>
                        <a:lnTo>
                          <a:pt x="12141" y="10107"/>
                        </a:lnTo>
                        <a:lnTo>
                          <a:pt x="9988" y="8313"/>
                        </a:lnTo>
                        <a:lnTo>
                          <a:pt x="7835" y="6519"/>
                        </a:lnTo>
                        <a:lnTo>
                          <a:pt x="5681" y="4725"/>
                        </a:lnTo>
                        <a:lnTo>
                          <a:pt x="3528" y="2930"/>
                        </a:lnTo>
                        <a:lnTo>
                          <a:pt x="1375" y="1136"/>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897" name="Vrije vorm: vorm 7896">
                    <a:extLst>
                      <a:ext uri="{FF2B5EF4-FFF2-40B4-BE49-F238E27FC236}">
                        <a16:creationId xmlns:a16="http://schemas.microsoft.com/office/drawing/2014/main" id="{792FE2C0-FB4D-493F-95C0-771FB87C35F0}"/>
                      </a:ext>
                    </a:extLst>
                  </p:cNvPr>
                  <p:cNvSpPr/>
                  <p:nvPr/>
                </p:nvSpPr>
                <p:spPr>
                  <a:xfrm>
                    <a:off x="5766931" y="5382689"/>
                    <a:ext cx="8373" cy="7416"/>
                  </a:xfrm>
                  <a:custGeom>
                    <a:avLst/>
                    <a:gdLst>
                      <a:gd name="connsiteX0" fmla="*/ 8373 w 8373"/>
                      <a:gd name="connsiteY0" fmla="*/ 0 h 7416"/>
                      <a:gd name="connsiteX1" fmla="*/ 6579 w 8373"/>
                      <a:gd name="connsiteY1" fmla="*/ 3529 h 7416"/>
                      <a:gd name="connsiteX2" fmla="*/ 4785 w 8373"/>
                      <a:gd name="connsiteY2" fmla="*/ 7057 h 7416"/>
                      <a:gd name="connsiteX3" fmla="*/ 4605 w 8373"/>
                      <a:gd name="connsiteY3" fmla="*/ 7416 h 7416"/>
                      <a:gd name="connsiteX4" fmla="*/ 1735 w 8373"/>
                      <a:gd name="connsiteY4" fmla="*/ 7237 h 7416"/>
                      <a:gd name="connsiteX5" fmla="*/ 0 w 8373"/>
                      <a:gd name="connsiteY5" fmla="*/ 7117 h 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73" h="7416">
                        <a:moveTo>
                          <a:pt x="8373" y="0"/>
                        </a:moveTo>
                        <a:lnTo>
                          <a:pt x="6579" y="3529"/>
                        </a:lnTo>
                        <a:lnTo>
                          <a:pt x="4785" y="7057"/>
                        </a:lnTo>
                        <a:lnTo>
                          <a:pt x="4605" y="7416"/>
                        </a:lnTo>
                        <a:lnTo>
                          <a:pt x="1735" y="7237"/>
                        </a:lnTo>
                        <a:lnTo>
                          <a:pt x="0" y="7117"/>
                        </a:lnTo>
                      </a:path>
                    </a:pathLst>
                  </a:custGeom>
                  <a:noFill/>
                  <a:ln w="6350" cap="flat">
                    <a:solidFill>
                      <a:schemeClr val="bg1">
                        <a:alpha val="40000"/>
                      </a:schemeClr>
                    </a:solidFill>
                    <a:prstDash val="solid"/>
                    <a:miter/>
                  </a:ln>
                </p:spPr>
                <p:txBody>
                  <a:bodyPr rtlCol="0" anchor="ctr"/>
                  <a:lstStyle/>
                  <a:p>
                    <a:endParaRPr lang="en-GB"/>
                  </a:p>
                </p:txBody>
              </p:sp>
              <p:sp>
                <p:nvSpPr>
                  <p:cNvPr id="7898" name="Vrije vorm: vorm 7897">
                    <a:extLst>
                      <a:ext uri="{FF2B5EF4-FFF2-40B4-BE49-F238E27FC236}">
                        <a16:creationId xmlns:a16="http://schemas.microsoft.com/office/drawing/2014/main" id="{699AFEC7-083C-41CE-BA4F-FF9AF3194893}"/>
                      </a:ext>
                    </a:extLst>
                  </p:cNvPr>
                  <p:cNvSpPr/>
                  <p:nvPr/>
                </p:nvSpPr>
                <p:spPr>
                  <a:xfrm>
                    <a:off x="5758917" y="5387713"/>
                    <a:ext cx="3289" cy="1854"/>
                  </a:xfrm>
                  <a:custGeom>
                    <a:avLst/>
                    <a:gdLst>
                      <a:gd name="connsiteX0" fmla="*/ 0 w 3289"/>
                      <a:gd name="connsiteY0" fmla="*/ 60 h 1854"/>
                      <a:gd name="connsiteX1" fmla="*/ 1196 w 3289"/>
                      <a:gd name="connsiteY1" fmla="*/ 957 h 1854"/>
                      <a:gd name="connsiteX2" fmla="*/ 2332 w 3289"/>
                      <a:gd name="connsiteY2" fmla="*/ 1854 h 1854"/>
                      <a:gd name="connsiteX3" fmla="*/ 2990 w 3289"/>
                      <a:gd name="connsiteY3" fmla="*/ 598 h 1854"/>
                      <a:gd name="connsiteX4" fmla="*/ 3289 w 3289"/>
                      <a:gd name="connsiteY4" fmla="*/ 0 h 1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 h="1854">
                        <a:moveTo>
                          <a:pt x="0" y="60"/>
                        </a:moveTo>
                        <a:lnTo>
                          <a:pt x="1196" y="957"/>
                        </a:lnTo>
                        <a:lnTo>
                          <a:pt x="2332" y="1854"/>
                        </a:lnTo>
                        <a:lnTo>
                          <a:pt x="2990" y="598"/>
                        </a:lnTo>
                        <a:lnTo>
                          <a:pt x="3289" y="0"/>
                        </a:lnTo>
                      </a:path>
                    </a:pathLst>
                  </a:custGeom>
                  <a:noFill/>
                  <a:ln w="6350" cap="flat">
                    <a:solidFill>
                      <a:schemeClr val="bg1">
                        <a:alpha val="40000"/>
                      </a:schemeClr>
                    </a:solidFill>
                    <a:prstDash val="solid"/>
                    <a:miter/>
                  </a:ln>
                </p:spPr>
                <p:txBody>
                  <a:bodyPr rtlCol="0" anchor="ctr"/>
                  <a:lstStyle/>
                  <a:p>
                    <a:endParaRPr lang="en-GB"/>
                  </a:p>
                </p:txBody>
              </p:sp>
              <p:sp>
                <p:nvSpPr>
                  <p:cNvPr id="7899" name="Vrije vorm: vorm 7898">
                    <a:extLst>
                      <a:ext uri="{FF2B5EF4-FFF2-40B4-BE49-F238E27FC236}">
                        <a16:creationId xmlns:a16="http://schemas.microsoft.com/office/drawing/2014/main" id="{BE004EFA-02D8-4360-AE19-99DBDD0B5EC2}"/>
                      </a:ext>
                    </a:extLst>
                  </p:cNvPr>
                  <p:cNvSpPr/>
                  <p:nvPr/>
                </p:nvSpPr>
                <p:spPr>
                  <a:xfrm>
                    <a:off x="5767289" y="5353683"/>
                    <a:ext cx="4725" cy="20035"/>
                  </a:xfrm>
                  <a:custGeom>
                    <a:avLst/>
                    <a:gdLst>
                      <a:gd name="connsiteX0" fmla="*/ 60 w 4725"/>
                      <a:gd name="connsiteY0" fmla="*/ 20035 h 20035"/>
                      <a:gd name="connsiteX1" fmla="*/ 60 w 4725"/>
                      <a:gd name="connsiteY1" fmla="*/ 19377 h 20035"/>
                      <a:gd name="connsiteX2" fmla="*/ 60 w 4725"/>
                      <a:gd name="connsiteY2" fmla="*/ 19138 h 20035"/>
                      <a:gd name="connsiteX3" fmla="*/ 0 w 4725"/>
                      <a:gd name="connsiteY3" fmla="*/ 17464 h 20035"/>
                      <a:gd name="connsiteX4" fmla="*/ 120 w 4725"/>
                      <a:gd name="connsiteY4" fmla="*/ 16866 h 20035"/>
                      <a:gd name="connsiteX5" fmla="*/ 598 w 4725"/>
                      <a:gd name="connsiteY5" fmla="*/ 14354 h 20035"/>
                      <a:gd name="connsiteX6" fmla="*/ 1316 w 4725"/>
                      <a:gd name="connsiteY6" fmla="*/ 10586 h 20035"/>
                      <a:gd name="connsiteX7" fmla="*/ 1615 w 4725"/>
                      <a:gd name="connsiteY7" fmla="*/ 9091 h 20035"/>
                      <a:gd name="connsiteX8" fmla="*/ 2871 w 4725"/>
                      <a:gd name="connsiteY8" fmla="*/ 5382 h 20035"/>
                      <a:gd name="connsiteX9" fmla="*/ 3529 w 4725"/>
                      <a:gd name="connsiteY9" fmla="*/ 3469 h 20035"/>
                      <a:gd name="connsiteX10" fmla="*/ 3648 w 4725"/>
                      <a:gd name="connsiteY10" fmla="*/ 3170 h 20035"/>
                      <a:gd name="connsiteX11" fmla="*/ 4725 w 4725"/>
                      <a:gd name="connsiteY11" fmla="*/ 0 h 2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 h="20035">
                        <a:moveTo>
                          <a:pt x="60" y="20035"/>
                        </a:moveTo>
                        <a:lnTo>
                          <a:pt x="60" y="19377"/>
                        </a:lnTo>
                        <a:lnTo>
                          <a:pt x="60" y="19138"/>
                        </a:lnTo>
                        <a:lnTo>
                          <a:pt x="0" y="17464"/>
                        </a:lnTo>
                        <a:lnTo>
                          <a:pt x="120" y="16866"/>
                        </a:lnTo>
                        <a:lnTo>
                          <a:pt x="598" y="14354"/>
                        </a:lnTo>
                        <a:lnTo>
                          <a:pt x="1316" y="10586"/>
                        </a:lnTo>
                        <a:lnTo>
                          <a:pt x="1615" y="9091"/>
                        </a:lnTo>
                        <a:lnTo>
                          <a:pt x="2871" y="5382"/>
                        </a:lnTo>
                        <a:lnTo>
                          <a:pt x="3529" y="3469"/>
                        </a:lnTo>
                        <a:lnTo>
                          <a:pt x="3648" y="3170"/>
                        </a:lnTo>
                        <a:lnTo>
                          <a:pt x="4725" y="0"/>
                        </a:lnTo>
                      </a:path>
                    </a:pathLst>
                  </a:custGeom>
                  <a:noFill/>
                  <a:ln w="6350" cap="flat">
                    <a:solidFill>
                      <a:schemeClr val="bg1">
                        <a:alpha val="40000"/>
                      </a:schemeClr>
                    </a:solidFill>
                    <a:prstDash val="solid"/>
                    <a:miter/>
                  </a:ln>
                </p:spPr>
                <p:txBody>
                  <a:bodyPr rtlCol="0" anchor="ctr"/>
                  <a:lstStyle/>
                  <a:p>
                    <a:endParaRPr lang="en-GB"/>
                  </a:p>
                </p:txBody>
              </p:sp>
              <p:sp>
                <p:nvSpPr>
                  <p:cNvPr id="7900" name="Vrije vorm: vorm 7899">
                    <a:extLst>
                      <a:ext uri="{FF2B5EF4-FFF2-40B4-BE49-F238E27FC236}">
                        <a16:creationId xmlns:a16="http://schemas.microsoft.com/office/drawing/2014/main" id="{FB666B7F-7C73-4AFC-AAB1-9050EC9AC1EE}"/>
                      </a:ext>
                    </a:extLst>
                  </p:cNvPr>
                  <p:cNvSpPr/>
                  <p:nvPr/>
                </p:nvSpPr>
                <p:spPr>
                  <a:xfrm>
                    <a:off x="5768904" y="5379938"/>
                    <a:ext cx="11961" cy="3349"/>
                  </a:xfrm>
                  <a:custGeom>
                    <a:avLst/>
                    <a:gdLst>
                      <a:gd name="connsiteX0" fmla="*/ 11961 w 11961"/>
                      <a:gd name="connsiteY0" fmla="*/ 0 h 3349"/>
                      <a:gd name="connsiteX1" fmla="*/ 8971 w 11961"/>
                      <a:gd name="connsiteY1" fmla="*/ 1854 h 3349"/>
                      <a:gd name="connsiteX2" fmla="*/ 8194 w 11961"/>
                      <a:gd name="connsiteY2" fmla="*/ 2332 h 3349"/>
                      <a:gd name="connsiteX3" fmla="*/ 6399 w 11961"/>
                      <a:gd name="connsiteY3" fmla="*/ 2751 h 3349"/>
                      <a:gd name="connsiteX4" fmla="*/ 3648 w 11961"/>
                      <a:gd name="connsiteY4" fmla="*/ 3349 h 3349"/>
                      <a:gd name="connsiteX5" fmla="*/ 1974 w 11961"/>
                      <a:gd name="connsiteY5" fmla="*/ 2572 h 3349"/>
                      <a:gd name="connsiteX6" fmla="*/ 299 w 11961"/>
                      <a:gd name="connsiteY6" fmla="*/ 1794 h 3349"/>
                      <a:gd name="connsiteX7" fmla="*/ 0 w 11961"/>
                      <a:gd name="connsiteY7" fmla="*/ 1076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1" h="3349">
                        <a:moveTo>
                          <a:pt x="11961" y="0"/>
                        </a:moveTo>
                        <a:lnTo>
                          <a:pt x="8971" y="1854"/>
                        </a:lnTo>
                        <a:lnTo>
                          <a:pt x="8194" y="2332"/>
                        </a:lnTo>
                        <a:lnTo>
                          <a:pt x="6399" y="2751"/>
                        </a:lnTo>
                        <a:lnTo>
                          <a:pt x="3648" y="3349"/>
                        </a:lnTo>
                        <a:lnTo>
                          <a:pt x="1974" y="2572"/>
                        </a:lnTo>
                        <a:lnTo>
                          <a:pt x="299" y="1794"/>
                        </a:lnTo>
                        <a:lnTo>
                          <a:pt x="0" y="1076"/>
                        </a:lnTo>
                      </a:path>
                    </a:pathLst>
                  </a:custGeom>
                  <a:noFill/>
                  <a:ln w="6350" cap="flat">
                    <a:solidFill>
                      <a:schemeClr val="bg1">
                        <a:alpha val="40000"/>
                      </a:schemeClr>
                    </a:solidFill>
                    <a:prstDash val="solid"/>
                    <a:miter/>
                  </a:ln>
                </p:spPr>
                <p:txBody>
                  <a:bodyPr rtlCol="0" anchor="ctr"/>
                  <a:lstStyle/>
                  <a:p>
                    <a:endParaRPr lang="en-GB"/>
                  </a:p>
                </p:txBody>
              </p:sp>
              <p:sp>
                <p:nvSpPr>
                  <p:cNvPr id="7901" name="Vrije vorm: vorm 7900">
                    <a:extLst>
                      <a:ext uri="{FF2B5EF4-FFF2-40B4-BE49-F238E27FC236}">
                        <a16:creationId xmlns:a16="http://schemas.microsoft.com/office/drawing/2014/main" id="{4A3449E1-8FB6-4571-91F8-72ABFEFACF6D}"/>
                      </a:ext>
                    </a:extLst>
                  </p:cNvPr>
                  <p:cNvSpPr/>
                  <p:nvPr/>
                </p:nvSpPr>
                <p:spPr>
                  <a:xfrm>
                    <a:off x="5718068" y="5288134"/>
                    <a:ext cx="35645" cy="56936"/>
                  </a:xfrm>
                  <a:custGeom>
                    <a:avLst/>
                    <a:gdLst>
                      <a:gd name="connsiteX0" fmla="*/ 0 w 35645"/>
                      <a:gd name="connsiteY0" fmla="*/ 56937 h 56936"/>
                      <a:gd name="connsiteX1" fmla="*/ 1794 w 35645"/>
                      <a:gd name="connsiteY1" fmla="*/ 53408 h 56936"/>
                      <a:gd name="connsiteX2" fmla="*/ 2213 w 35645"/>
                      <a:gd name="connsiteY2" fmla="*/ 52630 h 56936"/>
                      <a:gd name="connsiteX3" fmla="*/ 2572 w 35645"/>
                      <a:gd name="connsiteY3" fmla="*/ 51972 h 56936"/>
                      <a:gd name="connsiteX4" fmla="*/ 4366 w 35645"/>
                      <a:gd name="connsiteY4" fmla="*/ 48444 h 56936"/>
                      <a:gd name="connsiteX5" fmla="*/ 4964 w 35645"/>
                      <a:gd name="connsiteY5" fmla="*/ 47308 h 56936"/>
                      <a:gd name="connsiteX6" fmla="*/ 5263 w 35645"/>
                      <a:gd name="connsiteY6" fmla="*/ 46650 h 56936"/>
                      <a:gd name="connsiteX7" fmla="*/ 7057 w 35645"/>
                      <a:gd name="connsiteY7" fmla="*/ 43121 h 56936"/>
                      <a:gd name="connsiteX8" fmla="*/ 8851 w 35645"/>
                      <a:gd name="connsiteY8" fmla="*/ 39592 h 56936"/>
                      <a:gd name="connsiteX9" fmla="*/ 10645 w 35645"/>
                      <a:gd name="connsiteY9" fmla="*/ 36064 h 56936"/>
                      <a:gd name="connsiteX10" fmla="*/ 12380 w 35645"/>
                      <a:gd name="connsiteY10" fmla="*/ 32655 h 56936"/>
                      <a:gd name="connsiteX11" fmla="*/ 12679 w 35645"/>
                      <a:gd name="connsiteY11" fmla="*/ 32116 h 56936"/>
                      <a:gd name="connsiteX12" fmla="*/ 14473 w 35645"/>
                      <a:gd name="connsiteY12" fmla="*/ 28588 h 56936"/>
                      <a:gd name="connsiteX13" fmla="*/ 15490 w 35645"/>
                      <a:gd name="connsiteY13" fmla="*/ 26554 h 56936"/>
                      <a:gd name="connsiteX14" fmla="*/ 15729 w 35645"/>
                      <a:gd name="connsiteY14" fmla="*/ 26016 h 56936"/>
                      <a:gd name="connsiteX15" fmla="*/ 17523 w 35645"/>
                      <a:gd name="connsiteY15" fmla="*/ 22488 h 56936"/>
                      <a:gd name="connsiteX16" fmla="*/ 19318 w 35645"/>
                      <a:gd name="connsiteY16" fmla="*/ 18959 h 56936"/>
                      <a:gd name="connsiteX17" fmla="*/ 21112 w 35645"/>
                      <a:gd name="connsiteY17" fmla="*/ 15430 h 56936"/>
                      <a:gd name="connsiteX18" fmla="*/ 22906 w 35645"/>
                      <a:gd name="connsiteY18" fmla="*/ 11902 h 56936"/>
                      <a:gd name="connsiteX19" fmla="*/ 24700 w 35645"/>
                      <a:gd name="connsiteY19" fmla="*/ 8373 h 56936"/>
                      <a:gd name="connsiteX20" fmla="*/ 25717 w 35645"/>
                      <a:gd name="connsiteY20" fmla="*/ 6340 h 56936"/>
                      <a:gd name="connsiteX21" fmla="*/ 26196 w 35645"/>
                      <a:gd name="connsiteY21" fmla="*/ 5383 h 56936"/>
                      <a:gd name="connsiteX22" fmla="*/ 26734 w 35645"/>
                      <a:gd name="connsiteY22" fmla="*/ 4486 h 56936"/>
                      <a:gd name="connsiteX23" fmla="*/ 27332 w 35645"/>
                      <a:gd name="connsiteY23" fmla="*/ 3648 h 56936"/>
                      <a:gd name="connsiteX24" fmla="*/ 27930 w 35645"/>
                      <a:gd name="connsiteY24" fmla="*/ 2871 h 56936"/>
                      <a:gd name="connsiteX25" fmla="*/ 28588 w 35645"/>
                      <a:gd name="connsiteY25" fmla="*/ 2153 h 56936"/>
                      <a:gd name="connsiteX26" fmla="*/ 29246 w 35645"/>
                      <a:gd name="connsiteY26" fmla="*/ 1495 h 56936"/>
                      <a:gd name="connsiteX27" fmla="*/ 29844 w 35645"/>
                      <a:gd name="connsiteY27" fmla="*/ 957 h 56936"/>
                      <a:gd name="connsiteX28" fmla="*/ 30442 w 35645"/>
                      <a:gd name="connsiteY28" fmla="*/ 538 h 56936"/>
                      <a:gd name="connsiteX29" fmla="*/ 31040 w 35645"/>
                      <a:gd name="connsiteY29" fmla="*/ 239 h 56936"/>
                      <a:gd name="connsiteX30" fmla="*/ 31578 w 35645"/>
                      <a:gd name="connsiteY30" fmla="*/ 60 h 56936"/>
                      <a:gd name="connsiteX31" fmla="*/ 32057 w 35645"/>
                      <a:gd name="connsiteY31" fmla="*/ 0 h 56936"/>
                      <a:gd name="connsiteX32" fmla="*/ 32475 w 35645"/>
                      <a:gd name="connsiteY32" fmla="*/ 60 h 56936"/>
                      <a:gd name="connsiteX33" fmla="*/ 35167 w 35645"/>
                      <a:gd name="connsiteY33" fmla="*/ 897 h 56936"/>
                      <a:gd name="connsiteX34" fmla="*/ 35645 w 35645"/>
                      <a:gd name="connsiteY34" fmla="*/ 1076 h 56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5" h="56936">
                        <a:moveTo>
                          <a:pt x="0" y="56937"/>
                        </a:moveTo>
                        <a:lnTo>
                          <a:pt x="1794" y="53408"/>
                        </a:lnTo>
                        <a:lnTo>
                          <a:pt x="2213" y="52630"/>
                        </a:lnTo>
                        <a:lnTo>
                          <a:pt x="2572" y="51972"/>
                        </a:lnTo>
                        <a:lnTo>
                          <a:pt x="4366" y="48444"/>
                        </a:lnTo>
                        <a:lnTo>
                          <a:pt x="4964" y="47308"/>
                        </a:lnTo>
                        <a:lnTo>
                          <a:pt x="5263" y="46650"/>
                        </a:lnTo>
                        <a:lnTo>
                          <a:pt x="7057" y="43121"/>
                        </a:lnTo>
                        <a:lnTo>
                          <a:pt x="8851" y="39592"/>
                        </a:lnTo>
                        <a:lnTo>
                          <a:pt x="10645" y="36064"/>
                        </a:lnTo>
                        <a:lnTo>
                          <a:pt x="12380" y="32655"/>
                        </a:lnTo>
                        <a:lnTo>
                          <a:pt x="12679" y="32116"/>
                        </a:lnTo>
                        <a:lnTo>
                          <a:pt x="14473" y="28588"/>
                        </a:lnTo>
                        <a:lnTo>
                          <a:pt x="15490" y="26554"/>
                        </a:lnTo>
                        <a:lnTo>
                          <a:pt x="15729" y="26016"/>
                        </a:lnTo>
                        <a:lnTo>
                          <a:pt x="17523" y="22488"/>
                        </a:lnTo>
                        <a:lnTo>
                          <a:pt x="19318" y="18959"/>
                        </a:lnTo>
                        <a:lnTo>
                          <a:pt x="21112" y="15430"/>
                        </a:lnTo>
                        <a:lnTo>
                          <a:pt x="22906" y="11902"/>
                        </a:lnTo>
                        <a:lnTo>
                          <a:pt x="24700" y="8373"/>
                        </a:lnTo>
                        <a:lnTo>
                          <a:pt x="25717" y="6340"/>
                        </a:lnTo>
                        <a:lnTo>
                          <a:pt x="26196" y="5383"/>
                        </a:lnTo>
                        <a:lnTo>
                          <a:pt x="26734" y="4486"/>
                        </a:lnTo>
                        <a:lnTo>
                          <a:pt x="27332" y="3648"/>
                        </a:lnTo>
                        <a:lnTo>
                          <a:pt x="27930" y="2871"/>
                        </a:lnTo>
                        <a:lnTo>
                          <a:pt x="28588" y="2153"/>
                        </a:lnTo>
                        <a:lnTo>
                          <a:pt x="29246" y="1495"/>
                        </a:lnTo>
                        <a:lnTo>
                          <a:pt x="29844" y="957"/>
                        </a:lnTo>
                        <a:lnTo>
                          <a:pt x="30442" y="538"/>
                        </a:lnTo>
                        <a:lnTo>
                          <a:pt x="31040" y="239"/>
                        </a:lnTo>
                        <a:lnTo>
                          <a:pt x="31578" y="60"/>
                        </a:lnTo>
                        <a:lnTo>
                          <a:pt x="32057" y="0"/>
                        </a:lnTo>
                        <a:lnTo>
                          <a:pt x="32475" y="60"/>
                        </a:lnTo>
                        <a:lnTo>
                          <a:pt x="35167" y="897"/>
                        </a:lnTo>
                        <a:lnTo>
                          <a:pt x="35645" y="1076"/>
                        </a:lnTo>
                      </a:path>
                    </a:pathLst>
                  </a:custGeom>
                  <a:noFill/>
                  <a:ln w="6350" cap="flat">
                    <a:solidFill>
                      <a:schemeClr val="bg1">
                        <a:alpha val="40000"/>
                      </a:schemeClr>
                    </a:solidFill>
                    <a:prstDash val="solid"/>
                    <a:miter/>
                  </a:ln>
                </p:spPr>
                <p:txBody>
                  <a:bodyPr rtlCol="0" anchor="ctr"/>
                  <a:lstStyle/>
                  <a:p>
                    <a:endParaRPr lang="en-GB"/>
                  </a:p>
                </p:txBody>
              </p:sp>
              <p:sp>
                <p:nvSpPr>
                  <p:cNvPr id="7902" name="Vrije vorm: vorm 7901">
                    <a:extLst>
                      <a:ext uri="{FF2B5EF4-FFF2-40B4-BE49-F238E27FC236}">
                        <a16:creationId xmlns:a16="http://schemas.microsoft.com/office/drawing/2014/main" id="{D6A9B984-0858-4238-97C6-0EC6DAD4C027}"/>
                      </a:ext>
                    </a:extLst>
                  </p:cNvPr>
                  <p:cNvSpPr/>
                  <p:nvPr/>
                </p:nvSpPr>
                <p:spPr>
                  <a:xfrm>
                    <a:off x="5768904" y="5381493"/>
                    <a:ext cx="358" cy="239"/>
                  </a:xfrm>
                  <a:custGeom>
                    <a:avLst/>
                    <a:gdLst>
                      <a:gd name="connsiteX0" fmla="*/ 359 w 358"/>
                      <a:gd name="connsiteY0" fmla="*/ 239 h 239"/>
                      <a:gd name="connsiteX1" fmla="*/ 0 w 358"/>
                      <a:gd name="connsiteY1" fmla="*/ 0 h 239"/>
                    </a:gdLst>
                    <a:ahLst/>
                    <a:cxnLst>
                      <a:cxn ang="0">
                        <a:pos x="connsiteX0" y="connsiteY0"/>
                      </a:cxn>
                      <a:cxn ang="0">
                        <a:pos x="connsiteX1" y="connsiteY1"/>
                      </a:cxn>
                    </a:cxnLst>
                    <a:rect l="l" t="t" r="r" b="b"/>
                    <a:pathLst>
                      <a:path w="358" h="239">
                        <a:moveTo>
                          <a:pt x="359" y="239"/>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03" name="Vrije vorm: vorm 7902">
                    <a:extLst>
                      <a:ext uri="{FF2B5EF4-FFF2-40B4-BE49-F238E27FC236}">
                        <a16:creationId xmlns:a16="http://schemas.microsoft.com/office/drawing/2014/main" id="{BB4C1BE3-05BF-48E2-AEF0-8D87135AB252}"/>
                      </a:ext>
                    </a:extLst>
                  </p:cNvPr>
                  <p:cNvSpPr/>
                  <p:nvPr/>
                </p:nvSpPr>
                <p:spPr>
                  <a:xfrm>
                    <a:off x="5751381" y="5385919"/>
                    <a:ext cx="8492" cy="16985"/>
                  </a:xfrm>
                  <a:custGeom>
                    <a:avLst/>
                    <a:gdLst>
                      <a:gd name="connsiteX0" fmla="*/ 8493 w 8492"/>
                      <a:gd name="connsiteY0" fmla="*/ 0 h 16985"/>
                      <a:gd name="connsiteX1" fmla="*/ 8253 w 8492"/>
                      <a:gd name="connsiteY1" fmla="*/ 478 h 16985"/>
                      <a:gd name="connsiteX2" fmla="*/ 7895 w 8492"/>
                      <a:gd name="connsiteY2" fmla="*/ 1196 h 16985"/>
                      <a:gd name="connsiteX3" fmla="*/ 7595 w 8492"/>
                      <a:gd name="connsiteY3" fmla="*/ 1854 h 16985"/>
                      <a:gd name="connsiteX4" fmla="*/ 5801 w 8492"/>
                      <a:gd name="connsiteY4" fmla="*/ 5382 h 16985"/>
                      <a:gd name="connsiteX5" fmla="*/ 4007 w 8492"/>
                      <a:gd name="connsiteY5" fmla="*/ 8911 h 16985"/>
                      <a:gd name="connsiteX6" fmla="*/ 3887 w 8492"/>
                      <a:gd name="connsiteY6" fmla="*/ 9210 h 16985"/>
                      <a:gd name="connsiteX7" fmla="*/ 3409 w 8492"/>
                      <a:gd name="connsiteY7" fmla="*/ 10167 h 16985"/>
                      <a:gd name="connsiteX8" fmla="*/ 1734 w 8492"/>
                      <a:gd name="connsiteY8" fmla="*/ 13516 h 16985"/>
                      <a:gd name="connsiteX9" fmla="*/ 1615 w 8492"/>
                      <a:gd name="connsiteY9" fmla="*/ 13696 h 16985"/>
                      <a:gd name="connsiteX10" fmla="*/ 1017 w 8492"/>
                      <a:gd name="connsiteY10" fmla="*/ 14832 h 16985"/>
                      <a:gd name="connsiteX11" fmla="*/ 359 w 8492"/>
                      <a:gd name="connsiteY11" fmla="*/ 16208 h 16985"/>
                      <a:gd name="connsiteX12" fmla="*/ 0 w 8492"/>
                      <a:gd name="connsiteY12" fmla="*/ 16985 h 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2" h="16985">
                        <a:moveTo>
                          <a:pt x="8493" y="0"/>
                        </a:moveTo>
                        <a:lnTo>
                          <a:pt x="8253" y="478"/>
                        </a:lnTo>
                        <a:lnTo>
                          <a:pt x="7895" y="1196"/>
                        </a:lnTo>
                        <a:lnTo>
                          <a:pt x="7595" y="1854"/>
                        </a:lnTo>
                        <a:lnTo>
                          <a:pt x="5801" y="5382"/>
                        </a:lnTo>
                        <a:lnTo>
                          <a:pt x="4007" y="8911"/>
                        </a:lnTo>
                        <a:lnTo>
                          <a:pt x="3887" y="9210"/>
                        </a:lnTo>
                        <a:lnTo>
                          <a:pt x="3409" y="10167"/>
                        </a:lnTo>
                        <a:lnTo>
                          <a:pt x="1734" y="13516"/>
                        </a:lnTo>
                        <a:lnTo>
                          <a:pt x="1615" y="13696"/>
                        </a:lnTo>
                        <a:lnTo>
                          <a:pt x="1017" y="14832"/>
                        </a:lnTo>
                        <a:lnTo>
                          <a:pt x="359" y="16208"/>
                        </a:lnTo>
                        <a:lnTo>
                          <a:pt x="0" y="16985"/>
                        </a:lnTo>
                      </a:path>
                    </a:pathLst>
                  </a:custGeom>
                  <a:noFill/>
                  <a:ln w="6350" cap="flat">
                    <a:solidFill>
                      <a:schemeClr val="bg1">
                        <a:alpha val="40000"/>
                      </a:schemeClr>
                    </a:solidFill>
                    <a:prstDash val="solid"/>
                    <a:miter/>
                  </a:ln>
                </p:spPr>
                <p:txBody>
                  <a:bodyPr rtlCol="0" anchor="ctr"/>
                  <a:lstStyle/>
                  <a:p>
                    <a:endParaRPr lang="en-GB"/>
                  </a:p>
                </p:txBody>
              </p:sp>
              <p:sp>
                <p:nvSpPr>
                  <p:cNvPr id="7904" name="Vrije vorm: vorm 7903">
                    <a:extLst>
                      <a:ext uri="{FF2B5EF4-FFF2-40B4-BE49-F238E27FC236}">
                        <a16:creationId xmlns:a16="http://schemas.microsoft.com/office/drawing/2014/main" id="{56415341-CE0B-4CA1-89B7-7CA5EFF87188}"/>
                      </a:ext>
                    </a:extLst>
                  </p:cNvPr>
                  <p:cNvSpPr/>
                  <p:nvPr/>
                </p:nvSpPr>
                <p:spPr>
                  <a:xfrm>
                    <a:off x="5764120" y="5360381"/>
                    <a:ext cx="1555" cy="10107"/>
                  </a:xfrm>
                  <a:custGeom>
                    <a:avLst/>
                    <a:gdLst>
                      <a:gd name="connsiteX0" fmla="*/ 60 w 1555"/>
                      <a:gd name="connsiteY0" fmla="*/ 10107 h 10107"/>
                      <a:gd name="connsiteX1" fmla="*/ 60 w 1555"/>
                      <a:gd name="connsiteY1" fmla="*/ 9928 h 10107"/>
                      <a:gd name="connsiteX2" fmla="*/ 60 w 1555"/>
                      <a:gd name="connsiteY2" fmla="*/ 9928 h 10107"/>
                      <a:gd name="connsiteX3" fmla="*/ 0 w 1555"/>
                      <a:gd name="connsiteY3" fmla="*/ 8373 h 10107"/>
                      <a:gd name="connsiteX4" fmla="*/ 658 w 1555"/>
                      <a:gd name="connsiteY4" fmla="*/ 4605 h 10107"/>
                      <a:gd name="connsiteX5" fmla="*/ 1375 w 1555"/>
                      <a:gd name="connsiteY5" fmla="*/ 837 h 10107"/>
                      <a:gd name="connsiteX6" fmla="*/ 1555 w 1555"/>
                      <a:gd name="connsiteY6" fmla="*/ 0 h 1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5" h="10107">
                        <a:moveTo>
                          <a:pt x="60" y="10107"/>
                        </a:moveTo>
                        <a:lnTo>
                          <a:pt x="60" y="9928"/>
                        </a:lnTo>
                        <a:lnTo>
                          <a:pt x="60" y="9928"/>
                        </a:lnTo>
                        <a:lnTo>
                          <a:pt x="0" y="8373"/>
                        </a:lnTo>
                        <a:lnTo>
                          <a:pt x="658" y="4605"/>
                        </a:lnTo>
                        <a:lnTo>
                          <a:pt x="1375" y="837"/>
                        </a:lnTo>
                        <a:lnTo>
                          <a:pt x="1555" y="0"/>
                        </a:lnTo>
                      </a:path>
                    </a:pathLst>
                  </a:custGeom>
                  <a:noFill/>
                  <a:ln w="6350" cap="flat">
                    <a:solidFill>
                      <a:schemeClr val="bg1">
                        <a:alpha val="40000"/>
                      </a:schemeClr>
                    </a:solidFill>
                    <a:prstDash val="solid"/>
                    <a:miter/>
                  </a:ln>
                </p:spPr>
                <p:txBody>
                  <a:bodyPr rtlCol="0" anchor="ctr"/>
                  <a:lstStyle/>
                  <a:p>
                    <a:endParaRPr lang="en-GB"/>
                  </a:p>
                </p:txBody>
              </p:sp>
              <p:sp>
                <p:nvSpPr>
                  <p:cNvPr id="7905" name="Vrije vorm: vorm 7904">
                    <a:extLst>
                      <a:ext uri="{FF2B5EF4-FFF2-40B4-BE49-F238E27FC236}">
                        <a16:creationId xmlns:a16="http://schemas.microsoft.com/office/drawing/2014/main" id="{8BB41538-7E4F-4917-A78E-7C6DACB3BEB9}"/>
                      </a:ext>
                    </a:extLst>
                  </p:cNvPr>
                  <p:cNvSpPr/>
                  <p:nvPr/>
                </p:nvSpPr>
                <p:spPr>
                  <a:xfrm>
                    <a:off x="5733439" y="5322104"/>
                    <a:ext cx="33312" cy="88634"/>
                  </a:xfrm>
                  <a:custGeom>
                    <a:avLst/>
                    <a:gdLst>
                      <a:gd name="connsiteX0" fmla="*/ 0 w 33312"/>
                      <a:gd name="connsiteY0" fmla="*/ 88634 h 88634"/>
                      <a:gd name="connsiteX1" fmla="*/ 1794 w 33312"/>
                      <a:gd name="connsiteY1" fmla="*/ 85106 h 88634"/>
                      <a:gd name="connsiteX2" fmla="*/ 3588 w 33312"/>
                      <a:gd name="connsiteY2" fmla="*/ 81577 h 88634"/>
                      <a:gd name="connsiteX3" fmla="*/ 5263 w 33312"/>
                      <a:gd name="connsiteY3" fmla="*/ 78288 h 88634"/>
                      <a:gd name="connsiteX4" fmla="*/ 5263 w 33312"/>
                      <a:gd name="connsiteY4" fmla="*/ 78288 h 88634"/>
                      <a:gd name="connsiteX5" fmla="*/ 7057 w 33312"/>
                      <a:gd name="connsiteY5" fmla="*/ 74759 h 88634"/>
                      <a:gd name="connsiteX6" fmla="*/ 7835 w 33312"/>
                      <a:gd name="connsiteY6" fmla="*/ 73204 h 88634"/>
                      <a:gd name="connsiteX7" fmla="*/ 8493 w 33312"/>
                      <a:gd name="connsiteY7" fmla="*/ 71948 h 88634"/>
                      <a:gd name="connsiteX8" fmla="*/ 9629 w 33312"/>
                      <a:gd name="connsiteY8" fmla="*/ 69676 h 88634"/>
                      <a:gd name="connsiteX9" fmla="*/ 9749 w 33312"/>
                      <a:gd name="connsiteY9" fmla="*/ 69496 h 88634"/>
                      <a:gd name="connsiteX10" fmla="*/ 10945 w 33312"/>
                      <a:gd name="connsiteY10" fmla="*/ 67164 h 88634"/>
                      <a:gd name="connsiteX11" fmla="*/ 12739 w 33312"/>
                      <a:gd name="connsiteY11" fmla="*/ 63635 h 88634"/>
                      <a:gd name="connsiteX12" fmla="*/ 14533 w 33312"/>
                      <a:gd name="connsiteY12" fmla="*/ 60107 h 88634"/>
                      <a:gd name="connsiteX13" fmla="*/ 15490 w 33312"/>
                      <a:gd name="connsiteY13" fmla="*/ 58252 h 88634"/>
                      <a:gd name="connsiteX14" fmla="*/ 15490 w 33312"/>
                      <a:gd name="connsiteY14" fmla="*/ 58252 h 88634"/>
                      <a:gd name="connsiteX15" fmla="*/ 16267 w 33312"/>
                      <a:gd name="connsiteY15" fmla="*/ 56638 h 88634"/>
                      <a:gd name="connsiteX16" fmla="*/ 16746 w 33312"/>
                      <a:gd name="connsiteY16" fmla="*/ 55740 h 88634"/>
                      <a:gd name="connsiteX17" fmla="*/ 16806 w 33312"/>
                      <a:gd name="connsiteY17" fmla="*/ 55681 h 88634"/>
                      <a:gd name="connsiteX18" fmla="*/ 18361 w 33312"/>
                      <a:gd name="connsiteY18" fmla="*/ 52631 h 88634"/>
                      <a:gd name="connsiteX19" fmla="*/ 18839 w 33312"/>
                      <a:gd name="connsiteY19" fmla="*/ 51733 h 88634"/>
                      <a:gd name="connsiteX20" fmla="*/ 19437 w 33312"/>
                      <a:gd name="connsiteY20" fmla="*/ 50597 h 88634"/>
                      <a:gd name="connsiteX21" fmla="*/ 19497 w 33312"/>
                      <a:gd name="connsiteY21" fmla="*/ 50417 h 88634"/>
                      <a:gd name="connsiteX22" fmla="*/ 21291 w 33312"/>
                      <a:gd name="connsiteY22" fmla="*/ 46889 h 88634"/>
                      <a:gd name="connsiteX23" fmla="*/ 23086 w 33312"/>
                      <a:gd name="connsiteY23" fmla="*/ 43360 h 88634"/>
                      <a:gd name="connsiteX24" fmla="*/ 24880 w 33312"/>
                      <a:gd name="connsiteY24" fmla="*/ 39832 h 88634"/>
                      <a:gd name="connsiteX25" fmla="*/ 26016 w 33312"/>
                      <a:gd name="connsiteY25" fmla="*/ 37559 h 88634"/>
                      <a:gd name="connsiteX26" fmla="*/ 26435 w 33312"/>
                      <a:gd name="connsiteY26" fmla="*/ 36782 h 88634"/>
                      <a:gd name="connsiteX27" fmla="*/ 28229 w 33312"/>
                      <a:gd name="connsiteY27" fmla="*/ 33253 h 88634"/>
                      <a:gd name="connsiteX28" fmla="*/ 28528 w 33312"/>
                      <a:gd name="connsiteY28" fmla="*/ 32655 h 88634"/>
                      <a:gd name="connsiteX29" fmla="*/ 30322 w 33312"/>
                      <a:gd name="connsiteY29" fmla="*/ 29126 h 88634"/>
                      <a:gd name="connsiteX30" fmla="*/ 30741 w 33312"/>
                      <a:gd name="connsiteY30" fmla="*/ 28289 h 88634"/>
                      <a:gd name="connsiteX31" fmla="*/ 32535 w 33312"/>
                      <a:gd name="connsiteY31" fmla="*/ 24760 h 88634"/>
                      <a:gd name="connsiteX32" fmla="*/ 33313 w 33312"/>
                      <a:gd name="connsiteY32" fmla="*/ 23265 h 88634"/>
                      <a:gd name="connsiteX33" fmla="*/ 31159 w 33312"/>
                      <a:gd name="connsiteY33" fmla="*/ 22906 h 88634"/>
                      <a:gd name="connsiteX34" fmla="*/ 30442 w 33312"/>
                      <a:gd name="connsiteY34" fmla="*/ 22787 h 88634"/>
                      <a:gd name="connsiteX35" fmla="*/ 28349 w 33312"/>
                      <a:gd name="connsiteY35" fmla="*/ 21351 h 88634"/>
                      <a:gd name="connsiteX36" fmla="*/ 26674 w 33312"/>
                      <a:gd name="connsiteY36" fmla="*/ 20215 h 88634"/>
                      <a:gd name="connsiteX37" fmla="*/ 24401 w 33312"/>
                      <a:gd name="connsiteY37" fmla="*/ 18600 h 88634"/>
                      <a:gd name="connsiteX38" fmla="*/ 22129 w 33312"/>
                      <a:gd name="connsiteY38" fmla="*/ 16985 h 88634"/>
                      <a:gd name="connsiteX39" fmla="*/ 19856 w 33312"/>
                      <a:gd name="connsiteY39" fmla="*/ 15370 h 88634"/>
                      <a:gd name="connsiteX40" fmla="*/ 17583 w 33312"/>
                      <a:gd name="connsiteY40" fmla="*/ 13756 h 88634"/>
                      <a:gd name="connsiteX41" fmla="*/ 15311 w 33312"/>
                      <a:gd name="connsiteY41" fmla="*/ 12141 h 88634"/>
                      <a:gd name="connsiteX42" fmla="*/ 13038 w 33312"/>
                      <a:gd name="connsiteY42" fmla="*/ 10526 h 88634"/>
                      <a:gd name="connsiteX43" fmla="*/ 10765 w 33312"/>
                      <a:gd name="connsiteY43" fmla="*/ 8911 h 88634"/>
                      <a:gd name="connsiteX44" fmla="*/ 8493 w 33312"/>
                      <a:gd name="connsiteY44" fmla="*/ 7297 h 88634"/>
                      <a:gd name="connsiteX45" fmla="*/ 7775 w 33312"/>
                      <a:gd name="connsiteY45" fmla="*/ 6758 h 88634"/>
                      <a:gd name="connsiteX46" fmla="*/ 6878 w 33312"/>
                      <a:gd name="connsiteY46" fmla="*/ 6160 h 88634"/>
                      <a:gd name="connsiteX47" fmla="*/ 6639 w 33312"/>
                      <a:gd name="connsiteY47" fmla="*/ 5981 h 88634"/>
                      <a:gd name="connsiteX48" fmla="*/ 4725 w 33312"/>
                      <a:gd name="connsiteY48" fmla="*/ 4246 h 88634"/>
                      <a:gd name="connsiteX49" fmla="*/ 2632 w 33312"/>
                      <a:gd name="connsiteY49" fmla="*/ 2333 h 88634"/>
                      <a:gd name="connsiteX50" fmla="*/ 2273 w 33312"/>
                      <a:gd name="connsiteY50" fmla="*/ 2034 h 88634"/>
                      <a:gd name="connsiteX51" fmla="*/ 179 w 33312"/>
                      <a:gd name="connsiteY51" fmla="*/ 120 h 88634"/>
                      <a:gd name="connsiteX52" fmla="*/ 0 w 33312"/>
                      <a:gd name="connsiteY52" fmla="*/ 0 h 8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3312" h="88634">
                        <a:moveTo>
                          <a:pt x="0" y="88634"/>
                        </a:moveTo>
                        <a:lnTo>
                          <a:pt x="1794" y="85106"/>
                        </a:lnTo>
                        <a:lnTo>
                          <a:pt x="3588" y="81577"/>
                        </a:lnTo>
                        <a:lnTo>
                          <a:pt x="5263" y="78288"/>
                        </a:lnTo>
                        <a:lnTo>
                          <a:pt x="5263" y="78288"/>
                        </a:lnTo>
                        <a:lnTo>
                          <a:pt x="7057" y="74759"/>
                        </a:lnTo>
                        <a:lnTo>
                          <a:pt x="7835" y="73204"/>
                        </a:lnTo>
                        <a:lnTo>
                          <a:pt x="8493" y="71948"/>
                        </a:lnTo>
                        <a:lnTo>
                          <a:pt x="9629" y="69676"/>
                        </a:lnTo>
                        <a:lnTo>
                          <a:pt x="9749" y="69496"/>
                        </a:lnTo>
                        <a:lnTo>
                          <a:pt x="10945" y="67164"/>
                        </a:lnTo>
                        <a:lnTo>
                          <a:pt x="12739" y="63635"/>
                        </a:lnTo>
                        <a:lnTo>
                          <a:pt x="14533" y="60107"/>
                        </a:lnTo>
                        <a:lnTo>
                          <a:pt x="15490" y="58252"/>
                        </a:lnTo>
                        <a:lnTo>
                          <a:pt x="15490" y="58252"/>
                        </a:lnTo>
                        <a:lnTo>
                          <a:pt x="16267" y="56638"/>
                        </a:lnTo>
                        <a:lnTo>
                          <a:pt x="16746" y="55740"/>
                        </a:lnTo>
                        <a:lnTo>
                          <a:pt x="16806" y="55681"/>
                        </a:lnTo>
                        <a:lnTo>
                          <a:pt x="18361" y="52631"/>
                        </a:lnTo>
                        <a:lnTo>
                          <a:pt x="18839" y="51733"/>
                        </a:lnTo>
                        <a:lnTo>
                          <a:pt x="19437" y="50597"/>
                        </a:lnTo>
                        <a:lnTo>
                          <a:pt x="19497" y="50417"/>
                        </a:lnTo>
                        <a:lnTo>
                          <a:pt x="21291" y="46889"/>
                        </a:lnTo>
                        <a:lnTo>
                          <a:pt x="23086" y="43360"/>
                        </a:lnTo>
                        <a:lnTo>
                          <a:pt x="24880" y="39832"/>
                        </a:lnTo>
                        <a:lnTo>
                          <a:pt x="26016" y="37559"/>
                        </a:lnTo>
                        <a:lnTo>
                          <a:pt x="26435" y="36782"/>
                        </a:lnTo>
                        <a:lnTo>
                          <a:pt x="28229" y="33253"/>
                        </a:lnTo>
                        <a:lnTo>
                          <a:pt x="28528" y="32655"/>
                        </a:lnTo>
                        <a:lnTo>
                          <a:pt x="30322" y="29126"/>
                        </a:lnTo>
                        <a:lnTo>
                          <a:pt x="30741" y="28289"/>
                        </a:lnTo>
                        <a:lnTo>
                          <a:pt x="32535" y="24760"/>
                        </a:lnTo>
                        <a:lnTo>
                          <a:pt x="33313" y="23265"/>
                        </a:lnTo>
                        <a:lnTo>
                          <a:pt x="31159" y="22906"/>
                        </a:lnTo>
                        <a:lnTo>
                          <a:pt x="30442" y="22787"/>
                        </a:lnTo>
                        <a:lnTo>
                          <a:pt x="28349" y="21351"/>
                        </a:lnTo>
                        <a:lnTo>
                          <a:pt x="26674" y="20215"/>
                        </a:lnTo>
                        <a:lnTo>
                          <a:pt x="24401" y="18600"/>
                        </a:lnTo>
                        <a:lnTo>
                          <a:pt x="22129" y="16985"/>
                        </a:lnTo>
                        <a:lnTo>
                          <a:pt x="19856" y="15370"/>
                        </a:lnTo>
                        <a:lnTo>
                          <a:pt x="17583" y="13756"/>
                        </a:lnTo>
                        <a:lnTo>
                          <a:pt x="15311" y="12141"/>
                        </a:lnTo>
                        <a:lnTo>
                          <a:pt x="13038" y="10526"/>
                        </a:lnTo>
                        <a:lnTo>
                          <a:pt x="10765" y="8911"/>
                        </a:lnTo>
                        <a:lnTo>
                          <a:pt x="8493" y="7297"/>
                        </a:lnTo>
                        <a:lnTo>
                          <a:pt x="7775" y="6758"/>
                        </a:lnTo>
                        <a:lnTo>
                          <a:pt x="6878" y="6160"/>
                        </a:lnTo>
                        <a:lnTo>
                          <a:pt x="6639" y="5981"/>
                        </a:lnTo>
                        <a:lnTo>
                          <a:pt x="4725" y="4246"/>
                        </a:lnTo>
                        <a:lnTo>
                          <a:pt x="2632" y="2333"/>
                        </a:lnTo>
                        <a:lnTo>
                          <a:pt x="2273" y="2034"/>
                        </a:lnTo>
                        <a:lnTo>
                          <a:pt x="179" y="12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06" name="Vrije vorm: vorm 7905">
                    <a:extLst>
                      <a:ext uri="{FF2B5EF4-FFF2-40B4-BE49-F238E27FC236}">
                        <a16:creationId xmlns:a16="http://schemas.microsoft.com/office/drawing/2014/main" id="{D6DA16B8-D0B0-4B13-B9D8-6CD2787C8BCA}"/>
                      </a:ext>
                    </a:extLst>
                  </p:cNvPr>
                  <p:cNvSpPr/>
                  <p:nvPr/>
                </p:nvSpPr>
                <p:spPr>
                  <a:xfrm>
                    <a:off x="5746776" y="5390165"/>
                    <a:ext cx="9329" cy="10287"/>
                  </a:xfrm>
                  <a:custGeom>
                    <a:avLst/>
                    <a:gdLst>
                      <a:gd name="connsiteX0" fmla="*/ 4665 w 9329"/>
                      <a:gd name="connsiteY0" fmla="*/ 10287 h 10287"/>
                      <a:gd name="connsiteX1" fmla="*/ 4844 w 9329"/>
                      <a:gd name="connsiteY1" fmla="*/ 9928 h 10287"/>
                      <a:gd name="connsiteX2" fmla="*/ 5443 w 9329"/>
                      <a:gd name="connsiteY2" fmla="*/ 8792 h 10287"/>
                      <a:gd name="connsiteX3" fmla="*/ 5562 w 9329"/>
                      <a:gd name="connsiteY3" fmla="*/ 8612 h 10287"/>
                      <a:gd name="connsiteX4" fmla="*/ 7237 w 9329"/>
                      <a:gd name="connsiteY4" fmla="*/ 5263 h 10287"/>
                      <a:gd name="connsiteX5" fmla="*/ 7715 w 9329"/>
                      <a:gd name="connsiteY5" fmla="*/ 4306 h 10287"/>
                      <a:gd name="connsiteX6" fmla="*/ 9330 w 9329"/>
                      <a:gd name="connsiteY6" fmla="*/ 1076 h 10287"/>
                      <a:gd name="connsiteX7" fmla="*/ 8373 w 9329"/>
                      <a:gd name="connsiteY7" fmla="*/ 359 h 10287"/>
                      <a:gd name="connsiteX8" fmla="*/ 5502 w 9329"/>
                      <a:gd name="connsiteY8" fmla="*/ 239 h 10287"/>
                      <a:gd name="connsiteX9" fmla="*/ 3529 w 9329"/>
                      <a:gd name="connsiteY9" fmla="*/ 120 h 10287"/>
                      <a:gd name="connsiteX10" fmla="*/ 3170 w 9329"/>
                      <a:gd name="connsiteY10" fmla="*/ 120 h 10287"/>
                      <a:gd name="connsiteX11" fmla="*/ 2930 w 9329"/>
                      <a:gd name="connsiteY11" fmla="*/ 120 h 10287"/>
                      <a:gd name="connsiteX12" fmla="*/ 2930 w 9329"/>
                      <a:gd name="connsiteY12" fmla="*/ 120 h 10287"/>
                      <a:gd name="connsiteX13" fmla="*/ 2512 w 9329"/>
                      <a:gd name="connsiteY13" fmla="*/ 120 h 10287"/>
                      <a:gd name="connsiteX14" fmla="*/ 0 w 9329"/>
                      <a:gd name="connsiteY14" fmla="*/ 0 h 1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329" h="10287">
                        <a:moveTo>
                          <a:pt x="4665" y="10287"/>
                        </a:moveTo>
                        <a:lnTo>
                          <a:pt x="4844" y="9928"/>
                        </a:lnTo>
                        <a:lnTo>
                          <a:pt x="5443" y="8792"/>
                        </a:lnTo>
                        <a:lnTo>
                          <a:pt x="5562" y="8612"/>
                        </a:lnTo>
                        <a:lnTo>
                          <a:pt x="7237" y="5263"/>
                        </a:lnTo>
                        <a:lnTo>
                          <a:pt x="7715" y="4306"/>
                        </a:lnTo>
                        <a:lnTo>
                          <a:pt x="9330" y="1076"/>
                        </a:lnTo>
                        <a:lnTo>
                          <a:pt x="8373" y="359"/>
                        </a:lnTo>
                        <a:lnTo>
                          <a:pt x="5502" y="239"/>
                        </a:lnTo>
                        <a:lnTo>
                          <a:pt x="3529" y="120"/>
                        </a:lnTo>
                        <a:lnTo>
                          <a:pt x="3170" y="120"/>
                        </a:lnTo>
                        <a:lnTo>
                          <a:pt x="2930" y="120"/>
                        </a:lnTo>
                        <a:lnTo>
                          <a:pt x="2930" y="120"/>
                        </a:lnTo>
                        <a:lnTo>
                          <a:pt x="2512" y="12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07" name="Vrije vorm: vorm 7906">
                    <a:extLst>
                      <a:ext uri="{FF2B5EF4-FFF2-40B4-BE49-F238E27FC236}">
                        <a16:creationId xmlns:a16="http://schemas.microsoft.com/office/drawing/2014/main" id="{C51B2939-E51C-4094-99D2-A0AB96FE2888}"/>
                      </a:ext>
                    </a:extLst>
                  </p:cNvPr>
                  <p:cNvSpPr/>
                  <p:nvPr/>
                </p:nvSpPr>
                <p:spPr>
                  <a:xfrm>
                    <a:off x="5742709" y="5390165"/>
                    <a:ext cx="5023" cy="18181"/>
                  </a:xfrm>
                  <a:custGeom>
                    <a:avLst/>
                    <a:gdLst>
                      <a:gd name="connsiteX0" fmla="*/ 5024 w 5023"/>
                      <a:gd name="connsiteY0" fmla="*/ 718 h 18181"/>
                      <a:gd name="connsiteX1" fmla="*/ 4067 w 5023"/>
                      <a:gd name="connsiteY1" fmla="*/ 0 h 18181"/>
                      <a:gd name="connsiteX2" fmla="*/ 3708 w 5023"/>
                      <a:gd name="connsiteY2" fmla="*/ 778 h 18181"/>
                      <a:gd name="connsiteX3" fmla="*/ 2691 w 5023"/>
                      <a:gd name="connsiteY3" fmla="*/ 2811 h 18181"/>
                      <a:gd name="connsiteX4" fmla="*/ 2333 w 5023"/>
                      <a:gd name="connsiteY4" fmla="*/ 3529 h 18181"/>
                      <a:gd name="connsiteX5" fmla="*/ 837 w 5023"/>
                      <a:gd name="connsiteY5" fmla="*/ 6519 h 18181"/>
                      <a:gd name="connsiteX6" fmla="*/ 778 w 5023"/>
                      <a:gd name="connsiteY6" fmla="*/ 6998 h 18181"/>
                      <a:gd name="connsiteX7" fmla="*/ 538 w 5023"/>
                      <a:gd name="connsiteY7" fmla="*/ 10646 h 18181"/>
                      <a:gd name="connsiteX8" fmla="*/ 479 w 5023"/>
                      <a:gd name="connsiteY8" fmla="*/ 11244 h 18181"/>
                      <a:gd name="connsiteX9" fmla="*/ 419 w 5023"/>
                      <a:gd name="connsiteY9" fmla="*/ 11842 h 18181"/>
                      <a:gd name="connsiteX10" fmla="*/ 299 w 5023"/>
                      <a:gd name="connsiteY10" fmla="*/ 13815 h 18181"/>
                      <a:gd name="connsiteX11" fmla="*/ 299 w 5023"/>
                      <a:gd name="connsiteY11" fmla="*/ 13815 h 18181"/>
                      <a:gd name="connsiteX12" fmla="*/ 299 w 5023"/>
                      <a:gd name="connsiteY12" fmla="*/ 13815 h 18181"/>
                      <a:gd name="connsiteX13" fmla="*/ 60 w 5023"/>
                      <a:gd name="connsiteY13" fmla="*/ 17464 h 18181"/>
                      <a:gd name="connsiteX14" fmla="*/ 0 w 5023"/>
                      <a:gd name="connsiteY14" fmla="*/ 18182 h 1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23" h="18181">
                        <a:moveTo>
                          <a:pt x="5024" y="718"/>
                        </a:moveTo>
                        <a:lnTo>
                          <a:pt x="4067" y="0"/>
                        </a:lnTo>
                        <a:lnTo>
                          <a:pt x="3708" y="778"/>
                        </a:lnTo>
                        <a:lnTo>
                          <a:pt x="2691" y="2811"/>
                        </a:lnTo>
                        <a:lnTo>
                          <a:pt x="2333" y="3529"/>
                        </a:lnTo>
                        <a:lnTo>
                          <a:pt x="837" y="6519"/>
                        </a:lnTo>
                        <a:lnTo>
                          <a:pt x="778" y="6998"/>
                        </a:lnTo>
                        <a:lnTo>
                          <a:pt x="538" y="10646"/>
                        </a:lnTo>
                        <a:lnTo>
                          <a:pt x="479" y="11244"/>
                        </a:lnTo>
                        <a:lnTo>
                          <a:pt x="419" y="11842"/>
                        </a:lnTo>
                        <a:lnTo>
                          <a:pt x="299" y="13815"/>
                        </a:lnTo>
                        <a:lnTo>
                          <a:pt x="299" y="13815"/>
                        </a:lnTo>
                        <a:lnTo>
                          <a:pt x="299" y="13815"/>
                        </a:lnTo>
                        <a:lnTo>
                          <a:pt x="60" y="17464"/>
                        </a:lnTo>
                        <a:lnTo>
                          <a:pt x="0" y="18182"/>
                        </a:lnTo>
                      </a:path>
                    </a:pathLst>
                  </a:custGeom>
                  <a:noFill/>
                  <a:ln w="6350" cap="flat">
                    <a:solidFill>
                      <a:schemeClr val="bg1">
                        <a:alpha val="40000"/>
                      </a:schemeClr>
                    </a:solidFill>
                    <a:prstDash val="solid"/>
                    <a:miter/>
                  </a:ln>
                </p:spPr>
                <p:txBody>
                  <a:bodyPr rtlCol="0" anchor="ctr"/>
                  <a:lstStyle/>
                  <a:p>
                    <a:endParaRPr lang="en-GB"/>
                  </a:p>
                </p:txBody>
              </p:sp>
              <p:sp>
                <p:nvSpPr>
                  <p:cNvPr id="7908" name="Vrije vorm: vorm 7907">
                    <a:extLst>
                      <a:ext uri="{FF2B5EF4-FFF2-40B4-BE49-F238E27FC236}">
                        <a16:creationId xmlns:a16="http://schemas.microsoft.com/office/drawing/2014/main" id="{98DC7328-EE80-49E5-B7F7-FAA11848EEB8}"/>
                      </a:ext>
                    </a:extLst>
                  </p:cNvPr>
                  <p:cNvSpPr/>
                  <p:nvPr/>
                </p:nvSpPr>
                <p:spPr>
                  <a:xfrm>
                    <a:off x="5763701" y="5337954"/>
                    <a:ext cx="3528" cy="6937"/>
                  </a:xfrm>
                  <a:custGeom>
                    <a:avLst/>
                    <a:gdLst>
                      <a:gd name="connsiteX0" fmla="*/ 0 w 3528"/>
                      <a:gd name="connsiteY0" fmla="*/ 6937 h 6937"/>
                      <a:gd name="connsiteX1" fmla="*/ 538 w 3528"/>
                      <a:gd name="connsiteY1" fmla="*/ 5861 h 6937"/>
                      <a:gd name="connsiteX2" fmla="*/ 1794 w 3528"/>
                      <a:gd name="connsiteY2" fmla="*/ 3409 h 6937"/>
                      <a:gd name="connsiteX3" fmla="*/ 3528 w 3528"/>
                      <a:gd name="connsiteY3" fmla="*/ 0 h 6937"/>
                    </a:gdLst>
                    <a:ahLst/>
                    <a:cxnLst>
                      <a:cxn ang="0">
                        <a:pos x="connsiteX0" y="connsiteY0"/>
                      </a:cxn>
                      <a:cxn ang="0">
                        <a:pos x="connsiteX1" y="connsiteY1"/>
                      </a:cxn>
                      <a:cxn ang="0">
                        <a:pos x="connsiteX2" y="connsiteY2"/>
                      </a:cxn>
                      <a:cxn ang="0">
                        <a:pos x="connsiteX3" y="connsiteY3"/>
                      </a:cxn>
                    </a:cxnLst>
                    <a:rect l="l" t="t" r="r" b="b"/>
                    <a:pathLst>
                      <a:path w="3528" h="6937">
                        <a:moveTo>
                          <a:pt x="0" y="6937"/>
                        </a:moveTo>
                        <a:lnTo>
                          <a:pt x="538" y="5861"/>
                        </a:lnTo>
                        <a:lnTo>
                          <a:pt x="1794" y="3409"/>
                        </a:lnTo>
                        <a:lnTo>
                          <a:pt x="3528" y="0"/>
                        </a:lnTo>
                      </a:path>
                    </a:pathLst>
                  </a:custGeom>
                  <a:noFill/>
                  <a:ln w="6350" cap="flat">
                    <a:solidFill>
                      <a:schemeClr val="bg1">
                        <a:alpha val="40000"/>
                      </a:schemeClr>
                    </a:solidFill>
                    <a:prstDash val="solid"/>
                    <a:miter/>
                  </a:ln>
                </p:spPr>
                <p:txBody>
                  <a:bodyPr rtlCol="0" anchor="ctr"/>
                  <a:lstStyle/>
                  <a:p>
                    <a:endParaRPr lang="en-GB"/>
                  </a:p>
                </p:txBody>
              </p:sp>
              <p:sp>
                <p:nvSpPr>
                  <p:cNvPr id="7909" name="Vrije vorm: vorm 7908">
                    <a:extLst>
                      <a:ext uri="{FF2B5EF4-FFF2-40B4-BE49-F238E27FC236}">
                        <a16:creationId xmlns:a16="http://schemas.microsoft.com/office/drawing/2014/main" id="{BC29D9F1-1A54-4A18-86DC-B65E5431EB80}"/>
                      </a:ext>
                    </a:extLst>
                  </p:cNvPr>
                  <p:cNvSpPr/>
                  <p:nvPr/>
                </p:nvSpPr>
                <p:spPr>
                  <a:xfrm>
                    <a:off x="5709396" y="5385142"/>
                    <a:ext cx="10944" cy="7176"/>
                  </a:xfrm>
                  <a:custGeom>
                    <a:avLst/>
                    <a:gdLst>
                      <a:gd name="connsiteX0" fmla="*/ 10945 w 10944"/>
                      <a:gd name="connsiteY0" fmla="*/ 7177 h 7176"/>
                      <a:gd name="connsiteX1" fmla="*/ 8014 w 10944"/>
                      <a:gd name="connsiteY1" fmla="*/ 7057 h 7176"/>
                      <a:gd name="connsiteX2" fmla="*/ 7356 w 10944"/>
                      <a:gd name="connsiteY2" fmla="*/ 7057 h 7176"/>
                      <a:gd name="connsiteX3" fmla="*/ 4904 w 10944"/>
                      <a:gd name="connsiteY3" fmla="*/ 5801 h 7176"/>
                      <a:gd name="connsiteX4" fmla="*/ 3529 w 10944"/>
                      <a:gd name="connsiteY4" fmla="*/ 5083 h 7176"/>
                      <a:gd name="connsiteX5" fmla="*/ 2213 w 10944"/>
                      <a:gd name="connsiteY5" fmla="*/ 3469 h 7176"/>
                      <a:gd name="connsiteX6" fmla="*/ 1555 w 10944"/>
                      <a:gd name="connsiteY6" fmla="*/ 2691 h 7176"/>
                      <a:gd name="connsiteX7" fmla="*/ 538 w 10944"/>
                      <a:gd name="connsiteY7" fmla="*/ 1435 h 7176"/>
                      <a:gd name="connsiteX8" fmla="*/ 0 w 10944"/>
                      <a:gd name="connsiteY8" fmla="*/ 0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44" h="7176">
                        <a:moveTo>
                          <a:pt x="10945" y="7177"/>
                        </a:moveTo>
                        <a:lnTo>
                          <a:pt x="8014" y="7057"/>
                        </a:lnTo>
                        <a:lnTo>
                          <a:pt x="7356" y="7057"/>
                        </a:lnTo>
                        <a:lnTo>
                          <a:pt x="4904" y="5801"/>
                        </a:lnTo>
                        <a:lnTo>
                          <a:pt x="3529" y="5083"/>
                        </a:lnTo>
                        <a:lnTo>
                          <a:pt x="2213" y="3469"/>
                        </a:lnTo>
                        <a:lnTo>
                          <a:pt x="1555" y="2691"/>
                        </a:lnTo>
                        <a:lnTo>
                          <a:pt x="538" y="1435"/>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10" name="Vrije vorm: vorm 7909">
                    <a:extLst>
                      <a:ext uri="{FF2B5EF4-FFF2-40B4-BE49-F238E27FC236}">
                        <a16:creationId xmlns:a16="http://schemas.microsoft.com/office/drawing/2014/main" id="{81DDDFD9-8B49-469A-8A59-38DA9701EDBA}"/>
                      </a:ext>
                    </a:extLst>
                  </p:cNvPr>
                  <p:cNvSpPr/>
                  <p:nvPr/>
                </p:nvSpPr>
                <p:spPr>
                  <a:xfrm>
                    <a:off x="5720281" y="5338073"/>
                    <a:ext cx="17523" cy="5980"/>
                  </a:xfrm>
                  <a:custGeom>
                    <a:avLst/>
                    <a:gdLst>
                      <a:gd name="connsiteX0" fmla="*/ 0 w 17523"/>
                      <a:gd name="connsiteY0" fmla="*/ 5981 h 5980"/>
                      <a:gd name="connsiteX1" fmla="*/ 239 w 17523"/>
                      <a:gd name="connsiteY1" fmla="*/ 5741 h 5980"/>
                      <a:gd name="connsiteX2" fmla="*/ 2691 w 17523"/>
                      <a:gd name="connsiteY2" fmla="*/ 3887 h 5980"/>
                      <a:gd name="connsiteX3" fmla="*/ 3828 w 17523"/>
                      <a:gd name="connsiteY3" fmla="*/ 2990 h 5980"/>
                      <a:gd name="connsiteX4" fmla="*/ 4246 w 17523"/>
                      <a:gd name="connsiteY4" fmla="*/ 2691 h 5980"/>
                      <a:gd name="connsiteX5" fmla="*/ 4904 w 17523"/>
                      <a:gd name="connsiteY5" fmla="*/ 2153 h 5980"/>
                      <a:gd name="connsiteX6" fmla="*/ 6639 w 17523"/>
                      <a:gd name="connsiteY6" fmla="*/ 1435 h 5980"/>
                      <a:gd name="connsiteX7" fmla="*/ 9689 w 17523"/>
                      <a:gd name="connsiteY7" fmla="*/ 179 h 5980"/>
                      <a:gd name="connsiteX8" fmla="*/ 10825 w 17523"/>
                      <a:gd name="connsiteY8" fmla="*/ 119 h 5980"/>
                      <a:gd name="connsiteX9" fmla="*/ 13756 w 17523"/>
                      <a:gd name="connsiteY9" fmla="*/ 0 h 5980"/>
                      <a:gd name="connsiteX10" fmla="*/ 14174 w 17523"/>
                      <a:gd name="connsiteY10" fmla="*/ 0 h 5980"/>
                      <a:gd name="connsiteX11" fmla="*/ 15789 w 17523"/>
                      <a:gd name="connsiteY11" fmla="*/ 299 h 5980"/>
                      <a:gd name="connsiteX12" fmla="*/ 17523 w 17523"/>
                      <a:gd name="connsiteY12" fmla="*/ 598 h 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23" h="5980">
                        <a:moveTo>
                          <a:pt x="0" y="5981"/>
                        </a:moveTo>
                        <a:lnTo>
                          <a:pt x="239" y="5741"/>
                        </a:lnTo>
                        <a:lnTo>
                          <a:pt x="2691" y="3887"/>
                        </a:lnTo>
                        <a:lnTo>
                          <a:pt x="3828" y="2990"/>
                        </a:lnTo>
                        <a:lnTo>
                          <a:pt x="4246" y="2691"/>
                        </a:lnTo>
                        <a:lnTo>
                          <a:pt x="4904" y="2153"/>
                        </a:lnTo>
                        <a:lnTo>
                          <a:pt x="6639" y="1435"/>
                        </a:lnTo>
                        <a:lnTo>
                          <a:pt x="9689" y="179"/>
                        </a:lnTo>
                        <a:lnTo>
                          <a:pt x="10825" y="119"/>
                        </a:lnTo>
                        <a:lnTo>
                          <a:pt x="13756" y="0"/>
                        </a:lnTo>
                        <a:lnTo>
                          <a:pt x="14174" y="0"/>
                        </a:lnTo>
                        <a:lnTo>
                          <a:pt x="15789" y="299"/>
                        </a:lnTo>
                        <a:lnTo>
                          <a:pt x="17523" y="598"/>
                        </a:lnTo>
                      </a:path>
                    </a:pathLst>
                  </a:custGeom>
                  <a:noFill/>
                  <a:ln w="6350" cap="flat">
                    <a:solidFill>
                      <a:schemeClr val="bg1">
                        <a:alpha val="40000"/>
                      </a:schemeClr>
                    </a:solidFill>
                    <a:prstDash val="solid"/>
                    <a:miter/>
                  </a:ln>
                </p:spPr>
                <p:txBody>
                  <a:bodyPr rtlCol="0" anchor="ctr"/>
                  <a:lstStyle/>
                  <a:p>
                    <a:endParaRPr lang="en-GB"/>
                  </a:p>
                </p:txBody>
              </p:sp>
              <p:sp>
                <p:nvSpPr>
                  <p:cNvPr id="7911" name="Vrije vorm: vorm 7910">
                    <a:extLst>
                      <a:ext uri="{FF2B5EF4-FFF2-40B4-BE49-F238E27FC236}">
                        <a16:creationId xmlns:a16="http://schemas.microsoft.com/office/drawing/2014/main" id="{1BBFD503-6A90-43A2-9F7A-DE51C04A197E}"/>
                      </a:ext>
                    </a:extLst>
                  </p:cNvPr>
                  <p:cNvSpPr/>
                  <p:nvPr/>
                </p:nvSpPr>
                <p:spPr>
                  <a:xfrm>
                    <a:off x="5610654" y="5332332"/>
                    <a:ext cx="20872" cy="42104"/>
                  </a:xfrm>
                  <a:custGeom>
                    <a:avLst/>
                    <a:gdLst>
                      <a:gd name="connsiteX0" fmla="*/ 14832 w 20872"/>
                      <a:gd name="connsiteY0" fmla="*/ 0 h 42104"/>
                      <a:gd name="connsiteX1" fmla="*/ 15909 w 20872"/>
                      <a:gd name="connsiteY1" fmla="*/ 538 h 42104"/>
                      <a:gd name="connsiteX2" fmla="*/ 16507 w 20872"/>
                      <a:gd name="connsiteY2" fmla="*/ 837 h 42104"/>
                      <a:gd name="connsiteX3" fmla="*/ 17464 w 20872"/>
                      <a:gd name="connsiteY3" fmla="*/ 1316 h 42104"/>
                      <a:gd name="connsiteX4" fmla="*/ 17643 w 20872"/>
                      <a:gd name="connsiteY4" fmla="*/ 1555 h 42104"/>
                      <a:gd name="connsiteX5" fmla="*/ 17823 w 20872"/>
                      <a:gd name="connsiteY5" fmla="*/ 1794 h 42104"/>
                      <a:gd name="connsiteX6" fmla="*/ 18301 w 20872"/>
                      <a:gd name="connsiteY6" fmla="*/ 2452 h 42104"/>
                      <a:gd name="connsiteX7" fmla="*/ 18959 w 20872"/>
                      <a:gd name="connsiteY7" fmla="*/ 3289 h 42104"/>
                      <a:gd name="connsiteX8" fmla="*/ 19437 w 20872"/>
                      <a:gd name="connsiteY8" fmla="*/ 3947 h 42104"/>
                      <a:gd name="connsiteX9" fmla="*/ 19497 w 20872"/>
                      <a:gd name="connsiteY9" fmla="*/ 4067 h 42104"/>
                      <a:gd name="connsiteX10" fmla="*/ 20454 w 20872"/>
                      <a:gd name="connsiteY10" fmla="*/ 7177 h 42104"/>
                      <a:gd name="connsiteX11" fmla="*/ 20634 w 20872"/>
                      <a:gd name="connsiteY11" fmla="*/ 7775 h 42104"/>
                      <a:gd name="connsiteX12" fmla="*/ 20813 w 20872"/>
                      <a:gd name="connsiteY12" fmla="*/ 11304 h 42104"/>
                      <a:gd name="connsiteX13" fmla="*/ 20873 w 20872"/>
                      <a:gd name="connsiteY13" fmla="*/ 12559 h 42104"/>
                      <a:gd name="connsiteX14" fmla="*/ 20394 w 20872"/>
                      <a:gd name="connsiteY14" fmla="*/ 16267 h 42104"/>
                      <a:gd name="connsiteX15" fmla="*/ 20215 w 20872"/>
                      <a:gd name="connsiteY15" fmla="*/ 17942 h 42104"/>
                      <a:gd name="connsiteX16" fmla="*/ 19198 w 20872"/>
                      <a:gd name="connsiteY16" fmla="*/ 21710 h 42104"/>
                      <a:gd name="connsiteX17" fmla="*/ 18660 w 20872"/>
                      <a:gd name="connsiteY17" fmla="*/ 23564 h 42104"/>
                      <a:gd name="connsiteX18" fmla="*/ 17105 w 20872"/>
                      <a:gd name="connsiteY18" fmla="*/ 27212 h 42104"/>
                      <a:gd name="connsiteX19" fmla="*/ 16328 w 20872"/>
                      <a:gd name="connsiteY19" fmla="*/ 29006 h 42104"/>
                      <a:gd name="connsiteX20" fmla="*/ 14294 w 20872"/>
                      <a:gd name="connsiteY20" fmla="*/ 32415 h 42104"/>
                      <a:gd name="connsiteX21" fmla="*/ 13397 w 20872"/>
                      <a:gd name="connsiteY21" fmla="*/ 33911 h 42104"/>
                      <a:gd name="connsiteX22" fmla="*/ 10945 w 20872"/>
                      <a:gd name="connsiteY22" fmla="*/ 36841 h 42104"/>
                      <a:gd name="connsiteX23" fmla="*/ 10107 w 20872"/>
                      <a:gd name="connsiteY23" fmla="*/ 37858 h 42104"/>
                      <a:gd name="connsiteX24" fmla="*/ 8253 w 20872"/>
                      <a:gd name="connsiteY24" fmla="*/ 39353 h 42104"/>
                      <a:gd name="connsiteX25" fmla="*/ 7715 w 20872"/>
                      <a:gd name="connsiteY25" fmla="*/ 39772 h 42104"/>
                      <a:gd name="connsiteX26" fmla="*/ 6579 w 20872"/>
                      <a:gd name="connsiteY26" fmla="*/ 40669 h 42104"/>
                      <a:gd name="connsiteX27" fmla="*/ 6519 w 20872"/>
                      <a:gd name="connsiteY27" fmla="*/ 40669 h 42104"/>
                      <a:gd name="connsiteX28" fmla="*/ 4725 w 20872"/>
                      <a:gd name="connsiteY28" fmla="*/ 41446 h 42104"/>
                      <a:gd name="connsiteX29" fmla="*/ 3708 w 20872"/>
                      <a:gd name="connsiteY29" fmla="*/ 41865 h 42104"/>
                      <a:gd name="connsiteX30" fmla="*/ 3110 w 20872"/>
                      <a:gd name="connsiteY30" fmla="*/ 42104 h 42104"/>
                      <a:gd name="connsiteX31" fmla="*/ 180 w 20872"/>
                      <a:gd name="connsiteY31" fmla="*/ 42104 h 42104"/>
                      <a:gd name="connsiteX32" fmla="*/ 0 w 20872"/>
                      <a:gd name="connsiteY32" fmla="*/ 42104 h 4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872" h="42104">
                        <a:moveTo>
                          <a:pt x="14832" y="0"/>
                        </a:moveTo>
                        <a:lnTo>
                          <a:pt x="15909" y="538"/>
                        </a:lnTo>
                        <a:lnTo>
                          <a:pt x="16507" y="837"/>
                        </a:lnTo>
                        <a:lnTo>
                          <a:pt x="17464" y="1316"/>
                        </a:lnTo>
                        <a:lnTo>
                          <a:pt x="17643" y="1555"/>
                        </a:lnTo>
                        <a:lnTo>
                          <a:pt x="17823" y="1794"/>
                        </a:lnTo>
                        <a:lnTo>
                          <a:pt x="18301" y="2452"/>
                        </a:lnTo>
                        <a:lnTo>
                          <a:pt x="18959" y="3289"/>
                        </a:lnTo>
                        <a:lnTo>
                          <a:pt x="19437" y="3947"/>
                        </a:lnTo>
                        <a:lnTo>
                          <a:pt x="19497" y="4067"/>
                        </a:lnTo>
                        <a:lnTo>
                          <a:pt x="20454" y="7177"/>
                        </a:lnTo>
                        <a:lnTo>
                          <a:pt x="20634" y="7775"/>
                        </a:lnTo>
                        <a:lnTo>
                          <a:pt x="20813" y="11304"/>
                        </a:lnTo>
                        <a:lnTo>
                          <a:pt x="20873" y="12559"/>
                        </a:lnTo>
                        <a:lnTo>
                          <a:pt x="20394" y="16267"/>
                        </a:lnTo>
                        <a:lnTo>
                          <a:pt x="20215" y="17942"/>
                        </a:lnTo>
                        <a:lnTo>
                          <a:pt x="19198" y="21710"/>
                        </a:lnTo>
                        <a:lnTo>
                          <a:pt x="18660" y="23564"/>
                        </a:lnTo>
                        <a:lnTo>
                          <a:pt x="17105" y="27212"/>
                        </a:lnTo>
                        <a:lnTo>
                          <a:pt x="16328" y="29006"/>
                        </a:lnTo>
                        <a:lnTo>
                          <a:pt x="14294" y="32415"/>
                        </a:lnTo>
                        <a:lnTo>
                          <a:pt x="13397" y="33911"/>
                        </a:lnTo>
                        <a:lnTo>
                          <a:pt x="10945" y="36841"/>
                        </a:lnTo>
                        <a:lnTo>
                          <a:pt x="10107" y="37858"/>
                        </a:lnTo>
                        <a:lnTo>
                          <a:pt x="8253" y="39353"/>
                        </a:lnTo>
                        <a:lnTo>
                          <a:pt x="7715" y="39772"/>
                        </a:lnTo>
                        <a:lnTo>
                          <a:pt x="6579" y="40669"/>
                        </a:lnTo>
                        <a:lnTo>
                          <a:pt x="6519" y="40669"/>
                        </a:lnTo>
                        <a:lnTo>
                          <a:pt x="4725" y="41446"/>
                        </a:lnTo>
                        <a:lnTo>
                          <a:pt x="3708" y="41865"/>
                        </a:lnTo>
                        <a:lnTo>
                          <a:pt x="3110" y="42104"/>
                        </a:lnTo>
                        <a:lnTo>
                          <a:pt x="180" y="42104"/>
                        </a:lnTo>
                        <a:lnTo>
                          <a:pt x="0" y="42104"/>
                        </a:lnTo>
                      </a:path>
                    </a:pathLst>
                  </a:custGeom>
                  <a:noFill/>
                  <a:ln w="6350" cap="flat">
                    <a:solidFill>
                      <a:schemeClr val="bg1">
                        <a:alpha val="40000"/>
                      </a:schemeClr>
                    </a:solidFill>
                    <a:prstDash val="solid"/>
                    <a:miter/>
                  </a:ln>
                </p:spPr>
                <p:txBody>
                  <a:bodyPr rtlCol="0" anchor="ctr"/>
                  <a:lstStyle/>
                  <a:p>
                    <a:endParaRPr lang="en-GB"/>
                  </a:p>
                </p:txBody>
              </p:sp>
              <p:sp>
                <p:nvSpPr>
                  <p:cNvPr id="7912" name="Vrije vorm: vorm 7911">
                    <a:extLst>
                      <a:ext uri="{FF2B5EF4-FFF2-40B4-BE49-F238E27FC236}">
                        <a16:creationId xmlns:a16="http://schemas.microsoft.com/office/drawing/2014/main" id="{4A044858-E28D-478E-ABC4-09F47D8B916A}"/>
                      </a:ext>
                    </a:extLst>
                  </p:cNvPr>
                  <p:cNvSpPr/>
                  <p:nvPr/>
                </p:nvSpPr>
                <p:spPr>
                  <a:xfrm>
                    <a:off x="5605092" y="5362474"/>
                    <a:ext cx="10287" cy="12260"/>
                  </a:xfrm>
                  <a:custGeom>
                    <a:avLst/>
                    <a:gdLst>
                      <a:gd name="connsiteX0" fmla="*/ 10287 w 10287"/>
                      <a:gd name="connsiteY0" fmla="*/ 12261 h 12260"/>
                      <a:gd name="connsiteX1" fmla="*/ 9988 w 10287"/>
                      <a:gd name="connsiteY1" fmla="*/ 12261 h 12260"/>
                      <a:gd name="connsiteX2" fmla="*/ 7117 w 10287"/>
                      <a:gd name="connsiteY2" fmla="*/ 12081 h 12260"/>
                      <a:gd name="connsiteX3" fmla="*/ 5622 w 10287"/>
                      <a:gd name="connsiteY3" fmla="*/ 11961 h 12260"/>
                      <a:gd name="connsiteX4" fmla="*/ 3230 w 10287"/>
                      <a:gd name="connsiteY4" fmla="*/ 10586 h 12260"/>
                      <a:gd name="connsiteX5" fmla="*/ 3050 w 10287"/>
                      <a:gd name="connsiteY5" fmla="*/ 10526 h 12260"/>
                      <a:gd name="connsiteX6" fmla="*/ 1375 w 10287"/>
                      <a:gd name="connsiteY6" fmla="*/ 8074 h 12260"/>
                      <a:gd name="connsiteX7" fmla="*/ 1136 w 10287"/>
                      <a:gd name="connsiteY7" fmla="*/ 7775 h 12260"/>
                      <a:gd name="connsiteX8" fmla="*/ 299 w 10287"/>
                      <a:gd name="connsiteY8" fmla="*/ 4605 h 12260"/>
                      <a:gd name="connsiteX9" fmla="*/ 120 w 10287"/>
                      <a:gd name="connsiteY9" fmla="*/ 3888 h 12260"/>
                      <a:gd name="connsiteX10" fmla="*/ 60 w 10287"/>
                      <a:gd name="connsiteY10" fmla="*/ 1854 h 12260"/>
                      <a:gd name="connsiteX11" fmla="*/ 0 w 10287"/>
                      <a:gd name="connsiteY11" fmla="*/ 0 h 1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7" h="12260">
                        <a:moveTo>
                          <a:pt x="10287" y="12261"/>
                        </a:moveTo>
                        <a:lnTo>
                          <a:pt x="9988" y="12261"/>
                        </a:lnTo>
                        <a:lnTo>
                          <a:pt x="7117" y="12081"/>
                        </a:lnTo>
                        <a:lnTo>
                          <a:pt x="5622" y="11961"/>
                        </a:lnTo>
                        <a:lnTo>
                          <a:pt x="3230" y="10586"/>
                        </a:lnTo>
                        <a:lnTo>
                          <a:pt x="3050" y="10526"/>
                        </a:lnTo>
                        <a:lnTo>
                          <a:pt x="1375" y="8074"/>
                        </a:lnTo>
                        <a:lnTo>
                          <a:pt x="1136" y="7775"/>
                        </a:lnTo>
                        <a:lnTo>
                          <a:pt x="299" y="4605"/>
                        </a:lnTo>
                        <a:lnTo>
                          <a:pt x="120" y="3888"/>
                        </a:lnTo>
                        <a:lnTo>
                          <a:pt x="60" y="1854"/>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13" name="Vrije vorm: vorm 7912">
                    <a:extLst>
                      <a:ext uri="{FF2B5EF4-FFF2-40B4-BE49-F238E27FC236}">
                        <a16:creationId xmlns:a16="http://schemas.microsoft.com/office/drawing/2014/main" id="{11591EBF-40B3-4290-AE14-516DB684A89D}"/>
                      </a:ext>
                    </a:extLst>
                  </p:cNvPr>
                  <p:cNvSpPr/>
                  <p:nvPr/>
                </p:nvSpPr>
                <p:spPr>
                  <a:xfrm>
                    <a:off x="5611611" y="5332392"/>
                    <a:ext cx="18420" cy="9628"/>
                  </a:xfrm>
                  <a:custGeom>
                    <a:avLst/>
                    <a:gdLst>
                      <a:gd name="connsiteX0" fmla="*/ 0 w 18420"/>
                      <a:gd name="connsiteY0" fmla="*/ 9629 h 9628"/>
                      <a:gd name="connsiteX1" fmla="*/ 718 w 18420"/>
                      <a:gd name="connsiteY1" fmla="*/ 8373 h 9628"/>
                      <a:gd name="connsiteX2" fmla="*/ 1734 w 18420"/>
                      <a:gd name="connsiteY2" fmla="*/ 7177 h 9628"/>
                      <a:gd name="connsiteX3" fmla="*/ 3947 w 18420"/>
                      <a:gd name="connsiteY3" fmla="*/ 4486 h 9628"/>
                      <a:gd name="connsiteX4" fmla="*/ 6758 w 18420"/>
                      <a:gd name="connsiteY4" fmla="*/ 2153 h 9628"/>
                      <a:gd name="connsiteX5" fmla="*/ 7356 w 18420"/>
                      <a:gd name="connsiteY5" fmla="*/ 1674 h 9628"/>
                      <a:gd name="connsiteX6" fmla="*/ 10406 w 18420"/>
                      <a:gd name="connsiteY6" fmla="*/ 299 h 9628"/>
                      <a:gd name="connsiteX7" fmla="*/ 10765 w 18420"/>
                      <a:gd name="connsiteY7" fmla="*/ 119 h 9628"/>
                      <a:gd name="connsiteX8" fmla="*/ 13756 w 18420"/>
                      <a:gd name="connsiteY8" fmla="*/ 0 h 9628"/>
                      <a:gd name="connsiteX9" fmla="*/ 13875 w 18420"/>
                      <a:gd name="connsiteY9" fmla="*/ 0 h 9628"/>
                      <a:gd name="connsiteX10" fmla="*/ 15371 w 18420"/>
                      <a:gd name="connsiteY10" fmla="*/ 239 h 9628"/>
                      <a:gd name="connsiteX11" fmla="*/ 17344 w 18420"/>
                      <a:gd name="connsiteY11" fmla="*/ 538 h 9628"/>
                      <a:gd name="connsiteX12" fmla="*/ 17583 w 18420"/>
                      <a:gd name="connsiteY12" fmla="*/ 598 h 9628"/>
                      <a:gd name="connsiteX13" fmla="*/ 18121 w 18420"/>
                      <a:gd name="connsiteY13" fmla="*/ 658 h 9628"/>
                      <a:gd name="connsiteX14" fmla="*/ 18420 w 18420"/>
                      <a:gd name="connsiteY14" fmla="*/ 718 h 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420" h="9628">
                        <a:moveTo>
                          <a:pt x="0" y="9629"/>
                        </a:moveTo>
                        <a:lnTo>
                          <a:pt x="718" y="8373"/>
                        </a:lnTo>
                        <a:lnTo>
                          <a:pt x="1734" y="7177"/>
                        </a:lnTo>
                        <a:lnTo>
                          <a:pt x="3947" y="4486"/>
                        </a:lnTo>
                        <a:lnTo>
                          <a:pt x="6758" y="2153"/>
                        </a:lnTo>
                        <a:lnTo>
                          <a:pt x="7356" y="1674"/>
                        </a:lnTo>
                        <a:lnTo>
                          <a:pt x="10406" y="299"/>
                        </a:lnTo>
                        <a:lnTo>
                          <a:pt x="10765" y="119"/>
                        </a:lnTo>
                        <a:lnTo>
                          <a:pt x="13756" y="0"/>
                        </a:lnTo>
                        <a:lnTo>
                          <a:pt x="13875" y="0"/>
                        </a:lnTo>
                        <a:lnTo>
                          <a:pt x="15371" y="239"/>
                        </a:lnTo>
                        <a:lnTo>
                          <a:pt x="17344" y="538"/>
                        </a:lnTo>
                        <a:lnTo>
                          <a:pt x="17583" y="598"/>
                        </a:lnTo>
                        <a:lnTo>
                          <a:pt x="18121" y="658"/>
                        </a:lnTo>
                        <a:lnTo>
                          <a:pt x="18420" y="718"/>
                        </a:lnTo>
                      </a:path>
                    </a:pathLst>
                  </a:custGeom>
                  <a:noFill/>
                  <a:ln w="6350" cap="flat">
                    <a:solidFill>
                      <a:schemeClr val="bg1">
                        <a:alpha val="40000"/>
                      </a:schemeClr>
                    </a:solidFill>
                    <a:prstDash val="solid"/>
                    <a:miter/>
                  </a:ln>
                </p:spPr>
                <p:txBody>
                  <a:bodyPr rtlCol="0" anchor="ctr"/>
                  <a:lstStyle/>
                  <a:p>
                    <a:endParaRPr lang="en-GB"/>
                  </a:p>
                </p:txBody>
              </p:sp>
              <p:sp>
                <p:nvSpPr>
                  <p:cNvPr id="7914" name="Vrije vorm: vorm 7913">
                    <a:extLst>
                      <a:ext uri="{FF2B5EF4-FFF2-40B4-BE49-F238E27FC236}">
                        <a16:creationId xmlns:a16="http://schemas.microsoft.com/office/drawing/2014/main" id="{B9297720-32B7-47C3-A895-55FC50E0DC20}"/>
                      </a:ext>
                    </a:extLst>
                  </p:cNvPr>
                  <p:cNvSpPr/>
                  <p:nvPr/>
                </p:nvSpPr>
                <p:spPr>
                  <a:xfrm>
                    <a:off x="5602521" y="5362235"/>
                    <a:ext cx="4964" cy="657"/>
                  </a:xfrm>
                  <a:custGeom>
                    <a:avLst/>
                    <a:gdLst>
                      <a:gd name="connsiteX0" fmla="*/ 4964 w 4964"/>
                      <a:gd name="connsiteY0" fmla="*/ 658 h 657"/>
                      <a:gd name="connsiteX1" fmla="*/ 4665 w 4964"/>
                      <a:gd name="connsiteY1" fmla="*/ 538 h 657"/>
                      <a:gd name="connsiteX2" fmla="*/ 4306 w 4964"/>
                      <a:gd name="connsiteY2" fmla="*/ 419 h 657"/>
                      <a:gd name="connsiteX3" fmla="*/ 4246 w 4964"/>
                      <a:gd name="connsiteY3" fmla="*/ 419 h 657"/>
                      <a:gd name="connsiteX4" fmla="*/ 4187 w 4964"/>
                      <a:gd name="connsiteY4" fmla="*/ 419 h 657"/>
                      <a:gd name="connsiteX5" fmla="*/ 3888 w 4964"/>
                      <a:gd name="connsiteY5" fmla="*/ 359 h 657"/>
                      <a:gd name="connsiteX6" fmla="*/ 2811 w 4964"/>
                      <a:gd name="connsiteY6" fmla="*/ 239 h 657"/>
                      <a:gd name="connsiteX7" fmla="*/ 2512 w 4964"/>
                      <a:gd name="connsiteY7" fmla="*/ 239 h 657"/>
                      <a:gd name="connsiteX8" fmla="*/ 0 w 4964"/>
                      <a:gd name="connsiteY8" fmla="*/ 0 h 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64" h="657">
                        <a:moveTo>
                          <a:pt x="4964" y="658"/>
                        </a:moveTo>
                        <a:lnTo>
                          <a:pt x="4665" y="538"/>
                        </a:lnTo>
                        <a:lnTo>
                          <a:pt x="4306" y="419"/>
                        </a:lnTo>
                        <a:lnTo>
                          <a:pt x="4246" y="419"/>
                        </a:lnTo>
                        <a:lnTo>
                          <a:pt x="4187" y="419"/>
                        </a:lnTo>
                        <a:lnTo>
                          <a:pt x="3888" y="359"/>
                        </a:lnTo>
                        <a:lnTo>
                          <a:pt x="2811" y="239"/>
                        </a:lnTo>
                        <a:lnTo>
                          <a:pt x="2512" y="23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15" name="Vrije vorm: vorm 7914">
                    <a:extLst>
                      <a:ext uri="{FF2B5EF4-FFF2-40B4-BE49-F238E27FC236}">
                        <a16:creationId xmlns:a16="http://schemas.microsoft.com/office/drawing/2014/main" id="{1CEF39DE-3AA4-45EA-9BB7-1598A7159053}"/>
                      </a:ext>
                    </a:extLst>
                  </p:cNvPr>
                  <p:cNvSpPr/>
                  <p:nvPr/>
                </p:nvSpPr>
                <p:spPr>
                  <a:xfrm>
                    <a:off x="5606767" y="5362594"/>
                    <a:ext cx="179" cy="239"/>
                  </a:xfrm>
                  <a:custGeom>
                    <a:avLst/>
                    <a:gdLst>
                      <a:gd name="connsiteX0" fmla="*/ 179 w 179"/>
                      <a:gd name="connsiteY0" fmla="*/ 239 h 239"/>
                      <a:gd name="connsiteX1" fmla="*/ 0 w 179"/>
                      <a:gd name="connsiteY1" fmla="*/ 0 h 239"/>
                    </a:gdLst>
                    <a:ahLst/>
                    <a:cxnLst>
                      <a:cxn ang="0">
                        <a:pos x="connsiteX0" y="connsiteY0"/>
                      </a:cxn>
                      <a:cxn ang="0">
                        <a:pos x="connsiteX1" y="connsiteY1"/>
                      </a:cxn>
                    </a:cxnLst>
                    <a:rect l="l" t="t" r="r" b="b"/>
                    <a:pathLst>
                      <a:path w="179" h="239">
                        <a:moveTo>
                          <a:pt x="179" y="239"/>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16" name="Vrije vorm: vorm 7915">
                    <a:extLst>
                      <a:ext uri="{FF2B5EF4-FFF2-40B4-BE49-F238E27FC236}">
                        <a16:creationId xmlns:a16="http://schemas.microsoft.com/office/drawing/2014/main" id="{82D977F3-5431-4C61-A284-FCCF03ACF3E7}"/>
                      </a:ext>
                    </a:extLst>
                  </p:cNvPr>
                  <p:cNvSpPr/>
                  <p:nvPr/>
                </p:nvSpPr>
                <p:spPr>
                  <a:xfrm>
                    <a:off x="5716752" y="5338073"/>
                    <a:ext cx="27810" cy="54185"/>
                  </a:xfrm>
                  <a:custGeom>
                    <a:avLst/>
                    <a:gdLst>
                      <a:gd name="connsiteX0" fmla="*/ 0 w 27810"/>
                      <a:gd name="connsiteY0" fmla="*/ 54125 h 54185"/>
                      <a:gd name="connsiteX1" fmla="*/ 2931 w 27810"/>
                      <a:gd name="connsiteY1" fmla="*/ 54185 h 54185"/>
                      <a:gd name="connsiteX2" fmla="*/ 3469 w 27810"/>
                      <a:gd name="connsiteY2" fmla="*/ 54185 h 54185"/>
                      <a:gd name="connsiteX3" fmla="*/ 4545 w 27810"/>
                      <a:gd name="connsiteY3" fmla="*/ 54185 h 54185"/>
                      <a:gd name="connsiteX4" fmla="*/ 7596 w 27810"/>
                      <a:gd name="connsiteY4" fmla="*/ 53049 h 54185"/>
                      <a:gd name="connsiteX5" fmla="*/ 9450 w 27810"/>
                      <a:gd name="connsiteY5" fmla="*/ 52391 h 54185"/>
                      <a:gd name="connsiteX6" fmla="*/ 9510 w 27810"/>
                      <a:gd name="connsiteY6" fmla="*/ 52331 h 54185"/>
                      <a:gd name="connsiteX7" fmla="*/ 9510 w 27810"/>
                      <a:gd name="connsiteY7" fmla="*/ 52331 h 54185"/>
                      <a:gd name="connsiteX8" fmla="*/ 12440 w 27810"/>
                      <a:gd name="connsiteY8" fmla="*/ 50238 h 54185"/>
                      <a:gd name="connsiteX9" fmla="*/ 14354 w 27810"/>
                      <a:gd name="connsiteY9" fmla="*/ 48862 h 54185"/>
                      <a:gd name="connsiteX10" fmla="*/ 16926 w 27810"/>
                      <a:gd name="connsiteY10" fmla="*/ 45992 h 54185"/>
                      <a:gd name="connsiteX11" fmla="*/ 18899 w 27810"/>
                      <a:gd name="connsiteY11" fmla="*/ 43779 h 54185"/>
                      <a:gd name="connsiteX12" fmla="*/ 20933 w 27810"/>
                      <a:gd name="connsiteY12" fmla="*/ 40429 h 54185"/>
                      <a:gd name="connsiteX13" fmla="*/ 22727 w 27810"/>
                      <a:gd name="connsiteY13" fmla="*/ 37499 h 54185"/>
                      <a:gd name="connsiteX14" fmla="*/ 23445 w 27810"/>
                      <a:gd name="connsiteY14" fmla="*/ 35765 h 54185"/>
                      <a:gd name="connsiteX15" fmla="*/ 23445 w 27810"/>
                      <a:gd name="connsiteY15" fmla="*/ 35765 h 54185"/>
                      <a:gd name="connsiteX16" fmla="*/ 24880 w 27810"/>
                      <a:gd name="connsiteY16" fmla="*/ 32236 h 54185"/>
                      <a:gd name="connsiteX17" fmla="*/ 25598 w 27810"/>
                      <a:gd name="connsiteY17" fmla="*/ 30502 h 54185"/>
                      <a:gd name="connsiteX18" fmla="*/ 26495 w 27810"/>
                      <a:gd name="connsiteY18" fmla="*/ 26734 h 54185"/>
                      <a:gd name="connsiteX19" fmla="*/ 27332 w 27810"/>
                      <a:gd name="connsiteY19" fmla="*/ 23205 h 54185"/>
                      <a:gd name="connsiteX20" fmla="*/ 27571 w 27810"/>
                      <a:gd name="connsiteY20" fmla="*/ 19557 h 54185"/>
                      <a:gd name="connsiteX21" fmla="*/ 27811 w 27810"/>
                      <a:gd name="connsiteY21" fmla="*/ 16267 h 54185"/>
                      <a:gd name="connsiteX22" fmla="*/ 27332 w 27810"/>
                      <a:gd name="connsiteY22" fmla="*/ 12858 h 54185"/>
                      <a:gd name="connsiteX23" fmla="*/ 27153 w 27810"/>
                      <a:gd name="connsiteY23" fmla="*/ 11363 h 54185"/>
                      <a:gd name="connsiteX24" fmla="*/ 27153 w 27810"/>
                      <a:gd name="connsiteY24" fmla="*/ 11363 h 54185"/>
                      <a:gd name="connsiteX25" fmla="*/ 27033 w 27810"/>
                      <a:gd name="connsiteY25" fmla="*/ 10347 h 54185"/>
                      <a:gd name="connsiteX26" fmla="*/ 26973 w 27810"/>
                      <a:gd name="connsiteY26" fmla="*/ 10048 h 54185"/>
                      <a:gd name="connsiteX27" fmla="*/ 25777 w 27810"/>
                      <a:gd name="connsiteY27" fmla="*/ 7177 h 54185"/>
                      <a:gd name="connsiteX28" fmla="*/ 24940 w 27810"/>
                      <a:gd name="connsiteY28" fmla="*/ 5083 h 54185"/>
                      <a:gd name="connsiteX29" fmla="*/ 23026 w 27810"/>
                      <a:gd name="connsiteY29" fmla="*/ 2990 h 54185"/>
                      <a:gd name="connsiteX30" fmla="*/ 21830 w 27810"/>
                      <a:gd name="connsiteY30" fmla="*/ 1674 h 54185"/>
                      <a:gd name="connsiteX31" fmla="*/ 19437 w 27810"/>
                      <a:gd name="connsiteY31" fmla="*/ 658 h 54185"/>
                      <a:gd name="connsiteX32" fmla="*/ 17883 w 27810"/>
                      <a:gd name="connsiteY32" fmla="*/ 0 h 5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810" h="54185">
                        <a:moveTo>
                          <a:pt x="0" y="54125"/>
                        </a:moveTo>
                        <a:lnTo>
                          <a:pt x="2931" y="54185"/>
                        </a:lnTo>
                        <a:lnTo>
                          <a:pt x="3469" y="54185"/>
                        </a:lnTo>
                        <a:lnTo>
                          <a:pt x="4545" y="54185"/>
                        </a:lnTo>
                        <a:lnTo>
                          <a:pt x="7596" y="53049"/>
                        </a:lnTo>
                        <a:lnTo>
                          <a:pt x="9450" y="52391"/>
                        </a:lnTo>
                        <a:lnTo>
                          <a:pt x="9510" y="52331"/>
                        </a:lnTo>
                        <a:lnTo>
                          <a:pt x="9510" y="52331"/>
                        </a:lnTo>
                        <a:lnTo>
                          <a:pt x="12440" y="50238"/>
                        </a:lnTo>
                        <a:lnTo>
                          <a:pt x="14354" y="48862"/>
                        </a:lnTo>
                        <a:lnTo>
                          <a:pt x="16926" y="45992"/>
                        </a:lnTo>
                        <a:lnTo>
                          <a:pt x="18899" y="43779"/>
                        </a:lnTo>
                        <a:lnTo>
                          <a:pt x="20933" y="40429"/>
                        </a:lnTo>
                        <a:lnTo>
                          <a:pt x="22727" y="37499"/>
                        </a:lnTo>
                        <a:lnTo>
                          <a:pt x="23445" y="35765"/>
                        </a:lnTo>
                        <a:lnTo>
                          <a:pt x="23445" y="35765"/>
                        </a:lnTo>
                        <a:lnTo>
                          <a:pt x="24880" y="32236"/>
                        </a:lnTo>
                        <a:lnTo>
                          <a:pt x="25598" y="30502"/>
                        </a:lnTo>
                        <a:lnTo>
                          <a:pt x="26495" y="26734"/>
                        </a:lnTo>
                        <a:lnTo>
                          <a:pt x="27332" y="23205"/>
                        </a:lnTo>
                        <a:lnTo>
                          <a:pt x="27571" y="19557"/>
                        </a:lnTo>
                        <a:lnTo>
                          <a:pt x="27811" y="16267"/>
                        </a:lnTo>
                        <a:lnTo>
                          <a:pt x="27332" y="12858"/>
                        </a:lnTo>
                        <a:lnTo>
                          <a:pt x="27153" y="11363"/>
                        </a:lnTo>
                        <a:lnTo>
                          <a:pt x="27153" y="11363"/>
                        </a:lnTo>
                        <a:lnTo>
                          <a:pt x="27033" y="10347"/>
                        </a:lnTo>
                        <a:lnTo>
                          <a:pt x="26973" y="10048"/>
                        </a:lnTo>
                        <a:lnTo>
                          <a:pt x="25777" y="7177"/>
                        </a:lnTo>
                        <a:lnTo>
                          <a:pt x="24940" y="5083"/>
                        </a:lnTo>
                        <a:lnTo>
                          <a:pt x="23026" y="2990"/>
                        </a:lnTo>
                        <a:lnTo>
                          <a:pt x="21830" y="1674"/>
                        </a:lnTo>
                        <a:lnTo>
                          <a:pt x="19437" y="658"/>
                        </a:lnTo>
                        <a:lnTo>
                          <a:pt x="17883" y="0"/>
                        </a:lnTo>
                      </a:path>
                    </a:pathLst>
                  </a:custGeom>
                  <a:noFill/>
                  <a:ln w="6350" cap="flat">
                    <a:solidFill>
                      <a:schemeClr val="bg1">
                        <a:alpha val="40000"/>
                      </a:schemeClr>
                    </a:solidFill>
                    <a:prstDash val="solid"/>
                    <a:miter/>
                  </a:ln>
                </p:spPr>
                <p:txBody>
                  <a:bodyPr rtlCol="0" anchor="ctr"/>
                  <a:lstStyle/>
                  <a:p>
                    <a:endParaRPr lang="en-GB"/>
                  </a:p>
                </p:txBody>
              </p:sp>
              <p:sp>
                <p:nvSpPr>
                  <p:cNvPr id="7917" name="Vrije vorm: vorm 7916">
                    <a:extLst>
                      <a:ext uri="{FF2B5EF4-FFF2-40B4-BE49-F238E27FC236}">
                        <a16:creationId xmlns:a16="http://schemas.microsoft.com/office/drawing/2014/main" id="{AC5ECF57-1659-4869-B624-F80999B9FE76}"/>
                      </a:ext>
                    </a:extLst>
                  </p:cNvPr>
                  <p:cNvSpPr/>
                  <p:nvPr/>
                </p:nvSpPr>
                <p:spPr>
                  <a:xfrm>
                    <a:off x="5720161" y="5338731"/>
                    <a:ext cx="27690" cy="53766"/>
                  </a:xfrm>
                  <a:custGeom>
                    <a:avLst/>
                    <a:gdLst>
                      <a:gd name="connsiteX0" fmla="*/ 17703 w 27690"/>
                      <a:gd name="connsiteY0" fmla="*/ 0 h 53766"/>
                      <a:gd name="connsiteX1" fmla="*/ 20275 w 27690"/>
                      <a:gd name="connsiteY1" fmla="*/ 1076 h 53766"/>
                      <a:gd name="connsiteX2" fmla="*/ 21650 w 27690"/>
                      <a:gd name="connsiteY2" fmla="*/ 1674 h 53766"/>
                      <a:gd name="connsiteX3" fmla="*/ 23624 w 27690"/>
                      <a:gd name="connsiteY3" fmla="*/ 3768 h 53766"/>
                      <a:gd name="connsiteX4" fmla="*/ 24820 w 27690"/>
                      <a:gd name="connsiteY4" fmla="*/ 5024 h 53766"/>
                      <a:gd name="connsiteX5" fmla="*/ 26016 w 27690"/>
                      <a:gd name="connsiteY5" fmla="*/ 7895 h 53766"/>
                      <a:gd name="connsiteX6" fmla="*/ 26853 w 27690"/>
                      <a:gd name="connsiteY6" fmla="*/ 9928 h 53766"/>
                      <a:gd name="connsiteX7" fmla="*/ 27093 w 27690"/>
                      <a:gd name="connsiteY7" fmla="*/ 11543 h 53766"/>
                      <a:gd name="connsiteX8" fmla="*/ 27332 w 27690"/>
                      <a:gd name="connsiteY8" fmla="*/ 13337 h 53766"/>
                      <a:gd name="connsiteX9" fmla="*/ 27332 w 27690"/>
                      <a:gd name="connsiteY9" fmla="*/ 13337 h 53766"/>
                      <a:gd name="connsiteX10" fmla="*/ 27691 w 27690"/>
                      <a:gd name="connsiteY10" fmla="*/ 16088 h 53766"/>
                      <a:gd name="connsiteX11" fmla="*/ 27452 w 27690"/>
                      <a:gd name="connsiteY11" fmla="*/ 19736 h 53766"/>
                      <a:gd name="connsiteX12" fmla="*/ 27272 w 27690"/>
                      <a:gd name="connsiteY12" fmla="*/ 22966 h 53766"/>
                      <a:gd name="connsiteX13" fmla="*/ 26375 w 27690"/>
                      <a:gd name="connsiteY13" fmla="*/ 26734 h 53766"/>
                      <a:gd name="connsiteX14" fmla="*/ 25538 w 27690"/>
                      <a:gd name="connsiteY14" fmla="*/ 30203 h 53766"/>
                      <a:gd name="connsiteX15" fmla="*/ 25059 w 27690"/>
                      <a:gd name="connsiteY15" fmla="*/ 31339 h 53766"/>
                      <a:gd name="connsiteX16" fmla="*/ 25059 w 27690"/>
                      <a:gd name="connsiteY16" fmla="*/ 31339 h 53766"/>
                      <a:gd name="connsiteX17" fmla="*/ 24820 w 27690"/>
                      <a:gd name="connsiteY17" fmla="*/ 31937 h 53766"/>
                      <a:gd name="connsiteX18" fmla="*/ 24102 w 27690"/>
                      <a:gd name="connsiteY18" fmla="*/ 33671 h 53766"/>
                      <a:gd name="connsiteX19" fmla="*/ 23385 w 27690"/>
                      <a:gd name="connsiteY19" fmla="*/ 35346 h 53766"/>
                      <a:gd name="connsiteX20" fmla="*/ 22966 w 27690"/>
                      <a:gd name="connsiteY20" fmla="*/ 36363 h 53766"/>
                      <a:gd name="connsiteX21" fmla="*/ 22727 w 27690"/>
                      <a:gd name="connsiteY21" fmla="*/ 36961 h 53766"/>
                      <a:gd name="connsiteX22" fmla="*/ 22727 w 27690"/>
                      <a:gd name="connsiteY22" fmla="*/ 36961 h 53766"/>
                      <a:gd name="connsiteX23" fmla="*/ 22607 w 27690"/>
                      <a:gd name="connsiteY23" fmla="*/ 37200 h 53766"/>
                      <a:gd name="connsiteX24" fmla="*/ 22607 w 27690"/>
                      <a:gd name="connsiteY24" fmla="*/ 37200 h 53766"/>
                      <a:gd name="connsiteX25" fmla="*/ 22607 w 27690"/>
                      <a:gd name="connsiteY25" fmla="*/ 37200 h 53766"/>
                      <a:gd name="connsiteX26" fmla="*/ 21650 w 27690"/>
                      <a:gd name="connsiteY26" fmla="*/ 38755 h 53766"/>
                      <a:gd name="connsiteX27" fmla="*/ 19976 w 27690"/>
                      <a:gd name="connsiteY27" fmla="*/ 41506 h 53766"/>
                      <a:gd name="connsiteX28" fmla="*/ 19976 w 27690"/>
                      <a:gd name="connsiteY28" fmla="*/ 41506 h 53766"/>
                      <a:gd name="connsiteX29" fmla="*/ 18780 w 27690"/>
                      <a:gd name="connsiteY29" fmla="*/ 43420 h 53766"/>
                      <a:gd name="connsiteX30" fmla="*/ 17045 w 27690"/>
                      <a:gd name="connsiteY30" fmla="*/ 45334 h 53766"/>
                      <a:gd name="connsiteX31" fmla="*/ 14474 w 27690"/>
                      <a:gd name="connsiteY31" fmla="*/ 48205 h 53766"/>
                      <a:gd name="connsiteX32" fmla="*/ 14234 w 27690"/>
                      <a:gd name="connsiteY32" fmla="*/ 48504 h 53766"/>
                      <a:gd name="connsiteX33" fmla="*/ 14174 w 27690"/>
                      <a:gd name="connsiteY33" fmla="*/ 48563 h 53766"/>
                      <a:gd name="connsiteX34" fmla="*/ 11244 w 27690"/>
                      <a:gd name="connsiteY34" fmla="*/ 50657 h 53766"/>
                      <a:gd name="connsiteX35" fmla="*/ 9390 w 27690"/>
                      <a:gd name="connsiteY35" fmla="*/ 52032 h 53766"/>
                      <a:gd name="connsiteX36" fmla="*/ 7237 w 27690"/>
                      <a:gd name="connsiteY36" fmla="*/ 52810 h 53766"/>
                      <a:gd name="connsiteX37" fmla="*/ 7237 w 27690"/>
                      <a:gd name="connsiteY37" fmla="*/ 52810 h 53766"/>
                      <a:gd name="connsiteX38" fmla="*/ 4545 w 27690"/>
                      <a:gd name="connsiteY38" fmla="*/ 53767 h 53766"/>
                      <a:gd name="connsiteX39" fmla="*/ 1615 w 27690"/>
                      <a:gd name="connsiteY39" fmla="*/ 53707 h 53766"/>
                      <a:gd name="connsiteX40" fmla="*/ 0 w 27690"/>
                      <a:gd name="connsiteY40" fmla="*/ 53647 h 5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7690" h="53766">
                        <a:moveTo>
                          <a:pt x="17703" y="0"/>
                        </a:moveTo>
                        <a:lnTo>
                          <a:pt x="20275" y="1076"/>
                        </a:lnTo>
                        <a:lnTo>
                          <a:pt x="21650" y="1674"/>
                        </a:lnTo>
                        <a:lnTo>
                          <a:pt x="23624" y="3768"/>
                        </a:lnTo>
                        <a:lnTo>
                          <a:pt x="24820" y="5024"/>
                        </a:lnTo>
                        <a:lnTo>
                          <a:pt x="26016" y="7895"/>
                        </a:lnTo>
                        <a:lnTo>
                          <a:pt x="26853" y="9928"/>
                        </a:lnTo>
                        <a:lnTo>
                          <a:pt x="27093" y="11543"/>
                        </a:lnTo>
                        <a:lnTo>
                          <a:pt x="27332" y="13337"/>
                        </a:lnTo>
                        <a:lnTo>
                          <a:pt x="27332" y="13337"/>
                        </a:lnTo>
                        <a:lnTo>
                          <a:pt x="27691" y="16088"/>
                        </a:lnTo>
                        <a:lnTo>
                          <a:pt x="27452" y="19736"/>
                        </a:lnTo>
                        <a:lnTo>
                          <a:pt x="27272" y="22966"/>
                        </a:lnTo>
                        <a:lnTo>
                          <a:pt x="26375" y="26734"/>
                        </a:lnTo>
                        <a:lnTo>
                          <a:pt x="25538" y="30203"/>
                        </a:lnTo>
                        <a:lnTo>
                          <a:pt x="25059" y="31339"/>
                        </a:lnTo>
                        <a:lnTo>
                          <a:pt x="25059" y="31339"/>
                        </a:lnTo>
                        <a:lnTo>
                          <a:pt x="24820" y="31937"/>
                        </a:lnTo>
                        <a:lnTo>
                          <a:pt x="24102" y="33671"/>
                        </a:lnTo>
                        <a:lnTo>
                          <a:pt x="23385" y="35346"/>
                        </a:lnTo>
                        <a:lnTo>
                          <a:pt x="22966" y="36363"/>
                        </a:lnTo>
                        <a:lnTo>
                          <a:pt x="22727" y="36961"/>
                        </a:lnTo>
                        <a:lnTo>
                          <a:pt x="22727" y="36961"/>
                        </a:lnTo>
                        <a:lnTo>
                          <a:pt x="22607" y="37200"/>
                        </a:lnTo>
                        <a:lnTo>
                          <a:pt x="22607" y="37200"/>
                        </a:lnTo>
                        <a:lnTo>
                          <a:pt x="22607" y="37200"/>
                        </a:lnTo>
                        <a:lnTo>
                          <a:pt x="21650" y="38755"/>
                        </a:lnTo>
                        <a:lnTo>
                          <a:pt x="19976" y="41506"/>
                        </a:lnTo>
                        <a:lnTo>
                          <a:pt x="19976" y="41506"/>
                        </a:lnTo>
                        <a:lnTo>
                          <a:pt x="18780" y="43420"/>
                        </a:lnTo>
                        <a:lnTo>
                          <a:pt x="17045" y="45334"/>
                        </a:lnTo>
                        <a:lnTo>
                          <a:pt x="14474" y="48205"/>
                        </a:lnTo>
                        <a:lnTo>
                          <a:pt x="14234" y="48504"/>
                        </a:lnTo>
                        <a:lnTo>
                          <a:pt x="14174" y="48563"/>
                        </a:lnTo>
                        <a:lnTo>
                          <a:pt x="11244" y="50657"/>
                        </a:lnTo>
                        <a:lnTo>
                          <a:pt x="9390" y="52032"/>
                        </a:lnTo>
                        <a:lnTo>
                          <a:pt x="7237" y="52810"/>
                        </a:lnTo>
                        <a:lnTo>
                          <a:pt x="7237" y="52810"/>
                        </a:lnTo>
                        <a:lnTo>
                          <a:pt x="4545" y="53767"/>
                        </a:lnTo>
                        <a:lnTo>
                          <a:pt x="1615" y="53707"/>
                        </a:lnTo>
                        <a:lnTo>
                          <a:pt x="0" y="53647"/>
                        </a:lnTo>
                      </a:path>
                    </a:pathLst>
                  </a:custGeom>
                  <a:noFill/>
                  <a:ln w="6350" cap="flat">
                    <a:solidFill>
                      <a:schemeClr val="bg1">
                        <a:alpha val="40000"/>
                      </a:schemeClr>
                    </a:solidFill>
                    <a:prstDash val="solid"/>
                    <a:miter/>
                  </a:ln>
                </p:spPr>
                <p:txBody>
                  <a:bodyPr rtlCol="0" anchor="ctr"/>
                  <a:lstStyle/>
                  <a:p>
                    <a:endParaRPr lang="en-GB"/>
                  </a:p>
                </p:txBody>
              </p:sp>
              <p:sp>
                <p:nvSpPr>
                  <p:cNvPr id="7918" name="Vrije vorm: vorm 7917">
                    <a:extLst>
                      <a:ext uri="{FF2B5EF4-FFF2-40B4-BE49-F238E27FC236}">
                        <a16:creationId xmlns:a16="http://schemas.microsoft.com/office/drawing/2014/main" id="{36BDDBCE-2BBD-4334-B9AE-55C52C8635A8}"/>
                      </a:ext>
                    </a:extLst>
                  </p:cNvPr>
                  <p:cNvSpPr/>
                  <p:nvPr/>
                </p:nvSpPr>
                <p:spPr>
                  <a:xfrm>
                    <a:off x="5696238" y="5380177"/>
                    <a:ext cx="11303" cy="2033"/>
                  </a:xfrm>
                  <a:custGeom>
                    <a:avLst/>
                    <a:gdLst>
                      <a:gd name="connsiteX0" fmla="*/ 11304 w 11303"/>
                      <a:gd name="connsiteY0" fmla="*/ 2034 h 2033"/>
                      <a:gd name="connsiteX1" fmla="*/ 11065 w 11303"/>
                      <a:gd name="connsiteY1" fmla="*/ 1914 h 2033"/>
                      <a:gd name="connsiteX2" fmla="*/ 10586 w 11303"/>
                      <a:gd name="connsiteY2" fmla="*/ 1674 h 2033"/>
                      <a:gd name="connsiteX3" fmla="*/ 10048 w 11303"/>
                      <a:gd name="connsiteY3" fmla="*/ 1435 h 2033"/>
                      <a:gd name="connsiteX4" fmla="*/ 9749 w 11303"/>
                      <a:gd name="connsiteY4" fmla="*/ 1316 h 2033"/>
                      <a:gd name="connsiteX5" fmla="*/ 8194 w 11303"/>
                      <a:gd name="connsiteY5" fmla="*/ 837 h 2033"/>
                      <a:gd name="connsiteX6" fmla="*/ 8074 w 11303"/>
                      <a:gd name="connsiteY6" fmla="*/ 778 h 2033"/>
                      <a:gd name="connsiteX7" fmla="*/ 6579 w 11303"/>
                      <a:gd name="connsiteY7" fmla="*/ 479 h 2033"/>
                      <a:gd name="connsiteX8" fmla="*/ 4904 w 11303"/>
                      <a:gd name="connsiteY8" fmla="*/ 299 h 2033"/>
                      <a:gd name="connsiteX9" fmla="*/ 2034 w 11303"/>
                      <a:gd name="connsiteY9" fmla="*/ 120 h 2033"/>
                      <a:gd name="connsiteX10" fmla="*/ 0 w 11303"/>
                      <a:gd name="connsiteY10" fmla="*/ 0 h 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03" h="2033">
                        <a:moveTo>
                          <a:pt x="11304" y="2034"/>
                        </a:moveTo>
                        <a:lnTo>
                          <a:pt x="11065" y="1914"/>
                        </a:lnTo>
                        <a:lnTo>
                          <a:pt x="10586" y="1674"/>
                        </a:lnTo>
                        <a:lnTo>
                          <a:pt x="10048" y="1435"/>
                        </a:lnTo>
                        <a:lnTo>
                          <a:pt x="9749" y="1316"/>
                        </a:lnTo>
                        <a:lnTo>
                          <a:pt x="8194" y="837"/>
                        </a:lnTo>
                        <a:lnTo>
                          <a:pt x="8074" y="778"/>
                        </a:lnTo>
                        <a:lnTo>
                          <a:pt x="6579" y="479"/>
                        </a:lnTo>
                        <a:lnTo>
                          <a:pt x="4904" y="299"/>
                        </a:lnTo>
                        <a:lnTo>
                          <a:pt x="2034" y="12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19" name="Vrije vorm: vorm 7918">
                    <a:extLst>
                      <a:ext uri="{FF2B5EF4-FFF2-40B4-BE49-F238E27FC236}">
                        <a16:creationId xmlns:a16="http://schemas.microsoft.com/office/drawing/2014/main" id="{F713B056-972E-4C3F-A6A5-2690B90DD020}"/>
                      </a:ext>
                    </a:extLst>
                  </p:cNvPr>
                  <p:cNvSpPr/>
                  <p:nvPr/>
                </p:nvSpPr>
                <p:spPr>
                  <a:xfrm>
                    <a:off x="5706346" y="5381673"/>
                    <a:ext cx="3289" cy="2930"/>
                  </a:xfrm>
                  <a:custGeom>
                    <a:avLst/>
                    <a:gdLst>
                      <a:gd name="connsiteX0" fmla="*/ 3289 w 3289"/>
                      <a:gd name="connsiteY0" fmla="*/ 2930 h 2930"/>
                      <a:gd name="connsiteX1" fmla="*/ 2572 w 3289"/>
                      <a:gd name="connsiteY1" fmla="*/ 2153 h 2930"/>
                      <a:gd name="connsiteX2" fmla="*/ 2572 w 3289"/>
                      <a:gd name="connsiteY2" fmla="*/ 2153 h 2930"/>
                      <a:gd name="connsiteX3" fmla="*/ 2273 w 3289"/>
                      <a:gd name="connsiteY3" fmla="*/ 1854 h 2930"/>
                      <a:gd name="connsiteX4" fmla="*/ 2153 w 3289"/>
                      <a:gd name="connsiteY4" fmla="*/ 1734 h 2930"/>
                      <a:gd name="connsiteX5" fmla="*/ 1974 w 3289"/>
                      <a:gd name="connsiteY5" fmla="*/ 1555 h 2930"/>
                      <a:gd name="connsiteX6" fmla="*/ 1136 w 3289"/>
                      <a:gd name="connsiteY6" fmla="*/ 837 h 2930"/>
                      <a:gd name="connsiteX7" fmla="*/ 1017 w 3289"/>
                      <a:gd name="connsiteY7" fmla="*/ 718 h 2930"/>
                      <a:gd name="connsiteX8" fmla="*/ 538 w 3289"/>
                      <a:gd name="connsiteY8" fmla="*/ 359 h 2930"/>
                      <a:gd name="connsiteX9" fmla="*/ 0 w 3289"/>
                      <a:gd name="connsiteY9" fmla="*/ 0 h 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9" h="2930">
                        <a:moveTo>
                          <a:pt x="3289" y="2930"/>
                        </a:moveTo>
                        <a:lnTo>
                          <a:pt x="2572" y="2153"/>
                        </a:lnTo>
                        <a:lnTo>
                          <a:pt x="2572" y="2153"/>
                        </a:lnTo>
                        <a:lnTo>
                          <a:pt x="2273" y="1854"/>
                        </a:lnTo>
                        <a:lnTo>
                          <a:pt x="2153" y="1734"/>
                        </a:lnTo>
                        <a:lnTo>
                          <a:pt x="1974" y="1555"/>
                        </a:lnTo>
                        <a:lnTo>
                          <a:pt x="1136" y="837"/>
                        </a:lnTo>
                        <a:lnTo>
                          <a:pt x="1017" y="718"/>
                        </a:lnTo>
                        <a:lnTo>
                          <a:pt x="538" y="35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20" name="Vrije vorm: vorm 7919">
                    <a:extLst>
                      <a:ext uri="{FF2B5EF4-FFF2-40B4-BE49-F238E27FC236}">
                        <a16:creationId xmlns:a16="http://schemas.microsoft.com/office/drawing/2014/main" id="{566A1898-37FA-4110-91AE-C7B8859E2940}"/>
                      </a:ext>
                    </a:extLst>
                  </p:cNvPr>
                  <p:cNvSpPr/>
                  <p:nvPr/>
                </p:nvSpPr>
                <p:spPr>
                  <a:xfrm>
                    <a:off x="5647376" y="5335621"/>
                    <a:ext cx="68658" cy="9928"/>
                  </a:xfrm>
                  <a:custGeom>
                    <a:avLst/>
                    <a:gdLst>
                      <a:gd name="connsiteX0" fmla="*/ 0 w 68658"/>
                      <a:gd name="connsiteY0" fmla="*/ 0 h 9928"/>
                      <a:gd name="connsiteX1" fmla="*/ 2811 w 68658"/>
                      <a:gd name="connsiteY1" fmla="*/ 419 h 9928"/>
                      <a:gd name="connsiteX2" fmla="*/ 5622 w 68658"/>
                      <a:gd name="connsiteY2" fmla="*/ 837 h 9928"/>
                      <a:gd name="connsiteX3" fmla="*/ 8433 w 68658"/>
                      <a:gd name="connsiteY3" fmla="*/ 1256 h 9928"/>
                      <a:gd name="connsiteX4" fmla="*/ 11244 w 68658"/>
                      <a:gd name="connsiteY4" fmla="*/ 1675 h 9928"/>
                      <a:gd name="connsiteX5" fmla="*/ 14055 w 68658"/>
                      <a:gd name="connsiteY5" fmla="*/ 2093 h 9928"/>
                      <a:gd name="connsiteX6" fmla="*/ 16866 w 68658"/>
                      <a:gd name="connsiteY6" fmla="*/ 2512 h 9928"/>
                      <a:gd name="connsiteX7" fmla="*/ 19676 w 68658"/>
                      <a:gd name="connsiteY7" fmla="*/ 2930 h 9928"/>
                      <a:gd name="connsiteX8" fmla="*/ 22488 w 68658"/>
                      <a:gd name="connsiteY8" fmla="*/ 3349 h 9928"/>
                      <a:gd name="connsiteX9" fmla="*/ 25298 w 68658"/>
                      <a:gd name="connsiteY9" fmla="*/ 3768 h 9928"/>
                      <a:gd name="connsiteX10" fmla="*/ 28109 w 68658"/>
                      <a:gd name="connsiteY10" fmla="*/ 4187 h 9928"/>
                      <a:gd name="connsiteX11" fmla="*/ 30920 w 68658"/>
                      <a:gd name="connsiteY11" fmla="*/ 4605 h 9928"/>
                      <a:gd name="connsiteX12" fmla="*/ 33731 w 68658"/>
                      <a:gd name="connsiteY12" fmla="*/ 5024 h 9928"/>
                      <a:gd name="connsiteX13" fmla="*/ 36542 w 68658"/>
                      <a:gd name="connsiteY13" fmla="*/ 5443 h 9928"/>
                      <a:gd name="connsiteX14" fmla="*/ 39353 w 68658"/>
                      <a:gd name="connsiteY14" fmla="*/ 5861 h 9928"/>
                      <a:gd name="connsiteX15" fmla="*/ 42164 w 68658"/>
                      <a:gd name="connsiteY15" fmla="*/ 6280 h 9928"/>
                      <a:gd name="connsiteX16" fmla="*/ 44975 w 68658"/>
                      <a:gd name="connsiteY16" fmla="*/ 6698 h 9928"/>
                      <a:gd name="connsiteX17" fmla="*/ 47786 w 68658"/>
                      <a:gd name="connsiteY17" fmla="*/ 7117 h 9928"/>
                      <a:gd name="connsiteX18" fmla="*/ 50597 w 68658"/>
                      <a:gd name="connsiteY18" fmla="*/ 7536 h 9928"/>
                      <a:gd name="connsiteX19" fmla="*/ 53408 w 68658"/>
                      <a:gd name="connsiteY19" fmla="*/ 7954 h 9928"/>
                      <a:gd name="connsiteX20" fmla="*/ 56219 w 68658"/>
                      <a:gd name="connsiteY20" fmla="*/ 8373 h 9928"/>
                      <a:gd name="connsiteX21" fmla="*/ 59030 w 68658"/>
                      <a:gd name="connsiteY21" fmla="*/ 8792 h 9928"/>
                      <a:gd name="connsiteX22" fmla="*/ 61841 w 68658"/>
                      <a:gd name="connsiteY22" fmla="*/ 9211 h 9928"/>
                      <a:gd name="connsiteX23" fmla="*/ 65309 w 68658"/>
                      <a:gd name="connsiteY23" fmla="*/ 9749 h 9928"/>
                      <a:gd name="connsiteX24" fmla="*/ 66984 w 68658"/>
                      <a:gd name="connsiteY24" fmla="*/ 9928 h 9928"/>
                      <a:gd name="connsiteX25" fmla="*/ 67163 w 68658"/>
                      <a:gd name="connsiteY25" fmla="*/ 9928 h 9928"/>
                      <a:gd name="connsiteX26" fmla="*/ 68659 w 68658"/>
                      <a:gd name="connsiteY26" fmla="*/ 9928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658" h="9928">
                        <a:moveTo>
                          <a:pt x="0" y="0"/>
                        </a:moveTo>
                        <a:lnTo>
                          <a:pt x="2811" y="419"/>
                        </a:lnTo>
                        <a:lnTo>
                          <a:pt x="5622" y="837"/>
                        </a:lnTo>
                        <a:lnTo>
                          <a:pt x="8433" y="1256"/>
                        </a:lnTo>
                        <a:lnTo>
                          <a:pt x="11244" y="1675"/>
                        </a:lnTo>
                        <a:lnTo>
                          <a:pt x="14055" y="2093"/>
                        </a:lnTo>
                        <a:lnTo>
                          <a:pt x="16866" y="2512"/>
                        </a:lnTo>
                        <a:lnTo>
                          <a:pt x="19676" y="2930"/>
                        </a:lnTo>
                        <a:lnTo>
                          <a:pt x="22488" y="3349"/>
                        </a:lnTo>
                        <a:lnTo>
                          <a:pt x="25298" y="3768"/>
                        </a:lnTo>
                        <a:lnTo>
                          <a:pt x="28109" y="4187"/>
                        </a:lnTo>
                        <a:lnTo>
                          <a:pt x="30920" y="4605"/>
                        </a:lnTo>
                        <a:lnTo>
                          <a:pt x="33731" y="5024"/>
                        </a:lnTo>
                        <a:lnTo>
                          <a:pt x="36542" y="5443"/>
                        </a:lnTo>
                        <a:lnTo>
                          <a:pt x="39353" y="5861"/>
                        </a:lnTo>
                        <a:lnTo>
                          <a:pt x="42164" y="6280"/>
                        </a:lnTo>
                        <a:lnTo>
                          <a:pt x="44975" y="6698"/>
                        </a:lnTo>
                        <a:lnTo>
                          <a:pt x="47786" y="7117"/>
                        </a:lnTo>
                        <a:lnTo>
                          <a:pt x="50597" y="7536"/>
                        </a:lnTo>
                        <a:lnTo>
                          <a:pt x="53408" y="7954"/>
                        </a:lnTo>
                        <a:lnTo>
                          <a:pt x="56219" y="8373"/>
                        </a:lnTo>
                        <a:lnTo>
                          <a:pt x="59030" y="8792"/>
                        </a:lnTo>
                        <a:lnTo>
                          <a:pt x="61841" y="9211"/>
                        </a:lnTo>
                        <a:lnTo>
                          <a:pt x="65309" y="9749"/>
                        </a:lnTo>
                        <a:lnTo>
                          <a:pt x="66984" y="9928"/>
                        </a:lnTo>
                        <a:lnTo>
                          <a:pt x="67163" y="9928"/>
                        </a:lnTo>
                        <a:lnTo>
                          <a:pt x="68659" y="9928"/>
                        </a:lnTo>
                      </a:path>
                    </a:pathLst>
                  </a:custGeom>
                  <a:noFill/>
                  <a:ln w="6350" cap="flat">
                    <a:solidFill>
                      <a:schemeClr val="bg1">
                        <a:alpha val="40000"/>
                      </a:schemeClr>
                    </a:solidFill>
                    <a:prstDash val="solid"/>
                    <a:miter/>
                  </a:ln>
                </p:spPr>
                <p:txBody>
                  <a:bodyPr rtlCol="0" anchor="ctr"/>
                  <a:lstStyle/>
                  <a:p>
                    <a:endParaRPr lang="en-GB"/>
                  </a:p>
                </p:txBody>
              </p:sp>
              <p:sp>
                <p:nvSpPr>
                  <p:cNvPr id="7921" name="Vrije vorm: vorm 7920">
                    <a:extLst>
                      <a:ext uri="{FF2B5EF4-FFF2-40B4-BE49-F238E27FC236}">
                        <a16:creationId xmlns:a16="http://schemas.microsoft.com/office/drawing/2014/main" id="{852742E5-A08F-4BF3-A042-A8F2A6BA4ED3}"/>
                      </a:ext>
                    </a:extLst>
                  </p:cNvPr>
                  <p:cNvSpPr/>
                  <p:nvPr/>
                </p:nvSpPr>
                <p:spPr>
                  <a:xfrm>
                    <a:off x="5714659" y="5344532"/>
                    <a:ext cx="5263" cy="1196"/>
                  </a:xfrm>
                  <a:custGeom>
                    <a:avLst/>
                    <a:gdLst>
                      <a:gd name="connsiteX0" fmla="*/ 0 w 5263"/>
                      <a:gd name="connsiteY0" fmla="*/ 1196 h 1196"/>
                      <a:gd name="connsiteX1" fmla="*/ 299 w 5263"/>
                      <a:gd name="connsiteY1" fmla="*/ 1196 h 1196"/>
                      <a:gd name="connsiteX2" fmla="*/ 1974 w 5263"/>
                      <a:gd name="connsiteY2" fmla="*/ 897 h 1196"/>
                      <a:gd name="connsiteX3" fmla="*/ 3349 w 5263"/>
                      <a:gd name="connsiteY3" fmla="*/ 538 h 1196"/>
                      <a:gd name="connsiteX4" fmla="*/ 3648 w 5263"/>
                      <a:gd name="connsiteY4" fmla="*/ 479 h 1196"/>
                      <a:gd name="connsiteX5" fmla="*/ 4187 w 5263"/>
                      <a:gd name="connsiteY5" fmla="*/ 299 h 1196"/>
                      <a:gd name="connsiteX6" fmla="*/ 4785 w 5263"/>
                      <a:gd name="connsiteY6" fmla="*/ 120 h 1196"/>
                      <a:gd name="connsiteX7" fmla="*/ 5024 w 5263"/>
                      <a:gd name="connsiteY7" fmla="*/ 60 h 1196"/>
                      <a:gd name="connsiteX8" fmla="*/ 5203 w 5263"/>
                      <a:gd name="connsiteY8" fmla="*/ 0 h 1196"/>
                      <a:gd name="connsiteX9" fmla="*/ 5263 w 5263"/>
                      <a:gd name="connsiteY9" fmla="*/ 0 h 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3" h="1196">
                        <a:moveTo>
                          <a:pt x="0" y="1196"/>
                        </a:moveTo>
                        <a:lnTo>
                          <a:pt x="299" y="1196"/>
                        </a:lnTo>
                        <a:lnTo>
                          <a:pt x="1974" y="897"/>
                        </a:lnTo>
                        <a:lnTo>
                          <a:pt x="3349" y="538"/>
                        </a:lnTo>
                        <a:lnTo>
                          <a:pt x="3648" y="479"/>
                        </a:lnTo>
                        <a:lnTo>
                          <a:pt x="4187" y="299"/>
                        </a:lnTo>
                        <a:lnTo>
                          <a:pt x="4785" y="120"/>
                        </a:lnTo>
                        <a:lnTo>
                          <a:pt x="5024" y="60"/>
                        </a:lnTo>
                        <a:lnTo>
                          <a:pt x="5203" y="0"/>
                        </a:lnTo>
                        <a:lnTo>
                          <a:pt x="5263" y="0"/>
                        </a:lnTo>
                      </a:path>
                    </a:pathLst>
                  </a:custGeom>
                  <a:noFill/>
                  <a:ln w="6350" cap="flat">
                    <a:solidFill>
                      <a:schemeClr val="bg1">
                        <a:alpha val="40000"/>
                      </a:schemeClr>
                    </a:solidFill>
                    <a:prstDash val="solid"/>
                    <a:miter/>
                  </a:ln>
                </p:spPr>
                <p:txBody>
                  <a:bodyPr rtlCol="0" anchor="ctr"/>
                  <a:lstStyle/>
                  <a:p>
                    <a:endParaRPr lang="en-GB"/>
                  </a:p>
                </p:txBody>
              </p:sp>
              <p:sp>
                <p:nvSpPr>
                  <p:cNvPr id="7922" name="Vrije vorm: vorm 7921">
                    <a:extLst>
                      <a:ext uri="{FF2B5EF4-FFF2-40B4-BE49-F238E27FC236}">
                        <a16:creationId xmlns:a16="http://schemas.microsoft.com/office/drawing/2014/main" id="{C027EE2C-A5A0-45FC-B648-1246BA87D2E3}"/>
                      </a:ext>
                    </a:extLst>
                  </p:cNvPr>
                  <p:cNvSpPr/>
                  <p:nvPr/>
                </p:nvSpPr>
                <p:spPr>
                  <a:xfrm>
                    <a:off x="5718906" y="5342618"/>
                    <a:ext cx="3528" cy="2213"/>
                  </a:xfrm>
                  <a:custGeom>
                    <a:avLst/>
                    <a:gdLst>
                      <a:gd name="connsiteX0" fmla="*/ 0 w 3528"/>
                      <a:gd name="connsiteY0" fmla="*/ 2213 h 2213"/>
                      <a:gd name="connsiteX1" fmla="*/ 658 w 3528"/>
                      <a:gd name="connsiteY1" fmla="*/ 1854 h 2213"/>
                      <a:gd name="connsiteX2" fmla="*/ 778 w 3528"/>
                      <a:gd name="connsiteY2" fmla="*/ 1795 h 2213"/>
                      <a:gd name="connsiteX3" fmla="*/ 1316 w 3528"/>
                      <a:gd name="connsiteY3" fmla="*/ 1495 h 2213"/>
                      <a:gd name="connsiteX4" fmla="*/ 1375 w 3528"/>
                      <a:gd name="connsiteY4" fmla="*/ 1436 h 2213"/>
                      <a:gd name="connsiteX5" fmla="*/ 2093 w 3528"/>
                      <a:gd name="connsiteY5" fmla="*/ 1017 h 2213"/>
                      <a:gd name="connsiteX6" fmla="*/ 3528 w 3528"/>
                      <a:gd name="connsiteY6" fmla="*/ 0 h 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8" h="2213">
                        <a:moveTo>
                          <a:pt x="0" y="2213"/>
                        </a:moveTo>
                        <a:lnTo>
                          <a:pt x="658" y="1854"/>
                        </a:lnTo>
                        <a:lnTo>
                          <a:pt x="778" y="1795"/>
                        </a:lnTo>
                        <a:lnTo>
                          <a:pt x="1316" y="1495"/>
                        </a:lnTo>
                        <a:lnTo>
                          <a:pt x="1375" y="1436"/>
                        </a:lnTo>
                        <a:lnTo>
                          <a:pt x="2093" y="1017"/>
                        </a:lnTo>
                        <a:lnTo>
                          <a:pt x="3528" y="0"/>
                        </a:lnTo>
                      </a:path>
                    </a:pathLst>
                  </a:custGeom>
                  <a:noFill/>
                  <a:ln w="6350" cap="flat">
                    <a:solidFill>
                      <a:schemeClr val="bg1">
                        <a:alpha val="40000"/>
                      </a:schemeClr>
                    </a:solidFill>
                    <a:prstDash val="solid"/>
                    <a:miter/>
                  </a:ln>
                </p:spPr>
                <p:txBody>
                  <a:bodyPr rtlCol="0" anchor="ctr"/>
                  <a:lstStyle/>
                  <a:p>
                    <a:endParaRPr lang="en-GB"/>
                  </a:p>
                </p:txBody>
              </p:sp>
              <p:sp>
                <p:nvSpPr>
                  <p:cNvPr id="7923" name="Vrije vorm: vorm 7922">
                    <a:extLst>
                      <a:ext uri="{FF2B5EF4-FFF2-40B4-BE49-F238E27FC236}">
                        <a16:creationId xmlns:a16="http://schemas.microsoft.com/office/drawing/2014/main" id="{DBA8AA7E-B74D-4266-B599-D61B360BA4BF}"/>
                      </a:ext>
                    </a:extLst>
                  </p:cNvPr>
                  <p:cNvSpPr/>
                  <p:nvPr/>
                </p:nvSpPr>
                <p:spPr>
                  <a:xfrm>
                    <a:off x="5708499" y="5383347"/>
                    <a:ext cx="956" cy="1854"/>
                  </a:xfrm>
                  <a:custGeom>
                    <a:avLst/>
                    <a:gdLst>
                      <a:gd name="connsiteX0" fmla="*/ 957 w 956"/>
                      <a:gd name="connsiteY0" fmla="*/ 1854 h 1854"/>
                      <a:gd name="connsiteX1" fmla="*/ 957 w 956"/>
                      <a:gd name="connsiteY1" fmla="*/ 1854 h 1854"/>
                      <a:gd name="connsiteX2" fmla="*/ 359 w 956"/>
                      <a:gd name="connsiteY2" fmla="*/ 598 h 1854"/>
                      <a:gd name="connsiteX3" fmla="*/ 0 w 956"/>
                      <a:gd name="connsiteY3" fmla="*/ 0 h 1854"/>
                    </a:gdLst>
                    <a:ahLst/>
                    <a:cxnLst>
                      <a:cxn ang="0">
                        <a:pos x="connsiteX0" y="connsiteY0"/>
                      </a:cxn>
                      <a:cxn ang="0">
                        <a:pos x="connsiteX1" y="connsiteY1"/>
                      </a:cxn>
                      <a:cxn ang="0">
                        <a:pos x="connsiteX2" y="connsiteY2"/>
                      </a:cxn>
                      <a:cxn ang="0">
                        <a:pos x="connsiteX3" y="connsiteY3"/>
                      </a:cxn>
                    </a:cxnLst>
                    <a:rect l="l" t="t" r="r" b="b"/>
                    <a:pathLst>
                      <a:path w="956" h="1854">
                        <a:moveTo>
                          <a:pt x="957" y="1854"/>
                        </a:moveTo>
                        <a:lnTo>
                          <a:pt x="957" y="1854"/>
                        </a:lnTo>
                        <a:lnTo>
                          <a:pt x="359" y="598"/>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24" name="Vrije vorm: vorm 7923">
                    <a:extLst>
                      <a:ext uri="{FF2B5EF4-FFF2-40B4-BE49-F238E27FC236}">
                        <a16:creationId xmlns:a16="http://schemas.microsoft.com/office/drawing/2014/main" id="{9BB7A675-20D7-40F5-AB7F-EC1DB716073A}"/>
                      </a:ext>
                    </a:extLst>
                  </p:cNvPr>
                  <p:cNvSpPr/>
                  <p:nvPr/>
                </p:nvSpPr>
                <p:spPr>
                  <a:xfrm>
                    <a:off x="5719743" y="5333827"/>
                    <a:ext cx="21052" cy="10585"/>
                  </a:xfrm>
                  <a:custGeom>
                    <a:avLst/>
                    <a:gdLst>
                      <a:gd name="connsiteX0" fmla="*/ 0 w 21052"/>
                      <a:gd name="connsiteY0" fmla="*/ 10586 h 10585"/>
                      <a:gd name="connsiteX1" fmla="*/ 2273 w 21052"/>
                      <a:gd name="connsiteY1" fmla="*/ 8014 h 10585"/>
                      <a:gd name="connsiteX2" fmla="*/ 3349 w 21052"/>
                      <a:gd name="connsiteY2" fmla="*/ 6818 h 10585"/>
                      <a:gd name="connsiteX3" fmla="*/ 3469 w 21052"/>
                      <a:gd name="connsiteY3" fmla="*/ 6758 h 10585"/>
                      <a:gd name="connsiteX4" fmla="*/ 6340 w 21052"/>
                      <a:gd name="connsiteY4" fmla="*/ 4545 h 10585"/>
                      <a:gd name="connsiteX5" fmla="*/ 8014 w 21052"/>
                      <a:gd name="connsiteY5" fmla="*/ 3229 h 10585"/>
                      <a:gd name="connsiteX6" fmla="*/ 8852 w 21052"/>
                      <a:gd name="connsiteY6" fmla="*/ 2572 h 10585"/>
                      <a:gd name="connsiteX7" fmla="*/ 8852 w 21052"/>
                      <a:gd name="connsiteY7" fmla="*/ 2572 h 10585"/>
                      <a:gd name="connsiteX8" fmla="*/ 9510 w 21052"/>
                      <a:gd name="connsiteY8" fmla="*/ 2273 h 10585"/>
                      <a:gd name="connsiteX9" fmla="*/ 12560 w 21052"/>
                      <a:gd name="connsiteY9" fmla="*/ 1017 h 10585"/>
                      <a:gd name="connsiteX10" fmla="*/ 14474 w 21052"/>
                      <a:gd name="connsiteY10" fmla="*/ 239 h 10585"/>
                      <a:gd name="connsiteX11" fmla="*/ 17404 w 21052"/>
                      <a:gd name="connsiteY11" fmla="*/ 120 h 10585"/>
                      <a:gd name="connsiteX12" fmla="*/ 18720 w 21052"/>
                      <a:gd name="connsiteY12" fmla="*/ 60 h 10585"/>
                      <a:gd name="connsiteX13" fmla="*/ 19737 w 21052"/>
                      <a:gd name="connsiteY13" fmla="*/ 0 h 10585"/>
                      <a:gd name="connsiteX14" fmla="*/ 21052 w 21052"/>
                      <a:gd name="connsiteY14" fmla="*/ 239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052" h="10585">
                        <a:moveTo>
                          <a:pt x="0" y="10586"/>
                        </a:moveTo>
                        <a:lnTo>
                          <a:pt x="2273" y="8014"/>
                        </a:lnTo>
                        <a:lnTo>
                          <a:pt x="3349" y="6818"/>
                        </a:lnTo>
                        <a:lnTo>
                          <a:pt x="3469" y="6758"/>
                        </a:lnTo>
                        <a:lnTo>
                          <a:pt x="6340" y="4545"/>
                        </a:lnTo>
                        <a:lnTo>
                          <a:pt x="8014" y="3229"/>
                        </a:lnTo>
                        <a:lnTo>
                          <a:pt x="8852" y="2572"/>
                        </a:lnTo>
                        <a:lnTo>
                          <a:pt x="8852" y="2572"/>
                        </a:lnTo>
                        <a:lnTo>
                          <a:pt x="9510" y="2273"/>
                        </a:lnTo>
                        <a:lnTo>
                          <a:pt x="12560" y="1017"/>
                        </a:lnTo>
                        <a:lnTo>
                          <a:pt x="14474" y="239"/>
                        </a:lnTo>
                        <a:lnTo>
                          <a:pt x="17404" y="120"/>
                        </a:lnTo>
                        <a:lnTo>
                          <a:pt x="18720" y="60"/>
                        </a:lnTo>
                        <a:lnTo>
                          <a:pt x="19737" y="0"/>
                        </a:lnTo>
                        <a:lnTo>
                          <a:pt x="21052" y="239"/>
                        </a:lnTo>
                      </a:path>
                    </a:pathLst>
                  </a:custGeom>
                  <a:noFill/>
                  <a:ln w="6350" cap="flat">
                    <a:solidFill>
                      <a:schemeClr val="bg1">
                        <a:alpha val="40000"/>
                      </a:schemeClr>
                    </a:solidFill>
                    <a:prstDash val="solid"/>
                    <a:miter/>
                  </a:ln>
                </p:spPr>
                <p:txBody>
                  <a:bodyPr rtlCol="0" anchor="ctr"/>
                  <a:lstStyle/>
                  <a:p>
                    <a:endParaRPr lang="en-GB"/>
                  </a:p>
                </p:txBody>
              </p:sp>
              <p:sp>
                <p:nvSpPr>
                  <p:cNvPr id="7925" name="Vrije vorm: vorm 7924">
                    <a:extLst>
                      <a:ext uri="{FF2B5EF4-FFF2-40B4-BE49-F238E27FC236}">
                        <a16:creationId xmlns:a16="http://schemas.microsoft.com/office/drawing/2014/main" id="{E8C618B8-7958-4F32-892A-5A937C82566E}"/>
                      </a:ext>
                    </a:extLst>
                  </p:cNvPr>
                  <p:cNvSpPr/>
                  <p:nvPr/>
                </p:nvSpPr>
                <p:spPr>
                  <a:xfrm>
                    <a:off x="5708320" y="5333887"/>
                    <a:ext cx="43240" cy="63754"/>
                  </a:xfrm>
                  <a:custGeom>
                    <a:avLst/>
                    <a:gdLst>
                      <a:gd name="connsiteX0" fmla="*/ 31160 w 43240"/>
                      <a:gd name="connsiteY0" fmla="*/ 0 h 63754"/>
                      <a:gd name="connsiteX1" fmla="*/ 31817 w 43240"/>
                      <a:gd name="connsiteY1" fmla="*/ 299 h 63754"/>
                      <a:gd name="connsiteX2" fmla="*/ 34389 w 43240"/>
                      <a:gd name="connsiteY2" fmla="*/ 1375 h 63754"/>
                      <a:gd name="connsiteX3" fmla="*/ 35884 w 43240"/>
                      <a:gd name="connsiteY3" fmla="*/ 1974 h 63754"/>
                      <a:gd name="connsiteX4" fmla="*/ 37858 w 43240"/>
                      <a:gd name="connsiteY4" fmla="*/ 4067 h 63754"/>
                      <a:gd name="connsiteX5" fmla="*/ 39652 w 43240"/>
                      <a:gd name="connsiteY5" fmla="*/ 5981 h 63754"/>
                      <a:gd name="connsiteX6" fmla="*/ 40908 w 43240"/>
                      <a:gd name="connsiteY6" fmla="*/ 8851 h 63754"/>
                      <a:gd name="connsiteX7" fmla="*/ 42164 w 43240"/>
                      <a:gd name="connsiteY7" fmla="*/ 11722 h 63754"/>
                      <a:gd name="connsiteX8" fmla="*/ 42164 w 43240"/>
                      <a:gd name="connsiteY8" fmla="*/ 11782 h 63754"/>
                      <a:gd name="connsiteX9" fmla="*/ 42643 w 43240"/>
                      <a:gd name="connsiteY9" fmla="*/ 15191 h 63754"/>
                      <a:gd name="connsiteX10" fmla="*/ 42942 w 43240"/>
                      <a:gd name="connsiteY10" fmla="*/ 17105 h 63754"/>
                      <a:gd name="connsiteX11" fmla="*/ 43241 w 43240"/>
                      <a:gd name="connsiteY11" fmla="*/ 19079 h 63754"/>
                      <a:gd name="connsiteX12" fmla="*/ 43121 w 43240"/>
                      <a:gd name="connsiteY12" fmla="*/ 21052 h 63754"/>
                      <a:gd name="connsiteX13" fmla="*/ 43121 w 43240"/>
                      <a:gd name="connsiteY13" fmla="*/ 21052 h 63754"/>
                      <a:gd name="connsiteX14" fmla="*/ 42882 w 43240"/>
                      <a:gd name="connsiteY14" fmla="*/ 24641 h 63754"/>
                      <a:gd name="connsiteX15" fmla="*/ 42882 w 43240"/>
                      <a:gd name="connsiteY15" fmla="*/ 24641 h 63754"/>
                      <a:gd name="connsiteX16" fmla="*/ 42762 w 43240"/>
                      <a:gd name="connsiteY16" fmla="*/ 26674 h 63754"/>
                      <a:gd name="connsiteX17" fmla="*/ 42702 w 43240"/>
                      <a:gd name="connsiteY17" fmla="*/ 27212 h 63754"/>
                      <a:gd name="connsiteX18" fmla="*/ 42583 w 43240"/>
                      <a:gd name="connsiteY18" fmla="*/ 27631 h 63754"/>
                      <a:gd name="connsiteX19" fmla="*/ 41685 w 43240"/>
                      <a:gd name="connsiteY19" fmla="*/ 31399 h 63754"/>
                      <a:gd name="connsiteX20" fmla="*/ 40968 w 43240"/>
                      <a:gd name="connsiteY20" fmla="*/ 34389 h 63754"/>
                      <a:gd name="connsiteX21" fmla="*/ 40669 w 43240"/>
                      <a:gd name="connsiteY21" fmla="*/ 35585 h 63754"/>
                      <a:gd name="connsiteX22" fmla="*/ 40609 w 43240"/>
                      <a:gd name="connsiteY22" fmla="*/ 35765 h 63754"/>
                      <a:gd name="connsiteX23" fmla="*/ 40011 w 43240"/>
                      <a:gd name="connsiteY23" fmla="*/ 37200 h 63754"/>
                      <a:gd name="connsiteX24" fmla="*/ 39413 w 43240"/>
                      <a:gd name="connsiteY24" fmla="*/ 38635 h 63754"/>
                      <a:gd name="connsiteX25" fmla="*/ 39353 w 43240"/>
                      <a:gd name="connsiteY25" fmla="*/ 38755 h 63754"/>
                      <a:gd name="connsiteX26" fmla="*/ 38636 w 43240"/>
                      <a:gd name="connsiteY26" fmla="*/ 40549 h 63754"/>
                      <a:gd name="connsiteX27" fmla="*/ 37559 w 43240"/>
                      <a:gd name="connsiteY27" fmla="*/ 43240 h 63754"/>
                      <a:gd name="connsiteX28" fmla="*/ 37200 w 43240"/>
                      <a:gd name="connsiteY28" fmla="*/ 44078 h 63754"/>
                      <a:gd name="connsiteX29" fmla="*/ 37200 w 43240"/>
                      <a:gd name="connsiteY29" fmla="*/ 44078 h 63754"/>
                      <a:gd name="connsiteX30" fmla="*/ 37200 w 43240"/>
                      <a:gd name="connsiteY30" fmla="*/ 44078 h 63754"/>
                      <a:gd name="connsiteX31" fmla="*/ 35167 w 43240"/>
                      <a:gd name="connsiteY31" fmla="*/ 47427 h 63754"/>
                      <a:gd name="connsiteX32" fmla="*/ 33133 w 43240"/>
                      <a:gd name="connsiteY32" fmla="*/ 50776 h 63754"/>
                      <a:gd name="connsiteX33" fmla="*/ 32714 w 43240"/>
                      <a:gd name="connsiteY33" fmla="*/ 51494 h 63754"/>
                      <a:gd name="connsiteX34" fmla="*/ 31997 w 43240"/>
                      <a:gd name="connsiteY34" fmla="*/ 52331 h 63754"/>
                      <a:gd name="connsiteX35" fmla="*/ 31519 w 43240"/>
                      <a:gd name="connsiteY35" fmla="*/ 52869 h 63754"/>
                      <a:gd name="connsiteX36" fmla="*/ 31160 w 43240"/>
                      <a:gd name="connsiteY36" fmla="*/ 53228 h 63754"/>
                      <a:gd name="connsiteX37" fmla="*/ 28588 w 43240"/>
                      <a:gd name="connsiteY37" fmla="*/ 56099 h 63754"/>
                      <a:gd name="connsiteX38" fmla="*/ 27511 w 43240"/>
                      <a:gd name="connsiteY38" fmla="*/ 57295 h 63754"/>
                      <a:gd name="connsiteX39" fmla="*/ 27272 w 43240"/>
                      <a:gd name="connsiteY39" fmla="*/ 57535 h 63754"/>
                      <a:gd name="connsiteX40" fmla="*/ 25956 w 43240"/>
                      <a:gd name="connsiteY40" fmla="*/ 58491 h 63754"/>
                      <a:gd name="connsiteX41" fmla="*/ 25956 w 43240"/>
                      <a:gd name="connsiteY41" fmla="*/ 58491 h 63754"/>
                      <a:gd name="connsiteX42" fmla="*/ 25418 w 43240"/>
                      <a:gd name="connsiteY42" fmla="*/ 58850 h 63754"/>
                      <a:gd name="connsiteX43" fmla="*/ 23923 w 43240"/>
                      <a:gd name="connsiteY43" fmla="*/ 59927 h 63754"/>
                      <a:gd name="connsiteX44" fmla="*/ 22906 w 43240"/>
                      <a:gd name="connsiteY44" fmla="*/ 60704 h 63754"/>
                      <a:gd name="connsiteX45" fmla="*/ 22906 w 43240"/>
                      <a:gd name="connsiteY45" fmla="*/ 60704 h 63754"/>
                      <a:gd name="connsiteX46" fmla="*/ 21530 w 43240"/>
                      <a:gd name="connsiteY46" fmla="*/ 61721 h 63754"/>
                      <a:gd name="connsiteX47" fmla="*/ 18481 w 43240"/>
                      <a:gd name="connsiteY47" fmla="*/ 62798 h 63754"/>
                      <a:gd name="connsiteX48" fmla="*/ 15789 w 43240"/>
                      <a:gd name="connsiteY48" fmla="*/ 63754 h 63754"/>
                      <a:gd name="connsiteX49" fmla="*/ 15789 w 43240"/>
                      <a:gd name="connsiteY49" fmla="*/ 63754 h 63754"/>
                      <a:gd name="connsiteX50" fmla="*/ 12859 w 43240"/>
                      <a:gd name="connsiteY50" fmla="*/ 63694 h 63754"/>
                      <a:gd name="connsiteX51" fmla="*/ 10406 w 43240"/>
                      <a:gd name="connsiteY51" fmla="*/ 63635 h 63754"/>
                      <a:gd name="connsiteX52" fmla="*/ 7954 w 43240"/>
                      <a:gd name="connsiteY52" fmla="*/ 62379 h 63754"/>
                      <a:gd name="connsiteX53" fmla="*/ 6459 w 43240"/>
                      <a:gd name="connsiteY53" fmla="*/ 61601 h 63754"/>
                      <a:gd name="connsiteX54" fmla="*/ 5861 w 43240"/>
                      <a:gd name="connsiteY54" fmla="*/ 61302 h 63754"/>
                      <a:gd name="connsiteX55" fmla="*/ 5383 w 43240"/>
                      <a:gd name="connsiteY55" fmla="*/ 60704 h 63754"/>
                      <a:gd name="connsiteX56" fmla="*/ 3529 w 43240"/>
                      <a:gd name="connsiteY56" fmla="*/ 58431 h 63754"/>
                      <a:gd name="connsiteX57" fmla="*/ 2333 w 43240"/>
                      <a:gd name="connsiteY57" fmla="*/ 56936 h 63754"/>
                      <a:gd name="connsiteX58" fmla="*/ 2034 w 43240"/>
                      <a:gd name="connsiteY58" fmla="*/ 56099 h 63754"/>
                      <a:gd name="connsiteX59" fmla="*/ 957 w 43240"/>
                      <a:gd name="connsiteY59" fmla="*/ 53109 h 63754"/>
                      <a:gd name="connsiteX60" fmla="*/ 837 w 43240"/>
                      <a:gd name="connsiteY60" fmla="*/ 52810 h 63754"/>
                      <a:gd name="connsiteX61" fmla="*/ 180 w 43240"/>
                      <a:gd name="connsiteY61" fmla="*/ 50955 h 63754"/>
                      <a:gd name="connsiteX62" fmla="*/ 0 w 43240"/>
                      <a:gd name="connsiteY62" fmla="*/ 49460 h 6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240" h="63754">
                        <a:moveTo>
                          <a:pt x="31160" y="0"/>
                        </a:moveTo>
                        <a:lnTo>
                          <a:pt x="31817" y="299"/>
                        </a:lnTo>
                        <a:lnTo>
                          <a:pt x="34389" y="1375"/>
                        </a:lnTo>
                        <a:lnTo>
                          <a:pt x="35884" y="1974"/>
                        </a:lnTo>
                        <a:lnTo>
                          <a:pt x="37858" y="4067"/>
                        </a:lnTo>
                        <a:lnTo>
                          <a:pt x="39652" y="5981"/>
                        </a:lnTo>
                        <a:lnTo>
                          <a:pt x="40908" y="8851"/>
                        </a:lnTo>
                        <a:lnTo>
                          <a:pt x="42164" y="11722"/>
                        </a:lnTo>
                        <a:lnTo>
                          <a:pt x="42164" y="11782"/>
                        </a:lnTo>
                        <a:lnTo>
                          <a:pt x="42643" y="15191"/>
                        </a:lnTo>
                        <a:lnTo>
                          <a:pt x="42942" y="17105"/>
                        </a:lnTo>
                        <a:lnTo>
                          <a:pt x="43241" y="19079"/>
                        </a:lnTo>
                        <a:lnTo>
                          <a:pt x="43121" y="21052"/>
                        </a:lnTo>
                        <a:lnTo>
                          <a:pt x="43121" y="21052"/>
                        </a:lnTo>
                        <a:lnTo>
                          <a:pt x="42882" y="24641"/>
                        </a:lnTo>
                        <a:lnTo>
                          <a:pt x="42882" y="24641"/>
                        </a:lnTo>
                        <a:lnTo>
                          <a:pt x="42762" y="26674"/>
                        </a:lnTo>
                        <a:lnTo>
                          <a:pt x="42702" y="27212"/>
                        </a:lnTo>
                        <a:lnTo>
                          <a:pt x="42583" y="27631"/>
                        </a:lnTo>
                        <a:lnTo>
                          <a:pt x="41685" y="31399"/>
                        </a:lnTo>
                        <a:lnTo>
                          <a:pt x="40968" y="34389"/>
                        </a:lnTo>
                        <a:lnTo>
                          <a:pt x="40669" y="35585"/>
                        </a:lnTo>
                        <a:lnTo>
                          <a:pt x="40609" y="35765"/>
                        </a:lnTo>
                        <a:lnTo>
                          <a:pt x="40011" y="37200"/>
                        </a:lnTo>
                        <a:lnTo>
                          <a:pt x="39413" y="38635"/>
                        </a:lnTo>
                        <a:lnTo>
                          <a:pt x="39353" y="38755"/>
                        </a:lnTo>
                        <a:lnTo>
                          <a:pt x="38636" y="40549"/>
                        </a:lnTo>
                        <a:lnTo>
                          <a:pt x="37559" y="43240"/>
                        </a:lnTo>
                        <a:lnTo>
                          <a:pt x="37200" y="44078"/>
                        </a:lnTo>
                        <a:lnTo>
                          <a:pt x="37200" y="44078"/>
                        </a:lnTo>
                        <a:lnTo>
                          <a:pt x="37200" y="44078"/>
                        </a:lnTo>
                        <a:lnTo>
                          <a:pt x="35167" y="47427"/>
                        </a:lnTo>
                        <a:lnTo>
                          <a:pt x="33133" y="50776"/>
                        </a:lnTo>
                        <a:lnTo>
                          <a:pt x="32714" y="51494"/>
                        </a:lnTo>
                        <a:lnTo>
                          <a:pt x="31997" y="52331"/>
                        </a:lnTo>
                        <a:lnTo>
                          <a:pt x="31519" y="52869"/>
                        </a:lnTo>
                        <a:lnTo>
                          <a:pt x="31160" y="53228"/>
                        </a:lnTo>
                        <a:lnTo>
                          <a:pt x="28588" y="56099"/>
                        </a:lnTo>
                        <a:lnTo>
                          <a:pt x="27511" y="57295"/>
                        </a:lnTo>
                        <a:lnTo>
                          <a:pt x="27272" y="57535"/>
                        </a:lnTo>
                        <a:lnTo>
                          <a:pt x="25956" y="58491"/>
                        </a:lnTo>
                        <a:lnTo>
                          <a:pt x="25956" y="58491"/>
                        </a:lnTo>
                        <a:lnTo>
                          <a:pt x="25418" y="58850"/>
                        </a:lnTo>
                        <a:lnTo>
                          <a:pt x="23923" y="59927"/>
                        </a:lnTo>
                        <a:lnTo>
                          <a:pt x="22906" y="60704"/>
                        </a:lnTo>
                        <a:lnTo>
                          <a:pt x="22906" y="60704"/>
                        </a:lnTo>
                        <a:lnTo>
                          <a:pt x="21530" y="61721"/>
                        </a:lnTo>
                        <a:lnTo>
                          <a:pt x="18481" y="62798"/>
                        </a:lnTo>
                        <a:lnTo>
                          <a:pt x="15789" y="63754"/>
                        </a:lnTo>
                        <a:lnTo>
                          <a:pt x="15789" y="63754"/>
                        </a:lnTo>
                        <a:lnTo>
                          <a:pt x="12859" y="63694"/>
                        </a:lnTo>
                        <a:lnTo>
                          <a:pt x="10406" y="63635"/>
                        </a:lnTo>
                        <a:lnTo>
                          <a:pt x="7954" y="62379"/>
                        </a:lnTo>
                        <a:lnTo>
                          <a:pt x="6459" y="61601"/>
                        </a:lnTo>
                        <a:lnTo>
                          <a:pt x="5861" y="61302"/>
                        </a:lnTo>
                        <a:lnTo>
                          <a:pt x="5383" y="60704"/>
                        </a:lnTo>
                        <a:lnTo>
                          <a:pt x="3529" y="58431"/>
                        </a:lnTo>
                        <a:lnTo>
                          <a:pt x="2333" y="56936"/>
                        </a:lnTo>
                        <a:lnTo>
                          <a:pt x="2034" y="56099"/>
                        </a:lnTo>
                        <a:lnTo>
                          <a:pt x="957" y="53109"/>
                        </a:lnTo>
                        <a:lnTo>
                          <a:pt x="837" y="52810"/>
                        </a:lnTo>
                        <a:lnTo>
                          <a:pt x="180" y="50955"/>
                        </a:lnTo>
                        <a:lnTo>
                          <a:pt x="0" y="49460"/>
                        </a:lnTo>
                      </a:path>
                    </a:pathLst>
                  </a:custGeom>
                  <a:noFill/>
                  <a:ln w="6350" cap="flat">
                    <a:solidFill>
                      <a:schemeClr val="bg1">
                        <a:alpha val="40000"/>
                      </a:schemeClr>
                    </a:solidFill>
                    <a:prstDash val="solid"/>
                    <a:miter/>
                  </a:ln>
                </p:spPr>
                <p:txBody>
                  <a:bodyPr rtlCol="0" anchor="ctr"/>
                  <a:lstStyle/>
                  <a:p>
                    <a:endParaRPr lang="en-GB"/>
                  </a:p>
                </p:txBody>
              </p:sp>
              <p:sp>
                <p:nvSpPr>
                  <p:cNvPr id="7926" name="Vrije vorm: vorm 7925">
                    <a:extLst>
                      <a:ext uri="{FF2B5EF4-FFF2-40B4-BE49-F238E27FC236}">
                        <a16:creationId xmlns:a16="http://schemas.microsoft.com/office/drawing/2014/main" id="{B9D1D3F8-2E7F-4969-B32B-9F6D7464AD1B}"/>
                      </a:ext>
                    </a:extLst>
                  </p:cNvPr>
                  <p:cNvSpPr/>
                  <p:nvPr/>
                </p:nvSpPr>
                <p:spPr>
                  <a:xfrm>
                    <a:off x="5725484" y="5334126"/>
                    <a:ext cx="27331" cy="63634"/>
                  </a:xfrm>
                  <a:custGeom>
                    <a:avLst/>
                    <a:gdLst>
                      <a:gd name="connsiteX0" fmla="*/ 15311 w 27331"/>
                      <a:gd name="connsiteY0" fmla="*/ 0 h 63634"/>
                      <a:gd name="connsiteX1" fmla="*/ 17882 w 27331"/>
                      <a:gd name="connsiteY1" fmla="*/ 1076 h 63634"/>
                      <a:gd name="connsiteX2" fmla="*/ 19976 w 27331"/>
                      <a:gd name="connsiteY2" fmla="*/ 1974 h 63634"/>
                      <a:gd name="connsiteX3" fmla="*/ 21949 w 27331"/>
                      <a:gd name="connsiteY3" fmla="*/ 4067 h 63634"/>
                      <a:gd name="connsiteX4" fmla="*/ 23744 w 27331"/>
                      <a:gd name="connsiteY4" fmla="*/ 5981 h 63634"/>
                      <a:gd name="connsiteX5" fmla="*/ 24999 w 27331"/>
                      <a:gd name="connsiteY5" fmla="*/ 8851 h 63634"/>
                      <a:gd name="connsiteX6" fmla="*/ 26255 w 27331"/>
                      <a:gd name="connsiteY6" fmla="*/ 11782 h 63634"/>
                      <a:gd name="connsiteX7" fmla="*/ 26734 w 27331"/>
                      <a:gd name="connsiteY7" fmla="*/ 15191 h 63634"/>
                      <a:gd name="connsiteX8" fmla="*/ 27033 w 27331"/>
                      <a:gd name="connsiteY8" fmla="*/ 17105 h 63634"/>
                      <a:gd name="connsiteX9" fmla="*/ 27332 w 27331"/>
                      <a:gd name="connsiteY9" fmla="*/ 19019 h 63634"/>
                      <a:gd name="connsiteX10" fmla="*/ 27212 w 27331"/>
                      <a:gd name="connsiteY10" fmla="*/ 20813 h 63634"/>
                      <a:gd name="connsiteX11" fmla="*/ 27033 w 27331"/>
                      <a:gd name="connsiteY11" fmla="*/ 23444 h 63634"/>
                      <a:gd name="connsiteX12" fmla="*/ 26973 w 27331"/>
                      <a:gd name="connsiteY12" fmla="*/ 24282 h 63634"/>
                      <a:gd name="connsiteX13" fmla="*/ 26913 w 27331"/>
                      <a:gd name="connsiteY13" fmla="*/ 25239 h 63634"/>
                      <a:gd name="connsiteX14" fmla="*/ 26794 w 27331"/>
                      <a:gd name="connsiteY14" fmla="*/ 27153 h 63634"/>
                      <a:gd name="connsiteX15" fmla="*/ 25897 w 27331"/>
                      <a:gd name="connsiteY15" fmla="*/ 30920 h 63634"/>
                      <a:gd name="connsiteX16" fmla="*/ 24999 w 27331"/>
                      <a:gd name="connsiteY16" fmla="*/ 34688 h 63634"/>
                      <a:gd name="connsiteX17" fmla="*/ 24760 w 27331"/>
                      <a:gd name="connsiteY17" fmla="*/ 35705 h 63634"/>
                      <a:gd name="connsiteX18" fmla="*/ 24461 w 27331"/>
                      <a:gd name="connsiteY18" fmla="*/ 36423 h 63634"/>
                      <a:gd name="connsiteX19" fmla="*/ 24401 w 27331"/>
                      <a:gd name="connsiteY19" fmla="*/ 36602 h 63634"/>
                      <a:gd name="connsiteX20" fmla="*/ 23923 w 27331"/>
                      <a:gd name="connsiteY20" fmla="*/ 37798 h 63634"/>
                      <a:gd name="connsiteX21" fmla="*/ 22846 w 27331"/>
                      <a:gd name="connsiteY21" fmla="*/ 40490 h 63634"/>
                      <a:gd name="connsiteX22" fmla="*/ 22009 w 27331"/>
                      <a:gd name="connsiteY22" fmla="*/ 42583 h 63634"/>
                      <a:gd name="connsiteX23" fmla="*/ 21830 w 27331"/>
                      <a:gd name="connsiteY23" fmla="*/ 43001 h 63634"/>
                      <a:gd name="connsiteX24" fmla="*/ 21590 w 27331"/>
                      <a:gd name="connsiteY24" fmla="*/ 43600 h 63634"/>
                      <a:gd name="connsiteX25" fmla="*/ 21411 w 27331"/>
                      <a:gd name="connsiteY25" fmla="*/ 44018 h 63634"/>
                      <a:gd name="connsiteX26" fmla="*/ 21052 w 27331"/>
                      <a:gd name="connsiteY26" fmla="*/ 44616 h 63634"/>
                      <a:gd name="connsiteX27" fmla="*/ 21052 w 27331"/>
                      <a:gd name="connsiteY27" fmla="*/ 44616 h 63634"/>
                      <a:gd name="connsiteX28" fmla="*/ 19019 w 27331"/>
                      <a:gd name="connsiteY28" fmla="*/ 47966 h 63634"/>
                      <a:gd name="connsiteX29" fmla="*/ 16926 w 27331"/>
                      <a:gd name="connsiteY29" fmla="*/ 51375 h 63634"/>
                      <a:gd name="connsiteX30" fmla="*/ 15669 w 27331"/>
                      <a:gd name="connsiteY30" fmla="*/ 52750 h 63634"/>
                      <a:gd name="connsiteX31" fmla="*/ 14414 w 27331"/>
                      <a:gd name="connsiteY31" fmla="*/ 54185 h 63634"/>
                      <a:gd name="connsiteX32" fmla="*/ 14055 w 27331"/>
                      <a:gd name="connsiteY32" fmla="*/ 54544 h 63634"/>
                      <a:gd name="connsiteX33" fmla="*/ 11543 w 27331"/>
                      <a:gd name="connsiteY33" fmla="*/ 57355 h 63634"/>
                      <a:gd name="connsiteX34" fmla="*/ 11124 w 27331"/>
                      <a:gd name="connsiteY34" fmla="*/ 57654 h 63634"/>
                      <a:gd name="connsiteX35" fmla="*/ 10646 w 27331"/>
                      <a:gd name="connsiteY35" fmla="*/ 58013 h 63634"/>
                      <a:gd name="connsiteX36" fmla="*/ 8194 w 27331"/>
                      <a:gd name="connsiteY36" fmla="*/ 59807 h 63634"/>
                      <a:gd name="connsiteX37" fmla="*/ 8014 w 27331"/>
                      <a:gd name="connsiteY37" fmla="*/ 59927 h 63634"/>
                      <a:gd name="connsiteX38" fmla="*/ 8014 w 27331"/>
                      <a:gd name="connsiteY38" fmla="*/ 59927 h 63634"/>
                      <a:gd name="connsiteX39" fmla="*/ 6459 w 27331"/>
                      <a:gd name="connsiteY39" fmla="*/ 61063 h 63634"/>
                      <a:gd name="connsiteX40" fmla="*/ 6459 w 27331"/>
                      <a:gd name="connsiteY40" fmla="*/ 61063 h 63634"/>
                      <a:gd name="connsiteX41" fmla="*/ 5742 w 27331"/>
                      <a:gd name="connsiteY41" fmla="*/ 61601 h 63634"/>
                      <a:gd name="connsiteX42" fmla="*/ 2691 w 27331"/>
                      <a:gd name="connsiteY42" fmla="*/ 62678 h 63634"/>
                      <a:gd name="connsiteX43" fmla="*/ 0 w 27331"/>
                      <a:gd name="connsiteY43" fmla="*/ 63635 h 6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7331" h="63634">
                        <a:moveTo>
                          <a:pt x="15311" y="0"/>
                        </a:moveTo>
                        <a:lnTo>
                          <a:pt x="17882" y="1076"/>
                        </a:lnTo>
                        <a:lnTo>
                          <a:pt x="19976" y="1974"/>
                        </a:lnTo>
                        <a:lnTo>
                          <a:pt x="21949" y="4067"/>
                        </a:lnTo>
                        <a:lnTo>
                          <a:pt x="23744" y="5981"/>
                        </a:lnTo>
                        <a:lnTo>
                          <a:pt x="24999" y="8851"/>
                        </a:lnTo>
                        <a:lnTo>
                          <a:pt x="26255" y="11782"/>
                        </a:lnTo>
                        <a:lnTo>
                          <a:pt x="26734" y="15191"/>
                        </a:lnTo>
                        <a:lnTo>
                          <a:pt x="27033" y="17105"/>
                        </a:lnTo>
                        <a:lnTo>
                          <a:pt x="27332" y="19019"/>
                        </a:lnTo>
                        <a:lnTo>
                          <a:pt x="27212" y="20813"/>
                        </a:lnTo>
                        <a:lnTo>
                          <a:pt x="27033" y="23444"/>
                        </a:lnTo>
                        <a:lnTo>
                          <a:pt x="26973" y="24282"/>
                        </a:lnTo>
                        <a:lnTo>
                          <a:pt x="26913" y="25239"/>
                        </a:lnTo>
                        <a:lnTo>
                          <a:pt x="26794" y="27153"/>
                        </a:lnTo>
                        <a:lnTo>
                          <a:pt x="25897" y="30920"/>
                        </a:lnTo>
                        <a:lnTo>
                          <a:pt x="24999" y="34688"/>
                        </a:lnTo>
                        <a:lnTo>
                          <a:pt x="24760" y="35705"/>
                        </a:lnTo>
                        <a:lnTo>
                          <a:pt x="24461" y="36423"/>
                        </a:lnTo>
                        <a:lnTo>
                          <a:pt x="24401" y="36602"/>
                        </a:lnTo>
                        <a:lnTo>
                          <a:pt x="23923" y="37798"/>
                        </a:lnTo>
                        <a:lnTo>
                          <a:pt x="22846" y="40490"/>
                        </a:lnTo>
                        <a:lnTo>
                          <a:pt x="22009" y="42583"/>
                        </a:lnTo>
                        <a:lnTo>
                          <a:pt x="21830" y="43001"/>
                        </a:lnTo>
                        <a:lnTo>
                          <a:pt x="21590" y="43600"/>
                        </a:lnTo>
                        <a:lnTo>
                          <a:pt x="21411" y="44018"/>
                        </a:lnTo>
                        <a:lnTo>
                          <a:pt x="21052" y="44616"/>
                        </a:lnTo>
                        <a:lnTo>
                          <a:pt x="21052" y="44616"/>
                        </a:lnTo>
                        <a:lnTo>
                          <a:pt x="19019" y="47966"/>
                        </a:lnTo>
                        <a:lnTo>
                          <a:pt x="16926" y="51375"/>
                        </a:lnTo>
                        <a:lnTo>
                          <a:pt x="15669" y="52750"/>
                        </a:lnTo>
                        <a:lnTo>
                          <a:pt x="14414" y="54185"/>
                        </a:lnTo>
                        <a:lnTo>
                          <a:pt x="14055" y="54544"/>
                        </a:lnTo>
                        <a:lnTo>
                          <a:pt x="11543" y="57355"/>
                        </a:lnTo>
                        <a:lnTo>
                          <a:pt x="11124" y="57654"/>
                        </a:lnTo>
                        <a:lnTo>
                          <a:pt x="10646" y="58013"/>
                        </a:lnTo>
                        <a:lnTo>
                          <a:pt x="8194" y="59807"/>
                        </a:lnTo>
                        <a:lnTo>
                          <a:pt x="8014" y="59927"/>
                        </a:lnTo>
                        <a:lnTo>
                          <a:pt x="8014" y="59927"/>
                        </a:lnTo>
                        <a:lnTo>
                          <a:pt x="6459" y="61063"/>
                        </a:lnTo>
                        <a:lnTo>
                          <a:pt x="6459" y="61063"/>
                        </a:lnTo>
                        <a:lnTo>
                          <a:pt x="5742" y="61601"/>
                        </a:lnTo>
                        <a:lnTo>
                          <a:pt x="2691" y="62678"/>
                        </a:lnTo>
                        <a:lnTo>
                          <a:pt x="0" y="63635"/>
                        </a:lnTo>
                      </a:path>
                    </a:pathLst>
                  </a:custGeom>
                  <a:noFill/>
                  <a:ln w="6350" cap="flat">
                    <a:solidFill>
                      <a:schemeClr val="bg1">
                        <a:alpha val="40000"/>
                      </a:schemeClr>
                    </a:solidFill>
                    <a:prstDash val="solid"/>
                    <a:miter/>
                  </a:ln>
                </p:spPr>
                <p:txBody>
                  <a:bodyPr rtlCol="0" anchor="ctr"/>
                  <a:lstStyle/>
                  <a:p>
                    <a:endParaRPr lang="en-GB"/>
                  </a:p>
                </p:txBody>
              </p:sp>
              <p:sp>
                <p:nvSpPr>
                  <p:cNvPr id="7927" name="Vrije vorm: vorm 7926">
                    <a:extLst>
                      <a:ext uri="{FF2B5EF4-FFF2-40B4-BE49-F238E27FC236}">
                        <a16:creationId xmlns:a16="http://schemas.microsoft.com/office/drawing/2014/main" id="{1C70AADA-6A39-454E-B3D6-651A6950B768}"/>
                      </a:ext>
                    </a:extLst>
                  </p:cNvPr>
                  <p:cNvSpPr/>
                  <p:nvPr/>
                </p:nvSpPr>
                <p:spPr>
                  <a:xfrm>
                    <a:off x="5724049" y="5397462"/>
                    <a:ext cx="1375" cy="59"/>
                  </a:xfrm>
                  <a:custGeom>
                    <a:avLst/>
                    <a:gdLst>
                      <a:gd name="connsiteX0" fmla="*/ 1375 w 1375"/>
                      <a:gd name="connsiteY0" fmla="*/ 60 h 59"/>
                      <a:gd name="connsiteX1" fmla="*/ 0 w 1375"/>
                      <a:gd name="connsiteY1" fmla="*/ 0 h 59"/>
                    </a:gdLst>
                    <a:ahLst/>
                    <a:cxnLst>
                      <a:cxn ang="0">
                        <a:pos x="connsiteX0" y="connsiteY0"/>
                      </a:cxn>
                      <a:cxn ang="0">
                        <a:pos x="connsiteX1" y="connsiteY1"/>
                      </a:cxn>
                    </a:cxnLst>
                    <a:rect l="l" t="t" r="r" b="b"/>
                    <a:pathLst>
                      <a:path w="1375" h="59">
                        <a:moveTo>
                          <a:pt x="1375" y="6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28" name="Vrije vorm: vorm 7927">
                    <a:extLst>
                      <a:ext uri="{FF2B5EF4-FFF2-40B4-BE49-F238E27FC236}">
                        <a16:creationId xmlns:a16="http://schemas.microsoft.com/office/drawing/2014/main" id="{825FE947-D135-41BE-B25F-65A036735B5A}"/>
                      </a:ext>
                    </a:extLst>
                  </p:cNvPr>
                  <p:cNvSpPr/>
                  <p:nvPr/>
                </p:nvSpPr>
                <p:spPr>
                  <a:xfrm>
                    <a:off x="5706824" y="5382031"/>
                    <a:ext cx="6877" cy="12380"/>
                  </a:xfrm>
                  <a:custGeom>
                    <a:avLst/>
                    <a:gdLst>
                      <a:gd name="connsiteX0" fmla="*/ 6878 w 6877"/>
                      <a:gd name="connsiteY0" fmla="*/ 12380 h 12380"/>
                      <a:gd name="connsiteX1" fmla="*/ 4725 w 6877"/>
                      <a:gd name="connsiteY1" fmla="*/ 10586 h 12380"/>
                      <a:gd name="connsiteX2" fmla="*/ 2572 w 6877"/>
                      <a:gd name="connsiteY2" fmla="*/ 8791 h 12380"/>
                      <a:gd name="connsiteX3" fmla="*/ 2333 w 6877"/>
                      <a:gd name="connsiteY3" fmla="*/ 8612 h 12380"/>
                      <a:gd name="connsiteX4" fmla="*/ 1555 w 6877"/>
                      <a:gd name="connsiteY4" fmla="*/ 6818 h 12380"/>
                      <a:gd name="connsiteX5" fmla="*/ 1256 w 6877"/>
                      <a:gd name="connsiteY5" fmla="*/ 5921 h 12380"/>
                      <a:gd name="connsiteX6" fmla="*/ 897 w 6877"/>
                      <a:gd name="connsiteY6" fmla="*/ 4904 h 12380"/>
                      <a:gd name="connsiteX7" fmla="*/ 419 w 6877"/>
                      <a:gd name="connsiteY7" fmla="*/ 2871 h 12380"/>
                      <a:gd name="connsiteX8" fmla="*/ 60 w 6877"/>
                      <a:gd name="connsiteY8" fmla="*/ 718 h 12380"/>
                      <a:gd name="connsiteX9" fmla="*/ 0 w 6877"/>
                      <a:gd name="connsiteY9" fmla="*/ 0 h 1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7" h="12380">
                        <a:moveTo>
                          <a:pt x="6878" y="12380"/>
                        </a:moveTo>
                        <a:lnTo>
                          <a:pt x="4725" y="10586"/>
                        </a:lnTo>
                        <a:lnTo>
                          <a:pt x="2572" y="8791"/>
                        </a:lnTo>
                        <a:lnTo>
                          <a:pt x="2333" y="8612"/>
                        </a:lnTo>
                        <a:lnTo>
                          <a:pt x="1555" y="6818"/>
                        </a:lnTo>
                        <a:lnTo>
                          <a:pt x="1256" y="5921"/>
                        </a:lnTo>
                        <a:lnTo>
                          <a:pt x="897" y="4904"/>
                        </a:lnTo>
                        <a:lnTo>
                          <a:pt x="419" y="2871"/>
                        </a:lnTo>
                        <a:lnTo>
                          <a:pt x="60" y="718"/>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29" name="Vrije vorm: vorm 7928">
                    <a:extLst>
                      <a:ext uri="{FF2B5EF4-FFF2-40B4-BE49-F238E27FC236}">
                        <a16:creationId xmlns:a16="http://schemas.microsoft.com/office/drawing/2014/main" id="{4B467A28-1D3A-4E10-BAE2-FC8E674379A5}"/>
                      </a:ext>
                    </a:extLst>
                  </p:cNvPr>
                  <p:cNvSpPr/>
                  <p:nvPr/>
                </p:nvSpPr>
                <p:spPr>
                  <a:xfrm>
                    <a:off x="5704313" y="5381134"/>
                    <a:ext cx="3767" cy="6877"/>
                  </a:xfrm>
                  <a:custGeom>
                    <a:avLst/>
                    <a:gdLst>
                      <a:gd name="connsiteX0" fmla="*/ 3768 w 3767"/>
                      <a:gd name="connsiteY0" fmla="*/ 6878 h 6877"/>
                      <a:gd name="connsiteX1" fmla="*/ 2093 w 3767"/>
                      <a:gd name="connsiteY1" fmla="*/ 5503 h 6877"/>
                      <a:gd name="connsiteX2" fmla="*/ 1495 w 3767"/>
                      <a:gd name="connsiteY2" fmla="*/ 4904 h 6877"/>
                      <a:gd name="connsiteX3" fmla="*/ 957 w 3767"/>
                      <a:gd name="connsiteY3" fmla="*/ 4127 h 6877"/>
                      <a:gd name="connsiteX4" fmla="*/ 538 w 3767"/>
                      <a:gd name="connsiteY4" fmla="*/ 3230 h 6877"/>
                      <a:gd name="connsiteX5" fmla="*/ 239 w 3767"/>
                      <a:gd name="connsiteY5" fmla="*/ 2213 h 6877"/>
                      <a:gd name="connsiteX6" fmla="*/ 60 w 3767"/>
                      <a:gd name="connsiteY6" fmla="*/ 1077 h 6877"/>
                      <a:gd name="connsiteX7" fmla="*/ 0 w 3767"/>
                      <a:gd name="connsiteY7" fmla="*/ 0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7" h="6877">
                        <a:moveTo>
                          <a:pt x="3768" y="6878"/>
                        </a:moveTo>
                        <a:lnTo>
                          <a:pt x="2093" y="5503"/>
                        </a:lnTo>
                        <a:lnTo>
                          <a:pt x="1495" y="4904"/>
                        </a:lnTo>
                        <a:lnTo>
                          <a:pt x="957" y="4127"/>
                        </a:lnTo>
                        <a:lnTo>
                          <a:pt x="538" y="3230"/>
                        </a:lnTo>
                        <a:lnTo>
                          <a:pt x="239" y="2213"/>
                        </a:lnTo>
                        <a:lnTo>
                          <a:pt x="60" y="1077"/>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30" name="Vrije vorm: vorm 7929">
                    <a:extLst>
                      <a:ext uri="{FF2B5EF4-FFF2-40B4-BE49-F238E27FC236}">
                        <a16:creationId xmlns:a16="http://schemas.microsoft.com/office/drawing/2014/main" id="{D4027344-A4E4-4273-B04F-15F638A1F9FC}"/>
                      </a:ext>
                    </a:extLst>
                  </p:cNvPr>
                  <p:cNvSpPr/>
                  <p:nvPr/>
                </p:nvSpPr>
                <p:spPr>
                  <a:xfrm>
                    <a:off x="5604972" y="5325514"/>
                    <a:ext cx="36004" cy="56876"/>
                  </a:xfrm>
                  <a:custGeom>
                    <a:avLst/>
                    <a:gdLst>
                      <a:gd name="connsiteX0" fmla="*/ 8373 w 36004"/>
                      <a:gd name="connsiteY0" fmla="*/ 14055 h 56876"/>
                      <a:gd name="connsiteX1" fmla="*/ 9928 w 36004"/>
                      <a:gd name="connsiteY1" fmla="*/ 11483 h 56876"/>
                      <a:gd name="connsiteX2" fmla="*/ 12380 w 36004"/>
                      <a:gd name="connsiteY2" fmla="*/ 8493 h 56876"/>
                      <a:gd name="connsiteX3" fmla="*/ 14234 w 36004"/>
                      <a:gd name="connsiteY3" fmla="*/ 6220 h 56876"/>
                      <a:gd name="connsiteX4" fmla="*/ 17045 w 36004"/>
                      <a:gd name="connsiteY4" fmla="*/ 3888 h 56876"/>
                      <a:gd name="connsiteX5" fmla="*/ 18839 w 36004"/>
                      <a:gd name="connsiteY5" fmla="*/ 2392 h 56876"/>
                      <a:gd name="connsiteX6" fmla="*/ 21890 w 36004"/>
                      <a:gd name="connsiteY6" fmla="*/ 957 h 56876"/>
                      <a:gd name="connsiteX7" fmla="*/ 23385 w 36004"/>
                      <a:gd name="connsiteY7" fmla="*/ 239 h 56876"/>
                      <a:gd name="connsiteX8" fmla="*/ 26375 w 36004"/>
                      <a:gd name="connsiteY8" fmla="*/ 60 h 56876"/>
                      <a:gd name="connsiteX9" fmla="*/ 27631 w 36004"/>
                      <a:gd name="connsiteY9" fmla="*/ 0 h 56876"/>
                      <a:gd name="connsiteX10" fmla="*/ 30143 w 36004"/>
                      <a:gd name="connsiteY10" fmla="*/ 1196 h 56876"/>
                      <a:gd name="connsiteX11" fmla="*/ 30681 w 36004"/>
                      <a:gd name="connsiteY11" fmla="*/ 1435 h 56876"/>
                      <a:gd name="connsiteX12" fmla="*/ 30681 w 36004"/>
                      <a:gd name="connsiteY12" fmla="*/ 1435 h 56876"/>
                      <a:gd name="connsiteX13" fmla="*/ 31220 w 36004"/>
                      <a:gd name="connsiteY13" fmla="*/ 1675 h 56876"/>
                      <a:gd name="connsiteX14" fmla="*/ 32894 w 36004"/>
                      <a:gd name="connsiteY14" fmla="*/ 3888 h 56876"/>
                      <a:gd name="connsiteX15" fmla="*/ 33612 w 36004"/>
                      <a:gd name="connsiteY15" fmla="*/ 4844 h 56876"/>
                      <a:gd name="connsiteX16" fmla="*/ 33911 w 36004"/>
                      <a:gd name="connsiteY16" fmla="*/ 5203 h 56876"/>
                      <a:gd name="connsiteX17" fmla="*/ 34389 w 36004"/>
                      <a:gd name="connsiteY17" fmla="*/ 6639 h 56876"/>
                      <a:gd name="connsiteX18" fmla="*/ 35227 w 36004"/>
                      <a:gd name="connsiteY18" fmla="*/ 9270 h 56876"/>
                      <a:gd name="connsiteX19" fmla="*/ 35585 w 36004"/>
                      <a:gd name="connsiteY19" fmla="*/ 10347 h 56876"/>
                      <a:gd name="connsiteX20" fmla="*/ 35585 w 36004"/>
                      <a:gd name="connsiteY20" fmla="*/ 10586 h 56876"/>
                      <a:gd name="connsiteX21" fmla="*/ 35825 w 36004"/>
                      <a:gd name="connsiteY21" fmla="*/ 14114 h 56876"/>
                      <a:gd name="connsiteX22" fmla="*/ 36004 w 36004"/>
                      <a:gd name="connsiteY22" fmla="*/ 16806 h 56876"/>
                      <a:gd name="connsiteX23" fmla="*/ 35585 w 36004"/>
                      <a:gd name="connsiteY23" fmla="*/ 20514 h 56876"/>
                      <a:gd name="connsiteX24" fmla="*/ 35167 w 36004"/>
                      <a:gd name="connsiteY24" fmla="*/ 24102 h 56876"/>
                      <a:gd name="connsiteX25" fmla="*/ 34150 w 36004"/>
                      <a:gd name="connsiteY25" fmla="*/ 27870 h 56876"/>
                      <a:gd name="connsiteX26" fmla="*/ 33133 w 36004"/>
                      <a:gd name="connsiteY26" fmla="*/ 31638 h 56876"/>
                      <a:gd name="connsiteX27" fmla="*/ 33074 w 36004"/>
                      <a:gd name="connsiteY27" fmla="*/ 31758 h 56876"/>
                      <a:gd name="connsiteX28" fmla="*/ 31519 w 36004"/>
                      <a:gd name="connsiteY28" fmla="*/ 35406 h 56876"/>
                      <a:gd name="connsiteX29" fmla="*/ 29963 w 36004"/>
                      <a:gd name="connsiteY29" fmla="*/ 39054 h 56876"/>
                      <a:gd name="connsiteX30" fmla="*/ 29904 w 36004"/>
                      <a:gd name="connsiteY30" fmla="*/ 39174 h 56876"/>
                      <a:gd name="connsiteX31" fmla="*/ 27870 w 36004"/>
                      <a:gd name="connsiteY31" fmla="*/ 42583 h 56876"/>
                      <a:gd name="connsiteX32" fmla="*/ 25897 w 36004"/>
                      <a:gd name="connsiteY32" fmla="*/ 45813 h 56876"/>
                      <a:gd name="connsiteX33" fmla="*/ 23445 w 36004"/>
                      <a:gd name="connsiteY33" fmla="*/ 48743 h 56876"/>
                      <a:gd name="connsiteX34" fmla="*/ 23385 w 36004"/>
                      <a:gd name="connsiteY34" fmla="*/ 48803 h 56876"/>
                      <a:gd name="connsiteX35" fmla="*/ 21411 w 36004"/>
                      <a:gd name="connsiteY35" fmla="*/ 51195 h 56876"/>
                      <a:gd name="connsiteX36" fmla="*/ 20753 w 36004"/>
                      <a:gd name="connsiteY36" fmla="*/ 51733 h 56876"/>
                      <a:gd name="connsiteX37" fmla="*/ 17942 w 36004"/>
                      <a:gd name="connsiteY37" fmla="*/ 53946 h 56876"/>
                      <a:gd name="connsiteX38" fmla="*/ 16627 w 36004"/>
                      <a:gd name="connsiteY38" fmla="*/ 54963 h 56876"/>
                      <a:gd name="connsiteX39" fmla="*/ 16148 w 36004"/>
                      <a:gd name="connsiteY39" fmla="*/ 55142 h 56876"/>
                      <a:gd name="connsiteX40" fmla="*/ 13098 w 36004"/>
                      <a:gd name="connsiteY40" fmla="*/ 56398 h 56876"/>
                      <a:gd name="connsiteX41" fmla="*/ 11961 w 36004"/>
                      <a:gd name="connsiteY41" fmla="*/ 56877 h 56876"/>
                      <a:gd name="connsiteX42" fmla="*/ 9031 w 36004"/>
                      <a:gd name="connsiteY42" fmla="*/ 56817 h 56876"/>
                      <a:gd name="connsiteX43" fmla="*/ 7715 w 36004"/>
                      <a:gd name="connsiteY43" fmla="*/ 56817 h 56876"/>
                      <a:gd name="connsiteX44" fmla="*/ 5323 w 36004"/>
                      <a:gd name="connsiteY44" fmla="*/ 55441 h 56876"/>
                      <a:gd name="connsiteX45" fmla="*/ 4246 w 36004"/>
                      <a:gd name="connsiteY45" fmla="*/ 54843 h 56876"/>
                      <a:gd name="connsiteX46" fmla="*/ 2572 w 36004"/>
                      <a:gd name="connsiteY46" fmla="*/ 52391 h 56876"/>
                      <a:gd name="connsiteX47" fmla="*/ 1675 w 36004"/>
                      <a:gd name="connsiteY47" fmla="*/ 51076 h 56876"/>
                      <a:gd name="connsiteX48" fmla="*/ 837 w 36004"/>
                      <a:gd name="connsiteY48" fmla="*/ 47906 h 56876"/>
                      <a:gd name="connsiteX49" fmla="*/ 239 w 36004"/>
                      <a:gd name="connsiteY49" fmla="*/ 45813 h 56876"/>
                      <a:gd name="connsiteX50" fmla="*/ 120 w 36004"/>
                      <a:gd name="connsiteY50" fmla="*/ 42284 h 56876"/>
                      <a:gd name="connsiteX51" fmla="*/ 0 w 36004"/>
                      <a:gd name="connsiteY51" fmla="*/ 39413 h 56876"/>
                      <a:gd name="connsiteX52" fmla="*/ 60 w 36004"/>
                      <a:gd name="connsiteY52" fmla="*/ 38815 h 5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6004" h="56876">
                        <a:moveTo>
                          <a:pt x="8373" y="14055"/>
                        </a:moveTo>
                        <a:lnTo>
                          <a:pt x="9928" y="11483"/>
                        </a:lnTo>
                        <a:lnTo>
                          <a:pt x="12380" y="8493"/>
                        </a:lnTo>
                        <a:lnTo>
                          <a:pt x="14234" y="6220"/>
                        </a:lnTo>
                        <a:lnTo>
                          <a:pt x="17045" y="3888"/>
                        </a:lnTo>
                        <a:lnTo>
                          <a:pt x="18839" y="2392"/>
                        </a:lnTo>
                        <a:lnTo>
                          <a:pt x="21890" y="957"/>
                        </a:lnTo>
                        <a:lnTo>
                          <a:pt x="23385" y="239"/>
                        </a:lnTo>
                        <a:lnTo>
                          <a:pt x="26375" y="60"/>
                        </a:lnTo>
                        <a:lnTo>
                          <a:pt x="27631" y="0"/>
                        </a:lnTo>
                        <a:lnTo>
                          <a:pt x="30143" y="1196"/>
                        </a:lnTo>
                        <a:lnTo>
                          <a:pt x="30681" y="1435"/>
                        </a:lnTo>
                        <a:lnTo>
                          <a:pt x="30681" y="1435"/>
                        </a:lnTo>
                        <a:lnTo>
                          <a:pt x="31220" y="1675"/>
                        </a:lnTo>
                        <a:lnTo>
                          <a:pt x="32894" y="3888"/>
                        </a:lnTo>
                        <a:lnTo>
                          <a:pt x="33612" y="4844"/>
                        </a:lnTo>
                        <a:lnTo>
                          <a:pt x="33911" y="5203"/>
                        </a:lnTo>
                        <a:lnTo>
                          <a:pt x="34389" y="6639"/>
                        </a:lnTo>
                        <a:lnTo>
                          <a:pt x="35227" y="9270"/>
                        </a:lnTo>
                        <a:lnTo>
                          <a:pt x="35585" y="10347"/>
                        </a:lnTo>
                        <a:lnTo>
                          <a:pt x="35585" y="10586"/>
                        </a:lnTo>
                        <a:lnTo>
                          <a:pt x="35825" y="14114"/>
                        </a:lnTo>
                        <a:lnTo>
                          <a:pt x="36004" y="16806"/>
                        </a:lnTo>
                        <a:lnTo>
                          <a:pt x="35585" y="20514"/>
                        </a:lnTo>
                        <a:lnTo>
                          <a:pt x="35167" y="24102"/>
                        </a:lnTo>
                        <a:lnTo>
                          <a:pt x="34150" y="27870"/>
                        </a:lnTo>
                        <a:lnTo>
                          <a:pt x="33133" y="31638"/>
                        </a:lnTo>
                        <a:lnTo>
                          <a:pt x="33074" y="31758"/>
                        </a:lnTo>
                        <a:lnTo>
                          <a:pt x="31519" y="35406"/>
                        </a:lnTo>
                        <a:lnTo>
                          <a:pt x="29963" y="39054"/>
                        </a:lnTo>
                        <a:lnTo>
                          <a:pt x="29904" y="39174"/>
                        </a:lnTo>
                        <a:lnTo>
                          <a:pt x="27870" y="42583"/>
                        </a:lnTo>
                        <a:lnTo>
                          <a:pt x="25897" y="45813"/>
                        </a:lnTo>
                        <a:lnTo>
                          <a:pt x="23445" y="48743"/>
                        </a:lnTo>
                        <a:lnTo>
                          <a:pt x="23385" y="48803"/>
                        </a:lnTo>
                        <a:lnTo>
                          <a:pt x="21411" y="51195"/>
                        </a:lnTo>
                        <a:lnTo>
                          <a:pt x="20753" y="51733"/>
                        </a:lnTo>
                        <a:lnTo>
                          <a:pt x="17942" y="53946"/>
                        </a:lnTo>
                        <a:lnTo>
                          <a:pt x="16627" y="54963"/>
                        </a:lnTo>
                        <a:lnTo>
                          <a:pt x="16148" y="55142"/>
                        </a:lnTo>
                        <a:lnTo>
                          <a:pt x="13098" y="56398"/>
                        </a:lnTo>
                        <a:lnTo>
                          <a:pt x="11961" y="56877"/>
                        </a:lnTo>
                        <a:lnTo>
                          <a:pt x="9031" y="56817"/>
                        </a:lnTo>
                        <a:lnTo>
                          <a:pt x="7715" y="56817"/>
                        </a:lnTo>
                        <a:lnTo>
                          <a:pt x="5323" y="55441"/>
                        </a:lnTo>
                        <a:lnTo>
                          <a:pt x="4246" y="54843"/>
                        </a:lnTo>
                        <a:lnTo>
                          <a:pt x="2572" y="52391"/>
                        </a:lnTo>
                        <a:lnTo>
                          <a:pt x="1675" y="51076"/>
                        </a:lnTo>
                        <a:lnTo>
                          <a:pt x="837" y="47906"/>
                        </a:lnTo>
                        <a:lnTo>
                          <a:pt x="239" y="45813"/>
                        </a:lnTo>
                        <a:lnTo>
                          <a:pt x="120" y="42284"/>
                        </a:lnTo>
                        <a:lnTo>
                          <a:pt x="0" y="39413"/>
                        </a:lnTo>
                        <a:lnTo>
                          <a:pt x="60" y="38815"/>
                        </a:lnTo>
                      </a:path>
                    </a:pathLst>
                  </a:custGeom>
                  <a:noFill/>
                  <a:ln w="6350" cap="flat">
                    <a:solidFill>
                      <a:schemeClr val="bg1">
                        <a:alpha val="40000"/>
                      </a:schemeClr>
                    </a:solidFill>
                    <a:prstDash val="solid"/>
                    <a:miter/>
                  </a:ln>
                </p:spPr>
                <p:txBody>
                  <a:bodyPr rtlCol="0" anchor="ctr"/>
                  <a:lstStyle/>
                  <a:p>
                    <a:endParaRPr lang="en-GB"/>
                  </a:p>
                </p:txBody>
              </p:sp>
              <p:sp>
                <p:nvSpPr>
                  <p:cNvPr id="7931" name="Vrije vorm: vorm 7930">
                    <a:extLst>
                      <a:ext uri="{FF2B5EF4-FFF2-40B4-BE49-F238E27FC236}">
                        <a16:creationId xmlns:a16="http://schemas.microsoft.com/office/drawing/2014/main" id="{B5FCCCDD-F403-404E-8DE5-4A04EB3CB6C7}"/>
                      </a:ext>
                    </a:extLst>
                  </p:cNvPr>
                  <p:cNvSpPr/>
                  <p:nvPr/>
                </p:nvSpPr>
                <p:spPr>
                  <a:xfrm>
                    <a:off x="5615379" y="5332810"/>
                    <a:ext cx="20693" cy="41924"/>
                  </a:xfrm>
                  <a:custGeom>
                    <a:avLst/>
                    <a:gdLst>
                      <a:gd name="connsiteX0" fmla="*/ 0 w 20693"/>
                      <a:gd name="connsiteY0" fmla="*/ 41925 h 41924"/>
                      <a:gd name="connsiteX1" fmla="*/ 598 w 20693"/>
                      <a:gd name="connsiteY1" fmla="*/ 41925 h 41924"/>
                      <a:gd name="connsiteX2" fmla="*/ 2572 w 20693"/>
                      <a:gd name="connsiteY2" fmla="*/ 41925 h 41924"/>
                      <a:gd name="connsiteX3" fmla="*/ 3110 w 20693"/>
                      <a:gd name="connsiteY3" fmla="*/ 41925 h 41924"/>
                      <a:gd name="connsiteX4" fmla="*/ 4964 w 20693"/>
                      <a:gd name="connsiteY4" fmla="*/ 41147 h 41924"/>
                      <a:gd name="connsiteX5" fmla="*/ 5143 w 20693"/>
                      <a:gd name="connsiteY5" fmla="*/ 41088 h 41924"/>
                      <a:gd name="connsiteX6" fmla="*/ 6519 w 20693"/>
                      <a:gd name="connsiteY6" fmla="*/ 40549 h 41924"/>
                      <a:gd name="connsiteX7" fmla="*/ 9390 w 20693"/>
                      <a:gd name="connsiteY7" fmla="*/ 38276 h 41924"/>
                      <a:gd name="connsiteX8" fmla="*/ 10048 w 20693"/>
                      <a:gd name="connsiteY8" fmla="*/ 37738 h 41924"/>
                      <a:gd name="connsiteX9" fmla="*/ 12500 w 20693"/>
                      <a:gd name="connsiteY9" fmla="*/ 34808 h 41924"/>
                      <a:gd name="connsiteX10" fmla="*/ 13337 w 20693"/>
                      <a:gd name="connsiteY10" fmla="*/ 33791 h 41924"/>
                      <a:gd name="connsiteX11" fmla="*/ 15371 w 20693"/>
                      <a:gd name="connsiteY11" fmla="*/ 30382 h 41924"/>
                      <a:gd name="connsiteX12" fmla="*/ 16267 w 20693"/>
                      <a:gd name="connsiteY12" fmla="*/ 28887 h 41924"/>
                      <a:gd name="connsiteX13" fmla="*/ 17822 w 20693"/>
                      <a:gd name="connsiteY13" fmla="*/ 25238 h 41924"/>
                      <a:gd name="connsiteX14" fmla="*/ 18600 w 20693"/>
                      <a:gd name="connsiteY14" fmla="*/ 23444 h 41924"/>
                      <a:gd name="connsiteX15" fmla="*/ 19617 w 20693"/>
                      <a:gd name="connsiteY15" fmla="*/ 19676 h 41924"/>
                      <a:gd name="connsiteX16" fmla="*/ 20095 w 20693"/>
                      <a:gd name="connsiteY16" fmla="*/ 17822 h 41924"/>
                      <a:gd name="connsiteX17" fmla="*/ 20514 w 20693"/>
                      <a:gd name="connsiteY17" fmla="*/ 14114 h 41924"/>
                      <a:gd name="connsiteX18" fmla="*/ 20693 w 20693"/>
                      <a:gd name="connsiteY18" fmla="*/ 12500 h 41924"/>
                      <a:gd name="connsiteX19" fmla="*/ 20454 w 20693"/>
                      <a:gd name="connsiteY19" fmla="*/ 8971 h 41924"/>
                      <a:gd name="connsiteX20" fmla="*/ 20394 w 20693"/>
                      <a:gd name="connsiteY20" fmla="*/ 7775 h 41924"/>
                      <a:gd name="connsiteX21" fmla="*/ 19437 w 20693"/>
                      <a:gd name="connsiteY21" fmla="*/ 4665 h 41924"/>
                      <a:gd name="connsiteX22" fmla="*/ 19198 w 20693"/>
                      <a:gd name="connsiteY22" fmla="*/ 3947 h 41924"/>
                      <a:gd name="connsiteX23" fmla="*/ 17643 w 20693"/>
                      <a:gd name="connsiteY23" fmla="*/ 1854 h 41924"/>
                      <a:gd name="connsiteX24" fmla="*/ 17225 w 20693"/>
                      <a:gd name="connsiteY24" fmla="*/ 1316 h 41924"/>
                      <a:gd name="connsiteX25" fmla="*/ 15669 w 20693"/>
                      <a:gd name="connsiteY25" fmla="*/ 538 h 41924"/>
                      <a:gd name="connsiteX26" fmla="*/ 14593 w 20693"/>
                      <a:gd name="connsiteY26" fmla="*/ 0 h 4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693" h="41924">
                        <a:moveTo>
                          <a:pt x="0" y="41925"/>
                        </a:moveTo>
                        <a:lnTo>
                          <a:pt x="598" y="41925"/>
                        </a:lnTo>
                        <a:lnTo>
                          <a:pt x="2572" y="41925"/>
                        </a:lnTo>
                        <a:lnTo>
                          <a:pt x="3110" y="41925"/>
                        </a:lnTo>
                        <a:lnTo>
                          <a:pt x="4964" y="41147"/>
                        </a:lnTo>
                        <a:lnTo>
                          <a:pt x="5143" y="41088"/>
                        </a:lnTo>
                        <a:lnTo>
                          <a:pt x="6519" y="40549"/>
                        </a:lnTo>
                        <a:lnTo>
                          <a:pt x="9390" y="38276"/>
                        </a:lnTo>
                        <a:lnTo>
                          <a:pt x="10048" y="37738"/>
                        </a:lnTo>
                        <a:lnTo>
                          <a:pt x="12500" y="34808"/>
                        </a:lnTo>
                        <a:lnTo>
                          <a:pt x="13337" y="33791"/>
                        </a:lnTo>
                        <a:lnTo>
                          <a:pt x="15371" y="30382"/>
                        </a:lnTo>
                        <a:lnTo>
                          <a:pt x="16267" y="28887"/>
                        </a:lnTo>
                        <a:lnTo>
                          <a:pt x="17822" y="25238"/>
                        </a:lnTo>
                        <a:lnTo>
                          <a:pt x="18600" y="23444"/>
                        </a:lnTo>
                        <a:lnTo>
                          <a:pt x="19617" y="19676"/>
                        </a:lnTo>
                        <a:lnTo>
                          <a:pt x="20095" y="17822"/>
                        </a:lnTo>
                        <a:lnTo>
                          <a:pt x="20514" y="14114"/>
                        </a:lnTo>
                        <a:lnTo>
                          <a:pt x="20693" y="12500"/>
                        </a:lnTo>
                        <a:lnTo>
                          <a:pt x="20454" y="8971"/>
                        </a:lnTo>
                        <a:lnTo>
                          <a:pt x="20394" y="7775"/>
                        </a:lnTo>
                        <a:lnTo>
                          <a:pt x="19437" y="4665"/>
                        </a:lnTo>
                        <a:lnTo>
                          <a:pt x="19198" y="3947"/>
                        </a:lnTo>
                        <a:lnTo>
                          <a:pt x="17643" y="1854"/>
                        </a:lnTo>
                        <a:lnTo>
                          <a:pt x="17225" y="1316"/>
                        </a:lnTo>
                        <a:lnTo>
                          <a:pt x="15669" y="538"/>
                        </a:lnTo>
                        <a:lnTo>
                          <a:pt x="14593" y="0"/>
                        </a:lnTo>
                      </a:path>
                    </a:pathLst>
                  </a:custGeom>
                  <a:noFill/>
                  <a:ln w="6350" cap="flat">
                    <a:solidFill>
                      <a:schemeClr val="bg1">
                        <a:alpha val="40000"/>
                      </a:schemeClr>
                    </a:solidFill>
                    <a:prstDash val="solid"/>
                    <a:miter/>
                  </a:ln>
                </p:spPr>
                <p:txBody>
                  <a:bodyPr rtlCol="0" anchor="ctr"/>
                  <a:lstStyle/>
                  <a:p>
                    <a:endParaRPr lang="en-GB"/>
                  </a:p>
                </p:txBody>
              </p:sp>
              <p:sp>
                <p:nvSpPr>
                  <p:cNvPr id="7932" name="Vrije vorm: vorm 7931">
                    <a:extLst>
                      <a:ext uri="{FF2B5EF4-FFF2-40B4-BE49-F238E27FC236}">
                        <a16:creationId xmlns:a16="http://schemas.microsoft.com/office/drawing/2014/main" id="{5AF817C4-A674-49D3-ADAA-72E0C6E74940}"/>
                      </a:ext>
                    </a:extLst>
                  </p:cNvPr>
                  <p:cNvSpPr/>
                  <p:nvPr/>
                </p:nvSpPr>
                <p:spPr>
                  <a:xfrm>
                    <a:off x="5612688" y="5325573"/>
                    <a:ext cx="35585" cy="57474"/>
                  </a:xfrm>
                  <a:custGeom>
                    <a:avLst/>
                    <a:gdLst>
                      <a:gd name="connsiteX0" fmla="*/ 19916 w 35585"/>
                      <a:gd name="connsiteY0" fmla="*/ 0 h 57474"/>
                      <a:gd name="connsiteX1" fmla="*/ 22727 w 35585"/>
                      <a:gd name="connsiteY1" fmla="*/ 479 h 57474"/>
                      <a:gd name="connsiteX2" fmla="*/ 25538 w 35585"/>
                      <a:gd name="connsiteY2" fmla="*/ 957 h 57474"/>
                      <a:gd name="connsiteX3" fmla="*/ 27212 w 35585"/>
                      <a:gd name="connsiteY3" fmla="*/ 1256 h 57474"/>
                      <a:gd name="connsiteX4" fmla="*/ 29724 w 35585"/>
                      <a:gd name="connsiteY4" fmla="*/ 2452 h 57474"/>
                      <a:gd name="connsiteX5" fmla="*/ 30801 w 35585"/>
                      <a:gd name="connsiteY5" fmla="*/ 2930 h 57474"/>
                      <a:gd name="connsiteX6" fmla="*/ 32595 w 35585"/>
                      <a:gd name="connsiteY6" fmla="*/ 5203 h 57474"/>
                      <a:gd name="connsiteX7" fmla="*/ 33492 w 35585"/>
                      <a:gd name="connsiteY7" fmla="*/ 6399 h 57474"/>
                      <a:gd name="connsiteX8" fmla="*/ 34509 w 35585"/>
                      <a:gd name="connsiteY8" fmla="*/ 9450 h 57474"/>
                      <a:gd name="connsiteX9" fmla="*/ 34748 w 35585"/>
                      <a:gd name="connsiteY9" fmla="*/ 10107 h 57474"/>
                      <a:gd name="connsiteX10" fmla="*/ 35167 w 35585"/>
                      <a:gd name="connsiteY10" fmla="*/ 11483 h 57474"/>
                      <a:gd name="connsiteX11" fmla="*/ 35406 w 35585"/>
                      <a:gd name="connsiteY11" fmla="*/ 15012 h 57474"/>
                      <a:gd name="connsiteX12" fmla="*/ 35585 w 35585"/>
                      <a:gd name="connsiteY12" fmla="*/ 17882 h 57474"/>
                      <a:gd name="connsiteX13" fmla="*/ 35167 w 35585"/>
                      <a:gd name="connsiteY13" fmla="*/ 21590 h 57474"/>
                      <a:gd name="connsiteX14" fmla="*/ 34748 w 35585"/>
                      <a:gd name="connsiteY14" fmla="*/ 25059 h 57474"/>
                      <a:gd name="connsiteX15" fmla="*/ 33731 w 35585"/>
                      <a:gd name="connsiteY15" fmla="*/ 28827 h 57474"/>
                      <a:gd name="connsiteX16" fmla="*/ 32714 w 35585"/>
                      <a:gd name="connsiteY16" fmla="*/ 32595 h 57474"/>
                      <a:gd name="connsiteX17" fmla="*/ 31159 w 35585"/>
                      <a:gd name="connsiteY17" fmla="*/ 36243 h 57474"/>
                      <a:gd name="connsiteX18" fmla="*/ 29605 w 35585"/>
                      <a:gd name="connsiteY18" fmla="*/ 39891 h 57474"/>
                      <a:gd name="connsiteX19" fmla="*/ 27571 w 35585"/>
                      <a:gd name="connsiteY19" fmla="*/ 43300 h 57474"/>
                      <a:gd name="connsiteX20" fmla="*/ 25657 w 35585"/>
                      <a:gd name="connsiteY20" fmla="*/ 46470 h 57474"/>
                      <a:gd name="connsiteX21" fmla="*/ 23145 w 35585"/>
                      <a:gd name="connsiteY21" fmla="*/ 49401 h 57474"/>
                      <a:gd name="connsiteX22" fmla="*/ 22069 w 35585"/>
                      <a:gd name="connsiteY22" fmla="*/ 50657 h 57474"/>
                      <a:gd name="connsiteX23" fmla="*/ 21112 w 35585"/>
                      <a:gd name="connsiteY23" fmla="*/ 51793 h 57474"/>
                      <a:gd name="connsiteX24" fmla="*/ 18241 w 35585"/>
                      <a:gd name="connsiteY24" fmla="*/ 54066 h 57474"/>
                      <a:gd name="connsiteX25" fmla="*/ 16387 w 35585"/>
                      <a:gd name="connsiteY25" fmla="*/ 55561 h 57474"/>
                      <a:gd name="connsiteX26" fmla="*/ 13337 w 35585"/>
                      <a:gd name="connsiteY26" fmla="*/ 56817 h 57474"/>
                      <a:gd name="connsiteX27" fmla="*/ 11782 w 35585"/>
                      <a:gd name="connsiteY27" fmla="*/ 57475 h 57474"/>
                      <a:gd name="connsiteX28" fmla="*/ 8851 w 35585"/>
                      <a:gd name="connsiteY28" fmla="*/ 57415 h 57474"/>
                      <a:gd name="connsiteX29" fmla="*/ 7596 w 35585"/>
                      <a:gd name="connsiteY29" fmla="*/ 57415 h 57474"/>
                      <a:gd name="connsiteX30" fmla="*/ 4725 w 35585"/>
                      <a:gd name="connsiteY30" fmla="*/ 57236 h 57474"/>
                      <a:gd name="connsiteX31" fmla="*/ 1854 w 35585"/>
                      <a:gd name="connsiteY31" fmla="*/ 57056 h 57474"/>
                      <a:gd name="connsiteX32" fmla="*/ 0 w 35585"/>
                      <a:gd name="connsiteY32" fmla="*/ 56937 h 5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585" h="57474">
                        <a:moveTo>
                          <a:pt x="19916" y="0"/>
                        </a:moveTo>
                        <a:lnTo>
                          <a:pt x="22727" y="479"/>
                        </a:lnTo>
                        <a:lnTo>
                          <a:pt x="25538" y="957"/>
                        </a:lnTo>
                        <a:lnTo>
                          <a:pt x="27212" y="1256"/>
                        </a:lnTo>
                        <a:lnTo>
                          <a:pt x="29724" y="2452"/>
                        </a:lnTo>
                        <a:lnTo>
                          <a:pt x="30801" y="2930"/>
                        </a:lnTo>
                        <a:lnTo>
                          <a:pt x="32595" y="5203"/>
                        </a:lnTo>
                        <a:lnTo>
                          <a:pt x="33492" y="6399"/>
                        </a:lnTo>
                        <a:lnTo>
                          <a:pt x="34509" y="9450"/>
                        </a:lnTo>
                        <a:lnTo>
                          <a:pt x="34748" y="10107"/>
                        </a:lnTo>
                        <a:lnTo>
                          <a:pt x="35167" y="11483"/>
                        </a:lnTo>
                        <a:lnTo>
                          <a:pt x="35406" y="15012"/>
                        </a:lnTo>
                        <a:lnTo>
                          <a:pt x="35585" y="17882"/>
                        </a:lnTo>
                        <a:lnTo>
                          <a:pt x="35167" y="21590"/>
                        </a:lnTo>
                        <a:lnTo>
                          <a:pt x="34748" y="25059"/>
                        </a:lnTo>
                        <a:lnTo>
                          <a:pt x="33731" y="28827"/>
                        </a:lnTo>
                        <a:lnTo>
                          <a:pt x="32714" y="32595"/>
                        </a:lnTo>
                        <a:lnTo>
                          <a:pt x="31159" y="36243"/>
                        </a:lnTo>
                        <a:lnTo>
                          <a:pt x="29605" y="39891"/>
                        </a:lnTo>
                        <a:lnTo>
                          <a:pt x="27571" y="43300"/>
                        </a:lnTo>
                        <a:lnTo>
                          <a:pt x="25657" y="46470"/>
                        </a:lnTo>
                        <a:lnTo>
                          <a:pt x="23145" y="49401"/>
                        </a:lnTo>
                        <a:lnTo>
                          <a:pt x="22069" y="50657"/>
                        </a:lnTo>
                        <a:lnTo>
                          <a:pt x="21112" y="51793"/>
                        </a:lnTo>
                        <a:lnTo>
                          <a:pt x="18241" y="54066"/>
                        </a:lnTo>
                        <a:lnTo>
                          <a:pt x="16387" y="55561"/>
                        </a:lnTo>
                        <a:lnTo>
                          <a:pt x="13337" y="56817"/>
                        </a:lnTo>
                        <a:lnTo>
                          <a:pt x="11782" y="57475"/>
                        </a:lnTo>
                        <a:lnTo>
                          <a:pt x="8851" y="57415"/>
                        </a:lnTo>
                        <a:lnTo>
                          <a:pt x="7596" y="57415"/>
                        </a:lnTo>
                        <a:lnTo>
                          <a:pt x="4725" y="57236"/>
                        </a:lnTo>
                        <a:lnTo>
                          <a:pt x="1854" y="57056"/>
                        </a:lnTo>
                        <a:lnTo>
                          <a:pt x="0" y="56937"/>
                        </a:lnTo>
                      </a:path>
                    </a:pathLst>
                  </a:custGeom>
                  <a:noFill/>
                  <a:ln w="6350" cap="flat">
                    <a:solidFill>
                      <a:schemeClr val="bg1">
                        <a:alpha val="40000"/>
                      </a:schemeClr>
                    </a:solidFill>
                    <a:prstDash val="solid"/>
                    <a:miter/>
                  </a:ln>
                </p:spPr>
                <p:txBody>
                  <a:bodyPr rtlCol="0" anchor="ctr"/>
                  <a:lstStyle/>
                  <a:p>
                    <a:endParaRPr lang="en-GB"/>
                  </a:p>
                </p:txBody>
              </p:sp>
              <p:sp>
                <p:nvSpPr>
                  <p:cNvPr id="7933" name="Vrije vorm: vorm 7932">
                    <a:extLst>
                      <a:ext uri="{FF2B5EF4-FFF2-40B4-BE49-F238E27FC236}">
                        <a16:creationId xmlns:a16="http://schemas.microsoft.com/office/drawing/2014/main" id="{F540129E-B31C-4EF2-891F-B94C7A2E2231}"/>
                      </a:ext>
                    </a:extLst>
                  </p:cNvPr>
                  <p:cNvSpPr/>
                  <p:nvPr/>
                </p:nvSpPr>
                <p:spPr>
                  <a:xfrm>
                    <a:off x="5654673" y="5377366"/>
                    <a:ext cx="12439" cy="3648"/>
                  </a:xfrm>
                  <a:custGeom>
                    <a:avLst/>
                    <a:gdLst>
                      <a:gd name="connsiteX0" fmla="*/ 0 w 12439"/>
                      <a:gd name="connsiteY0" fmla="*/ 0 h 3648"/>
                      <a:gd name="connsiteX1" fmla="*/ 1136 w 12439"/>
                      <a:gd name="connsiteY1" fmla="*/ 1495 h 3648"/>
                      <a:gd name="connsiteX2" fmla="*/ 1435 w 12439"/>
                      <a:gd name="connsiteY2" fmla="*/ 1914 h 3648"/>
                      <a:gd name="connsiteX3" fmla="*/ 3887 w 12439"/>
                      <a:gd name="connsiteY3" fmla="*/ 3230 h 3648"/>
                      <a:gd name="connsiteX4" fmla="*/ 4186 w 12439"/>
                      <a:gd name="connsiteY4" fmla="*/ 3350 h 3648"/>
                      <a:gd name="connsiteX5" fmla="*/ 7057 w 12439"/>
                      <a:gd name="connsiteY5" fmla="*/ 3529 h 3648"/>
                      <a:gd name="connsiteX6" fmla="*/ 8433 w 12439"/>
                      <a:gd name="connsiteY6" fmla="*/ 3589 h 3648"/>
                      <a:gd name="connsiteX7" fmla="*/ 11363 w 12439"/>
                      <a:gd name="connsiteY7" fmla="*/ 3649 h 3648"/>
                      <a:gd name="connsiteX8" fmla="*/ 11662 w 12439"/>
                      <a:gd name="connsiteY8" fmla="*/ 3649 h 3648"/>
                      <a:gd name="connsiteX9" fmla="*/ 12380 w 12439"/>
                      <a:gd name="connsiteY9" fmla="*/ 837 h 3648"/>
                      <a:gd name="connsiteX10" fmla="*/ 12440 w 12439"/>
                      <a:gd name="connsiteY10" fmla="*/ 658 h 3648"/>
                      <a:gd name="connsiteX11" fmla="*/ 9569 w 12439"/>
                      <a:gd name="connsiteY11" fmla="*/ 479 h 3648"/>
                      <a:gd name="connsiteX12" fmla="*/ 8194 w 12439"/>
                      <a:gd name="connsiteY12" fmla="*/ 359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39" h="3648">
                        <a:moveTo>
                          <a:pt x="0" y="0"/>
                        </a:moveTo>
                        <a:lnTo>
                          <a:pt x="1136" y="1495"/>
                        </a:lnTo>
                        <a:lnTo>
                          <a:pt x="1435" y="1914"/>
                        </a:lnTo>
                        <a:lnTo>
                          <a:pt x="3887" y="3230"/>
                        </a:lnTo>
                        <a:lnTo>
                          <a:pt x="4186" y="3350"/>
                        </a:lnTo>
                        <a:lnTo>
                          <a:pt x="7057" y="3529"/>
                        </a:lnTo>
                        <a:lnTo>
                          <a:pt x="8433" y="3589"/>
                        </a:lnTo>
                        <a:lnTo>
                          <a:pt x="11363" y="3649"/>
                        </a:lnTo>
                        <a:lnTo>
                          <a:pt x="11662" y="3649"/>
                        </a:lnTo>
                        <a:lnTo>
                          <a:pt x="12380" y="837"/>
                        </a:lnTo>
                        <a:lnTo>
                          <a:pt x="12440" y="658"/>
                        </a:lnTo>
                        <a:lnTo>
                          <a:pt x="9569" y="479"/>
                        </a:lnTo>
                        <a:lnTo>
                          <a:pt x="8194" y="359"/>
                        </a:lnTo>
                      </a:path>
                    </a:pathLst>
                  </a:custGeom>
                  <a:noFill/>
                  <a:ln w="6350" cap="flat">
                    <a:solidFill>
                      <a:schemeClr val="bg1">
                        <a:alpha val="40000"/>
                      </a:schemeClr>
                    </a:solidFill>
                    <a:prstDash val="solid"/>
                    <a:miter/>
                  </a:ln>
                </p:spPr>
                <p:txBody>
                  <a:bodyPr rtlCol="0" anchor="ctr"/>
                  <a:lstStyle/>
                  <a:p>
                    <a:endParaRPr lang="en-GB"/>
                  </a:p>
                </p:txBody>
              </p:sp>
              <p:sp>
                <p:nvSpPr>
                  <p:cNvPr id="7934" name="Vrije vorm: vorm 7933">
                    <a:extLst>
                      <a:ext uri="{FF2B5EF4-FFF2-40B4-BE49-F238E27FC236}">
                        <a16:creationId xmlns:a16="http://schemas.microsoft.com/office/drawing/2014/main" id="{BF1A4908-E23E-4D06-AD18-6F6FA793DBD1}"/>
                      </a:ext>
                    </a:extLst>
                  </p:cNvPr>
                  <p:cNvSpPr/>
                  <p:nvPr/>
                </p:nvSpPr>
                <p:spPr>
                  <a:xfrm>
                    <a:off x="5669265" y="5378383"/>
                    <a:ext cx="12081" cy="3528"/>
                  </a:xfrm>
                  <a:custGeom>
                    <a:avLst/>
                    <a:gdLst>
                      <a:gd name="connsiteX0" fmla="*/ 0 w 12081"/>
                      <a:gd name="connsiteY0" fmla="*/ 0 h 3528"/>
                      <a:gd name="connsiteX1" fmla="*/ 1136 w 12081"/>
                      <a:gd name="connsiteY1" fmla="*/ 1435 h 3528"/>
                      <a:gd name="connsiteX2" fmla="*/ 1436 w 12081"/>
                      <a:gd name="connsiteY2" fmla="*/ 1794 h 3528"/>
                      <a:gd name="connsiteX3" fmla="*/ 3888 w 12081"/>
                      <a:gd name="connsiteY3" fmla="*/ 3110 h 3528"/>
                      <a:gd name="connsiteX4" fmla="*/ 4127 w 12081"/>
                      <a:gd name="connsiteY4" fmla="*/ 3229 h 3528"/>
                      <a:gd name="connsiteX5" fmla="*/ 6998 w 12081"/>
                      <a:gd name="connsiteY5" fmla="*/ 3409 h 3528"/>
                      <a:gd name="connsiteX6" fmla="*/ 8134 w 12081"/>
                      <a:gd name="connsiteY6" fmla="*/ 3469 h 3528"/>
                      <a:gd name="connsiteX7" fmla="*/ 11065 w 12081"/>
                      <a:gd name="connsiteY7" fmla="*/ 3528 h 3528"/>
                      <a:gd name="connsiteX8" fmla="*/ 11304 w 12081"/>
                      <a:gd name="connsiteY8" fmla="*/ 3528 h 3528"/>
                      <a:gd name="connsiteX9" fmla="*/ 12021 w 12081"/>
                      <a:gd name="connsiteY9" fmla="*/ 778 h 3528"/>
                      <a:gd name="connsiteX10" fmla="*/ 12081 w 12081"/>
                      <a:gd name="connsiteY10" fmla="*/ 598 h 3528"/>
                      <a:gd name="connsiteX11" fmla="*/ 9211 w 12081"/>
                      <a:gd name="connsiteY11" fmla="*/ 419 h 3528"/>
                      <a:gd name="connsiteX12" fmla="*/ 8134 w 12081"/>
                      <a:gd name="connsiteY12" fmla="*/ 359 h 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81" h="3528">
                        <a:moveTo>
                          <a:pt x="0" y="0"/>
                        </a:moveTo>
                        <a:lnTo>
                          <a:pt x="1136" y="1435"/>
                        </a:lnTo>
                        <a:lnTo>
                          <a:pt x="1436" y="1794"/>
                        </a:lnTo>
                        <a:lnTo>
                          <a:pt x="3888" y="3110"/>
                        </a:lnTo>
                        <a:lnTo>
                          <a:pt x="4127" y="3229"/>
                        </a:lnTo>
                        <a:lnTo>
                          <a:pt x="6998" y="3409"/>
                        </a:lnTo>
                        <a:lnTo>
                          <a:pt x="8134" y="3469"/>
                        </a:lnTo>
                        <a:lnTo>
                          <a:pt x="11065" y="3528"/>
                        </a:lnTo>
                        <a:lnTo>
                          <a:pt x="11304" y="3528"/>
                        </a:lnTo>
                        <a:lnTo>
                          <a:pt x="12021" y="778"/>
                        </a:lnTo>
                        <a:lnTo>
                          <a:pt x="12081" y="598"/>
                        </a:lnTo>
                        <a:lnTo>
                          <a:pt x="9211" y="419"/>
                        </a:lnTo>
                        <a:lnTo>
                          <a:pt x="8134" y="359"/>
                        </a:lnTo>
                      </a:path>
                    </a:pathLst>
                  </a:custGeom>
                  <a:noFill/>
                  <a:ln w="6350" cap="flat">
                    <a:solidFill>
                      <a:schemeClr val="bg1">
                        <a:alpha val="40000"/>
                      </a:schemeClr>
                    </a:solidFill>
                    <a:prstDash val="solid"/>
                    <a:miter/>
                  </a:ln>
                </p:spPr>
                <p:txBody>
                  <a:bodyPr rtlCol="0" anchor="ctr"/>
                  <a:lstStyle/>
                  <a:p>
                    <a:endParaRPr lang="en-GB"/>
                  </a:p>
                </p:txBody>
              </p:sp>
              <p:sp>
                <p:nvSpPr>
                  <p:cNvPr id="7935" name="Vrije vorm: vorm 7934">
                    <a:extLst>
                      <a:ext uri="{FF2B5EF4-FFF2-40B4-BE49-F238E27FC236}">
                        <a16:creationId xmlns:a16="http://schemas.microsoft.com/office/drawing/2014/main" id="{0A64FFD5-0403-4618-85B9-53F8771D0561}"/>
                      </a:ext>
                    </a:extLst>
                  </p:cNvPr>
                  <p:cNvSpPr/>
                  <p:nvPr/>
                </p:nvSpPr>
                <p:spPr>
                  <a:xfrm>
                    <a:off x="5684636" y="5379400"/>
                    <a:ext cx="11542" cy="3468"/>
                  </a:xfrm>
                  <a:custGeom>
                    <a:avLst/>
                    <a:gdLst>
                      <a:gd name="connsiteX0" fmla="*/ 0 w 11542"/>
                      <a:gd name="connsiteY0" fmla="*/ 0 h 3468"/>
                      <a:gd name="connsiteX1" fmla="*/ 1076 w 11542"/>
                      <a:gd name="connsiteY1" fmla="*/ 1435 h 3468"/>
                      <a:gd name="connsiteX2" fmla="*/ 1376 w 11542"/>
                      <a:gd name="connsiteY2" fmla="*/ 1794 h 3468"/>
                      <a:gd name="connsiteX3" fmla="*/ 3828 w 11542"/>
                      <a:gd name="connsiteY3" fmla="*/ 3050 h 3468"/>
                      <a:gd name="connsiteX4" fmla="*/ 4007 w 11542"/>
                      <a:gd name="connsiteY4" fmla="*/ 3170 h 3468"/>
                      <a:gd name="connsiteX5" fmla="*/ 6878 w 11542"/>
                      <a:gd name="connsiteY5" fmla="*/ 3349 h 3468"/>
                      <a:gd name="connsiteX6" fmla="*/ 7715 w 11542"/>
                      <a:gd name="connsiteY6" fmla="*/ 3409 h 3468"/>
                      <a:gd name="connsiteX7" fmla="*/ 10646 w 11542"/>
                      <a:gd name="connsiteY7" fmla="*/ 3469 h 3468"/>
                      <a:gd name="connsiteX8" fmla="*/ 10825 w 11542"/>
                      <a:gd name="connsiteY8" fmla="*/ 3469 h 3468"/>
                      <a:gd name="connsiteX9" fmla="*/ 11483 w 11542"/>
                      <a:gd name="connsiteY9" fmla="*/ 837 h 3468"/>
                      <a:gd name="connsiteX10" fmla="*/ 11543 w 11542"/>
                      <a:gd name="connsiteY10" fmla="*/ 658 h 3468"/>
                      <a:gd name="connsiteX11" fmla="*/ 8672 w 11542"/>
                      <a:gd name="connsiteY11" fmla="*/ 479 h 3468"/>
                      <a:gd name="connsiteX12" fmla="*/ 7835 w 11542"/>
                      <a:gd name="connsiteY12" fmla="*/ 419 h 3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2" h="3468">
                        <a:moveTo>
                          <a:pt x="0" y="0"/>
                        </a:moveTo>
                        <a:lnTo>
                          <a:pt x="1076" y="1435"/>
                        </a:lnTo>
                        <a:lnTo>
                          <a:pt x="1376" y="1794"/>
                        </a:lnTo>
                        <a:lnTo>
                          <a:pt x="3828" y="3050"/>
                        </a:lnTo>
                        <a:lnTo>
                          <a:pt x="4007" y="3170"/>
                        </a:lnTo>
                        <a:lnTo>
                          <a:pt x="6878" y="3349"/>
                        </a:lnTo>
                        <a:lnTo>
                          <a:pt x="7715" y="3409"/>
                        </a:lnTo>
                        <a:lnTo>
                          <a:pt x="10646" y="3469"/>
                        </a:lnTo>
                        <a:lnTo>
                          <a:pt x="10825" y="3469"/>
                        </a:lnTo>
                        <a:lnTo>
                          <a:pt x="11483" y="837"/>
                        </a:lnTo>
                        <a:lnTo>
                          <a:pt x="11543" y="658"/>
                        </a:lnTo>
                        <a:lnTo>
                          <a:pt x="8672" y="479"/>
                        </a:lnTo>
                        <a:lnTo>
                          <a:pt x="7835" y="419"/>
                        </a:lnTo>
                      </a:path>
                    </a:pathLst>
                  </a:custGeom>
                  <a:noFill/>
                  <a:ln w="6350" cap="flat">
                    <a:solidFill>
                      <a:schemeClr val="bg1">
                        <a:alpha val="40000"/>
                      </a:schemeClr>
                    </a:solidFill>
                    <a:prstDash val="solid"/>
                    <a:miter/>
                  </a:ln>
                </p:spPr>
                <p:txBody>
                  <a:bodyPr rtlCol="0" anchor="ctr"/>
                  <a:lstStyle/>
                  <a:p>
                    <a:endParaRPr lang="en-GB"/>
                  </a:p>
                </p:txBody>
              </p:sp>
              <p:sp>
                <p:nvSpPr>
                  <p:cNvPr id="7936" name="Vrije vorm: vorm 7935">
                    <a:extLst>
                      <a:ext uri="{FF2B5EF4-FFF2-40B4-BE49-F238E27FC236}">
                        <a16:creationId xmlns:a16="http://schemas.microsoft.com/office/drawing/2014/main" id="{A15CA60C-260C-4364-9CC6-1648C707370F}"/>
                      </a:ext>
                    </a:extLst>
                  </p:cNvPr>
                  <p:cNvSpPr/>
                  <p:nvPr/>
                </p:nvSpPr>
                <p:spPr>
                  <a:xfrm>
                    <a:off x="5610894" y="5341961"/>
                    <a:ext cx="3169" cy="358"/>
                  </a:xfrm>
                  <a:custGeom>
                    <a:avLst/>
                    <a:gdLst>
                      <a:gd name="connsiteX0" fmla="*/ 0 w 3169"/>
                      <a:gd name="connsiteY0" fmla="*/ 0 h 358"/>
                      <a:gd name="connsiteX1" fmla="*/ 778 w 3169"/>
                      <a:gd name="connsiteY1" fmla="*/ 120 h 358"/>
                      <a:gd name="connsiteX2" fmla="*/ 1017 w 3169"/>
                      <a:gd name="connsiteY2" fmla="*/ 180 h 358"/>
                      <a:gd name="connsiteX3" fmla="*/ 2452 w 3169"/>
                      <a:gd name="connsiteY3" fmla="*/ 359 h 358"/>
                      <a:gd name="connsiteX4" fmla="*/ 2572 w 3169"/>
                      <a:gd name="connsiteY4" fmla="*/ 359 h 358"/>
                      <a:gd name="connsiteX5" fmla="*/ 2811 w 3169"/>
                      <a:gd name="connsiteY5" fmla="*/ 359 h 358"/>
                      <a:gd name="connsiteX6" fmla="*/ 3170 w 3169"/>
                      <a:gd name="connsiteY6" fmla="*/ 359 h 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9" h="358">
                        <a:moveTo>
                          <a:pt x="0" y="0"/>
                        </a:moveTo>
                        <a:lnTo>
                          <a:pt x="778" y="120"/>
                        </a:lnTo>
                        <a:lnTo>
                          <a:pt x="1017" y="180"/>
                        </a:lnTo>
                        <a:lnTo>
                          <a:pt x="2452" y="359"/>
                        </a:lnTo>
                        <a:lnTo>
                          <a:pt x="2572" y="359"/>
                        </a:lnTo>
                        <a:lnTo>
                          <a:pt x="2811" y="359"/>
                        </a:lnTo>
                        <a:lnTo>
                          <a:pt x="3170" y="359"/>
                        </a:lnTo>
                      </a:path>
                    </a:pathLst>
                  </a:custGeom>
                  <a:noFill/>
                  <a:ln w="6350" cap="flat">
                    <a:solidFill>
                      <a:schemeClr val="bg1">
                        <a:alpha val="40000"/>
                      </a:schemeClr>
                    </a:solidFill>
                    <a:prstDash val="solid"/>
                    <a:miter/>
                  </a:ln>
                </p:spPr>
                <p:txBody>
                  <a:bodyPr rtlCol="0" anchor="ctr"/>
                  <a:lstStyle/>
                  <a:p>
                    <a:endParaRPr lang="en-GB"/>
                  </a:p>
                </p:txBody>
              </p:sp>
              <p:sp>
                <p:nvSpPr>
                  <p:cNvPr id="7937" name="Vrije vorm: vorm 7936">
                    <a:extLst>
                      <a:ext uri="{FF2B5EF4-FFF2-40B4-BE49-F238E27FC236}">
                        <a16:creationId xmlns:a16="http://schemas.microsoft.com/office/drawing/2014/main" id="{3BC08CD4-4B7D-4498-A780-76D0987B3A32}"/>
                      </a:ext>
                    </a:extLst>
                  </p:cNvPr>
                  <p:cNvSpPr/>
                  <p:nvPr/>
                </p:nvSpPr>
                <p:spPr>
                  <a:xfrm>
                    <a:off x="5613286" y="5341961"/>
                    <a:ext cx="657" cy="298"/>
                  </a:xfrm>
                  <a:custGeom>
                    <a:avLst/>
                    <a:gdLst>
                      <a:gd name="connsiteX0" fmla="*/ 0 w 657"/>
                      <a:gd name="connsiteY0" fmla="*/ 299 h 298"/>
                      <a:gd name="connsiteX1" fmla="*/ 299 w 657"/>
                      <a:gd name="connsiteY1" fmla="*/ 180 h 298"/>
                      <a:gd name="connsiteX2" fmla="*/ 658 w 657"/>
                      <a:gd name="connsiteY2" fmla="*/ 0 h 298"/>
                    </a:gdLst>
                    <a:ahLst/>
                    <a:cxnLst>
                      <a:cxn ang="0">
                        <a:pos x="connsiteX0" y="connsiteY0"/>
                      </a:cxn>
                      <a:cxn ang="0">
                        <a:pos x="connsiteX1" y="connsiteY1"/>
                      </a:cxn>
                      <a:cxn ang="0">
                        <a:pos x="connsiteX2" y="connsiteY2"/>
                      </a:cxn>
                    </a:cxnLst>
                    <a:rect l="l" t="t" r="r" b="b"/>
                    <a:pathLst>
                      <a:path w="657" h="298">
                        <a:moveTo>
                          <a:pt x="0" y="299"/>
                        </a:moveTo>
                        <a:lnTo>
                          <a:pt x="299" y="180"/>
                        </a:lnTo>
                        <a:lnTo>
                          <a:pt x="658" y="0"/>
                        </a:lnTo>
                      </a:path>
                    </a:pathLst>
                  </a:custGeom>
                  <a:noFill/>
                  <a:ln w="6350" cap="flat">
                    <a:solidFill>
                      <a:schemeClr val="bg1">
                        <a:alpha val="40000"/>
                      </a:schemeClr>
                    </a:solidFill>
                    <a:prstDash val="solid"/>
                    <a:miter/>
                  </a:ln>
                </p:spPr>
                <p:txBody>
                  <a:bodyPr rtlCol="0" anchor="ctr"/>
                  <a:lstStyle/>
                  <a:p>
                    <a:endParaRPr lang="en-GB"/>
                  </a:p>
                </p:txBody>
              </p:sp>
              <p:sp>
                <p:nvSpPr>
                  <p:cNvPr id="7938" name="Vrije vorm: vorm 7937">
                    <a:extLst>
                      <a:ext uri="{FF2B5EF4-FFF2-40B4-BE49-F238E27FC236}">
                        <a16:creationId xmlns:a16="http://schemas.microsoft.com/office/drawing/2014/main" id="{1158F363-B059-4064-A13E-0DF2C62895A9}"/>
                      </a:ext>
                    </a:extLst>
                  </p:cNvPr>
                  <p:cNvSpPr/>
                  <p:nvPr/>
                </p:nvSpPr>
                <p:spPr>
                  <a:xfrm>
                    <a:off x="5571421" y="5331913"/>
                    <a:ext cx="22188" cy="23803"/>
                  </a:xfrm>
                  <a:custGeom>
                    <a:avLst/>
                    <a:gdLst>
                      <a:gd name="connsiteX0" fmla="*/ 658 w 22188"/>
                      <a:gd name="connsiteY0" fmla="*/ 23803 h 23803"/>
                      <a:gd name="connsiteX1" fmla="*/ 180 w 22188"/>
                      <a:gd name="connsiteY1" fmla="*/ 22129 h 23803"/>
                      <a:gd name="connsiteX2" fmla="*/ 120 w 22188"/>
                      <a:gd name="connsiteY2" fmla="*/ 21949 h 23803"/>
                      <a:gd name="connsiteX3" fmla="*/ 0 w 22188"/>
                      <a:gd name="connsiteY3" fmla="*/ 21530 h 23803"/>
                      <a:gd name="connsiteX4" fmla="*/ 0 w 22188"/>
                      <a:gd name="connsiteY4" fmla="*/ 20813 h 23803"/>
                      <a:gd name="connsiteX5" fmla="*/ 60 w 22188"/>
                      <a:gd name="connsiteY5" fmla="*/ 18720 h 23803"/>
                      <a:gd name="connsiteX6" fmla="*/ 658 w 22188"/>
                      <a:gd name="connsiteY6" fmla="*/ 16268 h 23803"/>
                      <a:gd name="connsiteX7" fmla="*/ 837 w 22188"/>
                      <a:gd name="connsiteY7" fmla="*/ 15430 h 23803"/>
                      <a:gd name="connsiteX8" fmla="*/ 2273 w 22188"/>
                      <a:gd name="connsiteY8" fmla="*/ 12021 h 23803"/>
                      <a:gd name="connsiteX9" fmla="*/ 4306 w 22188"/>
                      <a:gd name="connsiteY9" fmla="*/ 8672 h 23803"/>
                      <a:gd name="connsiteX10" fmla="*/ 6758 w 22188"/>
                      <a:gd name="connsiteY10" fmla="*/ 5622 h 23803"/>
                      <a:gd name="connsiteX11" fmla="*/ 9450 w 22188"/>
                      <a:gd name="connsiteY11" fmla="*/ 3050 h 23803"/>
                      <a:gd name="connsiteX12" fmla="*/ 12141 w 22188"/>
                      <a:gd name="connsiteY12" fmla="*/ 1196 h 23803"/>
                      <a:gd name="connsiteX13" fmla="*/ 14713 w 22188"/>
                      <a:gd name="connsiteY13" fmla="*/ 180 h 23803"/>
                      <a:gd name="connsiteX14" fmla="*/ 16985 w 22188"/>
                      <a:gd name="connsiteY14" fmla="*/ 0 h 23803"/>
                      <a:gd name="connsiteX15" fmla="*/ 18780 w 22188"/>
                      <a:gd name="connsiteY15" fmla="*/ 718 h 23803"/>
                      <a:gd name="connsiteX16" fmla="*/ 20454 w 22188"/>
                      <a:gd name="connsiteY16" fmla="*/ 2213 h 23803"/>
                      <a:gd name="connsiteX17" fmla="*/ 22009 w 22188"/>
                      <a:gd name="connsiteY17" fmla="*/ 3648 h 23803"/>
                      <a:gd name="connsiteX18" fmla="*/ 22189 w 22188"/>
                      <a:gd name="connsiteY18" fmla="*/ 3828 h 2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188" h="23803">
                        <a:moveTo>
                          <a:pt x="658" y="23803"/>
                        </a:moveTo>
                        <a:lnTo>
                          <a:pt x="180" y="22129"/>
                        </a:lnTo>
                        <a:lnTo>
                          <a:pt x="120" y="21949"/>
                        </a:lnTo>
                        <a:lnTo>
                          <a:pt x="0" y="21530"/>
                        </a:lnTo>
                        <a:lnTo>
                          <a:pt x="0" y="20813"/>
                        </a:lnTo>
                        <a:lnTo>
                          <a:pt x="60" y="18720"/>
                        </a:lnTo>
                        <a:lnTo>
                          <a:pt x="658" y="16268"/>
                        </a:lnTo>
                        <a:lnTo>
                          <a:pt x="837" y="15430"/>
                        </a:lnTo>
                        <a:lnTo>
                          <a:pt x="2273" y="12021"/>
                        </a:lnTo>
                        <a:lnTo>
                          <a:pt x="4306" y="8672"/>
                        </a:lnTo>
                        <a:lnTo>
                          <a:pt x="6758" y="5622"/>
                        </a:lnTo>
                        <a:lnTo>
                          <a:pt x="9450" y="3050"/>
                        </a:lnTo>
                        <a:lnTo>
                          <a:pt x="12141" y="1196"/>
                        </a:lnTo>
                        <a:lnTo>
                          <a:pt x="14713" y="180"/>
                        </a:lnTo>
                        <a:lnTo>
                          <a:pt x="16985" y="0"/>
                        </a:lnTo>
                        <a:lnTo>
                          <a:pt x="18780" y="718"/>
                        </a:lnTo>
                        <a:lnTo>
                          <a:pt x="20454" y="2213"/>
                        </a:lnTo>
                        <a:lnTo>
                          <a:pt x="22009" y="3648"/>
                        </a:lnTo>
                        <a:lnTo>
                          <a:pt x="22189" y="3828"/>
                        </a:lnTo>
                      </a:path>
                    </a:pathLst>
                  </a:custGeom>
                  <a:noFill/>
                  <a:ln w="6350" cap="flat">
                    <a:solidFill>
                      <a:schemeClr val="bg1">
                        <a:alpha val="40000"/>
                      </a:schemeClr>
                    </a:solidFill>
                    <a:prstDash val="solid"/>
                    <a:miter/>
                  </a:ln>
                </p:spPr>
                <p:txBody>
                  <a:bodyPr rtlCol="0" anchor="ctr"/>
                  <a:lstStyle/>
                  <a:p>
                    <a:endParaRPr lang="en-GB"/>
                  </a:p>
                </p:txBody>
              </p:sp>
              <p:sp>
                <p:nvSpPr>
                  <p:cNvPr id="7939" name="Vrije vorm: vorm 7938">
                    <a:extLst>
                      <a:ext uri="{FF2B5EF4-FFF2-40B4-BE49-F238E27FC236}">
                        <a16:creationId xmlns:a16="http://schemas.microsoft.com/office/drawing/2014/main" id="{DDE70E95-AED1-4FCA-9C91-79DB7D6DFD3E}"/>
                      </a:ext>
                    </a:extLst>
                  </p:cNvPr>
                  <p:cNvSpPr/>
                  <p:nvPr/>
                </p:nvSpPr>
                <p:spPr>
                  <a:xfrm>
                    <a:off x="5572976" y="5356852"/>
                    <a:ext cx="4425" cy="4426"/>
                  </a:xfrm>
                  <a:custGeom>
                    <a:avLst/>
                    <a:gdLst>
                      <a:gd name="connsiteX0" fmla="*/ 4426 w 4425"/>
                      <a:gd name="connsiteY0" fmla="*/ 4426 h 4426"/>
                      <a:gd name="connsiteX1" fmla="*/ 2392 w 4425"/>
                      <a:gd name="connsiteY1" fmla="*/ 2452 h 4426"/>
                      <a:gd name="connsiteX2" fmla="*/ 359 w 4425"/>
                      <a:gd name="connsiteY2" fmla="*/ 419 h 4426"/>
                      <a:gd name="connsiteX3" fmla="*/ 0 w 4425"/>
                      <a:gd name="connsiteY3" fmla="*/ 0 h 4426"/>
                    </a:gdLst>
                    <a:ahLst/>
                    <a:cxnLst>
                      <a:cxn ang="0">
                        <a:pos x="connsiteX0" y="connsiteY0"/>
                      </a:cxn>
                      <a:cxn ang="0">
                        <a:pos x="connsiteX1" y="connsiteY1"/>
                      </a:cxn>
                      <a:cxn ang="0">
                        <a:pos x="connsiteX2" y="connsiteY2"/>
                      </a:cxn>
                      <a:cxn ang="0">
                        <a:pos x="connsiteX3" y="connsiteY3"/>
                      </a:cxn>
                    </a:cxnLst>
                    <a:rect l="l" t="t" r="r" b="b"/>
                    <a:pathLst>
                      <a:path w="4425" h="4426">
                        <a:moveTo>
                          <a:pt x="4426" y="4426"/>
                        </a:moveTo>
                        <a:lnTo>
                          <a:pt x="2392" y="2452"/>
                        </a:lnTo>
                        <a:lnTo>
                          <a:pt x="359" y="41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40" name="Vrije vorm: vorm 7939">
                    <a:extLst>
                      <a:ext uri="{FF2B5EF4-FFF2-40B4-BE49-F238E27FC236}">
                        <a16:creationId xmlns:a16="http://schemas.microsoft.com/office/drawing/2014/main" id="{75F99C9D-F558-4CCC-8CDF-00248799DB33}"/>
                      </a:ext>
                    </a:extLst>
                  </p:cNvPr>
                  <p:cNvSpPr/>
                  <p:nvPr/>
                </p:nvSpPr>
                <p:spPr>
                  <a:xfrm>
                    <a:off x="5688703" y="5382570"/>
                    <a:ext cx="3169" cy="59"/>
                  </a:xfrm>
                  <a:custGeom>
                    <a:avLst/>
                    <a:gdLst>
                      <a:gd name="connsiteX0" fmla="*/ 0 w 3169"/>
                      <a:gd name="connsiteY0" fmla="*/ 0 h 59"/>
                      <a:gd name="connsiteX1" fmla="*/ 2931 w 3169"/>
                      <a:gd name="connsiteY1" fmla="*/ 60 h 59"/>
                      <a:gd name="connsiteX2" fmla="*/ 3170 w 3169"/>
                      <a:gd name="connsiteY2" fmla="*/ 60 h 59"/>
                    </a:gdLst>
                    <a:ahLst/>
                    <a:cxnLst>
                      <a:cxn ang="0">
                        <a:pos x="connsiteX0" y="connsiteY0"/>
                      </a:cxn>
                      <a:cxn ang="0">
                        <a:pos x="connsiteX1" y="connsiteY1"/>
                      </a:cxn>
                      <a:cxn ang="0">
                        <a:pos x="connsiteX2" y="connsiteY2"/>
                      </a:cxn>
                    </a:cxnLst>
                    <a:rect l="l" t="t" r="r" b="b"/>
                    <a:pathLst>
                      <a:path w="3169" h="59">
                        <a:moveTo>
                          <a:pt x="0" y="0"/>
                        </a:moveTo>
                        <a:lnTo>
                          <a:pt x="2931" y="60"/>
                        </a:lnTo>
                        <a:lnTo>
                          <a:pt x="3170" y="60"/>
                        </a:lnTo>
                      </a:path>
                    </a:pathLst>
                  </a:custGeom>
                  <a:noFill/>
                  <a:ln w="6350" cap="flat">
                    <a:solidFill>
                      <a:schemeClr val="bg1">
                        <a:alpha val="40000"/>
                      </a:schemeClr>
                    </a:solidFill>
                    <a:prstDash val="solid"/>
                    <a:miter/>
                  </a:ln>
                </p:spPr>
                <p:txBody>
                  <a:bodyPr rtlCol="0" anchor="ctr"/>
                  <a:lstStyle/>
                  <a:p>
                    <a:endParaRPr lang="en-GB"/>
                  </a:p>
                </p:txBody>
              </p:sp>
              <p:sp>
                <p:nvSpPr>
                  <p:cNvPr id="7941" name="Vrije vorm: vorm 7940">
                    <a:extLst>
                      <a:ext uri="{FF2B5EF4-FFF2-40B4-BE49-F238E27FC236}">
                        <a16:creationId xmlns:a16="http://schemas.microsoft.com/office/drawing/2014/main" id="{19AF6987-EDFA-413E-9430-9B0760C679AA}"/>
                      </a:ext>
                    </a:extLst>
                  </p:cNvPr>
                  <p:cNvSpPr/>
                  <p:nvPr/>
                </p:nvSpPr>
                <p:spPr>
                  <a:xfrm>
                    <a:off x="5689660" y="5379759"/>
                    <a:ext cx="5920" cy="3110"/>
                  </a:xfrm>
                  <a:custGeom>
                    <a:avLst/>
                    <a:gdLst>
                      <a:gd name="connsiteX0" fmla="*/ 0 w 5920"/>
                      <a:gd name="connsiteY0" fmla="*/ 0 h 3110"/>
                      <a:gd name="connsiteX1" fmla="*/ 2930 w 5920"/>
                      <a:gd name="connsiteY1" fmla="*/ 60 h 3110"/>
                      <a:gd name="connsiteX2" fmla="*/ 2213 w 5920"/>
                      <a:gd name="connsiteY2" fmla="*/ 2871 h 3110"/>
                      <a:gd name="connsiteX3" fmla="*/ 5083 w 5920"/>
                      <a:gd name="connsiteY3" fmla="*/ 3050 h 3110"/>
                      <a:gd name="connsiteX4" fmla="*/ 5921 w 5920"/>
                      <a:gd name="connsiteY4" fmla="*/ 3110 h 3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0" h="3110">
                        <a:moveTo>
                          <a:pt x="0" y="0"/>
                        </a:moveTo>
                        <a:lnTo>
                          <a:pt x="2930" y="60"/>
                        </a:lnTo>
                        <a:lnTo>
                          <a:pt x="2213" y="2871"/>
                        </a:lnTo>
                        <a:lnTo>
                          <a:pt x="5083" y="3050"/>
                        </a:lnTo>
                        <a:lnTo>
                          <a:pt x="5921" y="3110"/>
                        </a:lnTo>
                      </a:path>
                    </a:pathLst>
                  </a:custGeom>
                  <a:noFill/>
                  <a:ln w="6350" cap="flat">
                    <a:solidFill>
                      <a:schemeClr val="bg1">
                        <a:alpha val="40000"/>
                      </a:schemeClr>
                    </a:solidFill>
                    <a:prstDash val="solid"/>
                    <a:miter/>
                  </a:ln>
                </p:spPr>
                <p:txBody>
                  <a:bodyPr rtlCol="0" anchor="ctr"/>
                  <a:lstStyle/>
                  <a:p>
                    <a:endParaRPr lang="en-GB"/>
                  </a:p>
                </p:txBody>
              </p:sp>
              <p:sp>
                <p:nvSpPr>
                  <p:cNvPr id="7942" name="Vrije vorm: vorm 7941">
                    <a:extLst>
                      <a:ext uri="{FF2B5EF4-FFF2-40B4-BE49-F238E27FC236}">
                        <a16:creationId xmlns:a16="http://schemas.microsoft.com/office/drawing/2014/main" id="{C3041E25-0CE0-4F80-9C75-1D55082A9FDD}"/>
                      </a:ext>
                    </a:extLst>
                  </p:cNvPr>
                  <p:cNvSpPr/>
                  <p:nvPr/>
                </p:nvSpPr>
                <p:spPr>
                  <a:xfrm>
                    <a:off x="5681287" y="5379221"/>
                    <a:ext cx="8373" cy="538"/>
                  </a:xfrm>
                  <a:custGeom>
                    <a:avLst/>
                    <a:gdLst>
                      <a:gd name="connsiteX0" fmla="*/ 8373 w 8373"/>
                      <a:gd name="connsiteY0" fmla="*/ 538 h 538"/>
                      <a:gd name="connsiteX1" fmla="*/ 7117 w 8373"/>
                      <a:gd name="connsiteY1" fmla="*/ 478 h 538"/>
                      <a:gd name="connsiteX2" fmla="*/ 4246 w 8373"/>
                      <a:gd name="connsiteY2" fmla="*/ 299 h 538"/>
                      <a:gd name="connsiteX3" fmla="*/ 3349 w 8373"/>
                      <a:gd name="connsiteY3" fmla="*/ 239 h 538"/>
                      <a:gd name="connsiteX4" fmla="*/ 479 w 8373"/>
                      <a:gd name="connsiteY4" fmla="*/ 60 h 538"/>
                      <a:gd name="connsiteX5" fmla="*/ 0 w 8373"/>
                      <a:gd name="connsiteY5" fmla="*/ 0 h 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73" h="538">
                        <a:moveTo>
                          <a:pt x="8373" y="538"/>
                        </a:moveTo>
                        <a:lnTo>
                          <a:pt x="7117" y="478"/>
                        </a:lnTo>
                        <a:lnTo>
                          <a:pt x="4246" y="299"/>
                        </a:lnTo>
                        <a:lnTo>
                          <a:pt x="3349" y="239"/>
                        </a:lnTo>
                        <a:lnTo>
                          <a:pt x="479" y="6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43" name="Vrije vorm: vorm 7942">
                    <a:extLst>
                      <a:ext uri="{FF2B5EF4-FFF2-40B4-BE49-F238E27FC236}">
                        <a16:creationId xmlns:a16="http://schemas.microsoft.com/office/drawing/2014/main" id="{9E39A4F0-1F43-41DD-B12B-511892987E8A}"/>
                      </a:ext>
                    </a:extLst>
                  </p:cNvPr>
                  <p:cNvSpPr/>
                  <p:nvPr/>
                </p:nvSpPr>
                <p:spPr>
                  <a:xfrm>
                    <a:off x="5666993" y="5378264"/>
                    <a:ext cx="7356" cy="478"/>
                  </a:xfrm>
                  <a:custGeom>
                    <a:avLst/>
                    <a:gdLst>
                      <a:gd name="connsiteX0" fmla="*/ 7356 w 7356"/>
                      <a:gd name="connsiteY0" fmla="*/ 479 h 478"/>
                      <a:gd name="connsiteX1" fmla="*/ 6280 w 7356"/>
                      <a:gd name="connsiteY1" fmla="*/ 419 h 478"/>
                      <a:gd name="connsiteX2" fmla="*/ 3409 w 7356"/>
                      <a:gd name="connsiteY2" fmla="*/ 239 h 478"/>
                      <a:gd name="connsiteX3" fmla="*/ 2272 w 7356"/>
                      <a:gd name="connsiteY3" fmla="*/ 180 h 478"/>
                      <a:gd name="connsiteX4" fmla="*/ 0 w 7356"/>
                      <a:gd name="connsiteY4" fmla="*/ 0 h 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6" h="478">
                        <a:moveTo>
                          <a:pt x="7356" y="479"/>
                        </a:moveTo>
                        <a:lnTo>
                          <a:pt x="6280" y="419"/>
                        </a:lnTo>
                        <a:lnTo>
                          <a:pt x="3409" y="239"/>
                        </a:lnTo>
                        <a:lnTo>
                          <a:pt x="2272" y="18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44" name="Vrije vorm: vorm 7943">
                    <a:extLst>
                      <a:ext uri="{FF2B5EF4-FFF2-40B4-BE49-F238E27FC236}">
                        <a16:creationId xmlns:a16="http://schemas.microsoft.com/office/drawing/2014/main" id="{7F5A1A40-F83F-4854-B1C2-6B558EA0A9AC}"/>
                      </a:ext>
                    </a:extLst>
                  </p:cNvPr>
                  <p:cNvSpPr/>
                  <p:nvPr/>
                </p:nvSpPr>
                <p:spPr>
                  <a:xfrm>
                    <a:off x="5673392" y="5381613"/>
                    <a:ext cx="3169" cy="59"/>
                  </a:xfrm>
                  <a:custGeom>
                    <a:avLst/>
                    <a:gdLst>
                      <a:gd name="connsiteX0" fmla="*/ 0 w 3169"/>
                      <a:gd name="connsiteY0" fmla="*/ 0 h 59"/>
                      <a:gd name="connsiteX1" fmla="*/ 2931 w 3169"/>
                      <a:gd name="connsiteY1" fmla="*/ 60 h 59"/>
                      <a:gd name="connsiteX2" fmla="*/ 3170 w 3169"/>
                      <a:gd name="connsiteY2" fmla="*/ 60 h 59"/>
                    </a:gdLst>
                    <a:ahLst/>
                    <a:cxnLst>
                      <a:cxn ang="0">
                        <a:pos x="connsiteX0" y="connsiteY0"/>
                      </a:cxn>
                      <a:cxn ang="0">
                        <a:pos x="connsiteX1" y="connsiteY1"/>
                      </a:cxn>
                      <a:cxn ang="0">
                        <a:pos x="connsiteX2" y="connsiteY2"/>
                      </a:cxn>
                    </a:cxnLst>
                    <a:rect l="l" t="t" r="r" b="b"/>
                    <a:pathLst>
                      <a:path w="3169" h="59">
                        <a:moveTo>
                          <a:pt x="0" y="0"/>
                        </a:moveTo>
                        <a:lnTo>
                          <a:pt x="2931" y="60"/>
                        </a:lnTo>
                        <a:lnTo>
                          <a:pt x="3170" y="60"/>
                        </a:lnTo>
                      </a:path>
                    </a:pathLst>
                  </a:custGeom>
                  <a:noFill/>
                  <a:ln w="6350" cap="flat">
                    <a:solidFill>
                      <a:schemeClr val="bg1">
                        <a:alpha val="40000"/>
                      </a:schemeClr>
                    </a:solidFill>
                    <a:prstDash val="solid"/>
                    <a:miter/>
                  </a:ln>
                </p:spPr>
                <p:txBody>
                  <a:bodyPr rtlCol="0" anchor="ctr"/>
                  <a:lstStyle/>
                  <a:p>
                    <a:endParaRPr lang="en-GB"/>
                  </a:p>
                </p:txBody>
              </p:sp>
              <p:sp>
                <p:nvSpPr>
                  <p:cNvPr id="7945" name="Vrije vorm: vorm 7944">
                    <a:extLst>
                      <a:ext uri="{FF2B5EF4-FFF2-40B4-BE49-F238E27FC236}">
                        <a16:creationId xmlns:a16="http://schemas.microsoft.com/office/drawing/2014/main" id="{4FB7FA15-D424-4BB0-8688-4BE63029F60E}"/>
                      </a:ext>
                    </a:extLst>
                  </p:cNvPr>
                  <p:cNvSpPr/>
                  <p:nvPr/>
                </p:nvSpPr>
                <p:spPr>
                  <a:xfrm>
                    <a:off x="5674349" y="5378742"/>
                    <a:ext cx="6100" cy="3229"/>
                  </a:xfrm>
                  <a:custGeom>
                    <a:avLst/>
                    <a:gdLst>
                      <a:gd name="connsiteX0" fmla="*/ 0 w 6100"/>
                      <a:gd name="connsiteY0" fmla="*/ 0 h 3229"/>
                      <a:gd name="connsiteX1" fmla="*/ 2930 w 6100"/>
                      <a:gd name="connsiteY1" fmla="*/ 60 h 3229"/>
                      <a:gd name="connsiteX2" fmla="*/ 2871 w 6100"/>
                      <a:gd name="connsiteY2" fmla="*/ 239 h 3229"/>
                      <a:gd name="connsiteX3" fmla="*/ 2153 w 6100"/>
                      <a:gd name="connsiteY3" fmla="*/ 2990 h 3229"/>
                      <a:gd name="connsiteX4" fmla="*/ 5024 w 6100"/>
                      <a:gd name="connsiteY4" fmla="*/ 3170 h 3229"/>
                      <a:gd name="connsiteX5" fmla="*/ 6100 w 6100"/>
                      <a:gd name="connsiteY5" fmla="*/ 3229 h 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00" h="3229">
                        <a:moveTo>
                          <a:pt x="0" y="0"/>
                        </a:moveTo>
                        <a:lnTo>
                          <a:pt x="2930" y="60"/>
                        </a:lnTo>
                        <a:lnTo>
                          <a:pt x="2871" y="239"/>
                        </a:lnTo>
                        <a:lnTo>
                          <a:pt x="2153" y="2990"/>
                        </a:lnTo>
                        <a:lnTo>
                          <a:pt x="5024" y="3170"/>
                        </a:lnTo>
                        <a:lnTo>
                          <a:pt x="6100" y="3229"/>
                        </a:lnTo>
                      </a:path>
                    </a:pathLst>
                  </a:custGeom>
                  <a:noFill/>
                  <a:ln w="6350" cap="flat">
                    <a:solidFill>
                      <a:schemeClr val="bg1">
                        <a:alpha val="40000"/>
                      </a:schemeClr>
                    </a:solidFill>
                    <a:prstDash val="solid"/>
                    <a:miter/>
                  </a:ln>
                </p:spPr>
                <p:txBody>
                  <a:bodyPr rtlCol="0" anchor="ctr"/>
                  <a:lstStyle/>
                  <a:p>
                    <a:endParaRPr lang="en-GB"/>
                  </a:p>
                </p:txBody>
              </p:sp>
              <p:sp>
                <p:nvSpPr>
                  <p:cNvPr id="7946" name="Vrije vorm: vorm 7945">
                    <a:extLst>
                      <a:ext uri="{FF2B5EF4-FFF2-40B4-BE49-F238E27FC236}">
                        <a16:creationId xmlns:a16="http://schemas.microsoft.com/office/drawing/2014/main" id="{0C1E9224-AAF4-4DA9-8C20-CF9167E3AB45}"/>
                      </a:ext>
                    </a:extLst>
                  </p:cNvPr>
                  <p:cNvSpPr/>
                  <p:nvPr/>
                </p:nvSpPr>
                <p:spPr>
                  <a:xfrm>
                    <a:off x="5659816" y="5377785"/>
                    <a:ext cx="2990" cy="2990"/>
                  </a:xfrm>
                  <a:custGeom>
                    <a:avLst/>
                    <a:gdLst>
                      <a:gd name="connsiteX0" fmla="*/ 2213 w 2990"/>
                      <a:gd name="connsiteY0" fmla="*/ 2990 h 2990"/>
                      <a:gd name="connsiteX1" fmla="*/ 2930 w 2990"/>
                      <a:gd name="connsiteY1" fmla="*/ 180 h 2990"/>
                      <a:gd name="connsiteX2" fmla="*/ 2990 w 2990"/>
                      <a:gd name="connsiteY2" fmla="*/ 0 h 2990"/>
                      <a:gd name="connsiteX3" fmla="*/ 60 w 2990"/>
                      <a:gd name="connsiteY3" fmla="*/ 0 h 2990"/>
                      <a:gd name="connsiteX4" fmla="*/ 0 w 2990"/>
                      <a:gd name="connsiteY4" fmla="*/ 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0" h="2990">
                        <a:moveTo>
                          <a:pt x="2213" y="2990"/>
                        </a:moveTo>
                        <a:lnTo>
                          <a:pt x="2930" y="180"/>
                        </a:lnTo>
                        <a:lnTo>
                          <a:pt x="2990" y="0"/>
                        </a:lnTo>
                        <a:lnTo>
                          <a:pt x="60" y="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47" name="Vrije vorm: vorm 7946">
                    <a:extLst>
                      <a:ext uri="{FF2B5EF4-FFF2-40B4-BE49-F238E27FC236}">
                        <a16:creationId xmlns:a16="http://schemas.microsoft.com/office/drawing/2014/main" id="{ED14F78C-90E2-4515-B994-F443B8336959}"/>
                      </a:ext>
                    </a:extLst>
                  </p:cNvPr>
                  <p:cNvSpPr/>
                  <p:nvPr/>
                </p:nvSpPr>
                <p:spPr>
                  <a:xfrm>
                    <a:off x="5634936" y="5376111"/>
                    <a:ext cx="24880" cy="1614"/>
                  </a:xfrm>
                  <a:custGeom>
                    <a:avLst/>
                    <a:gdLst>
                      <a:gd name="connsiteX0" fmla="*/ 24880 w 24880"/>
                      <a:gd name="connsiteY0" fmla="*/ 1615 h 1614"/>
                      <a:gd name="connsiteX1" fmla="*/ 23983 w 24880"/>
                      <a:gd name="connsiteY1" fmla="*/ 1555 h 1614"/>
                      <a:gd name="connsiteX2" fmla="*/ 21112 w 24880"/>
                      <a:gd name="connsiteY2" fmla="*/ 1375 h 1614"/>
                      <a:gd name="connsiteX3" fmla="*/ 19737 w 24880"/>
                      <a:gd name="connsiteY3" fmla="*/ 1256 h 1614"/>
                      <a:gd name="connsiteX4" fmla="*/ 16866 w 24880"/>
                      <a:gd name="connsiteY4" fmla="*/ 1076 h 1614"/>
                      <a:gd name="connsiteX5" fmla="*/ 13995 w 24880"/>
                      <a:gd name="connsiteY5" fmla="*/ 897 h 1614"/>
                      <a:gd name="connsiteX6" fmla="*/ 11124 w 24880"/>
                      <a:gd name="connsiteY6" fmla="*/ 718 h 1614"/>
                      <a:gd name="connsiteX7" fmla="*/ 8253 w 24880"/>
                      <a:gd name="connsiteY7" fmla="*/ 538 h 1614"/>
                      <a:gd name="connsiteX8" fmla="*/ 5383 w 24880"/>
                      <a:gd name="connsiteY8" fmla="*/ 359 h 1614"/>
                      <a:gd name="connsiteX9" fmla="*/ 2512 w 24880"/>
                      <a:gd name="connsiteY9" fmla="*/ 179 h 1614"/>
                      <a:gd name="connsiteX10" fmla="*/ 0 w 24880"/>
                      <a:gd name="connsiteY10" fmla="*/ 0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80" h="1614">
                        <a:moveTo>
                          <a:pt x="24880" y="1615"/>
                        </a:moveTo>
                        <a:lnTo>
                          <a:pt x="23983" y="1555"/>
                        </a:lnTo>
                        <a:lnTo>
                          <a:pt x="21112" y="1375"/>
                        </a:lnTo>
                        <a:lnTo>
                          <a:pt x="19737" y="1256"/>
                        </a:lnTo>
                        <a:lnTo>
                          <a:pt x="16866" y="1076"/>
                        </a:lnTo>
                        <a:lnTo>
                          <a:pt x="13995" y="897"/>
                        </a:lnTo>
                        <a:lnTo>
                          <a:pt x="11124" y="718"/>
                        </a:lnTo>
                        <a:lnTo>
                          <a:pt x="8253" y="538"/>
                        </a:lnTo>
                        <a:lnTo>
                          <a:pt x="5383" y="359"/>
                        </a:lnTo>
                        <a:lnTo>
                          <a:pt x="2512" y="17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48" name="Vrije vorm: vorm 7947">
                    <a:extLst>
                      <a:ext uri="{FF2B5EF4-FFF2-40B4-BE49-F238E27FC236}">
                        <a16:creationId xmlns:a16="http://schemas.microsoft.com/office/drawing/2014/main" id="{29089AE7-00AD-4AE5-9DBF-D8CA26489C52}"/>
                      </a:ext>
                    </a:extLst>
                  </p:cNvPr>
                  <p:cNvSpPr/>
                  <p:nvPr/>
                </p:nvSpPr>
                <p:spPr>
                  <a:xfrm>
                    <a:off x="5658799" y="5380716"/>
                    <a:ext cx="7475" cy="298"/>
                  </a:xfrm>
                  <a:custGeom>
                    <a:avLst/>
                    <a:gdLst>
                      <a:gd name="connsiteX0" fmla="*/ 0 w 7475"/>
                      <a:gd name="connsiteY0" fmla="*/ 0 h 298"/>
                      <a:gd name="connsiteX1" fmla="*/ 2931 w 7475"/>
                      <a:gd name="connsiteY1" fmla="*/ 60 h 298"/>
                      <a:gd name="connsiteX2" fmla="*/ 3230 w 7475"/>
                      <a:gd name="connsiteY2" fmla="*/ 60 h 298"/>
                      <a:gd name="connsiteX3" fmla="*/ 6100 w 7475"/>
                      <a:gd name="connsiteY3" fmla="*/ 239 h 298"/>
                      <a:gd name="connsiteX4" fmla="*/ 7476 w 7475"/>
                      <a:gd name="connsiteY4" fmla="*/ 299 h 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5" h="298">
                        <a:moveTo>
                          <a:pt x="0" y="0"/>
                        </a:moveTo>
                        <a:lnTo>
                          <a:pt x="2931" y="60"/>
                        </a:lnTo>
                        <a:lnTo>
                          <a:pt x="3230" y="60"/>
                        </a:lnTo>
                        <a:lnTo>
                          <a:pt x="6100" y="239"/>
                        </a:lnTo>
                        <a:lnTo>
                          <a:pt x="7476" y="299"/>
                        </a:lnTo>
                      </a:path>
                    </a:pathLst>
                  </a:custGeom>
                  <a:noFill/>
                  <a:ln w="6350" cap="flat">
                    <a:solidFill>
                      <a:schemeClr val="bg1">
                        <a:alpha val="40000"/>
                      </a:schemeClr>
                    </a:solidFill>
                    <a:prstDash val="solid"/>
                    <a:miter/>
                  </a:ln>
                </p:spPr>
                <p:txBody>
                  <a:bodyPr rtlCol="0" anchor="ctr"/>
                  <a:lstStyle/>
                  <a:p>
                    <a:endParaRPr lang="en-GB"/>
                  </a:p>
                </p:txBody>
              </p:sp>
              <p:sp>
                <p:nvSpPr>
                  <p:cNvPr id="7949" name="Vrije vorm: vorm 7948">
                    <a:extLst>
                      <a:ext uri="{FF2B5EF4-FFF2-40B4-BE49-F238E27FC236}">
                        <a16:creationId xmlns:a16="http://schemas.microsoft.com/office/drawing/2014/main" id="{7C8569D5-E8BE-41FB-B470-2B3F2C945069}"/>
                      </a:ext>
                    </a:extLst>
                  </p:cNvPr>
                  <p:cNvSpPr/>
                  <p:nvPr/>
                </p:nvSpPr>
                <p:spPr>
                  <a:xfrm>
                    <a:off x="5750125" y="5395249"/>
                    <a:ext cx="2033" cy="1375"/>
                  </a:xfrm>
                  <a:custGeom>
                    <a:avLst/>
                    <a:gdLst>
                      <a:gd name="connsiteX0" fmla="*/ 2034 w 2033"/>
                      <a:gd name="connsiteY0" fmla="*/ 119 h 1375"/>
                      <a:gd name="connsiteX1" fmla="*/ 1735 w 2033"/>
                      <a:gd name="connsiteY1" fmla="*/ 0 h 1375"/>
                      <a:gd name="connsiteX2" fmla="*/ 1735 w 2033"/>
                      <a:gd name="connsiteY2" fmla="*/ 0 h 1375"/>
                      <a:gd name="connsiteX3" fmla="*/ 1375 w 2033"/>
                      <a:gd name="connsiteY3" fmla="*/ 60 h 1375"/>
                      <a:gd name="connsiteX4" fmla="*/ 897 w 2033"/>
                      <a:gd name="connsiteY4" fmla="*/ 359 h 1375"/>
                      <a:gd name="connsiteX5" fmla="*/ 419 w 2033"/>
                      <a:gd name="connsiteY5" fmla="*/ 837 h 1375"/>
                      <a:gd name="connsiteX6" fmla="*/ 0 w 2033"/>
                      <a:gd name="connsiteY6" fmla="*/ 1375 h 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3" h="1375">
                        <a:moveTo>
                          <a:pt x="2034" y="119"/>
                        </a:moveTo>
                        <a:lnTo>
                          <a:pt x="1735" y="0"/>
                        </a:lnTo>
                        <a:lnTo>
                          <a:pt x="1735" y="0"/>
                        </a:lnTo>
                        <a:lnTo>
                          <a:pt x="1375" y="60"/>
                        </a:lnTo>
                        <a:lnTo>
                          <a:pt x="897" y="359"/>
                        </a:lnTo>
                        <a:lnTo>
                          <a:pt x="419" y="837"/>
                        </a:lnTo>
                        <a:lnTo>
                          <a:pt x="0" y="1375"/>
                        </a:lnTo>
                      </a:path>
                    </a:pathLst>
                  </a:custGeom>
                  <a:noFill/>
                  <a:ln w="6350" cap="flat">
                    <a:solidFill>
                      <a:schemeClr val="bg1">
                        <a:alpha val="40000"/>
                      </a:schemeClr>
                    </a:solidFill>
                    <a:prstDash val="solid"/>
                    <a:miter/>
                  </a:ln>
                </p:spPr>
                <p:txBody>
                  <a:bodyPr rtlCol="0" anchor="ctr"/>
                  <a:lstStyle/>
                  <a:p>
                    <a:endParaRPr lang="en-GB"/>
                  </a:p>
                </p:txBody>
              </p:sp>
              <p:sp>
                <p:nvSpPr>
                  <p:cNvPr id="7950" name="Vrije vorm: vorm 7949">
                    <a:extLst>
                      <a:ext uri="{FF2B5EF4-FFF2-40B4-BE49-F238E27FC236}">
                        <a16:creationId xmlns:a16="http://schemas.microsoft.com/office/drawing/2014/main" id="{C4306684-10D6-44DF-8CD1-0FB7283CDAA8}"/>
                      </a:ext>
                    </a:extLst>
                  </p:cNvPr>
                  <p:cNvSpPr/>
                  <p:nvPr/>
                </p:nvSpPr>
                <p:spPr>
                  <a:xfrm>
                    <a:off x="5751500" y="5395368"/>
                    <a:ext cx="837" cy="3050"/>
                  </a:xfrm>
                  <a:custGeom>
                    <a:avLst/>
                    <a:gdLst>
                      <a:gd name="connsiteX0" fmla="*/ 658 w 837"/>
                      <a:gd name="connsiteY0" fmla="*/ 0 h 3050"/>
                      <a:gd name="connsiteX1" fmla="*/ 837 w 837"/>
                      <a:gd name="connsiteY1" fmla="*/ 299 h 3050"/>
                      <a:gd name="connsiteX2" fmla="*/ 837 w 837"/>
                      <a:gd name="connsiteY2" fmla="*/ 718 h 3050"/>
                      <a:gd name="connsiteX3" fmla="*/ 837 w 837"/>
                      <a:gd name="connsiteY3" fmla="*/ 778 h 3050"/>
                      <a:gd name="connsiteX4" fmla="*/ 718 w 837"/>
                      <a:gd name="connsiteY4" fmla="*/ 1376 h 3050"/>
                      <a:gd name="connsiteX5" fmla="*/ 479 w 837"/>
                      <a:gd name="connsiteY5" fmla="*/ 2093 h 3050"/>
                      <a:gd name="connsiteX6" fmla="*/ 120 w 837"/>
                      <a:gd name="connsiteY6" fmla="*/ 2871 h 3050"/>
                      <a:gd name="connsiteX7" fmla="*/ 120 w 837"/>
                      <a:gd name="connsiteY7" fmla="*/ 2871 h 3050"/>
                      <a:gd name="connsiteX8" fmla="*/ 0 w 837"/>
                      <a:gd name="connsiteY8" fmla="*/ 3050 h 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7" h="3050">
                        <a:moveTo>
                          <a:pt x="658" y="0"/>
                        </a:moveTo>
                        <a:lnTo>
                          <a:pt x="837" y="299"/>
                        </a:lnTo>
                        <a:lnTo>
                          <a:pt x="837" y="718"/>
                        </a:lnTo>
                        <a:lnTo>
                          <a:pt x="837" y="778"/>
                        </a:lnTo>
                        <a:lnTo>
                          <a:pt x="718" y="1376"/>
                        </a:lnTo>
                        <a:lnTo>
                          <a:pt x="479" y="2093"/>
                        </a:lnTo>
                        <a:lnTo>
                          <a:pt x="120" y="2871"/>
                        </a:lnTo>
                        <a:lnTo>
                          <a:pt x="120" y="2871"/>
                        </a:lnTo>
                        <a:lnTo>
                          <a:pt x="0" y="3050"/>
                        </a:lnTo>
                      </a:path>
                    </a:pathLst>
                  </a:custGeom>
                  <a:noFill/>
                  <a:ln w="6350" cap="flat">
                    <a:solidFill>
                      <a:schemeClr val="bg1">
                        <a:alpha val="40000"/>
                      </a:schemeClr>
                    </a:solidFill>
                    <a:prstDash val="solid"/>
                    <a:miter/>
                  </a:ln>
                </p:spPr>
                <p:txBody>
                  <a:bodyPr rtlCol="0" anchor="ctr"/>
                  <a:lstStyle/>
                  <a:p>
                    <a:endParaRPr lang="en-GB"/>
                  </a:p>
                </p:txBody>
              </p:sp>
              <p:sp>
                <p:nvSpPr>
                  <p:cNvPr id="7951" name="Vrije vorm: vorm 7950">
                    <a:extLst>
                      <a:ext uri="{FF2B5EF4-FFF2-40B4-BE49-F238E27FC236}">
                        <a16:creationId xmlns:a16="http://schemas.microsoft.com/office/drawing/2014/main" id="{C54BDC18-1F48-4A9D-9887-D4175701743C}"/>
                      </a:ext>
                    </a:extLst>
                  </p:cNvPr>
                  <p:cNvSpPr/>
                  <p:nvPr/>
                </p:nvSpPr>
                <p:spPr>
                  <a:xfrm>
                    <a:off x="5749826" y="5394531"/>
                    <a:ext cx="3050" cy="4784"/>
                  </a:xfrm>
                  <a:custGeom>
                    <a:avLst/>
                    <a:gdLst>
                      <a:gd name="connsiteX0" fmla="*/ 0 w 3050"/>
                      <a:gd name="connsiteY0" fmla="*/ 1914 h 4784"/>
                      <a:gd name="connsiteX1" fmla="*/ 120 w 3050"/>
                      <a:gd name="connsiteY1" fmla="*/ 1794 h 4784"/>
                      <a:gd name="connsiteX2" fmla="*/ 778 w 3050"/>
                      <a:gd name="connsiteY2" fmla="*/ 1017 h 4784"/>
                      <a:gd name="connsiteX3" fmla="*/ 1435 w 3050"/>
                      <a:gd name="connsiteY3" fmla="*/ 418 h 4784"/>
                      <a:gd name="connsiteX4" fmla="*/ 1615 w 3050"/>
                      <a:gd name="connsiteY4" fmla="*/ 299 h 4784"/>
                      <a:gd name="connsiteX5" fmla="*/ 2034 w 3050"/>
                      <a:gd name="connsiteY5" fmla="*/ 60 h 4784"/>
                      <a:gd name="connsiteX6" fmla="*/ 2153 w 3050"/>
                      <a:gd name="connsiteY6" fmla="*/ 60 h 4784"/>
                      <a:gd name="connsiteX7" fmla="*/ 2512 w 3050"/>
                      <a:gd name="connsiteY7" fmla="*/ 0 h 4784"/>
                      <a:gd name="connsiteX8" fmla="*/ 2871 w 3050"/>
                      <a:gd name="connsiteY8" fmla="*/ 119 h 4784"/>
                      <a:gd name="connsiteX9" fmla="*/ 3050 w 3050"/>
                      <a:gd name="connsiteY9" fmla="*/ 538 h 4784"/>
                      <a:gd name="connsiteX10" fmla="*/ 3050 w 3050"/>
                      <a:gd name="connsiteY10" fmla="*/ 598 h 4784"/>
                      <a:gd name="connsiteX11" fmla="*/ 3050 w 3050"/>
                      <a:gd name="connsiteY11" fmla="*/ 1136 h 4784"/>
                      <a:gd name="connsiteX12" fmla="*/ 2930 w 3050"/>
                      <a:gd name="connsiteY12" fmla="*/ 1914 h 4784"/>
                      <a:gd name="connsiteX13" fmla="*/ 2632 w 3050"/>
                      <a:gd name="connsiteY13" fmla="*/ 2871 h 4784"/>
                      <a:gd name="connsiteX14" fmla="*/ 2213 w 3050"/>
                      <a:gd name="connsiteY14" fmla="*/ 3887 h 4784"/>
                      <a:gd name="connsiteX15" fmla="*/ 2093 w 3050"/>
                      <a:gd name="connsiteY15" fmla="*/ 4067 h 4784"/>
                      <a:gd name="connsiteX16" fmla="*/ 1974 w 3050"/>
                      <a:gd name="connsiteY16" fmla="*/ 4246 h 4784"/>
                      <a:gd name="connsiteX17" fmla="*/ 1674 w 3050"/>
                      <a:gd name="connsiteY17" fmla="*/ 4785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50" h="4784">
                        <a:moveTo>
                          <a:pt x="0" y="1914"/>
                        </a:moveTo>
                        <a:lnTo>
                          <a:pt x="120" y="1794"/>
                        </a:lnTo>
                        <a:lnTo>
                          <a:pt x="778" y="1017"/>
                        </a:lnTo>
                        <a:lnTo>
                          <a:pt x="1435" y="418"/>
                        </a:lnTo>
                        <a:lnTo>
                          <a:pt x="1615" y="299"/>
                        </a:lnTo>
                        <a:lnTo>
                          <a:pt x="2034" y="60"/>
                        </a:lnTo>
                        <a:lnTo>
                          <a:pt x="2153" y="60"/>
                        </a:lnTo>
                        <a:lnTo>
                          <a:pt x="2512" y="0"/>
                        </a:lnTo>
                        <a:lnTo>
                          <a:pt x="2871" y="119"/>
                        </a:lnTo>
                        <a:lnTo>
                          <a:pt x="3050" y="538"/>
                        </a:lnTo>
                        <a:lnTo>
                          <a:pt x="3050" y="598"/>
                        </a:lnTo>
                        <a:lnTo>
                          <a:pt x="3050" y="1136"/>
                        </a:lnTo>
                        <a:lnTo>
                          <a:pt x="2930" y="1914"/>
                        </a:lnTo>
                        <a:lnTo>
                          <a:pt x="2632" y="2871"/>
                        </a:lnTo>
                        <a:lnTo>
                          <a:pt x="2213" y="3887"/>
                        </a:lnTo>
                        <a:lnTo>
                          <a:pt x="2093" y="4067"/>
                        </a:lnTo>
                        <a:lnTo>
                          <a:pt x="1974" y="4246"/>
                        </a:lnTo>
                        <a:lnTo>
                          <a:pt x="1674" y="4785"/>
                        </a:lnTo>
                      </a:path>
                    </a:pathLst>
                  </a:custGeom>
                  <a:noFill/>
                  <a:ln w="6350" cap="flat">
                    <a:solidFill>
                      <a:schemeClr val="bg1">
                        <a:alpha val="40000"/>
                      </a:schemeClr>
                    </a:solidFill>
                    <a:prstDash val="solid"/>
                    <a:miter/>
                  </a:ln>
                </p:spPr>
                <p:txBody>
                  <a:bodyPr rtlCol="0" anchor="ctr"/>
                  <a:lstStyle/>
                  <a:p>
                    <a:endParaRPr lang="en-GB"/>
                  </a:p>
                </p:txBody>
              </p:sp>
              <p:sp>
                <p:nvSpPr>
                  <p:cNvPr id="7952" name="Vrije vorm: vorm 7951">
                    <a:extLst>
                      <a:ext uri="{FF2B5EF4-FFF2-40B4-BE49-F238E27FC236}">
                        <a16:creationId xmlns:a16="http://schemas.microsoft.com/office/drawing/2014/main" id="{C0FD23A8-89B3-4507-B674-168F5C5A3CC2}"/>
                      </a:ext>
                    </a:extLst>
                  </p:cNvPr>
                  <p:cNvSpPr/>
                  <p:nvPr/>
                </p:nvSpPr>
                <p:spPr>
                  <a:xfrm>
                    <a:off x="5748869" y="5393634"/>
                    <a:ext cx="2870" cy="2033"/>
                  </a:xfrm>
                  <a:custGeom>
                    <a:avLst/>
                    <a:gdLst>
                      <a:gd name="connsiteX0" fmla="*/ 0 w 2870"/>
                      <a:gd name="connsiteY0" fmla="*/ 2034 h 2033"/>
                      <a:gd name="connsiteX1" fmla="*/ 119 w 2870"/>
                      <a:gd name="connsiteY1" fmla="*/ 1914 h 2033"/>
                      <a:gd name="connsiteX2" fmla="*/ 538 w 2870"/>
                      <a:gd name="connsiteY2" fmla="*/ 1375 h 2033"/>
                      <a:gd name="connsiteX3" fmla="*/ 777 w 2870"/>
                      <a:gd name="connsiteY3" fmla="*/ 1076 h 2033"/>
                      <a:gd name="connsiteX4" fmla="*/ 897 w 2870"/>
                      <a:gd name="connsiteY4" fmla="*/ 1017 h 2033"/>
                      <a:gd name="connsiteX5" fmla="*/ 1435 w 2870"/>
                      <a:gd name="connsiteY5" fmla="*/ 479 h 2033"/>
                      <a:gd name="connsiteX6" fmla="*/ 1615 w 2870"/>
                      <a:gd name="connsiteY6" fmla="*/ 359 h 2033"/>
                      <a:gd name="connsiteX7" fmla="*/ 2033 w 2870"/>
                      <a:gd name="connsiteY7" fmla="*/ 120 h 2033"/>
                      <a:gd name="connsiteX8" fmla="*/ 2512 w 2870"/>
                      <a:gd name="connsiteY8" fmla="*/ 0 h 2033"/>
                      <a:gd name="connsiteX9" fmla="*/ 2871 w 2870"/>
                      <a:gd name="connsiteY9" fmla="*/ 120 h 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0" h="2033">
                        <a:moveTo>
                          <a:pt x="0" y="2034"/>
                        </a:moveTo>
                        <a:lnTo>
                          <a:pt x="119" y="1914"/>
                        </a:lnTo>
                        <a:lnTo>
                          <a:pt x="538" y="1375"/>
                        </a:lnTo>
                        <a:lnTo>
                          <a:pt x="777" y="1076"/>
                        </a:lnTo>
                        <a:lnTo>
                          <a:pt x="897" y="1017"/>
                        </a:lnTo>
                        <a:lnTo>
                          <a:pt x="1435" y="479"/>
                        </a:lnTo>
                        <a:lnTo>
                          <a:pt x="1615" y="359"/>
                        </a:lnTo>
                        <a:lnTo>
                          <a:pt x="2033" y="120"/>
                        </a:lnTo>
                        <a:lnTo>
                          <a:pt x="2512" y="0"/>
                        </a:lnTo>
                        <a:lnTo>
                          <a:pt x="2871" y="120"/>
                        </a:lnTo>
                      </a:path>
                    </a:pathLst>
                  </a:custGeom>
                  <a:noFill/>
                  <a:ln w="6350" cap="flat">
                    <a:solidFill>
                      <a:schemeClr val="bg1">
                        <a:alpha val="40000"/>
                      </a:schemeClr>
                    </a:solidFill>
                    <a:prstDash val="solid"/>
                    <a:miter/>
                  </a:ln>
                </p:spPr>
                <p:txBody>
                  <a:bodyPr rtlCol="0" anchor="ctr"/>
                  <a:lstStyle/>
                  <a:p>
                    <a:endParaRPr lang="en-GB"/>
                  </a:p>
                </p:txBody>
              </p:sp>
              <p:sp>
                <p:nvSpPr>
                  <p:cNvPr id="7953" name="Vrije vorm: vorm 7952">
                    <a:extLst>
                      <a:ext uri="{FF2B5EF4-FFF2-40B4-BE49-F238E27FC236}">
                        <a16:creationId xmlns:a16="http://schemas.microsoft.com/office/drawing/2014/main" id="{3C479FE5-A6DB-4053-8B38-933360FFAF83}"/>
                      </a:ext>
                    </a:extLst>
                  </p:cNvPr>
                  <p:cNvSpPr/>
                  <p:nvPr/>
                </p:nvSpPr>
                <p:spPr>
                  <a:xfrm>
                    <a:off x="5751680" y="5393813"/>
                    <a:ext cx="956" cy="718"/>
                  </a:xfrm>
                  <a:custGeom>
                    <a:avLst/>
                    <a:gdLst>
                      <a:gd name="connsiteX0" fmla="*/ 0 w 956"/>
                      <a:gd name="connsiteY0" fmla="*/ 0 h 718"/>
                      <a:gd name="connsiteX1" fmla="*/ 957 w 956"/>
                      <a:gd name="connsiteY1" fmla="*/ 718 h 718"/>
                    </a:gdLst>
                    <a:ahLst/>
                    <a:cxnLst>
                      <a:cxn ang="0">
                        <a:pos x="connsiteX0" y="connsiteY0"/>
                      </a:cxn>
                      <a:cxn ang="0">
                        <a:pos x="connsiteX1" y="connsiteY1"/>
                      </a:cxn>
                    </a:cxnLst>
                    <a:rect l="l" t="t" r="r" b="b"/>
                    <a:pathLst>
                      <a:path w="956" h="718">
                        <a:moveTo>
                          <a:pt x="0" y="0"/>
                        </a:moveTo>
                        <a:lnTo>
                          <a:pt x="957" y="718"/>
                        </a:lnTo>
                      </a:path>
                    </a:pathLst>
                  </a:custGeom>
                  <a:noFill/>
                  <a:ln w="6350" cap="flat">
                    <a:solidFill>
                      <a:schemeClr val="bg1">
                        <a:alpha val="40000"/>
                      </a:schemeClr>
                    </a:solidFill>
                    <a:prstDash val="solid"/>
                    <a:miter/>
                  </a:ln>
                </p:spPr>
                <p:txBody>
                  <a:bodyPr rtlCol="0" anchor="ctr"/>
                  <a:lstStyle/>
                  <a:p>
                    <a:endParaRPr lang="en-GB"/>
                  </a:p>
                </p:txBody>
              </p:sp>
              <p:sp>
                <p:nvSpPr>
                  <p:cNvPr id="7954" name="Vrije vorm: vorm 7953">
                    <a:extLst>
                      <a:ext uri="{FF2B5EF4-FFF2-40B4-BE49-F238E27FC236}">
                        <a16:creationId xmlns:a16="http://schemas.microsoft.com/office/drawing/2014/main" id="{007F3AD9-6E39-4510-B73F-8AF025CA0BA6}"/>
                      </a:ext>
                    </a:extLst>
                  </p:cNvPr>
                  <p:cNvSpPr/>
                  <p:nvPr/>
                </p:nvSpPr>
                <p:spPr>
                  <a:xfrm>
                    <a:off x="5742649" y="5390943"/>
                    <a:ext cx="13396" cy="22367"/>
                  </a:xfrm>
                  <a:custGeom>
                    <a:avLst/>
                    <a:gdLst>
                      <a:gd name="connsiteX0" fmla="*/ 0 w 13396"/>
                      <a:gd name="connsiteY0" fmla="*/ 17344 h 22367"/>
                      <a:gd name="connsiteX1" fmla="*/ 2153 w 13396"/>
                      <a:gd name="connsiteY1" fmla="*/ 19138 h 22367"/>
                      <a:gd name="connsiteX2" fmla="*/ 3050 w 13396"/>
                      <a:gd name="connsiteY2" fmla="*/ 19856 h 22367"/>
                      <a:gd name="connsiteX3" fmla="*/ 5203 w 13396"/>
                      <a:gd name="connsiteY3" fmla="*/ 21650 h 22367"/>
                      <a:gd name="connsiteX4" fmla="*/ 6100 w 13396"/>
                      <a:gd name="connsiteY4" fmla="*/ 22368 h 22367"/>
                      <a:gd name="connsiteX5" fmla="*/ 8014 w 13396"/>
                      <a:gd name="connsiteY5" fmla="*/ 22368 h 22367"/>
                      <a:gd name="connsiteX6" fmla="*/ 8194 w 13396"/>
                      <a:gd name="connsiteY6" fmla="*/ 18720 h 22367"/>
                      <a:gd name="connsiteX7" fmla="*/ 8373 w 13396"/>
                      <a:gd name="connsiteY7" fmla="*/ 15072 h 22367"/>
                      <a:gd name="connsiteX8" fmla="*/ 8552 w 13396"/>
                      <a:gd name="connsiteY8" fmla="*/ 12021 h 22367"/>
                      <a:gd name="connsiteX9" fmla="*/ 8612 w 13396"/>
                      <a:gd name="connsiteY9" fmla="*/ 11244 h 22367"/>
                      <a:gd name="connsiteX10" fmla="*/ 8732 w 13396"/>
                      <a:gd name="connsiteY10" fmla="*/ 9629 h 22367"/>
                      <a:gd name="connsiteX11" fmla="*/ 8732 w 13396"/>
                      <a:gd name="connsiteY11" fmla="*/ 9211 h 22367"/>
                      <a:gd name="connsiteX12" fmla="*/ 8792 w 13396"/>
                      <a:gd name="connsiteY12" fmla="*/ 8373 h 22367"/>
                      <a:gd name="connsiteX13" fmla="*/ 8851 w 13396"/>
                      <a:gd name="connsiteY13" fmla="*/ 7655 h 22367"/>
                      <a:gd name="connsiteX14" fmla="*/ 8851 w 13396"/>
                      <a:gd name="connsiteY14" fmla="*/ 7655 h 22367"/>
                      <a:gd name="connsiteX15" fmla="*/ 8851 w 13396"/>
                      <a:gd name="connsiteY15" fmla="*/ 7416 h 22367"/>
                      <a:gd name="connsiteX16" fmla="*/ 8851 w 13396"/>
                      <a:gd name="connsiteY16" fmla="*/ 6997 h 22367"/>
                      <a:gd name="connsiteX17" fmla="*/ 8792 w 13396"/>
                      <a:gd name="connsiteY17" fmla="*/ 6938 h 22367"/>
                      <a:gd name="connsiteX18" fmla="*/ 8433 w 13396"/>
                      <a:gd name="connsiteY18" fmla="*/ 6639 h 22367"/>
                      <a:gd name="connsiteX19" fmla="*/ 7416 w 13396"/>
                      <a:gd name="connsiteY19" fmla="*/ 5861 h 22367"/>
                      <a:gd name="connsiteX20" fmla="*/ 7117 w 13396"/>
                      <a:gd name="connsiteY20" fmla="*/ 5622 h 22367"/>
                      <a:gd name="connsiteX21" fmla="*/ 7117 w 13396"/>
                      <a:gd name="connsiteY21" fmla="*/ 5622 h 22367"/>
                      <a:gd name="connsiteX22" fmla="*/ 6758 w 13396"/>
                      <a:gd name="connsiteY22" fmla="*/ 5323 h 22367"/>
                      <a:gd name="connsiteX23" fmla="*/ 6160 w 13396"/>
                      <a:gd name="connsiteY23" fmla="*/ 4844 h 22367"/>
                      <a:gd name="connsiteX24" fmla="*/ 6041 w 13396"/>
                      <a:gd name="connsiteY24" fmla="*/ 4725 h 22367"/>
                      <a:gd name="connsiteX25" fmla="*/ 4844 w 13396"/>
                      <a:gd name="connsiteY25" fmla="*/ 3768 h 22367"/>
                      <a:gd name="connsiteX26" fmla="*/ 4844 w 13396"/>
                      <a:gd name="connsiteY26" fmla="*/ 3768 h 22367"/>
                      <a:gd name="connsiteX27" fmla="*/ 3589 w 13396"/>
                      <a:gd name="connsiteY27" fmla="*/ 2811 h 22367"/>
                      <a:gd name="connsiteX28" fmla="*/ 4127 w 13396"/>
                      <a:gd name="connsiteY28" fmla="*/ 1794 h 22367"/>
                      <a:gd name="connsiteX29" fmla="*/ 4665 w 13396"/>
                      <a:gd name="connsiteY29" fmla="*/ 778 h 22367"/>
                      <a:gd name="connsiteX30" fmla="*/ 5024 w 13396"/>
                      <a:gd name="connsiteY30" fmla="*/ 0 h 22367"/>
                      <a:gd name="connsiteX31" fmla="*/ 6280 w 13396"/>
                      <a:gd name="connsiteY31" fmla="*/ 60 h 22367"/>
                      <a:gd name="connsiteX32" fmla="*/ 6698 w 13396"/>
                      <a:gd name="connsiteY32" fmla="*/ 60 h 22367"/>
                      <a:gd name="connsiteX33" fmla="*/ 6698 w 13396"/>
                      <a:gd name="connsiteY33" fmla="*/ 60 h 22367"/>
                      <a:gd name="connsiteX34" fmla="*/ 6938 w 13396"/>
                      <a:gd name="connsiteY34" fmla="*/ 60 h 22367"/>
                      <a:gd name="connsiteX35" fmla="*/ 7297 w 13396"/>
                      <a:gd name="connsiteY35" fmla="*/ 60 h 22367"/>
                      <a:gd name="connsiteX36" fmla="*/ 10167 w 13396"/>
                      <a:gd name="connsiteY36" fmla="*/ 180 h 22367"/>
                      <a:gd name="connsiteX37" fmla="*/ 12141 w 13396"/>
                      <a:gd name="connsiteY37" fmla="*/ 299 h 22367"/>
                      <a:gd name="connsiteX38" fmla="*/ 13397 w 13396"/>
                      <a:gd name="connsiteY38" fmla="*/ 359 h 2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396" h="22367">
                        <a:moveTo>
                          <a:pt x="0" y="17344"/>
                        </a:moveTo>
                        <a:lnTo>
                          <a:pt x="2153" y="19138"/>
                        </a:lnTo>
                        <a:lnTo>
                          <a:pt x="3050" y="19856"/>
                        </a:lnTo>
                        <a:lnTo>
                          <a:pt x="5203" y="21650"/>
                        </a:lnTo>
                        <a:lnTo>
                          <a:pt x="6100" y="22368"/>
                        </a:lnTo>
                        <a:lnTo>
                          <a:pt x="8014" y="22368"/>
                        </a:lnTo>
                        <a:lnTo>
                          <a:pt x="8194" y="18720"/>
                        </a:lnTo>
                        <a:lnTo>
                          <a:pt x="8373" y="15072"/>
                        </a:lnTo>
                        <a:lnTo>
                          <a:pt x="8552" y="12021"/>
                        </a:lnTo>
                        <a:lnTo>
                          <a:pt x="8612" y="11244"/>
                        </a:lnTo>
                        <a:lnTo>
                          <a:pt x="8732" y="9629"/>
                        </a:lnTo>
                        <a:lnTo>
                          <a:pt x="8732" y="9211"/>
                        </a:lnTo>
                        <a:lnTo>
                          <a:pt x="8792" y="8373"/>
                        </a:lnTo>
                        <a:lnTo>
                          <a:pt x="8851" y="7655"/>
                        </a:lnTo>
                        <a:lnTo>
                          <a:pt x="8851" y="7655"/>
                        </a:lnTo>
                        <a:lnTo>
                          <a:pt x="8851" y="7416"/>
                        </a:lnTo>
                        <a:lnTo>
                          <a:pt x="8851" y="6997"/>
                        </a:lnTo>
                        <a:lnTo>
                          <a:pt x="8792" y="6938"/>
                        </a:lnTo>
                        <a:lnTo>
                          <a:pt x="8433" y="6639"/>
                        </a:lnTo>
                        <a:lnTo>
                          <a:pt x="7416" y="5861"/>
                        </a:lnTo>
                        <a:lnTo>
                          <a:pt x="7117" y="5622"/>
                        </a:lnTo>
                        <a:lnTo>
                          <a:pt x="7117" y="5622"/>
                        </a:lnTo>
                        <a:lnTo>
                          <a:pt x="6758" y="5323"/>
                        </a:lnTo>
                        <a:lnTo>
                          <a:pt x="6160" y="4844"/>
                        </a:lnTo>
                        <a:lnTo>
                          <a:pt x="6041" y="4725"/>
                        </a:lnTo>
                        <a:lnTo>
                          <a:pt x="4844" y="3768"/>
                        </a:lnTo>
                        <a:lnTo>
                          <a:pt x="4844" y="3768"/>
                        </a:lnTo>
                        <a:lnTo>
                          <a:pt x="3589" y="2811"/>
                        </a:lnTo>
                        <a:lnTo>
                          <a:pt x="4127" y="1794"/>
                        </a:lnTo>
                        <a:lnTo>
                          <a:pt x="4665" y="778"/>
                        </a:lnTo>
                        <a:lnTo>
                          <a:pt x="5024" y="0"/>
                        </a:lnTo>
                        <a:lnTo>
                          <a:pt x="6280" y="60"/>
                        </a:lnTo>
                        <a:lnTo>
                          <a:pt x="6698" y="60"/>
                        </a:lnTo>
                        <a:lnTo>
                          <a:pt x="6698" y="60"/>
                        </a:lnTo>
                        <a:lnTo>
                          <a:pt x="6938" y="60"/>
                        </a:lnTo>
                        <a:lnTo>
                          <a:pt x="7297" y="60"/>
                        </a:lnTo>
                        <a:lnTo>
                          <a:pt x="10167" y="180"/>
                        </a:lnTo>
                        <a:lnTo>
                          <a:pt x="12141" y="299"/>
                        </a:lnTo>
                        <a:lnTo>
                          <a:pt x="13397" y="359"/>
                        </a:lnTo>
                      </a:path>
                    </a:pathLst>
                  </a:custGeom>
                  <a:noFill/>
                  <a:ln w="6350" cap="flat">
                    <a:solidFill>
                      <a:schemeClr val="bg1">
                        <a:alpha val="40000"/>
                      </a:schemeClr>
                    </a:solidFill>
                    <a:prstDash val="solid"/>
                    <a:miter/>
                  </a:ln>
                </p:spPr>
                <p:txBody>
                  <a:bodyPr rtlCol="0" anchor="ctr"/>
                  <a:lstStyle/>
                  <a:p>
                    <a:endParaRPr lang="en-GB"/>
                  </a:p>
                </p:txBody>
              </p:sp>
              <p:sp>
                <p:nvSpPr>
                  <p:cNvPr id="7955" name="Vrije vorm: vorm 7954">
                    <a:extLst>
                      <a:ext uri="{FF2B5EF4-FFF2-40B4-BE49-F238E27FC236}">
                        <a16:creationId xmlns:a16="http://schemas.microsoft.com/office/drawing/2014/main" id="{29D66A81-D4E5-47E2-94ED-C1E7E5225CFC}"/>
                      </a:ext>
                    </a:extLst>
                  </p:cNvPr>
                  <p:cNvSpPr/>
                  <p:nvPr/>
                </p:nvSpPr>
                <p:spPr>
                  <a:xfrm>
                    <a:off x="5748630" y="5397821"/>
                    <a:ext cx="2930" cy="15370"/>
                  </a:xfrm>
                  <a:custGeom>
                    <a:avLst/>
                    <a:gdLst>
                      <a:gd name="connsiteX0" fmla="*/ 2930 w 2930"/>
                      <a:gd name="connsiteY0" fmla="*/ 0 h 15370"/>
                      <a:gd name="connsiteX1" fmla="*/ 2751 w 2930"/>
                      <a:gd name="connsiteY1" fmla="*/ 299 h 15370"/>
                      <a:gd name="connsiteX2" fmla="*/ 2632 w 2930"/>
                      <a:gd name="connsiteY2" fmla="*/ 478 h 15370"/>
                      <a:gd name="connsiteX3" fmla="*/ 1076 w 2930"/>
                      <a:gd name="connsiteY3" fmla="*/ 3469 h 15370"/>
                      <a:gd name="connsiteX4" fmla="*/ 957 w 2930"/>
                      <a:gd name="connsiteY4" fmla="*/ 3708 h 15370"/>
                      <a:gd name="connsiteX5" fmla="*/ 897 w 2930"/>
                      <a:gd name="connsiteY5" fmla="*/ 4187 h 15370"/>
                      <a:gd name="connsiteX6" fmla="*/ 718 w 2930"/>
                      <a:gd name="connsiteY6" fmla="*/ 6459 h 15370"/>
                      <a:gd name="connsiteX7" fmla="*/ 538 w 2930"/>
                      <a:gd name="connsiteY7" fmla="*/ 8971 h 15370"/>
                      <a:gd name="connsiteX8" fmla="*/ 239 w 2930"/>
                      <a:gd name="connsiteY8" fmla="*/ 12619 h 15370"/>
                      <a:gd name="connsiteX9" fmla="*/ 0 w 2930"/>
                      <a:gd name="connsiteY9" fmla="*/ 15370 h 1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30" h="15370">
                        <a:moveTo>
                          <a:pt x="2930" y="0"/>
                        </a:moveTo>
                        <a:lnTo>
                          <a:pt x="2751" y="299"/>
                        </a:lnTo>
                        <a:lnTo>
                          <a:pt x="2632" y="478"/>
                        </a:lnTo>
                        <a:lnTo>
                          <a:pt x="1076" y="3469"/>
                        </a:lnTo>
                        <a:lnTo>
                          <a:pt x="957" y="3708"/>
                        </a:lnTo>
                        <a:lnTo>
                          <a:pt x="897" y="4187"/>
                        </a:lnTo>
                        <a:lnTo>
                          <a:pt x="718" y="6459"/>
                        </a:lnTo>
                        <a:lnTo>
                          <a:pt x="538" y="8971"/>
                        </a:lnTo>
                        <a:lnTo>
                          <a:pt x="239" y="12619"/>
                        </a:lnTo>
                        <a:lnTo>
                          <a:pt x="0" y="15370"/>
                        </a:lnTo>
                      </a:path>
                    </a:pathLst>
                  </a:custGeom>
                  <a:noFill/>
                  <a:ln w="6350" cap="flat">
                    <a:solidFill>
                      <a:schemeClr val="bg1">
                        <a:alpha val="40000"/>
                      </a:schemeClr>
                    </a:solidFill>
                    <a:prstDash val="solid"/>
                    <a:miter/>
                  </a:ln>
                </p:spPr>
                <p:txBody>
                  <a:bodyPr rtlCol="0" anchor="ctr"/>
                  <a:lstStyle/>
                  <a:p>
                    <a:endParaRPr lang="en-GB"/>
                  </a:p>
                </p:txBody>
              </p:sp>
              <p:sp>
                <p:nvSpPr>
                  <p:cNvPr id="7956" name="Vrije vorm: vorm 7955">
                    <a:extLst>
                      <a:ext uri="{FF2B5EF4-FFF2-40B4-BE49-F238E27FC236}">
                        <a16:creationId xmlns:a16="http://schemas.microsoft.com/office/drawing/2014/main" id="{E679C0CA-B12C-4C49-BEFD-A47FC0F10071}"/>
                      </a:ext>
                    </a:extLst>
                  </p:cNvPr>
                  <p:cNvSpPr/>
                  <p:nvPr/>
                </p:nvSpPr>
                <p:spPr>
                  <a:xfrm>
                    <a:off x="5734754" y="5296268"/>
                    <a:ext cx="11183" cy="22906"/>
                  </a:xfrm>
                  <a:custGeom>
                    <a:avLst/>
                    <a:gdLst>
                      <a:gd name="connsiteX0" fmla="*/ 9629 w 11183"/>
                      <a:gd name="connsiteY0" fmla="*/ 22906 h 22906"/>
                      <a:gd name="connsiteX1" fmla="*/ 7297 w 11183"/>
                      <a:gd name="connsiteY1" fmla="*/ 21351 h 22906"/>
                      <a:gd name="connsiteX2" fmla="*/ 6579 w 11183"/>
                      <a:gd name="connsiteY2" fmla="*/ 20873 h 22906"/>
                      <a:gd name="connsiteX3" fmla="*/ 6579 w 11183"/>
                      <a:gd name="connsiteY3" fmla="*/ 20873 h 22906"/>
                      <a:gd name="connsiteX4" fmla="*/ 4246 w 11183"/>
                      <a:gd name="connsiteY4" fmla="*/ 19318 h 22906"/>
                      <a:gd name="connsiteX5" fmla="*/ 3947 w 11183"/>
                      <a:gd name="connsiteY5" fmla="*/ 19079 h 22906"/>
                      <a:gd name="connsiteX6" fmla="*/ 3947 w 11183"/>
                      <a:gd name="connsiteY6" fmla="*/ 19079 h 22906"/>
                      <a:gd name="connsiteX7" fmla="*/ 2452 w 11183"/>
                      <a:gd name="connsiteY7" fmla="*/ 18062 h 22906"/>
                      <a:gd name="connsiteX8" fmla="*/ 2452 w 11183"/>
                      <a:gd name="connsiteY8" fmla="*/ 18062 h 22906"/>
                      <a:gd name="connsiteX9" fmla="*/ 120 w 11183"/>
                      <a:gd name="connsiteY9" fmla="*/ 16507 h 22906"/>
                      <a:gd name="connsiteX10" fmla="*/ 0 w 11183"/>
                      <a:gd name="connsiteY10" fmla="*/ 16387 h 22906"/>
                      <a:gd name="connsiteX11" fmla="*/ 1794 w 11183"/>
                      <a:gd name="connsiteY11" fmla="*/ 12859 h 22906"/>
                      <a:gd name="connsiteX12" fmla="*/ 3589 w 11183"/>
                      <a:gd name="connsiteY12" fmla="*/ 9330 h 22906"/>
                      <a:gd name="connsiteX13" fmla="*/ 5383 w 11183"/>
                      <a:gd name="connsiteY13" fmla="*/ 5801 h 22906"/>
                      <a:gd name="connsiteX14" fmla="*/ 7177 w 11183"/>
                      <a:gd name="connsiteY14" fmla="*/ 2273 h 22906"/>
                      <a:gd name="connsiteX15" fmla="*/ 8313 w 11183"/>
                      <a:gd name="connsiteY15" fmla="*/ 0 h 22906"/>
                      <a:gd name="connsiteX16" fmla="*/ 11005 w 11183"/>
                      <a:gd name="connsiteY16" fmla="*/ 778 h 22906"/>
                      <a:gd name="connsiteX17" fmla="*/ 11184 w 11183"/>
                      <a:gd name="connsiteY17" fmla="*/ 837 h 2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83" h="22906">
                        <a:moveTo>
                          <a:pt x="9629" y="22906"/>
                        </a:moveTo>
                        <a:lnTo>
                          <a:pt x="7297" y="21351"/>
                        </a:lnTo>
                        <a:lnTo>
                          <a:pt x="6579" y="20873"/>
                        </a:lnTo>
                        <a:lnTo>
                          <a:pt x="6579" y="20873"/>
                        </a:lnTo>
                        <a:lnTo>
                          <a:pt x="4246" y="19318"/>
                        </a:lnTo>
                        <a:lnTo>
                          <a:pt x="3947" y="19079"/>
                        </a:lnTo>
                        <a:lnTo>
                          <a:pt x="3947" y="19079"/>
                        </a:lnTo>
                        <a:lnTo>
                          <a:pt x="2452" y="18062"/>
                        </a:lnTo>
                        <a:lnTo>
                          <a:pt x="2452" y="18062"/>
                        </a:lnTo>
                        <a:lnTo>
                          <a:pt x="120" y="16507"/>
                        </a:lnTo>
                        <a:lnTo>
                          <a:pt x="0" y="16387"/>
                        </a:lnTo>
                        <a:lnTo>
                          <a:pt x="1794" y="12859"/>
                        </a:lnTo>
                        <a:lnTo>
                          <a:pt x="3589" y="9330"/>
                        </a:lnTo>
                        <a:lnTo>
                          <a:pt x="5383" y="5801"/>
                        </a:lnTo>
                        <a:lnTo>
                          <a:pt x="7177" y="2273"/>
                        </a:lnTo>
                        <a:lnTo>
                          <a:pt x="8313" y="0"/>
                        </a:lnTo>
                        <a:lnTo>
                          <a:pt x="11005" y="778"/>
                        </a:lnTo>
                        <a:lnTo>
                          <a:pt x="11184" y="837"/>
                        </a:lnTo>
                      </a:path>
                    </a:pathLst>
                  </a:custGeom>
                  <a:noFill/>
                  <a:ln w="6350" cap="flat">
                    <a:solidFill>
                      <a:schemeClr val="bg1">
                        <a:alpha val="40000"/>
                      </a:schemeClr>
                    </a:solidFill>
                    <a:prstDash val="solid"/>
                    <a:miter/>
                  </a:ln>
                </p:spPr>
                <p:txBody>
                  <a:bodyPr rtlCol="0" anchor="ctr"/>
                  <a:lstStyle/>
                  <a:p>
                    <a:endParaRPr lang="en-GB"/>
                  </a:p>
                </p:txBody>
              </p:sp>
              <p:sp>
                <p:nvSpPr>
                  <p:cNvPr id="7957" name="Vrije vorm: vorm 7956">
                    <a:extLst>
                      <a:ext uri="{FF2B5EF4-FFF2-40B4-BE49-F238E27FC236}">
                        <a16:creationId xmlns:a16="http://schemas.microsoft.com/office/drawing/2014/main" id="{9E8646CA-01C3-4EFA-BE97-323A876B4466}"/>
                      </a:ext>
                    </a:extLst>
                  </p:cNvPr>
                  <p:cNvSpPr/>
                  <p:nvPr/>
                </p:nvSpPr>
                <p:spPr>
                  <a:xfrm>
                    <a:off x="5729013" y="5313851"/>
                    <a:ext cx="4664" cy="6997"/>
                  </a:xfrm>
                  <a:custGeom>
                    <a:avLst/>
                    <a:gdLst>
                      <a:gd name="connsiteX0" fmla="*/ 1316 w 4664"/>
                      <a:gd name="connsiteY0" fmla="*/ 6998 h 6997"/>
                      <a:gd name="connsiteX1" fmla="*/ 0 w 4664"/>
                      <a:gd name="connsiteY1" fmla="*/ 6100 h 6997"/>
                      <a:gd name="connsiteX2" fmla="*/ 1794 w 4664"/>
                      <a:gd name="connsiteY2" fmla="*/ 2572 h 6997"/>
                      <a:gd name="connsiteX3" fmla="*/ 3110 w 4664"/>
                      <a:gd name="connsiteY3" fmla="*/ 0 h 6997"/>
                      <a:gd name="connsiteX4" fmla="*/ 4665 w 4664"/>
                      <a:gd name="connsiteY4" fmla="*/ 359 h 6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4" h="6997">
                        <a:moveTo>
                          <a:pt x="1316" y="6998"/>
                        </a:moveTo>
                        <a:lnTo>
                          <a:pt x="0" y="6100"/>
                        </a:lnTo>
                        <a:lnTo>
                          <a:pt x="1794" y="2572"/>
                        </a:lnTo>
                        <a:lnTo>
                          <a:pt x="3110" y="0"/>
                        </a:lnTo>
                        <a:lnTo>
                          <a:pt x="4665" y="359"/>
                        </a:lnTo>
                      </a:path>
                    </a:pathLst>
                  </a:custGeom>
                  <a:noFill/>
                  <a:ln w="6350" cap="flat">
                    <a:solidFill>
                      <a:schemeClr val="bg1">
                        <a:alpha val="40000"/>
                      </a:schemeClr>
                    </a:solidFill>
                    <a:prstDash val="solid"/>
                    <a:miter/>
                  </a:ln>
                </p:spPr>
                <p:txBody>
                  <a:bodyPr rtlCol="0" anchor="ctr"/>
                  <a:lstStyle/>
                  <a:p>
                    <a:endParaRPr lang="en-GB"/>
                  </a:p>
                </p:txBody>
              </p:sp>
              <p:sp>
                <p:nvSpPr>
                  <p:cNvPr id="7958" name="Vrije vorm: vorm 7957">
                    <a:extLst>
                      <a:ext uri="{FF2B5EF4-FFF2-40B4-BE49-F238E27FC236}">
                        <a16:creationId xmlns:a16="http://schemas.microsoft.com/office/drawing/2014/main" id="{D0D15F56-461A-436F-B9ED-3D554A4B0FDB}"/>
                      </a:ext>
                    </a:extLst>
                  </p:cNvPr>
                  <p:cNvSpPr/>
                  <p:nvPr/>
                </p:nvSpPr>
                <p:spPr>
                  <a:xfrm>
                    <a:off x="5732183" y="5313792"/>
                    <a:ext cx="1315" cy="896"/>
                  </a:xfrm>
                  <a:custGeom>
                    <a:avLst/>
                    <a:gdLst>
                      <a:gd name="connsiteX0" fmla="*/ 0 w 1315"/>
                      <a:gd name="connsiteY0" fmla="*/ 0 h 896"/>
                      <a:gd name="connsiteX1" fmla="*/ 1316 w 1315"/>
                      <a:gd name="connsiteY1" fmla="*/ 897 h 896"/>
                    </a:gdLst>
                    <a:ahLst/>
                    <a:cxnLst>
                      <a:cxn ang="0">
                        <a:pos x="connsiteX0" y="connsiteY0"/>
                      </a:cxn>
                      <a:cxn ang="0">
                        <a:pos x="connsiteX1" y="connsiteY1"/>
                      </a:cxn>
                    </a:cxnLst>
                    <a:rect l="l" t="t" r="r" b="b"/>
                    <a:pathLst>
                      <a:path w="1315" h="896">
                        <a:moveTo>
                          <a:pt x="0" y="0"/>
                        </a:moveTo>
                        <a:lnTo>
                          <a:pt x="1316" y="897"/>
                        </a:lnTo>
                      </a:path>
                    </a:pathLst>
                  </a:custGeom>
                  <a:noFill/>
                  <a:ln w="6350" cap="flat">
                    <a:solidFill>
                      <a:schemeClr val="bg1">
                        <a:alpha val="40000"/>
                      </a:schemeClr>
                    </a:solidFill>
                    <a:prstDash val="solid"/>
                    <a:miter/>
                  </a:ln>
                </p:spPr>
                <p:txBody>
                  <a:bodyPr rtlCol="0" anchor="ctr"/>
                  <a:lstStyle/>
                  <a:p>
                    <a:endParaRPr lang="en-GB"/>
                  </a:p>
                </p:txBody>
              </p:sp>
              <p:sp>
                <p:nvSpPr>
                  <p:cNvPr id="7959" name="Vrije vorm: vorm 7958">
                    <a:extLst>
                      <a:ext uri="{FF2B5EF4-FFF2-40B4-BE49-F238E27FC236}">
                        <a16:creationId xmlns:a16="http://schemas.microsoft.com/office/drawing/2014/main" id="{8D651D9C-E536-4224-97AB-D6D8D0EA199E}"/>
                      </a:ext>
                    </a:extLst>
                  </p:cNvPr>
                  <p:cNvSpPr/>
                  <p:nvPr/>
                </p:nvSpPr>
                <p:spPr>
                  <a:xfrm>
                    <a:off x="5718965" y="5334485"/>
                    <a:ext cx="4305" cy="6279"/>
                  </a:xfrm>
                  <a:custGeom>
                    <a:avLst/>
                    <a:gdLst>
                      <a:gd name="connsiteX0" fmla="*/ 1256 w 4305"/>
                      <a:gd name="connsiteY0" fmla="*/ 6280 h 6279"/>
                      <a:gd name="connsiteX1" fmla="*/ 0 w 4305"/>
                      <a:gd name="connsiteY1" fmla="*/ 5323 h 6279"/>
                      <a:gd name="connsiteX2" fmla="*/ 1794 w 4305"/>
                      <a:gd name="connsiteY2" fmla="*/ 1794 h 6279"/>
                      <a:gd name="connsiteX3" fmla="*/ 2691 w 4305"/>
                      <a:gd name="connsiteY3" fmla="*/ 0 h 6279"/>
                      <a:gd name="connsiteX4" fmla="*/ 4306 w 4305"/>
                      <a:gd name="connsiteY4" fmla="*/ 299 h 6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5" h="6279">
                        <a:moveTo>
                          <a:pt x="1256" y="6280"/>
                        </a:moveTo>
                        <a:lnTo>
                          <a:pt x="0" y="5323"/>
                        </a:lnTo>
                        <a:lnTo>
                          <a:pt x="1794" y="1794"/>
                        </a:lnTo>
                        <a:lnTo>
                          <a:pt x="2691" y="0"/>
                        </a:lnTo>
                        <a:lnTo>
                          <a:pt x="4306" y="299"/>
                        </a:lnTo>
                      </a:path>
                    </a:pathLst>
                  </a:custGeom>
                  <a:noFill/>
                  <a:ln w="6350" cap="flat">
                    <a:solidFill>
                      <a:schemeClr val="bg1">
                        <a:alpha val="40000"/>
                      </a:schemeClr>
                    </a:solidFill>
                    <a:prstDash val="solid"/>
                    <a:miter/>
                  </a:ln>
                </p:spPr>
                <p:txBody>
                  <a:bodyPr rtlCol="0" anchor="ctr"/>
                  <a:lstStyle/>
                  <a:p>
                    <a:endParaRPr lang="en-GB"/>
                  </a:p>
                </p:txBody>
              </p:sp>
              <p:sp>
                <p:nvSpPr>
                  <p:cNvPr id="7960" name="Vrije vorm: vorm 7959">
                    <a:extLst>
                      <a:ext uri="{FF2B5EF4-FFF2-40B4-BE49-F238E27FC236}">
                        <a16:creationId xmlns:a16="http://schemas.microsoft.com/office/drawing/2014/main" id="{880E75DF-274F-4446-BE1C-9197B7E76FBA}"/>
                      </a:ext>
                    </a:extLst>
                  </p:cNvPr>
                  <p:cNvSpPr/>
                  <p:nvPr/>
                </p:nvSpPr>
                <p:spPr>
                  <a:xfrm>
                    <a:off x="5745998" y="5296986"/>
                    <a:ext cx="14772" cy="22248"/>
                  </a:xfrm>
                  <a:custGeom>
                    <a:avLst/>
                    <a:gdLst>
                      <a:gd name="connsiteX0" fmla="*/ 14773 w 14772"/>
                      <a:gd name="connsiteY0" fmla="*/ 22248 h 22248"/>
                      <a:gd name="connsiteX1" fmla="*/ 13516 w 14772"/>
                      <a:gd name="connsiteY1" fmla="*/ 21411 h 22248"/>
                      <a:gd name="connsiteX2" fmla="*/ 11184 w 14772"/>
                      <a:gd name="connsiteY2" fmla="*/ 19856 h 22248"/>
                      <a:gd name="connsiteX3" fmla="*/ 11124 w 14772"/>
                      <a:gd name="connsiteY3" fmla="*/ 19796 h 22248"/>
                      <a:gd name="connsiteX4" fmla="*/ 11065 w 14772"/>
                      <a:gd name="connsiteY4" fmla="*/ 19736 h 22248"/>
                      <a:gd name="connsiteX5" fmla="*/ 8732 w 14772"/>
                      <a:gd name="connsiteY5" fmla="*/ 18181 h 22248"/>
                      <a:gd name="connsiteX6" fmla="*/ 6878 w 14772"/>
                      <a:gd name="connsiteY6" fmla="*/ 16925 h 22248"/>
                      <a:gd name="connsiteX7" fmla="*/ 6818 w 14772"/>
                      <a:gd name="connsiteY7" fmla="*/ 13337 h 22248"/>
                      <a:gd name="connsiteX8" fmla="*/ 6758 w 14772"/>
                      <a:gd name="connsiteY8" fmla="*/ 9748 h 22248"/>
                      <a:gd name="connsiteX9" fmla="*/ 6698 w 14772"/>
                      <a:gd name="connsiteY9" fmla="*/ 6160 h 22248"/>
                      <a:gd name="connsiteX10" fmla="*/ 6639 w 14772"/>
                      <a:gd name="connsiteY10" fmla="*/ 4246 h 22248"/>
                      <a:gd name="connsiteX11" fmla="*/ 4306 w 14772"/>
                      <a:gd name="connsiteY11" fmla="*/ 2751 h 22248"/>
                      <a:gd name="connsiteX12" fmla="*/ 1974 w 14772"/>
                      <a:gd name="connsiteY12" fmla="*/ 1256 h 22248"/>
                      <a:gd name="connsiteX13" fmla="*/ 0 w 14772"/>
                      <a:gd name="connsiteY13" fmla="*/ 0 h 2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72" h="22248">
                        <a:moveTo>
                          <a:pt x="14773" y="22248"/>
                        </a:moveTo>
                        <a:lnTo>
                          <a:pt x="13516" y="21411"/>
                        </a:lnTo>
                        <a:lnTo>
                          <a:pt x="11184" y="19856"/>
                        </a:lnTo>
                        <a:lnTo>
                          <a:pt x="11124" y="19796"/>
                        </a:lnTo>
                        <a:lnTo>
                          <a:pt x="11065" y="19736"/>
                        </a:lnTo>
                        <a:lnTo>
                          <a:pt x="8732" y="18181"/>
                        </a:lnTo>
                        <a:lnTo>
                          <a:pt x="6878" y="16925"/>
                        </a:lnTo>
                        <a:lnTo>
                          <a:pt x="6818" y="13337"/>
                        </a:lnTo>
                        <a:lnTo>
                          <a:pt x="6758" y="9748"/>
                        </a:lnTo>
                        <a:lnTo>
                          <a:pt x="6698" y="6160"/>
                        </a:lnTo>
                        <a:lnTo>
                          <a:pt x="6639" y="4246"/>
                        </a:lnTo>
                        <a:lnTo>
                          <a:pt x="4306" y="2751"/>
                        </a:lnTo>
                        <a:lnTo>
                          <a:pt x="1974" y="1256"/>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61" name="Vrije vorm: vorm 7960">
                    <a:extLst>
                      <a:ext uri="{FF2B5EF4-FFF2-40B4-BE49-F238E27FC236}">
                        <a16:creationId xmlns:a16="http://schemas.microsoft.com/office/drawing/2014/main" id="{A192D69D-0DAF-4B10-B243-171450B5F73B}"/>
                      </a:ext>
                    </a:extLst>
                  </p:cNvPr>
                  <p:cNvSpPr/>
                  <p:nvPr/>
                </p:nvSpPr>
                <p:spPr>
                  <a:xfrm>
                    <a:off x="5743068" y="5296208"/>
                    <a:ext cx="17942" cy="24341"/>
                  </a:xfrm>
                  <a:custGeom>
                    <a:avLst/>
                    <a:gdLst>
                      <a:gd name="connsiteX0" fmla="*/ 17942 w 17942"/>
                      <a:gd name="connsiteY0" fmla="*/ 24341 h 24341"/>
                      <a:gd name="connsiteX1" fmla="*/ 15729 w 17942"/>
                      <a:gd name="connsiteY1" fmla="*/ 22906 h 24341"/>
                      <a:gd name="connsiteX2" fmla="*/ 13576 w 17942"/>
                      <a:gd name="connsiteY2" fmla="*/ 21471 h 24341"/>
                      <a:gd name="connsiteX3" fmla="*/ 13277 w 17942"/>
                      <a:gd name="connsiteY3" fmla="*/ 21291 h 24341"/>
                      <a:gd name="connsiteX4" fmla="*/ 10945 w 17942"/>
                      <a:gd name="connsiteY4" fmla="*/ 19736 h 24341"/>
                      <a:gd name="connsiteX5" fmla="*/ 8612 w 17942"/>
                      <a:gd name="connsiteY5" fmla="*/ 18181 h 24341"/>
                      <a:gd name="connsiteX6" fmla="*/ 6878 w 17942"/>
                      <a:gd name="connsiteY6" fmla="*/ 17045 h 24341"/>
                      <a:gd name="connsiteX7" fmla="*/ 6818 w 17942"/>
                      <a:gd name="connsiteY7" fmla="*/ 13457 h 24341"/>
                      <a:gd name="connsiteX8" fmla="*/ 6758 w 17942"/>
                      <a:gd name="connsiteY8" fmla="*/ 9868 h 24341"/>
                      <a:gd name="connsiteX9" fmla="*/ 6698 w 17942"/>
                      <a:gd name="connsiteY9" fmla="*/ 6280 h 24341"/>
                      <a:gd name="connsiteX10" fmla="*/ 6639 w 17942"/>
                      <a:gd name="connsiteY10" fmla="*/ 4306 h 24341"/>
                      <a:gd name="connsiteX11" fmla="*/ 4306 w 17942"/>
                      <a:gd name="connsiteY11" fmla="*/ 2811 h 24341"/>
                      <a:gd name="connsiteX12" fmla="*/ 2452 w 17942"/>
                      <a:gd name="connsiteY12" fmla="*/ 1615 h 24341"/>
                      <a:gd name="connsiteX13" fmla="*/ 2452 w 17942"/>
                      <a:gd name="connsiteY13" fmla="*/ 1615 h 24341"/>
                      <a:gd name="connsiteX14" fmla="*/ 120 w 17942"/>
                      <a:gd name="connsiteY14" fmla="*/ 119 h 24341"/>
                      <a:gd name="connsiteX15" fmla="*/ 0 w 17942"/>
                      <a:gd name="connsiteY15" fmla="*/ 0 h 2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942" h="24341">
                        <a:moveTo>
                          <a:pt x="17942" y="24341"/>
                        </a:moveTo>
                        <a:lnTo>
                          <a:pt x="15729" y="22906"/>
                        </a:lnTo>
                        <a:lnTo>
                          <a:pt x="13576" y="21471"/>
                        </a:lnTo>
                        <a:lnTo>
                          <a:pt x="13277" y="21291"/>
                        </a:lnTo>
                        <a:lnTo>
                          <a:pt x="10945" y="19736"/>
                        </a:lnTo>
                        <a:lnTo>
                          <a:pt x="8612" y="18181"/>
                        </a:lnTo>
                        <a:lnTo>
                          <a:pt x="6878" y="17045"/>
                        </a:lnTo>
                        <a:lnTo>
                          <a:pt x="6818" y="13457"/>
                        </a:lnTo>
                        <a:lnTo>
                          <a:pt x="6758" y="9868"/>
                        </a:lnTo>
                        <a:lnTo>
                          <a:pt x="6698" y="6280"/>
                        </a:lnTo>
                        <a:lnTo>
                          <a:pt x="6639" y="4306"/>
                        </a:lnTo>
                        <a:lnTo>
                          <a:pt x="4306" y="2811"/>
                        </a:lnTo>
                        <a:lnTo>
                          <a:pt x="2452" y="1615"/>
                        </a:lnTo>
                        <a:lnTo>
                          <a:pt x="2452" y="1615"/>
                        </a:lnTo>
                        <a:lnTo>
                          <a:pt x="120" y="11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62" name="Vrije vorm: vorm 7961">
                    <a:extLst>
                      <a:ext uri="{FF2B5EF4-FFF2-40B4-BE49-F238E27FC236}">
                        <a16:creationId xmlns:a16="http://schemas.microsoft.com/office/drawing/2014/main" id="{E12E75F7-C204-4D5A-ACE1-C1B3F3A4E8F0}"/>
                      </a:ext>
                    </a:extLst>
                  </p:cNvPr>
                  <p:cNvSpPr/>
                  <p:nvPr/>
                </p:nvSpPr>
                <p:spPr>
                  <a:xfrm>
                    <a:off x="5721656" y="5334544"/>
                    <a:ext cx="1256" cy="956"/>
                  </a:xfrm>
                  <a:custGeom>
                    <a:avLst/>
                    <a:gdLst>
                      <a:gd name="connsiteX0" fmla="*/ 0 w 1256"/>
                      <a:gd name="connsiteY0" fmla="*/ 0 h 956"/>
                      <a:gd name="connsiteX1" fmla="*/ 1256 w 1256"/>
                      <a:gd name="connsiteY1" fmla="*/ 957 h 956"/>
                    </a:gdLst>
                    <a:ahLst/>
                    <a:cxnLst>
                      <a:cxn ang="0">
                        <a:pos x="connsiteX0" y="connsiteY0"/>
                      </a:cxn>
                      <a:cxn ang="0">
                        <a:pos x="connsiteX1" y="connsiteY1"/>
                      </a:cxn>
                    </a:cxnLst>
                    <a:rect l="l" t="t" r="r" b="b"/>
                    <a:pathLst>
                      <a:path w="1256" h="956">
                        <a:moveTo>
                          <a:pt x="0" y="0"/>
                        </a:moveTo>
                        <a:lnTo>
                          <a:pt x="1256" y="957"/>
                        </a:lnTo>
                      </a:path>
                    </a:pathLst>
                  </a:custGeom>
                  <a:noFill/>
                  <a:ln w="6350" cap="flat">
                    <a:solidFill>
                      <a:schemeClr val="bg1">
                        <a:alpha val="40000"/>
                      </a:schemeClr>
                    </a:solidFill>
                    <a:prstDash val="solid"/>
                    <a:miter/>
                  </a:ln>
                </p:spPr>
                <p:txBody>
                  <a:bodyPr rtlCol="0" anchor="ctr"/>
                  <a:lstStyle/>
                  <a:p>
                    <a:endParaRPr lang="en-GB"/>
                  </a:p>
                </p:txBody>
              </p:sp>
              <p:sp>
                <p:nvSpPr>
                  <p:cNvPr id="7963" name="Vrije vorm: vorm 7962">
                    <a:extLst>
                      <a:ext uri="{FF2B5EF4-FFF2-40B4-BE49-F238E27FC236}">
                        <a16:creationId xmlns:a16="http://schemas.microsoft.com/office/drawing/2014/main" id="{BE64A00E-3E12-4EF9-8232-261E23930BA8}"/>
                      </a:ext>
                    </a:extLst>
                  </p:cNvPr>
                  <p:cNvSpPr/>
                  <p:nvPr/>
                </p:nvSpPr>
                <p:spPr>
                  <a:xfrm>
                    <a:off x="5751321" y="5318755"/>
                    <a:ext cx="10406" cy="9928"/>
                  </a:xfrm>
                  <a:custGeom>
                    <a:avLst/>
                    <a:gdLst>
                      <a:gd name="connsiteX0" fmla="*/ 3110 w 10406"/>
                      <a:gd name="connsiteY0" fmla="*/ 180 h 9928"/>
                      <a:gd name="connsiteX1" fmla="*/ 2392 w 10406"/>
                      <a:gd name="connsiteY1" fmla="*/ 0 h 9928"/>
                      <a:gd name="connsiteX2" fmla="*/ 598 w 10406"/>
                      <a:gd name="connsiteY2" fmla="*/ 3529 h 9928"/>
                      <a:gd name="connsiteX3" fmla="*/ 0 w 10406"/>
                      <a:gd name="connsiteY3" fmla="*/ 4725 h 9928"/>
                      <a:gd name="connsiteX4" fmla="*/ 1734 w 10406"/>
                      <a:gd name="connsiteY4" fmla="*/ 5861 h 9928"/>
                      <a:gd name="connsiteX5" fmla="*/ 1854 w 10406"/>
                      <a:gd name="connsiteY5" fmla="*/ 5981 h 9928"/>
                      <a:gd name="connsiteX6" fmla="*/ 2333 w 10406"/>
                      <a:gd name="connsiteY6" fmla="*/ 6280 h 9928"/>
                      <a:gd name="connsiteX7" fmla="*/ 2751 w 10406"/>
                      <a:gd name="connsiteY7" fmla="*/ 6579 h 9928"/>
                      <a:gd name="connsiteX8" fmla="*/ 4067 w 10406"/>
                      <a:gd name="connsiteY8" fmla="*/ 7476 h 9928"/>
                      <a:gd name="connsiteX9" fmla="*/ 4127 w 10406"/>
                      <a:gd name="connsiteY9" fmla="*/ 7536 h 9928"/>
                      <a:gd name="connsiteX10" fmla="*/ 6459 w 10406"/>
                      <a:gd name="connsiteY10" fmla="*/ 9091 h 9928"/>
                      <a:gd name="connsiteX11" fmla="*/ 6519 w 10406"/>
                      <a:gd name="connsiteY11" fmla="*/ 9151 h 9928"/>
                      <a:gd name="connsiteX12" fmla="*/ 7476 w 10406"/>
                      <a:gd name="connsiteY12" fmla="*/ 9808 h 9928"/>
                      <a:gd name="connsiteX13" fmla="*/ 7596 w 10406"/>
                      <a:gd name="connsiteY13" fmla="*/ 9808 h 9928"/>
                      <a:gd name="connsiteX14" fmla="*/ 8194 w 10406"/>
                      <a:gd name="connsiteY14" fmla="*/ 9928 h 9928"/>
                      <a:gd name="connsiteX15" fmla="*/ 9988 w 10406"/>
                      <a:gd name="connsiteY15" fmla="*/ 6399 h 9928"/>
                      <a:gd name="connsiteX16" fmla="*/ 10406 w 10406"/>
                      <a:gd name="connsiteY16" fmla="*/ 5622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06" h="9928">
                        <a:moveTo>
                          <a:pt x="3110" y="180"/>
                        </a:moveTo>
                        <a:lnTo>
                          <a:pt x="2392" y="0"/>
                        </a:lnTo>
                        <a:lnTo>
                          <a:pt x="598" y="3529"/>
                        </a:lnTo>
                        <a:lnTo>
                          <a:pt x="0" y="4725"/>
                        </a:lnTo>
                        <a:lnTo>
                          <a:pt x="1734" y="5861"/>
                        </a:lnTo>
                        <a:lnTo>
                          <a:pt x="1854" y="5981"/>
                        </a:lnTo>
                        <a:lnTo>
                          <a:pt x="2333" y="6280"/>
                        </a:lnTo>
                        <a:lnTo>
                          <a:pt x="2751" y="6579"/>
                        </a:lnTo>
                        <a:lnTo>
                          <a:pt x="4067" y="7476"/>
                        </a:lnTo>
                        <a:lnTo>
                          <a:pt x="4127" y="7536"/>
                        </a:lnTo>
                        <a:lnTo>
                          <a:pt x="6459" y="9091"/>
                        </a:lnTo>
                        <a:lnTo>
                          <a:pt x="6519" y="9151"/>
                        </a:lnTo>
                        <a:lnTo>
                          <a:pt x="7476" y="9808"/>
                        </a:lnTo>
                        <a:lnTo>
                          <a:pt x="7596" y="9808"/>
                        </a:lnTo>
                        <a:lnTo>
                          <a:pt x="8194" y="9928"/>
                        </a:lnTo>
                        <a:lnTo>
                          <a:pt x="9988" y="6399"/>
                        </a:lnTo>
                        <a:lnTo>
                          <a:pt x="10406" y="5622"/>
                        </a:lnTo>
                      </a:path>
                    </a:pathLst>
                  </a:custGeom>
                  <a:noFill/>
                  <a:ln w="6350" cap="flat">
                    <a:solidFill>
                      <a:schemeClr val="bg1">
                        <a:alpha val="40000"/>
                      </a:schemeClr>
                    </a:solidFill>
                    <a:prstDash val="solid"/>
                    <a:miter/>
                  </a:ln>
                </p:spPr>
                <p:txBody>
                  <a:bodyPr rtlCol="0" anchor="ctr"/>
                  <a:lstStyle/>
                  <a:p>
                    <a:endParaRPr lang="en-GB"/>
                  </a:p>
                </p:txBody>
              </p:sp>
              <p:sp>
                <p:nvSpPr>
                  <p:cNvPr id="7964" name="Vrije vorm: vorm 7963">
                    <a:extLst>
                      <a:ext uri="{FF2B5EF4-FFF2-40B4-BE49-F238E27FC236}">
                        <a16:creationId xmlns:a16="http://schemas.microsoft.com/office/drawing/2014/main" id="{498073CB-7E72-457C-B2C4-DB6CFC97AD1F}"/>
                      </a:ext>
                    </a:extLst>
                  </p:cNvPr>
                  <p:cNvSpPr/>
                  <p:nvPr/>
                </p:nvSpPr>
                <p:spPr>
                  <a:xfrm>
                    <a:off x="5747134" y="5324916"/>
                    <a:ext cx="11004" cy="10645"/>
                  </a:xfrm>
                  <a:custGeom>
                    <a:avLst/>
                    <a:gdLst>
                      <a:gd name="connsiteX0" fmla="*/ 11005 w 11004"/>
                      <a:gd name="connsiteY0" fmla="*/ 5203 h 10645"/>
                      <a:gd name="connsiteX1" fmla="*/ 11005 w 11004"/>
                      <a:gd name="connsiteY1" fmla="*/ 5203 h 10645"/>
                      <a:gd name="connsiteX2" fmla="*/ 10526 w 11004"/>
                      <a:gd name="connsiteY2" fmla="*/ 4904 h 10645"/>
                      <a:gd name="connsiteX3" fmla="*/ 8194 w 11004"/>
                      <a:gd name="connsiteY3" fmla="*/ 3349 h 10645"/>
                      <a:gd name="connsiteX4" fmla="*/ 5861 w 11004"/>
                      <a:gd name="connsiteY4" fmla="*/ 1794 h 10645"/>
                      <a:gd name="connsiteX5" fmla="*/ 5263 w 11004"/>
                      <a:gd name="connsiteY5" fmla="*/ 1375 h 10645"/>
                      <a:gd name="connsiteX6" fmla="*/ 3529 w 11004"/>
                      <a:gd name="connsiteY6" fmla="*/ 179 h 10645"/>
                      <a:gd name="connsiteX7" fmla="*/ 2811 w 11004"/>
                      <a:gd name="connsiteY7" fmla="*/ 0 h 10645"/>
                      <a:gd name="connsiteX8" fmla="*/ 1017 w 11004"/>
                      <a:gd name="connsiteY8" fmla="*/ 3528 h 10645"/>
                      <a:gd name="connsiteX9" fmla="*/ 359 w 11004"/>
                      <a:gd name="connsiteY9" fmla="*/ 4785 h 10645"/>
                      <a:gd name="connsiteX10" fmla="*/ 0 w 11004"/>
                      <a:gd name="connsiteY10" fmla="*/ 5502 h 10645"/>
                      <a:gd name="connsiteX11" fmla="*/ 2273 w 11004"/>
                      <a:gd name="connsiteY11" fmla="*/ 7057 h 10645"/>
                      <a:gd name="connsiteX12" fmla="*/ 4545 w 11004"/>
                      <a:gd name="connsiteY12" fmla="*/ 8612 h 10645"/>
                      <a:gd name="connsiteX13" fmla="*/ 6818 w 11004"/>
                      <a:gd name="connsiteY13" fmla="*/ 10167 h 10645"/>
                      <a:gd name="connsiteX14" fmla="*/ 7356 w 11004"/>
                      <a:gd name="connsiteY14" fmla="*/ 10526 h 10645"/>
                      <a:gd name="connsiteX15" fmla="*/ 8074 w 11004"/>
                      <a:gd name="connsiteY15" fmla="*/ 10645 h 1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04" h="10645">
                        <a:moveTo>
                          <a:pt x="11005" y="5203"/>
                        </a:moveTo>
                        <a:lnTo>
                          <a:pt x="11005" y="5203"/>
                        </a:lnTo>
                        <a:lnTo>
                          <a:pt x="10526" y="4904"/>
                        </a:lnTo>
                        <a:lnTo>
                          <a:pt x="8194" y="3349"/>
                        </a:lnTo>
                        <a:lnTo>
                          <a:pt x="5861" y="1794"/>
                        </a:lnTo>
                        <a:lnTo>
                          <a:pt x="5263" y="1375"/>
                        </a:lnTo>
                        <a:lnTo>
                          <a:pt x="3529" y="179"/>
                        </a:lnTo>
                        <a:lnTo>
                          <a:pt x="2811" y="0"/>
                        </a:lnTo>
                        <a:lnTo>
                          <a:pt x="1017" y="3528"/>
                        </a:lnTo>
                        <a:lnTo>
                          <a:pt x="359" y="4785"/>
                        </a:lnTo>
                        <a:lnTo>
                          <a:pt x="0" y="5502"/>
                        </a:lnTo>
                        <a:lnTo>
                          <a:pt x="2273" y="7057"/>
                        </a:lnTo>
                        <a:lnTo>
                          <a:pt x="4545" y="8612"/>
                        </a:lnTo>
                        <a:lnTo>
                          <a:pt x="6818" y="10167"/>
                        </a:lnTo>
                        <a:lnTo>
                          <a:pt x="7356" y="10526"/>
                        </a:lnTo>
                        <a:lnTo>
                          <a:pt x="8074" y="10645"/>
                        </a:lnTo>
                      </a:path>
                    </a:pathLst>
                  </a:custGeom>
                  <a:noFill/>
                  <a:ln w="6350" cap="flat">
                    <a:solidFill>
                      <a:schemeClr val="bg1">
                        <a:alpha val="40000"/>
                      </a:schemeClr>
                    </a:solidFill>
                    <a:prstDash val="solid"/>
                    <a:miter/>
                  </a:ln>
                </p:spPr>
                <p:txBody>
                  <a:bodyPr rtlCol="0" anchor="ctr"/>
                  <a:lstStyle/>
                  <a:p>
                    <a:endParaRPr lang="en-GB"/>
                  </a:p>
                </p:txBody>
              </p:sp>
              <p:sp>
                <p:nvSpPr>
                  <p:cNvPr id="7965" name="Vrije vorm: vorm 7964">
                    <a:extLst>
                      <a:ext uri="{FF2B5EF4-FFF2-40B4-BE49-F238E27FC236}">
                        <a16:creationId xmlns:a16="http://schemas.microsoft.com/office/drawing/2014/main" id="{CECD3A51-C3D3-42C2-9885-6885016E50C1}"/>
                      </a:ext>
                    </a:extLst>
                  </p:cNvPr>
                  <p:cNvSpPr/>
                  <p:nvPr/>
                </p:nvSpPr>
                <p:spPr>
                  <a:xfrm>
                    <a:off x="5755268" y="5329939"/>
                    <a:ext cx="2870" cy="5741"/>
                  </a:xfrm>
                  <a:custGeom>
                    <a:avLst/>
                    <a:gdLst>
                      <a:gd name="connsiteX0" fmla="*/ 0 w 2870"/>
                      <a:gd name="connsiteY0" fmla="*/ 5742 h 5741"/>
                      <a:gd name="connsiteX1" fmla="*/ 239 w 2870"/>
                      <a:gd name="connsiteY1" fmla="*/ 5263 h 5741"/>
                      <a:gd name="connsiteX2" fmla="*/ 538 w 2870"/>
                      <a:gd name="connsiteY2" fmla="*/ 4665 h 5741"/>
                      <a:gd name="connsiteX3" fmla="*/ 2333 w 2870"/>
                      <a:gd name="connsiteY3" fmla="*/ 1136 h 5741"/>
                      <a:gd name="connsiteX4" fmla="*/ 2871 w 2870"/>
                      <a:gd name="connsiteY4" fmla="*/ 120 h 5741"/>
                      <a:gd name="connsiteX5" fmla="*/ 2811 w 2870"/>
                      <a:gd name="connsiteY5" fmla="*/ 120 h 5741"/>
                      <a:gd name="connsiteX6" fmla="*/ 2213 w 2870"/>
                      <a:gd name="connsiteY6" fmla="*/ 0 h 5741"/>
                      <a:gd name="connsiteX7" fmla="*/ 2153 w 2870"/>
                      <a:gd name="connsiteY7" fmla="*/ 0 h 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0" h="5741">
                        <a:moveTo>
                          <a:pt x="0" y="5742"/>
                        </a:moveTo>
                        <a:lnTo>
                          <a:pt x="239" y="5263"/>
                        </a:lnTo>
                        <a:lnTo>
                          <a:pt x="538" y="4665"/>
                        </a:lnTo>
                        <a:lnTo>
                          <a:pt x="2333" y="1136"/>
                        </a:lnTo>
                        <a:lnTo>
                          <a:pt x="2871" y="120"/>
                        </a:lnTo>
                        <a:lnTo>
                          <a:pt x="2811" y="120"/>
                        </a:lnTo>
                        <a:lnTo>
                          <a:pt x="2213" y="0"/>
                        </a:lnTo>
                        <a:lnTo>
                          <a:pt x="2153" y="0"/>
                        </a:lnTo>
                      </a:path>
                    </a:pathLst>
                  </a:custGeom>
                  <a:noFill/>
                  <a:ln w="6350" cap="flat">
                    <a:solidFill>
                      <a:schemeClr val="bg1">
                        <a:alpha val="40000"/>
                      </a:schemeClr>
                    </a:solidFill>
                    <a:prstDash val="solid"/>
                    <a:miter/>
                  </a:ln>
                </p:spPr>
                <p:txBody>
                  <a:bodyPr rtlCol="0" anchor="ctr"/>
                  <a:lstStyle/>
                  <a:p>
                    <a:endParaRPr lang="en-GB"/>
                  </a:p>
                </p:txBody>
              </p:sp>
              <p:sp>
                <p:nvSpPr>
                  <p:cNvPr id="7966" name="Vrije vorm: vorm 7965">
                    <a:extLst>
                      <a:ext uri="{FF2B5EF4-FFF2-40B4-BE49-F238E27FC236}">
                        <a16:creationId xmlns:a16="http://schemas.microsoft.com/office/drawing/2014/main" id="{0608BEA6-917F-486B-A55D-43869BE26CF6}"/>
                      </a:ext>
                    </a:extLst>
                  </p:cNvPr>
                  <p:cNvSpPr/>
                  <p:nvPr/>
                </p:nvSpPr>
                <p:spPr>
                  <a:xfrm>
                    <a:off x="5733199" y="5314330"/>
                    <a:ext cx="4067" cy="7954"/>
                  </a:xfrm>
                  <a:custGeom>
                    <a:avLst/>
                    <a:gdLst>
                      <a:gd name="connsiteX0" fmla="*/ 0 w 4067"/>
                      <a:gd name="connsiteY0" fmla="*/ 7954 h 7954"/>
                      <a:gd name="connsiteX1" fmla="*/ 120 w 4067"/>
                      <a:gd name="connsiteY1" fmla="*/ 7775 h 7954"/>
                      <a:gd name="connsiteX2" fmla="*/ 658 w 4067"/>
                      <a:gd name="connsiteY2" fmla="*/ 6639 h 7954"/>
                      <a:gd name="connsiteX3" fmla="*/ 2452 w 4067"/>
                      <a:gd name="connsiteY3" fmla="*/ 3110 h 7954"/>
                      <a:gd name="connsiteX4" fmla="*/ 3230 w 4067"/>
                      <a:gd name="connsiteY4" fmla="*/ 1615 h 7954"/>
                      <a:gd name="connsiteX5" fmla="*/ 3768 w 4067"/>
                      <a:gd name="connsiteY5" fmla="*/ 598 h 7954"/>
                      <a:gd name="connsiteX6" fmla="*/ 4067 w 4067"/>
                      <a:gd name="connsiteY6" fmla="*/ 0 h 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7" h="7954">
                        <a:moveTo>
                          <a:pt x="0" y="7954"/>
                        </a:moveTo>
                        <a:lnTo>
                          <a:pt x="120" y="7775"/>
                        </a:lnTo>
                        <a:lnTo>
                          <a:pt x="658" y="6639"/>
                        </a:lnTo>
                        <a:lnTo>
                          <a:pt x="2452" y="3110"/>
                        </a:lnTo>
                        <a:lnTo>
                          <a:pt x="3230" y="1615"/>
                        </a:lnTo>
                        <a:lnTo>
                          <a:pt x="3768" y="598"/>
                        </a:lnTo>
                        <a:lnTo>
                          <a:pt x="4067" y="0"/>
                        </a:lnTo>
                      </a:path>
                    </a:pathLst>
                  </a:custGeom>
                  <a:noFill/>
                  <a:ln w="6350" cap="flat">
                    <a:solidFill>
                      <a:schemeClr val="bg1">
                        <a:alpha val="40000"/>
                      </a:schemeClr>
                    </a:solidFill>
                    <a:prstDash val="solid"/>
                    <a:miter/>
                  </a:ln>
                </p:spPr>
                <p:txBody>
                  <a:bodyPr rtlCol="0" anchor="ctr"/>
                  <a:lstStyle/>
                  <a:p>
                    <a:endParaRPr lang="en-GB"/>
                  </a:p>
                </p:txBody>
              </p:sp>
              <p:sp>
                <p:nvSpPr>
                  <p:cNvPr id="7967" name="Vrije vorm: vorm 7966">
                    <a:extLst>
                      <a:ext uri="{FF2B5EF4-FFF2-40B4-BE49-F238E27FC236}">
                        <a16:creationId xmlns:a16="http://schemas.microsoft.com/office/drawing/2014/main" id="{352116A7-BB6C-4F2E-B30C-D2011E909181}"/>
                      </a:ext>
                    </a:extLst>
                  </p:cNvPr>
                  <p:cNvSpPr/>
                  <p:nvPr/>
                </p:nvSpPr>
                <p:spPr>
                  <a:xfrm>
                    <a:off x="5749886" y="5324856"/>
                    <a:ext cx="7475" cy="10705"/>
                  </a:xfrm>
                  <a:custGeom>
                    <a:avLst/>
                    <a:gdLst>
                      <a:gd name="connsiteX0" fmla="*/ 4665 w 7475"/>
                      <a:gd name="connsiteY0" fmla="*/ 10705 h 10705"/>
                      <a:gd name="connsiteX1" fmla="*/ 4785 w 7475"/>
                      <a:gd name="connsiteY1" fmla="*/ 10466 h 10705"/>
                      <a:gd name="connsiteX2" fmla="*/ 5024 w 7475"/>
                      <a:gd name="connsiteY2" fmla="*/ 9988 h 10705"/>
                      <a:gd name="connsiteX3" fmla="*/ 5323 w 7475"/>
                      <a:gd name="connsiteY3" fmla="*/ 9390 h 10705"/>
                      <a:gd name="connsiteX4" fmla="*/ 6698 w 7475"/>
                      <a:gd name="connsiteY4" fmla="*/ 6698 h 10705"/>
                      <a:gd name="connsiteX5" fmla="*/ 7416 w 7475"/>
                      <a:gd name="connsiteY5" fmla="*/ 5203 h 10705"/>
                      <a:gd name="connsiteX6" fmla="*/ 7476 w 7475"/>
                      <a:gd name="connsiteY6" fmla="*/ 5024 h 10705"/>
                      <a:gd name="connsiteX7" fmla="*/ 5143 w 7475"/>
                      <a:gd name="connsiteY7" fmla="*/ 3469 h 10705"/>
                      <a:gd name="connsiteX8" fmla="*/ 2811 w 7475"/>
                      <a:gd name="connsiteY8" fmla="*/ 1914 h 10705"/>
                      <a:gd name="connsiteX9" fmla="*/ 2333 w 7475"/>
                      <a:gd name="connsiteY9" fmla="*/ 1615 h 10705"/>
                      <a:gd name="connsiteX10" fmla="*/ 598 w 7475"/>
                      <a:gd name="connsiteY10" fmla="*/ 419 h 10705"/>
                      <a:gd name="connsiteX11" fmla="*/ 0 w 7475"/>
                      <a:gd name="connsiteY11" fmla="*/ 0 h 1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5" h="10705">
                        <a:moveTo>
                          <a:pt x="4665" y="10705"/>
                        </a:moveTo>
                        <a:lnTo>
                          <a:pt x="4785" y="10466"/>
                        </a:lnTo>
                        <a:lnTo>
                          <a:pt x="5024" y="9988"/>
                        </a:lnTo>
                        <a:lnTo>
                          <a:pt x="5323" y="9390"/>
                        </a:lnTo>
                        <a:lnTo>
                          <a:pt x="6698" y="6698"/>
                        </a:lnTo>
                        <a:lnTo>
                          <a:pt x="7416" y="5203"/>
                        </a:lnTo>
                        <a:lnTo>
                          <a:pt x="7476" y="5024"/>
                        </a:lnTo>
                        <a:lnTo>
                          <a:pt x="5143" y="3469"/>
                        </a:lnTo>
                        <a:lnTo>
                          <a:pt x="2811" y="1914"/>
                        </a:lnTo>
                        <a:lnTo>
                          <a:pt x="2333" y="1615"/>
                        </a:lnTo>
                        <a:lnTo>
                          <a:pt x="598" y="41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68" name="Vrije vorm: vorm 7967">
                    <a:extLst>
                      <a:ext uri="{FF2B5EF4-FFF2-40B4-BE49-F238E27FC236}">
                        <a16:creationId xmlns:a16="http://schemas.microsoft.com/office/drawing/2014/main" id="{883EA536-105C-4E93-86D2-186B0B8A8DE6}"/>
                      </a:ext>
                    </a:extLst>
                  </p:cNvPr>
                  <p:cNvSpPr/>
                  <p:nvPr/>
                </p:nvSpPr>
                <p:spPr>
                  <a:xfrm>
                    <a:off x="5753654" y="5318755"/>
                    <a:ext cx="7535" cy="4964"/>
                  </a:xfrm>
                  <a:custGeom>
                    <a:avLst/>
                    <a:gdLst>
                      <a:gd name="connsiteX0" fmla="*/ 7536 w 7535"/>
                      <a:gd name="connsiteY0" fmla="*/ 4964 h 4964"/>
                      <a:gd name="connsiteX1" fmla="*/ 5203 w 7535"/>
                      <a:gd name="connsiteY1" fmla="*/ 3409 h 4964"/>
                      <a:gd name="connsiteX2" fmla="*/ 4007 w 7535"/>
                      <a:gd name="connsiteY2" fmla="*/ 2632 h 4964"/>
                      <a:gd name="connsiteX3" fmla="*/ 1854 w 7535"/>
                      <a:gd name="connsiteY3" fmla="*/ 1196 h 4964"/>
                      <a:gd name="connsiteX4" fmla="*/ 1555 w 7535"/>
                      <a:gd name="connsiteY4" fmla="*/ 1017 h 4964"/>
                      <a:gd name="connsiteX5" fmla="*/ 598 w 7535"/>
                      <a:gd name="connsiteY5" fmla="*/ 419 h 4964"/>
                      <a:gd name="connsiteX6" fmla="*/ 0 w 7535"/>
                      <a:gd name="connsiteY6" fmla="*/ 0 h 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5" h="4964">
                        <a:moveTo>
                          <a:pt x="7536" y="4964"/>
                        </a:moveTo>
                        <a:lnTo>
                          <a:pt x="5203" y="3409"/>
                        </a:lnTo>
                        <a:lnTo>
                          <a:pt x="4007" y="2632"/>
                        </a:lnTo>
                        <a:lnTo>
                          <a:pt x="1854" y="1196"/>
                        </a:lnTo>
                        <a:lnTo>
                          <a:pt x="1555" y="1017"/>
                        </a:lnTo>
                        <a:lnTo>
                          <a:pt x="598" y="41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69" name="Vrije vorm: vorm 7968">
                    <a:extLst>
                      <a:ext uri="{FF2B5EF4-FFF2-40B4-BE49-F238E27FC236}">
                        <a16:creationId xmlns:a16="http://schemas.microsoft.com/office/drawing/2014/main" id="{296D07E5-861D-4C81-A020-34D64A07C6BA}"/>
                      </a:ext>
                    </a:extLst>
                  </p:cNvPr>
                  <p:cNvSpPr/>
                  <p:nvPr/>
                </p:nvSpPr>
                <p:spPr>
                  <a:xfrm>
                    <a:off x="5758797" y="5323779"/>
                    <a:ext cx="2810" cy="4724"/>
                  </a:xfrm>
                  <a:custGeom>
                    <a:avLst/>
                    <a:gdLst>
                      <a:gd name="connsiteX0" fmla="*/ 0 w 2810"/>
                      <a:gd name="connsiteY0" fmla="*/ 4725 h 4724"/>
                      <a:gd name="connsiteX1" fmla="*/ 120 w 2810"/>
                      <a:gd name="connsiteY1" fmla="*/ 4486 h 4724"/>
                      <a:gd name="connsiteX2" fmla="*/ 1914 w 2810"/>
                      <a:gd name="connsiteY2" fmla="*/ 957 h 4724"/>
                      <a:gd name="connsiteX3" fmla="*/ 2392 w 2810"/>
                      <a:gd name="connsiteY3" fmla="*/ 0 h 4724"/>
                      <a:gd name="connsiteX4" fmla="*/ 2691 w 2810"/>
                      <a:gd name="connsiteY4" fmla="*/ 60 h 4724"/>
                      <a:gd name="connsiteX5" fmla="*/ 2811 w 2810"/>
                      <a:gd name="connsiteY5" fmla="*/ 60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0" h="4724">
                        <a:moveTo>
                          <a:pt x="0" y="4725"/>
                        </a:moveTo>
                        <a:lnTo>
                          <a:pt x="120" y="4486"/>
                        </a:lnTo>
                        <a:lnTo>
                          <a:pt x="1914" y="957"/>
                        </a:lnTo>
                        <a:lnTo>
                          <a:pt x="2392" y="0"/>
                        </a:lnTo>
                        <a:lnTo>
                          <a:pt x="2691" y="60"/>
                        </a:lnTo>
                        <a:lnTo>
                          <a:pt x="2811" y="60"/>
                        </a:lnTo>
                      </a:path>
                    </a:pathLst>
                  </a:custGeom>
                  <a:noFill/>
                  <a:ln w="6350" cap="flat">
                    <a:solidFill>
                      <a:schemeClr val="bg1">
                        <a:alpha val="40000"/>
                      </a:schemeClr>
                    </a:solidFill>
                    <a:prstDash val="solid"/>
                    <a:miter/>
                  </a:ln>
                </p:spPr>
                <p:txBody>
                  <a:bodyPr rtlCol="0" anchor="ctr"/>
                  <a:lstStyle/>
                  <a:p>
                    <a:endParaRPr lang="en-GB"/>
                  </a:p>
                </p:txBody>
              </p:sp>
              <p:sp>
                <p:nvSpPr>
                  <p:cNvPr id="7970" name="Vrije vorm: vorm 7969">
                    <a:extLst>
                      <a:ext uri="{FF2B5EF4-FFF2-40B4-BE49-F238E27FC236}">
                        <a16:creationId xmlns:a16="http://schemas.microsoft.com/office/drawing/2014/main" id="{CF0E833F-02C9-41B7-8F27-DFDCFFBEA6DD}"/>
                      </a:ext>
                    </a:extLst>
                  </p:cNvPr>
                  <p:cNvSpPr/>
                  <p:nvPr/>
                </p:nvSpPr>
                <p:spPr>
                  <a:xfrm>
                    <a:off x="5571600" y="5354042"/>
                    <a:ext cx="1375" cy="2751"/>
                  </a:xfrm>
                  <a:custGeom>
                    <a:avLst/>
                    <a:gdLst>
                      <a:gd name="connsiteX0" fmla="*/ 1375 w 1375"/>
                      <a:gd name="connsiteY0" fmla="*/ 2751 h 2751"/>
                      <a:gd name="connsiteX1" fmla="*/ 299 w 1375"/>
                      <a:gd name="connsiteY1" fmla="*/ 2632 h 2751"/>
                      <a:gd name="connsiteX2" fmla="*/ 0 w 1375"/>
                      <a:gd name="connsiteY2" fmla="*/ 0 h 2751"/>
                    </a:gdLst>
                    <a:ahLst/>
                    <a:cxnLst>
                      <a:cxn ang="0">
                        <a:pos x="connsiteX0" y="connsiteY0"/>
                      </a:cxn>
                      <a:cxn ang="0">
                        <a:pos x="connsiteX1" y="connsiteY1"/>
                      </a:cxn>
                      <a:cxn ang="0">
                        <a:pos x="connsiteX2" y="connsiteY2"/>
                      </a:cxn>
                    </a:cxnLst>
                    <a:rect l="l" t="t" r="r" b="b"/>
                    <a:pathLst>
                      <a:path w="1375" h="2751">
                        <a:moveTo>
                          <a:pt x="1375" y="2751"/>
                        </a:moveTo>
                        <a:lnTo>
                          <a:pt x="299" y="2632"/>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71" name="Vrije vorm: vorm 7970">
                    <a:extLst>
                      <a:ext uri="{FF2B5EF4-FFF2-40B4-BE49-F238E27FC236}">
                        <a16:creationId xmlns:a16="http://schemas.microsoft.com/office/drawing/2014/main" id="{01DF61BB-1D34-4F5F-8EB1-17924CB8267C}"/>
                      </a:ext>
                    </a:extLst>
                  </p:cNvPr>
                  <p:cNvSpPr/>
                  <p:nvPr/>
                </p:nvSpPr>
                <p:spPr>
                  <a:xfrm>
                    <a:off x="5571062" y="5311758"/>
                    <a:ext cx="52391" cy="40967"/>
                  </a:xfrm>
                  <a:custGeom>
                    <a:avLst/>
                    <a:gdLst>
                      <a:gd name="connsiteX0" fmla="*/ 359 w 52391"/>
                      <a:gd name="connsiteY0" fmla="*/ 40968 h 40967"/>
                      <a:gd name="connsiteX1" fmla="*/ 0 w 52391"/>
                      <a:gd name="connsiteY1" fmla="*/ 37559 h 40967"/>
                      <a:gd name="connsiteX2" fmla="*/ 0 w 52391"/>
                      <a:gd name="connsiteY2" fmla="*/ 37320 h 40967"/>
                      <a:gd name="connsiteX3" fmla="*/ 957 w 52391"/>
                      <a:gd name="connsiteY3" fmla="*/ 35466 h 40967"/>
                      <a:gd name="connsiteX4" fmla="*/ 2751 w 52391"/>
                      <a:gd name="connsiteY4" fmla="*/ 31937 h 40967"/>
                      <a:gd name="connsiteX5" fmla="*/ 4545 w 52391"/>
                      <a:gd name="connsiteY5" fmla="*/ 28408 h 40967"/>
                      <a:gd name="connsiteX6" fmla="*/ 6340 w 52391"/>
                      <a:gd name="connsiteY6" fmla="*/ 24880 h 40967"/>
                      <a:gd name="connsiteX7" fmla="*/ 8134 w 52391"/>
                      <a:gd name="connsiteY7" fmla="*/ 21351 h 40967"/>
                      <a:gd name="connsiteX8" fmla="*/ 9928 w 52391"/>
                      <a:gd name="connsiteY8" fmla="*/ 17822 h 40967"/>
                      <a:gd name="connsiteX9" fmla="*/ 11722 w 52391"/>
                      <a:gd name="connsiteY9" fmla="*/ 14294 h 40967"/>
                      <a:gd name="connsiteX10" fmla="*/ 13516 w 52391"/>
                      <a:gd name="connsiteY10" fmla="*/ 10765 h 40967"/>
                      <a:gd name="connsiteX11" fmla="*/ 15311 w 52391"/>
                      <a:gd name="connsiteY11" fmla="*/ 7237 h 40967"/>
                      <a:gd name="connsiteX12" fmla="*/ 17105 w 52391"/>
                      <a:gd name="connsiteY12" fmla="*/ 3708 h 40967"/>
                      <a:gd name="connsiteX13" fmla="*/ 18720 w 52391"/>
                      <a:gd name="connsiteY13" fmla="*/ 538 h 40967"/>
                      <a:gd name="connsiteX14" fmla="*/ 19019 w 52391"/>
                      <a:gd name="connsiteY14" fmla="*/ 0 h 40967"/>
                      <a:gd name="connsiteX15" fmla="*/ 19198 w 52391"/>
                      <a:gd name="connsiteY15" fmla="*/ 180 h 40967"/>
                      <a:gd name="connsiteX16" fmla="*/ 21351 w 52391"/>
                      <a:gd name="connsiteY16" fmla="*/ 2034 h 40967"/>
                      <a:gd name="connsiteX17" fmla="*/ 23504 w 52391"/>
                      <a:gd name="connsiteY17" fmla="*/ 3888 h 40967"/>
                      <a:gd name="connsiteX18" fmla="*/ 25658 w 52391"/>
                      <a:gd name="connsiteY18" fmla="*/ 5742 h 40967"/>
                      <a:gd name="connsiteX19" fmla="*/ 27811 w 52391"/>
                      <a:gd name="connsiteY19" fmla="*/ 7596 h 40967"/>
                      <a:gd name="connsiteX20" fmla="*/ 28289 w 52391"/>
                      <a:gd name="connsiteY20" fmla="*/ 8014 h 40967"/>
                      <a:gd name="connsiteX21" fmla="*/ 29904 w 52391"/>
                      <a:gd name="connsiteY21" fmla="*/ 9390 h 40967"/>
                      <a:gd name="connsiteX22" fmla="*/ 30861 w 52391"/>
                      <a:gd name="connsiteY22" fmla="*/ 10227 h 40967"/>
                      <a:gd name="connsiteX23" fmla="*/ 32116 w 52391"/>
                      <a:gd name="connsiteY23" fmla="*/ 10825 h 40967"/>
                      <a:gd name="connsiteX24" fmla="*/ 32535 w 52391"/>
                      <a:gd name="connsiteY24" fmla="*/ 11005 h 40967"/>
                      <a:gd name="connsiteX25" fmla="*/ 33432 w 52391"/>
                      <a:gd name="connsiteY25" fmla="*/ 11423 h 40967"/>
                      <a:gd name="connsiteX26" fmla="*/ 34449 w 52391"/>
                      <a:gd name="connsiteY26" fmla="*/ 11902 h 40967"/>
                      <a:gd name="connsiteX27" fmla="*/ 37260 w 52391"/>
                      <a:gd name="connsiteY27" fmla="*/ 12380 h 40967"/>
                      <a:gd name="connsiteX28" fmla="*/ 40071 w 52391"/>
                      <a:gd name="connsiteY28" fmla="*/ 12859 h 40967"/>
                      <a:gd name="connsiteX29" fmla="*/ 42882 w 52391"/>
                      <a:gd name="connsiteY29" fmla="*/ 13337 h 40967"/>
                      <a:gd name="connsiteX30" fmla="*/ 44975 w 52391"/>
                      <a:gd name="connsiteY30" fmla="*/ 13696 h 40967"/>
                      <a:gd name="connsiteX31" fmla="*/ 46171 w 52391"/>
                      <a:gd name="connsiteY31" fmla="*/ 13875 h 40967"/>
                      <a:gd name="connsiteX32" fmla="*/ 47846 w 52391"/>
                      <a:gd name="connsiteY32" fmla="*/ 14174 h 40967"/>
                      <a:gd name="connsiteX33" fmla="*/ 49640 w 52391"/>
                      <a:gd name="connsiteY33" fmla="*/ 10646 h 40967"/>
                      <a:gd name="connsiteX34" fmla="*/ 51434 w 52391"/>
                      <a:gd name="connsiteY34" fmla="*/ 7117 h 40967"/>
                      <a:gd name="connsiteX35" fmla="*/ 51972 w 52391"/>
                      <a:gd name="connsiteY35" fmla="*/ 6041 h 40967"/>
                      <a:gd name="connsiteX36" fmla="*/ 52391 w 52391"/>
                      <a:gd name="connsiteY36" fmla="*/ 5143 h 40967"/>
                      <a:gd name="connsiteX37" fmla="*/ 50417 w 52391"/>
                      <a:gd name="connsiteY37" fmla="*/ 3529 h 4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2391" h="40967">
                        <a:moveTo>
                          <a:pt x="359" y="40968"/>
                        </a:moveTo>
                        <a:lnTo>
                          <a:pt x="0" y="37559"/>
                        </a:lnTo>
                        <a:lnTo>
                          <a:pt x="0" y="37320"/>
                        </a:lnTo>
                        <a:lnTo>
                          <a:pt x="957" y="35466"/>
                        </a:lnTo>
                        <a:lnTo>
                          <a:pt x="2751" y="31937"/>
                        </a:lnTo>
                        <a:lnTo>
                          <a:pt x="4545" y="28408"/>
                        </a:lnTo>
                        <a:lnTo>
                          <a:pt x="6340" y="24880"/>
                        </a:lnTo>
                        <a:lnTo>
                          <a:pt x="8134" y="21351"/>
                        </a:lnTo>
                        <a:lnTo>
                          <a:pt x="9928" y="17822"/>
                        </a:lnTo>
                        <a:lnTo>
                          <a:pt x="11722" y="14294"/>
                        </a:lnTo>
                        <a:lnTo>
                          <a:pt x="13516" y="10765"/>
                        </a:lnTo>
                        <a:lnTo>
                          <a:pt x="15311" y="7237"/>
                        </a:lnTo>
                        <a:lnTo>
                          <a:pt x="17105" y="3708"/>
                        </a:lnTo>
                        <a:lnTo>
                          <a:pt x="18720" y="538"/>
                        </a:lnTo>
                        <a:lnTo>
                          <a:pt x="19019" y="0"/>
                        </a:lnTo>
                        <a:lnTo>
                          <a:pt x="19198" y="180"/>
                        </a:lnTo>
                        <a:lnTo>
                          <a:pt x="21351" y="2034"/>
                        </a:lnTo>
                        <a:lnTo>
                          <a:pt x="23504" y="3888"/>
                        </a:lnTo>
                        <a:lnTo>
                          <a:pt x="25658" y="5742"/>
                        </a:lnTo>
                        <a:lnTo>
                          <a:pt x="27811" y="7596"/>
                        </a:lnTo>
                        <a:lnTo>
                          <a:pt x="28289" y="8014"/>
                        </a:lnTo>
                        <a:lnTo>
                          <a:pt x="29904" y="9390"/>
                        </a:lnTo>
                        <a:lnTo>
                          <a:pt x="30861" y="10227"/>
                        </a:lnTo>
                        <a:lnTo>
                          <a:pt x="32116" y="10825"/>
                        </a:lnTo>
                        <a:lnTo>
                          <a:pt x="32535" y="11005"/>
                        </a:lnTo>
                        <a:lnTo>
                          <a:pt x="33432" y="11423"/>
                        </a:lnTo>
                        <a:lnTo>
                          <a:pt x="34449" y="11902"/>
                        </a:lnTo>
                        <a:lnTo>
                          <a:pt x="37260" y="12380"/>
                        </a:lnTo>
                        <a:lnTo>
                          <a:pt x="40071" y="12859"/>
                        </a:lnTo>
                        <a:lnTo>
                          <a:pt x="42882" y="13337"/>
                        </a:lnTo>
                        <a:lnTo>
                          <a:pt x="44975" y="13696"/>
                        </a:lnTo>
                        <a:lnTo>
                          <a:pt x="46171" y="13875"/>
                        </a:lnTo>
                        <a:lnTo>
                          <a:pt x="47846" y="14174"/>
                        </a:lnTo>
                        <a:lnTo>
                          <a:pt x="49640" y="10646"/>
                        </a:lnTo>
                        <a:lnTo>
                          <a:pt x="51434" y="7117"/>
                        </a:lnTo>
                        <a:lnTo>
                          <a:pt x="51972" y="6041"/>
                        </a:lnTo>
                        <a:lnTo>
                          <a:pt x="52391" y="5143"/>
                        </a:lnTo>
                        <a:lnTo>
                          <a:pt x="50417" y="3529"/>
                        </a:lnTo>
                      </a:path>
                    </a:pathLst>
                  </a:custGeom>
                  <a:noFill/>
                  <a:ln w="6350" cap="flat">
                    <a:solidFill>
                      <a:schemeClr val="bg1">
                        <a:alpha val="40000"/>
                      </a:schemeClr>
                    </a:solidFill>
                    <a:prstDash val="solid"/>
                    <a:miter/>
                  </a:ln>
                </p:spPr>
                <p:txBody>
                  <a:bodyPr rtlCol="0" anchor="ctr"/>
                  <a:lstStyle/>
                  <a:p>
                    <a:endParaRPr lang="en-GB"/>
                  </a:p>
                </p:txBody>
              </p:sp>
              <p:sp>
                <p:nvSpPr>
                  <p:cNvPr id="7972" name="Vrije vorm: vorm 7971">
                    <a:extLst>
                      <a:ext uri="{FF2B5EF4-FFF2-40B4-BE49-F238E27FC236}">
                        <a16:creationId xmlns:a16="http://schemas.microsoft.com/office/drawing/2014/main" id="{C63120C5-1E60-4728-8355-A33357FCBB6C}"/>
                      </a:ext>
                    </a:extLst>
                  </p:cNvPr>
                  <p:cNvSpPr/>
                  <p:nvPr/>
                </p:nvSpPr>
                <p:spPr>
                  <a:xfrm>
                    <a:off x="5587987" y="5302787"/>
                    <a:ext cx="34867" cy="14891"/>
                  </a:xfrm>
                  <a:custGeom>
                    <a:avLst/>
                    <a:gdLst>
                      <a:gd name="connsiteX0" fmla="*/ 34868 w 34867"/>
                      <a:gd name="connsiteY0" fmla="*/ 14892 h 14891"/>
                      <a:gd name="connsiteX1" fmla="*/ 32057 w 34867"/>
                      <a:gd name="connsiteY1" fmla="*/ 14413 h 14891"/>
                      <a:gd name="connsiteX2" fmla="*/ 29246 w 34867"/>
                      <a:gd name="connsiteY2" fmla="*/ 13935 h 14891"/>
                      <a:gd name="connsiteX3" fmla="*/ 26435 w 34867"/>
                      <a:gd name="connsiteY3" fmla="*/ 13457 h 14891"/>
                      <a:gd name="connsiteX4" fmla="*/ 23624 w 34867"/>
                      <a:gd name="connsiteY4" fmla="*/ 12978 h 14891"/>
                      <a:gd name="connsiteX5" fmla="*/ 21530 w 34867"/>
                      <a:gd name="connsiteY5" fmla="*/ 12619 h 14891"/>
                      <a:gd name="connsiteX6" fmla="*/ 19019 w 34867"/>
                      <a:gd name="connsiteY6" fmla="*/ 11423 h 14891"/>
                      <a:gd name="connsiteX7" fmla="*/ 17942 w 34867"/>
                      <a:gd name="connsiteY7" fmla="*/ 10945 h 14891"/>
                      <a:gd name="connsiteX8" fmla="*/ 15789 w 34867"/>
                      <a:gd name="connsiteY8" fmla="*/ 9151 h 14891"/>
                      <a:gd name="connsiteX9" fmla="*/ 13995 w 34867"/>
                      <a:gd name="connsiteY9" fmla="*/ 7655 h 14891"/>
                      <a:gd name="connsiteX10" fmla="*/ 12500 w 34867"/>
                      <a:gd name="connsiteY10" fmla="*/ 6399 h 14891"/>
                      <a:gd name="connsiteX11" fmla="*/ 10347 w 34867"/>
                      <a:gd name="connsiteY11" fmla="*/ 4605 h 14891"/>
                      <a:gd name="connsiteX12" fmla="*/ 9808 w 34867"/>
                      <a:gd name="connsiteY12" fmla="*/ 4187 h 14891"/>
                      <a:gd name="connsiteX13" fmla="*/ 8791 w 34867"/>
                      <a:gd name="connsiteY13" fmla="*/ 3289 h 14891"/>
                      <a:gd name="connsiteX14" fmla="*/ 7715 w 34867"/>
                      <a:gd name="connsiteY14" fmla="*/ 2392 h 14891"/>
                      <a:gd name="connsiteX15" fmla="*/ 7356 w 34867"/>
                      <a:gd name="connsiteY15" fmla="*/ 2093 h 14891"/>
                      <a:gd name="connsiteX16" fmla="*/ 5203 w 34867"/>
                      <a:gd name="connsiteY16" fmla="*/ 299 h 14891"/>
                      <a:gd name="connsiteX17" fmla="*/ 5203 w 34867"/>
                      <a:gd name="connsiteY17" fmla="*/ 0 h 14891"/>
                      <a:gd name="connsiteX18" fmla="*/ 3409 w 34867"/>
                      <a:gd name="connsiteY18" fmla="*/ 3529 h 14891"/>
                      <a:gd name="connsiteX19" fmla="*/ 2033 w 34867"/>
                      <a:gd name="connsiteY19" fmla="*/ 6220 h 14891"/>
                      <a:gd name="connsiteX20" fmla="*/ 239 w 34867"/>
                      <a:gd name="connsiteY20" fmla="*/ 9749 h 14891"/>
                      <a:gd name="connsiteX21" fmla="*/ 0 w 34867"/>
                      <a:gd name="connsiteY21" fmla="*/ 10287 h 1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867" h="14891">
                        <a:moveTo>
                          <a:pt x="34868" y="14892"/>
                        </a:moveTo>
                        <a:lnTo>
                          <a:pt x="32057" y="14413"/>
                        </a:lnTo>
                        <a:lnTo>
                          <a:pt x="29246" y="13935"/>
                        </a:lnTo>
                        <a:lnTo>
                          <a:pt x="26435" y="13457"/>
                        </a:lnTo>
                        <a:lnTo>
                          <a:pt x="23624" y="12978"/>
                        </a:lnTo>
                        <a:lnTo>
                          <a:pt x="21530" y="12619"/>
                        </a:lnTo>
                        <a:lnTo>
                          <a:pt x="19019" y="11423"/>
                        </a:lnTo>
                        <a:lnTo>
                          <a:pt x="17942" y="10945"/>
                        </a:lnTo>
                        <a:lnTo>
                          <a:pt x="15789" y="9151"/>
                        </a:lnTo>
                        <a:lnTo>
                          <a:pt x="13995" y="7655"/>
                        </a:lnTo>
                        <a:lnTo>
                          <a:pt x="12500" y="6399"/>
                        </a:lnTo>
                        <a:lnTo>
                          <a:pt x="10347" y="4605"/>
                        </a:lnTo>
                        <a:lnTo>
                          <a:pt x="9808" y="4187"/>
                        </a:lnTo>
                        <a:lnTo>
                          <a:pt x="8791" y="3289"/>
                        </a:lnTo>
                        <a:lnTo>
                          <a:pt x="7715" y="2392"/>
                        </a:lnTo>
                        <a:lnTo>
                          <a:pt x="7356" y="2093"/>
                        </a:lnTo>
                        <a:lnTo>
                          <a:pt x="5203" y="299"/>
                        </a:lnTo>
                        <a:lnTo>
                          <a:pt x="5203" y="0"/>
                        </a:lnTo>
                        <a:lnTo>
                          <a:pt x="3409" y="3529"/>
                        </a:lnTo>
                        <a:lnTo>
                          <a:pt x="2033" y="6220"/>
                        </a:lnTo>
                        <a:lnTo>
                          <a:pt x="239" y="9749"/>
                        </a:lnTo>
                        <a:lnTo>
                          <a:pt x="0" y="10287"/>
                        </a:lnTo>
                      </a:path>
                    </a:pathLst>
                  </a:custGeom>
                  <a:noFill/>
                  <a:ln w="6350" cap="flat">
                    <a:solidFill>
                      <a:schemeClr val="bg1">
                        <a:alpha val="40000"/>
                      </a:schemeClr>
                    </a:solidFill>
                    <a:prstDash val="solid"/>
                    <a:miter/>
                  </a:ln>
                </p:spPr>
                <p:txBody>
                  <a:bodyPr rtlCol="0" anchor="ctr"/>
                  <a:lstStyle/>
                  <a:p>
                    <a:endParaRPr lang="en-GB"/>
                  </a:p>
                </p:txBody>
              </p:sp>
              <p:sp>
                <p:nvSpPr>
                  <p:cNvPr id="7973" name="Vrije vorm: vorm 7972">
                    <a:extLst>
                      <a:ext uri="{FF2B5EF4-FFF2-40B4-BE49-F238E27FC236}">
                        <a16:creationId xmlns:a16="http://schemas.microsoft.com/office/drawing/2014/main" id="{5E68361C-E637-4FFC-852F-BF8B09D4C6A9}"/>
                      </a:ext>
                    </a:extLst>
                  </p:cNvPr>
                  <p:cNvSpPr/>
                  <p:nvPr/>
                </p:nvSpPr>
                <p:spPr>
                  <a:xfrm>
                    <a:off x="5596420" y="5302607"/>
                    <a:ext cx="24461" cy="13636"/>
                  </a:xfrm>
                  <a:custGeom>
                    <a:avLst/>
                    <a:gdLst>
                      <a:gd name="connsiteX0" fmla="*/ 897 w 24461"/>
                      <a:gd name="connsiteY0" fmla="*/ 0 h 13636"/>
                      <a:gd name="connsiteX1" fmla="*/ 419 w 24461"/>
                      <a:gd name="connsiteY1" fmla="*/ 897 h 13636"/>
                      <a:gd name="connsiteX2" fmla="*/ 419 w 24461"/>
                      <a:gd name="connsiteY2" fmla="*/ 897 h 13636"/>
                      <a:gd name="connsiteX3" fmla="*/ 359 w 24461"/>
                      <a:gd name="connsiteY3" fmla="*/ 1017 h 13636"/>
                      <a:gd name="connsiteX4" fmla="*/ 0 w 24461"/>
                      <a:gd name="connsiteY4" fmla="*/ 1735 h 13636"/>
                      <a:gd name="connsiteX5" fmla="*/ 0 w 24461"/>
                      <a:gd name="connsiteY5" fmla="*/ 1735 h 13636"/>
                      <a:gd name="connsiteX6" fmla="*/ 1196 w 24461"/>
                      <a:gd name="connsiteY6" fmla="*/ 2751 h 13636"/>
                      <a:gd name="connsiteX7" fmla="*/ 3349 w 24461"/>
                      <a:gd name="connsiteY7" fmla="*/ 4545 h 13636"/>
                      <a:gd name="connsiteX8" fmla="*/ 3409 w 24461"/>
                      <a:gd name="connsiteY8" fmla="*/ 4545 h 13636"/>
                      <a:gd name="connsiteX9" fmla="*/ 4067 w 24461"/>
                      <a:gd name="connsiteY9" fmla="*/ 5084 h 13636"/>
                      <a:gd name="connsiteX10" fmla="*/ 5861 w 24461"/>
                      <a:gd name="connsiteY10" fmla="*/ 6579 h 13636"/>
                      <a:gd name="connsiteX11" fmla="*/ 8014 w 24461"/>
                      <a:gd name="connsiteY11" fmla="*/ 8373 h 13636"/>
                      <a:gd name="connsiteX12" fmla="*/ 10167 w 24461"/>
                      <a:gd name="connsiteY12" fmla="*/ 10167 h 13636"/>
                      <a:gd name="connsiteX13" fmla="*/ 10945 w 24461"/>
                      <a:gd name="connsiteY13" fmla="*/ 10825 h 13636"/>
                      <a:gd name="connsiteX14" fmla="*/ 12620 w 24461"/>
                      <a:gd name="connsiteY14" fmla="*/ 11603 h 13636"/>
                      <a:gd name="connsiteX15" fmla="*/ 15430 w 24461"/>
                      <a:gd name="connsiteY15" fmla="*/ 12081 h 13636"/>
                      <a:gd name="connsiteX16" fmla="*/ 18241 w 24461"/>
                      <a:gd name="connsiteY16" fmla="*/ 12560 h 13636"/>
                      <a:gd name="connsiteX17" fmla="*/ 21052 w 24461"/>
                      <a:gd name="connsiteY17" fmla="*/ 13038 h 13636"/>
                      <a:gd name="connsiteX18" fmla="*/ 23863 w 24461"/>
                      <a:gd name="connsiteY18" fmla="*/ 13516 h 13636"/>
                      <a:gd name="connsiteX19" fmla="*/ 24461 w 24461"/>
                      <a:gd name="connsiteY19" fmla="*/ 13636 h 1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461" h="13636">
                        <a:moveTo>
                          <a:pt x="897" y="0"/>
                        </a:moveTo>
                        <a:lnTo>
                          <a:pt x="419" y="897"/>
                        </a:lnTo>
                        <a:lnTo>
                          <a:pt x="419" y="897"/>
                        </a:lnTo>
                        <a:lnTo>
                          <a:pt x="359" y="1017"/>
                        </a:lnTo>
                        <a:lnTo>
                          <a:pt x="0" y="1735"/>
                        </a:lnTo>
                        <a:lnTo>
                          <a:pt x="0" y="1735"/>
                        </a:lnTo>
                        <a:lnTo>
                          <a:pt x="1196" y="2751"/>
                        </a:lnTo>
                        <a:lnTo>
                          <a:pt x="3349" y="4545"/>
                        </a:lnTo>
                        <a:lnTo>
                          <a:pt x="3409" y="4545"/>
                        </a:lnTo>
                        <a:lnTo>
                          <a:pt x="4067" y="5084"/>
                        </a:lnTo>
                        <a:lnTo>
                          <a:pt x="5861" y="6579"/>
                        </a:lnTo>
                        <a:lnTo>
                          <a:pt x="8014" y="8373"/>
                        </a:lnTo>
                        <a:lnTo>
                          <a:pt x="10167" y="10167"/>
                        </a:lnTo>
                        <a:lnTo>
                          <a:pt x="10945" y="10825"/>
                        </a:lnTo>
                        <a:lnTo>
                          <a:pt x="12620" y="11603"/>
                        </a:lnTo>
                        <a:lnTo>
                          <a:pt x="15430" y="12081"/>
                        </a:lnTo>
                        <a:lnTo>
                          <a:pt x="18241" y="12560"/>
                        </a:lnTo>
                        <a:lnTo>
                          <a:pt x="21052" y="13038"/>
                        </a:lnTo>
                        <a:lnTo>
                          <a:pt x="23863" y="13516"/>
                        </a:lnTo>
                        <a:lnTo>
                          <a:pt x="24461" y="13636"/>
                        </a:lnTo>
                      </a:path>
                    </a:pathLst>
                  </a:custGeom>
                  <a:noFill/>
                  <a:ln w="6350" cap="flat">
                    <a:solidFill>
                      <a:schemeClr val="bg1">
                        <a:alpha val="40000"/>
                      </a:schemeClr>
                    </a:solidFill>
                    <a:prstDash val="solid"/>
                    <a:miter/>
                  </a:ln>
                </p:spPr>
                <p:txBody>
                  <a:bodyPr rtlCol="0" anchor="ctr"/>
                  <a:lstStyle/>
                  <a:p>
                    <a:endParaRPr lang="en-GB"/>
                  </a:p>
                </p:txBody>
              </p:sp>
              <p:sp>
                <p:nvSpPr>
                  <p:cNvPr id="7974" name="Vrije vorm: vorm 7973">
                    <a:extLst>
                      <a:ext uri="{FF2B5EF4-FFF2-40B4-BE49-F238E27FC236}">
                        <a16:creationId xmlns:a16="http://schemas.microsoft.com/office/drawing/2014/main" id="{34D39614-9D79-49D8-A778-A32FC1E2D636}"/>
                      </a:ext>
                    </a:extLst>
                  </p:cNvPr>
                  <p:cNvSpPr/>
                  <p:nvPr/>
                </p:nvSpPr>
                <p:spPr>
                  <a:xfrm>
                    <a:off x="5593191" y="5302787"/>
                    <a:ext cx="3648" cy="717"/>
                  </a:xfrm>
                  <a:custGeom>
                    <a:avLst/>
                    <a:gdLst>
                      <a:gd name="connsiteX0" fmla="*/ 3648 w 3648"/>
                      <a:gd name="connsiteY0" fmla="*/ 718 h 717"/>
                      <a:gd name="connsiteX1" fmla="*/ 897 w 3648"/>
                      <a:gd name="connsiteY1" fmla="*/ 180 h 717"/>
                      <a:gd name="connsiteX2" fmla="*/ 0 w 3648"/>
                      <a:gd name="connsiteY2" fmla="*/ 0 h 717"/>
                      <a:gd name="connsiteX3" fmla="*/ 2751 w 3648"/>
                      <a:gd name="connsiteY3" fmla="*/ 538 h 717"/>
                      <a:gd name="connsiteX4" fmla="*/ 3648 w 3648"/>
                      <a:gd name="connsiteY4" fmla="*/ 718 h 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8" h="717">
                        <a:moveTo>
                          <a:pt x="3648" y="718"/>
                        </a:moveTo>
                        <a:lnTo>
                          <a:pt x="897" y="180"/>
                        </a:lnTo>
                        <a:lnTo>
                          <a:pt x="0" y="0"/>
                        </a:lnTo>
                        <a:lnTo>
                          <a:pt x="2751" y="538"/>
                        </a:lnTo>
                        <a:lnTo>
                          <a:pt x="3648" y="718"/>
                        </a:lnTo>
                      </a:path>
                    </a:pathLst>
                  </a:custGeom>
                  <a:noFill/>
                  <a:ln w="6350" cap="flat">
                    <a:solidFill>
                      <a:schemeClr val="bg1">
                        <a:alpha val="40000"/>
                      </a:schemeClr>
                    </a:solidFill>
                    <a:prstDash val="solid"/>
                    <a:miter/>
                  </a:ln>
                </p:spPr>
                <p:txBody>
                  <a:bodyPr rtlCol="0" anchor="ctr"/>
                  <a:lstStyle/>
                  <a:p>
                    <a:endParaRPr lang="en-GB"/>
                  </a:p>
                </p:txBody>
              </p:sp>
              <p:sp>
                <p:nvSpPr>
                  <p:cNvPr id="7975" name="Vrije vorm: vorm 7974">
                    <a:extLst>
                      <a:ext uri="{FF2B5EF4-FFF2-40B4-BE49-F238E27FC236}">
                        <a16:creationId xmlns:a16="http://schemas.microsoft.com/office/drawing/2014/main" id="{723A26A1-1EA3-4C70-9A8E-A4AC83849B75}"/>
                      </a:ext>
                    </a:extLst>
                  </p:cNvPr>
                  <p:cNvSpPr/>
                  <p:nvPr/>
                </p:nvSpPr>
                <p:spPr>
                  <a:xfrm>
                    <a:off x="5568789" y="5309067"/>
                    <a:ext cx="21351" cy="47606"/>
                  </a:xfrm>
                  <a:custGeom>
                    <a:avLst/>
                    <a:gdLst>
                      <a:gd name="connsiteX0" fmla="*/ 3110 w 21351"/>
                      <a:gd name="connsiteY0" fmla="*/ 47607 h 47606"/>
                      <a:gd name="connsiteX1" fmla="*/ 1076 w 21351"/>
                      <a:gd name="connsiteY1" fmla="*/ 45633 h 47606"/>
                      <a:gd name="connsiteX2" fmla="*/ 778 w 21351"/>
                      <a:gd name="connsiteY2" fmla="*/ 45334 h 47606"/>
                      <a:gd name="connsiteX3" fmla="*/ 419 w 21351"/>
                      <a:gd name="connsiteY3" fmla="*/ 41925 h 47606"/>
                      <a:gd name="connsiteX4" fmla="*/ 60 w 21351"/>
                      <a:gd name="connsiteY4" fmla="*/ 38516 h 47606"/>
                      <a:gd name="connsiteX5" fmla="*/ 0 w 21351"/>
                      <a:gd name="connsiteY5" fmla="*/ 37798 h 47606"/>
                      <a:gd name="connsiteX6" fmla="*/ 1794 w 21351"/>
                      <a:gd name="connsiteY6" fmla="*/ 34270 h 47606"/>
                      <a:gd name="connsiteX7" fmla="*/ 3589 w 21351"/>
                      <a:gd name="connsiteY7" fmla="*/ 30741 h 47606"/>
                      <a:gd name="connsiteX8" fmla="*/ 5383 w 21351"/>
                      <a:gd name="connsiteY8" fmla="*/ 27212 h 47606"/>
                      <a:gd name="connsiteX9" fmla="*/ 7177 w 21351"/>
                      <a:gd name="connsiteY9" fmla="*/ 23684 h 47606"/>
                      <a:gd name="connsiteX10" fmla="*/ 8971 w 21351"/>
                      <a:gd name="connsiteY10" fmla="*/ 20155 h 47606"/>
                      <a:gd name="connsiteX11" fmla="*/ 10765 w 21351"/>
                      <a:gd name="connsiteY11" fmla="*/ 16627 h 47606"/>
                      <a:gd name="connsiteX12" fmla="*/ 12560 w 21351"/>
                      <a:gd name="connsiteY12" fmla="*/ 13098 h 47606"/>
                      <a:gd name="connsiteX13" fmla="*/ 14354 w 21351"/>
                      <a:gd name="connsiteY13" fmla="*/ 9569 h 47606"/>
                      <a:gd name="connsiteX14" fmla="*/ 16148 w 21351"/>
                      <a:gd name="connsiteY14" fmla="*/ 6041 h 47606"/>
                      <a:gd name="connsiteX15" fmla="*/ 17823 w 21351"/>
                      <a:gd name="connsiteY15" fmla="*/ 2751 h 47606"/>
                      <a:gd name="connsiteX16" fmla="*/ 20693 w 21351"/>
                      <a:gd name="connsiteY16" fmla="*/ 479 h 47606"/>
                      <a:gd name="connsiteX17" fmla="*/ 21351 w 21351"/>
                      <a:gd name="connsiteY17" fmla="*/ 0 h 4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351" h="47606">
                        <a:moveTo>
                          <a:pt x="3110" y="47607"/>
                        </a:moveTo>
                        <a:lnTo>
                          <a:pt x="1076" y="45633"/>
                        </a:lnTo>
                        <a:lnTo>
                          <a:pt x="778" y="45334"/>
                        </a:lnTo>
                        <a:lnTo>
                          <a:pt x="419" y="41925"/>
                        </a:lnTo>
                        <a:lnTo>
                          <a:pt x="60" y="38516"/>
                        </a:lnTo>
                        <a:lnTo>
                          <a:pt x="0" y="37798"/>
                        </a:lnTo>
                        <a:lnTo>
                          <a:pt x="1794" y="34270"/>
                        </a:lnTo>
                        <a:lnTo>
                          <a:pt x="3589" y="30741"/>
                        </a:lnTo>
                        <a:lnTo>
                          <a:pt x="5383" y="27212"/>
                        </a:lnTo>
                        <a:lnTo>
                          <a:pt x="7177" y="23684"/>
                        </a:lnTo>
                        <a:lnTo>
                          <a:pt x="8971" y="20155"/>
                        </a:lnTo>
                        <a:lnTo>
                          <a:pt x="10765" y="16627"/>
                        </a:lnTo>
                        <a:lnTo>
                          <a:pt x="12560" y="13098"/>
                        </a:lnTo>
                        <a:lnTo>
                          <a:pt x="14354" y="9569"/>
                        </a:lnTo>
                        <a:lnTo>
                          <a:pt x="16148" y="6041"/>
                        </a:lnTo>
                        <a:lnTo>
                          <a:pt x="17823" y="2751"/>
                        </a:lnTo>
                        <a:lnTo>
                          <a:pt x="20693" y="479"/>
                        </a:lnTo>
                        <a:lnTo>
                          <a:pt x="21351" y="0"/>
                        </a:lnTo>
                      </a:path>
                    </a:pathLst>
                  </a:custGeom>
                  <a:noFill/>
                  <a:ln w="6350" cap="flat">
                    <a:solidFill>
                      <a:schemeClr val="bg1">
                        <a:alpha val="40000"/>
                      </a:schemeClr>
                    </a:solidFill>
                    <a:prstDash val="solid"/>
                    <a:miter/>
                  </a:ln>
                </p:spPr>
                <p:txBody>
                  <a:bodyPr rtlCol="0" anchor="ctr"/>
                  <a:lstStyle/>
                  <a:p>
                    <a:endParaRPr lang="en-GB"/>
                  </a:p>
                </p:txBody>
              </p:sp>
              <p:sp>
                <p:nvSpPr>
                  <p:cNvPr id="7976" name="Vrije vorm: vorm 7975">
                    <a:extLst>
                      <a:ext uri="{FF2B5EF4-FFF2-40B4-BE49-F238E27FC236}">
                        <a16:creationId xmlns:a16="http://schemas.microsoft.com/office/drawing/2014/main" id="{81DDFBA0-39FE-47B4-B2BB-FA7A38A27583}"/>
                      </a:ext>
                    </a:extLst>
                  </p:cNvPr>
                  <p:cNvSpPr/>
                  <p:nvPr/>
                </p:nvSpPr>
                <p:spPr>
                  <a:xfrm>
                    <a:off x="5593131" y="5323181"/>
                    <a:ext cx="11183" cy="16446"/>
                  </a:xfrm>
                  <a:custGeom>
                    <a:avLst/>
                    <a:gdLst>
                      <a:gd name="connsiteX0" fmla="*/ 11184 w 11183"/>
                      <a:gd name="connsiteY0" fmla="*/ 0 h 16446"/>
                      <a:gd name="connsiteX1" fmla="*/ 8672 w 11183"/>
                      <a:gd name="connsiteY1" fmla="*/ 2931 h 16446"/>
                      <a:gd name="connsiteX2" fmla="*/ 8373 w 11183"/>
                      <a:gd name="connsiteY2" fmla="*/ 3290 h 16446"/>
                      <a:gd name="connsiteX3" fmla="*/ 5861 w 11183"/>
                      <a:gd name="connsiteY3" fmla="*/ 6220 h 16446"/>
                      <a:gd name="connsiteX4" fmla="*/ 4187 w 11183"/>
                      <a:gd name="connsiteY4" fmla="*/ 8194 h 16446"/>
                      <a:gd name="connsiteX5" fmla="*/ 2392 w 11183"/>
                      <a:gd name="connsiteY5" fmla="*/ 11722 h 16446"/>
                      <a:gd name="connsiteX6" fmla="*/ 1495 w 11183"/>
                      <a:gd name="connsiteY6" fmla="*/ 13516 h 16446"/>
                      <a:gd name="connsiteX7" fmla="*/ 1076 w 11183"/>
                      <a:gd name="connsiteY7" fmla="*/ 14354 h 16446"/>
                      <a:gd name="connsiteX8" fmla="*/ 0 w 11183"/>
                      <a:gd name="connsiteY8" fmla="*/ 16447 h 1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83" h="16446">
                        <a:moveTo>
                          <a:pt x="11184" y="0"/>
                        </a:moveTo>
                        <a:lnTo>
                          <a:pt x="8672" y="2931"/>
                        </a:lnTo>
                        <a:lnTo>
                          <a:pt x="8373" y="3290"/>
                        </a:lnTo>
                        <a:lnTo>
                          <a:pt x="5861" y="6220"/>
                        </a:lnTo>
                        <a:lnTo>
                          <a:pt x="4187" y="8194"/>
                        </a:lnTo>
                        <a:lnTo>
                          <a:pt x="2392" y="11722"/>
                        </a:lnTo>
                        <a:lnTo>
                          <a:pt x="1495" y="13516"/>
                        </a:lnTo>
                        <a:lnTo>
                          <a:pt x="1076" y="14354"/>
                        </a:lnTo>
                        <a:lnTo>
                          <a:pt x="0" y="16447"/>
                        </a:lnTo>
                      </a:path>
                    </a:pathLst>
                  </a:custGeom>
                  <a:noFill/>
                  <a:ln w="6350" cap="flat">
                    <a:solidFill>
                      <a:schemeClr val="bg1">
                        <a:alpha val="40000"/>
                      </a:schemeClr>
                    </a:solidFill>
                    <a:prstDash val="solid"/>
                    <a:miter/>
                  </a:ln>
                </p:spPr>
                <p:txBody>
                  <a:bodyPr rtlCol="0" anchor="ctr"/>
                  <a:lstStyle/>
                  <a:p>
                    <a:endParaRPr lang="en-GB"/>
                  </a:p>
                </p:txBody>
              </p:sp>
              <p:sp>
                <p:nvSpPr>
                  <p:cNvPr id="7977" name="Vrije vorm: vorm 7976">
                    <a:extLst>
                      <a:ext uri="{FF2B5EF4-FFF2-40B4-BE49-F238E27FC236}">
                        <a16:creationId xmlns:a16="http://schemas.microsoft.com/office/drawing/2014/main" id="{FD22B2FD-1423-4F74-8673-2FD40E6CAC40}"/>
                      </a:ext>
                    </a:extLst>
                  </p:cNvPr>
                  <p:cNvSpPr/>
                  <p:nvPr/>
                </p:nvSpPr>
                <p:spPr>
                  <a:xfrm>
                    <a:off x="5576923" y="5338910"/>
                    <a:ext cx="31757" cy="36661"/>
                  </a:xfrm>
                  <a:custGeom>
                    <a:avLst/>
                    <a:gdLst>
                      <a:gd name="connsiteX0" fmla="*/ 29305 w 31757"/>
                      <a:gd name="connsiteY0" fmla="*/ 0 h 36661"/>
                      <a:gd name="connsiteX1" fmla="*/ 30980 w 31757"/>
                      <a:gd name="connsiteY1" fmla="*/ 2213 h 36661"/>
                      <a:gd name="connsiteX2" fmla="*/ 31099 w 31757"/>
                      <a:gd name="connsiteY2" fmla="*/ 2632 h 36661"/>
                      <a:gd name="connsiteX3" fmla="*/ 31578 w 31757"/>
                      <a:gd name="connsiteY3" fmla="*/ 4725 h 36661"/>
                      <a:gd name="connsiteX4" fmla="*/ 31758 w 31757"/>
                      <a:gd name="connsiteY4" fmla="*/ 5443 h 36661"/>
                      <a:gd name="connsiteX5" fmla="*/ 31638 w 31757"/>
                      <a:gd name="connsiteY5" fmla="*/ 7596 h 36661"/>
                      <a:gd name="connsiteX6" fmla="*/ 31578 w 31757"/>
                      <a:gd name="connsiteY6" fmla="*/ 8852 h 36661"/>
                      <a:gd name="connsiteX7" fmla="*/ 31578 w 31757"/>
                      <a:gd name="connsiteY7" fmla="*/ 8971 h 36661"/>
                      <a:gd name="connsiteX8" fmla="*/ 31578 w 31757"/>
                      <a:gd name="connsiteY8" fmla="*/ 9151 h 36661"/>
                      <a:gd name="connsiteX9" fmla="*/ 31578 w 31757"/>
                      <a:gd name="connsiteY9" fmla="*/ 9450 h 36661"/>
                      <a:gd name="connsiteX10" fmla="*/ 30621 w 31757"/>
                      <a:gd name="connsiteY10" fmla="*/ 13218 h 36661"/>
                      <a:gd name="connsiteX11" fmla="*/ 30382 w 31757"/>
                      <a:gd name="connsiteY11" fmla="*/ 14055 h 36661"/>
                      <a:gd name="connsiteX12" fmla="*/ 28946 w 31757"/>
                      <a:gd name="connsiteY12" fmla="*/ 17404 h 36661"/>
                      <a:gd name="connsiteX13" fmla="*/ 28827 w 31757"/>
                      <a:gd name="connsiteY13" fmla="*/ 17703 h 36661"/>
                      <a:gd name="connsiteX14" fmla="*/ 28349 w 31757"/>
                      <a:gd name="connsiteY14" fmla="*/ 18899 h 36661"/>
                      <a:gd name="connsiteX15" fmla="*/ 26315 w 31757"/>
                      <a:gd name="connsiteY15" fmla="*/ 22308 h 36661"/>
                      <a:gd name="connsiteX16" fmla="*/ 25657 w 31757"/>
                      <a:gd name="connsiteY16" fmla="*/ 23385 h 36661"/>
                      <a:gd name="connsiteX17" fmla="*/ 25537 w 31757"/>
                      <a:gd name="connsiteY17" fmla="*/ 23624 h 36661"/>
                      <a:gd name="connsiteX18" fmla="*/ 23145 w 31757"/>
                      <a:gd name="connsiteY18" fmla="*/ 26734 h 36661"/>
                      <a:gd name="connsiteX19" fmla="*/ 22188 w 31757"/>
                      <a:gd name="connsiteY19" fmla="*/ 27990 h 36661"/>
                      <a:gd name="connsiteX20" fmla="*/ 19497 w 31757"/>
                      <a:gd name="connsiteY20" fmla="*/ 30681 h 36661"/>
                      <a:gd name="connsiteX21" fmla="*/ 18480 w 31757"/>
                      <a:gd name="connsiteY21" fmla="*/ 31698 h 36661"/>
                      <a:gd name="connsiteX22" fmla="*/ 15610 w 31757"/>
                      <a:gd name="connsiteY22" fmla="*/ 33851 h 36661"/>
                      <a:gd name="connsiteX23" fmla="*/ 14712 w 31757"/>
                      <a:gd name="connsiteY23" fmla="*/ 34509 h 36661"/>
                      <a:gd name="connsiteX24" fmla="*/ 11662 w 31757"/>
                      <a:gd name="connsiteY24" fmla="*/ 35884 h 36661"/>
                      <a:gd name="connsiteX25" fmla="*/ 11064 w 31757"/>
                      <a:gd name="connsiteY25" fmla="*/ 36184 h 36661"/>
                      <a:gd name="connsiteX26" fmla="*/ 8074 w 31757"/>
                      <a:gd name="connsiteY26" fmla="*/ 36602 h 36661"/>
                      <a:gd name="connsiteX27" fmla="*/ 7835 w 31757"/>
                      <a:gd name="connsiteY27" fmla="*/ 36662 h 36661"/>
                      <a:gd name="connsiteX28" fmla="*/ 5203 w 31757"/>
                      <a:gd name="connsiteY28" fmla="*/ 35825 h 36661"/>
                      <a:gd name="connsiteX29" fmla="*/ 3170 w 31757"/>
                      <a:gd name="connsiteY29" fmla="*/ 33791 h 36661"/>
                      <a:gd name="connsiteX30" fmla="*/ 2751 w 31757"/>
                      <a:gd name="connsiteY30" fmla="*/ 33373 h 36661"/>
                      <a:gd name="connsiteX31" fmla="*/ 897 w 31757"/>
                      <a:gd name="connsiteY31" fmla="*/ 31279 h 36661"/>
                      <a:gd name="connsiteX32" fmla="*/ 0 w 31757"/>
                      <a:gd name="connsiteY32" fmla="*/ 28169 h 36661"/>
                      <a:gd name="connsiteX33" fmla="*/ 0 w 31757"/>
                      <a:gd name="connsiteY33" fmla="*/ 28109 h 36661"/>
                      <a:gd name="connsiteX34" fmla="*/ 119 w 31757"/>
                      <a:gd name="connsiteY34" fmla="*/ 24461 h 36661"/>
                      <a:gd name="connsiteX35" fmla="*/ 119 w 31757"/>
                      <a:gd name="connsiteY35" fmla="*/ 24043 h 36661"/>
                      <a:gd name="connsiteX36" fmla="*/ 478 w 31757"/>
                      <a:gd name="connsiteY36" fmla="*/ 22488 h 36661"/>
                      <a:gd name="connsiteX37" fmla="*/ 1256 w 31757"/>
                      <a:gd name="connsiteY37" fmla="*/ 19378 h 36661"/>
                      <a:gd name="connsiteX38" fmla="*/ 1615 w 31757"/>
                      <a:gd name="connsiteY38" fmla="*/ 18600 h 36661"/>
                      <a:gd name="connsiteX39" fmla="*/ 1674 w 31757"/>
                      <a:gd name="connsiteY39" fmla="*/ 18421 h 36661"/>
                      <a:gd name="connsiteX40" fmla="*/ 2572 w 31757"/>
                      <a:gd name="connsiteY40" fmla="*/ 16268 h 36661"/>
                      <a:gd name="connsiteX41" fmla="*/ 2751 w 31757"/>
                      <a:gd name="connsiteY41" fmla="*/ 15849 h 36661"/>
                      <a:gd name="connsiteX42" fmla="*/ 3349 w 31757"/>
                      <a:gd name="connsiteY42" fmla="*/ 14354 h 36661"/>
                      <a:gd name="connsiteX43" fmla="*/ 4007 w 31757"/>
                      <a:gd name="connsiteY43" fmla="*/ 13277 h 36661"/>
                      <a:gd name="connsiteX44" fmla="*/ 5382 w 31757"/>
                      <a:gd name="connsiteY44" fmla="*/ 11005 h 36661"/>
                      <a:gd name="connsiteX45" fmla="*/ 6280 w 31757"/>
                      <a:gd name="connsiteY45" fmla="*/ 9510 h 36661"/>
                      <a:gd name="connsiteX46" fmla="*/ 8672 w 31757"/>
                      <a:gd name="connsiteY46" fmla="*/ 6459 h 36661"/>
                      <a:gd name="connsiteX47" fmla="*/ 9748 w 31757"/>
                      <a:gd name="connsiteY47" fmla="*/ 5084 h 36661"/>
                      <a:gd name="connsiteX48" fmla="*/ 10347 w 31757"/>
                      <a:gd name="connsiteY48" fmla="*/ 4486 h 36661"/>
                      <a:gd name="connsiteX49" fmla="*/ 13038 w 31757"/>
                      <a:gd name="connsiteY49" fmla="*/ 1854 h 36661"/>
                      <a:gd name="connsiteX50" fmla="*/ 13576 w 31757"/>
                      <a:gd name="connsiteY50" fmla="*/ 1376 h 36661"/>
                      <a:gd name="connsiteX51" fmla="*/ 14354 w 31757"/>
                      <a:gd name="connsiteY51" fmla="*/ 837 h 36661"/>
                      <a:gd name="connsiteX52" fmla="*/ 14533 w 31757"/>
                      <a:gd name="connsiteY52" fmla="*/ 718 h 36661"/>
                      <a:gd name="connsiteX53" fmla="*/ 14533 w 31757"/>
                      <a:gd name="connsiteY53" fmla="*/ 718 h 36661"/>
                      <a:gd name="connsiteX54" fmla="*/ 14892 w 31757"/>
                      <a:gd name="connsiteY54" fmla="*/ 479 h 36661"/>
                      <a:gd name="connsiteX55" fmla="*/ 14892 w 31757"/>
                      <a:gd name="connsiteY55" fmla="*/ 479 h 3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1757" h="36661">
                        <a:moveTo>
                          <a:pt x="29305" y="0"/>
                        </a:moveTo>
                        <a:lnTo>
                          <a:pt x="30980" y="2213"/>
                        </a:lnTo>
                        <a:lnTo>
                          <a:pt x="31099" y="2632"/>
                        </a:lnTo>
                        <a:lnTo>
                          <a:pt x="31578" y="4725"/>
                        </a:lnTo>
                        <a:lnTo>
                          <a:pt x="31758" y="5443"/>
                        </a:lnTo>
                        <a:lnTo>
                          <a:pt x="31638" y="7596"/>
                        </a:lnTo>
                        <a:lnTo>
                          <a:pt x="31578" y="8852"/>
                        </a:lnTo>
                        <a:lnTo>
                          <a:pt x="31578" y="8971"/>
                        </a:lnTo>
                        <a:lnTo>
                          <a:pt x="31578" y="9151"/>
                        </a:lnTo>
                        <a:lnTo>
                          <a:pt x="31578" y="9450"/>
                        </a:lnTo>
                        <a:lnTo>
                          <a:pt x="30621" y="13218"/>
                        </a:lnTo>
                        <a:lnTo>
                          <a:pt x="30382" y="14055"/>
                        </a:lnTo>
                        <a:lnTo>
                          <a:pt x="28946" y="17404"/>
                        </a:lnTo>
                        <a:lnTo>
                          <a:pt x="28827" y="17703"/>
                        </a:lnTo>
                        <a:lnTo>
                          <a:pt x="28349" y="18899"/>
                        </a:lnTo>
                        <a:lnTo>
                          <a:pt x="26315" y="22308"/>
                        </a:lnTo>
                        <a:lnTo>
                          <a:pt x="25657" y="23385"/>
                        </a:lnTo>
                        <a:lnTo>
                          <a:pt x="25537" y="23624"/>
                        </a:lnTo>
                        <a:lnTo>
                          <a:pt x="23145" y="26734"/>
                        </a:lnTo>
                        <a:lnTo>
                          <a:pt x="22188" y="27990"/>
                        </a:lnTo>
                        <a:lnTo>
                          <a:pt x="19497" y="30681"/>
                        </a:lnTo>
                        <a:lnTo>
                          <a:pt x="18480" y="31698"/>
                        </a:lnTo>
                        <a:lnTo>
                          <a:pt x="15610" y="33851"/>
                        </a:lnTo>
                        <a:lnTo>
                          <a:pt x="14712" y="34509"/>
                        </a:lnTo>
                        <a:lnTo>
                          <a:pt x="11662" y="35884"/>
                        </a:lnTo>
                        <a:lnTo>
                          <a:pt x="11064" y="36184"/>
                        </a:lnTo>
                        <a:lnTo>
                          <a:pt x="8074" y="36602"/>
                        </a:lnTo>
                        <a:lnTo>
                          <a:pt x="7835" y="36662"/>
                        </a:lnTo>
                        <a:lnTo>
                          <a:pt x="5203" y="35825"/>
                        </a:lnTo>
                        <a:lnTo>
                          <a:pt x="3170" y="33791"/>
                        </a:lnTo>
                        <a:lnTo>
                          <a:pt x="2751" y="33373"/>
                        </a:lnTo>
                        <a:lnTo>
                          <a:pt x="897" y="31279"/>
                        </a:lnTo>
                        <a:lnTo>
                          <a:pt x="0" y="28169"/>
                        </a:lnTo>
                        <a:lnTo>
                          <a:pt x="0" y="28109"/>
                        </a:lnTo>
                        <a:lnTo>
                          <a:pt x="119" y="24461"/>
                        </a:lnTo>
                        <a:lnTo>
                          <a:pt x="119" y="24043"/>
                        </a:lnTo>
                        <a:lnTo>
                          <a:pt x="478" y="22488"/>
                        </a:lnTo>
                        <a:lnTo>
                          <a:pt x="1256" y="19378"/>
                        </a:lnTo>
                        <a:lnTo>
                          <a:pt x="1615" y="18600"/>
                        </a:lnTo>
                        <a:lnTo>
                          <a:pt x="1674" y="18421"/>
                        </a:lnTo>
                        <a:lnTo>
                          <a:pt x="2572" y="16268"/>
                        </a:lnTo>
                        <a:lnTo>
                          <a:pt x="2751" y="15849"/>
                        </a:lnTo>
                        <a:lnTo>
                          <a:pt x="3349" y="14354"/>
                        </a:lnTo>
                        <a:lnTo>
                          <a:pt x="4007" y="13277"/>
                        </a:lnTo>
                        <a:lnTo>
                          <a:pt x="5382" y="11005"/>
                        </a:lnTo>
                        <a:lnTo>
                          <a:pt x="6280" y="9510"/>
                        </a:lnTo>
                        <a:lnTo>
                          <a:pt x="8672" y="6459"/>
                        </a:lnTo>
                        <a:lnTo>
                          <a:pt x="9748" y="5084"/>
                        </a:lnTo>
                        <a:lnTo>
                          <a:pt x="10347" y="4486"/>
                        </a:lnTo>
                        <a:lnTo>
                          <a:pt x="13038" y="1854"/>
                        </a:lnTo>
                        <a:lnTo>
                          <a:pt x="13576" y="1376"/>
                        </a:lnTo>
                        <a:lnTo>
                          <a:pt x="14354" y="837"/>
                        </a:lnTo>
                        <a:lnTo>
                          <a:pt x="14533" y="718"/>
                        </a:lnTo>
                        <a:lnTo>
                          <a:pt x="14533" y="718"/>
                        </a:lnTo>
                        <a:lnTo>
                          <a:pt x="14892" y="479"/>
                        </a:lnTo>
                        <a:lnTo>
                          <a:pt x="14892" y="479"/>
                        </a:lnTo>
                      </a:path>
                    </a:pathLst>
                  </a:custGeom>
                  <a:noFill/>
                  <a:ln w="6350" cap="flat">
                    <a:solidFill>
                      <a:schemeClr val="bg1">
                        <a:alpha val="40000"/>
                      </a:schemeClr>
                    </a:solidFill>
                    <a:prstDash val="solid"/>
                    <a:miter/>
                  </a:ln>
                </p:spPr>
                <p:txBody>
                  <a:bodyPr rtlCol="0" anchor="ctr"/>
                  <a:lstStyle/>
                  <a:p>
                    <a:endParaRPr lang="en-GB"/>
                  </a:p>
                </p:txBody>
              </p:sp>
              <p:sp>
                <p:nvSpPr>
                  <p:cNvPr id="7978" name="Vrije vorm: vorm 7977">
                    <a:extLst>
                      <a:ext uri="{FF2B5EF4-FFF2-40B4-BE49-F238E27FC236}">
                        <a16:creationId xmlns:a16="http://schemas.microsoft.com/office/drawing/2014/main" id="{4D04AE48-388B-4F30-ABD5-25BD63F3AE65}"/>
                      </a:ext>
                    </a:extLst>
                  </p:cNvPr>
                  <p:cNvSpPr/>
                  <p:nvPr/>
                </p:nvSpPr>
                <p:spPr>
                  <a:xfrm>
                    <a:off x="5579196" y="5337894"/>
                    <a:ext cx="27032" cy="36601"/>
                  </a:xfrm>
                  <a:custGeom>
                    <a:avLst/>
                    <a:gdLst>
                      <a:gd name="connsiteX0" fmla="*/ 27033 w 27032"/>
                      <a:gd name="connsiteY0" fmla="*/ 1017 h 36601"/>
                      <a:gd name="connsiteX1" fmla="*/ 24521 w 27032"/>
                      <a:gd name="connsiteY1" fmla="*/ 0 h 36601"/>
                      <a:gd name="connsiteX2" fmla="*/ 21531 w 27032"/>
                      <a:gd name="connsiteY2" fmla="*/ 239 h 36601"/>
                      <a:gd name="connsiteX3" fmla="*/ 21291 w 27032"/>
                      <a:gd name="connsiteY3" fmla="*/ 239 h 36601"/>
                      <a:gd name="connsiteX4" fmla="*/ 18361 w 27032"/>
                      <a:gd name="connsiteY4" fmla="*/ 1435 h 36601"/>
                      <a:gd name="connsiteX5" fmla="*/ 17583 w 27032"/>
                      <a:gd name="connsiteY5" fmla="*/ 1734 h 36601"/>
                      <a:gd name="connsiteX6" fmla="*/ 17045 w 27032"/>
                      <a:gd name="connsiteY6" fmla="*/ 2093 h 36601"/>
                      <a:gd name="connsiteX7" fmla="*/ 16985 w 27032"/>
                      <a:gd name="connsiteY7" fmla="*/ 2153 h 36601"/>
                      <a:gd name="connsiteX8" fmla="*/ 14414 w 27032"/>
                      <a:gd name="connsiteY8" fmla="*/ 3947 h 36601"/>
                      <a:gd name="connsiteX9" fmla="*/ 13696 w 27032"/>
                      <a:gd name="connsiteY9" fmla="*/ 4426 h 36601"/>
                      <a:gd name="connsiteX10" fmla="*/ 12201 w 27032"/>
                      <a:gd name="connsiteY10" fmla="*/ 5861 h 36601"/>
                      <a:gd name="connsiteX11" fmla="*/ 9868 w 27032"/>
                      <a:gd name="connsiteY11" fmla="*/ 8134 h 36601"/>
                      <a:gd name="connsiteX12" fmla="*/ 7596 w 27032"/>
                      <a:gd name="connsiteY12" fmla="*/ 11005 h 36601"/>
                      <a:gd name="connsiteX13" fmla="*/ 6340 w 27032"/>
                      <a:gd name="connsiteY13" fmla="*/ 12559 h 36601"/>
                      <a:gd name="connsiteX14" fmla="*/ 4306 w 27032"/>
                      <a:gd name="connsiteY14" fmla="*/ 15968 h 36601"/>
                      <a:gd name="connsiteX15" fmla="*/ 3708 w 27032"/>
                      <a:gd name="connsiteY15" fmla="*/ 16985 h 36601"/>
                      <a:gd name="connsiteX16" fmla="*/ 3409 w 27032"/>
                      <a:gd name="connsiteY16" fmla="*/ 17464 h 36601"/>
                      <a:gd name="connsiteX17" fmla="*/ 2751 w 27032"/>
                      <a:gd name="connsiteY17" fmla="*/ 18959 h 36601"/>
                      <a:gd name="connsiteX18" fmla="*/ 2034 w 27032"/>
                      <a:gd name="connsiteY18" fmla="*/ 20634 h 36601"/>
                      <a:gd name="connsiteX19" fmla="*/ 1256 w 27032"/>
                      <a:gd name="connsiteY19" fmla="*/ 22428 h 36601"/>
                      <a:gd name="connsiteX20" fmla="*/ 479 w 27032"/>
                      <a:gd name="connsiteY20" fmla="*/ 25598 h 36601"/>
                      <a:gd name="connsiteX21" fmla="*/ 120 w 27032"/>
                      <a:gd name="connsiteY21" fmla="*/ 27152 h 36601"/>
                      <a:gd name="connsiteX22" fmla="*/ 0 w 27032"/>
                      <a:gd name="connsiteY22" fmla="*/ 30801 h 36601"/>
                      <a:gd name="connsiteX23" fmla="*/ 0 w 27032"/>
                      <a:gd name="connsiteY23" fmla="*/ 31279 h 36601"/>
                      <a:gd name="connsiteX24" fmla="*/ 897 w 27032"/>
                      <a:gd name="connsiteY24" fmla="*/ 34449 h 36601"/>
                      <a:gd name="connsiteX25" fmla="*/ 897 w 27032"/>
                      <a:gd name="connsiteY25" fmla="*/ 34509 h 36601"/>
                      <a:gd name="connsiteX26" fmla="*/ 2751 w 27032"/>
                      <a:gd name="connsiteY26" fmla="*/ 36602 h 3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032" h="36601">
                        <a:moveTo>
                          <a:pt x="27033" y="1017"/>
                        </a:moveTo>
                        <a:lnTo>
                          <a:pt x="24521" y="0"/>
                        </a:lnTo>
                        <a:lnTo>
                          <a:pt x="21531" y="239"/>
                        </a:lnTo>
                        <a:lnTo>
                          <a:pt x="21291" y="239"/>
                        </a:lnTo>
                        <a:lnTo>
                          <a:pt x="18361" y="1435"/>
                        </a:lnTo>
                        <a:lnTo>
                          <a:pt x="17583" y="1734"/>
                        </a:lnTo>
                        <a:lnTo>
                          <a:pt x="17045" y="2093"/>
                        </a:lnTo>
                        <a:lnTo>
                          <a:pt x="16985" y="2153"/>
                        </a:lnTo>
                        <a:lnTo>
                          <a:pt x="14414" y="3947"/>
                        </a:lnTo>
                        <a:lnTo>
                          <a:pt x="13696" y="4426"/>
                        </a:lnTo>
                        <a:lnTo>
                          <a:pt x="12201" y="5861"/>
                        </a:lnTo>
                        <a:lnTo>
                          <a:pt x="9868" y="8134"/>
                        </a:lnTo>
                        <a:lnTo>
                          <a:pt x="7596" y="11005"/>
                        </a:lnTo>
                        <a:lnTo>
                          <a:pt x="6340" y="12559"/>
                        </a:lnTo>
                        <a:lnTo>
                          <a:pt x="4306" y="15968"/>
                        </a:lnTo>
                        <a:lnTo>
                          <a:pt x="3708" y="16985"/>
                        </a:lnTo>
                        <a:lnTo>
                          <a:pt x="3409" y="17464"/>
                        </a:lnTo>
                        <a:lnTo>
                          <a:pt x="2751" y="18959"/>
                        </a:lnTo>
                        <a:lnTo>
                          <a:pt x="2034" y="20634"/>
                        </a:lnTo>
                        <a:lnTo>
                          <a:pt x="1256" y="22428"/>
                        </a:lnTo>
                        <a:lnTo>
                          <a:pt x="479" y="25598"/>
                        </a:lnTo>
                        <a:lnTo>
                          <a:pt x="120" y="27152"/>
                        </a:lnTo>
                        <a:lnTo>
                          <a:pt x="0" y="30801"/>
                        </a:lnTo>
                        <a:lnTo>
                          <a:pt x="0" y="31279"/>
                        </a:lnTo>
                        <a:lnTo>
                          <a:pt x="897" y="34449"/>
                        </a:lnTo>
                        <a:lnTo>
                          <a:pt x="897" y="34509"/>
                        </a:lnTo>
                        <a:lnTo>
                          <a:pt x="2751" y="36602"/>
                        </a:lnTo>
                      </a:path>
                    </a:pathLst>
                  </a:custGeom>
                  <a:noFill/>
                  <a:ln w="6350" cap="flat">
                    <a:solidFill>
                      <a:schemeClr val="bg1">
                        <a:alpha val="40000"/>
                      </a:schemeClr>
                    </a:solidFill>
                    <a:prstDash val="solid"/>
                    <a:miter/>
                  </a:ln>
                </p:spPr>
                <p:txBody>
                  <a:bodyPr rtlCol="0" anchor="ctr"/>
                  <a:lstStyle/>
                  <a:p>
                    <a:endParaRPr lang="en-GB"/>
                  </a:p>
                </p:txBody>
              </p:sp>
              <p:sp>
                <p:nvSpPr>
                  <p:cNvPr id="7979" name="Vrije vorm: vorm 7978">
                    <a:extLst>
                      <a:ext uri="{FF2B5EF4-FFF2-40B4-BE49-F238E27FC236}">
                        <a16:creationId xmlns:a16="http://schemas.microsoft.com/office/drawing/2014/main" id="{48824EA1-3D60-4AB2-A38D-DD4270F90175}"/>
                      </a:ext>
                    </a:extLst>
                  </p:cNvPr>
                  <p:cNvSpPr/>
                  <p:nvPr/>
                </p:nvSpPr>
                <p:spPr>
                  <a:xfrm>
                    <a:off x="5595104" y="5356912"/>
                    <a:ext cx="9389" cy="12380"/>
                  </a:xfrm>
                  <a:custGeom>
                    <a:avLst/>
                    <a:gdLst>
                      <a:gd name="connsiteX0" fmla="*/ 9390 w 9389"/>
                      <a:gd name="connsiteY0" fmla="*/ 0 h 12380"/>
                      <a:gd name="connsiteX1" fmla="*/ 8851 w 9389"/>
                      <a:gd name="connsiteY1" fmla="*/ 1256 h 12380"/>
                      <a:gd name="connsiteX2" fmla="*/ 7895 w 9389"/>
                      <a:gd name="connsiteY2" fmla="*/ 2930 h 12380"/>
                      <a:gd name="connsiteX3" fmla="*/ 8373 w 9389"/>
                      <a:gd name="connsiteY3" fmla="*/ 3409 h 12380"/>
                      <a:gd name="connsiteX4" fmla="*/ 7296 w 9389"/>
                      <a:gd name="connsiteY4" fmla="*/ 5263 h 12380"/>
                      <a:gd name="connsiteX5" fmla="*/ 7117 w 9389"/>
                      <a:gd name="connsiteY5" fmla="*/ 5622 h 12380"/>
                      <a:gd name="connsiteX6" fmla="*/ 4725 w 9389"/>
                      <a:gd name="connsiteY6" fmla="*/ 8732 h 12380"/>
                      <a:gd name="connsiteX7" fmla="*/ 4366 w 9389"/>
                      <a:gd name="connsiteY7" fmla="*/ 9211 h 12380"/>
                      <a:gd name="connsiteX8" fmla="*/ 2632 w 9389"/>
                      <a:gd name="connsiteY8" fmla="*/ 10945 h 12380"/>
                      <a:gd name="connsiteX9" fmla="*/ 2153 w 9389"/>
                      <a:gd name="connsiteY9" fmla="*/ 10466 h 12380"/>
                      <a:gd name="connsiteX10" fmla="*/ 897 w 9389"/>
                      <a:gd name="connsiteY10" fmla="*/ 11722 h 12380"/>
                      <a:gd name="connsiteX11" fmla="*/ 0 w 9389"/>
                      <a:gd name="connsiteY11" fmla="*/ 12380 h 1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89" h="12380">
                        <a:moveTo>
                          <a:pt x="9390" y="0"/>
                        </a:moveTo>
                        <a:lnTo>
                          <a:pt x="8851" y="1256"/>
                        </a:lnTo>
                        <a:lnTo>
                          <a:pt x="7895" y="2930"/>
                        </a:lnTo>
                        <a:lnTo>
                          <a:pt x="8373" y="3409"/>
                        </a:lnTo>
                        <a:lnTo>
                          <a:pt x="7296" y="5263"/>
                        </a:lnTo>
                        <a:lnTo>
                          <a:pt x="7117" y="5622"/>
                        </a:lnTo>
                        <a:lnTo>
                          <a:pt x="4725" y="8732"/>
                        </a:lnTo>
                        <a:lnTo>
                          <a:pt x="4366" y="9211"/>
                        </a:lnTo>
                        <a:lnTo>
                          <a:pt x="2632" y="10945"/>
                        </a:lnTo>
                        <a:lnTo>
                          <a:pt x="2153" y="10466"/>
                        </a:lnTo>
                        <a:lnTo>
                          <a:pt x="897" y="11722"/>
                        </a:lnTo>
                        <a:lnTo>
                          <a:pt x="0" y="12380"/>
                        </a:lnTo>
                      </a:path>
                    </a:pathLst>
                  </a:custGeom>
                  <a:noFill/>
                  <a:ln w="6350" cap="flat">
                    <a:solidFill>
                      <a:schemeClr val="bg1">
                        <a:alpha val="40000"/>
                      </a:schemeClr>
                    </a:solidFill>
                    <a:prstDash val="solid"/>
                    <a:miter/>
                  </a:ln>
                </p:spPr>
                <p:txBody>
                  <a:bodyPr rtlCol="0" anchor="ctr"/>
                  <a:lstStyle/>
                  <a:p>
                    <a:endParaRPr lang="en-GB"/>
                  </a:p>
                </p:txBody>
              </p:sp>
              <p:sp>
                <p:nvSpPr>
                  <p:cNvPr id="7980" name="Vrije vorm: vorm 7979">
                    <a:extLst>
                      <a:ext uri="{FF2B5EF4-FFF2-40B4-BE49-F238E27FC236}">
                        <a16:creationId xmlns:a16="http://schemas.microsoft.com/office/drawing/2014/main" id="{E8688B3C-3A90-4197-A19B-DA920A021D8F}"/>
                      </a:ext>
                    </a:extLst>
                  </p:cNvPr>
                  <p:cNvSpPr/>
                  <p:nvPr/>
                </p:nvSpPr>
                <p:spPr>
                  <a:xfrm>
                    <a:off x="5588705" y="5361876"/>
                    <a:ext cx="8432" cy="11124"/>
                  </a:xfrm>
                  <a:custGeom>
                    <a:avLst/>
                    <a:gdLst>
                      <a:gd name="connsiteX0" fmla="*/ 8433 w 8432"/>
                      <a:gd name="connsiteY0" fmla="*/ 0 h 11124"/>
                      <a:gd name="connsiteX1" fmla="*/ 8014 w 8432"/>
                      <a:gd name="connsiteY1" fmla="*/ 359 h 11124"/>
                      <a:gd name="connsiteX2" fmla="*/ 5861 w 8432"/>
                      <a:gd name="connsiteY2" fmla="*/ 2213 h 11124"/>
                      <a:gd name="connsiteX3" fmla="*/ 6041 w 8432"/>
                      <a:gd name="connsiteY3" fmla="*/ 4426 h 11124"/>
                      <a:gd name="connsiteX4" fmla="*/ 6220 w 8432"/>
                      <a:gd name="connsiteY4" fmla="*/ 6220 h 11124"/>
                      <a:gd name="connsiteX5" fmla="*/ 6340 w 8432"/>
                      <a:gd name="connsiteY5" fmla="*/ 7416 h 11124"/>
                      <a:gd name="connsiteX6" fmla="*/ 6399 w 8432"/>
                      <a:gd name="connsiteY6" fmla="*/ 8194 h 11124"/>
                      <a:gd name="connsiteX7" fmla="*/ 4605 w 8432"/>
                      <a:gd name="connsiteY7" fmla="*/ 9509 h 11124"/>
                      <a:gd name="connsiteX8" fmla="*/ 1615 w 8432"/>
                      <a:gd name="connsiteY8" fmla="*/ 10885 h 11124"/>
                      <a:gd name="connsiteX9" fmla="*/ 0 w 8432"/>
                      <a:gd name="connsiteY9" fmla="*/ 11124 h 11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32" h="11124">
                        <a:moveTo>
                          <a:pt x="8433" y="0"/>
                        </a:moveTo>
                        <a:lnTo>
                          <a:pt x="8014" y="359"/>
                        </a:lnTo>
                        <a:lnTo>
                          <a:pt x="5861" y="2213"/>
                        </a:lnTo>
                        <a:lnTo>
                          <a:pt x="6041" y="4426"/>
                        </a:lnTo>
                        <a:lnTo>
                          <a:pt x="6220" y="6220"/>
                        </a:lnTo>
                        <a:lnTo>
                          <a:pt x="6340" y="7416"/>
                        </a:lnTo>
                        <a:lnTo>
                          <a:pt x="6399" y="8194"/>
                        </a:lnTo>
                        <a:lnTo>
                          <a:pt x="4605" y="9509"/>
                        </a:lnTo>
                        <a:lnTo>
                          <a:pt x="1615" y="10885"/>
                        </a:lnTo>
                        <a:lnTo>
                          <a:pt x="0" y="11124"/>
                        </a:lnTo>
                      </a:path>
                    </a:pathLst>
                  </a:custGeom>
                  <a:noFill/>
                  <a:ln w="6350" cap="flat">
                    <a:solidFill>
                      <a:schemeClr val="bg1">
                        <a:alpha val="40000"/>
                      </a:schemeClr>
                    </a:solidFill>
                    <a:prstDash val="solid"/>
                    <a:miter/>
                  </a:ln>
                </p:spPr>
                <p:txBody>
                  <a:bodyPr rtlCol="0" anchor="ctr"/>
                  <a:lstStyle/>
                  <a:p>
                    <a:endParaRPr lang="en-GB"/>
                  </a:p>
                </p:txBody>
              </p:sp>
              <p:sp>
                <p:nvSpPr>
                  <p:cNvPr id="7981" name="Vrije vorm: vorm 7980">
                    <a:extLst>
                      <a:ext uri="{FF2B5EF4-FFF2-40B4-BE49-F238E27FC236}">
                        <a16:creationId xmlns:a16="http://schemas.microsoft.com/office/drawing/2014/main" id="{2EC33403-AB9D-4548-9223-B17DB2FE2CAF}"/>
                      </a:ext>
                    </a:extLst>
                  </p:cNvPr>
                  <p:cNvSpPr/>
                  <p:nvPr/>
                </p:nvSpPr>
                <p:spPr>
                  <a:xfrm>
                    <a:off x="5584279" y="5364747"/>
                    <a:ext cx="8492" cy="8253"/>
                  </a:xfrm>
                  <a:custGeom>
                    <a:avLst/>
                    <a:gdLst>
                      <a:gd name="connsiteX0" fmla="*/ 0 w 8492"/>
                      <a:gd name="connsiteY0" fmla="*/ 6459 h 8253"/>
                      <a:gd name="connsiteX1" fmla="*/ 1196 w 8492"/>
                      <a:gd name="connsiteY1" fmla="*/ 7655 h 8253"/>
                      <a:gd name="connsiteX2" fmla="*/ 1316 w 8492"/>
                      <a:gd name="connsiteY2" fmla="*/ 7715 h 8253"/>
                      <a:gd name="connsiteX3" fmla="*/ 2512 w 8492"/>
                      <a:gd name="connsiteY3" fmla="*/ 8074 h 8253"/>
                      <a:gd name="connsiteX4" fmla="*/ 2632 w 8492"/>
                      <a:gd name="connsiteY4" fmla="*/ 7775 h 8253"/>
                      <a:gd name="connsiteX5" fmla="*/ 3050 w 8492"/>
                      <a:gd name="connsiteY5" fmla="*/ 6998 h 8253"/>
                      <a:gd name="connsiteX6" fmla="*/ 3110 w 8492"/>
                      <a:gd name="connsiteY6" fmla="*/ 6878 h 8253"/>
                      <a:gd name="connsiteX7" fmla="*/ 4904 w 8492"/>
                      <a:gd name="connsiteY7" fmla="*/ 3349 h 8253"/>
                      <a:gd name="connsiteX8" fmla="*/ 6160 w 8492"/>
                      <a:gd name="connsiteY8" fmla="*/ 957 h 8253"/>
                      <a:gd name="connsiteX9" fmla="*/ 6160 w 8492"/>
                      <a:gd name="connsiteY9" fmla="*/ 957 h 8253"/>
                      <a:gd name="connsiteX10" fmla="*/ 6639 w 8492"/>
                      <a:gd name="connsiteY10" fmla="*/ 0 h 8253"/>
                      <a:gd name="connsiteX11" fmla="*/ 7416 w 8492"/>
                      <a:gd name="connsiteY11" fmla="*/ 60 h 8253"/>
                      <a:gd name="connsiteX12" fmla="*/ 7416 w 8492"/>
                      <a:gd name="connsiteY12" fmla="*/ 60 h 8253"/>
                      <a:gd name="connsiteX13" fmla="*/ 7775 w 8492"/>
                      <a:gd name="connsiteY13" fmla="*/ 120 h 8253"/>
                      <a:gd name="connsiteX14" fmla="*/ 8493 w 8492"/>
                      <a:gd name="connsiteY14" fmla="*/ 180 h 8253"/>
                      <a:gd name="connsiteX15" fmla="*/ 6698 w 8492"/>
                      <a:gd name="connsiteY15" fmla="*/ 3708 h 8253"/>
                      <a:gd name="connsiteX16" fmla="*/ 5801 w 8492"/>
                      <a:gd name="connsiteY16" fmla="*/ 5503 h 8253"/>
                      <a:gd name="connsiteX17" fmla="*/ 5203 w 8492"/>
                      <a:gd name="connsiteY17" fmla="*/ 6639 h 8253"/>
                      <a:gd name="connsiteX18" fmla="*/ 4366 w 8492"/>
                      <a:gd name="connsiteY18" fmla="*/ 8253 h 8253"/>
                      <a:gd name="connsiteX19" fmla="*/ 3887 w 8492"/>
                      <a:gd name="connsiteY19" fmla="*/ 7775 h 8253"/>
                      <a:gd name="connsiteX20" fmla="*/ 2871 w 8492"/>
                      <a:gd name="connsiteY20" fmla="*/ 7895 h 8253"/>
                      <a:gd name="connsiteX21" fmla="*/ 2691 w 8492"/>
                      <a:gd name="connsiteY21" fmla="*/ 7835 h 8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92" h="8253">
                        <a:moveTo>
                          <a:pt x="0" y="6459"/>
                        </a:moveTo>
                        <a:lnTo>
                          <a:pt x="1196" y="7655"/>
                        </a:lnTo>
                        <a:lnTo>
                          <a:pt x="1316" y="7715"/>
                        </a:lnTo>
                        <a:lnTo>
                          <a:pt x="2512" y="8074"/>
                        </a:lnTo>
                        <a:lnTo>
                          <a:pt x="2632" y="7775"/>
                        </a:lnTo>
                        <a:lnTo>
                          <a:pt x="3050" y="6998"/>
                        </a:lnTo>
                        <a:lnTo>
                          <a:pt x="3110" y="6878"/>
                        </a:lnTo>
                        <a:lnTo>
                          <a:pt x="4904" y="3349"/>
                        </a:lnTo>
                        <a:lnTo>
                          <a:pt x="6160" y="957"/>
                        </a:lnTo>
                        <a:lnTo>
                          <a:pt x="6160" y="957"/>
                        </a:lnTo>
                        <a:lnTo>
                          <a:pt x="6639" y="0"/>
                        </a:lnTo>
                        <a:lnTo>
                          <a:pt x="7416" y="60"/>
                        </a:lnTo>
                        <a:lnTo>
                          <a:pt x="7416" y="60"/>
                        </a:lnTo>
                        <a:lnTo>
                          <a:pt x="7775" y="120"/>
                        </a:lnTo>
                        <a:lnTo>
                          <a:pt x="8493" y="180"/>
                        </a:lnTo>
                        <a:lnTo>
                          <a:pt x="6698" y="3708"/>
                        </a:lnTo>
                        <a:lnTo>
                          <a:pt x="5801" y="5503"/>
                        </a:lnTo>
                        <a:lnTo>
                          <a:pt x="5203" y="6639"/>
                        </a:lnTo>
                        <a:lnTo>
                          <a:pt x="4366" y="8253"/>
                        </a:lnTo>
                        <a:lnTo>
                          <a:pt x="3887" y="7775"/>
                        </a:lnTo>
                        <a:lnTo>
                          <a:pt x="2871" y="7895"/>
                        </a:lnTo>
                        <a:lnTo>
                          <a:pt x="2691" y="7835"/>
                        </a:lnTo>
                      </a:path>
                    </a:pathLst>
                  </a:custGeom>
                  <a:noFill/>
                  <a:ln w="6350" cap="flat">
                    <a:solidFill>
                      <a:schemeClr val="bg1">
                        <a:alpha val="40000"/>
                      </a:schemeClr>
                    </a:solidFill>
                    <a:prstDash val="solid"/>
                    <a:miter/>
                  </a:ln>
                </p:spPr>
                <p:txBody>
                  <a:bodyPr rtlCol="0" anchor="ctr"/>
                  <a:lstStyle/>
                  <a:p>
                    <a:endParaRPr lang="en-GB"/>
                  </a:p>
                </p:txBody>
              </p:sp>
              <p:sp>
                <p:nvSpPr>
                  <p:cNvPr id="7982" name="Vrije vorm: vorm 7981">
                    <a:extLst>
                      <a:ext uri="{FF2B5EF4-FFF2-40B4-BE49-F238E27FC236}">
                        <a16:creationId xmlns:a16="http://schemas.microsoft.com/office/drawing/2014/main" id="{A552ACD3-9AE7-404C-ADC9-6BE4AB3647A8}"/>
                      </a:ext>
                    </a:extLst>
                  </p:cNvPr>
                  <p:cNvSpPr/>
                  <p:nvPr/>
                </p:nvSpPr>
                <p:spPr>
                  <a:xfrm>
                    <a:off x="5583562" y="5369053"/>
                    <a:ext cx="1973" cy="3409"/>
                  </a:xfrm>
                  <a:custGeom>
                    <a:avLst/>
                    <a:gdLst>
                      <a:gd name="connsiteX0" fmla="*/ 0 w 1973"/>
                      <a:gd name="connsiteY0" fmla="*/ 0 h 3409"/>
                      <a:gd name="connsiteX1" fmla="*/ 478 w 1973"/>
                      <a:gd name="connsiteY1" fmla="*/ 1734 h 3409"/>
                      <a:gd name="connsiteX2" fmla="*/ 957 w 1973"/>
                      <a:gd name="connsiteY2" fmla="*/ 2273 h 3409"/>
                      <a:gd name="connsiteX3" fmla="*/ 1973 w 1973"/>
                      <a:gd name="connsiteY3" fmla="*/ 3409 h 3409"/>
                    </a:gdLst>
                    <a:ahLst/>
                    <a:cxnLst>
                      <a:cxn ang="0">
                        <a:pos x="connsiteX0" y="connsiteY0"/>
                      </a:cxn>
                      <a:cxn ang="0">
                        <a:pos x="connsiteX1" y="connsiteY1"/>
                      </a:cxn>
                      <a:cxn ang="0">
                        <a:pos x="connsiteX2" y="connsiteY2"/>
                      </a:cxn>
                      <a:cxn ang="0">
                        <a:pos x="connsiteX3" y="connsiteY3"/>
                      </a:cxn>
                    </a:cxnLst>
                    <a:rect l="l" t="t" r="r" b="b"/>
                    <a:pathLst>
                      <a:path w="1973" h="3409">
                        <a:moveTo>
                          <a:pt x="0" y="0"/>
                        </a:moveTo>
                        <a:lnTo>
                          <a:pt x="478" y="1734"/>
                        </a:lnTo>
                        <a:lnTo>
                          <a:pt x="957" y="2273"/>
                        </a:lnTo>
                        <a:lnTo>
                          <a:pt x="1973" y="3409"/>
                        </a:lnTo>
                      </a:path>
                    </a:pathLst>
                  </a:custGeom>
                  <a:noFill/>
                  <a:ln w="6350" cap="flat">
                    <a:solidFill>
                      <a:schemeClr val="bg1">
                        <a:alpha val="40000"/>
                      </a:schemeClr>
                    </a:solidFill>
                    <a:prstDash val="solid"/>
                    <a:miter/>
                  </a:ln>
                </p:spPr>
                <p:txBody>
                  <a:bodyPr rtlCol="0" anchor="ctr"/>
                  <a:lstStyle/>
                  <a:p>
                    <a:endParaRPr lang="en-GB"/>
                  </a:p>
                </p:txBody>
              </p:sp>
              <p:sp>
                <p:nvSpPr>
                  <p:cNvPr id="7983" name="Vrije vorm: vorm 7982">
                    <a:extLst>
                      <a:ext uri="{FF2B5EF4-FFF2-40B4-BE49-F238E27FC236}">
                        <a16:creationId xmlns:a16="http://schemas.microsoft.com/office/drawing/2014/main" id="{B84B7105-694C-440F-BF05-59EFB3ECE1FA}"/>
                      </a:ext>
                    </a:extLst>
                  </p:cNvPr>
                  <p:cNvSpPr/>
                  <p:nvPr/>
                </p:nvSpPr>
                <p:spPr>
                  <a:xfrm>
                    <a:off x="5582067" y="5341422"/>
                    <a:ext cx="22009" cy="29783"/>
                  </a:xfrm>
                  <a:custGeom>
                    <a:avLst/>
                    <a:gdLst>
                      <a:gd name="connsiteX0" fmla="*/ 2213 w 22009"/>
                      <a:gd name="connsiteY0" fmla="*/ 29784 h 29783"/>
                      <a:gd name="connsiteX1" fmla="*/ 718 w 22009"/>
                      <a:gd name="connsiteY1" fmla="*/ 28109 h 29783"/>
                      <a:gd name="connsiteX2" fmla="*/ 0 w 22009"/>
                      <a:gd name="connsiteY2" fmla="*/ 25537 h 29783"/>
                      <a:gd name="connsiteX3" fmla="*/ 60 w 22009"/>
                      <a:gd name="connsiteY3" fmla="*/ 24521 h 29783"/>
                      <a:gd name="connsiteX4" fmla="*/ 60 w 22009"/>
                      <a:gd name="connsiteY4" fmla="*/ 24342 h 29783"/>
                      <a:gd name="connsiteX5" fmla="*/ 119 w 22009"/>
                      <a:gd name="connsiteY5" fmla="*/ 22188 h 29783"/>
                      <a:gd name="connsiteX6" fmla="*/ 957 w 22009"/>
                      <a:gd name="connsiteY6" fmla="*/ 18899 h 29783"/>
                      <a:gd name="connsiteX7" fmla="*/ 1076 w 22009"/>
                      <a:gd name="connsiteY7" fmla="*/ 18361 h 29783"/>
                      <a:gd name="connsiteX8" fmla="*/ 2033 w 22009"/>
                      <a:gd name="connsiteY8" fmla="*/ 16148 h 29783"/>
                      <a:gd name="connsiteX9" fmla="*/ 2093 w 22009"/>
                      <a:gd name="connsiteY9" fmla="*/ 16028 h 29783"/>
                      <a:gd name="connsiteX10" fmla="*/ 2392 w 22009"/>
                      <a:gd name="connsiteY10" fmla="*/ 15311 h 29783"/>
                      <a:gd name="connsiteX11" fmla="*/ 2811 w 22009"/>
                      <a:gd name="connsiteY11" fmla="*/ 14294 h 29783"/>
                      <a:gd name="connsiteX12" fmla="*/ 3828 w 22009"/>
                      <a:gd name="connsiteY12" fmla="*/ 12619 h 29783"/>
                      <a:gd name="connsiteX13" fmla="*/ 4067 w 22009"/>
                      <a:gd name="connsiteY13" fmla="*/ 12260 h 29783"/>
                      <a:gd name="connsiteX14" fmla="*/ 5203 w 22009"/>
                      <a:gd name="connsiteY14" fmla="*/ 10347 h 29783"/>
                      <a:gd name="connsiteX15" fmla="*/ 7595 w 22009"/>
                      <a:gd name="connsiteY15" fmla="*/ 7296 h 29783"/>
                      <a:gd name="connsiteX16" fmla="*/ 8074 w 22009"/>
                      <a:gd name="connsiteY16" fmla="*/ 6698 h 29783"/>
                      <a:gd name="connsiteX17" fmla="*/ 8971 w 22009"/>
                      <a:gd name="connsiteY17" fmla="*/ 5801 h 29783"/>
                      <a:gd name="connsiteX18" fmla="*/ 11184 w 22009"/>
                      <a:gd name="connsiteY18" fmla="*/ 3648 h 29783"/>
                      <a:gd name="connsiteX19" fmla="*/ 14114 w 22009"/>
                      <a:gd name="connsiteY19" fmla="*/ 1615 h 29783"/>
                      <a:gd name="connsiteX20" fmla="*/ 14354 w 22009"/>
                      <a:gd name="connsiteY20" fmla="*/ 1435 h 29783"/>
                      <a:gd name="connsiteX21" fmla="*/ 16327 w 22009"/>
                      <a:gd name="connsiteY21" fmla="*/ 598 h 29783"/>
                      <a:gd name="connsiteX22" fmla="*/ 17344 w 22009"/>
                      <a:gd name="connsiteY22" fmla="*/ 179 h 29783"/>
                      <a:gd name="connsiteX23" fmla="*/ 17643 w 22009"/>
                      <a:gd name="connsiteY23" fmla="*/ 179 h 29783"/>
                      <a:gd name="connsiteX24" fmla="*/ 17942 w 22009"/>
                      <a:gd name="connsiteY24" fmla="*/ 179 h 29783"/>
                      <a:gd name="connsiteX25" fmla="*/ 19916 w 22009"/>
                      <a:gd name="connsiteY25" fmla="*/ 0 h 29783"/>
                      <a:gd name="connsiteX26" fmla="*/ 22009 w 22009"/>
                      <a:gd name="connsiteY26" fmla="*/ 837 h 2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009" h="29783">
                        <a:moveTo>
                          <a:pt x="2213" y="29784"/>
                        </a:moveTo>
                        <a:lnTo>
                          <a:pt x="718" y="28109"/>
                        </a:lnTo>
                        <a:lnTo>
                          <a:pt x="0" y="25537"/>
                        </a:lnTo>
                        <a:lnTo>
                          <a:pt x="60" y="24521"/>
                        </a:lnTo>
                        <a:lnTo>
                          <a:pt x="60" y="24342"/>
                        </a:lnTo>
                        <a:lnTo>
                          <a:pt x="119" y="22188"/>
                        </a:lnTo>
                        <a:lnTo>
                          <a:pt x="957" y="18899"/>
                        </a:lnTo>
                        <a:lnTo>
                          <a:pt x="1076" y="18361"/>
                        </a:lnTo>
                        <a:lnTo>
                          <a:pt x="2033" y="16148"/>
                        </a:lnTo>
                        <a:lnTo>
                          <a:pt x="2093" y="16028"/>
                        </a:lnTo>
                        <a:lnTo>
                          <a:pt x="2392" y="15311"/>
                        </a:lnTo>
                        <a:lnTo>
                          <a:pt x="2811" y="14294"/>
                        </a:lnTo>
                        <a:lnTo>
                          <a:pt x="3828" y="12619"/>
                        </a:lnTo>
                        <a:lnTo>
                          <a:pt x="4067" y="12260"/>
                        </a:lnTo>
                        <a:lnTo>
                          <a:pt x="5203" y="10347"/>
                        </a:lnTo>
                        <a:lnTo>
                          <a:pt x="7595" y="7296"/>
                        </a:lnTo>
                        <a:lnTo>
                          <a:pt x="8074" y="6698"/>
                        </a:lnTo>
                        <a:lnTo>
                          <a:pt x="8971" y="5801"/>
                        </a:lnTo>
                        <a:lnTo>
                          <a:pt x="11184" y="3648"/>
                        </a:lnTo>
                        <a:lnTo>
                          <a:pt x="14114" y="1615"/>
                        </a:lnTo>
                        <a:lnTo>
                          <a:pt x="14354" y="1435"/>
                        </a:lnTo>
                        <a:lnTo>
                          <a:pt x="16327" y="598"/>
                        </a:lnTo>
                        <a:lnTo>
                          <a:pt x="17344" y="179"/>
                        </a:lnTo>
                        <a:lnTo>
                          <a:pt x="17643" y="179"/>
                        </a:lnTo>
                        <a:lnTo>
                          <a:pt x="17942" y="179"/>
                        </a:lnTo>
                        <a:lnTo>
                          <a:pt x="19916" y="0"/>
                        </a:lnTo>
                        <a:lnTo>
                          <a:pt x="22009" y="837"/>
                        </a:lnTo>
                      </a:path>
                    </a:pathLst>
                  </a:custGeom>
                  <a:noFill/>
                  <a:ln w="6350" cap="flat">
                    <a:solidFill>
                      <a:schemeClr val="bg1">
                        <a:alpha val="40000"/>
                      </a:schemeClr>
                    </a:solidFill>
                    <a:prstDash val="solid"/>
                    <a:miter/>
                  </a:ln>
                </p:spPr>
                <p:txBody>
                  <a:bodyPr rtlCol="0" anchor="ctr"/>
                  <a:lstStyle/>
                  <a:p>
                    <a:endParaRPr lang="en-GB"/>
                  </a:p>
                </p:txBody>
              </p:sp>
              <p:sp>
                <p:nvSpPr>
                  <p:cNvPr id="7984" name="Vrije vorm: vorm 7983">
                    <a:extLst>
                      <a:ext uri="{FF2B5EF4-FFF2-40B4-BE49-F238E27FC236}">
                        <a16:creationId xmlns:a16="http://schemas.microsoft.com/office/drawing/2014/main" id="{E293683F-50A1-4190-9F6E-C784AD8CCBB7}"/>
                      </a:ext>
                    </a:extLst>
                  </p:cNvPr>
                  <p:cNvSpPr/>
                  <p:nvPr/>
                </p:nvSpPr>
                <p:spPr>
                  <a:xfrm>
                    <a:off x="5583083" y="5363671"/>
                    <a:ext cx="6818" cy="5382"/>
                  </a:xfrm>
                  <a:custGeom>
                    <a:avLst/>
                    <a:gdLst>
                      <a:gd name="connsiteX0" fmla="*/ 0 w 6818"/>
                      <a:gd name="connsiteY0" fmla="*/ 4904 h 5382"/>
                      <a:gd name="connsiteX1" fmla="*/ 479 w 6818"/>
                      <a:gd name="connsiteY1" fmla="*/ 5383 h 5382"/>
                      <a:gd name="connsiteX2" fmla="*/ 2273 w 6818"/>
                      <a:gd name="connsiteY2" fmla="*/ 3888 h 5382"/>
                      <a:gd name="connsiteX3" fmla="*/ 2273 w 6818"/>
                      <a:gd name="connsiteY3" fmla="*/ 3888 h 5382"/>
                      <a:gd name="connsiteX4" fmla="*/ 5083 w 6818"/>
                      <a:gd name="connsiteY4" fmla="*/ 1495 h 5382"/>
                      <a:gd name="connsiteX5" fmla="*/ 6818 w 6818"/>
                      <a:gd name="connsiteY5" fmla="*/ 0 h 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8" h="5382">
                        <a:moveTo>
                          <a:pt x="0" y="4904"/>
                        </a:moveTo>
                        <a:lnTo>
                          <a:pt x="479" y="5383"/>
                        </a:lnTo>
                        <a:lnTo>
                          <a:pt x="2273" y="3888"/>
                        </a:lnTo>
                        <a:lnTo>
                          <a:pt x="2273" y="3888"/>
                        </a:lnTo>
                        <a:lnTo>
                          <a:pt x="5083" y="1495"/>
                        </a:lnTo>
                        <a:lnTo>
                          <a:pt x="6818" y="0"/>
                        </a:lnTo>
                      </a:path>
                    </a:pathLst>
                  </a:custGeom>
                  <a:noFill/>
                  <a:ln w="6350" cap="flat">
                    <a:solidFill>
                      <a:schemeClr val="bg1">
                        <a:alpha val="40000"/>
                      </a:schemeClr>
                    </a:solidFill>
                    <a:prstDash val="solid"/>
                    <a:miter/>
                  </a:ln>
                </p:spPr>
                <p:txBody>
                  <a:bodyPr rtlCol="0" anchor="ctr"/>
                  <a:lstStyle/>
                  <a:p>
                    <a:endParaRPr lang="en-GB"/>
                  </a:p>
                </p:txBody>
              </p:sp>
              <p:sp>
                <p:nvSpPr>
                  <p:cNvPr id="7985" name="Vrije vorm: vorm 7984">
                    <a:extLst>
                      <a:ext uri="{FF2B5EF4-FFF2-40B4-BE49-F238E27FC236}">
                        <a16:creationId xmlns:a16="http://schemas.microsoft.com/office/drawing/2014/main" id="{BFFED5D3-B61A-4D3B-AC26-298637742DF5}"/>
                      </a:ext>
                    </a:extLst>
                  </p:cNvPr>
                  <p:cNvSpPr/>
                  <p:nvPr/>
                </p:nvSpPr>
                <p:spPr>
                  <a:xfrm>
                    <a:off x="5582784" y="5361577"/>
                    <a:ext cx="6937" cy="6997"/>
                  </a:xfrm>
                  <a:custGeom>
                    <a:avLst/>
                    <a:gdLst>
                      <a:gd name="connsiteX0" fmla="*/ 6937 w 6937"/>
                      <a:gd name="connsiteY0" fmla="*/ 0 h 6997"/>
                      <a:gd name="connsiteX1" fmla="*/ 6519 w 6937"/>
                      <a:gd name="connsiteY1" fmla="*/ 359 h 6997"/>
                      <a:gd name="connsiteX2" fmla="*/ 3708 w 6937"/>
                      <a:gd name="connsiteY2" fmla="*/ 2751 h 6997"/>
                      <a:gd name="connsiteX3" fmla="*/ 897 w 6937"/>
                      <a:gd name="connsiteY3" fmla="*/ 5143 h 6997"/>
                      <a:gd name="connsiteX4" fmla="*/ 538 w 6937"/>
                      <a:gd name="connsiteY4" fmla="*/ 5442 h 6997"/>
                      <a:gd name="connsiteX5" fmla="*/ 538 w 6937"/>
                      <a:gd name="connsiteY5" fmla="*/ 5442 h 6997"/>
                      <a:gd name="connsiteX6" fmla="*/ 538 w 6937"/>
                      <a:gd name="connsiteY6" fmla="*/ 5442 h 6997"/>
                      <a:gd name="connsiteX7" fmla="*/ 479 w 6937"/>
                      <a:gd name="connsiteY7" fmla="*/ 5382 h 6997"/>
                      <a:gd name="connsiteX8" fmla="*/ 479 w 6937"/>
                      <a:gd name="connsiteY8" fmla="*/ 5382 h 6997"/>
                      <a:gd name="connsiteX9" fmla="*/ 60 w 6937"/>
                      <a:gd name="connsiteY9" fmla="*/ 4964 h 6997"/>
                      <a:gd name="connsiteX10" fmla="*/ 60 w 6937"/>
                      <a:gd name="connsiteY10" fmla="*/ 5024 h 6997"/>
                      <a:gd name="connsiteX11" fmla="*/ 60 w 6937"/>
                      <a:gd name="connsiteY11" fmla="*/ 5083 h 6997"/>
                      <a:gd name="connsiteX12" fmla="*/ 0 w 6937"/>
                      <a:gd name="connsiteY12" fmla="*/ 6100 h 6997"/>
                      <a:gd name="connsiteX13" fmla="*/ 239 w 6937"/>
                      <a:gd name="connsiteY13" fmla="*/ 6997 h 6997"/>
                      <a:gd name="connsiteX14" fmla="*/ 1615 w 6937"/>
                      <a:gd name="connsiteY14" fmla="*/ 5801 h 6997"/>
                      <a:gd name="connsiteX15" fmla="*/ 1615 w 6937"/>
                      <a:gd name="connsiteY15" fmla="*/ 5801 h 6997"/>
                      <a:gd name="connsiteX16" fmla="*/ 4426 w 6937"/>
                      <a:gd name="connsiteY16" fmla="*/ 3409 h 6997"/>
                      <a:gd name="connsiteX17" fmla="*/ 6579 w 6937"/>
                      <a:gd name="connsiteY17" fmla="*/ 1615 h 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37" h="6997">
                        <a:moveTo>
                          <a:pt x="6937" y="0"/>
                        </a:moveTo>
                        <a:lnTo>
                          <a:pt x="6519" y="359"/>
                        </a:lnTo>
                        <a:lnTo>
                          <a:pt x="3708" y="2751"/>
                        </a:lnTo>
                        <a:lnTo>
                          <a:pt x="897" y="5143"/>
                        </a:lnTo>
                        <a:lnTo>
                          <a:pt x="538" y="5442"/>
                        </a:lnTo>
                        <a:lnTo>
                          <a:pt x="538" y="5442"/>
                        </a:lnTo>
                        <a:lnTo>
                          <a:pt x="538" y="5442"/>
                        </a:lnTo>
                        <a:lnTo>
                          <a:pt x="479" y="5382"/>
                        </a:lnTo>
                        <a:lnTo>
                          <a:pt x="479" y="5382"/>
                        </a:lnTo>
                        <a:lnTo>
                          <a:pt x="60" y="4964"/>
                        </a:lnTo>
                        <a:lnTo>
                          <a:pt x="60" y="5024"/>
                        </a:lnTo>
                        <a:lnTo>
                          <a:pt x="60" y="5083"/>
                        </a:lnTo>
                        <a:lnTo>
                          <a:pt x="0" y="6100"/>
                        </a:lnTo>
                        <a:lnTo>
                          <a:pt x="239" y="6997"/>
                        </a:lnTo>
                        <a:lnTo>
                          <a:pt x="1615" y="5801"/>
                        </a:lnTo>
                        <a:lnTo>
                          <a:pt x="1615" y="5801"/>
                        </a:lnTo>
                        <a:lnTo>
                          <a:pt x="4426" y="3409"/>
                        </a:lnTo>
                        <a:lnTo>
                          <a:pt x="6579" y="1615"/>
                        </a:lnTo>
                      </a:path>
                    </a:pathLst>
                  </a:custGeom>
                  <a:noFill/>
                  <a:ln w="6350" cap="flat">
                    <a:solidFill>
                      <a:schemeClr val="bg1">
                        <a:alpha val="40000"/>
                      </a:schemeClr>
                    </a:solidFill>
                    <a:prstDash val="solid"/>
                    <a:miter/>
                  </a:ln>
                </p:spPr>
                <p:txBody>
                  <a:bodyPr rtlCol="0" anchor="ctr"/>
                  <a:lstStyle/>
                  <a:p>
                    <a:endParaRPr lang="en-GB"/>
                  </a:p>
                </p:txBody>
              </p:sp>
              <p:sp>
                <p:nvSpPr>
                  <p:cNvPr id="7986" name="Vrije vorm: vorm 7985">
                    <a:extLst>
                      <a:ext uri="{FF2B5EF4-FFF2-40B4-BE49-F238E27FC236}">
                        <a16:creationId xmlns:a16="http://schemas.microsoft.com/office/drawing/2014/main" id="{6A480A90-9FEF-44D5-B96A-FE8111E3D495}"/>
                      </a:ext>
                    </a:extLst>
                  </p:cNvPr>
                  <p:cNvSpPr/>
                  <p:nvPr/>
                </p:nvSpPr>
                <p:spPr>
                  <a:xfrm>
                    <a:off x="5583263" y="5358647"/>
                    <a:ext cx="2093" cy="8432"/>
                  </a:xfrm>
                  <a:custGeom>
                    <a:avLst/>
                    <a:gdLst>
                      <a:gd name="connsiteX0" fmla="*/ 2093 w 2093"/>
                      <a:gd name="connsiteY0" fmla="*/ 0 h 8432"/>
                      <a:gd name="connsiteX1" fmla="*/ 1256 w 2093"/>
                      <a:gd name="connsiteY1" fmla="*/ 1973 h 8432"/>
                      <a:gd name="connsiteX2" fmla="*/ 1076 w 2093"/>
                      <a:gd name="connsiteY2" fmla="*/ 2332 h 8432"/>
                      <a:gd name="connsiteX3" fmla="*/ 119 w 2093"/>
                      <a:gd name="connsiteY3" fmla="*/ 6100 h 8432"/>
                      <a:gd name="connsiteX4" fmla="*/ 119 w 2093"/>
                      <a:gd name="connsiteY4" fmla="*/ 6220 h 8432"/>
                      <a:gd name="connsiteX5" fmla="*/ 60 w 2093"/>
                      <a:gd name="connsiteY5" fmla="*/ 7535 h 8432"/>
                      <a:gd name="connsiteX6" fmla="*/ 0 w 2093"/>
                      <a:gd name="connsiteY6" fmla="*/ 8433 h 8432"/>
                      <a:gd name="connsiteX7" fmla="*/ 0 w 2093"/>
                      <a:gd name="connsiteY7" fmla="*/ 8433 h 8432"/>
                      <a:gd name="connsiteX8" fmla="*/ 0 w 2093"/>
                      <a:gd name="connsiteY8" fmla="*/ 8433 h 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3" h="8432">
                        <a:moveTo>
                          <a:pt x="2093" y="0"/>
                        </a:moveTo>
                        <a:lnTo>
                          <a:pt x="1256" y="1973"/>
                        </a:lnTo>
                        <a:lnTo>
                          <a:pt x="1076" y="2332"/>
                        </a:lnTo>
                        <a:lnTo>
                          <a:pt x="119" y="6100"/>
                        </a:lnTo>
                        <a:lnTo>
                          <a:pt x="119" y="6220"/>
                        </a:lnTo>
                        <a:lnTo>
                          <a:pt x="60" y="7535"/>
                        </a:lnTo>
                        <a:lnTo>
                          <a:pt x="0" y="8433"/>
                        </a:lnTo>
                        <a:lnTo>
                          <a:pt x="0" y="8433"/>
                        </a:lnTo>
                        <a:lnTo>
                          <a:pt x="0" y="8433"/>
                        </a:lnTo>
                      </a:path>
                    </a:pathLst>
                  </a:custGeom>
                  <a:noFill/>
                  <a:ln w="6350" cap="flat">
                    <a:solidFill>
                      <a:schemeClr val="bg1">
                        <a:alpha val="40000"/>
                      </a:schemeClr>
                    </a:solidFill>
                    <a:prstDash val="solid"/>
                    <a:miter/>
                  </a:ln>
                </p:spPr>
                <p:txBody>
                  <a:bodyPr rtlCol="0" anchor="ctr"/>
                  <a:lstStyle/>
                  <a:p>
                    <a:endParaRPr lang="en-GB"/>
                  </a:p>
                </p:txBody>
              </p:sp>
              <p:sp>
                <p:nvSpPr>
                  <p:cNvPr id="7987" name="Vrije vorm: vorm 7986">
                    <a:extLst>
                      <a:ext uri="{FF2B5EF4-FFF2-40B4-BE49-F238E27FC236}">
                        <a16:creationId xmlns:a16="http://schemas.microsoft.com/office/drawing/2014/main" id="{1519FB24-5CCA-4B33-80D8-554779BE832F}"/>
                      </a:ext>
                    </a:extLst>
                  </p:cNvPr>
                  <p:cNvSpPr/>
                  <p:nvPr/>
                </p:nvSpPr>
                <p:spPr>
                  <a:xfrm>
                    <a:off x="5584877" y="5358168"/>
                    <a:ext cx="5502" cy="896"/>
                  </a:xfrm>
                  <a:custGeom>
                    <a:avLst/>
                    <a:gdLst>
                      <a:gd name="connsiteX0" fmla="*/ 0 w 5502"/>
                      <a:gd name="connsiteY0" fmla="*/ 0 h 896"/>
                      <a:gd name="connsiteX1" fmla="*/ 479 w 5502"/>
                      <a:gd name="connsiteY1" fmla="*/ 479 h 896"/>
                      <a:gd name="connsiteX2" fmla="*/ 3349 w 5502"/>
                      <a:gd name="connsiteY2" fmla="*/ 718 h 896"/>
                      <a:gd name="connsiteX3" fmla="*/ 5503 w 5502"/>
                      <a:gd name="connsiteY3" fmla="*/ 897 h 896"/>
                    </a:gdLst>
                    <a:ahLst/>
                    <a:cxnLst>
                      <a:cxn ang="0">
                        <a:pos x="connsiteX0" y="connsiteY0"/>
                      </a:cxn>
                      <a:cxn ang="0">
                        <a:pos x="connsiteX1" y="connsiteY1"/>
                      </a:cxn>
                      <a:cxn ang="0">
                        <a:pos x="connsiteX2" y="connsiteY2"/>
                      </a:cxn>
                      <a:cxn ang="0">
                        <a:pos x="connsiteX3" y="connsiteY3"/>
                      </a:cxn>
                    </a:cxnLst>
                    <a:rect l="l" t="t" r="r" b="b"/>
                    <a:pathLst>
                      <a:path w="5502" h="896">
                        <a:moveTo>
                          <a:pt x="0" y="0"/>
                        </a:moveTo>
                        <a:lnTo>
                          <a:pt x="479" y="479"/>
                        </a:lnTo>
                        <a:lnTo>
                          <a:pt x="3349" y="718"/>
                        </a:lnTo>
                        <a:lnTo>
                          <a:pt x="5503" y="897"/>
                        </a:lnTo>
                      </a:path>
                    </a:pathLst>
                  </a:custGeom>
                  <a:noFill/>
                  <a:ln w="6350" cap="flat">
                    <a:solidFill>
                      <a:schemeClr val="bg1">
                        <a:alpha val="40000"/>
                      </a:schemeClr>
                    </a:solidFill>
                    <a:prstDash val="solid"/>
                    <a:miter/>
                  </a:ln>
                </p:spPr>
                <p:txBody>
                  <a:bodyPr rtlCol="0" anchor="ctr"/>
                  <a:lstStyle/>
                  <a:p>
                    <a:endParaRPr lang="en-GB"/>
                  </a:p>
                </p:txBody>
              </p:sp>
              <p:sp>
                <p:nvSpPr>
                  <p:cNvPr id="7988" name="Vrije vorm: vorm 7987">
                    <a:extLst>
                      <a:ext uri="{FF2B5EF4-FFF2-40B4-BE49-F238E27FC236}">
                        <a16:creationId xmlns:a16="http://schemas.microsoft.com/office/drawing/2014/main" id="{8B918F17-6E0C-4F8E-A3C9-7962B3C5C978}"/>
                      </a:ext>
                    </a:extLst>
                  </p:cNvPr>
                  <p:cNvSpPr/>
                  <p:nvPr/>
                </p:nvSpPr>
                <p:spPr>
                  <a:xfrm>
                    <a:off x="5587090" y="5347463"/>
                    <a:ext cx="6040" cy="7775"/>
                  </a:xfrm>
                  <a:custGeom>
                    <a:avLst/>
                    <a:gdLst>
                      <a:gd name="connsiteX0" fmla="*/ 6041 w 6040"/>
                      <a:gd name="connsiteY0" fmla="*/ 0 h 7775"/>
                      <a:gd name="connsiteX1" fmla="*/ 5622 w 6040"/>
                      <a:gd name="connsiteY1" fmla="*/ 419 h 7775"/>
                      <a:gd name="connsiteX2" fmla="*/ 4246 w 6040"/>
                      <a:gd name="connsiteY2" fmla="*/ 1795 h 7775"/>
                      <a:gd name="connsiteX3" fmla="*/ 1854 w 6040"/>
                      <a:gd name="connsiteY3" fmla="*/ 4845 h 7775"/>
                      <a:gd name="connsiteX4" fmla="*/ 1376 w 6040"/>
                      <a:gd name="connsiteY4" fmla="*/ 5443 h 7775"/>
                      <a:gd name="connsiteX5" fmla="*/ 239 w 6040"/>
                      <a:gd name="connsiteY5" fmla="*/ 7357 h 7775"/>
                      <a:gd name="connsiteX6" fmla="*/ 0 w 6040"/>
                      <a:gd name="connsiteY6" fmla="*/ 7775 h 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0" h="7775">
                        <a:moveTo>
                          <a:pt x="6041" y="0"/>
                        </a:moveTo>
                        <a:lnTo>
                          <a:pt x="5622" y="419"/>
                        </a:lnTo>
                        <a:lnTo>
                          <a:pt x="4246" y="1795"/>
                        </a:lnTo>
                        <a:lnTo>
                          <a:pt x="1854" y="4845"/>
                        </a:lnTo>
                        <a:lnTo>
                          <a:pt x="1376" y="5443"/>
                        </a:lnTo>
                        <a:lnTo>
                          <a:pt x="239" y="7357"/>
                        </a:lnTo>
                        <a:lnTo>
                          <a:pt x="0" y="7775"/>
                        </a:lnTo>
                      </a:path>
                    </a:pathLst>
                  </a:custGeom>
                  <a:noFill/>
                  <a:ln w="6350" cap="flat">
                    <a:solidFill>
                      <a:schemeClr val="bg1">
                        <a:alpha val="40000"/>
                      </a:schemeClr>
                    </a:solidFill>
                    <a:prstDash val="solid"/>
                    <a:miter/>
                  </a:ln>
                </p:spPr>
                <p:txBody>
                  <a:bodyPr rtlCol="0" anchor="ctr"/>
                  <a:lstStyle/>
                  <a:p>
                    <a:endParaRPr lang="en-GB"/>
                  </a:p>
                </p:txBody>
              </p:sp>
              <p:sp>
                <p:nvSpPr>
                  <p:cNvPr id="7989" name="Vrije vorm: vorm 7988">
                    <a:extLst>
                      <a:ext uri="{FF2B5EF4-FFF2-40B4-BE49-F238E27FC236}">
                        <a16:creationId xmlns:a16="http://schemas.microsoft.com/office/drawing/2014/main" id="{79B86157-99C0-426A-A4B3-8BFC7DD45CD0}"/>
                      </a:ext>
                    </a:extLst>
                  </p:cNvPr>
                  <p:cNvSpPr/>
                  <p:nvPr/>
                </p:nvSpPr>
                <p:spPr>
                  <a:xfrm>
                    <a:off x="5586612" y="5354759"/>
                    <a:ext cx="5502" cy="956"/>
                  </a:xfrm>
                  <a:custGeom>
                    <a:avLst/>
                    <a:gdLst>
                      <a:gd name="connsiteX0" fmla="*/ 5502 w 5502"/>
                      <a:gd name="connsiteY0" fmla="*/ 957 h 956"/>
                      <a:gd name="connsiteX1" fmla="*/ 4785 w 5502"/>
                      <a:gd name="connsiteY1" fmla="*/ 897 h 956"/>
                      <a:gd name="connsiteX2" fmla="*/ 3648 w 5502"/>
                      <a:gd name="connsiteY2" fmla="*/ 778 h 956"/>
                      <a:gd name="connsiteX3" fmla="*/ 778 w 5502"/>
                      <a:gd name="connsiteY3" fmla="*/ 479 h 956"/>
                      <a:gd name="connsiteX4" fmla="*/ 538 w 5502"/>
                      <a:gd name="connsiteY4" fmla="*/ 479 h 956"/>
                      <a:gd name="connsiteX5" fmla="*/ 478 w 5502"/>
                      <a:gd name="connsiteY5" fmla="*/ 479 h 956"/>
                      <a:gd name="connsiteX6" fmla="*/ 0 w 5502"/>
                      <a:gd name="connsiteY6" fmla="*/ 0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2" h="956">
                        <a:moveTo>
                          <a:pt x="5502" y="957"/>
                        </a:moveTo>
                        <a:lnTo>
                          <a:pt x="4785" y="897"/>
                        </a:lnTo>
                        <a:lnTo>
                          <a:pt x="3648" y="778"/>
                        </a:lnTo>
                        <a:lnTo>
                          <a:pt x="778" y="479"/>
                        </a:lnTo>
                        <a:lnTo>
                          <a:pt x="538" y="479"/>
                        </a:lnTo>
                        <a:lnTo>
                          <a:pt x="478" y="47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7990" name="Vrije vorm: vorm 7989">
                    <a:extLst>
                      <a:ext uri="{FF2B5EF4-FFF2-40B4-BE49-F238E27FC236}">
                        <a16:creationId xmlns:a16="http://schemas.microsoft.com/office/drawing/2014/main" id="{1ED6B7F6-2DAC-4C03-B3E5-D222B59170F5}"/>
                      </a:ext>
                    </a:extLst>
                  </p:cNvPr>
                  <p:cNvSpPr/>
                  <p:nvPr/>
                </p:nvSpPr>
                <p:spPr>
                  <a:xfrm>
                    <a:off x="5592652" y="5344832"/>
                    <a:ext cx="2631" cy="8851"/>
                  </a:xfrm>
                  <a:custGeom>
                    <a:avLst/>
                    <a:gdLst>
                      <a:gd name="connsiteX0" fmla="*/ 2632 w 2631"/>
                      <a:gd name="connsiteY0" fmla="*/ 0 h 8851"/>
                      <a:gd name="connsiteX1" fmla="*/ 1316 w 2631"/>
                      <a:gd name="connsiteY1" fmla="*/ 957 h 8851"/>
                      <a:gd name="connsiteX2" fmla="*/ 0 w 2631"/>
                      <a:gd name="connsiteY2" fmla="*/ 2213 h 8851"/>
                      <a:gd name="connsiteX3" fmla="*/ 479 w 2631"/>
                      <a:gd name="connsiteY3" fmla="*/ 2691 h 8851"/>
                      <a:gd name="connsiteX4" fmla="*/ 538 w 2631"/>
                      <a:gd name="connsiteY4" fmla="*/ 3588 h 8851"/>
                      <a:gd name="connsiteX5" fmla="*/ 837 w 2631"/>
                      <a:gd name="connsiteY5" fmla="*/ 7057 h 8851"/>
                      <a:gd name="connsiteX6" fmla="*/ 897 w 2631"/>
                      <a:gd name="connsiteY6" fmla="*/ 8014 h 8851"/>
                      <a:gd name="connsiteX7" fmla="*/ 957 w 2631"/>
                      <a:gd name="connsiteY7" fmla="*/ 8851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1" h="8851">
                        <a:moveTo>
                          <a:pt x="2632" y="0"/>
                        </a:moveTo>
                        <a:lnTo>
                          <a:pt x="1316" y="957"/>
                        </a:lnTo>
                        <a:lnTo>
                          <a:pt x="0" y="2213"/>
                        </a:lnTo>
                        <a:lnTo>
                          <a:pt x="479" y="2691"/>
                        </a:lnTo>
                        <a:lnTo>
                          <a:pt x="538" y="3588"/>
                        </a:lnTo>
                        <a:lnTo>
                          <a:pt x="837" y="7057"/>
                        </a:lnTo>
                        <a:lnTo>
                          <a:pt x="897" y="8014"/>
                        </a:lnTo>
                        <a:lnTo>
                          <a:pt x="957" y="8851"/>
                        </a:lnTo>
                      </a:path>
                    </a:pathLst>
                  </a:custGeom>
                  <a:noFill/>
                  <a:ln w="6350" cap="flat">
                    <a:solidFill>
                      <a:schemeClr val="bg1">
                        <a:alpha val="40000"/>
                      </a:schemeClr>
                    </a:solidFill>
                    <a:prstDash val="solid"/>
                    <a:miter/>
                  </a:ln>
                </p:spPr>
                <p:txBody>
                  <a:bodyPr rtlCol="0" anchor="ctr"/>
                  <a:lstStyle/>
                  <a:p>
                    <a:endParaRPr lang="en-GB"/>
                  </a:p>
                </p:txBody>
              </p:sp>
              <p:sp>
                <p:nvSpPr>
                  <p:cNvPr id="7991" name="Vrije vorm: vorm 7990">
                    <a:extLst>
                      <a:ext uri="{FF2B5EF4-FFF2-40B4-BE49-F238E27FC236}">
                        <a16:creationId xmlns:a16="http://schemas.microsoft.com/office/drawing/2014/main" id="{A10A18D3-0192-41DF-9A89-33A4F2DF92C9}"/>
                      </a:ext>
                    </a:extLst>
                  </p:cNvPr>
                  <p:cNvSpPr/>
                  <p:nvPr/>
                </p:nvSpPr>
                <p:spPr>
                  <a:xfrm>
                    <a:off x="5595762" y="5342559"/>
                    <a:ext cx="6459" cy="2750"/>
                  </a:xfrm>
                  <a:custGeom>
                    <a:avLst/>
                    <a:gdLst>
                      <a:gd name="connsiteX0" fmla="*/ 6459 w 6459"/>
                      <a:gd name="connsiteY0" fmla="*/ 0 h 2750"/>
                      <a:gd name="connsiteX1" fmla="*/ 5682 w 6459"/>
                      <a:gd name="connsiteY1" fmla="*/ 60 h 2750"/>
                      <a:gd name="connsiteX2" fmla="*/ 5203 w 6459"/>
                      <a:gd name="connsiteY2" fmla="*/ 119 h 2750"/>
                      <a:gd name="connsiteX3" fmla="*/ 5203 w 6459"/>
                      <a:gd name="connsiteY3" fmla="*/ 119 h 2750"/>
                      <a:gd name="connsiteX4" fmla="*/ 4844 w 6459"/>
                      <a:gd name="connsiteY4" fmla="*/ 179 h 2750"/>
                      <a:gd name="connsiteX5" fmla="*/ 3349 w 6459"/>
                      <a:gd name="connsiteY5" fmla="*/ 837 h 2750"/>
                      <a:gd name="connsiteX6" fmla="*/ 1854 w 6459"/>
                      <a:gd name="connsiteY6" fmla="*/ 1435 h 2750"/>
                      <a:gd name="connsiteX7" fmla="*/ 0 w 6459"/>
                      <a:gd name="connsiteY7" fmla="*/ 2751 h 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9" h="2750">
                        <a:moveTo>
                          <a:pt x="6459" y="0"/>
                        </a:moveTo>
                        <a:lnTo>
                          <a:pt x="5682" y="60"/>
                        </a:lnTo>
                        <a:lnTo>
                          <a:pt x="5203" y="119"/>
                        </a:lnTo>
                        <a:lnTo>
                          <a:pt x="5203" y="119"/>
                        </a:lnTo>
                        <a:lnTo>
                          <a:pt x="4844" y="179"/>
                        </a:lnTo>
                        <a:lnTo>
                          <a:pt x="3349" y="837"/>
                        </a:lnTo>
                        <a:lnTo>
                          <a:pt x="1854" y="1435"/>
                        </a:lnTo>
                        <a:lnTo>
                          <a:pt x="0" y="2751"/>
                        </a:lnTo>
                      </a:path>
                    </a:pathLst>
                  </a:custGeom>
                  <a:noFill/>
                  <a:ln w="6350" cap="flat">
                    <a:solidFill>
                      <a:schemeClr val="bg1">
                        <a:alpha val="40000"/>
                      </a:schemeClr>
                    </a:solidFill>
                    <a:prstDash val="solid"/>
                    <a:miter/>
                  </a:ln>
                </p:spPr>
                <p:txBody>
                  <a:bodyPr rtlCol="0" anchor="ctr"/>
                  <a:lstStyle/>
                  <a:p>
                    <a:endParaRPr lang="en-GB"/>
                  </a:p>
                </p:txBody>
              </p:sp>
              <p:sp>
                <p:nvSpPr>
                  <p:cNvPr id="7992" name="Vrije vorm: vorm 7991">
                    <a:extLst>
                      <a:ext uri="{FF2B5EF4-FFF2-40B4-BE49-F238E27FC236}">
                        <a16:creationId xmlns:a16="http://schemas.microsoft.com/office/drawing/2014/main" id="{E47155AA-36EA-49E3-B062-E8154BEBDB20}"/>
                      </a:ext>
                    </a:extLst>
                  </p:cNvPr>
                  <p:cNvSpPr/>
                  <p:nvPr/>
                </p:nvSpPr>
                <p:spPr>
                  <a:xfrm>
                    <a:off x="5595284" y="5344832"/>
                    <a:ext cx="1016" cy="6638"/>
                  </a:xfrm>
                  <a:custGeom>
                    <a:avLst/>
                    <a:gdLst>
                      <a:gd name="connsiteX0" fmla="*/ 1017 w 1016"/>
                      <a:gd name="connsiteY0" fmla="*/ 6639 h 6638"/>
                      <a:gd name="connsiteX1" fmla="*/ 718 w 1016"/>
                      <a:gd name="connsiteY1" fmla="*/ 3170 h 6638"/>
                      <a:gd name="connsiteX2" fmla="*/ 479 w 1016"/>
                      <a:gd name="connsiteY2" fmla="*/ 478 h 6638"/>
                      <a:gd name="connsiteX3" fmla="*/ 0 w 1016"/>
                      <a:gd name="connsiteY3" fmla="*/ 0 h 6638"/>
                      <a:gd name="connsiteX4" fmla="*/ 299 w 1016"/>
                      <a:gd name="connsiteY4" fmla="*/ 3469 h 6638"/>
                      <a:gd name="connsiteX5" fmla="*/ 538 w 1016"/>
                      <a:gd name="connsiteY5" fmla="*/ 6160 h 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6" h="6638">
                        <a:moveTo>
                          <a:pt x="1017" y="6639"/>
                        </a:moveTo>
                        <a:lnTo>
                          <a:pt x="718" y="3170"/>
                        </a:lnTo>
                        <a:lnTo>
                          <a:pt x="479" y="478"/>
                        </a:lnTo>
                        <a:lnTo>
                          <a:pt x="0" y="0"/>
                        </a:lnTo>
                        <a:lnTo>
                          <a:pt x="299" y="3469"/>
                        </a:lnTo>
                        <a:lnTo>
                          <a:pt x="538" y="6160"/>
                        </a:lnTo>
                      </a:path>
                    </a:pathLst>
                  </a:custGeom>
                  <a:noFill/>
                  <a:ln w="6350" cap="flat">
                    <a:solidFill>
                      <a:schemeClr val="bg1">
                        <a:alpha val="40000"/>
                      </a:schemeClr>
                    </a:solidFill>
                    <a:prstDash val="solid"/>
                    <a:miter/>
                  </a:ln>
                </p:spPr>
                <p:txBody>
                  <a:bodyPr rtlCol="0" anchor="ctr"/>
                  <a:lstStyle/>
                  <a:p>
                    <a:endParaRPr lang="en-GB"/>
                  </a:p>
                </p:txBody>
              </p:sp>
              <p:sp>
                <p:nvSpPr>
                  <p:cNvPr id="7993" name="Vrije vorm: vorm 7992">
                    <a:extLst>
                      <a:ext uri="{FF2B5EF4-FFF2-40B4-BE49-F238E27FC236}">
                        <a16:creationId xmlns:a16="http://schemas.microsoft.com/office/drawing/2014/main" id="{C530969B-BBB4-4F09-9D08-406BF9066BE6}"/>
                      </a:ext>
                    </a:extLst>
                  </p:cNvPr>
                  <p:cNvSpPr/>
                  <p:nvPr/>
                </p:nvSpPr>
                <p:spPr>
                  <a:xfrm>
                    <a:off x="5598155" y="5342140"/>
                    <a:ext cx="4066" cy="8552"/>
                  </a:xfrm>
                  <a:custGeom>
                    <a:avLst/>
                    <a:gdLst>
                      <a:gd name="connsiteX0" fmla="*/ 3588 w 4066"/>
                      <a:gd name="connsiteY0" fmla="*/ 0 h 8552"/>
                      <a:gd name="connsiteX1" fmla="*/ 4067 w 4066"/>
                      <a:gd name="connsiteY1" fmla="*/ 478 h 8552"/>
                      <a:gd name="connsiteX2" fmla="*/ 3469 w 4066"/>
                      <a:gd name="connsiteY2" fmla="*/ 1674 h 8552"/>
                      <a:gd name="connsiteX3" fmla="*/ 3469 w 4066"/>
                      <a:gd name="connsiteY3" fmla="*/ 1674 h 8552"/>
                      <a:gd name="connsiteX4" fmla="*/ 2093 w 4066"/>
                      <a:gd name="connsiteY4" fmla="*/ 4426 h 8552"/>
                      <a:gd name="connsiteX5" fmla="*/ 299 w 4066"/>
                      <a:gd name="connsiteY5" fmla="*/ 7954 h 8552"/>
                      <a:gd name="connsiteX6" fmla="*/ 179 w 4066"/>
                      <a:gd name="connsiteY6" fmla="*/ 8194 h 8552"/>
                      <a:gd name="connsiteX7" fmla="*/ 0 w 4066"/>
                      <a:gd name="connsiteY7" fmla="*/ 8552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6" h="8552">
                        <a:moveTo>
                          <a:pt x="3588" y="0"/>
                        </a:moveTo>
                        <a:lnTo>
                          <a:pt x="4067" y="478"/>
                        </a:lnTo>
                        <a:lnTo>
                          <a:pt x="3469" y="1674"/>
                        </a:lnTo>
                        <a:lnTo>
                          <a:pt x="3469" y="1674"/>
                        </a:lnTo>
                        <a:lnTo>
                          <a:pt x="2093" y="4426"/>
                        </a:lnTo>
                        <a:lnTo>
                          <a:pt x="299" y="7954"/>
                        </a:lnTo>
                        <a:lnTo>
                          <a:pt x="179" y="8194"/>
                        </a:lnTo>
                        <a:lnTo>
                          <a:pt x="0" y="8552"/>
                        </a:lnTo>
                      </a:path>
                    </a:pathLst>
                  </a:custGeom>
                  <a:noFill/>
                  <a:ln w="6350" cap="flat">
                    <a:solidFill>
                      <a:schemeClr val="bg1">
                        <a:alpha val="40000"/>
                      </a:schemeClr>
                    </a:solidFill>
                    <a:prstDash val="solid"/>
                    <a:miter/>
                  </a:ln>
                </p:spPr>
                <p:txBody>
                  <a:bodyPr rtlCol="0" anchor="ctr"/>
                  <a:lstStyle/>
                  <a:p>
                    <a:endParaRPr lang="en-GB"/>
                  </a:p>
                </p:txBody>
              </p:sp>
              <p:sp>
                <p:nvSpPr>
                  <p:cNvPr id="7994" name="Vrije vorm: vorm 7993">
                    <a:extLst>
                      <a:ext uri="{FF2B5EF4-FFF2-40B4-BE49-F238E27FC236}">
                        <a16:creationId xmlns:a16="http://schemas.microsoft.com/office/drawing/2014/main" id="{CF721C73-4896-4ED1-9424-B5420BBC0C73}"/>
                      </a:ext>
                    </a:extLst>
                  </p:cNvPr>
                  <p:cNvSpPr/>
                  <p:nvPr/>
                </p:nvSpPr>
                <p:spPr>
                  <a:xfrm>
                    <a:off x="5601683" y="5342080"/>
                    <a:ext cx="1794" cy="298"/>
                  </a:xfrm>
                  <a:custGeom>
                    <a:avLst/>
                    <a:gdLst>
                      <a:gd name="connsiteX0" fmla="*/ 1794 w 1794"/>
                      <a:gd name="connsiteY0" fmla="*/ 299 h 298"/>
                      <a:gd name="connsiteX1" fmla="*/ 1017 w 1794"/>
                      <a:gd name="connsiteY1" fmla="*/ 0 h 298"/>
                      <a:gd name="connsiteX2" fmla="*/ 0 w 1794"/>
                      <a:gd name="connsiteY2" fmla="*/ 60 h 298"/>
                    </a:gdLst>
                    <a:ahLst/>
                    <a:cxnLst>
                      <a:cxn ang="0">
                        <a:pos x="connsiteX0" y="connsiteY0"/>
                      </a:cxn>
                      <a:cxn ang="0">
                        <a:pos x="connsiteX1" y="connsiteY1"/>
                      </a:cxn>
                      <a:cxn ang="0">
                        <a:pos x="connsiteX2" y="connsiteY2"/>
                      </a:cxn>
                    </a:cxnLst>
                    <a:rect l="l" t="t" r="r" b="b"/>
                    <a:pathLst>
                      <a:path w="1794" h="298">
                        <a:moveTo>
                          <a:pt x="1794" y="299"/>
                        </a:moveTo>
                        <a:lnTo>
                          <a:pt x="1017" y="0"/>
                        </a:lnTo>
                        <a:lnTo>
                          <a:pt x="0" y="60"/>
                        </a:lnTo>
                      </a:path>
                    </a:pathLst>
                  </a:custGeom>
                  <a:noFill/>
                  <a:ln w="6350" cap="flat">
                    <a:solidFill>
                      <a:schemeClr val="bg1">
                        <a:alpha val="40000"/>
                      </a:schemeClr>
                    </a:solidFill>
                    <a:prstDash val="solid"/>
                    <a:miter/>
                  </a:ln>
                </p:spPr>
                <p:txBody>
                  <a:bodyPr rtlCol="0" anchor="ctr"/>
                  <a:lstStyle/>
                  <a:p>
                    <a:endParaRPr lang="en-GB"/>
                  </a:p>
                </p:txBody>
              </p:sp>
              <p:sp>
                <p:nvSpPr>
                  <p:cNvPr id="7995" name="Vrije vorm: vorm 7994">
                    <a:extLst>
                      <a:ext uri="{FF2B5EF4-FFF2-40B4-BE49-F238E27FC236}">
                        <a16:creationId xmlns:a16="http://schemas.microsoft.com/office/drawing/2014/main" id="{416396A1-FC68-4EE8-8A7E-851964AF2B47}"/>
                      </a:ext>
                    </a:extLst>
                  </p:cNvPr>
                  <p:cNvSpPr/>
                  <p:nvPr/>
                </p:nvSpPr>
                <p:spPr>
                  <a:xfrm>
                    <a:off x="5600906" y="5342738"/>
                    <a:ext cx="6160" cy="11482"/>
                  </a:xfrm>
                  <a:custGeom>
                    <a:avLst/>
                    <a:gdLst>
                      <a:gd name="connsiteX0" fmla="*/ 120 w 6160"/>
                      <a:gd name="connsiteY0" fmla="*/ 11483 h 11482"/>
                      <a:gd name="connsiteX1" fmla="*/ 60 w 6160"/>
                      <a:gd name="connsiteY1" fmla="*/ 10646 h 11482"/>
                      <a:gd name="connsiteX2" fmla="*/ 0 w 6160"/>
                      <a:gd name="connsiteY2" fmla="*/ 9390 h 11482"/>
                      <a:gd name="connsiteX3" fmla="*/ 0 w 6160"/>
                      <a:gd name="connsiteY3" fmla="*/ 9390 h 11482"/>
                      <a:gd name="connsiteX4" fmla="*/ 0 w 6160"/>
                      <a:gd name="connsiteY4" fmla="*/ 9330 h 11482"/>
                      <a:gd name="connsiteX5" fmla="*/ 60 w 6160"/>
                      <a:gd name="connsiteY5" fmla="*/ 9270 h 11482"/>
                      <a:gd name="connsiteX6" fmla="*/ 60 w 6160"/>
                      <a:gd name="connsiteY6" fmla="*/ 9270 h 11482"/>
                      <a:gd name="connsiteX7" fmla="*/ 2871 w 6160"/>
                      <a:gd name="connsiteY7" fmla="*/ 6878 h 11482"/>
                      <a:gd name="connsiteX8" fmla="*/ 4545 w 6160"/>
                      <a:gd name="connsiteY8" fmla="*/ 5443 h 11482"/>
                      <a:gd name="connsiteX9" fmla="*/ 5084 w 6160"/>
                      <a:gd name="connsiteY9" fmla="*/ 4964 h 11482"/>
                      <a:gd name="connsiteX10" fmla="*/ 5861 w 6160"/>
                      <a:gd name="connsiteY10" fmla="*/ 4306 h 11482"/>
                      <a:gd name="connsiteX11" fmla="*/ 5861 w 6160"/>
                      <a:gd name="connsiteY11" fmla="*/ 4306 h 11482"/>
                      <a:gd name="connsiteX12" fmla="*/ 6160 w 6160"/>
                      <a:gd name="connsiteY12" fmla="*/ 4067 h 11482"/>
                      <a:gd name="connsiteX13" fmla="*/ 6100 w 6160"/>
                      <a:gd name="connsiteY13" fmla="*/ 3828 h 11482"/>
                      <a:gd name="connsiteX14" fmla="*/ 5742 w 6160"/>
                      <a:gd name="connsiteY14" fmla="*/ 2333 h 11482"/>
                      <a:gd name="connsiteX15" fmla="*/ 5144 w 6160"/>
                      <a:gd name="connsiteY15" fmla="*/ 1555 h 11482"/>
                      <a:gd name="connsiteX16" fmla="*/ 4366 w 6160"/>
                      <a:gd name="connsiteY16" fmla="*/ 538 h 11482"/>
                      <a:gd name="connsiteX17" fmla="*/ 3828 w 6160"/>
                      <a:gd name="connsiteY17" fmla="*/ 299 h 11482"/>
                      <a:gd name="connsiteX18" fmla="*/ 3110 w 6160"/>
                      <a:gd name="connsiteY18" fmla="*/ 0 h 1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60" h="11482">
                        <a:moveTo>
                          <a:pt x="120" y="11483"/>
                        </a:moveTo>
                        <a:lnTo>
                          <a:pt x="60" y="10646"/>
                        </a:lnTo>
                        <a:lnTo>
                          <a:pt x="0" y="9390"/>
                        </a:lnTo>
                        <a:lnTo>
                          <a:pt x="0" y="9390"/>
                        </a:lnTo>
                        <a:lnTo>
                          <a:pt x="0" y="9330"/>
                        </a:lnTo>
                        <a:lnTo>
                          <a:pt x="60" y="9270"/>
                        </a:lnTo>
                        <a:lnTo>
                          <a:pt x="60" y="9270"/>
                        </a:lnTo>
                        <a:lnTo>
                          <a:pt x="2871" y="6878"/>
                        </a:lnTo>
                        <a:lnTo>
                          <a:pt x="4545" y="5443"/>
                        </a:lnTo>
                        <a:lnTo>
                          <a:pt x="5084" y="4964"/>
                        </a:lnTo>
                        <a:lnTo>
                          <a:pt x="5861" y="4306"/>
                        </a:lnTo>
                        <a:lnTo>
                          <a:pt x="5861" y="4306"/>
                        </a:lnTo>
                        <a:lnTo>
                          <a:pt x="6160" y="4067"/>
                        </a:lnTo>
                        <a:lnTo>
                          <a:pt x="6100" y="3828"/>
                        </a:lnTo>
                        <a:lnTo>
                          <a:pt x="5742" y="2333"/>
                        </a:lnTo>
                        <a:lnTo>
                          <a:pt x="5144" y="1555"/>
                        </a:lnTo>
                        <a:lnTo>
                          <a:pt x="4366" y="538"/>
                        </a:lnTo>
                        <a:lnTo>
                          <a:pt x="3828" y="299"/>
                        </a:lnTo>
                        <a:lnTo>
                          <a:pt x="3110" y="0"/>
                        </a:lnTo>
                      </a:path>
                    </a:pathLst>
                  </a:custGeom>
                  <a:noFill/>
                  <a:ln w="6350" cap="flat">
                    <a:solidFill>
                      <a:schemeClr val="bg1">
                        <a:alpha val="40000"/>
                      </a:schemeClr>
                    </a:solidFill>
                    <a:prstDash val="solid"/>
                    <a:miter/>
                  </a:ln>
                </p:spPr>
                <p:txBody>
                  <a:bodyPr rtlCol="0" anchor="ctr"/>
                  <a:lstStyle/>
                  <a:p>
                    <a:endParaRPr lang="en-GB"/>
                  </a:p>
                </p:txBody>
              </p:sp>
              <p:sp>
                <p:nvSpPr>
                  <p:cNvPr id="7996" name="Vrije vorm: vorm 7995">
                    <a:extLst>
                      <a:ext uri="{FF2B5EF4-FFF2-40B4-BE49-F238E27FC236}">
                        <a16:creationId xmlns:a16="http://schemas.microsoft.com/office/drawing/2014/main" id="{F8E20217-0A08-4BED-838B-028CE0C6A4F4}"/>
                      </a:ext>
                    </a:extLst>
                  </p:cNvPr>
                  <p:cNvSpPr/>
                  <p:nvPr/>
                </p:nvSpPr>
                <p:spPr>
                  <a:xfrm>
                    <a:off x="5599410" y="5342319"/>
                    <a:ext cx="4605" cy="8552"/>
                  </a:xfrm>
                  <a:custGeom>
                    <a:avLst/>
                    <a:gdLst>
                      <a:gd name="connsiteX0" fmla="*/ 479 w 4605"/>
                      <a:gd name="connsiteY0" fmla="*/ 8552 h 8552"/>
                      <a:gd name="connsiteX1" fmla="*/ 957 w 4605"/>
                      <a:gd name="connsiteY1" fmla="*/ 7655 h 8552"/>
                      <a:gd name="connsiteX2" fmla="*/ 2572 w 4605"/>
                      <a:gd name="connsiteY2" fmla="*/ 4486 h 8552"/>
                      <a:gd name="connsiteX3" fmla="*/ 2572 w 4605"/>
                      <a:gd name="connsiteY3" fmla="*/ 4486 h 8552"/>
                      <a:gd name="connsiteX4" fmla="*/ 4366 w 4605"/>
                      <a:gd name="connsiteY4" fmla="*/ 957 h 8552"/>
                      <a:gd name="connsiteX5" fmla="*/ 4605 w 4605"/>
                      <a:gd name="connsiteY5" fmla="*/ 479 h 8552"/>
                      <a:gd name="connsiteX6" fmla="*/ 4127 w 4605"/>
                      <a:gd name="connsiteY6" fmla="*/ 0 h 8552"/>
                      <a:gd name="connsiteX7" fmla="*/ 2572 w 4605"/>
                      <a:gd name="connsiteY7" fmla="*/ 2990 h 8552"/>
                      <a:gd name="connsiteX8" fmla="*/ 2572 w 4605"/>
                      <a:gd name="connsiteY8" fmla="*/ 2990 h 8552"/>
                      <a:gd name="connsiteX9" fmla="*/ 957 w 4605"/>
                      <a:gd name="connsiteY9" fmla="*/ 6100 h 8552"/>
                      <a:gd name="connsiteX10" fmla="*/ 0 w 4605"/>
                      <a:gd name="connsiteY10" fmla="*/ 8014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5" h="8552">
                        <a:moveTo>
                          <a:pt x="479" y="8552"/>
                        </a:moveTo>
                        <a:lnTo>
                          <a:pt x="957" y="7655"/>
                        </a:lnTo>
                        <a:lnTo>
                          <a:pt x="2572" y="4486"/>
                        </a:lnTo>
                        <a:lnTo>
                          <a:pt x="2572" y="4486"/>
                        </a:lnTo>
                        <a:lnTo>
                          <a:pt x="4366" y="957"/>
                        </a:lnTo>
                        <a:lnTo>
                          <a:pt x="4605" y="479"/>
                        </a:lnTo>
                        <a:lnTo>
                          <a:pt x="4127" y="0"/>
                        </a:lnTo>
                        <a:lnTo>
                          <a:pt x="2572" y="2990"/>
                        </a:lnTo>
                        <a:lnTo>
                          <a:pt x="2572" y="2990"/>
                        </a:lnTo>
                        <a:lnTo>
                          <a:pt x="957" y="6100"/>
                        </a:lnTo>
                        <a:lnTo>
                          <a:pt x="0" y="8014"/>
                        </a:lnTo>
                      </a:path>
                    </a:pathLst>
                  </a:custGeom>
                  <a:noFill/>
                  <a:ln w="6350" cap="flat">
                    <a:solidFill>
                      <a:schemeClr val="bg1">
                        <a:alpha val="40000"/>
                      </a:schemeClr>
                    </a:solidFill>
                    <a:prstDash val="solid"/>
                    <a:miter/>
                  </a:ln>
                </p:spPr>
                <p:txBody>
                  <a:bodyPr rtlCol="0" anchor="ctr"/>
                  <a:lstStyle/>
                  <a:p>
                    <a:endParaRPr lang="en-GB"/>
                  </a:p>
                </p:txBody>
              </p:sp>
              <p:sp>
                <p:nvSpPr>
                  <p:cNvPr id="7997" name="Vrije vorm: vorm 7996">
                    <a:extLst>
                      <a:ext uri="{FF2B5EF4-FFF2-40B4-BE49-F238E27FC236}">
                        <a16:creationId xmlns:a16="http://schemas.microsoft.com/office/drawing/2014/main" id="{5F0C1FAE-5471-4CEC-A73B-E2D96F407D87}"/>
                      </a:ext>
                    </a:extLst>
                  </p:cNvPr>
                  <p:cNvSpPr/>
                  <p:nvPr/>
                </p:nvSpPr>
                <p:spPr>
                  <a:xfrm>
                    <a:off x="5604016" y="5342200"/>
                    <a:ext cx="1256" cy="1136"/>
                  </a:xfrm>
                  <a:custGeom>
                    <a:avLst/>
                    <a:gdLst>
                      <a:gd name="connsiteX0" fmla="*/ 0 w 1256"/>
                      <a:gd name="connsiteY0" fmla="*/ 0 h 1136"/>
                      <a:gd name="connsiteX1" fmla="*/ 1256 w 1256"/>
                      <a:gd name="connsiteY1" fmla="*/ 1136 h 1136"/>
                    </a:gdLst>
                    <a:ahLst/>
                    <a:cxnLst>
                      <a:cxn ang="0">
                        <a:pos x="connsiteX0" y="connsiteY0"/>
                      </a:cxn>
                      <a:cxn ang="0">
                        <a:pos x="connsiteX1" y="connsiteY1"/>
                      </a:cxn>
                    </a:cxnLst>
                    <a:rect l="l" t="t" r="r" b="b"/>
                    <a:pathLst>
                      <a:path w="1256" h="1136">
                        <a:moveTo>
                          <a:pt x="0" y="0"/>
                        </a:moveTo>
                        <a:lnTo>
                          <a:pt x="1256" y="1136"/>
                        </a:lnTo>
                      </a:path>
                    </a:pathLst>
                  </a:custGeom>
                  <a:noFill/>
                  <a:ln w="6350" cap="flat">
                    <a:solidFill>
                      <a:schemeClr val="bg1">
                        <a:alpha val="40000"/>
                      </a:schemeClr>
                    </a:solidFill>
                    <a:prstDash val="solid"/>
                    <a:miter/>
                  </a:ln>
                </p:spPr>
                <p:txBody>
                  <a:bodyPr rtlCol="0" anchor="ctr"/>
                  <a:lstStyle/>
                  <a:p>
                    <a:endParaRPr lang="en-GB"/>
                  </a:p>
                </p:txBody>
              </p:sp>
              <p:sp>
                <p:nvSpPr>
                  <p:cNvPr id="7998" name="Vrije vorm: vorm 7997">
                    <a:extLst>
                      <a:ext uri="{FF2B5EF4-FFF2-40B4-BE49-F238E27FC236}">
                        <a16:creationId xmlns:a16="http://schemas.microsoft.com/office/drawing/2014/main" id="{DE23D50F-24EB-47BF-8249-B74908414BAA}"/>
                      </a:ext>
                    </a:extLst>
                  </p:cNvPr>
                  <p:cNvSpPr/>
                  <p:nvPr/>
                </p:nvSpPr>
                <p:spPr>
                  <a:xfrm>
                    <a:off x="5598753" y="5347104"/>
                    <a:ext cx="8433" cy="12798"/>
                  </a:xfrm>
                  <a:custGeom>
                    <a:avLst/>
                    <a:gdLst>
                      <a:gd name="connsiteX0" fmla="*/ 7954 w 8433"/>
                      <a:gd name="connsiteY0" fmla="*/ 0 h 12798"/>
                      <a:gd name="connsiteX1" fmla="*/ 7954 w 8433"/>
                      <a:gd name="connsiteY1" fmla="*/ 0 h 12798"/>
                      <a:gd name="connsiteX2" fmla="*/ 8014 w 8433"/>
                      <a:gd name="connsiteY2" fmla="*/ 180 h 12798"/>
                      <a:gd name="connsiteX3" fmla="*/ 7954 w 8433"/>
                      <a:gd name="connsiteY3" fmla="*/ 1436 h 12798"/>
                      <a:gd name="connsiteX4" fmla="*/ 8433 w 8433"/>
                      <a:gd name="connsiteY4" fmla="*/ 1914 h 12798"/>
                      <a:gd name="connsiteX5" fmla="*/ 8433 w 8433"/>
                      <a:gd name="connsiteY5" fmla="*/ 2093 h 12798"/>
                      <a:gd name="connsiteX6" fmla="*/ 8313 w 8433"/>
                      <a:gd name="connsiteY6" fmla="*/ 3947 h 12798"/>
                      <a:gd name="connsiteX7" fmla="*/ 8313 w 8433"/>
                      <a:gd name="connsiteY7" fmla="*/ 3947 h 12798"/>
                      <a:gd name="connsiteX8" fmla="*/ 8313 w 8433"/>
                      <a:gd name="connsiteY8" fmla="*/ 4007 h 12798"/>
                      <a:gd name="connsiteX9" fmla="*/ 7356 w 8433"/>
                      <a:gd name="connsiteY9" fmla="*/ 7715 h 12798"/>
                      <a:gd name="connsiteX10" fmla="*/ 7237 w 8433"/>
                      <a:gd name="connsiteY10" fmla="*/ 8014 h 12798"/>
                      <a:gd name="connsiteX11" fmla="*/ 7177 w 8433"/>
                      <a:gd name="connsiteY11" fmla="*/ 8134 h 12798"/>
                      <a:gd name="connsiteX12" fmla="*/ 6399 w 8433"/>
                      <a:gd name="connsiteY12" fmla="*/ 9928 h 12798"/>
                      <a:gd name="connsiteX13" fmla="*/ 5742 w 8433"/>
                      <a:gd name="connsiteY13" fmla="*/ 9868 h 12798"/>
                      <a:gd name="connsiteX14" fmla="*/ 4725 w 8433"/>
                      <a:gd name="connsiteY14" fmla="*/ 9749 h 12798"/>
                      <a:gd name="connsiteX15" fmla="*/ 4545 w 8433"/>
                      <a:gd name="connsiteY15" fmla="*/ 9749 h 12798"/>
                      <a:gd name="connsiteX16" fmla="*/ 3289 w 8433"/>
                      <a:gd name="connsiteY16" fmla="*/ 9629 h 12798"/>
                      <a:gd name="connsiteX17" fmla="*/ 3170 w 8433"/>
                      <a:gd name="connsiteY17" fmla="*/ 9629 h 12798"/>
                      <a:gd name="connsiteX18" fmla="*/ 1675 w 8433"/>
                      <a:gd name="connsiteY18" fmla="*/ 9510 h 12798"/>
                      <a:gd name="connsiteX19" fmla="*/ 837 w 8433"/>
                      <a:gd name="connsiteY19" fmla="*/ 11184 h 12798"/>
                      <a:gd name="connsiteX20" fmla="*/ 419 w 8433"/>
                      <a:gd name="connsiteY20" fmla="*/ 11902 h 12798"/>
                      <a:gd name="connsiteX21" fmla="*/ 180 w 8433"/>
                      <a:gd name="connsiteY21" fmla="*/ 12380 h 12798"/>
                      <a:gd name="connsiteX22" fmla="*/ 0 w 8433"/>
                      <a:gd name="connsiteY22" fmla="*/ 12799 h 1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433" h="12798">
                        <a:moveTo>
                          <a:pt x="7954" y="0"/>
                        </a:moveTo>
                        <a:lnTo>
                          <a:pt x="7954" y="0"/>
                        </a:lnTo>
                        <a:lnTo>
                          <a:pt x="8014" y="180"/>
                        </a:lnTo>
                        <a:lnTo>
                          <a:pt x="7954" y="1436"/>
                        </a:lnTo>
                        <a:lnTo>
                          <a:pt x="8433" y="1914"/>
                        </a:lnTo>
                        <a:lnTo>
                          <a:pt x="8433" y="2093"/>
                        </a:lnTo>
                        <a:lnTo>
                          <a:pt x="8313" y="3947"/>
                        </a:lnTo>
                        <a:lnTo>
                          <a:pt x="8313" y="3947"/>
                        </a:lnTo>
                        <a:lnTo>
                          <a:pt x="8313" y="4007"/>
                        </a:lnTo>
                        <a:lnTo>
                          <a:pt x="7356" y="7715"/>
                        </a:lnTo>
                        <a:lnTo>
                          <a:pt x="7237" y="8014"/>
                        </a:lnTo>
                        <a:lnTo>
                          <a:pt x="7177" y="8134"/>
                        </a:lnTo>
                        <a:lnTo>
                          <a:pt x="6399" y="9928"/>
                        </a:lnTo>
                        <a:lnTo>
                          <a:pt x="5742" y="9868"/>
                        </a:lnTo>
                        <a:lnTo>
                          <a:pt x="4725" y="9749"/>
                        </a:lnTo>
                        <a:lnTo>
                          <a:pt x="4545" y="9749"/>
                        </a:lnTo>
                        <a:lnTo>
                          <a:pt x="3289" y="9629"/>
                        </a:lnTo>
                        <a:lnTo>
                          <a:pt x="3170" y="9629"/>
                        </a:lnTo>
                        <a:lnTo>
                          <a:pt x="1675" y="9510"/>
                        </a:lnTo>
                        <a:lnTo>
                          <a:pt x="837" y="11184"/>
                        </a:lnTo>
                        <a:lnTo>
                          <a:pt x="419" y="11902"/>
                        </a:lnTo>
                        <a:lnTo>
                          <a:pt x="180" y="12380"/>
                        </a:lnTo>
                        <a:lnTo>
                          <a:pt x="0" y="12799"/>
                        </a:lnTo>
                      </a:path>
                    </a:pathLst>
                  </a:custGeom>
                  <a:noFill/>
                  <a:ln w="6350" cap="flat">
                    <a:solidFill>
                      <a:schemeClr val="bg1">
                        <a:alpha val="40000"/>
                      </a:schemeClr>
                    </a:solidFill>
                    <a:prstDash val="solid"/>
                    <a:miter/>
                  </a:ln>
                </p:spPr>
                <p:txBody>
                  <a:bodyPr rtlCol="0" anchor="ctr"/>
                  <a:lstStyle/>
                  <a:p>
                    <a:endParaRPr lang="en-GB"/>
                  </a:p>
                </p:txBody>
              </p:sp>
              <p:sp>
                <p:nvSpPr>
                  <p:cNvPr id="7999" name="Vrije vorm: vorm 7998">
                    <a:extLst>
                      <a:ext uri="{FF2B5EF4-FFF2-40B4-BE49-F238E27FC236}">
                        <a16:creationId xmlns:a16="http://schemas.microsoft.com/office/drawing/2014/main" id="{59BDBF8D-2BAC-4B1F-83B5-30E296410075}"/>
                      </a:ext>
                    </a:extLst>
                  </p:cNvPr>
                  <p:cNvSpPr/>
                  <p:nvPr/>
                </p:nvSpPr>
                <p:spPr>
                  <a:xfrm>
                    <a:off x="5591576" y="5322583"/>
                    <a:ext cx="11363" cy="17164"/>
                  </a:xfrm>
                  <a:custGeom>
                    <a:avLst/>
                    <a:gdLst>
                      <a:gd name="connsiteX0" fmla="*/ 0 w 11363"/>
                      <a:gd name="connsiteY0" fmla="*/ 17165 h 17164"/>
                      <a:gd name="connsiteX1" fmla="*/ 120 w 11363"/>
                      <a:gd name="connsiteY1" fmla="*/ 16866 h 17164"/>
                      <a:gd name="connsiteX2" fmla="*/ 239 w 11363"/>
                      <a:gd name="connsiteY2" fmla="*/ 16567 h 17164"/>
                      <a:gd name="connsiteX3" fmla="*/ 239 w 11363"/>
                      <a:gd name="connsiteY3" fmla="*/ 16567 h 17164"/>
                      <a:gd name="connsiteX4" fmla="*/ 1974 w 11363"/>
                      <a:gd name="connsiteY4" fmla="*/ 13158 h 17164"/>
                      <a:gd name="connsiteX5" fmla="*/ 3768 w 11363"/>
                      <a:gd name="connsiteY5" fmla="*/ 9629 h 17164"/>
                      <a:gd name="connsiteX6" fmla="*/ 4665 w 11363"/>
                      <a:gd name="connsiteY6" fmla="*/ 7835 h 17164"/>
                      <a:gd name="connsiteX7" fmla="*/ 7177 w 11363"/>
                      <a:gd name="connsiteY7" fmla="*/ 4904 h 17164"/>
                      <a:gd name="connsiteX8" fmla="*/ 9689 w 11363"/>
                      <a:gd name="connsiteY8" fmla="*/ 1974 h 17164"/>
                      <a:gd name="connsiteX9" fmla="*/ 11364 w 11363"/>
                      <a:gd name="connsiteY9" fmla="*/ 0 h 1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63" h="17164">
                        <a:moveTo>
                          <a:pt x="0" y="17165"/>
                        </a:moveTo>
                        <a:lnTo>
                          <a:pt x="120" y="16866"/>
                        </a:lnTo>
                        <a:lnTo>
                          <a:pt x="239" y="16567"/>
                        </a:lnTo>
                        <a:lnTo>
                          <a:pt x="239" y="16567"/>
                        </a:lnTo>
                        <a:lnTo>
                          <a:pt x="1974" y="13158"/>
                        </a:lnTo>
                        <a:lnTo>
                          <a:pt x="3768" y="9629"/>
                        </a:lnTo>
                        <a:lnTo>
                          <a:pt x="4665" y="7835"/>
                        </a:lnTo>
                        <a:lnTo>
                          <a:pt x="7177" y="4904"/>
                        </a:lnTo>
                        <a:lnTo>
                          <a:pt x="9689" y="1974"/>
                        </a:lnTo>
                        <a:lnTo>
                          <a:pt x="11364" y="0"/>
                        </a:lnTo>
                      </a:path>
                    </a:pathLst>
                  </a:custGeom>
                  <a:noFill/>
                  <a:ln w="6350" cap="flat">
                    <a:solidFill>
                      <a:schemeClr val="bg1">
                        <a:alpha val="40000"/>
                      </a:schemeClr>
                    </a:solidFill>
                    <a:prstDash val="solid"/>
                    <a:miter/>
                  </a:ln>
                </p:spPr>
                <p:txBody>
                  <a:bodyPr rtlCol="0" anchor="ctr"/>
                  <a:lstStyle/>
                  <a:p>
                    <a:endParaRPr lang="en-GB"/>
                  </a:p>
                </p:txBody>
              </p:sp>
              <p:sp>
                <p:nvSpPr>
                  <p:cNvPr id="8000" name="Vrije vorm: vorm 7999">
                    <a:extLst>
                      <a:ext uri="{FF2B5EF4-FFF2-40B4-BE49-F238E27FC236}">
                        <a16:creationId xmlns:a16="http://schemas.microsoft.com/office/drawing/2014/main" id="{830E003E-C753-4E25-B621-62D7480DFE58}"/>
                      </a:ext>
                    </a:extLst>
                  </p:cNvPr>
                  <p:cNvSpPr/>
                  <p:nvPr/>
                </p:nvSpPr>
                <p:spPr>
                  <a:xfrm>
                    <a:off x="5608501" y="5325573"/>
                    <a:ext cx="8552" cy="20992"/>
                  </a:xfrm>
                  <a:custGeom>
                    <a:avLst/>
                    <a:gdLst>
                      <a:gd name="connsiteX0" fmla="*/ 8552 w 8552"/>
                      <a:gd name="connsiteY0" fmla="*/ 0 h 20992"/>
                      <a:gd name="connsiteX1" fmla="*/ 7596 w 8552"/>
                      <a:gd name="connsiteY1" fmla="*/ 3768 h 20992"/>
                      <a:gd name="connsiteX2" fmla="*/ 6639 w 8552"/>
                      <a:gd name="connsiteY2" fmla="*/ 7536 h 20992"/>
                      <a:gd name="connsiteX3" fmla="*/ 6459 w 8552"/>
                      <a:gd name="connsiteY3" fmla="*/ 8253 h 20992"/>
                      <a:gd name="connsiteX4" fmla="*/ 4665 w 8552"/>
                      <a:gd name="connsiteY4" fmla="*/ 11782 h 20992"/>
                      <a:gd name="connsiteX5" fmla="*/ 2871 w 8552"/>
                      <a:gd name="connsiteY5" fmla="*/ 15311 h 20992"/>
                      <a:gd name="connsiteX6" fmla="*/ 2333 w 8552"/>
                      <a:gd name="connsiteY6" fmla="*/ 16387 h 20992"/>
                      <a:gd name="connsiteX7" fmla="*/ 538 w 8552"/>
                      <a:gd name="connsiteY7" fmla="*/ 19916 h 20992"/>
                      <a:gd name="connsiteX8" fmla="*/ 0 w 8552"/>
                      <a:gd name="connsiteY8" fmla="*/ 20992 h 2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2" h="20992">
                        <a:moveTo>
                          <a:pt x="8552" y="0"/>
                        </a:moveTo>
                        <a:lnTo>
                          <a:pt x="7596" y="3768"/>
                        </a:lnTo>
                        <a:lnTo>
                          <a:pt x="6639" y="7536"/>
                        </a:lnTo>
                        <a:lnTo>
                          <a:pt x="6459" y="8253"/>
                        </a:lnTo>
                        <a:lnTo>
                          <a:pt x="4665" y="11782"/>
                        </a:lnTo>
                        <a:lnTo>
                          <a:pt x="2871" y="15311"/>
                        </a:lnTo>
                        <a:lnTo>
                          <a:pt x="2333" y="16387"/>
                        </a:lnTo>
                        <a:lnTo>
                          <a:pt x="538" y="19916"/>
                        </a:lnTo>
                        <a:lnTo>
                          <a:pt x="0" y="20992"/>
                        </a:lnTo>
                      </a:path>
                    </a:pathLst>
                  </a:custGeom>
                  <a:noFill/>
                  <a:ln w="6350" cap="flat">
                    <a:solidFill>
                      <a:schemeClr val="bg1">
                        <a:alpha val="40000"/>
                      </a:schemeClr>
                    </a:solidFill>
                    <a:prstDash val="solid"/>
                    <a:miter/>
                  </a:ln>
                </p:spPr>
                <p:txBody>
                  <a:bodyPr rtlCol="0" anchor="ctr"/>
                  <a:lstStyle/>
                  <a:p>
                    <a:endParaRPr lang="en-GB"/>
                  </a:p>
                </p:txBody>
              </p:sp>
              <p:sp>
                <p:nvSpPr>
                  <p:cNvPr id="8001" name="Vrije vorm: vorm 8000">
                    <a:extLst>
                      <a:ext uri="{FF2B5EF4-FFF2-40B4-BE49-F238E27FC236}">
                        <a16:creationId xmlns:a16="http://schemas.microsoft.com/office/drawing/2014/main" id="{EFA70983-D6AE-464A-91A4-3E741BF17BF0}"/>
                      </a:ext>
                    </a:extLst>
                  </p:cNvPr>
                  <p:cNvSpPr/>
                  <p:nvPr/>
                </p:nvSpPr>
                <p:spPr>
                  <a:xfrm>
                    <a:off x="5597257" y="5302548"/>
                    <a:ext cx="24521" cy="12080"/>
                  </a:xfrm>
                  <a:custGeom>
                    <a:avLst/>
                    <a:gdLst>
                      <a:gd name="connsiteX0" fmla="*/ 21291 w 24521"/>
                      <a:gd name="connsiteY0" fmla="*/ 9031 h 12080"/>
                      <a:gd name="connsiteX1" fmla="*/ 23444 w 24521"/>
                      <a:gd name="connsiteY1" fmla="*/ 10825 h 12080"/>
                      <a:gd name="connsiteX2" fmla="*/ 24521 w 24521"/>
                      <a:gd name="connsiteY2" fmla="*/ 11662 h 12080"/>
                      <a:gd name="connsiteX3" fmla="*/ 24342 w 24521"/>
                      <a:gd name="connsiteY3" fmla="*/ 12081 h 12080"/>
                      <a:gd name="connsiteX4" fmla="*/ 23265 w 24521"/>
                      <a:gd name="connsiteY4" fmla="*/ 11902 h 12080"/>
                      <a:gd name="connsiteX5" fmla="*/ 21471 w 24521"/>
                      <a:gd name="connsiteY5" fmla="*/ 11543 h 12080"/>
                      <a:gd name="connsiteX6" fmla="*/ 18660 w 24521"/>
                      <a:gd name="connsiteY6" fmla="*/ 11004 h 12080"/>
                      <a:gd name="connsiteX7" fmla="*/ 15849 w 24521"/>
                      <a:gd name="connsiteY7" fmla="*/ 10466 h 12080"/>
                      <a:gd name="connsiteX8" fmla="*/ 13038 w 24521"/>
                      <a:gd name="connsiteY8" fmla="*/ 9928 h 12080"/>
                      <a:gd name="connsiteX9" fmla="*/ 12560 w 24521"/>
                      <a:gd name="connsiteY9" fmla="*/ 9868 h 12080"/>
                      <a:gd name="connsiteX10" fmla="*/ 10885 w 24521"/>
                      <a:gd name="connsiteY10" fmla="*/ 9090 h 12080"/>
                      <a:gd name="connsiteX11" fmla="*/ 8732 w 24521"/>
                      <a:gd name="connsiteY11" fmla="*/ 7296 h 12080"/>
                      <a:gd name="connsiteX12" fmla="*/ 6579 w 24521"/>
                      <a:gd name="connsiteY12" fmla="*/ 5502 h 12080"/>
                      <a:gd name="connsiteX13" fmla="*/ 5323 w 24521"/>
                      <a:gd name="connsiteY13" fmla="*/ 4426 h 12080"/>
                      <a:gd name="connsiteX14" fmla="*/ 3170 w 24521"/>
                      <a:gd name="connsiteY14" fmla="*/ 2632 h 12080"/>
                      <a:gd name="connsiteX15" fmla="*/ 2930 w 24521"/>
                      <a:gd name="connsiteY15" fmla="*/ 2452 h 12080"/>
                      <a:gd name="connsiteX16" fmla="*/ 1794 w 24521"/>
                      <a:gd name="connsiteY16" fmla="*/ 1495 h 12080"/>
                      <a:gd name="connsiteX17" fmla="*/ 1555 w 24521"/>
                      <a:gd name="connsiteY17" fmla="*/ 1316 h 12080"/>
                      <a:gd name="connsiteX18" fmla="*/ 1555 w 24521"/>
                      <a:gd name="connsiteY18" fmla="*/ 1316 h 12080"/>
                      <a:gd name="connsiteX19" fmla="*/ 359 w 24521"/>
                      <a:gd name="connsiteY19" fmla="*/ 299 h 12080"/>
                      <a:gd name="connsiteX20" fmla="*/ 359 w 24521"/>
                      <a:gd name="connsiteY20" fmla="*/ 299 h 12080"/>
                      <a:gd name="connsiteX21" fmla="*/ 0 w 24521"/>
                      <a:gd name="connsiteY21" fmla="*/ 0 h 1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521" h="12080">
                        <a:moveTo>
                          <a:pt x="21291" y="9031"/>
                        </a:moveTo>
                        <a:lnTo>
                          <a:pt x="23444" y="10825"/>
                        </a:lnTo>
                        <a:lnTo>
                          <a:pt x="24521" y="11662"/>
                        </a:lnTo>
                        <a:lnTo>
                          <a:pt x="24342" y="12081"/>
                        </a:lnTo>
                        <a:lnTo>
                          <a:pt x="23265" y="11902"/>
                        </a:lnTo>
                        <a:lnTo>
                          <a:pt x="21471" y="11543"/>
                        </a:lnTo>
                        <a:lnTo>
                          <a:pt x="18660" y="11004"/>
                        </a:lnTo>
                        <a:lnTo>
                          <a:pt x="15849" y="10466"/>
                        </a:lnTo>
                        <a:lnTo>
                          <a:pt x="13038" y="9928"/>
                        </a:lnTo>
                        <a:lnTo>
                          <a:pt x="12560" y="9868"/>
                        </a:lnTo>
                        <a:lnTo>
                          <a:pt x="10885" y="9090"/>
                        </a:lnTo>
                        <a:lnTo>
                          <a:pt x="8732" y="7296"/>
                        </a:lnTo>
                        <a:lnTo>
                          <a:pt x="6579" y="5502"/>
                        </a:lnTo>
                        <a:lnTo>
                          <a:pt x="5323" y="4426"/>
                        </a:lnTo>
                        <a:lnTo>
                          <a:pt x="3170" y="2632"/>
                        </a:lnTo>
                        <a:lnTo>
                          <a:pt x="2930" y="2452"/>
                        </a:lnTo>
                        <a:lnTo>
                          <a:pt x="1794" y="1495"/>
                        </a:lnTo>
                        <a:lnTo>
                          <a:pt x="1555" y="1316"/>
                        </a:lnTo>
                        <a:lnTo>
                          <a:pt x="1555" y="1316"/>
                        </a:lnTo>
                        <a:lnTo>
                          <a:pt x="359" y="299"/>
                        </a:lnTo>
                        <a:lnTo>
                          <a:pt x="359" y="29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02" name="Vrije vorm: vorm 8001">
                    <a:extLst>
                      <a:ext uri="{FF2B5EF4-FFF2-40B4-BE49-F238E27FC236}">
                        <a16:creationId xmlns:a16="http://schemas.microsoft.com/office/drawing/2014/main" id="{16230B00-2B8E-4FA1-9EFB-DE43BADB0A0E}"/>
                      </a:ext>
                    </a:extLst>
                  </p:cNvPr>
                  <p:cNvSpPr/>
                  <p:nvPr/>
                </p:nvSpPr>
                <p:spPr>
                  <a:xfrm>
                    <a:off x="5602042" y="5305119"/>
                    <a:ext cx="15609" cy="7655"/>
                  </a:xfrm>
                  <a:custGeom>
                    <a:avLst/>
                    <a:gdLst>
                      <a:gd name="connsiteX0" fmla="*/ 0 w 15609"/>
                      <a:gd name="connsiteY0" fmla="*/ 0 h 7655"/>
                      <a:gd name="connsiteX1" fmla="*/ 0 w 15609"/>
                      <a:gd name="connsiteY1" fmla="*/ 299 h 7655"/>
                      <a:gd name="connsiteX2" fmla="*/ 0 w 15609"/>
                      <a:gd name="connsiteY2" fmla="*/ 299 h 7655"/>
                      <a:gd name="connsiteX3" fmla="*/ 0 w 15609"/>
                      <a:gd name="connsiteY3" fmla="*/ 658 h 7655"/>
                      <a:gd name="connsiteX4" fmla="*/ 598 w 15609"/>
                      <a:gd name="connsiteY4" fmla="*/ 1495 h 7655"/>
                      <a:gd name="connsiteX5" fmla="*/ 598 w 15609"/>
                      <a:gd name="connsiteY5" fmla="*/ 1495 h 7655"/>
                      <a:gd name="connsiteX6" fmla="*/ 1675 w 15609"/>
                      <a:gd name="connsiteY6" fmla="*/ 2452 h 7655"/>
                      <a:gd name="connsiteX7" fmla="*/ 3170 w 15609"/>
                      <a:gd name="connsiteY7" fmla="*/ 3528 h 7655"/>
                      <a:gd name="connsiteX8" fmla="*/ 5024 w 15609"/>
                      <a:gd name="connsiteY8" fmla="*/ 4605 h 7655"/>
                      <a:gd name="connsiteX9" fmla="*/ 7057 w 15609"/>
                      <a:gd name="connsiteY9" fmla="*/ 5622 h 7655"/>
                      <a:gd name="connsiteX10" fmla="*/ 9151 w 15609"/>
                      <a:gd name="connsiteY10" fmla="*/ 6459 h 7655"/>
                      <a:gd name="connsiteX11" fmla="*/ 11124 w 15609"/>
                      <a:gd name="connsiteY11" fmla="*/ 7117 h 7655"/>
                      <a:gd name="connsiteX12" fmla="*/ 12859 w 15609"/>
                      <a:gd name="connsiteY12" fmla="*/ 7536 h 7655"/>
                      <a:gd name="connsiteX13" fmla="*/ 14234 w 15609"/>
                      <a:gd name="connsiteY13" fmla="*/ 7655 h 7655"/>
                      <a:gd name="connsiteX14" fmla="*/ 14832 w 15609"/>
                      <a:gd name="connsiteY14" fmla="*/ 7536 h 7655"/>
                      <a:gd name="connsiteX15" fmla="*/ 15191 w 15609"/>
                      <a:gd name="connsiteY15" fmla="*/ 7476 h 7655"/>
                      <a:gd name="connsiteX16" fmla="*/ 15610 w 15609"/>
                      <a:gd name="connsiteY16" fmla="*/ 7057 h 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09" h="7655">
                        <a:moveTo>
                          <a:pt x="0" y="0"/>
                        </a:moveTo>
                        <a:lnTo>
                          <a:pt x="0" y="299"/>
                        </a:lnTo>
                        <a:lnTo>
                          <a:pt x="0" y="299"/>
                        </a:lnTo>
                        <a:lnTo>
                          <a:pt x="0" y="658"/>
                        </a:lnTo>
                        <a:lnTo>
                          <a:pt x="598" y="1495"/>
                        </a:lnTo>
                        <a:lnTo>
                          <a:pt x="598" y="1495"/>
                        </a:lnTo>
                        <a:lnTo>
                          <a:pt x="1675" y="2452"/>
                        </a:lnTo>
                        <a:lnTo>
                          <a:pt x="3170" y="3528"/>
                        </a:lnTo>
                        <a:lnTo>
                          <a:pt x="5024" y="4605"/>
                        </a:lnTo>
                        <a:lnTo>
                          <a:pt x="7057" y="5622"/>
                        </a:lnTo>
                        <a:lnTo>
                          <a:pt x="9151" y="6459"/>
                        </a:lnTo>
                        <a:lnTo>
                          <a:pt x="11124" y="7117"/>
                        </a:lnTo>
                        <a:lnTo>
                          <a:pt x="12859" y="7536"/>
                        </a:lnTo>
                        <a:lnTo>
                          <a:pt x="14234" y="7655"/>
                        </a:lnTo>
                        <a:lnTo>
                          <a:pt x="14832" y="7536"/>
                        </a:lnTo>
                        <a:lnTo>
                          <a:pt x="15191" y="7476"/>
                        </a:lnTo>
                        <a:lnTo>
                          <a:pt x="15610" y="7057"/>
                        </a:lnTo>
                      </a:path>
                    </a:pathLst>
                  </a:custGeom>
                  <a:noFill/>
                  <a:ln w="6350" cap="flat">
                    <a:solidFill>
                      <a:schemeClr val="bg1">
                        <a:alpha val="40000"/>
                      </a:schemeClr>
                    </a:solidFill>
                    <a:prstDash val="solid"/>
                    <a:miter/>
                  </a:ln>
                </p:spPr>
                <p:txBody>
                  <a:bodyPr rtlCol="0" anchor="ctr"/>
                  <a:lstStyle/>
                  <a:p>
                    <a:endParaRPr lang="en-GB"/>
                  </a:p>
                </p:txBody>
              </p:sp>
              <p:sp>
                <p:nvSpPr>
                  <p:cNvPr id="8003" name="Vrije vorm: vorm 8002">
                    <a:extLst>
                      <a:ext uri="{FF2B5EF4-FFF2-40B4-BE49-F238E27FC236}">
                        <a16:creationId xmlns:a16="http://schemas.microsoft.com/office/drawing/2014/main" id="{042BD1A2-9D29-412D-8129-81FDE3393774}"/>
                      </a:ext>
                    </a:extLst>
                  </p:cNvPr>
                  <p:cNvSpPr/>
                  <p:nvPr/>
                </p:nvSpPr>
                <p:spPr>
                  <a:xfrm>
                    <a:off x="5597317" y="5302607"/>
                    <a:ext cx="4246" cy="837"/>
                  </a:xfrm>
                  <a:custGeom>
                    <a:avLst/>
                    <a:gdLst>
                      <a:gd name="connsiteX0" fmla="*/ 4246 w 4246"/>
                      <a:gd name="connsiteY0" fmla="*/ 837 h 837"/>
                      <a:gd name="connsiteX1" fmla="*/ 4187 w 4246"/>
                      <a:gd name="connsiteY1" fmla="*/ 837 h 837"/>
                      <a:gd name="connsiteX2" fmla="*/ 1435 w 4246"/>
                      <a:gd name="connsiteY2" fmla="*/ 299 h 837"/>
                      <a:gd name="connsiteX3" fmla="*/ 0 w 4246"/>
                      <a:gd name="connsiteY3" fmla="*/ 0 h 837"/>
                      <a:gd name="connsiteX4" fmla="*/ 2751 w 4246"/>
                      <a:gd name="connsiteY4" fmla="*/ 538 h 837"/>
                      <a:gd name="connsiteX5" fmla="*/ 4246 w 4246"/>
                      <a:gd name="connsiteY5" fmla="*/ 837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6" h="837">
                        <a:moveTo>
                          <a:pt x="4246" y="837"/>
                        </a:moveTo>
                        <a:lnTo>
                          <a:pt x="4187" y="837"/>
                        </a:lnTo>
                        <a:lnTo>
                          <a:pt x="1435" y="299"/>
                        </a:lnTo>
                        <a:lnTo>
                          <a:pt x="0" y="0"/>
                        </a:lnTo>
                        <a:lnTo>
                          <a:pt x="2751" y="538"/>
                        </a:lnTo>
                        <a:lnTo>
                          <a:pt x="4246" y="837"/>
                        </a:lnTo>
                      </a:path>
                    </a:pathLst>
                  </a:custGeom>
                  <a:noFill/>
                  <a:ln w="6350" cap="flat">
                    <a:solidFill>
                      <a:schemeClr val="bg1">
                        <a:alpha val="40000"/>
                      </a:schemeClr>
                    </a:solidFill>
                    <a:prstDash val="solid"/>
                    <a:miter/>
                  </a:ln>
                </p:spPr>
                <p:txBody>
                  <a:bodyPr rtlCol="0" anchor="ctr"/>
                  <a:lstStyle/>
                  <a:p>
                    <a:endParaRPr lang="en-GB"/>
                  </a:p>
                </p:txBody>
              </p:sp>
              <p:sp>
                <p:nvSpPr>
                  <p:cNvPr id="8004" name="Vrije vorm: vorm 8003">
                    <a:extLst>
                      <a:ext uri="{FF2B5EF4-FFF2-40B4-BE49-F238E27FC236}">
                        <a16:creationId xmlns:a16="http://schemas.microsoft.com/office/drawing/2014/main" id="{F9DFDE45-7395-464C-8A25-38B82CBF063D}"/>
                      </a:ext>
                    </a:extLst>
                  </p:cNvPr>
                  <p:cNvSpPr/>
                  <p:nvPr/>
                </p:nvSpPr>
                <p:spPr>
                  <a:xfrm>
                    <a:off x="5620762" y="5314629"/>
                    <a:ext cx="837" cy="1674"/>
                  </a:xfrm>
                  <a:custGeom>
                    <a:avLst/>
                    <a:gdLst>
                      <a:gd name="connsiteX0" fmla="*/ 837 w 837"/>
                      <a:gd name="connsiteY0" fmla="*/ 0 h 1674"/>
                      <a:gd name="connsiteX1" fmla="*/ 598 w 837"/>
                      <a:gd name="connsiteY1" fmla="*/ 479 h 1674"/>
                      <a:gd name="connsiteX2" fmla="*/ 0 w 837"/>
                      <a:gd name="connsiteY2" fmla="*/ 1675 h 1674"/>
                    </a:gdLst>
                    <a:ahLst/>
                    <a:cxnLst>
                      <a:cxn ang="0">
                        <a:pos x="connsiteX0" y="connsiteY0"/>
                      </a:cxn>
                      <a:cxn ang="0">
                        <a:pos x="connsiteX1" y="connsiteY1"/>
                      </a:cxn>
                      <a:cxn ang="0">
                        <a:pos x="connsiteX2" y="connsiteY2"/>
                      </a:cxn>
                    </a:cxnLst>
                    <a:rect l="l" t="t" r="r" b="b"/>
                    <a:pathLst>
                      <a:path w="837" h="1674">
                        <a:moveTo>
                          <a:pt x="837" y="0"/>
                        </a:moveTo>
                        <a:lnTo>
                          <a:pt x="598" y="479"/>
                        </a:lnTo>
                        <a:lnTo>
                          <a:pt x="0" y="1675"/>
                        </a:lnTo>
                      </a:path>
                    </a:pathLst>
                  </a:custGeom>
                  <a:noFill/>
                  <a:ln w="6350" cap="flat">
                    <a:solidFill>
                      <a:schemeClr val="bg1">
                        <a:alpha val="40000"/>
                      </a:schemeClr>
                    </a:solidFill>
                    <a:prstDash val="solid"/>
                    <a:miter/>
                  </a:ln>
                </p:spPr>
                <p:txBody>
                  <a:bodyPr rtlCol="0" anchor="ctr"/>
                  <a:lstStyle/>
                  <a:p>
                    <a:endParaRPr lang="en-GB"/>
                  </a:p>
                </p:txBody>
              </p:sp>
              <p:sp>
                <p:nvSpPr>
                  <p:cNvPr id="8005" name="Vrije vorm: vorm 8004">
                    <a:extLst>
                      <a:ext uri="{FF2B5EF4-FFF2-40B4-BE49-F238E27FC236}">
                        <a16:creationId xmlns:a16="http://schemas.microsoft.com/office/drawing/2014/main" id="{EF24072F-B202-465A-B13F-445D2348EFCF}"/>
                      </a:ext>
                    </a:extLst>
                  </p:cNvPr>
                  <p:cNvSpPr/>
                  <p:nvPr/>
                </p:nvSpPr>
                <p:spPr>
                  <a:xfrm>
                    <a:off x="5616336" y="5311399"/>
                    <a:ext cx="717" cy="1375"/>
                  </a:xfrm>
                  <a:custGeom>
                    <a:avLst/>
                    <a:gdLst>
                      <a:gd name="connsiteX0" fmla="*/ 0 w 717"/>
                      <a:gd name="connsiteY0" fmla="*/ 1375 h 1375"/>
                      <a:gd name="connsiteX1" fmla="*/ 239 w 717"/>
                      <a:gd name="connsiteY1" fmla="*/ 957 h 1375"/>
                      <a:gd name="connsiteX2" fmla="*/ 658 w 717"/>
                      <a:gd name="connsiteY2" fmla="*/ 179 h 1375"/>
                      <a:gd name="connsiteX3" fmla="*/ 718 w 717"/>
                      <a:gd name="connsiteY3" fmla="*/ 0 h 1375"/>
                    </a:gdLst>
                    <a:ahLst/>
                    <a:cxnLst>
                      <a:cxn ang="0">
                        <a:pos x="connsiteX0" y="connsiteY0"/>
                      </a:cxn>
                      <a:cxn ang="0">
                        <a:pos x="connsiteX1" y="connsiteY1"/>
                      </a:cxn>
                      <a:cxn ang="0">
                        <a:pos x="connsiteX2" y="connsiteY2"/>
                      </a:cxn>
                      <a:cxn ang="0">
                        <a:pos x="connsiteX3" y="connsiteY3"/>
                      </a:cxn>
                    </a:cxnLst>
                    <a:rect l="l" t="t" r="r" b="b"/>
                    <a:pathLst>
                      <a:path w="717" h="1375">
                        <a:moveTo>
                          <a:pt x="0" y="1375"/>
                        </a:moveTo>
                        <a:lnTo>
                          <a:pt x="239" y="957"/>
                        </a:lnTo>
                        <a:lnTo>
                          <a:pt x="658" y="179"/>
                        </a:lnTo>
                        <a:lnTo>
                          <a:pt x="718" y="0"/>
                        </a:lnTo>
                      </a:path>
                    </a:pathLst>
                  </a:custGeom>
                  <a:noFill/>
                  <a:ln w="6350" cap="flat">
                    <a:solidFill>
                      <a:schemeClr val="bg1">
                        <a:alpha val="40000"/>
                      </a:schemeClr>
                    </a:solidFill>
                    <a:prstDash val="solid"/>
                    <a:miter/>
                  </a:ln>
                </p:spPr>
                <p:txBody>
                  <a:bodyPr rtlCol="0" anchor="ctr"/>
                  <a:lstStyle/>
                  <a:p>
                    <a:endParaRPr lang="en-GB"/>
                  </a:p>
                </p:txBody>
              </p:sp>
              <p:sp>
                <p:nvSpPr>
                  <p:cNvPr id="8006" name="Vrije vorm: vorm 8005">
                    <a:extLst>
                      <a:ext uri="{FF2B5EF4-FFF2-40B4-BE49-F238E27FC236}">
                        <a16:creationId xmlns:a16="http://schemas.microsoft.com/office/drawing/2014/main" id="{FD2F04FD-E26E-4BCD-9639-0A7EAEA09AD7}"/>
                      </a:ext>
                    </a:extLst>
                  </p:cNvPr>
                  <p:cNvSpPr/>
                  <p:nvPr/>
                </p:nvSpPr>
                <p:spPr>
                  <a:xfrm>
                    <a:off x="5602042" y="5304342"/>
                    <a:ext cx="358" cy="777"/>
                  </a:xfrm>
                  <a:custGeom>
                    <a:avLst/>
                    <a:gdLst>
                      <a:gd name="connsiteX0" fmla="*/ 0 w 358"/>
                      <a:gd name="connsiteY0" fmla="*/ 778 h 777"/>
                      <a:gd name="connsiteX1" fmla="*/ 239 w 358"/>
                      <a:gd name="connsiteY1" fmla="*/ 239 h 777"/>
                      <a:gd name="connsiteX2" fmla="*/ 239 w 358"/>
                      <a:gd name="connsiteY2" fmla="*/ 239 h 777"/>
                      <a:gd name="connsiteX3" fmla="*/ 359 w 358"/>
                      <a:gd name="connsiteY3" fmla="*/ 0 h 777"/>
                    </a:gdLst>
                    <a:ahLst/>
                    <a:cxnLst>
                      <a:cxn ang="0">
                        <a:pos x="connsiteX0" y="connsiteY0"/>
                      </a:cxn>
                      <a:cxn ang="0">
                        <a:pos x="connsiteX1" y="connsiteY1"/>
                      </a:cxn>
                      <a:cxn ang="0">
                        <a:pos x="connsiteX2" y="connsiteY2"/>
                      </a:cxn>
                      <a:cxn ang="0">
                        <a:pos x="connsiteX3" y="connsiteY3"/>
                      </a:cxn>
                    </a:cxnLst>
                    <a:rect l="l" t="t" r="r" b="b"/>
                    <a:pathLst>
                      <a:path w="358" h="777">
                        <a:moveTo>
                          <a:pt x="0" y="778"/>
                        </a:moveTo>
                        <a:lnTo>
                          <a:pt x="239" y="239"/>
                        </a:lnTo>
                        <a:lnTo>
                          <a:pt x="239" y="239"/>
                        </a:lnTo>
                        <a:lnTo>
                          <a:pt x="359" y="0"/>
                        </a:lnTo>
                      </a:path>
                    </a:pathLst>
                  </a:custGeom>
                  <a:noFill/>
                  <a:ln w="6350" cap="flat">
                    <a:solidFill>
                      <a:schemeClr val="bg1">
                        <a:alpha val="40000"/>
                      </a:schemeClr>
                    </a:solidFill>
                    <a:prstDash val="solid"/>
                    <a:miter/>
                  </a:ln>
                </p:spPr>
                <p:txBody>
                  <a:bodyPr rtlCol="0" anchor="ctr"/>
                  <a:lstStyle/>
                  <a:p>
                    <a:endParaRPr lang="en-GB"/>
                  </a:p>
                </p:txBody>
              </p:sp>
              <p:sp>
                <p:nvSpPr>
                  <p:cNvPr id="8007" name="Vrije vorm: vorm 8006">
                    <a:extLst>
                      <a:ext uri="{FF2B5EF4-FFF2-40B4-BE49-F238E27FC236}">
                        <a16:creationId xmlns:a16="http://schemas.microsoft.com/office/drawing/2014/main" id="{1F066165-0635-487F-904F-216989605BFB}"/>
                      </a:ext>
                    </a:extLst>
                  </p:cNvPr>
                  <p:cNvSpPr/>
                  <p:nvPr/>
                </p:nvSpPr>
                <p:spPr>
                  <a:xfrm>
                    <a:off x="5601025" y="5348958"/>
                    <a:ext cx="6219" cy="5263"/>
                  </a:xfrm>
                  <a:custGeom>
                    <a:avLst/>
                    <a:gdLst>
                      <a:gd name="connsiteX0" fmla="*/ 0 w 6219"/>
                      <a:gd name="connsiteY0" fmla="*/ 5263 h 5263"/>
                      <a:gd name="connsiteX1" fmla="*/ 2811 w 6219"/>
                      <a:gd name="connsiteY1" fmla="*/ 2871 h 5263"/>
                      <a:gd name="connsiteX2" fmla="*/ 4785 w 6219"/>
                      <a:gd name="connsiteY2" fmla="*/ 1196 h 5263"/>
                      <a:gd name="connsiteX3" fmla="*/ 6220 w 6219"/>
                      <a:gd name="connsiteY3" fmla="*/ 0 h 5263"/>
                    </a:gdLst>
                    <a:ahLst/>
                    <a:cxnLst>
                      <a:cxn ang="0">
                        <a:pos x="connsiteX0" y="connsiteY0"/>
                      </a:cxn>
                      <a:cxn ang="0">
                        <a:pos x="connsiteX1" y="connsiteY1"/>
                      </a:cxn>
                      <a:cxn ang="0">
                        <a:pos x="connsiteX2" y="connsiteY2"/>
                      </a:cxn>
                      <a:cxn ang="0">
                        <a:pos x="connsiteX3" y="connsiteY3"/>
                      </a:cxn>
                    </a:cxnLst>
                    <a:rect l="l" t="t" r="r" b="b"/>
                    <a:pathLst>
                      <a:path w="6219" h="5263">
                        <a:moveTo>
                          <a:pt x="0" y="5263"/>
                        </a:moveTo>
                        <a:lnTo>
                          <a:pt x="2811" y="2871"/>
                        </a:lnTo>
                        <a:lnTo>
                          <a:pt x="4785" y="1196"/>
                        </a:lnTo>
                        <a:lnTo>
                          <a:pt x="6220" y="0"/>
                        </a:lnTo>
                      </a:path>
                    </a:pathLst>
                  </a:custGeom>
                  <a:noFill/>
                  <a:ln w="6350" cap="flat">
                    <a:solidFill>
                      <a:schemeClr val="bg1">
                        <a:alpha val="40000"/>
                      </a:schemeClr>
                    </a:solidFill>
                    <a:prstDash val="solid"/>
                    <a:miter/>
                  </a:ln>
                </p:spPr>
                <p:txBody>
                  <a:bodyPr rtlCol="0" anchor="ctr"/>
                  <a:lstStyle/>
                  <a:p>
                    <a:endParaRPr lang="en-GB"/>
                  </a:p>
                </p:txBody>
              </p:sp>
              <p:sp>
                <p:nvSpPr>
                  <p:cNvPr id="8008" name="Vrije vorm: vorm 8007">
                    <a:extLst>
                      <a:ext uri="{FF2B5EF4-FFF2-40B4-BE49-F238E27FC236}">
                        <a16:creationId xmlns:a16="http://schemas.microsoft.com/office/drawing/2014/main" id="{F6D9A221-4719-4733-82B6-D0C99D94BDF8}"/>
                      </a:ext>
                    </a:extLst>
                  </p:cNvPr>
                  <p:cNvSpPr/>
                  <p:nvPr/>
                </p:nvSpPr>
                <p:spPr>
                  <a:xfrm>
                    <a:off x="5597198" y="5361876"/>
                    <a:ext cx="478" cy="5980"/>
                  </a:xfrm>
                  <a:custGeom>
                    <a:avLst/>
                    <a:gdLst>
                      <a:gd name="connsiteX0" fmla="*/ 479 w 478"/>
                      <a:gd name="connsiteY0" fmla="*/ 5981 h 5980"/>
                      <a:gd name="connsiteX1" fmla="*/ 299 w 478"/>
                      <a:gd name="connsiteY1" fmla="*/ 3768 h 5980"/>
                      <a:gd name="connsiteX2" fmla="*/ 0 w 478"/>
                      <a:gd name="connsiteY2" fmla="*/ 299 h 5980"/>
                      <a:gd name="connsiteX3" fmla="*/ 0 w 478"/>
                      <a:gd name="connsiteY3" fmla="*/ 0 h 5980"/>
                    </a:gdLst>
                    <a:ahLst/>
                    <a:cxnLst>
                      <a:cxn ang="0">
                        <a:pos x="connsiteX0" y="connsiteY0"/>
                      </a:cxn>
                      <a:cxn ang="0">
                        <a:pos x="connsiteX1" y="connsiteY1"/>
                      </a:cxn>
                      <a:cxn ang="0">
                        <a:pos x="connsiteX2" y="connsiteY2"/>
                      </a:cxn>
                      <a:cxn ang="0">
                        <a:pos x="connsiteX3" y="connsiteY3"/>
                      </a:cxn>
                    </a:cxnLst>
                    <a:rect l="l" t="t" r="r" b="b"/>
                    <a:pathLst>
                      <a:path w="478" h="5980">
                        <a:moveTo>
                          <a:pt x="479" y="5981"/>
                        </a:moveTo>
                        <a:lnTo>
                          <a:pt x="299" y="3768"/>
                        </a:lnTo>
                        <a:lnTo>
                          <a:pt x="0" y="29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09" name="Vrije vorm: vorm 8008">
                    <a:extLst>
                      <a:ext uri="{FF2B5EF4-FFF2-40B4-BE49-F238E27FC236}">
                        <a16:creationId xmlns:a16="http://schemas.microsoft.com/office/drawing/2014/main" id="{40620567-35E5-4E6B-9B3E-77DC44301DD6}"/>
                      </a:ext>
                    </a:extLst>
                  </p:cNvPr>
                  <p:cNvSpPr/>
                  <p:nvPr/>
                </p:nvSpPr>
                <p:spPr>
                  <a:xfrm>
                    <a:off x="5598693" y="5359903"/>
                    <a:ext cx="4725" cy="418"/>
                  </a:xfrm>
                  <a:custGeom>
                    <a:avLst/>
                    <a:gdLst>
                      <a:gd name="connsiteX0" fmla="*/ 0 w 4725"/>
                      <a:gd name="connsiteY0" fmla="*/ 0 h 418"/>
                      <a:gd name="connsiteX1" fmla="*/ 2871 w 4725"/>
                      <a:gd name="connsiteY1" fmla="*/ 239 h 418"/>
                      <a:gd name="connsiteX2" fmla="*/ 2930 w 4725"/>
                      <a:gd name="connsiteY2" fmla="*/ 239 h 418"/>
                      <a:gd name="connsiteX3" fmla="*/ 4725 w 4725"/>
                      <a:gd name="connsiteY3" fmla="*/ 419 h 418"/>
                    </a:gdLst>
                    <a:ahLst/>
                    <a:cxnLst>
                      <a:cxn ang="0">
                        <a:pos x="connsiteX0" y="connsiteY0"/>
                      </a:cxn>
                      <a:cxn ang="0">
                        <a:pos x="connsiteX1" y="connsiteY1"/>
                      </a:cxn>
                      <a:cxn ang="0">
                        <a:pos x="connsiteX2" y="connsiteY2"/>
                      </a:cxn>
                      <a:cxn ang="0">
                        <a:pos x="connsiteX3" y="connsiteY3"/>
                      </a:cxn>
                    </a:cxnLst>
                    <a:rect l="l" t="t" r="r" b="b"/>
                    <a:pathLst>
                      <a:path w="4725" h="418">
                        <a:moveTo>
                          <a:pt x="0" y="0"/>
                        </a:moveTo>
                        <a:lnTo>
                          <a:pt x="2871" y="239"/>
                        </a:lnTo>
                        <a:lnTo>
                          <a:pt x="2930" y="239"/>
                        </a:lnTo>
                        <a:lnTo>
                          <a:pt x="4725" y="419"/>
                        </a:lnTo>
                      </a:path>
                    </a:pathLst>
                  </a:custGeom>
                  <a:noFill/>
                  <a:ln w="6350" cap="flat">
                    <a:solidFill>
                      <a:schemeClr val="bg1">
                        <a:alpha val="40000"/>
                      </a:schemeClr>
                    </a:solidFill>
                    <a:prstDash val="solid"/>
                    <a:miter/>
                  </a:ln>
                </p:spPr>
                <p:txBody>
                  <a:bodyPr rtlCol="0" anchor="ctr"/>
                  <a:lstStyle/>
                  <a:p>
                    <a:endParaRPr lang="en-GB"/>
                  </a:p>
                </p:txBody>
              </p:sp>
              <p:sp>
                <p:nvSpPr>
                  <p:cNvPr id="8010" name="Vrije vorm: vorm 8009">
                    <a:extLst>
                      <a:ext uri="{FF2B5EF4-FFF2-40B4-BE49-F238E27FC236}">
                        <a16:creationId xmlns:a16="http://schemas.microsoft.com/office/drawing/2014/main" id="{30C1BB91-299C-4344-9E23-EE6FF321FE88}"/>
                      </a:ext>
                    </a:extLst>
                  </p:cNvPr>
                  <p:cNvSpPr/>
                  <p:nvPr/>
                </p:nvSpPr>
                <p:spPr>
                  <a:xfrm>
                    <a:off x="5598095" y="5350274"/>
                    <a:ext cx="1794" cy="597"/>
                  </a:xfrm>
                  <a:custGeom>
                    <a:avLst/>
                    <a:gdLst>
                      <a:gd name="connsiteX0" fmla="*/ 0 w 1794"/>
                      <a:gd name="connsiteY0" fmla="*/ 419 h 597"/>
                      <a:gd name="connsiteX1" fmla="*/ 1794 w 1794"/>
                      <a:gd name="connsiteY1" fmla="*/ 598 h 597"/>
                      <a:gd name="connsiteX2" fmla="*/ 1316 w 1794"/>
                      <a:gd name="connsiteY2" fmla="*/ 120 h 597"/>
                      <a:gd name="connsiteX3" fmla="*/ 179 w 1794"/>
                      <a:gd name="connsiteY3" fmla="*/ 0 h 597"/>
                    </a:gdLst>
                    <a:ahLst/>
                    <a:cxnLst>
                      <a:cxn ang="0">
                        <a:pos x="connsiteX0" y="connsiteY0"/>
                      </a:cxn>
                      <a:cxn ang="0">
                        <a:pos x="connsiteX1" y="connsiteY1"/>
                      </a:cxn>
                      <a:cxn ang="0">
                        <a:pos x="connsiteX2" y="connsiteY2"/>
                      </a:cxn>
                      <a:cxn ang="0">
                        <a:pos x="connsiteX3" y="connsiteY3"/>
                      </a:cxn>
                    </a:cxnLst>
                    <a:rect l="l" t="t" r="r" b="b"/>
                    <a:pathLst>
                      <a:path w="1794" h="597">
                        <a:moveTo>
                          <a:pt x="0" y="419"/>
                        </a:moveTo>
                        <a:lnTo>
                          <a:pt x="1794" y="598"/>
                        </a:lnTo>
                        <a:lnTo>
                          <a:pt x="1316" y="120"/>
                        </a:lnTo>
                        <a:lnTo>
                          <a:pt x="179" y="0"/>
                        </a:lnTo>
                      </a:path>
                    </a:pathLst>
                  </a:custGeom>
                  <a:noFill/>
                  <a:ln w="6350" cap="flat">
                    <a:solidFill>
                      <a:schemeClr val="bg1">
                        <a:alpha val="40000"/>
                      </a:schemeClr>
                    </a:solidFill>
                    <a:prstDash val="solid"/>
                    <a:miter/>
                  </a:ln>
                </p:spPr>
                <p:txBody>
                  <a:bodyPr rtlCol="0" anchor="ctr"/>
                  <a:lstStyle/>
                  <a:p>
                    <a:endParaRPr lang="en-GB"/>
                  </a:p>
                </p:txBody>
              </p:sp>
              <p:sp>
                <p:nvSpPr>
                  <p:cNvPr id="8011" name="Vrije vorm: vorm 8010">
                    <a:extLst>
                      <a:ext uri="{FF2B5EF4-FFF2-40B4-BE49-F238E27FC236}">
                        <a16:creationId xmlns:a16="http://schemas.microsoft.com/office/drawing/2014/main" id="{DB1ADF45-A589-4EE4-ACE0-D82B15B7B578}"/>
                      </a:ext>
                    </a:extLst>
                  </p:cNvPr>
                  <p:cNvSpPr/>
                  <p:nvPr/>
                </p:nvSpPr>
                <p:spPr>
                  <a:xfrm>
                    <a:off x="5593609" y="5350991"/>
                    <a:ext cx="2631" cy="2691"/>
                  </a:xfrm>
                  <a:custGeom>
                    <a:avLst/>
                    <a:gdLst>
                      <a:gd name="connsiteX0" fmla="*/ 60 w 2631"/>
                      <a:gd name="connsiteY0" fmla="*/ 2691 h 2691"/>
                      <a:gd name="connsiteX1" fmla="*/ 2632 w 2631"/>
                      <a:gd name="connsiteY1" fmla="*/ 479 h 2691"/>
                      <a:gd name="connsiteX2" fmla="*/ 2153 w 2631"/>
                      <a:gd name="connsiteY2" fmla="*/ 0 h 2691"/>
                      <a:gd name="connsiteX3" fmla="*/ 0 w 2631"/>
                      <a:gd name="connsiteY3" fmla="*/ 1854 h 2691"/>
                    </a:gdLst>
                    <a:ahLst/>
                    <a:cxnLst>
                      <a:cxn ang="0">
                        <a:pos x="connsiteX0" y="connsiteY0"/>
                      </a:cxn>
                      <a:cxn ang="0">
                        <a:pos x="connsiteX1" y="connsiteY1"/>
                      </a:cxn>
                      <a:cxn ang="0">
                        <a:pos x="connsiteX2" y="connsiteY2"/>
                      </a:cxn>
                      <a:cxn ang="0">
                        <a:pos x="connsiteX3" y="connsiteY3"/>
                      </a:cxn>
                    </a:cxnLst>
                    <a:rect l="l" t="t" r="r" b="b"/>
                    <a:pathLst>
                      <a:path w="2631" h="2691">
                        <a:moveTo>
                          <a:pt x="60" y="2691"/>
                        </a:moveTo>
                        <a:lnTo>
                          <a:pt x="2632" y="479"/>
                        </a:lnTo>
                        <a:lnTo>
                          <a:pt x="2153" y="0"/>
                        </a:lnTo>
                        <a:lnTo>
                          <a:pt x="0" y="1854"/>
                        </a:lnTo>
                      </a:path>
                    </a:pathLst>
                  </a:custGeom>
                  <a:noFill/>
                  <a:ln w="6350" cap="flat">
                    <a:solidFill>
                      <a:schemeClr val="bg1">
                        <a:alpha val="40000"/>
                      </a:schemeClr>
                    </a:solidFill>
                    <a:prstDash val="solid"/>
                    <a:miter/>
                  </a:ln>
                </p:spPr>
                <p:txBody>
                  <a:bodyPr rtlCol="0" anchor="ctr"/>
                  <a:lstStyle/>
                  <a:p>
                    <a:endParaRPr lang="en-GB"/>
                  </a:p>
                </p:txBody>
              </p:sp>
              <p:sp>
                <p:nvSpPr>
                  <p:cNvPr id="8012" name="Vrije vorm: vorm 8011">
                    <a:extLst>
                      <a:ext uri="{FF2B5EF4-FFF2-40B4-BE49-F238E27FC236}">
                        <a16:creationId xmlns:a16="http://schemas.microsoft.com/office/drawing/2014/main" id="{8825F188-29A1-4D39-93E0-F58360136BDD}"/>
                      </a:ext>
                    </a:extLst>
                  </p:cNvPr>
                  <p:cNvSpPr/>
                  <p:nvPr/>
                </p:nvSpPr>
                <p:spPr>
                  <a:xfrm>
                    <a:off x="5589303" y="5361577"/>
                    <a:ext cx="538" cy="2093"/>
                  </a:xfrm>
                  <a:custGeom>
                    <a:avLst/>
                    <a:gdLst>
                      <a:gd name="connsiteX0" fmla="*/ 0 w 538"/>
                      <a:gd name="connsiteY0" fmla="*/ 359 h 2093"/>
                      <a:gd name="connsiteX1" fmla="*/ 60 w 538"/>
                      <a:gd name="connsiteY1" fmla="*/ 1615 h 2093"/>
                      <a:gd name="connsiteX2" fmla="*/ 538 w 538"/>
                      <a:gd name="connsiteY2" fmla="*/ 2093 h 2093"/>
                      <a:gd name="connsiteX3" fmla="*/ 419 w 538"/>
                      <a:gd name="connsiteY3" fmla="*/ 0 h 2093"/>
                    </a:gdLst>
                    <a:ahLst/>
                    <a:cxnLst>
                      <a:cxn ang="0">
                        <a:pos x="connsiteX0" y="connsiteY0"/>
                      </a:cxn>
                      <a:cxn ang="0">
                        <a:pos x="connsiteX1" y="connsiteY1"/>
                      </a:cxn>
                      <a:cxn ang="0">
                        <a:pos x="connsiteX2" y="connsiteY2"/>
                      </a:cxn>
                      <a:cxn ang="0">
                        <a:pos x="connsiteX3" y="connsiteY3"/>
                      </a:cxn>
                    </a:cxnLst>
                    <a:rect l="l" t="t" r="r" b="b"/>
                    <a:pathLst>
                      <a:path w="538" h="2093">
                        <a:moveTo>
                          <a:pt x="0" y="359"/>
                        </a:moveTo>
                        <a:lnTo>
                          <a:pt x="60" y="1615"/>
                        </a:lnTo>
                        <a:lnTo>
                          <a:pt x="538" y="2093"/>
                        </a:lnTo>
                        <a:lnTo>
                          <a:pt x="419" y="0"/>
                        </a:lnTo>
                      </a:path>
                    </a:pathLst>
                  </a:custGeom>
                  <a:noFill/>
                  <a:ln w="6350" cap="flat">
                    <a:solidFill>
                      <a:schemeClr val="bg1">
                        <a:alpha val="40000"/>
                      </a:schemeClr>
                    </a:solidFill>
                    <a:prstDash val="solid"/>
                    <a:miter/>
                  </a:ln>
                </p:spPr>
                <p:txBody>
                  <a:bodyPr rtlCol="0" anchor="ctr"/>
                  <a:lstStyle/>
                  <a:p>
                    <a:endParaRPr lang="en-GB"/>
                  </a:p>
                </p:txBody>
              </p:sp>
              <p:sp>
                <p:nvSpPr>
                  <p:cNvPr id="8013" name="Vrije vorm: vorm 8012">
                    <a:extLst>
                      <a:ext uri="{FF2B5EF4-FFF2-40B4-BE49-F238E27FC236}">
                        <a16:creationId xmlns:a16="http://schemas.microsoft.com/office/drawing/2014/main" id="{00349958-2DD4-4E52-9B8A-E6B5023E9078}"/>
                      </a:ext>
                    </a:extLst>
                  </p:cNvPr>
                  <p:cNvSpPr/>
                  <p:nvPr/>
                </p:nvSpPr>
                <p:spPr>
                  <a:xfrm>
                    <a:off x="5589901" y="5355716"/>
                    <a:ext cx="2152" cy="3409"/>
                  </a:xfrm>
                  <a:custGeom>
                    <a:avLst/>
                    <a:gdLst>
                      <a:gd name="connsiteX0" fmla="*/ 0 w 2152"/>
                      <a:gd name="connsiteY0" fmla="*/ 2931 h 3409"/>
                      <a:gd name="connsiteX1" fmla="*/ 479 w 2152"/>
                      <a:gd name="connsiteY1" fmla="*/ 3409 h 3409"/>
                      <a:gd name="connsiteX2" fmla="*/ 897 w 2152"/>
                      <a:gd name="connsiteY2" fmla="*/ 2512 h 3409"/>
                      <a:gd name="connsiteX3" fmla="*/ 1316 w 2152"/>
                      <a:gd name="connsiteY3" fmla="*/ 1675 h 3409"/>
                      <a:gd name="connsiteX4" fmla="*/ 2153 w 2152"/>
                      <a:gd name="connsiteY4" fmla="*/ 0 h 3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 h="3409">
                        <a:moveTo>
                          <a:pt x="0" y="2931"/>
                        </a:moveTo>
                        <a:lnTo>
                          <a:pt x="479" y="3409"/>
                        </a:lnTo>
                        <a:lnTo>
                          <a:pt x="897" y="2512"/>
                        </a:lnTo>
                        <a:lnTo>
                          <a:pt x="1316" y="1675"/>
                        </a:lnTo>
                        <a:lnTo>
                          <a:pt x="2153" y="0"/>
                        </a:lnTo>
                      </a:path>
                    </a:pathLst>
                  </a:custGeom>
                  <a:noFill/>
                  <a:ln w="6350" cap="flat">
                    <a:solidFill>
                      <a:schemeClr val="bg1">
                        <a:alpha val="40000"/>
                      </a:schemeClr>
                    </a:solidFill>
                    <a:prstDash val="solid"/>
                    <a:miter/>
                  </a:ln>
                </p:spPr>
                <p:txBody>
                  <a:bodyPr rtlCol="0" anchor="ctr"/>
                  <a:lstStyle/>
                  <a:p>
                    <a:endParaRPr lang="en-GB"/>
                  </a:p>
                </p:txBody>
              </p:sp>
              <p:sp>
                <p:nvSpPr>
                  <p:cNvPr id="8014" name="Vrije vorm: vorm 8013">
                    <a:extLst>
                      <a:ext uri="{FF2B5EF4-FFF2-40B4-BE49-F238E27FC236}">
                        <a16:creationId xmlns:a16="http://schemas.microsoft.com/office/drawing/2014/main" id="{0AE3D116-A9E7-4D83-BDCF-3F40BD5A4277}"/>
                      </a:ext>
                    </a:extLst>
                  </p:cNvPr>
                  <p:cNvSpPr/>
                  <p:nvPr/>
                </p:nvSpPr>
                <p:spPr>
                  <a:xfrm>
                    <a:off x="5584877" y="5354759"/>
                    <a:ext cx="6519" cy="3827"/>
                  </a:xfrm>
                  <a:custGeom>
                    <a:avLst/>
                    <a:gdLst>
                      <a:gd name="connsiteX0" fmla="*/ 1735 w 6519"/>
                      <a:gd name="connsiteY0" fmla="*/ 0 h 3827"/>
                      <a:gd name="connsiteX1" fmla="*/ 718 w 6519"/>
                      <a:gd name="connsiteY1" fmla="*/ 1674 h 3827"/>
                      <a:gd name="connsiteX2" fmla="*/ 538 w 6519"/>
                      <a:gd name="connsiteY2" fmla="*/ 2093 h 3827"/>
                      <a:gd name="connsiteX3" fmla="*/ 180 w 6519"/>
                      <a:gd name="connsiteY3" fmla="*/ 2930 h 3827"/>
                      <a:gd name="connsiteX4" fmla="*/ 0 w 6519"/>
                      <a:gd name="connsiteY4" fmla="*/ 3409 h 3827"/>
                      <a:gd name="connsiteX5" fmla="*/ 2871 w 6519"/>
                      <a:gd name="connsiteY5" fmla="*/ 3648 h 3827"/>
                      <a:gd name="connsiteX6" fmla="*/ 5024 w 6519"/>
                      <a:gd name="connsiteY6" fmla="*/ 3828 h 3827"/>
                      <a:gd name="connsiteX7" fmla="*/ 5263 w 6519"/>
                      <a:gd name="connsiteY7" fmla="*/ 3349 h 3827"/>
                      <a:gd name="connsiteX8" fmla="*/ 5682 w 6519"/>
                      <a:gd name="connsiteY8" fmla="*/ 2512 h 3827"/>
                      <a:gd name="connsiteX9" fmla="*/ 6519 w 6519"/>
                      <a:gd name="connsiteY9" fmla="*/ 837 h 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9" h="3827">
                        <a:moveTo>
                          <a:pt x="1735" y="0"/>
                        </a:moveTo>
                        <a:lnTo>
                          <a:pt x="718" y="1674"/>
                        </a:lnTo>
                        <a:lnTo>
                          <a:pt x="538" y="2093"/>
                        </a:lnTo>
                        <a:lnTo>
                          <a:pt x="180" y="2930"/>
                        </a:lnTo>
                        <a:lnTo>
                          <a:pt x="0" y="3409"/>
                        </a:lnTo>
                        <a:lnTo>
                          <a:pt x="2871" y="3648"/>
                        </a:lnTo>
                        <a:lnTo>
                          <a:pt x="5024" y="3828"/>
                        </a:lnTo>
                        <a:lnTo>
                          <a:pt x="5263" y="3349"/>
                        </a:lnTo>
                        <a:lnTo>
                          <a:pt x="5682" y="2512"/>
                        </a:lnTo>
                        <a:lnTo>
                          <a:pt x="6519" y="837"/>
                        </a:lnTo>
                      </a:path>
                    </a:pathLst>
                  </a:custGeom>
                  <a:noFill/>
                  <a:ln w="6350" cap="flat">
                    <a:solidFill>
                      <a:schemeClr val="bg1">
                        <a:alpha val="40000"/>
                      </a:schemeClr>
                    </a:solidFill>
                    <a:prstDash val="solid"/>
                    <a:miter/>
                  </a:ln>
                </p:spPr>
                <p:txBody>
                  <a:bodyPr rtlCol="0" anchor="ctr"/>
                  <a:lstStyle/>
                  <a:p>
                    <a:endParaRPr lang="en-GB"/>
                  </a:p>
                </p:txBody>
              </p:sp>
              <p:sp>
                <p:nvSpPr>
                  <p:cNvPr id="8015" name="Vrije vorm: vorm 8014">
                    <a:extLst>
                      <a:ext uri="{FF2B5EF4-FFF2-40B4-BE49-F238E27FC236}">
                        <a16:creationId xmlns:a16="http://schemas.microsoft.com/office/drawing/2014/main" id="{5154B728-02F8-4365-B606-16415067F65E}"/>
                      </a:ext>
                    </a:extLst>
                  </p:cNvPr>
                  <p:cNvSpPr/>
                  <p:nvPr/>
                </p:nvSpPr>
                <p:spPr>
                  <a:xfrm>
                    <a:off x="5600965" y="5348540"/>
                    <a:ext cx="5741" cy="4903"/>
                  </a:xfrm>
                  <a:custGeom>
                    <a:avLst/>
                    <a:gdLst>
                      <a:gd name="connsiteX0" fmla="*/ 5742 w 5741"/>
                      <a:gd name="connsiteY0" fmla="*/ 0 h 4903"/>
                      <a:gd name="connsiteX1" fmla="*/ 4904 w 5741"/>
                      <a:gd name="connsiteY1" fmla="*/ 718 h 4903"/>
                      <a:gd name="connsiteX2" fmla="*/ 2093 w 5741"/>
                      <a:gd name="connsiteY2" fmla="*/ 3110 h 4903"/>
                      <a:gd name="connsiteX3" fmla="*/ 0 w 5741"/>
                      <a:gd name="connsiteY3" fmla="*/ 4904 h 4903"/>
                    </a:gdLst>
                    <a:ahLst/>
                    <a:cxnLst>
                      <a:cxn ang="0">
                        <a:pos x="connsiteX0" y="connsiteY0"/>
                      </a:cxn>
                      <a:cxn ang="0">
                        <a:pos x="connsiteX1" y="connsiteY1"/>
                      </a:cxn>
                      <a:cxn ang="0">
                        <a:pos x="connsiteX2" y="connsiteY2"/>
                      </a:cxn>
                      <a:cxn ang="0">
                        <a:pos x="connsiteX3" y="connsiteY3"/>
                      </a:cxn>
                    </a:cxnLst>
                    <a:rect l="l" t="t" r="r" b="b"/>
                    <a:pathLst>
                      <a:path w="5741" h="4903">
                        <a:moveTo>
                          <a:pt x="5742" y="0"/>
                        </a:moveTo>
                        <a:lnTo>
                          <a:pt x="4904" y="718"/>
                        </a:lnTo>
                        <a:lnTo>
                          <a:pt x="2093" y="3110"/>
                        </a:lnTo>
                        <a:lnTo>
                          <a:pt x="0" y="4904"/>
                        </a:lnTo>
                      </a:path>
                    </a:pathLst>
                  </a:custGeom>
                  <a:noFill/>
                  <a:ln w="6350" cap="flat">
                    <a:solidFill>
                      <a:schemeClr val="bg1">
                        <a:alpha val="40000"/>
                      </a:schemeClr>
                    </a:solidFill>
                    <a:prstDash val="solid"/>
                    <a:miter/>
                  </a:ln>
                </p:spPr>
                <p:txBody>
                  <a:bodyPr rtlCol="0" anchor="ctr"/>
                  <a:lstStyle/>
                  <a:p>
                    <a:endParaRPr lang="en-GB"/>
                  </a:p>
                </p:txBody>
              </p:sp>
              <p:sp>
                <p:nvSpPr>
                  <p:cNvPr id="8016" name="Vrije vorm: vorm 8015">
                    <a:extLst>
                      <a:ext uri="{FF2B5EF4-FFF2-40B4-BE49-F238E27FC236}">
                        <a16:creationId xmlns:a16="http://schemas.microsoft.com/office/drawing/2014/main" id="{D3354252-9125-4F00-9E16-887C236F94A0}"/>
                      </a:ext>
                    </a:extLst>
                  </p:cNvPr>
                  <p:cNvSpPr/>
                  <p:nvPr/>
                </p:nvSpPr>
                <p:spPr>
                  <a:xfrm>
                    <a:off x="5598932" y="5359484"/>
                    <a:ext cx="4066" cy="358"/>
                  </a:xfrm>
                  <a:custGeom>
                    <a:avLst/>
                    <a:gdLst>
                      <a:gd name="connsiteX0" fmla="*/ 4067 w 4066"/>
                      <a:gd name="connsiteY0" fmla="*/ 359 h 358"/>
                      <a:gd name="connsiteX1" fmla="*/ 2990 w 4066"/>
                      <a:gd name="connsiteY1" fmla="*/ 239 h 358"/>
                      <a:gd name="connsiteX2" fmla="*/ 119 w 4066"/>
                      <a:gd name="connsiteY2" fmla="*/ 0 h 358"/>
                      <a:gd name="connsiteX3" fmla="*/ 0 w 4066"/>
                      <a:gd name="connsiteY3" fmla="*/ 0 h 358"/>
                    </a:gdLst>
                    <a:ahLst/>
                    <a:cxnLst>
                      <a:cxn ang="0">
                        <a:pos x="connsiteX0" y="connsiteY0"/>
                      </a:cxn>
                      <a:cxn ang="0">
                        <a:pos x="connsiteX1" y="connsiteY1"/>
                      </a:cxn>
                      <a:cxn ang="0">
                        <a:pos x="connsiteX2" y="connsiteY2"/>
                      </a:cxn>
                      <a:cxn ang="0">
                        <a:pos x="connsiteX3" y="connsiteY3"/>
                      </a:cxn>
                    </a:cxnLst>
                    <a:rect l="l" t="t" r="r" b="b"/>
                    <a:pathLst>
                      <a:path w="4066" h="358">
                        <a:moveTo>
                          <a:pt x="4067" y="359"/>
                        </a:moveTo>
                        <a:lnTo>
                          <a:pt x="2990" y="239"/>
                        </a:lnTo>
                        <a:lnTo>
                          <a:pt x="119" y="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17" name="Vrije vorm: vorm 8016">
                    <a:extLst>
                      <a:ext uri="{FF2B5EF4-FFF2-40B4-BE49-F238E27FC236}">
                        <a16:creationId xmlns:a16="http://schemas.microsoft.com/office/drawing/2014/main" id="{9D469C9A-B6B5-4C09-AB67-4604CC796528}"/>
                      </a:ext>
                    </a:extLst>
                  </p:cNvPr>
                  <p:cNvSpPr/>
                  <p:nvPr/>
                </p:nvSpPr>
                <p:spPr>
                  <a:xfrm>
                    <a:off x="5600786" y="5297823"/>
                    <a:ext cx="22128" cy="13815"/>
                  </a:xfrm>
                  <a:custGeom>
                    <a:avLst/>
                    <a:gdLst>
                      <a:gd name="connsiteX0" fmla="*/ 22128 w 22128"/>
                      <a:gd name="connsiteY0" fmla="*/ 9510 h 13815"/>
                      <a:gd name="connsiteX1" fmla="*/ 20334 w 22128"/>
                      <a:gd name="connsiteY1" fmla="*/ 13038 h 13815"/>
                      <a:gd name="connsiteX2" fmla="*/ 20274 w 22128"/>
                      <a:gd name="connsiteY2" fmla="*/ 13098 h 13815"/>
                      <a:gd name="connsiteX3" fmla="*/ 19736 w 22128"/>
                      <a:gd name="connsiteY3" fmla="*/ 13636 h 13815"/>
                      <a:gd name="connsiteX4" fmla="*/ 18540 w 22128"/>
                      <a:gd name="connsiteY4" fmla="*/ 13815 h 13815"/>
                      <a:gd name="connsiteX5" fmla="*/ 17703 w 22128"/>
                      <a:gd name="connsiteY5" fmla="*/ 13756 h 13815"/>
                      <a:gd name="connsiteX6" fmla="*/ 17225 w 22128"/>
                      <a:gd name="connsiteY6" fmla="*/ 13696 h 13815"/>
                      <a:gd name="connsiteX7" fmla="*/ 16806 w 22128"/>
                      <a:gd name="connsiteY7" fmla="*/ 13636 h 13815"/>
                      <a:gd name="connsiteX8" fmla="*/ 16746 w 22128"/>
                      <a:gd name="connsiteY8" fmla="*/ 13636 h 13815"/>
                      <a:gd name="connsiteX9" fmla="*/ 16208 w 22128"/>
                      <a:gd name="connsiteY9" fmla="*/ 13516 h 13815"/>
                      <a:gd name="connsiteX10" fmla="*/ 16208 w 22128"/>
                      <a:gd name="connsiteY10" fmla="*/ 13516 h 13815"/>
                      <a:gd name="connsiteX11" fmla="*/ 15789 w 22128"/>
                      <a:gd name="connsiteY11" fmla="*/ 13397 h 13815"/>
                      <a:gd name="connsiteX12" fmla="*/ 14473 w 22128"/>
                      <a:gd name="connsiteY12" fmla="*/ 13098 h 13815"/>
                      <a:gd name="connsiteX13" fmla="*/ 13756 w 22128"/>
                      <a:gd name="connsiteY13" fmla="*/ 12859 h 13815"/>
                      <a:gd name="connsiteX14" fmla="*/ 11902 w 22128"/>
                      <a:gd name="connsiteY14" fmla="*/ 12260 h 13815"/>
                      <a:gd name="connsiteX15" fmla="*/ 9330 w 22128"/>
                      <a:gd name="connsiteY15" fmla="*/ 11184 h 13815"/>
                      <a:gd name="connsiteX16" fmla="*/ 9210 w 22128"/>
                      <a:gd name="connsiteY16" fmla="*/ 11124 h 13815"/>
                      <a:gd name="connsiteX17" fmla="*/ 8373 w 22128"/>
                      <a:gd name="connsiteY17" fmla="*/ 10706 h 13815"/>
                      <a:gd name="connsiteX18" fmla="*/ 6579 w 22128"/>
                      <a:gd name="connsiteY18" fmla="*/ 9808 h 13815"/>
                      <a:gd name="connsiteX19" fmla="*/ 4186 w 22128"/>
                      <a:gd name="connsiteY19" fmla="*/ 8433 h 13815"/>
                      <a:gd name="connsiteX20" fmla="*/ 3768 w 22128"/>
                      <a:gd name="connsiteY20" fmla="*/ 8134 h 13815"/>
                      <a:gd name="connsiteX21" fmla="*/ 3469 w 22128"/>
                      <a:gd name="connsiteY21" fmla="*/ 7895 h 13815"/>
                      <a:gd name="connsiteX22" fmla="*/ 3469 w 22128"/>
                      <a:gd name="connsiteY22" fmla="*/ 7895 h 13815"/>
                      <a:gd name="connsiteX23" fmla="*/ 2332 w 22128"/>
                      <a:gd name="connsiteY23" fmla="*/ 7117 h 13815"/>
                      <a:gd name="connsiteX24" fmla="*/ 2213 w 22128"/>
                      <a:gd name="connsiteY24" fmla="*/ 7057 h 13815"/>
                      <a:gd name="connsiteX25" fmla="*/ 2033 w 22128"/>
                      <a:gd name="connsiteY25" fmla="*/ 6938 h 13815"/>
                      <a:gd name="connsiteX26" fmla="*/ 1854 w 22128"/>
                      <a:gd name="connsiteY26" fmla="*/ 6758 h 13815"/>
                      <a:gd name="connsiteX27" fmla="*/ 1854 w 22128"/>
                      <a:gd name="connsiteY27" fmla="*/ 6758 h 13815"/>
                      <a:gd name="connsiteX28" fmla="*/ 1794 w 22128"/>
                      <a:gd name="connsiteY28" fmla="*/ 6758 h 13815"/>
                      <a:gd name="connsiteX29" fmla="*/ 1435 w 22128"/>
                      <a:gd name="connsiteY29" fmla="*/ 6399 h 13815"/>
                      <a:gd name="connsiteX30" fmla="*/ 1435 w 22128"/>
                      <a:gd name="connsiteY30" fmla="*/ 6399 h 13815"/>
                      <a:gd name="connsiteX31" fmla="*/ 778 w 22128"/>
                      <a:gd name="connsiteY31" fmla="*/ 5742 h 13815"/>
                      <a:gd name="connsiteX32" fmla="*/ 658 w 22128"/>
                      <a:gd name="connsiteY32" fmla="*/ 5562 h 13815"/>
                      <a:gd name="connsiteX33" fmla="*/ 598 w 22128"/>
                      <a:gd name="connsiteY33" fmla="*/ 5443 h 13815"/>
                      <a:gd name="connsiteX34" fmla="*/ 598 w 22128"/>
                      <a:gd name="connsiteY34" fmla="*/ 5443 h 13815"/>
                      <a:gd name="connsiteX35" fmla="*/ 60 w 22128"/>
                      <a:gd name="connsiteY35" fmla="*/ 4605 h 13815"/>
                      <a:gd name="connsiteX36" fmla="*/ 0 w 22128"/>
                      <a:gd name="connsiteY36" fmla="*/ 3768 h 13815"/>
                      <a:gd name="connsiteX37" fmla="*/ 1794 w 22128"/>
                      <a:gd name="connsiteY37" fmla="*/ 239 h 13815"/>
                      <a:gd name="connsiteX38" fmla="*/ 1914 w 22128"/>
                      <a:gd name="connsiteY38" fmla="*/ 0 h 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128" h="13815">
                        <a:moveTo>
                          <a:pt x="22128" y="9510"/>
                        </a:moveTo>
                        <a:lnTo>
                          <a:pt x="20334" y="13038"/>
                        </a:lnTo>
                        <a:lnTo>
                          <a:pt x="20274" y="13098"/>
                        </a:lnTo>
                        <a:lnTo>
                          <a:pt x="19736" y="13636"/>
                        </a:lnTo>
                        <a:lnTo>
                          <a:pt x="18540" y="13815"/>
                        </a:lnTo>
                        <a:lnTo>
                          <a:pt x="17703" y="13756"/>
                        </a:lnTo>
                        <a:lnTo>
                          <a:pt x="17225" y="13696"/>
                        </a:lnTo>
                        <a:lnTo>
                          <a:pt x="16806" y="13636"/>
                        </a:lnTo>
                        <a:lnTo>
                          <a:pt x="16746" y="13636"/>
                        </a:lnTo>
                        <a:lnTo>
                          <a:pt x="16208" y="13516"/>
                        </a:lnTo>
                        <a:lnTo>
                          <a:pt x="16208" y="13516"/>
                        </a:lnTo>
                        <a:lnTo>
                          <a:pt x="15789" y="13397"/>
                        </a:lnTo>
                        <a:lnTo>
                          <a:pt x="14473" y="13098"/>
                        </a:lnTo>
                        <a:lnTo>
                          <a:pt x="13756" y="12859"/>
                        </a:lnTo>
                        <a:lnTo>
                          <a:pt x="11902" y="12260"/>
                        </a:lnTo>
                        <a:lnTo>
                          <a:pt x="9330" y="11184"/>
                        </a:lnTo>
                        <a:lnTo>
                          <a:pt x="9210" y="11124"/>
                        </a:lnTo>
                        <a:lnTo>
                          <a:pt x="8373" y="10706"/>
                        </a:lnTo>
                        <a:lnTo>
                          <a:pt x="6579" y="9808"/>
                        </a:lnTo>
                        <a:lnTo>
                          <a:pt x="4186" y="8433"/>
                        </a:lnTo>
                        <a:lnTo>
                          <a:pt x="3768" y="8134"/>
                        </a:lnTo>
                        <a:lnTo>
                          <a:pt x="3469" y="7895"/>
                        </a:lnTo>
                        <a:lnTo>
                          <a:pt x="3469" y="7895"/>
                        </a:lnTo>
                        <a:lnTo>
                          <a:pt x="2332" y="7117"/>
                        </a:lnTo>
                        <a:lnTo>
                          <a:pt x="2213" y="7057"/>
                        </a:lnTo>
                        <a:lnTo>
                          <a:pt x="2033" y="6938"/>
                        </a:lnTo>
                        <a:lnTo>
                          <a:pt x="1854" y="6758"/>
                        </a:lnTo>
                        <a:lnTo>
                          <a:pt x="1854" y="6758"/>
                        </a:lnTo>
                        <a:lnTo>
                          <a:pt x="1794" y="6758"/>
                        </a:lnTo>
                        <a:lnTo>
                          <a:pt x="1435" y="6399"/>
                        </a:lnTo>
                        <a:lnTo>
                          <a:pt x="1435" y="6399"/>
                        </a:lnTo>
                        <a:lnTo>
                          <a:pt x="778" y="5742"/>
                        </a:lnTo>
                        <a:lnTo>
                          <a:pt x="658" y="5562"/>
                        </a:lnTo>
                        <a:lnTo>
                          <a:pt x="598" y="5443"/>
                        </a:lnTo>
                        <a:lnTo>
                          <a:pt x="598" y="5443"/>
                        </a:lnTo>
                        <a:lnTo>
                          <a:pt x="60" y="4605"/>
                        </a:lnTo>
                        <a:lnTo>
                          <a:pt x="0" y="3768"/>
                        </a:lnTo>
                        <a:lnTo>
                          <a:pt x="1794" y="239"/>
                        </a:lnTo>
                        <a:lnTo>
                          <a:pt x="1914" y="0"/>
                        </a:lnTo>
                      </a:path>
                    </a:pathLst>
                  </a:custGeom>
                  <a:noFill/>
                  <a:ln w="6350" cap="flat">
                    <a:solidFill>
                      <a:schemeClr val="bg1">
                        <a:alpha val="40000"/>
                      </a:schemeClr>
                    </a:solidFill>
                    <a:prstDash val="solid"/>
                    <a:miter/>
                  </a:ln>
                </p:spPr>
                <p:txBody>
                  <a:bodyPr rtlCol="0" anchor="ctr"/>
                  <a:lstStyle/>
                  <a:p>
                    <a:endParaRPr lang="en-GB"/>
                  </a:p>
                </p:txBody>
              </p:sp>
              <p:sp>
                <p:nvSpPr>
                  <p:cNvPr id="8018" name="Vrije vorm: vorm 8017">
                    <a:extLst>
                      <a:ext uri="{FF2B5EF4-FFF2-40B4-BE49-F238E27FC236}">
                        <a16:creationId xmlns:a16="http://schemas.microsoft.com/office/drawing/2014/main" id="{45D4FE37-9355-4F45-A3E8-0881744E2C12}"/>
                      </a:ext>
                    </a:extLst>
                  </p:cNvPr>
                  <p:cNvSpPr/>
                  <p:nvPr/>
                </p:nvSpPr>
                <p:spPr>
                  <a:xfrm>
                    <a:off x="5601982" y="5290766"/>
                    <a:ext cx="25597" cy="16626"/>
                  </a:xfrm>
                  <a:custGeom>
                    <a:avLst/>
                    <a:gdLst>
                      <a:gd name="connsiteX0" fmla="*/ 60 w 25597"/>
                      <a:gd name="connsiteY0" fmla="*/ 6100 h 16626"/>
                      <a:gd name="connsiteX1" fmla="*/ 0 w 25597"/>
                      <a:gd name="connsiteY1" fmla="*/ 5203 h 16626"/>
                      <a:gd name="connsiteX2" fmla="*/ 1795 w 25597"/>
                      <a:gd name="connsiteY2" fmla="*/ 1675 h 16626"/>
                      <a:gd name="connsiteX3" fmla="*/ 2333 w 25597"/>
                      <a:gd name="connsiteY3" fmla="*/ 658 h 16626"/>
                      <a:gd name="connsiteX4" fmla="*/ 3050 w 25597"/>
                      <a:gd name="connsiteY4" fmla="*/ 120 h 16626"/>
                      <a:gd name="connsiteX5" fmla="*/ 4486 w 25597"/>
                      <a:gd name="connsiteY5" fmla="*/ 0 h 16626"/>
                      <a:gd name="connsiteX6" fmla="*/ 6579 w 25597"/>
                      <a:gd name="connsiteY6" fmla="*/ 299 h 16626"/>
                      <a:gd name="connsiteX7" fmla="*/ 9151 w 25597"/>
                      <a:gd name="connsiteY7" fmla="*/ 957 h 16626"/>
                      <a:gd name="connsiteX8" fmla="*/ 11782 w 25597"/>
                      <a:gd name="connsiteY8" fmla="*/ 1854 h 16626"/>
                      <a:gd name="connsiteX9" fmla="*/ 12021 w 25597"/>
                      <a:gd name="connsiteY9" fmla="*/ 1914 h 16626"/>
                      <a:gd name="connsiteX10" fmla="*/ 14593 w 25597"/>
                      <a:gd name="connsiteY10" fmla="*/ 2990 h 16626"/>
                      <a:gd name="connsiteX11" fmla="*/ 15012 w 25597"/>
                      <a:gd name="connsiteY11" fmla="*/ 3170 h 16626"/>
                      <a:gd name="connsiteX12" fmla="*/ 17524 w 25597"/>
                      <a:gd name="connsiteY12" fmla="*/ 4426 h 16626"/>
                      <a:gd name="connsiteX13" fmla="*/ 17942 w 25597"/>
                      <a:gd name="connsiteY13" fmla="*/ 4665 h 16626"/>
                      <a:gd name="connsiteX14" fmla="*/ 20335 w 25597"/>
                      <a:gd name="connsiteY14" fmla="*/ 6041 h 16626"/>
                      <a:gd name="connsiteX15" fmla="*/ 20574 w 25597"/>
                      <a:gd name="connsiteY15" fmla="*/ 6160 h 16626"/>
                      <a:gd name="connsiteX16" fmla="*/ 22787 w 25597"/>
                      <a:gd name="connsiteY16" fmla="*/ 7655 h 16626"/>
                      <a:gd name="connsiteX17" fmla="*/ 24461 w 25597"/>
                      <a:gd name="connsiteY17" fmla="*/ 9091 h 16626"/>
                      <a:gd name="connsiteX18" fmla="*/ 25418 w 25597"/>
                      <a:gd name="connsiteY18" fmla="*/ 10287 h 16626"/>
                      <a:gd name="connsiteX19" fmla="*/ 25598 w 25597"/>
                      <a:gd name="connsiteY19" fmla="*/ 11244 h 16626"/>
                      <a:gd name="connsiteX20" fmla="*/ 23804 w 25597"/>
                      <a:gd name="connsiteY20" fmla="*/ 14773 h 16626"/>
                      <a:gd name="connsiteX21" fmla="*/ 23265 w 25597"/>
                      <a:gd name="connsiteY21" fmla="*/ 15789 h 16626"/>
                      <a:gd name="connsiteX22" fmla="*/ 22667 w 25597"/>
                      <a:gd name="connsiteY22" fmla="*/ 16387 h 16626"/>
                      <a:gd name="connsiteX23" fmla="*/ 21292 w 25597"/>
                      <a:gd name="connsiteY23" fmla="*/ 16627 h 16626"/>
                      <a:gd name="connsiteX24" fmla="*/ 20933 w 25597"/>
                      <a:gd name="connsiteY24" fmla="*/ 16567 h 16626"/>
                      <a:gd name="connsiteX25" fmla="*/ 19258 w 25597"/>
                      <a:gd name="connsiteY25" fmla="*/ 16387 h 16626"/>
                      <a:gd name="connsiteX26" fmla="*/ 18421 w 25597"/>
                      <a:gd name="connsiteY26" fmla="*/ 16208 h 16626"/>
                      <a:gd name="connsiteX27" fmla="*/ 17464 w 25597"/>
                      <a:gd name="connsiteY27" fmla="*/ 15968 h 16626"/>
                      <a:gd name="connsiteX28" fmla="*/ 17464 w 25597"/>
                      <a:gd name="connsiteY28" fmla="*/ 15968 h 16626"/>
                      <a:gd name="connsiteX29" fmla="*/ 16686 w 25597"/>
                      <a:gd name="connsiteY29" fmla="*/ 15789 h 16626"/>
                      <a:gd name="connsiteX30" fmla="*/ 14055 w 25597"/>
                      <a:gd name="connsiteY30" fmla="*/ 14892 h 16626"/>
                      <a:gd name="connsiteX31" fmla="*/ 13756 w 25597"/>
                      <a:gd name="connsiteY31" fmla="*/ 14773 h 16626"/>
                      <a:gd name="connsiteX32" fmla="*/ 12620 w 25597"/>
                      <a:gd name="connsiteY32" fmla="*/ 14294 h 16626"/>
                      <a:gd name="connsiteX33" fmla="*/ 10586 w 25597"/>
                      <a:gd name="connsiteY33" fmla="*/ 13457 h 16626"/>
                      <a:gd name="connsiteX34" fmla="*/ 10048 w 25597"/>
                      <a:gd name="connsiteY34" fmla="*/ 13158 h 16626"/>
                      <a:gd name="connsiteX35" fmla="*/ 10048 w 25597"/>
                      <a:gd name="connsiteY35" fmla="*/ 13158 h 16626"/>
                      <a:gd name="connsiteX36" fmla="*/ 8074 w 25597"/>
                      <a:gd name="connsiteY36" fmla="*/ 12201 h 16626"/>
                      <a:gd name="connsiteX37" fmla="*/ 8074 w 25597"/>
                      <a:gd name="connsiteY37" fmla="*/ 12201 h 16626"/>
                      <a:gd name="connsiteX38" fmla="*/ 7954 w 25597"/>
                      <a:gd name="connsiteY38" fmla="*/ 12141 h 16626"/>
                      <a:gd name="connsiteX39" fmla="*/ 7536 w 25597"/>
                      <a:gd name="connsiteY39" fmla="*/ 11902 h 16626"/>
                      <a:gd name="connsiteX40" fmla="*/ 5144 w 25597"/>
                      <a:gd name="connsiteY40" fmla="*/ 10526 h 16626"/>
                      <a:gd name="connsiteX41" fmla="*/ 4785 w 25597"/>
                      <a:gd name="connsiteY41" fmla="*/ 10347 h 16626"/>
                      <a:gd name="connsiteX42" fmla="*/ 4785 w 25597"/>
                      <a:gd name="connsiteY42" fmla="*/ 10347 h 16626"/>
                      <a:gd name="connsiteX43" fmla="*/ 4785 w 25597"/>
                      <a:gd name="connsiteY43" fmla="*/ 10347 h 16626"/>
                      <a:gd name="connsiteX44" fmla="*/ 2811 w 25597"/>
                      <a:gd name="connsiteY44" fmla="*/ 8971 h 16626"/>
                      <a:gd name="connsiteX45" fmla="*/ 2811 w 25597"/>
                      <a:gd name="connsiteY45" fmla="*/ 8971 h 16626"/>
                      <a:gd name="connsiteX46" fmla="*/ 2512 w 25597"/>
                      <a:gd name="connsiteY46" fmla="*/ 8792 h 16626"/>
                      <a:gd name="connsiteX47" fmla="*/ 897 w 25597"/>
                      <a:gd name="connsiteY47" fmla="*/ 7356 h 16626"/>
                      <a:gd name="connsiteX48" fmla="*/ 897 w 25597"/>
                      <a:gd name="connsiteY48" fmla="*/ 7356 h 16626"/>
                      <a:gd name="connsiteX49" fmla="*/ 60 w 25597"/>
                      <a:gd name="connsiteY49" fmla="*/ 6100 h 1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597" h="16626">
                        <a:moveTo>
                          <a:pt x="60" y="6100"/>
                        </a:moveTo>
                        <a:lnTo>
                          <a:pt x="0" y="5203"/>
                        </a:lnTo>
                        <a:lnTo>
                          <a:pt x="1795" y="1675"/>
                        </a:lnTo>
                        <a:lnTo>
                          <a:pt x="2333" y="658"/>
                        </a:lnTo>
                        <a:lnTo>
                          <a:pt x="3050" y="120"/>
                        </a:lnTo>
                        <a:lnTo>
                          <a:pt x="4486" y="0"/>
                        </a:lnTo>
                        <a:lnTo>
                          <a:pt x="6579" y="299"/>
                        </a:lnTo>
                        <a:lnTo>
                          <a:pt x="9151" y="957"/>
                        </a:lnTo>
                        <a:lnTo>
                          <a:pt x="11782" y="1854"/>
                        </a:lnTo>
                        <a:lnTo>
                          <a:pt x="12021" y="1914"/>
                        </a:lnTo>
                        <a:lnTo>
                          <a:pt x="14593" y="2990"/>
                        </a:lnTo>
                        <a:lnTo>
                          <a:pt x="15012" y="3170"/>
                        </a:lnTo>
                        <a:lnTo>
                          <a:pt x="17524" y="4426"/>
                        </a:lnTo>
                        <a:lnTo>
                          <a:pt x="17942" y="4665"/>
                        </a:lnTo>
                        <a:lnTo>
                          <a:pt x="20335" y="6041"/>
                        </a:lnTo>
                        <a:lnTo>
                          <a:pt x="20574" y="6160"/>
                        </a:lnTo>
                        <a:lnTo>
                          <a:pt x="22787" y="7655"/>
                        </a:lnTo>
                        <a:lnTo>
                          <a:pt x="24461" y="9091"/>
                        </a:lnTo>
                        <a:lnTo>
                          <a:pt x="25418" y="10287"/>
                        </a:lnTo>
                        <a:lnTo>
                          <a:pt x="25598" y="11244"/>
                        </a:lnTo>
                        <a:lnTo>
                          <a:pt x="23804" y="14773"/>
                        </a:lnTo>
                        <a:lnTo>
                          <a:pt x="23265" y="15789"/>
                        </a:lnTo>
                        <a:lnTo>
                          <a:pt x="22667" y="16387"/>
                        </a:lnTo>
                        <a:lnTo>
                          <a:pt x="21292" y="16627"/>
                        </a:lnTo>
                        <a:lnTo>
                          <a:pt x="20933" y="16567"/>
                        </a:lnTo>
                        <a:lnTo>
                          <a:pt x="19258" y="16387"/>
                        </a:lnTo>
                        <a:lnTo>
                          <a:pt x="18421" y="16208"/>
                        </a:lnTo>
                        <a:lnTo>
                          <a:pt x="17464" y="15968"/>
                        </a:lnTo>
                        <a:lnTo>
                          <a:pt x="17464" y="15968"/>
                        </a:lnTo>
                        <a:lnTo>
                          <a:pt x="16686" y="15789"/>
                        </a:lnTo>
                        <a:lnTo>
                          <a:pt x="14055" y="14892"/>
                        </a:lnTo>
                        <a:lnTo>
                          <a:pt x="13756" y="14773"/>
                        </a:lnTo>
                        <a:lnTo>
                          <a:pt x="12620" y="14294"/>
                        </a:lnTo>
                        <a:lnTo>
                          <a:pt x="10586" y="13457"/>
                        </a:lnTo>
                        <a:lnTo>
                          <a:pt x="10048" y="13158"/>
                        </a:lnTo>
                        <a:lnTo>
                          <a:pt x="10048" y="13158"/>
                        </a:lnTo>
                        <a:lnTo>
                          <a:pt x="8074" y="12201"/>
                        </a:lnTo>
                        <a:lnTo>
                          <a:pt x="8074" y="12201"/>
                        </a:lnTo>
                        <a:lnTo>
                          <a:pt x="7954" y="12141"/>
                        </a:lnTo>
                        <a:lnTo>
                          <a:pt x="7536" y="11902"/>
                        </a:lnTo>
                        <a:lnTo>
                          <a:pt x="5144" y="10526"/>
                        </a:lnTo>
                        <a:lnTo>
                          <a:pt x="4785" y="10347"/>
                        </a:lnTo>
                        <a:lnTo>
                          <a:pt x="4785" y="10347"/>
                        </a:lnTo>
                        <a:lnTo>
                          <a:pt x="4785" y="10347"/>
                        </a:lnTo>
                        <a:lnTo>
                          <a:pt x="2811" y="8971"/>
                        </a:lnTo>
                        <a:lnTo>
                          <a:pt x="2811" y="8971"/>
                        </a:lnTo>
                        <a:lnTo>
                          <a:pt x="2512" y="8792"/>
                        </a:lnTo>
                        <a:lnTo>
                          <a:pt x="897" y="7356"/>
                        </a:lnTo>
                        <a:lnTo>
                          <a:pt x="897" y="7356"/>
                        </a:lnTo>
                        <a:lnTo>
                          <a:pt x="60" y="6100"/>
                        </a:lnTo>
                      </a:path>
                    </a:pathLst>
                  </a:custGeom>
                  <a:noFill/>
                  <a:ln w="6350" cap="flat">
                    <a:solidFill>
                      <a:schemeClr val="bg1">
                        <a:alpha val="40000"/>
                      </a:schemeClr>
                    </a:solidFill>
                    <a:prstDash val="solid"/>
                    <a:miter/>
                  </a:ln>
                </p:spPr>
                <p:txBody>
                  <a:bodyPr rtlCol="0" anchor="ctr"/>
                  <a:lstStyle/>
                  <a:p>
                    <a:endParaRPr lang="en-GB"/>
                  </a:p>
                </p:txBody>
              </p:sp>
              <p:sp>
                <p:nvSpPr>
                  <p:cNvPr id="8019" name="Vrije vorm: vorm 8018">
                    <a:extLst>
                      <a:ext uri="{FF2B5EF4-FFF2-40B4-BE49-F238E27FC236}">
                        <a16:creationId xmlns:a16="http://schemas.microsoft.com/office/drawing/2014/main" id="{F3DE9B45-30A3-4435-8B60-95904ECBBB92}"/>
                      </a:ext>
                    </a:extLst>
                  </p:cNvPr>
                  <p:cNvSpPr/>
                  <p:nvPr/>
                </p:nvSpPr>
                <p:spPr>
                  <a:xfrm>
                    <a:off x="5604255" y="5291364"/>
                    <a:ext cx="23324" cy="11423"/>
                  </a:xfrm>
                  <a:custGeom>
                    <a:avLst/>
                    <a:gdLst>
                      <a:gd name="connsiteX0" fmla="*/ 23325 w 23324"/>
                      <a:gd name="connsiteY0" fmla="*/ 10645 h 11423"/>
                      <a:gd name="connsiteX1" fmla="*/ 22727 w 23324"/>
                      <a:gd name="connsiteY1" fmla="*/ 11243 h 11423"/>
                      <a:gd name="connsiteX2" fmla="*/ 21351 w 23324"/>
                      <a:gd name="connsiteY2" fmla="*/ 11423 h 11423"/>
                      <a:gd name="connsiteX3" fmla="*/ 19318 w 23324"/>
                      <a:gd name="connsiteY3" fmla="*/ 11184 h 11423"/>
                      <a:gd name="connsiteX4" fmla="*/ 16746 w 23324"/>
                      <a:gd name="connsiteY4" fmla="*/ 10526 h 11423"/>
                      <a:gd name="connsiteX5" fmla="*/ 15072 w 23324"/>
                      <a:gd name="connsiteY5" fmla="*/ 9988 h 11423"/>
                      <a:gd name="connsiteX6" fmla="*/ 13756 w 23324"/>
                      <a:gd name="connsiteY6" fmla="*/ 9569 h 11423"/>
                      <a:gd name="connsiteX7" fmla="*/ 11184 w 23324"/>
                      <a:gd name="connsiteY7" fmla="*/ 8493 h 11423"/>
                      <a:gd name="connsiteX8" fmla="*/ 10646 w 23324"/>
                      <a:gd name="connsiteY8" fmla="*/ 8253 h 11423"/>
                      <a:gd name="connsiteX9" fmla="*/ 8134 w 23324"/>
                      <a:gd name="connsiteY9" fmla="*/ 6997 h 11423"/>
                      <a:gd name="connsiteX10" fmla="*/ 7596 w 23324"/>
                      <a:gd name="connsiteY10" fmla="*/ 6698 h 11423"/>
                      <a:gd name="connsiteX11" fmla="*/ 5861 w 23324"/>
                      <a:gd name="connsiteY11" fmla="*/ 5681 h 11423"/>
                      <a:gd name="connsiteX12" fmla="*/ 4844 w 23324"/>
                      <a:gd name="connsiteY12" fmla="*/ 5083 h 11423"/>
                      <a:gd name="connsiteX13" fmla="*/ 2572 w 23324"/>
                      <a:gd name="connsiteY13" fmla="*/ 3528 h 11423"/>
                      <a:gd name="connsiteX14" fmla="*/ 957 w 23324"/>
                      <a:gd name="connsiteY14" fmla="*/ 2093 h 11423"/>
                      <a:gd name="connsiteX15" fmla="*/ 60 w 23324"/>
                      <a:gd name="connsiteY15" fmla="*/ 897 h 11423"/>
                      <a:gd name="connsiteX16" fmla="*/ 0 w 23324"/>
                      <a:gd name="connsiteY16" fmla="*/ 0 h 1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324" h="11423">
                        <a:moveTo>
                          <a:pt x="23325" y="10645"/>
                        </a:moveTo>
                        <a:lnTo>
                          <a:pt x="22727" y="11243"/>
                        </a:lnTo>
                        <a:lnTo>
                          <a:pt x="21351" y="11423"/>
                        </a:lnTo>
                        <a:lnTo>
                          <a:pt x="19318" y="11184"/>
                        </a:lnTo>
                        <a:lnTo>
                          <a:pt x="16746" y="10526"/>
                        </a:lnTo>
                        <a:lnTo>
                          <a:pt x="15072" y="9988"/>
                        </a:lnTo>
                        <a:lnTo>
                          <a:pt x="13756" y="9569"/>
                        </a:lnTo>
                        <a:lnTo>
                          <a:pt x="11184" y="8493"/>
                        </a:lnTo>
                        <a:lnTo>
                          <a:pt x="10646" y="8253"/>
                        </a:lnTo>
                        <a:lnTo>
                          <a:pt x="8134" y="6997"/>
                        </a:lnTo>
                        <a:lnTo>
                          <a:pt x="7596" y="6698"/>
                        </a:lnTo>
                        <a:lnTo>
                          <a:pt x="5861" y="5681"/>
                        </a:lnTo>
                        <a:lnTo>
                          <a:pt x="4844" y="5083"/>
                        </a:lnTo>
                        <a:lnTo>
                          <a:pt x="2572" y="3528"/>
                        </a:lnTo>
                        <a:lnTo>
                          <a:pt x="957" y="2093"/>
                        </a:lnTo>
                        <a:lnTo>
                          <a:pt x="60" y="897"/>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20" name="Vrije vorm: vorm 8019">
                    <a:extLst>
                      <a:ext uri="{FF2B5EF4-FFF2-40B4-BE49-F238E27FC236}">
                        <a16:creationId xmlns:a16="http://schemas.microsoft.com/office/drawing/2014/main" id="{146953E7-1C64-44CE-A3C3-4BE0D02C5155}"/>
                      </a:ext>
                    </a:extLst>
                  </p:cNvPr>
                  <p:cNvSpPr/>
                  <p:nvPr/>
                </p:nvSpPr>
                <p:spPr>
                  <a:xfrm>
                    <a:off x="5705269" y="5143759"/>
                    <a:ext cx="18360" cy="29664"/>
                  </a:xfrm>
                  <a:custGeom>
                    <a:avLst/>
                    <a:gdLst>
                      <a:gd name="connsiteX0" fmla="*/ 11304 w 18360"/>
                      <a:gd name="connsiteY0" fmla="*/ 29665 h 29664"/>
                      <a:gd name="connsiteX1" fmla="*/ 8792 w 18360"/>
                      <a:gd name="connsiteY1" fmla="*/ 28468 h 29664"/>
                      <a:gd name="connsiteX2" fmla="*/ 6280 w 18360"/>
                      <a:gd name="connsiteY2" fmla="*/ 27272 h 29664"/>
                      <a:gd name="connsiteX3" fmla="*/ 5622 w 18360"/>
                      <a:gd name="connsiteY3" fmla="*/ 26973 h 29664"/>
                      <a:gd name="connsiteX4" fmla="*/ 3170 w 18360"/>
                      <a:gd name="connsiteY4" fmla="*/ 25598 h 29664"/>
                      <a:gd name="connsiteX5" fmla="*/ 718 w 18360"/>
                      <a:gd name="connsiteY5" fmla="*/ 24222 h 29664"/>
                      <a:gd name="connsiteX6" fmla="*/ 0 w 18360"/>
                      <a:gd name="connsiteY6" fmla="*/ 23863 h 29664"/>
                      <a:gd name="connsiteX7" fmla="*/ 60 w 18360"/>
                      <a:gd name="connsiteY7" fmla="*/ 20275 h 29664"/>
                      <a:gd name="connsiteX8" fmla="*/ 120 w 18360"/>
                      <a:gd name="connsiteY8" fmla="*/ 16985 h 29664"/>
                      <a:gd name="connsiteX9" fmla="*/ 1914 w 18360"/>
                      <a:gd name="connsiteY9" fmla="*/ 13457 h 29664"/>
                      <a:gd name="connsiteX10" fmla="*/ 3708 w 18360"/>
                      <a:gd name="connsiteY10" fmla="*/ 9928 h 29664"/>
                      <a:gd name="connsiteX11" fmla="*/ 5502 w 18360"/>
                      <a:gd name="connsiteY11" fmla="*/ 6399 h 29664"/>
                      <a:gd name="connsiteX12" fmla="*/ 6878 w 18360"/>
                      <a:gd name="connsiteY12" fmla="*/ 3649 h 29664"/>
                      <a:gd name="connsiteX13" fmla="*/ 9749 w 18360"/>
                      <a:gd name="connsiteY13" fmla="*/ 1495 h 29664"/>
                      <a:gd name="connsiteX14" fmla="*/ 11842 w 18360"/>
                      <a:gd name="connsiteY14" fmla="*/ 0 h 29664"/>
                      <a:gd name="connsiteX15" fmla="*/ 14414 w 18360"/>
                      <a:gd name="connsiteY15" fmla="*/ 1077 h 29664"/>
                      <a:gd name="connsiteX16" fmla="*/ 16985 w 18360"/>
                      <a:gd name="connsiteY16" fmla="*/ 2153 h 29664"/>
                      <a:gd name="connsiteX17" fmla="*/ 18361 w 18360"/>
                      <a:gd name="connsiteY17" fmla="*/ 2751 h 2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360" h="29664">
                        <a:moveTo>
                          <a:pt x="11304" y="29665"/>
                        </a:moveTo>
                        <a:lnTo>
                          <a:pt x="8792" y="28468"/>
                        </a:lnTo>
                        <a:lnTo>
                          <a:pt x="6280" y="27272"/>
                        </a:lnTo>
                        <a:lnTo>
                          <a:pt x="5622" y="26973"/>
                        </a:lnTo>
                        <a:lnTo>
                          <a:pt x="3170" y="25598"/>
                        </a:lnTo>
                        <a:lnTo>
                          <a:pt x="718" y="24222"/>
                        </a:lnTo>
                        <a:lnTo>
                          <a:pt x="0" y="23863"/>
                        </a:lnTo>
                        <a:lnTo>
                          <a:pt x="60" y="20275"/>
                        </a:lnTo>
                        <a:lnTo>
                          <a:pt x="120" y="16985"/>
                        </a:lnTo>
                        <a:lnTo>
                          <a:pt x="1914" y="13457"/>
                        </a:lnTo>
                        <a:lnTo>
                          <a:pt x="3708" y="9928"/>
                        </a:lnTo>
                        <a:lnTo>
                          <a:pt x="5502" y="6399"/>
                        </a:lnTo>
                        <a:lnTo>
                          <a:pt x="6878" y="3649"/>
                        </a:lnTo>
                        <a:lnTo>
                          <a:pt x="9749" y="1495"/>
                        </a:lnTo>
                        <a:lnTo>
                          <a:pt x="11842" y="0"/>
                        </a:lnTo>
                        <a:lnTo>
                          <a:pt x="14414" y="1077"/>
                        </a:lnTo>
                        <a:lnTo>
                          <a:pt x="16985" y="2153"/>
                        </a:lnTo>
                        <a:lnTo>
                          <a:pt x="18361" y="2751"/>
                        </a:lnTo>
                      </a:path>
                    </a:pathLst>
                  </a:custGeom>
                  <a:noFill/>
                  <a:ln w="6350" cap="flat">
                    <a:solidFill>
                      <a:schemeClr val="bg1">
                        <a:alpha val="40000"/>
                      </a:schemeClr>
                    </a:solidFill>
                    <a:prstDash val="solid"/>
                    <a:miter/>
                  </a:ln>
                </p:spPr>
                <p:txBody>
                  <a:bodyPr rtlCol="0" anchor="ctr"/>
                  <a:lstStyle/>
                  <a:p>
                    <a:endParaRPr lang="en-GB"/>
                  </a:p>
                </p:txBody>
              </p:sp>
              <p:sp>
                <p:nvSpPr>
                  <p:cNvPr id="8021" name="Vrije vorm: vorm 8020">
                    <a:extLst>
                      <a:ext uri="{FF2B5EF4-FFF2-40B4-BE49-F238E27FC236}">
                        <a16:creationId xmlns:a16="http://schemas.microsoft.com/office/drawing/2014/main" id="{6CB92802-307E-4C03-AACB-7C82D1130AFD}"/>
                      </a:ext>
                    </a:extLst>
                  </p:cNvPr>
                  <p:cNvSpPr/>
                  <p:nvPr/>
                </p:nvSpPr>
                <p:spPr>
                  <a:xfrm>
                    <a:off x="5751740" y="5389687"/>
                    <a:ext cx="12021" cy="12439"/>
                  </a:xfrm>
                  <a:custGeom>
                    <a:avLst/>
                    <a:gdLst>
                      <a:gd name="connsiteX0" fmla="*/ 12021 w 12021"/>
                      <a:gd name="connsiteY0" fmla="*/ 0 h 12439"/>
                      <a:gd name="connsiteX1" fmla="*/ 10287 w 12021"/>
                      <a:gd name="connsiteY1" fmla="*/ 3528 h 12439"/>
                      <a:gd name="connsiteX2" fmla="*/ 8552 w 12021"/>
                      <a:gd name="connsiteY2" fmla="*/ 7057 h 12439"/>
                      <a:gd name="connsiteX3" fmla="*/ 7117 w 12021"/>
                      <a:gd name="connsiteY3" fmla="*/ 9928 h 12439"/>
                      <a:gd name="connsiteX4" fmla="*/ 4127 w 12021"/>
                      <a:gd name="connsiteY4" fmla="*/ 11543 h 12439"/>
                      <a:gd name="connsiteX5" fmla="*/ 2452 w 12021"/>
                      <a:gd name="connsiteY5" fmla="*/ 12440 h 12439"/>
                      <a:gd name="connsiteX6" fmla="*/ 0 w 12021"/>
                      <a:gd name="connsiteY6" fmla="*/ 12380 h 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21" h="12439">
                        <a:moveTo>
                          <a:pt x="12021" y="0"/>
                        </a:moveTo>
                        <a:lnTo>
                          <a:pt x="10287" y="3528"/>
                        </a:lnTo>
                        <a:lnTo>
                          <a:pt x="8552" y="7057"/>
                        </a:lnTo>
                        <a:lnTo>
                          <a:pt x="7117" y="9928"/>
                        </a:lnTo>
                        <a:lnTo>
                          <a:pt x="4127" y="11543"/>
                        </a:lnTo>
                        <a:lnTo>
                          <a:pt x="2452" y="12440"/>
                        </a:lnTo>
                        <a:lnTo>
                          <a:pt x="0" y="12380"/>
                        </a:lnTo>
                      </a:path>
                    </a:pathLst>
                  </a:custGeom>
                  <a:noFill/>
                  <a:ln w="6350" cap="flat">
                    <a:solidFill>
                      <a:schemeClr val="bg1">
                        <a:alpha val="40000"/>
                      </a:schemeClr>
                    </a:solidFill>
                    <a:prstDash val="solid"/>
                    <a:miter/>
                  </a:ln>
                </p:spPr>
                <p:txBody>
                  <a:bodyPr rtlCol="0" anchor="ctr"/>
                  <a:lstStyle/>
                  <a:p>
                    <a:endParaRPr lang="en-GB"/>
                  </a:p>
                </p:txBody>
              </p:sp>
              <p:sp>
                <p:nvSpPr>
                  <p:cNvPr id="8022" name="Vrije vorm: vorm 8021">
                    <a:extLst>
                      <a:ext uri="{FF2B5EF4-FFF2-40B4-BE49-F238E27FC236}">
                        <a16:creationId xmlns:a16="http://schemas.microsoft.com/office/drawing/2014/main" id="{6B6FD9FA-42CA-437F-BFF7-F787F9326FA5}"/>
                      </a:ext>
                    </a:extLst>
                  </p:cNvPr>
                  <p:cNvSpPr/>
                  <p:nvPr/>
                </p:nvSpPr>
                <p:spPr>
                  <a:xfrm>
                    <a:off x="5733259" y="5057936"/>
                    <a:ext cx="7535" cy="2152"/>
                  </a:xfrm>
                  <a:custGeom>
                    <a:avLst/>
                    <a:gdLst>
                      <a:gd name="connsiteX0" fmla="*/ 7536 w 7535"/>
                      <a:gd name="connsiteY0" fmla="*/ 2153 h 2152"/>
                      <a:gd name="connsiteX1" fmla="*/ 4844 w 7535"/>
                      <a:gd name="connsiteY1" fmla="*/ 1375 h 2152"/>
                      <a:gd name="connsiteX2" fmla="*/ 2153 w 7535"/>
                      <a:gd name="connsiteY2" fmla="*/ 598 h 2152"/>
                      <a:gd name="connsiteX3" fmla="*/ 0 w 7535"/>
                      <a:gd name="connsiteY3" fmla="*/ 0 h 2152"/>
                    </a:gdLst>
                    <a:ahLst/>
                    <a:cxnLst>
                      <a:cxn ang="0">
                        <a:pos x="connsiteX0" y="connsiteY0"/>
                      </a:cxn>
                      <a:cxn ang="0">
                        <a:pos x="connsiteX1" y="connsiteY1"/>
                      </a:cxn>
                      <a:cxn ang="0">
                        <a:pos x="connsiteX2" y="connsiteY2"/>
                      </a:cxn>
                      <a:cxn ang="0">
                        <a:pos x="connsiteX3" y="connsiteY3"/>
                      </a:cxn>
                    </a:cxnLst>
                    <a:rect l="l" t="t" r="r" b="b"/>
                    <a:pathLst>
                      <a:path w="7535" h="2152">
                        <a:moveTo>
                          <a:pt x="7536" y="2153"/>
                        </a:moveTo>
                        <a:lnTo>
                          <a:pt x="4844" y="1375"/>
                        </a:lnTo>
                        <a:lnTo>
                          <a:pt x="2153" y="598"/>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23" name="Vrije vorm: vorm 8022">
                    <a:extLst>
                      <a:ext uri="{FF2B5EF4-FFF2-40B4-BE49-F238E27FC236}">
                        <a16:creationId xmlns:a16="http://schemas.microsoft.com/office/drawing/2014/main" id="{F6B703E1-D759-4C94-87AF-D8F728D694AB}"/>
                      </a:ext>
                    </a:extLst>
                  </p:cNvPr>
                  <p:cNvSpPr/>
                  <p:nvPr/>
                </p:nvSpPr>
                <p:spPr>
                  <a:xfrm>
                    <a:off x="5617771" y="5311578"/>
                    <a:ext cx="298" cy="658"/>
                  </a:xfrm>
                  <a:custGeom>
                    <a:avLst/>
                    <a:gdLst>
                      <a:gd name="connsiteX0" fmla="*/ 299 w 298"/>
                      <a:gd name="connsiteY0" fmla="*/ 0 h 658"/>
                      <a:gd name="connsiteX1" fmla="*/ 0 w 298"/>
                      <a:gd name="connsiteY1" fmla="*/ 658 h 658"/>
                      <a:gd name="connsiteX2" fmla="*/ 0 w 298"/>
                      <a:gd name="connsiteY2" fmla="*/ 658 h 658"/>
                    </a:gdLst>
                    <a:ahLst/>
                    <a:cxnLst>
                      <a:cxn ang="0">
                        <a:pos x="connsiteX0" y="connsiteY0"/>
                      </a:cxn>
                      <a:cxn ang="0">
                        <a:pos x="connsiteX1" y="connsiteY1"/>
                      </a:cxn>
                      <a:cxn ang="0">
                        <a:pos x="connsiteX2" y="connsiteY2"/>
                      </a:cxn>
                    </a:cxnLst>
                    <a:rect l="l" t="t" r="r" b="b"/>
                    <a:pathLst>
                      <a:path w="298" h="658">
                        <a:moveTo>
                          <a:pt x="299" y="0"/>
                        </a:moveTo>
                        <a:lnTo>
                          <a:pt x="0" y="658"/>
                        </a:lnTo>
                        <a:lnTo>
                          <a:pt x="0" y="658"/>
                        </a:lnTo>
                      </a:path>
                    </a:pathLst>
                  </a:custGeom>
                  <a:noFill/>
                  <a:ln w="6350" cap="flat">
                    <a:solidFill>
                      <a:schemeClr val="bg1">
                        <a:alpha val="40000"/>
                      </a:schemeClr>
                    </a:solidFill>
                    <a:prstDash val="solid"/>
                    <a:miter/>
                  </a:ln>
                </p:spPr>
                <p:txBody>
                  <a:bodyPr rtlCol="0" anchor="ctr"/>
                  <a:lstStyle/>
                  <a:p>
                    <a:endParaRPr lang="en-GB"/>
                  </a:p>
                </p:txBody>
              </p:sp>
              <p:sp>
                <p:nvSpPr>
                  <p:cNvPr id="8024" name="Vrije vorm: vorm 8023">
                    <a:extLst>
                      <a:ext uri="{FF2B5EF4-FFF2-40B4-BE49-F238E27FC236}">
                        <a16:creationId xmlns:a16="http://schemas.microsoft.com/office/drawing/2014/main" id="{E632628D-8561-4780-90DC-3DB6C58EC2F7}"/>
                      </a:ext>
                    </a:extLst>
                  </p:cNvPr>
                  <p:cNvSpPr/>
                  <p:nvPr/>
                </p:nvSpPr>
                <p:spPr>
                  <a:xfrm>
                    <a:off x="5588167" y="5364867"/>
                    <a:ext cx="3887" cy="7655"/>
                  </a:xfrm>
                  <a:custGeom>
                    <a:avLst/>
                    <a:gdLst>
                      <a:gd name="connsiteX0" fmla="*/ 3888 w 3887"/>
                      <a:gd name="connsiteY0" fmla="*/ 0 h 7655"/>
                      <a:gd name="connsiteX1" fmla="*/ 2093 w 3887"/>
                      <a:gd name="connsiteY1" fmla="*/ 3528 h 7655"/>
                      <a:gd name="connsiteX2" fmla="*/ 419 w 3887"/>
                      <a:gd name="connsiteY2" fmla="*/ 6758 h 7655"/>
                      <a:gd name="connsiteX3" fmla="*/ 0 w 3887"/>
                      <a:gd name="connsiteY3" fmla="*/ 7655 h 7655"/>
                    </a:gdLst>
                    <a:ahLst/>
                    <a:cxnLst>
                      <a:cxn ang="0">
                        <a:pos x="connsiteX0" y="connsiteY0"/>
                      </a:cxn>
                      <a:cxn ang="0">
                        <a:pos x="connsiteX1" y="connsiteY1"/>
                      </a:cxn>
                      <a:cxn ang="0">
                        <a:pos x="connsiteX2" y="connsiteY2"/>
                      </a:cxn>
                      <a:cxn ang="0">
                        <a:pos x="connsiteX3" y="connsiteY3"/>
                      </a:cxn>
                    </a:cxnLst>
                    <a:rect l="l" t="t" r="r" b="b"/>
                    <a:pathLst>
                      <a:path w="3887" h="7655">
                        <a:moveTo>
                          <a:pt x="3888" y="0"/>
                        </a:moveTo>
                        <a:lnTo>
                          <a:pt x="2093" y="3528"/>
                        </a:lnTo>
                        <a:lnTo>
                          <a:pt x="419" y="6758"/>
                        </a:lnTo>
                        <a:lnTo>
                          <a:pt x="0" y="7655"/>
                        </a:lnTo>
                      </a:path>
                    </a:pathLst>
                  </a:custGeom>
                  <a:noFill/>
                  <a:ln w="6350" cap="flat">
                    <a:solidFill>
                      <a:schemeClr val="bg1">
                        <a:alpha val="40000"/>
                      </a:schemeClr>
                    </a:solidFill>
                    <a:prstDash val="solid"/>
                    <a:miter/>
                  </a:ln>
                </p:spPr>
                <p:txBody>
                  <a:bodyPr rtlCol="0" anchor="ctr"/>
                  <a:lstStyle/>
                  <a:p>
                    <a:endParaRPr lang="en-GB"/>
                  </a:p>
                </p:txBody>
              </p:sp>
              <p:sp>
                <p:nvSpPr>
                  <p:cNvPr id="8025" name="Vrije vorm: vorm 8024">
                    <a:extLst>
                      <a:ext uri="{FF2B5EF4-FFF2-40B4-BE49-F238E27FC236}">
                        <a16:creationId xmlns:a16="http://schemas.microsoft.com/office/drawing/2014/main" id="{CD78AC95-704E-4767-B1C5-28384142AC54}"/>
                      </a:ext>
                    </a:extLst>
                  </p:cNvPr>
                  <p:cNvSpPr/>
                  <p:nvPr/>
                </p:nvSpPr>
                <p:spPr>
                  <a:xfrm>
                    <a:off x="5596719" y="5362235"/>
                    <a:ext cx="418" cy="5143"/>
                  </a:xfrm>
                  <a:custGeom>
                    <a:avLst/>
                    <a:gdLst>
                      <a:gd name="connsiteX0" fmla="*/ 0 w 418"/>
                      <a:gd name="connsiteY0" fmla="*/ 0 h 5143"/>
                      <a:gd name="connsiteX1" fmla="*/ 299 w 418"/>
                      <a:gd name="connsiteY1" fmla="*/ 3469 h 5143"/>
                      <a:gd name="connsiteX2" fmla="*/ 299 w 418"/>
                      <a:gd name="connsiteY2" fmla="*/ 3828 h 5143"/>
                      <a:gd name="connsiteX3" fmla="*/ 418 w 418"/>
                      <a:gd name="connsiteY3" fmla="*/ 5143 h 5143"/>
                    </a:gdLst>
                    <a:ahLst/>
                    <a:cxnLst>
                      <a:cxn ang="0">
                        <a:pos x="connsiteX0" y="connsiteY0"/>
                      </a:cxn>
                      <a:cxn ang="0">
                        <a:pos x="connsiteX1" y="connsiteY1"/>
                      </a:cxn>
                      <a:cxn ang="0">
                        <a:pos x="connsiteX2" y="connsiteY2"/>
                      </a:cxn>
                      <a:cxn ang="0">
                        <a:pos x="connsiteX3" y="connsiteY3"/>
                      </a:cxn>
                    </a:cxnLst>
                    <a:rect l="l" t="t" r="r" b="b"/>
                    <a:pathLst>
                      <a:path w="418" h="5143">
                        <a:moveTo>
                          <a:pt x="0" y="0"/>
                        </a:moveTo>
                        <a:lnTo>
                          <a:pt x="299" y="3469"/>
                        </a:lnTo>
                        <a:lnTo>
                          <a:pt x="299" y="3828"/>
                        </a:lnTo>
                        <a:lnTo>
                          <a:pt x="418" y="5143"/>
                        </a:lnTo>
                      </a:path>
                    </a:pathLst>
                  </a:custGeom>
                  <a:noFill/>
                  <a:ln w="6350" cap="flat">
                    <a:solidFill>
                      <a:schemeClr val="bg1">
                        <a:alpha val="40000"/>
                      </a:schemeClr>
                    </a:solidFill>
                    <a:prstDash val="solid"/>
                    <a:miter/>
                  </a:ln>
                </p:spPr>
                <p:txBody>
                  <a:bodyPr rtlCol="0" anchor="ctr"/>
                  <a:lstStyle/>
                  <a:p>
                    <a:endParaRPr lang="en-GB"/>
                  </a:p>
                </p:txBody>
              </p:sp>
              <p:sp>
                <p:nvSpPr>
                  <p:cNvPr id="8026" name="Vrije vorm: vorm 8025">
                    <a:extLst>
                      <a:ext uri="{FF2B5EF4-FFF2-40B4-BE49-F238E27FC236}">
                        <a16:creationId xmlns:a16="http://schemas.microsoft.com/office/drawing/2014/main" id="{6330B991-565C-4E24-B652-BF138330077A}"/>
                      </a:ext>
                    </a:extLst>
                  </p:cNvPr>
                  <p:cNvSpPr/>
                  <p:nvPr/>
                </p:nvSpPr>
                <p:spPr>
                  <a:xfrm>
                    <a:off x="5734575" y="5113856"/>
                    <a:ext cx="6279" cy="2272"/>
                  </a:xfrm>
                  <a:custGeom>
                    <a:avLst/>
                    <a:gdLst>
                      <a:gd name="connsiteX0" fmla="*/ 6280 w 6279"/>
                      <a:gd name="connsiteY0" fmla="*/ 2273 h 2272"/>
                      <a:gd name="connsiteX1" fmla="*/ 3648 w 6279"/>
                      <a:gd name="connsiteY1" fmla="*/ 1316 h 2272"/>
                      <a:gd name="connsiteX2" fmla="*/ 1017 w 6279"/>
                      <a:gd name="connsiteY2" fmla="*/ 359 h 2272"/>
                      <a:gd name="connsiteX3" fmla="*/ 0 w 6279"/>
                      <a:gd name="connsiteY3" fmla="*/ 0 h 2272"/>
                    </a:gdLst>
                    <a:ahLst/>
                    <a:cxnLst>
                      <a:cxn ang="0">
                        <a:pos x="connsiteX0" y="connsiteY0"/>
                      </a:cxn>
                      <a:cxn ang="0">
                        <a:pos x="connsiteX1" y="connsiteY1"/>
                      </a:cxn>
                      <a:cxn ang="0">
                        <a:pos x="connsiteX2" y="connsiteY2"/>
                      </a:cxn>
                      <a:cxn ang="0">
                        <a:pos x="connsiteX3" y="connsiteY3"/>
                      </a:cxn>
                    </a:cxnLst>
                    <a:rect l="l" t="t" r="r" b="b"/>
                    <a:pathLst>
                      <a:path w="6279" h="2272">
                        <a:moveTo>
                          <a:pt x="6280" y="2273"/>
                        </a:moveTo>
                        <a:lnTo>
                          <a:pt x="3648" y="1316"/>
                        </a:lnTo>
                        <a:lnTo>
                          <a:pt x="1017" y="359"/>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27" name="Vrije vorm: vorm 8026">
                    <a:extLst>
                      <a:ext uri="{FF2B5EF4-FFF2-40B4-BE49-F238E27FC236}">
                        <a16:creationId xmlns:a16="http://schemas.microsoft.com/office/drawing/2014/main" id="{8321FB4B-A716-4FD5-A446-D780AAA3EB08}"/>
                      </a:ext>
                    </a:extLst>
                  </p:cNvPr>
                  <p:cNvSpPr/>
                  <p:nvPr/>
                </p:nvSpPr>
                <p:spPr>
                  <a:xfrm>
                    <a:off x="5814059" y="5034073"/>
                    <a:ext cx="59" cy="119"/>
                  </a:xfrm>
                  <a:custGeom>
                    <a:avLst/>
                    <a:gdLst>
                      <a:gd name="connsiteX0" fmla="*/ 60 w 59"/>
                      <a:gd name="connsiteY0" fmla="*/ 0 h 119"/>
                      <a:gd name="connsiteX1" fmla="*/ 0 w 59"/>
                      <a:gd name="connsiteY1" fmla="*/ 120 h 119"/>
                    </a:gdLst>
                    <a:ahLst/>
                    <a:cxnLst>
                      <a:cxn ang="0">
                        <a:pos x="connsiteX0" y="connsiteY0"/>
                      </a:cxn>
                      <a:cxn ang="0">
                        <a:pos x="connsiteX1" y="connsiteY1"/>
                      </a:cxn>
                    </a:cxnLst>
                    <a:rect l="l" t="t" r="r" b="b"/>
                    <a:pathLst>
                      <a:path w="59" h="119">
                        <a:moveTo>
                          <a:pt x="60" y="0"/>
                        </a:moveTo>
                        <a:lnTo>
                          <a:pt x="0" y="120"/>
                        </a:lnTo>
                      </a:path>
                    </a:pathLst>
                  </a:custGeom>
                  <a:noFill/>
                  <a:ln w="6350" cap="flat">
                    <a:solidFill>
                      <a:schemeClr val="bg1">
                        <a:alpha val="40000"/>
                      </a:schemeClr>
                    </a:solidFill>
                    <a:prstDash val="solid"/>
                    <a:miter/>
                  </a:ln>
                </p:spPr>
                <p:txBody>
                  <a:bodyPr rtlCol="0" anchor="ctr"/>
                  <a:lstStyle/>
                  <a:p>
                    <a:endParaRPr lang="en-GB"/>
                  </a:p>
                </p:txBody>
              </p:sp>
              <p:sp>
                <p:nvSpPr>
                  <p:cNvPr id="8028" name="Vrije vorm: vorm 8027">
                    <a:extLst>
                      <a:ext uri="{FF2B5EF4-FFF2-40B4-BE49-F238E27FC236}">
                        <a16:creationId xmlns:a16="http://schemas.microsoft.com/office/drawing/2014/main" id="{977DAAAF-8410-4D61-B63E-82AD39E10B25}"/>
                      </a:ext>
                    </a:extLst>
                  </p:cNvPr>
                  <p:cNvSpPr/>
                  <p:nvPr/>
                </p:nvSpPr>
                <p:spPr>
                  <a:xfrm>
                    <a:off x="5826798" y="5041489"/>
                    <a:ext cx="59" cy="119"/>
                  </a:xfrm>
                  <a:custGeom>
                    <a:avLst/>
                    <a:gdLst>
                      <a:gd name="connsiteX0" fmla="*/ 60 w 59"/>
                      <a:gd name="connsiteY0" fmla="*/ 0 h 119"/>
                      <a:gd name="connsiteX1" fmla="*/ 0 w 59"/>
                      <a:gd name="connsiteY1" fmla="*/ 120 h 119"/>
                    </a:gdLst>
                    <a:ahLst/>
                    <a:cxnLst>
                      <a:cxn ang="0">
                        <a:pos x="connsiteX0" y="connsiteY0"/>
                      </a:cxn>
                      <a:cxn ang="0">
                        <a:pos x="connsiteX1" y="connsiteY1"/>
                      </a:cxn>
                    </a:cxnLst>
                    <a:rect l="l" t="t" r="r" b="b"/>
                    <a:pathLst>
                      <a:path w="59" h="119">
                        <a:moveTo>
                          <a:pt x="60" y="0"/>
                        </a:moveTo>
                        <a:lnTo>
                          <a:pt x="0" y="120"/>
                        </a:lnTo>
                      </a:path>
                    </a:pathLst>
                  </a:custGeom>
                  <a:noFill/>
                  <a:ln w="6350" cap="flat">
                    <a:solidFill>
                      <a:schemeClr val="bg1">
                        <a:alpha val="40000"/>
                      </a:schemeClr>
                    </a:solidFill>
                    <a:prstDash val="solid"/>
                    <a:miter/>
                  </a:ln>
                </p:spPr>
                <p:txBody>
                  <a:bodyPr rtlCol="0" anchor="ctr"/>
                  <a:lstStyle/>
                  <a:p>
                    <a:endParaRPr lang="en-GB"/>
                  </a:p>
                </p:txBody>
              </p:sp>
              <p:sp>
                <p:nvSpPr>
                  <p:cNvPr id="8029" name="Vrije vorm: vorm 8028">
                    <a:extLst>
                      <a:ext uri="{FF2B5EF4-FFF2-40B4-BE49-F238E27FC236}">
                        <a16:creationId xmlns:a16="http://schemas.microsoft.com/office/drawing/2014/main" id="{8A978B1C-7FDF-406B-A8BF-3E60B289858C}"/>
                      </a:ext>
                    </a:extLst>
                  </p:cNvPr>
                  <p:cNvSpPr/>
                  <p:nvPr/>
                </p:nvSpPr>
                <p:spPr>
                  <a:xfrm>
                    <a:off x="5729372" y="5217502"/>
                    <a:ext cx="2810" cy="13995"/>
                  </a:xfrm>
                  <a:custGeom>
                    <a:avLst/>
                    <a:gdLst>
                      <a:gd name="connsiteX0" fmla="*/ 0 w 2810"/>
                      <a:gd name="connsiteY0" fmla="*/ 0 h 13995"/>
                      <a:gd name="connsiteX1" fmla="*/ 658 w 2810"/>
                      <a:gd name="connsiteY1" fmla="*/ 3289 h 13995"/>
                      <a:gd name="connsiteX2" fmla="*/ 778 w 2810"/>
                      <a:gd name="connsiteY2" fmla="*/ 3828 h 13995"/>
                      <a:gd name="connsiteX3" fmla="*/ 1435 w 2810"/>
                      <a:gd name="connsiteY3" fmla="*/ 7117 h 13995"/>
                      <a:gd name="connsiteX4" fmla="*/ 2093 w 2810"/>
                      <a:gd name="connsiteY4" fmla="*/ 10406 h 13995"/>
                      <a:gd name="connsiteX5" fmla="*/ 2273 w 2810"/>
                      <a:gd name="connsiteY5" fmla="*/ 11423 h 13995"/>
                      <a:gd name="connsiteX6" fmla="*/ 2751 w 2810"/>
                      <a:gd name="connsiteY6" fmla="*/ 13636 h 13995"/>
                      <a:gd name="connsiteX7" fmla="*/ 2811 w 2810"/>
                      <a:gd name="connsiteY7" fmla="*/ 13995 h 1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0" h="13995">
                        <a:moveTo>
                          <a:pt x="0" y="0"/>
                        </a:moveTo>
                        <a:lnTo>
                          <a:pt x="658" y="3289"/>
                        </a:lnTo>
                        <a:lnTo>
                          <a:pt x="778" y="3828"/>
                        </a:lnTo>
                        <a:lnTo>
                          <a:pt x="1435" y="7117"/>
                        </a:lnTo>
                        <a:lnTo>
                          <a:pt x="2093" y="10406"/>
                        </a:lnTo>
                        <a:lnTo>
                          <a:pt x="2273" y="11423"/>
                        </a:lnTo>
                        <a:lnTo>
                          <a:pt x="2751" y="13636"/>
                        </a:lnTo>
                        <a:lnTo>
                          <a:pt x="2811" y="13995"/>
                        </a:lnTo>
                      </a:path>
                    </a:pathLst>
                  </a:custGeom>
                  <a:noFill/>
                  <a:ln w="6350" cap="flat">
                    <a:solidFill>
                      <a:schemeClr val="bg1">
                        <a:alpha val="40000"/>
                      </a:schemeClr>
                    </a:solidFill>
                    <a:prstDash val="solid"/>
                    <a:miter/>
                  </a:ln>
                </p:spPr>
                <p:txBody>
                  <a:bodyPr rtlCol="0" anchor="ctr"/>
                  <a:lstStyle/>
                  <a:p>
                    <a:endParaRPr lang="en-GB"/>
                  </a:p>
                </p:txBody>
              </p:sp>
              <p:sp>
                <p:nvSpPr>
                  <p:cNvPr id="8030" name="Vrije vorm: vorm 8029">
                    <a:extLst>
                      <a:ext uri="{FF2B5EF4-FFF2-40B4-BE49-F238E27FC236}">
                        <a16:creationId xmlns:a16="http://schemas.microsoft.com/office/drawing/2014/main" id="{30D28E7E-4B9E-4DD2-A5FF-5270EDA3DAE9}"/>
                      </a:ext>
                    </a:extLst>
                  </p:cNvPr>
                  <p:cNvSpPr/>
                  <p:nvPr/>
                </p:nvSpPr>
                <p:spPr>
                  <a:xfrm>
                    <a:off x="5801260" y="508120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31" name="Vrije vorm: vorm 8030">
                    <a:extLst>
                      <a:ext uri="{FF2B5EF4-FFF2-40B4-BE49-F238E27FC236}">
                        <a16:creationId xmlns:a16="http://schemas.microsoft.com/office/drawing/2014/main" id="{A5BD15E6-B00F-49E5-A1E0-CF026253E39E}"/>
                      </a:ext>
                    </a:extLst>
                  </p:cNvPr>
                  <p:cNvSpPr/>
                  <p:nvPr/>
                </p:nvSpPr>
                <p:spPr>
                  <a:xfrm>
                    <a:off x="5742769" y="5208949"/>
                    <a:ext cx="3827" cy="1136"/>
                  </a:xfrm>
                  <a:custGeom>
                    <a:avLst/>
                    <a:gdLst>
                      <a:gd name="connsiteX0" fmla="*/ 3828 w 3827"/>
                      <a:gd name="connsiteY0" fmla="*/ 0 h 1136"/>
                      <a:gd name="connsiteX1" fmla="*/ 778 w 3827"/>
                      <a:gd name="connsiteY1" fmla="*/ 897 h 1136"/>
                      <a:gd name="connsiteX2" fmla="*/ 0 w 3827"/>
                      <a:gd name="connsiteY2" fmla="*/ 1136 h 1136"/>
                    </a:gdLst>
                    <a:ahLst/>
                    <a:cxnLst>
                      <a:cxn ang="0">
                        <a:pos x="connsiteX0" y="connsiteY0"/>
                      </a:cxn>
                      <a:cxn ang="0">
                        <a:pos x="connsiteX1" y="connsiteY1"/>
                      </a:cxn>
                      <a:cxn ang="0">
                        <a:pos x="connsiteX2" y="connsiteY2"/>
                      </a:cxn>
                    </a:cxnLst>
                    <a:rect l="l" t="t" r="r" b="b"/>
                    <a:pathLst>
                      <a:path w="3827" h="1136">
                        <a:moveTo>
                          <a:pt x="3828" y="0"/>
                        </a:moveTo>
                        <a:lnTo>
                          <a:pt x="778" y="897"/>
                        </a:lnTo>
                        <a:lnTo>
                          <a:pt x="0" y="1136"/>
                        </a:lnTo>
                      </a:path>
                    </a:pathLst>
                  </a:custGeom>
                  <a:noFill/>
                  <a:ln w="6350" cap="flat">
                    <a:solidFill>
                      <a:schemeClr val="bg1">
                        <a:alpha val="40000"/>
                      </a:schemeClr>
                    </a:solidFill>
                    <a:prstDash val="solid"/>
                    <a:miter/>
                  </a:ln>
                </p:spPr>
                <p:txBody>
                  <a:bodyPr rtlCol="0" anchor="ctr"/>
                  <a:lstStyle/>
                  <a:p>
                    <a:endParaRPr lang="en-GB"/>
                  </a:p>
                </p:txBody>
              </p:sp>
              <p:sp>
                <p:nvSpPr>
                  <p:cNvPr id="8032" name="Vrije vorm: vorm 8031">
                    <a:extLst>
                      <a:ext uri="{FF2B5EF4-FFF2-40B4-BE49-F238E27FC236}">
                        <a16:creationId xmlns:a16="http://schemas.microsoft.com/office/drawing/2014/main" id="{03D328F0-28B1-409B-8FEE-A2BD76A91648}"/>
                      </a:ext>
                    </a:extLst>
                  </p:cNvPr>
                  <p:cNvSpPr/>
                  <p:nvPr/>
                </p:nvSpPr>
                <p:spPr>
                  <a:xfrm>
                    <a:off x="5784634" y="5165529"/>
                    <a:ext cx="1136" cy="1495"/>
                  </a:xfrm>
                  <a:custGeom>
                    <a:avLst/>
                    <a:gdLst>
                      <a:gd name="connsiteX0" fmla="*/ 1136 w 1136"/>
                      <a:gd name="connsiteY0" fmla="*/ 0 h 1495"/>
                      <a:gd name="connsiteX1" fmla="*/ 239 w 1136"/>
                      <a:gd name="connsiteY1" fmla="*/ 1196 h 1495"/>
                      <a:gd name="connsiteX2" fmla="*/ 0 w 1136"/>
                      <a:gd name="connsiteY2" fmla="*/ 1495 h 1495"/>
                    </a:gdLst>
                    <a:ahLst/>
                    <a:cxnLst>
                      <a:cxn ang="0">
                        <a:pos x="connsiteX0" y="connsiteY0"/>
                      </a:cxn>
                      <a:cxn ang="0">
                        <a:pos x="connsiteX1" y="connsiteY1"/>
                      </a:cxn>
                      <a:cxn ang="0">
                        <a:pos x="connsiteX2" y="connsiteY2"/>
                      </a:cxn>
                    </a:cxnLst>
                    <a:rect l="l" t="t" r="r" b="b"/>
                    <a:pathLst>
                      <a:path w="1136" h="1495">
                        <a:moveTo>
                          <a:pt x="1136" y="0"/>
                        </a:moveTo>
                        <a:lnTo>
                          <a:pt x="239" y="1196"/>
                        </a:lnTo>
                        <a:lnTo>
                          <a:pt x="0" y="1495"/>
                        </a:lnTo>
                      </a:path>
                    </a:pathLst>
                  </a:custGeom>
                  <a:noFill/>
                  <a:ln w="6350" cap="flat">
                    <a:solidFill>
                      <a:schemeClr val="bg1">
                        <a:alpha val="40000"/>
                      </a:schemeClr>
                    </a:solidFill>
                    <a:prstDash val="solid"/>
                    <a:miter/>
                  </a:ln>
                </p:spPr>
                <p:txBody>
                  <a:bodyPr rtlCol="0" anchor="ctr"/>
                  <a:lstStyle/>
                  <a:p>
                    <a:endParaRPr lang="en-GB"/>
                  </a:p>
                </p:txBody>
              </p:sp>
              <p:sp>
                <p:nvSpPr>
                  <p:cNvPr id="8033" name="Vrije vorm: vorm 8032">
                    <a:extLst>
                      <a:ext uri="{FF2B5EF4-FFF2-40B4-BE49-F238E27FC236}">
                        <a16:creationId xmlns:a16="http://schemas.microsoft.com/office/drawing/2014/main" id="{666E23CD-8222-4D8F-9B98-152C73259AFC}"/>
                      </a:ext>
                    </a:extLst>
                  </p:cNvPr>
                  <p:cNvSpPr/>
                  <p:nvPr/>
                </p:nvSpPr>
                <p:spPr>
                  <a:xfrm>
                    <a:off x="5789119" y="5168101"/>
                    <a:ext cx="418" cy="179"/>
                  </a:xfrm>
                  <a:custGeom>
                    <a:avLst/>
                    <a:gdLst>
                      <a:gd name="connsiteX0" fmla="*/ 0 w 418"/>
                      <a:gd name="connsiteY0" fmla="*/ 0 h 179"/>
                      <a:gd name="connsiteX1" fmla="*/ 419 w 418"/>
                      <a:gd name="connsiteY1" fmla="*/ 180 h 179"/>
                    </a:gdLst>
                    <a:ahLst/>
                    <a:cxnLst>
                      <a:cxn ang="0">
                        <a:pos x="connsiteX0" y="connsiteY0"/>
                      </a:cxn>
                      <a:cxn ang="0">
                        <a:pos x="connsiteX1" y="connsiteY1"/>
                      </a:cxn>
                    </a:cxnLst>
                    <a:rect l="l" t="t" r="r" b="b"/>
                    <a:pathLst>
                      <a:path w="418" h="179">
                        <a:moveTo>
                          <a:pt x="0" y="0"/>
                        </a:moveTo>
                        <a:lnTo>
                          <a:pt x="419" y="180"/>
                        </a:lnTo>
                      </a:path>
                    </a:pathLst>
                  </a:custGeom>
                  <a:noFill/>
                  <a:ln w="6350" cap="flat">
                    <a:solidFill>
                      <a:schemeClr val="bg1">
                        <a:alpha val="40000"/>
                      </a:schemeClr>
                    </a:solidFill>
                    <a:prstDash val="solid"/>
                    <a:miter/>
                  </a:ln>
                </p:spPr>
                <p:txBody>
                  <a:bodyPr rtlCol="0" anchor="ctr"/>
                  <a:lstStyle/>
                  <a:p>
                    <a:endParaRPr lang="en-GB"/>
                  </a:p>
                </p:txBody>
              </p:sp>
              <p:sp>
                <p:nvSpPr>
                  <p:cNvPr id="8034" name="Vrije vorm: vorm 8033">
                    <a:extLst>
                      <a:ext uri="{FF2B5EF4-FFF2-40B4-BE49-F238E27FC236}">
                        <a16:creationId xmlns:a16="http://schemas.microsoft.com/office/drawing/2014/main" id="{F9A751D9-128F-40BA-A3DD-9D9EECF97657}"/>
                      </a:ext>
                    </a:extLst>
                  </p:cNvPr>
                  <p:cNvSpPr/>
                  <p:nvPr/>
                </p:nvSpPr>
                <p:spPr>
                  <a:xfrm>
                    <a:off x="5770878" y="5207753"/>
                    <a:ext cx="478" cy="538"/>
                  </a:xfrm>
                  <a:custGeom>
                    <a:avLst/>
                    <a:gdLst>
                      <a:gd name="connsiteX0" fmla="*/ 0 w 478"/>
                      <a:gd name="connsiteY0" fmla="*/ 538 h 538"/>
                      <a:gd name="connsiteX1" fmla="*/ 478 w 478"/>
                      <a:gd name="connsiteY1" fmla="*/ 0 h 538"/>
                    </a:gdLst>
                    <a:ahLst/>
                    <a:cxnLst>
                      <a:cxn ang="0">
                        <a:pos x="connsiteX0" y="connsiteY0"/>
                      </a:cxn>
                      <a:cxn ang="0">
                        <a:pos x="connsiteX1" y="connsiteY1"/>
                      </a:cxn>
                    </a:cxnLst>
                    <a:rect l="l" t="t" r="r" b="b"/>
                    <a:pathLst>
                      <a:path w="478" h="538">
                        <a:moveTo>
                          <a:pt x="0" y="538"/>
                        </a:moveTo>
                        <a:lnTo>
                          <a:pt x="478" y="0"/>
                        </a:lnTo>
                      </a:path>
                    </a:pathLst>
                  </a:custGeom>
                  <a:noFill/>
                  <a:ln w="6350" cap="flat">
                    <a:solidFill>
                      <a:schemeClr val="bg1">
                        <a:alpha val="40000"/>
                      </a:schemeClr>
                    </a:solidFill>
                    <a:prstDash val="solid"/>
                    <a:miter/>
                  </a:ln>
                </p:spPr>
                <p:txBody>
                  <a:bodyPr rtlCol="0" anchor="ctr"/>
                  <a:lstStyle/>
                  <a:p>
                    <a:endParaRPr lang="en-GB"/>
                  </a:p>
                </p:txBody>
              </p:sp>
              <p:sp>
                <p:nvSpPr>
                  <p:cNvPr id="8035" name="Vrije vorm: vorm 8034">
                    <a:extLst>
                      <a:ext uri="{FF2B5EF4-FFF2-40B4-BE49-F238E27FC236}">
                        <a16:creationId xmlns:a16="http://schemas.microsoft.com/office/drawing/2014/main" id="{DB9A11DC-C1EB-4F37-9BDB-3B0FCCA4F0A5}"/>
                      </a:ext>
                    </a:extLst>
                  </p:cNvPr>
                  <p:cNvSpPr/>
                  <p:nvPr/>
                </p:nvSpPr>
                <p:spPr>
                  <a:xfrm>
                    <a:off x="5771297" y="5204225"/>
                    <a:ext cx="5980" cy="1614"/>
                  </a:xfrm>
                  <a:custGeom>
                    <a:avLst/>
                    <a:gdLst>
                      <a:gd name="connsiteX0" fmla="*/ 0 w 5980"/>
                      <a:gd name="connsiteY0" fmla="*/ 0 h 1614"/>
                      <a:gd name="connsiteX1" fmla="*/ 0 w 5980"/>
                      <a:gd name="connsiteY1" fmla="*/ 1495 h 1614"/>
                      <a:gd name="connsiteX2" fmla="*/ 0 w 5980"/>
                      <a:gd name="connsiteY2" fmla="*/ 1615 h 1614"/>
                    </a:gdLst>
                    <a:ahLst/>
                    <a:cxnLst>
                      <a:cxn ang="0">
                        <a:pos x="connsiteX0" y="connsiteY0"/>
                      </a:cxn>
                      <a:cxn ang="0">
                        <a:pos x="connsiteX1" y="connsiteY1"/>
                      </a:cxn>
                      <a:cxn ang="0">
                        <a:pos x="connsiteX2" y="connsiteY2"/>
                      </a:cxn>
                    </a:cxnLst>
                    <a:rect l="l" t="t" r="r" b="b"/>
                    <a:pathLst>
                      <a:path w="5980" h="1614">
                        <a:moveTo>
                          <a:pt x="0" y="0"/>
                        </a:moveTo>
                        <a:lnTo>
                          <a:pt x="0" y="1495"/>
                        </a:lnTo>
                        <a:lnTo>
                          <a:pt x="0" y="1615"/>
                        </a:lnTo>
                      </a:path>
                    </a:pathLst>
                  </a:custGeom>
                  <a:noFill/>
                  <a:ln w="6350" cap="flat">
                    <a:solidFill>
                      <a:schemeClr val="bg1">
                        <a:alpha val="40000"/>
                      </a:schemeClr>
                    </a:solidFill>
                    <a:prstDash val="solid"/>
                    <a:miter/>
                  </a:ln>
                </p:spPr>
                <p:txBody>
                  <a:bodyPr rtlCol="0" anchor="ctr"/>
                  <a:lstStyle/>
                  <a:p>
                    <a:endParaRPr lang="en-GB"/>
                  </a:p>
                </p:txBody>
              </p:sp>
              <p:sp>
                <p:nvSpPr>
                  <p:cNvPr id="8036" name="Vrije vorm: vorm 8035">
                    <a:extLst>
                      <a:ext uri="{FF2B5EF4-FFF2-40B4-BE49-F238E27FC236}">
                        <a16:creationId xmlns:a16="http://schemas.microsoft.com/office/drawing/2014/main" id="{AB7D65E1-1309-4C0E-98F6-DB195CDEBE56}"/>
                      </a:ext>
                    </a:extLst>
                  </p:cNvPr>
                  <p:cNvSpPr/>
                  <p:nvPr/>
                </p:nvSpPr>
                <p:spPr>
                  <a:xfrm>
                    <a:off x="5818245" y="5164752"/>
                    <a:ext cx="3528" cy="10406"/>
                  </a:xfrm>
                  <a:custGeom>
                    <a:avLst/>
                    <a:gdLst>
                      <a:gd name="connsiteX0" fmla="*/ 0 w 3528"/>
                      <a:gd name="connsiteY0" fmla="*/ 0 h 10406"/>
                      <a:gd name="connsiteX1" fmla="*/ 957 w 3528"/>
                      <a:gd name="connsiteY1" fmla="*/ 2811 h 10406"/>
                      <a:gd name="connsiteX2" fmla="*/ 1974 w 3528"/>
                      <a:gd name="connsiteY2" fmla="*/ 5861 h 10406"/>
                      <a:gd name="connsiteX3" fmla="*/ 2632 w 3528"/>
                      <a:gd name="connsiteY3" fmla="*/ 7835 h 10406"/>
                      <a:gd name="connsiteX4" fmla="*/ 3528 w 3528"/>
                      <a:gd name="connsiteY4" fmla="*/ 10406 h 10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8" h="10406">
                        <a:moveTo>
                          <a:pt x="0" y="0"/>
                        </a:moveTo>
                        <a:lnTo>
                          <a:pt x="957" y="2811"/>
                        </a:lnTo>
                        <a:lnTo>
                          <a:pt x="1974" y="5861"/>
                        </a:lnTo>
                        <a:lnTo>
                          <a:pt x="2632" y="7835"/>
                        </a:lnTo>
                        <a:lnTo>
                          <a:pt x="3528" y="10406"/>
                        </a:lnTo>
                      </a:path>
                    </a:pathLst>
                  </a:custGeom>
                  <a:noFill/>
                  <a:ln w="6350" cap="flat">
                    <a:solidFill>
                      <a:schemeClr val="bg1">
                        <a:alpha val="40000"/>
                      </a:schemeClr>
                    </a:solidFill>
                    <a:prstDash val="solid"/>
                    <a:miter/>
                  </a:ln>
                </p:spPr>
                <p:txBody>
                  <a:bodyPr rtlCol="0" anchor="ctr"/>
                  <a:lstStyle/>
                  <a:p>
                    <a:endParaRPr lang="en-GB"/>
                  </a:p>
                </p:txBody>
              </p:sp>
              <p:sp>
                <p:nvSpPr>
                  <p:cNvPr id="8037" name="Vrije vorm: vorm 8036">
                    <a:extLst>
                      <a:ext uri="{FF2B5EF4-FFF2-40B4-BE49-F238E27FC236}">
                        <a16:creationId xmlns:a16="http://schemas.microsoft.com/office/drawing/2014/main" id="{679FF85F-33ED-4BA6-9566-80F682E422D0}"/>
                      </a:ext>
                    </a:extLst>
                  </p:cNvPr>
                  <p:cNvSpPr/>
                  <p:nvPr/>
                </p:nvSpPr>
                <p:spPr>
                  <a:xfrm>
                    <a:off x="5796116" y="5235623"/>
                    <a:ext cx="1973" cy="1016"/>
                  </a:xfrm>
                  <a:custGeom>
                    <a:avLst/>
                    <a:gdLst>
                      <a:gd name="connsiteX0" fmla="*/ 0 w 1973"/>
                      <a:gd name="connsiteY0" fmla="*/ 0 h 1016"/>
                      <a:gd name="connsiteX1" fmla="*/ 359 w 1973"/>
                      <a:gd name="connsiteY1" fmla="*/ 179 h 1016"/>
                      <a:gd name="connsiteX2" fmla="*/ 1076 w 1973"/>
                      <a:gd name="connsiteY2" fmla="*/ 538 h 1016"/>
                      <a:gd name="connsiteX3" fmla="*/ 1076 w 1973"/>
                      <a:gd name="connsiteY3" fmla="*/ 538 h 1016"/>
                      <a:gd name="connsiteX4" fmla="*/ 1375 w 1973"/>
                      <a:gd name="connsiteY4" fmla="*/ 658 h 1016"/>
                      <a:gd name="connsiteX5" fmla="*/ 1435 w 1973"/>
                      <a:gd name="connsiteY5" fmla="*/ 718 h 1016"/>
                      <a:gd name="connsiteX6" fmla="*/ 1675 w 1973"/>
                      <a:gd name="connsiteY6" fmla="*/ 837 h 1016"/>
                      <a:gd name="connsiteX7" fmla="*/ 1974 w 1973"/>
                      <a:gd name="connsiteY7" fmla="*/ 1017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3" h="1016">
                        <a:moveTo>
                          <a:pt x="0" y="0"/>
                        </a:moveTo>
                        <a:lnTo>
                          <a:pt x="359" y="179"/>
                        </a:lnTo>
                        <a:lnTo>
                          <a:pt x="1076" y="538"/>
                        </a:lnTo>
                        <a:lnTo>
                          <a:pt x="1076" y="538"/>
                        </a:lnTo>
                        <a:lnTo>
                          <a:pt x="1375" y="658"/>
                        </a:lnTo>
                        <a:lnTo>
                          <a:pt x="1435" y="718"/>
                        </a:lnTo>
                        <a:lnTo>
                          <a:pt x="1675" y="837"/>
                        </a:lnTo>
                        <a:lnTo>
                          <a:pt x="1974" y="1017"/>
                        </a:lnTo>
                      </a:path>
                    </a:pathLst>
                  </a:custGeom>
                  <a:noFill/>
                  <a:ln w="6350" cap="flat">
                    <a:solidFill>
                      <a:schemeClr val="bg1">
                        <a:alpha val="40000"/>
                      </a:schemeClr>
                    </a:solidFill>
                    <a:prstDash val="solid"/>
                    <a:miter/>
                  </a:ln>
                </p:spPr>
                <p:txBody>
                  <a:bodyPr rtlCol="0" anchor="ctr"/>
                  <a:lstStyle/>
                  <a:p>
                    <a:endParaRPr lang="en-GB"/>
                  </a:p>
                </p:txBody>
              </p:sp>
              <p:sp>
                <p:nvSpPr>
                  <p:cNvPr id="8038" name="Vrije vorm: vorm 8037">
                    <a:extLst>
                      <a:ext uri="{FF2B5EF4-FFF2-40B4-BE49-F238E27FC236}">
                        <a16:creationId xmlns:a16="http://schemas.microsoft.com/office/drawing/2014/main" id="{FFE8BF91-4B65-4F3B-B9D1-5BCEE9BAC3F3}"/>
                      </a:ext>
                    </a:extLst>
                  </p:cNvPr>
                  <p:cNvSpPr/>
                  <p:nvPr/>
                </p:nvSpPr>
                <p:spPr>
                  <a:xfrm>
                    <a:off x="5787983" y="5253027"/>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39" name="Vrije vorm: vorm 8038">
                    <a:extLst>
                      <a:ext uri="{FF2B5EF4-FFF2-40B4-BE49-F238E27FC236}">
                        <a16:creationId xmlns:a16="http://schemas.microsoft.com/office/drawing/2014/main" id="{27866581-F388-4D73-A4C8-0ED2A2784F03}"/>
                      </a:ext>
                    </a:extLst>
                  </p:cNvPr>
                  <p:cNvSpPr/>
                  <p:nvPr/>
                </p:nvSpPr>
                <p:spPr>
                  <a:xfrm>
                    <a:off x="5793186" y="5242561"/>
                    <a:ext cx="2751" cy="3409"/>
                  </a:xfrm>
                  <a:custGeom>
                    <a:avLst/>
                    <a:gdLst>
                      <a:gd name="connsiteX0" fmla="*/ 2751 w 2751"/>
                      <a:gd name="connsiteY0" fmla="*/ 0 h 3409"/>
                      <a:gd name="connsiteX1" fmla="*/ 299 w 2751"/>
                      <a:gd name="connsiteY1" fmla="*/ 2990 h 3409"/>
                      <a:gd name="connsiteX2" fmla="*/ 0 w 2751"/>
                      <a:gd name="connsiteY2" fmla="*/ 3409 h 3409"/>
                    </a:gdLst>
                    <a:ahLst/>
                    <a:cxnLst>
                      <a:cxn ang="0">
                        <a:pos x="connsiteX0" y="connsiteY0"/>
                      </a:cxn>
                      <a:cxn ang="0">
                        <a:pos x="connsiteX1" y="connsiteY1"/>
                      </a:cxn>
                      <a:cxn ang="0">
                        <a:pos x="connsiteX2" y="connsiteY2"/>
                      </a:cxn>
                    </a:cxnLst>
                    <a:rect l="l" t="t" r="r" b="b"/>
                    <a:pathLst>
                      <a:path w="2751" h="3409">
                        <a:moveTo>
                          <a:pt x="2751" y="0"/>
                        </a:moveTo>
                        <a:lnTo>
                          <a:pt x="299" y="2990"/>
                        </a:lnTo>
                        <a:lnTo>
                          <a:pt x="0" y="3409"/>
                        </a:lnTo>
                      </a:path>
                    </a:pathLst>
                  </a:custGeom>
                  <a:noFill/>
                  <a:ln w="6350" cap="flat">
                    <a:solidFill>
                      <a:schemeClr val="bg1">
                        <a:alpha val="40000"/>
                      </a:schemeClr>
                    </a:solidFill>
                    <a:prstDash val="solid"/>
                    <a:miter/>
                  </a:ln>
                </p:spPr>
                <p:txBody>
                  <a:bodyPr rtlCol="0" anchor="ctr"/>
                  <a:lstStyle/>
                  <a:p>
                    <a:endParaRPr lang="en-GB"/>
                  </a:p>
                </p:txBody>
              </p:sp>
              <p:sp>
                <p:nvSpPr>
                  <p:cNvPr id="8040" name="Vrije vorm: vorm 8039">
                    <a:extLst>
                      <a:ext uri="{FF2B5EF4-FFF2-40B4-BE49-F238E27FC236}">
                        <a16:creationId xmlns:a16="http://schemas.microsoft.com/office/drawing/2014/main" id="{7078EE0A-31F1-4C55-B7B4-C904B3816B0F}"/>
                      </a:ext>
                    </a:extLst>
                  </p:cNvPr>
                  <p:cNvSpPr/>
                  <p:nvPr/>
                </p:nvSpPr>
                <p:spPr>
                  <a:xfrm>
                    <a:off x="5798090" y="5236700"/>
                    <a:ext cx="1734" cy="896"/>
                  </a:xfrm>
                  <a:custGeom>
                    <a:avLst/>
                    <a:gdLst>
                      <a:gd name="connsiteX0" fmla="*/ 0 w 1734"/>
                      <a:gd name="connsiteY0" fmla="*/ 0 h 896"/>
                      <a:gd name="connsiteX1" fmla="*/ 1734 w 1734"/>
                      <a:gd name="connsiteY1" fmla="*/ 897 h 896"/>
                    </a:gdLst>
                    <a:ahLst/>
                    <a:cxnLst>
                      <a:cxn ang="0">
                        <a:pos x="connsiteX0" y="connsiteY0"/>
                      </a:cxn>
                      <a:cxn ang="0">
                        <a:pos x="connsiteX1" y="connsiteY1"/>
                      </a:cxn>
                    </a:cxnLst>
                    <a:rect l="l" t="t" r="r" b="b"/>
                    <a:pathLst>
                      <a:path w="1734" h="896">
                        <a:moveTo>
                          <a:pt x="0" y="0"/>
                        </a:moveTo>
                        <a:lnTo>
                          <a:pt x="1734" y="897"/>
                        </a:lnTo>
                      </a:path>
                    </a:pathLst>
                  </a:custGeom>
                  <a:noFill/>
                  <a:ln w="6350" cap="flat">
                    <a:solidFill>
                      <a:schemeClr val="bg1">
                        <a:alpha val="40000"/>
                      </a:schemeClr>
                    </a:solidFill>
                    <a:prstDash val="solid"/>
                    <a:miter/>
                  </a:ln>
                </p:spPr>
                <p:txBody>
                  <a:bodyPr rtlCol="0" anchor="ctr"/>
                  <a:lstStyle/>
                  <a:p>
                    <a:endParaRPr lang="en-GB"/>
                  </a:p>
                </p:txBody>
              </p:sp>
              <p:sp>
                <p:nvSpPr>
                  <p:cNvPr id="8041" name="Vrije vorm: vorm 8040">
                    <a:extLst>
                      <a:ext uri="{FF2B5EF4-FFF2-40B4-BE49-F238E27FC236}">
                        <a16:creationId xmlns:a16="http://schemas.microsoft.com/office/drawing/2014/main" id="{058257B4-FF9B-4617-A784-3BF347ABD880}"/>
                      </a:ext>
                    </a:extLst>
                  </p:cNvPr>
                  <p:cNvSpPr/>
                  <p:nvPr/>
                </p:nvSpPr>
                <p:spPr>
                  <a:xfrm>
                    <a:off x="5797911" y="5240109"/>
                    <a:ext cx="59" cy="239"/>
                  </a:xfrm>
                  <a:custGeom>
                    <a:avLst/>
                    <a:gdLst>
                      <a:gd name="connsiteX0" fmla="*/ 0 w 59"/>
                      <a:gd name="connsiteY0" fmla="*/ 0 h 239"/>
                      <a:gd name="connsiteX1" fmla="*/ 60 w 59"/>
                      <a:gd name="connsiteY1" fmla="*/ 239 h 239"/>
                    </a:gdLst>
                    <a:ahLst/>
                    <a:cxnLst>
                      <a:cxn ang="0">
                        <a:pos x="connsiteX0" y="connsiteY0"/>
                      </a:cxn>
                      <a:cxn ang="0">
                        <a:pos x="connsiteX1" y="connsiteY1"/>
                      </a:cxn>
                    </a:cxnLst>
                    <a:rect l="l" t="t" r="r" b="b"/>
                    <a:pathLst>
                      <a:path w="59" h="239">
                        <a:moveTo>
                          <a:pt x="0" y="0"/>
                        </a:moveTo>
                        <a:lnTo>
                          <a:pt x="60" y="239"/>
                        </a:lnTo>
                      </a:path>
                    </a:pathLst>
                  </a:custGeom>
                  <a:noFill/>
                  <a:ln w="6350" cap="flat">
                    <a:solidFill>
                      <a:schemeClr val="bg1">
                        <a:alpha val="40000"/>
                      </a:schemeClr>
                    </a:solidFill>
                    <a:prstDash val="solid"/>
                    <a:miter/>
                  </a:ln>
                </p:spPr>
                <p:txBody>
                  <a:bodyPr rtlCol="0" anchor="ctr"/>
                  <a:lstStyle/>
                  <a:p>
                    <a:endParaRPr lang="en-GB"/>
                  </a:p>
                </p:txBody>
              </p:sp>
              <p:sp>
                <p:nvSpPr>
                  <p:cNvPr id="8042" name="Vrije vorm: vorm 8041">
                    <a:extLst>
                      <a:ext uri="{FF2B5EF4-FFF2-40B4-BE49-F238E27FC236}">
                        <a16:creationId xmlns:a16="http://schemas.microsoft.com/office/drawing/2014/main" id="{1A0F9EB4-40FA-4212-AB68-28915FD03CDC}"/>
                      </a:ext>
                    </a:extLst>
                  </p:cNvPr>
                  <p:cNvSpPr/>
                  <p:nvPr/>
                </p:nvSpPr>
                <p:spPr>
                  <a:xfrm>
                    <a:off x="5794143" y="5243040"/>
                    <a:ext cx="2811" cy="3409"/>
                  </a:xfrm>
                  <a:custGeom>
                    <a:avLst/>
                    <a:gdLst>
                      <a:gd name="connsiteX0" fmla="*/ 2811 w 2811"/>
                      <a:gd name="connsiteY0" fmla="*/ 0 h 3409"/>
                      <a:gd name="connsiteX1" fmla="*/ 359 w 2811"/>
                      <a:gd name="connsiteY1" fmla="*/ 2990 h 3409"/>
                      <a:gd name="connsiteX2" fmla="*/ 299 w 2811"/>
                      <a:gd name="connsiteY2" fmla="*/ 3050 h 3409"/>
                      <a:gd name="connsiteX3" fmla="*/ 0 w 2811"/>
                      <a:gd name="connsiteY3" fmla="*/ 3409 h 3409"/>
                    </a:gdLst>
                    <a:ahLst/>
                    <a:cxnLst>
                      <a:cxn ang="0">
                        <a:pos x="connsiteX0" y="connsiteY0"/>
                      </a:cxn>
                      <a:cxn ang="0">
                        <a:pos x="connsiteX1" y="connsiteY1"/>
                      </a:cxn>
                      <a:cxn ang="0">
                        <a:pos x="connsiteX2" y="connsiteY2"/>
                      </a:cxn>
                      <a:cxn ang="0">
                        <a:pos x="connsiteX3" y="connsiteY3"/>
                      </a:cxn>
                    </a:cxnLst>
                    <a:rect l="l" t="t" r="r" b="b"/>
                    <a:pathLst>
                      <a:path w="2811" h="3409">
                        <a:moveTo>
                          <a:pt x="2811" y="0"/>
                        </a:moveTo>
                        <a:lnTo>
                          <a:pt x="359" y="2990"/>
                        </a:lnTo>
                        <a:lnTo>
                          <a:pt x="299" y="3050"/>
                        </a:lnTo>
                        <a:lnTo>
                          <a:pt x="0" y="3409"/>
                        </a:lnTo>
                      </a:path>
                    </a:pathLst>
                  </a:custGeom>
                  <a:noFill/>
                  <a:ln w="6350" cap="flat">
                    <a:solidFill>
                      <a:schemeClr val="bg1">
                        <a:alpha val="40000"/>
                      </a:schemeClr>
                    </a:solidFill>
                    <a:prstDash val="solid"/>
                    <a:miter/>
                  </a:ln>
                </p:spPr>
                <p:txBody>
                  <a:bodyPr rtlCol="0" anchor="ctr"/>
                  <a:lstStyle/>
                  <a:p>
                    <a:endParaRPr lang="en-GB"/>
                  </a:p>
                </p:txBody>
              </p:sp>
              <p:sp>
                <p:nvSpPr>
                  <p:cNvPr id="8043" name="Vrije vorm: vorm 8042">
                    <a:extLst>
                      <a:ext uri="{FF2B5EF4-FFF2-40B4-BE49-F238E27FC236}">
                        <a16:creationId xmlns:a16="http://schemas.microsoft.com/office/drawing/2014/main" id="{4CA01AD9-E8D8-4E06-BAA9-305D71F6CD49}"/>
                      </a:ext>
                    </a:extLst>
                  </p:cNvPr>
                  <p:cNvSpPr/>
                  <p:nvPr/>
                </p:nvSpPr>
                <p:spPr>
                  <a:xfrm>
                    <a:off x="5796655" y="5247166"/>
                    <a:ext cx="179" cy="59"/>
                  </a:xfrm>
                  <a:custGeom>
                    <a:avLst/>
                    <a:gdLst>
                      <a:gd name="connsiteX0" fmla="*/ 0 w 179"/>
                      <a:gd name="connsiteY0" fmla="*/ 0 h 59"/>
                      <a:gd name="connsiteX1" fmla="*/ 179 w 179"/>
                      <a:gd name="connsiteY1" fmla="*/ 60 h 59"/>
                    </a:gdLst>
                    <a:ahLst/>
                    <a:cxnLst>
                      <a:cxn ang="0">
                        <a:pos x="connsiteX0" y="connsiteY0"/>
                      </a:cxn>
                      <a:cxn ang="0">
                        <a:pos x="connsiteX1" y="connsiteY1"/>
                      </a:cxn>
                    </a:cxnLst>
                    <a:rect l="l" t="t" r="r" b="b"/>
                    <a:pathLst>
                      <a:path w="179" h="59">
                        <a:moveTo>
                          <a:pt x="0" y="0"/>
                        </a:moveTo>
                        <a:lnTo>
                          <a:pt x="179" y="60"/>
                        </a:lnTo>
                      </a:path>
                    </a:pathLst>
                  </a:custGeom>
                  <a:noFill/>
                  <a:ln w="6350" cap="flat">
                    <a:solidFill>
                      <a:schemeClr val="bg1">
                        <a:alpha val="40000"/>
                      </a:schemeClr>
                    </a:solidFill>
                    <a:prstDash val="solid"/>
                    <a:miter/>
                  </a:ln>
                </p:spPr>
                <p:txBody>
                  <a:bodyPr rtlCol="0" anchor="ctr"/>
                  <a:lstStyle/>
                  <a:p>
                    <a:endParaRPr lang="en-GB"/>
                  </a:p>
                </p:txBody>
              </p:sp>
              <p:sp>
                <p:nvSpPr>
                  <p:cNvPr id="8044" name="Vrije vorm: vorm 8043">
                    <a:extLst>
                      <a:ext uri="{FF2B5EF4-FFF2-40B4-BE49-F238E27FC236}">
                        <a16:creationId xmlns:a16="http://schemas.microsoft.com/office/drawing/2014/main" id="{6C67EF2A-FF4E-43EB-AA5A-51DD6F1E002E}"/>
                      </a:ext>
                    </a:extLst>
                  </p:cNvPr>
                  <p:cNvSpPr/>
                  <p:nvPr/>
                </p:nvSpPr>
                <p:spPr>
                  <a:xfrm>
                    <a:off x="5794502" y="5246090"/>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45" name="Vrije vorm: vorm 8044">
                    <a:extLst>
                      <a:ext uri="{FF2B5EF4-FFF2-40B4-BE49-F238E27FC236}">
                        <a16:creationId xmlns:a16="http://schemas.microsoft.com/office/drawing/2014/main" id="{28DA7C53-C6CA-4A58-8DF5-2BDC4A75D2C2}"/>
                      </a:ext>
                    </a:extLst>
                  </p:cNvPr>
                  <p:cNvSpPr/>
                  <p:nvPr/>
                </p:nvSpPr>
                <p:spPr>
                  <a:xfrm>
                    <a:off x="5795698" y="5242441"/>
                    <a:ext cx="1256" cy="598"/>
                  </a:xfrm>
                  <a:custGeom>
                    <a:avLst/>
                    <a:gdLst>
                      <a:gd name="connsiteX0" fmla="*/ 1256 w 1256"/>
                      <a:gd name="connsiteY0" fmla="*/ 598 h 598"/>
                      <a:gd name="connsiteX1" fmla="*/ 1256 w 1256"/>
                      <a:gd name="connsiteY1" fmla="*/ 598 h 598"/>
                      <a:gd name="connsiteX2" fmla="*/ 239 w 1256"/>
                      <a:gd name="connsiteY2" fmla="*/ 120 h 598"/>
                      <a:gd name="connsiteX3" fmla="*/ 0 w 1256"/>
                      <a:gd name="connsiteY3" fmla="*/ 0 h 598"/>
                    </a:gdLst>
                    <a:ahLst/>
                    <a:cxnLst>
                      <a:cxn ang="0">
                        <a:pos x="connsiteX0" y="connsiteY0"/>
                      </a:cxn>
                      <a:cxn ang="0">
                        <a:pos x="connsiteX1" y="connsiteY1"/>
                      </a:cxn>
                      <a:cxn ang="0">
                        <a:pos x="connsiteX2" y="connsiteY2"/>
                      </a:cxn>
                      <a:cxn ang="0">
                        <a:pos x="connsiteX3" y="connsiteY3"/>
                      </a:cxn>
                    </a:cxnLst>
                    <a:rect l="l" t="t" r="r" b="b"/>
                    <a:pathLst>
                      <a:path w="1256" h="598">
                        <a:moveTo>
                          <a:pt x="1256" y="598"/>
                        </a:moveTo>
                        <a:lnTo>
                          <a:pt x="1256" y="598"/>
                        </a:lnTo>
                        <a:lnTo>
                          <a:pt x="239" y="12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46" name="Vrije vorm: vorm 8045">
                    <a:extLst>
                      <a:ext uri="{FF2B5EF4-FFF2-40B4-BE49-F238E27FC236}">
                        <a16:creationId xmlns:a16="http://schemas.microsoft.com/office/drawing/2014/main" id="{4886FC97-1803-49CB-BE3C-1DFFAA456B2E}"/>
                      </a:ext>
                    </a:extLst>
                  </p:cNvPr>
                  <p:cNvSpPr/>
                  <p:nvPr/>
                </p:nvSpPr>
                <p:spPr>
                  <a:xfrm>
                    <a:off x="5842407" y="5164453"/>
                    <a:ext cx="2212" cy="1555"/>
                  </a:xfrm>
                  <a:custGeom>
                    <a:avLst/>
                    <a:gdLst>
                      <a:gd name="connsiteX0" fmla="*/ 359 w 2212"/>
                      <a:gd name="connsiteY0" fmla="*/ 0 h 1555"/>
                      <a:gd name="connsiteX1" fmla="*/ 0 w 2212"/>
                      <a:gd name="connsiteY1" fmla="*/ 718 h 1555"/>
                      <a:gd name="connsiteX2" fmla="*/ 957 w 2212"/>
                      <a:gd name="connsiteY2" fmla="*/ 1076 h 1555"/>
                      <a:gd name="connsiteX3" fmla="*/ 1376 w 2212"/>
                      <a:gd name="connsiteY3" fmla="*/ 1256 h 1555"/>
                      <a:gd name="connsiteX4" fmla="*/ 2213 w 2212"/>
                      <a:gd name="connsiteY4" fmla="*/ 1555 h 1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2" h="1555">
                        <a:moveTo>
                          <a:pt x="359" y="0"/>
                        </a:moveTo>
                        <a:lnTo>
                          <a:pt x="0" y="718"/>
                        </a:lnTo>
                        <a:lnTo>
                          <a:pt x="957" y="1076"/>
                        </a:lnTo>
                        <a:lnTo>
                          <a:pt x="1376" y="1256"/>
                        </a:lnTo>
                        <a:lnTo>
                          <a:pt x="2213" y="1555"/>
                        </a:lnTo>
                      </a:path>
                    </a:pathLst>
                  </a:custGeom>
                  <a:noFill/>
                  <a:ln w="6350" cap="flat">
                    <a:solidFill>
                      <a:schemeClr val="bg1">
                        <a:alpha val="40000"/>
                      </a:schemeClr>
                    </a:solidFill>
                    <a:prstDash val="solid"/>
                    <a:miter/>
                  </a:ln>
                </p:spPr>
                <p:txBody>
                  <a:bodyPr rtlCol="0" anchor="ctr"/>
                  <a:lstStyle/>
                  <a:p>
                    <a:endParaRPr lang="en-GB"/>
                  </a:p>
                </p:txBody>
              </p:sp>
              <p:sp>
                <p:nvSpPr>
                  <p:cNvPr id="8047" name="Vrije vorm: vorm 8046">
                    <a:extLst>
                      <a:ext uri="{FF2B5EF4-FFF2-40B4-BE49-F238E27FC236}">
                        <a16:creationId xmlns:a16="http://schemas.microsoft.com/office/drawing/2014/main" id="{EDB5DCD6-9BF8-4DA7-9C0D-58F02627CA2C}"/>
                      </a:ext>
                    </a:extLst>
                  </p:cNvPr>
                  <p:cNvSpPr/>
                  <p:nvPr/>
                </p:nvSpPr>
                <p:spPr>
                  <a:xfrm>
                    <a:off x="5754431" y="5318935"/>
                    <a:ext cx="7176" cy="4724"/>
                  </a:xfrm>
                  <a:custGeom>
                    <a:avLst/>
                    <a:gdLst>
                      <a:gd name="connsiteX0" fmla="*/ 7177 w 7176"/>
                      <a:gd name="connsiteY0" fmla="*/ 4725 h 4724"/>
                      <a:gd name="connsiteX1" fmla="*/ 7177 w 7176"/>
                      <a:gd name="connsiteY1" fmla="*/ 4725 h 4724"/>
                      <a:gd name="connsiteX2" fmla="*/ 4844 w 7176"/>
                      <a:gd name="connsiteY2" fmla="*/ 3170 h 4724"/>
                      <a:gd name="connsiteX3" fmla="*/ 3409 w 7176"/>
                      <a:gd name="connsiteY3" fmla="*/ 2213 h 4724"/>
                      <a:gd name="connsiteX4" fmla="*/ 1256 w 7176"/>
                      <a:gd name="connsiteY4" fmla="*/ 778 h 4724"/>
                      <a:gd name="connsiteX5" fmla="*/ 957 w 7176"/>
                      <a:gd name="connsiteY5" fmla="*/ 598 h 4724"/>
                      <a:gd name="connsiteX6" fmla="*/ 0 w 7176"/>
                      <a:gd name="connsiteY6" fmla="*/ 0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6" h="4724">
                        <a:moveTo>
                          <a:pt x="7177" y="4725"/>
                        </a:moveTo>
                        <a:lnTo>
                          <a:pt x="7177" y="4725"/>
                        </a:lnTo>
                        <a:lnTo>
                          <a:pt x="4844" y="3170"/>
                        </a:lnTo>
                        <a:lnTo>
                          <a:pt x="3409" y="2213"/>
                        </a:lnTo>
                        <a:lnTo>
                          <a:pt x="1256" y="778"/>
                        </a:lnTo>
                        <a:lnTo>
                          <a:pt x="957" y="598"/>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48" name="Vrije vorm: vorm 8047">
                    <a:extLst>
                      <a:ext uri="{FF2B5EF4-FFF2-40B4-BE49-F238E27FC236}">
                        <a16:creationId xmlns:a16="http://schemas.microsoft.com/office/drawing/2014/main" id="{6868A65B-128B-4015-AAA3-BC3CF9E92C50}"/>
                      </a:ext>
                    </a:extLst>
                  </p:cNvPr>
                  <p:cNvSpPr/>
                  <p:nvPr/>
                </p:nvSpPr>
                <p:spPr>
                  <a:xfrm>
                    <a:off x="5847371" y="5155003"/>
                    <a:ext cx="2870" cy="5562"/>
                  </a:xfrm>
                  <a:custGeom>
                    <a:avLst/>
                    <a:gdLst>
                      <a:gd name="connsiteX0" fmla="*/ 0 w 2870"/>
                      <a:gd name="connsiteY0" fmla="*/ 5562 h 5562"/>
                      <a:gd name="connsiteX1" fmla="*/ 60 w 2870"/>
                      <a:gd name="connsiteY1" fmla="*/ 5443 h 5562"/>
                      <a:gd name="connsiteX2" fmla="*/ 299 w 2870"/>
                      <a:gd name="connsiteY2" fmla="*/ 5024 h 5562"/>
                      <a:gd name="connsiteX3" fmla="*/ 1854 w 2870"/>
                      <a:gd name="connsiteY3" fmla="*/ 1974 h 5562"/>
                      <a:gd name="connsiteX4" fmla="*/ 2871 w 2870"/>
                      <a:gd name="connsiteY4" fmla="*/ 0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 h="5562">
                        <a:moveTo>
                          <a:pt x="0" y="5562"/>
                        </a:moveTo>
                        <a:lnTo>
                          <a:pt x="60" y="5443"/>
                        </a:lnTo>
                        <a:lnTo>
                          <a:pt x="299" y="5024"/>
                        </a:lnTo>
                        <a:lnTo>
                          <a:pt x="1854" y="1974"/>
                        </a:lnTo>
                        <a:lnTo>
                          <a:pt x="2871" y="0"/>
                        </a:lnTo>
                      </a:path>
                    </a:pathLst>
                  </a:custGeom>
                  <a:noFill/>
                  <a:ln w="6350" cap="flat">
                    <a:solidFill>
                      <a:schemeClr val="bg1">
                        <a:alpha val="40000"/>
                      </a:schemeClr>
                    </a:solidFill>
                    <a:prstDash val="solid"/>
                    <a:miter/>
                  </a:ln>
                </p:spPr>
                <p:txBody>
                  <a:bodyPr rtlCol="0" anchor="ctr"/>
                  <a:lstStyle/>
                  <a:p>
                    <a:endParaRPr lang="en-GB"/>
                  </a:p>
                </p:txBody>
              </p:sp>
              <p:sp>
                <p:nvSpPr>
                  <p:cNvPr id="8049" name="Vrije vorm: vorm 8048">
                    <a:extLst>
                      <a:ext uri="{FF2B5EF4-FFF2-40B4-BE49-F238E27FC236}">
                        <a16:creationId xmlns:a16="http://schemas.microsoft.com/office/drawing/2014/main" id="{E1FF4A82-E673-4351-A7BC-7B6C207A0FEC}"/>
                      </a:ext>
                    </a:extLst>
                  </p:cNvPr>
                  <p:cNvSpPr/>
                  <p:nvPr/>
                </p:nvSpPr>
                <p:spPr>
                  <a:xfrm>
                    <a:off x="5850721" y="5169477"/>
                    <a:ext cx="4425" cy="8612"/>
                  </a:xfrm>
                  <a:custGeom>
                    <a:avLst/>
                    <a:gdLst>
                      <a:gd name="connsiteX0" fmla="*/ 4426 w 4425"/>
                      <a:gd name="connsiteY0" fmla="*/ 0 h 8612"/>
                      <a:gd name="connsiteX1" fmla="*/ 4366 w 4425"/>
                      <a:gd name="connsiteY1" fmla="*/ 60 h 8612"/>
                      <a:gd name="connsiteX2" fmla="*/ 4306 w 4425"/>
                      <a:gd name="connsiteY2" fmla="*/ 119 h 8612"/>
                      <a:gd name="connsiteX3" fmla="*/ 2751 w 4425"/>
                      <a:gd name="connsiteY3" fmla="*/ 3170 h 8612"/>
                      <a:gd name="connsiteX4" fmla="*/ 1196 w 4425"/>
                      <a:gd name="connsiteY4" fmla="*/ 6220 h 8612"/>
                      <a:gd name="connsiteX5" fmla="*/ 0 w 4425"/>
                      <a:gd name="connsiteY5" fmla="*/ 8612 h 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5" h="8612">
                        <a:moveTo>
                          <a:pt x="4426" y="0"/>
                        </a:moveTo>
                        <a:lnTo>
                          <a:pt x="4366" y="60"/>
                        </a:lnTo>
                        <a:lnTo>
                          <a:pt x="4306" y="119"/>
                        </a:lnTo>
                        <a:lnTo>
                          <a:pt x="2751" y="3170"/>
                        </a:lnTo>
                        <a:lnTo>
                          <a:pt x="1196" y="6220"/>
                        </a:lnTo>
                        <a:lnTo>
                          <a:pt x="0" y="8612"/>
                        </a:lnTo>
                      </a:path>
                    </a:pathLst>
                  </a:custGeom>
                  <a:noFill/>
                  <a:ln w="6350" cap="flat">
                    <a:solidFill>
                      <a:schemeClr val="bg1">
                        <a:alpha val="40000"/>
                      </a:schemeClr>
                    </a:solidFill>
                    <a:prstDash val="solid"/>
                    <a:miter/>
                  </a:ln>
                </p:spPr>
                <p:txBody>
                  <a:bodyPr rtlCol="0" anchor="ctr"/>
                  <a:lstStyle/>
                  <a:p>
                    <a:endParaRPr lang="en-GB"/>
                  </a:p>
                </p:txBody>
              </p:sp>
              <p:sp>
                <p:nvSpPr>
                  <p:cNvPr id="8050" name="Vrije vorm: vorm 8049">
                    <a:extLst>
                      <a:ext uri="{FF2B5EF4-FFF2-40B4-BE49-F238E27FC236}">
                        <a16:creationId xmlns:a16="http://schemas.microsoft.com/office/drawing/2014/main" id="{CE510CD8-0829-4ADC-A78E-D6013E2E1DC4}"/>
                      </a:ext>
                    </a:extLst>
                  </p:cNvPr>
                  <p:cNvSpPr/>
                  <p:nvPr/>
                </p:nvSpPr>
                <p:spPr>
                  <a:xfrm>
                    <a:off x="5794442" y="5249738"/>
                    <a:ext cx="59" cy="418"/>
                  </a:xfrm>
                  <a:custGeom>
                    <a:avLst/>
                    <a:gdLst>
                      <a:gd name="connsiteX0" fmla="*/ 60 w 59"/>
                      <a:gd name="connsiteY0" fmla="*/ 419 h 418"/>
                      <a:gd name="connsiteX1" fmla="*/ 0 w 59"/>
                      <a:gd name="connsiteY1" fmla="*/ 0 h 418"/>
                    </a:gdLst>
                    <a:ahLst/>
                    <a:cxnLst>
                      <a:cxn ang="0">
                        <a:pos x="connsiteX0" y="connsiteY0"/>
                      </a:cxn>
                      <a:cxn ang="0">
                        <a:pos x="connsiteX1" y="connsiteY1"/>
                      </a:cxn>
                    </a:cxnLst>
                    <a:rect l="l" t="t" r="r" b="b"/>
                    <a:pathLst>
                      <a:path w="59" h="418">
                        <a:moveTo>
                          <a:pt x="60" y="419"/>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51" name="Vrije vorm: vorm 8050">
                    <a:extLst>
                      <a:ext uri="{FF2B5EF4-FFF2-40B4-BE49-F238E27FC236}">
                        <a16:creationId xmlns:a16="http://schemas.microsoft.com/office/drawing/2014/main" id="{BD3B6383-B0AB-4EFC-94C8-A8430E8A310C}"/>
                      </a:ext>
                    </a:extLst>
                  </p:cNvPr>
                  <p:cNvSpPr/>
                  <p:nvPr/>
                </p:nvSpPr>
                <p:spPr>
                  <a:xfrm>
                    <a:off x="5799585" y="5302667"/>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52" name="Vrije vorm: vorm 8051">
                    <a:extLst>
                      <a:ext uri="{FF2B5EF4-FFF2-40B4-BE49-F238E27FC236}">
                        <a16:creationId xmlns:a16="http://schemas.microsoft.com/office/drawing/2014/main" id="{857D56BC-06FD-495B-B514-19B020BF9E6E}"/>
                      </a:ext>
                    </a:extLst>
                  </p:cNvPr>
                  <p:cNvSpPr/>
                  <p:nvPr/>
                </p:nvSpPr>
                <p:spPr>
                  <a:xfrm>
                    <a:off x="5800662" y="5298720"/>
                    <a:ext cx="1973" cy="2571"/>
                  </a:xfrm>
                  <a:custGeom>
                    <a:avLst/>
                    <a:gdLst>
                      <a:gd name="connsiteX0" fmla="*/ 1974 w 1973"/>
                      <a:gd name="connsiteY0" fmla="*/ 0 h 2571"/>
                      <a:gd name="connsiteX1" fmla="*/ 0 w 1973"/>
                      <a:gd name="connsiteY1" fmla="*/ 2572 h 2571"/>
                    </a:gdLst>
                    <a:ahLst/>
                    <a:cxnLst>
                      <a:cxn ang="0">
                        <a:pos x="connsiteX0" y="connsiteY0"/>
                      </a:cxn>
                      <a:cxn ang="0">
                        <a:pos x="connsiteX1" y="connsiteY1"/>
                      </a:cxn>
                    </a:cxnLst>
                    <a:rect l="l" t="t" r="r" b="b"/>
                    <a:pathLst>
                      <a:path w="1973" h="2571">
                        <a:moveTo>
                          <a:pt x="1974" y="0"/>
                        </a:moveTo>
                        <a:lnTo>
                          <a:pt x="0" y="2572"/>
                        </a:lnTo>
                      </a:path>
                    </a:pathLst>
                  </a:custGeom>
                  <a:noFill/>
                  <a:ln w="6350" cap="flat">
                    <a:solidFill>
                      <a:schemeClr val="bg1">
                        <a:alpha val="40000"/>
                      </a:schemeClr>
                    </a:solidFill>
                    <a:prstDash val="solid"/>
                    <a:miter/>
                  </a:ln>
                </p:spPr>
                <p:txBody>
                  <a:bodyPr rtlCol="0" anchor="ctr"/>
                  <a:lstStyle/>
                  <a:p>
                    <a:endParaRPr lang="en-GB"/>
                  </a:p>
                </p:txBody>
              </p:sp>
              <p:sp>
                <p:nvSpPr>
                  <p:cNvPr id="8053" name="Vrije vorm: vorm 8052">
                    <a:extLst>
                      <a:ext uri="{FF2B5EF4-FFF2-40B4-BE49-F238E27FC236}">
                        <a16:creationId xmlns:a16="http://schemas.microsoft.com/office/drawing/2014/main" id="{8E24F76A-307F-40C7-85D7-7D13E2E5B95C}"/>
                      </a:ext>
                    </a:extLst>
                  </p:cNvPr>
                  <p:cNvSpPr/>
                  <p:nvPr/>
                </p:nvSpPr>
                <p:spPr>
                  <a:xfrm>
                    <a:off x="5804071" y="5297285"/>
                    <a:ext cx="59" cy="239"/>
                  </a:xfrm>
                  <a:custGeom>
                    <a:avLst/>
                    <a:gdLst>
                      <a:gd name="connsiteX0" fmla="*/ 0 w 59"/>
                      <a:gd name="connsiteY0" fmla="*/ 0 h 239"/>
                      <a:gd name="connsiteX1" fmla="*/ 60 w 59"/>
                      <a:gd name="connsiteY1" fmla="*/ 239 h 239"/>
                    </a:gdLst>
                    <a:ahLst/>
                    <a:cxnLst>
                      <a:cxn ang="0">
                        <a:pos x="connsiteX0" y="connsiteY0"/>
                      </a:cxn>
                      <a:cxn ang="0">
                        <a:pos x="connsiteX1" y="connsiteY1"/>
                      </a:cxn>
                    </a:cxnLst>
                    <a:rect l="l" t="t" r="r" b="b"/>
                    <a:pathLst>
                      <a:path w="59" h="239">
                        <a:moveTo>
                          <a:pt x="0" y="0"/>
                        </a:moveTo>
                        <a:lnTo>
                          <a:pt x="60" y="239"/>
                        </a:lnTo>
                      </a:path>
                    </a:pathLst>
                  </a:custGeom>
                  <a:noFill/>
                  <a:ln w="6350" cap="flat">
                    <a:solidFill>
                      <a:schemeClr val="bg1">
                        <a:alpha val="40000"/>
                      </a:schemeClr>
                    </a:solidFill>
                    <a:prstDash val="solid"/>
                    <a:miter/>
                  </a:ln>
                </p:spPr>
                <p:txBody>
                  <a:bodyPr rtlCol="0" anchor="ctr"/>
                  <a:lstStyle/>
                  <a:p>
                    <a:endParaRPr lang="en-GB"/>
                  </a:p>
                </p:txBody>
              </p:sp>
              <p:sp>
                <p:nvSpPr>
                  <p:cNvPr id="8054" name="Vrije vorm: vorm 8053">
                    <a:extLst>
                      <a:ext uri="{FF2B5EF4-FFF2-40B4-BE49-F238E27FC236}">
                        <a16:creationId xmlns:a16="http://schemas.microsoft.com/office/drawing/2014/main" id="{DD15E960-464E-4258-937D-899BD82F77FF}"/>
                      </a:ext>
                    </a:extLst>
                  </p:cNvPr>
                  <p:cNvSpPr/>
                  <p:nvPr/>
                </p:nvSpPr>
                <p:spPr>
                  <a:xfrm>
                    <a:off x="5802576" y="5146929"/>
                    <a:ext cx="33013" cy="12021"/>
                  </a:xfrm>
                  <a:custGeom>
                    <a:avLst/>
                    <a:gdLst>
                      <a:gd name="connsiteX0" fmla="*/ 0 w 33013"/>
                      <a:gd name="connsiteY0" fmla="*/ 0 h 12021"/>
                      <a:gd name="connsiteX1" fmla="*/ 2632 w 33013"/>
                      <a:gd name="connsiteY1" fmla="*/ 957 h 12021"/>
                      <a:gd name="connsiteX2" fmla="*/ 5263 w 33013"/>
                      <a:gd name="connsiteY2" fmla="*/ 1914 h 12021"/>
                      <a:gd name="connsiteX3" fmla="*/ 7895 w 33013"/>
                      <a:gd name="connsiteY3" fmla="*/ 2871 h 12021"/>
                      <a:gd name="connsiteX4" fmla="*/ 10526 w 33013"/>
                      <a:gd name="connsiteY4" fmla="*/ 3828 h 12021"/>
                      <a:gd name="connsiteX5" fmla="*/ 13158 w 33013"/>
                      <a:gd name="connsiteY5" fmla="*/ 4785 h 12021"/>
                      <a:gd name="connsiteX6" fmla="*/ 15789 w 33013"/>
                      <a:gd name="connsiteY6" fmla="*/ 5742 h 12021"/>
                      <a:gd name="connsiteX7" fmla="*/ 18421 w 33013"/>
                      <a:gd name="connsiteY7" fmla="*/ 6698 h 12021"/>
                      <a:gd name="connsiteX8" fmla="*/ 21052 w 33013"/>
                      <a:gd name="connsiteY8" fmla="*/ 7655 h 12021"/>
                      <a:gd name="connsiteX9" fmla="*/ 23683 w 33013"/>
                      <a:gd name="connsiteY9" fmla="*/ 8612 h 12021"/>
                      <a:gd name="connsiteX10" fmla="*/ 26315 w 33013"/>
                      <a:gd name="connsiteY10" fmla="*/ 9569 h 12021"/>
                      <a:gd name="connsiteX11" fmla="*/ 28946 w 33013"/>
                      <a:gd name="connsiteY11" fmla="*/ 10526 h 12021"/>
                      <a:gd name="connsiteX12" fmla="*/ 31578 w 33013"/>
                      <a:gd name="connsiteY12" fmla="*/ 11483 h 12021"/>
                      <a:gd name="connsiteX13" fmla="*/ 33014 w 33013"/>
                      <a:gd name="connsiteY13" fmla="*/ 12021 h 1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013" h="12021">
                        <a:moveTo>
                          <a:pt x="0" y="0"/>
                        </a:moveTo>
                        <a:lnTo>
                          <a:pt x="2632" y="957"/>
                        </a:lnTo>
                        <a:lnTo>
                          <a:pt x="5263" y="1914"/>
                        </a:lnTo>
                        <a:lnTo>
                          <a:pt x="7895" y="2871"/>
                        </a:lnTo>
                        <a:lnTo>
                          <a:pt x="10526" y="3828"/>
                        </a:lnTo>
                        <a:lnTo>
                          <a:pt x="13158" y="4785"/>
                        </a:lnTo>
                        <a:lnTo>
                          <a:pt x="15789" y="5742"/>
                        </a:lnTo>
                        <a:lnTo>
                          <a:pt x="18421" y="6698"/>
                        </a:lnTo>
                        <a:lnTo>
                          <a:pt x="21052" y="7655"/>
                        </a:lnTo>
                        <a:lnTo>
                          <a:pt x="23683" y="8612"/>
                        </a:lnTo>
                        <a:lnTo>
                          <a:pt x="26315" y="9569"/>
                        </a:lnTo>
                        <a:lnTo>
                          <a:pt x="28946" y="10526"/>
                        </a:lnTo>
                        <a:lnTo>
                          <a:pt x="31578" y="11483"/>
                        </a:lnTo>
                        <a:lnTo>
                          <a:pt x="33014" y="12021"/>
                        </a:lnTo>
                      </a:path>
                    </a:pathLst>
                  </a:custGeom>
                  <a:noFill/>
                  <a:ln w="6350" cap="flat">
                    <a:solidFill>
                      <a:schemeClr val="bg1">
                        <a:alpha val="40000"/>
                      </a:schemeClr>
                    </a:solidFill>
                    <a:prstDash val="solid"/>
                    <a:miter/>
                  </a:ln>
                </p:spPr>
                <p:txBody>
                  <a:bodyPr rtlCol="0" anchor="ctr"/>
                  <a:lstStyle/>
                  <a:p>
                    <a:endParaRPr lang="en-GB"/>
                  </a:p>
                </p:txBody>
              </p:sp>
              <p:sp>
                <p:nvSpPr>
                  <p:cNvPr id="8055" name="Vrije vorm: vorm 8054">
                    <a:extLst>
                      <a:ext uri="{FF2B5EF4-FFF2-40B4-BE49-F238E27FC236}">
                        <a16:creationId xmlns:a16="http://schemas.microsoft.com/office/drawing/2014/main" id="{246E1F14-7136-439A-9FD2-C9E6DEB51B08}"/>
                      </a:ext>
                    </a:extLst>
                  </p:cNvPr>
                  <p:cNvSpPr/>
                  <p:nvPr/>
                </p:nvSpPr>
                <p:spPr>
                  <a:xfrm>
                    <a:off x="5802396" y="5298600"/>
                    <a:ext cx="1794" cy="897"/>
                  </a:xfrm>
                  <a:custGeom>
                    <a:avLst/>
                    <a:gdLst>
                      <a:gd name="connsiteX0" fmla="*/ 1795 w 1794"/>
                      <a:gd name="connsiteY0" fmla="*/ 897 h 897"/>
                      <a:gd name="connsiteX1" fmla="*/ 239 w 1794"/>
                      <a:gd name="connsiteY1" fmla="*/ 120 h 897"/>
                      <a:gd name="connsiteX2" fmla="*/ 0 w 1794"/>
                      <a:gd name="connsiteY2" fmla="*/ 0 h 897"/>
                    </a:gdLst>
                    <a:ahLst/>
                    <a:cxnLst>
                      <a:cxn ang="0">
                        <a:pos x="connsiteX0" y="connsiteY0"/>
                      </a:cxn>
                      <a:cxn ang="0">
                        <a:pos x="connsiteX1" y="connsiteY1"/>
                      </a:cxn>
                      <a:cxn ang="0">
                        <a:pos x="connsiteX2" y="connsiteY2"/>
                      </a:cxn>
                    </a:cxnLst>
                    <a:rect l="l" t="t" r="r" b="b"/>
                    <a:pathLst>
                      <a:path w="1794" h="897">
                        <a:moveTo>
                          <a:pt x="1795" y="897"/>
                        </a:moveTo>
                        <a:lnTo>
                          <a:pt x="239" y="12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56" name="Vrije vorm: vorm 8055">
                    <a:extLst>
                      <a:ext uri="{FF2B5EF4-FFF2-40B4-BE49-F238E27FC236}">
                        <a16:creationId xmlns:a16="http://schemas.microsoft.com/office/drawing/2014/main" id="{4954DC5B-468D-4D39-9518-2D74DAE61BE0}"/>
                      </a:ext>
                    </a:extLst>
                  </p:cNvPr>
                  <p:cNvSpPr/>
                  <p:nvPr/>
                </p:nvSpPr>
                <p:spPr>
                  <a:xfrm>
                    <a:off x="5816391" y="5089335"/>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57" name="Vrije vorm: vorm 8056">
                    <a:extLst>
                      <a:ext uri="{FF2B5EF4-FFF2-40B4-BE49-F238E27FC236}">
                        <a16:creationId xmlns:a16="http://schemas.microsoft.com/office/drawing/2014/main" id="{4A69B265-0B03-496B-9D69-03601AE8B61F}"/>
                      </a:ext>
                    </a:extLst>
                  </p:cNvPr>
                  <p:cNvSpPr/>
                  <p:nvPr/>
                </p:nvSpPr>
                <p:spPr>
                  <a:xfrm>
                    <a:off x="5761309" y="5389567"/>
                    <a:ext cx="3648" cy="179"/>
                  </a:xfrm>
                  <a:custGeom>
                    <a:avLst/>
                    <a:gdLst>
                      <a:gd name="connsiteX0" fmla="*/ 3648 w 3648"/>
                      <a:gd name="connsiteY0" fmla="*/ 179 h 179"/>
                      <a:gd name="connsiteX1" fmla="*/ 2452 w 3648"/>
                      <a:gd name="connsiteY1" fmla="*/ 120 h 179"/>
                      <a:gd name="connsiteX2" fmla="*/ 1435 w 3648"/>
                      <a:gd name="connsiteY2" fmla="*/ 60 h 179"/>
                      <a:gd name="connsiteX3" fmla="*/ 1076 w 3648"/>
                      <a:gd name="connsiteY3" fmla="*/ 60 h 179"/>
                      <a:gd name="connsiteX4" fmla="*/ 239 w 3648"/>
                      <a:gd name="connsiteY4" fmla="*/ 0 h 179"/>
                      <a:gd name="connsiteX5" fmla="*/ 0 w 3648"/>
                      <a:gd name="connsiteY5" fmla="*/ 0 h 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48" h="179">
                        <a:moveTo>
                          <a:pt x="3648" y="179"/>
                        </a:moveTo>
                        <a:lnTo>
                          <a:pt x="2452" y="120"/>
                        </a:lnTo>
                        <a:lnTo>
                          <a:pt x="1435" y="60"/>
                        </a:lnTo>
                        <a:lnTo>
                          <a:pt x="1076" y="60"/>
                        </a:lnTo>
                        <a:lnTo>
                          <a:pt x="239" y="0"/>
                        </a:ln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58" name="Vrije vorm: vorm 8057">
                    <a:extLst>
                      <a:ext uri="{FF2B5EF4-FFF2-40B4-BE49-F238E27FC236}">
                        <a16:creationId xmlns:a16="http://schemas.microsoft.com/office/drawing/2014/main" id="{02077E83-E9D8-464A-AB6C-EFA25FF69FB1}"/>
                      </a:ext>
                    </a:extLst>
                  </p:cNvPr>
                  <p:cNvSpPr/>
                  <p:nvPr/>
                </p:nvSpPr>
                <p:spPr>
                  <a:xfrm>
                    <a:off x="5877215" y="5181498"/>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59" name="Vrije vorm: vorm 8058">
                    <a:extLst>
                      <a:ext uri="{FF2B5EF4-FFF2-40B4-BE49-F238E27FC236}">
                        <a16:creationId xmlns:a16="http://schemas.microsoft.com/office/drawing/2014/main" id="{5B0C3534-D95D-4E33-92F7-27A3D8830930}"/>
                      </a:ext>
                    </a:extLst>
                  </p:cNvPr>
                  <p:cNvSpPr/>
                  <p:nvPr/>
                </p:nvSpPr>
                <p:spPr>
                  <a:xfrm>
                    <a:off x="5873507" y="5176833"/>
                    <a:ext cx="8791" cy="17284"/>
                  </a:xfrm>
                  <a:custGeom>
                    <a:avLst/>
                    <a:gdLst>
                      <a:gd name="connsiteX0" fmla="*/ 8792 w 8791"/>
                      <a:gd name="connsiteY0" fmla="*/ 0 h 17284"/>
                      <a:gd name="connsiteX1" fmla="*/ 7237 w 8791"/>
                      <a:gd name="connsiteY1" fmla="*/ 3050 h 17284"/>
                      <a:gd name="connsiteX2" fmla="*/ 5682 w 8791"/>
                      <a:gd name="connsiteY2" fmla="*/ 6100 h 17284"/>
                      <a:gd name="connsiteX3" fmla="*/ 4127 w 8791"/>
                      <a:gd name="connsiteY3" fmla="*/ 9150 h 17284"/>
                      <a:gd name="connsiteX4" fmla="*/ 2572 w 8791"/>
                      <a:gd name="connsiteY4" fmla="*/ 12201 h 17284"/>
                      <a:gd name="connsiteX5" fmla="*/ 1017 w 8791"/>
                      <a:gd name="connsiteY5" fmla="*/ 15251 h 17284"/>
                      <a:gd name="connsiteX6" fmla="*/ 0 w 8791"/>
                      <a:gd name="connsiteY6" fmla="*/ 17284 h 1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1" h="17284">
                        <a:moveTo>
                          <a:pt x="8792" y="0"/>
                        </a:moveTo>
                        <a:lnTo>
                          <a:pt x="7237" y="3050"/>
                        </a:lnTo>
                        <a:lnTo>
                          <a:pt x="5682" y="6100"/>
                        </a:lnTo>
                        <a:lnTo>
                          <a:pt x="4127" y="9150"/>
                        </a:lnTo>
                        <a:lnTo>
                          <a:pt x="2572" y="12201"/>
                        </a:lnTo>
                        <a:lnTo>
                          <a:pt x="1017" y="15251"/>
                        </a:lnTo>
                        <a:lnTo>
                          <a:pt x="0" y="17284"/>
                        </a:lnTo>
                      </a:path>
                    </a:pathLst>
                  </a:custGeom>
                  <a:noFill/>
                  <a:ln w="6350" cap="flat">
                    <a:solidFill>
                      <a:schemeClr val="bg1">
                        <a:alpha val="40000"/>
                      </a:schemeClr>
                    </a:solidFill>
                    <a:prstDash val="solid"/>
                    <a:miter/>
                  </a:ln>
                </p:spPr>
                <p:txBody>
                  <a:bodyPr rtlCol="0" anchor="ctr"/>
                  <a:lstStyle/>
                  <a:p>
                    <a:endParaRPr lang="en-GB"/>
                  </a:p>
                </p:txBody>
              </p:sp>
              <p:sp>
                <p:nvSpPr>
                  <p:cNvPr id="8060" name="Vrije vorm: vorm 8059">
                    <a:extLst>
                      <a:ext uri="{FF2B5EF4-FFF2-40B4-BE49-F238E27FC236}">
                        <a16:creationId xmlns:a16="http://schemas.microsoft.com/office/drawing/2014/main" id="{02CC7E34-E580-4703-8770-30F4CEFFC47C}"/>
                      </a:ext>
                    </a:extLst>
                  </p:cNvPr>
                  <p:cNvSpPr/>
                  <p:nvPr/>
                </p:nvSpPr>
                <p:spPr>
                  <a:xfrm>
                    <a:off x="5866749" y="520219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61" name="Vrije vorm: vorm 8060">
                    <a:extLst>
                      <a:ext uri="{FF2B5EF4-FFF2-40B4-BE49-F238E27FC236}">
                        <a16:creationId xmlns:a16="http://schemas.microsoft.com/office/drawing/2014/main" id="{9A0BF30D-A6B3-4314-BB9F-9F5F38CE522E}"/>
                      </a:ext>
                    </a:extLst>
                  </p:cNvPr>
                  <p:cNvSpPr/>
                  <p:nvPr/>
                </p:nvSpPr>
                <p:spPr>
                  <a:xfrm>
                    <a:off x="5862084" y="5220253"/>
                    <a:ext cx="418" cy="119"/>
                  </a:xfrm>
                  <a:custGeom>
                    <a:avLst/>
                    <a:gdLst>
                      <a:gd name="connsiteX0" fmla="*/ 0 w 418"/>
                      <a:gd name="connsiteY0" fmla="*/ 119 h 119"/>
                      <a:gd name="connsiteX1" fmla="*/ 419 w 418"/>
                      <a:gd name="connsiteY1" fmla="*/ 0 h 119"/>
                    </a:gdLst>
                    <a:ahLst/>
                    <a:cxnLst>
                      <a:cxn ang="0">
                        <a:pos x="connsiteX0" y="connsiteY0"/>
                      </a:cxn>
                      <a:cxn ang="0">
                        <a:pos x="connsiteX1" y="connsiteY1"/>
                      </a:cxn>
                    </a:cxnLst>
                    <a:rect l="l" t="t" r="r" b="b"/>
                    <a:pathLst>
                      <a:path w="418" h="119">
                        <a:moveTo>
                          <a:pt x="0" y="119"/>
                        </a:moveTo>
                        <a:lnTo>
                          <a:pt x="419" y="0"/>
                        </a:lnTo>
                      </a:path>
                    </a:pathLst>
                  </a:custGeom>
                  <a:noFill/>
                  <a:ln w="6350" cap="flat">
                    <a:solidFill>
                      <a:schemeClr val="bg1">
                        <a:alpha val="40000"/>
                      </a:schemeClr>
                    </a:solidFill>
                    <a:prstDash val="solid"/>
                    <a:miter/>
                  </a:ln>
                </p:spPr>
                <p:txBody>
                  <a:bodyPr rtlCol="0" anchor="ctr"/>
                  <a:lstStyle/>
                  <a:p>
                    <a:endParaRPr lang="en-GB"/>
                  </a:p>
                </p:txBody>
              </p:sp>
              <p:sp>
                <p:nvSpPr>
                  <p:cNvPr id="8062" name="Vrije vorm: vorm 8061">
                    <a:extLst>
                      <a:ext uri="{FF2B5EF4-FFF2-40B4-BE49-F238E27FC236}">
                        <a16:creationId xmlns:a16="http://schemas.microsoft.com/office/drawing/2014/main" id="{0462E1E9-2733-4F92-BCC5-5806F435F4A7}"/>
                      </a:ext>
                    </a:extLst>
                  </p:cNvPr>
                  <p:cNvSpPr/>
                  <p:nvPr/>
                </p:nvSpPr>
                <p:spPr>
                  <a:xfrm>
                    <a:off x="5858675" y="523323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40000"/>
                      </a:schemeClr>
                    </a:solidFill>
                    <a:prstDash val="solid"/>
                    <a:miter/>
                  </a:ln>
                </p:spPr>
                <p:txBody>
                  <a:bodyPr rtlCol="0" anchor="ctr"/>
                  <a:lstStyle/>
                  <a:p>
                    <a:endParaRPr lang="en-GB"/>
                  </a:p>
                </p:txBody>
              </p:sp>
              <p:sp>
                <p:nvSpPr>
                  <p:cNvPr id="8063" name="Vrije vorm: vorm 8062">
                    <a:extLst>
                      <a:ext uri="{FF2B5EF4-FFF2-40B4-BE49-F238E27FC236}">
                        <a16:creationId xmlns:a16="http://schemas.microsoft.com/office/drawing/2014/main" id="{D14BF764-AFD5-4A83-A790-F4A66A7A911B}"/>
                      </a:ext>
                    </a:extLst>
                  </p:cNvPr>
                  <p:cNvSpPr/>
                  <p:nvPr/>
                </p:nvSpPr>
                <p:spPr>
                  <a:xfrm>
                    <a:off x="5816212" y="5280180"/>
                    <a:ext cx="3169" cy="36542"/>
                  </a:xfrm>
                  <a:custGeom>
                    <a:avLst/>
                    <a:gdLst>
                      <a:gd name="connsiteX0" fmla="*/ 0 w 3169"/>
                      <a:gd name="connsiteY0" fmla="*/ 0 h 36542"/>
                      <a:gd name="connsiteX1" fmla="*/ 299 w 3169"/>
                      <a:gd name="connsiteY1" fmla="*/ 3469 h 36542"/>
                      <a:gd name="connsiteX2" fmla="*/ 598 w 3169"/>
                      <a:gd name="connsiteY2" fmla="*/ 6938 h 36542"/>
                      <a:gd name="connsiteX3" fmla="*/ 897 w 3169"/>
                      <a:gd name="connsiteY3" fmla="*/ 10407 h 36542"/>
                      <a:gd name="connsiteX4" fmla="*/ 1196 w 3169"/>
                      <a:gd name="connsiteY4" fmla="*/ 13875 h 36542"/>
                      <a:gd name="connsiteX5" fmla="*/ 1495 w 3169"/>
                      <a:gd name="connsiteY5" fmla="*/ 17344 h 36542"/>
                      <a:gd name="connsiteX6" fmla="*/ 1795 w 3169"/>
                      <a:gd name="connsiteY6" fmla="*/ 20813 h 36542"/>
                      <a:gd name="connsiteX7" fmla="*/ 2093 w 3169"/>
                      <a:gd name="connsiteY7" fmla="*/ 24282 h 36542"/>
                      <a:gd name="connsiteX8" fmla="*/ 2392 w 3169"/>
                      <a:gd name="connsiteY8" fmla="*/ 27751 h 36542"/>
                      <a:gd name="connsiteX9" fmla="*/ 2691 w 3169"/>
                      <a:gd name="connsiteY9" fmla="*/ 31220 h 36542"/>
                      <a:gd name="connsiteX10" fmla="*/ 2990 w 3169"/>
                      <a:gd name="connsiteY10" fmla="*/ 34688 h 36542"/>
                      <a:gd name="connsiteX11" fmla="*/ 3170 w 3169"/>
                      <a:gd name="connsiteY11" fmla="*/ 36542 h 3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9" h="36542">
                        <a:moveTo>
                          <a:pt x="0" y="0"/>
                        </a:moveTo>
                        <a:lnTo>
                          <a:pt x="299" y="3469"/>
                        </a:lnTo>
                        <a:lnTo>
                          <a:pt x="598" y="6938"/>
                        </a:lnTo>
                        <a:lnTo>
                          <a:pt x="897" y="10407"/>
                        </a:lnTo>
                        <a:lnTo>
                          <a:pt x="1196" y="13875"/>
                        </a:lnTo>
                        <a:lnTo>
                          <a:pt x="1495" y="17344"/>
                        </a:lnTo>
                        <a:lnTo>
                          <a:pt x="1795" y="20813"/>
                        </a:lnTo>
                        <a:lnTo>
                          <a:pt x="2093" y="24282"/>
                        </a:lnTo>
                        <a:lnTo>
                          <a:pt x="2392" y="27751"/>
                        </a:lnTo>
                        <a:lnTo>
                          <a:pt x="2691" y="31220"/>
                        </a:lnTo>
                        <a:lnTo>
                          <a:pt x="2990" y="34688"/>
                        </a:lnTo>
                        <a:lnTo>
                          <a:pt x="3170" y="36542"/>
                        </a:lnTo>
                      </a:path>
                    </a:pathLst>
                  </a:custGeom>
                  <a:noFill/>
                  <a:ln w="6350" cap="flat">
                    <a:solidFill>
                      <a:schemeClr val="bg1">
                        <a:alpha val="40000"/>
                      </a:schemeClr>
                    </a:solidFill>
                    <a:prstDash val="solid"/>
                    <a:miter/>
                  </a:ln>
                </p:spPr>
                <p:txBody>
                  <a:bodyPr rtlCol="0" anchor="ctr"/>
                  <a:lstStyle/>
                  <a:p>
                    <a:endParaRPr lang="en-GB"/>
                  </a:p>
                </p:txBody>
              </p:sp>
              <p:sp>
                <p:nvSpPr>
                  <p:cNvPr id="8064" name="Vrije vorm: vorm 8063">
                    <a:extLst>
                      <a:ext uri="{FF2B5EF4-FFF2-40B4-BE49-F238E27FC236}">
                        <a16:creationId xmlns:a16="http://schemas.microsoft.com/office/drawing/2014/main" id="{ACAF1090-7347-4532-B074-F901A0A2AFF1}"/>
                      </a:ext>
                    </a:extLst>
                  </p:cNvPr>
                  <p:cNvSpPr/>
                  <p:nvPr/>
                </p:nvSpPr>
                <p:spPr>
                  <a:xfrm>
                    <a:off x="5812982" y="5243398"/>
                    <a:ext cx="3110" cy="35704"/>
                  </a:xfrm>
                  <a:custGeom>
                    <a:avLst/>
                    <a:gdLst>
                      <a:gd name="connsiteX0" fmla="*/ 0 w 3110"/>
                      <a:gd name="connsiteY0" fmla="*/ 0 h 35704"/>
                      <a:gd name="connsiteX1" fmla="*/ 180 w 3110"/>
                      <a:gd name="connsiteY1" fmla="*/ 1854 h 35704"/>
                      <a:gd name="connsiteX2" fmla="*/ 479 w 3110"/>
                      <a:gd name="connsiteY2" fmla="*/ 5323 h 35704"/>
                      <a:gd name="connsiteX3" fmla="*/ 778 w 3110"/>
                      <a:gd name="connsiteY3" fmla="*/ 8791 h 35704"/>
                      <a:gd name="connsiteX4" fmla="*/ 1076 w 3110"/>
                      <a:gd name="connsiteY4" fmla="*/ 12260 h 35704"/>
                      <a:gd name="connsiteX5" fmla="*/ 1375 w 3110"/>
                      <a:gd name="connsiteY5" fmla="*/ 15729 h 35704"/>
                      <a:gd name="connsiteX6" fmla="*/ 1675 w 3110"/>
                      <a:gd name="connsiteY6" fmla="*/ 19198 h 35704"/>
                      <a:gd name="connsiteX7" fmla="*/ 1974 w 3110"/>
                      <a:gd name="connsiteY7" fmla="*/ 22667 h 35704"/>
                      <a:gd name="connsiteX8" fmla="*/ 2273 w 3110"/>
                      <a:gd name="connsiteY8" fmla="*/ 26136 h 35704"/>
                      <a:gd name="connsiteX9" fmla="*/ 2333 w 3110"/>
                      <a:gd name="connsiteY9" fmla="*/ 26614 h 35704"/>
                      <a:gd name="connsiteX10" fmla="*/ 2572 w 3110"/>
                      <a:gd name="connsiteY10" fmla="*/ 29665 h 35704"/>
                      <a:gd name="connsiteX11" fmla="*/ 2871 w 3110"/>
                      <a:gd name="connsiteY11" fmla="*/ 33133 h 35704"/>
                      <a:gd name="connsiteX12" fmla="*/ 3110 w 3110"/>
                      <a:gd name="connsiteY12" fmla="*/ 35705 h 35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10" h="35704">
                        <a:moveTo>
                          <a:pt x="0" y="0"/>
                        </a:moveTo>
                        <a:lnTo>
                          <a:pt x="180" y="1854"/>
                        </a:lnTo>
                        <a:lnTo>
                          <a:pt x="479" y="5323"/>
                        </a:lnTo>
                        <a:lnTo>
                          <a:pt x="778" y="8791"/>
                        </a:lnTo>
                        <a:lnTo>
                          <a:pt x="1076" y="12260"/>
                        </a:lnTo>
                        <a:lnTo>
                          <a:pt x="1375" y="15729"/>
                        </a:lnTo>
                        <a:lnTo>
                          <a:pt x="1675" y="19198"/>
                        </a:lnTo>
                        <a:lnTo>
                          <a:pt x="1974" y="22667"/>
                        </a:lnTo>
                        <a:lnTo>
                          <a:pt x="2273" y="26136"/>
                        </a:lnTo>
                        <a:lnTo>
                          <a:pt x="2333" y="26614"/>
                        </a:lnTo>
                        <a:lnTo>
                          <a:pt x="2572" y="29665"/>
                        </a:lnTo>
                        <a:lnTo>
                          <a:pt x="2871" y="33133"/>
                        </a:lnTo>
                        <a:lnTo>
                          <a:pt x="3110" y="35705"/>
                        </a:lnTo>
                      </a:path>
                    </a:pathLst>
                  </a:custGeom>
                  <a:noFill/>
                  <a:ln w="6350" cap="flat">
                    <a:solidFill>
                      <a:schemeClr val="bg1">
                        <a:alpha val="40000"/>
                      </a:schemeClr>
                    </a:solidFill>
                    <a:prstDash val="solid"/>
                    <a:miter/>
                  </a:ln>
                </p:spPr>
                <p:txBody>
                  <a:bodyPr rtlCol="0" anchor="ctr"/>
                  <a:lstStyle/>
                  <a:p>
                    <a:endParaRPr lang="en-GB"/>
                  </a:p>
                </p:txBody>
              </p:sp>
            </p:grpSp>
            <p:grpSp>
              <p:nvGrpSpPr>
                <p:cNvPr id="7583" name="Graphic 3">
                  <a:extLst>
                    <a:ext uri="{FF2B5EF4-FFF2-40B4-BE49-F238E27FC236}">
                      <a16:creationId xmlns:a16="http://schemas.microsoft.com/office/drawing/2014/main" id="{8FFF6279-8324-4054-8046-8D586FBFEAAC}"/>
                    </a:ext>
                  </a:extLst>
                </p:cNvPr>
                <p:cNvGrpSpPr/>
                <p:nvPr/>
              </p:nvGrpSpPr>
              <p:grpSpPr>
                <a:xfrm>
                  <a:off x="5655510" y="5460738"/>
                  <a:ext cx="104303" cy="61035"/>
                  <a:chOff x="5655510" y="5460738"/>
                  <a:chExt cx="104303" cy="61035"/>
                </a:xfrm>
                <a:noFill/>
              </p:grpSpPr>
              <p:sp>
                <p:nvSpPr>
                  <p:cNvPr id="7584" name="Vrije vorm: vorm 7583">
                    <a:extLst>
                      <a:ext uri="{FF2B5EF4-FFF2-40B4-BE49-F238E27FC236}">
                        <a16:creationId xmlns:a16="http://schemas.microsoft.com/office/drawing/2014/main" id="{EA962664-CBC9-4854-8FE4-1119642D5154}"/>
                      </a:ext>
                    </a:extLst>
                  </p:cNvPr>
                  <p:cNvSpPr/>
                  <p:nvPr/>
                </p:nvSpPr>
                <p:spPr>
                  <a:xfrm>
                    <a:off x="5702339" y="5460738"/>
                    <a:ext cx="31996" cy="11782"/>
                  </a:xfrm>
                  <a:custGeom>
                    <a:avLst/>
                    <a:gdLst>
                      <a:gd name="connsiteX0" fmla="*/ 31997 w 31996"/>
                      <a:gd name="connsiteY0" fmla="*/ 7954 h 11782"/>
                      <a:gd name="connsiteX1" fmla="*/ 12619 w 31996"/>
                      <a:gd name="connsiteY1" fmla="*/ 10646 h 11782"/>
                      <a:gd name="connsiteX2" fmla="*/ 0 w 31996"/>
                      <a:gd name="connsiteY2" fmla="*/ 0 h 11782"/>
                    </a:gdLst>
                    <a:ahLst/>
                    <a:cxnLst>
                      <a:cxn ang="0">
                        <a:pos x="connsiteX0" y="connsiteY0"/>
                      </a:cxn>
                      <a:cxn ang="0">
                        <a:pos x="connsiteX1" y="connsiteY1"/>
                      </a:cxn>
                      <a:cxn ang="0">
                        <a:pos x="connsiteX2" y="connsiteY2"/>
                      </a:cxn>
                    </a:cxnLst>
                    <a:rect l="l" t="t" r="r" b="b"/>
                    <a:pathLst>
                      <a:path w="31996" h="11782">
                        <a:moveTo>
                          <a:pt x="31997" y="7954"/>
                        </a:moveTo>
                        <a:cubicBezTo>
                          <a:pt x="26495" y="11662"/>
                          <a:pt x="19437" y="12919"/>
                          <a:pt x="12619" y="10646"/>
                        </a:cubicBezTo>
                        <a:cubicBezTo>
                          <a:pt x="6937" y="8792"/>
                          <a:pt x="2572" y="4844"/>
                          <a:pt x="0" y="0"/>
                        </a:cubicBezTo>
                      </a:path>
                    </a:pathLst>
                  </a:custGeom>
                  <a:noFill/>
                  <a:ln w="6350" cap="flat">
                    <a:solidFill>
                      <a:schemeClr val="bg1">
                        <a:alpha val="40000"/>
                      </a:schemeClr>
                    </a:solidFill>
                    <a:prstDash val="solid"/>
                    <a:miter/>
                  </a:ln>
                </p:spPr>
                <p:txBody>
                  <a:bodyPr rtlCol="0" anchor="ctr"/>
                  <a:lstStyle/>
                  <a:p>
                    <a:endParaRPr lang="en-GB"/>
                  </a:p>
                </p:txBody>
              </p:sp>
              <p:sp>
                <p:nvSpPr>
                  <p:cNvPr id="7585" name="Vrije vorm: vorm 7584">
                    <a:extLst>
                      <a:ext uri="{FF2B5EF4-FFF2-40B4-BE49-F238E27FC236}">
                        <a16:creationId xmlns:a16="http://schemas.microsoft.com/office/drawing/2014/main" id="{C542C1CF-DD00-42AF-BC1E-A73EA577BA44}"/>
                      </a:ext>
                    </a:extLst>
                  </p:cNvPr>
                  <p:cNvSpPr/>
                  <p:nvPr/>
                </p:nvSpPr>
                <p:spPr>
                  <a:xfrm>
                    <a:off x="5681586" y="5470785"/>
                    <a:ext cx="64053" cy="23555"/>
                  </a:xfrm>
                  <a:custGeom>
                    <a:avLst/>
                    <a:gdLst>
                      <a:gd name="connsiteX0" fmla="*/ 64053 w 64053"/>
                      <a:gd name="connsiteY0" fmla="*/ 15909 h 23555"/>
                      <a:gd name="connsiteX1" fmla="*/ 25298 w 64053"/>
                      <a:gd name="connsiteY1" fmla="*/ 21351 h 23555"/>
                      <a:gd name="connsiteX2" fmla="*/ 0 w 64053"/>
                      <a:gd name="connsiteY2" fmla="*/ 0 h 23555"/>
                    </a:gdLst>
                    <a:ahLst/>
                    <a:cxnLst>
                      <a:cxn ang="0">
                        <a:pos x="connsiteX0" y="connsiteY0"/>
                      </a:cxn>
                      <a:cxn ang="0">
                        <a:pos x="connsiteX1" y="connsiteY1"/>
                      </a:cxn>
                      <a:cxn ang="0">
                        <a:pos x="connsiteX2" y="connsiteY2"/>
                      </a:cxn>
                    </a:cxnLst>
                    <a:rect l="l" t="t" r="r" b="b"/>
                    <a:pathLst>
                      <a:path w="64053" h="23555">
                        <a:moveTo>
                          <a:pt x="64053" y="15909"/>
                        </a:moveTo>
                        <a:cubicBezTo>
                          <a:pt x="53049" y="23325"/>
                          <a:pt x="38875" y="25777"/>
                          <a:pt x="25298" y="21351"/>
                        </a:cubicBezTo>
                        <a:cubicBezTo>
                          <a:pt x="13995" y="17643"/>
                          <a:pt x="5203" y="9748"/>
                          <a:pt x="0" y="0"/>
                        </a:cubicBezTo>
                      </a:path>
                    </a:pathLst>
                  </a:custGeom>
                  <a:noFill/>
                  <a:ln w="6350" cap="flat">
                    <a:solidFill>
                      <a:schemeClr val="bg1">
                        <a:alpha val="40000"/>
                      </a:schemeClr>
                    </a:solidFill>
                    <a:prstDash val="solid"/>
                    <a:miter/>
                  </a:ln>
                </p:spPr>
                <p:txBody>
                  <a:bodyPr rtlCol="0" anchor="ctr"/>
                  <a:lstStyle/>
                  <a:p>
                    <a:endParaRPr lang="en-GB"/>
                  </a:p>
                </p:txBody>
              </p:sp>
              <p:sp>
                <p:nvSpPr>
                  <p:cNvPr id="7586" name="Vrije vorm: vorm 7585">
                    <a:extLst>
                      <a:ext uri="{FF2B5EF4-FFF2-40B4-BE49-F238E27FC236}">
                        <a16:creationId xmlns:a16="http://schemas.microsoft.com/office/drawing/2014/main" id="{D9C507F2-B80C-4A57-A318-0D4B65F4EFDF}"/>
                      </a:ext>
                    </a:extLst>
                  </p:cNvPr>
                  <p:cNvSpPr/>
                  <p:nvPr/>
                </p:nvSpPr>
                <p:spPr>
                  <a:xfrm>
                    <a:off x="5655510" y="5483405"/>
                    <a:ext cx="104303" cy="38368"/>
                  </a:xfrm>
                  <a:custGeom>
                    <a:avLst/>
                    <a:gdLst>
                      <a:gd name="connsiteX0" fmla="*/ 104304 w 104303"/>
                      <a:gd name="connsiteY0" fmla="*/ 25897 h 38368"/>
                      <a:gd name="connsiteX1" fmla="*/ 41207 w 104303"/>
                      <a:gd name="connsiteY1" fmla="*/ 34748 h 38368"/>
                      <a:gd name="connsiteX2" fmla="*/ 0 w 104303"/>
                      <a:gd name="connsiteY2" fmla="*/ 0 h 38368"/>
                    </a:gdLst>
                    <a:ahLst/>
                    <a:cxnLst>
                      <a:cxn ang="0">
                        <a:pos x="connsiteX0" y="connsiteY0"/>
                      </a:cxn>
                      <a:cxn ang="0">
                        <a:pos x="connsiteX1" y="connsiteY1"/>
                      </a:cxn>
                      <a:cxn ang="0">
                        <a:pos x="connsiteX2" y="connsiteY2"/>
                      </a:cxn>
                    </a:cxnLst>
                    <a:rect l="l" t="t" r="r" b="b"/>
                    <a:pathLst>
                      <a:path w="104303" h="38368">
                        <a:moveTo>
                          <a:pt x="104304" y="25897"/>
                        </a:moveTo>
                        <a:cubicBezTo>
                          <a:pt x="86422" y="38037"/>
                          <a:pt x="63276" y="41984"/>
                          <a:pt x="41207" y="34748"/>
                        </a:cubicBezTo>
                        <a:cubicBezTo>
                          <a:pt x="22727" y="28648"/>
                          <a:pt x="8433" y="15909"/>
                          <a:pt x="0" y="0"/>
                        </a:cubicBezTo>
                      </a:path>
                    </a:pathLst>
                  </a:custGeom>
                  <a:noFill/>
                  <a:ln w="6350" cap="flat">
                    <a:solidFill>
                      <a:schemeClr val="bg1">
                        <a:alpha val="40000"/>
                      </a:schemeClr>
                    </a:solidFill>
                    <a:prstDash val="solid"/>
                    <a:miter/>
                  </a:ln>
                </p:spPr>
                <p:txBody>
                  <a:bodyPr rtlCol="0" anchor="ctr"/>
                  <a:lstStyle/>
                  <a:p>
                    <a:endParaRPr lang="en-GB"/>
                  </a:p>
                </p:txBody>
              </p:sp>
            </p:grpSp>
          </p:grpSp>
          <p:grpSp>
            <p:nvGrpSpPr>
              <p:cNvPr id="7349" name="Graphic 3">
                <a:extLst>
                  <a:ext uri="{FF2B5EF4-FFF2-40B4-BE49-F238E27FC236}">
                    <a16:creationId xmlns:a16="http://schemas.microsoft.com/office/drawing/2014/main" id="{46AC1516-FDB1-4C3D-8FD8-F0761027D7F2}"/>
                  </a:ext>
                </a:extLst>
              </p:cNvPr>
              <p:cNvGrpSpPr/>
              <p:nvPr/>
            </p:nvGrpSpPr>
            <p:grpSpPr>
              <a:xfrm>
                <a:off x="4645844" y="4613971"/>
                <a:ext cx="1016719" cy="1018174"/>
                <a:chOff x="4645844" y="4613971"/>
                <a:chExt cx="1016719" cy="1018174"/>
              </a:xfrm>
              <a:noFill/>
            </p:grpSpPr>
            <p:sp>
              <p:nvSpPr>
                <p:cNvPr id="7350" name="Vrije vorm: vorm 7349">
                  <a:extLst>
                    <a:ext uri="{FF2B5EF4-FFF2-40B4-BE49-F238E27FC236}">
                      <a16:creationId xmlns:a16="http://schemas.microsoft.com/office/drawing/2014/main" id="{59A6ACCD-DFA5-4AEF-A4DA-72761E552E8B}"/>
                    </a:ext>
                  </a:extLst>
                </p:cNvPr>
                <p:cNvSpPr/>
                <p:nvPr/>
              </p:nvSpPr>
              <p:spPr>
                <a:xfrm>
                  <a:off x="5134060" y="4761465"/>
                  <a:ext cx="175555" cy="154057"/>
                </a:xfrm>
                <a:custGeom>
                  <a:avLst/>
                  <a:gdLst>
                    <a:gd name="connsiteX0" fmla="*/ 104006 w 175555"/>
                    <a:gd name="connsiteY0" fmla="*/ 56465 h 154057"/>
                    <a:gd name="connsiteX1" fmla="*/ 159328 w 175555"/>
                    <a:gd name="connsiteY1" fmla="*/ 133494 h 154057"/>
                    <a:gd name="connsiteX2" fmla="*/ 71550 w 175555"/>
                    <a:gd name="connsiteY2" fmla="*/ 97592 h 154057"/>
                    <a:gd name="connsiteX3" fmla="*/ 16228 w 175555"/>
                    <a:gd name="connsiteY3" fmla="*/ 20564 h 154057"/>
                    <a:gd name="connsiteX4" fmla="*/ 104006 w 175555"/>
                    <a:gd name="connsiteY4" fmla="*/ 56465 h 154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555" h="154057">
                      <a:moveTo>
                        <a:pt x="104006" y="56465"/>
                      </a:moveTo>
                      <a:cubicBezTo>
                        <a:pt x="143522" y="87650"/>
                        <a:pt x="168290" y="122137"/>
                        <a:pt x="159328" y="133494"/>
                      </a:cubicBezTo>
                      <a:cubicBezTo>
                        <a:pt x="150365" y="144851"/>
                        <a:pt x="111066" y="128777"/>
                        <a:pt x="71550" y="97592"/>
                      </a:cubicBezTo>
                      <a:cubicBezTo>
                        <a:pt x="32034" y="66407"/>
                        <a:pt x="7266" y="31920"/>
                        <a:pt x="16228" y="20564"/>
                      </a:cubicBezTo>
                      <a:cubicBezTo>
                        <a:pt x="25191" y="9207"/>
                        <a:pt x="64491" y="25280"/>
                        <a:pt x="104006" y="56465"/>
                      </a:cubicBezTo>
                      <a:close/>
                    </a:path>
                  </a:pathLst>
                </a:custGeom>
                <a:noFill/>
                <a:ln w="6350" cap="flat">
                  <a:solidFill>
                    <a:schemeClr val="bg1">
                      <a:alpha val="40000"/>
                    </a:schemeClr>
                  </a:solidFill>
                  <a:prstDash val="solid"/>
                  <a:miter/>
                </a:ln>
              </p:spPr>
              <p:txBody>
                <a:bodyPr rtlCol="0" anchor="ctr"/>
                <a:lstStyle/>
                <a:p>
                  <a:endParaRPr lang="en-GB"/>
                </a:p>
              </p:txBody>
            </p:sp>
            <p:sp>
              <p:nvSpPr>
                <p:cNvPr id="7351" name="Vrije vorm: vorm 7350">
                  <a:extLst>
                    <a:ext uri="{FF2B5EF4-FFF2-40B4-BE49-F238E27FC236}">
                      <a16:creationId xmlns:a16="http://schemas.microsoft.com/office/drawing/2014/main" id="{67ED7532-619B-4671-BD8E-38EBB4B06A43}"/>
                    </a:ext>
                  </a:extLst>
                </p:cNvPr>
                <p:cNvSpPr/>
                <p:nvPr/>
              </p:nvSpPr>
              <p:spPr>
                <a:xfrm>
                  <a:off x="5354388" y="4993810"/>
                  <a:ext cx="113271" cy="99414"/>
                </a:xfrm>
                <a:custGeom>
                  <a:avLst/>
                  <a:gdLst>
                    <a:gd name="connsiteX0" fmla="*/ 67121 w 113271"/>
                    <a:gd name="connsiteY0" fmla="*/ 36421 h 99414"/>
                    <a:gd name="connsiteX1" fmla="*/ 102786 w 113271"/>
                    <a:gd name="connsiteY1" fmla="*/ 86128 h 99414"/>
                    <a:gd name="connsiteX2" fmla="*/ 46150 w 113271"/>
                    <a:gd name="connsiteY2" fmla="*/ 62994 h 99414"/>
                    <a:gd name="connsiteX3" fmla="*/ 10485 w 113271"/>
                    <a:gd name="connsiteY3" fmla="*/ 13287 h 99414"/>
                    <a:gd name="connsiteX4" fmla="*/ 67121 w 113271"/>
                    <a:gd name="connsiteY4" fmla="*/ 36421 h 99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71" h="99414">
                      <a:moveTo>
                        <a:pt x="67121" y="36421"/>
                      </a:moveTo>
                      <a:cubicBezTo>
                        <a:pt x="92609" y="56535"/>
                        <a:pt x="108577" y="78790"/>
                        <a:pt x="102786" y="86128"/>
                      </a:cubicBezTo>
                      <a:cubicBezTo>
                        <a:pt x="96995" y="93466"/>
                        <a:pt x="71639" y="83108"/>
                        <a:pt x="46150" y="62994"/>
                      </a:cubicBezTo>
                      <a:cubicBezTo>
                        <a:pt x="20662" y="42879"/>
                        <a:pt x="4694" y="20625"/>
                        <a:pt x="10485" y="13287"/>
                      </a:cubicBezTo>
                      <a:cubicBezTo>
                        <a:pt x="16276" y="5949"/>
                        <a:pt x="41633" y="16306"/>
                        <a:pt x="67121" y="36421"/>
                      </a:cubicBezTo>
                      <a:close/>
                    </a:path>
                  </a:pathLst>
                </a:custGeom>
                <a:noFill/>
                <a:ln w="6350" cap="flat">
                  <a:solidFill>
                    <a:schemeClr val="bg1">
                      <a:alpha val="40000"/>
                    </a:schemeClr>
                  </a:solidFill>
                  <a:prstDash val="solid"/>
                  <a:miter/>
                </a:ln>
              </p:spPr>
              <p:txBody>
                <a:bodyPr rtlCol="0" anchor="ctr"/>
                <a:lstStyle/>
                <a:p>
                  <a:endParaRPr lang="en-GB"/>
                </a:p>
              </p:txBody>
            </p:sp>
            <p:sp>
              <p:nvSpPr>
                <p:cNvPr id="7352" name="Vrije vorm: vorm 7351">
                  <a:extLst>
                    <a:ext uri="{FF2B5EF4-FFF2-40B4-BE49-F238E27FC236}">
                      <a16:creationId xmlns:a16="http://schemas.microsoft.com/office/drawing/2014/main" id="{7DBEC30D-C5DB-4CE5-A9D3-CEE28262ACC9}"/>
                    </a:ext>
                  </a:extLst>
                </p:cNvPr>
                <p:cNvSpPr/>
                <p:nvPr/>
              </p:nvSpPr>
              <p:spPr>
                <a:xfrm>
                  <a:off x="5470002" y="5130669"/>
                  <a:ext cx="88583" cy="77735"/>
                </a:xfrm>
                <a:custGeom>
                  <a:avLst/>
                  <a:gdLst>
                    <a:gd name="connsiteX0" fmla="*/ 52480 w 88583"/>
                    <a:gd name="connsiteY0" fmla="*/ 28492 h 77735"/>
                    <a:gd name="connsiteX1" fmla="*/ 80395 w 88583"/>
                    <a:gd name="connsiteY1" fmla="*/ 67360 h 77735"/>
                    <a:gd name="connsiteX2" fmla="*/ 36103 w 88583"/>
                    <a:gd name="connsiteY2" fmla="*/ 49243 h 77735"/>
                    <a:gd name="connsiteX3" fmla="*/ 8188 w 88583"/>
                    <a:gd name="connsiteY3" fmla="*/ 10376 h 77735"/>
                    <a:gd name="connsiteX4" fmla="*/ 52480 w 88583"/>
                    <a:gd name="connsiteY4" fmla="*/ 28492 h 77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3" h="77735">
                      <a:moveTo>
                        <a:pt x="52480" y="28492"/>
                      </a:moveTo>
                      <a:cubicBezTo>
                        <a:pt x="72419" y="44227"/>
                        <a:pt x="84918" y="61629"/>
                        <a:pt x="80395" y="67360"/>
                      </a:cubicBezTo>
                      <a:cubicBezTo>
                        <a:pt x="75873" y="73090"/>
                        <a:pt x="56043" y="64979"/>
                        <a:pt x="36103" y="49243"/>
                      </a:cubicBezTo>
                      <a:cubicBezTo>
                        <a:pt x="16164" y="33508"/>
                        <a:pt x="3666" y="16106"/>
                        <a:pt x="8188" y="10376"/>
                      </a:cubicBezTo>
                      <a:cubicBezTo>
                        <a:pt x="12710" y="4646"/>
                        <a:pt x="32540" y="12756"/>
                        <a:pt x="52480" y="28492"/>
                      </a:cubicBezTo>
                      <a:close/>
                    </a:path>
                  </a:pathLst>
                </a:custGeom>
                <a:noFill/>
                <a:ln w="6350" cap="flat">
                  <a:solidFill>
                    <a:schemeClr val="bg1">
                      <a:alpha val="40000"/>
                    </a:schemeClr>
                  </a:solidFill>
                  <a:prstDash val="solid"/>
                  <a:miter/>
                </a:ln>
              </p:spPr>
              <p:txBody>
                <a:bodyPr rtlCol="0" anchor="ctr"/>
                <a:lstStyle/>
                <a:p>
                  <a:endParaRPr lang="en-GB"/>
                </a:p>
              </p:txBody>
            </p:sp>
            <p:grpSp>
              <p:nvGrpSpPr>
                <p:cNvPr id="7353" name="Graphic 3">
                  <a:extLst>
                    <a:ext uri="{FF2B5EF4-FFF2-40B4-BE49-F238E27FC236}">
                      <a16:creationId xmlns:a16="http://schemas.microsoft.com/office/drawing/2014/main" id="{9B5F5A95-4993-4693-AE78-FF08E1ABCE6A}"/>
                    </a:ext>
                  </a:extLst>
                </p:cNvPr>
                <p:cNvGrpSpPr/>
                <p:nvPr/>
              </p:nvGrpSpPr>
              <p:grpSpPr>
                <a:xfrm>
                  <a:off x="4645844" y="4613971"/>
                  <a:ext cx="1016719" cy="1018174"/>
                  <a:chOff x="4645844" y="4613971"/>
                  <a:chExt cx="1016719" cy="1018174"/>
                </a:xfrm>
                <a:noFill/>
              </p:grpSpPr>
              <p:sp>
                <p:nvSpPr>
                  <p:cNvPr id="7354" name="Vrije vorm: vorm 7353">
                    <a:extLst>
                      <a:ext uri="{FF2B5EF4-FFF2-40B4-BE49-F238E27FC236}">
                        <a16:creationId xmlns:a16="http://schemas.microsoft.com/office/drawing/2014/main" id="{B1C0E9C7-3A93-464E-95C0-0CFABCFF85CE}"/>
                      </a:ext>
                    </a:extLst>
                  </p:cNvPr>
                  <p:cNvSpPr/>
                  <p:nvPr/>
                </p:nvSpPr>
                <p:spPr>
                  <a:xfrm>
                    <a:off x="4918625" y="4640242"/>
                    <a:ext cx="709014" cy="601002"/>
                  </a:xfrm>
                  <a:custGeom>
                    <a:avLst/>
                    <a:gdLst>
                      <a:gd name="connsiteX0" fmla="*/ 563324 w 709014"/>
                      <a:gd name="connsiteY0" fmla="*/ 550406 h 601002"/>
                      <a:gd name="connsiteX1" fmla="*/ 0 w 709014"/>
                      <a:gd name="connsiteY1" fmla="*/ 0 h 601002"/>
                      <a:gd name="connsiteX2" fmla="*/ 328999 w 709014"/>
                      <a:gd name="connsiteY2" fmla="*/ 96768 h 601002"/>
                      <a:gd name="connsiteX3" fmla="*/ 709015 w 709014"/>
                      <a:gd name="connsiteY3" fmla="*/ 601003 h 601002"/>
                    </a:gdLst>
                    <a:ahLst/>
                    <a:cxnLst>
                      <a:cxn ang="0">
                        <a:pos x="connsiteX0" y="connsiteY0"/>
                      </a:cxn>
                      <a:cxn ang="0">
                        <a:pos x="connsiteX1" y="connsiteY1"/>
                      </a:cxn>
                      <a:cxn ang="0">
                        <a:pos x="connsiteX2" y="connsiteY2"/>
                      </a:cxn>
                      <a:cxn ang="0">
                        <a:pos x="connsiteX3" y="connsiteY3"/>
                      </a:cxn>
                    </a:cxnLst>
                    <a:rect l="l" t="t" r="r" b="b"/>
                    <a:pathLst>
                      <a:path w="709014" h="601002">
                        <a:moveTo>
                          <a:pt x="563324" y="550406"/>
                        </a:moveTo>
                        <a:lnTo>
                          <a:pt x="0" y="0"/>
                        </a:lnTo>
                        <a:lnTo>
                          <a:pt x="328999" y="96768"/>
                        </a:lnTo>
                        <a:lnTo>
                          <a:pt x="709015" y="601003"/>
                        </a:lnTo>
                        <a:close/>
                      </a:path>
                    </a:pathLst>
                  </a:custGeom>
                  <a:noFill/>
                  <a:ln w="6350" cap="flat">
                    <a:solidFill>
                      <a:schemeClr val="bg1">
                        <a:alpha val="40000"/>
                      </a:schemeClr>
                    </a:solidFill>
                    <a:prstDash val="solid"/>
                    <a:miter/>
                  </a:ln>
                </p:spPr>
                <p:txBody>
                  <a:bodyPr rtlCol="0" anchor="ctr"/>
                  <a:lstStyle/>
                  <a:p>
                    <a:endParaRPr lang="en-GB"/>
                  </a:p>
                </p:txBody>
              </p:sp>
              <p:sp>
                <p:nvSpPr>
                  <p:cNvPr id="7355" name="Vrije vorm: vorm 7354">
                    <a:extLst>
                      <a:ext uri="{FF2B5EF4-FFF2-40B4-BE49-F238E27FC236}">
                        <a16:creationId xmlns:a16="http://schemas.microsoft.com/office/drawing/2014/main" id="{4379BB2D-82CD-43CA-8EA9-3DDEE9D23501}"/>
                      </a:ext>
                    </a:extLst>
                  </p:cNvPr>
                  <p:cNvSpPr/>
                  <p:nvPr/>
                </p:nvSpPr>
                <p:spPr>
                  <a:xfrm>
                    <a:off x="4954689" y="4618712"/>
                    <a:ext cx="328939" cy="96768"/>
                  </a:xfrm>
                  <a:custGeom>
                    <a:avLst/>
                    <a:gdLst>
                      <a:gd name="connsiteX0" fmla="*/ 0 w 328939"/>
                      <a:gd name="connsiteY0" fmla="*/ 0 h 96768"/>
                      <a:gd name="connsiteX1" fmla="*/ 328940 w 328939"/>
                      <a:gd name="connsiteY1" fmla="*/ 96768 h 96768"/>
                    </a:gdLst>
                    <a:ahLst/>
                    <a:cxnLst>
                      <a:cxn ang="0">
                        <a:pos x="connsiteX0" y="connsiteY0"/>
                      </a:cxn>
                      <a:cxn ang="0">
                        <a:pos x="connsiteX1" y="connsiteY1"/>
                      </a:cxn>
                    </a:cxnLst>
                    <a:rect l="l" t="t" r="r" b="b"/>
                    <a:pathLst>
                      <a:path w="328939" h="96768">
                        <a:moveTo>
                          <a:pt x="0" y="0"/>
                        </a:moveTo>
                        <a:lnTo>
                          <a:pt x="328940" y="96768"/>
                        </a:lnTo>
                      </a:path>
                    </a:pathLst>
                  </a:custGeom>
                  <a:ln w="6350" cap="flat">
                    <a:solidFill>
                      <a:schemeClr val="bg1">
                        <a:alpha val="40000"/>
                      </a:schemeClr>
                    </a:solidFill>
                    <a:prstDash val="solid"/>
                    <a:miter/>
                  </a:ln>
                </p:spPr>
                <p:txBody>
                  <a:bodyPr rtlCol="0" anchor="ctr"/>
                  <a:lstStyle/>
                  <a:p>
                    <a:endParaRPr lang="en-GB"/>
                  </a:p>
                </p:txBody>
              </p:sp>
              <p:grpSp>
                <p:nvGrpSpPr>
                  <p:cNvPr id="7356" name="Graphic 3">
                    <a:extLst>
                      <a:ext uri="{FF2B5EF4-FFF2-40B4-BE49-F238E27FC236}">
                        <a16:creationId xmlns:a16="http://schemas.microsoft.com/office/drawing/2014/main" id="{9DAF029B-2212-4127-84C0-F47ACECBB69D}"/>
                      </a:ext>
                    </a:extLst>
                  </p:cNvPr>
                  <p:cNvGrpSpPr/>
                  <p:nvPr/>
                </p:nvGrpSpPr>
                <p:grpSpPr>
                  <a:xfrm>
                    <a:off x="4645844" y="4833420"/>
                    <a:ext cx="783594" cy="798725"/>
                    <a:chOff x="4645844" y="4833420"/>
                    <a:chExt cx="783594" cy="798725"/>
                  </a:xfrm>
                  <a:noFill/>
                </p:grpSpPr>
                <p:grpSp>
                  <p:nvGrpSpPr>
                    <p:cNvPr id="7366" name="Graphic 3">
                      <a:extLst>
                        <a:ext uri="{FF2B5EF4-FFF2-40B4-BE49-F238E27FC236}">
                          <a16:creationId xmlns:a16="http://schemas.microsoft.com/office/drawing/2014/main" id="{80CB3120-03F2-43C5-A6D4-B7B6D319D53C}"/>
                        </a:ext>
                      </a:extLst>
                    </p:cNvPr>
                    <p:cNvGrpSpPr/>
                    <p:nvPr/>
                  </p:nvGrpSpPr>
                  <p:grpSpPr>
                    <a:xfrm>
                      <a:off x="4658045" y="4833420"/>
                      <a:ext cx="771393" cy="798725"/>
                      <a:chOff x="4658045" y="4833420"/>
                      <a:chExt cx="771393" cy="798725"/>
                    </a:xfrm>
                    <a:noFill/>
                  </p:grpSpPr>
                  <p:sp>
                    <p:nvSpPr>
                      <p:cNvPr id="7369" name="Vrije vorm: vorm 7368">
                        <a:extLst>
                          <a:ext uri="{FF2B5EF4-FFF2-40B4-BE49-F238E27FC236}">
                            <a16:creationId xmlns:a16="http://schemas.microsoft.com/office/drawing/2014/main" id="{C581CD4D-3D5B-44D3-8A48-626FB95842AD}"/>
                          </a:ext>
                        </a:extLst>
                      </p:cNvPr>
                      <p:cNvSpPr/>
                      <p:nvPr/>
                    </p:nvSpPr>
                    <p:spPr>
                      <a:xfrm>
                        <a:off x="4658045" y="5187419"/>
                        <a:ext cx="706263" cy="444726"/>
                      </a:xfrm>
                      <a:custGeom>
                        <a:avLst/>
                        <a:gdLst>
                          <a:gd name="connsiteX0" fmla="*/ 705187 w 706263"/>
                          <a:gd name="connsiteY0" fmla="*/ 414643 h 444726"/>
                          <a:gd name="connsiteX1" fmla="*/ 682281 w 706263"/>
                          <a:gd name="connsiteY1" fmla="*/ 443710 h 444726"/>
                          <a:gd name="connsiteX2" fmla="*/ 1914 w 706263"/>
                          <a:gd name="connsiteY2" fmla="*/ 44377 h 444726"/>
                          <a:gd name="connsiteX3" fmla="*/ 35526 w 706263"/>
                          <a:gd name="connsiteY3" fmla="*/ 1734 h 444726"/>
                          <a:gd name="connsiteX4" fmla="*/ 705187 w 706263"/>
                          <a:gd name="connsiteY4" fmla="*/ 414643 h 444726"/>
                          <a:gd name="connsiteX5" fmla="*/ 0 w 706263"/>
                          <a:gd name="connsiteY5" fmla="*/ 44736 h 444726"/>
                          <a:gd name="connsiteX6" fmla="*/ 682221 w 706263"/>
                          <a:gd name="connsiteY6" fmla="*/ 444726 h 444726"/>
                          <a:gd name="connsiteX7" fmla="*/ 706263 w 706263"/>
                          <a:gd name="connsiteY7" fmla="*/ 414224 h 444726"/>
                          <a:gd name="connsiteX8" fmla="*/ 35286 w 706263"/>
                          <a:gd name="connsiteY8" fmla="*/ 0 h 444726"/>
                          <a:gd name="connsiteX9" fmla="*/ 0 w 706263"/>
                          <a:gd name="connsiteY9" fmla="*/ 44736 h 444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6263" h="444726">
                            <a:moveTo>
                              <a:pt x="705187" y="414643"/>
                            </a:moveTo>
                            <a:lnTo>
                              <a:pt x="682281" y="443710"/>
                            </a:lnTo>
                            <a:lnTo>
                              <a:pt x="1914" y="44377"/>
                            </a:lnTo>
                            <a:lnTo>
                              <a:pt x="35526" y="1734"/>
                            </a:lnTo>
                            <a:lnTo>
                              <a:pt x="705187" y="414643"/>
                            </a:lnTo>
                            <a:moveTo>
                              <a:pt x="0" y="44736"/>
                            </a:moveTo>
                            <a:lnTo>
                              <a:pt x="682221" y="444726"/>
                            </a:lnTo>
                            <a:lnTo>
                              <a:pt x="706263" y="414224"/>
                            </a:lnTo>
                            <a:lnTo>
                              <a:pt x="35286" y="0"/>
                            </a:lnTo>
                            <a:lnTo>
                              <a:pt x="0" y="44736"/>
                            </a:lnTo>
                          </a:path>
                        </a:pathLst>
                      </a:custGeom>
                      <a:noFill/>
                      <a:ln w="6350" cap="flat">
                        <a:solidFill>
                          <a:schemeClr val="bg1">
                            <a:alpha val="40000"/>
                          </a:schemeClr>
                        </a:solidFill>
                        <a:prstDash val="solid"/>
                        <a:miter/>
                      </a:ln>
                    </p:spPr>
                    <p:txBody>
                      <a:bodyPr rtlCol="0" anchor="ctr"/>
                      <a:lstStyle/>
                      <a:p>
                        <a:endParaRPr lang="en-GB"/>
                      </a:p>
                    </p:txBody>
                  </p:sp>
                  <p:sp>
                    <p:nvSpPr>
                      <p:cNvPr id="7370" name="Vrije vorm: vorm 7369">
                        <a:extLst>
                          <a:ext uri="{FF2B5EF4-FFF2-40B4-BE49-F238E27FC236}">
                            <a16:creationId xmlns:a16="http://schemas.microsoft.com/office/drawing/2014/main" id="{FED56FCB-EE45-4A2C-A663-BD77E00BBB45}"/>
                          </a:ext>
                        </a:extLst>
                      </p:cNvPr>
                      <p:cNvSpPr/>
                      <p:nvPr/>
                    </p:nvSpPr>
                    <p:spPr>
                      <a:xfrm>
                        <a:off x="5163236" y="4905906"/>
                        <a:ext cx="239" cy="239"/>
                      </a:xfrm>
                      <a:custGeom>
                        <a:avLst/>
                        <a:gdLst>
                          <a:gd name="connsiteX0" fmla="*/ 0 w 239"/>
                          <a:gd name="connsiteY0" fmla="*/ 239 h 239"/>
                          <a:gd name="connsiteX1" fmla="*/ 239 w 239"/>
                          <a:gd name="connsiteY1" fmla="*/ 0 h 239"/>
                          <a:gd name="connsiteX2" fmla="*/ 120 w 239"/>
                          <a:gd name="connsiteY2" fmla="*/ 60 h 239"/>
                          <a:gd name="connsiteX3" fmla="*/ 0 w 239"/>
                          <a:gd name="connsiteY3" fmla="*/ 239 h 239"/>
                        </a:gdLst>
                        <a:ahLst/>
                        <a:cxnLst>
                          <a:cxn ang="0">
                            <a:pos x="connsiteX0" y="connsiteY0"/>
                          </a:cxn>
                          <a:cxn ang="0">
                            <a:pos x="connsiteX1" y="connsiteY1"/>
                          </a:cxn>
                          <a:cxn ang="0">
                            <a:pos x="connsiteX2" y="connsiteY2"/>
                          </a:cxn>
                          <a:cxn ang="0">
                            <a:pos x="connsiteX3" y="connsiteY3"/>
                          </a:cxn>
                        </a:cxnLst>
                        <a:rect l="l" t="t" r="r" b="b"/>
                        <a:pathLst>
                          <a:path w="239" h="239">
                            <a:moveTo>
                              <a:pt x="0" y="239"/>
                            </a:moveTo>
                            <a:lnTo>
                              <a:pt x="239" y="0"/>
                            </a:lnTo>
                            <a:lnTo>
                              <a:pt x="120" y="60"/>
                            </a:lnTo>
                            <a:lnTo>
                              <a:pt x="0" y="239"/>
                            </a:lnTo>
                          </a:path>
                        </a:pathLst>
                      </a:custGeom>
                      <a:noFill/>
                      <a:ln w="6350" cap="flat">
                        <a:solidFill>
                          <a:schemeClr val="bg1">
                            <a:alpha val="40000"/>
                          </a:schemeClr>
                        </a:solidFill>
                        <a:prstDash val="solid"/>
                        <a:miter/>
                      </a:ln>
                    </p:spPr>
                    <p:txBody>
                      <a:bodyPr rtlCol="0" anchor="ctr"/>
                      <a:lstStyle/>
                      <a:p>
                        <a:endParaRPr lang="en-GB"/>
                      </a:p>
                    </p:txBody>
                  </p:sp>
                  <p:sp>
                    <p:nvSpPr>
                      <p:cNvPr id="7371" name="Vrije vorm: vorm 7370">
                        <a:extLst>
                          <a:ext uri="{FF2B5EF4-FFF2-40B4-BE49-F238E27FC236}">
                            <a16:creationId xmlns:a16="http://schemas.microsoft.com/office/drawing/2014/main" id="{586C4512-EB0B-48A1-988A-EBBC053D328E}"/>
                          </a:ext>
                        </a:extLst>
                      </p:cNvPr>
                      <p:cNvSpPr/>
                      <p:nvPr/>
                    </p:nvSpPr>
                    <p:spPr>
                      <a:xfrm>
                        <a:off x="5267002" y="5507806"/>
                        <a:ext cx="86361" cy="70093"/>
                      </a:xfrm>
                      <a:custGeom>
                        <a:avLst/>
                        <a:gdLst>
                          <a:gd name="connsiteX0" fmla="*/ 49042 w 86361"/>
                          <a:gd name="connsiteY0" fmla="*/ 16985 h 70093"/>
                          <a:gd name="connsiteX1" fmla="*/ 57774 w 86361"/>
                          <a:gd name="connsiteY1" fmla="*/ 22667 h 70093"/>
                          <a:gd name="connsiteX2" fmla="*/ 58372 w 86361"/>
                          <a:gd name="connsiteY2" fmla="*/ 21889 h 70093"/>
                          <a:gd name="connsiteX3" fmla="*/ 49640 w 86361"/>
                          <a:gd name="connsiteY3" fmla="*/ 16208 h 70093"/>
                          <a:gd name="connsiteX4" fmla="*/ 49042 w 86361"/>
                          <a:gd name="connsiteY4" fmla="*/ 16985 h 70093"/>
                          <a:gd name="connsiteX5" fmla="*/ 79962 w 86361"/>
                          <a:gd name="connsiteY5" fmla="*/ 47188 h 70093"/>
                          <a:gd name="connsiteX6" fmla="*/ 80201 w 86361"/>
                          <a:gd name="connsiteY6" fmla="*/ 47307 h 70093"/>
                          <a:gd name="connsiteX7" fmla="*/ 84627 w 86361"/>
                          <a:gd name="connsiteY7" fmla="*/ 41685 h 70093"/>
                          <a:gd name="connsiteX8" fmla="*/ 84926 w 86361"/>
                          <a:gd name="connsiteY8" fmla="*/ 41865 h 70093"/>
                          <a:gd name="connsiteX9" fmla="*/ 86362 w 86361"/>
                          <a:gd name="connsiteY9" fmla="*/ 40071 h 70093"/>
                          <a:gd name="connsiteX10" fmla="*/ 58970 w 86361"/>
                          <a:gd name="connsiteY10" fmla="*/ 22248 h 70093"/>
                          <a:gd name="connsiteX11" fmla="*/ 58372 w 86361"/>
                          <a:gd name="connsiteY11" fmla="*/ 23026 h 70093"/>
                          <a:gd name="connsiteX12" fmla="*/ 85285 w 86361"/>
                          <a:gd name="connsiteY12" fmla="*/ 40489 h 70093"/>
                          <a:gd name="connsiteX13" fmla="*/ 79962 w 86361"/>
                          <a:gd name="connsiteY13" fmla="*/ 47188 h 70093"/>
                          <a:gd name="connsiteX14" fmla="*/ 18600 w 86361"/>
                          <a:gd name="connsiteY14" fmla="*/ 7775 h 70093"/>
                          <a:gd name="connsiteX15" fmla="*/ 19138 w 86361"/>
                          <a:gd name="connsiteY15" fmla="*/ 8134 h 70093"/>
                          <a:gd name="connsiteX16" fmla="*/ 24641 w 86361"/>
                          <a:gd name="connsiteY16" fmla="*/ 1136 h 70093"/>
                          <a:gd name="connsiteX17" fmla="*/ 48504 w 86361"/>
                          <a:gd name="connsiteY17" fmla="*/ 16626 h 70093"/>
                          <a:gd name="connsiteX18" fmla="*/ 49101 w 86361"/>
                          <a:gd name="connsiteY18" fmla="*/ 15849 h 70093"/>
                          <a:gd name="connsiteX19" fmla="*/ 24700 w 86361"/>
                          <a:gd name="connsiteY19" fmla="*/ 0 h 70093"/>
                          <a:gd name="connsiteX20" fmla="*/ 18600 w 86361"/>
                          <a:gd name="connsiteY20" fmla="*/ 7775 h 70093"/>
                          <a:gd name="connsiteX21" fmla="*/ 78407 w 86361"/>
                          <a:gd name="connsiteY21" fmla="*/ 49101 h 70093"/>
                          <a:gd name="connsiteX22" fmla="*/ 78646 w 86361"/>
                          <a:gd name="connsiteY22" fmla="*/ 49221 h 70093"/>
                          <a:gd name="connsiteX23" fmla="*/ 79603 w 86361"/>
                          <a:gd name="connsiteY23" fmla="*/ 48025 h 70093"/>
                          <a:gd name="connsiteX24" fmla="*/ 79364 w 86361"/>
                          <a:gd name="connsiteY24" fmla="*/ 47905 h 70093"/>
                          <a:gd name="connsiteX25" fmla="*/ 78407 w 86361"/>
                          <a:gd name="connsiteY25" fmla="*/ 49101 h 70093"/>
                          <a:gd name="connsiteX26" fmla="*/ 66087 w 86361"/>
                          <a:gd name="connsiteY26" fmla="*/ 64951 h 70093"/>
                          <a:gd name="connsiteX27" fmla="*/ 66506 w 86361"/>
                          <a:gd name="connsiteY27" fmla="*/ 65190 h 70093"/>
                          <a:gd name="connsiteX28" fmla="*/ 76433 w 86361"/>
                          <a:gd name="connsiteY28" fmla="*/ 52630 h 70093"/>
                          <a:gd name="connsiteX29" fmla="*/ 76134 w 86361"/>
                          <a:gd name="connsiteY29" fmla="*/ 52451 h 70093"/>
                          <a:gd name="connsiteX30" fmla="*/ 78048 w 86361"/>
                          <a:gd name="connsiteY30" fmla="*/ 49999 h 70093"/>
                          <a:gd name="connsiteX31" fmla="*/ 77988 w 86361"/>
                          <a:gd name="connsiteY31" fmla="*/ 49939 h 70093"/>
                          <a:gd name="connsiteX32" fmla="*/ 66087 w 86361"/>
                          <a:gd name="connsiteY32" fmla="*/ 64951 h 70093"/>
                          <a:gd name="connsiteX33" fmla="*/ 0 w 86361"/>
                          <a:gd name="connsiteY33" fmla="*/ 31339 h 70093"/>
                          <a:gd name="connsiteX34" fmla="*/ 62618 w 86361"/>
                          <a:gd name="connsiteY34" fmla="*/ 70094 h 70093"/>
                          <a:gd name="connsiteX35" fmla="*/ 65907 w 86361"/>
                          <a:gd name="connsiteY35" fmla="*/ 65907 h 70093"/>
                          <a:gd name="connsiteX36" fmla="*/ 65369 w 86361"/>
                          <a:gd name="connsiteY36" fmla="*/ 65608 h 70093"/>
                          <a:gd name="connsiteX37" fmla="*/ 62618 w 86361"/>
                          <a:gd name="connsiteY37" fmla="*/ 69077 h 70093"/>
                          <a:gd name="connsiteX38" fmla="*/ 1136 w 86361"/>
                          <a:gd name="connsiteY38" fmla="*/ 30980 h 70093"/>
                          <a:gd name="connsiteX39" fmla="*/ 18540 w 86361"/>
                          <a:gd name="connsiteY39" fmla="*/ 8911 h 70093"/>
                          <a:gd name="connsiteX40" fmla="*/ 18002 w 86361"/>
                          <a:gd name="connsiteY40" fmla="*/ 8552 h 70093"/>
                          <a:gd name="connsiteX41" fmla="*/ 0 w 86361"/>
                          <a:gd name="connsiteY41" fmla="*/ 31339 h 7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6361" h="70093">
                            <a:moveTo>
                              <a:pt x="49042" y="16985"/>
                            </a:moveTo>
                            <a:lnTo>
                              <a:pt x="57774" y="22667"/>
                            </a:lnTo>
                            <a:lnTo>
                              <a:pt x="58372" y="21889"/>
                            </a:lnTo>
                            <a:lnTo>
                              <a:pt x="49640" y="16208"/>
                            </a:lnTo>
                            <a:lnTo>
                              <a:pt x="49042" y="16985"/>
                            </a:lnTo>
                            <a:moveTo>
                              <a:pt x="79962" y="47188"/>
                            </a:moveTo>
                            <a:lnTo>
                              <a:pt x="80201" y="47307"/>
                            </a:lnTo>
                            <a:lnTo>
                              <a:pt x="84627" y="41685"/>
                            </a:lnTo>
                            <a:lnTo>
                              <a:pt x="84926" y="41865"/>
                            </a:lnTo>
                            <a:lnTo>
                              <a:pt x="86362" y="40071"/>
                            </a:lnTo>
                            <a:lnTo>
                              <a:pt x="58970" y="22248"/>
                            </a:lnTo>
                            <a:lnTo>
                              <a:pt x="58372" y="23026"/>
                            </a:lnTo>
                            <a:lnTo>
                              <a:pt x="85285" y="40489"/>
                            </a:lnTo>
                            <a:lnTo>
                              <a:pt x="79962" y="47188"/>
                            </a:lnTo>
                            <a:moveTo>
                              <a:pt x="18600" y="7775"/>
                            </a:moveTo>
                            <a:lnTo>
                              <a:pt x="19138" y="8134"/>
                            </a:lnTo>
                            <a:lnTo>
                              <a:pt x="24641" y="1136"/>
                            </a:lnTo>
                            <a:lnTo>
                              <a:pt x="48504" y="16626"/>
                            </a:lnTo>
                            <a:lnTo>
                              <a:pt x="49101" y="15849"/>
                            </a:lnTo>
                            <a:lnTo>
                              <a:pt x="24700" y="0"/>
                            </a:lnTo>
                            <a:lnTo>
                              <a:pt x="18600" y="7775"/>
                            </a:lnTo>
                            <a:moveTo>
                              <a:pt x="78407" y="49101"/>
                            </a:moveTo>
                            <a:lnTo>
                              <a:pt x="78646" y="49221"/>
                            </a:lnTo>
                            <a:lnTo>
                              <a:pt x="79603" y="48025"/>
                            </a:lnTo>
                            <a:lnTo>
                              <a:pt x="79364" y="47905"/>
                            </a:lnTo>
                            <a:lnTo>
                              <a:pt x="78407" y="49101"/>
                            </a:lnTo>
                            <a:moveTo>
                              <a:pt x="66087" y="64951"/>
                            </a:moveTo>
                            <a:lnTo>
                              <a:pt x="66506" y="65190"/>
                            </a:lnTo>
                            <a:lnTo>
                              <a:pt x="76433" y="52630"/>
                            </a:lnTo>
                            <a:lnTo>
                              <a:pt x="76134" y="52451"/>
                            </a:lnTo>
                            <a:lnTo>
                              <a:pt x="78048" y="49999"/>
                            </a:lnTo>
                            <a:lnTo>
                              <a:pt x="77988" y="49939"/>
                            </a:lnTo>
                            <a:lnTo>
                              <a:pt x="66087" y="64951"/>
                            </a:lnTo>
                            <a:moveTo>
                              <a:pt x="0" y="31339"/>
                            </a:moveTo>
                            <a:lnTo>
                              <a:pt x="62618" y="70094"/>
                            </a:lnTo>
                            <a:lnTo>
                              <a:pt x="65907" y="65907"/>
                            </a:lnTo>
                            <a:lnTo>
                              <a:pt x="65369" y="65608"/>
                            </a:lnTo>
                            <a:lnTo>
                              <a:pt x="62618" y="69077"/>
                            </a:lnTo>
                            <a:lnTo>
                              <a:pt x="1136" y="30980"/>
                            </a:lnTo>
                            <a:lnTo>
                              <a:pt x="18540" y="8911"/>
                            </a:lnTo>
                            <a:lnTo>
                              <a:pt x="18002" y="8552"/>
                            </a:lnTo>
                            <a:lnTo>
                              <a:pt x="0" y="31339"/>
                            </a:lnTo>
                          </a:path>
                        </a:pathLst>
                      </a:custGeom>
                      <a:noFill/>
                      <a:ln w="6350" cap="flat">
                        <a:solidFill>
                          <a:schemeClr val="bg1">
                            <a:alpha val="40000"/>
                          </a:schemeClr>
                        </a:solidFill>
                        <a:prstDash val="solid"/>
                        <a:miter/>
                      </a:ln>
                    </p:spPr>
                    <p:txBody>
                      <a:bodyPr rtlCol="0" anchor="ctr"/>
                      <a:lstStyle/>
                      <a:p>
                        <a:endParaRPr lang="en-GB"/>
                      </a:p>
                    </p:txBody>
                  </p:sp>
                  <p:sp>
                    <p:nvSpPr>
                      <p:cNvPr id="7372" name="Vrije vorm: vorm 7371">
                        <a:extLst>
                          <a:ext uri="{FF2B5EF4-FFF2-40B4-BE49-F238E27FC236}">
                            <a16:creationId xmlns:a16="http://schemas.microsoft.com/office/drawing/2014/main" id="{FCFBE453-CC56-482E-A0F3-A3A26BF19C16}"/>
                          </a:ext>
                        </a:extLst>
                      </p:cNvPr>
                      <p:cNvSpPr/>
                      <p:nvPr/>
                    </p:nvSpPr>
                    <p:spPr>
                      <a:xfrm>
                        <a:off x="5319692" y="5561094"/>
                        <a:ext cx="11841" cy="8373"/>
                      </a:xfrm>
                      <a:custGeom>
                        <a:avLst/>
                        <a:gdLst>
                          <a:gd name="connsiteX0" fmla="*/ 10765 w 11841"/>
                          <a:gd name="connsiteY0" fmla="*/ 6997 h 8373"/>
                          <a:gd name="connsiteX1" fmla="*/ 10526 w 11841"/>
                          <a:gd name="connsiteY1" fmla="*/ 7296 h 8373"/>
                          <a:gd name="connsiteX2" fmla="*/ 1136 w 11841"/>
                          <a:gd name="connsiteY2" fmla="*/ 1435 h 8373"/>
                          <a:gd name="connsiteX3" fmla="*/ 1375 w 11841"/>
                          <a:gd name="connsiteY3" fmla="*/ 1136 h 8373"/>
                          <a:gd name="connsiteX4" fmla="*/ 10765 w 11841"/>
                          <a:gd name="connsiteY4" fmla="*/ 6997 h 8373"/>
                          <a:gd name="connsiteX5" fmla="*/ 0 w 11841"/>
                          <a:gd name="connsiteY5" fmla="*/ 1854 h 8373"/>
                          <a:gd name="connsiteX6" fmla="*/ 10466 w 11841"/>
                          <a:gd name="connsiteY6" fmla="*/ 8373 h 8373"/>
                          <a:gd name="connsiteX7" fmla="*/ 11842 w 11841"/>
                          <a:gd name="connsiteY7" fmla="*/ 6579 h 8373"/>
                          <a:gd name="connsiteX8" fmla="*/ 1375 w 11841"/>
                          <a:gd name="connsiteY8" fmla="*/ 0 h 8373"/>
                          <a:gd name="connsiteX9" fmla="*/ 0 w 11841"/>
                          <a:gd name="connsiteY9" fmla="*/ 1854 h 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41" h="8373">
                            <a:moveTo>
                              <a:pt x="10765" y="6997"/>
                            </a:moveTo>
                            <a:lnTo>
                              <a:pt x="10526" y="7296"/>
                            </a:lnTo>
                            <a:lnTo>
                              <a:pt x="1136" y="1435"/>
                            </a:lnTo>
                            <a:lnTo>
                              <a:pt x="1375" y="1136"/>
                            </a:lnTo>
                            <a:lnTo>
                              <a:pt x="10765" y="6997"/>
                            </a:lnTo>
                            <a:moveTo>
                              <a:pt x="0" y="1854"/>
                            </a:moveTo>
                            <a:lnTo>
                              <a:pt x="10466" y="8373"/>
                            </a:lnTo>
                            <a:lnTo>
                              <a:pt x="11842" y="6579"/>
                            </a:lnTo>
                            <a:lnTo>
                              <a:pt x="1375" y="0"/>
                            </a:lnTo>
                            <a:lnTo>
                              <a:pt x="0" y="1854"/>
                            </a:lnTo>
                          </a:path>
                        </a:pathLst>
                      </a:custGeom>
                      <a:noFill/>
                      <a:ln w="6350" cap="flat">
                        <a:solidFill>
                          <a:schemeClr val="bg1">
                            <a:alpha val="40000"/>
                          </a:schemeClr>
                        </a:solidFill>
                        <a:prstDash val="solid"/>
                        <a:miter/>
                      </a:ln>
                    </p:spPr>
                    <p:txBody>
                      <a:bodyPr rtlCol="0" anchor="ctr"/>
                      <a:lstStyle/>
                      <a:p>
                        <a:endParaRPr lang="en-GB"/>
                      </a:p>
                    </p:txBody>
                  </p:sp>
                  <p:sp>
                    <p:nvSpPr>
                      <p:cNvPr id="7373" name="Vrije vorm: vorm 7372">
                        <a:extLst>
                          <a:ext uri="{FF2B5EF4-FFF2-40B4-BE49-F238E27FC236}">
                            <a16:creationId xmlns:a16="http://schemas.microsoft.com/office/drawing/2014/main" id="{769178F4-BF70-4C99-A48E-6126B1830354}"/>
                          </a:ext>
                        </a:extLst>
                      </p:cNvPr>
                      <p:cNvSpPr/>
                      <p:nvPr/>
                    </p:nvSpPr>
                    <p:spPr>
                      <a:xfrm>
                        <a:off x="5321606" y="5558702"/>
                        <a:ext cx="11841" cy="8373"/>
                      </a:xfrm>
                      <a:custGeom>
                        <a:avLst/>
                        <a:gdLst>
                          <a:gd name="connsiteX0" fmla="*/ 10765 w 11841"/>
                          <a:gd name="connsiteY0" fmla="*/ 6998 h 8373"/>
                          <a:gd name="connsiteX1" fmla="*/ 10526 w 11841"/>
                          <a:gd name="connsiteY1" fmla="*/ 7297 h 8373"/>
                          <a:gd name="connsiteX2" fmla="*/ 1136 w 11841"/>
                          <a:gd name="connsiteY2" fmla="*/ 1376 h 8373"/>
                          <a:gd name="connsiteX3" fmla="*/ 1375 w 11841"/>
                          <a:gd name="connsiteY3" fmla="*/ 1076 h 8373"/>
                          <a:gd name="connsiteX4" fmla="*/ 10765 w 11841"/>
                          <a:gd name="connsiteY4" fmla="*/ 6998 h 8373"/>
                          <a:gd name="connsiteX5" fmla="*/ 0 w 11841"/>
                          <a:gd name="connsiteY5" fmla="*/ 1795 h 8373"/>
                          <a:gd name="connsiteX6" fmla="*/ 10466 w 11841"/>
                          <a:gd name="connsiteY6" fmla="*/ 8373 h 8373"/>
                          <a:gd name="connsiteX7" fmla="*/ 11842 w 11841"/>
                          <a:gd name="connsiteY7" fmla="*/ 6579 h 8373"/>
                          <a:gd name="connsiteX8" fmla="*/ 1375 w 11841"/>
                          <a:gd name="connsiteY8" fmla="*/ 0 h 8373"/>
                          <a:gd name="connsiteX9" fmla="*/ 0 w 11841"/>
                          <a:gd name="connsiteY9" fmla="*/ 1795 h 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41" h="8373">
                            <a:moveTo>
                              <a:pt x="10765" y="6998"/>
                            </a:moveTo>
                            <a:lnTo>
                              <a:pt x="10526" y="7297"/>
                            </a:lnTo>
                            <a:lnTo>
                              <a:pt x="1136" y="1376"/>
                            </a:lnTo>
                            <a:lnTo>
                              <a:pt x="1375" y="1076"/>
                            </a:lnTo>
                            <a:lnTo>
                              <a:pt x="10765" y="6998"/>
                            </a:lnTo>
                            <a:moveTo>
                              <a:pt x="0" y="1795"/>
                            </a:moveTo>
                            <a:lnTo>
                              <a:pt x="10466" y="8373"/>
                            </a:lnTo>
                            <a:lnTo>
                              <a:pt x="11842" y="6579"/>
                            </a:lnTo>
                            <a:lnTo>
                              <a:pt x="1375" y="0"/>
                            </a:lnTo>
                            <a:lnTo>
                              <a:pt x="0" y="1795"/>
                            </a:lnTo>
                          </a:path>
                        </a:pathLst>
                      </a:custGeom>
                      <a:noFill/>
                      <a:ln w="6350" cap="flat">
                        <a:solidFill>
                          <a:schemeClr val="bg1">
                            <a:alpha val="40000"/>
                          </a:schemeClr>
                        </a:solidFill>
                        <a:prstDash val="solid"/>
                        <a:miter/>
                      </a:ln>
                    </p:spPr>
                    <p:txBody>
                      <a:bodyPr rtlCol="0" anchor="ctr"/>
                      <a:lstStyle/>
                      <a:p>
                        <a:endParaRPr lang="en-GB"/>
                      </a:p>
                    </p:txBody>
                  </p:sp>
                  <p:sp>
                    <p:nvSpPr>
                      <p:cNvPr id="7374" name="Vrije vorm: vorm 7373">
                        <a:extLst>
                          <a:ext uri="{FF2B5EF4-FFF2-40B4-BE49-F238E27FC236}">
                            <a16:creationId xmlns:a16="http://schemas.microsoft.com/office/drawing/2014/main" id="{5084FBD9-6A92-400D-B4FD-84BF426D24DD}"/>
                          </a:ext>
                        </a:extLst>
                      </p:cNvPr>
                      <p:cNvSpPr/>
                      <p:nvPr/>
                    </p:nvSpPr>
                    <p:spPr>
                      <a:xfrm>
                        <a:off x="5323580" y="5556310"/>
                        <a:ext cx="11842" cy="8313"/>
                      </a:xfrm>
                      <a:custGeom>
                        <a:avLst/>
                        <a:gdLst>
                          <a:gd name="connsiteX0" fmla="*/ 10706 w 11842"/>
                          <a:gd name="connsiteY0" fmla="*/ 6937 h 8313"/>
                          <a:gd name="connsiteX1" fmla="*/ 10466 w 11842"/>
                          <a:gd name="connsiteY1" fmla="*/ 7236 h 8313"/>
                          <a:gd name="connsiteX2" fmla="*/ 1076 w 11842"/>
                          <a:gd name="connsiteY2" fmla="*/ 1316 h 8313"/>
                          <a:gd name="connsiteX3" fmla="*/ 1316 w 11842"/>
                          <a:gd name="connsiteY3" fmla="*/ 1017 h 8313"/>
                          <a:gd name="connsiteX4" fmla="*/ 10706 w 11842"/>
                          <a:gd name="connsiteY4" fmla="*/ 6937 h 8313"/>
                          <a:gd name="connsiteX5" fmla="*/ 0 w 11842"/>
                          <a:gd name="connsiteY5" fmla="*/ 1734 h 8313"/>
                          <a:gd name="connsiteX6" fmla="*/ 10466 w 11842"/>
                          <a:gd name="connsiteY6" fmla="*/ 8313 h 8313"/>
                          <a:gd name="connsiteX7" fmla="*/ 11842 w 11842"/>
                          <a:gd name="connsiteY7" fmla="*/ 6579 h 8313"/>
                          <a:gd name="connsiteX8" fmla="*/ 1435 w 11842"/>
                          <a:gd name="connsiteY8" fmla="*/ 0 h 8313"/>
                          <a:gd name="connsiteX9" fmla="*/ 0 w 11842"/>
                          <a:gd name="connsiteY9" fmla="*/ 1734 h 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42" h="8313">
                            <a:moveTo>
                              <a:pt x="10706" y="6937"/>
                            </a:moveTo>
                            <a:lnTo>
                              <a:pt x="10466" y="7236"/>
                            </a:lnTo>
                            <a:lnTo>
                              <a:pt x="1076" y="1316"/>
                            </a:lnTo>
                            <a:lnTo>
                              <a:pt x="1316" y="1017"/>
                            </a:lnTo>
                            <a:lnTo>
                              <a:pt x="10706" y="6937"/>
                            </a:lnTo>
                            <a:moveTo>
                              <a:pt x="0" y="1734"/>
                            </a:moveTo>
                            <a:lnTo>
                              <a:pt x="10466" y="8313"/>
                            </a:lnTo>
                            <a:lnTo>
                              <a:pt x="11842" y="6579"/>
                            </a:lnTo>
                            <a:lnTo>
                              <a:pt x="1435" y="0"/>
                            </a:lnTo>
                            <a:lnTo>
                              <a:pt x="0" y="1734"/>
                            </a:lnTo>
                          </a:path>
                        </a:pathLst>
                      </a:custGeom>
                      <a:noFill/>
                      <a:ln w="6350" cap="flat">
                        <a:solidFill>
                          <a:schemeClr val="bg1">
                            <a:alpha val="40000"/>
                          </a:schemeClr>
                        </a:solidFill>
                        <a:prstDash val="solid"/>
                        <a:miter/>
                      </a:ln>
                    </p:spPr>
                    <p:txBody>
                      <a:bodyPr rtlCol="0" anchor="ctr"/>
                      <a:lstStyle/>
                      <a:p>
                        <a:endParaRPr lang="en-GB"/>
                      </a:p>
                    </p:txBody>
                  </p:sp>
                  <p:sp>
                    <p:nvSpPr>
                      <p:cNvPr id="7375" name="Vrije vorm: vorm 7374">
                        <a:extLst>
                          <a:ext uri="{FF2B5EF4-FFF2-40B4-BE49-F238E27FC236}">
                            <a16:creationId xmlns:a16="http://schemas.microsoft.com/office/drawing/2014/main" id="{053E03E9-BB2F-4281-8852-3E133710AED6}"/>
                          </a:ext>
                        </a:extLst>
                      </p:cNvPr>
                      <p:cNvSpPr/>
                      <p:nvPr/>
                    </p:nvSpPr>
                    <p:spPr>
                      <a:xfrm>
                        <a:off x="5325493" y="5553857"/>
                        <a:ext cx="11782" cy="8313"/>
                      </a:xfrm>
                      <a:custGeom>
                        <a:avLst/>
                        <a:gdLst>
                          <a:gd name="connsiteX0" fmla="*/ 10706 w 11782"/>
                          <a:gd name="connsiteY0" fmla="*/ 6938 h 8313"/>
                          <a:gd name="connsiteX1" fmla="*/ 10466 w 11782"/>
                          <a:gd name="connsiteY1" fmla="*/ 7237 h 8313"/>
                          <a:gd name="connsiteX2" fmla="*/ 1076 w 11782"/>
                          <a:gd name="connsiteY2" fmla="*/ 1316 h 8313"/>
                          <a:gd name="connsiteX3" fmla="*/ 1316 w 11782"/>
                          <a:gd name="connsiteY3" fmla="*/ 1017 h 8313"/>
                          <a:gd name="connsiteX4" fmla="*/ 10706 w 11782"/>
                          <a:gd name="connsiteY4" fmla="*/ 6938 h 8313"/>
                          <a:gd name="connsiteX5" fmla="*/ 0 w 11782"/>
                          <a:gd name="connsiteY5" fmla="*/ 1735 h 8313"/>
                          <a:gd name="connsiteX6" fmla="*/ 10406 w 11782"/>
                          <a:gd name="connsiteY6" fmla="*/ 8313 h 8313"/>
                          <a:gd name="connsiteX7" fmla="*/ 11782 w 11782"/>
                          <a:gd name="connsiteY7" fmla="*/ 6579 h 8313"/>
                          <a:gd name="connsiteX8" fmla="*/ 1375 w 11782"/>
                          <a:gd name="connsiteY8" fmla="*/ 0 h 8313"/>
                          <a:gd name="connsiteX9" fmla="*/ 0 w 11782"/>
                          <a:gd name="connsiteY9" fmla="*/ 1735 h 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2" h="8313">
                            <a:moveTo>
                              <a:pt x="10706" y="6938"/>
                            </a:moveTo>
                            <a:lnTo>
                              <a:pt x="10466" y="7237"/>
                            </a:lnTo>
                            <a:lnTo>
                              <a:pt x="1076" y="1316"/>
                            </a:lnTo>
                            <a:lnTo>
                              <a:pt x="1316" y="1017"/>
                            </a:lnTo>
                            <a:lnTo>
                              <a:pt x="10706" y="6938"/>
                            </a:lnTo>
                            <a:moveTo>
                              <a:pt x="0" y="1735"/>
                            </a:moveTo>
                            <a:lnTo>
                              <a:pt x="10406" y="8313"/>
                            </a:lnTo>
                            <a:lnTo>
                              <a:pt x="11782" y="6579"/>
                            </a:lnTo>
                            <a:lnTo>
                              <a:pt x="1375" y="0"/>
                            </a:lnTo>
                            <a:lnTo>
                              <a:pt x="0" y="1735"/>
                            </a:lnTo>
                          </a:path>
                        </a:pathLst>
                      </a:custGeom>
                      <a:noFill/>
                      <a:ln w="6350" cap="flat">
                        <a:solidFill>
                          <a:schemeClr val="bg1">
                            <a:alpha val="40000"/>
                          </a:schemeClr>
                        </a:solidFill>
                        <a:prstDash val="solid"/>
                        <a:miter/>
                      </a:ln>
                    </p:spPr>
                    <p:txBody>
                      <a:bodyPr rtlCol="0" anchor="ctr"/>
                      <a:lstStyle/>
                      <a:p>
                        <a:endParaRPr lang="en-GB"/>
                      </a:p>
                    </p:txBody>
                  </p:sp>
                  <p:sp>
                    <p:nvSpPr>
                      <p:cNvPr id="7376" name="Vrije vorm: vorm 7375">
                        <a:extLst>
                          <a:ext uri="{FF2B5EF4-FFF2-40B4-BE49-F238E27FC236}">
                            <a16:creationId xmlns:a16="http://schemas.microsoft.com/office/drawing/2014/main" id="{16A7AAED-46E5-4D14-B64D-B22C273118D4}"/>
                          </a:ext>
                        </a:extLst>
                      </p:cNvPr>
                      <p:cNvSpPr/>
                      <p:nvPr/>
                    </p:nvSpPr>
                    <p:spPr>
                      <a:xfrm>
                        <a:off x="5327407" y="5551346"/>
                        <a:ext cx="11782" cy="8432"/>
                      </a:xfrm>
                      <a:custGeom>
                        <a:avLst/>
                        <a:gdLst>
                          <a:gd name="connsiteX0" fmla="*/ 10705 w 11782"/>
                          <a:gd name="connsiteY0" fmla="*/ 7057 h 8432"/>
                          <a:gd name="connsiteX1" fmla="*/ 10466 w 11782"/>
                          <a:gd name="connsiteY1" fmla="*/ 7356 h 8432"/>
                          <a:gd name="connsiteX2" fmla="*/ 1136 w 11782"/>
                          <a:gd name="connsiteY2" fmla="*/ 1435 h 8432"/>
                          <a:gd name="connsiteX3" fmla="*/ 1375 w 11782"/>
                          <a:gd name="connsiteY3" fmla="*/ 1136 h 8432"/>
                          <a:gd name="connsiteX4" fmla="*/ 10705 w 11782"/>
                          <a:gd name="connsiteY4" fmla="*/ 7057 h 8432"/>
                          <a:gd name="connsiteX5" fmla="*/ 0 w 11782"/>
                          <a:gd name="connsiteY5" fmla="*/ 1794 h 8432"/>
                          <a:gd name="connsiteX6" fmla="*/ 10406 w 11782"/>
                          <a:gd name="connsiteY6" fmla="*/ 8433 h 8432"/>
                          <a:gd name="connsiteX7" fmla="*/ 11782 w 11782"/>
                          <a:gd name="connsiteY7" fmla="*/ 6639 h 8432"/>
                          <a:gd name="connsiteX8" fmla="*/ 1375 w 11782"/>
                          <a:gd name="connsiteY8" fmla="*/ 0 h 8432"/>
                          <a:gd name="connsiteX9" fmla="*/ 0 w 11782"/>
                          <a:gd name="connsiteY9" fmla="*/ 1794 h 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2" h="8432">
                            <a:moveTo>
                              <a:pt x="10705" y="7057"/>
                            </a:moveTo>
                            <a:lnTo>
                              <a:pt x="10466" y="7356"/>
                            </a:lnTo>
                            <a:lnTo>
                              <a:pt x="1136" y="1435"/>
                            </a:lnTo>
                            <a:lnTo>
                              <a:pt x="1375" y="1136"/>
                            </a:lnTo>
                            <a:lnTo>
                              <a:pt x="10705" y="7057"/>
                            </a:lnTo>
                            <a:moveTo>
                              <a:pt x="0" y="1794"/>
                            </a:moveTo>
                            <a:lnTo>
                              <a:pt x="10406" y="8433"/>
                            </a:lnTo>
                            <a:lnTo>
                              <a:pt x="11782" y="6639"/>
                            </a:lnTo>
                            <a:lnTo>
                              <a:pt x="1375" y="0"/>
                            </a:lnTo>
                            <a:lnTo>
                              <a:pt x="0" y="1794"/>
                            </a:lnTo>
                          </a:path>
                        </a:pathLst>
                      </a:custGeom>
                      <a:noFill/>
                      <a:ln w="6350" cap="flat">
                        <a:solidFill>
                          <a:schemeClr val="bg1">
                            <a:alpha val="40000"/>
                          </a:schemeClr>
                        </a:solidFill>
                        <a:prstDash val="solid"/>
                        <a:miter/>
                      </a:ln>
                    </p:spPr>
                    <p:txBody>
                      <a:bodyPr rtlCol="0" anchor="ctr"/>
                      <a:lstStyle/>
                      <a:p>
                        <a:endParaRPr lang="en-GB"/>
                      </a:p>
                    </p:txBody>
                  </p:sp>
                  <p:sp>
                    <p:nvSpPr>
                      <p:cNvPr id="7377" name="Vrije vorm: vorm 7376">
                        <a:extLst>
                          <a:ext uri="{FF2B5EF4-FFF2-40B4-BE49-F238E27FC236}">
                            <a16:creationId xmlns:a16="http://schemas.microsoft.com/office/drawing/2014/main" id="{C71632E9-C2DE-4B8A-A0B5-075FE4BF02E4}"/>
                          </a:ext>
                        </a:extLst>
                      </p:cNvPr>
                      <p:cNvSpPr/>
                      <p:nvPr/>
                    </p:nvSpPr>
                    <p:spPr>
                      <a:xfrm>
                        <a:off x="5328424" y="5572099"/>
                        <a:ext cx="2691" cy="2750"/>
                      </a:xfrm>
                      <a:custGeom>
                        <a:avLst/>
                        <a:gdLst>
                          <a:gd name="connsiteX0" fmla="*/ 1735 w 2691"/>
                          <a:gd name="connsiteY0" fmla="*/ 837 h 2750"/>
                          <a:gd name="connsiteX1" fmla="*/ 1854 w 2691"/>
                          <a:gd name="connsiteY1" fmla="*/ 957 h 2750"/>
                          <a:gd name="connsiteX2" fmla="*/ 1914 w 2691"/>
                          <a:gd name="connsiteY2" fmla="*/ 1136 h 2750"/>
                          <a:gd name="connsiteX3" fmla="*/ 1854 w 2691"/>
                          <a:gd name="connsiteY3" fmla="*/ 1375 h 2750"/>
                          <a:gd name="connsiteX4" fmla="*/ 1735 w 2691"/>
                          <a:gd name="connsiteY4" fmla="*/ 1615 h 2750"/>
                          <a:gd name="connsiteX5" fmla="*/ 1555 w 2691"/>
                          <a:gd name="connsiteY5" fmla="*/ 1794 h 2750"/>
                          <a:gd name="connsiteX6" fmla="*/ 1316 w 2691"/>
                          <a:gd name="connsiteY6" fmla="*/ 1914 h 2750"/>
                          <a:gd name="connsiteX7" fmla="*/ 1076 w 2691"/>
                          <a:gd name="connsiteY7" fmla="*/ 1973 h 2750"/>
                          <a:gd name="connsiteX8" fmla="*/ 897 w 2691"/>
                          <a:gd name="connsiteY8" fmla="*/ 1914 h 2750"/>
                          <a:gd name="connsiteX9" fmla="*/ 778 w 2691"/>
                          <a:gd name="connsiteY9" fmla="*/ 1794 h 2750"/>
                          <a:gd name="connsiteX10" fmla="*/ 718 w 2691"/>
                          <a:gd name="connsiteY10" fmla="*/ 1615 h 2750"/>
                          <a:gd name="connsiteX11" fmla="*/ 778 w 2691"/>
                          <a:gd name="connsiteY11" fmla="*/ 1375 h 2750"/>
                          <a:gd name="connsiteX12" fmla="*/ 897 w 2691"/>
                          <a:gd name="connsiteY12" fmla="*/ 1136 h 2750"/>
                          <a:gd name="connsiteX13" fmla="*/ 1076 w 2691"/>
                          <a:gd name="connsiteY13" fmla="*/ 957 h 2750"/>
                          <a:gd name="connsiteX14" fmla="*/ 1316 w 2691"/>
                          <a:gd name="connsiteY14" fmla="*/ 837 h 2750"/>
                          <a:gd name="connsiteX15" fmla="*/ 1555 w 2691"/>
                          <a:gd name="connsiteY15" fmla="*/ 777 h 2750"/>
                          <a:gd name="connsiteX16" fmla="*/ 1735 w 2691"/>
                          <a:gd name="connsiteY16" fmla="*/ 837 h 2750"/>
                          <a:gd name="connsiteX17" fmla="*/ 359 w 2691"/>
                          <a:gd name="connsiteY17" fmla="*/ 2631 h 2750"/>
                          <a:gd name="connsiteX18" fmla="*/ 778 w 2691"/>
                          <a:gd name="connsiteY18" fmla="*/ 2751 h 2750"/>
                          <a:gd name="connsiteX19" fmla="*/ 1256 w 2691"/>
                          <a:gd name="connsiteY19" fmla="*/ 2691 h 2750"/>
                          <a:gd name="connsiteX20" fmla="*/ 1795 w 2691"/>
                          <a:gd name="connsiteY20" fmla="*/ 2392 h 2750"/>
                          <a:gd name="connsiteX21" fmla="*/ 2273 w 2691"/>
                          <a:gd name="connsiteY21" fmla="*/ 1914 h 2750"/>
                          <a:gd name="connsiteX22" fmla="*/ 2572 w 2691"/>
                          <a:gd name="connsiteY22" fmla="*/ 1375 h 2750"/>
                          <a:gd name="connsiteX23" fmla="*/ 2691 w 2691"/>
                          <a:gd name="connsiteY23" fmla="*/ 837 h 2750"/>
                          <a:gd name="connsiteX24" fmla="*/ 2632 w 2691"/>
                          <a:gd name="connsiteY24" fmla="*/ 418 h 2750"/>
                          <a:gd name="connsiteX25" fmla="*/ 2333 w 2691"/>
                          <a:gd name="connsiteY25" fmla="*/ 119 h 2750"/>
                          <a:gd name="connsiteX26" fmla="*/ 1914 w 2691"/>
                          <a:gd name="connsiteY26" fmla="*/ 0 h 2750"/>
                          <a:gd name="connsiteX27" fmla="*/ 1435 w 2691"/>
                          <a:gd name="connsiteY27" fmla="*/ 60 h 2750"/>
                          <a:gd name="connsiteX28" fmla="*/ 897 w 2691"/>
                          <a:gd name="connsiteY28" fmla="*/ 359 h 2750"/>
                          <a:gd name="connsiteX29" fmla="*/ 419 w 2691"/>
                          <a:gd name="connsiteY29" fmla="*/ 837 h 2750"/>
                          <a:gd name="connsiteX30" fmla="*/ 120 w 2691"/>
                          <a:gd name="connsiteY30" fmla="*/ 1375 h 2750"/>
                          <a:gd name="connsiteX31" fmla="*/ 0 w 2691"/>
                          <a:gd name="connsiteY31" fmla="*/ 1914 h 2750"/>
                          <a:gd name="connsiteX32" fmla="*/ 60 w 2691"/>
                          <a:gd name="connsiteY32" fmla="*/ 2332 h 2750"/>
                          <a:gd name="connsiteX33" fmla="*/ 359 w 2691"/>
                          <a:gd name="connsiteY33" fmla="*/ 2631 h 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91" h="2750">
                            <a:moveTo>
                              <a:pt x="1735" y="837"/>
                            </a:moveTo>
                            <a:cubicBezTo>
                              <a:pt x="1795" y="897"/>
                              <a:pt x="1854" y="897"/>
                              <a:pt x="1854" y="957"/>
                            </a:cubicBezTo>
                            <a:cubicBezTo>
                              <a:pt x="1854" y="1017"/>
                              <a:pt x="1914" y="1076"/>
                              <a:pt x="1914" y="1136"/>
                            </a:cubicBezTo>
                            <a:cubicBezTo>
                              <a:pt x="1914" y="1196"/>
                              <a:pt x="1914" y="1256"/>
                              <a:pt x="1854" y="1375"/>
                            </a:cubicBezTo>
                            <a:cubicBezTo>
                              <a:pt x="1795" y="1435"/>
                              <a:pt x="1795" y="1555"/>
                              <a:pt x="1735" y="1615"/>
                            </a:cubicBezTo>
                            <a:cubicBezTo>
                              <a:pt x="1675" y="1674"/>
                              <a:pt x="1615" y="1734"/>
                              <a:pt x="1555" y="1794"/>
                            </a:cubicBezTo>
                            <a:cubicBezTo>
                              <a:pt x="1495" y="1854"/>
                              <a:pt x="1435" y="1854"/>
                              <a:pt x="1316" y="1914"/>
                            </a:cubicBezTo>
                            <a:cubicBezTo>
                              <a:pt x="1256" y="1914"/>
                              <a:pt x="1196" y="1973"/>
                              <a:pt x="1076" y="1973"/>
                            </a:cubicBezTo>
                            <a:cubicBezTo>
                              <a:pt x="957" y="1973"/>
                              <a:pt x="957" y="1973"/>
                              <a:pt x="897" y="1914"/>
                            </a:cubicBezTo>
                            <a:cubicBezTo>
                              <a:pt x="837" y="1854"/>
                              <a:pt x="837" y="1854"/>
                              <a:pt x="778" y="1794"/>
                            </a:cubicBezTo>
                            <a:cubicBezTo>
                              <a:pt x="778" y="1734"/>
                              <a:pt x="718" y="1674"/>
                              <a:pt x="718" y="1615"/>
                            </a:cubicBezTo>
                            <a:cubicBezTo>
                              <a:pt x="718" y="1555"/>
                              <a:pt x="718" y="1495"/>
                              <a:pt x="778" y="1375"/>
                            </a:cubicBezTo>
                            <a:cubicBezTo>
                              <a:pt x="837" y="1316"/>
                              <a:pt x="837" y="1196"/>
                              <a:pt x="897" y="1136"/>
                            </a:cubicBezTo>
                            <a:cubicBezTo>
                              <a:pt x="957" y="1076"/>
                              <a:pt x="1017" y="1017"/>
                              <a:pt x="1076" y="957"/>
                            </a:cubicBezTo>
                            <a:cubicBezTo>
                              <a:pt x="1136" y="897"/>
                              <a:pt x="1196" y="837"/>
                              <a:pt x="1316" y="837"/>
                            </a:cubicBezTo>
                            <a:cubicBezTo>
                              <a:pt x="1376" y="837"/>
                              <a:pt x="1435" y="777"/>
                              <a:pt x="1555" y="777"/>
                            </a:cubicBezTo>
                            <a:cubicBezTo>
                              <a:pt x="1675" y="777"/>
                              <a:pt x="1735" y="777"/>
                              <a:pt x="1735" y="837"/>
                            </a:cubicBezTo>
                            <a:moveTo>
                              <a:pt x="359" y="2631"/>
                            </a:moveTo>
                            <a:cubicBezTo>
                              <a:pt x="479" y="2691"/>
                              <a:pt x="658" y="2751"/>
                              <a:pt x="778" y="2751"/>
                            </a:cubicBezTo>
                            <a:cubicBezTo>
                              <a:pt x="957" y="2751"/>
                              <a:pt x="1136" y="2751"/>
                              <a:pt x="1256" y="2691"/>
                            </a:cubicBezTo>
                            <a:cubicBezTo>
                              <a:pt x="1435" y="2631"/>
                              <a:pt x="1615" y="2512"/>
                              <a:pt x="1795" y="2392"/>
                            </a:cubicBezTo>
                            <a:cubicBezTo>
                              <a:pt x="1974" y="2272"/>
                              <a:pt x="2093" y="2093"/>
                              <a:pt x="2273" y="1914"/>
                            </a:cubicBezTo>
                            <a:cubicBezTo>
                              <a:pt x="2392" y="1734"/>
                              <a:pt x="2512" y="1555"/>
                              <a:pt x="2572" y="1375"/>
                            </a:cubicBezTo>
                            <a:cubicBezTo>
                              <a:pt x="2632" y="1196"/>
                              <a:pt x="2691" y="1017"/>
                              <a:pt x="2691" y="837"/>
                            </a:cubicBezTo>
                            <a:cubicBezTo>
                              <a:pt x="2691" y="658"/>
                              <a:pt x="2691" y="538"/>
                              <a:pt x="2632" y="418"/>
                            </a:cubicBezTo>
                            <a:cubicBezTo>
                              <a:pt x="2572" y="299"/>
                              <a:pt x="2452" y="179"/>
                              <a:pt x="2333" y="119"/>
                            </a:cubicBezTo>
                            <a:cubicBezTo>
                              <a:pt x="2213" y="60"/>
                              <a:pt x="2093" y="0"/>
                              <a:pt x="1914" y="0"/>
                            </a:cubicBezTo>
                            <a:cubicBezTo>
                              <a:pt x="1735" y="0"/>
                              <a:pt x="1615" y="0"/>
                              <a:pt x="1435" y="60"/>
                            </a:cubicBezTo>
                            <a:cubicBezTo>
                              <a:pt x="1256" y="119"/>
                              <a:pt x="1076" y="239"/>
                              <a:pt x="897" y="359"/>
                            </a:cubicBezTo>
                            <a:cubicBezTo>
                              <a:pt x="718" y="478"/>
                              <a:pt x="598" y="658"/>
                              <a:pt x="419" y="837"/>
                            </a:cubicBezTo>
                            <a:cubicBezTo>
                              <a:pt x="239" y="1017"/>
                              <a:pt x="180" y="1196"/>
                              <a:pt x="120" y="1375"/>
                            </a:cubicBezTo>
                            <a:cubicBezTo>
                              <a:pt x="60" y="1555"/>
                              <a:pt x="0" y="1734"/>
                              <a:pt x="0" y="1914"/>
                            </a:cubicBezTo>
                            <a:cubicBezTo>
                              <a:pt x="0" y="2093"/>
                              <a:pt x="0" y="2213"/>
                              <a:pt x="60" y="2332"/>
                            </a:cubicBezTo>
                            <a:cubicBezTo>
                              <a:pt x="120" y="2452"/>
                              <a:pt x="239" y="2572"/>
                              <a:pt x="359" y="2631"/>
                            </a:cubicBezTo>
                          </a:path>
                        </a:pathLst>
                      </a:custGeom>
                      <a:noFill/>
                      <a:ln w="6350" cap="flat">
                        <a:solidFill>
                          <a:schemeClr val="bg1">
                            <a:alpha val="40000"/>
                          </a:schemeClr>
                        </a:solidFill>
                        <a:prstDash val="solid"/>
                        <a:miter/>
                      </a:ln>
                    </p:spPr>
                    <p:txBody>
                      <a:bodyPr rtlCol="0" anchor="ctr"/>
                      <a:lstStyle/>
                      <a:p>
                        <a:endParaRPr lang="en-GB"/>
                      </a:p>
                    </p:txBody>
                  </p:sp>
                  <p:sp>
                    <p:nvSpPr>
                      <p:cNvPr id="7378" name="Vrije vorm: vorm 7377">
                        <a:extLst>
                          <a:ext uri="{FF2B5EF4-FFF2-40B4-BE49-F238E27FC236}">
                            <a16:creationId xmlns:a16="http://schemas.microsoft.com/office/drawing/2014/main" id="{832FC8D0-26EF-40FC-B26B-B7FA50B4ACE6}"/>
                          </a:ext>
                        </a:extLst>
                      </p:cNvPr>
                      <p:cNvSpPr/>
                      <p:nvPr/>
                    </p:nvSpPr>
                    <p:spPr>
                      <a:xfrm>
                        <a:off x="5341881" y="5554994"/>
                        <a:ext cx="2631" cy="2811"/>
                      </a:xfrm>
                      <a:custGeom>
                        <a:avLst/>
                        <a:gdLst>
                          <a:gd name="connsiteX0" fmla="*/ 1735 w 2631"/>
                          <a:gd name="connsiteY0" fmla="*/ 957 h 2811"/>
                          <a:gd name="connsiteX1" fmla="*/ 1854 w 2631"/>
                          <a:gd name="connsiteY1" fmla="*/ 1076 h 2811"/>
                          <a:gd name="connsiteX2" fmla="*/ 1914 w 2631"/>
                          <a:gd name="connsiteY2" fmla="*/ 1256 h 2811"/>
                          <a:gd name="connsiteX3" fmla="*/ 1854 w 2631"/>
                          <a:gd name="connsiteY3" fmla="*/ 1495 h 2811"/>
                          <a:gd name="connsiteX4" fmla="*/ 1735 w 2631"/>
                          <a:gd name="connsiteY4" fmla="*/ 1735 h 2811"/>
                          <a:gd name="connsiteX5" fmla="*/ 1555 w 2631"/>
                          <a:gd name="connsiteY5" fmla="*/ 1914 h 2811"/>
                          <a:gd name="connsiteX6" fmla="*/ 1316 w 2631"/>
                          <a:gd name="connsiteY6" fmla="*/ 2034 h 2811"/>
                          <a:gd name="connsiteX7" fmla="*/ 1136 w 2631"/>
                          <a:gd name="connsiteY7" fmla="*/ 2034 h 2811"/>
                          <a:gd name="connsiteX8" fmla="*/ 957 w 2631"/>
                          <a:gd name="connsiteY8" fmla="*/ 1974 h 2811"/>
                          <a:gd name="connsiteX9" fmla="*/ 837 w 2631"/>
                          <a:gd name="connsiteY9" fmla="*/ 1854 h 2811"/>
                          <a:gd name="connsiteX10" fmla="*/ 778 w 2631"/>
                          <a:gd name="connsiteY10" fmla="*/ 1675 h 2811"/>
                          <a:gd name="connsiteX11" fmla="*/ 837 w 2631"/>
                          <a:gd name="connsiteY11" fmla="*/ 1435 h 2811"/>
                          <a:gd name="connsiteX12" fmla="*/ 957 w 2631"/>
                          <a:gd name="connsiteY12" fmla="*/ 1196 h 2811"/>
                          <a:gd name="connsiteX13" fmla="*/ 1136 w 2631"/>
                          <a:gd name="connsiteY13" fmla="*/ 1017 h 2811"/>
                          <a:gd name="connsiteX14" fmla="*/ 1376 w 2631"/>
                          <a:gd name="connsiteY14" fmla="*/ 897 h 2811"/>
                          <a:gd name="connsiteX15" fmla="*/ 1555 w 2631"/>
                          <a:gd name="connsiteY15" fmla="*/ 837 h 2811"/>
                          <a:gd name="connsiteX16" fmla="*/ 1735 w 2631"/>
                          <a:gd name="connsiteY16" fmla="*/ 957 h 2811"/>
                          <a:gd name="connsiteX17" fmla="*/ 299 w 2631"/>
                          <a:gd name="connsiteY17" fmla="*/ 2691 h 2811"/>
                          <a:gd name="connsiteX18" fmla="*/ 718 w 2631"/>
                          <a:gd name="connsiteY18" fmla="*/ 2811 h 2811"/>
                          <a:gd name="connsiteX19" fmla="*/ 1196 w 2631"/>
                          <a:gd name="connsiteY19" fmla="*/ 2751 h 2811"/>
                          <a:gd name="connsiteX20" fmla="*/ 1735 w 2631"/>
                          <a:gd name="connsiteY20" fmla="*/ 2452 h 2811"/>
                          <a:gd name="connsiteX21" fmla="*/ 2213 w 2631"/>
                          <a:gd name="connsiteY21" fmla="*/ 1974 h 2811"/>
                          <a:gd name="connsiteX22" fmla="*/ 2512 w 2631"/>
                          <a:gd name="connsiteY22" fmla="*/ 1435 h 2811"/>
                          <a:gd name="connsiteX23" fmla="*/ 2632 w 2631"/>
                          <a:gd name="connsiteY23" fmla="*/ 897 h 2811"/>
                          <a:gd name="connsiteX24" fmla="*/ 2572 w 2631"/>
                          <a:gd name="connsiteY24" fmla="*/ 419 h 2811"/>
                          <a:gd name="connsiteX25" fmla="*/ 2273 w 2631"/>
                          <a:gd name="connsiteY25" fmla="*/ 120 h 2811"/>
                          <a:gd name="connsiteX26" fmla="*/ 1854 w 2631"/>
                          <a:gd name="connsiteY26" fmla="*/ 0 h 2811"/>
                          <a:gd name="connsiteX27" fmla="*/ 1376 w 2631"/>
                          <a:gd name="connsiteY27" fmla="*/ 60 h 2811"/>
                          <a:gd name="connsiteX28" fmla="*/ 897 w 2631"/>
                          <a:gd name="connsiteY28" fmla="*/ 359 h 2811"/>
                          <a:gd name="connsiteX29" fmla="*/ 419 w 2631"/>
                          <a:gd name="connsiteY29" fmla="*/ 778 h 2811"/>
                          <a:gd name="connsiteX30" fmla="*/ 120 w 2631"/>
                          <a:gd name="connsiteY30" fmla="*/ 1316 h 2811"/>
                          <a:gd name="connsiteX31" fmla="*/ 0 w 2631"/>
                          <a:gd name="connsiteY31" fmla="*/ 1854 h 2811"/>
                          <a:gd name="connsiteX32" fmla="*/ 60 w 2631"/>
                          <a:gd name="connsiteY32" fmla="*/ 2273 h 2811"/>
                          <a:gd name="connsiteX33" fmla="*/ 299 w 2631"/>
                          <a:gd name="connsiteY33" fmla="*/ 2691 h 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1" h="2811">
                            <a:moveTo>
                              <a:pt x="1735" y="957"/>
                            </a:moveTo>
                            <a:cubicBezTo>
                              <a:pt x="1795" y="1017"/>
                              <a:pt x="1854" y="1017"/>
                              <a:pt x="1854" y="1076"/>
                            </a:cubicBezTo>
                            <a:cubicBezTo>
                              <a:pt x="1854" y="1136"/>
                              <a:pt x="1914" y="1196"/>
                              <a:pt x="1914" y="1256"/>
                            </a:cubicBezTo>
                            <a:cubicBezTo>
                              <a:pt x="1914" y="1316"/>
                              <a:pt x="1914" y="1376"/>
                              <a:pt x="1854" y="1495"/>
                            </a:cubicBezTo>
                            <a:cubicBezTo>
                              <a:pt x="1795" y="1615"/>
                              <a:pt x="1795" y="1675"/>
                              <a:pt x="1735" y="1735"/>
                            </a:cubicBezTo>
                            <a:cubicBezTo>
                              <a:pt x="1675" y="1794"/>
                              <a:pt x="1615" y="1854"/>
                              <a:pt x="1555" y="1914"/>
                            </a:cubicBezTo>
                            <a:cubicBezTo>
                              <a:pt x="1495" y="1974"/>
                              <a:pt x="1435" y="1974"/>
                              <a:pt x="1316" y="2034"/>
                            </a:cubicBezTo>
                            <a:cubicBezTo>
                              <a:pt x="1196" y="2093"/>
                              <a:pt x="1196" y="2093"/>
                              <a:pt x="1136" y="2034"/>
                            </a:cubicBezTo>
                            <a:cubicBezTo>
                              <a:pt x="1076" y="2034"/>
                              <a:pt x="1017" y="2034"/>
                              <a:pt x="957" y="1974"/>
                            </a:cubicBezTo>
                            <a:cubicBezTo>
                              <a:pt x="897" y="1914"/>
                              <a:pt x="897" y="1914"/>
                              <a:pt x="837" y="1854"/>
                            </a:cubicBezTo>
                            <a:cubicBezTo>
                              <a:pt x="837" y="1794"/>
                              <a:pt x="778" y="1735"/>
                              <a:pt x="778" y="1675"/>
                            </a:cubicBezTo>
                            <a:cubicBezTo>
                              <a:pt x="778" y="1615"/>
                              <a:pt x="778" y="1555"/>
                              <a:pt x="837" y="1435"/>
                            </a:cubicBezTo>
                            <a:cubicBezTo>
                              <a:pt x="897" y="1376"/>
                              <a:pt x="897" y="1256"/>
                              <a:pt x="957" y="1196"/>
                            </a:cubicBezTo>
                            <a:cubicBezTo>
                              <a:pt x="1017" y="1136"/>
                              <a:pt x="1076" y="1076"/>
                              <a:pt x="1136" y="1017"/>
                            </a:cubicBezTo>
                            <a:cubicBezTo>
                              <a:pt x="1196" y="957"/>
                              <a:pt x="1256" y="957"/>
                              <a:pt x="1376" y="897"/>
                            </a:cubicBezTo>
                            <a:cubicBezTo>
                              <a:pt x="1435" y="897"/>
                              <a:pt x="1495" y="837"/>
                              <a:pt x="1555" y="837"/>
                            </a:cubicBezTo>
                            <a:cubicBezTo>
                              <a:pt x="1615" y="837"/>
                              <a:pt x="1675" y="897"/>
                              <a:pt x="1735" y="957"/>
                            </a:cubicBezTo>
                            <a:moveTo>
                              <a:pt x="299" y="2691"/>
                            </a:moveTo>
                            <a:cubicBezTo>
                              <a:pt x="419" y="2751"/>
                              <a:pt x="598" y="2811"/>
                              <a:pt x="718" y="2811"/>
                            </a:cubicBezTo>
                            <a:cubicBezTo>
                              <a:pt x="897" y="2811"/>
                              <a:pt x="1017" y="2811"/>
                              <a:pt x="1196" y="2751"/>
                            </a:cubicBezTo>
                            <a:cubicBezTo>
                              <a:pt x="1376" y="2691"/>
                              <a:pt x="1555" y="2572"/>
                              <a:pt x="1735" y="2452"/>
                            </a:cubicBezTo>
                            <a:cubicBezTo>
                              <a:pt x="1914" y="2333"/>
                              <a:pt x="2034" y="2153"/>
                              <a:pt x="2213" y="1974"/>
                            </a:cubicBezTo>
                            <a:cubicBezTo>
                              <a:pt x="2333" y="1794"/>
                              <a:pt x="2452" y="1615"/>
                              <a:pt x="2512" y="1435"/>
                            </a:cubicBezTo>
                            <a:cubicBezTo>
                              <a:pt x="2572" y="1256"/>
                              <a:pt x="2632" y="1076"/>
                              <a:pt x="2632" y="897"/>
                            </a:cubicBezTo>
                            <a:cubicBezTo>
                              <a:pt x="2632" y="718"/>
                              <a:pt x="2632" y="598"/>
                              <a:pt x="2572" y="419"/>
                            </a:cubicBezTo>
                            <a:cubicBezTo>
                              <a:pt x="2512" y="299"/>
                              <a:pt x="2392" y="180"/>
                              <a:pt x="2273" y="120"/>
                            </a:cubicBezTo>
                            <a:cubicBezTo>
                              <a:pt x="2153" y="60"/>
                              <a:pt x="2034" y="0"/>
                              <a:pt x="1854" y="0"/>
                            </a:cubicBezTo>
                            <a:cubicBezTo>
                              <a:pt x="1675" y="0"/>
                              <a:pt x="1555" y="0"/>
                              <a:pt x="1376" y="60"/>
                            </a:cubicBezTo>
                            <a:cubicBezTo>
                              <a:pt x="1196" y="120"/>
                              <a:pt x="1017" y="239"/>
                              <a:pt x="897" y="359"/>
                            </a:cubicBezTo>
                            <a:cubicBezTo>
                              <a:pt x="718" y="479"/>
                              <a:pt x="598" y="598"/>
                              <a:pt x="419" y="778"/>
                            </a:cubicBezTo>
                            <a:cubicBezTo>
                              <a:pt x="299" y="957"/>
                              <a:pt x="180" y="1136"/>
                              <a:pt x="120" y="1316"/>
                            </a:cubicBezTo>
                            <a:cubicBezTo>
                              <a:pt x="60" y="1495"/>
                              <a:pt x="0" y="1675"/>
                              <a:pt x="0" y="1854"/>
                            </a:cubicBezTo>
                            <a:cubicBezTo>
                              <a:pt x="0" y="2034"/>
                              <a:pt x="0" y="2153"/>
                              <a:pt x="60" y="2273"/>
                            </a:cubicBezTo>
                            <a:cubicBezTo>
                              <a:pt x="120" y="2512"/>
                              <a:pt x="180" y="2632"/>
                              <a:pt x="299" y="2691"/>
                            </a:cubicBezTo>
                          </a:path>
                        </a:pathLst>
                      </a:custGeom>
                      <a:noFill/>
                      <a:ln w="6350" cap="flat">
                        <a:solidFill>
                          <a:schemeClr val="bg1">
                            <a:alpha val="40000"/>
                          </a:schemeClr>
                        </a:solidFill>
                        <a:prstDash val="solid"/>
                        <a:miter/>
                      </a:ln>
                    </p:spPr>
                    <p:txBody>
                      <a:bodyPr rtlCol="0" anchor="ctr"/>
                      <a:lstStyle/>
                      <a:p>
                        <a:endParaRPr lang="en-GB"/>
                      </a:p>
                    </p:txBody>
                  </p:sp>
                  <p:sp>
                    <p:nvSpPr>
                      <p:cNvPr id="7379" name="Vrije vorm: vorm 7378">
                        <a:extLst>
                          <a:ext uri="{FF2B5EF4-FFF2-40B4-BE49-F238E27FC236}">
                            <a16:creationId xmlns:a16="http://schemas.microsoft.com/office/drawing/2014/main" id="{1F22A8CE-9E88-4DAB-ACD6-C76D668816ED}"/>
                          </a:ext>
                        </a:extLst>
                      </p:cNvPr>
                      <p:cNvSpPr/>
                      <p:nvPr/>
                    </p:nvSpPr>
                    <p:spPr>
                      <a:xfrm>
                        <a:off x="5270172" y="5535855"/>
                        <a:ext cx="2870" cy="2870"/>
                      </a:xfrm>
                      <a:custGeom>
                        <a:avLst/>
                        <a:gdLst>
                          <a:gd name="connsiteX0" fmla="*/ 1914 w 2870"/>
                          <a:gd name="connsiteY0" fmla="*/ 897 h 2870"/>
                          <a:gd name="connsiteX1" fmla="*/ 2034 w 2870"/>
                          <a:gd name="connsiteY1" fmla="*/ 1017 h 2870"/>
                          <a:gd name="connsiteX2" fmla="*/ 2093 w 2870"/>
                          <a:gd name="connsiteY2" fmla="*/ 1196 h 2870"/>
                          <a:gd name="connsiteX3" fmla="*/ 2034 w 2870"/>
                          <a:gd name="connsiteY3" fmla="*/ 1436 h 2870"/>
                          <a:gd name="connsiteX4" fmla="*/ 1914 w 2870"/>
                          <a:gd name="connsiteY4" fmla="*/ 1675 h 2870"/>
                          <a:gd name="connsiteX5" fmla="*/ 1735 w 2870"/>
                          <a:gd name="connsiteY5" fmla="*/ 1854 h 2870"/>
                          <a:gd name="connsiteX6" fmla="*/ 1495 w 2870"/>
                          <a:gd name="connsiteY6" fmla="*/ 1974 h 2870"/>
                          <a:gd name="connsiteX7" fmla="*/ 1256 w 2870"/>
                          <a:gd name="connsiteY7" fmla="*/ 1974 h 2870"/>
                          <a:gd name="connsiteX8" fmla="*/ 1076 w 2870"/>
                          <a:gd name="connsiteY8" fmla="*/ 1914 h 2870"/>
                          <a:gd name="connsiteX9" fmla="*/ 957 w 2870"/>
                          <a:gd name="connsiteY9" fmla="*/ 1795 h 2870"/>
                          <a:gd name="connsiteX10" fmla="*/ 897 w 2870"/>
                          <a:gd name="connsiteY10" fmla="*/ 1615 h 2870"/>
                          <a:gd name="connsiteX11" fmla="*/ 957 w 2870"/>
                          <a:gd name="connsiteY11" fmla="*/ 1376 h 2870"/>
                          <a:gd name="connsiteX12" fmla="*/ 1076 w 2870"/>
                          <a:gd name="connsiteY12" fmla="*/ 1136 h 2870"/>
                          <a:gd name="connsiteX13" fmla="*/ 1256 w 2870"/>
                          <a:gd name="connsiteY13" fmla="*/ 957 h 2870"/>
                          <a:gd name="connsiteX14" fmla="*/ 1495 w 2870"/>
                          <a:gd name="connsiteY14" fmla="*/ 837 h 2870"/>
                          <a:gd name="connsiteX15" fmla="*/ 1735 w 2870"/>
                          <a:gd name="connsiteY15" fmla="*/ 778 h 2870"/>
                          <a:gd name="connsiteX16" fmla="*/ 1914 w 2870"/>
                          <a:gd name="connsiteY16" fmla="*/ 897 h 2870"/>
                          <a:gd name="connsiteX17" fmla="*/ 419 w 2870"/>
                          <a:gd name="connsiteY17" fmla="*/ 2751 h 2870"/>
                          <a:gd name="connsiteX18" fmla="*/ 897 w 2870"/>
                          <a:gd name="connsiteY18" fmla="*/ 2871 h 2870"/>
                          <a:gd name="connsiteX19" fmla="*/ 1435 w 2870"/>
                          <a:gd name="connsiteY19" fmla="*/ 2811 h 2870"/>
                          <a:gd name="connsiteX20" fmla="*/ 1974 w 2870"/>
                          <a:gd name="connsiteY20" fmla="*/ 2512 h 2870"/>
                          <a:gd name="connsiteX21" fmla="*/ 2452 w 2870"/>
                          <a:gd name="connsiteY21" fmla="*/ 2034 h 2870"/>
                          <a:gd name="connsiteX22" fmla="*/ 2751 w 2870"/>
                          <a:gd name="connsiteY22" fmla="*/ 1495 h 2870"/>
                          <a:gd name="connsiteX23" fmla="*/ 2871 w 2870"/>
                          <a:gd name="connsiteY23" fmla="*/ 957 h 2870"/>
                          <a:gd name="connsiteX24" fmla="*/ 2751 w 2870"/>
                          <a:gd name="connsiteY24" fmla="*/ 479 h 2870"/>
                          <a:gd name="connsiteX25" fmla="*/ 2452 w 2870"/>
                          <a:gd name="connsiteY25" fmla="*/ 120 h 2870"/>
                          <a:gd name="connsiteX26" fmla="*/ 1974 w 2870"/>
                          <a:gd name="connsiteY26" fmla="*/ 0 h 2870"/>
                          <a:gd name="connsiteX27" fmla="*/ 1435 w 2870"/>
                          <a:gd name="connsiteY27" fmla="*/ 60 h 2870"/>
                          <a:gd name="connsiteX28" fmla="*/ 897 w 2870"/>
                          <a:gd name="connsiteY28" fmla="*/ 359 h 2870"/>
                          <a:gd name="connsiteX29" fmla="*/ 419 w 2870"/>
                          <a:gd name="connsiteY29" fmla="*/ 837 h 2870"/>
                          <a:gd name="connsiteX30" fmla="*/ 120 w 2870"/>
                          <a:gd name="connsiteY30" fmla="*/ 1376 h 2870"/>
                          <a:gd name="connsiteX31" fmla="*/ 0 w 2870"/>
                          <a:gd name="connsiteY31" fmla="*/ 1914 h 2870"/>
                          <a:gd name="connsiteX32" fmla="*/ 120 w 2870"/>
                          <a:gd name="connsiteY32" fmla="*/ 2392 h 2870"/>
                          <a:gd name="connsiteX33" fmla="*/ 419 w 2870"/>
                          <a:gd name="connsiteY33" fmla="*/ 2751 h 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870" h="2870">
                            <a:moveTo>
                              <a:pt x="1914" y="897"/>
                            </a:moveTo>
                            <a:cubicBezTo>
                              <a:pt x="1974" y="957"/>
                              <a:pt x="2034" y="957"/>
                              <a:pt x="2034" y="1017"/>
                            </a:cubicBezTo>
                            <a:cubicBezTo>
                              <a:pt x="2034" y="1077"/>
                              <a:pt x="2093" y="1136"/>
                              <a:pt x="2093" y="1196"/>
                            </a:cubicBezTo>
                            <a:cubicBezTo>
                              <a:pt x="2093" y="1256"/>
                              <a:pt x="2093" y="1376"/>
                              <a:pt x="2034" y="1436"/>
                            </a:cubicBezTo>
                            <a:cubicBezTo>
                              <a:pt x="1974" y="1495"/>
                              <a:pt x="1974" y="1615"/>
                              <a:pt x="1914" y="1675"/>
                            </a:cubicBezTo>
                            <a:cubicBezTo>
                              <a:pt x="1854" y="1735"/>
                              <a:pt x="1794" y="1795"/>
                              <a:pt x="1735" y="1854"/>
                            </a:cubicBezTo>
                            <a:cubicBezTo>
                              <a:pt x="1675" y="1914"/>
                              <a:pt x="1615" y="1974"/>
                              <a:pt x="1495" y="1974"/>
                            </a:cubicBezTo>
                            <a:cubicBezTo>
                              <a:pt x="1435" y="1974"/>
                              <a:pt x="1316" y="2034"/>
                              <a:pt x="1256" y="1974"/>
                            </a:cubicBezTo>
                            <a:cubicBezTo>
                              <a:pt x="1196" y="1974"/>
                              <a:pt x="1136" y="1974"/>
                              <a:pt x="1076" y="1914"/>
                            </a:cubicBezTo>
                            <a:cubicBezTo>
                              <a:pt x="1017" y="1854"/>
                              <a:pt x="957" y="1854"/>
                              <a:pt x="957" y="1795"/>
                            </a:cubicBezTo>
                            <a:cubicBezTo>
                              <a:pt x="957" y="1735"/>
                              <a:pt x="897" y="1675"/>
                              <a:pt x="897" y="1615"/>
                            </a:cubicBezTo>
                            <a:cubicBezTo>
                              <a:pt x="897" y="1555"/>
                              <a:pt x="897" y="1495"/>
                              <a:pt x="957" y="1376"/>
                            </a:cubicBezTo>
                            <a:cubicBezTo>
                              <a:pt x="1017" y="1316"/>
                              <a:pt x="1017" y="1196"/>
                              <a:pt x="1076" y="1136"/>
                            </a:cubicBezTo>
                            <a:cubicBezTo>
                              <a:pt x="1136" y="1077"/>
                              <a:pt x="1196" y="1017"/>
                              <a:pt x="1256" y="957"/>
                            </a:cubicBezTo>
                            <a:cubicBezTo>
                              <a:pt x="1316" y="897"/>
                              <a:pt x="1435" y="837"/>
                              <a:pt x="1495" y="837"/>
                            </a:cubicBezTo>
                            <a:cubicBezTo>
                              <a:pt x="1555" y="837"/>
                              <a:pt x="1675" y="778"/>
                              <a:pt x="1735" y="778"/>
                            </a:cubicBezTo>
                            <a:cubicBezTo>
                              <a:pt x="1794" y="837"/>
                              <a:pt x="1854" y="837"/>
                              <a:pt x="1914" y="897"/>
                            </a:cubicBezTo>
                            <a:moveTo>
                              <a:pt x="419" y="2751"/>
                            </a:moveTo>
                            <a:cubicBezTo>
                              <a:pt x="538" y="2811"/>
                              <a:pt x="718" y="2871"/>
                              <a:pt x="897" y="2871"/>
                            </a:cubicBezTo>
                            <a:cubicBezTo>
                              <a:pt x="1076" y="2871"/>
                              <a:pt x="1256" y="2871"/>
                              <a:pt x="1435" y="2811"/>
                            </a:cubicBezTo>
                            <a:cubicBezTo>
                              <a:pt x="1615" y="2751"/>
                              <a:pt x="1794" y="2632"/>
                              <a:pt x="1974" y="2512"/>
                            </a:cubicBezTo>
                            <a:cubicBezTo>
                              <a:pt x="2153" y="2392"/>
                              <a:pt x="2333" y="2213"/>
                              <a:pt x="2452" y="2034"/>
                            </a:cubicBezTo>
                            <a:cubicBezTo>
                              <a:pt x="2572" y="1854"/>
                              <a:pt x="2691" y="1675"/>
                              <a:pt x="2751" y="1495"/>
                            </a:cubicBezTo>
                            <a:cubicBezTo>
                              <a:pt x="2811" y="1316"/>
                              <a:pt x="2871" y="1136"/>
                              <a:pt x="2871" y="957"/>
                            </a:cubicBezTo>
                            <a:cubicBezTo>
                              <a:pt x="2871" y="778"/>
                              <a:pt x="2811" y="598"/>
                              <a:pt x="2751" y="479"/>
                            </a:cubicBezTo>
                            <a:cubicBezTo>
                              <a:pt x="2691" y="359"/>
                              <a:pt x="2572" y="239"/>
                              <a:pt x="2452" y="120"/>
                            </a:cubicBezTo>
                            <a:cubicBezTo>
                              <a:pt x="2333" y="60"/>
                              <a:pt x="2153" y="0"/>
                              <a:pt x="1974" y="0"/>
                            </a:cubicBezTo>
                            <a:cubicBezTo>
                              <a:pt x="1794" y="0"/>
                              <a:pt x="1615" y="0"/>
                              <a:pt x="1435" y="60"/>
                            </a:cubicBezTo>
                            <a:cubicBezTo>
                              <a:pt x="1256" y="120"/>
                              <a:pt x="1076" y="239"/>
                              <a:pt x="897" y="359"/>
                            </a:cubicBezTo>
                            <a:cubicBezTo>
                              <a:pt x="718" y="479"/>
                              <a:pt x="538" y="658"/>
                              <a:pt x="419" y="837"/>
                            </a:cubicBezTo>
                            <a:cubicBezTo>
                              <a:pt x="299" y="1017"/>
                              <a:pt x="180" y="1196"/>
                              <a:pt x="120" y="1376"/>
                            </a:cubicBezTo>
                            <a:cubicBezTo>
                              <a:pt x="60" y="1555"/>
                              <a:pt x="0" y="1735"/>
                              <a:pt x="0" y="1914"/>
                            </a:cubicBezTo>
                            <a:cubicBezTo>
                              <a:pt x="0" y="2093"/>
                              <a:pt x="0" y="2273"/>
                              <a:pt x="120" y="2392"/>
                            </a:cubicBezTo>
                            <a:cubicBezTo>
                              <a:pt x="180" y="2572"/>
                              <a:pt x="299" y="2691"/>
                              <a:pt x="419" y="2751"/>
                            </a:cubicBezTo>
                          </a:path>
                        </a:pathLst>
                      </a:custGeom>
                      <a:noFill/>
                      <a:ln w="6350" cap="flat">
                        <a:solidFill>
                          <a:schemeClr val="bg1">
                            <a:alpha val="40000"/>
                          </a:schemeClr>
                        </a:solidFill>
                        <a:prstDash val="solid"/>
                        <a:miter/>
                      </a:ln>
                    </p:spPr>
                    <p:txBody>
                      <a:bodyPr rtlCol="0" anchor="ctr"/>
                      <a:lstStyle/>
                      <a:p>
                        <a:endParaRPr lang="en-GB"/>
                      </a:p>
                    </p:txBody>
                  </p:sp>
                  <p:sp>
                    <p:nvSpPr>
                      <p:cNvPr id="7380" name="Vrije vorm: vorm 7379">
                        <a:extLst>
                          <a:ext uri="{FF2B5EF4-FFF2-40B4-BE49-F238E27FC236}">
                            <a16:creationId xmlns:a16="http://schemas.microsoft.com/office/drawing/2014/main" id="{3BE68EDF-4B29-4303-9EA6-30E178393485}"/>
                          </a:ext>
                        </a:extLst>
                      </p:cNvPr>
                      <p:cNvSpPr/>
                      <p:nvPr/>
                    </p:nvSpPr>
                    <p:spPr>
                      <a:xfrm>
                        <a:off x="5284167" y="5518153"/>
                        <a:ext cx="2870" cy="2870"/>
                      </a:xfrm>
                      <a:custGeom>
                        <a:avLst/>
                        <a:gdLst>
                          <a:gd name="connsiteX0" fmla="*/ 1854 w 2870"/>
                          <a:gd name="connsiteY0" fmla="*/ 897 h 2870"/>
                          <a:gd name="connsiteX1" fmla="*/ 1973 w 2870"/>
                          <a:gd name="connsiteY1" fmla="*/ 1017 h 2870"/>
                          <a:gd name="connsiteX2" fmla="*/ 2033 w 2870"/>
                          <a:gd name="connsiteY2" fmla="*/ 1196 h 2870"/>
                          <a:gd name="connsiteX3" fmla="*/ 1973 w 2870"/>
                          <a:gd name="connsiteY3" fmla="*/ 1435 h 2870"/>
                          <a:gd name="connsiteX4" fmla="*/ 1854 w 2870"/>
                          <a:gd name="connsiteY4" fmla="*/ 1674 h 2870"/>
                          <a:gd name="connsiteX5" fmla="*/ 1674 w 2870"/>
                          <a:gd name="connsiteY5" fmla="*/ 1854 h 2870"/>
                          <a:gd name="connsiteX6" fmla="*/ 1435 w 2870"/>
                          <a:gd name="connsiteY6" fmla="*/ 1974 h 2870"/>
                          <a:gd name="connsiteX7" fmla="*/ 1196 w 2870"/>
                          <a:gd name="connsiteY7" fmla="*/ 1974 h 2870"/>
                          <a:gd name="connsiteX8" fmla="*/ 1017 w 2870"/>
                          <a:gd name="connsiteY8" fmla="*/ 1914 h 2870"/>
                          <a:gd name="connsiteX9" fmla="*/ 897 w 2870"/>
                          <a:gd name="connsiteY9" fmla="*/ 1794 h 2870"/>
                          <a:gd name="connsiteX10" fmla="*/ 837 w 2870"/>
                          <a:gd name="connsiteY10" fmla="*/ 1615 h 2870"/>
                          <a:gd name="connsiteX11" fmla="*/ 897 w 2870"/>
                          <a:gd name="connsiteY11" fmla="*/ 1375 h 2870"/>
                          <a:gd name="connsiteX12" fmla="*/ 1017 w 2870"/>
                          <a:gd name="connsiteY12" fmla="*/ 1136 h 2870"/>
                          <a:gd name="connsiteX13" fmla="*/ 1196 w 2870"/>
                          <a:gd name="connsiteY13" fmla="*/ 957 h 2870"/>
                          <a:gd name="connsiteX14" fmla="*/ 1435 w 2870"/>
                          <a:gd name="connsiteY14" fmla="*/ 837 h 2870"/>
                          <a:gd name="connsiteX15" fmla="*/ 1674 w 2870"/>
                          <a:gd name="connsiteY15" fmla="*/ 778 h 2870"/>
                          <a:gd name="connsiteX16" fmla="*/ 1854 w 2870"/>
                          <a:gd name="connsiteY16" fmla="*/ 897 h 2870"/>
                          <a:gd name="connsiteX17" fmla="*/ 419 w 2870"/>
                          <a:gd name="connsiteY17" fmla="*/ 2751 h 2870"/>
                          <a:gd name="connsiteX18" fmla="*/ 897 w 2870"/>
                          <a:gd name="connsiteY18" fmla="*/ 2871 h 2870"/>
                          <a:gd name="connsiteX19" fmla="*/ 1435 w 2870"/>
                          <a:gd name="connsiteY19" fmla="*/ 2811 h 2870"/>
                          <a:gd name="connsiteX20" fmla="*/ 1973 w 2870"/>
                          <a:gd name="connsiteY20" fmla="*/ 2512 h 2870"/>
                          <a:gd name="connsiteX21" fmla="*/ 2452 w 2870"/>
                          <a:gd name="connsiteY21" fmla="*/ 2033 h 2870"/>
                          <a:gd name="connsiteX22" fmla="*/ 2751 w 2870"/>
                          <a:gd name="connsiteY22" fmla="*/ 1495 h 2870"/>
                          <a:gd name="connsiteX23" fmla="*/ 2871 w 2870"/>
                          <a:gd name="connsiteY23" fmla="*/ 957 h 2870"/>
                          <a:gd name="connsiteX24" fmla="*/ 2751 w 2870"/>
                          <a:gd name="connsiteY24" fmla="*/ 479 h 2870"/>
                          <a:gd name="connsiteX25" fmla="*/ 2452 w 2870"/>
                          <a:gd name="connsiteY25" fmla="*/ 120 h 2870"/>
                          <a:gd name="connsiteX26" fmla="*/ 1973 w 2870"/>
                          <a:gd name="connsiteY26" fmla="*/ 0 h 2870"/>
                          <a:gd name="connsiteX27" fmla="*/ 1435 w 2870"/>
                          <a:gd name="connsiteY27" fmla="*/ 60 h 2870"/>
                          <a:gd name="connsiteX28" fmla="*/ 897 w 2870"/>
                          <a:gd name="connsiteY28" fmla="*/ 359 h 2870"/>
                          <a:gd name="connsiteX29" fmla="*/ 419 w 2870"/>
                          <a:gd name="connsiteY29" fmla="*/ 837 h 2870"/>
                          <a:gd name="connsiteX30" fmla="*/ 119 w 2870"/>
                          <a:gd name="connsiteY30" fmla="*/ 1375 h 2870"/>
                          <a:gd name="connsiteX31" fmla="*/ 0 w 2870"/>
                          <a:gd name="connsiteY31" fmla="*/ 1914 h 2870"/>
                          <a:gd name="connsiteX32" fmla="*/ 119 w 2870"/>
                          <a:gd name="connsiteY32" fmla="*/ 2392 h 2870"/>
                          <a:gd name="connsiteX33" fmla="*/ 419 w 2870"/>
                          <a:gd name="connsiteY33" fmla="*/ 2751 h 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870" h="2870">
                            <a:moveTo>
                              <a:pt x="1854" y="897"/>
                            </a:moveTo>
                            <a:cubicBezTo>
                              <a:pt x="1914" y="957"/>
                              <a:pt x="1973" y="957"/>
                              <a:pt x="1973" y="1017"/>
                            </a:cubicBezTo>
                            <a:cubicBezTo>
                              <a:pt x="1973" y="1076"/>
                              <a:pt x="2033" y="1136"/>
                              <a:pt x="2033" y="1196"/>
                            </a:cubicBezTo>
                            <a:cubicBezTo>
                              <a:pt x="2033" y="1256"/>
                              <a:pt x="2033" y="1316"/>
                              <a:pt x="1973" y="1435"/>
                            </a:cubicBezTo>
                            <a:cubicBezTo>
                              <a:pt x="1914" y="1495"/>
                              <a:pt x="1914" y="1615"/>
                              <a:pt x="1854" y="1674"/>
                            </a:cubicBezTo>
                            <a:cubicBezTo>
                              <a:pt x="1794" y="1734"/>
                              <a:pt x="1734" y="1794"/>
                              <a:pt x="1674" y="1854"/>
                            </a:cubicBezTo>
                            <a:cubicBezTo>
                              <a:pt x="1615" y="1914"/>
                              <a:pt x="1555" y="1914"/>
                              <a:pt x="1435" y="1974"/>
                            </a:cubicBezTo>
                            <a:cubicBezTo>
                              <a:pt x="1375" y="1974"/>
                              <a:pt x="1256" y="2033"/>
                              <a:pt x="1196" y="1974"/>
                            </a:cubicBezTo>
                            <a:cubicBezTo>
                              <a:pt x="1136" y="1914"/>
                              <a:pt x="1076" y="1974"/>
                              <a:pt x="1017" y="1914"/>
                            </a:cubicBezTo>
                            <a:cubicBezTo>
                              <a:pt x="957" y="1854"/>
                              <a:pt x="897" y="1854"/>
                              <a:pt x="897" y="1794"/>
                            </a:cubicBezTo>
                            <a:cubicBezTo>
                              <a:pt x="897" y="1734"/>
                              <a:pt x="837" y="1674"/>
                              <a:pt x="837" y="1615"/>
                            </a:cubicBezTo>
                            <a:cubicBezTo>
                              <a:pt x="837" y="1555"/>
                              <a:pt x="837" y="1495"/>
                              <a:pt x="897" y="1375"/>
                            </a:cubicBezTo>
                            <a:cubicBezTo>
                              <a:pt x="957" y="1256"/>
                              <a:pt x="957" y="1196"/>
                              <a:pt x="1017" y="1136"/>
                            </a:cubicBezTo>
                            <a:cubicBezTo>
                              <a:pt x="1076" y="1076"/>
                              <a:pt x="1136" y="1017"/>
                              <a:pt x="1196" y="957"/>
                            </a:cubicBezTo>
                            <a:cubicBezTo>
                              <a:pt x="1256" y="897"/>
                              <a:pt x="1316" y="837"/>
                              <a:pt x="1435" y="837"/>
                            </a:cubicBezTo>
                            <a:cubicBezTo>
                              <a:pt x="1495" y="837"/>
                              <a:pt x="1555" y="778"/>
                              <a:pt x="1674" y="778"/>
                            </a:cubicBezTo>
                            <a:cubicBezTo>
                              <a:pt x="1794" y="778"/>
                              <a:pt x="1794" y="897"/>
                              <a:pt x="1854" y="897"/>
                            </a:cubicBezTo>
                            <a:moveTo>
                              <a:pt x="419" y="2751"/>
                            </a:moveTo>
                            <a:cubicBezTo>
                              <a:pt x="538" y="2811"/>
                              <a:pt x="718" y="2871"/>
                              <a:pt x="897" y="2871"/>
                            </a:cubicBezTo>
                            <a:cubicBezTo>
                              <a:pt x="1076" y="2871"/>
                              <a:pt x="1256" y="2871"/>
                              <a:pt x="1435" y="2811"/>
                            </a:cubicBezTo>
                            <a:cubicBezTo>
                              <a:pt x="1615" y="2751"/>
                              <a:pt x="1794" y="2632"/>
                              <a:pt x="1973" y="2512"/>
                            </a:cubicBezTo>
                            <a:cubicBezTo>
                              <a:pt x="2153" y="2392"/>
                              <a:pt x="2332" y="2213"/>
                              <a:pt x="2452" y="2033"/>
                            </a:cubicBezTo>
                            <a:cubicBezTo>
                              <a:pt x="2572" y="1854"/>
                              <a:pt x="2691" y="1674"/>
                              <a:pt x="2751" y="1495"/>
                            </a:cubicBezTo>
                            <a:cubicBezTo>
                              <a:pt x="2811" y="1316"/>
                              <a:pt x="2871" y="1136"/>
                              <a:pt x="2871" y="957"/>
                            </a:cubicBezTo>
                            <a:cubicBezTo>
                              <a:pt x="2871" y="778"/>
                              <a:pt x="2871" y="598"/>
                              <a:pt x="2751" y="479"/>
                            </a:cubicBezTo>
                            <a:cubicBezTo>
                              <a:pt x="2691" y="359"/>
                              <a:pt x="2572" y="239"/>
                              <a:pt x="2452" y="120"/>
                            </a:cubicBezTo>
                            <a:cubicBezTo>
                              <a:pt x="2332" y="60"/>
                              <a:pt x="2153" y="0"/>
                              <a:pt x="1973" y="0"/>
                            </a:cubicBezTo>
                            <a:cubicBezTo>
                              <a:pt x="1794" y="0"/>
                              <a:pt x="1615" y="0"/>
                              <a:pt x="1435" y="60"/>
                            </a:cubicBezTo>
                            <a:cubicBezTo>
                              <a:pt x="1256" y="120"/>
                              <a:pt x="1076" y="239"/>
                              <a:pt x="897" y="359"/>
                            </a:cubicBezTo>
                            <a:cubicBezTo>
                              <a:pt x="718" y="479"/>
                              <a:pt x="538" y="658"/>
                              <a:pt x="419" y="837"/>
                            </a:cubicBezTo>
                            <a:cubicBezTo>
                              <a:pt x="299" y="1017"/>
                              <a:pt x="179" y="1196"/>
                              <a:pt x="119" y="1375"/>
                            </a:cubicBezTo>
                            <a:cubicBezTo>
                              <a:pt x="60" y="1555"/>
                              <a:pt x="0" y="1734"/>
                              <a:pt x="0" y="1914"/>
                            </a:cubicBezTo>
                            <a:cubicBezTo>
                              <a:pt x="0" y="2093"/>
                              <a:pt x="0" y="2273"/>
                              <a:pt x="119" y="2392"/>
                            </a:cubicBezTo>
                            <a:cubicBezTo>
                              <a:pt x="239" y="2512"/>
                              <a:pt x="239" y="2691"/>
                              <a:pt x="419" y="2751"/>
                            </a:cubicBezTo>
                          </a:path>
                        </a:pathLst>
                      </a:custGeom>
                      <a:noFill/>
                      <a:ln w="6350" cap="flat">
                        <a:solidFill>
                          <a:schemeClr val="bg1">
                            <a:alpha val="40000"/>
                          </a:schemeClr>
                        </a:solidFill>
                        <a:prstDash val="solid"/>
                        <a:miter/>
                      </a:ln>
                    </p:spPr>
                    <p:txBody>
                      <a:bodyPr rtlCol="0" anchor="ctr"/>
                      <a:lstStyle/>
                      <a:p>
                        <a:endParaRPr lang="en-GB"/>
                      </a:p>
                    </p:txBody>
                  </p:sp>
                  <p:sp>
                    <p:nvSpPr>
                      <p:cNvPr id="7381" name="Vrije vorm: vorm 7380">
                        <a:extLst>
                          <a:ext uri="{FF2B5EF4-FFF2-40B4-BE49-F238E27FC236}">
                            <a16:creationId xmlns:a16="http://schemas.microsoft.com/office/drawing/2014/main" id="{11F77462-2CFE-4AF1-938E-CA74D1C56ACC}"/>
                          </a:ext>
                        </a:extLst>
                      </p:cNvPr>
                      <p:cNvSpPr/>
                      <p:nvPr/>
                    </p:nvSpPr>
                    <p:spPr>
                      <a:xfrm>
                        <a:off x="5343137" y="5549551"/>
                        <a:ext cx="21590" cy="19138"/>
                      </a:xfrm>
                      <a:custGeom>
                        <a:avLst/>
                        <a:gdLst>
                          <a:gd name="connsiteX0" fmla="*/ 18361 w 21590"/>
                          <a:gd name="connsiteY0" fmla="*/ 7476 h 19138"/>
                          <a:gd name="connsiteX1" fmla="*/ 19019 w 21590"/>
                          <a:gd name="connsiteY1" fmla="*/ 7895 h 19138"/>
                          <a:gd name="connsiteX2" fmla="*/ 19138 w 21590"/>
                          <a:gd name="connsiteY2" fmla="*/ 7715 h 19138"/>
                          <a:gd name="connsiteX3" fmla="*/ 19318 w 21590"/>
                          <a:gd name="connsiteY3" fmla="*/ 7536 h 19138"/>
                          <a:gd name="connsiteX4" fmla="*/ 19437 w 21590"/>
                          <a:gd name="connsiteY4" fmla="*/ 7356 h 19138"/>
                          <a:gd name="connsiteX5" fmla="*/ 19557 w 21590"/>
                          <a:gd name="connsiteY5" fmla="*/ 7177 h 19138"/>
                          <a:gd name="connsiteX6" fmla="*/ 18899 w 21590"/>
                          <a:gd name="connsiteY6" fmla="*/ 6758 h 19138"/>
                          <a:gd name="connsiteX7" fmla="*/ 18780 w 21590"/>
                          <a:gd name="connsiteY7" fmla="*/ 6937 h 19138"/>
                          <a:gd name="connsiteX8" fmla="*/ 18660 w 21590"/>
                          <a:gd name="connsiteY8" fmla="*/ 7117 h 19138"/>
                          <a:gd name="connsiteX9" fmla="*/ 18540 w 21590"/>
                          <a:gd name="connsiteY9" fmla="*/ 7296 h 19138"/>
                          <a:gd name="connsiteX10" fmla="*/ 18361 w 21590"/>
                          <a:gd name="connsiteY10" fmla="*/ 7476 h 19138"/>
                          <a:gd name="connsiteX11" fmla="*/ 15610 w 21590"/>
                          <a:gd name="connsiteY11" fmla="*/ 5682 h 19138"/>
                          <a:gd name="connsiteX12" fmla="*/ 17822 w 21590"/>
                          <a:gd name="connsiteY12" fmla="*/ 7117 h 19138"/>
                          <a:gd name="connsiteX13" fmla="*/ 18002 w 21590"/>
                          <a:gd name="connsiteY13" fmla="*/ 6937 h 19138"/>
                          <a:gd name="connsiteX14" fmla="*/ 18121 w 21590"/>
                          <a:gd name="connsiteY14" fmla="*/ 6758 h 19138"/>
                          <a:gd name="connsiteX15" fmla="*/ 18241 w 21590"/>
                          <a:gd name="connsiteY15" fmla="*/ 6579 h 19138"/>
                          <a:gd name="connsiteX16" fmla="*/ 18361 w 21590"/>
                          <a:gd name="connsiteY16" fmla="*/ 6399 h 19138"/>
                          <a:gd name="connsiteX17" fmla="*/ 16148 w 21590"/>
                          <a:gd name="connsiteY17" fmla="*/ 4964 h 19138"/>
                          <a:gd name="connsiteX18" fmla="*/ 15968 w 21590"/>
                          <a:gd name="connsiteY18" fmla="*/ 5143 h 19138"/>
                          <a:gd name="connsiteX19" fmla="*/ 15789 w 21590"/>
                          <a:gd name="connsiteY19" fmla="*/ 5323 h 19138"/>
                          <a:gd name="connsiteX20" fmla="*/ 15610 w 21590"/>
                          <a:gd name="connsiteY20" fmla="*/ 5502 h 19138"/>
                          <a:gd name="connsiteX21" fmla="*/ 15610 w 21590"/>
                          <a:gd name="connsiteY21" fmla="*/ 5682 h 19138"/>
                          <a:gd name="connsiteX22" fmla="*/ 14413 w 21590"/>
                          <a:gd name="connsiteY22" fmla="*/ 4904 h 19138"/>
                          <a:gd name="connsiteX23" fmla="*/ 15072 w 21590"/>
                          <a:gd name="connsiteY23" fmla="*/ 5323 h 19138"/>
                          <a:gd name="connsiteX24" fmla="*/ 15251 w 21590"/>
                          <a:gd name="connsiteY24" fmla="*/ 5143 h 19138"/>
                          <a:gd name="connsiteX25" fmla="*/ 15430 w 21590"/>
                          <a:gd name="connsiteY25" fmla="*/ 4964 h 19138"/>
                          <a:gd name="connsiteX26" fmla="*/ 15610 w 21590"/>
                          <a:gd name="connsiteY26" fmla="*/ 4785 h 19138"/>
                          <a:gd name="connsiteX27" fmla="*/ 15789 w 21590"/>
                          <a:gd name="connsiteY27" fmla="*/ 4605 h 19138"/>
                          <a:gd name="connsiteX28" fmla="*/ 15131 w 21590"/>
                          <a:gd name="connsiteY28" fmla="*/ 4187 h 19138"/>
                          <a:gd name="connsiteX29" fmla="*/ 14952 w 21590"/>
                          <a:gd name="connsiteY29" fmla="*/ 4366 h 19138"/>
                          <a:gd name="connsiteX30" fmla="*/ 14772 w 21590"/>
                          <a:gd name="connsiteY30" fmla="*/ 4545 h 19138"/>
                          <a:gd name="connsiteX31" fmla="*/ 14593 w 21590"/>
                          <a:gd name="connsiteY31" fmla="*/ 4725 h 19138"/>
                          <a:gd name="connsiteX32" fmla="*/ 14413 w 21590"/>
                          <a:gd name="connsiteY32" fmla="*/ 4904 h 19138"/>
                          <a:gd name="connsiteX33" fmla="*/ 11124 w 21590"/>
                          <a:gd name="connsiteY33" fmla="*/ 2811 h 19138"/>
                          <a:gd name="connsiteX34" fmla="*/ 13875 w 21590"/>
                          <a:gd name="connsiteY34" fmla="*/ 4605 h 19138"/>
                          <a:gd name="connsiteX35" fmla="*/ 14055 w 21590"/>
                          <a:gd name="connsiteY35" fmla="*/ 4426 h 19138"/>
                          <a:gd name="connsiteX36" fmla="*/ 14234 w 21590"/>
                          <a:gd name="connsiteY36" fmla="*/ 4246 h 19138"/>
                          <a:gd name="connsiteX37" fmla="*/ 14413 w 21590"/>
                          <a:gd name="connsiteY37" fmla="*/ 4067 h 19138"/>
                          <a:gd name="connsiteX38" fmla="*/ 14593 w 21590"/>
                          <a:gd name="connsiteY38" fmla="*/ 3887 h 19138"/>
                          <a:gd name="connsiteX39" fmla="*/ 11842 w 21590"/>
                          <a:gd name="connsiteY39" fmla="*/ 2093 h 19138"/>
                          <a:gd name="connsiteX40" fmla="*/ 11662 w 21590"/>
                          <a:gd name="connsiteY40" fmla="*/ 2273 h 19138"/>
                          <a:gd name="connsiteX41" fmla="*/ 11483 w 21590"/>
                          <a:gd name="connsiteY41" fmla="*/ 2452 h 19138"/>
                          <a:gd name="connsiteX42" fmla="*/ 11304 w 21590"/>
                          <a:gd name="connsiteY42" fmla="*/ 2632 h 19138"/>
                          <a:gd name="connsiteX43" fmla="*/ 11124 w 21590"/>
                          <a:gd name="connsiteY43" fmla="*/ 2811 h 19138"/>
                          <a:gd name="connsiteX44" fmla="*/ 9928 w 21590"/>
                          <a:gd name="connsiteY44" fmla="*/ 2033 h 19138"/>
                          <a:gd name="connsiteX45" fmla="*/ 10586 w 21590"/>
                          <a:gd name="connsiteY45" fmla="*/ 2452 h 19138"/>
                          <a:gd name="connsiteX46" fmla="*/ 10765 w 21590"/>
                          <a:gd name="connsiteY46" fmla="*/ 2273 h 19138"/>
                          <a:gd name="connsiteX47" fmla="*/ 10945 w 21590"/>
                          <a:gd name="connsiteY47" fmla="*/ 2093 h 19138"/>
                          <a:gd name="connsiteX48" fmla="*/ 11124 w 21590"/>
                          <a:gd name="connsiteY48" fmla="*/ 1914 h 19138"/>
                          <a:gd name="connsiteX49" fmla="*/ 11304 w 21590"/>
                          <a:gd name="connsiteY49" fmla="*/ 1734 h 19138"/>
                          <a:gd name="connsiteX50" fmla="*/ 10645 w 21590"/>
                          <a:gd name="connsiteY50" fmla="*/ 1316 h 19138"/>
                          <a:gd name="connsiteX51" fmla="*/ 10466 w 21590"/>
                          <a:gd name="connsiteY51" fmla="*/ 1495 h 19138"/>
                          <a:gd name="connsiteX52" fmla="*/ 10287 w 21590"/>
                          <a:gd name="connsiteY52" fmla="*/ 1674 h 19138"/>
                          <a:gd name="connsiteX53" fmla="*/ 10107 w 21590"/>
                          <a:gd name="connsiteY53" fmla="*/ 1854 h 19138"/>
                          <a:gd name="connsiteX54" fmla="*/ 9928 w 21590"/>
                          <a:gd name="connsiteY54" fmla="*/ 2033 h 19138"/>
                          <a:gd name="connsiteX55" fmla="*/ 16746 w 21590"/>
                          <a:gd name="connsiteY55" fmla="*/ 13696 h 19138"/>
                          <a:gd name="connsiteX56" fmla="*/ 17225 w 21590"/>
                          <a:gd name="connsiteY56" fmla="*/ 13995 h 19138"/>
                          <a:gd name="connsiteX57" fmla="*/ 21590 w 21590"/>
                          <a:gd name="connsiteY57" fmla="*/ 8433 h 19138"/>
                          <a:gd name="connsiteX58" fmla="*/ 20095 w 21590"/>
                          <a:gd name="connsiteY58" fmla="*/ 7476 h 19138"/>
                          <a:gd name="connsiteX59" fmla="*/ 19976 w 21590"/>
                          <a:gd name="connsiteY59" fmla="*/ 7655 h 19138"/>
                          <a:gd name="connsiteX60" fmla="*/ 19856 w 21590"/>
                          <a:gd name="connsiteY60" fmla="*/ 7835 h 19138"/>
                          <a:gd name="connsiteX61" fmla="*/ 19736 w 21590"/>
                          <a:gd name="connsiteY61" fmla="*/ 8014 h 19138"/>
                          <a:gd name="connsiteX62" fmla="*/ 19557 w 21590"/>
                          <a:gd name="connsiteY62" fmla="*/ 8194 h 19138"/>
                          <a:gd name="connsiteX63" fmla="*/ 20574 w 21590"/>
                          <a:gd name="connsiteY63" fmla="*/ 8851 h 19138"/>
                          <a:gd name="connsiteX64" fmla="*/ 16746 w 21590"/>
                          <a:gd name="connsiteY64" fmla="*/ 13696 h 19138"/>
                          <a:gd name="connsiteX65" fmla="*/ 4007 w 21590"/>
                          <a:gd name="connsiteY65" fmla="*/ 5562 h 19138"/>
                          <a:gd name="connsiteX66" fmla="*/ 4545 w 21590"/>
                          <a:gd name="connsiteY66" fmla="*/ 5921 h 19138"/>
                          <a:gd name="connsiteX67" fmla="*/ 8373 w 21590"/>
                          <a:gd name="connsiteY67" fmla="*/ 1076 h 19138"/>
                          <a:gd name="connsiteX68" fmla="*/ 9390 w 21590"/>
                          <a:gd name="connsiteY68" fmla="*/ 1734 h 19138"/>
                          <a:gd name="connsiteX69" fmla="*/ 9569 w 21590"/>
                          <a:gd name="connsiteY69" fmla="*/ 1555 h 19138"/>
                          <a:gd name="connsiteX70" fmla="*/ 9749 w 21590"/>
                          <a:gd name="connsiteY70" fmla="*/ 1375 h 19138"/>
                          <a:gd name="connsiteX71" fmla="*/ 9928 w 21590"/>
                          <a:gd name="connsiteY71" fmla="*/ 1196 h 19138"/>
                          <a:gd name="connsiteX72" fmla="*/ 10107 w 21590"/>
                          <a:gd name="connsiteY72" fmla="*/ 1017 h 19138"/>
                          <a:gd name="connsiteX73" fmla="*/ 8791 w 21590"/>
                          <a:gd name="connsiteY73" fmla="*/ 179 h 19138"/>
                          <a:gd name="connsiteX74" fmla="*/ 8493 w 21590"/>
                          <a:gd name="connsiteY74" fmla="*/ 0 h 19138"/>
                          <a:gd name="connsiteX75" fmla="*/ 4007 w 21590"/>
                          <a:gd name="connsiteY75" fmla="*/ 5562 h 19138"/>
                          <a:gd name="connsiteX76" fmla="*/ 15191 w 21590"/>
                          <a:gd name="connsiteY76" fmla="*/ 15669 h 19138"/>
                          <a:gd name="connsiteX77" fmla="*/ 15669 w 21590"/>
                          <a:gd name="connsiteY77" fmla="*/ 15968 h 19138"/>
                          <a:gd name="connsiteX78" fmla="*/ 16626 w 21590"/>
                          <a:gd name="connsiteY78" fmla="*/ 14772 h 19138"/>
                          <a:gd name="connsiteX79" fmla="*/ 16148 w 21590"/>
                          <a:gd name="connsiteY79" fmla="*/ 14473 h 19138"/>
                          <a:gd name="connsiteX80" fmla="*/ 15191 w 21590"/>
                          <a:gd name="connsiteY80" fmla="*/ 15669 h 19138"/>
                          <a:gd name="connsiteX81" fmla="*/ 2512 w 21590"/>
                          <a:gd name="connsiteY81" fmla="*/ 7536 h 19138"/>
                          <a:gd name="connsiteX82" fmla="*/ 3050 w 21590"/>
                          <a:gd name="connsiteY82" fmla="*/ 7895 h 19138"/>
                          <a:gd name="connsiteX83" fmla="*/ 4007 w 21590"/>
                          <a:gd name="connsiteY83" fmla="*/ 6698 h 19138"/>
                          <a:gd name="connsiteX84" fmla="*/ 3469 w 21590"/>
                          <a:gd name="connsiteY84" fmla="*/ 6340 h 19138"/>
                          <a:gd name="connsiteX85" fmla="*/ 2512 w 21590"/>
                          <a:gd name="connsiteY85" fmla="*/ 7536 h 19138"/>
                          <a:gd name="connsiteX86" fmla="*/ 5502 w 21590"/>
                          <a:gd name="connsiteY86" fmla="*/ 14234 h 19138"/>
                          <a:gd name="connsiteX87" fmla="*/ 13218 w 21590"/>
                          <a:gd name="connsiteY87" fmla="*/ 19138 h 19138"/>
                          <a:gd name="connsiteX88" fmla="*/ 15131 w 21590"/>
                          <a:gd name="connsiteY88" fmla="*/ 16686 h 19138"/>
                          <a:gd name="connsiteX89" fmla="*/ 14653 w 21590"/>
                          <a:gd name="connsiteY89" fmla="*/ 16387 h 19138"/>
                          <a:gd name="connsiteX90" fmla="*/ 13337 w 21590"/>
                          <a:gd name="connsiteY90" fmla="*/ 18062 h 19138"/>
                          <a:gd name="connsiteX91" fmla="*/ 6100 w 21590"/>
                          <a:gd name="connsiteY91" fmla="*/ 13457 h 19138"/>
                          <a:gd name="connsiteX92" fmla="*/ 5502 w 21590"/>
                          <a:gd name="connsiteY92" fmla="*/ 14234 h 19138"/>
                          <a:gd name="connsiteX93" fmla="*/ 1615 w 21590"/>
                          <a:gd name="connsiteY93" fmla="*/ 11722 h 19138"/>
                          <a:gd name="connsiteX94" fmla="*/ 4964 w 21590"/>
                          <a:gd name="connsiteY94" fmla="*/ 13875 h 19138"/>
                          <a:gd name="connsiteX95" fmla="*/ 5562 w 21590"/>
                          <a:gd name="connsiteY95" fmla="*/ 13158 h 19138"/>
                          <a:gd name="connsiteX96" fmla="*/ 2213 w 21590"/>
                          <a:gd name="connsiteY96" fmla="*/ 11004 h 19138"/>
                          <a:gd name="connsiteX97" fmla="*/ 1615 w 21590"/>
                          <a:gd name="connsiteY97" fmla="*/ 11722 h 19138"/>
                          <a:gd name="connsiteX98" fmla="*/ 0 w 21590"/>
                          <a:gd name="connsiteY98" fmla="*/ 10705 h 19138"/>
                          <a:gd name="connsiteX99" fmla="*/ 299 w 21590"/>
                          <a:gd name="connsiteY99" fmla="*/ 10885 h 19138"/>
                          <a:gd name="connsiteX100" fmla="*/ 1136 w 21590"/>
                          <a:gd name="connsiteY100" fmla="*/ 11423 h 19138"/>
                          <a:gd name="connsiteX101" fmla="*/ 1734 w 21590"/>
                          <a:gd name="connsiteY101" fmla="*/ 10705 h 19138"/>
                          <a:gd name="connsiteX102" fmla="*/ 1136 w 21590"/>
                          <a:gd name="connsiteY102" fmla="*/ 10347 h 19138"/>
                          <a:gd name="connsiteX103" fmla="*/ 2512 w 21590"/>
                          <a:gd name="connsiteY103" fmla="*/ 8612 h 19138"/>
                          <a:gd name="connsiteX104" fmla="*/ 1974 w 21590"/>
                          <a:gd name="connsiteY104" fmla="*/ 8253 h 19138"/>
                          <a:gd name="connsiteX105" fmla="*/ 0 w 21590"/>
                          <a:gd name="connsiteY105" fmla="*/ 10705 h 1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1590" h="19138">
                            <a:moveTo>
                              <a:pt x="18361" y="7476"/>
                            </a:moveTo>
                            <a:lnTo>
                              <a:pt x="19019" y="7895"/>
                            </a:lnTo>
                            <a:cubicBezTo>
                              <a:pt x="19079" y="7835"/>
                              <a:pt x="19138" y="7775"/>
                              <a:pt x="19138" y="7715"/>
                            </a:cubicBezTo>
                            <a:cubicBezTo>
                              <a:pt x="19198" y="7655"/>
                              <a:pt x="19258" y="7596"/>
                              <a:pt x="19318" y="7536"/>
                            </a:cubicBezTo>
                            <a:cubicBezTo>
                              <a:pt x="19377" y="7476"/>
                              <a:pt x="19437" y="7416"/>
                              <a:pt x="19437" y="7356"/>
                            </a:cubicBezTo>
                            <a:cubicBezTo>
                              <a:pt x="19437" y="7296"/>
                              <a:pt x="19557" y="7236"/>
                              <a:pt x="19557" y="7177"/>
                            </a:cubicBezTo>
                            <a:lnTo>
                              <a:pt x="18899" y="6758"/>
                            </a:lnTo>
                            <a:cubicBezTo>
                              <a:pt x="18839" y="6818"/>
                              <a:pt x="18780" y="6878"/>
                              <a:pt x="18780" y="6937"/>
                            </a:cubicBezTo>
                            <a:cubicBezTo>
                              <a:pt x="18720" y="6997"/>
                              <a:pt x="18660" y="7057"/>
                              <a:pt x="18660" y="7117"/>
                            </a:cubicBezTo>
                            <a:cubicBezTo>
                              <a:pt x="18600" y="7177"/>
                              <a:pt x="18540" y="7236"/>
                              <a:pt x="18540" y="7296"/>
                            </a:cubicBezTo>
                            <a:cubicBezTo>
                              <a:pt x="18421" y="7356"/>
                              <a:pt x="18421" y="7416"/>
                              <a:pt x="18361" y="7476"/>
                            </a:cubicBezTo>
                            <a:moveTo>
                              <a:pt x="15610" y="5682"/>
                            </a:moveTo>
                            <a:lnTo>
                              <a:pt x="17822" y="7117"/>
                            </a:lnTo>
                            <a:cubicBezTo>
                              <a:pt x="17882" y="7057"/>
                              <a:pt x="17942" y="6997"/>
                              <a:pt x="18002" y="6937"/>
                            </a:cubicBezTo>
                            <a:cubicBezTo>
                              <a:pt x="18062" y="6878"/>
                              <a:pt x="18121" y="6818"/>
                              <a:pt x="18121" y="6758"/>
                            </a:cubicBezTo>
                            <a:cubicBezTo>
                              <a:pt x="18181" y="6698"/>
                              <a:pt x="18241" y="6639"/>
                              <a:pt x="18241" y="6579"/>
                            </a:cubicBezTo>
                            <a:cubicBezTo>
                              <a:pt x="18301" y="6519"/>
                              <a:pt x="18361" y="6459"/>
                              <a:pt x="18361" y="6399"/>
                            </a:cubicBezTo>
                            <a:lnTo>
                              <a:pt x="16148" y="4964"/>
                            </a:lnTo>
                            <a:cubicBezTo>
                              <a:pt x="16088" y="5024"/>
                              <a:pt x="16028" y="5083"/>
                              <a:pt x="15968" y="5143"/>
                            </a:cubicBezTo>
                            <a:cubicBezTo>
                              <a:pt x="15909" y="5203"/>
                              <a:pt x="15849" y="5263"/>
                              <a:pt x="15789" y="5323"/>
                            </a:cubicBezTo>
                            <a:cubicBezTo>
                              <a:pt x="15729" y="5382"/>
                              <a:pt x="15669" y="5442"/>
                              <a:pt x="15610" y="5502"/>
                            </a:cubicBezTo>
                            <a:cubicBezTo>
                              <a:pt x="15669" y="5562"/>
                              <a:pt x="15610" y="5622"/>
                              <a:pt x="15610" y="5682"/>
                            </a:cubicBezTo>
                            <a:moveTo>
                              <a:pt x="14413" y="4904"/>
                            </a:moveTo>
                            <a:lnTo>
                              <a:pt x="15072" y="5323"/>
                            </a:lnTo>
                            <a:cubicBezTo>
                              <a:pt x="15131" y="5263"/>
                              <a:pt x="15191" y="5203"/>
                              <a:pt x="15251" y="5143"/>
                            </a:cubicBezTo>
                            <a:cubicBezTo>
                              <a:pt x="15311" y="5083"/>
                              <a:pt x="15371" y="5024"/>
                              <a:pt x="15430" y="4964"/>
                            </a:cubicBezTo>
                            <a:cubicBezTo>
                              <a:pt x="15490" y="4904"/>
                              <a:pt x="15550" y="4844"/>
                              <a:pt x="15610" y="4785"/>
                            </a:cubicBezTo>
                            <a:cubicBezTo>
                              <a:pt x="15669" y="4725"/>
                              <a:pt x="15729" y="4665"/>
                              <a:pt x="15789" y="4605"/>
                            </a:cubicBezTo>
                            <a:lnTo>
                              <a:pt x="15131" y="4187"/>
                            </a:lnTo>
                            <a:cubicBezTo>
                              <a:pt x="15072" y="4246"/>
                              <a:pt x="15012" y="4306"/>
                              <a:pt x="14952" y="4366"/>
                            </a:cubicBezTo>
                            <a:cubicBezTo>
                              <a:pt x="14892" y="4426"/>
                              <a:pt x="14832" y="4486"/>
                              <a:pt x="14772" y="4545"/>
                            </a:cubicBezTo>
                            <a:cubicBezTo>
                              <a:pt x="14713" y="4605"/>
                              <a:pt x="14653" y="4665"/>
                              <a:pt x="14593" y="4725"/>
                            </a:cubicBezTo>
                            <a:cubicBezTo>
                              <a:pt x="14473" y="4785"/>
                              <a:pt x="14473" y="4844"/>
                              <a:pt x="14413" y="4904"/>
                            </a:cubicBezTo>
                            <a:moveTo>
                              <a:pt x="11124" y="2811"/>
                            </a:moveTo>
                            <a:lnTo>
                              <a:pt x="13875" y="4605"/>
                            </a:lnTo>
                            <a:cubicBezTo>
                              <a:pt x="13935" y="4545"/>
                              <a:pt x="13995" y="4486"/>
                              <a:pt x="14055" y="4426"/>
                            </a:cubicBezTo>
                            <a:cubicBezTo>
                              <a:pt x="14114" y="4366"/>
                              <a:pt x="14174" y="4306"/>
                              <a:pt x="14234" y="4246"/>
                            </a:cubicBezTo>
                            <a:cubicBezTo>
                              <a:pt x="14294" y="4187"/>
                              <a:pt x="14354" y="4127"/>
                              <a:pt x="14413" y="4067"/>
                            </a:cubicBezTo>
                            <a:cubicBezTo>
                              <a:pt x="14473" y="4007"/>
                              <a:pt x="14533" y="3947"/>
                              <a:pt x="14593" y="3887"/>
                            </a:cubicBezTo>
                            <a:lnTo>
                              <a:pt x="11842" y="2093"/>
                            </a:lnTo>
                            <a:cubicBezTo>
                              <a:pt x="11782" y="2153"/>
                              <a:pt x="11722" y="2213"/>
                              <a:pt x="11662" y="2273"/>
                            </a:cubicBezTo>
                            <a:cubicBezTo>
                              <a:pt x="11603" y="2333"/>
                              <a:pt x="11543" y="2392"/>
                              <a:pt x="11483" y="2452"/>
                            </a:cubicBezTo>
                            <a:cubicBezTo>
                              <a:pt x="11423" y="2512"/>
                              <a:pt x="11364" y="2572"/>
                              <a:pt x="11304" y="2632"/>
                            </a:cubicBezTo>
                            <a:cubicBezTo>
                              <a:pt x="11244" y="2691"/>
                              <a:pt x="11184" y="2751"/>
                              <a:pt x="11124" y="2811"/>
                            </a:cubicBezTo>
                            <a:moveTo>
                              <a:pt x="9928" y="2033"/>
                            </a:moveTo>
                            <a:lnTo>
                              <a:pt x="10586" y="2452"/>
                            </a:lnTo>
                            <a:cubicBezTo>
                              <a:pt x="10645" y="2392"/>
                              <a:pt x="10705" y="2333"/>
                              <a:pt x="10765" y="2273"/>
                            </a:cubicBezTo>
                            <a:cubicBezTo>
                              <a:pt x="10825" y="2213"/>
                              <a:pt x="10885" y="2153"/>
                              <a:pt x="10945" y="2093"/>
                            </a:cubicBezTo>
                            <a:cubicBezTo>
                              <a:pt x="11005" y="2033"/>
                              <a:pt x="11064" y="1974"/>
                              <a:pt x="11124" y="1914"/>
                            </a:cubicBezTo>
                            <a:cubicBezTo>
                              <a:pt x="11184" y="1854"/>
                              <a:pt x="11244" y="1794"/>
                              <a:pt x="11304" y="1734"/>
                            </a:cubicBezTo>
                            <a:lnTo>
                              <a:pt x="10645" y="1316"/>
                            </a:lnTo>
                            <a:cubicBezTo>
                              <a:pt x="10586" y="1375"/>
                              <a:pt x="10526" y="1435"/>
                              <a:pt x="10466" y="1495"/>
                            </a:cubicBezTo>
                            <a:cubicBezTo>
                              <a:pt x="10406" y="1555"/>
                              <a:pt x="10347" y="1615"/>
                              <a:pt x="10287" y="1674"/>
                            </a:cubicBezTo>
                            <a:cubicBezTo>
                              <a:pt x="10227" y="1734"/>
                              <a:pt x="10167" y="1794"/>
                              <a:pt x="10107" y="1854"/>
                            </a:cubicBezTo>
                            <a:cubicBezTo>
                              <a:pt x="10048" y="1914"/>
                              <a:pt x="9988" y="1974"/>
                              <a:pt x="9928" y="2033"/>
                            </a:cubicBezTo>
                            <a:moveTo>
                              <a:pt x="16746" y="13696"/>
                            </a:moveTo>
                            <a:lnTo>
                              <a:pt x="17225" y="13995"/>
                            </a:lnTo>
                            <a:lnTo>
                              <a:pt x="21590" y="8433"/>
                            </a:lnTo>
                            <a:lnTo>
                              <a:pt x="20095" y="7476"/>
                            </a:lnTo>
                            <a:cubicBezTo>
                              <a:pt x="20035" y="7536"/>
                              <a:pt x="19976" y="7596"/>
                              <a:pt x="19976" y="7655"/>
                            </a:cubicBezTo>
                            <a:cubicBezTo>
                              <a:pt x="19916" y="7715"/>
                              <a:pt x="19856" y="7775"/>
                              <a:pt x="19856" y="7835"/>
                            </a:cubicBezTo>
                            <a:cubicBezTo>
                              <a:pt x="19856" y="7895"/>
                              <a:pt x="19736" y="7954"/>
                              <a:pt x="19736" y="8014"/>
                            </a:cubicBezTo>
                            <a:cubicBezTo>
                              <a:pt x="19676" y="8074"/>
                              <a:pt x="19617" y="8134"/>
                              <a:pt x="19557" y="8194"/>
                            </a:cubicBezTo>
                            <a:lnTo>
                              <a:pt x="20574" y="8851"/>
                            </a:lnTo>
                            <a:lnTo>
                              <a:pt x="16746" y="13696"/>
                            </a:lnTo>
                            <a:moveTo>
                              <a:pt x="4007" y="5562"/>
                            </a:moveTo>
                            <a:lnTo>
                              <a:pt x="4545" y="5921"/>
                            </a:lnTo>
                            <a:lnTo>
                              <a:pt x="8373" y="1076"/>
                            </a:lnTo>
                            <a:lnTo>
                              <a:pt x="9390" y="1734"/>
                            </a:lnTo>
                            <a:cubicBezTo>
                              <a:pt x="9450" y="1674"/>
                              <a:pt x="9510" y="1615"/>
                              <a:pt x="9569" y="1555"/>
                            </a:cubicBezTo>
                            <a:cubicBezTo>
                              <a:pt x="9629" y="1495"/>
                              <a:pt x="9689" y="1435"/>
                              <a:pt x="9749" y="1375"/>
                            </a:cubicBezTo>
                            <a:cubicBezTo>
                              <a:pt x="9808" y="1316"/>
                              <a:pt x="9868" y="1256"/>
                              <a:pt x="9928" y="1196"/>
                            </a:cubicBezTo>
                            <a:cubicBezTo>
                              <a:pt x="9988" y="1136"/>
                              <a:pt x="10048" y="1076"/>
                              <a:pt x="10107" y="1017"/>
                            </a:cubicBezTo>
                            <a:lnTo>
                              <a:pt x="8791" y="179"/>
                            </a:lnTo>
                            <a:lnTo>
                              <a:pt x="8493" y="0"/>
                            </a:lnTo>
                            <a:lnTo>
                              <a:pt x="4007" y="5562"/>
                            </a:lnTo>
                            <a:moveTo>
                              <a:pt x="15191" y="15669"/>
                            </a:moveTo>
                            <a:lnTo>
                              <a:pt x="15669" y="15968"/>
                            </a:lnTo>
                            <a:lnTo>
                              <a:pt x="16626" y="14772"/>
                            </a:lnTo>
                            <a:lnTo>
                              <a:pt x="16148" y="14473"/>
                            </a:lnTo>
                            <a:lnTo>
                              <a:pt x="15191" y="15669"/>
                            </a:lnTo>
                            <a:moveTo>
                              <a:pt x="2512" y="7536"/>
                            </a:moveTo>
                            <a:lnTo>
                              <a:pt x="3050" y="7895"/>
                            </a:lnTo>
                            <a:lnTo>
                              <a:pt x="4007" y="6698"/>
                            </a:lnTo>
                            <a:lnTo>
                              <a:pt x="3469" y="6340"/>
                            </a:lnTo>
                            <a:lnTo>
                              <a:pt x="2512" y="7536"/>
                            </a:lnTo>
                            <a:moveTo>
                              <a:pt x="5502" y="14234"/>
                            </a:moveTo>
                            <a:lnTo>
                              <a:pt x="13218" y="19138"/>
                            </a:lnTo>
                            <a:lnTo>
                              <a:pt x="15131" y="16686"/>
                            </a:lnTo>
                            <a:lnTo>
                              <a:pt x="14653" y="16387"/>
                            </a:lnTo>
                            <a:lnTo>
                              <a:pt x="13337" y="18062"/>
                            </a:lnTo>
                            <a:lnTo>
                              <a:pt x="6100" y="13457"/>
                            </a:lnTo>
                            <a:lnTo>
                              <a:pt x="5502" y="14234"/>
                            </a:lnTo>
                            <a:moveTo>
                              <a:pt x="1615" y="11722"/>
                            </a:moveTo>
                            <a:lnTo>
                              <a:pt x="4964" y="13875"/>
                            </a:lnTo>
                            <a:lnTo>
                              <a:pt x="5562" y="13158"/>
                            </a:lnTo>
                            <a:lnTo>
                              <a:pt x="2213" y="11004"/>
                            </a:lnTo>
                            <a:lnTo>
                              <a:pt x="1615" y="11722"/>
                            </a:lnTo>
                            <a:moveTo>
                              <a:pt x="0" y="10705"/>
                            </a:moveTo>
                            <a:lnTo>
                              <a:pt x="299" y="10885"/>
                            </a:lnTo>
                            <a:lnTo>
                              <a:pt x="1136" y="11423"/>
                            </a:lnTo>
                            <a:lnTo>
                              <a:pt x="1734" y="10705"/>
                            </a:lnTo>
                            <a:lnTo>
                              <a:pt x="1136" y="10347"/>
                            </a:lnTo>
                            <a:lnTo>
                              <a:pt x="2512" y="8612"/>
                            </a:lnTo>
                            <a:lnTo>
                              <a:pt x="1974" y="8253"/>
                            </a:lnTo>
                            <a:lnTo>
                              <a:pt x="0" y="10705"/>
                            </a:lnTo>
                          </a:path>
                        </a:pathLst>
                      </a:custGeom>
                      <a:noFill/>
                      <a:ln w="6350" cap="flat">
                        <a:solidFill>
                          <a:schemeClr val="bg1">
                            <a:alpha val="40000"/>
                          </a:schemeClr>
                        </a:solidFill>
                        <a:prstDash val="solid"/>
                        <a:miter/>
                      </a:ln>
                    </p:spPr>
                    <p:txBody>
                      <a:bodyPr rtlCol="0" anchor="ctr"/>
                      <a:lstStyle/>
                      <a:p>
                        <a:endParaRPr lang="en-GB"/>
                      </a:p>
                    </p:txBody>
                  </p:sp>
                  <p:sp>
                    <p:nvSpPr>
                      <p:cNvPr id="7382" name="Vrije vorm: vorm 7381">
                        <a:extLst>
                          <a:ext uri="{FF2B5EF4-FFF2-40B4-BE49-F238E27FC236}">
                            <a16:creationId xmlns:a16="http://schemas.microsoft.com/office/drawing/2014/main" id="{A0F6F32E-0AEF-4AF2-8BD5-E0343F144EA9}"/>
                          </a:ext>
                        </a:extLst>
                      </p:cNvPr>
                      <p:cNvSpPr/>
                      <p:nvPr/>
                    </p:nvSpPr>
                    <p:spPr>
                      <a:xfrm>
                        <a:off x="5332013" y="5556669"/>
                        <a:ext cx="27630" cy="25717"/>
                      </a:xfrm>
                      <a:custGeom>
                        <a:avLst/>
                        <a:gdLst>
                          <a:gd name="connsiteX0" fmla="*/ 0 w 27630"/>
                          <a:gd name="connsiteY0" fmla="*/ 16507 h 25717"/>
                          <a:gd name="connsiteX1" fmla="*/ 359 w 27630"/>
                          <a:gd name="connsiteY1" fmla="*/ 16746 h 25717"/>
                          <a:gd name="connsiteX2" fmla="*/ 897 w 27630"/>
                          <a:gd name="connsiteY2" fmla="*/ 17045 h 25717"/>
                          <a:gd name="connsiteX3" fmla="*/ 1734 w 27630"/>
                          <a:gd name="connsiteY3" fmla="*/ 17583 h 25717"/>
                          <a:gd name="connsiteX4" fmla="*/ 2332 w 27630"/>
                          <a:gd name="connsiteY4" fmla="*/ 16866 h 25717"/>
                          <a:gd name="connsiteX5" fmla="*/ 1495 w 27630"/>
                          <a:gd name="connsiteY5" fmla="*/ 16327 h 25717"/>
                          <a:gd name="connsiteX6" fmla="*/ 1076 w 27630"/>
                          <a:gd name="connsiteY6" fmla="*/ 16088 h 25717"/>
                          <a:gd name="connsiteX7" fmla="*/ 12978 w 27630"/>
                          <a:gd name="connsiteY7" fmla="*/ 1076 h 25717"/>
                          <a:gd name="connsiteX8" fmla="*/ 13038 w 27630"/>
                          <a:gd name="connsiteY8" fmla="*/ 1136 h 25717"/>
                          <a:gd name="connsiteX9" fmla="*/ 13576 w 27630"/>
                          <a:gd name="connsiteY9" fmla="*/ 1435 h 25717"/>
                          <a:gd name="connsiteX10" fmla="*/ 14174 w 27630"/>
                          <a:gd name="connsiteY10" fmla="*/ 1854 h 25717"/>
                          <a:gd name="connsiteX11" fmla="*/ 14712 w 27630"/>
                          <a:gd name="connsiteY11" fmla="*/ 1136 h 25717"/>
                          <a:gd name="connsiteX12" fmla="*/ 19138 w 27630"/>
                          <a:gd name="connsiteY12" fmla="*/ 3947 h 25717"/>
                          <a:gd name="connsiteX13" fmla="*/ 18540 w 27630"/>
                          <a:gd name="connsiteY13" fmla="*/ 4665 h 25717"/>
                          <a:gd name="connsiteX14" fmla="*/ 25777 w 27630"/>
                          <a:gd name="connsiteY14" fmla="*/ 9270 h 25717"/>
                          <a:gd name="connsiteX15" fmla="*/ 26255 w 27630"/>
                          <a:gd name="connsiteY15" fmla="*/ 9569 h 25717"/>
                          <a:gd name="connsiteX16" fmla="*/ 26554 w 27630"/>
                          <a:gd name="connsiteY16" fmla="*/ 9808 h 25717"/>
                          <a:gd name="connsiteX17" fmla="*/ 14832 w 27630"/>
                          <a:gd name="connsiteY17" fmla="*/ 24641 h 25717"/>
                          <a:gd name="connsiteX18" fmla="*/ 6758 w 27630"/>
                          <a:gd name="connsiteY18" fmla="*/ 19617 h 25717"/>
                          <a:gd name="connsiteX19" fmla="*/ 6160 w 27630"/>
                          <a:gd name="connsiteY19" fmla="*/ 20334 h 25717"/>
                          <a:gd name="connsiteX20" fmla="*/ 14772 w 27630"/>
                          <a:gd name="connsiteY20" fmla="*/ 25717 h 25717"/>
                          <a:gd name="connsiteX21" fmla="*/ 27631 w 27630"/>
                          <a:gd name="connsiteY21" fmla="*/ 9390 h 25717"/>
                          <a:gd name="connsiteX22" fmla="*/ 26794 w 27630"/>
                          <a:gd name="connsiteY22" fmla="*/ 8851 h 25717"/>
                          <a:gd name="connsiteX23" fmla="*/ 26315 w 27630"/>
                          <a:gd name="connsiteY23" fmla="*/ 8552 h 25717"/>
                          <a:gd name="connsiteX24" fmla="*/ 14114 w 27630"/>
                          <a:gd name="connsiteY24" fmla="*/ 718 h 25717"/>
                          <a:gd name="connsiteX25" fmla="*/ 13636 w 27630"/>
                          <a:gd name="connsiteY25" fmla="*/ 419 h 25717"/>
                          <a:gd name="connsiteX26" fmla="*/ 13397 w 27630"/>
                          <a:gd name="connsiteY26" fmla="*/ 239 h 25717"/>
                          <a:gd name="connsiteX27" fmla="*/ 12978 w 27630"/>
                          <a:gd name="connsiteY27" fmla="*/ 0 h 25717"/>
                          <a:gd name="connsiteX28" fmla="*/ 0 w 27630"/>
                          <a:gd name="connsiteY28" fmla="*/ 16507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630" h="25717">
                            <a:moveTo>
                              <a:pt x="0" y="16507"/>
                            </a:moveTo>
                            <a:lnTo>
                              <a:pt x="359" y="16746"/>
                            </a:lnTo>
                            <a:lnTo>
                              <a:pt x="897" y="17045"/>
                            </a:lnTo>
                            <a:lnTo>
                              <a:pt x="1734" y="17583"/>
                            </a:lnTo>
                            <a:lnTo>
                              <a:pt x="2332" y="16866"/>
                            </a:lnTo>
                            <a:lnTo>
                              <a:pt x="1495" y="16327"/>
                            </a:lnTo>
                            <a:lnTo>
                              <a:pt x="1076" y="16088"/>
                            </a:lnTo>
                            <a:lnTo>
                              <a:pt x="12978" y="1076"/>
                            </a:lnTo>
                            <a:lnTo>
                              <a:pt x="13038" y="1136"/>
                            </a:lnTo>
                            <a:lnTo>
                              <a:pt x="13576" y="1435"/>
                            </a:lnTo>
                            <a:lnTo>
                              <a:pt x="14174" y="1854"/>
                            </a:lnTo>
                            <a:lnTo>
                              <a:pt x="14712" y="1136"/>
                            </a:lnTo>
                            <a:lnTo>
                              <a:pt x="19138" y="3947"/>
                            </a:lnTo>
                            <a:lnTo>
                              <a:pt x="18540" y="4665"/>
                            </a:lnTo>
                            <a:lnTo>
                              <a:pt x="25777" y="9270"/>
                            </a:lnTo>
                            <a:lnTo>
                              <a:pt x="26255" y="9569"/>
                            </a:lnTo>
                            <a:lnTo>
                              <a:pt x="26554" y="9808"/>
                            </a:lnTo>
                            <a:lnTo>
                              <a:pt x="14832" y="24641"/>
                            </a:lnTo>
                            <a:lnTo>
                              <a:pt x="6758" y="19617"/>
                            </a:lnTo>
                            <a:lnTo>
                              <a:pt x="6160" y="20334"/>
                            </a:lnTo>
                            <a:lnTo>
                              <a:pt x="14772" y="25717"/>
                            </a:lnTo>
                            <a:lnTo>
                              <a:pt x="27631" y="9390"/>
                            </a:lnTo>
                            <a:lnTo>
                              <a:pt x="26794" y="8851"/>
                            </a:lnTo>
                            <a:lnTo>
                              <a:pt x="26315" y="8552"/>
                            </a:lnTo>
                            <a:lnTo>
                              <a:pt x="14114" y="718"/>
                            </a:lnTo>
                            <a:lnTo>
                              <a:pt x="13636" y="419"/>
                            </a:lnTo>
                            <a:lnTo>
                              <a:pt x="13397" y="239"/>
                            </a:lnTo>
                            <a:lnTo>
                              <a:pt x="12978" y="0"/>
                            </a:lnTo>
                            <a:lnTo>
                              <a:pt x="0" y="16507"/>
                            </a:lnTo>
                          </a:path>
                        </a:pathLst>
                      </a:custGeom>
                      <a:noFill/>
                      <a:ln w="6350" cap="flat">
                        <a:solidFill>
                          <a:schemeClr val="bg1">
                            <a:alpha val="40000"/>
                          </a:schemeClr>
                        </a:solidFill>
                        <a:prstDash val="solid"/>
                        <a:miter/>
                      </a:ln>
                    </p:spPr>
                    <p:txBody>
                      <a:bodyPr rtlCol="0" anchor="ctr"/>
                      <a:lstStyle/>
                      <a:p>
                        <a:endParaRPr lang="en-GB"/>
                      </a:p>
                    </p:txBody>
                  </p:sp>
                  <p:sp>
                    <p:nvSpPr>
                      <p:cNvPr id="7383" name="Vrije vorm: vorm 7382">
                        <a:extLst>
                          <a:ext uri="{FF2B5EF4-FFF2-40B4-BE49-F238E27FC236}">
                            <a16:creationId xmlns:a16="http://schemas.microsoft.com/office/drawing/2014/main" id="{BF03347C-24C3-4012-AFF3-ABC03B46B13F}"/>
                          </a:ext>
                        </a:extLst>
                      </p:cNvPr>
                      <p:cNvSpPr/>
                      <p:nvPr/>
                    </p:nvSpPr>
                    <p:spPr>
                      <a:xfrm>
                        <a:off x="5333747" y="5557805"/>
                        <a:ext cx="17463" cy="19197"/>
                      </a:xfrm>
                      <a:custGeom>
                        <a:avLst/>
                        <a:gdLst>
                          <a:gd name="connsiteX0" fmla="*/ 14354 w 17463"/>
                          <a:gd name="connsiteY0" fmla="*/ 5622 h 19197"/>
                          <a:gd name="connsiteX1" fmla="*/ 4486 w 17463"/>
                          <a:gd name="connsiteY1" fmla="*/ 18121 h 19197"/>
                          <a:gd name="connsiteX2" fmla="*/ 1076 w 17463"/>
                          <a:gd name="connsiteY2" fmla="*/ 16028 h 19197"/>
                          <a:gd name="connsiteX3" fmla="*/ 11005 w 17463"/>
                          <a:gd name="connsiteY3" fmla="*/ 3469 h 19197"/>
                          <a:gd name="connsiteX4" fmla="*/ 11603 w 17463"/>
                          <a:gd name="connsiteY4" fmla="*/ 2751 h 19197"/>
                          <a:gd name="connsiteX5" fmla="*/ 12978 w 17463"/>
                          <a:gd name="connsiteY5" fmla="*/ 1017 h 19197"/>
                          <a:gd name="connsiteX6" fmla="*/ 16327 w 17463"/>
                          <a:gd name="connsiteY6" fmla="*/ 3170 h 19197"/>
                          <a:gd name="connsiteX7" fmla="*/ 14952 w 17463"/>
                          <a:gd name="connsiteY7" fmla="*/ 4904 h 19197"/>
                          <a:gd name="connsiteX8" fmla="*/ 14354 w 17463"/>
                          <a:gd name="connsiteY8" fmla="*/ 5622 h 19197"/>
                          <a:gd name="connsiteX9" fmla="*/ 0 w 17463"/>
                          <a:gd name="connsiteY9" fmla="*/ 16447 h 19197"/>
                          <a:gd name="connsiteX10" fmla="*/ 4426 w 17463"/>
                          <a:gd name="connsiteY10" fmla="*/ 19198 h 19197"/>
                          <a:gd name="connsiteX11" fmla="*/ 5024 w 17463"/>
                          <a:gd name="connsiteY11" fmla="*/ 18480 h 19197"/>
                          <a:gd name="connsiteX12" fmla="*/ 14892 w 17463"/>
                          <a:gd name="connsiteY12" fmla="*/ 5981 h 19197"/>
                          <a:gd name="connsiteX13" fmla="*/ 15490 w 17463"/>
                          <a:gd name="connsiteY13" fmla="*/ 5263 h 19197"/>
                          <a:gd name="connsiteX14" fmla="*/ 16866 w 17463"/>
                          <a:gd name="connsiteY14" fmla="*/ 3528 h 19197"/>
                          <a:gd name="connsiteX15" fmla="*/ 17464 w 17463"/>
                          <a:gd name="connsiteY15" fmla="*/ 2811 h 19197"/>
                          <a:gd name="connsiteX16" fmla="*/ 13098 w 17463"/>
                          <a:gd name="connsiteY16" fmla="*/ 0 h 19197"/>
                          <a:gd name="connsiteX17" fmla="*/ 12500 w 17463"/>
                          <a:gd name="connsiteY17" fmla="*/ 718 h 19197"/>
                          <a:gd name="connsiteX18" fmla="*/ 11124 w 17463"/>
                          <a:gd name="connsiteY18" fmla="*/ 2452 h 19197"/>
                          <a:gd name="connsiteX19" fmla="*/ 10526 w 17463"/>
                          <a:gd name="connsiteY19" fmla="*/ 3170 h 19197"/>
                          <a:gd name="connsiteX20" fmla="*/ 598 w 17463"/>
                          <a:gd name="connsiteY20" fmla="*/ 15729 h 19197"/>
                          <a:gd name="connsiteX21" fmla="*/ 0 w 17463"/>
                          <a:gd name="connsiteY21" fmla="*/ 16447 h 1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463" h="19197">
                            <a:moveTo>
                              <a:pt x="14354" y="5622"/>
                            </a:moveTo>
                            <a:lnTo>
                              <a:pt x="4486" y="18121"/>
                            </a:lnTo>
                            <a:lnTo>
                              <a:pt x="1076" y="16028"/>
                            </a:lnTo>
                            <a:lnTo>
                              <a:pt x="11005" y="3469"/>
                            </a:lnTo>
                            <a:lnTo>
                              <a:pt x="11603" y="2751"/>
                            </a:lnTo>
                            <a:lnTo>
                              <a:pt x="12978" y="1017"/>
                            </a:lnTo>
                            <a:lnTo>
                              <a:pt x="16327" y="3170"/>
                            </a:lnTo>
                            <a:lnTo>
                              <a:pt x="14952" y="4904"/>
                            </a:lnTo>
                            <a:lnTo>
                              <a:pt x="14354" y="5622"/>
                            </a:lnTo>
                            <a:moveTo>
                              <a:pt x="0" y="16447"/>
                            </a:moveTo>
                            <a:lnTo>
                              <a:pt x="4426" y="19198"/>
                            </a:lnTo>
                            <a:lnTo>
                              <a:pt x="5024" y="18480"/>
                            </a:lnTo>
                            <a:lnTo>
                              <a:pt x="14892" y="5981"/>
                            </a:lnTo>
                            <a:lnTo>
                              <a:pt x="15490" y="5263"/>
                            </a:lnTo>
                            <a:lnTo>
                              <a:pt x="16866" y="3528"/>
                            </a:lnTo>
                            <a:lnTo>
                              <a:pt x="17464" y="2811"/>
                            </a:lnTo>
                            <a:lnTo>
                              <a:pt x="13098" y="0"/>
                            </a:lnTo>
                            <a:lnTo>
                              <a:pt x="12500" y="718"/>
                            </a:lnTo>
                            <a:lnTo>
                              <a:pt x="11124" y="2452"/>
                            </a:lnTo>
                            <a:lnTo>
                              <a:pt x="10526" y="3170"/>
                            </a:lnTo>
                            <a:lnTo>
                              <a:pt x="598" y="15729"/>
                            </a:lnTo>
                            <a:lnTo>
                              <a:pt x="0" y="16447"/>
                            </a:lnTo>
                          </a:path>
                        </a:pathLst>
                      </a:custGeom>
                      <a:noFill/>
                      <a:ln w="6350" cap="flat">
                        <a:solidFill>
                          <a:schemeClr val="bg1">
                            <a:alpha val="40000"/>
                          </a:schemeClr>
                        </a:solidFill>
                        <a:prstDash val="solid"/>
                        <a:miter/>
                      </a:ln>
                    </p:spPr>
                    <p:txBody>
                      <a:bodyPr rtlCol="0" anchor="ctr"/>
                      <a:lstStyle/>
                      <a:p>
                        <a:endParaRPr lang="en-GB"/>
                      </a:p>
                    </p:txBody>
                  </p:sp>
                  <p:sp>
                    <p:nvSpPr>
                      <p:cNvPr id="7384" name="Vrije vorm: vorm 7383">
                        <a:extLst>
                          <a:ext uri="{FF2B5EF4-FFF2-40B4-BE49-F238E27FC236}">
                            <a16:creationId xmlns:a16="http://schemas.microsoft.com/office/drawing/2014/main" id="{22AE642A-CEFD-4F56-840A-EF24F71D20C2}"/>
                          </a:ext>
                        </a:extLst>
                      </p:cNvPr>
                      <p:cNvSpPr/>
                      <p:nvPr/>
                    </p:nvSpPr>
                    <p:spPr>
                      <a:xfrm>
                        <a:off x="4947751" y="5303684"/>
                        <a:ext cx="119076" cy="93956"/>
                      </a:xfrm>
                      <a:custGeom>
                        <a:avLst/>
                        <a:gdLst>
                          <a:gd name="connsiteX0" fmla="*/ 64113 w 119076"/>
                          <a:gd name="connsiteY0" fmla="*/ 23683 h 93956"/>
                          <a:gd name="connsiteX1" fmla="*/ 76792 w 119076"/>
                          <a:gd name="connsiteY1" fmla="*/ 31937 h 93956"/>
                          <a:gd name="connsiteX2" fmla="*/ 77510 w 119076"/>
                          <a:gd name="connsiteY2" fmla="*/ 31040 h 93956"/>
                          <a:gd name="connsiteX3" fmla="*/ 64831 w 119076"/>
                          <a:gd name="connsiteY3" fmla="*/ 22787 h 93956"/>
                          <a:gd name="connsiteX4" fmla="*/ 64113 w 119076"/>
                          <a:gd name="connsiteY4" fmla="*/ 23683 h 93956"/>
                          <a:gd name="connsiteX5" fmla="*/ 111301 w 119076"/>
                          <a:gd name="connsiteY5" fmla="*/ 66446 h 93956"/>
                          <a:gd name="connsiteX6" fmla="*/ 111600 w 119076"/>
                          <a:gd name="connsiteY6" fmla="*/ 66625 h 93956"/>
                          <a:gd name="connsiteX7" fmla="*/ 116923 w 119076"/>
                          <a:gd name="connsiteY7" fmla="*/ 59927 h 93956"/>
                          <a:gd name="connsiteX8" fmla="*/ 117342 w 119076"/>
                          <a:gd name="connsiteY8" fmla="*/ 60226 h 93956"/>
                          <a:gd name="connsiteX9" fmla="*/ 119076 w 119076"/>
                          <a:gd name="connsiteY9" fmla="*/ 58073 h 93956"/>
                          <a:gd name="connsiteX10" fmla="*/ 78347 w 119076"/>
                          <a:gd name="connsiteY10" fmla="*/ 31578 h 93956"/>
                          <a:gd name="connsiteX11" fmla="*/ 77630 w 119076"/>
                          <a:gd name="connsiteY11" fmla="*/ 32475 h 93956"/>
                          <a:gd name="connsiteX12" fmla="*/ 117641 w 119076"/>
                          <a:gd name="connsiteY12" fmla="*/ 58491 h 93956"/>
                          <a:gd name="connsiteX13" fmla="*/ 111301 w 119076"/>
                          <a:gd name="connsiteY13" fmla="*/ 66446 h 93956"/>
                          <a:gd name="connsiteX14" fmla="*/ 22488 w 119076"/>
                          <a:gd name="connsiteY14" fmla="*/ 9389 h 93956"/>
                          <a:gd name="connsiteX15" fmla="*/ 23325 w 119076"/>
                          <a:gd name="connsiteY15" fmla="*/ 9928 h 93956"/>
                          <a:gd name="connsiteX16" fmla="*/ 29963 w 119076"/>
                          <a:gd name="connsiteY16" fmla="*/ 1495 h 93956"/>
                          <a:gd name="connsiteX17" fmla="*/ 63336 w 119076"/>
                          <a:gd name="connsiteY17" fmla="*/ 23145 h 93956"/>
                          <a:gd name="connsiteX18" fmla="*/ 64053 w 119076"/>
                          <a:gd name="connsiteY18" fmla="*/ 22248 h 93956"/>
                          <a:gd name="connsiteX19" fmla="*/ 29844 w 119076"/>
                          <a:gd name="connsiteY19" fmla="*/ 0 h 93956"/>
                          <a:gd name="connsiteX20" fmla="*/ 22488 w 119076"/>
                          <a:gd name="connsiteY20" fmla="*/ 9389 h 93956"/>
                          <a:gd name="connsiteX21" fmla="*/ 109447 w 119076"/>
                          <a:gd name="connsiteY21" fmla="*/ 68778 h 93956"/>
                          <a:gd name="connsiteX22" fmla="*/ 109746 w 119076"/>
                          <a:gd name="connsiteY22" fmla="*/ 68958 h 93956"/>
                          <a:gd name="connsiteX23" fmla="*/ 110882 w 119076"/>
                          <a:gd name="connsiteY23" fmla="*/ 67462 h 93956"/>
                          <a:gd name="connsiteX24" fmla="*/ 110584 w 119076"/>
                          <a:gd name="connsiteY24" fmla="*/ 67283 h 93956"/>
                          <a:gd name="connsiteX25" fmla="*/ 109447 w 119076"/>
                          <a:gd name="connsiteY25" fmla="*/ 68778 h 93956"/>
                          <a:gd name="connsiteX26" fmla="*/ 94794 w 119076"/>
                          <a:gd name="connsiteY26" fmla="*/ 87737 h 93956"/>
                          <a:gd name="connsiteX27" fmla="*/ 95333 w 119076"/>
                          <a:gd name="connsiteY27" fmla="*/ 88096 h 93956"/>
                          <a:gd name="connsiteX28" fmla="*/ 107234 w 119076"/>
                          <a:gd name="connsiteY28" fmla="*/ 73024 h 93956"/>
                          <a:gd name="connsiteX29" fmla="*/ 106816 w 119076"/>
                          <a:gd name="connsiteY29" fmla="*/ 72725 h 93956"/>
                          <a:gd name="connsiteX30" fmla="*/ 109148 w 119076"/>
                          <a:gd name="connsiteY30" fmla="*/ 69795 h 93956"/>
                          <a:gd name="connsiteX31" fmla="*/ 109088 w 119076"/>
                          <a:gd name="connsiteY31" fmla="*/ 69735 h 93956"/>
                          <a:gd name="connsiteX32" fmla="*/ 94794 w 119076"/>
                          <a:gd name="connsiteY32" fmla="*/ 87737 h 93956"/>
                          <a:gd name="connsiteX33" fmla="*/ 0 w 119076"/>
                          <a:gd name="connsiteY33" fmla="*/ 37858 h 93956"/>
                          <a:gd name="connsiteX34" fmla="*/ 90668 w 119076"/>
                          <a:gd name="connsiteY34" fmla="*/ 93957 h 93956"/>
                          <a:gd name="connsiteX35" fmla="*/ 94615 w 119076"/>
                          <a:gd name="connsiteY35" fmla="*/ 88933 h 93956"/>
                          <a:gd name="connsiteX36" fmla="*/ 93897 w 119076"/>
                          <a:gd name="connsiteY36" fmla="*/ 88455 h 93956"/>
                          <a:gd name="connsiteX37" fmla="*/ 90608 w 119076"/>
                          <a:gd name="connsiteY37" fmla="*/ 92581 h 93956"/>
                          <a:gd name="connsiteX38" fmla="*/ 1555 w 119076"/>
                          <a:gd name="connsiteY38" fmla="*/ 37380 h 93956"/>
                          <a:gd name="connsiteX39" fmla="*/ 22607 w 119076"/>
                          <a:gd name="connsiteY39" fmla="*/ 10765 h 93956"/>
                          <a:gd name="connsiteX40" fmla="*/ 21770 w 119076"/>
                          <a:gd name="connsiteY40" fmla="*/ 10227 h 93956"/>
                          <a:gd name="connsiteX41" fmla="*/ 0 w 119076"/>
                          <a:gd name="connsiteY41" fmla="*/ 37858 h 9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9076" h="93956">
                            <a:moveTo>
                              <a:pt x="64113" y="23683"/>
                            </a:moveTo>
                            <a:lnTo>
                              <a:pt x="76792" y="31937"/>
                            </a:lnTo>
                            <a:lnTo>
                              <a:pt x="77510" y="31040"/>
                            </a:lnTo>
                            <a:lnTo>
                              <a:pt x="64831" y="22787"/>
                            </a:lnTo>
                            <a:lnTo>
                              <a:pt x="64113" y="23683"/>
                            </a:lnTo>
                            <a:moveTo>
                              <a:pt x="111301" y="66446"/>
                            </a:moveTo>
                            <a:lnTo>
                              <a:pt x="111600" y="66625"/>
                            </a:lnTo>
                            <a:lnTo>
                              <a:pt x="116923" y="59927"/>
                            </a:lnTo>
                            <a:lnTo>
                              <a:pt x="117342" y="60226"/>
                            </a:lnTo>
                            <a:lnTo>
                              <a:pt x="119076" y="58073"/>
                            </a:lnTo>
                            <a:lnTo>
                              <a:pt x="78347" y="31578"/>
                            </a:lnTo>
                            <a:lnTo>
                              <a:pt x="77630" y="32475"/>
                            </a:lnTo>
                            <a:lnTo>
                              <a:pt x="117641" y="58491"/>
                            </a:lnTo>
                            <a:lnTo>
                              <a:pt x="111301" y="66446"/>
                            </a:lnTo>
                            <a:moveTo>
                              <a:pt x="22488" y="9389"/>
                            </a:moveTo>
                            <a:lnTo>
                              <a:pt x="23325" y="9928"/>
                            </a:lnTo>
                            <a:lnTo>
                              <a:pt x="29963" y="1495"/>
                            </a:lnTo>
                            <a:lnTo>
                              <a:pt x="63336" y="23145"/>
                            </a:lnTo>
                            <a:lnTo>
                              <a:pt x="64053" y="22248"/>
                            </a:lnTo>
                            <a:lnTo>
                              <a:pt x="29844" y="0"/>
                            </a:lnTo>
                            <a:lnTo>
                              <a:pt x="22488" y="9389"/>
                            </a:lnTo>
                            <a:moveTo>
                              <a:pt x="109447" y="68778"/>
                            </a:moveTo>
                            <a:lnTo>
                              <a:pt x="109746" y="68958"/>
                            </a:lnTo>
                            <a:lnTo>
                              <a:pt x="110882" y="67462"/>
                            </a:lnTo>
                            <a:lnTo>
                              <a:pt x="110584" y="67283"/>
                            </a:lnTo>
                            <a:lnTo>
                              <a:pt x="109447" y="68778"/>
                            </a:lnTo>
                            <a:moveTo>
                              <a:pt x="94794" y="87737"/>
                            </a:moveTo>
                            <a:lnTo>
                              <a:pt x="95333" y="88096"/>
                            </a:lnTo>
                            <a:lnTo>
                              <a:pt x="107234" y="73024"/>
                            </a:lnTo>
                            <a:lnTo>
                              <a:pt x="106816" y="72725"/>
                            </a:lnTo>
                            <a:lnTo>
                              <a:pt x="109148" y="69795"/>
                            </a:lnTo>
                            <a:lnTo>
                              <a:pt x="109088" y="69735"/>
                            </a:lnTo>
                            <a:lnTo>
                              <a:pt x="94794" y="87737"/>
                            </a:lnTo>
                            <a:moveTo>
                              <a:pt x="0" y="37858"/>
                            </a:moveTo>
                            <a:lnTo>
                              <a:pt x="90668" y="93957"/>
                            </a:lnTo>
                            <a:lnTo>
                              <a:pt x="94615" y="88933"/>
                            </a:lnTo>
                            <a:lnTo>
                              <a:pt x="93897" y="88455"/>
                            </a:lnTo>
                            <a:lnTo>
                              <a:pt x="90608" y="92581"/>
                            </a:lnTo>
                            <a:lnTo>
                              <a:pt x="1555" y="37380"/>
                            </a:lnTo>
                            <a:lnTo>
                              <a:pt x="22607" y="10765"/>
                            </a:lnTo>
                            <a:lnTo>
                              <a:pt x="21770" y="10227"/>
                            </a:lnTo>
                            <a:lnTo>
                              <a:pt x="0" y="37858"/>
                            </a:lnTo>
                          </a:path>
                        </a:pathLst>
                      </a:custGeom>
                      <a:noFill/>
                      <a:ln w="6350" cap="flat">
                        <a:solidFill>
                          <a:schemeClr val="bg1">
                            <a:alpha val="40000"/>
                          </a:schemeClr>
                        </a:solidFill>
                        <a:prstDash val="solid"/>
                        <a:miter/>
                      </a:ln>
                    </p:spPr>
                    <p:txBody>
                      <a:bodyPr rtlCol="0" anchor="ctr"/>
                      <a:lstStyle/>
                      <a:p>
                        <a:endParaRPr lang="en-GB"/>
                      </a:p>
                    </p:txBody>
                  </p:sp>
                  <p:sp>
                    <p:nvSpPr>
                      <p:cNvPr id="7385" name="Vrije vorm: vorm 7384">
                        <a:extLst>
                          <a:ext uri="{FF2B5EF4-FFF2-40B4-BE49-F238E27FC236}">
                            <a16:creationId xmlns:a16="http://schemas.microsoft.com/office/drawing/2014/main" id="{889861B9-765A-476F-B946-70178ECCE7B4}"/>
                          </a:ext>
                        </a:extLst>
                      </p:cNvPr>
                      <p:cNvSpPr/>
                      <p:nvPr/>
                    </p:nvSpPr>
                    <p:spPr>
                      <a:xfrm>
                        <a:off x="5022988" y="5375333"/>
                        <a:ext cx="16746" cy="11602"/>
                      </a:xfrm>
                      <a:custGeom>
                        <a:avLst/>
                        <a:gdLst>
                          <a:gd name="connsiteX0" fmla="*/ 15311 w 16746"/>
                          <a:gd name="connsiteY0" fmla="*/ 9928 h 11602"/>
                          <a:gd name="connsiteX1" fmla="*/ 15012 w 16746"/>
                          <a:gd name="connsiteY1" fmla="*/ 10287 h 11602"/>
                          <a:gd name="connsiteX2" fmla="*/ 1495 w 16746"/>
                          <a:gd name="connsiteY2" fmla="*/ 1794 h 11602"/>
                          <a:gd name="connsiteX3" fmla="*/ 1795 w 16746"/>
                          <a:gd name="connsiteY3" fmla="*/ 1435 h 11602"/>
                          <a:gd name="connsiteX4" fmla="*/ 15311 w 16746"/>
                          <a:gd name="connsiteY4" fmla="*/ 9928 h 11602"/>
                          <a:gd name="connsiteX5" fmla="*/ 0 w 16746"/>
                          <a:gd name="connsiteY5" fmla="*/ 2213 h 11602"/>
                          <a:gd name="connsiteX6" fmla="*/ 15072 w 16746"/>
                          <a:gd name="connsiteY6" fmla="*/ 11603 h 11602"/>
                          <a:gd name="connsiteX7" fmla="*/ 16746 w 16746"/>
                          <a:gd name="connsiteY7" fmla="*/ 9450 h 11602"/>
                          <a:gd name="connsiteX8" fmla="*/ 1675 w 16746"/>
                          <a:gd name="connsiteY8" fmla="*/ 0 h 11602"/>
                          <a:gd name="connsiteX9" fmla="*/ 0 w 16746"/>
                          <a:gd name="connsiteY9" fmla="*/ 221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46" h="11602">
                            <a:moveTo>
                              <a:pt x="15311" y="9928"/>
                            </a:moveTo>
                            <a:lnTo>
                              <a:pt x="15012" y="10287"/>
                            </a:lnTo>
                            <a:lnTo>
                              <a:pt x="1495" y="1794"/>
                            </a:lnTo>
                            <a:lnTo>
                              <a:pt x="1795" y="1435"/>
                            </a:lnTo>
                            <a:lnTo>
                              <a:pt x="15311" y="9928"/>
                            </a:lnTo>
                            <a:moveTo>
                              <a:pt x="0" y="2213"/>
                            </a:moveTo>
                            <a:lnTo>
                              <a:pt x="15072" y="11603"/>
                            </a:lnTo>
                            <a:lnTo>
                              <a:pt x="16746" y="9450"/>
                            </a:lnTo>
                            <a:lnTo>
                              <a:pt x="1675" y="0"/>
                            </a:lnTo>
                            <a:lnTo>
                              <a:pt x="0" y="2213"/>
                            </a:lnTo>
                          </a:path>
                        </a:pathLst>
                      </a:custGeom>
                      <a:noFill/>
                      <a:ln w="6350" cap="flat">
                        <a:solidFill>
                          <a:schemeClr val="bg1">
                            <a:alpha val="40000"/>
                          </a:schemeClr>
                        </a:solidFill>
                        <a:prstDash val="solid"/>
                        <a:miter/>
                      </a:ln>
                    </p:spPr>
                    <p:txBody>
                      <a:bodyPr rtlCol="0" anchor="ctr"/>
                      <a:lstStyle/>
                      <a:p>
                        <a:endParaRPr lang="en-GB"/>
                      </a:p>
                    </p:txBody>
                  </p:sp>
                  <p:sp>
                    <p:nvSpPr>
                      <p:cNvPr id="7386" name="Vrije vorm: vorm 7385">
                        <a:extLst>
                          <a:ext uri="{FF2B5EF4-FFF2-40B4-BE49-F238E27FC236}">
                            <a16:creationId xmlns:a16="http://schemas.microsoft.com/office/drawing/2014/main" id="{5C9CC463-9E00-423E-B32E-ADC7FA62101E}"/>
                          </a:ext>
                        </a:extLst>
                      </p:cNvPr>
                      <p:cNvSpPr/>
                      <p:nvPr/>
                    </p:nvSpPr>
                    <p:spPr>
                      <a:xfrm>
                        <a:off x="5025321" y="5372462"/>
                        <a:ext cx="16745" cy="11602"/>
                      </a:xfrm>
                      <a:custGeom>
                        <a:avLst/>
                        <a:gdLst>
                          <a:gd name="connsiteX0" fmla="*/ 15251 w 16745"/>
                          <a:gd name="connsiteY0" fmla="*/ 9868 h 11602"/>
                          <a:gd name="connsiteX1" fmla="*/ 14952 w 16745"/>
                          <a:gd name="connsiteY1" fmla="*/ 10227 h 11602"/>
                          <a:gd name="connsiteX2" fmla="*/ 1435 w 16745"/>
                          <a:gd name="connsiteY2" fmla="*/ 1734 h 11602"/>
                          <a:gd name="connsiteX3" fmla="*/ 1735 w 16745"/>
                          <a:gd name="connsiteY3" fmla="*/ 1375 h 11602"/>
                          <a:gd name="connsiteX4" fmla="*/ 15251 w 16745"/>
                          <a:gd name="connsiteY4" fmla="*/ 9868 h 11602"/>
                          <a:gd name="connsiteX5" fmla="*/ 0 w 16745"/>
                          <a:gd name="connsiteY5" fmla="*/ 2153 h 11602"/>
                          <a:gd name="connsiteX6" fmla="*/ 15072 w 16745"/>
                          <a:gd name="connsiteY6" fmla="*/ 11603 h 11602"/>
                          <a:gd name="connsiteX7" fmla="*/ 16746 w 16745"/>
                          <a:gd name="connsiteY7" fmla="*/ 9449 h 11602"/>
                          <a:gd name="connsiteX8" fmla="*/ 1735 w 16745"/>
                          <a:gd name="connsiteY8" fmla="*/ 0 h 11602"/>
                          <a:gd name="connsiteX9" fmla="*/ 0 w 16745"/>
                          <a:gd name="connsiteY9" fmla="*/ 215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45" h="11602">
                            <a:moveTo>
                              <a:pt x="15251" y="9868"/>
                            </a:moveTo>
                            <a:lnTo>
                              <a:pt x="14952" y="10227"/>
                            </a:lnTo>
                            <a:lnTo>
                              <a:pt x="1435" y="1734"/>
                            </a:lnTo>
                            <a:lnTo>
                              <a:pt x="1735" y="1375"/>
                            </a:lnTo>
                            <a:lnTo>
                              <a:pt x="15251" y="9868"/>
                            </a:lnTo>
                            <a:moveTo>
                              <a:pt x="0" y="2153"/>
                            </a:moveTo>
                            <a:lnTo>
                              <a:pt x="15072" y="11603"/>
                            </a:lnTo>
                            <a:lnTo>
                              <a:pt x="16746" y="9449"/>
                            </a:lnTo>
                            <a:lnTo>
                              <a:pt x="1735" y="0"/>
                            </a:lnTo>
                            <a:lnTo>
                              <a:pt x="0" y="2153"/>
                            </a:lnTo>
                          </a:path>
                        </a:pathLst>
                      </a:custGeom>
                      <a:noFill/>
                      <a:ln w="6350" cap="flat">
                        <a:solidFill>
                          <a:schemeClr val="bg1">
                            <a:alpha val="40000"/>
                          </a:schemeClr>
                        </a:solidFill>
                        <a:prstDash val="solid"/>
                        <a:miter/>
                      </a:ln>
                    </p:spPr>
                    <p:txBody>
                      <a:bodyPr rtlCol="0" anchor="ctr"/>
                      <a:lstStyle/>
                      <a:p>
                        <a:endParaRPr lang="en-GB"/>
                      </a:p>
                    </p:txBody>
                  </p:sp>
                  <p:sp>
                    <p:nvSpPr>
                      <p:cNvPr id="7387" name="Vrije vorm: vorm 7386">
                        <a:extLst>
                          <a:ext uri="{FF2B5EF4-FFF2-40B4-BE49-F238E27FC236}">
                            <a16:creationId xmlns:a16="http://schemas.microsoft.com/office/drawing/2014/main" id="{6E9EAEAD-3A7E-436F-A564-E93F3C9D5E34}"/>
                          </a:ext>
                        </a:extLst>
                      </p:cNvPr>
                      <p:cNvSpPr/>
                      <p:nvPr/>
                    </p:nvSpPr>
                    <p:spPr>
                      <a:xfrm>
                        <a:off x="5027654" y="5369472"/>
                        <a:ext cx="16686" cy="11602"/>
                      </a:xfrm>
                      <a:custGeom>
                        <a:avLst/>
                        <a:gdLst>
                          <a:gd name="connsiteX0" fmla="*/ 15191 w 16686"/>
                          <a:gd name="connsiteY0" fmla="*/ 9928 h 11602"/>
                          <a:gd name="connsiteX1" fmla="*/ 14952 w 16686"/>
                          <a:gd name="connsiteY1" fmla="*/ 10227 h 11602"/>
                          <a:gd name="connsiteX2" fmla="*/ 1435 w 16686"/>
                          <a:gd name="connsiteY2" fmla="*/ 1734 h 11602"/>
                          <a:gd name="connsiteX3" fmla="*/ 1674 w 16686"/>
                          <a:gd name="connsiteY3" fmla="*/ 1375 h 11602"/>
                          <a:gd name="connsiteX4" fmla="*/ 15191 w 16686"/>
                          <a:gd name="connsiteY4" fmla="*/ 9928 h 11602"/>
                          <a:gd name="connsiteX5" fmla="*/ 0 w 16686"/>
                          <a:gd name="connsiteY5" fmla="*/ 2153 h 11602"/>
                          <a:gd name="connsiteX6" fmla="*/ 15012 w 16686"/>
                          <a:gd name="connsiteY6" fmla="*/ 11603 h 11602"/>
                          <a:gd name="connsiteX7" fmla="*/ 16686 w 16686"/>
                          <a:gd name="connsiteY7" fmla="*/ 9509 h 11602"/>
                          <a:gd name="connsiteX8" fmla="*/ 1674 w 16686"/>
                          <a:gd name="connsiteY8" fmla="*/ 0 h 11602"/>
                          <a:gd name="connsiteX9" fmla="*/ 0 w 16686"/>
                          <a:gd name="connsiteY9" fmla="*/ 215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86" h="11602">
                            <a:moveTo>
                              <a:pt x="15191" y="9928"/>
                            </a:moveTo>
                            <a:lnTo>
                              <a:pt x="14952" y="10227"/>
                            </a:lnTo>
                            <a:lnTo>
                              <a:pt x="1435" y="1734"/>
                            </a:lnTo>
                            <a:lnTo>
                              <a:pt x="1674" y="1375"/>
                            </a:lnTo>
                            <a:lnTo>
                              <a:pt x="15191" y="9928"/>
                            </a:lnTo>
                            <a:moveTo>
                              <a:pt x="0" y="2153"/>
                            </a:moveTo>
                            <a:lnTo>
                              <a:pt x="15012" y="11603"/>
                            </a:lnTo>
                            <a:lnTo>
                              <a:pt x="16686" y="9509"/>
                            </a:lnTo>
                            <a:lnTo>
                              <a:pt x="1674" y="0"/>
                            </a:lnTo>
                            <a:lnTo>
                              <a:pt x="0" y="2153"/>
                            </a:lnTo>
                          </a:path>
                        </a:pathLst>
                      </a:custGeom>
                      <a:noFill/>
                      <a:ln w="6350" cap="flat">
                        <a:solidFill>
                          <a:schemeClr val="bg1">
                            <a:alpha val="40000"/>
                          </a:schemeClr>
                        </a:solidFill>
                        <a:prstDash val="solid"/>
                        <a:miter/>
                      </a:ln>
                    </p:spPr>
                    <p:txBody>
                      <a:bodyPr rtlCol="0" anchor="ctr"/>
                      <a:lstStyle/>
                      <a:p>
                        <a:endParaRPr lang="en-GB"/>
                      </a:p>
                    </p:txBody>
                  </p:sp>
                  <p:sp>
                    <p:nvSpPr>
                      <p:cNvPr id="7388" name="Vrije vorm: vorm 7387">
                        <a:extLst>
                          <a:ext uri="{FF2B5EF4-FFF2-40B4-BE49-F238E27FC236}">
                            <a16:creationId xmlns:a16="http://schemas.microsoft.com/office/drawing/2014/main" id="{A0D574D6-C0F5-41EE-9B21-5FD1126A6DBA}"/>
                          </a:ext>
                        </a:extLst>
                      </p:cNvPr>
                      <p:cNvSpPr/>
                      <p:nvPr/>
                    </p:nvSpPr>
                    <p:spPr>
                      <a:xfrm>
                        <a:off x="5029986" y="5366601"/>
                        <a:ext cx="16686" cy="11602"/>
                      </a:xfrm>
                      <a:custGeom>
                        <a:avLst/>
                        <a:gdLst>
                          <a:gd name="connsiteX0" fmla="*/ 15191 w 16686"/>
                          <a:gd name="connsiteY0" fmla="*/ 9868 h 11602"/>
                          <a:gd name="connsiteX1" fmla="*/ 14892 w 16686"/>
                          <a:gd name="connsiteY1" fmla="*/ 10227 h 11602"/>
                          <a:gd name="connsiteX2" fmla="*/ 1435 w 16686"/>
                          <a:gd name="connsiteY2" fmla="*/ 1675 h 11602"/>
                          <a:gd name="connsiteX3" fmla="*/ 1734 w 16686"/>
                          <a:gd name="connsiteY3" fmla="*/ 1316 h 11602"/>
                          <a:gd name="connsiteX4" fmla="*/ 15191 w 16686"/>
                          <a:gd name="connsiteY4" fmla="*/ 9868 h 11602"/>
                          <a:gd name="connsiteX5" fmla="*/ 0 w 16686"/>
                          <a:gd name="connsiteY5" fmla="*/ 2093 h 11602"/>
                          <a:gd name="connsiteX6" fmla="*/ 15012 w 16686"/>
                          <a:gd name="connsiteY6" fmla="*/ 11603 h 11602"/>
                          <a:gd name="connsiteX7" fmla="*/ 16686 w 16686"/>
                          <a:gd name="connsiteY7" fmla="*/ 9510 h 11602"/>
                          <a:gd name="connsiteX8" fmla="*/ 1674 w 16686"/>
                          <a:gd name="connsiteY8" fmla="*/ 0 h 11602"/>
                          <a:gd name="connsiteX9" fmla="*/ 0 w 16686"/>
                          <a:gd name="connsiteY9" fmla="*/ 209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86" h="11602">
                            <a:moveTo>
                              <a:pt x="15191" y="9868"/>
                            </a:moveTo>
                            <a:lnTo>
                              <a:pt x="14892" y="10227"/>
                            </a:lnTo>
                            <a:lnTo>
                              <a:pt x="1435" y="1675"/>
                            </a:lnTo>
                            <a:lnTo>
                              <a:pt x="1734" y="1316"/>
                            </a:lnTo>
                            <a:lnTo>
                              <a:pt x="15191" y="9868"/>
                            </a:lnTo>
                            <a:moveTo>
                              <a:pt x="0" y="2093"/>
                            </a:moveTo>
                            <a:lnTo>
                              <a:pt x="15012" y="11603"/>
                            </a:lnTo>
                            <a:lnTo>
                              <a:pt x="16686" y="9510"/>
                            </a:lnTo>
                            <a:lnTo>
                              <a:pt x="1674" y="0"/>
                            </a:lnTo>
                            <a:lnTo>
                              <a:pt x="0" y="2093"/>
                            </a:lnTo>
                          </a:path>
                        </a:pathLst>
                      </a:custGeom>
                      <a:noFill/>
                      <a:ln w="6350" cap="flat">
                        <a:solidFill>
                          <a:schemeClr val="bg1">
                            <a:alpha val="40000"/>
                          </a:schemeClr>
                        </a:solidFill>
                        <a:prstDash val="solid"/>
                        <a:miter/>
                      </a:ln>
                    </p:spPr>
                    <p:txBody>
                      <a:bodyPr rtlCol="0" anchor="ctr"/>
                      <a:lstStyle/>
                      <a:p>
                        <a:endParaRPr lang="en-GB"/>
                      </a:p>
                    </p:txBody>
                  </p:sp>
                  <p:sp>
                    <p:nvSpPr>
                      <p:cNvPr id="7389" name="Vrije vorm: vorm 7388">
                        <a:extLst>
                          <a:ext uri="{FF2B5EF4-FFF2-40B4-BE49-F238E27FC236}">
                            <a16:creationId xmlns:a16="http://schemas.microsoft.com/office/drawing/2014/main" id="{3B139552-7FDB-45C4-BAA1-DA0EF1C087BF}"/>
                          </a:ext>
                        </a:extLst>
                      </p:cNvPr>
                      <p:cNvSpPr/>
                      <p:nvPr/>
                    </p:nvSpPr>
                    <p:spPr>
                      <a:xfrm>
                        <a:off x="5032259" y="5363611"/>
                        <a:ext cx="16686" cy="11662"/>
                      </a:xfrm>
                      <a:custGeom>
                        <a:avLst/>
                        <a:gdLst>
                          <a:gd name="connsiteX0" fmla="*/ 15251 w 16686"/>
                          <a:gd name="connsiteY0" fmla="*/ 9928 h 11662"/>
                          <a:gd name="connsiteX1" fmla="*/ 14952 w 16686"/>
                          <a:gd name="connsiteY1" fmla="*/ 10287 h 11662"/>
                          <a:gd name="connsiteX2" fmla="*/ 1495 w 16686"/>
                          <a:gd name="connsiteY2" fmla="*/ 1735 h 11662"/>
                          <a:gd name="connsiteX3" fmla="*/ 1794 w 16686"/>
                          <a:gd name="connsiteY3" fmla="*/ 1376 h 11662"/>
                          <a:gd name="connsiteX4" fmla="*/ 15251 w 16686"/>
                          <a:gd name="connsiteY4" fmla="*/ 9928 h 11662"/>
                          <a:gd name="connsiteX5" fmla="*/ 0 w 16686"/>
                          <a:gd name="connsiteY5" fmla="*/ 2153 h 11662"/>
                          <a:gd name="connsiteX6" fmla="*/ 15011 w 16686"/>
                          <a:gd name="connsiteY6" fmla="*/ 11662 h 11662"/>
                          <a:gd name="connsiteX7" fmla="*/ 16686 w 16686"/>
                          <a:gd name="connsiteY7" fmla="*/ 9510 h 11662"/>
                          <a:gd name="connsiteX8" fmla="*/ 1734 w 16686"/>
                          <a:gd name="connsiteY8" fmla="*/ 0 h 11662"/>
                          <a:gd name="connsiteX9" fmla="*/ 0 w 16686"/>
                          <a:gd name="connsiteY9" fmla="*/ 2153 h 1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86" h="11662">
                            <a:moveTo>
                              <a:pt x="15251" y="9928"/>
                            </a:moveTo>
                            <a:lnTo>
                              <a:pt x="14952" y="10287"/>
                            </a:lnTo>
                            <a:lnTo>
                              <a:pt x="1495" y="1735"/>
                            </a:lnTo>
                            <a:lnTo>
                              <a:pt x="1794" y="1376"/>
                            </a:lnTo>
                            <a:lnTo>
                              <a:pt x="15251" y="9928"/>
                            </a:lnTo>
                            <a:moveTo>
                              <a:pt x="0" y="2153"/>
                            </a:moveTo>
                            <a:lnTo>
                              <a:pt x="15011" y="11662"/>
                            </a:lnTo>
                            <a:lnTo>
                              <a:pt x="16686" y="9510"/>
                            </a:lnTo>
                            <a:lnTo>
                              <a:pt x="1734" y="0"/>
                            </a:lnTo>
                            <a:lnTo>
                              <a:pt x="0" y="2153"/>
                            </a:lnTo>
                          </a:path>
                        </a:pathLst>
                      </a:custGeom>
                      <a:noFill/>
                      <a:ln w="6350" cap="flat">
                        <a:solidFill>
                          <a:schemeClr val="bg1">
                            <a:alpha val="40000"/>
                          </a:schemeClr>
                        </a:solidFill>
                        <a:prstDash val="solid"/>
                        <a:miter/>
                      </a:ln>
                    </p:spPr>
                    <p:txBody>
                      <a:bodyPr rtlCol="0" anchor="ctr"/>
                      <a:lstStyle/>
                      <a:p>
                        <a:endParaRPr lang="en-GB"/>
                      </a:p>
                    </p:txBody>
                  </p:sp>
                  <p:sp>
                    <p:nvSpPr>
                      <p:cNvPr id="7390" name="Vrije vorm: vorm 7389">
                        <a:extLst>
                          <a:ext uri="{FF2B5EF4-FFF2-40B4-BE49-F238E27FC236}">
                            <a16:creationId xmlns:a16="http://schemas.microsoft.com/office/drawing/2014/main" id="{8E6865E8-F5D1-4836-9094-04D1FB1FCC53}"/>
                          </a:ext>
                        </a:extLst>
                      </p:cNvPr>
                      <p:cNvSpPr/>
                      <p:nvPr/>
                    </p:nvSpPr>
                    <p:spPr>
                      <a:xfrm>
                        <a:off x="5036266" y="5390285"/>
                        <a:ext cx="3588" cy="3409"/>
                      </a:xfrm>
                      <a:custGeom>
                        <a:avLst/>
                        <a:gdLst>
                          <a:gd name="connsiteX0" fmla="*/ 2333 w 3588"/>
                          <a:gd name="connsiteY0" fmla="*/ 1076 h 3409"/>
                          <a:gd name="connsiteX1" fmla="*/ 2512 w 3588"/>
                          <a:gd name="connsiteY1" fmla="*/ 1256 h 3409"/>
                          <a:gd name="connsiteX2" fmla="*/ 2572 w 3588"/>
                          <a:gd name="connsiteY2" fmla="*/ 1495 h 3409"/>
                          <a:gd name="connsiteX3" fmla="*/ 2512 w 3588"/>
                          <a:gd name="connsiteY3" fmla="*/ 1794 h 3409"/>
                          <a:gd name="connsiteX4" fmla="*/ 2333 w 3588"/>
                          <a:gd name="connsiteY4" fmla="*/ 2093 h 3409"/>
                          <a:gd name="connsiteX5" fmla="*/ 2093 w 3588"/>
                          <a:gd name="connsiteY5" fmla="*/ 2333 h 3409"/>
                          <a:gd name="connsiteX6" fmla="*/ 1794 w 3588"/>
                          <a:gd name="connsiteY6" fmla="*/ 2452 h 3409"/>
                          <a:gd name="connsiteX7" fmla="*/ 1495 w 3588"/>
                          <a:gd name="connsiteY7" fmla="*/ 2452 h 3409"/>
                          <a:gd name="connsiteX8" fmla="*/ 1256 w 3588"/>
                          <a:gd name="connsiteY8" fmla="*/ 2392 h 3409"/>
                          <a:gd name="connsiteX9" fmla="*/ 1076 w 3588"/>
                          <a:gd name="connsiteY9" fmla="*/ 2213 h 3409"/>
                          <a:gd name="connsiteX10" fmla="*/ 1017 w 3588"/>
                          <a:gd name="connsiteY10" fmla="*/ 1974 h 3409"/>
                          <a:gd name="connsiteX11" fmla="*/ 1076 w 3588"/>
                          <a:gd name="connsiteY11" fmla="*/ 1674 h 3409"/>
                          <a:gd name="connsiteX12" fmla="*/ 1256 w 3588"/>
                          <a:gd name="connsiteY12" fmla="*/ 1375 h 3409"/>
                          <a:gd name="connsiteX13" fmla="*/ 1495 w 3588"/>
                          <a:gd name="connsiteY13" fmla="*/ 1136 h 3409"/>
                          <a:gd name="connsiteX14" fmla="*/ 1794 w 3588"/>
                          <a:gd name="connsiteY14" fmla="*/ 1017 h 3409"/>
                          <a:gd name="connsiteX15" fmla="*/ 2093 w 3588"/>
                          <a:gd name="connsiteY15" fmla="*/ 1017 h 3409"/>
                          <a:gd name="connsiteX16" fmla="*/ 2333 w 3588"/>
                          <a:gd name="connsiteY16" fmla="*/ 1076 h 3409"/>
                          <a:gd name="connsiteX17" fmla="*/ 598 w 3588"/>
                          <a:gd name="connsiteY17" fmla="*/ 3229 h 3409"/>
                          <a:gd name="connsiteX18" fmla="*/ 1196 w 3588"/>
                          <a:gd name="connsiteY18" fmla="*/ 3409 h 3409"/>
                          <a:gd name="connsiteX19" fmla="*/ 1854 w 3588"/>
                          <a:gd name="connsiteY19" fmla="*/ 3349 h 3409"/>
                          <a:gd name="connsiteX20" fmla="*/ 2512 w 3588"/>
                          <a:gd name="connsiteY20" fmla="*/ 3050 h 3409"/>
                          <a:gd name="connsiteX21" fmla="*/ 3110 w 3588"/>
                          <a:gd name="connsiteY21" fmla="*/ 2512 h 3409"/>
                          <a:gd name="connsiteX22" fmla="*/ 3469 w 3588"/>
                          <a:gd name="connsiteY22" fmla="*/ 1854 h 3409"/>
                          <a:gd name="connsiteX23" fmla="*/ 3588 w 3588"/>
                          <a:gd name="connsiteY23" fmla="*/ 1196 h 3409"/>
                          <a:gd name="connsiteX24" fmla="*/ 3409 w 3588"/>
                          <a:gd name="connsiteY24" fmla="*/ 598 h 3409"/>
                          <a:gd name="connsiteX25" fmla="*/ 2990 w 3588"/>
                          <a:gd name="connsiteY25" fmla="*/ 179 h 3409"/>
                          <a:gd name="connsiteX26" fmla="*/ 2392 w 3588"/>
                          <a:gd name="connsiteY26" fmla="*/ 0 h 3409"/>
                          <a:gd name="connsiteX27" fmla="*/ 1734 w 3588"/>
                          <a:gd name="connsiteY27" fmla="*/ 60 h 3409"/>
                          <a:gd name="connsiteX28" fmla="*/ 1076 w 3588"/>
                          <a:gd name="connsiteY28" fmla="*/ 359 h 3409"/>
                          <a:gd name="connsiteX29" fmla="*/ 479 w 3588"/>
                          <a:gd name="connsiteY29" fmla="*/ 897 h 3409"/>
                          <a:gd name="connsiteX30" fmla="*/ 120 w 3588"/>
                          <a:gd name="connsiteY30" fmla="*/ 1555 h 3409"/>
                          <a:gd name="connsiteX31" fmla="*/ 0 w 3588"/>
                          <a:gd name="connsiteY31" fmla="*/ 2213 h 3409"/>
                          <a:gd name="connsiteX32" fmla="*/ 179 w 3588"/>
                          <a:gd name="connsiteY32" fmla="*/ 2811 h 3409"/>
                          <a:gd name="connsiteX33" fmla="*/ 598 w 3588"/>
                          <a:gd name="connsiteY33" fmla="*/ 3229 h 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88" h="3409">
                            <a:moveTo>
                              <a:pt x="2333" y="1076"/>
                            </a:moveTo>
                            <a:cubicBezTo>
                              <a:pt x="2392" y="1136"/>
                              <a:pt x="2452" y="1196"/>
                              <a:pt x="2512" y="1256"/>
                            </a:cubicBezTo>
                            <a:cubicBezTo>
                              <a:pt x="2572" y="1316"/>
                              <a:pt x="2572" y="1435"/>
                              <a:pt x="2572" y="1495"/>
                            </a:cubicBezTo>
                            <a:cubicBezTo>
                              <a:pt x="2572" y="1555"/>
                              <a:pt x="2572" y="1674"/>
                              <a:pt x="2512" y="1794"/>
                            </a:cubicBezTo>
                            <a:cubicBezTo>
                              <a:pt x="2452" y="1914"/>
                              <a:pt x="2452" y="1974"/>
                              <a:pt x="2333" y="2093"/>
                            </a:cubicBezTo>
                            <a:cubicBezTo>
                              <a:pt x="2213" y="2213"/>
                              <a:pt x="2153" y="2273"/>
                              <a:pt x="2093" y="2333"/>
                            </a:cubicBezTo>
                            <a:cubicBezTo>
                              <a:pt x="2033" y="2392"/>
                              <a:pt x="1914" y="2452"/>
                              <a:pt x="1794" y="2452"/>
                            </a:cubicBezTo>
                            <a:cubicBezTo>
                              <a:pt x="1674" y="2452"/>
                              <a:pt x="1615" y="2512"/>
                              <a:pt x="1495" y="2452"/>
                            </a:cubicBezTo>
                            <a:cubicBezTo>
                              <a:pt x="1435" y="2452"/>
                              <a:pt x="1316" y="2392"/>
                              <a:pt x="1256" y="2392"/>
                            </a:cubicBezTo>
                            <a:cubicBezTo>
                              <a:pt x="1196" y="2333"/>
                              <a:pt x="1136" y="2273"/>
                              <a:pt x="1076" y="2213"/>
                            </a:cubicBezTo>
                            <a:cubicBezTo>
                              <a:pt x="1017" y="2153"/>
                              <a:pt x="1017" y="2033"/>
                              <a:pt x="1017" y="1974"/>
                            </a:cubicBezTo>
                            <a:cubicBezTo>
                              <a:pt x="1017" y="1914"/>
                              <a:pt x="1017" y="1794"/>
                              <a:pt x="1076" y="1674"/>
                            </a:cubicBezTo>
                            <a:cubicBezTo>
                              <a:pt x="1136" y="1555"/>
                              <a:pt x="1136" y="1495"/>
                              <a:pt x="1256" y="1375"/>
                            </a:cubicBezTo>
                            <a:cubicBezTo>
                              <a:pt x="1375" y="1256"/>
                              <a:pt x="1435" y="1196"/>
                              <a:pt x="1495" y="1136"/>
                            </a:cubicBezTo>
                            <a:cubicBezTo>
                              <a:pt x="1555" y="1076"/>
                              <a:pt x="1674" y="1017"/>
                              <a:pt x="1794" y="1017"/>
                            </a:cubicBezTo>
                            <a:cubicBezTo>
                              <a:pt x="1914" y="1017"/>
                              <a:pt x="1974" y="957"/>
                              <a:pt x="2093" y="1017"/>
                            </a:cubicBezTo>
                            <a:cubicBezTo>
                              <a:pt x="2213" y="1076"/>
                              <a:pt x="2213" y="1017"/>
                              <a:pt x="2333" y="1076"/>
                            </a:cubicBezTo>
                            <a:moveTo>
                              <a:pt x="598" y="3229"/>
                            </a:moveTo>
                            <a:cubicBezTo>
                              <a:pt x="778" y="3349"/>
                              <a:pt x="957" y="3409"/>
                              <a:pt x="1196" y="3409"/>
                            </a:cubicBezTo>
                            <a:cubicBezTo>
                              <a:pt x="1435" y="3409"/>
                              <a:pt x="1615" y="3409"/>
                              <a:pt x="1854" y="3349"/>
                            </a:cubicBezTo>
                            <a:cubicBezTo>
                              <a:pt x="2093" y="3289"/>
                              <a:pt x="2273" y="3170"/>
                              <a:pt x="2512" y="3050"/>
                            </a:cubicBezTo>
                            <a:cubicBezTo>
                              <a:pt x="2751" y="2930"/>
                              <a:pt x="2930" y="2751"/>
                              <a:pt x="3110" y="2512"/>
                            </a:cubicBezTo>
                            <a:cubicBezTo>
                              <a:pt x="3289" y="2273"/>
                              <a:pt x="3409" y="2093"/>
                              <a:pt x="3469" y="1854"/>
                            </a:cubicBezTo>
                            <a:cubicBezTo>
                              <a:pt x="3528" y="1615"/>
                              <a:pt x="3588" y="1435"/>
                              <a:pt x="3588" y="1196"/>
                            </a:cubicBezTo>
                            <a:cubicBezTo>
                              <a:pt x="3588" y="1017"/>
                              <a:pt x="3528" y="778"/>
                              <a:pt x="3409" y="598"/>
                            </a:cubicBezTo>
                            <a:cubicBezTo>
                              <a:pt x="3289" y="419"/>
                              <a:pt x="3170" y="299"/>
                              <a:pt x="2990" y="179"/>
                            </a:cubicBezTo>
                            <a:cubicBezTo>
                              <a:pt x="2811" y="60"/>
                              <a:pt x="2572" y="0"/>
                              <a:pt x="2392" y="0"/>
                            </a:cubicBezTo>
                            <a:cubicBezTo>
                              <a:pt x="2153" y="0"/>
                              <a:pt x="1974" y="0"/>
                              <a:pt x="1734" y="60"/>
                            </a:cubicBezTo>
                            <a:cubicBezTo>
                              <a:pt x="1495" y="120"/>
                              <a:pt x="1256" y="239"/>
                              <a:pt x="1076" y="359"/>
                            </a:cubicBezTo>
                            <a:cubicBezTo>
                              <a:pt x="897" y="479"/>
                              <a:pt x="658" y="658"/>
                              <a:pt x="479" y="897"/>
                            </a:cubicBezTo>
                            <a:cubicBezTo>
                              <a:pt x="299" y="1136"/>
                              <a:pt x="179" y="1316"/>
                              <a:pt x="120" y="1555"/>
                            </a:cubicBezTo>
                            <a:cubicBezTo>
                              <a:pt x="60" y="1794"/>
                              <a:pt x="0" y="1974"/>
                              <a:pt x="0" y="2213"/>
                            </a:cubicBezTo>
                            <a:cubicBezTo>
                              <a:pt x="0" y="2392"/>
                              <a:pt x="60" y="2632"/>
                              <a:pt x="179" y="2811"/>
                            </a:cubicBezTo>
                            <a:cubicBezTo>
                              <a:pt x="299" y="2990"/>
                              <a:pt x="419" y="3110"/>
                              <a:pt x="598" y="3229"/>
                            </a:cubicBezTo>
                          </a:path>
                        </a:pathLst>
                      </a:custGeom>
                      <a:noFill/>
                      <a:ln w="6350" cap="flat">
                        <a:solidFill>
                          <a:schemeClr val="bg1">
                            <a:alpha val="40000"/>
                          </a:schemeClr>
                        </a:solidFill>
                        <a:prstDash val="solid"/>
                        <a:miter/>
                      </a:ln>
                    </p:spPr>
                    <p:txBody>
                      <a:bodyPr rtlCol="0" anchor="ctr"/>
                      <a:lstStyle/>
                      <a:p>
                        <a:endParaRPr lang="en-GB"/>
                      </a:p>
                    </p:txBody>
                  </p:sp>
                  <p:sp>
                    <p:nvSpPr>
                      <p:cNvPr id="7391" name="Vrije vorm: vorm 7390">
                        <a:extLst>
                          <a:ext uri="{FF2B5EF4-FFF2-40B4-BE49-F238E27FC236}">
                            <a16:creationId xmlns:a16="http://schemas.microsoft.com/office/drawing/2014/main" id="{7090DECD-04DF-474D-B8D5-44E85F00C947}"/>
                          </a:ext>
                        </a:extLst>
                      </p:cNvPr>
                      <p:cNvSpPr/>
                      <p:nvPr/>
                    </p:nvSpPr>
                    <p:spPr>
                      <a:xfrm>
                        <a:off x="5052414" y="5369890"/>
                        <a:ext cx="3528" cy="3409"/>
                      </a:xfrm>
                      <a:custGeom>
                        <a:avLst/>
                        <a:gdLst>
                          <a:gd name="connsiteX0" fmla="*/ 2213 w 3528"/>
                          <a:gd name="connsiteY0" fmla="*/ 1136 h 3409"/>
                          <a:gd name="connsiteX1" fmla="*/ 2392 w 3528"/>
                          <a:gd name="connsiteY1" fmla="*/ 1316 h 3409"/>
                          <a:gd name="connsiteX2" fmla="*/ 2452 w 3528"/>
                          <a:gd name="connsiteY2" fmla="*/ 1555 h 3409"/>
                          <a:gd name="connsiteX3" fmla="*/ 2392 w 3528"/>
                          <a:gd name="connsiteY3" fmla="*/ 1854 h 3409"/>
                          <a:gd name="connsiteX4" fmla="*/ 2213 w 3528"/>
                          <a:gd name="connsiteY4" fmla="*/ 2153 h 3409"/>
                          <a:gd name="connsiteX5" fmla="*/ 1973 w 3528"/>
                          <a:gd name="connsiteY5" fmla="*/ 2392 h 3409"/>
                          <a:gd name="connsiteX6" fmla="*/ 1674 w 3528"/>
                          <a:gd name="connsiteY6" fmla="*/ 2512 h 3409"/>
                          <a:gd name="connsiteX7" fmla="*/ 1375 w 3528"/>
                          <a:gd name="connsiteY7" fmla="*/ 2512 h 3409"/>
                          <a:gd name="connsiteX8" fmla="*/ 1136 w 3528"/>
                          <a:gd name="connsiteY8" fmla="*/ 2452 h 3409"/>
                          <a:gd name="connsiteX9" fmla="*/ 957 w 3528"/>
                          <a:gd name="connsiteY9" fmla="*/ 2273 h 3409"/>
                          <a:gd name="connsiteX10" fmla="*/ 897 w 3528"/>
                          <a:gd name="connsiteY10" fmla="*/ 2034 h 3409"/>
                          <a:gd name="connsiteX11" fmla="*/ 957 w 3528"/>
                          <a:gd name="connsiteY11" fmla="*/ 1735 h 3409"/>
                          <a:gd name="connsiteX12" fmla="*/ 1136 w 3528"/>
                          <a:gd name="connsiteY12" fmla="*/ 1436 h 3409"/>
                          <a:gd name="connsiteX13" fmla="*/ 1375 w 3528"/>
                          <a:gd name="connsiteY13" fmla="*/ 1196 h 3409"/>
                          <a:gd name="connsiteX14" fmla="*/ 1674 w 3528"/>
                          <a:gd name="connsiteY14" fmla="*/ 1077 h 3409"/>
                          <a:gd name="connsiteX15" fmla="*/ 1973 w 3528"/>
                          <a:gd name="connsiteY15" fmla="*/ 1077 h 3409"/>
                          <a:gd name="connsiteX16" fmla="*/ 2213 w 3528"/>
                          <a:gd name="connsiteY16" fmla="*/ 1136 h 3409"/>
                          <a:gd name="connsiteX17" fmla="*/ 538 w 3528"/>
                          <a:gd name="connsiteY17" fmla="*/ 3230 h 3409"/>
                          <a:gd name="connsiteX18" fmla="*/ 1136 w 3528"/>
                          <a:gd name="connsiteY18" fmla="*/ 3409 h 3409"/>
                          <a:gd name="connsiteX19" fmla="*/ 1794 w 3528"/>
                          <a:gd name="connsiteY19" fmla="*/ 3350 h 3409"/>
                          <a:gd name="connsiteX20" fmla="*/ 2452 w 3528"/>
                          <a:gd name="connsiteY20" fmla="*/ 3050 h 3409"/>
                          <a:gd name="connsiteX21" fmla="*/ 3050 w 3528"/>
                          <a:gd name="connsiteY21" fmla="*/ 2512 h 3409"/>
                          <a:gd name="connsiteX22" fmla="*/ 3409 w 3528"/>
                          <a:gd name="connsiteY22" fmla="*/ 1854 h 3409"/>
                          <a:gd name="connsiteX23" fmla="*/ 3528 w 3528"/>
                          <a:gd name="connsiteY23" fmla="*/ 1196 h 3409"/>
                          <a:gd name="connsiteX24" fmla="*/ 3349 w 3528"/>
                          <a:gd name="connsiteY24" fmla="*/ 598 h 3409"/>
                          <a:gd name="connsiteX25" fmla="*/ 2930 w 3528"/>
                          <a:gd name="connsiteY25" fmla="*/ 180 h 3409"/>
                          <a:gd name="connsiteX26" fmla="*/ 2332 w 3528"/>
                          <a:gd name="connsiteY26" fmla="*/ 0 h 3409"/>
                          <a:gd name="connsiteX27" fmla="*/ 1674 w 3528"/>
                          <a:gd name="connsiteY27" fmla="*/ 60 h 3409"/>
                          <a:gd name="connsiteX28" fmla="*/ 1017 w 3528"/>
                          <a:gd name="connsiteY28" fmla="*/ 359 h 3409"/>
                          <a:gd name="connsiteX29" fmla="*/ 478 w 3528"/>
                          <a:gd name="connsiteY29" fmla="*/ 897 h 3409"/>
                          <a:gd name="connsiteX30" fmla="*/ 119 w 3528"/>
                          <a:gd name="connsiteY30" fmla="*/ 1555 h 3409"/>
                          <a:gd name="connsiteX31" fmla="*/ 0 w 3528"/>
                          <a:gd name="connsiteY31" fmla="*/ 2213 h 3409"/>
                          <a:gd name="connsiteX32" fmla="*/ 179 w 3528"/>
                          <a:gd name="connsiteY32" fmla="*/ 2811 h 3409"/>
                          <a:gd name="connsiteX33" fmla="*/ 538 w 3528"/>
                          <a:gd name="connsiteY33" fmla="*/ 3230 h 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28" h="3409">
                            <a:moveTo>
                              <a:pt x="2213" y="1136"/>
                            </a:moveTo>
                            <a:cubicBezTo>
                              <a:pt x="2273" y="1196"/>
                              <a:pt x="2332" y="1256"/>
                              <a:pt x="2392" y="1316"/>
                            </a:cubicBezTo>
                            <a:cubicBezTo>
                              <a:pt x="2452" y="1376"/>
                              <a:pt x="2452" y="1495"/>
                              <a:pt x="2452" y="1555"/>
                            </a:cubicBezTo>
                            <a:cubicBezTo>
                              <a:pt x="2452" y="1615"/>
                              <a:pt x="2452" y="1735"/>
                              <a:pt x="2392" y="1854"/>
                            </a:cubicBezTo>
                            <a:cubicBezTo>
                              <a:pt x="2332" y="1974"/>
                              <a:pt x="2332" y="2034"/>
                              <a:pt x="2213" y="2153"/>
                            </a:cubicBezTo>
                            <a:cubicBezTo>
                              <a:pt x="2153" y="2213"/>
                              <a:pt x="2033" y="2333"/>
                              <a:pt x="1973" y="2392"/>
                            </a:cubicBezTo>
                            <a:cubicBezTo>
                              <a:pt x="1914" y="2452"/>
                              <a:pt x="1794" y="2512"/>
                              <a:pt x="1674" y="2512"/>
                            </a:cubicBezTo>
                            <a:cubicBezTo>
                              <a:pt x="1555" y="2512"/>
                              <a:pt x="1495" y="2572"/>
                              <a:pt x="1375" y="2512"/>
                            </a:cubicBezTo>
                            <a:cubicBezTo>
                              <a:pt x="1316" y="2512"/>
                              <a:pt x="1196" y="2452"/>
                              <a:pt x="1136" y="2452"/>
                            </a:cubicBezTo>
                            <a:cubicBezTo>
                              <a:pt x="1076" y="2392"/>
                              <a:pt x="1017" y="2333"/>
                              <a:pt x="957" y="2273"/>
                            </a:cubicBezTo>
                            <a:cubicBezTo>
                              <a:pt x="897" y="2213"/>
                              <a:pt x="897" y="2093"/>
                              <a:pt x="897" y="2034"/>
                            </a:cubicBezTo>
                            <a:cubicBezTo>
                              <a:pt x="897" y="1974"/>
                              <a:pt x="897" y="1854"/>
                              <a:pt x="957" y="1735"/>
                            </a:cubicBezTo>
                            <a:cubicBezTo>
                              <a:pt x="1017" y="1615"/>
                              <a:pt x="1017" y="1555"/>
                              <a:pt x="1136" y="1436"/>
                            </a:cubicBezTo>
                            <a:cubicBezTo>
                              <a:pt x="1196" y="1316"/>
                              <a:pt x="1316" y="1256"/>
                              <a:pt x="1375" y="1196"/>
                            </a:cubicBezTo>
                            <a:cubicBezTo>
                              <a:pt x="1435" y="1136"/>
                              <a:pt x="1555" y="1077"/>
                              <a:pt x="1674" y="1077"/>
                            </a:cubicBezTo>
                            <a:cubicBezTo>
                              <a:pt x="1794" y="1077"/>
                              <a:pt x="1854" y="1077"/>
                              <a:pt x="1973" y="1077"/>
                            </a:cubicBezTo>
                            <a:cubicBezTo>
                              <a:pt x="2093" y="1017"/>
                              <a:pt x="2153" y="1077"/>
                              <a:pt x="2213" y="1136"/>
                            </a:cubicBezTo>
                            <a:moveTo>
                              <a:pt x="538" y="3230"/>
                            </a:moveTo>
                            <a:cubicBezTo>
                              <a:pt x="718" y="3350"/>
                              <a:pt x="897" y="3409"/>
                              <a:pt x="1136" y="3409"/>
                            </a:cubicBezTo>
                            <a:cubicBezTo>
                              <a:pt x="1375" y="3409"/>
                              <a:pt x="1555" y="3409"/>
                              <a:pt x="1794" y="3350"/>
                            </a:cubicBezTo>
                            <a:cubicBezTo>
                              <a:pt x="2033" y="3290"/>
                              <a:pt x="2213" y="3170"/>
                              <a:pt x="2452" y="3050"/>
                            </a:cubicBezTo>
                            <a:cubicBezTo>
                              <a:pt x="2632" y="2931"/>
                              <a:pt x="2871" y="2751"/>
                              <a:pt x="3050" y="2512"/>
                            </a:cubicBezTo>
                            <a:cubicBezTo>
                              <a:pt x="3229" y="2333"/>
                              <a:pt x="3349" y="2093"/>
                              <a:pt x="3409" y="1854"/>
                            </a:cubicBezTo>
                            <a:cubicBezTo>
                              <a:pt x="3469" y="1615"/>
                              <a:pt x="3528" y="1436"/>
                              <a:pt x="3528" y="1196"/>
                            </a:cubicBezTo>
                            <a:cubicBezTo>
                              <a:pt x="3528" y="957"/>
                              <a:pt x="3469" y="778"/>
                              <a:pt x="3349" y="598"/>
                            </a:cubicBezTo>
                            <a:cubicBezTo>
                              <a:pt x="3229" y="419"/>
                              <a:pt x="3110" y="299"/>
                              <a:pt x="2930" y="180"/>
                            </a:cubicBezTo>
                            <a:cubicBezTo>
                              <a:pt x="2751" y="60"/>
                              <a:pt x="2572" y="0"/>
                              <a:pt x="2332" y="0"/>
                            </a:cubicBezTo>
                            <a:cubicBezTo>
                              <a:pt x="2093" y="0"/>
                              <a:pt x="1914" y="0"/>
                              <a:pt x="1674" y="60"/>
                            </a:cubicBezTo>
                            <a:cubicBezTo>
                              <a:pt x="1435" y="120"/>
                              <a:pt x="1196" y="239"/>
                              <a:pt x="1017" y="359"/>
                            </a:cubicBezTo>
                            <a:cubicBezTo>
                              <a:pt x="837" y="479"/>
                              <a:pt x="598" y="658"/>
                              <a:pt x="478" y="897"/>
                            </a:cubicBezTo>
                            <a:cubicBezTo>
                              <a:pt x="299" y="1136"/>
                              <a:pt x="179" y="1316"/>
                              <a:pt x="119" y="1555"/>
                            </a:cubicBezTo>
                            <a:cubicBezTo>
                              <a:pt x="60" y="1795"/>
                              <a:pt x="0" y="1974"/>
                              <a:pt x="0" y="2213"/>
                            </a:cubicBezTo>
                            <a:cubicBezTo>
                              <a:pt x="0" y="2452"/>
                              <a:pt x="60" y="2632"/>
                              <a:pt x="179" y="2811"/>
                            </a:cubicBezTo>
                            <a:cubicBezTo>
                              <a:pt x="299" y="2990"/>
                              <a:pt x="359" y="3110"/>
                              <a:pt x="538" y="3230"/>
                            </a:cubicBezTo>
                          </a:path>
                        </a:pathLst>
                      </a:custGeom>
                      <a:noFill/>
                      <a:ln w="6350" cap="flat">
                        <a:solidFill>
                          <a:schemeClr val="bg1">
                            <a:alpha val="40000"/>
                          </a:schemeClr>
                        </a:solidFill>
                        <a:prstDash val="solid"/>
                        <a:miter/>
                      </a:ln>
                    </p:spPr>
                    <p:txBody>
                      <a:bodyPr rtlCol="0" anchor="ctr"/>
                      <a:lstStyle/>
                      <a:p>
                        <a:endParaRPr lang="en-GB"/>
                      </a:p>
                    </p:txBody>
                  </p:sp>
                  <p:sp>
                    <p:nvSpPr>
                      <p:cNvPr id="7392" name="Vrije vorm: vorm 7391">
                        <a:extLst>
                          <a:ext uri="{FF2B5EF4-FFF2-40B4-BE49-F238E27FC236}">
                            <a16:creationId xmlns:a16="http://schemas.microsoft.com/office/drawing/2014/main" id="{FCB90E97-57AA-4CC6-9D70-9051D6DF7333}"/>
                          </a:ext>
                        </a:extLst>
                      </p:cNvPr>
                      <p:cNvSpPr/>
                      <p:nvPr/>
                    </p:nvSpPr>
                    <p:spPr>
                      <a:xfrm>
                        <a:off x="4951913" y="5337809"/>
                        <a:ext cx="3817" cy="3672"/>
                      </a:xfrm>
                      <a:custGeom>
                        <a:avLst/>
                        <a:gdLst>
                          <a:gd name="connsiteX0" fmla="*/ 2477 w 3817"/>
                          <a:gd name="connsiteY0" fmla="*/ 1161 h 3672"/>
                          <a:gd name="connsiteX1" fmla="*/ 2656 w 3817"/>
                          <a:gd name="connsiteY1" fmla="*/ 1341 h 3672"/>
                          <a:gd name="connsiteX2" fmla="*/ 2716 w 3817"/>
                          <a:gd name="connsiteY2" fmla="*/ 1580 h 3672"/>
                          <a:gd name="connsiteX3" fmla="*/ 2656 w 3817"/>
                          <a:gd name="connsiteY3" fmla="*/ 1879 h 3672"/>
                          <a:gd name="connsiteX4" fmla="*/ 2477 w 3817"/>
                          <a:gd name="connsiteY4" fmla="*/ 2178 h 3672"/>
                          <a:gd name="connsiteX5" fmla="*/ 2238 w 3817"/>
                          <a:gd name="connsiteY5" fmla="*/ 2417 h 3672"/>
                          <a:gd name="connsiteX6" fmla="*/ 1938 w 3817"/>
                          <a:gd name="connsiteY6" fmla="*/ 2537 h 3672"/>
                          <a:gd name="connsiteX7" fmla="*/ 1639 w 3817"/>
                          <a:gd name="connsiteY7" fmla="*/ 2537 h 3672"/>
                          <a:gd name="connsiteX8" fmla="*/ 1400 w 3817"/>
                          <a:gd name="connsiteY8" fmla="*/ 2477 h 3672"/>
                          <a:gd name="connsiteX9" fmla="*/ 1221 w 3817"/>
                          <a:gd name="connsiteY9" fmla="*/ 2298 h 3672"/>
                          <a:gd name="connsiteX10" fmla="*/ 1101 w 3817"/>
                          <a:gd name="connsiteY10" fmla="*/ 2058 h 3672"/>
                          <a:gd name="connsiteX11" fmla="*/ 1101 w 3817"/>
                          <a:gd name="connsiteY11" fmla="*/ 1759 h 3672"/>
                          <a:gd name="connsiteX12" fmla="*/ 1281 w 3817"/>
                          <a:gd name="connsiteY12" fmla="*/ 1460 h 3672"/>
                          <a:gd name="connsiteX13" fmla="*/ 1520 w 3817"/>
                          <a:gd name="connsiteY13" fmla="*/ 1221 h 3672"/>
                          <a:gd name="connsiteX14" fmla="*/ 1819 w 3817"/>
                          <a:gd name="connsiteY14" fmla="*/ 1101 h 3672"/>
                          <a:gd name="connsiteX15" fmla="*/ 2118 w 3817"/>
                          <a:gd name="connsiteY15" fmla="*/ 1101 h 3672"/>
                          <a:gd name="connsiteX16" fmla="*/ 2477 w 3817"/>
                          <a:gd name="connsiteY16" fmla="*/ 1161 h 3672"/>
                          <a:gd name="connsiteX17" fmla="*/ 683 w 3817"/>
                          <a:gd name="connsiteY17" fmla="*/ 3434 h 3672"/>
                          <a:gd name="connsiteX18" fmla="*/ 1340 w 3817"/>
                          <a:gd name="connsiteY18" fmla="*/ 3673 h 3672"/>
                          <a:gd name="connsiteX19" fmla="*/ 2058 w 3817"/>
                          <a:gd name="connsiteY19" fmla="*/ 3613 h 3672"/>
                          <a:gd name="connsiteX20" fmla="*/ 2776 w 3817"/>
                          <a:gd name="connsiteY20" fmla="*/ 3314 h 3672"/>
                          <a:gd name="connsiteX21" fmla="*/ 3374 w 3817"/>
                          <a:gd name="connsiteY21" fmla="*/ 2776 h 3672"/>
                          <a:gd name="connsiteX22" fmla="*/ 3733 w 3817"/>
                          <a:gd name="connsiteY22" fmla="*/ 2058 h 3672"/>
                          <a:gd name="connsiteX23" fmla="*/ 3792 w 3817"/>
                          <a:gd name="connsiteY23" fmla="*/ 1341 h 3672"/>
                          <a:gd name="connsiteX24" fmla="*/ 3613 w 3817"/>
                          <a:gd name="connsiteY24" fmla="*/ 742 h 3672"/>
                          <a:gd name="connsiteX25" fmla="*/ 3135 w 3817"/>
                          <a:gd name="connsiteY25" fmla="*/ 264 h 3672"/>
                          <a:gd name="connsiteX26" fmla="*/ 2477 w 3817"/>
                          <a:gd name="connsiteY26" fmla="*/ 25 h 3672"/>
                          <a:gd name="connsiteX27" fmla="*/ 1759 w 3817"/>
                          <a:gd name="connsiteY27" fmla="*/ 85 h 3672"/>
                          <a:gd name="connsiteX28" fmla="*/ 1041 w 3817"/>
                          <a:gd name="connsiteY28" fmla="*/ 384 h 3672"/>
                          <a:gd name="connsiteX29" fmla="*/ 443 w 3817"/>
                          <a:gd name="connsiteY29" fmla="*/ 922 h 3672"/>
                          <a:gd name="connsiteX30" fmla="*/ 84 w 3817"/>
                          <a:gd name="connsiteY30" fmla="*/ 1640 h 3672"/>
                          <a:gd name="connsiteX31" fmla="*/ 25 w 3817"/>
                          <a:gd name="connsiteY31" fmla="*/ 2357 h 3672"/>
                          <a:gd name="connsiteX32" fmla="*/ 204 w 3817"/>
                          <a:gd name="connsiteY32" fmla="*/ 2955 h 3672"/>
                          <a:gd name="connsiteX33" fmla="*/ 683 w 3817"/>
                          <a:gd name="connsiteY33" fmla="*/ 3434 h 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17" h="3672">
                            <a:moveTo>
                              <a:pt x="2477" y="1161"/>
                            </a:moveTo>
                            <a:cubicBezTo>
                              <a:pt x="2537" y="1221"/>
                              <a:pt x="2596" y="1281"/>
                              <a:pt x="2656" y="1341"/>
                            </a:cubicBezTo>
                            <a:cubicBezTo>
                              <a:pt x="2716" y="1401"/>
                              <a:pt x="2716" y="1520"/>
                              <a:pt x="2716" y="1580"/>
                            </a:cubicBezTo>
                            <a:cubicBezTo>
                              <a:pt x="2716" y="1700"/>
                              <a:pt x="2716" y="1759"/>
                              <a:pt x="2656" y="1879"/>
                            </a:cubicBezTo>
                            <a:cubicBezTo>
                              <a:pt x="2596" y="1999"/>
                              <a:pt x="2596" y="2058"/>
                              <a:pt x="2477" y="2178"/>
                            </a:cubicBezTo>
                            <a:cubicBezTo>
                              <a:pt x="2417" y="2298"/>
                              <a:pt x="2297" y="2357"/>
                              <a:pt x="2238" y="2417"/>
                            </a:cubicBezTo>
                            <a:cubicBezTo>
                              <a:pt x="2118" y="2477"/>
                              <a:pt x="2058" y="2537"/>
                              <a:pt x="1938" y="2537"/>
                            </a:cubicBezTo>
                            <a:cubicBezTo>
                              <a:pt x="1819" y="2537"/>
                              <a:pt x="1759" y="2596"/>
                              <a:pt x="1639" y="2537"/>
                            </a:cubicBezTo>
                            <a:cubicBezTo>
                              <a:pt x="1520" y="2477"/>
                              <a:pt x="1460" y="2477"/>
                              <a:pt x="1400" y="2477"/>
                            </a:cubicBezTo>
                            <a:cubicBezTo>
                              <a:pt x="1340" y="2417"/>
                              <a:pt x="1221" y="2357"/>
                              <a:pt x="1221" y="2298"/>
                            </a:cubicBezTo>
                            <a:cubicBezTo>
                              <a:pt x="1161" y="2238"/>
                              <a:pt x="1161" y="2118"/>
                              <a:pt x="1101" y="2058"/>
                            </a:cubicBezTo>
                            <a:cubicBezTo>
                              <a:pt x="1101" y="1939"/>
                              <a:pt x="1101" y="1879"/>
                              <a:pt x="1101" y="1759"/>
                            </a:cubicBezTo>
                            <a:cubicBezTo>
                              <a:pt x="1161" y="1640"/>
                              <a:pt x="1161" y="1580"/>
                              <a:pt x="1281" y="1460"/>
                            </a:cubicBezTo>
                            <a:cubicBezTo>
                              <a:pt x="1340" y="1341"/>
                              <a:pt x="1460" y="1281"/>
                              <a:pt x="1520" y="1221"/>
                            </a:cubicBezTo>
                            <a:cubicBezTo>
                              <a:pt x="1639" y="1161"/>
                              <a:pt x="1699" y="1101"/>
                              <a:pt x="1819" y="1101"/>
                            </a:cubicBezTo>
                            <a:cubicBezTo>
                              <a:pt x="1938" y="1101"/>
                              <a:pt x="2058" y="1042"/>
                              <a:pt x="2118" y="1101"/>
                            </a:cubicBezTo>
                            <a:cubicBezTo>
                              <a:pt x="2297" y="1101"/>
                              <a:pt x="2417" y="1101"/>
                              <a:pt x="2477" y="1161"/>
                            </a:cubicBezTo>
                            <a:moveTo>
                              <a:pt x="683" y="3434"/>
                            </a:moveTo>
                            <a:cubicBezTo>
                              <a:pt x="862" y="3554"/>
                              <a:pt x="1101" y="3613"/>
                              <a:pt x="1340" y="3673"/>
                            </a:cubicBezTo>
                            <a:cubicBezTo>
                              <a:pt x="1579" y="3673"/>
                              <a:pt x="1819" y="3673"/>
                              <a:pt x="2058" y="3613"/>
                            </a:cubicBezTo>
                            <a:cubicBezTo>
                              <a:pt x="2297" y="3554"/>
                              <a:pt x="2537" y="3434"/>
                              <a:pt x="2776" y="3314"/>
                            </a:cubicBezTo>
                            <a:cubicBezTo>
                              <a:pt x="3015" y="3195"/>
                              <a:pt x="3194" y="3015"/>
                              <a:pt x="3374" y="2776"/>
                            </a:cubicBezTo>
                            <a:cubicBezTo>
                              <a:pt x="3553" y="2537"/>
                              <a:pt x="3673" y="2298"/>
                              <a:pt x="3733" y="2058"/>
                            </a:cubicBezTo>
                            <a:cubicBezTo>
                              <a:pt x="3792" y="1819"/>
                              <a:pt x="3852" y="1580"/>
                              <a:pt x="3792" y="1341"/>
                            </a:cubicBezTo>
                            <a:cubicBezTo>
                              <a:pt x="3733" y="1101"/>
                              <a:pt x="3733" y="922"/>
                              <a:pt x="3613" y="742"/>
                            </a:cubicBezTo>
                            <a:cubicBezTo>
                              <a:pt x="3493" y="563"/>
                              <a:pt x="3374" y="384"/>
                              <a:pt x="3135" y="264"/>
                            </a:cubicBezTo>
                            <a:cubicBezTo>
                              <a:pt x="2955" y="145"/>
                              <a:pt x="2716" y="85"/>
                              <a:pt x="2477" y="25"/>
                            </a:cubicBezTo>
                            <a:cubicBezTo>
                              <a:pt x="2238" y="-35"/>
                              <a:pt x="1998" y="25"/>
                              <a:pt x="1759" y="85"/>
                            </a:cubicBezTo>
                            <a:cubicBezTo>
                              <a:pt x="1520" y="145"/>
                              <a:pt x="1281" y="264"/>
                              <a:pt x="1041" y="384"/>
                            </a:cubicBezTo>
                            <a:cubicBezTo>
                              <a:pt x="802" y="503"/>
                              <a:pt x="623" y="683"/>
                              <a:pt x="443" y="922"/>
                            </a:cubicBezTo>
                            <a:cubicBezTo>
                              <a:pt x="264" y="1161"/>
                              <a:pt x="144" y="1401"/>
                              <a:pt x="84" y="1640"/>
                            </a:cubicBezTo>
                            <a:cubicBezTo>
                              <a:pt x="25" y="1879"/>
                              <a:pt x="-35" y="2118"/>
                              <a:pt x="25" y="2357"/>
                            </a:cubicBezTo>
                            <a:cubicBezTo>
                              <a:pt x="25" y="2596"/>
                              <a:pt x="84" y="2776"/>
                              <a:pt x="204" y="2955"/>
                            </a:cubicBezTo>
                            <a:cubicBezTo>
                              <a:pt x="324" y="3135"/>
                              <a:pt x="503" y="3314"/>
                              <a:pt x="683" y="3434"/>
                            </a:cubicBezTo>
                          </a:path>
                        </a:pathLst>
                      </a:custGeom>
                      <a:noFill/>
                      <a:ln w="6350" cap="flat">
                        <a:solidFill>
                          <a:schemeClr val="bg1">
                            <a:alpha val="40000"/>
                          </a:schemeClr>
                        </a:solidFill>
                        <a:prstDash val="solid"/>
                        <a:miter/>
                      </a:ln>
                    </p:spPr>
                    <p:txBody>
                      <a:bodyPr rtlCol="0" anchor="ctr"/>
                      <a:lstStyle/>
                      <a:p>
                        <a:endParaRPr lang="en-GB"/>
                      </a:p>
                    </p:txBody>
                  </p:sp>
                  <p:sp>
                    <p:nvSpPr>
                      <p:cNvPr id="7393" name="Vrije vorm: vorm 7392">
                        <a:extLst>
                          <a:ext uri="{FF2B5EF4-FFF2-40B4-BE49-F238E27FC236}">
                            <a16:creationId xmlns:a16="http://schemas.microsoft.com/office/drawing/2014/main" id="{8868CEBB-13EE-4774-866D-79EEFE21E196}"/>
                          </a:ext>
                        </a:extLst>
                      </p:cNvPr>
                      <p:cNvSpPr/>
                      <p:nvPr/>
                    </p:nvSpPr>
                    <p:spPr>
                      <a:xfrm>
                        <a:off x="4968898" y="5316483"/>
                        <a:ext cx="3732" cy="3613"/>
                      </a:xfrm>
                      <a:custGeom>
                        <a:avLst/>
                        <a:gdLst>
                          <a:gd name="connsiteX0" fmla="*/ 2357 w 3732"/>
                          <a:gd name="connsiteY0" fmla="*/ 1136 h 3613"/>
                          <a:gd name="connsiteX1" fmla="*/ 2537 w 3732"/>
                          <a:gd name="connsiteY1" fmla="*/ 1316 h 3613"/>
                          <a:gd name="connsiteX2" fmla="*/ 2596 w 3732"/>
                          <a:gd name="connsiteY2" fmla="*/ 1555 h 3613"/>
                          <a:gd name="connsiteX3" fmla="*/ 2537 w 3732"/>
                          <a:gd name="connsiteY3" fmla="*/ 1854 h 3613"/>
                          <a:gd name="connsiteX4" fmla="*/ 2357 w 3732"/>
                          <a:gd name="connsiteY4" fmla="*/ 2153 h 3613"/>
                          <a:gd name="connsiteX5" fmla="*/ 2118 w 3732"/>
                          <a:gd name="connsiteY5" fmla="*/ 2392 h 3613"/>
                          <a:gd name="connsiteX6" fmla="*/ 1819 w 3732"/>
                          <a:gd name="connsiteY6" fmla="*/ 2512 h 3613"/>
                          <a:gd name="connsiteX7" fmla="*/ 1520 w 3732"/>
                          <a:gd name="connsiteY7" fmla="*/ 2512 h 3613"/>
                          <a:gd name="connsiteX8" fmla="*/ 1281 w 3732"/>
                          <a:gd name="connsiteY8" fmla="*/ 2392 h 3613"/>
                          <a:gd name="connsiteX9" fmla="*/ 1101 w 3732"/>
                          <a:gd name="connsiteY9" fmla="*/ 2213 h 3613"/>
                          <a:gd name="connsiteX10" fmla="*/ 1041 w 3732"/>
                          <a:gd name="connsiteY10" fmla="*/ 1974 h 3613"/>
                          <a:gd name="connsiteX11" fmla="*/ 1101 w 3732"/>
                          <a:gd name="connsiteY11" fmla="*/ 1675 h 3613"/>
                          <a:gd name="connsiteX12" fmla="*/ 1281 w 3732"/>
                          <a:gd name="connsiteY12" fmla="*/ 1376 h 3613"/>
                          <a:gd name="connsiteX13" fmla="*/ 1520 w 3732"/>
                          <a:gd name="connsiteY13" fmla="*/ 1136 h 3613"/>
                          <a:gd name="connsiteX14" fmla="*/ 1819 w 3732"/>
                          <a:gd name="connsiteY14" fmla="*/ 1017 h 3613"/>
                          <a:gd name="connsiteX15" fmla="*/ 2118 w 3732"/>
                          <a:gd name="connsiteY15" fmla="*/ 1017 h 3613"/>
                          <a:gd name="connsiteX16" fmla="*/ 2357 w 3732"/>
                          <a:gd name="connsiteY16" fmla="*/ 1136 h 3613"/>
                          <a:gd name="connsiteX17" fmla="*/ 563 w 3732"/>
                          <a:gd name="connsiteY17" fmla="*/ 3349 h 3613"/>
                          <a:gd name="connsiteX18" fmla="*/ 1221 w 3732"/>
                          <a:gd name="connsiteY18" fmla="*/ 3589 h 3613"/>
                          <a:gd name="connsiteX19" fmla="*/ 1939 w 3732"/>
                          <a:gd name="connsiteY19" fmla="*/ 3529 h 3613"/>
                          <a:gd name="connsiteX20" fmla="*/ 2656 w 3732"/>
                          <a:gd name="connsiteY20" fmla="*/ 3230 h 3613"/>
                          <a:gd name="connsiteX21" fmla="*/ 3254 w 3732"/>
                          <a:gd name="connsiteY21" fmla="*/ 2691 h 3613"/>
                          <a:gd name="connsiteX22" fmla="*/ 3613 w 3732"/>
                          <a:gd name="connsiteY22" fmla="*/ 2034 h 3613"/>
                          <a:gd name="connsiteX23" fmla="*/ 3733 w 3732"/>
                          <a:gd name="connsiteY23" fmla="*/ 1316 h 3613"/>
                          <a:gd name="connsiteX24" fmla="*/ 3554 w 3732"/>
                          <a:gd name="connsiteY24" fmla="*/ 718 h 3613"/>
                          <a:gd name="connsiteX25" fmla="*/ 3135 w 3732"/>
                          <a:gd name="connsiteY25" fmla="*/ 239 h 3613"/>
                          <a:gd name="connsiteX26" fmla="*/ 2477 w 3732"/>
                          <a:gd name="connsiteY26" fmla="*/ 0 h 3613"/>
                          <a:gd name="connsiteX27" fmla="*/ 1759 w 3732"/>
                          <a:gd name="connsiteY27" fmla="*/ 60 h 3613"/>
                          <a:gd name="connsiteX28" fmla="*/ 1041 w 3732"/>
                          <a:gd name="connsiteY28" fmla="*/ 359 h 3613"/>
                          <a:gd name="connsiteX29" fmla="*/ 443 w 3732"/>
                          <a:gd name="connsiteY29" fmla="*/ 897 h 3613"/>
                          <a:gd name="connsiteX30" fmla="*/ 85 w 3732"/>
                          <a:gd name="connsiteY30" fmla="*/ 1615 h 3613"/>
                          <a:gd name="connsiteX31" fmla="*/ 25 w 3732"/>
                          <a:gd name="connsiteY31" fmla="*/ 2333 h 3613"/>
                          <a:gd name="connsiteX32" fmla="*/ 204 w 3732"/>
                          <a:gd name="connsiteY32" fmla="*/ 2931 h 3613"/>
                          <a:gd name="connsiteX33" fmla="*/ 563 w 3732"/>
                          <a:gd name="connsiteY33" fmla="*/ 3349 h 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732" h="3613">
                            <a:moveTo>
                              <a:pt x="2357" y="1136"/>
                            </a:moveTo>
                            <a:cubicBezTo>
                              <a:pt x="2417" y="1196"/>
                              <a:pt x="2477" y="1256"/>
                              <a:pt x="2537" y="1316"/>
                            </a:cubicBezTo>
                            <a:cubicBezTo>
                              <a:pt x="2596" y="1376"/>
                              <a:pt x="2596" y="1495"/>
                              <a:pt x="2596" y="1555"/>
                            </a:cubicBezTo>
                            <a:cubicBezTo>
                              <a:pt x="2596" y="1615"/>
                              <a:pt x="2596" y="1735"/>
                              <a:pt x="2537" y="1854"/>
                            </a:cubicBezTo>
                            <a:cubicBezTo>
                              <a:pt x="2477" y="1974"/>
                              <a:pt x="2477" y="2034"/>
                              <a:pt x="2357" y="2153"/>
                            </a:cubicBezTo>
                            <a:cubicBezTo>
                              <a:pt x="2298" y="2273"/>
                              <a:pt x="2178" y="2333"/>
                              <a:pt x="2118" y="2392"/>
                            </a:cubicBezTo>
                            <a:cubicBezTo>
                              <a:pt x="1999" y="2452"/>
                              <a:pt x="1939" y="2512"/>
                              <a:pt x="1819" y="2512"/>
                            </a:cubicBezTo>
                            <a:cubicBezTo>
                              <a:pt x="1700" y="2512"/>
                              <a:pt x="1640" y="2512"/>
                              <a:pt x="1520" y="2512"/>
                            </a:cubicBezTo>
                            <a:cubicBezTo>
                              <a:pt x="1400" y="2512"/>
                              <a:pt x="1341" y="2452"/>
                              <a:pt x="1281" y="2392"/>
                            </a:cubicBezTo>
                            <a:cubicBezTo>
                              <a:pt x="1221" y="2333"/>
                              <a:pt x="1101" y="2273"/>
                              <a:pt x="1101" y="2213"/>
                            </a:cubicBezTo>
                            <a:cubicBezTo>
                              <a:pt x="1041" y="2153"/>
                              <a:pt x="1041" y="2034"/>
                              <a:pt x="1041" y="1974"/>
                            </a:cubicBezTo>
                            <a:cubicBezTo>
                              <a:pt x="1041" y="1854"/>
                              <a:pt x="1041" y="1795"/>
                              <a:pt x="1101" y="1675"/>
                            </a:cubicBezTo>
                            <a:cubicBezTo>
                              <a:pt x="1161" y="1555"/>
                              <a:pt x="1161" y="1495"/>
                              <a:pt x="1281" y="1376"/>
                            </a:cubicBezTo>
                            <a:cubicBezTo>
                              <a:pt x="1341" y="1256"/>
                              <a:pt x="1460" y="1196"/>
                              <a:pt x="1520" y="1136"/>
                            </a:cubicBezTo>
                            <a:cubicBezTo>
                              <a:pt x="1640" y="1076"/>
                              <a:pt x="1700" y="1017"/>
                              <a:pt x="1819" y="1017"/>
                            </a:cubicBezTo>
                            <a:cubicBezTo>
                              <a:pt x="1939" y="1017"/>
                              <a:pt x="1999" y="1017"/>
                              <a:pt x="2118" y="1017"/>
                            </a:cubicBezTo>
                            <a:cubicBezTo>
                              <a:pt x="2238" y="1017"/>
                              <a:pt x="2238" y="1076"/>
                              <a:pt x="2357" y="1136"/>
                            </a:cubicBezTo>
                            <a:moveTo>
                              <a:pt x="563" y="3349"/>
                            </a:moveTo>
                            <a:cubicBezTo>
                              <a:pt x="742" y="3469"/>
                              <a:pt x="982" y="3529"/>
                              <a:pt x="1221" y="3589"/>
                            </a:cubicBezTo>
                            <a:cubicBezTo>
                              <a:pt x="1460" y="3649"/>
                              <a:pt x="1700" y="3589"/>
                              <a:pt x="1939" y="3529"/>
                            </a:cubicBezTo>
                            <a:cubicBezTo>
                              <a:pt x="2178" y="3469"/>
                              <a:pt x="2417" y="3349"/>
                              <a:pt x="2656" y="3230"/>
                            </a:cubicBezTo>
                            <a:cubicBezTo>
                              <a:pt x="2895" y="3110"/>
                              <a:pt x="3075" y="2931"/>
                              <a:pt x="3254" y="2691"/>
                            </a:cubicBezTo>
                            <a:cubicBezTo>
                              <a:pt x="3434" y="2452"/>
                              <a:pt x="3554" y="2273"/>
                              <a:pt x="3613" y="2034"/>
                            </a:cubicBezTo>
                            <a:cubicBezTo>
                              <a:pt x="3673" y="1795"/>
                              <a:pt x="3733" y="1555"/>
                              <a:pt x="3733" y="1316"/>
                            </a:cubicBezTo>
                            <a:cubicBezTo>
                              <a:pt x="3733" y="1076"/>
                              <a:pt x="3673" y="897"/>
                              <a:pt x="3554" y="718"/>
                            </a:cubicBezTo>
                            <a:cubicBezTo>
                              <a:pt x="3434" y="538"/>
                              <a:pt x="3314" y="359"/>
                              <a:pt x="3135" y="239"/>
                            </a:cubicBezTo>
                            <a:cubicBezTo>
                              <a:pt x="2955" y="120"/>
                              <a:pt x="2716" y="60"/>
                              <a:pt x="2477" y="0"/>
                            </a:cubicBezTo>
                            <a:cubicBezTo>
                              <a:pt x="2238" y="0"/>
                              <a:pt x="1999" y="0"/>
                              <a:pt x="1759" y="60"/>
                            </a:cubicBezTo>
                            <a:cubicBezTo>
                              <a:pt x="1520" y="120"/>
                              <a:pt x="1281" y="239"/>
                              <a:pt x="1041" y="359"/>
                            </a:cubicBezTo>
                            <a:cubicBezTo>
                              <a:pt x="802" y="479"/>
                              <a:pt x="623" y="658"/>
                              <a:pt x="443" y="897"/>
                            </a:cubicBezTo>
                            <a:cubicBezTo>
                              <a:pt x="264" y="1136"/>
                              <a:pt x="145" y="1376"/>
                              <a:pt x="85" y="1615"/>
                            </a:cubicBezTo>
                            <a:cubicBezTo>
                              <a:pt x="25" y="1854"/>
                              <a:pt x="-35" y="2093"/>
                              <a:pt x="25" y="2333"/>
                            </a:cubicBezTo>
                            <a:cubicBezTo>
                              <a:pt x="25" y="2572"/>
                              <a:pt x="85" y="2751"/>
                              <a:pt x="204" y="2931"/>
                            </a:cubicBezTo>
                            <a:cubicBezTo>
                              <a:pt x="264" y="3050"/>
                              <a:pt x="384" y="3230"/>
                              <a:pt x="563" y="3349"/>
                            </a:cubicBezTo>
                          </a:path>
                        </a:pathLst>
                      </a:custGeom>
                      <a:noFill/>
                      <a:ln w="6350" cap="flat">
                        <a:solidFill>
                          <a:schemeClr val="bg1">
                            <a:alpha val="40000"/>
                          </a:schemeClr>
                        </a:solidFill>
                        <a:prstDash val="solid"/>
                        <a:miter/>
                      </a:ln>
                    </p:spPr>
                    <p:txBody>
                      <a:bodyPr rtlCol="0" anchor="ctr"/>
                      <a:lstStyle/>
                      <a:p>
                        <a:endParaRPr lang="en-GB"/>
                      </a:p>
                    </p:txBody>
                  </p:sp>
                  <p:sp>
                    <p:nvSpPr>
                      <p:cNvPr id="7394" name="Vrije vorm: vorm 7393">
                        <a:extLst>
                          <a:ext uri="{FF2B5EF4-FFF2-40B4-BE49-F238E27FC236}">
                            <a16:creationId xmlns:a16="http://schemas.microsoft.com/office/drawing/2014/main" id="{920055DF-3EBD-439A-ADF4-1F29092A15B2}"/>
                          </a:ext>
                        </a:extLst>
                      </p:cNvPr>
                      <p:cNvSpPr/>
                      <p:nvPr/>
                    </p:nvSpPr>
                    <p:spPr>
                      <a:xfrm>
                        <a:off x="5054507" y="5363491"/>
                        <a:ext cx="29066" cy="25059"/>
                      </a:xfrm>
                      <a:custGeom>
                        <a:avLst/>
                        <a:gdLst>
                          <a:gd name="connsiteX0" fmla="*/ 23564 w 29066"/>
                          <a:gd name="connsiteY0" fmla="*/ 10107 h 25059"/>
                          <a:gd name="connsiteX1" fmla="*/ 24521 w 29066"/>
                          <a:gd name="connsiteY1" fmla="*/ 10705 h 25059"/>
                          <a:gd name="connsiteX2" fmla="*/ 24700 w 29066"/>
                          <a:gd name="connsiteY2" fmla="*/ 10466 h 25059"/>
                          <a:gd name="connsiteX3" fmla="*/ 24880 w 29066"/>
                          <a:gd name="connsiteY3" fmla="*/ 10227 h 25059"/>
                          <a:gd name="connsiteX4" fmla="*/ 25059 w 29066"/>
                          <a:gd name="connsiteY4" fmla="*/ 9988 h 25059"/>
                          <a:gd name="connsiteX5" fmla="*/ 25239 w 29066"/>
                          <a:gd name="connsiteY5" fmla="*/ 9749 h 25059"/>
                          <a:gd name="connsiteX6" fmla="*/ 24282 w 29066"/>
                          <a:gd name="connsiteY6" fmla="*/ 9150 h 25059"/>
                          <a:gd name="connsiteX7" fmla="*/ 24102 w 29066"/>
                          <a:gd name="connsiteY7" fmla="*/ 9389 h 25059"/>
                          <a:gd name="connsiteX8" fmla="*/ 23923 w 29066"/>
                          <a:gd name="connsiteY8" fmla="*/ 9629 h 25059"/>
                          <a:gd name="connsiteX9" fmla="*/ 23744 w 29066"/>
                          <a:gd name="connsiteY9" fmla="*/ 9868 h 25059"/>
                          <a:gd name="connsiteX10" fmla="*/ 23564 w 29066"/>
                          <a:gd name="connsiteY10" fmla="*/ 10107 h 25059"/>
                          <a:gd name="connsiteX11" fmla="*/ 19736 w 29066"/>
                          <a:gd name="connsiteY11" fmla="*/ 7595 h 25059"/>
                          <a:gd name="connsiteX12" fmla="*/ 22846 w 29066"/>
                          <a:gd name="connsiteY12" fmla="*/ 9629 h 25059"/>
                          <a:gd name="connsiteX13" fmla="*/ 23026 w 29066"/>
                          <a:gd name="connsiteY13" fmla="*/ 9389 h 25059"/>
                          <a:gd name="connsiteX14" fmla="*/ 23205 w 29066"/>
                          <a:gd name="connsiteY14" fmla="*/ 9150 h 25059"/>
                          <a:gd name="connsiteX15" fmla="*/ 23385 w 29066"/>
                          <a:gd name="connsiteY15" fmla="*/ 8911 h 25059"/>
                          <a:gd name="connsiteX16" fmla="*/ 23564 w 29066"/>
                          <a:gd name="connsiteY16" fmla="*/ 8672 h 25059"/>
                          <a:gd name="connsiteX17" fmla="*/ 20454 w 29066"/>
                          <a:gd name="connsiteY17" fmla="*/ 6698 h 25059"/>
                          <a:gd name="connsiteX18" fmla="*/ 20275 w 29066"/>
                          <a:gd name="connsiteY18" fmla="*/ 6937 h 25059"/>
                          <a:gd name="connsiteX19" fmla="*/ 20095 w 29066"/>
                          <a:gd name="connsiteY19" fmla="*/ 7177 h 25059"/>
                          <a:gd name="connsiteX20" fmla="*/ 19916 w 29066"/>
                          <a:gd name="connsiteY20" fmla="*/ 7416 h 25059"/>
                          <a:gd name="connsiteX21" fmla="*/ 19736 w 29066"/>
                          <a:gd name="connsiteY21" fmla="*/ 7595 h 25059"/>
                          <a:gd name="connsiteX22" fmla="*/ 18002 w 29066"/>
                          <a:gd name="connsiteY22" fmla="*/ 6519 h 25059"/>
                          <a:gd name="connsiteX23" fmla="*/ 18959 w 29066"/>
                          <a:gd name="connsiteY23" fmla="*/ 7177 h 25059"/>
                          <a:gd name="connsiteX24" fmla="*/ 19138 w 29066"/>
                          <a:gd name="connsiteY24" fmla="*/ 6937 h 25059"/>
                          <a:gd name="connsiteX25" fmla="*/ 19318 w 29066"/>
                          <a:gd name="connsiteY25" fmla="*/ 6698 h 25059"/>
                          <a:gd name="connsiteX26" fmla="*/ 19497 w 29066"/>
                          <a:gd name="connsiteY26" fmla="*/ 6459 h 25059"/>
                          <a:gd name="connsiteX27" fmla="*/ 19676 w 29066"/>
                          <a:gd name="connsiteY27" fmla="*/ 6220 h 25059"/>
                          <a:gd name="connsiteX28" fmla="*/ 18720 w 29066"/>
                          <a:gd name="connsiteY28" fmla="*/ 5622 h 25059"/>
                          <a:gd name="connsiteX29" fmla="*/ 18540 w 29066"/>
                          <a:gd name="connsiteY29" fmla="*/ 5861 h 25059"/>
                          <a:gd name="connsiteX30" fmla="*/ 18361 w 29066"/>
                          <a:gd name="connsiteY30" fmla="*/ 6100 h 25059"/>
                          <a:gd name="connsiteX31" fmla="*/ 18181 w 29066"/>
                          <a:gd name="connsiteY31" fmla="*/ 6340 h 25059"/>
                          <a:gd name="connsiteX32" fmla="*/ 18002 w 29066"/>
                          <a:gd name="connsiteY32" fmla="*/ 6519 h 25059"/>
                          <a:gd name="connsiteX33" fmla="*/ 13516 w 29066"/>
                          <a:gd name="connsiteY33" fmla="*/ 3588 h 25059"/>
                          <a:gd name="connsiteX34" fmla="*/ 17284 w 29066"/>
                          <a:gd name="connsiteY34" fmla="*/ 6040 h 25059"/>
                          <a:gd name="connsiteX35" fmla="*/ 17464 w 29066"/>
                          <a:gd name="connsiteY35" fmla="*/ 5801 h 25059"/>
                          <a:gd name="connsiteX36" fmla="*/ 17643 w 29066"/>
                          <a:gd name="connsiteY36" fmla="*/ 5562 h 25059"/>
                          <a:gd name="connsiteX37" fmla="*/ 17822 w 29066"/>
                          <a:gd name="connsiteY37" fmla="*/ 5323 h 25059"/>
                          <a:gd name="connsiteX38" fmla="*/ 18002 w 29066"/>
                          <a:gd name="connsiteY38" fmla="*/ 5083 h 25059"/>
                          <a:gd name="connsiteX39" fmla="*/ 14294 w 29066"/>
                          <a:gd name="connsiteY39" fmla="*/ 2691 h 25059"/>
                          <a:gd name="connsiteX40" fmla="*/ 14114 w 29066"/>
                          <a:gd name="connsiteY40" fmla="*/ 2930 h 25059"/>
                          <a:gd name="connsiteX41" fmla="*/ 13935 w 29066"/>
                          <a:gd name="connsiteY41" fmla="*/ 3170 h 25059"/>
                          <a:gd name="connsiteX42" fmla="*/ 13756 w 29066"/>
                          <a:gd name="connsiteY42" fmla="*/ 3409 h 25059"/>
                          <a:gd name="connsiteX43" fmla="*/ 13516 w 29066"/>
                          <a:gd name="connsiteY43" fmla="*/ 3588 h 25059"/>
                          <a:gd name="connsiteX44" fmla="*/ 11842 w 29066"/>
                          <a:gd name="connsiteY44" fmla="*/ 2512 h 25059"/>
                          <a:gd name="connsiteX45" fmla="*/ 12799 w 29066"/>
                          <a:gd name="connsiteY45" fmla="*/ 3110 h 25059"/>
                          <a:gd name="connsiteX46" fmla="*/ 12978 w 29066"/>
                          <a:gd name="connsiteY46" fmla="*/ 2871 h 25059"/>
                          <a:gd name="connsiteX47" fmla="*/ 13158 w 29066"/>
                          <a:gd name="connsiteY47" fmla="*/ 2632 h 25059"/>
                          <a:gd name="connsiteX48" fmla="*/ 13337 w 29066"/>
                          <a:gd name="connsiteY48" fmla="*/ 2392 h 25059"/>
                          <a:gd name="connsiteX49" fmla="*/ 13516 w 29066"/>
                          <a:gd name="connsiteY49" fmla="*/ 2153 h 25059"/>
                          <a:gd name="connsiteX50" fmla="*/ 12560 w 29066"/>
                          <a:gd name="connsiteY50" fmla="*/ 1555 h 25059"/>
                          <a:gd name="connsiteX51" fmla="*/ 12380 w 29066"/>
                          <a:gd name="connsiteY51" fmla="*/ 1794 h 25059"/>
                          <a:gd name="connsiteX52" fmla="*/ 12201 w 29066"/>
                          <a:gd name="connsiteY52" fmla="*/ 2033 h 25059"/>
                          <a:gd name="connsiteX53" fmla="*/ 12021 w 29066"/>
                          <a:gd name="connsiteY53" fmla="*/ 2273 h 25059"/>
                          <a:gd name="connsiteX54" fmla="*/ 11842 w 29066"/>
                          <a:gd name="connsiteY54" fmla="*/ 2512 h 25059"/>
                          <a:gd name="connsiteX55" fmla="*/ 23086 w 29066"/>
                          <a:gd name="connsiteY55" fmla="*/ 18480 h 25059"/>
                          <a:gd name="connsiteX56" fmla="*/ 23803 w 29066"/>
                          <a:gd name="connsiteY56" fmla="*/ 18959 h 25059"/>
                          <a:gd name="connsiteX57" fmla="*/ 29066 w 29066"/>
                          <a:gd name="connsiteY57" fmla="*/ 12320 h 25059"/>
                          <a:gd name="connsiteX58" fmla="*/ 25956 w 29066"/>
                          <a:gd name="connsiteY58" fmla="*/ 10287 h 25059"/>
                          <a:gd name="connsiteX59" fmla="*/ 25777 w 29066"/>
                          <a:gd name="connsiteY59" fmla="*/ 10526 h 25059"/>
                          <a:gd name="connsiteX60" fmla="*/ 25598 w 29066"/>
                          <a:gd name="connsiteY60" fmla="*/ 10765 h 25059"/>
                          <a:gd name="connsiteX61" fmla="*/ 25418 w 29066"/>
                          <a:gd name="connsiteY61" fmla="*/ 11004 h 25059"/>
                          <a:gd name="connsiteX62" fmla="*/ 25239 w 29066"/>
                          <a:gd name="connsiteY62" fmla="*/ 11244 h 25059"/>
                          <a:gd name="connsiteX63" fmla="*/ 27631 w 29066"/>
                          <a:gd name="connsiteY63" fmla="*/ 12798 h 25059"/>
                          <a:gd name="connsiteX64" fmla="*/ 23086 w 29066"/>
                          <a:gd name="connsiteY64" fmla="*/ 18480 h 25059"/>
                          <a:gd name="connsiteX65" fmla="*/ 4844 w 29066"/>
                          <a:gd name="connsiteY65" fmla="*/ 6818 h 25059"/>
                          <a:gd name="connsiteX66" fmla="*/ 5622 w 29066"/>
                          <a:gd name="connsiteY66" fmla="*/ 7296 h 25059"/>
                          <a:gd name="connsiteX67" fmla="*/ 10227 w 29066"/>
                          <a:gd name="connsiteY67" fmla="*/ 1495 h 25059"/>
                          <a:gd name="connsiteX68" fmla="*/ 11124 w 29066"/>
                          <a:gd name="connsiteY68" fmla="*/ 2033 h 25059"/>
                          <a:gd name="connsiteX69" fmla="*/ 11304 w 29066"/>
                          <a:gd name="connsiteY69" fmla="*/ 1794 h 25059"/>
                          <a:gd name="connsiteX70" fmla="*/ 11483 w 29066"/>
                          <a:gd name="connsiteY70" fmla="*/ 1555 h 25059"/>
                          <a:gd name="connsiteX71" fmla="*/ 11662 w 29066"/>
                          <a:gd name="connsiteY71" fmla="*/ 1316 h 25059"/>
                          <a:gd name="connsiteX72" fmla="*/ 11842 w 29066"/>
                          <a:gd name="connsiteY72" fmla="*/ 1076 h 25059"/>
                          <a:gd name="connsiteX73" fmla="*/ 10646 w 29066"/>
                          <a:gd name="connsiteY73" fmla="*/ 299 h 25059"/>
                          <a:gd name="connsiteX74" fmla="*/ 10227 w 29066"/>
                          <a:gd name="connsiteY74" fmla="*/ 0 h 25059"/>
                          <a:gd name="connsiteX75" fmla="*/ 4844 w 29066"/>
                          <a:gd name="connsiteY75" fmla="*/ 6818 h 25059"/>
                          <a:gd name="connsiteX76" fmla="*/ 21231 w 29066"/>
                          <a:gd name="connsiteY76" fmla="*/ 20813 h 25059"/>
                          <a:gd name="connsiteX77" fmla="*/ 21949 w 29066"/>
                          <a:gd name="connsiteY77" fmla="*/ 21291 h 25059"/>
                          <a:gd name="connsiteX78" fmla="*/ 23086 w 29066"/>
                          <a:gd name="connsiteY78" fmla="*/ 19856 h 25059"/>
                          <a:gd name="connsiteX79" fmla="*/ 22368 w 29066"/>
                          <a:gd name="connsiteY79" fmla="*/ 19377 h 25059"/>
                          <a:gd name="connsiteX80" fmla="*/ 21231 w 29066"/>
                          <a:gd name="connsiteY80" fmla="*/ 20813 h 25059"/>
                          <a:gd name="connsiteX81" fmla="*/ 2990 w 29066"/>
                          <a:gd name="connsiteY81" fmla="*/ 9150 h 25059"/>
                          <a:gd name="connsiteX82" fmla="*/ 3768 w 29066"/>
                          <a:gd name="connsiteY82" fmla="*/ 9629 h 25059"/>
                          <a:gd name="connsiteX83" fmla="*/ 4904 w 29066"/>
                          <a:gd name="connsiteY83" fmla="*/ 8134 h 25059"/>
                          <a:gd name="connsiteX84" fmla="*/ 4127 w 29066"/>
                          <a:gd name="connsiteY84" fmla="*/ 7655 h 25059"/>
                          <a:gd name="connsiteX85" fmla="*/ 2990 w 29066"/>
                          <a:gd name="connsiteY85" fmla="*/ 9150 h 25059"/>
                          <a:gd name="connsiteX86" fmla="*/ 7895 w 29066"/>
                          <a:gd name="connsiteY86" fmla="*/ 18002 h 25059"/>
                          <a:gd name="connsiteX87" fmla="*/ 18959 w 29066"/>
                          <a:gd name="connsiteY87" fmla="*/ 25059 h 25059"/>
                          <a:gd name="connsiteX88" fmla="*/ 21231 w 29066"/>
                          <a:gd name="connsiteY88" fmla="*/ 22128 h 25059"/>
                          <a:gd name="connsiteX89" fmla="*/ 20514 w 29066"/>
                          <a:gd name="connsiteY89" fmla="*/ 21650 h 25059"/>
                          <a:gd name="connsiteX90" fmla="*/ 18899 w 29066"/>
                          <a:gd name="connsiteY90" fmla="*/ 23683 h 25059"/>
                          <a:gd name="connsiteX91" fmla="*/ 8552 w 29066"/>
                          <a:gd name="connsiteY91" fmla="*/ 17105 h 25059"/>
                          <a:gd name="connsiteX92" fmla="*/ 7895 w 29066"/>
                          <a:gd name="connsiteY92" fmla="*/ 18002 h 25059"/>
                          <a:gd name="connsiteX93" fmla="*/ 2333 w 29066"/>
                          <a:gd name="connsiteY93" fmla="*/ 14473 h 25059"/>
                          <a:gd name="connsiteX94" fmla="*/ 7177 w 29066"/>
                          <a:gd name="connsiteY94" fmla="*/ 17523 h 25059"/>
                          <a:gd name="connsiteX95" fmla="*/ 7895 w 29066"/>
                          <a:gd name="connsiteY95" fmla="*/ 16626 h 25059"/>
                          <a:gd name="connsiteX96" fmla="*/ 3050 w 29066"/>
                          <a:gd name="connsiteY96" fmla="*/ 13576 h 25059"/>
                          <a:gd name="connsiteX97" fmla="*/ 2333 w 29066"/>
                          <a:gd name="connsiteY97" fmla="*/ 14473 h 25059"/>
                          <a:gd name="connsiteX98" fmla="*/ 0 w 29066"/>
                          <a:gd name="connsiteY98" fmla="*/ 12978 h 25059"/>
                          <a:gd name="connsiteX99" fmla="*/ 419 w 29066"/>
                          <a:gd name="connsiteY99" fmla="*/ 13277 h 25059"/>
                          <a:gd name="connsiteX100" fmla="*/ 1615 w 29066"/>
                          <a:gd name="connsiteY100" fmla="*/ 13995 h 25059"/>
                          <a:gd name="connsiteX101" fmla="*/ 2333 w 29066"/>
                          <a:gd name="connsiteY101" fmla="*/ 13098 h 25059"/>
                          <a:gd name="connsiteX102" fmla="*/ 1495 w 29066"/>
                          <a:gd name="connsiteY102" fmla="*/ 12559 h 25059"/>
                          <a:gd name="connsiteX103" fmla="*/ 3110 w 29066"/>
                          <a:gd name="connsiteY103" fmla="*/ 10526 h 25059"/>
                          <a:gd name="connsiteX104" fmla="*/ 2333 w 29066"/>
                          <a:gd name="connsiteY104" fmla="*/ 10048 h 25059"/>
                          <a:gd name="connsiteX105" fmla="*/ 0 w 29066"/>
                          <a:gd name="connsiteY105" fmla="*/ 12978 h 25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9066" h="25059">
                            <a:moveTo>
                              <a:pt x="23564" y="10107"/>
                            </a:moveTo>
                            <a:lnTo>
                              <a:pt x="24521" y="10705"/>
                            </a:lnTo>
                            <a:cubicBezTo>
                              <a:pt x="24581" y="10645"/>
                              <a:pt x="24641" y="10586"/>
                              <a:pt x="24700" y="10466"/>
                            </a:cubicBezTo>
                            <a:cubicBezTo>
                              <a:pt x="24760" y="10406"/>
                              <a:pt x="24820" y="10347"/>
                              <a:pt x="24880" y="10227"/>
                            </a:cubicBezTo>
                            <a:cubicBezTo>
                              <a:pt x="24940" y="10107"/>
                              <a:pt x="24999" y="10107"/>
                              <a:pt x="25059" y="9988"/>
                            </a:cubicBezTo>
                            <a:cubicBezTo>
                              <a:pt x="25119" y="9928"/>
                              <a:pt x="25179" y="9868"/>
                              <a:pt x="25239" y="9749"/>
                            </a:cubicBezTo>
                            <a:lnTo>
                              <a:pt x="24282" y="9150"/>
                            </a:lnTo>
                            <a:cubicBezTo>
                              <a:pt x="24222" y="9210"/>
                              <a:pt x="24162" y="9270"/>
                              <a:pt x="24102" y="9389"/>
                            </a:cubicBezTo>
                            <a:cubicBezTo>
                              <a:pt x="24043" y="9509"/>
                              <a:pt x="23983" y="9509"/>
                              <a:pt x="23923" y="9629"/>
                            </a:cubicBezTo>
                            <a:cubicBezTo>
                              <a:pt x="23863" y="9689"/>
                              <a:pt x="23803" y="9749"/>
                              <a:pt x="23744" y="9868"/>
                            </a:cubicBezTo>
                            <a:cubicBezTo>
                              <a:pt x="23684" y="9988"/>
                              <a:pt x="23624" y="10048"/>
                              <a:pt x="23564" y="10107"/>
                            </a:cubicBezTo>
                            <a:moveTo>
                              <a:pt x="19736" y="7595"/>
                            </a:moveTo>
                            <a:lnTo>
                              <a:pt x="22846" y="9629"/>
                            </a:lnTo>
                            <a:cubicBezTo>
                              <a:pt x="22906" y="9569"/>
                              <a:pt x="22966" y="9509"/>
                              <a:pt x="23026" y="9389"/>
                            </a:cubicBezTo>
                            <a:cubicBezTo>
                              <a:pt x="23086" y="9330"/>
                              <a:pt x="23145" y="9270"/>
                              <a:pt x="23205" y="9150"/>
                            </a:cubicBezTo>
                            <a:cubicBezTo>
                              <a:pt x="23265" y="9090"/>
                              <a:pt x="23325" y="9031"/>
                              <a:pt x="23385" y="8911"/>
                            </a:cubicBezTo>
                            <a:cubicBezTo>
                              <a:pt x="23444" y="8851"/>
                              <a:pt x="23504" y="8791"/>
                              <a:pt x="23564" y="8672"/>
                            </a:cubicBezTo>
                            <a:lnTo>
                              <a:pt x="20454" y="6698"/>
                            </a:lnTo>
                            <a:cubicBezTo>
                              <a:pt x="20394" y="6758"/>
                              <a:pt x="20335" y="6818"/>
                              <a:pt x="20275" y="6937"/>
                            </a:cubicBezTo>
                            <a:cubicBezTo>
                              <a:pt x="20215" y="6997"/>
                              <a:pt x="20155" y="7057"/>
                              <a:pt x="20095" y="7177"/>
                            </a:cubicBezTo>
                            <a:cubicBezTo>
                              <a:pt x="20036" y="7236"/>
                              <a:pt x="19976" y="7296"/>
                              <a:pt x="19916" y="7416"/>
                            </a:cubicBezTo>
                            <a:cubicBezTo>
                              <a:pt x="19856" y="7476"/>
                              <a:pt x="19796" y="7535"/>
                              <a:pt x="19736" y="7595"/>
                            </a:cubicBezTo>
                            <a:moveTo>
                              <a:pt x="18002" y="6519"/>
                            </a:moveTo>
                            <a:lnTo>
                              <a:pt x="18959" y="7177"/>
                            </a:lnTo>
                            <a:cubicBezTo>
                              <a:pt x="19019" y="7117"/>
                              <a:pt x="19079" y="7057"/>
                              <a:pt x="19138" y="6937"/>
                            </a:cubicBezTo>
                            <a:cubicBezTo>
                              <a:pt x="19198" y="6878"/>
                              <a:pt x="19258" y="6818"/>
                              <a:pt x="19318" y="6698"/>
                            </a:cubicBezTo>
                            <a:cubicBezTo>
                              <a:pt x="19377" y="6639"/>
                              <a:pt x="19437" y="6579"/>
                              <a:pt x="19497" y="6459"/>
                            </a:cubicBezTo>
                            <a:cubicBezTo>
                              <a:pt x="19557" y="6399"/>
                              <a:pt x="19617" y="6340"/>
                              <a:pt x="19676" y="6220"/>
                            </a:cubicBezTo>
                            <a:lnTo>
                              <a:pt x="18720" y="5622"/>
                            </a:lnTo>
                            <a:cubicBezTo>
                              <a:pt x="18660" y="5681"/>
                              <a:pt x="18600" y="5741"/>
                              <a:pt x="18540" y="5861"/>
                            </a:cubicBezTo>
                            <a:cubicBezTo>
                              <a:pt x="18481" y="5921"/>
                              <a:pt x="18421" y="5981"/>
                              <a:pt x="18361" y="6100"/>
                            </a:cubicBezTo>
                            <a:cubicBezTo>
                              <a:pt x="18301" y="6160"/>
                              <a:pt x="18241" y="6220"/>
                              <a:pt x="18181" y="6340"/>
                            </a:cubicBezTo>
                            <a:cubicBezTo>
                              <a:pt x="18122" y="6340"/>
                              <a:pt x="18062" y="6459"/>
                              <a:pt x="18002" y="6519"/>
                            </a:cubicBezTo>
                            <a:moveTo>
                              <a:pt x="13516" y="3588"/>
                            </a:moveTo>
                            <a:lnTo>
                              <a:pt x="17284" y="6040"/>
                            </a:lnTo>
                            <a:cubicBezTo>
                              <a:pt x="17344" y="5981"/>
                              <a:pt x="17404" y="5921"/>
                              <a:pt x="17464" y="5801"/>
                            </a:cubicBezTo>
                            <a:cubicBezTo>
                              <a:pt x="17523" y="5741"/>
                              <a:pt x="17583" y="5681"/>
                              <a:pt x="17643" y="5562"/>
                            </a:cubicBezTo>
                            <a:cubicBezTo>
                              <a:pt x="17703" y="5502"/>
                              <a:pt x="17763" y="5442"/>
                              <a:pt x="17822" y="5323"/>
                            </a:cubicBezTo>
                            <a:cubicBezTo>
                              <a:pt x="17882" y="5263"/>
                              <a:pt x="17942" y="5203"/>
                              <a:pt x="18002" y="5083"/>
                            </a:cubicBezTo>
                            <a:lnTo>
                              <a:pt x="14294" y="2691"/>
                            </a:lnTo>
                            <a:cubicBezTo>
                              <a:pt x="14234" y="2751"/>
                              <a:pt x="14174" y="2811"/>
                              <a:pt x="14114" y="2930"/>
                            </a:cubicBezTo>
                            <a:cubicBezTo>
                              <a:pt x="14055" y="3050"/>
                              <a:pt x="13995" y="3050"/>
                              <a:pt x="13935" y="3170"/>
                            </a:cubicBezTo>
                            <a:cubicBezTo>
                              <a:pt x="13875" y="3229"/>
                              <a:pt x="13815" y="3289"/>
                              <a:pt x="13756" y="3409"/>
                            </a:cubicBezTo>
                            <a:cubicBezTo>
                              <a:pt x="13636" y="3469"/>
                              <a:pt x="13576" y="3528"/>
                              <a:pt x="13516" y="3588"/>
                            </a:cubicBezTo>
                            <a:moveTo>
                              <a:pt x="11842" y="2512"/>
                            </a:moveTo>
                            <a:lnTo>
                              <a:pt x="12799" y="3110"/>
                            </a:lnTo>
                            <a:cubicBezTo>
                              <a:pt x="12859" y="3050"/>
                              <a:pt x="12919" y="2990"/>
                              <a:pt x="12978" y="2871"/>
                            </a:cubicBezTo>
                            <a:cubicBezTo>
                              <a:pt x="13038" y="2811"/>
                              <a:pt x="13098" y="2751"/>
                              <a:pt x="13158" y="2632"/>
                            </a:cubicBezTo>
                            <a:cubicBezTo>
                              <a:pt x="13218" y="2572"/>
                              <a:pt x="13277" y="2512"/>
                              <a:pt x="13337" y="2392"/>
                            </a:cubicBezTo>
                            <a:cubicBezTo>
                              <a:pt x="13397" y="2273"/>
                              <a:pt x="13457" y="2273"/>
                              <a:pt x="13516" y="2153"/>
                            </a:cubicBezTo>
                            <a:lnTo>
                              <a:pt x="12560" y="1555"/>
                            </a:lnTo>
                            <a:cubicBezTo>
                              <a:pt x="12500" y="1615"/>
                              <a:pt x="12440" y="1674"/>
                              <a:pt x="12380" y="1794"/>
                            </a:cubicBezTo>
                            <a:cubicBezTo>
                              <a:pt x="12320" y="1914"/>
                              <a:pt x="12260" y="1914"/>
                              <a:pt x="12201" y="2033"/>
                            </a:cubicBezTo>
                            <a:cubicBezTo>
                              <a:pt x="12141" y="2153"/>
                              <a:pt x="12081" y="2153"/>
                              <a:pt x="12021" y="2273"/>
                            </a:cubicBezTo>
                            <a:cubicBezTo>
                              <a:pt x="11961" y="2332"/>
                              <a:pt x="11902" y="2452"/>
                              <a:pt x="11842" y="2512"/>
                            </a:cubicBezTo>
                            <a:moveTo>
                              <a:pt x="23086" y="18480"/>
                            </a:moveTo>
                            <a:lnTo>
                              <a:pt x="23803" y="18959"/>
                            </a:lnTo>
                            <a:lnTo>
                              <a:pt x="29066" y="12320"/>
                            </a:lnTo>
                            <a:lnTo>
                              <a:pt x="25956" y="10287"/>
                            </a:lnTo>
                            <a:cubicBezTo>
                              <a:pt x="25897" y="10347"/>
                              <a:pt x="25837" y="10406"/>
                              <a:pt x="25777" y="10526"/>
                            </a:cubicBezTo>
                            <a:cubicBezTo>
                              <a:pt x="25717" y="10586"/>
                              <a:pt x="25657" y="10645"/>
                              <a:pt x="25598" y="10765"/>
                            </a:cubicBezTo>
                            <a:cubicBezTo>
                              <a:pt x="25538" y="10885"/>
                              <a:pt x="25478" y="10885"/>
                              <a:pt x="25418" y="11004"/>
                            </a:cubicBezTo>
                            <a:cubicBezTo>
                              <a:pt x="25358" y="11064"/>
                              <a:pt x="25298" y="11124"/>
                              <a:pt x="25239" y="11244"/>
                            </a:cubicBezTo>
                            <a:lnTo>
                              <a:pt x="27631" y="12798"/>
                            </a:lnTo>
                            <a:lnTo>
                              <a:pt x="23086" y="18480"/>
                            </a:lnTo>
                            <a:moveTo>
                              <a:pt x="4844" y="6818"/>
                            </a:moveTo>
                            <a:lnTo>
                              <a:pt x="5622" y="7296"/>
                            </a:lnTo>
                            <a:lnTo>
                              <a:pt x="10227" y="1495"/>
                            </a:lnTo>
                            <a:lnTo>
                              <a:pt x="11124" y="2033"/>
                            </a:lnTo>
                            <a:cubicBezTo>
                              <a:pt x="11184" y="1973"/>
                              <a:pt x="11244" y="1914"/>
                              <a:pt x="11304" y="1794"/>
                            </a:cubicBezTo>
                            <a:cubicBezTo>
                              <a:pt x="11364" y="1734"/>
                              <a:pt x="11423" y="1674"/>
                              <a:pt x="11483" y="1555"/>
                            </a:cubicBezTo>
                            <a:cubicBezTo>
                              <a:pt x="11543" y="1495"/>
                              <a:pt x="11603" y="1435"/>
                              <a:pt x="11662" y="1316"/>
                            </a:cubicBezTo>
                            <a:cubicBezTo>
                              <a:pt x="11722" y="1256"/>
                              <a:pt x="11782" y="1196"/>
                              <a:pt x="11842" y="1076"/>
                            </a:cubicBezTo>
                            <a:lnTo>
                              <a:pt x="10646" y="299"/>
                            </a:lnTo>
                            <a:lnTo>
                              <a:pt x="10227" y="0"/>
                            </a:lnTo>
                            <a:lnTo>
                              <a:pt x="4844" y="6818"/>
                            </a:lnTo>
                            <a:moveTo>
                              <a:pt x="21231" y="20813"/>
                            </a:moveTo>
                            <a:lnTo>
                              <a:pt x="21949" y="21291"/>
                            </a:lnTo>
                            <a:lnTo>
                              <a:pt x="23086" y="19856"/>
                            </a:lnTo>
                            <a:lnTo>
                              <a:pt x="22368" y="19377"/>
                            </a:lnTo>
                            <a:lnTo>
                              <a:pt x="21231" y="20813"/>
                            </a:lnTo>
                            <a:moveTo>
                              <a:pt x="2990" y="9150"/>
                            </a:moveTo>
                            <a:lnTo>
                              <a:pt x="3768" y="9629"/>
                            </a:lnTo>
                            <a:lnTo>
                              <a:pt x="4904" y="8134"/>
                            </a:lnTo>
                            <a:lnTo>
                              <a:pt x="4127" y="7655"/>
                            </a:lnTo>
                            <a:lnTo>
                              <a:pt x="2990" y="9150"/>
                            </a:lnTo>
                            <a:moveTo>
                              <a:pt x="7895" y="18002"/>
                            </a:moveTo>
                            <a:lnTo>
                              <a:pt x="18959" y="25059"/>
                            </a:lnTo>
                            <a:lnTo>
                              <a:pt x="21231" y="22128"/>
                            </a:lnTo>
                            <a:lnTo>
                              <a:pt x="20514" y="21650"/>
                            </a:lnTo>
                            <a:lnTo>
                              <a:pt x="18899" y="23683"/>
                            </a:lnTo>
                            <a:lnTo>
                              <a:pt x="8552" y="17105"/>
                            </a:lnTo>
                            <a:lnTo>
                              <a:pt x="7895" y="18002"/>
                            </a:lnTo>
                            <a:moveTo>
                              <a:pt x="2333" y="14473"/>
                            </a:moveTo>
                            <a:lnTo>
                              <a:pt x="7177" y="17523"/>
                            </a:lnTo>
                            <a:lnTo>
                              <a:pt x="7895" y="16626"/>
                            </a:lnTo>
                            <a:lnTo>
                              <a:pt x="3050" y="13576"/>
                            </a:lnTo>
                            <a:lnTo>
                              <a:pt x="2333" y="14473"/>
                            </a:lnTo>
                            <a:moveTo>
                              <a:pt x="0" y="12978"/>
                            </a:moveTo>
                            <a:lnTo>
                              <a:pt x="419" y="13277"/>
                            </a:lnTo>
                            <a:lnTo>
                              <a:pt x="1615" y="13995"/>
                            </a:lnTo>
                            <a:lnTo>
                              <a:pt x="2333" y="13098"/>
                            </a:lnTo>
                            <a:lnTo>
                              <a:pt x="1495" y="12559"/>
                            </a:lnTo>
                            <a:lnTo>
                              <a:pt x="3110" y="10526"/>
                            </a:lnTo>
                            <a:lnTo>
                              <a:pt x="2333" y="10048"/>
                            </a:lnTo>
                            <a:lnTo>
                              <a:pt x="0" y="12978"/>
                            </a:lnTo>
                          </a:path>
                        </a:pathLst>
                      </a:custGeom>
                      <a:noFill/>
                      <a:ln w="6350" cap="flat">
                        <a:solidFill>
                          <a:schemeClr val="bg1">
                            <a:alpha val="40000"/>
                          </a:schemeClr>
                        </a:solidFill>
                        <a:prstDash val="solid"/>
                        <a:miter/>
                      </a:ln>
                    </p:spPr>
                    <p:txBody>
                      <a:bodyPr rtlCol="0" anchor="ctr"/>
                      <a:lstStyle/>
                      <a:p>
                        <a:endParaRPr lang="en-GB"/>
                      </a:p>
                    </p:txBody>
                  </p:sp>
                  <p:sp>
                    <p:nvSpPr>
                      <p:cNvPr id="7395" name="Vrije vorm: vorm 7394">
                        <a:extLst>
                          <a:ext uri="{FF2B5EF4-FFF2-40B4-BE49-F238E27FC236}">
                            <a16:creationId xmlns:a16="http://schemas.microsoft.com/office/drawing/2014/main" id="{B58EED87-69AE-43C9-92D7-5CF71C8A4F07}"/>
                          </a:ext>
                        </a:extLst>
                      </p:cNvPr>
                      <p:cNvSpPr/>
                      <p:nvPr/>
                    </p:nvSpPr>
                    <p:spPr>
                      <a:xfrm>
                        <a:off x="5041050" y="5372104"/>
                        <a:ext cx="36601" cy="32953"/>
                      </a:xfrm>
                      <a:custGeom>
                        <a:avLst/>
                        <a:gdLst>
                          <a:gd name="connsiteX0" fmla="*/ 0 w 36601"/>
                          <a:gd name="connsiteY0" fmla="*/ 19736 h 32953"/>
                          <a:gd name="connsiteX1" fmla="*/ 598 w 36601"/>
                          <a:gd name="connsiteY1" fmla="*/ 20095 h 32953"/>
                          <a:gd name="connsiteX2" fmla="*/ 1316 w 36601"/>
                          <a:gd name="connsiteY2" fmla="*/ 20574 h 32953"/>
                          <a:gd name="connsiteX3" fmla="*/ 2512 w 36601"/>
                          <a:gd name="connsiteY3" fmla="*/ 21291 h 32953"/>
                          <a:gd name="connsiteX4" fmla="*/ 3170 w 36601"/>
                          <a:gd name="connsiteY4" fmla="*/ 20394 h 32953"/>
                          <a:gd name="connsiteX5" fmla="*/ 2034 w 36601"/>
                          <a:gd name="connsiteY5" fmla="*/ 19676 h 32953"/>
                          <a:gd name="connsiteX6" fmla="*/ 1495 w 36601"/>
                          <a:gd name="connsiteY6" fmla="*/ 19318 h 32953"/>
                          <a:gd name="connsiteX7" fmla="*/ 15669 w 36601"/>
                          <a:gd name="connsiteY7" fmla="*/ 1375 h 32953"/>
                          <a:gd name="connsiteX8" fmla="*/ 15729 w 36601"/>
                          <a:gd name="connsiteY8" fmla="*/ 1435 h 32953"/>
                          <a:gd name="connsiteX9" fmla="*/ 16507 w 36601"/>
                          <a:gd name="connsiteY9" fmla="*/ 1914 h 32953"/>
                          <a:gd name="connsiteX10" fmla="*/ 17344 w 36601"/>
                          <a:gd name="connsiteY10" fmla="*/ 2452 h 32953"/>
                          <a:gd name="connsiteX11" fmla="*/ 18062 w 36601"/>
                          <a:gd name="connsiteY11" fmla="*/ 1555 h 32953"/>
                          <a:gd name="connsiteX12" fmla="*/ 24342 w 36601"/>
                          <a:gd name="connsiteY12" fmla="*/ 5622 h 32953"/>
                          <a:gd name="connsiteX13" fmla="*/ 23684 w 36601"/>
                          <a:gd name="connsiteY13" fmla="*/ 6459 h 32953"/>
                          <a:gd name="connsiteX14" fmla="*/ 33970 w 36601"/>
                          <a:gd name="connsiteY14" fmla="*/ 13098 h 32953"/>
                          <a:gd name="connsiteX15" fmla="*/ 34748 w 36601"/>
                          <a:gd name="connsiteY15" fmla="*/ 13516 h 32953"/>
                          <a:gd name="connsiteX16" fmla="*/ 35167 w 36601"/>
                          <a:gd name="connsiteY16" fmla="*/ 13815 h 32953"/>
                          <a:gd name="connsiteX17" fmla="*/ 21112 w 36601"/>
                          <a:gd name="connsiteY17" fmla="*/ 31638 h 32953"/>
                          <a:gd name="connsiteX18" fmla="*/ 9569 w 36601"/>
                          <a:gd name="connsiteY18" fmla="*/ 24401 h 32953"/>
                          <a:gd name="connsiteX19" fmla="*/ 8851 w 36601"/>
                          <a:gd name="connsiteY19" fmla="*/ 25238 h 32953"/>
                          <a:gd name="connsiteX20" fmla="*/ 21172 w 36601"/>
                          <a:gd name="connsiteY20" fmla="*/ 32953 h 32953"/>
                          <a:gd name="connsiteX21" fmla="*/ 36602 w 36601"/>
                          <a:gd name="connsiteY21" fmla="*/ 13397 h 32953"/>
                          <a:gd name="connsiteX22" fmla="*/ 35406 w 36601"/>
                          <a:gd name="connsiteY22" fmla="*/ 12679 h 32953"/>
                          <a:gd name="connsiteX23" fmla="*/ 34688 w 36601"/>
                          <a:gd name="connsiteY23" fmla="*/ 12201 h 32953"/>
                          <a:gd name="connsiteX24" fmla="*/ 17225 w 36601"/>
                          <a:gd name="connsiteY24" fmla="*/ 1017 h 32953"/>
                          <a:gd name="connsiteX25" fmla="*/ 16447 w 36601"/>
                          <a:gd name="connsiteY25" fmla="*/ 538 h 32953"/>
                          <a:gd name="connsiteX26" fmla="*/ 16148 w 36601"/>
                          <a:gd name="connsiteY26" fmla="*/ 359 h 32953"/>
                          <a:gd name="connsiteX27" fmla="*/ 15610 w 36601"/>
                          <a:gd name="connsiteY27" fmla="*/ 0 h 32953"/>
                          <a:gd name="connsiteX28" fmla="*/ 0 w 36601"/>
                          <a:gd name="connsiteY28" fmla="*/ 19736 h 3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601" h="32953">
                            <a:moveTo>
                              <a:pt x="0" y="19736"/>
                            </a:moveTo>
                            <a:lnTo>
                              <a:pt x="598" y="20095"/>
                            </a:lnTo>
                            <a:lnTo>
                              <a:pt x="1316" y="20574"/>
                            </a:lnTo>
                            <a:lnTo>
                              <a:pt x="2512" y="21291"/>
                            </a:lnTo>
                            <a:lnTo>
                              <a:pt x="3170" y="20394"/>
                            </a:lnTo>
                            <a:lnTo>
                              <a:pt x="2034" y="19676"/>
                            </a:lnTo>
                            <a:lnTo>
                              <a:pt x="1495" y="19318"/>
                            </a:lnTo>
                            <a:lnTo>
                              <a:pt x="15669" y="1375"/>
                            </a:lnTo>
                            <a:lnTo>
                              <a:pt x="15729" y="1435"/>
                            </a:lnTo>
                            <a:lnTo>
                              <a:pt x="16507" y="1914"/>
                            </a:lnTo>
                            <a:lnTo>
                              <a:pt x="17344" y="2452"/>
                            </a:lnTo>
                            <a:lnTo>
                              <a:pt x="18062" y="1555"/>
                            </a:lnTo>
                            <a:lnTo>
                              <a:pt x="24342" y="5622"/>
                            </a:lnTo>
                            <a:lnTo>
                              <a:pt x="23684" y="6459"/>
                            </a:lnTo>
                            <a:lnTo>
                              <a:pt x="33970" y="13098"/>
                            </a:lnTo>
                            <a:lnTo>
                              <a:pt x="34748" y="13516"/>
                            </a:lnTo>
                            <a:lnTo>
                              <a:pt x="35167" y="13815"/>
                            </a:lnTo>
                            <a:lnTo>
                              <a:pt x="21112" y="31638"/>
                            </a:lnTo>
                            <a:lnTo>
                              <a:pt x="9569" y="24401"/>
                            </a:lnTo>
                            <a:lnTo>
                              <a:pt x="8851" y="25238"/>
                            </a:lnTo>
                            <a:lnTo>
                              <a:pt x="21172" y="32953"/>
                            </a:lnTo>
                            <a:lnTo>
                              <a:pt x="36602" y="13397"/>
                            </a:lnTo>
                            <a:lnTo>
                              <a:pt x="35406" y="12679"/>
                            </a:lnTo>
                            <a:lnTo>
                              <a:pt x="34688" y="12201"/>
                            </a:lnTo>
                            <a:lnTo>
                              <a:pt x="17225" y="1017"/>
                            </a:lnTo>
                            <a:lnTo>
                              <a:pt x="16447" y="538"/>
                            </a:lnTo>
                            <a:lnTo>
                              <a:pt x="16148" y="359"/>
                            </a:lnTo>
                            <a:lnTo>
                              <a:pt x="15610" y="0"/>
                            </a:lnTo>
                            <a:lnTo>
                              <a:pt x="0" y="19736"/>
                            </a:lnTo>
                          </a:path>
                        </a:pathLst>
                      </a:custGeom>
                      <a:noFill/>
                      <a:ln w="6350" cap="flat">
                        <a:solidFill>
                          <a:schemeClr val="bg1">
                            <a:alpha val="40000"/>
                          </a:schemeClr>
                        </a:solidFill>
                        <a:prstDash val="solid"/>
                        <a:miter/>
                      </a:ln>
                    </p:spPr>
                    <p:txBody>
                      <a:bodyPr rtlCol="0" anchor="ctr"/>
                      <a:lstStyle/>
                      <a:p>
                        <a:endParaRPr lang="en-GB"/>
                      </a:p>
                    </p:txBody>
                  </p:sp>
                  <p:sp>
                    <p:nvSpPr>
                      <p:cNvPr id="7396" name="Vrije vorm: vorm 7395">
                        <a:extLst>
                          <a:ext uri="{FF2B5EF4-FFF2-40B4-BE49-F238E27FC236}">
                            <a16:creationId xmlns:a16="http://schemas.microsoft.com/office/drawing/2014/main" id="{AA856C6B-BF45-46F4-BD3B-5A5C325866DB}"/>
                          </a:ext>
                        </a:extLst>
                      </p:cNvPr>
                      <p:cNvSpPr/>
                      <p:nvPr/>
                    </p:nvSpPr>
                    <p:spPr>
                      <a:xfrm>
                        <a:off x="5043562" y="5373599"/>
                        <a:ext cx="21949" cy="23743"/>
                      </a:xfrm>
                      <a:custGeom>
                        <a:avLst/>
                        <a:gdLst>
                          <a:gd name="connsiteX0" fmla="*/ 18122 w 21949"/>
                          <a:gd name="connsiteY0" fmla="*/ 7416 h 23743"/>
                          <a:gd name="connsiteX1" fmla="*/ 6280 w 21949"/>
                          <a:gd name="connsiteY1" fmla="*/ 22428 h 23743"/>
                          <a:gd name="connsiteX2" fmla="*/ 1436 w 21949"/>
                          <a:gd name="connsiteY2" fmla="*/ 19377 h 23743"/>
                          <a:gd name="connsiteX3" fmla="*/ 13277 w 21949"/>
                          <a:gd name="connsiteY3" fmla="*/ 4366 h 23743"/>
                          <a:gd name="connsiteX4" fmla="*/ 13995 w 21949"/>
                          <a:gd name="connsiteY4" fmla="*/ 3469 h 23743"/>
                          <a:gd name="connsiteX5" fmla="*/ 15610 w 21949"/>
                          <a:gd name="connsiteY5" fmla="*/ 1435 h 23743"/>
                          <a:gd name="connsiteX6" fmla="*/ 20394 w 21949"/>
                          <a:gd name="connsiteY6" fmla="*/ 4486 h 23743"/>
                          <a:gd name="connsiteX7" fmla="*/ 18780 w 21949"/>
                          <a:gd name="connsiteY7" fmla="*/ 6519 h 23743"/>
                          <a:gd name="connsiteX8" fmla="*/ 18122 w 21949"/>
                          <a:gd name="connsiteY8" fmla="*/ 7416 h 23743"/>
                          <a:gd name="connsiteX9" fmla="*/ 0 w 21949"/>
                          <a:gd name="connsiteY9" fmla="*/ 19796 h 23743"/>
                          <a:gd name="connsiteX10" fmla="*/ 6340 w 21949"/>
                          <a:gd name="connsiteY10" fmla="*/ 23743 h 23743"/>
                          <a:gd name="connsiteX11" fmla="*/ 7058 w 21949"/>
                          <a:gd name="connsiteY11" fmla="*/ 22846 h 23743"/>
                          <a:gd name="connsiteX12" fmla="*/ 18899 w 21949"/>
                          <a:gd name="connsiteY12" fmla="*/ 7835 h 23743"/>
                          <a:gd name="connsiteX13" fmla="*/ 19617 w 21949"/>
                          <a:gd name="connsiteY13" fmla="*/ 6937 h 23743"/>
                          <a:gd name="connsiteX14" fmla="*/ 21232 w 21949"/>
                          <a:gd name="connsiteY14" fmla="*/ 4904 h 23743"/>
                          <a:gd name="connsiteX15" fmla="*/ 21950 w 21949"/>
                          <a:gd name="connsiteY15" fmla="*/ 4007 h 23743"/>
                          <a:gd name="connsiteX16" fmla="*/ 15669 w 21949"/>
                          <a:gd name="connsiteY16" fmla="*/ 0 h 23743"/>
                          <a:gd name="connsiteX17" fmla="*/ 14952 w 21949"/>
                          <a:gd name="connsiteY17" fmla="*/ 897 h 23743"/>
                          <a:gd name="connsiteX18" fmla="*/ 13337 w 21949"/>
                          <a:gd name="connsiteY18" fmla="*/ 2930 h 23743"/>
                          <a:gd name="connsiteX19" fmla="*/ 12620 w 21949"/>
                          <a:gd name="connsiteY19" fmla="*/ 3827 h 23743"/>
                          <a:gd name="connsiteX20" fmla="*/ 778 w 21949"/>
                          <a:gd name="connsiteY20" fmla="*/ 18899 h 23743"/>
                          <a:gd name="connsiteX21" fmla="*/ 0 w 21949"/>
                          <a:gd name="connsiteY21" fmla="*/ 19796 h 2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949" h="23743">
                            <a:moveTo>
                              <a:pt x="18122" y="7416"/>
                            </a:moveTo>
                            <a:lnTo>
                              <a:pt x="6280" y="22428"/>
                            </a:lnTo>
                            <a:lnTo>
                              <a:pt x="1436" y="19377"/>
                            </a:lnTo>
                            <a:lnTo>
                              <a:pt x="13277" y="4366"/>
                            </a:lnTo>
                            <a:lnTo>
                              <a:pt x="13995" y="3469"/>
                            </a:lnTo>
                            <a:lnTo>
                              <a:pt x="15610" y="1435"/>
                            </a:lnTo>
                            <a:lnTo>
                              <a:pt x="20394" y="4486"/>
                            </a:lnTo>
                            <a:lnTo>
                              <a:pt x="18780" y="6519"/>
                            </a:lnTo>
                            <a:lnTo>
                              <a:pt x="18122" y="7416"/>
                            </a:lnTo>
                            <a:moveTo>
                              <a:pt x="0" y="19796"/>
                            </a:moveTo>
                            <a:lnTo>
                              <a:pt x="6340" y="23743"/>
                            </a:lnTo>
                            <a:lnTo>
                              <a:pt x="7058" y="22846"/>
                            </a:lnTo>
                            <a:lnTo>
                              <a:pt x="18899" y="7835"/>
                            </a:lnTo>
                            <a:lnTo>
                              <a:pt x="19617" y="6937"/>
                            </a:lnTo>
                            <a:lnTo>
                              <a:pt x="21232" y="4904"/>
                            </a:lnTo>
                            <a:lnTo>
                              <a:pt x="21950" y="4007"/>
                            </a:lnTo>
                            <a:lnTo>
                              <a:pt x="15669" y="0"/>
                            </a:lnTo>
                            <a:lnTo>
                              <a:pt x="14952" y="897"/>
                            </a:lnTo>
                            <a:lnTo>
                              <a:pt x="13337" y="2930"/>
                            </a:lnTo>
                            <a:lnTo>
                              <a:pt x="12620" y="3827"/>
                            </a:lnTo>
                            <a:lnTo>
                              <a:pt x="778" y="18899"/>
                            </a:lnTo>
                            <a:lnTo>
                              <a:pt x="0" y="19796"/>
                            </a:lnTo>
                          </a:path>
                        </a:pathLst>
                      </a:custGeom>
                      <a:noFill/>
                      <a:ln w="6350" cap="flat">
                        <a:solidFill>
                          <a:schemeClr val="bg1">
                            <a:alpha val="40000"/>
                          </a:schemeClr>
                        </a:solidFill>
                        <a:prstDash val="solid"/>
                        <a:miter/>
                      </a:ln>
                    </p:spPr>
                    <p:txBody>
                      <a:bodyPr rtlCol="0" anchor="ctr"/>
                      <a:lstStyle/>
                      <a:p>
                        <a:endParaRPr lang="en-GB"/>
                      </a:p>
                    </p:txBody>
                  </p:sp>
                  <p:sp>
                    <p:nvSpPr>
                      <p:cNvPr id="7397" name="Vrije vorm: vorm 7396">
                        <a:extLst>
                          <a:ext uri="{FF2B5EF4-FFF2-40B4-BE49-F238E27FC236}">
                            <a16:creationId xmlns:a16="http://schemas.microsoft.com/office/drawing/2014/main" id="{B8F2A7C4-0FC8-49A3-9683-1BDD67EE6735}"/>
                          </a:ext>
                        </a:extLst>
                      </p:cNvPr>
                      <p:cNvSpPr/>
                      <p:nvPr/>
                    </p:nvSpPr>
                    <p:spPr>
                      <a:xfrm>
                        <a:off x="4700269" y="5145494"/>
                        <a:ext cx="147723" cy="114590"/>
                      </a:xfrm>
                      <a:custGeom>
                        <a:avLst/>
                        <a:gdLst>
                          <a:gd name="connsiteX0" fmla="*/ 76852 w 147723"/>
                          <a:gd name="connsiteY0" fmla="*/ 29485 h 114590"/>
                          <a:gd name="connsiteX1" fmla="*/ 93120 w 147723"/>
                          <a:gd name="connsiteY1" fmla="*/ 40011 h 114590"/>
                          <a:gd name="connsiteX2" fmla="*/ 93897 w 147723"/>
                          <a:gd name="connsiteY2" fmla="*/ 38994 h 114590"/>
                          <a:gd name="connsiteX3" fmla="*/ 77630 w 147723"/>
                          <a:gd name="connsiteY3" fmla="*/ 28468 h 114590"/>
                          <a:gd name="connsiteX4" fmla="*/ 76852 w 147723"/>
                          <a:gd name="connsiteY4" fmla="*/ 29485 h 114590"/>
                          <a:gd name="connsiteX5" fmla="*/ 138932 w 147723"/>
                          <a:gd name="connsiteY5" fmla="*/ 83431 h 114590"/>
                          <a:gd name="connsiteX6" fmla="*/ 139291 w 147723"/>
                          <a:gd name="connsiteY6" fmla="*/ 83670 h 114590"/>
                          <a:gd name="connsiteX7" fmla="*/ 145272 w 147723"/>
                          <a:gd name="connsiteY7" fmla="*/ 76134 h 114590"/>
                          <a:gd name="connsiteX8" fmla="*/ 145810 w 147723"/>
                          <a:gd name="connsiteY8" fmla="*/ 76493 h 114590"/>
                          <a:gd name="connsiteX9" fmla="*/ 147724 w 147723"/>
                          <a:gd name="connsiteY9" fmla="*/ 74041 h 114590"/>
                          <a:gd name="connsiteX10" fmla="*/ 94794 w 147723"/>
                          <a:gd name="connsiteY10" fmla="*/ 39652 h 114590"/>
                          <a:gd name="connsiteX11" fmla="*/ 94017 w 147723"/>
                          <a:gd name="connsiteY11" fmla="*/ 40669 h 114590"/>
                          <a:gd name="connsiteX12" fmla="*/ 145989 w 147723"/>
                          <a:gd name="connsiteY12" fmla="*/ 74400 h 114590"/>
                          <a:gd name="connsiteX13" fmla="*/ 138932 w 147723"/>
                          <a:gd name="connsiteY13" fmla="*/ 83431 h 114590"/>
                          <a:gd name="connsiteX14" fmla="*/ 25537 w 147723"/>
                          <a:gd name="connsiteY14" fmla="*/ 10586 h 114590"/>
                          <a:gd name="connsiteX15" fmla="*/ 26614 w 147723"/>
                          <a:gd name="connsiteY15" fmla="*/ 11244 h 114590"/>
                          <a:gd name="connsiteX16" fmla="*/ 34150 w 147723"/>
                          <a:gd name="connsiteY16" fmla="*/ 1674 h 114590"/>
                          <a:gd name="connsiteX17" fmla="*/ 75836 w 147723"/>
                          <a:gd name="connsiteY17" fmla="*/ 28767 h 114590"/>
                          <a:gd name="connsiteX18" fmla="*/ 76673 w 147723"/>
                          <a:gd name="connsiteY18" fmla="*/ 27751 h 114590"/>
                          <a:gd name="connsiteX19" fmla="*/ 33911 w 147723"/>
                          <a:gd name="connsiteY19" fmla="*/ 0 h 114590"/>
                          <a:gd name="connsiteX20" fmla="*/ 25537 w 147723"/>
                          <a:gd name="connsiteY20" fmla="*/ 10586 h 114590"/>
                          <a:gd name="connsiteX21" fmla="*/ 136839 w 147723"/>
                          <a:gd name="connsiteY21" fmla="*/ 86063 h 114590"/>
                          <a:gd name="connsiteX22" fmla="*/ 137198 w 147723"/>
                          <a:gd name="connsiteY22" fmla="*/ 86302 h 114590"/>
                          <a:gd name="connsiteX23" fmla="*/ 138513 w 147723"/>
                          <a:gd name="connsiteY23" fmla="*/ 84627 h 114590"/>
                          <a:gd name="connsiteX24" fmla="*/ 138155 w 147723"/>
                          <a:gd name="connsiteY24" fmla="*/ 84388 h 114590"/>
                          <a:gd name="connsiteX25" fmla="*/ 136839 w 147723"/>
                          <a:gd name="connsiteY25" fmla="*/ 86063 h 114590"/>
                          <a:gd name="connsiteX26" fmla="*/ 120332 w 147723"/>
                          <a:gd name="connsiteY26" fmla="*/ 107473 h 114590"/>
                          <a:gd name="connsiteX27" fmla="*/ 121050 w 147723"/>
                          <a:gd name="connsiteY27" fmla="*/ 107892 h 114590"/>
                          <a:gd name="connsiteX28" fmla="*/ 134447 w 147723"/>
                          <a:gd name="connsiteY28" fmla="*/ 90967 h 114590"/>
                          <a:gd name="connsiteX29" fmla="*/ 133908 w 147723"/>
                          <a:gd name="connsiteY29" fmla="*/ 90608 h 114590"/>
                          <a:gd name="connsiteX30" fmla="*/ 136540 w 147723"/>
                          <a:gd name="connsiteY30" fmla="*/ 87318 h 114590"/>
                          <a:gd name="connsiteX31" fmla="*/ 136420 w 147723"/>
                          <a:gd name="connsiteY31" fmla="*/ 87199 h 114590"/>
                          <a:gd name="connsiteX32" fmla="*/ 120332 w 147723"/>
                          <a:gd name="connsiteY32" fmla="*/ 107473 h 114590"/>
                          <a:gd name="connsiteX33" fmla="*/ 0 w 147723"/>
                          <a:gd name="connsiteY33" fmla="*/ 42942 h 114590"/>
                          <a:gd name="connsiteX34" fmla="*/ 115787 w 147723"/>
                          <a:gd name="connsiteY34" fmla="*/ 114590 h 114590"/>
                          <a:gd name="connsiteX35" fmla="*/ 120272 w 147723"/>
                          <a:gd name="connsiteY35" fmla="*/ 108909 h 114590"/>
                          <a:gd name="connsiteX36" fmla="*/ 119315 w 147723"/>
                          <a:gd name="connsiteY36" fmla="*/ 108311 h 114590"/>
                          <a:gd name="connsiteX37" fmla="*/ 115607 w 147723"/>
                          <a:gd name="connsiteY37" fmla="*/ 112976 h 114590"/>
                          <a:gd name="connsiteX38" fmla="*/ 1914 w 147723"/>
                          <a:gd name="connsiteY38" fmla="*/ 42523 h 114590"/>
                          <a:gd name="connsiteX39" fmla="*/ 25777 w 147723"/>
                          <a:gd name="connsiteY39" fmla="*/ 12320 h 114590"/>
                          <a:gd name="connsiteX40" fmla="*/ 24700 w 147723"/>
                          <a:gd name="connsiteY40" fmla="*/ 11662 h 114590"/>
                          <a:gd name="connsiteX41" fmla="*/ 0 w 147723"/>
                          <a:gd name="connsiteY41" fmla="*/ 42942 h 11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723" h="114590">
                            <a:moveTo>
                              <a:pt x="76852" y="29485"/>
                            </a:moveTo>
                            <a:lnTo>
                              <a:pt x="93120" y="40011"/>
                            </a:lnTo>
                            <a:lnTo>
                              <a:pt x="93897" y="38994"/>
                            </a:lnTo>
                            <a:lnTo>
                              <a:pt x="77630" y="28468"/>
                            </a:lnTo>
                            <a:lnTo>
                              <a:pt x="76852" y="29485"/>
                            </a:lnTo>
                            <a:moveTo>
                              <a:pt x="138932" y="83431"/>
                            </a:moveTo>
                            <a:lnTo>
                              <a:pt x="139291" y="83670"/>
                            </a:lnTo>
                            <a:lnTo>
                              <a:pt x="145272" y="76134"/>
                            </a:lnTo>
                            <a:lnTo>
                              <a:pt x="145810" y="76493"/>
                            </a:lnTo>
                            <a:lnTo>
                              <a:pt x="147724" y="74041"/>
                            </a:lnTo>
                            <a:lnTo>
                              <a:pt x="94794" y="39652"/>
                            </a:lnTo>
                            <a:lnTo>
                              <a:pt x="94017" y="40669"/>
                            </a:lnTo>
                            <a:lnTo>
                              <a:pt x="145989" y="74400"/>
                            </a:lnTo>
                            <a:lnTo>
                              <a:pt x="138932" y="83431"/>
                            </a:lnTo>
                            <a:moveTo>
                              <a:pt x="25537" y="10586"/>
                            </a:moveTo>
                            <a:lnTo>
                              <a:pt x="26614" y="11244"/>
                            </a:lnTo>
                            <a:lnTo>
                              <a:pt x="34150" y="1674"/>
                            </a:lnTo>
                            <a:lnTo>
                              <a:pt x="75836" y="28767"/>
                            </a:lnTo>
                            <a:lnTo>
                              <a:pt x="76673" y="27751"/>
                            </a:lnTo>
                            <a:lnTo>
                              <a:pt x="33911" y="0"/>
                            </a:lnTo>
                            <a:lnTo>
                              <a:pt x="25537" y="10586"/>
                            </a:lnTo>
                            <a:moveTo>
                              <a:pt x="136839" y="86063"/>
                            </a:moveTo>
                            <a:lnTo>
                              <a:pt x="137198" y="86302"/>
                            </a:lnTo>
                            <a:lnTo>
                              <a:pt x="138513" y="84627"/>
                            </a:lnTo>
                            <a:lnTo>
                              <a:pt x="138155" y="84388"/>
                            </a:lnTo>
                            <a:lnTo>
                              <a:pt x="136839" y="86063"/>
                            </a:lnTo>
                            <a:moveTo>
                              <a:pt x="120332" y="107473"/>
                            </a:moveTo>
                            <a:lnTo>
                              <a:pt x="121050" y="107892"/>
                            </a:lnTo>
                            <a:lnTo>
                              <a:pt x="134447" y="90967"/>
                            </a:lnTo>
                            <a:lnTo>
                              <a:pt x="133908" y="90608"/>
                            </a:lnTo>
                            <a:lnTo>
                              <a:pt x="136540" y="87318"/>
                            </a:lnTo>
                            <a:lnTo>
                              <a:pt x="136420" y="87199"/>
                            </a:lnTo>
                            <a:lnTo>
                              <a:pt x="120332" y="107473"/>
                            </a:lnTo>
                            <a:moveTo>
                              <a:pt x="0" y="42942"/>
                            </a:moveTo>
                            <a:lnTo>
                              <a:pt x="115787" y="114590"/>
                            </a:lnTo>
                            <a:lnTo>
                              <a:pt x="120272" y="108909"/>
                            </a:lnTo>
                            <a:lnTo>
                              <a:pt x="119315" y="108311"/>
                            </a:lnTo>
                            <a:lnTo>
                              <a:pt x="115607" y="112976"/>
                            </a:lnTo>
                            <a:lnTo>
                              <a:pt x="1914" y="42523"/>
                            </a:lnTo>
                            <a:lnTo>
                              <a:pt x="25777" y="12320"/>
                            </a:lnTo>
                            <a:lnTo>
                              <a:pt x="24700" y="11662"/>
                            </a:lnTo>
                            <a:lnTo>
                              <a:pt x="0" y="42942"/>
                            </a:lnTo>
                          </a:path>
                        </a:pathLst>
                      </a:custGeom>
                      <a:noFill/>
                      <a:ln w="6350" cap="flat">
                        <a:solidFill>
                          <a:schemeClr val="bg1">
                            <a:alpha val="40000"/>
                          </a:schemeClr>
                        </a:solidFill>
                        <a:prstDash val="solid"/>
                        <a:miter/>
                      </a:ln>
                    </p:spPr>
                    <p:txBody>
                      <a:bodyPr rtlCol="0" anchor="ctr"/>
                      <a:lstStyle/>
                      <a:p>
                        <a:endParaRPr lang="en-GB"/>
                      </a:p>
                    </p:txBody>
                  </p:sp>
                  <p:sp>
                    <p:nvSpPr>
                      <p:cNvPr id="7398" name="Vrije vorm: vorm 7397">
                        <a:extLst>
                          <a:ext uri="{FF2B5EF4-FFF2-40B4-BE49-F238E27FC236}">
                            <a16:creationId xmlns:a16="http://schemas.microsoft.com/office/drawing/2014/main" id="{5489DCF2-0101-43E3-9D0A-61AE53C27EC5}"/>
                          </a:ext>
                        </a:extLst>
                      </p:cNvPr>
                      <p:cNvSpPr/>
                      <p:nvPr/>
                    </p:nvSpPr>
                    <p:spPr>
                      <a:xfrm>
                        <a:off x="4795661" y="5233052"/>
                        <a:ext cx="21051" cy="14413"/>
                      </a:xfrm>
                      <a:custGeom>
                        <a:avLst/>
                        <a:gdLst>
                          <a:gd name="connsiteX0" fmla="*/ 19318 w 21051"/>
                          <a:gd name="connsiteY0" fmla="*/ 12380 h 14413"/>
                          <a:gd name="connsiteX1" fmla="*/ 19019 w 21051"/>
                          <a:gd name="connsiteY1" fmla="*/ 12798 h 14413"/>
                          <a:gd name="connsiteX2" fmla="*/ 1794 w 21051"/>
                          <a:gd name="connsiteY2" fmla="*/ 2033 h 14413"/>
                          <a:gd name="connsiteX3" fmla="*/ 2093 w 21051"/>
                          <a:gd name="connsiteY3" fmla="*/ 1615 h 14413"/>
                          <a:gd name="connsiteX4" fmla="*/ 19318 w 21051"/>
                          <a:gd name="connsiteY4" fmla="*/ 12380 h 14413"/>
                          <a:gd name="connsiteX5" fmla="*/ 0 w 21051"/>
                          <a:gd name="connsiteY5" fmla="*/ 2452 h 14413"/>
                          <a:gd name="connsiteX6" fmla="*/ 19138 w 21051"/>
                          <a:gd name="connsiteY6" fmla="*/ 14413 h 14413"/>
                          <a:gd name="connsiteX7" fmla="*/ 21052 w 21051"/>
                          <a:gd name="connsiteY7" fmla="*/ 12021 h 14413"/>
                          <a:gd name="connsiteX8" fmla="*/ 1914 w 21051"/>
                          <a:gd name="connsiteY8" fmla="*/ 0 h 14413"/>
                          <a:gd name="connsiteX9" fmla="*/ 0 w 21051"/>
                          <a:gd name="connsiteY9" fmla="*/ 2452 h 1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51" h="14413">
                            <a:moveTo>
                              <a:pt x="19318" y="12380"/>
                            </a:moveTo>
                            <a:lnTo>
                              <a:pt x="19019" y="12798"/>
                            </a:lnTo>
                            <a:lnTo>
                              <a:pt x="1794" y="2033"/>
                            </a:lnTo>
                            <a:lnTo>
                              <a:pt x="2093" y="1615"/>
                            </a:lnTo>
                            <a:lnTo>
                              <a:pt x="19318" y="12380"/>
                            </a:lnTo>
                            <a:moveTo>
                              <a:pt x="0" y="2452"/>
                            </a:moveTo>
                            <a:lnTo>
                              <a:pt x="19138" y="14413"/>
                            </a:lnTo>
                            <a:lnTo>
                              <a:pt x="21052" y="12021"/>
                            </a:lnTo>
                            <a:lnTo>
                              <a:pt x="1914" y="0"/>
                            </a:lnTo>
                            <a:lnTo>
                              <a:pt x="0" y="2452"/>
                            </a:lnTo>
                          </a:path>
                        </a:pathLst>
                      </a:custGeom>
                      <a:noFill/>
                      <a:ln w="6350" cap="flat">
                        <a:solidFill>
                          <a:schemeClr val="bg1">
                            <a:alpha val="40000"/>
                          </a:schemeClr>
                        </a:solidFill>
                        <a:prstDash val="solid"/>
                        <a:miter/>
                      </a:ln>
                    </p:spPr>
                    <p:txBody>
                      <a:bodyPr rtlCol="0" anchor="ctr"/>
                      <a:lstStyle/>
                      <a:p>
                        <a:endParaRPr lang="en-GB"/>
                      </a:p>
                    </p:txBody>
                  </p:sp>
                  <p:sp>
                    <p:nvSpPr>
                      <p:cNvPr id="7399" name="Vrije vorm: vorm 7398">
                        <a:extLst>
                          <a:ext uri="{FF2B5EF4-FFF2-40B4-BE49-F238E27FC236}">
                            <a16:creationId xmlns:a16="http://schemas.microsoft.com/office/drawing/2014/main" id="{0B7DCEF7-6029-4378-9713-24F4AFABEE4C}"/>
                          </a:ext>
                        </a:extLst>
                      </p:cNvPr>
                      <p:cNvSpPr/>
                      <p:nvPr/>
                    </p:nvSpPr>
                    <p:spPr>
                      <a:xfrm>
                        <a:off x="4798293" y="5229762"/>
                        <a:ext cx="21051" cy="14413"/>
                      </a:xfrm>
                      <a:custGeom>
                        <a:avLst/>
                        <a:gdLst>
                          <a:gd name="connsiteX0" fmla="*/ 19258 w 21051"/>
                          <a:gd name="connsiteY0" fmla="*/ 12440 h 14413"/>
                          <a:gd name="connsiteX1" fmla="*/ 18959 w 21051"/>
                          <a:gd name="connsiteY1" fmla="*/ 12859 h 14413"/>
                          <a:gd name="connsiteX2" fmla="*/ 1794 w 21051"/>
                          <a:gd name="connsiteY2" fmla="*/ 2093 h 14413"/>
                          <a:gd name="connsiteX3" fmla="*/ 2093 w 21051"/>
                          <a:gd name="connsiteY3" fmla="*/ 1675 h 14413"/>
                          <a:gd name="connsiteX4" fmla="*/ 19258 w 21051"/>
                          <a:gd name="connsiteY4" fmla="*/ 12440 h 14413"/>
                          <a:gd name="connsiteX5" fmla="*/ 0 w 21051"/>
                          <a:gd name="connsiteY5" fmla="*/ 2392 h 14413"/>
                          <a:gd name="connsiteX6" fmla="*/ 19138 w 21051"/>
                          <a:gd name="connsiteY6" fmla="*/ 14414 h 14413"/>
                          <a:gd name="connsiteX7" fmla="*/ 21052 w 21051"/>
                          <a:gd name="connsiteY7" fmla="*/ 12021 h 14413"/>
                          <a:gd name="connsiteX8" fmla="*/ 1914 w 21051"/>
                          <a:gd name="connsiteY8" fmla="*/ 0 h 14413"/>
                          <a:gd name="connsiteX9" fmla="*/ 0 w 21051"/>
                          <a:gd name="connsiteY9" fmla="*/ 2392 h 1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51" h="14413">
                            <a:moveTo>
                              <a:pt x="19258" y="12440"/>
                            </a:moveTo>
                            <a:lnTo>
                              <a:pt x="18959" y="12859"/>
                            </a:lnTo>
                            <a:lnTo>
                              <a:pt x="1794" y="2093"/>
                            </a:lnTo>
                            <a:lnTo>
                              <a:pt x="2093" y="1675"/>
                            </a:lnTo>
                            <a:lnTo>
                              <a:pt x="19258" y="12440"/>
                            </a:lnTo>
                            <a:moveTo>
                              <a:pt x="0" y="2392"/>
                            </a:moveTo>
                            <a:lnTo>
                              <a:pt x="19138" y="14414"/>
                            </a:lnTo>
                            <a:lnTo>
                              <a:pt x="21052" y="12021"/>
                            </a:lnTo>
                            <a:lnTo>
                              <a:pt x="1914" y="0"/>
                            </a:lnTo>
                            <a:lnTo>
                              <a:pt x="0" y="2392"/>
                            </a:lnTo>
                          </a:path>
                        </a:pathLst>
                      </a:custGeom>
                      <a:noFill/>
                      <a:ln w="6350" cap="flat">
                        <a:solidFill>
                          <a:schemeClr val="bg1">
                            <a:alpha val="40000"/>
                          </a:schemeClr>
                        </a:solidFill>
                        <a:prstDash val="solid"/>
                        <a:miter/>
                      </a:ln>
                    </p:spPr>
                    <p:txBody>
                      <a:bodyPr rtlCol="0" anchor="ctr"/>
                      <a:lstStyle/>
                      <a:p>
                        <a:endParaRPr lang="en-GB"/>
                      </a:p>
                    </p:txBody>
                  </p:sp>
                  <p:sp>
                    <p:nvSpPr>
                      <p:cNvPr id="7400" name="Vrije vorm: vorm 7399">
                        <a:extLst>
                          <a:ext uri="{FF2B5EF4-FFF2-40B4-BE49-F238E27FC236}">
                            <a16:creationId xmlns:a16="http://schemas.microsoft.com/office/drawing/2014/main" id="{EBBFCE1D-AB5E-4B65-AD24-8CBA3EB0B4A8}"/>
                          </a:ext>
                        </a:extLst>
                      </p:cNvPr>
                      <p:cNvSpPr/>
                      <p:nvPr/>
                    </p:nvSpPr>
                    <p:spPr>
                      <a:xfrm>
                        <a:off x="4800925" y="5226413"/>
                        <a:ext cx="20932" cy="14413"/>
                      </a:xfrm>
                      <a:custGeom>
                        <a:avLst/>
                        <a:gdLst>
                          <a:gd name="connsiteX0" fmla="*/ 19198 w 20932"/>
                          <a:gd name="connsiteY0" fmla="*/ 12500 h 14413"/>
                          <a:gd name="connsiteX1" fmla="*/ 18899 w 20932"/>
                          <a:gd name="connsiteY1" fmla="*/ 12859 h 14413"/>
                          <a:gd name="connsiteX2" fmla="*/ 1734 w 20932"/>
                          <a:gd name="connsiteY2" fmla="*/ 2034 h 14413"/>
                          <a:gd name="connsiteX3" fmla="*/ 2033 w 20932"/>
                          <a:gd name="connsiteY3" fmla="*/ 1675 h 14413"/>
                          <a:gd name="connsiteX4" fmla="*/ 19198 w 20932"/>
                          <a:gd name="connsiteY4" fmla="*/ 12500 h 14413"/>
                          <a:gd name="connsiteX5" fmla="*/ 0 w 20932"/>
                          <a:gd name="connsiteY5" fmla="*/ 2392 h 14413"/>
                          <a:gd name="connsiteX6" fmla="*/ 19078 w 20932"/>
                          <a:gd name="connsiteY6" fmla="*/ 14414 h 14413"/>
                          <a:gd name="connsiteX7" fmla="*/ 20933 w 20932"/>
                          <a:gd name="connsiteY7" fmla="*/ 12081 h 14413"/>
                          <a:gd name="connsiteX8" fmla="*/ 1854 w 20932"/>
                          <a:gd name="connsiteY8" fmla="*/ 0 h 14413"/>
                          <a:gd name="connsiteX9" fmla="*/ 0 w 20932"/>
                          <a:gd name="connsiteY9" fmla="*/ 2392 h 1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32" h="14413">
                            <a:moveTo>
                              <a:pt x="19198" y="12500"/>
                            </a:moveTo>
                            <a:lnTo>
                              <a:pt x="18899" y="12859"/>
                            </a:lnTo>
                            <a:lnTo>
                              <a:pt x="1734" y="2034"/>
                            </a:lnTo>
                            <a:lnTo>
                              <a:pt x="2033" y="1675"/>
                            </a:lnTo>
                            <a:lnTo>
                              <a:pt x="19198" y="12500"/>
                            </a:lnTo>
                            <a:moveTo>
                              <a:pt x="0" y="2392"/>
                            </a:moveTo>
                            <a:lnTo>
                              <a:pt x="19078" y="14414"/>
                            </a:lnTo>
                            <a:lnTo>
                              <a:pt x="20933" y="12081"/>
                            </a:lnTo>
                            <a:lnTo>
                              <a:pt x="1854" y="0"/>
                            </a:lnTo>
                            <a:lnTo>
                              <a:pt x="0" y="2392"/>
                            </a:lnTo>
                          </a:path>
                        </a:pathLst>
                      </a:custGeom>
                      <a:noFill/>
                      <a:ln w="6350" cap="flat">
                        <a:solidFill>
                          <a:schemeClr val="bg1">
                            <a:alpha val="40000"/>
                          </a:schemeClr>
                        </a:solidFill>
                        <a:prstDash val="solid"/>
                        <a:miter/>
                      </a:ln>
                    </p:spPr>
                    <p:txBody>
                      <a:bodyPr rtlCol="0" anchor="ctr"/>
                      <a:lstStyle/>
                      <a:p>
                        <a:endParaRPr lang="en-GB"/>
                      </a:p>
                    </p:txBody>
                  </p:sp>
                  <p:sp>
                    <p:nvSpPr>
                      <p:cNvPr id="7401" name="Vrije vorm: vorm 7400">
                        <a:extLst>
                          <a:ext uri="{FF2B5EF4-FFF2-40B4-BE49-F238E27FC236}">
                            <a16:creationId xmlns:a16="http://schemas.microsoft.com/office/drawing/2014/main" id="{8EA8EECF-5FEA-4C79-A87C-887231202CF2}"/>
                          </a:ext>
                        </a:extLst>
                      </p:cNvPr>
                      <p:cNvSpPr/>
                      <p:nvPr/>
                    </p:nvSpPr>
                    <p:spPr>
                      <a:xfrm>
                        <a:off x="4803556" y="5223183"/>
                        <a:ext cx="20932" cy="14413"/>
                      </a:xfrm>
                      <a:custGeom>
                        <a:avLst/>
                        <a:gdLst>
                          <a:gd name="connsiteX0" fmla="*/ 19198 w 20932"/>
                          <a:gd name="connsiteY0" fmla="*/ 12380 h 14413"/>
                          <a:gd name="connsiteX1" fmla="*/ 18899 w 20932"/>
                          <a:gd name="connsiteY1" fmla="*/ 12799 h 14413"/>
                          <a:gd name="connsiteX2" fmla="*/ 1795 w 20932"/>
                          <a:gd name="connsiteY2" fmla="*/ 1974 h 14413"/>
                          <a:gd name="connsiteX3" fmla="*/ 2093 w 20932"/>
                          <a:gd name="connsiteY3" fmla="*/ 1555 h 14413"/>
                          <a:gd name="connsiteX4" fmla="*/ 19198 w 20932"/>
                          <a:gd name="connsiteY4" fmla="*/ 12380 h 14413"/>
                          <a:gd name="connsiteX5" fmla="*/ 0 w 20932"/>
                          <a:gd name="connsiteY5" fmla="*/ 2333 h 14413"/>
                          <a:gd name="connsiteX6" fmla="*/ 19079 w 20932"/>
                          <a:gd name="connsiteY6" fmla="*/ 14413 h 14413"/>
                          <a:gd name="connsiteX7" fmla="*/ 20933 w 20932"/>
                          <a:gd name="connsiteY7" fmla="*/ 12081 h 14413"/>
                          <a:gd name="connsiteX8" fmla="*/ 1854 w 20932"/>
                          <a:gd name="connsiteY8" fmla="*/ 0 h 14413"/>
                          <a:gd name="connsiteX9" fmla="*/ 0 w 20932"/>
                          <a:gd name="connsiteY9" fmla="*/ 2333 h 1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32" h="14413">
                            <a:moveTo>
                              <a:pt x="19198" y="12380"/>
                            </a:moveTo>
                            <a:lnTo>
                              <a:pt x="18899" y="12799"/>
                            </a:lnTo>
                            <a:lnTo>
                              <a:pt x="1795" y="1974"/>
                            </a:lnTo>
                            <a:lnTo>
                              <a:pt x="2093" y="1555"/>
                            </a:lnTo>
                            <a:lnTo>
                              <a:pt x="19198" y="12380"/>
                            </a:lnTo>
                            <a:moveTo>
                              <a:pt x="0" y="2333"/>
                            </a:moveTo>
                            <a:lnTo>
                              <a:pt x="19079" y="14413"/>
                            </a:lnTo>
                            <a:lnTo>
                              <a:pt x="20933" y="12081"/>
                            </a:lnTo>
                            <a:lnTo>
                              <a:pt x="1854" y="0"/>
                            </a:lnTo>
                            <a:lnTo>
                              <a:pt x="0" y="2333"/>
                            </a:lnTo>
                          </a:path>
                        </a:pathLst>
                      </a:custGeom>
                      <a:noFill/>
                      <a:ln w="6350" cap="flat">
                        <a:solidFill>
                          <a:schemeClr val="bg1">
                            <a:alpha val="40000"/>
                          </a:schemeClr>
                        </a:solidFill>
                        <a:prstDash val="solid"/>
                        <a:miter/>
                      </a:ln>
                    </p:spPr>
                    <p:txBody>
                      <a:bodyPr rtlCol="0" anchor="ctr"/>
                      <a:lstStyle/>
                      <a:p>
                        <a:endParaRPr lang="en-GB"/>
                      </a:p>
                    </p:txBody>
                  </p:sp>
                  <p:sp>
                    <p:nvSpPr>
                      <p:cNvPr id="7402" name="Vrije vorm: vorm 7401">
                        <a:extLst>
                          <a:ext uri="{FF2B5EF4-FFF2-40B4-BE49-F238E27FC236}">
                            <a16:creationId xmlns:a16="http://schemas.microsoft.com/office/drawing/2014/main" id="{901D9116-EAE1-42FC-89F6-3B38529F8F1B}"/>
                          </a:ext>
                        </a:extLst>
                      </p:cNvPr>
                      <p:cNvSpPr/>
                      <p:nvPr/>
                    </p:nvSpPr>
                    <p:spPr>
                      <a:xfrm>
                        <a:off x="4806128" y="5219774"/>
                        <a:ext cx="20992" cy="14533"/>
                      </a:xfrm>
                      <a:custGeom>
                        <a:avLst/>
                        <a:gdLst>
                          <a:gd name="connsiteX0" fmla="*/ 19198 w 20992"/>
                          <a:gd name="connsiteY0" fmla="*/ 12500 h 14533"/>
                          <a:gd name="connsiteX1" fmla="*/ 18899 w 20992"/>
                          <a:gd name="connsiteY1" fmla="*/ 12919 h 14533"/>
                          <a:gd name="connsiteX2" fmla="*/ 1794 w 20992"/>
                          <a:gd name="connsiteY2" fmla="*/ 2034 h 14533"/>
                          <a:gd name="connsiteX3" fmla="*/ 2093 w 20992"/>
                          <a:gd name="connsiteY3" fmla="*/ 1615 h 14533"/>
                          <a:gd name="connsiteX4" fmla="*/ 19198 w 20992"/>
                          <a:gd name="connsiteY4" fmla="*/ 12500 h 14533"/>
                          <a:gd name="connsiteX5" fmla="*/ 0 w 20992"/>
                          <a:gd name="connsiteY5" fmla="*/ 2452 h 14533"/>
                          <a:gd name="connsiteX6" fmla="*/ 19079 w 20992"/>
                          <a:gd name="connsiteY6" fmla="*/ 14533 h 14533"/>
                          <a:gd name="connsiteX7" fmla="*/ 20992 w 20992"/>
                          <a:gd name="connsiteY7" fmla="*/ 12141 h 14533"/>
                          <a:gd name="connsiteX8" fmla="*/ 1973 w 20992"/>
                          <a:gd name="connsiteY8" fmla="*/ 0 h 14533"/>
                          <a:gd name="connsiteX9" fmla="*/ 0 w 20992"/>
                          <a:gd name="connsiteY9" fmla="*/ 2452 h 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92" h="14533">
                            <a:moveTo>
                              <a:pt x="19198" y="12500"/>
                            </a:moveTo>
                            <a:lnTo>
                              <a:pt x="18899" y="12919"/>
                            </a:lnTo>
                            <a:lnTo>
                              <a:pt x="1794" y="2034"/>
                            </a:lnTo>
                            <a:lnTo>
                              <a:pt x="2093" y="1615"/>
                            </a:lnTo>
                            <a:lnTo>
                              <a:pt x="19198" y="12500"/>
                            </a:lnTo>
                            <a:moveTo>
                              <a:pt x="0" y="2452"/>
                            </a:moveTo>
                            <a:lnTo>
                              <a:pt x="19079" y="14533"/>
                            </a:lnTo>
                            <a:lnTo>
                              <a:pt x="20992" y="12141"/>
                            </a:lnTo>
                            <a:lnTo>
                              <a:pt x="1973" y="0"/>
                            </a:lnTo>
                            <a:lnTo>
                              <a:pt x="0" y="2452"/>
                            </a:lnTo>
                          </a:path>
                        </a:pathLst>
                      </a:custGeom>
                      <a:noFill/>
                      <a:ln w="6350" cap="flat">
                        <a:solidFill>
                          <a:schemeClr val="bg1">
                            <a:alpha val="40000"/>
                          </a:schemeClr>
                        </a:solidFill>
                        <a:prstDash val="solid"/>
                        <a:miter/>
                      </a:ln>
                    </p:spPr>
                    <p:txBody>
                      <a:bodyPr rtlCol="0" anchor="ctr"/>
                      <a:lstStyle/>
                      <a:p>
                        <a:endParaRPr lang="en-GB"/>
                      </a:p>
                    </p:txBody>
                  </p:sp>
                  <p:sp>
                    <p:nvSpPr>
                      <p:cNvPr id="7403" name="Vrije vorm: vorm 7402">
                        <a:extLst>
                          <a:ext uri="{FF2B5EF4-FFF2-40B4-BE49-F238E27FC236}">
                            <a16:creationId xmlns:a16="http://schemas.microsoft.com/office/drawing/2014/main" id="{0AA2895E-C82E-4189-B1F8-E7A6BB77AEBA}"/>
                          </a:ext>
                        </a:extLst>
                      </p:cNvPr>
                      <p:cNvSpPr/>
                      <p:nvPr/>
                    </p:nvSpPr>
                    <p:spPr>
                      <a:xfrm>
                        <a:off x="4813160" y="5251388"/>
                        <a:ext cx="4250" cy="4017"/>
                      </a:xfrm>
                      <a:custGeom>
                        <a:avLst/>
                        <a:gdLst>
                          <a:gd name="connsiteX0" fmla="*/ 2596 w 4250"/>
                          <a:gd name="connsiteY0" fmla="*/ 1281 h 4017"/>
                          <a:gd name="connsiteX1" fmla="*/ 2836 w 4250"/>
                          <a:gd name="connsiteY1" fmla="*/ 1520 h 4017"/>
                          <a:gd name="connsiteX2" fmla="*/ 2955 w 4250"/>
                          <a:gd name="connsiteY2" fmla="*/ 1819 h 4017"/>
                          <a:gd name="connsiteX3" fmla="*/ 2895 w 4250"/>
                          <a:gd name="connsiteY3" fmla="*/ 2178 h 4017"/>
                          <a:gd name="connsiteX4" fmla="*/ 2716 w 4250"/>
                          <a:gd name="connsiteY4" fmla="*/ 2477 h 4017"/>
                          <a:gd name="connsiteX5" fmla="*/ 2417 w 4250"/>
                          <a:gd name="connsiteY5" fmla="*/ 2716 h 4017"/>
                          <a:gd name="connsiteX6" fmla="*/ 2118 w 4250"/>
                          <a:gd name="connsiteY6" fmla="*/ 2836 h 4017"/>
                          <a:gd name="connsiteX7" fmla="*/ 1759 w 4250"/>
                          <a:gd name="connsiteY7" fmla="*/ 2836 h 4017"/>
                          <a:gd name="connsiteX8" fmla="*/ 1460 w 4250"/>
                          <a:gd name="connsiteY8" fmla="*/ 2716 h 4017"/>
                          <a:gd name="connsiteX9" fmla="*/ 1221 w 4250"/>
                          <a:gd name="connsiteY9" fmla="*/ 2477 h 4017"/>
                          <a:gd name="connsiteX10" fmla="*/ 1101 w 4250"/>
                          <a:gd name="connsiteY10" fmla="*/ 2178 h 4017"/>
                          <a:gd name="connsiteX11" fmla="*/ 1101 w 4250"/>
                          <a:gd name="connsiteY11" fmla="*/ 1879 h 4017"/>
                          <a:gd name="connsiteX12" fmla="*/ 1281 w 4250"/>
                          <a:gd name="connsiteY12" fmla="*/ 1580 h 4017"/>
                          <a:gd name="connsiteX13" fmla="*/ 1580 w 4250"/>
                          <a:gd name="connsiteY13" fmla="*/ 1341 h 4017"/>
                          <a:gd name="connsiteX14" fmla="*/ 1939 w 4250"/>
                          <a:gd name="connsiteY14" fmla="*/ 1221 h 4017"/>
                          <a:gd name="connsiteX15" fmla="*/ 2298 w 4250"/>
                          <a:gd name="connsiteY15" fmla="*/ 1221 h 4017"/>
                          <a:gd name="connsiteX16" fmla="*/ 2596 w 4250"/>
                          <a:gd name="connsiteY16" fmla="*/ 1281 h 4017"/>
                          <a:gd name="connsiteX17" fmla="*/ 683 w 4250"/>
                          <a:gd name="connsiteY17" fmla="*/ 3673 h 4017"/>
                          <a:gd name="connsiteX18" fmla="*/ 1460 w 4250"/>
                          <a:gd name="connsiteY18" fmla="*/ 3972 h 4017"/>
                          <a:gd name="connsiteX19" fmla="*/ 2298 w 4250"/>
                          <a:gd name="connsiteY19" fmla="*/ 3972 h 4017"/>
                          <a:gd name="connsiteX20" fmla="*/ 3075 w 4250"/>
                          <a:gd name="connsiteY20" fmla="*/ 3673 h 4017"/>
                          <a:gd name="connsiteX21" fmla="*/ 3733 w 4250"/>
                          <a:gd name="connsiteY21" fmla="*/ 3075 h 4017"/>
                          <a:gd name="connsiteX22" fmla="*/ 4152 w 4250"/>
                          <a:gd name="connsiteY22" fmla="*/ 2297 h 4017"/>
                          <a:gd name="connsiteX23" fmla="*/ 4211 w 4250"/>
                          <a:gd name="connsiteY23" fmla="*/ 1520 h 4017"/>
                          <a:gd name="connsiteX24" fmla="*/ 3972 w 4250"/>
                          <a:gd name="connsiteY24" fmla="*/ 802 h 4017"/>
                          <a:gd name="connsiteX25" fmla="*/ 3434 w 4250"/>
                          <a:gd name="connsiteY25" fmla="*/ 264 h 4017"/>
                          <a:gd name="connsiteX26" fmla="*/ 2716 w 4250"/>
                          <a:gd name="connsiteY26" fmla="*/ 25 h 4017"/>
                          <a:gd name="connsiteX27" fmla="*/ 1939 w 4250"/>
                          <a:gd name="connsiteY27" fmla="*/ 85 h 4017"/>
                          <a:gd name="connsiteX28" fmla="*/ 1161 w 4250"/>
                          <a:gd name="connsiteY28" fmla="*/ 383 h 4017"/>
                          <a:gd name="connsiteX29" fmla="*/ 503 w 4250"/>
                          <a:gd name="connsiteY29" fmla="*/ 982 h 4017"/>
                          <a:gd name="connsiteX30" fmla="*/ 85 w 4250"/>
                          <a:gd name="connsiteY30" fmla="*/ 1759 h 4017"/>
                          <a:gd name="connsiteX31" fmla="*/ 25 w 4250"/>
                          <a:gd name="connsiteY31" fmla="*/ 2537 h 4017"/>
                          <a:gd name="connsiteX32" fmla="*/ 264 w 4250"/>
                          <a:gd name="connsiteY32" fmla="*/ 3195 h 4017"/>
                          <a:gd name="connsiteX33" fmla="*/ 683 w 4250"/>
                          <a:gd name="connsiteY33" fmla="*/ 3673 h 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250" h="4017">
                            <a:moveTo>
                              <a:pt x="2596" y="1281"/>
                            </a:moveTo>
                            <a:cubicBezTo>
                              <a:pt x="2716" y="1341"/>
                              <a:pt x="2776" y="1400"/>
                              <a:pt x="2836" y="1520"/>
                            </a:cubicBezTo>
                            <a:cubicBezTo>
                              <a:pt x="2895" y="1640"/>
                              <a:pt x="2955" y="1699"/>
                              <a:pt x="2955" y="1819"/>
                            </a:cubicBezTo>
                            <a:cubicBezTo>
                              <a:pt x="2955" y="1939"/>
                              <a:pt x="2955" y="2058"/>
                              <a:pt x="2895" y="2178"/>
                            </a:cubicBezTo>
                            <a:cubicBezTo>
                              <a:pt x="2836" y="2297"/>
                              <a:pt x="2836" y="2417"/>
                              <a:pt x="2716" y="2477"/>
                            </a:cubicBezTo>
                            <a:cubicBezTo>
                              <a:pt x="2656" y="2597"/>
                              <a:pt x="2537" y="2656"/>
                              <a:pt x="2417" y="2716"/>
                            </a:cubicBezTo>
                            <a:cubicBezTo>
                              <a:pt x="2298" y="2776"/>
                              <a:pt x="2178" y="2836"/>
                              <a:pt x="2118" y="2836"/>
                            </a:cubicBezTo>
                            <a:cubicBezTo>
                              <a:pt x="1998" y="2836"/>
                              <a:pt x="1879" y="2836"/>
                              <a:pt x="1759" y="2836"/>
                            </a:cubicBezTo>
                            <a:cubicBezTo>
                              <a:pt x="1639" y="2836"/>
                              <a:pt x="1520" y="2776"/>
                              <a:pt x="1460" y="2716"/>
                            </a:cubicBezTo>
                            <a:cubicBezTo>
                              <a:pt x="1400" y="2656"/>
                              <a:pt x="1281" y="2597"/>
                              <a:pt x="1221" y="2477"/>
                            </a:cubicBezTo>
                            <a:cubicBezTo>
                              <a:pt x="1161" y="2417"/>
                              <a:pt x="1161" y="2297"/>
                              <a:pt x="1101" y="2178"/>
                            </a:cubicBezTo>
                            <a:cubicBezTo>
                              <a:pt x="1101" y="2058"/>
                              <a:pt x="1101" y="1998"/>
                              <a:pt x="1101" y="1879"/>
                            </a:cubicBezTo>
                            <a:cubicBezTo>
                              <a:pt x="1161" y="1759"/>
                              <a:pt x="1161" y="1640"/>
                              <a:pt x="1281" y="1580"/>
                            </a:cubicBezTo>
                            <a:cubicBezTo>
                              <a:pt x="1340" y="1460"/>
                              <a:pt x="1460" y="1400"/>
                              <a:pt x="1580" y="1341"/>
                            </a:cubicBezTo>
                            <a:cubicBezTo>
                              <a:pt x="1699" y="1281"/>
                              <a:pt x="1819" y="1221"/>
                              <a:pt x="1939" y="1221"/>
                            </a:cubicBezTo>
                            <a:cubicBezTo>
                              <a:pt x="2058" y="1221"/>
                              <a:pt x="2178" y="1161"/>
                              <a:pt x="2298" y="1221"/>
                            </a:cubicBezTo>
                            <a:cubicBezTo>
                              <a:pt x="2417" y="1161"/>
                              <a:pt x="2477" y="1221"/>
                              <a:pt x="2596" y="1281"/>
                            </a:cubicBezTo>
                            <a:moveTo>
                              <a:pt x="683" y="3673"/>
                            </a:moveTo>
                            <a:cubicBezTo>
                              <a:pt x="922" y="3793"/>
                              <a:pt x="1161" y="3912"/>
                              <a:pt x="1460" y="3972"/>
                            </a:cubicBezTo>
                            <a:cubicBezTo>
                              <a:pt x="1759" y="4032"/>
                              <a:pt x="1998" y="4032"/>
                              <a:pt x="2298" y="3972"/>
                            </a:cubicBezTo>
                            <a:cubicBezTo>
                              <a:pt x="2596" y="3912"/>
                              <a:pt x="2836" y="3793"/>
                              <a:pt x="3075" y="3673"/>
                            </a:cubicBezTo>
                            <a:cubicBezTo>
                              <a:pt x="3314" y="3494"/>
                              <a:pt x="3553" y="3314"/>
                              <a:pt x="3733" y="3075"/>
                            </a:cubicBezTo>
                            <a:cubicBezTo>
                              <a:pt x="3912" y="2836"/>
                              <a:pt x="4032" y="2597"/>
                              <a:pt x="4152" y="2297"/>
                            </a:cubicBezTo>
                            <a:cubicBezTo>
                              <a:pt x="4271" y="1998"/>
                              <a:pt x="4271" y="1759"/>
                              <a:pt x="4211" y="1520"/>
                            </a:cubicBezTo>
                            <a:cubicBezTo>
                              <a:pt x="4152" y="1281"/>
                              <a:pt x="4092" y="1042"/>
                              <a:pt x="3972" y="802"/>
                            </a:cubicBezTo>
                            <a:cubicBezTo>
                              <a:pt x="3852" y="623"/>
                              <a:pt x="3673" y="383"/>
                              <a:pt x="3434" y="264"/>
                            </a:cubicBezTo>
                            <a:cubicBezTo>
                              <a:pt x="3194" y="144"/>
                              <a:pt x="2955" y="25"/>
                              <a:pt x="2716" y="25"/>
                            </a:cubicBezTo>
                            <a:cubicBezTo>
                              <a:pt x="2477" y="-35"/>
                              <a:pt x="2178" y="25"/>
                              <a:pt x="1939" y="85"/>
                            </a:cubicBezTo>
                            <a:cubicBezTo>
                              <a:pt x="1639" y="144"/>
                              <a:pt x="1400" y="264"/>
                              <a:pt x="1161" y="383"/>
                            </a:cubicBezTo>
                            <a:cubicBezTo>
                              <a:pt x="922" y="563"/>
                              <a:pt x="683" y="743"/>
                              <a:pt x="503" y="982"/>
                            </a:cubicBezTo>
                            <a:cubicBezTo>
                              <a:pt x="324" y="1221"/>
                              <a:pt x="204" y="1460"/>
                              <a:pt x="85" y="1759"/>
                            </a:cubicBezTo>
                            <a:cubicBezTo>
                              <a:pt x="25" y="1998"/>
                              <a:pt x="-35" y="2297"/>
                              <a:pt x="25" y="2537"/>
                            </a:cubicBezTo>
                            <a:cubicBezTo>
                              <a:pt x="85" y="2776"/>
                              <a:pt x="144" y="3015"/>
                              <a:pt x="264" y="3195"/>
                            </a:cubicBezTo>
                            <a:cubicBezTo>
                              <a:pt x="264" y="3374"/>
                              <a:pt x="443" y="3553"/>
                              <a:pt x="683" y="3673"/>
                            </a:cubicBezTo>
                          </a:path>
                        </a:pathLst>
                      </a:custGeom>
                      <a:noFill/>
                      <a:ln w="6350" cap="flat">
                        <a:solidFill>
                          <a:schemeClr val="bg1">
                            <a:alpha val="40000"/>
                          </a:schemeClr>
                        </a:solidFill>
                        <a:prstDash val="solid"/>
                        <a:miter/>
                      </a:ln>
                    </p:spPr>
                    <p:txBody>
                      <a:bodyPr rtlCol="0" anchor="ctr"/>
                      <a:lstStyle/>
                      <a:p>
                        <a:endParaRPr lang="en-GB"/>
                      </a:p>
                    </p:txBody>
                  </p:sp>
                  <p:sp>
                    <p:nvSpPr>
                      <p:cNvPr id="7404" name="Vrije vorm: vorm 7403">
                        <a:extLst>
                          <a:ext uri="{FF2B5EF4-FFF2-40B4-BE49-F238E27FC236}">
                            <a16:creationId xmlns:a16="http://schemas.microsoft.com/office/drawing/2014/main" id="{DFED088A-1061-44CB-9D6F-1870B5DC28A7}"/>
                          </a:ext>
                        </a:extLst>
                      </p:cNvPr>
                      <p:cNvSpPr/>
                      <p:nvPr/>
                    </p:nvSpPr>
                    <p:spPr>
                      <a:xfrm>
                        <a:off x="4831148" y="5228482"/>
                        <a:ext cx="4310" cy="3956"/>
                      </a:xfrm>
                      <a:custGeom>
                        <a:avLst/>
                        <a:gdLst>
                          <a:gd name="connsiteX0" fmla="*/ 2730 w 4310"/>
                          <a:gd name="connsiteY0" fmla="*/ 1221 h 3956"/>
                          <a:gd name="connsiteX1" fmla="*/ 2970 w 4310"/>
                          <a:gd name="connsiteY1" fmla="*/ 1460 h 3956"/>
                          <a:gd name="connsiteX2" fmla="*/ 3089 w 4310"/>
                          <a:gd name="connsiteY2" fmla="*/ 1759 h 3956"/>
                          <a:gd name="connsiteX3" fmla="*/ 3089 w 4310"/>
                          <a:gd name="connsiteY3" fmla="*/ 2058 h 3956"/>
                          <a:gd name="connsiteX4" fmla="*/ 2910 w 4310"/>
                          <a:gd name="connsiteY4" fmla="*/ 2357 h 3956"/>
                          <a:gd name="connsiteX5" fmla="*/ 2611 w 4310"/>
                          <a:gd name="connsiteY5" fmla="*/ 2596 h 3956"/>
                          <a:gd name="connsiteX6" fmla="*/ 2312 w 4310"/>
                          <a:gd name="connsiteY6" fmla="*/ 2716 h 3956"/>
                          <a:gd name="connsiteX7" fmla="*/ 1953 w 4310"/>
                          <a:gd name="connsiteY7" fmla="*/ 2716 h 3956"/>
                          <a:gd name="connsiteX8" fmla="*/ 1654 w 4310"/>
                          <a:gd name="connsiteY8" fmla="*/ 2596 h 3956"/>
                          <a:gd name="connsiteX9" fmla="*/ 1415 w 4310"/>
                          <a:gd name="connsiteY9" fmla="*/ 2357 h 3956"/>
                          <a:gd name="connsiteX10" fmla="*/ 1295 w 4310"/>
                          <a:gd name="connsiteY10" fmla="*/ 2058 h 3956"/>
                          <a:gd name="connsiteX11" fmla="*/ 1295 w 4310"/>
                          <a:gd name="connsiteY11" fmla="*/ 1759 h 3956"/>
                          <a:gd name="connsiteX12" fmla="*/ 1475 w 4310"/>
                          <a:gd name="connsiteY12" fmla="*/ 1460 h 3956"/>
                          <a:gd name="connsiteX13" fmla="*/ 1774 w 4310"/>
                          <a:gd name="connsiteY13" fmla="*/ 1221 h 3956"/>
                          <a:gd name="connsiteX14" fmla="*/ 2073 w 4310"/>
                          <a:gd name="connsiteY14" fmla="*/ 1101 h 3956"/>
                          <a:gd name="connsiteX15" fmla="*/ 2431 w 4310"/>
                          <a:gd name="connsiteY15" fmla="*/ 1101 h 3956"/>
                          <a:gd name="connsiteX16" fmla="*/ 2730 w 4310"/>
                          <a:gd name="connsiteY16" fmla="*/ 1221 h 3956"/>
                          <a:gd name="connsiteX17" fmla="*/ 817 w 4310"/>
                          <a:gd name="connsiteY17" fmla="*/ 3613 h 3956"/>
                          <a:gd name="connsiteX18" fmla="*/ 1594 w 4310"/>
                          <a:gd name="connsiteY18" fmla="*/ 3912 h 3956"/>
                          <a:gd name="connsiteX19" fmla="*/ 2431 w 4310"/>
                          <a:gd name="connsiteY19" fmla="*/ 3912 h 3956"/>
                          <a:gd name="connsiteX20" fmla="*/ 3209 w 4310"/>
                          <a:gd name="connsiteY20" fmla="*/ 3613 h 3956"/>
                          <a:gd name="connsiteX21" fmla="*/ 3867 w 4310"/>
                          <a:gd name="connsiteY21" fmla="*/ 3015 h 3956"/>
                          <a:gd name="connsiteX22" fmla="*/ 4226 w 4310"/>
                          <a:gd name="connsiteY22" fmla="*/ 2298 h 3956"/>
                          <a:gd name="connsiteX23" fmla="*/ 4285 w 4310"/>
                          <a:gd name="connsiteY23" fmla="*/ 1520 h 3956"/>
                          <a:gd name="connsiteX24" fmla="*/ 4046 w 4310"/>
                          <a:gd name="connsiteY24" fmla="*/ 802 h 3956"/>
                          <a:gd name="connsiteX25" fmla="*/ 3508 w 4310"/>
                          <a:gd name="connsiteY25" fmla="*/ 264 h 3956"/>
                          <a:gd name="connsiteX26" fmla="*/ 2790 w 4310"/>
                          <a:gd name="connsiteY26" fmla="*/ 25 h 3956"/>
                          <a:gd name="connsiteX27" fmla="*/ 1953 w 4310"/>
                          <a:gd name="connsiteY27" fmla="*/ 85 h 3956"/>
                          <a:gd name="connsiteX28" fmla="*/ 1176 w 4310"/>
                          <a:gd name="connsiteY28" fmla="*/ 384 h 3956"/>
                          <a:gd name="connsiteX29" fmla="*/ 518 w 4310"/>
                          <a:gd name="connsiteY29" fmla="*/ 982 h 3956"/>
                          <a:gd name="connsiteX30" fmla="*/ 99 w 4310"/>
                          <a:gd name="connsiteY30" fmla="*/ 1759 h 3956"/>
                          <a:gd name="connsiteX31" fmla="*/ 39 w 4310"/>
                          <a:gd name="connsiteY31" fmla="*/ 2537 h 3956"/>
                          <a:gd name="connsiteX32" fmla="*/ 278 w 4310"/>
                          <a:gd name="connsiteY32" fmla="*/ 3254 h 3956"/>
                          <a:gd name="connsiteX33" fmla="*/ 817 w 4310"/>
                          <a:gd name="connsiteY33" fmla="*/ 3613 h 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10" h="3956">
                            <a:moveTo>
                              <a:pt x="2730" y="1221"/>
                            </a:moveTo>
                            <a:cubicBezTo>
                              <a:pt x="2850" y="1281"/>
                              <a:pt x="2910" y="1340"/>
                              <a:pt x="2970" y="1460"/>
                            </a:cubicBezTo>
                            <a:cubicBezTo>
                              <a:pt x="3030" y="1520"/>
                              <a:pt x="3089" y="1639"/>
                              <a:pt x="3089" y="1759"/>
                            </a:cubicBezTo>
                            <a:cubicBezTo>
                              <a:pt x="3089" y="1879"/>
                              <a:pt x="3089" y="1998"/>
                              <a:pt x="3089" y="2058"/>
                            </a:cubicBezTo>
                            <a:cubicBezTo>
                              <a:pt x="3089" y="2118"/>
                              <a:pt x="3030" y="2298"/>
                              <a:pt x="2910" y="2357"/>
                            </a:cubicBezTo>
                            <a:cubicBezTo>
                              <a:pt x="2850" y="2477"/>
                              <a:pt x="2730" y="2537"/>
                              <a:pt x="2611" y="2596"/>
                            </a:cubicBezTo>
                            <a:cubicBezTo>
                              <a:pt x="2491" y="2656"/>
                              <a:pt x="2372" y="2716"/>
                              <a:pt x="2312" y="2716"/>
                            </a:cubicBezTo>
                            <a:cubicBezTo>
                              <a:pt x="2192" y="2716"/>
                              <a:pt x="2073" y="2716"/>
                              <a:pt x="1953" y="2716"/>
                            </a:cubicBezTo>
                            <a:cubicBezTo>
                              <a:pt x="1833" y="2716"/>
                              <a:pt x="1714" y="2656"/>
                              <a:pt x="1654" y="2596"/>
                            </a:cubicBezTo>
                            <a:cubicBezTo>
                              <a:pt x="1594" y="2537"/>
                              <a:pt x="1475" y="2477"/>
                              <a:pt x="1415" y="2357"/>
                            </a:cubicBezTo>
                            <a:cubicBezTo>
                              <a:pt x="1355" y="2298"/>
                              <a:pt x="1355" y="2178"/>
                              <a:pt x="1295" y="2058"/>
                            </a:cubicBezTo>
                            <a:cubicBezTo>
                              <a:pt x="1295" y="1939"/>
                              <a:pt x="1295" y="1879"/>
                              <a:pt x="1295" y="1759"/>
                            </a:cubicBezTo>
                            <a:cubicBezTo>
                              <a:pt x="1355" y="1639"/>
                              <a:pt x="1355" y="1520"/>
                              <a:pt x="1475" y="1460"/>
                            </a:cubicBezTo>
                            <a:cubicBezTo>
                              <a:pt x="1535" y="1340"/>
                              <a:pt x="1654" y="1281"/>
                              <a:pt x="1774" y="1221"/>
                            </a:cubicBezTo>
                            <a:cubicBezTo>
                              <a:pt x="1893" y="1161"/>
                              <a:pt x="2013" y="1101"/>
                              <a:pt x="2073" y="1101"/>
                            </a:cubicBezTo>
                            <a:cubicBezTo>
                              <a:pt x="2132" y="1101"/>
                              <a:pt x="2312" y="1101"/>
                              <a:pt x="2431" y="1101"/>
                            </a:cubicBezTo>
                            <a:cubicBezTo>
                              <a:pt x="2551" y="1101"/>
                              <a:pt x="2611" y="1161"/>
                              <a:pt x="2730" y="1221"/>
                            </a:cubicBezTo>
                            <a:moveTo>
                              <a:pt x="817" y="3613"/>
                            </a:moveTo>
                            <a:cubicBezTo>
                              <a:pt x="1056" y="3733"/>
                              <a:pt x="1295" y="3852"/>
                              <a:pt x="1594" y="3912"/>
                            </a:cubicBezTo>
                            <a:cubicBezTo>
                              <a:pt x="1833" y="3972"/>
                              <a:pt x="2132" y="3972"/>
                              <a:pt x="2431" y="3912"/>
                            </a:cubicBezTo>
                            <a:cubicBezTo>
                              <a:pt x="2730" y="3852"/>
                              <a:pt x="2970" y="3733"/>
                              <a:pt x="3209" y="3613"/>
                            </a:cubicBezTo>
                            <a:cubicBezTo>
                              <a:pt x="3448" y="3434"/>
                              <a:pt x="3688" y="3254"/>
                              <a:pt x="3867" y="3015"/>
                            </a:cubicBezTo>
                            <a:cubicBezTo>
                              <a:pt x="4046" y="2776"/>
                              <a:pt x="4166" y="2537"/>
                              <a:pt x="4226" y="2298"/>
                            </a:cubicBezTo>
                            <a:cubicBezTo>
                              <a:pt x="4285" y="2058"/>
                              <a:pt x="4345" y="1759"/>
                              <a:pt x="4285" y="1520"/>
                            </a:cubicBezTo>
                            <a:cubicBezTo>
                              <a:pt x="4285" y="1281"/>
                              <a:pt x="4166" y="1041"/>
                              <a:pt x="4046" y="802"/>
                            </a:cubicBezTo>
                            <a:cubicBezTo>
                              <a:pt x="3927" y="563"/>
                              <a:pt x="3747" y="384"/>
                              <a:pt x="3508" y="264"/>
                            </a:cubicBezTo>
                            <a:cubicBezTo>
                              <a:pt x="3269" y="144"/>
                              <a:pt x="3030" y="25"/>
                              <a:pt x="2790" y="25"/>
                            </a:cubicBezTo>
                            <a:cubicBezTo>
                              <a:pt x="2551" y="-35"/>
                              <a:pt x="2252" y="25"/>
                              <a:pt x="1953" y="85"/>
                            </a:cubicBezTo>
                            <a:cubicBezTo>
                              <a:pt x="1654" y="144"/>
                              <a:pt x="1415" y="264"/>
                              <a:pt x="1176" y="384"/>
                            </a:cubicBezTo>
                            <a:cubicBezTo>
                              <a:pt x="936" y="503"/>
                              <a:pt x="697" y="742"/>
                              <a:pt x="518" y="982"/>
                            </a:cubicBezTo>
                            <a:cubicBezTo>
                              <a:pt x="338" y="1221"/>
                              <a:pt x="219" y="1460"/>
                              <a:pt x="99" y="1759"/>
                            </a:cubicBezTo>
                            <a:cubicBezTo>
                              <a:pt x="-21" y="2058"/>
                              <a:pt x="-21" y="2298"/>
                              <a:pt x="39" y="2537"/>
                            </a:cubicBezTo>
                            <a:cubicBezTo>
                              <a:pt x="39" y="2776"/>
                              <a:pt x="159" y="3015"/>
                              <a:pt x="278" y="3254"/>
                            </a:cubicBezTo>
                            <a:cubicBezTo>
                              <a:pt x="398" y="3493"/>
                              <a:pt x="577" y="3493"/>
                              <a:pt x="817" y="3613"/>
                            </a:cubicBezTo>
                          </a:path>
                        </a:pathLst>
                      </a:custGeom>
                      <a:noFill/>
                      <a:ln w="6350" cap="flat">
                        <a:solidFill>
                          <a:schemeClr val="bg1">
                            <a:alpha val="40000"/>
                          </a:schemeClr>
                        </a:solidFill>
                        <a:prstDash val="solid"/>
                        <a:miter/>
                      </a:ln>
                    </p:spPr>
                    <p:txBody>
                      <a:bodyPr rtlCol="0" anchor="ctr"/>
                      <a:lstStyle/>
                      <a:p>
                        <a:endParaRPr lang="en-GB"/>
                      </a:p>
                    </p:txBody>
                  </p:sp>
                  <p:sp>
                    <p:nvSpPr>
                      <p:cNvPr id="7405" name="Vrije vorm: vorm 7404">
                        <a:extLst>
                          <a:ext uri="{FF2B5EF4-FFF2-40B4-BE49-F238E27FC236}">
                            <a16:creationId xmlns:a16="http://schemas.microsoft.com/office/drawing/2014/main" id="{4C80E531-C7A9-4EF4-90B5-74AD64A0B465}"/>
                          </a:ext>
                        </a:extLst>
                      </p:cNvPr>
                      <p:cNvSpPr/>
                      <p:nvPr/>
                    </p:nvSpPr>
                    <p:spPr>
                      <a:xfrm>
                        <a:off x="4705412" y="5184443"/>
                        <a:ext cx="4689" cy="4216"/>
                      </a:xfrm>
                      <a:custGeom>
                        <a:avLst/>
                        <a:gdLst>
                          <a:gd name="connsiteX0" fmla="*/ 2871 w 4689"/>
                          <a:gd name="connsiteY0" fmla="*/ 1301 h 4216"/>
                          <a:gd name="connsiteX1" fmla="*/ 3110 w 4689"/>
                          <a:gd name="connsiteY1" fmla="*/ 1540 h 4216"/>
                          <a:gd name="connsiteX2" fmla="*/ 3229 w 4689"/>
                          <a:gd name="connsiteY2" fmla="*/ 1839 h 4216"/>
                          <a:gd name="connsiteX3" fmla="*/ 3229 w 4689"/>
                          <a:gd name="connsiteY3" fmla="*/ 2198 h 4216"/>
                          <a:gd name="connsiteX4" fmla="*/ 3050 w 4689"/>
                          <a:gd name="connsiteY4" fmla="*/ 2557 h 4216"/>
                          <a:gd name="connsiteX5" fmla="*/ 2751 w 4689"/>
                          <a:gd name="connsiteY5" fmla="*/ 2796 h 4216"/>
                          <a:gd name="connsiteX6" fmla="*/ 2392 w 4689"/>
                          <a:gd name="connsiteY6" fmla="*/ 2916 h 4216"/>
                          <a:gd name="connsiteX7" fmla="*/ 2034 w 4689"/>
                          <a:gd name="connsiteY7" fmla="*/ 2916 h 4216"/>
                          <a:gd name="connsiteX8" fmla="*/ 1734 w 4689"/>
                          <a:gd name="connsiteY8" fmla="*/ 2796 h 4216"/>
                          <a:gd name="connsiteX9" fmla="*/ 1495 w 4689"/>
                          <a:gd name="connsiteY9" fmla="*/ 2557 h 4216"/>
                          <a:gd name="connsiteX10" fmla="*/ 1375 w 4689"/>
                          <a:gd name="connsiteY10" fmla="*/ 2258 h 4216"/>
                          <a:gd name="connsiteX11" fmla="*/ 1375 w 4689"/>
                          <a:gd name="connsiteY11" fmla="*/ 1899 h 4216"/>
                          <a:gd name="connsiteX12" fmla="*/ 1555 w 4689"/>
                          <a:gd name="connsiteY12" fmla="*/ 1540 h 4216"/>
                          <a:gd name="connsiteX13" fmla="*/ 1854 w 4689"/>
                          <a:gd name="connsiteY13" fmla="*/ 1301 h 4216"/>
                          <a:gd name="connsiteX14" fmla="*/ 2213 w 4689"/>
                          <a:gd name="connsiteY14" fmla="*/ 1181 h 4216"/>
                          <a:gd name="connsiteX15" fmla="*/ 2572 w 4689"/>
                          <a:gd name="connsiteY15" fmla="*/ 1181 h 4216"/>
                          <a:gd name="connsiteX16" fmla="*/ 2871 w 4689"/>
                          <a:gd name="connsiteY16" fmla="*/ 1301 h 4216"/>
                          <a:gd name="connsiteX17" fmla="*/ 897 w 4689"/>
                          <a:gd name="connsiteY17" fmla="*/ 3872 h 4216"/>
                          <a:gd name="connsiteX18" fmla="*/ 1734 w 4689"/>
                          <a:gd name="connsiteY18" fmla="*/ 4171 h 4216"/>
                          <a:gd name="connsiteX19" fmla="*/ 2632 w 4689"/>
                          <a:gd name="connsiteY19" fmla="*/ 4171 h 4216"/>
                          <a:gd name="connsiteX20" fmla="*/ 3469 w 4689"/>
                          <a:gd name="connsiteY20" fmla="*/ 3872 h 4216"/>
                          <a:gd name="connsiteX21" fmla="*/ 4187 w 4689"/>
                          <a:gd name="connsiteY21" fmla="*/ 3274 h 4216"/>
                          <a:gd name="connsiteX22" fmla="*/ 4605 w 4689"/>
                          <a:gd name="connsiteY22" fmla="*/ 2497 h 4216"/>
                          <a:gd name="connsiteX23" fmla="*/ 4665 w 4689"/>
                          <a:gd name="connsiteY23" fmla="*/ 1660 h 4216"/>
                          <a:gd name="connsiteX24" fmla="*/ 4366 w 4689"/>
                          <a:gd name="connsiteY24" fmla="*/ 942 h 4216"/>
                          <a:gd name="connsiteX25" fmla="*/ 3768 w 4689"/>
                          <a:gd name="connsiteY25" fmla="*/ 344 h 4216"/>
                          <a:gd name="connsiteX26" fmla="*/ 2930 w 4689"/>
                          <a:gd name="connsiteY26" fmla="*/ 45 h 4216"/>
                          <a:gd name="connsiteX27" fmla="*/ 2034 w 4689"/>
                          <a:gd name="connsiteY27" fmla="*/ 45 h 4216"/>
                          <a:gd name="connsiteX28" fmla="*/ 1196 w 4689"/>
                          <a:gd name="connsiteY28" fmla="*/ 344 h 4216"/>
                          <a:gd name="connsiteX29" fmla="*/ 479 w 4689"/>
                          <a:gd name="connsiteY29" fmla="*/ 942 h 4216"/>
                          <a:gd name="connsiteX30" fmla="*/ 60 w 4689"/>
                          <a:gd name="connsiteY30" fmla="*/ 1719 h 4216"/>
                          <a:gd name="connsiteX31" fmla="*/ 0 w 4689"/>
                          <a:gd name="connsiteY31" fmla="*/ 2557 h 4216"/>
                          <a:gd name="connsiteX32" fmla="*/ 299 w 4689"/>
                          <a:gd name="connsiteY32" fmla="*/ 3274 h 4216"/>
                          <a:gd name="connsiteX33" fmla="*/ 897 w 4689"/>
                          <a:gd name="connsiteY33" fmla="*/ 3872 h 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89" h="4216">
                            <a:moveTo>
                              <a:pt x="2871" y="1301"/>
                            </a:moveTo>
                            <a:cubicBezTo>
                              <a:pt x="2990" y="1361"/>
                              <a:pt x="3050" y="1420"/>
                              <a:pt x="3110" y="1540"/>
                            </a:cubicBezTo>
                            <a:cubicBezTo>
                              <a:pt x="3170" y="1660"/>
                              <a:pt x="3229" y="1719"/>
                              <a:pt x="3229" y="1839"/>
                            </a:cubicBezTo>
                            <a:cubicBezTo>
                              <a:pt x="3229" y="1959"/>
                              <a:pt x="3229" y="2078"/>
                              <a:pt x="3229" y="2198"/>
                            </a:cubicBezTo>
                            <a:cubicBezTo>
                              <a:pt x="3170" y="2317"/>
                              <a:pt x="3110" y="2437"/>
                              <a:pt x="3050" y="2557"/>
                            </a:cubicBezTo>
                            <a:cubicBezTo>
                              <a:pt x="2990" y="2676"/>
                              <a:pt x="2871" y="2736"/>
                              <a:pt x="2751" y="2796"/>
                            </a:cubicBezTo>
                            <a:cubicBezTo>
                              <a:pt x="2632" y="2856"/>
                              <a:pt x="2512" y="2916"/>
                              <a:pt x="2392" y="2916"/>
                            </a:cubicBezTo>
                            <a:cubicBezTo>
                              <a:pt x="2273" y="2916"/>
                              <a:pt x="2153" y="2916"/>
                              <a:pt x="2034" y="2916"/>
                            </a:cubicBezTo>
                            <a:cubicBezTo>
                              <a:pt x="1914" y="2916"/>
                              <a:pt x="1794" y="2856"/>
                              <a:pt x="1734" y="2796"/>
                            </a:cubicBezTo>
                            <a:cubicBezTo>
                              <a:pt x="1615" y="2736"/>
                              <a:pt x="1555" y="2617"/>
                              <a:pt x="1495" y="2557"/>
                            </a:cubicBezTo>
                            <a:cubicBezTo>
                              <a:pt x="1435" y="2437"/>
                              <a:pt x="1375" y="2377"/>
                              <a:pt x="1375" y="2258"/>
                            </a:cubicBezTo>
                            <a:cubicBezTo>
                              <a:pt x="1375" y="2138"/>
                              <a:pt x="1375" y="2018"/>
                              <a:pt x="1375" y="1899"/>
                            </a:cubicBezTo>
                            <a:cubicBezTo>
                              <a:pt x="1375" y="1779"/>
                              <a:pt x="1435" y="1660"/>
                              <a:pt x="1555" y="1540"/>
                            </a:cubicBezTo>
                            <a:cubicBezTo>
                              <a:pt x="1675" y="1420"/>
                              <a:pt x="1734" y="1361"/>
                              <a:pt x="1854" y="1301"/>
                            </a:cubicBezTo>
                            <a:cubicBezTo>
                              <a:pt x="1974" y="1241"/>
                              <a:pt x="2093" y="1181"/>
                              <a:pt x="2213" y="1181"/>
                            </a:cubicBezTo>
                            <a:cubicBezTo>
                              <a:pt x="2333" y="1181"/>
                              <a:pt x="2452" y="1181"/>
                              <a:pt x="2572" y="1181"/>
                            </a:cubicBezTo>
                            <a:cubicBezTo>
                              <a:pt x="2691" y="1181"/>
                              <a:pt x="2811" y="1241"/>
                              <a:pt x="2871" y="1301"/>
                            </a:cubicBezTo>
                            <a:moveTo>
                              <a:pt x="897" y="3872"/>
                            </a:moveTo>
                            <a:cubicBezTo>
                              <a:pt x="1136" y="4052"/>
                              <a:pt x="1435" y="4112"/>
                              <a:pt x="1734" y="4171"/>
                            </a:cubicBezTo>
                            <a:cubicBezTo>
                              <a:pt x="2034" y="4231"/>
                              <a:pt x="2333" y="4231"/>
                              <a:pt x="2632" y="4171"/>
                            </a:cubicBezTo>
                            <a:cubicBezTo>
                              <a:pt x="2930" y="4112"/>
                              <a:pt x="3229" y="3992"/>
                              <a:pt x="3469" y="3872"/>
                            </a:cubicBezTo>
                            <a:cubicBezTo>
                              <a:pt x="3708" y="3693"/>
                              <a:pt x="3947" y="3514"/>
                              <a:pt x="4187" y="3274"/>
                            </a:cubicBezTo>
                            <a:cubicBezTo>
                              <a:pt x="4366" y="3035"/>
                              <a:pt x="4545" y="2736"/>
                              <a:pt x="4605" y="2497"/>
                            </a:cubicBezTo>
                            <a:cubicBezTo>
                              <a:pt x="4665" y="2198"/>
                              <a:pt x="4725" y="1959"/>
                              <a:pt x="4665" y="1660"/>
                            </a:cubicBezTo>
                            <a:cubicBezTo>
                              <a:pt x="4605" y="1420"/>
                              <a:pt x="4545" y="1121"/>
                              <a:pt x="4366" y="942"/>
                            </a:cubicBezTo>
                            <a:cubicBezTo>
                              <a:pt x="4246" y="703"/>
                              <a:pt x="4007" y="523"/>
                              <a:pt x="3768" y="344"/>
                            </a:cubicBezTo>
                            <a:cubicBezTo>
                              <a:pt x="3529" y="164"/>
                              <a:pt x="3229" y="104"/>
                              <a:pt x="2930" y="45"/>
                            </a:cubicBezTo>
                            <a:cubicBezTo>
                              <a:pt x="2632" y="-15"/>
                              <a:pt x="2333" y="-15"/>
                              <a:pt x="2034" y="45"/>
                            </a:cubicBezTo>
                            <a:cubicBezTo>
                              <a:pt x="1734" y="104"/>
                              <a:pt x="1435" y="224"/>
                              <a:pt x="1196" y="344"/>
                            </a:cubicBezTo>
                            <a:cubicBezTo>
                              <a:pt x="957" y="523"/>
                              <a:pt x="718" y="703"/>
                              <a:pt x="479" y="942"/>
                            </a:cubicBezTo>
                            <a:cubicBezTo>
                              <a:pt x="239" y="1181"/>
                              <a:pt x="120" y="1480"/>
                              <a:pt x="60" y="1719"/>
                            </a:cubicBezTo>
                            <a:cubicBezTo>
                              <a:pt x="0" y="1959"/>
                              <a:pt x="0" y="2258"/>
                              <a:pt x="0" y="2557"/>
                            </a:cubicBezTo>
                            <a:cubicBezTo>
                              <a:pt x="60" y="2796"/>
                              <a:pt x="120" y="3095"/>
                              <a:pt x="299" y="3274"/>
                            </a:cubicBezTo>
                            <a:cubicBezTo>
                              <a:pt x="419" y="3514"/>
                              <a:pt x="598" y="3693"/>
                              <a:pt x="897" y="3872"/>
                            </a:cubicBezTo>
                          </a:path>
                        </a:pathLst>
                      </a:custGeom>
                      <a:noFill/>
                      <a:ln w="6350" cap="flat">
                        <a:solidFill>
                          <a:schemeClr val="bg1">
                            <a:alpha val="40000"/>
                          </a:schemeClr>
                        </a:solidFill>
                        <a:prstDash val="solid"/>
                        <a:miter/>
                      </a:ln>
                    </p:spPr>
                    <p:txBody>
                      <a:bodyPr rtlCol="0" anchor="ctr"/>
                      <a:lstStyle/>
                      <a:p>
                        <a:endParaRPr lang="en-GB"/>
                      </a:p>
                    </p:txBody>
                  </p:sp>
                  <p:sp>
                    <p:nvSpPr>
                      <p:cNvPr id="7406" name="Vrije vorm: vorm 7405">
                        <a:extLst>
                          <a:ext uri="{FF2B5EF4-FFF2-40B4-BE49-F238E27FC236}">
                            <a16:creationId xmlns:a16="http://schemas.microsoft.com/office/drawing/2014/main" id="{4B1944C7-2F24-4900-9A96-6F64A8132CA4}"/>
                          </a:ext>
                        </a:extLst>
                      </p:cNvPr>
                      <p:cNvSpPr/>
                      <p:nvPr/>
                    </p:nvSpPr>
                    <p:spPr>
                      <a:xfrm>
                        <a:off x="4724406" y="5160162"/>
                        <a:ext cx="4714" cy="4276"/>
                      </a:xfrm>
                      <a:custGeom>
                        <a:avLst/>
                        <a:gdLst>
                          <a:gd name="connsiteX0" fmla="*/ 3015 w 4714"/>
                          <a:gd name="connsiteY0" fmla="*/ 1420 h 4276"/>
                          <a:gd name="connsiteX1" fmla="*/ 3255 w 4714"/>
                          <a:gd name="connsiteY1" fmla="*/ 1660 h 4276"/>
                          <a:gd name="connsiteX2" fmla="*/ 3374 w 4714"/>
                          <a:gd name="connsiteY2" fmla="*/ 1959 h 4276"/>
                          <a:gd name="connsiteX3" fmla="*/ 3374 w 4714"/>
                          <a:gd name="connsiteY3" fmla="*/ 2317 h 4276"/>
                          <a:gd name="connsiteX4" fmla="*/ 3195 w 4714"/>
                          <a:gd name="connsiteY4" fmla="*/ 2676 h 4276"/>
                          <a:gd name="connsiteX5" fmla="*/ 2895 w 4714"/>
                          <a:gd name="connsiteY5" fmla="*/ 2916 h 4276"/>
                          <a:gd name="connsiteX6" fmla="*/ 2537 w 4714"/>
                          <a:gd name="connsiteY6" fmla="*/ 3035 h 4276"/>
                          <a:gd name="connsiteX7" fmla="*/ 2178 w 4714"/>
                          <a:gd name="connsiteY7" fmla="*/ 3035 h 4276"/>
                          <a:gd name="connsiteX8" fmla="*/ 1879 w 4714"/>
                          <a:gd name="connsiteY8" fmla="*/ 2916 h 4276"/>
                          <a:gd name="connsiteX9" fmla="*/ 1640 w 4714"/>
                          <a:gd name="connsiteY9" fmla="*/ 2676 h 4276"/>
                          <a:gd name="connsiteX10" fmla="*/ 1520 w 4714"/>
                          <a:gd name="connsiteY10" fmla="*/ 2377 h 4276"/>
                          <a:gd name="connsiteX11" fmla="*/ 1520 w 4714"/>
                          <a:gd name="connsiteY11" fmla="*/ 2018 h 4276"/>
                          <a:gd name="connsiteX12" fmla="*/ 1700 w 4714"/>
                          <a:gd name="connsiteY12" fmla="*/ 1660 h 4276"/>
                          <a:gd name="connsiteX13" fmla="*/ 1999 w 4714"/>
                          <a:gd name="connsiteY13" fmla="*/ 1420 h 4276"/>
                          <a:gd name="connsiteX14" fmla="*/ 2357 w 4714"/>
                          <a:gd name="connsiteY14" fmla="*/ 1301 h 4276"/>
                          <a:gd name="connsiteX15" fmla="*/ 2716 w 4714"/>
                          <a:gd name="connsiteY15" fmla="*/ 1301 h 4276"/>
                          <a:gd name="connsiteX16" fmla="*/ 3015 w 4714"/>
                          <a:gd name="connsiteY16" fmla="*/ 1420 h 4276"/>
                          <a:gd name="connsiteX17" fmla="*/ 982 w 4714"/>
                          <a:gd name="connsiteY17" fmla="*/ 3932 h 4276"/>
                          <a:gd name="connsiteX18" fmla="*/ 1759 w 4714"/>
                          <a:gd name="connsiteY18" fmla="*/ 4231 h 4276"/>
                          <a:gd name="connsiteX19" fmla="*/ 2656 w 4714"/>
                          <a:gd name="connsiteY19" fmla="*/ 4231 h 4276"/>
                          <a:gd name="connsiteX20" fmla="*/ 3494 w 4714"/>
                          <a:gd name="connsiteY20" fmla="*/ 3932 h 4276"/>
                          <a:gd name="connsiteX21" fmla="*/ 4211 w 4714"/>
                          <a:gd name="connsiteY21" fmla="*/ 3334 h 4276"/>
                          <a:gd name="connsiteX22" fmla="*/ 4630 w 4714"/>
                          <a:gd name="connsiteY22" fmla="*/ 2557 h 4276"/>
                          <a:gd name="connsiteX23" fmla="*/ 4690 w 4714"/>
                          <a:gd name="connsiteY23" fmla="*/ 1719 h 4276"/>
                          <a:gd name="connsiteX24" fmla="*/ 4391 w 4714"/>
                          <a:gd name="connsiteY24" fmla="*/ 942 h 4276"/>
                          <a:gd name="connsiteX25" fmla="*/ 3793 w 4714"/>
                          <a:gd name="connsiteY25" fmla="*/ 344 h 4276"/>
                          <a:gd name="connsiteX26" fmla="*/ 2955 w 4714"/>
                          <a:gd name="connsiteY26" fmla="*/ 45 h 4276"/>
                          <a:gd name="connsiteX27" fmla="*/ 2058 w 4714"/>
                          <a:gd name="connsiteY27" fmla="*/ 45 h 4276"/>
                          <a:gd name="connsiteX28" fmla="*/ 1221 w 4714"/>
                          <a:gd name="connsiteY28" fmla="*/ 344 h 4276"/>
                          <a:gd name="connsiteX29" fmla="*/ 503 w 4714"/>
                          <a:gd name="connsiteY29" fmla="*/ 942 h 4276"/>
                          <a:gd name="connsiteX30" fmla="*/ 85 w 4714"/>
                          <a:gd name="connsiteY30" fmla="*/ 1719 h 4276"/>
                          <a:gd name="connsiteX31" fmla="*/ 25 w 4714"/>
                          <a:gd name="connsiteY31" fmla="*/ 2557 h 4276"/>
                          <a:gd name="connsiteX32" fmla="*/ 324 w 4714"/>
                          <a:gd name="connsiteY32" fmla="*/ 3334 h 4276"/>
                          <a:gd name="connsiteX33" fmla="*/ 982 w 4714"/>
                          <a:gd name="connsiteY33" fmla="*/ 3932 h 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714" h="4276">
                            <a:moveTo>
                              <a:pt x="3015" y="1420"/>
                            </a:moveTo>
                            <a:cubicBezTo>
                              <a:pt x="3135" y="1480"/>
                              <a:pt x="3195" y="1540"/>
                              <a:pt x="3255" y="1660"/>
                            </a:cubicBezTo>
                            <a:cubicBezTo>
                              <a:pt x="3314" y="1779"/>
                              <a:pt x="3374" y="1839"/>
                              <a:pt x="3374" y="1959"/>
                            </a:cubicBezTo>
                            <a:cubicBezTo>
                              <a:pt x="3374" y="2078"/>
                              <a:pt x="3374" y="2198"/>
                              <a:pt x="3374" y="2317"/>
                            </a:cubicBezTo>
                            <a:cubicBezTo>
                              <a:pt x="3314" y="2437"/>
                              <a:pt x="3314" y="2557"/>
                              <a:pt x="3195" y="2676"/>
                            </a:cubicBezTo>
                            <a:cubicBezTo>
                              <a:pt x="3135" y="2796"/>
                              <a:pt x="3015" y="2856"/>
                              <a:pt x="2895" y="2916"/>
                            </a:cubicBezTo>
                            <a:cubicBezTo>
                              <a:pt x="2776" y="2975"/>
                              <a:pt x="2656" y="3035"/>
                              <a:pt x="2537" y="3035"/>
                            </a:cubicBezTo>
                            <a:cubicBezTo>
                              <a:pt x="2417" y="3035"/>
                              <a:pt x="2298" y="3035"/>
                              <a:pt x="2178" y="3035"/>
                            </a:cubicBezTo>
                            <a:cubicBezTo>
                              <a:pt x="2058" y="3035"/>
                              <a:pt x="1939" y="2975"/>
                              <a:pt x="1879" y="2916"/>
                            </a:cubicBezTo>
                            <a:cubicBezTo>
                              <a:pt x="1759" y="2856"/>
                              <a:pt x="1700" y="2736"/>
                              <a:pt x="1640" y="2676"/>
                            </a:cubicBezTo>
                            <a:cubicBezTo>
                              <a:pt x="1580" y="2557"/>
                              <a:pt x="1520" y="2497"/>
                              <a:pt x="1520" y="2377"/>
                            </a:cubicBezTo>
                            <a:cubicBezTo>
                              <a:pt x="1520" y="2258"/>
                              <a:pt x="1520" y="2138"/>
                              <a:pt x="1520" y="2018"/>
                            </a:cubicBezTo>
                            <a:cubicBezTo>
                              <a:pt x="1520" y="1899"/>
                              <a:pt x="1580" y="1779"/>
                              <a:pt x="1700" y="1660"/>
                            </a:cubicBezTo>
                            <a:cubicBezTo>
                              <a:pt x="1759" y="1540"/>
                              <a:pt x="1879" y="1480"/>
                              <a:pt x="1999" y="1420"/>
                            </a:cubicBezTo>
                            <a:cubicBezTo>
                              <a:pt x="2118" y="1361"/>
                              <a:pt x="2238" y="1301"/>
                              <a:pt x="2357" y="1301"/>
                            </a:cubicBezTo>
                            <a:cubicBezTo>
                              <a:pt x="2477" y="1301"/>
                              <a:pt x="2596" y="1301"/>
                              <a:pt x="2716" y="1301"/>
                            </a:cubicBezTo>
                            <a:cubicBezTo>
                              <a:pt x="2836" y="1301"/>
                              <a:pt x="2895" y="1361"/>
                              <a:pt x="3015" y="1420"/>
                            </a:cubicBezTo>
                            <a:moveTo>
                              <a:pt x="982" y="3932"/>
                            </a:moveTo>
                            <a:cubicBezTo>
                              <a:pt x="1221" y="4112"/>
                              <a:pt x="1520" y="4171"/>
                              <a:pt x="1759" y="4231"/>
                            </a:cubicBezTo>
                            <a:cubicBezTo>
                              <a:pt x="2058" y="4291"/>
                              <a:pt x="2357" y="4291"/>
                              <a:pt x="2656" y="4231"/>
                            </a:cubicBezTo>
                            <a:cubicBezTo>
                              <a:pt x="2955" y="4171"/>
                              <a:pt x="3255" y="4052"/>
                              <a:pt x="3494" y="3932"/>
                            </a:cubicBezTo>
                            <a:cubicBezTo>
                              <a:pt x="3733" y="3753"/>
                              <a:pt x="3972" y="3573"/>
                              <a:pt x="4211" y="3334"/>
                            </a:cubicBezTo>
                            <a:cubicBezTo>
                              <a:pt x="4391" y="3095"/>
                              <a:pt x="4510" y="2856"/>
                              <a:pt x="4630" y="2557"/>
                            </a:cubicBezTo>
                            <a:cubicBezTo>
                              <a:pt x="4690" y="2258"/>
                              <a:pt x="4750" y="2018"/>
                              <a:pt x="4690" y="1719"/>
                            </a:cubicBezTo>
                            <a:cubicBezTo>
                              <a:pt x="4630" y="1420"/>
                              <a:pt x="4570" y="1181"/>
                              <a:pt x="4391" y="942"/>
                            </a:cubicBezTo>
                            <a:cubicBezTo>
                              <a:pt x="4271" y="703"/>
                              <a:pt x="4032" y="523"/>
                              <a:pt x="3793" y="344"/>
                            </a:cubicBezTo>
                            <a:cubicBezTo>
                              <a:pt x="3554" y="164"/>
                              <a:pt x="3255" y="104"/>
                              <a:pt x="2955" y="45"/>
                            </a:cubicBezTo>
                            <a:cubicBezTo>
                              <a:pt x="2656" y="-15"/>
                              <a:pt x="2357" y="-15"/>
                              <a:pt x="2058" y="45"/>
                            </a:cubicBezTo>
                            <a:cubicBezTo>
                              <a:pt x="1759" y="104"/>
                              <a:pt x="1460" y="224"/>
                              <a:pt x="1221" y="344"/>
                            </a:cubicBezTo>
                            <a:cubicBezTo>
                              <a:pt x="982" y="463"/>
                              <a:pt x="742" y="703"/>
                              <a:pt x="503" y="942"/>
                            </a:cubicBezTo>
                            <a:cubicBezTo>
                              <a:pt x="324" y="1181"/>
                              <a:pt x="145" y="1480"/>
                              <a:pt x="85" y="1719"/>
                            </a:cubicBezTo>
                            <a:cubicBezTo>
                              <a:pt x="25" y="2018"/>
                              <a:pt x="-35" y="2258"/>
                              <a:pt x="25" y="2557"/>
                            </a:cubicBezTo>
                            <a:cubicBezTo>
                              <a:pt x="85" y="2796"/>
                              <a:pt x="145" y="3095"/>
                              <a:pt x="324" y="3334"/>
                            </a:cubicBezTo>
                            <a:cubicBezTo>
                              <a:pt x="503" y="3573"/>
                              <a:pt x="742" y="3753"/>
                              <a:pt x="982" y="3932"/>
                            </a:cubicBezTo>
                          </a:path>
                        </a:pathLst>
                      </a:custGeom>
                      <a:noFill/>
                      <a:ln w="6350" cap="flat">
                        <a:solidFill>
                          <a:schemeClr val="bg1">
                            <a:alpha val="40000"/>
                          </a:schemeClr>
                        </a:solidFill>
                        <a:prstDash val="solid"/>
                        <a:miter/>
                      </a:ln>
                    </p:spPr>
                    <p:txBody>
                      <a:bodyPr rtlCol="0" anchor="ctr"/>
                      <a:lstStyle/>
                      <a:p>
                        <a:endParaRPr lang="en-GB"/>
                      </a:p>
                    </p:txBody>
                  </p:sp>
                  <p:sp>
                    <p:nvSpPr>
                      <p:cNvPr id="7407" name="Vrije vorm: vorm 7406">
                        <a:extLst>
                          <a:ext uri="{FF2B5EF4-FFF2-40B4-BE49-F238E27FC236}">
                            <a16:creationId xmlns:a16="http://schemas.microsoft.com/office/drawing/2014/main" id="{DE353AD1-9989-4329-81D8-8D4ADEEFDB4F}"/>
                          </a:ext>
                        </a:extLst>
                      </p:cNvPr>
                      <p:cNvSpPr/>
                      <p:nvPr/>
                    </p:nvSpPr>
                    <p:spPr>
                      <a:xfrm>
                        <a:off x="4834117" y="5221569"/>
                        <a:ext cx="35465" cy="29843"/>
                      </a:xfrm>
                      <a:custGeom>
                        <a:avLst/>
                        <a:gdLst>
                          <a:gd name="connsiteX0" fmla="*/ 28827 w 35465"/>
                          <a:gd name="connsiteY0" fmla="*/ 12799 h 29843"/>
                          <a:gd name="connsiteX1" fmla="*/ 30023 w 35465"/>
                          <a:gd name="connsiteY1" fmla="*/ 13576 h 29843"/>
                          <a:gd name="connsiteX2" fmla="*/ 30203 w 35465"/>
                          <a:gd name="connsiteY2" fmla="*/ 13337 h 29843"/>
                          <a:gd name="connsiteX3" fmla="*/ 30382 w 35465"/>
                          <a:gd name="connsiteY3" fmla="*/ 13098 h 29843"/>
                          <a:gd name="connsiteX4" fmla="*/ 30561 w 35465"/>
                          <a:gd name="connsiteY4" fmla="*/ 12859 h 29843"/>
                          <a:gd name="connsiteX5" fmla="*/ 30741 w 35465"/>
                          <a:gd name="connsiteY5" fmla="*/ 12620 h 29843"/>
                          <a:gd name="connsiteX6" fmla="*/ 29545 w 35465"/>
                          <a:gd name="connsiteY6" fmla="*/ 11842 h 29843"/>
                          <a:gd name="connsiteX7" fmla="*/ 29365 w 35465"/>
                          <a:gd name="connsiteY7" fmla="*/ 12081 h 29843"/>
                          <a:gd name="connsiteX8" fmla="*/ 29186 w 35465"/>
                          <a:gd name="connsiteY8" fmla="*/ 12320 h 29843"/>
                          <a:gd name="connsiteX9" fmla="*/ 29006 w 35465"/>
                          <a:gd name="connsiteY9" fmla="*/ 12560 h 29843"/>
                          <a:gd name="connsiteX10" fmla="*/ 28827 w 35465"/>
                          <a:gd name="connsiteY10" fmla="*/ 12799 h 29843"/>
                          <a:gd name="connsiteX11" fmla="*/ 24282 w 35465"/>
                          <a:gd name="connsiteY11" fmla="*/ 9808 h 29843"/>
                          <a:gd name="connsiteX12" fmla="*/ 27930 w 35465"/>
                          <a:gd name="connsiteY12" fmla="*/ 12141 h 29843"/>
                          <a:gd name="connsiteX13" fmla="*/ 28109 w 35465"/>
                          <a:gd name="connsiteY13" fmla="*/ 11902 h 29843"/>
                          <a:gd name="connsiteX14" fmla="*/ 28289 w 35465"/>
                          <a:gd name="connsiteY14" fmla="*/ 11662 h 29843"/>
                          <a:gd name="connsiteX15" fmla="*/ 28468 w 35465"/>
                          <a:gd name="connsiteY15" fmla="*/ 11423 h 29843"/>
                          <a:gd name="connsiteX16" fmla="*/ 28648 w 35465"/>
                          <a:gd name="connsiteY16" fmla="*/ 11184 h 29843"/>
                          <a:gd name="connsiteX17" fmla="*/ 24999 w 35465"/>
                          <a:gd name="connsiteY17" fmla="*/ 8852 h 29843"/>
                          <a:gd name="connsiteX18" fmla="*/ 24820 w 35465"/>
                          <a:gd name="connsiteY18" fmla="*/ 9091 h 29843"/>
                          <a:gd name="connsiteX19" fmla="*/ 24641 w 35465"/>
                          <a:gd name="connsiteY19" fmla="*/ 9330 h 29843"/>
                          <a:gd name="connsiteX20" fmla="*/ 24461 w 35465"/>
                          <a:gd name="connsiteY20" fmla="*/ 9569 h 29843"/>
                          <a:gd name="connsiteX21" fmla="*/ 24282 w 35465"/>
                          <a:gd name="connsiteY21" fmla="*/ 9808 h 29843"/>
                          <a:gd name="connsiteX22" fmla="*/ 22129 w 35465"/>
                          <a:gd name="connsiteY22" fmla="*/ 8433 h 29843"/>
                          <a:gd name="connsiteX23" fmla="*/ 23325 w 35465"/>
                          <a:gd name="connsiteY23" fmla="*/ 9211 h 29843"/>
                          <a:gd name="connsiteX24" fmla="*/ 23504 w 35465"/>
                          <a:gd name="connsiteY24" fmla="*/ 8971 h 29843"/>
                          <a:gd name="connsiteX25" fmla="*/ 23683 w 35465"/>
                          <a:gd name="connsiteY25" fmla="*/ 8732 h 29843"/>
                          <a:gd name="connsiteX26" fmla="*/ 23863 w 35465"/>
                          <a:gd name="connsiteY26" fmla="*/ 8493 h 29843"/>
                          <a:gd name="connsiteX27" fmla="*/ 24042 w 35465"/>
                          <a:gd name="connsiteY27" fmla="*/ 8253 h 29843"/>
                          <a:gd name="connsiteX28" fmla="*/ 22846 w 35465"/>
                          <a:gd name="connsiteY28" fmla="*/ 7476 h 29843"/>
                          <a:gd name="connsiteX29" fmla="*/ 22667 w 35465"/>
                          <a:gd name="connsiteY29" fmla="*/ 7715 h 29843"/>
                          <a:gd name="connsiteX30" fmla="*/ 22488 w 35465"/>
                          <a:gd name="connsiteY30" fmla="*/ 7954 h 29843"/>
                          <a:gd name="connsiteX31" fmla="*/ 22308 w 35465"/>
                          <a:gd name="connsiteY31" fmla="*/ 8194 h 29843"/>
                          <a:gd name="connsiteX32" fmla="*/ 22129 w 35465"/>
                          <a:gd name="connsiteY32" fmla="*/ 8433 h 29843"/>
                          <a:gd name="connsiteX33" fmla="*/ 16806 w 35465"/>
                          <a:gd name="connsiteY33" fmla="*/ 5024 h 29843"/>
                          <a:gd name="connsiteX34" fmla="*/ 21172 w 35465"/>
                          <a:gd name="connsiteY34" fmla="*/ 7835 h 29843"/>
                          <a:gd name="connsiteX35" fmla="*/ 21351 w 35465"/>
                          <a:gd name="connsiteY35" fmla="*/ 7596 h 29843"/>
                          <a:gd name="connsiteX36" fmla="*/ 21530 w 35465"/>
                          <a:gd name="connsiteY36" fmla="*/ 7357 h 29843"/>
                          <a:gd name="connsiteX37" fmla="*/ 21710 w 35465"/>
                          <a:gd name="connsiteY37" fmla="*/ 7117 h 29843"/>
                          <a:gd name="connsiteX38" fmla="*/ 21889 w 35465"/>
                          <a:gd name="connsiteY38" fmla="*/ 6878 h 29843"/>
                          <a:gd name="connsiteX39" fmla="*/ 17523 w 35465"/>
                          <a:gd name="connsiteY39" fmla="*/ 4067 h 29843"/>
                          <a:gd name="connsiteX40" fmla="*/ 17284 w 35465"/>
                          <a:gd name="connsiteY40" fmla="*/ 4306 h 29843"/>
                          <a:gd name="connsiteX41" fmla="*/ 17045 w 35465"/>
                          <a:gd name="connsiteY41" fmla="*/ 4545 h 29843"/>
                          <a:gd name="connsiteX42" fmla="*/ 16806 w 35465"/>
                          <a:gd name="connsiteY42" fmla="*/ 4785 h 29843"/>
                          <a:gd name="connsiteX43" fmla="*/ 16806 w 35465"/>
                          <a:gd name="connsiteY43" fmla="*/ 5024 h 29843"/>
                          <a:gd name="connsiteX44" fmla="*/ 14653 w 35465"/>
                          <a:gd name="connsiteY44" fmla="*/ 3589 h 29843"/>
                          <a:gd name="connsiteX45" fmla="*/ 15909 w 35465"/>
                          <a:gd name="connsiteY45" fmla="*/ 4366 h 29843"/>
                          <a:gd name="connsiteX46" fmla="*/ 16148 w 35465"/>
                          <a:gd name="connsiteY46" fmla="*/ 4127 h 29843"/>
                          <a:gd name="connsiteX47" fmla="*/ 16387 w 35465"/>
                          <a:gd name="connsiteY47" fmla="*/ 3888 h 29843"/>
                          <a:gd name="connsiteX48" fmla="*/ 16626 w 35465"/>
                          <a:gd name="connsiteY48" fmla="*/ 3649 h 29843"/>
                          <a:gd name="connsiteX49" fmla="*/ 16866 w 35465"/>
                          <a:gd name="connsiteY49" fmla="*/ 3409 h 29843"/>
                          <a:gd name="connsiteX50" fmla="*/ 15610 w 35465"/>
                          <a:gd name="connsiteY50" fmla="*/ 2632 h 29843"/>
                          <a:gd name="connsiteX51" fmla="*/ 15371 w 35465"/>
                          <a:gd name="connsiteY51" fmla="*/ 2871 h 29843"/>
                          <a:gd name="connsiteX52" fmla="*/ 15131 w 35465"/>
                          <a:gd name="connsiteY52" fmla="*/ 3110 h 29843"/>
                          <a:gd name="connsiteX53" fmla="*/ 14892 w 35465"/>
                          <a:gd name="connsiteY53" fmla="*/ 3349 h 29843"/>
                          <a:gd name="connsiteX54" fmla="*/ 14653 w 35465"/>
                          <a:gd name="connsiteY54" fmla="*/ 3589 h 29843"/>
                          <a:gd name="connsiteX55" fmla="*/ 28588 w 35465"/>
                          <a:gd name="connsiteY55" fmla="*/ 22428 h 29843"/>
                          <a:gd name="connsiteX56" fmla="*/ 29545 w 35465"/>
                          <a:gd name="connsiteY56" fmla="*/ 23026 h 29843"/>
                          <a:gd name="connsiteX57" fmla="*/ 35466 w 35465"/>
                          <a:gd name="connsiteY57" fmla="*/ 15550 h 29843"/>
                          <a:gd name="connsiteX58" fmla="*/ 31817 w 35465"/>
                          <a:gd name="connsiteY58" fmla="*/ 13218 h 29843"/>
                          <a:gd name="connsiteX59" fmla="*/ 31638 w 35465"/>
                          <a:gd name="connsiteY59" fmla="*/ 13457 h 29843"/>
                          <a:gd name="connsiteX60" fmla="*/ 31459 w 35465"/>
                          <a:gd name="connsiteY60" fmla="*/ 13696 h 29843"/>
                          <a:gd name="connsiteX61" fmla="*/ 31279 w 35465"/>
                          <a:gd name="connsiteY61" fmla="*/ 13935 h 29843"/>
                          <a:gd name="connsiteX62" fmla="*/ 31100 w 35465"/>
                          <a:gd name="connsiteY62" fmla="*/ 14174 h 29843"/>
                          <a:gd name="connsiteX63" fmla="*/ 33851 w 35465"/>
                          <a:gd name="connsiteY63" fmla="*/ 15969 h 29843"/>
                          <a:gd name="connsiteX64" fmla="*/ 28588 w 35465"/>
                          <a:gd name="connsiteY64" fmla="*/ 22428 h 29843"/>
                          <a:gd name="connsiteX65" fmla="*/ 5502 w 35465"/>
                          <a:gd name="connsiteY65" fmla="*/ 7596 h 29843"/>
                          <a:gd name="connsiteX66" fmla="*/ 6459 w 35465"/>
                          <a:gd name="connsiteY66" fmla="*/ 8194 h 29843"/>
                          <a:gd name="connsiteX67" fmla="*/ 11662 w 35465"/>
                          <a:gd name="connsiteY67" fmla="*/ 1615 h 29843"/>
                          <a:gd name="connsiteX68" fmla="*/ 13756 w 35465"/>
                          <a:gd name="connsiteY68" fmla="*/ 2930 h 29843"/>
                          <a:gd name="connsiteX69" fmla="*/ 13995 w 35465"/>
                          <a:gd name="connsiteY69" fmla="*/ 2691 h 29843"/>
                          <a:gd name="connsiteX70" fmla="*/ 14234 w 35465"/>
                          <a:gd name="connsiteY70" fmla="*/ 2452 h 29843"/>
                          <a:gd name="connsiteX71" fmla="*/ 14473 w 35465"/>
                          <a:gd name="connsiteY71" fmla="*/ 2213 h 29843"/>
                          <a:gd name="connsiteX72" fmla="*/ 14712 w 35465"/>
                          <a:gd name="connsiteY72" fmla="*/ 1974 h 29843"/>
                          <a:gd name="connsiteX73" fmla="*/ 12201 w 35465"/>
                          <a:gd name="connsiteY73" fmla="*/ 359 h 29843"/>
                          <a:gd name="connsiteX74" fmla="*/ 11662 w 35465"/>
                          <a:gd name="connsiteY74" fmla="*/ 0 h 29843"/>
                          <a:gd name="connsiteX75" fmla="*/ 5502 w 35465"/>
                          <a:gd name="connsiteY75" fmla="*/ 7596 h 29843"/>
                          <a:gd name="connsiteX76" fmla="*/ 26495 w 35465"/>
                          <a:gd name="connsiteY76" fmla="*/ 25059 h 29843"/>
                          <a:gd name="connsiteX77" fmla="*/ 27451 w 35465"/>
                          <a:gd name="connsiteY77" fmla="*/ 25658 h 29843"/>
                          <a:gd name="connsiteX78" fmla="*/ 28767 w 35465"/>
                          <a:gd name="connsiteY78" fmla="*/ 24043 h 29843"/>
                          <a:gd name="connsiteX79" fmla="*/ 27810 w 35465"/>
                          <a:gd name="connsiteY79" fmla="*/ 23445 h 29843"/>
                          <a:gd name="connsiteX80" fmla="*/ 26495 w 35465"/>
                          <a:gd name="connsiteY80" fmla="*/ 25059 h 29843"/>
                          <a:gd name="connsiteX81" fmla="*/ 3409 w 35465"/>
                          <a:gd name="connsiteY81" fmla="*/ 10227 h 29843"/>
                          <a:gd name="connsiteX82" fmla="*/ 4366 w 35465"/>
                          <a:gd name="connsiteY82" fmla="*/ 10825 h 29843"/>
                          <a:gd name="connsiteX83" fmla="*/ 5682 w 35465"/>
                          <a:gd name="connsiteY83" fmla="*/ 9151 h 29843"/>
                          <a:gd name="connsiteX84" fmla="*/ 4725 w 35465"/>
                          <a:gd name="connsiteY84" fmla="*/ 8552 h 29843"/>
                          <a:gd name="connsiteX85" fmla="*/ 3409 w 35465"/>
                          <a:gd name="connsiteY85" fmla="*/ 10227 h 29843"/>
                          <a:gd name="connsiteX86" fmla="*/ 10048 w 35465"/>
                          <a:gd name="connsiteY86" fmla="*/ 20933 h 29843"/>
                          <a:gd name="connsiteX87" fmla="*/ 24102 w 35465"/>
                          <a:gd name="connsiteY87" fmla="*/ 29844 h 29843"/>
                          <a:gd name="connsiteX88" fmla="*/ 26674 w 35465"/>
                          <a:gd name="connsiteY88" fmla="*/ 26554 h 29843"/>
                          <a:gd name="connsiteX89" fmla="*/ 25717 w 35465"/>
                          <a:gd name="connsiteY89" fmla="*/ 25956 h 29843"/>
                          <a:gd name="connsiteX90" fmla="*/ 23923 w 35465"/>
                          <a:gd name="connsiteY90" fmla="*/ 28229 h 29843"/>
                          <a:gd name="connsiteX91" fmla="*/ 10825 w 35465"/>
                          <a:gd name="connsiteY91" fmla="*/ 19856 h 29843"/>
                          <a:gd name="connsiteX92" fmla="*/ 10048 w 35465"/>
                          <a:gd name="connsiteY92" fmla="*/ 20933 h 29843"/>
                          <a:gd name="connsiteX93" fmla="*/ 2990 w 35465"/>
                          <a:gd name="connsiteY93" fmla="*/ 16447 h 29843"/>
                          <a:gd name="connsiteX94" fmla="*/ 9090 w 35465"/>
                          <a:gd name="connsiteY94" fmla="*/ 20335 h 29843"/>
                          <a:gd name="connsiteX95" fmla="*/ 9868 w 35465"/>
                          <a:gd name="connsiteY95" fmla="*/ 19377 h 29843"/>
                          <a:gd name="connsiteX96" fmla="*/ 3768 w 35465"/>
                          <a:gd name="connsiteY96" fmla="*/ 15490 h 29843"/>
                          <a:gd name="connsiteX97" fmla="*/ 2990 w 35465"/>
                          <a:gd name="connsiteY97" fmla="*/ 16447 h 29843"/>
                          <a:gd name="connsiteX98" fmla="*/ 0 w 35465"/>
                          <a:gd name="connsiteY98" fmla="*/ 14533 h 29843"/>
                          <a:gd name="connsiteX99" fmla="*/ 538 w 35465"/>
                          <a:gd name="connsiteY99" fmla="*/ 14892 h 29843"/>
                          <a:gd name="connsiteX100" fmla="*/ 2033 w 35465"/>
                          <a:gd name="connsiteY100" fmla="*/ 15849 h 29843"/>
                          <a:gd name="connsiteX101" fmla="*/ 2811 w 35465"/>
                          <a:gd name="connsiteY101" fmla="*/ 14832 h 29843"/>
                          <a:gd name="connsiteX102" fmla="*/ 1734 w 35465"/>
                          <a:gd name="connsiteY102" fmla="*/ 14115 h 29843"/>
                          <a:gd name="connsiteX103" fmla="*/ 3528 w 35465"/>
                          <a:gd name="connsiteY103" fmla="*/ 11782 h 29843"/>
                          <a:gd name="connsiteX104" fmla="*/ 2572 w 35465"/>
                          <a:gd name="connsiteY104" fmla="*/ 11184 h 29843"/>
                          <a:gd name="connsiteX105" fmla="*/ 0 w 35465"/>
                          <a:gd name="connsiteY105" fmla="*/ 14533 h 29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5465" h="29843">
                            <a:moveTo>
                              <a:pt x="28827" y="12799"/>
                            </a:moveTo>
                            <a:lnTo>
                              <a:pt x="30023" y="13576"/>
                            </a:lnTo>
                            <a:cubicBezTo>
                              <a:pt x="30083" y="13516"/>
                              <a:pt x="30143" y="13397"/>
                              <a:pt x="30203" y="13337"/>
                            </a:cubicBezTo>
                            <a:cubicBezTo>
                              <a:pt x="30262" y="13277"/>
                              <a:pt x="30322" y="13158"/>
                              <a:pt x="30382" y="13098"/>
                            </a:cubicBezTo>
                            <a:cubicBezTo>
                              <a:pt x="30442" y="13038"/>
                              <a:pt x="30502" y="12919"/>
                              <a:pt x="30561" y="12859"/>
                            </a:cubicBezTo>
                            <a:cubicBezTo>
                              <a:pt x="30621" y="12799"/>
                              <a:pt x="30681" y="12679"/>
                              <a:pt x="30741" y="12620"/>
                            </a:cubicBezTo>
                            <a:lnTo>
                              <a:pt x="29545" y="11842"/>
                            </a:lnTo>
                            <a:cubicBezTo>
                              <a:pt x="29485" y="11902"/>
                              <a:pt x="29425" y="12021"/>
                              <a:pt x="29365" y="12081"/>
                            </a:cubicBezTo>
                            <a:cubicBezTo>
                              <a:pt x="29305" y="12141"/>
                              <a:pt x="29245" y="12260"/>
                              <a:pt x="29186" y="12320"/>
                            </a:cubicBezTo>
                            <a:cubicBezTo>
                              <a:pt x="29126" y="12380"/>
                              <a:pt x="29066" y="12500"/>
                              <a:pt x="29006" y="12560"/>
                            </a:cubicBezTo>
                            <a:cubicBezTo>
                              <a:pt x="28946" y="12620"/>
                              <a:pt x="28887" y="12679"/>
                              <a:pt x="28827" y="12799"/>
                            </a:cubicBezTo>
                            <a:moveTo>
                              <a:pt x="24282" y="9808"/>
                            </a:moveTo>
                            <a:lnTo>
                              <a:pt x="27930" y="12141"/>
                            </a:lnTo>
                            <a:cubicBezTo>
                              <a:pt x="27990" y="12081"/>
                              <a:pt x="28050" y="11961"/>
                              <a:pt x="28109" y="11902"/>
                            </a:cubicBezTo>
                            <a:cubicBezTo>
                              <a:pt x="28169" y="11842"/>
                              <a:pt x="28229" y="11722"/>
                              <a:pt x="28289" y="11662"/>
                            </a:cubicBezTo>
                            <a:cubicBezTo>
                              <a:pt x="28349" y="11603"/>
                              <a:pt x="28408" y="11483"/>
                              <a:pt x="28468" y="11423"/>
                            </a:cubicBezTo>
                            <a:cubicBezTo>
                              <a:pt x="28528" y="11364"/>
                              <a:pt x="28588" y="11244"/>
                              <a:pt x="28648" y="11184"/>
                            </a:cubicBezTo>
                            <a:lnTo>
                              <a:pt x="24999" y="8852"/>
                            </a:lnTo>
                            <a:cubicBezTo>
                              <a:pt x="24940" y="8911"/>
                              <a:pt x="24880" y="9031"/>
                              <a:pt x="24820" y="9091"/>
                            </a:cubicBezTo>
                            <a:cubicBezTo>
                              <a:pt x="24760" y="9151"/>
                              <a:pt x="24700" y="9270"/>
                              <a:pt x="24641" y="9330"/>
                            </a:cubicBezTo>
                            <a:cubicBezTo>
                              <a:pt x="24581" y="9390"/>
                              <a:pt x="24521" y="9510"/>
                              <a:pt x="24461" y="9569"/>
                            </a:cubicBezTo>
                            <a:cubicBezTo>
                              <a:pt x="24401" y="9629"/>
                              <a:pt x="24342" y="9749"/>
                              <a:pt x="24282" y="9808"/>
                            </a:cubicBezTo>
                            <a:moveTo>
                              <a:pt x="22129" y="8433"/>
                            </a:moveTo>
                            <a:lnTo>
                              <a:pt x="23325" y="9211"/>
                            </a:lnTo>
                            <a:cubicBezTo>
                              <a:pt x="23384" y="9151"/>
                              <a:pt x="23444" y="9031"/>
                              <a:pt x="23504" y="8971"/>
                            </a:cubicBezTo>
                            <a:cubicBezTo>
                              <a:pt x="23564" y="8911"/>
                              <a:pt x="23624" y="8792"/>
                              <a:pt x="23683" y="8732"/>
                            </a:cubicBezTo>
                            <a:cubicBezTo>
                              <a:pt x="23743" y="8672"/>
                              <a:pt x="23803" y="8552"/>
                              <a:pt x="23863" y="8493"/>
                            </a:cubicBezTo>
                            <a:cubicBezTo>
                              <a:pt x="23923" y="8433"/>
                              <a:pt x="23983" y="8313"/>
                              <a:pt x="24042" y="8253"/>
                            </a:cubicBezTo>
                            <a:lnTo>
                              <a:pt x="22846" y="7476"/>
                            </a:lnTo>
                            <a:cubicBezTo>
                              <a:pt x="22787" y="7536"/>
                              <a:pt x="22727" y="7655"/>
                              <a:pt x="22667" y="7715"/>
                            </a:cubicBezTo>
                            <a:cubicBezTo>
                              <a:pt x="22607" y="7775"/>
                              <a:pt x="22547" y="7895"/>
                              <a:pt x="22488" y="7954"/>
                            </a:cubicBezTo>
                            <a:cubicBezTo>
                              <a:pt x="22428" y="8014"/>
                              <a:pt x="22368" y="8134"/>
                              <a:pt x="22308" y="8194"/>
                            </a:cubicBezTo>
                            <a:cubicBezTo>
                              <a:pt x="22248" y="8313"/>
                              <a:pt x="22188" y="8373"/>
                              <a:pt x="22129" y="8433"/>
                            </a:cubicBezTo>
                            <a:moveTo>
                              <a:pt x="16806" y="5024"/>
                            </a:moveTo>
                            <a:lnTo>
                              <a:pt x="21172" y="7835"/>
                            </a:lnTo>
                            <a:cubicBezTo>
                              <a:pt x="21231" y="7775"/>
                              <a:pt x="21291" y="7655"/>
                              <a:pt x="21351" y="7596"/>
                            </a:cubicBezTo>
                            <a:cubicBezTo>
                              <a:pt x="21411" y="7536"/>
                              <a:pt x="21471" y="7416"/>
                              <a:pt x="21530" y="7357"/>
                            </a:cubicBezTo>
                            <a:cubicBezTo>
                              <a:pt x="21590" y="7297"/>
                              <a:pt x="21650" y="7177"/>
                              <a:pt x="21710" y="7117"/>
                            </a:cubicBezTo>
                            <a:cubicBezTo>
                              <a:pt x="21770" y="7057"/>
                              <a:pt x="21829" y="6938"/>
                              <a:pt x="21889" y="6878"/>
                            </a:cubicBezTo>
                            <a:lnTo>
                              <a:pt x="17523" y="4067"/>
                            </a:lnTo>
                            <a:cubicBezTo>
                              <a:pt x="17464" y="4127"/>
                              <a:pt x="17404" y="4246"/>
                              <a:pt x="17284" y="4306"/>
                            </a:cubicBezTo>
                            <a:cubicBezTo>
                              <a:pt x="17165" y="4366"/>
                              <a:pt x="17165" y="4486"/>
                              <a:pt x="17045" y="4545"/>
                            </a:cubicBezTo>
                            <a:cubicBezTo>
                              <a:pt x="16985" y="4605"/>
                              <a:pt x="16925" y="4725"/>
                              <a:pt x="16806" y="4785"/>
                            </a:cubicBezTo>
                            <a:cubicBezTo>
                              <a:pt x="16925" y="4844"/>
                              <a:pt x="16866" y="4904"/>
                              <a:pt x="16806" y="5024"/>
                            </a:cubicBezTo>
                            <a:moveTo>
                              <a:pt x="14653" y="3589"/>
                            </a:moveTo>
                            <a:lnTo>
                              <a:pt x="15909" y="4366"/>
                            </a:lnTo>
                            <a:cubicBezTo>
                              <a:pt x="15968" y="4306"/>
                              <a:pt x="16028" y="4187"/>
                              <a:pt x="16148" y="4127"/>
                            </a:cubicBezTo>
                            <a:cubicBezTo>
                              <a:pt x="16208" y="4067"/>
                              <a:pt x="16267" y="3947"/>
                              <a:pt x="16387" y="3888"/>
                            </a:cubicBezTo>
                            <a:cubicBezTo>
                              <a:pt x="16447" y="3828"/>
                              <a:pt x="16507" y="3708"/>
                              <a:pt x="16626" y="3649"/>
                            </a:cubicBezTo>
                            <a:cubicBezTo>
                              <a:pt x="16686" y="3589"/>
                              <a:pt x="16746" y="3469"/>
                              <a:pt x="16866" y="3409"/>
                            </a:cubicBezTo>
                            <a:lnTo>
                              <a:pt x="15610" y="2632"/>
                            </a:lnTo>
                            <a:cubicBezTo>
                              <a:pt x="15550" y="2691"/>
                              <a:pt x="15490" y="2811"/>
                              <a:pt x="15371" y="2871"/>
                            </a:cubicBezTo>
                            <a:cubicBezTo>
                              <a:pt x="15311" y="2930"/>
                              <a:pt x="15251" y="3050"/>
                              <a:pt x="15131" y="3110"/>
                            </a:cubicBezTo>
                            <a:cubicBezTo>
                              <a:pt x="15071" y="3170"/>
                              <a:pt x="15012" y="3289"/>
                              <a:pt x="14892" y="3349"/>
                            </a:cubicBezTo>
                            <a:cubicBezTo>
                              <a:pt x="14772" y="3409"/>
                              <a:pt x="14712" y="3529"/>
                              <a:pt x="14653" y="3589"/>
                            </a:cubicBezTo>
                            <a:moveTo>
                              <a:pt x="28588" y="22428"/>
                            </a:moveTo>
                            <a:lnTo>
                              <a:pt x="29545" y="23026"/>
                            </a:lnTo>
                            <a:lnTo>
                              <a:pt x="35466" y="15550"/>
                            </a:lnTo>
                            <a:lnTo>
                              <a:pt x="31817" y="13218"/>
                            </a:lnTo>
                            <a:cubicBezTo>
                              <a:pt x="31758" y="13277"/>
                              <a:pt x="31698" y="13397"/>
                              <a:pt x="31638" y="13457"/>
                            </a:cubicBezTo>
                            <a:cubicBezTo>
                              <a:pt x="31578" y="13516"/>
                              <a:pt x="31518" y="13636"/>
                              <a:pt x="31459" y="13696"/>
                            </a:cubicBezTo>
                            <a:cubicBezTo>
                              <a:pt x="31399" y="13756"/>
                              <a:pt x="31339" y="13875"/>
                              <a:pt x="31279" y="13935"/>
                            </a:cubicBezTo>
                            <a:cubicBezTo>
                              <a:pt x="31219" y="13995"/>
                              <a:pt x="31159" y="14115"/>
                              <a:pt x="31100" y="14174"/>
                            </a:cubicBezTo>
                            <a:lnTo>
                              <a:pt x="33851" y="15969"/>
                            </a:lnTo>
                            <a:lnTo>
                              <a:pt x="28588" y="22428"/>
                            </a:lnTo>
                            <a:moveTo>
                              <a:pt x="5502" y="7596"/>
                            </a:moveTo>
                            <a:lnTo>
                              <a:pt x="6459" y="8194"/>
                            </a:lnTo>
                            <a:lnTo>
                              <a:pt x="11662" y="1615"/>
                            </a:lnTo>
                            <a:lnTo>
                              <a:pt x="13756" y="2930"/>
                            </a:lnTo>
                            <a:cubicBezTo>
                              <a:pt x="13815" y="2871"/>
                              <a:pt x="13875" y="2751"/>
                              <a:pt x="13995" y="2691"/>
                            </a:cubicBezTo>
                            <a:cubicBezTo>
                              <a:pt x="14055" y="2632"/>
                              <a:pt x="14114" y="2512"/>
                              <a:pt x="14234" y="2452"/>
                            </a:cubicBezTo>
                            <a:cubicBezTo>
                              <a:pt x="14294" y="2392"/>
                              <a:pt x="14354" y="2273"/>
                              <a:pt x="14473" y="2213"/>
                            </a:cubicBezTo>
                            <a:cubicBezTo>
                              <a:pt x="14593" y="2153"/>
                              <a:pt x="14593" y="2034"/>
                              <a:pt x="14712" y="1974"/>
                            </a:cubicBezTo>
                            <a:lnTo>
                              <a:pt x="12201" y="359"/>
                            </a:lnTo>
                            <a:lnTo>
                              <a:pt x="11662" y="0"/>
                            </a:lnTo>
                            <a:lnTo>
                              <a:pt x="5502" y="7596"/>
                            </a:lnTo>
                            <a:moveTo>
                              <a:pt x="26495" y="25059"/>
                            </a:moveTo>
                            <a:lnTo>
                              <a:pt x="27451" y="25658"/>
                            </a:lnTo>
                            <a:lnTo>
                              <a:pt x="28767" y="24043"/>
                            </a:lnTo>
                            <a:lnTo>
                              <a:pt x="27810" y="23445"/>
                            </a:lnTo>
                            <a:lnTo>
                              <a:pt x="26495" y="25059"/>
                            </a:lnTo>
                            <a:moveTo>
                              <a:pt x="3409" y="10227"/>
                            </a:moveTo>
                            <a:lnTo>
                              <a:pt x="4366" y="10825"/>
                            </a:lnTo>
                            <a:lnTo>
                              <a:pt x="5682" y="9151"/>
                            </a:lnTo>
                            <a:lnTo>
                              <a:pt x="4725" y="8552"/>
                            </a:lnTo>
                            <a:lnTo>
                              <a:pt x="3409" y="10227"/>
                            </a:lnTo>
                            <a:moveTo>
                              <a:pt x="10048" y="20933"/>
                            </a:moveTo>
                            <a:lnTo>
                              <a:pt x="24102" y="29844"/>
                            </a:lnTo>
                            <a:lnTo>
                              <a:pt x="26674" y="26554"/>
                            </a:lnTo>
                            <a:lnTo>
                              <a:pt x="25717" y="25956"/>
                            </a:lnTo>
                            <a:lnTo>
                              <a:pt x="23923" y="28229"/>
                            </a:lnTo>
                            <a:lnTo>
                              <a:pt x="10825" y="19856"/>
                            </a:lnTo>
                            <a:lnTo>
                              <a:pt x="10048" y="20933"/>
                            </a:lnTo>
                            <a:moveTo>
                              <a:pt x="2990" y="16447"/>
                            </a:moveTo>
                            <a:lnTo>
                              <a:pt x="9090" y="20335"/>
                            </a:lnTo>
                            <a:lnTo>
                              <a:pt x="9868" y="19377"/>
                            </a:lnTo>
                            <a:lnTo>
                              <a:pt x="3768" y="15490"/>
                            </a:lnTo>
                            <a:lnTo>
                              <a:pt x="2990" y="16447"/>
                            </a:lnTo>
                            <a:moveTo>
                              <a:pt x="0" y="14533"/>
                            </a:moveTo>
                            <a:lnTo>
                              <a:pt x="538" y="14892"/>
                            </a:lnTo>
                            <a:lnTo>
                              <a:pt x="2033" y="15849"/>
                            </a:lnTo>
                            <a:lnTo>
                              <a:pt x="2811" y="14832"/>
                            </a:lnTo>
                            <a:lnTo>
                              <a:pt x="1734" y="14115"/>
                            </a:lnTo>
                            <a:lnTo>
                              <a:pt x="3528" y="11782"/>
                            </a:lnTo>
                            <a:lnTo>
                              <a:pt x="2572" y="11184"/>
                            </a:lnTo>
                            <a:lnTo>
                              <a:pt x="0" y="14533"/>
                            </a:lnTo>
                          </a:path>
                        </a:pathLst>
                      </a:custGeom>
                      <a:noFill/>
                      <a:ln w="6350" cap="flat">
                        <a:solidFill>
                          <a:schemeClr val="bg1">
                            <a:alpha val="40000"/>
                          </a:schemeClr>
                        </a:solidFill>
                        <a:prstDash val="solid"/>
                        <a:miter/>
                      </a:ln>
                    </p:spPr>
                    <p:txBody>
                      <a:bodyPr rtlCol="0" anchor="ctr"/>
                      <a:lstStyle/>
                      <a:p>
                        <a:endParaRPr lang="en-GB"/>
                      </a:p>
                    </p:txBody>
                  </p:sp>
                  <p:sp>
                    <p:nvSpPr>
                      <p:cNvPr id="7408" name="Vrije vorm: vorm 7407">
                        <a:extLst>
                          <a:ext uri="{FF2B5EF4-FFF2-40B4-BE49-F238E27FC236}">
                            <a16:creationId xmlns:a16="http://schemas.microsoft.com/office/drawing/2014/main" id="{D212EE1E-267C-4B0E-8D31-21240BB8A1B5}"/>
                          </a:ext>
                        </a:extLst>
                      </p:cNvPr>
                      <p:cNvSpPr/>
                      <p:nvPr/>
                    </p:nvSpPr>
                    <p:spPr>
                      <a:xfrm>
                        <a:off x="4818867" y="5231138"/>
                        <a:ext cx="44137" cy="38994"/>
                      </a:xfrm>
                      <a:custGeom>
                        <a:avLst/>
                        <a:gdLst>
                          <a:gd name="connsiteX0" fmla="*/ 0 w 44137"/>
                          <a:gd name="connsiteY0" fmla="*/ 22248 h 38994"/>
                          <a:gd name="connsiteX1" fmla="*/ 718 w 44137"/>
                          <a:gd name="connsiteY1" fmla="*/ 22667 h 38994"/>
                          <a:gd name="connsiteX2" fmla="*/ 1674 w 44137"/>
                          <a:gd name="connsiteY2" fmla="*/ 23265 h 38994"/>
                          <a:gd name="connsiteX3" fmla="*/ 3170 w 44137"/>
                          <a:gd name="connsiteY3" fmla="*/ 24222 h 38994"/>
                          <a:gd name="connsiteX4" fmla="*/ 3947 w 44137"/>
                          <a:gd name="connsiteY4" fmla="*/ 23205 h 38994"/>
                          <a:gd name="connsiteX5" fmla="*/ 2452 w 44137"/>
                          <a:gd name="connsiteY5" fmla="*/ 22308 h 38994"/>
                          <a:gd name="connsiteX6" fmla="*/ 1734 w 44137"/>
                          <a:gd name="connsiteY6" fmla="*/ 21829 h 38994"/>
                          <a:gd name="connsiteX7" fmla="*/ 17703 w 44137"/>
                          <a:gd name="connsiteY7" fmla="*/ 1555 h 38994"/>
                          <a:gd name="connsiteX8" fmla="*/ 17882 w 44137"/>
                          <a:gd name="connsiteY8" fmla="*/ 1674 h 38994"/>
                          <a:gd name="connsiteX9" fmla="*/ 18839 w 44137"/>
                          <a:gd name="connsiteY9" fmla="*/ 2273 h 38994"/>
                          <a:gd name="connsiteX10" fmla="*/ 19916 w 44137"/>
                          <a:gd name="connsiteY10" fmla="*/ 2990 h 38994"/>
                          <a:gd name="connsiteX11" fmla="*/ 20693 w 44137"/>
                          <a:gd name="connsiteY11" fmla="*/ 1973 h 38994"/>
                          <a:gd name="connsiteX12" fmla="*/ 28707 w 44137"/>
                          <a:gd name="connsiteY12" fmla="*/ 7117 h 38994"/>
                          <a:gd name="connsiteX13" fmla="*/ 27930 w 44137"/>
                          <a:gd name="connsiteY13" fmla="*/ 8074 h 38994"/>
                          <a:gd name="connsiteX14" fmla="*/ 40968 w 44137"/>
                          <a:gd name="connsiteY14" fmla="*/ 16447 h 38994"/>
                          <a:gd name="connsiteX15" fmla="*/ 41925 w 44137"/>
                          <a:gd name="connsiteY15" fmla="*/ 17045 h 38994"/>
                          <a:gd name="connsiteX16" fmla="*/ 42463 w 44137"/>
                          <a:gd name="connsiteY16" fmla="*/ 17404 h 38994"/>
                          <a:gd name="connsiteX17" fmla="*/ 26674 w 44137"/>
                          <a:gd name="connsiteY17" fmla="*/ 37380 h 38994"/>
                          <a:gd name="connsiteX18" fmla="*/ 12021 w 44137"/>
                          <a:gd name="connsiteY18" fmla="*/ 28229 h 38994"/>
                          <a:gd name="connsiteX19" fmla="*/ 11243 w 44137"/>
                          <a:gd name="connsiteY19" fmla="*/ 29245 h 38994"/>
                          <a:gd name="connsiteX20" fmla="*/ 26853 w 44137"/>
                          <a:gd name="connsiteY20" fmla="*/ 38994 h 38994"/>
                          <a:gd name="connsiteX21" fmla="*/ 44137 w 44137"/>
                          <a:gd name="connsiteY21" fmla="*/ 16985 h 38994"/>
                          <a:gd name="connsiteX22" fmla="*/ 42702 w 44137"/>
                          <a:gd name="connsiteY22" fmla="*/ 16088 h 38994"/>
                          <a:gd name="connsiteX23" fmla="*/ 41745 w 44137"/>
                          <a:gd name="connsiteY23" fmla="*/ 15490 h 38994"/>
                          <a:gd name="connsiteX24" fmla="*/ 19617 w 44137"/>
                          <a:gd name="connsiteY24" fmla="*/ 1256 h 38994"/>
                          <a:gd name="connsiteX25" fmla="*/ 18660 w 44137"/>
                          <a:gd name="connsiteY25" fmla="*/ 658 h 38994"/>
                          <a:gd name="connsiteX26" fmla="*/ 18241 w 44137"/>
                          <a:gd name="connsiteY26" fmla="*/ 419 h 38994"/>
                          <a:gd name="connsiteX27" fmla="*/ 17583 w 44137"/>
                          <a:gd name="connsiteY27" fmla="*/ 0 h 38994"/>
                          <a:gd name="connsiteX28" fmla="*/ 0 w 44137"/>
                          <a:gd name="connsiteY28" fmla="*/ 22248 h 3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137" h="38994">
                            <a:moveTo>
                              <a:pt x="0" y="22248"/>
                            </a:moveTo>
                            <a:lnTo>
                              <a:pt x="718" y="22667"/>
                            </a:lnTo>
                            <a:lnTo>
                              <a:pt x="1674" y="23265"/>
                            </a:lnTo>
                            <a:lnTo>
                              <a:pt x="3170" y="24222"/>
                            </a:lnTo>
                            <a:lnTo>
                              <a:pt x="3947" y="23205"/>
                            </a:lnTo>
                            <a:lnTo>
                              <a:pt x="2452" y="22308"/>
                            </a:lnTo>
                            <a:lnTo>
                              <a:pt x="1734" y="21829"/>
                            </a:lnTo>
                            <a:lnTo>
                              <a:pt x="17703" y="1555"/>
                            </a:lnTo>
                            <a:lnTo>
                              <a:pt x="17882" y="1674"/>
                            </a:lnTo>
                            <a:lnTo>
                              <a:pt x="18839" y="2273"/>
                            </a:lnTo>
                            <a:lnTo>
                              <a:pt x="19916" y="2990"/>
                            </a:lnTo>
                            <a:lnTo>
                              <a:pt x="20693" y="1973"/>
                            </a:lnTo>
                            <a:lnTo>
                              <a:pt x="28707" y="7117"/>
                            </a:lnTo>
                            <a:lnTo>
                              <a:pt x="27930" y="8074"/>
                            </a:lnTo>
                            <a:lnTo>
                              <a:pt x="40968" y="16447"/>
                            </a:lnTo>
                            <a:lnTo>
                              <a:pt x="41925" y="17045"/>
                            </a:lnTo>
                            <a:lnTo>
                              <a:pt x="42463" y="17404"/>
                            </a:lnTo>
                            <a:lnTo>
                              <a:pt x="26674" y="37380"/>
                            </a:lnTo>
                            <a:lnTo>
                              <a:pt x="12021" y="28229"/>
                            </a:lnTo>
                            <a:lnTo>
                              <a:pt x="11243" y="29245"/>
                            </a:lnTo>
                            <a:lnTo>
                              <a:pt x="26853" y="38994"/>
                            </a:lnTo>
                            <a:lnTo>
                              <a:pt x="44137" y="16985"/>
                            </a:lnTo>
                            <a:lnTo>
                              <a:pt x="42702" y="16088"/>
                            </a:lnTo>
                            <a:lnTo>
                              <a:pt x="41745" y="15490"/>
                            </a:lnTo>
                            <a:lnTo>
                              <a:pt x="19617" y="1256"/>
                            </a:lnTo>
                            <a:lnTo>
                              <a:pt x="18660" y="658"/>
                            </a:lnTo>
                            <a:lnTo>
                              <a:pt x="18241" y="419"/>
                            </a:lnTo>
                            <a:lnTo>
                              <a:pt x="17583" y="0"/>
                            </a:lnTo>
                            <a:lnTo>
                              <a:pt x="0" y="22248"/>
                            </a:lnTo>
                          </a:path>
                        </a:pathLst>
                      </a:custGeom>
                      <a:noFill/>
                      <a:ln w="6350" cap="flat">
                        <a:solidFill>
                          <a:schemeClr val="bg1">
                            <a:alpha val="40000"/>
                          </a:schemeClr>
                        </a:solidFill>
                        <a:prstDash val="solid"/>
                        <a:miter/>
                      </a:ln>
                    </p:spPr>
                    <p:txBody>
                      <a:bodyPr rtlCol="0" anchor="ctr"/>
                      <a:lstStyle/>
                      <a:p>
                        <a:endParaRPr lang="en-GB"/>
                      </a:p>
                    </p:txBody>
                  </p:sp>
                  <p:sp>
                    <p:nvSpPr>
                      <p:cNvPr id="7409" name="Vrije vorm: vorm 7408">
                        <a:extLst>
                          <a:ext uri="{FF2B5EF4-FFF2-40B4-BE49-F238E27FC236}">
                            <a16:creationId xmlns:a16="http://schemas.microsoft.com/office/drawing/2014/main" id="{704D8BDF-91DA-4C66-A878-91731ECFF18C}"/>
                          </a:ext>
                        </a:extLst>
                      </p:cNvPr>
                      <p:cNvSpPr/>
                      <p:nvPr/>
                    </p:nvSpPr>
                    <p:spPr>
                      <a:xfrm>
                        <a:off x="4822036" y="5233231"/>
                        <a:ext cx="25537" cy="27152"/>
                      </a:xfrm>
                      <a:custGeom>
                        <a:avLst/>
                        <a:gdLst>
                          <a:gd name="connsiteX0" fmla="*/ 21172 w 25537"/>
                          <a:gd name="connsiteY0" fmla="*/ 8672 h 27152"/>
                          <a:gd name="connsiteX1" fmla="*/ 7835 w 25537"/>
                          <a:gd name="connsiteY1" fmla="*/ 25538 h 27152"/>
                          <a:gd name="connsiteX2" fmla="*/ 1675 w 25537"/>
                          <a:gd name="connsiteY2" fmla="*/ 21710 h 27152"/>
                          <a:gd name="connsiteX3" fmla="*/ 15012 w 25537"/>
                          <a:gd name="connsiteY3" fmla="*/ 4785 h 27152"/>
                          <a:gd name="connsiteX4" fmla="*/ 15789 w 25537"/>
                          <a:gd name="connsiteY4" fmla="*/ 3768 h 27152"/>
                          <a:gd name="connsiteX5" fmla="*/ 17583 w 25537"/>
                          <a:gd name="connsiteY5" fmla="*/ 1435 h 27152"/>
                          <a:gd name="connsiteX6" fmla="*/ 23684 w 25537"/>
                          <a:gd name="connsiteY6" fmla="*/ 5323 h 27152"/>
                          <a:gd name="connsiteX7" fmla="*/ 21889 w 25537"/>
                          <a:gd name="connsiteY7" fmla="*/ 7596 h 27152"/>
                          <a:gd name="connsiteX8" fmla="*/ 21172 w 25537"/>
                          <a:gd name="connsiteY8" fmla="*/ 8672 h 27152"/>
                          <a:gd name="connsiteX9" fmla="*/ 0 w 25537"/>
                          <a:gd name="connsiteY9" fmla="*/ 22129 h 27152"/>
                          <a:gd name="connsiteX10" fmla="*/ 8074 w 25537"/>
                          <a:gd name="connsiteY10" fmla="*/ 27152 h 27152"/>
                          <a:gd name="connsiteX11" fmla="*/ 8851 w 25537"/>
                          <a:gd name="connsiteY11" fmla="*/ 26196 h 27152"/>
                          <a:gd name="connsiteX12" fmla="*/ 22189 w 25537"/>
                          <a:gd name="connsiteY12" fmla="*/ 9330 h 27152"/>
                          <a:gd name="connsiteX13" fmla="*/ 22966 w 25537"/>
                          <a:gd name="connsiteY13" fmla="*/ 8373 h 27152"/>
                          <a:gd name="connsiteX14" fmla="*/ 24760 w 25537"/>
                          <a:gd name="connsiteY14" fmla="*/ 6100 h 27152"/>
                          <a:gd name="connsiteX15" fmla="*/ 25538 w 25537"/>
                          <a:gd name="connsiteY15" fmla="*/ 5143 h 27152"/>
                          <a:gd name="connsiteX16" fmla="*/ 17523 w 25537"/>
                          <a:gd name="connsiteY16" fmla="*/ 0 h 27152"/>
                          <a:gd name="connsiteX17" fmla="*/ 16746 w 25537"/>
                          <a:gd name="connsiteY17" fmla="*/ 1017 h 27152"/>
                          <a:gd name="connsiteX18" fmla="*/ 14952 w 25537"/>
                          <a:gd name="connsiteY18" fmla="*/ 3349 h 27152"/>
                          <a:gd name="connsiteX19" fmla="*/ 14174 w 25537"/>
                          <a:gd name="connsiteY19" fmla="*/ 4366 h 27152"/>
                          <a:gd name="connsiteX20" fmla="*/ 778 w 25537"/>
                          <a:gd name="connsiteY20" fmla="*/ 21291 h 27152"/>
                          <a:gd name="connsiteX21" fmla="*/ 0 w 25537"/>
                          <a:gd name="connsiteY21" fmla="*/ 22129 h 2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537" h="27152">
                            <a:moveTo>
                              <a:pt x="21172" y="8672"/>
                            </a:moveTo>
                            <a:lnTo>
                              <a:pt x="7835" y="25538"/>
                            </a:lnTo>
                            <a:lnTo>
                              <a:pt x="1675" y="21710"/>
                            </a:lnTo>
                            <a:lnTo>
                              <a:pt x="15012" y="4785"/>
                            </a:lnTo>
                            <a:lnTo>
                              <a:pt x="15789" y="3768"/>
                            </a:lnTo>
                            <a:lnTo>
                              <a:pt x="17583" y="1435"/>
                            </a:lnTo>
                            <a:lnTo>
                              <a:pt x="23684" y="5323"/>
                            </a:lnTo>
                            <a:lnTo>
                              <a:pt x="21889" y="7596"/>
                            </a:lnTo>
                            <a:lnTo>
                              <a:pt x="21172" y="8672"/>
                            </a:lnTo>
                            <a:moveTo>
                              <a:pt x="0" y="22129"/>
                            </a:moveTo>
                            <a:lnTo>
                              <a:pt x="8074" y="27152"/>
                            </a:lnTo>
                            <a:lnTo>
                              <a:pt x="8851" y="26196"/>
                            </a:lnTo>
                            <a:lnTo>
                              <a:pt x="22189" y="9330"/>
                            </a:lnTo>
                            <a:lnTo>
                              <a:pt x="22966" y="8373"/>
                            </a:lnTo>
                            <a:lnTo>
                              <a:pt x="24760" y="6100"/>
                            </a:lnTo>
                            <a:lnTo>
                              <a:pt x="25538" y="5143"/>
                            </a:lnTo>
                            <a:lnTo>
                              <a:pt x="17523" y="0"/>
                            </a:lnTo>
                            <a:lnTo>
                              <a:pt x="16746" y="1017"/>
                            </a:lnTo>
                            <a:lnTo>
                              <a:pt x="14952" y="3349"/>
                            </a:lnTo>
                            <a:lnTo>
                              <a:pt x="14174" y="4366"/>
                            </a:lnTo>
                            <a:lnTo>
                              <a:pt x="778" y="21291"/>
                            </a:lnTo>
                            <a:lnTo>
                              <a:pt x="0" y="22129"/>
                            </a:lnTo>
                          </a:path>
                        </a:pathLst>
                      </a:custGeom>
                      <a:noFill/>
                      <a:ln w="6350" cap="flat">
                        <a:solidFill>
                          <a:schemeClr val="bg1">
                            <a:alpha val="40000"/>
                          </a:schemeClr>
                        </a:solidFill>
                        <a:prstDash val="solid"/>
                        <a:miter/>
                      </a:ln>
                    </p:spPr>
                    <p:txBody>
                      <a:bodyPr rtlCol="0" anchor="ctr"/>
                      <a:lstStyle/>
                      <a:p>
                        <a:endParaRPr lang="en-GB"/>
                      </a:p>
                    </p:txBody>
                  </p:sp>
                  <p:sp>
                    <p:nvSpPr>
                      <p:cNvPr id="7410" name="Vrije vorm: vorm 7409">
                        <a:extLst>
                          <a:ext uri="{FF2B5EF4-FFF2-40B4-BE49-F238E27FC236}">
                            <a16:creationId xmlns:a16="http://schemas.microsoft.com/office/drawing/2014/main" id="{85C9E241-F303-41A0-AE53-497096C1AD48}"/>
                          </a:ext>
                        </a:extLst>
                      </p:cNvPr>
                      <p:cNvSpPr/>
                      <p:nvPr/>
                    </p:nvSpPr>
                    <p:spPr>
                      <a:xfrm>
                        <a:off x="5072928" y="4906145"/>
                        <a:ext cx="28707" cy="32296"/>
                      </a:xfrm>
                      <a:custGeom>
                        <a:avLst/>
                        <a:gdLst>
                          <a:gd name="connsiteX0" fmla="*/ 16926 w 28707"/>
                          <a:gd name="connsiteY0" fmla="*/ 897 h 32296"/>
                          <a:gd name="connsiteX1" fmla="*/ 17523 w 28707"/>
                          <a:gd name="connsiteY1" fmla="*/ 180 h 32296"/>
                          <a:gd name="connsiteX2" fmla="*/ 17344 w 28707"/>
                          <a:gd name="connsiteY2" fmla="*/ 0 h 32296"/>
                          <a:gd name="connsiteX3" fmla="*/ 16746 w 28707"/>
                          <a:gd name="connsiteY3" fmla="*/ 718 h 32296"/>
                          <a:gd name="connsiteX4" fmla="*/ 16926 w 28707"/>
                          <a:gd name="connsiteY4" fmla="*/ 897 h 32296"/>
                          <a:gd name="connsiteX5" fmla="*/ 19617 w 28707"/>
                          <a:gd name="connsiteY5" fmla="*/ 3409 h 32296"/>
                          <a:gd name="connsiteX6" fmla="*/ 20215 w 28707"/>
                          <a:gd name="connsiteY6" fmla="*/ 2691 h 32296"/>
                          <a:gd name="connsiteX7" fmla="*/ 21650 w 28707"/>
                          <a:gd name="connsiteY7" fmla="*/ 4067 h 32296"/>
                          <a:gd name="connsiteX8" fmla="*/ 21650 w 28707"/>
                          <a:gd name="connsiteY8" fmla="*/ 4067 h 32296"/>
                          <a:gd name="connsiteX9" fmla="*/ 18361 w 28707"/>
                          <a:gd name="connsiteY9" fmla="*/ 957 h 32296"/>
                          <a:gd name="connsiteX10" fmla="*/ 17763 w 28707"/>
                          <a:gd name="connsiteY10" fmla="*/ 1675 h 32296"/>
                          <a:gd name="connsiteX11" fmla="*/ 19617 w 28707"/>
                          <a:gd name="connsiteY11" fmla="*/ 3409 h 32296"/>
                          <a:gd name="connsiteX12" fmla="*/ 28109 w 28707"/>
                          <a:gd name="connsiteY12" fmla="*/ 11423 h 32296"/>
                          <a:gd name="connsiteX13" fmla="*/ 28707 w 28707"/>
                          <a:gd name="connsiteY13" fmla="*/ 10705 h 32296"/>
                          <a:gd name="connsiteX14" fmla="*/ 22488 w 28707"/>
                          <a:gd name="connsiteY14" fmla="*/ 4844 h 32296"/>
                          <a:gd name="connsiteX15" fmla="*/ 22488 w 28707"/>
                          <a:gd name="connsiteY15" fmla="*/ 4844 h 32296"/>
                          <a:gd name="connsiteX16" fmla="*/ 23923 w 28707"/>
                          <a:gd name="connsiteY16" fmla="*/ 6160 h 32296"/>
                          <a:gd name="connsiteX17" fmla="*/ 23325 w 28707"/>
                          <a:gd name="connsiteY17" fmla="*/ 6878 h 32296"/>
                          <a:gd name="connsiteX18" fmla="*/ 28109 w 28707"/>
                          <a:gd name="connsiteY18" fmla="*/ 11423 h 32296"/>
                          <a:gd name="connsiteX19" fmla="*/ 10825 w 28707"/>
                          <a:gd name="connsiteY19" fmla="*/ 8134 h 32296"/>
                          <a:gd name="connsiteX20" fmla="*/ 11662 w 28707"/>
                          <a:gd name="connsiteY20" fmla="*/ 8911 h 32296"/>
                          <a:gd name="connsiteX21" fmla="*/ 16806 w 28707"/>
                          <a:gd name="connsiteY21" fmla="*/ 2512 h 32296"/>
                          <a:gd name="connsiteX22" fmla="*/ 16327 w 28707"/>
                          <a:gd name="connsiteY22" fmla="*/ 2093 h 32296"/>
                          <a:gd name="connsiteX23" fmla="*/ 16148 w 28707"/>
                          <a:gd name="connsiteY23" fmla="*/ 1914 h 32296"/>
                          <a:gd name="connsiteX24" fmla="*/ 16148 w 28707"/>
                          <a:gd name="connsiteY24" fmla="*/ 1914 h 32296"/>
                          <a:gd name="connsiteX25" fmla="*/ 15968 w 28707"/>
                          <a:gd name="connsiteY25" fmla="*/ 1734 h 32296"/>
                          <a:gd name="connsiteX26" fmla="*/ 10825 w 28707"/>
                          <a:gd name="connsiteY26" fmla="*/ 8134 h 32296"/>
                          <a:gd name="connsiteX27" fmla="*/ 22248 w 28707"/>
                          <a:gd name="connsiteY27" fmla="*/ 18720 h 32296"/>
                          <a:gd name="connsiteX28" fmla="*/ 27272 w 28707"/>
                          <a:gd name="connsiteY28" fmla="*/ 12440 h 32296"/>
                          <a:gd name="connsiteX29" fmla="*/ 26435 w 28707"/>
                          <a:gd name="connsiteY29" fmla="*/ 11662 h 32296"/>
                          <a:gd name="connsiteX30" fmla="*/ 21351 w 28707"/>
                          <a:gd name="connsiteY30" fmla="*/ 18002 h 32296"/>
                          <a:gd name="connsiteX31" fmla="*/ 22248 w 28707"/>
                          <a:gd name="connsiteY31" fmla="*/ 18720 h 32296"/>
                          <a:gd name="connsiteX32" fmla="*/ 18720 w 28707"/>
                          <a:gd name="connsiteY32" fmla="*/ 21351 h 32296"/>
                          <a:gd name="connsiteX33" fmla="*/ 19557 w 28707"/>
                          <a:gd name="connsiteY33" fmla="*/ 22129 h 32296"/>
                          <a:gd name="connsiteX34" fmla="*/ 21530 w 28707"/>
                          <a:gd name="connsiteY34" fmla="*/ 19676 h 32296"/>
                          <a:gd name="connsiteX35" fmla="*/ 20693 w 28707"/>
                          <a:gd name="connsiteY35" fmla="*/ 18899 h 32296"/>
                          <a:gd name="connsiteX36" fmla="*/ 18720 w 28707"/>
                          <a:gd name="connsiteY36" fmla="*/ 21351 h 32296"/>
                          <a:gd name="connsiteX37" fmla="*/ 8074 w 28707"/>
                          <a:gd name="connsiteY37" fmla="*/ 11603 h 32296"/>
                          <a:gd name="connsiteX38" fmla="*/ 8911 w 28707"/>
                          <a:gd name="connsiteY38" fmla="*/ 12380 h 32296"/>
                          <a:gd name="connsiteX39" fmla="*/ 10885 w 28707"/>
                          <a:gd name="connsiteY39" fmla="*/ 9928 h 32296"/>
                          <a:gd name="connsiteX40" fmla="*/ 10048 w 28707"/>
                          <a:gd name="connsiteY40" fmla="*/ 9151 h 32296"/>
                          <a:gd name="connsiteX41" fmla="*/ 8074 w 28707"/>
                          <a:gd name="connsiteY41" fmla="*/ 11603 h 32296"/>
                          <a:gd name="connsiteX42" fmla="*/ 1674 w 28707"/>
                          <a:gd name="connsiteY42" fmla="*/ 19796 h 32296"/>
                          <a:gd name="connsiteX43" fmla="*/ 2392 w 28707"/>
                          <a:gd name="connsiteY43" fmla="*/ 20454 h 32296"/>
                          <a:gd name="connsiteX44" fmla="*/ 8134 w 28707"/>
                          <a:gd name="connsiteY44" fmla="*/ 13277 h 32296"/>
                          <a:gd name="connsiteX45" fmla="*/ 7356 w 28707"/>
                          <a:gd name="connsiteY45" fmla="*/ 12560 h 32296"/>
                          <a:gd name="connsiteX46" fmla="*/ 1674 w 28707"/>
                          <a:gd name="connsiteY46" fmla="*/ 19796 h 32296"/>
                          <a:gd name="connsiteX47" fmla="*/ 13038 w 28707"/>
                          <a:gd name="connsiteY47" fmla="*/ 30143 h 32296"/>
                          <a:gd name="connsiteX48" fmla="*/ 18720 w 28707"/>
                          <a:gd name="connsiteY48" fmla="*/ 23026 h 32296"/>
                          <a:gd name="connsiteX49" fmla="*/ 17882 w 28707"/>
                          <a:gd name="connsiteY49" fmla="*/ 22248 h 32296"/>
                          <a:gd name="connsiteX50" fmla="*/ 12201 w 28707"/>
                          <a:gd name="connsiteY50" fmla="*/ 29366 h 32296"/>
                          <a:gd name="connsiteX51" fmla="*/ 13038 w 28707"/>
                          <a:gd name="connsiteY51" fmla="*/ 30143 h 32296"/>
                          <a:gd name="connsiteX52" fmla="*/ 6399 w 28707"/>
                          <a:gd name="connsiteY52" fmla="*/ 26136 h 32296"/>
                          <a:gd name="connsiteX53" fmla="*/ 6399 w 28707"/>
                          <a:gd name="connsiteY53" fmla="*/ 26136 h 32296"/>
                          <a:gd name="connsiteX54" fmla="*/ 4366 w 28707"/>
                          <a:gd name="connsiteY54" fmla="*/ 24222 h 32296"/>
                          <a:gd name="connsiteX55" fmla="*/ 4366 w 28707"/>
                          <a:gd name="connsiteY55" fmla="*/ 24222 h 32296"/>
                          <a:gd name="connsiteX56" fmla="*/ 6399 w 28707"/>
                          <a:gd name="connsiteY56" fmla="*/ 26136 h 32296"/>
                          <a:gd name="connsiteX57" fmla="*/ 2632 w 28707"/>
                          <a:gd name="connsiteY57" fmla="*/ 24282 h 32296"/>
                          <a:gd name="connsiteX58" fmla="*/ 3409 w 28707"/>
                          <a:gd name="connsiteY58" fmla="*/ 23265 h 32296"/>
                          <a:gd name="connsiteX59" fmla="*/ 1495 w 28707"/>
                          <a:gd name="connsiteY59" fmla="*/ 21531 h 32296"/>
                          <a:gd name="connsiteX60" fmla="*/ 1555 w 28707"/>
                          <a:gd name="connsiteY60" fmla="*/ 21411 h 32296"/>
                          <a:gd name="connsiteX61" fmla="*/ 837 w 28707"/>
                          <a:gd name="connsiteY61" fmla="*/ 20753 h 32296"/>
                          <a:gd name="connsiteX62" fmla="*/ 0 w 28707"/>
                          <a:gd name="connsiteY62" fmla="*/ 21830 h 32296"/>
                          <a:gd name="connsiteX63" fmla="*/ 2632 w 28707"/>
                          <a:gd name="connsiteY63" fmla="*/ 24282 h 32296"/>
                          <a:gd name="connsiteX64" fmla="*/ 11363 w 28707"/>
                          <a:gd name="connsiteY64" fmla="*/ 32296 h 32296"/>
                          <a:gd name="connsiteX65" fmla="*/ 12320 w 28707"/>
                          <a:gd name="connsiteY65" fmla="*/ 31100 h 32296"/>
                          <a:gd name="connsiteX66" fmla="*/ 11483 w 28707"/>
                          <a:gd name="connsiteY66" fmla="*/ 30322 h 32296"/>
                          <a:gd name="connsiteX67" fmla="*/ 11304 w 28707"/>
                          <a:gd name="connsiteY67" fmla="*/ 30502 h 32296"/>
                          <a:gd name="connsiteX68" fmla="*/ 7655 w 28707"/>
                          <a:gd name="connsiteY68" fmla="*/ 27152 h 32296"/>
                          <a:gd name="connsiteX69" fmla="*/ 6878 w 28707"/>
                          <a:gd name="connsiteY69" fmla="*/ 28109 h 32296"/>
                          <a:gd name="connsiteX70" fmla="*/ 11363 w 28707"/>
                          <a:gd name="connsiteY70"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8707" h="32296">
                            <a:moveTo>
                              <a:pt x="16926" y="897"/>
                            </a:moveTo>
                            <a:lnTo>
                              <a:pt x="17523" y="180"/>
                            </a:lnTo>
                            <a:lnTo>
                              <a:pt x="17344" y="0"/>
                            </a:lnTo>
                            <a:lnTo>
                              <a:pt x="16746" y="718"/>
                            </a:lnTo>
                            <a:lnTo>
                              <a:pt x="16926" y="897"/>
                            </a:lnTo>
                            <a:moveTo>
                              <a:pt x="19617" y="3409"/>
                            </a:moveTo>
                            <a:lnTo>
                              <a:pt x="20215" y="2691"/>
                            </a:lnTo>
                            <a:lnTo>
                              <a:pt x="21650" y="4067"/>
                            </a:lnTo>
                            <a:lnTo>
                              <a:pt x="21650" y="4067"/>
                            </a:lnTo>
                            <a:lnTo>
                              <a:pt x="18361" y="957"/>
                            </a:lnTo>
                            <a:lnTo>
                              <a:pt x="17763" y="1675"/>
                            </a:lnTo>
                            <a:lnTo>
                              <a:pt x="19617" y="3409"/>
                            </a:lnTo>
                            <a:moveTo>
                              <a:pt x="28109" y="11423"/>
                            </a:moveTo>
                            <a:lnTo>
                              <a:pt x="28707" y="10705"/>
                            </a:lnTo>
                            <a:lnTo>
                              <a:pt x="22488" y="4844"/>
                            </a:lnTo>
                            <a:lnTo>
                              <a:pt x="22488" y="4844"/>
                            </a:lnTo>
                            <a:lnTo>
                              <a:pt x="23923" y="6160"/>
                            </a:lnTo>
                            <a:lnTo>
                              <a:pt x="23325" y="6878"/>
                            </a:lnTo>
                            <a:lnTo>
                              <a:pt x="28109" y="11423"/>
                            </a:lnTo>
                            <a:moveTo>
                              <a:pt x="10825" y="8134"/>
                            </a:moveTo>
                            <a:lnTo>
                              <a:pt x="11662" y="8911"/>
                            </a:lnTo>
                            <a:lnTo>
                              <a:pt x="16806" y="2512"/>
                            </a:lnTo>
                            <a:lnTo>
                              <a:pt x="16327" y="2093"/>
                            </a:lnTo>
                            <a:lnTo>
                              <a:pt x="16148" y="1914"/>
                            </a:lnTo>
                            <a:lnTo>
                              <a:pt x="16148" y="1914"/>
                            </a:lnTo>
                            <a:lnTo>
                              <a:pt x="15968" y="1734"/>
                            </a:lnTo>
                            <a:lnTo>
                              <a:pt x="10825" y="8134"/>
                            </a:lnTo>
                            <a:moveTo>
                              <a:pt x="22248" y="18720"/>
                            </a:moveTo>
                            <a:lnTo>
                              <a:pt x="27272" y="12440"/>
                            </a:lnTo>
                            <a:lnTo>
                              <a:pt x="26435" y="11662"/>
                            </a:lnTo>
                            <a:lnTo>
                              <a:pt x="21351" y="18002"/>
                            </a:lnTo>
                            <a:lnTo>
                              <a:pt x="22248" y="18720"/>
                            </a:lnTo>
                            <a:moveTo>
                              <a:pt x="18720" y="21351"/>
                            </a:moveTo>
                            <a:lnTo>
                              <a:pt x="19557" y="22129"/>
                            </a:lnTo>
                            <a:lnTo>
                              <a:pt x="21530" y="19676"/>
                            </a:lnTo>
                            <a:lnTo>
                              <a:pt x="20693" y="18899"/>
                            </a:lnTo>
                            <a:lnTo>
                              <a:pt x="18720" y="21351"/>
                            </a:lnTo>
                            <a:moveTo>
                              <a:pt x="8074" y="11603"/>
                            </a:moveTo>
                            <a:lnTo>
                              <a:pt x="8911" y="12380"/>
                            </a:lnTo>
                            <a:lnTo>
                              <a:pt x="10885" y="9928"/>
                            </a:lnTo>
                            <a:lnTo>
                              <a:pt x="10048" y="9151"/>
                            </a:lnTo>
                            <a:lnTo>
                              <a:pt x="8074" y="11603"/>
                            </a:lnTo>
                            <a:moveTo>
                              <a:pt x="1674" y="19796"/>
                            </a:moveTo>
                            <a:lnTo>
                              <a:pt x="2392" y="20454"/>
                            </a:lnTo>
                            <a:lnTo>
                              <a:pt x="8134" y="13277"/>
                            </a:lnTo>
                            <a:lnTo>
                              <a:pt x="7356" y="12560"/>
                            </a:lnTo>
                            <a:lnTo>
                              <a:pt x="1674" y="19796"/>
                            </a:lnTo>
                            <a:moveTo>
                              <a:pt x="13038" y="30143"/>
                            </a:moveTo>
                            <a:lnTo>
                              <a:pt x="18720" y="23026"/>
                            </a:lnTo>
                            <a:lnTo>
                              <a:pt x="17882" y="22248"/>
                            </a:lnTo>
                            <a:lnTo>
                              <a:pt x="12201" y="29366"/>
                            </a:lnTo>
                            <a:lnTo>
                              <a:pt x="13038" y="30143"/>
                            </a:lnTo>
                            <a:moveTo>
                              <a:pt x="6399" y="26136"/>
                            </a:moveTo>
                            <a:lnTo>
                              <a:pt x="6399" y="26136"/>
                            </a:lnTo>
                            <a:lnTo>
                              <a:pt x="4366" y="24222"/>
                            </a:lnTo>
                            <a:lnTo>
                              <a:pt x="4366" y="24222"/>
                            </a:lnTo>
                            <a:lnTo>
                              <a:pt x="6399" y="26136"/>
                            </a:lnTo>
                            <a:moveTo>
                              <a:pt x="2632" y="24282"/>
                            </a:moveTo>
                            <a:lnTo>
                              <a:pt x="3409" y="23265"/>
                            </a:lnTo>
                            <a:lnTo>
                              <a:pt x="1495" y="21531"/>
                            </a:lnTo>
                            <a:lnTo>
                              <a:pt x="1555" y="21411"/>
                            </a:lnTo>
                            <a:lnTo>
                              <a:pt x="837" y="20753"/>
                            </a:lnTo>
                            <a:lnTo>
                              <a:pt x="0" y="21830"/>
                            </a:lnTo>
                            <a:lnTo>
                              <a:pt x="2632" y="24282"/>
                            </a:lnTo>
                            <a:moveTo>
                              <a:pt x="11363" y="32296"/>
                            </a:moveTo>
                            <a:lnTo>
                              <a:pt x="12320" y="31100"/>
                            </a:lnTo>
                            <a:lnTo>
                              <a:pt x="11483" y="30322"/>
                            </a:lnTo>
                            <a:lnTo>
                              <a:pt x="11304" y="30502"/>
                            </a:lnTo>
                            <a:lnTo>
                              <a:pt x="7655" y="27152"/>
                            </a:lnTo>
                            <a:lnTo>
                              <a:pt x="6878" y="28109"/>
                            </a:lnTo>
                            <a:lnTo>
                              <a:pt x="11363" y="32296"/>
                            </a:lnTo>
                          </a:path>
                        </a:pathLst>
                      </a:custGeom>
                      <a:noFill/>
                      <a:ln w="6350" cap="flat">
                        <a:solidFill>
                          <a:schemeClr val="bg1">
                            <a:alpha val="40000"/>
                          </a:schemeClr>
                        </a:solidFill>
                        <a:prstDash val="solid"/>
                        <a:miter/>
                      </a:ln>
                    </p:spPr>
                    <p:txBody>
                      <a:bodyPr rtlCol="0" anchor="ctr"/>
                      <a:lstStyle/>
                      <a:p>
                        <a:endParaRPr lang="en-GB"/>
                      </a:p>
                    </p:txBody>
                  </p:sp>
                  <p:sp>
                    <p:nvSpPr>
                      <p:cNvPr id="7411" name="Vrije vorm: vorm 7410">
                        <a:extLst>
                          <a:ext uri="{FF2B5EF4-FFF2-40B4-BE49-F238E27FC236}">
                            <a16:creationId xmlns:a16="http://schemas.microsoft.com/office/drawing/2014/main" id="{6B281B04-DE76-4A87-BF36-37A5A93B7BB8}"/>
                          </a:ext>
                        </a:extLst>
                      </p:cNvPr>
                      <p:cNvSpPr/>
                      <p:nvPr/>
                    </p:nvSpPr>
                    <p:spPr>
                      <a:xfrm>
                        <a:off x="5076397" y="4908837"/>
                        <a:ext cx="20394" cy="24760"/>
                      </a:xfrm>
                      <a:custGeom>
                        <a:avLst/>
                        <a:gdLst>
                          <a:gd name="connsiteX0" fmla="*/ 17583 w 20394"/>
                          <a:gd name="connsiteY0" fmla="*/ 2093 h 24760"/>
                          <a:gd name="connsiteX1" fmla="*/ 18181 w 20394"/>
                          <a:gd name="connsiteY1" fmla="*/ 1375 h 24760"/>
                          <a:gd name="connsiteX2" fmla="*/ 16746 w 20394"/>
                          <a:gd name="connsiteY2" fmla="*/ 0 h 24760"/>
                          <a:gd name="connsiteX3" fmla="*/ 16148 w 20394"/>
                          <a:gd name="connsiteY3" fmla="*/ 718 h 24760"/>
                          <a:gd name="connsiteX4" fmla="*/ 17583 w 20394"/>
                          <a:gd name="connsiteY4" fmla="*/ 2093 h 24760"/>
                          <a:gd name="connsiteX5" fmla="*/ 19796 w 20394"/>
                          <a:gd name="connsiteY5" fmla="*/ 4187 h 24760"/>
                          <a:gd name="connsiteX6" fmla="*/ 20394 w 20394"/>
                          <a:gd name="connsiteY6" fmla="*/ 3469 h 24760"/>
                          <a:gd name="connsiteX7" fmla="*/ 18959 w 20394"/>
                          <a:gd name="connsiteY7" fmla="*/ 2153 h 24760"/>
                          <a:gd name="connsiteX8" fmla="*/ 18360 w 20394"/>
                          <a:gd name="connsiteY8" fmla="*/ 2871 h 24760"/>
                          <a:gd name="connsiteX9" fmla="*/ 19796 w 20394"/>
                          <a:gd name="connsiteY9" fmla="*/ 4187 h 24760"/>
                          <a:gd name="connsiteX10" fmla="*/ 10227 w 20394"/>
                          <a:gd name="connsiteY10" fmla="*/ 8134 h 24760"/>
                          <a:gd name="connsiteX11" fmla="*/ 11064 w 20394"/>
                          <a:gd name="connsiteY11" fmla="*/ 8911 h 24760"/>
                          <a:gd name="connsiteX12" fmla="*/ 16208 w 20394"/>
                          <a:gd name="connsiteY12" fmla="*/ 2512 h 24760"/>
                          <a:gd name="connsiteX13" fmla="*/ 15370 w 20394"/>
                          <a:gd name="connsiteY13" fmla="*/ 1734 h 24760"/>
                          <a:gd name="connsiteX14" fmla="*/ 10227 w 20394"/>
                          <a:gd name="connsiteY14" fmla="*/ 8134 h 24760"/>
                          <a:gd name="connsiteX15" fmla="*/ 13935 w 20394"/>
                          <a:gd name="connsiteY15" fmla="*/ 11543 h 24760"/>
                          <a:gd name="connsiteX16" fmla="*/ 19019 w 20394"/>
                          <a:gd name="connsiteY16" fmla="*/ 5203 h 24760"/>
                          <a:gd name="connsiteX17" fmla="*/ 18181 w 20394"/>
                          <a:gd name="connsiteY17" fmla="*/ 4426 h 24760"/>
                          <a:gd name="connsiteX18" fmla="*/ 13098 w 20394"/>
                          <a:gd name="connsiteY18" fmla="*/ 10765 h 24760"/>
                          <a:gd name="connsiteX19" fmla="*/ 13935 w 20394"/>
                          <a:gd name="connsiteY19" fmla="*/ 11543 h 24760"/>
                          <a:gd name="connsiteX20" fmla="*/ 10347 w 20394"/>
                          <a:gd name="connsiteY20" fmla="*/ 14174 h 24760"/>
                          <a:gd name="connsiteX21" fmla="*/ 11184 w 20394"/>
                          <a:gd name="connsiteY21" fmla="*/ 14952 h 24760"/>
                          <a:gd name="connsiteX22" fmla="*/ 13157 w 20394"/>
                          <a:gd name="connsiteY22" fmla="*/ 12500 h 24760"/>
                          <a:gd name="connsiteX23" fmla="*/ 12320 w 20394"/>
                          <a:gd name="connsiteY23" fmla="*/ 11722 h 24760"/>
                          <a:gd name="connsiteX24" fmla="*/ 10347 w 20394"/>
                          <a:gd name="connsiteY24" fmla="*/ 14174 h 24760"/>
                          <a:gd name="connsiteX25" fmla="*/ 7476 w 20394"/>
                          <a:gd name="connsiteY25" fmla="*/ 11543 h 24760"/>
                          <a:gd name="connsiteX26" fmla="*/ 8313 w 20394"/>
                          <a:gd name="connsiteY26" fmla="*/ 12320 h 24760"/>
                          <a:gd name="connsiteX27" fmla="*/ 10287 w 20394"/>
                          <a:gd name="connsiteY27" fmla="*/ 9868 h 24760"/>
                          <a:gd name="connsiteX28" fmla="*/ 9449 w 20394"/>
                          <a:gd name="connsiteY28" fmla="*/ 9091 h 24760"/>
                          <a:gd name="connsiteX29" fmla="*/ 7476 w 20394"/>
                          <a:gd name="connsiteY29" fmla="*/ 11543 h 24760"/>
                          <a:gd name="connsiteX30" fmla="*/ 1674 w 20394"/>
                          <a:gd name="connsiteY30" fmla="*/ 20215 h 24760"/>
                          <a:gd name="connsiteX31" fmla="*/ 1854 w 20394"/>
                          <a:gd name="connsiteY31" fmla="*/ 20394 h 24760"/>
                          <a:gd name="connsiteX32" fmla="*/ 7595 w 20394"/>
                          <a:gd name="connsiteY32" fmla="*/ 13277 h 24760"/>
                          <a:gd name="connsiteX33" fmla="*/ 7356 w 20394"/>
                          <a:gd name="connsiteY33" fmla="*/ 13098 h 24760"/>
                          <a:gd name="connsiteX34" fmla="*/ 1674 w 20394"/>
                          <a:gd name="connsiteY34" fmla="*/ 20215 h 24760"/>
                          <a:gd name="connsiteX35" fmla="*/ 4246 w 20394"/>
                          <a:gd name="connsiteY35" fmla="*/ 22607 h 24760"/>
                          <a:gd name="connsiteX36" fmla="*/ 9868 w 20394"/>
                          <a:gd name="connsiteY36" fmla="*/ 15430 h 24760"/>
                          <a:gd name="connsiteX37" fmla="*/ 9569 w 20394"/>
                          <a:gd name="connsiteY37" fmla="*/ 15131 h 24760"/>
                          <a:gd name="connsiteX38" fmla="*/ 3887 w 20394"/>
                          <a:gd name="connsiteY38" fmla="*/ 22248 h 24760"/>
                          <a:gd name="connsiteX39" fmla="*/ 4246 w 20394"/>
                          <a:gd name="connsiteY39" fmla="*/ 22607 h 24760"/>
                          <a:gd name="connsiteX40" fmla="*/ 2572 w 20394"/>
                          <a:gd name="connsiteY40" fmla="*/ 24760 h 24760"/>
                          <a:gd name="connsiteX41" fmla="*/ 3469 w 20394"/>
                          <a:gd name="connsiteY41" fmla="*/ 23624 h 24760"/>
                          <a:gd name="connsiteX42" fmla="*/ 3110 w 20394"/>
                          <a:gd name="connsiteY42" fmla="*/ 23265 h 24760"/>
                          <a:gd name="connsiteX43" fmla="*/ 2990 w 20394"/>
                          <a:gd name="connsiteY43" fmla="*/ 23384 h 24760"/>
                          <a:gd name="connsiteX44" fmla="*/ 2990 w 20394"/>
                          <a:gd name="connsiteY44" fmla="*/ 23384 h 24760"/>
                          <a:gd name="connsiteX45" fmla="*/ 957 w 20394"/>
                          <a:gd name="connsiteY45" fmla="*/ 21471 h 24760"/>
                          <a:gd name="connsiteX46" fmla="*/ 957 w 20394"/>
                          <a:gd name="connsiteY46" fmla="*/ 21471 h 24760"/>
                          <a:gd name="connsiteX47" fmla="*/ 1076 w 20394"/>
                          <a:gd name="connsiteY47" fmla="*/ 21351 h 24760"/>
                          <a:gd name="connsiteX48" fmla="*/ 897 w 20394"/>
                          <a:gd name="connsiteY48" fmla="*/ 21172 h 24760"/>
                          <a:gd name="connsiteX49" fmla="*/ 0 w 20394"/>
                          <a:gd name="connsiteY49" fmla="*/ 22308 h 24760"/>
                          <a:gd name="connsiteX50" fmla="*/ 2572 w 20394"/>
                          <a:gd name="connsiteY50" fmla="*/ 24760 h 2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0394" h="24760">
                            <a:moveTo>
                              <a:pt x="17583" y="2093"/>
                            </a:moveTo>
                            <a:lnTo>
                              <a:pt x="18181" y="1375"/>
                            </a:lnTo>
                            <a:lnTo>
                              <a:pt x="16746" y="0"/>
                            </a:lnTo>
                            <a:lnTo>
                              <a:pt x="16148" y="718"/>
                            </a:lnTo>
                            <a:lnTo>
                              <a:pt x="17583" y="2093"/>
                            </a:lnTo>
                            <a:moveTo>
                              <a:pt x="19796" y="4187"/>
                            </a:moveTo>
                            <a:lnTo>
                              <a:pt x="20394" y="3469"/>
                            </a:lnTo>
                            <a:lnTo>
                              <a:pt x="18959" y="2153"/>
                            </a:lnTo>
                            <a:lnTo>
                              <a:pt x="18360" y="2871"/>
                            </a:lnTo>
                            <a:lnTo>
                              <a:pt x="19796" y="4187"/>
                            </a:lnTo>
                            <a:moveTo>
                              <a:pt x="10227" y="8134"/>
                            </a:moveTo>
                            <a:lnTo>
                              <a:pt x="11064" y="8911"/>
                            </a:lnTo>
                            <a:lnTo>
                              <a:pt x="16208" y="2512"/>
                            </a:lnTo>
                            <a:lnTo>
                              <a:pt x="15370" y="1734"/>
                            </a:lnTo>
                            <a:lnTo>
                              <a:pt x="10227" y="8134"/>
                            </a:lnTo>
                            <a:moveTo>
                              <a:pt x="13935" y="11543"/>
                            </a:moveTo>
                            <a:lnTo>
                              <a:pt x="19019" y="5203"/>
                            </a:lnTo>
                            <a:lnTo>
                              <a:pt x="18181" y="4426"/>
                            </a:lnTo>
                            <a:lnTo>
                              <a:pt x="13098" y="10765"/>
                            </a:lnTo>
                            <a:lnTo>
                              <a:pt x="13935" y="11543"/>
                            </a:lnTo>
                            <a:moveTo>
                              <a:pt x="10347" y="14174"/>
                            </a:moveTo>
                            <a:lnTo>
                              <a:pt x="11184" y="14952"/>
                            </a:lnTo>
                            <a:lnTo>
                              <a:pt x="13157" y="12500"/>
                            </a:lnTo>
                            <a:lnTo>
                              <a:pt x="12320" y="11722"/>
                            </a:lnTo>
                            <a:lnTo>
                              <a:pt x="10347" y="14174"/>
                            </a:lnTo>
                            <a:moveTo>
                              <a:pt x="7476" y="11543"/>
                            </a:moveTo>
                            <a:lnTo>
                              <a:pt x="8313" y="12320"/>
                            </a:lnTo>
                            <a:lnTo>
                              <a:pt x="10287" y="9868"/>
                            </a:lnTo>
                            <a:lnTo>
                              <a:pt x="9449" y="9091"/>
                            </a:lnTo>
                            <a:lnTo>
                              <a:pt x="7476" y="11543"/>
                            </a:lnTo>
                            <a:moveTo>
                              <a:pt x="1674" y="20215"/>
                            </a:moveTo>
                            <a:lnTo>
                              <a:pt x="1854" y="20394"/>
                            </a:lnTo>
                            <a:lnTo>
                              <a:pt x="7595" y="13277"/>
                            </a:lnTo>
                            <a:lnTo>
                              <a:pt x="7356" y="13098"/>
                            </a:lnTo>
                            <a:lnTo>
                              <a:pt x="1674" y="20215"/>
                            </a:lnTo>
                            <a:moveTo>
                              <a:pt x="4246" y="22607"/>
                            </a:moveTo>
                            <a:lnTo>
                              <a:pt x="9868" y="15430"/>
                            </a:lnTo>
                            <a:lnTo>
                              <a:pt x="9569" y="15131"/>
                            </a:lnTo>
                            <a:lnTo>
                              <a:pt x="3887" y="22248"/>
                            </a:lnTo>
                            <a:lnTo>
                              <a:pt x="4246" y="22607"/>
                            </a:lnTo>
                            <a:moveTo>
                              <a:pt x="2572" y="24760"/>
                            </a:moveTo>
                            <a:lnTo>
                              <a:pt x="3469" y="23624"/>
                            </a:lnTo>
                            <a:lnTo>
                              <a:pt x="3110" y="23265"/>
                            </a:lnTo>
                            <a:lnTo>
                              <a:pt x="2990" y="23384"/>
                            </a:lnTo>
                            <a:lnTo>
                              <a:pt x="2990" y="23384"/>
                            </a:lnTo>
                            <a:lnTo>
                              <a:pt x="957" y="21471"/>
                            </a:lnTo>
                            <a:lnTo>
                              <a:pt x="957" y="21471"/>
                            </a:lnTo>
                            <a:lnTo>
                              <a:pt x="1076" y="21351"/>
                            </a:lnTo>
                            <a:lnTo>
                              <a:pt x="897" y="21172"/>
                            </a:lnTo>
                            <a:lnTo>
                              <a:pt x="0" y="22308"/>
                            </a:lnTo>
                            <a:lnTo>
                              <a:pt x="2572" y="24760"/>
                            </a:lnTo>
                          </a:path>
                        </a:pathLst>
                      </a:custGeom>
                      <a:noFill/>
                      <a:ln w="6350" cap="flat">
                        <a:solidFill>
                          <a:schemeClr val="bg1">
                            <a:alpha val="40000"/>
                          </a:schemeClr>
                        </a:solidFill>
                        <a:prstDash val="solid"/>
                        <a:miter/>
                      </a:ln>
                    </p:spPr>
                    <p:txBody>
                      <a:bodyPr rtlCol="0" anchor="ctr"/>
                      <a:lstStyle/>
                      <a:p>
                        <a:endParaRPr lang="en-GB"/>
                      </a:p>
                    </p:txBody>
                  </p:sp>
                  <p:sp>
                    <p:nvSpPr>
                      <p:cNvPr id="7412" name="Vrije vorm: vorm 7411">
                        <a:extLst>
                          <a:ext uri="{FF2B5EF4-FFF2-40B4-BE49-F238E27FC236}">
                            <a16:creationId xmlns:a16="http://schemas.microsoft.com/office/drawing/2014/main" id="{B1A51713-03E4-4B5B-B596-DD1C793A4C70}"/>
                          </a:ext>
                        </a:extLst>
                      </p:cNvPr>
                      <p:cNvSpPr/>
                      <p:nvPr/>
                    </p:nvSpPr>
                    <p:spPr>
                      <a:xfrm>
                        <a:off x="5085308" y="4894543"/>
                        <a:ext cx="26075" cy="27810"/>
                      </a:xfrm>
                      <a:custGeom>
                        <a:avLst/>
                        <a:gdLst>
                          <a:gd name="connsiteX0" fmla="*/ 16925 w 26075"/>
                          <a:gd name="connsiteY0" fmla="*/ 8612 h 27810"/>
                          <a:gd name="connsiteX1" fmla="*/ 16925 w 26075"/>
                          <a:gd name="connsiteY1" fmla="*/ 8612 h 27810"/>
                          <a:gd name="connsiteX2" fmla="*/ 7895 w 26075"/>
                          <a:gd name="connsiteY2" fmla="*/ 0 h 27810"/>
                          <a:gd name="connsiteX3" fmla="*/ 7835 w 26075"/>
                          <a:gd name="connsiteY3" fmla="*/ 60 h 27810"/>
                          <a:gd name="connsiteX4" fmla="*/ 11662 w 26075"/>
                          <a:gd name="connsiteY4" fmla="*/ 3648 h 27810"/>
                          <a:gd name="connsiteX5" fmla="*/ 11662 w 26075"/>
                          <a:gd name="connsiteY5" fmla="*/ 3648 h 27810"/>
                          <a:gd name="connsiteX6" fmla="*/ 16447 w 26075"/>
                          <a:gd name="connsiteY6" fmla="*/ 8134 h 27810"/>
                          <a:gd name="connsiteX7" fmla="*/ 16925 w 26075"/>
                          <a:gd name="connsiteY7" fmla="*/ 8612 h 27810"/>
                          <a:gd name="connsiteX8" fmla="*/ 19497 w 26075"/>
                          <a:gd name="connsiteY8" fmla="*/ 11065 h 27810"/>
                          <a:gd name="connsiteX9" fmla="*/ 17763 w 26075"/>
                          <a:gd name="connsiteY9" fmla="*/ 9450 h 27810"/>
                          <a:gd name="connsiteX10" fmla="*/ 17763 w 26075"/>
                          <a:gd name="connsiteY10" fmla="*/ 9450 h 27810"/>
                          <a:gd name="connsiteX11" fmla="*/ 19497 w 26075"/>
                          <a:gd name="connsiteY11" fmla="*/ 11065 h 27810"/>
                          <a:gd name="connsiteX12" fmla="*/ 3768 w 26075"/>
                          <a:gd name="connsiteY12" fmla="*/ 13516 h 27810"/>
                          <a:gd name="connsiteX13" fmla="*/ 4545 w 26075"/>
                          <a:gd name="connsiteY13" fmla="*/ 12500 h 27810"/>
                          <a:gd name="connsiteX14" fmla="*/ 4366 w 26075"/>
                          <a:gd name="connsiteY14" fmla="*/ 12320 h 27810"/>
                          <a:gd name="connsiteX15" fmla="*/ 1615 w 26075"/>
                          <a:gd name="connsiteY15" fmla="*/ 9689 h 27810"/>
                          <a:gd name="connsiteX16" fmla="*/ 7895 w 26075"/>
                          <a:gd name="connsiteY16" fmla="*/ 1854 h 27810"/>
                          <a:gd name="connsiteX17" fmla="*/ 7057 w 26075"/>
                          <a:gd name="connsiteY17" fmla="*/ 1076 h 27810"/>
                          <a:gd name="connsiteX18" fmla="*/ 0 w 26075"/>
                          <a:gd name="connsiteY18" fmla="*/ 9928 h 27810"/>
                          <a:gd name="connsiteX19" fmla="*/ 3588 w 26075"/>
                          <a:gd name="connsiteY19" fmla="*/ 13337 h 27810"/>
                          <a:gd name="connsiteX20" fmla="*/ 3768 w 26075"/>
                          <a:gd name="connsiteY20" fmla="*/ 13516 h 27810"/>
                          <a:gd name="connsiteX21" fmla="*/ 18959 w 26075"/>
                          <a:gd name="connsiteY21" fmla="*/ 27811 h 27810"/>
                          <a:gd name="connsiteX22" fmla="*/ 26076 w 26075"/>
                          <a:gd name="connsiteY22" fmla="*/ 18899 h 27810"/>
                          <a:gd name="connsiteX23" fmla="*/ 16985 w 26075"/>
                          <a:gd name="connsiteY23" fmla="*/ 10406 h 27810"/>
                          <a:gd name="connsiteX24" fmla="*/ 16985 w 26075"/>
                          <a:gd name="connsiteY24" fmla="*/ 10406 h 27810"/>
                          <a:gd name="connsiteX25" fmla="*/ 16626 w 26075"/>
                          <a:gd name="connsiteY25" fmla="*/ 10048 h 27810"/>
                          <a:gd name="connsiteX26" fmla="*/ 25238 w 26075"/>
                          <a:gd name="connsiteY26" fmla="*/ 18182 h 27810"/>
                          <a:gd name="connsiteX27" fmla="*/ 18959 w 26075"/>
                          <a:gd name="connsiteY27" fmla="*/ 26016 h 27810"/>
                          <a:gd name="connsiteX28" fmla="*/ 15729 w 26075"/>
                          <a:gd name="connsiteY28" fmla="*/ 22966 h 27810"/>
                          <a:gd name="connsiteX29" fmla="*/ 10944 w 26075"/>
                          <a:gd name="connsiteY29" fmla="*/ 18421 h 27810"/>
                          <a:gd name="connsiteX30" fmla="*/ 9509 w 26075"/>
                          <a:gd name="connsiteY30" fmla="*/ 17105 h 27810"/>
                          <a:gd name="connsiteX31" fmla="*/ 8732 w 26075"/>
                          <a:gd name="connsiteY31" fmla="*/ 18062 h 27810"/>
                          <a:gd name="connsiteX32" fmla="*/ 3947 w 26075"/>
                          <a:gd name="connsiteY32" fmla="*/ 13576 h 27810"/>
                          <a:gd name="connsiteX33" fmla="*/ 4426 w 26075"/>
                          <a:gd name="connsiteY33" fmla="*/ 13995 h 27810"/>
                          <a:gd name="connsiteX34" fmla="*/ 6459 w 26075"/>
                          <a:gd name="connsiteY34" fmla="*/ 15909 h 27810"/>
                          <a:gd name="connsiteX35" fmla="*/ 7296 w 26075"/>
                          <a:gd name="connsiteY35" fmla="*/ 16686 h 27810"/>
                          <a:gd name="connsiteX36" fmla="*/ 9330 w 26075"/>
                          <a:gd name="connsiteY36" fmla="*/ 18600 h 27810"/>
                          <a:gd name="connsiteX37" fmla="*/ 10167 w 26075"/>
                          <a:gd name="connsiteY37" fmla="*/ 19377 h 27810"/>
                          <a:gd name="connsiteX38" fmla="*/ 14174 w 26075"/>
                          <a:gd name="connsiteY38" fmla="*/ 23145 h 27810"/>
                          <a:gd name="connsiteX39" fmla="*/ 15012 w 26075"/>
                          <a:gd name="connsiteY39" fmla="*/ 23923 h 27810"/>
                          <a:gd name="connsiteX40" fmla="*/ 18959 w 26075"/>
                          <a:gd name="connsiteY40" fmla="*/ 27811 h 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6075" h="27810">
                            <a:moveTo>
                              <a:pt x="16925" y="8612"/>
                            </a:moveTo>
                            <a:lnTo>
                              <a:pt x="16925" y="8612"/>
                            </a:lnTo>
                            <a:lnTo>
                              <a:pt x="7895" y="0"/>
                            </a:lnTo>
                            <a:lnTo>
                              <a:pt x="7835" y="60"/>
                            </a:lnTo>
                            <a:lnTo>
                              <a:pt x="11662" y="3648"/>
                            </a:lnTo>
                            <a:lnTo>
                              <a:pt x="11662" y="3648"/>
                            </a:lnTo>
                            <a:lnTo>
                              <a:pt x="16447" y="8134"/>
                            </a:lnTo>
                            <a:lnTo>
                              <a:pt x="16925" y="8612"/>
                            </a:lnTo>
                            <a:moveTo>
                              <a:pt x="19497" y="11065"/>
                            </a:moveTo>
                            <a:lnTo>
                              <a:pt x="17763" y="9450"/>
                            </a:lnTo>
                            <a:lnTo>
                              <a:pt x="17763" y="9450"/>
                            </a:lnTo>
                            <a:lnTo>
                              <a:pt x="19497" y="11065"/>
                            </a:lnTo>
                            <a:moveTo>
                              <a:pt x="3768" y="13516"/>
                            </a:moveTo>
                            <a:lnTo>
                              <a:pt x="4545" y="12500"/>
                            </a:lnTo>
                            <a:lnTo>
                              <a:pt x="4366" y="12320"/>
                            </a:lnTo>
                            <a:lnTo>
                              <a:pt x="1615" y="9689"/>
                            </a:lnTo>
                            <a:lnTo>
                              <a:pt x="7895" y="1854"/>
                            </a:lnTo>
                            <a:lnTo>
                              <a:pt x="7057" y="1076"/>
                            </a:lnTo>
                            <a:lnTo>
                              <a:pt x="0" y="9928"/>
                            </a:lnTo>
                            <a:lnTo>
                              <a:pt x="3588" y="13337"/>
                            </a:lnTo>
                            <a:lnTo>
                              <a:pt x="3768" y="13516"/>
                            </a:lnTo>
                            <a:moveTo>
                              <a:pt x="18959" y="27811"/>
                            </a:moveTo>
                            <a:lnTo>
                              <a:pt x="26076" y="18899"/>
                            </a:lnTo>
                            <a:lnTo>
                              <a:pt x="16985" y="10406"/>
                            </a:lnTo>
                            <a:lnTo>
                              <a:pt x="16985" y="10406"/>
                            </a:lnTo>
                            <a:lnTo>
                              <a:pt x="16626" y="10048"/>
                            </a:lnTo>
                            <a:lnTo>
                              <a:pt x="25238" y="18182"/>
                            </a:lnTo>
                            <a:lnTo>
                              <a:pt x="18959" y="26016"/>
                            </a:lnTo>
                            <a:lnTo>
                              <a:pt x="15729" y="22966"/>
                            </a:lnTo>
                            <a:lnTo>
                              <a:pt x="10944" y="18421"/>
                            </a:lnTo>
                            <a:lnTo>
                              <a:pt x="9509" y="17105"/>
                            </a:lnTo>
                            <a:lnTo>
                              <a:pt x="8732" y="18062"/>
                            </a:lnTo>
                            <a:lnTo>
                              <a:pt x="3947" y="13576"/>
                            </a:lnTo>
                            <a:lnTo>
                              <a:pt x="4426" y="13995"/>
                            </a:lnTo>
                            <a:lnTo>
                              <a:pt x="6459" y="15909"/>
                            </a:lnTo>
                            <a:lnTo>
                              <a:pt x="7296" y="16686"/>
                            </a:lnTo>
                            <a:lnTo>
                              <a:pt x="9330" y="18600"/>
                            </a:lnTo>
                            <a:lnTo>
                              <a:pt x="10167" y="19377"/>
                            </a:lnTo>
                            <a:lnTo>
                              <a:pt x="14174" y="23145"/>
                            </a:lnTo>
                            <a:lnTo>
                              <a:pt x="15012" y="23923"/>
                            </a:lnTo>
                            <a:lnTo>
                              <a:pt x="18959" y="27811"/>
                            </a:lnTo>
                          </a:path>
                        </a:pathLst>
                      </a:custGeom>
                      <a:noFill/>
                      <a:ln w="6350" cap="flat">
                        <a:solidFill>
                          <a:schemeClr val="bg1">
                            <a:alpha val="40000"/>
                          </a:schemeClr>
                        </a:solidFill>
                        <a:prstDash val="solid"/>
                        <a:miter/>
                      </a:ln>
                    </p:spPr>
                    <p:txBody>
                      <a:bodyPr rtlCol="0" anchor="ctr"/>
                      <a:lstStyle/>
                      <a:p>
                        <a:endParaRPr lang="en-GB"/>
                      </a:p>
                    </p:txBody>
                  </p:sp>
                  <p:sp>
                    <p:nvSpPr>
                      <p:cNvPr id="7413" name="Vrije vorm: vorm 7412">
                        <a:extLst>
                          <a:ext uri="{FF2B5EF4-FFF2-40B4-BE49-F238E27FC236}">
                            <a16:creationId xmlns:a16="http://schemas.microsoft.com/office/drawing/2014/main" id="{209E3942-7DA3-453E-9C5F-957A4FCFF5B2}"/>
                          </a:ext>
                        </a:extLst>
                      </p:cNvPr>
                      <p:cNvSpPr/>
                      <p:nvPr/>
                    </p:nvSpPr>
                    <p:spPr>
                      <a:xfrm>
                        <a:off x="5089076" y="4898191"/>
                        <a:ext cx="12679" cy="14473"/>
                      </a:xfrm>
                      <a:custGeom>
                        <a:avLst/>
                        <a:gdLst>
                          <a:gd name="connsiteX0" fmla="*/ 12679 w 12679"/>
                          <a:gd name="connsiteY0" fmla="*/ 4486 h 14473"/>
                          <a:gd name="connsiteX1" fmla="*/ 7895 w 12679"/>
                          <a:gd name="connsiteY1" fmla="*/ 0 h 14473"/>
                          <a:gd name="connsiteX2" fmla="*/ 7895 w 12679"/>
                          <a:gd name="connsiteY2" fmla="*/ 0 h 14473"/>
                          <a:gd name="connsiteX3" fmla="*/ 12679 w 12679"/>
                          <a:gd name="connsiteY3" fmla="*/ 4486 h 14473"/>
                          <a:gd name="connsiteX4" fmla="*/ 4964 w 12679"/>
                          <a:gd name="connsiteY4" fmla="*/ 14474 h 14473"/>
                          <a:gd name="connsiteX5" fmla="*/ 5741 w 12679"/>
                          <a:gd name="connsiteY5" fmla="*/ 13516 h 14473"/>
                          <a:gd name="connsiteX6" fmla="*/ 6340 w 12679"/>
                          <a:gd name="connsiteY6" fmla="*/ 12799 h 14473"/>
                          <a:gd name="connsiteX7" fmla="*/ 6340 w 12679"/>
                          <a:gd name="connsiteY7" fmla="*/ 12799 h 14473"/>
                          <a:gd name="connsiteX8" fmla="*/ 12081 w 12679"/>
                          <a:gd name="connsiteY8" fmla="*/ 5682 h 14473"/>
                          <a:gd name="connsiteX9" fmla="*/ 10526 w 12679"/>
                          <a:gd name="connsiteY9" fmla="*/ 4246 h 14473"/>
                          <a:gd name="connsiteX10" fmla="*/ 11244 w 12679"/>
                          <a:gd name="connsiteY10" fmla="*/ 4904 h 14473"/>
                          <a:gd name="connsiteX11" fmla="*/ 5502 w 12679"/>
                          <a:gd name="connsiteY11" fmla="*/ 12021 h 14473"/>
                          <a:gd name="connsiteX12" fmla="*/ 5502 w 12679"/>
                          <a:gd name="connsiteY12" fmla="*/ 12021 h 14473"/>
                          <a:gd name="connsiteX13" fmla="*/ 4904 w 12679"/>
                          <a:gd name="connsiteY13" fmla="*/ 12739 h 14473"/>
                          <a:gd name="connsiteX14" fmla="*/ 3469 w 12679"/>
                          <a:gd name="connsiteY14" fmla="*/ 11364 h 14473"/>
                          <a:gd name="connsiteX15" fmla="*/ 1615 w 12679"/>
                          <a:gd name="connsiteY15" fmla="*/ 9629 h 14473"/>
                          <a:gd name="connsiteX16" fmla="*/ 2213 w 12679"/>
                          <a:gd name="connsiteY16" fmla="*/ 8912 h 14473"/>
                          <a:gd name="connsiteX17" fmla="*/ 7954 w 12679"/>
                          <a:gd name="connsiteY17" fmla="*/ 1795 h 14473"/>
                          <a:gd name="connsiteX18" fmla="*/ 7117 w 12679"/>
                          <a:gd name="connsiteY18" fmla="*/ 1017 h 14473"/>
                          <a:gd name="connsiteX19" fmla="*/ 1375 w 12679"/>
                          <a:gd name="connsiteY19" fmla="*/ 8194 h 14473"/>
                          <a:gd name="connsiteX20" fmla="*/ 778 w 12679"/>
                          <a:gd name="connsiteY20" fmla="*/ 8912 h 14473"/>
                          <a:gd name="connsiteX21" fmla="*/ 0 w 12679"/>
                          <a:gd name="connsiteY21" fmla="*/ 9928 h 14473"/>
                          <a:gd name="connsiteX22" fmla="*/ 0 w 12679"/>
                          <a:gd name="connsiteY22" fmla="*/ 9928 h 14473"/>
                          <a:gd name="connsiteX23" fmla="*/ 179 w 12679"/>
                          <a:gd name="connsiteY23" fmla="*/ 10107 h 14473"/>
                          <a:gd name="connsiteX24" fmla="*/ 4964 w 12679"/>
                          <a:gd name="connsiteY24" fmla="*/ 14474 h 1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679" h="14473">
                            <a:moveTo>
                              <a:pt x="12679" y="4486"/>
                            </a:moveTo>
                            <a:lnTo>
                              <a:pt x="7895" y="0"/>
                            </a:lnTo>
                            <a:lnTo>
                              <a:pt x="7895" y="0"/>
                            </a:lnTo>
                            <a:lnTo>
                              <a:pt x="12679" y="4486"/>
                            </a:lnTo>
                            <a:moveTo>
                              <a:pt x="4964" y="14474"/>
                            </a:moveTo>
                            <a:lnTo>
                              <a:pt x="5741" y="13516"/>
                            </a:lnTo>
                            <a:lnTo>
                              <a:pt x="6340" y="12799"/>
                            </a:lnTo>
                            <a:lnTo>
                              <a:pt x="6340" y="12799"/>
                            </a:lnTo>
                            <a:lnTo>
                              <a:pt x="12081" y="5682"/>
                            </a:lnTo>
                            <a:lnTo>
                              <a:pt x="10526" y="4246"/>
                            </a:lnTo>
                            <a:lnTo>
                              <a:pt x="11244" y="4904"/>
                            </a:lnTo>
                            <a:lnTo>
                              <a:pt x="5502" y="12021"/>
                            </a:lnTo>
                            <a:lnTo>
                              <a:pt x="5502" y="12021"/>
                            </a:lnTo>
                            <a:lnTo>
                              <a:pt x="4904" y="12739"/>
                            </a:lnTo>
                            <a:lnTo>
                              <a:pt x="3469" y="11364"/>
                            </a:lnTo>
                            <a:lnTo>
                              <a:pt x="1615" y="9629"/>
                            </a:lnTo>
                            <a:lnTo>
                              <a:pt x="2213" y="8912"/>
                            </a:lnTo>
                            <a:lnTo>
                              <a:pt x="7954" y="1795"/>
                            </a:lnTo>
                            <a:lnTo>
                              <a:pt x="7117" y="1017"/>
                            </a:lnTo>
                            <a:lnTo>
                              <a:pt x="1375" y="8194"/>
                            </a:lnTo>
                            <a:lnTo>
                              <a:pt x="778" y="8912"/>
                            </a:lnTo>
                            <a:lnTo>
                              <a:pt x="0" y="9928"/>
                            </a:lnTo>
                            <a:lnTo>
                              <a:pt x="0" y="9928"/>
                            </a:lnTo>
                            <a:lnTo>
                              <a:pt x="179" y="10107"/>
                            </a:lnTo>
                            <a:lnTo>
                              <a:pt x="4964" y="14474"/>
                            </a:lnTo>
                          </a:path>
                        </a:pathLst>
                      </a:custGeom>
                      <a:noFill/>
                      <a:ln w="6350" cap="flat">
                        <a:solidFill>
                          <a:schemeClr val="bg1">
                            <a:alpha val="40000"/>
                          </a:schemeClr>
                        </a:solidFill>
                        <a:prstDash val="solid"/>
                        <a:miter/>
                      </a:ln>
                    </p:spPr>
                    <p:txBody>
                      <a:bodyPr rtlCol="0" anchor="ctr"/>
                      <a:lstStyle/>
                      <a:p>
                        <a:endParaRPr lang="en-GB"/>
                      </a:p>
                    </p:txBody>
                  </p:sp>
                  <p:sp>
                    <p:nvSpPr>
                      <p:cNvPr id="7414" name="Vrije vorm: vorm 7413">
                        <a:extLst>
                          <a:ext uri="{FF2B5EF4-FFF2-40B4-BE49-F238E27FC236}">
                            <a16:creationId xmlns:a16="http://schemas.microsoft.com/office/drawing/2014/main" id="{DDED3EFD-39D3-4B16-ABEB-333DB852A746}"/>
                          </a:ext>
                        </a:extLst>
                      </p:cNvPr>
                      <p:cNvSpPr/>
                      <p:nvPr/>
                    </p:nvSpPr>
                    <p:spPr>
                      <a:xfrm>
                        <a:off x="5068502" y="4859556"/>
                        <a:ext cx="97545" cy="84208"/>
                      </a:xfrm>
                      <a:custGeom>
                        <a:avLst/>
                        <a:gdLst>
                          <a:gd name="connsiteX0" fmla="*/ 39114 w 97545"/>
                          <a:gd name="connsiteY0" fmla="*/ 36961 h 84208"/>
                          <a:gd name="connsiteX1" fmla="*/ 39114 w 97545"/>
                          <a:gd name="connsiteY1" fmla="*/ 36961 h 84208"/>
                          <a:gd name="connsiteX2" fmla="*/ 0 w 97545"/>
                          <a:gd name="connsiteY2" fmla="*/ 0 h 84208"/>
                          <a:gd name="connsiteX3" fmla="*/ 39114 w 97545"/>
                          <a:gd name="connsiteY3" fmla="*/ 36961 h 84208"/>
                          <a:gd name="connsiteX4" fmla="*/ 74998 w 97545"/>
                          <a:gd name="connsiteY4" fmla="*/ 84029 h 84208"/>
                          <a:gd name="connsiteX5" fmla="*/ 75178 w 97545"/>
                          <a:gd name="connsiteY5" fmla="*/ 84208 h 84208"/>
                          <a:gd name="connsiteX6" fmla="*/ 91804 w 97545"/>
                          <a:gd name="connsiteY6" fmla="*/ 78287 h 84208"/>
                          <a:gd name="connsiteX7" fmla="*/ 97546 w 97545"/>
                          <a:gd name="connsiteY7" fmla="*/ 47008 h 84208"/>
                          <a:gd name="connsiteX8" fmla="*/ 97546 w 97545"/>
                          <a:gd name="connsiteY8" fmla="*/ 46530 h 84208"/>
                          <a:gd name="connsiteX9" fmla="*/ 97426 w 97545"/>
                          <a:gd name="connsiteY9" fmla="*/ 46052 h 84208"/>
                          <a:gd name="connsiteX10" fmla="*/ 97247 w 97545"/>
                          <a:gd name="connsiteY10" fmla="*/ 45633 h 84208"/>
                          <a:gd name="connsiteX11" fmla="*/ 96947 w 97545"/>
                          <a:gd name="connsiteY11" fmla="*/ 45274 h 84208"/>
                          <a:gd name="connsiteX12" fmla="*/ 96768 w 97545"/>
                          <a:gd name="connsiteY12" fmla="*/ 45095 h 84208"/>
                          <a:gd name="connsiteX13" fmla="*/ 96588 w 97545"/>
                          <a:gd name="connsiteY13" fmla="*/ 44975 h 84208"/>
                          <a:gd name="connsiteX14" fmla="*/ 96409 w 97545"/>
                          <a:gd name="connsiteY14" fmla="*/ 44855 h 84208"/>
                          <a:gd name="connsiteX15" fmla="*/ 96170 w 97545"/>
                          <a:gd name="connsiteY15" fmla="*/ 44796 h 84208"/>
                          <a:gd name="connsiteX16" fmla="*/ 95991 w 97545"/>
                          <a:gd name="connsiteY16" fmla="*/ 44736 h 84208"/>
                          <a:gd name="connsiteX17" fmla="*/ 95811 w 97545"/>
                          <a:gd name="connsiteY17" fmla="*/ 44736 h 84208"/>
                          <a:gd name="connsiteX18" fmla="*/ 95632 w 97545"/>
                          <a:gd name="connsiteY18" fmla="*/ 44736 h 84208"/>
                          <a:gd name="connsiteX19" fmla="*/ 95452 w 97545"/>
                          <a:gd name="connsiteY19" fmla="*/ 44736 h 84208"/>
                          <a:gd name="connsiteX20" fmla="*/ 95153 w 97545"/>
                          <a:gd name="connsiteY20" fmla="*/ 44796 h 84208"/>
                          <a:gd name="connsiteX21" fmla="*/ 94854 w 97545"/>
                          <a:gd name="connsiteY21" fmla="*/ 44915 h 84208"/>
                          <a:gd name="connsiteX22" fmla="*/ 94555 w 97545"/>
                          <a:gd name="connsiteY22" fmla="*/ 45095 h 84208"/>
                          <a:gd name="connsiteX23" fmla="*/ 94316 w 97545"/>
                          <a:gd name="connsiteY23" fmla="*/ 45274 h 84208"/>
                          <a:gd name="connsiteX24" fmla="*/ 94256 w 97545"/>
                          <a:gd name="connsiteY24" fmla="*/ 45334 h 84208"/>
                          <a:gd name="connsiteX25" fmla="*/ 94196 w 97545"/>
                          <a:gd name="connsiteY25" fmla="*/ 45393 h 84208"/>
                          <a:gd name="connsiteX26" fmla="*/ 94137 w 97545"/>
                          <a:gd name="connsiteY26" fmla="*/ 45453 h 84208"/>
                          <a:gd name="connsiteX27" fmla="*/ 94077 w 97545"/>
                          <a:gd name="connsiteY27" fmla="*/ 45573 h 84208"/>
                          <a:gd name="connsiteX28" fmla="*/ 93957 w 97545"/>
                          <a:gd name="connsiteY28" fmla="*/ 45812 h 84208"/>
                          <a:gd name="connsiteX29" fmla="*/ 93598 w 97545"/>
                          <a:gd name="connsiteY29" fmla="*/ 46470 h 84208"/>
                          <a:gd name="connsiteX30" fmla="*/ 92641 w 97545"/>
                          <a:gd name="connsiteY30" fmla="*/ 49221 h 84208"/>
                          <a:gd name="connsiteX31" fmla="*/ 85584 w 97545"/>
                          <a:gd name="connsiteY31" fmla="*/ 69795 h 84208"/>
                          <a:gd name="connsiteX32" fmla="*/ 77929 w 97545"/>
                          <a:gd name="connsiteY32" fmla="*/ 72068 h 84208"/>
                          <a:gd name="connsiteX33" fmla="*/ 40669 w 97545"/>
                          <a:gd name="connsiteY33" fmla="*/ 36781 h 84208"/>
                          <a:gd name="connsiteX34" fmla="*/ 39891 w 97545"/>
                          <a:gd name="connsiteY34" fmla="*/ 37738 h 84208"/>
                          <a:gd name="connsiteX35" fmla="*/ 77391 w 97545"/>
                          <a:gd name="connsiteY35" fmla="*/ 73144 h 84208"/>
                          <a:gd name="connsiteX36" fmla="*/ 77570 w 97545"/>
                          <a:gd name="connsiteY36" fmla="*/ 73324 h 84208"/>
                          <a:gd name="connsiteX37" fmla="*/ 86362 w 97545"/>
                          <a:gd name="connsiteY37" fmla="*/ 70692 h 84208"/>
                          <a:gd name="connsiteX38" fmla="*/ 94615 w 97545"/>
                          <a:gd name="connsiteY38" fmla="*/ 46709 h 84208"/>
                          <a:gd name="connsiteX39" fmla="*/ 94734 w 97545"/>
                          <a:gd name="connsiteY39" fmla="*/ 46530 h 84208"/>
                          <a:gd name="connsiteX40" fmla="*/ 94854 w 97545"/>
                          <a:gd name="connsiteY40" fmla="*/ 46351 h 84208"/>
                          <a:gd name="connsiteX41" fmla="*/ 94974 w 97545"/>
                          <a:gd name="connsiteY41" fmla="*/ 46291 h 84208"/>
                          <a:gd name="connsiteX42" fmla="*/ 95572 w 97545"/>
                          <a:gd name="connsiteY42" fmla="*/ 45932 h 84208"/>
                          <a:gd name="connsiteX43" fmla="*/ 96230 w 97545"/>
                          <a:gd name="connsiteY43" fmla="*/ 46171 h 84208"/>
                          <a:gd name="connsiteX44" fmla="*/ 96529 w 97545"/>
                          <a:gd name="connsiteY44" fmla="*/ 46949 h 84208"/>
                          <a:gd name="connsiteX45" fmla="*/ 90967 w 97545"/>
                          <a:gd name="connsiteY45" fmla="*/ 77391 h 84208"/>
                          <a:gd name="connsiteX46" fmla="*/ 75596 w 97545"/>
                          <a:gd name="connsiteY46" fmla="*/ 82893 h 84208"/>
                          <a:gd name="connsiteX47" fmla="*/ 36363 w 97545"/>
                          <a:gd name="connsiteY47" fmla="*/ 46052 h 84208"/>
                          <a:gd name="connsiteX48" fmla="*/ 34628 w 97545"/>
                          <a:gd name="connsiteY48" fmla="*/ 44437 h 84208"/>
                          <a:gd name="connsiteX49" fmla="*/ 33851 w 97545"/>
                          <a:gd name="connsiteY49" fmla="*/ 45393 h 84208"/>
                          <a:gd name="connsiteX50" fmla="*/ 42942 w 97545"/>
                          <a:gd name="connsiteY50" fmla="*/ 53886 h 84208"/>
                          <a:gd name="connsiteX51" fmla="*/ 74998 w 97545"/>
                          <a:gd name="connsiteY51" fmla="*/ 84029 h 8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7545" h="84208">
                            <a:moveTo>
                              <a:pt x="39114" y="36961"/>
                            </a:moveTo>
                            <a:lnTo>
                              <a:pt x="39114" y="36961"/>
                            </a:lnTo>
                            <a:lnTo>
                              <a:pt x="0" y="0"/>
                            </a:lnTo>
                            <a:lnTo>
                              <a:pt x="39114" y="36961"/>
                            </a:lnTo>
                            <a:moveTo>
                              <a:pt x="74998" y="84029"/>
                            </a:moveTo>
                            <a:lnTo>
                              <a:pt x="75178" y="84208"/>
                            </a:lnTo>
                            <a:lnTo>
                              <a:pt x="91804" y="78287"/>
                            </a:lnTo>
                            <a:lnTo>
                              <a:pt x="97546" y="47008"/>
                            </a:lnTo>
                            <a:cubicBezTo>
                              <a:pt x="97546" y="46829"/>
                              <a:pt x="97546" y="46709"/>
                              <a:pt x="97546" y="46530"/>
                            </a:cubicBezTo>
                            <a:cubicBezTo>
                              <a:pt x="97546" y="46351"/>
                              <a:pt x="97486" y="46231"/>
                              <a:pt x="97426" y="46052"/>
                            </a:cubicBezTo>
                            <a:cubicBezTo>
                              <a:pt x="97366" y="45872"/>
                              <a:pt x="97306" y="45752"/>
                              <a:pt x="97247" y="45633"/>
                            </a:cubicBezTo>
                            <a:cubicBezTo>
                              <a:pt x="97187" y="45513"/>
                              <a:pt x="97067" y="45393"/>
                              <a:pt x="96947" y="45274"/>
                            </a:cubicBezTo>
                            <a:cubicBezTo>
                              <a:pt x="96887" y="45214"/>
                              <a:pt x="96828" y="45154"/>
                              <a:pt x="96768" y="45095"/>
                            </a:cubicBezTo>
                            <a:cubicBezTo>
                              <a:pt x="96708" y="45035"/>
                              <a:pt x="96648" y="44975"/>
                              <a:pt x="96588" y="44975"/>
                            </a:cubicBezTo>
                            <a:cubicBezTo>
                              <a:pt x="96529" y="44915"/>
                              <a:pt x="96469" y="44915"/>
                              <a:pt x="96409" y="44855"/>
                            </a:cubicBezTo>
                            <a:cubicBezTo>
                              <a:pt x="96349" y="44855"/>
                              <a:pt x="96289" y="44796"/>
                              <a:pt x="96170" y="44796"/>
                            </a:cubicBezTo>
                            <a:cubicBezTo>
                              <a:pt x="96110" y="44796"/>
                              <a:pt x="96050" y="44796"/>
                              <a:pt x="95991" y="44736"/>
                            </a:cubicBezTo>
                            <a:cubicBezTo>
                              <a:pt x="95931" y="44736"/>
                              <a:pt x="95871" y="44736"/>
                              <a:pt x="95811" y="44736"/>
                            </a:cubicBezTo>
                            <a:cubicBezTo>
                              <a:pt x="95751" y="44736"/>
                              <a:pt x="95692" y="44736"/>
                              <a:pt x="95632" y="44736"/>
                            </a:cubicBezTo>
                            <a:cubicBezTo>
                              <a:pt x="95572" y="44736"/>
                              <a:pt x="95512" y="44736"/>
                              <a:pt x="95452" y="44736"/>
                            </a:cubicBezTo>
                            <a:cubicBezTo>
                              <a:pt x="95333" y="44736"/>
                              <a:pt x="95273" y="44796"/>
                              <a:pt x="95153" y="44796"/>
                            </a:cubicBezTo>
                            <a:cubicBezTo>
                              <a:pt x="95033" y="44796"/>
                              <a:pt x="94974" y="44855"/>
                              <a:pt x="94854" y="44915"/>
                            </a:cubicBezTo>
                            <a:cubicBezTo>
                              <a:pt x="94734" y="44975"/>
                              <a:pt x="94675" y="45035"/>
                              <a:pt x="94555" y="45095"/>
                            </a:cubicBezTo>
                            <a:cubicBezTo>
                              <a:pt x="94495" y="45154"/>
                              <a:pt x="94376" y="45214"/>
                              <a:pt x="94316" y="45274"/>
                            </a:cubicBezTo>
                            <a:cubicBezTo>
                              <a:pt x="94316" y="45274"/>
                              <a:pt x="94256" y="45334"/>
                              <a:pt x="94256" y="45334"/>
                            </a:cubicBezTo>
                            <a:cubicBezTo>
                              <a:pt x="94256" y="45334"/>
                              <a:pt x="94196" y="45393"/>
                              <a:pt x="94196" y="45393"/>
                            </a:cubicBezTo>
                            <a:cubicBezTo>
                              <a:pt x="94196" y="45393"/>
                              <a:pt x="94137" y="45453"/>
                              <a:pt x="94137" y="45453"/>
                            </a:cubicBezTo>
                            <a:cubicBezTo>
                              <a:pt x="94137" y="45513"/>
                              <a:pt x="94077" y="45513"/>
                              <a:pt x="94077" y="45573"/>
                            </a:cubicBezTo>
                            <a:lnTo>
                              <a:pt x="93957" y="45812"/>
                            </a:lnTo>
                            <a:lnTo>
                              <a:pt x="93598" y="46470"/>
                            </a:lnTo>
                            <a:lnTo>
                              <a:pt x="92641" y="49221"/>
                            </a:lnTo>
                            <a:lnTo>
                              <a:pt x="85584" y="69795"/>
                            </a:lnTo>
                            <a:lnTo>
                              <a:pt x="77929" y="72068"/>
                            </a:lnTo>
                            <a:lnTo>
                              <a:pt x="40669" y="36781"/>
                            </a:lnTo>
                            <a:lnTo>
                              <a:pt x="39891" y="37738"/>
                            </a:lnTo>
                            <a:lnTo>
                              <a:pt x="77391" y="73144"/>
                            </a:lnTo>
                            <a:lnTo>
                              <a:pt x="77570" y="73324"/>
                            </a:lnTo>
                            <a:lnTo>
                              <a:pt x="86362" y="70692"/>
                            </a:lnTo>
                            <a:lnTo>
                              <a:pt x="94615" y="46709"/>
                            </a:lnTo>
                            <a:lnTo>
                              <a:pt x="94734" y="46530"/>
                            </a:lnTo>
                            <a:lnTo>
                              <a:pt x="94854" y="46351"/>
                            </a:lnTo>
                            <a:lnTo>
                              <a:pt x="94974" y="46291"/>
                            </a:lnTo>
                            <a:lnTo>
                              <a:pt x="95572" y="45932"/>
                            </a:lnTo>
                            <a:lnTo>
                              <a:pt x="96230" y="46171"/>
                            </a:lnTo>
                            <a:lnTo>
                              <a:pt x="96529" y="46949"/>
                            </a:lnTo>
                            <a:lnTo>
                              <a:pt x="90967" y="77391"/>
                            </a:lnTo>
                            <a:lnTo>
                              <a:pt x="75596" y="82893"/>
                            </a:lnTo>
                            <a:lnTo>
                              <a:pt x="36363" y="46052"/>
                            </a:lnTo>
                            <a:lnTo>
                              <a:pt x="34628" y="44437"/>
                            </a:lnTo>
                            <a:lnTo>
                              <a:pt x="33851" y="45393"/>
                            </a:lnTo>
                            <a:lnTo>
                              <a:pt x="42942" y="53886"/>
                            </a:lnTo>
                            <a:lnTo>
                              <a:pt x="74998" y="84029"/>
                            </a:lnTo>
                          </a:path>
                        </a:pathLst>
                      </a:custGeom>
                      <a:noFill/>
                      <a:ln w="6350" cap="flat">
                        <a:solidFill>
                          <a:schemeClr val="bg1">
                            <a:alpha val="40000"/>
                          </a:schemeClr>
                        </a:solidFill>
                        <a:prstDash val="solid"/>
                        <a:miter/>
                      </a:ln>
                    </p:spPr>
                    <p:txBody>
                      <a:bodyPr rtlCol="0" anchor="ctr"/>
                      <a:lstStyle/>
                      <a:p>
                        <a:endParaRPr lang="en-GB"/>
                      </a:p>
                    </p:txBody>
                  </p:sp>
                  <p:sp>
                    <p:nvSpPr>
                      <p:cNvPr id="7415" name="Vrije vorm: vorm 7414">
                        <a:extLst>
                          <a:ext uri="{FF2B5EF4-FFF2-40B4-BE49-F238E27FC236}">
                            <a16:creationId xmlns:a16="http://schemas.microsoft.com/office/drawing/2014/main" id="{19CAC439-1CF4-45F0-9A78-885C103C50B9}"/>
                          </a:ext>
                        </a:extLst>
                      </p:cNvPr>
                      <p:cNvSpPr/>
                      <p:nvPr/>
                    </p:nvSpPr>
                    <p:spPr>
                      <a:xfrm>
                        <a:off x="5058395" y="4833420"/>
                        <a:ext cx="50776" cy="71529"/>
                      </a:xfrm>
                      <a:custGeom>
                        <a:avLst/>
                        <a:gdLst>
                          <a:gd name="connsiteX0" fmla="*/ 43838 w 50776"/>
                          <a:gd name="connsiteY0" fmla="*/ 69735 h 71529"/>
                          <a:gd name="connsiteX1" fmla="*/ 43838 w 50776"/>
                          <a:gd name="connsiteY1" fmla="*/ 69735 h 71529"/>
                          <a:gd name="connsiteX2" fmla="*/ 43300 w 50776"/>
                          <a:gd name="connsiteY2" fmla="*/ 69256 h 71529"/>
                          <a:gd name="connsiteX3" fmla="*/ 38516 w 50776"/>
                          <a:gd name="connsiteY3" fmla="*/ 64771 h 71529"/>
                          <a:gd name="connsiteX4" fmla="*/ 34688 w 50776"/>
                          <a:gd name="connsiteY4" fmla="*/ 61183 h 71529"/>
                          <a:gd name="connsiteX5" fmla="*/ 1076 w 50776"/>
                          <a:gd name="connsiteY5" fmla="*/ 29664 h 71529"/>
                          <a:gd name="connsiteX6" fmla="*/ 3827 w 50776"/>
                          <a:gd name="connsiteY6" fmla="*/ 11004 h 71529"/>
                          <a:gd name="connsiteX7" fmla="*/ 32415 w 50776"/>
                          <a:gd name="connsiteY7" fmla="*/ 1196 h 71529"/>
                          <a:gd name="connsiteX8" fmla="*/ 33253 w 50776"/>
                          <a:gd name="connsiteY8" fmla="*/ 1495 h 71529"/>
                          <a:gd name="connsiteX9" fmla="*/ 33492 w 50776"/>
                          <a:gd name="connsiteY9" fmla="*/ 1854 h 71529"/>
                          <a:gd name="connsiteX10" fmla="*/ 33552 w 50776"/>
                          <a:gd name="connsiteY10" fmla="*/ 2273 h 71529"/>
                          <a:gd name="connsiteX11" fmla="*/ 33492 w 50776"/>
                          <a:gd name="connsiteY11" fmla="*/ 2691 h 71529"/>
                          <a:gd name="connsiteX12" fmla="*/ 33253 w 50776"/>
                          <a:gd name="connsiteY12" fmla="*/ 3110 h 71529"/>
                          <a:gd name="connsiteX13" fmla="*/ 32834 w 50776"/>
                          <a:gd name="connsiteY13" fmla="*/ 3409 h 71529"/>
                          <a:gd name="connsiteX14" fmla="*/ 11004 w 50776"/>
                          <a:gd name="connsiteY14" fmla="*/ 15610 h 71529"/>
                          <a:gd name="connsiteX15" fmla="*/ 9988 w 50776"/>
                          <a:gd name="connsiteY15" fmla="*/ 26196 h 71529"/>
                          <a:gd name="connsiteX16" fmla="*/ 49101 w 50776"/>
                          <a:gd name="connsiteY16" fmla="*/ 63097 h 71529"/>
                          <a:gd name="connsiteX17" fmla="*/ 49101 w 50776"/>
                          <a:gd name="connsiteY17" fmla="*/ 63097 h 71529"/>
                          <a:gd name="connsiteX18" fmla="*/ 43838 w 50776"/>
                          <a:gd name="connsiteY18" fmla="*/ 69735 h 71529"/>
                          <a:gd name="connsiteX19" fmla="*/ 43480 w 50776"/>
                          <a:gd name="connsiteY19" fmla="*/ 71170 h 71529"/>
                          <a:gd name="connsiteX20" fmla="*/ 43480 w 50776"/>
                          <a:gd name="connsiteY20" fmla="*/ 71170 h 71529"/>
                          <a:gd name="connsiteX21" fmla="*/ 43898 w 50776"/>
                          <a:gd name="connsiteY21" fmla="*/ 71529 h 71529"/>
                          <a:gd name="connsiteX22" fmla="*/ 43898 w 50776"/>
                          <a:gd name="connsiteY22" fmla="*/ 71529 h 71529"/>
                          <a:gd name="connsiteX23" fmla="*/ 44676 w 50776"/>
                          <a:gd name="connsiteY23" fmla="*/ 70572 h 71529"/>
                          <a:gd name="connsiteX24" fmla="*/ 44676 w 50776"/>
                          <a:gd name="connsiteY24" fmla="*/ 70572 h 71529"/>
                          <a:gd name="connsiteX25" fmla="*/ 49999 w 50776"/>
                          <a:gd name="connsiteY25" fmla="*/ 63934 h 71529"/>
                          <a:gd name="connsiteX26" fmla="*/ 50776 w 50776"/>
                          <a:gd name="connsiteY26" fmla="*/ 62977 h 71529"/>
                          <a:gd name="connsiteX27" fmla="*/ 50776 w 50776"/>
                          <a:gd name="connsiteY27" fmla="*/ 62977 h 71529"/>
                          <a:gd name="connsiteX28" fmla="*/ 11303 w 50776"/>
                          <a:gd name="connsiteY28" fmla="*/ 25657 h 71529"/>
                          <a:gd name="connsiteX29" fmla="*/ 12260 w 50776"/>
                          <a:gd name="connsiteY29" fmla="*/ 16447 h 71529"/>
                          <a:gd name="connsiteX30" fmla="*/ 31339 w 50776"/>
                          <a:gd name="connsiteY30" fmla="*/ 5801 h 71529"/>
                          <a:gd name="connsiteX31" fmla="*/ 33432 w 50776"/>
                          <a:gd name="connsiteY31" fmla="*/ 4665 h 71529"/>
                          <a:gd name="connsiteX32" fmla="*/ 34210 w 50776"/>
                          <a:gd name="connsiteY32" fmla="*/ 4007 h 71529"/>
                          <a:gd name="connsiteX33" fmla="*/ 34688 w 50776"/>
                          <a:gd name="connsiteY33" fmla="*/ 3170 h 71529"/>
                          <a:gd name="connsiteX34" fmla="*/ 34808 w 50776"/>
                          <a:gd name="connsiteY34" fmla="*/ 2213 h 71529"/>
                          <a:gd name="connsiteX35" fmla="*/ 34628 w 50776"/>
                          <a:gd name="connsiteY35" fmla="*/ 1316 h 71529"/>
                          <a:gd name="connsiteX36" fmla="*/ 34150 w 50776"/>
                          <a:gd name="connsiteY36" fmla="*/ 538 h 71529"/>
                          <a:gd name="connsiteX37" fmla="*/ 33791 w 50776"/>
                          <a:gd name="connsiteY37" fmla="*/ 239 h 71529"/>
                          <a:gd name="connsiteX38" fmla="*/ 33372 w 50776"/>
                          <a:gd name="connsiteY38" fmla="*/ 60 h 71529"/>
                          <a:gd name="connsiteX39" fmla="*/ 32894 w 50776"/>
                          <a:gd name="connsiteY39" fmla="*/ 0 h 71529"/>
                          <a:gd name="connsiteX40" fmla="*/ 32415 w 50776"/>
                          <a:gd name="connsiteY40" fmla="*/ 60 h 71529"/>
                          <a:gd name="connsiteX41" fmla="*/ 3349 w 50776"/>
                          <a:gd name="connsiteY41" fmla="*/ 9988 h 71529"/>
                          <a:gd name="connsiteX42" fmla="*/ 2930 w 50776"/>
                          <a:gd name="connsiteY42" fmla="*/ 10167 h 71529"/>
                          <a:gd name="connsiteX43" fmla="*/ 0 w 50776"/>
                          <a:gd name="connsiteY43" fmla="*/ 30322 h 71529"/>
                          <a:gd name="connsiteX44" fmla="*/ 34090 w 50776"/>
                          <a:gd name="connsiteY44" fmla="*/ 62319 h 71529"/>
                          <a:gd name="connsiteX45" fmla="*/ 34927 w 50776"/>
                          <a:gd name="connsiteY45" fmla="*/ 63097 h 71529"/>
                          <a:gd name="connsiteX46" fmla="*/ 37918 w 50776"/>
                          <a:gd name="connsiteY46" fmla="*/ 65907 h 71529"/>
                          <a:gd name="connsiteX47" fmla="*/ 38755 w 50776"/>
                          <a:gd name="connsiteY47" fmla="*/ 66685 h 71529"/>
                          <a:gd name="connsiteX48" fmla="*/ 41386 w 50776"/>
                          <a:gd name="connsiteY48" fmla="*/ 69137 h 71529"/>
                          <a:gd name="connsiteX49" fmla="*/ 42942 w 50776"/>
                          <a:gd name="connsiteY49" fmla="*/ 70572 h 71529"/>
                          <a:gd name="connsiteX50" fmla="*/ 43480 w 50776"/>
                          <a:gd name="connsiteY50" fmla="*/ 71170 h 7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0776" h="71529">
                            <a:moveTo>
                              <a:pt x="43838" y="69735"/>
                            </a:moveTo>
                            <a:lnTo>
                              <a:pt x="43838" y="69735"/>
                            </a:lnTo>
                            <a:lnTo>
                              <a:pt x="43300" y="69256"/>
                            </a:lnTo>
                            <a:lnTo>
                              <a:pt x="38516" y="64771"/>
                            </a:lnTo>
                            <a:lnTo>
                              <a:pt x="34688" y="61183"/>
                            </a:lnTo>
                            <a:lnTo>
                              <a:pt x="1076" y="29664"/>
                            </a:lnTo>
                            <a:lnTo>
                              <a:pt x="3827" y="11004"/>
                            </a:lnTo>
                            <a:lnTo>
                              <a:pt x="32415" y="1196"/>
                            </a:lnTo>
                            <a:lnTo>
                              <a:pt x="33253" y="1495"/>
                            </a:lnTo>
                            <a:cubicBezTo>
                              <a:pt x="33372" y="1615"/>
                              <a:pt x="33432" y="1734"/>
                              <a:pt x="33492" y="1854"/>
                            </a:cubicBezTo>
                            <a:cubicBezTo>
                              <a:pt x="33552" y="1973"/>
                              <a:pt x="33552" y="2153"/>
                              <a:pt x="33552" y="2273"/>
                            </a:cubicBezTo>
                            <a:cubicBezTo>
                              <a:pt x="33552" y="2392"/>
                              <a:pt x="33552" y="2572"/>
                              <a:pt x="33492" y="2691"/>
                            </a:cubicBezTo>
                            <a:cubicBezTo>
                              <a:pt x="33432" y="2811"/>
                              <a:pt x="33372" y="2990"/>
                              <a:pt x="33253" y="3110"/>
                            </a:cubicBezTo>
                            <a:lnTo>
                              <a:pt x="32834" y="3409"/>
                            </a:lnTo>
                            <a:lnTo>
                              <a:pt x="11004" y="15610"/>
                            </a:lnTo>
                            <a:lnTo>
                              <a:pt x="9988" y="26196"/>
                            </a:lnTo>
                            <a:lnTo>
                              <a:pt x="49101" y="63097"/>
                            </a:lnTo>
                            <a:lnTo>
                              <a:pt x="49101" y="63097"/>
                            </a:lnTo>
                            <a:lnTo>
                              <a:pt x="43838" y="69735"/>
                            </a:lnTo>
                            <a:moveTo>
                              <a:pt x="43480" y="71170"/>
                            </a:moveTo>
                            <a:lnTo>
                              <a:pt x="43480" y="71170"/>
                            </a:lnTo>
                            <a:lnTo>
                              <a:pt x="43898" y="71529"/>
                            </a:lnTo>
                            <a:lnTo>
                              <a:pt x="43898" y="71529"/>
                            </a:lnTo>
                            <a:lnTo>
                              <a:pt x="44676" y="70572"/>
                            </a:lnTo>
                            <a:lnTo>
                              <a:pt x="44676" y="70572"/>
                            </a:lnTo>
                            <a:lnTo>
                              <a:pt x="49999" y="63934"/>
                            </a:lnTo>
                            <a:lnTo>
                              <a:pt x="50776" y="62977"/>
                            </a:lnTo>
                            <a:lnTo>
                              <a:pt x="50776" y="62977"/>
                            </a:lnTo>
                            <a:lnTo>
                              <a:pt x="11303" y="25657"/>
                            </a:lnTo>
                            <a:lnTo>
                              <a:pt x="12260" y="16447"/>
                            </a:lnTo>
                            <a:lnTo>
                              <a:pt x="31339" y="5801"/>
                            </a:lnTo>
                            <a:lnTo>
                              <a:pt x="33432" y="4665"/>
                            </a:lnTo>
                            <a:lnTo>
                              <a:pt x="34210" y="4007"/>
                            </a:lnTo>
                            <a:cubicBezTo>
                              <a:pt x="34389" y="3768"/>
                              <a:pt x="34568" y="3469"/>
                              <a:pt x="34688" y="3170"/>
                            </a:cubicBezTo>
                            <a:cubicBezTo>
                              <a:pt x="34808" y="2871"/>
                              <a:pt x="34808" y="2572"/>
                              <a:pt x="34808" y="2213"/>
                            </a:cubicBezTo>
                            <a:cubicBezTo>
                              <a:pt x="34808" y="1914"/>
                              <a:pt x="34748" y="1615"/>
                              <a:pt x="34628" y="1316"/>
                            </a:cubicBezTo>
                            <a:cubicBezTo>
                              <a:pt x="34509" y="1017"/>
                              <a:pt x="34329" y="778"/>
                              <a:pt x="34150" y="538"/>
                            </a:cubicBezTo>
                            <a:cubicBezTo>
                              <a:pt x="34030" y="419"/>
                              <a:pt x="33911" y="299"/>
                              <a:pt x="33791" y="239"/>
                            </a:cubicBezTo>
                            <a:cubicBezTo>
                              <a:pt x="33671" y="179"/>
                              <a:pt x="33492" y="119"/>
                              <a:pt x="33372" y="60"/>
                            </a:cubicBezTo>
                            <a:cubicBezTo>
                              <a:pt x="33193" y="0"/>
                              <a:pt x="33073" y="0"/>
                              <a:pt x="32894" y="0"/>
                            </a:cubicBezTo>
                            <a:cubicBezTo>
                              <a:pt x="32714" y="0"/>
                              <a:pt x="32535" y="0"/>
                              <a:pt x="32415" y="60"/>
                            </a:cubicBezTo>
                            <a:lnTo>
                              <a:pt x="3349" y="9988"/>
                            </a:lnTo>
                            <a:lnTo>
                              <a:pt x="2930" y="10167"/>
                            </a:lnTo>
                            <a:lnTo>
                              <a:pt x="0" y="30322"/>
                            </a:lnTo>
                            <a:lnTo>
                              <a:pt x="34090" y="62319"/>
                            </a:lnTo>
                            <a:lnTo>
                              <a:pt x="34927" y="63097"/>
                            </a:lnTo>
                            <a:lnTo>
                              <a:pt x="37918" y="65907"/>
                            </a:lnTo>
                            <a:lnTo>
                              <a:pt x="38755" y="66685"/>
                            </a:lnTo>
                            <a:lnTo>
                              <a:pt x="41386" y="69137"/>
                            </a:lnTo>
                            <a:lnTo>
                              <a:pt x="42942" y="70572"/>
                            </a:lnTo>
                            <a:lnTo>
                              <a:pt x="43480" y="71170"/>
                            </a:lnTo>
                          </a:path>
                        </a:pathLst>
                      </a:custGeom>
                      <a:noFill/>
                      <a:ln w="6350" cap="flat">
                        <a:solidFill>
                          <a:schemeClr val="bg1">
                            <a:alpha val="40000"/>
                          </a:schemeClr>
                        </a:solidFill>
                        <a:prstDash val="solid"/>
                        <a:miter/>
                      </a:ln>
                    </p:spPr>
                    <p:txBody>
                      <a:bodyPr rtlCol="0" anchor="ctr"/>
                      <a:lstStyle/>
                      <a:p>
                        <a:endParaRPr lang="en-GB"/>
                      </a:p>
                    </p:txBody>
                  </p:sp>
                  <p:sp>
                    <p:nvSpPr>
                      <p:cNvPr id="7416" name="Vrije vorm: vorm 7415">
                        <a:extLst>
                          <a:ext uri="{FF2B5EF4-FFF2-40B4-BE49-F238E27FC236}">
                            <a16:creationId xmlns:a16="http://schemas.microsoft.com/office/drawing/2014/main" id="{ADC5B1EA-CFF6-4F09-B160-CA9476271636}"/>
                          </a:ext>
                        </a:extLst>
                      </p:cNvPr>
                      <p:cNvSpPr/>
                      <p:nvPr/>
                    </p:nvSpPr>
                    <p:spPr>
                      <a:xfrm>
                        <a:off x="5059830" y="4917090"/>
                        <a:ext cx="33850" cy="37798"/>
                      </a:xfrm>
                      <a:custGeom>
                        <a:avLst/>
                        <a:gdLst>
                          <a:gd name="connsiteX0" fmla="*/ 24521 w 33850"/>
                          <a:gd name="connsiteY0" fmla="*/ 5382 h 37798"/>
                          <a:gd name="connsiteX1" fmla="*/ 24521 w 33850"/>
                          <a:gd name="connsiteY1" fmla="*/ 5382 h 37798"/>
                          <a:gd name="connsiteX2" fmla="*/ 23863 w 33850"/>
                          <a:gd name="connsiteY2" fmla="*/ 4785 h 37798"/>
                          <a:gd name="connsiteX3" fmla="*/ 23863 w 33850"/>
                          <a:gd name="connsiteY3" fmla="*/ 4785 h 37798"/>
                          <a:gd name="connsiteX4" fmla="*/ 24102 w 33850"/>
                          <a:gd name="connsiteY4" fmla="*/ 4964 h 37798"/>
                          <a:gd name="connsiteX5" fmla="*/ 24521 w 33850"/>
                          <a:gd name="connsiteY5" fmla="*/ 5382 h 37798"/>
                          <a:gd name="connsiteX6" fmla="*/ 13995 w 33850"/>
                          <a:gd name="connsiteY6" fmla="*/ 8194 h 37798"/>
                          <a:gd name="connsiteX7" fmla="*/ 14713 w 33850"/>
                          <a:gd name="connsiteY7" fmla="*/ 8851 h 37798"/>
                          <a:gd name="connsiteX8" fmla="*/ 20394 w 33850"/>
                          <a:gd name="connsiteY8" fmla="*/ 1674 h 37798"/>
                          <a:gd name="connsiteX9" fmla="*/ 21172 w 33850"/>
                          <a:gd name="connsiteY9" fmla="*/ 2392 h 37798"/>
                          <a:gd name="connsiteX10" fmla="*/ 23026 w 33850"/>
                          <a:gd name="connsiteY10" fmla="*/ 4067 h 37798"/>
                          <a:gd name="connsiteX11" fmla="*/ 23803 w 33850"/>
                          <a:gd name="connsiteY11" fmla="*/ 3110 h 37798"/>
                          <a:gd name="connsiteX12" fmla="*/ 25298 w 33850"/>
                          <a:gd name="connsiteY12" fmla="*/ 4486 h 37798"/>
                          <a:gd name="connsiteX13" fmla="*/ 24880 w 33850"/>
                          <a:gd name="connsiteY13" fmla="*/ 4127 h 37798"/>
                          <a:gd name="connsiteX14" fmla="*/ 24043 w 33850"/>
                          <a:gd name="connsiteY14" fmla="*/ 3349 h 37798"/>
                          <a:gd name="connsiteX15" fmla="*/ 21949 w 33850"/>
                          <a:gd name="connsiteY15" fmla="*/ 1435 h 37798"/>
                          <a:gd name="connsiteX16" fmla="*/ 21112 w 33850"/>
                          <a:gd name="connsiteY16" fmla="*/ 658 h 37798"/>
                          <a:gd name="connsiteX17" fmla="*/ 20394 w 33850"/>
                          <a:gd name="connsiteY17" fmla="*/ 0 h 37798"/>
                          <a:gd name="connsiteX18" fmla="*/ 13995 w 33850"/>
                          <a:gd name="connsiteY18" fmla="*/ 8194 h 37798"/>
                          <a:gd name="connsiteX19" fmla="*/ 27451 w 33850"/>
                          <a:gd name="connsiteY19" fmla="*/ 20394 h 37798"/>
                          <a:gd name="connsiteX20" fmla="*/ 33851 w 33850"/>
                          <a:gd name="connsiteY20" fmla="*/ 12260 h 37798"/>
                          <a:gd name="connsiteX21" fmla="*/ 32655 w 33850"/>
                          <a:gd name="connsiteY21" fmla="*/ 11184 h 37798"/>
                          <a:gd name="connsiteX22" fmla="*/ 31817 w 33850"/>
                          <a:gd name="connsiteY22" fmla="*/ 10406 h 37798"/>
                          <a:gd name="connsiteX23" fmla="*/ 27751 w 33850"/>
                          <a:gd name="connsiteY23" fmla="*/ 6698 h 37798"/>
                          <a:gd name="connsiteX24" fmla="*/ 26913 w 33850"/>
                          <a:gd name="connsiteY24" fmla="*/ 5921 h 37798"/>
                          <a:gd name="connsiteX25" fmla="*/ 26076 w 33850"/>
                          <a:gd name="connsiteY25" fmla="*/ 5143 h 37798"/>
                          <a:gd name="connsiteX26" fmla="*/ 28050 w 33850"/>
                          <a:gd name="connsiteY26" fmla="*/ 6937 h 37798"/>
                          <a:gd name="connsiteX27" fmla="*/ 27272 w 33850"/>
                          <a:gd name="connsiteY27" fmla="*/ 7895 h 37798"/>
                          <a:gd name="connsiteX28" fmla="*/ 30980 w 33850"/>
                          <a:gd name="connsiteY28" fmla="*/ 11304 h 37798"/>
                          <a:gd name="connsiteX29" fmla="*/ 31817 w 33850"/>
                          <a:gd name="connsiteY29" fmla="*/ 12081 h 37798"/>
                          <a:gd name="connsiteX30" fmla="*/ 32236 w 33850"/>
                          <a:gd name="connsiteY30" fmla="*/ 12440 h 37798"/>
                          <a:gd name="connsiteX31" fmla="*/ 26614 w 33850"/>
                          <a:gd name="connsiteY31" fmla="*/ 19557 h 37798"/>
                          <a:gd name="connsiteX32" fmla="*/ 27451 w 33850"/>
                          <a:gd name="connsiteY32" fmla="*/ 20394 h 37798"/>
                          <a:gd name="connsiteX33" fmla="*/ 21710 w 33850"/>
                          <a:gd name="connsiteY33" fmla="*/ 27571 h 37798"/>
                          <a:gd name="connsiteX34" fmla="*/ 26614 w 33850"/>
                          <a:gd name="connsiteY34" fmla="*/ 21351 h 37798"/>
                          <a:gd name="connsiteX35" fmla="*/ 25837 w 33850"/>
                          <a:gd name="connsiteY35" fmla="*/ 20634 h 37798"/>
                          <a:gd name="connsiteX36" fmla="*/ 21172 w 33850"/>
                          <a:gd name="connsiteY36" fmla="*/ 26495 h 37798"/>
                          <a:gd name="connsiteX37" fmla="*/ 21291 w 33850"/>
                          <a:gd name="connsiteY37" fmla="*/ 26794 h 37798"/>
                          <a:gd name="connsiteX38" fmla="*/ 21411 w 33850"/>
                          <a:gd name="connsiteY38" fmla="*/ 27092 h 37798"/>
                          <a:gd name="connsiteX39" fmla="*/ 21530 w 33850"/>
                          <a:gd name="connsiteY39" fmla="*/ 27392 h 37798"/>
                          <a:gd name="connsiteX40" fmla="*/ 21710 w 33850"/>
                          <a:gd name="connsiteY40" fmla="*/ 27571 h 37798"/>
                          <a:gd name="connsiteX41" fmla="*/ 7954 w 33850"/>
                          <a:gd name="connsiteY41" fmla="*/ 15610 h 37798"/>
                          <a:gd name="connsiteX42" fmla="*/ 8134 w 33850"/>
                          <a:gd name="connsiteY42" fmla="*/ 15669 h 37798"/>
                          <a:gd name="connsiteX43" fmla="*/ 8313 w 33850"/>
                          <a:gd name="connsiteY43" fmla="*/ 15729 h 37798"/>
                          <a:gd name="connsiteX44" fmla="*/ 8493 w 33850"/>
                          <a:gd name="connsiteY44" fmla="*/ 15789 h 37798"/>
                          <a:gd name="connsiteX45" fmla="*/ 8672 w 33850"/>
                          <a:gd name="connsiteY45" fmla="*/ 15849 h 37798"/>
                          <a:gd name="connsiteX46" fmla="*/ 8791 w 33850"/>
                          <a:gd name="connsiteY46" fmla="*/ 15909 h 37798"/>
                          <a:gd name="connsiteX47" fmla="*/ 8911 w 33850"/>
                          <a:gd name="connsiteY47" fmla="*/ 15968 h 37798"/>
                          <a:gd name="connsiteX48" fmla="*/ 9031 w 33850"/>
                          <a:gd name="connsiteY48" fmla="*/ 16028 h 37798"/>
                          <a:gd name="connsiteX49" fmla="*/ 9150 w 33850"/>
                          <a:gd name="connsiteY49" fmla="*/ 16088 h 37798"/>
                          <a:gd name="connsiteX50" fmla="*/ 13098 w 33850"/>
                          <a:gd name="connsiteY50" fmla="*/ 11064 h 37798"/>
                          <a:gd name="connsiteX51" fmla="*/ 13935 w 33850"/>
                          <a:gd name="connsiteY51" fmla="*/ 9988 h 37798"/>
                          <a:gd name="connsiteX52" fmla="*/ 13098 w 33850"/>
                          <a:gd name="connsiteY52" fmla="*/ 9210 h 37798"/>
                          <a:gd name="connsiteX53" fmla="*/ 7954 w 33850"/>
                          <a:gd name="connsiteY53" fmla="*/ 15610 h 37798"/>
                          <a:gd name="connsiteX54" fmla="*/ 19079 w 33850"/>
                          <a:gd name="connsiteY54" fmla="*/ 30920 h 37798"/>
                          <a:gd name="connsiteX55" fmla="*/ 20933 w 33850"/>
                          <a:gd name="connsiteY55" fmla="*/ 28588 h 37798"/>
                          <a:gd name="connsiteX56" fmla="*/ 20813 w 33850"/>
                          <a:gd name="connsiteY56" fmla="*/ 28289 h 37798"/>
                          <a:gd name="connsiteX57" fmla="*/ 20693 w 33850"/>
                          <a:gd name="connsiteY57" fmla="*/ 27990 h 37798"/>
                          <a:gd name="connsiteX58" fmla="*/ 20574 w 33850"/>
                          <a:gd name="connsiteY58" fmla="*/ 27691 h 37798"/>
                          <a:gd name="connsiteX59" fmla="*/ 20454 w 33850"/>
                          <a:gd name="connsiteY59" fmla="*/ 27392 h 37798"/>
                          <a:gd name="connsiteX60" fmla="*/ 18660 w 33850"/>
                          <a:gd name="connsiteY60" fmla="*/ 29664 h 37798"/>
                          <a:gd name="connsiteX61" fmla="*/ 18780 w 33850"/>
                          <a:gd name="connsiteY61" fmla="*/ 29963 h 37798"/>
                          <a:gd name="connsiteX62" fmla="*/ 18899 w 33850"/>
                          <a:gd name="connsiteY62" fmla="*/ 30262 h 37798"/>
                          <a:gd name="connsiteX63" fmla="*/ 19019 w 33850"/>
                          <a:gd name="connsiteY63" fmla="*/ 30561 h 37798"/>
                          <a:gd name="connsiteX64" fmla="*/ 19079 w 33850"/>
                          <a:gd name="connsiteY64" fmla="*/ 30920 h 37798"/>
                          <a:gd name="connsiteX65" fmla="*/ 5263 w 33850"/>
                          <a:gd name="connsiteY65" fmla="*/ 19079 h 37798"/>
                          <a:gd name="connsiteX66" fmla="*/ 5562 w 33850"/>
                          <a:gd name="connsiteY66" fmla="*/ 19138 h 37798"/>
                          <a:gd name="connsiteX67" fmla="*/ 5861 w 33850"/>
                          <a:gd name="connsiteY67" fmla="*/ 19198 h 37798"/>
                          <a:gd name="connsiteX68" fmla="*/ 6160 w 33850"/>
                          <a:gd name="connsiteY68" fmla="*/ 19258 h 37798"/>
                          <a:gd name="connsiteX69" fmla="*/ 6459 w 33850"/>
                          <a:gd name="connsiteY69" fmla="*/ 19318 h 37798"/>
                          <a:gd name="connsiteX70" fmla="*/ 8313 w 33850"/>
                          <a:gd name="connsiteY70" fmla="*/ 16985 h 37798"/>
                          <a:gd name="connsiteX71" fmla="*/ 8014 w 33850"/>
                          <a:gd name="connsiteY71" fmla="*/ 16926 h 37798"/>
                          <a:gd name="connsiteX72" fmla="*/ 7715 w 33850"/>
                          <a:gd name="connsiteY72" fmla="*/ 16866 h 37798"/>
                          <a:gd name="connsiteX73" fmla="*/ 7416 w 33850"/>
                          <a:gd name="connsiteY73" fmla="*/ 16806 h 37798"/>
                          <a:gd name="connsiteX74" fmla="*/ 7117 w 33850"/>
                          <a:gd name="connsiteY74" fmla="*/ 16746 h 37798"/>
                          <a:gd name="connsiteX75" fmla="*/ 5263 w 33850"/>
                          <a:gd name="connsiteY75" fmla="*/ 19079 h 37798"/>
                          <a:gd name="connsiteX76" fmla="*/ 16567 w 33850"/>
                          <a:gd name="connsiteY76" fmla="*/ 34150 h 37798"/>
                          <a:gd name="connsiteX77" fmla="*/ 18002 w 33850"/>
                          <a:gd name="connsiteY77" fmla="*/ 32356 h 37798"/>
                          <a:gd name="connsiteX78" fmla="*/ 17882 w 33850"/>
                          <a:gd name="connsiteY78" fmla="*/ 32057 h 37798"/>
                          <a:gd name="connsiteX79" fmla="*/ 17763 w 33850"/>
                          <a:gd name="connsiteY79" fmla="*/ 31758 h 37798"/>
                          <a:gd name="connsiteX80" fmla="*/ 17643 w 33850"/>
                          <a:gd name="connsiteY80" fmla="*/ 31459 h 37798"/>
                          <a:gd name="connsiteX81" fmla="*/ 17523 w 33850"/>
                          <a:gd name="connsiteY81" fmla="*/ 31159 h 37798"/>
                          <a:gd name="connsiteX82" fmla="*/ 16806 w 33850"/>
                          <a:gd name="connsiteY82" fmla="*/ 32116 h 37798"/>
                          <a:gd name="connsiteX83" fmla="*/ 16866 w 33850"/>
                          <a:gd name="connsiteY83" fmla="*/ 32595 h 37798"/>
                          <a:gd name="connsiteX84" fmla="*/ 16866 w 33850"/>
                          <a:gd name="connsiteY84" fmla="*/ 33073 h 37798"/>
                          <a:gd name="connsiteX85" fmla="*/ 16806 w 33850"/>
                          <a:gd name="connsiteY85" fmla="*/ 33552 h 37798"/>
                          <a:gd name="connsiteX86" fmla="*/ 16686 w 33850"/>
                          <a:gd name="connsiteY86" fmla="*/ 34030 h 37798"/>
                          <a:gd name="connsiteX87" fmla="*/ 16686 w 33850"/>
                          <a:gd name="connsiteY87" fmla="*/ 34090 h 37798"/>
                          <a:gd name="connsiteX88" fmla="*/ 16686 w 33850"/>
                          <a:gd name="connsiteY88" fmla="*/ 34150 h 37798"/>
                          <a:gd name="connsiteX89" fmla="*/ 16567 w 33850"/>
                          <a:gd name="connsiteY89" fmla="*/ 34150 h 37798"/>
                          <a:gd name="connsiteX90" fmla="*/ 16567 w 33850"/>
                          <a:gd name="connsiteY90" fmla="*/ 34150 h 37798"/>
                          <a:gd name="connsiteX91" fmla="*/ 14294 w 33850"/>
                          <a:gd name="connsiteY91" fmla="*/ 35227 h 37798"/>
                          <a:gd name="connsiteX92" fmla="*/ 14294 w 33850"/>
                          <a:gd name="connsiteY92" fmla="*/ 35227 h 37798"/>
                          <a:gd name="connsiteX93" fmla="*/ 14294 w 33850"/>
                          <a:gd name="connsiteY93" fmla="*/ 35227 h 37798"/>
                          <a:gd name="connsiteX94" fmla="*/ 14354 w 33850"/>
                          <a:gd name="connsiteY94" fmla="*/ 35167 h 37798"/>
                          <a:gd name="connsiteX95" fmla="*/ 14354 w 33850"/>
                          <a:gd name="connsiteY95" fmla="*/ 35167 h 37798"/>
                          <a:gd name="connsiteX96" fmla="*/ 14713 w 33850"/>
                          <a:gd name="connsiteY96" fmla="*/ 34868 h 37798"/>
                          <a:gd name="connsiteX97" fmla="*/ 15072 w 33850"/>
                          <a:gd name="connsiteY97" fmla="*/ 34509 h 37798"/>
                          <a:gd name="connsiteX98" fmla="*/ 15371 w 33850"/>
                          <a:gd name="connsiteY98" fmla="*/ 34090 h 37798"/>
                          <a:gd name="connsiteX99" fmla="*/ 15550 w 33850"/>
                          <a:gd name="connsiteY99" fmla="*/ 33612 h 37798"/>
                          <a:gd name="connsiteX100" fmla="*/ 15550 w 33850"/>
                          <a:gd name="connsiteY100" fmla="*/ 33612 h 37798"/>
                          <a:gd name="connsiteX101" fmla="*/ 15550 w 33850"/>
                          <a:gd name="connsiteY101" fmla="*/ 33612 h 37798"/>
                          <a:gd name="connsiteX102" fmla="*/ 15550 w 33850"/>
                          <a:gd name="connsiteY102" fmla="*/ 33612 h 37798"/>
                          <a:gd name="connsiteX103" fmla="*/ 15550 w 33850"/>
                          <a:gd name="connsiteY103" fmla="*/ 33612 h 37798"/>
                          <a:gd name="connsiteX104" fmla="*/ 14294 w 33850"/>
                          <a:gd name="connsiteY104" fmla="*/ 35227 h 37798"/>
                          <a:gd name="connsiteX105" fmla="*/ 3708 w 33850"/>
                          <a:gd name="connsiteY105" fmla="*/ 27691 h 37798"/>
                          <a:gd name="connsiteX106" fmla="*/ 4127 w 33850"/>
                          <a:gd name="connsiteY106" fmla="*/ 27930 h 37798"/>
                          <a:gd name="connsiteX107" fmla="*/ 4246 w 33850"/>
                          <a:gd name="connsiteY107" fmla="*/ 27810 h 37798"/>
                          <a:gd name="connsiteX108" fmla="*/ 3110 w 33850"/>
                          <a:gd name="connsiteY108" fmla="*/ 26794 h 37798"/>
                          <a:gd name="connsiteX109" fmla="*/ 3229 w 33850"/>
                          <a:gd name="connsiteY109" fmla="*/ 27033 h 37798"/>
                          <a:gd name="connsiteX110" fmla="*/ 3349 w 33850"/>
                          <a:gd name="connsiteY110" fmla="*/ 27272 h 37798"/>
                          <a:gd name="connsiteX111" fmla="*/ 3528 w 33850"/>
                          <a:gd name="connsiteY111" fmla="*/ 27511 h 37798"/>
                          <a:gd name="connsiteX112" fmla="*/ 3708 w 33850"/>
                          <a:gd name="connsiteY112" fmla="*/ 27691 h 37798"/>
                          <a:gd name="connsiteX113" fmla="*/ 11722 w 33850"/>
                          <a:gd name="connsiteY113" fmla="*/ 35047 h 37798"/>
                          <a:gd name="connsiteX114" fmla="*/ 11902 w 33850"/>
                          <a:gd name="connsiteY114" fmla="*/ 35167 h 37798"/>
                          <a:gd name="connsiteX115" fmla="*/ 12081 w 33850"/>
                          <a:gd name="connsiteY115" fmla="*/ 35286 h 37798"/>
                          <a:gd name="connsiteX116" fmla="*/ 12260 w 33850"/>
                          <a:gd name="connsiteY116" fmla="*/ 35406 h 37798"/>
                          <a:gd name="connsiteX117" fmla="*/ 12500 w 33850"/>
                          <a:gd name="connsiteY117" fmla="*/ 35466 h 37798"/>
                          <a:gd name="connsiteX118" fmla="*/ 12619 w 33850"/>
                          <a:gd name="connsiteY118" fmla="*/ 35466 h 37798"/>
                          <a:gd name="connsiteX119" fmla="*/ 12739 w 33850"/>
                          <a:gd name="connsiteY119" fmla="*/ 35466 h 37798"/>
                          <a:gd name="connsiteX120" fmla="*/ 12858 w 33850"/>
                          <a:gd name="connsiteY120" fmla="*/ 35466 h 37798"/>
                          <a:gd name="connsiteX121" fmla="*/ 12978 w 33850"/>
                          <a:gd name="connsiteY121" fmla="*/ 35466 h 37798"/>
                          <a:gd name="connsiteX122" fmla="*/ 11184 w 33850"/>
                          <a:gd name="connsiteY122" fmla="*/ 33851 h 37798"/>
                          <a:gd name="connsiteX123" fmla="*/ 11184 w 33850"/>
                          <a:gd name="connsiteY123" fmla="*/ 33970 h 37798"/>
                          <a:gd name="connsiteX124" fmla="*/ 11184 w 33850"/>
                          <a:gd name="connsiteY124" fmla="*/ 34030 h 37798"/>
                          <a:gd name="connsiteX125" fmla="*/ 11244 w 33850"/>
                          <a:gd name="connsiteY125" fmla="*/ 34090 h 37798"/>
                          <a:gd name="connsiteX126" fmla="*/ 11304 w 33850"/>
                          <a:gd name="connsiteY126" fmla="*/ 34150 h 37798"/>
                          <a:gd name="connsiteX127" fmla="*/ 11423 w 33850"/>
                          <a:gd name="connsiteY127" fmla="*/ 34329 h 37798"/>
                          <a:gd name="connsiteX128" fmla="*/ 11543 w 33850"/>
                          <a:gd name="connsiteY128" fmla="*/ 34509 h 37798"/>
                          <a:gd name="connsiteX129" fmla="*/ 11662 w 33850"/>
                          <a:gd name="connsiteY129" fmla="*/ 34688 h 37798"/>
                          <a:gd name="connsiteX130" fmla="*/ 11722 w 33850"/>
                          <a:gd name="connsiteY130" fmla="*/ 35047 h 37798"/>
                          <a:gd name="connsiteX131" fmla="*/ 12320 w 33850"/>
                          <a:gd name="connsiteY131" fmla="*/ 36662 h 37798"/>
                          <a:gd name="connsiteX132" fmla="*/ 13636 w 33850"/>
                          <a:gd name="connsiteY132" fmla="*/ 37798 h 37798"/>
                          <a:gd name="connsiteX133" fmla="*/ 15012 w 33850"/>
                          <a:gd name="connsiteY133" fmla="*/ 36064 h 37798"/>
                          <a:gd name="connsiteX134" fmla="*/ 14952 w 33850"/>
                          <a:gd name="connsiteY134" fmla="*/ 36123 h 37798"/>
                          <a:gd name="connsiteX135" fmla="*/ 14892 w 33850"/>
                          <a:gd name="connsiteY135" fmla="*/ 36183 h 37798"/>
                          <a:gd name="connsiteX136" fmla="*/ 14832 w 33850"/>
                          <a:gd name="connsiteY136" fmla="*/ 36243 h 37798"/>
                          <a:gd name="connsiteX137" fmla="*/ 14772 w 33850"/>
                          <a:gd name="connsiteY137" fmla="*/ 36303 h 37798"/>
                          <a:gd name="connsiteX138" fmla="*/ 14174 w 33850"/>
                          <a:gd name="connsiteY138" fmla="*/ 36602 h 37798"/>
                          <a:gd name="connsiteX139" fmla="*/ 13576 w 33850"/>
                          <a:gd name="connsiteY139" fmla="*/ 36781 h 37798"/>
                          <a:gd name="connsiteX140" fmla="*/ 12978 w 33850"/>
                          <a:gd name="connsiteY140" fmla="*/ 36841 h 37798"/>
                          <a:gd name="connsiteX141" fmla="*/ 12320 w 33850"/>
                          <a:gd name="connsiteY141" fmla="*/ 36662 h 37798"/>
                          <a:gd name="connsiteX142" fmla="*/ 7775 w 33850"/>
                          <a:gd name="connsiteY142" fmla="*/ 32655 h 37798"/>
                          <a:gd name="connsiteX143" fmla="*/ 10107 w 33850"/>
                          <a:gd name="connsiteY143" fmla="*/ 34748 h 37798"/>
                          <a:gd name="connsiteX144" fmla="*/ 9988 w 33850"/>
                          <a:gd name="connsiteY144" fmla="*/ 34329 h 37798"/>
                          <a:gd name="connsiteX145" fmla="*/ 9928 w 33850"/>
                          <a:gd name="connsiteY145" fmla="*/ 33851 h 37798"/>
                          <a:gd name="connsiteX146" fmla="*/ 9928 w 33850"/>
                          <a:gd name="connsiteY146" fmla="*/ 33373 h 37798"/>
                          <a:gd name="connsiteX147" fmla="*/ 9988 w 33850"/>
                          <a:gd name="connsiteY147" fmla="*/ 32894 h 37798"/>
                          <a:gd name="connsiteX148" fmla="*/ 8612 w 33850"/>
                          <a:gd name="connsiteY148" fmla="*/ 31698 h 37798"/>
                          <a:gd name="connsiteX149" fmla="*/ 7775 w 33850"/>
                          <a:gd name="connsiteY149" fmla="*/ 32655 h 37798"/>
                          <a:gd name="connsiteX150" fmla="*/ 0 w 33850"/>
                          <a:gd name="connsiteY150" fmla="*/ 25717 h 37798"/>
                          <a:gd name="connsiteX151" fmla="*/ 2153 w 33850"/>
                          <a:gd name="connsiteY151" fmla="*/ 27631 h 37798"/>
                          <a:gd name="connsiteX152" fmla="*/ 2153 w 33850"/>
                          <a:gd name="connsiteY152" fmla="*/ 27631 h 37798"/>
                          <a:gd name="connsiteX153" fmla="*/ 2153 w 33850"/>
                          <a:gd name="connsiteY153" fmla="*/ 27631 h 37798"/>
                          <a:gd name="connsiteX154" fmla="*/ 2153 w 33850"/>
                          <a:gd name="connsiteY154" fmla="*/ 27631 h 37798"/>
                          <a:gd name="connsiteX155" fmla="*/ 2153 w 33850"/>
                          <a:gd name="connsiteY155" fmla="*/ 27631 h 37798"/>
                          <a:gd name="connsiteX156" fmla="*/ 1974 w 33850"/>
                          <a:gd name="connsiteY156" fmla="*/ 27212 h 37798"/>
                          <a:gd name="connsiteX157" fmla="*/ 1854 w 33850"/>
                          <a:gd name="connsiteY157" fmla="*/ 26734 h 37798"/>
                          <a:gd name="connsiteX158" fmla="*/ 1794 w 33850"/>
                          <a:gd name="connsiteY158" fmla="*/ 26255 h 37798"/>
                          <a:gd name="connsiteX159" fmla="*/ 1794 w 33850"/>
                          <a:gd name="connsiteY159" fmla="*/ 25777 h 37798"/>
                          <a:gd name="connsiteX160" fmla="*/ 1615 w 33850"/>
                          <a:gd name="connsiteY160" fmla="*/ 25597 h 37798"/>
                          <a:gd name="connsiteX161" fmla="*/ 1914 w 33850"/>
                          <a:gd name="connsiteY161" fmla="*/ 25238 h 37798"/>
                          <a:gd name="connsiteX162" fmla="*/ 1914 w 33850"/>
                          <a:gd name="connsiteY162" fmla="*/ 25119 h 37798"/>
                          <a:gd name="connsiteX163" fmla="*/ 1914 w 33850"/>
                          <a:gd name="connsiteY163" fmla="*/ 24999 h 37798"/>
                          <a:gd name="connsiteX164" fmla="*/ 1974 w 33850"/>
                          <a:gd name="connsiteY164" fmla="*/ 24880 h 37798"/>
                          <a:gd name="connsiteX165" fmla="*/ 2033 w 33850"/>
                          <a:gd name="connsiteY165" fmla="*/ 24760 h 37798"/>
                          <a:gd name="connsiteX166" fmla="*/ 2333 w 33850"/>
                          <a:gd name="connsiteY166" fmla="*/ 24043 h 37798"/>
                          <a:gd name="connsiteX167" fmla="*/ 2751 w 33850"/>
                          <a:gd name="connsiteY167" fmla="*/ 23384 h 37798"/>
                          <a:gd name="connsiteX168" fmla="*/ 3289 w 33850"/>
                          <a:gd name="connsiteY168" fmla="*/ 22846 h 37798"/>
                          <a:gd name="connsiteX169" fmla="*/ 3887 w 33850"/>
                          <a:gd name="connsiteY169" fmla="*/ 22428 h 37798"/>
                          <a:gd name="connsiteX170" fmla="*/ 3947 w 33850"/>
                          <a:gd name="connsiteY170" fmla="*/ 22368 h 37798"/>
                          <a:gd name="connsiteX171" fmla="*/ 4007 w 33850"/>
                          <a:gd name="connsiteY171" fmla="*/ 22308 h 37798"/>
                          <a:gd name="connsiteX172" fmla="*/ 4067 w 33850"/>
                          <a:gd name="connsiteY172" fmla="*/ 22248 h 37798"/>
                          <a:gd name="connsiteX173" fmla="*/ 4127 w 33850"/>
                          <a:gd name="connsiteY173" fmla="*/ 22188 h 37798"/>
                          <a:gd name="connsiteX174" fmla="*/ 5323 w 33850"/>
                          <a:gd name="connsiteY174" fmla="*/ 20693 h 37798"/>
                          <a:gd name="connsiteX175" fmla="*/ 5024 w 33850"/>
                          <a:gd name="connsiteY175" fmla="*/ 20634 h 37798"/>
                          <a:gd name="connsiteX176" fmla="*/ 4725 w 33850"/>
                          <a:gd name="connsiteY176" fmla="*/ 20574 h 37798"/>
                          <a:gd name="connsiteX177" fmla="*/ 4426 w 33850"/>
                          <a:gd name="connsiteY177" fmla="*/ 20514 h 37798"/>
                          <a:gd name="connsiteX178" fmla="*/ 4127 w 33850"/>
                          <a:gd name="connsiteY178" fmla="*/ 20454 h 37798"/>
                          <a:gd name="connsiteX179" fmla="*/ 0 w 33850"/>
                          <a:gd name="connsiteY179" fmla="*/ 25717 h 3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33850" h="37798">
                            <a:moveTo>
                              <a:pt x="24521" y="5382"/>
                            </a:moveTo>
                            <a:lnTo>
                              <a:pt x="24521" y="5382"/>
                            </a:lnTo>
                            <a:lnTo>
                              <a:pt x="23863" y="4785"/>
                            </a:lnTo>
                            <a:lnTo>
                              <a:pt x="23863" y="4785"/>
                            </a:lnTo>
                            <a:lnTo>
                              <a:pt x="24102" y="4964"/>
                            </a:lnTo>
                            <a:lnTo>
                              <a:pt x="24521" y="5382"/>
                            </a:lnTo>
                            <a:moveTo>
                              <a:pt x="13995" y="8194"/>
                            </a:moveTo>
                            <a:lnTo>
                              <a:pt x="14713" y="8851"/>
                            </a:lnTo>
                            <a:lnTo>
                              <a:pt x="20394" y="1674"/>
                            </a:lnTo>
                            <a:lnTo>
                              <a:pt x="21172" y="2392"/>
                            </a:lnTo>
                            <a:lnTo>
                              <a:pt x="23026" y="4067"/>
                            </a:lnTo>
                            <a:lnTo>
                              <a:pt x="23803" y="3110"/>
                            </a:lnTo>
                            <a:lnTo>
                              <a:pt x="25298" y="4486"/>
                            </a:lnTo>
                            <a:lnTo>
                              <a:pt x="24880" y="4127"/>
                            </a:lnTo>
                            <a:lnTo>
                              <a:pt x="24043" y="3349"/>
                            </a:lnTo>
                            <a:lnTo>
                              <a:pt x="21949" y="1435"/>
                            </a:lnTo>
                            <a:lnTo>
                              <a:pt x="21112" y="658"/>
                            </a:lnTo>
                            <a:lnTo>
                              <a:pt x="20394" y="0"/>
                            </a:lnTo>
                            <a:lnTo>
                              <a:pt x="13995" y="8194"/>
                            </a:lnTo>
                            <a:moveTo>
                              <a:pt x="27451" y="20394"/>
                            </a:moveTo>
                            <a:lnTo>
                              <a:pt x="33851" y="12260"/>
                            </a:lnTo>
                            <a:lnTo>
                              <a:pt x="32655" y="11184"/>
                            </a:lnTo>
                            <a:lnTo>
                              <a:pt x="31817" y="10406"/>
                            </a:lnTo>
                            <a:lnTo>
                              <a:pt x="27751" y="6698"/>
                            </a:lnTo>
                            <a:lnTo>
                              <a:pt x="26913" y="5921"/>
                            </a:lnTo>
                            <a:lnTo>
                              <a:pt x="26076" y="5143"/>
                            </a:lnTo>
                            <a:lnTo>
                              <a:pt x="28050" y="6937"/>
                            </a:lnTo>
                            <a:lnTo>
                              <a:pt x="27272" y="7895"/>
                            </a:lnTo>
                            <a:lnTo>
                              <a:pt x="30980" y="11304"/>
                            </a:lnTo>
                            <a:lnTo>
                              <a:pt x="31817" y="12081"/>
                            </a:lnTo>
                            <a:lnTo>
                              <a:pt x="32236" y="12440"/>
                            </a:lnTo>
                            <a:lnTo>
                              <a:pt x="26614" y="19557"/>
                            </a:lnTo>
                            <a:lnTo>
                              <a:pt x="27451" y="20394"/>
                            </a:lnTo>
                            <a:moveTo>
                              <a:pt x="21710" y="27571"/>
                            </a:moveTo>
                            <a:lnTo>
                              <a:pt x="26614" y="21351"/>
                            </a:lnTo>
                            <a:lnTo>
                              <a:pt x="25837" y="20634"/>
                            </a:lnTo>
                            <a:lnTo>
                              <a:pt x="21172" y="26495"/>
                            </a:lnTo>
                            <a:cubicBezTo>
                              <a:pt x="21231" y="26614"/>
                              <a:pt x="21291" y="26674"/>
                              <a:pt x="21291" y="26794"/>
                            </a:cubicBezTo>
                            <a:cubicBezTo>
                              <a:pt x="21351" y="26913"/>
                              <a:pt x="21351" y="26973"/>
                              <a:pt x="21411" y="27092"/>
                            </a:cubicBezTo>
                            <a:cubicBezTo>
                              <a:pt x="21471" y="27212"/>
                              <a:pt x="21471" y="27272"/>
                              <a:pt x="21530" y="27392"/>
                            </a:cubicBezTo>
                            <a:cubicBezTo>
                              <a:pt x="21590" y="27511"/>
                              <a:pt x="21710" y="27511"/>
                              <a:pt x="21710" y="27571"/>
                            </a:cubicBezTo>
                            <a:moveTo>
                              <a:pt x="7954" y="15610"/>
                            </a:moveTo>
                            <a:cubicBezTo>
                              <a:pt x="8014" y="15610"/>
                              <a:pt x="8074" y="15669"/>
                              <a:pt x="8134" y="15669"/>
                            </a:cubicBezTo>
                            <a:cubicBezTo>
                              <a:pt x="8194" y="15669"/>
                              <a:pt x="8253" y="15729"/>
                              <a:pt x="8313" y="15729"/>
                            </a:cubicBezTo>
                            <a:cubicBezTo>
                              <a:pt x="8373" y="15729"/>
                              <a:pt x="8433" y="15789"/>
                              <a:pt x="8493" y="15789"/>
                            </a:cubicBezTo>
                            <a:cubicBezTo>
                              <a:pt x="8552" y="15789"/>
                              <a:pt x="8612" y="15849"/>
                              <a:pt x="8672" y="15849"/>
                            </a:cubicBezTo>
                            <a:cubicBezTo>
                              <a:pt x="8732" y="15849"/>
                              <a:pt x="8732" y="15849"/>
                              <a:pt x="8791" y="15909"/>
                            </a:cubicBezTo>
                            <a:cubicBezTo>
                              <a:pt x="8851" y="15909"/>
                              <a:pt x="8851" y="15909"/>
                              <a:pt x="8911" y="15968"/>
                            </a:cubicBezTo>
                            <a:cubicBezTo>
                              <a:pt x="8971" y="16028"/>
                              <a:pt x="8971" y="15968"/>
                              <a:pt x="9031" y="16028"/>
                            </a:cubicBezTo>
                            <a:cubicBezTo>
                              <a:pt x="9091" y="16028"/>
                              <a:pt x="9091" y="16028"/>
                              <a:pt x="9150" y="16088"/>
                            </a:cubicBezTo>
                            <a:lnTo>
                              <a:pt x="13098" y="11064"/>
                            </a:lnTo>
                            <a:lnTo>
                              <a:pt x="13935" y="9988"/>
                            </a:lnTo>
                            <a:lnTo>
                              <a:pt x="13098" y="9210"/>
                            </a:lnTo>
                            <a:lnTo>
                              <a:pt x="7954" y="15610"/>
                            </a:lnTo>
                            <a:moveTo>
                              <a:pt x="19079" y="30920"/>
                            </a:moveTo>
                            <a:lnTo>
                              <a:pt x="20933" y="28588"/>
                            </a:lnTo>
                            <a:cubicBezTo>
                              <a:pt x="20873" y="28468"/>
                              <a:pt x="20873" y="28408"/>
                              <a:pt x="20813" y="28289"/>
                            </a:cubicBezTo>
                            <a:cubicBezTo>
                              <a:pt x="20753" y="28169"/>
                              <a:pt x="20753" y="28109"/>
                              <a:pt x="20693" y="27990"/>
                            </a:cubicBezTo>
                            <a:cubicBezTo>
                              <a:pt x="20634" y="27870"/>
                              <a:pt x="20634" y="27810"/>
                              <a:pt x="20574" y="27691"/>
                            </a:cubicBezTo>
                            <a:cubicBezTo>
                              <a:pt x="20514" y="27571"/>
                              <a:pt x="20514" y="27511"/>
                              <a:pt x="20454" y="27392"/>
                            </a:cubicBezTo>
                            <a:lnTo>
                              <a:pt x="18660" y="29664"/>
                            </a:lnTo>
                            <a:cubicBezTo>
                              <a:pt x="18720" y="29784"/>
                              <a:pt x="18720" y="29844"/>
                              <a:pt x="18780" y="29963"/>
                            </a:cubicBezTo>
                            <a:cubicBezTo>
                              <a:pt x="18839" y="30083"/>
                              <a:pt x="18839" y="30143"/>
                              <a:pt x="18899" y="30262"/>
                            </a:cubicBezTo>
                            <a:cubicBezTo>
                              <a:pt x="18959" y="30382"/>
                              <a:pt x="18959" y="30442"/>
                              <a:pt x="19019" y="30561"/>
                            </a:cubicBezTo>
                            <a:cubicBezTo>
                              <a:pt x="19019" y="30741"/>
                              <a:pt x="19079" y="30800"/>
                              <a:pt x="19079" y="30920"/>
                            </a:cubicBezTo>
                            <a:moveTo>
                              <a:pt x="5263" y="19079"/>
                            </a:moveTo>
                            <a:cubicBezTo>
                              <a:pt x="5382" y="19079"/>
                              <a:pt x="5442" y="19138"/>
                              <a:pt x="5562" y="19138"/>
                            </a:cubicBezTo>
                            <a:cubicBezTo>
                              <a:pt x="5682" y="19138"/>
                              <a:pt x="5742" y="19198"/>
                              <a:pt x="5861" y="19198"/>
                            </a:cubicBezTo>
                            <a:cubicBezTo>
                              <a:pt x="5981" y="19198"/>
                              <a:pt x="6041" y="19258"/>
                              <a:pt x="6160" y="19258"/>
                            </a:cubicBezTo>
                            <a:cubicBezTo>
                              <a:pt x="6280" y="19258"/>
                              <a:pt x="6340" y="19318"/>
                              <a:pt x="6459" y="19318"/>
                            </a:cubicBezTo>
                            <a:lnTo>
                              <a:pt x="8313" y="16985"/>
                            </a:lnTo>
                            <a:cubicBezTo>
                              <a:pt x="8194" y="16926"/>
                              <a:pt x="8134" y="16926"/>
                              <a:pt x="8014" y="16926"/>
                            </a:cubicBezTo>
                            <a:cubicBezTo>
                              <a:pt x="7895" y="16926"/>
                              <a:pt x="7835" y="16866"/>
                              <a:pt x="7715" y="16866"/>
                            </a:cubicBezTo>
                            <a:cubicBezTo>
                              <a:pt x="7596" y="16866"/>
                              <a:pt x="7536" y="16806"/>
                              <a:pt x="7416" y="16806"/>
                            </a:cubicBezTo>
                            <a:cubicBezTo>
                              <a:pt x="7296" y="16806"/>
                              <a:pt x="7237" y="16746"/>
                              <a:pt x="7117" y="16746"/>
                            </a:cubicBezTo>
                            <a:lnTo>
                              <a:pt x="5263" y="19079"/>
                            </a:lnTo>
                            <a:moveTo>
                              <a:pt x="16567" y="34150"/>
                            </a:moveTo>
                            <a:lnTo>
                              <a:pt x="18002" y="32356"/>
                            </a:lnTo>
                            <a:cubicBezTo>
                              <a:pt x="17942" y="32236"/>
                              <a:pt x="17942" y="32176"/>
                              <a:pt x="17882" y="32057"/>
                            </a:cubicBezTo>
                            <a:cubicBezTo>
                              <a:pt x="17822" y="31937"/>
                              <a:pt x="17822" y="31877"/>
                              <a:pt x="17763" y="31758"/>
                            </a:cubicBezTo>
                            <a:cubicBezTo>
                              <a:pt x="17703" y="31638"/>
                              <a:pt x="17703" y="31578"/>
                              <a:pt x="17643" y="31459"/>
                            </a:cubicBezTo>
                            <a:cubicBezTo>
                              <a:pt x="17583" y="31339"/>
                              <a:pt x="17583" y="31279"/>
                              <a:pt x="17523" y="31159"/>
                            </a:cubicBezTo>
                            <a:lnTo>
                              <a:pt x="16806" y="32116"/>
                            </a:lnTo>
                            <a:cubicBezTo>
                              <a:pt x="16806" y="32296"/>
                              <a:pt x="16866" y="32415"/>
                              <a:pt x="16866" y="32595"/>
                            </a:cubicBezTo>
                            <a:cubicBezTo>
                              <a:pt x="16866" y="32774"/>
                              <a:pt x="16866" y="32894"/>
                              <a:pt x="16866" y="33073"/>
                            </a:cubicBezTo>
                            <a:cubicBezTo>
                              <a:pt x="16866" y="33253"/>
                              <a:pt x="16806" y="33432"/>
                              <a:pt x="16806" y="33552"/>
                            </a:cubicBezTo>
                            <a:cubicBezTo>
                              <a:pt x="16746" y="33731"/>
                              <a:pt x="16746" y="33911"/>
                              <a:pt x="16686" y="34030"/>
                            </a:cubicBezTo>
                            <a:cubicBezTo>
                              <a:pt x="16686" y="34030"/>
                              <a:pt x="16686" y="34030"/>
                              <a:pt x="16686" y="34090"/>
                            </a:cubicBezTo>
                            <a:cubicBezTo>
                              <a:pt x="16686" y="34090"/>
                              <a:pt x="16686" y="34090"/>
                              <a:pt x="16686" y="34150"/>
                            </a:cubicBezTo>
                            <a:cubicBezTo>
                              <a:pt x="16567" y="34090"/>
                              <a:pt x="16567" y="34090"/>
                              <a:pt x="16567" y="34150"/>
                            </a:cubicBezTo>
                            <a:cubicBezTo>
                              <a:pt x="16567" y="34090"/>
                              <a:pt x="16567" y="34090"/>
                              <a:pt x="16567" y="34150"/>
                            </a:cubicBezTo>
                            <a:moveTo>
                              <a:pt x="14294" y="35227"/>
                            </a:moveTo>
                            <a:cubicBezTo>
                              <a:pt x="14294" y="35227"/>
                              <a:pt x="14294" y="35227"/>
                              <a:pt x="14294" y="35227"/>
                            </a:cubicBezTo>
                            <a:cubicBezTo>
                              <a:pt x="14294" y="35227"/>
                              <a:pt x="14294" y="35227"/>
                              <a:pt x="14294" y="35227"/>
                            </a:cubicBezTo>
                            <a:cubicBezTo>
                              <a:pt x="14354" y="35227"/>
                              <a:pt x="14354" y="35167"/>
                              <a:pt x="14354" y="35167"/>
                            </a:cubicBezTo>
                            <a:cubicBezTo>
                              <a:pt x="14354" y="35167"/>
                              <a:pt x="14354" y="35167"/>
                              <a:pt x="14354" y="35167"/>
                            </a:cubicBezTo>
                            <a:cubicBezTo>
                              <a:pt x="14473" y="35107"/>
                              <a:pt x="14593" y="34987"/>
                              <a:pt x="14713" y="34868"/>
                            </a:cubicBezTo>
                            <a:cubicBezTo>
                              <a:pt x="14832" y="34748"/>
                              <a:pt x="14952" y="34628"/>
                              <a:pt x="15072" y="34509"/>
                            </a:cubicBezTo>
                            <a:cubicBezTo>
                              <a:pt x="15191" y="34389"/>
                              <a:pt x="15251" y="34269"/>
                              <a:pt x="15371" y="34090"/>
                            </a:cubicBezTo>
                            <a:cubicBezTo>
                              <a:pt x="15430" y="33970"/>
                              <a:pt x="15550" y="33791"/>
                              <a:pt x="15550" y="33612"/>
                            </a:cubicBezTo>
                            <a:cubicBezTo>
                              <a:pt x="15550" y="33612"/>
                              <a:pt x="15550" y="33612"/>
                              <a:pt x="15550" y="33612"/>
                            </a:cubicBezTo>
                            <a:cubicBezTo>
                              <a:pt x="15550" y="33612"/>
                              <a:pt x="15550" y="33612"/>
                              <a:pt x="15550" y="33612"/>
                            </a:cubicBezTo>
                            <a:cubicBezTo>
                              <a:pt x="15550" y="33612"/>
                              <a:pt x="15550" y="33612"/>
                              <a:pt x="15550" y="33612"/>
                            </a:cubicBezTo>
                            <a:cubicBezTo>
                              <a:pt x="15550" y="33612"/>
                              <a:pt x="15550" y="33612"/>
                              <a:pt x="15550" y="33612"/>
                            </a:cubicBezTo>
                            <a:lnTo>
                              <a:pt x="14294" y="35227"/>
                            </a:lnTo>
                            <a:moveTo>
                              <a:pt x="3708" y="27691"/>
                            </a:moveTo>
                            <a:lnTo>
                              <a:pt x="4127" y="27930"/>
                            </a:lnTo>
                            <a:lnTo>
                              <a:pt x="4246" y="27810"/>
                            </a:lnTo>
                            <a:lnTo>
                              <a:pt x="3110" y="26794"/>
                            </a:lnTo>
                            <a:cubicBezTo>
                              <a:pt x="3170" y="26853"/>
                              <a:pt x="3170" y="26973"/>
                              <a:pt x="3229" y="27033"/>
                            </a:cubicBezTo>
                            <a:cubicBezTo>
                              <a:pt x="3289" y="27092"/>
                              <a:pt x="3289" y="27212"/>
                              <a:pt x="3349" y="27272"/>
                            </a:cubicBezTo>
                            <a:cubicBezTo>
                              <a:pt x="3409" y="27332"/>
                              <a:pt x="3469" y="27451"/>
                              <a:pt x="3528" y="27511"/>
                            </a:cubicBezTo>
                            <a:cubicBezTo>
                              <a:pt x="3588" y="27571"/>
                              <a:pt x="3648" y="27631"/>
                              <a:pt x="3708" y="27691"/>
                            </a:cubicBezTo>
                            <a:moveTo>
                              <a:pt x="11722" y="35047"/>
                            </a:moveTo>
                            <a:cubicBezTo>
                              <a:pt x="11782" y="35107"/>
                              <a:pt x="11842" y="35167"/>
                              <a:pt x="11902" y="35167"/>
                            </a:cubicBezTo>
                            <a:cubicBezTo>
                              <a:pt x="11961" y="35227"/>
                              <a:pt x="12021" y="35227"/>
                              <a:pt x="12081" y="35286"/>
                            </a:cubicBezTo>
                            <a:cubicBezTo>
                              <a:pt x="12141" y="35346"/>
                              <a:pt x="12201" y="35346"/>
                              <a:pt x="12260" y="35406"/>
                            </a:cubicBezTo>
                            <a:cubicBezTo>
                              <a:pt x="12320" y="35466"/>
                              <a:pt x="12380" y="35466"/>
                              <a:pt x="12500" y="35466"/>
                            </a:cubicBezTo>
                            <a:cubicBezTo>
                              <a:pt x="12559" y="35466"/>
                              <a:pt x="12559" y="35466"/>
                              <a:pt x="12619" y="35466"/>
                            </a:cubicBezTo>
                            <a:cubicBezTo>
                              <a:pt x="12679" y="35466"/>
                              <a:pt x="12679" y="35466"/>
                              <a:pt x="12739" y="35466"/>
                            </a:cubicBezTo>
                            <a:cubicBezTo>
                              <a:pt x="12799" y="35466"/>
                              <a:pt x="12799" y="35466"/>
                              <a:pt x="12858" y="35466"/>
                            </a:cubicBezTo>
                            <a:cubicBezTo>
                              <a:pt x="12918" y="35466"/>
                              <a:pt x="12918" y="35466"/>
                              <a:pt x="12978" y="35466"/>
                            </a:cubicBezTo>
                            <a:lnTo>
                              <a:pt x="11184" y="33851"/>
                            </a:lnTo>
                            <a:cubicBezTo>
                              <a:pt x="11184" y="33911"/>
                              <a:pt x="11184" y="33911"/>
                              <a:pt x="11184" y="33970"/>
                            </a:cubicBezTo>
                            <a:cubicBezTo>
                              <a:pt x="11184" y="34030"/>
                              <a:pt x="11184" y="34030"/>
                              <a:pt x="11184" y="34030"/>
                            </a:cubicBezTo>
                            <a:cubicBezTo>
                              <a:pt x="11184" y="34030"/>
                              <a:pt x="11184" y="34090"/>
                              <a:pt x="11244" y="34090"/>
                            </a:cubicBezTo>
                            <a:cubicBezTo>
                              <a:pt x="11244" y="34090"/>
                              <a:pt x="11244" y="34150"/>
                              <a:pt x="11304" y="34150"/>
                            </a:cubicBezTo>
                            <a:cubicBezTo>
                              <a:pt x="11304" y="34210"/>
                              <a:pt x="11363" y="34269"/>
                              <a:pt x="11423" y="34329"/>
                            </a:cubicBezTo>
                            <a:cubicBezTo>
                              <a:pt x="11483" y="34389"/>
                              <a:pt x="11483" y="34449"/>
                              <a:pt x="11543" y="34509"/>
                            </a:cubicBezTo>
                            <a:cubicBezTo>
                              <a:pt x="11603" y="34568"/>
                              <a:pt x="11603" y="34628"/>
                              <a:pt x="11662" y="34688"/>
                            </a:cubicBezTo>
                            <a:cubicBezTo>
                              <a:pt x="11662" y="34927"/>
                              <a:pt x="11662" y="34987"/>
                              <a:pt x="11722" y="35047"/>
                            </a:cubicBezTo>
                            <a:moveTo>
                              <a:pt x="12320" y="36662"/>
                            </a:moveTo>
                            <a:lnTo>
                              <a:pt x="13636" y="37798"/>
                            </a:lnTo>
                            <a:lnTo>
                              <a:pt x="15012" y="36064"/>
                            </a:lnTo>
                            <a:cubicBezTo>
                              <a:pt x="15012" y="36064"/>
                              <a:pt x="14952" y="36064"/>
                              <a:pt x="14952" y="36123"/>
                            </a:cubicBezTo>
                            <a:cubicBezTo>
                              <a:pt x="14952" y="36123"/>
                              <a:pt x="14892" y="36123"/>
                              <a:pt x="14892" y="36183"/>
                            </a:cubicBezTo>
                            <a:cubicBezTo>
                              <a:pt x="14892" y="36183"/>
                              <a:pt x="14832" y="36183"/>
                              <a:pt x="14832" y="36243"/>
                            </a:cubicBezTo>
                            <a:cubicBezTo>
                              <a:pt x="14832" y="36243"/>
                              <a:pt x="14772" y="36243"/>
                              <a:pt x="14772" y="36303"/>
                            </a:cubicBezTo>
                            <a:cubicBezTo>
                              <a:pt x="14593" y="36422"/>
                              <a:pt x="14413" y="36542"/>
                              <a:pt x="14174" y="36602"/>
                            </a:cubicBezTo>
                            <a:cubicBezTo>
                              <a:pt x="13935" y="36662"/>
                              <a:pt x="13756" y="36722"/>
                              <a:pt x="13576" y="36781"/>
                            </a:cubicBezTo>
                            <a:cubicBezTo>
                              <a:pt x="13397" y="36841"/>
                              <a:pt x="13158" y="36841"/>
                              <a:pt x="12978" y="36841"/>
                            </a:cubicBezTo>
                            <a:cubicBezTo>
                              <a:pt x="12799" y="36841"/>
                              <a:pt x="12500" y="36722"/>
                              <a:pt x="12320" y="36662"/>
                            </a:cubicBezTo>
                            <a:moveTo>
                              <a:pt x="7775" y="32655"/>
                            </a:moveTo>
                            <a:lnTo>
                              <a:pt x="10107" y="34748"/>
                            </a:lnTo>
                            <a:cubicBezTo>
                              <a:pt x="10048" y="34628"/>
                              <a:pt x="9988" y="34449"/>
                              <a:pt x="9988" y="34329"/>
                            </a:cubicBezTo>
                            <a:cubicBezTo>
                              <a:pt x="9928" y="34150"/>
                              <a:pt x="9928" y="34030"/>
                              <a:pt x="9928" y="33851"/>
                            </a:cubicBezTo>
                            <a:cubicBezTo>
                              <a:pt x="9928" y="33671"/>
                              <a:pt x="9928" y="33552"/>
                              <a:pt x="9928" y="33373"/>
                            </a:cubicBezTo>
                            <a:cubicBezTo>
                              <a:pt x="9928" y="33193"/>
                              <a:pt x="9928" y="33073"/>
                              <a:pt x="9988" y="32894"/>
                            </a:cubicBezTo>
                            <a:lnTo>
                              <a:pt x="8612" y="31698"/>
                            </a:lnTo>
                            <a:lnTo>
                              <a:pt x="7775" y="32655"/>
                            </a:lnTo>
                            <a:moveTo>
                              <a:pt x="0" y="25717"/>
                            </a:moveTo>
                            <a:lnTo>
                              <a:pt x="2153" y="27631"/>
                            </a:lnTo>
                            <a:cubicBezTo>
                              <a:pt x="2153" y="27631"/>
                              <a:pt x="2153" y="27631"/>
                              <a:pt x="2153" y="27631"/>
                            </a:cubicBezTo>
                            <a:cubicBezTo>
                              <a:pt x="2153" y="27631"/>
                              <a:pt x="2153" y="27631"/>
                              <a:pt x="2153" y="27631"/>
                            </a:cubicBezTo>
                            <a:cubicBezTo>
                              <a:pt x="2153" y="27631"/>
                              <a:pt x="2153" y="27631"/>
                              <a:pt x="2153" y="27631"/>
                            </a:cubicBezTo>
                            <a:cubicBezTo>
                              <a:pt x="2153" y="27631"/>
                              <a:pt x="2153" y="27631"/>
                              <a:pt x="2153" y="27631"/>
                            </a:cubicBezTo>
                            <a:cubicBezTo>
                              <a:pt x="2093" y="27511"/>
                              <a:pt x="2033" y="27332"/>
                              <a:pt x="1974" y="27212"/>
                            </a:cubicBezTo>
                            <a:cubicBezTo>
                              <a:pt x="1914" y="27092"/>
                              <a:pt x="1914" y="26913"/>
                              <a:pt x="1854" y="26734"/>
                            </a:cubicBezTo>
                            <a:cubicBezTo>
                              <a:pt x="1854" y="26554"/>
                              <a:pt x="1794" y="26435"/>
                              <a:pt x="1794" y="26255"/>
                            </a:cubicBezTo>
                            <a:cubicBezTo>
                              <a:pt x="1794" y="26076"/>
                              <a:pt x="1794" y="25956"/>
                              <a:pt x="1794" y="25777"/>
                            </a:cubicBezTo>
                            <a:lnTo>
                              <a:pt x="1615" y="25597"/>
                            </a:lnTo>
                            <a:lnTo>
                              <a:pt x="1914" y="25238"/>
                            </a:lnTo>
                            <a:cubicBezTo>
                              <a:pt x="1914" y="25179"/>
                              <a:pt x="1914" y="25179"/>
                              <a:pt x="1914" y="25119"/>
                            </a:cubicBezTo>
                            <a:cubicBezTo>
                              <a:pt x="1914" y="25059"/>
                              <a:pt x="1914" y="25059"/>
                              <a:pt x="1914" y="24999"/>
                            </a:cubicBezTo>
                            <a:cubicBezTo>
                              <a:pt x="1914" y="24940"/>
                              <a:pt x="1914" y="24940"/>
                              <a:pt x="1974" y="24880"/>
                            </a:cubicBezTo>
                            <a:cubicBezTo>
                              <a:pt x="1974" y="24820"/>
                              <a:pt x="1974" y="24820"/>
                              <a:pt x="2033" y="24760"/>
                            </a:cubicBezTo>
                            <a:cubicBezTo>
                              <a:pt x="2093" y="24521"/>
                              <a:pt x="2213" y="24282"/>
                              <a:pt x="2333" y="24043"/>
                            </a:cubicBezTo>
                            <a:cubicBezTo>
                              <a:pt x="2452" y="23803"/>
                              <a:pt x="2572" y="23624"/>
                              <a:pt x="2751" y="23384"/>
                            </a:cubicBezTo>
                            <a:cubicBezTo>
                              <a:pt x="2930" y="23205"/>
                              <a:pt x="3110" y="23026"/>
                              <a:pt x="3289" y="22846"/>
                            </a:cubicBezTo>
                            <a:cubicBezTo>
                              <a:pt x="3469" y="22667"/>
                              <a:pt x="3648" y="22547"/>
                              <a:pt x="3887" y="22428"/>
                            </a:cubicBezTo>
                            <a:cubicBezTo>
                              <a:pt x="3887" y="22428"/>
                              <a:pt x="3947" y="22368"/>
                              <a:pt x="3947" y="22368"/>
                            </a:cubicBezTo>
                            <a:cubicBezTo>
                              <a:pt x="3947" y="22368"/>
                              <a:pt x="4007" y="22308"/>
                              <a:pt x="4007" y="22308"/>
                            </a:cubicBezTo>
                            <a:cubicBezTo>
                              <a:pt x="4007" y="22308"/>
                              <a:pt x="4067" y="22308"/>
                              <a:pt x="4067" y="22248"/>
                            </a:cubicBezTo>
                            <a:cubicBezTo>
                              <a:pt x="4067" y="22248"/>
                              <a:pt x="4127" y="22248"/>
                              <a:pt x="4127" y="22188"/>
                            </a:cubicBezTo>
                            <a:lnTo>
                              <a:pt x="5323" y="20693"/>
                            </a:lnTo>
                            <a:cubicBezTo>
                              <a:pt x="5203" y="20693"/>
                              <a:pt x="5083" y="20634"/>
                              <a:pt x="5024" y="20634"/>
                            </a:cubicBezTo>
                            <a:cubicBezTo>
                              <a:pt x="4904" y="20634"/>
                              <a:pt x="4785" y="20574"/>
                              <a:pt x="4725" y="20574"/>
                            </a:cubicBezTo>
                            <a:cubicBezTo>
                              <a:pt x="4605" y="20574"/>
                              <a:pt x="4486" y="20514"/>
                              <a:pt x="4426" y="20514"/>
                            </a:cubicBezTo>
                            <a:cubicBezTo>
                              <a:pt x="4306" y="20514"/>
                              <a:pt x="4187" y="20454"/>
                              <a:pt x="4127" y="20454"/>
                            </a:cubicBezTo>
                            <a:lnTo>
                              <a:pt x="0" y="25717"/>
                            </a:lnTo>
                          </a:path>
                        </a:pathLst>
                      </a:custGeom>
                      <a:noFill/>
                      <a:ln w="6350" cap="flat">
                        <a:solidFill>
                          <a:schemeClr val="bg1">
                            <a:alpha val="40000"/>
                          </a:schemeClr>
                        </a:solidFill>
                        <a:prstDash val="solid"/>
                        <a:miter/>
                      </a:ln>
                    </p:spPr>
                    <p:txBody>
                      <a:bodyPr rtlCol="0" anchor="ctr"/>
                      <a:lstStyle/>
                      <a:p>
                        <a:endParaRPr lang="en-GB"/>
                      </a:p>
                    </p:txBody>
                  </p:sp>
                  <p:sp>
                    <p:nvSpPr>
                      <p:cNvPr id="7417" name="Vrije vorm: vorm 7416">
                        <a:extLst>
                          <a:ext uri="{FF2B5EF4-FFF2-40B4-BE49-F238E27FC236}">
                            <a16:creationId xmlns:a16="http://schemas.microsoft.com/office/drawing/2014/main" id="{FC0C4F46-AB48-4BEB-B0FD-6D671F0833DB}"/>
                          </a:ext>
                        </a:extLst>
                      </p:cNvPr>
                      <p:cNvSpPr/>
                      <p:nvPr/>
                    </p:nvSpPr>
                    <p:spPr>
                      <a:xfrm>
                        <a:off x="5063897" y="4920200"/>
                        <a:ext cx="24042" cy="29544"/>
                      </a:xfrm>
                      <a:custGeom>
                        <a:avLst/>
                        <a:gdLst>
                          <a:gd name="connsiteX0" fmla="*/ 13337 w 24042"/>
                          <a:gd name="connsiteY0" fmla="*/ 8134 h 29544"/>
                          <a:gd name="connsiteX1" fmla="*/ 14174 w 24042"/>
                          <a:gd name="connsiteY1" fmla="*/ 8911 h 29544"/>
                          <a:gd name="connsiteX2" fmla="*/ 19856 w 24042"/>
                          <a:gd name="connsiteY2" fmla="*/ 1734 h 29544"/>
                          <a:gd name="connsiteX3" fmla="*/ 19856 w 24042"/>
                          <a:gd name="connsiteY3" fmla="*/ 1734 h 29544"/>
                          <a:gd name="connsiteX4" fmla="*/ 20514 w 24042"/>
                          <a:gd name="connsiteY4" fmla="*/ 2332 h 29544"/>
                          <a:gd name="connsiteX5" fmla="*/ 21291 w 24042"/>
                          <a:gd name="connsiteY5" fmla="*/ 1375 h 29544"/>
                          <a:gd name="connsiteX6" fmla="*/ 19796 w 24042"/>
                          <a:gd name="connsiteY6" fmla="*/ 0 h 29544"/>
                          <a:gd name="connsiteX7" fmla="*/ 19019 w 24042"/>
                          <a:gd name="connsiteY7" fmla="*/ 957 h 29544"/>
                          <a:gd name="connsiteX8" fmla="*/ 13337 w 24042"/>
                          <a:gd name="connsiteY8" fmla="*/ 8134 h 29544"/>
                          <a:gd name="connsiteX9" fmla="*/ 17583 w 24042"/>
                          <a:gd name="connsiteY9" fmla="*/ 12021 h 29544"/>
                          <a:gd name="connsiteX10" fmla="*/ 23265 w 24042"/>
                          <a:gd name="connsiteY10" fmla="*/ 4844 h 29544"/>
                          <a:gd name="connsiteX11" fmla="*/ 24043 w 24042"/>
                          <a:gd name="connsiteY11" fmla="*/ 3887 h 29544"/>
                          <a:gd name="connsiteX12" fmla="*/ 22069 w 24042"/>
                          <a:gd name="connsiteY12" fmla="*/ 2093 h 29544"/>
                          <a:gd name="connsiteX13" fmla="*/ 21291 w 24042"/>
                          <a:gd name="connsiteY13" fmla="*/ 3050 h 29544"/>
                          <a:gd name="connsiteX14" fmla="*/ 22069 w 24042"/>
                          <a:gd name="connsiteY14" fmla="*/ 3827 h 29544"/>
                          <a:gd name="connsiteX15" fmla="*/ 22368 w 24042"/>
                          <a:gd name="connsiteY15" fmla="*/ 4126 h 29544"/>
                          <a:gd name="connsiteX16" fmla="*/ 16746 w 24042"/>
                          <a:gd name="connsiteY16" fmla="*/ 11303 h 29544"/>
                          <a:gd name="connsiteX17" fmla="*/ 17583 w 24042"/>
                          <a:gd name="connsiteY17" fmla="*/ 12021 h 29544"/>
                          <a:gd name="connsiteX18" fmla="*/ 13038 w 24042"/>
                          <a:gd name="connsiteY18" fmla="*/ 17763 h 29544"/>
                          <a:gd name="connsiteX19" fmla="*/ 15909 w 24042"/>
                          <a:gd name="connsiteY19" fmla="*/ 14174 h 29544"/>
                          <a:gd name="connsiteX20" fmla="*/ 16686 w 24042"/>
                          <a:gd name="connsiteY20" fmla="*/ 13217 h 29544"/>
                          <a:gd name="connsiteX21" fmla="*/ 16806 w 24042"/>
                          <a:gd name="connsiteY21" fmla="*/ 13038 h 29544"/>
                          <a:gd name="connsiteX22" fmla="*/ 15968 w 24042"/>
                          <a:gd name="connsiteY22" fmla="*/ 12260 h 29544"/>
                          <a:gd name="connsiteX23" fmla="*/ 15072 w 24042"/>
                          <a:gd name="connsiteY23" fmla="*/ 13397 h 29544"/>
                          <a:gd name="connsiteX24" fmla="*/ 12260 w 24042"/>
                          <a:gd name="connsiteY24" fmla="*/ 16985 h 29544"/>
                          <a:gd name="connsiteX25" fmla="*/ 12320 w 24042"/>
                          <a:gd name="connsiteY25" fmla="*/ 16985 h 29544"/>
                          <a:gd name="connsiteX26" fmla="*/ 12380 w 24042"/>
                          <a:gd name="connsiteY26" fmla="*/ 16985 h 29544"/>
                          <a:gd name="connsiteX27" fmla="*/ 12440 w 24042"/>
                          <a:gd name="connsiteY27" fmla="*/ 16985 h 29544"/>
                          <a:gd name="connsiteX28" fmla="*/ 12500 w 24042"/>
                          <a:gd name="connsiteY28" fmla="*/ 16985 h 29544"/>
                          <a:gd name="connsiteX29" fmla="*/ 12679 w 24042"/>
                          <a:gd name="connsiteY29" fmla="*/ 17165 h 29544"/>
                          <a:gd name="connsiteX30" fmla="*/ 12859 w 24042"/>
                          <a:gd name="connsiteY30" fmla="*/ 17344 h 29544"/>
                          <a:gd name="connsiteX31" fmla="*/ 13038 w 24042"/>
                          <a:gd name="connsiteY31" fmla="*/ 17523 h 29544"/>
                          <a:gd name="connsiteX32" fmla="*/ 13038 w 24042"/>
                          <a:gd name="connsiteY32" fmla="*/ 17763 h 29544"/>
                          <a:gd name="connsiteX33" fmla="*/ 8433 w 24042"/>
                          <a:gd name="connsiteY33" fmla="*/ 14294 h 29544"/>
                          <a:gd name="connsiteX34" fmla="*/ 8672 w 24042"/>
                          <a:gd name="connsiteY34" fmla="*/ 14413 h 29544"/>
                          <a:gd name="connsiteX35" fmla="*/ 8911 w 24042"/>
                          <a:gd name="connsiteY35" fmla="*/ 14533 h 29544"/>
                          <a:gd name="connsiteX36" fmla="*/ 9151 w 24042"/>
                          <a:gd name="connsiteY36" fmla="*/ 14652 h 29544"/>
                          <a:gd name="connsiteX37" fmla="*/ 9390 w 24042"/>
                          <a:gd name="connsiteY37" fmla="*/ 14772 h 29544"/>
                          <a:gd name="connsiteX38" fmla="*/ 12440 w 24042"/>
                          <a:gd name="connsiteY38" fmla="*/ 10885 h 29544"/>
                          <a:gd name="connsiteX39" fmla="*/ 13337 w 24042"/>
                          <a:gd name="connsiteY39" fmla="*/ 9748 h 29544"/>
                          <a:gd name="connsiteX40" fmla="*/ 12500 w 24042"/>
                          <a:gd name="connsiteY40" fmla="*/ 8971 h 29544"/>
                          <a:gd name="connsiteX41" fmla="*/ 12380 w 24042"/>
                          <a:gd name="connsiteY41" fmla="*/ 9090 h 29544"/>
                          <a:gd name="connsiteX42" fmla="*/ 11603 w 24042"/>
                          <a:gd name="connsiteY42" fmla="*/ 10107 h 29544"/>
                          <a:gd name="connsiteX43" fmla="*/ 8433 w 24042"/>
                          <a:gd name="connsiteY43" fmla="*/ 14294 h 29544"/>
                          <a:gd name="connsiteX44" fmla="*/ 10586 w 24042"/>
                          <a:gd name="connsiteY44" fmla="*/ 20813 h 29544"/>
                          <a:gd name="connsiteX45" fmla="*/ 12260 w 24042"/>
                          <a:gd name="connsiteY45" fmla="*/ 18660 h 29544"/>
                          <a:gd name="connsiteX46" fmla="*/ 12081 w 24042"/>
                          <a:gd name="connsiteY46" fmla="*/ 18480 h 29544"/>
                          <a:gd name="connsiteX47" fmla="*/ 11902 w 24042"/>
                          <a:gd name="connsiteY47" fmla="*/ 18301 h 29544"/>
                          <a:gd name="connsiteX48" fmla="*/ 11722 w 24042"/>
                          <a:gd name="connsiteY48" fmla="*/ 18121 h 29544"/>
                          <a:gd name="connsiteX49" fmla="*/ 11543 w 24042"/>
                          <a:gd name="connsiteY49" fmla="*/ 17942 h 29544"/>
                          <a:gd name="connsiteX50" fmla="*/ 11483 w 24042"/>
                          <a:gd name="connsiteY50" fmla="*/ 17942 h 29544"/>
                          <a:gd name="connsiteX51" fmla="*/ 11423 w 24042"/>
                          <a:gd name="connsiteY51" fmla="*/ 17942 h 29544"/>
                          <a:gd name="connsiteX52" fmla="*/ 11364 w 24042"/>
                          <a:gd name="connsiteY52" fmla="*/ 17942 h 29544"/>
                          <a:gd name="connsiteX53" fmla="*/ 11304 w 24042"/>
                          <a:gd name="connsiteY53" fmla="*/ 17942 h 29544"/>
                          <a:gd name="connsiteX54" fmla="*/ 9629 w 24042"/>
                          <a:gd name="connsiteY54" fmla="*/ 20095 h 29544"/>
                          <a:gd name="connsiteX55" fmla="*/ 9689 w 24042"/>
                          <a:gd name="connsiteY55" fmla="*/ 20095 h 29544"/>
                          <a:gd name="connsiteX56" fmla="*/ 9749 w 24042"/>
                          <a:gd name="connsiteY56" fmla="*/ 20095 h 29544"/>
                          <a:gd name="connsiteX57" fmla="*/ 9808 w 24042"/>
                          <a:gd name="connsiteY57" fmla="*/ 20095 h 29544"/>
                          <a:gd name="connsiteX58" fmla="*/ 9868 w 24042"/>
                          <a:gd name="connsiteY58" fmla="*/ 20095 h 29544"/>
                          <a:gd name="connsiteX59" fmla="*/ 10048 w 24042"/>
                          <a:gd name="connsiteY59" fmla="*/ 20274 h 29544"/>
                          <a:gd name="connsiteX60" fmla="*/ 10227 w 24042"/>
                          <a:gd name="connsiteY60" fmla="*/ 20454 h 29544"/>
                          <a:gd name="connsiteX61" fmla="*/ 10406 w 24042"/>
                          <a:gd name="connsiteY61" fmla="*/ 20633 h 29544"/>
                          <a:gd name="connsiteX62" fmla="*/ 10586 w 24042"/>
                          <a:gd name="connsiteY62" fmla="*/ 20813 h 29544"/>
                          <a:gd name="connsiteX63" fmla="*/ 5921 w 24042"/>
                          <a:gd name="connsiteY63" fmla="*/ 17464 h 29544"/>
                          <a:gd name="connsiteX64" fmla="*/ 6160 w 24042"/>
                          <a:gd name="connsiteY64" fmla="*/ 17583 h 29544"/>
                          <a:gd name="connsiteX65" fmla="*/ 6399 w 24042"/>
                          <a:gd name="connsiteY65" fmla="*/ 17703 h 29544"/>
                          <a:gd name="connsiteX66" fmla="*/ 6639 w 24042"/>
                          <a:gd name="connsiteY66" fmla="*/ 17822 h 29544"/>
                          <a:gd name="connsiteX67" fmla="*/ 6878 w 24042"/>
                          <a:gd name="connsiteY67" fmla="*/ 17942 h 29544"/>
                          <a:gd name="connsiteX68" fmla="*/ 8612 w 24042"/>
                          <a:gd name="connsiteY68" fmla="*/ 15789 h 29544"/>
                          <a:gd name="connsiteX69" fmla="*/ 8373 w 24042"/>
                          <a:gd name="connsiteY69" fmla="*/ 15669 h 29544"/>
                          <a:gd name="connsiteX70" fmla="*/ 8134 w 24042"/>
                          <a:gd name="connsiteY70" fmla="*/ 15550 h 29544"/>
                          <a:gd name="connsiteX71" fmla="*/ 7895 w 24042"/>
                          <a:gd name="connsiteY71" fmla="*/ 15430 h 29544"/>
                          <a:gd name="connsiteX72" fmla="*/ 7656 w 24042"/>
                          <a:gd name="connsiteY72" fmla="*/ 15311 h 29544"/>
                          <a:gd name="connsiteX73" fmla="*/ 5921 w 24042"/>
                          <a:gd name="connsiteY73" fmla="*/ 17464 h 29544"/>
                          <a:gd name="connsiteX74" fmla="*/ 4545 w 24042"/>
                          <a:gd name="connsiteY74" fmla="*/ 20992 h 29544"/>
                          <a:gd name="connsiteX75" fmla="*/ 5921 w 24042"/>
                          <a:gd name="connsiteY75" fmla="*/ 19258 h 29544"/>
                          <a:gd name="connsiteX76" fmla="*/ 5682 w 24042"/>
                          <a:gd name="connsiteY76" fmla="*/ 19138 h 29544"/>
                          <a:gd name="connsiteX77" fmla="*/ 5442 w 24042"/>
                          <a:gd name="connsiteY77" fmla="*/ 19019 h 29544"/>
                          <a:gd name="connsiteX78" fmla="*/ 5203 w 24042"/>
                          <a:gd name="connsiteY78" fmla="*/ 18899 h 29544"/>
                          <a:gd name="connsiteX79" fmla="*/ 4964 w 24042"/>
                          <a:gd name="connsiteY79" fmla="*/ 18779 h 29544"/>
                          <a:gd name="connsiteX80" fmla="*/ 4067 w 24042"/>
                          <a:gd name="connsiteY80" fmla="*/ 19916 h 29544"/>
                          <a:gd name="connsiteX81" fmla="*/ 4187 w 24042"/>
                          <a:gd name="connsiteY81" fmla="*/ 20095 h 29544"/>
                          <a:gd name="connsiteX82" fmla="*/ 4306 w 24042"/>
                          <a:gd name="connsiteY82" fmla="*/ 20274 h 29544"/>
                          <a:gd name="connsiteX83" fmla="*/ 4426 w 24042"/>
                          <a:gd name="connsiteY83" fmla="*/ 20454 h 29544"/>
                          <a:gd name="connsiteX84" fmla="*/ 4486 w 24042"/>
                          <a:gd name="connsiteY84" fmla="*/ 20693 h 29544"/>
                          <a:gd name="connsiteX85" fmla="*/ 4545 w 24042"/>
                          <a:gd name="connsiteY85" fmla="*/ 20753 h 29544"/>
                          <a:gd name="connsiteX86" fmla="*/ 4605 w 24042"/>
                          <a:gd name="connsiteY86" fmla="*/ 20813 h 29544"/>
                          <a:gd name="connsiteX87" fmla="*/ 4665 w 24042"/>
                          <a:gd name="connsiteY87" fmla="*/ 20873 h 29544"/>
                          <a:gd name="connsiteX88" fmla="*/ 4545 w 24042"/>
                          <a:gd name="connsiteY88" fmla="*/ 20992 h 29544"/>
                          <a:gd name="connsiteX89" fmla="*/ 60 w 24042"/>
                          <a:gd name="connsiteY89" fmla="*/ 24880 h 29544"/>
                          <a:gd name="connsiteX90" fmla="*/ 419 w 24042"/>
                          <a:gd name="connsiteY90" fmla="*/ 25059 h 29544"/>
                          <a:gd name="connsiteX91" fmla="*/ 658 w 24042"/>
                          <a:gd name="connsiteY91" fmla="*/ 25119 h 29544"/>
                          <a:gd name="connsiteX92" fmla="*/ 897 w 24042"/>
                          <a:gd name="connsiteY92" fmla="*/ 25119 h 29544"/>
                          <a:gd name="connsiteX93" fmla="*/ 1136 w 24042"/>
                          <a:gd name="connsiteY93" fmla="*/ 25119 h 29544"/>
                          <a:gd name="connsiteX94" fmla="*/ 1375 w 24042"/>
                          <a:gd name="connsiteY94" fmla="*/ 25119 h 29544"/>
                          <a:gd name="connsiteX95" fmla="*/ 3648 w 24042"/>
                          <a:gd name="connsiteY95" fmla="*/ 22248 h 29544"/>
                          <a:gd name="connsiteX96" fmla="*/ 3648 w 24042"/>
                          <a:gd name="connsiteY96" fmla="*/ 22009 h 29544"/>
                          <a:gd name="connsiteX97" fmla="*/ 3588 w 24042"/>
                          <a:gd name="connsiteY97" fmla="*/ 21770 h 29544"/>
                          <a:gd name="connsiteX98" fmla="*/ 3529 w 24042"/>
                          <a:gd name="connsiteY98" fmla="*/ 21530 h 29544"/>
                          <a:gd name="connsiteX99" fmla="*/ 3469 w 24042"/>
                          <a:gd name="connsiteY99" fmla="*/ 21291 h 29544"/>
                          <a:gd name="connsiteX100" fmla="*/ 3409 w 24042"/>
                          <a:gd name="connsiteY100" fmla="*/ 21172 h 29544"/>
                          <a:gd name="connsiteX101" fmla="*/ 3349 w 24042"/>
                          <a:gd name="connsiteY101" fmla="*/ 21052 h 29544"/>
                          <a:gd name="connsiteX102" fmla="*/ 3289 w 24042"/>
                          <a:gd name="connsiteY102" fmla="*/ 20933 h 29544"/>
                          <a:gd name="connsiteX103" fmla="*/ 3229 w 24042"/>
                          <a:gd name="connsiteY103" fmla="*/ 20813 h 29544"/>
                          <a:gd name="connsiteX104" fmla="*/ 180 w 24042"/>
                          <a:gd name="connsiteY104" fmla="*/ 24641 h 29544"/>
                          <a:gd name="connsiteX105" fmla="*/ 60 w 24042"/>
                          <a:gd name="connsiteY105" fmla="*/ 24880 h 29544"/>
                          <a:gd name="connsiteX106" fmla="*/ 0 w 24042"/>
                          <a:gd name="connsiteY106" fmla="*/ 26255 h 29544"/>
                          <a:gd name="connsiteX107" fmla="*/ 3708 w 24042"/>
                          <a:gd name="connsiteY107" fmla="*/ 29544 h 29544"/>
                          <a:gd name="connsiteX108" fmla="*/ 4486 w 24042"/>
                          <a:gd name="connsiteY108" fmla="*/ 28528 h 29544"/>
                          <a:gd name="connsiteX109" fmla="*/ 9629 w 24042"/>
                          <a:gd name="connsiteY109" fmla="*/ 22009 h 29544"/>
                          <a:gd name="connsiteX110" fmla="*/ 9450 w 24042"/>
                          <a:gd name="connsiteY110" fmla="*/ 21829 h 29544"/>
                          <a:gd name="connsiteX111" fmla="*/ 9270 w 24042"/>
                          <a:gd name="connsiteY111" fmla="*/ 21650 h 29544"/>
                          <a:gd name="connsiteX112" fmla="*/ 9091 w 24042"/>
                          <a:gd name="connsiteY112" fmla="*/ 21471 h 29544"/>
                          <a:gd name="connsiteX113" fmla="*/ 8911 w 24042"/>
                          <a:gd name="connsiteY113" fmla="*/ 21291 h 29544"/>
                          <a:gd name="connsiteX114" fmla="*/ 8851 w 24042"/>
                          <a:gd name="connsiteY114" fmla="*/ 21291 h 29544"/>
                          <a:gd name="connsiteX115" fmla="*/ 8791 w 24042"/>
                          <a:gd name="connsiteY115" fmla="*/ 21291 h 29544"/>
                          <a:gd name="connsiteX116" fmla="*/ 8732 w 24042"/>
                          <a:gd name="connsiteY116" fmla="*/ 21291 h 29544"/>
                          <a:gd name="connsiteX117" fmla="*/ 8672 w 24042"/>
                          <a:gd name="connsiteY117" fmla="*/ 21291 h 29544"/>
                          <a:gd name="connsiteX118" fmla="*/ 3529 w 24042"/>
                          <a:gd name="connsiteY118" fmla="*/ 27810 h 29544"/>
                          <a:gd name="connsiteX119" fmla="*/ 1734 w 24042"/>
                          <a:gd name="connsiteY119" fmla="*/ 26195 h 29544"/>
                          <a:gd name="connsiteX120" fmla="*/ 1256 w 24042"/>
                          <a:gd name="connsiteY120" fmla="*/ 26315 h 29544"/>
                          <a:gd name="connsiteX121" fmla="*/ 778 w 24042"/>
                          <a:gd name="connsiteY121" fmla="*/ 26375 h 29544"/>
                          <a:gd name="connsiteX122" fmla="*/ 299 w 24042"/>
                          <a:gd name="connsiteY122" fmla="*/ 26375 h 29544"/>
                          <a:gd name="connsiteX123" fmla="*/ 0 w 24042"/>
                          <a:gd name="connsiteY123" fmla="*/ 26255 h 2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4042" h="29544">
                            <a:moveTo>
                              <a:pt x="13337" y="8134"/>
                            </a:moveTo>
                            <a:lnTo>
                              <a:pt x="14174" y="8911"/>
                            </a:lnTo>
                            <a:lnTo>
                              <a:pt x="19856" y="1734"/>
                            </a:lnTo>
                            <a:lnTo>
                              <a:pt x="19856" y="1734"/>
                            </a:lnTo>
                            <a:lnTo>
                              <a:pt x="20514" y="2332"/>
                            </a:lnTo>
                            <a:lnTo>
                              <a:pt x="21291" y="1375"/>
                            </a:lnTo>
                            <a:lnTo>
                              <a:pt x="19796" y="0"/>
                            </a:lnTo>
                            <a:lnTo>
                              <a:pt x="19019" y="957"/>
                            </a:lnTo>
                            <a:lnTo>
                              <a:pt x="13337" y="8134"/>
                            </a:lnTo>
                            <a:moveTo>
                              <a:pt x="17583" y="12021"/>
                            </a:moveTo>
                            <a:lnTo>
                              <a:pt x="23265" y="4844"/>
                            </a:lnTo>
                            <a:lnTo>
                              <a:pt x="24043" y="3887"/>
                            </a:lnTo>
                            <a:lnTo>
                              <a:pt x="22069" y="2093"/>
                            </a:lnTo>
                            <a:lnTo>
                              <a:pt x="21291" y="3050"/>
                            </a:lnTo>
                            <a:lnTo>
                              <a:pt x="22069" y="3827"/>
                            </a:lnTo>
                            <a:lnTo>
                              <a:pt x="22368" y="4126"/>
                            </a:lnTo>
                            <a:lnTo>
                              <a:pt x="16746" y="11303"/>
                            </a:lnTo>
                            <a:lnTo>
                              <a:pt x="17583" y="12021"/>
                            </a:lnTo>
                            <a:moveTo>
                              <a:pt x="13038" y="17763"/>
                            </a:moveTo>
                            <a:lnTo>
                              <a:pt x="15909" y="14174"/>
                            </a:lnTo>
                            <a:lnTo>
                              <a:pt x="16686" y="13217"/>
                            </a:lnTo>
                            <a:lnTo>
                              <a:pt x="16806" y="13038"/>
                            </a:lnTo>
                            <a:lnTo>
                              <a:pt x="15968" y="12260"/>
                            </a:lnTo>
                            <a:lnTo>
                              <a:pt x="15072" y="13397"/>
                            </a:lnTo>
                            <a:lnTo>
                              <a:pt x="12260" y="16985"/>
                            </a:lnTo>
                            <a:cubicBezTo>
                              <a:pt x="12260" y="16985"/>
                              <a:pt x="12260" y="16985"/>
                              <a:pt x="12320" y="16985"/>
                            </a:cubicBezTo>
                            <a:cubicBezTo>
                              <a:pt x="12320" y="16985"/>
                              <a:pt x="12320" y="16985"/>
                              <a:pt x="12380" y="16985"/>
                            </a:cubicBezTo>
                            <a:cubicBezTo>
                              <a:pt x="12380" y="16985"/>
                              <a:pt x="12380" y="16985"/>
                              <a:pt x="12440" y="16985"/>
                            </a:cubicBezTo>
                            <a:cubicBezTo>
                              <a:pt x="12440" y="16985"/>
                              <a:pt x="12440" y="16985"/>
                              <a:pt x="12500" y="16985"/>
                            </a:cubicBezTo>
                            <a:cubicBezTo>
                              <a:pt x="12559" y="17045"/>
                              <a:pt x="12619" y="17105"/>
                              <a:pt x="12679" y="17165"/>
                            </a:cubicBezTo>
                            <a:cubicBezTo>
                              <a:pt x="12739" y="17224"/>
                              <a:pt x="12799" y="17284"/>
                              <a:pt x="12859" y="17344"/>
                            </a:cubicBezTo>
                            <a:cubicBezTo>
                              <a:pt x="12918" y="17404"/>
                              <a:pt x="12978" y="17464"/>
                              <a:pt x="13038" y="17523"/>
                            </a:cubicBezTo>
                            <a:cubicBezTo>
                              <a:pt x="13098" y="17583"/>
                              <a:pt x="12978" y="17703"/>
                              <a:pt x="13038" y="17763"/>
                            </a:cubicBezTo>
                            <a:moveTo>
                              <a:pt x="8433" y="14294"/>
                            </a:moveTo>
                            <a:cubicBezTo>
                              <a:pt x="8493" y="14354"/>
                              <a:pt x="8612" y="14413"/>
                              <a:pt x="8672" y="14413"/>
                            </a:cubicBezTo>
                            <a:cubicBezTo>
                              <a:pt x="8732" y="14473"/>
                              <a:pt x="8851" y="14533"/>
                              <a:pt x="8911" y="14533"/>
                            </a:cubicBezTo>
                            <a:cubicBezTo>
                              <a:pt x="8971" y="14593"/>
                              <a:pt x="9091" y="14652"/>
                              <a:pt x="9151" y="14652"/>
                            </a:cubicBezTo>
                            <a:cubicBezTo>
                              <a:pt x="9210" y="14652"/>
                              <a:pt x="9330" y="14772"/>
                              <a:pt x="9390" y="14772"/>
                            </a:cubicBezTo>
                            <a:lnTo>
                              <a:pt x="12440" y="10885"/>
                            </a:lnTo>
                            <a:lnTo>
                              <a:pt x="13337" y="9748"/>
                            </a:lnTo>
                            <a:lnTo>
                              <a:pt x="12500" y="8971"/>
                            </a:lnTo>
                            <a:lnTo>
                              <a:pt x="12380" y="9090"/>
                            </a:lnTo>
                            <a:lnTo>
                              <a:pt x="11603" y="10107"/>
                            </a:lnTo>
                            <a:lnTo>
                              <a:pt x="8433" y="14294"/>
                            </a:lnTo>
                            <a:moveTo>
                              <a:pt x="10586" y="20813"/>
                            </a:moveTo>
                            <a:lnTo>
                              <a:pt x="12260" y="18660"/>
                            </a:lnTo>
                            <a:cubicBezTo>
                              <a:pt x="12201" y="18600"/>
                              <a:pt x="12141" y="18540"/>
                              <a:pt x="12081" y="18480"/>
                            </a:cubicBezTo>
                            <a:cubicBezTo>
                              <a:pt x="12021" y="18420"/>
                              <a:pt x="11961" y="18360"/>
                              <a:pt x="11902" y="18301"/>
                            </a:cubicBezTo>
                            <a:cubicBezTo>
                              <a:pt x="11842" y="18241"/>
                              <a:pt x="11782" y="18181"/>
                              <a:pt x="11722" y="18121"/>
                            </a:cubicBezTo>
                            <a:cubicBezTo>
                              <a:pt x="11662" y="18062"/>
                              <a:pt x="11603" y="18002"/>
                              <a:pt x="11543" y="17942"/>
                            </a:cubicBezTo>
                            <a:cubicBezTo>
                              <a:pt x="11543" y="17942"/>
                              <a:pt x="11543" y="17942"/>
                              <a:pt x="11483" y="17942"/>
                            </a:cubicBezTo>
                            <a:cubicBezTo>
                              <a:pt x="11483" y="17942"/>
                              <a:pt x="11483" y="17942"/>
                              <a:pt x="11423" y="17942"/>
                            </a:cubicBezTo>
                            <a:cubicBezTo>
                              <a:pt x="11423" y="17942"/>
                              <a:pt x="11423" y="17942"/>
                              <a:pt x="11364" y="17942"/>
                            </a:cubicBezTo>
                            <a:cubicBezTo>
                              <a:pt x="11364" y="17942"/>
                              <a:pt x="11364" y="17942"/>
                              <a:pt x="11304" y="17942"/>
                            </a:cubicBezTo>
                            <a:lnTo>
                              <a:pt x="9629" y="20095"/>
                            </a:lnTo>
                            <a:cubicBezTo>
                              <a:pt x="9629" y="20095"/>
                              <a:pt x="9629" y="20095"/>
                              <a:pt x="9689" y="20095"/>
                            </a:cubicBezTo>
                            <a:cubicBezTo>
                              <a:pt x="9689" y="20095"/>
                              <a:pt x="9689" y="20095"/>
                              <a:pt x="9749" y="20095"/>
                            </a:cubicBezTo>
                            <a:cubicBezTo>
                              <a:pt x="9749" y="20095"/>
                              <a:pt x="9749" y="20095"/>
                              <a:pt x="9808" y="20095"/>
                            </a:cubicBezTo>
                            <a:cubicBezTo>
                              <a:pt x="9808" y="20095"/>
                              <a:pt x="9808" y="20095"/>
                              <a:pt x="9868" y="20095"/>
                            </a:cubicBezTo>
                            <a:cubicBezTo>
                              <a:pt x="9928" y="20155"/>
                              <a:pt x="9988" y="20215"/>
                              <a:pt x="10048" y="20274"/>
                            </a:cubicBezTo>
                            <a:cubicBezTo>
                              <a:pt x="10107" y="20334"/>
                              <a:pt x="10167" y="20394"/>
                              <a:pt x="10227" y="20454"/>
                            </a:cubicBezTo>
                            <a:cubicBezTo>
                              <a:pt x="10287" y="20514"/>
                              <a:pt x="10347" y="20573"/>
                              <a:pt x="10406" y="20633"/>
                            </a:cubicBezTo>
                            <a:cubicBezTo>
                              <a:pt x="10466" y="20693"/>
                              <a:pt x="10526" y="20753"/>
                              <a:pt x="10586" y="20813"/>
                            </a:cubicBezTo>
                            <a:moveTo>
                              <a:pt x="5921" y="17464"/>
                            </a:moveTo>
                            <a:cubicBezTo>
                              <a:pt x="5981" y="17523"/>
                              <a:pt x="6100" y="17523"/>
                              <a:pt x="6160" y="17583"/>
                            </a:cubicBezTo>
                            <a:cubicBezTo>
                              <a:pt x="6220" y="17643"/>
                              <a:pt x="6340" y="17643"/>
                              <a:pt x="6399" y="17703"/>
                            </a:cubicBezTo>
                            <a:cubicBezTo>
                              <a:pt x="6459" y="17763"/>
                              <a:pt x="6579" y="17763"/>
                              <a:pt x="6639" y="17822"/>
                            </a:cubicBezTo>
                            <a:cubicBezTo>
                              <a:pt x="6698" y="17882"/>
                              <a:pt x="6818" y="17942"/>
                              <a:pt x="6878" y="17942"/>
                            </a:cubicBezTo>
                            <a:lnTo>
                              <a:pt x="8612" y="15789"/>
                            </a:lnTo>
                            <a:cubicBezTo>
                              <a:pt x="8552" y="15729"/>
                              <a:pt x="8433" y="15669"/>
                              <a:pt x="8373" y="15669"/>
                            </a:cubicBezTo>
                            <a:cubicBezTo>
                              <a:pt x="8313" y="15610"/>
                              <a:pt x="8194" y="15550"/>
                              <a:pt x="8134" y="15550"/>
                            </a:cubicBezTo>
                            <a:cubicBezTo>
                              <a:pt x="8074" y="15490"/>
                              <a:pt x="7954" y="15430"/>
                              <a:pt x="7895" y="15430"/>
                            </a:cubicBezTo>
                            <a:cubicBezTo>
                              <a:pt x="7835" y="15370"/>
                              <a:pt x="7715" y="15311"/>
                              <a:pt x="7656" y="15311"/>
                            </a:cubicBezTo>
                            <a:lnTo>
                              <a:pt x="5921" y="17464"/>
                            </a:lnTo>
                            <a:moveTo>
                              <a:pt x="4545" y="20992"/>
                            </a:moveTo>
                            <a:lnTo>
                              <a:pt x="5921" y="19258"/>
                            </a:lnTo>
                            <a:cubicBezTo>
                              <a:pt x="5861" y="19198"/>
                              <a:pt x="5742" y="19138"/>
                              <a:pt x="5682" y="19138"/>
                            </a:cubicBezTo>
                            <a:cubicBezTo>
                              <a:pt x="5622" y="19078"/>
                              <a:pt x="5502" y="19078"/>
                              <a:pt x="5442" y="19019"/>
                            </a:cubicBezTo>
                            <a:cubicBezTo>
                              <a:pt x="5383" y="18959"/>
                              <a:pt x="5263" y="18959"/>
                              <a:pt x="5203" y="18899"/>
                            </a:cubicBezTo>
                            <a:cubicBezTo>
                              <a:pt x="5143" y="18839"/>
                              <a:pt x="5024" y="18839"/>
                              <a:pt x="4964" y="18779"/>
                            </a:cubicBezTo>
                            <a:lnTo>
                              <a:pt x="4067" y="19916"/>
                            </a:lnTo>
                            <a:cubicBezTo>
                              <a:pt x="4127" y="19975"/>
                              <a:pt x="4127" y="20035"/>
                              <a:pt x="4187" y="20095"/>
                            </a:cubicBezTo>
                            <a:cubicBezTo>
                              <a:pt x="4246" y="20155"/>
                              <a:pt x="4246" y="20215"/>
                              <a:pt x="4306" y="20274"/>
                            </a:cubicBezTo>
                            <a:cubicBezTo>
                              <a:pt x="4366" y="20334"/>
                              <a:pt x="4366" y="20394"/>
                              <a:pt x="4426" y="20454"/>
                            </a:cubicBezTo>
                            <a:cubicBezTo>
                              <a:pt x="4486" y="20514"/>
                              <a:pt x="4486" y="20573"/>
                              <a:pt x="4486" y="20693"/>
                            </a:cubicBezTo>
                            <a:cubicBezTo>
                              <a:pt x="4486" y="20693"/>
                              <a:pt x="4486" y="20753"/>
                              <a:pt x="4545" y="20753"/>
                            </a:cubicBezTo>
                            <a:cubicBezTo>
                              <a:pt x="4605" y="20753"/>
                              <a:pt x="4545" y="20813"/>
                              <a:pt x="4605" y="20813"/>
                            </a:cubicBezTo>
                            <a:cubicBezTo>
                              <a:pt x="4605" y="20813"/>
                              <a:pt x="4605" y="20873"/>
                              <a:pt x="4665" y="20873"/>
                            </a:cubicBezTo>
                            <a:cubicBezTo>
                              <a:pt x="4545" y="20933"/>
                              <a:pt x="4545" y="20992"/>
                              <a:pt x="4545" y="20992"/>
                            </a:cubicBezTo>
                            <a:moveTo>
                              <a:pt x="60" y="24880"/>
                            </a:moveTo>
                            <a:lnTo>
                              <a:pt x="419" y="25059"/>
                            </a:lnTo>
                            <a:cubicBezTo>
                              <a:pt x="479" y="25059"/>
                              <a:pt x="598" y="25119"/>
                              <a:pt x="658" y="25119"/>
                            </a:cubicBezTo>
                            <a:cubicBezTo>
                              <a:pt x="718" y="25119"/>
                              <a:pt x="837" y="25119"/>
                              <a:pt x="897" y="25119"/>
                            </a:cubicBezTo>
                            <a:cubicBezTo>
                              <a:pt x="957" y="25119"/>
                              <a:pt x="1076" y="25119"/>
                              <a:pt x="1136" y="25119"/>
                            </a:cubicBezTo>
                            <a:cubicBezTo>
                              <a:pt x="1196" y="25119"/>
                              <a:pt x="1316" y="25119"/>
                              <a:pt x="1375" y="25119"/>
                            </a:cubicBezTo>
                            <a:lnTo>
                              <a:pt x="3648" y="22248"/>
                            </a:lnTo>
                            <a:cubicBezTo>
                              <a:pt x="3648" y="22188"/>
                              <a:pt x="3648" y="22069"/>
                              <a:pt x="3648" y="22009"/>
                            </a:cubicBezTo>
                            <a:cubicBezTo>
                              <a:pt x="3648" y="21949"/>
                              <a:pt x="3648" y="21829"/>
                              <a:pt x="3588" y="21770"/>
                            </a:cubicBezTo>
                            <a:cubicBezTo>
                              <a:pt x="3588" y="21710"/>
                              <a:pt x="3529" y="21590"/>
                              <a:pt x="3529" y="21530"/>
                            </a:cubicBezTo>
                            <a:cubicBezTo>
                              <a:pt x="3529" y="21471"/>
                              <a:pt x="3469" y="21411"/>
                              <a:pt x="3469" y="21291"/>
                            </a:cubicBezTo>
                            <a:cubicBezTo>
                              <a:pt x="3469" y="21231"/>
                              <a:pt x="3409" y="21231"/>
                              <a:pt x="3409" y="21172"/>
                            </a:cubicBezTo>
                            <a:cubicBezTo>
                              <a:pt x="3409" y="21112"/>
                              <a:pt x="3349" y="21112"/>
                              <a:pt x="3349" y="21052"/>
                            </a:cubicBezTo>
                            <a:cubicBezTo>
                              <a:pt x="3349" y="20992"/>
                              <a:pt x="3289" y="20992"/>
                              <a:pt x="3289" y="20933"/>
                            </a:cubicBezTo>
                            <a:cubicBezTo>
                              <a:pt x="3289" y="20873"/>
                              <a:pt x="3229" y="20873"/>
                              <a:pt x="3229" y="20813"/>
                            </a:cubicBezTo>
                            <a:lnTo>
                              <a:pt x="180" y="24641"/>
                            </a:lnTo>
                            <a:lnTo>
                              <a:pt x="60" y="24880"/>
                            </a:lnTo>
                            <a:moveTo>
                              <a:pt x="0" y="26255"/>
                            </a:moveTo>
                            <a:lnTo>
                              <a:pt x="3708" y="29544"/>
                            </a:lnTo>
                            <a:lnTo>
                              <a:pt x="4486" y="28528"/>
                            </a:lnTo>
                            <a:lnTo>
                              <a:pt x="9629" y="22009"/>
                            </a:lnTo>
                            <a:cubicBezTo>
                              <a:pt x="9569" y="21949"/>
                              <a:pt x="9510" y="21889"/>
                              <a:pt x="9450" y="21829"/>
                            </a:cubicBezTo>
                            <a:cubicBezTo>
                              <a:pt x="9390" y="21770"/>
                              <a:pt x="9330" y="21710"/>
                              <a:pt x="9270" y="21650"/>
                            </a:cubicBezTo>
                            <a:cubicBezTo>
                              <a:pt x="9210" y="21590"/>
                              <a:pt x="9151" y="21530"/>
                              <a:pt x="9091" y="21471"/>
                            </a:cubicBezTo>
                            <a:cubicBezTo>
                              <a:pt x="9031" y="21411"/>
                              <a:pt x="8971" y="21351"/>
                              <a:pt x="8911" y="21291"/>
                            </a:cubicBezTo>
                            <a:cubicBezTo>
                              <a:pt x="8911" y="21291"/>
                              <a:pt x="8911" y="21291"/>
                              <a:pt x="8851" y="21291"/>
                            </a:cubicBezTo>
                            <a:cubicBezTo>
                              <a:pt x="8851" y="21291"/>
                              <a:pt x="8851" y="21291"/>
                              <a:pt x="8791" y="21291"/>
                            </a:cubicBezTo>
                            <a:cubicBezTo>
                              <a:pt x="8791" y="21291"/>
                              <a:pt x="8791" y="21291"/>
                              <a:pt x="8732" y="21291"/>
                            </a:cubicBezTo>
                            <a:cubicBezTo>
                              <a:pt x="8732" y="21291"/>
                              <a:pt x="8732" y="21291"/>
                              <a:pt x="8672" y="21291"/>
                            </a:cubicBezTo>
                            <a:lnTo>
                              <a:pt x="3529" y="27810"/>
                            </a:lnTo>
                            <a:lnTo>
                              <a:pt x="1734" y="26195"/>
                            </a:lnTo>
                            <a:cubicBezTo>
                              <a:pt x="1555" y="26255"/>
                              <a:pt x="1435" y="26255"/>
                              <a:pt x="1256" y="26315"/>
                            </a:cubicBezTo>
                            <a:cubicBezTo>
                              <a:pt x="1076" y="26315"/>
                              <a:pt x="957" y="26375"/>
                              <a:pt x="778" y="26375"/>
                            </a:cubicBezTo>
                            <a:cubicBezTo>
                              <a:pt x="598" y="26375"/>
                              <a:pt x="479" y="26375"/>
                              <a:pt x="299" y="26375"/>
                            </a:cubicBezTo>
                            <a:cubicBezTo>
                              <a:pt x="299" y="26315"/>
                              <a:pt x="120" y="26255"/>
                              <a:pt x="0" y="26255"/>
                            </a:cubicBezTo>
                          </a:path>
                        </a:pathLst>
                      </a:custGeom>
                      <a:noFill/>
                      <a:ln w="6350" cap="flat">
                        <a:solidFill>
                          <a:schemeClr val="bg1">
                            <a:alpha val="40000"/>
                          </a:schemeClr>
                        </a:solidFill>
                        <a:prstDash val="solid"/>
                        <a:miter/>
                      </a:ln>
                    </p:spPr>
                    <p:txBody>
                      <a:bodyPr rtlCol="0" anchor="ctr"/>
                      <a:lstStyle/>
                      <a:p>
                        <a:endParaRPr lang="en-GB"/>
                      </a:p>
                    </p:txBody>
                  </p:sp>
                  <p:sp>
                    <p:nvSpPr>
                      <p:cNvPr id="7418" name="Vrije vorm: vorm 7417">
                        <a:extLst>
                          <a:ext uri="{FF2B5EF4-FFF2-40B4-BE49-F238E27FC236}">
                            <a16:creationId xmlns:a16="http://schemas.microsoft.com/office/drawing/2014/main" id="{38C1994A-780E-47BC-B0F7-8168615B7958}"/>
                          </a:ext>
                        </a:extLst>
                      </p:cNvPr>
                      <p:cNvSpPr/>
                      <p:nvPr/>
                    </p:nvSpPr>
                    <p:spPr>
                      <a:xfrm>
                        <a:off x="5068921" y="4909853"/>
                        <a:ext cx="31279" cy="32116"/>
                      </a:xfrm>
                      <a:custGeom>
                        <a:avLst/>
                        <a:gdLst>
                          <a:gd name="connsiteX0" fmla="*/ 21411 w 31279"/>
                          <a:gd name="connsiteY0" fmla="*/ 32116 h 32116"/>
                          <a:gd name="connsiteX1" fmla="*/ 31279 w 31279"/>
                          <a:gd name="connsiteY1" fmla="*/ 19617 h 32116"/>
                          <a:gd name="connsiteX2" fmla="*/ 26255 w 31279"/>
                          <a:gd name="connsiteY2" fmla="*/ 15012 h 32116"/>
                          <a:gd name="connsiteX3" fmla="*/ 25418 w 31279"/>
                          <a:gd name="connsiteY3" fmla="*/ 14234 h 32116"/>
                          <a:gd name="connsiteX4" fmla="*/ 21411 w 31279"/>
                          <a:gd name="connsiteY4" fmla="*/ 10526 h 32116"/>
                          <a:gd name="connsiteX5" fmla="*/ 20574 w 31279"/>
                          <a:gd name="connsiteY5" fmla="*/ 9749 h 32116"/>
                          <a:gd name="connsiteX6" fmla="*/ 19736 w 31279"/>
                          <a:gd name="connsiteY6" fmla="*/ 8971 h 32116"/>
                          <a:gd name="connsiteX7" fmla="*/ 18959 w 31279"/>
                          <a:gd name="connsiteY7" fmla="*/ 9988 h 32116"/>
                          <a:gd name="connsiteX8" fmla="*/ 19796 w 31279"/>
                          <a:gd name="connsiteY8" fmla="*/ 10706 h 32116"/>
                          <a:gd name="connsiteX9" fmla="*/ 20633 w 31279"/>
                          <a:gd name="connsiteY9" fmla="*/ 11483 h 32116"/>
                          <a:gd name="connsiteX10" fmla="*/ 24700 w 31279"/>
                          <a:gd name="connsiteY10" fmla="*/ 15191 h 32116"/>
                          <a:gd name="connsiteX11" fmla="*/ 25478 w 31279"/>
                          <a:gd name="connsiteY11" fmla="*/ 15968 h 32116"/>
                          <a:gd name="connsiteX12" fmla="*/ 29724 w 31279"/>
                          <a:gd name="connsiteY12" fmla="*/ 19796 h 32116"/>
                          <a:gd name="connsiteX13" fmla="*/ 21411 w 31279"/>
                          <a:gd name="connsiteY13" fmla="*/ 30382 h 32116"/>
                          <a:gd name="connsiteX14" fmla="*/ 18360 w 31279"/>
                          <a:gd name="connsiteY14" fmla="*/ 27631 h 32116"/>
                          <a:gd name="connsiteX15" fmla="*/ 17523 w 31279"/>
                          <a:gd name="connsiteY15" fmla="*/ 26853 h 32116"/>
                          <a:gd name="connsiteX16" fmla="*/ 17045 w 31279"/>
                          <a:gd name="connsiteY16" fmla="*/ 26435 h 32116"/>
                          <a:gd name="connsiteX17" fmla="*/ 16267 w 31279"/>
                          <a:gd name="connsiteY17" fmla="*/ 25717 h 32116"/>
                          <a:gd name="connsiteX18" fmla="*/ 12559 w 31279"/>
                          <a:gd name="connsiteY18" fmla="*/ 22368 h 32116"/>
                          <a:gd name="connsiteX19" fmla="*/ 11722 w 31279"/>
                          <a:gd name="connsiteY19" fmla="*/ 21590 h 32116"/>
                          <a:gd name="connsiteX20" fmla="*/ 11363 w 31279"/>
                          <a:gd name="connsiteY20" fmla="*/ 21231 h 32116"/>
                          <a:gd name="connsiteX21" fmla="*/ 10586 w 31279"/>
                          <a:gd name="connsiteY21" fmla="*/ 20574 h 32116"/>
                          <a:gd name="connsiteX22" fmla="*/ 9808 w 31279"/>
                          <a:gd name="connsiteY22" fmla="*/ 21531 h 32116"/>
                          <a:gd name="connsiteX23" fmla="*/ 3289 w 31279"/>
                          <a:gd name="connsiteY23" fmla="*/ 15610 h 32116"/>
                          <a:gd name="connsiteX24" fmla="*/ 4067 w 31279"/>
                          <a:gd name="connsiteY24" fmla="*/ 14653 h 32116"/>
                          <a:gd name="connsiteX25" fmla="*/ 1674 w 31279"/>
                          <a:gd name="connsiteY25" fmla="*/ 12440 h 32116"/>
                          <a:gd name="connsiteX26" fmla="*/ 10048 w 31279"/>
                          <a:gd name="connsiteY26" fmla="*/ 1794 h 32116"/>
                          <a:gd name="connsiteX27" fmla="*/ 12500 w 31279"/>
                          <a:gd name="connsiteY27" fmla="*/ 4007 h 32116"/>
                          <a:gd name="connsiteX28" fmla="*/ 13277 w 31279"/>
                          <a:gd name="connsiteY28" fmla="*/ 3050 h 32116"/>
                          <a:gd name="connsiteX29" fmla="*/ 9988 w 31279"/>
                          <a:gd name="connsiteY29" fmla="*/ 0 h 32116"/>
                          <a:gd name="connsiteX30" fmla="*/ 0 w 31279"/>
                          <a:gd name="connsiteY30" fmla="*/ 12679 h 32116"/>
                          <a:gd name="connsiteX31" fmla="*/ 4067 w 31279"/>
                          <a:gd name="connsiteY31" fmla="*/ 16328 h 32116"/>
                          <a:gd name="connsiteX32" fmla="*/ 4904 w 31279"/>
                          <a:gd name="connsiteY32" fmla="*/ 17105 h 32116"/>
                          <a:gd name="connsiteX33" fmla="*/ 5562 w 31279"/>
                          <a:gd name="connsiteY33" fmla="*/ 17703 h 32116"/>
                          <a:gd name="connsiteX34" fmla="*/ 7476 w 31279"/>
                          <a:gd name="connsiteY34" fmla="*/ 19437 h 32116"/>
                          <a:gd name="connsiteX35" fmla="*/ 8313 w 31279"/>
                          <a:gd name="connsiteY35" fmla="*/ 20215 h 32116"/>
                          <a:gd name="connsiteX36" fmla="*/ 8493 w 31279"/>
                          <a:gd name="connsiteY36" fmla="*/ 20394 h 32116"/>
                          <a:gd name="connsiteX37" fmla="*/ 10586 w 31279"/>
                          <a:gd name="connsiteY37" fmla="*/ 22248 h 32116"/>
                          <a:gd name="connsiteX38" fmla="*/ 10944 w 31279"/>
                          <a:gd name="connsiteY38" fmla="*/ 22547 h 32116"/>
                          <a:gd name="connsiteX39" fmla="*/ 11782 w 31279"/>
                          <a:gd name="connsiteY39" fmla="*/ 23325 h 32116"/>
                          <a:gd name="connsiteX40" fmla="*/ 15430 w 31279"/>
                          <a:gd name="connsiteY40" fmla="*/ 26674 h 32116"/>
                          <a:gd name="connsiteX41" fmla="*/ 16267 w 31279"/>
                          <a:gd name="connsiteY41" fmla="*/ 27452 h 32116"/>
                          <a:gd name="connsiteX42" fmla="*/ 16746 w 31279"/>
                          <a:gd name="connsiteY42" fmla="*/ 27870 h 32116"/>
                          <a:gd name="connsiteX43" fmla="*/ 17583 w 31279"/>
                          <a:gd name="connsiteY43" fmla="*/ 28588 h 32116"/>
                          <a:gd name="connsiteX44" fmla="*/ 21411 w 31279"/>
                          <a:gd name="connsiteY44" fmla="*/ 32116 h 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1279" h="32116">
                            <a:moveTo>
                              <a:pt x="21411" y="32116"/>
                            </a:moveTo>
                            <a:lnTo>
                              <a:pt x="31279" y="19617"/>
                            </a:lnTo>
                            <a:lnTo>
                              <a:pt x="26255" y="15012"/>
                            </a:lnTo>
                            <a:lnTo>
                              <a:pt x="25418" y="14234"/>
                            </a:lnTo>
                            <a:lnTo>
                              <a:pt x="21411" y="10526"/>
                            </a:lnTo>
                            <a:lnTo>
                              <a:pt x="20574" y="9749"/>
                            </a:lnTo>
                            <a:lnTo>
                              <a:pt x="19736" y="8971"/>
                            </a:lnTo>
                            <a:lnTo>
                              <a:pt x="18959" y="9988"/>
                            </a:lnTo>
                            <a:lnTo>
                              <a:pt x="19796" y="10706"/>
                            </a:lnTo>
                            <a:lnTo>
                              <a:pt x="20633" y="11483"/>
                            </a:lnTo>
                            <a:lnTo>
                              <a:pt x="24700" y="15191"/>
                            </a:lnTo>
                            <a:lnTo>
                              <a:pt x="25478" y="15968"/>
                            </a:lnTo>
                            <a:lnTo>
                              <a:pt x="29724" y="19796"/>
                            </a:lnTo>
                            <a:lnTo>
                              <a:pt x="21411" y="30382"/>
                            </a:lnTo>
                            <a:lnTo>
                              <a:pt x="18360" y="27631"/>
                            </a:lnTo>
                            <a:lnTo>
                              <a:pt x="17523" y="26853"/>
                            </a:lnTo>
                            <a:lnTo>
                              <a:pt x="17045" y="26435"/>
                            </a:lnTo>
                            <a:lnTo>
                              <a:pt x="16267" y="25717"/>
                            </a:lnTo>
                            <a:lnTo>
                              <a:pt x="12559" y="22368"/>
                            </a:lnTo>
                            <a:lnTo>
                              <a:pt x="11722" y="21590"/>
                            </a:lnTo>
                            <a:lnTo>
                              <a:pt x="11363" y="21231"/>
                            </a:lnTo>
                            <a:lnTo>
                              <a:pt x="10586" y="20574"/>
                            </a:lnTo>
                            <a:lnTo>
                              <a:pt x="9808" y="21531"/>
                            </a:lnTo>
                            <a:lnTo>
                              <a:pt x="3289" y="15610"/>
                            </a:lnTo>
                            <a:lnTo>
                              <a:pt x="4067" y="14653"/>
                            </a:lnTo>
                            <a:lnTo>
                              <a:pt x="1674" y="12440"/>
                            </a:lnTo>
                            <a:lnTo>
                              <a:pt x="10048" y="1794"/>
                            </a:lnTo>
                            <a:lnTo>
                              <a:pt x="12500" y="4007"/>
                            </a:lnTo>
                            <a:lnTo>
                              <a:pt x="13277" y="3050"/>
                            </a:lnTo>
                            <a:lnTo>
                              <a:pt x="9988" y="0"/>
                            </a:lnTo>
                            <a:lnTo>
                              <a:pt x="0" y="12679"/>
                            </a:lnTo>
                            <a:lnTo>
                              <a:pt x="4067" y="16328"/>
                            </a:lnTo>
                            <a:lnTo>
                              <a:pt x="4904" y="17105"/>
                            </a:lnTo>
                            <a:lnTo>
                              <a:pt x="5562" y="17703"/>
                            </a:lnTo>
                            <a:lnTo>
                              <a:pt x="7476" y="19437"/>
                            </a:lnTo>
                            <a:lnTo>
                              <a:pt x="8313" y="20215"/>
                            </a:lnTo>
                            <a:lnTo>
                              <a:pt x="8493" y="20394"/>
                            </a:lnTo>
                            <a:lnTo>
                              <a:pt x="10586" y="22248"/>
                            </a:lnTo>
                            <a:lnTo>
                              <a:pt x="10944" y="22547"/>
                            </a:lnTo>
                            <a:lnTo>
                              <a:pt x="11782" y="23325"/>
                            </a:lnTo>
                            <a:lnTo>
                              <a:pt x="15430" y="26674"/>
                            </a:lnTo>
                            <a:lnTo>
                              <a:pt x="16267" y="27452"/>
                            </a:lnTo>
                            <a:lnTo>
                              <a:pt x="16746" y="27870"/>
                            </a:lnTo>
                            <a:lnTo>
                              <a:pt x="17583" y="28588"/>
                            </a:lnTo>
                            <a:lnTo>
                              <a:pt x="21411" y="32116"/>
                            </a:lnTo>
                          </a:path>
                        </a:pathLst>
                      </a:custGeom>
                      <a:noFill/>
                      <a:ln w="6350" cap="flat">
                        <a:solidFill>
                          <a:schemeClr val="bg1">
                            <a:alpha val="40000"/>
                          </a:schemeClr>
                        </a:solidFill>
                        <a:prstDash val="solid"/>
                        <a:miter/>
                      </a:ln>
                    </p:spPr>
                    <p:txBody>
                      <a:bodyPr rtlCol="0" anchor="ctr"/>
                      <a:lstStyle/>
                      <a:p>
                        <a:endParaRPr lang="en-GB"/>
                      </a:p>
                    </p:txBody>
                  </p:sp>
                  <p:sp>
                    <p:nvSpPr>
                      <p:cNvPr id="7419" name="Vrije vorm: vorm 7418">
                        <a:extLst>
                          <a:ext uri="{FF2B5EF4-FFF2-40B4-BE49-F238E27FC236}">
                            <a16:creationId xmlns:a16="http://schemas.microsoft.com/office/drawing/2014/main" id="{1E49C611-4437-4CD8-BB4B-AC5B740E86B1}"/>
                          </a:ext>
                        </a:extLst>
                      </p:cNvPr>
                      <p:cNvSpPr/>
                      <p:nvPr/>
                    </p:nvSpPr>
                    <p:spPr>
                      <a:xfrm>
                        <a:off x="5072210" y="4912844"/>
                        <a:ext cx="16506" cy="18480"/>
                      </a:xfrm>
                      <a:custGeom>
                        <a:avLst/>
                        <a:gdLst>
                          <a:gd name="connsiteX0" fmla="*/ 2392 w 16506"/>
                          <a:gd name="connsiteY0" fmla="*/ 13098 h 18480"/>
                          <a:gd name="connsiteX1" fmla="*/ 1674 w 16506"/>
                          <a:gd name="connsiteY1" fmla="*/ 12440 h 18480"/>
                          <a:gd name="connsiteX2" fmla="*/ 8134 w 16506"/>
                          <a:gd name="connsiteY2" fmla="*/ 4246 h 18480"/>
                          <a:gd name="connsiteX3" fmla="*/ 10107 w 16506"/>
                          <a:gd name="connsiteY3" fmla="*/ 1794 h 18480"/>
                          <a:gd name="connsiteX4" fmla="*/ 10825 w 16506"/>
                          <a:gd name="connsiteY4" fmla="*/ 2452 h 18480"/>
                          <a:gd name="connsiteX5" fmla="*/ 11662 w 16506"/>
                          <a:gd name="connsiteY5" fmla="*/ 3230 h 18480"/>
                          <a:gd name="connsiteX6" fmla="*/ 13756 w 16506"/>
                          <a:gd name="connsiteY6" fmla="*/ 5143 h 18480"/>
                          <a:gd name="connsiteX7" fmla="*/ 14593 w 16506"/>
                          <a:gd name="connsiteY7" fmla="*/ 5921 h 18480"/>
                          <a:gd name="connsiteX8" fmla="*/ 15012 w 16506"/>
                          <a:gd name="connsiteY8" fmla="*/ 6280 h 18480"/>
                          <a:gd name="connsiteX9" fmla="*/ 13098 w 16506"/>
                          <a:gd name="connsiteY9" fmla="*/ 8732 h 18480"/>
                          <a:gd name="connsiteX10" fmla="*/ 12320 w 16506"/>
                          <a:gd name="connsiteY10" fmla="*/ 9689 h 18480"/>
                          <a:gd name="connsiteX11" fmla="*/ 12320 w 16506"/>
                          <a:gd name="connsiteY11" fmla="*/ 9689 h 18480"/>
                          <a:gd name="connsiteX12" fmla="*/ 6639 w 16506"/>
                          <a:gd name="connsiteY12" fmla="*/ 16866 h 18480"/>
                          <a:gd name="connsiteX13" fmla="*/ 6160 w 16506"/>
                          <a:gd name="connsiteY13" fmla="*/ 16447 h 18480"/>
                          <a:gd name="connsiteX14" fmla="*/ 5981 w 16506"/>
                          <a:gd name="connsiteY14" fmla="*/ 16268 h 18480"/>
                          <a:gd name="connsiteX15" fmla="*/ 5143 w 16506"/>
                          <a:gd name="connsiteY15" fmla="*/ 15490 h 18480"/>
                          <a:gd name="connsiteX16" fmla="*/ 3229 w 16506"/>
                          <a:gd name="connsiteY16" fmla="*/ 13756 h 18480"/>
                          <a:gd name="connsiteX17" fmla="*/ 2392 w 16506"/>
                          <a:gd name="connsiteY17" fmla="*/ 13098 h 18480"/>
                          <a:gd name="connsiteX18" fmla="*/ 0 w 16506"/>
                          <a:gd name="connsiteY18" fmla="*/ 12619 h 18480"/>
                          <a:gd name="connsiteX19" fmla="*/ 6519 w 16506"/>
                          <a:gd name="connsiteY19" fmla="*/ 18481 h 18480"/>
                          <a:gd name="connsiteX20" fmla="*/ 7296 w 16506"/>
                          <a:gd name="connsiteY20" fmla="*/ 17523 h 18480"/>
                          <a:gd name="connsiteX21" fmla="*/ 12978 w 16506"/>
                          <a:gd name="connsiteY21" fmla="*/ 10347 h 18480"/>
                          <a:gd name="connsiteX22" fmla="*/ 13756 w 16506"/>
                          <a:gd name="connsiteY22" fmla="*/ 9390 h 18480"/>
                          <a:gd name="connsiteX23" fmla="*/ 15729 w 16506"/>
                          <a:gd name="connsiteY23" fmla="*/ 6938 h 18480"/>
                          <a:gd name="connsiteX24" fmla="*/ 16507 w 16506"/>
                          <a:gd name="connsiteY24" fmla="*/ 5981 h 18480"/>
                          <a:gd name="connsiteX25" fmla="*/ 16507 w 16506"/>
                          <a:gd name="connsiteY25" fmla="*/ 5981 h 18480"/>
                          <a:gd name="connsiteX26" fmla="*/ 15311 w 16506"/>
                          <a:gd name="connsiteY26" fmla="*/ 4844 h 18480"/>
                          <a:gd name="connsiteX27" fmla="*/ 14473 w 16506"/>
                          <a:gd name="connsiteY27" fmla="*/ 4067 h 18480"/>
                          <a:gd name="connsiteX28" fmla="*/ 12440 w 16506"/>
                          <a:gd name="connsiteY28" fmla="*/ 2153 h 18480"/>
                          <a:gd name="connsiteX29" fmla="*/ 11603 w 16506"/>
                          <a:gd name="connsiteY29" fmla="*/ 1376 h 18480"/>
                          <a:gd name="connsiteX30" fmla="*/ 10107 w 16506"/>
                          <a:gd name="connsiteY30" fmla="*/ 0 h 18480"/>
                          <a:gd name="connsiteX31" fmla="*/ 10107 w 16506"/>
                          <a:gd name="connsiteY31" fmla="*/ 0 h 18480"/>
                          <a:gd name="connsiteX32" fmla="*/ 9330 w 16506"/>
                          <a:gd name="connsiteY32" fmla="*/ 957 h 18480"/>
                          <a:gd name="connsiteX33" fmla="*/ 897 w 16506"/>
                          <a:gd name="connsiteY33" fmla="*/ 11543 h 18480"/>
                          <a:gd name="connsiteX34" fmla="*/ 0 w 16506"/>
                          <a:gd name="connsiteY34" fmla="*/ 12619 h 1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506" h="18480">
                            <a:moveTo>
                              <a:pt x="2392" y="13098"/>
                            </a:moveTo>
                            <a:lnTo>
                              <a:pt x="1674" y="12440"/>
                            </a:lnTo>
                            <a:lnTo>
                              <a:pt x="8134" y="4246"/>
                            </a:lnTo>
                            <a:lnTo>
                              <a:pt x="10107" y="1794"/>
                            </a:lnTo>
                            <a:lnTo>
                              <a:pt x="10825" y="2452"/>
                            </a:lnTo>
                            <a:lnTo>
                              <a:pt x="11662" y="3230"/>
                            </a:lnTo>
                            <a:lnTo>
                              <a:pt x="13756" y="5143"/>
                            </a:lnTo>
                            <a:lnTo>
                              <a:pt x="14593" y="5921"/>
                            </a:lnTo>
                            <a:lnTo>
                              <a:pt x="15012" y="6280"/>
                            </a:lnTo>
                            <a:lnTo>
                              <a:pt x="13098" y="8732"/>
                            </a:lnTo>
                            <a:lnTo>
                              <a:pt x="12320" y="9689"/>
                            </a:lnTo>
                            <a:lnTo>
                              <a:pt x="12320" y="9689"/>
                            </a:lnTo>
                            <a:lnTo>
                              <a:pt x="6639" y="16866"/>
                            </a:lnTo>
                            <a:lnTo>
                              <a:pt x="6160" y="16447"/>
                            </a:lnTo>
                            <a:lnTo>
                              <a:pt x="5981" y="16268"/>
                            </a:lnTo>
                            <a:lnTo>
                              <a:pt x="5143" y="15490"/>
                            </a:lnTo>
                            <a:lnTo>
                              <a:pt x="3229" y="13756"/>
                            </a:lnTo>
                            <a:lnTo>
                              <a:pt x="2392" y="13098"/>
                            </a:lnTo>
                            <a:moveTo>
                              <a:pt x="0" y="12619"/>
                            </a:moveTo>
                            <a:lnTo>
                              <a:pt x="6519" y="18481"/>
                            </a:lnTo>
                            <a:lnTo>
                              <a:pt x="7296" y="17523"/>
                            </a:lnTo>
                            <a:lnTo>
                              <a:pt x="12978" y="10347"/>
                            </a:lnTo>
                            <a:lnTo>
                              <a:pt x="13756" y="9390"/>
                            </a:lnTo>
                            <a:lnTo>
                              <a:pt x="15729" y="6938"/>
                            </a:lnTo>
                            <a:lnTo>
                              <a:pt x="16507" y="5981"/>
                            </a:lnTo>
                            <a:lnTo>
                              <a:pt x="16507" y="5981"/>
                            </a:lnTo>
                            <a:lnTo>
                              <a:pt x="15311" y="4844"/>
                            </a:lnTo>
                            <a:lnTo>
                              <a:pt x="14473" y="4067"/>
                            </a:lnTo>
                            <a:lnTo>
                              <a:pt x="12440" y="2153"/>
                            </a:lnTo>
                            <a:lnTo>
                              <a:pt x="11603" y="1376"/>
                            </a:lnTo>
                            <a:lnTo>
                              <a:pt x="10107" y="0"/>
                            </a:lnTo>
                            <a:lnTo>
                              <a:pt x="10107" y="0"/>
                            </a:lnTo>
                            <a:lnTo>
                              <a:pt x="9330" y="957"/>
                            </a:lnTo>
                            <a:lnTo>
                              <a:pt x="897" y="11543"/>
                            </a:lnTo>
                            <a:lnTo>
                              <a:pt x="0" y="12619"/>
                            </a:lnTo>
                          </a:path>
                        </a:pathLst>
                      </a:custGeom>
                      <a:noFill/>
                      <a:ln w="6350" cap="flat">
                        <a:solidFill>
                          <a:schemeClr val="bg1">
                            <a:alpha val="40000"/>
                          </a:schemeClr>
                        </a:solidFill>
                        <a:prstDash val="solid"/>
                        <a:miter/>
                      </a:ln>
                    </p:spPr>
                    <p:txBody>
                      <a:bodyPr rtlCol="0" anchor="ctr"/>
                      <a:lstStyle/>
                      <a:p>
                        <a:endParaRPr lang="en-GB"/>
                      </a:p>
                    </p:txBody>
                  </p:sp>
                  <p:sp>
                    <p:nvSpPr>
                      <p:cNvPr id="7420" name="Vrije vorm: vorm 7419">
                        <a:extLst>
                          <a:ext uri="{FF2B5EF4-FFF2-40B4-BE49-F238E27FC236}">
                            <a16:creationId xmlns:a16="http://schemas.microsoft.com/office/drawing/2014/main" id="{CE407736-27CD-4A28-B2D2-698388D53343}"/>
                          </a:ext>
                        </a:extLst>
                      </p:cNvPr>
                      <p:cNvSpPr/>
                      <p:nvPr/>
                    </p:nvSpPr>
                    <p:spPr>
                      <a:xfrm>
                        <a:off x="4751643" y="5097170"/>
                        <a:ext cx="661049" cy="453996"/>
                      </a:xfrm>
                      <a:custGeom>
                        <a:avLst/>
                        <a:gdLst>
                          <a:gd name="connsiteX0" fmla="*/ 630009 w 661049"/>
                          <a:gd name="connsiteY0" fmla="*/ 422777 h 453996"/>
                          <a:gd name="connsiteX1" fmla="*/ 630907 w 661049"/>
                          <a:gd name="connsiteY1" fmla="*/ 423375 h 453996"/>
                          <a:gd name="connsiteX2" fmla="*/ 630966 w 661049"/>
                          <a:gd name="connsiteY2" fmla="*/ 423136 h 453996"/>
                          <a:gd name="connsiteX3" fmla="*/ 631026 w 661049"/>
                          <a:gd name="connsiteY3" fmla="*/ 422897 h 453996"/>
                          <a:gd name="connsiteX4" fmla="*/ 631086 w 661049"/>
                          <a:gd name="connsiteY4" fmla="*/ 422657 h 453996"/>
                          <a:gd name="connsiteX5" fmla="*/ 631146 w 661049"/>
                          <a:gd name="connsiteY5" fmla="*/ 422418 h 453996"/>
                          <a:gd name="connsiteX6" fmla="*/ 630249 w 661049"/>
                          <a:gd name="connsiteY6" fmla="*/ 421761 h 453996"/>
                          <a:gd name="connsiteX7" fmla="*/ 630249 w 661049"/>
                          <a:gd name="connsiteY7" fmla="*/ 422000 h 453996"/>
                          <a:gd name="connsiteX8" fmla="*/ 630249 w 661049"/>
                          <a:gd name="connsiteY8" fmla="*/ 422239 h 453996"/>
                          <a:gd name="connsiteX9" fmla="*/ 630249 w 661049"/>
                          <a:gd name="connsiteY9" fmla="*/ 422478 h 453996"/>
                          <a:gd name="connsiteX10" fmla="*/ 630249 w 661049"/>
                          <a:gd name="connsiteY10" fmla="*/ 422717 h 453996"/>
                          <a:gd name="connsiteX11" fmla="*/ 630249 w 661049"/>
                          <a:gd name="connsiteY11" fmla="*/ 422717 h 453996"/>
                          <a:gd name="connsiteX12" fmla="*/ 630009 w 661049"/>
                          <a:gd name="connsiteY12" fmla="*/ 422777 h 453996"/>
                          <a:gd name="connsiteX13" fmla="*/ 630009 w 661049"/>
                          <a:gd name="connsiteY13" fmla="*/ 422777 h 453996"/>
                          <a:gd name="connsiteX14" fmla="*/ 630009 w 661049"/>
                          <a:gd name="connsiteY14" fmla="*/ 422777 h 453996"/>
                          <a:gd name="connsiteX15" fmla="*/ 627498 w 661049"/>
                          <a:gd name="connsiteY15" fmla="*/ 421103 h 453996"/>
                          <a:gd name="connsiteX16" fmla="*/ 629352 w 661049"/>
                          <a:gd name="connsiteY16" fmla="*/ 422359 h 453996"/>
                          <a:gd name="connsiteX17" fmla="*/ 629352 w 661049"/>
                          <a:gd name="connsiteY17" fmla="*/ 422060 h 453996"/>
                          <a:gd name="connsiteX18" fmla="*/ 629352 w 661049"/>
                          <a:gd name="connsiteY18" fmla="*/ 421761 h 453996"/>
                          <a:gd name="connsiteX19" fmla="*/ 629352 w 661049"/>
                          <a:gd name="connsiteY19" fmla="*/ 421462 h 453996"/>
                          <a:gd name="connsiteX20" fmla="*/ 629352 w 661049"/>
                          <a:gd name="connsiteY20" fmla="*/ 421162 h 453996"/>
                          <a:gd name="connsiteX21" fmla="*/ 627318 w 661049"/>
                          <a:gd name="connsiteY21" fmla="*/ 419787 h 453996"/>
                          <a:gd name="connsiteX22" fmla="*/ 627378 w 661049"/>
                          <a:gd name="connsiteY22" fmla="*/ 420086 h 453996"/>
                          <a:gd name="connsiteX23" fmla="*/ 627438 w 661049"/>
                          <a:gd name="connsiteY23" fmla="*/ 420385 h 453996"/>
                          <a:gd name="connsiteX24" fmla="*/ 627438 w 661049"/>
                          <a:gd name="connsiteY24" fmla="*/ 420684 h 453996"/>
                          <a:gd name="connsiteX25" fmla="*/ 627498 w 661049"/>
                          <a:gd name="connsiteY25" fmla="*/ 421103 h 453996"/>
                          <a:gd name="connsiteX26" fmla="*/ 625344 w 661049"/>
                          <a:gd name="connsiteY26" fmla="*/ 419608 h 453996"/>
                          <a:gd name="connsiteX27" fmla="*/ 626660 w 661049"/>
                          <a:gd name="connsiteY27" fmla="*/ 420505 h 453996"/>
                          <a:gd name="connsiteX28" fmla="*/ 626600 w 661049"/>
                          <a:gd name="connsiteY28" fmla="*/ 420146 h 453996"/>
                          <a:gd name="connsiteX29" fmla="*/ 626541 w 661049"/>
                          <a:gd name="connsiteY29" fmla="*/ 419847 h 453996"/>
                          <a:gd name="connsiteX30" fmla="*/ 626481 w 661049"/>
                          <a:gd name="connsiteY30" fmla="*/ 419548 h 453996"/>
                          <a:gd name="connsiteX31" fmla="*/ 626421 w 661049"/>
                          <a:gd name="connsiteY31" fmla="*/ 419248 h 453996"/>
                          <a:gd name="connsiteX32" fmla="*/ 624866 w 661049"/>
                          <a:gd name="connsiteY32" fmla="*/ 418172 h 453996"/>
                          <a:gd name="connsiteX33" fmla="*/ 625045 w 661049"/>
                          <a:gd name="connsiteY33" fmla="*/ 418531 h 453996"/>
                          <a:gd name="connsiteX34" fmla="*/ 625165 w 661049"/>
                          <a:gd name="connsiteY34" fmla="*/ 418890 h 453996"/>
                          <a:gd name="connsiteX35" fmla="*/ 625285 w 661049"/>
                          <a:gd name="connsiteY35" fmla="*/ 419248 h 453996"/>
                          <a:gd name="connsiteX36" fmla="*/ 625344 w 661049"/>
                          <a:gd name="connsiteY36" fmla="*/ 419608 h 453996"/>
                          <a:gd name="connsiteX37" fmla="*/ 623012 w 661049"/>
                          <a:gd name="connsiteY37" fmla="*/ 418053 h 453996"/>
                          <a:gd name="connsiteX38" fmla="*/ 624089 w 661049"/>
                          <a:gd name="connsiteY38" fmla="*/ 418770 h 453996"/>
                          <a:gd name="connsiteX39" fmla="*/ 623909 w 661049"/>
                          <a:gd name="connsiteY39" fmla="*/ 418292 h 453996"/>
                          <a:gd name="connsiteX40" fmla="*/ 623670 w 661049"/>
                          <a:gd name="connsiteY40" fmla="*/ 417873 h 453996"/>
                          <a:gd name="connsiteX41" fmla="*/ 623431 w 661049"/>
                          <a:gd name="connsiteY41" fmla="*/ 417454 h 453996"/>
                          <a:gd name="connsiteX42" fmla="*/ 623132 w 661049"/>
                          <a:gd name="connsiteY42" fmla="*/ 417036 h 453996"/>
                          <a:gd name="connsiteX43" fmla="*/ 618168 w 661049"/>
                          <a:gd name="connsiteY43" fmla="*/ 413627 h 453996"/>
                          <a:gd name="connsiteX44" fmla="*/ 617988 w 661049"/>
                          <a:gd name="connsiteY44" fmla="*/ 413866 h 453996"/>
                          <a:gd name="connsiteX45" fmla="*/ 619364 w 661049"/>
                          <a:gd name="connsiteY45" fmla="*/ 414942 h 453996"/>
                          <a:gd name="connsiteX46" fmla="*/ 620680 w 661049"/>
                          <a:gd name="connsiteY46" fmla="*/ 416019 h 453996"/>
                          <a:gd name="connsiteX47" fmla="*/ 621876 w 661049"/>
                          <a:gd name="connsiteY47" fmla="*/ 417036 h 453996"/>
                          <a:gd name="connsiteX48" fmla="*/ 623012 w 661049"/>
                          <a:gd name="connsiteY48" fmla="*/ 418053 h 453996"/>
                          <a:gd name="connsiteX49" fmla="*/ 586888 w 661049"/>
                          <a:gd name="connsiteY49" fmla="*/ 393412 h 453996"/>
                          <a:gd name="connsiteX50" fmla="*/ 613742 w 661049"/>
                          <a:gd name="connsiteY50" fmla="*/ 411713 h 453996"/>
                          <a:gd name="connsiteX51" fmla="*/ 614220 w 661049"/>
                          <a:gd name="connsiteY51" fmla="*/ 411115 h 453996"/>
                          <a:gd name="connsiteX52" fmla="*/ 614460 w 661049"/>
                          <a:gd name="connsiteY52" fmla="*/ 411294 h 453996"/>
                          <a:gd name="connsiteX53" fmla="*/ 615237 w 661049"/>
                          <a:gd name="connsiteY53" fmla="*/ 411832 h 453996"/>
                          <a:gd name="connsiteX54" fmla="*/ 616014 w 661049"/>
                          <a:gd name="connsiteY54" fmla="*/ 412371 h 453996"/>
                          <a:gd name="connsiteX55" fmla="*/ 616792 w 661049"/>
                          <a:gd name="connsiteY55" fmla="*/ 412909 h 453996"/>
                          <a:gd name="connsiteX56" fmla="*/ 617510 w 661049"/>
                          <a:gd name="connsiteY56" fmla="*/ 413447 h 453996"/>
                          <a:gd name="connsiteX57" fmla="*/ 617689 w 661049"/>
                          <a:gd name="connsiteY57" fmla="*/ 413208 h 453996"/>
                          <a:gd name="connsiteX58" fmla="*/ 587546 w 661049"/>
                          <a:gd name="connsiteY58" fmla="*/ 392575 h 453996"/>
                          <a:gd name="connsiteX59" fmla="*/ 586888 w 661049"/>
                          <a:gd name="connsiteY59" fmla="*/ 393412 h 453996"/>
                          <a:gd name="connsiteX60" fmla="*/ 577738 w 661049"/>
                          <a:gd name="connsiteY60" fmla="*/ 387132 h 453996"/>
                          <a:gd name="connsiteX61" fmla="*/ 586410 w 661049"/>
                          <a:gd name="connsiteY61" fmla="*/ 393053 h 453996"/>
                          <a:gd name="connsiteX62" fmla="*/ 587008 w 661049"/>
                          <a:gd name="connsiteY62" fmla="*/ 392276 h 453996"/>
                          <a:gd name="connsiteX63" fmla="*/ 578396 w 661049"/>
                          <a:gd name="connsiteY63" fmla="*/ 386354 h 453996"/>
                          <a:gd name="connsiteX64" fmla="*/ 577738 w 661049"/>
                          <a:gd name="connsiteY64" fmla="*/ 387132 h 453996"/>
                          <a:gd name="connsiteX65" fmla="*/ 570681 w 661049"/>
                          <a:gd name="connsiteY65" fmla="*/ 382288 h 453996"/>
                          <a:gd name="connsiteX66" fmla="*/ 577200 w 661049"/>
                          <a:gd name="connsiteY66" fmla="*/ 386773 h 453996"/>
                          <a:gd name="connsiteX67" fmla="*/ 577798 w 661049"/>
                          <a:gd name="connsiteY67" fmla="*/ 385996 h 453996"/>
                          <a:gd name="connsiteX68" fmla="*/ 571279 w 661049"/>
                          <a:gd name="connsiteY68" fmla="*/ 381510 h 453996"/>
                          <a:gd name="connsiteX69" fmla="*/ 570681 w 661049"/>
                          <a:gd name="connsiteY69" fmla="*/ 382288 h 453996"/>
                          <a:gd name="connsiteX70" fmla="*/ 348497 w 661049"/>
                          <a:gd name="connsiteY70" fmla="*/ 230617 h 453996"/>
                          <a:gd name="connsiteX71" fmla="*/ 570142 w 661049"/>
                          <a:gd name="connsiteY71" fmla="*/ 381869 h 453996"/>
                          <a:gd name="connsiteX72" fmla="*/ 570740 w 661049"/>
                          <a:gd name="connsiteY72" fmla="*/ 381092 h 453996"/>
                          <a:gd name="connsiteX73" fmla="*/ 348557 w 661049"/>
                          <a:gd name="connsiteY73" fmla="*/ 229241 h 453996"/>
                          <a:gd name="connsiteX74" fmla="*/ 348557 w 661049"/>
                          <a:gd name="connsiteY74" fmla="*/ 229241 h 453996"/>
                          <a:gd name="connsiteX75" fmla="*/ 348557 w 661049"/>
                          <a:gd name="connsiteY75" fmla="*/ 229241 h 453996"/>
                          <a:gd name="connsiteX76" fmla="*/ 348557 w 661049"/>
                          <a:gd name="connsiteY76" fmla="*/ 229241 h 453996"/>
                          <a:gd name="connsiteX77" fmla="*/ 348557 w 661049"/>
                          <a:gd name="connsiteY77" fmla="*/ 229241 h 453996"/>
                          <a:gd name="connsiteX78" fmla="*/ 348557 w 661049"/>
                          <a:gd name="connsiteY78" fmla="*/ 229540 h 453996"/>
                          <a:gd name="connsiteX79" fmla="*/ 348557 w 661049"/>
                          <a:gd name="connsiteY79" fmla="*/ 229839 h 453996"/>
                          <a:gd name="connsiteX80" fmla="*/ 348557 w 661049"/>
                          <a:gd name="connsiteY80" fmla="*/ 230138 h 453996"/>
                          <a:gd name="connsiteX81" fmla="*/ 348497 w 661049"/>
                          <a:gd name="connsiteY81" fmla="*/ 230617 h 453996"/>
                          <a:gd name="connsiteX82" fmla="*/ 346164 w 661049"/>
                          <a:gd name="connsiteY82" fmla="*/ 229062 h 453996"/>
                          <a:gd name="connsiteX83" fmla="*/ 347480 w 661049"/>
                          <a:gd name="connsiteY83" fmla="*/ 229959 h 453996"/>
                          <a:gd name="connsiteX84" fmla="*/ 347480 w 661049"/>
                          <a:gd name="connsiteY84" fmla="*/ 229899 h 453996"/>
                          <a:gd name="connsiteX85" fmla="*/ 347480 w 661049"/>
                          <a:gd name="connsiteY85" fmla="*/ 229839 h 453996"/>
                          <a:gd name="connsiteX86" fmla="*/ 347480 w 661049"/>
                          <a:gd name="connsiteY86" fmla="*/ 229779 h 453996"/>
                          <a:gd name="connsiteX87" fmla="*/ 347480 w 661049"/>
                          <a:gd name="connsiteY87" fmla="*/ 229720 h 453996"/>
                          <a:gd name="connsiteX88" fmla="*/ 347480 w 661049"/>
                          <a:gd name="connsiteY88" fmla="*/ 229480 h 453996"/>
                          <a:gd name="connsiteX89" fmla="*/ 347480 w 661049"/>
                          <a:gd name="connsiteY89" fmla="*/ 229241 h 453996"/>
                          <a:gd name="connsiteX90" fmla="*/ 347480 w 661049"/>
                          <a:gd name="connsiteY90" fmla="*/ 229002 h 453996"/>
                          <a:gd name="connsiteX91" fmla="*/ 347480 w 661049"/>
                          <a:gd name="connsiteY91" fmla="*/ 228763 h 453996"/>
                          <a:gd name="connsiteX92" fmla="*/ 346104 w 661049"/>
                          <a:gd name="connsiteY92" fmla="*/ 227806 h 453996"/>
                          <a:gd name="connsiteX93" fmla="*/ 346164 w 661049"/>
                          <a:gd name="connsiteY93" fmla="*/ 228165 h 453996"/>
                          <a:gd name="connsiteX94" fmla="*/ 346224 w 661049"/>
                          <a:gd name="connsiteY94" fmla="*/ 228523 h 453996"/>
                          <a:gd name="connsiteX95" fmla="*/ 346224 w 661049"/>
                          <a:gd name="connsiteY95" fmla="*/ 228882 h 453996"/>
                          <a:gd name="connsiteX96" fmla="*/ 346164 w 661049"/>
                          <a:gd name="connsiteY96" fmla="*/ 229062 h 453996"/>
                          <a:gd name="connsiteX97" fmla="*/ 342217 w 661049"/>
                          <a:gd name="connsiteY97" fmla="*/ 226370 h 453996"/>
                          <a:gd name="connsiteX98" fmla="*/ 345088 w 661049"/>
                          <a:gd name="connsiteY98" fmla="*/ 228344 h 453996"/>
                          <a:gd name="connsiteX99" fmla="*/ 345028 w 661049"/>
                          <a:gd name="connsiteY99" fmla="*/ 227985 h 453996"/>
                          <a:gd name="connsiteX100" fmla="*/ 344968 w 661049"/>
                          <a:gd name="connsiteY100" fmla="*/ 227626 h 453996"/>
                          <a:gd name="connsiteX101" fmla="*/ 344909 w 661049"/>
                          <a:gd name="connsiteY101" fmla="*/ 227267 h 453996"/>
                          <a:gd name="connsiteX102" fmla="*/ 344849 w 661049"/>
                          <a:gd name="connsiteY102" fmla="*/ 226909 h 453996"/>
                          <a:gd name="connsiteX103" fmla="*/ 341739 w 661049"/>
                          <a:gd name="connsiteY103" fmla="*/ 224756 h 453996"/>
                          <a:gd name="connsiteX104" fmla="*/ 341858 w 661049"/>
                          <a:gd name="connsiteY104" fmla="*/ 225174 h 453996"/>
                          <a:gd name="connsiteX105" fmla="*/ 341978 w 661049"/>
                          <a:gd name="connsiteY105" fmla="*/ 225593 h 453996"/>
                          <a:gd name="connsiteX106" fmla="*/ 342097 w 661049"/>
                          <a:gd name="connsiteY106" fmla="*/ 226011 h 453996"/>
                          <a:gd name="connsiteX107" fmla="*/ 342217 w 661049"/>
                          <a:gd name="connsiteY107" fmla="*/ 226370 h 453996"/>
                          <a:gd name="connsiteX108" fmla="*/ 338868 w 661049"/>
                          <a:gd name="connsiteY108" fmla="*/ 224098 h 453996"/>
                          <a:gd name="connsiteX109" fmla="*/ 340842 w 661049"/>
                          <a:gd name="connsiteY109" fmla="*/ 225473 h 453996"/>
                          <a:gd name="connsiteX110" fmla="*/ 340722 w 661049"/>
                          <a:gd name="connsiteY110" fmla="*/ 224995 h 453996"/>
                          <a:gd name="connsiteX111" fmla="*/ 340542 w 661049"/>
                          <a:gd name="connsiteY111" fmla="*/ 224516 h 453996"/>
                          <a:gd name="connsiteX112" fmla="*/ 340363 w 661049"/>
                          <a:gd name="connsiteY112" fmla="*/ 224098 h 453996"/>
                          <a:gd name="connsiteX113" fmla="*/ 340184 w 661049"/>
                          <a:gd name="connsiteY113" fmla="*/ 223679 h 453996"/>
                          <a:gd name="connsiteX114" fmla="*/ 337791 w 661049"/>
                          <a:gd name="connsiteY114" fmla="*/ 222064 h 453996"/>
                          <a:gd name="connsiteX115" fmla="*/ 338090 w 661049"/>
                          <a:gd name="connsiteY115" fmla="*/ 222603 h 453996"/>
                          <a:gd name="connsiteX116" fmla="*/ 338389 w 661049"/>
                          <a:gd name="connsiteY116" fmla="*/ 223141 h 453996"/>
                          <a:gd name="connsiteX117" fmla="*/ 338628 w 661049"/>
                          <a:gd name="connsiteY117" fmla="*/ 223679 h 453996"/>
                          <a:gd name="connsiteX118" fmla="*/ 338868 w 661049"/>
                          <a:gd name="connsiteY118" fmla="*/ 224098 h 453996"/>
                          <a:gd name="connsiteX119" fmla="*/ 335100 w 661049"/>
                          <a:gd name="connsiteY119" fmla="*/ 221526 h 453996"/>
                          <a:gd name="connsiteX120" fmla="*/ 337014 w 661049"/>
                          <a:gd name="connsiteY120" fmla="*/ 222842 h 453996"/>
                          <a:gd name="connsiteX121" fmla="*/ 336655 w 661049"/>
                          <a:gd name="connsiteY121" fmla="*/ 222244 h 453996"/>
                          <a:gd name="connsiteX122" fmla="*/ 336236 w 661049"/>
                          <a:gd name="connsiteY122" fmla="*/ 221646 h 453996"/>
                          <a:gd name="connsiteX123" fmla="*/ 335818 w 661049"/>
                          <a:gd name="connsiteY123" fmla="*/ 221048 h 453996"/>
                          <a:gd name="connsiteX124" fmla="*/ 335339 w 661049"/>
                          <a:gd name="connsiteY124" fmla="*/ 220449 h 453996"/>
                          <a:gd name="connsiteX125" fmla="*/ 331751 w 661049"/>
                          <a:gd name="connsiteY125" fmla="*/ 217997 h 453996"/>
                          <a:gd name="connsiteX126" fmla="*/ 331332 w 661049"/>
                          <a:gd name="connsiteY126" fmla="*/ 218476 h 453996"/>
                          <a:gd name="connsiteX127" fmla="*/ 332289 w 661049"/>
                          <a:gd name="connsiteY127" fmla="*/ 219253 h 453996"/>
                          <a:gd name="connsiteX128" fmla="*/ 333246 w 661049"/>
                          <a:gd name="connsiteY128" fmla="*/ 220031 h 453996"/>
                          <a:gd name="connsiteX129" fmla="*/ 334143 w 661049"/>
                          <a:gd name="connsiteY129" fmla="*/ 220808 h 453996"/>
                          <a:gd name="connsiteX130" fmla="*/ 335100 w 661049"/>
                          <a:gd name="connsiteY130" fmla="*/ 221526 h 453996"/>
                          <a:gd name="connsiteX131" fmla="*/ 286656 w 661049"/>
                          <a:gd name="connsiteY131" fmla="*/ 188453 h 453996"/>
                          <a:gd name="connsiteX132" fmla="*/ 321643 w 661049"/>
                          <a:gd name="connsiteY132" fmla="*/ 212316 h 453996"/>
                          <a:gd name="connsiteX133" fmla="*/ 322181 w 661049"/>
                          <a:gd name="connsiteY133" fmla="*/ 211598 h 453996"/>
                          <a:gd name="connsiteX134" fmla="*/ 322600 w 661049"/>
                          <a:gd name="connsiteY134" fmla="*/ 211837 h 453996"/>
                          <a:gd name="connsiteX135" fmla="*/ 324813 w 661049"/>
                          <a:gd name="connsiteY135" fmla="*/ 213332 h 453996"/>
                          <a:gd name="connsiteX136" fmla="*/ 326907 w 661049"/>
                          <a:gd name="connsiteY136" fmla="*/ 214827 h 453996"/>
                          <a:gd name="connsiteX137" fmla="*/ 328880 w 661049"/>
                          <a:gd name="connsiteY137" fmla="*/ 216323 h 453996"/>
                          <a:gd name="connsiteX138" fmla="*/ 330734 w 661049"/>
                          <a:gd name="connsiteY138" fmla="*/ 217758 h 453996"/>
                          <a:gd name="connsiteX139" fmla="*/ 331093 w 661049"/>
                          <a:gd name="connsiteY139" fmla="*/ 217340 h 453996"/>
                          <a:gd name="connsiteX140" fmla="*/ 287434 w 661049"/>
                          <a:gd name="connsiteY140" fmla="*/ 187495 h 453996"/>
                          <a:gd name="connsiteX141" fmla="*/ 286656 w 661049"/>
                          <a:gd name="connsiteY141" fmla="*/ 188453 h 453996"/>
                          <a:gd name="connsiteX142" fmla="*/ 273259 w 661049"/>
                          <a:gd name="connsiteY142" fmla="*/ 179302 h 453996"/>
                          <a:gd name="connsiteX143" fmla="*/ 285819 w 661049"/>
                          <a:gd name="connsiteY143" fmla="*/ 187914 h 453996"/>
                          <a:gd name="connsiteX144" fmla="*/ 286537 w 661049"/>
                          <a:gd name="connsiteY144" fmla="*/ 187017 h 453996"/>
                          <a:gd name="connsiteX145" fmla="*/ 273977 w 661049"/>
                          <a:gd name="connsiteY145" fmla="*/ 178405 h 453996"/>
                          <a:gd name="connsiteX146" fmla="*/ 273259 w 661049"/>
                          <a:gd name="connsiteY146" fmla="*/ 179302 h 453996"/>
                          <a:gd name="connsiteX147" fmla="*/ 262913 w 661049"/>
                          <a:gd name="connsiteY147" fmla="*/ 172245 h 453996"/>
                          <a:gd name="connsiteX148" fmla="*/ 272482 w 661049"/>
                          <a:gd name="connsiteY148" fmla="*/ 178764 h 453996"/>
                          <a:gd name="connsiteX149" fmla="*/ 273199 w 661049"/>
                          <a:gd name="connsiteY149" fmla="*/ 177867 h 453996"/>
                          <a:gd name="connsiteX150" fmla="*/ 263630 w 661049"/>
                          <a:gd name="connsiteY150" fmla="*/ 171348 h 453996"/>
                          <a:gd name="connsiteX151" fmla="*/ 262913 w 661049"/>
                          <a:gd name="connsiteY151" fmla="*/ 172245 h 453996"/>
                          <a:gd name="connsiteX152" fmla="*/ 137437 w 661049"/>
                          <a:gd name="connsiteY152" fmla="*/ 86601 h 453996"/>
                          <a:gd name="connsiteX153" fmla="*/ 262195 w 661049"/>
                          <a:gd name="connsiteY153" fmla="*/ 171767 h 453996"/>
                          <a:gd name="connsiteX154" fmla="*/ 262913 w 661049"/>
                          <a:gd name="connsiteY154" fmla="*/ 170869 h 453996"/>
                          <a:gd name="connsiteX155" fmla="*/ 137437 w 661049"/>
                          <a:gd name="connsiteY155" fmla="*/ 85106 h 453996"/>
                          <a:gd name="connsiteX156" fmla="*/ 137437 w 661049"/>
                          <a:gd name="connsiteY156" fmla="*/ 85464 h 453996"/>
                          <a:gd name="connsiteX157" fmla="*/ 137437 w 661049"/>
                          <a:gd name="connsiteY157" fmla="*/ 85823 h 453996"/>
                          <a:gd name="connsiteX158" fmla="*/ 137437 w 661049"/>
                          <a:gd name="connsiteY158" fmla="*/ 86182 h 453996"/>
                          <a:gd name="connsiteX159" fmla="*/ 137437 w 661049"/>
                          <a:gd name="connsiteY159" fmla="*/ 86601 h 453996"/>
                          <a:gd name="connsiteX160" fmla="*/ 134566 w 661049"/>
                          <a:gd name="connsiteY160" fmla="*/ 84627 h 453996"/>
                          <a:gd name="connsiteX161" fmla="*/ 136181 w 661049"/>
                          <a:gd name="connsiteY161" fmla="*/ 85764 h 453996"/>
                          <a:gd name="connsiteX162" fmla="*/ 136181 w 661049"/>
                          <a:gd name="connsiteY162" fmla="*/ 85464 h 453996"/>
                          <a:gd name="connsiteX163" fmla="*/ 136181 w 661049"/>
                          <a:gd name="connsiteY163" fmla="*/ 85165 h 453996"/>
                          <a:gd name="connsiteX164" fmla="*/ 136181 w 661049"/>
                          <a:gd name="connsiteY164" fmla="*/ 84866 h 453996"/>
                          <a:gd name="connsiteX165" fmla="*/ 136181 w 661049"/>
                          <a:gd name="connsiteY165" fmla="*/ 84567 h 453996"/>
                          <a:gd name="connsiteX166" fmla="*/ 136181 w 661049"/>
                          <a:gd name="connsiteY166" fmla="*/ 84448 h 453996"/>
                          <a:gd name="connsiteX167" fmla="*/ 136181 w 661049"/>
                          <a:gd name="connsiteY167" fmla="*/ 84328 h 453996"/>
                          <a:gd name="connsiteX168" fmla="*/ 136181 w 661049"/>
                          <a:gd name="connsiteY168" fmla="*/ 84209 h 453996"/>
                          <a:gd name="connsiteX169" fmla="*/ 136181 w 661049"/>
                          <a:gd name="connsiteY169" fmla="*/ 84089 h 453996"/>
                          <a:gd name="connsiteX170" fmla="*/ 134447 w 661049"/>
                          <a:gd name="connsiteY170" fmla="*/ 82893 h 453996"/>
                          <a:gd name="connsiteX171" fmla="*/ 134507 w 661049"/>
                          <a:gd name="connsiteY171" fmla="*/ 83311 h 453996"/>
                          <a:gd name="connsiteX172" fmla="*/ 134566 w 661049"/>
                          <a:gd name="connsiteY172" fmla="*/ 83730 h 453996"/>
                          <a:gd name="connsiteX173" fmla="*/ 134626 w 661049"/>
                          <a:gd name="connsiteY173" fmla="*/ 84149 h 453996"/>
                          <a:gd name="connsiteX174" fmla="*/ 134566 w 661049"/>
                          <a:gd name="connsiteY174" fmla="*/ 84627 h 453996"/>
                          <a:gd name="connsiteX175" fmla="*/ 129901 w 661049"/>
                          <a:gd name="connsiteY175" fmla="*/ 81457 h 453996"/>
                          <a:gd name="connsiteX176" fmla="*/ 133311 w 661049"/>
                          <a:gd name="connsiteY176" fmla="*/ 83790 h 453996"/>
                          <a:gd name="connsiteX177" fmla="*/ 133251 w 661049"/>
                          <a:gd name="connsiteY177" fmla="*/ 83371 h 453996"/>
                          <a:gd name="connsiteX178" fmla="*/ 133191 w 661049"/>
                          <a:gd name="connsiteY178" fmla="*/ 82953 h 453996"/>
                          <a:gd name="connsiteX179" fmla="*/ 133131 w 661049"/>
                          <a:gd name="connsiteY179" fmla="*/ 82534 h 453996"/>
                          <a:gd name="connsiteX180" fmla="*/ 133071 w 661049"/>
                          <a:gd name="connsiteY180" fmla="*/ 82115 h 453996"/>
                          <a:gd name="connsiteX181" fmla="*/ 129363 w 661049"/>
                          <a:gd name="connsiteY181" fmla="*/ 79544 h 453996"/>
                          <a:gd name="connsiteX182" fmla="*/ 129543 w 661049"/>
                          <a:gd name="connsiteY182" fmla="*/ 80022 h 453996"/>
                          <a:gd name="connsiteX183" fmla="*/ 129662 w 661049"/>
                          <a:gd name="connsiteY183" fmla="*/ 80501 h 453996"/>
                          <a:gd name="connsiteX184" fmla="*/ 129782 w 661049"/>
                          <a:gd name="connsiteY184" fmla="*/ 80979 h 453996"/>
                          <a:gd name="connsiteX185" fmla="*/ 129901 w 661049"/>
                          <a:gd name="connsiteY185" fmla="*/ 81457 h 453996"/>
                          <a:gd name="connsiteX186" fmla="*/ 125895 w 661049"/>
                          <a:gd name="connsiteY186" fmla="*/ 78706 h 453996"/>
                          <a:gd name="connsiteX187" fmla="*/ 128346 w 661049"/>
                          <a:gd name="connsiteY187" fmla="*/ 80381 h 453996"/>
                          <a:gd name="connsiteX188" fmla="*/ 128167 w 661049"/>
                          <a:gd name="connsiteY188" fmla="*/ 79842 h 453996"/>
                          <a:gd name="connsiteX189" fmla="*/ 127988 w 661049"/>
                          <a:gd name="connsiteY189" fmla="*/ 79304 h 453996"/>
                          <a:gd name="connsiteX190" fmla="*/ 127749 w 661049"/>
                          <a:gd name="connsiteY190" fmla="*/ 78766 h 453996"/>
                          <a:gd name="connsiteX191" fmla="*/ 127509 w 661049"/>
                          <a:gd name="connsiteY191" fmla="*/ 78228 h 453996"/>
                          <a:gd name="connsiteX192" fmla="*/ 124579 w 661049"/>
                          <a:gd name="connsiteY192" fmla="*/ 76194 h 453996"/>
                          <a:gd name="connsiteX193" fmla="*/ 124937 w 661049"/>
                          <a:gd name="connsiteY193" fmla="*/ 76793 h 453996"/>
                          <a:gd name="connsiteX194" fmla="*/ 125296 w 661049"/>
                          <a:gd name="connsiteY194" fmla="*/ 77391 h 453996"/>
                          <a:gd name="connsiteX195" fmla="*/ 125595 w 661049"/>
                          <a:gd name="connsiteY195" fmla="*/ 77988 h 453996"/>
                          <a:gd name="connsiteX196" fmla="*/ 125895 w 661049"/>
                          <a:gd name="connsiteY196" fmla="*/ 78706 h 453996"/>
                          <a:gd name="connsiteX197" fmla="*/ 121169 w 661049"/>
                          <a:gd name="connsiteY197" fmla="*/ 75477 h 453996"/>
                          <a:gd name="connsiteX198" fmla="*/ 123562 w 661049"/>
                          <a:gd name="connsiteY198" fmla="*/ 77092 h 453996"/>
                          <a:gd name="connsiteX199" fmla="*/ 123083 w 661049"/>
                          <a:gd name="connsiteY199" fmla="*/ 76374 h 453996"/>
                          <a:gd name="connsiteX200" fmla="*/ 122605 w 661049"/>
                          <a:gd name="connsiteY200" fmla="*/ 75656 h 453996"/>
                          <a:gd name="connsiteX201" fmla="*/ 122067 w 661049"/>
                          <a:gd name="connsiteY201" fmla="*/ 74939 h 453996"/>
                          <a:gd name="connsiteX202" fmla="*/ 121468 w 661049"/>
                          <a:gd name="connsiteY202" fmla="*/ 74221 h 453996"/>
                          <a:gd name="connsiteX203" fmla="*/ 112258 w 661049"/>
                          <a:gd name="connsiteY203" fmla="*/ 67881 h 453996"/>
                          <a:gd name="connsiteX204" fmla="*/ 112019 w 661049"/>
                          <a:gd name="connsiteY204" fmla="*/ 68180 h 453996"/>
                          <a:gd name="connsiteX205" fmla="*/ 114531 w 661049"/>
                          <a:gd name="connsiteY205" fmla="*/ 70094 h 453996"/>
                          <a:gd name="connsiteX206" fmla="*/ 116923 w 661049"/>
                          <a:gd name="connsiteY206" fmla="*/ 71948 h 453996"/>
                          <a:gd name="connsiteX207" fmla="*/ 119136 w 661049"/>
                          <a:gd name="connsiteY207" fmla="*/ 73742 h 453996"/>
                          <a:gd name="connsiteX208" fmla="*/ 121169 w 661049"/>
                          <a:gd name="connsiteY208" fmla="*/ 75477 h 453996"/>
                          <a:gd name="connsiteX209" fmla="*/ 54724 w 661049"/>
                          <a:gd name="connsiteY209" fmla="*/ 30143 h 453996"/>
                          <a:gd name="connsiteX210" fmla="*/ 104364 w 661049"/>
                          <a:gd name="connsiteY210" fmla="*/ 64054 h 453996"/>
                          <a:gd name="connsiteX211" fmla="*/ 104962 w 661049"/>
                          <a:gd name="connsiteY211" fmla="*/ 63276 h 453996"/>
                          <a:gd name="connsiteX212" fmla="*/ 105440 w 661049"/>
                          <a:gd name="connsiteY212" fmla="*/ 63575 h 453996"/>
                          <a:gd name="connsiteX213" fmla="*/ 106875 w 661049"/>
                          <a:gd name="connsiteY213" fmla="*/ 64592 h 453996"/>
                          <a:gd name="connsiteX214" fmla="*/ 108311 w 661049"/>
                          <a:gd name="connsiteY214" fmla="*/ 65609 h 453996"/>
                          <a:gd name="connsiteX215" fmla="*/ 109687 w 661049"/>
                          <a:gd name="connsiteY215" fmla="*/ 66565 h 453996"/>
                          <a:gd name="connsiteX216" fmla="*/ 111062 w 661049"/>
                          <a:gd name="connsiteY216" fmla="*/ 67522 h 453996"/>
                          <a:gd name="connsiteX217" fmla="*/ 111302 w 661049"/>
                          <a:gd name="connsiteY217" fmla="*/ 67223 h 453996"/>
                          <a:gd name="connsiteX218" fmla="*/ 55561 w 661049"/>
                          <a:gd name="connsiteY218" fmla="*/ 29126 h 453996"/>
                          <a:gd name="connsiteX219" fmla="*/ 54724 w 661049"/>
                          <a:gd name="connsiteY219" fmla="*/ 30143 h 453996"/>
                          <a:gd name="connsiteX220" fmla="*/ 37559 w 661049"/>
                          <a:gd name="connsiteY220" fmla="*/ 18421 h 453996"/>
                          <a:gd name="connsiteX221" fmla="*/ 53707 w 661049"/>
                          <a:gd name="connsiteY221" fmla="*/ 29425 h 453996"/>
                          <a:gd name="connsiteX222" fmla="*/ 54544 w 661049"/>
                          <a:gd name="connsiteY222" fmla="*/ 28408 h 453996"/>
                          <a:gd name="connsiteX223" fmla="*/ 38397 w 661049"/>
                          <a:gd name="connsiteY223" fmla="*/ 17404 h 453996"/>
                          <a:gd name="connsiteX224" fmla="*/ 37559 w 661049"/>
                          <a:gd name="connsiteY224" fmla="*/ 18421 h 453996"/>
                          <a:gd name="connsiteX225" fmla="*/ 24342 w 661049"/>
                          <a:gd name="connsiteY225" fmla="*/ 9390 h 453996"/>
                          <a:gd name="connsiteX226" fmla="*/ 36602 w 661049"/>
                          <a:gd name="connsiteY226" fmla="*/ 17763 h 453996"/>
                          <a:gd name="connsiteX227" fmla="*/ 37439 w 661049"/>
                          <a:gd name="connsiteY227" fmla="*/ 16746 h 453996"/>
                          <a:gd name="connsiteX228" fmla="*/ 25179 w 661049"/>
                          <a:gd name="connsiteY228" fmla="*/ 8373 h 453996"/>
                          <a:gd name="connsiteX229" fmla="*/ 24342 w 661049"/>
                          <a:gd name="connsiteY229" fmla="*/ 9390 h 453996"/>
                          <a:gd name="connsiteX230" fmla="*/ 7177 w 661049"/>
                          <a:gd name="connsiteY230" fmla="*/ 7177 h 453996"/>
                          <a:gd name="connsiteX231" fmla="*/ 8194 w 661049"/>
                          <a:gd name="connsiteY231" fmla="*/ 7835 h 453996"/>
                          <a:gd name="connsiteX232" fmla="*/ 13098 w 661049"/>
                          <a:gd name="connsiteY232" fmla="*/ 1675 h 453996"/>
                          <a:gd name="connsiteX233" fmla="*/ 23325 w 661049"/>
                          <a:gd name="connsiteY233" fmla="*/ 8672 h 453996"/>
                          <a:gd name="connsiteX234" fmla="*/ 24162 w 661049"/>
                          <a:gd name="connsiteY234" fmla="*/ 7655 h 453996"/>
                          <a:gd name="connsiteX235" fmla="*/ 12919 w 661049"/>
                          <a:gd name="connsiteY235" fmla="*/ 0 h 453996"/>
                          <a:gd name="connsiteX236" fmla="*/ 7177 w 661049"/>
                          <a:gd name="connsiteY236" fmla="*/ 7177 h 453996"/>
                          <a:gd name="connsiteX237" fmla="*/ 628335 w 661049"/>
                          <a:gd name="connsiteY237" fmla="*/ 437968 h 453996"/>
                          <a:gd name="connsiteX238" fmla="*/ 652258 w 661049"/>
                          <a:gd name="connsiteY238" fmla="*/ 453997 h 453996"/>
                          <a:gd name="connsiteX239" fmla="*/ 661049 w 661049"/>
                          <a:gd name="connsiteY239" fmla="*/ 442872 h 453996"/>
                          <a:gd name="connsiteX240" fmla="*/ 631684 w 661049"/>
                          <a:gd name="connsiteY240" fmla="*/ 422837 h 453996"/>
                          <a:gd name="connsiteX241" fmla="*/ 631624 w 661049"/>
                          <a:gd name="connsiteY241" fmla="*/ 423076 h 453996"/>
                          <a:gd name="connsiteX242" fmla="*/ 631565 w 661049"/>
                          <a:gd name="connsiteY242" fmla="*/ 423316 h 453996"/>
                          <a:gd name="connsiteX243" fmla="*/ 631505 w 661049"/>
                          <a:gd name="connsiteY243" fmla="*/ 423555 h 453996"/>
                          <a:gd name="connsiteX244" fmla="*/ 631445 w 661049"/>
                          <a:gd name="connsiteY244" fmla="*/ 423794 h 453996"/>
                          <a:gd name="connsiteX245" fmla="*/ 659913 w 661049"/>
                          <a:gd name="connsiteY245" fmla="*/ 443231 h 453996"/>
                          <a:gd name="connsiteX246" fmla="*/ 656564 w 661049"/>
                          <a:gd name="connsiteY246" fmla="*/ 447478 h 453996"/>
                          <a:gd name="connsiteX247" fmla="*/ 657042 w 661049"/>
                          <a:gd name="connsiteY247" fmla="*/ 447777 h 453996"/>
                          <a:gd name="connsiteX248" fmla="*/ 654411 w 661049"/>
                          <a:gd name="connsiteY248" fmla="*/ 451126 h 453996"/>
                          <a:gd name="connsiteX249" fmla="*/ 653932 w 661049"/>
                          <a:gd name="connsiteY249" fmla="*/ 450827 h 453996"/>
                          <a:gd name="connsiteX250" fmla="*/ 652258 w 661049"/>
                          <a:gd name="connsiteY250" fmla="*/ 452920 h 453996"/>
                          <a:gd name="connsiteX251" fmla="*/ 628634 w 661049"/>
                          <a:gd name="connsiteY251" fmla="*/ 437011 h 453996"/>
                          <a:gd name="connsiteX252" fmla="*/ 628574 w 661049"/>
                          <a:gd name="connsiteY252" fmla="*/ 437250 h 453996"/>
                          <a:gd name="connsiteX253" fmla="*/ 628454 w 661049"/>
                          <a:gd name="connsiteY253" fmla="*/ 437490 h 453996"/>
                          <a:gd name="connsiteX254" fmla="*/ 628335 w 661049"/>
                          <a:gd name="connsiteY254" fmla="*/ 437729 h 453996"/>
                          <a:gd name="connsiteX255" fmla="*/ 628335 w 661049"/>
                          <a:gd name="connsiteY255" fmla="*/ 437968 h 453996"/>
                          <a:gd name="connsiteX256" fmla="*/ 627079 w 661049"/>
                          <a:gd name="connsiteY256" fmla="*/ 437131 h 453996"/>
                          <a:gd name="connsiteX257" fmla="*/ 627797 w 661049"/>
                          <a:gd name="connsiteY257" fmla="*/ 437609 h 453996"/>
                          <a:gd name="connsiteX258" fmla="*/ 627916 w 661049"/>
                          <a:gd name="connsiteY258" fmla="*/ 437370 h 453996"/>
                          <a:gd name="connsiteX259" fmla="*/ 628036 w 661049"/>
                          <a:gd name="connsiteY259" fmla="*/ 437131 h 453996"/>
                          <a:gd name="connsiteX260" fmla="*/ 628096 w 661049"/>
                          <a:gd name="connsiteY260" fmla="*/ 436892 h 453996"/>
                          <a:gd name="connsiteX261" fmla="*/ 628155 w 661049"/>
                          <a:gd name="connsiteY261" fmla="*/ 436653 h 453996"/>
                          <a:gd name="connsiteX262" fmla="*/ 627438 w 661049"/>
                          <a:gd name="connsiteY262" fmla="*/ 436174 h 453996"/>
                          <a:gd name="connsiteX263" fmla="*/ 627378 w 661049"/>
                          <a:gd name="connsiteY263" fmla="*/ 436413 h 453996"/>
                          <a:gd name="connsiteX264" fmla="*/ 627318 w 661049"/>
                          <a:gd name="connsiteY264" fmla="*/ 436653 h 453996"/>
                          <a:gd name="connsiteX265" fmla="*/ 627258 w 661049"/>
                          <a:gd name="connsiteY265" fmla="*/ 436892 h 453996"/>
                          <a:gd name="connsiteX266" fmla="*/ 627079 w 661049"/>
                          <a:gd name="connsiteY266" fmla="*/ 437131 h 453996"/>
                          <a:gd name="connsiteX267" fmla="*/ 625703 w 661049"/>
                          <a:gd name="connsiteY267" fmla="*/ 436174 h 453996"/>
                          <a:gd name="connsiteX268" fmla="*/ 626541 w 661049"/>
                          <a:gd name="connsiteY268" fmla="*/ 436772 h 453996"/>
                          <a:gd name="connsiteX269" fmla="*/ 626600 w 661049"/>
                          <a:gd name="connsiteY269" fmla="*/ 436533 h 453996"/>
                          <a:gd name="connsiteX270" fmla="*/ 626660 w 661049"/>
                          <a:gd name="connsiteY270" fmla="*/ 436294 h 453996"/>
                          <a:gd name="connsiteX271" fmla="*/ 626720 w 661049"/>
                          <a:gd name="connsiteY271" fmla="*/ 436055 h 453996"/>
                          <a:gd name="connsiteX272" fmla="*/ 626780 w 661049"/>
                          <a:gd name="connsiteY272" fmla="*/ 435815 h 453996"/>
                          <a:gd name="connsiteX273" fmla="*/ 626122 w 661049"/>
                          <a:gd name="connsiteY273" fmla="*/ 435396 h 453996"/>
                          <a:gd name="connsiteX274" fmla="*/ 626002 w 661049"/>
                          <a:gd name="connsiteY274" fmla="*/ 435576 h 453996"/>
                          <a:gd name="connsiteX275" fmla="*/ 625883 w 661049"/>
                          <a:gd name="connsiteY275" fmla="*/ 435755 h 453996"/>
                          <a:gd name="connsiteX276" fmla="*/ 625763 w 661049"/>
                          <a:gd name="connsiteY276" fmla="*/ 435935 h 453996"/>
                          <a:gd name="connsiteX277" fmla="*/ 625703 w 661049"/>
                          <a:gd name="connsiteY277" fmla="*/ 436174 h 453996"/>
                          <a:gd name="connsiteX278" fmla="*/ 624507 w 661049"/>
                          <a:gd name="connsiteY278" fmla="*/ 435396 h 453996"/>
                          <a:gd name="connsiteX279" fmla="*/ 625165 w 661049"/>
                          <a:gd name="connsiteY279" fmla="*/ 435875 h 453996"/>
                          <a:gd name="connsiteX280" fmla="*/ 625285 w 661049"/>
                          <a:gd name="connsiteY280" fmla="*/ 435695 h 453996"/>
                          <a:gd name="connsiteX281" fmla="*/ 625404 w 661049"/>
                          <a:gd name="connsiteY281" fmla="*/ 435516 h 453996"/>
                          <a:gd name="connsiteX282" fmla="*/ 625524 w 661049"/>
                          <a:gd name="connsiteY282" fmla="*/ 435337 h 453996"/>
                          <a:gd name="connsiteX283" fmla="*/ 625644 w 661049"/>
                          <a:gd name="connsiteY283" fmla="*/ 435157 h 453996"/>
                          <a:gd name="connsiteX284" fmla="*/ 624986 w 661049"/>
                          <a:gd name="connsiteY284" fmla="*/ 434679 h 453996"/>
                          <a:gd name="connsiteX285" fmla="*/ 624866 w 661049"/>
                          <a:gd name="connsiteY285" fmla="*/ 434858 h 453996"/>
                          <a:gd name="connsiteX286" fmla="*/ 624746 w 661049"/>
                          <a:gd name="connsiteY286" fmla="*/ 435038 h 453996"/>
                          <a:gd name="connsiteX287" fmla="*/ 624627 w 661049"/>
                          <a:gd name="connsiteY287" fmla="*/ 435217 h 453996"/>
                          <a:gd name="connsiteX288" fmla="*/ 624507 w 661049"/>
                          <a:gd name="connsiteY288" fmla="*/ 435396 h 453996"/>
                          <a:gd name="connsiteX289" fmla="*/ 622474 w 661049"/>
                          <a:gd name="connsiteY289" fmla="*/ 434021 h 453996"/>
                          <a:gd name="connsiteX290" fmla="*/ 623969 w 661049"/>
                          <a:gd name="connsiteY290" fmla="*/ 435038 h 453996"/>
                          <a:gd name="connsiteX291" fmla="*/ 624089 w 661049"/>
                          <a:gd name="connsiteY291" fmla="*/ 434858 h 453996"/>
                          <a:gd name="connsiteX292" fmla="*/ 624208 w 661049"/>
                          <a:gd name="connsiteY292" fmla="*/ 434679 h 453996"/>
                          <a:gd name="connsiteX293" fmla="*/ 624328 w 661049"/>
                          <a:gd name="connsiteY293" fmla="*/ 434500 h 453996"/>
                          <a:gd name="connsiteX294" fmla="*/ 624447 w 661049"/>
                          <a:gd name="connsiteY294" fmla="*/ 434320 h 453996"/>
                          <a:gd name="connsiteX295" fmla="*/ 622952 w 661049"/>
                          <a:gd name="connsiteY295" fmla="*/ 433303 h 453996"/>
                          <a:gd name="connsiteX296" fmla="*/ 622833 w 661049"/>
                          <a:gd name="connsiteY296" fmla="*/ 433483 h 453996"/>
                          <a:gd name="connsiteX297" fmla="*/ 622713 w 661049"/>
                          <a:gd name="connsiteY297" fmla="*/ 433662 h 453996"/>
                          <a:gd name="connsiteX298" fmla="*/ 622593 w 661049"/>
                          <a:gd name="connsiteY298" fmla="*/ 433841 h 453996"/>
                          <a:gd name="connsiteX299" fmla="*/ 622474 w 661049"/>
                          <a:gd name="connsiteY299" fmla="*/ 434021 h 453996"/>
                          <a:gd name="connsiteX300" fmla="*/ 621337 w 661049"/>
                          <a:gd name="connsiteY300" fmla="*/ 433243 h 453996"/>
                          <a:gd name="connsiteX301" fmla="*/ 621995 w 661049"/>
                          <a:gd name="connsiteY301" fmla="*/ 433662 h 453996"/>
                          <a:gd name="connsiteX302" fmla="*/ 622115 w 661049"/>
                          <a:gd name="connsiteY302" fmla="*/ 433483 h 453996"/>
                          <a:gd name="connsiteX303" fmla="*/ 622235 w 661049"/>
                          <a:gd name="connsiteY303" fmla="*/ 433303 h 453996"/>
                          <a:gd name="connsiteX304" fmla="*/ 622354 w 661049"/>
                          <a:gd name="connsiteY304" fmla="*/ 433124 h 453996"/>
                          <a:gd name="connsiteX305" fmla="*/ 622474 w 661049"/>
                          <a:gd name="connsiteY305" fmla="*/ 432945 h 453996"/>
                          <a:gd name="connsiteX306" fmla="*/ 621816 w 661049"/>
                          <a:gd name="connsiteY306" fmla="*/ 432526 h 453996"/>
                          <a:gd name="connsiteX307" fmla="*/ 621696 w 661049"/>
                          <a:gd name="connsiteY307" fmla="*/ 432705 h 453996"/>
                          <a:gd name="connsiteX308" fmla="*/ 621576 w 661049"/>
                          <a:gd name="connsiteY308" fmla="*/ 432885 h 453996"/>
                          <a:gd name="connsiteX309" fmla="*/ 621457 w 661049"/>
                          <a:gd name="connsiteY309" fmla="*/ 433064 h 453996"/>
                          <a:gd name="connsiteX310" fmla="*/ 621337 w 661049"/>
                          <a:gd name="connsiteY310" fmla="*/ 433243 h 453996"/>
                          <a:gd name="connsiteX311" fmla="*/ 609137 w 661049"/>
                          <a:gd name="connsiteY311" fmla="*/ 425050 h 453996"/>
                          <a:gd name="connsiteX312" fmla="*/ 620799 w 661049"/>
                          <a:gd name="connsiteY312" fmla="*/ 432885 h 453996"/>
                          <a:gd name="connsiteX313" fmla="*/ 620919 w 661049"/>
                          <a:gd name="connsiteY313" fmla="*/ 432705 h 453996"/>
                          <a:gd name="connsiteX314" fmla="*/ 621038 w 661049"/>
                          <a:gd name="connsiteY314" fmla="*/ 432526 h 453996"/>
                          <a:gd name="connsiteX315" fmla="*/ 621158 w 661049"/>
                          <a:gd name="connsiteY315" fmla="*/ 432346 h 453996"/>
                          <a:gd name="connsiteX316" fmla="*/ 621277 w 661049"/>
                          <a:gd name="connsiteY316" fmla="*/ 432167 h 453996"/>
                          <a:gd name="connsiteX317" fmla="*/ 609675 w 661049"/>
                          <a:gd name="connsiteY317" fmla="*/ 424392 h 453996"/>
                          <a:gd name="connsiteX318" fmla="*/ 609137 w 661049"/>
                          <a:gd name="connsiteY318" fmla="*/ 425050 h 453996"/>
                          <a:gd name="connsiteX319" fmla="*/ 578276 w 661049"/>
                          <a:gd name="connsiteY319" fmla="*/ 404356 h 453996"/>
                          <a:gd name="connsiteX320" fmla="*/ 608658 w 661049"/>
                          <a:gd name="connsiteY320" fmla="*/ 424751 h 453996"/>
                          <a:gd name="connsiteX321" fmla="*/ 609256 w 661049"/>
                          <a:gd name="connsiteY321" fmla="*/ 424033 h 453996"/>
                          <a:gd name="connsiteX322" fmla="*/ 578934 w 661049"/>
                          <a:gd name="connsiteY322" fmla="*/ 403639 h 453996"/>
                          <a:gd name="connsiteX323" fmla="*/ 578276 w 661049"/>
                          <a:gd name="connsiteY323" fmla="*/ 404356 h 453996"/>
                          <a:gd name="connsiteX324" fmla="*/ 569066 w 661049"/>
                          <a:gd name="connsiteY324" fmla="*/ 398137 h 453996"/>
                          <a:gd name="connsiteX325" fmla="*/ 577738 w 661049"/>
                          <a:gd name="connsiteY325" fmla="*/ 403938 h 453996"/>
                          <a:gd name="connsiteX326" fmla="*/ 578336 w 661049"/>
                          <a:gd name="connsiteY326" fmla="*/ 403161 h 453996"/>
                          <a:gd name="connsiteX327" fmla="*/ 569664 w 661049"/>
                          <a:gd name="connsiteY327" fmla="*/ 397299 h 453996"/>
                          <a:gd name="connsiteX328" fmla="*/ 569066 w 661049"/>
                          <a:gd name="connsiteY328" fmla="*/ 398137 h 453996"/>
                          <a:gd name="connsiteX329" fmla="*/ 561949 w 661049"/>
                          <a:gd name="connsiteY329" fmla="*/ 393352 h 453996"/>
                          <a:gd name="connsiteX330" fmla="*/ 568527 w 661049"/>
                          <a:gd name="connsiteY330" fmla="*/ 397778 h 453996"/>
                          <a:gd name="connsiteX331" fmla="*/ 569126 w 661049"/>
                          <a:gd name="connsiteY331" fmla="*/ 397000 h 453996"/>
                          <a:gd name="connsiteX332" fmla="*/ 562547 w 661049"/>
                          <a:gd name="connsiteY332" fmla="*/ 392575 h 453996"/>
                          <a:gd name="connsiteX333" fmla="*/ 561949 w 661049"/>
                          <a:gd name="connsiteY333" fmla="*/ 393352 h 453996"/>
                          <a:gd name="connsiteX334" fmla="*/ 346942 w 661049"/>
                          <a:gd name="connsiteY334" fmla="*/ 249097 h 453996"/>
                          <a:gd name="connsiteX335" fmla="*/ 561351 w 661049"/>
                          <a:gd name="connsiteY335" fmla="*/ 392993 h 453996"/>
                          <a:gd name="connsiteX336" fmla="*/ 561949 w 661049"/>
                          <a:gd name="connsiteY336" fmla="*/ 392216 h 453996"/>
                          <a:gd name="connsiteX337" fmla="*/ 347241 w 661049"/>
                          <a:gd name="connsiteY337" fmla="*/ 247961 h 453996"/>
                          <a:gd name="connsiteX338" fmla="*/ 347181 w 661049"/>
                          <a:gd name="connsiteY338" fmla="*/ 248260 h 453996"/>
                          <a:gd name="connsiteX339" fmla="*/ 347121 w 661049"/>
                          <a:gd name="connsiteY339" fmla="*/ 248559 h 453996"/>
                          <a:gd name="connsiteX340" fmla="*/ 347062 w 661049"/>
                          <a:gd name="connsiteY340" fmla="*/ 248858 h 453996"/>
                          <a:gd name="connsiteX341" fmla="*/ 346942 w 661049"/>
                          <a:gd name="connsiteY341" fmla="*/ 249097 h 453996"/>
                          <a:gd name="connsiteX342" fmla="*/ 345028 w 661049"/>
                          <a:gd name="connsiteY342" fmla="*/ 247841 h 453996"/>
                          <a:gd name="connsiteX343" fmla="*/ 346104 w 661049"/>
                          <a:gd name="connsiteY343" fmla="*/ 248559 h 453996"/>
                          <a:gd name="connsiteX344" fmla="*/ 346164 w 661049"/>
                          <a:gd name="connsiteY344" fmla="*/ 248260 h 453996"/>
                          <a:gd name="connsiteX345" fmla="*/ 346224 w 661049"/>
                          <a:gd name="connsiteY345" fmla="*/ 247961 h 453996"/>
                          <a:gd name="connsiteX346" fmla="*/ 346284 w 661049"/>
                          <a:gd name="connsiteY346" fmla="*/ 247662 h 453996"/>
                          <a:gd name="connsiteX347" fmla="*/ 346344 w 661049"/>
                          <a:gd name="connsiteY347" fmla="*/ 247363 h 453996"/>
                          <a:gd name="connsiteX348" fmla="*/ 345207 w 661049"/>
                          <a:gd name="connsiteY348" fmla="*/ 246585 h 453996"/>
                          <a:gd name="connsiteX349" fmla="*/ 345148 w 661049"/>
                          <a:gd name="connsiteY349" fmla="*/ 246884 h 453996"/>
                          <a:gd name="connsiteX350" fmla="*/ 345088 w 661049"/>
                          <a:gd name="connsiteY350" fmla="*/ 247183 h 453996"/>
                          <a:gd name="connsiteX351" fmla="*/ 345028 w 661049"/>
                          <a:gd name="connsiteY351" fmla="*/ 247482 h 453996"/>
                          <a:gd name="connsiteX352" fmla="*/ 345028 w 661049"/>
                          <a:gd name="connsiteY352" fmla="*/ 247841 h 453996"/>
                          <a:gd name="connsiteX353" fmla="*/ 343353 w 661049"/>
                          <a:gd name="connsiteY353" fmla="*/ 246705 h 453996"/>
                          <a:gd name="connsiteX354" fmla="*/ 344191 w 661049"/>
                          <a:gd name="connsiteY354" fmla="*/ 247303 h 453996"/>
                          <a:gd name="connsiteX355" fmla="*/ 344250 w 661049"/>
                          <a:gd name="connsiteY355" fmla="*/ 247004 h 453996"/>
                          <a:gd name="connsiteX356" fmla="*/ 344310 w 661049"/>
                          <a:gd name="connsiteY356" fmla="*/ 246705 h 453996"/>
                          <a:gd name="connsiteX357" fmla="*/ 344370 w 661049"/>
                          <a:gd name="connsiteY357" fmla="*/ 246406 h 453996"/>
                          <a:gd name="connsiteX358" fmla="*/ 344430 w 661049"/>
                          <a:gd name="connsiteY358" fmla="*/ 246107 h 453996"/>
                          <a:gd name="connsiteX359" fmla="*/ 343951 w 661049"/>
                          <a:gd name="connsiteY359" fmla="*/ 245748 h 453996"/>
                          <a:gd name="connsiteX360" fmla="*/ 343832 w 661049"/>
                          <a:gd name="connsiteY360" fmla="*/ 245987 h 453996"/>
                          <a:gd name="connsiteX361" fmla="*/ 343712 w 661049"/>
                          <a:gd name="connsiteY361" fmla="*/ 246226 h 453996"/>
                          <a:gd name="connsiteX362" fmla="*/ 343593 w 661049"/>
                          <a:gd name="connsiteY362" fmla="*/ 246466 h 453996"/>
                          <a:gd name="connsiteX363" fmla="*/ 343353 w 661049"/>
                          <a:gd name="connsiteY363" fmla="*/ 246705 h 453996"/>
                          <a:gd name="connsiteX364" fmla="*/ 341619 w 661049"/>
                          <a:gd name="connsiteY364" fmla="*/ 245509 h 453996"/>
                          <a:gd name="connsiteX365" fmla="*/ 342576 w 661049"/>
                          <a:gd name="connsiteY365" fmla="*/ 246167 h 453996"/>
                          <a:gd name="connsiteX366" fmla="*/ 342696 w 661049"/>
                          <a:gd name="connsiteY366" fmla="*/ 245927 h 453996"/>
                          <a:gd name="connsiteX367" fmla="*/ 342815 w 661049"/>
                          <a:gd name="connsiteY367" fmla="*/ 245688 h 453996"/>
                          <a:gd name="connsiteX368" fmla="*/ 342935 w 661049"/>
                          <a:gd name="connsiteY368" fmla="*/ 245449 h 453996"/>
                          <a:gd name="connsiteX369" fmla="*/ 343055 w 661049"/>
                          <a:gd name="connsiteY369" fmla="*/ 245210 h 453996"/>
                          <a:gd name="connsiteX370" fmla="*/ 342097 w 661049"/>
                          <a:gd name="connsiteY370" fmla="*/ 244552 h 453996"/>
                          <a:gd name="connsiteX371" fmla="*/ 341978 w 661049"/>
                          <a:gd name="connsiteY371" fmla="*/ 244791 h 453996"/>
                          <a:gd name="connsiteX372" fmla="*/ 341858 w 661049"/>
                          <a:gd name="connsiteY372" fmla="*/ 245030 h 453996"/>
                          <a:gd name="connsiteX373" fmla="*/ 341739 w 661049"/>
                          <a:gd name="connsiteY373" fmla="*/ 245269 h 453996"/>
                          <a:gd name="connsiteX374" fmla="*/ 341619 w 661049"/>
                          <a:gd name="connsiteY374" fmla="*/ 245509 h 453996"/>
                          <a:gd name="connsiteX375" fmla="*/ 338569 w 661049"/>
                          <a:gd name="connsiteY375" fmla="*/ 243475 h 453996"/>
                          <a:gd name="connsiteX376" fmla="*/ 340842 w 661049"/>
                          <a:gd name="connsiteY376" fmla="*/ 245030 h 453996"/>
                          <a:gd name="connsiteX377" fmla="*/ 340961 w 661049"/>
                          <a:gd name="connsiteY377" fmla="*/ 244791 h 453996"/>
                          <a:gd name="connsiteX378" fmla="*/ 341081 w 661049"/>
                          <a:gd name="connsiteY378" fmla="*/ 244552 h 453996"/>
                          <a:gd name="connsiteX379" fmla="*/ 341201 w 661049"/>
                          <a:gd name="connsiteY379" fmla="*/ 244312 h 453996"/>
                          <a:gd name="connsiteX380" fmla="*/ 341320 w 661049"/>
                          <a:gd name="connsiteY380" fmla="*/ 244073 h 453996"/>
                          <a:gd name="connsiteX381" fmla="*/ 339047 w 661049"/>
                          <a:gd name="connsiteY381" fmla="*/ 242578 h 453996"/>
                          <a:gd name="connsiteX382" fmla="*/ 338928 w 661049"/>
                          <a:gd name="connsiteY382" fmla="*/ 242817 h 453996"/>
                          <a:gd name="connsiteX383" fmla="*/ 338808 w 661049"/>
                          <a:gd name="connsiteY383" fmla="*/ 243057 h 453996"/>
                          <a:gd name="connsiteX384" fmla="*/ 338688 w 661049"/>
                          <a:gd name="connsiteY384" fmla="*/ 243296 h 453996"/>
                          <a:gd name="connsiteX385" fmla="*/ 338569 w 661049"/>
                          <a:gd name="connsiteY385" fmla="*/ 243475 h 453996"/>
                          <a:gd name="connsiteX386" fmla="*/ 336834 w 661049"/>
                          <a:gd name="connsiteY386" fmla="*/ 242339 h 453996"/>
                          <a:gd name="connsiteX387" fmla="*/ 337791 w 661049"/>
                          <a:gd name="connsiteY387" fmla="*/ 242997 h 453996"/>
                          <a:gd name="connsiteX388" fmla="*/ 337911 w 661049"/>
                          <a:gd name="connsiteY388" fmla="*/ 242758 h 453996"/>
                          <a:gd name="connsiteX389" fmla="*/ 338031 w 661049"/>
                          <a:gd name="connsiteY389" fmla="*/ 242518 h 453996"/>
                          <a:gd name="connsiteX390" fmla="*/ 338150 w 661049"/>
                          <a:gd name="connsiteY390" fmla="*/ 242279 h 453996"/>
                          <a:gd name="connsiteX391" fmla="*/ 338270 w 661049"/>
                          <a:gd name="connsiteY391" fmla="*/ 242040 h 453996"/>
                          <a:gd name="connsiteX392" fmla="*/ 337313 w 661049"/>
                          <a:gd name="connsiteY392" fmla="*/ 241382 h 453996"/>
                          <a:gd name="connsiteX393" fmla="*/ 337193 w 661049"/>
                          <a:gd name="connsiteY393" fmla="*/ 241621 h 453996"/>
                          <a:gd name="connsiteX394" fmla="*/ 337074 w 661049"/>
                          <a:gd name="connsiteY394" fmla="*/ 241860 h 453996"/>
                          <a:gd name="connsiteX395" fmla="*/ 336954 w 661049"/>
                          <a:gd name="connsiteY395" fmla="*/ 242099 h 453996"/>
                          <a:gd name="connsiteX396" fmla="*/ 336834 w 661049"/>
                          <a:gd name="connsiteY396" fmla="*/ 242339 h 453996"/>
                          <a:gd name="connsiteX397" fmla="*/ 320926 w 661049"/>
                          <a:gd name="connsiteY397" fmla="*/ 231633 h 453996"/>
                          <a:gd name="connsiteX398" fmla="*/ 336117 w 661049"/>
                          <a:gd name="connsiteY398" fmla="*/ 241860 h 453996"/>
                          <a:gd name="connsiteX399" fmla="*/ 336236 w 661049"/>
                          <a:gd name="connsiteY399" fmla="*/ 241621 h 453996"/>
                          <a:gd name="connsiteX400" fmla="*/ 336356 w 661049"/>
                          <a:gd name="connsiteY400" fmla="*/ 241382 h 453996"/>
                          <a:gd name="connsiteX401" fmla="*/ 336476 w 661049"/>
                          <a:gd name="connsiteY401" fmla="*/ 241143 h 453996"/>
                          <a:gd name="connsiteX402" fmla="*/ 336595 w 661049"/>
                          <a:gd name="connsiteY402" fmla="*/ 240904 h 453996"/>
                          <a:gd name="connsiteX403" fmla="*/ 321584 w 661049"/>
                          <a:gd name="connsiteY403" fmla="*/ 230796 h 453996"/>
                          <a:gd name="connsiteX404" fmla="*/ 320926 w 661049"/>
                          <a:gd name="connsiteY404" fmla="*/ 231633 h 453996"/>
                          <a:gd name="connsiteX405" fmla="*/ 276190 w 661049"/>
                          <a:gd name="connsiteY405" fmla="*/ 201610 h 453996"/>
                          <a:gd name="connsiteX406" fmla="*/ 320148 w 661049"/>
                          <a:gd name="connsiteY406" fmla="*/ 231095 h 453996"/>
                          <a:gd name="connsiteX407" fmla="*/ 320866 w 661049"/>
                          <a:gd name="connsiteY407" fmla="*/ 230198 h 453996"/>
                          <a:gd name="connsiteX408" fmla="*/ 276908 w 661049"/>
                          <a:gd name="connsiteY408" fmla="*/ 200653 h 453996"/>
                          <a:gd name="connsiteX409" fmla="*/ 276190 w 661049"/>
                          <a:gd name="connsiteY409" fmla="*/ 201610 h 453996"/>
                          <a:gd name="connsiteX410" fmla="*/ 262793 w 661049"/>
                          <a:gd name="connsiteY410" fmla="*/ 192639 h 453996"/>
                          <a:gd name="connsiteX411" fmla="*/ 275413 w 661049"/>
                          <a:gd name="connsiteY411" fmla="*/ 201132 h 453996"/>
                          <a:gd name="connsiteX412" fmla="*/ 276130 w 661049"/>
                          <a:gd name="connsiteY412" fmla="*/ 200234 h 453996"/>
                          <a:gd name="connsiteX413" fmla="*/ 263511 w 661049"/>
                          <a:gd name="connsiteY413" fmla="*/ 191742 h 453996"/>
                          <a:gd name="connsiteX414" fmla="*/ 262793 w 661049"/>
                          <a:gd name="connsiteY414" fmla="*/ 192639 h 453996"/>
                          <a:gd name="connsiteX415" fmla="*/ 252387 w 661049"/>
                          <a:gd name="connsiteY415" fmla="*/ 185641 h 453996"/>
                          <a:gd name="connsiteX416" fmla="*/ 262015 w 661049"/>
                          <a:gd name="connsiteY416" fmla="*/ 192101 h 453996"/>
                          <a:gd name="connsiteX417" fmla="*/ 262733 w 661049"/>
                          <a:gd name="connsiteY417" fmla="*/ 191204 h 453996"/>
                          <a:gd name="connsiteX418" fmla="*/ 253104 w 661049"/>
                          <a:gd name="connsiteY418" fmla="*/ 184745 h 453996"/>
                          <a:gd name="connsiteX419" fmla="*/ 252387 w 661049"/>
                          <a:gd name="connsiteY419" fmla="*/ 185641 h 453996"/>
                          <a:gd name="connsiteX420" fmla="*/ 135882 w 661049"/>
                          <a:gd name="connsiteY420" fmla="*/ 107474 h 453996"/>
                          <a:gd name="connsiteX421" fmla="*/ 251609 w 661049"/>
                          <a:gd name="connsiteY421" fmla="*/ 185163 h 453996"/>
                          <a:gd name="connsiteX422" fmla="*/ 252327 w 661049"/>
                          <a:gd name="connsiteY422" fmla="*/ 184266 h 453996"/>
                          <a:gd name="connsiteX423" fmla="*/ 136241 w 661049"/>
                          <a:gd name="connsiteY423" fmla="*/ 106278 h 453996"/>
                          <a:gd name="connsiteX424" fmla="*/ 136181 w 661049"/>
                          <a:gd name="connsiteY424" fmla="*/ 106576 h 453996"/>
                          <a:gd name="connsiteX425" fmla="*/ 136121 w 661049"/>
                          <a:gd name="connsiteY425" fmla="*/ 106875 h 453996"/>
                          <a:gd name="connsiteX426" fmla="*/ 136002 w 661049"/>
                          <a:gd name="connsiteY426" fmla="*/ 107174 h 453996"/>
                          <a:gd name="connsiteX427" fmla="*/ 135882 w 661049"/>
                          <a:gd name="connsiteY427" fmla="*/ 107474 h 453996"/>
                          <a:gd name="connsiteX428" fmla="*/ 133550 w 661049"/>
                          <a:gd name="connsiteY428" fmla="*/ 105919 h 453996"/>
                          <a:gd name="connsiteX429" fmla="*/ 134866 w 661049"/>
                          <a:gd name="connsiteY429" fmla="*/ 106816 h 453996"/>
                          <a:gd name="connsiteX430" fmla="*/ 134985 w 661049"/>
                          <a:gd name="connsiteY430" fmla="*/ 106517 h 453996"/>
                          <a:gd name="connsiteX431" fmla="*/ 135045 w 661049"/>
                          <a:gd name="connsiteY431" fmla="*/ 106218 h 453996"/>
                          <a:gd name="connsiteX432" fmla="*/ 135105 w 661049"/>
                          <a:gd name="connsiteY432" fmla="*/ 105919 h 453996"/>
                          <a:gd name="connsiteX433" fmla="*/ 135165 w 661049"/>
                          <a:gd name="connsiteY433" fmla="*/ 105620 h 453996"/>
                          <a:gd name="connsiteX434" fmla="*/ 133849 w 661049"/>
                          <a:gd name="connsiteY434" fmla="*/ 104722 h 453996"/>
                          <a:gd name="connsiteX435" fmla="*/ 133789 w 661049"/>
                          <a:gd name="connsiteY435" fmla="*/ 105021 h 453996"/>
                          <a:gd name="connsiteX436" fmla="*/ 133729 w 661049"/>
                          <a:gd name="connsiteY436" fmla="*/ 105320 h 453996"/>
                          <a:gd name="connsiteX437" fmla="*/ 133669 w 661049"/>
                          <a:gd name="connsiteY437" fmla="*/ 105620 h 453996"/>
                          <a:gd name="connsiteX438" fmla="*/ 133550 w 661049"/>
                          <a:gd name="connsiteY438" fmla="*/ 105919 h 453996"/>
                          <a:gd name="connsiteX439" fmla="*/ 131397 w 661049"/>
                          <a:gd name="connsiteY439" fmla="*/ 104424 h 453996"/>
                          <a:gd name="connsiteX440" fmla="*/ 132533 w 661049"/>
                          <a:gd name="connsiteY440" fmla="*/ 105201 h 453996"/>
                          <a:gd name="connsiteX441" fmla="*/ 132593 w 661049"/>
                          <a:gd name="connsiteY441" fmla="*/ 104842 h 453996"/>
                          <a:gd name="connsiteX442" fmla="*/ 132652 w 661049"/>
                          <a:gd name="connsiteY442" fmla="*/ 104483 h 453996"/>
                          <a:gd name="connsiteX443" fmla="*/ 132712 w 661049"/>
                          <a:gd name="connsiteY443" fmla="*/ 104125 h 453996"/>
                          <a:gd name="connsiteX444" fmla="*/ 132772 w 661049"/>
                          <a:gd name="connsiteY444" fmla="*/ 103765 h 453996"/>
                          <a:gd name="connsiteX445" fmla="*/ 131995 w 661049"/>
                          <a:gd name="connsiteY445" fmla="*/ 103227 h 453996"/>
                          <a:gd name="connsiteX446" fmla="*/ 131815 w 661049"/>
                          <a:gd name="connsiteY446" fmla="*/ 103466 h 453996"/>
                          <a:gd name="connsiteX447" fmla="*/ 131636 w 661049"/>
                          <a:gd name="connsiteY447" fmla="*/ 103706 h 453996"/>
                          <a:gd name="connsiteX448" fmla="*/ 131457 w 661049"/>
                          <a:gd name="connsiteY448" fmla="*/ 103945 h 453996"/>
                          <a:gd name="connsiteX449" fmla="*/ 131397 w 661049"/>
                          <a:gd name="connsiteY449" fmla="*/ 104424 h 453996"/>
                          <a:gd name="connsiteX450" fmla="*/ 129184 w 661049"/>
                          <a:gd name="connsiteY450" fmla="*/ 102988 h 453996"/>
                          <a:gd name="connsiteX451" fmla="*/ 130380 w 661049"/>
                          <a:gd name="connsiteY451" fmla="*/ 103825 h 453996"/>
                          <a:gd name="connsiteX452" fmla="*/ 130559 w 661049"/>
                          <a:gd name="connsiteY452" fmla="*/ 103586 h 453996"/>
                          <a:gd name="connsiteX453" fmla="*/ 130739 w 661049"/>
                          <a:gd name="connsiteY453" fmla="*/ 103287 h 453996"/>
                          <a:gd name="connsiteX454" fmla="*/ 130918 w 661049"/>
                          <a:gd name="connsiteY454" fmla="*/ 102988 h 453996"/>
                          <a:gd name="connsiteX455" fmla="*/ 131098 w 661049"/>
                          <a:gd name="connsiteY455" fmla="*/ 102689 h 453996"/>
                          <a:gd name="connsiteX456" fmla="*/ 129842 w 661049"/>
                          <a:gd name="connsiteY456" fmla="*/ 101852 h 453996"/>
                          <a:gd name="connsiteX457" fmla="*/ 129662 w 661049"/>
                          <a:gd name="connsiteY457" fmla="*/ 102151 h 453996"/>
                          <a:gd name="connsiteX458" fmla="*/ 129483 w 661049"/>
                          <a:gd name="connsiteY458" fmla="*/ 102450 h 453996"/>
                          <a:gd name="connsiteX459" fmla="*/ 129303 w 661049"/>
                          <a:gd name="connsiteY459" fmla="*/ 102749 h 453996"/>
                          <a:gd name="connsiteX460" fmla="*/ 129184 w 661049"/>
                          <a:gd name="connsiteY460" fmla="*/ 102988 h 453996"/>
                          <a:gd name="connsiteX461" fmla="*/ 125775 w 661049"/>
                          <a:gd name="connsiteY461" fmla="*/ 100656 h 453996"/>
                          <a:gd name="connsiteX462" fmla="*/ 128287 w 661049"/>
                          <a:gd name="connsiteY462" fmla="*/ 102330 h 453996"/>
                          <a:gd name="connsiteX463" fmla="*/ 128466 w 661049"/>
                          <a:gd name="connsiteY463" fmla="*/ 102031 h 453996"/>
                          <a:gd name="connsiteX464" fmla="*/ 128645 w 661049"/>
                          <a:gd name="connsiteY464" fmla="*/ 101732 h 453996"/>
                          <a:gd name="connsiteX465" fmla="*/ 128825 w 661049"/>
                          <a:gd name="connsiteY465" fmla="*/ 101433 h 453996"/>
                          <a:gd name="connsiteX466" fmla="*/ 129004 w 661049"/>
                          <a:gd name="connsiteY466" fmla="*/ 101134 h 453996"/>
                          <a:gd name="connsiteX467" fmla="*/ 126492 w 661049"/>
                          <a:gd name="connsiteY467" fmla="*/ 99459 h 453996"/>
                          <a:gd name="connsiteX468" fmla="*/ 126313 w 661049"/>
                          <a:gd name="connsiteY468" fmla="*/ 99699 h 453996"/>
                          <a:gd name="connsiteX469" fmla="*/ 126134 w 661049"/>
                          <a:gd name="connsiteY469" fmla="*/ 99938 h 453996"/>
                          <a:gd name="connsiteX470" fmla="*/ 125954 w 661049"/>
                          <a:gd name="connsiteY470" fmla="*/ 100177 h 453996"/>
                          <a:gd name="connsiteX471" fmla="*/ 125775 w 661049"/>
                          <a:gd name="connsiteY471" fmla="*/ 100656 h 453996"/>
                          <a:gd name="connsiteX472" fmla="*/ 123622 w 661049"/>
                          <a:gd name="connsiteY472" fmla="*/ 99220 h 453996"/>
                          <a:gd name="connsiteX473" fmla="*/ 124818 w 661049"/>
                          <a:gd name="connsiteY473" fmla="*/ 100057 h 453996"/>
                          <a:gd name="connsiteX474" fmla="*/ 124997 w 661049"/>
                          <a:gd name="connsiteY474" fmla="*/ 99818 h 453996"/>
                          <a:gd name="connsiteX475" fmla="*/ 125176 w 661049"/>
                          <a:gd name="connsiteY475" fmla="*/ 99579 h 453996"/>
                          <a:gd name="connsiteX476" fmla="*/ 125356 w 661049"/>
                          <a:gd name="connsiteY476" fmla="*/ 99340 h 453996"/>
                          <a:gd name="connsiteX477" fmla="*/ 125536 w 661049"/>
                          <a:gd name="connsiteY477" fmla="*/ 99101 h 453996"/>
                          <a:gd name="connsiteX478" fmla="*/ 124339 w 661049"/>
                          <a:gd name="connsiteY478" fmla="*/ 98263 h 453996"/>
                          <a:gd name="connsiteX479" fmla="*/ 124160 w 661049"/>
                          <a:gd name="connsiteY479" fmla="*/ 98562 h 453996"/>
                          <a:gd name="connsiteX480" fmla="*/ 123981 w 661049"/>
                          <a:gd name="connsiteY480" fmla="*/ 98802 h 453996"/>
                          <a:gd name="connsiteX481" fmla="*/ 123801 w 661049"/>
                          <a:gd name="connsiteY481" fmla="*/ 99041 h 453996"/>
                          <a:gd name="connsiteX482" fmla="*/ 123622 w 661049"/>
                          <a:gd name="connsiteY482" fmla="*/ 99220 h 453996"/>
                          <a:gd name="connsiteX483" fmla="*/ 99998 w 661049"/>
                          <a:gd name="connsiteY483" fmla="*/ 83371 h 453996"/>
                          <a:gd name="connsiteX484" fmla="*/ 122665 w 661049"/>
                          <a:gd name="connsiteY484" fmla="*/ 98562 h 453996"/>
                          <a:gd name="connsiteX485" fmla="*/ 122844 w 661049"/>
                          <a:gd name="connsiteY485" fmla="*/ 98263 h 453996"/>
                          <a:gd name="connsiteX486" fmla="*/ 123024 w 661049"/>
                          <a:gd name="connsiteY486" fmla="*/ 97964 h 453996"/>
                          <a:gd name="connsiteX487" fmla="*/ 123203 w 661049"/>
                          <a:gd name="connsiteY487" fmla="*/ 97665 h 453996"/>
                          <a:gd name="connsiteX488" fmla="*/ 123382 w 661049"/>
                          <a:gd name="connsiteY488" fmla="*/ 97366 h 453996"/>
                          <a:gd name="connsiteX489" fmla="*/ 100895 w 661049"/>
                          <a:gd name="connsiteY489" fmla="*/ 82235 h 453996"/>
                          <a:gd name="connsiteX490" fmla="*/ 99998 w 661049"/>
                          <a:gd name="connsiteY490" fmla="*/ 83371 h 453996"/>
                          <a:gd name="connsiteX491" fmla="*/ 42882 w 661049"/>
                          <a:gd name="connsiteY491" fmla="*/ 45035 h 453996"/>
                          <a:gd name="connsiteX492" fmla="*/ 98981 w 661049"/>
                          <a:gd name="connsiteY492" fmla="*/ 82713 h 453996"/>
                          <a:gd name="connsiteX493" fmla="*/ 99758 w 661049"/>
                          <a:gd name="connsiteY493" fmla="*/ 81697 h 453996"/>
                          <a:gd name="connsiteX494" fmla="*/ 43660 w 661049"/>
                          <a:gd name="connsiteY494" fmla="*/ 44018 h 453996"/>
                          <a:gd name="connsiteX495" fmla="*/ 42882 w 661049"/>
                          <a:gd name="connsiteY495" fmla="*/ 45035 h 453996"/>
                          <a:gd name="connsiteX496" fmla="*/ 25658 w 661049"/>
                          <a:gd name="connsiteY496" fmla="*/ 33492 h 453996"/>
                          <a:gd name="connsiteX497" fmla="*/ 41865 w 661049"/>
                          <a:gd name="connsiteY497" fmla="*/ 44377 h 453996"/>
                          <a:gd name="connsiteX498" fmla="*/ 42702 w 661049"/>
                          <a:gd name="connsiteY498" fmla="*/ 43360 h 453996"/>
                          <a:gd name="connsiteX499" fmla="*/ 26495 w 661049"/>
                          <a:gd name="connsiteY499" fmla="*/ 32475 h 453996"/>
                          <a:gd name="connsiteX500" fmla="*/ 25658 w 661049"/>
                          <a:gd name="connsiteY500" fmla="*/ 33492 h 453996"/>
                          <a:gd name="connsiteX501" fmla="*/ 12320 w 661049"/>
                          <a:gd name="connsiteY501" fmla="*/ 24521 h 453996"/>
                          <a:gd name="connsiteX502" fmla="*/ 24641 w 661049"/>
                          <a:gd name="connsiteY502" fmla="*/ 32774 h 453996"/>
                          <a:gd name="connsiteX503" fmla="*/ 25478 w 661049"/>
                          <a:gd name="connsiteY503" fmla="*/ 31758 h 453996"/>
                          <a:gd name="connsiteX504" fmla="*/ 13158 w 661049"/>
                          <a:gd name="connsiteY504" fmla="*/ 23504 h 453996"/>
                          <a:gd name="connsiteX505" fmla="*/ 12320 w 661049"/>
                          <a:gd name="connsiteY505" fmla="*/ 24521 h 453996"/>
                          <a:gd name="connsiteX506" fmla="*/ 0 w 661049"/>
                          <a:gd name="connsiteY506" fmla="*/ 16268 h 453996"/>
                          <a:gd name="connsiteX507" fmla="*/ 11304 w 661049"/>
                          <a:gd name="connsiteY507" fmla="*/ 23863 h 453996"/>
                          <a:gd name="connsiteX508" fmla="*/ 12141 w 661049"/>
                          <a:gd name="connsiteY508" fmla="*/ 22846 h 453996"/>
                          <a:gd name="connsiteX509" fmla="*/ 1854 w 661049"/>
                          <a:gd name="connsiteY509" fmla="*/ 15909 h 453996"/>
                          <a:gd name="connsiteX510" fmla="*/ 4306 w 661049"/>
                          <a:gd name="connsiteY510" fmla="*/ 12799 h 453996"/>
                          <a:gd name="connsiteX511" fmla="*/ 3290 w 661049"/>
                          <a:gd name="connsiteY511" fmla="*/ 12141 h 453996"/>
                          <a:gd name="connsiteX512" fmla="*/ 0 w 661049"/>
                          <a:gd name="connsiteY512" fmla="*/ 16268 h 45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Lst>
                        <a:rect l="l" t="t" r="r" b="b"/>
                        <a:pathLst>
                          <a:path w="661049" h="453996">
                            <a:moveTo>
                              <a:pt x="630009" y="422777"/>
                            </a:moveTo>
                            <a:lnTo>
                              <a:pt x="630907" y="423375"/>
                            </a:lnTo>
                            <a:cubicBezTo>
                              <a:pt x="630907" y="423316"/>
                              <a:pt x="630907" y="423196"/>
                              <a:pt x="630966" y="423136"/>
                            </a:cubicBezTo>
                            <a:cubicBezTo>
                              <a:pt x="630966" y="423076"/>
                              <a:pt x="630966" y="422957"/>
                              <a:pt x="631026" y="422897"/>
                            </a:cubicBezTo>
                            <a:cubicBezTo>
                              <a:pt x="631026" y="422837"/>
                              <a:pt x="631026" y="422717"/>
                              <a:pt x="631086" y="422657"/>
                            </a:cubicBezTo>
                            <a:cubicBezTo>
                              <a:pt x="631086" y="422598"/>
                              <a:pt x="631086" y="422478"/>
                              <a:pt x="631146" y="422418"/>
                            </a:cubicBezTo>
                            <a:lnTo>
                              <a:pt x="630249" y="421761"/>
                            </a:lnTo>
                            <a:cubicBezTo>
                              <a:pt x="630249" y="421820"/>
                              <a:pt x="630249" y="421940"/>
                              <a:pt x="630249" y="422000"/>
                            </a:cubicBezTo>
                            <a:cubicBezTo>
                              <a:pt x="630249" y="422060"/>
                              <a:pt x="630249" y="422179"/>
                              <a:pt x="630249" y="422239"/>
                            </a:cubicBezTo>
                            <a:cubicBezTo>
                              <a:pt x="630249" y="422299"/>
                              <a:pt x="630249" y="422418"/>
                              <a:pt x="630249" y="422478"/>
                            </a:cubicBezTo>
                            <a:cubicBezTo>
                              <a:pt x="630249" y="422538"/>
                              <a:pt x="630249" y="422657"/>
                              <a:pt x="630249" y="422717"/>
                            </a:cubicBezTo>
                            <a:cubicBezTo>
                              <a:pt x="630249" y="422717"/>
                              <a:pt x="630249" y="422717"/>
                              <a:pt x="630249" y="422717"/>
                            </a:cubicBezTo>
                            <a:cubicBezTo>
                              <a:pt x="630009" y="422717"/>
                              <a:pt x="630009" y="422717"/>
                              <a:pt x="630009" y="422777"/>
                            </a:cubicBezTo>
                            <a:cubicBezTo>
                              <a:pt x="630009" y="422777"/>
                              <a:pt x="630009" y="422777"/>
                              <a:pt x="630009" y="422777"/>
                            </a:cubicBezTo>
                            <a:cubicBezTo>
                              <a:pt x="630009" y="422777"/>
                              <a:pt x="630009" y="422777"/>
                              <a:pt x="630009" y="422777"/>
                            </a:cubicBezTo>
                            <a:moveTo>
                              <a:pt x="627498" y="421103"/>
                            </a:moveTo>
                            <a:lnTo>
                              <a:pt x="629352" y="422359"/>
                            </a:lnTo>
                            <a:cubicBezTo>
                              <a:pt x="629352" y="422239"/>
                              <a:pt x="629352" y="422179"/>
                              <a:pt x="629352" y="422060"/>
                            </a:cubicBezTo>
                            <a:cubicBezTo>
                              <a:pt x="629352" y="421940"/>
                              <a:pt x="629352" y="421880"/>
                              <a:pt x="629352" y="421761"/>
                            </a:cubicBezTo>
                            <a:cubicBezTo>
                              <a:pt x="629352" y="421641"/>
                              <a:pt x="629352" y="421581"/>
                              <a:pt x="629352" y="421462"/>
                            </a:cubicBezTo>
                            <a:cubicBezTo>
                              <a:pt x="629352" y="421342"/>
                              <a:pt x="629352" y="421282"/>
                              <a:pt x="629352" y="421162"/>
                            </a:cubicBezTo>
                            <a:lnTo>
                              <a:pt x="627318" y="419787"/>
                            </a:lnTo>
                            <a:cubicBezTo>
                              <a:pt x="627318" y="419907"/>
                              <a:pt x="627378" y="419966"/>
                              <a:pt x="627378" y="420086"/>
                            </a:cubicBezTo>
                            <a:cubicBezTo>
                              <a:pt x="627378" y="420206"/>
                              <a:pt x="627378" y="420265"/>
                              <a:pt x="627438" y="420385"/>
                            </a:cubicBezTo>
                            <a:cubicBezTo>
                              <a:pt x="627438" y="420505"/>
                              <a:pt x="627438" y="420564"/>
                              <a:pt x="627438" y="420684"/>
                            </a:cubicBezTo>
                            <a:cubicBezTo>
                              <a:pt x="627438" y="420863"/>
                              <a:pt x="627438" y="420983"/>
                              <a:pt x="627498" y="421103"/>
                            </a:cubicBezTo>
                            <a:moveTo>
                              <a:pt x="625344" y="419608"/>
                            </a:moveTo>
                            <a:lnTo>
                              <a:pt x="626660" y="420505"/>
                            </a:lnTo>
                            <a:cubicBezTo>
                              <a:pt x="626660" y="420385"/>
                              <a:pt x="626600" y="420265"/>
                              <a:pt x="626600" y="420146"/>
                            </a:cubicBezTo>
                            <a:cubicBezTo>
                              <a:pt x="626600" y="420026"/>
                              <a:pt x="626541" y="419907"/>
                              <a:pt x="626541" y="419847"/>
                            </a:cubicBezTo>
                            <a:cubicBezTo>
                              <a:pt x="626541" y="419727"/>
                              <a:pt x="626481" y="419608"/>
                              <a:pt x="626481" y="419548"/>
                            </a:cubicBezTo>
                            <a:cubicBezTo>
                              <a:pt x="626481" y="419428"/>
                              <a:pt x="626421" y="419308"/>
                              <a:pt x="626421" y="419248"/>
                            </a:cubicBezTo>
                            <a:lnTo>
                              <a:pt x="624866" y="418172"/>
                            </a:lnTo>
                            <a:cubicBezTo>
                              <a:pt x="624926" y="418292"/>
                              <a:pt x="624986" y="418411"/>
                              <a:pt x="625045" y="418531"/>
                            </a:cubicBezTo>
                            <a:cubicBezTo>
                              <a:pt x="625105" y="418651"/>
                              <a:pt x="625165" y="418770"/>
                              <a:pt x="625165" y="418890"/>
                            </a:cubicBezTo>
                            <a:cubicBezTo>
                              <a:pt x="625225" y="419009"/>
                              <a:pt x="625225" y="419129"/>
                              <a:pt x="625285" y="419248"/>
                            </a:cubicBezTo>
                            <a:cubicBezTo>
                              <a:pt x="625285" y="419368"/>
                              <a:pt x="625285" y="419488"/>
                              <a:pt x="625344" y="419608"/>
                            </a:cubicBezTo>
                            <a:moveTo>
                              <a:pt x="623012" y="418053"/>
                            </a:moveTo>
                            <a:lnTo>
                              <a:pt x="624089" y="418770"/>
                            </a:lnTo>
                            <a:cubicBezTo>
                              <a:pt x="624029" y="418591"/>
                              <a:pt x="623969" y="418471"/>
                              <a:pt x="623909" y="418292"/>
                            </a:cubicBezTo>
                            <a:cubicBezTo>
                              <a:pt x="623849" y="418172"/>
                              <a:pt x="623790" y="417993"/>
                              <a:pt x="623670" y="417873"/>
                            </a:cubicBezTo>
                            <a:cubicBezTo>
                              <a:pt x="623610" y="417753"/>
                              <a:pt x="623490" y="417574"/>
                              <a:pt x="623431" y="417454"/>
                            </a:cubicBezTo>
                            <a:cubicBezTo>
                              <a:pt x="623371" y="417335"/>
                              <a:pt x="623251" y="417155"/>
                              <a:pt x="623132" y="417036"/>
                            </a:cubicBezTo>
                            <a:lnTo>
                              <a:pt x="618168" y="413627"/>
                            </a:lnTo>
                            <a:lnTo>
                              <a:pt x="617988" y="413866"/>
                            </a:lnTo>
                            <a:cubicBezTo>
                              <a:pt x="618467" y="414225"/>
                              <a:pt x="618945" y="414584"/>
                              <a:pt x="619364" y="414942"/>
                            </a:cubicBezTo>
                            <a:cubicBezTo>
                              <a:pt x="619842" y="415301"/>
                              <a:pt x="620261" y="415660"/>
                              <a:pt x="620680" y="416019"/>
                            </a:cubicBezTo>
                            <a:cubicBezTo>
                              <a:pt x="621098" y="416378"/>
                              <a:pt x="621517" y="416737"/>
                              <a:pt x="621876" y="417036"/>
                            </a:cubicBezTo>
                            <a:cubicBezTo>
                              <a:pt x="622294" y="417394"/>
                              <a:pt x="622653" y="417694"/>
                              <a:pt x="623012" y="418053"/>
                            </a:cubicBezTo>
                            <a:moveTo>
                              <a:pt x="586888" y="393412"/>
                            </a:moveTo>
                            <a:lnTo>
                              <a:pt x="613742" y="411713"/>
                            </a:lnTo>
                            <a:lnTo>
                              <a:pt x="614220" y="411115"/>
                            </a:lnTo>
                            <a:lnTo>
                              <a:pt x="614460" y="411294"/>
                            </a:lnTo>
                            <a:cubicBezTo>
                              <a:pt x="614759" y="411474"/>
                              <a:pt x="614998" y="411653"/>
                              <a:pt x="615237" y="411832"/>
                            </a:cubicBezTo>
                            <a:cubicBezTo>
                              <a:pt x="615476" y="412012"/>
                              <a:pt x="615775" y="412191"/>
                              <a:pt x="616014" y="412371"/>
                            </a:cubicBezTo>
                            <a:cubicBezTo>
                              <a:pt x="616254" y="412550"/>
                              <a:pt x="616493" y="412730"/>
                              <a:pt x="616792" y="412909"/>
                            </a:cubicBezTo>
                            <a:cubicBezTo>
                              <a:pt x="617031" y="413088"/>
                              <a:pt x="617271" y="413268"/>
                              <a:pt x="617510" y="413447"/>
                            </a:cubicBezTo>
                            <a:lnTo>
                              <a:pt x="617689" y="413208"/>
                            </a:lnTo>
                            <a:lnTo>
                              <a:pt x="587546" y="392575"/>
                            </a:lnTo>
                            <a:lnTo>
                              <a:pt x="586888" y="393412"/>
                            </a:lnTo>
                            <a:moveTo>
                              <a:pt x="577738" y="387132"/>
                            </a:moveTo>
                            <a:lnTo>
                              <a:pt x="586410" y="393053"/>
                            </a:lnTo>
                            <a:lnTo>
                              <a:pt x="587008" y="392276"/>
                            </a:lnTo>
                            <a:lnTo>
                              <a:pt x="578396" y="386354"/>
                            </a:lnTo>
                            <a:lnTo>
                              <a:pt x="577738" y="387132"/>
                            </a:lnTo>
                            <a:moveTo>
                              <a:pt x="570681" y="382288"/>
                            </a:moveTo>
                            <a:lnTo>
                              <a:pt x="577200" y="386773"/>
                            </a:lnTo>
                            <a:lnTo>
                              <a:pt x="577798" y="385996"/>
                            </a:lnTo>
                            <a:lnTo>
                              <a:pt x="571279" y="381510"/>
                            </a:lnTo>
                            <a:lnTo>
                              <a:pt x="570681" y="382288"/>
                            </a:lnTo>
                            <a:moveTo>
                              <a:pt x="348497" y="230617"/>
                            </a:moveTo>
                            <a:lnTo>
                              <a:pt x="570142" y="381869"/>
                            </a:lnTo>
                            <a:lnTo>
                              <a:pt x="570740" y="381092"/>
                            </a:lnTo>
                            <a:lnTo>
                              <a:pt x="348557" y="229241"/>
                            </a:lnTo>
                            <a:cubicBezTo>
                              <a:pt x="348557" y="229241"/>
                              <a:pt x="348557" y="229241"/>
                              <a:pt x="348557" y="229241"/>
                            </a:cubicBezTo>
                            <a:cubicBezTo>
                              <a:pt x="348557" y="229241"/>
                              <a:pt x="348557" y="229241"/>
                              <a:pt x="348557" y="229241"/>
                            </a:cubicBezTo>
                            <a:cubicBezTo>
                              <a:pt x="348557" y="229241"/>
                              <a:pt x="348557" y="229241"/>
                              <a:pt x="348557" y="229241"/>
                            </a:cubicBezTo>
                            <a:cubicBezTo>
                              <a:pt x="348557" y="229241"/>
                              <a:pt x="348557" y="229241"/>
                              <a:pt x="348557" y="229241"/>
                            </a:cubicBezTo>
                            <a:cubicBezTo>
                              <a:pt x="348557" y="229361"/>
                              <a:pt x="348557" y="229480"/>
                              <a:pt x="348557" y="229540"/>
                            </a:cubicBezTo>
                            <a:cubicBezTo>
                              <a:pt x="348557" y="229660"/>
                              <a:pt x="348557" y="229779"/>
                              <a:pt x="348557" y="229839"/>
                            </a:cubicBezTo>
                            <a:cubicBezTo>
                              <a:pt x="348557" y="229899"/>
                              <a:pt x="348557" y="230079"/>
                              <a:pt x="348557" y="230138"/>
                            </a:cubicBezTo>
                            <a:cubicBezTo>
                              <a:pt x="348497" y="230437"/>
                              <a:pt x="348497" y="230557"/>
                              <a:pt x="348497" y="230617"/>
                            </a:cubicBezTo>
                            <a:moveTo>
                              <a:pt x="346164" y="229062"/>
                            </a:moveTo>
                            <a:lnTo>
                              <a:pt x="347480" y="229959"/>
                            </a:lnTo>
                            <a:cubicBezTo>
                              <a:pt x="347480" y="229959"/>
                              <a:pt x="347480" y="229899"/>
                              <a:pt x="347480" y="229899"/>
                            </a:cubicBezTo>
                            <a:cubicBezTo>
                              <a:pt x="347480" y="229899"/>
                              <a:pt x="347480" y="229839"/>
                              <a:pt x="347480" y="229839"/>
                            </a:cubicBezTo>
                            <a:cubicBezTo>
                              <a:pt x="347480" y="229839"/>
                              <a:pt x="347480" y="229779"/>
                              <a:pt x="347480" y="229779"/>
                            </a:cubicBezTo>
                            <a:cubicBezTo>
                              <a:pt x="347480" y="229779"/>
                              <a:pt x="347480" y="229720"/>
                              <a:pt x="347480" y="229720"/>
                            </a:cubicBezTo>
                            <a:cubicBezTo>
                              <a:pt x="347480" y="229660"/>
                              <a:pt x="347480" y="229540"/>
                              <a:pt x="347480" y="229480"/>
                            </a:cubicBezTo>
                            <a:cubicBezTo>
                              <a:pt x="347480" y="229420"/>
                              <a:pt x="347480" y="229301"/>
                              <a:pt x="347480" y="229241"/>
                            </a:cubicBezTo>
                            <a:cubicBezTo>
                              <a:pt x="347480" y="229181"/>
                              <a:pt x="347480" y="229062"/>
                              <a:pt x="347480" y="229002"/>
                            </a:cubicBezTo>
                            <a:cubicBezTo>
                              <a:pt x="347480" y="228942"/>
                              <a:pt x="347480" y="228822"/>
                              <a:pt x="347480" y="228763"/>
                            </a:cubicBezTo>
                            <a:lnTo>
                              <a:pt x="346104" y="227806"/>
                            </a:lnTo>
                            <a:cubicBezTo>
                              <a:pt x="346104" y="227925"/>
                              <a:pt x="346104" y="228045"/>
                              <a:pt x="346164" y="228165"/>
                            </a:cubicBezTo>
                            <a:cubicBezTo>
                              <a:pt x="346164" y="228284"/>
                              <a:pt x="346164" y="228404"/>
                              <a:pt x="346224" y="228523"/>
                            </a:cubicBezTo>
                            <a:cubicBezTo>
                              <a:pt x="346224" y="228643"/>
                              <a:pt x="346224" y="228763"/>
                              <a:pt x="346224" y="228882"/>
                            </a:cubicBezTo>
                            <a:cubicBezTo>
                              <a:pt x="346224" y="229002"/>
                              <a:pt x="346164" y="228942"/>
                              <a:pt x="346164" y="229062"/>
                            </a:cubicBezTo>
                            <a:moveTo>
                              <a:pt x="342217" y="226370"/>
                            </a:moveTo>
                            <a:lnTo>
                              <a:pt x="345088" y="228344"/>
                            </a:lnTo>
                            <a:cubicBezTo>
                              <a:pt x="345088" y="228225"/>
                              <a:pt x="345088" y="228105"/>
                              <a:pt x="345028" y="227985"/>
                            </a:cubicBezTo>
                            <a:cubicBezTo>
                              <a:pt x="345028" y="227865"/>
                              <a:pt x="345028" y="227746"/>
                              <a:pt x="344968" y="227626"/>
                            </a:cubicBezTo>
                            <a:cubicBezTo>
                              <a:pt x="344968" y="227507"/>
                              <a:pt x="344909" y="227387"/>
                              <a:pt x="344909" y="227267"/>
                            </a:cubicBezTo>
                            <a:cubicBezTo>
                              <a:pt x="344909" y="227148"/>
                              <a:pt x="344849" y="227028"/>
                              <a:pt x="344849" y="226909"/>
                            </a:cubicBezTo>
                            <a:lnTo>
                              <a:pt x="341739" y="224756"/>
                            </a:lnTo>
                            <a:cubicBezTo>
                              <a:pt x="341798" y="224875"/>
                              <a:pt x="341798" y="225055"/>
                              <a:pt x="341858" y="225174"/>
                            </a:cubicBezTo>
                            <a:cubicBezTo>
                              <a:pt x="341918" y="225294"/>
                              <a:pt x="341918" y="225473"/>
                              <a:pt x="341978" y="225593"/>
                            </a:cubicBezTo>
                            <a:cubicBezTo>
                              <a:pt x="342038" y="225712"/>
                              <a:pt x="342038" y="225892"/>
                              <a:pt x="342097" y="226011"/>
                            </a:cubicBezTo>
                            <a:cubicBezTo>
                              <a:pt x="342157" y="226071"/>
                              <a:pt x="342157" y="226251"/>
                              <a:pt x="342217" y="226370"/>
                            </a:cubicBezTo>
                            <a:moveTo>
                              <a:pt x="338868" y="224098"/>
                            </a:moveTo>
                            <a:lnTo>
                              <a:pt x="340842" y="225473"/>
                            </a:lnTo>
                            <a:cubicBezTo>
                              <a:pt x="340782" y="225294"/>
                              <a:pt x="340722" y="225174"/>
                              <a:pt x="340722" y="224995"/>
                            </a:cubicBezTo>
                            <a:cubicBezTo>
                              <a:pt x="340662" y="224815"/>
                              <a:pt x="340602" y="224696"/>
                              <a:pt x="340542" y="224516"/>
                            </a:cubicBezTo>
                            <a:cubicBezTo>
                              <a:pt x="340482" y="224397"/>
                              <a:pt x="340423" y="224217"/>
                              <a:pt x="340363" y="224098"/>
                            </a:cubicBezTo>
                            <a:cubicBezTo>
                              <a:pt x="340303" y="223978"/>
                              <a:pt x="340243" y="223798"/>
                              <a:pt x="340184" y="223679"/>
                            </a:cubicBezTo>
                            <a:lnTo>
                              <a:pt x="337791" y="222064"/>
                            </a:lnTo>
                            <a:cubicBezTo>
                              <a:pt x="337911" y="222244"/>
                              <a:pt x="337971" y="222423"/>
                              <a:pt x="338090" y="222603"/>
                            </a:cubicBezTo>
                            <a:cubicBezTo>
                              <a:pt x="338210" y="222782"/>
                              <a:pt x="338270" y="222961"/>
                              <a:pt x="338389" y="223141"/>
                            </a:cubicBezTo>
                            <a:cubicBezTo>
                              <a:pt x="338449" y="223320"/>
                              <a:pt x="338569" y="223500"/>
                              <a:pt x="338628" y="223679"/>
                            </a:cubicBezTo>
                            <a:cubicBezTo>
                              <a:pt x="338748" y="223739"/>
                              <a:pt x="338808" y="223918"/>
                              <a:pt x="338868" y="224098"/>
                            </a:cubicBezTo>
                            <a:moveTo>
                              <a:pt x="335100" y="221526"/>
                            </a:moveTo>
                            <a:lnTo>
                              <a:pt x="337014" y="222842"/>
                            </a:lnTo>
                            <a:cubicBezTo>
                              <a:pt x="336894" y="222662"/>
                              <a:pt x="336774" y="222423"/>
                              <a:pt x="336655" y="222244"/>
                            </a:cubicBezTo>
                            <a:cubicBezTo>
                              <a:pt x="336535" y="222064"/>
                              <a:pt x="336416" y="221825"/>
                              <a:pt x="336236" y="221646"/>
                            </a:cubicBezTo>
                            <a:cubicBezTo>
                              <a:pt x="336117" y="221466"/>
                              <a:pt x="335937" y="221227"/>
                              <a:pt x="335818" y="221048"/>
                            </a:cubicBezTo>
                            <a:cubicBezTo>
                              <a:pt x="335698" y="220868"/>
                              <a:pt x="335519" y="220629"/>
                              <a:pt x="335339" y="220449"/>
                            </a:cubicBezTo>
                            <a:lnTo>
                              <a:pt x="331751" y="217997"/>
                            </a:lnTo>
                            <a:lnTo>
                              <a:pt x="331332" y="218476"/>
                            </a:lnTo>
                            <a:cubicBezTo>
                              <a:pt x="331691" y="218715"/>
                              <a:pt x="331990" y="219014"/>
                              <a:pt x="332289" y="219253"/>
                            </a:cubicBezTo>
                            <a:cubicBezTo>
                              <a:pt x="332588" y="219493"/>
                              <a:pt x="332947" y="219792"/>
                              <a:pt x="333246" y="220031"/>
                            </a:cubicBezTo>
                            <a:cubicBezTo>
                              <a:pt x="333545" y="220270"/>
                              <a:pt x="333844" y="220569"/>
                              <a:pt x="334143" y="220808"/>
                            </a:cubicBezTo>
                            <a:cubicBezTo>
                              <a:pt x="334502" y="220988"/>
                              <a:pt x="334801" y="221287"/>
                              <a:pt x="335100" y="221526"/>
                            </a:cubicBezTo>
                            <a:moveTo>
                              <a:pt x="286656" y="188453"/>
                            </a:moveTo>
                            <a:lnTo>
                              <a:pt x="321643" y="212316"/>
                            </a:lnTo>
                            <a:lnTo>
                              <a:pt x="322181" y="211598"/>
                            </a:lnTo>
                            <a:lnTo>
                              <a:pt x="322600" y="211837"/>
                            </a:lnTo>
                            <a:cubicBezTo>
                              <a:pt x="323318" y="212375"/>
                              <a:pt x="324095" y="212854"/>
                              <a:pt x="324813" y="213332"/>
                            </a:cubicBezTo>
                            <a:cubicBezTo>
                              <a:pt x="325531" y="213811"/>
                              <a:pt x="326189" y="214349"/>
                              <a:pt x="326907" y="214827"/>
                            </a:cubicBezTo>
                            <a:cubicBezTo>
                              <a:pt x="327564" y="215306"/>
                              <a:pt x="328222" y="215785"/>
                              <a:pt x="328880" y="216323"/>
                            </a:cubicBezTo>
                            <a:cubicBezTo>
                              <a:pt x="329538" y="216801"/>
                              <a:pt x="330136" y="217280"/>
                              <a:pt x="330734" y="217758"/>
                            </a:cubicBezTo>
                            <a:lnTo>
                              <a:pt x="331093" y="217340"/>
                            </a:lnTo>
                            <a:lnTo>
                              <a:pt x="287434" y="187495"/>
                            </a:lnTo>
                            <a:lnTo>
                              <a:pt x="286656" y="188453"/>
                            </a:lnTo>
                            <a:moveTo>
                              <a:pt x="273259" y="179302"/>
                            </a:moveTo>
                            <a:lnTo>
                              <a:pt x="285819" y="187914"/>
                            </a:lnTo>
                            <a:lnTo>
                              <a:pt x="286537" y="187017"/>
                            </a:lnTo>
                            <a:lnTo>
                              <a:pt x="273977" y="178405"/>
                            </a:lnTo>
                            <a:lnTo>
                              <a:pt x="273259" y="179302"/>
                            </a:lnTo>
                            <a:moveTo>
                              <a:pt x="262913" y="172245"/>
                            </a:moveTo>
                            <a:lnTo>
                              <a:pt x="272482" y="178764"/>
                            </a:lnTo>
                            <a:lnTo>
                              <a:pt x="273199" y="177867"/>
                            </a:lnTo>
                            <a:lnTo>
                              <a:pt x="263630" y="171348"/>
                            </a:lnTo>
                            <a:lnTo>
                              <a:pt x="262913" y="172245"/>
                            </a:lnTo>
                            <a:moveTo>
                              <a:pt x="137437" y="86601"/>
                            </a:moveTo>
                            <a:lnTo>
                              <a:pt x="262195" y="171767"/>
                            </a:lnTo>
                            <a:lnTo>
                              <a:pt x="262913" y="170869"/>
                            </a:lnTo>
                            <a:lnTo>
                              <a:pt x="137437" y="85106"/>
                            </a:lnTo>
                            <a:cubicBezTo>
                              <a:pt x="137437" y="85225"/>
                              <a:pt x="137437" y="85345"/>
                              <a:pt x="137437" y="85464"/>
                            </a:cubicBezTo>
                            <a:cubicBezTo>
                              <a:pt x="137437" y="85584"/>
                              <a:pt x="137437" y="85704"/>
                              <a:pt x="137437" y="85823"/>
                            </a:cubicBezTo>
                            <a:cubicBezTo>
                              <a:pt x="137437" y="85943"/>
                              <a:pt x="137437" y="86063"/>
                              <a:pt x="137437" y="86182"/>
                            </a:cubicBezTo>
                            <a:cubicBezTo>
                              <a:pt x="137437" y="86302"/>
                              <a:pt x="137437" y="86421"/>
                              <a:pt x="137437" y="86601"/>
                            </a:cubicBezTo>
                            <a:moveTo>
                              <a:pt x="134566" y="84627"/>
                            </a:moveTo>
                            <a:lnTo>
                              <a:pt x="136181" y="85764"/>
                            </a:lnTo>
                            <a:cubicBezTo>
                              <a:pt x="136181" y="85644"/>
                              <a:pt x="136181" y="85584"/>
                              <a:pt x="136181" y="85464"/>
                            </a:cubicBezTo>
                            <a:cubicBezTo>
                              <a:pt x="136181" y="85345"/>
                              <a:pt x="136181" y="85285"/>
                              <a:pt x="136181" y="85165"/>
                            </a:cubicBezTo>
                            <a:cubicBezTo>
                              <a:pt x="136181" y="85046"/>
                              <a:pt x="136181" y="84986"/>
                              <a:pt x="136181" y="84866"/>
                            </a:cubicBezTo>
                            <a:cubicBezTo>
                              <a:pt x="136181" y="84747"/>
                              <a:pt x="136181" y="84687"/>
                              <a:pt x="136181" y="84567"/>
                            </a:cubicBezTo>
                            <a:cubicBezTo>
                              <a:pt x="136181" y="84508"/>
                              <a:pt x="136181" y="84508"/>
                              <a:pt x="136181" y="84448"/>
                            </a:cubicBezTo>
                            <a:cubicBezTo>
                              <a:pt x="136181" y="84388"/>
                              <a:pt x="136181" y="84388"/>
                              <a:pt x="136181" y="84328"/>
                            </a:cubicBezTo>
                            <a:cubicBezTo>
                              <a:pt x="136181" y="84269"/>
                              <a:pt x="136181" y="84269"/>
                              <a:pt x="136181" y="84209"/>
                            </a:cubicBezTo>
                            <a:cubicBezTo>
                              <a:pt x="136181" y="84149"/>
                              <a:pt x="136181" y="84149"/>
                              <a:pt x="136181" y="84089"/>
                            </a:cubicBezTo>
                            <a:lnTo>
                              <a:pt x="134447" y="82893"/>
                            </a:lnTo>
                            <a:cubicBezTo>
                              <a:pt x="134447" y="83012"/>
                              <a:pt x="134507" y="83192"/>
                              <a:pt x="134507" y="83311"/>
                            </a:cubicBezTo>
                            <a:cubicBezTo>
                              <a:pt x="134507" y="83431"/>
                              <a:pt x="134507" y="83610"/>
                              <a:pt x="134566" y="83730"/>
                            </a:cubicBezTo>
                            <a:cubicBezTo>
                              <a:pt x="134626" y="83850"/>
                              <a:pt x="134566" y="84029"/>
                              <a:pt x="134626" y="84149"/>
                            </a:cubicBezTo>
                            <a:cubicBezTo>
                              <a:pt x="134566" y="84388"/>
                              <a:pt x="134566" y="84508"/>
                              <a:pt x="134566" y="84627"/>
                            </a:cubicBezTo>
                            <a:moveTo>
                              <a:pt x="129901" y="81457"/>
                            </a:moveTo>
                            <a:lnTo>
                              <a:pt x="133311" y="83790"/>
                            </a:lnTo>
                            <a:cubicBezTo>
                              <a:pt x="133311" y="83670"/>
                              <a:pt x="133251" y="83491"/>
                              <a:pt x="133251" y="83371"/>
                            </a:cubicBezTo>
                            <a:cubicBezTo>
                              <a:pt x="133251" y="83252"/>
                              <a:pt x="133191" y="83072"/>
                              <a:pt x="133191" y="82953"/>
                            </a:cubicBezTo>
                            <a:cubicBezTo>
                              <a:pt x="133191" y="82833"/>
                              <a:pt x="133131" y="82654"/>
                              <a:pt x="133131" y="82534"/>
                            </a:cubicBezTo>
                            <a:cubicBezTo>
                              <a:pt x="133131" y="82415"/>
                              <a:pt x="133071" y="82235"/>
                              <a:pt x="133071" y="82115"/>
                            </a:cubicBezTo>
                            <a:lnTo>
                              <a:pt x="129363" y="79544"/>
                            </a:lnTo>
                            <a:cubicBezTo>
                              <a:pt x="129423" y="79723"/>
                              <a:pt x="129483" y="79842"/>
                              <a:pt x="129543" y="80022"/>
                            </a:cubicBezTo>
                            <a:cubicBezTo>
                              <a:pt x="129603" y="80202"/>
                              <a:pt x="129662" y="80321"/>
                              <a:pt x="129662" y="80501"/>
                            </a:cubicBezTo>
                            <a:cubicBezTo>
                              <a:pt x="129722" y="80680"/>
                              <a:pt x="129782" y="80800"/>
                              <a:pt x="129782" y="80979"/>
                            </a:cubicBezTo>
                            <a:cubicBezTo>
                              <a:pt x="129842" y="81158"/>
                              <a:pt x="129842" y="81278"/>
                              <a:pt x="129901" y="81457"/>
                            </a:cubicBezTo>
                            <a:moveTo>
                              <a:pt x="125895" y="78706"/>
                            </a:moveTo>
                            <a:lnTo>
                              <a:pt x="128346" y="80381"/>
                            </a:lnTo>
                            <a:cubicBezTo>
                              <a:pt x="128287" y="80202"/>
                              <a:pt x="128227" y="80022"/>
                              <a:pt x="128167" y="79842"/>
                            </a:cubicBezTo>
                            <a:cubicBezTo>
                              <a:pt x="128107" y="79663"/>
                              <a:pt x="128047" y="79484"/>
                              <a:pt x="127988" y="79304"/>
                            </a:cubicBezTo>
                            <a:cubicBezTo>
                              <a:pt x="127928" y="79125"/>
                              <a:pt x="127868" y="78946"/>
                              <a:pt x="127749" y="78766"/>
                            </a:cubicBezTo>
                            <a:cubicBezTo>
                              <a:pt x="127689" y="78587"/>
                              <a:pt x="127569" y="78407"/>
                              <a:pt x="127509" y="78228"/>
                            </a:cubicBezTo>
                            <a:lnTo>
                              <a:pt x="124579" y="76194"/>
                            </a:lnTo>
                            <a:cubicBezTo>
                              <a:pt x="124698" y="76374"/>
                              <a:pt x="124818" y="76613"/>
                              <a:pt x="124937" y="76793"/>
                            </a:cubicBezTo>
                            <a:cubicBezTo>
                              <a:pt x="125057" y="76972"/>
                              <a:pt x="125176" y="77211"/>
                              <a:pt x="125296" y="77391"/>
                            </a:cubicBezTo>
                            <a:cubicBezTo>
                              <a:pt x="125416" y="77570"/>
                              <a:pt x="125536" y="77809"/>
                              <a:pt x="125595" y="77988"/>
                            </a:cubicBezTo>
                            <a:cubicBezTo>
                              <a:pt x="125655" y="78288"/>
                              <a:pt x="125775" y="78467"/>
                              <a:pt x="125895" y="78706"/>
                            </a:cubicBezTo>
                            <a:moveTo>
                              <a:pt x="121169" y="75477"/>
                            </a:moveTo>
                            <a:lnTo>
                              <a:pt x="123562" y="77092"/>
                            </a:lnTo>
                            <a:cubicBezTo>
                              <a:pt x="123382" y="76852"/>
                              <a:pt x="123263" y="76613"/>
                              <a:pt x="123083" y="76374"/>
                            </a:cubicBezTo>
                            <a:cubicBezTo>
                              <a:pt x="122904" y="76134"/>
                              <a:pt x="122725" y="75895"/>
                              <a:pt x="122605" y="75656"/>
                            </a:cubicBezTo>
                            <a:cubicBezTo>
                              <a:pt x="122426" y="75417"/>
                              <a:pt x="122246" y="75178"/>
                              <a:pt x="122067" y="74939"/>
                            </a:cubicBezTo>
                            <a:cubicBezTo>
                              <a:pt x="121887" y="74699"/>
                              <a:pt x="121708" y="74460"/>
                              <a:pt x="121468" y="74221"/>
                            </a:cubicBezTo>
                            <a:lnTo>
                              <a:pt x="112258" y="67881"/>
                            </a:lnTo>
                            <a:lnTo>
                              <a:pt x="112019" y="68180"/>
                            </a:lnTo>
                            <a:cubicBezTo>
                              <a:pt x="112856" y="68838"/>
                              <a:pt x="113753" y="69436"/>
                              <a:pt x="114531" y="70094"/>
                            </a:cubicBezTo>
                            <a:cubicBezTo>
                              <a:pt x="115368" y="70692"/>
                              <a:pt x="116146" y="71350"/>
                              <a:pt x="116923" y="71948"/>
                            </a:cubicBezTo>
                            <a:cubicBezTo>
                              <a:pt x="117701" y="72546"/>
                              <a:pt x="118419" y="73144"/>
                              <a:pt x="119136" y="73742"/>
                            </a:cubicBezTo>
                            <a:cubicBezTo>
                              <a:pt x="119794" y="74340"/>
                              <a:pt x="120512" y="74939"/>
                              <a:pt x="121169" y="75477"/>
                            </a:cubicBezTo>
                            <a:moveTo>
                              <a:pt x="54724" y="30143"/>
                            </a:moveTo>
                            <a:lnTo>
                              <a:pt x="104364" y="64054"/>
                            </a:lnTo>
                            <a:lnTo>
                              <a:pt x="104962" y="63276"/>
                            </a:lnTo>
                            <a:lnTo>
                              <a:pt x="105440" y="63575"/>
                            </a:lnTo>
                            <a:cubicBezTo>
                              <a:pt x="105919" y="63934"/>
                              <a:pt x="106397" y="64233"/>
                              <a:pt x="106875" y="64592"/>
                            </a:cubicBezTo>
                            <a:cubicBezTo>
                              <a:pt x="107354" y="64951"/>
                              <a:pt x="107833" y="65250"/>
                              <a:pt x="108311" y="65609"/>
                            </a:cubicBezTo>
                            <a:cubicBezTo>
                              <a:pt x="108789" y="65968"/>
                              <a:pt x="109268" y="66266"/>
                              <a:pt x="109687" y="66565"/>
                            </a:cubicBezTo>
                            <a:cubicBezTo>
                              <a:pt x="110165" y="66864"/>
                              <a:pt x="110584" y="67223"/>
                              <a:pt x="111062" y="67522"/>
                            </a:cubicBezTo>
                            <a:lnTo>
                              <a:pt x="111302" y="67223"/>
                            </a:lnTo>
                            <a:lnTo>
                              <a:pt x="55561" y="29126"/>
                            </a:lnTo>
                            <a:lnTo>
                              <a:pt x="54724" y="30143"/>
                            </a:lnTo>
                            <a:moveTo>
                              <a:pt x="37559" y="18421"/>
                            </a:moveTo>
                            <a:lnTo>
                              <a:pt x="53707" y="29425"/>
                            </a:lnTo>
                            <a:lnTo>
                              <a:pt x="54544" y="28408"/>
                            </a:lnTo>
                            <a:lnTo>
                              <a:pt x="38397" y="17404"/>
                            </a:lnTo>
                            <a:lnTo>
                              <a:pt x="37559" y="18421"/>
                            </a:lnTo>
                            <a:moveTo>
                              <a:pt x="24342" y="9390"/>
                            </a:moveTo>
                            <a:lnTo>
                              <a:pt x="36602" y="17763"/>
                            </a:lnTo>
                            <a:lnTo>
                              <a:pt x="37439" y="16746"/>
                            </a:lnTo>
                            <a:lnTo>
                              <a:pt x="25179" y="8373"/>
                            </a:lnTo>
                            <a:lnTo>
                              <a:pt x="24342" y="9390"/>
                            </a:lnTo>
                            <a:moveTo>
                              <a:pt x="7177" y="7177"/>
                            </a:moveTo>
                            <a:lnTo>
                              <a:pt x="8194" y="7835"/>
                            </a:lnTo>
                            <a:lnTo>
                              <a:pt x="13098" y="1675"/>
                            </a:lnTo>
                            <a:lnTo>
                              <a:pt x="23325" y="8672"/>
                            </a:lnTo>
                            <a:lnTo>
                              <a:pt x="24162" y="7655"/>
                            </a:lnTo>
                            <a:lnTo>
                              <a:pt x="12919" y="0"/>
                            </a:lnTo>
                            <a:lnTo>
                              <a:pt x="7177" y="7177"/>
                            </a:lnTo>
                            <a:moveTo>
                              <a:pt x="628335" y="437968"/>
                            </a:moveTo>
                            <a:lnTo>
                              <a:pt x="652258" y="453997"/>
                            </a:lnTo>
                            <a:lnTo>
                              <a:pt x="661049" y="442872"/>
                            </a:lnTo>
                            <a:lnTo>
                              <a:pt x="631684" y="422837"/>
                            </a:lnTo>
                            <a:cubicBezTo>
                              <a:pt x="631684" y="422897"/>
                              <a:pt x="631684" y="423016"/>
                              <a:pt x="631624" y="423076"/>
                            </a:cubicBezTo>
                            <a:cubicBezTo>
                              <a:pt x="631624" y="423136"/>
                              <a:pt x="631624" y="423256"/>
                              <a:pt x="631565" y="423316"/>
                            </a:cubicBezTo>
                            <a:cubicBezTo>
                              <a:pt x="631565" y="423375"/>
                              <a:pt x="631505" y="423495"/>
                              <a:pt x="631505" y="423555"/>
                            </a:cubicBezTo>
                            <a:cubicBezTo>
                              <a:pt x="631505" y="423615"/>
                              <a:pt x="631445" y="423734"/>
                              <a:pt x="631445" y="423794"/>
                            </a:cubicBezTo>
                            <a:lnTo>
                              <a:pt x="659913" y="443231"/>
                            </a:lnTo>
                            <a:lnTo>
                              <a:pt x="656564" y="447478"/>
                            </a:lnTo>
                            <a:lnTo>
                              <a:pt x="657042" y="447777"/>
                            </a:lnTo>
                            <a:lnTo>
                              <a:pt x="654411" y="451126"/>
                            </a:lnTo>
                            <a:lnTo>
                              <a:pt x="653932" y="450827"/>
                            </a:lnTo>
                            <a:lnTo>
                              <a:pt x="652258" y="452920"/>
                            </a:lnTo>
                            <a:lnTo>
                              <a:pt x="628634" y="437011"/>
                            </a:lnTo>
                            <a:cubicBezTo>
                              <a:pt x="628634" y="437071"/>
                              <a:pt x="628574" y="437131"/>
                              <a:pt x="628574" y="437250"/>
                            </a:cubicBezTo>
                            <a:cubicBezTo>
                              <a:pt x="628514" y="437310"/>
                              <a:pt x="628514" y="437370"/>
                              <a:pt x="628454" y="437490"/>
                            </a:cubicBezTo>
                            <a:cubicBezTo>
                              <a:pt x="628395" y="437550"/>
                              <a:pt x="628395" y="437609"/>
                              <a:pt x="628335" y="437729"/>
                            </a:cubicBezTo>
                            <a:cubicBezTo>
                              <a:pt x="628395" y="437789"/>
                              <a:pt x="628395" y="437849"/>
                              <a:pt x="628335" y="437968"/>
                            </a:cubicBezTo>
                            <a:moveTo>
                              <a:pt x="627079" y="437131"/>
                            </a:moveTo>
                            <a:lnTo>
                              <a:pt x="627797" y="437609"/>
                            </a:lnTo>
                            <a:cubicBezTo>
                              <a:pt x="627857" y="437550"/>
                              <a:pt x="627857" y="437490"/>
                              <a:pt x="627916" y="437370"/>
                            </a:cubicBezTo>
                            <a:cubicBezTo>
                              <a:pt x="627976" y="437310"/>
                              <a:pt x="627976" y="437250"/>
                              <a:pt x="628036" y="437131"/>
                            </a:cubicBezTo>
                            <a:cubicBezTo>
                              <a:pt x="628096" y="437071"/>
                              <a:pt x="628096" y="437011"/>
                              <a:pt x="628096" y="436892"/>
                            </a:cubicBezTo>
                            <a:cubicBezTo>
                              <a:pt x="628096" y="436832"/>
                              <a:pt x="628155" y="436772"/>
                              <a:pt x="628155" y="436653"/>
                            </a:cubicBezTo>
                            <a:lnTo>
                              <a:pt x="627438" y="436174"/>
                            </a:lnTo>
                            <a:cubicBezTo>
                              <a:pt x="627438" y="436234"/>
                              <a:pt x="627378" y="436294"/>
                              <a:pt x="627378" y="436413"/>
                            </a:cubicBezTo>
                            <a:cubicBezTo>
                              <a:pt x="627378" y="436473"/>
                              <a:pt x="627318" y="436533"/>
                              <a:pt x="627318" y="436653"/>
                            </a:cubicBezTo>
                            <a:cubicBezTo>
                              <a:pt x="627318" y="436712"/>
                              <a:pt x="627258" y="436772"/>
                              <a:pt x="627258" y="436892"/>
                            </a:cubicBezTo>
                            <a:cubicBezTo>
                              <a:pt x="627139" y="436951"/>
                              <a:pt x="627139" y="437011"/>
                              <a:pt x="627079" y="437131"/>
                            </a:cubicBezTo>
                            <a:moveTo>
                              <a:pt x="625703" y="436174"/>
                            </a:moveTo>
                            <a:lnTo>
                              <a:pt x="626541" y="436772"/>
                            </a:lnTo>
                            <a:cubicBezTo>
                              <a:pt x="626541" y="436712"/>
                              <a:pt x="626600" y="436593"/>
                              <a:pt x="626600" y="436533"/>
                            </a:cubicBezTo>
                            <a:cubicBezTo>
                              <a:pt x="626600" y="436473"/>
                              <a:pt x="626660" y="436354"/>
                              <a:pt x="626660" y="436294"/>
                            </a:cubicBezTo>
                            <a:cubicBezTo>
                              <a:pt x="626660" y="436234"/>
                              <a:pt x="626720" y="436114"/>
                              <a:pt x="626720" y="436055"/>
                            </a:cubicBezTo>
                            <a:cubicBezTo>
                              <a:pt x="626720" y="435995"/>
                              <a:pt x="626780" y="435875"/>
                              <a:pt x="626780" y="435815"/>
                            </a:cubicBezTo>
                            <a:lnTo>
                              <a:pt x="626122" y="435396"/>
                            </a:lnTo>
                            <a:cubicBezTo>
                              <a:pt x="626062" y="435456"/>
                              <a:pt x="626062" y="435516"/>
                              <a:pt x="626002" y="435576"/>
                            </a:cubicBezTo>
                            <a:cubicBezTo>
                              <a:pt x="625943" y="435636"/>
                              <a:pt x="625943" y="435695"/>
                              <a:pt x="625883" y="435755"/>
                            </a:cubicBezTo>
                            <a:cubicBezTo>
                              <a:pt x="625823" y="435815"/>
                              <a:pt x="625823" y="435875"/>
                              <a:pt x="625763" y="435935"/>
                            </a:cubicBezTo>
                            <a:cubicBezTo>
                              <a:pt x="625763" y="436055"/>
                              <a:pt x="625703" y="436114"/>
                              <a:pt x="625703" y="436174"/>
                            </a:cubicBezTo>
                            <a:moveTo>
                              <a:pt x="624507" y="435396"/>
                            </a:moveTo>
                            <a:lnTo>
                              <a:pt x="625165" y="435875"/>
                            </a:lnTo>
                            <a:cubicBezTo>
                              <a:pt x="625225" y="435815"/>
                              <a:pt x="625225" y="435755"/>
                              <a:pt x="625285" y="435695"/>
                            </a:cubicBezTo>
                            <a:cubicBezTo>
                              <a:pt x="625344" y="435636"/>
                              <a:pt x="625344" y="435576"/>
                              <a:pt x="625404" y="435516"/>
                            </a:cubicBezTo>
                            <a:cubicBezTo>
                              <a:pt x="625464" y="435456"/>
                              <a:pt x="625464" y="435396"/>
                              <a:pt x="625524" y="435337"/>
                            </a:cubicBezTo>
                            <a:cubicBezTo>
                              <a:pt x="625584" y="435277"/>
                              <a:pt x="625584" y="435217"/>
                              <a:pt x="625644" y="435157"/>
                            </a:cubicBezTo>
                            <a:lnTo>
                              <a:pt x="624986" y="434679"/>
                            </a:lnTo>
                            <a:cubicBezTo>
                              <a:pt x="624926" y="434739"/>
                              <a:pt x="624926" y="434799"/>
                              <a:pt x="624866" y="434858"/>
                            </a:cubicBezTo>
                            <a:cubicBezTo>
                              <a:pt x="624806" y="434918"/>
                              <a:pt x="624806" y="434978"/>
                              <a:pt x="624746" y="435038"/>
                            </a:cubicBezTo>
                            <a:cubicBezTo>
                              <a:pt x="624687" y="435097"/>
                              <a:pt x="624687" y="435157"/>
                              <a:pt x="624627" y="435217"/>
                            </a:cubicBezTo>
                            <a:cubicBezTo>
                              <a:pt x="624567" y="435217"/>
                              <a:pt x="624567" y="435277"/>
                              <a:pt x="624507" y="435396"/>
                            </a:cubicBezTo>
                            <a:moveTo>
                              <a:pt x="622474" y="434021"/>
                            </a:moveTo>
                            <a:lnTo>
                              <a:pt x="623969" y="435038"/>
                            </a:lnTo>
                            <a:cubicBezTo>
                              <a:pt x="624029" y="434978"/>
                              <a:pt x="624029" y="434918"/>
                              <a:pt x="624089" y="434858"/>
                            </a:cubicBezTo>
                            <a:cubicBezTo>
                              <a:pt x="624148" y="434799"/>
                              <a:pt x="624148" y="434739"/>
                              <a:pt x="624208" y="434679"/>
                            </a:cubicBezTo>
                            <a:cubicBezTo>
                              <a:pt x="624268" y="434619"/>
                              <a:pt x="624268" y="434559"/>
                              <a:pt x="624328" y="434500"/>
                            </a:cubicBezTo>
                            <a:cubicBezTo>
                              <a:pt x="624388" y="434440"/>
                              <a:pt x="624388" y="434380"/>
                              <a:pt x="624447" y="434320"/>
                            </a:cubicBezTo>
                            <a:lnTo>
                              <a:pt x="622952" y="433303"/>
                            </a:lnTo>
                            <a:cubicBezTo>
                              <a:pt x="622892" y="433363"/>
                              <a:pt x="622892" y="433423"/>
                              <a:pt x="622833" y="433483"/>
                            </a:cubicBezTo>
                            <a:cubicBezTo>
                              <a:pt x="622773" y="433542"/>
                              <a:pt x="622713" y="433602"/>
                              <a:pt x="622713" y="433662"/>
                            </a:cubicBezTo>
                            <a:cubicBezTo>
                              <a:pt x="622713" y="433722"/>
                              <a:pt x="622593" y="433782"/>
                              <a:pt x="622593" y="433841"/>
                            </a:cubicBezTo>
                            <a:cubicBezTo>
                              <a:pt x="622593" y="433901"/>
                              <a:pt x="622534" y="433961"/>
                              <a:pt x="622474" y="434021"/>
                            </a:cubicBezTo>
                            <a:moveTo>
                              <a:pt x="621337" y="433243"/>
                            </a:moveTo>
                            <a:lnTo>
                              <a:pt x="621995" y="433662"/>
                            </a:lnTo>
                            <a:cubicBezTo>
                              <a:pt x="622055" y="433602"/>
                              <a:pt x="622115" y="433542"/>
                              <a:pt x="622115" y="433483"/>
                            </a:cubicBezTo>
                            <a:cubicBezTo>
                              <a:pt x="622175" y="433423"/>
                              <a:pt x="622235" y="433363"/>
                              <a:pt x="622235" y="433303"/>
                            </a:cubicBezTo>
                            <a:cubicBezTo>
                              <a:pt x="622294" y="433243"/>
                              <a:pt x="622354" y="433184"/>
                              <a:pt x="622354" y="433124"/>
                            </a:cubicBezTo>
                            <a:cubicBezTo>
                              <a:pt x="622414" y="433064"/>
                              <a:pt x="622414" y="433004"/>
                              <a:pt x="622474" y="432945"/>
                            </a:cubicBezTo>
                            <a:lnTo>
                              <a:pt x="621816" y="432526"/>
                            </a:lnTo>
                            <a:cubicBezTo>
                              <a:pt x="621756" y="432586"/>
                              <a:pt x="621756" y="432646"/>
                              <a:pt x="621696" y="432705"/>
                            </a:cubicBezTo>
                            <a:cubicBezTo>
                              <a:pt x="621636" y="432765"/>
                              <a:pt x="621636" y="432825"/>
                              <a:pt x="621576" y="432885"/>
                            </a:cubicBezTo>
                            <a:cubicBezTo>
                              <a:pt x="621517" y="432945"/>
                              <a:pt x="621457" y="433004"/>
                              <a:pt x="621457" y="433064"/>
                            </a:cubicBezTo>
                            <a:cubicBezTo>
                              <a:pt x="621397" y="433124"/>
                              <a:pt x="621337" y="433184"/>
                              <a:pt x="621337" y="433243"/>
                            </a:cubicBezTo>
                            <a:moveTo>
                              <a:pt x="609137" y="425050"/>
                            </a:moveTo>
                            <a:lnTo>
                              <a:pt x="620799" y="432885"/>
                            </a:lnTo>
                            <a:cubicBezTo>
                              <a:pt x="620859" y="432825"/>
                              <a:pt x="620919" y="432765"/>
                              <a:pt x="620919" y="432705"/>
                            </a:cubicBezTo>
                            <a:cubicBezTo>
                              <a:pt x="620919" y="432646"/>
                              <a:pt x="621038" y="432586"/>
                              <a:pt x="621038" y="432526"/>
                            </a:cubicBezTo>
                            <a:cubicBezTo>
                              <a:pt x="621098" y="432466"/>
                              <a:pt x="621158" y="432406"/>
                              <a:pt x="621158" y="432346"/>
                            </a:cubicBezTo>
                            <a:cubicBezTo>
                              <a:pt x="621158" y="432287"/>
                              <a:pt x="621218" y="432227"/>
                              <a:pt x="621277" y="432167"/>
                            </a:cubicBezTo>
                            <a:lnTo>
                              <a:pt x="609675" y="424392"/>
                            </a:lnTo>
                            <a:lnTo>
                              <a:pt x="609137" y="425050"/>
                            </a:lnTo>
                            <a:moveTo>
                              <a:pt x="578276" y="404356"/>
                            </a:moveTo>
                            <a:lnTo>
                              <a:pt x="608658" y="424751"/>
                            </a:lnTo>
                            <a:lnTo>
                              <a:pt x="609256" y="424033"/>
                            </a:lnTo>
                            <a:lnTo>
                              <a:pt x="578934" y="403639"/>
                            </a:lnTo>
                            <a:lnTo>
                              <a:pt x="578276" y="404356"/>
                            </a:lnTo>
                            <a:moveTo>
                              <a:pt x="569066" y="398137"/>
                            </a:moveTo>
                            <a:lnTo>
                              <a:pt x="577738" y="403938"/>
                            </a:lnTo>
                            <a:lnTo>
                              <a:pt x="578336" y="403161"/>
                            </a:lnTo>
                            <a:lnTo>
                              <a:pt x="569664" y="397299"/>
                            </a:lnTo>
                            <a:lnTo>
                              <a:pt x="569066" y="398137"/>
                            </a:lnTo>
                            <a:moveTo>
                              <a:pt x="561949" y="393352"/>
                            </a:moveTo>
                            <a:lnTo>
                              <a:pt x="568527" y="397778"/>
                            </a:lnTo>
                            <a:lnTo>
                              <a:pt x="569126" y="397000"/>
                            </a:lnTo>
                            <a:lnTo>
                              <a:pt x="562547" y="392575"/>
                            </a:lnTo>
                            <a:lnTo>
                              <a:pt x="561949" y="393352"/>
                            </a:lnTo>
                            <a:moveTo>
                              <a:pt x="346942" y="249097"/>
                            </a:moveTo>
                            <a:lnTo>
                              <a:pt x="561351" y="392993"/>
                            </a:lnTo>
                            <a:lnTo>
                              <a:pt x="561949" y="392216"/>
                            </a:lnTo>
                            <a:lnTo>
                              <a:pt x="347241" y="247961"/>
                            </a:lnTo>
                            <a:cubicBezTo>
                              <a:pt x="347241" y="248080"/>
                              <a:pt x="347181" y="248140"/>
                              <a:pt x="347181" y="248260"/>
                            </a:cubicBezTo>
                            <a:cubicBezTo>
                              <a:pt x="347181" y="248380"/>
                              <a:pt x="347121" y="248439"/>
                              <a:pt x="347121" y="248559"/>
                            </a:cubicBezTo>
                            <a:cubicBezTo>
                              <a:pt x="347121" y="248678"/>
                              <a:pt x="347062" y="248738"/>
                              <a:pt x="347062" y="248858"/>
                            </a:cubicBezTo>
                            <a:cubicBezTo>
                              <a:pt x="347002" y="248918"/>
                              <a:pt x="347002" y="249037"/>
                              <a:pt x="346942" y="249097"/>
                            </a:cubicBezTo>
                            <a:moveTo>
                              <a:pt x="345028" y="247841"/>
                            </a:moveTo>
                            <a:lnTo>
                              <a:pt x="346104" y="248559"/>
                            </a:lnTo>
                            <a:cubicBezTo>
                              <a:pt x="346104" y="248439"/>
                              <a:pt x="346164" y="248380"/>
                              <a:pt x="346164" y="248260"/>
                            </a:cubicBezTo>
                            <a:cubicBezTo>
                              <a:pt x="346164" y="248140"/>
                              <a:pt x="346224" y="248080"/>
                              <a:pt x="346224" y="247961"/>
                            </a:cubicBezTo>
                            <a:cubicBezTo>
                              <a:pt x="346224" y="247841"/>
                              <a:pt x="346284" y="247781"/>
                              <a:pt x="346284" y="247662"/>
                            </a:cubicBezTo>
                            <a:cubicBezTo>
                              <a:pt x="346284" y="247542"/>
                              <a:pt x="346344" y="247482"/>
                              <a:pt x="346344" y="247363"/>
                            </a:cubicBezTo>
                            <a:lnTo>
                              <a:pt x="345207" y="246585"/>
                            </a:lnTo>
                            <a:cubicBezTo>
                              <a:pt x="345207" y="246705"/>
                              <a:pt x="345148" y="246765"/>
                              <a:pt x="345148" y="246884"/>
                            </a:cubicBezTo>
                            <a:cubicBezTo>
                              <a:pt x="345148" y="247004"/>
                              <a:pt x="345088" y="247064"/>
                              <a:pt x="345088" y="247183"/>
                            </a:cubicBezTo>
                            <a:cubicBezTo>
                              <a:pt x="345088" y="247303"/>
                              <a:pt x="345028" y="247363"/>
                              <a:pt x="345028" y="247482"/>
                            </a:cubicBezTo>
                            <a:cubicBezTo>
                              <a:pt x="345088" y="247662"/>
                              <a:pt x="345088" y="247721"/>
                              <a:pt x="345028" y="247841"/>
                            </a:cubicBezTo>
                            <a:moveTo>
                              <a:pt x="343353" y="246705"/>
                            </a:moveTo>
                            <a:lnTo>
                              <a:pt x="344191" y="247303"/>
                            </a:lnTo>
                            <a:cubicBezTo>
                              <a:pt x="344191" y="247183"/>
                              <a:pt x="344250" y="247123"/>
                              <a:pt x="344250" y="247004"/>
                            </a:cubicBezTo>
                            <a:cubicBezTo>
                              <a:pt x="344250" y="246884"/>
                              <a:pt x="344310" y="246824"/>
                              <a:pt x="344310" y="246705"/>
                            </a:cubicBezTo>
                            <a:cubicBezTo>
                              <a:pt x="344310" y="246585"/>
                              <a:pt x="344370" y="246526"/>
                              <a:pt x="344370" y="246406"/>
                            </a:cubicBezTo>
                            <a:cubicBezTo>
                              <a:pt x="344370" y="246286"/>
                              <a:pt x="344370" y="246226"/>
                              <a:pt x="344430" y="246107"/>
                            </a:cubicBezTo>
                            <a:lnTo>
                              <a:pt x="343951" y="245748"/>
                            </a:lnTo>
                            <a:cubicBezTo>
                              <a:pt x="343892" y="245808"/>
                              <a:pt x="343892" y="245927"/>
                              <a:pt x="343832" y="245987"/>
                            </a:cubicBezTo>
                            <a:cubicBezTo>
                              <a:pt x="343772" y="246047"/>
                              <a:pt x="343772" y="246167"/>
                              <a:pt x="343712" y="246226"/>
                            </a:cubicBezTo>
                            <a:cubicBezTo>
                              <a:pt x="343652" y="246286"/>
                              <a:pt x="343652" y="246406"/>
                              <a:pt x="343593" y="246466"/>
                            </a:cubicBezTo>
                            <a:cubicBezTo>
                              <a:pt x="343533" y="246526"/>
                              <a:pt x="343413" y="246585"/>
                              <a:pt x="343353" y="246705"/>
                            </a:cubicBezTo>
                            <a:moveTo>
                              <a:pt x="341619" y="245509"/>
                            </a:moveTo>
                            <a:lnTo>
                              <a:pt x="342576" y="246167"/>
                            </a:lnTo>
                            <a:cubicBezTo>
                              <a:pt x="342636" y="246107"/>
                              <a:pt x="342696" y="245987"/>
                              <a:pt x="342696" y="245927"/>
                            </a:cubicBezTo>
                            <a:cubicBezTo>
                              <a:pt x="342755" y="245867"/>
                              <a:pt x="342755" y="245748"/>
                              <a:pt x="342815" y="245688"/>
                            </a:cubicBezTo>
                            <a:cubicBezTo>
                              <a:pt x="342875" y="245628"/>
                              <a:pt x="342875" y="245509"/>
                              <a:pt x="342935" y="245449"/>
                            </a:cubicBezTo>
                            <a:cubicBezTo>
                              <a:pt x="342995" y="245389"/>
                              <a:pt x="342995" y="245269"/>
                              <a:pt x="343055" y="245210"/>
                            </a:cubicBezTo>
                            <a:lnTo>
                              <a:pt x="342097" y="244552"/>
                            </a:lnTo>
                            <a:cubicBezTo>
                              <a:pt x="342038" y="244612"/>
                              <a:pt x="342038" y="244731"/>
                              <a:pt x="341978" y="244791"/>
                            </a:cubicBezTo>
                            <a:cubicBezTo>
                              <a:pt x="341918" y="244851"/>
                              <a:pt x="341918" y="244970"/>
                              <a:pt x="341858" y="245030"/>
                            </a:cubicBezTo>
                            <a:cubicBezTo>
                              <a:pt x="341798" y="245090"/>
                              <a:pt x="341798" y="245210"/>
                              <a:pt x="341739" y="245269"/>
                            </a:cubicBezTo>
                            <a:cubicBezTo>
                              <a:pt x="341739" y="245389"/>
                              <a:pt x="341679" y="245449"/>
                              <a:pt x="341619" y="245509"/>
                            </a:cubicBezTo>
                            <a:moveTo>
                              <a:pt x="338569" y="243475"/>
                            </a:moveTo>
                            <a:lnTo>
                              <a:pt x="340842" y="245030"/>
                            </a:lnTo>
                            <a:cubicBezTo>
                              <a:pt x="340901" y="244970"/>
                              <a:pt x="340901" y="244851"/>
                              <a:pt x="340961" y="244791"/>
                            </a:cubicBezTo>
                            <a:cubicBezTo>
                              <a:pt x="341021" y="244731"/>
                              <a:pt x="341021" y="244612"/>
                              <a:pt x="341081" y="244552"/>
                            </a:cubicBezTo>
                            <a:cubicBezTo>
                              <a:pt x="341141" y="244492"/>
                              <a:pt x="341141" y="244372"/>
                              <a:pt x="341201" y="244312"/>
                            </a:cubicBezTo>
                            <a:cubicBezTo>
                              <a:pt x="341260" y="244253"/>
                              <a:pt x="341260" y="244133"/>
                              <a:pt x="341320" y="244073"/>
                            </a:cubicBezTo>
                            <a:lnTo>
                              <a:pt x="339047" y="242578"/>
                            </a:lnTo>
                            <a:cubicBezTo>
                              <a:pt x="338987" y="242638"/>
                              <a:pt x="338987" y="242758"/>
                              <a:pt x="338928" y="242817"/>
                            </a:cubicBezTo>
                            <a:cubicBezTo>
                              <a:pt x="338868" y="242877"/>
                              <a:pt x="338808" y="242997"/>
                              <a:pt x="338808" y="243057"/>
                            </a:cubicBezTo>
                            <a:cubicBezTo>
                              <a:pt x="338748" y="243116"/>
                              <a:pt x="338688" y="243236"/>
                              <a:pt x="338688" y="243296"/>
                            </a:cubicBezTo>
                            <a:cubicBezTo>
                              <a:pt x="338688" y="243356"/>
                              <a:pt x="338628" y="243415"/>
                              <a:pt x="338569" y="243475"/>
                            </a:cubicBezTo>
                            <a:moveTo>
                              <a:pt x="336834" y="242339"/>
                            </a:moveTo>
                            <a:lnTo>
                              <a:pt x="337791" y="242997"/>
                            </a:lnTo>
                            <a:cubicBezTo>
                              <a:pt x="337851" y="242937"/>
                              <a:pt x="337911" y="242817"/>
                              <a:pt x="337911" y="242758"/>
                            </a:cubicBezTo>
                            <a:cubicBezTo>
                              <a:pt x="337971" y="242698"/>
                              <a:pt x="338031" y="242578"/>
                              <a:pt x="338031" y="242518"/>
                            </a:cubicBezTo>
                            <a:cubicBezTo>
                              <a:pt x="338090" y="242458"/>
                              <a:pt x="338150" y="242339"/>
                              <a:pt x="338150" y="242279"/>
                            </a:cubicBezTo>
                            <a:cubicBezTo>
                              <a:pt x="338210" y="242219"/>
                              <a:pt x="338210" y="242099"/>
                              <a:pt x="338270" y="242040"/>
                            </a:cubicBezTo>
                            <a:lnTo>
                              <a:pt x="337313" y="241382"/>
                            </a:lnTo>
                            <a:cubicBezTo>
                              <a:pt x="337253" y="241442"/>
                              <a:pt x="337253" y="241561"/>
                              <a:pt x="337193" y="241621"/>
                            </a:cubicBezTo>
                            <a:cubicBezTo>
                              <a:pt x="337133" y="241681"/>
                              <a:pt x="337133" y="241801"/>
                              <a:pt x="337074" y="241860"/>
                            </a:cubicBezTo>
                            <a:cubicBezTo>
                              <a:pt x="337014" y="241920"/>
                              <a:pt x="337014" y="242040"/>
                              <a:pt x="336954" y="242099"/>
                            </a:cubicBezTo>
                            <a:cubicBezTo>
                              <a:pt x="336954" y="242159"/>
                              <a:pt x="336894" y="242279"/>
                              <a:pt x="336834" y="242339"/>
                            </a:cubicBezTo>
                            <a:moveTo>
                              <a:pt x="320926" y="231633"/>
                            </a:moveTo>
                            <a:lnTo>
                              <a:pt x="336117" y="241860"/>
                            </a:lnTo>
                            <a:cubicBezTo>
                              <a:pt x="336177" y="241801"/>
                              <a:pt x="336236" y="241681"/>
                              <a:pt x="336236" y="241621"/>
                            </a:cubicBezTo>
                            <a:cubicBezTo>
                              <a:pt x="336296" y="241561"/>
                              <a:pt x="336296" y="241442"/>
                              <a:pt x="336356" y="241382"/>
                            </a:cubicBezTo>
                            <a:cubicBezTo>
                              <a:pt x="336416" y="241322"/>
                              <a:pt x="336416" y="241203"/>
                              <a:pt x="336476" y="241143"/>
                            </a:cubicBezTo>
                            <a:cubicBezTo>
                              <a:pt x="336535" y="241083"/>
                              <a:pt x="336535" y="240963"/>
                              <a:pt x="336595" y="240904"/>
                            </a:cubicBezTo>
                            <a:lnTo>
                              <a:pt x="321584" y="230796"/>
                            </a:lnTo>
                            <a:lnTo>
                              <a:pt x="320926" y="231633"/>
                            </a:lnTo>
                            <a:moveTo>
                              <a:pt x="276190" y="201610"/>
                            </a:moveTo>
                            <a:lnTo>
                              <a:pt x="320148" y="231095"/>
                            </a:lnTo>
                            <a:lnTo>
                              <a:pt x="320866" y="230198"/>
                            </a:lnTo>
                            <a:lnTo>
                              <a:pt x="276908" y="200653"/>
                            </a:lnTo>
                            <a:lnTo>
                              <a:pt x="276190" y="201610"/>
                            </a:lnTo>
                            <a:moveTo>
                              <a:pt x="262793" y="192639"/>
                            </a:moveTo>
                            <a:lnTo>
                              <a:pt x="275413" y="201132"/>
                            </a:lnTo>
                            <a:lnTo>
                              <a:pt x="276130" y="200234"/>
                            </a:lnTo>
                            <a:lnTo>
                              <a:pt x="263511" y="191742"/>
                            </a:lnTo>
                            <a:lnTo>
                              <a:pt x="262793" y="192639"/>
                            </a:lnTo>
                            <a:moveTo>
                              <a:pt x="252387" y="185641"/>
                            </a:moveTo>
                            <a:lnTo>
                              <a:pt x="262015" y="192101"/>
                            </a:lnTo>
                            <a:lnTo>
                              <a:pt x="262733" y="191204"/>
                            </a:lnTo>
                            <a:lnTo>
                              <a:pt x="253104" y="184745"/>
                            </a:lnTo>
                            <a:lnTo>
                              <a:pt x="252387" y="185641"/>
                            </a:lnTo>
                            <a:moveTo>
                              <a:pt x="135882" y="107474"/>
                            </a:moveTo>
                            <a:lnTo>
                              <a:pt x="251609" y="185163"/>
                            </a:lnTo>
                            <a:lnTo>
                              <a:pt x="252327" y="184266"/>
                            </a:lnTo>
                            <a:lnTo>
                              <a:pt x="136241" y="106278"/>
                            </a:lnTo>
                            <a:cubicBezTo>
                              <a:pt x="136241" y="106397"/>
                              <a:pt x="136181" y="106517"/>
                              <a:pt x="136181" y="106576"/>
                            </a:cubicBezTo>
                            <a:cubicBezTo>
                              <a:pt x="136181" y="106636"/>
                              <a:pt x="136121" y="106816"/>
                              <a:pt x="136121" y="106875"/>
                            </a:cubicBezTo>
                            <a:cubicBezTo>
                              <a:pt x="136061" y="106995"/>
                              <a:pt x="136061" y="107115"/>
                              <a:pt x="136002" y="107174"/>
                            </a:cubicBezTo>
                            <a:cubicBezTo>
                              <a:pt x="135942" y="107234"/>
                              <a:pt x="135882" y="107354"/>
                              <a:pt x="135882" y="107474"/>
                            </a:cubicBezTo>
                            <a:moveTo>
                              <a:pt x="133550" y="105919"/>
                            </a:moveTo>
                            <a:lnTo>
                              <a:pt x="134866" y="106816"/>
                            </a:lnTo>
                            <a:cubicBezTo>
                              <a:pt x="134925" y="106696"/>
                              <a:pt x="134925" y="106576"/>
                              <a:pt x="134985" y="106517"/>
                            </a:cubicBezTo>
                            <a:cubicBezTo>
                              <a:pt x="135045" y="106397"/>
                              <a:pt x="135045" y="106278"/>
                              <a:pt x="135045" y="106218"/>
                            </a:cubicBezTo>
                            <a:cubicBezTo>
                              <a:pt x="135045" y="106098"/>
                              <a:pt x="135105" y="105979"/>
                              <a:pt x="135105" y="105919"/>
                            </a:cubicBezTo>
                            <a:cubicBezTo>
                              <a:pt x="135105" y="105799"/>
                              <a:pt x="135165" y="105679"/>
                              <a:pt x="135165" y="105620"/>
                            </a:cubicBezTo>
                            <a:lnTo>
                              <a:pt x="133849" y="104722"/>
                            </a:lnTo>
                            <a:cubicBezTo>
                              <a:pt x="133849" y="104842"/>
                              <a:pt x="133789" y="104962"/>
                              <a:pt x="133789" y="105021"/>
                            </a:cubicBezTo>
                            <a:cubicBezTo>
                              <a:pt x="133789" y="105141"/>
                              <a:pt x="133729" y="105261"/>
                              <a:pt x="133729" y="105320"/>
                            </a:cubicBezTo>
                            <a:cubicBezTo>
                              <a:pt x="133729" y="105440"/>
                              <a:pt x="133669" y="105560"/>
                              <a:pt x="133669" y="105620"/>
                            </a:cubicBezTo>
                            <a:cubicBezTo>
                              <a:pt x="133610" y="105679"/>
                              <a:pt x="133610" y="105799"/>
                              <a:pt x="133550" y="105919"/>
                            </a:cubicBezTo>
                            <a:moveTo>
                              <a:pt x="131397" y="104424"/>
                            </a:moveTo>
                            <a:lnTo>
                              <a:pt x="132533" y="105201"/>
                            </a:lnTo>
                            <a:cubicBezTo>
                              <a:pt x="132533" y="105081"/>
                              <a:pt x="132593" y="104962"/>
                              <a:pt x="132593" y="104842"/>
                            </a:cubicBezTo>
                            <a:cubicBezTo>
                              <a:pt x="132593" y="104722"/>
                              <a:pt x="132652" y="104603"/>
                              <a:pt x="132652" y="104483"/>
                            </a:cubicBezTo>
                            <a:cubicBezTo>
                              <a:pt x="132652" y="104364"/>
                              <a:pt x="132712" y="104244"/>
                              <a:pt x="132712" y="104125"/>
                            </a:cubicBezTo>
                            <a:cubicBezTo>
                              <a:pt x="132712" y="104005"/>
                              <a:pt x="132772" y="103885"/>
                              <a:pt x="132772" y="103765"/>
                            </a:cubicBezTo>
                            <a:lnTo>
                              <a:pt x="131995" y="103227"/>
                            </a:lnTo>
                            <a:cubicBezTo>
                              <a:pt x="131935" y="103347"/>
                              <a:pt x="131875" y="103407"/>
                              <a:pt x="131815" y="103466"/>
                            </a:cubicBezTo>
                            <a:cubicBezTo>
                              <a:pt x="131755" y="103586"/>
                              <a:pt x="131696" y="103646"/>
                              <a:pt x="131636" y="103706"/>
                            </a:cubicBezTo>
                            <a:cubicBezTo>
                              <a:pt x="131576" y="103765"/>
                              <a:pt x="131516" y="103885"/>
                              <a:pt x="131457" y="103945"/>
                            </a:cubicBezTo>
                            <a:cubicBezTo>
                              <a:pt x="131397" y="104005"/>
                              <a:pt x="131397" y="104364"/>
                              <a:pt x="131397" y="104424"/>
                            </a:cubicBezTo>
                            <a:moveTo>
                              <a:pt x="129184" y="102988"/>
                            </a:moveTo>
                            <a:lnTo>
                              <a:pt x="130380" y="103825"/>
                            </a:lnTo>
                            <a:cubicBezTo>
                              <a:pt x="130440" y="103765"/>
                              <a:pt x="130499" y="103646"/>
                              <a:pt x="130559" y="103586"/>
                            </a:cubicBezTo>
                            <a:cubicBezTo>
                              <a:pt x="130619" y="103526"/>
                              <a:pt x="130679" y="103407"/>
                              <a:pt x="130739" y="103287"/>
                            </a:cubicBezTo>
                            <a:cubicBezTo>
                              <a:pt x="130798" y="103167"/>
                              <a:pt x="130858" y="103108"/>
                              <a:pt x="130918" y="102988"/>
                            </a:cubicBezTo>
                            <a:cubicBezTo>
                              <a:pt x="130978" y="102868"/>
                              <a:pt x="131038" y="102809"/>
                              <a:pt x="131098" y="102689"/>
                            </a:cubicBezTo>
                            <a:lnTo>
                              <a:pt x="129842" y="101852"/>
                            </a:lnTo>
                            <a:cubicBezTo>
                              <a:pt x="129782" y="101971"/>
                              <a:pt x="129722" y="102031"/>
                              <a:pt x="129662" y="102151"/>
                            </a:cubicBezTo>
                            <a:cubicBezTo>
                              <a:pt x="129603" y="102270"/>
                              <a:pt x="129543" y="102330"/>
                              <a:pt x="129483" y="102450"/>
                            </a:cubicBezTo>
                            <a:cubicBezTo>
                              <a:pt x="129423" y="102570"/>
                              <a:pt x="129363" y="102629"/>
                              <a:pt x="129303" y="102749"/>
                            </a:cubicBezTo>
                            <a:cubicBezTo>
                              <a:pt x="129244" y="102868"/>
                              <a:pt x="129244" y="102868"/>
                              <a:pt x="129184" y="102988"/>
                            </a:cubicBezTo>
                            <a:moveTo>
                              <a:pt x="125775" y="100656"/>
                            </a:moveTo>
                            <a:lnTo>
                              <a:pt x="128287" y="102330"/>
                            </a:lnTo>
                            <a:cubicBezTo>
                              <a:pt x="128346" y="102211"/>
                              <a:pt x="128406" y="102151"/>
                              <a:pt x="128466" y="102031"/>
                            </a:cubicBezTo>
                            <a:cubicBezTo>
                              <a:pt x="128526" y="101911"/>
                              <a:pt x="128586" y="101852"/>
                              <a:pt x="128645" y="101732"/>
                            </a:cubicBezTo>
                            <a:cubicBezTo>
                              <a:pt x="128705" y="101612"/>
                              <a:pt x="128765" y="101553"/>
                              <a:pt x="128825" y="101433"/>
                            </a:cubicBezTo>
                            <a:cubicBezTo>
                              <a:pt x="128885" y="101313"/>
                              <a:pt x="128944" y="101254"/>
                              <a:pt x="129004" y="101134"/>
                            </a:cubicBezTo>
                            <a:lnTo>
                              <a:pt x="126492" y="99459"/>
                            </a:lnTo>
                            <a:cubicBezTo>
                              <a:pt x="126433" y="99519"/>
                              <a:pt x="126373" y="99639"/>
                              <a:pt x="126313" y="99699"/>
                            </a:cubicBezTo>
                            <a:cubicBezTo>
                              <a:pt x="126253" y="99758"/>
                              <a:pt x="126193" y="99878"/>
                              <a:pt x="126134" y="99938"/>
                            </a:cubicBezTo>
                            <a:cubicBezTo>
                              <a:pt x="126074" y="99998"/>
                              <a:pt x="126014" y="100117"/>
                              <a:pt x="125954" y="100177"/>
                            </a:cubicBezTo>
                            <a:cubicBezTo>
                              <a:pt x="125835" y="100476"/>
                              <a:pt x="125775" y="100596"/>
                              <a:pt x="125775" y="100656"/>
                            </a:cubicBezTo>
                            <a:moveTo>
                              <a:pt x="123622" y="99220"/>
                            </a:moveTo>
                            <a:lnTo>
                              <a:pt x="124818" y="100057"/>
                            </a:lnTo>
                            <a:cubicBezTo>
                              <a:pt x="124878" y="99998"/>
                              <a:pt x="124937" y="99878"/>
                              <a:pt x="124997" y="99818"/>
                            </a:cubicBezTo>
                            <a:cubicBezTo>
                              <a:pt x="125057" y="99758"/>
                              <a:pt x="125117" y="99639"/>
                              <a:pt x="125176" y="99579"/>
                            </a:cubicBezTo>
                            <a:cubicBezTo>
                              <a:pt x="125236" y="99519"/>
                              <a:pt x="125296" y="99400"/>
                              <a:pt x="125356" y="99340"/>
                            </a:cubicBezTo>
                            <a:cubicBezTo>
                              <a:pt x="125416" y="99280"/>
                              <a:pt x="125476" y="99160"/>
                              <a:pt x="125536" y="99101"/>
                            </a:cubicBezTo>
                            <a:lnTo>
                              <a:pt x="124339" y="98263"/>
                            </a:lnTo>
                            <a:cubicBezTo>
                              <a:pt x="124280" y="98383"/>
                              <a:pt x="124220" y="98443"/>
                              <a:pt x="124160" y="98562"/>
                            </a:cubicBezTo>
                            <a:cubicBezTo>
                              <a:pt x="124100" y="98622"/>
                              <a:pt x="124040" y="98742"/>
                              <a:pt x="123981" y="98802"/>
                            </a:cubicBezTo>
                            <a:cubicBezTo>
                              <a:pt x="123921" y="98862"/>
                              <a:pt x="123861" y="98981"/>
                              <a:pt x="123801" y="99041"/>
                            </a:cubicBezTo>
                            <a:cubicBezTo>
                              <a:pt x="123741" y="99101"/>
                              <a:pt x="123681" y="99101"/>
                              <a:pt x="123622" y="99220"/>
                            </a:cubicBezTo>
                            <a:moveTo>
                              <a:pt x="99998" y="83371"/>
                            </a:moveTo>
                            <a:lnTo>
                              <a:pt x="122665" y="98562"/>
                            </a:lnTo>
                            <a:cubicBezTo>
                              <a:pt x="122725" y="98443"/>
                              <a:pt x="122784" y="98383"/>
                              <a:pt x="122844" y="98263"/>
                            </a:cubicBezTo>
                            <a:cubicBezTo>
                              <a:pt x="122904" y="98144"/>
                              <a:pt x="122964" y="98084"/>
                              <a:pt x="123024" y="97964"/>
                            </a:cubicBezTo>
                            <a:cubicBezTo>
                              <a:pt x="123083" y="97845"/>
                              <a:pt x="123143" y="97785"/>
                              <a:pt x="123203" y="97665"/>
                            </a:cubicBezTo>
                            <a:cubicBezTo>
                              <a:pt x="123263" y="97546"/>
                              <a:pt x="123322" y="97486"/>
                              <a:pt x="123382" y="97366"/>
                            </a:cubicBezTo>
                            <a:lnTo>
                              <a:pt x="100895" y="82235"/>
                            </a:lnTo>
                            <a:lnTo>
                              <a:pt x="99998" y="83371"/>
                            </a:lnTo>
                            <a:moveTo>
                              <a:pt x="42882" y="45035"/>
                            </a:moveTo>
                            <a:lnTo>
                              <a:pt x="98981" y="82713"/>
                            </a:lnTo>
                            <a:lnTo>
                              <a:pt x="99758" y="81697"/>
                            </a:lnTo>
                            <a:lnTo>
                              <a:pt x="43660" y="44018"/>
                            </a:lnTo>
                            <a:lnTo>
                              <a:pt x="42882" y="45035"/>
                            </a:lnTo>
                            <a:moveTo>
                              <a:pt x="25658" y="33492"/>
                            </a:moveTo>
                            <a:lnTo>
                              <a:pt x="41865" y="44377"/>
                            </a:lnTo>
                            <a:lnTo>
                              <a:pt x="42702" y="43360"/>
                            </a:lnTo>
                            <a:lnTo>
                              <a:pt x="26495" y="32475"/>
                            </a:lnTo>
                            <a:lnTo>
                              <a:pt x="25658" y="33492"/>
                            </a:lnTo>
                            <a:moveTo>
                              <a:pt x="12320" y="24521"/>
                            </a:moveTo>
                            <a:lnTo>
                              <a:pt x="24641" y="32774"/>
                            </a:lnTo>
                            <a:lnTo>
                              <a:pt x="25478" y="31758"/>
                            </a:lnTo>
                            <a:lnTo>
                              <a:pt x="13158" y="23504"/>
                            </a:lnTo>
                            <a:lnTo>
                              <a:pt x="12320" y="24521"/>
                            </a:lnTo>
                            <a:moveTo>
                              <a:pt x="0" y="16268"/>
                            </a:moveTo>
                            <a:lnTo>
                              <a:pt x="11304" y="23863"/>
                            </a:lnTo>
                            <a:lnTo>
                              <a:pt x="12141" y="22846"/>
                            </a:lnTo>
                            <a:lnTo>
                              <a:pt x="1854" y="15909"/>
                            </a:lnTo>
                            <a:lnTo>
                              <a:pt x="4306" y="12799"/>
                            </a:lnTo>
                            <a:lnTo>
                              <a:pt x="3290" y="12141"/>
                            </a:lnTo>
                            <a:lnTo>
                              <a:pt x="0" y="16268"/>
                            </a:lnTo>
                          </a:path>
                        </a:pathLst>
                      </a:custGeom>
                      <a:noFill/>
                      <a:ln w="6350" cap="flat">
                        <a:solidFill>
                          <a:schemeClr val="bg1">
                            <a:alpha val="40000"/>
                          </a:schemeClr>
                        </a:solidFill>
                        <a:prstDash val="solid"/>
                        <a:miter/>
                      </a:ln>
                    </p:spPr>
                    <p:txBody>
                      <a:bodyPr rtlCol="0" anchor="ctr"/>
                      <a:lstStyle/>
                      <a:p>
                        <a:endParaRPr lang="en-GB"/>
                      </a:p>
                    </p:txBody>
                  </p:sp>
                  <p:sp>
                    <p:nvSpPr>
                      <p:cNvPr id="7421" name="Vrije vorm: vorm 7420">
                        <a:extLst>
                          <a:ext uri="{FF2B5EF4-FFF2-40B4-BE49-F238E27FC236}">
                            <a16:creationId xmlns:a16="http://schemas.microsoft.com/office/drawing/2014/main" id="{8F196585-69DA-4BAF-8AF6-B2A65F9FCA04}"/>
                          </a:ext>
                        </a:extLst>
                      </p:cNvPr>
                      <p:cNvSpPr/>
                      <p:nvPr/>
                    </p:nvSpPr>
                    <p:spPr>
                      <a:xfrm>
                        <a:off x="4754933" y="5104347"/>
                        <a:ext cx="653872" cy="443948"/>
                      </a:xfrm>
                      <a:custGeom>
                        <a:avLst/>
                        <a:gdLst>
                          <a:gd name="connsiteX0" fmla="*/ 624387 w 653872"/>
                          <a:gd name="connsiteY0" fmla="*/ 421282 h 443948"/>
                          <a:gd name="connsiteX1" fmla="*/ 624447 w 653872"/>
                          <a:gd name="connsiteY1" fmla="*/ 421162 h 443948"/>
                          <a:gd name="connsiteX2" fmla="*/ 624507 w 653872"/>
                          <a:gd name="connsiteY2" fmla="*/ 421043 h 443948"/>
                          <a:gd name="connsiteX3" fmla="*/ 624567 w 653872"/>
                          <a:gd name="connsiteY3" fmla="*/ 420923 h 443948"/>
                          <a:gd name="connsiteX4" fmla="*/ 624627 w 653872"/>
                          <a:gd name="connsiteY4" fmla="*/ 420803 h 443948"/>
                          <a:gd name="connsiteX5" fmla="*/ 624148 w 653872"/>
                          <a:gd name="connsiteY5" fmla="*/ 420505 h 443948"/>
                          <a:gd name="connsiteX6" fmla="*/ 624208 w 653872"/>
                          <a:gd name="connsiteY6" fmla="*/ 420684 h 443948"/>
                          <a:gd name="connsiteX7" fmla="*/ 624267 w 653872"/>
                          <a:gd name="connsiteY7" fmla="*/ 420863 h 443948"/>
                          <a:gd name="connsiteX8" fmla="*/ 624327 w 653872"/>
                          <a:gd name="connsiteY8" fmla="*/ 421043 h 443948"/>
                          <a:gd name="connsiteX9" fmla="*/ 624387 w 653872"/>
                          <a:gd name="connsiteY9" fmla="*/ 421282 h 443948"/>
                          <a:gd name="connsiteX10" fmla="*/ 129064 w 653872"/>
                          <a:gd name="connsiteY10" fmla="*/ 86182 h 443948"/>
                          <a:gd name="connsiteX11" fmla="*/ 129124 w 653872"/>
                          <a:gd name="connsiteY11" fmla="*/ 85883 h 443948"/>
                          <a:gd name="connsiteX12" fmla="*/ 129183 w 653872"/>
                          <a:gd name="connsiteY12" fmla="*/ 85584 h 443948"/>
                          <a:gd name="connsiteX13" fmla="*/ 129243 w 653872"/>
                          <a:gd name="connsiteY13" fmla="*/ 85285 h 443948"/>
                          <a:gd name="connsiteX14" fmla="*/ 129303 w 653872"/>
                          <a:gd name="connsiteY14" fmla="*/ 84986 h 443948"/>
                          <a:gd name="connsiteX15" fmla="*/ 127987 w 653872"/>
                          <a:gd name="connsiteY15" fmla="*/ 84089 h 443948"/>
                          <a:gd name="connsiteX16" fmla="*/ 128286 w 653872"/>
                          <a:gd name="connsiteY16" fmla="*/ 84567 h 443948"/>
                          <a:gd name="connsiteX17" fmla="*/ 128526 w 653872"/>
                          <a:gd name="connsiteY17" fmla="*/ 85046 h 443948"/>
                          <a:gd name="connsiteX18" fmla="*/ 128765 w 653872"/>
                          <a:gd name="connsiteY18" fmla="*/ 85524 h 443948"/>
                          <a:gd name="connsiteX19" fmla="*/ 129064 w 653872"/>
                          <a:gd name="connsiteY19" fmla="*/ 86182 h 443948"/>
                          <a:gd name="connsiteX20" fmla="*/ 624806 w 653872"/>
                          <a:gd name="connsiteY20" fmla="*/ 422060 h 443948"/>
                          <a:gd name="connsiteX21" fmla="*/ 625524 w 653872"/>
                          <a:gd name="connsiteY21" fmla="*/ 422538 h 443948"/>
                          <a:gd name="connsiteX22" fmla="*/ 625583 w 653872"/>
                          <a:gd name="connsiteY22" fmla="*/ 422418 h 443948"/>
                          <a:gd name="connsiteX23" fmla="*/ 625643 w 653872"/>
                          <a:gd name="connsiteY23" fmla="*/ 422299 h 443948"/>
                          <a:gd name="connsiteX24" fmla="*/ 625703 w 653872"/>
                          <a:gd name="connsiteY24" fmla="*/ 422179 h 443948"/>
                          <a:gd name="connsiteX25" fmla="*/ 625763 w 653872"/>
                          <a:gd name="connsiteY25" fmla="*/ 422060 h 443948"/>
                          <a:gd name="connsiteX26" fmla="*/ 625763 w 653872"/>
                          <a:gd name="connsiteY26" fmla="*/ 421940 h 443948"/>
                          <a:gd name="connsiteX27" fmla="*/ 625763 w 653872"/>
                          <a:gd name="connsiteY27" fmla="*/ 421820 h 443948"/>
                          <a:gd name="connsiteX28" fmla="*/ 625763 w 653872"/>
                          <a:gd name="connsiteY28" fmla="*/ 421701 h 443948"/>
                          <a:gd name="connsiteX29" fmla="*/ 625763 w 653872"/>
                          <a:gd name="connsiteY29" fmla="*/ 421581 h 443948"/>
                          <a:gd name="connsiteX30" fmla="*/ 625284 w 653872"/>
                          <a:gd name="connsiteY30" fmla="*/ 421282 h 443948"/>
                          <a:gd name="connsiteX31" fmla="*/ 625165 w 653872"/>
                          <a:gd name="connsiteY31" fmla="*/ 421521 h 443948"/>
                          <a:gd name="connsiteX32" fmla="*/ 625045 w 653872"/>
                          <a:gd name="connsiteY32" fmla="*/ 421761 h 443948"/>
                          <a:gd name="connsiteX33" fmla="*/ 624926 w 653872"/>
                          <a:gd name="connsiteY33" fmla="*/ 422000 h 443948"/>
                          <a:gd name="connsiteX34" fmla="*/ 624806 w 653872"/>
                          <a:gd name="connsiteY34" fmla="*/ 422060 h 443948"/>
                          <a:gd name="connsiteX35" fmla="*/ 622832 w 653872"/>
                          <a:gd name="connsiteY35" fmla="*/ 420744 h 443948"/>
                          <a:gd name="connsiteX36" fmla="*/ 623490 w 653872"/>
                          <a:gd name="connsiteY36" fmla="*/ 421162 h 443948"/>
                          <a:gd name="connsiteX37" fmla="*/ 623371 w 653872"/>
                          <a:gd name="connsiteY37" fmla="*/ 420923 h 443948"/>
                          <a:gd name="connsiteX38" fmla="*/ 623251 w 653872"/>
                          <a:gd name="connsiteY38" fmla="*/ 420684 h 443948"/>
                          <a:gd name="connsiteX39" fmla="*/ 623132 w 653872"/>
                          <a:gd name="connsiteY39" fmla="*/ 420445 h 443948"/>
                          <a:gd name="connsiteX40" fmla="*/ 623012 w 653872"/>
                          <a:gd name="connsiteY40" fmla="*/ 420206 h 443948"/>
                          <a:gd name="connsiteX41" fmla="*/ 622952 w 653872"/>
                          <a:gd name="connsiteY41" fmla="*/ 420325 h 443948"/>
                          <a:gd name="connsiteX42" fmla="*/ 622892 w 653872"/>
                          <a:gd name="connsiteY42" fmla="*/ 420445 h 443948"/>
                          <a:gd name="connsiteX43" fmla="*/ 622832 w 653872"/>
                          <a:gd name="connsiteY43" fmla="*/ 420564 h 443948"/>
                          <a:gd name="connsiteX44" fmla="*/ 622832 w 653872"/>
                          <a:gd name="connsiteY44" fmla="*/ 420744 h 443948"/>
                          <a:gd name="connsiteX45" fmla="*/ 621517 w 653872"/>
                          <a:gd name="connsiteY45" fmla="*/ 419847 h 443948"/>
                          <a:gd name="connsiteX46" fmla="*/ 622234 w 653872"/>
                          <a:gd name="connsiteY46" fmla="*/ 420325 h 443948"/>
                          <a:gd name="connsiteX47" fmla="*/ 622294 w 653872"/>
                          <a:gd name="connsiteY47" fmla="*/ 420086 h 443948"/>
                          <a:gd name="connsiteX48" fmla="*/ 622354 w 653872"/>
                          <a:gd name="connsiteY48" fmla="*/ 419847 h 443948"/>
                          <a:gd name="connsiteX49" fmla="*/ 622413 w 653872"/>
                          <a:gd name="connsiteY49" fmla="*/ 419607 h 443948"/>
                          <a:gd name="connsiteX50" fmla="*/ 622473 w 653872"/>
                          <a:gd name="connsiteY50" fmla="*/ 419368 h 443948"/>
                          <a:gd name="connsiteX51" fmla="*/ 621696 w 653872"/>
                          <a:gd name="connsiteY51" fmla="*/ 418830 h 443948"/>
                          <a:gd name="connsiteX52" fmla="*/ 621636 w 653872"/>
                          <a:gd name="connsiteY52" fmla="*/ 419069 h 443948"/>
                          <a:gd name="connsiteX53" fmla="*/ 621576 w 653872"/>
                          <a:gd name="connsiteY53" fmla="*/ 419308 h 443948"/>
                          <a:gd name="connsiteX54" fmla="*/ 621517 w 653872"/>
                          <a:gd name="connsiteY54" fmla="*/ 419547 h 443948"/>
                          <a:gd name="connsiteX55" fmla="*/ 621517 w 653872"/>
                          <a:gd name="connsiteY55" fmla="*/ 419847 h 443948"/>
                          <a:gd name="connsiteX56" fmla="*/ 610333 w 653872"/>
                          <a:gd name="connsiteY56" fmla="*/ 412251 h 443948"/>
                          <a:gd name="connsiteX57" fmla="*/ 620978 w 653872"/>
                          <a:gd name="connsiteY57" fmla="*/ 419488 h 443948"/>
                          <a:gd name="connsiteX58" fmla="*/ 621038 w 653872"/>
                          <a:gd name="connsiteY58" fmla="*/ 419248 h 443948"/>
                          <a:gd name="connsiteX59" fmla="*/ 621098 w 653872"/>
                          <a:gd name="connsiteY59" fmla="*/ 419009 h 443948"/>
                          <a:gd name="connsiteX60" fmla="*/ 621158 w 653872"/>
                          <a:gd name="connsiteY60" fmla="*/ 418770 h 443948"/>
                          <a:gd name="connsiteX61" fmla="*/ 621218 w 653872"/>
                          <a:gd name="connsiteY61" fmla="*/ 418531 h 443948"/>
                          <a:gd name="connsiteX62" fmla="*/ 610871 w 653872"/>
                          <a:gd name="connsiteY62" fmla="*/ 411474 h 443948"/>
                          <a:gd name="connsiteX63" fmla="*/ 610333 w 653872"/>
                          <a:gd name="connsiteY63" fmla="*/ 412251 h 443948"/>
                          <a:gd name="connsiteX64" fmla="*/ 579532 w 653872"/>
                          <a:gd name="connsiteY64" fmla="*/ 391438 h 443948"/>
                          <a:gd name="connsiteX65" fmla="*/ 609794 w 653872"/>
                          <a:gd name="connsiteY65" fmla="*/ 411952 h 443948"/>
                          <a:gd name="connsiteX66" fmla="*/ 610393 w 653872"/>
                          <a:gd name="connsiteY66" fmla="*/ 411234 h 443948"/>
                          <a:gd name="connsiteX67" fmla="*/ 580130 w 653872"/>
                          <a:gd name="connsiteY67" fmla="*/ 390721 h 443948"/>
                          <a:gd name="connsiteX68" fmla="*/ 579532 w 653872"/>
                          <a:gd name="connsiteY68" fmla="*/ 391438 h 443948"/>
                          <a:gd name="connsiteX69" fmla="*/ 570322 w 653872"/>
                          <a:gd name="connsiteY69" fmla="*/ 385158 h 443948"/>
                          <a:gd name="connsiteX70" fmla="*/ 578994 w 653872"/>
                          <a:gd name="connsiteY70" fmla="*/ 391020 h 443948"/>
                          <a:gd name="connsiteX71" fmla="*/ 579592 w 653872"/>
                          <a:gd name="connsiteY71" fmla="*/ 390242 h 443948"/>
                          <a:gd name="connsiteX72" fmla="*/ 570920 w 653872"/>
                          <a:gd name="connsiteY72" fmla="*/ 384381 h 443948"/>
                          <a:gd name="connsiteX73" fmla="*/ 570322 w 653872"/>
                          <a:gd name="connsiteY73" fmla="*/ 385158 h 443948"/>
                          <a:gd name="connsiteX74" fmla="*/ 563205 w 653872"/>
                          <a:gd name="connsiteY74" fmla="*/ 380374 h 443948"/>
                          <a:gd name="connsiteX75" fmla="*/ 569723 w 653872"/>
                          <a:gd name="connsiteY75" fmla="*/ 384799 h 443948"/>
                          <a:gd name="connsiteX76" fmla="*/ 570322 w 653872"/>
                          <a:gd name="connsiteY76" fmla="*/ 384022 h 443948"/>
                          <a:gd name="connsiteX77" fmla="*/ 563802 w 653872"/>
                          <a:gd name="connsiteY77" fmla="*/ 379596 h 443948"/>
                          <a:gd name="connsiteX78" fmla="*/ 563205 w 653872"/>
                          <a:gd name="connsiteY78" fmla="*/ 380374 h 443948"/>
                          <a:gd name="connsiteX79" fmla="*/ 344071 w 653872"/>
                          <a:gd name="connsiteY79" fmla="*/ 231992 h 443948"/>
                          <a:gd name="connsiteX80" fmla="*/ 562726 w 653872"/>
                          <a:gd name="connsiteY80" fmla="*/ 380015 h 443948"/>
                          <a:gd name="connsiteX81" fmla="*/ 563324 w 653872"/>
                          <a:gd name="connsiteY81" fmla="*/ 379237 h 443948"/>
                          <a:gd name="connsiteX82" fmla="*/ 344011 w 653872"/>
                          <a:gd name="connsiteY82" fmla="*/ 230557 h 443948"/>
                          <a:gd name="connsiteX83" fmla="*/ 343951 w 653872"/>
                          <a:gd name="connsiteY83" fmla="*/ 230676 h 443948"/>
                          <a:gd name="connsiteX84" fmla="*/ 343892 w 653872"/>
                          <a:gd name="connsiteY84" fmla="*/ 230796 h 443948"/>
                          <a:gd name="connsiteX85" fmla="*/ 343832 w 653872"/>
                          <a:gd name="connsiteY85" fmla="*/ 230916 h 443948"/>
                          <a:gd name="connsiteX86" fmla="*/ 343772 w 653872"/>
                          <a:gd name="connsiteY86" fmla="*/ 231035 h 443948"/>
                          <a:gd name="connsiteX87" fmla="*/ 343832 w 653872"/>
                          <a:gd name="connsiteY87" fmla="*/ 231274 h 443948"/>
                          <a:gd name="connsiteX88" fmla="*/ 343892 w 653872"/>
                          <a:gd name="connsiteY88" fmla="*/ 231514 h 443948"/>
                          <a:gd name="connsiteX89" fmla="*/ 343951 w 653872"/>
                          <a:gd name="connsiteY89" fmla="*/ 231753 h 443948"/>
                          <a:gd name="connsiteX90" fmla="*/ 344071 w 653872"/>
                          <a:gd name="connsiteY90" fmla="*/ 231992 h 443948"/>
                          <a:gd name="connsiteX91" fmla="*/ 341738 w 653872"/>
                          <a:gd name="connsiteY91" fmla="*/ 230378 h 443948"/>
                          <a:gd name="connsiteX92" fmla="*/ 342695 w 653872"/>
                          <a:gd name="connsiteY92" fmla="*/ 231035 h 443948"/>
                          <a:gd name="connsiteX93" fmla="*/ 342576 w 653872"/>
                          <a:gd name="connsiteY93" fmla="*/ 230617 h 443948"/>
                          <a:gd name="connsiteX94" fmla="*/ 342396 w 653872"/>
                          <a:gd name="connsiteY94" fmla="*/ 230198 h 443948"/>
                          <a:gd name="connsiteX95" fmla="*/ 342217 w 653872"/>
                          <a:gd name="connsiteY95" fmla="*/ 229779 h 443948"/>
                          <a:gd name="connsiteX96" fmla="*/ 342038 w 653872"/>
                          <a:gd name="connsiteY96" fmla="*/ 229361 h 443948"/>
                          <a:gd name="connsiteX97" fmla="*/ 342038 w 653872"/>
                          <a:gd name="connsiteY97" fmla="*/ 229361 h 443948"/>
                          <a:gd name="connsiteX98" fmla="*/ 341978 w 653872"/>
                          <a:gd name="connsiteY98" fmla="*/ 229659 h 443948"/>
                          <a:gd name="connsiteX99" fmla="*/ 341918 w 653872"/>
                          <a:gd name="connsiteY99" fmla="*/ 229959 h 443948"/>
                          <a:gd name="connsiteX100" fmla="*/ 341858 w 653872"/>
                          <a:gd name="connsiteY100" fmla="*/ 230258 h 443948"/>
                          <a:gd name="connsiteX101" fmla="*/ 341738 w 653872"/>
                          <a:gd name="connsiteY101" fmla="*/ 230378 h 443948"/>
                          <a:gd name="connsiteX102" fmla="*/ 340722 w 653872"/>
                          <a:gd name="connsiteY102" fmla="*/ 229719 h 443948"/>
                          <a:gd name="connsiteX103" fmla="*/ 340901 w 653872"/>
                          <a:gd name="connsiteY103" fmla="*/ 229839 h 443948"/>
                          <a:gd name="connsiteX104" fmla="*/ 340961 w 653872"/>
                          <a:gd name="connsiteY104" fmla="*/ 229540 h 443948"/>
                          <a:gd name="connsiteX105" fmla="*/ 341021 w 653872"/>
                          <a:gd name="connsiteY105" fmla="*/ 229241 h 443948"/>
                          <a:gd name="connsiteX106" fmla="*/ 341080 w 653872"/>
                          <a:gd name="connsiteY106" fmla="*/ 228942 h 443948"/>
                          <a:gd name="connsiteX107" fmla="*/ 341140 w 653872"/>
                          <a:gd name="connsiteY107" fmla="*/ 228643 h 443948"/>
                          <a:gd name="connsiteX108" fmla="*/ 339705 w 653872"/>
                          <a:gd name="connsiteY108" fmla="*/ 227686 h 443948"/>
                          <a:gd name="connsiteX109" fmla="*/ 339944 w 653872"/>
                          <a:gd name="connsiteY109" fmla="*/ 228164 h 443948"/>
                          <a:gd name="connsiteX110" fmla="*/ 340183 w 653872"/>
                          <a:gd name="connsiteY110" fmla="*/ 228643 h 443948"/>
                          <a:gd name="connsiteX111" fmla="*/ 340423 w 653872"/>
                          <a:gd name="connsiteY111" fmla="*/ 229121 h 443948"/>
                          <a:gd name="connsiteX112" fmla="*/ 340722 w 653872"/>
                          <a:gd name="connsiteY112" fmla="*/ 229719 h 443948"/>
                          <a:gd name="connsiteX113" fmla="*/ 338688 w 653872"/>
                          <a:gd name="connsiteY113" fmla="*/ 228344 h 443948"/>
                          <a:gd name="connsiteX114" fmla="*/ 339047 w 653872"/>
                          <a:gd name="connsiteY114" fmla="*/ 228583 h 443948"/>
                          <a:gd name="connsiteX115" fmla="*/ 338987 w 653872"/>
                          <a:gd name="connsiteY115" fmla="*/ 228464 h 443948"/>
                          <a:gd name="connsiteX116" fmla="*/ 338927 w 653872"/>
                          <a:gd name="connsiteY116" fmla="*/ 228344 h 443948"/>
                          <a:gd name="connsiteX117" fmla="*/ 338868 w 653872"/>
                          <a:gd name="connsiteY117" fmla="*/ 228224 h 443948"/>
                          <a:gd name="connsiteX118" fmla="*/ 338808 w 653872"/>
                          <a:gd name="connsiteY118" fmla="*/ 228105 h 443948"/>
                          <a:gd name="connsiteX119" fmla="*/ 338808 w 653872"/>
                          <a:gd name="connsiteY119" fmla="*/ 228164 h 443948"/>
                          <a:gd name="connsiteX120" fmla="*/ 338808 w 653872"/>
                          <a:gd name="connsiteY120" fmla="*/ 228224 h 443948"/>
                          <a:gd name="connsiteX121" fmla="*/ 338808 w 653872"/>
                          <a:gd name="connsiteY121" fmla="*/ 228284 h 443948"/>
                          <a:gd name="connsiteX122" fmla="*/ 338688 w 653872"/>
                          <a:gd name="connsiteY122" fmla="*/ 228344 h 443948"/>
                          <a:gd name="connsiteX123" fmla="*/ 336715 w 653872"/>
                          <a:gd name="connsiteY123" fmla="*/ 226968 h 443948"/>
                          <a:gd name="connsiteX124" fmla="*/ 337851 w 653872"/>
                          <a:gd name="connsiteY124" fmla="*/ 227746 h 443948"/>
                          <a:gd name="connsiteX125" fmla="*/ 337911 w 653872"/>
                          <a:gd name="connsiteY125" fmla="*/ 227507 h 443948"/>
                          <a:gd name="connsiteX126" fmla="*/ 337970 w 653872"/>
                          <a:gd name="connsiteY126" fmla="*/ 227267 h 443948"/>
                          <a:gd name="connsiteX127" fmla="*/ 338030 w 653872"/>
                          <a:gd name="connsiteY127" fmla="*/ 227028 h 443948"/>
                          <a:gd name="connsiteX128" fmla="*/ 338090 w 653872"/>
                          <a:gd name="connsiteY128" fmla="*/ 226789 h 443948"/>
                          <a:gd name="connsiteX129" fmla="*/ 338030 w 653872"/>
                          <a:gd name="connsiteY129" fmla="*/ 226669 h 443948"/>
                          <a:gd name="connsiteX130" fmla="*/ 337970 w 653872"/>
                          <a:gd name="connsiteY130" fmla="*/ 226550 h 443948"/>
                          <a:gd name="connsiteX131" fmla="*/ 337911 w 653872"/>
                          <a:gd name="connsiteY131" fmla="*/ 226430 h 443948"/>
                          <a:gd name="connsiteX132" fmla="*/ 337851 w 653872"/>
                          <a:gd name="connsiteY132" fmla="*/ 226310 h 443948"/>
                          <a:gd name="connsiteX133" fmla="*/ 337073 w 653872"/>
                          <a:gd name="connsiteY133" fmla="*/ 225772 h 443948"/>
                          <a:gd name="connsiteX134" fmla="*/ 337014 w 653872"/>
                          <a:gd name="connsiteY134" fmla="*/ 226071 h 443948"/>
                          <a:gd name="connsiteX135" fmla="*/ 336954 w 653872"/>
                          <a:gd name="connsiteY135" fmla="*/ 226370 h 443948"/>
                          <a:gd name="connsiteX136" fmla="*/ 336894 w 653872"/>
                          <a:gd name="connsiteY136" fmla="*/ 226669 h 443948"/>
                          <a:gd name="connsiteX137" fmla="*/ 336715 w 653872"/>
                          <a:gd name="connsiteY137" fmla="*/ 226968 h 443948"/>
                          <a:gd name="connsiteX138" fmla="*/ 322959 w 653872"/>
                          <a:gd name="connsiteY138" fmla="*/ 217698 h 443948"/>
                          <a:gd name="connsiteX139" fmla="*/ 335817 w 653872"/>
                          <a:gd name="connsiteY139" fmla="*/ 226430 h 443948"/>
                          <a:gd name="connsiteX140" fmla="*/ 335877 w 653872"/>
                          <a:gd name="connsiteY140" fmla="*/ 226131 h 443948"/>
                          <a:gd name="connsiteX141" fmla="*/ 335937 w 653872"/>
                          <a:gd name="connsiteY141" fmla="*/ 225832 h 443948"/>
                          <a:gd name="connsiteX142" fmla="*/ 335997 w 653872"/>
                          <a:gd name="connsiteY142" fmla="*/ 225533 h 443948"/>
                          <a:gd name="connsiteX143" fmla="*/ 335997 w 653872"/>
                          <a:gd name="connsiteY143" fmla="*/ 225234 h 443948"/>
                          <a:gd name="connsiteX144" fmla="*/ 323677 w 653872"/>
                          <a:gd name="connsiteY144" fmla="*/ 216861 h 443948"/>
                          <a:gd name="connsiteX145" fmla="*/ 322959 w 653872"/>
                          <a:gd name="connsiteY145" fmla="*/ 217698 h 443948"/>
                          <a:gd name="connsiteX146" fmla="*/ 278403 w 653872"/>
                          <a:gd name="connsiteY146" fmla="*/ 187555 h 443948"/>
                          <a:gd name="connsiteX147" fmla="*/ 322241 w 653872"/>
                          <a:gd name="connsiteY147" fmla="*/ 217220 h 443948"/>
                          <a:gd name="connsiteX148" fmla="*/ 322959 w 653872"/>
                          <a:gd name="connsiteY148" fmla="*/ 216323 h 443948"/>
                          <a:gd name="connsiteX149" fmla="*/ 279180 w 653872"/>
                          <a:gd name="connsiteY149" fmla="*/ 186658 h 443948"/>
                          <a:gd name="connsiteX150" fmla="*/ 278403 w 653872"/>
                          <a:gd name="connsiteY150" fmla="*/ 187555 h 443948"/>
                          <a:gd name="connsiteX151" fmla="*/ 265006 w 653872"/>
                          <a:gd name="connsiteY151" fmla="*/ 178465 h 443948"/>
                          <a:gd name="connsiteX152" fmla="*/ 277625 w 653872"/>
                          <a:gd name="connsiteY152" fmla="*/ 187017 h 443948"/>
                          <a:gd name="connsiteX153" fmla="*/ 278343 w 653872"/>
                          <a:gd name="connsiteY153" fmla="*/ 186120 h 443948"/>
                          <a:gd name="connsiteX154" fmla="*/ 265723 w 653872"/>
                          <a:gd name="connsiteY154" fmla="*/ 177568 h 443948"/>
                          <a:gd name="connsiteX155" fmla="*/ 265006 w 653872"/>
                          <a:gd name="connsiteY155" fmla="*/ 178465 h 443948"/>
                          <a:gd name="connsiteX156" fmla="*/ 254659 w 653872"/>
                          <a:gd name="connsiteY156" fmla="*/ 171407 h 443948"/>
                          <a:gd name="connsiteX157" fmla="*/ 264228 w 653872"/>
                          <a:gd name="connsiteY157" fmla="*/ 177867 h 443948"/>
                          <a:gd name="connsiteX158" fmla="*/ 264946 w 653872"/>
                          <a:gd name="connsiteY158" fmla="*/ 176969 h 443948"/>
                          <a:gd name="connsiteX159" fmla="*/ 255377 w 653872"/>
                          <a:gd name="connsiteY159" fmla="*/ 170451 h 443948"/>
                          <a:gd name="connsiteX160" fmla="*/ 254659 w 653872"/>
                          <a:gd name="connsiteY160" fmla="*/ 171407 h 443948"/>
                          <a:gd name="connsiteX161" fmla="*/ 133131 w 653872"/>
                          <a:gd name="connsiteY161" fmla="*/ 89113 h 443948"/>
                          <a:gd name="connsiteX162" fmla="*/ 253881 w 653872"/>
                          <a:gd name="connsiteY162" fmla="*/ 170869 h 443948"/>
                          <a:gd name="connsiteX163" fmla="*/ 254599 w 653872"/>
                          <a:gd name="connsiteY163" fmla="*/ 169972 h 443948"/>
                          <a:gd name="connsiteX164" fmla="*/ 132712 w 653872"/>
                          <a:gd name="connsiteY164" fmla="*/ 87378 h 443948"/>
                          <a:gd name="connsiteX165" fmla="*/ 132712 w 653872"/>
                          <a:gd name="connsiteY165" fmla="*/ 87438 h 443948"/>
                          <a:gd name="connsiteX166" fmla="*/ 132712 w 653872"/>
                          <a:gd name="connsiteY166" fmla="*/ 87498 h 443948"/>
                          <a:gd name="connsiteX167" fmla="*/ 132712 w 653872"/>
                          <a:gd name="connsiteY167" fmla="*/ 87558 h 443948"/>
                          <a:gd name="connsiteX168" fmla="*/ 132712 w 653872"/>
                          <a:gd name="connsiteY168" fmla="*/ 87617 h 443948"/>
                          <a:gd name="connsiteX169" fmla="*/ 132832 w 653872"/>
                          <a:gd name="connsiteY169" fmla="*/ 88036 h 443948"/>
                          <a:gd name="connsiteX170" fmla="*/ 132951 w 653872"/>
                          <a:gd name="connsiteY170" fmla="*/ 88455 h 443948"/>
                          <a:gd name="connsiteX171" fmla="*/ 133071 w 653872"/>
                          <a:gd name="connsiteY171" fmla="*/ 88873 h 443948"/>
                          <a:gd name="connsiteX172" fmla="*/ 133131 w 653872"/>
                          <a:gd name="connsiteY172" fmla="*/ 89113 h 443948"/>
                          <a:gd name="connsiteX173" fmla="*/ 130021 w 653872"/>
                          <a:gd name="connsiteY173" fmla="*/ 87019 h 443948"/>
                          <a:gd name="connsiteX174" fmla="*/ 131336 w 653872"/>
                          <a:gd name="connsiteY174" fmla="*/ 87917 h 443948"/>
                          <a:gd name="connsiteX175" fmla="*/ 131336 w 653872"/>
                          <a:gd name="connsiteY175" fmla="*/ 87857 h 443948"/>
                          <a:gd name="connsiteX176" fmla="*/ 131336 w 653872"/>
                          <a:gd name="connsiteY176" fmla="*/ 87797 h 443948"/>
                          <a:gd name="connsiteX177" fmla="*/ 131336 w 653872"/>
                          <a:gd name="connsiteY177" fmla="*/ 87737 h 443948"/>
                          <a:gd name="connsiteX178" fmla="*/ 131336 w 653872"/>
                          <a:gd name="connsiteY178" fmla="*/ 87677 h 443948"/>
                          <a:gd name="connsiteX179" fmla="*/ 131217 w 653872"/>
                          <a:gd name="connsiteY179" fmla="*/ 87259 h 443948"/>
                          <a:gd name="connsiteX180" fmla="*/ 131037 w 653872"/>
                          <a:gd name="connsiteY180" fmla="*/ 86840 h 443948"/>
                          <a:gd name="connsiteX181" fmla="*/ 130858 w 653872"/>
                          <a:gd name="connsiteY181" fmla="*/ 86421 h 443948"/>
                          <a:gd name="connsiteX182" fmla="*/ 130679 w 653872"/>
                          <a:gd name="connsiteY182" fmla="*/ 86003 h 443948"/>
                          <a:gd name="connsiteX183" fmla="*/ 130260 w 653872"/>
                          <a:gd name="connsiteY183" fmla="*/ 85704 h 443948"/>
                          <a:gd name="connsiteX184" fmla="*/ 130200 w 653872"/>
                          <a:gd name="connsiteY184" fmla="*/ 86003 h 443948"/>
                          <a:gd name="connsiteX185" fmla="*/ 130081 w 653872"/>
                          <a:gd name="connsiteY185" fmla="*/ 86302 h 443948"/>
                          <a:gd name="connsiteX186" fmla="*/ 129961 w 653872"/>
                          <a:gd name="connsiteY186" fmla="*/ 86601 h 443948"/>
                          <a:gd name="connsiteX187" fmla="*/ 130021 w 653872"/>
                          <a:gd name="connsiteY187" fmla="*/ 87019 h 443948"/>
                          <a:gd name="connsiteX188" fmla="*/ 126492 w 653872"/>
                          <a:gd name="connsiteY188" fmla="*/ 84627 h 443948"/>
                          <a:gd name="connsiteX189" fmla="*/ 127090 w 653872"/>
                          <a:gd name="connsiteY189" fmla="*/ 85046 h 443948"/>
                          <a:gd name="connsiteX190" fmla="*/ 126971 w 653872"/>
                          <a:gd name="connsiteY190" fmla="*/ 84807 h 443948"/>
                          <a:gd name="connsiteX191" fmla="*/ 126851 w 653872"/>
                          <a:gd name="connsiteY191" fmla="*/ 84567 h 443948"/>
                          <a:gd name="connsiteX192" fmla="*/ 126732 w 653872"/>
                          <a:gd name="connsiteY192" fmla="*/ 84328 h 443948"/>
                          <a:gd name="connsiteX193" fmla="*/ 126612 w 653872"/>
                          <a:gd name="connsiteY193" fmla="*/ 84089 h 443948"/>
                          <a:gd name="connsiteX194" fmla="*/ 126612 w 653872"/>
                          <a:gd name="connsiteY194" fmla="*/ 84209 h 443948"/>
                          <a:gd name="connsiteX195" fmla="*/ 126612 w 653872"/>
                          <a:gd name="connsiteY195" fmla="*/ 84328 h 443948"/>
                          <a:gd name="connsiteX196" fmla="*/ 126612 w 653872"/>
                          <a:gd name="connsiteY196" fmla="*/ 84448 h 443948"/>
                          <a:gd name="connsiteX197" fmla="*/ 126492 w 653872"/>
                          <a:gd name="connsiteY197" fmla="*/ 84627 h 443948"/>
                          <a:gd name="connsiteX198" fmla="*/ 124100 w 653872"/>
                          <a:gd name="connsiteY198" fmla="*/ 83012 h 443948"/>
                          <a:gd name="connsiteX199" fmla="*/ 125475 w 653872"/>
                          <a:gd name="connsiteY199" fmla="*/ 83909 h 443948"/>
                          <a:gd name="connsiteX200" fmla="*/ 125535 w 653872"/>
                          <a:gd name="connsiteY200" fmla="*/ 83610 h 443948"/>
                          <a:gd name="connsiteX201" fmla="*/ 125595 w 653872"/>
                          <a:gd name="connsiteY201" fmla="*/ 83311 h 443948"/>
                          <a:gd name="connsiteX202" fmla="*/ 125655 w 653872"/>
                          <a:gd name="connsiteY202" fmla="*/ 83012 h 443948"/>
                          <a:gd name="connsiteX203" fmla="*/ 125715 w 653872"/>
                          <a:gd name="connsiteY203" fmla="*/ 82713 h 443948"/>
                          <a:gd name="connsiteX204" fmla="*/ 125655 w 653872"/>
                          <a:gd name="connsiteY204" fmla="*/ 82654 h 443948"/>
                          <a:gd name="connsiteX205" fmla="*/ 125595 w 653872"/>
                          <a:gd name="connsiteY205" fmla="*/ 82534 h 443948"/>
                          <a:gd name="connsiteX206" fmla="*/ 125535 w 653872"/>
                          <a:gd name="connsiteY206" fmla="*/ 82414 h 443948"/>
                          <a:gd name="connsiteX207" fmla="*/ 125475 w 653872"/>
                          <a:gd name="connsiteY207" fmla="*/ 82295 h 443948"/>
                          <a:gd name="connsiteX208" fmla="*/ 124339 w 653872"/>
                          <a:gd name="connsiteY208" fmla="*/ 81517 h 443948"/>
                          <a:gd name="connsiteX209" fmla="*/ 124279 w 653872"/>
                          <a:gd name="connsiteY209" fmla="*/ 81876 h 443948"/>
                          <a:gd name="connsiteX210" fmla="*/ 124219 w 653872"/>
                          <a:gd name="connsiteY210" fmla="*/ 82235 h 443948"/>
                          <a:gd name="connsiteX211" fmla="*/ 124159 w 653872"/>
                          <a:gd name="connsiteY211" fmla="*/ 82594 h 443948"/>
                          <a:gd name="connsiteX212" fmla="*/ 124100 w 653872"/>
                          <a:gd name="connsiteY212" fmla="*/ 83012 h 443948"/>
                          <a:gd name="connsiteX213" fmla="*/ 102689 w 653872"/>
                          <a:gd name="connsiteY213" fmla="*/ 68539 h 443948"/>
                          <a:gd name="connsiteX214" fmla="*/ 122964 w 653872"/>
                          <a:gd name="connsiteY214" fmla="*/ 82295 h 443948"/>
                          <a:gd name="connsiteX215" fmla="*/ 123023 w 653872"/>
                          <a:gd name="connsiteY215" fmla="*/ 81936 h 443948"/>
                          <a:gd name="connsiteX216" fmla="*/ 123083 w 653872"/>
                          <a:gd name="connsiteY216" fmla="*/ 81577 h 443948"/>
                          <a:gd name="connsiteX217" fmla="*/ 123143 w 653872"/>
                          <a:gd name="connsiteY217" fmla="*/ 81218 h 443948"/>
                          <a:gd name="connsiteX218" fmla="*/ 123203 w 653872"/>
                          <a:gd name="connsiteY218" fmla="*/ 80859 h 443948"/>
                          <a:gd name="connsiteX219" fmla="*/ 103526 w 653872"/>
                          <a:gd name="connsiteY219" fmla="*/ 67522 h 443948"/>
                          <a:gd name="connsiteX220" fmla="*/ 102689 w 653872"/>
                          <a:gd name="connsiteY220" fmla="*/ 68539 h 443948"/>
                          <a:gd name="connsiteX221" fmla="*/ 45812 w 653872"/>
                          <a:gd name="connsiteY221" fmla="*/ 30023 h 443948"/>
                          <a:gd name="connsiteX222" fmla="*/ 101732 w 653872"/>
                          <a:gd name="connsiteY222" fmla="*/ 67881 h 443948"/>
                          <a:gd name="connsiteX223" fmla="*/ 102509 w 653872"/>
                          <a:gd name="connsiteY223" fmla="*/ 66864 h 443948"/>
                          <a:gd name="connsiteX224" fmla="*/ 46590 w 653872"/>
                          <a:gd name="connsiteY224" fmla="*/ 28946 h 443948"/>
                          <a:gd name="connsiteX225" fmla="*/ 45812 w 653872"/>
                          <a:gd name="connsiteY225" fmla="*/ 30023 h 443948"/>
                          <a:gd name="connsiteX226" fmla="*/ 28648 w 653872"/>
                          <a:gd name="connsiteY226" fmla="*/ 18421 h 443948"/>
                          <a:gd name="connsiteX227" fmla="*/ 44796 w 653872"/>
                          <a:gd name="connsiteY227" fmla="*/ 29365 h 443948"/>
                          <a:gd name="connsiteX228" fmla="*/ 45633 w 653872"/>
                          <a:gd name="connsiteY228" fmla="*/ 28349 h 443948"/>
                          <a:gd name="connsiteX229" fmla="*/ 29485 w 653872"/>
                          <a:gd name="connsiteY229" fmla="*/ 17404 h 443948"/>
                          <a:gd name="connsiteX230" fmla="*/ 28648 w 653872"/>
                          <a:gd name="connsiteY230" fmla="*/ 18421 h 443948"/>
                          <a:gd name="connsiteX231" fmla="*/ 15370 w 653872"/>
                          <a:gd name="connsiteY231" fmla="*/ 9390 h 443948"/>
                          <a:gd name="connsiteX232" fmla="*/ 27631 w 653872"/>
                          <a:gd name="connsiteY232" fmla="*/ 17703 h 443948"/>
                          <a:gd name="connsiteX233" fmla="*/ 28468 w 653872"/>
                          <a:gd name="connsiteY233" fmla="*/ 16686 h 443948"/>
                          <a:gd name="connsiteX234" fmla="*/ 16208 w 653872"/>
                          <a:gd name="connsiteY234" fmla="*/ 8373 h 443948"/>
                          <a:gd name="connsiteX235" fmla="*/ 15370 w 653872"/>
                          <a:gd name="connsiteY235" fmla="*/ 9390 h 443948"/>
                          <a:gd name="connsiteX236" fmla="*/ 626301 w 653872"/>
                          <a:gd name="connsiteY236" fmla="*/ 427203 h 443948"/>
                          <a:gd name="connsiteX237" fmla="*/ 650762 w 653872"/>
                          <a:gd name="connsiteY237" fmla="*/ 443650 h 443948"/>
                          <a:gd name="connsiteX238" fmla="*/ 651241 w 653872"/>
                          <a:gd name="connsiteY238" fmla="*/ 443949 h 443948"/>
                          <a:gd name="connsiteX239" fmla="*/ 653872 w 653872"/>
                          <a:gd name="connsiteY239" fmla="*/ 440600 h 443948"/>
                          <a:gd name="connsiteX240" fmla="*/ 653394 w 653872"/>
                          <a:gd name="connsiteY240" fmla="*/ 440301 h 443948"/>
                          <a:gd name="connsiteX241" fmla="*/ 626600 w 653872"/>
                          <a:gd name="connsiteY241" fmla="*/ 422119 h 443948"/>
                          <a:gd name="connsiteX242" fmla="*/ 626660 w 653872"/>
                          <a:gd name="connsiteY242" fmla="*/ 422418 h 443948"/>
                          <a:gd name="connsiteX243" fmla="*/ 626720 w 653872"/>
                          <a:gd name="connsiteY243" fmla="*/ 422717 h 443948"/>
                          <a:gd name="connsiteX244" fmla="*/ 626720 w 653872"/>
                          <a:gd name="connsiteY244" fmla="*/ 423016 h 443948"/>
                          <a:gd name="connsiteX245" fmla="*/ 626720 w 653872"/>
                          <a:gd name="connsiteY245" fmla="*/ 423315 h 443948"/>
                          <a:gd name="connsiteX246" fmla="*/ 652856 w 653872"/>
                          <a:gd name="connsiteY246" fmla="*/ 441018 h 443948"/>
                          <a:gd name="connsiteX247" fmla="*/ 651300 w 653872"/>
                          <a:gd name="connsiteY247" fmla="*/ 442932 h 443948"/>
                          <a:gd name="connsiteX248" fmla="*/ 626481 w 653872"/>
                          <a:gd name="connsiteY248" fmla="*/ 426186 h 443948"/>
                          <a:gd name="connsiteX249" fmla="*/ 626421 w 653872"/>
                          <a:gd name="connsiteY249" fmla="*/ 426425 h 443948"/>
                          <a:gd name="connsiteX250" fmla="*/ 626361 w 653872"/>
                          <a:gd name="connsiteY250" fmla="*/ 426664 h 443948"/>
                          <a:gd name="connsiteX251" fmla="*/ 626301 w 653872"/>
                          <a:gd name="connsiteY251" fmla="*/ 426904 h 443948"/>
                          <a:gd name="connsiteX252" fmla="*/ 626301 w 653872"/>
                          <a:gd name="connsiteY252" fmla="*/ 427203 h 443948"/>
                          <a:gd name="connsiteX253" fmla="*/ 624806 w 653872"/>
                          <a:gd name="connsiteY253" fmla="*/ 426186 h 443948"/>
                          <a:gd name="connsiteX254" fmla="*/ 625643 w 653872"/>
                          <a:gd name="connsiteY254" fmla="*/ 426784 h 443948"/>
                          <a:gd name="connsiteX255" fmla="*/ 625703 w 653872"/>
                          <a:gd name="connsiteY255" fmla="*/ 426545 h 443948"/>
                          <a:gd name="connsiteX256" fmla="*/ 625763 w 653872"/>
                          <a:gd name="connsiteY256" fmla="*/ 426306 h 443948"/>
                          <a:gd name="connsiteX257" fmla="*/ 625823 w 653872"/>
                          <a:gd name="connsiteY257" fmla="*/ 426067 h 443948"/>
                          <a:gd name="connsiteX258" fmla="*/ 625882 w 653872"/>
                          <a:gd name="connsiteY258" fmla="*/ 425827 h 443948"/>
                          <a:gd name="connsiteX259" fmla="*/ 624986 w 653872"/>
                          <a:gd name="connsiteY259" fmla="*/ 425229 h 443948"/>
                          <a:gd name="connsiteX260" fmla="*/ 624986 w 653872"/>
                          <a:gd name="connsiteY260" fmla="*/ 425349 h 443948"/>
                          <a:gd name="connsiteX261" fmla="*/ 624986 w 653872"/>
                          <a:gd name="connsiteY261" fmla="*/ 425469 h 443948"/>
                          <a:gd name="connsiteX262" fmla="*/ 624986 w 653872"/>
                          <a:gd name="connsiteY262" fmla="*/ 425588 h 443948"/>
                          <a:gd name="connsiteX263" fmla="*/ 624986 w 653872"/>
                          <a:gd name="connsiteY263" fmla="*/ 425708 h 443948"/>
                          <a:gd name="connsiteX264" fmla="*/ 624986 w 653872"/>
                          <a:gd name="connsiteY264" fmla="*/ 425827 h 443948"/>
                          <a:gd name="connsiteX265" fmla="*/ 624986 w 653872"/>
                          <a:gd name="connsiteY265" fmla="*/ 425947 h 443948"/>
                          <a:gd name="connsiteX266" fmla="*/ 624986 w 653872"/>
                          <a:gd name="connsiteY266" fmla="*/ 426067 h 443948"/>
                          <a:gd name="connsiteX267" fmla="*/ 624806 w 653872"/>
                          <a:gd name="connsiteY267" fmla="*/ 426186 h 443948"/>
                          <a:gd name="connsiteX268" fmla="*/ 623191 w 653872"/>
                          <a:gd name="connsiteY268" fmla="*/ 425110 h 443948"/>
                          <a:gd name="connsiteX269" fmla="*/ 623849 w 653872"/>
                          <a:gd name="connsiteY269" fmla="*/ 425588 h 443948"/>
                          <a:gd name="connsiteX270" fmla="*/ 623909 w 653872"/>
                          <a:gd name="connsiteY270" fmla="*/ 425469 h 443948"/>
                          <a:gd name="connsiteX271" fmla="*/ 623969 w 653872"/>
                          <a:gd name="connsiteY271" fmla="*/ 425349 h 443948"/>
                          <a:gd name="connsiteX272" fmla="*/ 624028 w 653872"/>
                          <a:gd name="connsiteY272" fmla="*/ 425229 h 443948"/>
                          <a:gd name="connsiteX273" fmla="*/ 624088 w 653872"/>
                          <a:gd name="connsiteY273" fmla="*/ 425110 h 443948"/>
                          <a:gd name="connsiteX274" fmla="*/ 624088 w 653872"/>
                          <a:gd name="connsiteY274" fmla="*/ 425050 h 443948"/>
                          <a:gd name="connsiteX275" fmla="*/ 624088 w 653872"/>
                          <a:gd name="connsiteY275" fmla="*/ 424990 h 443948"/>
                          <a:gd name="connsiteX276" fmla="*/ 624088 w 653872"/>
                          <a:gd name="connsiteY276" fmla="*/ 424930 h 443948"/>
                          <a:gd name="connsiteX277" fmla="*/ 624088 w 653872"/>
                          <a:gd name="connsiteY277" fmla="*/ 424870 h 443948"/>
                          <a:gd name="connsiteX278" fmla="*/ 623550 w 653872"/>
                          <a:gd name="connsiteY278" fmla="*/ 424511 h 443948"/>
                          <a:gd name="connsiteX279" fmla="*/ 623430 w 653872"/>
                          <a:gd name="connsiteY279" fmla="*/ 424691 h 443948"/>
                          <a:gd name="connsiteX280" fmla="*/ 623311 w 653872"/>
                          <a:gd name="connsiteY280" fmla="*/ 424870 h 443948"/>
                          <a:gd name="connsiteX281" fmla="*/ 623191 w 653872"/>
                          <a:gd name="connsiteY281" fmla="*/ 425050 h 443948"/>
                          <a:gd name="connsiteX282" fmla="*/ 623191 w 653872"/>
                          <a:gd name="connsiteY282" fmla="*/ 425110 h 443948"/>
                          <a:gd name="connsiteX283" fmla="*/ 621277 w 653872"/>
                          <a:gd name="connsiteY283" fmla="*/ 423794 h 443948"/>
                          <a:gd name="connsiteX284" fmla="*/ 622713 w 653872"/>
                          <a:gd name="connsiteY284" fmla="*/ 424751 h 443948"/>
                          <a:gd name="connsiteX285" fmla="*/ 622832 w 653872"/>
                          <a:gd name="connsiteY285" fmla="*/ 424571 h 443948"/>
                          <a:gd name="connsiteX286" fmla="*/ 622952 w 653872"/>
                          <a:gd name="connsiteY286" fmla="*/ 424392 h 443948"/>
                          <a:gd name="connsiteX287" fmla="*/ 623072 w 653872"/>
                          <a:gd name="connsiteY287" fmla="*/ 424213 h 443948"/>
                          <a:gd name="connsiteX288" fmla="*/ 623191 w 653872"/>
                          <a:gd name="connsiteY288" fmla="*/ 424033 h 443948"/>
                          <a:gd name="connsiteX289" fmla="*/ 621756 w 653872"/>
                          <a:gd name="connsiteY289" fmla="*/ 423076 h 443948"/>
                          <a:gd name="connsiteX290" fmla="*/ 621636 w 653872"/>
                          <a:gd name="connsiteY290" fmla="*/ 423256 h 443948"/>
                          <a:gd name="connsiteX291" fmla="*/ 621517 w 653872"/>
                          <a:gd name="connsiteY291" fmla="*/ 423435 h 443948"/>
                          <a:gd name="connsiteX292" fmla="*/ 621397 w 653872"/>
                          <a:gd name="connsiteY292" fmla="*/ 423615 h 443948"/>
                          <a:gd name="connsiteX293" fmla="*/ 621277 w 653872"/>
                          <a:gd name="connsiteY293" fmla="*/ 423794 h 443948"/>
                          <a:gd name="connsiteX294" fmla="*/ 620081 w 653872"/>
                          <a:gd name="connsiteY294" fmla="*/ 422956 h 443948"/>
                          <a:gd name="connsiteX295" fmla="*/ 620739 w 653872"/>
                          <a:gd name="connsiteY295" fmla="*/ 423435 h 443948"/>
                          <a:gd name="connsiteX296" fmla="*/ 620859 w 653872"/>
                          <a:gd name="connsiteY296" fmla="*/ 423256 h 443948"/>
                          <a:gd name="connsiteX297" fmla="*/ 620978 w 653872"/>
                          <a:gd name="connsiteY297" fmla="*/ 423076 h 443948"/>
                          <a:gd name="connsiteX298" fmla="*/ 621098 w 653872"/>
                          <a:gd name="connsiteY298" fmla="*/ 422897 h 443948"/>
                          <a:gd name="connsiteX299" fmla="*/ 621218 w 653872"/>
                          <a:gd name="connsiteY299" fmla="*/ 422717 h 443948"/>
                          <a:gd name="connsiteX300" fmla="*/ 620559 w 653872"/>
                          <a:gd name="connsiteY300" fmla="*/ 422239 h 443948"/>
                          <a:gd name="connsiteX301" fmla="*/ 620440 w 653872"/>
                          <a:gd name="connsiteY301" fmla="*/ 422418 h 443948"/>
                          <a:gd name="connsiteX302" fmla="*/ 620320 w 653872"/>
                          <a:gd name="connsiteY302" fmla="*/ 422598 h 443948"/>
                          <a:gd name="connsiteX303" fmla="*/ 620201 w 653872"/>
                          <a:gd name="connsiteY303" fmla="*/ 422777 h 443948"/>
                          <a:gd name="connsiteX304" fmla="*/ 620081 w 653872"/>
                          <a:gd name="connsiteY304" fmla="*/ 422956 h 443948"/>
                          <a:gd name="connsiteX305" fmla="*/ 608180 w 653872"/>
                          <a:gd name="connsiteY305" fmla="*/ 414942 h 443948"/>
                          <a:gd name="connsiteX306" fmla="*/ 619543 w 653872"/>
                          <a:gd name="connsiteY306" fmla="*/ 422598 h 443948"/>
                          <a:gd name="connsiteX307" fmla="*/ 619663 w 653872"/>
                          <a:gd name="connsiteY307" fmla="*/ 422418 h 443948"/>
                          <a:gd name="connsiteX308" fmla="*/ 619782 w 653872"/>
                          <a:gd name="connsiteY308" fmla="*/ 422239 h 443948"/>
                          <a:gd name="connsiteX309" fmla="*/ 619902 w 653872"/>
                          <a:gd name="connsiteY309" fmla="*/ 422060 h 443948"/>
                          <a:gd name="connsiteX310" fmla="*/ 620021 w 653872"/>
                          <a:gd name="connsiteY310" fmla="*/ 421880 h 443948"/>
                          <a:gd name="connsiteX311" fmla="*/ 608778 w 653872"/>
                          <a:gd name="connsiteY311" fmla="*/ 414285 h 443948"/>
                          <a:gd name="connsiteX312" fmla="*/ 608180 w 653872"/>
                          <a:gd name="connsiteY312" fmla="*/ 414942 h 443948"/>
                          <a:gd name="connsiteX313" fmla="*/ 577319 w 653872"/>
                          <a:gd name="connsiteY313" fmla="*/ 394189 h 443948"/>
                          <a:gd name="connsiteX314" fmla="*/ 607641 w 653872"/>
                          <a:gd name="connsiteY314" fmla="*/ 414644 h 443948"/>
                          <a:gd name="connsiteX315" fmla="*/ 608180 w 653872"/>
                          <a:gd name="connsiteY315" fmla="*/ 413926 h 443948"/>
                          <a:gd name="connsiteX316" fmla="*/ 577857 w 653872"/>
                          <a:gd name="connsiteY316" fmla="*/ 393472 h 443948"/>
                          <a:gd name="connsiteX317" fmla="*/ 577319 w 653872"/>
                          <a:gd name="connsiteY317" fmla="*/ 394189 h 443948"/>
                          <a:gd name="connsiteX318" fmla="*/ 568109 w 653872"/>
                          <a:gd name="connsiteY318" fmla="*/ 387969 h 443948"/>
                          <a:gd name="connsiteX319" fmla="*/ 576781 w 653872"/>
                          <a:gd name="connsiteY319" fmla="*/ 393830 h 443948"/>
                          <a:gd name="connsiteX320" fmla="*/ 577379 w 653872"/>
                          <a:gd name="connsiteY320" fmla="*/ 393113 h 443948"/>
                          <a:gd name="connsiteX321" fmla="*/ 568707 w 653872"/>
                          <a:gd name="connsiteY321" fmla="*/ 387252 h 443948"/>
                          <a:gd name="connsiteX322" fmla="*/ 568109 w 653872"/>
                          <a:gd name="connsiteY322" fmla="*/ 387969 h 443948"/>
                          <a:gd name="connsiteX323" fmla="*/ 560992 w 653872"/>
                          <a:gd name="connsiteY323" fmla="*/ 383185 h 443948"/>
                          <a:gd name="connsiteX324" fmla="*/ 567570 w 653872"/>
                          <a:gd name="connsiteY324" fmla="*/ 387611 h 443948"/>
                          <a:gd name="connsiteX325" fmla="*/ 568169 w 653872"/>
                          <a:gd name="connsiteY325" fmla="*/ 386893 h 443948"/>
                          <a:gd name="connsiteX326" fmla="*/ 561590 w 653872"/>
                          <a:gd name="connsiteY326" fmla="*/ 382467 h 443948"/>
                          <a:gd name="connsiteX327" fmla="*/ 560992 w 653872"/>
                          <a:gd name="connsiteY327" fmla="*/ 383185 h 443948"/>
                          <a:gd name="connsiteX328" fmla="*/ 344489 w 653872"/>
                          <a:gd name="connsiteY328" fmla="*/ 237195 h 443948"/>
                          <a:gd name="connsiteX329" fmla="*/ 560453 w 653872"/>
                          <a:gd name="connsiteY329" fmla="*/ 382826 h 443948"/>
                          <a:gd name="connsiteX330" fmla="*/ 561052 w 653872"/>
                          <a:gd name="connsiteY330" fmla="*/ 382108 h 443948"/>
                          <a:gd name="connsiteX331" fmla="*/ 344489 w 653872"/>
                          <a:gd name="connsiteY331" fmla="*/ 235940 h 443948"/>
                          <a:gd name="connsiteX332" fmla="*/ 344489 w 653872"/>
                          <a:gd name="connsiteY332" fmla="*/ 236238 h 443948"/>
                          <a:gd name="connsiteX333" fmla="*/ 344489 w 653872"/>
                          <a:gd name="connsiteY333" fmla="*/ 236537 h 443948"/>
                          <a:gd name="connsiteX334" fmla="*/ 344489 w 653872"/>
                          <a:gd name="connsiteY334" fmla="*/ 236836 h 443948"/>
                          <a:gd name="connsiteX335" fmla="*/ 344489 w 653872"/>
                          <a:gd name="connsiteY335" fmla="*/ 237195 h 443948"/>
                          <a:gd name="connsiteX336" fmla="*/ 342157 w 653872"/>
                          <a:gd name="connsiteY336" fmla="*/ 235640 h 443948"/>
                          <a:gd name="connsiteX337" fmla="*/ 343473 w 653872"/>
                          <a:gd name="connsiteY337" fmla="*/ 236537 h 443948"/>
                          <a:gd name="connsiteX338" fmla="*/ 343473 w 653872"/>
                          <a:gd name="connsiteY338" fmla="*/ 236418 h 443948"/>
                          <a:gd name="connsiteX339" fmla="*/ 343473 w 653872"/>
                          <a:gd name="connsiteY339" fmla="*/ 236298 h 443948"/>
                          <a:gd name="connsiteX340" fmla="*/ 343473 w 653872"/>
                          <a:gd name="connsiteY340" fmla="*/ 236179 h 443948"/>
                          <a:gd name="connsiteX341" fmla="*/ 343473 w 653872"/>
                          <a:gd name="connsiteY341" fmla="*/ 236059 h 443948"/>
                          <a:gd name="connsiteX342" fmla="*/ 343473 w 653872"/>
                          <a:gd name="connsiteY342" fmla="*/ 235880 h 443948"/>
                          <a:gd name="connsiteX343" fmla="*/ 343473 w 653872"/>
                          <a:gd name="connsiteY343" fmla="*/ 235700 h 443948"/>
                          <a:gd name="connsiteX344" fmla="*/ 343473 w 653872"/>
                          <a:gd name="connsiteY344" fmla="*/ 235521 h 443948"/>
                          <a:gd name="connsiteX345" fmla="*/ 343473 w 653872"/>
                          <a:gd name="connsiteY345" fmla="*/ 235341 h 443948"/>
                          <a:gd name="connsiteX346" fmla="*/ 342516 w 653872"/>
                          <a:gd name="connsiteY346" fmla="*/ 234683 h 443948"/>
                          <a:gd name="connsiteX347" fmla="*/ 342456 w 653872"/>
                          <a:gd name="connsiteY347" fmla="*/ 234863 h 443948"/>
                          <a:gd name="connsiteX348" fmla="*/ 342396 w 653872"/>
                          <a:gd name="connsiteY348" fmla="*/ 235042 h 443948"/>
                          <a:gd name="connsiteX349" fmla="*/ 342337 w 653872"/>
                          <a:gd name="connsiteY349" fmla="*/ 235222 h 443948"/>
                          <a:gd name="connsiteX350" fmla="*/ 342277 w 653872"/>
                          <a:gd name="connsiteY350" fmla="*/ 235401 h 443948"/>
                          <a:gd name="connsiteX351" fmla="*/ 342277 w 653872"/>
                          <a:gd name="connsiteY351" fmla="*/ 235461 h 443948"/>
                          <a:gd name="connsiteX352" fmla="*/ 342277 w 653872"/>
                          <a:gd name="connsiteY352" fmla="*/ 235521 h 443948"/>
                          <a:gd name="connsiteX353" fmla="*/ 342277 w 653872"/>
                          <a:gd name="connsiteY353" fmla="*/ 235581 h 443948"/>
                          <a:gd name="connsiteX354" fmla="*/ 342157 w 653872"/>
                          <a:gd name="connsiteY354" fmla="*/ 235640 h 443948"/>
                          <a:gd name="connsiteX355" fmla="*/ 340303 w 653872"/>
                          <a:gd name="connsiteY355" fmla="*/ 234325 h 443948"/>
                          <a:gd name="connsiteX356" fmla="*/ 341080 w 653872"/>
                          <a:gd name="connsiteY356" fmla="*/ 234863 h 443948"/>
                          <a:gd name="connsiteX357" fmla="*/ 341021 w 653872"/>
                          <a:gd name="connsiteY357" fmla="*/ 234504 h 443948"/>
                          <a:gd name="connsiteX358" fmla="*/ 340961 w 653872"/>
                          <a:gd name="connsiteY358" fmla="*/ 234145 h 443948"/>
                          <a:gd name="connsiteX359" fmla="*/ 340901 w 653872"/>
                          <a:gd name="connsiteY359" fmla="*/ 233786 h 443948"/>
                          <a:gd name="connsiteX360" fmla="*/ 340841 w 653872"/>
                          <a:gd name="connsiteY360" fmla="*/ 233427 h 443948"/>
                          <a:gd name="connsiteX361" fmla="*/ 340722 w 653872"/>
                          <a:gd name="connsiteY361" fmla="*/ 233368 h 443948"/>
                          <a:gd name="connsiteX362" fmla="*/ 340602 w 653872"/>
                          <a:gd name="connsiteY362" fmla="*/ 233607 h 443948"/>
                          <a:gd name="connsiteX363" fmla="*/ 340482 w 653872"/>
                          <a:gd name="connsiteY363" fmla="*/ 233846 h 443948"/>
                          <a:gd name="connsiteX364" fmla="*/ 340363 w 653872"/>
                          <a:gd name="connsiteY364" fmla="*/ 234086 h 443948"/>
                          <a:gd name="connsiteX365" fmla="*/ 340303 w 653872"/>
                          <a:gd name="connsiteY365" fmla="*/ 234325 h 443948"/>
                          <a:gd name="connsiteX366" fmla="*/ 337313 w 653872"/>
                          <a:gd name="connsiteY366" fmla="*/ 232351 h 443948"/>
                          <a:gd name="connsiteX367" fmla="*/ 339525 w 653872"/>
                          <a:gd name="connsiteY367" fmla="*/ 233846 h 443948"/>
                          <a:gd name="connsiteX368" fmla="*/ 339645 w 653872"/>
                          <a:gd name="connsiteY368" fmla="*/ 233607 h 443948"/>
                          <a:gd name="connsiteX369" fmla="*/ 339765 w 653872"/>
                          <a:gd name="connsiteY369" fmla="*/ 233368 h 443948"/>
                          <a:gd name="connsiteX370" fmla="*/ 339884 w 653872"/>
                          <a:gd name="connsiteY370" fmla="*/ 233128 h 443948"/>
                          <a:gd name="connsiteX371" fmla="*/ 340004 w 653872"/>
                          <a:gd name="connsiteY371" fmla="*/ 232889 h 443948"/>
                          <a:gd name="connsiteX372" fmla="*/ 337791 w 653872"/>
                          <a:gd name="connsiteY372" fmla="*/ 231394 h 443948"/>
                          <a:gd name="connsiteX373" fmla="*/ 337671 w 653872"/>
                          <a:gd name="connsiteY373" fmla="*/ 231633 h 443948"/>
                          <a:gd name="connsiteX374" fmla="*/ 337552 w 653872"/>
                          <a:gd name="connsiteY374" fmla="*/ 231873 h 443948"/>
                          <a:gd name="connsiteX375" fmla="*/ 337432 w 653872"/>
                          <a:gd name="connsiteY375" fmla="*/ 232112 h 443948"/>
                          <a:gd name="connsiteX376" fmla="*/ 337313 w 653872"/>
                          <a:gd name="connsiteY376" fmla="*/ 232351 h 443948"/>
                          <a:gd name="connsiteX377" fmla="*/ 335518 w 653872"/>
                          <a:gd name="connsiteY377" fmla="*/ 231095 h 443948"/>
                          <a:gd name="connsiteX378" fmla="*/ 336535 w 653872"/>
                          <a:gd name="connsiteY378" fmla="*/ 231813 h 443948"/>
                          <a:gd name="connsiteX379" fmla="*/ 336655 w 653872"/>
                          <a:gd name="connsiteY379" fmla="*/ 231573 h 443948"/>
                          <a:gd name="connsiteX380" fmla="*/ 336774 w 653872"/>
                          <a:gd name="connsiteY380" fmla="*/ 231334 h 443948"/>
                          <a:gd name="connsiteX381" fmla="*/ 336894 w 653872"/>
                          <a:gd name="connsiteY381" fmla="*/ 231095 h 443948"/>
                          <a:gd name="connsiteX382" fmla="*/ 337014 w 653872"/>
                          <a:gd name="connsiteY382" fmla="*/ 230856 h 443948"/>
                          <a:gd name="connsiteX383" fmla="*/ 335997 w 653872"/>
                          <a:gd name="connsiteY383" fmla="*/ 230138 h 443948"/>
                          <a:gd name="connsiteX384" fmla="*/ 335877 w 653872"/>
                          <a:gd name="connsiteY384" fmla="*/ 230378 h 443948"/>
                          <a:gd name="connsiteX385" fmla="*/ 335757 w 653872"/>
                          <a:gd name="connsiteY385" fmla="*/ 230617 h 443948"/>
                          <a:gd name="connsiteX386" fmla="*/ 335638 w 653872"/>
                          <a:gd name="connsiteY386" fmla="*/ 230856 h 443948"/>
                          <a:gd name="connsiteX387" fmla="*/ 335518 w 653872"/>
                          <a:gd name="connsiteY387" fmla="*/ 231095 h 443948"/>
                          <a:gd name="connsiteX388" fmla="*/ 320387 w 653872"/>
                          <a:gd name="connsiteY388" fmla="*/ 220928 h 443948"/>
                          <a:gd name="connsiteX389" fmla="*/ 334741 w 653872"/>
                          <a:gd name="connsiteY389" fmla="*/ 230557 h 443948"/>
                          <a:gd name="connsiteX390" fmla="*/ 334861 w 653872"/>
                          <a:gd name="connsiteY390" fmla="*/ 230318 h 443948"/>
                          <a:gd name="connsiteX391" fmla="*/ 334980 w 653872"/>
                          <a:gd name="connsiteY391" fmla="*/ 230078 h 443948"/>
                          <a:gd name="connsiteX392" fmla="*/ 335040 w 653872"/>
                          <a:gd name="connsiteY392" fmla="*/ 229839 h 443948"/>
                          <a:gd name="connsiteX393" fmla="*/ 335100 w 653872"/>
                          <a:gd name="connsiteY393" fmla="*/ 229600 h 443948"/>
                          <a:gd name="connsiteX394" fmla="*/ 321105 w 653872"/>
                          <a:gd name="connsiteY394" fmla="*/ 220150 h 443948"/>
                          <a:gd name="connsiteX395" fmla="*/ 320387 w 653872"/>
                          <a:gd name="connsiteY395" fmla="*/ 220928 h 443948"/>
                          <a:gd name="connsiteX396" fmla="*/ 275771 w 653872"/>
                          <a:gd name="connsiteY396" fmla="*/ 190845 h 443948"/>
                          <a:gd name="connsiteX397" fmla="*/ 319669 w 653872"/>
                          <a:gd name="connsiteY397" fmla="*/ 220449 h 443948"/>
                          <a:gd name="connsiteX398" fmla="*/ 320327 w 653872"/>
                          <a:gd name="connsiteY398" fmla="*/ 219612 h 443948"/>
                          <a:gd name="connsiteX399" fmla="*/ 276489 w 653872"/>
                          <a:gd name="connsiteY399" fmla="*/ 190008 h 443948"/>
                          <a:gd name="connsiteX400" fmla="*/ 275771 w 653872"/>
                          <a:gd name="connsiteY400" fmla="*/ 190845 h 443948"/>
                          <a:gd name="connsiteX401" fmla="*/ 262374 w 653872"/>
                          <a:gd name="connsiteY401" fmla="*/ 181814 h 443948"/>
                          <a:gd name="connsiteX402" fmla="*/ 274994 w 653872"/>
                          <a:gd name="connsiteY402" fmla="*/ 190307 h 443948"/>
                          <a:gd name="connsiteX403" fmla="*/ 275711 w 653872"/>
                          <a:gd name="connsiteY403" fmla="*/ 189409 h 443948"/>
                          <a:gd name="connsiteX404" fmla="*/ 263092 w 653872"/>
                          <a:gd name="connsiteY404" fmla="*/ 180917 h 443948"/>
                          <a:gd name="connsiteX405" fmla="*/ 262374 w 653872"/>
                          <a:gd name="connsiteY405" fmla="*/ 181814 h 443948"/>
                          <a:gd name="connsiteX406" fmla="*/ 251968 w 653872"/>
                          <a:gd name="connsiteY406" fmla="*/ 174816 h 443948"/>
                          <a:gd name="connsiteX407" fmla="*/ 261537 w 653872"/>
                          <a:gd name="connsiteY407" fmla="*/ 181276 h 443948"/>
                          <a:gd name="connsiteX408" fmla="*/ 262255 w 653872"/>
                          <a:gd name="connsiteY408" fmla="*/ 180378 h 443948"/>
                          <a:gd name="connsiteX409" fmla="*/ 252686 w 653872"/>
                          <a:gd name="connsiteY409" fmla="*/ 173919 h 443948"/>
                          <a:gd name="connsiteX410" fmla="*/ 251968 w 653872"/>
                          <a:gd name="connsiteY410" fmla="*/ 174816 h 443948"/>
                          <a:gd name="connsiteX411" fmla="*/ 133609 w 653872"/>
                          <a:gd name="connsiteY411" fmla="*/ 94974 h 443948"/>
                          <a:gd name="connsiteX412" fmla="*/ 251190 w 653872"/>
                          <a:gd name="connsiteY412" fmla="*/ 174278 h 443948"/>
                          <a:gd name="connsiteX413" fmla="*/ 251908 w 653872"/>
                          <a:gd name="connsiteY413" fmla="*/ 173381 h 443948"/>
                          <a:gd name="connsiteX414" fmla="*/ 133669 w 653872"/>
                          <a:gd name="connsiteY414" fmla="*/ 93598 h 443948"/>
                          <a:gd name="connsiteX415" fmla="*/ 133669 w 653872"/>
                          <a:gd name="connsiteY415" fmla="*/ 93957 h 443948"/>
                          <a:gd name="connsiteX416" fmla="*/ 133669 w 653872"/>
                          <a:gd name="connsiteY416" fmla="*/ 94316 h 443948"/>
                          <a:gd name="connsiteX417" fmla="*/ 133669 w 653872"/>
                          <a:gd name="connsiteY417" fmla="*/ 94675 h 443948"/>
                          <a:gd name="connsiteX418" fmla="*/ 133609 w 653872"/>
                          <a:gd name="connsiteY418" fmla="*/ 94974 h 443948"/>
                          <a:gd name="connsiteX419" fmla="*/ 130858 w 653872"/>
                          <a:gd name="connsiteY419" fmla="*/ 93180 h 443948"/>
                          <a:gd name="connsiteX420" fmla="*/ 132413 w 653872"/>
                          <a:gd name="connsiteY420" fmla="*/ 94256 h 443948"/>
                          <a:gd name="connsiteX421" fmla="*/ 132413 w 653872"/>
                          <a:gd name="connsiteY421" fmla="*/ 93897 h 443948"/>
                          <a:gd name="connsiteX422" fmla="*/ 132413 w 653872"/>
                          <a:gd name="connsiteY422" fmla="*/ 93539 h 443948"/>
                          <a:gd name="connsiteX423" fmla="*/ 132413 w 653872"/>
                          <a:gd name="connsiteY423" fmla="*/ 93180 h 443948"/>
                          <a:gd name="connsiteX424" fmla="*/ 132413 w 653872"/>
                          <a:gd name="connsiteY424" fmla="*/ 92821 h 443948"/>
                          <a:gd name="connsiteX425" fmla="*/ 130978 w 653872"/>
                          <a:gd name="connsiteY425" fmla="*/ 91864 h 443948"/>
                          <a:gd name="connsiteX426" fmla="*/ 130918 w 653872"/>
                          <a:gd name="connsiteY426" fmla="*/ 91984 h 443948"/>
                          <a:gd name="connsiteX427" fmla="*/ 130858 w 653872"/>
                          <a:gd name="connsiteY427" fmla="*/ 92103 h 443948"/>
                          <a:gd name="connsiteX428" fmla="*/ 130798 w 653872"/>
                          <a:gd name="connsiteY428" fmla="*/ 92223 h 443948"/>
                          <a:gd name="connsiteX429" fmla="*/ 130739 w 653872"/>
                          <a:gd name="connsiteY429" fmla="*/ 92342 h 443948"/>
                          <a:gd name="connsiteX430" fmla="*/ 130739 w 653872"/>
                          <a:gd name="connsiteY430" fmla="*/ 92522 h 443948"/>
                          <a:gd name="connsiteX431" fmla="*/ 130739 w 653872"/>
                          <a:gd name="connsiteY431" fmla="*/ 92701 h 443948"/>
                          <a:gd name="connsiteX432" fmla="*/ 130739 w 653872"/>
                          <a:gd name="connsiteY432" fmla="*/ 92880 h 443948"/>
                          <a:gd name="connsiteX433" fmla="*/ 130739 w 653872"/>
                          <a:gd name="connsiteY433" fmla="*/ 93060 h 443948"/>
                          <a:gd name="connsiteX434" fmla="*/ 130739 w 653872"/>
                          <a:gd name="connsiteY434" fmla="*/ 93120 h 443948"/>
                          <a:gd name="connsiteX435" fmla="*/ 130739 w 653872"/>
                          <a:gd name="connsiteY435" fmla="*/ 93180 h 443948"/>
                          <a:gd name="connsiteX436" fmla="*/ 130858 w 653872"/>
                          <a:gd name="connsiteY436" fmla="*/ 93180 h 443948"/>
                          <a:gd name="connsiteX437" fmla="*/ 130858 w 653872"/>
                          <a:gd name="connsiteY437" fmla="*/ 93180 h 443948"/>
                          <a:gd name="connsiteX438" fmla="*/ 128286 w 653872"/>
                          <a:gd name="connsiteY438" fmla="*/ 91385 h 443948"/>
                          <a:gd name="connsiteX439" fmla="*/ 129542 w 653872"/>
                          <a:gd name="connsiteY439" fmla="*/ 92223 h 443948"/>
                          <a:gd name="connsiteX440" fmla="*/ 129542 w 653872"/>
                          <a:gd name="connsiteY440" fmla="*/ 92223 h 443948"/>
                          <a:gd name="connsiteX441" fmla="*/ 129542 w 653872"/>
                          <a:gd name="connsiteY441" fmla="*/ 92223 h 443948"/>
                          <a:gd name="connsiteX442" fmla="*/ 129542 w 653872"/>
                          <a:gd name="connsiteY442" fmla="*/ 92223 h 443948"/>
                          <a:gd name="connsiteX443" fmla="*/ 129542 w 653872"/>
                          <a:gd name="connsiteY443" fmla="*/ 92223 h 443948"/>
                          <a:gd name="connsiteX444" fmla="*/ 129482 w 653872"/>
                          <a:gd name="connsiteY444" fmla="*/ 91804 h 443948"/>
                          <a:gd name="connsiteX445" fmla="*/ 129423 w 653872"/>
                          <a:gd name="connsiteY445" fmla="*/ 91385 h 443948"/>
                          <a:gd name="connsiteX446" fmla="*/ 129363 w 653872"/>
                          <a:gd name="connsiteY446" fmla="*/ 90967 h 443948"/>
                          <a:gd name="connsiteX447" fmla="*/ 129303 w 653872"/>
                          <a:gd name="connsiteY447" fmla="*/ 90548 h 443948"/>
                          <a:gd name="connsiteX448" fmla="*/ 128825 w 653872"/>
                          <a:gd name="connsiteY448" fmla="*/ 90249 h 443948"/>
                          <a:gd name="connsiteX449" fmla="*/ 128705 w 653872"/>
                          <a:gd name="connsiteY449" fmla="*/ 90548 h 443948"/>
                          <a:gd name="connsiteX450" fmla="*/ 128586 w 653872"/>
                          <a:gd name="connsiteY450" fmla="*/ 90847 h 443948"/>
                          <a:gd name="connsiteX451" fmla="*/ 128466 w 653872"/>
                          <a:gd name="connsiteY451" fmla="*/ 91146 h 443948"/>
                          <a:gd name="connsiteX452" fmla="*/ 128286 w 653872"/>
                          <a:gd name="connsiteY452" fmla="*/ 91385 h 443948"/>
                          <a:gd name="connsiteX453" fmla="*/ 124877 w 653872"/>
                          <a:gd name="connsiteY453" fmla="*/ 89113 h 443948"/>
                          <a:gd name="connsiteX454" fmla="*/ 127329 w 653872"/>
                          <a:gd name="connsiteY454" fmla="*/ 90787 h 443948"/>
                          <a:gd name="connsiteX455" fmla="*/ 127449 w 653872"/>
                          <a:gd name="connsiteY455" fmla="*/ 90488 h 443948"/>
                          <a:gd name="connsiteX456" fmla="*/ 127569 w 653872"/>
                          <a:gd name="connsiteY456" fmla="*/ 90189 h 443948"/>
                          <a:gd name="connsiteX457" fmla="*/ 127688 w 653872"/>
                          <a:gd name="connsiteY457" fmla="*/ 89890 h 443948"/>
                          <a:gd name="connsiteX458" fmla="*/ 127808 w 653872"/>
                          <a:gd name="connsiteY458" fmla="*/ 89591 h 443948"/>
                          <a:gd name="connsiteX459" fmla="*/ 125356 w 653872"/>
                          <a:gd name="connsiteY459" fmla="*/ 87917 h 443948"/>
                          <a:gd name="connsiteX460" fmla="*/ 125236 w 653872"/>
                          <a:gd name="connsiteY460" fmla="*/ 88216 h 443948"/>
                          <a:gd name="connsiteX461" fmla="*/ 125117 w 653872"/>
                          <a:gd name="connsiteY461" fmla="*/ 88515 h 443948"/>
                          <a:gd name="connsiteX462" fmla="*/ 124997 w 653872"/>
                          <a:gd name="connsiteY462" fmla="*/ 88814 h 443948"/>
                          <a:gd name="connsiteX463" fmla="*/ 124877 w 653872"/>
                          <a:gd name="connsiteY463" fmla="*/ 89113 h 443948"/>
                          <a:gd name="connsiteX464" fmla="*/ 122664 w 653872"/>
                          <a:gd name="connsiteY464" fmla="*/ 87617 h 443948"/>
                          <a:gd name="connsiteX465" fmla="*/ 123920 w 653872"/>
                          <a:gd name="connsiteY465" fmla="*/ 88455 h 443948"/>
                          <a:gd name="connsiteX466" fmla="*/ 124040 w 653872"/>
                          <a:gd name="connsiteY466" fmla="*/ 88156 h 443948"/>
                          <a:gd name="connsiteX467" fmla="*/ 124159 w 653872"/>
                          <a:gd name="connsiteY467" fmla="*/ 87857 h 443948"/>
                          <a:gd name="connsiteX468" fmla="*/ 124279 w 653872"/>
                          <a:gd name="connsiteY468" fmla="*/ 87558 h 443948"/>
                          <a:gd name="connsiteX469" fmla="*/ 124399 w 653872"/>
                          <a:gd name="connsiteY469" fmla="*/ 87259 h 443948"/>
                          <a:gd name="connsiteX470" fmla="*/ 123143 w 653872"/>
                          <a:gd name="connsiteY470" fmla="*/ 86421 h 443948"/>
                          <a:gd name="connsiteX471" fmla="*/ 123023 w 653872"/>
                          <a:gd name="connsiteY471" fmla="*/ 86720 h 443948"/>
                          <a:gd name="connsiteX472" fmla="*/ 122904 w 653872"/>
                          <a:gd name="connsiteY472" fmla="*/ 87019 h 443948"/>
                          <a:gd name="connsiteX473" fmla="*/ 122784 w 653872"/>
                          <a:gd name="connsiteY473" fmla="*/ 87318 h 443948"/>
                          <a:gd name="connsiteX474" fmla="*/ 122664 w 653872"/>
                          <a:gd name="connsiteY474" fmla="*/ 87617 h 443948"/>
                          <a:gd name="connsiteX475" fmla="*/ 99818 w 653872"/>
                          <a:gd name="connsiteY475" fmla="*/ 72247 h 443948"/>
                          <a:gd name="connsiteX476" fmla="*/ 121648 w 653872"/>
                          <a:gd name="connsiteY476" fmla="*/ 86960 h 443948"/>
                          <a:gd name="connsiteX477" fmla="*/ 121767 w 653872"/>
                          <a:gd name="connsiteY477" fmla="*/ 86661 h 443948"/>
                          <a:gd name="connsiteX478" fmla="*/ 121887 w 653872"/>
                          <a:gd name="connsiteY478" fmla="*/ 86362 h 443948"/>
                          <a:gd name="connsiteX479" fmla="*/ 122007 w 653872"/>
                          <a:gd name="connsiteY479" fmla="*/ 86063 h 443948"/>
                          <a:gd name="connsiteX480" fmla="*/ 122126 w 653872"/>
                          <a:gd name="connsiteY480" fmla="*/ 85763 h 443948"/>
                          <a:gd name="connsiteX481" fmla="*/ 100595 w 653872"/>
                          <a:gd name="connsiteY481" fmla="*/ 71230 h 443948"/>
                          <a:gd name="connsiteX482" fmla="*/ 99818 w 653872"/>
                          <a:gd name="connsiteY482" fmla="*/ 72247 h 443948"/>
                          <a:gd name="connsiteX483" fmla="*/ 42822 w 653872"/>
                          <a:gd name="connsiteY483" fmla="*/ 33791 h 443948"/>
                          <a:gd name="connsiteX484" fmla="*/ 98861 w 653872"/>
                          <a:gd name="connsiteY484" fmla="*/ 71589 h 443948"/>
                          <a:gd name="connsiteX485" fmla="*/ 99639 w 653872"/>
                          <a:gd name="connsiteY485" fmla="*/ 70632 h 443948"/>
                          <a:gd name="connsiteX486" fmla="*/ 43659 w 653872"/>
                          <a:gd name="connsiteY486" fmla="*/ 32834 h 443948"/>
                          <a:gd name="connsiteX487" fmla="*/ 42822 w 653872"/>
                          <a:gd name="connsiteY487" fmla="*/ 33791 h 443948"/>
                          <a:gd name="connsiteX488" fmla="*/ 25657 w 653872"/>
                          <a:gd name="connsiteY488" fmla="*/ 22189 h 443948"/>
                          <a:gd name="connsiteX489" fmla="*/ 41865 w 653872"/>
                          <a:gd name="connsiteY489" fmla="*/ 33133 h 443948"/>
                          <a:gd name="connsiteX490" fmla="*/ 42642 w 653872"/>
                          <a:gd name="connsiteY490" fmla="*/ 32116 h 443948"/>
                          <a:gd name="connsiteX491" fmla="*/ 26435 w 653872"/>
                          <a:gd name="connsiteY491" fmla="*/ 21172 h 443948"/>
                          <a:gd name="connsiteX492" fmla="*/ 25657 w 653872"/>
                          <a:gd name="connsiteY492" fmla="*/ 22189 h 443948"/>
                          <a:gd name="connsiteX493" fmla="*/ 12320 w 653872"/>
                          <a:gd name="connsiteY493" fmla="*/ 13218 h 443948"/>
                          <a:gd name="connsiteX494" fmla="*/ 24581 w 653872"/>
                          <a:gd name="connsiteY494" fmla="*/ 21530 h 443948"/>
                          <a:gd name="connsiteX495" fmla="*/ 25358 w 653872"/>
                          <a:gd name="connsiteY495" fmla="*/ 20514 h 443948"/>
                          <a:gd name="connsiteX496" fmla="*/ 13098 w 653872"/>
                          <a:gd name="connsiteY496" fmla="*/ 12201 h 443948"/>
                          <a:gd name="connsiteX497" fmla="*/ 12320 w 653872"/>
                          <a:gd name="connsiteY497" fmla="*/ 13218 h 443948"/>
                          <a:gd name="connsiteX498" fmla="*/ 0 w 653872"/>
                          <a:gd name="connsiteY498" fmla="*/ 4904 h 443948"/>
                          <a:gd name="connsiteX499" fmla="*/ 1017 w 653872"/>
                          <a:gd name="connsiteY499" fmla="*/ 5562 h 443948"/>
                          <a:gd name="connsiteX500" fmla="*/ 11303 w 653872"/>
                          <a:gd name="connsiteY500" fmla="*/ 12500 h 443948"/>
                          <a:gd name="connsiteX501" fmla="*/ 12081 w 653872"/>
                          <a:gd name="connsiteY501" fmla="*/ 11483 h 443948"/>
                          <a:gd name="connsiteX502" fmla="*/ 1794 w 653872"/>
                          <a:gd name="connsiteY502" fmla="*/ 4545 h 443948"/>
                          <a:gd name="connsiteX503" fmla="*/ 4007 w 653872"/>
                          <a:gd name="connsiteY503" fmla="*/ 1674 h 443948"/>
                          <a:gd name="connsiteX504" fmla="*/ 14234 w 653872"/>
                          <a:gd name="connsiteY504" fmla="*/ 8612 h 443948"/>
                          <a:gd name="connsiteX505" fmla="*/ 15071 w 653872"/>
                          <a:gd name="connsiteY505" fmla="*/ 7596 h 443948"/>
                          <a:gd name="connsiteX506" fmla="*/ 4844 w 653872"/>
                          <a:gd name="connsiteY506" fmla="*/ 658 h 443948"/>
                          <a:gd name="connsiteX507" fmla="*/ 3827 w 653872"/>
                          <a:gd name="connsiteY507" fmla="*/ 0 h 443948"/>
                          <a:gd name="connsiteX508" fmla="*/ 0 w 653872"/>
                          <a:gd name="connsiteY508" fmla="*/ 4904 h 443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Lst>
                        <a:rect l="l" t="t" r="r" b="b"/>
                        <a:pathLst>
                          <a:path w="653872" h="443948">
                            <a:moveTo>
                              <a:pt x="624387" y="421282"/>
                            </a:moveTo>
                            <a:cubicBezTo>
                              <a:pt x="624387" y="421222"/>
                              <a:pt x="624447" y="421222"/>
                              <a:pt x="624447" y="421162"/>
                            </a:cubicBezTo>
                            <a:cubicBezTo>
                              <a:pt x="624447" y="421102"/>
                              <a:pt x="624507" y="421102"/>
                              <a:pt x="624507" y="421043"/>
                            </a:cubicBezTo>
                            <a:cubicBezTo>
                              <a:pt x="624507" y="420983"/>
                              <a:pt x="624567" y="420983"/>
                              <a:pt x="624567" y="420923"/>
                            </a:cubicBezTo>
                            <a:cubicBezTo>
                              <a:pt x="624567" y="420863"/>
                              <a:pt x="624627" y="420863"/>
                              <a:pt x="624627" y="420803"/>
                            </a:cubicBezTo>
                            <a:lnTo>
                              <a:pt x="624148" y="420505"/>
                            </a:lnTo>
                            <a:cubicBezTo>
                              <a:pt x="624148" y="420564"/>
                              <a:pt x="624208" y="420624"/>
                              <a:pt x="624208" y="420684"/>
                            </a:cubicBezTo>
                            <a:cubicBezTo>
                              <a:pt x="624208" y="420744"/>
                              <a:pt x="624267" y="420803"/>
                              <a:pt x="624267" y="420863"/>
                            </a:cubicBezTo>
                            <a:cubicBezTo>
                              <a:pt x="624267" y="420923"/>
                              <a:pt x="624327" y="420983"/>
                              <a:pt x="624327" y="421043"/>
                            </a:cubicBezTo>
                            <a:cubicBezTo>
                              <a:pt x="624387" y="421162"/>
                              <a:pt x="624387" y="421222"/>
                              <a:pt x="624387" y="421282"/>
                            </a:cubicBezTo>
                            <a:moveTo>
                              <a:pt x="129064" y="86182"/>
                            </a:moveTo>
                            <a:cubicBezTo>
                              <a:pt x="129064" y="86063"/>
                              <a:pt x="129124" y="86003"/>
                              <a:pt x="129124" y="85883"/>
                            </a:cubicBezTo>
                            <a:cubicBezTo>
                              <a:pt x="129124" y="85763"/>
                              <a:pt x="129183" y="85704"/>
                              <a:pt x="129183" y="85584"/>
                            </a:cubicBezTo>
                            <a:cubicBezTo>
                              <a:pt x="129183" y="85464"/>
                              <a:pt x="129243" y="85405"/>
                              <a:pt x="129243" y="85285"/>
                            </a:cubicBezTo>
                            <a:cubicBezTo>
                              <a:pt x="129243" y="85165"/>
                              <a:pt x="129303" y="85106"/>
                              <a:pt x="129303" y="84986"/>
                            </a:cubicBezTo>
                            <a:lnTo>
                              <a:pt x="127987" y="84089"/>
                            </a:lnTo>
                            <a:cubicBezTo>
                              <a:pt x="128107" y="84268"/>
                              <a:pt x="128167" y="84448"/>
                              <a:pt x="128286" y="84567"/>
                            </a:cubicBezTo>
                            <a:cubicBezTo>
                              <a:pt x="128406" y="84747"/>
                              <a:pt x="128466" y="84926"/>
                              <a:pt x="128526" y="85046"/>
                            </a:cubicBezTo>
                            <a:cubicBezTo>
                              <a:pt x="128586" y="85165"/>
                              <a:pt x="128705" y="85405"/>
                              <a:pt x="128765" y="85524"/>
                            </a:cubicBezTo>
                            <a:cubicBezTo>
                              <a:pt x="128884" y="85883"/>
                              <a:pt x="129004" y="86003"/>
                              <a:pt x="129064" y="86182"/>
                            </a:cubicBezTo>
                            <a:moveTo>
                              <a:pt x="624806" y="422060"/>
                            </a:moveTo>
                            <a:lnTo>
                              <a:pt x="625524" y="422538"/>
                            </a:lnTo>
                            <a:cubicBezTo>
                              <a:pt x="625524" y="422478"/>
                              <a:pt x="625583" y="422478"/>
                              <a:pt x="625583" y="422418"/>
                            </a:cubicBezTo>
                            <a:cubicBezTo>
                              <a:pt x="625583" y="422359"/>
                              <a:pt x="625643" y="422359"/>
                              <a:pt x="625643" y="422299"/>
                            </a:cubicBezTo>
                            <a:cubicBezTo>
                              <a:pt x="625643" y="422239"/>
                              <a:pt x="625703" y="422239"/>
                              <a:pt x="625703" y="422179"/>
                            </a:cubicBezTo>
                            <a:cubicBezTo>
                              <a:pt x="625703" y="422119"/>
                              <a:pt x="625763" y="422119"/>
                              <a:pt x="625763" y="422060"/>
                            </a:cubicBezTo>
                            <a:cubicBezTo>
                              <a:pt x="625763" y="422000"/>
                              <a:pt x="625763" y="422000"/>
                              <a:pt x="625763" y="421940"/>
                            </a:cubicBezTo>
                            <a:cubicBezTo>
                              <a:pt x="625763" y="421880"/>
                              <a:pt x="625763" y="421880"/>
                              <a:pt x="625763" y="421820"/>
                            </a:cubicBezTo>
                            <a:cubicBezTo>
                              <a:pt x="625763" y="421761"/>
                              <a:pt x="625763" y="421761"/>
                              <a:pt x="625763" y="421701"/>
                            </a:cubicBezTo>
                            <a:cubicBezTo>
                              <a:pt x="625763" y="421641"/>
                              <a:pt x="625763" y="421641"/>
                              <a:pt x="625763" y="421581"/>
                            </a:cubicBezTo>
                            <a:lnTo>
                              <a:pt x="625284" y="421282"/>
                            </a:lnTo>
                            <a:cubicBezTo>
                              <a:pt x="625225" y="421342"/>
                              <a:pt x="625225" y="421402"/>
                              <a:pt x="625165" y="421521"/>
                            </a:cubicBezTo>
                            <a:cubicBezTo>
                              <a:pt x="625105" y="421581"/>
                              <a:pt x="625105" y="421641"/>
                              <a:pt x="625045" y="421761"/>
                            </a:cubicBezTo>
                            <a:cubicBezTo>
                              <a:pt x="624986" y="421880"/>
                              <a:pt x="624986" y="421880"/>
                              <a:pt x="624926" y="422000"/>
                            </a:cubicBezTo>
                            <a:cubicBezTo>
                              <a:pt x="624866" y="421940"/>
                              <a:pt x="624806" y="422000"/>
                              <a:pt x="624806" y="422060"/>
                            </a:cubicBezTo>
                            <a:moveTo>
                              <a:pt x="622832" y="420744"/>
                            </a:moveTo>
                            <a:lnTo>
                              <a:pt x="623490" y="421162"/>
                            </a:lnTo>
                            <a:cubicBezTo>
                              <a:pt x="623430" y="421102"/>
                              <a:pt x="623430" y="420983"/>
                              <a:pt x="623371" y="420923"/>
                            </a:cubicBezTo>
                            <a:cubicBezTo>
                              <a:pt x="623311" y="420863"/>
                              <a:pt x="623311" y="420744"/>
                              <a:pt x="623251" y="420684"/>
                            </a:cubicBezTo>
                            <a:cubicBezTo>
                              <a:pt x="623191" y="420624"/>
                              <a:pt x="623191" y="420505"/>
                              <a:pt x="623132" y="420445"/>
                            </a:cubicBezTo>
                            <a:cubicBezTo>
                              <a:pt x="623072" y="420385"/>
                              <a:pt x="623072" y="420265"/>
                              <a:pt x="623012" y="420206"/>
                            </a:cubicBezTo>
                            <a:cubicBezTo>
                              <a:pt x="623012" y="420265"/>
                              <a:pt x="622952" y="420325"/>
                              <a:pt x="622952" y="420325"/>
                            </a:cubicBezTo>
                            <a:cubicBezTo>
                              <a:pt x="622952" y="420385"/>
                              <a:pt x="622892" y="420445"/>
                              <a:pt x="622892" y="420445"/>
                            </a:cubicBezTo>
                            <a:cubicBezTo>
                              <a:pt x="622892" y="420505"/>
                              <a:pt x="622832" y="420564"/>
                              <a:pt x="622832" y="420564"/>
                            </a:cubicBezTo>
                            <a:cubicBezTo>
                              <a:pt x="622832" y="420624"/>
                              <a:pt x="622832" y="420684"/>
                              <a:pt x="622832" y="420744"/>
                            </a:cubicBezTo>
                            <a:moveTo>
                              <a:pt x="621517" y="419847"/>
                            </a:moveTo>
                            <a:lnTo>
                              <a:pt x="622234" y="420325"/>
                            </a:lnTo>
                            <a:cubicBezTo>
                              <a:pt x="622294" y="420265"/>
                              <a:pt x="622294" y="420206"/>
                              <a:pt x="622294" y="420086"/>
                            </a:cubicBezTo>
                            <a:cubicBezTo>
                              <a:pt x="622294" y="420026"/>
                              <a:pt x="622354" y="419966"/>
                              <a:pt x="622354" y="419847"/>
                            </a:cubicBezTo>
                            <a:cubicBezTo>
                              <a:pt x="622354" y="419787"/>
                              <a:pt x="622413" y="419727"/>
                              <a:pt x="622413" y="419607"/>
                            </a:cubicBezTo>
                            <a:cubicBezTo>
                              <a:pt x="622413" y="419547"/>
                              <a:pt x="622473" y="419488"/>
                              <a:pt x="622473" y="419368"/>
                            </a:cubicBezTo>
                            <a:lnTo>
                              <a:pt x="621696" y="418830"/>
                            </a:lnTo>
                            <a:cubicBezTo>
                              <a:pt x="621696" y="418890"/>
                              <a:pt x="621636" y="419009"/>
                              <a:pt x="621636" y="419069"/>
                            </a:cubicBezTo>
                            <a:cubicBezTo>
                              <a:pt x="621636" y="419129"/>
                              <a:pt x="621576" y="419248"/>
                              <a:pt x="621576" y="419308"/>
                            </a:cubicBezTo>
                            <a:cubicBezTo>
                              <a:pt x="621576" y="419368"/>
                              <a:pt x="621517" y="419488"/>
                              <a:pt x="621517" y="419547"/>
                            </a:cubicBezTo>
                            <a:cubicBezTo>
                              <a:pt x="621576" y="419727"/>
                              <a:pt x="621576" y="419787"/>
                              <a:pt x="621517" y="419847"/>
                            </a:cubicBezTo>
                            <a:moveTo>
                              <a:pt x="610333" y="412251"/>
                            </a:moveTo>
                            <a:lnTo>
                              <a:pt x="620978" y="419488"/>
                            </a:lnTo>
                            <a:cubicBezTo>
                              <a:pt x="620978" y="419428"/>
                              <a:pt x="621038" y="419308"/>
                              <a:pt x="621038" y="419248"/>
                            </a:cubicBezTo>
                            <a:cubicBezTo>
                              <a:pt x="621038" y="419189"/>
                              <a:pt x="621098" y="419069"/>
                              <a:pt x="621098" y="419009"/>
                            </a:cubicBezTo>
                            <a:cubicBezTo>
                              <a:pt x="621098" y="418949"/>
                              <a:pt x="621158" y="418830"/>
                              <a:pt x="621158" y="418770"/>
                            </a:cubicBezTo>
                            <a:cubicBezTo>
                              <a:pt x="621158" y="418710"/>
                              <a:pt x="621218" y="418591"/>
                              <a:pt x="621218" y="418531"/>
                            </a:cubicBezTo>
                            <a:lnTo>
                              <a:pt x="610871" y="411474"/>
                            </a:lnTo>
                            <a:lnTo>
                              <a:pt x="610333" y="412251"/>
                            </a:lnTo>
                            <a:moveTo>
                              <a:pt x="579532" y="391438"/>
                            </a:moveTo>
                            <a:lnTo>
                              <a:pt x="609794" y="411952"/>
                            </a:lnTo>
                            <a:lnTo>
                              <a:pt x="610393" y="411234"/>
                            </a:lnTo>
                            <a:lnTo>
                              <a:pt x="580130" y="390721"/>
                            </a:lnTo>
                            <a:lnTo>
                              <a:pt x="579532" y="391438"/>
                            </a:lnTo>
                            <a:moveTo>
                              <a:pt x="570322" y="385158"/>
                            </a:moveTo>
                            <a:lnTo>
                              <a:pt x="578994" y="391020"/>
                            </a:lnTo>
                            <a:lnTo>
                              <a:pt x="579592" y="390242"/>
                            </a:lnTo>
                            <a:lnTo>
                              <a:pt x="570920" y="384381"/>
                            </a:lnTo>
                            <a:lnTo>
                              <a:pt x="570322" y="385158"/>
                            </a:lnTo>
                            <a:moveTo>
                              <a:pt x="563205" y="380374"/>
                            </a:moveTo>
                            <a:lnTo>
                              <a:pt x="569723" y="384799"/>
                            </a:lnTo>
                            <a:lnTo>
                              <a:pt x="570322" y="384022"/>
                            </a:lnTo>
                            <a:lnTo>
                              <a:pt x="563802" y="379596"/>
                            </a:lnTo>
                            <a:lnTo>
                              <a:pt x="563205" y="380374"/>
                            </a:lnTo>
                            <a:moveTo>
                              <a:pt x="344071" y="231992"/>
                            </a:moveTo>
                            <a:lnTo>
                              <a:pt x="562726" y="380015"/>
                            </a:lnTo>
                            <a:lnTo>
                              <a:pt x="563324" y="379237"/>
                            </a:lnTo>
                            <a:lnTo>
                              <a:pt x="344011" y="230557"/>
                            </a:lnTo>
                            <a:cubicBezTo>
                              <a:pt x="344011" y="230617"/>
                              <a:pt x="344011" y="230617"/>
                              <a:pt x="343951" y="230676"/>
                            </a:cubicBezTo>
                            <a:cubicBezTo>
                              <a:pt x="343951" y="230736"/>
                              <a:pt x="343951" y="230736"/>
                              <a:pt x="343892" y="230796"/>
                            </a:cubicBezTo>
                            <a:cubicBezTo>
                              <a:pt x="343892" y="230856"/>
                              <a:pt x="343892" y="230856"/>
                              <a:pt x="343832" y="230916"/>
                            </a:cubicBezTo>
                            <a:cubicBezTo>
                              <a:pt x="343832" y="230975"/>
                              <a:pt x="343832" y="230975"/>
                              <a:pt x="343772" y="231035"/>
                            </a:cubicBezTo>
                            <a:cubicBezTo>
                              <a:pt x="343772" y="231095"/>
                              <a:pt x="343832" y="231215"/>
                              <a:pt x="343832" y="231274"/>
                            </a:cubicBezTo>
                            <a:cubicBezTo>
                              <a:pt x="343832" y="231334"/>
                              <a:pt x="343892" y="231454"/>
                              <a:pt x="343892" y="231514"/>
                            </a:cubicBezTo>
                            <a:cubicBezTo>
                              <a:pt x="343892" y="231573"/>
                              <a:pt x="343951" y="231693"/>
                              <a:pt x="343951" y="231753"/>
                            </a:cubicBezTo>
                            <a:cubicBezTo>
                              <a:pt x="344011" y="231813"/>
                              <a:pt x="344011" y="231873"/>
                              <a:pt x="344071" y="231992"/>
                            </a:cubicBezTo>
                            <a:moveTo>
                              <a:pt x="341738" y="230378"/>
                            </a:moveTo>
                            <a:lnTo>
                              <a:pt x="342695" y="231035"/>
                            </a:lnTo>
                            <a:cubicBezTo>
                              <a:pt x="342635" y="230916"/>
                              <a:pt x="342576" y="230736"/>
                              <a:pt x="342576" y="230617"/>
                            </a:cubicBezTo>
                            <a:cubicBezTo>
                              <a:pt x="342516" y="230497"/>
                              <a:pt x="342456" y="230318"/>
                              <a:pt x="342396" y="230198"/>
                            </a:cubicBezTo>
                            <a:cubicBezTo>
                              <a:pt x="342337" y="230078"/>
                              <a:pt x="342277" y="229899"/>
                              <a:pt x="342217" y="229779"/>
                            </a:cubicBezTo>
                            <a:cubicBezTo>
                              <a:pt x="342157" y="229659"/>
                              <a:pt x="342097" y="229480"/>
                              <a:pt x="342038" y="229361"/>
                            </a:cubicBezTo>
                            <a:lnTo>
                              <a:pt x="342038" y="229361"/>
                            </a:lnTo>
                            <a:cubicBezTo>
                              <a:pt x="342038" y="229480"/>
                              <a:pt x="341978" y="229540"/>
                              <a:pt x="341978" y="229659"/>
                            </a:cubicBezTo>
                            <a:cubicBezTo>
                              <a:pt x="341978" y="229779"/>
                              <a:pt x="341918" y="229839"/>
                              <a:pt x="341918" y="229959"/>
                            </a:cubicBezTo>
                            <a:cubicBezTo>
                              <a:pt x="341918" y="230078"/>
                              <a:pt x="341858" y="230138"/>
                              <a:pt x="341858" y="230258"/>
                            </a:cubicBezTo>
                            <a:cubicBezTo>
                              <a:pt x="341858" y="230378"/>
                              <a:pt x="341738" y="230318"/>
                              <a:pt x="341738" y="230378"/>
                            </a:cubicBezTo>
                            <a:moveTo>
                              <a:pt x="340722" y="229719"/>
                            </a:moveTo>
                            <a:lnTo>
                              <a:pt x="340901" y="229839"/>
                            </a:lnTo>
                            <a:cubicBezTo>
                              <a:pt x="340901" y="229719"/>
                              <a:pt x="340961" y="229659"/>
                              <a:pt x="340961" y="229540"/>
                            </a:cubicBezTo>
                            <a:cubicBezTo>
                              <a:pt x="340961" y="229420"/>
                              <a:pt x="341021" y="229361"/>
                              <a:pt x="341021" y="229241"/>
                            </a:cubicBezTo>
                            <a:cubicBezTo>
                              <a:pt x="341021" y="229121"/>
                              <a:pt x="341080" y="229062"/>
                              <a:pt x="341080" y="228942"/>
                            </a:cubicBezTo>
                            <a:cubicBezTo>
                              <a:pt x="341080" y="228822"/>
                              <a:pt x="341140" y="228763"/>
                              <a:pt x="341140" y="228643"/>
                            </a:cubicBezTo>
                            <a:lnTo>
                              <a:pt x="339705" y="227686"/>
                            </a:lnTo>
                            <a:cubicBezTo>
                              <a:pt x="339824" y="227865"/>
                              <a:pt x="339884" y="228045"/>
                              <a:pt x="339944" y="228164"/>
                            </a:cubicBezTo>
                            <a:cubicBezTo>
                              <a:pt x="340004" y="228344"/>
                              <a:pt x="340124" y="228523"/>
                              <a:pt x="340183" y="228643"/>
                            </a:cubicBezTo>
                            <a:cubicBezTo>
                              <a:pt x="340243" y="228822"/>
                              <a:pt x="340363" y="229002"/>
                              <a:pt x="340423" y="229121"/>
                            </a:cubicBezTo>
                            <a:cubicBezTo>
                              <a:pt x="340602" y="229420"/>
                              <a:pt x="340662" y="229600"/>
                              <a:pt x="340722" y="229719"/>
                            </a:cubicBezTo>
                            <a:moveTo>
                              <a:pt x="338688" y="228344"/>
                            </a:moveTo>
                            <a:lnTo>
                              <a:pt x="339047" y="228583"/>
                            </a:lnTo>
                            <a:cubicBezTo>
                              <a:pt x="339047" y="228523"/>
                              <a:pt x="338987" y="228523"/>
                              <a:pt x="338987" y="228464"/>
                            </a:cubicBezTo>
                            <a:cubicBezTo>
                              <a:pt x="338987" y="228404"/>
                              <a:pt x="338927" y="228404"/>
                              <a:pt x="338927" y="228344"/>
                            </a:cubicBezTo>
                            <a:cubicBezTo>
                              <a:pt x="338927" y="228284"/>
                              <a:pt x="338868" y="228284"/>
                              <a:pt x="338868" y="228224"/>
                            </a:cubicBezTo>
                            <a:cubicBezTo>
                              <a:pt x="338868" y="228164"/>
                              <a:pt x="338808" y="228164"/>
                              <a:pt x="338808" y="228105"/>
                            </a:cubicBezTo>
                            <a:cubicBezTo>
                              <a:pt x="338808" y="228105"/>
                              <a:pt x="338808" y="228164"/>
                              <a:pt x="338808" y="228164"/>
                            </a:cubicBezTo>
                            <a:cubicBezTo>
                              <a:pt x="338808" y="228164"/>
                              <a:pt x="338808" y="228224"/>
                              <a:pt x="338808" y="228224"/>
                            </a:cubicBezTo>
                            <a:cubicBezTo>
                              <a:pt x="338808" y="228224"/>
                              <a:pt x="338808" y="228284"/>
                              <a:pt x="338808" y="228284"/>
                            </a:cubicBezTo>
                            <a:cubicBezTo>
                              <a:pt x="338688" y="228284"/>
                              <a:pt x="338688" y="228284"/>
                              <a:pt x="338688" y="228344"/>
                            </a:cubicBezTo>
                            <a:moveTo>
                              <a:pt x="336715" y="226968"/>
                            </a:moveTo>
                            <a:lnTo>
                              <a:pt x="337851" y="227746"/>
                            </a:lnTo>
                            <a:cubicBezTo>
                              <a:pt x="337851" y="227686"/>
                              <a:pt x="337911" y="227566"/>
                              <a:pt x="337911" y="227507"/>
                            </a:cubicBezTo>
                            <a:cubicBezTo>
                              <a:pt x="337911" y="227447"/>
                              <a:pt x="337970" y="227327"/>
                              <a:pt x="337970" y="227267"/>
                            </a:cubicBezTo>
                            <a:cubicBezTo>
                              <a:pt x="337970" y="227208"/>
                              <a:pt x="338030" y="227088"/>
                              <a:pt x="338030" y="227028"/>
                            </a:cubicBezTo>
                            <a:cubicBezTo>
                              <a:pt x="338030" y="226968"/>
                              <a:pt x="338030" y="226849"/>
                              <a:pt x="338090" y="226789"/>
                            </a:cubicBezTo>
                            <a:cubicBezTo>
                              <a:pt x="338090" y="226729"/>
                              <a:pt x="338030" y="226669"/>
                              <a:pt x="338030" y="226669"/>
                            </a:cubicBezTo>
                            <a:cubicBezTo>
                              <a:pt x="338030" y="226610"/>
                              <a:pt x="337970" y="226550"/>
                              <a:pt x="337970" y="226550"/>
                            </a:cubicBezTo>
                            <a:cubicBezTo>
                              <a:pt x="337970" y="226490"/>
                              <a:pt x="337911" y="226430"/>
                              <a:pt x="337911" y="226430"/>
                            </a:cubicBezTo>
                            <a:cubicBezTo>
                              <a:pt x="337911" y="226370"/>
                              <a:pt x="337851" y="226310"/>
                              <a:pt x="337851" y="226310"/>
                            </a:cubicBezTo>
                            <a:lnTo>
                              <a:pt x="337073" y="225772"/>
                            </a:lnTo>
                            <a:cubicBezTo>
                              <a:pt x="337073" y="225892"/>
                              <a:pt x="337073" y="225951"/>
                              <a:pt x="337014" y="226071"/>
                            </a:cubicBezTo>
                            <a:cubicBezTo>
                              <a:pt x="337014" y="226191"/>
                              <a:pt x="337014" y="226251"/>
                              <a:pt x="336954" y="226370"/>
                            </a:cubicBezTo>
                            <a:cubicBezTo>
                              <a:pt x="336894" y="226490"/>
                              <a:pt x="336894" y="226550"/>
                              <a:pt x="336894" y="226669"/>
                            </a:cubicBezTo>
                            <a:cubicBezTo>
                              <a:pt x="336715" y="226789"/>
                              <a:pt x="336715" y="226909"/>
                              <a:pt x="336715" y="226968"/>
                            </a:cubicBezTo>
                            <a:moveTo>
                              <a:pt x="322959" y="217698"/>
                            </a:moveTo>
                            <a:lnTo>
                              <a:pt x="335817" y="226430"/>
                            </a:lnTo>
                            <a:cubicBezTo>
                              <a:pt x="335817" y="226310"/>
                              <a:pt x="335877" y="226251"/>
                              <a:pt x="335877" y="226131"/>
                            </a:cubicBezTo>
                            <a:cubicBezTo>
                              <a:pt x="335877" y="226011"/>
                              <a:pt x="335877" y="225951"/>
                              <a:pt x="335937" y="225832"/>
                            </a:cubicBezTo>
                            <a:cubicBezTo>
                              <a:pt x="335937" y="225712"/>
                              <a:pt x="335937" y="225653"/>
                              <a:pt x="335997" y="225533"/>
                            </a:cubicBezTo>
                            <a:cubicBezTo>
                              <a:pt x="335997" y="225413"/>
                              <a:pt x="335997" y="225354"/>
                              <a:pt x="335997" y="225234"/>
                            </a:cubicBezTo>
                            <a:lnTo>
                              <a:pt x="323677" y="216861"/>
                            </a:lnTo>
                            <a:lnTo>
                              <a:pt x="322959" y="217698"/>
                            </a:lnTo>
                            <a:moveTo>
                              <a:pt x="278403" y="187555"/>
                            </a:moveTo>
                            <a:lnTo>
                              <a:pt x="322241" y="217220"/>
                            </a:lnTo>
                            <a:lnTo>
                              <a:pt x="322959" y="216323"/>
                            </a:lnTo>
                            <a:lnTo>
                              <a:pt x="279180" y="186658"/>
                            </a:lnTo>
                            <a:lnTo>
                              <a:pt x="278403" y="187555"/>
                            </a:lnTo>
                            <a:moveTo>
                              <a:pt x="265006" y="178465"/>
                            </a:moveTo>
                            <a:lnTo>
                              <a:pt x="277625" y="187017"/>
                            </a:lnTo>
                            <a:lnTo>
                              <a:pt x="278343" y="186120"/>
                            </a:lnTo>
                            <a:lnTo>
                              <a:pt x="265723" y="177568"/>
                            </a:lnTo>
                            <a:lnTo>
                              <a:pt x="265006" y="178465"/>
                            </a:lnTo>
                            <a:moveTo>
                              <a:pt x="254659" y="171407"/>
                            </a:moveTo>
                            <a:lnTo>
                              <a:pt x="264228" y="177867"/>
                            </a:lnTo>
                            <a:lnTo>
                              <a:pt x="264946" y="176969"/>
                            </a:lnTo>
                            <a:lnTo>
                              <a:pt x="255377" y="170451"/>
                            </a:lnTo>
                            <a:lnTo>
                              <a:pt x="254659" y="171407"/>
                            </a:lnTo>
                            <a:moveTo>
                              <a:pt x="133131" y="89113"/>
                            </a:moveTo>
                            <a:lnTo>
                              <a:pt x="253881" y="170869"/>
                            </a:lnTo>
                            <a:lnTo>
                              <a:pt x="254599" y="169972"/>
                            </a:lnTo>
                            <a:lnTo>
                              <a:pt x="132712" y="87378"/>
                            </a:lnTo>
                            <a:cubicBezTo>
                              <a:pt x="132712" y="87378"/>
                              <a:pt x="132712" y="87438"/>
                              <a:pt x="132712" y="87438"/>
                            </a:cubicBezTo>
                            <a:cubicBezTo>
                              <a:pt x="132712" y="87438"/>
                              <a:pt x="132712" y="87438"/>
                              <a:pt x="132712" y="87498"/>
                            </a:cubicBezTo>
                            <a:cubicBezTo>
                              <a:pt x="132712" y="87498"/>
                              <a:pt x="132712" y="87498"/>
                              <a:pt x="132712" y="87558"/>
                            </a:cubicBezTo>
                            <a:cubicBezTo>
                              <a:pt x="132712" y="87617"/>
                              <a:pt x="132712" y="87617"/>
                              <a:pt x="132712" y="87617"/>
                            </a:cubicBezTo>
                            <a:cubicBezTo>
                              <a:pt x="132772" y="87737"/>
                              <a:pt x="132772" y="87857"/>
                              <a:pt x="132832" y="88036"/>
                            </a:cubicBezTo>
                            <a:cubicBezTo>
                              <a:pt x="132891" y="88156"/>
                              <a:pt x="132891" y="88276"/>
                              <a:pt x="132951" y="88455"/>
                            </a:cubicBezTo>
                            <a:cubicBezTo>
                              <a:pt x="133011" y="88634"/>
                              <a:pt x="133011" y="88694"/>
                              <a:pt x="133071" y="88873"/>
                            </a:cubicBezTo>
                            <a:cubicBezTo>
                              <a:pt x="133071" y="88873"/>
                              <a:pt x="133071" y="88993"/>
                              <a:pt x="133131" y="89113"/>
                            </a:cubicBezTo>
                            <a:moveTo>
                              <a:pt x="130021" y="87019"/>
                            </a:moveTo>
                            <a:lnTo>
                              <a:pt x="131336" y="87917"/>
                            </a:lnTo>
                            <a:cubicBezTo>
                              <a:pt x="131336" y="87917"/>
                              <a:pt x="131336" y="87857"/>
                              <a:pt x="131336" y="87857"/>
                            </a:cubicBezTo>
                            <a:cubicBezTo>
                              <a:pt x="131336" y="87857"/>
                              <a:pt x="131336" y="87797"/>
                              <a:pt x="131336" y="87797"/>
                            </a:cubicBezTo>
                            <a:cubicBezTo>
                              <a:pt x="131336" y="87797"/>
                              <a:pt x="131336" y="87737"/>
                              <a:pt x="131336" y="87737"/>
                            </a:cubicBezTo>
                            <a:cubicBezTo>
                              <a:pt x="131336" y="87737"/>
                              <a:pt x="131336" y="87677"/>
                              <a:pt x="131336" y="87677"/>
                            </a:cubicBezTo>
                            <a:cubicBezTo>
                              <a:pt x="131277" y="87558"/>
                              <a:pt x="131217" y="87438"/>
                              <a:pt x="131217" y="87259"/>
                            </a:cubicBezTo>
                            <a:cubicBezTo>
                              <a:pt x="131217" y="87079"/>
                              <a:pt x="131097" y="87019"/>
                              <a:pt x="131037" y="86840"/>
                            </a:cubicBezTo>
                            <a:cubicBezTo>
                              <a:pt x="130978" y="86661"/>
                              <a:pt x="130918" y="86541"/>
                              <a:pt x="130858" y="86421"/>
                            </a:cubicBezTo>
                            <a:cubicBezTo>
                              <a:pt x="130798" y="86302"/>
                              <a:pt x="130739" y="86122"/>
                              <a:pt x="130679" y="86003"/>
                            </a:cubicBezTo>
                            <a:lnTo>
                              <a:pt x="130260" y="85704"/>
                            </a:lnTo>
                            <a:cubicBezTo>
                              <a:pt x="130260" y="85823"/>
                              <a:pt x="130200" y="85943"/>
                              <a:pt x="130200" y="86003"/>
                            </a:cubicBezTo>
                            <a:cubicBezTo>
                              <a:pt x="130140" y="86122"/>
                              <a:pt x="130140" y="86242"/>
                              <a:pt x="130081" y="86302"/>
                            </a:cubicBezTo>
                            <a:cubicBezTo>
                              <a:pt x="130021" y="86421"/>
                              <a:pt x="130021" y="86541"/>
                              <a:pt x="129961" y="86601"/>
                            </a:cubicBezTo>
                            <a:cubicBezTo>
                              <a:pt x="130081" y="86840"/>
                              <a:pt x="130021" y="86960"/>
                              <a:pt x="130021" y="87019"/>
                            </a:cubicBezTo>
                            <a:moveTo>
                              <a:pt x="126492" y="84627"/>
                            </a:moveTo>
                            <a:lnTo>
                              <a:pt x="127090" y="85046"/>
                            </a:lnTo>
                            <a:cubicBezTo>
                              <a:pt x="127030" y="84986"/>
                              <a:pt x="127030" y="84926"/>
                              <a:pt x="126971" y="84807"/>
                            </a:cubicBezTo>
                            <a:cubicBezTo>
                              <a:pt x="126911" y="84747"/>
                              <a:pt x="126911" y="84687"/>
                              <a:pt x="126851" y="84567"/>
                            </a:cubicBezTo>
                            <a:cubicBezTo>
                              <a:pt x="126791" y="84508"/>
                              <a:pt x="126791" y="84448"/>
                              <a:pt x="126732" y="84328"/>
                            </a:cubicBezTo>
                            <a:cubicBezTo>
                              <a:pt x="126672" y="84268"/>
                              <a:pt x="126672" y="84209"/>
                              <a:pt x="126612" y="84089"/>
                            </a:cubicBezTo>
                            <a:cubicBezTo>
                              <a:pt x="126612" y="84149"/>
                              <a:pt x="126612" y="84149"/>
                              <a:pt x="126612" y="84209"/>
                            </a:cubicBezTo>
                            <a:cubicBezTo>
                              <a:pt x="126612" y="84268"/>
                              <a:pt x="126612" y="84268"/>
                              <a:pt x="126612" y="84328"/>
                            </a:cubicBezTo>
                            <a:cubicBezTo>
                              <a:pt x="126612" y="84388"/>
                              <a:pt x="126612" y="84388"/>
                              <a:pt x="126612" y="84448"/>
                            </a:cubicBezTo>
                            <a:cubicBezTo>
                              <a:pt x="126492" y="84567"/>
                              <a:pt x="126492" y="84627"/>
                              <a:pt x="126492" y="84627"/>
                            </a:cubicBezTo>
                            <a:moveTo>
                              <a:pt x="124100" y="83012"/>
                            </a:moveTo>
                            <a:lnTo>
                              <a:pt x="125475" y="83909"/>
                            </a:lnTo>
                            <a:cubicBezTo>
                              <a:pt x="125475" y="83790"/>
                              <a:pt x="125535" y="83730"/>
                              <a:pt x="125535" y="83610"/>
                            </a:cubicBezTo>
                            <a:cubicBezTo>
                              <a:pt x="125535" y="83491"/>
                              <a:pt x="125595" y="83431"/>
                              <a:pt x="125595" y="83311"/>
                            </a:cubicBezTo>
                            <a:cubicBezTo>
                              <a:pt x="125595" y="83192"/>
                              <a:pt x="125655" y="83132"/>
                              <a:pt x="125655" y="83012"/>
                            </a:cubicBezTo>
                            <a:cubicBezTo>
                              <a:pt x="125655" y="82893"/>
                              <a:pt x="125715" y="82833"/>
                              <a:pt x="125715" y="82713"/>
                            </a:cubicBezTo>
                            <a:cubicBezTo>
                              <a:pt x="125715" y="82713"/>
                              <a:pt x="125655" y="82654"/>
                              <a:pt x="125655" y="82654"/>
                            </a:cubicBezTo>
                            <a:cubicBezTo>
                              <a:pt x="125655" y="82594"/>
                              <a:pt x="125595" y="82594"/>
                              <a:pt x="125595" y="82534"/>
                            </a:cubicBezTo>
                            <a:cubicBezTo>
                              <a:pt x="125595" y="82474"/>
                              <a:pt x="125535" y="82474"/>
                              <a:pt x="125535" y="82414"/>
                            </a:cubicBezTo>
                            <a:cubicBezTo>
                              <a:pt x="125535" y="82355"/>
                              <a:pt x="125475" y="82355"/>
                              <a:pt x="125475" y="82295"/>
                            </a:cubicBezTo>
                            <a:lnTo>
                              <a:pt x="124339" y="81517"/>
                            </a:lnTo>
                            <a:cubicBezTo>
                              <a:pt x="124339" y="81637"/>
                              <a:pt x="124339" y="81756"/>
                              <a:pt x="124279" y="81876"/>
                            </a:cubicBezTo>
                            <a:cubicBezTo>
                              <a:pt x="124279" y="81996"/>
                              <a:pt x="124219" y="82115"/>
                              <a:pt x="124219" y="82235"/>
                            </a:cubicBezTo>
                            <a:cubicBezTo>
                              <a:pt x="124219" y="82355"/>
                              <a:pt x="124159" y="82474"/>
                              <a:pt x="124159" y="82594"/>
                            </a:cubicBezTo>
                            <a:cubicBezTo>
                              <a:pt x="124159" y="82833"/>
                              <a:pt x="124100" y="82953"/>
                              <a:pt x="124100" y="83012"/>
                            </a:cubicBezTo>
                            <a:moveTo>
                              <a:pt x="102689" y="68539"/>
                            </a:moveTo>
                            <a:lnTo>
                              <a:pt x="122964" y="82295"/>
                            </a:lnTo>
                            <a:cubicBezTo>
                              <a:pt x="122964" y="82175"/>
                              <a:pt x="123023" y="82055"/>
                              <a:pt x="123023" y="81936"/>
                            </a:cubicBezTo>
                            <a:cubicBezTo>
                              <a:pt x="123023" y="81816"/>
                              <a:pt x="123083" y="81696"/>
                              <a:pt x="123083" y="81577"/>
                            </a:cubicBezTo>
                            <a:cubicBezTo>
                              <a:pt x="123083" y="81457"/>
                              <a:pt x="123083" y="81338"/>
                              <a:pt x="123143" y="81218"/>
                            </a:cubicBezTo>
                            <a:cubicBezTo>
                              <a:pt x="123143" y="81099"/>
                              <a:pt x="123143" y="80979"/>
                              <a:pt x="123203" y="80859"/>
                            </a:cubicBezTo>
                            <a:lnTo>
                              <a:pt x="103526" y="67522"/>
                            </a:lnTo>
                            <a:lnTo>
                              <a:pt x="102689" y="68539"/>
                            </a:lnTo>
                            <a:moveTo>
                              <a:pt x="45812" y="30023"/>
                            </a:moveTo>
                            <a:lnTo>
                              <a:pt x="101732" y="67881"/>
                            </a:lnTo>
                            <a:lnTo>
                              <a:pt x="102509" y="66864"/>
                            </a:lnTo>
                            <a:lnTo>
                              <a:pt x="46590" y="28946"/>
                            </a:lnTo>
                            <a:lnTo>
                              <a:pt x="45812" y="30023"/>
                            </a:lnTo>
                            <a:moveTo>
                              <a:pt x="28648" y="18421"/>
                            </a:moveTo>
                            <a:lnTo>
                              <a:pt x="44796" y="29365"/>
                            </a:lnTo>
                            <a:lnTo>
                              <a:pt x="45633" y="28349"/>
                            </a:lnTo>
                            <a:lnTo>
                              <a:pt x="29485" y="17404"/>
                            </a:lnTo>
                            <a:lnTo>
                              <a:pt x="28648" y="18421"/>
                            </a:lnTo>
                            <a:moveTo>
                              <a:pt x="15370" y="9390"/>
                            </a:moveTo>
                            <a:lnTo>
                              <a:pt x="27631" y="17703"/>
                            </a:lnTo>
                            <a:lnTo>
                              <a:pt x="28468" y="16686"/>
                            </a:lnTo>
                            <a:lnTo>
                              <a:pt x="16208" y="8373"/>
                            </a:lnTo>
                            <a:lnTo>
                              <a:pt x="15370" y="9390"/>
                            </a:lnTo>
                            <a:moveTo>
                              <a:pt x="626301" y="427203"/>
                            </a:moveTo>
                            <a:lnTo>
                              <a:pt x="650762" y="443650"/>
                            </a:lnTo>
                            <a:lnTo>
                              <a:pt x="651241" y="443949"/>
                            </a:lnTo>
                            <a:lnTo>
                              <a:pt x="653872" y="440600"/>
                            </a:lnTo>
                            <a:lnTo>
                              <a:pt x="653394" y="440301"/>
                            </a:lnTo>
                            <a:lnTo>
                              <a:pt x="626600" y="422119"/>
                            </a:lnTo>
                            <a:cubicBezTo>
                              <a:pt x="626600" y="422239"/>
                              <a:pt x="626600" y="422299"/>
                              <a:pt x="626660" y="422418"/>
                            </a:cubicBezTo>
                            <a:cubicBezTo>
                              <a:pt x="626660" y="422538"/>
                              <a:pt x="626660" y="422598"/>
                              <a:pt x="626720" y="422717"/>
                            </a:cubicBezTo>
                            <a:cubicBezTo>
                              <a:pt x="626720" y="422837"/>
                              <a:pt x="626720" y="422897"/>
                              <a:pt x="626720" y="423016"/>
                            </a:cubicBezTo>
                            <a:cubicBezTo>
                              <a:pt x="626720" y="423136"/>
                              <a:pt x="626720" y="423196"/>
                              <a:pt x="626720" y="423315"/>
                            </a:cubicBezTo>
                            <a:lnTo>
                              <a:pt x="652856" y="441018"/>
                            </a:lnTo>
                            <a:lnTo>
                              <a:pt x="651300" y="442932"/>
                            </a:lnTo>
                            <a:lnTo>
                              <a:pt x="626481" y="426186"/>
                            </a:lnTo>
                            <a:cubicBezTo>
                              <a:pt x="626481" y="426246"/>
                              <a:pt x="626481" y="426365"/>
                              <a:pt x="626421" y="426425"/>
                            </a:cubicBezTo>
                            <a:cubicBezTo>
                              <a:pt x="626361" y="426485"/>
                              <a:pt x="626361" y="426605"/>
                              <a:pt x="626361" y="426664"/>
                            </a:cubicBezTo>
                            <a:cubicBezTo>
                              <a:pt x="626361" y="426724"/>
                              <a:pt x="626301" y="426844"/>
                              <a:pt x="626301" y="426904"/>
                            </a:cubicBezTo>
                            <a:cubicBezTo>
                              <a:pt x="626361" y="427023"/>
                              <a:pt x="626301" y="427083"/>
                              <a:pt x="626301" y="427203"/>
                            </a:cubicBezTo>
                            <a:moveTo>
                              <a:pt x="624806" y="426186"/>
                            </a:moveTo>
                            <a:lnTo>
                              <a:pt x="625643" y="426784"/>
                            </a:lnTo>
                            <a:cubicBezTo>
                              <a:pt x="625643" y="426724"/>
                              <a:pt x="625703" y="426605"/>
                              <a:pt x="625703" y="426545"/>
                            </a:cubicBezTo>
                            <a:cubicBezTo>
                              <a:pt x="625703" y="426485"/>
                              <a:pt x="625703" y="426365"/>
                              <a:pt x="625763" y="426306"/>
                            </a:cubicBezTo>
                            <a:cubicBezTo>
                              <a:pt x="625763" y="426246"/>
                              <a:pt x="625763" y="426126"/>
                              <a:pt x="625823" y="426067"/>
                            </a:cubicBezTo>
                            <a:cubicBezTo>
                              <a:pt x="625882" y="426007"/>
                              <a:pt x="625823" y="425887"/>
                              <a:pt x="625882" y="425827"/>
                            </a:cubicBezTo>
                            <a:lnTo>
                              <a:pt x="624986" y="425229"/>
                            </a:lnTo>
                            <a:cubicBezTo>
                              <a:pt x="624986" y="425289"/>
                              <a:pt x="624986" y="425349"/>
                              <a:pt x="624986" y="425349"/>
                            </a:cubicBezTo>
                            <a:cubicBezTo>
                              <a:pt x="624986" y="425409"/>
                              <a:pt x="624986" y="425469"/>
                              <a:pt x="624986" y="425469"/>
                            </a:cubicBezTo>
                            <a:cubicBezTo>
                              <a:pt x="624986" y="425528"/>
                              <a:pt x="624986" y="425588"/>
                              <a:pt x="624986" y="425588"/>
                            </a:cubicBezTo>
                            <a:cubicBezTo>
                              <a:pt x="624986" y="425588"/>
                              <a:pt x="624986" y="425708"/>
                              <a:pt x="624986" y="425708"/>
                            </a:cubicBezTo>
                            <a:cubicBezTo>
                              <a:pt x="624986" y="425768"/>
                              <a:pt x="624986" y="425768"/>
                              <a:pt x="624986" y="425827"/>
                            </a:cubicBezTo>
                            <a:cubicBezTo>
                              <a:pt x="624986" y="425887"/>
                              <a:pt x="624986" y="425887"/>
                              <a:pt x="624986" y="425947"/>
                            </a:cubicBezTo>
                            <a:cubicBezTo>
                              <a:pt x="624986" y="426007"/>
                              <a:pt x="624986" y="426007"/>
                              <a:pt x="624986" y="426067"/>
                            </a:cubicBezTo>
                            <a:cubicBezTo>
                              <a:pt x="624806" y="426126"/>
                              <a:pt x="624806" y="426126"/>
                              <a:pt x="624806" y="426186"/>
                            </a:cubicBezTo>
                            <a:moveTo>
                              <a:pt x="623191" y="425110"/>
                            </a:moveTo>
                            <a:lnTo>
                              <a:pt x="623849" y="425588"/>
                            </a:lnTo>
                            <a:cubicBezTo>
                              <a:pt x="623849" y="425528"/>
                              <a:pt x="623909" y="425528"/>
                              <a:pt x="623909" y="425469"/>
                            </a:cubicBezTo>
                            <a:cubicBezTo>
                              <a:pt x="623909" y="425409"/>
                              <a:pt x="623969" y="425409"/>
                              <a:pt x="623969" y="425349"/>
                            </a:cubicBezTo>
                            <a:cubicBezTo>
                              <a:pt x="623969" y="425289"/>
                              <a:pt x="624028" y="425289"/>
                              <a:pt x="624028" y="425229"/>
                            </a:cubicBezTo>
                            <a:cubicBezTo>
                              <a:pt x="624028" y="425169"/>
                              <a:pt x="624088" y="425169"/>
                              <a:pt x="624088" y="425110"/>
                            </a:cubicBezTo>
                            <a:cubicBezTo>
                              <a:pt x="624088" y="425050"/>
                              <a:pt x="624088" y="425050"/>
                              <a:pt x="624088" y="425050"/>
                            </a:cubicBezTo>
                            <a:cubicBezTo>
                              <a:pt x="624088" y="424990"/>
                              <a:pt x="624088" y="424990"/>
                              <a:pt x="624088" y="424990"/>
                            </a:cubicBezTo>
                            <a:cubicBezTo>
                              <a:pt x="624088" y="424990"/>
                              <a:pt x="624088" y="424930"/>
                              <a:pt x="624088" y="424930"/>
                            </a:cubicBezTo>
                            <a:cubicBezTo>
                              <a:pt x="624088" y="424930"/>
                              <a:pt x="624088" y="424870"/>
                              <a:pt x="624088" y="424870"/>
                            </a:cubicBezTo>
                            <a:lnTo>
                              <a:pt x="623550" y="424511"/>
                            </a:lnTo>
                            <a:cubicBezTo>
                              <a:pt x="623490" y="424571"/>
                              <a:pt x="623490" y="424631"/>
                              <a:pt x="623430" y="424691"/>
                            </a:cubicBezTo>
                            <a:cubicBezTo>
                              <a:pt x="623371" y="424751"/>
                              <a:pt x="623371" y="424810"/>
                              <a:pt x="623311" y="424870"/>
                            </a:cubicBezTo>
                            <a:cubicBezTo>
                              <a:pt x="623251" y="424930"/>
                              <a:pt x="623251" y="424990"/>
                              <a:pt x="623191" y="425050"/>
                            </a:cubicBezTo>
                            <a:cubicBezTo>
                              <a:pt x="623132" y="425110"/>
                              <a:pt x="623251" y="425050"/>
                              <a:pt x="623191" y="425110"/>
                            </a:cubicBezTo>
                            <a:moveTo>
                              <a:pt x="621277" y="423794"/>
                            </a:moveTo>
                            <a:lnTo>
                              <a:pt x="622713" y="424751"/>
                            </a:lnTo>
                            <a:cubicBezTo>
                              <a:pt x="622772" y="424691"/>
                              <a:pt x="622772" y="424631"/>
                              <a:pt x="622832" y="424571"/>
                            </a:cubicBezTo>
                            <a:cubicBezTo>
                              <a:pt x="622892" y="424511"/>
                              <a:pt x="622892" y="424452"/>
                              <a:pt x="622952" y="424392"/>
                            </a:cubicBezTo>
                            <a:cubicBezTo>
                              <a:pt x="623012" y="424332"/>
                              <a:pt x="623012" y="424272"/>
                              <a:pt x="623072" y="424213"/>
                            </a:cubicBezTo>
                            <a:cubicBezTo>
                              <a:pt x="623132" y="424153"/>
                              <a:pt x="623132" y="424093"/>
                              <a:pt x="623191" y="424033"/>
                            </a:cubicBezTo>
                            <a:lnTo>
                              <a:pt x="621756" y="423076"/>
                            </a:lnTo>
                            <a:cubicBezTo>
                              <a:pt x="621696" y="423136"/>
                              <a:pt x="621696" y="423196"/>
                              <a:pt x="621636" y="423256"/>
                            </a:cubicBezTo>
                            <a:cubicBezTo>
                              <a:pt x="621576" y="423315"/>
                              <a:pt x="621576" y="423375"/>
                              <a:pt x="621517" y="423435"/>
                            </a:cubicBezTo>
                            <a:cubicBezTo>
                              <a:pt x="621457" y="423495"/>
                              <a:pt x="621457" y="423555"/>
                              <a:pt x="621397" y="423615"/>
                            </a:cubicBezTo>
                            <a:cubicBezTo>
                              <a:pt x="621337" y="423674"/>
                              <a:pt x="621277" y="423734"/>
                              <a:pt x="621277" y="423794"/>
                            </a:cubicBezTo>
                            <a:moveTo>
                              <a:pt x="620081" y="422956"/>
                            </a:moveTo>
                            <a:lnTo>
                              <a:pt x="620739" y="423435"/>
                            </a:lnTo>
                            <a:cubicBezTo>
                              <a:pt x="620799" y="423375"/>
                              <a:pt x="620799" y="423315"/>
                              <a:pt x="620859" y="423256"/>
                            </a:cubicBezTo>
                            <a:cubicBezTo>
                              <a:pt x="620918" y="423196"/>
                              <a:pt x="620918" y="423136"/>
                              <a:pt x="620978" y="423076"/>
                            </a:cubicBezTo>
                            <a:cubicBezTo>
                              <a:pt x="621038" y="423016"/>
                              <a:pt x="621038" y="422956"/>
                              <a:pt x="621098" y="422897"/>
                            </a:cubicBezTo>
                            <a:cubicBezTo>
                              <a:pt x="621158" y="422837"/>
                              <a:pt x="621158" y="422777"/>
                              <a:pt x="621218" y="422717"/>
                            </a:cubicBezTo>
                            <a:lnTo>
                              <a:pt x="620559" y="422239"/>
                            </a:lnTo>
                            <a:cubicBezTo>
                              <a:pt x="620500" y="422299"/>
                              <a:pt x="620500" y="422359"/>
                              <a:pt x="620440" y="422418"/>
                            </a:cubicBezTo>
                            <a:cubicBezTo>
                              <a:pt x="620380" y="422478"/>
                              <a:pt x="620380" y="422538"/>
                              <a:pt x="620320" y="422598"/>
                            </a:cubicBezTo>
                            <a:cubicBezTo>
                              <a:pt x="620261" y="422657"/>
                              <a:pt x="620261" y="422717"/>
                              <a:pt x="620201" y="422777"/>
                            </a:cubicBezTo>
                            <a:cubicBezTo>
                              <a:pt x="620141" y="422837"/>
                              <a:pt x="620081" y="422897"/>
                              <a:pt x="620081" y="422956"/>
                            </a:cubicBezTo>
                            <a:moveTo>
                              <a:pt x="608180" y="414942"/>
                            </a:moveTo>
                            <a:lnTo>
                              <a:pt x="619543" y="422598"/>
                            </a:lnTo>
                            <a:cubicBezTo>
                              <a:pt x="619603" y="422538"/>
                              <a:pt x="619603" y="422478"/>
                              <a:pt x="619663" y="422418"/>
                            </a:cubicBezTo>
                            <a:cubicBezTo>
                              <a:pt x="619722" y="422359"/>
                              <a:pt x="619722" y="422299"/>
                              <a:pt x="619782" y="422239"/>
                            </a:cubicBezTo>
                            <a:cubicBezTo>
                              <a:pt x="619842" y="422179"/>
                              <a:pt x="619842" y="422119"/>
                              <a:pt x="619902" y="422060"/>
                            </a:cubicBezTo>
                            <a:cubicBezTo>
                              <a:pt x="619962" y="422000"/>
                              <a:pt x="619962" y="421940"/>
                              <a:pt x="620021" y="421880"/>
                            </a:cubicBezTo>
                            <a:lnTo>
                              <a:pt x="608778" y="414285"/>
                            </a:lnTo>
                            <a:lnTo>
                              <a:pt x="608180" y="414942"/>
                            </a:lnTo>
                            <a:moveTo>
                              <a:pt x="577319" y="394189"/>
                            </a:moveTo>
                            <a:lnTo>
                              <a:pt x="607641" y="414644"/>
                            </a:lnTo>
                            <a:lnTo>
                              <a:pt x="608180" y="413926"/>
                            </a:lnTo>
                            <a:lnTo>
                              <a:pt x="577857" y="393472"/>
                            </a:lnTo>
                            <a:lnTo>
                              <a:pt x="577319" y="394189"/>
                            </a:lnTo>
                            <a:moveTo>
                              <a:pt x="568109" y="387969"/>
                            </a:moveTo>
                            <a:lnTo>
                              <a:pt x="576781" y="393830"/>
                            </a:lnTo>
                            <a:lnTo>
                              <a:pt x="577379" y="393113"/>
                            </a:lnTo>
                            <a:lnTo>
                              <a:pt x="568707" y="387252"/>
                            </a:lnTo>
                            <a:lnTo>
                              <a:pt x="568109" y="387969"/>
                            </a:lnTo>
                            <a:moveTo>
                              <a:pt x="560992" y="383185"/>
                            </a:moveTo>
                            <a:lnTo>
                              <a:pt x="567570" y="387611"/>
                            </a:lnTo>
                            <a:lnTo>
                              <a:pt x="568169" y="386893"/>
                            </a:lnTo>
                            <a:lnTo>
                              <a:pt x="561590" y="382467"/>
                            </a:lnTo>
                            <a:lnTo>
                              <a:pt x="560992" y="383185"/>
                            </a:lnTo>
                            <a:moveTo>
                              <a:pt x="344489" y="237195"/>
                            </a:moveTo>
                            <a:lnTo>
                              <a:pt x="560453" y="382826"/>
                            </a:lnTo>
                            <a:lnTo>
                              <a:pt x="561052" y="382108"/>
                            </a:lnTo>
                            <a:lnTo>
                              <a:pt x="344489" y="235940"/>
                            </a:lnTo>
                            <a:cubicBezTo>
                              <a:pt x="344489" y="236059"/>
                              <a:pt x="344489" y="236179"/>
                              <a:pt x="344489" y="236238"/>
                            </a:cubicBezTo>
                            <a:cubicBezTo>
                              <a:pt x="344489" y="236298"/>
                              <a:pt x="344489" y="236478"/>
                              <a:pt x="344489" y="236537"/>
                            </a:cubicBezTo>
                            <a:cubicBezTo>
                              <a:pt x="344489" y="236657"/>
                              <a:pt x="344489" y="236777"/>
                              <a:pt x="344489" y="236836"/>
                            </a:cubicBezTo>
                            <a:cubicBezTo>
                              <a:pt x="344489" y="236956"/>
                              <a:pt x="344489" y="237076"/>
                              <a:pt x="344489" y="237195"/>
                            </a:cubicBezTo>
                            <a:moveTo>
                              <a:pt x="342157" y="235640"/>
                            </a:moveTo>
                            <a:lnTo>
                              <a:pt x="343473" y="236537"/>
                            </a:lnTo>
                            <a:cubicBezTo>
                              <a:pt x="343473" y="236478"/>
                              <a:pt x="343473" y="236478"/>
                              <a:pt x="343473" y="236418"/>
                            </a:cubicBezTo>
                            <a:cubicBezTo>
                              <a:pt x="343473" y="236358"/>
                              <a:pt x="343473" y="236358"/>
                              <a:pt x="343473" y="236298"/>
                            </a:cubicBezTo>
                            <a:cubicBezTo>
                              <a:pt x="343473" y="236238"/>
                              <a:pt x="343473" y="236238"/>
                              <a:pt x="343473" y="236179"/>
                            </a:cubicBezTo>
                            <a:cubicBezTo>
                              <a:pt x="343473" y="236119"/>
                              <a:pt x="343473" y="236119"/>
                              <a:pt x="343473" y="236059"/>
                            </a:cubicBezTo>
                            <a:cubicBezTo>
                              <a:pt x="343473" y="235999"/>
                              <a:pt x="343473" y="235940"/>
                              <a:pt x="343473" y="235880"/>
                            </a:cubicBezTo>
                            <a:cubicBezTo>
                              <a:pt x="343473" y="235820"/>
                              <a:pt x="343473" y="235760"/>
                              <a:pt x="343473" y="235700"/>
                            </a:cubicBezTo>
                            <a:cubicBezTo>
                              <a:pt x="343473" y="235640"/>
                              <a:pt x="343473" y="235581"/>
                              <a:pt x="343473" y="235521"/>
                            </a:cubicBezTo>
                            <a:cubicBezTo>
                              <a:pt x="343473" y="235461"/>
                              <a:pt x="343473" y="235401"/>
                              <a:pt x="343473" y="235341"/>
                            </a:cubicBezTo>
                            <a:lnTo>
                              <a:pt x="342516" y="234683"/>
                            </a:lnTo>
                            <a:cubicBezTo>
                              <a:pt x="342516" y="234743"/>
                              <a:pt x="342456" y="234803"/>
                              <a:pt x="342456" y="234863"/>
                            </a:cubicBezTo>
                            <a:cubicBezTo>
                              <a:pt x="342456" y="234923"/>
                              <a:pt x="342396" y="234982"/>
                              <a:pt x="342396" y="235042"/>
                            </a:cubicBezTo>
                            <a:cubicBezTo>
                              <a:pt x="342396" y="235102"/>
                              <a:pt x="342337" y="235162"/>
                              <a:pt x="342337" y="235222"/>
                            </a:cubicBezTo>
                            <a:cubicBezTo>
                              <a:pt x="342337" y="235281"/>
                              <a:pt x="342277" y="235341"/>
                              <a:pt x="342277" y="235401"/>
                            </a:cubicBezTo>
                            <a:cubicBezTo>
                              <a:pt x="342277" y="235401"/>
                              <a:pt x="342277" y="235461"/>
                              <a:pt x="342277" y="235461"/>
                            </a:cubicBezTo>
                            <a:cubicBezTo>
                              <a:pt x="342277" y="235461"/>
                              <a:pt x="342277" y="235521"/>
                              <a:pt x="342277" y="235521"/>
                            </a:cubicBezTo>
                            <a:cubicBezTo>
                              <a:pt x="342277" y="235521"/>
                              <a:pt x="342277" y="235581"/>
                              <a:pt x="342277" y="235581"/>
                            </a:cubicBezTo>
                            <a:cubicBezTo>
                              <a:pt x="342277" y="235581"/>
                              <a:pt x="342157" y="235581"/>
                              <a:pt x="342157" y="235640"/>
                            </a:cubicBezTo>
                            <a:moveTo>
                              <a:pt x="340303" y="234325"/>
                            </a:moveTo>
                            <a:lnTo>
                              <a:pt x="341080" y="234863"/>
                            </a:lnTo>
                            <a:cubicBezTo>
                              <a:pt x="341080" y="234743"/>
                              <a:pt x="341021" y="234624"/>
                              <a:pt x="341021" y="234504"/>
                            </a:cubicBezTo>
                            <a:cubicBezTo>
                              <a:pt x="341021" y="234384"/>
                              <a:pt x="340961" y="234265"/>
                              <a:pt x="340961" y="234145"/>
                            </a:cubicBezTo>
                            <a:cubicBezTo>
                              <a:pt x="340961" y="234026"/>
                              <a:pt x="340901" y="233906"/>
                              <a:pt x="340901" y="233786"/>
                            </a:cubicBezTo>
                            <a:cubicBezTo>
                              <a:pt x="340901" y="233667"/>
                              <a:pt x="340841" y="233547"/>
                              <a:pt x="340841" y="233427"/>
                            </a:cubicBezTo>
                            <a:lnTo>
                              <a:pt x="340722" y="233368"/>
                            </a:lnTo>
                            <a:cubicBezTo>
                              <a:pt x="340662" y="233427"/>
                              <a:pt x="340662" y="233547"/>
                              <a:pt x="340602" y="233607"/>
                            </a:cubicBezTo>
                            <a:cubicBezTo>
                              <a:pt x="340542" y="233667"/>
                              <a:pt x="340542" y="233786"/>
                              <a:pt x="340482" y="233846"/>
                            </a:cubicBezTo>
                            <a:cubicBezTo>
                              <a:pt x="340423" y="233906"/>
                              <a:pt x="340423" y="234026"/>
                              <a:pt x="340363" y="234086"/>
                            </a:cubicBezTo>
                            <a:cubicBezTo>
                              <a:pt x="340363" y="234205"/>
                              <a:pt x="340303" y="234265"/>
                              <a:pt x="340303" y="234325"/>
                            </a:cubicBezTo>
                            <a:moveTo>
                              <a:pt x="337313" y="232351"/>
                            </a:moveTo>
                            <a:lnTo>
                              <a:pt x="339525" y="233846"/>
                            </a:lnTo>
                            <a:cubicBezTo>
                              <a:pt x="339585" y="233786"/>
                              <a:pt x="339585" y="233667"/>
                              <a:pt x="339645" y="233607"/>
                            </a:cubicBezTo>
                            <a:cubicBezTo>
                              <a:pt x="339705" y="233547"/>
                              <a:pt x="339705" y="233427"/>
                              <a:pt x="339765" y="233368"/>
                            </a:cubicBezTo>
                            <a:cubicBezTo>
                              <a:pt x="339824" y="233308"/>
                              <a:pt x="339824" y="233188"/>
                              <a:pt x="339884" y="233128"/>
                            </a:cubicBezTo>
                            <a:cubicBezTo>
                              <a:pt x="339944" y="233069"/>
                              <a:pt x="339944" y="232949"/>
                              <a:pt x="340004" y="232889"/>
                            </a:cubicBezTo>
                            <a:lnTo>
                              <a:pt x="337791" y="231394"/>
                            </a:lnTo>
                            <a:cubicBezTo>
                              <a:pt x="337731" y="231454"/>
                              <a:pt x="337731" y="231573"/>
                              <a:pt x="337671" y="231633"/>
                            </a:cubicBezTo>
                            <a:cubicBezTo>
                              <a:pt x="337611" y="231693"/>
                              <a:pt x="337611" y="231813"/>
                              <a:pt x="337552" y="231873"/>
                            </a:cubicBezTo>
                            <a:cubicBezTo>
                              <a:pt x="337492" y="231932"/>
                              <a:pt x="337492" y="232052"/>
                              <a:pt x="337432" y="232112"/>
                            </a:cubicBezTo>
                            <a:cubicBezTo>
                              <a:pt x="337372" y="232172"/>
                              <a:pt x="337313" y="232232"/>
                              <a:pt x="337313" y="232351"/>
                            </a:cubicBezTo>
                            <a:moveTo>
                              <a:pt x="335518" y="231095"/>
                            </a:moveTo>
                            <a:lnTo>
                              <a:pt x="336535" y="231813"/>
                            </a:lnTo>
                            <a:cubicBezTo>
                              <a:pt x="336595" y="231753"/>
                              <a:pt x="336595" y="231633"/>
                              <a:pt x="336655" y="231573"/>
                            </a:cubicBezTo>
                            <a:cubicBezTo>
                              <a:pt x="336715" y="231514"/>
                              <a:pt x="336715" y="231394"/>
                              <a:pt x="336774" y="231334"/>
                            </a:cubicBezTo>
                            <a:cubicBezTo>
                              <a:pt x="336834" y="231274"/>
                              <a:pt x="336834" y="231155"/>
                              <a:pt x="336894" y="231095"/>
                            </a:cubicBezTo>
                            <a:cubicBezTo>
                              <a:pt x="336954" y="231035"/>
                              <a:pt x="336954" y="230916"/>
                              <a:pt x="337014" y="230856"/>
                            </a:cubicBezTo>
                            <a:lnTo>
                              <a:pt x="335997" y="230138"/>
                            </a:lnTo>
                            <a:cubicBezTo>
                              <a:pt x="335937" y="230198"/>
                              <a:pt x="335937" y="230318"/>
                              <a:pt x="335877" y="230378"/>
                            </a:cubicBezTo>
                            <a:cubicBezTo>
                              <a:pt x="335817" y="230437"/>
                              <a:pt x="335817" y="230557"/>
                              <a:pt x="335757" y="230617"/>
                            </a:cubicBezTo>
                            <a:cubicBezTo>
                              <a:pt x="335698" y="230676"/>
                              <a:pt x="335698" y="230796"/>
                              <a:pt x="335638" y="230856"/>
                            </a:cubicBezTo>
                            <a:cubicBezTo>
                              <a:pt x="335578" y="230916"/>
                              <a:pt x="335518" y="231035"/>
                              <a:pt x="335518" y="231095"/>
                            </a:cubicBezTo>
                            <a:moveTo>
                              <a:pt x="320387" y="220928"/>
                            </a:moveTo>
                            <a:lnTo>
                              <a:pt x="334741" y="230557"/>
                            </a:lnTo>
                            <a:cubicBezTo>
                              <a:pt x="334801" y="230497"/>
                              <a:pt x="334801" y="230378"/>
                              <a:pt x="334861" y="230318"/>
                            </a:cubicBezTo>
                            <a:cubicBezTo>
                              <a:pt x="334920" y="230258"/>
                              <a:pt x="334920" y="230138"/>
                              <a:pt x="334980" y="230078"/>
                            </a:cubicBezTo>
                            <a:cubicBezTo>
                              <a:pt x="335040" y="230019"/>
                              <a:pt x="335040" y="229899"/>
                              <a:pt x="335040" y="229839"/>
                            </a:cubicBezTo>
                            <a:cubicBezTo>
                              <a:pt x="335040" y="229779"/>
                              <a:pt x="335100" y="229659"/>
                              <a:pt x="335100" y="229600"/>
                            </a:cubicBezTo>
                            <a:lnTo>
                              <a:pt x="321105" y="220150"/>
                            </a:lnTo>
                            <a:lnTo>
                              <a:pt x="320387" y="220928"/>
                            </a:lnTo>
                            <a:moveTo>
                              <a:pt x="275771" y="190845"/>
                            </a:moveTo>
                            <a:lnTo>
                              <a:pt x="319669" y="220449"/>
                            </a:lnTo>
                            <a:lnTo>
                              <a:pt x="320327" y="219612"/>
                            </a:lnTo>
                            <a:lnTo>
                              <a:pt x="276489" y="190008"/>
                            </a:lnTo>
                            <a:lnTo>
                              <a:pt x="275771" y="190845"/>
                            </a:lnTo>
                            <a:moveTo>
                              <a:pt x="262374" y="181814"/>
                            </a:moveTo>
                            <a:lnTo>
                              <a:pt x="274994" y="190307"/>
                            </a:lnTo>
                            <a:lnTo>
                              <a:pt x="275711" y="189409"/>
                            </a:lnTo>
                            <a:lnTo>
                              <a:pt x="263092" y="180917"/>
                            </a:lnTo>
                            <a:lnTo>
                              <a:pt x="262374" y="181814"/>
                            </a:lnTo>
                            <a:moveTo>
                              <a:pt x="251968" y="174816"/>
                            </a:moveTo>
                            <a:lnTo>
                              <a:pt x="261537" y="181276"/>
                            </a:lnTo>
                            <a:lnTo>
                              <a:pt x="262255" y="180378"/>
                            </a:lnTo>
                            <a:lnTo>
                              <a:pt x="252686" y="173919"/>
                            </a:lnTo>
                            <a:lnTo>
                              <a:pt x="251968" y="174816"/>
                            </a:lnTo>
                            <a:moveTo>
                              <a:pt x="133609" y="94974"/>
                            </a:moveTo>
                            <a:lnTo>
                              <a:pt x="251190" y="174278"/>
                            </a:lnTo>
                            <a:lnTo>
                              <a:pt x="251908" y="173381"/>
                            </a:lnTo>
                            <a:lnTo>
                              <a:pt x="133669" y="93598"/>
                            </a:lnTo>
                            <a:cubicBezTo>
                              <a:pt x="133669" y="93718"/>
                              <a:pt x="133669" y="93838"/>
                              <a:pt x="133669" y="93957"/>
                            </a:cubicBezTo>
                            <a:cubicBezTo>
                              <a:pt x="133669" y="94077"/>
                              <a:pt x="133669" y="94196"/>
                              <a:pt x="133669" y="94316"/>
                            </a:cubicBezTo>
                            <a:cubicBezTo>
                              <a:pt x="133669" y="94435"/>
                              <a:pt x="133669" y="94555"/>
                              <a:pt x="133669" y="94675"/>
                            </a:cubicBezTo>
                            <a:cubicBezTo>
                              <a:pt x="133609" y="94734"/>
                              <a:pt x="133609" y="94854"/>
                              <a:pt x="133609" y="94974"/>
                            </a:cubicBezTo>
                            <a:moveTo>
                              <a:pt x="130858" y="93180"/>
                            </a:moveTo>
                            <a:lnTo>
                              <a:pt x="132413" y="94256"/>
                            </a:lnTo>
                            <a:cubicBezTo>
                              <a:pt x="132413" y="94136"/>
                              <a:pt x="132413" y="94017"/>
                              <a:pt x="132413" y="93897"/>
                            </a:cubicBezTo>
                            <a:cubicBezTo>
                              <a:pt x="132413" y="93778"/>
                              <a:pt x="132413" y="93658"/>
                              <a:pt x="132413" y="93539"/>
                            </a:cubicBezTo>
                            <a:cubicBezTo>
                              <a:pt x="132413" y="93419"/>
                              <a:pt x="132413" y="93299"/>
                              <a:pt x="132413" y="93180"/>
                            </a:cubicBezTo>
                            <a:cubicBezTo>
                              <a:pt x="132413" y="93060"/>
                              <a:pt x="132413" y="92940"/>
                              <a:pt x="132413" y="92821"/>
                            </a:cubicBezTo>
                            <a:lnTo>
                              <a:pt x="130978" y="91864"/>
                            </a:lnTo>
                            <a:cubicBezTo>
                              <a:pt x="130978" y="91924"/>
                              <a:pt x="130918" y="91924"/>
                              <a:pt x="130918" y="91984"/>
                            </a:cubicBezTo>
                            <a:cubicBezTo>
                              <a:pt x="130918" y="92043"/>
                              <a:pt x="130858" y="92043"/>
                              <a:pt x="130858" y="92103"/>
                            </a:cubicBezTo>
                            <a:cubicBezTo>
                              <a:pt x="130858" y="92163"/>
                              <a:pt x="130798" y="92163"/>
                              <a:pt x="130798" y="92223"/>
                            </a:cubicBezTo>
                            <a:cubicBezTo>
                              <a:pt x="130798" y="92282"/>
                              <a:pt x="130739" y="92282"/>
                              <a:pt x="130739" y="92342"/>
                            </a:cubicBezTo>
                            <a:cubicBezTo>
                              <a:pt x="130739" y="92402"/>
                              <a:pt x="130739" y="92462"/>
                              <a:pt x="130739" y="92522"/>
                            </a:cubicBezTo>
                            <a:cubicBezTo>
                              <a:pt x="130739" y="92581"/>
                              <a:pt x="130739" y="92641"/>
                              <a:pt x="130739" y="92701"/>
                            </a:cubicBezTo>
                            <a:cubicBezTo>
                              <a:pt x="130739" y="92761"/>
                              <a:pt x="130739" y="92821"/>
                              <a:pt x="130739" y="92880"/>
                            </a:cubicBezTo>
                            <a:cubicBezTo>
                              <a:pt x="130739" y="92940"/>
                              <a:pt x="130739" y="93000"/>
                              <a:pt x="130739" y="93060"/>
                            </a:cubicBezTo>
                            <a:cubicBezTo>
                              <a:pt x="130739" y="93060"/>
                              <a:pt x="130739" y="93120"/>
                              <a:pt x="130739" y="93120"/>
                            </a:cubicBezTo>
                            <a:cubicBezTo>
                              <a:pt x="130739" y="93120"/>
                              <a:pt x="130739" y="93180"/>
                              <a:pt x="130739" y="93180"/>
                            </a:cubicBezTo>
                            <a:cubicBezTo>
                              <a:pt x="130858" y="93060"/>
                              <a:pt x="130858" y="93060"/>
                              <a:pt x="130858" y="93180"/>
                            </a:cubicBezTo>
                            <a:cubicBezTo>
                              <a:pt x="130858" y="93120"/>
                              <a:pt x="130858" y="93120"/>
                              <a:pt x="130858" y="93180"/>
                            </a:cubicBezTo>
                            <a:moveTo>
                              <a:pt x="128286" y="91385"/>
                            </a:moveTo>
                            <a:lnTo>
                              <a:pt x="129542" y="92223"/>
                            </a:lnTo>
                            <a:cubicBezTo>
                              <a:pt x="129542" y="92223"/>
                              <a:pt x="129542" y="92223"/>
                              <a:pt x="129542" y="92223"/>
                            </a:cubicBezTo>
                            <a:cubicBezTo>
                              <a:pt x="129542" y="92223"/>
                              <a:pt x="129542" y="92223"/>
                              <a:pt x="129542" y="92223"/>
                            </a:cubicBezTo>
                            <a:cubicBezTo>
                              <a:pt x="129542" y="92223"/>
                              <a:pt x="129542" y="92223"/>
                              <a:pt x="129542" y="92223"/>
                            </a:cubicBezTo>
                            <a:cubicBezTo>
                              <a:pt x="129542" y="92223"/>
                              <a:pt x="129542" y="92223"/>
                              <a:pt x="129542" y="92223"/>
                            </a:cubicBezTo>
                            <a:cubicBezTo>
                              <a:pt x="129542" y="92103"/>
                              <a:pt x="129482" y="91984"/>
                              <a:pt x="129482" y="91804"/>
                            </a:cubicBezTo>
                            <a:cubicBezTo>
                              <a:pt x="129482" y="91685"/>
                              <a:pt x="129423" y="91565"/>
                              <a:pt x="129423" y="91385"/>
                            </a:cubicBezTo>
                            <a:cubicBezTo>
                              <a:pt x="129423" y="91266"/>
                              <a:pt x="129363" y="91146"/>
                              <a:pt x="129363" y="90967"/>
                            </a:cubicBezTo>
                            <a:cubicBezTo>
                              <a:pt x="129363" y="90787"/>
                              <a:pt x="129303" y="90727"/>
                              <a:pt x="129303" y="90548"/>
                            </a:cubicBezTo>
                            <a:lnTo>
                              <a:pt x="128825" y="90249"/>
                            </a:lnTo>
                            <a:cubicBezTo>
                              <a:pt x="128765" y="90369"/>
                              <a:pt x="128765" y="90428"/>
                              <a:pt x="128705" y="90548"/>
                            </a:cubicBezTo>
                            <a:cubicBezTo>
                              <a:pt x="128645" y="90668"/>
                              <a:pt x="128645" y="90727"/>
                              <a:pt x="128586" y="90847"/>
                            </a:cubicBezTo>
                            <a:cubicBezTo>
                              <a:pt x="128526" y="90967"/>
                              <a:pt x="128526" y="91026"/>
                              <a:pt x="128466" y="91146"/>
                            </a:cubicBezTo>
                            <a:cubicBezTo>
                              <a:pt x="128346" y="91206"/>
                              <a:pt x="128346" y="91326"/>
                              <a:pt x="128286" y="91385"/>
                            </a:cubicBezTo>
                            <a:moveTo>
                              <a:pt x="124877" y="89113"/>
                            </a:moveTo>
                            <a:lnTo>
                              <a:pt x="127329" y="90787"/>
                            </a:lnTo>
                            <a:cubicBezTo>
                              <a:pt x="127389" y="90668"/>
                              <a:pt x="127389" y="90608"/>
                              <a:pt x="127449" y="90488"/>
                            </a:cubicBezTo>
                            <a:cubicBezTo>
                              <a:pt x="127509" y="90369"/>
                              <a:pt x="127509" y="90309"/>
                              <a:pt x="127569" y="90189"/>
                            </a:cubicBezTo>
                            <a:cubicBezTo>
                              <a:pt x="127628" y="90070"/>
                              <a:pt x="127628" y="90010"/>
                              <a:pt x="127688" y="89890"/>
                            </a:cubicBezTo>
                            <a:cubicBezTo>
                              <a:pt x="127748" y="89771"/>
                              <a:pt x="127748" y="89711"/>
                              <a:pt x="127808" y="89591"/>
                            </a:cubicBezTo>
                            <a:lnTo>
                              <a:pt x="125356" y="87917"/>
                            </a:lnTo>
                            <a:cubicBezTo>
                              <a:pt x="125296" y="88036"/>
                              <a:pt x="125296" y="88096"/>
                              <a:pt x="125236" y="88216"/>
                            </a:cubicBezTo>
                            <a:cubicBezTo>
                              <a:pt x="125176" y="88335"/>
                              <a:pt x="125176" y="88395"/>
                              <a:pt x="125117" y="88515"/>
                            </a:cubicBezTo>
                            <a:cubicBezTo>
                              <a:pt x="125057" y="88634"/>
                              <a:pt x="125057" y="88694"/>
                              <a:pt x="124997" y="88814"/>
                            </a:cubicBezTo>
                            <a:cubicBezTo>
                              <a:pt x="124937" y="88933"/>
                              <a:pt x="124877" y="88993"/>
                              <a:pt x="124877" y="89113"/>
                            </a:cubicBezTo>
                            <a:moveTo>
                              <a:pt x="122664" y="87617"/>
                            </a:moveTo>
                            <a:lnTo>
                              <a:pt x="123920" y="88455"/>
                            </a:lnTo>
                            <a:cubicBezTo>
                              <a:pt x="123980" y="88335"/>
                              <a:pt x="123980" y="88276"/>
                              <a:pt x="124040" y="88156"/>
                            </a:cubicBezTo>
                            <a:cubicBezTo>
                              <a:pt x="124100" y="88036"/>
                              <a:pt x="124100" y="87977"/>
                              <a:pt x="124159" y="87857"/>
                            </a:cubicBezTo>
                            <a:cubicBezTo>
                              <a:pt x="124219" y="87737"/>
                              <a:pt x="124219" y="87677"/>
                              <a:pt x="124279" y="87558"/>
                            </a:cubicBezTo>
                            <a:cubicBezTo>
                              <a:pt x="124339" y="87438"/>
                              <a:pt x="124339" y="87378"/>
                              <a:pt x="124399" y="87259"/>
                            </a:cubicBezTo>
                            <a:lnTo>
                              <a:pt x="123143" y="86421"/>
                            </a:lnTo>
                            <a:cubicBezTo>
                              <a:pt x="123083" y="86541"/>
                              <a:pt x="123083" y="86601"/>
                              <a:pt x="123023" y="86720"/>
                            </a:cubicBezTo>
                            <a:cubicBezTo>
                              <a:pt x="122964" y="86840"/>
                              <a:pt x="122964" y="86900"/>
                              <a:pt x="122904" y="87019"/>
                            </a:cubicBezTo>
                            <a:cubicBezTo>
                              <a:pt x="122844" y="87139"/>
                              <a:pt x="122844" y="87199"/>
                              <a:pt x="122784" y="87318"/>
                            </a:cubicBezTo>
                            <a:cubicBezTo>
                              <a:pt x="122724" y="87438"/>
                              <a:pt x="122724" y="87498"/>
                              <a:pt x="122664" y="87617"/>
                            </a:cubicBezTo>
                            <a:moveTo>
                              <a:pt x="99818" y="72247"/>
                            </a:moveTo>
                            <a:lnTo>
                              <a:pt x="121648" y="86960"/>
                            </a:lnTo>
                            <a:cubicBezTo>
                              <a:pt x="121708" y="86840"/>
                              <a:pt x="121708" y="86780"/>
                              <a:pt x="121767" y="86661"/>
                            </a:cubicBezTo>
                            <a:cubicBezTo>
                              <a:pt x="121827" y="86541"/>
                              <a:pt x="121827" y="86481"/>
                              <a:pt x="121887" y="86362"/>
                            </a:cubicBezTo>
                            <a:cubicBezTo>
                              <a:pt x="121947" y="86242"/>
                              <a:pt x="121947" y="86182"/>
                              <a:pt x="122007" y="86063"/>
                            </a:cubicBezTo>
                            <a:cubicBezTo>
                              <a:pt x="122066" y="85943"/>
                              <a:pt x="122066" y="85883"/>
                              <a:pt x="122126" y="85763"/>
                            </a:cubicBezTo>
                            <a:lnTo>
                              <a:pt x="100595" y="71230"/>
                            </a:lnTo>
                            <a:lnTo>
                              <a:pt x="99818" y="72247"/>
                            </a:lnTo>
                            <a:moveTo>
                              <a:pt x="42822" y="33791"/>
                            </a:moveTo>
                            <a:lnTo>
                              <a:pt x="98861" y="71589"/>
                            </a:lnTo>
                            <a:lnTo>
                              <a:pt x="99639" y="70632"/>
                            </a:lnTo>
                            <a:lnTo>
                              <a:pt x="43659" y="32834"/>
                            </a:lnTo>
                            <a:lnTo>
                              <a:pt x="42822" y="33791"/>
                            </a:lnTo>
                            <a:moveTo>
                              <a:pt x="25657" y="22189"/>
                            </a:moveTo>
                            <a:lnTo>
                              <a:pt x="41865" y="33133"/>
                            </a:lnTo>
                            <a:lnTo>
                              <a:pt x="42642" y="32116"/>
                            </a:lnTo>
                            <a:lnTo>
                              <a:pt x="26435" y="21172"/>
                            </a:lnTo>
                            <a:lnTo>
                              <a:pt x="25657" y="22189"/>
                            </a:lnTo>
                            <a:moveTo>
                              <a:pt x="12320" y="13218"/>
                            </a:moveTo>
                            <a:lnTo>
                              <a:pt x="24581" y="21530"/>
                            </a:lnTo>
                            <a:lnTo>
                              <a:pt x="25358" y="20514"/>
                            </a:lnTo>
                            <a:lnTo>
                              <a:pt x="13098" y="12201"/>
                            </a:lnTo>
                            <a:lnTo>
                              <a:pt x="12320" y="13218"/>
                            </a:lnTo>
                            <a:moveTo>
                              <a:pt x="0" y="4904"/>
                            </a:moveTo>
                            <a:lnTo>
                              <a:pt x="1017" y="5562"/>
                            </a:lnTo>
                            <a:lnTo>
                              <a:pt x="11303" y="12500"/>
                            </a:lnTo>
                            <a:lnTo>
                              <a:pt x="12081" y="11483"/>
                            </a:lnTo>
                            <a:lnTo>
                              <a:pt x="1794" y="4545"/>
                            </a:lnTo>
                            <a:lnTo>
                              <a:pt x="4007" y="1674"/>
                            </a:lnTo>
                            <a:lnTo>
                              <a:pt x="14234" y="8612"/>
                            </a:lnTo>
                            <a:lnTo>
                              <a:pt x="15071" y="7596"/>
                            </a:lnTo>
                            <a:lnTo>
                              <a:pt x="4844" y="658"/>
                            </a:lnTo>
                            <a:lnTo>
                              <a:pt x="3827" y="0"/>
                            </a:lnTo>
                            <a:lnTo>
                              <a:pt x="0" y="4904"/>
                            </a:lnTo>
                          </a:path>
                        </a:pathLst>
                      </a:custGeom>
                      <a:noFill/>
                      <a:ln w="6350" cap="flat">
                        <a:solidFill>
                          <a:schemeClr val="bg1">
                            <a:alpha val="40000"/>
                          </a:schemeClr>
                        </a:solidFill>
                        <a:prstDash val="solid"/>
                        <a:miter/>
                      </a:ln>
                    </p:spPr>
                    <p:txBody>
                      <a:bodyPr rtlCol="0" anchor="ctr"/>
                      <a:lstStyle/>
                      <a:p>
                        <a:endParaRPr lang="en-GB"/>
                      </a:p>
                    </p:txBody>
                  </p:sp>
                  <p:sp>
                    <p:nvSpPr>
                      <p:cNvPr id="7422" name="Vrije vorm: vorm 7421">
                        <a:extLst>
                          <a:ext uri="{FF2B5EF4-FFF2-40B4-BE49-F238E27FC236}">
                            <a16:creationId xmlns:a16="http://schemas.microsoft.com/office/drawing/2014/main" id="{2F3C6E21-47F9-4EA3-AB2F-2EC3D9640841}"/>
                          </a:ext>
                        </a:extLst>
                      </p:cNvPr>
                      <p:cNvSpPr/>
                      <p:nvPr/>
                    </p:nvSpPr>
                    <p:spPr>
                      <a:xfrm>
                        <a:off x="4744586" y="5114873"/>
                        <a:ext cx="658537" cy="442393"/>
                      </a:xfrm>
                      <a:custGeom>
                        <a:avLst/>
                        <a:gdLst>
                          <a:gd name="connsiteX0" fmla="*/ 633179 w 658537"/>
                          <a:gd name="connsiteY0" fmla="*/ 421401 h 442393"/>
                          <a:gd name="connsiteX1" fmla="*/ 633837 w 658537"/>
                          <a:gd name="connsiteY1" fmla="*/ 421880 h 442393"/>
                          <a:gd name="connsiteX2" fmla="*/ 633957 w 658537"/>
                          <a:gd name="connsiteY2" fmla="*/ 421701 h 442393"/>
                          <a:gd name="connsiteX3" fmla="*/ 634076 w 658537"/>
                          <a:gd name="connsiteY3" fmla="*/ 421521 h 442393"/>
                          <a:gd name="connsiteX4" fmla="*/ 634196 w 658537"/>
                          <a:gd name="connsiteY4" fmla="*/ 421342 h 442393"/>
                          <a:gd name="connsiteX5" fmla="*/ 634315 w 658537"/>
                          <a:gd name="connsiteY5" fmla="*/ 421162 h 442393"/>
                          <a:gd name="connsiteX6" fmla="*/ 633658 w 658537"/>
                          <a:gd name="connsiteY6" fmla="*/ 420684 h 442393"/>
                          <a:gd name="connsiteX7" fmla="*/ 633538 w 658537"/>
                          <a:gd name="connsiteY7" fmla="*/ 420863 h 442393"/>
                          <a:gd name="connsiteX8" fmla="*/ 633419 w 658537"/>
                          <a:gd name="connsiteY8" fmla="*/ 421043 h 442393"/>
                          <a:gd name="connsiteX9" fmla="*/ 633299 w 658537"/>
                          <a:gd name="connsiteY9" fmla="*/ 421222 h 442393"/>
                          <a:gd name="connsiteX10" fmla="*/ 633179 w 658537"/>
                          <a:gd name="connsiteY10" fmla="*/ 421401 h 442393"/>
                          <a:gd name="connsiteX11" fmla="*/ 631445 w 658537"/>
                          <a:gd name="connsiteY11" fmla="*/ 420265 h 442393"/>
                          <a:gd name="connsiteX12" fmla="*/ 632641 w 658537"/>
                          <a:gd name="connsiteY12" fmla="*/ 421102 h 442393"/>
                          <a:gd name="connsiteX13" fmla="*/ 632760 w 658537"/>
                          <a:gd name="connsiteY13" fmla="*/ 420863 h 442393"/>
                          <a:gd name="connsiteX14" fmla="*/ 632880 w 658537"/>
                          <a:gd name="connsiteY14" fmla="*/ 420624 h 442393"/>
                          <a:gd name="connsiteX15" fmla="*/ 633000 w 658537"/>
                          <a:gd name="connsiteY15" fmla="*/ 420445 h 442393"/>
                          <a:gd name="connsiteX16" fmla="*/ 633119 w 658537"/>
                          <a:gd name="connsiteY16" fmla="*/ 420265 h 442393"/>
                          <a:gd name="connsiteX17" fmla="*/ 632043 w 658537"/>
                          <a:gd name="connsiteY17" fmla="*/ 419547 h 442393"/>
                          <a:gd name="connsiteX18" fmla="*/ 631923 w 658537"/>
                          <a:gd name="connsiteY18" fmla="*/ 419727 h 442393"/>
                          <a:gd name="connsiteX19" fmla="*/ 631804 w 658537"/>
                          <a:gd name="connsiteY19" fmla="*/ 419906 h 442393"/>
                          <a:gd name="connsiteX20" fmla="*/ 631684 w 658537"/>
                          <a:gd name="connsiteY20" fmla="*/ 420086 h 442393"/>
                          <a:gd name="connsiteX21" fmla="*/ 631445 w 658537"/>
                          <a:gd name="connsiteY21" fmla="*/ 420265 h 442393"/>
                          <a:gd name="connsiteX22" fmla="*/ 630249 w 658537"/>
                          <a:gd name="connsiteY22" fmla="*/ 419428 h 442393"/>
                          <a:gd name="connsiteX23" fmla="*/ 630906 w 658537"/>
                          <a:gd name="connsiteY23" fmla="*/ 419906 h 442393"/>
                          <a:gd name="connsiteX24" fmla="*/ 631026 w 658537"/>
                          <a:gd name="connsiteY24" fmla="*/ 419727 h 442393"/>
                          <a:gd name="connsiteX25" fmla="*/ 631146 w 658537"/>
                          <a:gd name="connsiteY25" fmla="*/ 419547 h 442393"/>
                          <a:gd name="connsiteX26" fmla="*/ 631265 w 658537"/>
                          <a:gd name="connsiteY26" fmla="*/ 419368 h 442393"/>
                          <a:gd name="connsiteX27" fmla="*/ 631385 w 658537"/>
                          <a:gd name="connsiteY27" fmla="*/ 419189 h 442393"/>
                          <a:gd name="connsiteX28" fmla="*/ 630727 w 658537"/>
                          <a:gd name="connsiteY28" fmla="*/ 418710 h 442393"/>
                          <a:gd name="connsiteX29" fmla="*/ 630607 w 658537"/>
                          <a:gd name="connsiteY29" fmla="*/ 418890 h 442393"/>
                          <a:gd name="connsiteX30" fmla="*/ 630488 w 658537"/>
                          <a:gd name="connsiteY30" fmla="*/ 419069 h 442393"/>
                          <a:gd name="connsiteX31" fmla="*/ 630368 w 658537"/>
                          <a:gd name="connsiteY31" fmla="*/ 419248 h 442393"/>
                          <a:gd name="connsiteX32" fmla="*/ 630249 w 658537"/>
                          <a:gd name="connsiteY32" fmla="*/ 419428 h 442393"/>
                          <a:gd name="connsiteX33" fmla="*/ 628215 w 658537"/>
                          <a:gd name="connsiteY33" fmla="*/ 418052 h 442393"/>
                          <a:gd name="connsiteX34" fmla="*/ 629770 w 658537"/>
                          <a:gd name="connsiteY34" fmla="*/ 419129 h 442393"/>
                          <a:gd name="connsiteX35" fmla="*/ 629890 w 658537"/>
                          <a:gd name="connsiteY35" fmla="*/ 418949 h 442393"/>
                          <a:gd name="connsiteX36" fmla="*/ 630009 w 658537"/>
                          <a:gd name="connsiteY36" fmla="*/ 418770 h 442393"/>
                          <a:gd name="connsiteX37" fmla="*/ 630129 w 658537"/>
                          <a:gd name="connsiteY37" fmla="*/ 418591 h 442393"/>
                          <a:gd name="connsiteX38" fmla="*/ 630249 w 658537"/>
                          <a:gd name="connsiteY38" fmla="*/ 418411 h 442393"/>
                          <a:gd name="connsiteX39" fmla="*/ 628694 w 658537"/>
                          <a:gd name="connsiteY39" fmla="*/ 417394 h 442393"/>
                          <a:gd name="connsiteX40" fmla="*/ 628574 w 658537"/>
                          <a:gd name="connsiteY40" fmla="*/ 417574 h 442393"/>
                          <a:gd name="connsiteX41" fmla="*/ 628454 w 658537"/>
                          <a:gd name="connsiteY41" fmla="*/ 417753 h 442393"/>
                          <a:gd name="connsiteX42" fmla="*/ 628335 w 658537"/>
                          <a:gd name="connsiteY42" fmla="*/ 417933 h 442393"/>
                          <a:gd name="connsiteX43" fmla="*/ 628215 w 658537"/>
                          <a:gd name="connsiteY43" fmla="*/ 418052 h 442393"/>
                          <a:gd name="connsiteX44" fmla="*/ 627019 w 658537"/>
                          <a:gd name="connsiteY44" fmla="*/ 417275 h 442393"/>
                          <a:gd name="connsiteX45" fmla="*/ 627677 w 658537"/>
                          <a:gd name="connsiteY45" fmla="*/ 417693 h 442393"/>
                          <a:gd name="connsiteX46" fmla="*/ 627797 w 658537"/>
                          <a:gd name="connsiteY46" fmla="*/ 417514 h 442393"/>
                          <a:gd name="connsiteX47" fmla="*/ 627916 w 658537"/>
                          <a:gd name="connsiteY47" fmla="*/ 417335 h 442393"/>
                          <a:gd name="connsiteX48" fmla="*/ 628036 w 658537"/>
                          <a:gd name="connsiteY48" fmla="*/ 417155 h 442393"/>
                          <a:gd name="connsiteX49" fmla="*/ 628155 w 658537"/>
                          <a:gd name="connsiteY49" fmla="*/ 416976 h 442393"/>
                          <a:gd name="connsiteX50" fmla="*/ 627498 w 658537"/>
                          <a:gd name="connsiteY50" fmla="*/ 416557 h 442393"/>
                          <a:gd name="connsiteX51" fmla="*/ 627378 w 658537"/>
                          <a:gd name="connsiteY51" fmla="*/ 416737 h 442393"/>
                          <a:gd name="connsiteX52" fmla="*/ 627258 w 658537"/>
                          <a:gd name="connsiteY52" fmla="*/ 416916 h 442393"/>
                          <a:gd name="connsiteX53" fmla="*/ 627138 w 658537"/>
                          <a:gd name="connsiteY53" fmla="*/ 417095 h 442393"/>
                          <a:gd name="connsiteX54" fmla="*/ 627019 w 658537"/>
                          <a:gd name="connsiteY54" fmla="*/ 417275 h 442393"/>
                          <a:gd name="connsiteX55" fmla="*/ 614818 w 658537"/>
                          <a:gd name="connsiteY55" fmla="*/ 409141 h 442393"/>
                          <a:gd name="connsiteX56" fmla="*/ 626481 w 658537"/>
                          <a:gd name="connsiteY56" fmla="*/ 416976 h 442393"/>
                          <a:gd name="connsiteX57" fmla="*/ 626600 w 658537"/>
                          <a:gd name="connsiteY57" fmla="*/ 416796 h 442393"/>
                          <a:gd name="connsiteX58" fmla="*/ 626720 w 658537"/>
                          <a:gd name="connsiteY58" fmla="*/ 416617 h 442393"/>
                          <a:gd name="connsiteX59" fmla="*/ 626840 w 658537"/>
                          <a:gd name="connsiteY59" fmla="*/ 416438 h 442393"/>
                          <a:gd name="connsiteX60" fmla="*/ 626959 w 658537"/>
                          <a:gd name="connsiteY60" fmla="*/ 416258 h 442393"/>
                          <a:gd name="connsiteX61" fmla="*/ 615297 w 658537"/>
                          <a:gd name="connsiteY61" fmla="*/ 408423 h 442393"/>
                          <a:gd name="connsiteX62" fmla="*/ 614818 w 658537"/>
                          <a:gd name="connsiteY62" fmla="*/ 409141 h 442393"/>
                          <a:gd name="connsiteX63" fmla="*/ 609556 w 658537"/>
                          <a:gd name="connsiteY63" fmla="*/ 405613 h 442393"/>
                          <a:gd name="connsiteX64" fmla="*/ 614280 w 658537"/>
                          <a:gd name="connsiteY64" fmla="*/ 408782 h 442393"/>
                          <a:gd name="connsiteX65" fmla="*/ 614878 w 658537"/>
                          <a:gd name="connsiteY65" fmla="*/ 408065 h 442393"/>
                          <a:gd name="connsiteX66" fmla="*/ 609256 w 658537"/>
                          <a:gd name="connsiteY66" fmla="*/ 404297 h 442393"/>
                          <a:gd name="connsiteX67" fmla="*/ 609376 w 658537"/>
                          <a:gd name="connsiteY67" fmla="*/ 404596 h 442393"/>
                          <a:gd name="connsiteX68" fmla="*/ 609436 w 658537"/>
                          <a:gd name="connsiteY68" fmla="*/ 404895 h 442393"/>
                          <a:gd name="connsiteX69" fmla="*/ 609496 w 658537"/>
                          <a:gd name="connsiteY69" fmla="*/ 405254 h 442393"/>
                          <a:gd name="connsiteX70" fmla="*/ 609556 w 658537"/>
                          <a:gd name="connsiteY70" fmla="*/ 405613 h 442393"/>
                          <a:gd name="connsiteX71" fmla="*/ 603515 w 658537"/>
                          <a:gd name="connsiteY71" fmla="*/ 401545 h 442393"/>
                          <a:gd name="connsiteX72" fmla="*/ 608539 w 658537"/>
                          <a:gd name="connsiteY72" fmla="*/ 404895 h 442393"/>
                          <a:gd name="connsiteX73" fmla="*/ 608359 w 658537"/>
                          <a:gd name="connsiteY73" fmla="*/ 404416 h 442393"/>
                          <a:gd name="connsiteX74" fmla="*/ 608120 w 658537"/>
                          <a:gd name="connsiteY74" fmla="*/ 403938 h 442393"/>
                          <a:gd name="connsiteX75" fmla="*/ 607821 w 658537"/>
                          <a:gd name="connsiteY75" fmla="*/ 403519 h 442393"/>
                          <a:gd name="connsiteX76" fmla="*/ 607522 w 658537"/>
                          <a:gd name="connsiteY76" fmla="*/ 403100 h 442393"/>
                          <a:gd name="connsiteX77" fmla="*/ 605668 w 658537"/>
                          <a:gd name="connsiteY77" fmla="*/ 401845 h 442393"/>
                          <a:gd name="connsiteX78" fmla="*/ 605129 w 658537"/>
                          <a:gd name="connsiteY78" fmla="*/ 401665 h 442393"/>
                          <a:gd name="connsiteX79" fmla="*/ 604591 w 658537"/>
                          <a:gd name="connsiteY79" fmla="*/ 401545 h 442393"/>
                          <a:gd name="connsiteX80" fmla="*/ 604053 w 658537"/>
                          <a:gd name="connsiteY80" fmla="*/ 401486 h 442393"/>
                          <a:gd name="connsiteX81" fmla="*/ 603515 w 658537"/>
                          <a:gd name="connsiteY81" fmla="*/ 401545 h 442393"/>
                          <a:gd name="connsiteX82" fmla="*/ 583898 w 658537"/>
                          <a:gd name="connsiteY82" fmla="*/ 388448 h 442393"/>
                          <a:gd name="connsiteX83" fmla="*/ 602498 w 658537"/>
                          <a:gd name="connsiteY83" fmla="*/ 400888 h 442393"/>
                          <a:gd name="connsiteX84" fmla="*/ 602857 w 658537"/>
                          <a:gd name="connsiteY84" fmla="*/ 400828 h 442393"/>
                          <a:gd name="connsiteX85" fmla="*/ 603216 w 658537"/>
                          <a:gd name="connsiteY85" fmla="*/ 400768 h 442393"/>
                          <a:gd name="connsiteX86" fmla="*/ 603575 w 658537"/>
                          <a:gd name="connsiteY86" fmla="*/ 400768 h 442393"/>
                          <a:gd name="connsiteX87" fmla="*/ 603934 w 658537"/>
                          <a:gd name="connsiteY87" fmla="*/ 400768 h 442393"/>
                          <a:gd name="connsiteX88" fmla="*/ 584436 w 658537"/>
                          <a:gd name="connsiteY88" fmla="*/ 387730 h 442393"/>
                          <a:gd name="connsiteX89" fmla="*/ 583898 w 658537"/>
                          <a:gd name="connsiteY89" fmla="*/ 388448 h 442393"/>
                          <a:gd name="connsiteX90" fmla="*/ 579412 w 658537"/>
                          <a:gd name="connsiteY90" fmla="*/ 385398 h 442393"/>
                          <a:gd name="connsiteX91" fmla="*/ 583360 w 658537"/>
                          <a:gd name="connsiteY91" fmla="*/ 388029 h 442393"/>
                          <a:gd name="connsiteX92" fmla="*/ 583958 w 658537"/>
                          <a:gd name="connsiteY92" fmla="*/ 387252 h 442393"/>
                          <a:gd name="connsiteX93" fmla="*/ 579113 w 658537"/>
                          <a:gd name="connsiteY93" fmla="*/ 383962 h 442393"/>
                          <a:gd name="connsiteX94" fmla="*/ 579233 w 658537"/>
                          <a:gd name="connsiteY94" fmla="*/ 384261 h 442393"/>
                          <a:gd name="connsiteX95" fmla="*/ 579293 w 658537"/>
                          <a:gd name="connsiteY95" fmla="*/ 384620 h 442393"/>
                          <a:gd name="connsiteX96" fmla="*/ 579353 w 658537"/>
                          <a:gd name="connsiteY96" fmla="*/ 384979 h 442393"/>
                          <a:gd name="connsiteX97" fmla="*/ 579412 w 658537"/>
                          <a:gd name="connsiteY97" fmla="*/ 385398 h 442393"/>
                          <a:gd name="connsiteX98" fmla="*/ 574688 w 658537"/>
                          <a:gd name="connsiteY98" fmla="*/ 382228 h 442393"/>
                          <a:gd name="connsiteX99" fmla="*/ 578396 w 658537"/>
                          <a:gd name="connsiteY99" fmla="*/ 384680 h 442393"/>
                          <a:gd name="connsiteX100" fmla="*/ 578216 w 658537"/>
                          <a:gd name="connsiteY100" fmla="*/ 384142 h 442393"/>
                          <a:gd name="connsiteX101" fmla="*/ 577977 w 658537"/>
                          <a:gd name="connsiteY101" fmla="*/ 383663 h 442393"/>
                          <a:gd name="connsiteX102" fmla="*/ 577678 w 658537"/>
                          <a:gd name="connsiteY102" fmla="*/ 383185 h 442393"/>
                          <a:gd name="connsiteX103" fmla="*/ 577319 w 658537"/>
                          <a:gd name="connsiteY103" fmla="*/ 382766 h 442393"/>
                          <a:gd name="connsiteX104" fmla="*/ 575405 w 658537"/>
                          <a:gd name="connsiteY104" fmla="*/ 381450 h 442393"/>
                          <a:gd name="connsiteX105" fmla="*/ 575346 w 658537"/>
                          <a:gd name="connsiteY105" fmla="*/ 381450 h 442393"/>
                          <a:gd name="connsiteX106" fmla="*/ 575286 w 658537"/>
                          <a:gd name="connsiteY106" fmla="*/ 381450 h 442393"/>
                          <a:gd name="connsiteX107" fmla="*/ 575226 w 658537"/>
                          <a:gd name="connsiteY107" fmla="*/ 381450 h 442393"/>
                          <a:gd name="connsiteX108" fmla="*/ 575166 w 658537"/>
                          <a:gd name="connsiteY108" fmla="*/ 381450 h 442393"/>
                          <a:gd name="connsiteX109" fmla="*/ 574688 w 658537"/>
                          <a:gd name="connsiteY109" fmla="*/ 382228 h 442393"/>
                          <a:gd name="connsiteX110" fmla="*/ 573133 w 658537"/>
                          <a:gd name="connsiteY110" fmla="*/ 381211 h 442393"/>
                          <a:gd name="connsiteX111" fmla="*/ 574149 w 658537"/>
                          <a:gd name="connsiteY111" fmla="*/ 381869 h 442393"/>
                          <a:gd name="connsiteX112" fmla="*/ 574568 w 658537"/>
                          <a:gd name="connsiteY112" fmla="*/ 381331 h 442393"/>
                          <a:gd name="connsiteX113" fmla="*/ 574209 w 658537"/>
                          <a:gd name="connsiteY113" fmla="*/ 381271 h 442393"/>
                          <a:gd name="connsiteX114" fmla="*/ 573850 w 658537"/>
                          <a:gd name="connsiteY114" fmla="*/ 381211 h 442393"/>
                          <a:gd name="connsiteX115" fmla="*/ 573492 w 658537"/>
                          <a:gd name="connsiteY115" fmla="*/ 381211 h 442393"/>
                          <a:gd name="connsiteX116" fmla="*/ 573133 w 658537"/>
                          <a:gd name="connsiteY116" fmla="*/ 381211 h 442393"/>
                          <a:gd name="connsiteX117" fmla="*/ 567571 w 658537"/>
                          <a:gd name="connsiteY117" fmla="*/ 377503 h 442393"/>
                          <a:gd name="connsiteX118" fmla="*/ 572116 w 658537"/>
                          <a:gd name="connsiteY118" fmla="*/ 380553 h 442393"/>
                          <a:gd name="connsiteX119" fmla="*/ 572475 w 658537"/>
                          <a:gd name="connsiteY119" fmla="*/ 380493 h 442393"/>
                          <a:gd name="connsiteX120" fmla="*/ 572834 w 658537"/>
                          <a:gd name="connsiteY120" fmla="*/ 380434 h 442393"/>
                          <a:gd name="connsiteX121" fmla="*/ 573193 w 658537"/>
                          <a:gd name="connsiteY121" fmla="*/ 380434 h 442393"/>
                          <a:gd name="connsiteX122" fmla="*/ 573551 w 658537"/>
                          <a:gd name="connsiteY122" fmla="*/ 380434 h 442393"/>
                          <a:gd name="connsiteX123" fmla="*/ 568109 w 658537"/>
                          <a:gd name="connsiteY123" fmla="*/ 376785 h 442393"/>
                          <a:gd name="connsiteX124" fmla="*/ 567571 w 658537"/>
                          <a:gd name="connsiteY124" fmla="*/ 377503 h 442393"/>
                          <a:gd name="connsiteX125" fmla="*/ 353102 w 658537"/>
                          <a:gd name="connsiteY125" fmla="*/ 233966 h 442393"/>
                          <a:gd name="connsiteX126" fmla="*/ 566972 w 658537"/>
                          <a:gd name="connsiteY126" fmla="*/ 377084 h 442393"/>
                          <a:gd name="connsiteX127" fmla="*/ 567571 w 658537"/>
                          <a:gd name="connsiteY127" fmla="*/ 376307 h 442393"/>
                          <a:gd name="connsiteX128" fmla="*/ 353520 w 658537"/>
                          <a:gd name="connsiteY128" fmla="*/ 232889 h 442393"/>
                          <a:gd name="connsiteX129" fmla="*/ 353401 w 658537"/>
                          <a:gd name="connsiteY129" fmla="*/ 233128 h 442393"/>
                          <a:gd name="connsiteX130" fmla="*/ 353281 w 658537"/>
                          <a:gd name="connsiteY130" fmla="*/ 233368 h 442393"/>
                          <a:gd name="connsiteX131" fmla="*/ 353162 w 658537"/>
                          <a:gd name="connsiteY131" fmla="*/ 233607 h 442393"/>
                          <a:gd name="connsiteX132" fmla="*/ 353102 w 658537"/>
                          <a:gd name="connsiteY132" fmla="*/ 233966 h 442393"/>
                          <a:gd name="connsiteX133" fmla="*/ 351367 w 658537"/>
                          <a:gd name="connsiteY133" fmla="*/ 232770 h 442393"/>
                          <a:gd name="connsiteX134" fmla="*/ 352384 w 658537"/>
                          <a:gd name="connsiteY134" fmla="*/ 233427 h 442393"/>
                          <a:gd name="connsiteX135" fmla="*/ 352504 w 658537"/>
                          <a:gd name="connsiteY135" fmla="*/ 233128 h 442393"/>
                          <a:gd name="connsiteX136" fmla="*/ 352624 w 658537"/>
                          <a:gd name="connsiteY136" fmla="*/ 232829 h 442393"/>
                          <a:gd name="connsiteX137" fmla="*/ 352743 w 658537"/>
                          <a:gd name="connsiteY137" fmla="*/ 232530 h 442393"/>
                          <a:gd name="connsiteX138" fmla="*/ 352863 w 658537"/>
                          <a:gd name="connsiteY138" fmla="*/ 232291 h 442393"/>
                          <a:gd name="connsiteX139" fmla="*/ 351846 w 658537"/>
                          <a:gd name="connsiteY139" fmla="*/ 231573 h 442393"/>
                          <a:gd name="connsiteX140" fmla="*/ 351786 w 658537"/>
                          <a:gd name="connsiteY140" fmla="*/ 231872 h 442393"/>
                          <a:gd name="connsiteX141" fmla="*/ 351726 w 658537"/>
                          <a:gd name="connsiteY141" fmla="*/ 232172 h 442393"/>
                          <a:gd name="connsiteX142" fmla="*/ 351607 w 658537"/>
                          <a:gd name="connsiteY142" fmla="*/ 232471 h 442393"/>
                          <a:gd name="connsiteX143" fmla="*/ 351367 w 658537"/>
                          <a:gd name="connsiteY143" fmla="*/ 232770 h 442393"/>
                          <a:gd name="connsiteX144" fmla="*/ 349095 w 658537"/>
                          <a:gd name="connsiteY144" fmla="*/ 231274 h 442393"/>
                          <a:gd name="connsiteX145" fmla="*/ 350590 w 658537"/>
                          <a:gd name="connsiteY145" fmla="*/ 232231 h 442393"/>
                          <a:gd name="connsiteX146" fmla="*/ 350710 w 658537"/>
                          <a:gd name="connsiteY146" fmla="*/ 231932 h 442393"/>
                          <a:gd name="connsiteX147" fmla="*/ 350770 w 658537"/>
                          <a:gd name="connsiteY147" fmla="*/ 231633 h 442393"/>
                          <a:gd name="connsiteX148" fmla="*/ 350829 w 658537"/>
                          <a:gd name="connsiteY148" fmla="*/ 231334 h 442393"/>
                          <a:gd name="connsiteX149" fmla="*/ 350889 w 658537"/>
                          <a:gd name="connsiteY149" fmla="*/ 231035 h 442393"/>
                          <a:gd name="connsiteX150" fmla="*/ 349633 w 658537"/>
                          <a:gd name="connsiteY150" fmla="*/ 230198 h 442393"/>
                          <a:gd name="connsiteX151" fmla="*/ 349513 w 658537"/>
                          <a:gd name="connsiteY151" fmla="*/ 230437 h 442393"/>
                          <a:gd name="connsiteX152" fmla="*/ 349394 w 658537"/>
                          <a:gd name="connsiteY152" fmla="*/ 230676 h 442393"/>
                          <a:gd name="connsiteX153" fmla="*/ 349274 w 658537"/>
                          <a:gd name="connsiteY153" fmla="*/ 230916 h 442393"/>
                          <a:gd name="connsiteX154" fmla="*/ 349095 w 658537"/>
                          <a:gd name="connsiteY154" fmla="*/ 231274 h 442393"/>
                          <a:gd name="connsiteX155" fmla="*/ 347360 w 658537"/>
                          <a:gd name="connsiteY155" fmla="*/ 230138 h 442393"/>
                          <a:gd name="connsiteX156" fmla="*/ 348317 w 658537"/>
                          <a:gd name="connsiteY156" fmla="*/ 230796 h 442393"/>
                          <a:gd name="connsiteX157" fmla="*/ 348437 w 658537"/>
                          <a:gd name="connsiteY157" fmla="*/ 230557 h 442393"/>
                          <a:gd name="connsiteX158" fmla="*/ 348557 w 658537"/>
                          <a:gd name="connsiteY158" fmla="*/ 230318 h 442393"/>
                          <a:gd name="connsiteX159" fmla="*/ 348676 w 658537"/>
                          <a:gd name="connsiteY159" fmla="*/ 230078 h 442393"/>
                          <a:gd name="connsiteX160" fmla="*/ 348796 w 658537"/>
                          <a:gd name="connsiteY160" fmla="*/ 229839 h 442393"/>
                          <a:gd name="connsiteX161" fmla="*/ 347839 w 658537"/>
                          <a:gd name="connsiteY161" fmla="*/ 229181 h 442393"/>
                          <a:gd name="connsiteX162" fmla="*/ 347719 w 658537"/>
                          <a:gd name="connsiteY162" fmla="*/ 229420 h 442393"/>
                          <a:gd name="connsiteX163" fmla="*/ 347600 w 658537"/>
                          <a:gd name="connsiteY163" fmla="*/ 229659 h 442393"/>
                          <a:gd name="connsiteX164" fmla="*/ 347480 w 658537"/>
                          <a:gd name="connsiteY164" fmla="*/ 229899 h 442393"/>
                          <a:gd name="connsiteX165" fmla="*/ 347360 w 658537"/>
                          <a:gd name="connsiteY165" fmla="*/ 230138 h 442393"/>
                          <a:gd name="connsiteX166" fmla="*/ 344250 w 658537"/>
                          <a:gd name="connsiteY166" fmla="*/ 228045 h 442393"/>
                          <a:gd name="connsiteX167" fmla="*/ 346643 w 658537"/>
                          <a:gd name="connsiteY167" fmla="*/ 229600 h 442393"/>
                          <a:gd name="connsiteX168" fmla="*/ 346763 w 658537"/>
                          <a:gd name="connsiteY168" fmla="*/ 229361 h 442393"/>
                          <a:gd name="connsiteX169" fmla="*/ 346882 w 658537"/>
                          <a:gd name="connsiteY169" fmla="*/ 229121 h 442393"/>
                          <a:gd name="connsiteX170" fmla="*/ 347002 w 658537"/>
                          <a:gd name="connsiteY170" fmla="*/ 228882 h 442393"/>
                          <a:gd name="connsiteX171" fmla="*/ 347121 w 658537"/>
                          <a:gd name="connsiteY171" fmla="*/ 228643 h 442393"/>
                          <a:gd name="connsiteX172" fmla="*/ 344789 w 658537"/>
                          <a:gd name="connsiteY172" fmla="*/ 227088 h 442393"/>
                          <a:gd name="connsiteX173" fmla="*/ 344669 w 658537"/>
                          <a:gd name="connsiteY173" fmla="*/ 227327 h 442393"/>
                          <a:gd name="connsiteX174" fmla="*/ 344549 w 658537"/>
                          <a:gd name="connsiteY174" fmla="*/ 227566 h 442393"/>
                          <a:gd name="connsiteX175" fmla="*/ 344370 w 658537"/>
                          <a:gd name="connsiteY175" fmla="*/ 227805 h 442393"/>
                          <a:gd name="connsiteX176" fmla="*/ 344250 w 658537"/>
                          <a:gd name="connsiteY176" fmla="*/ 228045 h 442393"/>
                          <a:gd name="connsiteX177" fmla="*/ 342576 w 658537"/>
                          <a:gd name="connsiteY177" fmla="*/ 226909 h 442393"/>
                          <a:gd name="connsiteX178" fmla="*/ 343533 w 658537"/>
                          <a:gd name="connsiteY178" fmla="*/ 227566 h 442393"/>
                          <a:gd name="connsiteX179" fmla="*/ 343712 w 658537"/>
                          <a:gd name="connsiteY179" fmla="*/ 227327 h 442393"/>
                          <a:gd name="connsiteX180" fmla="*/ 343892 w 658537"/>
                          <a:gd name="connsiteY180" fmla="*/ 227088 h 442393"/>
                          <a:gd name="connsiteX181" fmla="*/ 344011 w 658537"/>
                          <a:gd name="connsiteY181" fmla="*/ 226849 h 442393"/>
                          <a:gd name="connsiteX182" fmla="*/ 344131 w 658537"/>
                          <a:gd name="connsiteY182" fmla="*/ 226609 h 442393"/>
                          <a:gd name="connsiteX183" fmla="*/ 343174 w 658537"/>
                          <a:gd name="connsiteY183" fmla="*/ 225951 h 442393"/>
                          <a:gd name="connsiteX184" fmla="*/ 343054 w 658537"/>
                          <a:gd name="connsiteY184" fmla="*/ 226191 h 442393"/>
                          <a:gd name="connsiteX185" fmla="*/ 342935 w 658537"/>
                          <a:gd name="connsiteY185" fmla="*/ 226430 h 442393"/>
                          <a:gd name="connsiteX186" fmla="*/ 342815 w 658537"/>
                          <a:gd name="connsiteY186" fmla="*/ 226669 h 442393"/>
                          <a:gd name="connsiteX187" fmla="*/ 342576 w 658537"/>
                          <a:gd name="connsiteY187" fmla="*/ 226909 h 442393"/>
                          <a:gd name="connsiteX188" fmla="*/ 326308 w 658537"/>
                          <a:gd name="connsiteY188" fmla="*/ 216024 h 442393"/>
                          <a:gd name="connsiteX189" fmla="*/ 341798 w 658537"/>
                          <a:gd name="connsiteY189" fmla="*/ 226430 h 442393"/>
                          <a:gd name="connsiteX190" fmla="*/ 341978 w 658537"/>
                          <a:gd name="connsiteY190" fmla="*/ 226191 h 442393"/>
                          <a:gd name="connsiteX191" fmla="*/ 342097 w 658537"/>
                          <a:gd name="connsiteY191" fmla="*/ 225951 h 442393"/>
                          <a:gd name="connsiteX192" fmla="*/ 342217 w 658537"/>
                          <a:gd name="connsiteY192" fmla="*/ 225712 h 442393"/>
                          <a:gd name="connsiteX193" fmla="*/ 342337 w 658537"/>
                          <a:gd name="connsiteY193" fmla="*/ 225473 h 442393"/>
                          <a:gd name="connsiteX194" fmla="*/ 326966 w 658537"/>
                          <a:gd name="connsiteY194" fmla="*/ 215186 h 442393"/>
                          <a:gd name="connsiteX195" fmla="*/ 326308 w 658537"/>
                          <a:gd name="connsiteY195" fmla="*/ 216024 h 442393"/>
                          <a:gd name="connsiteX196" fmla="*/ 318713 w 658537"/>
                          <a:gd name="connsiteY196" fmla="*/ 210940 h 442393"/>
                          <a:gd name="connsiteX197" fmla="*/ 325591 w 658537"/>
                          <a:gd name="connsiteY197" fmla="*/ 215545 h 442393"/>
                          <a:gd name="connsiteX198" fmla="*/ 326308 w 658537"/>
                          <a:gd name="connsiteY198" fmla="*/ 214648 h 442393"/>
                          <a:gd name="connsiteX199" fmla="*/ 318175 w 658537"/>
                          <a:gd name="connsiteY199" fmla="*/ 209206 h 442393"/>
                          <a:gd name="connsiteX200" fmla="*/ 318354 w 658537"/>
                          <a:gd name="connsiteY200" fmla="*/ 209624 h 442393"/>
                          <a:gd name="connsiteX201" fmla="*/ 318533 w 658537"/>
                          <a:gd name="connsiteY201" fmla="*/ 210043 h 442393"/>
                          <a:gd name="connsiteX202" fmla="*/ 318653 w 658537"/>
                          <a:gd name="connsiteY202" fmla="*/ 210462 h 442393"/>
                          <a:gd name="connsiteX203" fmla="*/ 318713 w 658537"/>
                          <a:gd name="connsiteY203" fmla="*/ 210940 h 442393"/>
                          <a:gd name="connsiteX204" fmla="*/ 309981 w 658537"/>
                          <a:gd name="connsiteY204" fmla="*/ 205139 h 442393"/>
                          <a:gd name="connsiteX205" fmla="*/ 317277 w 658537"/>
                          <a:gd name="connsiteY205" fmla="*/ 209983 h 442393"/>
                          <a:gd name="connsiteX206" fmla="*/ 316978 w 658537"/>
                          <a:gd name="connsiteY206" fmla="*/ 209325 h 442393"/>
                          <a:gd name="connsiteX207" fmla="*/ 316619 w 658537"/>
                          <a:gd name="connsiteY207" fmla="*/ 208727 h 442393"/>
                          <a:gd name="connsiteX208" fmla="*/ 316201 w 658537"/>
                          <a:gd name="connsiteY208" fmla="*/ 208129 h 442393"/>
                          <a:gd name="connsiteX209" fmla="*/ 315723 w 658537"/>
                          <a:gd name="connsiteY209" fmla="*/ 207591 h 442393"/>
                          <a:gd name="connsiteX210" fmla="*/ 313031 w 658537"/>
                          <a:gd name="connsiteY210" fmla="*/ 205796 h 442393"/>
                          <a:gd name="connsiteX211" fmla="*/ 312314 w 658537"/>
                          <a:gd name="connsiteY211" fmla="*/ 205557 h 442393"/>
                          <a:gd name="connsiteX212" fmla="*/ 311596 w 658537"/>
                          <a:gd name="connsiteY212" fmla="*/ 205378 h 442393"/>
                          <a:gd name="connsiteX213" fmla="*/ 310818 w 658537"/>
                          <a:gd name="connsiteY213" fmla="*/ 205258 h 442393"/>
                          <a:gd name="connsiteX214" fmla="*/ 309981 w 658537"/>
                          <a:gd name="connsiteY214" fmla="*/ 205139 h 442393"/>
                          <a:gd name="connsiteX215" fmla="*/ 281573 w 658537"/>
                          <a:gd name="connsiteY215" fmla="*/ 186060 h 442393"/>
                          <a:gd name="connsiteX216" fmla="*/ 308546 w 658537"/>
                          <a:gd name="connsiteY216" fmla="*/ 204122 h 442393"/>
                          <a:gd name="connsiteX217" fmla="*/ 309024 w 658537"/>
                          <a:gd name="connsiteY217" fmla="*/ 204062 h 442393"/>
                          <a:gd name="connsiteX218" fmla="*/ 309502 w 658537"/>
                          <a:gd name="connsiteY218" fmla="*/ 204062 h 442393"/>
                          <a:gd name="connsiteX219" fmla="*/ 309981 w 658537"/>
                          <a:gd name="connsiteY219" fmla="*/ 204062 h 442393"/>
                          <a:gd name="connsiteX220" fmla="*/ 310460 w 658537"/>
                          <a:gd name="connsiteY220" fmla="*/ 204062 h 442393"/>
                          <a:gd name="connsiteX221" fmla="*/ 282230 w 658537"/>
                          <a:gd name="connsiteY221" fmla="*/ 185163 h 442393"/>
                          <a:gd name="connsiteX222" fmla="*/ 281573 w 658537"/>
                          <a:gd name="connsiteY222" fmla="*/ 186060 h 442393"/>
                          <a:gd name="connsiteX223" fmla="*/ 274994 w 658537"/>
                          <a:gd name="connsiteY223" fmla="*/ 181694 h 442393"/>
                          <a:gd name="connsiteX224" fmla="*/ 280735 w 658537"/>
                          <a:gd name="connsiteY224" fmla="*/ 185582 h 442393"/>
                          <a:gd name="connsiteX225" fmla="*/ 281453 w 658537"/>
                          <a:gd name="connsiteY225" fmla="*/ 184685 h 442393"/>
                          <a:gd name="connsiteX226" fmla="*/ 274336 w 658537"/>
                          <a:gd name="connsiteY226" fmla="*/ 179900 h 442393"/>
                          <a:gd name="connsiteX227" fmla="*/ 274515 w 658537"/>
                          <a:gd name="connsiteY227" fmla="*/ 180319 h 442393"/>
                          <a:gd name="connsiteX228" fmla="*/ 274695 w 658537"/>
                          <a:gd name="connsiteY228" fmla="*/ 180737 h 442393"/>
                          <a:gd name="connsiteX229" fmla="*/ 274814 w 658537"/>
                          <a:gd name="connsiteY229" fmla="*/ 181216 h 442393"/>
                          <a:gd name="connsiteX230" fmla="*/ 274994 w 658537"/>
                          <a:gd name="connsiteY230" fmla="*/ 181694 h 442393"/>
                          <a:gd name="connsiteX231" fmla="*/ 268116 w 658537"/>
                          <a:gd name="connsiteY231" fmla="*/ 177089 h 442393"/>
                          <a:gd name="connsiteX232" fmla="*/ 273499 w 658537"/>
                          <a:gd name="connsiteY232" fmla="*/ 180677 h 442393"/>
                          <a:gd name="connsiteX233" fmla="*/ 273140 w 658537"/>
                          <a:gd name="connsiteY233" fmla="*/ 180020 h 442393"/>
                          <a:gd name="connsiteX234" fmla="*/ 272721 w 658537"/>
                          <a:gd name="connsiteY234" fmla="*/ 179362 h 442393"/>
                          <a:gd name="connsiteX235" fmla="*/ 272243 w 658537"/>
                          <a:gd name="connsiteY235" fmla="*/ 178763 h 442393"/>
                          <a:gd name="connsiteX236" fmla="*/ 271704 w 658537"/>
                          <a:gd name="connsiteY236" fmla="*/ 178166 h 442393"/>
                          <a:gd name="connsiteX237" fmla="*/ 268893 w 658537"/>
                          <a:gd name="connsiteY237" fmla="*/ 176312 h 442393"/>
                          <a:gd name="connsiteX238" fmla="*/ 268834 w 658537"/>
                          <a:gd name="connsiteY238" fmla="*/ 176312 h 442393"/>
                          <a:gd name="connsiteX239" fmla="*/ 268774 w 658537"/>
                          <a:gd name="connsiteY239" fmla="*/ 176312 h 442393"/>
                          <a:gd name="connsiteX240" fmla="*/ 268714 w 658537"/>
                          <a:gd name="connsiteY240" fmla="*/ 176312 h 442393"/>
                          <a:gd name="connsiteX241" fmla="*/ 268654 w 658537"/>
                          <a:gd name="connsiteY241" fmla="*/ 176312 h 442393"/>
                          <a:gd name="connsiteX242" fmla="*/ 268116 w 658537"/>
                          <a:gd name="connsiteY242" fmla="*/ 177089 h 442393"/>
                          <a:gd name="connsiteX243" fmla="*/ 265843 w 658537"/>
                          <a:gd name="connsiteY243" fmla="*/ 175594 h 442393"/>
                          <a:gd name="connsiteX244" fmla="*/ 267338 w 658537"/>
                          <a:gd name="connsiteY244" fmla="*/ 176611 h 442393"/>
                          <a:gd name="connsiteX245" fmla="*/ 267877 w 658537"/>
                          <a:gd name="connsiteY245" fmla="*/ 175953 h 442393"/>
                          <a:gd name="connsiteX246" fmla="*/ 267398 w 658537"/>
                          <a:gd name="connsiteY246" fmla="*/ 175833 h 442393"/>
                          <a:gd name="connsiteX247" fmla="*/ 266920 w 658537"/>
                          <a:gd name="connsiteY247" fmla="*/ 175714 h 442393"/>
                          <a:gd name="connsiteX248" fmla="*/ 266441 w 658537"/>
                          <a:gd name="connsiteY248" fmla="*/ 175654 h 442393"/>
                          <a:gd name="connsiteX249" fmla="*/ 265843 w 658537"/>
                          <a:gd name="connsiteY249" fmla="*/ 175594 h 442393"/>
                          <a:gd name="connsiteX250" fmla="*/ 257709 w 658537"/>
                          <a:gd name="connsiteY250" fmla="*/ 170092 h 442393"/>
                          <a:gd name="connsiteX251" fmla="*/ 264348 w 658537"/>
                          <a:gd name="connsiteY251" fmla="*/ 174517 h 442393"/>
                          <a:gd name="connsiteX252" fmla="*/ 264886 w 658537"/>
                          <a:gd name="connsiteY252" fmla="*/ 174458 h 442393"/>
                          <a:gd name="connsiteX253" fmla="*/ 265425 w 658537"/>
                          <a:gd name="connsiteY253" fmla="*/ 174458 h 442393"/>
                          <a:gd name="connsiteX254" fmla="*/ 265963 w 658537"/>
                          <a:gd name="connsiteY254" fmla="*/ 174458 h 442393"/>
                          <a:gd name="connsiteX255" fmla="*/ 266501 w 658537"/>
                          <a:gd name="connsiteY255" fmla="*/ 174458 h 442393"/>
                          <a:gd name="connsiteX256" fmla="*/ 258547 w 658537"/>
                          <a:gd name="connsiteY256" fmla="*/ 169135 h 442393"/>
                          <a:gd name="connsiteX257" fmla="*/ 257709 w 658537"/>
                          <a:gd name="connsiteY257" fmla="*/ 170092 h 442393"/>
                          <a:gd name="connsiteX258" fmla="*/ 141863 w 658537"/>
                          <a:gd name="connsiteY258" fmla="*/ 92581 h 442393"/>
                          <a:gd name="connsiteX259" fmla="*/ 256932 w 658537"/>
                          <a:gd name="connsiteY259" fmla="*/ 169613 h 442393"/>
                          <a:gd name="connsiteX260" fmla="*/ 257650 w 658537"/>
                          <a:gd name="connsiteY260" fmla="*/ 168716 h 442393"/>
                          <a:gd name="connsiteX261" fmla="*/ 142341 w 658537"/>
                          <a:gd name="connsiteY261" fmla="*/ 91445 h 442393"/>
                          <a:gd name="connsiteX262" fmla="*/ 142222 w 658537"/>
                          <a:gd name="connsiteY262" fmla="*/ 91744 h 442393"/>
                          <a:gd name="connsiteX263" fmla="*/ 142102 w 658537"/>
                          <a:gd name="connsiteY263" fmla="*/ 92043 h 442393"/>
                          <a:gd name="connsiteX264" fmla="*/ 141982 w 658537"/>
                          <a:gd name="connsiteY264" fmla="*/ 92342 h 442393"/>
                          <a:gd name="connsiteX265" fmla="*/ 141863 w 658537"/>
                          <a:gd name="connsiteY265" fmla="*/ 92581 h 442393"/>
                          <a:gd name="connsiteX266" fmla="*/ 139650 w 658537"/>
                          <a:gd name="connsiteY266" fmla="*/ 91086 h 442393"/>
                          <a:gd name="connsiteX267" fmla="*/ 140906 w 658537"/>
                          <a:gd name="connsiteY267" fmla="*/ 91924 h 442393"/>
                          <a:gd name="connsiteX268" fmla="*/ 141026 w 658537"/>
                          <a:gd name="connsiteY268" fmla="*/ 91625 h 442393"/>
                          <a:gd name="connsiteX269" fmla="*/ 141145 w 658537"/>
                          <a:gd name="connsiteY269" fmla="*/ 91325 h 442393"/>
                          <a:gd name="connsiteX270" fmla="*/ 141265 w 658537"/>
                          <a:gd name="connsiteY270" fmla="*/ 91026 h 442393"/>
                          <a:gd name="connsiteX271" fmla="*/ 141384 w 658537"/>
                          <a:gd name="connsiteY271" fmla="*/ 90727 h 442393"/>
                          <a:gd name="connsiteX272" fmla="*/ 140128 w 658537"/>
                          <a:gd name="connsiteY272" fmla="*/ 89890 h 442393"/>
                          <a:gd name="connsiteX273" fmla="*/ 140009 w 658537"/>
                          <a:gd name="connsiteY273" fmla="*/ 90189 h 442393"/>
                          <a:gd name="connsiteX274" fmla="*/ 139889 w 658537"/>
                          <a:gd name="connsiteY274" fmla="*/ 90488 h 442393"/>
                          <a:gd name="connsiteX275" fmla="*/ 139769 w 658537"/>
                          <a:gd name="connsiteY275" fmla="*/ 90787 h 442393"/>
                          <a:gd name="connsiteX276" fmla="*/ 139650 w 658537"/>
                          <a:gd name="connsiteY276" fmla="*/ 91086 h 442393"/>
                          <a:gd name="connsiteX277" fmla="*/ 136839 w 658537"/>
                          <a:gd name="connsiteY277" fmla="*/ 89232 h 442393"/>
                          <a:gd name="connsiteX278" fmla="*/ 138693 w 658537"/>
                          <a:gd name="connsiteY278" fmla="*/ 90488 h 442393"/>
                          <a:gd name="connsiteX279" fmla="*/ 138813 w 658537"/>
                          <a:gd name="connsiteY279" fmla="*/ 90189 h 442393"/>
                          <a:gd name="connsiteX280" fmla="*/ 138932 w 658537"/>
                          <a:gd name="connsiteY280" fmla="*/ 89890 h 442393"/>
                          <a:gd name="connsiteX281" fmla="*/ 139052 w 658537"/>
                          <a:gd name="connsiteY281" fmla="*/ 89591 h 442393"/>
                          <a:gd name="connsiteX282" fmla="*/ 139172 w 658537"/>
                          <a:gd name="connsiteY282" fmla="*/ 89292 h 442393"/>
                          <a:gd name="connsiteX283" fmla="*/ 137616 w 658537"/>
                          <a:gd name="connsiteY283" fmla="*/ 88216 h 442393"/>
                          <a:gd name="connsiteX284" fmla="*/ 137437 w 658537"/>
                          <a:gd name="connsiteY284" fmla="*/ 88455 h 442393"/>
                          <a:gd name="connsiteX285" fmla="*/ 137258 w 658537"/>
                          <a:gd name="connsiteY285" fmla="*/ 88694 h 442393"/>
                          <a:gd name="connsiteX286" fmla="*/ 137078 w 658537"/>
                          <a:gd name="connsiteY286" fmla="*/ 88933 h 442393"/>
                          <a:gd name="connsiteX287" fmla="*/ 136839 w 658537"/>
                          <a:gd name="connsiteY287" fmla="*/ 89232 h 442393"/>
                          <a:gd name="connsiteX288" fmla="*/ 134686 w 658537"/>
                          <a:gd name="connsiteY288" fmla="*/ 87797 h 442393"/>
                          <a:gd name="connsiteX289" fmla="*/ 135882 w 658537"/>
                          <a:gd name="connsiteY289" fmla="*/ 88634 h 442393"/>
                          <a:gd name="connsiteX290" fmla="*/ 136061 w 658537"/>
                          <a:gd name="connsiteY290" fmla="*/ 88395 h 442393"/>
                          <a:gd name="connsiteX291" fmla="*/ 136241 w 658537"/>
                          <a:gd name="connsiteY291" fmla="*/ 88156 h 442393"/>
                          <a:gd name="connsiteX292" fmla="*/ 136420 w 658537"/>
                          <a:gd name="connsiteY292" fmla="*/ 87917 h 442393"/>
                          <a:gd name="connsiteX293" fmla="*/ 136600 w 658537"/>
                          <a:gd name="connsiteY293" fmla="*/ 87677 h 442393"/>
                          <a:gd name="connsiteX294" fmla="*/ 135404 w 658537"/>
                          <a:gd name="connsiteY294" fmla="*/ 86840 h 442393"/>
                          <a:gd name="connsiteX295" fmla="*/ 135224 w 658537"/>
                          <a:gd name="connsiteY295" fmla="*/ 87079 h 442393"/>
                          <a:gd name="connsiteX296" fmla="*/ 135045 w 658537"/>
                          <a:gd name="connsiteY296" fmla="*/ 87318 h 442393"/>
                          <a:gd name="connsiteX297" fmla="*/ 134865 w 658537"/>
                          <a:gd name="connsiteY297" fmla="*/ 87557 h 442393"/>
                          <a:gd name="connsiteX298" fmla="*/ 134686 w 658537"/>
                          <a:gd name="connsiteY298" fmla="*/ 87797 h 442393"/>
                          <a:gd name="connsiteX299" fmla="*/ 131157 w 658537"/>
                          <a:gd name="connsiteY299" fmla="*/ 85405 h 442393"/>
                          <a:gd name="connsiteX300" fmla="*/ 133789 w 658537"/>
                          <a:gd name="connsiteY300" fmla="*/ 87139 h 442393"/>
                          <a:gd name="connsiteX301" fmla="*/ 133968 w 658537"/>
                          <a:gd name="connsiteY301" fmla="*/ 86900 h 442393"/>
                          <a:gd name="connsiteX302" fmla="*/ 134148 w 658537"/>
                          <a:gd name="connsiteY302" fmla="*/ 86661 h 442393"/>
                          <a:gd name="connsiteX303" fmla="*/ 134327 w 658537"/>
                          <a:gd name="connsiteY303" fmla="*/ 86421 h 442393"/>
                          <a:gd name="connsiteX304" fmla="*/ 134506 w 658537"/>
                          <a:gd name="connsiteY304" fmla="*/ 86182 h 442393"/>
                          <a:gd name="connsiteX305" fmla="*/ 131935 w 658537"/>
                          <a:gd name="connsiteY305" fmla="*/ 84448 h 442393"/>
                          <a:gd name="connsiteX306" fmla="*/ 131755 w 658537"/>
                          <a:gd name="connsiteY306" fmla="*/ 84687 h 442393"/>
                          <a:gd name="connsiteX307" fmla="*/ 131576 w 658537"/>
                          <a:gd name="connsiteY307" fmla="*/ 84926 h 442393"/>
                          <a:gd name="connsiteX308" fmla="*/ 131397 w 658537"/>
                          <a:gd name="connsiteY308" fmla="*/ 85165 h 442393"/>
                          <a:gd name="connsiteX309" fmla="*/ 131157 w 658537"/>
                          <a:gd name="connsiteY309" fmla="*/ 85405 h 442393"/>
                          <a:gd name="connsiteX310" fmla="*/ 129004 w 658537"/>
                          <a:gd name="connsiteY310" fmla="*/ 83969 h 442393"/>
                          <a:gd name="connsiteX311" fmla="*/ 130200 w 658537"/>
                          <a:gd name="connsiteY311" fmla="*/ 84747 h 442393"/>
                          <a:gd name="connsiteX312" fmla="*/ 130380 w 658537"/>
                          <a:gd name="connsiteY312" fmla="*/ 84508 h 442393"/>
                          <a:gd name="connsiteX313" fmla="*/ 130559 w 658537"/>
                          <a:gd name="connsiteY313" fmla="*/ 84268 h 442393"/>
                          <a:gd name="connsiteX314" fmla="*/ 130739 w 658537"/>
                          <a:gd name="connsiteY314" fmla="*/ 84029 h 442393"/>
                          <a:gd name="connsiteX315" fmla="*/ 130918 w 658537"/>
                          <a:gd name="connsiteY315" fmla="*/ 83790 h 442393"/>
                          <a:gd name="connsiteX316" fmla="*/ 129722 w 658537"/>
                          <a:gd name="connsiteY316" fmla="*/ 82953 h 442393"/>
                          <a:gd name="connsiteX317" fmla="*/ 129543 w 658537"/>
                          <a:gd name="connsiteY317" fmla="*/ 83192 h 442393"/>
                          <a:gd name="connsiteX318" fmla="*/ 129363 w 658537"/>
                          <a:gd name="connsiteY318" fmla="*/ 83431 h 442393"/>
                          <a:gd name="connsiteX319" fmla="*/ 129184 w 658537"/>
                          <a:gd name="connsiteY319" fmla="*/ 83670 h 442393"/>
                          <a:gd name="connsiteX320" fmla="*/ 129004 w 658537"/>
                          <a:gd name="connsiteY320" fmla="*/ 83969 h 442393"/>
                          <a:gd name="connsiteX321" fmla="*/ 105201 w 658537"/>
                          <a:gd name="connsiteY321" fmla="*/ 68061 h 442393"/>
                          <a:gd name="connsiteX322" fmla="*/ 128107 w 658537"/>
                          <a:gd name="connsiteY322" fmla="*/ 83371 h 442393"/>
                          <a:gd name="connsiteX323" fmla="*/ 128287 w 658537"/>
                          <a:gd name="connsiteY323" fmla="*/ 83132 h 442393"/>
                          <a:gd name="connsiteX324" fmla="*/ 128466 w 658537"/>
                          <a:gd name="connsiteY324" fmla="*/ 82893 h 442393"/>
                          <a:gd name="connsiteX325" fmla="*/ 128645 w 658537"/>
                          <a:gd name="connsiteY325" fmla="*/ 82654 h 442393"/>
                          <a:gd name="connsiteX326" fmla="*/ 128825 w 658537"/>
                          <a:gd name="connsiteY326" fmla="*/ 82414 h 442393"/>
                          <a:gd name="connsiteX327" fmla="*/ 106038 w 658537"/>
                          <a:gd name="connsiteY327" fmla="*/ 67104 h 442393"/>
                          <a:gd name="connsiteX328" fmla="*/ 105201 w 658537"/>
                          <a:gd name="connsiteY328" fmla="*/ 68061 h 442393"/>
                          <a:gd name="connsiteX329" fmla="*/ 95512 w 658537"/>
                          <a:gd name="connsiteY329" fmla="*/ 61541 h 442393"/>
                          <a:gd name="connsiteX330" fmla="*/ 104244 w 658537"/>
                          <a:gd name="connsiteY330" fmla="*/ 67343 h 442393"/>
                          <a:gd name="connsiteX331" fmla="*/ 105021 w 658537"/>
                          <a:gd name="connsiteY331" fmla="*/ 66326 h 442393"/>
                          <a:gd name="connsiteX332" fmla="*/ 94675 w 658537"/>
                          <a:gd name="connsiteY332" fmla="*/ 59389 h 442393"/>
                          <a:gd name="connsiteX333" fmla="*/ 94914 w 658537"/>
                          <a:gd name="connsiteY333" fmla="*/ 59867 h 442393"/>
                          <a:gd name="connsiteX334" fmla="*/ 95154 w 658537"/>
                          <a:gd name="connsiteY334" fmla="*/ 60405 h 442393"/>
                          <a:gd name="connsiteX335" fmla="*/ 95333 w 658537"/>
                          <a:gd name="connsiteY335" fmla="*/ 60944 h 442393"/>
                          <a:gd name="connsiteX336" fmla="*/ 95512 w 658537"/>
                          <a:gd name="connsiteY336" fmla="*/ 61541 h 442393"/>
                          <a:gd name="connsiteX337" fmla="*/ 84388 w 658537"/>
                          <a:gd name="connsiteY337" fmla="*/ 54125 h 442393"/>
                          <a:gd name="connsiteX338" fmla="*/ 93658 w 658537"/>
                          <a:gd name="connsiteY338" fmla="*/ 60345 h 442393"/>
                          <a:gd name="connsiteX339" fmla="*/ 93240 w 658537"/>
                          <a:gd name="connsiteY339" fmla="*/ 59568 h 442393"/>
                          <a:gd name="connsiteX340" fmla="*/ 92761 w 658537"/>
                          <a:gd name="connsiteY340" fmla="*/ 58790 h 442393"/>
                          <a:gd name="connsiteX341" fmla="*/ 92163 w 658537"/>
                          <a:gd name="connsiteY341" fmla="*/ 58073 h 442393"/>
                          <a:gd name="connsiteX342" fmla="*/ 91505 w 658537"/>
                          <a:gd name="connsiteY342" fmla="*/ 57415 h 442393"/>
                          <a:gd name="connsiteX343" fmla="*/ 88096 w 658537"/>
                          <a:gd name="connsiteY343" fmla="*/ 55142 h 442393"/>
                          <a:gd name="connsiteX344" fmla="*/ 87199 w 658537"/>
                          <a:gd name="connsiteY344" fmla="*/ 54783 h 442393"/>
                          <a:gd name="connsiteX345" fmla="*/ 86302 w 658537"/>
                          <a:gd name="connsiteY345" fmla="*/ 54484 h 442393"/>
                          <a:gd name="connsiteX346" fmla="*/ 85345 w 658537"/>
                          <a:gd name="connsiteY346" fmla="*/ 54305 h 442393"/>
                          <a:gd name="connsiteX347" fmla="*/ 84388 w 658537"/>
                          <a:gd name="connsiteY347" fmla="*/ 54125 h 442393"/>
                          <a:gd name="connsiteX348" fmla="*/ 48025 w 658537"/>
                          <a:gd name="connsiteY348" fmla="*/ 29784 h 442393"/>
                          <a:gd name="connsiteX349" fmla="*/ 82534 w 658537"/>
                          <a:gd name="connsiteY349" fmla="*/ 52869 h 442393"/>
                          <a:gd name="connsiteX350" fmla="*/ 83132 w 658537"/>
                          <a:gd name="connsiteY350" fmla="*/ 52869 h 442393"/>
                          <a:gd name="connsiteX351" fmla="*/ 83730 w 658537"/>
                          <a:gd name="connsiteY351" fmla="*/ 52869 h 442393"/>
                          <a:gd name="connsiteX352" fmla="*/ 84328 w 658537"/>
                          <a:gd name="connsiteY352" fmla="*/ 52929 h 442393"/>
                          <a:gd name="connsiteX353" fmla="*/ 84926 w 658537"/>
                          <a:gd name="connsiteY353" fmla="*/ 52989 h 442393"/>
                          <a:gd name="connsiteX354" fmla="*/ 48803 w 658537"/>
                          <a:gd name="connsiteY354" fmla="*/ 28827 h 442393"/>
                          <a:gd name="connsiteX355" fmla="*/ 48025 w 658537"/>
                          <a:gd name="connsiteY355" fmla="*/ 29784 h 442393"/>
                          <a:gd name="connsiteX356" fmla="*/ 39652 w 658537"/>
                          <a:gd name="connsiteY356" fmla="*/ 24162 h 442393"/>
                          <a:gd name="connsiteX357" fmla="*/ 47008 w 658537"/>
                          <a:gd name="connsiteY357" fmla="*/ 29126 h 442393"/>
                          <a:gd name="connsiteX358" fmla="*/ 47846 w 658537"/>
                          <a:gd name="connsiteY358" fmla="*/ 28109 h 442393"/>
                          <a:gd name="connsiteX359" fmla="*/ 38755 w 658537"/>
                          <a:gd name="connsiteY359" fmla="*/ 22009 h 442393"/>
                          <a:gd name="connsiteX360" fmla="*/ 38994 w 658537"/>
                          <a:gd name="connsiteY360" fmla="*/ 22547 h 442393"/>
                          <a:gd name="connsiteX361" fmla="*/ 39234 w 658537"/>
                          <a:gd name="connsiteY361" fmla="*/ 23085 h 442393"/>
                          <a:gd name="connsiteX362" fmla="*/ 39473 w 658537"/>
                          <a:gd name="connsiteY362" fmla="*/ 23624 h 442393"/>
                          <a:gd name="connsiteX363" fmla="*/ 39652 w 658537"/>
                          <a:gd name="connsiteY363" fmla="*/ 24162 h 442393"/>
                          <a:gd name="connsiteX364" fmla="*/ 30801 w 658537"/>
                          <a:gd name="connsiteY364" fmla="*/ 18241 h 442393"/>
                          <a:gd name="connsiteX365" fmla="*/ 37678 w 658537"/>
                          <a:gd name="connsiteY365" fmla="*/ 22846 h 442393"/>
                          <a:gd name="connsiteX366" fmla="*/ 37200 w 658537"/>
                          <a:gd name="connsiteY366" fmla="*/ 22009 h 442393"/>
                          <a:gd name="connsiteX367" fmla="*/ 36662 w 658537"/>
                          <a:gd name="connsiteY367" fmla="*/ 21231 h 442393"/>
                          <a:gd name="connsiteX368" fmla="*/ 36064 w 658537"/>
                          <a:gd name="connsiteY368" fmla="*/ 20454 h 442393"/>
                          <a:gd name="connsiteX369" fmla="*/ 35406 w 658537"/>
                          <a:gd name="connsiteY369" fmla="*/ 19736 h 442393"/>
                          <a:gd name="connsiteX370" fmla="*/ 31817 w 658537"/>
                          <a:gd name="connsiteY370" fmla="*/ 17344 h 442393"/>
                          <a:gd name="connsiteX371" fmla="*/ 31758 w 658537"/>
                          <a:gd name="connsiteY371" fmla="*/ 17344 h 442393"/>
                          <a:gd name="connsiteX372" fmla="*/ 31698 w 658537"/>
                          <a:gd name="connsiteY372" fmla="*/ 17344 h 442393"/>
                          <a:gd name="connsiteX373" fmla="*/ 31638 w 658537"/>
                          <a:gd name="connsiteY373" fmla="*/ 17344 h 442393"/>
                          <a:gd name="connsiteX374" fmla="*/ 31578 w 658537"/>
                          <a:gd name="connsiteY374" fmla="*/ 17344 h 442393"/>
                          <a:gd name="connsiteX375" fmla="*/ 30801 w 658537"/>
                          <a:gd name="connsiteY375" fmla="*/ 18241 h 442393"/>
                          <a:gd name="connsiteX376" fmla="*/ 27870 w 658537"/>
                          <a:gd name="connsiteY376" fmla="*/ 16327 h 442393"/>
                          <a:gd name="connsiteX377" fmla="*/ 29724 w 658537"/>
                          <a:gd name="connsiteY377" fmla="*/ 17583 h 442393"/>
                          <a:gd name="connsiteX378" fmla="*/ 30322 w 658537"/>
                          <a:gd name="connsiteY378" fmla="*/ 16806 h 442393"/>
                          <a:gd name="connsiteX379" fmla="*/ 29724 w 658537"/>
                          <a:gd name="connsiteY379" fmla="*/ 16626 h 442393"/>
                          <a:gd name="connsiteX380" fmla="*/ 29126 w 658537"/>
                          <a:gd name="connsiteY380" fmla="*/ 16507 h 442393"/>
                          <a:gd name="connsiteX381" fmla="*/ 28528 w 658537"/>
                          <a:gd name="connsiteY381" fmla="*/ 16387 h 442393"/>
                          <a:gd name="connsiteX382" fmla="*/ 27870 w 658537"/>
                          <a:gd name="connsiteY382" fmla="*/ 16327 h 442393"/>
                          <a:gd name="connsiteX383" fmla="*/ 17464 w 658537"/>
                          <a:gd name="connsiteY383" fmla="*/ 9330 h 442393"/>
                          <a:gd name="connsiteX384" fmla="*/ 25897 w 658537"/>
                          <a:gd name="connsiteY384" fmla="*/ 15012 h 442393"/>
                          <a:gd name="connsiteX385" fmla="*/ 26554 w 658537"/>
                          <a:gd name="connsiteY385" fmla="*/ 15012 h 442393"/>
                          <a:gd name="connsiteX386" fmla="*/ 27212 w 658537"/>
                          <a:gd name="connsiteY386" fmla="*/ 15012 h 442393"/>
                          <a:gd name="connsiteX387" fmla="*/ 27870 w 658537"/>
                          <a:gd name="connsiteY387" fmla="*/ 15071 h 442393"/>
                          <a:gd name="connsiteX388" fmla="*/ 28528 w 658537"/>
                          <a:gd name="connsiteY388" fmla="*/ 15131 h 442393"/>
                          <a:gd name="connsiteX389" fmla="*/ 18361 w 658537"/>
                          <a:gd name="connsiteY389" fmla="*/ 8313 h 442393"/>
                          <a:gd name="connsiteX390" fmla="*/ 17464 w 658537"/>
                          <a:gd name="connsiteY390" fmla="*/ 9330 h 442393"/>
                          <a:gd name="connsiteX391" fmla="*/ 631325 w 658537"/>
                          <a:gd name="connsiteY391" fmla="*/ 426963 h 442393"/>
                          <a:gd name="connsiteX392" fmla="*/ 654530 w 658537"/>
                          <a:gd name="connsiteY392" fmla="*/ 442394 h 442393"/>
                          <a:gd name="connsiteX393" fmla="*/ 658537 w 658537"/>
                          <a:gd name="connsiteY393" fmla="*/ 437310 h 442393"/>
                          <a:gd name="connsiteX394" fmla="*/ 634854 w 658537"/>
                          <a:gd name="connsiteY394" fmla="*/ 421401 h 442393"/>
                          <a:gd name="connsiteX395" fmla="*/ 634734 w 658537"/>
                          <a:gd name="connsiteY395" fmla="*/ 421581 h 442393"/>
                          <a:gd name="connsiteX396" fmla="*/ 634614 w 658537"/>
                          <a:gd name="connsiteY396" fmla="*/ 421760 h 442393"/>
                          <a:gd name="connsiteX397" fmla="*/ 634495 w 658537"/>
                          <a:gd name="connsiteY397" fmla="*/ 421940 h 442393"/>
                          <a:gd name="connsiteX398" fmla="*/ 634375 w 658537"/>
                          <a:gd name="connsiteY398" fmla="*/ 422119 h 442393"/>
                          <a:gd name="connsiteX399" fmla="*/ 657461 w 658537"/>
                          <a:gd name="connsiteY399" fmla="*/ 437609 h 442393"/>
                          <a:gd name="connsiteX400" fmla="*/ 654530 w 658537"/>
                          <a:gd name="connsiteY400" fmla="*/ 441317 h 442393"/>
                          <a:gd name="connsiteX401" fmla="*/ 631744 w 658537"/>
                          <a:gd name="connsiteY401" fmla="*/ 426186 h 442393"/>
                          <a:gd name="connsiteX402" fmla="*/ 631624 w 658537"/>
                          <a:gd name="connsiteY402" fmla="*/ 426365 h 442393"/>
                          <a:gd name="connsiteX403" fmla="*/ 631505 w 658537"/>
                          <a:gd name="connsiteY403" fmla="*/ 426545 h 442393"/>
                          <a:gd name="connsiteX404" fmla="*/ 631385 w 658537"/>
                          <a:gd name="connsiteY404" fmla="*/ 426724 h 442393"/>
                          <a:gd name="connsiteX405" fmla="*/ 631325 w 658537"/>
                          <a:gd name="connsiteY405" fmla="*/ 426963 h 442393"/>
                          <a:gd name="connsiteX406" fmla="*/ 630129 w 658537"/>
                          <a:gd name="connsiteY406" fmla="*/ 426186 h 442393"/>
                          <a:gd name="connsiteX407" fmla="*/ 630787 w 658537"/>
                          <a:gd name="connsiteY407" fmla="*/ 426605 h 442393"/>
                          <a:gd name="connsiteX408" fmla="*/ 630906 w 658537"/>
                          <a:gd name="connsiteY408" fmla="*/ 426425 h 442393"/>
                          <a:gd name="connsiteX409" fmla="*/ 631026 w 658537"/>
                          <a:gd name="connsiteY409" fmla="*/ 426246 h 442393"/>
                          <a:gd name="connsiteX410" fmla="*/ 631146 w 658537"/>
                          <a:gd name="connsiteY410" fmla="*/ 426067 h 442393"/>
                          <a:gd name="connsiteX411" fmla="*/ 631265 w 658537"/>
                          <a:gd name="connsiteY411" fmla="*/ 425887 h 442393"/>
                          <a:gd name="connsiteX412" fmla="*/ 630607 w 658537"/>
                          <a:gd name="connsiteY412" fmla="*/ 425468 h 442393"/>
                          <a:gd name="connsiteX413" fmla="*/ 630488 w 658537"/>
                          <a:gd name="connsiteY413" fmla="*/ 425648 h 442393"/>
                          <a:gd name="connsiteX414" fmla="*/ 630368 w 658537"/>
                          <a:gd name="connsiteY414" fmla="*/ 425827 h 442393"/>
                          <a:gd name="connsiteX415" fmla="*/ 630249 w 658537"/>
                          <a:gd name="connsiteY415" fmla="*/ 426007 h 442393"/>
                          <a:gd name="connsiteX416" fmla="*/ 630129 w 658537"/>
                          <a:gd name="connsiteY416" fmla="*/ 426186 h 442393"/>
                          <a:gd name="connsiteX417" fmla="*/ 627916 w 658537"/>
                          <a:gd name="connsiteY417" fmla="*/ 424691 h 442393"/>
                          <a:gd name="connsiteX418" fmla="*/ 629651 w 658537"/>
                          <a:gd name="connsiteY418" fmla="*/ 425827 h 442393"/>
                          <a:gd name="connsiteX419" fmla="*/ 629770 w 658537"/>
                          <a:gd name="connsiteY419" fmla="*/ 425648 h 442393"/>
                          <a:gd name="connsiteX420" fmla="*/ 629890 w 658537"/>
                          <a:gd name="connsiteY420" fmla="*/ 425468 h 442393"/>
                          <a:gd name="connsiteX421" fmla="*/ 630009 w 658537"/>
                          <a:gd name="connsiteY421" fmla="*/ 425289 h 442393"/>
                          <a:gd name="connsiteX422" fmla="*/ 630129 w 658537"/>
                          <a:gd name="connsiteY422" fmla="*/ 425109 h 442393"/>
                          <a:gd name="connsiteX423" fmla="*/ 628454 w 658537"/>
                          <a:gd name="connsiteY423" fmla="*/ 424033 h 442393"/>
                          <a:gd name="connsiteX424" fmla="*/ 628335 w 658537"/>
                          <a:gd name="connsiteY424" fmla="*/ 424213 h 442393"/>
                          <a:gd name="connsiteX425" fmla="*/ 628215 w 658537"/>
                          <a:gd name="connsiteY425" fmla="*/ 424392 h 442393"/>
                          <a:gd name="connsiteX426" fmla="*/ 628096 w 658537"/>
                          <a:gd name="connsiteY426" fmla="*/ 424571 h 442393"/>
                          <a:gd name="connsiteX427" fmla="*/ 627916 w 658537"/>
                          <a:gd name="connsiteY427" fmla="*/ 424691 h 442393"/>
                          <a:gd name="connsiteX428" fmla="*/ 626780 w 658537"/>
                          <a:gd name="connsiteY428" fmla="*/ 423914 h 442393"/>
                          <a:gd name="connsiteX429" fmla="*/ 627438 w 658537"/>
                          <a:gd name="connsiteY429" fmla="*/ 424332 h 442393"/>
                          <a:gd name="connsiteX430" fmla="*/ 627557 w 658537"/>
                          <a:gd name="connsiteY430" fmla="*/ 424153 h 442393"/>
                          <a:gd name="connsiteX431" fmla="*/ 627677 w 658537"/>
                          <a:gd name="connsiteY431" fmla="*/ 423973 h 442393"/>
                          <a:gd name="connsiteX432" fmla="*/ 627797 w 658537"/>
                          <a:gd name="connsiteY432" fmla="*/ 423794 h 442393"/>
                          <a:gd name="connsiteX433" fmla="*/ 627916 w 658537"/>
                          <a:gd name="connsiteY433" fmla="*/ 423614 h 442393"/>
                          <a:gd name="connsiteX434" fmla="*/ 627258 w 658537"/>
                          <a:gd name="connsiteY434" fmla="*/ 423196 h 442393"/>
                          <a:gd name="connsiteX435" fmla="*/ 627138 w 658537"/>
                          <a:gd name="connsiteY435" fmla="*/ 423375 h 442393"/>
                          <a:gd name="connsiteX436" fmla="*/ 627019 w 658537"/>
                          <a:gd name="connsiteY436" fmla="*/ 423555 h 442393"/>
                          <a:gd name="connsiteX437" fmla="*/ 626899 w 658537"/>
                          <a:gd name="connsiteY437" fmla="*/ 423734 h 442393"/>
                          <a:gd name="connsiteX438" fmla="*/ 626780 w 658537"/>
                          <a:gd name="connsiteY438" fmla="*/ 423914 h 442393"/>
                          <a:gd name="connsiteX439" fmla="*/ 624447 w 658537"/>
                          <a:gd name="connsiteY439" fmla="*/ 422359 h 442393"/>
                          <a:gd name="connsiteX440" fmla="*/ 626242 w 658537"/>
                          <a:gd name="connsiteY440" fmla="*/ 423555 h 442393"/>
                          <a:gd name="connsiteX441" fmla="*/ 626361 w 658537"/>
                          <a:gd name="connsiteY441" fmla="*/ 423375 h 442393"/>
                          <a:gd name="connsiteX442" fmla="*/ 626481 w 658537"/>
                          <a:gd name="connsiteY442" fmla="*/ 423196 h 442393"/>
                          <a:gd name="connsiteX443" fmla="*/ 626600 w 658537"/>
                          <a:gd name="connsiteY443" fmla="*/ 423016 h 442393"/>
                          <a:gd name="connsiteX444" fmla="*/ 626720 w 658537"/>
                          <a:gd name="connsiteY444" fmla="*/ 422837 h 442393"/>
                          <a:gd name="connsiteX445" fmla="*/ 624926 w 658537"/>
                          <a:gd name="connsiteY445" fmla="*/ 421641 h 442393"/>
                          <a:gd name="connsiteX446" fmla="*/ 624746 w 658537"/>
                          <a:gd name="connsiteY446" fmla="*/ 421820 h 442393"/>
                          <a:gd name="connsiteX447" fmla="*/ 624567 w 658537"/>
                          <a:gd name="connsiteY447" fmla="*/ 422000 h 442393"/>
                          <a:gd name="connsiteX448" fmla="*/ 624388 w 658537"/>
                          <a:gd name="connsiteY448" fmla="*/ 422179 h 442393"/>
                          <a:gd name="connsiteX449" fmla="*/ 624447 w 658537"/>
                          <a:gd name="connsiteY449" fmla="*/ 422359 h 442393"/>
                          <a:gd name="connsiteX450" fmla="*/ 623251 w 658537"/>
                          <a:gd name="connsiteY450" fmla="*/ 421581 h 442393"/>
                          <a:gd name="connsiteX451" fmla="*/ 623909 w 658537"/>
                          <a:gd name="connsiteY451" fmla="*/ 422000 h 442393"/>
                          <a:gd name="connsiteX452" fmla="*/ 624089 w 658537"/>
                          <a:gd name="connsiteY452" fmla="*/ 421820 h 442393"/>
                          <a:gd name="connsiteX453" fmla="*/ 624268 w 658537"/>
                          <a:gd name="connsiteY453" fmla="*/ 421641 h 442393"/>
                          <a:gd name="connsiteX454" fmla="*/ 624447 w 658537"/>
                          <a:gd name="connsiteY454" fmla="*/ 421461 h 442393"/>
                          <a:gd name="connsiteX455" fmla="*/ 624627 w 658537"/>
                          <a:gd name="connsiteY455" fmla="*/ 421282 h 442393"/>
                          <a:gd name="connsiteX456" fmla="*/ 623969 w 658537"/>
                          <a:gd name="connsiteY456" fmla="*/ 420863 h 442393"/>
                          <a:gd name="connsiteX457" fmla="*/ 623789 w 658537"/>
                          <a:gd name="connsiteY457" fmla="*/ 421043 h 442393"/>
                          <a:gd name="connsiteX458" fmla="*/ 623610 w 658537"/>
                          <a:gd name="connsiteY458" fmla="*/ 421222 h 442393"/>
                          <a:gd name="connsiteX459" fmla="*/ 623430 w 658537"/>
                          <a:gd name="connsiteY459" fmla="*/ 421401 h 442393"/>
                          <a:gd name="connsiteX460" fmla="*/ 623251 w 658537"/>
                          <a:gd name="connsiteY460" fmla="*/ 421581 h 442393"/>
                          <a:gd name="connsiteX461" fmla="*/ 611290 w 658537"/>
                          <a:gd name="connsiteY461" fmla="*/ 413627 h 442393"/>
                          <a:gd name="connsiteX462" fmla="*/ 622773 w 658537"/>
                          <a:gd name="connsiteY462" fmla="*/ 421222 h 442393"/>
                          <a:gd name="connsiteX463" fmla="*/ 622952 w 658537"/>
                          <a:gd name="connsiteY463" fmla="*/ 421043 h 442393"/>
                          <a:gd name="connsiteX464" fmla="*/ 623132 w 658537"/>
                          <a:gd name="connsiteY464" fmla="*/ 420863 h 442393"/>
                          <a:gd name="connsiteX465" fmla="*/ 623311 w 658537"/>
                          <a:gd name="connsiteY465" fmla="*/ 420684 h 442393"/>
                          <a:gd name="connsiteX466" fmla="*/ 623490 w 658537"/>
                          <a:gd name="connsiteY466" fmla="*/ 420505 h 442393"/>
                          <a:gd name="connsiteX467" fmla="*/ 611948 w 658537"/>
                          <a:gd name="connsiteY467" fmla="*/ 412849 h 442393"/>
                          <a:gd name="connsiteX468" fmla="*/ 611290 w 658537"/>
                          <a:gd name="connsiteY468" fmla="*/ 413627 h 442393"/>
                          <a:gd name="connsiteX469" fmla="*/ 608299 w 658537"/>
                          <a:gd name="connsiteY469" fmla="*/ 411653 h 442393"/>
                          <a:gd name="connsiteX470" fmla="*/ 610751 w 658537"/>
                          <a:gd name="connsiteY470" fmla="*/ 413268 h 442393"/>
                          <a:gd name="connsiteX471" fmla="*/ 611290 w 658537"/>
                          <a:gd name="connsiteY471" fmla="*/ 412550 h 442393"/>
                          <a:gd name="connsiteX472" fmla="*/ 608658 w 658537"/>
                          <a:gd name="connsiteY472" fmla="*/ 410816 h 442393"/>
                          <a:gd name="connsiteX473" fmla="*/ 608539 w 658537"/>
                          <a:gd name="connsiteY473" fmla="*/ 410995 h 442393"/>
                          <a:gd name="connsiteX474" fmla="*/ 608419 w 658537"/>
                          <a:gd name="connsiteY474" fmla="*/ 411175 h 442393"/>
                          <a:gd name="connsiteX475" fmla="*/ 608299 w 658537"/>
                          <a:gd name="connsiteY475" fmla="*/ 411354 h 442393"/>
                          <a:gd name="connsiteX476" fmla="*/ 608299 w 658537"/>
                          <a:gd name="connsiteY476" fmla="*/ 411653 h 442393"/>
                          <a:gd name="connsiteX477" fmla="*/ 605309 w 658537"/>
                          <a:gd name="connsiteY477" fmla="*/ 409679 h 442393"/>
                          <a:gd name="connsiteX478" fmla="*/ 607761 w 658537"/>
                          <a:gd name="connsiteY478" fmla="*/ 411294 h 442393"/>
                          <a:gd name="connsiteX479" fmla="*/ 607881 w 658537"/>
                          <a:gd name="connsiteY479" fmla="*/ 411055 h 442393"/>
                          <a:gd name="connsiteX480" fmla="*/ 608000 w 658537"/>
                          <a:gd name="connsiteY480" fmla="*/ 410816 h 442393"/>
                          <a:gd name="connsiteX481" fmla="*/ 608120 w 658537"/>
                          <a:gd name="connsiteY481" fmla="*/ 410576 h 442393"/>
                          <a:gd name="connsiteX482" fmla="*/ 608180 w 658537"/>
                          <a:gd name="connsiteY482" fmla="*/ 410337 h 442393"/>
                          <a:gd name="connsiteX483" fmla="*/ 605548 w 658537"/>
                          <a:gd name="connsiteY483" fmla="*/ 408603 h 442393"/>
                          <a:gd name="connsiteX484" fmla="*/ 605548 w 658537"/>
                          <a:gd name="connsiteY484" fmla="*/ 408842 h 442393"/>
                          <a:gd name="connsiteX485" fmla="*/ 605488 w 658537"/>
                          <a:gd name="connsiteY485" fmla="*/ 409081 h 442393"/>
                          <a:gd name="connsiteX486" fmla="*/ 605429 w 658537"/>
                          <a:gd name="connsiteY486" fmla="*/ 409321 h 442393"/>
                          <a:gd name="connsiteX487" fmla="*/ 605309 w 658537"/>
                          <a:gd name="connsiteY487" fmla="*/ 409679 h 442393"/>
                          <a:gd name="connsiteX488" fmla="*/ 600345 w 658537"/>
                          <a:gd name="connsiteY488" fmla="*/ 406390 h 442393"/>
                          <a:gd name="connsiteX489" fmla="*/ 604651 w 658537"/>
                          <a:gd name="connsiteY489" fmla="*/ 409261 h 442393"/>
                          <a:gd name="connsiteX490" fmla="*/ 604711 w 658537"/>
                          <a:gd name="connsiteY490" fmla="*/ 408962 h 442393"/>
                          <a:gd name="connsiteX491" fmla="*/ 604711 w 658537"/>
                          <a:gd name="connsiteY491" fmla="*/ 408662 h 442393"/>
                          <a:gd name="connsiteX492" fmla="*/ 604711 w 658537"/>
                          <a:gd name="connsiteY492" fmla="*/ 408423 h 442393"/>
                          <a:gd name="connsiteX493" fmla="*/ 604711 w 658537"/>
                          <a:gd name="connsiteY493" fmla="*/ 408184 h 442393"/>
                          <a:gd name="connsiteX494" fmla="*/ 601481 w 658537"/>
                          <a:gd name="connsiteY494" fmla="*/ 406031 h 442393"/>
                          <a:gd name="connsiteX495" fmla="*/ 601182 w 658537"/>
                          <a:gd name="connsiteY495" fmla="*/ 406091 h 442393"/>
                          <a:gd name="connsiteX496" fmla="*/ 600883 w 658537"/>
                          <a:gd name="connsiteY496" fmla="*/ 406151 h 442393"/>
                          <a:gd name="connsiteX497" fmla="*/ 600584 w 658537"/>
                          <a:gd name="connsiteY497" fmla="*/ 406270 h 442393"/>
                          <a:gd name="connsiteX498" fmla="*/ 600345 w 658537"/>
                          <a:gd name="connsiteY498" fmla="*/ 406390 h 442393"/>
                          <a:gd name="connsiteX499" fmla="*/ 597175 w 658537"/>
                          <a:gd name="connsiteY499" fmla="*/ 404237 h 442393"/>
                          <a:gd name="connsiteX500" fmla="*/ 599687 w 658537"/>
                          <a:gd name="connsiteY500" fmla="*/ 405912 h 442393"/>
                          <a:gd name="connsiteX501" fmla="*/ 599926 w 658537"/>
                          <a:gd name="connsiteY501" fmla="*/ 405792 h 442393"/>
                          <a:gd name="connsiteX502" fmla="*/ 600166 w 658537"/>
                          <a:gd name="connsiteY502" fmla="*/ 405672 h 442393"/>
                          <a:gd name="connsiteX503" fmla="*/ 600405 w 658537"/>
                          <a:gd name="connsiteY503" fmla="*/ 405553 h 442393"/>
                          <a:gd name="connsiteX504" fmla="*/ 600644 w 658537"/>
                          <a:gd name="connsiteY504" fmla="*/ 405433 h 442393"/>
                          <a:gd name="connsiteX505" fmla="*/ 597953 w 658537"/>
                          <a:gd name="connsiteY505" fmla="*/ 403639 h 442393"/>
                          <a:gd name="connsiteX506" fmla="*/ 597773 w 658537"/>
                          <a:gd name="connsiteY506" fmla="*/ 403759 h 442393"/>
                          <a:gd name="connsiteX507" fmla="*/ 597594 w 658537"/>
                          <a:gd name="connsiteY507" fmla="*/ 403878 h 442393"/>
                          <a:gd name="connsiteX508" fmla="*/ 597414 w 658537"/>
                          <a:gd name="connsiteY508" fmla="*/ 403998 h 442393"/>
                          <a:gd name="connsiteX509" fmla="*/ 597175 w 658537"/>
                          <a:gd name="connsiteY509" fmla="*/ 404237 h 442393"/>
                          <a:gd name="connsiteX510" fmla="*/ 592450 w 658537"/>
                          <a:gd name="connsiteY510" fmla="*/ 401127 h 442393"/>
                          <a:gd name="connsiteX511" fmla="*/ 596637 w 658537"/>
                          <a:gd name="connsiteY511" fmla="*/ 403878 h 442393"/>
                          <a:gd name="connsiteX512" fmla="*/ 596817 w 658537"/>
                          <a:gd name="connsiteY512" fmla="*/ 403699 h 442393"/>
                          <a:gd name="connsiteX513" fmla="*/ 596996 w 658537"/>
                          <a:gd name="connsiteY513" fmla="*/ 403519 h 442393"/>
                          <a:gd name="connsiteX514" fmla="*/ 597175 w 658537"/>
                          <a:gd name="connsiteY514" fmla="*/ 403400 h 442393"/>
                          <a:gd name="connsiteX515" fmla="*/ 597355 w 658537"/>
                          <a:gd name="connsiteY515" fmla="*/ 403280 h 442393"/>
                          <a:gd name="connsiteX516" fmla="*/ 592989 w 658537"/>
                          <a:gd name="connsiteY516" fmla="*/ 400409 h 442393"/>
                          <a:gd name="connsiteX517" fmla="*/ 592450 w 658537"/>
                          <a:gd name="connsiteY517" fmla="*/ 401127 h 442393"/>
                          <a:gd name="connsiteX518" fmla="*/ 583240 w 658537"/>
                          <a:gd name="connsiteY518" fmla="*/ 395027 h 442393"/>
                          <a:gd name="connsiteX519" fmla="*/ 591912 w 658537"/>
                          <a:gd name="connsiteY519" fmla="*/ 400768 h 442393"/>
                          <a:gd name="connsiteX520" fmla="*/ 592510 w 658537"/>
                          <a:gd name="connsiteY520" fmla="*/ 400050 h 442393"/>
                          <a:gd name="connsiteX521" fmla="*/ 583838 w 658537"/>
                          <a:gd name="connsiteY521" fmla="*/ 394309 h 442393"/>
                          <a:gd name="connsiteX522" fmla="*/ 583240 w 658537"/>
                          <a:gd name="connsiteY522" fmla="*/ 395027 h 442393"/>
                          <a:gd name="connsiteX523" fmla="*/ 580250 w 658537"/>
                          <a:gd name="connsiteY523" fmla="*/ 393053 h 442393"/>
                          <a:gd name="connsiteX524" fmla="*/ 582702 w 658537"/>
                          <a:gd name="connsiteY524" fmla="*/ 394668 h 442393"/>
                          <a:gd name="connsiteX525" fmla="*/ 583300 w 658537"/>
                          <a:gd name="connsiteY525" fmla="*/ 393950 h 442393"/>
                          <a:gd name="connsiteX526" fmla="*/ 580848 w 658537"/>
                          <a:gd name="connsiteY526" fmla="*/ 392335 h 442393"/>
                          <a:gd name="connsiteX527" fmla="*/ 580250 w 658537"/>
                          <a:gd name="connsiteY527" fmla="*/ 393053 h 442393"/>
                          <a:gd name="connsiteX528" fmla="*/ 578157 w 658537"/>
                          <a:gd name="connsiteY528" fmla="*/ 391618 h 442393"/>
                          <a:gd name="connsiteX529" fmla="*/ 579771 w 658537"/>
                          <a:gd name="connsiteY529" fmla="*/ 392694 h 442393"/>
                          <a:gd name="connsiteX530" fmla="*/ 580370 w 658537"/>
                          <a:gd name="connsiteY530" fmla="*/ 391976 h 442393"/>
                          <a:gd name="connsiteX531" fmla="*/ 578575 w 658537"/>
                          <a:gd name="connsiteY531" fmla="*/ 390780 h 442393"/>
                          <a:gd name="connsiteX532" fmla="*/ 578456 w 658537"/>
                          <a:gd name="connsiteY532" fmla="*/ 391020 h 442393"/>
                          <a:gd name="connsiteX533" fmla="*/ 578336 w 658537"/>
                          <a:gd name="connsiteY533" fmla="*/ 391259 h 442393"/>
                          <a:gd name="connsiteX534" fmla="*/ 578216 w 658537"/>
                          <a:gd name="connsiteY534" fmla="*/ 391498 h 442393"/>
                          <a:gd name="connsiteX535" fmla="*/ 578157 w 658537"/>
                          <a:gd name="connsiteY535" fmla="*/ 391618 h 442393"/>
                          <a:gd name="connsiteX536" fmla="*/ 575047 w 658537"/>
                          <a:gd name="connsiteY536" fmla="*/ 389584 h 442393"/>
                          <a:gd name="connsiteX537" fmla="*/ 577558 w 658537"/>
                          <a:gd name="connsiteY537" fmla="*/ 391259 h 442393"/>
                          <a:gd name="connsiteX538" fmla="*/ 577678 w 658537"/>
                          <a:gd name="connsiteY538" fmla="*/ 391020 h 442393"/>
                          <a:gd name="connsiteX539" fmla="*/ 577798 w 658537"/>
                          <a:gd name="connsiteY539" fmla="*/ 390780 h 442393"/>
                          <a:gd name="connsiteX540" fmla="*/ 577917 w 658537"/>
                          <a:gd name="connsiteY540" fmla="*/ 390541 h 442393"/>
                          <a:gd name="connsiteX541" fmla="*/ 577977 w 658537"/>
                          <a:gd name="connsiteY541" fmla="*/ 390302 h 442393"/>
                          <a:gd name="connsiteX542" fmla="*/ 575226 w 658537"/>
                          <a:gd name="connsiteY542" fmla="*/ 388507 h 442393"/>
                          <a:gd name="connsiteX543" fmla="*/ 575226 w 658537"/>
                          <a:gd name="connsiteY543" fmla="*/ 388747 h 442393"/>
                          <a:gd name="connsiteX544" fmla="*/ 575166 w 658537"/>
                          <a:gd name="connsiteY544" fmla="*/ 388986 h 442393"/>
                          <a:gd name="connsiteX545" fmla="*/ 575106 w 658537"/>
                          <a:gd name="connsiteY545" fmla="*/ 389225 h 442393"/>
                          <a:gd name="connsiteX546" fmla="*/ 575047 w 658537"/>
                          <a:gd name="connsiteY546" fmla="*/ 389584 h 442393"/>
                          <a:gd name="connsiteX547" fmla="*/ 571040 w 658537"/>
                          <a:gd name="connsiteY547" fmla="*/ 386893 h 442393"/>
                          <a:gd name="connsiteX548" fmla="*/ 574389 w 658537"/>
                          <a:gd name="connsiteY548" fmla="*/ 389106 h 442393"/>
                          <a:gd name="connsiteX549" fmla="*/ 574448 w 658537"/>
                          <a:gd name="connsiteY549" fmla="*/ 388807 h 442393"/>
                          <a:gd name="connsiteX550" fmla="*/ 574448 w 658537"/>
                          <a:gd name="connsiteY550" fmla="*/ 388507 h 442393"/>
                          <a:gd name="connsiteX551" fmla="*/ 574448 w 658537"/>
                          <a:gd name="connsiteY551" fmla="*/ 388208 h 442393"/>
                          <a:gd name="connsiteX552" fmla="*/ 574448 w 658537"/>
                          <a:gd name="connsiteY552" fmla="*/ 387969 h 442393"/>
                          <a:gd name="connsiteX553" fmla="*/ 571638 w 658537"/>
                          <a:gd name="connsiteY553" fmla="*/ 386115 h 442393"/>
                          <a:gd name="connsiteX554" fmla="*/ 571040 w 658537"/>
                          <a:gd name="connsiteY554" fmla="*/ 386893 h 442393"/>
                          <a:gd name="connsiteX555" fmla="*/ 569843 w 658537"/>
                          <a:gd name="connsiteY555" fmla="*/ 386115 h 442393"/>
                          <a:gd name="connsiteX556" fmla="*/ 570441 w 658537"/>
                          <a:gd name="connsiteY556" fmla="*/ 386534 h 442393"/>
                          <a:gd name="connsiteX557" fmla="*/ 571040 w 658537"/>
                          <a:gd name="connsiteY557" fmla="*/ 385816 h 442393"/>
                          <a:gd name="connsiteX558" fmla="*/ 570980 w 658537"/>
                          <a:gd name="connsiteY558" fmla="*/ 385816 h 442393"/>
                          <a:gd name="connsiteX559" fmla="*/ 570681 w 658537"/>
                          <a:gd name="connsiteY559" fmla="*/ 385876 h 442393"/>
                          <a:gd name="connsiteX560" fmla="*/ 570381 w 658537"/>
                          <a:gd name="connsiteY560" fmla="*/ 385936 h 442393"/>
                          <a:gd name="connsiteX561" fmla="*/ 570083 w 658537"/>
                          <a:gd name="connsiteY561" fmla="*/ 386055 h 442393"/>
                          <a:gd name="connsiteX562" fmla="*/ 569843 w 658537"/>
                          <a:gd name="connsiteY562" fmla="*/ 386115 h 442393"/>
                          <a:gd name="connsiteX563" fmla="*/ 566554 w 658537"/>
                          <a:gd name="connsiteY563" fmla="*/ 383903 h 442393"/>
                          <a:gd name="connsiteX564" fmla="*/ 569186 w 658537"/>
                          <a:gd name="connsiteY564" fmla="*/ 385637 h 442393"/>
                          <a:gd name="connsiteX565" fmla="*/ 569425 w 658537"/>
                          <a:gd name="connsiteY565" fmla="*/ 385517 h 442393"/>
                          <a:gd name="connsiteX566" fmla="*/ 569664 w 658537"/>
                          <a:gd name="connsiteY566" fmla="*/ 385398 h 442393"/>
                          <a:gd name="connsiteX567" fmla="*/ 569903 w 658537"/>
                          <a:gd name="connsiteY567" fmla="*/ 385278 h 442393"/>
                          <a:gd name="connsiteX568" fmla="*/ 570142 w 658537"/>
                          <a:gd name="connsiteY568" fmla="*/ 385158 h 442393"/>
                          <a:gd name="connsiteX569" fmla="*/ 567331 w 658537"/>
                          <a:gd name="connsiteY569" fmla="*/ 383304 h 442393"/>
                          <a:gd name="connsiteX570" fmla="*/ 567152 w 658537"/>
                          <a:gd name="connsiteY570" fmla="*/ 383424 h 442393"/>
                          <a:gd name="connsiteX571" fmla="*/ 566972 w 658537"/>
                          <a:gd name="connsiteY571" fmla="*/ 383544 h 442393"/>
                          <a:gd name="connsiteX572" fmla="*/ 566793 w 658537"/>
                          <a:gd name="connsiteY572" fmla="*/ 383723 h 442393"/>
                          <a:gd name="connsiteX573" fmla="*/ 566554 w 658537"/>
                          <a:gd name="connsiteY573" fmla="*/ 383903 h 442393"/>
                          <a:gd name="connsiteX574" fmla="*/ 563863 w 658537"/>
                          <a:gd name="connsiteY574" fmla="*/ 382108 h 442393"/>
                          <a:gd name="connsiteX575" fmla="*/ 565956 w 658537"/>
                          <a:gd name="connsiteY575" fmla="*/ 383544 h 442393"/>
                          <a:gd name="connsiteX576" fmla="*/ 566135 w 658537"/>
                          <a:gd name="connsiteY576" fmla="*/ 383364 h 442393"/>
                          <a:gd name="connsiteX577" fmla="*/ 566315 w 658537"/>
                          <a:gd name="connsiteY577" fmla="*/ 383185 h 442393"/>
                          <a:gd name="connsiteX578" fmla="*/ 566494 w 658537"/>
                          <a:gd name="connsiteY578" fmla="*/ 383005 h 442393"/>
                          <a:gd name="connsiteX579" fmla="*/ 566673 w 658537"/>
                          <a:gd name="connsiteY579" fmla="*/ 382886 h 442393"/>
                          <a:gd name="connsiteX580" fmla="*/ 564401 w 658537"/>
                          <a:gd name="connsiteY580" fmla="*/ 381331 h 442393"/>
                          <a:gd name="connsiteX581" fmla="*/ 563863 w 658537"/>
                          <a:gd name="connsiteY581" fmla="*/ 382108 h 442393"/>
                          <a:gd name="connsiteX582" fmla="*/ 350052 w 658537"/>
                          <a:gd name="connsiteY582" fmla="*/ 240066 h 442393"/>
                          <a:gd name="connsiteX583" fmla="*/ 563324 w 658537"/>
                          <a:gd name="connsiteY583" fmla="*/ 381749 h 442393"/>
                          <a:gd name="connsiteX584" fmla="*/ 563923 w 658537"/>
                          <a:gd name="connsiteY584" fmla="*/ 381032 h 442393"/>
                          <a:gd name="connsiteX585" fmla="*/ 350650 w 658537"/>
                          <a:gd name="connsiteY585" fmla="*/ 239169 h 442393"/>
                          <a:gd name="connsiteX586" fmla="*/ 350530 w 658537"/>
                          <a:gd name="connsiteY586" fmla="*/ 239408 h 442393"/>
                          <a:gd name="connsiteX587" fmla="*/ 350411 w 658537"/>
                          <a:gd name="connsiteY587" fmla="*/ 239648 h 442393"/>
                          <a:gd name="connsiteX588" fmla="*/ 350291 w 658537"/>
                          <a:gd name="connsiteY588" fmla="*/ 239887 h 442393"/>
                          <a:gd name="connsiteX589" fmla="*/ 350052 w 658537"/>
                          <a:gd name="connsiteY589" fmla="*/ 240066 h 442393"/>
                          <a:gd name="connsiteX590" fmla="*/ 348377 w 658537"/>
                          <a:gd name="connsiteY590" fmla="*/ 238930 h 442393"/>
                          <a:gd name="connsiteX591" fmla="*/ 349334 w 658537"/>
                          <a:gd name="connsiteY591" fmla="*/ 239528 h 442393"/>
                          <a:gd name="connsiteX592" fmla="*/ 349454 w 658537"/>
                          <a:gd name="connsiteY592" fmla="*/ 239289 h 442393"/>
                          <a:gd name="connsiteX593" fmla="*/ 349573 w 658537"/>
                          <a:gd name="connsiteY593" fmla="*/ 239049 h 442393"/>
                          <a:gd name="connsiteX594" fmla="*/ 349693 w 658537"/>
                          <a:gd name="connsiteY594" fmla="*/ 238810 h 442393"/>
                          <a:gd name="connsiteX595" fmla="*/ 349812 w 658537"/>
                          <a:gd name="connsiteY595" fmla="*/ 238571 h 442393"/>
                          <a:gd name="connsiteX596" fmla="*/ 348856 w 658537"/>
                          <a:gd name="connsiteY596" fmla="*/ 237913 h 442393"/>
                          <a:gd name="connsiteX597" fmla="*/ 348736 w 658537"/>
                          <a:gd name="connsiteY597" fmla="*/ 238152 h 442393"/>
                          <a:gd name="connsiteX598" fmla="*/ 348617 w 658537"/>
                          <a:gd name="connsiteY598" fmla="*/ 238391 h 442393"/>
                          <a:gd name="connsiteX599" fmla="*/ 348497 w 658537"/>
                          <a:gd name="connsiteY599" fmla="*/ 238631 h 442393"/>
                          <a:gd name="connsiteX600" fmla="*/ 348377 w 658537"/>
                          <a:gd name="connsiteY600" fmla="*/ 238930 h 442393"/>
                          <a:gd name="connsiteX601" fmla="*/ 345327 w 658537"/>
                          <a:gd name="connsiteY601" fmla="*/ 236896 h 442393"/>
                          <a:gd name="connsiteX602" fmla="*/ 347659 w 658537"/>
                          <a:gd name="connsiteY602" fmla="*/ 238451 h 442393"/>
                          <a:gd name="connsiteX603" fmla="*/ 347779 w 658537"/>
                          <a:gd name="connsiteY603" fmla="*/ 238212 h 442393"/>
                          <a:gd name="connsiteX604" fmla="*/ 347899 w 658537"/>
                          <a:gd name="connsiteY604" fmla="*/ 237973 h 442393"/>
                          <a:gd name="connsiteX605" fmla="*/ 348018 w 658537"/>
                          <a:gd name="connsiteY605" fmla="*/ 237734 h 442393"/>
                          <a:gd name="connsiteX606" fmla="*/ 348138 w 658537"/>
                          <a:gd name="connsiteY606" fmla="*/ 237494 h 442393"/>
                          <a:gd name="connsiteX607" fmla="*/ 345925 w 658537"/>
                          <a:gd name="connsiteY607" fmla="*/ 235999 h 442393"/>
                          <a:gd name="connsiteX608" fmla="*/ 345746 w 658537"/>
                          <a:gd name="connsiteY608" fmla="*/ 236238 h 442393"/>
                          <a:gd name="connsiteX609" fmla="*/ 345566 w 658537"/>
                          <a:gd name="connsiteY609" fmla="*/ 236478 h 442393"/>
                          <a:gd name="connsiteX610" fmla="*/ 345387 w 658537"/>
                          <a:gd name="connsiteY610" fmla="*/ 236717 h 442393"/>
                          <a:gd name="connsiteX611" fmla="*/ 345327 w 658537"/>
                          <a:gd name="connsiteY611" fmla="*/ 236896 h 442393"/>
                          <a:gd name="connsiteX612" fmla="*/ 343652 w 658537"/>
                          <a:gd name="connsiteY612" fmla="*/ 235820 h 442393"/>
                          <a:gd name="connsiteX613" fmla="*/ 344609 w 658537"/>
                          <a:gd name="connsiteY613" fmla="*/ 236478 h 442393"/>
                          <a:gd name="connsiteX614" fmla="*/ 344789 w 658537"/>
                          <a:gd name="connsiteY614" fmla="*/ 236238 h 442393"/>
                          <a:gd name="connsiteX615" fmla="*/ 344968 w 658537"/>
                          <a:gd name="connsiteY615" fmla="*/ 235999 h 442393"/>
                          <a:gd name="connsiteX616" fmla="*/ 345148 w 658537"/>
                          <a:gd name="connsiteY616" fmla="*/ 235760 h 442393"/>
                          <a:gd name="connsiteX617" fmla="*/ 345327 w 658537"/>
                          <a:gd name="connsiteY617" fmla="*/ 235521 h 442393"/>
                          <a:gd name="connsiteX618" fmla="*/ 344370 w 658537"/>
                          <a:gd name="connsiteY618" fmla="*/ 234863 h 442393"/>
                          <a:gd name="connsiteX619" fmla="*/ 344191 w 658537"/>
                          <a:gd name="connsiteY619" fmla="*/ 235102 h 442393"/>
                          <a:gd name="connsiteX620" fmla="*/ 344011 w 658537"/>
                          <a:gd name="connsiteY620" fmla="*/ 235341 h 442393"/>
                          <a:gd name="connsiteX621" fmla="*/ 343832 w 658537"/>
                          <a:gd name="connsiteY621" fmla="*/ 235580 h 442393"/>
                          <a:gd name="connsiteX622" fmla="*/ 343652 w 658537"/>
                          <a:gd name="connsiteY622" fmla="*/ 235820 h 442393"/>
                          <a:gd name="connsiteX623" fmla="*/ 340243 w 658537"/>
                          <a:gd name="connsiteY623" fmla="*/ 233547 h 442393"/>
                          <a:gd name="connsiteX624" fmla="*/ 342875 w 658537"/>
                          <a:gd name="connsiteY624" fmla="*/ 235341 h 442393"/>
                          <a:gd name="connsiteX625" fmla="*/ 343054 w 658537"/>
                          <a:gd name="connsiteY625" fmla="*/ 235102 h 442393"/>
                          <a:gd name="connsiteX626" fmla="*/ 343234 w 658537"/>
                          <a:gd name="connsiteY626" fmla="*/ 234863 h 442393"/>
                          <a:gd name="connsiteX627" fmla="*/ 343413 w 658537"/>
                          <a:gd name="connsiteY627" fmla="*/ 234624 h 442393"/>
                          <a:gd name="connsiteX628" fmla="*/ 343593 w 658537"/>
                          <a:gd name="connsiteY628" fmla="*/ 234384 h 442393"/>
                          <a:gd name="connsiteX629" fmla="*/ 340961 w 658537"/>
                          <a:gd name="connsiteY629" fmla="*/ 232650 h 442393"/>
                          <a:gd name="connsiteX630" fmla="*/ 340782 w 658537"/>
                          <a:gd name="connsiteY630" fmla="*/ 232889 h 442393"/>
                          <a:gd name="connsiteX631" fmla="*/ 340602 w 658537"/>
                          <a:gd name="connsiteY631" fmla="*/ 233128 h 442393"/>
                          <a:gd name="connsiteX632" fmla="*/ 340423 w 658537"/>
                          <a:gd name="connsiteY632" fmla="*/ 233368 h 442393"/>
                          <a:gd name="connsiteX633" fmla="*/ 340243 w 658537"/>
                          <a:gd name="connsiteY633" fmla="*/ 233547 h 442393"/>
                          <a:gd name="connsiteX634" fmla="*/ 338569 w 658537"/>
                          <a:gd name="connsiteY634" fmla="*/ 232411 h 442393"/>
                          <a:gd name="connsiteX635" fmla="*/ 339526 w 658537"/>
                          <a:gd name="connsiteY635" fmla="*/ 233069 h 442393"/>
                          <a:gd name="connsiteX636" fmla="*/ 339705 w 658537"/>
                          <a:gd name="connsiteY636" fmla="*/ 232829 h 442393"/>
                          <a:gd name="connsiteX637" fmla="*/ 339885 w 658537"/>
                          <a:gd name="connsiteY637" fmla="*/ 232590 h 442393"/>
                          <a:gd name="connsiteX638" fmla="*/ 340064 w 658537"/>
                          <a:gd name="connsiteY638" fmla="*/ 232351 h 442393"/>
                          <a:gd name="connsiteX639" fmla="*/ 340243 w 658537"/>
                          <a:gd name="connsiteY639" fmla="*/ 232112 h 442393"/>
                          <a:gd name="connsiteX640" fmla="*/ 339287 w 658537"/>
                          <a:gd name="connsiteY640" fmla="*/ 231454 h 442393"/>
                          <a:gd name="connsiteX641" fmla="*/ 339107 w 658537"/>
                          <a:gd name="connsiteY641" fmla="*/ 231693 h 442393"/>
                          <a:gd name="connsiteX642" fmla="*/ 338928 w 658537"/>
                          <a:gd name="connsiteY642" fmla="*/ 231932 h 442393"/>
                          <a:gd name="connsiteX643" fmla="*/ 338748 w 658537"/>
                          <a:gd name="connsiteY643" fmla="*/ 232172 h 442393"/>
                          <a:gd name="connsiteX644" fmla="*/ 338569 w 658537"/>
                          <a:gd name="connsiteY644" fmla="*/ 232411 h 442393"/>
                          <a:gd name="connsiteX645" fmla="*/ 322002 w 658537"/>
                          <a:gd name="connsiteY645" fmla="*/ 221406 h 442393"/>
                          <a:gd name="connsiteX646" fmla="*/ 337791 w 658537"/>
                          <a:gd name="connsiteY646" fmla="*/ 231872 h 442393"/>
                          <a:gd name="connsiteX647" fmla="*/ 337971 w 658537"/>
                          <a:gd name="connsiteY647" fmla="*/ 231633 h 442393"/>
                          <a:gd name="connsiteX648" fmla="*/ 338150 w 658537"/>
                          <a:gd name="connsiteY648" fmla="*/ 231394 h 442393"/>
                          <a:gd name="connsiteX649" fmla="*/ 338330 w 658537"/>
                          <a:gd name="connsiteY649" fmla="*/ 231155 h 442393"/>
                          <a:gd name="connsiteX650" fmla="*/ 338509 w 658537"/>
                          <a:gd name="connsiteY650" fmla="*/ 230916 h 442393"/>
                          <a:gd name="connsiteX651" fmla="*/ 322720 w 658537"/>
                          <a:gd name="connsiteY651" fmla="*/ 220449 h 442393"/>
                          <a:gd name="connsiteX652" fmla="*/ 322002 w 658537"/>
                          <a:gd name="connsiteY652" fmla="*/ 221406 h 442393"/>
                          <a:gd name="connsiteX653" fmla="*/ 317756 w 658537"/>
                          <a:gd name="connsiteY653" fmla="*/ 218595 h 442393"/>
                          <a:gd name="connsiteX654" fmla="*/ 321344 w 658537"/>
                          <a:gd name="connsiteY654" fmla="*/ 220988 h 442393"/>
                          <a:gd name="connsiteX655" fmla="*/ 322002 w 658537"/>
                          <a:gd name="connsiteY655" fmla="*/ 220150 h 442393"/>
                          <a:gd name="connsiteX656" fmla="*/ 318175 w 658537"/>
                          <a:gd name="connsiteY656" fmla="*/ 217638 h 442393"/>
                          <a:gd name="connsiteX657" fmla="*/ 318055 w 658537"/>
                          <a:gd name="connsiteY657" fmla="*/ 217878 h 442393"/>
                          <a:gd name="connsiteX658" fmla="*/ 317935 w 658537"/>
                          <a:gd name="connsiteY658" fmla="*/ 218117 h 442393"/>
                          <a:gd name="connsiteX659" fmla="*/ 317816 w 658537"/>
                          <a:gd name="connsiteY659" fmla="*/ 218356 h 442393"/>
                          <a:gd name="connsiteX660" fmla="*/ 317756 w 658537"/>
                          <a:gd name="connsiteY660" fmla="*/ 218595 h 442393"/>
                          <a:gd name="connsiteX661" fmla="*/ 313450 w 658537"/>
                          <a:gd name="connsiteY661" fmla="*/ 215725 h 442393"/>
                          <a:gd name="connsiteX662" fmla="*/ 316978 w 658537"/>
                          <a:gd name="connsiteY662" fmla="*/ 218057 h 442393"/>
                          <a:gd name="connsiteX663" fmla="*/ 317098 w 658537"/>
                          <a:gd name="connsiteY663" fmla="*/ 217818 h 442393"/>
                          <a:gd name="connsiteX664" fmla="*/ 317218 w 658537"/>
                          <a:gd name="connsiteY664" fmla="*/ 217579 h 442393"/>
                          <a:gd name="connsiteX665" fmla="*/ 317337 w 658537"/>
                          <a:gd name="connsiteY665" fmla="*/ 217339 h 442393"/>
                          <a:gd name="connsiteX666" fmla="*/ 317457 w 658537"/>
                          <a:gd name="connsiteY666" fmla="*/ 217100 h 442393"/>
                          <a:gd name="connsiteX667" fmla="*/ 313689 w 658537"/>
                          <a:gd name="connsiteY667" fmla="*/ 214588 h 442393"/>
                          <a:gd name="connsiteX668" fmla="*/ 313689 w 658537"/>
                          <a:gd name="connsiteY668" fmla="*/ 214887 h 442393"/>
                          <a:gd name="connsiteX669" fmla="*/ 313689 w 658537"/>
                          <a:gd name="connsiteY669" fmla="*/ 215186 h 442393"/>
                          <a:gd name="connsiteX670" fmla="*/ 313629 w 658537"/>
                          <a:gd name="connsiteY670" fmla="*/ 215485 h 442393"/>
                          <a:gd name="connsiteX671" fmla="*/ 313450 w 658537"/>
                          <a:gd name="connsiteY671" fmla="*/ 215725 h 442393"/>
                          <a:gd name="connsiteX672" fmla="*/ 306273 w 658537"/>
                          <a:gd name="connsiteY672" fmla="*/ 210940 h 442393"/>
                          <a:gd name="connsiteX673" fmla="*/ 312493 w 658537"/>
                          <a:gd name="connsiteY673" fmla="*/ 215067 h 442393"/>
                          <a:gd name="connsiteX674" fmla="*/ 312493 w 658537"/>
                          <a:gd name="connsiteY674" fmla="*/ 214708 h 442393"/>
                          <a:gd name="connsiteX675" fmla="*/ 312493 w 658537"/>
                          <a:gd name="connsiteY675" fmla="*/ 214349 h 442393"/>
                          <a:gd name="connsiteX676" fmla="*/ 312433 w 658537"/>
                          <a:gd name="connsiteY676" fmla="*/ 213990 h 442393"/>
                          <a:gd name="connsiteX677" fmla="*/ 312373 w 658537"/>
                          <a:gd name="connsiteY677" fmla="*/ 213631 h 442393"/>
                          <a:gd name="connsiteX678" fmla="*/ 307648 w 658537"/>
                          <a:gd name="connsiteY678" fmla="*/ 210521 h 442393"/>
                          <a:gd name="connsiteX679" fmla="*/ 307290 w 658537"/>
                          <a:gd name="connsiteY679" fmla="*/ 210581 h 442393"/>
                          <a:gd name="connsiteX680" fmla="*/ 306931 w 658537"/>
                          <a:gd name="connsiteY680" fmla="*/ 210641 h 442393"/>
                          <a:gd name="connsiteX681" fmla="*/ 306572 w 658537"/>
                          <a:gd name="connsiteY681" fmla="*/ 210761 h 442393"/>
                          <a:gd name="connsiteX682" fmla="*/ 306273 w 658537"/>
                          <a:gd name="connsiteY682" fmla="*/ 210940 h 442393"/>
                          <a:gd name="connsiteX683" fmla="*/ 301668 w 658537"/>
                          <a:gd name="connsiteY683" fmla="*/ 207890 h 442393"/>
                          <a:gd name="connsiteX684" fmla="*/ 305316 w 658537"/>
                          <a:gd name="connsiteY684" fmla="*/ 210282 h 442393"/>
                          <a:gd name="connsiteX685" fmla="*/ 305615 w 658537"/>
                          <a:gd name="connsiteY685" fmla="*/ 210162 h 442393"/>
                          <a:gd name="connsiteX686" fmla="*/ 305914 w 658537"/>
                          <a:gd name="connsiteY686" fmla="*/ 210043 h 442393"/>
                          <a:gd name="connsiteX687" fmla="*/ 306213 w 658537"/>
                          <a:gd name="connsiteY687" fmla="*/ 209923 h 442393"/>
                          <a:gd name="connsiteX688" fmla="*/ 306512 w 658537"/>
                          <a:gd name="connsiteY688" fmla="*/ 209803 h 442393"/>
                          <a:gd name="connsiteX689" fmla="*/ 302565 w 658537"/>
                          <a:gd name="connsiteY689" fmla="*/ 207172 h 442393"/>
                          <a:gd name="connsiteX690" fmla="*/ 302325 w 658537"/>
                          <a:gd name="connsiteY690" fmla="*/ 207352 h 442393"/>
                          <a:gd name="connsiteX691" fmla="*/ 302086 w 658537"/>
                          <a:gd name="connsiteY691" fmla="*/ 207531 h 442393"/>
                          <a:gd name="connsiteX692" fmla="*/ 301847 w 658537"/>
                          <a:gd name="connsiteY692" fmla="*/ 207710 h 442393"/>
                          <a:gd name="connsiteX693" fmla="*/ 301668 w 658537"/>
                          <a:gd name="connsiteY693" fmla="*/ 207890 h 442393"/>
                          <a:gd name="connsiteX694" fmla="*/ 294850 w 658537"/>
                          <a:gd name="connsiteY694" fmla="*/ 203404 h 442393"/>
                          <a:gd name="connsiteX695" fmla="*/ 300890 w 658537"/>
                          <a:gd name="connsiteY695" fmla="*/ 207411 h 442393"/>
                          <a:gd name="connsiteX696" fmla="*/ 301130 w 658537"/>
                          <a:gd name="connsiteY696" fmla="*/ 207232 h 442393"/>
                          <a:gd name="connsiteX697" fmla="*/ 301369 w 658537"/>
                          <a:gd name="connsiteY697" fmla="*/ 207053 h 442393"/>
                          <a:gd name="connsiteX698" fmla="*/ 301608 w 658537"/>
                          <a:gd name="connsiteY698" fmla="*/ 206873 h 442393"/>
                          <a:gd name="connsiteX699" fmla="*/ 301847 w 658537"/>
                          <a:gd name="connsiteY699" fmla="*/ 206694 h 442393"/>
                          <a:gd name="connsiteX700" fmla="*/ 295568 w 658537"/>
                          <a:gd name="connsiteY700" fmla="*/ 202507 h 442393"/>
                          <a:gd name="connsiteX701" fmla="*/ 294850 w 658537"/>
                          <a:gd name="connsiteY701" fmla="*/ 203404 h 442393"/>
                          <a:gd name="connsiteX702" fmla="*/ 281453 w 658537"/>
                          <a:gd name="connsiteY702" fmla="*/ 194493 h 442393"/>
                          <a:gd name="connsiteX703" fmla="*/ 294072 w 658537"/>
                          <a:gd name="connsiteY703" fmla="*/ 202866 h 442393"/>
                          <a:gd name="connsiteX704" fmla="*/ 294730 w 658537"/>
                          <a:gd name="connsiteY704" fmla="*/ 201969 h 442393"/>
                          <a:gd name="connsiteX705" fmla="*/ 282111 w 658537"/>
                          <a:gd name="connsiteY705" fmla="*/ 193596 h 442393"/>
                          <a:gd name="connsiteX706" fmla="*/ 281453 w 658537"/>
                          <a:gd name="connsiteY706" fmla="*/ 194493 h 442393"/>
                          <a:gd name="connsiteX707" fmla="*/ 277207 w 658537"/>
                          <a:gd name="connsiteY707" fmla="*/ 191622 h 442393"/>
                          <a:gd name="connsiteX708" fmla="*/ 280735 w 658537"/>
                          <a:gd name="connsiteY708" fmla="*/ 193955 h 442393"/>
                          <a:gd name="connsiteX709" fmla="*/ 281453 w 658537"/>
                          <a:gd name="connsiteY709" fmla="*/ 193057 h 442393"/>
                          <a:gd name="connsiteX710" fmla="*/ 277924 w 658537"/>
                          <a:gd name="connsiteY710" fmla="*/ 190725 h 442393"/>
                          <a:gd name="connsiteX711" fmla="*/ 277207 w 658537"/>
                          <a:gd name="connsiteY711" fmla="*/ 191622 h 442393"/>
                          <a:gd name="connsiteX712" fmla="*/ 274097 w 658537"/>
                          <a:gd name="connsiteY712" fmla="*/ 189589 h 442393"/>
                          <a:gd name="connsiteX713" fmla="*/ 276429 w 658537"/>
                          <a:gd name="connsiteY713" fmla="*/ 191144 h 442393"/>
                          <a:gd name="connsiteX714" fmla="*/ 277147 w 658537"/>
                          <a:gd name="connsiteY714" fmla="*/ 190247 h 442393"/>
                          <a:gd name="connsiteX715" fmla="*/ 274575 w 658537"/>
                          <a:gd name="connsiteY715" fmla="*/ 188512 h 442393"/>
                          <a:gd name="connsiteX716" fmla="*/ 274455 w 658537"/>
                          <a:gd name="connsiteY716" fmla="*/ 188752 h 442393"/>
                          <a:gd name="connsiteX717" fmla="*/ 274336 w 658537"/>
                          <a:gd name="connsiteY717" fmla="*/ 188991 h 442393"/>
                          <a:gd name="connsiteX718" fmla="*/ 274216 w 658537"/>
                          <a:gd name="connsiteY718" fmla="*/ 189230 h 442393"/>
                          <a:gd name="connsiteX719" fmla="*/ 274097 w 658537"/>
                          <a:gd name="connsiteY719" fmla="*/ 189589 h 442393"/>
                          <a:gd name="connsiteX720" fmla="*/ 269551 w 658537"/>
                          <a:gd name="connsiteY720" fmla="*/ 186599 h 442393"/>
                          <a:gd name="connsiteX721" fmla="*/ 273259 w 658537"/>
                          <a:gd name="connsiteY721" fmla="*/ 189051 h 442393"/>
                          <a:gd name="connsiteX722" fmla="*/ 273379 w 658537"/>
                          <a:gd name="connsiteY722" fmla="*/ 188811 h 442393"/>
                          <a:gd name="connsiteX723" fmla="*/ 273499 w 658537"/>
                          <a:gd name="connsiteY723" fmla="*/ 188572 h 442393"/>
                          <a:gd name="connsiteX724" fmla="*/ 273618 w 658537"/>
                          <a:gd name="connsiteY724" fmla="*/ 188333 h 442393"/>
                          <a:gd name="connsiteX725" fmla="*/ 273738 w 658537"/>
                          <a:gd name="connsiteY725" fmla="*/ 188094 h 442393"/>
                          <a:gd name="connsiteX726" fmla="*/ 269790 w 658537"/>
                          <a:gd name="connsiteY726" fmla="*/ 185462 h 442393"/>
                          <a:gd name="connsiteX727" fmla="*/ 269790 w 658537"/>
                          <a:gd name="connsiteY727" fmla="*/ 185761 h 442393"/>
                          <a:gd name="connsiteX728" fmla="*/ 269790 w 658537"/>
                          <a:gd name="connsiteY728" fmla="*/ 186060 h 442393"/>
                          <a:gd name="connsiteX729" fmla="*/ 269731 w 658537"/>
                          <a:gd name="connsiteY729" fmla="*/ 186359 h 442393"/>
                          <a:gd name="connsiteX730" fmla="*/ 269551 w 658537"/>
                          <a:gd name="connsiteY730" fmla="*/ 186599 h 442393"/>
                          <a:gd name="connsiteX731" fmla="*/ 263690 w 658537"/>
                          <a:gd name="connsiteY731" fmla="*/ 182711 h 442393"/>
                          <a:gd name="connsiteX732" fmla="*/ 268594 w 658537"/>
                          <a:gd name="connsiteY732" fmla="*/ 185940 h 442393"/>
                          <a:gd name="connsiteX733" fmla="*/ 268594 w 658537"/>
                          <a:gd name="connsiteY733" fmla="*/ 185582 h 442393"/>
                          <a:gd name="connsiteX734" fmla="*/ 268594 w 658537"/>
                          <a:gd name="connsiteY734" fmla="*/ 185223 h 442393"/>
                          <a:gd name="connsiteX735" fmla="*/ 268535 w 658537"/>
                          <a:gd name="connsiteY735" fmla="*/ 184864 h 442393"/>
                          <a:gd name="connsiteX736" fmla="*/ 268475 w 658537"/>
                          <a:gd name="connsiteY736" fmla="*/ 184505 h 442393"/>
                          <a:gd name="connsiteX737" fmla="*/ 264408 w 658537"/>
                          <a:gd name="connsiteY737" fmla="*/ 181814 h 442393"/>
                          <a:gd name="connsiteX738" fmla="*/ 263690 w 658537"/>
                          <a:gd name="connsiteY738" fmla="*/ 182711 h 442393"/>
                          <a:gd name="connsiteX739" fmla="*/ 262015 w 658537"/>
                          <a:gd name="connsiteY739" fmla="*/ 181575 h 442393"/>
                          <a:gd name="connsiteX740" fmla="*/ 262913 w 658537"/>
                          <a:gd name="connsiteY740" fmla="*/ 182173 h 442393"/>
                          <a:gd name="connsiteX741" fmla="*/ 263630 w 658537"/>
                          <a:gd name="connsiteY741" fmla="*/ 181276 h 442393"/>
                          <a:gd name="connsiteX742" fmla="*/ 263570 w 658537"/>
                          <a:gd name="connsiteY742" fmla="*/ 181216 h 442393"/>
                          <a:gd name="connsiteX743" fmla="*/ 263212 w 658537"/>
                          <a:gd name="connsiteY743" fmla="*/ 181276 h 442393"/>
                          <a:gd name="connsiteX744" fmla="*/ 262853 w 658537"/>
                          <a:gd name="connsiteY744" fmla="*/ 181336 h 442393"/>
                          <a:gd name="connsiteX745" fmla="*/ 262494 w 658537"/>
                          <a:gd name="connsiteY745" fmla="*/ 181455 h 442393"/>
                          <a:gd name="connsiteX746" fmla="*/ 262015 w 658537"/>
                          <a:gd name="connsiteY746" fmla="*/ 181575 h 442393"/>
                          <a:gd name="connsiteX747" fmla="*/ 257171 w 658537"/>
                          <a:gd name="connsiteY747" fmla="*/ 178345 h 442393"/>
                          <a:gd name="connsiteX748" fmla="*/ 260999 w 658537"/>
                          <a:gd name="connsiteY748" fmla="*/ 180917 h 442393"/>
                          <a:gd name="connsiteX749" fmla="*/ 261298 w 658537"/>
                          <a:gd name="connsiteY749" fmla="*/ 180797 h 442393"/>
                          <a:gd name="connsiteX750" fmla="*/ 261597 w 658537"/>
                          <a:gd name="connsiteY750" fmla="*/ 180677 h 442393"/>
                          <a:gd name="connsiteX751" fmla="*/ 261896 w 658537"/>
                          <a:gd name="connsiteY751" fmla="*/ 180558 h 442393"/>
                          <a:gd name="connsiteX752" fmla="*/ 262195 w 658537"/>
                          <a:gd name="connsiteY752" fmla="*/ 180438 h 442393"/>
                          <a:gd name="connsiteX753" fmla="*/ 258068 w 658537"/>
                          <a:gd name="connsiteY753" fmla="*/ 177687 h 442393"/>
                          <a:gd name="connsiteX754" fmla="*/ 257829 w 658537"/>
                          <a:gd name="connsiteY754" fmla="*/ 177867 h 442393"/>
                          <a:gd name="connsiteX755" fmla="*/ 257590 w 658537"/>
                          <a:gd name="connsiteY755" fmla="*/ 178046 h 442393"/>
                          <a:gd name="connsiteX756" fmla="*/ 257351 w 658537"/>
                          <a:gd name="connsiteY756" fmla="*/ 178225 h 442393"/>
                          <a:gd name="connsiteX757" fmla="*/ 257171 w 658537"/>
                          <a:gd name="connsiteY757" fmla="*/ 178345 h 442393"/>
                          <a:gd name="connsiteX758" fmla="*/ 253284 w 658537"/>
                          <a:gd name="connsiteY758" fmla="*/ 175773 h 442393"/>
                          <a:gd name="connsiteX759" fmla="*/ 256394 w 658537"/>
                          <a:gd name="connsiteY759" fmla="*/ 177867 h 442393"/>
                          <a:gd name="connsiteX760" fmla="*/ 256633 w 658537"/>
                          <a:gd name="connsiteY760" fmla="*/ 177687 h 442393"/>
                          <a:gd name="connsiteX761" fmla="*/ 256872 w 658537"/>
                          <a:gd name="connsiteY761" fmla="*/ 177508 h 442393"/>
                          <a:gd name="connsiteX762" fmla="*/ 257111 w 658537"/>
                          <a:gd name="connsiteY762" fmla="*/ 177328 h 442393"/>
                          <a:gd name="connsiteX763" fmla="*/ 257351 w 658537"/>
                          <a:gd name="connsiteY763" fmla="*/ 177149 h 442393"/>
                          <a:gd name="connsiteX764" fmla="*/ 253942 w 658537"/>
                          <a:gd name="connsiteY764" fmla="*/ 174876 h 442393"/>
                          <a:gd name="connsiteX765" fmla="*/ 253284 w 658537"/>
                          <a:gd name="connsiteY765" fmla="*/ 175773 h 442393"/>
                          <a:gd name="connsiteX766" fmla="*/ 138095 w 658537"/>
                          <a:gd name="connsiteY766" fmla="*/ 99220 h 442393"/>
                          <a:gd name="connsiteX767" fmla="*/ 252446 w 658537"/>
                          <a:gd name="connsiteY767" fmla="*/ 175235 h 442393"/>
                          <a:gd name="connsiteX768" fmla="*/ 253164 w 658537"/>
                          <a:gd name="connsiteY768" fmla="*/ 174338 h 442393"/>
                          <a:gd name="connsiteX769" fmla="*/ 138753 w 658537"/>
                          <a:gd name="connsiteY769" fmla="*/ 98203 h 442393"/>
                          <a:gd name="connsiteX770" fmla="*/ 138574 w 658537"/>
                          <a:gd name="connsiteY770" fmla="*/ 98442 h 442393"/>
                          <a:gd name="connsiteX771" fmla="*/ 138394 w 658537"/>
                          <a:gd name="connsiteY771" fmla="*/ 98682 h 442393"/>
                          <a:gd name="connsiteX772" fmla="*/ 138214 w 658537"/>
                          <a:gd name="connsiteY772" fmla="*/ 98921 h 442393"/>
                          <a:gd name="connsiteX773" fmla="*/ 138095 w 658537"/>
                          <a:gd name="connsiteY773" fmla="*/ 99220 h 442393"/>
                          <a:gd name="connsiteX774" fmla="*/ 136002 w 658537"/>
                          <a:gd name="connsiteY774" fmla="*/ 97845 h 442393"/>
                          <a:gd name="connsiteX775" fmla="*/ 137198 w 658537"/>
                          <a:gd name="connsiteY775" fmla="*/ 98622 h 442393"/>
                          <a:gd name="connsiteX776" fmla="*/ 137377 w 658537"/>
                          <a:gd name="connsiteY776" fmla="*/ 98383 h 442393"/>
                          <a:gd name="connsiteX777" fmla="*/ 137557 w 658537"/>
                          <a:gd name="connsiteY777" fmla="*/ 98143 h 442393"/>
                          <a:gd name="connsiteX778" fmla="*/ 137736 w 658537"/>
                          <a:gd name="connsiteY778" fmla="*/ 97904 h 442393"/>
                          <a:gd name="connsiteX779" fmla="*/ 137915 w 658537"/>
                          <a:gd name="connsiteY779" fmla="*/ 97665 h 442393"/>
                          <a:gd name="connsiteX780" fmla="*/ 136719 w 658537"/>
                          <a:gd name="connsiteY780" fmla="*/ 96888 h 442393"/>
                          <a:gd name="connsiteX781" fmla="*/ 136540 w 658537"/>
                          <a:gd name="connsiteY781" fmla="*/ 97127 h 442393"/>
                          <a:gd name="connsiteX782" fmla="*/ 136360 w 658537"/>
                          <a:gd name="connsiteY782" fmla="*/ 97366 h 442393"/>
                          <a:gd name="connsiteX783" fmla="*/ 136181 w 658537"/>
                          <a:gd name="connsiteY783" fmla="*/ 97605 h 442393"/>
                          <a:gd name="connsiteX784" fmla="*/ 136002 w 658537"/>
                          <a:gd name="connsiteY784" fmla="*/ 97845 h 442393"/>
                          <a:gd name="connsiteX785" fmla="*/ 132294 w 658537"/>
                          <a:gd name="connsiteY785" fmla="*/ 95393 h 442393"/>
                          <a:gd name="connsiteX786" fmla="*/ 135045 w 658537"/>
                          <a:gd name="connsiteY786" fmla="*/ 97247 h 442393"/>
                          <a:gd name="connsiteX787" fmla="*/ 135224 w 658537"/>
                          <a:gd name="connsiteY787" fmla="*/ 97007 h 442393"/>
                          <a:gd name="connsiteX788" fmla="*/ 135404 w 658537"/>
                          <a:gd name="connsiteY788" fmla="*/ 96768 h 442393"/>
                          <a:gd name="connsiteX789" fmla="*/ 135583 w 658537"/>
                          <a:gd name="connsiteY789" fmla="*/ 96529 h 442393"/>
                          <a:gd name="connsiteX790" fmla="*/ 135762 w 658537"/>
                          <a:gd name="connsiteY790" fmla="*/ 96289 h 442393"/>
                          <a:gd name="connsiteX791" fmla="*/ 133071 w 658537"/>
                          <a:gd name="connsiteY791" fmla="*/ 94495 h 442393"/>
                          <a:gd name="connsiteX792" fmla="*/ 132892 w 658537"/>
                          <a:gd name="connsiteY792" fmla="*/ 94734 h 442393"/>
                          <a:gd name="connsiteX793" fmla="*/ 132712 w 658537"/>
                          <a:gd name="connsiteY793" fmla="*/ 94974 h 442393"/>
                          <a:gd name="connsiteX794" fmla="*/ 132533 w 658537"/>
                          <a:gd name="connsiteY794" fmla="*/ 95213 h 442393"/>
                          <a:gd name="connsiteX795" fmla="*/ 132294 w 658537"/>
                          <a:gd name="connsiteY795" fmla="*/ 95393 h 442393"/>
                          <a:gd name="connsiteX796" fmla="*/ 130200 w 658537"/>
                          <a:gd name="connsiteY796" fmla="*/ 93957 h 442393"/>
                          <a:gd name="connsiteX797" fmla="*/ 131397 w 658537"/>
                          <a:gd name="connsiteY797" fmla="*/ 94734 h 442393"/>
                          <a:gd name="connsiteX798" fmla="*/ 131576 w 658537"/>
                          <a:gd name="connsiteY798" fmla="*/ 94495 h 442393"/>
                          <a:gd name="connsiteX799" fmla="*/ 131755 w 658537"/>
                          <a:gd name="connsiteY799" fmla="*/ 94256 h 442393"/>
                          <a:gd name="connsiteX800" fmla="*/ 131935 w 658537"/>
                          <a:gd name="connsiteY800" fmla="*/ 94017 h 442393"/>
                          <a:gd name="connsiteX801" fmla="*/ 132114 w 658537"/>
                          <a:gd name="connsiteY801" fmla="*/ 93778 h 442393"/>
                          <a:gd name="connsiteX802" fmla="*/ 130918 w 658537"/>
                          <a:gd name="connsiteY802" fmla="*/ 93000 h 442393"/>
                          <a:gd name="connsiteX803" fmla="*/ 130739 w 658537"/>
                          <a:gd name="connsiteY803" fmla="*/ 93239 h 442393"/>
                          <a:gd name="connsiteX804" fmla="*/ 130559 w 658537"/>
                          <a:gd name="connsiteY804" fmla="*/ 93479 h 442393"/>
                          <a:gd name="connsiteX805" fmla="*/ 130380 w 658537"/>
                          <a:gd name="connsiteY805" fmla="*/ 93718 h 442393"/>
                          <a:gd name="connsiteX806" fmla="*/ 130200 w 658537"/>
                          <a:gd name="connsiteY806" fmla="*/ 93957 h 442393"/>
                          <a:gd name="connsiteX807" fmla="*/ 126253 w 658537"/>
                          <a:gd name="connsiteY807" fmla="*/ 91385 h 442393"/>
                          <a:gd name="connsiteX808" fmla="*/ 129243 w 658537"/>
                          <a:gd name="connsiteY808" fmla="*/ 93359 h 442393"/>
                          <a:gd name="connsiteX809" fmla="*/ 129423 w 658537"/>
                          <a:gd name="connsiteY809" fmla="*/ 93120 h 442393"/>
                          <a:gd name="connsiteX810" fmla="*/ 129603 w 658537"/>
                          <a:gd name="connsiteY810" fmla="*/ 92880 h 442393"/>
                          <a:gd name="connsiteX811" fmla="*/ 129782 w 658537"/>
                          <a:gd name="connsiteY811" fmla="*/ 92641 h 442393"/>
                          <a:gd name="connsiteX812" fmla="*/ 129961 w 658537"/>
                          <a:gd name="connsiteY812" fmla="*/ 92402 h 442393"/>
                          <a:gd name="connsiteX813" fmla="*/ 127030 w 658537"/>
                          <a:gd name="connsiteY813" fmla="*/ 90488 h 442393"/>
                          <a:gd name="connsiteX814" fmla="*/ 126851 w 658537"/>
                          <a:gd name="connsiteY814" fmla="*/ 90727 h 442393"/>
                          <a:gd name="connsiteX815" fmla="*/ 126672 w 658537"/>
                          <a:gd name="connsiteY815" fmla="*/ 90967 h 442393"/>
                          <a:gd name="connsiteX816" fmla="*/ 126492 w 658537"/>
                          <a:gd name="connsiteY816" fmla="*/ 91206 h 442393"/>
                          <a:gd name="connsiteX817" fmla="*/ 126253 w 658537"/>
                          <a:gd name="connsiteY817" fmla="*/ 91385 h 442393"/>
                          <a:gd name="connsiteX818" fmla="*/ 124160 w 658537"/>
                          <a:gd name="connsiteY818" fmla="*/ 89950 h 442393"/>
                          <a:gd name="connsiteX819" fmla="*/ 125356 w 658537"/>
                          <a:gd name="connsiteY819" fmla="*/ 90727 h 442393"/>
                          <a:gd name="connsiteX820" fmla="*/ 125535 w 658537"/>
                          <a:gd name="connsiteY820" fmla="*/ 90488 h 442393"/>
                          <a:gd name="connsiteX821" fmla="*/ 125715 w 658537"/>
                          <a:gd name="connsiteY821" fmla="*/ 90249 h 442393"/>
                          <a:gd name="connsiteX822" fmla="*/ 125894 w 658537"/>
                          <a:gd name="connsiteY822" fmla="*/ 90010 h 442393"/>
                          <a:gd name="connsiteX823" fmla="*/ 126074 w 658537"/>
                          <a:gd name="connsiteY823" fmla="*/ 89771 h 442393"/>
                          <a:gd name="connsiteX824" fmla="*/ 124878 w 658537"/>
                          <a:gd name="connsiteY824" fmla="*/ 88993 h 442393"/>
                          <a:gd name="connsiteX825" fmla="*/ 124698 w 658537"/>
                          <a:gd name="connsiteY825" fmla="*/ 89232 h 442393"/>
                          <a:gd name="connsiteX826" fmla="*/ 124519 w 658537"/>
                          <a:gd name="connsiteY826" fmla="*/ 89471 h 442393"/>
                          <a:gd name="connsiteX827" fmla="*/ 124339 w 658537"/>
                          <a:gd name="connsiteY827" fmla="*/ 89711 h 442393"/>
                          <a:gd name="connsiteX828" fmla="*/ 124160 w 658537"/>
                          <a:gd name="connsiteY828" fmla="*/ 89950 h 442393"/>
                          <a:gd name="connsiteX829" fmla="*/ 100357 w 658537"/>
                          <a:gd name="connsiteY829" fmla="*/ 74161 h 442393"/>
                          <a:gd name="connsiteX830" fmla="*/ 123203 w 658537"/>
                          <a:gd name="connsiteY830" fmla="*/ 89352 h 442393"/>
                          <a:gd name="connsiteX831" fmla="*/ 123382 w 658537"/>
                          <a:gd name="connsiteY831" fmla="*/ 89113 h 442393"/>
                          <a:gd name="connsiteX832" fmla="*/ 123562 w 658537"/>
                          <a:gd name="connsiteY832" fmla="*/ 88873 h 442393"/>
                          <a:gd name="connsiteX833" fmla="*/ 123741 w 658537"/>
                          <a:gd name="connsiteY833" fmla="*/ 88634 h 442393"/>
                          <a:gd name="connsiteX834" fmla="*/ 123921 w 658537"/>
                          <a:gd name="connsiteY834" fmla="*/ 88395 h 442393"/>
                          <a:gd name="connsiteX835" fmla="*/ 101014 w 658537"/>
                          <a:gd name="connsiteY835" fmla="*/ 73144 h 442393"/>
                          <a:gd name="connsiteX836" fmla="*/ 100357 w 658537"/>
                          <a:gd name="connsiteY836" fmla="*/ 74161 h 442393"/>
                          <a:gd name="connsiteX837" fmla="*/ 94854 w 658537"/>
                          <a:gd name="connsiteY837" fmla="*/ 70513 h 442393"/>
                          <a:gd name="connsiteX838" fmla="*/ 99400 w 658537"/>
                          <a:gd name="connsiteY838" fmla="*/ 73503 h 442393"/>
                          <a:gd name="connsiteX839" fmla="*/ 100177 w 658537"/>
                          <a:gd name="connsiteY839" fmla="*/ 72546 h 442393"/>
                          <a:gd name="connsiteX840" fmla="*/ 95333 w 658537"/>
                          <a:gd name="connsiteY840" fmla="*/ 69316 h 442393"/>
                          <a:gd name="connsiteX841" fmla="*/ 95213 w 658537"/>
                          <a:gd name="connsiteY841" fmla="*/ 69615 h 442393"/>
                          <a:gd name="connsiteX842" fmla="*/ 95094 w 658537"/>
                          <a:gd name="connsiteY842" fmla="*/ 69915 h 442393"/>
                          <a:gd name="connsiteX843" fmla="*/ 94974 w 658537"/>
                          <a:gd name="connsiteY843" fmla="*/ 70214 h 442393"/>
                          <a:gd name="connsiteX844" fmla="*/ 94854 w 658537"/>
                          <a:gd name="connsiteY844" fmla="*/ 70513 h 442393"/>
                          <a:gd name="connsiteX845" fmla="*/ 89352 w 658537"/>
                          <a:gd name="connsiteY845" fmla="*/ 66864 h 442393"/>
                          <a:gd name="connsiteX846" fmla="*/ 93838 w 658537"/>
                          <a:gd name="connsiteY846" fmla="*/ 69855 h 442393"/>
                          <a:gd name="connsiteX847" fmla="*/ 93957 w 658537"/>
                          <a:gd name="connsiteY847" fmla="*/ 69556 h 442393"/>
                          <a:gd name="connsiteX848" fmla="*/ 94077 w 658537"/>
                          <a:gd name="connsiteY848" fmla="*/ 69256 h 442393"/>
                          <a:gd name="connsiteX849" fmla="*/ 94196 w 658537"/>
                          <a:gd name="connsiteY849" fmla="*/ 68958 h 442393"/>
                          <a:gd name="connsiteX850" fmla="*/ 94316 w 658537"/>
                          <a:gd name="connsiteY850" fmla="*/ 68659 h 442393"/>
                          <a:gd name="connsiteX851" fmla="*/ 89472 w 658537"/>
                          <a:gd name="connsiteY851" fmla="*/ 65429 h 442393"/>
                          <a:gd name="connsiteX852" fmla="*/ 89472 w 658537"/>
                          <a:gd name="connsiteY852" fmla="*/ 65788 h 442393"/>
                          <a:gd name="connsiteX853" fmla="*/ 89472 w 658537"/>
                          <a:gd name="connsiteY853" fmla="*/ 66147 h 442393"/>
                          <a:gd name="connsiteX854" fmla="*/ 89472 w 658537"/>
                          <a:gd name="connsiteY854" fmla="*/ 66506 h 442393"/>
                          <a:gd name="connsiteX855" fmla="*/ 89352 w 658537"/>
                          <a:gd name="connsiteY855" fmla="*/ 66864 h 442393"/>
                          <a:gd name="connsiteX856" fmla="*/ 80202 w 658537"/>
                          <a:gd name="connsiteY856" fmla="*/ 60764 h 442393"/>
                          <a:gd name="connsiteX857" fmla="*/ 88156 w 658537"/>
                          <a:gd name="connsiteY857" fmla="*/ 66027 h 442393"/>
                          <a:gd name="connsiteX858" fmla="*/ 88156 w 658537"/>
                          <a:gd name="connsiteY858" fmla="*/ 65608 h 442393"/>
                          <a:gd name="connsiteX859" fmla="*/ 88096 w 658537"/>
                          <a:gd name="connsiteY859" fmla="*/ 65190 h 442393"/>
                          <a:gd name="connsiteX860" fmla="*/ 88036 w 658537"/>
                          <a:gd name="connsiteY860" fmla="*/ 64771 h 442393"/>
                          <a:gd name="connsiteX861" fmla="*/ 87917 w 658537"/>
                          <a:gd name="connsiteY861" fmla="*/ 64353 h 442393"/>
                          <a:gd name="connsiteX862" fmla="*/ 81936 w 658537"/>
                          <a:gd name="connsiteY862" fmla="*/ 60345 h 442393"/>
                          <a:gd name="connsiteX863" fmla="*/ 81517 w 658537"/>
                          <a:gd name="connsiteY863" fmla="*/ 60405 h 442393"/>
                          <a:gd name="connsiteX864" fmla="*/ 81099 w 658537"/>
                          <a:gd name="connsiteY864" fmla="*/ 60465 h 442393"/>
                          <a:gd name="connsiteX865" fmla="*/ 80680 w 658537"/>
                          <a:gd name="connsiteY865" fmla="*/ 60585 h 442393"/>
                          <a:gd name="connsiteX866" fmla="*/ 80202 w 658537"/>
                          <a:gd name="connsiteY866" fmla="*/ 60764 h 442393"/>
                          <a:gd name="connsiteX867" fmla="*/ 74400 w 658537"/>
                          <a:gd name="connsiteY867" fmla="*/ 56936 h 442393"/>
                          <a:gd name="connsiteX868" fmla="*/ 79065 w 658537"/>
                          <a:gd name="connsiteY868" fmla="*/ 60046 h 442393"/>
                          <a:gd name="connsiteX869" fmla="*/ 79424 w 658537"/>
                          <a:gd name="connsiteY869" fmla="*/ 59867 h 442393"/>
                          <a:gd name="connsiteX870" fmla="*/ 79783 w 658537"/>
                          <a:gd name="connsiteY870" fmla="*/ 59747 h 442393"/>
                          <a:gd name="connsiteX871" fmla="*/ 80142 w 658537"/>
                          <a:gd name="connsiteY871" fmla="*/ 59628 h 442393"/>
                          <a:gd name="connsiteX872" fmla="*/ 80501 w 658537"/>
                          <a:gd name="connsiteY872" fmla="*/ 59508 h 442393"/>
                          <a:gd name="connsiteX873" fmla="*/ 75477 w 658537"/>
                          <a:gd name="connsiteY873" fmla="*/ 56159 h 442393"/>
                          <a:gd name="connsiteX874" fmla="*/ 75178 w 658537"/>
                          <a:gd name="connsiteY874" fmla="*/ 56338 h 442393"/>
                          <a:gd name="connsiteX875" fmla="*/ 74879 w 658537"/>
                          <a:gd name="connsiteY875" fmla="*/ 56518 h 442393"/>
                          <a:gd name="connsiteX876" fmla="*/ 74580 w 658537"/>
                          <a:gd name="connsiteY876" fmla="*/ 56697 h 442393"/>
                          <a:gd name="connsiteX877" fmla="*/ 74400 w 658537"/>
                          <a:gd name="connsiteY877" fmla="*/ 56936 h 442393"/>
                          <a:gd name="connsiteX878" fmla="*/ 65669 w 658537"/>
                          <a:gd name="connsiteY878" fmla="*/ 51135 h 442393"/>
                          <a:gd name="connsiteX879" fmla="*/ 73384 w 658537"/>
                          <a:gd name="connsiteY879" fmla="*/ 56278 h 442393"/>
                          <a:gd name="connsiteX880" fmla="*/ 73623 w 658537"/>
                          <a:gd name="connsiteY880" fmla="*/ 56099 h 442393"/>
                          <a:gd name="connsiteX881" fmla="*/ 73922 w 658537"/>
                          <a:gd name="connsiteY881" fmla="*/ 55920 h 442393"/>
                          <a:gd name="connsiteX882" fmla="*/ 74221 w 658537"/>
                          <a:gd name="connsiteY882" fmla="*/ 55740 h 442393"/>
                          <a:gd name="connsiteX883" fmla="*/ 74520 w 658537"/>
                          <a:gd name="connsiteY883" fmla="*/ 55561 h 442393"/>
                          <a:gd name="connsiteX884" fmla="*/ 66506 w 658537"/>
                          <a:gd name="connsiteY884" fmla="*/ 50238 h 442393"/>
                          <a:gd name="connsiteX885" fmla="*/ 65669 w 658537"/>
                          <a:gd name="connsiteY885" fmla="*/ 51135 h 442393"/>
                          <a:gd name="connsiteX886" fmla="*/ 48563 w 658537"/>
                          <a:gd name="connsiteY886" fmla="*/ 39712 h 442393"/>
                          <a:gd name="connsiteX887" fmla="*/ 64652 w 658537"/>
                          <a:gd name="connsiteY887" fmla="*/ 50417 h 442393"/>
                          <a:gd name="connsiteX888" fmla="*/ 65429 w 658537"/>
                          <a:gd name="connsiteY888" fmla="*/ 49460 h 442393"/>
                          <a:gd name="connsiteX889" fmla="*/ 49341 w 658537"/>
                          <a:gd name="connsiteY889" fmla="*/ 38755 h 442393"/>
                          <a:gd name="connsiteX890" fmla="*/ 48563 w 658537"/>
                          <a:gd name="connsiteY890" fmla="*/ 39712 h 442393"/>
                          <a:gd name="connsiteX891" fmla="*/ 43061 w 658537"/>
                          <a:gd name="connsiteY891" fmla="*/ 36064 h 442393"/>
                          <a:gd name="connsiteX892" fmla="*/ 47547 w 658537"/>
                          <a:gd name="connsiteY892" fmla="*/ 39054 h 442393"/>
                          <a:gd name="connsiteX893" fmla="*/ 48324 w 658537"/>
                          <a:gd name="connsiteY893" fmla="*/ 38037 h 442393"/>
                          <a:gd name="connsiteX894" fmla="*/ 43839 w 658537"/>
                          <a:gd name="connsiteY894" fmla="*/ 35047 h 442393"/>
                          <a:gd name="connsiteX895" fmla="*/ 43061 w 658537"/>
                          <a:gd name="connsiteY895" fmla="*/ 36064 h 442393"/>
                          <a:gd name="connsiteX896" fmla="*/ 39114 w 658537"/>
                          <a:gd name="connsiteY896" fmla="*/ 33432 h 442393"/>
                          <a:gd name="connsiteX897" fmla="*/ 42105 w 658537"/>
                          <a:gd name="connsiteY897" fmla="*/ 35406 h 442393"/>
                          <a:gd name="connsiteX898" fmla="*/ 42882 w 658537"/>
                          <a:gd name="connsiteY898" fmla="*/ 34389 h 442393"/>
                          <a:gd name="connsiteX899" fmla="*/ 39592 w 658537"/>
                          <a:gd name="connsiteY899" fmla="*/ 32176 h 442393"/>
                          <a:gd name="connsiteX900" fmla="*/ 39473 w 658537"/>
                          <a:gd name="connsiteY900" fmla="*/ 32475 h 442393"/>
                          <a:gd name="connsiteX901" fmla="*/ 39353 w 658537"/>
                          <a:gd name="connsiteY901" fmla="*/ 32774 h 442393"/>
                          <a:gd name="connsiteX902" fmla="*/ 39234 w 658537"/>
                          <a:gd name="connsiteY902" fmla="*/ 33073 h 442393"/>
                          <a:gd name="connsiteX903" fmla="*/ 39114 w 658537"/>
                          <a:gd name="connsiteY903" fmla="*/ 33432 h 442393"/>
                          <a:gd name="connsiteX904" fmla="*/ 33313 w 658537"/>
                          <a:gd name="connsiteY904" fmla="*/ 29605 h 442393"/>
                          <a:gd name="connsiteX905" fmla="*/ 38037 w 658537"/>
                          <a:gd name="connsiteY905" fmla="*/ 32714 h 442393"/>
                          <a:gd name="connsiteX906" fmla="*/ 38157 w 658537"/>
                          <a:gd name="connsiteY906" fmla="*/ 32415 h 442393"/>
                          <a:gd name="connsiteX907" fmla="*/ 38277 w 658537"/>
                          <a:gd name="connsiteY907" fmla="*/ 32116 h 442393"/>
                          <a:gd name="connsiteX908" fmla="*/ 38397 w 658537"/>
                          <a:gd name="connsiteY908" fmla="*/ 31817 h 442393"/>
                          <a:gd name="connsiteX909" fmla="*/ 38516 w 658537"/>
                          <a:gd name="connsiteY909" fmla="*/ 31518 h 442393"/>
                          <a:gd name="connsiteX910" fmla="*/ 33432 w 658537"/>
                          <a:gd name="connsiteY910" fmla="*/ 28109 h 442393"/>
                          <a:gd name="connsiteX911" fmla="*/ 33432 w 658537"/>
                          <a:gd name="connsiteY911" fmla="*/ 28468 h 442393"/>
                          <a:gd name="connsiteX912" fmla="*/ 33432 w 658537"/>
                          <a:gd name="connsiteY912" fmla="*/ 28827 h 442393"/>
                          <a:gd name="connsiteX913" fmla="*/ 33432 w 658537"/>
                          <a:gd name="connsiteY913" fmla="*/ 29186 h 442393"/>
                          <a:gd name="connsiteX914" fmla="*/ 33313 w 658537"/>
                          <a:gd name="connsiteY914" fmla="*/ 29605 h 442393"/>
                          <a:gd name="connsiteX915" fmla="*/ 25777 w 658537"/>
                          <a:gd name="connsiteY915" fmla="*/ 24581 h 442393"/>
                          <a:gd name="connsiteX916" fmla="*/ 32057 w 658537"/>
                          <a:gd name="connsiteY916" fmla="*/ 28767 h 442393"/>
                          <a:gd name="connsiteX917" fmla="*/ 32057 w 658537"/>
                          <a:gd name="connsiteY917" fmla="*/ 28349 h 442393"/>
                          <a:gd name="connsiteX918" fmla="*/ 31997 w 658537"/>
                          <a:gd name="connsiteY918" fmla="*/ 27930 h 442393"/>
                          <a:gd name="connsiteX919" fmla="*/ 31937 w 658537"/>
                          <a:gd name="connsiteY919" fmla="*/ 27511 h 442393"/>
                          <a:gd name="connsiteX920" fmla="*/ 31817 w 658537"/>
                          <a:gd name="connsiteY920" fmla="*/ 27092 h 442393"/>
                          <a:gd name="connsiteX921" fmla="*/ 26554 w 658537"/>
                          <a:gd name="connsiteY921" fmla="*/ 23624 h 442393"/>
                          <a:gd name="connsiteX922" fmla="*/ 25777 w 658537"/>
                          <a:gd name="connsiteY922" fmla="*/ 24581 h 442393"/>
                          <a:gd name="connsiteX923" fmla="*/ 23624 w 658537"/>
                          <a:gd name="connsiteY923" fmla="*/ 23145 h 442393"/>
                          <a:gd name="connsiteX924" fmla="*/ 24760 w 658537"/>
                          <a:gd name="connsiteY924" fmla="*/ 23863 h 442393"/>
                          <a:gd name="connsiteX925" fmla="*/ 25538 w 658537"/>
                          <a:gd name="connsiteY925" fmla="*/ 22846 h 442393"/>
                          <a:gd name="connsiteX926" fmla="*/ 25478 w 658537"/>
                          <a:gd name="connsiteY926" fmla="*/ 22787 h 442393"/>
                          <a:gd name="connsiteX927" fmla="*/ 24999 w 658537"/>
                          <a:gd name="connsiteY927" fmla="*/ 22846 h 442393"/>
                          <a:gd name="connsiteX928" fmla="*/ 24521 w 658537"/>
                          <a:gd name="connsiteY928" fmla="*/ 22906 h 442393"/>
                          <a:gd name="connsiteX929" fmla="*/ 24043 w 658537"/>
                          <a:gd name="connsiteY929" fmla="*/ 23026 h 442393"/>
                          <a:gd name="connsiteX930" fmla="*/ 23624 w 658537"/>
                          <a:gd name="connsiteY930" fmla="*/ 23145 h 442393"/>
                          <a:gd name="connsiteX931" fmla="*/ 17464 w 658537"/>
                          <a:gd name="connsiteY931" fmla="*/ 19079 h 442393"/>
                          <a:gd name="connsiteX932" fmla="*/ 22368 w 658537"/>
                          <a:gd name="connsiteY932" fmla="*/ 22368 h 442393"/>
                          <a:gd name="connsiteX933" fmla="*/ 22727 w 658537"/>
                          <a:gd name="connsiteY933" fmla="*/ 22188 h 442393"/>
                          <a:gd name="connsiteX934" fmla="*/ 23086 w 658537"/>
                          <a:gd name="connsiteY934" fmla="*/ 22069 h 442393"/>
                          <a:gd name="connsiteX935" fmla="*/ 23504 w 658537"/>
                          <a:gd name="connsiteY935" fmla="*/ 21949 h 442393"/>
                          <a:gd name="connsiteX936" fmla="*/ 23923 w 658537"/>
                          <a:gd name="connsiteY936" fmla="*/ 21829 h 442393"/>
                          <a:gd name="connsiteX937" fmla="*/ 18660 w 658537"/>
                          <a:gd name="connsiteY937" fmla="*/ 18301 h 442393"/>
                          <a:gd name="connsiteX938" fmla="*/ 18361 w 658537"/>
                          <a:gd name="connsiteY938" fmla="*/ 18480 h 442393"/>
                          <a:gd name="connsiteX939" fmla="*/ 18062 w 658537"/>
                          <a:gd name="connsiteY939" fmla="*/ 18660 h 442393"/>
                          <a:gd name="connsiteX940" fmla="*/ 17763 w 658537"/>
                          <a:gd name="connsiteY940" fmla="*/ 18839 h 442393"/>
                          <a:gd name="connsiteX941" fmla="*/ 17464 w 658537"/>
                          <a:gd name="connsiteY941" fmla="*/ 19079 h 442393"/>
                          <a:gd name="connsiteX942" fmla="*/ 12380 w 658537"/>
                          <a:gd name="connsiteY942" fmla="*/ 15729 h 442393"/>
                          <a:gd name="connsiteX943" fmla="*/ 16328 w 658537"/>
                          <a:gd name="connsiteY943" fmla="*/ 18361 h 442393"/>
                          <a:gd name="connsiteX944" fmla="*/ 16627 w 658537"/>
                          <a:gd name="connsiteY944" fmla="*/ 18181 h 442393"/>
                          <a:gd name="connsiteX945" fmla="*/ 16926 w 658537"/>
                          <a:gd name="connsiteY945" fmla="*/ 18002 h 442393"/>
                          <a:gd name="connsiteX946" fmla="*/ 17225 w 658537"/>
                          <a:gd name="connsiteY946" fmla="*/ 17822 h 442393"/>
                          <a:gd name="connsiteX947" fmla="*/ 17523 w 658537"/>
                          <a:gd name="connsiteY947" fmla="*/ 17643 h 442393"/>
                          <a:gd name="connsiteX948" fmla="*/ 13218 w 658537"/>
                          <a:gd name="connsiteY948" fmla="*/ 14772 h 442393"/>
                          <a:gd name="connsiteX949" fmla="*/ 12380 w 658537"/>
                          <a:gd name="connsiteY949" fmla="*/ 15729 h 442393"/>
                          <a:gd name="connsiteX950" fmla="*/ 0 w 658537"/>
                          <a:gd name="connsiteY950" fmla="*/ 7476 h 442393"/>
                          <a:gd name="connsiteX951" fmla="*/ 11364 w 658537"/>
                          <a:gd name="connsiteY951" fmla="*/ 15012 h 442393"/>
                          <a:gd name="connsiteX952" fmla="*/ 12141 w 658537"/>
                          <a:gd name="connsiteY952" fmla="*/ 13995 h 442393"/>
                          <a:gd name="connsiteX953" fmla="*/ 1794 w 658537"/>
                          <a:gd name="connsiteY953" fmla="*/ 7117 h 442393"/>
                          <a:gd name="connsiteX954" fmla="*/ 6041 w 658537"/>
                          <a:gd name="connsiteY954" fmla="*/ 1734 h 442393"/>
                          <a:gd name="connsiteX955" fmla="*/ 16328 w 658537"/>
                          <a:gd name="connsiteY955" fmla="*/ 8612 h 442393"/>
                          <a:gd name="connsiteX956" fmla="*/ 17165 w 658537"/>
                          <a:gd name="connsiteY956" fmla="*/ 7595 h 442393"/>
                          <a:gd name="connsiteX957" fmla="*/ 5861 w 658537"/>
                          <a:gd name="connsiteY957" fmla="*/ 0 h 442393"/>
                          <a:gd name="connsiteX958" fmla="*/ 0 w 658537"/>
                          <a:gd name="connsiteY958" fmla="*/ 7476 h 442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Lst>
                        <a:rect l="l" t="t" r="r" b="b"/>
                        <a:pathLst>
                          <a:path w="658537" h="442393">
                            <a:moveTo>
                              <a:pt x="633179" y="421401"/>
                            </a:moveTo>
                            <a:lnTo>
                              <a:pt x="633837" y="421880"/>
                            </a:lnTo>
                            <a:cubicBezTo>
                              <a:pt x="633897" y="421820"/>
                              <a:pt x="633897" y="421760"/>
                              <a:pt x="633957" y="421701"/>
                            </a:cubicBezTo>
                            <a:cubicBezTo>
                              <a:pt x="634016" y="421641"/>
                              <a:pt x="634016" y="421581"/>
                              <a:pt x="634076" y="421521"/>
                            </a:cubicBezTo>
                            <a:cubicBezTo>
                              <a:pt x="634136" y="421461"/>
                              <a:pt x="634136" y="421401"/>
                              <a:pt x="634196" y="421342"/>
                            </a:cubicBezTo>
                            <a:cubicBezTo>
                              <a:pt x="634256" y="421282"/>
                              <a:pt x="634256" y="421222"/>
                              <a:pt x="634315" y="421162"/>
                            </a:cubicBezTo>
                            <a:lnTo>
                              <a:pt x="633658" y="420684"/>
                            </a:lnTo>
                            <a:cubicBezTo>
                              <a:pt x="633598" y="420744"/>
                              <a:pt x="633598" y="420803"/>
                              <a:pt x="633538" y="420863"/>
                            </a:cubicBezTo>
                            <a:cubicBezTo>
                              <a:pt x="633478" y="420923"/>
                              <a:pt x="633478" y="420983"/>
                              <a:pt x="633419" y="421043"/>
                            </a:cubicBezTo>
                            <a:cubicBezTo>
                              <a:pt x="633359" y="421102"/>
                              <a:pt x="633359" y="421162"/>
                              <a:pt x="633299" y="421222"/>
                            </a:cubicBezTo>
                            <a:cubicBezTo>
                              <a:pt x="633239" y="421282"/>
                              <a:pt x="633239" y="421342"/>
                              <a:pt x="633179" y="421401"/>
                            </a:cubicBezTo>
                            <a:moveTo>
                              <a:pt x="631445" y="420265"/>
                            </a:moveTo>
                            <a:lnTo>
                              <a:pt x="632641" y="421102"/>
                            </a:lnTo>
                            <a:cubicBezTo>
                              <a:pt x="632701" y="421043"/>
                              <a:pt x="632701" y="420983"/>
                              <a:pt x="632760" y="420863"/>
                            </a:cubicBezTo>
                            <a:cubicBezTo>
                              <a:pt x="632820" y="420744"/>
                              <a:pt x="632820" y="420744"/>
                              <a:pt x="632880" y="420624"/>
                            </a:cubicBezTo>
                            <a:cubicBezTo>
                              <a:pt x="632940" y="420564"/>
                              <a:pt x="632940" y="420505"/>
                              <a:pt x="633000" y="420445"/>
                            </a:cubicBezTo>
                            <a:cubicBezTo>
                              <a:pt x="633060" y="420385"/>
                              <a:pt x="633060" y="420325"/>
                              <a:pt x="633119" y="420265"/>
                            </a:cubicBezTo>
                            <a:lnTo>
                              <a:pt x="632043" y="419547"/>
                            </a:lnTo>
                            <a:cubicBezTo>
                              <a:pt x="631983" y="419607"/>
                              <a:pt x="631923" y="419667"/>
                              <a:pt x="631923" y="419727"/>
                            </a:cubicBezTo>
                            <a:cubicBezTo>
                              <a:pt x="631863" y="419787"/>
                              <a:pt x="631804" y="419847"/>
                              <a:pt x="631804" y="419906"/>
                            </a:cubicBezTo>
                            <a:cubicBezTo>
                              <a:pt x="631744" y="419966"/>
                              <a:pt x="631684" y="420026"/>
                              <a:pt x="631684" y="420086"/>
                            </a:cubicBezTo>
                            <a:cubicBezTo>
                              <a:pt x="631565" y="420146"/>
                              <a:pt x="631505" y="420206"/>
                              <a:pt x="631445" y="420265"/>
                            </a:cubicBezTo>
                            <a:moveTo>
                              <a:pt x="630249" y="419428"/>
                            </a:moveTo>
                            <a:lnTo>
                              <a:pt x="630906" y="419906"/>
                            </a:lnTo>
                            <a:cubicBezTo>
                              <a:pt x="630966" y="419847"/>
                              <a:pt x="631026" y="419787"/>
                              <a:pt x="631026" y="419727"/>
                            </a:cubicBezTo>
                            <a:cubicBezTo>
                              <a:pt x="631026" y="419667"/>
                              <a:pt x="631146" y="419607"/>
                              <a:pt x="631146" y="419547"/>
                            </a:cubicBezTo>
                            <a:cubicBezTo>
                              <a:pt x="631146" y="419488"/>
                              <a:pt x="631265" y="419428"/>
                              <a:pt x="631265" y="419368"/>
                            </a:cubicBezTo>
                            <a:cubicBezTo>
                              <a:pt x="631265" y="419308"/>
                              <a:pt x="631385" y="419248"/>
                              <a:pt x="631385" y="419189"/>
                            </a:cubicBezTo>
                            <a:lnTo>
                              <a:pt x="630727" y="418710"/>
                            </a:lnTo>
                            <a:cubicBezTo>
                              <a:pt x="630667" y="418770"/>
                              <a:pt x="630607" y="418830"/>
                              <a:pt x="630607" y="418890"/>
                            </a:cubicBezTo>
                            <a:cubicBezTo>
                              <a:pt x="630607" y="418949"/>
                              <a:pt x="630488" y="419009"/>
                              <a:pt x="630488" y="419069"/>
                            </a:cubicBezTo>
                            <a:cubicBezTo>
                              <a:pt x="630428" y="419129"/>
                              <a:pt x="630368" y="419189"/>
                              <a:pt x="630368" y="419248"/>
                            </a:cubicBezTo>
                            <a:cubicBezTo>
                              <a:pt x="630368" y="419308"/>
                              <a:pt x="630308" y="419368"/>
                              <a:pt x="630249" y="419428"/>
                            </a:cubicBezTo>
                            <a:moveTo>
                              <a:pt x="628215" y="418052"/>
                            </a:moveTo>
                            <a:lnTo>
                              <a:pt x="629770" y="419129"/>
                            </a:lnTo>
                            <a:cubicBezTo>
                              <a:pt x="629830" y="419069"/>
                              <a:pt x="629890" y="419009"/>
                              <a:pt x="629890" y="418949"/>
                            </a:cubicBezTo>
                            <a:cubicBezTo>
                              <a:pt x="629950" y="418890"/>
                              <a:pt x="630009" y="418830"/>
                              <a:pt x="630009" y="418770"/>
                            </a:cubicBezTo>
                            <a:cubicBezTo>
                              <a:pt x="630069" y="418710"/>
                              <a:pt x="630129" y="418651"/>
                              <a:pt x="630129" y="418591"/>
                            </a:cubicBezTo>
                            <a:cubicBezTo>
                              <a:pt x="630189" y="418531"/>
                              <a:pt x="630249" y="418471"/>
                              <a:pt x="630249" y="418411"/>
                            </a:cubicBezTo>
                            <a:lnTo>
                              <a:pt x="628694" y="417394"/>
                            </a:lnTo>
                            <a:cubicBezTo>
                              <a:pt x="628634" y="417454"/>
                              <a:pt x="628574" y="417514"/>
                              <a:pt x="628574" y="417574"/>
                            </a:cubicBezTo>
                            <a:cubicBezTo>
                              <a:pt x="628514" y="417634"/>
                              <a:pt x="628454" y="417693"/>
                              <a:pt x="628454" y="417753"/>
                            </a:cubicBezTo>
                            <a:cubicBezTo>
                              <a:pt x="628395" y="417813"/>
                              <a:pt x="628335" y="417873"/>
                              <a:pt x="628335" y="417933"/>
                            </a:cubicBezTo>
                            <a:cubicBezTo>
                              <a:pt x="628275" y="417933"/>
                              <a:pt x="628275" y="417992"/>
                              <a:pt x="628215" y="418052"/>
                            </a:cubicBezTo>
                            <a:moveTo>
                              <a:pt x="627019" y="417275"/>
                            </a:moveTo>
                            <a:lnTo>
                              <a:pt x="627677" y="417693"/>
                            </a:lnTo>
                            <a:cubicBezTo>
                              <a:pt x="627737" y="417634"/>
                              <a:pt x="627797" y="417574"/>
                              <a:pt x="627797" y="417514"/>
                            </a:cubicBezTo>
                            <a:cubicBezTo>
                              <a:pt x="627857" y="417454"/>
                              <a:pt x="627916" y="417394"/>
                              <a:pt x="627916" y="417335"/>
                            </a:cubicBezTo>
                            <a:cubicBezTo>
                              <a:pt x="627916" y="417275"/>
                              <a:pt x="628036" y="417215"/>
                              <a:pt x="628036" y="417155"/>
                            </a:cubicBezTo>
                            <a:cubicBezTo>
                              <a:pt x="628036" y="417095"/>
                              <a:pt x="628155" y="417036"/>
                              <a:pt x="628155" y="416976"/>
                            </a:cubicBezTo>
                            <a:lnTo>
                              <a:pt x="627498" y="416557"/>
                            </a:lnTo>
                            <a:cubicBezTo>
                              <a:pt x="627438" y="416617"/>
                              <a:pt x="627378" y="416677"/>
                              <a:pt x="627378" y="416737"/>
                            </a:cubicBezTo>
                            <a:cubicBezTo>
                              <a:pt x="627318" y="416796"/>
                              <a:pt x="627258" y="416856"/>
                              <a:pt x="627258" y="416916"/>
                            </a:cubicBezTo>
                            <a:cubicBezTo>
                              <a:pt x="627198" y="416976"/>
                              <a:pt x="627138" y="417036"/>
                              <a:pt x="627138" y="417095"/>
                            </a:cubicBezTo>
                            <a:cubicBezTo>
                              <a:pt x="627138" y="417155"/>
                              <a:pt x="627079" y="417215"/>
                              <a:pt x="627019" y="417275"/>
                            </a:cubicBezTo>
                            <a:moveTo>
                              <a:pt x="614818" y="409141"/>
                            </a:moveTo>
                            <a:lnTo>
                              <a:pt x="626481" y="416976"/>
                            </a:lnTo>
                            <a:cubicBezTo>
                              <a:pt x="626541" y="416916"/>
                              <a:pt x="626600" y="416856"/>
                              <a:pt x="626600" y="416796"/>
                            </a:cubicBezTo>
                            <a:cubicBezTo>
                              <a:pt x="626660" y="416737"/>
                              <a:pt x="626720" y="416677"/>
                              <a:pt x="626720" y="416617"/>
                            </a:cubicBezTo>
                            <a:cubicBezTo>
                              <a:pt x="626720" y="416557"/>
                              <a:pt x="626840" y="416497"/>
                              <a:pt x="626840" y="416438"/>
                            </a:cubicBezTo>
                            <a:cubicBezTo>
                              <a:pt x="626899" y="416378"/>
                              <a:pt x="626959" y="416318"/>
                              <a:pt x="626959" y="416258"/>
                            </a:cubicBezTo>
                            <a:lnTo>
                              <a:pt x="615297" y="408423"/>
                            </a:lnTo>
                            <a:lnTo>
                              <a:pt x="614818" y="409141"/>
                            </a:lnTo>
                            <a:moveTo>
                              <a:pt x="609556" y="405613"/>
                            </a:moveTo>
                            <a:lnTo>
                              <a:pt x="614280" y="408782"/>
                            </a:lnTo>
                            <a:lnTo>
                              <a:pt x="614878" y="408065"/>
                            </a:lnTo>
                            <a:lnTo>
                              <a:pt x="609256" y="404297"/>
                            </a:lnTo>
                            <a:cubicBezTo>
                              <a:pt x="609316" y="404416"/>
                              <a:pt x="609316" y="404536"/>
                              <a:pt x="609376" y="404596"/>
                            </a:cubicBezTo>
                            <a:cubicBezTo>
                              <a:pt x="609436" y="404715"/>
                              <a:pt x="609436" y="404835"/>
                              <a:pt x="609436" y="404895"/>
                            </a:cubicBezTo>
                            <a:cubicBezTo>
                              <a:pt x="609436" y="405014"/>
                              <a:pt x="609496" y="405134"/>
                              <a:pt x="609496" y="405254"/>
                            </a:cubicBezTo>
                            <a:cubicBezTo>
                              <a:pt x="609556" y="405373"/>
                              <a:pt x="609556" y="405493"/>
                              <a:pt x="609556" y="405613"/>
                            </a:cubicBezTo>
                            <a:moveTo>
                              <a:pt x="603515" y="401545"/>
                            </a:moveTo>
                            <a:lnTo>
                              <a:pt x="608539" y="404895"/>
                            </a:lnTo>
                            <a:cubicBezTo>
                              <a:pt x="608479" y="404715"/>
                              <a:pt x="608419" y="404536"/>
                              <a:pt x="608359" y="404416"/>
                            </a:cubicBezTo>
                            <a:cubicBezTo>
                              <a:pt x="608299" y="404297"/>
                              <a:pt x="608240" y="404117"/>
                              <a:pt x="608120" y="403938"/>
                            </a:cubicBezTo>
                            <a:cubicBezTo>
                              <a:pt x="608060" y="403759"/>
                              <a:pt x="607941" y="403639"/>
                              <a:pt x="607821" y="403519"/>
                            </a:cubicBezTo>
                            <a:cubicBezTo>
                              <a:pt x="607701" y="403400"/>
                              <a:pt x="607642" y="403220"/>
                              <a:pt x="607522" y="403100"/>
                            </a:cubicBezTo>
                            <a:lnTo>
                              <a:pt x="605668" y="401845"/>
                            </a:lnTo>
                            <a:cubicBezTo>
                              <a:pt x="605488" y="401785"/>
                              <a:pt x="605309" y="401725"/>
                              <a:pt x="605129" y="401665"/>
                            </a:cubicBezTo>
                            <a:cubicBezTo>
                              <a:pt x="604950" y="401605"/>
                              <a:pt x="604771" y="401605"/>
                              <a:pt x="604591" y="401545"/>
                            </a:cubicBezTo>
                            <a:cubicBezTo>
                              <a:pt x="604412" y="401545"/>
                              <a:pt x="604233" y="401486"/>
                              <a:pt x="604053" y="401486"/>
                            </a:cubicBezTo>
                            <a:cubicBezTo>
                              <a:pt x="603934" y="401545"/>
                              <a:pt x="603754" y="401545"/>
                              <a:pt x="603515" y="401545"/>
                            </a:cubicBezTo>
                            <a:moveTo>
                              <a:pt x="583898" y="388448"/>
                            </a:moveTo>
                            <a:lnTo>
                              <a:pt x="602498" y="400888"/>
                            </a:lnTo>
                            <a:cubicBezTo>
                              <a:pt x="602618" y="400888"/>
                              <a:pt x="602737" y="400828"/>
                              <a:pt x="602857" y="400828"/>
                            </a:cubicBezTo>
                            <a:cubicBezTo>
                              <a:pt x="602976" y="400828"/>
                              <a:pt x="603096" y="400768"/>
                              <a:pt x="603216" y="400768"/>
                            </a:cubicBezTo>
                            <a:cubicBezTo>
                              <a:pt x="603335" y="400768"/>
                              <a:pt x="603455" y="400768"/>
                              <a:pt x="603575" y="400768"/>
                            </a:cubicBezTo>
                            <a:cubicBezTo>
                              <a:pt x="603694" y="400768"/>
                              <a:pt x="603814" y="400768"/>
                              <a:pt x="603934" y="400768"/>
                            </a:cubicBezTo>
                            <a:lnTo>
                              <a:pt x="584436" y="387730"/>
                            </a:lnTo>
                            <a:lnTo>
                              <a:pt x="583898" y="388448"/>
                            </a:lnTo>
                            <a:moveTo>
                              <a:pt x="579412" y="385398"/>
                            </a:moveTo>
                            <a:lnTo>
                              <a:pt x="583360" y="388029"/>
                            </a:lnTo>
                            <a:lnTo>
                              <a:pt x="583958" y="387252"/>
                            </a:lnTo>
                            <a:lnTo>
                              <a:pt x="579113" y="383962"/>
                            </a:lnTo>
                            <a:cubicBezTo>
                              <a:pt x="579173" y="384082"/>
                              <a:pt x="579173" y="384201"/>
                              <a:pt x="579233" y="384261"/>
                            </a:cubicBezTo>
                            <a:cubicBezTo>
                              <a:pt x="579293" y="384381"/>
                              <a:pt x="579293" y="384500"/>
                              <a:pt x="579293" y="384620"/>
                            </a:cubicBezTo>
                            <a:cubicBezTo>
                              <a:pt x="579293" y="384740"/>
                              <a:pt x="579353" y="384859"/>
                              <a:pt x="579353" y="384979"/>
                            </a:cubicBezTo>
                            <a:cubicBezTo>
                              <a:pt x="579353" y="385158"/>
                              <a:pt x="579412" y="385278"/>
                              <a:pt x="579412" y="385398"/>
                            </a:cubicBezTo>
                            <a:moveTo>
                              <a:pt x="574688" y="382228"/>
                            </a:moveTo>
                            <a:lnTo>
                              <a:pt x="578396" y="384680"/>
                            </a:lnTo>
                            <a:cubicBezTo>
                              <a:pt x="578336" y="384500"/>
                              <a:pt x="578276" y="384321"/>
                              <a:pt x="578216" y="384142"/>
                            </a:cubicBezTo>
                            <a:cubicBezTo>
                              <a:pt x="578157" y="383962"/>
                              <a:pt x="578037" y="383843"/>
                              <a:pt x="577977" y="383663"/>
                            </a:cubicBezTo>
                            <a:cubicBezTo>
                              <a:pt x="577917" y="383484"/>
                              <a:pt x="577798" y="383364"/>
                              <a:pt x="577678" y="383185"/>
                            </a:cubicBezTo>
                            <a:cubicBezTo>
                              <a:pt x="577558" y="383005"/>
                              <a:pt x="577439" y="382886"/>
                              <a:pt x="577319" y="382766"/>
                            </a:cubicBezTo>
                            <a:lnTo>
                              <a:pt x="575405" y="381450"/>
                            </a:lnTo>
                            <a:cubicBezTo>
                              <a:pt x="575405" y="381450"/>
                              <a:pt x="575405" y="381450"/>
                              <a:pt x="575346" y="381450"/>
                            </a:cubicBezTo>
                            <a:cubicBezTo>
                              <a:pt x="575346" y="381450"/>
                              <a:pt x="575346" y="381450"/>
                              <a:pt x="575286" y="381450"/>
                            </a:cubicBezTo>
                            <a:cubicBezTo>
                              <a:pt x="575226" y="381450"/>
                              <a:pt x="575286" y="381450"/>
                              <a:pt x="575226" y="381450"/>
                            </a:cubicBezTo>
                            <a:cubicBezTo>
                              <a:pt x="575166" y="381450"/>
                              <a:pt x="575226" y="381450"/>
                              <a:pt x="575166" y="381450"/>
                            </a:cubicBezTo>
                            <a:lnTo>
                              <a:pt x="574688" y="382228"/>
                            </a:lnTo>
                            <a:moveTo>
                              <a:pt x="573133" y="381211"/>
                            </a:moveTo>
                            <a:lnTo>
                              <a:pt x="574149" y="381869"/>
                            </a:lnTo>
                            <a:lnTo>
                              <a:pt x="574568" y="381331"/>
                            </a:lnTo>
                            <a:cubicBezTo>
                              <a:pt x="574448" y="381331"/>
                              <a:pt x="574329" y="381271"/>
                              <a:pt x="574209" y="381271"/>
                            </a:cubicBezTo>
                            <a:cubicBezTo>
                              <a:pt x="574090" y="381271"/>
                              <a:pt x="573970" y="381211"/>
                              <a:pt x="573850" y="381211"/>
                            </a:cubicBezTo>
                            <a:cubicBezTo>
                              <a:pt x="573731" y="381211"/>
                              <a:pt x="573611" y="381211"/>
                              <a:pt x="573492" y="381211"/>
                            </a:cubicBezTo>
                            <a:cubicBezTo>
                              <a:pt x="573372" y="381211"/>
                              <a:pt x="573252" y="381211"/>
                              <a:pt x="573133" y="381211"/>
                            </a:cubicBezTo>
                            <a:moveTo>
                              <a:pt x="567571" y="377503"/>
                            </a:moveTo>
                            <a:lnTo>
                              <a:pt x="572116" y="380553"/>
                            </a:lnTo>
                            <a:cubicBezTo>
                              <a:pt x="572235" y="380553"/>
                              <a:pt x="572355" y="380493"/>
                              <a:pt x="572475" y="380493"/>
                            </a:cubicBezTo>
                            <a:cubicBezTo>
                              <a:pt x="572594" y="380493"/>
                              <a:pt x="572714" y="380434"/>
                              <a:pt x="572834" y="380434"/>
                            </a:cubicBezTo>
                            <a:cubicBezTo>
                              <a:pt x="572953" y="380434"/>
                              <a:pt x="573073" y="380434"/>
                              <a:pt x="573193" y="380434"/>
                            </a:cubicBezTo>
                            <a:cubicBezTo>
                              <a:pt x="573312" y="380434"/>
                              <a:pt x="573432" y="380434"/>
                              <a:pt x="573551" y="380434"/>
                            </a:cubicBezTo>
                            <a:lnTo>
                              <a:pt x="568109" y="376785"/>
                            </a:lnTo>
                            <a:lnTo>
                              <a:pt x="567571" y="377503"/>
                            </a:lnTo>
                            <a:moveTo>
                              <a:pt x="353102" y="233966"/>
                            </a:moveTo>
                            <a:lnTo>
                              <a:pt x="566972" y="377084"/>
                            </a:lnTo>
                            <a:lnTo>
                              <a:pt x="567571" y="376307"/>
                            </a:lnTo>
                            <a:lnTo>
                              <a:pt x="353520" y="232889"/>
                            </a:lnTo>
                            <a:cubicBezTo>
                              <a:pt x="353461" y="232949"/>
                              <a:pt x="353461" y="233069"/>
                              <a:pt x="353401" y="233128"/>
                            </a:cubicBezTo>
                            <a:cubicBezTo>
                              <a:pt x="353341" y="233188"/>
                              <a:pt x="353341" y="233308"/>
                              <a:pt x="353281" y="233368"/>
                            </a:cubicBezTo>
                            <a:cubicBezTo>
                              <a:pt x="353221" y="233427"/>
                              <a:pt x="353221" y="233547"/>
                              <a:pt x="353162" y="233607"/>
                            </a:cubicBezTo>
                            <a:cubicBezTo>
                              <a:pt x="353221" y="233786"/>
                              <a:pt x="353162" y="233906"/>
                              <a:pt x="353102" y="233966"/>
                            </a:cubicBezTo>
                            <a:moveTo>
                              <a:pt x="351367" y="232770"/>
                            </a:moveTo>
                            <a:lnTo>
                              <a:pt x="352384" y="233427"/>
                            </a:lnTo>
                            <a:cubicBezTo>
                              <a:pt x="352444" y="233308"/>
                              <a:pt x="352444" y="233248"/>
                              <a:pt x="352504" y="233128"/>
                            </a:cubicBezTo>
                            <a:cubicBezTo>
                              <a:pt x="352564" y="233009"/>
                              <a:pt x="352564" y="232949"/>
                              <a:pt x="352624" y="232829"/>
                            </a:cubicBezTo>
                            <a:cubicBezTo>
                              <a:pt x="352683" y="232710"/>
                              <a:pt x="352683" y="232650"/>
                              <a:pt x="352743" y="232530"/>
                            </a:cubicBezTo>
                            <a:cubicBezTo>
                              <a:pt x="352803" y="232411"/>
                              <a:pt x="352803" y="232351"/>
                              <a:pt x="352863" y="232291"/>
                            </a:cubicBezTo>
                            <a:lnTo>
                              <a:pt x="351846" y="231573"/>
                            </a:lnTo>
                            <a:cubicBezTo>
                              <a:pt x="351846" y="231693"/>
                              <a:pt x="351786" y="231753"/>
                              <a:pt x="351786" y="231872"/>
                            </a:cubicBezTo>
                            <a:cubicBezTo>
                              <a:pt x="351786" y="231992"/>
                              <a:pt x="351726" y="232052"/>
                              <a:pt x="351726" y="232172"/>
                            </a:cubicBezTo>
                            <a:cubicBezTo>
                              <a:pt x="351666" y="232291"/>
                              <a:pt x="351666" y="232351"/>
                              <a:pt x="351607" y="232471"/>
                            </a:cubicBezTo>
                            <a:cubicBezTo>
                              <a:pt x="351427" y="232590"/>
                              <a:pt x="351367" y="232710"/>
                              <a:pt x="351367" y="232770"/>
                            </a:cubicBezTo>
                            <a:moveTo>
                              <a:pt x="349095" y="231274"/>
                            </a:moveTo>
                            <a:lnTo>
                              <a:pt x="350590" y="232231"/>
                            </a:lnTo>
                            <a:cubicBezTo>
                              <a:pt x="350650" y="232112"/>
                              <a:pt x="350650" y="232052"/>
                              <a:pt x="350710" y="231932"/>
                            </a:cubicBezTo>
                            <a:cubicBezTo>
                              <a:pt x="350770" y="231813"/>
                              <a:pt x="350770" y="231753"/>
                              <a:pt x="350770" y="231633"/>
                            </a:cubicBezTo>
                            <a:cubicBezTo>
                              <a:pt x="350770" y="231513"/>
                              <a:pt x="350829" y="231454"/>
                              <a:pt x="350829" y="231334"/>
                            </a:cubicBezTo>
                            <a:cubicBezTo>
                              <a:pt x="350829" y="231215"/>
                              <a:pt x="350889" y="231155"/>
                              <a:pt x="350889" y="231035"/>
                            </a:cubicBezTo>
                            <a:lnTo>
                              <a:pt x="349633" y="230198"/>
                            </a:lnTo>
                            <a:cubicBezTo>
                              <a:pt x="349573" y="230258"/>
                              <a:pt x="349513" y="230377"/>
                              <a:pt x="349513" y="230437"/>
                            </a:cubicBezTo>
                            <a:cubicBezTo>
                              <a:pt x="349454" y="230497"/>
                              <a:pt x="349394" y="230617"/>
                              <a:pt x="349394" y="230676"/>
                            </a:cubicBezTo>
                            <a:cubicBezTo>
                              <a:pt x="349334" y="230736"/>
                              <a:pt x="349274" y="230856"/>
                              <a:pt x="349274" y="230916"/>
                            </a:cubicBezTo>
                            <a:cubicBezTo>
                              <a:pt x="349274" y="230975"/>
                              <a:pt x="349095" y="231215"/>
                              <a:pt x="349095" y="231274"/>
                            </a:cubicBezTo>
                            <a:moveTo>
                              <a:pt x="347360" y="230138"/>
                            </a:moveTo>
                            <a:lnTo>
                              <a:pt x="348317" y="230796"/>
                            </a:lnTo>
                            <a:cubicBezTo>
                              <a:pt x="348377" y="230736"/>
                              <a:pt x="348437" y="230617"/>
                              <a:pt x="348437" y="230557"/>
                            </a:cubicBezTo>
                            <a:cubicBezTo>
                              <a:pt x="348497" y="230497"/>
                              <a:pt x="348557" y="230377"/>
                              <a:pt x="348557" y="230318"/>
                            </a:cubicBezTo>
                            <a:cubicBezTo>
                              <a:pt x="348617" y="230258"/>
                              <a:pt x="348676" y="230138"/>
                              <a:pt x="348676" y="230078"/>
                            </a:cubicBezTo>
                            <a:cubicBezTo>
                              <a:pt x="348736" y="230018"/>
                              <a:pt x="348796" y="229899"/>
                              <a:pt x="348796" y="229839"/>
                            </a:cubicBezTo>
                            <a:lnTo>
                              <a:pt x="347839" y="229181"/>
                            </a:lnTo>
                            <a:cubicBezTo>
                              <a:pt x="347779" y="229241"/>
                              <a:pt x="347719" y="229361"/>
                              <a:pt x="347719" y="229420"/>
                            </a:cubicBezTo>
                            <a:cubicBezTo>
                              <a:pt x="347719" y="229480"/>
                              <a:pt x="347600" y="229600"/>
                              <a:pt x="347600" y="229659"/>
                            </a:cubicBezTo>
                            <a:cubicBezTo>
                              <a:pt x="347600" y="229719"/>
                              <a:pt x="347480" y="229839"/>
                              <a:pt x="347480" y="229899"/>
                            </a:cubicBezTo>
                            <a:cubicBezTo>
                              <a:pt x="347480" y="229959"/>
                              <a:pt x="347420" y="230018"/>
                              <a:pt x="347360" y="230138"/>
                            </a:cubicBezTo>
                            <a:moveTo>
                              <a:pt x="344250" y="228045"/>
                            </a:moveTo>
                            <a:lnTo>
                              <a:pt x="346643" y="229600"/>
                            </a:lnTo>
                            <a:cubicBezTo>
                              <a:pt x="346703" y="229540"/>
                              <a:pt x="346763" y="229420"/>
                              <a:pt x="346763" y="229361"/>
                            </a:cubicBezTo>
                            <a:cubicBezTo>
                              <a:pt x="346822" y="229301"/>
                              <a:pt x="346882" y="229181"/>
                              <a:pt x="346882" y="229121"/>
                            </a:cubicBezTo>
                            <a:cubicBezTo>
                              <a:pt x="346882" y="229062"/>
                              <a:pt x="347002" y="228942"/>
                              <a:pt x="347002" y="228882"/>
                            </a:cubicBezTo>
                            <a:cubicBezTo>
                              <a:pt x="347062" y="228822"/>
                              <a:pt x="347121" y="228703"/>
                              <a:pt x="347121" y="228643"/>
                            </a:cubicBezTo>
                            <a:lnTo>
                              <a:pt x="344789" y="227088"/>
                            </a:lnTo>
                            <a:cubicBezTo>
                              <a:pt x="344729" y="227148"/>
                              <a:pt x="344669" y="227267"/>
                              <a:pt x="344669" y="227327"/>
                            </a:cubicBezTo>
                            <a:cubicBezTo>
                              <a:pt x="344669" y="227387"/>
                              <a:pt x="344549" y="227507"/>
                              <a:pt x="344549" y="227566"/>
                            </a:cubicBezTo>
                            <a:cubicBezTo>
                              <a:pt x="344490" y="227626"/>
                              <a:pt x="344430" y="227746"/>
                              <a:pt x="344370" y="227805"/>
                            </a:cubicBezTo>
                            <a:cubicBezTo>
                              <a:pt x="344370" y="227865"/>
                              <a:pt x="344310" y="227985"/>
                              <a:pt x="344250" y="228045"/>
                            </a:cubicBezTo>
                            <a:moveTo>
                              <a:pt x="342576" y="226909"/>
                            </a:moveTo>
                            <a:lnTo>
                              <a:pt x="343533" y="227566"/>
                            </a:lnTo>
                            <a:cubicBezTo>
                              <a:pt x="343593" y="227507"/>
                              <a:pt x="343652" y="227387"/>
                              <a:pt x="343712" y="227327"/>
                            </a:cubicBezTo>
                            <a:cubicBezTo>
                              <a:pt x="343772" y="227267"/>
                              <a:pt x="343832" y="227148"/>
                              <a:pt x="343892" y="227088"/>
                            </a:cubicBezTo>
                            <a:cubicBezTo>
                              <a:pt x="343951" y="227028"/>
                              <a:pt x="344011" y="226909"/>
                              <a:pt x="344011" y="226849"/>
                            </a:cubicBezTo>
                            <a:cubicBezTo>
                              <a:pt x="344071" y="226789"/>
                              <a:pt x="344131" y="226669"/>
                              <a:pt x="344131" y="226609"/>
                            </a:cubicBezTo>
                            <a:lnTo>
                              <a:pt x="343174" y="225951"/>
                            </a:lnTo>
                            <a:cubicBezTo>
                              <a:pt x="343114" y="226011"/>
                              <a:pt x="343054" y="226131"/>
                              <a:pt x="343054" y="226191"/>
                            </a:cubicBezTo>
                            <a:cubicBezTo>
                              <a:pt x="342995" y="226250"/>
                              <a:pt x="342935" y="226370"/>
                              <a:pt x="342935" y="226430"/>
                            </a:cubicBezTo>
                            <a:cubicBezTo>
                              <a:pt x="342935" y="226490"/>
                              <a:pt x="342815" y="226609"/>
                              <a:pt x="342815" y="226669"/>
                            </a:cubicBezTo>
                            <a:cubicBezTo>
                              <a:pt x="342636" y="226729"/>
                              <a:pt x="342576" y="226789"/>
                              <a:pt x="342576" y="226909"/>
                            </a:cubicBezTo>
                            <a:moveTo>
                              <a:pt x="326308" y="216024"/>
                            </a:moveTo>
                            <a:lnTo>
                              <a:pt x="341798" y="226430"/>
                            </a:lnTo>
                            <a:cubicBezTo>
                              <a:pt x="341858" y="226370"/>
                              <a:pt x="341918" y="226250"/>
                              <a:pt x="341978" y="226191"/>
                            </a:cubicBezTo>
                            <a:cubicBezTo>
                              <a:pt x="342038" y="226131"/>
                              <a:pt x="342097" y="226011"/>
                              <a:pt x="342097" y="225951"/>
                            </a:cubicBezTo>
                            <a:cubicBezTo>
                              <a:pt x="342157" y="225892"/>
                              <a:pt x="342217" y="225772"/>
                              <a:pt x="342217" y="225712"/>
                            </a:cubicBezTo>
                            <a:cubicBezTo>
                              <a:pt x="342277" y="225653"/>
                              <a:pt x="342337" y="225533"/>
                              <a:pt x="342337" y="225473"/>
                            </a:cubicBezTo>
                            <a:lnTo>
                              <a:pt x="326966" y="215186"/>
                            </a:lnTo>
                            <a:lnTo>
                              <a:pt x="326308" y="216024"/>
                            </a:lnTo>
                            <a:moveTo>
                              <a:pt x="318713" y="210940"/>
                            </a:moveTo>
                            <a:lnTo>
                              <a:pt x="325591" y="215545"/>
                            </a:lnTo>
                            <a:lnTo>
                              <a:pt x="326308" y="214648"/>
                            </a:lnTo>
                            <a:lnTo>
                              <a:pt x="318175" y="209206"/>
                            </a:lnTo>
                            <a:cubicBezTo>
                              <a:pt x="318234" y="209325"/>
                              <a:pt x="318294" y="209504"/>
                              <a:pt x="318354" y="209624"/>
                            </a:cubicBezTo>
                            <a:cubicBezTo>
                              <a:pt x="318414" y="209744"/>
                              <a:pt x="318473" y="209923"/>
                              <a:pt x="318533" y="210043"/>
                            </a:cubicBezTo>
                            <a:cubicBezTo>
                              <a:pt x="318593" y="210162"/>
                              <a:pt x="318653" y="210342"/>
                              <a:pt x="318653" y="210462"/>
                            </a:cubicBezTo>
                            <a:cubicBezTo>
                              <a:pt x="318653" y="210641"/>
                              <a:pt x="318713" y="210820"/>
                              <a:pt x="318713" y="210940"/>
                            </a:cubicBezTo>
                            <a:moveTo>
                              <a:pt x="309981" y="205139"/>
                            </a:moveTo>
                            <a:lnTo>
                              <a:pt x="317277" y="209983"/>
                            </a:lnTo>
                            <a:cubicBezTo>
                              <a:pt x="317158" y="209744"/>
                              <a:pt x="317098" y="209564"/>
                              <a:pt x="316978" y="209325"/>
                            </a:cubicBezTo>
                            <a:cubicBezTo>
                              <a:pt x="316859" y="209086"/>
                              <a:pt x="316739" y="208907"/>
                              <a:pt x="316619" y="208727"/>
                            </a:cubicBezTo>
                            <a:cubicBezTo>
                              <a:pt x="316500" y="208548"/>
                              <a:pt x="316321" y="208308"/>
                              <a:pt x="316201" y="208129"/>
                            </a:cubicBezTo>
                            <a:cubicBezTo>
                              <a:pt x="316022" y="207949"/>
                              <a:pt x="315902" y="207770"/>
                              <a:pt x="315723" y="207591"/>
                            </a:cubicBezTo>
                            <a:lnTo>
                              <a:pt x="313031" y="205796"/>
                            </a:lnTo>
                            <a:cubicBezTo>
                              <a:pt x="312792" y="205677"/>
                              <a:pt x="312553" y="205617"/>
                              <a:pt x="312314" y="205557"/>
                            </a:cubicBezTo>
                            <a:cubicBezTo>
                              <a:pt x="312074" y="205498"/>
                              <a:pt x="311835" y="205438"/>
                              <a:pt x="311596" y="205378"/>
                            </a:cubicBezTo>
                            <a:cubicBezTo>
                              <a:pt x="311356" y="205318"/>
                              <a:pt x="311117" y="205258"/>
                              <a:pt x="310818" y="205258"/>
                            </a:cubicBezTo>
                            <a:cubicBezTo>
                              <a:pt x="310519" y="205258"/>
                              <a:pt x="310280" y="205139"/>
                              <a:pt x="309981" y="205139"/>
                            </a:cubicBezTo>
                            <a:moveTo>
                              <a:pt x="281573" y="186060"/>
                            </a:moveTo>
                            <a:lnTo>
                              <a:pt x="308546" y="204122"/>
                            </a:lnTo>
                            <a:cubicBezTo>
                              <a:pt x="308725" y="204122"/>
                              <a:pt x="308904" y="204062"/>
                              <a:pt x="309024" y="204062"/>
                            </a:cubicBezTo>
                            <a:cubicBezTo>
                              <a:pt x="309203" y="204062"/>
                              <a:pt x="309383" y="204062"/>
                              <a:pt x="309502" y="204062"/>
                            </a:cubicBezTo>
                            <a:cubicBezTo>
                              <a:pt x="309682" y="204062"/>
                              <a:pt x="309861" y="204062"/>
                              <a:pt x="309981" y="204062"/>
                            </a:cubicBezTo>
                            <a:cubicBezTo>
                              <a:pt x="310160" y="204062"/>
                              <a:pt x="310280" y="204062"/>
                              <a:pt x="310460" y="204062"/>
                            </a:cubicBezTo>
                            <a:lnTo>
                              <a:pt x="282230" y="185163"/>
                            </a:lnTo>
                            <a:lnTo>
                              <a:pt x="281573" y="186060"/>
                            </a:lnTo>
                            <a:moveTo>
                              <a:pt x="274994" y="181694"/>
                            </a:moveTo>
                            <a:lnTo>
                              <a:pt x="280735" y="185582"/>
                            </a:lnTo>
                            <a:lnTo>
                              <a:pt x="281453" y="184685"/>
                            </a:lnTo>
                            <a:lnTo>
                              <a:pt x="274336" y="179900"/>
                            </a:lnTo>
                            <a:cubicBezTo>
                              <a:pt x="274396" y="180020"/>
                              <a:pt x="274455" y="180199"/>
                              <a:pt x="274515" y="180319"/>
                            </a:cubicBezTo>
                            <a:cubicBezTo>
                              <a:pt x="274575" y="180438"/>
                              <a:pt x="274635" y="180618"/>
                              <a:pt x="274695" y="180737"/>
                            </a:cubicBezTo>
                            <a:cubicBezTo>
                              <a:pt x="274754" y="180857"/>
                              <a:pt x="274814" y="181036"/>
                              <a:pt x="274814" y="181216"/>
                            </a:cubicBezTo>
                            <a:cubicBezTo>
                              <a:pt x="274934" y="181395"/>
                              <a:pt x="274994" y="181515"/>
                              <a:pt x="274994" y="181694"/>
                            </a:cubicBezTo>
                            <a:moveTo>
                              <a:pt x="268116" y="177089"/>
                            </a:moveTo>
                            <a:lnTo>
                              <a:pt x="273499" y="180677"/>
                            </a:lnTo>
                            <a:cubicBezTo>
                              <a:pt x="273379" y="180438"/>
                              <a:pt x="273259" y="180199"/>
                              <a:pt x="273140" y="180020"/>
                            </a:cubicBezTo>
                            <a:cubicBezTo>
                              <a:pt x="273020" y="179840"/>
                              <a:pt x="272900" y="179601"/>
                              <a:pt x="272721" y="179362"/>
                            </a:cubicBezTo>
                            <a:cubicBezTo>
                              <a:pt x="272601" y="179123"/>
                              <a:pt x="272422" y="178943"/>
                              <a:pt x="272243" y="178763"/>
                            </a:cubicBezTo>
                            <a:cubicBezTo>
                              <a:pt x="272063" y="178584"/>
                              <a:pt x="271884" y="178345"/>
                              <a:pt x="271704" y="178166"/>
                            </a:cubicBezTo>
                            <a:lnTo>
                              <a:pt x="268893" y="176312"/>
                            </a:lnTo>
                            <a:cubicBezTo>
                              <a:pt x="268893" y="176312"/>
                              <a:pt x="268893" y="176312"/>
                              <a:pt x="268834" y="176312"/>
                            </a:cubicBezTo>
                            <a:cubicBezTo>
                              <a:pt x="268834" y="176312"/>
                              <a:pt x="268834" y="176312"/>
                              <a:pt x="268774" y="176312"/>
                            </a:cubicBezTo>
                            <a:cubicBezTo>
                              <a:pt x="268774" y="176312"/>
                              <a:pt x="268774" y="176312"/>
                              <a:pt x="268714" y="176312"/>
                            </a:cubicBezTo>
                            <a:cubicBezTo>
                              <a:pt x="268714" y="176312"/>
                              <a:pt x="268714" y="176312"/>
                              <a:pt x="268654" y="176312"/>
                            </a:cubicBezTo>
                            <a:lnTo>
                              <a:pt x="268116" y="177089"/>
                            </a:lnTo>
                            <a:moveTo>
                              <a:pt x="265843" y="175594"/>
                            </a:moveTo>
                            <a:lnTo>
                              <a:pt x="267338" y="176611"/>
                            </a:lnTo>
                            <a:lnTo>
                              <a:pt x="267877" y="175953"/>
                            </a:lnTo>
                            <a:cubicBezTo>
                              <a:pt x="267697" y="175893"/>
                              <a:pt x="267577" y="175893"/>
                              <a:pt x="267398" y="175833"/>
                            </a:cubicBezTo>
                            <a:cubicBezTo>
                              <a:pt x="267219" y="175773"/>
                              <a:pt x="267039" y="175773"/>
                              <a:pt x="266920" y="175714"/>
                            </a:cubicBezTo>
                            <a:cubicBezTo>
                              <a:pt x="266740" y="175714"/>
                              <a:pt x="266561" y="175654"/>
                              <a:pt x="266441" y="175654"/>
                            </a:cubicBezTo>
                            <a:cubicBezTo>
                              <a:pt x="266322" y="175654"/>
                              <a:pt x="266023" y="175594"/>
                              <a:pt x="265843" y="175594"/>
                            </a:cubicBezTo>
                            <a:moveTo>
                              <a:pt x="257709" y="170092"/>
                            </a:moveTo>
                            <a:lnTo>
                              <a:pt x="264348" y="174517"/>
                            </a:lnTo>
                            <a:cubicBezTo>
                              <a:pt x="264528" y="174517"/>
                              <a:pt x="264707" y="174517"/>
                              <a:pt x="264886" y="174458"/>
                            </a:cubicBezTo>
                            <a:cubicBezTo>
                              <a:pt x="265066" y="174458"/>
                              <a:pt x="265245" y="174458"/>
                              <a:pt x="265425" y="174458"/>
                            </a:cubicBezTo>
                            <a:cubicBezTo>
                              <a:pt x="265604" y="174458"/>
                              <a:pt x="265783" y="174458"/>
                              <a:pt x="265963" y="174458"/>
                            </a:cubicBezTo>
                            <a:cubicBezTo>
                              <a:pt x="266142" y="174458"/>
                              <a:pt x="266322" y="174458"/>
                              <a:pt x="266501" y="174458"/>
                            </a:cubicBezTo>
                            <a:lnTo>
                              <a:pt x="258547" y="169135"/>
                            </a:lnTo>
                            <a:lnTo>
                              <a:pt x="257709" y="170092"/>
                            </a:lnTo>
                            <a:moveTo>
                              <a:pt x="141863" y="92581"/>
                            </a:moveTo>
                            <a:lnTo>
                              <a:pt x="256932" y="169613"/>
                            </a:lnTo>
                            <a:lnTo>
                              <a:pt x="257650" y="168716"/>
                            </a:lnTo>
                            <a:lnTo>
                              <a:pt x="142341" y="91445"/>
                            </a:lnTo>
                            <a:cubicBezTo>
                              <a:pt x="142282" y="91565"/>
                              <a:pt x="142282" y="91625"/>
                              <a:pt x="142222" y="91744"/>
                            </a:cubicBezTo>
                            <a:cubicBezTo>
                              <a:pt x="142162" y="91864"/>
                              <a:pt x="142162" y="91924"/>
                              <a:pt x="142102" y="92043"/>
                            </a:cubicBezTo>
                            <a:cubicBezTo>
                              <a:pt x="142042" y="92163"/>
                              <a:pt x="142042" y="92223"/>
                              <a:pt x="141982" y="92342"/>
                            </a:cubicBezTo>
                            <a:cubicBezTo>
                              <a:pt x="141923" y="92402"/>
                              <a:pt x="141863" y="92462"/>
                              <a:pt x="141863" y="92581"/>
                            </a:cubicBezTo>
                            <a:moveTo>
                              <a:pt x="139650" y="91086"/>
                            </a:moveTo>
                            <a:lnTo>
                              <a:pt x="140906" y="91924"/>
                            </a:lnTo>
                            <a:cubicBezTo>
                              <a:pt x="140966" y="91804"/>
                              <a:pt x="140966" y="91744"/>
                              <a:pt x="141026" y="91625"/>
                            </a:cubicBezTo>
                            <a:cubicBezTo>
                              <a:pt x="141085" y="91505"/>
                              <a:pt x="141085" y="91445"/>
                              <a:pt x="141145" y="91325"/>
                            </a:cubicBezTo>
                            <a:cubicBezTo>
                              <a:pt x="141205" y="91206"/>
                              <a:pt x="141205" y="91146"/>
                              <a:pt x="141265" y="91026"/>
                            </a:cubicBezTo>
                            <a:cubicBezTo>
                              <a:pt x="141325" y="90907"/>
                              <a:pt x="141325" y="90847"/>
                              <a:pt x="141384" y="90727"/>
                            </a:cubicBezTo>
                            <a:lnTo>
                              <a:pt x="140128" y="89890"/>
                            </a:lnTo>
                            <a:cubicBezTo>
                              <a:pt x="140069" y="90010"/>
                              <a:pt x="140069" y="90070"/>
                              <a:pt x="140009" y="90189"/>
                            </a:cubicBezTo>
                            <a:cubicBezTo>
                              <a:pt x="139949" y="90309"/>
                              <a:pt x="139949" y="90369"/>
                              <a:pt x="139889" y="90488"/>
                            </a:cubicBezTo>
                            <a:cubicBezTo>
                              <a:pt x="139829" y="90608"/>
                              <a:pt x="139829" y="90668"/>
                              <a:pt x="139769" y="90787"/>
                            </a:cubicBezTo>
                            <a:cubicBezTo>
                              <a:pt x="139710" y="90907"/>
                              <a:pt x="139710" y="91026"/>
                              <a:pt x="139650" y="91086"/>
                            </a:cubicBezTo>
                            <a:moveTo>
                              <a:pt x="136839" y="89232"/>
                            </a:moveTo>
                            <a:lnTo>
                              <a:pt x="138693" y="90488"/>
                            </a:lnTo>
                            <a:cubicBezTo>
                              <a:pt x="138753" y="90369"/>
                              <a:pt x="138753" y="90309"/>
                              <a:pt x="138813" y="90189"/>
                            </a:cubicBezTo>
                            <a:cubicBezTo>
                              <a:pt x="138873" y="90070"/>
                              <a:pt x="138873" y="90010"/>
                              <a:pt x="138932" y="89890"/>
                            </a:cubicBezTo>
                            <a:cubicBezTo>
                              <a:pt x="138992" y="89771"/>
                              <a:pt x="138992" y="89711"/>
                              <a:pt x="139052" y="89591"/>
                            </a:cubicBezTo>
                            <a:cubicBezTo>
                              <a:pt x="139112" y="89471"/>
                              <a:pt x="139112" y="89412"/>
                              <a:pt x="139172" y="89292"/>
                            </a:cubicBezTo>
                            <a:lnTo>
                              <a:pt x="137616" y="88216"/>
                            </a:lnTo>
                            <a:cubicBezTo>
                              <a:pt x="137557" y="88276"/>
                              <a:pt x="137497" y="88395"/>
                              <a:pt x="137437" y="88455"/>
                            </a:cubicBezTo>
                            <a:cubicBezTo>
                              <a:pt x="137377" y="88515"/>
                              <a:pt x="137318" y="88634"/>
                              <a:pt x="137258" y="88694"/>
                            </a:cubicBezTo>
                            <a:cubicBezTo>
                              <a:pt x="137198" y="88754"/>
                              <a:pt x="137138" y="88873"/>
                              <a:pt x="137078" y="88933"/>
                            </a:cubicBezTo>
                            <a:cubicBezTo>
                              <a:pt x="136959" y="89053"/>
                              <a:pt x="136899" y="89113"/>
                              <a:pt x="136839" y="89232"/>
                            </a:cubicBezTo>
                            <a:moveTo>
                              <a:pt x="134686" y="87797"/>
                            </a:moveTo>
                            <a:lnTo>
                              <a:pt x="135882" y="88634"/>
                            </a:lnTo>
                            <a:cubicBezTo>
                              <a:pt x="135942" y="88574"/>
                              <a:pt x="136002" y="88455"/>
                              <a:pt x="136061" y="88395"/>
                            </a:cubicBezTo>
                            <a:cubicBezTo>
                              <a:pt x="136121" y="88335"/>
                              <a:pt x="136181" y="88216"/>
                              <a:pt x="136241" y="88156"/>
                            </a:cubicBezTo>
                            <a:cubicBezTo>
                              <a:pt x="136301" y="88096"/>
                              <a:pt x="136360" y="87976"/>
                              <a:pt x="136420" y="87917"/>
                            </a:cubicBezTo>
                            <a:cubicBezTo>
                              <a:pt x="136480" y="87857"/>
                              <a:pt x="136540" y="87737"/>
                              <a:pt x="136600" y="87677"/>
                            </a:cubicBezTo>
                            <a:lnTo>
                              <a:pt x="135404" y="86840"/>
                            </a:lnTo>
                            <a:cubicBezTo>
                              <a:pt x="135344" y="86900"/>
                              <a:pt x="135284" y="87019"/>
                              <a:pt x="135224" y="87079"/>
                            </a:cubicBezTo>
                            <a:cubicBezTo>
                              <a:pt x="135165" y="87139"/>
                              <a:pt x="135105" y="87259"/>
                              <a:pt x="135045" y="87318"/>
                            </a:cubicBezTo>
                            <a:cubicBezTo>
                              <a:pt x="134985" y="87378"/>
                              <a:pt x="134925" y="87498"/>
                              <a:pt x="134865" y="87557"/>
                            </a:cubicBezTo>
                            <a:cubicBezTo>
                              <a:pt x="134806" y="87617"/>
                              <a:pt x="134746" y="87677"/>
                              <a:pt x="134686" y="87797"/>
                            </a:cubicBezTo>
                            <a:moveTo>
                              <a:pt x="131157" y="85405"/>
                            </a:moveTo>
                            <a:lnTo>
                              <a:pt x="133789" y="87139"/>
                            </a:lnTo>
                            <a:cubicBezTo>
                              <a:pt x="133849" y="87079"/>
                              <a:pt x="133908" y="86960"/>
                              <a:pt x="133968" y="86900"/>
                            </a:cubicBezTo>
                            <a:cubicBezTo>
                              <a:pt x="134028" y="86840"/>
                              <a:pt x="134088" y="86720"/>
                              <a:pt x="134148" y="86661"/>
                            </a:cubicBezTo>
                            <a:cubicBezTo>
                              <a:pt x="134207" y="86601"/>
                              <a:pt x="134267" y="86481"/>
                              <a:pt x="134327" y="86421"/>
                            </a:cubicBezTo>
                            <a:cubicBezTo>
                              <a:pt x="134387" y="86362"/>
                              <a:pt x="134447" y="86242"/>
                              <a:pt x="134506" y="86182"/>
                            </a:cubicBezTo>
                            <a:lnTo>
                              <a:pt x="131935" y="84448"/>
                            </a:lnTo>
                            <a:cubicBezTo>
                              <a:pt x="131875" y="84508"/>
                              <a:pt x="131815" y="84627"/>
                              <a:pt x="131755" y="84687"/>
                            </a:cubicBezTo>
                            <a:cubicBezTo>
                              <a:pt x="131696" y="84747"/>
                              <a:pt x="131636" y="84866"/>
                              <a:pt x="131576" y="84926"/>
                            </a:cubicBezTo>
                            <a:cubicBezTo>
                              <a:pt x="131516" y="84986"/>
                              <a:pt x="131457" y="85106"/>
                              <a:pt x="131397" y="85165"/>
                            </a:cubicBezTo>
                            <a:cubicBezTo>
                              <a:pt x="131277" y="85225"/>
                              <a:pt x="131217" y="85345"/>
                              <a:pt x="131157" y="85405"/>
                            </a:cubicBezTo>
                            <a:moveTo>
                              <a:pt x="129004" y="83969"/>
                            </a:moveTo>
                            <a:lnTo>
                              <a:pt x="130200" y="84747"/>
                            </a:lnTo>
                            <a:cubicBezTo>
                              <a:pt x="130260" y="84687"/>
                              <a:pt x="130320" y="84567"/>
                              <a:pt x="130380" y="84508"/>
                            </a:cubicBezTo>
                            <a:cubicBezTo>
                              <a:pt x="130440" y="84448"/>
                              <a:pt x="130499" y="84328"/>
                              <a:pt x="130559" y="84268"/>
                            </a:cubicBezTo>
                            <a:cubicBezTo>
                              <a:pt x="130619" y="84208"/>
                              <a:pt x="130679" y="84089"/>
                              <a:pt x="130739" y="84029"/>
                            </a:cubicBezTo>
                            <a:cubicBezTo>
                              <a:pt x="130798" y="83969"/>
                              <a:pt x="130858" y="83849"/>
                              <a:pt x="130918" y="83790"/>
                            </a:cubicBezTo>
                            <a:lnTo>
                              <a:pt x="129722" y="82953"/>
                            </a:lnTo>
                            <a:cubicBezTo>
                              <a:pt x="129662" y="83012"/>
                              <a:pt x="129603" y="83132"/>
                              <a:pt x="129543" y="83192"/>
                            </a:cubicBezTo>
                            <a:cubicBezTo>
                              <a:pt x="129483" y="83252"/>
                              <a:pt x="129423" y="83371"/>
                              <a:pt x="129363" y="83431"/>
                            </a:cubicBezTo>
                            <a:cubicBezTo>
                              <a:pt x="129303" y="83491"/>
                              <a:pt x="129243" y="83610"/>
                              <a:pt x="129184" y="83670"/>
                            </a:cubicBezTo>
                            <a:cubicBezTo>
                              <a:pt x="129124" y="83790"/>
                              <a:pt x="129064" y="83909"/>
                              <a:pt x="129004" y="83969"/>
                            </a:cubicBezTo>
                            <a:moveTo>
                              <a:pt x="105201" y="68061"/>
                            </a:moveTo>
                            <a:lnTo>
                              <a:pt x="128107" y="83371"/>
                            </a:lnTo>
                            <a:cubicBezTo>
                              <a:pt x="128167" y="83311"/>
                              <a:pt x="128227" y="83192"/>
                              <a:pt x="128287" y="83132"/>
                            </a:cubicBezTo>
                            <a:cubicBezTo>
                              <a:pt x="128346" y="83072"/>
                              <a:pt x="128406" y="82953"/>
                              <a:pt x="128466" y="82893"/>
                            </a:cubicBezTo>
                            <a:cubicBezTo>
                              <a:pt x="128526" y="82833"/>
                              <a:pt x="128586" y="82713"/>
                              <a:pt x="128645" y="82654"/>
                            </a:cubicBezTo>
                            <a:cubicBezTo>
                              <a:pt x="128705" y="82594"/>
                              <a:pt x="128765" y="82474"/>
                              <a:pt x="128825" y="82414"/>
                            </a:cubicBezTo>
                            <a:lnTo>
                              <a:pt x="106038" y="67104"/>
                            </a:lnTo>
                            <a:lnTo>
                              <a:pt x="105201" y="68061"/>
                            </a:lnTo>
                            <a:moveTo>
                              <a:pt x="95512" y="61541"/>
                            </a:moveTo>
                            <a:lnTo>
                              <a:pt x="104244" y="67343"/>
                            </a:lnTo>
                            <a:lnTo>
                              <a:pt x="105021" y="66326"/>
                            </a:lnTo>
                            <a:lnTo>
                              <a:pt x="94675" y="59389"/>
                            </a:lnTo>
                            <a:cubicBezTo>
                              <a:pt x="94735" y="59568"/>
                              <a:pt x="94854" y="59747"/>
                              <a:pt x="94914" y="59867"/>
                            </a:cubicBezTo>
                            <a:cubicBezTo>
                              <a:pt x="94974" y="59986"/>
                              <a:pt x="95094" y="60226"/>
                              <a:pt x="95154" y="60405"/>
                            </a:cubicBezTo>
                            <a:cubicBezTo>
                              <a:pt x="95213" y="60585"/>
                              <a:pt x="95273" y="60764"/>
                              <a:pt x="95333" y="60944"/>
                            </a:cubicBezTo>
                            <a:cubicBezTo>
                              <a:pt x="95393" y="61183"/>
                              <a:pt x="95452" y="61362"/>
                              <a:pt x="95512" y="61541"/>
                            </a:cubicBezTo>
                            <a:moveTo>
                              <a:pt x="84388" y="54125"/>
                            </a:moveTo>
                            <a:lnTo>
                              <a:pt x="93658" y="60345"/>
                            </a:lnTo>
                            <a:cubicBezTo>
                              <a:pt x="93539" y="60046"/>
                              <a:pt x="93359" y="59807"/>
                              <a:pt x="93240" y="59568"/>
                            </a:cubicBezTo>
                            <a:cubicBezTo>
                              <a:pt x="93060" y="59329"/>
                              <a:pt x="92941" y="59030"/>
                              <a:pt x="92761" y="58790"/>
                            </a:cubicBezTo>
                            <a:cubicBezTo>
                              <a:pt x="92582" y="58551"/>
                              <a:pt x="92402" y="58312"/>
                              <a:pt x="92163" y="58073"/>
                            </a:cubicBezTo>
                            <a:cubicBezTo>
                              <a:pt x="91984" y="57833"/>
                              <a:pt x="91744" y="57594"/>
                              <a:pt x="91505" y="57415"/>
                            </a:cubicBezTo>
                            <a:lnTo>
                              <a:pt x="88096" y="55142"/>
                            </a:lnTo>
                            <a:cubicBezTo>
                              <a:pt x="87797" y="55023"/>
                              <a:pt x="87498" y="54903"/>
                              <a:pt x="87199" y="54783"/>
                            </a:cubicBezTo>
                            <a:cubicBezTo>
                              <a:pt x="86900" y="54664"/>
                              <a:pt x="86601" y="54604"/>
                              <a:pt x="86302" y="54484"/>
                            </a:cubicBezTo>
                            <a:cubicBezTo>
                              <a:pt x="86003" y="54424"/>
                              <a:pt x="85704" y="54365"/>
                              <a:pt x="85345" y="54305"/>
                            </a:cubicBezTo>
                            <a:cubicBezTo>
                              <a:pt x="85046" y="54185"/>
                              <a:pt x="84687" y="54185"/>
                              <a:pt x="84388" y="54125"/>
                            </a:cubicBezTo>
                            <a:moveTo>
                              <a:pt x="48025" y="29784"/>
                            </a:moveTo>
                            <a:lnTo>
                              <a:pt x="82534" y="52869"/>
                            </a:lnTo>
                            <a:cubicBezTo>
                              <a:pt x="82713" y="52869"/>
                              <a:pt x="82953" y="52869"/>
                              <a:pt x="83132" y="52869"/>
                            </a:cubicBezTo>
                            <a:cubicBezTo>
                              <a:pt x="83311" y="52869"/>
                              <a:pt x="83551" y="52869"/>
                              <a:pt x="83730" y="52869"/>
                            </a:cubicBezTo>
                            <a:cubicBezTo>
                              <a:pt x="83910" y="52869"/>
                              <a:pt x="84149" y="52869"/>
                              <a:pt x="84328" y="52929"/>
                            </a:cubicBezTo>
                            <a:cubicBezTo>
                              <a:pt x="84508" y="52929"/>
                              <a:pt x="84747" y="52989"/>
                              <a:pt x="84926" y="52989"/>
                            </a:cubicBezTo>
                            <a:lnTo>
                              <a:pt x="48803" y="28827"/>
                            </a:lnTo>
                            <a:lnTo>
                              <a:pt x="48025" y="29784"/>
                            </a:lnTo>
                            <a:moveTo>
                              <a:pt x="39652" y="24162"/>
                            </a:moveTo>
                            <a:lnTo>
                              <a:pt x="47008" y="29126"/>
                            </a:lnTo>
                            <a:lnTo>
                              <a:pt x="47846" y="28109"/>
                            </a:lnTo>
                            <a:lnTo>
                              <a:pt x="38755" y="22009"/>
                            </a:lnTo>
                            <a:cubicBezTo>
                              <a:pt x="38875" y="22188"/>
                              <a:pt x="38935" y="22368"/>
                              <a:pt x="38994" y="22547"/>
                            </a:cubicBezTo>
                            <a:cubicBezTo>
                              <a:pt x="39054" y="22727"/>
                              <a:pt x="39174" y="22906"/>
                              <a:pt x="39234" y="23085"/>
                            </a:cubicBezTo>
                            <a:cubicBezTo>
                              <a:pt x="39293" y="23265"/>
                              <a:pt x="39353" y="23444"/>
                              <a:pt x="39473" y="23624"/>
                            </a:cubicBezTo>
                            <a:cubicBezTo>
                              <a:pt x="39532" y="23803"/>
                              <a:pt x="39592" y="23983"/>
                              <a:pt x="39652" y="24162"/>
                            </a:cubicBezTo>
                            <a:moveTo>
                              <a:pt x="30801" y="18241"/>
                            </a:moveTo>
                            <a:lnTo>
                              <a:pt x="37678" y="22846"/>
                            </a:lnTo>
                            <a:cubicBezTo>
                              <a:pt x="37559" y="22547"/>
                              <a:pt x="37380" y="22308"/>
                              <a:pt x="37200" y="22009"/>
                            </a:cubicBezTo>
                            <a:cubicBezTo>
                              <a:pt x="37021" y="21710"/>
                              <a:pt x="36841" y="21471"/>
                              <a:pt x="36662" y="21231"/>
                            </a:cubicBezTo>
                            <a:cubicBezTo>
                              <a:pt x="36483" y="20992"/>
                              <a:pt x="36243" y="20693"/>
                              <a:pt x="36064" y="20454"/>
                            </a:cubicBezTo>
                            <a:cubicBezTo>
                              <a:pt x="35824" y="20215"/>
                              <a:pt x="35645" y="19975"/>
                              <a:pt x="35406" y="19736"/>
                            </a:cubicBezTo>
                            <a:lnTo>
                              <a:pt x="31817" y="17344"/>
                            </a:lnTo>
                            <a:cubicBezTo>
                              <a:pt x="31817" y="17344"/>
                              <a:pt x="31758" y="17344"/>
                              <a:pt x="31758" y="17344"/>
                            </a:cubicBezTo>
                            <a:cubicBezTo>
                              <a:pt x="31758" y="17344"/>
                              <a:pt x="31698" y="17344"/>
                              <a:pt x="31698" y="17344"/>
                            </a:cubicBezTo>
                            <a:cubicBezTo>
                              <a:pt x="31698" y="17344"/>
                              <a:pt x="31638" y="17344"/>
                              <a:pt x="31638" y="17344"/>
                            </a:cubicBezTo>
                            <a:cubicBezTo>
                              <a:pt x="31638" y="17344"/>
                              <a:pt x="31578" y="17344"/>
                              <a:pt x="31578" y="17344"/>
                            </a:cubicBezTo>
                            <a:lnTo>
                              <a:pt x="30801" y="18241"/>
                            </a:lnTo>
                            <a:moveTo>
                              <a:pt x="27870" y="16327"/>
                            </a:moveTo>
                            <a:lnTo>
                              <a:pt x="29724" y="17583"/>
                            </a:lnTo>
                            <a:lnTo>
                              <a:pt x="30322" y="16806"/>
                            </a:lnTo>
                            <a:cubicBezTo>
                              <a:pt x="30143" y="16746"/>
                              <a:pt x="29904" y="16686"/>
                              <a:pt x="29724" y="16626"/>
                            </a:cubicBezTo>
                            <a:cubicBezTo>
                              <a:pt x="29545" y="16566"/>
                              <a:pt x="29306" y="16507"/>
                              <a:pt x="29126" y="16507"/>
                            </a:cubicBezTo>
                            <a:cubicBezTo>
                              <a:pt x="28947" y="16447"/>
                              <a:pt x="28707" y="16447"/>
                              <a:pt x="28528" y="16387"/>
                            </a:cubicBezTo>
                            <a:cubicBezTo>
                              <a:pt x="28289" y="16387"/>
                              <a:pt x="28109" y="16327"/>
                              <a:pt x="27870" y="16327"/>
                            </a:cubicBezTo>
                            <a:moveTo>
                              <a:pt x="17464" y="9330"/>
                            </a:moveTo>
                            <a:lnTo>
                              <a:pt x="25897" y="15012"/>
                            </a:lnTo>
                            <a:cubicBezTo>
                              <a:pt x="26136" y="15012"/>
                              <a:pt x="26315" y="15012"/>
                              <a:pt x="26554" y="15012"/>
                            </a:cubicBezTo>
                            <a:cubicBezTo>
                              <a:pt x="26794" y="15012"/>
                              <a:pt x="26973" y="15012"/>
                              <a:pt x="27212" y="15012"/>
                            </a:cubicBezTo>
                            <a:cubicBezTo>
                              <a:pt x="27452" y="15012"/>
                              <a:pt x="27631" y="15012"/>
                              <a:pt x="27870" y="15071"/>
                            </a:cubicBezTo>
                            <a:cubicBezTo>
                              <a:pt x="28109" y="15071"/>
                              <a:pt x="28289" y="15131"/>
                              <a:pt x="28528" y="15131"/>
                            </a:cubicBezTo>
                            <a:lnTo>
                              <a:pt x="18361" y="8313"/>
                            </a:lnTo>
                            <a:lnTo>
                              <a:pt x="17464" y="9330"/>
                            </a:lnTo>
                            <a:moveTo>
                              <a:pt x="631325" y="426963"/>
                            </a:moveTo>
                            <a:lnTo>
                              <a:pt x="654530" y="442394"/>
                            </a:lnTo>
                            <a:lnTo>
                              <a:pt x="658537" y="437310"/>
                            </a:lnTo>
                            <a:lnTo>
                              <a:pt x="634854" y="421401"/>
                            </a:lnTo>
                            <a:cubicBezTo>
                              <a:pt x="634794" y="421461"/>
                              <a:pt x="634794" y="421521"/>
                              <a:pt x="634734" y="421581"/>
                            </a:cubicBezTo>
                            <a:cubicBezTo>
                              <a:pt x="634674" y="421641"/>
                              <a:pt x="634674" y="421701"/>
                              <a:pt x="634614" y="421760"/>
                            </a:cubicBezTo>
                            <a:cubicBezTo>
                              <a:pt x="634555" y="421820"/>
                              <a:pt x="634555" y="421880"/>
                              <a:pt x="634495" y="421940"/>
                            </a:cubicBezTo>
                            <a:cubicBezTo>
                              <a:pt x="634435" y="422000"/>
                              <a:pt x="634435" y="422060"/>
                              <a:pt x="634375" y="422119"/>
                            </a:cubicBezTo>
                            <a:lnTo>
                              <a:pt x="657461" y="437609"/>
                            </a:lnTo>
                            <a:lnTo>
                              <a:pt x="654530" y="441317"/>
                            </a:lnTo>
                            <a:lnTo>
                              <a:pt x="631744" y="426186"/>
                            </a:lnTo>
                            <a:cubicBezTo>
                              <a:pt x="631684" y="426246"/>
                              <a:pt x="631684" y="426306"/>
                              <a:pt x="631624" y="426365"/>
                            </a:cubicBezTo>
                            <a:cubicBezTo>
                              <a:pt x="631565" y="426425"/>
                              <a:pt x="631565" y="426485"/>
                              <a:pt x="631505" y="426545"/>
                            </a:cubicBezTo>
                            <a:cubicBezTo>
                              <a:pt x="631445" y="426605"/>
                              <a:pt x="631445" y="426664"/>
                              <a:pt x="631385" y="426724"/>
                            </a:cubicBezTo>
                            <a:cubicBezTo>
                              <a:pt x="631385" y="426844"/>
                              <a:pt x="631325" y="426904"/>
                              <a:pt x="631325" y="426963"/>
                            </a:cubicBezTo>
                            <a:moveTo>
                              <a:pt x="630129" y="426186"/>
                            </a:moveTo>
                            <a:lnTo>
                              <a:pt x="630787" y="426605"/>
                            </a:lnTo>
                            <a:cubicBezTo>
                              <a:pt x="630847" y="426545"/>
                              <a:pt x="630847" y="426485"/>
                              <a:pt x="630906" y="426425"/>
                            </a:cubicBezTo>
                            <a:cubicBezTo>
                              <a:pt x="630966" y="426365"/>
                              <a:pt x="630966" y="426306"/>
                              <a:pt x="631026" y="426246"/>
                            </a:cubicBezTo>
                            <a:cubicBezTo>
                              <a:pt x="631086" y="426186"/>
                              <a:pt x="631086" y="426126"/>
                              <a:pt x="631146" y="426067"/>
                            </a:cubicBezTo>
                            <a:cubicBezTo>
                              <a:pt x="631206" y="426007"/>
                              <a:pt x="631206" y="425947"/>
                              <a:pt x="631265" y="425887"/>
                            </a:cubicBezTo>
                            <a:lnTo>
                              <a:pt x="630607" y="425468"/>
                            </a:lnTo>
                            <a:cubicBezTo>
                              <a:pt x="630548" y="425528"/>
                              <a:pt x="630548" y="425588"/>
                              <a:pt x="630488" y="425648"/>
                            </a:cubicBezTo>
                            <a:cubicBezTo>
                              <a:pt x="630428" y="425708"/>
                              <a:pt x="630428" y="425768"/>
                              <a:pt x="630368" y="425827"/>
                            </a:cubicBezTo>
                            <a:cubicBezTo>
                              <a:pt x="630308" y="425887"/>
                              <a:pt x="630308" y="425947"/>
                              <a:pt x="630249" y="426007"/>
                            </a:cubicBezTo>
                            <a:cubicBezTo>
                              <a:pt x="630249" y="426067"/>
                              <a:pt x="630189" y="426126"/>
                              <a:pt x="630129" y="426186"/>
                            </a:cubicBezTo>
                            <a:moveTo>
                              <a:pt x="627916" y="424691"/>
                            </a:moveTo>
                            <a:lnTo>
                              <a:pt x="629651" y="425827"/>
                            </a:lnTo>
                            <a:cubicBezTo>
                              <a:pt x="629711" y="425768"/>
                              <a:pt x="629711" y="425708"/>
                              <a:pt x="629770" y="425648"/>
                            </a:cubicBezTo>
                            <a:cubicBezTo>
                              <a:pt x="629830" y="425588"/>
                              <a:pt x="629830" y="425528"/>
                              <a:pt x="629890" y="425468"/>
                            </a:cubicBezTo>
                            <a:cubicBezTo>
                              <a:pt x="629950" y="425409"/>
                              <a:pt x="629950" y="425349"/>
                              <a:pt x="630009" y="425289"/>
                            </a:cubicBezTo>
                            <a:cubicBezTo>
                              <a:pt x="630069" y="425229"/>
                              <a:pt x="630069" y="425169"/>
                              <a:pt x="630129" y="425109"/>
                            </a:cubicBezTo>
                            <a:lnTo>
                              <a:pt x="628454" y="424033"/>
                            </a:lnTo>
                            <a:cubicBezTo>
                              <a:pt x="628395" y="424093"/>
                              <a:pt x="628335" y="424153"/>
                              <a:pt x="628335" y="424213"/>
                            </a:cubicBezTo>
                            <a:cubicBezTo>
                              <a:pt x="628275" y="424272"/>
                              <a:pt x="628215" y="424332"/>
                              <a:pt x="628215" y="424392"/>
                            </a:cubicBezTo>
                            <a:cubicBezTo>
                              <a:pt x="628155" y="424452"/>
                              <a:pt x="628096" y="424511"/>
                              <a:pt x="628096" y="424571"/>
                            </a:cubicBezTo>
                            <a:cubicBezTo>
                              <a:pt x="628096" y="424631"/>
                              <a:pt x="627976" y="424631"/>
                              <a:pt x="627916" y="424691"/>
                            </a:cubicBezTo>
                            <a:moveTo>
                              <a:pt x="626780" y="423914"/>
                            </a:moveTo>
                            <a:lnTo>
                              <a:pt x="627438" y="424332"/>
                            </a:lnTo>
                            <a:cubicBezTo>
                              <a:pt x="627498" y="424272"/>
                              <a:pt x="627557" y="424213"/>
                              <a:pt x="627557" y="424153"/>
                            </a:cubicBezTo>
                            <a:cubicBezTo>
                              <a:pt x="627557" y="424093"/>
                              <a:pt x="627677" y="424033"/>
                              <a:pt x="627677" y="423973"/>
                            </a:cubicBezTo>
                            <a:cubicBezTo>
                              <a:pt x="627737" y="423914"/>
                              <a:pt x="627797" y="423854"/>
                              <a:pt x="627797" y="423794"/>
                            </a:cubicBezTo>
                            <a:cubicBezTo>
                              <a:pt x="627797" y="423734"/>
                              <a:pt x="627916" y="423674"/>
                              <a:pt x="627916" y="423614"/>
                            </a:cubicBezTo>
                            <a:lnTo>
                              <a:pt x="627258" y="423196"/>
                            </a:lnTo>
                            <a:cubicBezTo>
                              <a:pt x="627198" y="423255"/>
                              <a:pt x="627138" y="423315"/>
                              <a:pt x="627138" y="423375"/>
                            </a:cubicBezTo>
                            <a:cubicBezTo>
                              <a:pt x="627079" y="423435"/>
                              <a:pt x="627019" y="423495"/>
                              <a:pt x="627019" y="423555"/>
                            </a:cubicBezTo>
                            <a:cubicBezTo>
                              <a:pt x="626959" y="423614"/>
                              <a:pt x="626899" y="423674"/>
                              <a:pt x="626899" y="423734"/>
                            </a:cubicBezTo>
                            <a:cubicBezTo>
                              <a:pt x="626840" y="423794"/>
                              <a:pt x="626780" y="423854"/>
                              <a:pt x="626780" y="423914"/>
                            </a:cubicBezTo>
                            <a:moveTo>
                              <a:pt x="624447" y="422359"/>
                            </a:moveTo>
                            <a:lnTo>
                              <a:pt x="626242" y="423555"/>
                            </a:lnTo>
                            <a:cubicBezTo>
                              <a:pt x="626301" y="423495"/>
                              <a:pt x="626361" y="423435"/>
                              <a:pt x="626361" y="423375"/>
                            </a:cubicBezTo>
                            <a:cubicBezTo>
                              <a:pt x="626421" y="423315"/>
                              <a:pt x="626481" y="423255"/>
                              <a:pt x="626481" y="423196"/>
                            </a:cubicBezTo>
                            <a:cubicBezTo>
                              <a:pt x="626541" y="423136"/>
                              <a:pt x="626600" y="423076"/>
                              <a:pt x="626600" y="423016"/>
                            </a:cubicBezTo>
                            <a:cubicBezTo>
                              <a:pt x="626600" y="422956"/>
                              <a:pt x="626720" y="422897"/>
                              <a:pt x="626720" y="422837"/>
                            </a:cubicBezTo>
                            <a:lnTo>
                              <a:pt x="624926" y="421641"/>
                            </a:lnTo>
                            <a:cubicBezTo>
                              <a:pt x="624866" y="421701"/>
                              <a:pt x="624806" y="421760"/>
                              <a:pt x="624746" y="421820"/>
                            </a:cubicBezTo>
                            <a:cubicBezTo>
                              <a:pt x="624687" y="421880"/>
                              <a:pt x="624627" y="421940"/>
                              <a:pt x="624567" y="422000"/>
                            </a:cubicBezTo>
                            <a:cubicBezTo>
                              <a:pt x="624507" y="422060"/>
                              <a:pt x="624447" y="422119"/>
                              <a:pt x="624388" y="422179"/>
                            </a:cubicBezTo>
                            <a:cubicBezTo>
                              <a:pt x="624507" y="422239"/>
                              <a:pt x="624507" y="422299"/>
                              <a:pt x="624447" y="422359"/>
                            </a:cubicBezTo>
                            <a:moveTo>
                              <a:pt x="623251" y="421581"/>
                            </a:moveTo>
                            <a:lnTo>
                              <a:pt x="623909" y="422000"/>
                            </a:lnTo>
                            <a:cubicBezTo>
                              <a:pt x="623969" y="421940"/>
                              <a:pt x="624029" y="421880"/>
                              <a:pt x="624089" y="421820"/>
                            </a:cubicBezTo>
                            <a:cubicBezTo>
                              <a:pt x="624148" y="421760"/>
                              <a:pt x="624208" y="421701"/>
                              <a:pt x="624268" y="421641"/>
                            </a:cubicBezTo>
                            <a:cubicBezTo>
                              <a:pt x="624328" y="421581"/>
                              <a:pt x="624388" y="421521"/>
                              <a:pt x="624447" y="421461"/>
                            </a:cubicBezTo>
                            <a:cubicBezTo>
                              <a:pt x="624507" y="421401"/>
                              <a:pt x="624567" y="421342"/>
                              <a:pt x="624627" y="421282"/>
                            </a:cubicBezTo>
                            <a:lnTo>
                              <a:pt x="623969" y="420863"/>
                            </a:lnTo>
                            <a:cubicBezTo>
                              <a:pt x="623909" y="420923"/>
                              <a:pt x="623849" y="420983"/>
                              <a:pt x="623789" y="421043"/>
                            </a:cubicBezTo>
                            <a:cubicBezTo>
                              <a:pt x="623730" y="421102"/>
                              <a:pt x="623670" y="421162"/>
                              <a:pt x="623610" y="421222"/>
                            </a:cubicBezTo>
                            <a:cubicBezTo>
                              <a:pt x="623550" y="421282"/>
                              <a:pt x="623490" y="421342"/>
                              <a:pt x="623430" y="421401"/>
                            </a:cubicBezTo>
                            <a:cubicBezTo>
                              <a:pt x="623371" y="421461"/>
                              <a:pt x="623311" y="421521"/>
                              <a:pt x="623251" y="421581"/>
                            </a:cubicBezTo>
                            <a:moveTo>
                              <a:pt x="611290" y="413627"/>
                            </a:moveTo>
                            <a:lnTo>
                              <a:pt x="622773" y="421222"/>
                            </a:lnTo>
                            <a:cubicBezTo>
                              <a:pt x="622833" y="421162"/>
                              <a:pt x="622892" y="421102"/>
                              <a:pt x="622952" y="421043"/>
                            </a:cubicBezTo>
                            <a:cubicBezTo>
                              <a:pt x="623012" y="420983"/>
                              <a:pt x="623072" y="420923"/>
                              <a:pt x="623132" y="420863"/>
                            </a:cubicBezTo>
                            <a:cubicBezTo>
                              <a:pt x="623191" y="420803"/>
                              <a:pt x="623251" y="420744"/>
                              <a:pt x="623311" y="420684"/>
                            </a:cubicBezTo>
                            <a:cubicBezTo>
                              <a:pt x="623371" y="420624"/>
                              <a:pt x="623430" y="420564"/>
                              <a:pt x="623490" y="420505"/>
                            </a:cubicBezTo>
                            <a:lnTo>
                              <a:pt x="611948" y="412849"/>
                            </a:lnTo>
                            <a:lnTo>
                              <a:pt x="611290" y="413627"/>
                            </a:lnTo>
                            <a:moveTo>
                              <a:pt x="608299" y="411653"/>
                            </a:moveTo>
                            <a:lnTo>
                              <a:pt x="610751" y="413268"/>
                            </a:lnTo>
                            <a:lnTo>
                              <a:pt x="611290" y="412550"/>
                            </a:lnTo>
                            <a:lnTo>
                              <a:pt x="608658" y="410816"/>
                            </a:lnTo>
                            <a:cubicBezTo>
                              <a:pt x="608658" y="410876"/>
                              <a:pt x="608598" y="410935"/>
                              <a:pt x="608539" y="410995"/>
                            </a:cubicBezTo>
                            <a:cubicBezTo>
                              <a:pt x="608479" y="411055"/>
                              <a:pt x="608479" y="411115"/>
                              <a:pt x="608419" y="411175"/>
                            </a:cubicBezTo>
                            <a:cubicBezTo>
                              <a:pt x="608359" y="411234"/>
                              <a:pt x="608359" y="411294"/>
                              <a:pt x="608299" y="411354"/>
                            </a:cubicBezTo>
                            <a:cubicBezTo>
                              <a:pt x="608359" y="411474"/>
                              <a:pt x="608299" y="411593"/>
                              <a:pt x="608299" y="411653"/>
                            </a:cubicBezTo>
                            <a:moveTo>
                              <a:pt x="605309" y="409679"/>
                            </a:moveTo>
                            <a:lnTo>
                              <a:pt x="607761" y="411294"/>
                            </a:lnTo>
                            <a:cubicBezTo>
                              <a:pt x="607821" y="411234"/>
                              <a:pt x="607821" y="411175"/>
                              <a:pt x="607881" y="411055"/>
                            </a:cubicBezTo>
                            <a:cubicBezTo>
                              <a:pt x="607941" y="410995"/>
                              <a:pt x="607941" y="410935"/>
                              <a:pt x="608000" y="410816"/>
                            </a:cubicBezTo>
                            <a:cubicBezTo>
                              <a:pt x="608060" y="410756"/>
                              <a:pt x="608060" y="410696"/>
                              <a:pt x="608120" y="410576"/>
                            </a:cubicBezTo>
                            <a:cubicBezTo>
                              <a:pt x="608180" y="410457"/>
                              <a:pt x="608180" y="410457"/>
                              <a:pt x="608180" y="410337"/>
                            </a:cubicBezTo>
                            <a:lnTo>
                              <a:pt x="605548" y="408603"/>
                            </a:lnTo>
                            <a:cubicBezTo>
                              <a:pt x="605548" y="408662"/>
                              <a:pt x="605548" y="408782"/>
                              <a:pt x="605548" y="408842"/>
                            </a:cubicBezTo>
                            <a:cubicBezTo>
                              <a:pt x="605548" y="408902"/>
                              <a:pt x="605548" y="409021"/>
                              <a:pt x="605488" y="409081"/>
                            </a:cubicBezTo>
                            <a:cubicBezTo>
                              <a:pt x="605488" y="409141"/>
                              <a:pt x="605429" y="409261"/>
                              <a:pt x="605429" y="409321"/>
                            </a:cubicBezTo>
                            <a:cubicBezTo>
                              <a:pt x="605369" y="409500"/>
                              <a:pt x="605309" y="409560"/>
                              <a:pt x="605309" y="409679"/>
                            </a:cubicBezTo>
                            <a:moveTo>
                              <a:pt x="600345" y="406390"/>
                            </a:moveTo>
                            <a:lnTo>
                              <a:pt x="604651" y="409261"/>
                            </a:lnTo>
                            <a:cubicBezTo>
                              <a:pt x="604651" y="409141"/>
                              <a:pt x="604651" y="409081"/>
                              <a:pt x="604711" y="408962"/>
                            </a:cubicBezTo>
                            <a:cubicBezTo>
                              <a:pt x="604711" y="408842"/>
                              <a:pt x="604711" y="408782"/>
                              <a:pt x="604711" y="408662"/>
                            </a:cubicBezTo>
                            <a:cubicBezTo>
                              <a:pt x="604711" y="408603"/>
                              <a:pt x="604711" y="408483"/>
                              <a:pt x="604711" y="408423"/>
                            </a:cubicBezTo>
                            <a:cubicBezTo>
                              <a:pt x="604711" y="408363"/>
                              <a:pt x="604711" y="408244"/>
                              <a:pt x="604711" y="408184"/>
                            </a:cubicBezTo>
                            <a:lnTo>
                              <a:pt x="601481" y="406031"/>
                            </a:lnTo>
                            <a:cubicBezTo>
                              <a:pt x="601362" y="406031"/>
                              <a:pt x="601302" y="406091"/>
                              <a:pt x="601182" y="406091"/>
                            </a:cubicBezTo>
                            <a:cubicBezTo>
                              <a:pt x="601063" y="406091"/>
                              <a:pt x="601003" y="406151"/>
                              <a:pt x="600883" y="406151"/>
                            </a:cubicBezTo>
                            <a:cubicBezTo>
                              <a:pt x="600764" y="406210"/>
                              <a:pt x="600704" y="406210"/>
                              <a:pt x="600584" y="406270"/>
                            </a:cubicBezTo>
                            <a:cubicBezTo>
                              <a:pt x="600525" y="406270"/>
                              <a:pt x="600405" y="406330"/>
                              <a:pt x="600345" y="406390"/>
                            </a:cubicBezTo>
                            <a:moveTo>
                              <a:pt x="597175" y="404237"/>
                            </a:moveTo>
                            <a:lnTo>
                              <a:pt x="599687" y="405912"/>
                            </a:lnTo>
                            <a:cubicBezTo>
                              <a:pt x="599747" y="405852"/>
                              <a:pt x="599866" y="405852"/>
                              <a:pt x="599926" y="405792"/>
                            </a:cubicBezTo>
                            <a:cubicBezTo>
                              <a:pt x="599986" y="405732"/>
                              <a:pt x="600106" y="405732"/>
                              <a:pt x="600166" y="405672"/>
                            </a:cubicBezTo>
                            <a:cubicBezTo>
                              <a:pt x="600225" y="405613"/>
                              <a:pt x="600345" y="405613"/>
                              <a:pt x="600405" y="405553"/>
                            </a:cubicBezTo>
                            <a:cubicBezTo>
                              <a:pt x="600465" y="405493"/>
                              <a:pt x="600584" y="405493"/>
                              <a:pt x="600644" y="405433"/>
                            </a:cubicBezTo>
                            <a:lnTo>
                              <a:pt x="597953" y="403639"/>
                            </a:lnTo>
                            <a:cubicBezTo>
                              <a:pt x="597893" y="403699"/>
                              <a:pt x="597833" y="403759"/>
                              <a:pt x="597773" y="403759"/>
                            </a:cubicBezTo>
                            <a:cubicBezTo>
                              <a:pt x="597713" y="403818"/>
                              <a:pt x="597654" y="403878"/>
                              <a:pt x="597594" y="403878"/>
                            </a:cubicBezTo>
                            <a:cubicBezTo>
                              <a:pt x="597534" y="403938"/>
                              <a:pt x="597474" y="403998"/>
                              <a:pt x="597414" y="403998"/>
                            </a:cubicBezTo>
                            <a:cubicBezTo>
                              <a:pt x="597295" y="404177"/>
                              <a:pt x="597235" y="404237"/>
                              <a:pt x="597175" y="404237"/>
                            </a:cubicBezTo>
                            <a:moveTo>
                              <a:pt x="592450" y="401127"/>
                            </a:moveTo>
                            <a:lnTo>
                              <a:pt x="596637" y="403878"/>
                            </a:lnTo>
                            <a:cubicBezTo>
                              <a:pt x="596697" y="403818"/>
                              <a:pt x="596757" y="403759"/>
                              <a:pt x="596817" y="403699"/>
                            </a:cubicBezTo>
                            <a:cubicBezTo>
                              <a:pt x="596876" y="403639"/>
                              <a:pt x="596936" y="403579"/>
                              <a:pt x="596996" y="403519"/>
                            </a:cubicBezTo>
                            <a:cubicBezTo>
                              <a:pt x="597056" y="403459"/>
                              <a:pt x="597116" y="403400"/>
                              <a:pt x="597175" y="403400"/>
                            </a:cubicBezTo>
                            <a:cubicBezTo>
                              <a:pt x="597235" y="403340"/>
                              <a:pt x="597295" y="403280"/>
                              <a:pt x="597355" y="403280"/>
                            </a:cubicBezTo>
                            <a:lnTo>
                              <a:pt x="592989" y="400409"/>
                            </a:lnTo>
                            <a:lnTo>
                              <a:pt x="592450" y="401127"/>
                            </a:lnTo>
                            <a:moveTo>
                              <a:pt x="583240" y="395027"/>
                            </a:moveTo>
                            <a:lnTo>
                              <a:pt x="591912" y="400768"/>
                            </a:lnTo>
                            <a:lnTo>
                              <a:pt x="592510" y="400050"/>
                            </a:lnTo>
                            <a:lnTo>
                              <a:pt x="583838" y="394309"/>
                            </a:lnTo>
                            <a:lnTo>
                              <a:pt x="583240" y="395027"/>
                            </a:lnTo>
                            <a:moveTo>
                              <a:pt x="580250" y="393053"/>
                            </a:moveTo>
                            <a:lnTo>
                              <a:pt x="582702" y="394668"/>
                            </a:lnTo>
                            <a:lnTo>
                              <a:pt x="583300" y="393950"/>
                            </a:lnTo>
                            <a:lnTo>
                              <a:pt x="580848" y="392335"/>
                            </a:lnTo>
                            <a:lnTo>
                              <a:pt x="580250" y="393053"/>
                            </a:lnTo>
                            <a:moveTo>
                              <a:pt x="578157" y="391618"/>
                            </a:moveTo>
                            <a:lnTo>
                              <a:pt x="579771" y="392694"/>
                            </a:lnTo>
                            <a:lnTo>
                              <a:pt x="580370" y="391976"/>
                            </a:lnTo>
                            <a:lnTo>
                              <a:pt x="578575" y="390780"/>
                            </a:lnTo>
                            <a:cubicBezTo>
                              <a:pt x="578516" y="390840"/>
                              <a:pt x="578516" y="390900"/>
                              <a:pt x="578456" y="391020"/>
                            </a:cubicBezTo>
                            <a:cubicBezTo>
                              <a:pt x="578396" y="391079"/>
                              <a:pt x="578396" y="391139"/>
                              <a:pt x="578336" y="391259"/>
                            </a:cubicBezTo>
                            <a:cubicBezTo>
                              <a:pt x="578276" y="391319"/>
                              <a:pt x="578276" y="391378"/>
                              <a:pt x="578216" y="391498"/>
                            </a:cubicBezTo>
                            <a:cubicBezTo>
                              <a:pt x="578216" y="391498"/>
                              <a:pt x="578157" y="391558"/>
                              <a:pt x="578157" y="391618"/>
                            </a:cubicBezTo>
                            <a:moveTo>
                              <a:pt x="575047" y="389584"/>
                            </a:moveTo>
                            <a:lnTo>
                              <a:pt x="577558" y="391259"/>
                            </a:lnTo>
                            <a:cubicBezTo>
                              <a:pt x="577618" y="391199"/>
                              <a:pt x="577618" y="391139"/>
                              <a:pt x="577678" y="391020"/>
                            </a:cubicBezTo>
                            <a:cubicBezTo>
                              <a:pt x="577738" y="390960"/>
                              <a:pt x="577738" y="390900"/>
                              <a:pt x="577798" y="390780"/>
                            </a:cubicBezTo>
                            <a:cubicBezTo>
                              <a:pt x="577857" y="390720"/>
                              <a:pt x="577857" y="390661"/>
                              <a:pt x="577917" y="390541"/>
                            </a:cubicBezTo>
                            <a:cubicBezTo>
                              <a:pt x="577977" y="390421"/>
                              <a:pt x="577977" y="390421"/>
                              <a:pt x="577977" y="390302"/>
                            </a:cubicBezTo>
                            <a:lnTo>
                              <a:pt x="575226" y="388507"/>
                            </a:lnTo>
                            <a:cubicBezTo>
                              <a:pt x="575226" y="388567"/>
                              <a:pt x="575226" y="388687"/>
                              <a:pt x="575226" y="388747"/>
                            </a:cubicBezTo>
                            <a:cubicBezTo>
                              <a:pt x="575226" y="388807"/>
                              <a:pt x="575226" y="388926"/>
                              <a:pt x="575166" y="388986"/>
                            </a:cubicBezTo>
                            <a:cubicBezTo>
                              <a:pt x="575106" y="389046"/>
                              <a:pt x="575106" y="389166"/>
                              <a:pt x="575106" y="389225"/>
                            </a:cubicBezTo>
                            <a:cubicBezTo>
                              <a:pt x="575106" y="389405"/>
                              <a:pt x="575047" y="389465"/>
                              <a:pt x="575047" y="389584"/>
                            </a:cubicBezTo>
                            <a:moveTo>
                              <a:pt x="571040" y="386893"/>
                            </a:moveTo>
                            <a:lnTo>
                              <a:pt x="574389" y="389106"/>
                            </a:lnTo>
                            <a:cubicBezTo>
                              <a:pt x="574389" y="388986"/>
                              <a:pt x="574389" y="388926"/>
                              <a:pt x="574448" y="388807"/>
                            </a:cubicBezTo>
                            <a:cubicBezTo>
                              <a:pt x="574448" y="388687"/>
                              <a:pt x="574448" y="388627"/>
                              <a:pt x="574448" y="388507"/>
                            </a:cubicBezTo>
                            <a:cubicBezTo>
                              <a:pt x="574448" y="388388"/>
                              <a:pt x="574448" y="388328"/>
                              <a:pt x="574448" y="388208"/>
                            </a:cubicBezTo>
                            <a:cubicBezTo>
                              <a:pt x="574448" y="388089"/>
                              <a:pt x="574448" y="388029"/>
                              <a:pt x="574448" y="387969"/>
                            </a:cubicBezTo>
                            <a:lnTo>
                              <a:pt x="571638" y="386115"/>
                            </a:lnTo>
                            <a:lnTo>
                              <a:pt x="571040" y="386893"/>
                            </a:lnTo>
                            <a:moveTo>
                              <a:pt x="569843" y="386115"/>
                            </a:moveTo>
                            <a:lnTo>
                              <a:pt x="570441" y="386534"/>
                            </a:lnTo>
                            <a:lnTo>
                              <a:pt x="571040" y="385816"/>
                            </a:lnTo>
                            <a:lnTo>
                              <a:pt x="570980" y="385816"/>
                            </a:lnTo>
                            <a:cubicBezTo>
                              <a:pt x="570860" y="385816"/>
                              <a:pt x="570800" y="385876"/>
                              <a:pt x="570681" y="385876"/>
                            </a:cubicBezTo>
                            <a:cubicBezTo>
                              <a:pt x="570561" y="385876"/>
                              <a:pt x="570501" y="385936"/>
                              <a:pt x="570381" y="385936"/>
                            </a:cubicBezTo>
                            <a:cubicBezTo>
                              <a:pt x="570262" y="385996"/>
                              <a:pt x="570202" y="385996"/>
                              <a:pt x="570083" y="386055"/>
                            </a:cubicBezTo>
                            <a:cubicBezTo>
                              <a:pt x="570083" y="386055"/>
                              <a:pt x="569963" y="386055"/>
                              <a:pt x="569843" y="386115"/>
                            </a:cubicBezTo>
                            <a:moveTo>
                              <a:pt x="566554" y="383903"/>
                            </a:moveTo>
                            <a:lnTo>
                              <a:pt x="569186" y="385637"/>
                            </a:lnTo>
                            <a:cubicBezTo>
                              <a:pt x="569245" y="385577"/>
                              <a:pt x="569365" y="385517"/>
                              <a:pt x="569425" y="385517"/>
                            </a:cubicBezTo>
                            <a:cubicBezTo>
                              <a:pt x="569485" y="385458"/>
                              <a:pt x="569604" y="385458"/>
                              <a:pt x="569664" y="385398"/>
                            </a:cubicBezTo>
                            <a:cubicBezTo>
                              <a:pt x="569724" y="385338"/>
                              <a:pt x="569843" y="385338"/>
                              <a:pt x="569903" y="385278"/>
                            </a:cubicBezTo>
                            <a:cubicBezTo>
                              <a:pt x="569963" y="385218"/>
                              <a:pt x="570083" y="385218"/>
                              <a:pt x="570142" y="385158"/>
                            </a:cubicBezTo>
                            <a:lnTo>
                              <a:pt x="567331" y="383304"/>
                            </a:lnTo>
                            <a:cubicBezTo>
                              <a:pt x="567272" y="383364"/>
                              <a:pt x="567212" y="383424"/>
                              <a:pt x="567152" y="383424"/>
                            </a:cubicBezTo>
                            <a:cubicBezTo>
                              <a:pt x="567092" y="383484"/>
                              <a:pt x="567032" y="383544"/>
                              <a:pt x="566972" y="383544"/>
                            </a:cubicBezTo>
                            <a:cubicBezTo>
                              <a:pt x="566913" y="383603"/>
                              <a:pt x="566853" y="383663"/>
                              <a:pt x="566793" y="383723"/>
                            </a:cubicBezTo>
                            <a:cubicBezTo>
                              <a:pt x="566673" y="383843"/>
                              <a:pt x="566614" y="383903"/>
                              <a:pt x="566554" y="383903"/>
                            </a:cubicBezTo>
                            <a:moveTo>
                              <a:pt x="563863" y="382108"/>
                            </a:moveTo>
                            <a:lnTo>
                              <a:pt x="565956" y="383544"/>
                            </a:lnTo>
                            <a:cubicBezTo>
                              <a:pt x="566016" y="383484"/>
                              <a:pt x="566076" y="383424"/>
                              <a:pt x="566135" y="383364"/>
                            </a:cubicBezTo>
                            <a:cubicBezTo>
                              <a:pt x="566195" y="383304"/>
                              <a:pt x="566255" y="383244"/>
                              <a:pt x="566315" y="383185"/>
                            </a:cubicBezTo>
                            <a:cubicBezTo>
                              <a:pt x="566375" y="383125"/>
                              <a:pt x="566434" y="383065"/>
                              <a:pt x="566494" y="383005"/>
                            </a:cubicBezTo>
                            <a:cubicBezTo>
                              <a:pt x="566554" y="382945"/>
                              <a:pt x="566614" y="382886"/>
                              <a:pt x="566673" y="382886"/>
                            </a:cubicBezTo>
                            <a:lnTo>
                              <a:pt x="564401" y="381331"/>
                            </a:lnTo>
                            <a:lnTo>
                              <a:pt x="563863" y="382108"/>
                            </a:lnTo>
                            <a:moveTo>
                              <a:pt x="350052" y="240066"/>
                            </a:moveTo>
                            <a:lnTo>
                              <a:pt x="563324" y="381749"/>
                            </a:lnTo>
                            <a:lnTo>
                              <a:pt x="563923" y="381032"/>
                            </a:lnTo>
                            <a:lnTo>
                              <a:pt x="350650" y="239169"/>
                            </a:lnTo>
                            <a:cubicBezTo>
                              <a:pt x="350590" y="239229"/>
                              <a:pt x="350590" y="239348"/>
                              <a:pt x="350530" y="239408"/>
                            </a:cubicBezTo>
                            <a:cubicBezTo>
                              <a:pt x="350471" y="239468"/>
                              <a:pt x="350471" y="239588"/>
                              <a:pt x="350411" y="239648"/>
                            </a:cubicBezTo>
                            <a:cubicBezTo>
                              <a:pt x="350351" y="239707"/>
                              <a:pt x="350291" y="239827"/>
                              <a:pt x="350291" y="239887"/>
                            </a:cubicBezTo>
                            <a:cubicBezTo>
                              <a:pt x="350171" y="239887"/>
                              <a:pt x="350112" y="240006"/>
                              <a:pt x="350052" y="240066"/>
                            </a:cubicBezTo>
                            <a:moveTo>
                              <a:pt x="348377" y="238930"/>
                            </a:moveTo>
                            <a:lnTo>
                              <a:pt x="349334" y="239528"/>
                            </a:lnTo>
                            <a:cubicBezTo>
                              <a:pt x="349394" y="239468"/>
                              <a:pt x="349454" y="239348"/>
                              <a:pt x="349454" y="239289"/>
                            </a:cubicBezTo>
                            <a:cubicBezTo>
                              <a:pt x="349513" y="239229"/>
                              <a:pt x="349573" y="239109"/>
                              <a:pt x="349573" y="239049"/>
                            </a:cubicBezTo>
                            <a:cubicBezTo>
                              <a:pt x="349633" y="238989"/>
                              <a:pt x="349633" y="238870"/>
                              <a:pt x="349693" y="238810"/>
                            </a:cubicBezTo>
                            <a:cubicBezTo>
                              <a:pt x="349753" y="238750"/>
                              <a:pt x="349753" y="238631"/>
                              <a:pt x="349812" y="238571"/>
                            </a:cubicBezTo>
                            <a:lnTo>
                              <a:pt x="348856" y="237913"/>
                            </a:lnTo>
                            <a:cubicBezTo>
                              <a:pt x="348796" y="237973"/>
                              <a:pt x="348796" y="238093"/>
                              <a:pt x="348736" y="238152"/>
                            </a:cubicBezTo>
                            <a:cubicBezTo>
                              <a:pt x="348676" y="238212"/>
                              <a:pt x="348676" y="238332"/>
                              <a:pt x="348617" y="238391"/>
                            </a:cubicBezTo>
                            <a:cubicBezTo>
                              <a:pt x="348557" y="238451"/>
                              <a:pt x="348557" y="238571"/>
                              <a:pt x="348497" y="238631"/>
                            </a:cubicBezTo>
                            <a:cubicBezTo>
                              <a:pt x="348497" y="238810"/>
                              <a:pt x="348437" y="238870"/>
                              <a:pt x="348377" y="238930"/>
                            </a:cubicBezTo>
                            <a:moveTo>
                              <a:pt x="345327" y="236896"/>
                            </a:moveTo>
                            <a:lnTo>
                              <a:pt x="347659" y="238451"/>
                            </a:lnTo>
                            <a:cubicBezTo>
                              <a:pt x="347719" y="238391"/>
                              <a:pt x="347779" y="238272"/>
                              <a:pt x="347779" y="238212"/>
                            </a:cubicBezTo>
                            <a:cubicBezTo>
                              <a:pt x="347839" y="238152"/>
                              <a:pt x="347839" y="238033"/>
                              <a:pt x="347899" y="237973"/>
                            </a:cubicBezTo>
                            <a:cubicBezTo>
                              <a:pt x="347958" y="237913"/>
                              <a:pt x="347958" y="237794"/>
                              <a:pt x="348018" y="237734"/>
                            </a:cubicBezTo>
                            <a:cubicBezTo>
                              <a:pt x="348078" y="237674"/>
                              <a:pt x="348078" y="237554"/>
                              <a:pt x="348138" y="237494"/>
                            </a:cubicBezTo>
                            <a:lnTo>
                              <a:pt x="345925" y="235999"/>
                            </a:lnTo>
                            <a:cubicBezTo>
                              <a:pt x="345865" y="236059"/>
                              <a:pt x="345805" y="236119"/>
                              <a:pt x="345746" y="236238"/>
                            </a:cubicBezTo>
                            <a:cubicBezTo>
                              <a:pt x="345686" y="236298"/>
                              <a:pt x="345626" y="236358"/>
                              <a:pt x="345566" y="236478"/>
                            </a:cubicBezTo>
                            <a:cubicBezTo>
                              <a:pt x="345506" y="236537"/>
                              <a:pt x="345447" y="236597"/>
                              <a:pt x="345387" y="236717"/>
                            </a:cubicBezTo>
                            <a:cubicBezTo>
                              <a:pt x="345327" y="236836"/>
                              <a:pt x="345387" y="236836"/>
                              <a:pt x="345327" y="236896"/>
                            </a:cubicBezTo>
                            <a:moveTo>
                              <a:pt x="343652" y="235820"/>
                            </a:moveTo>
                            <a:lnTo>
                              <a:pt x="344609" y="236478"/>
                            </a:lnTo>
                            <a:cubicBezTo>
                              <a:pt x="344669" y="236418"/>
                              <a:pt x="344729" y="236358"/>
                              <a:pt x="344789" y="236238"/>
                            </a:cubicBezTo>
                            <a:cubicBezTo>
                              <a:pt x="344849" y="236179"/>
                              <a:pt x="344909" y="236119"/>
                              <a:pt x="344968" y="235999"/>
                            </a:cubicBezTo>
                            <a:cubicBezTo>
                              <a:pt x="345028" y="235940"/>
                              <a:pt x="345088" y="235880"/>
                              <a:pt x="345148" y="235760"/>
                            </a:cubicBezTo>
                            <a:cubicBezTo>
                              <a:pt x="345207" y="235700"/>
                              <a:pt x="345267" y="235640"/>
                              <a:pt x="345327" y="235521"/>
                            </a:cubicBezTo>
                            <a:lnTo>
                              <a:pt x="344370" y="234863"/>
                            </a:lnTo>
                            <a:cubicBezTo>
                              <a:pt x="344310" y="234923"/>
                              <a:pt x="344250" y="234982"/>
                              <a:pt x="344191" y="235102"/>
                            </a:cubicBezTo>
                            <a:cubicBezTo>
                              <a:pt x="344131" y="235162"/>
                              <a:pt x="344071" y="235222"/>
                              <a:pt x="344011" y="235341"/>
                            </a:cubicBezTo>
                            <a:cubicBezTo>
                              <a:pt x="343951" y="235401"/>
                              <a:pt x="343892" y="235461"/>
                              <a:pt x="343832" y="235580"/>
                            </a:cubicBezTo>
                            <a:cubicBezTo>
                              <a:pt x="343772" y="235700"/>
                              <a:pt x="343652" y="235700"/>
                              <a:pt x="343652" y="235820"/>
                            </a:cubicBezTo>
                            <a:moveTo>
                              <a:pt x="340243" y="233547"/>
                            </a:moveTo>
                            <a:lnTo>
                              <a:pt x="342875" y="235341"/>
                            </a:lnTo>
                            <a:cubicBezTo>
                              <a:pt x="342935" y="235281"/>
                              <a:pt x="342995" y="235222"/>
                              <a:pt x="343054" y="235102"/>
                            </a:cubicBezTo>
                            <a:cubicBezTo>
                              <a:pt x="343114" y="235042"/>
                              <a:pt x="343174" y="234982"/>
                              <a:pt x="343234" y="234863"/>
                            </a:cubicBezTo>
                            <a:cubicBezTo>
                              <a:pt x="343294" y="234803"/>
                              <a:pt x="343353" y="234743"/>
                              <a:pt x="343413" y="234624"/>
                            </a:cubicBezTo>
                            <a:cubicBezTo>
                              <a:pt x="343473" y="234504"/>
                              <a:pt x="343533" y="234504"/>
                              <a:pt x="343593" y="234384"/>
                            </a:cubicBezTo>
                            <a:lnTo>
                              <a:pt x="340961" y="232650"/>
                            </a:lnTo>
                            <a:cubicBezTo>
                              <a:pt x="340901" y="232710"/>
                              <a:pt x="340841" y="232770"/>
                              <a:pt x="340782" y="232889"/>
                            </a:cubicBezTo>
                            <a:cubicBezTo>
                              <a:pt x="340722" y="232949"/>
                              <a:pt x="340662" y="233009"/>
                              <a:pt x="340602" y="233128"/>
                            </a:cubicBezTo>
                            <a:cubicBezTo>
                              <a:pt x="340542" y="233248"/>
                              <a:pt x="340482" y="233248"/>
                              <a:pt x="340423" y="233368"/>
                            </a:cubicBezTo>
                            <a:cubicBezTo>
                              <a:pt x="340363" y="233427"/>
                              <a:pt x="340303" y="233487"/>
                              <a:pt x="340243" y="233547"/>
                            </a:cubicBezTo>
                            <a:moveTo>
                              <a:pt x="338569" y="232411"/>
                            </a:moveTo>
                            <a:lnTo>
                              <a:pt x="339526" y="233069"/>
                            </a:lnTo>
                            <a:cubicBezTo>
                              <a:pt x="339586" y="233009"/>
                              <a:pt x="339645" y="232949"/>
                              <a:pt x="339705" y="232829"/>
                            </a:cubicBezTo>
                            <a:cubicBezTo>
                              <a:pt x="339765" y="232770"/>
                              <a:pt x="339825" y="232710"/>
                              <a:pt x="339885" y="232590"/>
                            </a:cubicBezTo>
                            <a:cubicBezTo>
                              <a:pt x="339944" y="232530"/>
                              <a:pt x="340004" y="232471"/>
                              <a:pt x="340064" y="232351"/>
                            </a:cubicBezTo>
                            <a:cubicBezTo>
                              <a:pt x="340124" y="232291"/>
                              <a:pt x="340184" y="232231"/>
                              <a:pt x="340243" y="232112"/>
                            </a:cubicBezTo>
                            <a:lnTo>
                              <a:pt x="339287" y="231454"/>
                            </a:lnTo>
                            <a:cubicBezTo>
                              <a:pt x="339227" y="231513"/>
                              <a:pt x="339167" y="231573"/>
                              <a:pt x="339107" y="231693"/>
                            </a:cubicBezTo>
                            <a:cubicBezTo>
                              <a:pt x="339047" y="231753"/>
                              <a:pt x="338987" y="231813"/>
                              <a:pt x="338928" y="231932"/>
                            </a:cubicBezTo>
                            <a:cubicBezTo>
                              <a:pt x="338868" y="232052"/>
                              <a:pt x="338808" y="232052"/>
                              <a:pt x="338748" y="232172"/>
                            </a:cubicBezTo>
                            <a:cubicBezTo>
                              <a:pt x="338628" y="232291"/>
                              <a:pt x="338569" y="232351"/>
                              <a:pt x="338569" y="232411"/>
                            </a:cubicBezTo>
                            <a:moveTo>
                              <a:pt x="322002" y="221406"/>
                            </a:moveTo>
                            <a:lnTo>
                              <a:pt x="337791" y="231872"/>
                            </a:lnTo>
                            <a:cubicBezTo>
                              <a:pt x="337851" y="231813"/>
                              <a:pt x="337911" y="231753"/>
                              <a:pt x="337971" y="231633"/>
                            </a:cubicBezTo>
                            <a:cubicBezTo>
                              <a:pt x="338031" y="231513"/>
                              <a:pt x="338090" y="231513"/>
                              <a:pt x="338150" y="231394"/>
                            </a:cubicBezTo>
                            <a:cubicBezTo>
                              <a:pt x="338210" y="231334"/>
                              <a:pt x="338270" y="231274"/>
                              <a:pt x="338330" y="231155"/>
                            </a:cubicBezTo>
                            <a:cubicBezTo>
                              <a:pt x="338389" y="231035"/>
                              <a:pt x="338449" y="231035"/>
                              <a:pt x="338509" y="230916"/>
                            </a:cubicBezTo>
                            <a:lnTo>
                              <a:pt x="322720" y="220449"/>
                            </a:lnTo>
                            <a:lnTo>
                              <a:pt x="322002" y="221406"/>
                            </a:lnTo>
                            <a:moveTo>
                              <a:pt x="317756" y="218595"/>
                            </a:moveTo>
                            <a:lnTo>
                              <a:pt x="321344" y="220988"/>
                            </a:lnTo>
                            <a:lnTo>
                              <a:pt x="322002" y="220150"/>
                            </a:lnTo>
                            <a:lnTo>
                              <a:pt x="318175" y="217638"/>
                            </a:lnTo>
                            <a:cubicBezTo>
                              <a:pt x="318115" y="217698"/>
                              <a:pt x="318115" y="217818"/>
                              <a:pt x="318055" y="217878"/>
                            </a:cubicBezTo>
                            <a:cubicBezTo>
                              <a:pt x="317995" y="217938"/>
                              <a:pt x="317995" y="218057"/>
                              <a:pt x="317935" y="218117"/>
                            </a:cubicBezTo>
                            <a:cubicBezTo>
                              <a:pt x="317876" y="218177"/>
                              <a:pt x="317876" y="218296"/>
                              <a:pt x="317816" y="218356"/>
                            </a:cubicBezTo>
                            <a:cubicBezTo>
                              <a:pt x="317756" y="218416"/>
                              <a:pt x="317756" y="218476"/>
                              <a:pt x="317756" y="218595"/>
                            </a:cubicBezTo>
                            <a:moveTo>
                              <a:pt x="313450" y="215725"/>
                            </a:moveTo>
                            <a:lnTo>
                              <a:pt x="316978" y="218057"/>
                            </a:lnTo>
                            <a:cubicBezTo>
                              <a:pt x="317038" y="217997"/>
                              <a:pt x="317038" y="217878"/>
                              <a:pt x="317098" y="217818"/>
                            </a:cubicBezTo>
                            <a:cubicBezTo>
                              <a:pt x="317158" y="217758"/>
                              <a:pt x="317158" y="217638"/>
                              <a:pt x="317218" y="217579"/>
                            </a:cubicBezTo>
                            <a:cubicBezTo>
                              <a:pt x="317277" y="217519"/>
                              <a:pt x="317277" y="217399"/>
                              <a:pt x="317337" y="217339"/>
                            </a:cubicBezTo>
                            <a:cubicBezTo>
                              <a:pt x="317397" y="217279"/>
                              <a:pt x="317397" y="217160"/>
                              <a:pt x="317457" y="217100"/>
                            </a:cubicBezTo>
                            <a:lnTo>
                              <a:pt x="313689" y="214588"/>
                            </a:lnTo>
                            <a:cubicBezTo>
                              <a:pt x="313689" y="214708"/>
                              <a:pt x="313689" y="214768"/>
                              <a:pt x="313689" y="214887"/>
                            </a:cubicBezTo>
                            <a:cubicBezTo>
                              <a:pt x="313689" y="215007"/>
                              <a:pt x="313689" y="215067"/>
                              <a:pt x="313689" y="215186"/>
                            </a:cubicBezTo>
                            <a:cubicBezTo>
                              <a:pt x="313689" y="215306"/>
                              <a:pt x="313689" y="215366"/>
                              <a:pt x="313629" y="215485"/>
                            </a:cubicBezTo>
                            <a:cubicBezTo>
                              <a:pt x="313450" y="215545"/>
                              <a:pt x="313450" y="215605"/>
                              <a:pt x="313450" y="215725"/>
                            </a:cubicBezTo>
                            <a:moveTo>
                              <a:pt x="306273" y="210940"/>
                            </a:moveTo>
                            <a:lnTo>
                              <a:pt x="312493" y="215067"/>
                            </a:lnTo>
                            <a:cubicBezTo>
                              <a:pt x="312493" y="214947"/>
                              <a:pt x="312493" y="214827"/>
                              <a:pt x="312493" y="214708"/>
                            </a:cubicBezTo>
                            <a:cubicBezTo>
                              <a:pt x="312493" y="214588"/>
                              <a:pt x="312493" y="214469"/>
                              <a:pt x="312493" y="214349"/>
                            </a:cubicBezTo>
                            <a:cubicBezTo>
                              <a:pt x="312493" y="214229"/>
                              <a:pt x="312493" y="214110"/>
                              <a:pt x="312433" y="213990"/>
                            </a:cubicBezTo>
                            <a:cubicBezTo>
                              <a:pt x="312373" y="213871"/>
                              <a:pt x="312373" y="213751"/>
                              <a:pt x="312373" y="213631"/>
                            </a:cubicBezTo>
                            <a:lnTo>
                              <a:pt x="307648" y="210521"/>
                            </a:lnTo>
                            <a:cubicBezTo>
                              <a:pt x="307529" y="210521"/>
                              <a:pt x="307409" y="210581"/>
                              <a:pt x="307290" y="210581"/>
                            </a:cubicBezTo>
                            <a:cubicBezTo>
                              <a:pt x="307170" y="210581"/>
                              <a:pt x="307050" y="210641"/>
                              <a:pt x="306931" y="210641"/>
                            </a:cubicBezTo>
                            <a:cubicBezTo>
                              <a:pt x="306811" y="210641"/>
                              <a:pt x="306692" y="210701"/>
                              <a:pt x="306572" y="210761"/>
                            </a:cubicBezTo>
                            <a:cubicBezTo>
                              <a:pt x="306512" y="210880"/>
                              <a:pt x="306393" y="210940"/>
                              <a:pt x="306273" y="210940"/>
                            </a:cubicBezTo>
                            <a:moveTo>
                              <a:pt x="301668" y="207890"/>
                            </a:moveTo>
                            <a:lnTo>
                              <a:pt x="305316" y="210282"/>
                            </a:lnTo>
                            <a:cubicBezTo>
                              <a:pt x="305436" y="210222"/>
                              <a:pt x="305495" y="210162"/>
                              <a:pt x="305615" y="210162"/>
                            </a:cubicBezTo>
                            <a:cubicBezTo>
                              <a:pt x="305735" y="210162"/>
                              <a:pt x="305794" y="210103"/>
                              <a:pt x="305914" y="210043"/>
                            </a:cubicBezTo>
                            <a:cubicBezTo>
                              <a:pt x="306034" y="209983"/>
                              <a:pt x="306093" y="209983"/>
                              <a:pt x="306213" y="209923"/>
                            </a:cubicBezTo>
                            <a:cubicBezTo>
                              <a:pt x="306333" y="209863"/>
                              <a:pt x="306393" y="209863"/>
                              <a:pt x="306512" y="209803"/>
                            </a:cubicBezTo>
                            <a:lnTo>
                              <a:pt x="302565" y="207172"/>
                            </a:lnTo>
                            <a:cubicBezTo>
                              <a:pt x="302505" y="207232"/>
                              <a:pt x="302385" y="207292"/>
                              <a:pt x="302325" y="207352"/>
                            </a:cubicBezTo>
                            <a:cubicBezTo>
                              <a:pt x="302266" y="207411"/>
                              <a:pt x="302146" y="207471"/>
                              <a:pt x="302086" y="207531"/>
                            </a:cubicBezTo>
                            <a:cubicBezTo>
                              <a:pt x="302026" y="207591"/>
                              <a:pt x="301907" y="207650"/>
                              <a:pt x="301847" y="207710"/>
                            </a:cubicBezTo>
                            <a:cubicBezTo>
                              <a:pt x="301787" y="207770"/>
                              <a:pt x="301728" y="207830"/>
                              <a:pt x="301668" y="207890"/>
                            </a:cubicBezTo>
                            <a:moveTo>
                              <a:pt x="294850" y="203404"/>
                            </a:moveTo>
                            <a:lnTo>
                              <a:pt x="300890" y="207411"/>
                            </a:lnTo>
                            <a:cubicBezTo>
                              <a:pt x="300950" y="207352"/>
                              <a:pt x="301070" y="207292"/>
                              <a:pt x="301130" y="207232"/>
                            </a:cubicBezTo>
                            <a:cubicBezTo>
                              <a:pt x="301189" y="207172"/>
                              <a:pt x="301309" y="207112"/>
                              <a:pt x="301369" y="207053"/>
                            </a:cubicBezTo>
                            <a:cubicBezTo>
                              <a:pt x="301429" y="206993"/>
                              <a:pt x="301548" y="206933"/>
                              <a:pt x="301608" y="206873"/>
                            </a:cubicBezTo>
                            <a:cubicBezTo>
                              <a:pt x="301668" y="206813"/>
                              <a:pt x="301787" y="206754"/>
                              <a:pt x="301847" y="206694"/>
                            </a:cubicBezTo>
                            <a:lnTo>
                              <a:pt x="295568" y="202507"/>
                            </a:lnTo>
                            <a:lnTo>
                              <a:pt x="294850" y="203404"/>
                            </a:lnTo>
                            <a:moveTo>
                              <a:pt x="281453" y="194493"/>
                            </a:moveTo>
                            <a:lnTo>
                              <a:pt x="294072" y="202866"/>
                            </a:lnTo>
                            <a:lnTo>
                              <a:pt x="294730" y="201969"/>
                            </a:lnTo>
                            <a:lnTo>
                              <a:pt x="282111" y="193596"/>
                            </a:lnTo>
                            <a:lnTo>
                              <a:pt x="281453" y="194493"/>
                            </a:lnTo>
                            <a:moveTo>
                              <a:pt x="277207" y="191622"/>
                            </a:moveTo>
                            <a:lnTo>
                              <a:pt x="280735" y="193955"/>
                            </a:lnTo>
                            <a:lnTo>
                              <a:pt x="281453" y="193057"/>
                            </a:lnTo>
                            <a:lnTo>
                              <a:pt x="277924" y="190725"/>
                            </a:lnTo>
                            <a:lnTo>
                              <a:pt x="277207" y="191622"/>
                            </a:lnTo>
                            <a:moveTo>
                              <a:pt x="274097" y="189589"/>
                            </a:moveTo>
                            <a:lnTo>
                              <a:pt x="276429" y="191144"/>
                            </a:lnTo>
                            <a:lnTo>
                              <a:pt x="277147" y="190247"/>
                            </a:lnTo>
                            <a:lnTo>
                              <a:pt x="274575" y="188512"/>
                            </a:lnTo>
                            <a:cubicBezTo>
                              <a:pt x="274515" y="188572"/>
                              <a:pt x="274515" y="188692"/>
                              <a:pt x="274455" y="188752"/>
                            </a:cubicBezTo>
                            <a:cubicBezTo>
                              <a:pt x="274396" y="188811"/>
                              <a:pt x="274396" y="188931"/>
                              <a:pt x="274336" y="188991"/>
                            </a:cubicBezTo>
                            <a:cubicBezTo>
                              <a:pt x="274276" y="189051"/>
                              <a:pt x="274276" y="189170"/>
                              <a:pt x="274216" y="189230"/>
                            </a:cubicBezTo>
                            <a:cubicBezTo>
                              <a:pt x="274156" y="189409"/>
                              <a:pt x="274097" y="189469"/>
                              <a:pt x="274097" y="189589"/>
                            </a:cubicBezTo>
                            <a:moveTo>
                              <a:pt x="269551" y="186599"/>
                            </a:moveTo>
                            <a:lnTo>
                              <a:pt x="273259" y="189051"/>
                            </a:lnTo>
                            <a:cubicBezTo>
                              <a:pt x="273319" y="188991"/>
                              <a:pt x="273319" y="188871"/>
                              <a:pt x="273379" y="188811"/>
                            </a:cubicBezTo>
                            <a:cubicBezTo>
                              <a:pt x="273439" y="188752"/>
                              <a:pt x="273439" y="188632"/>
                              <a:pt x="273499" y="188572"/>
                            </a:cubicBezTo>
                            <a:cubicBezTo>
                              <a:pt x="273558" y="188512"/>
                              <a:pt x="273558" y="188393"/>
                              <a:pt x="273618" y="188333"/>
                            </a:cubicBezTo>
                            <a:cubicBezTo>
                              <a:pt x="273678" y="188273"/>
                              <a:pt x="273678" y="188153"/>
                              <a:pt x="273738" y="188094"/>
                            </a:cubicBezTo>
                            <a:lnTo>
                              <a:pt x="269790" y="185462"/>
                            </a:lnTo>
                            <a:cubicBezTo>
                              <a:pt x="269790" y="185582"/>
                              <a:pt x="269790" y="185641"/>
                              <a:pt x="269790" y="185761"/>
                            </a:cubicBezTo>
                            <a:cubicBezTo>
                              <a:pt x="269790" y="185881"/>
                              <a:pt x="269790" y="186000"/>
                              <a:pt x="269790" y="186060"/>
                            </a:cubicBezTo>
                            <a:cubicBezTo>
                              <a:pt x="269790" y="186180"/>
                              <a:pt x="269790" y="186299"/>
                              <a:pt x="269731" y="186359"/>
                            </a:cubicBezTo>
                            <a:cubicBezTo>
                              <a:pt x="269611" y="186359"/>
                              <a:pt x="269551" y="186479"/>
                              <a:pt x="269551" y="186599"/>
                            </a:cubicBezTo>
                            <a:moveTo>
                              <a:pt x="263690" y="182711"/>
                            </a:moveTo>
                            <a:lnTo>
                              <a:pt x="268594" y="185940"/>
                            </a:lnTo>
                            <a:cubicBezTo>
                              <a:pt x="268594" y="185821"/>
                              <a:pt x="268594" y="185701"/>
                              <a:pt x="268594" y="185582"/>
                            </a:cubicBezTo>
                            <a:cubicBezTo>
                              <a:pt x="268594" y="185462"/>
                              <a:pt x="268594" y="185342"/>
                              <a:pt x="268594" y="185223"/>
                            </a:cubicBezTo>
                            <a:cubicBezTo>
                              <a:pt x="268594" y="185103"/>
                              <a:pt x="268594" y="184984"/>
                              <a:pt x="268535" y="184864"/>
                            </a:cubicBezTo>
                            <a:cubicBezTo>
                              <a:pt x="268535" y="184744"/>
                              <a:pt x="268475" y="184625"/>
                              <a:pt x="268475" y="184505"/>
                            </a:cubicBezTo>
                            <a:lnTo>
                              <a:pt x="264408" y="181814"/>
                            </a:lnTo>
                            <a:lnTo>
                              <a:pt x="263690" y="182711"/>
                            </a:lnTo>
                            <a:moveTo>
                              <a:pt x="262015" y="181575"/>
                            </a:moveTo>
                            <a:lnTo>
                              <a:pt x="262913" y="182173"/>
                            </a:lnTo>
                            <a:lnTo>
                              <a:pt x="263630" y="181276"/>
                            </a:lnTo>
                            <a:lnTo>
                              <a:pt x="263570" y="181216"/>
                            </a:lnTo>
                            <a:cubicBezTo>
                              <a:pt x="263451" y="181216"/>
                              <a:pt x="263331" y="181216"/>
                              <a:pt x="263212" y="181276"/>
                            </a:cubicBezTo>
                            <a:cubicBezTo>
                              <a:pt x="263092" y="181276"/>
                              <a:pt x="262973" y="181336"/>
                              <a:pt x="262853" y="181336"/>
                            </a:cubicBezTo>
                            <a:cubicBezTo>
                              <a:pt x="262733" y="181336"/>
                              <a:pt x="262614" y="181395"/>
                              <a:pt x="262494" y="181455"/>
                            </a:cubicBezTo>
                            <a:cubicBezTo>
                              <a:pt x="262255" y="181455"/>
                              <a:pt x="262135" y="181515"/>
                              <a:pt x="262015" y="181575"/>
                            </a:cubicBezTo>
                            <a:moveTo>
                              <a:pt x="257171" y="178345"/>
                            </a:moveTo>
                            <a:lnTo>
                              <a:pt x="260999" y="180917"/>
                            </a:lnTo>
                            <a:cubicBezTo>
                              <a:pt x="261119" y="180857"/>
                              <a:pt x="261238" y="180797"/>
                              <a:pt x="261298" y="180797"/>
                            </a:cubicBezTo>
                            <a:cubicBezTo>
                              <a:pt x="261418" y="180737"/>
                              <a:pt x="261537" y="180737"/>
                              <a:pt x="261597" y="180677"/>
                            </a:cubicBezTo>
                            <a:cubicBezTo>
                              <a:pt x="261716" y="180618"/>
                              <a:pt x="261836" y="180618"/>
                              <a:pt x="261896" y="180558"/>
                            </a:cubicBezTo>
                            <a:cubicBezTo>
                              <a:pt x="262015" y="180498"/>
                              <a:pt x="262135" y="180498"/>
                              <a:pt x="262195" y="180438"/>
                            </a:cubicBezTo>
                            <a:lnTo>
                              <a:pt x="258068" y="177687"/>
                            </a:lnTo>
                            <a:cubicBezTo>
                              <a:pt x="258008" y="177747"/>
                              <a:pt x="257889" y="177807"/>
                              <a:pt x="257829" y="177867"/>
                            </a:cubicBezTo>
                            <a:cubicBezTo>
                              <a:pt x="257769" y="177926"/>
                              <a:pt x="257650" y="177986"/>
                              <a:pt x="257590" y="178046"/>
                            </a:cubicBezTo>
                            <a:cubicBezTo>
                              <a:pt x="257530" y="178106"/>
                              <a:pt x="257411" y="178166"/>
                              <a:pt x="257351" y="178225"/>
                            </a:cubicBezTo>
                            <a:cubicBezTo>
                              <a:pt x="257351" y="178225"/>
                              <a:pt x="257291" y="178285"/>
                              <a:pt x="257171" y="178345"/>
                            </a:cubicBezTo>
                            <a:moveTo>
                              <a:pt x="253284" y="175773"/>
                            </a:moveTo>
                            <a:lnTo>
                              <a:pt x="256394" y="177867"/>
                            </a:lnTo>
                            <a:cubicBezTo>
                              <a:pt x="256453" y="177807"/>
                              <a:pt x="256573" y="177747"/>
                              <a:pt x="256633" y="177687"/>
                            </a:cubicBezTo>
                            <a:cubicBezTo>
                              <a:pt x="256693" y="177628"/>
                              <a:pt x="256812" y="177568"/>
                              <a:pt x="256872" y="177508"/>
                            </a:cubicBezTo>
                            <a:cubicBezTo>
                              <a:pt x="256932" y="177448"/>
                              <a:pt x="257052" y="177388"/>
                              <a:pt x="257111" y="177328"/>
                            </a:cubicBezTo>
                            <a:cubicBezTo>
                              <a:pt x="257171" y="177268"/>
                              <a:pt x="257291" y="177209"/>
                              <a:pt x="257351" y="177149"/>
                            </a:cubicBezTo>
                            <a:lnTo>
                              <a:pt x="253942" y="174876"/>
                            </a:lnTo>
                            <a:lnTo>
                              <a:pt x="253284" y="175773"/>
                            </a:lnTo>
                            <a:moveTo>
                              <a:pt x="138095" y="99220"/>
                            </a:moveTo>
                            <a:lnTo>
                              <a:pt x="252446" y="175235"/>
                            </a:lnTo>
                            <a:lnTo>
                              <a:pt x="253164" y="174338"/>
                            </a:lnTo>
                            <a:lnTo>
                              <a:pt x="138753" y="98203"/>
                            </a:lnTo>
                            <a:cubicBezTo>
                              <a:pt x="138693" y="98263"/>
                              <a:pt x="138633" y="98383"/>
                              <a:pt x="138574" y="98442"/>
                            </a:cubicBezTo>
                            <a:cubicBezTo>
                              <a:pt x="138514" y="98502"/>
                              <a:pt x="138454" y="98622"/>
                              <a:pt x="138394" y="98682"/>
                            </a:cubicBezTo>
                            <a:cubicBezTo>
                              <a:pt x="138334" y="98742"/>
                              <a:pt x="138274" y="98861"/>
                              <a:pt x="138214" y="98921"/>
                            </a:cubicBezTo>
                            <a:cubicBezTo>
                              <a:pt x="138155" y="98981"/>
                              <a:pt x="138155" y="99160"/>
                              <a:pt x="138095" y="99220"/>
                            </a:cubicBezTo>
                            <a:moveTo>
                              <a:pt x="136002" y="97845"/>
                            </a:moveTo>
                            <a:lnTo>
                              <a:pt x="137198" y="98622"/>
                            </a:lnTo>
                            <a:cubicBezTo>
                              <a:pt x="137258" y="98562"/>
                              <a:pt x="137318" y="98442"/>
                              <a:pt x="137377" y="98383"/>
                            </a:cubicBezTo>
                            <a:cubicBezTo>
                              <a:pt x="137437" y="98323"/>
                              <a:pt x="137497" y="98203"/>
                              <a:pt x="137557" y="98143"/>
                            </a:cubicBezTo>
                            <a:cubicBezTo>
                              <a:pt x="137616" y="98084"/>
                              <a:pt x="137676" y="97964"/>
                              <a:pt x="137736" y="97904"/>
                            </a:cubicBezTo>
                            <a:cubicBezTo>
                              <a:pt x="137796" y="97845"/>
                              <a:pt x="137856" y="97725"/>
                              <a:pt x="137915" y="97665"/>
                            </a:cubicBezTo>
                            <a:lnTo>
                              <a:pt x="136719" y="96888"/>
                            </a:lnTo>
                            <a:cubicBezTo>
                              <a:pt x="136660" y="96947"/>
                              <a:pt x="136600" y="97067"/>
                              <a:pt x="136540" y="97127"/>
                            </a:cubicBezTo>
                            <a:cubicBezTo>
                              <a:pt x="136480" y="97187"/>
                              <a:pt x="136420" y="97306"/>
                              <a:pt x="136360" y="97366"/>
                            </a:cubicBezTo>
                            <a:cubicBezTo>
                              <a:pt x="136301" y="97426"/>
                              <a:pt x="136241" y="97546"/>
                              <a:pt x="136181" y="97605"/>
                            </a:cubicBezTo>
                            <a:cubicBezTo>
                              <a:pt x="136061" y="97665"/>
                              <a:pt x="136061" y="97725"/>
                              <a:pt x="136002" y="97845"/>
                            </a:cubicBezTo>
                            <a:moveTo>
                              <a:pt x="132294" y="95393"/>
                            </a:moveTo>
                            <a:lnTo>
                              <a:pt x="135045" y="97247"/>
                            </a:lnTo>
                            <a:cubicBezTo>
                              <a:pt x="135105" y="97187"/>
                              <a:pt x="135165" y="97067"/>
                              <a:pt x="135224" y="97007"/>
                            </a:cubicBezTo>
                            <a:cubicBezTo>
                              <a:pt x="135284" y="96947"/>
                              <a:pt x="135344" y="96828"/>
                              <a:pt x="135404" y="96768"/>
                            </a:cubicBezTo>
                            <a:cubicBezTo>
                              <a:pt x="135464" y="96708"/>
                              <a:pt x="135523" y="96588"/>
                              <a:pt x="135583" y="96529"/>
                            </a:cubicBezTo>
                            <a:cubicBezTo>
                              <a:pt x="135643" y="96469"/>
                              <a:pt x="135703" y="96349"/>
                              <a:pt x="135762" y="96289"/>
                            </a:cubicBezTo>
                            <a:lnTo>
                              <a:pt x="133071" y="94495"/>
                            </a:lnTo>
                            <a:cubicBezTo>
                              <a:pt x="133011" y="94555"/>
                              <a:pt x="132952" y="94675"/>
                              <a:pt x="132892" y="94734"/>
                            </a:cubicBezTo>
                            <a:cubicBezTo>
                              <a:pt x="132832" y="94794"/>
                              <a:pt x="132772" y="94914"/>
                              <a:pt x="132712" y="94974"/>
                            </a:cubicBezTo>
                            <a:cubicBezTo>
                              <a:pt x="132652" y="95033"/>
                              <a:pt x="132593" y="95153"/>
                              <a:pt x="132533" y="95213"/>
                            </a:cubicBezTo>
                            <a:cubicBezTo>
                              <a:pt x="132413" y="95213"/>
                              <a:pt x="132353" y="95273"/>
                              <a:pt x="132294" y="95393"/>
                            </a:cubicBezTo>
                            <a:moveTo>
                              <a:pt x="130200" y="93957"/>
                            </a:moveTo>
                            <a:lnTo>
                              <a:pt x="131397" y="94734"/>
                            </a:lnTo>
                            <a:cubicBezTo>
                              <a:pt x="131457" y="94675"/>
                              <a:pt x="131516" y="94555"/>
                              <a:pt x="131576" y="94495"/>
                            </a:cubicBezTo>
                            <a:cubicBezTo>
                              <a:pt x="131636" y="94435"/>
                              <a:pt x="131696" y="94316"/>
                              <a:pt x="131755" y="94256"/>
                            </a:cubicBezTo>
                            <a:cubicBezTo>
                              <a:pt x="131815" y="94196"/>
                              <a:pt x="131875" y="94077"/>
                              <a:pt x="131935" y="94017"/>
                            </a:cubicBezTo>
                            <a:cubicBezTo>
                              <a:pt x="131995" y="93957"/>
                              <a:pt x="132054" y="93838"/>
                              <a:pt x="132114" y="93778"/>
                            </a:cubicBezTo>
                            <a:lnTo>
                              <a:pt x="130918" y="93000"/>
                            </a:lnTo>
                            <a:cubicBezTo>
                              <a:pt x="130858" y="93060"/>
                              <a:pt x="130798" y="93179"/>
                              <a:pt x="130739" y="93239"/>
                            </a:cubicBezTo>
                            <a:cubicBezTo>
                              <a:pt x="130679" y="93299"/>
                              <a:pt x="130619" y="93419"/>
                              <a:pt x="130559" y="93479"/>
                            </a:cubicBezTo>
                            <a:cubicBezTo>
                              <a:pt x="130499" y="93538"/>
                              <a:pt x="130440" y="93658"/>
                              <a:pt x="130380" y="93718"/>
                            </a:cubicBezTo>
                            <a:cubicBezTo>
                              <a:pt x="130320" y="93778"/>
                              <a:pt x="130260" y="93897"/>
                              <a:pt x="130200" y="93957"/>
                            </a:cubicBezTo>
                            <a:moveTo>
                              <a:pt x="126253" y="91385"/>
                            </a:moveTo>
                            <a:lnTo>
                              <a:pt x="129243" y="93359"/>
                            </a:lnTo>
                            <a:cubicBezTo>
                              <a:pt x="129303" y="93299"/>
                              <a:pt x="129363" y="93179"/>
                              <a:pt x="129423" y="93120"/>
                            </a:cubicBezTo>
                            <a:cubicBezTo>
                              <a:pt x="129483" y="93060"/>
                              <a:pt x="129543" y="92940"/>
                              <a:pt x="129603" y="92880"/>
                            </a:cubicBezTo>
                            <a:cubicBezTo>
                              <a:pt x="129662" y="92821"/>
                              <a:pt x="129722" y="92701"/>
                              <a:pt x="129782" y="92641"/>
                            </a:cubicBezTo>
                            <a:cubicBezTo>
                              <a:pt x="129842" y="92581"/>
                              <a:pt x="129901" y="92462"/>
                              <a:pt x="129961" y="92402"/>
                            </a:cubicBezTo>
                            <a:lnTo>
                              <a:pt x="127030" y="90488"/>
                            </a:lnTo>
                            <a:cubicBezTo>
                              <a:pt x="126971" y="90548"/>
                              <a:pt x="126911" y="90668"/>
                              <a:pt x="126851" y="90727"/>
                            </a:cubicBezTo>
                            <a:cubicBezTo>
                              <a:pt x="126791" y="90787"/>
                              <a:pt x="126732" y="90907"/>
                              <a:pt x="126672" y="90967"/>
                            </a:cubicBezTo>
                            <a:cubicBezTo>
                              <a:pt x="126612" y="91026"/>
                              <a:pt x="126552" y="91146"/>
                              <a:pt x="126492" y="91206"/>
                            </a:cubicBezTo>
                            <a:cubicBezTo>
                              <a:pt x="126433" y="91266"/>
                              <a:pt x="126373" y="91325"/>
                              <a:pt x="126253" y="91385"/>
                            </a:cubicBezTo>
                            <a:moveTo>
                              <a:pt x="124160" y="89950"/>
                            </a:moveTo>
                            <a:lnTo>
                              <a:pt x="125356" y="90727"/>
                            </a:lnTo>
                            <a:cubicBezTo>
                              <a:pt x="125416" y="90668"/>
                              <a:pt x="125476" y="90548"/>
                              <a:pt x="125535" y="90488"/>
                            </a:cubicBezTo>
                            <a:cubicBezTo>
                              <a:pt x="125595" y="90428"/>
                              <a:pt x="125655" y="90309"/>
                              <a:pt x="125715" y="90249"/>
                            </a:cubicBezTo>
                            <a:cubicBezTo>
                              <a:pt x="125775" y="90189"/>
                              <a:pt x="125835" y="90070"/>
                              <a:pt x="125894" y="90010"/>
                            </a:cubicBezTo>
                            <a:cubicBezTo>
                              <a:pt x="125954" y="89950"/>
                              <a:pt x="126014" y="89830"/>
                              <a:pt x="126074" y="89771"/>
                            </a:cubicBezTo>
                            <a:lnTo>
                              <a:pt x="124878" y="88993"/>
                            </a:lnTo>
                            <a:cubicBezTo>
                              <a:pt x="124818" y="89053"/>
                              <a:pt x="124758" y="89172"/>
                              <a:pt x="124698" y="89232"/>
                            </a:cubicBezTo>
                            <a:cubicBezTo>
                              <a:pt x="124638" y="89292"/>
                              <a:pt x="124579" y="89412"/>
                              <a:pt x="124519" y="89471"/>
                            </a:cubicBezTo>
                            <a:cubicBezTo>
                              <a:pt x="124459" y="89531"/>
                              <a:pt x="124399" y="89651"/>
                              <a:pt x="124339" y="89711"/>
                            </a:cubicBezTo>
                            <a:cubicBezTo>
                              <a:pt x="124280" y="89771"/>
                              <a:pt x="124220" y="89890"/>
                              <a:pt x="124160" y="89950"/>
                            </a:cubicBezTo>
                            <a:moveTo>
                              <a:pt x="100357" y="74161"/>
                            </a:moveTo>
                            <a:lnTo>
                              <a:pt x="123203" y="89352"/>
                            </a:lnTo>
                            <a:cubicBezTo>
                              <a:pt x="123263" y="89292"/>
                              <a:pt x="123322" y="89172"/>
                              <a:pt x="123382" y="89113"/>
                            </a:cubicBezTo>
                            <a:cubicBezTo>
                              <a:pt x="123442" y="89053"/>
                              <a:pt x="123502" y="88933"/>
                              <a:pt x="123562" y="88873"/>
                            </a:cubicBezTo>
                            <a:cubicBezTo>
                              <a:pt x="123622" y="88814"/>
                              <a:pt x="123681" y="88694"/>
                              <a:pt x="123741" y="88634"/>
                            </a:cubicBezTo>
                            <a:cubicBezTo>
                              <a:pt x="123801" y="88574"/>
                              <a:pt x="123861" y="88455"/>
                              <a:pt x="123921" y="88395"/>
                            </a:cubicBezTo>
                            <a:lnTo>
                              <a:pt x="101014" y="73144"/>
                            </a:lnTo>
                            <a:lnTo>
                              <a:pt x="100357" y="74161"/>
                            </a:lnTo>
                            <a:moveTo>
                              <a:pt x="94854" y="70513"/>
                            </a:moveTo>
                            <a:lnTo>
                              <a:pt x="99400" y="73503"/>
                            </a:lnTo>
                            <a:lnTo>
                              <a:pt x="100177" y="72546"/>
                            </a:lnTo>
                            <a:lnTo>
                              <a:pt x="95333" y="69316"/>
                            </a:lnTo>
                            <a:cubicBezTo>
                              <a:pt x="95273" y="69436"/>
                              <a:pt x="95273" y="69496"/>
                              <a:pt x="95213" y="69615"/>
                            </a:cubicBezTo>
                            <a:cubicBezTo>
                              <a:pt x="95154" y="69735"/>
                              <a:pt x="95154" y="69795"/>
                              <a:pt x="95094" y="69915"/>
                            </a:cubicBezTo>
                            <a:cubicBezTo>
                              <a:pt x="95034" y="70034"/>
                              <a:pt x="95034" y="70094"/>
                              <a:pt x="94974" y="70214"/>
                            </a:cubicBezTo>
                            <a:cubicBezTo>
                              <a:pt x="94914" y="70333"/>
                              <a:pt x="94914" y="70393"/>
                              <a:pt x="94854" y="70513"/>
                            </a:cubicBezTo>
                            <a:moveTo>
                              <a:pt x="89352" y="66864"/>
                            </a:moveTo>
                            <a:lnTo>
                              <a:pt x="93838" y="69855"/>
                            </a:lnTo>
                            <a:cubicBezTo>
                              <a:pt x="93897" y="69735"/>
                              <a:pt x="93897" y="69675"/>
                              <a:pt x="93957" y="69556"/>
                            </a:cubicBezTo>
                            <a:cubicBezTo>
                              <a:pt x="94017" y="69436"/>
                              <a:pt x="94017" y="69376"/>
                              <a:pt x="94077" y="69256"/>
                            </a:cubicBezTo>
                            <a:cubicBezTo>
                              <a:pt x="94137" y="69137"/>
                              <a:pt x="94137" y="69077"/>
                              <a:pt x="94196" y="68958"/>
                            </a:cubicBezTo>
                            <a:cubicBezTo>
                              <a:pt x="94256" y="68838"/>
                              <a:pt x="94256" y="68778"/>
                              <a:pt x="94316" y="68659"/>
                            </a:cubicBezTo>
                            <a:lnTo>
                              <a:pt x="89472" y="65429"/>
                            </a:lnTo>
                            <a:cubicBezTo>
                              <a:pt x="89472" y="65548"/>
                              <a:pt x="89472" y="65668"/>
                              <a:pt x="89472" y="65788"/>
                            </a:cubicBezTo>
                            <a:cubicBezTo>
                              <a:pt x="89472" y="65907"/>
                              <a:pt x="89472" y="66027"/>
                              <a:pt x="89472" y="66147"/>
                            </a:cubicBezTo>
                            <a:cubicBezTo>
                              <a:pt x="89472" y="66266"/>
                              <a:pt x="89472" y="66386"/>
                              <a:pt x="89472" y="66506"/>
                            </a:cubicBezTo>
                            <a:cubicBezTo>
                              <a:pt x="89472" y="66625"/>
                              <a:pt x="89412" y="66745"/>
                              <a:pt x="89352" y="66864"/>
                            </a:cubicBezTo>
                            <a:moveTo>
                              <a:pt x="80202" y="60764"/>
                            </a:moveTo>
                            <a:lnTo>
                              <a:pt x="88156" y="66027"/>
                            </a:lnTo>
                            <a:cubicBezTo>
                              <a:pt x="88156" y="65907"/>
                              <a:pt x="88156" y="65728"/>
                              <a:pt x="88156" y="65608"/>
                            </a:cubicBezTo>
                            <a:cubicBezTo>
                              <a:pt x="88156" y="65489"/>
                              <a:pt x="88156" y="65309"/>
                              <a:pt x="88096" y="65190"/>
                            </a:cubicBezTo>
                            <a:cubicBezTo>
                              <a:pt x="88036" y="65070"/>
                              <a:pt x="88036" y="64891"/>
                              <a:pt x="88036" y="64771"/>
                            </a:cubicBezTo>
                            <a:cubicBezTo>
                              <a:pt x="88036" y="64652"/>
                              <a:pt x="87977" y="64532"/>
                              <a:pt x="87917" y="64353"/>
                            </a:cubicBezTo>
                            <a:lnTo>
                              <a:pt x="81936" y="60345"/>
                            </a:lnTo>
                            <a:cubicBezTo>
                              <a:pt x="81816" y="60345"/>
                              <a:pt x="81637" y="60345"/>
                              <a:pt x="81517" y="60405"/>
                            </a:cubicBezTo>
                            <a:cubicBezTo>
                              <a:pt x="81398" y="60465"/>
                              <a:pt x="81218" y="60465"/>
                              <a:pt x="81099" y="60465"/>
                            </a:cubicBezTo>
                            <a:cubicBezTo>
                              <a:pt x="80979" y="60465"/>
                              <a:pt x="80800" y="60525"/>
                              <a:pt x="80680" y="60585"/>
                            </a:cubicBezTo>
                            <a:cubicBezTo>
                              <a:pt x="80501" y="60704"/>
                              <a:pt x="80381" y="60704"/>
                              <a:pt x="80202" y="60764"/>
                            </a:cubicBezTo>
                            <a:moveTo>
                              <a:pt x="74400" y="56936"/>
                            </a:moveTo>
                            <a:lnTo>
                              <a:pt x="79065" y="60046"/>
                            </a:lnTo>
                            <a:cubicBezTo>
                              <a:pt x="79185" y="59986"/>
                              <a:pt x="79304" y="59927"/>
                              <a:pt x="79424" y="59867"/>
                            </a:cubicBezTo>
                            <a:cubicBezTo>
                              <a:pt x="79544" y="59807"/>
                              <a:pt x="79663" y="59747"/>
                              <a:pt x="79783" y="59747"/>
                            </a:cubicBezTo>
                            <a:cubicBezTo>
                              <a:pt x="79902" y="59687"/>
                              <a:pt x="80022" y="59687"/>
                              <a:pt x="80142" y="59628"/>
                            </a:cubicBezTo>
                            <a:cubicBezTo>
                              <a:pt x="80262" y="59568"/>
                              <a:pt x="80381" y="59568"/>
                              <a:pt x="80501" y="59508"/>
                            </a:cubicBezTo>
                            <a:lnTo>
                              <a:pt x="75477" y="56159"/>
                            </a:lnTo>
                            <a:cubicBezTo>
                              <a:pt x="75357" y="56219"/>
                              <a:pt x="75297" y="56278"/>
                              <a:pt x="75178" y="56338"/>
                            </a:cubicBezTo>
                            <a:cubicBezTo>
                              <a:pt x="75058" y="56398"/>
                              <a:pt x="74998" y="56458"/>
                              <a:pt x="74879" y="56518"/>
                            </a:cubicBezTo>
                            <a:cubicBezTo>
                              <a:pt x="74759" y="56577"/>
                              <a:pt x="74699" y="56637"/>
                              <a:pt x="74580" y="56697"/>
                            </a:cubicBezTo>
                            <a:cubicBezTo>
                              <a:pt x="74580" y="56757"/>
                              <a:pt x="74520" y="56817"/>
                              <a:pt x="74400" y="56936"/>
                            </a:cubicBezTo>
                            <a:moveTo>
                              <a:pt x="65669" y="51135"/>
                            </a:moveTo>
                            <a:lnTo>
                              <a:pt x="73384" y="56278"/>
                            </a:lnTo>
                            <a:cubicBezTo>
                              <a:pt x="73443" y="56219"/>
                              <a:pt x="73563" y="56159"/>
                              <a:pt x="73623" y="56099"/>
                            </a:cubicBezTo>
                            <a:cubicBezTo>
                              <a:pt x="73683" y="56039"/>
                              <a:pt x="73802" y="55979"/>
                              <a:pt x="73922" y="55920"/>
                            </a:cubicBezTo>
                            <a:cubicBezTo>
                              <a:pt x="74041" y="55860"/>
                              <a:pt x="74101" y="55800"/>
                              <a:pt x="74221" y="55740"/>
                            </a:cubicBezTo>
                            <a:cubicBezTo>
                              <a:pt x="74340" y="55681"/>
                              <a:pt x="74400" y="55621"/>
                              <a:pt x="74520" y="55561"/>
                            </a:cubicBezTo>
                            <a:lnTo>
                              <a:pt x="66506" y="50238"/>
                            </a:lnTo>
                            <a:lnTo>
                              <a:pt x="65669" y="51135"/>
                            </a:lnTo>
                            <a:moveTo>
                              <a:pt x="48563" y="39712"/>
                            </a:moveTo>
                            <a:lnTo>
                              <a:pt x="64652" y="50417"/>
                            </a:lnTo>
                            <a:lnTo>
                              <a:pt x="65429" y="49460"/>
                            </a:lnTo>
                            <a:lnTo>
                              <a:pt x="49341" y="38755"/>
                            </a:lnTo>
                            <a:lnTo>
                              <a:pt x="48563" y="39712"/>
                            </a:lnTo>
                            <a:moveTo>
                              <a:pt x="43061" y="36064"/>
                            </a:moveTo>
                            <a:lnTo>
                              <a:pt x="47547" y="39054"/>
                            </a:lnTo>
                            <a:lnTo>
                              <a:pt x="48324" y="38037"/>
                            </a:lnTo>
                            <a:lnTo>
                              <a:pt x="43839" y="35047"/>
                            </a:lnTo>
                            <a:lnTo>
                              <a:pt x="43061" y="36064"/>
                            </a:lnTo>
                            <a:moveTo>
                              <a:pt x="39114" y="33432"/>
                            </a:moveTo>
                            <a:lnTo>
                              <a:pt x="42105" y="35406"/>
                            </a:lnTo>
                            <a:lnTo>
                              <a:pt x="42882" y="34389"/>
                            </a:lnTo>
                            <a:lnTo>
                              <a:pt x="39592" y="32176"/>
                            </a:lnTo>
                            <a:cubicBezTo>
                              <a:pt x="39532" y="32296"/>
                              <a:pt x="39532" y="32356"/>
                              <a:pt x="39473" y="32475"/>
                            </a:cubicBezTo>
                            <a:cubicBezTo>
                              <a:pt x="39413" y="32595"/>
                              <a:pt x="39413" y="32655"/>
                              <a:pt x="39353" y="32774"/>
                            </a:cubicBezTo>
                            <a:cubicBezTo>
                              <a:pt x="39293" y="32894"/>
                              <a:pt x="39293" y="32954"/>
                              <a:pt x="39234" y="33073"/>
                            </a:cubicBezTo>
                            <a:cubicBezTo>
                              <a:pt x="39174" y="33253"/>
                              <a:pt x="39114" y="33313"/>
                              <a:pt x="39114" y="33432"/>
                            </a:cubicBezTo>
                            <a:moveTo>
                              <a:pt x="33313" y="29605"/>
                            </a:moveTo>
                            <a:lnTo>
                              <a:pt x="38037" y="32714"/>
                            </a:lnTo>
                            <a:cubicBezTo>
                              <a:pt x="38097" y="32595"/>
                              <a:pt x="38097" y="32535"/>
                              <a:pt x="38157" y="32415"/>
                            </a:cubicBezTo>
                            <a:cubicBezTo>
                              <a:pt x="38217" y="32296"/>
                              <a:pt x="38217" y="32236"/>
                              <a:pt x="38277" y="32116"/>
                            </a:cubicBezTo>
                            <a:cubicBezTo>
                              <a:pt x="38337" y="31997"/>
                              <a:pt x="38337" y="31937"/>
                              <a:pt x="38397" y="31817"/>
                            </a:cubicBezTo>
                            <a:cubicBezTo>
                              <a:pt x="38456" y="31698"/>
                              <a:pt x="38456" y="31638"/>
                              <a:pt x="38516" y="31518"/>
                            </a:cubicBezTo>
                            <a:lnTo>
                              <a:pt x="33432" y="28109"/>
                            </a:lnTo>
                            <a:cubicBezTo>
                              <a:pt x="33432" y="28229"/>
                              <a:pt x="33432" y="28349"/>
                              <a:pt x="33432" y="28468"/>
                            </a:cubicBezTo>
                            <a:cubicBezTo>
                              <a:pt x="33432" y="28588"/>
                              <a:pt x="33432" y="28707"/>
                              <a:pt x="33432" y="28827"/>
                            </a:cubicBezTo>
                            <a:cubicBezTo>
                              <a:pt x="33432" y="28946"/>
                              <a:pt x="33432" y="29066"/>
                              <a:pt x="33432" y="29186"/>
                            </a:cubicBezTo>
                            <a:cubicBezTo>
                              <a:pt x="33313" y="29365"/>
                              <a:pt x="33313" y="29485"/>
                              <a:pt x="33313" y="29605"/>
                            </a:cubicBezTo>
                            <a:moveTo>
                              <a:pt x="25777" y="24581"/>
                            </a:moveTo>
                            <a:lnTo>
                              <a:pt x="32057" y="28767"/>
                            </a:lnTo>
                            <a:cubicBezTo>
                              <a:pt x="32057" y="28648"/>
                              <a:pt x="32057" y="28468"/>
                              <a:pt x="32057" y="28349"/>
                            </a:cubicBezTo>
                            <a:cubicBezTo>
                              <a:pt x="32057" y="28229"/>
                              <a:pt x="32057" y="28050"/>
                              <a:pt x="31997" y="27930"/>
                            </a:cubicBezTo>
                            <a:cubicBezTo>
                              <a:pt x="31997" y="27810"/>
                              <a:pt x="31937" y="27631"/>
                              <a:pt x="31937" y="27511"/>
                            </a:cubicBezTo>
                            <a:cubicBezTo>
                              <a:pt x="31937" y="27391"/>
                              <a:pt x="31877" y="27212"/>
                              <a:pt x="31817" y="27092"/>
                            </a:cubicBezTo>
                            <a:lnTo>
                              <a:pt x="26554" y="23624"/>
                            </a:lnTo>
                            <a:lnTo>
                              <a:pt x="25777" y="24581"/>
                            </a:lnTo>
                            <a:moveTo>
                              <a:pt x="23624" y="23145"/>
                            </a:moveTo>
                            <a:lnTo>
                              <a:pt x="24760" y="23863"/>
                            </a:lnTo>
                            <a:lnTo>
                              <a:pt x="25538" y="22846"/>
                            </a:lnTo>
                            <a:lnTo>
                              <a:pt x="25478" y="22787"/>
                            </a:lnTo>
                            <a:cubicBezTo>
                              <a:pt x="25299" y="22787"/>
                              <a:pt x="25179" y="22787"/>
                              <a:pt x="24999" y="22846"/>
                            </a:cubicBezTo>
                            <a:cubicBezTo>
                              <a:pt x="24820" y="22846"/>
                              <a:pt x="24700" y="22906"/>
                              <a:pt x="24521" y="22906"/>
                            </a:cubicBezTo>
                            <a:cubicBezTo>
                              <a:pt x="24342" y="22906"/>
                              <a:pt x="24222" y="22966"/>
                              <a:pt x="24043" y="23026"/>
                            </a:cubicBezTo>
                            <a:cubicBezTo>
                              <a:pt x="23923" y="23085"/>
                              <a:pt x="23804" y="23145"/>
                              <a:pt x="23624" y="23145"/>
                            </a:cubicBezTo>
                            <a:moveTo>
                              <a:pt x="17464" y="19079"/>
                            </a:moveTo>
                            <a:lnTo>
                              <a:pt x="22368" y="22368"/>
                            </a:lnTo>
                            <a:cubicBezTo>
                              <a:pt x="22488" y="22308"/>
                              <a:pt x="22607" y="22248"/>
                              <a:pt x="22727" y="22188"/>
                            </a:cubicBezTo>
                            <a:cubicBezTo>
                              <a:pt x="22846" y="22129"/>
                              <a:pt x="22966" y="22069"/>
                              <a:pt x="23086" y="22069"/>
                            </a:cubicBezTo>
                            <a:cubicBezTo>
                              <a:pt x="23205" y="22069"/>
                              <a:pt x="23325" y="22009"/>
                              <a:pt x="23504" y="21949"/>
                            </a:cubicBezTo>
                            <a:cubicBezTo>
                              <a:pt x="23684" y="21889"/>
                              <a:pt x="23744" y="21889"/>
                              <a:pt x="23923" y="21829"/>
                            </a:cubicBezTo>
                            <a:lnTo>
                              <a:pt x="18660" y="18301"/>
                            </a:lnTo>
                            <a:cubicBezTo>
                              <a:pt x="18540" y="18361"/>
                              <a:pt x="18481" y="18420"/>
                              <a:pt x="18361" y="18480"/>
                            </a:cubicBezTo>
                            <a:cubicBezTo>
                              <a:pt x="18241" y="18540"/>
                              <a:pt x="18182" y="18600"/>
                              <a:pt x="18062" y="18660"/>
                            </a:cubicBezTo>
                            <a:cubicBezTo>
                              <a:pt x="17942" y="18720"/>
                              <a:pt x="17882" y="18779"/>
                              <a:pt x="17763" y="18839"/>
                            </a:cubicBezTo>
                            <a:cubicBezTo>
                              <a:pt x="17643" y="18959"/>
                              <a:pt x="17583" y="19019"/>
                              <a:pt x="17464" y="19079"/>
                            </a:cubicBezTo>
                            <a:moveTo>
                              <a:pt x="12380" y="15729"/>
                            </a:moveTo>
                            <a:lnTo>
                              <a:pt x="16328" y="18361"/>
                            </a:lnTo>
                            <a:cubicBezTo>
                              <a:pt x="16447" y="18301"/>
                              <a:pt x="16507" y="18241"/>
                              <a:pt x="16627" y="18181"/>
                            </a:cubicBezTo>
                            <a:cubicBezTo>
                              <a:pt x="16746" y="18121"/>
                              <a:pt x="16806" y="18062"/>
                              <a:pt x="16926" y="18002"/>
                            </a:cubicBezTo>
                            <a:cubicBezTo>
                              <a:pt x="17045" y="17942"/>
                              <a:pt x="17105" y="17882"/>
                              <a:pt x="17225" y="17822"/>
                            </a:cubicBezTo>
                            <a:cubicBezTo>
                              <a:pt x="17344" y="17763"/>
                              <a:pt x="17404" y="17703"/>
                              <a:pt x="17523" y="17643"/>
                            </a:cubicBezTo>
                            <a:lnTo>
                              <a:pt x="13218" y="14772"/>
                            </a:lnTo>
                            <a:lnTo>
                              <a:pt x="12380" y="15729"/>
                            </a:lnTo>
                            <a:moveTo>
                              <a:pt x="0" y="7476"/>
                            </a:moveTo>
                            <a:lnTo>
                              <a:pt x="11364" y="15012"/>
                            </a:lnTo>
                            <a:lnTo>
                              <a:pt x="12141" y="13995"/>
                            </a:lnTo>
                            <a:lnTo>
                              <a:pt x="1794" y="7117"/>
                            </a:lnTo>
                            <a:lnTo>
                              <a:pt x="6041" y="1734"/>
                            </a:lnTo>
                            <a:lnTo>
                              <a:pt x="16328" y="8612"/>
                            </a:lnTo>
                            <a:lnTo>
                              <a:pt x="17165" y="7595"/>
                            </a:lnTo>
                            <a:lnTo>
                              <a:pt x="5861" y="0"/>
                            </a:lnTo>
                            <a:lnTo>
                              <a:pt x="0" y="7476"/>
                            </a:lnTo>
                          </a:path>
                        </a:pathLst>
                      </a:custGeom>
                      <a:noFill/>
                      <a:ln w="6350" cap="flat">
                        <a:solidFill>
                          <a:schemeClr val="bg1">
                            <a:alpha val="40000"/>
                          </a:schemeClr>
                        </a:solidFill>
                        <a:prstDash val="solid"/>
                        <a:miter/>
                      </a:ln>
                    </p:spPr>
                    <p:txBody>
                      <a:bodyPr rtlCol="0" anchor="ctr"/>
                      <a:lstStyle/>
                      <a:p>
                        <a:endParaRPr lang="en-GB"/>
                      </a:p>
                    </p:txBody>
                  </p:sp>
                  <p:sp>
                    <p:nvSpPr>
                      <p:cNvPr id="7423" name="Vrije vorm: vorm 7422">
                        <a:extLst>
                          <a:ext uri="{FF2B5EF4-FFF2-40B4-BE49-F238E27FC236}">
                            <a16:creationId xmlns:a16="http://schemas.microsoft.com/office/drawing/2014/main" id="{3990C007-3112-413E-B259-A9FE29DD692D}"/>
                          </a:ext>
                        </a:extLst>
                      </p:cNvPr>
                      <p:cNvSpPr/>
                      <p:nvPr/>
                    </p:nvSpPr>
                    <p:spPr>
                      <a:xfrm>
                        <a:off x="5350254" y="5505593"/>
                        <a:ext cx="28886" cy="49520"/>
                      </a:xfrm>
                      <a:custGeom>
                        <a:avLst/>
                        <a:gdLst>
                          <a:gd name="connsiteX0" fmla="*/ 19916 w 28886"/>
                          <a:gd name="connsiteY0" fmla="*/ 3768 h 49520"/>
                          <a:gd name="connsiteX1" fmla="*/ 20514 w 28886"/>
                          <a:gd name="connsiteY1" fmla="*/ 3050 h 49520"/>
                          <a:gd name="connsiteX2" fmla="*/ 20215 w 28886"/>
                          <a:gd name="connsiteY2" fmla="*/ 2811 h 49520"/>
                          <a:gd name="connsiteX3" fmla="*/ 19916 w 28886"/>
                          <a:gd name="connsiteY3" fmla="*/ 2572 h 49520"/>
                          <a:gd name="connsiteX4" fmla="*/ 19557 w 28886"/>
                          <a:gd name="connsiteY4" fmla="*/ 2333 h 49520"/>
                          <a:gd name="connsiteX5" fmla="*/ 19198 w 28886"/>
                          <a:gd name="connsiteY5" fmla="*/ 2093 h 49520"/>
                          <a:gd name="connsiteX6" fmla="*/ 19975 w 28886"/>
                          <a:gd name="connsiteY6" fmla="*/ 1136 h 49520"/>
                          <a:gd name="connsiteX7" fmla="*/ 20335 w 28886"/>
                          <a:gd name="connsiteY7" fmla="*/ 1376 h 49520"/>
                          <a:gd name="connsiteX8" fmla="*/ 20693 w 28886"/>
                          <a:gd name="connsiteY8" fmla="*/ 1615 h 49520"/>
                          <a:gd name="connsiteX9" fmla="*/ 20992 w 28886"/>
                          <a:gd name="connsiteY9" fmla="*/ 1854 h 49520"/>
                          <a:gd name="connsiteX10" fmla="*/ 21291 w 28886"/>
                          <a:gd name="connsiteY10" fmla="*/ 2093 h 49520"/>
                          <a:gd name="connsiteX11" fmla="*/ 21889 w 28886"/>
                          <a:gd name="connsiteY11" fmla="*/ 1376 h 49520"/>
                          <a:gd name="connsiteX12" fmla="*/ 21530 w 28886"/>
                          <a:gd name="connsiteY12" fmla="*/ 1077 h 49520"/>
                          <a:gd name="connsiteX13" fmla="*/ 21172 w 28886"/>
                          <a:gd name="connsiteY13" fmla="*/ 778 h 49520"/>
                          <a:gd name="connsiteX14" fmla="*/ 20753 w 28886"/>
                          <a:gd name="connsiteY14" fmla="*/ 479 h 49520"/>
                          <a:gd name="connsiteX15" fmla="*/ 20335 w 28886"/>
                          <a:gd name="connsiteY15" fmla="*/ 180 h 49520"/>
                          <a:gd name="connsiteX16" fmla="*/ 20095 w 28886"/>
                          <a:gd name="connsiteY16" fmla="*/ 0 h 49520"/>
                          <a:gd name="connsiteX17" fmla="*/ 18181 w 28886"/>
                          <a:gd name="connsiteY17" fmla="*/ 2452 h 49520"/>
                          <a:gd name="connsiteX18" fmla="*/ 18421 w 28886"/>
                          <a:gd name="connsiteY18" fmla="*/ 2632 h 49520"/>
                          <a:gd name="connsiteX19" fmla="*/ 18839 w 28886"/>
                          <a:gd name="connsiteY19" fmla="*/ 2931 h 49520"/>
                          <a:gd name="connsiteX20" fmla="*/ 19258 w 28886"/>
                          <a:gd name="connsiteY20" fmla="*/ 3230 h 49520"/>
                          <a:gd name="connsiteX21" fmla="*/ 19617 w 28886"/>
                          <a:gd name="connsiteY21" fmla="*/ 3529 h 49520"/>
                          <a:gd name="connsiteX22" fmla="*/ 19916 w 28886"/>
                          <a:gd name="connsiteY22" fmla="*/ 3768 h 49520"/>
                          <a:gd name="connsiteX23" fmla="*/ 26973 w 28886"/>
                          <a:gd name="connsiteY23" fmla="*/ 12261 h 49520"/>
                          <a:gd name="connsiteX24" fmla="*/ 26913 w 28886"/>
                          <a:gd name="connsiteY24" fmla="*/ 11961 h 49520"/>
                          <a:gd name="connsiteX25" fmla="*/ 26853 w 28886"/>
                          <a:gd name="connsiteY25" fmla="*/ 11662 h 49520"/>
                          <a:gd name="connsiteX26" fmla="*/ 26794 w 28886"/>
                          <a:gd name="connsiteY26" fmla="*/ 11364 h 49520"/>
                          <a:gd name="connsiteX27" fmla="*/ 26734 w 28886"/>
                          <a:gd name="connsiteY27" fmla="*/ 11124 h 49520"/>
                          <a:gd name="connsiteX28" fmla="*/ 26614 w 28886"/>
                          <a:gd name="connsiteY28" fmla="*/ 10766 h 49520"/>
                          <a:gd name="connsiteX29" fmla="*/ 26495 w 28886"/>
                          <a:gd name="connsiteY29" fmla="*/ 10407 h 49520"/>
                          <a:gd name="connsiteX30" fmla="*/ 26375 w 28886"/>
                          <a:gd name="connsiteY30" fmla="*/ 10048 h 49520"/>
                          <a:gd name="connsiteX31" fmla="*/ 26196 w 28886"/>
                          <a:gd name="connsiteY31" fmla="*/ 9689 h 49520"/>
                          <a:gd name="connsiteX32" fmla="*/ 25358 w 28886"/>
                          <a:gd name="connsiteY32" fmla="*/ 8074 h 49520"/>
                          <a:gd name="connsiteX33" fmla="*/ 24222 w 28886"/>
                          <a:gd name="connsiteY33" fmla="*/ 6459 h 49520"/>
                          <a:gd name="connsiteX34" fmla="*/ 22787 w 28886"/>
                          <a:gd name="connsiteY34" fmla="*/ 4904 h 49520"/>
                          <a:gd name="connsiteX35" fmla="*/ 21052 w 28886"/>
                          <a:gd name="connsiteY35" fmla="*/ 3349 h 49520"/>
                          <a:gd name="connsiteX36" fmla="*/ 20454 w 28886"/>
                          <a:gd name="connsiteY36" fmla="*/ 4067 h 49520"/>
                          <a:gd name="connsiteX37" fmla="*/ 21710 w 28886"/>
                          <a:gd name="connsiteY37" fmla="*/ 5144 h 49520"/>
                          <a:gd name="connsiteX38" fmla="*/ 22846 w 28886"/>
                          <a:gd name="connsiteY38" fmla="*/ 6220 h 49520"/>
                          <a:gd name="connsiteX39" fmla="*/ 23803 w 28886"/>
                          <a:gd name="connsiteY39" fmla="*/ 7357 h 49520"/>
                          <a:gd name="connsiteX40" fmla="*/ 24641 w 28886"/>
                          <a:gd name="connsiteY40" fmla="*/ 8493 h 49520"/>
                          <a:gd name="connsiteX41" fmla="*/ 24940 w 28886"/>
                          <a:gd name="connsiteY41" fmla="*/ 8912 h 49520"/>
                          <a:gd name="connsiteX42" fmla="*/ 25179 w 28886"/>
                          <a:gd name="connsiteY42" fmla="*/ 9330 h 49520"/>
                          <a:gd name="connsiteX43" fmla="*/ 25418 w 28886"/>
                          <a:gd name="connsiteY43" fmla="*/ 9749 h 49520"/>
                          <a:gd name="connsiteX44" fmla="*/ 25597 w 28886"/>
                          <a:gd name="connsiteY44" fmla="*/ 10227 h 49520"/>
                          <a:gd name="connsiteX45" fmla="*/ 25657 w 28886"/>
                          <a:gd name="connsiteY45" fmla="*/ 10347 h 49520"/>
                          <a:gd name="connsiteX46" fmla="*/ 25717 w 28886"/>
                          <a:gd name="connsiteY46" fmla="*/ 10466 h 49520"/>
                          <a:gd name="connsiteX47" fmla="*/ 25777 w 28886"/>
                          <a:gd name="connsiteY47" fmla="*/ 10586 h 49520"/>
                          <a:gd name="connsiteX48" fmla="*/ 25837 w 28886"/>
                          <a:gd name="connsiteY48" fmla="*/ 10706 h 49520"/>
                          <a:gd name="connsiteX49" fmla="*/ 26136 w 28886"/>
                          <a:gd name="connsiteY49" fmla="*/ 11065 h 49520"/>
                          <a:gd name="connsiteX50" fmla="*/ 26435 w 28886"/>
                          <a:gd name="connsiteY50" fmla="*/ 11423 h 49520"/>
                          <a:gd name="connsiteX51" fmla="*/ 26734 w 28886"/>
                          <a:gd name="connsiteY51" fmla="*/ 11782 h 49520"/>
                          <a:gd name="connsiteX52" fmla="*/ 26973 w 28886"/>
                          <a:gd name="connsiteY52" fmla="*/ 12261 h 49520"/>
                          <a:gd name="connsiteX53" fmla="*/ 28827 w 28886"/>
                          <a:gd name="connsiteY53" fmla="*/ 14713 h 49520"/>
                          <a:gd name="connsiteX54" fmla="*/ 28887 w 28886"/>
                          <a:gd name="connsiteY54" fmla="*/ 14175 h 49520"/>
                          <a:gd name="connsiteX55" fmla="*/ 28887 w 28886"/>
                          <a:gd name="connsiteY55" fmla="*/ 13636 h 49520"/>
                          <a:gd name="connsiteX56" fmla="*/ 28887 w 28886"/>
                          <a:gd name="connsiteY56" fmla="*/ 13098 h 49520"/>
                          <a:gd name="connsiteX57" fmla="*/ 28887 w 28886"/>
                          <a:gd name="connsiteY57" fmla="*/ 12620 h 49520"/>
                          <a:gd name="connsiteX58" fmla="*/ 28887 w 28886"/>
                          <a:gd name="connsiteY58" fmla="*/ 12320 h 49520"/>
                          <a:gd name="connsiteX59" fmla="*/ 28887 w 28886"/>
                          <a:gd name="connsiteY59" fmla="*/ 12021 h 49520"/>
                          <a:gd name="connsiteX60" fmla="*/ 28827 w 28886"/>
                          <a:gd name="connsiteY60" fmla="*/ 11722 h 49520"/>
                          <a:gd name="connsiteX61" fmla="*/ 28767 w 28886"/>
                          <a:gd name="connsiteY61" fmla="*/ 11423 h 49520"/>
                          <a:gd name="connsiteX62" fmla="*/ 28050 w 28886"/>
                          <a:gd name="connsiteY62" fmla="*/ 8852 h 49520"/>
                          <a:gd name="connsiteX63" fmla="*/ 26734 w 28886"/>
                          <a:gd name="connsiteY63" fmla="*/ 6399 h 49520"/>
                          <a:gd name="connsiteX64" fmla="*/ 24820 w 28886"/>
                          <a:gd name="connsiteY64" fmla="*/ 4007 h 49520"/>
                          <a:gd name="connsiteX65" fmla="*/ 22308 w 28886"/>
                          <a:gd name="connsiteY65" fmla="*/ 1675 h 49520"/>
                          <a:gd name="connsiteX66" fmla="*/ 21710 w 28886"/>
                          <a:gd name="connsiteY66" fmla="*/ 2392 h 49520"/>
                          <a:gd name="connsiteX67" fmla="*/ 23923 w 28886"/>
                          <a:gd name="connsiteY67" fmla="*/ 4366 h 49520"/>
                          <a:gd name="connsiteX68" fmla="*/ 25657 w 28886"/>
                          <a:gd name="connsiteY68" fmla="*/ 6399 h 49520"/>
                          <a:gd name="connsiteX69" fmla="*/ 26913 w 28886"/>
                          <a:gd name="connsiteY69" fmla="*/ 8493 h 49520"/>
                          <a:gd name="connsiteX70" fmla="*/ 27691 w 28886"/>
                          <a:gd name="connsiteY70" fmla="*/ 10646 h 49520"/>
                          <a:gd name="connsiteX71" fmla="*/ 27751 w 28886"/>
                          <a:gd name="connsiteY71" fmla="*/ 10945 h 49520"/>
                          <a:gd name="connsiteX72" fmla="*/ 27811 w 28886"/>
                          <a:gd name="connsiteY72" fmla="*/ 11244 h 49520"/>
                          <a:gd name="connsiteX73" fmla="*/ 27870 w 28886"/>
                          <a:gd name="connsiteY73" fmla="*/ 11543 h 49520"/>
                          <a:gd name="connsiteX74" fmla="*/ 27930 w 28886"/>
                          <a:gd name="connsiteY74" fmla="*/ 11902 h 49520"/>
                          <a:gd name="connsiteX75" fmla="*/ 27990 w 28886"/>
                          <a:gd name="connsiteY75" fmla="*/ 12320 h 49520"/>
                          <a:gd name="connsiteX76" fmla="*/ 28050 w 28886"/>
                          <a:gd name="connsiteY76" fmla="*/ 12739 h 49520"/>
                          <a:gd name="connsiteX77" fmla="*/ 28050 w 28886"/>
                          <a:gd name="connsiteY77" fmla="*/ 13158 h 49520"/>
                          <a:gd name="connsiteX78" fmla="*/ 28050 w 28886"/>
                          <a:gd name="connsiteY78" fmla="*/ 13576 h 49520"/>
                          <a:gd name="connsiteX79" fmla="*/ 28229 w 28886"/>
                          <a:gd name="connsiteY79" fmla="*/ 13815 h 49520"/>
                          <a:gd name="connsiteX80" fmla="*/ 28408 w 28886"/>
                          <a:gd name="connsiteY80" fmla="*/ 14055 h 49520"/>
                          <a:gd name="connsiteX81" fmla="*/ 28588 w 28886"/>
                          <a:gd name="connsiteY81" fmla="*/ 14294 h 49520"/>
                          <a:gd name="connsiteX82" fmla="*/ 28827 w 28886"/>
                          <a:gd name="connsiteY82" fmla="*/ 14713 h 49520"/>
                          <a:gd name="connsiteX83" fmla="*/ 26973 w 28886"/>
                          <a:gd name="connsiteY83" fmla="*/ 15789 h 49520"/>
                          <a:gd name="connsiteX84" fmla="*/ 26973 w 28886"/>
                          <a:gd name="connsiteY84" fmla="*/ 15789 h 49520"/>
                          <a:gd name="connsiteX85" fmla="*/ 26973 w 28886"/>
                          <a:gd name="connsiteY85" fmla="*/ 15789 h 49520"/>
                          <a:gd name="connsiteX86" fmla="*/ 26973 w 28886"/>
                          <a:gd name="connsiteY86" fmla="*/ 15789 h 49520"/>
                          <a:gd name="connsiteX87" fmla="*/ 26973 w 28886"/>
                          <a:gd name="connsiteY87" fmla="*/ 15789 h 49520"/>
                          <a:gd name="connsiteX88" fmla="*/ 27033 w 28886"/>
                          <a:gd name="connsiteY88" fmla="*/ 15311 h 49520"/>
                          <a:gd name="connsiteX89" fmla="*/ 27092 w 28886"/>
                          <a:gd name="connsiteY89" fmla="*/ 14832 h 49520"/>
                          <a:gd name="connsiteX90" fmla="*/ 27092 w 28886"/>
                          <a:gd name="connsiteY90" fmla="*/ 14354 h 49520"/>
                          <a:gd name="connsiteX91" fmla="*/ 27092 w 28886"/>
                          <a:gd name="connsiteY91" fmla="*/ 13875 h 49520"/>
                          <a:gd name="connsiteX92" fmla="*/ 26853 w 28886"/>
                          <a:gd name="connsiteY92" fmla="*/ 13636 h 49520"/>
                          <a:gd name="connsiteX93" fmla="*/ 26614 w 28886"/>
                          <a:gd name="connsiteY93" fmla="*/ 13397 h 49520"/>
                          <a:gd name="connsiteX94" fmla="*/ 26375 w 28886"/>
                          <a:gd name="connsiteY94" fmla="*/ 13158 h 49520"/>
                          <a:gd name="connsiteX95" fmla="*/ 26136 w 28886"/>
                          <a:gd name="connsiteY95" fmla="*/ 12859 h 49520"/>
                          <a:gd name="connsiteX96" fmla="*/ 26196 w 28886"/>
                          <a:gd name="connsiteY96" fmla="*/ 13397 h 49520"/>
                          <a:gd name="connsiteX97" fmla="*/ 26255 w 28886"/>
                          <a:gd name="connsiteY97" fmla="*/ 13935 h 49520"/>
                          <a:gd name="connsiteX98" fmla="*/ 26255 w 28886"/>
                          <a:gd name="connsiteY98" fmla="*/ 14474 h 49520"/>
                          <a:gd name="connsiteX99" fmla="*/ 26255 w 28886"/>
                          <a:gd name="connsiteY99" fmla="*/ 15012 h 49520"/>
                          <a:gd name="connsiteX100" fmla="*/ 26435 w 28886"/>
                          <a:gd name="connsiteY100" fmla="*/ 15251 h 49520"/>
                          <a:gd name="connsiteX101" fmla="*/ 26614 w 28886"/>
                          <a:gd name="connsiteY101" fmla="*/ 15490 h 49520"/>
                          <a:gd name="connsiteX102" fmla="*/ 26794 w 28886"/>
                          <a:gd name="connsiteY102" fmla="*/ 15729 h 49520"/>
                          <a:gd name="connsiteX103" fmla="*/ 26973 w 28886"/>
                          <a:gd name="connsiteY103" fmla="*/ 15789 h 49520"/>
                          <a:gd name="connsiteX104" fmla="*/ 28109 w 28886"/>
                          <a:gd name="connsiteY104" fmla="*/ 17763 h 49520"/>
                          <a:gd name="connsiteX105" fmla="*/ 28229 w 28886"/>
                          <a:gd name="connsiteY105" fmla="*/ 17344 h 49520"/>
                          <a:gd name="connsiteX106" fmla="*/ 28349 w 28886"/>
                          <a:gd name="connsiteY106" fmla="*/ 16926 h 49520"/>
                          <a:gd name="connsiteX107" fmla="*/ 28468 w 28886"/>
                          <a:gd name="connsiteY107" fmla="*/ 16507 h 49520"/>
                          <a:gd name="connsiteX108" fmla="*/ 28588 w 28886"/>
                          <a:gd name="connsiteY108" fmla="*/ 16088 h 49520"/>
                          <a:gd name="connsiteX109" fmla="*/ 28468 w 28886"/>
                          <a:gd name="connsiteY109" fmla="*/ 15849 h 49520"/>
                          <a:gd name="connsiteX110" fmla="*/ 28349 w 28886"/>
                          <a:gd name="connsiteY110" fmla="*/ 15610 h 49520"/>
                          <a:gd name="connsiteX111" fmla="*/ 28229 w 28886"/>
                          <a:gd name="connsiteY111" fmla="*/ 15370 h 49520"/>
                          <a:gd name="connsiteX112" fmla="*/ 28109 w 28886"/>
                          <a:gd name="connsiteY112" fmla="*/ 15131 h 49520"/>
                          <a:gd name="connsiteX113" fmla="*/ 28109 w 28886"/>
                          <a:gd name="connsiteY113" fmla="*/ 15191 h 49520"/>
                          <a:gd name="connsiteX114" fmla="*/ 28109 w 28886"/>
                          <a:gd name="connsiteY114" fmla="*/ 15251 h 49520"/>
                          <a:gd name="connsiteX115" fmla="*/ 28109 w 28886"/>
                          <a:gd name="connsiteY115" fmla="*/ 15311 h 49520"/>
                          <a:gd name="connsiteX116" fmla="*/ 28109 w 28886"/>
                          <a:gd name="connsiteY116" fmla="*/ 15370 h 49520"/>
                          <a:gd name="connsiteX117" fmla="*/ 28050 w 28886"/>
                          <a:gd name="connsiteY117" fmla="*/ 15729 h 49520"/>
                          <a:gd name="connsiteX118" fmla="*/ 27990 w 28886"/>
                          <a:gd name="connsiteY118" fmla="*/ 16088 h 49520"/>
                          <a:gd name="connsiteX119" fmla="*/ 27930 w 28886"/>
                          <a:gd name="connsiteY119" fmla="*/ 16447 h 49520"/>
                          <a:gd name="connsiteX120" fmla="*/ 27870 w 28886"/>
                          <a:gd name="connsiteY120" fmla="*/ 16806 h 49520"/>
                          <a:gd name="connsiteX121" fmla="*/ 27990 w 28886"/>
                          <a:gd name="connsiteY121" fmla="*/ 16985 h 49520"/>
                          <a:gd name="connsiteX122" fmla="*/ 28109 w 28886"/>
                          <a:gd name="connsiteY122" fmla="*/ 17165 h 49520"/>
                          <a:gd name="connsiteX123" fmla="*/ 28229 w 28886"/>
                          <a:gd name="connsiteY123" fmla="*/ 17344 h 49520"/>
                          <a:gd name="connsiteX124" fmla="*/ 28109 w 28886"/>
                          <a:gd name="connsiteY124" fmla="*/ 17763 h 49520"/>
                          <a:gd name="connsiteX125" fmla="*/ 12021 w 28886"/>
                          <a:gd name="connsiteY125" fmla="*/ 37619 h 49520"/>
                          <a:gd name="connsiteX126" fmla="*/ 12559 w 28886"/>
                          <a:gd name="connsiteY126" fmla="*/ 37978 h 49520"/>
                          <a:gd name="connsiteX127" fmla="*/ 14114 w 28886"/>
                          <a:gd name="connsiteY127" fmla="*/ 36423 h 49520"/>
                          <a:gd name="connsiteX128" fmla="*/ 15669 w 28886"/>
                          <a:gd name="connsiteY128" fmla="*/ 34868 h 49520"/>
                          <a:gd name="connsiteX129" fmla="*/ 17225 w 28886"/>
                          <a:gd name="connsiteY129" fmla="*/ 33313 h 49520"/>
                          <a:gd name="connsiteX130" fmla="*/ 18720 w 28886"/>
                          <a:gd name="connsiteY130" fmla="*/ 31758 h 49520"/>
                          <a:gd name="connsiteX131" fmla="*/ 18899 w 28886"/>
                          <a:gd name="connsiteY131" fmla="*/ 31578 h 49520"/>
                          <a:gd name="connsiteX132" fmla="*/ 19079 w 28886"/>
                          <a:gd name="connsiteY132" fmla="*/ 31399 h 49520"/>
                          <a:gd name="connsiteX133" fmla="*/ 19258 w 28886"/>
                          <a:gd name="connsiteY133" fmla="*/ 31220 h 49520"/>
                          <a:gd name="connsiteX134" fmla="*/ 19437 w 28886"/>
                          <a:gd name="connsiteY134" fmla="*/ 31040 h 49520"/>
                          <a:gd name="connsiteX135" fmla="*/ 20275 w 28886"/>
                          <a:gd name="connsiteY135" fmla="*/ 30143 h 49520"/>
                          <a:gd name="connsiteX136" fmla="*/ 21052 w 28886"/>
                          <a:gd name="connsiteY136" fmla="*/ 29246 h 49520"/>
                          <a:gd name="connsiteX137" fmla="*/ 21830 w 28886"/>
                          <a:gd name="connsiteY137" fmla="*/ 28349 h 49520"/>
                          <a:gd name="connsiteX138" fmla="*/ 22607 w 28886"/>
                          <a:gd name="connsiteY138" fmla="*/ 27452 h 49520"/>
                          <a:gd name="connsiteX139" fmla="*/ 22727 w 28886"/>
                          <a:gd name="connsiteY139" fmla="*/ 27272 h 49520"/>
                          <a:gd name="connsiteX140" fmla="*/ 22846 w 28886"/>
                          <a:gd name="connsiteY140" fmla="*/ 27093 h 49520"/>
                          <a:gd name="connsiteX141" fmla="*/ 22966 w 28886"/>
                          <a:gd name="connsiteY141" fmla="*/ 26913 h 49520"/>
                          <a:gd name="connsiteX142" fmla="*/ 23086 w 28886"/>
                          <a:gd name="connsiteY142" fmla="*/ 26734 h 49520"/>
                          <a:gd name="connsiteX143" fmla="*/ 23265 w 28886"/>
                          <a:gd name="connsiteY143" fmla="*/ 26495 h 49520"/>
                          <a:gd name="connsiteX144" fmla="*/ 23444 w 28886"/>
                          <a:gd name="connsiteY144" fmla="*/ 26255 h 49520"/>
                          <a:gd name="connsiteX145" fmla="*/ 23624 w 28886"/>
                          <a:gd name="connsiteY145" fmla="*/ 26016 h 49520"/>
                          <a:gd name="connsiteX146" fmla="*/ 23803 w 28886"/>
                          <a:gd name="connsiteY146" fmla="*/ 25777 h 49520"/>
                          <a:gd name="connsiteX147" fmla="*/ 23923 w 28886"/>
                          <a:gd name="connsiteY147" fmla="*/ 25598 h 49520"/>
                          <a:gd name="connsiteX148" fmla="*/ 24043 w 28886"/>
                          <a:gd name="connsiteY148" fmla="*/ 25418 h 49520"/>
                          <a:gd name="connsiteX149" fmla="*/ 24162 w 28886"/>
                          <a:gd name="connsiteY149" fmla="*/ 25239 h 49520"/>
                          <a:gd name="connsiteX150" fmla="*/ 24282 w 28886"/>
                          <a:gd name="connsiteY150" fmla="*/ 25059 h 49520"/>
                          <a:gd name="connsiteX151" fmla="*/ 24700 w 28886"/>
                          <a:gd name="connsiteY151" fmla="*/ 24461 h 49520"/>
                          <a:gd name="connsiteX152" fmla="*/ 25059 w 28886"/>
                          <a:gd name="connsiteY152" fmla="*/ 23863 h 49520"/>
                          <a:gd name="connsiteX153" fmla="*/ 25418 w 28886"/>
                          <a:gd name="connsiteY153" fmla="*/ 23265 h 49520"/>
                          <a:gd name="connsiteX154" fmla="*/ 25777 w 28886"/>
                          <a:gd name="connsiteY154" fmla="*/ 22667 h 49520"/>
                          <a:gd name="connsiteX155" fmla="*/ 25897 w 28886"/>
                          <a:gd name="connsiteY155" fmla="*/ 22488 h 49520"/>
                          <a:gd name="connsiteX156" fmla="*/ 26016 w 28886"/>
                          <a:gd name="connsiteY156" fmla="*/ 22308 h 49520"/>
                          <a:gd name="connsiteX157" fmla="*/ 26136 w 28886"/>
                          <a:gd name="connsiteY157" fmla="*/ 22129 h 49520"/>
                          <a:gd name="connsiteX158" fmla="*/ 26255 w 28886"/>
                          <a:gd name="connsiteY158" fmla="*/ 21950 h 49520"/>
                          <a:gd name="connsiteX159" fmla="*/ 26554 w 28886"/>
                          <a:gd name="connsiteY159" fmla="*/ 21411 h 49520"/>
                          <a:gd name="connsiteX160" fmla="*/ 26853 w 28886"/>
                          <a:gd name="connsiteY160" fmla="*/ 20813 h 49520"/>
                          <a:gd name="connsiteX161" fmla="*/ 27152 w 28886"/>
                          <a:gd name="connsiteY161" fmla="*/ 20215 h 49520"/>
                          <a:gd name="connsiteX162" fmla="*/ 27392 w 28886"/>
                          <a:gd name="connsiteY162" fmla="*/ 19617 h 49520"/>
                          <a:gd name="connsiteX163" fmla="*/ 27451 w 28886"/>
                          <a:gd name="connsiteY163" fmla="*/ 19497 h 49520"/>
                          <a:gd name="connsiteX164" fmla="*/ 27511 w 28886"/>
                          <a:gd name="connsiteY164" fmla="*/ 19378 h 49520"/>
                          <a:gd name="connsiteX165" fmla="*/ 27571 w 28886"/>
                          <a:gd name="connsiteY165" fmla="*/ 19258 h 49520"/>
                          <a:gd name="connsiteX166" fmla="*/ 27631 w 28886"/>
                          <a:gd name="connsiteY166" fmla="*/ 19138 h 49520"/>
                          <a:gd name="connsiteX167" fmla="*/ 27511 w 28886"/>
                          <a:gd name="connsiteY167" fmla="*/ 18959 h 49520"/>
                          <a:gd name="connsiteX168" fmla="*/ 27392 w 28886"/>
                          <a:gd name="connsiteY168" fmla="*/ 18780 h 49520"/>
                          <a:gd name="connsiteX169" fmla="*/ 27272 w 28886"/>
                          <a:gd name="connsiteY169" fmla="*/ 18600 h 49520"/>
                          <a:gd name="connsiteX170" fmla="*/ 27152 w 28886"/>
                          <a:gd name="connsiteY170" fmla="*/ 18421 h 49520"/>
                          <a:gd name="connsiteX171" fmla="*/ 27152 w 28886"/>
                          <a:gd name="connsiteY171" fmla="*/ 18421 h 49520"/>
                          <a:gd name="connsiteX172" fmla="*/ 27152 w 28886"/>
                          <a:gd name="connsiteY172" fmla="*/ 18421 h 49520"/>
                          <a:gd name="connsiteX173" fmla="*/ 27152 w 28886"/>
                          <a:gd name="connsiteY173" fmla="*/ 18421 h 49520"/>
                          <a:gd name="connsiteX174" fmla="*/ 27152 w 28886"/>
                          <a:gd name="connsiteY174" fmla="*/ 18421 h 49520"/>
                          <a:gd name="connsiteX175" fmla="*/ 27092 w 28886"/>
                          <a:gd name="connsiteY175" fmla="*/ 18660 h 49520"/>
                          <a:gd name="connsiteX176" fmla="*/ 27033 w 28886"/>
                          <a:gd name="connsiteY176" fmla="*/ 18899 h 49520"/>
                          <a:gd name="connsiteX177" fmla="*/ 26973 w 28886"/>
                          <a:gd name="connsiteY177" fmla="*/ 19138 h 49520"/>
                          <a:gd name="connsiteX178" fmla="*/ 26913 w 28886"/>
                          <a:gd name="connsiteY178" fmla="*/ 19378 h 49520"/>
                          <a:gd name="connsiteX179" fmla="*/ 26674 w 28886"/>
                          <a:gd name="connsiteY179" fmla="*/ 19976 h 49520"/>
                          <a:gd name="connsiteX180" fmla="*/ 26435 w 28886"/>
                          <a:gd name="connsiteY180" fmla="*/ 20574 h 49520"/>
                          <a:gd name="connsiteX181" fmla="*/ 26136 w 28886"/>
                          <a:gd name="connsiteY181" fmla="*/ 21172 h 49520"/>
                          <a:gd name="connsiteX182" fmla="*/ 25837 w 28886"/>
                          <a:gd name="connsiteY182" fmla="*/ 21770 h 49520"/>
                          <a:gd name="connsiteX183" fmla="*/ 25717 w 28886"/>
                          <a:gd name="connsiteY183" fmla="*/ 21950 h 49520"/>
                          <a:gd name="connsiteX184" fmla="*/ 25597 w 28886"/>
                          <a:gd name="connsiteY184" fmla="*/ 22129 h 49520"/>
                          <a:gd name="connsiteX185" fmla="*/ 25478 w 28886"/>
                          <a:gd name="connsiteY185" fmla="*/ 22308 h 49520"/>
                          <a:gd name="connsiteX186" fmla="*/ 25358 w 28886"/>
                          <a:gd name="connsiteY186" fmla="*/ 22488 h 49520"/>
                          <a:gd name="connsiteX187" fmla="*/ 24999 w 28886"/>
                          <a:gd name="connsiteY187" fmla="*/ 23086 h 49520"/>
                          <a:gd name="connsiteX188" fmla="*/ 24641 w 28886"/>
                          <a:gd name="connsiteY188" fmla="*/ 23684 h 49520"/>
                          <a:gd name="connsiteX189" fmla="*/ 24282 w 28886"/>
                          <a:gd name="connsiteY189" fmla="*/ 24282 h 49520"/>
                          <a:gd name="connsiteX190" fmla="*/ 23863 w 28886"/>
                          <a:gd name="connsiteY190" fmla="*/ 24880 h 49520"/>
                          <a:gd name="connsiteX191" fmla="*/ 23743 w 28886"/>
                          <a:gd name="connsiteY191" fmla="*/ 25059 h 49520"/>
                          <a:gd name="connsiteX192" fmla="*/ 23624 w 28886"/>
                          <a:gd name="connsiteY192" fmla="*/ 25239 h 49520"/>
                          <a:gd name="connsiteX193" fmla="*/ 23504 w 28886"/>
                          <a:gd name="connsiteY193" fmla="*/ 25418 h 49520"/>
                          <a:gd name="connsiteX194" fmla="*/ 23384 w 28886"/>
                          <a:gd name="connsiteY194" fmla="*/ 25598 h 49520"/>
                          <a:gd name="connsiteX195" fmla="*/ 23205 w 28886"/>
                          <a:gd name="connsiteY195" fmla="*/ 25837 h 49520"/>
                          <a:gd name="connsiteX196" fmla="*/ 23026 w 28886"/>
                          <a:gd name="connsiteY196" fmla="*/ 26076 h 49520"/>
                          <a:gd name="connsiteX197" fmla="*/ 22846 w 28886"/>
                          <a:gd name="connsiteY197" fmla="*/ 26315 h 49520"/>
                          <a:gd name="connsiteX198" fmla="*/ 22667 w 28886"/>
                          <a:gd name="connsiteY198" fmla="*/ 26554 h 49520"/>
                          <a:gd name="connsiteX199" fmla="*/ 22547 w 28886"/>
                          <a:gd name="connsiteY199" fmla="*/ 26734 h 49520"/>
                          <a:gd name="connsiteX200" fmla="*/ 22428 w 28886"/>
                          <a:gd name="connsiteY200" fmla="*/ 26913 h 49520"/>
                          <a:gd name="connsiteX201" fmla="*/ 22308 w 28886"/>
                          <a:gd name="connsiteY201" fmla="*/ 27093 h 49520"/>
                          <a:gd name="connsiteX202" fmla="*/ 22189 w 28886"/>
                          <a:gd name="connsiteY202" fmla="*/ 27272 h 49520"/>
                          <a:gd name="connsiteX203" fmla="*/ 21411 w 28886"/>
                          <a:gd name="connsiteY203" fmla="*/ 28169 h 49520"/>
                          <a:gd name="connsiteX204" fmla="*/ 20634 w 28886"/>
                          <a:gd name="connsiteY204" fmla="*/ 29067 h 49520"/>
                          <a:gd name="connsiteX205" fmla="*/ 19856 w 28886"/>
                          <a:gd name="connsiteY205" fmla="*/ 29963 h 49520"/>
                          <a:gd name="connsiteX206" fmla="*/ 19019 w 28886"/>
                          <a:gd name="connsiteY206" fmla="*/ 30861 h 49520"/>
                          <a:gd name="connsiteX207" fmla="*/ 18839 w 28886"/>
                          <a:gd name="connsiteY207" fmla="*/ 31040 h 49520"/>
                          <a:gd name="connsiteX208" fmla="*/ 18660 w 28886"/>
                          <a:gd name="connsiteY208" fmla="*/ 31220 h 49520"/>
                          <a:gd name="connsiteX209" fmla="*/ 18480 w 28886"/>
                          <a:gd name="connsiteY209" fmla="*/ 31399 h 49520"/>
                          <a:gd name="connsiteX210" fmla="*/ 18301 w 28886"/>
                          <a:gd name="connsiteY210" fmla="*/ 31578 h 49520"/>
                          <a:gd name="connsiteX211" fmla="*/ 16806 w 28886"/>
                          <a:gd name="connsiteY211" fmla="*/ 33133 h 49520"/>
                          <a:gd name="connsiteX212" fmla="*/ 15251 w 28886"/>
                          <a:gd name="connsiteY212" fmla="*/ 34688 h 49520"/>
                          <a:gd name="connsiteX213" fmla="*/ 13696 w 28886"/>
                          <a:gd name="connsiteY213" fmla="*/ 36243 h 49520"/>
                          <a:gd name="connsiteX214" fmla="*/ 12021 w 28886"/>
                          <a:gd name="connsiteY214" fmla="*/ 37619 h 49520"/>
                          <a:gd name="connsiteX215" fmla="*/ 10825 w 28886"/>
                          <a:gd name="connsiteY215" fmla="*/ 36841 h 49520"/>
                          <a:gd name="connsiteX216" fmla="*/ 11364 w 28886"/>
                          <a:gd name="connsiteY216" fmla="*/ 37200 h 49520"/>
                          <a:gd name="connsiteX217" fmla="*/ 12978 w 28886"/>
                          <a:gd name="connsiteY217" fmla="*/ 35645 h 49520"/>
                          <a:gd name="connsiteX218" fmla="*/ 14533 w 28886"/>
                          <a:gd name="connsiteY218" fmla="*/ 34090 h 49520"/>
                          <a:gd name="connsiteX219" fmla="*/ 16088 w 28886"/>
                          <a:gd name="connsiteY219" fmla="*/ 32535 h 49520"/>
                          <a:gd name="connsiteX220" fmla="*/ 17583 w 28886"/>
                          <a:gd name="connsiteY220" fmla="*/ 30980 h 49520"/>
                          <a:gd name="connsiteX221" fmla="*/ 17763 w 28886"/>
                          <a:gd name="connsiteY221" fmla="*/ 30801 h 49520"/>
                          <a:gd name="connsiteX222" fmla="*/ 17942 w 28886"/>
                          <a:gd name="connsiteY222" fmla="*/ 30622 h 49520"/>
                          <a:gd name="connsiteX223" fmla="*/ 18121 w 28886"/>
                          <a:gd name="connsiteY223" fmla="*/ 30442 h 49520"/>
                          <a:gd name="connsiteX224" fmla="*/ 18301 w 28886"/>
                          <a:gd name="connsiteY224" fmla="*/ 30262 h 49520"/>
                          <a:gd name="connsiteX225" fmla="*/ 19138 w 28886"/>
                          <a:gd name="connsiteY225" fmla="*/ 29366 h 49520"/>
                          <a:gd name="connsiteX226" fmla="*/ 19916 w 28886"/>
                          <a:gd name="connsiteY226" fmla="*/ 28468 h 49520"/>
                          <a:gd name="connsiteX227" fmla="*/ 20693 w 28886"/>
                          <a:gd name="connsiteY227" fmla="*/ 27571 h 49520"/>
                          <a:gd name="connsiteX228" fmla="*/ 21471 w 28886"/>
                          <a:gd name="connsiteY228" fmla="*/ 26674 h 49520"/>
                          <a:gd name="connsiteX229" fmla="*/ 21590 w 28886"/>
                          <a:gd name="connsiteY229" fmla="*/ 26495 h 49520"/>
                          <a:gd name="connsiteX230" fmla="*/ 21710 w 28886"/>
                          <a:gd name="connsiteY230" fmla="*/ 26315 h 49520"/>
                          <a:gd name="connsiteX231" fmla="*/ 21830 w 28886"/>
                          <a:gd name="connsiteY231" fmla="*/ 26136 h 49520"/>
                          <a:gd name="connsiteX232" fmla="*/ 21949 w 28886"/>
                          <a:gd name="connsiteY232" fmla="*/ 25956 h 49520"/>
                          <a:gd name="connsiteX233" fmla="*/ 22129 w 28886"/>
                          <a:gd name="connsiteY233" fmla="*/ 25717 h 49520"/>
                          <a:gd name="connsiteX234" fmla="*/ 22308 w 28886"/>
                          <a:gd name="connsiteY234" fmla="*/ 25478 h 49520"/>
                          <a:gd name="connsiteX235" fmla="*/ 22488 w 28886"/>
                          <a:gd name="connsiteY235" fmla="*/ 25239 h 49520"/>
                          <a:gd name="connsiteX236" fmla="*/ 22667 w 28886"/>
                          <a:gd name="connsiteY236" fmla="*/ 25000 h 49520"/>
                          <a:gd name="connsiteX237" fmla="*/ 22787 w 28886"/>
                          <a:gd name="connsiteY237" fmla="*/ 24820 h 49520"/>
                          <a:gd name="connsiteX238" fmla="*/ 22906 w 28886"/>
                          <a:gd name="connsiteY238" fmla="*/ 24641 h 49520"/>
                          <a:gd name="connsiteX239" fmla="*/ 23026 w 28886"/>
                          <a:gd name="connsiteY239" fmla="*/ 24461 h 49520"/>
                          <a:gd name="connsiteX240" fmla="*/ 23145 w 28886"/>
                          <a:gd name="connsiteY240" fmla="*/ 24282 h 49520"/>
                          <a:gd name="connsiteX241" fmla="*/ 23564 w 28886"/>
                          <a:gd name="connsiteY241" fmla="*/ 23684 h 49520"/>
                          <a:gd name="connsiteX242" fmla="*/ 23923 w 28886"/>
                          <a:gd name="connsiteY242" fmla="*/ 23086 h 49520"/>
                          <a:gd name="connsiteX243" fmla="*/ 24282 w 28886"/>
                          <a:gd name="connsiteY243" fmla="*/ 22488 h 49520"/>
                          <a:gd name="connsiteX244" fmla="*/ 24641 w 28886"/>
                          <a:gd name="connsiteY244" fmla="*/ 21890 h 49520"/>
                          <a:gd name="connsiteX245" fmla="*/ 24760 w 28886"/>
                          <a:gd name="connsiteY245" fmla="*/ 21710 h 49520"/>
                          <a:gd name="connsiteX246" fmla="*/ 24880 w 28886"/>
                          <a:gd name="connsiteY246" fmla="*/ 21531 h 49520"/>
                          <a:gd name="connsiteX247" fmla="*/ 24999 w 28886"/>
                          <a:gd name="connsiteY247" fmla="*/ 21351 h 49520"/>
                          <a:gd name="connsiteX248" fmla="*/ 25119 w 28886"/>
                          <a:gd name="connsiteY248" fmla="*/ 21172 h 49520"/>
                          <a:gd name="connsiteX249" fmla="*/ 25418 w 28886"/>
                          <a:gd name="connsiteY249" fmla="*/ 20574 h 49520"/>
                          <a:gd name="connsiteX250" fmla="*/ 25717 w 28886"/>
                          <a:gd name="connsiteY250" fmla="*/ 19976 h 49520"/>
                          <a:gd name="connsiteX251" fmla="*/ 25956 w 28886"/>
                          <a:gd name="connsiteY251" fmla="*/ 19378 h 49520"/>
                          <a:gd name="connsiteX252" fmla="*/ 26196 w 28886"/>
                          <a:gd name="connsiteY252" fmla="*/ 18780 h 49520"/>
                          <a:gd name="connsiteX253" fmla="*/ 26255 w 28886"/>
                          <a:gd name="connsiteY253" fmla="*/ 18540 h 49520"/>
                          <a:gd name="connsiteX254" fmla="*/ 26315 w 28886"/>
                          <a:gd name="connsiteY254" fmla="*/ 18301 h 49520"/>
                          <a:gd name="connsiteX255" fmla="*/ 26375 w 28886"/>
                          <a:gd name="connsiteY255" fmla="*/ 18062 h 49520"/>
                          <a:gd name="connsiteX256" fmla="*/ 26435 w 28886"/>
                          <a:gd name="connsiteY256" fmla="*/ 17823 h 49520"/>
                          <a:gd name="connsiteX257" fmla="*/ 26495 w 28886"/>
                          <a:gd name="connsiteY257" fmla="*/ 17643 h 49520"/>
                          <a:gd name="connsiteX258" fmla="*/ 26554 w 28886"/>
                          <a:gd name="connsiteY258" fmla="*/ 17464 h 49520"/>
                          <a:gd name="connsiteX259" fmla="*/ 26614 w 28886"/>
                          <a:gd name="connsiteY259" fmla="*/ 17284 h 49520"/>
                          <a:gd name="connsiteX260" fmla="*/ 26674 w 28886"/>
                          <a:gd name="connsiteY260" fmla="*/ 17105 h 49520"/>
                          <a:gd name="connsiteX261" fmla="*/ 26554 w 28886"/>
                          <a:gd name="connsiteY261" fmla="*/ 16926 h 49520"/>
                          <a:gd name="connsiteX262" fmla="*/ 26435 w 28886"/>
                          <a:gd name="connsiteY262" fmla="*/ 16746 h 49520"/>
                          <a:gd name="connsiteX263" fmla="*/ 26315 w 28886"/>
                          <a:gd name="connsiteY263" fmla="*/ 16567 h 49520"/>
                          <a:gd name="connsiteX264" fmla="*/ 26196 w 28886"/>
                          <a:gd name="connsiteY264" fmla="*/ 16387 h 49520"/>
                          <a:gd name="connsiteX265" fmla="*/ 26136 w 28886"/>
                          <a:gd name="connsiteY265" fmla="*/ 16627 h 49520"/>
                          <a:gd name="connsiteX266" fmla="*/ 26076 w 28886"/>
                          <a:gd name="connsiteY266" fmla="*/ 16866 h 49520"/>
                          <a:gd name="connsiteX267" fmla="*/ 26016 w 28886"/>
                          <a:gd name="connsiteY267" fmla="*/ 17105 h 49520"/>
                          <a:gd name="connsiteX268" fmla="*/ 25956 w 28886"/>
                          <a:gd name="connsiteY268" fmla="*/ 17344 h 49520"/>
                          <a:gd name="connsiteX269" fmla="*/ 25897 w 28886"/>
                          <a:gd name="connsiteY269" fmla="*/ 17583 h 49520"/>
                          <a:gd name="connsiteX270" fmla="*/ 25837 w 28886"/>
                          <a:gd name="connsiteY270" fmla="*/ 17823 h 49520"/>
                          <a:gd name="connsiteX271" fmla="*/ 25777 w 28886"/>
                          <a:gd name="connsiteY271" fmla="*/ 18062 h 49520"/>
                          <a:gd name="connsiteX272" fmla="*/ 25717 w 28886"/>
                          <a:gd name="connsiteY272" fmla="*/ 18301 h 49520"/>
                          <a:gd name="connsiteX273" fmla="*/ 25478 w 28886"/>
                          <a:gd name="connsiteY273" fmla="*/ 18899 h 49520"/>
                          <a:gd name="connsiteX274" fmla="*/ 25238 w 28886"/>
                          <a:gd name="connsiteY274" fmla="*/ 19497 h 49520"/>
                          <a:gd name="connsiteX275" fmla="*/ 24999 w 28886"/>
                          <a:gd name="connsiteY275" fmla="*/ 20096 h 49520"/>
                          <a:gd name="connsiteX276" fmla="*/ 24700 w 28886"/>
                          <a:gd name="connsiteY276" fmla="*/ 20693 h 49520"/>
                          <a:gd name="connsiteX277" fmla="*/ 24581 w 28886"/>
                          <a:gd name="connsiteY277" fmla="*/ 20873 h 49520"/>
                          <a:gd name="connsiteX278" fmla="*/ 24461 w 28886"/>
                          <a:gd name="connsiteY278" fmla="*/ 21052 h 49520"/>
                          <a:gd name="connsiteX279" fmla="*/ 24342 w 28886"/>
                          <a:gd name="connsiteY279" fmla="*/ 21232 h 49520"/>
                          <a:gd name="connsiteX280" fmla="*/ 24222 w 28886"/>
                          <a:gd name="connsiteY280" fmla="*/ 21411 h 49520"/>
                          <a:gd name="connsiteX281" fmla="*/ 23863 w 28886"/>
                          <a:gd name="connsiteY281" fmla="*/ 22009 h 49520"/>
                          <a:gd name="connsiteX282" fmla="*/ 23504 w 28886"/>
                          <a:gd name="connsiteY282" fmla="*/ 22607 h 49520"/>
                          <a:gd name="connsiteX283" fmla="*/ 23145 w 28886"/>
                          <a:gd name="connsiteY283" fmla="*/ 23205 h 49520"/>
                          <a:gd name="connsiteX284" fmla="*/ 22727 w 28886"/>
                          <a:gd name="connsiteY284" fmla="*/ 23804 h 49520"/>
                          <a:gd name="connsiteX285" fmla="*/ 22607 w 28886"/>
                          <a:gd name="connsiteY285" fmla="*/ 23983 h 49520"/>
                          <a:gd name="connsiteX286" fmla="*/ 22488 w 28886"/>
                          <a:gd name="connsiteY286" fmla="*/ 24162 h 49520"/>
                          <a:gd name="connsiteX287" fmla="*/ 22368 w 28886"/>
                          <a:gd name="connsiteY287" fmla="*/ 24342 h 49520"/>
                          <a:gd name="connsiteX288" fmla="*/ 22248 w 28886"/>
                          <a:gd name="connsiteY288" fmla="*/ 24521 h 49520"/>
                          <a:gd name="connsiteX289" fmla="*/ 22069 w 28886"/>
                          <a:gd name="connsiteY289" fmla="*/ 24760 h 49520"/>
                          <a:gd name="connsiteX290" fmla="*/ 21889 w 28886"/>
                          <a:gd name="connsiteY290" fmla="*/ 25000 h 49520"/>
                          <a:gd name="connsiteX291" fmla="*/ 21710 w 28886"/>
                          <a:gd name="connsiteY291" fmla="*/ 25239 h 49520"/>
                          <a:gd name="connsiteX292" fmla="*/ 21530 w 28886"/>
                          <a:gd name="connsiteY292" fmla="*/ 25478 h 49520"/>
                          <a:gd name="connsiteX293" fmla="*/ 21411 w 28886"/>
                          <a:gd name="connsiteY293" fmla="*/ 25658 h 49520"/>
                          <a:gd name="connsiteX294" fmla="*/ 21291 w 28886"/>
                          <a:gd name="connsiteY294" fmla="*/ 25837 h 49520"/>
                          <a:gd name="connsiteX295" fmla="*/ 21172 w 28886"/>
                          <a:gd name="connsiteY295" fmla="*/ 26016 h 49520"/>
                          <a:gd name="connsiteX296" fmla="*/ 21052 w 28886"/>
                          <a:gd name="connsiteY296" fmla="*/ 26196 h 49520"/>
                          <a:gd name="connsiteX297" fmla="*/ 20275 w 28886"/>
                          <a:gd name="connsiteY297" fmla="*/ 27093 h 49520"/>
                          <a:gd name="connsiteX298" fmla="*/ 19497 w 28886"/>
                          <a:gd name="connsiteY298" fmla="*/ 27990 h 49520"/>
                          <a:gd name="connsiteX299" fmla="*/ 18720 w 28886"/>
                          <a:gd name="connsiteY299" fmla="*/ 28887 h 49520"/>
                          <a:gd name="connsiteX300" fmla="*/ 17882 w 28886"/>
                          <a:gd name="connsiteY300" fmla="*/ 29784 h 49520"/>
                          <a:gd name="connsiteX301" fmla="*/ 17703 w 28886"/>
                          <a:gd name="connsiteY301" fmla="*/ 29963 h 49520"/>
                          <a:gd name="connsiteX302" fmla="*/ 17523 w 28886"/>
                          <a:gd name="connsiteY302" fmla="*/ 30143 h 49520"/>
                          <a:gd name="connsiteX303" fmla="*/ 17344 w 28886"/>
                          <a:gd name="connsiteY303" fmla="*/ 30322 h 49520"/>
                          <a:gd name="connsiteX304" fmla="*/ 17165 w 28886"/>
                          <a:gd name="connsiteY304" fmla="*/ 30502 h 49520"/>
                          <a:gd name="connsiteX305" fmla="*/ 15669 w 28886"/>
                          <a:gd name="connsiteY305" fmla="*/ 32057 h 49520"/>
                          <a:gd name="connsiteX306" fmla="*/ 14114 w 28886"/>
                          <a:gd name="connsiteY306" fmla="*/ 33612 h 49520"/>
                          <a:gd name="connsiteX307" fmla="*/ 12559 w 28886"/>
                          <a:gd name="connsiteY307" fmla="*/ 35167 h 49520"/>
                          <a:gd name="connsiteX308" fmla="*/ 10825 w 28886"/>
                          <a:gd name="connsiteY308" fmla="*/ 36841 h 49520"/>
                          <a:gd name="connsiteX309" fmla="*/ 10167 w 28886"/>
                          <a:gd name="connsiteY309" fmla="*/ 39413 h 49520"/>
                          <a:gd name="connsiteX310" fmla="*/ 10705 w 28886"/>
                          <a:gd name="connsiteY310" fmla="*/ 39772 h 49520"/>
                          <a:gd name="connsiteX311" fmla="*/ 11004 w 28886"/>
                          <a:gd name="connsiteY311" fmla="*/ 39473 h 49520"/>
                          <a:gd name="connsiteX312" fmla="*/ 11304 w 28886"/>
                          <a:gd name="connsiteY312" fmla="*/ 39174 h 49520"/>
                          <a:gd name="connsiteX313" fmla="*/ 11603 w 28886"/>
                          <a:gd name="connsiteY313" fmla="*/ 38875 h 49520"/>
                          <a:gd name="connsiteX314" fmla="*/ 11902 w 28886"/>
                          <a:gd name="connsiteY314" fmla="*/ 38576 h 49520"/>
                          <a:gd name="connsiteX315" fmla="*/ 11364 w 28886"/>
                          <a:gd name="connsiteY315" fmla="*/ 38217 h 49520"/>
                          <a:gd name="connsiteX316" fmla="*/ 11064 w 28886"/>
                          <a:gd name="connsiteY316" fmla="*/ 38516 h 49520"/>
                          <a:gd name="connsiteX317" fmla="*/ 10765 w 28886"/>
                          <a:gd name="connsiteY317" fmla="*/ 38815 h 49520"/>
                          <a:gd name="connsiteX318" fmla="*/ 10466 w 28886"/>
                          <a:gd name="connsiteY318" fmla="*/ 39114 h 49520"/>
                          <a:gd name="connsiteX319" fmla="*/ 10167 w 28886"/>
                          <a:gd name="connsiteY319" fmla="*/ 39413 h 49520"/>
                          <a:gd name="connsiteX320" fmla="*/ 8971 w 28886"/>
                          <a:gd name="connsiteY320" fmla="*/ 38636 h 49520"/>
                          <a:gd name="connsiteX321" fmla="*/ 9509 w 28886"/>
                          <a:gd name="connsiteY321" fmla="*/ 38994 h 49520"/>
                          <a:gd name="connsiteX322" fmla="*/ 9808 w 28886"/>
                          <a:gd name="connsiteY322" fmla="*/ 38695 h 49520"/>
                          <a:gd name="connsiteX323" fmla="*/ 10107 w 28886"/>
                          <a:gd name="connsiteY323" fmla="*/ 38396 h 49520"/>
                          <a:gd name="connsiteX324" fmla="*/ 10406 w 28886"/>
                          <a:gd name="connsiteY324" fmla="*/ 38098 h 49520"/>
                          <a:gd name="connsiteX325" fmla="*/ 10705 w 28886"/>
                          <a:gd name="connsiteY325" fmla="*/ 37798 h 49520"/>
                          <a:gd name="connsiteX326" fmla="*/ 10167 w 28886"/>
                          <a:gd name="connsiteY326" fmla="*/ 37439 h 49520"/>
                          <a:gd name="connsiteX327" fmla="*/ 9868 w 28886"/>
                          <a:gd name="connsiteY327" fmla="*/ 37738 h 49520"/>
                          <a:gd name="connsiteX328" fmla="*/ 9569 w 28886"/>
                          <a:gd name="connsiteY328" fmla="*/ 38038 h 49520"/>
                          <a:gd name="connsiteX329" fmla="*/ 9270 w 28886"/>
                          <a:gd name="connsiteY329" fmla="*/ 38337 h 49520"/>
                          <a:gd name="connsiteX330" fmla="*/ 8971 w 28886"/>
                          <a:gd name="connsiteY330" fmla="*/ 38636 h 49520"/>
                          <a:gd name="connsiteX331" fmla="*/ 8493 w 28886"/>
                          <a:gd name="connsiteY331" fmla="*/ 41147 h 49520"/>
                          <a:gd name="connsiteX332" fmla="*/ 9031 w 28886"/>
                          <a:gd name="connsiteY332" fmla="*/ 41506 h 49520"/>
                          <a:gd name="connsiteX333" fmla="*/ 9270 w 28886"/>
                          <a:gd name="connsiteY333" fmla="*/ 41267 h 49520"/>
                          <a:gd name="connsiteX334" fmla="*/ 9509 w 28886"/>
                          <a:gd name="connsiteY334" fmla="*/ 41028 h 49520"/>
                          <a:gd name="connsiteX335" fmla="*/ 9749 w 28886"/>
                          <a:gd name="connsiteY335" fmla="*/ 40789 h 49520"/>
                          <a:gd name="connsiteX336" fmla="*/ 9988 w 28886"/>
                          <a:gd name="connsiteY336" fmla="*/ 40549 h 49520"/>
                          <a:gd name="connsiteX337" fmla="*/ 9450 w 28886"/>
                          <a:gd name="connsiteY337" fmla="*/ 40191 h 49520"/>
                          <a:gd name="connsiteX338" fmla="*/ 9210 w 28886"/>
                          <a:gd name="connsiteY338" fmla="*/ 40430 h 49520"/>
                          <a:gd name="connsiteX339" fmla="*/ 8971 w 28886"/>
                          <a:gd name="connsiteY339" fmla="*/ 40669 h 49520"/>
                          <a:gd name="connsiteX340" fmla="*/ 8732 w 28886"/>
                          <a:gd name="connsiteY340" fmla="*/ 40908 h 49520"/>
                          <a:gd name="connsiteX341" fmla="*/ 8493 w 28886"/>
                          <a:gd name="connsiteY341" fmla="*/ 41147 h 49520"/>
                          <a:gd name="connsiteX342" fmla="*/ 7296 w 28886"/>
                          <a:gd name="connsiteY342" fmla="*/ 40370 h 49520"/>
                          <a:gd name="connsiteX343" fmla="*/ 7835 w 28886"/>
                          <a:gd name="connsiteY343" fmla="*/ 40729 h 49520"/>
                          <a:gd name="connsiteX344" fmla="*/ 8074 w 28886"/>
                          <a:gd name="connsiteY344" fmla="*/ 40490 h 49520"/>
                          <a:gd name="connsiteX345" fmla="*/ 8313 w 28886"/>
                          <a:gd name="connsiteY345" fmla="*/ 40251 h 49520"/>
                          <a:gd name="connsiteX346" fmla="*/ 8552 w 28886"/>
                          <a:gd name="connsiteY346" fmla="*/ 40011 h 49520"/>
                          <a:gd name="connsiteX347" fmla="*/ 8791 w 28886"/>
                          <a:gd name="connsiteY347" fmla="*/ 39772 h 49520"/>
                          <a:gd name="connsiteX348" fmla="*/ 8253 w 28886"/>
                          <a:gd name="connsiteY348" fmla="*/ 39413 h 49520"/>
                          <a:gd name="connsiteX349" fmla="*/ 8014 w 28886"/>
                          <a:gd name="connsiteY349" fmla="*/ 39652 h 49520"/>
                          <a:gd name="connsiteX350" fmla="*/ 7775 w 28886"/>
                          <a:gd name="connsiteY350" fmla="*/ 39892 h 49520"/>
                          <a:gd name="connsiteX351" fmla="*/ 7536 w 28886"/>
                          <a:gd name="connsiteY351" fmla="*/ 40131 h 49520"/>
                          <a:gd name="connsiteX352" fmla="*/ 7296 w 28886"/>
                          <a:gd name="connsiteY352" fmla="*/ 40370 h 49520"/>
                          <a:gd name="connsiteX353" fmla="*/ 0 w 28886"/>
                          <a:gd name="connsiteY353" fmla="*/ 48444 h 49520"/>
                          <a:gd name="connsiteX354" fmla="*/ 1674 w 28886"/>
                          <a:gd name="connsiteY354" fmla="*/ 49521 h 49520"/>
                          <a:gd name="connsiteX355" fmla="*/ 1974 w 28886"/>
                          <a:gd name="connsiteY355" fmla="*/ 49162 h 49520"/>
                          <a:gd name="connsiteX356" fmla="*/ 2452 w 28886"/>
                          <a:gd name="connsiteY356" fmla="*/ 48564 h 49520"/>
                          <a:gd name="connsiteX357" fmla="*/ 2930 w 28886"/>
                          <a:gd name="connsiteY357" fmla="*/ 47966 h 49520"/>
                          <a:gd name="connsiteX358" fmla="*/ 3469 w 28886"/>
                          <a:gd name="connsiteY358" fmla="*/ 47368 h 49520"/>
                          <a:gd name="connsiteX359" fmla="*/ 4007 w 28886"/>
                          <a:gd name="connsiteY359" fmla="*/ 46769 h 49520"/>
                          <a:gd name="connsiteX360" fmla="*/ 4187 w 28886"/>
                          <a:gd name="connsiteY360" fmla="*/ 46590 h 49520"/>
                          <a:gd name="connsiteX361" fmla="*/ 4366 w 28886"/>
                          <a:gd name="connsiteY361" fmla="*/ 46410 h 49520"/>
                          <a:gd name="connsiteX362" fmla="*/ 4545 w 28886"/>
                          <a:gd name="connsiteY362" fmla="*/ 46231 h 49520"/>
                          <a:gd name="connsiteX363" fmla="*/ 4725 w 28886"/>
                          <a:gd name="connsiteY363" fmla="*/ 46052 h 49520"/>
                          <a:gd name="connsiteX364" fmla="*/ 5622 w 28886"/>
                          <a:gd name="connsiteY364" fmla="*/ 45095 h 49520"/>
                          <a:gd name="connsiteX365" fmla="*/ 6519 w 28886"/>
                          <a:gd name="connsiteY365" fmla="*/ 44138 h 49520"/>
                          <a:gd name="connsiteX366" fmla="*/ 7476 w 28886"/>
                          <a:gd name="connsiteY366" fmla="*/ 43181 h 49520"/>
                          <a:gd name="connsiteX367" fmla="*/ 8433 w 28886"/>
                          <a:gd name="connsiteY367" fmla="*/ 42224 h 49520"/>
                          <a:gd name="connsiteX368" fmla="*/ 7895 w 28886"/>
                          <a:gd name="connsiteY368" fmla="*/ 41865 h 49520"/>
                          <a:gd name="connsiteX369" fmla="*/ 6937 w 28886"/>
                          <a:gd name="connsiteY369" fmla="*/ 42822 h 49520"/>
                          <a:gd name="connsiteX370" fmla="*/ 5981 w 28886"/>
                          <a:gd name="connsiteY370" fmla="*/ 43779 h 49520"/>
                          <a:gd name="connsiteX371" fmla="*/ 5083 w 28886"/>
                          <a:gd name="connsiteY371" fmla="*/ 44736 h 49520"/>
                          <a:gd name="connsiteX372" fmla="*/ 4187 w 28886"/>
                          <a:gd name="connsiteY372" fmla="*/ 45693 h 49520"/>
                          <a:gd name="connsiteX373" fmla="*/ 4007 w 28886"/>
                          <a:gd name="connsiteY373" fmla="*/ 45872 h 49520"/>
                          <a:gd name="connsiteX374" fmla="*/ 3828 w 28886"/>
                          <a:gd name="connsiteY374" fmla="*/ 46052 h 49520"/>
                          <a:gd name="connsiteX375" fmla="*/ 3648 w 28886"/>
                          <a:gd name="connsiteY375" fmla="*/ 46231 h 49520"/>
                          <a:gd name="connsiteX376" fmla="*/ 3469 w 28886"/>
                          <a:gd name="connsiteY376" fmla="*/ 46410 h 49520"/>
                          <a:gd name="connsiteX377" fmla="*/ 3050 w 28886"/>
                          <a:gd name="connsiteY377" fmla="*/ 46949 h 49520"/>
                          <a:gd name="connsiteX378" fmla="*/ 2632 w 28886"/>
                          <a:gd name="connsiteY378" fmla="*/ 47487 h 49520"/>
                          <a:gd name="connsiteX379" fmla="*/ 2213 w 28886"/>
                          <a:gd name="connsiteY379" fmla="*/ 48025 h 49520"/>
                          <a:gd name="connsiteX380" fmla="*/ 1794 w 28886"/>
                          <a:gd name="connsiteY380" fmla="*/ 48504 h 49520"/>
                          <a:gd name="connsiteX381" fmla="*/ 1136 w 28886"/>
                          <a:gd name="connsiteY381" fmla="*/ 48085 h 49520"/>
                          <a:gd name="connsiteX382" fmla="*/ 1555 w 28886"/>
                          <a:gd name="connsiteY382" fmla="*/ 47547 h 49520"/>
                          <a:gd name="connsiteX383" fmla="*/ 1974 w 28886"/>
                          <a:gd name="connsiteY383" fmla="*/ 47009 h 49520"/>
                          <a:gd name="connsiteX384" fmla="*/ 2392 w 28886"/>
                          <a:gd name="connsiteY384" fmla="*/ 46470 h 49520"/>
                          <a:gd name="connsiteX385" fmla="*/ 2811 w 28886"/>
                          <a:gd name="connsiteY385" fmla="*/ 45932 h 49520"/>
                          <a:gd name="connsiteX386" fmla="*/ 2990 w 28886"/>
                          <a:gd name="connsiteY386" fmla="*/ 45753 h 49520"/>
                          <a:gd name="connsiteX387" fmla="*/ 3170 w 28886"/>
                          <a:gd name="connsiteY387" fmla="*/ 45573 h 49520"/>
                          <a:gd name="connsiteX388" fmla="*/ 3349 w 28886"/>
                          <a:gd name="connsiteY388" fmla="*/ 45394 h 49520"/>
                          <a:gd name="connsiteX389" fmla="*/ 3528 w 28886"/>
                          <a:gd name="connsiteY389" fmla="*/ 45214 h 49520"/>
                          <a:gd name="connsiteX390" fmla="*/ 4426 w 28886"/>
                          <a:gd name="connsiteY390" fmla="*/ 44257 h 49520"/>
                          <a:gd name="connsiteX391" fmla="*/ 5323 w 28886"/>
                          <a:gd name="connsiteY391" fmla="*/ 43301 h 49520"/>
                          <a:gd name="connsiteX392" fmla="*/ 6280 w 28886"/>
                          <a:gd name="connsiteY392" fmla="*/ 42344 h 49520"/>
                          <a:gd name="connsiteX393" fmla="*/ 7237 w 28886"/>
                          <a:gd name="connsiteY393" fmla="*/ 41387 h 49520"/>
                          <a:gd name="connsiteX394" fmla="*/ 6698 w 28886"/>
                          <a:gd name="connsiteY394" fmla="*/ 41028 h 49520"/>
                          <a:gd name="connsiteX395" fmla="*/ 5742 w 28886"/>
                          <a:gd name="connsiteY395" fmla="*/ 41985 h 49520"/>
                          <a:gd name="connsiteX396" fmla="*/ 4785 w 28886"/>
                          <a:gd name="connsiteY396" fmla="*/ 42942 h 49520"/>
                          <a:gd name="connsiteX397" fmla="*/ 3888 w 28886"/>
                          <a:gd name="connsiteY397" fmla="*/ 43899 h 49520"/>
                          <a:gd name="connsiteX398" fmla="*/ 2990 w 28886"/>
                          <a:gd name="connsiteY398" fmla="*/ 44855 h 49520"/>
                          <a:gd name="connsiteX399" fmla="*/ 2811 w 28886"/>
                          <a:gd name="connsiteY399" fmla="*/ 45035 h 49520"/>
                          <a:gd name="connsiteX400" fmla="*/ 2632 w 28886"/>
                          <a:gd name="connsiteY400" fmla="*/ 45214 h 49520"/>
                          <a:gd name="connsiteX401" fmla="*/ 2452 w 28886"/>
                          <a:gd name="connsiteY401" fmla="*/ 45394 h 49520"/>
                          <a:gd name="connsiteX402" fmla="*/ 2273 w 28886"/>
                          <a:gd name="connsiteY402" fmla="*/ 45573 h 49520"/>
                          <a:gd name="connsiteX403" fmla="*/ 1734 w 28886"/>
                          <a:gd name="connsiteY403" fmla="*/ 46171 h 49520"/>
                          <a:gd name="connsiteX404" fmla="*/ 1196 w 28886"/>
                          <a:gd name="connsiteY404" fmla="*/ 46769 h 49520"/>
                          <a:gd name="connsiteX405" fmla="*/ 718 w 28886"/>
                          <a:gd name="connsiteY405" fmla="*/ 47368 h 49520"/>
                          <a:gd name="connsiteX406" fmla="*/ 239 w 28886"/>
                          <a:gd name="connsiteY406" fmla="*/ 47966 h 49520"/>
                          <a:gd name="connsiteX407" fmla="*/ 0 w 28886"/>
                          <a:gd name="connsiteY407" fmla="*/ 48444 h 4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Lst>
                        <a:rect l="l" t="t" r="r" b="b"/>
                        <a:pathLst>
                          <a:path w="28886" h="49520">
                            <a:moveTo>
                              <a:pt x="19916" y="3768"/>
                            </a:moveTo>
                            <a:lnTo>
                              <a:pt x="20514" y="3050"/>
                            </a:lnTo>
                            <a:cubicBezTo>
                              <a:pt x="20394" y="2990"/>
                              <a:pt x="20275" y="2871"/>
                              <a:pt x="20215" y="2811"/>
                            </a:cubicBezTo>
                            <a:cubicBezTo>
                              <a:pt x="20095" y="2751"/>
                              <a:pt x="19975" y="2632"/>
                              <a:pt x="19916" y="2572"/>
                            </a:cubicBezTo>
                            <a:cubicBezTo>
                              <a:pt x="19856" y="2512"/>
                              <a:pt x="19676" y="2392"/>
                              <a:pt x="19557" y="2333"/>
                            </a:cubicBezTo>
                            <a:cubicBezTo>
                              <a:pt x="19437" y="2273"/>
                              <a:pt x="19318" y="2153"/>
                              <a:pt x="19198" y="2093"/>
                            </a:cubicBezTo>
                            <a:lnTo>
                              <a:pt x="19975" y="1136"/>
                            </a:lnTo>
                            <a:cubicBezTo>
                              <a:pt x="20095" y="1196"/>
                              <a:pt x="20215" y="1316"/>
                              <a:pt x="20335" y="1376"/>
                            </a:cubicBezTo>
                            <a:cubicBezTo>
                              <a:pt x="20454" y="1436"/>
                              <a:pt x="20574" y="1555"/>
                              <a:pt x="20693" y="1615"/>
                            </a:cubicBezTo>
                            <a:cubicBezTo>
                              <a:pt x="20813" y="1675"/>
                              <a:pt x="20933" y="1795"/>
                              <a:pt x="20992" y="1854"/>
                            </a:cubicBezTo>
                            <a:cubicBezTo>
                              <a:pt x="21112" y="1914"/>
                              <a:pt x="21231" y="2034"/>
                              <a:pt x="21291" y="2093"/>
                            </a:cubicBezTo>
                            <a:lnTo>
                              <a:pt x="21889" y="1376"/>
                            </a:lnTo>
                            <a:cubicBezTo>
                              <a:pt x="21770" y="1256"/>
                              <a:pt x="21650" y="1196"/>
                              <a:pt x="21530" y="1077"/>
                            </a:cubicBezTo>
                            <a:cubicBezTo>
                              <a:pt x="21411" y="957"/>
                              <a:pt x="21291" y="897"/>
                              <a:pt x="21172" y="778"/>
                            </a:cubicBezTo>
                            <a:cubicBezTo>
                              <a:pt x="21052" y="658"/>
                              <a:pt x="20933" y="598"/>
                              <a:pt x="20753" y="479"/>
                            </a:cubicBezTo>
                            <a:cubicBezTo>
                              <a:pt x="20634" y="359"/>
                              <a:pt x="20454" y="299"/>
                              <a:pt x="20335" y="180"/>
                            </a:cubicBezTo>
                            <a:lnTo>
                              <a:pt x="20095" y="0"/>
                            </a:lnTo>
                            <a:lnTo>
                              <a:pt x="18181" y="2452"/>
                            </a:lnTo>
                            <a:lnTo>
                              <a:pt x="18421" y="2632"/>
                            </a:lnTo>
                            <a:cubicBezTo>
                              <a:pt x="18540" y="2751"/>
                              <a:pt x="18720" y="2811"/>
                              <a:pt x="18839" y="2931"/>
                            </a:cubicBezTo>
                            <a:cubicBezTo>
                              <a:pt x="18959" y="3050"/>
                              <a:pt x="19079" y="3110"/>
                              <a:pt x="19258" y="3230"/>
                            </a:cubicBezTo>
                            <a:cubicBezTo>
                              <a:pt x="19377" y="3349"/>
                              <a:pt x="19497" y="3409"/>
                              <a:pt x="19617" y="3529"/>
                            </a:cubicBezTo>
                            <a:cubicBezTo>
                              <a:pt x="19676" y="3589"/>
                              <a:pt x="19796" y="3649"/>
                              <a:pt x="19916" y="3768"/>
                            </a:cubicBezTo>
                            <a:moveTo>
                              <a:pt x="26973" y="12261"/>
                            </a:moveTo>
                            <a:cubicBezTo>
                              <a:pt x="26973" y="12141"/>
                              <a:pt x="26913" y="12081"/>
                              <a:pt x="26913" y="11961"/>
                            </a:cubicBezTo>
                            <a:cubicBezTo>
                              <a:pt x="26913" y="11842"/>
                              <a:pt x="26853" y="11782"/>
                              <a:pt x="26853" y="11662"/>
                            </a:cubicBezTo>
                            <a:cubicBezTo>
                              <a:pt x="26853" y="11543"/>
                              <a:pt x="26794" y="11483"/>
                              <a:pt x="26794" y="11364"/>
                            </a:cubicBezTo>
                            <a:cubicBezTo>
                              <a:pt x="26794" y="11244"/>
                              <a:pt x="26734" y="11184"/>
                              <a:pt x="26734" y="11124"/>
                            </a:cubicBezTo>
                            <a:cubicBezTo>
                              <a:pt x="26674" y="11005"/>
                              <a:pt x="26674" y="10885"/>
                              <a:pt x="26614" y="10766"/>
                            </a:cubicBezTo>
                            <a:cubicBezTo>
                              <a:pt x="26554" y="10646"/>
                              <a:pt x="26554" y="10526"/>
                              <a:pt x="26495" y="10407"/>
                            </a:cubicBezTo>
                            <a:cubicBezTo>
                              <a:pt x="26435" y="10287"/>
                              <a:pt x="26375" y="10167"/>
                              <a:pt x="26375" y="10048"/>
                            </a:cubicBezTo>
                            <a:cubicBezTo>
                              <a:pt x="26375" y="9928"/>
                              <a:pt x="26255" y="9808"/>
                              <a:pt x="26196" y="9689"/>
                            </a:cubicBezTo>
                            <a:cubicBezTo>
                              <a:pt x="25956" y="9151"/>
                              <a:pt x="25657" y="8612"/>
                              <a:pt x="25358" y="8074"/>
                            </a:cubicBezTo>
                            <a:cubicBezTo>
                              <a:pt x="24999" y="7536"/>
                              <a:pt x="24641" y="6998"/>
                              <a:pt x="24222" y="6459"/>
                            </a:cubicBezTo>
                            <a:cubicBezTo>
                              <a:pt x="23803" y="5921"/>
                              <a:pt x="23325" y="5443"/>
                              <a:pt x="22787" y="4904"/>
                            </a:cubicBezTo>
                            <a:cubicBezTo>
                              <a:pt x="22248" y="4366"/>
                              <a:pt x="21710" y="3888"/>
                              <a:pt x="21052" y="3349"/>
                            </a:cubicBezTo>
                            <a:lnTo>
                              <a:pt x="20454" y="4067"/>
                            </a:lnTo>
                            <a:cubicBezTo>
                              <a:pt x="20933" y="4426"/>
                              <a:pt x="21351" y="4785"/>
                              <a:pt x="21710" y="5144"/>
                            </a:cubicBezTo>
                            <a:cubicBezTo>
                              <a:pt x="22129" y="5503"/>
                              <a:pt x="22488" y="5861"/>
                              <a:pt x="22846" y="6220"/>
                            </a:cubicBezTo>
                            <a:cubicBezTo>
                              <a:pt x="23205" y="6579"/>
                              <a:pt x="23504" y="6938"/>
                              <a:pt x="23803" y="7357"/>
                            </a:cubicBezTo>
                            <a:cubicBezTo>
                              <a:pt x="24102" y="7715"/>
                              <a:pt x="24342" y="8134"/>
                              <a:pt x="24641" y="8493"/>
                            </a:cubicBezTo>
                            <a:cubicBezTo>
                              <a:pt x="24760" y="8612"/>
                              <a:pt x="24820" y="8792"/>
                              <a:pt x="24940" y="8912"/>
                            </a:cubicBezTo>
                            <a:cubicBezTo>
                              <a:pt x="24999" y="9031"/>
                              <a:pt x="25119" y="9211"/>
                              <a:pt x="25179" y="9330"/>
                            </a:cubicBezTo>
                            <a:cubicBezTo>
                              <a:pt x="25238" y="9450"/>
                              <a:pt x="25358" y="9629"/>
                              <a:pt x="25418" y="9749"/>
                            </a:cubicBezTo>
                            <a:cubicBezTo>
                              <a:pt x="25478" y="9868"/>
                              <a:pt x="25538" y="10048"/>
                              <a:pt x="25597" y="10227"/>
                            </a:cubicBezTo>
                            <a:cubicBezTo>
                              <a:pt x="25597" y="10287"/>
                              <a:pt x="25657" y="10347"/>
                              <a:pt x="25657" y="10347"/>
                            </a:cubicBezTo>
                            <a:cubicBezTo>
                              <a:pt x="25657" y="10407"/>
                              <a:pt x="25717" y="10466"/>
                              <a:pt x="25717" y="10466"/>
                            </a:cubicBezTo>
                            <a:cubicBezTo>
                              <a:pt x="25717" y="10526"/>
                              <a:pt x="25777" y="10586"/>
                              <a:pt x="25777" y="10586"/>
                            </a:cubicBezTo>
                            <a:cubicBezTo>
                              <a:pt x="25777" y="10646"/>
                              <a:pt x="25837" y="10706"/>
                              <a:pt x="25837" y="10706"/>
                            </a:cubicBezTo>
                            <a:cubicBezTo>
                              <a:pt x="25956" y="10825"/>
                              <a:pt x="26076" y="10945"/>
                              <a:pt x="26136" y="11065"/>
                            </a:cubicBezTo>
                            <a:cubicBezTo>
                              <a:pt x="26255" y="11184"/>
                              <a:pt x="26315" y="11304"/>
                              <a:pt x="26435" y="11423"/>
                            </a:cubicBezTo>
                            <a:cubicBezTo>
                              <a:pt x="26554" y="11543"/>
                              <a:pt x="26614" y="11662"/>
                              <a:pt x="26734" y="11782"/>
                            </a:cubicBezTo>
                            <a:cubicBezTo>
                              <a:pt x="26794" y="12081"/>
                              <a:pt x="26853" y="12141"/>
                              <a:pt x="26973" y="12261"/>
                            </a:cubicBezTo>
                            <a:moveTo>
                              <a:pt x="28827" y="14713"/>
                            </a:moveTo>
                            <a:cubicBezTo>
                              <a:pt x="28827" y="14533"/>
                              <a:pt x="28887" y="14354"/>
                              <a:pt x="28887" y="14175"/>
                            </a:cubicBezTo>
                            <a:cubicBezTo>
                              <a:pt x="28887" y="13995"/>
                              <a:pt x="28887" y="13815"/>
                              <a:pt x="28887" y="13636"/>
                            </a:cubicBezTo>
                            <a:cubicBezTo>
                              <a:pt x="28887" y="13457"/>
                              <a:pt x="28887" y="13277"/>
                              <a:pt x="28887" y="13098"/>
                            </a:cubicBezTo>
                            <a:cubicBezTo>
                              <a:pt x="28887" y="12919"/>
                              <a:pt x="28887" y="12739"/>
                              <a:pt x="28887" y="12620"/>
                            </a:cubicBezTo>
                            <a:cubicBezTo>
                              <a:pt x="28887" y="12500"/>
                              <a:pt x="28887" y="12440"/>
                              <a:pt x="28887" y="12320"/>
                            </a:cubicBezTo>
                            <a:cubicBezTo>
                              <a:pt x="28887" y="12201"/>
                              <a:pt x="28887" y="12141"/>
                              <a:pt x="28887" y="12021"/>
                            </a:cubicBezTo>
                            <a:cubicBezTo>
                              <a:pt x="28887" y="11902"/>
                              <a:pt x="28887" y="11842"/>
                              <a:pt x="28827" y="11722"/>
                            </a:cubicBezTo>
                            <a:cubicBezTo>
                              <a:pt x="28827" y="11603"/>
                              <a:pt x="28827" y="11543"/>
                              <a:pt x="28767" y="11423"/>
                            </a:cubicBezTo>
                            <a:cubicBezTo>
                              <a:pt x="28648" y="10526"/>
                              <a:pt x="28408" y="9689"/>
                              <a:pt x="28050" y="8852"/>
                            </a:cubicBezTo>
                            <a:cubicBezTo>
                              <a:pt x="27691" y="8014"/>
                              <a:pt x="27272" y="7177"/>
                              <a:pt x="26734" y="6399"/>
                            </a:cubicBezTo>
                            <a:cubicBezTo>
                              <a:pt x="26196" y="5562"/>
                              <a:pt x="25597" y="4785"/>
                              <a:pt x="24820" y="4007"/>
                            </a:cubicBezTo>
                            <a:cubicBezTo>
                              <a:pt x="24102" y="3230"/>
                              <a:pt x="23265" y="2452"/>
                              <a:pt x="22308" y="1675"/>
                            </a:cubicBezTo>
                            <a:lnTo>
                              <a:pt x="21710" y="2392"/>
                            </a:lnTo>
                            <a:cubicBezTo>
                              <a:pt x="22547" y="3050"/>
                              <a:pt x="23265" y="3708"/>
                              <a:pt x="23923" y="4366"/>
                            </a:cubicBezTo>
                            <a:cubicBezTo>
                              <a:pt x="24581" y="5024"/>
                              <a:pt x="25179" y="5742"/>
                              <a:pt x="25657" y="6399"/>
                            </a:cubicBezTo>
                            <a:cubicBezTo>
                              <a:pt x="26136" y="7117"/>
                              <a:pt x="26554" y="7775"/>
                              <a:pt x="26913" y="8493"/>
                            </a:cubicBezTo>
                            <a:cubicBezTo>
                              <a:pt x="27272" y="9211"/>
                              <a:pt x="27511" y="9928"/>
                              <a:pt x="27691" y="10646"/>
                            </a:cubicBezTo>
                            <a:cubicBezTo>
                              <a:pt x="27691" y="10766"/>
                              <a:pt x="27751" y="10885"/>
                              <a:pt x="27751" y="10945"/>
                            </a:cubicBezTo>
                            <a:cubicBezTo>
                              <a:pt x="27751" y="11065"/>
                              <a:pt x="27811" y="11184"/>
                              <a:pt x="27811" y="11244"/>
                            </a:cubicBezTo>
                            <a:cubicBezTo>
                              <a:pt x="27811" y="11364"/>
                              <a:pt x="27870" y="11483"/>
                              <a:pt x="27870" y="11543"/>
                            </a:cubicBezTo>
                            <a:cubicBezTo>
                              <a:pt x="27870" y="11662"/>
                              <a:pt x="27930" y="11782"/>
                              <a:pt x="27930" y="11902"/>
                            </a:cubicBezTo>
                            <a:cubicBezTo>
                              <a:pt x="27930" y="12021"/>
                              <a:pt x="27990" y="12201"/>
                              <a:pt x="27990" y="12320"/>
                            </a:cubicBezTo>
                            <a:cubicBezTo>
                              <a:pt x="27990" y="12440"/>
                              <a:pt x="27990" y="12620"/>
                              <a:pt x="28050" y="12739"/>
                            </a:cubicBezTo>
                            <a:cubicBezTo>
                              <a:pt x="28050" y="12859"/>
                              <a:pt x="28050" y="13038"/>
                              <a:pt x="28050" y="13158"/>
                            </a:cubicBezTo>
                            <a:cubicBezTo>
                              <a:pt x="28050" y="13277"/>
                              <a:pt x="28050" y="13457"/>
                              <a:pt x="28050" y="13576"/>
                            </a:cubicBezTo>
                            <a:cubicBezTo>
                              <a:pt x="28109" y="13636"/>
                              <a:pt x="28169" y="13756"/>
                              <a:pt x="28229" y="13815"/>
                            </a:cubicBezTo>
                            <a:cubicBezTo>
                              <a:pt x="28289" y="13875"/>
                              <a:pt x="28349" y="13995"/>
                              <a:pt x="28408" y="14055"/>
                            </a:cubicBezTo>
                            <a:cubicBezTo>
                              <a:pt x="28468" y="14115"/>
                              <a:pt x="28528" y="14234"/>
                              <a:pt x="28588" y="14294"/>
                            </a:cubicBezTo>
                            <a:cubicBezTo>
                              <a:pt x="28707" y="14533"/>
                              <a:pt x="28767" y="14653"/>
                              <a:pt x="28827" y="14713"/>
                            </a:cubicBezTo>
                            <a:moveTo>
                              <a:pt x="26973" y="15789"/>
                            </a:moveTo>
                            <a:cubicBezTo>
                              <a:pt x="26973" y="15789"/>
                              <a:pt x="26973" y="15789"/>
                              <a:pt x="26973" y="15789"/>
                            </a:cubicBezTo>
                            <a:cubicBezTo>
                              <a:pt x="26973" y="15789"/>
                              <a:pt x="26973" y="15789"/>
                              <a:pt x="26973" y="15789"/>
                            </a:cubicBezTo>
                            <a:cubicBezTo>
                              <a:pt x="26973" y="15789"/>
                              <a:pt x="26973" y="15789"/>
                              <a:pt x="26973" y="15789"/>
                            </a:cubicBezTo>
                            <a:cubicBezTo>
                              <a:pt x="26973" y="15789"/>
                              <a:pt x="26973" y="15789"/>
                              <a:pt x="26973" y="15789"/>
                            </a:cubicBezTo>
                            <a:cubicBezTo>
                              <a:pt x="26973" y="15610"/>
                              <a:pt x="27033" y="15430"/>
                              <a:pt x="27033" y="15311"/>
                            </a:cubicBezTo>
                            <a:cubicBezTo>
                              <a:pt x="27033" y="15131"/>
                              <a:pt x="27092" y="15012"/>
                              <a:pt x="27092" y="14832"/>
                            </a:cubicBezTo>
                            <a:cubicBezTo>
                              <a:pt x="27092" y="14653"/>
                              <a:pt x="27092" y="14533"/>
                              <a:pt x="27092" y="14354"/>
                            </a:cubicBezTo>
                            <a:cubicBezTo>
                              <a:pt x="27092" y="14175"/>
                              <a:pt x="27092" y="14055"/>
                              <a:pt x="27092" y="13875"/>
                            </a:cubicBezTo>
                            <a:cubicBezTo>
                              <a:pt x="27033" y="13815"/>
                              <a:pt x="26973" y="13696"/>
                              <a:pt x="26853" y="13636"/>
                            </a:cubicBezTo>
                            <a:cubicBezTo>
                              <a:pt x="26794" y="13576"/>
                              <a:pt x="26734" y="13457"/>
                              <a:pt x="26614" y="13397"/>
                            </a:cubicBezTo>
                            <a:cubicBezTo>
                              <a:pt x="26495" y="13337"/>
                              <a:pt x="26495" y="13218"/>
                              <a:pt x="26375" y="13158"/>
                            </a:cubicBezTo>
                            <a:cubicBezTo>
                              <a:pt x="26255" y="13098"/>
                              <a:pt x="26196" y="12978"/>
                              <a:pt x="26136" y="12859"/>
                            </a:cubicBezTo>
                            <a:cubicBezTo>
                              <a:pt x="26136" y="13038"/>
                              <a:pt x="26196" y="13218"/>
                              <a:pt x="26196" y="13397"/>
                            </a:cubicBezTo>
                            <a:cubicBezTo>
                              <a:pt x="26196" y="13576"/>
                              <a:pt x="26196" y="13756"/>
                              <a:pt x="26255" y="13935"/>
                            </a:cubicBezTo>
                            <a:cubicBezTo>
                              <a:pt x="26255" y="14115"/>
                              <a:pt x="26255" y="14294"/>
                              <a:pt x="26255" y="14474"/>
                            </a:cubicBezTo>
                            <a:cubicBezTo>
                              <a:pt x="26255" y="14653"/>
                              <a:pt x="26255" y="14832"/>
                              <a:pt x="26255" y="15012"/>
                            </a:cubicBezTo>
                            <a:cubicBezTo>
                              <a:pt x="26315" y="15072"/>
                              <a:pt x="26375" y="15191"/>
                              <a:pt x="26435" y="15251"/>
                            </a:cubicBezTo>
                            <a:cubicBezTo>
                              <a:pt x="26495" y="15311"/>
                              <a:pt x="26554" y="15370"/>
                              <a:pt x="26614" y="15490"/>
                            </a:cubicBezTo>
                            <a:cubicBezTo>
                              <a:pt x="26674" y="15550"/>
                              <a:pt x="26734" y="15610"/>
                              <a:pt x="26794" y="15729"/>
                            </a:cubicBezTo>
                            <a:cubicBezTo>
                              <a:pt x="26853" y="15670"/>
                              <a:pt x="26913" y="15729"/>
                              <a:pt x="26973" y="15789"/>
                            </a:cubicBezTo>
                            <a:moveTo>
                              <a:pt x="28109" y="17763"/>
                            </a:moveTo>
                            <a:cubicBezTo>
                              <a:pt x="28169" y="17643"/>
                              <a:pt x="28169" y="17464"/>
                              <a:pt x="28229" y="17344"/>
                            </a:cubicBezTo>
                            <a:cubicBezTo>
                              <a:pt x="28289" y="17225"/>
                              <a:pt x="28289" y="17045"/>
                              <a:pt x="28349" y="16926"/>
                            </a:cubicBezTo>
                            <a:cubicBezTo>
                              <a:pt x="28408" y="16806"/>
                              <a:pt x="28408" y="16627"/>
                              <a:pt x="28468" y="16507"/>
                            </a:cubicBezTo>
                            <a:cubicBezTo>
                              <a:pt x="28528" y="16387"/>
                              <a:pt x="28528" y="16208"/>
                              <a:pt x="28588" y="16088"/>
                            </a:cubicBezTo>
                            <a:cubicBezTo>
                              <a:pt x="28528" y="16029"/>
                              <a:pt x="28528" y="15969"/>
                              <a:pt x="28468" y="15849"/>
                            </a:cubicBezTo>
                            <a:cubicBezTo>
                              <a:pt x="28408" y="15789"/>
                              <a:pt x="28349" y="15729"/>
                              <a:pt x="28349" y="15610"/>
                            </a:cubicBezTo>
                            <a:cubicBezTo>
                              <a:pt x="28349" y="15490"/>
                              <a:pt x="28229" y="15490"/>
                              <a:pt x="28229" y="15370"/>
                            </a:cubicBezTo>
                            <a:cubicBezTo>
                              <a:pt x="28229" y="15251"/>
                              <a:pt x="28109" y="15251"/>
                              <a:pt x="28109" y="15131"/>
                            </a:cubicBezTo>
                            <a:cubicBezTo>
                              <a:pt x="28109" y="15131"/>
                              <a:pt x="28109" y="15191"/>
                              <a:pt x="28109" y="15191"/>
                            </a:cubicBezTo>
                            <a:cubicBezTo>
                              <a:pt x="28109" y="15191"/>
                              <a:pt x="28109" y="15251"/>
                              <a:pt x="28109" y="15251"/>
                            </a:cubicBezTo>
                            <a:cubicBezTo>
                              <a:pt x="28109" y="15251"/>
                              <a:pt x="28109" y="15311"/>
                              <a:pt x="28109" y="15311"/>
                            </a:cubicBezTo>
                            <a:cubicBezTo>
                              <a:pt x="28109" y="15311"/>
                              <a:pt x="28109" y="15370"/>
                              <a:pt x="28109" y="15370"/>
                            </a:cubicBezTo>
                            <a:cubicBezTo>
                              <a:pt x="28109" y="15490"/>
                              <a:pt x="28050" y="15610"/>
                              <a:pt x="28050" y="15729"/>
                            </a:cubicBezTo>
                            <a:cubicBezTo>
                              <a:pt x="28050" y="15849"/>
                              <a:pt x="27990" y="15969"/>
                              <a:pt x="27990" y="16088"/>
                            </a:cubicBezTo>
                            <a:cubicBezTo>
                              <a:pt x="27990" y="16208"/>
                              <a:pt x="27930" y="16328"/>
                              <a:pt x="27930" y="16447"/>
                            </a:cubicBezTo>
                            <a:cubicBezTo>
                              <a:pt x="27930" y="16567"/>
                              <a:pt x="27870" y="16686"/>
                              <a:pt x="27870" y="16806"/>
                            </a:cubicBezTo>
                            <a:cubicBezTo>
                              <a:pt x="27930" y="16866"/>
                              <a:pt x="27930" y="16926"/>
                              <a:pt x="27990" y="16985"/>
                            </a:cubicBezTo>
                            <a:cubicBezTo>
                              <a:pt x="28050" y="17045"/>
                              <a:pt x="28050" y="17105"/>
                              <a:pt x="28109" y="17165"/>
                            </a:cubicBezTo>
                            <a:cubicBezTo>
                              <a:pt x="28169" y="17225"/>
                              <a:pt x="28169" y="17284"/>
                              <a:pt x="28229" y="17344"/>
                            </a:cubicBezTo>
                            <a:cubicBezTo>
                              <a:pt x="28289" y="17404"/>
                              <a:pt x="28109" y="17703"/>
                              <a:pt x="28109" y="17763"/>
                            </a:cubicBezTo>
                            <a:moveTo>
                              <a:pt x="12021" y="37619"/>
                            </a:moveTo>
                            <a:lnTo>
                              <a:pt x="12559" y="37978"/>
                            </a:lnTo>
                            <a:cubicBezTo>
                              <a:pt x="13098" y="37439"/>
                              <a:pt x="13636" y="36961"/>
                              <a:pt x="14114" y="36423"/>
                            </a:cubicBezTo>
                            <a:cubicBezTo>
                              <a:pt x="14653" y="35884"/>
                              <a:pt x="15191" y="35346"/>
                              <a:pt x="15669" y="34868"/>
                            </a:cubicBezTo>
                            <a:cubicBezTo>
                              <a:pt x="16208" y="34330"/>
                              <a:pt x="16686" y="33791"/>
                              <a:pt x="17225" y="33313"/>
                            </a:cubicBezTo>
                            <a:cubicBezTo>
                              <a:pt x="17763" y="32775"/>
                              <a:pt x="18241" y="32236"/>
                              <a:pt x="18720" y="31758"/>
                            </a:cubicBezTo>
                            <a:cubicBezTo>
                              <a:pt x="18780" y="31698"/>
                              <a:pt x="18839" y="31638"/>
                              <a:pt x="18899" y="31578"/>
                            </a:cubicBezTo>
                            <a:cubicBezTo>
                              <a:pt x="18959" y="31519"/>
                              <a:pt x="19019" y="31459"/>
                              <a:pt x="19079" y="31399"/>
                            </a:cubicBezTo>
                            <a:cubicBezTo>
                              <a:pt x="19138" y="31339"/>
                              <a:pt x="19198" y="31279"/>
                              <a:pt x="19258" y="31220"/>
                            </a:cubicBezTo>
                            <a:cubicBezTo>
                              <a:pt x="19318" y="31160"/>
                              <a:pt x="19377" y="31100"/>
                              <a:pt x="19437" y="31040"/>
                            </a:cubicBezTo>
                            <a:cubicBezTo>
                              <a:pt x="19736" y="30741"/>
                              <a:pt x="19975" y="30442"/>
                              <a:pt x="20275" y="30143"/>
                            </a:cubicBezTo>
                            <a:cubicBezTo>
                              <a:pt x="20574" y="29844"/>
                              <a:pt x="20813" y="29545"/>
                              <a:pt x="21052" y="29246"/>
                            </a:cubicBezTo>
                            <a:cubicBezTo>
                              <a:pt x="21291" y="28947"/>
                              <a:pt x="21590" y="28648"/>
                              <a:pt x="21830" y="28349"/>
                            </a:cubicBezTo>
                            <a:cubicBezTo>
                              <a:pt x="22069" y="28050"/>
                              <a:pt x="22308" y="27751"/>
                              <a:pt x="22607" y="27452"/>
                            </a:cubicBezTo>
                            <a:cubicBezTo>
                              <a:pt x="22667" y="27392"/>
                              <a:pt x="22727" y="27332"/>
                              <a:pt x="22727" y="27272"/>
                            </a:cubicBezTo>
                            <a:cubicBezTo>
                              <a:pt x="22787" y="27213"/>
                              <a:pt x="22846" y="27153"/>
                              <a:pt x="22846" y="27093"/>
                            </a:cubicBezTo>
                            <a:cubicBezTo>
                              <a:pt x="22906" y="27033"/>
                              <a:pt x="22966" y="26973"/>
                              <a:pt x="22966" y="26913"/>
                            </a:cubicBezTo>
                            <a:cubicBezTo>
                              <a:pt x="23026" y="26854"/>
                              <a:pt x="23086" y="26794"/>
                              <a:pt x="23086" y="26734"/>
                            </a:cubicBezTo>
                            <a:cubicBezTo>
                              <a:pt x="23145" y="26674"/>
                              <a:pt x="23205" y="26554"/>
                              <a:pt x="23265" y="26495"/>
                            </a:cubicBezTo>
                            <a:cubicBezTo>
                              <a:pt x="23325" y="26435"/>
                              <a:pt x="23384" y="26315"/>
                              <a:pt x="23444" y="26255"/>
                            </a:cubicBezTo>
                            <a:cubicBezTo>
                              <a:pt x="23504" y="26196"/>
                              <a:pt x="23564" y="26076"/>
                              <a:pt x="23624" y="26016"/>
                            </a:cubicBezTo>
                            <a:cubicBezTo>
                              <a:pt x="23684" y="25956"/>
                              <a:pt x="23743" y="25837"/>
                              <a:pt x="23803" y="25777"/>
                            </a:cubicBezTo>
                            <a:cubicBezTo>
                              <a:pt x="23863" y="25717"/>
                              <a:pt x="23923" y="25658"/>
                              <a:pt x="23923" y="25598"/>
                            </a:cubicBezTo>
                            <a:cubicBezTo>
                              <a:pt x="23983" y="25538"/>
                              <a:pt x="24043" y="25478"/>
                              <a:pt x="24043" y="25418"/>
                            </a:cubicBezTo>
                            <a:cubicBezTo>
                              <a:pt x="24043" y="25359"/>
                              <a:pt x="24162" y="25299"/>
                              <a:pt x="24162" y="25239"/>
                            </a:cubicBezTo>
                            <a:cubicBezTo>
                              <a:pt x="24162" y="25179"/>
                              <a:pt x="24222" y="25119"/>
                              <a:pt x="24282" y="25059"/>
                            </a:cubicBezTo>
                            <a:cubicBezTo>
                              <a:pt x="24401" y="24880"/>
                              <a:pt x="24521" y="24700"/>
                              <a:pt x="24700" y="24461"/>
                            </a:cubicBezTo>
                            <a:cubicBezTo>
                              <a:pt x="24880" y="24222"/>
                              <a:pt x="24940" y="24102"/>
                              <a:pt x="25059" y="23863"/>
                            </a:cubicBezTo>
                            <a:cubicBezTo>
                              <a:pt x="25179" y="23684"/>
                              <a:pt x="25298" y="23505"/>
                              <a:pt x="25418" y="23265"/>
                            </a:cubicBezTo>
                            <a:cubicBezTo>
                              <a:pt x="25538" y="23086"/>
                              <a:pt x="25657" y="22906"/>
                              <a:pt x="25777" y="22667"/>
                            </a:cubicBezTo>
                            <a:cubicBezTo>
                              <a:pt x="25837" y="22607"/>
                              <a:pt x="25837" y="22547"/>
                              <a:pt x="25897" y="22488"/>
                            </a:cubicBezTo>
                            <a:cubicBezTo>
                              <a:pt x="25956" y="22428"/>
                              <a:pt x="25956" y="22368"/>
                              <a:pt x="26016" y="22308"/>
                            </a:cubicBezTo>
                            <a:cubicBezTo>
                              <a:pt x="26076" y="22248"/>
                              <a:pt x="26076" y="22189"/>
                              <a:pt x="26136" y="22129"/>
                            </a:cubicBezTo>
                            <a:cubicBezTo>
                              <a:pt x="26196" y="22069"/>
                              <a:pt x="26196" y="22009"/>
                              <a:pt x="26255" y="21950"/>
                            </a:cubicBezTo>
                            <a:cubicBezTo>
                              <a:pt x="26375" y="21770"/>
                              <a:pt x="26435" y="21591"/>
                              <a:pt x="26554" y="21411"/>
                            </a:cubicBezTo>
                            <a:cubicBezTo>
                              <a:pt x="26674" y="21232"/>
                              <a:pt x="26734" y="21052"/>
                              <a:pt x="26853" y="20813"/>
                            </a:cubicBezTo>
                            <a:cubicBezTo>
                              <a:pt x="26973" y="20634"/>
                              <a:pt x="27033" y="20454"/>
                              <a:pt x="27152" y="20215"/>
                            </a:cubicBezTo>
                            <a:cubicBezTo>
                              <a:pt x="27212" y="20036"/>
                              <a:pt x="27332" y="19856"/>
                              <a:pt x="27392" y="19617"/>
                            </a:cubicBezTo>
                            <a:cubicBezTo>
                              <a:pt x="27392" y="19557"/>
                              <a:pt x="27451" y="19497"/>
                              <a:pt x="27451" y="19497"/>
                            </a:cubicBezTo>
                            <a:cubicBezTo>
                              <a:pt x="27451" y="19437"/>
                              <a:pt x="27511" y="19378"/>
                              <a:pt x="27511" y="19378"/>
                            </a:cubicBezTo>
                            <a:cubicBezTo>
                              <a:pt x="27511" y="19318"/>
                              <a:pt x="27571" y="19258"/>
                              <a:pt x="27571" y="19258"/>
                            </a:cubicBezTo>
                            <a:cubicBezTo>
                              <a:pt x="27571" y="19198"/>
                              <a:pt x="27631" y="19138"/>
                              <a:pt x="27631" y="19138"/>
                            </a:cubicBezTo>
                            <a:cubicBezTo>
                              <a:pt x="27571" y="19079"/>
                              <a:pt x="27571" y="19019"/>
                              <a:pt x="27511" y="18959"/>
                            </a:cubicBezTo>
                            <a:cubicBezTo>
                              <a:pt x="27451" y="18899"/>
                              <a:pt x="27451" y="18839"/>
                              <a:pt x="27392" y="18780"/>
                            </a:cubicBezTo>
                            <a:cubicBezTo>
                              <a:pt x="27332" y="18720"/>
                              <a:pt x="27332" y="18660"/>
                              <a:pt x="27272" y="18600"/>
                            </a:cubicBezTo>
                            <a:cubicBezTo>
                              <a:pt x="27212" y="18540"/>
                              <a:pt x="27212" y="18481"/>
                              <a:pt x="27152" y="18421"/>
                            </a:cubicBezTo>
                            <a:cubicBezTo>
                              <a:pt x="27152" y="18421"/>
                              <a:pt x="27152" y="18421"/>
                              <a:pt x="27152" y="18421"/>
                            </a:cubicBezTo>
                            <a:cubicBezTo>
                              <a:pt x="27152" y="18421"/>
                              <a:pt x="27152" y="18421"/>
                              <a:pt x="27152" y="18421"/>
                            </a:cubicBezTo>
                            <a:cubicBezTo>
                              <a:pt x="27152" y="18421"/>
                              <a:pt x="27152" y="18421"/>
                              <a:pt x="27152" y="18421"/>
                            </a:cubicBezTo>
                            <a:cubicBezTo>
                              <a:pt x="27152" y="18421"/>
                              <a:pt x="27152" y="18421"/>
                              <a:pt x="27152" y="18421"/>
                            </a:cubicBezTo>
                            <a:cubicBezTo>
                              <a:pt x="27152" y="18481"/>
                              <a:pt x="27092" y="18540"/>
                              <a:pt x="27092" y="18660"/>
                            </a:cubicBezTo>
                            <a:cubicBezTo>
                              <a:pt x="27092" y="18720"/>
                              <a:pt x="27033" y="18780"/>
                              <a:pt x="27033" y="18899"/>
                            </a:cubicBezTo>
                            <a:cubicBezTo>
                              <a:pt x="27033" y="18959"/>
                              <a:pt x="26973" y="19019"/>
                              <a:pt x="26973" y="19138"/>
                            </a:cubicBezTo>
                            <a:cubicBezTo>
                              <a:pt x="26973" y="19198"/>
                              <a:pt x="26913" y="19258"/>
                              <a:pt x="26913" y="19378"/>
                            </a:cubicBezTo>
                            <a:cubicBezTo>
                              <a:pt x="26853" y="19557"/>
                              <a:pt x="26734" y="19737"/>
                              <a:pt x="26674" y="19976"/>
                            </a:cubicBezTo>
                            <a:cubicBezTo>
                              <a:pt x="26614" y="20155"/>
                              <a:pt x="26495" y="20335"/>
                              <a:pt x="26435" y="20574"/>
                            </a:cubicBezTo>
                            <a:cubicBezTo>
                              <a:pt x="26315" y="20753"/>
                              <a:pt x="26255" y="20933"/>
                              <a:pt x="26136" y="21172"/>
                            </a:cubicBezTo>
                            <a:cubicBezTo>
                              <a:pt x="26016" y="21351"/>
                              <a:pt x="25956" y="21531"/>
                              <a:pt x="25837" y="21770"/>
                            </a:cubicBezTo>
                            <a:cubicBezTo>
                              <a:pt x="25777" y="21830"/>
                              <a:pt x="25777" y="21890"/>
                              <a:pt x="25717" y="21950"/>
                            </a:cubicBezTo>
                            <a:cubicBezTo>
                              <a:pt x="25657" y="22009"/>
                              <a:pt x="25657" y="22069"/>
                              <a:pt x="25597" y="22129"/>
                            </a:cubicBezTo>
                            <a:cubicBezTo>
                              <a:pt x="25538" y="22189"/>
                              <a:pt x="25538" y="22248"/>
                              <a:pt x="25478" y="22308"/>
                            </a:cubicBezTo>
                            <a:cubicBezTo>
                              <a:pt x="25418" y="22368"/>
                              <a:pt x="25418" y="22428"/>
                              <a:pt x="25358" y="22488"/>
                            </a:cubicBezTo>
                            <a:cubicBezTo>
                              <a:pt x="25238" y="22667"/>
                              <a:pt x="25119" y="22846"/>
                              <a:pt x="24999" y="23086"/>
                            </a:cubicBezTo>
                            <a:cubicBezTo>
                              <a:pt x="24880" y="23265"/>
                              <a:pt x="24760" y="23445"/>
                              <a:pt x="24641" y="23684"/>
                            </a:cubicBezTo>
                            <a:cubicBezTo>
                              <a:pt x="24521" y="23923"/>
                              <a:pt x="24401" y="24043"/>
                              <a:pt x="24282" y="24282"/>
                            </a:cubicBezTo>
                            <a:cubicBezTo>
                              <a:pt x="24162" y="24461"/>
                              <a:pt x="24043" y="24641"/>
                              <a:pt x="23863" y="24880"/>
                            </a:cubicBezTo>
                            <a:cubicBezTo>
                              <a:pt x="23803" y="24940"/>
                              <a:pt x="23803" y="25000"/>
                              <a:pt x="23743" y="25059"/>
                            </a:cubicBezTo>
                            <a:cubicBezTo>
                              <a:pt x="23684" y="25119"/>
                              <a:pt x="23684" y="25179"/>
                              <a:pt x="23624" y="25239"/>
                            </a:cubicBezTo>
                            <a:cubicBezTo>
                              <a:pt x="23564" y="25299"/>
                              <a:pt x="23504" y="25359"/>
                              <a:pt x="23504" y="25418"/>
                            </a:cubicBezTo>
                            <a:cubicBezTo>
                              <a:pt x="23444" y="25478"/>
                              <a:pt x="23384" y="25538"/>
                              <a:pt x="23384" y="25598"/>
                            </a:cubicBezTo>
                            <a:cubicBezTo>
                              <a:pt x="23325" y="25658"/>
                              <a:pt x="23265" y="25777"/>
                              <a:pt x="23205" y="25837"/>
                            </a:cubicBezTo>
                            <a:cubicBezTo>
                              <a:pt x="23145" y="25897"/>
                              <a:pt x="23086" y="26016"/>
                              <a:pt x="23026" y="26076"/>
                            </a:cubicBezTo>
                            <a:cubicBezTo>
                              <a:pt x="22966" y="26136"/>
                              <a:pt x="22906" y="26255"/>
                              <a:pt x="22846" y="26315"/>
                            </a:cubicBezTo>
                            <a:cubicBezTo>
                              <a:pt x="22787" y="26375"/>
                              <a:pt x="22727" y="26495"/>
                              <a:pt x="22667" y="26554"/>
                            </a:cubicBezTo>
                            <a:cubicBezTo>
                              <a:pt x="22607" y="26614"/>
                              <a:pt x="22547" y="26674"/>
                              <a:pt x="22547" y="26734"/>
                            </a:cubicBezTo>
                            <a:cubicBezTo>
                              <a:pt x="22547" y="26794"/>
                              <a:pt x="22428" y="26854"/>
                              <a:pt x="22428" y="26913"/>
                            </a:cubicBezTo>
                            <a:cubicBezTo>
                              <a:pt x="22428" y="26973"/>
                              <a:pt x="22308" y="27033"/>
                              <a:pt x="22308" y="27093"/>
                            </a:cubicBezTo>
                            <a:cubicBezTo>
                              <a:pt x="22248" y="27153"/>
                              <a:pt x="22189" y="27213"/>
                              <a:pt x="22189" y="27272"/>
                            </a:cubicBezTo>
                            <a:cubicBezTo>
                              <a:pt x="21949" y="27571"/>
                              <a:pt x="21710" y="27870"/>
                              <a:pt x="21411" y="28169"/>
                            </a:cubicBezTo>
                            <a:cubicBezTo>
                              <a:pt x="21112" y="28468"/>
                              <a:pt x="20873" y="28767"/>
                              <a:pt x="20634" y="29067"/>
                            </a:cubicBezTo>
                            <a:cubicBezTo>
                              <a:pt x="20394" y="29366"/>
                              <a:pt x="20095" y="29665"/>
                              <a:pt x="19856" y="29963"/>
                            </a:cubicBezTo>
                            <a:cubicBezTo>
                              <a:pt x="19557" y="30262"/>
                              <a:pt x="19318" y="30562"/>
                              <a:pt x="19019" y="30861"/>
                            </a:cubicBezTo>
                            <a:cubicBezTo>
                              <a:pt x="18959" y="30921"/>
                              <a:pt x="18899" y="30980"/>
                              <a:pt x="18839" y="31040"/>
                            </a:cubicBezTo>
                            <a:cubicBezTo>
                              <a:pt x="18780" y="31100"/>
                              <a:pt x="18720" y="31160"/>
                              <a:pt x="18660" y="31220"/>
                            </a:cubicBezTo>
                            <a:cubicBezTo>
                              <a:pt x="18600" y="31279"/>
                              <a:pt x="18540" y="31339"/>
                              <a:pt x="18480" y="31399"/>
                            </a:cubicBezTo>
                            <a:cubicBezTo>
                              <a:pt x="18421" y="31459"/>
                              <a:pt x="18361" y="31519"/>
                              <a:pt x="18301" y="31578"/>
                            </a:cubicBezTo>
                            <a:cubicBezTo>
                              <a:pt x="17822" y="32117"/>
                              <a:pt x="17284" y="32655"/>
                              <a:pt x="16806" y="33133"/>
                            </a:cubicBezTo>
                            <a:cubicBezTo>
                              <a:pt x="16267" y="33671"/>
                              <a:pt x="15789" y="34210"/>
                              <a:pt x="15251" y="34688"/>
                            </a:cubicBezTo>
                            <a:cubicBezTo>
                              <a:pt x="14713" y="35167"/>
                              <a:pt x="14234" y="35765"/>
                              <a:pt x="13696" y="36243"/>
                            </a:cubicBezTo>
                            <a:cubicBezTo>
                              <a:pt x="13098" y="36542"/>
                              <a:pt x="12559" y="37081"/>
                              <a:pt x="12021" y="37619"/>
                            </a:cubicBezTo>
                            <a:moveTo>
                              <a:pt x="10825" y="36841"/>
                            </a:moveTo>
                            <a:lnTo>
                              <a:pt x="11364" y="37200"/>
                            </a:lnTo>
                            <a:cubicBezTo>
                              <a:pt x="11902" y="36662"/>
                              <a:pt x="12440" y="36184"/>
                              <a:pt x="12978" y="35645"/>
                            </a:cubicBezTo>
                            <a:cubicBezTo>
                              <a:pt x="13516" y="35107"/>
                              <a:pt x="14055" y="34629"/>
                              <a:pt x="14533" y="34090"/>
                            </a:cubicBezTo>
                            <a:cubicBezTo>
                              <a:pt x="15072" y="33552"/>
                              <a:pt x="15550" y="33014"/>
                              <a:pt x="16088" y="32535"/>
                            </a:cubicBezTo>
                            <a:cubicBezTo>
                              <a:pt x="16626" y="32057"/>
                              <a:pt x="17105" y="31459"/>
                              <a:pt x="17583" y="30980"/>
                            </a:cubicBezTo>
                            <a:cubicBezTo>
                              <a:pt x="17643" y="30921"/>
                              <a:pt x="17703" y="30861"/>
                              <a:pt x="17763" y="30801"/>
                            </a:cubicBezTo>
                            <a:cubicBezTo>
                              <a:pt x="17822" y="30741"/>
                              <a:pt x="17882" y="30681"/>
                              <a:pt x="17942" y="30622"/>
                            </a:cubicBezTo>
                            <a:cubicBezTo>
                              <a:pt x="18002" y="30562"/>
                              <a:pt x="18062" y="30502"/>
                              <a:pt x="18121" y="30442"/>
                            </a:cubicBezTo>
                            <a:cubicBezTo>
                              <a:pt x="18181" y="30382"/>
                              <a:pt x="18241" y="30322"/>
                              <a:pt x="18301" y="30262"/>
                            </a:cubicBezTo>
                            <a:cubicBezTo>
                              <a:pt x="18600" y="29963"/>
                              <a:pt x="18839" y="29665"/>
                              <a:pt x="19138" y="29366"/>
                            </a:cubicBezTo>
                            <a:cubicBezTo>
                              <a:pt x="19437" y="29067"/>
                              <a:pt x="19676" y="28767"/>
                              <a:pt x="19916" y="28468"/>
                            </a:cubicBezTo>
                            <a:cubicBezTo>
                              <a:pt x="20155" y="28169"/>
                              <a:pt x="20454" y="27870"/>
                              <a:pt x="20693" y="27571"/>
                            </a:cubicBezTo>
                            <a:cubicBezTo>
                              <a:pt x="20933" y="27272"/>
                              <a:pt x="21172" y="26973"/>
                              <a:pt x="21471" y="26674"/>
                            </a:cubicBezTo>
                            <a:cubicBezTo>
                              <a:pt x="21530" y="26614"/>
                              <a:pt x="21590" y="26554"/>
                              <a:pt x="21590" y="26495"/>
                            </a:cubicBezTo>
                            <a:cubicBezTo>
                              <a:pt x="21650" y="26435"/>
                              <a:pt x="21710" y="26375"/>
                              <a:pt x="21710" y="26315"/>
                            </a:cubicBezTo>
                            <a:cubicBezTo>
                              <a:pt x="21770" y="26255"/>
                              <a:pt x="21830" y="26196"/>
                              <a:pt x="21830" y="26136"/>
                            </a:cubicBezTo>
                            <a:cubicBezTo>
                              <a:pt x="21889" y="26076"/>
                              <a:pt x="21949" y="26016"/>
                              <a:pt x="21949" y="25956"/>
                            </a:cubicBezTo>
                            <a:cubicBezTo>
                              <a:pt x="22009" y="25897"/>
                              <a:pt x="22069" y="25777"/>
                              <a:pt x="22129" y="25717"/>
                            </a:cubicBezTo>
                            <a:cubicBezTo>
                              <a:pt x="22189" y="25658"/>
                              <a:pt x="22248" y="25538"/>
                              <a:pt x="22308" y="25478"/>
                            </a:cubicBezTo>
                            <a:cubicBezTo>
                              <a:pt x="22368" y="25418"/>
                              <a:pt x="22428" y="25299"/>
                              <a:pt x="22488" y="25239"/>
                            </a:cubicBezTo>
                            <a:cubicBezTo>
                              <a:pt x="22547" y="25179"/>
                              <a:pt x="22607" y="25059"/>
                              <a:pt x="22667" y="25000"/>
                            </a:cubicBezTo>
                            <a:cubicBezTo>
                              <a:pt x="22727" y="24940"/>
                              <a:pt x="22787" y="24880"/>
                              <a:pt x="22787" y="24820"/>
                            </a:cubicBezTo>
                            <a:cubicBezTo>
                              <a:pt x="22846" y="24760"/>
                              <a:pt x="22906" y="24700"/>
                              <a:pt x="22906" y="24641"/>
                            </a:cubicBezTo>
                            <a:cubicBezTo>
                              <a:pt x="22906" y="24581"/>
                              <a:pt x="23026" y="24521"/>
                              <a:pt x="23026" y="24461"/>
                            </a:cubicBezTo>
                            <a:cubicBezTo>
                              <a:pt x="23086" y="24401"/>
                              <a:pt x="23086" y="24342"/>
                              <a:pt x="23145" y="24282"/>
                            </a:cubicBezTo>
                            <a:cubicBezTo>
                              <a:pt x="23265" y="24102"/>
                              <a:pt x="23384" y="23923"/>
                              <a:pt x="23564" y="23684"/>
                            </a:cubicBezTo>
                            <a:cubicBezTo>
                              <a:pt x="23743" y="23445"/>
                              <a:pt x="23803" y="23325"/>
                              <a:pt x="23923" y="23086"/>
                            </a:cubicBezTo>
                            <a:cubicBezTo>
                              <a:pt x="24043" y="22906"/>
                              <a:pt x="24162" y="22727"/>
                              <a:pt x="24282" y="22488"/>
                            </a:cubicBezTo>
                            <a:cubicBezTo>
                              <a:pt x="24401" y="22308"/>
                              <a:pt x="24521" y="22129"/>
                              <a:pt x="24641" y="21890"/>
                            </a:cubicBezTo>
                            <a:cubicBezTo>
                              <a:pt x="24700" y="21830"/>
                              <a:pt x="24700" y="21770"/>
                              <a:pt x="24760" y="21710"/>
                            </a:cubicBezTo>
                            <a:cubicBezTo>
                              <a:pt x="24820" y="21651"/>
                              <a:pt x="24820" y="21591"/>
                              <a:pt x="24880" y="21531"/>
                            </a:cubicBezTo>
                            <a:cubicBezTo>
                              <a:pt x="24940" y="21471"/>
                              <a:pt x="24940" y="21411"/>
                              <a:pt x="24999" y="21351"/>
                            </a:cubicBezTo>
                            <a:cubicBezTo>
                              <a:pt x="25059" y="21291"/>
                              <a:pt x="25059" y="21232"/>
                              <a:pt x="25119" y="21172"/>
                            </a:cubicBezTo>
                            <a:cubicBezTo>
                              <a:pt x="25238" y="20992"/>
                              <a:pt x="25298" y="20813"/>
                              <a:pt x="25418" y="20574"/>
                            </a:cubicBezTo>
                            <a:cubicBezTo>
                              <a:pt x="25538" y="20394"/>
                              <a:pt x="25597" y="20215"/>
                              <a:pt x="25717" y="19976"/>
                            </a:cubicBezTo>
                            <a:cubicBezTo>
                              <a:pt x="25777" y="19796"/>
                              <a:pt x="25897" y="19617"/>
                              <a:pt x="25956" y="19378"/>
                            </a:cubicBezTo>
                            <a:cubicBezTo>
                              <a:pt x="26016" y="19198"/>
                              <a:pt x="26136" y="19019"/>
                              <a:pt x="26196" y="18780"/>
                            </a:cubicBezTo>
                            <a:cubicBezTo>
                              <a:pt x="26196" y="18720"/>
                              <a:pt x="26255" y="18600"/>
                              <a:pt x="26255" y="18540"/>
                            </a:cubicBezTo>
                            <a:cubicBezTo>
                              <a:pt x="26255" y="18481"/>
                              <a:pt x="26315" y="18361"/>
                              <a:pt x="26315" y="18301"/>
                            </a:cubicBezTo>
                            <a:cubicBezTo>
                              <a:pt x="26315" y="18241"/>
                              <a:pt x="26375" y="18122"/>
                              <a:pt x="26375" y="18062"/>
                            </a:cubicBezTo>
                            <a:cubicBezTo>
                              <a:pt x="26375" y="18002"/>
                              <a:pt x="26435" y="17883"/>
                              <a:pt x="26435" y="17823"/>
                            </a:cubicBezTo>
                            <a:cubicBezTo>
                              <a:pt x="26435" y="17763"/>
                              <a:pt x="26495" y="17703"/>
                              <a:pt x="26495" y="17643"/>
                            </a:cubicBezTo>
                            <a:cubicBezTo>
                              <a:pt x="26495" y="17583"/>
                              <a:pt x="26554" y="17524"/>
                              <a:pt x="26554" y="17464"/>
                            </a:cubicBezTo>
                            <a:cubicBezTo>
                              <a:pt x="26554" y="17404"/>
                              <a:pt x="26614" y="17344"/>
                              <a:pt x="26614" y="17284"/>
                            </a:cubicBezTo>
                            <a:cubicBezTo>
                              <a:pt x="26614" y="17225"/>
                              <a:pt x="26614" y="17165"/>
                              <a:pt x="26674" y="17105"/>
                            </a:cubicBezTo>
                            <a:cubicBezTo>
                              <a:pt x="26614" y="17045"/>
                              <a:pt x="26614" y="16985"/>
                              <a:pt x="26554" y="16926"/>
                            </a:cubicBezTo>
                            <a:cubicBezTo>
                              <a:pt x="26495" y="16866"/>
                              <a:pt x="26495" y="16806"/>
                              <a:pt x="26435" y="16746"/>
                            </a:cubicBezTo>
                            <a:cubicBezTo>
                              <a:pt x="26375" y="16686"/>
                              <a:pt x="26315" y="16627"/>
                              <a:pt x="26315" y="16567"/>
                            </a:cubicBezTo>
                            <a:cubicBezTo>
                              <a:pt x="26315" y="16507"/>
                              <a:pt x="26196" y="16447"/>
                              <a:pt x="26196" y="16387"/>
                            </a:cubicBezTo>
                            <a:cubicBezTo>
                              <a:pt x="26196" y="16447"/>
                              <a:pt x="26136" y="16567"/>
                              <a:pt x="26136" y="16627"/>
                            </a:cubicBezTo>
                            <a:cubicBezTo>
                              <a:pt x="26136" y="16686"/>
                              <a:pt x="26076" y="16806"/>
                              <a:pt x="26076" y="16866"/>
                            </a:cubicBezTo>
                            <a:cubicBezTo>
                              <a:pt x="26076" y="16926"/>
                              <a:pt x="26016" y="17045"/>
                              <a:pt x="26016" y="17105"/>
                            </a:cubicBezTo>
                            <a:cubicBezTo>
                              <a:pt x="26016" y="17165"/>
                              <a:pt x="25956" y="17284"/>
                              <a:pt x="25956" y="17344"/>
                            </a:cubicBezTo>
                            <a:cubicBezTo>
                              <a:pt x="25956" y="17404"/>
                              <a:pt x="25897" y="17524"/>
                              <a:pt x="25897" y="17583"/>
                            </a:cubicBezTo>
                            <a:cubicBezTo>
                              <a:pt x="25897" y="17643"/>
                              <a:pt x="25837" y="17763"/>
                              <a:pt x="25837" y="17823"/>
                            </a:cubicBezTo>
                            <a:cubicBezTo>
                              <a:pt x="25837" y="17883"/>
                              <a:pt x="25777" y="18002"/>
                              <a:pt x="25777" y="18062"/>
                            </a:cubicBezTo>
                            <a:cubicBezTo>
                              <a:pt x="25777" y="18122"/>
                              <a:pt x="25717" y="18241"/>
                              <a:pt x="25717" y="18301"/>
                            </a:cubicBezTo>
                            <a:cubicBezTo>
                              <a:pt x="25657" y="18481"/>
                              <a:pt x="25597" y="18720"/>
                              <a:pt x="25478" y="18899"/>
                            </a:cubicBezTo>
                            <a:cubicBezTo>
                              <a:pt x="25358" y="19079"/>
                              <a:pt x="25298" y="19318"/>
                              <a:pt x="25238" y="19497"/>
                            </a:cubicBezTo>
                            <a:cubicBezTo>
                              <a:pt x="25179" y="19677"/>
                              <a:pt x="25059" y="19916"/>
                              <a:pt x="24999" y="20096"/>
                            </a:cubicBezTo>
                            <a:cubicBezTo>
                              <a:pt x="24880" y="20275"/>
                              <a:pt x="24820" y="20514"/>
                              <a:pt x="24700" y="20693"/>
                            </a:cubicBezTo>
                            <a:cubicBezTo>
                              <a:pt x="24641" y="20753"/>
                              <a:pt x="24641" y="20813"/>
                              <a:pt x="24581" y="20873"/>
                            </a:cubicBezTo>
                            <a:cubicBezTo>
                              <a:pt x="24521" y="20933"/>
                              <a:pt x="24521" y="20992"/>
                              <a:pt x="24461" y="21052"/>
                            </a:cubicBezTo>
                            <a:cubicBezTo>
                              <a:pt x="24401" y="21112"/>
                              <a:pt x="24401" y="21172"/>
                              <a:pt x="24342" y="21232"/>
                            </a:cubicBezTo>
                            <a:cubicBezTo>
                              <a:pt x="24282" y="21291"/>
                              <a:pt x="24282" y="21351"/>
                              <a:pt x="24222" y="21411"/>
                            </a:cubicBezTo>
                            <a:cubicBezTo>
                              <a:pt x="24102" y="21591"/>
                              <a:pt x="23983" y="21770"/>
                              <a:pt x="23863" y="22009"/>
                            </a:cubicBezTo>
                            <a:cubicBezTo>
                              <a:pt x="23743" y="22189"/>
                              <a:pt x="23624" y="22368"/>
                              <a:pt x="23504" y="22607"/>
                            </a:cubicBezTo>
                            <a:cubicBezTo>
                              <a:pt x="23384" y="22787"/>
                              <a:pt x="23265" y="23026"/>
                              <a:pt x="23145" y="23205"/>
                            </a:cubicBezTo>
                            <a:cubicBezTo>
                              <a:pt x="23026" y="23385"/>
                              <a:pt x="22906" y="23624"/>
                              <a:pt x="22727" y="23804"/>
                            </a:cubicBezTo>
                            <a:cubicBezTo>
                              <a:pt x="22667" y="23863"/>
                              <a:pt x="22667" y="23923"/>
                              <a:pt x="22607" y="23983"/>
                            </a:cubicBezTo>
                            <a:cubicBezTo>
                              <a:pt x="22547" y="24043"/>
                              <a:pt x="22547" y="24102"/>
                              <a:pt x="22488" y="24162"/>
                            </a:cubicBezTo>
                            <a:cubicBezTo>
                              <a:pt x="22428" y="24222"/>
                              <a:pt x="22368" y="24282"/>
                              <a:pt x="22368" y="24342"/>
                            </a:cubicBezTo>
                            <a:cubicBezTo>
                              <a:pt x="22368" y="24401"/>
                              <a:pt x="22248" y="24461"/>
                              <a:pt x="22248" y="24521"/>
                            </a:cubicBezTo>
                            <a:cubicBezTo>
                              <a:pt x="22189" y="24581"/>
                              <a:pt x="22129" y="24700"/>
                              <a:pt x="22069" y="24760"/>
                            </a:cubicBezTo>
                            <a:cubicBezTo>
                              <a:pt x="22009" y="24820"/>
                              <a:pt x="21949" y="24940"/>
                              <a:pt x="21889" y="25000"/>
                            </a:cubicBezTo>
                            <a:cubicBezTo>
                              <a:pt x="21830" y="25059"/>
                              <a:pt x="21770" y="25179"/>
                              <a:pt x="21710" y="25239"/>
                            </a:cubicBezTo>
                            <a:cubicBezTo>
                              <a:pt x="21650" y="25299"/>
                              <a:pt x="21590" y="25418"/>
                              <a:pt x="21530" y="25478"/>
                            </a:cubicBezTo>
                            <a:cubicBezTo>
                              <a:pt x="21471" y="25538"/>
                              <a:pt x="21411" y="25598"/>
                              <a:pt x="21411" y="25658"/>
                            </a:cubicBezTo>
                            <a:cubicBezTo>
                              <a:pt x="21351" y="25717"/>
                              <a:pt x="21291" y="25777"/>
                              <a:pt x="21291" y="25837"/>
                            </a:cubicBezTo>
                            <a:cubicBezTo>
                              <a:pt x="21291" y="25897"/>
                              <a:pt x="21172" y="25956"/>
                              <a:pt x="21172" y="26016"/>
                            </a:cubicBezTo>
                            <a:cubicBezTo>
                              <a:pt x="21112" y="26076"/>
                              <a:pt x="21052" y="26136"/>
                              <a:pt x="21052" y="26196"/>
                            </a:cubicBezTo>
                            <a:cubicBezTo>
                              <a:pt x="20813" y="26495"/>
                              <a:pt x="20574" y="26794"/>
                              <a:pt x="20275" y="27093"/>
                            </a:cubicBezTo>
                            <a:cubicBezTo>
                              <a:pt x="20035" y="27392"/>
                              <a:pt x="19736" y="27691"/>
                              <a:pt x="19497" y="27990"/>
                            </a:cubicBezTo>
                            <a:cubicBezTo>
                              <a:pt x="19258" y="28289"/>
                              <a:pt x="18959" y="28588"/>
                              <a:pt x="18720" y="28887"/>
                            </a:cubicBezTo>
                            <a:cubicBezTo>
                              <a:pt x="18421" y="29186"/>
                              <a:pt x="18181" y="29485"/>
                              <a:pt x="17882" y="29784"/>
                            </a:cubicBezTo>
                            <a:cubicBezTo>
                              <a:pt x="17822" y="29844"/>
                              <a:pt x="17763" y="29904"/>
                              <a:pt x="17703" y="29963"/>
                            </a:cubicBezTo>
                            <a:cubicBezTo>
                              <a:pt x="17643" y="30023"/>
                              <a:pt x="17583" y="30083"/>
                              <a:pt x="17523" y="30143"/>
                            </a:cubicBezTo>
                            <a:cubicBezTo>
                              <a:pt x="17464" y="30203"/>
                              <a:pt x="17404" y="30262"/>
                              <a:pt x="17344" y="30322"/>
                            </a:cubicBezTo>
                            <a:cubicBezTo>
                              <a:pt x="17284" y="30382"/>
                              <a:pt x="17225" y="30442"/>
                              <a:pt x="17165" y="30502"/>
                            </a:cubicBezTo>
                            <a:cubicBezTo>
                              <a:pt x="16686" y="31040"/>
                              <a:pt x="16148" y="31578"/>
                              <a:pt x="15669" y="32057"/>
                            </a:cubicBezTo>
                            <a:cubicBezTo>
                              <a:pt x="15131" y="32595"/>
                              <a:pt x="14653" y="33133"/>
                              <a:pt x="14114" y="33612"/>
                            </a:cubicBezTo>
                            <a:cubicBezTo>
                              <a:pt x="13576" y="34150"/>
                              <a:pt x="13038" y="34688"/>
                              <a:pt x="12559" y="35167"/>
                            </a:cubicBezTo>
                            <a:cubicBezTo>
                              <a:pt x="11902" y="35765"/>
                              <a:pt x="11364" y="36303"/>
                              <a:pt x="10825" y="36841"/>
                            </a:cubicBezTo>
                            <a:moveTo>
                              <a:pt x="10167" y="39413"/>
                            </a:moveTo>
                            <a:lnTo>
                              <a:pt x="10705" y="39772"/>
                            </a:lnTo>
                            <a:cubicBezTo>
                              <a:pt x="10825" y="39652"/>
                              <a:pt x="10885" y="39593"/>
                              <a:pt x="11004" y="39473"/>
                            </a:cubicBezTo>
                            <a:cubicBezTo>
                              <a:pt x="11124" y="39353"/>
                              <a:pt x="11184" y="39293"/>
                              <a:pt x="11304" y="39174"/>
                            </a:cubicBezTo>
                            <a:cubicBezTo>
                              <a:pt x="11423" y="39054"/>
                              <a:pt x="11483" y="38994"/>
                              <a:pt x="11603" y="38875"/>
                            </a:cubicBezTo>
                            <a:cubicBezTo>
                              <a:pt x="11722" y="38755"/>
                              <a:pt x="11782" y="38695"/>
                              <a:pt x="11902" y="38576"/>
                            </a:cubicBezTo>
                            <a:lnTo>
                              <a:pt x="11364" y="38217"/>
                            </a:lnTo>
                            <a:cubicBezTo>
                              <a:pt x="11244" y="38337"/>
                              <a:pt x="11184" y="38396"/>
                              <a:pt x="11064" y="38516"/>
                            </a:cubicBezTo>
                            <a:cubicBezTo>
                              <a:pt x="10945" y="38636"/>
                              <a:pt x="10885" y="38695"/>
                              <a:pt x="10765" y="38815"/>
                            </a:cubicBezTo>
                            <a:cubicBezTo>
                              <a:pt x="10645" y="38935"/>
                              <a:pt x="10586" y="38994"/>
                              <a:pt x="10466" y="39114"/>
                            </a:cubicBezTo>
                            <a:cubicBezTo>
                              <a:pt x="10406" y="39234"/>
                              <a:pt x="10287" y="39353"/>
                              <a:pt x="10167" y="39413"/>
                            </a:cubicBezTo>
                            <a:moveTo>
                              <a:pt x="8971" y="38636"/>
                            </a:moveTo>
                            <a:lnTo>
                              <a:pt x="9509" y="38994"/>
                            </a:lnTo>
                            <a:cubicBezTo>
                              <a:pt x="9629" y="38875"/>
                              <a:pt x="9689" y="38815"/>
                              <a:pt x="9808" y="38695"/>
                            </a:cubicBezTo>
                            <a:cubicBezTo>
                              <a:pt x="9928" y="38576"/>
                              <a:pt x="9988" y="38516"/>
                              <a:pt x="10107" y="38396"/>
                            </a:cubicBezTo>
                            <a:cubicBezTo>
                              <a:pt x="10227" y="38277"/>
                              <a:pt x="10287" y="38217"/>
                              <a:pt x="10406" y="38098"/>
                            </a:cubicBezTo>
                            <a:cubicBezTo>
                              <a:pt x="10526" y="37978"/>
                              <a:pt x="10586" y="37918"/>
                              <a:pt x="10705" y="37798"/>
                            </a:cubicBezTo>
                            <a:lnTo>
                              <a:pt x="10167" y="37439"/>
                            </a:lnTo>
                            <a:cubicBezTo>
                              <a:pt x="10048" y="37559"/>
                              <a:pt x="9988" y="37619"/>
                              <a:pt x="9868" y="37738"/>
                            </a:cubicBezTo>
                            <a:cubicBezTo>
                              <a:pt x="9749" y="37858"/>
                              <a:pt x="9689" y="37918"/>
                              <a:pt x="9569" y="38038"/>
                            </a:cubicBezTo>
                            <a:cubicBezTo>
                              <a:pt x="9450" y="38157"/>
                              <a:pt x="9390" y="38217"/>
                              <a:pt x="9270" y="38337"/>
                            </a:cubicBezTo>
                            <a:cubicBezTo>
                              <a:pt x="9210" y="38456"/>
                              <a:pt x="9091" y="38576"/>
                              <a:pt x="8971" y="38636"/>
                            </a:cubicBezTo>
                            <a:moveTo>
                              <a:pt x="8493" y="41147"/>
                            </a:moveTo>
                            <a:lnTo>
                              <a:pt x="9031" y="41506"/>
                            </a:lnTo>
                            <a:cubicBezTo>
                              <a:pt x="9091" y="41447"/>
                              <a:pt x="9210" y="41327"/>
                              <a:pt x="9270" y="41267"/>
                            </a:cubicBezTo>
                            <a:cubicBezTo>
                              <a:pt x="9330" y="41207"/>
                              <a:pt x="9450" y="41088"/>
                              <a:pt x="9509" y="41028"/>
                            </a:cubicBezTo>
                            <a:cubicBezTo>
                              <a:pt x="9569" y="40968"/>
                              <a:pt x="9689" y="40848"/>
                              <a:pt x="9749" y="40789"/>
                            </a:cubicBezTo>
                            <a:cubicBezTo>
                              <a:pt x="9808" y="40729"/>
                              <a:pt x="9928" y="40609"/>
                              <a:pt x="9988" y="40549"/>
                            </a:cubicBezTo>
                            <a:lnTo>
                              <a:pt x="9450" y="40191"/>
                            </a:lnTo>
                            <a:cubicBezTo>
                              <a:pt x="9390" y="40251"/>
                              <a:pt x="9270" y="40370"/>
                              <a:pt x="9210" y="40430"/>
                            </a:cubicBezTo>
                            <a:cubicBezTo>
                              <a:pt x="9150" y="40490"/>
                              <a:pt x="9031" y="40609"/>
                              <a:pt x="8971" y="40669"/>
                            </a:cubicBezTo>
                            <a:cubicBezTo>
                              <a:pt x="8911" y="40729"/>
                              <a:pt x="8791" y="40848"/>
                              <a:pt x="8732" y="40908"/>
                            </a:cubicBezTo>
                            <a:cubicBezTo>
                              <a:pt x="8672" y="40968"/>
                              <a:pt x="8612" y="41028"/>
                              <a:pt x="8493" y="41147"/>
                            </a:cubicBezTo>
                            <a:moveTo>
                              <a:pt x="7296" y="40370"/>
                            </a:moveTo>
                            <a:lnTo>
                              <a:pt x="7835" y="40729"/>
                            </a:lnTo>
                            <a:cubicBezTo>
                              <a:pt x="7895" y="40669"/>
                              <a:pt x="8014" y="40549"/>
                              <a:pt x="8074" y="40490"/>
                            </a:cubicBezTo>
                            <a:cubicBezTo>
                              <a:pt x="8134" y="40430"/>
                              <a:pt x="8253" y="40310"/>
                              <a:pt x="8313" y="40251"/>
                            </a:cubicBezTo>
                            <a:cubicBezTo>
                              <a:pt x="8373" y="40191"/>
                              <a:pt x="8493" y="40071"/>
                              <a:pt x="8552" y="40011"/>
                            </a:cubicBezTo>
                            <a:cubicBezTo>
                              <a:pt x="8612" y="39952"/>
                              <a:pt x="8732" y="39832"/>
                              <a:pt x="8791" y="39772"/>
                            </a:cubicBezTo>
                            <a:lnTo>
                              <a:pt x="8253" y="39413"/>
                            </a:lnTo>
                            <a:cubicBezTo>
                              <a:pt x="8194" y="39473"/>
                              <a:pt x="8074" y="39593"/>
                              <a:pt x="8014" y="39652"/>
                            </a:cubicBezTo>
                            <a:cubicBezTo>
                              <a:pt x="7954" y="39712"/>
                              <a:pt x="7835" y="39832"/>
                              <a:pt x="7775" y="39892"/>
                            </a:cubicBezTo>
                            <a:cubicBezTo>
                              <a:pt x="7715" y="39952"/>
                              <a:pt x="7596" y="40071"/>
                              <a:pt x="7536" y="40131"/>
                            </a:cubicBezTo>
                            <a:cubicBezTo>
                              <a:pt x="7476" y="40191"/>
                              <a:pt x="7356" y="40251"/>
                              <a:pt x="7296" y="40370"/>
                            </a:cubicBezTo>
                            <a:moveTo>
                              <a:pt x="0" y="48444"/>
                            </a:moveTo>
                            <a:lnTo>
                              <a:pt x="1674" y="49521"/>
                            </a:lnTo>
                            <a:lnTo>
                              <a:pt x="1974" y="49162"/>
                            </a:lnTo>
                            <a:cubicBezTo>
                              <a:pt x="2153" y="48982"/>
                              <a:pt x="2273" y="48743"/>
                              <a:pt x="2452" y="48564"/>
                            </a:cubicBezTo>
                            <a:cubicBezTo>
                              <a:pt x="2632" y="48384"/>
                              <a:pt x="2811" y="48145"/>
                              <a:pt x="2930" y="47966"/>
                            </a:cubicBezTo>
                            <a:cubicBezTo>
                              <a:pt x="3110" y="47786"/>
                              <a:pt x="3289" y="47547"/>
                              <a:pt x="3469" y="47368"/>
                            </a:cubicBezTo>
                            <a:cubicBezTo>
                              <a:pt x="3648" y="47188"/>
                              <a:pt x="3828" y="46949"/>
                              <a:pt x="4007" y="46769"/>
                            </a:cubicBezTo>
                            <a:cubicBezTo>
                              <a:pt x="4067" y="46709"/>
                              <a:pt x="4127" y="46650"/>
                              <a:pt x="4187" y="46590"/>
                            </a:cubicBezTo>
                            <a:cubicBezTo>
                              <a:pt x="4246" y="46530"/>
                              <a:pt x="4306" y="46470"/>
                              <a:pt x="4366" y="46410"/>
                            </a:cubicBezTo>
                            <a:cubicBezTo>
                              <a:pt x="4426" y="46351"/>
                              <a:pt x="4486" y="46291"/>
                              <a:pt x="4545" y="46231"/>
                            </a:cubicBezTo>
                            <a:cubicBezTo>
                              <a:pt x="4605" y="46171"/>
                              <a:pt x="4665" y="46111"/>
                              <a:pt x="4725" y="46052"/>
                            </a:cubicBezTo>
                            <a:cubicBezTo>
                              <a:pt x="5024" y="45753"/>
                              <a:pt x="5323" y="45394"/>
                              <a:pt x="5622" y="45095"/>
                            </a:cubicBezTo>
                            <a:cubicBezTo>
                              <a:pt x="5921" y="44796"/>
                              <a:pt x="6220" y="44437"/>
                              <a:pt x="6519" y="44138"/>
                            </a:cubicBezTo>
                            <a:cubicBezTo>
                              <a:pt x="6818" y="43839"/>
                              <a:pt x="7117" y="43480"/>
                              <a:pt x="7476" y="43181"/>
                            </a:cubicBezTo>
                            <a:cubicBezTo>
                              <a:pt x="7775" y="42882"/>
                              <a:pt x="8134" y="42523"/>
                              <a:pt x="8433" y="42224"/>
                            </a:cubicBezTo>
                            <a:lnTo>
                              <a:pt x="7895" y="41865"/>
                            </a:lnTo>
                            <a:cubicBezTo>
                              <a:pt x="7596" y="42164"/>
                              <a:pt x="7237" y="42523"/>
                              <a:pt x="6937" y="42822"/>
                            </a:cubicBezTo>
                            <a:cubicBezTo>
                              <a:pt x="6639" y="43121"/>
                              <a:pt x="6280" y="43480"/>
                              <a:pt x="5981" y="43779"/>
                            </a:cubicBezTo>
                            <a:cubicBezTo>
                              <a:pt x="5682" y="44078"/>
                              <a:pt x="5383" y="44437"/>
                              <a:pt x="5083" y="44736"/>
                            </a:cubicBezTo>
                            <a:cubicBezTo>
                              <a:pt x="4785" y="45035"/>
                              <a:pt x="4486" y="45394"/>
                              <a:pt x="4187" y="45693"/>
                            </a:cubicBezTo>
                            <a:cubicBezTo>
                              <a:pt x="4127" y="45753"/>
                              <a:pt x="4067" y="45813"/>
                              <a:pt x="4007" y="45872"/>
                            </a:cubicBezTo>
                            <a:cubicBezTo>
                              <a:pt x="3947" y="45932"/>
                              <a:pt x="3888" y="45992"/>
                              <a:pt x="3828" y="46052"/>
                            </a:cubicBezTo>
                            <a:cubicBezTo>
                              <a:pt x="3768" y="46111"/>
                              <a:pt x="3708" y="46171"/>
                              <a:pt x="3648" y="46231"/>
                            </a:cubicBezTo>
                            <a:cubicBezTo>
                              <a:pt x="3588" y="46291"/>
                              <a:pt x="3528" y="46351"/>
                              <a:pt x="3469" y="46410"/>
                            </a:cubicBezTo>
                            <a:cubicBezTo>
                              <a:pt x="3289" y="46590"/>
                              <a:pt x="3170" y="46769"/>
                              <a:pt x="3050" y="46949"/>
                            </a:cubicBezTo>
                            <a:cubicBezTo>
                              <a:pt x="2930" y="47128"/>
                              <a:pt x="2751" y="47308"/>
                              <a:pt x="2632" y="47487"/>
                            </a:cubicBezTo>
                            <a:cubicBezTo>
                              <a:pt x="2512" y="47667"/>
                              <a:pt x="2333" y="47846"/>
                              <a:pt x="2213" y="48025"/>
                            </a:cubicBezTo>
                            <a:cubicBezTo>
                              <a:pt x="2093" y="48205"/>
                              <a:pt x="1914" y="48384"/>
                              <a:pt x="1794" y="48504"/>
                            </a:cubicBezTo>
                            <a:lnTo>
                              <a:pt x="1136" y="48085"/>
                            </a:lnTo>
                            <a:cubicBezTo>
                              <a:pt x="1256" y="47906"/>
                              <a:pt x="1435" y="47726"/>
                              <a:pt x="1555" y="47547"/>
                            </a:cubicBezTo>
                            <a:cubicBezTo>
                              <a:pt x="1674" y="47368"/>
                              <a:pt x="1854" y="47188"/>
                              <a:pt x="1974" y="47009"/>
                            </a:cubicBezTo>
                            <a:cubicBezTo>
                              <a:pt x="2093" y="46829"/>
                              <a:pt x="2273" y="46650"/>
                              <a:pt x="2392" y="46470"/>
                            </a:cubicBezTo>
                            <a:cubicBezTo>
                              <a:pt x="2512" y="46291"/>
                              <a:pt x="2691" y="46111"/>
                              <a:pt x="2811" y="45932"/>
                            </a:cubicBezTo>
                            <a:cubicBezTo>
                              <a:pt x="2871" y="45872"/>
                              <a:pt x="2930" y="45813"/>
                              <a:pt x="2990" y="45753"/>
                            </a:cubicBezTo>
                            <a:cubicBezTo>
                              <a:pt x="3050" y="45693"/>
                              <a:pt x="3110" y="45633"/>
                              <a:pt x="3170" y="45573"/>
                            </a:cubicBezTo>
                            <a:cubicBezTo>
                              <a:pt x="3229" y="45514"/>
                              <a:pt x="3289" y="45454"/>
                              <a:pt x="3349" y="45394"/>
                            </a:cubicBezTo>
                            <a:cubicBezTo>
                              <a:pt x="3409" y="45334"/>
                              <a:pt x="3469" y="45274"/>
                              <a:pt x="3528" y="45214"/>
                            </a:cubicBezTo>
                            <a:cubicBezTo>
                              <a:pt x="3828" y="44915"/>
                              <a:pt x="4127" y="44556"/>
                              <a:pt x="4426" y="44257"/>
                            </a:cubicBezTo>
                            <a:cubicBezTo>
                              <a:pt x="4725" y="43959"/>
                              <a:pt x="5024" y="43600"/>
                              <a:pt x="5323" y="43301"/>
                            </a:cubicBezTo>
                            <a:cubicBezTo>
                              <a:pt x="5622" y="43001"/>
                              <a:pt x="5921" y="42643"/>
                              <a:pt x="6280" y="42344"/>
                            </a:cubicBezTo>
                            <a:cubicBezTo>
                              <a:pt x="6579" y="42045"/>
                              <a:pt x="6937" y="41686"/>
                              <a:pt x="7237" y="41387"/>
                            </a:cubicBezTo>
                            <a:lnTo>
                              <a:pt x="6698" y="41028"/>
                            </a:lnTo>
                            <a:cubicBezTo>
                              <a:pt x="6399" y="41327"/>
                              <a:pt x="6041" y="41686"/>
                              <a:pt x="5742" y="41985"/>
                            </a:cubicBezTo>
                            <a:cubicBezTo>
                              <a:pt x="5442" y="42284"/>
                              <a:pt x="5143" y="42643"/>
                              <a:pt x="4785" y="42942"/>
                            </a:cubicBezTo>
                            <a:cubicBezTo>
                              <a:pt x="4486" y="43241"/>
                              <a:pt x="4187" y="43600"/>
                              <a:pt x="3888" y="43899"/>
                            </a:cubicBezTo>
                            <a:cubicBezTo>
                              <a:pt x="3588" y="44198"/>
                              <a:pt x="3289" y="44556"/>
                              <a:pt x="2990" y="44855"/>
                            </a:cubicBezTo>
                            <a:cubicBezTo>
                              <a:pt x="2930" y="44915"/>
                              <a:pt x="2871" y="44975"/>
                              <a:pt x="2811" y="45035"/>
                            </a:cubicBezTo>
                            <a:cubicBezTo>
                              <a:pt x="2751" y="45095"/>
                              <a:pt x="2691" y="45155"/>
                              <a:pt x="2632" y="45214"/>
                            </a:cubicBezTo>
                            <a:cubicBezTo>
                              <a:pt x="2572" y="45274"/>
                              <a:pt x="2512" y="45334"/>
                              <a:pt x="2452" y="45394"/>
                            </a:cubicBezTo>
                            <a:cubicBezTo>
                              <a:pt x="2392" y="45454"/>
                              <a:pt x="2333" y="45514"/>
                              <a:pt x="2273" y="45573"/>
                            </a:cubicBezTo>
                            <a:cubicBezTo>
                              <a:pt x="2093" y="45753"/>
                              <a:pt x="1914" y="45992"/>
                              <a:pt x="1734" y="46171"/>
                            </a:cubicBezTo>
                            <a:cubicBezTo>
                              <a:pt x="1555" y="46351"/>
                              <a:pt x="1375" y="46590"/>
                              <a:pt x="1196" y="46769"/>
                            </a:cubicBezTo>
                            <a:cubicBezTo>
                              <a:pt x="1017" y="46949"/>
                              <a:pt x="837" y="47188"/>
                              <a:pt x="718" y="47368"/>
                            </a:cubicBezTo>
                            <a:cubicBezTo>
                              <a:pt x="538" y="47547"/>
                              <a:pt x="419" y="47786"/>
                              <a:pt x="239" y="47966"/>
                            </a:cubicBezTo>
                            <a:lnTo>
                              <a:pt x="0" y="48444"/>
                            </a:lnTo>
                          </a:path>
                        </a:pathLst>
                      </a:custGeom>
                      <a:noFill/>
                      <a:ln w="6350" cap="flat">
                        <a:solidFill>
                          <a:schemeClr val="bg1">
                            <a:alpha val="40000"/>
                          </a:schemeClr>
                        </a:solidFill>
                        <a:prstDash val="solid"/>
                        <a:miter/>
                      </a:ln>
                    </p:spPr>
                    <p:txBody>
                      <a:bodyPr rtlCol="0" anchor="ctr"/>
                      <a:lstStyle/>
                      <a:p>
                        <a:endParaRPr lang="en-GB"/>
                      </a:p>
                    </p:txBody>
                  </p:sp>
                  <p:sp>
                    <p:nvSpPr>
                      <p:cNvPr id="7424" name="Vrije vorm: vorm 7423">
                        <a:extLst>
                          <a:ext uri="{FF2B5EF4-FFF2-40B4-BE49-F238E27FC236}">
                            <a16:creationId xmlns:a16="http://schemas.microsoft.com/office/drawing/2014/main" id="{60C74D43-BBB8-42C2-8D65-C6E81D39E04F}"/>
                          </a:ext>
                        </a:extLst>
                      </p:cNvPr>
                      <p:cNvSpPr/>
                      <p:nvPr/>
                    </p:nvSpPr>
                    <p:spPr>
                      <a:xfrm>
                        <a:off x="5354799" y="5501825"/>
                        <a:ext cx="28696" cy="56158"/>
                      </a:xfrm>
                      <a:custGeom>
                        <a:avLst/>
                        <a:gdLst>
                          <a:gd name="connsiteX0" fmla="*/ 18480 w 28696"/>
                          <a:gd name="connsiteY0" fmla="*/ 3528 h 56158"/>
                          <a:gd name="connsiteX1" fmla="*/ 18600 w 28696"/>
                          <a:gd name="connsiteY1" fmla="*/ 3349 h 56158"/>
                          <a:gd name="connsiteX2" fmla="*/ 18720 w 28696"/>
                          <a:gd name="connsiteY2" fmla="*/ 3170 h 56158"/>
                          <a:gd name="connsiteX3" fmla="*/ 18839 w 28696"/>
                          <a:gd name="connsiteY3" fmla="*/ 2990 h 56158"/>
                          <a:gd name="connsiteX4" fmla="*/ 18959 w 28696"/>
                          <a:gd name="connsiteY4" fmla="*/ 2811 h 56158"/>
                          <a:gd name="connsiteX5" fmla="*/ 18660 w 28696"/>
                          <a:gd name="connsiteY5" fmla="*/ 2631 h 56158"/>
                          <a:gd name="connsiteX6" fmla="*/ 18361 w 28696"/>
                          <a:gd name="connsiteY6" fmla="*/ 2452 h 56158"/>
                          <a:gd name="connsiteX7" fmla="*/ 18062 w 28696"/>
                          <a:gd name="connsiteY7" fmla="*/ 2272 h 56158"/>
                          <a:gd name="connsiteX8" fmla="*/ 17763 w 28696"/>
                          <a:gd name="connsiteY8" fmla="*/ 2093 h 56158"/>
                          <a:gd name="connsiteX9" fmla="*/ 18540 w 28696"/>
                          <a:gd name="connsiteY9" fmla="*/ 1136 h 56158"/>
                          <a:gd name="connsiteX10" fmla="*/ 18780 w 28696"/>
                          <a:gd name="connsiteY10" fmla="*/ 1316 h 56158"/>
                          <a:gd name="connsiteX11" fmla="*/ 19019 w 28696"/>
                          <a:gd name="connsiteY11" fmla="*/ 1495 h 56158"/>
                          <a:gd name="connsiteX12" fmla="*/ 19258 w 28696"/>
                          <a:gd name="connsiteY12" fmla="*/ 1674 h 56158"/>
                          <a:gd name="connsiteX13" fmla="*/ 19497 w 28696"/>
                          <a:gd name="connsiteY13" fmla="*/ 1854 h 56158"/>
                          <a:gd name="connsiteX14" fmla="*/ 19617 w 28696"/>
                          <a:gd name="connsiteY14" fmla="*/ 1674 h 56158"/>
                          <a:gd name="connsiteX15" fmla="*/ 19736 w 28696"/>
                          <a:gd name="connsiteY15" fmla="*/ 1495 h 56158"/>
                          <a:gd name="connsiteX16" fmla="*/ 19856 w 28696"/>
                          <a:gd name="connsiteY16" fmla="*/ 1316 h 56158"/>
                          <a:gd name="connsiteX17" fmla="*/ 19975 w 28696"/>
                          <a:gd name="connsiteY17" fmla="*/ 1136 h 56158"/>
                          <a:gd name="connsiteX18" fmla="*/ 19676 w 28696"/>
                          <a:gd name="connsiteY18" fmla="*/ 897 h 56158"/>
                          <a:gd name="connsiteX19" fmla="*/ 19377 w 28696"/>
                          <a:gd name="connsiteY19" fmla="*/ 658 h 56158"/>
                          <a:gd name="connsiteX20" fmla="*/ 19079 w 28696"/>
                          <a:gd name="connsiteY20" fmla="*/ 418 h 56158"/>
                          <a:gd name="connsiteX21" fmla="*/ 18780 w 28696"/>
                          <a:gd name="connsiteY21" fmla="*/ 179 h 56158"/>
                          <a:gd name="connsiteX22" fmla="*/ 18540 w 28696"/>
                          <a:gd name="connsiteY22" fmla="*/ 0 h 56158"/>
                          <a:gd name="connsiteX23" fmla="*/ 16626 w 28696"/>
                          <a:gd name="connsiteY23" fmla="*/ 2452 h 56158"/>
                          <a:gd name="connsiteX24" fmla="*/ 16866 w 28696"/>
                          <a:gd name="connsiteY24" fmla="*/ 2631 h 56158"/>
                          <a:gd name="connsiteX25" fmla="*/ 17225 w 28696"/>
                          <a:gd name="connsiteY25" fmla="*/ 2871 h 56158"/>
                          <a:gd name="connsiteX26" fmla="*/ 17583 w 28696"/>
                          <a:gd name="connsiteY26" fmla="*/ 3110 h 56158"/>
                          <a:gd name="connsiteX27" fmla="*/ 17942 w 28696"/>
                          <a:gd name="connsiteY27" fmla="*/ 3349 h 56158"/>
                          <a:gd name="connsiteX28" fmla="*/ 18480 w 28696"/>
                          <a:gd name="connsiteY28" fmla="*/ 3528 h 56158"/>
                          <a:gd name="connsiteX29" fmla="*/ 26016 w 28696"/>
                          <a:gd name="connsiteY29" fmla="*/ 21889 h 56158"/>
                          <a:gd name="connsiteX30" fmla="*/ 26315 w 28696"/>
                          <a:gd name="connsiteY30" fmla="*/ 20933 h 56158"/>
                          <a:gd name="connsiteX31" fmla="*/ 26554 w 28696"/>
                          <a:gd name="connsiteY31" fmla="*/ 19975 h 56158"/>
                          <a:gd name="connsiteX32" fmla="*/ 26734 w 28696"/>
                          <a:gd name="connsiteY32" fmla="*/ 19078 h 56158"/>
                          <a:gd name="connsiteX33" fmla="*/ 26853 w 28696"/>
                          <a:gd name="connsiteY33" fmla="*/ 18181 h 56158"/>
                          <a:gd name="connsiteX34" fmla="*/ 26853 w 28696"/>
                          <a:gd name="connsiteY34" fmla="*/ 18181 h 56158"/>
                          <a:gd name="connsiteX35" fmla="*/ 26853 w 28696"/>
                          <a:gd name="connsiteY35" fmla="*/ 18181 h 56158"/>
                          <a:gd name="connsiteX36" fmla="*/ 26853 w 28696"/>
                          <a:gd name="connsiteY36" fmla="*/ 18181 h 56158"/>
                          <a:gd name="connsiteX37" fmla="*/ 26853 w 28696"/>
                          <a:gd name="connsiteY37" fmla="*/ 18181 h 56158"/>
                          <a:gd name="connsiteX38" fmla="*/ 26853 w 28696"/>
                          <a:gd name="connsiteY38" fmla="*/ 17942 h 56158"/>
                          <a:gd name="connsiteX39" fmla="*/ 26853 w 28696"/>
                          <a:gd name="connsiteY39" fmla="*/ 17703 h 56158"/>
                          <a:gd name="connsiteX40" fmla="*/ 26853 w 28696"/>
                          <a:gd name="connsiteY40" fmla="*/ 17464 h 56158"/>
                          <a:gd name="connsiteX41" fmla="*/ 26853 w 28696"/>
                          <a:gd name="connsiteY41" fmla="*/ 17224 h 56158"/>
                          <a:gd name="connsiteX42" fmla="*/ 26554 w 28696"/>
                          <a:gd name="connsiteY42" fmla="*/ 13457 h 56158"/>
                          <a:gd name="connsiteX43" fmla="*/ 25238 w 28696"/>
                          <a:gd name="connsiteY43" fmla="*/ 9868 h 56158"/>
                          <a:gd name="connsiteX44" fmla="*/ 22906 w 28696"/>
                          <a:gd name="connsiteY44" fmla="*/ 6519 h 56158"/>
                          <a:gd name="connsiteX45" fmla="*/ 19497 w 28696"/>
                          <a:gd name="connsiteY45" fmla="*/ 3349 h 56158"/>
                          <a:gd name="connsiteX46" fmla="*/ 19377 w 28696"/>
                          <a:gd name="connsiteY46" fmla="*/ 3528 h 56158"/>
                          <a:gd name="connsiteX47" fmla="*/ 19258 w 28696"/>
                          <a:gd name="connsiteY47" fmla="*/ 3708 h 56158"/>
                          <a:gd name="connsiteX48" fmla="*/ 19138 w 28696"/>
                          <a:gd name="connsiteY48" fmla="*/ 3887 h 56158"/>
                          <a:gd name="connsiteX49" fmla="*/ 19019 w 28696"/>
                          <a:gd name="connsiteY49" fmla="*/ 4067 h 56158"/>
                          <a:gd name="connsiteX50" fmla="*/ 22188 w 28696"/>
                          <a:gd name="connsiteY50" fmla="*/ 6997 h 56158"/>
                          <a:gd name="connsiteX51" fmla="*/ 24461 w 28696"/>
                          <a:gd name="connsiteY51" fmla="*/ 10107 h 56158"/>
                          <a:gd name="connsiteX52" fmla="*/ 25777 w 28696"/>
                          <a:gd name="connsiteY52" fmla="*/ 13337 h 56158"/>
                          <a:gd name="connsiteX53" fmla="*/ 26255 w 28696"/>
                          <a:gd name="connsiteY53" fmla="*/ 16746 h 56158"/>
                          <a:gd name="connsiteX54" fmla="*/ 26255 w 28696"/>
                          <a:gd name="connsiteY54" fmla="*/ 17045 h 56158"/>
                          <a:gd name="connsiteX55" fmla="*/ 26255 w 28696"/>
                          <a:gd name="connsiteY55" fmla="*/ 17344 h 56158"/>
                          <a:gd name="connsiteX56" fmla="*/ 26255 w 28696"/>
                          <a:gd name="connsiteY56" fmla="*/ 17643 h 56158"/>
                          <a:gd name="connsiteX57" fmla="*/ 26255 w 28696"/>
                          <a:gd name="connsiteY57" fmla="*/ 17942 h 56158"/>
                          <a:gd name="connsiteX58" fmla="*/ 26255 w 28696"/>
                          <a:gd name="connsiteY58" fmla="*/ 18062 h 56158"/>
                          <a:gd name="connsiteX59" fmla="*/ 26255 w 28696"/>
                          <a:gd name="connsiteY59" fmla="*/ 18181 h 56158"/>
                          <a:gd name="connsiteX60" fmla="*/ 26255 w 28696"/>
                          <a:gd name="connsiteY60" fmla="*/ 18301 h 56158"/>
                          <a:gd name="connsiteX61" fmla="*/ 26255 w 28696"/>
                          <a:gd name="connsiteY61" fmla="*/ 18420 h 56158"/>
                          <a:gd name="connsiteX62" fmla="*/ 26196 w 28696"/>
                          <a:gd name="connsiteY62" fmla="*/ 19078 h 56158"/>
                          <a:gd name="connsiteX63" fmla="*/ 26076 w 28696"/>
                          <a:gd name="connsiteY63" fmla="*/ 19736 h 56158"/>
                          <a:gd name="connsiteX64" fmla="*/ 25956 w 28696"/>
                          <a:gd name="connsiteY64" fmla="*/ 20394 h 56158"/>
                          <a:gd name="connsiteX65" fmla="*/ 25777 w 28696"/>
                          <a:gd name="connsiteY65" fmla="*/ 21052 h 56158"/>
                          <a:gd name="connsiteX66" fmla="*/ 25896 w 28696"/>
                          <a:gd name="connsiteY66" fmla="*/ 21291 h 56158"/>
                          <a:gd name="connsiteX67" fmla="*/ 26016 w 28696"/>
                          <a:gd name="connsiteY67" fmla="*/ 21530 h 56158"/>
                          <a:gd name="connsiteX68" fmla="*/ 26136 w 28696"/>
                          <a:gd name="connsiteY68" fmla="*/ 21770 h 56158"/>
                          <a:gd name="connsiteX69" fmla="*/ 26016 w 28696"/>
                          <a:gd name="connsiteY69" fmla="*/ 21889 h 56158"/>
                          <a:gd name="connsiteX70" fmla="*/ 26674 w 28696"/>
                          <a:gd name="connsiteY70" fmla="*/ 24341 h 56158"/>
                          <a:gd name="connsiteX71" fmla="*/ 27212 w 28696"/>
                          <a:gd name="connsiteY71" fmla="*/ 23026 h 56158"/>
                          <a:gd name="connsiteX72" fmla="*/ 27691 w 28696"/>
                          <a:gd name="connsiteY72" fmla="*/ 21710 h 56158"/>
                          <a:gd name="connsiteX73" fmla="*/ 28050 w 28696"/>
                          <a:gd name="connsiteY73" fmla="*/ 20394 h 56158"/>
                          <a:gd name="connsiteX74" fmla="*/ 28349 w 28696"/>
                          <a:gd name="connsiteY74" fmla="*/ 19078 h 56158"/>
                          <a:gd name="connsiteX75" fmla="*/ 28408 w 28696"/>
                          <a:gd name="connsiteY75" fmla="*/ 18839 h 56158"/>
                          <a:gd name="connsiteX76" fmla="*/ 28468 w 28696"/>
                          <a:gd name="connsiteY76" fmla="*/ 18600 h 56158"/>
                          <a:gd name="connsiteX77" fmla="*/ 28528 w 28696"/>
                          <a:gd name="connsiteY77" fmla="*/ 18360 h 56158"/>
                          <a:gd name="connsiteX78" fmla="*/ 28588 w 28696"/>
                          <a:gd name="connsiteY78" fmla="*/ 18121 h 56158"/>
                          <a:gd name="connsiteX79" fmla="*/ 28588 w 28696"/>
                          <a:gd name="connsiteY79" fmla="*/ 17942 h 56158"/>
                          <a:gd name="connsiteX80" fmla="*/ 28588 w 28696"/>
                          <a:gd name="connsiteY80" fmla="*/ 17763 h 56158"/>
                          <a:gd name="connsiteX81" fmla="*/ 28588 w 28696"/>
                          <a:gd name="connsiteY81" fmla="*/ 17583 h 56158"/>
                          <a:gd name="connsiteX82" fmla="*/ 28588 w 28696"/>
                          <a:gd name="connsiteY82" fmla="*/ 17404 h 56158"/>
                          <a:gd name="connsiteX83" fmla="*/ 28528 w 28696"/>
                          <a:gd name="connsiteY83" fmla="*/ 12978 h 56158"/>
                          <a:gd name="connsiteX84" fmla="*/ 27212 w 28696"/>
                          <a:gd name="connsiteY84" fmla="*/ 8851 h 56158"/>
                          <a:gd name="connsiteX85" fmla="*/ 24641 w 28696"/>
                          <a:gd name="connsiteY85" fmla="*/ 4964 h 56158"/>
                          <a:gd name="connsiteX86" fmla="*/ 20753 w 28696"/>
                          <a:gd name="connsiteY86" fmla="*/ 1316 h 56158"/>
                          <a:gd name="connsiteX87" fmla="*/ 20634 w 28696"/>
                          <a:gd name="connsiteY87" fmla="*/ 1495 h 56158"/>
                          <a:gd name="connsiteX88" fmla="*/ 20514 w 28696"/>
                          <a:gd name="connsiteY88" fmla="*/ 1674 h 56158"/>
                          <a:gd name="connsiteX89" fmla="*/ 20394 w 28696"/>
                          <a:gd name="connsiteY89" fmla="*/ 1854 h 56158"/>
                          <a:gd name="connsiteX90" fmla="*/ 20275 w 28696"/>
                          <a:gd name="connsiteY90" fmla="*/ 2033 h 56158"/>
                          <a:gd name="connsiteX91" fmla="*/ 24042 w 28696"/>
                          <a:gd name="connsiteY91" fmla="*/ 5562 h 56158"/>
                          <a:gd name="connsiteX92" fmla="*/ 26554 w 28696"/>
                          <a:gd name="connsiteY92" fmla="*/ 9330 h 56158"/>
                          <a:gd name="connsiteX93" fmla="*/ 27810 w 28696"/>
                          <a:gd name="connsiteY93" fmla="*/ 13337 h 56158"/>
                          <a:gd name="connsiteX94" fmla="*/ 27870 w 28696"/>
                          <a:gd name="connsiteY94" fmla="*/ 17583 h 56158"/>
                          <a:gd name="connsiteX95" fmla="*/ 27810 w 28696"/>
                          <a:gd name="connsiteY95" fmla="*/ 17822 h 56158"/>
                          <a:gd name="connsiteX96" fmla="*/ 27751 w 28696"/>
                          <a:gd name="connsiteY96" fmla="*/ 18062 h 56158"/>
                          <a:gd name="connsiteX97" fmla="*/ 27691 w 28696"/>
                          <a:gd name="connsiteY97" fmla="*/ 18301 h 56158"/>
                          <a:gd name="connsiteX98" fmla="*/ 27631 w 28696"/>
                          <a:gd name="connsiteY98" fmla="*/ 18540 h 56158"/>
                          <a:gd name="connsiteX99" fmla="*/ 27391 w 28696"/>
                          <a:gd name="connsiteY99" fmla="*/ 19676 h 56158"/>
                          <a:gd name="connsiteX100" fmla="*/ 27092 w 28696"/>
                          <a:gd name="connsiteY100" fmla="*/ 20813 h 56158"/>
                          <a:gd name="connsiteX101" fmla="*/ 26734 w 28696"/>
                          <a:gd name="connsiteY101" fmla="*/ 21949 h 56158"/>
                          <a:gd name="connsiteX102" fmla="*/ 26315 w 28696"/>
                          <a:gd name="connsiteY102" fmla="*/ 23085 h 56158"/>
                          <a:gd name="connsiteX103" fmla="*/ 26375 w 28696"/>
                          <a:gd name="connsiteY103" fmla="*/ 23384 h 56158"/>
                          <a:gd name="connsiteX104" fmla="*/ 26435 w 28696"/>
                          <a:gd name="connsiteY104" fmla="*/ 23683 h 56158"/>
                          <a:gd name="connsiteX105" fmla="*/ 26495 w 28696"/>
                          <a:gd name="connsiteY105" fmla="*/ 23982 h 56158"/>
                          <a:gd name="connsiteX106" fmla="*/ 26674 w 28696"/>
                          <a:gd name="connsiteY106" fmla="*/ 24341 h 56158"/>
                          <a:gd name="connsiteX107" fmla="*/ 24820 w 28696"/>
                          <a:gd name="connsiteY107" fmla="*/ 24820 h 56158"/>
                          <a:gd name="connsiteX108" fmla="*/ 24820 w 28696"/>
                          <a:gd name="connsiteY108" fmla="*/ 24760 h 56158"/>
                          <a:gd name="connsiteX109" fmla="*/ 24820 w 28696"/>
                          <a:gd name="connsiteY109" fmla="*/ 24700 h 56158"/>
                          <a:gd name="connsiteX110" fmla="*/ 24820 w 28696"/>
                          <a:gd name="connsiteY110" fmla="*/ 24641 h 56158"/>
                          <a:gd name="connsiteX111" fmla="*/ 24820 w 28696"/>
                          <a:gd name="connsiteY111" fmla="*/ 24581 h 56158"/>
                          <a:gd name="connsiteX112" fmla="*/ 24940 w 28696"/>
                          <a:gd name="connsiteY112" fmla="*/ 24341 h 56158"/>
                          <a:gd name="connsiteX113" fmla="*/ 25059 w 28696"/>
                          <a:gd name="connsiteY113" fmla="*/ 24102 h 56158"/>
                          <a:gd name="connsiteX114" fmla="*/ 25179 w 28696"/>
                          <a:gd name="connsiteY114" fmla="*/ 23863 h 56158"/>
                          <a:gd name="connsiteX115" fmla="*/ 25298 w 28696"/>
                          <a:gd name="connsiteY115" fmla="*/ 23624 h 56158"/>
                          <a:gd name="connsiteX116" fmla="*/ 25358 w 28696"/>
                          <a:gd name="connsiteY116" fmla="*/ 23504 h 56158"/>
                          <a:gd name="connsiteX117" fmla="*/ 25418 w 28696"/>
                          <a:gd name="connsiteY117" fmla="*/ 23384 h 56158"/>
                          <a:gd name="connsiteX118" fmla="*/ 25478 w 28696"/>
                          <a:gd name="connsiteY118" fmla="*/ 23265 h 56158"/>
                          <a:gd name="connsiteX119" fmla="*/ 25537 w 28696"/>
                          <a:gd name="connsiteY119" fmla="*/ 23145 h 56158"/>
                          <a:gd name="connsiteX120" fmla="*/ 25478 w 28696"/>
                          <a:gd name="connsiteY120" fmla="*/ 22906 h 56158"/>
                          <a:gd name="connsiteX121" fmla="*/ 25418 w 28696"/>
                          <a:gd name="connsiteY121" fmla="*/ 22667 h 56158"/>
                          <a:gd name="connsiteX122" fmla="*/ 25358 w 28696"/>
                          <a:gd name="connsiteY122" fmla="*/ 22428 h 56158"/>
                          <a:gd name="connsiteX123" fmla="*/ 25238 w 28696"/>
                          <a:gd name="connsiteY123" fmla="*/ 22188 h 56158"/>
                          <a:gd name="connsiteX124" fmla="*/ 25119 w 28696"/>
                          <a:gd name="connsiteY124" fmla="*/ 22487 h 56158"/>
                          <a:gd name="connsiteX125" fmla="*/ 24999 w 28696"/>
                          <a:gd name="connsiteY125" fmla="*/ 22787 h 56158"/>
                          <a:gd name="connsiteX126" fmla="*/ 24880 w 28696"/>
                          <a:gd name="connsiteY126" fmla="*/ 23085 h 56158"/>
                          <a:gd name="connsiteX127" fmla="*/ 24760 w 28696"/>
                          <a:gd name="connsiteY127" fmla="*/ 23384 h 56158"/>
                          <a:gd name="connsiteX128" fmla="*/ 24700 w 28696"/>
                          <a:gd name="connsiteY128" fmla="*/ 23504 h 56158"/>
                          <a:gd name="connsiteX129" fmla="*/ 24641 w 28696"/>
                          <a:gd name="connsiteY129" fmla="*/ 23624 h 56158"/>
                          <a:gd name="connsiteX130" fmla="*/ 24581 w 28696"/>
                          <a:gd name="connsiteY130" fmla="*/ 23743 h 56158"/>
                          <a:gd name="connsiteX131" fmla="*/ 24521 w 28696"/>
                          <a:gd name="connsiteY131" fmla="*/ 23863 h 56158"/>
                          <a:gd name="connsiteX132" fmla="*/ 24581 w 28696"/>
                          <a:gd name="connsiteY132" fmla="*/ 24102 h 56158"/>
                          <a:gd name="connsiteX133" fmla="*/ 24641 w 28696"/>
                          <a:gd name="connsiteY133" fmla="*/ 24341 h 56158"/>
                          <a:gd name="connsiteX134" fmla="*/ 24700 w 28696"/>
                          <a:gd name="connsiteY134" fmla="*/ 24581 h 56158"/>
                          <a:gd name="connsiteX135" fmla="*/ 24820 w 28696"/>
                          <a:gd name="connsiteY135" fmla="*/ 24820 h 56158"/>
                          <a:gd name="connsiteX136" fmla="*/ 25059 w 28696"/>
                          <a:gd name="connsiteY136" fmla="*/ 27511 h 56158"/>
                          <a:gd name="connsiteX137" fmla="*/ 25298 w 28696"/>
                          <a:gd name="connsiteY137" fmla="*/ 27033 h 56158"/>
                          <a:gd name="connsiteX138" fmla="*/ 25537 w 28696"/>
                          <a:gd name="connsiteY138" fmla="*/ 26554 h 56158"/>
                          <a:gd name="connsiteX139" fmla="*/ 25777 w 28696"/>
                          <a:gd name="connsiteY139" fmla="*/ 26076 h 56158"/>
                          <a:gd name="connsiteX140" fmla="*/ 26016 w 28696"/>
                          <a:gd name="connsiteY140" fmla="*/ 25597 h 56158"/>
                          <a:gd name="connsiteX141" fmla="*/ 26016 w 28696"/>
                          <a:gd name="connsiteY141" fmla="*/ 25298 h 56158"/>
                          <a:gd name="connsiteX142" fmla="*/ 25956 w 28696"/>
                          <a:gd name="connsiteY142" fmla="*/ 24999 h 56158"/>
                          <a:gd name="connsiteX143" fmla="*/ 25896 w 28696"/>
                          <a:gd name="connsiteY143" fmla="*/ 24700 h 56158"/>
                          <a:gd name="connsiteX144" fmla="*/ 25837 w 28696"/>
                          <a:gd name="connsiteY144" fmla="*/ 24401 h 56158"/>
                          <a:gd name="connsiteX145" fmla="*/ 25777 w 28696"/>
                          <a:gd name="connsiteY145" fmla="*/ 24521 h 56158"/>
                          <a:gd name="connsiteX146" fmla="*/ 25717 w 28696"/>
                          <a:gd name="connsiteY146" fmla="*/ 24641 h 56158"/>
                          <a:gd name="connsiteX147" fmla="*/ 25657 w 28696"/>
                          <a:gd name="connsiteY147" fmla="*/ 24760 h 56158"/>
                          <a:gd name="connsiteX148" fmla="*/ 25597 w 28696"/>
                          <a:gd name="connsiteY148" fmla="*/ 24880 h 56158"/>
                          <a:gd name="connsiteX149" fmla="*/ 25478 w 28696"/>
                          <a:gd name="connsiteY149" fmla="*/ 25179 h 56158"/>
                          <a:gd name="connsiteX150" fmla="*/ 25298 w 28696"/>
                          <a:gd name="connsiteY150" fmla="*/ 25478 h 56158"/>
                          <a:gd name="connsiteX151" fmla="*/ 25119 w 28696"/>
                          <a:gd name="connsiteY151" fmla="*/ 25777 h 56158"/>
                          <a:gd name="connsiteX152" fmla="*/ 24940 w 28696"/>
                          <a:gd name="connsiteY152" fmla="*/ 26076 h 56158"/>
                          <a:gd name="connsiteX153" fmla="*/ 24940 w 28696"/>
                          <a:gd name="connsiteY153" fmla="*/ 26375 h 56158"/>
                          <a:gd name="connsiteX154" fmla="*/ 24940 w 28696"/>
                          <a:gd name="connsiteY154" fmla="*/ 26674 h 56158"/>
                          <a:gd name="connsiteX155" fmla="*/ 24940 w 28696"/>
                          <a:gd name="connsiteY155" fmla="*/ 26973 h 56158"/>
                          <a:gd name="connsiteX156" fmla="*/ 25059 w 28696"/>
                          <a:gd name="connsiteY156" fmla="*/ 27511 h 56158"/>
                          <a:gd name="connsiteX157" fmla="*/ 11483 w 28696"/>
                          <a:gd name="connsiteY157" fmla="*/ 43958 h 56158"/>
                          <a:gd name="connsiteX158" fmla="*/ 12021 w 28696"/>
                          <a:gd name="connsiteY158" fmla="*/ 44317 h 56158"/>
                          <a:gd name="connsiteX159" fmla="*/ 13457 w 28696"/>
                          <a:gd name="connsiteY159" fmla="*/ 42702 h 56158"/>
                          <a:gd name="connsiteX160" fmla="*/ 14892 w 28696"/>
                          <a:gd name="connsiteY160" fmla="*/ 41088 h 56158"/>
                          <a:gd name="connsiteX161" fmla="*/ 16327 w 28696"/>
                          <a:gd name="connsiteY161" fmla="*/ 39413 h 56158"/>
                          <a:gd name="connsiteX162" fmla="*/ 17703 w 28696"/>
                          <a:gd name="connsiteY162" fmla="*/ 37738 h 56158"/>
                          <a:gd name="connsiteX163" fmla="*/ 17822 w 28696"/>
                          <a:gd name="connsiteY163" fmla="*/ 37559 h 56158"/>
                          <a:gd name="connsiteX164" fmla="*/ 17942 w 28696"/>
                          <a:gd name="connsiteY164" fmla="*/ 37380 h 56158"/>
                          <a:gd name="connsiteX165" fmla="*/ 18062 w 28696"/>
                          <a:gd name="connsiteY165" fmla="*/ 37200 h 56158"/>
                          <a:gd name="connsiteX166" fmla="*/ 18181 w 28696"/>
                          <a:gd name="connsiteY166" fmla="*/ 37020 h 56158"/>
                          <a:gd name="connsiteX167" fmla="*/ 18959 w 28696"/>
                          <a:gd name="connsiteY167" fmla="*/ 36064 h 56158"/>
                          <a:gd name="connsiteX168" fmla="*/ 19736 w 28696"/>
                          <a:gd name="connsiteY168" fmla="*/ 35107 h 56158"/>
                          <a:gd name="connsiteX169" fmla="*/ 20454 w 28696"/>
                          <a:gd name="connsiteY169" fmla="*/ 34150 h 56158"/>
                          <a:gd name="connsiteX170" fmla="*/ 21172 w 28696"/>
                          <a:gd name="connsiteY170" fmla="*/ 33193 h 56158"/>
                          <a:gd name="connsiteX171" fmla="*/ 21291 w 28696"/>
                          <a:gd name="connsiteY171" fmla="*/ 33013 h 56158"/>
                          <a:gd name="connsiteX172" fmla="*/ 21411 w 28696"/>
                          <a:gd name="connsiteY172" fmla="*/ 32834 h 56158"/>
                          <a:gd name="connsiteX173" fmla="*/ 21530 w 28696"/>
                          <a:gd name="connsiteY173" fmla="*/ 32655 h 56158"/>
                          <a:gd name="connsiteX174" fmla="*/ 21650 w 28696"/>
                          <a:gd name="connsiteY174" fmla="*/ 32475 h 56158"/>
                          <a:gd name="connsiteX175" fmla="*/ 21829 w 28696"/>
                          <a:gd name="connsiteY175" fmla="*/ 32236 h 56158"/>
                          <a:gd name="connsiteX176" fmla="*/ 22009 w 28696"/>
                          <a:gd name="connsiteY176" fmla="*/ 31997 h 56158"/>
                          <a:gd name="connsiteX177" fmla="*/ 22188 w 28696"/>
                          <a:gd name="connsiteY177" fmla="*/ 31758 h 56158"/>
                          <a:gd name="connsiteX178" fmla="*/ 22368 w 28696"/>
                          <a:gd name="connsiteY178" fmla="*/ 31518 h 56158"/>
                          <a:gd name="connsiteX179" fmla="*/ 22488 w 28696"/>
                          <a:gd name="connsiteY179" fmla="*/ 31339 h 56158"/>
                          <a:gd name="connsiteX180" fmla="*/ 22607 w 28696"/>
                          <a:gd name="connsiteY180" fmla="*/ 31159 h 56158"/>
                          <a:gd name="connsiteX181" fmla="*/ 22727 w 28696"/>
                          <a:gd name="connsiteY181" fmla="*/ 30980 h 56158"/>
                          <a:gd name="connsiteX182" fmla="*/ 22846 w 28696"/>
                          <a:gd name="connsiteY182" fmla="*/ 30800 h 56158"/>
                          <a:gd name="connsiteX183" fmla="*/ 23145 w 28696"/>
                          <a:gd name="connsiteY183" fmla="*/ 30322 h 56158"/>
                          <a:gd name="connsiteX184" fmla="*/ 23444 w 28696"/>
                          <a:gd name="connsiteY184" fmla="*/ 29844 h 56158"/>
                          <a:gd name="connsiteX185" fmla="*/ 23743 w 28696"/>
                          <a:gd name="connsiteY185" fmla="*/ 29365 h 56158"/>
                          <a:gd name="connsiteX186" fmla="*/ 24042 w 28696"/>
                          <a:gd name="connsiteY186" fmla="*/ 28887 h 56158"/>
                          <a:gd name="connsiteX187" fmla="*/ 24042 w 28696"/>
                          <a:gd name="connsiteY187" fmla="*/ 28767 h 56158"/>
                          <a:gd name="connsiteX188" fmla="*/ 24042 w 28696"/>
                          <a:gd name="connsiteY188" fmla="*/ 28648 h 56158"/>
                          <a:gd name="connsiteX189" fmla="*/ 24042 w 28696"/>
                          <a:gd name="connsiteY189" fmla="*/ 28528 h 56158"/>
                          <a:gd name="connsiteX190" fmla="*/ 24042 w 28696"/>
                          <a:gd name="connsiteY190" fmla="*/ 28408 h 56158"/>
                          <a:gd name="connsiteX191" fmla="*/ 24042 w 28696"/>
                          <a:gd name="connsiteY191" fmla="*/ 28169 h 56158"/>
                          <a:gd name="connsiteX192" fmla="*/ 24042 w 28696"/>
                          <a:gd name="connsiteY192" fmla="*/ 27930 h 56158"/>
                          <a:gd name="connsiteX193" fmla="*/ 24042 w 28696"/>
                          <a:gd name="connsiteY193" fmla="*/ 27690 h 56158"/>
                          <a:gd name="connsiteX194" fmla="*/ 24042 w 28696"/>
                          <a:gd name="connsiteY194" fmla="*/ 27451 h 56158"/>
                          <a:gd name="connsiteX195" fmla="*/ 23983 w 28696"/>
                          <a:gd name="connsiteY195" fmla="*/ 27571 h 56158"/>
                          <a:gd name="connsiteX196" fmla="*/ 23923 w 28696"/>
                          <a:gd name="connsiteY196" fmla="*/ 27690 h 56158"/>
                          <a:gd name="connsiteX197" fmla="*/ 23863 w 28696"/>
                          <a:gd name="connsiteY197" fmla="*/ 27810 h 56158"/>
                          <a:gd name="connsiteX198" fmla="*/ 23803 w 28696"/>
                          <a:gd name="connsiteY198" fmla="*/ 27930 h 56158"/>
                          <a:gd name="connsiteX199" fmla="*/ 23444 w 28696"/>
                          <a:gd name="connsiteY199" fmla="*/ 28528 h 56158"/>
                          <a:gd name="connsiteX200" fmla="*/ 23086 w 28696"/>
                          <a:gd name="connsiteY200" fmla="*/ 29126 h 56158"/>
                          <a:gd name="connsiteX201" fmla="*/ 22727 w 28696"/>
                          <a:gd name="connsiteY201" fmla="*/ 29724 h 56158"/>
                          <a:gd name="connsiteX202" fmla="*/ 22368 w 28696"/>
                          <a:gd name="connsiteY202" fmla="*/ 30322 h 56158"/>
                          <a:gd name="connsiteX203" fmla="*/ 22248 w 28696"/>
                          <a:gd name="connsiteY203" fmla="*/ 30502 h 56158"/>
                          <a:gd name="connsiteX204" fmla="*/ 22129 w 28696"/>
                          <a:gd name="connsiteY204" fmla="*/ 30681 h 56158"/>
                          <a:gd name="connsiteX205" fmla="*/ 22009 w 28696"/>
                          <a:gd name="connsiteY205" fmla="*/ 30860 h 56158"/>
                          <a:gd name="connsiteX206" fmla="*/ 21889 w 28696"/>
                          <a:gd name="connsiteY206" fmla="*/ 31040 h 56158"/>
                          <a:gd name="connsiteX207" fmla="*/ 21710 w 28696"/>
                          <a:gd name="connsiteY207" fmla="*/ 31279 h 56158"/>
                          <a:gd name="connsiteX208" fmla="*/ 21530 w 28696"/>
                          <a:gd name="connsiteY208" fmla="*/ 31518 h 56158"/>
                          <a:gd name="connsiteX209" fmla="*/ 21351 w 28696"/>
                          <a:gd name="connsiteY209" fmla="*/ 31758 h 56158"/>
                          <a:gd name="connsiteX210" fmla="*/ 21172 w 28696"/>
                          <a:gd name="connsiteY210" fmla="*/ 31997 h 56158"/>
                          <a:gd name="connsiteX211" fmla="*/ 21052 w 28696"/>
                          <a:gd name="connsiteY211" fmla="*/ 32176 h 56158"/>
                          <a:gd name="connsiteX212" fmla="*/ 20933 w 28696"/>
                          <a:gd name="connsiteY212" fmla="*/ 32356 h 56158"/>
                          <a:gd name="connsiteX213" fmla="*/ 20813 w 28696"/>
                          <a:gd name="connsiteY213" fmla="*/ 32535 h 56158"/>
                          <a:gd name="connsiteX214" fmla="*/ 20693 w 28696"/>
                          <a:gd name="connsiteY214" fmla="*/ 32714 h 56158"/>
                          <a:gd name="connsiteX215" fmla="*/ 19975 w 28696"/>
                          <a:gd name="connsiteY215" fmla="*/ 33671 h 56158"/>
                          <a:gd name="connsiteX216" fmla="*/ 19258 w 28696"/>
                          <a:gd name="connsiteY216" fmla="*/ 34628 h 56158"/>
                          <a:gd name="connsiteX217" fmla="*/ 18480 w 28696"/>
                          <a:gd name="connsiteY217" fmla="*/ 35585 h 56158"/>
                          <a:gd name="connsiteX218" fmla="*/ 17703 w 28696"/>
                          <a:gd name="connsiteY218" fmla="*/ 36542 h 56158"/>
                          <a:gd name="connsiteX219" fmla="*/ 17583 w 28696"/>
                          <a:gd name="connsiteY219" fmla="*/ 36721 h 56158"/>
                          <a:gd name="connsiteX220" fmla="*/ 17464 w 28696"/>
                          <a:gd name="connsiteY220" fmla="*/ 36901 h 56158"/>
                          <a:gd name="connsiteX221" fmla="*/ 17344 w 28696"/>
                          <a:gd name="connsiteY221" fmla="*/ 37080 h 56158"/>
                          <a:gd name="connsiteX222" fmla="*/ 17225 w 28696"/>
                          <a:gd name="connsiteY222" fmla="*/ 37260 h 56158"/>
                          <a:gd name="connsiteX223" fmla="*/ 15849 w 28696"/>
                          <a:gd name="connsiteY223" fmla="*/ 38934 h 56158"/>
                          <a:gd name="connsiteX224" fmla="*/ 14413 w 28696"/>
                          <a:gd name="connsiteY224" fmla="*/ 40609 h 56158"/>
                          <a:gd name="connsiteX225" fmla="*/ 12978 w 28696"/>
                          <a:gd name="connsiteY225" fmla="*/ 42224 h 56158"/>
                          <a:gd name="connsiteX226" fmla="*/ 11483 w 28696"/>
                          <a:gd name="connsiteY226" fmla="*/ 43958 h 56158"/>
                          <a:gd name="connsiteX227" fmla="*/ 10287 w 28696"/>
                          <a:gd name="connsiteY227" fmla="*/ 43240 h 56158"/>
                          <a:gd name="connsiteX228" fmla="*/ 10765 w 28696"/>
                          <a:gd name="connsiteY228" fmla="*/ 43539 h 56158"/>
                          <a:gd name="connsiteX229" fmla="*/ 12260 w 28696"/>
                          <a:gd name="connsiteY229" fmla="*/ 41925 h 56158"/>
                          <a:gd name="connsiteX230" fmla="*/ 13696 w 28696"/>
                          <a:gd name="connsiteY230" fmla="*/ 40310 h 56158"/>
                          <a:gd name="connsiteX231" fmla="*/ 15131 w 28696"/>
                          <a:gd name="connsiteY231" fmla="*/ 38635 h 56158"/>
                          <a:gd name="connsiteX232" fmla="*/ 16507 w 28696"/>
                          <a:gd name="connsiteY232" fmla="*/ 36961 h 56158"/>
                          <a:gd name="connsiteX233" fmla="*/ 16626 w 28696"/>
                          <a:gd name="connsiteY233" fmla="*/ 36781 h 56158"/>
                          <a:gd name="connsiteX234" fmla="*/ 16746 w 28696"/>
                          <a:gd name="connsiteY234" fmla="*/ 36602 h 56158"/>
                          <a:gd name="connsiteX235" fmla="*/ 16866 w 28696"/>
                          <a:gd name="connsiteY235" fmla="*/ 36422 h 56158"/>
                          <a:gd name="connsiteX236" fmla="*/ 16985 w 28696"/>
                          <a:gd name="connsiteY236" fmla="*/ 36243 h 56158"/>
                          <a:gd name="connsiteX237" fmla="*/ 17763 w 28696"/>
                          <a:gd name="connsiteY237" fmla="*/ 35286 h 56158"/>
                          <a:gd name="connsiteX238" fmla="*/ 18540 w 28696"/>
                          <a:gd name="connsiteY238" fmla="*/ 34329 h 56158"/>
                          <a:gd name="connsiteX239" fmla="*/ 19258 w 28696"/>
                          <a:gd name="connsiteY239" fmla="*/ 33372 h 56158"/>
                          <a:gd name="connsiteX240" fmla="*/ 19975 w 28696"/>
                          <a:gd name="connsiteY240" fmla="*/ 32415 h 56158"/>
                          <a:gd name="connsiteX241" fmla="*/ 20095 w 28696"/>
                          <a:gd name="connsiteY241" fmla="*/ 32236 h 56158"/>
                          <a:gd name="connsiteX242" fmla="*/ 20215 w 28696"/>
                          <a:gd name="connsiteY242" fmla="*/ 32057 h 56158"/>
                          <a:gd name="connsiteX243" fmla="*/ 20334 w 28696"/>
                          <a:gd name="connsiteY243" fmla="*/ 31877 h 56158"/>
                          <a:gd name="connsiteX244" fmla="*/ 20454 w 28696"/>
                          <a:gd name="connsiteY244" fmla="*/ 31698 h 56158"/>
                          <a:gd name="connsiteX245" fmla="*/ 20634 w 28696"/>
                          <a:gd name="connsiteY245" fmla="*/ 31458 h 56158"/>
                          <a:gd name="connsiteX246" fmla="*/ 20813 w 28696"/>
                          <a:gd name="connsiteY246" fmla="*/ 31219 h 56158"/>
                          <a:gd name="connsiteX247" fmla="*/ 20992 w 28696"/>
                          <a:gd name="connsiteY247" fmla="*/ 30980 h 56158"/>
                          <a:gd name="connsiteX248" fmla="*/ 21172 w 28696"/>
                          <a:gd name="connsiteY248" fmla="*/ 30741 h 56158"/>
                          <a:gd name="connsiteX249" fmla="*/ 21291 w 28696"/>
                          <a:gd name="connsiteY249" fmla="*/ 30561 h 56158"/>
                          <a:gd name="connsiteX250" fmla="*/ 21411 w 28696"/>
                          <a:gd name="connsiteY250" fmla="*/ 30382 h 56158"/>
                          <a:gd name="connsiteX251" fmla="*/ 21530 w 28696"/>
                          <a:gd name="connsiteY251" fmla="*/ 30203 h 56158"/>
                          <a:gd name="connsiteX252" fmla="*/ 21650 w 28696"/>
                          <a:gd name="connsiteY252" fmla="*/ 30023 h 56158"/>
                          <a:gd name="connsiteX253" fmla="*/ 22009 w 28696"/>
                          <a:gd name="connsiteY253" fmla="*/ 29425 h 56158"/>
                          <a:gd name="connsiteX254" fmla="*/ 22368 w 28696"/>
                          <a:gd name="connsiteY254" fmla="*/ 28827 h 56158"/>
                          <a:gd name="connsiteX255" fmla="*/ 22727 w 28696"/>
                          <a:gd name="connsiteY255" fmla="*/ 28229 h 56158"/>
                          <a:gd name="connsiteX256" fmla="*/ 23086 w 28696"/>
                          <a:gd name="connsiteY256" fmla="*/ 27631 h 56158"/>
                          <a:gd name="connsiteX257" fmla="*/ 23205 w 28696"/>
                          <a:gd name="connsiteY257" fmla="*/ 27451 h 56158"/>
                          <a:gd name="connsiteX258" fmla="*/ 23325 w 28696"/>
                          <a:gd name="connsiteY258" fmla="*/ 27272 h 56158"/>
                          <a:gd name="connsiteX259" fmla="*/ 23444 w 28696"/>
                          <a:gd name="connsiteY259" fmla="*/ 27092 h 56158"/>
                          <a:gd name="connsiteX260" fmla="*/ 23564 w 28696"/>
                          <a:gd name="connsiteY260" fmla="*/ 26913 h 56158"/>
                          <a:gd name="connsiteX261" fmla="*/ 23683 w 28696"/>
                          <a:gd name="connsiteY261" fmla="*/ 26734 h 56158"/>
                          <a:gd name="connsiteX262" fmla="*/ 23803 w 28696"/>
                          <a:gd name="connsiteY262" fmla="*/ 26554 h 56158"/>
                          <a:gd name="connsiteX263" fmla="*/ 23923 w 28696"/>
                          <a:gd name="connsiteY263" fmla="*/ 26375 h 56158"/>
                          <a:gd name="connsiteX264" fmla="*/ 24042 w 28696"/>
                          <a:gd name="connsiteY264" fmla="*/ 26195 h 56158"/>
                          <a:gd name="connsiteX265" fmla="*/ 23983 w 28696"/>
                          <a:gd name="connsiteY265" fmla="*/ 25956 h 56158"/>
                          <a:gd name="connsiteX266" fmla="*/ 23923 w 28696"/>
                          <a:gd name="connsiteY266" fmla="*/ 25717 h 56158"/>
                          <a:gd name="connsiteX267" fmla="*/ 23863 w 28696"/>
                          <a:gd name="connsiteY267" fmla="*/ 25478 h 56158"/>
                          <a:gd name="connsiteX268" fmla="*/ 23803 w 28696"/>
                          <a:gd name="connsiteY268" fmla="*/ 25238 h 56158"/>
                          <a:gd name="connsiteX269" fmla="*/ 23624 w 28696"/>
                          <a:gd name="connsiteY269" fmla="*/ 25597 h 56158"/>
                          <a:gd name="connsiteX270" fmla="*/ 23444 w 28696"/>
                          <a:gd name="connsiteY270" fmla="*/ 25956 h 56158"/>
                          <a:gd name="connsiteX271" fmla="*/ 23265 w 28696"/>
                          <a:gd name="connsiteY271" fmla="*/ 26315 h 56158"/>
                          <a:gd name="connsiteX272" fmla="*/ 23086 w 28696"/>
                          <a:gd name="connsiteY272" fmla="*/ 26674 h 56158"/>
                          <a:gd name="connsiteX273" fmla="*/ 22966 w 28696"/>
                          <a:gd name="connsiteY273" fmla="*/ 26853 h 56158"/>
                          <a:gd name="connsiteX274" fmla="*/ 22846 w 28696"/>
                          <a:gd name="connsiteY274" fmla="*/ 27033 h 56158"/>
                          <a:gd name="connsiteX275" fmla="*/ 22727 w 28696"/>
                          <a:gd name="connsiteY275" fmla="*/ 27212 h 56158"/>
                          <a:gd name="connsiteX276" fmla="*/ 22607 w 28696"/>
                          <a:gd name="connsiteY276" fmla="*/ 27391 h 56158"/>
                          <a:gd name="connsiteX277" fmla="*/ 22248 w 28696"/>
                          <a:gd name="connsiteY277" fmla="*/ 27990 h 56158"/>
                          <a:gd name="connsiteX278" fmla="*/ 21889 w 28696"/>
                          <a:gd name="connsiteY278" fmla="*/ 28588 h 56158"/>
                          <a:gd name="connsiteX279" fmla="*/ 21530 w 28696"/>
                          <a:gd name="connsiteY279" fmla="*/ 29186 h 56158"/>
                          <a:gd name="connsiteX280" fmla="*/ 21172 w 28696"/>
                          <a:gd name="connsiteY280" fmla="*/ 29784 h 56158"/>
                          <a:gd name="connsiteX281" fmla="*/ 21052 w 28696"/>
                          <a:gd name="connsiteY281" fmla="*/ 29963 h 56158"/>
                          <a:gd name="connsiteX282" fmla="*/ 20933 w 28696"/>
                          <a:gd name="connsiteY282" fmla="*/ 30143 h 56158"/>
                          <a:gd name="connsiteX283" fmla="*/ 20813 w 28696"/>
                          <a:gd name="connsiteY283" fmla="*/ 30322 h 56158"/>
                          <a:gd name="connsiteX284" fmla="*/ 20693 w 28696"/>
                          <a:gd name="connsiteY284" fmla="*/ 30502 h 56158"/>
                          <a:gd name="connsiteX285" fmla="*/ 20514 w 28696"/>
                          <a:gd name="connsiteY285" fmla="*/ 30741 h 56158"/>
                          <a:gd name="connsiteX286" fmla="*/ 20334 w 28696"/>
                          <a:gd name="connsiteY286" fmla="*/ 30980 h 56158"/>
                          <a:gd name="connsiteX287" fmla="*/ 20155 w 28696"/>
                          <a:gd name="connsiteY287" fmla="*/ 31219 h 56158"/>
                          <a:gd name="connsiteX288" fmla="*/ 19975 w 28696"/>
                          <a:gd name="connsiteY288" fmla="*/ 31458 h 56158"/>
                          <a:gd name="connsiteX289" fmla="*/ 19856 w 28696"/>
                          <a:gd name="connsiteY289" fmla="*/ 31638 h 56158"/>
                          <a:gd name="connsiteX290" fmla="*/ 19736 w 28696"/>
                          <a:gd name="connsiteY290" fmla="*/ 31817 h 56158"/>
                          <a:gd name="connsiteX291" fmla="*/ 19617 w 28696"/>
                          <a:gd name="connsiteY291" fmla="*/ 31997 h 56158"/>
                          <a:gd name="connsiteX292" fmla="*/ 19497 w 28696"/>
                          <a:gd name="connsiteY292" fmla="*/ 32176 h 56158"/>
                          <a:gd name="connsiteX293" fmla="*/ 18780 w 28696"/>
                          <a:gd name="connsiteY293" fmla="*/ 33133 h 56158"/>
                          <a:gd name="connsiteX294" fmla="*/ 18062 w 28696"/>
                          <a:gd name="connsiteY294" fmla="*/ 34090 h 56158"/>
                          <a:gd name="connsiteX295" fmla="*/ 17284 w 28696"/>
                          <a:gd name="connsiteY295" fmla="*/ 35047 h 56158"/>
                          <a:gd name="connsiteX296" fmla="*/ 16507 w 28696"/>
                          <a:gd name="connsiteY296" fmla="*/ 36004 h 56158"/>
                          <a:gd name="connsiteX297" fmla="*/ 16387 w 28696"/>
                          <a:gd name="connsiteY297" fmla="*/ 36183 h 56158"/>
                          <a:gd name="connsiteX298" fmla="*/ 16267 w 28696"/>
                          <a:gd name="connsiteY298" fmla="*/ 36363 h 56158"/>
                          <a:gd name="connsiteX299" fmla="*/ 16148 w 28696"/>
                          <a:gd name="connsiteY299" fmla="*/ 36542 h 56158"/>
                          <a:gd name="connsiteX300" fmla="*/ 16028 w 28696"/>
                          <a:gd name="connsiteY300" fmla="*/ 36721 h 56158"/>
                          <a:gd name="connsiteX301" fmla="*/ 14653 w 28696"/>
                          <a:gd name="connsiteY301" fmla="*/ 38396 h 56158"/>
                          <a:gd name="connsiteX302" fmla="*/ 13217 w 28696"/>
                          <a:gd name="connsiteY302" fmla="*/ 40071 h 56158"/>
                          <a:gd name="connsiteX303" fmla="*/ 11782 w 28696"/>
                          <a:gd name="connsiteY303" fmla="*/ 41745 h 56158"/>
                          <a:gd name="connsiteX304" fmla="*/ 10287 w 28696"/>
                          <a:gd name="connsiteY304" fmla="*/ 43240 h 56158"/>
                          <a:gd name="connsiteX305" fmla="*/ 9749 w 28696"/>
                          <a:gd name="connsiteY305" fmla="*/ 45872 h 56158"/>
                          <a:gd name="connsiteX306" fmla="*/ 10287 w 28696"/>
                          <a:gd name="connsiteY306" fmla="*/ 46231 h 56158"/>
                          <a:gd name="connsiteX307" fmla="*/ 10287 w 28696"/>
                          <a:gd name="connsiteY307" fmla="*/ 46231 h 56158"/>
                          <a:gd name="connsiteX308" fmla="*/ 10287 w 28696"/>
                          <a:gd name="connsiteY308" fmla="*/ 46231 h 56158"/>
                          <a:gd name="connsiteX309" fmla="*/ 10287 w 28696"/>
                          <a:gd name="connsiteY309" fmla="*/ 46231 h 56158"/>
                          <a:gd name="connsiteX310" fmla="*/ 10287 w 28696"/>
                          <a:gd name="connsiteY310" fmla="*/ 46231 h 56158"/>
                          <a:gd name="connsiteX311" fmla="*/ 10526 w 28696"/>
                          <a:gd name="connsiteY311" fmla="*/ 45932 h 56158"/>
                          <a:gd name="connsiteX312" fmla="*/ 10765 w 28696"/>
                          <a:gd name="connsiteY312" fmla="*/ 45633 h 56158"/>
                          <a:gd name="connsiteX313" fmla="*/ 11004 w 28696"/>
                          <a:gd name="connsiteY313" fmla="*/ 45334 h 56158"/>
                          <a:gd name="connsiteX314" fmla="*/ 11244 w 28696"/>
                          <a:gd name="connsiteY314" fmla="*/ 45035 h 56158"/>
                          <a:gd name="connsiteX315" fmla="*/ 10705 w 28696"/>
                          <a:gd name="connsiteY315" fmla="*/ 44676 h 56158"/>
                          <a:gd name="connsiteX316" fmla="*/ 10466 w 28696"/>
                          <a:gd name="connsiteY316" fmla="*/ 44915 h 56158"/>
                          <a:gd name="connsiteX317" fmla="*/ 10227 w 28696"/>
                          <a:gd name="connsiteY317" fmla="*/ 45154 h 56158"/>
                          <a:gd name="connsiteX318" fmla="*/ 9988 w 28696"/>
                          <a:gd name="connsiteY318" fmla="*/ 45393 h 56158"/>
                          <a:gd name="connsiteX319" fmla="*/ 9749 w 28696"/>
                          <a:gd name="connsiteY319" fmla="*/ 45633 h 56158"/>
                          <a:gd name="connsiteX320" fmla="*/ 9689 w 28696"/>
                          <a:gd name="connsiteY320" fmla="*/ 45692 h 56158"/>
                          <a:gd name="connsiteX321" fmla="*/ 9629 w 28696"/>
                          <a:gd name="connsiteY321" fmla="*/ 45752 h 56158"/>
                          <a:gd name="connsiteX322" fmla="*/ 9749 w 28696"/>
                          <a:gd name="connsiteY322" fmla="*/ 45872 h 56158"/>
                          <a:gd name="connsiteX323" fmla="*/ 9749 w 28696"/>
                          <a:gd name="connsiteY323" fmla="*/ 45872 h 56158"/>
                          <a:gd name="connsiteX324" fmla="*/ 8552 w 28696"/>
                          <a:gd name="connsiteY324" fmla="*/ 45095 h 56158"/>
                          <a:gd name="connsiteX325" fmla="*/ 9031 w 28696"/>
                          <a:gd name="connsiteY325" fmla="*/ 45393 h 56158"/>
                          <a:gd name="connsiteX326" fmla="*/ 9090 w 28696"/>
                          <a:gd name="connsiteY326" fmla="*/ 45334 h 56158"/>
                          <a:gd name="connsiteX327" fmla="*/ 9150 w 28696"/>
                          <a:gd name="connsiteY327" fmla="*/ 45274 h 56158"/>
                          <a:gd name="connsiteX328" fmla="*/ 9210 w 28696"/>
                          <a:gd name="connsiteY328" fmla="*/ 45214 h 56158"/>
                          <a:gd name="connsiteX329" fmla="*/ 9270 w 28696"/>
                          <a:gd name="connsiteY329" fmla="*/ 45154 h 56158"/>
                          <a:gd name="connsiteX330" fmla="*/ 9509 w 28696"/>
                          <a:gd name="connsiteY330" fmla="*/ 44915 h 56158"/>
                          <a:gd name="connsiteX331" fmla="*/ 9749 w 28696"/>
                          <a:gd name="connsiteY331" fmla="*/ 44676 h 56158"/>
                          <a:gd name="connsiteX332" fmla="*/ 9988 w 28696"/>
                          <a:gd name="connsiteY332" fmla="*/ 44437 h 56158"/>
                          <a:gd name="connsiteX333" fmla="*/ 10227 w 28696"/>
                          <a:gd name="connsiteY333" fmla="*/ 44197 h 56158"/>
                          <a:gd name="connsiteX334" fmla="*/ 9749 w 28696"/>
                          <a:gd name="connsiteY334" fmla="*/ 43898 h 56158"/>
                          <a:gd name="connsiteX335" fmla="*/ 9509 w 28696"/>
                          <a:gd name="connsiteY335" fmla="*/ 44137 h 56158"/>
                          <a:gd name="connsiteX336" fmla="*/ 9270 w 28696"/>
                          <a:gd name="connsiteY336" fmla="*/ 44377 h 56158"/>
                          <a:gd name="connsiteX337" fmla="*/ 9031 w 28696"/>
                          <a:gd name="connsiteY337" fmla="*/ 44616 h 56158"/>
                          <a:gd name="connsiteX338" fmla="*/ 8791 w 28696"/>
                          <a:gd name="connsiteY338" fmla="*/ 44855 h 56158"/>
                          <a:gd name="connsiteX339" fmla="*/ 8732 w 28696"/>
                          <a:gd name="connsiteY339" fmla="*/ 44915 h 56158"/>
                          <a:gd name="connsiteX340" fmla="*/ 8672 w 28696"/>
                          <a:gd name="connsiteY340" fmla="*/ 44975 h 56158"/>
                          <a:gd name="connsiteX341" fmla="*/ 8612 w 28696"/>
                          <a:gd name="connsiteY341" fmla="*/ 45035 h 56158"/>
                          <a:gd name="connsiteX342" fmla="*/ 8552 w 28696"/>
                          <a:gd name="connsiteY342" fmla="*/ 45095 h 56158"/>
                          <a:gd name="connsiteX343" fmla="*/ 8194 w 28696"/>
                          <a:gd name="connsiteY343" fmla="*/ 47666 h 56158"/>
                          <a:gd name="connsiteX344" fmla="*/ 8732 w 28696"/>
                          <a:gd name="connsiteY344" fmla="*/ 48025 h 56158"/>
                          <a:gd name="connsiteX345" fmla="*/ 8971 w 28696"/>
                          <a:gd name="connsiteY345" fmla="*/ 47786 h 56158"/>
                          <a:gd name="connsiteX346" fmla="*/ 9210 w 28696"/>
                          <a:gd name="connsiteY346" fmla="*/ 47546 h 56158"/>
                          <a:gd name="connsiteX347" fmla="*/ 9449 w 28696"/>
                          <a:gd name="connsiteY347" fmla="*/ 47307 h 56158"/>
                          <a:gd name="connsiteX348" fmla="*/ 9689 w 28696"/>
                          <a:gd name="connsiteY348" fmla="*/ 47068 h 56158"/>
                          <a:gd name="connsiteX349" fmla="*/ 9150 w 28696"/>
                          <a:gd name="connsiteY349" fmla="*/ 46709 h 56158"/>
                          <a:gd name="connsiteX350" fmla="*/ 8911 w 28696"/>
                          <a:gd name="connsiteY350" fmla="*/ 46949 h 56158"/>
                          <a:gd name="connsiteX351" fmla="*/ 8672 w 28696"/>
                          <a:gd name="connsiteY351" fmla="*/ 47188 h 56158"/>
                          <a:gd name="connsiteX352" fmla="*/ 8433 w 28696"/>
                          <a:gd name="connsiteY352" fmla="*/ 47427 h 56158"/>
                          <a:gd name="connsiteX353" fmla="*/ 8194 w 28696"/>
                          <a:gd name="connsiteY353" fmla="*/ 47666 h 56158"/>
                          <a:gd name="connsiteX354" fmla="*/ 6997 w 28696"/>
                          <a:gd name="connsiteY354" fmla="*/ 46889 h 56158"/>
                          <a:gd name="connsiteX355" fmla="*/ 7536 w 28696"/>
                          <a:gd name="connsiteY355" fmla="*/ 47247 h 56158"/>
                          <a:gd name="connsiteX356" fmla="*/ 7775 w 28696"/>
                          <a:gd name="connsiteY356" fmla="*/ 47008 h 56158"/>
                          <a:gd name="connsiteX357" fmla="*/ 8014 w 28696"/>
                          <a:gd name="connsiteY357" fmla="*/ 46769 h 56158"/>
                          <a:gd name="connsiteX358" fmla="*/ 8253 w 28696"/>
                          <a:gd name="connsiteY358" fmla="*/ 46530 h 56158"/>
                          <a:gd name="connsiteX359" fmla="*/ 8493 w 28696"/>
                          <a:gd name="connsiteY359" fmla="*/ 46291 h 56158"/>
                          <a:gd name="connsiteX360" fmla="*/ 8014 w 28696"/>
                          <a:gd name="connsiteY360" fmla="*/ 45932 h 56158"/>
                          <a:gd name="connsiteX361" fmla="*/ 7775 w 28696"/>
                          <a:gd name="connsiteY361" fmla="*/ 46171 h 56158"/>
                          <a:gd name="connsiteX362" fmla="*/ 7536 w 28696"/>
                          <a:gd name="connsiteY362" fmla="*/ 46410 h 56158"/>
                          <a:gd name="connsiteX363" fmla="*/ 7296 w 28696"/>
                          <a:gd name="connsiteY363" fmla="*/ 46650 h 56158"/>
                          <a:gd name="connsiteX364" fmla="*/ 6997 w 28696"/>
                          <a:gd name="connsiteY364" fmla="*/ 46889 h 56158"/>
                          <a:gd name="connsiteX365" fmla="*/ 0 w 28696"/>
                          <a:gd name="connsiteY365" fmla="*/ 55082 h 56158"/>
                          <a:gd name="connsiteX366" fmla="*/ 1674 w 28696"/>
                          <a:gd name="connsiteY366" fmla="*/ 56159 h 56158"/>
                          <a:gd name="connsiteX367" fmla="*/ 1973 w 28696"/>
                          <a:gd name="connsiteY367" fmla="*/ 55800 h 56158"/>
                          <a:gd name="connsiteX368" fmla="*/ 2452 w 28696"/>
                          <a:gd name="connsiteY368" fmla="*/ 55202 h 56158"/>
                          <a:gd name="connsiteX369" fmla="*/ 2930 w 28696"/>
                          <a:gd name="connsiteY369" fmla="*/ 54604 h 56158"/>
                          <a:gd name="connsiteX370" fmla="*/ 3409 w 28696"/>
                          <a:gd name="connsiteY370" fmla="*/ 54006 h 56158"/>
                          <a:gd name="connsiteX371" fmla="*/ 3947 w 28696"/>
                          <a:gd name="connsiteY371" fmla="*/ 53408 h 56158"/>
                          <a:gd name="connsiteX372" fmla="*/ 4127 w 28696"/>
                          <a:gd name="connsiteY372" fmla="*/ 53228 h 56158"/>
                          <a:gd name="connsiteX373" fmla="*/ 4306 w 28696"/>
                          <a:gd name="connsiteY373" fmla="*/ 53049 h 56158"/>
                          <a:gd name="connsiteX374" fmla="*/ 4486 w 28696"/>
                          <a:gd name="connsiteY374" fmla="*/ 52869 h 56158"/>
                          <a:gd name="connsiteX375" fmla="*/ 4665 w 28696"/>
                          <a:gd name="connsiteY375" fmla="*/ 52690 h 56158"/>
                          <a:gd name="connsiteX376" fmla="*/ 5502 w 28696"/>
                          <a:gd name="connsiteY376" fmla="*/ 51673 h 56158"/>
                          <a:gd name="connsiteX377" fmla="*/ 6399 w 28696"/>
                          <a:gd name="connsiteY377" fmla="*/ 50657 h 56158"/>
                          <a:gd name="connsiteX378" fmla="*/ 7296 w 28696"/>
                          <a:gd name="connsiteY378" fmla="*/ 49640 h 56158"/>
                          <a:gd name="connsiteX379" fmla="*/ 8194 w 28696"/>
                          <a:gd name="connsiteY379" fmla="*/ 48623 h 56158"/>
                          <a:gd name="connsiteX380" fmla="*/ 7655 w 28696"/>
                          <a:gd name="connsiteY380" fmla="*/ 48264 h 56158"/>
                          <a:gd name="connsiteX381" fmla="*/ 6758 w 28696"/>
                          <a:gd name="connsiteY381" fmla="*/ 49281 h 56158"/>
                          <a:gd name="connsiteX382" fmla="*/ 5861 w 28696"/>
                          <a:gd name="connsiteY382" fmla="*/ 50298 h 56158"/>
                          <a:gd name="connsiteX383" fmla="*/ 4964 w 28696"/>
                          <a:gd name="connsiteY383" fmla="*/ 51314 h 56158"/>
                          <a:gd name="connsiteX384" fmla="*/ 4127 w 28696"/>
                          <a:gd name="connsiteY384" fmla="*/ 52331 h 56158"/>
                          <a:gd name="connsiteX385" fmla="*/ 3947 w 28696"/>
                          <a:gd name="connsiteY385" fmla="*/ 52511 h 56158"/>
                          <a:gd name="connsiteX386" fmla="*/ 3768 w 28696"/>
                          <a:gd name="connsiteY386" fmla="*/ 52690 h 56158"/>
                          <a:gd name="connsiteX387" fmla="*/ 3588 w 28696"/>
                          <a:gd name="connsiteY387" fmla="*/ 52869 h 56158"/>
                          <a:gd name="connsiteX388" fmla="*/ 3409 w 28696"/>
                          <a:gd name="connsiteY388" fmla="*/ 53049 h 56158"/>
                          <a:gd name="connsiteX389" fmla="*/ 2990 w 28696"/>
                          <a:gd name="connsiteY389" fmla="*/ 53587 h 56158"/>
                          <a:gd name="connsiteX390" fmla="*/ 2572 w 28696"/>
                          <a:gd name="connsiteY390" fmla="*/ 54125 h 56158"/>
                          <a:gd name="connsiteX391" fmla="*/ 2153 w 28696"/>
                          <a:gd name="connsiteY391" fmla="*/ 54664 h 56158"/>
                          <a:gd name="connsiteX392" fmla="*/ 1734 w 28696"/>
                          <a:gd name="connsiteY392" fmla="*/ 55202 h 56158"/>
                          <a:gd name="connsiteX393" fmla="*/ 1017 w 28696"/>
                          <a:gd name="connsiteY393" fmla="*/ 54783 h 56158"/>
                          <a:gd name="connsiteX394" fmla="*/ 1435 w 28696"/>
                          <a:gd name="connsiteY394" fmla="*/ 54245 h 56158"/>
                          <a:gd name="connsiteX395" fmla="*/ 1854 w 28696"/>
                          <a:gd name="connsiteY395" fmla="*/ 53707 h 56158"/>
                          <a:gd name="connsiteX396" fmla="*/ 2273 w 28696"/>
                          <a:gd name="connsiteY396" fmla="*/ 53168 h 56158"/>
                          <a:gd name="connsiteX397" fmla="*/ 2691 w 28696"/>
                          <a:gd name="connsiteY397" fmla="*/ 52630 h 56158"/>
                          <a:gd name="connsiteX398" fmla="*/ 2871 w 28696"/>
                          <a:gd name="connsiteY398" fmla="*/ 52451 h 56158"/>
                          <a:gd name="connsiteX399" fmla="*/ 3050 w 28696"/>
                          <a:gd name="connsiteY399" fmla="*/ 52271 h 56158"/>
                          <a:gd name="connsiteX400" fmla="*/ 3229 w 28696"/>
                          <a:gd name="connsiteY400" fmla="*/ 52092 h 56158"/>
                          <a:gd name="connsiteX401" fmla="*/ 3409 w 28696"/>
                          <a:gd name="connsiteY401" fmla="*/ 51913 h 56158"/>
                          <a:gd name="connsiteX402" fmla="*/ 4246 w 28696"/>
                          <a:gd name="connsiteY402" fmla="*/ 50896 h 56158"/>
                          <a:gd name="connsiteX403" fmla="*/ 5143 w 28696"/>
                          <a:gd name="connsiteY403" fmla="*/ 49879 h 56158"/>
                          <a:gd name="connsiteX404" fmla="*/ 6041 w 28696"/>
                          <a:gd name="connsiteY404" fmla="*/ 48862 h 56158"/>
                          <a:gd name="connsiteX405" fmla="*/ 6937 w 28696"/>
                          <a:gd name="connsiteY405" fmla="*/ 47846 h 56158"/>
                          <a:gd name="connsiteX406" fmla="*/ 6399 w 28696"/>
                          <a:gd name="connsiteY406" fmla="*/ 47487 h 56158"/>
                          <a:gd name="connsiteX407" fmla="*/ 5502 w 28696"/>
                          <a:gd name="connsiteY407" fmla="*/ 48504 h 56158"/>
                          <a:gd name="connsiteX408" fmla="*/ 4605 w 28696"/>
                          <a:gd name="connsiteY408" fmla="*/ 49520 h 56158"/>
                          <a:gd name="connsiteX409" fmla="*/ 3708 w 28696"/>
                          <a:gd name="connsiteY409" fmla="*/ 50537 h 56158"/>
                          <a:gd name="connsiteX410" fmla="*/ 2871 w 28696"/>
                          <a:gd name="connsiteY410" fmla="*/ 51554 h 56158"/>
                          <a:gd name="connsiteX411" fmla="*/ 2691 w 28696"/>
                          <a:gd name="connsiteY411" fmla="*/ 51733 h 56158"/>
                          <a:gd name="connsiteX412" fmla="*/ 2512 w 28696"/>
                          <a:gd name="connsiteY412" fmla="*/ 51913 h 56158"/>
                          <a:gd name="connsiteX413" fmla="*/ 2333 w 28696"/>
                          <a:gd name="connsiteY413" fmla="*/ 52092 h 56158"/>
                          <a:gd name="connsiteX414" fmla="*/ 2153 w 28696"/>
                          <a:gd name="connsiteY414" fmla="*/ 52271 h 56158"/>
                          <a:gd name="connsiteX415" fmla="*/ 1615 w 28696"/>
                          <a:gd name="connsiteY415" fmla="*/ 52869 h 56158"/>
                          <a:gd name="connsiteX416" fmla="*/ 1136 w 28696"/>
                          <a:gd name="connsiteY416" fmla="*/ 53467 h 56158"/>
                          <a:gd name="connsiteX417" fmla="*/ 658 w 28696"/>
                          <a:gd name="connsiteY417" fmla="*/ 54066 h 56158"/>
                          <a:gd name="connsiteX418" fmla="*/ 179 w 28696"/>
                          <a:gd name="connsiteY418" fmla="*/ 54664 h 56158"/>
                          <a:gd name="connsiteX419" fmla="*/ 0 w 28696"/>
                          <a:gd name="connsiteY419" fmla="*/ 55082 h 56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Lst>
                        <a:rect l="l" t="t" r="r" b="b"/>
                        <a:pathLst>
                          <a:path w="28696" h="56158">
                            <a:moveTo>
                              <a:pt x="18480" y="3528"/>
                            </a:moveTo>
                            <a:cubicBezTo>
                              <a:pt x="18540" y="3469"/>
                              <a:pt x="18600" y="3409"/>
                              <a:pt x="18600" y="3349"/>
                            </a:cubicBezTo>
                            <a:cubicBezTo>
                              <a:pt x="18660" y="3289"/>
                              <a:pt x="18720" y="3229"/>
                              <a:pt x="18720" y="3170"/>
                            </a:cubicBezTo>
                            <a:cubicBezTo>
                              <a:pt x="18780" y="3110"/>
                              <a:pt x="18780" y="3050"/>
                              <a:pt x="18839" y="2990"/>
                            </a:cubicBezTo>
                            <a:cubicBezTo>
                              <a:pt x="18899" y="2930"/>
                              <a:pt x="18899" y="2871"/>
                              <a:pt x="18959" y="2811"/>
                            </a:cubicBezTo>
                            <a:cubicBezTo>
                              <a:pt x="18839" y="2751"/>
                              <a:pt x="18780" y="2691"/>
                              <a:pt x="18660" y="2631"/>
                            </a:cubicBezTo>
                            <a:cubicBezTo>
                              <a:pt x="18540" y="2572"/>
                              <a:pt x="18480" y="2512"/>
                              <a:pt x="18361" y="2452"/>
                            </a:cubicBezTo>
                            <a:cubicBezTo>
                              <a:pt x="18241" y="2392"/>
                              <a:pt x="18181" y="2332"/>
                              <a:pt x="18062" y="2272"/>
                            </a:cubicBezTo>
                            <a:cubicBezTo>
                              <a:pt x="17942" y="2213"/>
                              <a:pt x="17882" y="2153"/>
                              <a:pt x="17763" y="2093"/>
                            </a:cubicBezTo>
                            <a:lnTo>
                              <a:pt x="18540" y="1136"/>
                            </a:lnTo>
                            <a:cubicBezTo>
                              <a:pt x="18660" y="1196"/>
                              <a:pt x="18720" y="1256"/>
                              <a:pt x="18780" y="1316"/>
                            </a:cubicBezTo>
                            <a:cubicBezTo>
                              <a:pt x="18839" y="1375"/>
                              <a:pt x="18959" y="1435"/>
                              <a:pt x="19019" y="1495"/>
                            </a:cubicBezTo>
                            <a:cubicBezTo>
                              <a:pt x="19079" y="1555"/>
                              <a:pt x="19198" y="1615"/>
                              <a:pt x="19258" y="1674"/>
                            </a:cubicBezTo>
                            <a:cubicBezTo>
                              <a:pt x="19318" y="1734"/>
                              <a:pt x="19437" y="1794"/>
                              <a:pt x="19497" y="1854"/>
                            </a:cubicBezTo>
                            <a:cubicBezTo>
                              <a:pt x="19557" y="1794"/>
                              <a:pt x="19557" y="1734"/>
                              <a:pt x="19617" y="1674"/>
                            </a:cubicBezTo>
                            <a:cubicBezTo>
                              <a:pt x="19676" y="1615"/>
                              <a:pt x="19676" y="1555"/>
                              <a:pt x="19736" y="1495"/>
                            </a:cubicBezTo>
                            <a:cubicBezTo>
                              <a:pt x="19796" y="1435"/>
                              <a:pt x="19796" y="1375"/>
                              <a:pt x="19856" y="1316"/>
                            </a:cubicBezTo>
                            <a:cubicBezTo>
                              <a:pt x="19916" y="1256"/>
                              <a:pt x="19916" y="1196"/>
                              <a:pt x="19975" y="1136"/>
                            </a:cubicBezTo>
                            <a:cubicBezTo>
                              <a:pt x="19856" y="1076"/>
                              <a:pt x="19796" y="1017"/>
                              <a:pt x="19676" y="897"/>
                            </a:cubicBezTo>
                            <a:cubicBezTo>
                              <a:pt x="19557" y="837"/>
                              <a:pt x="19497" y="777"/>
                              <a:pt x="19377" y="658"/>
                            </a:cubicBezTo>
                            <a:cubicBezTo>
                              <a:pt x="19258" y="598"/>
                              <a:pt x="19198" y="538"/>
                              <a:pt x="19079" y="418"/>
                            </a:cubicBezTo>
                            <a:cubicBezTo>
                              <a:pt x="18959" y="359"/>
                              <a:pt x="18899" y="299"/>
                              <a:pt x="18780" y="179"/>
                            </a:cubicBezTo>
                            <a:lnTo>
                              <a:pt x="18540" y="0"/>
                            </a:lnTo>
                            <a:lnTo>
                              <a:pt x="16626" y="2452"/>
                            </a:lnTo>
                            <a:lnTo>
                              <a:pt x="16866" y="2631"/>
                            </a:lnTo>
                            <a:cubicBezTo>
                              <a:pt x="16985" y="2691"/>
                              <a:pt x="17105" y="2811"/>
                              <a:pt x="17225" y="2871"/>
                            </a:cubicBezTo>
                            <a:cubicBezTo>
                              <a:pt x="17344" y="2930"/>
                              <a:pt x="17464" y="3050"/>
                              <a:pt x="17583" y="3110"/>
                            </a:cubicBezTo>
                            <a:cubicBezTo>
                              <a:pt x="17703" y="3170"/>
                              <a:pt x="17822" y="3289"/>
                              <a:pt x="17942" y="3349"/>
                            </a:cubicBezTo>
                            <a:cubicBezTo>
                              <a:pt x="18301" y="3349"/>
                              <a:pt x="18361" y="3469"/>
                              <a:pt x="18480" y="3528"/>
                            </a:cubicBezTo>
                            <a:moveTo>
                              <a:pt x="26016" y="21889"/>
                            </a:moveTo>
                            <a:cubicBezTo>
                              <a:pt x="26136" y="21590"/>
                              <a:pt x="26196" y="21291"/>
                              <a:pt x="26315" y="20933"/>
                            </a:cubicBezTo>
                            <a:cubicBezTo>
                              <a:pt x="26435" y="20573"/>
                              <a:pt x="26495" y="20334"/>
                              <a:pt x="26554" y="19975"/>
                            </a:cubicBezTo>
                            <a:cubicBezTo>
                              <a:pt x="26614" y="19617"/>
                              <a:pt x="26674" y="19377"/>
                              <a:pt x="26734" y="19078"/>
                            </a:cubicBezTo>
                            <a:cubicBezTo>
                              <a:pt x="26794" y="18779"/>
                              <a:pt x="26853" y="18480"/>
                              <a:pt x="26853" y="18181"/>
                            </a:cubicBezTo>
                            <a:cubicBezTo>
                              <a:pt x="26853" y="18181"/>
                              <a:pt x="26853" y="18181"/>
                              <a:pt x="26853" y="18181"/>
                            </a:cubicBezTo>
                            <a:cubicBezTo>
                              <a:pt x="26853" y="18181"/>
                              <a:pt x="26853" y="18181"/>
                              <a:pt x="26853" y="18181"/>
                            </a:cubicBezTo>
                            <a:cubicBezTo>
                              <a:pt x="26853" y="18181"/>
                              <a:pt x="26853" y="18181"/>
                              <a:pt x="26853" y="18181"/>
                            </a:cubicBezTo>
                            <a:cubicBezTo>
                              <a:pt x="26853" y="18181"/>
                              <a:pt x="26853" y="18181"/>
                              <a:pt x="26853" y="18181"/>
                            </a:cubicBezTo>
                            <a:cubicBezTo>
                              <a:pt x="26853" y="18121"/>
                              <a:pt x="26853" y="18002"/>
                              <a:pt x="26853" y="17942"/>
                            </a:cubicBezTo>
                            <a:cubicBezTo>
                              <a:pt x="26853" y="17882"/>
                              <a:pt x="26853" y="17763"/>
                              <a:pt x="26853" y="17703"/>
                            </a:cubicBezTo>
                            <a:cubicBezTo>
                              <a:pt x="26853" y="17643"/>
                              <a:pt x="26853" y="17523"/>
                              <a:pt x="26853" y="17464"/>
                            </a:cubicBezTo>
                            <a:cubicBezTo>
                              <a:pt x="26853" y="17404"/>
                              <a:pt x="26853" y="17284"/>
                              <a:pt x="26853" y="17224"/>
                            </a:cubicBezTo>
                            <a:cubicBezTo>
                              <a:pt x="26913" y="15909"/>
                              <a:pt x="26794" y="14652"/>
                              <a:pt x="26554" y="13457"/>
                            </a:cubicBezTo>
                            <a:cubicBezTo>
                              <a:pt x="26255" y="12260"/>
                              <a:pt x="25837" y="11064"/>
                              <a:pt x="25238" y="9868"/>
                            </a:cubicBezTo>
                            <a:cubicBezTo>
                              <a:pt x="24641" y="8732"/>
                              <a:pt x="23863" y="7595"/>
                              <a:pt x="22906" y="6519"/>
                            </a:cubicBezTo>
                            <a:cubicBezTo>
                              <a:pt x="21949" y="5442"/>
                              <a:pt x="20813" y="4366"/>
                              <a:pt x="19497" y="3349"/>
                            </a:cubicBezTo>
                            <a:cubicBezTo>
                              <a:pt x="19437" y="3409"/>
                              <a:pt x="19437" y="3469"/>
                              <a:pt x="19377" y="3528"/>
                            </a:cubicBezTo>
                            <a:cubicBezTo>
                              <a:pt x="19318" y="3588"/>
                              <a:pt x="19318" y="3648"/>
                              <a:pt x="19258" y="3708"/>
                            </a:cubicBezTo>
                            <a:cubicBezTo>
                              <a:pt x="19198" y="3768"/>
                              <a:pt x="19138" y="3827"/>
                              <a:pt x="19138" y="3887"/>
                            </a:cubicBezTo>
                            <a:cubicBezTo>
                              <a:pt x="19138" y="3947"/>
                              <a:pt x="19019" y="4007"/>
                              <a:pt x="19019" y="4067"/>
                            </a:cubicBezTo>
                            <a:cubicBezTo>
                              <a:pt x="20215" y="5024"/>
                              <a:pt x="21291" y="5981"/>
                              <a:pt x="22188" y="6997"/>
                            </a:cubicBezTo>
                            <a:cubicBezTo>
                              <a:pt x="23086" y="8014"/>
                              <a:pt x="23863" y="9031"/>
                              <a:pt x="24461" y="10107"/>
                            </a:cubicBezTo>
                            <a:cubicBezTo>
                              <a:pt x="25059" y="11184"/>
                              <a:pt x="25478" y="12260"/>
                              <a:pt x="25777" y="13337"/>
                            </a:cubicBezTo>
                            <a:cubicBezTo>
                              <a:pt x="26076" y="14413"/>
                              <a:pt x="26196" y="15550"/>
                              <a:pt x="26255" y="16746"/>
                            </a:cubicBezTo>
                            <a:cubicBezTo>
                              <a:pt x="26255" y="16865"/>
                              <a:pt x="26255" y="16925"/>
                              <a:pt x="26255" y="17045"/>
                            </a:cubicBezTo>
                            <a:cubicBezTo>
                              <a:pt x="26255" y="17165"/>
                              <a:pt x="26255" y="17224"/>
                              <a:pt x="26255" y="17344"/>
                            </a:cubicBezTo>
                            <a:cubicBezTo>
                              <a:pt x="26255" y="17464"/>
                              <a:pt x="26255" y="17523"/>
                              <a:pt x="26255" y="17643"/>
                            </a:cubicBezTo>
                            <a:cubicBezTo>
                              <a:pt x="26255" y="17763"/>
                              <a:pt x="26255" y="17822"/>
                              <a:pt x="26255" y="17942"/>
                            </a:cubicBezTo>
                            <a:cubicBezTo>
                              <a:pt x="26255" y="18002"/>
                              <a:pt x="26255" y="18062"/>
                              <a:pt x="26255" y="18062"/>
                            </a:cubicBezTo>
                            <a:cubicBezTo>
                              <a:pt x="26255" y="18062"/>
                              <a:pt x="26255" y="18181"/>
                              <a:pt x="26255" y="18181"/>
                            </a:cubicBezTo>
                            <a:cubicBezTo>
                              <a:pt x="26255" y="18241"/>
                              <a:pt x="26255" y="18301"/>
                              <a:pt x="26255" y="18301"/>
                            </a:cubicBezTo>
                            <a:cubicBezTo>
                              <a:pt x="26255" y="18360"/>
                              <a:pt x="26255" y="18420"/>
                              <a:pt x="26255" y="18420"/>
                            </a:cubicBezTo>
                            <a:cubicBezTo>
                              <a:pt x="26255" y="18660"/>
                              <a:pt x="26196" y="18839"/>
                              <a:pt x="26196" y="19078"/>
                            </a:cubicBezTo>
                            <a:cubicBezTo>
                              <a:pt x="26136" y="19318"/>
                              <a:pt x="26136" y="19497"/>
                              <a:pt x="26076" y="19736"/>
                            </a:cubicBezTo>
                            <a:cubicBezTo>
                              <a:pt x="26016" y="19975"/>
                              <a:pt x="25956" y="20155"/>
                              <a:pt x="25956" y="20394"/>
                            </a:cubicBezTo>
                            <a:cubicBezTo>
                              <a:pt x="25896" y="20633"/>
                              <a:pt x="25837" y="20813"/>
                              <a:pt x="25777" y="21052"/>
                            </a:cubicBezTo>
                            <a:cubicBezTo>
                              <a:pt x="25837" y="21112"/>
                              <a:pt x="25837" y="21231"/>
                              <a:pt x="25896" y="21291"/>
                            </a:cubicBezTo>
                            <a:cubicBezTo>
                              <a:pt x="25956" y="21351"/>
                              <a:pt x="25956" y="21471"/>
                              <a:pt x="26016" y="21530"/>
                            </a:cubicBezTo>
                            <a:cubicBezTo>
                              <a:pt x="26076" y="21590"/>
                              <a:pt x="26076" y="21710"/>
                              <a:pt x="26136" y="21770"/>
                            </a:cubicBezTo>
                            <a:cubicBezTo>
                              <a:pt x="25956" y="21710"/>
                              <a:pt x="25956" y="21770"/>
                              <a:pt x="26016" y="21889"/>
                            </a:cubicBezTo>
                            <a:moveTo>
                              <a:pt x="26674" y="24341"/>
                            </a:moveTo>
                            <a:cubicBezTo>
                              <a:pt x="26853" y="23923"/>
                              <a:pt x="27033" y="23504"/>
                              <a:pt x="27212" y="23026"/>
                            </a:cubicBezTo>
                            <a:cubicBezTo>
                              <a:pt x="27391" y="22607"/>
                              <a:pt x="27511" y="22188"/>
                              <a:pt x="27691" y="21710"/>
                            </a:cubicBezTo>
                            <a:cubicBezTo>
                              <a:pt x="27810" y="21291"/>
                              <a:pt x="27990" y="20873"/>
                              <a:pt x="28050" y="20394"/>
                            </a:cubicBezTo>
                            <a:cubicBezTo>
                              <a:pt x="28169" y="19975"/>
                              <a:pt x="28289" y="19557"/>
                              <a:pt x="28349" y="19078"/>
                            </a:cubicBezTo>
                            <a:cubicBezTo>
                              <a:pt x="28349" y="19019"/>
                              <a:pt x="28408" y="18899"/>
                              <a:pt x="28408" y="18839"/>
                            </a:cubicBezTo>
                            <a:cubicBezTo>
                              <a:pt x="28408" y="18779"/>
                              <a:pt x="28468" y="18660"/>
                              <a:pt x="28468" y="18600"/>
                            </a:cubicBezTo>
                            <a:cubicBezTo>
                              <a:pt x="28468" y="18540"/>
                              <a:pt x="28468" y="18420"/>
                              <a:pt x="28528" y="18360"/>
                            </a:cubicBezTo>
                            <a:cubicBezTo>
                              <a:pt x="28528" y="18301"/>
                              <a:pt x="28528" y="18181"/>
                              <a:pt x="28588" y="18121"/>
                            </a:cubicBezTo>
                            <a:cubicBezTo>
                              <a:pt x="28588" y="18062"/>
                              <a:pt x="28588" y="18002"/>
                              <a:pt x="28588" y="17942"/>
                            </a:cubicBezTo>
                            <a:cubicBezTo>
                              <a:pt x="28588" y="17882"/>
                              <a:pt x="28588" y="17822"/>
                              <a:pt x="28588" y="17763"/>
                            </a:cubicBezTo>
                            <a:cubicBezTo>
                              <a:pt x="28588" y="17703"/>
                              <a:pt x="28588" y="17643"/>
                              <a:pt x="28588" y="17583"/>
                            </a:cubicBezTo>
                            <a:cubicBezTo>
                              <a:pt x="28588" y="17523"/>
                              <a:pt x="28588" y="17464"/>
                              <a:pt x="28588" y="17404"/>
                            </a:cubicBezTo>
                            <a:cubicBezTo>
                              <a:pt x="28767" y="15849"/>
                              <a:pt x="28707" y="14413"/>
                              <a:pt x="28528" y="12978"/>
                            </a:cubicBezTo>
                            <a:cubicBezTo>
                              <a:pt x="28289" y="11543"/>
                              <a:pt x="27870" y="10167"/>
                              <a:pt x="27212" y="8851"/>
                            </a:cubicBezTo>
                            <a:cubicBezTo>
                              <a:pt x="26554" y="7535"/>
                              <a:pt x="25717" y="6220"/>
                              <a:pt x="24641" y="4964"/>
                            </a:cubicBezTo>
                            <a:cubicBezTo>
                              <a:pt x="23564" y="3708"/>
                              <a:pt x="22248" y="2512"/>
                              <a:pt x="20753" y="1316"/>
                            </a:cubicBezTo>
                            <a:cubicBezTo>
                              <a:pt x="20693" y="1375"/>
                              <a:pt x="20693" y="1435"/>
                              <a:pt x="20634" y="1495"/>
                            </a:cubicBezTo>
                            <a:cubicBezTo>
                              <a:pt x="20574" y="1555"/>
                              <a:pt x="20574" y="1615"/>
                              <a:pt x="20514" y="1674"/>
                            </a:cubicBezTo>
                            <a:cubicBezTo>
                              <a:pt x="20454" y="1734"/>
                              <a:pt x="20454" y="1794"/>
                              <a:pt x="20394" y="1854"/>
                            </a:cubicBezTo>
                            <a:cubicBezTo>
                              <a:pt x="20334" y="1914"/>
                              <a:pt x="20334" y="1973"/>
                              <a:pt x="20275" y="2033"/>
                            </a:cubicBezTo>
                            <a:cubicBezTo>
                              <a:pt x="21710" y="3170"/>
                              <a:pt x="22966" y="4366"/>
                              <a:pt x="24042" y="5562"/>
                            </a:cubicBezTo>
                            <a:cubicBezTo>
                              <a:pt x="25059" y="6758"/>
                              <a:pt x="25896" y="8014"/>
                              <a:pt x="26554" y="9330"/>
                            </a:cubicBezTo>
                            <a:cubicBezTo>
                              <a:pt x="27212" y="10645"/>
                              <a:pt x="27631" y="11961"/>
                              <a:pt x="27810" y="13337"/>
                            </a:cubicBezTo>
                            <a:cubicBezTo>
                              <a:pt x="28050" y="14712"/>
                              <a:pt x="28050" y="16148"/>
                              <a:pt x="27870" y="17583"/>
                            </a:cubicBezTo>
                            <a:cubicBezTo>
                              <a:pt x="27870" y="17643"/>
                              <a:pt x="27870" y="17763"/>
                              <a:pt x="27810" y="17822"/>
                            </a:cubicBezTo>
                            <a:cubicBezTo>
                              <a:pt x="27810" y="17882"/>
                              <a:pt x="27810" y="18002"/>
                              <a:pt x="27751" y="18062"/>
                            </a:cubicBezTo>
                            <a:cubicBezTo>
                              <a:pt x="27751" y="18121"/>
                              <a:pt x="27751" y="18241"/>
                              <a:pt x="27691" y="18301"/>
                            </a:cubicBezTo>
                            <a:cubicBezTo>
                              <a:pt x="27691" y="18360"/>
                              <a:pt x="27691" y="18480"/>
                              <a:pt x="27631" y="18540"/>
                            </a:cubicBezTo>
                            <a:cubicBezTo>
                              <a:pt x="27571" y="18899"/>
                              <a:pt x="27511" y="19258"/>
                              <a:pt x="27391" y="19676"/>
                            </a:cubicBezTo>
                            <a:cubicBezTo>
                              <a:pt x="27332" y="20035"/>
                              <a:pt x="27212" y="20394"/>
                              <a:pt x="27092" y="20813"/>
                            </a:cubicBezTo>
                            <a:cubicBezTo>
                              <a:pt x="26973" y="21172"/>
                              <a:pt x="26853" y="21530"/>
                              <a:pt x="26734" y="21949"/>
                            </a:cubicBezTo>
                            <a:cubicBezTo>
                              <a:pt x="26614" y="22368"/>
                              <a:pt x="26495" y="22727"/>
                              <a:pt x="26315" y="23085"/>
                            </a:cubicBezTo>
                            <a:cubicBezTo>
                              <a:pt x="26315" y="23205"/>
                              <a:pt x="26375" y="23265"/>
                              <a:pt x="26375" y="23384"/>
                            </a:cubicBezTo>
                            <a:cubicBezTo>
                              <a:pt x="26375" y="23504"/>
                              <a:pt x="26435" y="23564"/>
                              <a:pt x="26435" y="23683"/>
                            </a:cubicBezTo>
                            <a:cubicBezTo>
                              <a:pt x="26435" y="23803"/>
                              <a:pt x="26495" y="23863"/>
                              <a:pt x="26495" y="23982"/>
                            </a:cubicBezTo>
                            <a:cubicBezTo>
                              <a:pt x="26614" y="24162"/>
                              <a:pt x="26614" y="24282"/>
                              <a:pt x="26674" y="24341"/>
                            </a:cubicBezTo>
                            <a:moveTo>
                              <a:pt x="24820" y="24820"/>
                            </a:moveTo>
                            <a:cubicBezTo>
                              <a:pt x="24820" y="24820"/>
                              <a:pt x="24820" y="24760"/>
                              <a:pt x="24820" y="24760"/>
                            </a:cubicBezTo>
                            <a:cubicBezTo>
                              <a:pt x="24820" y="24760"/>
                              <a:pt x="24820" y="24700"/>
                              <a:pt x="24820" y="24700"/>
                            </a:cubicBezTo>
                            <a:cubicBezTo>
                              <a:pt x="24820" y="24700"/>
                              <a:pt x="24820" y="24641"/>
                              <a:pt x="24820" y="24641"/>
                            </a:cubicBezTo>
                            <a:cubicBezTo>
                              <a:pt x="24820" y="24641"/>
                              <a:pt x="24820" y="24581"/>
                              <a:pt x="24820" y="24581"/>
                            </a:cubicBezTo>
                            <a:cubicBezTo>
                              <a:pt x="24880" y="24521"/>
                              <a:pt x="24880" y="24461"/>
                              <a:pt x="24940" y="24341"/>
                            </a:cubicBezTo>
                            <a:cubicBezTo>
                              <a:pt x="24999" y="24282"/>
                              <a:pt x="24999" y="24222"/>
                              <a:pt x="25059" y="24102"/>
                            </a:cubicBezTo>
                            <a:cubicBezTo>
                              <a:pt x="25119" y="23982"/>
                              <a:pt x="25119" y="23982"/>
                              <a:pt x="25179" y="23863"/>
                            </a:cubicBezTo>
                            <a:cubicBezTo>
                              <a:pt x="25238" y="23803"/>
                              <a:pt x="25238" y="23743"/>
                              <a:pt x="25298" y="23624"/>
                            </a:cubicBezTo>
                            <a:cubicBezTo>
                              <a:pt x="25298" y="23564"/>
                              <a:pt x="25358" y="23504"/>
                              <a:pt x="25358" y="23504"/>
                            </a:cubicBezTo>
                            <a:cubicBezTo>
                              <a:pt x="25358" y="23504"/>
                              <a:pt x="25418" y="23384"/>
                              <a:pt x="25418" y="23384"/>
                            </a:cubicBezTo>
                            <a:cubicBezTo>
                              <a:pt x="25418" y="23325"/>
                              <a:pt x="25478" y="23265"/>
                              <a:pt x="25478" y="23265"/>
                            </a:cubicBezTo>
                            <a:cubicBezTo>
                              <a:pt x="25478" y="23265"/>
                              <a:pt x="25537" y="23145"/>
                              <a:pt x="25537" y="23145"/>
                            </a:cubicBezTo>
                            <a:cubicBezTo>
                              <a:pt x="25537" y="23085"/>
                              <a:pt x="25478" y="22966"/>
                              <a:pt x="25478" y="22906"/>
                            </a:cubicBezTo>
                            <a:cubicBezTo>
                              <a:pt x="25478" y="22846"/>
                              <a:pt x="25418" y="22727"/>
                              <a:pt x="25418" y="22667"/>
                            </a:cubicBezTo>
                            <a:cubicBezTo>
                              <a:pt x="25418" y="22607"/>
                              <a:pt x="25358" y="22487"/>
                              <a:pt x="25358" y="22428"/>
                            </a:cubicBezTo>
                            <a:cubicBezTo>
                              <a:pt x="25298" y="22368"/>
                              <a:pt x="25298" y="22248"/>
                              <a:pt x="25238" y="22188"/>
                            </a:cubicBezTo>
                            <a:cubicBezTo>
                              <a:pt x="25179" y="22308"/>
                              <a:pt x="25179" y="22368"/>
                              <a:pt x="25119" y="22487"/>
                            </a:cubicBezTo>
                            <a:cubicBezTo>
                              <a:pt x="25059" y="22607"/>
                              <a:pt x="25059" y="22667"/>
                              <a:pt x="24999" y="22787"/>
                            </a:cubicBezTo>
                            <a:cubicBezTo>
                              <a:pt x="24940" y="22906"/>
                              <a:pt x="24940" y="22966"/>
                              <a:pt x="24880" y="23085"/>
                            </a:cubicBezTo>
                            <a:cubicBezTo>
                              <a:pt x="24820" y="23205"/>
                              <a:pt x="24820" y="23265"/>
                              <a:pt x="24760" y="23384"/>
                            </a:cubicBezTo>
                            <a:cubicBezTo>
                              <a:pt x="24760" y="23444"/>
                              <a:pt x="24700" y="23444"/>
                              <a:pt x="24700" y="23504"/>
                            </a:cubicBezTo>
                            <a:cubicBezTo>
                              <a:pt x="24700" y="23564"/>
                              <a:pt x="24641" y="23564"/>
                              <a:pt x="24641" y="23624"/>
                            </a:cubicBezTo>
                            <a:cubicBezTo>
                              <a:pt x="24641" y="23683"/>
                              <a:pt x="24581" y="23683"/>
                              <a:pt x="24581" y="23743"/>
                            </a:cubicBezTo>
                            <a:cubicBezTo>
                              <a:pt x="24581" y="23803"/>
                              <a:pt x="24521" y="23803"/>
                              <a:pt x="24521" y="23863"/>
                            </a:cubicBezTo>
                            <a:cubicBezTo>
                              <a:pt x="24521" y="23923"/>
                              <a:pt x="24581" y="24042"/>
                              <a:pt x="24581" y="24102"/>
                            </a:cubicBezTo>
                            <a:cubicBezTo>
                              <a:pt x="24581" y="24162"/>
                              <a:pt x="24641" y="24282"/>
                              <a:pt x="24641" y="24341"/>
                            </a:cubicBezTo>
                            <a:cubicBezTo>
                              <a:pt x="24641" y="24401"/>
                              <a:pt x="24700" y="24521"/>
                              <a:pt x="24700" y="24581"/>
                            </a:cubicBezTo>
                            <a:cubicBezTo>
                              <a:pt x="24700" y="24641"/>
                              <a:pt x="24760" y="24760"/>
                              <a:pt x="24820" y="24820"/>
                            </a:cubicBezTo>
                            <a:moveTo>
                              <a:pt x="25059" y="27511"/>
                            </a:moveTo>
                            <a:cubicBezTo>
                              <a:pt x="25119" y="27332"/>
                              <a:pt x="25238" y="27212"/>
                              <a:pt x="25298" y="27033"/>
                            </a:cubicBezTo>
                            <a:cubicBezTo>
                              <a:pt x="25358" y="26853"/>
                              <a:pt x="25478" y="26734"/>
                              <a:pt x="25537" y="26554"/>
                            </a:cubicBezTo>
                            <a:cubicBezTo>
                              <a:pt x="25597" y="26375"/>
                              <a:pt x="25717" y="26255"/>
                              <a:pt x="25777" y="26076"/>
                            </a:cubicBezTo>
                            <a:cubicBezTo>
                              <a:pt x="25837" y="25896"/>
                              <a:pt x="25956" y="25777"/>
                              <a:pt x="26016" y="25597"/>
                            </a:cubicBezTo>
                            <a:cubicBezTo>
                              <a:pt x="26016" y="25478"/>
                              <a:pt x="26016" y="25418"/>
                              <a:pt x="26016" y="25298"/>
                            </a:cubicBezTo>
                            <a:cubicBezTo>
                              <a:pt x="26016" y="25179"/>
                              <a:pt x="26016" y="25119"/>
                              <a:pt x="25956" y="24999"/>
                            </a:cubicBezTo>
                            <a:cubicBezTo>
                              <a:pt x="25956" y="24880"/>
                              <a:pt x="25956" y="24820"/>
                              <a:pt x="25896" y="24700"/>
                            </a:cubicBezTo>
                            <a:cubicBezTo>
                              <a:pt x="25837" y="24581"/>
                              <a:pt x="25837" y="24521"/>
                              <a:pt x="25837" y="24401"/>
                            </a:cubicBezTo>
                            <a:cubicBezTo>
                              <a:pt x="25837" y="24461"/>
                              <a:pt x="25777" y="24461"/>
                              <a:pt x="25777" y="24521"/>
                            </a:cubicBezTo>
                            <a:cubicBezTo>
                              <a:pt x="25777" y="24581"/>
                              <a:pt x="25717" y="24581"/>
                              <a:pt x="25717" y="24641"/>
                            </a:cubicBezTo>
                            <a:cubicBezTo>
                              <a:pt x="25717" y="24700"/>
                              <a:pt x="25657" y="24700"/>
                              <a:pt x="25657" y="24760"/>
                            </a:cubicBezTo>
                            <a:cubicBezTo>
                              <a:pt x="25657" y="24820"/>
                              <a:pt x="25597" y="24820"/>
                              <a:pt x="25597" y="24880"/>
                            </a:cubicBezTo>
                            <a:cubicBezTo>
                              <a:pt x="25537" y="24999"/>
                              <a:pt x="25478" y="25059"/>
                              <a:pt x="25478" y="25179"/>
                            </a:cubicBezTo>
                            <a:cubicBezTo>
                              <a:pt x="25418" y="25298"/>
                              <a:pt x="25358" y="25358"/>
                              <a:pt x="25298" y="25478"/>
                            </a:cubicBezTo>
                            <a:cubicBezTo>
                              <a:pt x="25238" y="25597"/>
                              <a:pt x="25179" y="25657"/>
                              <a:pt x="25119" y="25777"/>
                            </a:cubicBezTo>
                            <a:cubicBezTo>
                              <a:pt x="25059" y="25896"/>
                              <a:pt x="24999" y="25956"/>
                              <a:pt x="24940" y="26076"/>
                            </a:cubicBezTo>
                            <a:cubicBezTo>
                              <a:pt x="24940" y="26195"/>
                              <a:pt x="24940" y="26255"/>
                              <a:pt x="24940" y="26375"/>
                            </a:cubicBezTo>
                            <a:cubicBezTo>
                              <a:pt x="24940" y="26495"/>
                              <a:pt x="24940" y="26554"/>
                              <a:pt x="24940" y="26674"/>
                            </a:cubicBezTo>
                            <a:cubicBezTo>
                              <a:pt x="24940" y="26794"/>
                              <a:pt x="24940" y="26853"/>
                              <a:pt x="24940" y="26973"/>
                            </a:cubicBezTo>
                            <a:cubicBezTo>
                              <a:pt x="25059" y="27332"/>
                              <a:pt x="25059" y="27391"/>
                              <a:pt x="25059" y="27511"/>
                            </a:cubicBezTo>
                            <a:moveTo>
                              <a:pt x="11483" y="43958"/>
                            </a:moveTo>
                            <a:lnTo>
                              <a:pt x="12021" y="44317"/>
                            </a:lnTo>
                            <a:cubicBezTo>
                              <a:pt x="12500" y="43779"/>
                              <a:pt x="12978" y="43240"/>
                              <a:pt x="13457" y="42702"/>
                            </a:cubicBezTo>
                            <a:cubicBezTo>
                              <a:pt x="13935" y="42164"/>
                              <a:pt x="14413" y="41626"/>
                              <a:pt x="14892" y="41088"/>
                            </a:cubicBezTo>
                            <a:cubicBezTo>
                              <a:pt x="15371" y="40549"/>
                              <a:pt x="15849" y="40011"/>
                              <a:pt x="16327" y="39413"/>
                            </a:cubicBezTo>
                            <a:cubicBezTo>
                              <a:pt x="16806" y="38875"/>
                              <a:pt x="17284" y="38336"/>
                              <a:pt x="17703" y="37738"/>
                            </a:cubicBezTo>
                            <a:cubicBezTo>
                              <a:pt x="17763" y="37678"/>
                              <a:pt x="17822" y="37619"/>
                              <a:pt x="17822" y="37559"/>
                            </a:cubicBezTo>
                            <a:cubicBezTo>
                              <a:pt x="17822" y="37499"/>
                              <a:pt x="17942" y="37439"/>
                              <a:pt x="17942" y="37380"/>
                            </a:cubicBezTo>
                            <a:cubicBezTo>
                              <a:pt x="18002" y="37320"/>
                              <a:pt x="18062" y="37260"/>
                              <a:pt x="18062" y="37200"/>
                            </a:cubicBezTo>
                            <a:cubicBezTo>
                              <a:pt x="18121" y="37140"/>
                              <a:pt x="18181" y="37080"/>
                              <a:pt x="18181" y="37020"/>
                            </a:cubicBezTo>
                            <a:cubicBezTo>
                              <a:pt x="18420" y="36721"/>
                              <a:pt x="18720" y="36422"/>
                              <a:pt x="18959" y="36064"/>
                            </a:cubicBezTo>
                            <a:cubicBezTo>
                              <a:pt x="19198" y="35705"/>
                              <a:pt x="19437" y="35466"/>
                              <a:pt x="19736" y="35107"/>
                            </a:cubicBezTo>
                            <a:cubicBezTo>
                              <a:pt x="19975" y="34807"/>
                              <a:pt x="20215" y="34509"/>
                              <a:pt x="20454" y="34150"/>
                            </a:cubicBezTo>
                            <a:cubicBezTo>
                              <a:pt x="20693" y="33851"/>
                              <a:pt x="20933" y="33492"/>
                              <a:pt x="21172" y="33193"/>
                            </a:cubicBezTo>
                            <a:cubicBezTo>
                              <a:pt x="21231" y="33133"/>
                              <a:pt x="21291" y="33073"/>
                              <a:pt x="21291" y="33013"/>
                            </a:cubicBezTo>
                            <a:cubicBezTo>
                              <a:pt x="21351" y="32953"/>
                              <a:pt x="21411" y="32894"/>
                              <a:pt x="21411" y="32834"/>
                            </a:cubicBezTo>
                            <a:cubicBezTo>
                              <a:pt x="21471" y="32774"/>
                              <a:pt x="21530" y="32714"/>
                              <a:pt x="21530" y="32655"/>
                            </a:cubicBezTo>
                            <a:cubicBezTo>
                              <a:pt x="21590" y="32595"/>
                              <a:pt x="21650" y="32535"/>
                              <a:pt x="21650" y="32475"/>
                            </a:cubicBezTo>
                            <a:cubicBezTo>
                              <a:pt x="21710" y="32415"/>
                              <a:pt x="21770" y="32296"/>
                              <a:pt x="21829" y="32236"/>
                            </a:cubicBezTo>
                            <a:cubicBezTo>
                              <a:pt x="21889" y="32176"/>
                              <a:pt x="21949" y="32057"/>
                              <a:pt x="22009" y="31997"/>
                            </a:cubicBezTo>
                            <a:cubicBezTo>
                              <a:pt x="22069" y="31937"/>
                              <a:pt x="22129" y="31817"/>
                              <a:pt x="22188" y="31758"/>
                            </a:cubicBezTo>
                            <a:cubicBezTo>
                              <a:pt x="22248" y="31698"/>
                              <a:pt x="22308" y="31578"/>
                              <a:pt x="22368" y="31518"/>
                            </a:cubicBezTo>
                            <a:cubicBezTo>
                              <a:pt x="22428" y="31458"/>
                              <a:pt x="22428" y="31399"/>
                              <a:pt x="22488" y="31339"/>
                            </a:cubicBezTo>
                            <a:cubicBezTo>
                              <a:pt x="22547" y="31279"/>
                              <a:pt x="22547" y="31219"/>
                              <a:pt x="22607" y="31159"/>
                            </a:cubicBezTo>
                            <a:cubicBezTo>
                              <a:pt x="22667" y="31099"/>
                              <a:pt x="22667" y="31040"/>
                              <a:pt x="22727" y="30980"/>
                            </a:cubicBezTo>
                            <a:cubicBezTo>
                              <a:pt x="22787" y="30920"/>
                              <a:pt x="22787" y="30860"/>
                              <a:pt x="22846" y="30800"/>
                            </a:cubicBezTo>
                            <a:cubicBezTo>
                              <a:pt x="22966" y="30621"/>
                              <a:pt x="23026" y="30502"/>
                              <a:pt x="23145" y="30322"/>
                            </a:cubicBezTo>
                            <a:cubicBezTo>
                              <a:pt x="23265" y="30143"/>
                              <a:pt x="23325" y="30023"/>
                              <a:pt x="23444" y="29844"/>
                            </a:cubicBezTo>
                            <a:cubicBezTo>
                              <a:pt x="23564" y="29664"/>
                              <a:pt x="23624" y="29544"/>
                              <a:pt x="23743" y="29365"/>
                            </a:cubicBezTo>
                            <a:cubicBezTo>
                              <a:pt x="23863" y="29186"/>
                              <a:pt x="23923" y="29066"/>
                              <a:pt x="24042" y="28887"/>
                            </a:cubicBezTo>
                            <a:cubicBezTo>
                              <a:pt x="24042" y="28827"/>
                              <a:pt x="24042" y="28827"/>
                              <a:pt x="24042" y="28767"/>
                            </a:cubicBezTo>
                            <a:cubicBezTo>
                              <a:pt x="24042" y="28707"/>
                              <a:pt x="24042" y="28707"/>
                              <a:pt x="24042" y="28648"/>
                            </a:cubicBezTo>
                            <a:cubicBezTo>
                              <a:pt x="24042" y="28588"/>
                              <a:pt x="24042" y="28588"/>
                              <a:pt x="24042" y="28528"/>
                            </a:cubicBezTo>
                            <a:cubicBezTo>
                              <a:pt x="24042" y="28468"/>
                              <a:pt x="24042" y="28468"/>
                              <a:pt x="24042" y="28408"/>
                            </a:cubicBezTo>
                            <a:cubicBezTo>
                              <a:pt x="24042" y="28349"/>
                              <a:pt x="24042" y="28229"/>
                              <a:pt x="24042" y="28169"/>
                            </a:cubicBezTo>
                            <a:cubicBezTo>
                              <a:pt x="24042" y="28109"/>
                              <a:pt x="24042" y="27990"/>
                              <a:pt x="24042" y="27930"/>
                            </a:cubicBezTo>
                            <a:cubicBezTo>
                              <a:pt x="24042" y="27870"/>
                              <a:pt x="24042" y="27750"/>
                              <a:pt x="24042" y="27690"/>
                            </a:cubicBezTo>
                            <a:cubicBezTo>
                              <a:pt x="24042" y="27631"/>
                              <a:pt x="24042" y="27511"/>
                              <a:pt x="24042" y="27451"/>
                            </a:cubicBezTo>
                            <a:cubicBezTo>
                              <a:pt x="24042" y="27511"/>
                              <a:pt x="23983" y="27511"/>
                              <a:pt x="23983" y="27571"/>
                            </a:cubicBezTo>
                            <a:cubicBezTo>
                              <a:pt x="23983" y="27631"/>
                              <a:pt x="23923" y="27631"/>
                              <a:pt x="23923" y="27690"/>
                            </a:cubicBezTo>
                            <a:cubicBezTo>
                              <a:pt x="23923" y="27750"/>
                              <a:pt x="23863" y="27750"/>
                              <a:pt x="23863" y="27810"/>
                            </a:cubicBezTo>
                            <a:cubicBezTo>
                              <a:pt x="23863" y="27870"/>
                              <a:pt x="23803" y="27870"/>
                              <a:pt x="23803" y="27930"/>
                            </a:cubicBezTo>
                            <a:cubicBezTo>
                              <a:pt x="23683" y="28109"/>
                              <a:pt x="23564" y="28289"/>
                              <a:pt x="23444" y="28528"/>
                            </a:cubicBezTo>
                            <a:cubicBezTo>
                              <a:pt x="23325" y="28707"/>
                              <a:pt x="23205" y="28887"/>
                              <a:pt x="23086" y="29126"/>
                            </a:cubicBezTo>
                            <a:cubicBezTo>
                              <a:pt x="22966" y="29305"/>
                              <a:pt x="22846" y="29485"/>
                              <a:pt x="22727" y="29724"/>
                            </a:cubicBezTo>
                            <a:cubicBezTo>
                              <a:pt x="22607" y="29963"/>
                              <a:pt x="22488" y="30083"/>
                              <a:pt x="22368" y="30322"/>
                            </a:cubicBezTo>
                            <a:cubicBezTo>
                              <a:pt x="22308" y="30382"/>
                              <a:pt x="22308" y="30442"/>
                              <a:pt x="22248" y="30502"/>
                            </a:cubicBezTo>
                            <a:cubicBezTo>
                              <a:pt x="22188" y="30561"/>
                              <a:pt x="22188" y="30621"/>
                              <a:pt x="22129" y="30681"/>
                            </a:cubicBezTo>
                            <a:cubicBezTo>
                              <a:pt x="22069" y="30741"/>
                              <a:pt x="22069" y="30800"/>
                              <a:pt x="22009" y="30860"/>
                            </a:cubicBezTo>
                            <a:cubicBezTo>
                              <a:pt x="21949" y="30920"/>
                              <a:pt x="21949" y="30980"/>
                              <a:pt x="21889" y="31040"/>
                            </a:cubicBezTo>
                            <a:cubicBezTo>
                              <a:pt x="21829" y="31099"/>
                              <a:pt x="21770" y="31219"/>
                              <a:pt x="21710" y="31279"/>
                            </a:cubicBezTo>
                            <a:cubicBezTo>
                              <a:pt x="21650" y="31339"/>
                              <a:pt x="21590" y="31458"/>
                              <a:pt x="21530" y="31518"/>
                            </a:cubicBezTo>
                            <a:cubicBezTo>
                              <a:pt x="21471" y="31578"/>
                              <a:pt x="21411" y="31698"/>
                              <a:pt x="21351" y="31758"/>
                            </a:cubicBezTo>
                            <a:cubicBezTo>
                              <a:pt x="21291" y="31817"/>
                              <a:pt x="21231" y="31937"/>
                              <a:pt x="21172" y="31997"/>
                            </a:cubicBezTo>
                            <a:cubicBezTo>
                              <a:pt x="21112" y="32057"/>
                              <a:pt x="21052" y="32116"/>
                              <a:pt x="21052" y="32176"/>
                            </a:cubicBezTo>
                            <a:cubicBezTo>
                              <a:pt x="21052" y="32236"/>
                              <a:pt x="20933" y="32296"/>
                              <a:pt x="20933" y="32356"/>
                            </a:cubicBezTo>
                            <a:cubicBezTo>
                              <a:pt x="20933" y="32415"/>
                              <a:pt x="20813" y="32475"/>
                              <a:pt x="20813" y="32535"/>
                            </a:cubicBezTo>
                            <a:cubicBezTo>
                              <a:pt x="20813" y="32595"/>
                              <a:pt x="20693" y="32655"/>
                              <a:pt x="20693" y="32714"/>
                            </a:cubicBezTo>
                            <a:cubicBezTo>
                              <a:pt x="20454" y="33013"/>
                              <a:pt x="20215" y="33372"/>
                              <a:pt x="19975" y="33671"/>
                            </a:cubicBezTo>
                            <a:cubicBezTo>
                              <a:pt x="19736" y="33970"/>
                              <a:pt x="19497" y="34329"/>
                              <a:pt x="19258" y="34628"/>
                            </a:cubicBezTo>
                            <a:cubicBezTo>
                              <a:pt x="19019" y="34927"/>
                              <a:pt x="18780" y="35286"/>
                              <a:pt x="18480" y="35585"/>
                            </a:cubicBezTo>
                            <a:cubicBezTo>
                              <a:pt x="18241" y="35884"/>
                              <a:pt x="18002" y="36183"/>
                              <a:pt x="17703" y="36542"/>
                            </a:cubicBezTo>
                            <a:cubicBezTo>
                              <a:pt x="17643" y="36602"/>
                              <a:pt x="17583" y="36661"/>
                              <a:pt x="17583" y="36721"/>
                            </a:cubicBezTo>
                            <a:cubicBezTo>
                              <a:pt x="17583" y="36781"/>
                              <a:pt x="17464" y="36841"/>
                              <a:pt x="17464" y="36901"/>
                            </a:cubicBezTo>
                            <a:cubicBezTo>
                              <a:pt x="17404" y="36961"/>
                              <a:pt x="17344" y="37020"/>
                              <a:pt x="17344" y="37080"/>
                            </a:cubicBezTo>
                            <a:cubicBezTo>
                              <a:pt x="17344" y="37140"/>
                              <a:pt x="17225" y="37200"/>
                              <a:pt x="17225" y="37260"/>
                            </a:cubicBezTo>
                            <a:cubicBezTo>
                              <a:pt x="16746" y="37798"/>
                              <a:pt x="16327" y="38336"/>
                              <a:pt x="15849" y="38934"/>
                            </a:cubicBezTo>
                            <a:cubicBezTo>
                              <a:pt x="15371" y="39473"/>
                              <a:pt x="14892" y="40011"/>
                              <a:pt x="14413" y="40609"/>
                            </a:cubicBezTo>
                            <a:cubicBezTo>
                              <a:pt x="13935" y="41147"/>
                              <a:pt x="13457" y="41685"/>
                              <a:pt x="12978" y="42224"/>
                            </a:cubicBezTo>
                            <a:cubicBezTo>
                              <a:pt x="12440" y="42882"/>
                              <a:pt x="11961" y="43420"/>
                              <a:pt x="11483" y="43958"/>
                            </a:cubicBezTo>
                            <a:moveTo>
                              <a:pt x="10287" y="43240"/>
                            </a:moveTo>
                            <a:lnTo>
                              <a:pt x="10765" y="43539"/>
                            </a:lnTo>
                            <a:cubicBezTo>
                              <a:pt x="11244" y="43001"/>
                              <a:pt x="11722" y="42463"/>
                              <a:pt x="12260" y="41925"/>
                            </a:cubicBezTo>
                            <a:cubicBezTo>
                              <a:pt x="12739" y="41386"/>
                              <a:pt x="13217" y="40848"/>
                              <a:pt x="13696" y="40310"/>
                            </a:cubicBezTo>
                            <a:cubicBezTo>
                              <a:pt x="14174" y="39772"/>
                              <a:pt x="14653" y="39234"/>
                              <a:pt x="15131" y="38635"/>
                            </a:cubicBezTo>
                            <a:cubicBezTo>
                              <a:pt x="15610" y="38097"/>
                              <a:pt x="16088" y="37559"/>
                              <a:pt x="16507" y="36961"/>
                            </a:cubicBezTo>
                            <a:cubicBezTo>
                              <a:pt x="16566" y="36901"/>
                              <a:pt x="16626" y="36841"/>
                              <a:pt x="16626" y="36781"/>
                            </a:cubicBezTo>
                            <a:cubicBezTo>
                              <a:pt x="16686" y="36721"/>
                              <a:pt x="16746" y="36661"/>
                              <a:pt x="16746" y="36602"/>
                            </a:cubicBezTo>
                            <a:cubicBezTo>
                              <a:pt x="16806" y="36542"/>
                              <a:pt x="16866" y="36482"/>
                              <a:pt x="16866" y="36422"/>
                            </a:cubicBezTo>
                            <a:cubicBezTo>
                              <a:pt x="16925" y="36363"/>
                              <a:pt x="16985" y="36303"/>
                              <a:pt x="16985" y="36243"/>
                            </a:cubicBezTo>
                            <a:cubicBezTo>
                              <a:pt x="17225" y="35944"/>
                              <a:pt x="17523" y="35585"/>
                              <a:pt x="17763" y="35286"/>
                            </a:cubicBezTo>
                            <a:cubicBezTo>
                              <a:pt x="18002" y="34987"/>
                              <a:pt x="18241" y="34628"/>
                              <a:pt x="18540" y="34329"/>
                            </a:cubicBezTo>
                            <a:cubicBezTo>
                              <a:pt x="18780" y="34030"/>
                              <a:pt x="19019" y="33671"/>
                              <a:pt x="19258" y="33372"/>
                            </a:cubicBezTo>
                            <a:cubicBezTo>
                              <a:pt x="19497" y="33073"/>
                              <a:pt x="19736" y="32714"/>
                              <a:pt x="19975" y="32415"/>
                            </a:cubicBezTo>
                            <a:cubicBezTo>
                              <a:pt x="20035" y="32356"/>
                              <a:pt x="20095" y="32296"/>
                              <a:pt x="20095" y="32236"/>
                            </a:cubicBezTo>
                            <a:cubicBezTo>
                              <a:pt x="20155" y="32176"/>
                              <a:pt x="20215" y="32116"/>
                              <a:pt x="20215" y="32057"/>
                            </a:cubicBezTo>
                            <a:cubicBezTo>
                              <a:pt x="20275" y="31997"/>
                              <a:pt x="20334" y="31937"/>
                              <a:pt x="20334" y="31877"/>
                            </a:cubicBezTo>
                            <a:cubicBezTo>
                              <a:pt x="20334" y="31817"/>
                              <a:pt x="20454" y="31758"/>
                              <a:pt x="20454" y="31698"/>
                            </a:cubicBezTo>
                            <a:cubicBezTo>
                              <a:pt x="20514" y="31638"/>
                              <a:pt x="20574" y="31518"/>
                              <a:pt x="20634" y="31458"/>
                            </a:cubicBezTo>
                            <a:cubicBezTo>
                              <a:pt x="20693" y="31399"/>
                              <a:pt x="20753" y="31279"/>
                              <a:pt x="20813" y="31219"/>
                            </a:cubicBezTo>
                            <a:cubicBezTo>
                              <a:pt x="20873" y="31159"/>
                              <a:pt x="20933" y="31040"/>
                              <a:pt x="20992" y="30980"/>
                            </a:cubicBezTo>
                            <a:cubicBezTo>
                              <a:pt x="21052" y="30920"/>
                              <a:pt x="21112" y="30800"/>
                              <a:pt x="21172" y="30741"/>
                            </a:cubicBezTo>
                            <a:cubicBezTo>
                              <a:pt x="21231" y="30681"/>
                              <a:pt x="21231" y="30621"/>
                              <a:pt x="21291" y="30561"/>
                            </a:cubicBezTo>
                            <a:cubicBezTo>
                              <a:pt x="21351" y="30502"/>
                              <a:pt x="21351" y="30442"/>
                              <a:pt x="21411" y="30382"/>
                            </a:cubicBezTo>
                            <a:cubicBezTo>
                              <a:pt x="21471" y="30322"/>
                              <a:pt x="21471" y="30262"/>
                              <a:pt x="21530" y="30203"/>
                            </a:cubicBezTo>
                            <a:cubicBezTo>
                              <a:pt x="21590" y="30143"/>
                              <a:pt x="21590" y="30083"/>
                              <a:pt x="21650" y="30023"/>
                            </a:cubicBezTo>
                            <a:cubicBezTo>
                              <a:pt x="21770" y="29844"/>
                              <a:pt x="21889" y="29604"/>
                              <a:pt x="22009" y="29425"/>
                            </a:cubicBezTo>
                            <a:cubicBezTo>
                              <a:pt x="22129" y="29245"/>
                              <a:pt x="22248" y="29006"/>
                              <a:pt x="22368" y="28827"/>
                            </a:cubicBezTo>
                            <a:cubicBezTo>
                              <a:pt x="22488" y="28648"/>
                              <a:pt x="22607" y="28408"/>
                              <a:pt x="22727" y="28229"/>
                            </a:cubicBezTo>
                            <a:cubicBezTo>
                              <a:pt x="22846" y="28049"/>
                              <a:pt x="22966" y="27870"/>
                              <a:pt x="23086" y="27631"/>
                            </a:cubicBezTo>
                            <a:cubicBezTo>
                              <a:pt x="23145" y="27571"/>
                              <a:pt x="23145" y="27511"/>
                              <a:pt x="23205" y="27451"/>
                            </a:cubicBezTo>
                            <a:cubicBezTo>
                              <a:pt x="23265" y="27391"/>
                              <a:pt x="23265" y="27332"/>
                              <a:pt x="23325" y="27272"/>
                            </a:cubicBezTo>
                            <a:cubicBezTo>
                              <a:pt x="23384" y="27212"/>
                              <a:pt x="23384" y="27152"/>
                              <a:pt x="23444" y="27092"/>
                            </a:cubicBezTo>
                            <a:cubicBezTo>
                              <a:pt x="23504" y="27033"/>
                              <a:pt x="23504" y="26973"/>
                              <a:pt x="23564" y="26913"/>
                            </a:cubicBezTo>
                            <a:cubicBezTo>
                              <a:pt x="23624" y="26853"/>
                              <a:pt x="23624" y="26794"/>
                              <a:pt x="23683" y="26734"/>
                            </a:cubicBezTo>
                            <a:cubicBezTo>
                              <a:pt x="23743" y="26674"/>
                              <a:pt x="23743" y="26614"/>
                              <a:pt x="23803" y="26554"/>
                            </a:cubicBezTo>
                            <a:cubicBezTo>
                              <a:pt x="23863" y="26495"/>
                              <a:pt x="23863" y="26435"/>
                              <a:pt x="23923" y="26375"/>
                            </a:cubicBezTo>
                            <a:cubicBezTo>
                              <a:pt x="23983" y="26315"/>
                              <a:pt x="23983" y="26255"/>
                              <a:pt x="24042" y="26195"/>
                            </a:cubicBezTo>
                            <a:cubicBezTo>
                              <a:pt x="24042" y="26136"/>
                              <a:pt x="24042" y="26016"/>
                              <a:pt x="23983" y="25956"/>
                            </a:cubicBezTo>
                            <a:cubicBezTo>
                              <a:pt x="23923" y="25896"/>
                              <a:pt x="23923" y="25777"/>
                              <a:pt x="23923" y="25717"/>
                            </a:cubicBezTo>
                            <a:cubicBezTo>
                              <a:pt x="23923" y="25657"/>
                              <a:pt x="23863" y="25537"/>
                              <a:pt x="23863" y="25478"/>
                            </a:cubicBezTo>
                            <a:cubicBezTo>
                              <a:pt x="23863" y="25418"/>
                              <a:pt x="23803" y="25298"/>
                              <a:pt x="23803" y="25238"/>
                            </a:cubicBezTo>
                            <a:cubicBezTo>
                              <a:pt x="23743" y="25358"/>
                              <a:pt x="23683" y="25478"/>
                              <a:pt x="23624" y="25597"/>
                            </a:cubicBezTo>
                            <a:cubicBezTo>
                              <a:pt x="23564" y="25717"/>
                              <a:pt x="23504" y="25836"/>
                              <a:pt x="23444" y="25956"/>
                            </a:cubicBezTo>
                            <a:cubicBezTo>
                              <a:pt x="23384" y="26076"/>
                              <a:pt x="23325" y="26195"/>
                              <a:pt x="23265" y="26315"/>
                            </a:cubicBezTo>
                            <a:cubicBezTo>
                              <a:pt x="23205" y="26435"/>
                              <a:pt x="23145" y="26554"/>
                              <a:pt x="23086" y="26674"/>
                            </a:cubicBezTo>
                            <a:cubicBezTo>
                              <a:pt x="23026" y="26734"/>
                              <a:pt x="23026" y="26794"/>
                              <a:pt x="22966" y="26853"/>
                            </a:cubicBezTo>
                            <a:cubicBezTo>
                              <a:pt x="22906" y="26913"/>
                              <a:pt x="22906" y="26973"/>
                              <a:pt x="22846" y="27033"/>
                            </a:cubicBezTo>
                            <a:cubicBezTo>
                              <a:pt x="22787" y="27092"/>
                              <a:pt x="22787" y="27152"/>
                              <a:pt x="22727" y="27212"/>
                            </a:cubicBezTo>
                            <a:cubicBezTo>
                              <a:pt x="22667" y="27272"/>
                              <a:pt x="22667" y="27332"/>
                              <a:pt x="22607" y="27391"/>
                            </a:cubicBezTo>
                            <a:cubicBezTo>
                              <a:pt x="22488" y="27571"/>
                              <a:pt x="22368" y="27750"/>
                              <a:pt x="22248" y="27990"/>
                            </a:cubicBezTo>
                            <a:cubicBezTo>
                              <a:pt x="22129" y="28169"/>
                              <a:pt x="22009" y="28408"/>
                              <a:pt x="21889" y="28588"/>
                            </a:cubicBezTo>
                            <a:cubicBezTo>
                              <a:pt x="21770" y="28767"/>
                              <a:pt x="21650" y="29006"/>
                              <a:pt x="21530" y="29186"/>
                            </a:cubicBezTo>
                            <a:cubicBezTo>
                              <a:pt x="21411" y="29365"/>
                              <a:pt x="21291" y="29604"/>
                              <a:pt x="21172" y="29784"/>
                            </a:cubicBezTo>
                            <a:cubicBezTo>
                              <a:pt x="21112" y="29844"/>
                              <a:pt x="21112" y="29904"/>
                              <a:pt x="21052" y="29963"/>
                            </a:cubicBezTo>
                            <a:cubicBezTo>
                              <a:pt x="20992" y="30023"/>
                              <a:pt x="20992" y="30083"/>
                              <a:pt x="20933" y="30143"/>
                            </a:cubicBezTo>
                            <a:cubicBezTo>
                              <a:pt x="20873" y="30203"/>
                              <a:pt x="20873" y="30262"/>
                              <a:pt x="20813" y="30322"/>
                            </a:cubicBezTo>
                            <a:cubicBezTo>
                              <a:pt x="20753" y="30382"/>
                              <a:pt x="20753" y="30442"/>
                              <a:pt x="20693" y="30502"/>
                            </a:cubicBezTo>
                            <a:cubicBezTo>
                              <a:pt x="20634" y="30561"/>
                              <a:pt x="20574" y="30681"/>
                              <a:pt x="20514" y="30741"/>
                            </a:cubicBezTo>
                            <a:cubicBezTo>
                              <a:pt x="20454" y="30800"/>
                              <a:pt x="20394" y="30920"/>
                              <a:pt x="20334" y="30980"/>
                            </a:cubicBezTo>
                            <a:cubicBezTo>
                              <a:pt x="20275" y="31040"/>
                              <a:pt x="20215" y="31159"/>
                              <a:pt x="20155" y="31219"/>
                            </a:cubicBezTo>
                            <a:cubicBezTo>
                              <a:pt x="20095" y="31279"/>
                              <a:pt x="20035" y="31399"/>
                              <a:pt x="19975" y="31458"/>
                            </a:cubicBezTo>
                            <a:cubicBezTo>
                              <a:pt x="19916" y="31518"/>
                              <a:pt x="19856" y="31578"/>
                              <a:pt x="19856" y="31638"/>
                            </a:cubicBezTo>
                            <a:cubicBezTo>
                              <a:pt x="19796" y="31698"/>
                              <a:pt x="19736" y="31758"/>
                              <a:pt x="19736" y="31817"/>
                            </a:cubicBezTo>
                            <a:cubicBezTo>
                              <a:pt x="19676" y="31877"/>
                              <a:pt x="19617" y="31937"/>
                              <a:pt x="19617" y="31997"/>
                            </a:cubicBezTo>
                            <a:cubicBezTo>
                              <a:pt x="19557" y="32057"/>
                              <a:pt x="19497" y="32116"/>
                              <a:pt x="19497" y="32176"/>
                            </a:cubicBezTo>
                            <a:cubicBezTo>
                              <a:pt x="19258" y="32475"/>
                              <a:pt x="19019" y="32774"/>
                              <a:pt x="18780" y="33133"/>
                            </a:cubicBezTo>
                            <a:cubicBezTo>
                              <a:pt x="18540" y="33492"/>
                              <a:pt x="18301" y="33791"/>
                              <a:pt x="18062" y="34090"/>
                            </a:cubicBezTo>
                            <a:cubicBezTo>
                              <a:pt x="17822" y="34389"/>
                              <a:pt x="17583" y="34748"/>
                              <a:pt x="17284" y="35047"/>
                            </a:cubicBezTo>
                            <a:cubicBezTo>
                              <a:pt x="16985" y="35346"/>
                              <a:pt x="16806" y="35705"/>
                              <a:pt x="16507" y="36004"/>
                            </a:cubicBezTo>
                            <a:cubicBezTo>
                              <a:pt x="16447" y="36064"/>
                              <a:pt x="16387" y="36123"/>
                              <a:pt x="16387" y="36183"/>
                            </a:cubicBezTo>
                            <a:cubicBezTo>
                              <a:pt x="16387" y="36243"/>
                              <a:pt x="16267" y="36303"/>
                              <a:pt x="16267" y="36363"/>
                            </a:cubicBezTo>
                            <a:cubicBezTo>
                              <a:pt x="16208" y="36422"/>
                              <a:pt x="16148" y="36482"/>
                              <a:pt x="16148" y="36542"/>
                            </a:cubicBezTo>
                            <a:cubicBezTo>
                              <a:pt x="16088" y="36602"/>
                              <a:pt x="16028" y="36661"/>
                              <a:pt x="16028" y="36721"/>
                            </a:cubicBezTo>
                            <a:cubicBezTo>
                              <a:pt x="15550" y="37260"/>
                              <a:pt x="15131" y="37798"/>
                              <a:pt x="14653" y="38396"/>
                            </a:cubicBezTo>
                            <a:cubicBezTo>
                              <a:pt x="14174" y="38934"/>
                              <a:pt x="13696" y="39473"/>
                              <a:pt x="13217" y="40071"/>
                            </a:cubicBezTo>
                            <a:cubicBezTo>
                              <a:pt x="12739" y="40609"/>
                              <a:pt x="12260" y="41147"/>
                              <a:pt x="11782" y="41745"/>
                            </a:cubicBezTo>
                            <a:cubicBezTo>
                              <a:pt x="11304" y="42104"/>
                              <a:pt x="10765" y="42642"/>
                              <a:pt x="10287" y="43240"/>
                            </a:cubicBezTo>
                            <a:moveTo>
                              <a:pt x="9749" y="45872"/>
                            </a:moveTo>
                            <a:lnTo>
                              <a:pt x="10287" y="46231"/>
                            </a:lnTo>
                            <a:cubicBezTo>
                              <a:pt x="10287" y="46231"/>
                              <a:pt x="10287" y="46231"/>
                              <a:pt x="10287" y="46231"/>
                            </a:cubicBezTo>
                            <a:cubicBezTo>
                              <a:pt x="10287" y="46231"/>
                              <a:pt x="10287" y="46231"/>
                              <a:pt x="10287" y="46231"/>
                            </a:cubicBezTo>
                            <a:cubicBezTo>
                              <a:pt x="10287" y="46231"/>
                              <a:pt x="10287" y="46231"/>
                              <a:pt x="10287" y="46231"/>
                            </a:cubicBezTo>
                            <a:cubicBezTo>
                              <a:pt x="10287" y="46231"/>
                              <a:pt x="10287" y="46231"/>
                              <a:pt x="10287" y="46231"/>
                            </a:cubicBezTo>
                            <a:cubicBezTo>
                              <a:pt x="10347" y="46111"/>
                              <a:pt x="10466" y="46051"/>
                              <a:pt x="10526" y="45932"/>
                            </a:cubicBezTo>
                            <a:cubicBezTo>
                              <a:pt x="10586" y="45812"/>
                              <a:pt x="10705" y="45752"/>
                              <a:pt x="10765" y="45633"/>
                            </a:cubicBezTo>
                            <a:cubicBezTo>
                              <a:pt x="10825" y="45513"/>
                              <a:pt x="10944" y="45453"/>
                              <a:pt x="11004" y="45334"/>
                            </a:cubicBezTo>
                            <a:cubicBezTo>
                              <a:pt x="11064" y="45214"/>
                              <a:pt x="11184" y="45154"/>
                              <a:pt x="11244" y="45035"/>
                            </a:cubicBezTo>
                            <a:lnTo>
                              <a:pt x="10705" y="44676"/>
                            </a:lnTo>
                            <a:cubicBezTo>
                              <a:pt x="10645" y="44736"/>
                              <a:pt x="10526" y="44855"/>
                              <a:pt x="10466" y="44915"/>
                            </a:cubicBezTo>
                            <a:cubicBezTo>
                              <a:pt x="10406" y="44975"/>
                              <a:pt x="10287" y="45095"/>
                              <a:pt x="10227" y="45154"/>
                            </a:cubicBezTo>
                            <a:cubicBezTo>
                              <a:pt x="10167" y="45214"/>
                              <a:pt x="10048" y="45334"/>
                              <a:pt x="9988" y="45393"/>
                            </a:cubicBezTo>
                            <a:cubicBezTo>
                              <a:pt x="9928" y="45453"/>
                              <a:pt x="9808" y="45573"/>
                              <a:pt x="9749" y="45633"/>
                            </a:cubicBezTo>
                            <a:cubicBezTo>
                              <a:pt x="9749" y="45633"/>
                              <a:pt x="9749" y="45633"/>
                              <a:pt x="9689" y="45692"/>
                            </a:cubicBezTo>
                            <a:cubicBezTo>
                              <a:pt x="9689" y="45692"/>
                              <a:pt x="9689" y="45692"/>
                              <a:pt x="9629" y="45752"/>
                            </a:cubicBezTo>
                            <a:cubicBezTo>
                              <a:pt x="9808" y="45812"/>
                              <a:pt x="9808" y="45812"/>
                              <a:pt x="9749" y="45872"/>
                            </a:cubicBezTo>
                            <a:cubicBezTo>
                              <a:pt x="9749" y="45872"/>
                              <a:pt x="9749" y="45872"/>
                              <a:pt x="9749" y="45872"/>
                            </a:cubicBezTo>
                            <a:moveTo>
                              <a:pt x="8552" y="45095"/>
                            </a:moveTo>
                            <a:lnTo>
                              <a:pt x="9031" y="45393"/>
                            </a:lnTo>
                            <a:cubicBezTo>
                              <a:pt x="9031" y="45393"/>
                              <a:pt x="9090" y="45334"/>
                              <a:pt x="9090" y="45334"/>
                            </a:cubicBezTo>
                            <a:cubicBezTo>
                              <a:pt x="9090" y="45334"/>
                              <a:pt x="9150" y="45274"/>
                              <a:pt x="9150" y="45274"/>
                            </a:cubicBezTo>
                            <a:cubicBezTo>
                              <a:pt x="9150" y="45274"/>
                              <a:pt x="9210" y="45214"/>
                              <a:pt x="9210" y="45214"/>
                            </a:cubicBezTo>
                            <a:cubicBezTo>
                              <a:pt x="9210" y="45214"/>
                              <a:pt x="9270" y="45154"/>
                              <a:pt x="9270" y="45154"/>
                            </a:cubicBezTo>
                            <a:cubicBezTo>
                              <a:pt x="9330" y="45095"/>
                              <a:pt x="9390" y="44975"/>
                              <a:pt x="9509" y="44915"/>
                            </a:cubicBezTo>
                            <a:cubicBezTo>
                              <a:pt x="9569" y="44855"/>
                              <a:pt x="9629" y="44736"/>
                              <a:pt x="9749" y="44676"/>
                            </a:cubicBezTo>
                            <a:cubicBezTo>
                              <a:pt x="9868" y="44616"/>
                              <a:pt x="9868" y="44496"/>
                              <a:pt x="9988" y="44437"/>
                            </a:cubicBezTo>
                            <a:cubicBezTo>
                              <a:pt x="10107" y="44377"/>
                              <a:pt x="10107" y="44257"/>
                              <a:pt x="10227" y="44197"/>
                            </a:cubicBezTo>
                            <a:lnTo>
                              <a:pt x="9749" y="43898"/>
                            </a:lnTo>
                            <a:cubicBezTo>
                              <a:pt x="9689" y="43958"/>
                              <a:pt x="9629" y="44078"/>
                              <a:pt x="9509" y="44137"/>
                            </a:cubicBezTo>
                            <a:cubicBezTo>
                              <a:pt x="9449" y="44197"/>
                              <a:pt x="9390" y="44317"/>
                              <a:pt x="9270" y="44377"/>
                            </a:cubicBezTo>
                            <a:cubicBezTo>
                              <a:pt x="9210" y="44437"/>
                              <a:pt x="9150" y="44556"/>
                              <a:pt x="9031" y="44616"/>
                            </a:cubicBezTo>
                            <a:cubicBezTo>
                              <a:pt x="8971" y="44676"/>
                              <a:pt x="8911" y="44796"/>
                              <a:pt x="8791" y="44855"/>
                            </a:cubicBezTo>
                            <a:cubicBezTo>
                              <a:pt x="8791" y="44855"/>
                              <a:pt x="8732" y="44915"/>
                              <a:pt x="8732" y="44915"/>
                            </a:cubicBezTo>
                            <a:cubicBezTo>
                              <a:pt x="8732" y="44915"/>
                              <a:pt x="8672" y="44975"/>
                              <a:pt x="8672" y="44975"/>
                            </a:cubicBezTo>
                            <a:cubicBezTo>
                              <a:pt x="8672" y="44975"/>
                              <a:pt x="8612" y="45035"/>
                              <a:pt x="8612" y="45035"/>
                            </a:cubicBezTo>
                            <a:cubicBezTo>
                              <a:pt x="8612" y="45095"/>
                              <a:pt x="8612" y="45095"/>
                              <a:pt x="8552" y="45095"/>
                            </a:cubicBezTo>
                            <a:moveTo>
                              <a:pt x="8194" y="47666"/>
                            </a:moveTo>
                            <a:lnTo>
                              <a:pt x="8732" y="48025"/>
                            </a:lnTo>
                            <a:cubicBezTo>
                              <a:pt x="8791" y="47965"/>
                              <a:pt x="8911" y="47846"/>
                              <a:pt x="8971" y="47786"/>
                            </a:cubicBezTo>
                            <a:cubicBezTo>
                              <a:pt x="9031" y="47726"/>
                              <a:pt x="9150" y="47606"/>
                              <a:pt x="9210" y="47546"/>
                            </a:cubicBezTo>
                            <a:cubicBezTo>
                              <a:pt x="9270" y="47487"/>
                              <a:pt x="9390" y="47367"/>
                              <a:pt x="9449" y="47307"/>
                            </a:cubicBezTo>
                            <a:cubicBezTo>
                              <a:pt x="9509" y="47247"/>
                              <a:pt x="9629" y="47128"/>
                              <a:pt x="9689" y="47068"/>
                            </a:cubicBezTo>
                            <a:lnTo>
                              <a:pt x="9150" y="46709"/>
                            </a:lnTo>
                            <a:cubicBezTo>
                              <a:pt x="9090" y="46769"/>
                              <a:pt x="8971" y="46889"/>
                              <a:pt x="8911" y="46949"/>
                            </a:cubicBezTo>
                            <a:cubicBezTo>
                              <a:pt x="8851" y="47008"/>
                              <a:pt x="8732" y="47128"/>
                              <a:pt x="8672" y="47188"/>
                            </a:cubicBezTo>
                            <a:cubicBezTo>
                              <a:pt x="8612" y="47247"/>
                              <a:pt x="8493" y="47367"/>
                              <a:pt x="8433" y="47427"/>
                            </a:cubicBezTo>
                            <a:cubicBezTo>
                              <a:pt x="8313" y="47487"/>
                              <a:pt x="8253" y="47546"/>
                              <a:pt x="8194" y="47666"/>
                            </a:cubicBezTo>
                            <a:moveTo>
                              <a:pt x="6997" y="46889"/>
                            </a:moveTo>
                            <a:lnTo>
                              <a:pt x="7536" y="47247"/>
                            </a:lnTo>
                            <a:cubicBezTo>
                              <a:pt x="7595" y="47188"/>
                              <a:pt x="7715" y="47068"/>
                              <a:pt x="7775" y="47008"/>
                            </a:cubicBezTo>
                            <a:cubicBezTo>
                              <a:pt x="7835" y="46949"/>
                              <a:pt x="7954" y="46829"/>
                              <a:pt x="8014" y="46769"/>
                            </a:cubicBezTo>
                            <a:cubicBezTo>
                              <a:pt x="8074" y="46709"/>
                              <a:pt x="8194" y="46590"/>
                              <a:pt x="8253" y="46530"/>
                            </a:cubicBezTo>
                            <a:cubicBezTo>
                              <a:pt x="8313" y="46470"/>
                              <a:pt x="8433" y="46351"/>
                              <a:pt x="8493" y="46291"/>
                            </a:cubicBezTo>
                            <a:lnTo>
                              <a:pt x="8014" y="45932"/>
                            </a:lnTo>
                            <a:cubicBezTo>
                              <a:pt x="7954" y="45991"/>
                              <a:pt x="7835" y="46111"/>
                              <a:pt x="7775" y="46171"/>
                            </a:cubicBezTo>
                            <a:cubicBezTo>
                              <a:pt x="7715" y="46231"/>
                              <a:pt x="7595" y="46351"/>
                              <a:pt x="7536" y="46410"/>
                            </a:cubicBezTo>
                            <a:cubicBezTo>
                              <a:pt x="7476" y="46470"/>
                              <a:pt x="7356" y="46590"/>
                              <a:pt x="7296" y="46650"/>
                            </a:cubicBezTo>
                            <a:cubicBezTo>
                              <a:pt x="7117" y="46709"/>
                              <a:pt x="7057" y="46769"/>
                              <a:pt x="6997" y="46889"/>
                            </a:cubicBezTo>
                            <a:moveTo>
                              <a:pt x="0" y="55082"/>
                            </a:moveTo>
                            <a:lnTo>
                              <a:pt x="1674" y="56159"/>
                            </a:lnTo>
                            <a:lnTo>
                              <a:pt x="1973" y="55800"/>
                            </a:lnTo>
                            <a:cubicBezTo>
                              <a:pt x="2153" y="55621"/>
                              <a:pt x="2273" y="55381"/>
                              <a:pt x="2452" y="55202"/>
                            </a:cubicBezTo>
                            <a:cubicBezTo>
                              <a:pt x="2632" y="55022"/>
                              <a:pt x="2751" y="54783"/>
                              <a:pt x="2930" y="54604"/>
                            </a:cubicBezTo>
                            <a:cubicBezTo>
                              <a:pt x="3110" y="54424"/>
                              <a:pt x="3289" y="54185"/>
                              <a:pt x="3409" y="54006"/>
                            </a:cubicBezTo>
                            <a:cubicBezTo>
                              <a:pt x="3588" y="53826"/>
                              <a:pt x="3768" y="53587"/>
                              <a:pt x="3947" y="53408"/>
                            </a:cubicBezTo>
                            <a:cubicBezTo>
                              <a:pt x="4007" y="53348"/>
                              <a:pt x="4067" y="53288"/>
                              <a:pt x="4127" y="53228"/>
                            </a:cubicBezTo>
                            <a:cubicBezTo>
                              <a:pt x="4187" y="53168"/>
                              <a:pt x="4246" y="53108"/>
                              <a:pt x="4306" y="53049"/>
                            </a:cubicBezTo>
                            <a:cubicBezTo>
                              <a:pt x="4366" y="52989"/>
                              <a:pt x="4426" y="52929"/>
                              <a:pt x="4486" y="52869"/>
                            </a:cubicBezTo>
                            <a:cubicBezTo>
                              <a:pt x="4545" y="52810"/>
                              <a:pt x="4605" y="52750"/>
                              <a:pt x="4665" y="52690"/>
                            </a:cubicBezTo>
                            <a:cubicBezTo>
                              <a:pt x="4964" y="52391"/>
                              <a:pt x="5203" y="52032"/>
                              <a:pt x="5502" y="51673"/>
                            </a:cubicBezTo>
                            <a:cubicBezTo>
                              <a:pt x="5801" y="51314"/>
                              <a:pt x="6100" y="51015"/>
                              <a:pt x="6399" y="50657"/>
                            </a:cubicBezTo>
                            <a:cubicBezTo>
                              <a:pt x="6698" y="50298"/>
                              <a:pt x="6997" y="49999"/>
                              <a:pt x="7296" y="49640"/>
                            </a:cubicBezTo>
                            <a:cubicBezTo>
                              <a:pt x="7595" y="49281"/>
                              <a:pt x="7895" y="48982"/>
                              <a:pt x="8194" y="48623"/>
                            </a:cubicBezTo>
                            <a:lnTo>
                              <a:pt x="7655" y="48264"/>
                            </a:lnTo>
                            <a:cubicBezTo>
                              <a:pt x="7356" y="48623"/>
                              <a:pt x="7057" y="48922"/>
                              <a:pt x="6758" y="49281"/>
                            </a:cubicBezTo>
                            <a:cubicBezTo>
                              <a:pt x="6459" y="49640"/>
                              <a:pt x="6160" y="49939"/>
                              <a:pt x="5861" y="50298"/>
                            </a:cubicBezTo>
                            <a:cubicBezTo>
                              <a:pt x="5562" y="50657"/>
                              <a:pt x="5263" y="50955"/>
                              <a:pt x="4964" y="51314"/>
                            </a:cubicBezTo>
                            <a:cubicBezTo>
                              <a:pt x="4665" y="51673"/>
                              <a:pt x="4366" y="51972"/>
                              <a:pt x="4127" y="52331"/>
                            </a:cubicBezTo>
                            <a:cubicBezTo>
                              <a:pt x="4067" y="52391"/>
                              <a:pt x="4007" y="52451"/>
                              <a:pt x="3947" y="52511"/>
                            </a:cubicBezTo>
                            <a:cubicBezTo>
                              <a:pt x="3887" y="52570"/>
                              <a:pt x="3828" y="52630"/>
                              <a:pt x="3768" y="52690"/>
                            </a:cubicBezTo>
                            <a:cubicBezTo>
                              <a:pt x="3708" y="52750"/>
                              <a:pt x="3648" y="52810"/>
                              <a:pt x="3588" y="52869"/>
                            </a:cubicBezTo>
                            <a:cubicBezTo>
                              <a:pt x="3528" y="52929"/>
                              <a:pt x="3469" y="52989"/>
                              <a:pt x="3409" y="53049"/>
                            </a:cubicBezTo>
                            <a:cubicBezTo>
                              <a:pt x="3289" y="53228"/>
                              <a:pt x="3110" y="53408"/>
                              <a:pt x="2990" y="53587"/>
                            </a:cubicBezTo>
                            <a:cubicBezTo>
                              <a:pt x="2871" y="53767"/>
                              <a:pt x="2691" y="53946"/>
                              <a:pt x="2572" y="54125"/>
                            </a:cubicBezTo>
                            <a:cubicBezTo>
                              <a:pt x="2452" y="54305"/>
                              <a:pt x="2273" y="54484"/>
                              <a:pt x="2153" y="54664"/>
                            </a:cubicBezTo>
                            <a:cubicBezTo>
                              <a:pt x="2033" y="54843"/>
                              <a:pt x="1854" y="55022"/>
                              <a:pt x="1734" y="55202"/>
                            </a:cubicBezTo>
                            <a:lnTo>
                              <a:pt x="1017" y="54783"/>
                            </a:lnTo>
                            <a:cubicBezTo>
                              <a:pt x="1136" y="54604"/>
                              <a:pt x="1316" y="54424"/>
                              <a:pt x="1435" y="54245"/>
                            </a:cubicBezTo>
                            <a:cubicBezTo>
                              <a:pt x="1555" y="54066"/>
                              <a:pt x="1734" y="53886"/>
                              <a:pt x="1854" y="53707"/>
                            </a:cubicBezTo>
                            <a:cubicBezTo>
                              <a:pt x="1973" y="53527"/>
                              <a:pt x="2153" y="53348"/>
                              <a:pt x="2273" y="53168"/>
                            </a:cubicBezTo>
                            <a:cubicBezTo>
                              <a:pt x="2392" y="52989"/>
                              <a:pt x="2572" y="52810"/>
                              <a:pt x="2691" y="52630"/>
                            </a:cubicBezTo>
                            <a:cubicBezTo>
                              <a:pt x="2751" y="52570"/>
                              <a:pt x="2811" y="52511"/>
                              <a:pt x="2871" y="52451"/>
                            </a:cubicBezTo>
                            <a:cubicBezTo>
                              <a:pt x="2930" y="52391"/>
                              <a:pt x="2990" y="52331"/>
                              <a:pt x="3050" y="52271"/>
                            </a:cubicBezTo>
                            <a:cubicBezTo>
                              <a:pt x="3110" y="52212"/>
                              <a:pt x="3170" y="52152"/>
                              <a:pt x="3229" y="52092"/>
                            </a:cubicBezTo>
                            <a:cubicBezTo>
                              <a:pt x="3289" y="52032"/>
                              <a:pt x="3349" y="51972"/>
                              <a:pt x="3409" y="51913"/>
                            </a:cubicBezTo>
                            <a:cubicBezTo>
                              <a:pt x="3708" y="51554"/>
                              <a:pt x="3947" y="51254"/>
                              <a:pt x="4246" y="50896"/>
                            </a:cubicBezTo>
                            <a:cubicBezTo>
                              <a:pt x="4545" y="50537"/>
                              <a:pt x="4844" y="50238"/>
                              <a:pt x="5143" y="49879"/>
                            </a:cubicBezTo>
                            <a:cubicBezTo>
                              <a:pt x="5442" y="49520"/>
                              <a:pt x="5741" y="49221"/>
                              <a:pt x="6041" y="48862"/>
                            </a:cubicBezTo>
                            <a:cubicBezTo>
                              <a:pt x="6340" y="48504"/>
                              <a:pt x="6639" y="48205"/>
                              <a:pt x="6937" y="47846"/>
                            </a:cubicBezTo>
                            <a:lnTo>
                              <a:pt x="6399" y="47487"/>
                            </a:lnTo>
                            <a:cubicBezTo>
                              <a:pt x="6100" y="47846"/>
                              <a:pt x="5801" y="48145"/>
                              <a:pt x="5502" y="48504"/>
                            </a:cubicBezTo>
                            <a:cubicBezTo>
                              <a:pt x="5203" y="48862"/>
                              <a:pt x="4904" y="49161"/>
                              <a:pt x="4605" y="49520"/>
                            </a:cubicBezTo>
                            <a:cubicBezTo>
                              <a:pt x="4306" y="49879"/>
                              <a:pt x="4007" y="50178"/>
                              <a:pt x="3708" y="50537"/>
                            </a:cubicBezTo>
                            <a:cubicBezTo>
                              <a:pt x="3409" y="50896"/>
                              <a:pt x="3110" y="51195"/>
                              <a:pt x="2871" y="51554"/>
                            </a:cubicBezTo>
                            <a:cubicBezTo>
                              <a:pt x="2811" y="51613"/>
                              <a:pt x="2751" y="51673"/>
                              <a:pt x="2691" y="51733"/>
                            </a:cubicBezTo>
                            <a:cubicBezTo>
                              <a:pt x="2632" y="51793"/>
                              <a:pt x="2572" y="51853"/>
                              <a:pt x="2512" y="51913"/>
                            </a:cubicBezTo>
                            <a:cubicBezTo>
                              <a:pt x="2452" y="51972"/>
                              <a:pt x="2392" y="52032"/>
                              <a:pt x="2333" y="52092"/>
                            </a:cubicBezTo>
                            <a:cubicBezTo>
                              <a:pt x="2273" y="52152"/>
                              <a:pt x="2213" y="52212"/>
                              <a:pt x="2153" y="52271"/>
                            </a:cubicBezTo>
                            <a:cubicBezTo>
                              <a:pt x="1973" y="52451"/>
                              <a:pt x="1794" y="52690"/>
                              <a:pt x="1615" y="52869"/>
                            </a:cubicBezTo>
                            <a:cubicBezTo>
                              <a:pt x="1435" y="53049"/>
                              <a:pt x="1256" y="53288"/>
                              <a:pt x="1136" y="53467"/>
                            </a:cubicBezTo>
                            <a:cubicBezTo>
                              <a:pt x="957" y="53647"/>
                              <a:pt x="778" y="53886"/>
                              <a:pt x="658" y="54066"/>
                            </a:cubicBezTo>
                            <a:cubicBezTo>
                              <a:pt x="478" y="54245"/>
                              <a:pt x="359" y="54484"/>
                              <a:pt x="179" y="54664"/>
                            </a:cubicBezTo>
                            <a:lnTo>
                              <a:pt x="0" y="55082"/>
                            </a:lnTo>
                          </a:path>
                        </a:pathLst>
                      </a:custGeom>
                      <a:noFill/>
                      <a:ln w="6350" cap="flat">
                        <a:solidFill>
                          <a:schemeClr val="bg1">
                            <a:alpha val="40000"/>
                          </a:schemeClr>
                        </a:solidFill>
                        <a:prstDash val="solid"/>
                        <a:miter/>
                      </a:ln>
                    </p:spPr>
                    <p:txBody>
                      <a:bodyPr rtlCol="0" anchor="ctr"/>
                      <a:lstStyle/>
                      <a:p>
                        <a:endParaRPr lang="en-GB"/>
                      </a:p>
                    </p:txBody>
                  </p:sp>
                  <p:sp>
                    <p:nvSpPr>
                      <p:cNvPr id="7425" name="Vrije vorm: vorm 7424">
                        <a:extLst>
                          <a:ext uri="{FF2B5EF4-FFF2-40B4-BE49-F238E27FC236}">
                            <a16:creationId xmlns:a16="http://schemas.microsoft.com/office/drawing/2014/main" id="{E713BCDA-F22E-40B0-9B16-78AF51EE3400}"/>
                          </a:ext>
                        </a:extLst>
                      </p:cNvPr>
                      <p:cNvSpPr/>
                      <p:nvPr/>
                    </p:nvSpPr>
                    <p:spPr>
                      <a:xfrm>
                        <a:off x="5357072" y="5508344"/>
                        <a:ext cx="24607" cy="54185"/>
                      </a:xfrm>
                      <a:custGeom>
                        <a:avLst/>
                        <a:gdLst>
                          <a:gd name="connsiteX0" fmla="*/ 10167 w 24607"/>
                          <a:gd name="connsiteY0" fmla="*/ 4725 h 54185"/>
                          <a:gd name="connsiteX1" fmla="*/ 10765 w 24607"/>
                          <a:gd name="connsiteY1" fmla="*/ 4007 h 54185"/>
                          <a:gd name="connsiteX2" fmla="*/ 10107 w 24607"/>
                          <a:gd name="connsiteY2" fmla="*/ 3529 h 54185"/>
                          <a:gd name="connsiteX3" fmla="*/ 9449 w 24607"/>
                          <a:gd name="connsiteY3" fmla="*/ 3050 h 54185"/>
                          <a:gd name="connsiteX4" fmla="*/ 8732 w 24607"/>
                          <a:gd name="connsiteY4" fmla="*/ 2572 h 54185"/>
                          <a:gd name="connsiteX5" fmla="*/ 8014 w 24607"/>
                          <a:gd name="connsiteY5" fmla="*/ 2093 h 54185"/>
                          <a:gd name="connsiteX6" fmla="*/ 8791 w 24607"/>
                          <a:gd name="connsiteY6" fmla="*/ 1136 h 54185"/>
                          <a:gd name="connsiteX7" fmla="*/ 9509 w 24607"/>
                          <a:gd name="connsiteY7" fmla="*/ 1615 h 54185"/>
                          <a:gd name="connsiteX8" fmla="*/ 10227 w 24607"/>
                          <a:gd name="connsiteY8" fmla="*/ 2093 h 54185"/>
                          <a:gd name="connsiteX9" fmla="*/ 10885 w 24607"/>
                          <a:gd name="connsiteY9" fmla="*/ 2572 h 54185"/>
                          <a:gd name="connsiteX10" fmla="*/ 11543 w 24607"/>
                          <a:gd name="connsiteY10" fmla="*/ 3050 h 54185"/>
                          <a:gd name="connsiteX11" fmla="*/ 12141 w 24607"/>
                          <a:gd name="connsiteY11" fmla="*/ 2333 h 54185"/>
                          <a:gd name="connsiteX12" fmla="*/ 11423 w 24607"/>
                          <a:gd name="connsiteY12" fmla="*/ 1794 h 54185"/>
                          <a:gd name="connsiteX13" fmla="*/ 10645 w 24607"/>
                          <a:gd name="connsiteY13" fmla="*/ 1256 h 54185"/>
                          <a:gd name="connsiteX14" fmla="*/ 9868 w 24607"/>
                          <a:gd name="connsiteY14" fmla="*/ 718 h 54185"/>
                          <a:gd name="connsiteX15" fmla="*/ 9090 w 24607"/>
                          <a:gd name="connsiteY15" fmla="*/ 180 h 54185"/>
                          <a:gd name="connsiteX16" fmla="*/ 8851 w 24607"/>
                          <a:gd name="connsiteY16" fmla="*/ 0 h 54185"/>
                          <a:gd name="connsiteX17" fmla="*/ 8373 w 24607"/>
                          <a:gd name="connsiteY17" fmla="*/ 598 h 54185"/>
                          <a:gd name="connsiteX18" fmla="*/ 6878 w 24607"/>
                          <a:gd name="connsiteY18" fmla="*/ 2452 h 54185"/>
                          <a:gd name="connsiteX19" fmla="*/ 7117 w 24607"/>
                          <a:gd name="connsiteY19" fmla="*/ 2632 h 54185"/>
                          <a:gd name="connsiteX20" fmla="*/ 7895 w 24607"/>
                          <a:gd name="connsiteY20" fmla="*/ 3170 h 54185"/>
                          <a:gd name="connsiteX21" fmla="*/ 8672 w 24607"/>
                          <a:gd name="connsiteY21" fmla="*/ 3708 h 54185"/>
                          <a:gd name="connsiteX22" fmla="*/ 9449 w 24607"/>
                          <a:gd name="connsiteY22" fmla="*/ 4246 h 54185"/>
                          <a:gd name="connsiteX23" fmla="*/ 10167 w 24607"/>
                          <a:gd name="connsiteY23" fmla="*/ 4725 h 54185"/>
                          <a:gd name="connsiteX24" fmla="*/ 12858 w 24607"/>
                          <a:gd name="connsiteY24" fmla="*/ 39891 h 54185"/>
                          <a:gd name="connsiteX25" fmla="*/ 13397 w 24607"/>
                          <a:gd name="connsiteY25" fmla="*/ 40250 h 54185"/>
                          <a:gd name="connsiteX26" fmla="*/ 14892 w 24607"/>
                          <a:gd name="connsiteY26" fmla="*/ 38516 h 54185"/>
                          <a:gd name="connsiteX27" fmla="*/ 16267 w 24607"/>
                          <a:gd name="connsiteY27" fmla="*/ 36782 h 54185"/>
                          <a:gd name="connsiteX28" fmla="*/ 17583 w 24607"/>
                          <a:gd name="connsiteY28" fmla="*/ 35107 h 54185"/>
                          <a:gd name="connsiteX29" fmla="*/ 18839 w 24607"/>
                          <a:gd name="connsiteY29" fmla="*/ 33492 h 54185"/>
                          <a:gd name="connsiteX30" fmla="*/ 18959 w 24607"/>
                          <a:gd name="connsiteY30" fmla="*/ 33313 h 54185"/>
                          <a:gd name="connsiteX31" fmla="*/ 19079 w 24607"/>
                          <a:gd name="connsiteY31" fmla="*/ 33133 h 54185"/>
                          <a:gd name="connsiteX32" fmla="*/ 19198 w 24607"/>
                          <a:gd name="connsiteY32" fmla="*/ 32954 h 54185"/>
                          <a:gd name="connsiteX33" fmla="*/ 19318 w 24607"/>
                          <a:gd name="connsiteY33" fmla="*/ 32774 h 54185"/>
                          <a:gd name="connsiteX34" fmla="*/ 20035 w 24607"/>
                          <a:gd name="connsiteY34" fmla="*/ 31758 h 54185"/>
                          <a:gd name="connsiteX35" fmla="*/ 20693 w 24607"/>
                          <a:gd name="connsiteY35" fmla="*/ 30741 h 54185"/>
                          <a:gd name="connsiteX36" fmla="*/ 21291 w 24607"/>
                          <a:gd name="connsiteY36" fmla="*/ 29724 h 54185"/>
                          <a:gd name="connsiteX37" fmla="*/ 21889 w 24607"/>
                          <a:gd name="connsiteY37" fmla="*/ 28707 h 54185"/>
                          <a:gd name="connsiteX38" fmla="*/ 22009 w 24607"/>
                          <a:gd name="connsiteY38" fmla="*/ 28528 h 54185"/>
                          <a:gd name="connsiteX39" fmla="*/ 22128 w 24607"/>
                          <a:gd name="connsiteY39" fmla="*/ 28349 h 54185"/>
                          <a:gd name="connsiteX40" fmla="*/ 22248 w 24607"/>
                          <a:gd name="connsiteY40" fmla="*/ 28169 h 54185"/>
                          <a:gd name="connsiteX41" fmla="*/ 22368 w 24607"/>
                          <a:gd name="connsiteY41" fmla="*/ 27990 h 54185"/>
                          <a:gd name="connsiteX42" fmla="*/ 22488 w 24607"/>
                          <a:gd name="connsiteY42" fmla="*/ 27691 h 54185"/>
                          <a:gd name="connsiteX43" fmla="*/ 22607 w 24607"/>
                          <a:gd name="connsiteY43" fmla="*/ 27392 h 54185"/>
                          <a:gd name="connsiteX44" fmla="*/ 22727 w 24607"/>
                          <a:gd name="connsiteY44" fmla="*/ 27093 h 54185"/>
                          <a:gd name="connsiteX45" fmla="*/ 22846 w 24607"/>
                          <a:gd name="connsiteY45" fmla="*/ 26794 h 54185"/>
                          <a:gd name="connsiteX46" fmla="*/ 22966 w 24607"/>
                          <a:gd name="connsiteY46" fmla="*/ 26554 h 54185"/>
                          <a:gd name="connsiteX47" fmla="*/ 23086 w 24607"/>
                          <a:gd name="connsiteY47" fmla="*/ 26315 h 54185"/>
                          <a:gd name="connsiteX48" fmla="*/ 23205 w 24607"/>
                          <a:gd name="connsiteY48" fmla="*/ 26076 h 54185"/>
                          <a:gd name="connsiteX49" fmla="*/ 23265 w 24607"/>
                          <a:gd name="connsiteY49" fmla="*/ 25837 h 54185"/>
                          <a:gd name="connsiteX50" fmla="*/ 23504 w 24607"/>
                          <a:gd name="connsiteY50" fmla="*/ 25179 h 54185"/>
                          <a:gd name="connsiteX51" fmla="*/ 23743 w 24607"/>
                          <a:gd name="connsiteY51" fmla="*/ 24521 h 54185"/>
                          <a:gd name="connsiteX52" fmla="*/ 23923 w 24607"/>
                          <a:gd name="connsiteY52" fmla="*/ 23863 h 54185"/>
                          <a:gd name="connsiteX53" fmla="*/ 24102 w 24607"/>
                          <a:gd name="connsiteY53" fmla="*/ 23205 h 54185"/>
                          <a:gd name="connsiteX54" fmla="*/ 24162 w 24607"/>
                          <a:gd name="connsiteY54" fmla="*/ 22966 h 54185"/>
                          <a:gd name="connsiteX55" fmla="*/ 24222 w 24607"/>
                          <a:gd name="connsiteY55" fmla="*/ 22727 h 54185"/>
                          <a:gd name="connsiteX56" fmla="*/ 24282 w 24607"/>
                          <a:gd name="connsiteY56" fmla="*/ 22488 h 54185"/>
                          <a:gd name="connsiteX57" fmla="*/ 24342 w 24607"/>
                          <a:gd name="connsiteY57" fmla="*/ 22248 h 54185"/>
                          <a:gd name="connsiteX58" fmla="*/ 24401 w 24607"/>
                          <a:gd name="connsiteY58" fmla="*/ 22009 h 54185"/>
                          <a:gd name="connsiteX59" fmla="*/ 24461 w 24607"/>
                          <a:gd name="connsiteY59" fmla="*/ 21770 h 54185"/>
                          <a:gd name="connsiteX60" fmla="*/ 24521 w 24607"/>
                          <a:gd name="connsiteY60" fmla="*/ 21530 h 54185"/>
                          <a:gd name="connsiteX61" fmla="*/ 24521 w 24607"/>
                          <a:gd name="connsiteY61" fmla="*/ 21291 h 54185"/>
                          <a:gd name="connsiteX62" fmla="*/ 24581 w 24607"/>
                          <a:gd name="connsiteY62" fmla="*/ 20813 h 54185"/>
                          <a:gd name="connsiteX63" fmla="*/ 24581 w 24607"/>
                          <a:gd name="connsiteY63" fmla="*/ 20335 h 54185"/>
                          <a:gd name="connsiteX64" fmla="*/ 24581 w 24607"/>
                          <a:gd name="connsiteY64" fmla="*/ 19856 h 54185"/>
                          <a:gd name="connsiteX65" fmla="*/ 24581 w 24607"/>
                          <a:gd name="connsiteY65" fmla="*/ 19377 h 54185"/>
                          <a:gd name="connsiteX66" fmla="*/ 24581 w 24607"/>
                          <a:gd name="connsiteY66" fmla="*/ 19079 h 54185"/>
                          <a:gd name="connsiteX67" fmla="*/ 24581 w 24607"/>
                          <a:gd name="connsiteY67" fmla="*/ 18780 h 54185"/>
                          <a:gd name="connsiteX68" fmla="*/ 24521 w 24607"/>
                          <a:gd name="connsiteY68" fmla="*/ 18481 h 54185"/>
                          <a:gd name="connsiteX69" fmla="*/ 24461 w 24607"/>
                          <a:gd name="connsiteY69" fmla="*/ 18181 h 54185"/>
                          <a:gd name="connsiteX70" fmla="*/ 24461 w 24607"/>
                          <a:gd name="connsiteY70" fmla="*/ 18122 h 54185"/>
                          <a:gd name="connsiteX71" fmla="*/ 24461 w 24607"/>
                          <a:gd name="connsiteY71" fmla="*/ 18062 h 54185"/>
                          <a:gd name="connsiteX72" fmla="*/ 24461 w 24607"/>
                          <a:gd name="connsiteY72" fmla="*/ 18002 h 54185"/>
                          <a:gd name="connsiteX73" fmla="*/ 24461 w 24607"/>
                          <a:gd name="connsiteY73" fmla="*/ 17942 h 54185"/>
                          <a:gd name="connsiteX74" fmla="*/ 24401 w 24607"/>
                          <a:gd name="connsiteY74" fmla="*/ 17643 h 54185"/>
                          <a:gd name="connsiteX75" fmla="*/ 24342 w 24607"/>
                          <a:gd name="connsiteY75" fmla="*/ 17344 h 54185"/>
                          <a:gd name="connsiteX76" fmla="*/ 24282 w 24607"/>
                          <a:gd name="connsiteY76" fmla="*/ 17045 h 54185"/>
                          <a:gd name="connsiteX77" fmla="*/ 24222 w 24607"/>
                          <a:gd name="connsiteY77" fmla="*/ 16746 h 54185"/>
                          <a:gd name="connsiteX78" fmla="*/ 24102 w 24607"/>
                          <a:gd name="connsiteY78" fmla="*/ 16387 h 54185"/>
                          <a:gd name="connsiteX79" fmla="*/ 23983 w 24607"/>
                          <a:gd name="connsiteY79" fmla="*/ 16028 h 54185"/>
                          <a:gd name="connsiteX80" fmla="*/ 23863 w 24607"/>
                          <a:gd name="connsiteY80" fmla="*/ 15669 h 54185"/>
                          <a:gd name="connsiteX81" fmla="*/ 23743 w 24607"/>
                          <a:gd name="connsiteY81" fmla="*/ 15311 h 54185"/>
                          <a:gd name="connsiteX82" fmla="*/ 23624 w 24607"/>
                          <a:gd name="connsiteY82" fmla="*/ 15072 h 54185"/>
                          <a:gd name="connsiteX83" fmla="*/ 23504 w 24607"/>
                          <a:gd name="connsiteY83" fmla="*/ 14832 h 54185"/>
                          <a:gd name="connsiteX84" fmla="*/ 23384 w 24607"/>
                          <a:gd name="connsiteY84" fmla="*/ 14593 h 54185"/>
                          <a:gd name="connsiteX85" fmla="*/ 23265 w 24607"/>
                          <a:gd name="connsiteY85" fmla="*/ 14354 h 54185"/>
                          <a:gd name="connsiteX86" fmla="*/ 22966 w 24607"/>
                          <a:gd name="connsiteY86" fmla="*/ 13756 h 54185"/>
                          <a:gd name="connsiteX87" fmla="*/ 22667 w 24607"/>
                          <a:gd name="connsiteY87" fmla="*/ 13158 h 54185"/>
                          <a:gd name="connsiteX88" fmla="*/ 22308 w 24607"/>
                          <a:gd name="connsiteY88" fmla="*/ 12559 h 54185"/>
                          <a:gd name="connsiteX89" fmla="*/ 21949 w 24607"/>
                          <a:gd name="connsiteY89" fmla="*/ 11961 h 54185"/>
                          <a:gd name="connsiteX90" fmla="*/ 21770 w 24607"/>
                          <a:gd name="connsiteY90" fmla="*/ 11722 h 54185"/>
                          <a:gd name="connsiteX91" fmla="*/ 21590 w 24607"/>
                          <a:gd name="connsiteY91" fmla="*/ 11483 h 54185"/>
                          <a:gd name="connsiteX92" fmla="*/ 21411 w 24607"/>
                          <a:gd name="connsiteY92" fmla="*/ 11244 h 54185"/>
                          <a:gd name="connsiteX93" fmla="*/ 21231 w 24607"/>
                          <a:gd name="connsiteY93" fmla="*/ 11005 h 54185"/>
                          <a:gd name="connsiteX94" fmla="*/ 20933 w 24607"/>
                          <a:gd name="connsiteY94" fmla="*/ 10646 h 54185"/>
                          <a:gd name="connsiteX95" fmla="*/ 20633 w 24607"/>
                          <a:gd name="connsiteY95" fmla="*/ 10287 h 54185"/>
                          <a:gd name="connsiteX96" fmla="*/ 20334 w 24607"/>
                          <a:gd name="connsiteY96" fmla="*/ 9928 h 54185"/>
                          <a:gd name="connsiteX97" fmla="*/ 20035 w 24607"/>
                          <a:gd name="connsiteY97" fmla="*/ 9569 h 54185"/>
                          <a:gd name="connsiteX98" fmla="*/ 19736 w 24607"/>
                          <a:gd name="connsiteY98" fmla="*/ 9210 h 54185"/>
                          <a:gd name="connsiteX99" fmla="*/ 19437 w 24607"/>
                          <a:gd name="connsiteY99" fmla="*/ 8851 h 54185"/>
                          <a:gd name="connsiteX100" fmla="*/ 19138 w 24607"/>
                          <a:gd name="connsiteY100" fmla="*/ 8493 h 54185"/>
                          <a:gd name="connsiteX101" fmla="*/ 18839 w 24607"/>
                          <a:gd name="connsiteY101" fmla="*/ 8134 h 54185"/>
                          <a:gd name="connsiteX102" fmla="*/ 18540 w 24607"/>
                          <a:gd name="connsiteY102" fmla="*/ 7835 h 54185"/>
                          <a:gd name="connsiteX103" fmla="*/ 18241 w 24607"/>
                          <a:gd name="connsiteY103" fmla="*/ 7536 h 54185"/>
                          <a:gd name="connsiteX104" fmla="*/ 17882 w 24607"/>
                          <a:gd name="connsiteY104" fmla="*/ 7237 h 54185"/>
                          <a:gd name="connsiteX105" fmla="*/ 17523 w 24607"/>
                          <a:gd name="connsiteY105" fmla="*/ 6938 h 54185"/>
                          <a:gd name="connsiteX106" fmla="*/ 16387 w 24607"/>
                          <a:gd name="connsiteY106" fmla="*/ 5921 h 54185"/>
                          <a:gd name="connsiteX107" fmla="*/ 15191 w 24607"/>
                          <a:gd name="connsiteY107" fmla="*/ 4904 h 54185"/>
                          <a:gd name="connsiteX108" fmla="*/ 13875 w 24607"/>
                          <a:gd name="connsiteY108" fmla="*/ 3828 h 54185"/>
                          <a:gd name="connsiteX109" fmla="*/ 12500 w 24607"/>
                          <a:gd name="connsiteY109" fmla="*/ 2751 h 54185"/>
                          <a:gd name="connsiteX110" fmla="*/ 11902 w 24607"/>
                          <a:gd name="connsiteY110" fmla="*/ 3469 h 54185"/>
                          <a:gd name="connsiteX111" fmla="*/ 14114 w 24607"/>
                          <a:gd name="connsiteY111" fmla="*/ 5203 h 54185"/>
                          <a:gd name="connsiteX112" fmla="*/ 16088 w 24607"/>
                          <a:gd name="connsiteY112" fmla="*/ 6878 h 54185"/>
                          <a:gd name="connsiteX113" fmla="*/ 17822 w 24607"/>
                          <a:gd name="connsiteY113" fmla="*/ 8552 h 54185"/>
                          <a:gd name="connsiteX114" fmla="*/ 19318 w 24607"/>
                          <a:gd name="connsiteY114" fmla="*/ 10167 h 54185"/>
                          <a:gd name="connsiteX115" fmla="*/ 19557 w 24607"/>
                          <a:gd name="connsiteY115" fmla="*/ 10466 h 54185"/>
                          <a:gd name="connsiteX116" fmla="*/ 19796 w 24607"/>
                          <a:gd name="connsiteY116" fmla="*/ 10705 h 54185"/>
                          <a:gd name="connsiteX117" fmla="*/ 20035 w 24607"/>
                          <a:gd name="connsiteY117" fmla="*/ 10945 h 54185"/>
                          <a:gd name="connsiteX118" fmla="*/ 20274 w 24607"/>
                          <a:gd name="connsiteY118" fmla="*/ 11184 h 54185"/>
                          <a:gd name="connsiteX119" fmla="*/ 20514 w 24607"/>
                          <a:gd name="connsiteY119" fmla="*/ 11483 h 54185"/>
                          <a:gd name="connsiteX120" fmla="*/ 20753 w 24607"/>
                          <a:gd name="connsiteY120" fmla="*/ 11782 h 54185"/>
                          <a:gd name="connsiteX121" fmla="*/ 20992 w 24607"/>
                          <a:gd name="connsiteY121" fmla="*/ 12081 h 54185"/>
                          <a:gd name="connsiteX122" fmla="*/ 21231 w 24607"/>
                          <a:gd name="connsiteY122" fmla="*/ 12380 h 54185"/>
                          <a:gd name="connsiteX123" fmla="*/ 21351 w 24607"/>
                          <a:gd name="connsiteY123" fmla="*/ 12619 h 54185"/>
                          <a:gd name="connsiteX124" fmla="*/ 21471 w 24607"/>
                          <a:gd name="connsiteY124" fmla="*/ 12859 h 54185"/>
                          <a:gd name="connsiteX125" fmla="*/ 21590 w 24607"/>
                          <a:gd name="connsiteY125" fmla="*/ 13098 h 54185"/>
                          <a:gd name="connsiteX126" fmla="*/ 21710 w 24607"/>
                          <a:gd name="connsiteY126" fmla="*/ 13337 h 54185"/>
                          <a:gd name="connsiteX127" fmla="*/ 22069 w 24607"/>
                          <a:gd name="connsiteY127" fmla="*/ 13935 h 54185"/>
                          <a:gd name="connsiteX128" fmla="*/ 22368 w 24607"/>
                          <a:gd name="connsiteY128" fmla="*/ 14533 h 54185"/>
                          <a:gd name="connsiteX129" fmla="*/ 22667 w 24607"/>
                          <a:gd name="connsiteY129" fmla="*/ 15131 h 54185"/>
                          <a:gd name="connsiteX130" fmla="*/ 22906 w 24607"/>
                          <a:gd name="connsiteY130" fmla="*/ 15729 h 54185"/>
                          <a:gd name="connsiteX131" fmla="*/ 23026 w 24607"/>
                          <a:gd name="connsiteY131" fmla="*/ 15968 h 54185"/>
                          <a:gd name="connsiteX132" fmla="*/ 23086 w 24607"/>
                          <a:gd name="connsiteY132" fmla="*/ 16208 h 54185"/>
                          <a:gd name="connsiteX133" fmla="*/ 23145 w 24607"/>
                          <a:gd name="connsiteY133" fmla="*/ 16447 h 54185"/>
                          <a:gd name="connsiteX134" fmla="*/ 23205 w 24607"/>
                          <a:gd name="connsiteY134" fmla="*/ 16686 h 54185"/>
                          <a:gd name="connsiteX135" fmla="*/ 23265 w 24607"/>
                          <a:gd name="connsiteY135" fmla="*/ 16926 h 54185"/>
                          <a:gd name="connsiteX136" fmla="*/ 23325 w 24607"/>
                          <a:gd name="connsiteY136" fmla="*/ 17165 h 54185"/>
                          <a:gd name="connsiteX137" fmla="*/ 23384 w 24607"/>
                          <a:gd name="connsiteY137" fmla="*/ 17404 h 54185"/>
                          <a:gd name="connsiteX138" fmla="*/ 23444 w 24607"/>
                          <a:gd name="connsiteY138" fmla="*/ 17643 h 54185"/>
                          <a:gd name="connsiteX139" fmla="*/ 23444 w 24607"/>
                          <a:gd name="connsiteY139" fmla="*/ 17763 h 54185"/>
                          <a:gd name="connsiteX140" fmla="*/ 23444 w 24607"/>
                          <a:gd name="connsiteY140" fmla="*/ 17882 h 54185"/>
                          <a:gd name="connsiteX141" fmla="*/ 23444 w 24607"/>
                          <a:gd name="connsiteY141" fmla="*/ 18002 h 54185"/>
                          <a:gd name="connsiteX142" fmla="*/ 23444 w 24607"/>
                          <a:gd name="connsiteY142" fmla="*/ 18122 h 54185"/>
                          <a:gd name="connsiteX143" fmla="*/ 23504 w 24607"/>
                          <a:gd name="connsiteY143" fmla="*/ 18421 h 54185"/>
                          <a:gd name="connsiteX144" fmla="*/ 23564 w 24607"/>
                          <a:gd name="connsiteY144" fmla="*/ 18720 h 54185"/>
                          <a:gd name="connsiteX145" fmla="*/ 23624 w 24607"/>
                          <a:gd name="connsiteY145" fmla="*/ 19019 h 54185"/>
                          <a:gd name="connsiteX146" fmla="*/ 23624 w 24607"/>
                          <a:gd name="connsiteY146" fmla="*/ 19318 h 54185"/>
                          <a:gd name="connsiteX147" fmla="*/ 23683 w 24607"/>
                          <a:gd name="connsiteY147" fmla="*/ 19856 h 54185"/>
                          <a:gd name="connsiteX148" fmla="*/ 23683 w 24607"/>
                          <a:gd name="connsiteY148" fmla="*/ 20394 h 54185"/>
                          <a:gd name="connsiteX149" fmla="*/ 23683 w 24607"/>
                          <a:gd name="connsiteY149" fmla="*/ 20933 h 54185"/>
                          <a:gd name="connsiteX150" fmla="*/ 23624 w 24607"/>
                          <a:gd name="connsiteY150" fmla="*/ 21530 h 54185"/>
                          <a:gd name="connsiteX151" fmla="*/ 23624 w 24607"/>
                          <a:gd name="connsiteY151" fmla="*/ 21590 h 54185"/>
                          <a:gd name="connsiteX152" fmla="*/ 23624 w 24607"/>
                          <a:gd name="connsiteY152" fmla="*/ 21650 h 54185"/>
                          <a:gd name="connsiteX153" fmla="*/ 23624 w 24607"/>
                          <a:gd name="connsiteY153" fmla="*/ 21710 h 54185"/>
                          <a:gd name="connsiteX154" fmla="*/ 23624 w 24607"/>
                          <a:gd name="connsiteY154" fmla="*/ 21770 h 54185"/>
                          <a:gd name="connsiteX155" fmla="*/ 23564 w 24607"/>
                          <a:gd name="connsiteY155" fmla="*/ 22009 h 54185"/>
                          <a:gd name="connsiteX156" fmla="*/ 23504 w 24607"/>
                          <a:gd name="connsiteY156" fmla="*/ 22248 h 54185"/>
                          <a:gd name="connsiteX157" fmla="*/ 23444 w 24607"/>
                          <a:gd name="connsiteY157" fmla="*/ 22488 h 54185"/>
                          <a:gd name="connsiteX158" fmla="*/ 23384 w 24607"/>
                          <a:gd name="connsiteY158" fmla="*/ 22727 h 54185"/>
                          <a:gd name="connsiteX159" fmla="*/ 23205 w 24607"/>
                          <a:gd name="connsiteY159" fmla="*/ 23385 h 54185"/>
                          <a:gd name="connsiteX160" fmla="*/ 23026 w 24607"/>
                          <a:gd name="connsiteY160" fmla="*/ 24102 h 54185"/>
                          <a:gd name="connsiteX161" fmla="*/ 22787 w 24607"/>
                          <a:gd name="connsiteY161" fmla="*/ 24820 h 54185"/>
                          <a:gd name="connsiteX162" fmla="*/ 22547 w 24607"/>
                          <a:gd name="connsiteY162" fmla="*/ 25538 h 54185"/>
                          <a:gd name="connsiteX163" fmla="*/ 22488 w 24607"/>
                          <a:gd name="connsiteY163" fmla="*/ 25777 h 54185"/>
                          <a:gd name="connsiteX164" fmla="*/ 22428 w 24607"/>
                          <a:gd name="connsiteY164" fmla="*/ 26016 h 54185"/>
                          <a:gd name="connsiteX165" fmla="*/ 22308 w 24607"/>
                          <a:gd name="connsiteY165" fmla="*/ 26255 h 54185"/>
                          <a:gd name="connsiteX166" fmla="*/ 22188 w 24607"/>
                          <a:gd name="connsiteY166" fmla="*/ 26495 h 54185"/>
                          <a:gd name="connsiteX167" fmla="*/ 22069 w 24607"/>
                          <a:gd name="connsiteY167" fmla="*/ 26794 h 54185"/>
                          <a:gd name="connsiteX168" fmla="*/ 21949 w 24607"/>
                          <a:gd name="connsiteY168" fmla="*/ 27093 h 54185"/>
                          <a:gd name="connsiteX169" fmla="*/ 21829 w 24607"/>
                          <a:gd name="connsiteY169" fmla="*/ 27392 h 54185"/>
                          <a:gd name="connsiteX170" fmla="*/ 21710 w 24607"/>
                          <a:gd name="connsiteY170" fmla="*/ 27691 h 54185"/>
                          <a:gd name="connsiteX171" fmla="*/ 21590 w 24607"/>
                          <a:gd name="connsiteY171" fmla="*/ 27870 h 54185"/>
                          <a:gd name="connsiteX172" fmla="*/ 21471 w 24607"/>
                          <a:gd name="connsiteY172" fmla="*/ 28050 h 54185"/>
                          <a:gd name="connsiteX173" fmla="*/ 21351 w 24607"/>
                          <a:gd name="connsiteY173" fmla="*/ 28229 h 54185"/>
                          <a:gd name="connsiteX174" fmla="*/ 21231 w 24607"/>
                          <a:gd name="connsiteY174" fmla="*/ 28408 h 54185"/>
                          <a:gd name="connsiteX175" fmla="*/ 20693 w 24607"/>
                          <a:gd name="connsiteY175" fmla="*/ 29425 h 54185"/>
                          <a:gd name="connsiteX176" fmla="*/ 20095 w 24607"/>
                          <a:gd name="connsiteY176" fmla="*/ 30442 h 54185"/>
                          <a:gd name="connsiteX177" fmla="*/ 19437 w 24607"/>
                          <a:gd name="connsiteY177" fmla="*/ 31459 h 54185"/>
                          <a:gd name="connsiteX178" fmla="*/ 18720 w 24607"/>
                          <a:gd name="connsiteY178" fmla="*/ 32475 h 54185"/>
                          <a:gd name="connsiteX179" fmla="*/ 18600 w 24607"/>
                          <a:gd name="connsiteY179" fmla="*/ 32655 h 54185"/>
                          <a:gd name="connsiteX180" fmla="*/ 18480 w 24607"/>
                          <a:gd name="connsiteY180" fmla="*/ 32834 h 54185"/>
                          <a:gd name="connsiteX181" fmla="*/ 18361 w 24607"/>
                          <a:gd name="connsiteY181" fmla="*/ 33014 h 54185"/>
                          <a:gd name="connsiteX182" fmla="*/ 18241 w 24607"/>
                          <a:gd name="connsiteY182" fmla="*/ 33193 h 54185"/>
                          <a:gd name="connsiteX183" fmla="*/ 16985 w 24607"/>
                          <a:gd name="connsiteY183" fmla="*/ 34808 h 54185"/>
                          <a:gd name="connsiteX184" fmla="*/ 15669 w 24607"/>
                          <a:gd name="connsiteY184" fmla="*/ 36482 h 54185"/>
                          <a:gd name="connsiteX185" fmla="*/ 14294 w 24607"/>
                          <a:gd name="connsiteY185" fmla="*/ 38217 h 54185"/>
                          <a:gd name="connsiteX186" fmla="*/ 12858 w 24607"/>
                          <a:gd name="connsiteY186" fmla="*/ 39891 h 54185"/>
                          <a:gd name="connsiteX187" fmla="*/ 11722 w 24607"/>
                          <a:gd name="connsiteY187" fmla="*/ 39114 h 54185"/>
                          <a:gd name="connsiteX188" fmla="*/ 12260 w 24607"/>
                          <a:gd name="connsiteY188" fmla="*/ 39473 h 54185"/>
                          <a:gd name="connsiteX189" fmla="*/ 13756 w 24607"/>
                          <a:gd name="connsiteY189" fmla="*/ 37678 h 54185"/>
                          <a:gd name="connsiteX190" fmla="*/ 15191 w 24607"/>
                          <a:gd name="connsiteY190" fmla="*/ 35944 h 54185"/>
                          <a:gd name="connsiteX191" fmla="*/ 16507 w 24607"/>
                          <a:gd name="connsiteY191" fmla="*/ 34269 h 54185"/>
                          <a:gd name="connsiteX192" fmla="*/ 17703 w 24607"/>
                          <a:gd name="connsiteY192" fmla="*/ 32655 h 54185"/>
                          <a:gd name="connsiteX193" fmla="*/ 17822 w 24607"/>
                          <a:gd name="connsiteY193" fmla="*/ 32475 h 54185"/>
                          <a:gd name="connsiteX194" fmla="*/ 17942 w 24607"/>
                          <a:gd name="connsiteY194" fmla="*/ 32296 h 54185"/>
                          <a:gd name="connsiteX195" fmla="*/ 18062 w 24607"/>
                          <a:gd name="connsiteY195" fmla="*/ 32116 h 54185"/>
                          <a:gd name="connsiteX196" fmla="*/ 18181 w 24607"/>
                          <a:gd name="connsiteY196" fmla="*/ 31937 h 54185"/>
                          <a:gd name="connsiteX197" fmla="*/ 18899 w 24607"/>
                          <a:gd name="connsiteY197" fmla="*/ 30920 h 54185"/>
                          <a:gd name="connsiteX198" fmla="*/ 19557 w 24607"/>
                          <a:gd name="connsiteY198" fmla="*/ 29904 h 54185"/>
                          <a:gd name="connsiteX199" fmla="*/ 20155 w 24607"/>
                          <a:gd name="connsiteY199" fmla="*/ 28887 h 54185"/>
                          <a:gd name="connsiteX200" fmla="*/ 20693 w 24607"/>
                          <a:gd name="connsiteY200" fmla="*/ 27930 h 54185"/>
                          <a:gd name="connsiteX201" fmla="*/ 20813 w 24607"/>
                          <a:gd name="connsiteY201" fmla="*/ 27751 h 54185"/>
                          <a:gd name="connsiteX202" fmla="*/ 20933 w 24607"/>
                          <a:gd name="connsiteY202" fmla="*/ 27571 h 54185"/>
                          <a:gd name="connsiteX203" fmla="*/ 21052 w 24607"/>
                          <a:gd name="connsiteY203" fmla="*/ 27392 h 54185"/>
                          <a:gd name="connsiteX204" fmla="*/ 21172 w 24607"/>
                          <a:gd name="connsiteY204" fmla="*/ 27212 h 54185"/>
                          <a:gd name="connsiteX205" fmla="*/ 21291 w 24607"/>
                          <a:gd name="connsiteY205" fmla="*/ 26913 h 54185"/>
                          <a:gd name="connsiteX206" fmla="*/ 21411 w 24607"/>
                          <a:gd name="connsiteY206" fmla="*/ 26614 h 54185"/>
                          <a:gd name="connsiteX207" fmla="*/ 21530 w 24607"/>
                          <a:gd name="connsiteY207" fmla="*/ 26315 h 54185"/>
                          <a:gd name="connsiteX208" fmla="*/ 21650 w 24607"/>
                          <a:gd name="connsiteY208" fmla="*/ 26016 h 54185"/>
                          <a:gd name="connsiteX209" fmla="*/ 21710 w 24607"/>
                          <a:gd name="connsiteY209" fmla="*/ 25777 h 54185"/>
                          <a:gd name="connsiteX210" fmla="*/ 21770 w 24607"/>
                          <a:gd name="connsiteY210" fmla="*/ 25538 h 54185"/>
                          <a:gd name="connsiteX211" fmla="*/ 21829 w 24607"/>
                          <a:gd name="connsiteY211" fmla="*/ 25298 h 54185"/>
                          <a:gd name="connsiteX212" fmla="*/ 21889 w 24607"/>
                          <a:gd name="connsiteY212" fmla="*/ 25059 h 54185"/>
                          <a:gd name="connsiteX213" fmla="*/ 22128 w 24607"/>
                          <a:gd name="connsiteY213" fmla="*/ 24342 h 54185"/>
                          <a:gd name="connsiteX214" fmla="*/ 22308 w 24607"/>
                          <a:gd name="connsiteY214" fmla="*/ 23624 h 54185"/>
                          <a:gd name="connsiteX215" fmla="*/ 22488 w 24607"/>
                          <a:gd name="connsiteY215" fmla="*/ 22906 h 54185"/>
                          <a:gd name="connsiteX216" fmla="*/ 22607 w 24607"/>
                          <a:gd name="connsiteY216" fmla="*/ 22189 h 54185"/>
                          <a:gd name="connsiteX217" fmla="*/ 22607 w 24607"/>
                          <a:gd name="connsiteY217" fmla="*/ 22069 h 54185"/>
                          <a:gd name="connsiteX218" fmla="*/ 22607 w 24607"/>
                          <a:gd name="connsiteY218" fmla="*/ 21949 h 54185"/>
                          <a:gd name="connsiteX219" fmla="*/ 22607 w 24607"/>
                          <a:gd name="connsiteY219" fmla="*/ 21830 h 54185"/>
                          <a:gd name="connsiteX220" fmla="*/ 22607 w 24607"/>
                          <a:gd name="connsiteY220" fmla="*/ 21710 h 54185"/>
                          <a:gd name="connsiteX221" fmla="*/ 22607 w 24607"/>
                          <a:gd name="connsiteY221" fmla="*/ 21590 h 54185"/>
                          <a:gd name="connsiteX222" fmla="*/ 22607 w 24607"/>
                          <a:gd name="connsiteY222" fmla="*/ 21471 h 54185"/>
                          <a:gd name="connsiteX223" fmla="*/ 22607 w 24607"/>
                          <a:gd name="connsiteY223" fmla="*/ 21351 h 54185"/>
                          <a:gd name="connsiteX224" fmla="*/ 22607 w 24607"/>
                          <a:gd name="connsiteY224" fmla="*/ 21231 h 54185"/>
                          <a:gd name="connsiteX225" fmla="*/ 22607 w 24607"/>
                          <a:gd name="connsiteY225" fmla="*/ 21172 h 54185"/>
                          <a:gd name="connsiteX226" fmla="*/ 22607 w 24607"/>
                          <a:gd name="connsiteY226" fmla="*/ 21112 h 54185"/>
                          <a:gd name="connsiteX227" fmla="*/ 22607 w 24607"/>
                          <a:gd name="connsiteY227" fmla="*/ 21052 h 54185"/>
                          <a:gd name="connsiteX228" fmla="*/ 22607 w 24607"/>
                          <a:gd name="connsiteY228" fmla="*/ 20992 h 54185"/>
                          <a:gd name="connsiteX229" fmla="*/ 22607 w 24607"/>
                          <a:gd name="connsiteY229" fmla="*/ 20693 h 54185"/>
                          <a:gd name="connsiteX230" fmla="*/ 22607 w 24607"/>
                          <a:gd name="connsiteY230" fmla="*/ 20394 h 54185"/>
                          <a:gd name="connsiteX231" fmla="*/ 22607 w 24607"/>
                          <a:gd name="connsiteY231" fmla="*/ 20095 h 54185"/>
                          <a:gd name="connsiteX232" fmla="*/ 22607 w 24607"/>
                          <a:gd name="connsiteY232" fmla="*/ 19796 h 54185"/>
                          <a:gd name="connsiteX233" fmla="*/ 22547 w 24607"/>
                          <a:gd name="connsiteY233" fmla="*/ 19437 h 54185"/>
                          <a:gd name="connsiteX234" fmla="*/ 22488 w 24607"/>
                          <a:gd name="connsiteY234" fmla="*/ 19079 h 54185"/>
                          <a:gd name="connsiteX235" fmla="*/ 22428 w 24607"/>
                          <a:gd name="connsiteY235" fmla="*/ 18720 h 54185"/>
                          <a:gd name="connsiteX236" fmla="*/ 22368 w 24607"/>
                          <a:gd name="connsiteY236" fmla="*/ 18361 h 54185"/>
                          <a:gd name="connsiteX237" fmla="*/ 22308 w 24607"/>
                          <a:gd name="connsiteY237" fmla="*/ 18122 h 54185"/>
                          <a:gd name="connsiteX238" fmla="*/ 22248 w 24607"/>
                          <a:gd name="connsiteY238" fmla="*/ 17882 h 54185"/>
                          <a:gd name="connsiteX239" fmla="*/ 22188 w 24607"/>
                          <a:gd name="connsiteY239" fmla="*/ 17643 h 54185"/>
                          <a:gd name="connsiteX240" fmla="*/ 22128 w 24607"/>
                          <a:gd name="connsiteY240" fmla="*/ 17404 h 54185"/>
                          <a:gd name="connsiteX241" fmla="*/ 22069 w 24607"/>
                          <a:gd name="connsiteY241" fmla="*/ 17225 h 54185"/>
                          <a:gd name="connsiteX242" fmla="*/ 22009 w 24607"/>
                          <a:gd name="connsiteY242" fmla="*/ 17045 h 54185"/>
                          <a:gd name="connsiteX243" fmla="*/ 21949 w 24607"/>
                          <a:gd name="connsiteY243" fmla="*/ 16866 h 54185"/>
                          <a:gd name="connsiteX244" fmla="*/ 21889 w 24607"/>
                          <a:gd name="connsiteY244" fmla="*/ 16686 h 54185"/>
                          <a:gd name="connsiteX245" fmla="*/ 21770 w 24607"/>
                          <a:gd name="connsiteY245" fmla="*/ 16327 h 54185"/>
                          <a:gd name="connsiteX246" fmla="*/ 21590 w 24607"/>
                          <a:gd name="connsiteY246" fmla="*/ 15968 h 54185"/>
                          <a:gd name="connsiteX247" fmla="*/ 21411 w 24607"/>
                          <a:gd name="connsiteY247" fmla="*/ 15610 h 54185"/>
                          <a:gd name="connsiteX248" fmla="*/ 21231 w 24607"/>
                          <a:gd name="connsiteY248" fmla="*/ 15251 h 54185"/>
                          <a:gd name="connsiteX249" fmla="*/ 21112 w 24607"/>
                          <a:gd name="connsiteY249" fmla="*/ 15072 h 54185"/>
                          <a:gd name="connsiteX250" fmla="*/ 20992 w 24607"/>
                          <a:gd name="connsiteY250" fmla="*/ 14892 h 54185"/>
                          <a:gd name="connsiteX251" fmla="*/ 20873 w 24607"/>
                          <a:gd name="connsiteY251" fmla="*/ 14713 h 54185"/>
                          <a:gd name="connsiteX252" fmla="*/ 20753 w 24607"/>
                          <a:gd name="connsiteY252" fmla="*/ 14533 h 54185"/>
                          <a:gd name="connsiteX253" fmla="*/ 20574 w 24607"/>
                          <a:gd name="connsiteY253" fmla="*/ 14234 h 54185"/>
                          <a:gd name="connsiteX254" fmla="*/ 20394 w 24607"/>
                          <a:gd name="connsiteY254" fmla="*/ 13935 h 54185"/>
                          <a:gd name="connsiteX255" fmla="*/ 20215 w 24607"/>
                          <a:gd name="connsiteY255" fmla="*/ 13636 h 54185"/>
                          <a:gd name="connsiteX256" fmla="*/ 20035 w 24607"/>
                          <a:gd name="connsiteY256" fmla="*/ 13337 h 54185"/>
                          <a:gd name="connsiteX257" fmla="*/ 19856 w 24607"/>
                          <a:gd name="connsiteY257" fmla="*/ 13098 h 54185"/>
                          <a:gd name="connsiteX258" fmla="*/ 19676 w 24607"/>
                          <a:gd name="connsiteY258" fmla="*/ 12859 h 54185"/>
                          <a:gd name="connsiteX259" fmla="*/ 19497 w 24607"/>
                          <a:gd name="connsiteY259" fmla="*/ 12619 h 54185"/>
                          <a:gd name="connsiteX260" fmla="*/ 19318 w 24607"/>
                          <a:gd name="connsiteY260" fmla="*/ 12380 h 54185"/>
                          <a:gd name="connsiteX261" fmla="*/ 17763 w 24607"/>
                          <a:gd name="connsiteY261" fmla="*/ 10526 h 54185"/>
                          <a:gd name="connsiteX262" fmla="*/ 15849 w 24607"/>
                          <a:gd name="connsiteY262" fmla="*/ 8612 h 54185"/>
                          <a:gd name="connsiteX263" fmla="*/ 13636 w 24607"/>
                          <a:gd name="connsiteY263" fmla="*/ 6639 h 54185"/>
                          <a:gd name="connsiteX264" fmla="*/ 11064 w 24607"/>
                          <a:gd name="connsiteY264" fmla="*/ 4605 h 54185"/>
                          <a:gd name="connsiteX265" fmla="*/ 10466 w 24607"/>
                          <a:gd name="connsiteY265" fmla="*/ 5323 h 54185"/>
                          <a:gd name="connsiteX266" fmla="*/ 13217 w 24607"/>
                          <a:gd name="connsiteY266" fmla="*/ 7536 h 54185"/>
                          <a:gd name="connsiteX267" fmla="*/ 15610 w 24607"/>
                          <a:gd name="connsiteY267" fmla="*/ 9689 h 54185"/>
                          <a:gd name="connsiteX268" fmla="*/ 17583 w 24607"/>
                          <a:gd name="connsiteY268" fmla="*/ 11722 h 54185"/>
                          <a:gd name="connsiteX269" fmla="*/ 19198 w 24607"/>
                          <a:gd name="connsiteY269" fmla="*/ 13756 h 54185"/>
                          <a:gd name="connsiteX270" fmla="*/ 19318 w 24607"/>
                          <a:gd name="connsiteY270" fmla="*/ 13935 h 54185"/>
                          <a:gd name="connsiteX271" fmla="*/ 19437 w 24607"/>
                          <a:gd name="connsiteY271" fmla="*/ 14114 h 54185"/>
                          <a:gd name="connsiteX272" fmla="*/ 19557 w 24607"/>
                          <a:gd name="connsiteY272" fmla="*/ 14294 h 54185"/>
                          <a:gd name="connsiteX273" fmla="*/ 19676 w 24607"/>
                          <a:gd name="connsiteY273" fmla="*/ 14473 h 54185"/>
                          <a:gd name="connsiteX274" fmla="*/ 19856 w 24607"/>
                          <a:gd name="connsiteY274" fmla="*/ 14713 h 54185"/>
                          <a:gd name="connsiteX275" fmla="*/ 20035 w 24607"/>
                          <a:gd name="connsiteY275" fmla="*/ 14952 h 54185"/>
                          <a:gd name="connsiteX276" fmla="*/ 20215 w 24607"/>
                          <a:gd name="connsiteY276" fmla="*/ 15191 h 54185"/>
                          <a:gd name="connsiteX277" fmla="*/ 20334 w 24607"/>
                          <a:gd name="connsiteY277" fmla="*/ 15430 h 54185"/>
                          <a:gd name="connsiteX278" fmla="*/ 20454 w 24607"/>
                          <a:gd name="connsiteY278" fmla="*/ 15610 h 54185"/>
                          <a:gd name="connsiteX279" fmla="*/ 20574 w 24607"/>
                          <a:gd name="connsiteY279" fmla="*/ 15789 h 54185"/>
                          <a:gd name="connsiteX280" fmla="*/ 20693 w 24607"/>
                          <a:gd name="connsiteY280" fmla="*/ 15968 h 54185"/>
                          <a:gd name="connsiteX281" fmla="*/ 20813 w 24607"/>
                          <a:gd name="connsiteY281" fmla="*/ 16148 h 54185"/>
                          <a:gd name="connsiteX282" fmla="*/ 20933 w 24607"/>
                          <a:gd name="connsiteY282" fmla="*/ 16387 h 54185"/>
                          <a:gd name="connsiteX283" fmla="*/ 21052 w 24607"/>
                          <a:gd name="connsiteY283" fmla="*/ 16627 h 54185"/>
                          <a:gd name="connsiteX284" fmla="*/ 21172 w 24607"/>
                          <a:gd name="connsiteY284" fmla="*/ 16866 h 54185"/>
                          <a:gd name="connsiteX285" fmla="*/ 21291 w 24607"/>
                          <a:gd name="connsiteY285" fmla="*/ 17105 h 54185"/>
                          <a:gd name="connsiteX286" fmla="*/ 21411 w 24607"/>
                          <a:gd name="connsiteY286" fmla="*/ 17464 h 54185"/>
                          <a:gd name="connsiteX287" fmla="*/ 21530 w 24607"/>
                          <a:gd name="connsiteY287" fmla="*/ 17763 h 54185"/>
                          <a:gd name="connsiteX288" fmla="*/ 21650 w 24607"/>
                          <a:gd name="connsiteY288" fmla="*/ 18062 h 54185"/>
                          <a:gd name="connsiteX289" fmla="*/ 21710 w 24607"/>
                          <a:gd name="connsiteY289" fmla="*/ 18361 h 54185"/>
                          <a:gd name="connsiteX290" fmla="*/ 21770 w 24607"/>
                          <a:gd name="connsiteY290" fmla="*/ 18600 h 54185"/>
                          <a:gd name="connsiteX291" fmla="*/ 21829 w 24607"/>
                          <a:gd name="connsiteY291" fmla="*/ 18839 h 54185"/>
                          <a:gd name="connsiteX292" fmla="*/ 21889 w 24607"/>
                          <a:gd name="connsiteY292" fmla="*/ 19079 h 54185"/>
                          <a:gd name="connsiteX293" fmla="*/ 21949 w 24607"/>
                          <a:gd name="connsiteY293" fmla="*/ 19318 h 54185"/>
                          <a:gd name="connsiteX294" fmla="*/ 22009 w 24607"/>
                          <a:gd name="connsiteY294" fmla="*/ 19617 h 54185"/>
                          <a:gd name="connsiteX295" fmla="*/ 22009 w 24607"/>
                          <a:gd name="connsiteY295" fmla="*/ 19916 h 54185"/>
                          <a:gd name="connsiteX296" fmla="*/ 22009 w 24607"/>
                          <a:gd name="connsiteY296" fmla="*/ 20215 h 54185"/>
                          <a:gd name="connsiteX297" fmla="*/ 22009 w 24607"/>
                          <a:gd name="connsiteY297" fmla="*/ 20514 h 54185"/>
                          <a:gd name="connsiteX298" fmla="*/ 22009 w 24607"/>
                          <a:gd name="connsiteY298" fmla="*/ 20574 h 54185"/>
                          <a:gd name="connsiteX299" fmla="*/ 22009 w 24607"/>
                          <a:gd name="connsiteY299" fmla="*/ 20634 h 54185"/>
                          <a:gd name="connsiteX300" fmla="*/ 22009 w 24607"/>
                          <a:gd name="connsiteY300" fmla="*/ 20693 h 54185"/>
                          <a:gd name="connsiteX301" fmla="*/ 22009 w 24607"/>
                          <a:gd name="connsiteY301" fmla="*/ 20753 h 54185"/>
                          <a:gd name="connsiteX302" fmla="*/ 22009 w 24607"/>
                          <a:gd name="connsiteY302" fmla="*/ 20992 h 54185"/>
                          <a:gd name="connsiteX303" fmla="*/ 22009 w 24607"/>
                          <a:gd name="connsiteY303" fmla="*/ 21231 h 54185"/>
                          <a:gd name="connsiteX304" fmla="*/ 22009 w 24607"/>
                          <a:gd name="connsiteY304" fmla="*/ 21471 h 54185"/>
                          <a:gd name="connsiteX305" fmla="*/ 22009 w 24607"/>
                          <a:gd name="connsiteY305" fmla="*/ 21710 h 54185"/>
                          <a:gd name="connsiteX306" fmla="*/ 22009 w 24607"/>
                          <a:gd name="connsiteY306" fmla="*/ 21830 h 54185"/>
                          <a:gd name="connsiteX307" fmla="*/ 22009 w 24607"/>
                          <a:gd name="connsiteY307" fmla="*/ 21949 h 54185"/>
                          <a:gd name="connsiteX308" fmla="*/ 22009 w 24607"/>
                          <a:gd name="connsiteY308" fmla="*/ 22069 h 54185"/>
                          <a:gd name="connsiteX309" fmla="*/ 22009 w 24607"/>
                          <a:gd name="connsiteY309" fmla="*/ 22189 h 54185"/>
                          <a:gd name="connsiteX310" fmla="*/ 21949 w 24607"/>
                          <a:gd name="connsiteY310" fmla="*/ 22727 h 54185"/>
                          <a:gd name="connsiteX311" fmla="*/ 21829 w 24607"/>
                          <a:gd name="connsiteY311" fmla="*/ 23265 h 54185"/>
                          <a:gd name="connsiteX312" fmla="*/ 21710 w 24607"/>
                          <a:gd name="connsiteY312" fmla="*/ 23803 h 54185"/>
                          <a:gd name="connsiteX313" fmla="*/ 21530 w 24607"/>
                          <a:gd name="connsiteY313" fmla="*/ 24342 h 54185"/>
                          <a:gd name="connsiteX314" fmla="*/ 21471 w 24607"/>
                          <a:gd name="connsiteY314" fmla="*/ 24581 h 54185"/>
                          <a:gd name="connsiteX315" fmla="*/ 21411 w 24607"/>
                          <a:gd name="connsiteY315" fmla="*/ 24820 h 54185"/>
                          <a:gd name="connsiteX316" fmla="*/ 21351 w 24607"/>
                          <a:gd name="connsiteY316" fmla="*/ 25059 h 54185"/>
                          <a:gd name="connsiteX317" fmla="*/ 21291 w 24607"/>
                          <a:gd name="connsiteY317" fmla="*/ 25298 h 54185"/>
                          <a:gd name="connsiteX318" fmla="*/ 21172 w 24607"/>
                          <a:gd name="connsiteY318" fmla="*/ 25598 h 54185"/>
                          <a:gd name="connsiteX319" fmla="*/ 21052 w 24607"/>
                          <a:gd name="connsiteY319" fmla="*/ 25897 h 54185"/>
                          <a:gd name="connsiteX320" fmla="*/ 20933 w 24607"/>
                          <a:gd name="connsiteY320" fmla="*/ 26196 h 54185"/>
                          <a:gd name="connsiteX321" fmla="*/ 20813 w 24607"/>
                          <a:gd name="connsiteY321" fmla="*/ 26495 h 54185"/>
                          <a:gd name="connsiteX322" fmla="*/ 20693 w 24607"/>
                          <a:gd name="connsiteY322" fmla="*/ 26674 h 54185"/>
                          <a:gd name="connsiteX323" fmla="*/ 20574 w 24607"/>
                          <a:gd name="connsiteY323" fmla="*/ 26853 h 54185"/>
                          <a:gd name="connsiteX324" fmla="*/ 20454 w 24607"/>
                          <a:gd name="connsiteY324" fmla="*/ 27093 h 54185"/>
                          <a:gd name="connsiteX325" fmla="*/ 20334 w 24607"/>
                          <a:gd name="connsiteY325" fmla="*/ 27332 h 54185"/>
                          <a:gd name="connsiteX326" fmla="*/ 19796 w 24607"/>
                          <a:gd name="connsiteY326" fmla="*/ 28289 h 54185"/>
                          <a:gd name="connsiteX327" fmla="*/ 19198 w 24607"/>
                          <a:gd name="connsiteY327" fmla="*/ 29306 h 54185"/>
                          <a:gd name="connsiteX328" fmla="*/ 18540 w 24607"/>
                          <a:gd name="connsiteY328" fmla="*/ 30322 h 54185"/>
                          <a:gd name="connsiteX329" fmla="*/ 17822 w 24607"/>
                          <a:gd name="connsiteY329" fmla="*/ 31339 h 54185"/>
                          <a:gd name="connsiteX330" fmla="*/ 17703 w 24607"/>
                          <a:gd name="connsiteY330" fmla="*/ 31519 h 54185"/>
                          <a:gd name="connsiteX331" fmla="*/ 17583 w 24607"/>
                          <a:gd name="connsiteY331" fmla="*/ 31698 h 54185"/>
                          <a:gd name="connsiteX332" fmla="*/ 17464 w 24607"/>
                          <a:gd name="connsiteY332" fmla="*/ 31877 h 54185"/>
                          <a:gd name="connsiteX333" fmla="*/ 17344 w 24607"/>
                          <a:gd name="connsiteY333" fmla="*/ 32057 h 54185"/>
                          <a:gd name="connsiteX334" fmla="*/ 16148 w 24607"/>
                          <a:gd name="connsiteY334" fmla="*/ 33671 h 54185"/>
                          <a:gd name="connsiteX335" fmla="*/ 14832 w 24607"/>
                          <a:gd name="connsiteY335" fmla="*/ 35346 h 54185"/>
                          <a:gd name="connsiteX336" fmla="*/ 13397 w 24607"/>
                          <a:gd name="connsiteY336" fmla="*/ 37081 h 54185"/>
                          <a:gd name="connsiteX337" fmla="*/ 11722 w 24607"/>
                          <a:gd name="connsiteY337" fmla="*/ 39114 h 54185"/>
                          <a:gd name="connsiteX338" fmla="*/ 11244 w 24607"/>
                          <a:gd name="connsiteY338" fmla="*/ 41865 h 54185"/>
                          <a:gd name="connsiteX339" fmla="*/ 11782 w 24607"/>
                          <a:gd name="connsiteY339" fmla="*/ 42224 h 54185"/>
                          <a:gd name="connsiteX340" fmla="*/ 12021 w 24607"/>
                          <a:gd name="connsiteY340" fmla="*/ 41925 h 54185"/>
                          <a:gd name="connsiteX341" fmla="*/ 12260 w 24607"/>
                          <a:gd name="connsiteY341" fmla="*/ 41626 h 54185"/>
                          <a:gd name="connsiteX342" fmla="*/ 12500 w 24607"/>
                          <a:gd name="connsiteY342" fmla="*/ 41327 h 54185"/>
                          <a:gd name="connsiteX343" fmla="*/ 12739 w 24607"/>
                          <a:gd name="connsiteY343" fmla="*/ 41028 h 54185"/>
                          <a:gd name="connsiteX344" fmla="*/ 12201 w 24607"/>
                          <a:gd name="connsiteY344" fmla="*/ 40669 h 54185"/>
                          <a:gd name="connsiteX345" fmla="*/ 11961 w 24607"/>
                          <a:gd name="connsiteY345" fmla="*/ 40968 h 54185"/>
                          <a:gd name="connsiteX346" fmla="*/ 11722 w 24607"/>
                          <a:gd name="connsiteY346" fmla="*/ 41267 h 54185"/>
                          <a:gd name="connsiteX347" fmla="*/ 11483 w 24607"/>
                          <a:gd name="connsiteY347" fmla="*/ 41566 h 54185"/>
                          <a:gd name="connsiteX348" fmla="*/ 11244 w 24607"/>
                          <a:gd name="connsiteY348" fmla="*/ 41865 h 54185"/>
                          <a:gd name="connsiteX349" fmla="*/ 10048 w 24607"/>
                          <a:gd name="connsiteY349" fmla="*/ 41088 h 54185"/>
                          <a:gd name="connsiteX350" fmla="*/ 10586 w 24607"/>
                          <a:gd name="connsiteY350" fmla="*/ 41446 h 54185"/>
                          <a:gd name="connsiteX351" fmla="*/ 10825 w 24607"/>
                          <a:gd name="connsiteY351" fmla="*/ 41147 h 54185"/>
                          <a:gd name="connsiteX352" fmla="*/ 11064 w 24607"/>
                          <a:gd name="connsiteY352" fmla="*/ 40848 h 54185"/>
                          <a:gd name="connsiteX353" fmla="*/ 11303 w 24607"/>
                          <a:gd name="connsiteY353" fmla="*/ 40549 h 54185"/>
                          <a:gd name="connsiteX354" fmla="*/ 11543 w 24607"/>
                          <a:gd name="connsiteY354" fmla="*/ 40250 h 54185"/>
                          <a:gd name="connsiteX355" fmla="*/ 11004 w 24607"/>
                          <a:gd name="connsiteY355" fmla="*/ 39891 h 54185"/>
                          <a:gd name="connsiteX356" fmla="*/ 10765 w 24607"/>
                          <a:gd name="connsiteY356" fmla="*/ 40191 h 54185"/>
                          <a:gd name="connsiteX357" fmla="*/ 10526 w 24607"/>
                          <a:gd name="connsiteY357" fmla="*/ 40490 h 54185"/>
                          <a:gd name="connsiteX358" fmla="*/ 10287 w 24607"/>
                          <a:gd name="connsiteY358" fmla="*/ 40789 h 54185"/>
                          <a:gd name="connsiteX359" fmla="*/ 10048 w 24607"/>
                          <a:gd name="connsiteY359" fmla="*/ 41088 h 54185"/>
                          <a:gd name="connsiteX360" fmla="*/ 9689 w 24607"/>
                          <a:gd name="connsiteY360" fmla="*/ 43599 h 54185"/>
                          <a:gd name="connsiteX361" fmla="*/ 10227 w 24607"/>
                          <a:gd name="connsiteY361" fmla="*/ 43958 h 54185"/>
                          <a:gd name="connsiteX362" fmla="*/ 10287 w 24607"/>
                          <a:gd name="connsiteY362" fmla="*/ 43839 h 54185"/>
                          <a:gd name="connsiteX363" fmla="*/ 10347 w 24607"/>
                          <a:gd name="connsiteY363" fmla="*/ 43719 h 54185"/>
                          <a:gd name="connsiteX364" fmla="*/ 10406 w 24607"/>
                          <a:gd name="connsiteY364" fmla="*/ 43599 h 54185"/>
                          <a:gd name="connsiteX365" fmla="*/ 10466 w 24607"/>
                          <a:gd name="connsiteY365" fmla="*/ 43480 h 54185"/>
                          <a:gd name="connsiteX366" fmla="*/ 10526 w 24607"/>
                          <a:gd name="connsiteY366" fmla="*/ 43420 h 54185"/>
                          <a:gd name="connsiteX367" fmla="*/ 10645 w 24607"/>
                          <a:gd name="connsiteY367" fmla="*/ 43240 h 54185"/>
                          <a:gd name="connsiteX368" fmla="*/ 10765 w 24607"/>
                          <a:gd name="connsiteY368" fmla="*/ 43061 h 54185"/>
                          <a:gd name="connsiteX369" fmla="*/ 10885 w 24607"/>
                          <a:gd name="connsiteY369" fmla="*/ 42882 h 54185"/>
                          <a:gd name="connsiteX370" fmla="*/ 11004 w 24607"/>
                          <a:gd name="connsiteY370" fmla="*/ 42702 h 54185"/>
                          <a:gd name="connsiteX371" fmla="*/ 10466 w 24607"/>
                          <a:gd name="connsiteY371" fmla="*/ 42344 h 54185"/>
                          <a:gd name="connsiteX372" fmla="*/ 10347 w 24607"/>
                          <a:gd name="connsiteY372" fmla="*/ 42463 h 54185"/>
                          <a:gd name="connsiteX373" fmla="*/ 10227 w 24607"/>
                          <a:gd name="connsiteY373" fmla="*/ 42583 h 54185"/>
                          <a:gd name="connsiteX374" fmla="*/ 10107 w 24607"/>
                          <a:gd name="connsiteY374" fmla="*/ 42702 h 54185"/>
                          <a:gd name="connsiteX375" fmla="*/ 9988 w 24607"/>
                          <a:gd name="connsiteY375" fmla="*/ 42822 h 54185"/>
                          <a:gd name="connsiteX376" fmla="*/ 9928 w 24607"/>
                          <a:gd name="connsiteY376" fmla="*/ 42882 h 54185"/>
                          <a:gd name="connsiteX377" fmla="*/ 9808 w 24607"/>
                          <a:gd name="connsiteY377" fmla="*/ 43001 h 54185"/>
                          <a:gd name="connsiteX378" fmla="*/ 9689 w 24607"/>
                          <a:gd name="connsiteY378" fmla="*/ 43121 h 54185"/>
                          <a:gd name="connsiteX379" fmla="*/ 9569 w 24607"/>
                          <a:gd name="connsiteY379" fmla="*/ 43240 h 54185"/>
                          <a:gd name="connsiteX380" fmla="*/ 9689 w 24607"/>
                          <a:gd name="connsiteY380" fmla="*/ 43599 h 54185"/>
                          <a:gd name="connsiteX381" fmla="*/ 8552 w 24607"/>
                          <a:gd name="connsiteY381" fmla="*/ 42882 h 54185"/>
                          <a:gd name="connsiteX382" fmla="*/ 9090 w 24607"/>
                          <a:gd name="connsiteY382" fmla="*/ 43240 h 54185"/>
                          <a:gd name="connsiteX383" fmla="*/ 9210 w 24607"/>
                          <a:gd name="connsiteY383" fmla="*/ 43121 h 54185"/>
                          <a:gd name="connsiteX384" fmla="*/ 9330 w 24607"/>
                          <a:gd name="connsiteY384" fmla="*/ 43001 h 54185"/>
                          <a:gd name="connsiteX385" fmla="*/ 9449 w 24607"/>
                          <a:gd name="connsiteY385" fmla="*/ 42882 h 54185"/>
                          <a:gd name="connsiteX386" fmla="*/ 9569 w 24607"/>
                          <a:gd name="connsiteY386" fmla="*/ 42762 h 54185"/>
                          <a:gd name="connsiteX387" fmla="*/ 9689 w 24607"/>
                          <a:gd name="connsiteY387" fmla="*/ 42643 h 54185"/>
                          <a:gd name="connsiteX388" fmla="*/ 9808 w 24607"/>
                          <a:gd name="connsiteY388" fmla="*/ 42523 h 54185"/>
                          <a:gd name="connsiteX389" fmla="*/ 9928 w 24607"/>
                          <a:gd name="connsiteY389" fmla="*/ 42403 h 54185"/>
                          <a:gd name="connsiteX390" fmla="*/ 10048 w 24607"/>
                          <a:gd name="connsiteY390" fmla="*/ 42284 h 54185"/>
                          <a:gd name="connsiteX391" fmla="*/ 9509 w 24607"/>
                          <a:gd name="connsiteY391" fmla="*/ 41925 h 54185"/>
                          <a:gd name="connsiteX392" fmla="*/ 9390 w 24607"/>
                          <a:gd name="connsiteY392" fmla="*/ 42045 h 54185"/>
                          <a:gd name="connsiteX393" fmla="*/ 9270 w 24607"/>
                          <a:gd name="connsiteY393" fmla="*/ 42164 h 54185"/>
                          <a:gd name="connsiteX394" fmla="*/ 9150 w 24607"/>
                          <a:gd name="connsiteY394" fmla="*/ 42284 h 54185"/>
                          <a:gd name="connsiteX395" fmla="*/ 9031 w 24607"/>
                          <a:gd name="connsiteY395" fmla="*/ 42403 h 54185"/>
                          <a:gd name="connsiteX396" fmla="*/ 8911 w 24607"/>
                          <a:gd name="connsiteY396" fmla="*/ 42583 h 54185"/>
                          <a:gd name="connsiteX397" fmla="*/ 8791 w 24607"/>
                          <a:gd name="connsiteY397" fmla="*/ 42762 h 54185"/>
                          <a:gd name="connsiteX398" fmla="*/ 8672 w 24607"/>
                          <a:gd name="connsiteY398" fmla="*/ 42942 h 54185"/>
                          <a:gd name="connsiteX399" fmla="*/ 8552 w 24607"/>
                          <a:gd name="connsiteY399" fmla="*/ 42882 h 54185"/>
                          <a:gd name="connsiteX400" fmla="*/ 0 w 24607"/>
                          <a:gd name="connsiteY400" fmla="*/ 53109 h 54185"/>
                          <a:gd name="connsiteX401" fmla="*/ 1674 w 24607"/>
                          <a:gd name="connsiteY401" fmla="*/ 54185 h 54185"/>
                          <a:gd name="connsiteX402" fmla="*/ 1734 w 24607"/>
                          <a:gd name="connsiteY402" fmla="*/ 54125 h 54185"/>
                          <a:gd name="connsiteX403" fmla="*/ 2691 w 24607"/>
                          <a:gd name="connsiteY403" fmla="*/ 52929 h 54185"/>
                          <a:gd name="connsiteX404" fmla="*/ 3648 w 24607"/>
                          <a:gd name="connsiteY404" fmla="*/ 51733 h 54185"/>
                          <a:gd name="connsiteX405" fmla="*/ 4605 w 24607"/>
                          <a:gd name="connsiteY405" fmla="*/ 50597 h 54185"/>
                          <a:gd name="connsiteX406" fmla="*/ 5562 w 24607"/>
                          <a:gd name="connsiteY406" fmla="*/ 49461 h 54185"/>
                          <a:gd name="connsiteX407" fmla="*/ 5741 w 24607"/>
                          <a:gd name="connsiteY407" fmla="*/ 49281 h 54185"/>
                          <a:gd name="connsiteX408" fmla="*/ 5861 w 24607"/>
                          <a:gd name="connsiteY408" fmla="*/ 49102 h 54185"/>
                          <a:gd name="connsiteX409" fmla="*/ 5981 w 24607"/>
                          <a:gd name="connsiteY409" fmla="*/ 48922 h 54185"/>
                          <a:gd name="connsiteX410" fmla="*/ 6100 w 24607"/>
                          <a:gd name="connsiteY410" fmla="*/ 48743 h 54185"/>
                          <a:gd name="connsiteX411" fmla="*/ 6997 w 24607"/>
                          <a:gd name="connsiteY411" fmla="*/ 47726 h 54185"/>
                          <a:gd name="connsiteX412" fmla="*/ 7895 w 24607"/>
                          <a:gd name="connsiteY412" fmla="*/ 46709 h 54185"/>
                          <a:gd name="connsiteX413" fmla="*/ 8732 w 24607"/>
                          <a:gd name="connsiteY413" fmla="*/ 45693 h 54185"/>
                          <a:gd name="connsiteX414" fmla="*/ 9569 w 24607"/>
                          <a:gd name="connsiteY414" fmla="*/ 44736 h 54185"/>
                          <a:gd name="connsiteX415" fmla="*/ 9031 w 24607"/>
                          <a:gd name="connsiteY415" fmla="*/ 44377 h 54185"/>
                          <a:gd name="connsiteX416" fmla="*/ 8194 w 24607"/>
                          <a:gd name="connsiteY416" fmla="*/ 45334 h 54185"/>
                          <a:gd name="connsiteX417" fmla="*/ 7356 w 24607"/>
                          <a:gd name="connsiteY417" fmla="*/ 46351 h 54185"/>
                          <a:gd name="connsiteX418" fmla="*/ 6519 w 24607"/>
                          <a:gd name="connsiteY418" fmla="*/ 47367 h 54185"/>
                          <a:gd name="connsiteX419" fmla="*/ 5622 w 24607"/>
                          <a:gd name="connsiteY419" fmla="*/ 48384 h 54185"/>
                          <a:gd name="connsiteX420" fmla="*/ 5502 w 24607"/>
                          <a:gd name="connsiteY420" fmla="*/ 48563 h 54185"/>
                          <a:gd name="connsiteX421" fmla="*/ 5382 w 24607"/>
                          <a:gd name="connsiteY421" fmla="*/ 48743 h 54185"/>
                          <a:gd name="connsiteX422" fmla="*/ 5203 w 24607"/>
                          <a:gd name="connsiteY422" fmla="*/ 48922 h 54185"/>
                          <a:gd name="connsiteX423" fmla="*/ 5083 w 24607"/>
                          <a:gd name="connsiteY423" fmla="*/ 49102 h 54185"/>
                          <a:gd name="connsiteX424" fmla="*/ 4186 w 24607"/>
                          <a:gd name="connsiteY424" fmla="*/ 50178 h 54185"/>
                          <a:gd name="connsiteX425" fmla="*/ 3289 w 24607"/>
                          <a:gd name="connsiteY425" fmla="*/ 51255 h 54185"/>
                          <a:gd name="connsiteX426" fmla="*/ 2392 w 24607"/>
                          <a:gd name="connsiteY426" fmla="*/ 52331 h 54185"/>
                          <a:gd name="connsiteX427" fmla="*/ 1495 w 24607"/>
                          <a:gd name="connsiteY427" fmla="*/ 53468 h 54185"/>
                          <a:gd name="connsiteX428" fmla="*/ 837 w 24607"/>
                          <a:gd name="connsiteY428" fmla="*/ 53049 h 54185"/>
                          <a:gd name="connsiteX429" fmla="*/ 1734 w 24607"/>
                          <a:gd name="connsiteY429" fmla="*/ 51913 h 54185"/>
                          <a:gd name="connsiteX430" fmla="*/ 2632 w 24607"/>
                          <a:gd name="connsiteY430" fmla="*/ 50836 h 54185"/>
                          <a:gd name="connsiteX431" fmla="*/ 3528 w 24607"/>
                          <a:gd name="connsiteY431" fmla="*/ 49760 h 54185"/>
                          <a:gd name="connsiteX432" fmla="*/ 4426 w 24607"/>
                          <a:gd name="connsiteY432" fmla="*/ 48683 h 54185"/>
                          <a:gd name="connsiteX433" fmla="*/ 4605 w 24607"/>
                          <a:gd name="connsiteY433" fmla="*/ 48504 h 54185"/>
                          <a:gd name="connsiteX434" fmla="*/ 4725 w 24607"/>
                          <a:gd name="connsiteY434" fmla="*/ 48324 h 54185"/>
                          <a:gd name="connsiteX435" fmla="*/ 4844 w 24607"/>
                          <a:gd name="connsiteY435" fmla="*/ 48145 h 54185"/>
                          <a:gd name="connsiteX436" fmla="*/ 4964 w 24607"/>
                          <a:gd name="connsiteY436" fmla="*/ 47966 h 54185"/>
                          <a:gd name="connsiteX437" fmla="*/ 5861 w 24607"/>
                          <a:gd name="connsiteY437" fmla="*/ 46889 h 54185"/>
                          <a:gd name="connsiteX438" fmla="*/ 6698 w 24607"/>
                          <a:gd name="connsiteY438" fmla="*/ 45872 h 54185"/>
                          <a:gd name="connsiteX439" fmla="*/ 7536 w 24607"/>
                          <a:gd name="connsiteY439" fmla="*/ 44855 h 54185"/>
                          <a:gd name="connsiteX440" fmla="*/ 8373 w 24607"/>
                          <a:gd name="connsiteY440" fmla="*/ 43899 h 54185"/>
                          <a:gd name="connsiteX441" fmla="*/ 7835 w 24607"/>
                          <a:gd name="connsiteY441" fmla="*/ 43540 h 54185"/>
                          <a:gd name="connsiteX442" fmla="*/ 6997 w 24607"/>
                          <a:gd name="connsiteY442" fmla="*/ 44497 h 54185"/>
                          <a:gd name="connsiteX443" fmla="*/ 6160 w 24607"/>
                          <a:gd name="connsiteY443" fmla="*/ 45513 h 54185"/>
                          <a:gd name="connsiteX444" fmla="*/ 5263 w 24607"/>
                          <a:gd name="connsiteY444" fmla="*/ 46530 h 54185"/>
                          <a:gd name="connsiteX445" fmla="*/ 4366 w 24607"/>
                          <a:gd name="connsiteY445" fmla="*/ 47607 h 54185"/>
                          <a:gd name="connsiteX446" fmla="*/ 4246 w 24607"/>
                          <a:gd name="connsiteY446" fmla="*/ 47786 h 54185"/>
                          <a:gd name="connsiteX447" fmla="*/ 4127 w 24607"/>
                          <a:gd name="connsiteY447" fmla="*/ 47966 h 54185"/>
                          <a:gd name="connsiteX448" fmla="*/ 4007 w 24607"/>
                          <a:gd name="connsiteY448" fmla="*/ 48145 h 54185"/>
                          <a:gd name="connsiteX449" fmla="*/ 3827 w 24607"/>
                          <a:gd name="connsiteY449" fmla="*/ 48324 h 54185"/>
                          <a:gd name="connsiteX450" fmla="*/ 2871 w 24607"/>
                          <a:gd name="connsiteY450" fmla="*/ 49461 h 54185"/>
                          <a:gd name="connsiteX451" fmla="*/ 1914 w 24607"/>
                          <a:gd name="connsiteY451" fmla="*/ 50597 h 54185"/>
                          <a:gd name="connsiteX452" fmla="*/ 957 w 24607"/>
                          <a:gd name="connsiteY452" fmla="*/ 51793 h 54185"/>
                          <a:gd name="connsiteX453" fmla="*/ 0 w 24607"/>
                          <a:gd name="connsiteY453" fmla="*/ 52989 h 54185"/>
                          <a:gd name="connsiteX454" fmla="*/ 0 w 24607"/>
                          <a:gd name="connsiteY454" fmla="*/ 53109 h 5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Lst>
                        <a:rect l="l" t="t" r="r" b="b"/>
                        <a:pathLst>
                          <a:path w="24607" h="54185">
                            <a:moveTo>
                              <a:pt x="10167" y="4725"/>
                            </a:moveTo>
                            <a:lnTo>
                              <a:pt x="10765" y="4007"/>
                            </a:lnTo>
                            <a:cubicBezTo>
                              <a:pt x="10526" y="3828"/>
                              <a:pt x="10347" y="3708"/>
                              <a:pt x="10107" y="3529"/>
                            </a:cubicBezTo>
                            <a:cubicBezTo>
                              <a:pt x="9868" y="3349"/>
                              <a:pt x="9629" y="3229"/>
                              <a:pt x="9449" y="3050"/>
                            </a:cubicBezTo>
                            <a:cubicBezTo>
                              <a:pt x="9210" y="2871"/>
                              <a:pt x="8971" y="2691"/>
                              <a:pt x="8732" y="2572"/>
                            </a:cubicBezTo>
                            <a:cubicBezTo>
                              <a:pt x="8493" y="2392"/>
                              <a:pt x="8253" y="2213"/>
                              <a:pt x="8014" y="2093"/>
                            </a:cubicBezTo>
                            <a:lnTo>
                              <a:pt x="8791" y="1136"/>
                            </a:lnTo>
                            <a:cubicBezTo>
                              <a:pt x="9031" y="1316"/>
                              <a:pt x="9270" y="1495"/>
                              <a:pt x="9509" y="1615"/>
                            </a:cubicBezTo>
                            <a:cubicBezTo>
                              <a:pt x="9749" y="1734"/>
                              <a:pt x="9988" y="1974"/>
                              <a:pt x="10227" y="2093"/>
                            </a:cubicBezTo>
                            <a:cubicBezTo>
                              <a:pt x="10466" y="2273"/>
                              <a:pt x="10705" y="2392"/>
                              <a:pt x="10885" y="2572"/>
                            </a:cubicBezTo>
                            <a:cubicBezTo>
                              <a:pt x="11124" y="2751"/>
                              <a:pt x="11303" y="2871"/>
                              <a:pt x="11543" y="3050"/>
                            </a:cubicBezTo>
                            <a:lnTo>
                              <a:pt x="12141" y="2333"/>
                            </a:lnTo>
                            <a:cubicBezTo>
                              <a:pt x="11902" y="2153"/>
                              <a:pt x="11662" y="1974"/>
                              <a:pt x="11423" y="1794"/>
                            </a:cubicBezTo>
                            <a:cubicBezTo>
                              <a:pt x="11184" y="1615"/>
                              <a:pt x="10944" y="1435"/>
                              <a:pt x="10645" y="1256"/>
                            </a:cubicBezTo>
                            <a:cubicBezTo>
                              <a:pt x="10406" y="1076"/>
                              <a:pt x="10107" y="897"/>
                              <a:pt x="9868" y="718"/>
                            </a:cubicBezTo>
                            <a:cubicBezTo>
                              <a:pt x="9629" y="538"/>
                              <a:pt x="9330" y="359"/>
                              <a:pt x="9090" y="180"/>
                            </a:cubicBezTo>
                            <a:lnTo>
                              <a:pt x="8851" y="0"/>
                            </a:lnTo>
                            <a:lnTo>
                              <a:pt x="8373" y="598"/>
                            </a:lnTo>
                            <a:lnTo>
                              <a:pt x="6878" y="2452"/>
                            </a:lnTo>
                            <a:lnTo>
                              <a:pt x="7117" y="2632"/>
                            </a:lnTo>
                            <a:cubicBezTo>
                              <a:pt x="7416" y="2811"/>
                              <a:pt x="7655" y="2990"/>
                              <a:pt x="7895" y="3170"/>
                            </a:cubicBezTo>
                            <a:cubicBezTo>
                              <a:pt x="8134" y="3349"/>
                              <a:pt x="8433" y="3529"/>
                              <a:pt x="8672" y="3708"/>
                            </a:cubicBezTo>
                            <a:cubicBezTo>
                              <a:pt x="8911" y="3888"/>
                              <a:pt x="9150" y="4067"/>
                              <a:pt x="9449" y="4246"/>
                            </a:cubicBezTo>
                            <a:cubicBezTo>
                              <a:pt x="9749" y="4426"/>
                              <a:pt x="9928" y="4545"/>
                              <a:pt x="10167" y="4725"/>
                            </a:cubicBezTo>
                            <a:moveTo>
                              <a:pt x="12858" y="39891"/>
                            </a:moveTo>
                            <a:lnTo>
                              <a:pt x="13397" y="40250"/>
                            </a:lnTo>
                            <a:cubicBezTo>
                              <a:pt x="13875" y="39652"/>
                              <a:pt x="14413" y="39054"/>
                              <a:pt x="14892" y="38516"/>
                            </a:cubicBezTo>
                            <a:cubicBezTo>
                              <a:pt x="15371" y="37918"/>
                              <a:pt x="15849" y="37380"/>
                              <a:pt x="16267" y="36782"/>
                            </a:cubicBezTo>
                            <a:cubicBezTo>
                              <a:pt x="16746" y="36243"/>
                              <a:pt x="17165" y="35645"/>
                              <a:pt x="17583" y="35107"/>
                            </a:cubicBezTo>
                            <a:cubicBezTo>
                              <a:pt x="18002" y="34569"/>
                              <a:pt x="18420" y="34030"/>
                              <a:pt x="18839" y="33492"/>
                            </a:cubicBezTo>
                            <a:cubicBezTo>
                              <a:pt x="18899" y="33432"/>
                              <a:pt x="18899" y="33373"/>
                              <a:pt x="18959" y="33313"/>
                            </a:cubicBezTo>
                            <a:cubicBezTo>
                              <a:pt x="19019" y="33253"/>
                              <a:pt x="19019" y="33193"/>
                              <a:pt x="19079" y="33133"/>
                            </a:cubicBezTo>
                            <a:cubicBezTo>
                              <a:pt x="19138" y="33074"/>
                              <a:pt x="19138" y="33014"/>
                              <a:pt x="19198" y="32954"/>
                            </a:cubicBezTo>
                            <a:cubicBezTo>
                              <a:pt x="19258" y="32894"/>
                              <a:pt x="19258" y="32834"/>
                              <a:pt x="19318" y="32774"/>
                            </a:cubicBezTo>
                            <a:cubicBezTo>
                              <a:pt x="19557" y="32415"/>
                              <a:pt x="19796" y="32116"/>
                              <a:pt x="20035" y="31758"/>
                            </a:cubicBezTo>
                            <a:cubicBezTo>
                              <a:pt x="20274" y="31399"/>
                              <a:pt x="20514" y="31100"/>
                              <a:pt x="20693" y="30741"/>
                            </a:cubicBezTo>
                            <a:cubicBezTo>
                              <a:pt x="20933" y="30382"/>
                              <a:pt x="21112" y="30083"/>
                              <a:pt x="21291" y="29724"/>
                            </a:cubicBezTo>
                            <a:cubicBezTo>
                              <a:pt x="21471" y="29366"/>
                              <a:pt x="21710" y="29066"/>
                              <a:pt x="21889" y="28707"/>
                            </a:cubicBezTo>
                            <a:cubicBezTo>
                              <a:pt x="21949" y="28648"/>
                              <a:pt x="21949" y="28588"/>
                              <a:pt x="22009" y="28528"/>
                            </a:cubicBezTo>
                            <a:cubicBezTo>
                              <a:pt x="22069" y="28468"/>
                              <a:pt x="22069" y="28408"/>
                              <a:pt x="22128" y="28349"/>
                            </a:cubicBezTo>
                            <a:cubicBezTo>
                              <a:pt x="22188" y="28289"/>
                              <a:pt x="22188" y="28229"/>
                              <a:pt x="22248" y="28169"/>
                            </a:cubicBezTo>
                            <a:cubicBezTo>
                              <a:pt x="22308" y="28109"/>
                              <a:pt x="22308" y="28050"/>
                              <a:pt x="22368" y="27990"/>
                            </a:cubicBezTo>
                            <a:cubicBezTo>
                              <a:pt x="22428" y="27870"/>
                              <a:pt x="22488" y="27811"/>
                              <a:pt x="22488" y="27691"/>
                            </a:cubicBezTo>
                            <a:cubicBezTo>
                              <a:pt x="22547" y="27571"/>
                              <a:pt x="22607" y="27511"/>
                              <a:pt x="22607" y="27392"/>
                            </a:cubicBezTo>
                            <a:cubicBezTo>
                              <a:pt x="22667" y="27272"/>
                              <a:pt x="22727" y="27212"/>
                              <a:pt x="22727" y="27093"/>
                            </a:cubicBezTo>
                            <a:cubicBezTo>
                              <a:pt x="22787" y="26973"/>
                              <a:pt x="22787" y="26913"/>
                              <a:pt x="22846" y="26794"/>
                            </a:cubicBezTo>
                            <a:cubicBezTo>
                              <a:pt x="22906" y="26734"/>
                              <a:pt x="22906" y="26674"/>
                              <a:pt x="22966" y="26554"/>
                            </a:cubicBezTo>
                            <a:cubicBezTo>
                              <a:pt x="23026" y="26495"/>
                              <a:pt x="23026" y="26435"/>
                              <a:pt x="23086" y="26315"/>
                            </a:cubicBezTo>
                            <a:cubicBezTo>
                              <a:pt x="23145" y="26255"/>
                              <a:pt x="23145" y="26196"/>
                              <a:pt x="23205" y="26076"/>
                            </a:cubicBezTo>
                            <a:cubicBezTo>
                              <a:pt x="23265" y="26016"/>
                              <a:pt x="23265" y="25956"/>
                              <a:pt x="23265" y="25837"/>
                            </a:cubicBezTo>
                            <a:cubicBezTo>
                              <a:pt x="23384" y="25598"/>
                              <a:pt x="23444" y="25358"/>
                              <a:pt x="23504" y="25179"/>
                            </a:cubicBezTo>
                            <a:cubicBezTo>
                              <a:pt x="23564" y="24940"/>
                              <a:pt x="23683" y="24700"/>
                              <a:pt x="23743" y="24521"/>
                            </a:cubicBezTo>
                            <a:cubicBezTo>
                              <a:pt x="23803" y="24282"/>
                              <a:pt x="23863" y="24043"/>
                              <a:pt x="23923" y="23863"/>
                            </a:cubicBezTo>
                            <a:cubicBezTo>
                              <a:pt x="23983" y="23624"/>
                              <a:pt x="24042" y="23385"/>
                              <a:pt x="24102" y="23205"/>
                            </a:cubicBezTo>
                            <a:cubicBezTo>
                              <a:pt x="24102" y="23145"/>
                              <a:pt x="24162" y="23026"/>
                              <a:pt x="24162" y="22966"/>
                            </a:cubicBezTo>
                            <a:cubicBezTo>
                              <a:pt x="24162" y="22906"/>
                              <a:pt x="24222" y="22787"/>
                              <a:pt x="24222" y="22727"/>
                            </a:cubicBezTo>
                            <a:cubicBezTo>
                              <a:pt x="24222" y="22667"/>
                              <a:pt x="24282" y="22547"/>
                              <a:pt x="24282" y="22488"/>
                            </a:cubicBezTo>
                            <a:cubicBezTo>
                              <a:pt x="24282" y="22428"/>
                              <a:pt x="24282" y="22308"/>
                              <a:pt x="24342" y="22248"/>
                            </a:cubicBezTo>
                            <a:cubicBezTo>
                              <a:pt x="24342" y="22189"/>
                              <a:pt x="24342" y="22069"/>
                              <a:pt x="24401" y="22009"/>
                            </a:cubicBezTo>
                            <a:cubicBezTo>
                              <a:pt x="24461" y="21949"/>
                              <a:pt x="24401" y="21830"/>
                              <a:pt x="24461" y="21770"/>
                            </a:cubicBezTo>
                            <a:cubicBezTo>
                              <a:pt x="24461" y="21710"/>
                              <a:pt x="24461" y="21590"/>
                              <a:pt x="24521" y="21530"/>
                            </a:cubicBezTo>
                            <a:cubicBezTo>
                              <a:pt x="24521" y="21471"/>
                              <a:pt x="24521" y="21351"/>
                              <a:pt x="24521" y="21291"/>
                            </a:cubicBezTo>
                            <a:cubicBezTo>
                              <a:pt x="24521" y="21112"/>
                              <a:pt x="24521" y="20992"/>
                              <a:pt x="24581" y="20813"/>
                            </a:cubicBezTo>
                            <a:cubicBezTo>
                              <a:pt x="24641" y="20634"/>
                              <a:pt x="24581" y="20514"/>
                              <a:pt x="24581" y="20335"/>
                            </a:cubicBezTo>
                            <a:cubicBezTo>
                              <a:pt x="24581" y="20155"/>
                              <a:pt x="24581" y="20035"/>
                              <a:pt x="24581" y="19856"/>
                            </a:cubicBezTo>
                            <a:cubicBezTo>
                              <a:pt x="24581" y="19676"/>
                              <a:pt x="24581" y="19557"/>
                              <a:pt x="24581" y="19377"/>
                            </a:cubicBezTo>
                            <a:cubicBezTo>
                              <a:pt x="24581" y="19258"/>
                              <a:pt x="24581" y="19198"/>
                              <a:pt x="24581" y="19079"/>
                            </a:cubicBezTo>
                            <a:cubicBezTo>
                              <a:pt x="24581" y="18959"/>
                              <a:pt x="24581" y="18899"/>
                              <a:pt x="24581" y="18780"/>
                            </a:cubicBezTo>
                            <a:cubicBezTo>
                              <a:pt x="24581" y="18660"/>
                              <a:pt x="24581" y="18600"/>
                              <a:pt x="24521" y="18481"/>
                            </a:cubicBezTo>
                            <a:cubicBezTo>
                              <a:pt x="24521" y="18361"/>
                              <a:pt x="24521" y="18301"/>
                              <a:pt x="24461" y="18181"/>
                            </a:cubicBezTo>
                            <a:cubicBezTo>
                              <a:pt x="24461" y="18181"/>
                              <a:pt x="24461" y="18122"/>
                              <a:pt x="24461" y="18122"/>
                            </a:cubicBezTo>
                            <a:cubicBezTo>
                              <a:pt x="24461" y="18122"/>
                              <a:pt x="24461" y="18062"/>
                              <a:pt x="24461" y="18062"/>
                            </a:cubicBezTo>
                            <a:cubicBezTo>
                              <a:pt x="24461" y="18062"/>
                              <a:pt x="24461" y="18002"/>
                              <a:pt x="24461" y="18002"/>
                            </a:cubicBezTo>
                            <a:cubicBezTo>
                              <a:pt x="24461" y="18002"/>
                              <a:pt x="24461" y="17942"/>
                              <a:pt x="24461" y="17942"/>
                            </a:cubicBezTo>
                            <a:cubicBezTo>
                              <a:pt x="24461" y="17822"/>
                              <a:pt x="24401" y="17763"/>
                              <a:pt x="24401" y="17643"/>
                            </a:cubicBezTo>
                            <a:cubicBezTo>
                              <a:pt x="24401" y="17523"/>
                              <a:pt x="24342" y="17464"/>
                              <a:pt x="24342" y="17344"/>
                            </a:cubicBezTo>
                            <a:cubicBezTo>
                              <a:pt x="24342" y="17225"/>
                              <a:pt x="24282" y="17165"/>
                              <a:pt x="24282" y="17045"/>
                            </a:cubicBezTo>
                            <a:cubicBezTo>
                              <a:pt x="24282" y="16926"/>
                              <a:pt x="24222" y="16866"/>
                              <a:pt x="24222" y="16746"/>
                            </a:cubicBezTo>
                            <a:cubicBezTo>
                              <a:pt x="24222" y="16627"/>
                              <a:pt x="24162" y="16507"/>
                              <a:pt x="24102" y="16387"/>
                            </a:cubicBezTo>
                            <a:cubicBezTo>
                              <a:pt x="24042" y="16268"/>
                              <a:pt x="24042" y="16148"/>
                              <a:pt x="23983" y="16028"/>
                            </a:cubicBezTo>
                            <a:cubicBezTo>
                              <a:pt x="23923" y="15909"/>
                              <a:pt x="23923" y="15789"/>
                              <a:pt x="23863" y="15669"/>
                            </a:cubicBezTo>
                            <a:cubicBezTo>
                              <a:pt x="23803" y="15550"/>
                              <a:pt x="23803" y="15430"/>
                              <a:pt x="23743" y="15311"/>
                            </a:cubicBezTo>
                            <a:cubicBezTo>
                              <a:pt x="23683" y="15251"/>
                              <a:pt x="23683" y="15131"/>
                              <a:pt x="23624" y="15072"/>
                            </a:cubicBezTo>
                            <a:cubicBezTo>
                              <a:pt x="23564" y="15012"/>
                              <a:pt x="23564" y="14892"/>
                              <a:pt x="23504" y="14832"/>
                            </a:cubicBezTo>
                            <a:cubicBezTo>
                              <a:pt x="23444" y="14773"/>
                              <a:pt x="23444" y="14653"/>
                              <a:pt x="23384" y="14593"/>
                            </a:cubicBezTo>
                            <a:cubicBezTo>
                              <a:pt x="23325" y="14533"/>
                              <a:pt x="23325" y="14414"/>
                              <a:pt x="23265" y="14354"/>
                            </a:cubicBezTo>
                            <a:cubicBezTo>
                              <a:pt x="23145" y="14174"/>
                              <a:pt x="23086" y="13935"/>
                              <a:pt x="22966" y="13756"/>
                            </a:cubicBezTo>
                            <a:cubicBezTo>
                              <a:pt x="22846" y="13576"/>
                              <a:pt x="22787" y="13337"/>
                              <a:pt x="22667" y="13158"/>
                            </a:cubicBezTo>
                            <a:cubicBezTo>
                              <a:pt x="22547" y="12978"/>
                              <a:pt x="22428" y="12739"/>
                              <a:pt x="22308" y="12559"/>
                            </a:cubicBezTo>
                            <a:cubicBezTo>
                              <a:pt x="22188" y="12380"/>
                              <a:pt x="22069" y="12141"/>
                              <a:pt x="21949" y="11961"/>
                            </a:cubicBezTo>
                            <a:cubicBezTo>
                              <a:pt x="21889" y="11902"/>
                              <a:pt x="21829" y="11782"/>
                              <a:pt x="21770" y="11722"/>
                            </a:cubicBezTo>
                            <a:cubicBezTo>
                              <a:pt x="21710" y="11662"/>
                              <a:pt x="21650" y="11543"/>
                              <a:pt x="21590" y="11483"/>
                            </a:cubicBezTo>
                            <a:cubicBezTo>
                              <a:pt x="21530" y="11423"/>
                              <a:pt x="21471" y="11304"/>
                              <a:pt x="21411" y="11244"/>
                            </a:cubicBezTo>
                            <a:cubicBezTo>
                              <a:pt x="21351" y="11184"/>
                              <a:pt x="21291" y="11064"/>
                              <a:pt x="21231" y="11005"/>
                            </a:cubicBezTo>
                            <a:cubicBezTo>
                              <a:pt x="21172" y="10885"/>
                              <a:pt x="21052" y="10765"/>
                              <a:pt x="20933" y="10646"/>
                            </a:cubicBezTo>
                            <a:cubicBezTo>
                              <a:pt x="20813" y="10526"/>
                              <a:pt x="20753" y="10406"/>
                              <a:pt x="20633" y="10287"/>
                            </a:cubicBezTo>
                            <a:cubicBezTo>
                              <a:pt x="20514" y="10167"/>
                              <a:pt x="20454" y="10048"/>
                              <a:pt x="20334" y="9928"/>
                            </a:cubicBezTo>
                            <a:cubicBezTo>
                              <a:pt x="20215" y="9808"/>
                              <a:pt x="20155" y="9689"/>
                              <a:pt x="20035" y="9569"/>
                            </a:cubicBezTo>
                            <a:cubicBezTo>
                              <a:pt x="19916" y="9450"/>
                              <a:pt x="19856" y="9330"/>
                              <a:pt x="19736" y="9210"/>
                            </a:cubicBezTo>
                            <a:cubicBezTo>
                              <a:pt x="19617" y="9091"/>
                              <a:pt x="19557" y="8971"/>
                              <a:pt x="19437" y="8851"/>
                            </a:cubicBezTo>
                            <a:cubicBezTo>
                              <a:pt x="19318" y="8732"/>
                              <a:pt x="19258" y="8612"/>
                              <a:pt x="19138" y="8493"/>
                            </a:cubicBezTo>
                            <a:cubicBezTo>
                              <a:pt x="19019" y="8373"/>
                              <a:pt x="18899" y="8253"/>
                              <a:pt x="18839" y="8134"/>
                            </a:cubicBezTo>
                            <a:cubicBezTo>
                              <a:pt x="18720" y="8014"/>
                              <a:pt x="18660" y="7895"/>
                              <a:pt x="18540" y="7835"/>
                            </a:cubicBezTo>
                            <a:cubicBezTo>
                              <a:pt x="18420" y="7715"/>
                              <a:pt x="18301" y="7596"/>
                              <a:pt x="18241" y="7536"/>
                            </a:cubicBezTo>
                            <a:cubicBezTo>
                              <a:pt x="18121" y="7416"/>
                              <a:pt x="18002" y="7297"/>
                              <a:pt x="17882" y="7237"/>
                            </a:cubicBezTo>
                            <a:cubicBezTo>
                              <a:pt x="17763" y="7117"/>
                              <a:pt x="17643" y="6997"/>
                              <a:pt x="17523" y="6938"/>
                            </a:cubicBezTo>
                            <a:cubicBezTo>
                              <a:pt x="17165" y="6579"/>
                              <a:pt x="16806" y="6280"/>
                              <a:pt x="16387" y="5921"/>
                            </a:cubicBezTo>
                            <a:cubicBezTo>
                              <a:pt x="15968" y="5562"/>
                              <a:pt x="15610" y="5203"/>
                              <a:pt x="15191" y="4904"/>
                            </a:cubicBezTo>
                            <a:cubicBezTo>
                              <a:pt x="14772" y="4545"/>
                              <a:pt x="14354" y="4187"/>
                              <a:pt x="13875" y="3828"/>
                            </a:cubicBezTo>
                            <a:cubicBezTo>
                              <a:pt x="13397" y="3469"/>
                              <a:pt x="12978" y="3110"/>
                              <a:pt x="12500" y="2751"/>
                            </a:cubicBezTo>
                            <a:lnTo>
                              <a:pt x="11902" y="3469"/>
                            </a:lnTo>
                            <a:cubicBezTo>
                              <a:pt x="12679" y="4067"/>
                              <a:pt x="13397" y="4605"/>
                              <a:pt x="14114" y="5203"/>
                            </a:cubicBezTo>
                            <a:cubicBezTo>
                              <a:pt x="14832" y="5801"/>
                              <a:pt x="15490" y="6340"/>
                              <a:pt x="16088" y="6878"/>
                            </a:cubicBezTo>
                            <a:cubicBezTo>
                              <a:pt x="16686" y="7416"/>
                              <a:pt x="17284" y="7954"/>
                              <a:pt x="17822" y="8552"/>
                            </a:cubicBezTo>
                            <a:cubicBezTo>
                              <a:pt x="18361" y="9091"/>
                              <a:pt x="18839" y="9629"/>
                              <a:pt x="19318" y="10167"/>
                            </a:cubicBezTo>
                            <a:cubicBezTo>
                              <a:pt x="19377" y="10287"/>
                              <a:pt x="19497" y="10347"/>
                              <a:pt x="19557" y="10466"/>
                            </a:cubicBezTo>
                            <a:cubicBezTo>
                              <a:pt x="19617" y="10586"/>
                              <a:pt x="19736" y="10646"/>
                              <a:pt x="19796" y="10705"/>
                            </a:cubicBezTo>
                            <a:cubicBezTo>
                              <a:pt x="19856" y="10765"/>
                              <a:pt x="19916" y="10885"/>
                              <a:pt x="20035" y="10945"/>
                            </a:cubicBezTo>
                            <a:cubicBezTo>
                              <a:pt x="20095" y="11005"/>
                              <a:pt x="20155" y="11124"/>
                              <a:pt x="20274" y="11184"/>
                            </a:cubicBezTo>
                            <a:cubicBezTo>
                              <a:pt x="20334" y="11304"/>
                              <a:pt x="20454" y="11423"/>
                              <a:pt x="20514" y="11483"/>
                            </a:cubicBezTo>
                            <a:cubicBezTo>
                              <a:pt x="20574" y="11543"/>
                              <a:pt x="20693" y="11722"/>
                              <a:pt x="20753" y="11782"/>
                            </a:cubicBezTo>
                            <a:cubicBezTo>
                              <a:pt x="20813" y="11902"/>
                              <a:pt x="20933" y="12021"/>
                              <a:pt x="20992" y="12081"/>
                            </a:cubicBezTo>
                            <a:cubicBezTo>
                              <a:pt x="21052" y="12201"/>
                              <a:pt x="21112" y="12320"/>
                              <a:pt x="21231" y="12380"/>
                            </a:cubicBezTo>
                            <a:cubicBezTo>
                              <a:pt x="21291" y="12440"/>
                              <a:pt x="21351" y="12500"/>
                              <a:pt x="21351" y="12619"/>
                            </a:cubicBezTo>
                            <a:cubicBezTo>
                              <a:pt x="21351" y="12739"/>
                              <a:pt x="21471" y="12739"/>
                              <a:pt x="21471" y="12859"/>
                            </a:cubicBezTo>
                            <a:cubicBezTo>
                              <a:pt x="21471" y="12978"/>
                              <a:pt x="21590" y="12978"/>
                              <a:pt x="21590" y="13098"/>
                            </a:cubicBezTo>
                            <a:cubicBezTo>
                              <a:pt x="21650" y="13158"/>
                              <a:pt x="21650" y="13218"/>
                              <a:pt x="21710" y="13337"/>
                            </a:cubicBezTo>
                            <a:cubicBezTo>
                              <a:pt x="21829" y="13516"/>
                              <a:pt x="21949" y="13756"/>
                              <a:pt x="22069" y="13935"/>
                            </a:cubicBezTo>
                            <a:cubicBezTo>
                              <a:pt x="22188" y="14114"/>
                              <a:pt x="22248" y="14354"/>
                              <a:pt x="22368" y="14533"/>
                            </a:cubicBezTo>
                            <a:cubicBezTo>
                              <a:pt x="22488" y="14713"/>
                              <a:pt x="22547" y="14952"/>
                              <a:pt x="22667" y="15131"/>
                            </a:cubicBezTo>
                            <a:cubicBezTo>
                              <a:pt x="22727" y="15311"/>
                              <a:pt x="22846" y="15490"/>
                              <a:pt x="22906" y="15729"/>
                            </a:cubicBezTo>
                            <a:cubicBezTo>
                              <a:pt x="22966" y="15789"/>
                              <a:pt x="22966" y="15909"/>
                              <a:pt x="23026" y="15968"/>
                            </a:cubicBezTo>
                            <a:cubicBezTo>
                              <a:pt x="23086" y="16028"/>
                              <a:pt x="23086" y="16148"/>
                              <a:pt x="23086" y="16208"/>
                            </a:cubicBezTo>
                            <a:cubicBezTo>
                              <a:pt x="23086" y="16268"/>
                              <a:pt x="23145" y="16387"/>
                              <a:pt x="23145" y="16447"/>
                            </a:cubicBezTo>
                            <a:cubicBezTo>
                              <a:pt x="23145" y="16507"/>
                              <a:pt x="23205" y="16627"/>
                              <a:pt x="23205" y="16686"/>
                            </a:cubicBezTo>
                            <a:cubicBezTo>
                              <a:pt x="23205" y="16746"/>
                              <a:pt x="23265" y="16806"/>
                              <a:pt x="23265" y="16926"/>
                            </a:cubicBezTo>
                            <a:cubicBezTo>
                              <a:pt x="23265" y="16985"/>
                              <a:pt x="23325" y="17045"/>
                              <a:pt x="23325" y="17165"/>
                            </a:cubicBezTo>
                            <a:cubicBezTo>
                              <a:pt x="23325" y="17225"/>
                              <a:pt x="23384" y="17284"/>
                              <a:pt x="23384" y="17404"/>
                            </a:cubicBezTo>
                            <a:cubicBezTo>
                              <a:pt x="23384" y="17464"/>
                              <a:pt x="23444" y="17523"/>
                              <a:pt x="23444" y="17643"/>
                            </a:cubicBezTo>
                            <a:cubicBezTo>
                              <a:pt x="23444" y="17703"/>
                              <a:pt x="23444" y="17703"/>
                              <a:pt x="23444" y="17763"/>
                            </a:cubicBezTo>
                            <a:cubicBezTo>
                              <a:pt x="23444" y="17822"/>
                              <a:pt x="23444" y="17822"/>
                              <a:pt x="23444" y="17882"/>
                            </a:cubicBezTo>
                            <a:cubicBezTo>
                              <a:pt x="23444" y="17942"/>
                              <a:pt x="23444" y="17942"/>
                              <a:pt x="23444" y="18002"/>
                            </a:cubicBezTo>
                            <a:cubicBezTo>
                              <a:pt x="23444" y="18062"/>
                              <a:pt x="23444" y="18062"/>
                              <a:pt x="23444" y="18122"/>
                            </a:cubicBezTo>
                            <a:cubicBezTo>
                              <a:pt x="23444" y="18241"/>
                              <a:pt x="23504" y="18301"/>
                              <a:pt x="23504" y="18421"/>
                            </a:cubicBezTo>
                            <a:cubicBezTo>
                              <a:pt x="23504" y="18540"/>
                              <a:pt x="23504" y="18600"/>
                              <a:pt x="23564" y="18720"/>
                            </a:cubicBezTo>
                            <a:cubicBezTo>
                              <a:pt x="23564" y="18839"/>
                              <a:pt x="23564" y="18899"/>
                              <a:pt x="23624" y="19019"/>
                            </a:cubicBezTo>
                            <a:cubicBezTo>
                              <a:pt x="23624" y="19138"/>
                              <a:pt x="23624" y="19198"/>
                              <a:pt x="23624" y="19318"/>
                            </a:cubicBezTo>
                            <a:cubicBezTo>
                              <a:pt x="23624" y="19497"/>
                              <a:pt x="23624" y="19676"/>
                              <a:pt x="23683" y="19856"/>
                            </a:cubicBezTo>
                            <a:cubicBezTo>
                              <a:pt x="23683" y="20035"/>
                              <a:pt x="23683" y="20215"/>
                              <a:pt x="23683" y="20394"/>
                            </a:cubicBezTo>
                            <a:cubicBezTo>
                              <a:pt x="23683" y="20574"/>
                              <a:pt x="23683" y="20753"/>
                              <a:pt x="23683" y="20933"/>
                            </a:cubicBezTo>
                            <a:cubicBezTo>
                              <a:pt x="23683" y="21112"/>
                              <a:pt x="23683" y="21291"/>
                              <a:pt x="23624" y="21530"/>
                            </a:cubicBezTo>
                            <a:cubicBezTo>
                              <a:pt x="23624" y="21530"/>
                              <a:pt x="23624" y="21590"/>
                              <a:pt x="23624" y="21590"/>
                            </a:cubicBezTo>
                            <a:cubicBezTo>
                              <a:pt x="23624" y="21590"/>
                              <a:pt x="23624" y="21650"/>
                              <a:pt x="23624" y="21650"/>
                            </a:cubicBezTo>
                            <a:cubicBezTo>
                              <a:pt x="23624" y="21650"/>
                              <a:pt x="23624" y="21710"/>
                              <a:pt x="23624" y="21710"/>
                            </a:cubicBezTo>
                            <a:cubicBezTo>
                              <a:pt x="23624" y="21710"/>
                              <a:pt x="23624" y="21770"/>
                              <a:pt x="23624" y="21770"/>
                            </a:cubicBezTo>
                            <a:cubicBezTo>
                              <a:pt x="23624" y="21830"/>
                              <a:pt x="23624" y="21949"/>
                              <a:pt x="23564" y="22009"/>
                            </a:cubicBezTo>
                            <a:cubicBezTo>
                              <a:pt x="23504" y="22069"/>
                              <a:pt x="23564" y="22189"/>
                              <a:pt x="23504" y="22248"/>
                            </a:cubicBezTo>
                            <a:cubicBezTo>
                              <a:pt x="23504" y="22308"/>
                              <a:pt x="23504" y="22428"/>
                              <a:pt x="23444" y="22488"/>
                            </a:cubicBezTo>
                            <a:cubicBezTo>
                              <a:pt x="23444" y="22547"/>
                              <a:pt x="23444" y="22667"/>
                              <a:pt x="23384" y="22727"/>
                            </a:cubicBezTo>
                            <a:cubicBezTo>
                              <a:pt x="23325" y="22966"/>
                              <a:pt x="23265" y="23205"/>
                              <a:pt x="23205" y="23385"/>
                            </a:cubicBezTo>
                            <a:cubicBezTo>
                              <a:pt x="23145" y="23624"/>
                              <a:pt x="23086" y="23863"/>
                              <a:pt x="23026" y="24102"/>
                            </a:cubicBezTo>
                            <a:cubicBezTo>
                              <a:pt x="22966" y="24342"/>
                              <a:pt x="22906" y="24581"/>
                              <a:pt x="22787" y="24820"/>
                            </a:cubicBezTo>
                            <a:cubicBezTo>
                              <a:pt x="22727" y="25059"/>
                              <a:pt x="22607" y="25298"/>
                              <a:pt x="22547" y="25538"/>
                            </a:cubicBezTo>
                            <a:cubicBezTo>
                              <a:pt x="22547" y="25598"/>
                              <a:pt x="22488" y="25657"/>
                              <a:pt x="22488" y="25777"/>
                            </a:cubicBezTo>
                            <a:cubicBezTo>
                              <a:pt x="22488" y="25837"/>
                              <a:pt x="22428" y="25897"/>
                              <a:pt x="22428" y="26016"/>
                            </a:cubicBezTo>
                            <a:cubicBezTo>
                              <a:pt x="22368" y="26076"/>
                              <a:pt x="22368" y="26136"/>
                              <a:pt x="22308" y="26255"/>
                            </a:cubicBezTo>
                            <a:cubicBezTo>
                              <a:pt x="22248" y="26315"/>
                              <a:pt x="22248" y="26375"/>
                              <a:pt x="22188" y="26495"/>
                            </a:cubicBezTo>
                            <a:cubicBezTo>
                              <a:pt x="22128" y="26614"/>
                              <a:pt x="22128" y="26674"/>
                              <a:pt x="22069" y="26794"/>
                            </a:cubicBezTo>
                            <a:cubicBezTo>
                              <a:pt x="22009" y="26913"/>
                              <a:pt x="22009" y="26973"/>
                              <a:pt x="21949" y="27093"/>
                            </a:cubicBezTo>
                            <a:cubicBezTo>
                              <a:pt x="21889" y="27212"/>
                              <a:pt x="21829" y="27272"/>
                              <a:pt x="21829" y="27392"/>
                            </a:cubicBezTo>
                            <a:cubicBezTo>
                              <a:pt x="21770" y="27511"/>
                              <a:pt x="21710" y="27571"/>
                              <a:pt x="21710" y="27691"/>
                            </a:cubicBezTo>
                            <a:cubicBezTo>
                              <a:pt x="21650" y="27751"/>
                              <a:pt x="21650" y="27811"/>
                              <a:pt x="21590" y="27870"/>
                            </a:cubicBezTo>
                            <a:cubicBezTo>
                              <a:pt x="21530" y="27930"/>
                              <a:pt x="21530" y="27990"/>
                              <a:pt x="21471" y="28050"/>
                            </a:cubicBezTo>
                            <a:cubicBezTo>
                              <a:pt x="21411" y="28109"/>
                              <a:pt x="21411" y="28169"/>
                              <a:pt x="21351" y="28229"/>
                            </a:cubicBezTo>
                            <a:cubicBezTo>
                              <a:pt x="21291" y="28289"/>
                              <a:pt x="21291" y="28349"/>
                              <a:pt x="21231" y="28408"/>
                            </a:cubicBezTo>
                            <a:cubicBezTo>
                              <a:pt x="21052" y="28707"/>
                              <a:pt x="20873" y="29066"/>
                              <a:pt x="20693" y="29425"/>
                            </a:cubicBezTo>
                            <a:cubicBezTo>
                              <a:pt x="20514" y="29784"/>
                              <a:pt x="20274" y="30083"/>
                              <a:pt x="20095" y="30442"/>
                            </a:cubicBezTo>
                            <a:cubicBezTo>
                              <a:pt x="19856" y="30801"/>
                              <a:pt x="19676" y="31100"/>
                              <a:pt x="19437" y="31459"/>
                            </a:cubicBezTo>
                            <a:cubicBezTo>
                              <a:pt x="19198" y="31817"/>
                              <a:pt x="18959" y="32116"/>
                              <a:pt x="18720" y="32475"/>
                            </a:cubicBezTo>
                            <a:cubicBezTo>
                              <a:pt x="18660" y="32535"/>
                              <a:pt x="18660" y="32595"/>
                              <a:pt x="18600" y="32655"/>
                            </a:cubicBezTo>
                            <a:cubicBezTo>
                              <a:pt x="18540" y="32715"/>
                              <a:pt x="18540" y="32774"/>
                              <a:pt x="18480" y="32834"/>
                            </a:cubicBezTo>
                            <a:cubicBezTo>
                              <a:pt x="18420" y="32894"/>
                              <a:pt x="18420" y="32954"/>
                              <a:pt x="18361" y="33014"/>
                            </a:cubicBezTo>
                            <a:cubicBezTo>
                              <a:pt x="18301" y="33074"/>
                              <a:pt x="18301" y="33133"/>
                              <a:pt x="18241" y="33193"/>
                            </a:cubicBezTo>
                            <a:cubicBezTo>
                              <a:pt x="17822" y="33731"/>
                              <a:pt x="17464" y="34269"/>
                              <a:pt x="16985" y="34808"/>
                            </a:cubicBezTo>
                            <a:cubicBezTo>
                              <a:pt x="16566" y="35346"/>
                              <a:pt x="16148" y="35884"/>
                              <a:pt x="15669" y="36482"/>
                            </a:cubicBezTo>
                            <a:cubicBezTo>
                              <a:pt x="15191" y="37081"/>
                              <a:pt x="14772" y="37619"/>
                              <a:pt x="14294" y="38217"/>
                            </a:cubicBezTo>
                            <a:cubicBezTo>
                              <a:pt x="13875" y="38695"/>
                              <a:pt x="13397" y="39293"/>
                              <a:pt x="12858" y="39891"/>
                            </a:cubicBezTo>
                            <a:moveTo>
                              <a:pt x="11722" y="39114"/>
                            </a:moveTo>
                            <a:lnTo>
                              <a:pt x="12260" y="39473"/>
                            </a:lnTo>
                            <a:cubicBezTo>
                              <a:pt x="12798" y="38875"/>
                              <a:pt x="13277" y="38277"/>
                              <a:pt x="13756" y="37678"/>
                            </a:cubicBezTo>
                            <a:cubicBezTo>
                              <a:pt x="14234" y="37081"/>
                              <a:pt x="14712" y="36542"/>
                              <a:pt x="15191" y="35944"/>
                            </a:cubicBezTo>
                            <a:cubicBezTo>
                              <a:pt x="15669" y="35406"/>
                              <a:pt x="16088" y="34808"/>
                              <a:pt x="16507" y="34269"/>
                            </a:cubicBezTo>
                            <a:cubicBezTo>
                              <a:pt x="16925" y="33731"/>
                              <a:pt x="17344" y="33193"/>
                              <a:pt x="17703" y="32655"/>
                            </a:cubicBezTo>
                            <a:cubicBezTo>
                              <a:pt x="17763" y="32595"/>
                              <a:pt x="17763" y="32535"/>
                              <a:pt x="17822" y="32475"/>
                            </a:cubicBezTo>
                            <a:cubicBezTo>
                              <a:pt x="17882" y="32415"/>
                              <a:pt x="17882" y="32356"/>
                              <a:pt x="17942" y="32296"/>
                            </a:cubicBezTo>
                            <a:cubicBezTo>
                              <a:pt x="18002" y="32236"/>
                              <a:pt x="18002" y="32176"/>
                              <a:pt x="18062" y="32116"/>
                            </a:cubicBezTo>
                            <a:cubicBezTo>
                              <a:pt x="18121" y="32057"/>
                              <a:pt x="18121" y="31997"/>
                              <a:pt x="18181" y="31937"/>
                            </a:cubicBezTo>
                            <a:cubicBezTo>
                              <a:pt x="18420" y="31578"/>
                              <a:pt x="18660" y="31220"/>
                              <a:pt x="18899" y="30920"/>
                            </a:cubicBezTo>
                            <a:cubicBezTo>
                              <a:pt x="19138" y="30561"/>
                              <a:pt x="19377" y="30262"/>
                              <a:pt x="19557" y="29904"/>
                            </a:cubicBezTo>
                            <a:cubicBezTo>
                              <a:pt x="19796" y="29545"/>
                              <a:pt x="19975" y="29246"/>
                              <a:pt x="20155" y="28887"/>
                            </a:cubicBezTo>
                            <a:cubicBezTo>
                              <a:pt x="20334" y="28528"/>
                              <a:pt x="20514" y="28229"/>
                              <a:pt x="20693" y="27930"/>
                            </a:cubicBezTo>
                            <a:cubicBezTo>
                              <a:pt x="20753" y="27870"/>
                              <a:pt x="20753" y="27811"/>
                              <a:pt x="20813" y="27751"/>
                            </a:cubicBezTo>
                            <a:cubicBezTo>
                              <a:pt x="20873" y="27691"/>
                              <a:pt x="20873" y="27631"/>
                              <a:pt x="20933" y="27571"/>
                            </a:cubicBezTo>
                            <a:cubicBezTo>
                              <a:pt x="20992" y="27511"/>
                              <a:pt x="20992" y="27452"/>
                              <a:pt x="21052" y="27392"/>
                            </a:cubicBezTo>
                            <a:cubicBezTo>
                              <a:pt x="21112" y="27332"/>
                              <a:pt x="21112" y="27272"/>
                              <a:pt x="21172" y="27212"/>
                            </a:cubicBezTo>
                            <a:cubicBezTo>
                              <a:pt x="21231" y="27093"/>
                              <a:pt x="21291" y="27033"/>
                              <a:pt x="21291" y="26913"/>
                            </a:cubicBezTo>
                            <a:cubicBezTo>
                              <a:pt x="21351" y="26794"/>
                              <a:pt x="21411" y="26734"/>
                              <a:pt x="21411" y="26614"/>
                            </a:cubicBezTo>
                            <a:cubicBezTo>
                              <a:pt x="21471" y="26495"/>
                              <a:pt x="21471" y="26435"/>
                              <a:pt x="21530" y="26315"/>
                            </a:cubicBezTo>
                            <a:cubicBezTo>
                              <a:pt x="21590" y="26196"/>
                              <a:pt x="21590" y="26136"/>
                              <a:pt x="21650" y="26016"/>
                            </a:cubicBezTo>
                            <a:cubicBezTo>
                              <a:pt x="21710" y="25956"/>
                              <a:pt x="21710" y="25897"/>
                              <a:pt x="21710" y="25777"/>
                            </a:cubicBezTo>
                            <a:cubicBezTo>
                              <a:pt x="21710" y="25717"/>
                              <a:pt x="21770" y="25657"/>
                              <a:pt x="21770" y="25538"/>
                            </a:cubicBezTo>
                            <a:cubicBezTo>
                              <a:pt x="21770" y="25478"/>
                              <a:pt x="21829" y="25418"/>
                              <a:pt x="21829" y="25298"/>
                            </a:cubicBezTo>
                            <a:cubicBezTo>
                              <a:pt x="21829" y="25239"/>
                              <a:pt x="21889" y="25179"/>
                              <a:pt x="21889" y="25059"/>
                            </a:cubicBezTo>
                            <a:cubicBezTo>
                              <a:pt x="21949" y="24820"/>
                              <a:pt x="22069" y="24581"/>
                              <a:pt x="22128" y="24342"/>
                            </a:cubicBezTo>
                            <a:cubicBezTo>
                              <a:pt x="22188" y="24102"/>
                              <a:pt x="22248" y="23863"/>
                              <a:pt x="22308" y="23624"/>
                            </a:cubicBezTo>
                            <a:cubicBezTo>
                              <a:pt x="22368" y="23385"/>
                              <a:pt x="22428" y="23145"/>
                              <a:pt x="22488" y="22906"/>
                            </a:cubicBezTo>
                            <a:cubicBezTo>
                              <a:pt x="22547" y="22667"/>
                              <a:pt x="22547" y="22428"/>
                              <a:pt x="22607" y="22189"/>
                            </a:cubicBezTo>
                            <a:cubicBezTo>
                              <a:pt x="22607" y="22129"/>
                              <a:pt x="22607" y="22129"/>
                              <a:pt x="22607" y="22069"/>
                            </a:cubicBezTo>
                            <a:cubicBezTo>
                              <a:pt x="22607" y="22009"/>
                              <a:pt x="22607" y="22009"/>
                              <a:pt x="22607" y="21949"/>
                            </a:cubicBezTo>
                            <a:cubicBezTo>
                              <a:pt x="22607" y="21890"/>
                              <a:pt x="22607" y="21890"/>
                              <a:pt x="22607" y="21830"/>
                            </a:cubicBezTo>
                            <a:cubicBezTo>
                              <a:pt x="22607" y="21770"/>
                              <a:pt x="22607" y="21770"/>
                              <a:pt x="22607" y="21710"/>
                            </a:cubicBezTo>
                            <a:cubicBezTo>
                              <a:pt x="22607" y="21650"/>
                              <a:pt x="22607" y="21590"/>
                              <a:pt x="22607" y="21590"/>
                            </a:cubicBezTo>
                            <a:cubicBezTo>
                              <a:pt x="22607" y="21590"/>
                              <a:pt x="22607" y="21471"/>
                              <a:pt x="22607" y="21471"/>
                            </a:cubicBezTo>
                            <a:cubicBezTo>
                              <a:pt x="22607" y="21411"/>
                              <a:pt x="22607" y="21351"/>
                              <a:pt x="22607" y="21351"/>
                            </a:cubicBezTo>
                            <a:cubicBezTo>
                              <a:pt x="22607" y="21291"/>
                              <a:pt x="22607" y="21231"/>
                              <a:pt x="22607" y="21231"/>
                            </a:cubicBezTo>
                            <a:cubicBezTo>
                              <a:pt x="22607" y="21231"/>
                              <a:pt x="22607" y="21231"/>
                              <a:pt x="22607" y="21172"/>
                            </a:cubicBezTo>
                            <a:cubicBezTo>
                              <a:pt x="22607" y="21172"/>
                              <a:pt x="22607" y="21112"/>
                              <a:pt x="22607" y="21112"/>
                            </a:cubicBezTo>
                            <a:cubicBezTo>
                              <a:pt x="22607" y="21112"/>
                              <a:pt x="22607" y="21052"/>
                              <a:pt x="22607" y="21052"/>
                            </a:cubicBezTo>
                            <a:cubicBezTo>
                              <a:pt x="22607" y="21052"/>
                              <a:pt x="22607" y="21052"/>
                              <a:pt x="22607" y="20992"/>
                            </a:cubicBezTo>
                            <a:cubicBezTo>
                              <a:pt x="22607" y="20873"/>
                              <a:pt x="22607" y="20813"/>
                              <a:pt x="22607" y="20693"/>
                            </a:cubicBezTo>
                            <a:cubicBezTo>
                              <a:pt x="22607" y="20574"/>
                              <a:pt x="22607" y="20514"/>
                              <a:pt x="22607" y="20394"/>
                            </a:cubicBezTo>
                            <a:cubicBezTo>
                              <a:pt x="22607" y="20275"/>
                              <a:pt x="22607" y="20215"/>
                              <a:pt x="22607" y="20095"/>
                            </a:cubicBezTo>
                            <a:cubicBezTo>
                              <a:pt x="22607" y="19976"/>
                              <a:pt x="22607" y="19916"/>
                              <a:pt x="22607" y="19796"/>
                            </a:cubicBezTo>
                            <a:cubicBezTo>
                              <a:pt x="22607" y="19676"/>
                              <a:pt x="22607" y="19557"/>
                              <a:pt x="22547" y="19437"/>
                            </a:cubicBezTo>
                            <a:cubicBezTo>
                              <a:pt x="22547" y="19318"/>
                              <a:pt x="22488" y="19198"/>
                              <a:pt x="22488" y="19079"/>
                            </a:cubicBezTo>
                            <a:cubicBezTo>
                              <a:pt x="22488" y="18959"/>
                              <a:pt x="22428" y="18839"/>
                              <a:pt x="22428" y="18720"/>
                            </a:cubicBezTo>
                            <a:cubicBezTo>
                              <a:pt x="22428" y="18600"/>
                              <a:pt x="22368" y="18481"/>
                              <a:pt x="22368" y="18361"/>
                            </a:cubicBezTo>
                            <a:cubicBezTo>
                              <a:pt x="22368" y="18301"/>
                              <a:pt x="22308" y="18181"/>
                              <a:pt x="22308" y="18122"/>
                            </a:cubicBezTo>
                            <a:cubicBezTo>
                              <a:pt x="22308" y="18062"/>
                              <a:pt x="22248" y="17942"/>
                              <a:pt x="22248" y="17882"/>
                            </a:cubicBezTo>
                            <a:cubicBezTo>
                              <a:pt x="22248" y="17822"/>
                              <a:pt x="22188" y="17703"/>
                              <a:pt x="22188" y="17643"/>
                            </a:cubicBezTo>
                            <a:cubicBezTo>
                              <a:pt x="22188" y="17583"/>
                              <a:pt x="22128" y="17464"/>
                              <a:pt x="22128" y="17404"/>
                            </a:cubicBezTo>
                            <a:cubicBezTo>
                              <a:pt x="22128" y="17344"/>
                              <a:pt x="22069" y="17284"/>
                              <a:pt x="22069" y="17225"/>
                            </a:cubicBezTo>
                            <a:cubicBezTo>
                              <a:pt x="22069" y="17165"/>
                              <a:pt x="22009" y="17105"/>
                              <a:pt x="22009" y="17045"/>
                            </a:cubicBezTo>
                            <a:cubicBezTo>
                              <a:pt x="22009" y="16985"/>
                              <a:pt x="21949" y="16926"/>
                              <a:pt x="21949" y="16866"/>
                            </a:cubicBezTo>
                            <a:cubicBezTo>
                              <a:pt x="21949" y="16806"/>
                              <a:pt x="21889" y="16746"/>
                              <a:pt x="21889" y="16686"/>
                            </a:cubicBezTo>
                            <a:cubicBezTo>
                              <a:pt x="21829" y="16567"/>
                              <a:pt x="21770" y="16447"/>
                              <a:pt x="21770" y="16327"/>
                            </a:cubicBezTo>
                            <a:cubicBezTo>
                              <a:pt x="21710" y="16208"/>
                              <a:pt x="21650" y="16088"/>
                              <a:pt x="21590" y="15968"/>
                            </a:cubicBezTo>
                            <a:cubicBezTo>
                              <a:pt x="21530" y="15849"/>
                              <a:pt x="21471" y="15729"/>
                              <a:pt x="21411" y="15610"/>
                            </a:cubicBezTo>
                            <a:cubicBezTo>
                              <a:pt x="21351" y="15490"/>
                              <a:pt x="21291" y="15370"/>
                              <a:pt x="21231" y="15251"/>
                            </a:cubicBezTo>
                            <a:cubicBezTo>
                              <a:pt x="21172" y="15191"/>
                              <a:pt x="21172" y="15131"/>
                              <a:pt x="21112" y="15072"/>
                            </a:cubicBezTo>
                            <a:cubicBezTo>
                              <a:pt x="21052" y="15012"/>
                              <a:pt x="21052" y="14952"/>
                              <a:pt x="20992" y="14892"/>
                            </a:cubicBezTo>
                            <a:cubicBezTo>
                              <a:pt x="20933" y="14832"/>
                              <a:pt x="20933" y="14773"/>
                              <a:pt x="20873" y="14713"/>
                            </a:cubicBezTo>
                            <a:cubicBezTo>
                              <a:pt x="20813" y="14653"/>
                              <a:pt x="20813" y="14593"/>
                              <a:pt x="20753" y="14533"/>
                            </a:cubicBezTo>
                            <a:cubicBezTo>
                              <a:pt x="20693" y="14414"/>
                              <a:pt x="20633" y="14354"/>
                              <a:pt x="20574" y="14234"/>
                            </a:cubicBezTo>
                            <a:cubicBezTo>
                              <a:pt x="20514" y="14114"/>
                              <a:pt x="20454" y="14055"/>
                              <a:pt x="20394" y="13935"/>
                            </a:cubicBezTo>
                            <a:cubicBezTo>
                              <a:pt x="20334" y="13815"/>
                              <a:pt x="20274" y="13756"/>
                              <a:pt x="20215" y="13636"/>
                            </a:cubicBezTo>
                            <a:cubicBezTo>
                              <a:pt x="20155" y="13516"/>
                              <a:pt x="20095" y="13457"/>
                              <a:pt x="20035" y="13337"/>
                            </a:cubicBezTo>
                            <a:cubicBezTo>
                              <a:pt x="19975" y="13277"/>
                              <a:pt x="19916" y="13218"/>
                              <a:pt x="19856" y="13098"/>
                            </a:cubicBezTo>
                            <a:cubicBezTo>
                              <a:pt x="19796" y="13038"/>
                              <a:pt x="19736" y="12978"/>
                              <a:pt x="19676" y="12859"/>
                            </a:cubicBezTo>
                            <a:cubicBezTo>
                              <a:pt x="19617" y="12799"/>
                              <a:pt x="19557" y="12739"/>
                              <a:pt x="19497" y="12619"/>
                            </a:cubicBezTo>
                            <a:cubicBezTo>
                              <a:pt x="19437" y="12559"/>
                              <a:pt x="19377" y="12500"/>
                              <a:pt x="19318" y="12380"/>
                            </a:cubicBezTo>
                            <a:cubicBezTo>
                              <a:pt x="18839" y="11782"/>
                              <a:pt x="18301" y="11124"/>
                              <a:pt x="17763" y="10526"/>
                            </a:cubicBezTo>
                            <a:cubicBezTo>
                              <a:pt x="17165" y="9868"/>
                              <a:pt x="16566" y="9270"/>
                              <a:pt x="15849" y="8612"/>
                            </a:cubicBezTo>
                            <a:cubicBezTo>
                              <a:pt x="15191" y="7954"/>
                              <a:pt x="14413" y="7297"/>
                              <a:pt x="13636" y="6639"/>
                            </a:cubicBezTo>
                            <a:cubicBezTo>
                              <a:pt x="12858" y="5981"/>
                              <a:pt x="11961" y="5323"/>
                              <a:pt x="11064" y="4605"/>
                            </a:cubicBezTo>
                            <a:lnTo>
                              <a:pt x="10466" y="5323"/>
                            </a:lnTo>
                            <a:cubicBezTo>
                              <a:pt x="11483" y="6100"/>
                              <a:pt x="12380" y="6818"/>
                              <a:pt x="13217" y="7536"/>
                            </a:cubicBezTo>
                            <a:cubicBezTo>
                              <a:pt x="14055" y="8253"/>
                              <a:pt x="14892" y="8971"/>
                              <a:pt x="15610" y="9689"/>
                            </a:cubicBezTo>
                            <a:cubicBezTo>
                              <a:pt x="16327" y="10406"/>
                              <a:pt x="16985" y="11064"/>
                              <a:pt x="17583" y="11722"/>
                            </a:cubicBezTo>
                            <a:cubicBezTo>
                              <a:pt x="18181" y="12380"/>
                              <a:pt x="18720" y="13038"/>
                              <a:pt x="19198" y="13756"/>
                            </a:cubicBezTo>
                            <a:cubicBezTo>
                              <a:pt x="19258" y="13815"/>
                              <a:pt x="19318" y="13875"/>
                              <a:pt x="19318" y="13935"/>
                            </a:cubicBezTo>
                            <a:cubicBezTo>
                              <a:pt x="19318" y="13995"/>
                              <a:pt x="19437" y="14055"/>
                              <a:pt x="19437" y="14114"/>
                            </a:cubicBezTo>
                            <a:cubicBezTo>
                              <a:pt x="19497" y="14174"/>
                              <a:pt x="19557" y="14234"/>
                              <a:pt x="19557" y="14294"/>
                            </a:cubicBezTo>
                            <a:cubicBezTo>
                              <a:pt x="19617" y="14354"/>
                              <a:pt x="19617" y="14414"/>
                              <a:pt x="19676" y="14473"/>
                            </a:cubicBezTo>
                            <a:cubicBezTo>
                              <a:pt x="19736" y="14533"/>
                              <a:pt x="19796" y="14653"/>
                              <a:pt x="19856" y="14713"/>
                            </a:cubicBezTo>
                            <a:cubicBezTo>
                              <a:pt x="19916" y="14773"/>
                              <a:pt x="19975" y="14892"/>
                              <a:pt x="20035" y="14952"/>
                            </a:cubicBezTo>
                            <a:cubicBezTo>
                              <a:pt x="20095" y="15012"/>
                              <a:pt x="20155" y="15131"/>
                              <a:pt x="20215" y="15191"/>
                            </a:cubicBezTo>
                            <a:cubicBezTo>
                              <a:pt x="20274" y="15251"/>
                              <a:pt x="20334" y="15370"/>
                              <a:pt x="20334" y="15430"/>
                            </a:cubicBezTo>
                            <a:cubicBezTo>
                              <a:pt x="20394" y="15490"/>
                              <a:pt x="20394" y="15550"/>
                              <a:pt x="20454" y="15610"/>
                            </a:cubicBezTo>
                            <a:cubicBezTo>
                              <a:pt x="20514" y="15669"/>
                              <a:pt x="20514" y="15729"/>
                              <a:pt x="20574" y="15789"/>
                            </a:cubicBezTo>
                            <a:cubicBezTo>
                              <a:pt x="20633" y="15849"/>
                              <a:pt x="20633" y="15909"/>
                              <a:pt x="20693" y="15968"/>
                            </a:cubicBezTo>
                            <a:cubicBezTo>
                              <a:pt x="20753" y="16028"/>
                              <a:pt x="20753" y="16088"/>
                              <a:pt x="20813" y="16148"/>
                            </a:cubicBezTo>
                            <a:cubicBezTo>
                              <a:pt x="20873" y="16208"/>
                              <a:pt x="20873" y="16327"/>
                              <a:pt x="20933" y="16387"/>
                            </a:cubicBezTo>
                            <a:cubicBezTo>
                              <a:pt x="20992" y="16447"/>
                              <a:pt x="20992" y="16567"/>
                              <a:pt x="21052" y="16627"/>
                            </a:cubicBezTo>
                            <a:cubicBezTo>
                              <a:pt x="21112" y="16686"/>
                              <a:pt x="21112" y="16806"/>
                              <a:pt x="21172" y="16866"/>
                            </a:cubicBezTo>
                            <a:cubicBezTo>
                              <a:pt x="21231" y="16926"/>
                              <a:pt x="21231" y="17045"/>
                              <a:pt x="21291" y="17105"/>
                            </a:cubicBezTo>
                            <a:cubicBezTo>
                              <a:pt x="21351" y="17225"/>
                              <a:pt x="21351" y="17344"/>
                              <a:pt x="21411" y="17464"/>
                            </a:cubicBezTo>
                            <a:cubicBezTo>
                              <a:pt x="21471" y="17583"/>
                              <a:pt x="21471" y="17703"/>
                              <a:pt x="21530" y="17763"/>
                            </a:cubicBezTo>
                            <a:cubicBezTo>
                              <a:pt x="21590" y="17822"/>
                              <a:pt x="21590" y="18002"/>
                              <a:pt x="21650" y="18062"/>
                            </a:cubicBezTo>
                            <a:cubicBezTo>
                              <a:pt x="21710" y="18181"/>
                              <a:pt x="21710" y="18301"/>
                              <a:pt x="21710" y="18361"/>
                            </a:cubicBezTo>
                            <a:cubicBezTo>
                              <a:pt x="21710" y="18421"/>
                              <a:pt x="21770" y="18540"/>
                              <a:pt x="21770" y="18600"/>
                            </a:cubicBezTo>
                            <a:cubicBezTo>
                              <a:pt x="21770" y="18660"/>
                              <a:pt x="21829" y="18780"/>
                              <a:pt x="21829" y="18839"/>
                            </a:cubicBezTo>
                            <a:cubicBezTo>
                              <a:pt x="21829" y="18899"/>
                              <a:pt x="21889" y="19019"/>
                              <a:pt x="21889" y="19079"/>
                            </a:cubicBezTo>
                            <a:cubicBezTo>
                              <a:pt x="21889" y="19138"/>
                              <a:pt x="21889" y="19258"/>
                              <a:pt x="21949" y="19318"/>
                            </a:cubicBezTo>
                            <a:cubicBezTo>
                              <a:pt x="21949" y="19437"/>
                              <a:pt x="21949" y="19497"/>
                              <a:pt x="22009" y="19617"/>
                            </a:cubicBezTo>
                            <a:cubicBezTo>
                              <a:pt x="22009" y="19736"/>
                              <a:pt x="22009" y="19796"/>
                              <a:pt x="22009" y="19916"/>
                            </a:cubicBezTo>
                            <a:cubicBezTo>
                              <a:pt x="22009" y="20035"/>
                              <a:pt x="22009" y="20095"/>
                              <a:pt x="22009" y="20215"/>
                            </a:cubicBezTo>
                            <a:cubicBezTo>
                              <a:pt x="22009" y="20335"/>
                              <a:pt x="22009" y="20394"/>
                              <a:pt x="22009" y="20514"/>
                            </a:cubicBezTo>
                            <a:cubicBezTo>
                              <a:pt x="22009" y="20574"/>
                              <a:pt x="22009" y="20574"/>
                              <a:pt x="22009" y="20574"/>
                            </a:cubicBezTo>
                            <a:cubicBezTo>
                              <a:pt x="22009" y="20634"/>
                              <a:pt x="22009" y="20634"/>
                              <a:pt x="22009" y="20634"/>
                            </a:cubicBezTo>
                            <a:cubicBezTo>
                              <a:pt x="22009" y="20693"/>
                              <a:pt x="22009" y="20693"/>
                              <a:pt x="22009" y="20693"/>
                            </a:cubicBezTo>
                            <a:cubicBezTo>
                              <a:pt x="22009" y="20693"/>
                              <a:pt x="22009" y="20753"/>
                              <a:pt x="22009" y="20753"/>
                            </a:cubicBezTo>
                            <a:cubicBezTo>
                              <a:pt x="22009" y="20813"/>
                              <a:pt x="22009" y="20933"/>
                              <a:pt x="22009" y="20992"/>
                            </a:cubicBezTo>
                            <a:cubicBezTo>
                              <a:pt x="22009" y="21052"/>
                              <a:pt x="22009" y="21172"/>
                              <a:pt x="22009" y="21231"/>
                            </a:cubicBezTo>
                            <a:cubicBezTo>
                              <a:pt x="22009" y="21291"/>
                              <a:pt x="22009" y="21411"/>
                              <a:pt x="22009" y="21471"/>
                            </a:cubicBezTo>
                            <a:cubicBezTo>
                              <a:pt x="22009" y="21530"/>
                              <a:pt x="22009" y="21650"/>
                              <a:pt x="22009" y="21710"/>
                            </a:cubicBezTo>
                            <a:cubicBezTo>
                              <a:pt x="22009" y="21770"/>
                              <a:pt x="22009" y="21770"/>
                              <a:pt x="22009" y="21830"/>
                            </a:cubicBezTo>
                            <a:cubicBezTo>
                              <a:pt x="22009" y="21890"/>
                              <a:pt x="22009" y="21890"/>
                              <a:pt x="22009" y="21949"/>
                            </a:cubicBezTo>
                            <a:cubicBezTo>
                              <a:pt x="22009" y="22009"/>
                              <a:pt x="22009" y="22009"/>
                              <a:pt x="22009" y="22069"/>
                            </a:cubicBezTo>
                            <a:cubicBezTo>
                              <a:pt x="22009" y="22129"/>
                              <a:pt x="22009" y="22129"/>
                              <a:pt x="22009" y="22189"/>
                            </a:cubicBezTo>
                            <a:cubicBezTo>
                              <a:pt x="22009" y="22368"/>
                              <a:pt x="21949" y="22547"/>
                              <a:pt x="21949" y="22727"/>
                            </a:cubicBezTo>
                            <a:cubicBezTo>
                              <a:pt x="21949" y="22906"/>
                              <a:pt x="21889" y="23085"/>
                              <a:pt x="21829" y="23265"/>
                            </a:cubicBezTo>
                            <a:cubicBezTo>
                              <a:pt x="21770" y="23444"/>
                              <a:pt x="21710" y="23624"/>
                              <a:pt x="21710" y="23803"/>
                            </a:cubicBezTo>
                            <a:cubicBezTo>
                              <a:pt x="21650" y="23983"/>
                              <a:pt x="21590" y="24162"/>
                              <a:pt x="21530" y="24342"/>
                            </a:cubicBezTo>
                            <a:cubicBezTo>
                              <a:pt x="21530" y="24401"/>
                              <a:pt x="21471" y="24521"/>
                              <a:pt x="21471" y="24581"/>
                            </a:cubicBezTo>
                            <a:cubicBezTo>
                              <a:pt x="21471" y="24641"/>
                              <a:pt x="21411" y="24760"/>
                              <a:pt x="21411" y="24820"/>
                            </a:cubicBezTo>
                            <a:cubicBezTo>
                              <a:pt x="21411" y="24880"/>
                              <a:pt x="21351" y="24999"/>
                              <a:pt x="21351" y="25059"/>
                            </a:cubicBezTo>
                            <a:cubicBezTo>
                              <a:pt x="21351" y="25119"/>
                              <a:pt x="21291" y="25239"/>
                              <a:pt x="21291" y="25298"/>
                            </a:cubicBezTo>
                            <a:cubicBezTo>
                              <a:pt x="21231" y="25418"/>
                              <a:pt x="21231" y="25478"/>
                              <a:pt x="21172" y="25598"/>
                            </a:cubicBezTo>
                            <a:cubicBezTo>
                              <a:pt x="21112" y="25717"/>
                              <a:pt x="21112" y="25777"/>
                              <a:pt x="21052" y="25897"/>
                            </a:cubicBezTo>
                            <a:cubicBezTo>
                              <a:pt x="20992" y="26016"/>
                              <a:pt x="20992" y="26076"/>
                              <a:pt x="20933" y="26196"/>
                            </a:cubicBezTo>
                            <a:cubicBezTo>
                              <a:pt x="20873" y="26315"/>
                              <a:pt x="20813" y="26375"/>
                              <a:pt x="20813" y="26495"/>
                            </a:cubicBezTo>
                            <a:cubicBezTo>
                              <a:pt x="20753" y="26554"/>
                              <a:pt x="20753" y="26614"/>
                              <a:pt x="20693" y="26674"/>
                            </a:cubicBezTo>
                            <a:cubicBezTo>
                              <a:pt x="20633" y="26734"/>
                              <a:pt x="20633" y="26794"/>
                              <a:pt x="20574" y="26853"/>
                            </a:cubicBezTo>
                            <a:cubicBezTo>
                              <a:pt x="20514" y="26913"/>
                              <a:pt x="20514" y="26973"/>
                              <a:pt x="20454" y="27093"/>
                            </a:cubicBezTo>
                            <a:cubicBezTo>
                              <a:pt x="20394" y="27212"/>
                              <a:pt x="20394" y="27212"/>
                              <a:pt x="20334" y="27332"/>
                            </a:cubicBezTo>
                            <a:cubicBezTo>
                              <a:pt x="20155" y="27631"/>
                              <a:pt x="19975" y="27990"/>
                              <a:pt x="19796" y="28289"/>
                            </a:cubicBezTo>
                            <a:cubicBezTo>
                              <a:pt x="19617" y="28648"/>
                              <a:pt x="19377" y="28947"/>
                              <a:pt x="19198" y="29306"/>
                            </a:cubicBezTo>
                            <a:cubicBezTo>
                              <a:pt x="18959" y="29665"/>
                              <a:pt x="18779" y="29963"/>
                              <a:pt x="18540" y="30322"/>
                            </a:cubicBezTo>
                            <a:cubicBezTo>
                              <a:pt x="18301" y="30681"/>
                              <a:pt x="18062" y="31040"/>
                              <a:pt x="17822" y="31339"/>
                            </a:cubicBezTo>
                            <a:cubicBezTo>
                              <a:pt x="17763" y="31399"/>
                              <a:pt x="17763" y="31459"/>
                              <a:pt x="17703" y="31519"/>
                            </a:cubicBezTo>
                            <a:cubicBezTo>
                              <a:pt x="17643" y="31578"/>
                              <a:pt x="17643" y="31638"/>
                              <a:pt x="17583" y="31698"/>
                            </a:cubicBezTo>
                            <a:cubicBezTo>
                              <a:pt x="17523" y="31758"/>
                              <a:pt x="17523" y="31817"/>
                              <a:pt x="17464" y="31877"/>
                            </a:cubicBezTo>
                            <a:cubicBezTo>
                              <a:pt x="17404" y="31937"/>
                              <a:pt x="17404" y="31997"/>
                              <a:pt x="17344" y="32057"/>
                            </a:cubicBezTo>
                            <a:cubicBezTo>
                              <a:pt x="16985" y="32595"/>
                              <a:pt x="16566" y="33133"/>
                              <a:pt x="16148" y="33671"/>
                            </a:cubicBezTo>
                            <a:cubicBezTo>
                              <a:pt x="15729" y="34210"/>
                              <a:pt x="15311" y="34748"/>
                              <a:pt x="14832" y="35346"/>
                            </a:cubicBezTo>
                            <a:cubicBezTo>
                              <a:pt x="14354" y="35884"/>
                              <a:pt x="13935" y="36482"/>
                              <a:pt x="13397" y="37081"/>
                            </a:cubicBezTo>
                            <a:cubicBezTo>
                              <a:pt x="12739" y="37918"/>
                              <a:pt x="12260" y="38516"/>
                              <a:pt x="11722" y="39114"/>
                            </a:cubicBezTo>
                            <a:moveTo>
                              <a:pt x="11244" y="41865"/>
                            </a:moveTo>
                            <a:lnTo>
                              <a:pt x="11782" y="42224"/>
                            </a:lnTo>
                            <a:cubicBezTo>
                              <a:pt x="11842" y="42104"/>
                              <a:pt x="11961" y="42045"/>
                              <a:pt x="12021" y="41925"/>
                            </a:cubicBezTo>
                            <a:cubicBezTo>
                              <a:pt x="12081" y="41805"/>
                              <a:pt x="12201" y="41745"/>
                              <a:pt x="12260" y="41626"/>
                            </a:cubicBezTo>
                            <a:cubicBezTo>
                              <a:pt x="12320" y="41506"/>
                              <a:pt x="12440" y="41446"/>
                              <a:pt x="12500" y="41327"/>
                            </a:cubicBezTo>
                            <a:cubicBezTo>
                              <a:pt x="12559" y="41207"/>
                              <a:pt x="12679" y="41147"/>
                              <a:pt x="12739" y="41028"/>
                            </a:cubicBezTo>
                            <a:lnTo>
                              <a:pt x="12201" y="40669"/>
                            </a:lnTo>
                            <a:cubicBezTo>
                              <a:pt x="12141" y="40789"/>
                              <a:pt x="12021" y="40848"/>
                              <a:pt x="11961" y="40968"/>
                            </a:cubicBezTo>
                            <a:cubicBezTo>
                              <a:pt x="11902" y="41088"/>
                              <a:pt x="11782" y="41147"/>
                              <a:pt x="11722" y="41267"/>
                            </a:cubicBezTo>
                            <a:cubicBezTo>
                              <a:pt x="11662" y="41386"/>
                              <a:pt x="11543" y="41446"/>
                              <a:pt x="11483" y="41566"/>
                            </a:cubicBezTo>
                            <a:cubicBezTo>
                              <a:pt x="11423" y="41626"/>
                              <a:pt x="11303" y="41745"/>
                              <a:pt x="11244" y="41865"/>
                            </a:cubicBezTo>
                            <a:moveTo>
                              <a:pt x="10048" y="41088"/>
                            </a:moveTo>
                            <a:lnTo>
                              <a:pt x="10586" y="41446"/>
                            </a:lnTo>
                            <a:cubicBezTo>
                              <a:pt x="10645" y="41327"/>
                              <a:pt x="10765" y="41267"/>
                              <a:pt x="10825" y="41147"/>
                            </a:cubicBezTo>
                            <a:cubicBezTo>
                              <a:pt x="10885" y="41028"/>
                              <a:pt x="11004" y="40968"/>
                              <a:pt x="11064" y="40848"/>
                            </a:cubicBezTo>
                            <a:cubicBezTo>
                              <a:pt x="11124" y="40729"/>
                              <a:pt x="11244" y="40669"/>
                              <a:pt x="11303" y="40549"/>
                            </a:cubicBezTo>
                            <a:cubicBezTo>
                              <a:pt x="11363" y="40430"/>
                              <a:pt x="11483" y="40370"/>
                              <a:pt x="11543" y="40250"/>
                            </a:cubicBezTo>
                            <a:lnTo>
                              <a:pt x="11004" y="39891"/>
                            </a:lnTo>
                            <a:cubicBezTo>
                              <a:pt x="10944" y="40011"/>
                              <a:pt x="10825" y="40071"/>
                              <a:pt x="10765" y="40191"/>
                            </a:cubicBezTo>
                            <a:cubicBezTo>
                              <a:pt x="10705" y="40310"/>
                              <a:pt x="10586" y="40370"/>
                              <a:pt x="10526" y="40490"/>
                            </a:cubicBezTo>
                            <a:cubicBezTo>
                              <a:pt x="10466" y="40609"/>
                              <a:pt x="10347" y="40669"/>
                              <a:pt x="10287" y="40789"/>
                            </a:cubicBezTo>
                            <a:cubicBezTo>
                              <a:pt x="10227" y="40908"/>
                              <a:pt x="10167" y="40968"/>
                              <a:pt x="10048" y="41088"/>
                            </a:cubicBezTo>
                            <a:moveTo>
                              <a:pt x="9689" y="43599"/>
                            </a:moveTo>
                            <a:lnTo>
                              <a:pt x="10227" y="43958"/>
                            </a:lnTo>
                            <a:cubicBezTo>
                              <a:pt x="10227" y="43899"/>
                              <a:pt x="10287" y="43899"/>
                              <a:pt x="10287" y="43839"/>
                            </a:cubicBezTo>
                            <a:cubicBezTo>
                              <a:pt x="10287" y="43779"/>
                              <a:pt x="10347" y="43779"/>
                              <a:pt x="10347" y="43719"/>
                            </a:cubicBezTo>
                            <a:cubicBezTo>
                              <a:pt x="10347" y="43659"/>
                              <a:pt x="10406" y="43659"/>
                              <a:pt x="10406" y="43599"/>
                            </a:cubicBezTo>
                            <a:cubicBezTo>
                              <a:pt x="10406" y="43540"/>
                              <a:pt x="10466" y="43540"/>
                              <a:pt x="10466" y="43480"/>
                            </a:cubicBezTo>
                            <a:lnTo>
                              <a:pt x="10526" y="43420"/>
                            </a:lnTo>
                            <a:cubicBezTo>
                              <a:pt x="10586" y="43360"/>
                              <a:pt x="10586" y="43300"/>
                              <a:pt x="10645" y="43240"/>
                            </a:cubicBezTo>
                            <a:cubicBezTo>
                              <a:pt x="10705" y="43181"/>
                              <a:pt x="10705" y="43121"/>
                              <a:pt x="10765" y="43061"/>
                            </a:cubicBezTo>
                            <a:cubicBezTo>
                              <a:pt x="10825" y="43001"/>
                              <a:pt x="10825" y="42942"/>
                              <a:pt x="10885" y="42882"/>
                            </a:cubicBezTo>
                            <a:cubicBezTo>
                              <a:pt x="10944" y="42822"/>
                              <a:pt x="10944" y="42762"/>
                              <a:pt x="11004" y="42702"/>
                            </a:cubicBezTo>
                            <a:lnTo>
                              <a:pt x="10466" y="42344"/>
                            </a:lnTo>
                            <a:cubicBezTo>
                              <a:pt x="10406" y="42403"/>
                              <a:pt x="10406" y="42463"/>
                              <a:pt x="10347" y="42463"/>
                            </a:cubicBezTo>
                            <a:cubicBezTo>
                              <a:pt x="10287" y="42523"/>
                              <a:pt x="10287" y="42583"/>
                              <a:pt x="10227" y="42583"/>
                            </a:cubicBezTo>
                            <a:cubicBezTo>
                              <a:pt x="10167" y="42643"/>
                              <a:pt x="10167" y="42702"/>
                              <a:pt x="10107" y="42702"/>
                            </a:cubicBezTo>
                            <a:cubicBezTo>
                              <a:pt x="10048" y="42702"/>
                              <a:pt x="10048" y="42822"/>
                              <a:pt x="9988" y="42822"/>
                            </a:cubicBezTo>
                            <a:lnTo>
                              <a:pt x="9928" y="42882"/>
                            </a:lnTo>
                            <a:cubicBezTo>
                              <a:pt x="9868" y="42942"/>
                              <a:pt x="9868" y="42942"/>
                              <a:pt x="9808" y="43001"/>
                            </a:cubicBezTo>
                            <a:cubicBezTo>
                              <a:pt x="9749" y="43061"/>
                              <a:pt x="9749" y="43061"/>
                              <a:pt x="9689" y="43121"/>
                            </a:cubicBezTo>
                            <a:cubicBezTo>
                              <a:pt x="9629" y="43181"/>
                              <a:pt x="9629" y="43181"/>
                              <a:pt x="9569" y="43240"/>
                            </a:cubicBezTo>
                            <a:cubicBezTo>
                              <a:pt x="9509" y="43300"/>
                              <a:pt x="9749" y="43599"/>
                              <a:pt x="9689" y="43599"/>
                            </a:cubicBezTo>
                            <a:moveTo>
                              <a:pt x="8552" y="42882"/>
                            </a:moveTo>
                            <a:lnTo>
                              <a:pt x="9090" y="43240"/>
                            </a:lnTo>
                            <a:cubicBezTo>
                              <a:pt x="9150" y="43181"/>
                              <a:pt x="9150" y="43121"/>
                              <a:pt x="9210" y="43121"/>
                            </a:cubicBezTo>
                            <a:cubicBezTo>
                              <a:pt x="9270" y="43061"/>
                              <a:pt x="9270" y="43001"/>
                              <a:pt x="9330" y="43001"/>
                            </a:cubicBezTo>
                            <a:cubicBezTo>
                              <a:pt x="9390" y="42942"/>
                              <a:pt x="9390" y="42882"/>
                              <a:pt x="9449" y="42882"/>
                            </a:cubicBezTo>
                            <a:cubicBezTo>
                              <a:pt x="9509" y="42822"/>
                              <a:pt x="9509" y="42762"/>
                              <a:pt x="9569" y="42762"/>
                            </a:cubicBezTo>
                            <a:cubicBezTo>
                              <a:pt x="9629" y="42702"/>
                              <a:pt x="9629" y="42702"/>
                              <a:pt x="9689" y="42643"/>
                            </a:cubicBezTo>
                            <a:cubicBezTo>
                              <a:pt x="9749" y="42583"/>
                              <a:pt x="9749" y="42583"/>
                              <a:pt x="9808" y="42523"/>
                            </a:cubicBezTo>
                            <a:cubicBezTo>
                              <a:pt x="9868" y="42463"/>
                              <a:pt x="9868" y="42463"/>
                              <a:pt x="9928" y="42403"/>
                            </a:cubicBezTo>
                            <a:cubicBezTo>
                              <a:pt x="9988" y="42344"/>
                              <a:pt x="9988" y="42344"/>
                              <a:pt x="10048" y="42284"/>
                            </a:cubicBezTo>
                            <a:lnTo>
                              <a:pt x="9509" y="41925"/>
                            </a:lnTo>
                            <a:cubicBezTo>
                              <a:pt x="9449" y="41985"/>
                              <a:pt x="9449" y="41985"/>
                              <a:pt x="9390" y="42045"/>
                            </a:cubicBezTo>
                            <a:cubicBezTo>
                              <a:pt x="9330" y="42104"/>
                              <a:pt x="9330" y="42104"/>
                              <a:pt x="9270" y="42164"/>
                            </a:cubicBezTo>
                            <a:cubicBezTo>
                              <a:pt x="9210" y="42224"/>
                              <a:pt x="9210" y="42224"/>
                              <a:pt x="9150" y="42284"/>
                            </a:cubicBezTo>
                            <a:cubicBezTo>
                              <a:pt x="9090" y="42344"/>
                              <a:pt x="9090" y="42344"/>
                              <a:pt x="9031" y="42403"/>
                            </a:cubicBezTo>
                            <a:cubicBezTo>
                              <a:pt x="8971" y="42463"/>
                              <a:pt x="8971" y="42523"/>
                              <a:pt x="8911" y="42583"/>
                            </a:cubicBezTo>
                            <a:cubicBezTo>
                              <a:pt x="8851" y="42643"/>
                              <a:pt x="8851" y="42702"/>
                              <a:pt x="8791" y="42762"/>
                            </a:cubicBezTo>
                            <a:cubicBezTo>
                              <a:pt x="8732" y="42822"/>
                              <a:pt x="8732" y="42882"/>
                              <a:pt x="8672" y="42942"/>
                            </a:cubicBezTo>
                            <a:cubicBezTo>
                              <a:pt x="8612" y="42762"/>
                              <a:pt x="8552" y="42822"/>
                              <a:pt x="8552" y="42882"/>
                            </a:cubicBezTo>
                            <a:moveTo>
                              <a:pt x="0" y="53109"/>
                            </a:moveTo>
                            <a:lnTo>
                              <a:pt x="1674" y="54185"/>
                            </a:lnTo>
                            <a:lnTo>
                              <a:pt x="1734" y="54125"/>
                            </a:lnTo>
                            <a:cubicBezTo>
                              <a:pt x="2033" y="53707"/>
                              <a:pt x="2392" y="53288"/>
                              <a:pt x="2691" y="52929"/>
                            </a:cubicBezTo>
                            <a:cubicBezTo>
                              <a:pt x="2990" y="52511"/>
                              <a:pt x="3349" y="52152"/>
                              <a:pt x="3648" y="51733"/>
                            </a:cubicBezTo>
                            <a:cubicBezTo>
                              <a:pt x="3947" y="51315"/>
                              <a:pt x="4306" y="50956"/>
                              <a:pt x="4605" y="50597"/>
                            </a:cubicBezTo>
                            <a:cubicBezTo>
                              <a:pt x="4904" y="50238"/>
                              <a:pt x="5263" y="49820"/>
                              <a:pt x="5562" y="49461"/>
                            </a:cubicBezTo>
                            <a:cubicBezTo>
                              <a:pt x="5622" y="49401"/>
                              <a:pt x="5681" y="49341"/>
                              <a:pt x="5741" y="49281"/>
                            </a:cubicBezTo>
                            <a:cubicBezTo>
                              <a:pt x="5801" y="49221"/>
                              <a:pt x="5861" y="49162"/>
                              <a:pt x="5861" y="49102"/>
                            </a:cubicBezTo>
                            <a:cubicBezTo>
                              <a:pt x="5861" y="49042"/>
                              <a:pt x="5981" y="48982"/>
                              <a:pt x="5981" y="48922"/>
                            </a:cubicBezTo>
                            <a:cubicBezTo>
                              <a:pt x="6041" y="48862"/>
                              <a:pt x="6100" y="48803"/>
                              <a:pt x="6100" y="48743"/>
                            </a:cubicBezTo>
                            <a:cubicBezTo>
                              <a:pt x="6399" y="48384"/>
                              <a:pt x="6698" y="48025"/>
                              <a:pt x="6997" y="47726"/>
                            </a:cubicBezTo>
                            <a:cubicBezTo>
                              <a:pt x="7296" y="47367"/>
                              <a:pt x="7595" y="47068"/>
                              <a:pt x="7895" y="46709"/>
                            </a:cubicBezTo>
                            <a:cubicBezTo>
                              <a:pt x="8194" y="46351"/>
                              <a:pt x="8493" y="46052"/>
                              <a:pt x="8732" y="45693"/>
                            </a:cubicBezTo>
                            <a:cubicBezTo>
                              <a:pt x="9031" y="45334"/>
                              <a:pt x="9270" y="45035"/>
                              <a:pt x="9569" y="44736"/>
                            </a:cubicBezTo>
                            <a:lnTo>
                              <a:pt x="9031" y="44377"/>
                            </a:lnTo>
                            <a:cubicBezTo>
                              <a:pt x="8732" y="44676"/>
                              <a:pt x="8493" y="45035"/>
                              <a:pt x="8194" y="45334"/>
                            </a:cubicBezTo>
                            <a:cubicBezTo>
                              <a:pt x="7895" y="45693"/>
                              <a:pt x="7655" y="45992"/>
                              <a:pt x="7356" y="46351"/>
                            </a:cubicBezTo>
                            <a:cubicBezTo>
                              <a:pt x="7057" y="46709"/>
                              <a:pt x="6758" y="47008"/>
                              <a:pt x="6519" y="47367"/>
                            </a:cubicBezTo>
                            <a:cubicBezTo>
                              <a:pt x="6220" y="47726"/>
                              <a:pt x="5921" y="48085"/>
                              <a:pt x="5622" y="48384"/>
                            </a:cubicBezTo>
                            <a:cubicBezTo>
                              <a:pt x="5562" y="48444"/>
                              <a:pt x="5502" y="48504"/>
                              <a:pt x="5502" y="48563"/>
                            </a:cubicBezTo>
                            <a:cubicBezTo>
                              <a:pt x="5502" y="48623"/>
                              <a:pt x="5382" y="48683"/>
                              <a:pt x="5382" y="48743"/>
                            </a:cubicBezTo>
                            <a:cubicBezTo>
                              <a:pt x="5323" y="48803"/>
                              <a:pt x="5263" y="48862"/>
                              <a:pt x="5203" y="48922"/>
                            </a:cubicBezTo>
                            <a:cubicBezTo>
                              <a:pt x="5143" y="48982"/>
                              <a:pt x="5083" y="49042"/>
                              <a:pt x="5083" y="49102"/>
                            </a:cubicBezTo>
                            <a:cubicBezTo>
                              <a:pt x="4785" y="49461"/>
                              <a:pt x="4486" y="49820"/>
                              <a:pt x="4186" y="50178"/>
                            </a:cubicBezTo>
                            <a:cubicBezTo>
                              <a:pt x="3887" y="50537"/>
                              <a:pt x="3588" y="50896"/>
                              <a:pt x="3289" y="51255"/>
                            </a:cubicBezTo>
                            <a:cubicBezTo>
                              <a:pt x="2990" y="51614"/>
                              <a:pt x="2691" y="51972"/>
                              <a:pt x="2392" y="52331"/>
                            </a:cubicBezTo>
                            <a:cubicBezTo>
                              <a:pt x="2093" y="52690"/>
                              <a:pt x="1794" y="53049"/>
                              <a:pt x="1495" y="53468"/>
                            </a:cubicBezTo>
                            <a:lnTo>
                              <a:pt x="837" y="53049"/>
                            </a:lnTo>
                            <a:cubicBezTo>
                              <a:pt x="1136" y="52690"/>
                              <a:pt x="1435" y="52331"/>
                              <a:pt x="1734" y="51913"/>
                            </a:cubicBezTo>
                            <a:cubicBezTo>
                              <a:pt x="2033" y="51554"/>
                              <a:pt x="2332" y="51195"/>
                              <a:pt x="2632" y="50836"/>
                            </a:cubicBezTo>
                            <a:cubicBezTo>
                              <a:pt x="2930" y="50477"/>
                              <a:pt x="3229" y="50118"/>
                              <a:pt x="3528" y="49760"/>
                            </a:cubicBezTo>
                            <a:cubicBezTo>
                              <a:pt x="3827" y="49401"/>
                              <a:pt x="4127" y="49042"/>
                              <a:pt x="4426" y="48683"/>
                            </a:cubicBezTo>
                            <a:cubicBezTo>
                              <a:pt x="4486" y="48623"/>
                              <a:pt x="4545" y="48563"/>
                              <a:pt x="4605" y="48504"/>
                            </a:cubicBezTo>
                            <a:cubicBezTo>
                              <a:pt x="4665" y="48444"/>
                              <a:pt x="4725" y="48384"/>
                              <a:pt x="4725" y="48324"/>
                            </a:cubicBezTo>
                            <a:cubicBezTo>
                              <a:pt x="4785" y="48264"/>
                              <a:pt x="4844" y="48205"/>
                              <a:pt x="4844" y="48145"/>
                            </a:cubicBezTo>
                            <a:cubicBezTo>
                              <a:pt x="4904" y="48085"/>
                              <a:pt x="4964" y="48025"/>
                              <a:pt x="4964" y="47966"/>
                            </a:cubicBezTo>
                            <a:cubicBezTo>
                              <a:pt x="5263" y="47607"/>
                              <a:pt x="5562" y="47248"/>
                              <a:pt x="5861" y="46889"/>
                            </a:cubicBezTo>
                            <a:cubicBezTo>
                              <a:pt x="6160" y="46530"/>
                              <a:pt x="6459" y="46231"/>
                              <a:pt x="6698" y="45872"/>
                            </a:cubicBezTo>
                            <a:cubicBezTo>
                              <a:pt x="6997" y="45513"/>
                              <a:pt x="7296" y="45214"/>
                              <a:pt x="7536" y="44855"/>
                            </a:cubicBezTo>
                            <a:cubicBezTo>
                              <a:pt x="7835" y="44497"/>
                              <a:pt x="8074" y="44198"/>
                              <a:pt x="8373" y="43899"/>
                            </a:cubicBezTo>
                            <a:lnTo>
                              <a:pt x="7835" y="43540"/>
                            </a:lnTo>
                            <a:cubicBezTo>
                              <a:pt x="7536" y="43839"/>
                              <a:pt x="7296" y="44198"/>
                              <a:pt x="6997" y="44497"/>
                            </a:cubicBezTo>
                            <a:cubicBezTo>
                              <a:pt x="6698" y="44855"/>
                              <a:pt x="6459" y="45154"/>
                              <a:pt x="6160" y="45513"/>
                            </a:cubicBezTo>
                            <a:cubicBezTo>
                              <a:pt x="5861" y="45872"/>
                              <a:pt x="5562" y="46171"/>
                              <a:pt x="5263" y="46530"/>
                            </a:cubicBezTo>
                            <a:cubicBezTo>
                              <a:pt x="4964" y="46889"/>
                              <a:pt x="4665" y="47248"/>
                              <a:pt x="4366" y="47607"/>
                            </a:cubicBezTo>
                            <a:cubicBezTo>
                              <a:pt x="4306" y="47667"/>
                              <a:pt x="4246" y="47726"/>
                              <a:pt x="4246" y="47786"/>
                            </a:cubicBezTo>
                            <a:cubicBezTo>
                              <a:pt x="4186" y="47846"/>
                              <a:pt x="4127" y="47906"/>
                              <a:pt x="4127" y="47966"/>
                            </a:cubicBezTo>
                            <a:cubicBezTo>
                              <a:pt x="4067" y="48025"/>
                              <a:pt x="4007" y="48085"/>
                              <a:pt x="4007" y="48145"/>
                            </a:cubicBezTo>
                            <a:cubicBezTo>
                              <a:pt x="3947" y="48205"/>
                              <a:pt x="3887" y="48264"/>
                              <a:pt x="3827" y="48324"/>
                            </a:cubicBezTo>
                            <a:cubicBezTo>
                              <a:pt x="3528" y="48683"/>
                              <a:pt x="3170" y="49102"/>
                              <a:pt x="2871" y="49461"/>
                            </a:cubicBezTo>
                            <a:cubicBezTo>
                              <a:pt x="2572" y="49820"/>
                              <a:pt x="2213" y="50238"/>
                              <a:pt x="1914" y="50597"/>
                            </a:cubicBezTo>
                            <a:cubicBezTo>
                              <a:pt x="1615" y="51016"/>
                              <a:pt x="1256" y="51375"/>
                              <a:pt x="957" y="51793"/>
                            </a:cubicBezTo>
                            <a:cubicBezTo>
                              <a:pt x="658" y="52212"/>
                              <a:pt x="299" y="52570"/>
                              <a:pt x="0" y="52989"/>
                            </a:cubicBezTo>
                            <a:lnTo>
                              <a:pt x="0" y="53109"/>
                            </a:lnTo>
                          </a:path>
                        </a:pathLst>
                      </a:custGeom>
                      <a:noFill/>
                      <a:ln w="6350" cap="flat">
                        <a:solidFill>
                          <a:schemeClr val="bg1">
                            <a:alpha val="40000"/>
                          </a:schemeClr>
                        </a:solidFill>
                        <a:prstDash val="solid"/>
                        <a:miter/>
                      </a:ln>
                    </p:spPr>
                    <p:txBody>
                      <a:bodyPr rtlCol="0" anchor="ctr"/>
                      <a:lstStyle/>
                      <a:p>
                        <a:endParaRPr lang="en-GB"/>
                      </a:p>
                    </p:txBody>
                  </p:sp>
                  <p:sp>
                    <p:nvSpPr>
                      <p:cNvPr id="7426" name="Vrije vorm: vorm 7425">
                        <a:extLst>
                          <a:ext uri="{FF2B5EF4-FFF2-40B4-BE49-F238E27FC236}">
                            <a16:creationId xmlns:a16="http://schemas.microsoft.com/office/drawing/2014/main" id="{9CAA1523-2251-40D4-9317-2A1D8DE994AB}"/>
                          </a:ext>
                        </a:extLst>
                      </p:cNvPr>
                      <p:cNvSpPr/>
                      <p:nvPr/>
                    </p:nvSpPr>
                    <p:spPr>
                      <a:xfrm>
                        <a:off x="5336053" y="5515880"/>
                        <a:ext cx="18088" cy="18599"/>
                      </a:xfrm>
                      <a:custGeom>
                        <a:avLst/>
                        <a:gdLst>
                          <a:gd name="connsiteX0" fmla="*/ 3256 w 18088"/>
                          <a:gd name="connsiteY0" fmla="*/ 4785 h 18599"/>
                          <a:gd name="connsiteX1" fmla="*/ 3794 w 18088"/>
                          <a:gd name="connsiteY1" fmla="*/ 5143 h 18599"/>
                          <a:gd name="connsiteX2" fmla="*/ 4273 w 18088"/>
                          <a:gd name="connsiteY2" fmla="*/ 4605 h 18599"/>
                          <a:gd name="connsiteX3" fmla="*/ 4751 w 18088"/>
                          <a:gd name="connsiteY3" fmla="*/ 4127 h 18599"/>
                          <a:gd name="connsiteX4" fmla="*/ 5230 w 18088"/>
                          <a:gd name="connsiteY4" fmla="*/ 3648 h 18599"/>
                          <a:gd name="connsiteX5" fmla="*/ 5708 w 18088"/>
                          <a:gd name="connsiteY5" fmla="*/ 3229 h 18599"/>
                          <a:gd name="connsiteX6" fmla="*/ 5888 w 18088"/>
                          <a:gd name="connsiteY6" fmla="*/ 3050 h 18599"/>
                          <a:gd name="connsiteX7" fmla="*/ 6067 w 18088"/>
                          <a:gd name="connsiteY7" fmla="*/ 2930 h 18599"/>
                          <a:gd name="connsiteX8" fmla="*/ 6246 w 18088"/>
                          <a:gd name="connsiteY8" fmla="*/ 2811 h 18599"/>
                          <a:gd name="connsiteX9" fmla="*/ 6426 w 18088"/>
                          <a:gd name="connsiteY9" fmla="*/ 2691 h 18599"/>
                          <a:gd name="connsiteX10" fmla="*/ 7801 w 18088"/>
                          <a:gd name="connsiteY10" fmla="*/ 1794 h 18599"/>
                          <a:gd name="connsiteX11" fmla="*/ 9237 w 18088"/>
                          <a:gd name="connsiteY11" fmla="*/ 1136 h 18599"/>
                          <a:gd name="connsiteX12" fmla="*/ 10672 w 18088"/>
                          <a:gd name="connsiteY12" fmla="*/ 718 h 18599"/>
                          <a:gd name="connsiteX13" fmla="*/ 12048 w 18088"/>
                          <a:gd name="connsiteY13" fmla="*/ 538 h 18599"/>
                          <a:gd name="connsiteX14" fmla="*/ 12646 w 18088"/>
                          <a:gd name="connsiteY14" fmla="*/ 538 h 18599"/>
                          <a:gd name="connsiteX15" fmla="*/ 13184 w 18088"/>
                          <a:gd name="connsiteY15" fmla="*/ 598 h 18599"/>
                          <a:gd name="connsiteX16" fmla="*/ 13722 w 18088"/>
                          <a:gd name="connsiteY16" fmla="*/ 718 h 18599"/>
                          <a:gd name="connsiteX17" fmla="*/ 14261 w 18088"/>
                          <a:gd name="connsiteY17" fmla="*/ 897 h 18599"/>
                          <a:gd name="connsiteX18" fmla="*/ 14500 w 18088"/>
                          <a:gd name="connsiteY18" fmla="*/ 1017 h 18599"/>
                          <a:gd name="connsiteX19" fmla="*/ 14739 w 18088"/>
                          <a:gd name="connsiteY19" fmla="*/ 1136 h 18599"/>
                          <a:gd name="connsiteX20" fmla="*/ 14978 w 18088"/>
                          <a:gd name="connsiteY20" fmla="*/ 1256 h 18599"/>
                          <a:gd name="connsiteX21" fmla="*/ 15218 w 18088"/>
                          <a:gd name="connsiteY21" fmla="*/ 1435 h 18599"/>
                          <a:gd name="connsiteX22" fmla="*/ 15457 w 18088"/>
                          <a:gd name="connsiteY22" fmla="*/ 1615 h 18599"/>
                          <a:gd name="connsiteX23" fmla="*/ 15696 w 18088"/>
                          <a:gd name="connsiteY23" fmla="*/ 1794 h 18599"/>
                          <a:gd name="connsiteX24" fmla="*/ 15875 w 18088"/>
                          <a:gd name="connsiteY24" fmla="*/ 1974 h 18599"/>
                          <a:gd name="connsiteX25" fmla="*/ 16055 w 18088"/>
                          <a:gd name="connsiteY25" fmla="*/ 2153 h 18599"/>
                          <a:gd name="connsiteX26" fmla="*/ 16354 w 18088"/>
                          <a:gd name="connsiteY26" fmla="*/ 2572 h 18599"/>
                          <a:gd name="connsiteX27" fmla="*/ 16653 w 18088"/>
                          <a:gd name="connsiteY27" fmla="*/ 2990 h 18599"/>
                          <a:gd name="connsiteX28" fmla="*/ 16892 w 18088"/>
                          <a:gd name="connsiteY28" fmla="*/ 3469 h 18599"/>
                          <a:gd name="connsiteX29" fmla="*/ 17072 w 18088"/>
                          <a:gd name="connsiteY29" fmla="*/ 3947 h 18599"/>
                          <a:gd name="connsiteX30" fmla="*/ 17311 w 18088"/>
                          <a:gd name="connsiteY30" fmla="*/ 5203 h 18599"/>
                          <a:gd name="connsiteX31" fmla="*/ 17311 w 18088"/>
                          <a:gd name="connsiteY31" fmla="*/ 6579 h 18599"/>
                          <a:gd name="connsiteX32" fmla="*/ 17072 w 18088"/>
                          <a:gd name="connsiteY32" fmla="*/ 8014 h 18599"/>
                          <a:gd name="connsiteX33" fmla="*/ 16593 w 18088"/>
                          <a:gd name="connsiteY33" fmla="*/ 9509 h 18599"/>
                          <a:gd name="connsiteX34" fmla="*/ 16533 w 18088"/>
                          <a:gd name="connsiteY34" fmla="*/ 9749 h 18599"/>
                          <a:gd name="connsiteX35" fmla="*/ 16414 w 18088"/>
                          <a:gd name="connsiteY35" fmla="*/ 9988 h 18599"/>
                          <a:gd name="connsiteX36" fmla="*/ 16294 w 18088"/>
                          <a:gd name="connsiteY36" fmla="*/ 10227 h 18599"/>
                          <a:gd name="connsiteX37" fmla="*/ 16175 w 18088"/>
                          <a:gd name="connsiteY37" fmla="*/ 10466 h 18599"/>
                          <a:gd name="connsiteX38" fmla="*/ 15875 w 18088"/>
                          <a:gd name="connsiteY38" fmla="*/ 11004 h 18599"/>
                          <a:gd name="connsiteX39" fmla="*/ 15576 w 18088"/>
                          <a:gd name="connsiteY39" fmla="*/ 11543 h 18599"/>
                          <a:gd name="connsiteX40" fmla="*/ 15218 w 18088"/>
                          <a:gd name="connsiteY40" fmla="*/ 12081 h 18599"/>
                          <a:gd name="connsiteX41" fmla="*/ 14799 w 18088"/>
                          <a:gd name="connsiteY41" fmla="*/ 12619 h 18599"/>
                          <a:gd name="connsiteX42" fmla="*/ 15277 w 18088"/>
                          <a:gd name="connsiteY42" fmla="*/ 12978 h 18599"/>
                          <a:gd name="connsiteX43" fmla="*/ 15696 w 18088"/>
                          <a:gd name="connsiteY43" fmla="*/ 12440 h 18599"/>
                          <a:gd name="connsiteX44" fmla="*/ 16055 w 18088"/>
                          <a:gd name="connsiteY44" fmla="*/ 11902 h 18599"/>
                          <a:gd name="connsiteX45" fmla="*/ 16414 w 18088"/>
                          <a:gd name="connsiteY45" fmla="*/ 11364 h 18599"/>
                          <a:gd name="connsiteX46" fmla="*/ 16713 w 18088"/>
                          <a:gd name="connsiteY46" fmla="*/ 10825 h 18599"/>
                          <a:gd name="connsiteX47" fmla="*/ 16832 w 18088"/>
                          <a:gd name="connsiteY47" fmla="*/ 10645 h 18599"/>
                          <a:gd name="connsiteX48" fmla="*/ 16952 w 18088"/>
                          <a:gd name="connsiteY48" fmla="*/ 10466 h 18599"/>
                          <a:gd name="connsiteX49" fmla="*/ 17072 w 18088"/>
                          <a:gd name="connsiteY49" fmla="*/ 10287 h 18599"/>
                          <a:gd name="connsiteX50" fmla="*/ 17191 w 18088"/>
                          <a:gd name="connsiteY50" fmla="*/ 10107 h 18599"/>
                          <a:gd name="connsiteX51" fmla="*/ 17670 w 18088"/>
                          <a:gd name="connsiteY51" fmla="*/ 8732 h 18599"/>
                          <a:gd name="connsiteX52" fmla="*/ 17969 w 18088"/>
                          <a:gd name="connsiteY52" fmla="*/ 7416 h 18599"/>
                          <a:gd name="connsiteX53" fmla="*/ 18089 w 18088"/>
                          <a:gd name="connsiteY53" fmla="*/ 6100 h 18599"/>
                          <a:gd name="connsiteX54" fmla="*/ 18029 w 18088"/>
                          <a:gd name="connsiteY54" fmla="*/ 4904 h 18599"/>
                          <a:gd name="connsiteX55" fmla="*/ 17969 w 18088"/>
                          <a:gd name="connsiteY55" fmla="*/ 4545 h 18599"/>
                          <a:gd name="connsiteX56" fmla="*/ 17909 w 18088"/>
                          <a:gd name="connsiteY56" fmla="*/ 4187 h 18599"/>
                          <a:gd name="connsiteX57" fmla="*/ 17849 w 18088"/>
                          <a:gd name="connsiteY57" fmla="*/ 3888 h 18599"/>
                          <a:gd name="connsiteX58" fmla="*/ 17729 w 18088"/>
                          <a:gd name="connsiteY58" fmla="*/ 3588 h 18599"/>
                          <a:gd name="connsiteX59" fmla="*/ 17430 w 18088"/>
                          <a:gd name="connsiteY59" fmla="*/ 2811 h 18599"/>
                          <a:gd name="connsiteX60" fmla="*/ 17012 w 18088"/>
                          <a:gd name="connsiteY60" fmla="*/ 2093 h 18599"/>
                          <a:gd name="connsiteX61" fmla="*/ 16474 w 18088"/>
                          <a:gd name="connsiteY61" fmla="*/ 1495 h 18599"/>
                          <a:gd name="connsiteX62" fmla="*/ 15816 w 18088"/>
                          <a:gd name="connsiteY62" fmla="*/ 957 h 18599"/>
                          <a:gd name="connsiteX63" fmla="*/ 15098 w 18088"/>
                          <a:gd name="connsiteY63" fmla="*/ 538 h 18599"/>
                          <a:gd name="connsiteX64" fmla="*/ 14261 w 18088"/>
                          <a:gd name="connsiteY64" fmla="*/ 239 h 18599"/>
                          <a:gd name="connsiteX65" fmla="*/ 13423 w 18088"/>
                          <a:gd name="connsiteY65" fmla="*/ 60 h 18599"/>
                          <a:gd name="connsiteX66" fmla="*/ 12526 w 18088"/>
                          <a:gd name="connsiteY66" fmla="*/ 0 h 18599"/>
                          <a:gd name="connsiteX67" fmla="*/ 12167 w 18088"/>
                          <a:gd name="connsiteY67" fmla="*/ 0 h 18599"/>
                          <a:gd name="connsiteX68" fmla="*/ 11808 w 18088"/>
                          <a:gd name="connsiteY68" fmla="*/ 0 h 18599"/>
                          <a:gd name="connsiteX69" fmla="*/ 11450 w 18088"/>
                          <a:gd name="connsiteY69" fmla="*/ 60 h 18599"/>
                          <a:gd name="connsiteX70" fmla="*/ 11091 w 18088"/>
                          <a:gd name="connsiteY70" fmla="*/ 120 h 18599"/>
                          <a:gd name="connsiteX71" fmla="*/ 9775 w 18088"/>
                          <a:gd name="connsiteY71" fmla="*/ 479 h 18599"/>
                          <a:gd name="connsiteX72" fmla="*/ 8459 w 18088"/>
                          <a:gd name="connsiteY72" fmla="*/ 1017 h 18599"/>
                          <a:gd name="connsiteX73" fmla="*/ 7144 w 18088"/>
                          <a:gd name="connsiteY73" fmla="*/ 1734 h 18599"/>
                          <a:gd name="connsiteX74" fmla="*/ 5888 w 18088"/>
                          <a:gd name="connsiteY74" fmla="*/ 2572 h 18599"/>
                          <a:gd name="connsiteX75" fmla="*/ 5708 w 18088"/>
                          <a:gd name="connsiteY75" fmla="*/ 2691 h 18599"/>
                          <a:gd name="connsiteX76" fmla="*/ 5529 w 18088"/>
                          <a:gd name="connsiteY76" fmla="*/ 2811 h 18599"/>
                          <a:gd name="connsiteX77" fmla="*/ 5350 w 18088"/>
                          <a:gd name="connsiteY77" fmla="*/ 2990 h 18599"/>
                          <a:gd name="connsiteX78" fmla="*/ 5170 w 18088"/>
                          <a:gd name="connsiteY78" fmla="*/ 3170 h 18599"/>
                          <a:gd name="connsiteX79" fmla="*/ 4691 w 18088"/>
                          <a:gd name="connsiteY79" fmla="*/ 3588 h 18599"/>
                          <a:gd name="connsiteX80" fmla="*/ 4213 w 18088"/>
                          <a:gd name="connsiteY80" fmla="*/ 4067 h 18599"/>
                          <a:gd name="connsiteX81" fmla="*/ 3735 w 18088"/>
                          <a:gd name="connsiteY81" fmla="*/ 4545 h 18599"/>
                          <a:gd name="connsiteX82" fmla="*/ 3256 w 18088"/>
                          <a:gd name="connsiteY82" fmla="*/ 4785 h 18599"/>
                          <a:gd name="connsiteX83" fmla="*/ 10074 w 18088"/>
                          <a:gd name="connsiteY83" fmla="*/ 16686 h 18599"/>
                          <a:gd name="connsiteX84" fmla="*/ 10672 w 18088"/>
                          <a:gd name="connsiteY84" fmla="*/ 17105 h 18599"/>
                          <a:gd name="connsiteX85" fmla="*/ 11749 w 18088"/>
                          <a:gd name="connsiteY85" fmla="*/ 16387 h 18599"/>
                          <a:gd name="connsiteX86" fmla="*/ 12825 w 18088"/>
                          <a:gd name="connsiteY86" fmla="*/ 15550 h 18599"/>
                          <a:gd name="connsiteX87" fmla="*/ 13842 w 18088"/>
                          <a:gd name="connsiteY87" fmla="*/ 14593 h 18599"/>
                          <a:gd name="connsiteX88" fmla="*/ 14799 w 18088"/>
                          <a:gd name="connsiteY88" fmla="*/ 13516 h 18599"/>
                          <a:gd name="connsiteX89" fmla="*/ 14321 w 18088"/>
                          <a:gd name="connsiteY89" fmla="*/ 13158 h 18599"/>
                          <a:gd name="connsiteX90" fmla="*/ 13364 w 18088"/>
                          <a:gd name="connsiteY90" fmla="*/ 14234 h 18599"/>
                          <a:gd name="connsiteX91" fmla="*/ 12287 w 18088"/>
                          <a:gd name="connsiteY91" fmla="*/ 15191 h 18599"/>
                          <a:gd name="connsiteX92" fmla="*/ 11211 w 18088"/>
                          <a:gd name="connsiteY92" fmla="*/ 15968 h 18599"/>
                          <a:gd name="connsiteX93" fmla="*/ 10074 w 18088"/>
                          <a:gd name="connsiteY93" fmla="*/ 16686 h 18599"/>
                          <a:gd name="connsiteX94" fmla="*/ 326 w 18088"/>
                          <a:gd name="connsiteY94" fmla="*/ 10287 h 18599"/>
                          <a:gd name="connsiteX95" fmla="*/ 983 w 18088"/>
                          <a:gd name="connsiteY95" fmla="*/ 10705 h 18599"/>
                          <a:gd name="connsiteX96" fmla="*/ 1282 w 18088"/>
                          <a:gd name="connsiteY96" fmla="*/ 9509 h 18599"/>
                          <a:gd name="connsiteX97" fmla="*/ 1761 w 18088"/>
                          <a:gd name="connsiteY97" fmla="*/ 8313 h 18599"/>
                          <a:gd name="connsiteX98" fmla="*/ 2419 w 18088"/>
                          <a:gd name="connsiteY98" fmla="*/ 7117 h 18599"/>
                          <a:gd name="connsiteX99" fmla="*/ 3196 w 18088"/>
                          <a:gd name="connsiteY99" fmla="*/ 5921 h 18599"/>
                          <a:gd name="connsiteX100" fmla="*/ 2658 w 18088"/>
                          <a:gd name="connsiteY100" fmla="*/ 5562 h 18599"/>
                          <a:gd name="connsiteX101" fmla="*/ 1881 w 18088"/>
                          <a:gd name="connsiteY101" fmla="*/ 6758 h 18599"/>
                          <a:gd name="connsiteX102" fmla="*/ 1223 w 18088"/>
                          <a:gd name="connsiteY102" fmla="*/ 7954 h 18599"/>
                          <a:gd name="connsiteX103" fmla="*/ 684 w 18088"/>
                          <a:gd name="connsiteY103" fmla="*/ 9150 h 18599"/>
                          <a:gd name="connsiteX104" fmla="*/ 326 w 18088"/>
                          <a:gd name="connsiteY104" fmla="*/ 10287 h 18599"/>
                          <a:gd name="connsiteX105" fmla="*/ 6964 w 18088"/>
                          <a:gd name="connsiteY105" fmla="*/ 17703 h 18599"/>
                          <a:gd name="connsiteX106" fmla="*/ 7861 w 18088"/>
                          <a:gd name="connsiteY106" fmla="*/ 18301 h 18599"/>
                          <a:gd name="connsiteX107" fmla="*/ 8340 w 18088"/>
                          <a:gd name="connsiteY107" fmla="*/ 18181 h 18599"/>
                          <a:gd name="connsiteX108" fmla="*/ 8818 w 18088"/>
                          <a:gd name="connsiteY108" fmla="*/ 18002 h 18599"/>
                          <a:gd name="connsiteX109" fmla="*/ 9297 w 18088"/>
                          <a:gd name="connsiteY109" fmla="*/ 17822 h 18599"/>
                          <a:gd name="connsiteX110" fmla="*/ 9775 w 18088"/>
                          <a:gd name="connsiteY110" fmla="*/ 17583 h 18599"/>
                          <a:gd name="connsiteX111" fmla="*/ 9117 w 18088"/>
                          <a:gd name="connsiteY111" fmla="*/ 17165 h 18599"/>
                          <a:gd name="connsiteX112" fmla="*/ 8579 w 18088"/>
                          <a:gd name="connsiteY112" fmla="*/ 17344 h 18599"/>
                          <a:gd name="connsiteX113" fmla="*/ 8041 w 18088"/>
                          <a:gd name="connsiteY113" fmla="*/ 17523 h 18599"/>
                          <a:gd name="connsiteX114" fmla="*/ 7503 w 18088"/>
                          <a:gd name="connsiteY114" fmla="*/ 17643 h 18599"/>
                          <a:gd name="connsiteX115" fmla="*/ 6964 w 18088"/>
                          <a:gd name="connsiteY115" fmla="*/ 17703 h 18599"/>
                          <a:gd name="connsiteX116" fmla="*/ 27 w 18088"/>
                          <a:gd name="connsiteY116" fmla="*/ 13158 h 18599"/>
                          <a:gd name="connsiteX117" fmla="*/ 923 w 18088"/>
                          <a:gd name="connsiteY117" fmla="*/ 13756 h 18599"/>
                          <a:gd name="connsiteX118" fmla="*/ 864 w 18088"/>
                          <a:gd name="connsiteY118" fmla="*/ 13277 h 18599"/>
                          <a:gd name="connsiteX119" fmla="*/ 804 w 18088"/>
                          <a:gd name="connsiteY119" fmla="*/ 12799 h 18599"/>
                          <a:gd name="connsiteX120" fmla="*/ 804 w 18088"/>
                          <a:gd name="connsiteY120" fmla="*/ 12260 h 18599"/>
                          <a:gd name="connsiteX121" fmla="*/ 864 w 18088"/>
                          <a:gd name="connsiteY121" fmla="*/ 11722 h 18599"/>
                          <a:gd name="connsiteX122" fmla="*/ 146 w 18088"/>
                          <a:gd name="connsiteY122" fmla="*/ 11244 h 18599"/>
                          <a:gd name="connsiteX123" fmla="*/ 86 w 18088"/>
                          <a:gd name="connsiteY123" fmla="*/ 11722 h 18599"/>
                          <a:gd name="connsiteX124" fmla="*/ 27 w 18088"/>
                          <a:gd name="connsiteY124" fmla="*/ 12201 h 18599"/>
                          <a:gd name="connsiteX125" fmla="*/ 27 w 18088"/>
                          <a:gd name="connsiteY125" fmla="*/ 12679 h 18599"/>
                          <a:gd name="connsiteX126" fmla="*/ 27 w 18088"/>
                          <a:gd name="connsiteY126" fmla="*/ 13158 h 18599"/>
                          <a:gd name="connsiteX127" fmla="*/ 1462 w 18088"/>
                          <a:gd name="connsiteY127" fmla="*/ 16985 h 18599"/>
                          <a:gd name="connsiteX128" fmla="*/ 3436 w 18088"/>
                          <a:gd name="connsiteY128" fmla="*/ 18241 h 18599"/>
                          <a:gd name="connsiteX129" fmla="*/ 4153 w 18088"/>
                          <a:gd name="connsiteY129" fmla="*/ 18421 h 18599"/>
                          <a:gd name="connsiteX130" fmla="*/ 4931 w 18088"/>
                          <a:gd name="connsiteY130" fmla="*/ 18540 h 18599"/>
                          <a:gd name="connsiteX131" fmla="*/ 5708 w 18088"/>
                          <a:gd name="connsiteY131" fmla="*/ 18600 h 18599"/>
                          <a:gd name="connsiteX132" fmla="*/ 6545 w 18088"/>
                          <a:gd name="connsiteY132" fmla="*/ 18540 h 18599"/>
                          <a:gd name="connsiteX133" fmla="*/ 5350 w 18088"/>
                          <a:gd name="connsiteY133" fmla="*/ 17763 h 18599"/>
                          <a:gd name="connsiteX134" fmla="*/ 4691 w 18088"/>
                          <a:gd name="connsiteY134" fmla="*/ 17643 h 18599"/>
                          <a:gd name="connsiteX135" fmla="*/ 4093 w 18088"/>
                          <a:gd name="connsiteY135" fmla="*/ 17464 h 18599"/>
                          <a:gd name="connsiteX136" fmla="*/ 3496 w 18088"/>
                          <a:gd name="connsiteY136" fmla="*/ 17225 h 18599"/>
                          <a:gd name="connsiteX137" fmla="*/ 2957 w 18088"/>
                          <a:gd name="connsiteY137" fmla="*/ 16926 h 18599"/>
                          <a:gd name="connsiteX138" fmla="*/ 2479 w 18088"/>
                          <a:gd name="connsiteY138" fmla="*/ 16567 h 18599"/>
                          <a:gd name="connsiteX139" fmla="*/ 2060 w 18088"/>
                          <a:gd name="connsiteY139" fmla="*/ 16148 h 18599"/>
                          <a:gd name="connsiteX140" fmla="*/ 1701 w 18088"/>
                          <a:gd name="connsiteY140" fmla="*/ 15669 h 18599"/>
                          <a:gd name="connsiteX141" fmla="*/ 1402 w 18088"/>
                          <a:gd name="connsiteY141" fmla="*/ 15131 h 18599"/>
                          <a:gd name="connsiteX142" fmla="*/ 206 w 18088"/>
                          <a:gd name="connsiteY142" fmla="*/ 14354 h 18599"/>
                          <a:gd name="connsiteX143" fmla="*/ 385 w 18088"/>
                          <a:gd name="connsiteY143" fmla="*/ 15072 h 18599"/>
                          <a:gd name="connsiteX144" fmla="*/ 684 w 18088"/>
                          <a:gd name="connsiteY144" fmla="*/ 15729 h 18599"/>
                          <a:gd name="connsiteX145" fmla="*/ 1043 w 18088"/>
                          <a:gd name="connsiteY145" fmla="*/ 16327 h 18599"/>
                          <a:gd name="connsiteX146" fmla="*/ 1462 w 18088"/>
                          <a:gd name="connsiteY146" fmla="*/ 16985 h 1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8088" h="18599">
                            <a:moveTo>
                              <a:pt x="3256" y="4785"/>
                            </a:moveTo>
                            <a:lnTo>
                              <a:pt x="3794" y="5143"/>
                            </a:lnTo>
                            <a:cubicBezTo>
                              <a:pt x="3914" y="4964"/>
                              <a:pt x="4093" y="4785"/>
                              <a:pt x="4273" y="4605"/>
                            </a:cubicBezTo>
                            <a:cubicBezTo>
                              <a:pt x="4452" y="4426"/>
                              <a:pt x="4572" y="4246"/>
                              <a:pt x="4751" y="4127"/>
                            </a:cubicBezTo>
                            <a:cubicBezTo>
                              <a:pt x="4931" y="3947"/>
                              <a:pt x="5050" y="3828"/>
                              <a:pt x="5230" y="3648"/>
                            </a:cubicBezTo>
                            <a:cubicBezTo>
                              <a:pt x="5409" y="3528"/>
                              <a:pt x="5589" y="3349"/>
                              <a:pt x="5708" y="3229"/>
                            </a:cubicBezTo>
                            <a:cubicBezTo>
                              <a:pt x="5768" y="3170"/>
                              <a:pt x="5828" y="3110"/>
                              <a:pt x="5888" y="3050"/>
                            </a:cubicBezTo>
                            <a:cubicBezTo>
                              <a:pt x="5947" y="2990"/>
                              <a:pt x="6007" y="2930"/>
                              <a:pt x="6067" y="2930"/>
                            </a:cubicBezTo>
                            <a:cubicBezTo>
                              <a:pt x="6127" y="2871"/>
                              <a:pt x="6187" y="2811"/>
                              <a:pt x="6246" y="2811"/>
                            </a:cubicBezTo>
                            <a:cubicBezTo>
                              <a:pt x="6306" y="2751"/>
                              <a:pt x="6366" y="2691"/>
                              <a:pt x="6426" y="2691"/>
                            </a:cubicBezTo>
                            <a:cubicBezTo>
                              <a:pt x="6904" y="2392"/>
                              <a:pt x="7323" y="2093"/>
                              <a:pt x="7801" y="1794"/>
                            </a:cubicBezTo>
                            <a:cubicBezTo>
                              <a:pt x="8280" y="1555"/>
                              <a:pt x="8758" y="1316"/>
                              <a:pt x="9237" y="1136"/>
                            </a:cubicBezTo>
                            <a:cubicBezTo>
                              <a:pt x="9715" y="957"/>
                              <a:pt x="10194" y="837"/>
                              <a:pt x="10672" y="718"/>
                            </a:cubicBezTo>
                            <a:cubicBezTo>
                              <a:pt x="11151" y="598"/>
                              <a:pt x="11569" y="538"/>
                              <a:pt x="12048" y="538"/>
                            </a:cubicBezTo>
                            <a:cubicBezTo>
                              <a:pt x="12227" y="538"/>
                              <a:pt x="12407" y="538"/>
                              <a:pt x="12646" y="538"/>
                            </a:cubicBezTo>
                            <a:cubicBezTo>
                              <a:pt x="12825" y="538"/>
                              <a:pt x="13005" y="538"/>
                              <a:pt x="13184" y="598"/>
                            </a:cubicBezTo>
                            <a:cubicBezTo>
                              <a:pt x="13364" y="598"/>
                              <a:pt x="13543" y="658"/>
                              <a:pt x="13722" y="718"/>
                            </a:cubicBezTo>
                            <a:cubicBezTo>
                              <a:pt x="13902" y="778"/>
                              <a:pt x="14081" y="837"/>
                              <a:pt x="14261" y="897"/>
                            </a:cubicBezTo>
                            <a:cubicBezTo>
                              <a:pt x="14321" y="957"/>
                              <a:pt x="14440" y="957"/>
                              <a:pt x="14500" y="1017"/>
                            </a:cubicBezTo>
                            <a:cubicBezTo>
                              <a:pt x="14560" y="1076"/>
                              <a:pt x="14679" y="1076"/>
                              <a:pt x="14739" y="1136"/>
                            </a:cubicBezTo>
                            <a:cubicBezTo>
                              <a:pt x="14799" y="1196"/>
                              <a:pt x="14919" y="1196"/>
                              <a:pt x="14978" y="1256"/>
                            </a:cubicBezTo>
                            <a:cubicBezTo>
                              <a:pt x="15038" y="1316"/>
                              <a:pt x="15158" y="1375"/>
                              <a:pt x="15218" y="1435"/>
                            </a:cubicBezTo>
                            <a:cubicBezTo>
                              <a:pt x="15277" y="1495"/>
                              <a:pt x="15397" y="1555"/>
                              <a:pt x="15457" y="1615"/>
                            </a:cubicBezTo>
                            <a:cubicBezTo>
                              <a:pt x="15516" y="1674"/>
                              <a:pt x="15576" y="1734"/>
                              <a:pt x="15696" y="1794"/>
                            </a:cubicBezTo>
                            <a:cubicBezTo>
                              <a:pt x="15756" y="1854"/>
                              <a:pt x="15816" y="1914"/>
                              <a:pt x="15875" y="1974"/>
                            </a:cubicBezTo>
                            <a:cubicBezTo>
                              <a:pt x="15935" y="2033"/>
                              <a:pt x="15995" y="2093"/>
                              <a:pt x="16055" y="2153"/>
                            </a:cubicBezTo>
                            <a:cubicBezTo>
                              <a:pt x="16175" y="2273"/>
                              <a:pt x="16294" y="2392"/>
                              <a:pt x="16354" y="2572"/>
                            </a:cubicBezTo>
                            <a:cubicBezTo>
                              <a:pt x="16414" y="2751"/>
                              <a:pt x="16533" y="2871"/>
                              <a:pt x="16653" y="2990"/>
                            </a:cubicBezTo>
                            <a:cubicBezTo>
                              <a:pt x="16713" y="3170"/>
                              <a:pt x="16832" y="3289"/>
                              <a:pt x="16892" y="3469"/>
                            </a:cubicBezTo>
                            <a:cubicBezTo>
                              <a:pt x="16952" y="3648"/>
                              <a:pt x="17012" y="3768"/>
                              <a:pt x="17072" y="3947"/>
                            </a:cubicBezTo>
                            <a:cubicBezTo>
                              <a:pt x="17191" y="4366"/>
                              <a:pt x="17251" y="4785"/>
                              <a:pt x="17311" y="5203"/>
                            </a:cubicBezTo>
                            <a:cubicBezTo>
                              <a:pt x="17370" y="5622"/>
                              <a:pt x="17370" y="6100"/>
                              <a:pt x="17311" y="6579"/>
                            </a:cubicBezTo>
                            <a:cubicBezTo>
                              <a:pt x="17251" y="7057"/>
                              <a:pt x="17191" y="7536"/>
                              <a:pt x="17072" y="8014"/>
                            </a:cubicBezTo>
                            <a:cubicBezTo>
                              <a:pt x="16952" y="8493"/>
                              <a:pt x="16773" y="8971"/>
                              <a:pt x="16593" y="9509"/>
                            </a:cubicBezTo>
                            <a:cubicBezTo>
                              <a:pt x="16593" y="9569"/>
                              <a:pt x="16533" y="9629"/>
                              <a:pt x="16533" y="9749"/>
                            </a:cubicBezTo>
                            <a:cubicBezTo>
                              <a:pt x="16533" y="9868"/>
                              <a:pt x="16474" y="9868"/>
                              <a:pt x="16414" y="9988"/>
                            </a:cubicBezTo>
                            <a:cubicBezTo>
                              <a:pt x="16354" y="10048"/>
                              <a:pt x="16354" y="10107"/>
                              <a:pt x="16294" y="10227"/>
                            </a:cubicBezTo>
                            <a:cubicBezTo>
                              <a:pt x="16234" y="10287"/>
                              <a:pt x="16234" y="10347"/>
                              <a:pt x="16175" y="10466"/>
                            </a:cubicBezTo>
                            <a:cubicBezTo>
                              <a:pt x="16055" y="10645"/>
                              <a:pt x="15995" y="10825"/>
                              <a:pt x="15875" y="11004"/>
                            </a:cubicBezTo>
                            <a:cubicBezTo>
                              <a:pt x="15756" y="11184"/>
                              <a:pt x="15696" y="11364"/>
                              <a:pt x="15576" y="11543"/>
                            </a:cubicBezTo>
                            <a:cubicBezTo>
                              <a:pt x="15457" y="11722"/>
                              <a:pt x="15337" y="11902"/>
                              <a:pt x="15218" y="12081"/>
                            </a:cubicBezTo>
                            <a:cubicBezTo>
                              <a:pt x="15098" y="12260"/>
                              <a:pt x="14978" y="12440"/>
                              <a:pt x="14799" y="12619"/>
                            </a:cubicBezTo>
                            <a:lnTo>
                              <a:pt x="15277" y="12978"/>
                            </a:lnTo>
                            <a:cubicBezTo>
                              <a:pt x="15397" y="12799"/>
                              <a:pt x="15516" y="12619"/>
                              <a:pt x="15696" y="12440"/>
                            </a:cubicBezTo>
                            <a:cubicBezTo>
                              <a:pt x="15875" y="12260"/>
                              <a:pt x="15935" y="12081"/>
                              <a:pt x="16055" y="11902"/>
                            </a:cubicBezTo>
                            <a:cubicBezTo>
                              <a:pt x="16175" y="11722"/>
                              <a:pt x="16294" y="11543"/>
                              <a:pt x="16414" y="11364"/>
                            </a:cubicBezTo>
                            <a:cubicBezTo>
                              <a:pt x="16533" y="11184"/>
                              <a:pt x="16593" y="11004"/>
                              <a:pt x="16713" y="10825"/>
                            </a:cubicBezTo>
                            <a:cubicBezTo>
                              <a:pt x="16773" y="10765"/>
                              <a:pt x="16773" y="10705"/>
                              <a:pt x="16832" y="10645"/>
                            </a:cubicBezTo>
                            <a:cubicBezTo>
                              <a:pt x="16892" y="10586"/>
                              <a:pt x="16892" y="10526"/>
                              <a:pt x="16952" y="10466"/>
                            </a:cubicBezTo>
                            <a:cubicBezTo>
                              <a:pt x="17012" y="10406"/>
                              <a:pt x="17012" y="10347"/>
                              <a:pt x="17072" y="10287"/>
                            </a:cubicBezTo>
                            <a:cubicBezTo>
                              <a:pt x="17131" y="10227"/>
                              <a:pt x="17131" y="10167"/>
                              <a:pt x="17191" y="10107"/>
                            </a:cubicBezTo>
                            <a:cubicBezTo>
                              <a:pt x="17370" y="9629"/>
                              <a:pt x="17550" y="9210"/>
                              <a:pt x="17670" y="8732"/>
                            </a:cubicBezTo>
                            <a:cubicBezTo>
                              <a:pt x="17789" y="8253"/>
                              <a:pt x="17909" y="7835"/>
                              <a:pt x="17969" y="7416"/>
                            </a:cubicBezTo>
                            <a:cubicBezTo>
                              <a:pt x="18029" y="6997"/>
                              <a:pt x="18089" y="6519"/>
                              <a:pt x="18089" y="6100"/>
                            </a:cubicBezTo>
                            <a:cubicBezTo>
                              <a:pt x="18089" y="5682"/>
                              <a:pt x="18089" y="5263"/>
                              <a:pt x="18029" y="4904"/>
                            </a:cubicBezTo>
                            <a:cubicBezTo>
                              <a:pt x="18029" y="4785"/>
                              <a:pt x="17969" y="4665"/>
                              <a:pt x="17969" y="4545"/>
                            </a:cubicBezTo>
                            <a:cubicBezTo>
                              <a:pt x="17969" y="4426"/>
                              <a:pt x="17909" y="4306"/>
                              <a:pt x="17909" y="4187"/>
                            </a:cubicBezTo>
                            <a:cubicBezTo>
                              <a:pt x="17909" y="4067"/>
                              <a:pt x="17849" y="3947"/>
                              <a:pt x="17849" y="3888"/>
                            </a:cubicBezTo>
                            <a:cubicBezTo>
                              <a:pt x="17849" y="3768"/>
                              <a:pt x="17789" y="3648"/>
                              <a:pt x="17729" y="3588"/>
                            </a:cubicBezTo>
                            <a:cubicBezTo>
                              <a:pt x="17610" y="3349"/>
                              <a:pt x="17550" y="3050"/>
                              <a:pt x="17430" y="2811"/>
                            </a:cubicBezTo>
                            <a:cubicBezTo>
                              <a:pt x="17311" y="2572"/>
                              <a:pt x="17131" y="2333"/>
                              <a:pt x="17012" y="2093"/>
                            </a:cubicBezTo>
                            <a:cubicBezTo>
                              <a:pt x="16832" y="1854"/>
                              <a:pt x="16653" y="1674"/>
                              <a:pt x="16474" y="1495"/>
                            </a:cubicBezTo>
                            <a:cubicBezTo>
                              <a:pt x="16294" y="1316"/>
                              <a:pt x="16055" y="1136"/>
                              <a:pt x="15816" y="957"/>
                            </a:cubicBezTo>
                            <a:cubicBezTo>
                              <a:pt x="15576" y="778"/>
                              <a:pt x="15337" y="658"/>
                              <a:pt x="15098" y="538"/>
                            </a:cubicBezTo>
                            <a:cubicBezTo>
                              <a:pt x="14859" y="419"/>
                              <a:pt x="14560" y="299"/>
                              <a:pt x="14261" y="239"/>
                            </a:cubicBezTo>
                            <a:cubicBezTo>
                              <a:pt x="13962" y="179"/>
                              <a:pt x="13722" y="120"/>
                              <a:pt x="13423" y="60"/>
                            </a:cubicBezTo>
                            <a:cubicBezTo>
                              <a:pt x="13124" y="0"/>
                              <a:pt x="12825" y="0"/>
                              <a:pt x="12526" y="0"/>
                            </a:cubicBezTo>
                            <a:cubicBezTo>
                              <a:pt x="12407" y="0"/>
                              <a:pt x="12287" y="0"/>
                              <a:pt x="12167" y="0"/>
                            </a:cubicBezTo>
                            <a:cubicBezTo>
                              <a:pt x="12048" y="0"/>
                              <a:pt x="11928" y="0"/>
                              <a:pt x="11808" y="0"/>
                            </a:cubicBezTo>
                            <a:cubicBezTo>
                              <a:pt x="11689" y="0"/>
                              <a:pt x="11569" y="0"/>
                              <a:pt x="11450" y="60"/>
                            </a:cubicBezTo>
                            <a:cubicBezTo>
                              <a:pt x="11330" y="120"/>
                              <a:pt x="11211" y="120"/>
                              <a:pt x="11091" y="120"/>
                            </a:cubicBezTo>
                            <a:cubicBezTo>
                              <a:pt x="10672" y="179"/>
                              <a:pt x="10253" y="299"/>
                              <a:pt x="9775" y="479"/>
                            </a:cubicBezTo>
                            <a:cubicBezTo>
                              <a:pt x="9357" y="598"/>
                              <a:pt x="8878" y="778"/>
                              <a:pt x="8459" y="1017"/>
                            </a:cubicBezTo>
                            <a:cubicBezTo>
                              <a:pt x="8041" y="1196"/>
                              <a:pt x="7562" y="1435"/>
                              <a:pt x="7144" y="1734"/>
                            </a:cubicBezTo>
                            <a:cubicBezTo>
                              <a:pt x="6725" y="1974"/>
                              <a:pt x="6306" y="2273"/>
                              <a:pt x="5888" y="2572"/>
                            </a:cubicBezTo>
                            <a:cubicBezTo>
                              <a:pt x="5828" y="2632"/>
                              <a:pt x="5768" y="2691"/>
                              <a:pt x="5708" y="2691"/>
                            </a:cubicBezTo>
                            <a:cubicBezTo>
                              <a:pt x="5649" y="2751"/>
                              <a:pt x="5589" y="2811"/>
                              <a:pt x="5529" y="2811"/>
                            </a:cubicBezTo>
                            <a:cubicBezTo>
                              <a:pt x="5469" y="2871"/>
                              <a:pt x="5409" y="2930"/>
                              <a:pt x="5350" y="2990"/>
                            </a:cubicBezTo>
                            <a:cubicBezTo>
                              <a:pt x="5290" y="3050"/>
                              <a:pt x="5230" y="3110"/>
                              <a:pt x="5170" y="3170"/>
                            </a:cubicBezTo>
                            <a:cubicBezTo>
                              <a:pt x="4991" y="3289"/>
                              <a:pt x="4871" y="3469"/>
                              <a:pt x="4691" y="3588"/>
                            </a:cubicBezTo>
                            <a:cubicBezTo>
                              <a:pt x="4512" y="3708"/>
                              <a:pt x="4392" y="3888"/>
                              <a:pt x="4213" y="4067"/>
                            </a:cubicBezTo>
                            <a:cubicBezTo>
                              <a:pt x="4034" y="4246"/>
                              <a:pt x="3914" y="4366"/>
                              <a:pt x="3735" y="4545"/>
                            </a:cubicBezTo>
                            <a:cubicBezTo>
                              <a:pt x="3555" y="4426"/>
                              <a:pt x="3436" y="4605"/>
                              <a:pt x="3256" y="4785"/>
                            </a:cubicBezTo>
                            <a:moveTo>
                              <a:pt x="10074" y="16686"/>
                            </a:moveTo>
                            <a:lnTo>
                              <a:pt x="10672" y="17105"/>
                            </a:lnTo>
                            <a:cubicBezTo>
                              <a:pt x="11031" y="16866"/>
                              <a:pt x="11390" y="16686"/>
                              <a:pt x="11749" y="16387"/>
                            </a:cubicBezTo>
                            <a:cubicBezTo>
                              <a:pt x="12108" y="16088"/>
                              <a:pt x="12467" y="15849"/>
                              <a:pt x="12825" y="15550"/>
                            </a:cubicBezTo>
                            <a:cubicBezTo>
                              <a:pt x="13184" y="15251"/>
                              <a:pt x="13543" y="14952"/>
                              <a:pt x="13842" y="14593"/>
                            </a:cubicBezTo>
                            <a:cubicBezTo>
                              <a:pt x="14201" y="14234"/>
                              <a:pt x="14500" y="13935"/>
                              <a:pt x="14799" y="13516"/>
                            </a:cubicBezTo>
                            <a:lnTo>
                              <a:pt x="14321" y="13158"/>
                            </a:lnTo>
                            <a:cubicBezTo>
                              <a:pt x="14021" y="13516"/>
                              <a:pt x="13662" y="13875"/>
                              <a:pt x="13364" y="14234"/>
                            </a:cubicBezTo>
                            <a:cubicBezTo>
                              <a:pt x="13005" y="14593"/>
                              <a:pt x="12646" y="14892"/>
                              <a:pt x="12287" y="15191"/>
                            </a:cubicBezTo>
                            <a:cubicBezTo>
                              <a:pt x="11928" y="15490"/>
                              <a:pt x="11569" y="15729"/>
                              <a:pt x="11211" y="15968"/>
                            </a:cubicBezTo>
                            <a:cubicBezTo>
                              <a:pt x="10852" y="16267"/>
                              <a:pt x="10433" y="16507"/>
                              <a:pt x="10074" y="16686"/>
                            </a:cubicBezTo>
                            <a:moveTo>
                              <a:pt x="326" y="10287"/>
                            </a:moveTo>
                            <a:lnTo>
                              <a:pt x="983" y="10705"/>
                            </a:lnTo>
                            <a:cubicBezTo>
                              <a:pt x="1043" y="10287"/>
                              <a:pt x="1163" y="9928"/>
                              <a:pt x="1282" y="9509"/>
                            </a:cubicBezTo>
                            <a:cubicBezTo>
                              <a:pt x="1402" y="9091"/>
                              <a:pt x="1582" y="8672"/>
                              <a:pt x="1761" y="8313"/>
                            </a:cubicBezTo>
                            <a:cubicBezTo>
                              <a:pt x="1940" y="7895"/>
                              <a:pt x="2180" y="7476"/>
                              <a:pt x="2419" y="7117"/>
                            </a:cubicBezTo>
                            <a:cubicBezTo>
                              <a:pt x="2658" y="6698"/>
                              <a:pt x="2897" y="6340"/>
                              <a:pt x="3196" y="5921"/>
                            </a:cubicBezTo>
                            <a:lnTo>
                              <a:pt x="2658" y="5562"/>
                            </a:lnTo>
                            <a:cubicBezTo>
                              <a:pt x="2359" y="5921"/>
                              <a:pt x="2120" y="6340"/>
                              <a:pt x="1881" y="6758"/>
                            </a:cubicBezTo>
                            <a:cubicBezTo>
                              <a:pt x="1642" y="7177"/>
                              <a:pt x="1402" y="7536"/>
                              <a:pt x="1223" y="7954"/>
                            </a:cubicBezTo>
                            <a:cubicBezTo>
                              <a:pt x="1043" y="8373"/>
                              <a:pt x="864" y="8732"/>
                              <a:pt x="684" y="9150"/>
                            </a:cubicBezTo>
                            <a:cubicBezTo>
                              <a:pt x="565" y="9509"/>
                              <a:pt x="445" y="9928"/>
                              <a:pt x="326" y="10287"/>
                            </a:cubicBezTo>
                            <a:moveTo>
                              <a:pt x="6964" y="17703"/>
                            </a:moveTo>
                            <a:lnTo>
                              <a:pt x="7861" y="18301"/>
                            </a:lnTo>
                            <a:cubicBezTo>
                              <a:pt x="8041" y="18241"/>
                              <a:pt x="8160" y="18241"/>
                              <a:pt x="8340" y="18181"/>
                            </a:cubicBezTo>
                            <a:cubicBezTo>
                              <a:pt x="8519" y="18121"/>
                              <a:pt x="8639" y="18062"/>
                              <a:pt x="8818" y="18002"/>
                            </a:cubicBezTo>
                            <a:cubicBezTo>
                              <a:pt x="8998" y="17942"/>
                              <a:pt x="9117" y="17882"/>
                              <a:pt x="9297" y="17822"/>
                            </a:cubicBezTo>
                            <a:cubicBezTo>
                              <a:pt x="9476" y="17763"/>
                              <a:pt x="9596" y="17703"/>
                              <a:pt x="9775" y="17583"/>
                            </a:cubicBezTo>
                            <a:lnTo>
                              <a:pt x="9117" y="17165"/>
                            </a:lnTo>
                            <a:cubicBezTo>
                              <a:pt x="8938" y="17225"/>
                              <a:pt x="8758" y="17284"/>
                              <a:pt x="8579" y="17344"/>
                            </a:cubicBezTo>
                            <a:cubicBezTo>
                              <a:pt x="8399" y="17404"/>
                              <a:pt x="8220" y="17464"/>
                              <a:pt x="8041" y="17523"/>
                            </a:cubicBezTo>
                            <a:cubicBezTo>
                              <a:pt x="7861" y="17583"/>
                              <a:pt x="7682" y="17643"/>
                              <a:pt x="7503" y="17643"/>
                            </a:cubicBezTo>
                            <a:cubicBezTo>
                              <a:pt x="7323" y="17643"/>
                              <a:pt x="7084" y="17703"/>
                              <a:pt x="6964" y="17703"/>
                            </a:cubicBezTo>
                            <a:moveTo>
                              <a:pt x="27" y="13158"/>
                            </a:moveTo>
                            <a:lnTo>
                              <a:pt x="923" y="13756"/>
                            </a:lnTo>
                            <a:cubicBezTo>
                              <a:pt x="864" y="13576"/>
                              <a:pt x="864" y="13457"/>
                              <a:pt x="864" y="13277"/>
                            </a:cubicBezTo>
                            <a:cubicBezTo>
                              <a:pt x="864" y="13098"/>
                              <a:pt x="804" y="12918"/>
                              <a:pt x="804" y="12799"/>
                            </a:cubicBezTo>
                            <a:cubicBezTo>
                              <a:pt x="804" y="12619"/>
                              <a:pt x="804" y="12440"/>
                              <a:pt x="804" y="12260"/>
                            </a:cubicBezTo>
                            <a:cubicBezTo>
                              <a:pt x="804" y="12081"/>
                              <a:pt x="804" y="11902"/>
                              <a:pt x="864" y="11722"/>
                            </a:cubicBezTo>
                            <a:lnTo>
                              <a:pt x="146" y="11244"/>
                            </a:lnTo>
                            <a:cubicBezTo>
                              <a:pt x="146" y="11423"/>
                              <a:pt x="86" y="11543"/>
                              <a:pt x="86" y="11722"/>
                            </a:cubicBezTo>
                            <a:cubicBezTo>
                              <a:pt x="86" y="11902"/>
                              <a:pt x="27" y="12021"/>
                              <a:pt x="27" y="12201"/>
                            </a:cubicBezTo>
                            <a:cubicBezTo>
                              <a:pt x="27" y="12380"/>
                              <a:pt x="27" y="12500"/>
                              <a:pt x="27" y="12679"/>
                            </a:cubicBezTo>
                            <a:cubicBezTo>
                              <a:pt x="-33" y="12859"/>
                              <a:pt x="27" y="13038"/>
                              <a:pt x="27" y="13158"/>
                            </a:cubicBezTo>
                            <a:moveTo>
                              <a:pt x="1462" y="16985"/>
                            </a:moveTo>
                            <a:lnTo>
                              <a:pt x="3436" y="18241"/>
                            </a:lnTo>
                            <a:cubicBezTo>
                              <a:pt x="3675" y="18301"/>
                              <a:pt x="3914" y="18421"/>
                              <a:pt x="4153" y="18421"/>
                            </a:cubicBezTo>
                            <a:cubicBezTo>
                              <a:pt x="4392" y="18480"/>
                              <a:pt x="4632" y="18540"/>
                              <a:pt x="4931" y="18540"/>
                            </a:cubicBezTo>
                            <a:cubicBezTo>
                              <a:pt x="5170" y="18540"/>
                              <a:pt x="5469" y="18600"/>
                              <a:pt x="5708" y="18600"/>
                            </a:cubicBezTo>
                            <a:cubicBezTo>
                              <a:pt x="5947" y="18600"/>
                              <a:pt x="6246" y="18600"/>
                              <a:pt x="6545" y="18540"/>
                            </a:cubicBezTo>
                            <a:lnTo>
                              <a:pt x="5350" y="17763"/>
                            </a:lnTo>
                            <a:cubicBezTo>
                              <a:pt x="5110" y="17763"/>
                              <a:pt x="4931" y="17703"/>
                              <a:pt x="4691" y="17643"/>
                            </a:cubicBezTo>
                            <a:cubicBezTo>
                              <a:pt x="4512" y="17583"/>
                              <a:pt x="4273" y="17523"/>
                              <a:pt x="4093" y="17464"/>
                            </a:cubicBezTo>
                            <a:cubicBezTo>
                              <a:pt x="3914" y="17404"/>
                              <a:pt x="3735" y="17344"/>
                              <a:pt x="3496" y="17225"/>
                            </a:cubicBezTo>
                            <a:cubicBezTo>
                              <a:pt x="3316" y="17165"/>
                              <a:pt x="3137" y="17045"/>
                              <a:pt x="2957" y="16926"/>
                            </a:cubicBezTo>
                            <a:cubicBezTo>
                              <a:pt x="2778" y="16806"/>
                              <a:pt x="2598" y="16686"/>
                              <a:pt x="2479" y="16567"/>
                            </a:cubicBezTo>
                            <a:cubicBezTo>
                              <a:pt x="2359" y="16447"/>
                              <a:pt x="2180" y="16267"/>
                              <a:pt x="2060" y="16148"/>
                            </a:cubicBezTo>
                            <a:cubicBezTo>
                              <a:pt x="1940" y="16028"/>
                              <a:pt x="1821" y="15849"/>
                              <a:pt x="1701" y="15669"/>
                            </a:cubicBezTo>
                            <a:cubicBezTo>
                              <a:pt x="1582" y="15490"/>
                              <a:pt x="1462" y="15311"/>
                              <a:pt x="1402" y="15131"/>
                            </a:cubicBezTo>
                            <a:lnTo>
                              <a:pt x="206" y="14354"/>
                            </a:lnTo>
                            <a:cubicBezTo>
                              <a:pt x="266" y="14593"/>
                              <a:pt x="326" y="14832"/>
                              <a:pt x="385" y="15072"/>
                            </a:cubicBezTo>
                            <a:cubicBezTo>
                              <a:pt x="445" y="15311"/>
                              <a:pt x="565" y="15550"/>
                              <a:pt x="684" y="15729"/>
                            </a:cubicBezTo>
                            <a:cubicBezTo>
                              <a:pt x="804" y="15968"/>
                              <a:pt x="923" y="16148"/>
                              <a:pt x="1043" y="16327"/>
                            </a:cubicBezTo>
                            <a:cubicBezTo>
                              <a:pt x="1163" y="16626"/>
                              <a:pt x="1282" y="16806"/>
                              <a:pt x="1462" y="16985"/>
                            </a:cubicBezTo>
                          </a:path>
                        </a:pathLst>
                      </a:custGeom>
                      <a:noFill/>
                      <a:ln w="6350" cap="flat">
                        <a:solidFill>
                          <a:schemeClr val="bg1">
                            <a:alpha val="40000"/>
                          </a:schemeClr>
                        </a:solidFill>
                        <a:prstDash val="solid"/>
                        <a:miter/>
                      </a:ln>
                    </p:spPr>
                    <p:txBody>
                      <a:bodyPr rtlCol="0" anchor="ctr"/>
                      <a:lstStyle/>
                      <a:p>
                        <a:endParaRPr lang="en-GB"/>
                      </a:p>
                    </p:txBody>
                  </p:sp>
                  <p:sp>
                    <p:nvSpPr>
                      <p:cNvPr id="7427" name="Vrije vorm: vorm 7426">
                        <a:extLst>
                          <a:ext uri="{FF2B5EF4-FFF2-40B4-BE49-F238E27FC236}">
                            <a16:creationId xmlns:a16="http://schemas.microsoft.com/office/drawing/2014/main" id="{8FDF542D-E903-415A-B50B-31518AFD4DE2}"/>
                          </a:ext>
                        </a:extLst>
                      </p:cNvPr>
                      <p:cNvSpPr/>
                      <p:nvPr/>
                    </p:nvSpPr>
                    <p:spPr>
                      <a:xfrm>
                        <a:off x="5340107" y="5519947"/>
                        <a:ext cx="10086" cy="10310"/>
                      </a:xfrm>
                      <a:custGeom>
                        <a:avLst/>
                        <a:gdLst>
                          <a:gd name="connsiteX0" fmla="*/ 2073 w 10086"/>
                          <a:gd name="connsiteY0" fmla="*/ 2632 h 10310"/>
                          <a:gd name="connsiteX1" fmla="*/ 2611 w 10086"/>
                          <a:gd name="connsiteY1" fmla="*/ 2990 h 10310"/>
                          <a:gd name="connsiteX2" fmla="*/ 3149 w 10086"/>
                          <a:gd name="connsiteY2" fmla="*/ 2452 h 10310"/>
                          <a:gd name="connsiteX3" fmla="*/ 3687 w 10086"/>
                          <a:gd name="connsiteY3" fmla="*/ 1974 h 10310"/>
                          <a:gd name="connsiteX4" fmla="*/ 4286 w 10086"/>
                          <a:gd name="connsiteY4" fmla="*/ 1615 h 10310"/>
                          <a:gd name="connsiteX5" fmla="*/ 4884 w 10086"/>
                          <a:gd name="connsiteY5" fmla="*/ 1316 h 10310"/>
                          <a:gd name="connsiteX6" fmla="*/ 5183 w 10086"/>
                          <a:gd name="connsiteY6" fmla="*/ 1196 h 10310"/>
                          <a:gd name="connsiteX7" fmla="*/ 5482 w 10086"/>
                          <a:gd name="connsiteY7" fmla="*/ 1076 h 10310"/>
                          <a:gd name="connsiteX8" fmla="*/ 5781 w 10086"/>
                          <a:gd name="connsiteY8" fmla="*/ 1017 h 10310"/>
                          <a:gd name="connsiteX9" fmla="*/ 6080 w 10086"/>
                          <a:gd name="connsiteY9" fmla="*/ 957 h 10310"/>
                          <a:gd name="connsiteX10" fmla="*/ 6678 w 10086"/>
                          <a:gd name="connsiteY10" fmla="*/ 897 h 10310"/>
                          <a:gd name="connsiteX11" fmla="*/ 7276 w 10086"/>
                          <a:gd name="connsiteY11" fmla="*/ 897 h 10310"/>
                          <a:gd name="connsiteX12" fmla="*/ 7814 w 10086"/>
                          <a:gd name="connsiteY12" fmla="*/ 1017 h 10310"/>
                          <a:gd name="connsiteX13" fmla="*/ 8293 w 10086"/>
                          <a:gd name="connsiteY13" fmla="*/ 1256 h 10310"/>
                          <a:gd name="connsiteX14" fmla="*/ 8711 w 10086"/>
                          <a:gd name="connsiteY14" fmla="*/ 1615 h 10310"/>
                          <a:gd name="connsiteX15" fmla="*/ 9010 w 10086"/>
                          <a:gd name="connsiteY15" fmla="*/ 2034 h 10310"/>
                          <a:gd name="connsiteX16" fmla="*/ 9250 w 10086"/>
                          <a:gd name="connsiteY16" fmla="*/ 2512 h 10310"/>
                          <a:gd name="connsiteX17" fmla="*/ 9369 w 10086"/>
                          <a:gd name="connsiteY17" fmla="*/ 3050 h 10310"/>
                          <a:gd name="connsiteX18" fmla="*/ 9369 w 10086"/>
                          <a:gd name="connsiteY18" fmla="*/ 3289 h 10310"/>
                          <a:gd name="connsiteX19" fmla="*/ 9369 w 10086"/>
                          <a:gd name="connsiteY19" fmla="*/ 3529 h 10310"/>
                          <a:gd name="connsiteX20" fmla="*/ 9369 w 10086"/>
                          <a:gd name="connsiteY20" fmla="*/ 3828 h 10310"/>
                          <a:gd name="connsiteX21" fmla="*/ 9309 w 10086"/>
                          <a:gd name="connsiteY21" fmla="*/ 4127 h 10310"/>
                          <a:gd name="connsiteX22" fmla="*/ 9190 w 10086"/>
                          <a:gd name="connsiteY22" fmla="*/ 4725 h 10310"/>
                          <a:gd name="connsiteX23" fmla="*/ 8951 w 10086"/>
                          <a:gd name="connsiteY23" fmla="*/ 5323 h 10310"/>
                          <a:gd name="connsiteX24" fmla="*/ 8652 w 10086"/>
                          <a:gd name="connsiteY24" fmla="*/ 5921 h 10310"/>
                          <a:gd name="connsiteX25" fmla="*/ 8293 w 10086"/>
                          <a:gd name="connsiteY25" fmla="*/ 6519 h 10310"/>
                          <a:gd name="connsiteX26" fmla="*/ 8831 w 10086"/>
                          <a:gd name="connsiteY26" fmla="*/ 6878 h 10310"/>
                          <a:gd name="connsiteX27" fmla="*/ 9190 w 10086"/>
                          <a:gd name="connsiteY27" fmla="*/ 6280 h 10310"/>
                          <a:gd name="connsiteX28" fmla="*/ 9489 w 10086"/>
                          <a:gd name="connsiteY28" fmla="*/ 5682 h 10310"/>
                          <a:gd name="connsiteX29" fmla="*/ 9728 w 10086"/>
                          <a:gd name="connsiteY29" fmla="*/ 5083 h 10310"/>
                          <a:gd name="connsiteX30" fmla="*/ 9908 w 10086"/>
                          <a:gd name="connsiteY30" fmla="*/ 4486 h 10310"/>
                          <a:gd name="connsiteX31" fmla="*/ 9967 w 10086"/>
                          <a:gd name="connsiteY31" fmla="*/ 4246 h 10310"/>
                          <a:gd name="connsiteX32" fmla="*/ 10027 w 10086"/>
                          <a:gd name="connsiteY32" fmla="*/ 4007 h 10310"/>
                          <a:gd name="connsiteX33" fmla="*/ 10087 w 10086"/>
                          <a:gd name="connsiteY33" fmla="*/ 3768 h 10310"/>
                          <a:gd name="connsiteX34" fmla="*/ 10087 w 10086"/>
                          <a:gd name="connsiteY34" fmla="*/ 3529 h 10310"/>
                          <a:gd name="connsiteX35" fmla="*/ 10087 w 10086"/>
                          <a:gd name="connsiteY35" fmla="*/ 2572 h 10310"/>
                          <a:gd name="connsiteX36" fmla="*/ 9848 w 10086"/>
                          <a:gd name="connsiteY36" fmla="*/ 1734 h 10310"/>
                          <a:gd name="connsiteX37" fmla="*/ 9429 w 10086"/>
                          <a:gd name="connsiteY37" fmla="*/ 1017 h 10310"/>
                          <a:gd name="connsiteX38" fmla="*/ 8831 w 10086"/>
                          <a:gd name="connsiteY38" fmla="*/ 479 h 10310"/>
                          <a:gd name="connsiteX39" fmla="*/ 8054 w 10086"/>
                          <a:gd name="connsiteY39" fmla="*/ 120 h 10310"/>
                          <a:gd name="connsiteX40" fmla="*/ 7156 w 10086"/>
                          <a:gd name="connsiteY40" fmla="*/ 0 h 10310"/>
                          <a:gd name="connsiteX41" fmla="*/ 6199 w 10086"/>
                          <a:gd name="connsiteY41" fmla="*/ 60 h 10310"/>
                          <a:gd name="connsiteX42" fmla="*/ 5243 w 10086"/>
                          <a:gd name="connsiteY42" fmla="*/ 359 h 10310"/>
                          <a:gd name="connsiteX43" fmla="*/ 5003 w 10086"/>
                          <a:gd name="connsiteY43" fmla="*/ 479 h 10310"/>
                          <a:gd name="connsiteX44" fmla="*/ 4764 w 10086"/>
                          <a:gd name="connsiteY44" fmla="*/ 598 h 10310"/>
                          <a:gd name="connsiteX45" fmla="*/ 4525 w 10086"/>
                          <a:gd name="connsiteY45" fmla="*/ 718 h 10310"/>
                          <a:gd name="connsiteX46" fmla="*/ 4286 w 10086"/>
                          <a:gd name="connsiteY46" fmla="*/ 837 h 10310"/>
                          <a:gd name="connsiteX47" fmla="*/ 3747 w 10086"/>
                          <a:gd name="connsiteY47" fmla="*/ 1196 h 10310"/>
                          <a:gd name="connsiteX48" fmla="*/ 3209 w 10086"/>
                          <a:gd name="connsiteY48" fmla="*/ 1615 h 10310"/>
                          <a:gd name="connsiteX49" fmla="*/ 2671 w 10086"/>
                          <a:gd name="connsiteY49" fmla="*/ 2093 h 10310"/>
                          <a:gd name="connsiteX50" fmla="*/ 2073 w 10086"/>
                          <a:gd name="connsiteY50" fmla="*/ 2632 h 10310"/>
                          <a:gd name="connsiteX51" fmla="*/ 757 w 10086"/>
                          <a:gd name="connsiteY51" fmla="*/ 9210 h 10310"/>
                          <a:gd name="connsiteX52" fmla="*/ 2192 w 10086"/>
                          <a:gd name="connsiteY52" fmla="*/ 10167 h 10310"/>
                          <a:gd name="connsiteX53" fmla="*/ 3568 w 10086"/>
                          <a:gd name="connsiteY53" fmla="*/ 10287 h 10310"/>
                          <a:gd name="connsiteX54" fmla="*/ 5063 w 10086"/>
                          <a:gd name="connsiteY54" fmla="*/ 9868 h 10310"/>
                          <a:gd name="connsiteX55" fmla="*/ 6558 w 10086"/>
                          <a:gd name="connsiteY55" fmla="*/ 9031 h 10310"/>
                          <a:gd name="connsiteX56" fmla="*/ 7934 w 10086"/>
                          <a:gd name="connsiteY56" fmla="*/ 7775 h 10310"/>
                          <a:gd name="connsiteX57" fmla="*/ 7395 w 10086"/>
                          <a:gd name="connsiteY57" fmla="*/ 7416 h 10310"/>
                          <a:gd name="connsiteX58" fmla="*/ 6020 w 10086"/>
                          <a:gd name="connsiteY58" fmla="*/ 8612 h 10310"/>
                          <a:gd name="connsiteX59" fmla="*/ 4525 w 10086"/>
                          <a:gd name="connsiteY59" fmla="*/ 9330 h 10310"/>
                          <a:gd name="connsiteX60" fmla="*/ 3090 w 10086"/>
                          <a:gd name="connsiteY60" fmla="*/ 9510 h 10310"/>
                          <a:gd name="connsiteX61" fmla="*/ 1833 w 10086"/>
                          <a:gd name="connsiteY61" fmla="*/ 9091 h 10310"/>
                          <a:gd name="connsiteX62" fmla="*/ 1056 w 10086"/>
                          <a:gd name="connsiteY62" fmla="*/ 8134 h 10310"/>
                          <a:gd name="connsiteX63" fmla="*/ 817 w 10086"/>
                          <a:gd name="connsiteY63" fmla="*/ 6818 h 10310"/>
                          <a:gd name="connsiteX64" fmla="*/ 1116 w 10086"/>
                          <a:gd name="connsiteY64" fmla="*/ 5323 h 10310"/>
                          <a:gd name="connsiteX65" fmla="*/ 1893 w 10086"/>
                          <a:gd name="connsiteY65" fmla="*/ 3768 h 10310"/>
                          <a:gd name="connsiteX66" fmla="*/ 1355 w 10086"/>
                          <a:gd name="connsiteY66" fmla="*/ 3409 h 10310"/>
                          <a:gd name="connsiteX67" fmla="*/ 458 w 10086"/>
                          <a:gd name="connsiteY67" fmla="*/ 5024 h 10310"/>
                          <a:gd name="connsiteX68" fmla="*/ 39 w 10086"/>
                          <a:gd name="connsiteY68" fmla="*/ 6639 h 10310"/>
                          <a:gd name="connsiteX69" fmla="*/ 99 w 10086"/>
                          <a:gd name="connsiteY69" fmla="*/ 8074 h 10310"/>
                          <a:gd name="connsiteX70" fmla="*/ 757 w 10086"/>
                          <a:gd name="connsiteY70" fmla="*/ 9210 h 1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086" h="10310">
                            <a:moveTo>
                              <a:pt x="2073" y="2632"/>
                            </a:moveTo>
                            <a:lnTo>
                              <a:pt x="2611" y="2990"/>
                            </a:lnTo>
                            <a:cubicBezTo>
                              <a:pt x="2791" y="2811"/>
                              <a:pt x="2970" y="2632"/>
                              <a:pt x="3149" y="2452"/>
                            </a:cubicBezTo>
                            <a:cubicBezTo>
                              <a:pt x="3329" y="2273"/>
                              <a:pt x="3508" y="2153"/>
                              <a:pt x="3687" y="1974"/>
                            </a:cubicBezTo>
                            <a:cubicBezTo>
                              <a:pt x="3867" y="1854"/>
                              <a:pt x="4046" y="1734"/>
                              <a:pt x="4286" y="1615"/>
                            </a:cubicBezTo>
                            <a:cubicBezTo>
                              <a:pt x="4465" y="1495"/>
                              <a:pt x="4704" y="1375"/>
                              <a:pt x="4884" y="1316"/>
                            </a:cubicBezTo>
                            <a:cubicBezTo>
                              <a:pt x="5003" y="1256"/>
                              <a:pt x="5063" y="1256"/>
                              <a:pt x="5183" y="1196"/>
                            </a:cubicBezTo>
                            <a:cubicBezTo>
                              <a:pt x="5302" y="1136"/>
                              <a:pt x="5362" y="1136"/>
                              <a:pt x="5482" y="1076"/>
                            </a:cubicBezTo>
                            <a:cubicBezTo>
                              <a:pt x="5601" y="1017"/>
                              <a:pt x="5661" y="1017"/>
                              <a:pt x="5781" y="1017"/>
                            </a:cubicBezTo>
                            <a:cubicBezTo>
                              <a:pt x="5900" y="1017"/>
                              <a:pt x="5960" y="957"/>
                              <a:pt x="6080" y="957"/>
                            </a:cubicBezTo>
                            <a:cubicBezTo>
                              <a:pt x="6259" y="897"/>
                              <a:pt x="6499" y="897"/>
                              <a:pt x="6678" y="897"/>
                            </a:cubicBezTo>
                            <a:cubicBezTo>
                              <a:pt x="6857" y="897"/>
                              <a:pt x="7097" y="897"/>
                              <a:pt x="7276" y="897"/>
                            </a:cubicBezTo>
                            <a:cubicBezTo>
                              <a:pt x="7455" y="897"/>
                              <a:pt x="7635" y="957"/>
                              <a:pt x="7814" y="1017"/>
                            </a:cubicBezTo>
                            <a:cubicBezTo>
                              <a:pt x="7994" y="1076"/>
                              <a:pt x="8173" y="1136"/>
                              <a:pt x="8293" y="1256"/>
                            </a:cubicBezTo>
                            <a:cubicBezTo>
                              <a:pt x="8472" y="1375"/>
                              <a:pt x="8592" y="1495"/>
                              <a:pt x="8711" y="1615"/>
                            </a:cubicBezTo>
                            <a:cubicBezTo>
                              <a:pt x="8831" y="1734"/>
                              <a:pt x="8951" y="1914"/>
                              <a:pt x="9010" y="2034"/>
                            </a:cubicBezTo>
                            <a:cubicBezTo>
                              <a:pt x="9070" y="2213"/>
                              <a:pt x="9190" y="2333"/>
                              <a:pt x="9250" y="2512"/>
                            </a:cubicBezTo>
                            <a:cubicBezTo>
                              <a:pt x="9309" y="2691"/>
                              <a:pt x="9369" y="2871"/>
                              <a:pt x="9369" y="3050"/>
                            </a:cubicBezTo>
                            <a:cubicBezTo>
                              <a:pt x="9369" y="3110"/>
                              <a:pt x="9369" y="3229"/>
                              <a:pt x="9369" y="3289"/>
                            </a:cubicBezTo>
                            <a:cubicBezTo>
                              <a:pt x="9369" y="3349"/>
                              <a:pt x="9369" y="3469"/>
                              <a:pt x="9369" y="3529"/>
                            </a:cubicBezTo>
                            <a:cubicBezTo>
                              <a:pt x="9369" y="3588"/>
                              <a:pt x="9369" y="3708"/>
                              <a:pt x="9369" y="3828"/>
                            </a:cubicBezTo>
                            <a:cubicBezTo>
                              <a:pt x="9369" y="3947"/>
                              <a:pt x="9369" y="4007"/>
                              <a:pt x="9309" y="4127"/>
                            </a:cubicBezTo>
                            <a:cubicBezTo>
                              <a:pt x="9250" y="4306"/>
                              <a:pt x="9250" y="4545"/>
                              <a:pt x="9190" y="4725"/>
                            </a:cubicBezTo>
                            <a:cubicBezTo>
                              <a:pt x="9130" y="4904"/>
                              <a:pt x="9070" y="5143"/>
                              <a:pt x="8951" y="5323"/>
                            </a:cubicBezTo>
                            <a:cubicBezTo>
                              <a:pt x="8891" y="5502"/>
                              <a:pt x="8771" y="5742"/>
                              <a:pt x="8652" y="5921"/>
                            </a:cubicBezTo>
                            <a:cubicBezTo>
                              <a:pt x="8532" y="6100"/>
                              <a:pt x="8412" y="6340"/>
                              <a:pt x="8293" y="6519"/>
                            </a:cubicBezTo>
                            <a:lnTo>
                              <a:pt x="8831" y="6878"/>
                            </a:lnTo>
                            <a:cubicBezTo>
                              <a:pt x="8951" y="6698"/>
                              <a:pt x="9070" y="6459"/>
                              <a:pt x="9190" y="6280"/>
                            </a:cubicBezTo>
                            <a:cubicBezTo>
                              <a:pt x="9309" y="6100"/>
                              <a:pt x="9429" y="5861"/>
                              <a:pt x="9489" y="5682"/>
                            </a:cubicBezTo>
                            <a:cubicBezTo>
                              <a:pt x="9608" y="5502"/>
                              <a:pt x="9668" y="5263"/>
                              <a:pt x="9728" y="5083"/>
                            </a:cubicBezTo>
                            <a:cubicBezTo>
                              <a:pt x="9788" y="4904"/>
                              <a:pt x="9848" y="4665"/>
                              <a:pt x="9908" y="4486"/>
                            </a:cubicBezTo>
                            <a:cubicBezTo>
                              <a:pt x="9908" y="4426"/>
                              <a:pt x="9967" y="4306"/>
                              <a:pt x="9967" y="4246"/>
                            </a:cubicBezTo>
                            <a:cubicBezTo>
                              <a:pt x="9967" y="4187"/>
                              <a:pt x="10027" y="4067"/>
                              <a:pt x="10027" y="4007"/>
                            </a:cubicBezTo>
                            <a:cubicBezTo>
                              <a:pt x="10027" y="3947"/>
                              <a:pt x="10027" y="3828"/>
                              <a:pt x="10087" y="3768"/>
                            </a:cubicBezTo>
                            <a:cubicBezTo>
                              <a:pt x="10087" y="3708"/>
                              <a:pt x="10087" y="3588"/>
                              <a:pt x="10087" y="3529"/>
                            </a:cubicBezTo>
                            <a:cubicBezTo>
                              <a:pt x="10087" y="3229"/>
                              <a:pt x="10087" y="2871"/>
                              <a:pt x="10087" y="2572"/>
                            </a:cubicBezTo>
                            <a:cubicBezTo>
                              <a:pt x="10027" y="2273"/>
                              <a:pt x="9967" y="1974"/>
                              <a:pt x="9848" y="1734"/>
                            </a:cubicBezTo>
                            <a:cubicBezTo>
                              <a:pt x="9728" y="1495"/>
                              <a:pt x="9608" y="1196"/>
                              <a:pt x="9429" y="1017"/>
                            </a:cubicBezTo>
                            <a:cubicBezTo>
                              <a:pt x="9250" y="837"/>
                              <a:pt x="9070" y="598"/>
                              <a:pt x="8831" y="479"/>
                            </a:cubicBezTo>
                            <a:cubicBezTo>
                              <a:pt x="8592" y="299"/>
                              <a:pt x="8353" y="180"/>
                              <a:pt x="8054" y="120"/>
                            </a:cubicBezTo>
                            <a:cubicBezTo>
                              <a:pt x="7754" y="60"/>
                              <a:pt x="7455" y="0"/>
                              <a:pt x="7156" y="0"/>
                            </a:cubicBezTo>
                            <a:cubicBezTo>
                              <a:pt x="6857" y="0"/>
                              <a:pt x="6558" y="0"/>
                              <a:pt x="6199" y="60"/>
                            </a:cubicBezTo>
                            <a:cubicBezTo>
                              <a:pt x="5840" y="120"/>
                              <a:pt x="5541" y="239"/>
                              <a:pt x="5243" y="359"/>
                            </a:cubicBezTo>
                            <a:cubicBezTo>
                              <a:pt x="5183" y="419"/>
                              <a:pt x="5063" y="419"/>
                              <a:pt x="5003" y="479"/>
                            </a:cubicBezTo>
                            <a:cubicBezTo>
                              <a:pt x="4944" y="538"/>
                              <a:pt x="4824" y="538"/>
                              <a:pt x="4764" y="598"/>
                            </a:cubicBezTo>
                            <a:cubicBezTo>
                              <a:pt x="4704" y="658"/>
                              <a:pt x="4585" y="658"/>
                              <a:pt x="4525" y="718"/>
                            </a:cubicBezTo>
                            <a:cubicBezTo>
                              <a:pt x="4465" y="778"/>
                              <a:pt x="4345" y="778"/>
                              <a:pt x="4286" y="837"/>
                            </a:cubicBezTo>
                            <a:cubicBezTo>
                              <a:pt x="4106" y="957"/>
                              <a:pt x="3927" y="1076"/>
                              <a:pt x="3747" y="1196"/>
                            </a:cubicBezTo>
                            <a:cubicBezTo>
                              <a:pt x="3568" y="1316"/>
                              <a:pt x="3389" y="1435"/>
                              <a:pt x="3209" y="1615"/>
                            </a:cubicBezTo>
                            <a:cubicBezTo>
                              <a:pt x="3030" y="1794"/>
                              <a:pt x="2850" y="1914"/>
                              <a:pt x="2671" y="2093"/>
                            </a:cubicBezTo>
                            <a:cubicBezTo>
                              <a:pt x="2491" y="2273"/>
                              <a:pt x="2192" y="2452"/>
                              <a:pt x="2073" y="2632"/>
                            </a:cubicBezTo>
                            <a:moveTo>
                              <a:pt x="757" y="9210"/>
                            </a:moveTo>
                            <a:lnTo>
                              <a:pt x="2192" y="10167"/>
                            </a:lnTo>
                            <a:cubicBezTo>
                              <a:pt x="2611" y="10287"/>
                              <a:pt x="3090" y="10347"/>
                              <a:pt x="3568" y="10287"/>
                            </a:cubicBezTo>
                            <a:cubicBezTo>
                              <a:pt x="4046" y="10227"/>
                              <a:pt x="4585" y="10107"/>
                              <a:pt x="5063" y="9868"/>
                            </a:cubicBezTo>
                            <a:cubicBezTo>
                              <a:pt x="5541" y="9629"/>
                              <a:pt x="6080" y="9390"/>
                              <a:pt x="6558" y="9031"/>
                            </a:cubicBezTo>
                            <a:cubicBezTo>
                              <a:pt x="7037" y="8672"/>
                              <a:pt x="7515" y="8253"/>
                              <a:pt x="7934" y="7775"/>
                            </a:cubicBezTo>
                            <a:lnTo>
                              <a:pt x="7395" y="7416"/>
                            </a:lnTo>
                            <a:cubicBezTo>
                              <a:pt x="6977" y="7895"/>
                              <a:pt x="6499" y="8253"/>
                              <a:pt x="6020" y="8612"/>
                            </a:cubicBezTo>
                            <a:cubicBezTo>
                              <a:pt x="5541" y="8911"/>
                              <a:pt x="5063" y="9151"/>
                              <a:pt x="4525" y="9330"/>
                            </a:cubicBezTo>
                            <a:cubicBezTo>
                              <a:pt x="4046" y="9510"/>
                              <a:pt x="3568" y="9569"/>
                              <a:pt x="3090" y="9510"/>
                            </a:cubicBezTo>
                            <a:cubicBezTo>
                              <a:pt x="2611" y="9450"/>
                              <a:pt x="2192" y="9330"/>
                              <a:pt x="1833" y="9091"/>
                            </a:cubicBezTo>
                            <a:cubicBezTo>
                              <a:pt x="1475" y="8851"/>
                              <a:pt x="1236" y="8552"/>
                              <a:pt x="1056" y="8134"/>
                            </a:cubicBezTo>
                            <a:cubicBezTo>
                              <a:pt x="877" y="7715"/>
                              <a:pt x="817" y="7297"/>
                              <a:pt x="817" y="6818"/>
                            </a:cubicBezTo>
                            <a:cubicBezTo>
                              <a:pt x="817" y="6340"/>
                              <a:pt x="937" y="5801"/>
                              <a:pt x="1116" y="5323"/>
                            </a:cubicBezTo>
                            <a:cubicBezTo>
                              <a:pt x="1295" y="4785"/>
                              <a:pt x="1535" y="4246"/>
                              <a:pt x="1893" y="3768"/>
                            </a:cubicBezTo>
                            <a:lnTo>
                              <a:pt x="1355" y="3409"/>
                            </a:lnTo>
                            <a:cubicBezTo>
                              <a:pt x="996" y="3947"/>
                              <a:pt x="697" y="4486"/>
                              <a:pt x="458" y="5024"/>
                            </a:cubicBezTo>
                            <a:cubicBezTo>
                              <a:pt x="219" y="5562"/>
                              <a:pt x="99" y="6100"/>
                              <a:pt x="39" y="6639"/>
                            </a:cubicBezTo>
                            <a:cubicBezTo>
                              <a:pt x="-21" y="7177"/>
                              <a:pt x="-21" y="7655"/>
                              <a:pt x="99" y="8074"/>
                            </a:cubicBezTo>
                            <a:cubicBezTo>
                              <a:pt x="338" y="8433"/>
                              <a:pt x="518" y="8851"/>
                              <a:pt x="757" y="9210"/>
                            </a:cubicBezTo>
                          </a:path>
                        </a:pathLst>
                      </a:custGeom>
                      <a:noFill/>
                      <a:ln w="6350" cap="flat">
                        <a:solidFill>
                          <a:schemeClr val="bg1">
                            <a:alpha val="40000"/>
                          </a:schemeClr>
                        </a:solidFill>
                        <a:prstDash val="solid"/>
                        <a:miter/>
                      </a:ln>
                    </p:spPr>
                    <p:txBody>
                      <a:bodyPr rtlCol="0" anchor="ctr"/>
                      <a:lstStyle/>
                      <a:p>
                        <a:endParaRPr lang="en-GB"/>
                      </a:p>
                    </p:txBody>
                  </p:sp>
                  <p:sp>
                    <p:nvSpPr>
                      <p:cNvPr id="7428" name="Vrije vorm: vorm 7427">
                        <a:extLst>
                          <a:ext uri="{FF2B5EF4-FFF2-40B4-BE49-F238E27FC236}">
                            <a16:creationId xmlns:a16="http://schemas.microsoft.com/office/drawing/2014/main" id="{7CB108F6-5AAE-4D88-B933-D73C78335775}"/>
                          </a:ext>
                        </a:extLst>
                      </p:cNvPr>
                      <p:cNvSpPr/>
                      <p:nvPr/>
                    </p:nvSpPr>
                    <p:spPr>
                      <a:xfrm>
                        <a:off x="5305353" y="5495246"/>
                        <a:ext cx="18764" cy="19377"/>
                      </a:xfrm>
                      <a:custGeom>
                        <a:avLst/>
                        <a:gdLst>
                          <a:gd name="connsiteX0" fmla="*/ 15415 w 18764"/>
                          <a:gd name="connsiteY0" fmla="*/ 13158 h 19377"/>
                          <a:gd name="connsiteX1" fmla="*/ 15953 w 18764"/>
                          <a:gd name="connsiteY1" fmla="*/ 13516 h 19377"/>
                          <a:gd name="connsiteX2" fmla="*/ 16372 w 18764"/>
                          <a:gd name="connsiteY2" fmla="*/ 12978 h 19377"/>
                          <a:gd name="connsiteX3" fmla="*/ 16731 w 18764"/>
                          <a:gd name="connsiteY3" fmla="*/ 12440 h 19377"/>
                          <a:gd name="connsiteX4" fmla="*/ 17090 w 18764"/>
                          <a:gd name="connsiteY4" fmla="*/ 11842 h 19377"/>
                          <a:gd name="connsiteX5" fmla="*/ 17389 w 18764"/>
                          <a:gd name="connsiteY5" fmla="*/ 11244 h 19377"/>
                          <a:gd name="connsiteX6" fmla="*/ 17509 w 18764"/>
                          <a:gd name="connsiteY6" fmla="*/ 11005 h 19377"/>
                          <a:gd name="connsiteX7" fmla="*/ 17628 w 18764"/>
                          <a:gd name="connsiteY7" fmla="*/ 10765 h 19377"/>
                          <a:gd name="connsiteX8" fmla="*/ 17748 w 18764"/>
                          <a:gd name="connsiteY8" fmla="*/ 10526 h 19377"/>
                          <a:gd name="connsiteX9" fmla="*/ 17867 w 18764"/>
                          <a:gd name="connsiteY9" fmla="*/ 10287 h 19377"/>
                          <a:gd name="connsiteX10" fmla="*/ 18346 w 18764"/>
                          <a:gd name="connsiteY10" fmla="*/ 8911 h 19377"/>
                          <a:gd name="connsiteX11" fmla="*/ 18645 w 18764"/>
                          <a:gd name="connsiteY11" fmla="*/ 7536 h 19377"/>
                          <a:gd name="connsiteX12" fmla="*/ 18765 w 18764"/>
                          <a:gd name="connsiteY12" fmla="*/ 6220 h 19377"/>
                          <a:gd name="connsiteX13" fmla="*/ 18705 w 18764"/>
                          <a:gd name="connsiteY13" fmla="*/ 4964 h 19377"/>
                          <a:gd name="connsiteX14" fmla="*/ 18645 w 18764"/>
                          <a:gd name="connsiteY14" fmla="*/ 4605 h 19377"/>
                          <a:gd name="connsiteX15" fmla="*/ 18585 w 18764"/>
                          <a:gd name="connsiteY15" fmla="*/ 4246 h 19377"/>
                          <a:gd name="connsiteX16" fmla="*/ 18525 w 18764"/>
                          <a:gd name="connsiteY16" fmla="*/ 3888 h 19377"/>
                          <a:gd name="connsiteX17" fmla="*/ 18406 w 18764"/>
                          <a:gd name="connsiteY17" fmla="*/ 3589 h 19377"/>
                          <a:gd name="connsiteX18" fmla="*/ 18047 w 18764"/>
                          <a:gd name="connsiteY18" fmla="*/ 2811 h 19377"/>
                          <a:gd name="connsiteX19" fmla="*/ 17568 w 18764"/>
                          <a:gd name="connsiteY19" fmla="*/ 2093 h 19377"/>
                          <a:gd name="connsiteX20" fmla="*/ 16970 w 18764"/>
                          <a:gd name="connsiteY20" fmla="*/ 1435 h 19377"/>
                          <a:gd name="connsiteX21" fmla="*/ 16312 w 18764"/>
                          <a:gd name="connsiteY21" fmla="*/ 897 h 19377"/>
                          <a:gd name="connsiteX22" fmla="*/ 16013 w 18764"/>
                          <a:gd name="connsiteY22" fmla="*/ 718 h 19377"/>
                          <a:gd name="connsiteX23" fmla="*/ 15714 w 18764"/>
                          <a:gd name="connsiteY23" fmla="*/ 538 h 19377"/>
                          <a:gd name="connsiteX24" fmla="*/ 15415 w 18764"/>
                          <a:gd name="connsiteY24" fmla="*/ 419 h 19377"/>
                          <a:gd name="connsiteX25" fmla="*/ 15116 w 18764"/>
                          <a:gd name="connsiteY25" fmla="*/ 299 h 19377"/>
                          <a:gd name="connsiteX26" fmla="*/ 14518 w 18764"/>
                          <a:gd name="connsiteY26" fmla="*/ 1076 h 19377"/>
                          <a:gd name="connsiteX27" fmla="*/ 14578 w 18764"/>
                          <a:gd name="connsiteY27" fmla="*/ 1076 h 19377"/>
                          <a:gd name="connsiteX28" fmla="*/ 14638 w 18764"/>
                          <a:gd name="connsiteY28" fmla="*/ 1076 h 19377"/>
                          <a:gd name="connsiteX29" fmla="*/ 14698 w 18764"/>
                          <a:gd name="connsiteY29" fmla="*/ 1076 h 19377"/>
                          <a:gd name="connsiteX30" fmla="*/ 14758 w 18764"/>
                          <a:gd name="connsiteY30" fmla="*/ 1076 h 19377"/>
                          <a:gd name="connsiteX31" fmla="*/ 15057 w 18764"/>
                          <a:gd name="connsiteY31" fmla="*/ 1196 h 19377"/>
                          <a:gd name="connsiteX32" fmla="*/ 15296 w 18764"/>
                          <a:gd name="connsiteY32" fmla="*/ 1316 h 19377"/>
                          <a:gd name="connsiteX33" fmla="*/ 15535 w 18764"/>
                          <a:gd name="connsiteY33" fmla="*/ 1435 h 19377"/>
                          <a:gd name="connsiteX34" fmla="*/ 15774 w 18764"/>
                          <a:gd name="connsiteY34" fmla="*/ 1615 h 19377"/>
                          <a:gd name="connsiteX35" fmla="*/ 16013 w 18764"/>
                          <a:gd name="connsiteY35" fmla="*/ 1794 h 19377"/>
                          <a:gd name="connsiteX36" fmla="*/ 16253 w 18764"/>
                          <a:gd name="connsiteY36" fmla="*/ 1974 h 19377"/>
                          <a:gd name="connsiteX37" fmla="*/ 16492 w 18764"/>
                          <a:gd name="connsiteY37" fmla="*/ 2153 h 19377"/>
                          <a:gd name="connsiteX38" fmla="*/ 16671 w 18764"/>
                          <a:gd name="connsiteY38" fmla="*/ 2333 h 19377"/>
                          <a:gd name="connsiteX39" fmla="*/ 17030 w 18764"/>
                          <a:gd name="connsiteY39" fmla="*/ 2751 h 19377"/>
                          <a:gd name="connsiteX40" fmla="*/ 17329 w 18764"/>
                          <a:gd name="connsiteY40" fmla="*/ 3229 h 19377"/>
                          <a:gd name="connsiteX41" fmla="*/ 17568 w 18764"/>
                          <a:gd name="connsiteY41" fmla="*/ 3708 h 19377"/>
                          <a:gd name="connsiteX42" fmla="*/ 17748 w 18764"/>
                          <a:gd name="connsiteY42" fmla="*/ 4246 h 19377"/>
                          <a:gd name="connsiteX43" fmla="*/ 17987 w 18764"/>
                          <a:gd name="connsiteY43" fmla="*/ 5502 h 19377"/>
                          <a:gd name="connsiteX44" fmla="*/ 17987 w 18764"/>
                          <a:gd name="connsiteY44" fmla="*/ 6878 h 19377"/>
                          <a:gd name="connsiteX45" fmla="*/ 17748 w 18764"/>
                          <a:gd name="connsiteY45" fmla="*/ 8373 h 19377"/>
                          <a:gd name="connsiteX46" fmla="*/ 17269 w 18764"/>
                          <a:gd name="connsiteY46" fmla="*/ 9868 h 19377"/>
                          <a:gd name="connsiteX47" fmla="*/ 17210 w 18764"/>
                          <a:gd name="connsiteY47" fmla="*/ 10107 h 19377"/>
                          <a:gd name="connsiteX48" fmla="*/ 17090 w 18764"/>
                          <a:gd name="connsiteY48" fmla="*/ 10347 h 19377"/>
                          <a:gd name="connsiteX49" fmla="*/ 16970 w 18764"/>
                          <a:gd name="connsiteY49" fmla="*/ 10586 h 19377"/>
                          <a:gd name="connsiteX50" fmla="*/ 16851 w 18764"/>
                          <a:gd name="connsiteY50" fmla="*/ 10825 h 19377"/>
                          <a:gd name="connsiteX51" fmla="*/ 16552 w 18764"/>
                          <a:gd name="connsiteY51" fmla="*/ 11423 h 19377"/>
                          <a:gd name="connsiteX52" fmla="*/ 16253 w 18764"/>
                          <a:gd name="connsiteY52" fmla="*/ 12021 h 19377"/>
                          <a:gd name="connsiteX53" fmla="*/ 15894 w 18764"/>
                          <a:gd name="connsiteY53" fmla="*/ 12619 h 19377"/>
                          <a:gd name="connsiteX54" fmla="*/ 15415 w 18764"/>
                          <a:gd name="connsiteY54" fmla="*/ 13158 h 19377"/>
                          <a:gd name="connsiteX55" fmla="*/ 3274 w 18764"/>
                          <a:gd name="connsiteY55" fmla="*/ 5143 h 19377"/>
                          <a:gd name="connsiteX56" fmla="*/ 3813 w 18764"/>
                          <a:gd name="connsiteY56" fmla="*/ 5502 h 19377"/>
                          <a:gd name="connsiteX57" fmla="*/ 4291 w 18764"/>
                          <a:gd name="connsiteY57" fmla="*/ 4964 h 19377"/>
                          <a:gd name="connsiteX58" fmla="*/ 4770 w 18764"/>
                          <a:gd name="connsiteY58" fmla="*/ 4486 h 19377"/>
                          <a:gd name="connsiteX59" fmla="*/ 5248 w 18764"/>
                          <a:gd name="connsiteY59" fmla="*/ 4007 h 19377"/>
                          <a:gd name="connsiteX60" fmla="*/ 5787 w 18764"/>
                          <a:gd name="connsiteY60" fmla="*/ 3589 h 19377"/>
                          <a:gd name="connsiteX61" fmla="*/ 5966 w 18764"/>
                          <a:gd name="connsiteY61" fmla="*/ 3409 h 19377"/>
                          <a:gd name="connsiteX62" fmla="*/ 6145 w 18764"/>
                          <a:gd name="connsiteY62" fmla="*/ 3229 h 19377"/>
                          <a:gd name="connsiteX63" fmla="*/ 6325 w 18764"/>
                          <a:gd name="connsiteY63" fmla="*/ 3110 h 19377"/>
                          <a:gd name="connsiteX64" fmla="*/ 6504 w 18764"/>
                          <a:gd name="connsiteY64" fmla="*/ 2990 h 19377"/>
                          <a:gd name="connsiteX65" fmla="*/ 7939 w 18764"/>
                          <a:gd name="connsiteY65" fmla="*/ 2093 h 19377"/>
                          <a:gd name="connsiteX66" fmla="*/ 9375 w 18764"/>
                          <a:gd name="connsiteY66" fmla="*/ 1435 h 19377"/>
                          <a:gd name="connsiteX67" fmla="*/ 10810 w 18764"/>
                          <a:gd name="connsiteY67" fmla="*/ 1017 h 19377"/>
                          <a:gd name="connsiteX68" fmla="*/ 12245 w 18764"/>
                          <a:gd name="connsiteY68" fmla="*/ 837 h 19377"/>
                          <a:gd name="connsiteX69" fmla="*/ 12604 w 18764"/>
                          <a:gd name="connsiteY69" fmla="*/ 837 h 19377"/>
                          <a:gd name="connsiteX70" fmla="*/ 12963 w 18764"/>
                          <a:gd name="connsiteY70" fmla="*/ 837 h 19377"/>
                          <a:gd name="connsiteX71" fmla="*/ 13322 w 18764"/>
                          <a:gd name="connsiteY71" fmla="*/ 897 h 19377"/>
                          <a:gd name="connsiteX72" fmla="*/ 13681 w 18764"/>
                          <a:gd name="connsiteY72" fmla="*/ 957 h 19377"/>
                          <a:gd name="connsiteX73" fmla="*/ 14279 w 18764"/>
                          <a:gd name="connsiteY73" fmla="*/ 180 h 19377"/>
                          <a:gd name="connsiteX74" fmla="*/ 13920 w 18764"/>
                          <a:gd name="connsiteY74" fmla="*/ 120 h 19377"/>
                          <a:gd name="connsiteX75" fmla="*/ 13502 w 18764"/>
                          <a:gd name="connsiteY75" fmla="*/ 60 h 19377"/>
                          <a:gd name="connsiteX76" fmla="*/ 13083 w 18764"/>
                          <a:gd name="connsiteY76" fmla="*/ 0 h 19377"/>
                          <a:gd name="connsiteX77" fmla="*/ 12664 w 18764"/>
                          <a:gd name="connsiteY77" fmla="*/ 0 h 19377"/>
                          <a:gd name="connsiteX78" fmla="*/ 12305 w 18764"/>
                          <a:gd name="connsiteY78" fmla="*/ 0 h 19377"/>
                          <a:gd name="connsiteX79" fmla="*/ 11946 w 18764"/>
                          <a:gd name="connsiteY79" fmla="*/ 0 h 19377"/>
                          <a:gd name="connsiteX80" fmla="*/ 11588 w 18764"/>
                          <a:gd name="connsiteY80" fmla="*/ 60 h 19377"/>
                          <a:gd name="connsiteX81" fmla="*/ 11229 w 18764"/>
                          <a:gd name="connsiteY81" fmla="*/ 120 h 19377"/>
                          <a:gd name="connsiteX82" fmla="*/ 9913 w 18764"/>
                          <a:gd name="connsiteY82" fmla="*/ 479 h 19377"/>
                          <a:gd name="connsiteX83" fmla="*/ 8537 w 18764"/>
                          <a:gd name="connsiteY83" fmla="*/ 1017 h 19377"/>
                          <a:gd name="connsiteX84" fmla="*/ 7222 w 18764"/>
                          <a:gd name="connsiteY84" fmla="*/ 1734 h 19377"/>
                          <a:gd name="connsiteX85" fmla="*/ 5906 w 18764"/>
                          <a:gd name="connsiteY85" fmla="*/ 2632 h 19377"/>
                          <a:gd name="connsiteX86" fmla="*/ 5727 w 18764"/>
                          <a:gd name="connsiteY86" fmla="*/ 2751 h 19377"/>
                          <a:gd name="connsiteX87" fmla="*/ 5547 w 18764"/>
                          <a:gd name="connsiteY87" fmla="*/ 2930 h 19377"/>
                          <a:gd name="connsiteX88" fmla="*/ 5368 w 18764"/>
                          <a:gd name="connsiteY88" fmla="*/ 3110 h 19377"/>
                          <a:gd name="connsiteX89" fmla="*/ 5188 w 18764"/>
                          <a:gd name="connsiteY89" fmla="*/ 3289 h 19377"/>
                          <a:gd name="connsiteX90" fmla="*/ 4710 w 18764"/>
                          <a:gd name="connsiteY90" fmla="*/ 3708 h 19377"/>
                          <a:gd name="connsiteX91" fmla="*/ 4231 w 18764"/>
                          <a:gd name="connsiteY91" fmla="*/ 4187 h 19377"/>
                          <a:gd name="connsiteX92" fmla="*/ 3753 w 18764"/>
                          <a:gd name="connsiteY92" fmla="*/ 4665 h 19377"/>
                          <a:gd name="connsiteX93" fmla="*/ 3274 w 18764"/>
                          <a:gd name="connsiteY93" fmla="*/ 5143 h 19377"/>
                          <a:gd name="connsiteX94" fmla="*/ 10451 w 18764"/>
                          <a:gd name="connsiteY94" fmla="*/ 17404 h 19377"/>
                          <a:gd name="connsiteX95" fmla="*/ 11109 w 18764"/>
                          <a:gd name="connsiteY95" fmla="*/ 17822 h 19377"/>
                          <a:gd name="connsiteX96" fmla="*/ 12245 w 18764"/>
                          <a:gd name="connsiteY96" fmla="*/ 17105 h 19377"/>
                          <a:gd name="connsiteX97" fmla="*/ 13322 w 18764"/>
                          <a:gd name="connsiteY97" fmla="*/ 16268 h 19377"/>
                          <a:gd name="connsiteX98" fmla="*/ 14399 w 18764"/>
                          <a:gd name="connsiteY98" fmla="*/ 15311 h 19377"/>
                          <a:gd name="connsiteX99" fmla="*/ 15356 w 18764"/>
                          <a:gd name="connsiteY99" fmla="*/ 14234 h 19377"/>
                          <a:gd name="connsiteX100" fmla="*/ 14817 w 18764"/>
                          <a:gd name="connsiteY100" fmla="*/ 13875 h 19377"/>
                          <a:gd name="connsiteX101" fmla="*/ 13800 w 18764"/>
                          <a:gd name="connsiteY101" fmla="*/ 14952 h 19377"/>
                          <a:gd name="connsiteX102" fmla="*/ 12724 w 18764"/>
                          <a:gd name="connsiteY102" fmla="*/ 15909 h 19377"/>
                          <a:gd name="connsiteX103" fmla="*/ 11588 w 18764"/>
                          <a:gd name="connsiteY103" fmla="*/ 16746 h 19377"/>
                          <a:gd name="connsiteX104" fmla="*/ 10451 w 18764"/>
                          <a:gd name="connsiteY104" fmla="*/ 17404 h 19377"/>
                          <a:gd name="connsiteX105" fmla="*/ 344 w 18764"/>
                          <a:gd name="connsiteY105" fmla="*/ 10765 h 19377"/>
                          <a:gd name="connsiteX106" fmla="*/ 1002 w 18764"/>
                          <a:gd name="connsiteY106" fmla="*/ 11184 h 19377"/>
                          <a:gd name="connsiteX107" fmla="*/ 1301 w 18764"/>
                          <a:gd name="connsiteY107" fmla="*/ 9928 h 19377"/>
                          <a:gd name="connsiteX108" fmla="*/ 1779 w 18764"/>
                          <a:gd name="connsiteY108" fmla="*/ 8672 h 19377"/>
                          <a:gd name="connsiteX109" fmla="*/ 2437 w 18764"/>
                          <a:gd name="connsiteY109" fmla="*/ 7416 h 19377"/>
                          <a:gd name="connsiteX110" fmla="*/ 3274 w 18764"/>
                          <a:gd name="connsiteY110" fmla="*/ 6220 h 19377"/>
                          <a:gd name="connsiteX111" fmla="*/ 2736 w 18764"/>
                          <a:gd name="connsiteY111" fmla="*/ 5861 h 19377"/>
                          <a:gd name="connsiteX112" fmla="*/ 1899 w 18764"/>
                          <a:gd name="connsiteY112" fmla="*/ 7057 h 19377"/>
                          <a:gd name="connsiteX113" fmla="*/ 1241 w 18764"/>
                          <a:gd name="connsiteY113" fmla="*/ 8253 h 19377"/>
                          <a:gd name="connsiteX114" fmla="*/ 703 w 18764"/>
                          <a:gd name="connsiteY114" fmla="*/ 9510 h 19377"/>
                          <a:gd name="connsiteX115" fmla="*/ 344 w 18764"/>
                          <a:gd name="connsiteY115" fmla="*/ 10765 h 19377"/>
                          <a:gd name="connsiteX116" fmla="*/ 7222 w 18764"/>
                          <a:gd name="connsiteY116" fmla="*/ 18421 h 19377"/>
                          <a:gd name="connsiteX117" fmla="*/ 8119 w 18764"/>
                          <a:gd name="connsiteY117" fmla="*/ 19019 h 19377"/>
                          <a:gd name="connsiteX118" fmla="*/ 8597 w 18764"/>
                          <a:gd name="connsiteY118" fmla="*/ 18899 h 19377"/>
                          <a:gd name="connsiteX119" fmla="*/ 9076 w 18764"/>
                          <a:gd name="connsiteY119" fmla="*/ 18720 h 19377"/>
                          <a:gd name="connsiteX120" fmla="*/ 9554 w 18764"/>
                          <a:gd name="connsiteY120" fmla="*/ 18540 h 19377"/>
                          <a:gd name="connsiteX121" fmla="*/ 10033 w 18764"/>
                          <a:gd name="connsiteY121" fmla="*/ 18301 h 19377"/>
                          <a:gd name="connsiteX122" fmla="*/ 9315 w 18764"/>
                          <a:gd name="connsiteY122" fmla="*/ 17822 h 19377"/>
                          <a:gd name="connsiteX123" fmla="*/ 8777 w 18764"/>
                          <a:gd name="connsiteY123" fmla="*/ 18002 h 19377"/>
                          <a:gd name="connsiteX124" fmla="*/ 8238 w 18764"/>
                          <a:gd name="connsiteY124" fmla="*/ 18181 h 19377"/>
                          <a:gd name="connsiteX125" fmla="*/ 7700 w 18764"/>
                          <a:gd name="connsiteY125" fmla="*/ 18301 h 19377"/>
                          <a:gd name="connsiteX126" fmla="*/ 7222 w 18764"/>
                          <a:gd name="connsiteY126" fmla="*/ 18421 h 19377"/>
                          <a:gd name="connsiteX127" fmla="*/ 45 w 18764"/>
                          <a:gd name="connsiteY127" fmla="*/ 13696 h 19377"/>
                          <a:gd name="connsiteX128" fmla="*/ 1002 w 18764"/>
                          <a:gd name="connsiteY128" fmla="*/ 14294 h 19377"/>
                          <a:gd name="connsiteX129" fmla="*/ 942 w 18764"/>
                          <a:gd name="connsiteY129" fmla="*/ 13815 h 19377"/>
                          <a:gd name="connsiteX130" fmla="*/ 882 w 18764"/>
                          <a:gd name="connsiteY130" fmla="*/ 13277 h 19377"/>
                          <a:gd name="connsiteX131" fmla="*/ 882 w 18764"/>
                          <a:gd name="connsiteY131" fmla="*/ 12739 h 19377"/>
                          <a:gd name="connsiteX132" fmla="*/ 882 w 18764"/>
                          <a:gd name="connsiteY132" fmla="*/ 12201 h 19377"/>
                          <a:gd name="connsiteX133" fmla="*/ 165 w 18764"/>
                          <a:gd name="connsiteY133" fmla="*/ 11722 h 19377"/>
                          <a:gd name="connsiteX134" fmla="*/ 105 w 18764"/>
                          <a:gd name="connsiteY134" fmla="*/ 12201 h 19377"/>
                          <a:gd name="connsiteX135" fmla="*/ 45 w 18764"/>
                          <a:gd name="connsiteY135" fmla="*/ 12679 h 19377"/>
                          <a:gd name="connsiteX136" fmla="*/ 45 w 18764"/>
                          <a:gd name="connsiteY136" fmla="*/ 13158 h 19377"/>
                          <a:gd name="connsiteX137" fmla="*/ 45 w 18764"/>
                          <a:gd name="connsiteY137" fmla="*/ 13696 h 19377"/>
                          <a:gd name="connsiteX138" fmla="*/ 1600 w 18764"/>
                          <a:gd name="connsiteY138" fmla="*/ 17643 h 19377"/>
                          <a:gd name="connsiteX139" fmla="*/ 3633 w 18764"/>
                          <a:gd name="connsiteY139" fmla="*/ 18959 h 19377"/>
                          <a:gd name="connsiteX140" fmla="*/ 4351 w 18764"/>
                          <a:gd name="connsiteY140" fmla="*/ 19198 h 19377"/>
                          <a:gd name="connsiteX141" fmla="*/ 5128 w 18764"/>
                          <a:gd name="connsiteY141" fmla="*/ 19318 h 19377"/>
                          <a:gd name="connsiteX142" fmla="*/ 5966 w 18764"/>
                          <a:gd name="connsiteY142" fmla="*/ 19377 h 19377"/>
                          <a:gd name="connsiteX143" fmla="*/ 6803 w 18764"/>
                          <a:gd name="connsiteY143" fmla="*/ 19318 h 19377"/>
                          <a:gd name="connsiteX144" fmla="*/ 5547 w 18764"/>
                          <a:gd name="connsiteY144" fmla="*/ 18481 h 19377"/>
                          <a:gd name="connsiteX145" fmla="*/ 4889 w 18764"/>
                          <a:gd name="connsiteY145" fmla="*/ 18361 h 19377"/>
                          <a:gd name="connsiteX146" fmla="*/ 4291 w 18764"/>
                          <a:gd name="connsiteY146" fmla="*/ 18181 h 19377"/>
                          <a:gd name="connsiteX147" fmla="*/ 3693 w 18764"/>
                          <a:gd name="connsiteY147" fmla="*/ 17942 h 19377"/>
                          <a:gd name="connsiteX148" fmla="*/ 3155 w 18764"/>
                          <a:gd name="connsiteY148" fmla="*/ 17643 h 19377"/>
                          <a:gd name="connsiteX149" fmla="*/ 2676 w 18764"/>
                          <a:gd name="connsiteY149" fmla="*/ 17284 h 19377"/>
                          <a:gd name="connsiteX150" fmla="*/ 2258 w 18764"/>
                          <a:gd name="connsiteY150" fmla="*/ 16866 h 19377"/>
                          <a:gd name="connsiteX151" fmla="*/ 1899 w 18764"/>
                          <a:gd name="connsiteY151" fmla="*/ 16387 h 19377"/>
                          <a:gd name="connsiteX152" fmla="*/ 1600 w 18764"/>
                          <a:gd name="connsiteY152" fmla="*/ 15849 h 19377"/>
                          <a:gd name="connsiteX153" fmla="*/ 344 w 18764"/>
                          <a:gd name="connsiteY153" fmla="*/ 15012 h 19377"/>
                          <a:gd name="connsiteX154" fmla="*/ 583 w 18764"/>
                          <a:gd name="connsiteY154" fmla="*/ 15729 h 19377"/>
                          <a:gd name="connsiteX155" fmla="*/ 882 w 18764"/>
                          <a:gd name="connsiteY155" fmla="*/ 16447 h 19377"/>
                          <a:gd name="connsiteX156" fmla="*/ 1241 w 18764"/>
                          <a:gd name="connsiteY156" fmla="*/ 17105 h 19377"/>
                          <a:gd name="connsiteX157" fmla="*/ 1600 w 18764"/>
                          <a:gd name="connsiteY157" fmla="*/ 17643 h 1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8764" h="19377">
                            <a:moveTo>
                              <a:pt x="15415" y="13158"/>
                            </a:moveTo>
                            <a:lnTo>
                              <a:pt x="15953" y="13516"/>
                            </a:lnTo>
                            <a:cubicBezTo>
                              <a:pt x="16073" y="13337"/>
                              <a:pt x="16253" y="13158"/>
                              <a:pt x="16372" y="12978"/>
                            </a:cubicBezTo>
                            <a:cubicBezTo>
                              <a:pt x="16492" y="12799"/>
                              <a:pt x="16612" y="12619"/>
                              <a:pt x="16731" y="12440"/>
                            </a:cubicBezTo>
                            <a:cubicBezTo>
                              <a:pt x="16851" y="12260"/>
                              <a:pt x="16970" y="12081"/>
                              <a:pt x="17090" y="11842"/>
                            </a:cubicBezTo>
                            <a:cubicBezTo>
                              <a:pt x="17210" y="11662"/>
                              <a:pt x="17269" y="11483"/>
                              <a:pt x="17389" y="11244"/>
                            </a:cubicBezTo>
                            <a:cubicBezTo>
                              <a:pt x="17449" y="11184"/>
                              <a:pt x="17449" y="11124"/>
                              <a:pt x="17509" y="11005"/>
                            </a:cubicBezTo>
                            <a:cubicBezTo>
                              <a:pt x="17568" y="10945"/>
                              <a:pt x="17568" y="10885"/>
                              <a:pt x="17628" y="10765"/>
                            </a:cubicBezTo>
                            <a:cubicBezTo>
                              <a:pt x="17688" y="10705"/>
                              <a:pt x="17688" y="10646"/>
                              <a:pt x="17748" y="10526"/>
                            </a:cubicBezTo>
                            <a:cubicBezTo>
                              <a:pt x="17807" y="10466"/>
                              <a:pt x="17807" y="10406"/>
                              <a:pt x="17867" y="10287"/>
                            </a:cubicBezTo>
                            <a:cubicBezTo>
                              <a:pt x="18047" y="9808"/>
                              <a:pt x="18226" y="9330"/>
                              <a:pt x="18346" y="8911"/>
                            </a:cubicBezTo>
                            <a:cubicBezTo>
                              <a:pt x="18466" y="8433"/>
                              <a:pt x="18585" y="8014"/>
                              <a:pt x="18645" y="7536"/>
                            </a:cubicBezTo>
                            <a:cubicBezTo>
                              <a:pt x="18705" y="7057"/>
                              <a:pt x="18765" y="6639"/>
                              <a:pt x="18765" y="6220"/>
                            </a:cubicBezTo>
                            <a:cubicBezTo>
                              <a:pt x="18765" y="5801"/>
                              <a:pt x="18765" y="5383"/>
                              <a:pt x="18705" y="4964"/>
                            </a:cubicBezTo>
                            <a:cubicBezTo>
                              <a:pt x="18705" y="4844"/>
                              <a:pt x="18645" y="4725"/>
                              <a:pt x="18645" y="4605"/>
                            </a:cubicBezTo>
                            <a:cubicBezTo>
                              <a:pt x="18645" y="4486"/>
                              <a:pt x="18585" y="4366"/>
                              <a:pt x="18585" y="4246"/>
                            </a:cubicBezTo>
                            <a:cubicBezTo>
                              <a:pt x="18585" y="4127"/>
                              <a:pt x="18525" y="4007"/>
                              <a:pt x="18525" y="3888"/>
                            </a:cubicBezTo>
                            <a:cubicBezTo>
                              <a:pt x="18466" y="3768"/>
                              <a:pt x="18466" y="3648"/>
                              <a:pt x="18406" y="3589"/>
                            </a:cubicBezTo>
                            <a:cubicBezTo>
                              <a:pt x="18286" y="3289"/>
                              <a:pt x="18166" y="3050"/>
                              <a:pt x="18047" y="2811"/>
                            </a:cubicBezTo>
                            <a:cubicBezTo>
                              <a:pt x="17927" y="2572"/>
                              <a:pt x="17748" y="2333"/>
                              <a:pt x="17568" y="2093"/>
                            </a:cubicBezTo>
                            <a:cubicBezTo>
                              <a:pt x="17389" y="1854"/>
                              <a:pt x="17210" y="1675"/>
                              <a:pt x="16970" y="1435"/>
                            </a:cubicBezTo>
                            <a:cubicBezTo>
                              <a:pt x="16791" y="1256"/>
                              <a:pt x="16552" y="1076"/>
                              <a:pt x="16312" y="897"/>
                            </a:cubicBezTo>
                            <a:cubicBezTo>
                              <a:pt x="16193" y="837"/>
                              <a:pt x="16133" y="778"/>
                              <a:pt x="16013" y="718"/>
                            </a:cubicBezTo>
                            <a:cubicBezTo>
                              <a:pt x="15894" y="658"/>
                              <a:pt x="15834" y="598"/>
                              <a:pt x="15714" y="538"/>
                            </a:cubicBezTo>
                            <a:cubicBezTo>
                              <a:pt x="15595" y="479"/>
                              <a:pt x="15535" y="419"/>
                              <a:pt x="15415" y="419"/>
                            </a:cubicBezTo>
                            <a:cubicBezTo>
                              <a:pt x="15296" y="359"/>
                              <a:pt x="15236" y="359"/>
                              <a:pt x="15116" y="299"/>
                            </a:cubicBezTo>
                            <a:lnTo>
                              <a:pt x="14518" y="1076"/>
                            </a:lnTo>
                            <a:cubicBezTo>
                              <a:pt x="14518" y="1076"/>
                              <a:pt x="14518" y="1076"/>
                              <a:pt x="14578" y="1076"/>
                            </a:cubicBezTo>
                            <a:cubicBezTo>
                              <a:pt x="14638" y="1076"/>
                              <a:pt x="14578" y="1076"/>
                              <a:pt x="14638" y="1076"/>
                            </a:cubicBezTo>
                            <a:cubicBezTo>
                              <a:pt x="14698" y="1076"/>
                              <a:pt x="14638" y="1076"/>
                              <a:pt x="14698" y="1076"/>
                            </a:cubicBezTo>
                            <a:cubicBezTo>
                              <a:pt x="14698" y="1076"/>
                              <a:pt x="14698" y="1076"/>
                              <a:pt x="14758" y="1076"/>
                            </a:cubicBezTo>
                            <a:cubicBezTo>
                              <a:pt x="14877" y="1136"/>
                              <a:pt x="14937" y="1136"/>
                              <a:pt x="15057" y="1196"/>
                            </a:cubicBezTo>
                            <a:cubicBezTo>
                              <a:pt x="15176" y="1256"/>
                              <a:pt x="15236" y="1256"/>
                              <a:pt x="15296" y="1316"/>
                            </a:cubicBezTo>
                            <a:cubicBezTo>
                              <a:pt x="15356" y="1375"/>
                              <a:pt x="15475" y="1435"/>
                              <a:pt x="15535" y="1435"/>
                            </a:cubicBezTo>
                            <a:cubicBezTo>
                              <a:pt x="15595" y="1495"/>
                              <a:pt x="15714" y="1555"/>
                              <a:pt x="15774" y="1615"/>
                            </a:cubicBezTo>
                            <a:cubicBezTo>
                              <a:pt x="15834" y="1675"/>
                              <a:pt x="15953" y="1734"/>
                              <a:pt x="16013" y="1794"/>
                            </a:cubicBezTo>
                            <a:cubicBezTo>
                              <a:pt x="16073" y="1854"/>
                              <a:pt x="16193" y="1914"/>
                              <a:pt x="16253" y="1974"/>
                            </a:cubicBezTo>
                            <a:cubicBezTo>
                              <a:pt x="16312" y="2034"/>
                              <a:pt x="16372" y="2093"/>
                              <a:pt x="16492" y="2153"/>
                            </a:cubicBezTo>
                            <a:cubicBezTo>
                              <a:pt x="16612" y="2213"/>
                              <a:pt x="16612" y="2273"/>
                              <a:pt x="16671" y="2333"/>
                            </a:cubicBezTo>
                            <a:cubicBezTo>
                              <a:pt x="16791" y="2452"/>
                              <a:pt x="16911" y="2632"/>
                              <a:pt x="17030" y="2751"/>
                            </a:cubicBezTo>
                            <a:cubicBezTo>
                              <a:pt x="17150" y="2871"/>
                              <a:pt x="17210" y="3050"/>
                              <a:pt x="17329" y="3229"/>
                            </a:cubicBezTo>
                            <a:cubicBezTo>
                              <a:pt x="17389" y="3409"/>
                              <a:pt x="17509" y="3529"/>
                              <a:pt x="17568" y="3708"/>
                            </a:cubicBezTo>
                            <a:cubicBezTo>
                              <a:pt x="17628" y="3888"/>
                              <a:pt x="17688" y="4067"/>
                              <a:pt x="17748" y="4246"/>
                            </a:cubicBezTo>
                            <a:cubicBezTo>
                              <a:pt x="17867" y="4665"/>
                              <a:pt x="17987" y="5084"/>
                              <a:pt x="17987" y="5502"/>
                            </a:cubicBezTo>
                            <a:cubicBezTo>
                              <a:pt x="18047" y="5921"/>
                              <a:pt x="18047" y="6399"/>
                              <a:pt x="17987" y="6878"/>
                            </a:cubicBezTo>
                            <a:cubicBezTo>
                              <a:pt x="17927" y="7356"/>
                              <a:pt x="17867" y="7835"/>
                              <a:pt x="17748" y="8373"/>
                            </a:cubicBezTo>
                            <a:cubicBezTo>
                              <a:pt x="17628" y="8851"/>
                              <a:pt x="17449" y="9390"/>
                              <a:pt x="17269" y="9868"/>
                            </a:cubicBezTo>
                            <a:cubicBezTo>
                              <a:pt x="17269" y="9928"/>
                              <a:pt x="17210" y="9988"/>
                              <a:pt x="17210" y="10107"/>
                            </a:cubicBezTo>
                            <a:cubicBezTo>
                              <a:pt x="17210" y="10227"/>
                              <a:pt x="17150" y="10227"/>
                              <a:pt x="17090" y="10347"/>
                            </a:cubicBezTo>
                            <a:cubicBezTo>
                              <a:pt x="17030" y="10406"/>
                              <a:pt x="17030" y="10466"/>
                              <a:pt x="16970" y="10586"/>
                            </a:cubicBezTo>
                            <a:cubicBezTo>
                              <a:pt x="16911" y="10646"/>
                              <a:pt x="16911" y="10705"/>
                              <a:pt x="16851" y="10825"/>
                            </a:cubicBezTo>
                            <a:cubicBezTo>
                              <a:pt x="16731" y="11005"/>
                              <a:pt x="16671" y="11184"/>
                              <a:pt x="16552" y="11423"/>
                            </a:cubicBezTo>
                            <a:cubicBezTo>
                              <a:pt x="16432" y="11603"/>
                              <a:pt x="16312" y="11782"/>
                              <a:pt x="16253" y="12021"/>
                            </a:cubicBezTo>
                            <a:cubicBezTo>
                              <a:pt x="16133" y="12201"/>
                              <a:pt x="16013" y="12380"/>
                              <a:pt x="15894" y="12619"/>
                            </a:cubicBezTo>
                            <a:cubicBezTo>
                              <a:pt x="15774" y="12859"/>
                              <a:pt x="15595" y="12978"/>
                              <a:pt x="15415" y="13158"/>
                            </a:cubicBezTo>
                            <a:moveTo>
                              <a:pt x="3274" y="5143"/>
                            </a:moveTo>
                            <a:lnTo>
                              <a:pt x="3813" y="5502"/>
                            </a:lnTo>
                            <a:cubicBezTo>
                              <a:pt x="3992" y="5323"/>
                              <a:pt x="4112" y="5143"/>
                              <a:pt x="4291" y="4964"/>
                            </a:cubicBezTo>
                            <a:cubicBezTo>
                              <a:pt x="4471" y="4785"/>
                              <a:pt x="4590" y="4605"/>
                              <a:pt x="4770" y="4486"/>
                            </a:cubicBezTo>
                            <a:cubicBezTo>
                              <a:pt x="4949" y="4306"/>
                              <a:pt x="5069" y="4187"/>
                              <a:pt x="5248" y="4007"/>
                            </a:cubicBezTo>
                            <a:cubicBezTo>
                              <a:pt x="5428" y="3828"/>
                              <a:pt x="5607" y="3708"/>
                              <a:pt x="5787" y="3589"/>
                            </a:cubicBezTo>
                            <a:cubicBezTo>
                              <a:pt x="5846" y="3529"/>
                              <a:pt x="5906" y="3469"/>
                              <a:pt x="5966" y="3409"/>
                            </a:cubicBezTo>
                            <a:cubicBezTo>
                              <a:pt x="6026" y="3349"/>
                              <a:pt x="6085" y="3289"/>
                              <a:pt x="6145" y="3229"/>
                            </a:cubicBezTo>
                            <a:cubicBezTo>
                              <a:pt x="6205" y="3170"/>
                              <a:pt x="6265" y="3110"/>
                              <a:pt x="6325" y="3110"/>
                            </a:cubicBezTo>
                            <a:cubicBezTo>
                              <a:pt x="6384" y="3050"/>
                              <a:pt x="6444" y="2990"/>
                              <a:pt x="6504" y="2990"/>
                            </a:cubicBezTo>
                            <a:cubicBezTo>
                              <a:pt x="6982" y="2632"/>
                              <a:pt x="7461" y="2333"/>
                              <a:pt x="7939" y="2093"/>
                            </a:cubicBezTo>
                            <a:cubicBezTo>
                              <a:pt x="8418" y="1854"/>
                              <a:pt x="8896" y="1615"/>
                              <a:pt x="9375" y="1435"/>
                            </a:cubicBezTo>
                            <a:cubicBezTo>
                              <a:pt x="9853" y="1256"/>
                              <a:pt x="10332" y="1136"/>
                              <a:pt x="10810" y="1017"/>
                            </a:cubicBezTo>
                            <a:cubicBezTo>
                              <a:pt x="11289" y="897"/>
                              <a:pt x="11767" y="837"/>
                              <a:pt x="12245" y="837"/>
                            </a:cubicBezTo>
                            <a:cubicBezTo>
                              <a:pt x="12365" y="837"/>
                              <a:pt x="12485" y="837"/>
                              <a:pt x="12604" y="837"/>
                            </a:cubicBezTo>
                            <a:cubicBezTo>
                              <a:pt x="12724" y="837"/>
                              <a:pt x="12844" y="837"/>
                              <a:pt x="12963" y="837"/>
                            </a:cubicBezTo>
                            <a:cubicBezTo>
                              <a:pt x="13083" y="837"/>
                              <a:pt x="13203" y="837"/>
                              <a:pt x="13322" y="897"/>
                            </a:cubicBezTo>
                            <a:cubicBezTo>
                              <a:pt x="13442" y="897"/>
                              <a:pt x="13561" y="957"/>
                              <a:pt x="13681" y="957"/>
                            </a:cubicBezTo>
                            <a:lnTo>
                              <a:pt x="14279" y="180"/>
                            </a:lnTo>
                            <a:cubicBezTo>
                              <a:pt x="14159" y="180"/>
                              <a:pt x="14040" y="120"/>
                              <a:pt x="13920" y="120"/>
                            </a:cubicBezTo>
                            <a:cubicBezTo>
                              <a:pt x="13800" y="120"/>
                              <a:pt x="13681" y="60"/>
                              <a:pt x="13502" y="60"/>
                            </a:cubicBezTo>
                            <a:cubicBezTo>
                              <a:pt x="13382" y="60"/>
                              <a:pt x="13262" y="60"/>
                              <a:pt x="13083" y="0"/>
                            </a:cubicBezTo>
                            <a:cubicBezTo>
                              <a:pt x="12963" y="0"/>
                              <a:pt x="12784" y="0"/>
                              <a:pt x="12664" y="0"/>
                            </a:cubicBezTo>
                            <a:cubicBezTo>
                              <a:pt x="12544" y="0"/>
                              <a:pt x="12425" y="0"/>
                              <a:pt x="12305" y="0"/>
                            </a:cubicBezTo>
                            <a:cubicBezTo>
                              <a:pt x="12186" y="0"/>
                              <a:pt x="12066" y="0"/>
                              <a:pt x="11946" y="0"/>
                            </a:cubicBezTo>
                            <a:cubicBezTo>
                              <a:pt x="11827" y="0"/>
                              <a:pt x="11707" y="0"/>
                              <a:pt x="11588" y="60"/>
                            </a:cubicBezTo>
                            <a:cubicBezTo>
                              <a:pt x="11468" y="120"/>
                              <a:pt x="11349" y="120"/>
                              <a:pt x="11229" y="120"/>
                            </a:cubicBezTo>
                            <a:cubicBezTo>
                              <a:pt x="10810" y="180"/>
                              <a:pt x="10332" y="299"/>
                              <a:pt x="9913" y="479"/>
                            </a:cubicBezTo>
                            <a:cubicBezTo>
                              <a:pt x="9495" y="658"/>
                              <a:pt x="9016" y="778"/>
                              <a:pt x="8537" y="1017"/>
                            </a:cubicBezTo>
                            <a:cubicBezTo>
                              <a:pt x="8059" y="1196"/>
                              <a:pt x="7641" y="1435"/>
                              <a:pt x="7222" y="1734"/>
                            </a:cubicBezTo>
                            <a:cubicBezTo>
                              <a:pt x="6803" y="1974"/>
                              <a:pt x="6325" y="2273"/>
                              <a:pt x="5906" y="2632"/>
                            </a:cubicBezTo>
                            <a:cubicBezTo>
                              <a:pt x="5846" y="2691"/>
                              <a:pt x="5787" y="2751"/>
                              <a:pt x="5727" y="2751"/>
                            </a:cubicBezTo>
                            <a:cubicBezTo>
                              <a:pt x="5667" y="2811"/>
                              <a:pt x="5607" y="2871"/>
                              <a:pt x="5547" y="2930"/>
                            </a:cubicBezTo>
                            <a:cubicBezTo>
                              <a:pt x="5487" y="2990"/>
                              <a:pt x="5428" y="3050"/>
                              <a:pt x="5368" y="3110"/>
                            </a:cubicBezTo>
                            <a:cubicBezTo>
                              <a:pt x="5308" y="3170"/>
                              <a:pt x="5248" y="3229"/>
                              <a:pt x="5188" y="3289"/>
                            </a:cubicBezTo>
                            <a:cubicBezTo>
                              <a:pt x="5009" y="3409"/>
                              <a:pt x="4829" y="3589"/>
                              <a:pt x="4710" y="3708"/>
                            </a:cubicBezTo>
                            <a:cubicBezTo>
                              <a:pt x="4530" y="3888"/>
                              <a:pt x="4411" y="4007"/>
                              <a:pt x="4231" y="4187"/>
                            </a:cubicBezTo>
                            <a:cubicBezTo>
                              <a:pt x="4052" y="4366"/>
                              <a:pt x="3933" y="4486"/>
                              <a:pt x="3753" y="4665"/>
                            </a:cubicBezTo>
                            <a:cubicBezTo>
                              <a:pt x="3573" y="4785"/>
                              <a:pt x="3454" y="4964"/>
                              <a:pt x="3274" y="5143"/>
                            </a:cubicBezTo>
                            <a:moveTo>
                              <a:pt x="10451" y="17404"/>
                            </a:moveTo>
                            <a:lnTo>
                              <a:pt x="11109" y="17822"/>
                            </a:lnTo>
                            <a:cubicBezTo>
                              <a:pt x="11468" y="17583"/>
                              <a:pt x="11887" y="17344"/>
                              <a:pt x="12245" y="17105"/>
                            </a:cubicBezTo>
                            <a:cubicBezTo>
                              <a:pt x="12604" y="16866"/>
                              <a:pt x="12963" y="16567"/>
                              <a:pt x="13322" y="16268"/>
                            </a:cubicBezTo>
                            <a:cubicBezTo>
                              <a:pt x="13681" y="15968"/>
                              <a:pt x="14040" y="15669"/>
                              <a:pt x="14399" y="15311"/>
                            </a:cubicBezTo>
                            <a:cubicBezTo>
                              <a:pt x="14758" y="14952"/>
                              <a:pt x="15057" y="14593"/>
                              <a:pt x="15356" y="14234"/>
                            </a:cubicBezTo>
                            <a:lnTo>
                              <a:pt x="14817" y="13875"/>
                            </a:lnTo>
                            <a:cubicBezTo>
                              <a:pt x="14518" y="14234"/>
                              <a:pt x="14159" y="14593"/>
                              <a:pt x="13800" y="14952"/>
                            </a:cubicBezTo>
                            <a:cubicBezTo>
                              <a:pt x="13442" y="15311"/>
                              <a:pt x="13083" y="15610"/>
                              <a:pt x="12724" y="15909"/>
                            </a:cubicBezTo>
                            <a:cubicBezTo>
                              <a:pt x="12365" y="16208"/>
                              <a:pt x="12006" y="16447"/>
                              <a:pt x="11588" y="16746"/>
                            </a:cubicBezTo>
                            <a:cubicBezTo>
                              <a:pt x="11169" y="17045"/>
                              <a:pt x="10870" y="17225"/>
                              <a:pt x="10451" y="17404"/>
                            </a:cubicBezTo>
                            <a:moveTo>
                              <a:pt x="344" y="10765"/>
                            </a:moveTo>
                            <a:lnTo>
                              <a:pt x="1002" y="11184"/>
                            </a:lnTo>
                            <a:cubicBezTo>
                              <a:pt x="1062" y="10765"/>
                              <a:pt x="1181" y="10347"/>
                              <a:pt x="1301" y="9928"/>
                            </a:cubicBezTo>
                            <a:cubicBezTo>
                              <a:pt x="1420" y="9510"/>
                              <a:pt x="1600" y="9091"/>
                              <a:pt x="1779" y="8672"/>
                            </a:cubicBezTo>
                            <a:cubicBezTo>
                              <a:pt x="1959" y="8253"/>
                              <a:pt x="2198" y="7835"/>
                              <a:pt x="2437" y="7416"/>
                            </a:cubicBezTo>
                            <a:cubicBezTo>
                              <a:pt x="2676" y="6997"/>
                              <a:pt x="2975" y="6579"/>
                              <a:pt x="3274" y="6220"/>
                            </a:cubicBezTo>
                            <a:lnTo>
                              <a:pt x="2736" y="5861"/>
                            </a:lnTo>
                            <a:cubicBezTo>
                              <a:pt x="2437" y="6280"/>
                              <a:pt x="2198" y="6639"/>
                              <a:pt x="1899" y="7057"/>
                            </a:cubicBezTo>
                            <a:cubicBezTo>
                              <a:pt x="1660" y="7476"/>
                              <a:pt x="1420" y="7895"/>
                              <a:pt x="1241" y="8253"/>
                            </a:cubicBezTo>
                            <a:cubicBezTo>
                              <a:pt x="1062" y="8672"/>
                              <a:pt x="882" y="9091"/>
                              <a:pt x="703" y="9510"/>
                            </a:cubicBezTo>
                            <a:cubicBezTo>
                              <a:pt x="583" y="9928"/>
                              <a:pt x="404" y="10347"/>
                              <a:pt x="344" y="10765"/>
                            </a:cubicBezTo>
                            <a:moveTo>
                              <a:pt x="7222" y="18421"/>
                            </a:moveTo>
                            <a:lnTo>
                              <a:pt x="8119" y="19019"/>
                            </a:lnTo>
                            <a:cubicBezTo>
                              <a:pt x="8298" y="18959"/>
                              <a:pt x="8418" y="18959"/>
                              <a:pt x="8597" y="18899"/>
                            </a:cubicBezTo>
                            <a:cubicBezTo>
                              <a:pt x="8777" y="18839"/>
                              <a:pt x="8896" y="18780"/>
                              <a:pt x="9076" y="18720"/>
                            </a:cubicBezTo>
                            <a:cubicBezTo>
                              <a:pt x="9255" y="18660"/>
                              <a:pt x="9375" y="18600"/>
                              <a:pt x="9554" y="18540"/>
                            </a:cubicBezTo>
                            <a:cubicBezTo>
                              <a:pt x="9734" y="18481"/>
                              <a:pt x="9853" y="18421"/>
                              <a:pt x="10033" y="18301"/>
                            </a:cubicBezTo>
                            <a:lnTo>
                              <a:pt x="9315" y="17822"/>
                            </a:lnTo>
                            <a:cubicBezTo>
                              <a:pt x="9136" y="17882"/>
                              <a:pt x="8956" y="17942"/>
                              <a:pt x="8777" y="18002"/>
                            </a:cubicBezTo>
                            <a:cubicBezTo>
                              <a:pt x="8597" y="18062"/>
                              <a:pt x="8418" y="18122"/>
                              <a:pt x="8238" y="18181"/>
                            </a:cubicBezTo>
                            <a:cubicBezTo>
                              <a:pt x="8059" y="18241"/>
                              <a:pt x="7880" y="18241"/>
                              <a:pt x="7700" y="18301"/>
                            </a:cubicBezTo>
                            <a:cubicBezTo>
                              <a:pt x="7581" y="18361"/>
                              <a:pt x="7401" y="18421"/>
                              <a:pt x="7222" y="18421"/>
                            </a:cubicBezTo>
                            <a:moveTo>
                              <a:pt x="45" y="13696"/>
                            </a:moveTo>
                            <a:lnTo>
                              <a:pt x="1002" y="14294"/>
                            </a:lnTo>
                            <a:cubicBezTo>
                              <a:pt x="942" y="14114"/>
                              <a:pt x="942" y="13995"/>
                              <a:pt x="942" y="13815"/>
                            </a:cubicBezTo>
                            <a:cubicBezTo>
                              <a:pt x="942" y="13636"/>
                              <a:pt x="882" y="13457"/>
                              <a:pt x="882" y="13277"/>
                            </a:cubicBezTo>
                            <a:cubicBezTo>
                              <a:pt x="882" y="13098"/>
                              <a:pt x="882" y="12919"/>
                              <a:pt x="882" y="12739"/>
                            </a:cubicBezTo>
                            <a:cubicBezTo>
                              <a:pt x="882" y="12560"/>
                              <a:pt x="882" y="12380"/>
                              <a:pt x="882" y="12201"/>
                            </a:cubicBezTo>
                            <a:lnTo>
                              <a:pt x="165" y="11722"/>
                            </a:lnTo>
                            <a:cubicBezTo>
                              <a:pt x="165" y="11902"/>
                              <a:pt x="105" y="12081"/>
                              <a:pt x="105" y="12201"/>
                            </a:cubicBezTo>
                            <a:cubicBezTo>
                              <a:pt x="105" y="12380"/>
                              <a:pt x="45" y="12500"/>
                              <a:pt x="45" y="12679"/>
                            </a:cubicBezTo>
                            <a:cubicBezTo>
                              <a:pt x="45" y="12859"/>
                              <a:pt x="45" y="12978"/>
                              <a:pt x="45" y="13158"/>
                            </a:cubicBezTo>
                            <a:cubicBezTo>
                              <a:pt x="-15" y="13397"/>
                              <a:pt x="-15" y="13576"/>
                              <a:pt x="45" y="13696"/>
                            </a:cubicBezTo>
                            <a:moveTo>
                              <a:pt x="1600" y="17643"/>
                            </a:moveTo>
                            <a:lnTo>
                              <a:pt x="3633" y="18959"/>
                            </a:lnTo>
                            <a:cubicBezTo>
                              <a:pt x="3873" y="19019"/>
                              <a:pt x="4112" y="19138"/>
                              <a:pt x="4351" y="19198"/>
                            </a:cubicBezTo>
                            <a:cubicBezTo>
                              <a:pt x="4590" y="19258"/>
                              <a:pt x="4889" y="19318"/>
                              <a:pt x="5128" y="19318"/>
                            </a:cubicBezTo>
                            <a:cubicBezTo>
                              <a:pt x="5368" y="19318"/>
                              <a:pt x="5667" y="19377"/>
                              <a:pt x="5966" y="19377"/>
                            </a:cubicBezTo>
                            <a:cubicBezTo>
                              <a:pt x="6265" y="19377"/>
                              <a:pt x="6504" y="19377"/>
                              <a:pt x="6803" y="19318"/>
                            </a:cubicBezTo>
                            <a:lnTo>
                              <a:pt x="5547" y="18481"/>
                            </a:lnTo>
                            <a:cubicBezTo>
                              <a:pt x="5308" y="18481"/>
                              <a:pt x="5128" y="18421"/>
                              <a:pt x="4889" y="18361"/>
                            </a:cubicBezTo>
                            <a:cubicBezTo>
                              <a:pt x="4650" y="18301"/>
                              <a:pt x="4471" y="18241"/>
                              <a:pt x="4291" y="18181"/>
                            </a:cubicBezTo>
                            <a:cubicBezTo>
                              <a:pt x="4112" y="18122"/>
                              <a:pt x="3873" y="18062"/>
                              <a:pt x="3693" y="17942"/>
                            </a:cubicBezTo>
                            <a:cubicBezTo>
                              <a:pt x="3514" y="17822"/>
                              <a:pt x="3334" y="17763"/>
                              <a:pt x="3155" y="17643"/>
                            </a:cubicBezTo>
                            <a:cubicBezTo>
                              <a:pt x="2975" y="17523"/>
                              <a:pt x="2796" y="17404"/>
                              <a:pt x="2676" y="17284"/>
                            </a:cubicBezTo>
                            <a:cubicBezTo>
                              <a:pt x="2497" y="17165"/>
                              <a:pt x="2377" y="16985"/>
                              <a:pt x="2258" y="16866"/>
                            </a:cubicBezTo>
                            <a:cubicBezTo>
                              <a:pt x="2138" y="16746"/>
                              <a:pt x="2019" y="16567"/>
                              <a:pt x="1899" y="16387"/>
                            </a:cubicBezTo>
                            <a:cubicBezTo>
                              <a:pt x="1779" y="16208"/>
                              <a:pt x="1660" y="16028"/>
                              <a:pt x="1600" y="15849"/>
                            </a:cubicBezTo>
                            <a:lnTo>
                              <a:pt x="344" y="15012"/>
                            </a:lnTo>
                            <a:cubicBezTo>
                              <a:pt x="404" y="15251"/>
                              <a:pt x="464" y="15490"/>
                              <a:pt x="583" y="15729"/>
                            </a:cubicBezTo>
                            <a:cubicBezTo>
                              <a:pt x="643" y="15968"/>
                              <a:pt x="763" y="16208"/>
                              <a:pt x="882" y="16447"/>
                            </a:cubicBezTo>
                            <a:cubicBezTo>
                              <a:pt x="1002" y="16686"/>
                              <a:pt x="1121" y="16866"/>
                              <a:pt x="1241" y="17105"/>
                            </a:cubicBezTo>
                            <a:cubicBezTo>
                              <a:pt x="1241" y="17284"/>
                              <a:pt x="1420" y="17464"/>
                              <a:pt x="1600" y="17643"/>
                            </a:cubicBezTo>
                          </a:path>
                        </a:pathLst>
                      </a:custGeom>
                      <a:noFill/>
                      <a:ln w="6350" cap="flat">
                        <a:solidFill>
                          <a:schemeClr val="bg1">
                            <a:alpha val="40000"/>
                          </a:schemeClr>
                        </a:solidFill>
                        <a:prstDash val="solid"/>
                        <a:miter/>
                      </a:ln>
                    </p:spPr>
                    <p:txBody>
                      <a:bodyPr rtlCol="0" anchor="ctr"/>
                      <a:lstStyle/>
                      <a:p>
                        <a:endParaRPr lang="en-GB"/>
                      </a:p>
                    </p:txBody>
                  </p:sp>
                  <p:sp>
                    <p:nvSpPr>
                      <p:cNvPr id="7429" name="Vrije vorm: vorm 7428">
                        <a:extLst>
                          <a:ext uri="{FF2B5EF4-FFF2-40B4-BE49-F238E27FC236}">
                            <a16:creationId xmlns:a16="http://schemas.microsoft.com/office/drawing/2014/main" id="{F31AB4B8-112B-4AB9-BDF8-61740FDBDCD2}"/>
                          </a:ext>
                        </a:extLst>
                      </p:cNvPr>
                      <p:cNvSpPr/>
                      <p:nvPr/>
                    </p:nvSpPr>
                    <p:spPr>
                      <a:xfrm>
                        <a:off x="5309620" y="5499672"/>
                        <a:ext cx="10132" cy="10489"/>
                      </a:xfrm>
                      <a:custGeom>
                        <a:avLst/>
                        <a:gdLst>
                          <a:gd name="connsiteX0" fmla="*/ 8278 w 10132"/>
                          <a:gd name="connsiteY0" fmla="*/ 6818 h 10489"/>
                          <a:gd name="connsiteX1" fmla="*/ 8816 w 10132"/>
                          <a:gd name="connsiteY1" fmla="*/ 7177 h 10489"/>
                          <a:gd name="connsiteX2" fmla="*/ 9235 w 10132"/>
                          <a:gd name="connsiteY2" fmla="*/ 6579 h 10489"/>
                          <a:gd name="connsiteX3" fmla="*/ 9534 w 10132"/>
                          <a:gd name="connsiteY3" fmla="*/ 5981 h 10489"/>
                          <a:gd name="connsiteX4" fmla="*/ 9773 w 10132"/>
                          <a:gd name="connsiteY4" fmla="*/ 5383 h 10489"/>
                          <a:gd name="connsiteX5" fmla="*/ 9953 w 10132"/>
                          <a:gd name="connsiteY5" fmla="*/ 4785 h 10489"/>
                          <a:gd name="connsiteX6" fmla="*/ 10013 w 10132"/>
                          <a:gd name="connsiteY6" fmla="*/ 4545 h 10489"/>
                          <a:gd name="connsiteX7" fmla="*/ 10072 w 10132"/>
                          <a:gd name="connsiteY7" fmla="*/ 4306 h 10489"/>
                          <a:gd name="connsiteX8" fmla="*/ 10132 w 10132"/>
                          <a:gd name="connsiteY8" fmla="*/ 4067 h 10489"/>
                          <a:gd name="connsiteX9" fmla="*/ 10132 w 10132"/>
                          <a:gd name="connsiteY9" fmla="*/ 3828 h 10489"/>
                          <a:gd name="connsiteX10" fmla="*/ 10132 w 10132"/>
                          <a:gd name="connsiteY10" fmla="*/ 2871 h 10489"/>
                          <a:gd name="connsiteX11" fmla="*/ 9893 w 10132"/>
                          <a:gd name="connsiteY11" fmla="*/ 1974 h 10489"/>
                          <a:gd name="connsiteX12" fmla="*/ 9474 w 10132"/>
                          <a:gd name="connsiteY12" fmla="*/ 1196 h 10489"/>
                          <a:gd name="connsiteX13" fmla="*/ 8816 w 10132"/>
                          <a:gd name="connsiteY13" fmla="*/ 598 h 10489"/>
                          <a:gd name="connsiteX14" fmla="*/ 8517 w 10132"/>
                          <a:gd name="connsiteY14" fmla="*/ 419 h 10489"/>
                          <a:gd name="connsiteX15" fmla="*/ 8218 w 10132"/>
                          <a:gd name="connsiteY15" fmla="*/ 299 h 10489"/>
                          <a:gd name="connsiteX16" fmla="*/ 7860 w 10132"/>
                          <a:gd name="connsiteY16" fmla="*/ 180 h 10489"/>
                          <a:gd name="connsiteX17" fmla="*/ 7501 w 10132"/>
                          <a:gd name="connsiteY17" fmla="*/ 120 h 10489"/>
                          <a:gd name="connsiteX18" fmla="*/ 6843 w 10132"/>
                          <a:gd name="connsiteY18" fmla="*/ 897 h 10489"/>
                          <a:gd name="connsiteX19" fmla="*/ 7201 w 10132"/>
                          <a:gd name="connsiteY19" fmla="*/ 957 h 10489"/>
                          <a:gd name="connsiteX20" fmla="*/ 7560 w 10132"/>
                          <a:gd name="connsiteY20" fmla="*/ 1017 h 10489"/>
                          <a:gd name="connsiteX21" fmla="*/ 7860 w 10132"/>
                          <a:gd name="connsiteY21" fmla="*/ 1136 h 10489"/>
                          <a:gd name="connsiteX22" fmla="*/ 8159 w 10132"/>
                          <a:gd name="connsiteY22" fmla="*/ 1316 h 10489"/>
                          <a:gd name="connsiteX23" fmla="*/ 8577 w 10132"/>
                          <a:gd name="connsiteY23" fmla="*/ 1675 h 10489"/>
                          <a:gd name="connsiteX24" fmla="*/ 8876 w 10132"/>
                          <a:gd name="connsiteY24" fmla="*/ 2093 h 10489"/>
                          <a:gd name="connsiteX25" fmla="*/ 9115 w 10132"/>
                          <a:gd name="connsiteY25" fmla="*/ 2632 h 10489"/>
                          <a:gd name="connsiteX26" fmla="*/ 9235 w 10132"/>
                          <a:gd name="connsiteY26" fmla="*/ 3230 h 10489"/>
                          <a:gd name="connsiteX27" fmla="*/ 9235 w 10132"/>
                          <a:gd name="connsiteY27" fmla="*/ 3469 h 10489"/>
                          <a:gd name="connsiteX28" fmla="*/ 9235 w 10132"/>
                          <a:gd name="connsiteY28" fmla="*/ 3768 h 10489"/>
                          <a:gd name="connsiteX29" fmla="*/ 9235 w 10132"/>
                          <a:gd name="connsiteY29" fmla="*/ 4067 h 10489"/>
                          <a:gd name="connsiteX30" fmla="*/ 9175 w 10132"/>
                          <a:gd name="connsiteY30" fmla="*/ 4366 h 10489"/>
                          <a:gd name="connsiteX31" fmla="*/ 9055 w 10132"/>
                          <a:gd name="connsiteY31" fmla="*/ 4964 h 10489"/>
                          <a:gd name="connsiteX32" fmla="*/ 8816 w 10132"/>
                          <a:gd name="connsiteY32" fmla="*/ 5622 h 10489"/>
                          <a:gd name="connsiteX33" fmla="*/ 8517 w 10132"/>
                          <a:gd name="connsiteY33" fmla="*/ 6280 h 10489"/>
                          <a:gd name="connsiteX34" fmla="*/ 8278 w 10132"/>
                          <a:gd name="connsiteY34" fmla="*/ 6818 h 10489"/>
                          <a:gd name="connsiteX35" fmla="*/ 1998 w 10132"/>
                          <a:gd name="connsiteY35" fmla="*/ 2632 h 10489"/>
                          <a:gd name="connsiteX36" fmla="*/ 2537 w 10132"/>
                          <a:gd name="connsiteY36" fmla="*/ 2990 h 10489"/>
                          <a:gd name="connsiteX37" fmla="*/ 3075 w 10132"/>
                          <a:gd name="connsiteY37" fmla="*/ 2452 h 10489"/>
                          <a:gd name="connsiteX38" fmla="*/ 3613 w 10132"/>
                          <a:gd name="connsiteY38" fmla="*/ 1974 h 10489"/>
                          <a:gd name="connsiteX39" fmla="*/ 4211 w 10132"/>
                          <a:gd name="connsiteY39" fmla="*/ 1555 h 10489"/>
                          <a:gd name="connsiteX40" fmla="*/ 4809 w 10132"/>
                          <a:gd name="connsiteY40" fmla="*/ 1256 h 10489"/>
                          <a:gd name="connsiteX41" fmla="*/ 5108 w 10132"/>
                          <a:gd name="connsiteY41" fmla="*/ 1136 h 10489"/>
                          <a:gd name="connsiteX42" fmla="*/ 5407 w 10132"/>
                          <a:gd name="connsiteY42" fmla="*/ 1017 h 10489"/>
                          <a:gd name="connsiteX43" fmla="*/ 5706 w 10132"/>
                          <a:gd name="connsiteY43" fmla="*/ 957 h 10489"/>
                          <a:gd name="connsiteX44" fmla="*/ 6006 w 10132"/>
                          <a:gd name="connsiteY44" fmla="*/ 897 h 10489"/>
                          <a:gd name="connsiteX45" fmla="*/ 6006 w 10132"/>
                          <a:gd name="connsiteY45" fmla="*/ 897 h 10489"/>
                          <a:gd name="connsiteX46" fmla="*/ 6006 w 10132"/>
                          <a:gd name="connsiteY46" fmla="*/ 897 h 10489"/>
                          <a:gd name="connsiteX47" fmla="*/ 6006 w 10132"/>
                          <a:gd name="connsiteY47" fmla="*/ 897 h 10489"/>
                          <a:gd name="connsiteX48" fmla="*/ 6006 w 10132"/>
                          <a:gd name="connsiteY48" fmla="*/ 897 h 10489"/>
                          <a:gd name="connsiteX49" fmla="*/ 6723 w 10132"/>
                          <a:gd name="connsiteY49" fmla="*/ 0 h 10489"/>
                          <a:gd name="connsiteX50" fmla="*/ 6304 w 10132"/>
                          <a:gd name="connsiteY50" fmla="*/ 60 h 10489"/>
                          <a:gd name="connsiteX51" fmla="*/ 5886 w 10132"/>
                          <a:gd name="connsiteY51" fmla="*/ 120 h 10489"/>
                          <a:gd name="connsiteX52" fmla="*/ 5467 w 10132"/>
                          <a:gd name="connsiteY52" fmla="*/ 239 h 10489"/>
                          <a:gd name="connsiteX53" fmla="*/ 5048 w 10132"/>
                          <a:gd name="connsiteY53" fmla="*/ 359 h 10489"/>
                          <a:gd name="connsiteX54" fmla="*/ 4809 w 10132"/>
                          <a:gd name="connsiteY54" fmla="*/ 479 h 10489"/>
                          <a:gd name="connsiteX55" fmla="*/ 4570 w 10132"/>
                          <a:gd name="connsiteY55" fmla="*/ 598 h 10489"/>
                          <a:gd name="connsiteX56" fmla="*/ 4331 w 10132"/>
                          <a:gd name="connsiteY56" fmla="*/ 718 h 10489"/>
                          <a:gd name="connsiteX57" fmla="*/ 4092 w 10132"/>
                          <a:gd name="connsiteY57" fmla="*/ 837 h 10489"/>
                          <a:gd name="connsiteX58" fmla="*/ 3493 w 10132"/>
                          <a:gd name="connsiteY58" fmla="*/ 1196 h 10489"/>
                          <a:gd name="connsiteX59" fmla="*/ 2955 w 10132"/>
                          <a:gd name="connsiteY59" fmla="*/ 1615 h 10489"/>
                          <a:gd name="connsiteX60" fmla="*/ 2417 w 10132"/>
                          <a:gd name="connsiteY60" fmla="*/ 2093 h 10489"/>
                          <a:gd name="connsiteX61" fmla="*/ 1998 w 10132"/>
                          <a:gd name="connsiteY61" fmla="*/ 2632 h 10489"/>
                          <a:gd name="connsiteX62" fmla="*/ 742 w 10132"/>
                          <a:gd name="connsiteY62" fmla="*/ 9390 h 10489"/>
                          <a:gd name="connsiteX63" fmla="*/ 2238 w 10132"/>
                          <a:gd name="connsiteY63" fmla="*/ 10347 h 10489"/>
                          <a:gd name="connsiteX64" fmla="*/ 3673 w 10132"/>
                          <a:gd name="connsiteY64" fmla="*/ 10466 h 10489"/>
                          <a:gd name="connsiteX65" fmla="*/ 5228 w 10132"/>
                          <a:gd name="connsiteY65" fmla="*/ 10048 h 10489"/>
                          <a:gd name="connsiteX66" fmla="*/ 6783 w 10132"/>
                          <a:gd name="connsiteY66" fmla="*/ 9211 h 10489"/>
                          <a:gd name="connsiteX67" fmla="*/ 8218 w 10132"/>
                          <a:gd name="connsiteY67" fmla="*/ 7895 h 10489"/>
                          <a:gd name="connsiteX68" fmla="*/ 7680 w 10132"/>
                          <a:gd name="connsiteY68" fmla="*/ 7536 h 10489"/>
                          <a:gd name="connsiteX69" fmla="*/ 6245 w 10132"/>
                          <a:gd name="connsiteY69" fmla="*/ 8732 h 10489"/>
                          <a:gd name="connsiteX70" fmla="*/ 4690 w 10132"/>
                          <a:gd name="connsiteY70" fmla="*/ 9450 h 10489"/>
                          <a:gd name="connsiteX71" fmla="*/ 3194 w 10132"/>
                          <a:gd name="connsiteY71" fmla="*/ 9629 h 10489"/>
                          <a:gd name="connsiteX72" fmla="*/ 1938 w 10132"/>
                          <a:gd name="connsiteY72" fmla="*/ 9211 h 10489"/>
                          <a:gd name="connsiteX73" fmla="*/ 1101 w 10132"/>
                          <a:gd name="connsiteY73" fmla="*/ 8253 h 10489"/>
                          <a:gd name="connsiteX74" fmla="*/ 802 w 10132"/>
                          <a:gd name="connsiteY74" fmla="*/ 6938 h 10489"/>
                          <a:gd name="connsiteX75" fmla="*/ 1041 w 10132"/>
                          <a:gd name="connsiteY75" fmla="*/ 5383 h 10489"/>
                          <a:gd name="connsiteX76" fmla="*/ 1879 w 10132"/>
                          <a:gd name="connsiteY76" fmla="*/ 3768 h 10489"/>
                          <a:gd name="connsiteX77" fmla="*/ 1340 w 10132"/>
                          <a:gd name="connsiteY77" fmla="*/ 3409 h 10489"/>
                          <a:gd name="connsiteX78" fmla="*/ 443 w 10132"/>
                          <a:gd name="connsiteY78" fmla="*/ 5084 h 10489"/>
                          <a:gd name="connsiteX79" fmla="*/ 25 w 10132"/>
                          <a:gd name="connsiteY79" fmla="*/ 6698 h 10489"/>
                          <a:gd name="connsiteX80" fmla="*/ 84 w 10132"/>
                          <a:gd name="connsiteY80" fmla="*/ 8194 h 10489"/>
                          <a:gd name="connsiteX81" fmla="*/ 742 w 10132"/>
                          <a:gd name="connsiteY81" fmla="*/ 9390 h 1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0132" h="10489">
                            <a:moveTo>
                              <a:pt x="8278" y="6818"/>
                            </a:moveTo>
                            <a:lnTo>
                              <a:pt x="8816" y="7177"/>
                            </a:lnTo>
                            <a:cubicBezTo>
                              <a:pt x="8936" y="6998"/>
                              <a:pt x="9115" y="6758"/>
                              <a:pt x="9235" y="6579"/>
                            </a:cubicBezTo>
                            <a:cubicBezTo>
                              <a:pt x="9355" y="6399"/>
                              <a:pt x="9474" y="6160"/>
                              <a:pt x="9534" y="5981"/>
                            </a:cubicBezTo>
                            <a:cubicBezTo>
                              <a:pt x="9654" y="5801"/>
                              <a:pt x="9714" y="5562"/>
                              <a:pt x="9773" y="5383"/>
                            </a:cubicBezTo>
                            <a:cubicBezTo>
                              <a:pt x="9833" y="5203"/>
                              <a:pt x="9893" y="4964"/>
                              <a:pt x="9953" y="4785"/>
                            </a:cubicBezTo>
                            <a:cubicBezTo>
                              <a:pt x="9953" y="4725"/>
                              <a:pt x="10013" y="4605"/>
                              <a:pt x="10013" y="4545"/>
                            </a:cubicBezTo>
                            <a:cubicBezTo>
                              <a:pt x="10013" y="4486"/>
                              <a:pt x="10072" y="4366"/>
                              <a:pt x="10072" y="4306"/>
                            </a:cubicBezTo>
                            <a:cubicBezTo>
                              <a:pt x="10072" y="4246"/>
                              <a:pt x="10072" y="4127"/>
                              <a:pt x="10132" y="4067"/>
                            </a:cubicBezTo>
                            <a:cubicBezTo>
                              <a:pt x="10132" y="4007"/>
                              <a:pt x="10132" y="3888"/>
                              <a:pt x="10132" y="3828"/>
                            </a:cubicBezTo>
                            <a:cubicBezTo>
                              <a:pt x="10132" y="3469"/>
                              <a:pt x="10132" y="3170"/>
                              <a:pt x="10132" y="2871"/>
                            </a:cubicBezTo>
                            <a:cubicBezTo>
                              <a:pt x="10132" y="2572"/>
                              <a:pt x="10013" y="2273"/>
                              <a:pt x="9893" y="1974"/>
                            </a:cubicBezTo>
                            <a:cubicBezTo>
                              <a:pt x="9773" y="1675"/>
                              <a:pt x="9654" y="1435"/>
                              <a:pt x="9474" y="1196"/>
                            </a:cubicBezTo>
                            <a:cubicBezTo>
                              <a:pt x="9295" y="957"/>
                              <a:pt x="9055" y="778"/>
                              <a:pt x="8816" y="598"/>
                            </a:cubicBezTo>
                            <a:cubicBezTo>
                              <a:pt x="8697" y="538"/>
                              <a:pt x="8637" y="479"/>
                              <a:pt x="8517" y="419"/>
                            </a:cubicBezTo>
                            <a:cubicBezTo>
                              <a:pt x="8398" y="359"/>
                              <a:pt x="8338" y="299"/>
                              <a:pt x="8218" y="299"/>
                            </a:cubicBezTo>
                            <a:cubicBezTo>
                              <a:pt x="8099" y="299"/>
                              <a:pt x="7979" y="239"/>
                              <a:pt x="7860" y="180"/>
                            </a:cubicBezTo>
                            <a:cubicBezTo>
                              <a:pt x="7740" y="180"/>
                              <a:pt x="7620" y="120"/>
                              <a:pt x="7501" y="120"/>
                            </a:cubicBezTo>
                            <a:lnTo>
                              <a:pt x="6843" y="897"/>
                            </a:lnTo>
                            <a:cubicBezTo>
                              <a:pt x="6962" y="897"/>
                              <a:pt x="7082" y="897"/>
                              <a:pt x="7201" y="957"/>
                            </a:cubicBezTo>
                            <a:cubicBezTo>
                              <a:pt x="7321" y="957"/>
                              <a:pt x="7441" y="1017"/>
                              <a:pt x="7560" y="1017"/>
                            </a:cubicBezTo>
                            <a:cubicBezTo>
                              <a:pt x="7680" y="1076"/>
                              <a:pt x="7800" y="1076"/>
                              <a:pt x="7860" y="1136"/>
                            </a:cubicBezTo>
                            <a:cubicBezTo>
                              <a:pt x="7979" y="1196"/>
                              <a:pt x="8039" y="1256"/>
                              <a:pt x="8159" y="1316"/>
                            </a:cubicBezTo>
                            <a:cubicBezTo>
                              <a:pt x="8338" y="1435"/>
                              <a:pt x="8457" y="1555"/>
                              <a:pt x="8577" y="1675"/>
                            </a:cubicBezTo>
                            <a:cubicBezTo>
                              <a:pt x="8697" y="1794"/>
                              <a:pt x="8816" y="1974"/>
                              <a:pt x="8876" y="2093"/>
                            </a:cubicBezTo>
                            <a:cubicBezTo>
                              <a:pt x="8996" y="2273"/>
                              <a:pt x="9055" y="2452"/>
                              <a:pt x="9115" y="2632"/>
                            </a:cubicBezTo>
                            <a:cubicBezTo>
                              <a:pt x="9175" y="2811"/>
                              <a:pt x="9235" y="2990"/>
                              <a:pt x="9235" y="3230"/>
                            </a:cubicBezTo>
                            <a:cubicBezTo>
                              <a:pt x="9235" y="3289"/>
                              <a:pt x="9235" y="3409"/>
                              <a:pt x="9235" y="3469"/>
                            </a:cubicBezTo>
                            <a:cubicBezTo>
                              <a:pt x="9235" y="3529"/>
                              <a:pt x="9235" y="3649"/>
                              <a:pt x="9235" y="3768"/>
                            </a:cubicBezTo>
                            <a:cubicBezTo>
                              <a:pt x="9235" y="3888"/>
                              <a:pt x="9235" y="3947"/>
                              <a:pt x="9235" y="4067"/>
                            </a:cubicBezTo>
                            <a:cubicBezTo>
                              <a:pt x="9235" y="4187"/>
                              <a:pt x="9235" y="4246"/>
                              <a:pt x="9175" y="4366"/>
                            </a:cubicBezTo>
                            <a:cubicBezTo>
                              <a:pt x="9115" y="4545"/>
                              <a:pt x="9115" y="4785"/>
                              <a:pt x="9055" y="4964"/>
                            </a:cubicBezTo>
                            <a:cubicBezTo>
                              <a:pt x="8996" y="5203"/>
                              <a:pt x="8936" y="5383"/>
                              <a:pt x="8816" y="5622"/>
                            </a:cubicBezTo>
                            <a:cubicBezTo>
                              <a:pt x="8756" y="5861"/>
                              <a:pt x="8637" y="6041"/>
                              <a:pt x="8517" y="6280"/>
                            </a:cubicBezTo>
                            <a:cubicBezTo>
                              <a:pt x="8577" y="6399"/>
                              <a:pt x="8457" y="6639"/>
                              <a:pt x="8278" y="6818"/>
                            </a:cubicBezTo>
                            <a:moveTo>
                              <a:pt x="1998" y="2632"/>
                            </a:moveTo>
                            <a:lnTo>
                              <a:pt x="2537" y="2990"/>
                            </a:lnTo>
                            <a:cubicBezTo>
                              <a:pt x="2716" y="2811"/>
                              <a:pt x="2895" y="2632"/>
                              <a:pt x="3075" y="2452"/>
                            </a:cubicBezTo>
                            <a:cubicBezTo>
                              <a:pt x="3254" y="2273"/>
                              <a:pt x="3433" y="2153"/>
                              <a:pt x="3613" y="1974"/>
                            </a:cubicBezTo>
                            <a:cubicBezTo>
                              <a:pt x="3792" y="1854"/>
                              <a:pt x="4032" y="1675"/>
                              <a:pt x="4211" y="1555"/>
                            </a:cubicBezTo>
                            <a:cubicBezTo>
                              <a:pt x="4391" y="1435"/>
                              <a:pt x="4630" y="1316"/>
                              <a:pt x="4809" y="1256"/>
                            </a:cubicBezTo>
                            <a:cubicBezTo>
                              <a:pt x="4929" y="1196"/>
                              <a:pt x="4989" y="1196"/>
                              <a:pt x="5108" y="1136"/>
                            </a:cubicBezTo>
                            <a:cubicBezTo>
                              <a:pt x="5228" y="1076"/>
                              <a:pt x="5288" y="1076"/>
                              <a:pt x="5407" y="1017"/>
                            </a:cubicBezTo>
                            <a:cubicBezTo>
                              <a:pt x="5527" y="957"/>
                              <a:pt x="5587" y="957"/>
                              <a:pt x="5706" y="957"/>
                            </a:cubicBezTo>
                            <a:cubicBezTo>
                              <a:pt x="5826" y="957"/>
                              <a:pt x="5886" y="897"/>
                              <a:pt x="6006" y="897"/>
                            </a:cubicBezTo>
                            <a:cubicBezTo>
                              <a:pt x="6006" y="897"/>
                              <a:pt x="6006" y="897"/>
                              <a:pt x="6006" y="897"/>
                            </a:cubicBezTo>
                            <a:cubicBezTo>
                              <a:pt x="6006" y="897"/>
                              <a:pt x="6006" y="897"/>
                              <a:pt x="6006" y="897"/>
                            </a:cubicBezTo>
                            <a:cubicBezTo>
                              <a:pt x="6006" y="897"/>
                              <a:pt x="6006" y="897"/>
                              <a:pt x="6006" y="897"/>
                            </a:cubicBezTo>
                            <a:cubicBezTo>
                              <a:pt x="6006" y="897"/>
                              <a:pt x="6006" y="897"/>
                              <a:pt x="6006" y="897"/>
                            </a:cubicBezTo>
                            <a:lnTo>
                              <a:pt x="6723" y="0"/>
                            </a:lnTo>
                            <a:cubicBezTo>
                              <a:pt x="6603" y="0"/>
                              <a:pt x="6484" y="0"/>
                              <a:pt x="6304" y="60"/>
                            </a:cubicBezTo>
                            <a:cubicBezTo>
                              <a:pt x="6185" y="60"/>
                              <a:pt x="6065" y="120"/>
                              <a:pt x="5886" y="120"/>
                            </a:cubicBezTo>
                            <a:cubicBezTo>
                              <a:pt x="5766" y="120"/>
                              <a:pt x="5647" y="180"/>
                              <a:pt x="5467" y="239"/>
                            </a:cubicBezTo>
                            <a:cubicBezTo>
                              <a:pt x="5288" y="299"/>
                              <a:pt x="5168" y="299"/>
                              <a:pt x="5048" y="359"/>
                            </a:cubicBezTo>
                            <a:cubicBezTo>
                              <a:pt x="4989" y="419"/>
                              <a:pt x="4869" y="419"/>
                              <a:pt x="4809" y="479"/>
                            </a:cubicBezTo>
                            <a:cubicBezTo>
                              <a:pt x="4749" y="538"/>
                              <a:pt x="4630" y="538"/>
                              <a:pt x="4570" y="598"/>
                            </a:cubicBezTo>
                            <a:cubicBezTo>
                              <a:pt x="4510" y="658"/>
                              <a:pt x="4391" y="658"/>
                              <a:pt x="4331" y="718"/>
                            </a:cubicBezTo>
                            <a:cubicBezTo>
                              <a:pt x="4271" y="778"/>
                              <a:pt x="4152" y="778"/>
                              <a:pt x="4092" y="837"/>
                            </a:cubicBezTo>
                            <a:cubicBezTo>
                              <a:pt x="3912" y="957"/>
                              <a:pt x="3733" y="1076"/>
                              <a:pt x="3493" y="1196"/>
                            </a:cubicBezTo>
                            <a:cubicBezTo>
                              <a:pt x="3314" y="1316"/>
                              <a:pt x="3135" y="1435"/>
                              <a:pt x="2955" y="1615"/>
                            </a:cubicBezTo>
                            <a:cubicBezTo>
                              <a:pt x="2776" y="1735"/>
                              <a:pt x="2596" y="1914"/>
                              <a:pt x="2417" y="2093"/>
                            </a:cubicBezTo>
                            <a:cubicBezTo>
                              <a:pt x="2297" y="2273"/>
                              <a:pt x="2178" y="2452"/>
                              <a:pt x="1998" y="2632"/>
                            </a:cubicBezTo>
                            <a:moveTo>
                              <a:pt x="742" y="9390"/>
                            </a:moveTo>
                            <a:lnTo>
                              <a:pt x="2238" y="10347"/>
                            </a:lnTo>
                            <a:cubicBezTo>
                              <a:pt x="2716" y="10466"/>
                              <a:pt x="3194" y="10526"/>
                              <a:pt x="3673" y="10466"/>
                            </a:cubicBezTo>
                            <a:cubicBezTo>
                              <a:pt x="4211" y="10406"/>
                              <a:pt x="4690" y="10287"/>
                              <a:pt x="5228" y="10048"/>
                            </a:cubicBezTo>
                            <a:cubicBezTo>
                              <a:pt x="5766" y="9808"/>
                              <a:pt x="6304" y="9569"/>
                              <a:pt x="6783" y="9211"/>
                            </a:cubicBezTo>
                            <a:cubicBezTo>
                              <a:pt x="7261" y="8852"/>
                              <a:pt x="7800" y="8433"/>
                              <a:pt x="8218" y="7895"/>
                            </a:cubicBezTo>
                            <a:lnTo>
                              <a:pt x="7680" y="7536"/>
                            </a:lnTo>
                            <a:cubicBezTo>
                              <a:pt x="7261" y="8014"/>
                              <a:pt x="6783" y="8433"/>
                              <a:pt x="6245" y="8732"/>
                            </a:cubicBezTo>
                            <a:cubicBezTo>
                              <a:pt x="5766" y="9031"/>
                              <a:pt x="5228" y="9270"/>
                              <a:pt x="4690" y="9450"/>
                            </a:cubicBezTo>
                            <a:cubicBezTo>
                              <a:pt x="4152" y="9629"/>
                              <a:pt x="3673" y="9689"/>
                              <a:pt x="3194" y="9629"/>
                            </a:cubicBezTo>
                            <a:cubicBezTo>
                              <a:pt x="2716" y="9569"/>
                              <a:pt x="2297" y="9450"/>
                              <a:pt x="1938" y="9211"/>
                            </a:cubicBezTo>
                            <a:cubicBezTo>
                              <a:pt x="1579" y="8971"/>
                              <a:pt x="1281" y="8612"/>
                              <a:pt x="1101" y="8253"/>
                            </a:cubicBezTo>
                            <a:cubicBezTo>
                              <a:pt x="922" y="7835"/>
                              <a:pt x="802" y="7416"/>
                              <a:pt x="802" y="6938"/>
                            </a:cubicBezTo>
                            <a:cubicBezTo>
                              <a:pt x="802" y="6459"/>
                              <a:pt x="862" y="5921"/>
                              <a:pt x="1041" y="5383"/>
                            </a:cubicBezTo>
                            <a:cubicBezTo>
                              <a:pt x="1221" y="4844"/>
                              <a:pt x="1520" y="4306"/>
                              <a:pt x="1879" y="3768"/>
                            </a:cubicBezTo>
                            <a:lnTo>
                              <a:pt x="1340" y="3409"/>
                            </a:lnTo>
                            <a:cubicBezTo>
                              <a:pt x="982" y="3947"/>
                              <a:pt x="683" y="4486"/>
                              <a:pt x="443" y="5084"/>
                            </a:cubicBezTo>
                            <a:cubicBezTo>
                              <a:pt x="204" y="5622"/>
                              <a:pt x="84" y="6160"/>
                              <a:pt x="25" y="6698"/>
                            </a:cubicBezTo>
                            <a:cubicBezTo>
                              <a:pt x="-35" y="7237"/>
                              <a:pt x="25" y="7715"/>
                              <a:pt x="84" y="8194"/>
                            </a:cubicBezTo>
                            <a:cubicBezTo>
                              <a:pt x="264" y="8672"/>
                              <a:pt x="503" y="9031"/>
                              <a:pt x="742" y="9390"/>
                            </a:cubicBezTo>
                          </a:path>
                        </a:pathLst>
                      </a:custGeom>
                      <a:noFill/>
                      <a:ln w="6350" cap="flat">
                        <a:solidFill>
                          <a:schemeClr val="bg1">
                            <a:alpha val="40000"/>
                          </a:schemeClr>
                        </a:solidFill>
                        <a:prstDash val="solid"/>
                        <a:miter/>
                      </a:ln>
                    </p:spPr>
                    <p:txBody>
                      <a:bodyPr rtlCol="0" anchor="ctr"/>
                      <a:lstStyle/>
                      <a:p>
                        <a:endParaRPr lang="en-GB"/>
                      </a:p>
                    </p:txBody>
                  </p:sp>
                  <p:sp>
                    <p:nvSpPr>
                      <p:cNvPr id="7430" name="Vrije vorm: vorm 7429">
                        <a:extLst>
                          <a:ext uri="{FF2B5EF4-FFF2-40B4-BE49-F238E27FC236}">
                            <a16:creationId xmlns:a16="http://schemas.microsoft.com/office/drawing/2014/main" id="{1BD0424A-4879-49EF-B936-44579DC341B4}"/>
                          </a:ext>
                        </a:extLst>
                      </p:cNvPr>
                      <p:cNvSpPr/>
                      <p:nvPr/>
                    </p:nvSpPr>
                    <p:spPr>
                      <a:xfrm>
                        <a:off x="5310123" y="5506191"/>
                        <a:ext cx="29604" cy="31458"/>
                      </a:xfrm>
                      <a:custGeom>
                        <a:avLst/>
                        <a:gdLst>
                          <a:gd name="connsiteX0" fmla="*/ 15490 w 29604"/>
                          <a:gd name="connsiteY0" fmla="*/ 5442 h 31458"/>
                          <a:gd name="connsiteX1" fmla="*/ 16028 w 29604"/>
                          <a:gd name="connsiteY1" fmla="*/ 5801 h 31458"/>
                          <a:gd name="connsiteX2" fmla="*/ 17703 w 29604"/>
                          <a:gd name="connsiteY2" fmla="*/ 3708 h 31458"/>
                          <a:gd name="connsiteX3" fmla="*/ 18301 w 29604"/>
                          <a:gd name="connsiteY3" fmla="*/ 2990 h 31458"/>
                          <a:gd name="connsiteX4" fmla="*/ 19796 w 29604"/>
                          <a:gd name="connsiteY4" fmla="*/ 1076 h 31458"/>
                          <a:gd name="connsiteX5" fmla="*/ 28468 w 29604"/>
                          <a:gd name="connsiteY5" fmla="*/ 6878 h 31458"/>
                          <a:gd name="connsiteX6" fmla="*/ 26973 w 29604"/>
                          <a:gd name="connsiteY6" fmla="*/ 8791 h 31458"/>
                          <a:gd name="connsiteX7" fmla="*/ 26375 w 29604"/>
                          <a:gd name="connsiteY7" fmla="*/ 9509 h 31458"/>
                          <a:gd name="connsiteX8" fmla="*/ 24760 w 29604"/>
                          <a:gd name="connsiteY8" fmla="*/ 11603 h 31458"/>
                          <a:gd name="connsiteX9" fmla="*/ 25299 w 29604"/>
                          <a:gd name="connsiteY9" fmla="*/ 11961 h 31458"/>
                          <a:gd name="connsiteX10" fmla="*/ 26913 w 29604"/>
                          <a:gd name="connsiteY10" fmla="*/ 9868 h 31458"/>
                          <a:gd name="connsiteX11" fmla="*/ 27512 w 29604"/>
                          <a:gd name="connsiteY11" fmla="*/ 9150 h 31458"/>
                          <a:gd name="connsiteX12" fmla="*/ 29605 w 29604"/>
                          <a:gd name="connsiteY12" fmla="*/ 6519 h 31458"/>
                          <a:gd name="connsiteX13" fmla="*/ 19856 w 29604"/>
                          <a:gd name="connsiteY13" fmla="*/ 0 h 31458"/>
                          <a:gd name="connsiteX14" fmla="*/ 17763 w 29604"/>
                          <a:gd name="connsiteY14" fmla="*/ 2632 h 31458"/>
                          <a:gd name="connsiteX15" fmla="*/ 17165 w 29604"/>
                          <a:gd name="connsiteY15" fmla="*/ 3349 h 31458"/>
                          <a:gd name="connsiteX16" fmla="*/ 15490 w 29604"/>
                          <a:gd name="connsiteY16" fmla="*/ 5442 h 31458"/>
                          <a:gd name="connsiteX17" fmla="*/ 20873 w 29604"/>
                          <a:gd name="connsiteY17" fmla="*/ 16447 h 31458"/>
                          <a:gd name="connsiteX18" fmla="*/ 21411 w 29604"/>
                          <a:gd name="connsiteY18" fmla="*/ 16806 h 31458"/>
                          <a:gd name="connsiteX19" fmla="*/ 24700 w 29604"/>
                          <a:gd name="connsiteY19" fmla="*/ 12679 h 31458"/>
                          <a:gd name="connsiteX20" fmla="*/ 24162 w 29604"/>
                          <a:gd name="connsiteY20" fmla="*/ 12320 h 31458"/>
                          <a:gd name="connsiteX21" fmla="*/ 20873 w 29604"/>
                          <a:gd name="connsiteY21" fmla="*/ 16447 h 31458"/>
                          <a:gd name="connsiteX22" fmla="*/ 11603 w 29604"/>
                          <a:gd name="connsiteY22" fmla="*/ 10347 h 31458"/>
                          <a:gd name="connsiteX23" fmla="*/ 12141 w 29604"/>
                          <a:gd name="connsiteY23" fmla="*/ 10705 h 31458"/>
                          <a:gd name="connsiteX24" fmla="*/ 15430 w 29604"/>
                          <a:gd name="connsiteY24" fmla="*/ 6519 h 31458"/>
                          <a:gd name="connsiteX25" fmla="*/ 14892 w 29604"/>
                          <a:gd name="connsiteY25" fmla="*/ 6160 h 31458"/>
                          <a:gd name="connsiteX26" fmla="*/ 11603 w 29604"/>
                          <a:gd name="connsiteY26" fmla="*/ 10347 h 31458"/>
                          <a:gd name="connsiteX27" fmla="*/ 19258 w 29604"/>
                          <a:gd name="connsiteY27" fmla="*/ 18480 h 31458"/>
                          <a:gd name="connsiteX28" fmla="*/ 19796 w 29604"/>
                          <a:gd name="connsiteY28" fmla="*/ 18839 h 31458"/>
                          <a:gd name="connsiteX29" fmla="*/ 20813 w 29604"/>
                          <a:gd name="connsiteY29" fmla="*/ 17523 h 31458"/>
                          <a:gd name="connsiteX30" fmla="*/ 20275 w 29604"/>
                          <a:gd name="connsiteY30" fmla="*/ 17165 h 31458"/>
                          <a:gd name="connsiteX31" fmla="*/ 19258 w 29604"/>
                          <a:gd name="connsiteY31" fmla="*/ 18480 h 31458"/>
                          <a:gd name="connsiteX32" fmla="*/ 9988 w 29604"/>
                          <a:gd name="connsiteY32" fmla="*/ 12440 h 31458"/>
                          <a:gd name="connsiteX33" fmla="*/ 10526 w 29604"/>
                          <a:gd name="connsiteY33" fmla="*/ 12799 h 31458"/>
                          <a:gd name="connsiteX34" fmla="*/ 11543 w 29604"/>
                          <a:gd name="connsiteY34" fmla="*/ 11483 h 31458"/>
                          <a:gd name="connsiteX35" fmla="*/ 11005 w 29604"/>
                          <a:gd name="connsiteY35" fmla="*/ 11124 h 31458"/>
                          <a:gd name="connsiteX36" fmla="*/ 9988 w 29604"/>
                          <a:gd name="connsiteY36" fmla="*/ 12440 h 31458"/>
                          <a:gd name="connsiteX37" fmla="*/ 17763 w 29604"/>
                          <a:gd name="connsiteY37" fmla="*/ 20394 h 31458"/>
                          <a:gd name="connsiteX38" fmla="*/ 18301 w 29604"/>
                          <a:gd name="connsiteY38" fmla="*/ 20753 h 31458"/>
                          <a:gd name="connsiteX39" fmla="*/ 19198 w 29604"/>
                          <a:gd name="connsiteY39" fmla="*/ 19617 h 31458"/>
                          <a:gd name="connsiteX40" fmla="*/ 18660 w 29604"/>
                          <a:gd name="connsiteY40" fmla="*/ 19258 h 31458"/>
                          <a:gd name="connsiteX41" fmla="*/ 17763 w 29604"/>
                          <a:gd name="connsiteY41" fmla="*/ 20394 h 31458"/>
                          <a:gd name="connsiteX42" fmla="*/ 8493 w 29604"/>
                          <a:gd name="connsiteY42" fmla="*/ 14294 h 31458"/>
                          <a:gd name="connsiteX43" fmla="*/ 9031 w 29604"/>
                          <a:gd name="connsiteY43" fmla="*/ 14653 h 31458"/>
                          <a:gd name="connsiteX44" fmla="*/ 9928 w 29604"/>
                          <a:gd name="connsiteY44" fmla="*/ 13516 h 31458"/>
                          <a:gd name="connsiteX45" fmla="*/ 9390 w 29604"/>
                          <a:gd name="connsiteY45" fmla="*/ 13158 h 31458"/>
                          <a:gd name="connsiteX46" fmla="*/ 8493 w 29604"/>
                          <a:gd name="connsiteY46" fmla="*/ 14294 h 31458"/>
                          <a:gd name="connsiteX47" fmla="*/ 0 w 29604"/>
                          <a:gd name="connsiteY47" fmla="*/ 25119 h 31458"/>
                          <a:gd name="connsiteX48" fmla="*/ 9868 w 29604"/>
                          <a:gd name="connsiteY48" fmla="*/ 31459 h 31458"/>
                          <a:gd name="connsiteX49" fmla="*/ 15251 w 29604"/>
                          <a:gd name="connsiteY49" fmla="*/ 24641 h 31458"/>
                          <a:gd name="connsiteX50" fmla="*/ 15849 w 29604"/>
                          <a:gd name="connsiteY50" fmla="*/ 23863 h 31458"/>
                          <a:gd name="connsiteX51" fmla="*/ 17763 w 29604"/>
                          <a:gd name="connsiteY51" fmla="*/ 21471 h 31458"/>
                          <a:gd name="connsiteX52" fmla="*/ 17225 w 29604"/>
                          <a:gd name="connsiteY52" fmla="*/ 21112 h 31458"/>
                          <a:gd name="connsiteX53" fmla="*/ 15311 w 29604"/>
                          <a:gd name="connsiteY53" fmla="*/ 23504 h 31458"/>
                          <a:gd name="connsiteX54" fmla="*/ 14713 w 29604"/>
                          <a:gd name="connsiteY54" fmla="*/ 24282 h 31458"/>
                          <a:gd name="connsiteX55" fmla="*/ 9928 w 29604"/>
                          <a:gd name="connsiteY55" fmla="*/ 30382 h 31458"/>
                          <a:gd name="connsiteX56" fmla="*/ 1136 w 29604"/>
                          <a:gd name="connsiteY56" fmla="*/ 24760 h 31458"/>
                          <a:gd name="connsiteX57" fmla="*/ 5981 w 29604"/>
                          <a:gd name="connsiteY57" fmla="*/ 18600 h 31458"/>
                          <a:gd name="connsiteX58" fmla="*/ 6579 w 29604"/>
                          <a:gd name="connsiteY58" fmla="*/ 17822 h 31458"/>
                          <a:gd name="connsiteX59" fmla="*/ 8493 w 29604"/>
                          <a:gd name="connsiteY59" fmla="*/ 15370 h 31458"/>
                          <a:gd name="connsiteX60" fmla="*/ 7954 w 29604"/>
                          <a:gd name="connsiteY60" fmla="*/ 15012 h 31458"/>
                          <a:gd name="connsiteX61" fmla="*/ 6041 w 29604"/>
                          <a:gd name="connsiteY61" fmla="*/ 17464 h 31458"/>
                          <a:gd name="connsiteX62" fmla="*/ 5443 w 29604"/>
                          <a:gd name="connsiteY62" fmla="*/ 18241 h 31458"/>
                          <a:gd name="connsiteX63" fmla="*/ 0 w 29604"/>
                          <a:gd name="connsiteY63" fmla="*/ 25119 h 3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9604" h="31458">
                            <a:moveTo>
                              <a:pt x="15490" y="5442"/>
                            </a:moveTo>
                            <a:lnTo>
                              <a:pt x="16028" y="5801"/>
                            </a:lnTo>
                            <a:lnTo>
                              <a:pt x="17703" y="3708"/>
                            </a:lnTo>
                            <a:lnTo>
                              <a:pt x="18301" y="2990"/>
                            </a:lnTo>
                            <a:lnTo>
                              <a:pt x="19796" y="1076"/>
                            </a:lnTo>
                            <a:lnTo>
                              <a:pt x="28468" y="6878"/>
                            </a:lnTo>
                            <a:lnTo>
                              <a:pt x="26973" y="8791"/>
                            </a:lnTo>
                            <a:lnTo>
                              <a:pt x="26375" y="9509"/>
                            </a:lnTo>
                            <a:lnTo>
                              <a:pt x="24760" y="11603"/>
                            </a:lnTo>
                            <a:lnTo>
                              <a:pt x="25299" y="11961"/>
                            </a:lnTo>
                            <a:lnTo>
                              <a:pt x="26913" y="9868"/>
                            </a:lnTo>
                            <a:lnTo>
                              <a:pt x="27512" y="9150"/>
                            </a:lnTo>
                            <a:lnTo>
                              <a:pt x="29605" y="6519"/>
                            </a:lnTo>
                            <a:lnTo>
                              <a:pt x="19856" y="0"/>
                            </a:lnTo>
                            <a:lnTo>
                              <a:pt x="17763" y="2632"/>
                            </a:lnTo>
                            <a:lnTo>
                              <a:pt x="17165" y="3349"/>
                            </a:lnTo>
                            <a:lnTo>
                              <a:pt x="15490" y="5442"/>
                            </a:lnTo>
                            <a:moveTo>
                              <a:pt x="20873" y="16447"/>
                            </a:moveTo>
                            <a:lnTo>
                              <a:pt x="21411" y="16806"/>
                            </a:lnTo>
                            <a:lnTo>
                              <a:pt x="24700" y="12679"/>
                            </a:lnTo>
                            <a:lnTo>
                              <a:pt x="24162" y="12320"/>
                            </a:lnTo>
                            <a:lnTo>
                              <a:pt x="20873" y="16447"/>
                            </a:lnTo>
                            <a:moveTo>
                              <a:pt x="11603" y="10347"/>
                            </a:moveTo>
                            <a:lnTo>
                              <a:pt x="12141" y="10705"/>
                            </a:lnTo>
                            <a:lnTo>
                              <a:pt x="15430" y="6519"/>
                            </a:lnTo>
                            <a:lnTo>
                              <a:pt x="14892" y="6160"/>
                            </a:lnTo>
                            <a:lnTo>
                              <a:pt x="11603" y="10347"/>
                            </a:lnTo>
                            <a:moveTo>
                              <a:pt x="19258" y="18480"/>
                            </a:moveTo>
                            <a:lnTo>
                              <a:pt x="19796" y="18839"/>
                            </a:lnTo>
                            <a:lnTo>
                              <a:pt x="20813" y="17523"/>
                            </a:lnTo>
                            <a:lnTo>
                              <a:pt x="20275" y="17165"/>
                            </a:lnTo>
                            <a:lnTo>
                              <a:pt x="19258" y="18480"/>
                            </a:lnTo>
                            <a:moveTo>
                              <a:pt x="9988" y="12440"/>
                            </a:moveTo>
                            <a:lnTo>
                              <a:pt x="10526" y="12799"/>
                            </a:lnTo>
                            <a:lnTo>
                              <a:pt x="11543" y="11483"/>
                            </a:lnTo>
                            <a:lnTo>
                              <a:pt x="11005" y="11124"/>
                            </a:lnTo>
                            <a:lnTo>
                              <a:pt x="9988" y="12440"/>
                            </a:lnTo>
                            <a:moveTo>
                              <a:pt x="17763" y="20394"/>
                            </a:moveTo>
                            <a:lnTo>
                              <a:pt x="18301" y="20753"/>
                            </a:lnTo>
                            <a:lnTo>
                              <a:pt x="19198" y="19617"/>
                            </a:lnTo>
                            <a:lnTo>
                              <a:pt x="18660" y="19258"/>
                            </a:lnTo>
                            <a:lnTo>
                              <a:pt x="17763" y="20394"/>
                            </a:lnTo>
                            <a:moveTo>
                              <a:pt x="8493" y="14294"/>
                            </a:moveTo>
                            <a:lnTo>
                              <a:pt x="9031" y="14653"/>
                            </a:lnTo>
                            <a:lnTo>
                              <a:pt x="9928" y="13516"/>
                            </a:lnTo>
                            <a:lnTo>
                              <a:pt x="9390" y="13158"/>
                            </a:lnTo>
                            <a:lnTo>
                              <a:pt x="8493" y="14294"/>
                            </a:lnTo>
                            <a:moveTo>
                              <a:pt x="0" y="25119"/>
                            </a:moveTo>
                            <a:lnTo>
                              <a:pt x="9868" y="31459"/>
                            </a:lnTo>
                            <a:lnTo>
                              <a:pt x="15251" y="24641"/>
                            </a:lnTo>
                            <a:lnTo>
                              <a:pt x="15849" y="23863"/>
                            </a:lnTo>
                            <a:lnTo>
                              <a:pt x="17763" y="21471"/>
                            </a:lnTo>
                            <a:lnTo>
                              <a:pt x="17225" y="21112"/>
                            </a:lnTo>
                            <a:lnTo>
                              <a:pt x="15311" y="23504"/>
                            </a:lnTo>
                            <a:lnTo>
                              <a:pt x="14713" y="24282"/>
                            </a:lnTo>
                            <a:lnTo>
                              <a:pt x="9928" y="30382"/>
                            </a:lnTo>
                            <a:lnTo>
                              <a:pt x="1136" y="24760"/>
                            </a:lnTo>
                            <a:lnTo>
                              <a:pt x="5981" y="18600"/>
                            </a:lnTo>
                            <a:lnTo>
                              <a:pt x="6579" y="17822"/>
                            </a:lnTo>
                            <a:lnTo>
                              <a:pt x="8493" y="15370"/>
                            </a:lnTo>
                            <a:lnTo>
                              <a:pt x="7954" y="15012"/>
                            </a:lnTo>
                            <a:lnTo>
                              <a:pt x="6041" y="17464"/>
                            </a:lnTo>
                            <a:lnTo>
                              <a:pt x="5443" y="18241"/>
                            </a:lnTo>
                            <a:lnTo>
                              <a:pt x="0" y="25119"/>
                            </a:lnTo>
                          </a:path>
                        </a:pathLst>
                      </a:custGeom>
                      <a:noFill/>
                      <a:ln w="6350" cap="flat">
                        <a:solidFill>
                          <a:schemeClr val="bg1">
                            <a:alpha val="40000"/>
                          </a:schemeClr>
                        </a:solidFill>
                        <a:prstDash val="solid"/>
                        <a:miter/>
                      </a:ln>
                    </p:spPr>
                    <p:txBody>
                      <a:bodyPr rtlCol="0" anchor="ctr"/>
                      <a:lstStyle/>
                      <a:p>
                        <a:endParaRPr lang="en-GB"/>
                      </a:p>
                    </p:txBody>
                  </p:sp>
                  <p:sp>
                    <p:nvSpPr>
                      <p:cNvPr id="7431" name="Vrije vorm: vorm 7430">
                        <a:extLst>
                          <a:ext uri="{FF2B5EF4-FFF2-40B4-BE49-F238E27FC236}">
                            <a16:creationId xmlns:a16="http://schemas.microsoft.com/office/drawing/2014/main" id="{2F1676FC-CD3B-47B1-8BE6-6F9694A61729}"/>
                          </a:ext>
                        </a:extLst>
                      </p:cNvPr>
                      <p:cNvSpPr/>
                      <p:nvPr/>
                    </p:nvSpPr>
                    <p:spPr>
                      <a:xfrm>
                        <a:off x="5305936" y="5294892"/>
                        <a:ext cx="63156" cy="103825"/>
                      </a:xfrm>
                      <a:custGeom>
                        <a:avLst/>
                        <a:gdLst>
                          <a:gd name="connsiteX0" fmla="*/ 59987 w 63156"/>
                          <a:gd name="connsiteY0" fmla="*/ 4545 h 103825"/>
                          <a:gd name="connsiteX1" fmla="*/ 60824 w 63156"/>
                          <a:gd name="connsiteY1" fmla="*/ 4725 h 103825"/>
                          <a:gd name="connsiteX2" fmla="*/ 61003 w 63156"/>
                          <a:gd name="connsiteY2" fmla="*/ 4486 h 103825"/>
                          <a:gd name="connsiteX3" fmla="*/ 61243 w 63156"/>
                          <a:gd name="connsiteY3" fmla="*/ 4306 h 103825"/>
                          <a:gd name="connsiteX4" fmla="*/ 61482 w 63156"/>
                          <a:gd name="connsiteY4" fmla="*/ 4127 h 103825"/>
                          <a:gd name="connsiteX5" fmla="*/ 61721 w 63156"/>
                          <a:gd name="connsiteY5" fmla="*/ 3947 h 103825"/>
                          <a:gd name="connsiteX6" fmla="*/ 60346 w 63156"/>
                          <a:gd name="connsiteY6" fmla="*/ 3648 h 103825"/>
                          <a:gd name="connsiteX7" fmla="*/ 60286 w 63156"/>
                          <a:gd name="connsiteY7" fmla="*/ 3888 h 103825"/>
                          <a:gd name="connsiteX8" fmla="*/ 60226 w 63156"/>
                          <a:gd name="connsiteY8" fmla="*/ 4127 h 103825"/>
                          <a:gd name="connsiteX9" fmla="*/ 60107 w 63156"/>
                          <a:gd name="connsiteY9" fmla="*/ 4366 h 103825"/>
                          <a:gd name="connsiteX10" fmla="*/ 59987 w 63156"/>
                          <a:gd name="connsiteY10" fmla="*/ 4545 h 103825"/>
                          <a:gd name="connsiteX11" fmla="*/ 57774 w 63156"/>
                          <a:gd name="connsiteY11" fmla="*/ 4007 h 103825"/>
                          <a:gd name="connsiteX12" fmla="*/ 59090 w 63156"/>
                          <a:gd name="connsiteY12" fmla="*/ 4306 h 103825"/>
                          <a:gd name="connsiteX13" fmla="*/ 59209 w 63156"/>
                          <a:gd name="connsiteY13" fmla="*/ 4067 h 103825"/>
                          <a:gd name="connsiteX14" fmla="*/ 59269 w 63156"/>
                          <a:gd name="connsiteY14" fmla="*/ 3828 h 103825"/>
                          <a:gd name="connsiteX15" fmla="*/ 59329 w 63156"/>
                          <a:gd name="connsiteY15" fmla="*/ 3589 h 103825"/>
                          <a:gd name="connsiteX16" fmla="*/ 59389 w 63156"/>
                          <a:gd name="connsiteY16" fmla="*/ 3349 h 103825"/>
                          <a:gd name="connsiteX17" fmla="*/ 58073 w 63156"/>
                          <a:gd name="connsiteY17" fmla="*/ 3050 h 103825"/>
                          <a:gd name="connsiteX18" fmla="*/ 58013 w 63156"/>
                          <a:gd name="connsiteY18" fmla="*/ 3289 h 103825"/>
                          <a:gd name="connsiteX19" fmla="*/ 57953 w 63156"/>
                          <a:gd name="connsiteY19" fmla="*/ 3529 h 103825"/>
                          <a:gd name="connsiteX20" fmla="*/ 57894 w 63156"/>
                          <a:gd name="connsiteY20" fmla="*/ 3768 h 103825"/>
                          <a:gd name="connsiteX21" fmla="*/ 57774 w 63156"/>
                          <a:gd name="connsiteY21" fmla="*/ 4007 h 103825"/>
                          <a:gd name="connsiteX22" fmla="*/ 61123 w 63156"/>
                          <a:gd name="connsiteY22" fmla="*/ 7895 h 103825"/>
                          <a:gd name="connsiteX23" fmla="*/ 61482 w 63156"/>
                          <a:gd name="connsiteY23" fmla="*/ 8074 h 103825"/>
                          <a:gd name="connsiteX24" fmla="*/ 61482 w 63156"/>
                          <a:gd name="connsiteY24" fmla="*/ 8074 h 103825"/>
                          <a:gd name="connsiteX25" fmla="*/ 61482 w 63156"/>
                          <a:gd name="connsiteY25" fmla="*/ 8074 h 103825"/>
                          <a:gd name="connsiteX26" fmla="*/ 61482 w 63156"/>
                          <a:gd name="connsiteY26" fmla="*/ 8074 h 103825"/>
                          <a:gd name="connsiteX27" fmla="*/ 61482 w 63156"/>
                          <a:gd name="connsiteY27" fmla="*/ 8074 h 103825"/>
                          <a:gd name="connsiteX28" fmla="*/ 62977 w 63156"/>
                          <a:gd name="connsiteY28" fmla="*/ 4725 h 103825"/>
                          <a:gd name="connsiteX29" fmla="*/ 63157 w 63156"/>
                          <a:gd name="connsiteY29" fmla="*/ 4366 h 103825"/>
                          <a:gd name="connsiteX30" fmla="*/ 62857 w 63156"/>
                          <a:gd name="connsiteY30" fmla="*/ 4366 h 103825"/>
                          <a:gd name="connsiteX31" fmla="*/ 62558 w 63156"/>
                          <a:gd name="connsiteY31" fmla="*/ 4366 h 103825"/>
                          <a:gd name="connsiteX32" fmla="*/ 62260 w 63156"/>
                          <a:gd name="connsiteY32" fmla="*/ 4426 h 103825"/>
                          <a:gd name="connsiteX33" fmla="*/ 61961 w 63156"/>
                          <a:gd name="connsiteY33" fmla="*/ 4545 h 103825"/>
                          <a:gd name="connsiteX34" fmla="*/ 61841 w 63156"/>
                          <a:gd name="connsiteY34" fmla="*/ 4605 h 103825"/>
                          <a:gd name="connsiteX35" fmla="*/ 61721 w 63156"/>
                          <a:gd name="connsiteY35" fmla="*/ 4665 h 103825"/>
                          <a:gd name="connsiteX36" fmla="*/ 61602 w 63156"/>
                          <a:gd name="connsiteY36" fmla="*/ 4725 h 103825"/>
                          <a:gd name="connsiteX37" fmla="*/ 61482 w 63156"/>
                          <a:gd name="connsiteY37" fmla="*/ 4785 h 103825"/>
                          <a:gd name="connsiteX38" fmla="*/ 61961 w 63156"/>
                          <a:gd name="connsiteY38" fmla="*/ 4904 h 103825"/>
                          <a:gd name="connsiteX39" fmla="*/ 60764 w 63156"/>
                          <a:gd name="connsiteY39" fmla="*/ 7476 h 103825"/>
                          <a:gd name="connsiteX40" fmla="*/ 61123 w 63156"/>
                          <a:gd name="connsiteY40" fmla="*/ 7895 h 103825"/>
                          <a:gd name="connsiteX41" fmla="*/ 51434 w 63156"/>
                          <a:gd name="connsiteY41" fmla="*/ 1555 h 103825"/>
                          <a:gd name="connsiteX42" fmla="*/ 56578 w 63156"/>
                          <a:gd name="connsiteY42" fmla="*/ 2751 h 103825"/>
                          <a:gd name="connsiteX43" fmla="*/ 56399 w 63156"/>
                          <a:gd name="connsiteY43" fmla="*/ 3170 h 103825"/>
                          <a:gd name="connsiteX44" fmla="*/ 56219 w 63156"/>
                          <a:gd name="connsiteY44" fmla="*/ 3648 h 103825"/>
                          <a:gd name="connsiteX45" fmla="*/ 56817 w 63156"/>
                          <a:gd name="connsiteY45" fmla="*/ 3768 h 103825"/>
                          <a:gd name="connsiteX46" fmla="*/ 56937 w 63156"/>
                          <a:gd name="connsiteY46" fmla="*/ 3529 h 103825"/>
                          <a:gd name="connsiteX47" fmla="*/ 56996 w 63156"/>
                          <a:gd name="connsiteY47" fmla="*/ 3289 h 103825"/>
                          <a:gd name="connsiteX48" fmla="*/ 57056 w 63156"/>
                          <a:gd name="connsiteY48" fmla="*/ 3050 h 103825"/>
                          <a:gd name="connsiteX49" fmla="*/ 57116 w 63156"/>
                          <a:gd name="connsiteY49" fmla="*/ 2811 h 103825"/>
                          <a:gd name="connsiteX50" fmla="*/ 51434 w 63156"/>
                          <a:gd name="connsiteY50" fmla="*/ 1555 h 103825"/>
                          <a:gd name="connsiteX51" fmla="*/ 48025 w 63156"/>
                          <a:gd name="connsiteY51" fmla="*/ 1734 h 103825"/>
                          <a:gd name="connsiteX52" fmla="*/ 49341 w 63156"/>
                          <a:gd name="connsiteY52" fmla="*/ 2034 h 103825"/>
                          <a:gd name="connsiteX53" fmla="*/ 49760 w 63156"/>
                          <a:gd name="connsiteY53" fmla="*/ 1136 h 103825"/>
                          <a:gd name="connsiteX54" fmla="*/ 48564 w 63156"/>
                          <a:gd name="connsiteY54" fmla="*/ 837 h 103825"/>
                          <a:gd name="connsiteX55" fmla="*/ 48504 w 63156"/>
                          <a:gd name="connsiteY55" fmla="*/ 957 h 103825"/>
                          <a:gd name="connsiteX56" fmla="*/ 48444 w 63156"/>
                          <a:gd name="connsiteY56" fmla="*/ 1076 h 103825"/>
                          <a:gd name="connsiteX57" fmla="*/ 48384 w 63156"/>
                          <a:gd name="connsiteY57" fmla="*/ 1196 h 103825"/>
                          <a:gd name="connsiteX58" fmla="*/ 48324 w 63156"/>
                          <a:gd name="connsiteY58" fmla="*/ 1316 h 103825"/>
                          <a:gd name="connsiteX59" fmla="*/ 48264 w 63156"/>
                          <a:gd name="connsiteY59" fmla="*/ 1435 h 103825"/>
                          <a:gd name="connsiteX60" fmla="*/ 48205 w 63156"/>
                          <a:gd name="connsiteY60" fmla="*/ 1555 h 103825"/>
                          <a:gd name="connsiteX61" fmla="*/ 48145 w 63156"/>
                          <a:gd name="connsiteY61" fmla="*/ 1675 h 103825"/>
                          <a:gd name="connsiteX62" fmla="*/ 48025 w 63156"/>
                          <a:gd name="connsiteY62" fmla="*/ 1734 h 103825"/>
                          <a:gd name="connsiteX63" fmla="*/ 46291 w 63156"/>
                          <a:gd name="connsiteY63" fmla="*/ 1375 h 103825"/>
                          <a:gd name="connsiteX64" fmla="*/ 47128 w 63156"/>
                          <a:gd name="connsiteY64" fmla="*/ 1555 h 103825"/>
                          <a:gd name="connsiteX65" fmla="*/ 47188 w 63156"/>
                          <a:gd name="connsiteY65" fmla="*/ 1435 h 103825"/>
                          <a:gd name="connsiteX66" fmla="*/ 47248 w 63156"/>
                          <a:gd name="connsiteY66" fmla="*/ 1316 h 103825"/>
                          <a:gd name="connsiteX67" fmla="*/ 47308 w 63156"/>
                          <a:gd name="connsiteY67" fmla="*/ 1196 h 103825"/>
                          <a:gd name="connsiteX68" fmla="*/ 47368 w 63156"/>
                          <a:gd name="connsiteY68" fmla="*/ 1076 h 103825"/>
                          <a:gd name="connsiteX69" fmla="*/ 47427 w 63156"/>
                          <a:gd name="connsiteY69" fmla="*/ 957 h 103825"/>
                          <a:gd name="connsiteX70" fmla="*/ 47487 w 63156"/>
                          <a:gd name="connsiteY70" fmla="*/ 837 h 103825"/>
                          <a:gd name="connsiteX71" fmla="*/ 47547 w 63156"/>
                          <a:gd name="connsiteY71" fmla="*/ 718 h 103825"/>
                          <a:gd name="connsiteX72" fmla="*/ 47607 w 63156"/>
                          <a:gd name="connsiteY72" fmla="*/ 598 h 103825"/>
                          <a:gd name="connsiteX73" fmla="*/ 46829 w 63156"/>
                          <a:gd name="connsiteY73" fmla="*/ 419 h 103825"/>
                          <a:gd name="connsiteX74" fmla="*/ 46829 w 63156"/>
                          <a:gd name="connsiteY74" fmla="*/ 479 h 103825"/>
                          <a:gd name="connsiteX75" fmla="*/ 46829 w 63156"/>
                          <a:gd name="connsiteY75" fmla="*/ 538 h 103825"/>
                          <a:gd name="connsiteX76" fmla="*/ 46829 w 63156"/>
                          <a:gd name="connsiteY76" fmla="*/ 598 h 103825"/>
                          <a:gd name="connsiteX77" fmla="*/ 46769 w 63156"/>
                          <a:gd name="connsiteY77" fmla="*/ 658 h 103825"/>
                          <a:gd name="connsiteX78" fmla="*/ 46650 w 63156"/>
                          <a:gd name="connsiteY78" fmla="*/ 837 h 103825"/>
                          <a:gd name="connsiteX79" fmla="*/ 46530 w 63156"/>
                          <a:gd name="connsiteY79" fmla="*/ 1017 h 103825"/>
                          <a:gd name="connsiteX80" fmla="*/ 46410 w 63156"/>
                          <a:gd name="connsiteY80" fmla="*/ 1196 h 103825"/>
                          <a:gd name="connsiteX81" fmla="*/ 46291 w 63156"/>
                          <a:gd name="connsiteY81" fmla="*/ 1375 h 103825"/>
                          <a:gd name="connsiteX82" fmla="*/ 44078 w 63156"/>
                          <a:gd name="connsiteY82" fmla="*/ 1854 h 103825"/>
                          <a:gd name="connsiteX83" fmla="*/ 44317 w 63156"/>
                          <a:gd name="connsiteY83" fmla="*/ 1854 h 103825"/>
                          <a:gd name="connsiteX84" fmla="*/ 44556 w 63156"/>
                          <a:gd name="connsiteY84" fmla="*/ 1794 h 103825"/>
                          <a:gd name="connsiteX85" fmla="*/ 44796 w 63156"/>
                          <a:gd name="connsiteY85" fmla="*/ 1675 h 103825"/>
                          <a:gd name="connsiteX86" fmla="*/ 45035 w 63156"/>
                          <a:gd name="connsiteY86" fmla="*/ 1555 h 103825"/>
                          <a:gd name="connsiteX87" fmla="*/ 45215 w 63156"/>
                          <a:gd name="connsiteY87" fmla="*/ 1136 h 103825"/>
                          <a:gd name="connsiteX88" fmla="*/ 45514 w 63156"/>
                          <a:gd name="connsiteY88" fmla="*/ 1196 h 103825"/>
                          <a:gd name="connsiteX89" fmla="*/ 45633 w 63156"/>
                          <a:gd name="connsiteY89" fmla="*/ 1017 h 103825"/>
                          <a:gd name="connsiteX90" fmla="*/ 45753 w 63156"/>
                          <a:gd name="connsiteY90" fmla="*/ 837 h 103825"/>
                          <a:gd name="connsiteX91" fmla="*/ 45872 w 63156"/>
                          <a:gd name="connsiteY91" fmla="*/ 658 h 103825"/>
                          <a:gd name="connsiteX92" fmla="*/ 45992 w 63156"/>
                          <a:gd name="connsiteY92" fmla="*/ 479 h 103825"/>
                          <a:gd name="connsiteX93" fmla="*/ 45992 w 63156"/>
                          <a:gd name="connsiteY93" fmla="*/ 419 h 103825"/>
                          <a:gd name="connsiteX94" fmla="*/ 45992 w 63156"/>
                          <a:gd name="connsiteY94" fmla="*/ 359 h 103825"/>
                          <a:gd name="connsiteX95" fmla="*/ 45992 w 63156"/>
                          <a:gd name="connsiteY95" fmla="*/ 299 h 103825"/>
                          <a:gd name="connsiteX96" fmla="*/ 45992 w 63156"/>
                          <a:gd name="connsiteY96" fmla="*/ 239 h 103825"/>
                          <a:gd name="connsiteX97" fmla="*/ 45155 w 63156"/>
                          <a:gd name="connsiteY97" fmla="*/ 60 h 103825"/>
                          <a:gd name="connsiteX98" fmla="*/ 44796 w 63156"/>
                          <a:gd name="connsiteY98" fmla="*/ 0 h 103825"/>
                          <a:gd name="connsiteX99" fmla="*/ 44078 w 63156"/>
                          <a:gd name="connsiteY99" fmla="*/ 1854 h 103825"/>
                          <a:gd name="connsiteX100" fmla="*/ 57355 w 63156"/>
                          <a:gd name="connsiteY100" fmla="*/ 15669 h 103825"/>
                          <a:gd name="connsiteX101" fmla="*/ 57654 w 63156"/>
                          <a:gd name="connsiteY101" fmla="*/ 15490 h 103825"/>
                          <a:gd name="connsiteX102" fmla="*/ 57953 w 63156"/>
                          <a:gd name="connsiteY102" fmla="*/ 15311 h 103825"/>
                          <a:gd name="connsiteX103" fmla="*/ 58253 w 63156"/>
                          <a:gd name="connsiteY103" fmla="*/ 15131 h 103825"/>
                          <a:gd name="connsiteX104" fmla="*/ 58552 w 63156"/>
                          <a:gd name="connsiteY104" fmla="*/ 14952 h 103825"/>
                          <a:gd name="connsiteX105" fmla="*/ 61183 w 63156"/>
                          <a:gd name="connsiteY105" fmla="*/ 9091 h 103825"/>
                          <a:gd name="connsiteX106" fmla="*/ 61123 w 63156"/>
                          <a:gd name="connsiteY106" fmla="*/ 9091 h 103825"/>
                          <a:gd name="connsiteX107" fmla="*/ 61063 w 63156"/>
                          <a:gd name="connsiteY107" fmla="*/ 9091 h 103825"/>
                          <a:gd name="connsiteX108" fmla="*/ 61003 w 63156"/>
                          <a:gd name="connsiteY108" fmla="*/ 9091 h 103825"/>
                          <a:gd name="connsiteX109" fmla="*/ 60944 w 63156"/>
                          <a:gd name="connsiteY109" fmla="*/ 9091 h 103825"/>
                          <a:gd name="connsiteX110" fmla="*/ 60824 w 63156"/>
                          <a:gd name="connsiteY110" fmla="*/ 9031 h 103825"/>
                          <a:gd name="connsiteX111" fmla="*/ 60704 w 63156"/>
                          <a:gd name="connsiteY111" fmla="*/ 8971 h 103825"/>
                          <a:gd name="connsiteX112" fmla="*/ 60585 w 63156"/>
                          <a:gd name="connsiteY112" fmla="*/ 8911 h 103825"/>
                          <a:gd name="connsiteX113" fmla="*/ 60465 w 63156"/>
                          <a:gd name="connsiteY113" fmla="*/ 8851 h 103825"/>
                          <a:gd name="connsiteX114" fmla="*/ 57355 w 63156"/>
                          <a:gd name="connsiteY114" fmla="*/ 15669 h 103825"/>
                          <a:gd name="connsiteX115" fmla="*/ 41865 w 63156"/>
                          <a:gd name="connsiteY115" fmla="*/ 6878 h 103825"/>
                          <a:gd name="connsiteX116" fmla="*/ 41985 w 63156"/>
                          <a:gd name="connsiteY116" fmla="*/ 6758 h 103825"/>
                          <a:gd name="connsiteX117" fmla="*/ 42105 w 63156"/>
                          <a:gd name="connsiteY117" fmla="*/ 6639 h 103825"/>
                          <a:gd name="connsiteX118" fmla="*/ 42284 w 63156"/>
                          <a:gd name="connsiteY118" fmla="*/ 6519 h 103825"/>
                          <a:gd name="connsiteX119" fmla="*/ 42463 w 63156"/>
                          <a:gd name="connsiteY119" fmla="*/ 6399 h 103825"/>
                          <a:gd name="connsiteX120" fmla="*/ 42583 w 63156"/>
                          <a:gd name="connsiteY120" fmla="*/ 6340 h 103825"/>
                          <a:gd name="connsiteX121" fmla="*/ 42702 w 63156"/>
                          <a:gd name="connsiteY121" fmla="*/ 6280 h 103825"/>
                          <a:gd name="connsiteX122" fmla="*/ 42822 w 63156"/>
                          <a:gd name="connsiteY122" fmla="*/ 6220 h 103825"/>
                          <a:gd name="connsiteX123" fmla="*/ 42942 w 63156"/>
                          <a:gd name="connsiteY123" fmla="*/ 6160 h 103825"/>
                          <a:gd name="connsiteX124" fmla="*/ 44556 w 63156"/>
                          <a:gd name="connsiteY124" fmla="*/ 2572 h 103825"/>
                          <a:gd name="connsiteX125" fmla="*/ 44317 w 63156"/>
                          <a:gd name="connsiteY125" fmla="*/ 2632 h 103825"/>
                          <a:gd name="connsiteX126" fmla="*/ 44078 w 63156"/>
                          <a:gd name="connsiteY126" fmla="*/ 2691 h 103825"/>
                          <a:gd name="connsiteX127" fmla="*/ 43839 w 63156"/>
                          <a:gd name="connsiteY127" fmla="*/ 2691 h 103825"/>
                          <a:gd name="connsiteX128" fmla="*/ 43600 w 63156"/>
                          <a:gd name="connsiteY128" fmla="*/ 2691 h 103825"/>
                          <a:gd name="connsiteX129" fmla="*/ 41865 w 63156"/>
                          <a:gd name="connsiteY129" fmla="*/ 6878 h 103825"/>
                          <a:gd name="connsiteX130" fmla="*/ 55501 w 63156"/>
                          <a:gd name="connsiteY130" fmla="*/ 19736 h 103825"/>
                          <a:gd name="connsiteX131" fmla="*/ 55740 w 63156"/>
                          <a:gd name="connsiteY131" fmla="*/ 19617 h 103825"/>
                          <a:gd name="connsiteX132" fmla="*/ 55980 w 63156"/>
                          <a:gd name="connsiteY132" fmla="*/ 19497 h 103825"/>
                          <a:gd name="connsiteX133" fmla="*/ 56219 w 63156"/>
                          <a:gd name="connsiteY133" fmla="*/ 19377 h 103825"/>
                          <a:gd name="connsiteX134" fmla="*/ 56458 w 63156"/>
                          <a:gd name="connsiteY134" fmla="*/ 19258 h 103825"/>
                          <a:gd name="connsiteX135" fmla="*/ 57654 w 63156"/>
                          <a:gd name="connsiteY135" fmla="*/ 16567 h 103825"/>
                          <a:gd name="connsiteX136" fmla="*/ 57355 w 63156"/>
                          <a:gd name="connsiteY136" fmla="*/ 16746 h 103825"/>
                          <a:gd name="connsiteX137" fmla="*/ 57056 w 63156"/>
                          <a:gd name="connsiteY137" fmla="*/ 16926 h 103825"/>
                          <a:gd name="connsiteX138" fmla="*/ 56757 w 63156"/>
                          <a:gd name="connsiteY138" fmla="*/ 17105 h 103825"/>
                          <a:gd name="connsiteX139" fmla="*/ 56458 w 63156"/>
                          <a:gd name="connsiteY139" fmla="*/ 17284 h 103825"/>
                          <a:gd name="connsiteX140" fmla="*/ 55501 w 63156"/>
                          <a:gd name="connsiteY140" fmla="*/ 19736 h 103825"/>
                          <a:gd name="connsiteX141" fmla="*/ 41327 w 63156"/>
                          <a:gd name="connsiteY141" fmla="*/ 9868 h 103825"/>
                          <a:gd name="connsiteX142" fmla="*/ 42463 w 63156"/>
                          <a:gd name="connsiteY142" fmla="*/ 7356 h 103825"/>
                          <a:gd name="connsiteX143" fmla="*/ 42224 w 63156"/>
                          <a:gd name="connsiteY143" fmla="*/ 7536 h 103825"/>
                          <a:gd name="connsiteX144" fmla="*/ 41985 w 63156"/>
                          <a:gd name="connsiteY144" fmla="*/ 7775 h 103825"/>
                          <a:gd name="connsiteX145" fmla="*/ 41746 w 63156"/>
                          <a:gd name="connsiteY145" fmla="*/ 8074 h 103825"/>
                          <a:gd name="connsiteX146" fmla="*/ 41566 w 63156"/>
                          <a:gd name="connsiteY146" fmla="*/ 8373 h 103825"/>
                          <a:gd name="connsiteX147" fmla="*/ 41387 w 63156"/>
                          <a:gd name="connsiteY147" fmla="*/ 8732 h 103825"/>
                          <a:gd name="connsiteX148" fmla="*/ 41267 w 63156"/>
                          <a:gd name="connsiteY148" fmla="*/ 9091 h 103825"/>
                          <a:gd name="connsiteX149" fmla="*/ 41267 w 63156"/>
                          <a:gd name="connsiteY149" fmla="*/ 9450 h 103825"/>
                          <a:gd name="connsiteX150" fmla="*/ 41327 w 63156"/>
                          <a:gd name="connsiteY150" fmla="*/ 9808 h 103825"/>
                          <a:gd name="connsiteX151" fmla="*/ 41327 w 63156"/>
                          <a:gd name="connsiteY151" fmla="*/ 9868 h 103825"/>
                          <a:gd name="connsiteX152" fmla="*/ 40251 w 63156"/>
                          <a:gd name="connsiteY152" fmla="*/ 12260 h 103825"/>
                          <a:gd name="connsiteX153" fmla="*/ 40789 w 63156"/>
                          <a:gd name="connsiteY153" fmla="*/ 11065 h 103825"/>
                          <a:gd name="connsiteX154" fmla="*/ 40669 w 63156"/>
                          <a:gd name="connsiteY154" fmla="*/ 10885 h 103825"/>
                          <a:gd name="connsiteX155" fmla="*/ 40549 w 63156"/>
                          <a:gd name="connsiteY155" fmla="*/ 10705 h 103825"/>
                          <a:gd name="connsiteX156" fmla="*/ 40490 w 63156"/>
                          <a:gd name="connsiteY156" fmla="*/ 10526 h 103825"/>
                          <a:gd name="connsiteX157" fmla="*/ 40430 w 63156"/>
                          <a:gd name="connsiteY157" fmla="*/ 10287 h 103825"/>
                          <a:gd name="connsiteX158" fmla="*/ 40430 w 63156"/>
                          <a:gd name="connsiteY158" fmla="*/ 10227 h 103825"/>
                          <a:gd name="connsiteX159" fmla="*/ 40430 w 63156"/>
                          <a:gd name="connsiteY159" fmla="*/ 10167 h 103825"/>
                          <a:gd name="connsiteX160" fmla="*/ 40430 w 63156"/>
                          <a:gd name="connsiteY160" fmla="*/ 10107 h 103825"/>
                          <a:gd name="connsiteX161" fmla="*/ 40430 w 63156"/>
                          <a:gd name="connsiteY161" fmla="*/ 10048 h 103825"/>
                          <a:gd name="connsiteX162" fmla="*/ 39952 w 63156"/>
                          <a:gd name="connsiteY162" fmla="*/ 11124 h 103825"/>
                          <a:gd name="connsiteX163" fmla="*/ 40011 w 63156"/>
                          <a:gd name="connsiteY163" fmla="*/ 11423 h 103825"/>
                          <a:gd name="connsiteX164" fmla="*/ 40071 w 63156"/>
                          <a:gd name="connsiteY164" fmla="*/ 11662 h 103825"/>
                          <a:gd name="connsiteX165" fmla="*/ 40131 w 63156"/>
                          <a:gd name="connsiteY165" fmla="*/ 11902 h 103825"/>
                          <a:gd name="connsiteX166" fmla="*/ 40251 w 63156"/>
                          <a:gd name="connsiteY166" fmla="*/ 12260 h 103825"/>
                          <a:gd name="connsiteX167" fmla="*/ 38516 w 63156"/>
                          <a:gd name="connsiteY167" fmla="*/ 16208 h 103825"/>
                          <a:gd name="connsiteX168" fmla="*/ 39593 w 63156"/>
                          <a:gd name="connsiteY168" fmla="*/ 13756 h 103825"/>
                          <a:gd name="connsiteX169" fmla="*/ 39473 w 63156"/>
                          <a:gd name="connsiteY169" fmla="*/ 13516 h 103825"/>
                          <a:gd name="connsiteX170" fmla="*/ 39353 w 63156"/>
                          <a:gd name="connsiteY170" fmla="*/ 13277 h 103825"/>
                          <a:gd name="connsiteX171" fmla="*/ 39234 w 63156"/>
                          <a:gd name="connsiteY171" fmla="*/ 13038 h 103825"/>
                          <a:gd name="connsiteX172" fmla="*/ 39114 w 63156"/>
                          <a:gd name="connsiteY172" fmla="*/ 12799 h 103825"/>
                          <a:gd name="connsiteX173" fmla="*/ 37978 w 63156"/>
                          <a:gd name="connsiteY173" fmla="*/ 15370 h 103825"/>
                          <a:gd name="connsiteX174" fmla="*/ 38098 w 63156"/>
                          <a:gd name="connsiteY174" fmla="*/ 15610 h 103825"/>
                          <a:gd name="connsiteX175" fmla="*/ 38217 w 63156"/>
                          <a:gd name="connsiteY175" fmla="*/ 15789 h 103825"/>
                          <a:gd name="connsiteX176" fmla="*/ 38337 w 63156"/>
                          <a:gd name="connsiteY176" fmla="*/ 15968 h 103825"/>
                          <a:gd name="connsiteX177" fmla="*/ 38516 w 63156"/>
                          <a:gd name="connsiteY177" fmla="*/ 16208 h 103825"/>
                          <a:gd name="connsiteX178" fmla="*/ 19976 w 63156"/>
                          <a:gd name="connsiteY178" fmla="*/ 100536 h 103825"/>
                          <a:gd name="connsiteX179" fmla="*/ 56040 w 63156"/>
                          <a:gd name="connsiteY179" fmla="*/ 20335 h 103825"/>
                          <a:gd name="connsiteX180" fmla="*/ 55800 w 63156"/>
                          <a:gd name="connsiteY180" fmla="*/ 20454 h 103825"/>
                          <a:gd name="connsiteX181" fmla="*/ 55561 w 63156"/>
                          <a:gd name="connsiteY181" fmla="*/ 20574 h 103825"/>
                          <a:gd name="connsiteX182" fmla="*/ 55322 w 63156"/>
                          <a:gd name="connsiteY182" fmla="*/ 20693 h 103825"/>
                          <a:gd name="connsiteX183" fmla="*/ 55083 w 63156"/>
                          <a:gd name="connsiteY183" fmla="*/ 20813 h 103825"/>
                          <a:gd name="connsiteX184" fmla="*/ 19557 w 63156"/>
                          <a:gd name="connsiteY184" fmla="*/ 99818 h 103825"/>
                          <a:gd name="connsiteX185" fmla="*/ 19677 w 63156"/>
                          <a:gd name="connsiteY185" fmla="*/ 99998 h 103825"/>
                          <a:gd name="connsiteX186" fmla="*/ 19797 w 63156"/>
                          <a:gd name="connsiteY186" fmla="*/ 100177 h 103825"/>
                          <a:gd name="connsiteX187" fmla="*/ 19916 w 63156"/>
                          <a:gd name="connsiteY187" fmla="*/ 100357 h 103825"/>
                          <a:gd name="connsiteX188" fmla="*/ 19976 w 63156"/>
                          <a:gd name="connsiteY188" fmla="*/ 100536 h 103825"/>
                          <a:gd name="connsiteX189" fmla="*/ 18241 w 63156"/>
                          <a:gd name="connsiteY189" fmla="*/ 103766 h 103825"/>
                          <a:gd name="connsiteX190" fmla="*/ 18481 w 63156"/>
                          <a:gd name="connsiteY190" fmla="*/ 103825 h 103825"/>
                          <a:gd name="connsiteX191" fmla="*/ 19497 w 63156"/>
                          <a:gd name="connsiteY191" fmla="*/ 101612 h 103825"/>
                          <a:gd name="connsiteX192" fmla="*/ 19378 w 63156"/>
                          <a:gd name="connsiteY192" fmla="*/ 101433 h 103825"/>
                          <a:gd name="connsiteX193" fmla="*/ 19258 w 63156"/>
                          <a:gd name="connsiteY193" fmla="*/ 101254 h 103825"/>
                          <a:gd name="connsiteX194" fmla="*/ 19138 w 63156"/>
                          <a:gd name="connsiteY194" fmla="*/ 101074 h 103825"/>
                          <a:gd name="connsiteX195" fmla="*/ 19019 w 63156"/>
                          <a:gd name="connsiteY195" fmla="*/ 100895 h 103825"/>
                          <a:gd name="connsiteX196" fmla="*/ 18122 w 63156"/>
                          <a:gd name="connsiteY196" fmla="*/ 102928 h 103825"/>
                          <a:gd name="connsiteX197" fmla="*/ 17763 w 63156"/>
                          <a:gd name="connsiteY197" fmla="*/ 102868 h 103825"/>
                          <a:gd name="connsiteX198" fmla="*/ 17883 w 63156"/>
                          <a:gd name="connsiteY198" fmla="*/ 103108 h 103825"/>
                          <a:gd name="connsiteX199" fmla="*/ 18002 w 63156"/>
                          <a:gd name="connsiteY199" fmla="*/ 103347 h 103825"/>
                          <a:gd name="connsiteX200" fmla="*/ 18122 w 63156"/>
                          <a:gd name="connsiteY200" fmla="*/ 103586 h 103825"/>
                          <a:gd name="connsiteX201" fmla="*/ 18241 w 63156"/>
                          <a:gd name="connsiteY201" fmla="*/ 103766 h 103825"/>
                          <a:gd name="connsiteX202" fmla="*/ 15072 w 63156"/>
                          <a:gd name="connsiteY202" fmla="*/ 103167 h 103825"/>
                          <a:gd name="connsiteX203" fmla="*/ 16806 w 63156"/>
                          <a:gd name="connsiteY203" fmla="*/ 103466 h 103825"/>
                          <a:gd name="connsiteX204" fmla="*/ 16627 w 63156"/>
                          <a:gd name="connsiteY204" fmla="*/ 103227 h 103825"/>
                          <a:gd name="connsiteX205" fmla="*/ 16447 w 63156"/>
                          <a:gd name="connsiteY205" fmla="*/ 102988 h 103825"/>
                          <a:gd name="connsiteX206" fmla="*/ 16268 w 63156"/>
                          <a:gd name="connsiteY206" fmla="*/ 102749 h 103825"/>
                          <a:gd name="connsiteX207" fmla="*/ 16088 w 63156"/>
                          <a:gd name="connsiteY207" fmla="*/ 102510 h 103825"/>
                          <a:gd name="connsiteX208" fmla="*/ 14773 w 63156"/>
                          <a:gd name="connsiteY208" fmla="*/ 102271 h 103825"/>
                          <a:gd name="connsiteX209" fmla="*/ 14892 w 63156"/>
                          <a:gd name="connsiteY209" fmla="*/ 102510 h 103825"/>
                          <a:gd name="connsiteX210" fmla="*/ 14952 w 63156"/>
                          <a:gd name="connsiteY210" fmla="*/ 102749 h 103825"/>
                          <a:gd name="connsiteX211" fmla="*/ 15012 w 63156"/>
                          <a:gd name="connsiteY211" fmla="*/ 102988 h 103825"/>
                          <a:gd name="connsiteX212" fmla="*/ 15072 w 63156"/>
                          <a:gd name="connsiteY212" fmla="*/ 103167 h 103825"/>
                          <a:gd name="connsiteX213" fmla="*/ 11961 w 63156"/>
                          <a:gd name="connsiteY213" fmla="*/ 102629 h 103825"/>
                          <a:gd name="connsiteX214" fmla="*/ 14115 w 63156"/>
                          <a:gd name="connsiteY214" fmla="*/ 102988 h 103825"/>
                          <a:gd name="connsiteX215" fmla="*/ 14055 w 63156"/>
                          <a:gd name="connsiteY215" fmla="*/ 102868 h 103825"/>
                          <a:gd name="connsiteX216" fmla="*/ 13995 w 63156"/>
                          <a:gd name="connsiteY216" fmla="*/ 102749 h 103825"/>
                          <a:gd name="connsiteX217" fmla="*/ 13935 w 63156"/>
                          <a:gd name="connsiteY217" fmla="*/ 102629 h 103825"/>
                          <a:gd name="connsiteX218" fmla="*/ 13816 w 63156"/>
                          <a:gd name="connsiteY218" fmla="*/ 102510 h 103825"/>
                          <a:gd name="connsiteX219" fmla="*/ 13576 w 63156"/>
                          <a:gd name="connsiteY219" fmla="*/ 102390 h 103825"/>
                          <a:gd name="connsiteX220" fmla="*/ 13277 w 63156"/>
                          <a:gd name="connsiteY220" fmla="*/ 102330 h 103825"/>
                          <a:gd name="connsiteX221" fmla="*/ 12978 w 63156"/>
                          <a:gd name="connsiteY221" fmla="*/ 102330 h 103825"/>
                          <a:gd name="connsiteX222" fmla="*/ 12679 w 63156"/>
                          <a:gd name="connsiteY222" fmla="*/ 102390 h 103825"/>
                          <a:gd name="connsiteX223" fmla="*/ 12500 w 63156"/>
                          <a:gd name="connsiteY223" fmla="*/ 102450 h 103825"/>
                          <a:gd name="connsiteX224" fmla="*/ 12321 w 63156"/>
                          <a:gd name="connsiteY224" fmla="*/ 102510 h 103825"/>
                          <a:gd name="connsiteX225" fmla="*/ 12141 w 63156"/>
                          <a:gd name="connsiteY225" fmla="*/ 102570 h 103825"/>
                          <a:gd name="connsiteX226" fmla="*/ 11961 w 63156"/>
                          <a:gd name="connsiteY226" fmla="*/ 102629 h 103825"/>
                          <a:gd name="connsiteX227" fmla="*/ 1436 w 63156"/>
                          <a:gd name="connsiteY227" fmla="*/ 97247 h 103825"/>
                          <a:gd name="connsiteX228" fmla="*/ 1675 w 63156"/>
                          <a:gd name="connsiteY228" fmla="*/ 97127 h 103825"/>
                          <a:gd name="connsiteX229" fmla="*/ 1914 w 63156"/>
                          <a:gd name="connsiteY229" fmla="*/ 97007 h 103825"/>
                          <a:gd name="connsiteX230" fmla="*/ 2153 w 63156"/>
                          <a:gd name="connsiteY230" fmla="*/ 96888 h 103825"/>
                          <a:gd name="connsiteX231" fmla="*/ 2392 w 63156"/>
                          <a:gd name="connsiteY231" fmla="*/ 96768 h 103825"/>
                          <a:gd name="connsiteX232" fmla="*/ 37918 w 63156"/>
                          <a:gd name="connsiteY232" fmla="*/ 17225 h 103825"/>
                          <a:gd name="connsiteX233" fmla="*/ 37798 w 63156"/>
                          <a:gd name="connsiteY233" fmla="*/ 17045 h 103825"/>
                          <a:gd name="connsiteX234" fmla="*/ 37679 w 63156"/>
                          <a:gd name="connsiteY234" fmla="*/ 16866 h 103825"/>
                          <a:gd name="connsiteX235" fmla="*/ 37559 w 63156"/>
                          <a:gd name="connsiteY235" fmla="*/ 16686 h 103825"/>
                          <a:gd name="connsiteX236" fmla="*/ 37439 w 63156"/>
                          <a:gd name="connsiteY236" fmla="*/ 16507 h 103825"/>
                          <a:gd name="connsiteX237" fmla="*/ 1436 w 63156"/>
                          <a:gd name="connsiteY237" fmla="*/ 97247 h 103825"/>
                          <a:gd name="connsiteX238" fmla="*/ 4665 w 63156"/>
                          <a:gd name="connsiteY238" fmla="*/ 101313 h 103825"/>
                          <a:gd name="connsiteX239" fmla="*/ 4904 w 63156"/>
                          <a:gd name="connsiteY239" fmla="*/ 101373 h 103825"/>
                          <a:gd name="connsiteX240" fmla="*/ 5024 w 63156"/>
                          <a:gd name="connsiteY240" fmla="*/ 101134 h 103825"/>
                          <a:gd name="connsiteX241" fmla="*/ 4964 w 63156"/>
                          <a:gd name="connsiteY241" fmla="*/ 101194 h 103825"/>
                          <a:gd name="connsiteX242" fmla="*/ 4904 w 63156"/>
                          <a:gd name="connsiteY242" fmla="*/ 101254 h 103825"/>
                          <a:gd name="connsiteX243" fmla="*/ 4845 w 63156"/>
                          <a:gd name="connsiteY243" fmla="*/ 101313 h 103825"/>
                          <a:gd name="connsiteX244" fmla="*/ 4665 w 63156"/>
                          <a:gd name="connsiteY244" fmla="*/ 101313 h 103825"/>
                          <a:gd name="connsiteX245" fmla="*/ 1854 w 63156"/>
                          <a:gd name="connsiteY245" fmla="*/ 100835 h 103825"/>
                          <a:gd name="connsiteX246" fmla="*/ 3768 w 63156"/>
                          <a:gd name="connsiteY246" fmla="*/ 101194 h 103825"/>
                          <a:gd name="connsiteX247" fmla="*/ 4007 w 63156"/>
                          <a:gd name="connsiteY247" fmla="*/ 100955 h 103825"/>
                          <a:gd name="connsiteX248" fmla="*/ 4246 w 63156"/>
                          <a:gd name="connsiteY248" fmla="*/ 100775 h 103825"/>
                          <a:gd name="connsiteX249" fmla="*/ 4486 w 63156"/>
                          <a:gd name="connsiteY249" fmla="*/ 100596 h 103825"/>
                          <a:gd name="connsiteX250" fmla="*/ 4725 w 63156"/>
                          <a:gd name="connsiteY250" fmla="*/ 100416 h 103825"/>
                          <a:gd name="connsiteX251" fmla="*/ 3290 w 63156"/>
                          <a:gd name="connsiteY251" fmla="*/ 100177 h 103825"/>
                          <a:gd name="connsiteX252" fmla="*/ 2931 w 63156"/>
                          <a:gd name="connsiteY252" fmla="*/ 100357 h 103825"/>
                          <a:gd name="connsiteX253" fmla="*/ 2572 w 63156"/>
                          <a:gd name="connsiteY253" fmla="*/ 100536 h 103825"/>
                          <a:gd name="connsiteX254" fmla="*/ 2213 w 63156"/>
                          <a:gd name="connsiteY254" fmla="*/ 100716 h 103825"/>
                          <a:gd name="connsiteX255" fmla="*/ 1854 w 63156"/>
                          <a:gd name="connsiteY255" fmla="*/ 100835 h 103825"/>
                          <a:gd name="connsiteX256" fmla="*/ 0 w 63156"/>
                          <a:gd name="connsiteY256" fmla="*/ 100476 h 103825"/>
                          <a:gd name="connsiteX257" fmla="*/ 419 w 63156"/>
                          <a:gd name="connsiteY257" fmla="*/ 100536 h 103825"/>
                          <a:gd name="connsiteX258" fmla="*/ 718 w 63156"/>
                          <a:gd name="connsiteY258" fmla="*/ 100357 h 103825"/>
                          <a:gd name="connsiteX259" fmla="*/ 1017 w 63156"/>
                          <a:gd name="connsiteY259" fmla="*/ 100177 h 103825"/>
                          <a:gd name="connsiteX260" fmla="*/ 1316 w 63156"/>
                          <a:gd name="connsiteY260" fmla="*/ 99998 h 103825"/>
                          <a:gd name="connsiteX261" fmla="*/ 1615 w 63156"/>
                          <a:gd name="connsiteY261" fmla="*/ 99818 h 103825"/>
                          <a:gd name="connsiteX262" fmla="*/ 1077 w 63156"/>
                          <a:gd name="connsiteY262" fmla="*/ 99699 h 103825"/>
                          <a:gd name="connsiteX263" fmla="*/ 1914 w 63156"/>
                          <a:gd name="connsiteY263" fmla="*/ 97785 h 103825"/>
                          <a:gd name="connsiteX264" fmla="*/ 1675 w 63156"/>
                          <a:gd name="connsiteY264" fmla="*/ 97904 h 103825"/>
                          <a:gd name="connsiteX265" fmla="*/ 1436 w 63156"/>
                          <a:gd name="connsiteY265" fmla="*/ 98024 h 103825"/>
                          <a:gd name="connsiteX266" fmla="*/ 1196 w 63156"/>
                          <a:gd name="connsiteY266" fmla="*/ 98144 h 103825"/>
                          <a:gd name="connsiteX267" fmla="*/ 957 w 63156"/>
                          <a:gd name="connsiteY267" fmla="*/ 98263 h 103825"/>
                          <a:gd name="connsiteX268" fmla="*/ 239 w 63156"/>
                          <a:gd name="connsiteY268" fmla="*/ 99938 h 103825"/>
                          <a:gd name="connsiteX269" fmla="*/ 0 w 63156"/>
                          <a:gd name="connsiteY269" fmla="*/ 100476 h 10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63156" h="103825">
                            <a:moveTo>
                              <a:pt x="59987" y="4545"/>
                            </a:moveTo>
                            <a:lnTo>
                              <a:pt x="60824" y="4725"/>
                            </a:lnTo>
                            <a:cubicBezTo>
                              <a:pt x="60884" y="4665"/>
                              <a:pt x="60944" y="4545"/>
                              <a:pt x="61003" y="4486"/>
                            </a:cubicBezTo>
                            <a:cubicBezTo>
                              <a:pt x="61063" y="4426"/>
                              <a:pt x="61123" y="4366"/>
                              <a:pt x="61243" y="4306"/>
                            </a:cubicBezTo>
                            <a:cubicBezTo>
                              <a:pt x="61302" y="4246"/>
                              <a:pt x="61422" y="4187"/>
                              <a:pt x="61482" y="4127"/>
                            </a:cubicBezTo>
                            <a:cubicBezTo>
                              <a:pt x="61542" y="4067"/>
                              <a:pt x="61662" y="4007"/>
                              <a:pt x="61721" y="3947"/>
                            </a:cubicBezTo>
                            <a:lnTo>
                              <a:pt x="60346" y="3648"/>
                            </a:lnTo>
                            <a:cubicBezTo>
                              <a:pt x="60346" y="3708"/>
                              <a:pt x="60286" y="3828"/>
                              <a:pt x="60286" y="3888"/>
                            </a:cubicBezTo>
                            <a:cubicBezTo>
                              <a:pt x="60286" y="3947"/>
                              <a:pt x="60226" y="4067"/>
                              <a:pt x="60226" y="4127"/>
                            </a:cubicBezTo>
                            <a:cubicBezTo>
                              <a:pt x="60226" y="4187"/>
                              <a:pt x="60166" y="4306"/>
                              <a:pt x="60107" y="4366"/>
                            </a:cubicBezTo>
                            <a:cubicBezTo>
                              <a:pt x="60047" y="4366"/>
                              <a:pt x="60047" y="4486"/>
                              <a:pt x="59987" y="4545"/>
                            </a:cubicBezTo>
                            <a:moveTo>
                              <a:pt x="57774" y="4007"/>
                            </a:moveTo>
                            <a:lnTo>
                              <a:pt x="59090" y="4306"/>
                            </a:lnTo>
                            <a:cubicBezTo>
                              <a:pt x="59149" y="4246"/>
                              <a:pt x="59149" y="4127"/>
                              <a:pt x="59209" y="4067"/>
                            </a:cubicBezTo>
                            <a:cubicBezTo>
                              <a:pt x="59269" y="4007"/>
                              <a:pt x="59269" y="3888"/>
                              <a:pt x="59269" y="3828"/>
                            </a:cubicBezTo>
                            <a:cubicBezTo>
                              <a:pt x="59269" y="3768"/>
                              <a:pt x="59329" y="3648"/>
                              <a:pt x="59329" y="3589"/>
                            </a:cubicBezTo>
                            <a:cubicBezTo>
                              <a:pt x="59329" y="3529"/>
                              <a:pt x="59389" y="3409"/>
                              <a:pt x="59389" y="3349"/>
                            </a:cubicBezTo>
                            <a:lnTo>
                              <a:pt x="58073" y="3050"/>
                            </a:lnTo>
                            <a:cubicBezTo>
                              <a:pt x="58073" y="3110"/>
                              <a:pt x="58013" y="3229"/>
                              <a:pt x="58013" y="3289"/>
                            </a:cubicBezTo>
                            <a:cubicBezTo>
                              <a:pt x="58013" y="3349"/>
                              <a:pt x="57953" y="3469"/>
                              <a:pt x="57953" y="3529"/>
                            </a:cubicBezTo>
                            <a:cubicBezTo>
                              <a:pt x="57953" y="3589"/>
                              <a:pt x="57894" y="3708"/>
                              <a:pt x="57894" y="3768"/>
                            </a:cubicBezTo>
                            <a:cubicBezTo>
                              <a:pt x="57834" y="3888"/>
                              <a:pt x="57774" y="3947"/>
                              <a:pt x="57774" y="4007"/>
                            </a:cubicBezTo>
                            <a:moveTo>
                              <a:pt x="61123" y="7895"/>
                            </a:moveTo>
                            <a:lnTo>
                              <a:pt x="61482" y="8074"/>
                            </a:lnTo>
                            <a:cubicBezTo>
                              <a:pt x="61482" y="8074"/>
                              <a:pt x="61482" y="8074"/>
                              <a:pt x="61482" y="8074"/>
                            </a:cubicBezTo>
                            <a:cubicBezTo>
                              <a:pt x="61482" y="8074"/>
                              <a:pt x="61482" y="8074"/>
                              <a:pt x="61482" y="8074"/>
                            </a:cubicBezTo>
                            <a:cubicBezTo>
                              <a:pt x="61482" y="8074"/>
                              <a:pt x="61482" y="8074"/>
                              <a:pt x="61482" y="8074"/>
                            </a:cubicBezTo>
                            <a:cubicBezTo>
                              <a:pt x="61482" y="8074"/>
                              <a:pt x="61482" y="8074"/>
                              <a:pt x="61482" y="8074"/>
                            </a:cubicBezTo>
                            <a:lnTo>
                              <a:pt x="62977" y="4725"/>
                            </a:lnTo>
                            <a:lnTo>
                              <a:pt x="63157" y="4366"/>
                            </a:lnTo>
                            <a:cubicBezTo>
                              <a:pt x="63037" y="4366"/>
                              <a:pt x="62977" y="4366"/>
                              <a:pt x="62857" y="4366"/>
                            </a:cubicBezTo>
                            <a:cubicBezTo>
                              <a:pt x="62738" y="4366"/>
                              <a:pt x="62678" y="4366"/>
                              <a:pt x="62558" y="4366"/>
                            </a:cubicBezTo>
                            <a:cubicBezTo>
                              <a:pt x="62439" y="4366"/>
                              <a:pt x="62379" y="4426"/>
                              <a:pt x="62260" y="4426"/>
                            </a:cubicBezTo>
                            <a:cubicBezTo>
                              <a:pt x="62140" y="4426"/>
                              <a:pt x="62080" y="4486"/>
                              <a:pt x="61961" y="4545"/>
                            </a:cubicBezTo>
                            <a:cubicBezTo>
                              <a:pt x="61901" y="4545"/>
                              <a:pt x="61901" y="4605"/>
                              <a:pt x="61841" y="4605"/>
                            </a:cubicBezTo>
                            <a:cubicBezTo>
                              <a:pt x="61781" y="4605"/>
                              <a:pt x="61781" y="4665"/>
                              <a:pt x="61721" y="4665"/>
                            </a:cubicBezTo>
                            <a:cubicBezTo>
                              <a:pt x="61662" y="4665"/>
                              <a:pt x="61662" y="4725"/>
                              <a:pt x="61602" y="4725"/>
                            </a:cubicBezTo>
                            <a:cubicBezTo>
                              <a:pt x="61542" y="4725"/>
                              <a:pt x="61542" y="4785"/>
                              <a:pt x="61482" y="4785"/>
                            </a:cubicBezTo>
                            <a:lnTo>
                              <a:pt x="61961" y="4904"/>
                            </a:lnTo>
                            <a:lnTo>
                              <a:pt x="60764" y="7476"/>
                            </a:lnTo>
                            <a:lnTo>
                              <a:pt x="61123" y="7895"/>
                            </a:lnTo>
                            <a:moveTo>
                              <a:pt x="51434" y="1555"/>
                            </a:moveTo>
                            <a:lnTo>
                              <a:pt x="56578" y="2751"/>
                            </a:lnTo>
                            <a:lnTo>
                              <a:pt x="56399" y="3170"/>
                            </a:lnTo>
                            <a:lnTo>
                              <a:pt x="56219" y="3648"/>
                            </a:lnTo>
                            <a:lnTo>
                              <a:pt x="56817" y="3768"/>
                            </a:lnTo>
                            <a:cubicBezTo>
                              <a:pt x="56877" y="3708"/>
                              <a:pt x="56877" y="3589"/>
                              <a:pt x="56937" y="3529"/>
                            </a:cubicBezTo>
                            <a:cubicBezTo>
                              <a:pt x="56937" y="3469"/>
                              <a:pt x="56996" y="3349"/>
                              <a:pt x="56996" y="3289"/>
                            </a:cubicBezTo>
                            <a:cubicBezTo>
                              <a:pt x="56996" y="3229"/>
                              <a:pt x="57056" y="3110"/>
                              <a:pt x="57056" y="3050"/>
                            </a:cubicBezTo>
                            <a:cubicBezTo>
                              <a:pt x="57056" y="2990"/>
                              <a:pt x="57116" y="2871"/>
                              <a:pt x="57116" y="2811"/>
                            </a:cubicBezTo>
                            <a:lnTo>
                              <a:pt x="51434" y="1555"/>
                            </a:lnTo>
                            <a:moveTo>
                              <a:pt x="48025" y="1734"/>
                            </a:moveTo>
                            <a:lnTo>
                              <a:pt x="49341" y="2034"/>
                            </a:lnTo>
                            <a:lnTo>
                              <a:pt x="49760" y="1136"/>
                            </a:lnTo>
                            <a:lnTo>
                              <a:pt x="48564" y="837"/>
                            </a:lnTo>
                            <a:cubicBezTo>
                              <a:pt x="48564" y="897"/>
                              <a:pt x="48504" y="897"/>
                              <a:pt x="48504" y="957"/>
                            </a:cubicBezTo>
                            <a:cubicBezTo>
                              <a:pt x="48504" y="1017"/>
                              <a:pt x="48444" y="1017"/>
                              <a:pt x="48444" y="1076"/>
                            </a:cubicBezTo>
                            <a:cubicBezTo>
                              <a:pt x="48444" y="1136"/>
                              <a:pt x="48384" y="1136"/>
                              <a:pt x="48384" y="1196"/>
                            </a:cubicBezTo>
                            <a:cubicBezTo>
                              <a:pt x="48384" y="1256"/>
                              <a:pt x="48324" y="1256"/>
                              <a:pt x="48324" y="1316"/>
                            </a:cubicBezTo>
                            <a:cubicBezTo>
                              <a:pt x="48324" y="1375"/>
                              <a:pt x="48264" y="1375"/>
                              <a:pt x="48264" y="1435"/>
                            </a:cubicBezTo>
                            <a:cubicBezTo>
                              <a:pt x="48264" y="1495"/>
                              <a:pt x="48205" y="1495"/>
                              <a:pt x="48205" y="1555"/>
                            </a:cubicBezTo>
                            <a:cubicBezTo>
                              <a:pt x="48205" y="1615"/>
                              <a:pt x="48145" y="1615"/>
                              <a:pt x="48145" y="1675"/>
                            </a:cubicBezTo>
                            <a:cubicBezTo>
                              <a:pt x="48085" y="1675"/>
                              <a:pt x="48085" y="1734"/>
                              <a:pt x="48025" y="1734"/>
                            </a:cubicBezTo>
                            <a:moveTo>
                              <a:pt x="46291" y="1375"/>
                            </a:moveTo>
                            <a:lnTo>
                              <a:pt x="47128" y="1555"/>
                            </a:lnTo>
                            <a:cubicBezTo>
                              <a:pt x="47128" y="1495"/>
                              <a:pt x="47188" y="1495"/>
                              <a:pt x="47188" y="1435"/>
                            </a:cubicBezTo>
                            <a:cubicBezTo>
                              <a:pt x="47188" y="1375"/>
                              <a:pt x="47248" y="1375"/>
                              <a:pt x="47248" y="1316"/>
                            </a:cubicBezTo>
                            <a:cubicBezTo>
                              <a:pt x="47248" y="1256"/>
                              <a:pt x="47308" y="1256"/>
                              <a:pt x="47308" y="1196"/>
                            </a:cubicBezTo>
                            <a:cubicBezTo>
                              <a:pt x="47308" y="1136"/>
                              <a:pt x="47368" y="1136"/>
                              <a:pt x="47368" y="1076"/>
                            </a:cubicBezTo>
                            <a:cubicBezTo>
                              <a:pt x="47368" y="1017"/>
                              <a:pt x="47427" y="1017"/>
                              <a:pt x="47427" y="957"/>
                            </a:cubicBezTo>
                            <a:cubicBezTo>
                              <a:pt x="47427" y="897"/>
                              <a:pt x="47487" y="897"/>
                              <a:pt x="47487" y="837"/>
                            </a:cubicBezTo>
                            <a:cubicBezTo>
                              <a:pt x="47487" y="778"/>
                              <a:pt x="47547" y="778"/>
                              <a:pt x="47547" y="718"/>
                            </a:cubicBezTo>
                            <a:cubicBezTo>
                              <a:pt x="47547" y="658"/>
                              <a:pt x="47607" y="658"/>
                              <a:pt x="47607" y="598"/>
                            </a:cubicBezTo>
                            <a:lnTo>
                              <a:pt x="46829" y="419"/>
                            </a:lnTo>
                            <a:cubicBezTo>
                              <a:pt x="46829" y="419"/>
                              <a:pt x="46829" y="479"/>
                              <a:pt x="46829" y="479"/>
                            </a:cubicBezTo>
                            <a:cubicBezTo>
                              <a:pt x="46829" y="479"/>
                              <a:pt x="46829" y="538"/>
                              <a:pt x="46829" y="538"/>
                            </a:cubicBezTo>
                            <a:cubicBezTo>
                              <a:pt x="46829" y="538"/>
                              <a:pt x="46829" y="598"/>
                              <a:pt x="46829" y="598"/>
                            </a:cubicBezTo>
                            <a:cubicBezTo>
                              <a:pt x="46829" y="598"/>
                              <a:pt x="46829" y="658"/>
                              <a:pt x="46769" y="658"/>
                            </a:cubicBezTo>
                            <a:cubicBezTo>
                              <a:pt x="46710" y="718"/>
                              <a:pt x="46710" y="778"/>
                              <a:pt x="46650" y="837"/>
                            </a:cubicBezTo>
                            <a:cubicBezTo>
                              <a:pt x="46590" y="897"/>
                              <a:pt x="46590" y="957"/>
                              <a:pt x="46530" y="1017"/>
                            </a:cubicBezTo>
                            <a:cubicBezTo>
                              <a:pt x="46470" y="1076"/>
                              <a:pt x="46470" y="1136"/>
                              <a:pt x="46410" y="1196"/>
                            </a:cubicBezTo>
                            <a:cubicBezTo>
                              <a:pt x="46351" y="1256"/>
                              <a:pt x="46351" y="1316"/>
                              <a:pt x="46291" y="1375"/>
                            </a:cubicBezTo>
                            <a:moveTo>
                              <a:pt x="44078" y="1854"/>
                            </a:moveTo>
                            <a:cubicBezTo>
                              <a:pt x="44138" y="1854"/>
                              <a:pt x="44257" y="1854"/>
                              <a:pt x="44317" y="1854"/>
                            </a:cubicBezTo>
                            <a:cubicBezTo>
                              <a:pt x="44377" y="1854"/>
                              <a:pt x="44497" y="1794"/>
                              <a:pt x="44556" y="1794"/>
                            </a:cubicBezTo>
                            <a:cubicBezTo>
                              <a:pt x="44616" y="1794"/>
                              <a:pt x="44736" y="1734"/>
                              <a:pt x="44796" y="1675"/>
                            </a:cubicBezTo>
                            <a:cubicBezTo>
                              <a:pt x="44855" y="1615"/>
                              <a:pt x="44975" y="1615"/>
                              <a:pt x="45035" y="1555"/>
                            </a:cubicBezTo>
                            <a:lnTo>
                              <a:pt x="45215" y="1136"/>
                            </a:lnTo>
                            <a:lnTo>
                              <a:pt x="45514" y="1196"/>
                            </a:lnTo>
                            <a:cubicBezTo>
                              <a:pt x="45573" y="1136"/>
                              <a:pt x="45633" y="1076"/>
                              <a:pt x="45633" y="1017"/>
                            </a:cubicBezTo>
                            <a:cubicBezTo>
                              <a:pt x="45693" y="957"/>
                              <a:pt x="45753" y="897"/>
                              <a:pt x="45753" y="837"/>
                            </a:cubicBezTo>
                            <a:cubicBezTo>
                              <a:pt x="45813" y="778"/>
                              <a:pt x="45813" y="718"/>
                              <a:pt x="45872" y="658"/>
                            </a:cubicBezTo>
                            <a:cubicBezTo>
                              <a:pt x="45932" y="598"/>
                              <a:pt x="45932" y="538"/>
                              <a:pt x="45992" y="479"/>
                            </a:cubicBezTo>
                            <a:cubicBezTo>
                              <a:pt x="45992" y="479"/>
                              <a:pt x="45992" y="479"/>
                              <a:pt x="45992" y="419"/>
                            </a:cubicBezTo>
                            <a:cubicBezTo>
                              <a:pt x="45992" y="419"/>
                              <a:pt x="45992" y="419"/>
                              <a:pt x="45992" y="359"/>
                            </a:cubicBezTo>
                            <a:cubicBezTo>
                              <a:pt x="45992" y="299"/>
                              <a:pt x="45992" y="359"/>
                              <a:pt x="45992" y="299"/>
                            </a:cubicBezTo>
                            <a:cubicBezTo>
                              <a:pt x="45992" y="239"/>
                              <a:pt x="45992" y="299"/>
                              <a:pt x="45992" y="239"/>
                            </a:cubicBezTo>
                            <a:lnTo>
                              <a:pt x="45155" y="60"/>
                            </a:lnTo>
                            <a:lnTo>
                              <a:pt x="44796" y="0"/>
                            </a:lnTo>
                            <a:lnTo>
                              <a:pt x="44078" y="1854"/>
                            </a:lnTo>
                            <a:moveTo>
                              <a:pt x="57355" y="15669"/>
                            </a:moveTo>
                            <a:cubicBezTo>
                              <a:pt x="57475" y="15610"/>
                              <a:pt x="57535" y="15550"/>
                              <a:pt x="57654" y="15490"/>
                            </a:cubicBezTo>
                            <a:cubicBezTo>
                              <a:pt x="57774" y="15430"/>
                              <a:pt x="57834" y="15370"/>
                              <a:pt x="57953" y="15311"/>
                            </a:cubicBezTo>
                            <a:cubicBezTo>
                              <a:pt x="58073" y="15251"/>
                              <a:pt x="58133" y="15191"/>
                              <a:pt x="58253" y="15131"/>
                            </a:cubicBezTo>
                            <a:cubicBezTo>
                              <a:pt x="58372" y="15072"/>
                              <a:pt x="58432" y="15012"/>
                              <a:pt x="58552" y="14952"/>
                            </a:cubicBezTo>
                            <a:lnTo>
                              <a:pt x="61183" y="9091"/>
                            </a:lnTo>
                            <a:cubicBezTo>
                              <a:pt x="61183" y="9091"/>
                              <a:pt x="61183" y="9091"/>
                              <a:pt x="61123" y="9091"/>
                            </a:cubicBezTo>
                            <a:cubicBezTo>
                              <a:pt x="61123" y="9091"/>
                              <a:pt x="61123" y="9091"/>
                              <a:pt x="61063" y="9091"/>
                            </a:cubicBezTo>
                            <a:cubicBezTo>
                              <a:pt x="61063" y="9091"/>
                              <a:pt x="61063" y="9091"/>
                              <a:pt x="61003" y="9091"/>
                            </a:cubicBezTo>
                            <a:cubicBezTo>
                              <a:pt x="61003" y="9091"/>
                              <a:pt x="61003" y="9091"/>
                              <a:pt x="60944" y="9091"/>
                            </a:cubicBezTo>
                            <a:cubicBezTo>
                              <a:pt x="60884" y="9091"/>
                              <a:pt x="60824" y="9031"/>
                              <a:pt x="60824" y="9031"/>
                            </a:cubicBezTo>
                            <a:cubicBezTo>
                              <a:pt x="60824" y="9031"/>
                              <a:pt x="60704" y="8971"/>
                              <a:pt x="60704" y="8971"/>
                            </a:cubicBezTo>
                            <a:cubicBezTo>
                              <a:pt x="60645" y="8971"/>
                              <a:pt x="60645" y="8911"/>
                              <a:pt x="60585" y="8911"/>
                            </a:cubicBezTo>
                            <a:cubicBezTo>
                              <a:pt x="60525" y="8911"/>
                              <a:pt x="60525" y="8851"/>
                              <a:pt x="60465" y="8851"/>
                            </a:cubicBezTo>
                            <a:lnTo>
                              <a:pt x="57355" y="15669"/>
                            </a:lnTo>
                            <a:moveTo>
                              <a:pt x="41865" y="6878"/>
                            </a:moveTo>
                            <a:cubicBezTo>
                              <a:pt x="41925" y="6818"/>
                              <a:pt x="41985" y="6818"/>
                              <a:pt x="41985" y="6758"/>
                            </a:cubicBezTo>
                            <a:cubicBezTo>
                              <a:pt x="42045" y="6698"/>
                              <a:pt x="42105" y="6698"/>
                              <a:pt x="42105" y="6639"/>
                            </a:cubicBezTo>
                            <a:cubicBezTo>
                              <a:pt x="42164" y="6579"/>
                              <a:pt x="42224" y="6579"/>
                              <a:pt x="42284" y="6519"/>
                            </a:cubicBezTo>
                            <a:cubicBezTo>
                              <a:pt x="42344" y="6459"/>
                              <a:pt x="42403" y="6459"/>
                              <a:pt x="42463" y="6399"/>
                            </a:cubicBezTo>
                            <a:cubicBezTo>
                              <a:pt x="42523" y="6399"/>
                              <a:pt x="42523" y="6340"/>
                              <a:pt x="42583" y="6340"/>
                            </a:cubicBezTo>
                            <a:cubicBezTo>
                              <a:pt x="42643" y="6340"/>
                              <a:pt x="42643" y="6280"/>
                              <a:pt x="42702" y="6280"/>
                            </a:cubicBezTo>
                            <a:cubicBezTo>
                              <a:pt x="42762" y="6280"/>
                              <a:pt x="42762" y="6220"/>
                              <a:pt x="42822" y="6220"/>
                            </a:cubicBezTo>
                            <a:cubicBezTo>
                              <a:pt x="42882" y="6220"/>
                              <a:pt x="42882" y="6160"/>
                              <a:pt x="42942" y="6160"/>
                            </a:cubicBezTo>
                            <a:lnTo>
                              <a:pt x="44556" y="2572"/>
                            </a:lnTo>
                            <a:cubicBezTo>
                              <a:pt x="44497" y="2572"/>
                              <a:pt x="44437" y="2632"/>
                              <a:pt x="44317" y="2632"/>
                            </a:cubicBezTo>
                            <a:cubicBezTo>
                              <a:pt x="44198" y="2632"/>
                              <a:pt x="44198" y="2691"/>
                              <a:pt x="44078" y="2691"/>
                            </a:cubicBezTo>
                            <a:cubicBezTo>
                              <a:pt x="44018" y="2691"/>
                              <a:pt x="43959" y="2691"/>
                              <a:pt x="43839" y="2691"/>
                            </a:cubicBezTo>
                            <a:cubicBezTo>
                              <a:pt x="43779" y="2691"/>
                              <a:pt x="43719" y="2691"/>
                              <a:pt x="43600" y="2691"/>
                            </a:cubicBezTo>
                            <a:lnTo>
                              <a:pt x="41865" y="6878"/>
                            </a:lnTo>
                            <a:moveTo>
                              <a:pt x="55501" y="19736"/>
                            </a:moveTo>
                            <a:cubicBezTo>
                              <a:pt x="55561" y="19676"/>
                              <a:pt x="55681" y="19676"/>
                              <a:pt x="55740" y="19617"/>
                            </a:cubicBezTo>
                            <a:cubicBezTo>
                              <a:pt x="55800" y="19557"/>
                              <a:pt x="55920" y="19557"/>
                              <a:pt x="55980" y="19497"/>
                            </a:cubicBezTo>
                            <a:cubicBezTo>
                              <a:pt x="56040" y="19437"/>
                              <a:pt x="56159" y="19437"/>
                              <a:pt x="56219" y="19377"/>
                            </a:cubicBezTo>
                            <a:cubicBezTo>
                              <a:pt x="56279" y="19318"/>
                              <a:pt x="56399" y="19258"/>
                              <a:pt x="56458" y="19258"/>
                            </a:cubicBezTo>
                            <a:lnTo>
                              <a:pt x="57654" y="16567"/>
                            </a:lnTo>
                            <a:cubicBezTo>
                              <a:pt x="57535" y="16627"/>
                              <a:pt x="57475" y="16686"/>
                              <a:pt x="57355" y="16746"/>
                            </a:cubicBezTo>
                            <a:cubicBezTo>
                              <a:pt x="57236" y="16806"/>
                              <a:pt x="57176" y="16866"/>
                              <a:pt x="57056" y="16926"/>
                            </a:cubicBezTo>
                            <a:cubicBezTo>
                              <a:pt x="56937" y="16985"/>
                              <a:pt x="56877" y="17045"/>
                              <a:pt x="56757" y="17105"/>
                            </a:cubicBezTo>
                            <a:cubicBezTo>
                              <a:pt x="56638" y="17165"/>
                              <a:pt x="56578" y="17225"/>
                              <a:pt x="56458" y="17284"/>
                            </a:cubicBezTo>
                            <a:lnTo>
                              <a:pt x="55501" y="19736"/>
                            </a:lnTo>
                            <a:moveTo>
                              <a:pt x="41327" y="9868"/>
                            </a:moveTo>
                            <a:lnTo>
                              <a:pt x="42463" y="7356"/>
                            </a:lnTo>
                            <a:cubicBezTo>
                              <a:pt x="42344" y="7416"/>
                              <a:pt x="42284" y="7476"/>
                              <a:pt x="42224" y="7536"/>
                            </a:cubicBezTo>
                            <a:cubicBezTo>
                              <a:pt x="42164" y="7596"/>
                              <a:pt x="42045" y="7715"/>
                              <a:pt x="41985" y="7775"/>
                            </a:cubicBezTo>
                            <a:cubicBezTo>
                              <a:pt x="41925" y="7895"/>
                              <a:pt x="41806" y="7954"/>
                              <a:pt x="41746" y="8074"/>
                            </a:cubicBezTo>
                            <a:cubicBezTo>
                              <a:pt x="41686" y="8194"/>
                              <a:pt x="41626" y="8253"/>
                              <a:pt x="41566" y="8373"/>
                            </a:cubicBezTo>
                            <a:cubicBezTo>
                              <a:pt x="41506" y="8493"/>
                              <a:pt x="41447" y="8612"/>
                              <a:pt x="41387" y="8732"/>
                            </a:cubicBezTo>
                            <a:cubicBezTo>
                              <a:pt x="41327" y="8851"/>
                              <a:pt x="41327" y="8971"/>
                              <a:pt x="41267" y="9091"/>
                            </a:cubicBezTo>
                            <a:cubicBezTo>
                              <a:pt x="41267" y="9210"/>
                              <a:pt x="41207" y="9330"/>
                              <a:pt x="41267" y="9450"/>
                            </a:cubicBezTo>
                            <a:cubicBezTo>
                              <a:pt x="41267" y="9569"/>
                              <a:pt x="41267" y="9689"/>
                              <a:pt x="41327" y="9808"/>
                            </a:cubicBezTo>
                            <a:lnTo>
                              <a:pt x="41327" y="9868"/>
                            </a:lnTo>
                            <a:moveTo>
                              <a:pt x="40251" y="12260"/>
                            </a:moveTo>
                            <a:lnTo>
                              <a:pt x="40789" y="11065"/>
                            </a:lnTo>
                            <a:cubicBezTo>
                              <a:pt x="40729" y="11005"/>
                              <a:pt x="40729" y="10945"/>
                              <a:pt x="40669" y="10885"/>
                            </a:cubicBezTo>
                            <a:cubicBezTo>
                              <a:pt x="40609" y="10825"/>
                              <a:pt x="40609" y="10765"/>
                              <a:pt x="40549" y="10705"/>
                            </a:cubicBezTo>
                            <a:cubicBezTo>
                              <a:pt x="40549" y="10646"/>
                              <a:pt x="40490" y="10586"/>
                              <a:pt x="40490" y="10526"/>
                            </a:cubicBezTo>
                            <a:cubicBezTo>
                              <a:pt x="40490" y="10466"/>
                              <a:pt x="40430" y="10406"/>
                              <a:pt x="40430" y="10287"/>
                            </a:cubicBezTo>
                            <a:cubicBezTo>
                              <a:pt x="40430" y="10287"/>
                              <a:pt x="40430" y="10227"/>
                              <a:pt x="40430" y="10227"/>
                            </a:cubicBezTo>
                            <a:cubicBezTo>
                              <a:pt x="40430" y="10227"/>
                              <a:pt x="40430" y="10167"/>
                              <a:pt x="40430" y="10167"/>
                            </a:cubicBezTo>
                            <a:cubicBezTo>
                              <a:pt x="40430" y="10167"/>
                              <a:pt x="40430" y="10107"/>
                              <a:pt x="40430" y="10107"/>
                            </a:cubicBezTo>
                            <a:cubicBezTo>
                              <a:pt x="40430" y="10107"/>
                              <a:pt x="40430" y="10048"/>
                              <a:pt x="40430" y="10048"/>
                            </a:cubicBezTo>
                            <a:lnTo>
                              <a:pt x="39952" y="11124"/>
                            </a:lnTo>
                            <a:cubicBezTo>
                              <a:pt x="39952" y="11244"/>
                              <a:pt x="40011" y="11304"/>
                              <a:pt x="40011" y="11423"/>
                            </a:cubicBezTo>
                            <a:cubicBezTo>
                              <a:pt x="40011" y="11543"/>
                              <a:pt x="40071" y="11603"/>
                              <a:pt x="40071" y="11662"/>
                            </a:cubicBezTo>
                            <a:cubicBezTo>
                              <a:pt x="40071" y="11722"/>
                              <a:pt x="40131" y="11842"/>
                              <a:pt x="40131" y="11902"/>
                            </a:cubicBezTo>
                            <a:cubicBezTo>
                              <a:pt x="40191" y="12081"/>
                              <a:pt x="40191" y="12141"/>
                              <a:pt x="40251" y="12260"/>
                            </a:cubicBezTo>
                            <a:moveTo>
                              <a:pt x="38516" y="16208"/>
                            </a:moveTo>
                            <a:lnTo>
                              <a:pt x="39593" y="13756"/>
                            </a:lnTo>
                            <a:cubicBezTo>
                              <a:pt x="39533" y="13696"/>
                              <a:pt x="39533" y="13576"/>
                              <a:pt x="39473" y="13516"/>
                            </a:cubicBezTo>
                            <a:cubicBezTo>
                              <a:pt x="39413" y="13457"/>
                              <a:pt x="39413" y="13337"/>
                              <a:pt x="39353" y="13277"/>
                            </a:cubicBezTo>
                            <a:cubicBezTo>
                              <a:pt x="39293" y="13218"/>
                              <a:pt x="39293" y="13098"/>
                              <a:pt x="39234" y="13038"/>
                            </a:cubicBezTo>
                            <a:cubicBezTo>
                              <a:pt x="39174" y="12978"/>
                              <a:pt x="39174" y="12859"/>
                              <a:pt x="39114" y="12799"/>
                            </a:cubicBezTo>
                            <a:lnTo>
                              <a:pt x="37978" y="15370"/>
                            </a:lnTo>
                            <a:cubicBezTo>
                              <a:pt x="38038" y="15430"/>
                              <a:pt x="38038" y="15490"/>
                              <a:pt x="38098" y="15610"/>
                            </a:cubicBezTo>
                            <a:cubicBezTo>
                              <a:pt x="38157" y="15669"/>
                              <a:pt x="38157" y="15729"/>
                              <a:pt x="38217" y="15789"/>
                            </a:cubicBezTo>
                            <a:cubicBezTo>
                              <a:pt x="38277" y="15849"/>
                              <a:pt x="38277" y="15909"/>
                              <a:pt x="38337" y="15968"/>
                            </a:cubicBezTo>
                            <a:cubicBezTo>
                              <a:pt x="38397" y="16028"/>
                              <a:pt x="38456" y="16148"/>
                              <a:pt x="38516" y="16208"/>
                            </a:cubicBezTo>
                            <a:moveTo>
                              <a:pt x="19976" y="100536"/>
                            </a:moveTo>
                            <a:lnTo>
                              <a:pt x="56040" y="20335"/>
                            </a:lnTo>
                            <a:cubicBezTo>
                              <a:pt x="55980" y="20394"/>
                              <a:pt x="55860" y="20394"/>
                              <a:pt x="55800" y="20454"/>
                            </a:cubicBezTo>
                            <a:cubicBezTo>
                              <a:pt x="55740" y="20514"/>
                              <a:pt x="55621" y="20514"/>
                              <a:pt x="55561" y="20574"/>
                            </a:cubicBezTo>
                            <a:cubicBezTo>
                              <a:pt x="55501" y="20634"/>
                              <a:pt x="55382" y="20634"/>
                              <a:pt x="55322" y="20693"/>
                            </a:cubicBezTo>
                            <a:cubicBezTo>
                              <a:pt x="55262" y="20753"/>
                              <a:pt x="55142" y="20753"/>
                              <a:pt x="55083" y="20813"/>
                            </a:cubicBezTo>
                            <a:lnTo>
                              <a:pt x="19557" y="99818"/>
                            </a:lnTo>
                            <a:cubicBezTo>
                              <a:pt x="19617" y="99878"/>
                              <a:pt x="19617" y="99938"/>
                              <a:pt x="19677" y="99998"/>
                            </a:cubicBezTo>
                            <a:cubicBezTo>
                              <a:pt x="19737" y="100057"/>
                              <a:pt x="19737" y="100117"/>
                              <a:pt x="19797" y="100177"/>
                            </a:cubicBezTo>
                            <a:cubicBezTo>
                              <a:pt x="19856" y="100237"/>
                              <a:pt x="19856" y="100297"/>
                              <a:pt x="19916" y="100357"/>
                            </a:cubicBezTo>
                            <a:cubicBezTo>
                              <a:pt x="19916" y="100416"/>
                              <a:pt x="19976" y="100476"/>
                              <a:pt x="19976" y="100536"/>
                            </a:cubicBezTo>
                            <a:moveTo>
                              <a:pt x="18241" y="103766"/>
                            </a:moveTo>
                            <a:lnTo>
                              <a:pt x="18481" y="103825"/>
                            </a:lnTo>
                            <a:lnTo>
                              <a:pt x="19497" y="101612"/>
                            </a:lnTo>
                            <a:cubicBezTo>
                              <a:pt x="19437" y="101553"/>
                              <a:pt x="19437" y="101493"/>
                              <a:pt x="19378" y="101433"/>
                            </a:cubicBezTo>
                            <a:cubicBezTo>
                              <a:pt x="19318" y="101373"/>
                              <a:pt x="19318" y="101313"/>
                              <a:pt x="19258" y="101254"/>
                            </a:cubicBezTo>
                            <a:cubicBezTo>
                              <a:pt x="19198" y="101194"/>
                              <a:pt x="19198" y="101134"/>
                              <a:pt x="19138" y="101074"/>
                            </a:cubicBezTo>
                            <a:cubicBezTo>
                              <a:pt x="19079" y="101014"/>
                              <a:pt x="19079" y="100955"/>
                              <a:pt x="19019" y="100895"/>
                            </a:cubicBezTo>
                            <a:lnTo>
                              <a:pt x="18122" y="102928"/>
                            </a:lnTo>
                            <a:lnTo>
                              <a:pt x="17763" y="102868"/>
                            </a:lnTo>
                            <a:cubicBezTo>
                              <a:pt x="17823" y="102928"/>
                              <a:pt x="17823" y="103048"/>
                              <a:pt x="17883" y="103108"/>
                            </a:cubicBezTo>
                            <a:cubicBezTo>
                              <a:pt x="17942" y="103167"/>
                              <a:pt x="17942" y="103287"/>
                              <a:pt x="18002" y="103347"/>
                            </a:cubicBezTo>
                            <a:cubicBezTo>
                              <a:pt x="18062" y="103407"/>
                              <a:pt x="18062" y="103526"/>
                              <a:pt x="18122" y="103586"/>
                            </a:cubicBezTo>
                            <a:cubicBezTo>
                              <a:pt x="18182" y="103586"/>
                              <a:pt x="18182" y="103646"/>
                              <a:pt x="18241" y="103766"/>
                            </a:cubicBezTo>
                            <a:moveTo>
                              <a:pt x="15072" y="103167"/>
                            </a:moveTo>
                            <a:lnTo>
                              <a:pt x="16806" y="103466"/>
                            </a:lnTo>
                            <a:cubicBezTo>
                              <a:pt x="16746" y="103347"/>
                              <a:pt x="16686" y="103287"/>
                              <a:pt x="16627" y="103227"/>
                            </a:cubicBezTo>
                            <a:cubicBezTo>
                              <a:pt x="16567" y="103167"/>
                              <a:pt x="16507" y="103048"/>
                              <a:pt x="16447" y="102988"/>
                            </a:cubicBezTo>
                            <a:cubicBezTo>
                              <a:pt x="16387" y="102928"/>
                              <a:pt x="16328" y="102809"/>
                              <a:pt x="16268" y="102749"/>
                            </a:cubicBezTo>
                            <a:cubicBezTo>
                              <a:pt x="16208" y="102689"/>
                              <a:pt x="16148" y="102570"/>
                              <a:pt x="16088" y="102510"/>
                            </a:cubicBezTo>
                            <a:lnTo>
                              <a:pt x="14773" y="102271"/>
                            </a:lnTo>
                            <a:cubicBezTo>
                              <a:pt x="14832" y="102330"/>
                              <a:pt x="14832" y="102390"/>
                              <a:pt x="14892" y="102510"/>
                            </a:cubicBezTo>
                            <a:cubicBezTo>
                              <a:pt x="14952" y="102629"/>
                              <a:pt x="14952" y="102689"/>
                              <a:pt x="14952" y="102749"/>
                            </a:cubicBezTo>
                            <a:cubicBezTo>
                              <a:pt x="14952" y="102809"/>
                              <a:pt x="15012" y="102928"/>
                              <a:pt x="15012" y="102988"/>
                            </a:cubicBezTo>
                            <a:cubicBezTo>
                              <a:pt x="15012" y="102988"/>
                              <a:pt x="15072" y="103108"/>
                              <a:pt x="15072" y="103167"/>
                            </a:cubicBezTo>
                            <a:moveTo>
                              <a:pt x="11961" y="102629"/>
                            </a:moveTo>
                            <a:lnTo>
                              <a:pt x="14115" y="102988"/>
                            </a:lnTo>
                            <a:cubicBezTo>
                              <a:pt x="14115" y="102928"/>
                              <a:pt x="14055" y="102868"/>
                              <a:pt x="14055" y="102868"/>
                            </a:cubicBezTo>
                            <a:cubicBezTo>
                              <a:pt x="14055" y="102868"/>
                              <a:pt x="13995" y="102809"/>
                              <a:pt x="13995" y="102749"/>
                            </a:cubicBezTo>
                            <a:cubicBezTo>
                              <a:pt x="13995" y="102689"/>
                              <a:pt x="13935" y="102689"/>
                              <a:pt x="13935" y="102629"/>
                            </a:cubicBezTo>
                            <a:cubicBezTo>
                              <a:pt x="13935" y="102570"/>
                              <a:pt x="13875" y="102570"/>
                              <a:pt x="13816" y="102510"/>
                            </a:cubicBezTo>
                            <a:cubicBezTo>
                              <a:pt x="13756" y="102450"/>
                              <a:pt x="13636" y="102390"/>
                              <a:pt x="13576" y="102390"/>
                            </a:cubicBezTo>
                            <a:cubicBezTo>
                              <a:pt x="13457" y="102330"/>
                              <a:pt x="13397" y="102330"/>
                              <a:pt x="13277" y="102330"/>
                            </a:cubicBezTo>
                            <a:cubicBezTo>
                              <a:pt x="13158" y="102330"/>
                              <a:pt x="13098" y="102330"/>
                              <a:pt x="12978" y="102330"/>
                            </a:cubicBezTo>
                            <a:cubicBezTo>
                              <a:pt x="12859" y="102330"/>
                              <a:pt x="12739" y="102330"/>
                              <a:pt x="12679" y="102390"/>
                            </a:cubicBezTo>
                            <a:cubicBezTo>
                              <a:pt x="12620" y="102390"/>
                              <a:pt x="12560" y="102450"/>
                              <a:pt x="12500" y="102450"/>
                            </a:cubicBezTo>
                            <a:cubicBezTo>
                              <a:pt x="12440" y="102450"/>
                              <a:pt x="12380" y="102510"/>
                              <a:pt x="12321" y="102510"/>
                            </a:cubicBezTo>
                            <a:cubicBezTo>
                              <a:pt x="12261" y="102510"/>
                              <a:pt x="12201" y="102570"/>
                              <a:pt x="12141" y="102570"/>
                            </a:cubicBezTo>
                            <a:cubicBezTo>
                              <a:pt x="12081" y="102570"/>
                              <a:pt x="12021" y="102570"/>
                              <a:pt x="11961" y="102629"/>
                            </a:cubicBezTo>
                            <a:moveTo>
                              <a:pt x="1436" y="97247"/>
                            </a:moveTo>
                            <a:cubicBezTo>
                              <a:pt x="1495" y="97187"/>
                              <a:pt x="1615" y="97187"/>
                              <a:pt x="1675" y="97127"/>
                            </a:cubicBezTo>
                            <a:cubicBezTo>
                              <a:pt x="1735" y="97067"/>
                              <a:pt x="1854" y="97067"/>
                              <a:pt x="1914" y="97007"/>
                            </a:cubicBezTo>
                            <a:cubicBezTo>
                              <a:pt x="1974" y="96948"/>
                              <a:pt x="2093" y="96948"/>
                              <a:pt x="2153" y="96888"/>
                            </a:cubicBezTo>
                            <a:cubicBezTo>
                              <a:pt x="2213" y="96828"/>
                              <a:pt x="2333" y="96828"/>
                              <a:pt x="2392" y="96768"/>
                            </a:cubicBezTo>
                            <a:lnTo>
                              <a:pt x="37918" y="17225"/>
                            </a:lnTo>
                            <a:cubicBezTo>
                              <a:pt x="37858" y="17165"/>
                              <a:pt x="37858" y="17105"/>
                              <a:pt x="37798" y="17045"/>
                            </a:cubicBezTo>
                            <a:cubicBezTo>
                              <a:pt x="37739" y="16985"/>
                              <a:pt x="37739" y="16926"/>
                              <a:pt x="37679" y="16866"/>
                            </a:cubicBezTo>
                            <a:cubicBezTo>
                              <a:pt x="37619" y="16806"/>
                              <a:pt x="37619" y="16746"/>
                              <a:pt x="37559" y="16686"/>
                            </a:cubicBezTo>
                            <a:cubicBezTo>
                              <a:pt x="37499" y="16627"/>
                              <a:pt x="37499" y="16567"/>
                              <a:pt x="37439" y="16507"/>
                            </a:cubicBezTo>
                            <a:lnTo>
                              <a:pt x="1436" y="97247"/>
                            </a:lnTo>
                            <a:moveTo>
                              <a:pt x="4665" y="101313"/>
                            </a:moveTo>
                            <a:lnTo>
                              <a:pt x="4904" y="101373"/>
                            </a:lnTo>
                            <a:lnTo>
                              <a:pt x="5024" y="101134"/>
                            </a:lnTo>
                            <a:cubicBezTo>
                              <a:pt x="5024" y="101134"/>
                              <a:pt x="4964" y="101134"/>
                              <a:pt x="4964" y="101194"/>
                            </a:cubicBezTo>
                            <a:cubicBezTo>
                              <a:pt x="4964" y="101194"/>
                              <a:pt x="4904" y="101194"/>
                              <a:pt x="4904" y="101254"/>
                            </a:cubicBezTo>
                            <a:cubicBezTo>
                              <a:pt x="4904" y="101254"/>
                              <a:pt x="4845" y="101313"/>
                              <a:pt x="4845" y="101313"/>
                            </a:cubicBezTo>
                            <a:cubicBezTo>
                              <a:pt x="4845" y="101313"/>
                              <a:pt x="4665" y="101313"/>
                              <a:pt x="4665" y="101313"/>
                            </a:cubicBezTo>
                            <a:moveTo>
                              <a:pt x="1854" y="100835"/>
                            </a:moveTo>
                            <a:lnTo>
                              <a:pt x="3768" y="101194"/>
                            </a:lnTo>
                            <a:cubicBezTo>
                              <a:pt x="3828" y="101134"/>
                              <a:pt x="3947" y="101014"/>
                              <a:pt x="4007" y="100955"/>
                            </a:cubicBezTo>
                            <a:cubicBezTo>
                              <a:pt x="4067" y="100895"/>
                              <a:pt x="4187" y="100835"/>
                              <a:pt x="4246" y="100775"/>
                            </a:cubicBezTo>
                            <a:cubicBezTo>
                              <a:pt x="4306" y="100716"/>
                              <a:pt x="4426" y="100656"/>
                              <a:pt x="4486" y="100596"/>
                            </a:cubicBezTo>
                            <a:cubicBezTo>
                              <a:pt x="4545" y="100536"/>
                              <a:pt x="4665" y="100476"/>
                              <a:pt x="4725" y="100416"/>
                            </a:cubicBezTo>
                            <a:lnTo>
                              <a:pt x="3290" y="100177"/>
                            </a:lnTo>
                            <a:cubicBezTo>
                              <a:pt x="3170" y="100237"/>
                              <a:pt x="3050" y="100297"/>
                              <a:pt x="2931" y="100357"/>
                            </a:cubicBezTo>
                            <a:cubicBezTo>
                              <a:pt x="2811" y="100416"/>
                              <a:pt x="2691" y="100476"/>
                              <a:pt x="2572" y="100536"/>
                            </a:cubicBezTo>
                            <a:cubicBezTo>
                              <a:pt x="2452" y="100596"/>
                              <a:pt x="2333" y="100656"/>
                              <a:pt x="2213" y="100716"/>
                            </a:cubicBezTo>
                            <a:cubicBezTo>
                              <a:pt x="2093" y="100656"/>
                              <a:pt x="1974" y="100716"/>
                              <a:pt x="1854" y="100835"/>
                            </a:cubicBezTo>
                            <a:moveTo>
                              <a:pt x="0" y="100476"/>
                            </a:moveTo>
                            <a:lnTo>
                              <a:pt x="419" y="100536"/>
                            </a:lnTo>
                            <a:cubicBezTo>
                              <a:pt x="538" y="100476"/>
                              <a:pt x="658" y="100416"/>
                              <a:pt x="718" y="100357"/>
                            </a:cubicBezTo>
                            <a:cubicBezTo>
                              <a:pt x="837" y="100297"/>
                              <a:pt x="957" y="100237"/>
                              <a:pt x="1017" y="100177"/>
                            </a:cubicBezTo>
                            <a:cubicBezTo>
                              <a:pt x="1136" y="100117"/>
                              <a:pt x="1256" y="100057"/>
                              <a:pt x="1316" y="99998"/>
                            </a:cubicBezTo>
                            <a:cubicBezTo>
                              <a:pt x="1436" y="99938"/>
                              <a:pt x="1555" y="99878"/>
                              <a:pt x="1615" y="99818"/>
                            </a:cubicBezTo>
                            <a:lnTo>
                              <a:pt x="1077" y="99699"/>
                            </a:lnTo>
                            <a:lnTo>
                              <a:pt x="1914" y="97785"/>
                            </a:lnTo>
                            <a:cubicBezTo>
                              <a:pt x="1854" y="97845"/>
                              <a:pt x="1735" y="97845"/>
                              <a:pt x="1675" y="97904"/>
                            </a:cubicBezTo>
                            <a:cubicBezTo>
                              <a:pt x="1615" y="97964"/>
                              <a:pt x="1495" y="97964"/>
                              <a:pt x="1436" y="98024"/>
                            </a:cubicBezTo>
                            <a:cubicBezTo>
                              <a:pt x="1376" y="98084"/>
                              <a:pt x="1256" y="98084"/>
                              <a:pt x="1196" y="98144"/>
                            </a:cubicBezTo>
                            <a:cubicBezTo>
                              <a:pt x="1136" y="98203"/>
                              <a:pt x="1017" y="98263"/>
                              <a:pt x="957" y="98263"/>
                            </a:cubicBezTo>
                            <a:lnTo>
                              <a:pt x="239" y="99938"/>
                            </a:lnTo>
                            <a:lnTo>
                              <a:pt x="0" y="100476"/>
                            </a:lnTo>
                          </a:path>
                        </a:pathLst>
                      </a:custGeom>
                      <a:noFill/>
                      <a:ln w="6350" cap="flat">
                        <a:solidFill>
                          <a:schemeClr val="bg1">
                            <a:alpha val="40000"/>
                          </a:schemeClr>
                        </a:solidFill>
                        <a:prstDash val="solid"/>
                        <a:miter/>
                      </a:ln>
                    </p:spPr>
                    <p:txBody>
                      <a:bodyPr rtlCol="0" anchor="ctr"/>
                      <a:lstStyle/>
                      <a:p>
                        <a:endParaRPr lang="en-GB"/>
                      </a:p>
                    </p:txBody>
                  </p:sp>
                  <p:sp>
                    <p:nvSpPr>
                      <p:cNvPr id="7432" name="Vrije vorm: vorm 7431">
                        <a:extLst>
                          <a:ext uri="{FF2B5EF4-FFF2-40B4-BE49-F238E27FC236}">
                            <a16:creationId xmlns:a16="http://schemas.microsoft.com/office/drawing/2014/main" id="{DD94AE60-5724-472D-A47F-773752CFDF81}"/>
                          </a:ext>
                        </a:extLst>
                      </p:cNvPr>
                      <p:cNvSpPr/>
                      <p:nvPr/>
                    </p:nvSpPr>
                    <p:spPr>
                      <a:xfrm>
                        <a:off x="5310781" y="5296148"/>
                        <a:ext cx="51792" cy="101253"/>
                      </a:xfrm>
                      <a:custGeom>
                        <a:avLst/>
                        <a:gdLst>
                          <a:gd name="connsiteX0" fmla="*/ 49161 w 51792"/>
                          <a:gd name="connsiteY0" fmla="*/ 5622 h 101253"/>
                          <a:gd name="connsiteX1" fmla="*/ 49221 w 51792"/>
                          <a:gd name="connsiteY1" fmla="*/ 5562 h 101253"/>
                          <a:gd name="connsiteX2" fmla="*/ 49281 w 51792"/>
                          <a:gd name="connsiteY2" fmla="*/ 5502 h 101253"/>
                          <a:gd name="connsiteX3" fmla="*/ 49341 w 51792"/>
                          <a:gd name="connsiteY3" fmla="*/ 5442 h 101253"/>
                          <a:gd name="connsiteX4" fmla="*/ 49400 w 51792"/>
                          <a:gd name="connsiteY4" fmla="*/ 5382 h 101253"/>
                          <a:gd name="connsiteX5" fmla="*/ 49640 w 51792"/>
                          <a:gd name="connsiteY5" fmla="*/ 5263 h 101253"/>
                          <a:gd name="connsiteX6" fmla="*/ 49879 w 51792"/>
                          <a:gd name="connsiteY6" fmla="*/ 5083 h 101253"/>
                          <a:gd name="connsiteX7" fmla="*/ 50118 w 51792"/>
                          <a:gd name="connsiteY7" fmla="*/ 4904 h 101253"/>
                          <a:gd name="connsiteX8" fmla="*/ 50358 w 51792"/>
                          <a:gd name="connsiteY8" fmla="*/ 4725 h 101253"/>
                          <a:gd name="connsiteX9" fmla="*/ 51434 w 51792"/>
                          <a:gd name="connsiteY9" fmla="*/ 2273 h 101253"/>
                          <a:gd name="connsiteX10" fmla="*/ 51613 w 51792"/>
                          <a:gd name="connsiteY10" fmla="*/ 1794 h 101253"/>
                          <a:gd name="connsiteX11" fmla="*/ 51793 w 51792"/>
                          <a:gd name="connsiteY11" fmla="*/ 1375 h 101253"/>
                          <a:gd name="connsiteX12" fmla="*/ 46650 w 51792"/>
                          <a:gd name="connsiteY12" fmla="*/ 179 h 101253"/>
                          <a:gd name="connsiteX13" fmla="*/ 45991 w 51792"/>
                          <a:gd name="connsiteY13" fmla="*/ 0 h 101253"/>
                          <a:gd name="connsiteX14" fmla="*/ 45872 w 51792"/>
                          <a:gd name="connsiteY14" fmla="*/ 179 h 101253"/>
                          <a:gd name="connsiteX15" fmla="*/ 45752 w 51792"/>
                          <a:gd name="connsiteY15" fmla="*/ 359 h 101253"/>
                          <a:gd name="connsiteX16" fmla="*/ 45633 w 51792"/>
                          <a:gd name="connsiteY16" fmla="*/ 538 h 101253"/>
                          <a:gd name="connsiteX17" fmla="*/ 45513 w 51792"/>
                          <a:gd name="connsiteY17" fmla="*/ 718 h 101253"/>
                          <a:gd name="connsiteX18" fmla="*/ 45453 w 51792"/>
                          <a:gd name="connsiteY18" fmla="*/ 778 h 101253"/>
                          <a:gd name="connsiteX19" fmla="*/ 45393 w 51792"/>
                          <a:gd name="connsiteY19" fmla="*/ 837 h 101253"/>
                          <a:gd name="connsiteX20" fmla="*/ 45393 w 51792"/>
                          <a:gd name="connsiteY20" fmla="*/ 897 h 101253"/>
                          <a:gd name="connsiteX21" fmla="*/ 45393 w 51792"/>
                          <a:gd name="connsiteY21" fmla="*/ 957 h 101253"/>
                          <a:gd name="connsiteX22" fmla="*/ 50597 w 51792"/>
                          <a:gd name="connsiteY22" fmla="*/ 2153 h 101253"/>
                          <a:gd name="connsiteX23" fmla="*/ 49161 w 51792"/>
                          <a:gd name="connsiteY23" fmla="*/ 5622 h 101253"/>
                          <a:gd name="connsiteX24" fmla="*/ 47786 w 51792"/>
                          <a:gd name="connsiteY24" fmla="*/ 8672 h 101253"/>
                          <a:gd name="connsiteX25" fmla="*/ 48025 w 51792"/>
                          <a:gd name="connsiteY25" fmla="*/ 8612 h 101253"/>
                          <a:gd name="connsiteX26" fmla="*/ 48264 w 51792"/>
                          <a:gd name="connsiteY26" fmla="*/ 8552 h 101253"/>
                          <a:gd name="connsiteX27" fmla="*/ 48504 w 51792"/>
                          <a:gd name="connsiteY27" fmla="*/ 8493 h 101253"/>
                          <a:gd name="connsiteX28" fmla="*/ 48743 w 51792"/>
                          <a:gd name="connsiteY28" fmla="*/ 8433 h 101253"/>
                          <a:gd name="connsiteX29" fmla="*/ 49580 w 51792"/>
                          <a:gd name="connsiteY29" fmla="*/ 6519 h 101253"/>
                          <a:gd name="connsiteX30" fmla="*/ 49341 w 51792"/>
                          <a:gd name="connsiteY30" fmla="*/ 6639 h 101253"/>
                          <a:gd name="connsiteX31" fmla="*/ 49101 w 51792"/>
                          <a:gd name="connsiteY31" fmla="*/ 6758 h 101253"/>
                          <a:gd name="connsiteX32" fmla="*/ 48862 w 51792"/>
                          <a:gd name="connsiteY32" fmla="*/ 6878 h 101253"/>
                          <a:gd name="connsiteX33" fmla="*/ 48623 w 51792"/>
                          <a:gd name="connsiteY33" fmla="*/ 6937 h 101253"/>
                          <a:gd name="connsiteX34" fmla="*/ 47786 w 51792"/>
                          <a:gd name="connsiteY34" fmla="*/ 8672 h 101253"/>
                          <a:gd name="connsiteX35" fmla="*/ 42822 w 51792"/>
                          <a:gd name="connsiteY35" fmla="*/ 6340 h 101253"/>
                          <a:gd name="connsiteX36" fmla="*/ 43898 w 51792"/>
                          <a:gd name="connsiteY36" fmla="*/ 3887 h 101253"/>
                          <a:gd name="connsiteX37" fmla="*/ 43898 w 51792"/>
                          <a:gd name="connsiteY37" fmla="*/ 3110 h 101253"/>
                          <a:gd name="connsiteX38" fmla="*/ 44018 w 51792"/>
                          <a:gd name="connsiteY38" fmla="*/ 2273 h 101253"/>
                          <a:gd name="connsiteX39" fmla="*/ 44257 w 51792"/>
                          <a:gd name="connsiteY39" fmla="*/ 1435 h 101253"/>
                          <a:gd name="connsiteX40" fmla="*/ 44616 w 51792"/>
                          <a:gd name="connsiteY40" fmla="*/ 598 h 101253"/>
                          <a:gd name="connsiteX41" fmla="*/ 44676 w 51792"/>
                          <a:gd name="connsiteY41" fmla="*/ 478 h 101253"/>
                          <a:gd name="connsiteX42" fmla="*/ 44736 w 51792"/>
                          <a:gd name="connsiteY42" fmla="*/ 359 h 101253"/>
                          <a:gd name="connsiteX43" fmla="*/ 44796 w 51792"/>
                          <a:gd name="connsiteY43" fmla="*/ 239 h 101253"/>
                          <a:gd name="connsiteX44" fmla="*/ 44855 w 51792"/>
                          <a:gd name="connsiteY44" fmla="*/ 119 h 101253"/>
                          <a:gd name="connsiteX45" fmla="*/ 44736 w 51792"/>
                          <a:gd name="connsiteY45" fmla="*/ 60 h 101253"/>
                          <a:gd name="connsiteX46" fmla="*/ 44736 w 51792"/>
                          <a:gd name="connsiteY46" fmla="*/ 60 h 101253"/>
                          <a:gd name="connsiteX47" fmla="*/ 44317 w 51792"/>
                          <a:gd name="connsiteY47" fmla="*/ 957 h 101253"/>
                          <a:gd name="connsiteX48" fmla="*/ 42343 w 51792"/>
                          <a:gd name="connsiteY48" fmla="*/ 5442 h 101253"/>
                          <a:gd name="connsiteX49" fmla="*/ 42403 w 51792"/>
                          <a:gd name="connsiteY49" fmla="*/ 5741 h 101253"/>
                          <a:gd name="connsiteX50" fmla="*/ 42463 w 51792"/>
                          <a:gd name="connsiteY50" fmla="*/ 5981 h 101253"/>
                          <a:gd name="connsiteX51" fmla="*/ 42583 w 51792"/>
                          <a:gd name="connsiteY51" fmla="*/ 6220 h 101253"/>
                          <a:gd name="connsiteX52" fmla="*/ 42822 w 51792"/>
                          <a:gd name="connsiteY52" fmla="*/ 6340 h 101253"/>
                          <a:gd name="connsiteX53" fmla="*/ 44018 w 51792"/>
                          <a:gd name="connsiteY53" fmla="*/ 17045 h 101253"/>
                          <a:gd name="connsiteX54" fmla="*/ 44197 w 51792"/>
                          <a:gd name="connsiteY54" fmla="*/ 17045 h 101253"/>
                          <a:gd name="connsiteX55" fmla="*/ 44377 w 51792"/>
                          <a:gd name="connsiteY55" fmla="*/ 17045 h 101253"/>
                          <a:gd name="connsiteX56" fmla="*/ 44556 w 51792"/>
                          <a:gd name="connsiteY56" fmla="*/ 17045 h 101253"/>
                          <a:gd name="connsiteX57" fmla="*/ 44736 w 51792"/>
                          <a:gd name="connsiteY57" fmla="*/ 17045 h 101253"/>
                          <a:gd name="connsiteX58" fmla="*/ 48025 w 51792"/>
                          <a:gd name="connsiteY58" fmla="*/ 9689 h 101253"/>
                          <a:gd name="connsiteX59" fmla="*/ 47786 w 51792"/>
                          <a:gd name="connsiteY59" fmla="*/ 9749 h 101253"/>
                          <a:gd name="connsiteX60" fmla="*/ 47546 w 51792"/>
                          <a:gd name="connsiteY60" fmla="*/ 9808 h 101253"/>
                          <a:gd name="connsiteX61" fmla="*/ 47307 w 51792"/>
                          <a:gd name="connsiteY61" fmla="*/ 9868 h 101253"/>
                          <a:gd name="connsiteX62" fmla="*/ 47068 w 51792"/>
                          <a:gd name="connsiteY62" fmla="*/ 9928 h 101253"/>
                          <a:gd name="connsiteX63" fmla="*/ 44018 w 51792"/>
                          <a:gd name="connsiteY63" fmla="*/ 17045 h 101253"/>
                          <a:gd name="connsiteX64" fmla="*/ 38217 w 51792"/>
                          <a:gd name="connsiteY64" fmla="*/ 15071 h 101253"/>
                          <a:gd name="connsiteX65" fmla="*/ 38336 w 51792"/>
                          <a:gd name="connsiteY65" fmla="*/ 15191 h 101253"/>
                          <a:gd name="connsiteX66" fmla="*/ 38456 w 51792"/>
                          <a:gd name="connsiteY66" fmla="*/ 15311 h 101253"/>
                          <a:gd name="connsiteX67" fmla="*/ 38575 w 51792"/>
                          <a:gd name="connsiteY67" fmla="*/ 15430 h 101253"/>
                          <a:gd name="connsiteX68" fmla="*/ 38695 w 51792"/>
                          <a:gd name="connsiteY68" fmla="*/ 15550 h 101253"/>
                          <a:gd name="connsiteX69" fmla="*/ 42164 w 51792"/>
                          <a:gd name="connsiteY69" fmla="*/ 7835 h 101253"/>
                          <a:gd name="connsiteX70" fmla="*/ 42044 w 51792"/>
                          <a:gd name="connsiteY70" fmla="*/ 7655 h 101253"/>
                          <a:gd name="connsiteX71" fmla="*/ 41925 w 51792"/>
                          <a:gd name="connsiteY71" fmla="*/ 7476 h 101253"/>
                          <a:gd name="connsiteX72" fmla="*/ 41805 w 51792"/>
                          <a:gd name="connsiteY72" fmla="*/ 7236 h 101253"/>
                          <a:gd name="connsiteX73" fmla="*/ 41685 w 51792"/>
                          <a:gd name="connsiteY73" fmla="*/ 6997 h 101253"/>
                          <a:gd name="connsiteX74" fmla="*/ 38037 w 51792"/>
                          <a:gd name="connsiteY74" fmla="*/ 15131 h 101253"/>
                          <a:gd name="connsiteX75" fmla="*/ 38037 w 51792"/>
                          <a:gd name="connsiteY75" fmla="*/ 15131 h 101253"/>
                          <a:gd name="connsiteX76" fmla="*/ 38217 w 51792"/>
                          <a:gd name="connsiteY76" fmla="*/ 15071 h 101253"/>
                          <a:gd name="connsiteX77" fmla="*/ 38217 w 51792"/>
                          <a:gd name="connsiteY77" fmla="*/ 15071 h 101253"/>
                          <a:gd name="connsiteX78" fmla="*/ 38217 w 51792"/>
                          <a:gd name="connsiteY78" fmla="*/ 15071 h 101253"/>
                          <a:gd name="connsiteX79" fmla="*/ 42583 w 51792"/>
                          <a:gd name="connsiteY79" fmla="*/ 20155 h 101253"/>
                          <a:gd name="connsiteX80" fmla="*/ 42762 w 51792"/>
                          <a:gd name="connsiteY80" fmla="*/ 20155 h 101253"/>
                          <a:gd name="connsiteX81" fmla="*/ 42942 w 51792"/>
                          <a:gd name="connsiteY81" fmla="*/ 20155 h 101253"/>
                          <a:gd name="connsiteX82" fmla="*/ 43121 w 51792"/>
                          <a:gd name="connsiteY82" fmla="*/ 20155 h 101253"/>
                          <a:gd name="connsiteX83" fmla="*/ 43300 w 51792"/>
                          <a:gd name="connsiteY83" fmla="*/ 20155 h 101253"/>
                          <a:gd name="connsiteX84" fmla="*/ 44197 w 51792"/>
                          <a:gd name="connsiteY84" fmla="*/ 18181 h 101253"/>
                          <a:gd name="connsiteX85" fmla="*/ 44018 w 51792"/>
                          <a:gd name="connsiteY85" fmla="*/ 18181 h 101253"/>
                          <a:gd name="connsiteX86" fmla="*/ 43838 w 51792"/>
                          <a:gd name="connsiteY86" fmla="*/ 18181 h 101253"/>
                          <a:gd name="connsiteX87" fmla="*/ 43659 w 51792"/>
                          <a:gd name="connsiteY87" fmla="*/ 18181 h 101253"/>
                          <a:gd name="connsiteX88" fmla="*/ 43480 w 51792"/>
                          <a:gd name="connsiteY88" fmla="*/ 18181 h 101253"/>
                          <a:gd name="connsiteX89" fmla="*/ 42583 w 51792"/>
                          <a:gd name="connsiteY89" fmla="*/ 20155 h 101253"/>
                          <a:gd name="connsiteX90" fmla="*/ 36661 w 51792"/>
                          <a:gd name="connsiteY90" fmla="*/ 18181 h 101253"/>
                          <a:gd name="connsiteX91" fmla="*/ 36841 w 51792"/>
                          <a:gd name="connsiteY91" fmla="*/ 18301 h 101253"/>
                          <a:gd name="connsiteX92" fmla="*/ 37020 w 51792"/>
                          <a:gd name="connsiteY92" fmla="*/ 18420 h 101253"/>
                          <a:gd name="connsiteX93" fmla="*/ 37200 w 51792"/>
                          <a:gd name="connsiteY93" fmla="*/ 18540 h 101253"/>
                          <a:gd name="connsiteX94" fmla="*/ 37380 w 51792"/>
                          <a:gd name="connsiteY94" fmla="*/ 18660 h 101253"/>
                          <a:gd name="connsiteX95" fmla="*/ 38276 w 51792"/>
                          <a:gd name="connsiteY95" fmla="*/ 16626 h 101253"/>
                          <a:gd name="connsiteX96" fmla="*/ 38097 w 51792"/>
                          <a:gd name="connsiteY96" fmla="*/ 16507 h 101253"/>
                          <a:gd name="connsiteX97" fmla="*/ 37918 w 51792"/>
                          <a:gd name="connsiteY97" fmla="*/ 16387 h 101253"/>
                          <a:gd name="connsiteX98" fmla="*/ 37738 w 51792"/>
                          <a:gd name="connsiteY98" fmla="*/ 16267 h 101253"/>
                          <a:gd name="connsiteX99" fmla="*/ 37619 w 51792"/>
                          <a:gd name="connsiteY99" fmla="*/ 16148 h 101253"/>
                          <a:gd name="connsiteX100" fmla="*/ 36661 w 51792"/>
                          <a:gd name="connsiteY100" fmla="*/ 18181 h 101253"/>
                          <a:gd name="connsiteX101" fmla="*/ 9270 w 51792"/>
                          <a:gd name="connsiteY101" fmla="*/ 94495 h 101253"/>
                          <a:gd name="connsiteX102" fmla="*/ 9449 w 51792"/>
                          <a:gd name="connsiteY102" fmla="*/ 94555 h 101253"/>
                          <a:gd name="connsiteX103" fmla="*/ 9629 w 51792"/>
                          <a:gd name="connsiteY103" fmla="*/ 94615 h 101253"/>
                          <a:gd name="connsiteX104" fmla="*/ 9808 w 51792"/>
                          <a:gd name="connsiteY104" fmla="*/ 94675 h 101253"/>
                          <a:gd name="connsiteX105" fmla="*/ 9988 w 51792"/>
                          <a:gd name="connsiteY105" fmla="*/ 94734 h 101253"/>
                          <a:gd name="connsiteX106" fmla="*/ 43061 w 51792"/>
                          <a:gd name="connsiteY106" fmla="*/ 21112 h 101253"/>
                          <a:gd name="connsiteX107" fmla="*/ 42882 w 51792"/>
                          <a:gd name="connsiteY107" fmla="*/ 21112 h 101253"/>
                          <a:gd name="connsiteX108" fmla="*/ 42702 w 51792"/>
                          <a:gd name="connsiteY108" fmla="*/ 21112 h 101253"/>
                          <a:gd name="connsiteX109" fmla="*/ 42523 w 51792"/>
                          <a:gd name="connsiteY109" fmla="*/ 21112 h 101253"/>
                          <a:gd name="connsiteX110" fmla="*/ 42343 w 51792"/>
                          <a:gd name="connsiteY110" fmla="*/ 21112 h 101253"/>
                          <a:gd name="connsiteX111" fmla="*/ 9270 w 51792"/>
                          <a:gd name="connsiteY111" fmla="*/ 94495 h 101253"/>
                          <a:gd name="connsiteX112" fmla="*/ 8014 w 51792"/>
                          <a:gd name="connsiteY112" fmla="*/ 97306 h 101253"/>
                          <a:gd name="connsiteX113" fmla="*/ 8194 w 51792"/>
                          <a:gd name="connsiteY113" fmla="*/ 97366 h 101253"/>
                          <a:gd name="connsiteX114" fmla="*/ 8373 w 51792"/>
                          <a:gd name="connsiteY114" fmla="*/ 97426 h 101253"/>
                          <a:gd name="connsiteX115" fmla="*/ 8552 w 51792"/>
                          <a:gd name="connsiteY115" fmla="*/ 97486 h 101253"/>
                          <a:gd name="connsiteX116" fmla="*/ 8732 w 51792"/>
                          <a:gd name="connsiteY116" fmla="*/ 97546 h 101253"/>
                          <a:gd name="connsiteX117" fmla="*/ 9629 w 51792"/>
                          <a:gd name="connsiteY117" fmla="*/ 95572 h 101253"/>
                          <a:gd name="connsiteX118" fmla="*/ 9449 w 51792"/>
                          <a:gd name="connsiteY118" fmla="*/ 95512 h 101253"/>
                          <a:gd name="connsiteX119" fmla="*/ 9270 w 51792"/>
                          <a:gd name="connsiteY119" fmla="*/ 95452 h 101253"/>
                          <a:gd name="connsiteX120" fmla="*/ 9090 w 51792"/>
                          <a:gd name="connsiteY120" fmla="*/ 95393 h 101253"/>
                          <a:gd name="connsiteX121" fmla="*/ 8911 w 51792"/>
                          <a:gd name="connsiteY121" fmla="*/ 95333 h 101253"/>
                          <a:gd name="connsiteX122" fmla="*/ 8014 w 51792"/>
                          <a:gd name="connsiteY122" fmla="*/ 97306 h 101253"/>
                          <a:gd name="connsiteX123" fmla="*/ 2751 w 51792"/>
                          <a:gd name="connsiteY123" fmla="*/ 94017 h 101253"/>
                          <a:gd name="connsiteX124" fmla="*/ 2990 w 51792"/>
                          <a:gd name="connsiteY124" fmla="*/ 93957 h 101253"/>
                          <a:gd name="connsiteX125" fmla="*/ 3229 w 51792"/>
                          <a:gd name="connsiteY125" fmla="*/ 93957 h 101253"/>
                          <a:gd name="connsiteX126" fmla="*/ 3469 w 51792"/>
                          <a:gd name="connsiteY126" fmla="*/ 93957 h 101253"/>
                          <a:gd name="connsiteX127" fmla="*/ 3708 w 51792"/>
                          <a:gd name="connsiteY127" fmla="*/ 93957 h 101253"/>
                          <a:gd name="connsiteX128" fmla="*/ 37020 w 51792"/>
                          <a:gd name="connsiteY128" fmla="*/ 19557 h 101253"/>
                          <a:gd name="connsiteX129" fmla="*/ 36841 w 51792"/>
                          <a:gd name="connsiteY129" fmla="*/ 19437 h 101253"/>
                          <a:gd name="connsiteX130" fmla="*/ 36661 w 51792"/>
                          <a:gd name="connsiteY130" fmla="*/ 19318 h 101253"/>
                          <a:gd name="connsiteX131" fmla="*/ 36482 w 51792"/>
                          <a:gd name="connsiteY131" fmla="*/ 19198 h 101253"/>
                          <a:gd name="connsiteX132" fmla="*/ 36303 w 51792"/>
                          <a:gd name="connsiteY132" fmla="*/ 19079 h 101253"/>
                          <a:gd name="connsiteX133" fmla="*/ 2751 w 51792"/>
                          <a:gd name="connsiteY133" fmla="*/ 94017 h 101253"/>
                          <a:gd name="connsiteX134" fmla="*/ 1435 w 51792"/>
                          <a:gd name="connsiteY134" fmla="*/ 96947 h 101253"/>
                          <a:gd name="connsiteX135" fmla="*/ 1674 w 51792"/>
                          <a:gd name="connsiteY135" fmla="*/ 96888 h 101253"/>
                          <a:gd name="connsiteX136" fmla="*/ 1914 w 51792"/>
                          <a:gd name="connsiteY136" fmla="*/ 96828 h 101253"/>
                          <a:gd name="connsiteX137" fmla="*/ 2153 w 51792"/>
                          <a:gd name="connsiteY137" fmla="*/ 96768 h 101253"/>
                          <a:gd name="connsiteX138" fmla="*/ 2392 w 51792"/>
                          <a:gd name="connsiteY138" fmla="*/ 96708 h 101253"/>
                          <a:gd name="connsiteX139" fmla="*/ 3289 w 51792"/>
                          <a:gd name="connsiteY139" fmla="*/ 94734 h 101253"/>
                          <a:gd name="connsiteX140" fmla="*/ 3050 w 51792"/>
                          <a:gd name="connsiteY140" fmla="*/ 94734 h 101253"/>
                          <a:gd name="connsiteX141" fmla="*/ 2811 w 51792"/>
                          <a:gd name="connsiteY141" fmla="*/ 94734 h 101253"/>
                          <a:gd name="connsiteX142" fmla="*/ 2572 w 51792"/>
                          <a:gd name="connsiteY142" fmla="*/ 94794 h 101253"/>
                          <a:gd name="connsiteX143" fmla="*/ 2332 w 51792"/>
                          <a:gd name="connsiteY143" fmla="*/ 94854 h 101253"/>
                          <a:gd name="connsiteX144" fmla="*/ 1435 w 51792"/>
                          <a:gd name="connsiteY144" fmla="*/ 96947 h 101253"/>
                          <a:gd name="connsiteX145" fmla="*/ 598 w 51792"/>
                          <a:gd name="connsiteY145" fmla="*/ 98861 h 101253"/>
                          <a:gd name="connsiteX146" fmla="*/ 598 w 51792"/>
                          <a:gd name="connsiteY146" fmla="*/ 98861 h 101253"/>
                          <a:gd name="connsiteX147" fmla="*/ 598 w 51792"/>
                          <a:gd name="connsiteY147" fmla="*/ 98861 h 101253"/>
                          <a:gd name="connsiteX148" fmla="*/ 658 w 51792"/>
                          <a:gd name="connsiteY148" fmla="*/ 98861 h 101253"/>
                          <a:gd name="connsiteX149" fmla="*/ 658 w 51792"/>
                          <a:gd name="connsiteY149" fmla="*/ 98861 h 101253"/>
                          <a:gd name="connsiteX150" fmla="*/ 837 w 51792"/>
                          <a:gd name="connsiteY150" fmla="*/ 98801 h 101253"/>
                          <a:gd name="connsiteX151" fmla="*/ 1017 w 51792"/>
                          <a:gd name="connsiteY151" fmla="*/ 98801 h 101253"/>
                          <a:gd name="connsiteX152" fmla="*/ 1196 w 51792"/>
                          <a:gd name="connsiteY152" fmla="*/ 98801 h 101253"/>
                          <a:gd name="connsiteX153" fmla="*/ 1375 w 51792"/>
                          <a:gd name="connsiteY153" fmla="*/ 98801 h 101253"/>
                          <a:gd name="connsiteX154" fmla="*/ 1734 w 51792"/>
                          <a:gd name="connsiteY154" fmla="*/ 97964 h 101253"/>
                          <a:gd name="connsiteX155" fmla="*/ 1495 w 51792"/>
                          <a:gd name="connsiteY155" fmla="*/ 98024 h 101253"/>
                          <a:gd name="connsiteX156" fmla="*/ 1256 w 51792"/>
                          <a:gd name="connsiteY156" fmla="*/ 98084 h 101253"/>
                          <a:gd name="connsiteX157" fmla="*/ 1017 w 51792"/>
                          <a:gd name="connsiteY157" fmla="*/ 98143 h 101253"/>
                          <a:gd name="connsiteX158" fmla="*/ 777 w 51792"/>
                          <a:gd name="connsiteY158" fmla="*/ 98203 h 101253"/>
                          <a:gd name="connsiteX159" fmla="*/ 598 w 51792"/>
                          <a:gd name="connsiteY159" fmla="*/ 98861 h 101253"/>
                          <a:gd name="connsiteX160" fmla="*/ 2990 w 51792"/>
                          <a:gd name="connsiteY160" fmla="*/ 100655 h 101253"/>
                          <a:gd name="connsiteX161" fmla="*/ 6220 w 51792"/>
                          <a:gd name="connsiteY161" fmla="*/ 101254 h 101253"/>
                          <a:gd name="connsiteX162" fmla="*/ 6519 w 51792"/>
                          <a:gd name="connsiteY162" fmla="*/ 101014 h 101253"/>
                          <a:gd name="connsiteX163" fmla="*/ 6818 w 51792"/>
                          <a:gd name="connsiteY163" fmla="*/ 100775 h 101253"/>
                          <a:gd name="connsiteX164" fmla="*/ 7117 w 51792"/>
                          <a:gd name="connsiteY164" fmla="*/ 100596 h 101253"/>
                          <a:gd name="connsiteX165" fmla="*/ 7416 w 51792"/>
                          <a:gd name="connsiteY165" fmla="*/ 100416 h 101253"/>
                          <a:gd name="connsiteX166" fmla="*/ 8194 w 51792"/>
                          <a:gd name="connsiteY166" fmla="*/ 98742 h 101253"/>
                          <a:gd name="connsiteX167" fmla="*/ 8014 w 51792"/>
                          <a:gd name="connsiteY167" fmla="*/ 98682 h 101253"/>
                          <a:gd name="connsiteX168" fmla="*/ 7835 w 51792"/>
                          <a:gd name="connsiteY168" fmla="*/ 98622 h 101253"/>
                          <a:gd name="connsiteX169" fmla="*/ 7655 w 51792"/>
                          <a:gd name="connsiteY169" fmla="*/ 98562 h 101253"/>
                          <a:gd name="connsiteX170" fmla="*/ 7476 w 51792"/>
                          <a:gd name="connsiteY170" fmla="*/ 98502 h 101253"/>
                          <a:gd name="connsiteX171" fmla="*/ 6579 w 51792"/>
                          <a:gd name="connsiteY171" fmla="*/ 100476 h 101253"/>
                          <a:gd name="connsiteX172" fmla="*/ 2751 w 51792"/>
                          <a:gd name="connsiteY172" fmla="*/ 99818 h 101253"/>
                          <a:gd name="connsiteX173" fmla="*/ 2871 w 51792"/>
                          <a:gd name="connsiteY173" fmla="*/ 100057 h 101253"/>
                          <a:gd name="connsiteX174" fmla="*/ 2930 w 51792"/>
                          <a:gd name="connsiteY174" fmla="*/ 100296 h 101253"/>
                          <a:gd name="connsiteX175" fmla="*/ 2990 w 51792"/>
                          <a:gd name="connsiteY175" fmla="*/ 100536 h 101253"/>
                          <a:gd name="connsiteX176" fmla="*/ 2990 w 51792"/>
                          <a:gd name="connsiteY176" fmla="*/ 100655 h 101253"/>
                          <a:gd name="connsiteX177" fmla="*/ 0 w 51792"/>
                          <a:gd name="connsiteY177" fmla="*/ 100117 h 101253"/>
                          <a:gd name="connsiteX178" fmla="*/ 2093 w 51792"/>
                          <a:gd name="connsiteY178" fmla="*/ 100476 h 101253"/>
                          <a:gd name="connsiteX179" fmla="*/ 2033 w 51792"/>
                          <a:gd name="connsiteY179" fmla="*/ 100296 h 101253"/>
                          <a:gd name="connsiteX180" fmla="*/ 1914 w 51792"/>
                          <a:gd name="connsiteY180" fmla="*/ 100117 h 101253"/>
                          <a:gd name="connsiteX181" fmla="*/ 1794 w 51792"/>
                          <a:gd name="connsiteY181" fmla="*/ 99997 h 101253"/>
                          <a:gd name="connsiteX182" fmla="*/ 1674 w 51792"/>
                          <a:gd name="connsiteY182" fmla="*/ 99878 h 101253"/>
                          <a:gd name="connsiteX183" fmla="*/ 1435 w 51792"/>
                          <a:gd name="connsiteY183" fmla="*/ 99758 h 101253"/>
                          <a:gd name="connsiteX184" fmla="*/ 1196 w 51792"/>
                          <a:gd name="connsiteY184" fmla="*/ 99699 h 101253"/>
                          <a:gd name="connsiteX185" fmla="*/ 897 w 51792"/>
                          <a:gd name="connsiteY185" fmla="*/ 99699 h 101253"/>
                          <a:gd name="connsiteX186" fmla="*/ 598 w 51792"/>
                          <a:gd name="connsiteY186" fmla="*/ 99758 h 101253"/>
                          <a:gd name="connsiteX187" fmla="*/ 478 w 51792"/>
                          <a:gd name="connsiteY187" fmla="*/ 99818 h 101253"/>
                          <a:gd name="connsiteX188" fmla="*/ 359 w 51792"/>
                          <a:gd name="connsiteY188" fmla="*/ 99878 h 101253"/>
                          <a:gd name="connsiteX189" fmla="*/ 239 w 51792"/>
                          <a:gd name="connsiteY189" fmla="*/ 99938 h 101253"/>
                          <a:gd name="connsiteX190" fmla="*/ 119 w 51792"/>
                          <a:gd name="connsiteY190" fmla="*/ 99997 h 101253"/>
                          <a:gd name="connsiteX191" fmla="*/ 0 w 51792"/>
                          <a:gd name="connsiteY191" fmla="*/ 100117 h 101253"/>
                          <a:gd name="connsiteX192" fmla="*/ 0 w 51792"/>
                          <a:gd name="connsiteY192" fmla="*/ 100117 h 10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51792" h="101253">
                            <a:moveTo>
                              <a:pt x="49161" y="5622"/>
                            </a:moveTo>
                            <a:cubicBezTo>
                              <a:pt x="49161" y="5622"/>
                              <a:pt x="49221" y="5622"/>
                              <a:pt x="49221" y="5562"/>
                            </a:cubicBezTo>
                            <a:cubicBezTo>
                              <a:pt x="49221" y="5562"/>
                              <a:pt x="49281" y="5562"/>
                              <a:pt x="49281" y="5502"/>
                            </a:cubicBezTo>
                            <a:cubicBezTo>
                              <a:pt x="49281" y="5502"/>
                              <a:pt x="49341" y="5502"/>
                              <a:pt x="49341" y="5442"/>
                            </a:cubicBezTo>
                            <a:cubicBezTo>
                              <a:pt x="49341" y="5442"/>
                              <a:pt x="49400" y="5442"/>
                              <a:pt x="49400" y="5382"/>
                            </a:cubicBezTo>
                            <a:cubicBezTo>
                              <a:pt x="49460" y="5323"/>
                              <a:pt x="49580" y="5263"/>
                              <a:pt x="49640" y="5263"/>
                            </a:cubicBezTo>
                            <a:cubicBezTo>
                              <a:pt x="49700" y="5203"/>
                              <a:pt x="49819" y="5143"/>
                              <a:pt x="49879" y="5083"/>
                            </a:cubicBezTo>
                            <a:cubicBezTo>
                              <a:pt x="49939" y="5024"/>
                              <a:pt x="49999" y="4964"/>
                              <a:pt x="50118" y="4904"/>
                            </a:cubicBezTo>
                            <a:cubicBezTo>
                              <a:pt x="50238" y="4844"/>
                              <a:pt x="50238" y="4785"/>
                              <a:pt x="50358" y="4725"/>
                            </a:cubicBezTo>
                            <a:lnTo>
                              <a:pt x="51434" y="2273"/>
                            </a:lnTo>
                            <a:lnTo>
                              <a:pt x="51613" y="1794"/>
                            </a:lnTo>
                            <a:lnTo>
                              <a:pt x="51793" y="1375"/>
                            </a:lnTo>
                            <a:lnTo>
                              <a:pt x="46650" y="179"/>
                            </a:lnTo>
                            <a:lnTo>
                              <a:pt x="45991" y="0"/>
                            </a:lnTo>
                            <a:cubicBezTo>
                              <a:pt x="45932" y="60"/>
                              <a:pt x="45932" y="119"/>
                              <a:pt x="45872" y="179"/>
                            </a:cubicBezTo>
                            <a:cubicBezTo>
                              <a:pt x="45812" y="239"/>
                              <a:pt x="45812" y="299"/>
                              <a:pt x="45752" y="359"/>
                            </a:cubicBezTo>
                            <a:cubicBezTo>
                              <a:pt x="45692" y="419"/>
                              <a:pt x="45692" y="478"/>
                              <a:pt x="45633" y="538"/>
                            </a:cubicBezTo>
                            <a:cubicBezTo>
                              <a:pt x="45573" y="598"/>
                              <a:pt x="45573" y="658"/>
                              <a:pt x="45513" y="718"/>
                            </a:cubicBezTo>
                            <a:cubicBezTo>
                              <a:pt x="45513" y="718"/>
                              <a:pt x="45513" y="778"/>
                              <a:pt x="45453" y="778"/>
                            </a:cubicBezTo>
                            <a:cubicBezTo>
                              <a:pt x="45393" y="778"/>
                              <a:pt x="45453" y="837"/>
                              <a:pt x="45393" y="837"/>
                            </a:cubicBezTo>
                            <a:cubicBezTo>
                              <a:pt x="45334" y="837"/>
                              <a:pt x="45393" y="897"/>
                              <a:pt x="45393" y="897"/>
                            </a:cubicBezTo>
                            <a:cubicBezTo>
                              <a:pt x="45393" y="897"/>
                              <a:pt x="45393" y="957"/>
                              <a:pt x="45393" y="957"/>
                            </a:cubicBezTo>
                            <a:lnTo>
                              <a:pt x="50597" y="2153"/>
                            </a:lnTo>
                            <a:lnTo>
                              <a:pt x="49161" y="5622"/>
                            </a:lnTo>
                            <a:moveTo>
                              <a:pt x="47786" y="8672"/>
                            </a:moveTo>
                            <a:cubicBezTo>
                              <a:pt x="47846" y="8672"/>
                              <a:pt x="47965" y="8612"/>
                              <a:pt x="48025" y="8612"/>
                            </a:cubicBezTo>
                            <a:cubicBezTo>
                              <a:pt x="48085" y="8612"/>
                              <a:pt x="48205" y="8552"/>
                              <a:pt x="48264" y="8552"/>
                            </a:cubicBezTo>
                            <a:cubicBezTo>
                              <a:pt x="48324" y="8552"/>
                              <a:pt x="48444" y="8493"/>
                              <a:pt x="48504" y="8493"/>
                            </a:cubicBezTo>
                            <a:cubicBezTo>
                              <a:pt x="48563" y="8493"/>
                              <a:pt x="48683" y="8433"/>
                              <a:pt x="48743" y="8433"/>
                            </a:cubicBezTo>
                            <a:lnTo>
                              <a:pt x="49580" y="6519"/>
                            </a:lnTo>
                            <a:cubicBezTo>
                              <a:pt x="49520" y="6579"/>
                              <a:pt x="49400" y="6579"/>
                              <a:pt x="49341" y="6639"/>
                            </a:cubicBezTo>
                            <a:cubicBezTo>
                              <a:pt x="49281" y="6698"/>
                              <a:pt x="49161" y="6698"/>
                              <a:pt x="49101" y="6758"/>
                            </a:cubicBezTo>
                            <a:cubicBezTo>
                              <a:pt x="49042" y="6818"/>
                              <a:pt x="48922" y="6818"/>
                              <a:pt x="48862" y="6878"/>
                            </a:cubicBezTo>
                            <a:cubicBezTo>
                              <a:pt x="48803" y="6937"/>
                              <a:pt x="48683" y="6937"/>
                              <a:pt x="48623" y="6937"/>
                            </a:cubicBezTo>
                            <a:lnTo>
                              <a:pt x="47786" y="8672"/>
                            </a:lnTo>
                            <a:moveTo>
                              <a:pt x="42822" y="6340"/>
                            </a:moveTo>
                            <a:lnTo>
                              <a:pt x="43898" y="3887"/>
                            </a:lnTo>
                            <a:cubicBezTo>
                              <a:pt x="43898" y="3648"/>
                              <a:pt x="43898" y="3349"/>
                              <a:pt x="43898" y="3110"/>
                            </a:cubicBezTo>
                            <a:cubicBezTo>
                              <a:pt x="43898" y="2871"/>
                              <a:pt x="43958" y="2572"/>
                              <a:pt x="44018" y="2273"/>
                            </a:cubicBezTo>
                            <a:cubicBezTo>
                              <a:pt x="44078" y="1973"/>
                              <a:pt x="44197" y="1674"/>
                              <a:pt x="44257" y="1435"/>
                            </a:cubicBezTo>
                            <a:cubicBezTo>
                              <a:pt x="44377" y="1136"/>
                              <a:pt x="44496" y="837"/>
                              <a:pt x="44616" y="598"/>
                            </a:cubicBezTo>
                            <a:cubicBezTo>
                              <a:pt x="44616" y="538"/>
                              <a:pt x="44676" y="478"/>
                              <a:pt x="44676" y="478"/>
                            </a:cubicBezTo>
                            <a:cubicBezTo>
                              <a:pt x="44676" y="419"/>
                              <a:pt x="44736" y="359"/>
                              <a:pt x="44736" y="359"/>
                            </a:cubicBezTo>
                            <a:cubicBezTo>
                              <a:pt x="44736" y="299"/>
                              <a:pt x="44796" y="239"/>
                              <a:pt x="44796" y="239"/>
                            </a:cubicBezTo>
                            <a:cubicBezTo>
                              <a:pt x="44796" y="179"/>
                              <a:pt x="44855" y="119"/>
                              <a:pt x="44855" y="119"/>
                            </a:cubicBezTo>
                            <a:lnTo>
                              <a:pt x="44736" y="60"/>
                            </a:lnTo>
                            <a:lnTo>
                              <a:pt x="44736" y="60"/>
                            </a:lnTo>
                            <a:lnTo>
                              <a:pt x="44317" y="957"/>
                            </a:lnTo>
                            <a:lnTo>
                              <a:pt x="42343" y="5442"/>
                            </a:lnTo>
                            <a:cubicBezTo>
                              <a:pt x="42343" y="5562"/>
                              <a:pt x="42403" y="5622"/>
                              <a:pt x="42403" y="5741"/>
                            </a:cubicBezTo>
                            <a:cubicBezTo>
                              <a:pt x="42403" y="5861"/>
                              <a:pt x="42463" y="5921"/>
                              <a:pt x="42463" y="5981"/>
                            </a:cubicBezTo>
                            <a:cubicBezTo>
                              <a:pt x="42463" y="6041"/>
                              <a:pt x="42523" y="6160"/>
                              <a:pt x="42583" y="6220"/>
                            </a:cubicBezTo>
                            <a:cubicBezTo>
                              <a:pt x="42762" y="6160"/>
                              <a:pt x="42762" y="6220"/>
                              <a:pt x="42822" y="6340"/>
                            </a:cubicBezTo>
                            <a:moveTo>
                              <a:pt x="44018" y="17045"/>
                            </a:moveTo>
                            <a:cubicBezTo>
                              <a:pt x="44078" y="17045"/>
                              <a:pt x="44137" y="17045"/>
                              <a:pt x="44197" y="17045"/>
                            </a:cubicBezTo>
                            <a:cubicBezTo>
                              <a:pt x="44257" y="17045"/>
                              <a:pt x="44317" y="17045"/>
                              <a:pt x="44377" y="17045"/>
                            </a:cubicBezTo>
                            <a:cubicBezTo>
                              <a:pt x="44437" y="17045"/>
                              <a:pt x="44496" y="17045"/>
                              <a:pt x="44556" y="17045"/>
                            </a:cubicBezTo>
                            <a:cubicBezTo>
                              <a:pt x="44616" y="17045"/>
                              <a:pt x="44676" y="17045"/>
                              <a:pt x="44736" y="17045"/>
                            </a:cubicBezTo>
                            <a:lnTo>
                              <a:pt x="48025" y="9689"/>
                            </a:lnTo>
                            <a:cubicBezTo>
                              <a:pt x="47965" y="9689"/>
                              <a:pt x="47846" y="9749"/>
                              <a:pt x="47786" y="9749"/>
                            </a:cubicBezTo>
                            <a:cubicBezTo>
                              <a:pt x="47726" y="9749"/>
                              <a:pt x="47606" y="9808"/>
                              <a:pt x="47546" y="9808"/>
                            </a:cubicBezTo>
                            <a:cubicBezTo>
                              <a:pt x="47487" y="9808"/>
                              <a:pt x="47367" y="9808"/>
                              <a:pt x="47307" y="9868"/>
                            </a:cubicBezTo>
                            <a:cubicBezTo>
                              <a:pt x="47247" y="9868"/>
                              <a:pt x="47128" y="9868"/>
                              <a:pt x="47068" y="9928"/>
                            </a:cubicBezTo>
                            <a:lnTo>
                              <a:pt x="44018" y="17045"/>
                            </a:lnTo>
                            <a:moveTo>
                              <a:pt x="38217" y="15071"/>
                            </a:moveTo>
                            <a:cubicBezTo>
                              <a:pt x="38276" y="15131"/>
                              <a:pt x="38276" y="15131"/>
                              <a:pt x="38336" y="15191"/>
                            </a:cubicBezTo>
                            <a:cubicBezTo>
                              <a:pt x="38396" y="15251"/>
                              <a:pt x="38396" y="15251"/>
                              <a:pt x="38456" y="15311"/>
                            </a:cubicBezTo>
                            <a:cubicBezTo>
                              <a:pt x="38516" y="15370"/>
                              <a:pt x="38516" y="15370"/>
                              <a:pt x="38575" y="15430"/>
                            </a:cubicBezTo>
                            <a:cubicBezTo>
                              <a:pt x="38635" y="15490"/>
                              <a:pt x="38635" y="15490"/>
                              <a:pt x="38695" y="15550"/>
                            </a:cubicBezTo>
                            <a:lnTo>
                              <a:pt x="42164" y="7835"/>
                            </a:lnTo>
                            <a:cubicBezTo>
                              <a:pt x="42104" y="7775"/>
                              <a:pt x="42104" y="7715"/>
                              <a:pt x="42044" y="7655"/>
                            </a:cubicBezTo>
                            <a:cubicBezTo>
                              <a:pt x="41984" y="7595"/>
                              <a:pt x="41984" y="7536"/>
                              <a:pt x="41925" y="7476"/>
                            </a:cubicBezTo>
                            <a:cubicBezTo>
                              <a:pt x="41865" y="7416"/>
                              <a:pt x="41865" y="7356"/>
                              <a:pt x="41805" y="7236"/>
                            </a:cubicBezTo>
                            <a:cubicBezTo>
                              <a:pt x="41745" y="7177"/>
                              <a:pt x="41745" y="7117"/>
                              <a:pt x="41685" y="6997"/>
                            </a:cubicBezTo>
                            <a:lnTo>
                              <a:pt x="38037" y="15131"/>
                            </a:lnTo>
                            <a:cubicBezTo>
                              <a:pt x="38037" y="15131"/>
                              <a:pt x="38037" y="15131"/>
                              <a:pt x="38037" y="15131"/>
                            </a:cubicBezTo>
                            <a:cubicBezTo>
                              <a:pt x="38157" y="15012"/>
                              <a:pt x="38157" y="15012"/>
                              <a:pt x="38217" y="15071"/>
                            </a:cubicBezTo>
                            <a:cubicBezTo>
                              <a:pt x="38217" y="15012"/>
                              <a:pt x="38217" y="15012"/>
                              <a:pt x="38217" y="15071"/>
                            </a:cubicBezTo>
                            <a:cubicBezTo>
                              <a:pt x="38217" y="15012"/>
                              <a:pt x="38217" y="15012"/>
                              <a:pt x="38217" y="15071"/>
                            </a:cubicBezTo>
                            <a:moveTo>
                              <a:pt x="42583" y="20155"/>
                            </a:moveTo>
                            <a:cubicBezTo>
                              <a:pt x="42642" y="20155"/>
                              <a:pt x="42702" y="20155"/>
                              <a:pt x="42762" y="20155"/>
                            </a:cubicBezTo>
                            <a:cubicBezTo>
                              <a:pt x="42822" y="20155"/>
                              <a:pt x="42882" y="20155"/>
                              <a:pt x="42942" y="20155"/>
                            </a:cubicBezTo>
                            <a:cubicBezTo>
                              <a:pt x="43001" y="20155"/>
                              <a:pt x="43061" y="20155"/>
                              <a:pt x="43121" y="20155"/>
                            </a:cubicBezTo>
                            <a:cubicBezTo>
                              <a:pt x="43181" y="20155"/>
                              <a:pt x="43241" y="20155"/>
                              <a:pt x="43300" y="20155"/>
                            </a:cubicBezTo>
                            <a:lnTo>
                              <a:pt x="44197" y="18181"/>
                            </a:lnTo>
                            <a:cubicBezTo>
                              <a:pt x="44137" y="18181"/>
                              <a:pt x="44078" y="18181"/>
                              <a:pt x="44018" y="18181"/>
                            </a:cubicBezTo>
                            <a:cubicBezTo>
                              <a:pt x="43958" y="18181"/>
                              <a:pt x="43898" y="18181"/>
                              <a:pt x="43838" y="18181"/>
                            </a:cubicBezTo>
                            <a:cubicBezTo>
                              <a:pt x="43779" y="18181"/>
                              <a:pt x="43719" y="18181"/>
                              <a:pt x="43659" y="18181"/>
                            </a:cubicBezTo>
                            <a:cubicBezTo>
                              <a:pt x="43599" y="18181"/>
                              <a:pt x="43539" y="18181"/>
                              <a:pt x="43480" y="18181"/>
                            </a:cubicBezTo>
                            <a:lnTo>
                              <a:pt x="42583" y="20155"/>
                            </a:lnTo>
                            <a:moveTo>
                              <a:pt x="36661" y="18181"/>
                            </a:moveTo>
                            <a:cubicBezTo>
                              <a:pt x="36721" y="18241"/>
                              <a:pt x="36781" y="18241"/>
                              <a:pt x="36841" y="18301"/>
                            </a:cubicBezTo>
                            <a:cubicBezTo>
                              <a:pt x="36901" y="18361"/>
                              <a:pt x="36961" y="18361"/>
                              <a:pt x="37020" y="18420"/>
                            </a:cubicBezTo>
                            <a:cubicBezTo>
                              <a:pt x="37080" y="18480"/>
                              <a:pt x="37140" y="18480"/>
                              <a:pt x="37200" y="18540"/>
                            </a:cubicBezTo>
                            <a:cubicBezTo>
                              <a:pt x="37260" y="18600"/>
                              <a:pt x="37320" y="18600"/>
                              <a:pt x="37380" y="18660"/>
                            </a:cubicBezTo>
                            <a:lnTo>
                              <a:pt x="38276" y="16626"/>
                            </a:lnTo>
                            <a:cubicBezTo>
                              <a:pt x="38217" y="16566"/>
                              <a:pt x="38157" y="16566"/>
                              <a:pt x="38097" y="16507"/>
                            </a:cubicBezTo>
                            <a:cubicBezTo>
                              <a:pt x="38037" y="16447"/>
                              <a:pt x="37977" y="16447"/>
                              <a:pt x="37918" y="16387"/>
                            </a:cubicBezTo>
                            <a:cubicBezTo>
                              <a:pt x="37858" y="16327"/>
                              <a:pt x="37798" y="16327"/>
                              <a:pt x="37738" y="16267"/>
                            </a:cubicBezTo>
                            <a:cubicBezTo>
                              <a:pt x="37678" y="16208"/>
                              <a:pt x="37619" y="16208"/>
                              <a:pt x="37619" y="16148"/>
                            </a:cubicBezTo>
                            <a:lnTo>
                              <a:pt x="36661" y="18181"/>
                            </a:lnTo>
                            <a:moveTo>
                              <a:pt x="9270" y="94495"/>
                            </a:moveTo>
                            <a:cubicBezTo>
                              <a:pt x="9330" y="94495"/>
                              <a:pt x="9389" y="94555"/>
                              <a:pt x="9449" y="94555"/>
                            </a:cubicBezTo>
                            <a:cubicBezTo>
                              <a:pt x="9509" y="94555"/>
                              <a:pt x="9569" y="94615"/>
                              <a:pt x="9629" y="94615"/>
                            </a:cubicBezTo>
                            <a:cubicBezTo>
                              <a:pt x="9689" y="94615"/>
                              <a:pt x="9748" y="94675"/>
                              <a:pt x="9808" y="94675"/>
                            </a:cubicBezTo>
                            <a:cubicBezTo>
                              <a:pt x="9868" y="94675"/>
                              <a:pt x="9928" y="94734"/>
                              <a:pt x="9988" y="94734"/>
                            </a:cubicBezTo>
                            <a:lnTo>
                              <a:pt x="43061" y="21112"/>
                            </a:lnTo>
                            <a:cubicBezTo>
                              <a:pt x="43001" y="21112"/>
                              <a:pt x="42942" y="21112"/>
                              <a:pt x="42882" y="21112"/>
                            </a:cubicBezTo>
                            <a:cubicBezTo>
                              <a:pt x="42822" y="21112"/>
                              <a:pt x="42762" y="21112"/>
                              <a:pt x="42702" y="21112"/>
                            </a:cubicBezTo>
                            <a:cubicBezTo>
                              <a:pt x="42642" y="21112"/>
                              <a:pt x="42583" y="21112"/>
                              <a:pt x="42523" y="21112"/>
                            </a:cubicBezTo>
                            <a:cubicBezTo>
                              <a:pt x="42463" y="21112"/>
                              <a:pt x="42403" y="21112"/>
                              <a:pt x="42343" y="21112"/>
                            </a:cubicBezTo>
                            <a:lnTo>
                              <a:pt x="9270" y="94495"/>
                            </a:lnTo>
                            <a:moveTo>
                              <a:pt x="8014" y="97306"/>
                            </a:moveTo>
                            <a:cubicBezTo>
                              <a:pt x="8074" y="97306"/>
                              <a:pt x="8134" y="97366"/>
                              <a:pt x="8194" y="97366"/>
                            </a:cubicBezTo>
                            <a:cubicBezTo>
                              <a:pt x="8253" y="97366"/>
                              <a:pt x="8313" y="97426"/>
                              <a:pt x="8373" y="97426"/>
                            </a:cubicBezTo>
                            <a:cubicBezTo>
                              <a:pt x="8433" y="97426"/>
                              <a:pt x="8493" y="97486"/>
                              <a:pt x="8552" y="97486"/>
                            </a:cubicBezTo>
                            <a:cubicBezTo>
                              <a:pt x="8612" y="97486"/>
                              <a:pt x="8672" y="97546"/>
                              <a:pt x="8732" y="97546"/>
                            </a:cubicBezTo>
                            <a:lnTo>
                              <a:pt x="9629" y="95572"/>
                            </a:lnTo>
                            <a:cubicBezTo>
                              <a:pt x="9569" y="95572"/>
                              <a:pt x="9509" y="95512"/>
                              <a:pt x="9449" y="95512"/>
                            </a:cubicBezTo>
                            <a:cubicBezTo>
                              <a:pt x="9389" y="95512"/>
                              <a:pt x="9330" y="95452"/>
                              <a:pt x="9270" y="95452"/>
                            </a:cubicBezTo>
                            <a:cubicBezTo>
                              <a:pt x="9210" y="95452"/>
                              <a:pt x="9150" y="95393"/>
                              <a:pt x="9090" y="95393"/>
                            </a:cubicBezTo>
                            <a:cubicBezTo>
                              <a:pt x="9031" y="95393"/>
                              <a:pt x="8971" y="95333"/>
                              <a:pt x="8911" y="95333"/>
                            </a:cubicBezTo>
                            <a:lnTo>
                              <a:pt x="8014" y="97306"/>
                            </a:lnTo>
                            <a:moveTo>
                              <a:pt x="2751" y="94017"/>
                            </a:moveTo>
                            <a:cubicBezTo>
                              <a:pt x="2811" y="94017"/>
                              <a:pt x="2871" y="94017"/>
                              <a:pt x="2990" y="93957"/>
                            </a:cubicBezTo>
                            <a:cubicBezTo>
                              <a:pt x="3110" y="93897"/>
                              <a:pt x="3110" y="93957"/>
                              <a:pt x="3229" y="93957"/>
                            </a:cubicBezTo>
                            <a:cubicBezTo>
                              <a:pt x="3289" y="93957"/>
                              <a:pt x="3349" y="93957"/>
                              <a:pt x="3469" y="93957"/>
                            </a:cubicBezTo>
                            <a:cubicBezTo>
                              <a:pt x="3588" y="93957"/>
                              <a:pt x="3588" y="93957"/>
                              <a:pt x="3708" y="93957"/>
                            </a:cubicBezTo>
                            <a:lnTo>
                              <a:pt x="37020" y="19557"/>
                            </a:lnTo>
                            <a:cubicBezTo>
                              <a:pt x="36961" y="19497"/>
                              <a:pt x="36901" y="19497"/>
                              <a:pt x="36841" y="19437"/>
                            </a:cubicBezTo>
                            <a:cubicBezTo>
                              <a:pt x="36781" y="19377"/>
                              <a:pt x="36721" y="19377"/>
                              <a:pt x="36661" y="19318"/>
                            </a:cubicBezTo>
                            <a:cubicBezTo>
                              <a:pt x="36602" y="19258"/>
                              <a:pt x="36542" y="19258"/>
                              <a:pt x="36482" y="19198"/>
                            </a:cubicBezTo>
                            <a:cubicBezTo>
                              <a:pt x="36422" y="19138"/>
                              <a:pt x="36363" y="19138"/>
                              <a:pt x="36303" y="19079"/>
                            </a:cubicBezTo>
                            <a:lnTo>
                              <a:pt x="2751" y="94017"/>
                            </a:lnTo>
                            <a:moveTo>
                              <a:pt x="1435" y="96947"/>
                            </a:moveTo>
                            <a:cubicBezTo>
                              <a:pt x="1495" y="96947"/>
                              <a:pt x="1555" y="96947"/>
                              <a:pt x="1674" y="96888"/>
                            </a:cubicBezTo>
                            <a:cubicBezTo>
                              <a:pt x="1734" y="96888"/>
                              <a:pt x="1794" y="96888"/>
                              <a:pt x="1914" y="96828"/>
                            </a:cubicBezTo>
                            <a:cubicBezTo>
                              <a:pt x="1973" y="96828"/>
                              <a:pt x="2033" y="96828"/>
                              <a:pt x="2153" y="96768"/>
                            </a:cubicBezTo>
                            <a:cubicBezTo>
                              <a:pt x="2272" y="96708"/>
                              <a:pt x="2272" y="96768"/>
                              <a:pt x="2392" y="96708"/>
                            </a:cubicBezTo>
                            <a:lnTo>
                              <a:pt x="3289" y="94734"/>
                            </a:lnTo>
                            <a:cubicBezTo>
                              <a:pt x="3229" y="94734"/>
                              <a:pt x="3170" y="94734"/>
                              <a:pt x="3050" y="94734"/>
                            </a:cubicBezTo>
                            <a:cubicBezTo>
                              <a:pt x="2930" y="94734"/>
                              <a:pt x="2930" y="94734"/>
                              <a:pt x="2811" y="94734"/>
                            </a:cubicBezTo>
                            <a:cubicBezTo>
                              <a:pt x="2751" y="94734"/>
                              <a:pt x="2691" y="94734"/>
                              <a:pt x="2572" y="94794"/>
                            </a:cubicBezTo>
                            <a:cubicBezTo>
                              <a:pt x="2512" y="94794"/>
                              <a:pt x="2452" y="94794"/>
                              <a:pt x="2332" y="94854"/>
                            </a:cubicBezTo>
                            <a:lnTo>
                              <a:pt x="1435" y="96947"/>
                            </a:lnTo>
                            <a:moveTo>
                              <a:pt x="598" y="98861"/>
                            </a:moveTo>
                            <a:cubicBezTo>
                              <a:pt x="598" y="98861"/>
                              <a:pt x="598" y="98861"/>
                              <a:pt x="598" y="98861"/>
                            </a:cubicBezTo>
                            <a:cubicBezTo>
                              <a:pt x="598" y="98861"/>
                              <a:pt x="598" y="98861"/>
                              <a:pt x="598" y="98861"/>
                            </a:cubicBezTo>
                            <a:cubicBezTo>
                              <a:pt x="658" y="98861"/>
                              <a:pt x="658" y="98861"/>
                              <a:pt x="658" y="98861"/>
                            </a:cubicBezTo>
                            <a:cubicBezTo>
                              <a:pt x="658" y="98861"/>
                              <a:pt x="658" y="98861"/>
                              <a:pt x="658" y="98861"/>
                            </a:cubicBezTo>
                            <a:cubicBezTo>
                              <a:pt x="718" y="98861"/>
                              <a:pt x="777" y="98801"/>
                              <a:pt x="837" y="98801"/>
                            </a:cubicBezTo>
                            <a:cubicBezTo>
                              <a:pt x="897" y="98801"/>
                              <a:pt x="957" y="98801"/>
                              <a:pt x="1017" y="98801"/>
                            </a:cubicBezTo>
                            <a:cubicBezTo>
                              <a:pt x="1076" y="98801"/>
                              <a:pt x="1136" y="98801"/>
                              <a:pt x="1196" y="98801"/>
                            </a:cubicBezTo>
                            <a:cubicBezTo>
                              <a:pt x="1256" y="98801"/>
                              <a:pt x="1316" y="98801"/>
                              <a:pt x="1375" y="98801"/>
                            </a:cubicBezTo>
                            <a:lnTo>
                              <a:pt x="1734" y="97964"/>
                            </a:lnTo>
                            <a:cubicBezTo>
                              <a:pt x="1674" y="97964"/>
                              <a:pt x="1615" y="97964"/>
                              <a:pt x="1495" y="98024"/>
                            </a:cubicBezTo>
                            <a:cubicBezTo>
                              <a:pt x="1435" y="98024"/>
                              <a:pt x="1375" y="98024"/>
                              <a:pt x="1256" y="98084"/>
                            </a:cubicBezTo>
                            <a:cubicBezTo>
                              <a:pt x="1196" y="98084"/>
                              <a:pt x="1136" y="98143"/>
                              <a:pt x="1017" y="98143"/>
                            </a:cubicBezTo>
                            <a:cubicBezTo>
                              <a:pt x="897" y="98143"/>
                              <a:pt x="897" y="98203"/>
                              <a:pt x="777" y="98203"/>
                            </a:cubicBezTo>
                            <a:lnTo>
                              <a:pt x="598" y="98861"/>
                            </a:lnTo>
                            <a:moveTo>
                              <a:pt x="2990" y="100655"/>
                            </a:moveTo>
                            <a:lnTo>
                              <a:pt x="6220" y="101254"/>
                            </a:lnTo>
                            <a:cubicBezTo>
                              <a:pt x="6340" y="101134"/>
                              <a:pt x="6399" y="101074"/>
                              <a:pt x="6519" y="101014"/>
                            </a:cubicBezTo>
                            <a:cubicBezTo>
                              <a:pt x="6639" y="100955"/>
                              <a:pt x="6698" y="100835"/>
                              <a:pt x="6818" y="100775"/>
                            </a:cubicBezTo>
                            <a:cubicBezTo>
                              <a:pt x="6937" y="100715"/>
                              <a:pt x="6997" y="100655"/>
                              <a:pt x="7117" y="100596"/>
                            </a:cubicBezTo>
                            <a:cubicBezTo>
                              <a:pt x="7236" y="100536"/>
                              <a:pt x="7356" y="100476"/>
                              <a:pt x="7416" y="100416"/>
                            </a:cubicBezTo>
                            <a:lnTo>
                              <a:pt x="8194" y="98742"/>
                            </a:lnTo>
                            <a:cubicBezTo>
                              <a:pt x="8134" y="98742"/>
                              <a:pt x="8074" y="98682"/>
                              <a:pt x="8014" y="98682"/>
                            </a:cubicBezTo>
                            <a:cubicBezTo>
                              <a:pt x="7954" y="98682"/>
                              <a:pt x="7894" y="98622"/>
                              <a:pt x="7835" y="98622"/>
                            </a:cubicBezTo>
                            <a:cubicBezTo>
                              <a:pt x="7775" y="98622"/>
                              <a:pt x="7715" y="98562"/>
                              <a:pt x="7655" y="98562"/>
                            </a:cubicBezTo>
                            <a:cubicBezTo>
                              <a:pt x="7595" y="98562"/>
                              <a:pt x="7535" y="98502"/>
                              <a:pt x="7476" y="98502"/>
                            </a:cubicBezTo>
                            <a:lnTo>
                              <a:pt x="6579" y="100476"/>
                            </a:lnTo>
                            <a:lnTo>
                              <a:pt x="2751" y="99818"/>
                            </a:lnTo>
                            <a:cubicBezTo>
                              <a:pt x="2811" y="99878"/>
                              <a:pt x="2811" y="99938"/>
                              <a:pt x="2871" y="100057"/>
                            </a:cubicBezTo>
                            <a:cubicBezTo>
                              <a:pt x="2871" y="100117"/>
                              <a:pt x="2930" y="100237"/>
                              <a:pt x="2930" y="100296"/>
                            </a:cubicBezTo>
                            <a:cubicBezTo>
                              <a:pt x="2930" y="100356"/>
                              <a:pt x="2930" y="100476"/>
                              <a:pt x="2990" y="100536"/>
                            </a:cubicBezTo>
                            <a:cubicBezTo>
                              <a:pt x="2990" y="100476"/>
                              <a:pt x="2990" y="100536"/>
                              <a:pt x="2990" y="100655"/>
                            </a:cubicBezTo>
                            <a:moveTo>
                              <a:pt x="0" y="100117"/>
                            </a:moveTo>
                            <a:lnTo>
                              <a:pt x="2093" y="100476"/>
                            </a:lnTo>
                            <a:cubicBezTo>
                              <a:pt x="2093" y="100416"/>
                              <a:pt x="2033" y="100356"/>
                              <a:pt x="2033" y="100296"/>
                            </a:cubicBezTo>
                            <a:cubicBezTo>
                              <a:pt x="2033" y="100237"/>
                              <a:pt x="1973" y="100177"/>
                              <a:pt x="1914" y="100117"/>
                            </a:cubicBezTo>
                            <a:cubicBezTo>
                              <a:pt x="1854" y="100057"/>
                              <a:pt x="1854" y="99997"/>
                              <a:pt x="1794" y="99997"/>
                            </a:cubicBezTo>
                            <a:cubicBezTo>
                              <a:pt x="1734" y="99938"/>
                              <a:pt x="1734" y="99938"/>
                              <a:pt x="1674" y="99878"/>
                            </a:cubicBezTo>
                            <a:cubicBezTo>
                              <a:pt x="1615" y="99818"/>
                              <a:pt x="1555" y="99758"/>
                              <a:pt x="1435" y="99758"/>
                            </a:cubicBezTo>
                            <a:cubicBezTo>
                              <a:pt x="1375" y="99699"/>
                              <a:pt x="1256" y="99699"/>
                              <a:pt x="1196" y="99699"/>
                            </a:cubicBezTo>
                            <a:cubicBezTo>
                              <a:pt x="1076" y="99699"/>
                              <a:pt x="1017" y="99699"/>
                              <a:pt x="897" y="99699"/>
                            </a:cubicBezTo>
                            <a:cubicBezTo>
                              <a:pt x="777" y="99699"/>
                              <a:pt x="718" y="99699"/>
                              <a:pt x="598" y="99758"/>
                            </a:cubicBezTo>
                            <a:cubicBezTo>
                              <a:pt x="538" y="99758"/>
                              <a:pt x="538" y="99758"/>
                              <a:pt x="478" y="99818"/>
                            </a:cubicBezTo>
                            <a:cubicBezTo>
                              <a:pt x="418" y="99818"/>
                              <a:pt x="418" y="99818"/>
                              <a:pt x="359" y="99878"/>
                            </a:cubicBezTo>
                            <a:cubicBezTo>
                              <a:pt x="299" y="99878"/>
                              <a:pt x="299" y="99938"/>
                              <a:pt x="239" y="99938"/>
                            </a:cubicBezTo>
                            <a:cubicBezTo>
                              <a:pt x="179" y="99938"/>
                              <a:pt x="179" y="99997"/>
                              <a:pt x="119" y="99997"/>
                            </a:cubicBezTo>
                            <a:lnTo>
                              <a:pt x="0" y="100117"/>
                            </a:lnTo>
                            <a:lnTo>
                              <a:pt x="0" y="100117"/>
                            </a:lnTo>
                          </a:path>
                        </a:pathLst>
                      </a:custGeom>
                      <a:noFill/>
                      <a:ln w="6350" cap="flat">
                        <a:solidFill>
                          <a:schemeClr val="bg1">
                            <a:alpha val="40000"/>
                          </a:schemeClr>
                        </a:solidFill>
                        <a:prstDash val="solid"/>
                        <a:miter/>
                      </a:ln>
                    </p:spPr>
                    <p:txBody>
                      <a:bodyPr rtlCol="0" anchor="ctr"/>
                      <a:lstStyle/>
                      <a:p>
                        <a:endParaRPr lang="en-GB"/>
                      </a:p>
                    </p:txBody>
                  </p:sp>
                  <p:sp>
                    <p:nvSpPr>
                      <p:cNvPr id="7433" name="Vrije vorm: vorm 7432">
                        <a:extLst>
                          <a:ext uri="{FF2B5EF4-FFF2-40B4-BE49-F238E27FC236}">
                            <a16:creationId xmlns:a16="http://schemas.microsoft.com/office/drawing/2014/main" id="{F4AC9F84-2CC6-4CD7-BB4E-3320FBC95F8C}"/>
                          </a:ext>
                        </a:extLst>
                      </p:cNvPr>
                      <p:cNvSpPr/>
                      <p:nvPr/>
                    </p:nvSpPr>
                    <p:spPr>
                      <a:xfrm>
                        <a:off x="5341701" y="5278659"/>
                        <a:ext cx="35190" cy="38601"/>
                      </a:xfrm>
                      <a:custGeom>
                        <a:avLst/>
                        <a:gdLst>
                          <a:gd name="connsiteX0" fmla="*/ 28528 w 35190"/>
                          <a:gd name="connsiteY0" fmla="*/ 2298 h 38601"/>
                          <a:gd name="connsiteX1" fmla="*/ 29006 w 35190"/>
                          <a:gd name="connsiteY1" fmla="*/ 2598 h 38601"/>
                          <a:gd name="connsiteX2" fmla="*/ 29485 w 35190"/>
                          <a:gd name="connsiteY2" fmla="*/ 2896 h 38601"/>
                          <a:gd name="connsiteX3" fmla="*/ 29904 w 35190"/>
                          <a:gd name="connsiteY3" fmla="*/ 3195 h 38601"/>
                          <a:gd name="connsiteX4" fmla="*/ 30322 w 35190"/>
                          <a:gd name="connsiteY4" fmla="*/ 3554 h 38601"/>
                          <a:gd name="connsiteX5" fmla="*/ 30322 w 35190"/>
                          <a:gd name="connsiteY5" fmla="*/ 3554 h 38601"/>
                          <a:gd name="connsiteX6" fmla="*/ 30322 w 35190"/>
                          <a:gd name="connsiteY6" fmla="*/ 3554 h 38601"/>
                          <a:gd name="connsiteX7" fmla="*/ 30322 w 35190"/>
                          <a:gd name="connsiteY7" fmla="*/ 3554 h 38601"/>
                          <a:gd name="connsiteX8" fmla="*/ 30322 w 35190"/>
                          <a:gd name="connsiteY8" fmla="*/ 3554 h 38601"/>
                          <a:gd name="connsiteX9" fmla="*/ 30980 w 35190"/>
                          <a:gd name="connsiteY9" fmla="*/ 2717 h 38601"/>
                          <a:gd name="connsiteX10" fmla="*/ 30920 w 35190"/>
                          <a:gd name="connsiteY10" fmla="*/ 2717 h 38601"/>
                          <a:gd name="connsiteX11" fmla="*/ 30860 w 35190"/>
                          <a:gd name="connsiteY11" fmla="*/ 2717 h 38601"/>
                          <a:gd name="connsiteX12" fmla="*/ 30801 w 35190"/>
                          <a:gd name="connsiteY12" fmla="*/ 2717 h 38601"/>
                          <a:gd name="connsiteX13" fmla="*/ 30741 w 35190"/>
                          <a:gd name="connsiteY13" fmla="*/ 2717 h 38601"/>
                          <a:gd name="connsiteX14" fmla="*/ 30322 w 35190"/>
                          <a:gd name="connsiteY14" fmla="*/ 2358 h 38601"/>
                          <a:gd name="connsiteX15" fmla="*/ 29904 w 35190"/>
                          <a:gd name="connsiteY15" fmla="*/ 2059 h 38601"/>
                          <a:gd name="connsiteX16" fmla="*/ 29485 w 35190"/>
                          <a:gd name="connsiteY16" fmla="*/ 1760 h 38601"/>
                          <a:gd name="connsiteX17" fmla="*/ 29006 w 35190"/>
                          <a:gd name="connsiteY17" fmla="*/ 1521 h 38601"/>
                          <a:gd name="connsiteX18" fmla="*/ 28528 w 35190"/>
                          <a:gd name="connsiteY18" fmla="*/ 2298 h 38601"/>
                          <a:gd name="connsiteX19" fmla="*/ 25537 w 35190"/>
                          <a:gd name="connsiteY19" fmla="*/ 1162 h 38601"/>
                          <a:gd name="connsiteX20" fmla="*/ 25956 w 35190"/>
                          <a:gd name="connsiteY20" fmla="*/ 1282 h 38601"/>
                          <a:gd name="connsiteX21" fmla="*/ 26375 w 35190"/>
                          <a:gd name="connsiteY21" fmla="*/ 1401 h 38601"/>
                          <a:gd name="connsiteX22" fmla="*/ 26734 w 35190"/>
                          <a:gd name="connsiteY22" fmla="*/ 1521 h 38601"/>
                          <a:gd name="connsiteX23" fmla="*/ 27092 w 35190"/>
                          <a:gd name="connsiteY23" fmla="*/ 1640 h 38601"/>
                          <a:gd name="connsiteX24" fmla="*/ 27272 w 35190"/>
                          <a:gd name="connsiteY24" fmla="*/ 1700 h 38601"/>
                          <a:gd name="connsiteX25" fmla="*/ 27451 w 35190"/>
                          <a:gd name="connsiteY25" fmla="*/ 1760 h 38601"/>
                          <a:gd name="connsiteX26" fmla="*/ 27631 w 35190"/>
                          <a:gd name="connsiteY26" fmla="*/ 1820 h 38601"/>
                          <a:gd name="connsiteX27" fmla="*/ 27810 w 35190"/>
                          <a:gd name="connsiteY27" fmla="*/ 1880 h 38601"/>
                          <a:gd name="connsiteX28" fmla="*/ 28468 w 35190"/>
                          <a:gd name="connsiteY28" fmla="*/ 1042 h 38601"/>
                          <a:gd name="connsiteX29" fmla="*/ 28229 w 35190"/>
                          <a:gd name="connsiteY29" fmla="*/ 923 h 38601"/>
                          <a:gd name="connsiteX30" fmla="*/ 27990 w 35190"/>
                          <a:gd name="connsiteY30" fmla="*/ 803 h 38601"/>
                          <a:gd name="connsiteX31" fmla="*/ 27751 w 35190"/>
                          <a:gd name="connsiteY31" fmla="*/ 684 h 38601"/>
                          <a:gd name="connsiteX32" fmla="*/ 27511 w 35190"/>
                          <a:gd name="connsiteY32" fmla="*/ 564 h 38601"/>
                          <a:gd name="connsiteX33" fmla="*/ 27152 w 35190"/>
                          <a:gd name="connsiteY33" fmla="*/ 444 h 38601"/>
                          <a:gd name="connsiteX34" fmla="*/ 26794 w 35190"/>
                          <a:gd name="connsiteY34" fmla="*/ 325 h 38601"/>
                          <a:gd name="connsiteX35" fmla="*/ 26435 w 35190"/>
                          <a:gd name="connsiteY35" fmla="*/ 205 h 38601"/>
                          <a:gd name="connsiteX36" fmla="*/ 26076 w 35190"/>
                          <a:gd name="connsiteY36" fmla="*/ 145 h 38601"/>
                          <a:gd name="connsiteX37" fmla="*/ 25537 w 35190"/>
                          <a:gd name="connsiteY37" fmla="*/ 1162 h 38601"/>
                          <a:gd name="connsiteX38" fmla="*/ 33432 w 35190"/>
                          <a:gd name="connsiteY38" fmla="*/ 7980 h 38601"/>
                          <a:gd name="connsiteX39" fmla="*/ 34090 w 35190"/>
                          <a:gd name="connsiteY39" fmla="*/ 7143 h 38601"/>
                          <a:gd name="connsiteX40" fmla="*/ 33612 w 35190"/>
                          <a:gd name="connsiteY40" fmla="*/ 6066 h 38601"/>
                          <a:gd name="connsiteX41" fmla="*/ 33013 w 35190"/>
                          <a:gd name="connsiteY41" fmla="*/ 5049 h 38601"/>
                          <a:gd name="connsiteX42" fmla="*/ 32356 w 35190"/>
                          <a:gd name="connsiteY42" fmla="*/ 4093 h 38601"/>
                          <a:gd name="connsiteX43" fmla="*/ 31578 w 35190"/>
                          <a:gd name="connsiteY43" fmla="*/ 3255 h 38601"/>
                          <a:gd name="connsiteX44" fmla="*/ 30920 w 35190"/>
                          <a:gd name="connsiteY44" fmla="*/ 4093 h 38601"/>
                          <a:gd name="connsiteX45" fmla="*/ 31698 w 35190"/>
                          <a:gd name="connsiteY45" fmla="*/ 4930 h 38601"/>
                          <a:gd name="connsiteX46" fmla="*/ 32356 w 35190"/>
                          <a:gd name="connsiteY46" fmla="*/ 5887 h 38601"/>
                          <a:gd name="connsiteX47" fmla="*/ 32954 w 35190"/>
                          <a:gd name="connsiteY47" fmla="*/ 6903 h 38601"/>
                          <a:gd name="connsiteX48" fmla="*/ 33432 w 35190"/>
                          <a:gd name="connsiteY48" fmla="*/ 7980 h 38601"/>
                          <a:gd name="connsiteX49" fmla="*/ 4545 w 35190"/>
                          <a:gd name="connsiteY49" fmla="*/ 36030 h 38601"/>
                          <a:gd name="connsiteX50" fmla="*/ 4725 w 35190"/>
                          <a:gd name="connsiteY50" fmla="*/ 36209 h 38601"/>
                          <a:gd name="connsiteX51" fmla="*/ 4904 w 35190"/>
                          <a:gd name="connsiteY51" fmla="*/ 36388 h 38601"/>
                          <a:gd name="connsiteX52" fmla="*/ 5083 w 35190"/>
                          <a:gd name="connsiteY52" fmla="*/ 36508 h 38601"/>
                          <a:gd name="connsiteX53" fmla="*/ 5263 w 35190"/>
                          <a:gd name="connsiteY53" fmla="*/ 36628 h 38601"/>
                          <a:gd name="connsiteX54" fmla="*/ 5442 w 35190"/>
                          <a:gd name="connsiteY54" fmla="*/ 36747 h 38601"/>
                          <a:gd name="connsiteX55" fmla="*/ 5622 w 35190"/>
                          <a:gd name="connsiteY55" fmla="*/ 36867 h 38601"/>
                          <a:gd name="connsiteX56" fmla="*/ 5801 w 35190"/>
                          <a:gd name="connsiteY56" fmla="*/ 36987 h 38601"/>
                          <a:gd name="connsiteX57" fmla="*/ 5981 w 35190"/>
                          <a:gd name="connsiteY57" fmla="*/ 37106 h 38601"/>
                          <a:gd name="connsiteX58" fmla="*/ 6459 w 35190"/>
                          <a:gd name="connsiteY58" fmla="*/ 37345 h 38601"/>
                          <a:gd name="connsiteX59" fmla="*/ 6937 w 35190"/>
                          <a:gd name="connsiteY59" fmla="*/ 37585 h 38601"/>
                          <a:gd name="connsiteX60" fmla="*/ 7476 w 35190"/>
                          <a:gd name="connsiteY60" fmla="*/ 37824 h 38601"/>
                          <a:gd name="connsiteX61" fmla="*/ 8014 w 35190"/>
                          <a:gd name="connsiteY61" fmla="*/ 38003 h 38601"/>
                          <a:gd name="connsiteX62" fmla="*/ 8791 w 35190"/>
                          <a:gd name="connsiteY62" fmla="*/ 38242 h 38601"/>
                          <a:gd name="connsiteX63" fmla="*/ 9629 w 35190"/>
                          <a:gd name="connsiteY63" fmla="*/ 38422 h 38601"/>
                          <a:gd name="connsiteX64" fmla="*/ 10466 w 35190"/>
                          <a:gd name="connsiteY64" fmla="*/ 38541 h 38601"/>
                          <a:gd name="connsiteX65" fmla="*/ 11304 w 35190"/>
                          <a:gd name="connsiteY65" fmla="*/ 38601 h 38601"/>
                          <a:gd name="connsiteX66" fmla="*/ 11483 w 35190"/>
                          <a:gd name="connsiteY66" fmla="*/ 38601 h 38601"/>
                          <a:gd name="connsiteX67" fmla="*/ 11662 w 35190"/>
                          <a:gd name="connsiteY67" fmla="*/ 38601 h 38601"/>
                          <a:gd name="connsiteX68" fmla="*/ 11842 w 35190"/>
                          <a:gd name="connsiteY68" fmla="*/ 38601 h 38601"/>
                          <a:gd name="connsiteX69" fmla="*/ 12021 w 35190"/>
                          <a:gd name="connsiteY69" fmla="*/ 38601 h 38601"/>
                          <a:gd name="connsiteX70" fmla="*/ 13756 w 35190"/>
                          <a:gd name="connsiteY70" fmla="*/ 38541 h 38601"/>
                          <a:gd name="connsiteX71" fmla="*/ 15550 w 35190"/>
                          <a:gd name="connsiteY71" fmla="*/ 38242 h 38601"/>
                          <a:gd name="connsiteX72" fmla="*/ 17344 w 35190"/>
                          <a:gd name="connsiteY72" fmla="*/ 37764 h 38601"/>
                          <a:gd name="connsiteX73" fmla="*/ 19198 w 35190"/>
                          <a:gd name="connsiteY73" fmla="*/ 37046 h 38601"/>
                          <a:gd name="connsiteX74" fmla="*/ 19437 w 35190"/>
                          <a:gd name="connsiteY74" fmla="*/ 36927 h 38601"/>
                          <a:gd name="connsiteX75" fmla="*/ 19676 w 35190"/>
                          <a:gd name="connsiteY75" fmla="*/ 36807 h 38601"/>
                          <a:gd name="connsiteX76" fmla="*/ 19916 w 35190"/>
                          <a:gd name="connsiteY76" fmla="*/ 36687 h 38601"/>
                          <a:gd name="connsiteX77" fmla="*/ 20155 w 35190"/>
                          <a:gd name="connsiteY77" fmla="*/ 36568 h 38601"/>
                          <a:gd name="connsiteX78" fmla="*/ 20394 w 35190"/>
                          <a:gd name="connsiteY78" fmla="*/ 36448 h 38601"/>
                          <a:gd name="connsiteX79" fmla="*/ 20634 w 35190"/>
                          <a:gd name="connsiteY79" fmla="*/ 36329 h 38601"/>
                          <a:gd name="connsiteX80" fmla="*/ 20873 w 35190"/>
                          <a:gd name="connsiteY80" fmla="*/ 36209 h 38601"/>
                          <a:gd name="connsiteX81" fmla="*/ 21112 w 35190"/>
                          <a:gd name="connsiteY81" fmla="*/ 36089 h 38601"/>
                          <a:gd name="connsiteX82" fmla="*/ 24401 w 35190"/>
                          <a:gd name="connsiteY82" fmla="*/ 33936 h 38601"/>
                          <a:gd name="connsiteX83" fmla="*/ 27392 w 35190"/>
                          <a:gd name="connsiteY83" fmla="*/ 31245 h 38601"/>
                          <a:gd name="connsiteX84" fmla="*/ 30023 w 35190"/>
                          <a:gd name="connsiteY84" fmla="*/ 28075 h 38601"/>
                          <a:gd name="connsiteX85" fmla="*/ 32236 w 35190"/>
                          <a:gd name="connsiteY85" fmla="*/ 24547 h 38601"/>
                          <a:gd name="connsiteX86" fmla="*/ 34090 w 35190"/>
                          <a:gd name="connsiteY86" fmla="*/ 20121 h 38601"/>
                          <a:gd name="connsiteX87" fmla="*/ 35047 w 35190"/>
                          <a:gd name="connsiteY87" fmla="*/ 15755 h 38601"/>
                          <a:gd name="connsiteX88" fmla="*/ 35107 w 35190"/>
                          <a:gd name="connsiteY88" fmla="*/ 11628 h 38601"/>
                          <a:gd name="connsiteX89" fmla="*/ 34329 w 35190"/>
                          <a:gd name="connsiteY89" fmla="*/ 7920 h 38601"/>
                          <a:gd name="connsiteX90" fmla="*/ 33671 w 35190"/>
                          <a:gd name="connsiteY90" fmla="*/ 8817 h 38601"/>
                          <a:gd name="connsiteX91" fmla="*/ 34329 w 35190"/>
                          <a:gd name="connsiteY91" fmla="*/ 12286 h 38601"/>
                          <a:gd name="connsiteX92" fmla="*/ 34210 w 35190"/>
                          <a:gd name="connsiteY92" fmla="*/ 16114 h 38601"/>
                          <a:gd name="connsiteX93" fmla="*/ 33313 w 35190"/>
                          <a:gd name="connsiteY93" fmla="*/ 20181 h 38601"/>
                          <a:gd name="connsiteX94" fmla="*/ 31578 w 35190"/>
                          <a:gd name="connsiteY94" fmla="*/ 24308 h 38601"/>
                          <a:gd name="connsiteX95" fmla="*/ 29485 w 35190"/>
                          <a:gd name="connsiteY95" fmla="*/ 27657 h 38601"/>
                          <a:gd name="connsiteX96" fmla="*/ 26973 w 35190"/>
                          <a:gd name="connsiteY96" fmla="*/ 30647 h 38601"/>
                          <a:gd name="connsiteX97" fmla="*/ 24102 w 35190"/>
                          <a:gd name="connsiteY97" fmla="*/ 33219 h 38601"/>
                          <a:gd name="connsiteX98" fmla="*/ 20933 w 35190"/>
                          <a:gd name="connsiteY98" fmla="*/ 35312 h 38601"/>
                          <a:gd name="connsiteX99" fmla="*/ 20873 w 35190"/>
                          <a:gd name="connsiteY99" fmla="*/ 35372 h 38601"/>
                          <a:gd name="connsiteX100" fmla="*/ 20813 w 35190"/>
                          <a:gd name="connsiteY100" fmla="*/ 35432 h 38601"/>
                          <a:gd name="connsiteX101" fmla="*/ 20753 w 35190"/>
                          <a:gd name="connsiteY101" fmla="*/ 35491 h 38601"/>
                          <a:gd name="connsiteX102" fmla="*/ 20693 w 35190"/>
                          <a:gd name="connsiteY102" fmla="*/ 35551 h 38601"/>
                          <a:gd name="connsiteX103" fmla="*/ 20454 w 35190"/>
                          <a:gd name="connsiteY103" fmla="*/ 35671 h 38601"/>
                          <a:gd name="connsiteX104" fmla="*/ 20215 w 35190"/>
                          <a:gd name="connsiteY104" fmla="*/ 35790 h 38601"/>
                          <a:gd name="connsiteX105" fmla="*/ 19975 w 35190"/>
                          <a:gd name="connsiteY105" fmla="*/ 35910 h 38601"/>
                          <a:gd name="connsiteX106" fmla="*/ 19736 w 35190"/>
                          <a:gd name="connsiteY106" fmla="*/ 36030 h 38601"/>
                          <a:gd name="connsiteX107" fmla="*/ 17882 w 35190"/>
                          <a:gd name="connsiteY107" fmla="*/ 36807 h 38601"/>
                          <a:gd name="connsiteX108" fmla="*/ 16028 w 35190"/>
                          <a:gd name="connsiteY108" fmla="*/ 37345 h 38601"/>
                          <a:gd name="connsiteX109" fmla="*/ 14234 w 35190"/>
                          <a:gd name="connsiteY109" fmla="*/ 37644 h 38601"/>
                          <a:gd name="connsiteX110" fmla="*/ 12440 w 35190"/>
                          <a:gd name="connsiteY110" fmla="*/ 37764 h 38601"/>
                          <a:gd name="connsiteX111" fmla="*/ 12260 w 35190"/>
                          <a:gd name="connsiteY111" fmla="*/ 37764 h 38601"/>
                          <a:gd name="connsiteX112" fmla="*/ 12081 w 35190"/>
                          <a:gd name="connsiteY112" fmla="*/ 37764 h 38601"/>
                          <a:gd name="connsiteX113" fmla="*/ 11902 w 35190"/>
                          <a:gd name="connsiteY113" fmla="*/ 37764 h 38601"/>
                          <a:gd name="connsiteX114" fmla="*/ 11722 w 35190"/>
                          <a:gd name="connsiteY114" fmla="*/ 37764 h 38601"/>
                          <a:gd name="connsiteX115" fmla="*/ 10885 w 35190"/>
                          <a:gd name="connsiteY115" fmla="*/ 37704 h 38601"/>
                          <a:gd name="connsiteX116" fmla="*/ 10048 w 35190"/>
                          <a:gd name="connsiteY116" fmla="*/ 37585 h 38601"/>
                          <a:gd name="connsiteX117" fmla="*/ 9270 w 35190"/>
                          <a:gd name="connsiteY117" fmla="*/ 37405 h 38601"/>
                          <a:gd name="connsiteX118" fmla="*/ 8493 w 35190"/>
                          <a:gd name="connsiteY118" fmla="*/ 37166 h 38601"/>
                          <a:gd name="connsiteX119" fmla="*/ 7954 w 35190"/>
                          <a:gd name="connsiteY119" fmla="*/ 36987 h 38601"/>
                          <a:gd name="connsiteX120" fmla="*/ 7416 w 35190"/>
                          <a:gd name="connsiteY120" fmla="*/ 36747 h 38601"/>
                          <a:gd name="connsiteX121" fmla="*/ 6937 w 35190"/>
                          <a:gd name="connsiteY121" fmla="*/ 36508 h 38601"/>
                          <a:gd name="connsiteX122" fmla="*/ 6459 w 35190"/>
                          <a:gd name="connsiteY122" fmla="*/ 36209 h 38601"/>
                          <a:gd name="connsiteX123" fmla="*/ 6280 w 35190"/>
                          <a:gd name="connsiteY123" fmla="*/ 36089 h 38601"/>
                          <a:gd name="connsiteX124" fmla="*/ 6100 w 35190"/>
                          <a:gd name="connsiteY124" fmla="*/ 35970 h 38601"/>
                          <a:gd name="connsiteX125" fmla="*/ 5921 w 35190"/>
                          <a:gd name="connsiteY125" fmla="*/ 35850 h 38601"/>
                          <a:gd name="connsiteX126" fmla="*/ 5741 w 35190"/>
                          <a:gd name="connsiteY126" fmla="*/ 35731 h 38601"/>
                          <a:gd name="connsiteX127" fmla="*/ 5562 w 35190"/>
                          <a:gd name="connsiteY127" fmla="*/ 35611 h 38601"/>
                          <a:gd name="connsiteX128" fmla="*/ 5442 w 35190"/>
                          <a:gd name="connsiteY128" fmla="*/ 35491 h 38601"/>
                          <a:gd name="connsiteX129" fmla="*/ 5323 w 35190"/>
                          <a:gd name="connsiteY129" fmla="*/ 35372 h 38601"/>
                          <a:gd name="connsiteX130" fmla="*/ 5203 w 35190"/>
                          <a:gd name="connsiteY130" fmla="*/ 35252 h 38601"/>
                          <a:gd name="connsiteX131" fmla="*/ 4486 w 35190"/>
                          <a:gd name="connsiteY131" fmla="*/ 34654 h 38601"/>
                          <a:gd name="connsiteX132" fmla="*/ 3828 w 35190"/>
                          <a:gd name="connsiteY132" fmla="*/ 33996 h 38601"/>
                          <a:gd name="connsiteX133" fmla="*/ 3229 w 35190"/>
                          <a:gd name="connsiteY133" fmla="*/ 33279 h 38601"/>
                          <a:gd name="connsiteX134" fmla="*/ 2691 w 35190"/>
                          <a:gd name="connsiteY134" fmla="*/ 32501 h 38601"/>
                          <a:gd name="connsiteX135" fmla="*/ 2572 w 35190"/>
                          <a:gd name="connsiteY135" fmla="*/ 32322 h 38601"/>
                          <a:gd name="connsiteX136" fmla="*/ 2452 w 35190"/>
                          <a:gd name="connsiteY136" fmla="*/ 32142 h 38601"/>
                          <a:gd name="connsiteX137" fmla="*/ 2333 w 35190"/>
                          <a:gd name="connsiteY137" fmla="*/ 31963 h 38601"/>
                          <a:gd name="connsiteX138" fmla="*/ 2213 w 35190"/>
                          <a:gd name="connsiteY138" fmla="*/ 31724 h 38601"/>
                          <a:gd name="connsiteX139" fmla="*/ 1854 w 35190"/>
                          <a:gd name="connsiteY139" fmla="*/ 31006 h 38601"/>
                          <a:gd name="connsiteX140" fmla="*/ 1555 w 35190"/>
                          <a:gd name="connsiteY140" fmla="*/ 30228 h 38601"/>
                          <a:gd name="connsiteX141" fmla="*/ 1316 w 35190"/>
                          <a:gd name="connsiteY141" fmla="*/ 29391 h 38601"/>
                          <a:gd name="connsiteX142" fmla="*/ 1136 w 35190"/>
                          <a:gd name="connsiteY142" fmla="*/ 28554 h 38601"/>
                          <a:gd name="connsiteX143" fmla="*/ 778 w 35190"/>
                          <a:gd name="connsiteY143" fmla="*/ 25204 h 38601"/>
                          <a:gd name="connsiteX144" fmla="*/ 1076 w 35190"/>
                          <a:gd name="connsiteY144" fmla="*/ 21676 h 38601"/>
                          <a:gd name="connsiteX145" fmla="*/ 2033 w 35190"/>
                          <a:gd name="connsiteY145" fmla="*/ 18087 h 38601"/>
                          <a:gd name="connsiteX146" fmla="*/ 3588 w 35190"/>
                          <a:gd name="connsiteY146" fmla="*/ 14499 h 38601"/>
                          <a:gd name="connsiteX147" fmla="*/ 7775 w 35190"/>
                          <a:gd name="connsiteY147" fmla="*/ 8518 h 38601"/>
                          <a:gd name="connsiteX148" fmla="*/ 13098 w 35190"/>
                          <a:gd name="connsiteY148" fmla="*/ 4093 h 38601"/>
                          <a:gd name="connsiteX149" fmla="*/ 18899 w 35190"/>
                          <a:gd name="connsiteY149" fmla="*/ 1521 h 38601"/>
                          <a:gd name="connsiteX150" fmla="*/ 24641 w 35190"/>
                          <a:gd name="connsiteY150" fmla="*/ 1102 h 38601"/>
                          <a:gd name="connsiteX151" fmla="*/ 25358 w 35190"/>
                          <a:gd name="connsiteY151" fmla="*/ 205 h 38601"/>
                          <a:gd name="connsiteX152" fmla="*/ 19258 w 35190"/>
                          <a:gd name="connsiteY152" fmla="*/ 504 h 38601"/>
                          <a:gd name="connsiteX153" fmla="*/ 13038 w 35190"/>
                          <a:gd name="connsiteY153" fmla="*/ 3136 h 38601"/>
                          <a:gd name="connsiteX154" fmla="*/ 7356 w 35190"/>
                          <a:gd name="connsiteY154" fmla="*/ 7801 h 38601"/>
                          <a:gd name="connsiteX155" fmla="*/ 2871 w 35190"/>
                          <a:gd name="connsiteY155" fmla="*/ 14200 h 38601"/>
                          <a:gd name="connsiteX156" fmla="*/ 1256 w 35190"/>
                          <a:gd name="connsiteY156" fmla="*/ 17968 h 38601"/>
                          <a:gd name="connsiteX157" fmla="*/ 299 w 35190"/>
                          <a:gd name="connsiteY157" fmla="*/ 21736 h 38601"/>
                          <a:gd name="connsiteX158" fmla="*/ 0 w 35190"/>
                          <a:gd name="connsiteY158" fmla="*/ 25444 h 38601"/>
                          <a:gd name="connsiteX159" fmla="*/ 359 w 35190"/>
                          <a:gd name="connsiteY159" fmla="*/ 28912 h 38601"/>
                          <a:gd name="connsiteX160" fmla="*/ 598 w 35190"/>
                          <a:gd name="connsiteY160" fmla="*/ 29929 h 38601"/>
                          <a:gd name="connsiteX161" fmla="*/ 897 w 35190"/>
                          <a:gd name="connsiteY161" fmla="*/ 30886 h 38601"/>
                          <a:gd name="connsiteX162" fmla="*/ 1256 w 35190"/>
                          <a:gd name="connsiteY162" fmla="*/ 31843 h 38601"/>
                          <a:gd name="connsiteX163" fmla="*/ 1674 w 35190"/>
                          <a:gd name="connsiteY163" fmla="*/ 32740 h 38601"/>
                          <a:gd name="connsiteX164" fmla="*/ 1794 w 35190"/>
                          <a:gd name="connsiteY164" fmla="*/ 32919 h 38601"/>
                          <a:gd name="connsiteX165" fmla="*/ 1914 w 35190"/>
                          <a:gd name="connsiteY165" fmla="*/ 33099 h 38601"/>
                          <a:gd name="connsiteX166" fmla="*/ 2033 w 35190"/>
                          <a:gd name="connsiteY166" fmla="*/ 33279 h 38601"/>
                          <a:gd name="connsiteX167" fmla="*/ 2153 w 35190"/>
                          <a:gd name="connsiteY167" fmla="*/ 33458 h 38601"/>
                          <a:gd name="connsiteX168" fmla="*/ 2632 w 35190"/>
                          <a:gd name="connsiteY168" fmla="*/ 34176 h 38601"/>
                          <a:gd name="connsiteX169" fmla="*/ 3170 w 35190"/>
                          <a:gd name="connsiteY169" fmla="*/ 34833 h 38601"/>
                          <a:gd name="connsiteX170" fmla="*/ 3768 w 35190"/>
                          <a:gd name="connsiteY170" fmla="*/ 35432 h 38601"/>
                          <a:gd name="connsiteX171" fmla="*/ 4545 w 35190"/>
                          <a:gd name="connsiteY171" fmla="*/ 36030 h 3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35190" h="38601">
                            <a:moveTo>
                              <a:pt x="28528" y="2298"/>
                            </a:moveTo>
                            <a:cubicBezTo>
                              <a:pt x="28707" y="2358"/>
                              <a:pt x="28827" y="2478"/>
                              <a:pt x="29006" y="2598"/>
                            </a:cubicBezTo>
                            <a:cubicBezTo>
                              <a:pt x="29186" y="2717"/>
                              <a:pt x="29305" y="2777"/>
                              <a:pt x="29485" y="2896"/>
                            </a:cubicBezTo>
                            <a:cubicBezTo>
                              <a:pt x="29605" y="3016"/>
                              <a:pt x="29784" y="3076"/>
                              <a:pt x="29904" y="3195"/>
                            </a:cubicBezTo>
                            <a:cubicBezTo>
                              <a:pt x="30023" y="3315"/>
                              <a:pt x="30203" y="3435"/>
                              <a:pt x="30322" y="3554"/>
                            </a:cubicBezTo>
                            <a:cubicBezTo>
                              <a:pt x="30322" y="3554"/>
                              <a:pt x="30322" y="3554"/>
                              <a:pt x="30322" y="3554"/>
                            </a:cubicBezTo>
                            <a:cubicBezTo>
                              <a:pt x="30322" y="3554"/>
                              <a:pt x="30322" y="3554"/>
                              <a:pt x="30322" y="3554"/>
                            </a:cubicBezTo>
                            <a:cubicBezTo>
                              <a:pt x="30322" y="3554"/>
                              <a:pt x="30322" y="3554"/>
                              <a:pt x="30322" y="3554"/>
                            </a:cubicBezTo>
                            <a:cubicBezTo>
                              <a:pt x="30322" y="3554"/>
                              <a:pt x="30322" y="3554"/>
                              <a:pt x="30322" y="3554"/>
                            </a:cubicBezTo>
                            <a:lnTo>
                              <a:pt x="30980" y="2717"/>
                            </a:lnTo>
                            <a:cubicBezTo>
                              <a:pt x="30980" y="2717"/>
                              <a:pt x="30980" y="2717"/>
                              <a:pt x="30920" y="2717"/>
                            </a:cubicBezTo>
                            <a:cubicBezTo>
                              <a:pt x="30920" y="2717"/>
                              <a:pt x="30920" y="2717"/>
                              <a:pt x="30860" y="2717"/>
                            </a:cubicBezTo>
                            <a:cubicBezTo>
                              <a:pt x="30860" y="2717"/>
                              <a:pt x="30860" y="2717"/>
                              <a:pt x="30801" y="2717"/>
                            </a:cubicBezTo>
                            <a:cubicBezTo>
                              <a:pt x="30801" y="2717"/>
                              <a:pt x="30801" y="2717"/>
                              <a:pt x="30741" y="2717"/>
                            </a:cubicBezTo>
                            <a:cubicBezTo>
                              <a:pt x="30621" y="2598"/>
                              <a:pt x="30442" y="2478"/>
                              <a:pt x="30322" y="2358"/>
                            </a:cubicBezTo>
                            <a:cubicBezTo>
                              <a:pt x="30203" y="2239"/>
                              <a:pt x="30023" y="2179"/>
                              <a:pt x="29904" y="2059"/>
                            </a:cubicBezTo>
                            <a:cubicBezTo>
                              <a:pt x="29784" y="1939"/>
                              <a:pt x="29605" y="1880"/>
                              <a:pt x="29485" y="1760"/>
                            </a:cubicBezTo>
                            <a:cubicBezTo>
                              <a:pt x="29305" y="1640"/>
                              <a:pt x="29186" y="1581"/>
                              <a:pt x="29006" y="1521"/>
                            </a:cubicBezTo>
                            <a:lnTo>
                              <a:pt x="28528" y="2298"/>
                            </a:lnTo>
                            <a:moveTo>
                              <a:pt x="25537" y="1162"/>
                            </a:moveTo>
                            <a:cubicBezTo>
                              <a:pt x="25657" y="1162"/>
                              <a:pt x="25777" y="1222"/>
                              <a:pt x="25956" y="1282"/>
                            </a:cubicBezTo>
                            <a:cubicBezTo>
                              <a:pt x="26076" y="1341"/>
                              <a:pt x="26196" y="1341"/>
                              <a:pt x="26375" y="1401"/>
                            </a:cubicBezTo>
                            <a:cubicBezTo>
                              <a:pt x="26495" y="1461"/>
                              <a:pt x="26614" y="1461"/>
                              <a:pt x="26734" y="1521"/>
                            </a:cubicBezTo>
                            <a:cubicBezTo>
                              <a:pt x="26853" y="1581"/>
                              <a:pt x="26973" y="1581"/>
                              <a:pt x="27092" y="1640"/>
                            </a:cubicBezTo>
                            <a:cubicBezTo>
                              <a:pt x="27152" y="1640"/>
                              <a:pt x="27212" y="1700"/>
                              <a:pt x="27272" y="1700"/>
                            </a:cubicBezTo>
                            <a:cubicBezTo>
                              <a:pt x="27332" y="1700"/>
                              <a:pt x="27392" y="1760"/>
                              <a:pt x="27451" y="1760"/>
                            </a:cubicBezTo>
                            <a:cubicBezTo>
                              <a:pt x="27511" y="1760"/>
                              <a:pt x="27571" y="1820"/>
                              <a:pt x="27631" y="1820"/>
                            </a:cubicBezTo>
                            <a:cubicBezTo>
                              <a:pt x="27691" y="1820"/>
                              <a:pt x="27751" y="1880"/>
                              <a:pt x="27810" y="1880"/>
                            </a:cubicBezTo>
                            <a:lnTo>
                              <a:pt x="28468" y="1042"/>
                            </a:lnTo>
                            <a:cubicBezTo>
                              <a:pt x="28408" y="983"/>
                              <a:pt x="28289" y="983"/>
                              <a:pt x="28229" y="923"/>
                            </a:cubicBezTo>
                            <a:cubicBezTo>
                              <a:pt x="28169" y="863"/>
                              <a:pt x="28050" y="863"/>
                              <a:pt x="27990" y="803"/>
                            </a:cubicBezTo>
                            <a:cubicBezTo>
                              <a:pt x="27930" y="744"/>
                              <a:pt x="27810" y="744"/>
                              <a:pt x="27751" y="684"/>
                            </a:cubicBezTo>
                            <a:cubicBezTo>
                              <a:pt x="27691" y="624"/>
                              <a:pt x="27571" y="624"/>
                              <a:pt x="27511" y="564"/>
                            </a:cubicBezTo>
                            <a:cubicBezTo>
                              <a:pt x="27392" y="504"/>
                              <a:pt x="27272" y="504"/>
                              <a:pt x="27152" y="444"/>
                            </a:cubicBezTo>
                            <a:cubicBezTo>
                              <a:pt x="27033" y="385"/>
                              <a:pt x="26913" y="385"/>
                              <a:pt x="26794" y="325"/>
                            </a:cubicBezTo>
                            <a:cubicBezTo>
                              <a:pt x="26674" y="265"/>
                              <a:pt x="26554" y="265"/>
                              <a:pt x="26435" y="205"/>
                            </a:cubicBezTo>
                            <a:cubicBezTo>
                              <a:pt x="26315" y="145"/>
                              <a:pt x="26196" y="145"/>
                              <a:pt x="26076" y="145"/>
                            </a:cubicBezTo>
                            <a:lnTo>
                              <a:pt x="25537" y="1162"/>
                            </a:lnTo>
                            <a:moveTo>
                              <a:pt x="33432" y="7980"/>
                            </a:moveTo>
                            <a:lnTo>
                              <a:pt x="34090" y="7143"/>
                            </a:lnTo>
                            <a:cubicBezTo>
                              <a:pt x="33911" y="6784"/>
                              <a:pt x="33791" y="6425"/>
                              <a:pt x="33612" y="6066"/>
                            </a:cubicBezTo>
                            <a:cubicBezTo>
                              <a:pt x="33432" y="5707"/>
                              <a:pt x="33253" y="5408"/>
                              <a:pt x="33013" y="5049"/>
                            </a:cubicBezTo>
                            <a:cubicBezTo>
                              <a:pt x="32774" y="4750"/>
                              <a:pt x="32595" y="4392"/>
                              <a:pt x="32356" y="4093"/>
                            </a:cubicBezTo>
                            <a:cubicBezTo>
                              <a:pt x="32116" y="3793"/>
                              <a:pt x="31877" y="3494"/>
                              <a:pt x="31578" y="3255"/>
                            </a:cubicBezTo>
                            <a:lnTo>
                              <a:pt x="30920" y="4093"/>
                            </a:lnTo>
                            <a:cubicBezTo>
                              <a:pt x="31219" y="4392"/>
                              <a:pt x="31459" y="4631"/>
                              <a:pt x="31698" y="4930"/>
                            </a:cubicBezTo>
                            <a:cubicBezTo>
                              <a:pt x="31937" y="5229"/>
                              <a:pt x="32176" y="5528"/>
                              <a:pt x="32356" y="5887"/>
                            </a:cubicBezTo>
                            <a:cubicBezTo>
                              <a:pt x="32595" y="6186"/>
                              <a:pt x="32774" y="6545"/>
                              <a:pt x="32954" y="6903"/>
                            </a:cubicBezTo>
                            <a:cubicBezTo>
                              <a:pt x="33133" y="7202"/>
                              <a:pt x="33313" y="7561"/>
                              <a:pt x="33432" y="7980"/>
                            </a:cubicBezTo>
                            <a:moveTo>
                              <a:pt x="4545" y="36030"/>
                            </a:moveTo>
                            <a:cubicBezTo>
                              <a:pt x="4605" y="36089"/>
                              <a:pt x="4665" y="36149"/>
                              <a:pt x="4725" y="36209"/>
                            </a:cubicBezTo>
                            <a:cubicBezTo>
                              <a:pt x="4785" y="36269"/>
                              <a:pt x="4844" y="36329"/>
                              <a:pt x="4904" y="36388"/>
                            </a:cubicBezTo>
                            <a:cubicBezTo>
                              <a:pt x="4964" y="36448"/>
                              <a:pt x="5024" y="36508"/>
                              <a:pt x="5083" y="36508"/>
                            </a:cubicBezTo>
                            <a:cubicBezTo>
                              <a:pt x="5143" y="36568"/>
                              <a:pt x="5203" y="36628"/>
                              <a:pt x="5263" y="36628"/>
                            </a:cubicBezTo>
                            <a:cubicBezTo>
                              <a:pt x="5323" y="36687"/>
                              <a:pt x="5382" y="36687"/>
                              <a:pt x="5442" y="36747"/>
                            </a:cubicBezTo>
                            <a:cubicBezTo>
                              <a:pt x="5502" y="36807"/>
                              <a:pt x="5562" y="36807"/>
                              <a:pt x="5622" y="36867"/>
                            </a:cubicBezTo>
                            <a:cubicBezTo>
                              <a:pt x="5682" y="36927"/>
                              <a:pt x="5741" y="36927"/>
                              <a:pt x="5801" y="36987"/>
                            </a:cubicBezTo>
                            <a:cubicBezTo>
                              <a:pt x="5861" y="37046"/>
                              <a:pt x="5921" y="37046"/>
                              <a:pt x="5981" y="37106"/>
                            </a:cubicBezTo>
                            <a:cubicBezTo>
                              <a:pt x="6160" y="37226"/>
                              <a:pt x="6280" y="37286"/>
                              <a:pt x="6459" y="37345"/>
                            </a:cubicBezTo>
                            <a:cubicBezTo>
                              <a:pt x="6639" y="37405"/>
                              <a:pt x="6758" y="37525"/>
                              <a:pt x="6937" y="37585"/>
                            </a:cubicBezTo>
                            <a:cubicBezTo>
                              <a:pt x="7117" y="37644"/>
                              <a:pt x="7296" y="37704"/>
                              <a:pt x="7476" y="37824"/>
                            </a:cubicBezTo>
                            <a:cubicBezTo>
                              <a:pt x="7655" y="37943"/>
                              <a:pt x="7835" y="37943"/>
                              <a:pt x="8014" y="38003"/>
                            </a:cubicBezTo>
                            <a:cubicBezTo>
                              <a:pt x="8253" y="38123"/>
                              <a:pt x="8552" y="38183"/>
                              <a:pt x="8791" y="38242"/>
                            </a:cubicBezTo>
                            <a:cubicBezTo>
                              <a:pt x="9031" y="38302"/>
                              <a:pt x="9330" y="38362"/>
                              <a:pt x="9629" y="38422"/>
                            </a:cubicBezTo>
                            <a:cubicBezTo>
                              <a:pt x="9928" y="38482"/>
                              <a:pt x="10167" y="38541"/>
                              <a:pt x="10466" y="38541"/>
                            </a:cubicBezTo>
                            <a:cubicBezTo>
                              <a:pt x="10765" y="38601"/>
                              <a:pt x="11004" y="38601"/>
                              <a:pt x="11304" y="38601"/>
                            </a:cubicBezTo>
                            <a:cubicBezTo>
                              <a:pt x="11363" y="38601"/>
                              <a:pt x="11423" y="38601"/>
                              <a:pt x="11483" y="38601"/>
                            </a:cubicBezTo>
                            <a:cubicBezTo>
                              <a:pt x="11543" y="38601"/>
                              <a:pt x="11603" y="38601"/>
                              <a:pt x="11662" y="38601"/>
                            </a:cubicBezTo>
                            <a:cubicBezTo>
                              <a:pt x="11722" y="38601"/>
                              <a:pt x="11782" y="38601"/>
                              <a:pt x="11842" y="38601"/>
                            </a:cubicBezTo>
                            <a:cubicBezTo>
                              <a:pt x="11902" y="38601"/>
                              <a:pt x="11961" y="38601"/>
                              <a:pt x="12021" y="38601"/>
                            </a:cubicBezTo>
                            <a:cubicBezTo>
                              <a:pt x="12619" y="38601"/>
                              <a:pt x="13158" y="38601"/>
                              <a:pt x="13756" y="38541"/>
                            </a:cubicBezTo>
                            <a:cubicBezTo>
                              <a:pt x="14354" y="38482"/>
                              <a:pt x="14952" y="38362"/>
                              <a:pt x="15550" y="38242"/>
                            </a:cubicBezTo>
                            <a:cubicBezTo>
                              <a:pt x="16148" y="38123"/>
                              <a:pt x="16746" y="37943"/>
                              <a:pt x="17344" y="37764"/>
                            </a:cubicBezTo>
                            <a:cubicBezTo>
                              <a:pt x="17942" y="37585"/>
                              <a:pt x="18540" y="37345"/>
                              <a:pt x="19198" y="37046"/>
                            </a:cubicBezTo>
                            <a:cubicBezTo>
                              <a:pt x="19258" y="36987"/>
                              <a:pt x="19377" y="36987"/>
                              <a:pt x="19437" y="36927"/>
                            </a:cubicBezTo>
                            <a:cubicBezTo>
                              <a:pt x="19497" y="36867"/>
                              <a:pt x="19617" y="36867"/>
                              <a:pt x="19676" y="36807"/>
                            </a:cubicBezTo>
                            <a:cubicBezTo>
                              <a:pt x="19736" y="36747"/>
                              <a:pt x="19856" y="36747"/>
                              <a:pt x="19916" y="36687"/>
                            </a:cubicBezTo>
                            <a:cubicBezTo>
                              <a:pt x="19975" y="36628"/>
                              <a:pt x="20095" y="36628"/>
                              <a:pt x="20155" y="36568"/>
                            </a:cubicBezTo>
                            <a:cubicBezTo>
                              <a:pt x="20215" y="36508"/>
                              <a:pt x="20334" y="36508"/>
                              <a:pt x="20394" y="36448"/>
                            </a:cubicBezTo>
                            <a:cubicBezTo>
                              <a:pt x="20454" y="36388"/>
                              <a:pt x="20574" y="36388"/>
                              <a:pt x="20634" y="36329"/>
                            </a:cubicBezTo>
                            <a:cubicBezTo>
                              <a:pt x="20693" y="36269"/>
                              <a:pt x="20813" y="36269"/>
                              <a:pt x="20873" y="36209"/>
                            </a:cubicBezTo>
                            <a:cubicBezTo>
                              <a:pt x="20933" y="36149"/>
                              <a:pt x="21052" y="36149"/>
                              <a:pt x="21112" y="36089"/>
                            </a:cubicBezTo>
                            <a:cubicBezTo>
                              <a:pt x="22248" y="35432"/>
                              <a:pt x="23384" y="34714"/>
                              <a:pt x="24401" y="33936"/>
                            </a:cubicBezTo>
                            <a:cubicBezTo>
                              <a:pt x="25478" y="33099"/>
                              <a:pt x="26435" y="32202"/>
                              <a:pt x="27392" y="31245"/>
                            </a:cubicBezTo>
                            <a:cubicBezTo>
                              <a:pt x="28349" y="30288"/>
                              <a:pt x="29186" y="29211"/>
                              <a:pt x="30023" y="28075"/>
                            </a:cubicBezTo>
                            <a:cubicBezTo>
                              <a:pt x="30801" y="26939"/>
                              <a:pt x="31578" y="25803"/>
                              <a:pt x="32236" y="24547"/>
                            </a:cubicBezTo>
                            <a:cubicBezTo>
                              <a:pt x="33013" y="23051"/>
                              <a:pt x="33612" y="21556"/>
                              <a:pt x="34090" y="20121"/>
                            </a:cubicBezTo>
                            <a:cubicBezTo>
                              <a:pt x="34568" y="18626"/>
                              <a:pt x="34868" y="17190"/>
                              <a:pt x="35047" y="15755"/>
                            </a:cubicBezTo>
                            <a:cubicBezTo>
                              <a:pt x="35227" y="14319"/>
                              <a:pt x="35227" y="12944"/>
                              <a:pt x="35107" y="11628"/>
                            </a:cubicBezTo>
                            <a:cubicBezTo>
                              <a:pt x="34987" y="10313"/>
                              <a:pt x="34688" y="9056"/>
                              <a:pt x="34329" y="7920"/>
                            </a:cubicBezTo>
                            <a:lnTo>
                              <a:pt x="33671" y="8817"/>
                            </a:lnTo>
                            <a:cubicBezTo>
                              <a:pt x="34030" y="9894"/>
                              <a:pt x="34269" y="11090"/>
                              <a:pt x="34329" y="12286"/>
                            </a:cubicBezTo>
                            <a:cubicBezTo>
                              <a:pt x="34449" y="13542"/>
                              <a:pt x="34389" y="14798"/>
                              <a:pt x="34210" y="16114"/>
                            </a:cubicBezTo>
                            <a:cubicBezTo>
                              <a:pt x="34030" y="17430"/>
                              <a:pt x="33731" y="18805"/>
                              <a:pt x="33313" y="20181"/>
                            </a:cubicBezTo>
                            <a:cubicBezTo>
                              <a:pt x="32894" y="21556"/>
                              <a:pt x="32296" y="22932"/>
                              <a:pt x="31578" y="24308"/>
                            </a:cubicBezTo>
                            <a:cubicBezTo>
                              <a:pt x="30980" y="25503"/>
                              <a:pt x="30262" y="26580"/>
                              <a:pt x="29485" y="27657"/>
                            </a:cubicBezTo>
                            <a:cubicBezTo>
                              <a:pt x="28707" y="28733"/>
                              <a:pt x="27870" y="29750"/>
                              <a:pt x="26973" y="30647"/>
                            </a:cubicBezTo>
                            <a:cubicBezTo>
                              <a:pt x="26076" y="31604"/>
                              <a:pt x="25119" y="32441"/>
                              <a:pt x="24102" y="33219"/>
                            </a:cubicBezTo>
                            <a:cubicBezTo>
                              <a:pt x="23086" y="33996"/>
                              <a:pt x="22069" y="34714"/>
                              <a:pt x="20933" y="35312"/>
                            </a:cubicBezTo>
                            <a:cubicBezTo>
                              <a:pt x="20933" y="35312"/>
                              <a:pt x="20873" y="35312"/>
                              <a:pt x="20873" y="35372"/>
                            </a:cubicBezTo>
                            <a:cubicBezTo>
                              <a:pt x="20873" y="35432"/>
                              <a:pt x="20813" y="35372"/>
                              <a:pt x="20813" y="35432"/>
                            </a:cubicBezTo>
                            <a:cubicBezTo>
                              <a:pt x="20813" y="35432"/>
                              <a:pt x="20753" y="35432"/>
                              <a:pt x="20753" y="35491"/>
                            </a:cubicBezTo>
                            <a:cubicBezTo>
                              <a:pt x="20753" y="35491"/>
                              <a:pt x="20693" y="35491"/>
                              <a:pt x="20693" y="35551"/>
                            </a:cubicBezTo>
                            <a:cubicBezTo>
                              <a:pt x="20634" y="35611"/>
                              <a:pt x="20514" y="35671"/>
                              <a:pt x="20454" y="35671"/>
                            </a:cubicBezTo>
                            <a:cubicBezTo>
                              <a:pt x="20394" y="35731"/>
                              <a:pt x="20275" y="35731"/>
                              <a:pt x="20215" y="35790"/>
                            </a:cubicBezTo>
                            <a:cubicBezTo>
                              <a:pt x="20155" y="35850"/>
                              <a:pt x="20035" y="35850"/>
                              <a:pt x="19975" y="35910"/>
                            </a:cubicBezTo>
                            <a:cubicBezTo>
                              <a:pt x="19916" y="35970"/>
                              <a:pt x="19796" y="35970"/>
                              <a:pt x="19736" y="36030"/>
                            </a:cubicBezTo>
                            <a:cubicBezTo>
                              <a:pt x="19138" y="36329"/>
                              <a:pt x="18480" y="36568"/>
                              <a:pt x="17882" y="36807"/>
                            </a:cubicBezTo>
                            <a:cubicBezTo>
                              <a:pt x="17284" y="37046"/>
                              <a:pt x="16626" y="37226"/>
                              <a:pt x="16028" y="37345"/>
                            </a:cubicBezTo>
                            <a:cubicBezTo>
                              <a:pt x="15430" y="37465"/>
                              <a:pt x="14832" y="37585"/>
                              <a:pt x="14234" y="37644"/>
                            </a:cubicBezTo>
                            <a:cubicBezTo>
                              <a:pt x="13636" y="37704"/>
                              <a:pt x="13038" y="37764"/>
                              <a:pt x="12440" y="37764"/>
                            </a:cubicBezTo>
                            <a:cubicBezTo>
                              <a:pt x="12380" y="37764"/>
                              <a:pt x="12320" y="37764"/>
                              <a:pt x="12260" y="37764"/>
                            </a:cubicBezTo>
                            <a:cubicBezTo>
                              <a:pt x="12201" y="37764"/>
                              <a:pt x="12141" y="37764"/>
                              <a:pt x="12081" y="37764"/>
                            </a:cubicBezTo>
                            <a:cubicBezTo>
                              <a:pt x="12021" y="37764"/>
                              <a:pt x="11961" y="37764"/>
                              <a:pt x="11902" y="37764"/>
                            </a:cubicBezTo>
                            <a:cubicBezTo>
                              <a:pt x="11842" y="37764"/>
                              <a:pt x="11782" y="37764"/>
                              <a:pt x="11722" y="37764"/>
                            </a:cubicBezTo>
                            <a:cubicBezTo>
                              <a:pt x="11423" y="37764"/>
                              <a:pt x="11184" y="37704"/>
                              <a:pt x="10885" y="37704"/>
                            </a:cubicBezTo>
                            <a:cubicBezTo>
                              <a:pt x="10586" y="37644"/>
                              <a:pt x="10347" y="37644"/>
                              <a:pt x="10048" y="37585"/>
                            </a:cubicBezTo>
                            <a:cubicBezTo>
                              <a:pt x="9749" y="37525"/>
                              <a:pt x="9509" y="37465"/>
                              <a:pt x="9270" y="37405"/>
                            </a:cubicBezTo>
                            <a:cubicBezTo>
                              <a:pt x="9031" y="37345"/>
                              <a:pt x="8732" y="37226"/>
                              <a:pt x="8493" y="37166"/>
                            </a:cubicBezTo>
                            <a:cubicBezTo>
                              <a:pt x="8313" y="37106"/>
                              <a:pt x="8134" y="37046"/>
                              <a:pt x="7954" y="36987"/>
                            </a:cubicBezTo>
                            <a:cubicBezTo>
                              <a:pt x="7775" y="36927"/>
                              <a:pt x="7595" y="36867"/>
                              <a:pt x="7416" y="36747"/>
                            </a:cubicBezTo>
                            <a:cubicBezTo>
                              <a:pt x="7236" y="36687"/>
                              <a:pt x="7057" y="36568"/>
                              <a:pt x="6937" y="36508"/>
                            </a:cubicBezTo>
                            <a:cubicBezTo>
                              <a:pt x="6758" y="36448"/>
                              <a:pt x="6639" y="36329"/>
                              <a:pt x="6459" y="36209"/>
                            </a:cubicBezTo>
                            <a:cubicBezTo>
                              <a:pt x="6399" y="36149"/>
                              <a:pt x="6340" y="36149"/>
                              <a:pt x="6280" y="36089"/>
                            </a:cubicBezTo>
                            <a:cubicBezTo>
                              <a:pt x="6220" y="36030"/>
                              <a:pt x="6160" y="36030"/>
                              <a:pt x="6100" y="35970"/>
                            </a:cubicBezTo>
                            <a:cubicBezTo>
                              <a:pt x="6041" y="35910"/>
                              <a:pt x="5981" y="35910"/>
                              <a:pt x="5921" y="35850"/>
                            </a:cubicBezTo>
                            <a:cubicBezTo>
                              <a:pt x="5861" y="35790"/>
                              <a:pt x="5801" y="35790"/>
                              <a:pt x="5741" y="35731"/>
                            </a:cubicBezTo>
                            <a:cubicBezTo>
                              <a:pt x="5682" y="35671"/>
                              <a:pt x="5622" y="35671"/>
                              <a:pt x="5562" y="35611"/>
                            </a:cubicBezTo>
                            <a:cubicBezTo>
                              <a:pt x="5502" y="35551"/>
                              <a:pt x="5442" y="35551"/>
                              <a:pt x="5442" y="35491"/>
                            </a:cubicBezTo>
                            <a:cubicBezTo>
                              <a:pt x="5382" y="35432"/>
                              <a:pt x="5323" y="35432"/>
                              <a:pt x="5323" y="35372"/>
                            </a:cubicBezTo>
                            <a:cubicBezTo>
                              <a:pt x="5263" y="35312"/>
                              <a:pt x="5203" y="35312"/>
                              <a:pt x="5203" y="35252"/>
                            </a:cubicBezTo>
                            <a:cubicBezTo>
                              <a:pt x="4964" y="35073"/>
                              <a:pt x="4725" y="34833"/>
                              <a:pt x="4486" y="34654"/>
                            </a:cubicBezTo>
                            <a:cubicBezTo>
                              <a:pt x="4246" y="34474"/>
                              <a:pt x="4067" y="34235"/>
                              <a:pt x="3828" y="33996"/>
                            </a:cubicBezTo>
                            <a:cubicBezTo>
                              <a:pt x="3588" y="33757"/>
                              <a:pt x="3409" y="33518"/>
                              <a:pt x="3229" y="33279"/>
                            </a:cubicBezTo>
                            <a:cubicBezTo>
                              <a:pt x="3050" y="33039"/>
                              <a:pt x="2871" y="32740"/>
                              <a:pt x="2691" y="32501"/>
                            </a:cubicBezTo>
                            <a:cubicBezTo>
                              <a:pt x="2632" y="32441"/>
                              <a:pt x="2632" y="32381"/>
                              <a:pt x="2572" y="32322"/>
                            </a:cubicBezTo>
                            <a:cubicBezTo>
                              <a:pt x="2512" y="32262"/>
                              <a:pt x="2512" y="32202"/>
                              <a:pt x="2452" y="32142"/>
                            </a:cubicBezTo>
                            <a:cubicBezTo>
                              <a:pt x="2392" y="32082"/>
                              <a:pt x="2392" y="32023"/>
                              <a:pt x="2333" y="31963"/>
                            </a:cubicBezTo>
                            <a:cubicBezTo>
                              <a:pt x="2273" y="31903"/>
                              <a:pt x="2273" y="31843"/>
                              <a:pt x="2213" y="31724"/>
                            </a:cubicBezTo>
                            <a:cubicBezTo>
                              <a:pt x="2093" y="31484"/>
                              <a:pt x="1974" y="31245"/>
                              <a:pt x="1854" y="31006"/>
                            </a:cubicBezTo>
                            <a:cubicBezTo>
                              <a:pt x="1734" y="30766"/>
                              <a:pt x="1674" y="30468"/>
                              <a:pt x="1555" y="30228"/>
                            </a:cubicBezTo>
                            <a:cubicBezTo>
                              <a:pt x="1435" y="29989"/>
                              <a:pt x="1375" y="29690"/>
                              <a:pt x="1316" y="29391"/>
                            </a:cubicBezTo>
                            <a:cubicBezTo>
                              <a:pt x="1256" y="29092"/>
                              <a:pt x="1196" y="28853"/>
                              <a:pt x="1136" y="28554"/>
                            </a:cubicBezTo>
                            <a:cubicBezTo>
                              <a:pt x="897" y="27477"/>
                              <a:pt x="778" y="26341"/>
                              <a:pt x="778" y="25204"/>
                            </a:cubicBezTo>
                            <a:cubicBezTo>
                              <a:pt x="778" y="24068"/>
                              <a:pt x="837" y="22872"/>
                              <a:pt x="1076" y="21676"/>
                            </a:cubicBezTo>
                            <a:cubicBezTo>
                              <a:pt x="1256" y="20480"/>
                              <a:pt x="1615" y="19284"/>
                              <a:pt x="2033" y="18087"/>
                            </a:cubicBezTo>
                            <a:cubicBezTo>
                              <a:pt x="2452" y="16891"/>
                              <a:pt x="2990" y="15695"/>
                              <a:pt x="3588" y="14499"/>
                            </a:cubicBezTo>
                            <a:cubicBezTo>
                              <a:pt x="4725" y="12286"/>
                              <a:pt x="6160" y="10253"/>
                              <a:pt x="7775" y="8518"/>
                            </a:cubicBezTo>
                            <a:cubicBezTo>
                              <a:pt x="9390" y="6784"/>
                              <a:pt x="11184" y="5289"/>
                              <a:pt x="13098" y="4093"/>
                            </a:cubicBezTo>
                            <a:cubicBezTo>
                              <a:pt x="14952" y="2896"/>
                              <a:pt x="16926" y="2059"/>
                              <a:pt x="18899" y="1521"/>
                            </a:cubicBezTo>
                            <a:cubicBezTo>
                              <a:pt x="20873" y="1042"/>
                              <a:pt x="22787" y="863"/>
                              <a:pt x="24641" y="1102"/>
                            </a:cubicBezTo>
                            <a:lnTo>
                              <a:pt x="25358" y="205"/>
                            </a:lnTo>
                            <a:cubicBezTo>
                              <a:pt x="23384" y="-154"/>
                              <a:pt x="21351" y="-34"/>
                              <a:pt x="19258" y="504"/>
                            </a:cubicBezTo>
                            <a:cubicBezTo>
                              <a:pt x="17165" y="983"/>
                              <a:pt x="15071" y="1939"/>
                              <a:pt x="13038" y="3136"/>
                            </a:cubicBezTo>
                            <a:cubicBezTo>
                              <a:pt x="11004" y="4392"/>
                              <a:pt x="9090" y="5947"/>
                              <a:pt x="7356" y="7801"/>
                            </a:cubicBezTo>
                            <a:cubicBezTo>
                              <a:pt x="5622" y="9655"/>
                              <a:pt x="4067" y="11808"/>
                              <a:pt x="2871" y="14200"/>
                            </a:cubicBezTo>
                            <a:cubicBezTo>
                              <a:pt x="2213" y="15456"/>
                              <a:pt x="1674" y="16712"/>
                              <a:pt x="1256" y="17968"/>
                            </a:cubicBezTo>
                            <a:cubicBezTo>
                              <a:pt x="837" y="19224"/>
                              <a:pt x="479" y="20480"/>
                              <a:pt x="299" y="21736"/>
                            </a:cubicBezTo>
                            <a:cubicBezTo>
                              <a:pt x="60" y="22992"/>
                              <a:pt x="0" y="24248"/>
                              <a:pt x="0" y="25444"/>
                            </a:cubicBezTo>
                            <a:cubicBezTo>
                              <a:pt x="0" y="26640"/>
                              <a:pt x="119" y="27836"/>
                              <a:pt x="359" y="28912"/>
                            </a:cubicBezTo>
                            <a:cubicBezTo>
                              <a:pt x="419" y="29271"/>
                              <a:pt x="538" y="29630"/>
                              <a:pt x="598" y="29929"/>
                            </a:cubicBezTo>
                            <a:cubicBezTo>
                              <a:pt x="718" y="30288"/>
                              <a:pt x="778" y="30587"/>
                              <a:pt x="897" y="30886"/>
                            </a:cubicBezTo>
                            <a:cubicBezTo>
                              <a:pt x="1017" y="31185"/>
                              <a:pt x="1136" y="31544"/>
                              <a:pt x="1256" y="31843"/>
                            </a:cubicBezTo>
                            <a:cubicBezTo>
                              <a:pt x="1375" y="32142"/>
                              <a:pt x="1555" y="32441"/>
                              <a:pt x="1674" y="32740"/>
                            </a:cubicBezTo>
                            <a:cubicBezTo>
                              <a:pt x="1734" y="32800"/>
                              <a:pt x="1734" y="32860"/>
                              <a:pt x="1794" y="32919"/>
                            </a:cubicBezTo>
                            <a:cubicBezTo>
                              <a:pt x="1854" y="32979"/>
                              <a:pt x="1854" y="33039"/>
                              <a:pt x="1914" y="33099"/>
                            </a:cubicBezTo>
                            <a:cubicBezTo>
                              <a:pt x="1974" y="33159"/>
                              <a:pt x="1974" y="33219"/>
                              <a:pt x="2033" y="33279"/>
                            </a:cubicBezTo>
                            <a:cubicBezTo>
                              <a:pt x="2093" y="33338"/>
                              <a:pt x="2093" y="33398"/>
                              <a:pt x="2153" y="33458"/>
                            </a:cubicBezTo>
                            <a:cubicBezTo>
                              <a:pt x="2333" y="33697"/>
                              <a:pt x="2512" y="33936"/>
                              <a:pt x="2632" y="34176"/>
                            </a:cubicBezTo>
                            <a:cubicBezTo>
                              <a:pt x="2811" y="34415"/>
                              <a:pt x="2990" y="34654"/>
                              <a:pt x="3170" y="34833"/>
                            </a:cubicBezTo>
                            <a:cubicBezTo>
                              <a:pt x="3349" y="35073"/>
                              <a:pt x="3588" y="35252"/>
                              <a:pt x="3768" y="35432"/>
                            </a:cubicBezTo>
                            <a:cubicBezTo>
                              <a:pt x="3947" y="35611"/>
                              <a:pt x="4306" y="35850"/>
                              <a:pt x="4545" y="36030"/>
                            </a:cubicBezTo>
                          </a:path>
                        </a:pathLst>
                      </a:custGeom>
                      <a:noFill/>
                      <a:ln w="6350" cap="flat">
                        <a:solidFill>
                          <a:schemeClr val="bg1">
                            <a:alpha val="40000"/>
                          </a:schemeClr>
                        </a:solidFill>
                        <a:prstDash val="solid"/>
                        <a:miter/>
                      </a:ln>
                    </p:spPr>
                    <p:txBody>
                      <a:bodyPr rtlCol="0" anchor="ctr"/>
                      <a:lstStyle/>
                      <a:p>
                        <a:endParaRPr lang="en-GB"/>
                      </a:p>
                    </p:txBody>
                  </p:sp>
                  <p:sp>
                    <p:nvSpPr>
                      <p:cNvPr id="7434" name="Vrije vorm: vorm 7433">
                        <a:extLst>
                          <a:ext uri="{FF2B5EF4-FFF2-40B4-BE49-F238E27FC236}">
                            <a16:creationId xmlns:a16="http://schemas.microsoft.com/office/drawing/2014/main" id="{C02B9D2F-4AB3-4B6E-8F42-3BDB1135512A}"/>
                          </a:ext>
                        </a:extLst>
                      </p:cNvPr>
                      <p:cNvSpPr/>
                      <p:nvPr/>
                    </p:nvSpPr>
                    <p:spPr>
                      <a:xfrm>
                        <a:off x="5344686" y="5281615"/>
                        <a:ext cx="29812" cy="32797"/>
                      </a:xfrm>
                      <a:custGeom>
                        <a:avLst/>
                        <a:gdLst>
                          <a:gd name="connsiteX0" fmla="*/ 4850 w 29812"/>
                          <a:gd name="connsiteY0" fmla="*/ 29963 h 32797"/>
                          <a:gd name="connsiteX1" fmla="*/ 4730 w 29812"/>
                          <a:gd name="connsiteY1" fmla="*/ 29844 h 32797"/>
                          <a:gd name="connsiteX2" fmla="*/ 4610 w 29812"/>
                          <a:gd name="connsiteY2" fmla="*/ 29724 h 32797"/>
                          <a:gd name="connsiteX3" fmla="*/ 4491 w 29812"/>
                          <a:gd name="connsiteY3" fmla="*/ 29604 h 32797"/>
                          <a:gd name="connsiteX4" fmla="*/ 4371 w 29812"/>
                          <a:gd name="connsiteY4" fmla="*/ 29485 h 32797"/>
                          <a:gd name="connsiteX5" fmla="*/ 4371 w 29812"/>
                          <a:gd name="connsiteY5" fmla="*/ 29485 h 32797"/>
                          <a:gd name="connsiteX6" fmla="*/ 4371 w 29812"/>
                          <a:gd name="connsiteY6" fmla="*/ 29485 h 32797"/>
                          <a:gd name="connsiteX7" fmla="*/ 4371 w 29812"/>
                          <a:gd name="connsiteY7" fmla="*/ 29485 h 32797"/>
                          <a:gd name="connsiteX8" fmla="*/ 4371 w 29812"/>
                          <a:gd name="connsiteY8" fmla="*/ 29485 h 32797"/>
                          <a:gd name="connsiteX9" fmla="*/ 3474 w 29812"/>
                          <a:gd name="connsiteY9" fmla="*/ 28648 h 32797"/>
                          <a:gd name="connsiteX10" fmla="*/ 2756 w 29812"/>
                          <a:gd name="connsiteY10" fmla="*/ 27691 h 32797"/>
                          <a:gd name="connsiteX11" fmla="*/ 2158 w 29812"/>
                          <a:gd name="connsiteY11" fmla="*/ 26614 h 32797"/>
                          <a:gd name="connsiteX12" fmla="*/ 1680 w 29812"/>
                          <a:gd name="connsiteY12" fmla="*/ 25478 h 32797"/>
                          <a:gd name="connsiteX13" fmla="*/ 1560 w 29812"/>
                          <a:gd name="connsiteY13" fmla="*/ 25238 h 32797"/>
                          <a:gd name="connsiteX14" fmla="*/ 1501 w 29812"/>
                          <a:gd name="connsiteY14" fmla="*/ 24999 h 32797"/>
                          <a:gd name="connsiteX15" fmla="*/ 1441 w 29812"/>
                          <a:gd name="connsiteY15" fmla="*/ 24760 h 32797"/>
                          <a:gd name="connsiteX16" fmla="*/ 1381 w 29812"/>
                          <a:gd name="connsiteY16" fmla="*/ 24461 h 32797"/>
                          <a:gd name="connsiteX17" fmla="*/ 962 w 29812"/>
                          <a:gd name="connsiteY17" fmla="*/ 21650 h 32797"/>
                          <a:gd name="connsiteX18" fmla="*/ 1142 w 29812"/>
                          <a:gd name="connsiteY18" fmla="*/ 18600 h 32797"/>
                          <a:gd name="connsiteX19" fmla="*/ 1919 w 29812"/>
                          <a:gd name="connsiteY19" fmla="*/ 15430 h 32797"/>
                          <a:gd name="connsiteX20" fmla="*/ 3295 w 29812"/>
                          <a:gd name="connsiteY20" fmla="*/ 12260 h 32797"/>
                          <a:gd name="connsiteX21" fmla="*/ 5029 w 29812"/>
                          <a:gd name="connsiteY21" fmla="*/ 9390 h 32797"/>
                          <a:gd name="connsiteX22" fmla="*/ 7122 w 29812"/>
                          <a:gd name="connsiteY22" fmla="*/ 6878 h 32797"/>
                          <a:gd name="connsiteX23" fmla="*/ 9515 w 29812"/>
                          <a:gd name="connsiteY23" fmla="*/ 4725 h 32797"/>
                          <a:gd name="connsiteX24" fmla="*/ 12206 w 29812"/>
                          <a:gd name="connsiteY24" fmla="*/ 2990 h 32797"/>
                          <a:gd name="connsiteX25" fmla="*/ 14957 w 29812"/>
                          <a:gd name="connsiteY25" fmla="*/ 1794 h 32797"/>
                          <a:gd name="connsiteX26" fmla="*/ 17649 w 29812"/>
                          <a:gd name="connsiteY26" fmla="*/ 1136 h 32797"/>
                          <a:gd name="connsiteX27" fmla="*/ 20280 w 29812"/>
                          <a:gd name="connsiteY27" fmla="*/ 1076 h 32797"/>
                          <a:gd name="connsiteX28" fmla="*/ 22732 w 29812"/>
                          <a:gd name="connsiteY28" fmla="*/ 1615 h 32797"/>
                          <a:gd name="connsiteX29" fmla="*/ 23450 w 29812"/>
                          <a:gd name="connsiteY29" fmla="*/ 1914 h 32797"/>
                          <a:gd name="connsiteX30" fmla="*/ 24108 w 29812"/>
                          <a:gd name="connsiteY30" fmla="*/ 2273 h 32797"/>
                          <a:gd name="connsiteX31" fmla="*/ 24766 w 29812"/>
                          <a:gd name="connsiteY31" fmla="*/ 2691 h 32797"/>
                          <a:gd name="connsiteX32" fmla="*/ 25364 w 29812"/>
                          <a:gd name="connsiteY32" fmla="*/ 3170 h 32797"/>
                          <a:gd name="connsiteX33" fmla="*/ 27816 w 29812"/>
                          <a:gd name="connsiteY33" fmla="*/ 6399 h 32797"/>
                          <a:gd name="connsiteX34" fmla="*/ 28833 w 29812"/>
                          <a:gd name="connsiteY34" fmla="*/ 10586 h 32797"/>
                          <a:gd name="connsiteX35" fmla="*/ 28414 w 29812"/>
                          <a:gd name="connsiteY35" fmla="*/ 15370 h 32797"/>
                          <a:gd name="connsiteX36" fmla="*/ 26500 w 29812"/>
                          <a:gd name="connsiteY36" fmla="*/ 20334 h 32797"/>
                          <a:gd name="connsiteX37" fmla="*/ 25125 w 29812"/>
                          <a:gd name="connsiteY37" fmla="*/ 22607 h 32797"/>
                          <a:gd name="connsiteX38" fmla="*/ 23569 w 29812"/>
                          <a:gd name="connsiteY38" fmla="*/ 24641 h 32797"/>
                          <a:gd name="connsiteX39" fmla="*/ 21835 w 29812"/>
                          <a:gd name="connsiteY39" fmla="*/ 26435 h 32797"/>
                          <a:gd name="connsiteX40" fmla="*/ 19921 w 29812"/>
                          <a:gd name="connsiteY40" fmla="*/ 27990 h 32797"/>
                          <a:gd name="connsiteX41" fmla="*/ 19622 w 29812"/>
                          <a:gd name="connsiteY41" fmla="*/ 28169 h 32797"/>
                          <a:gd name="connsiteX42" fmla="*/ 19323 w 29812"/>
                          <a:gd name="connsiteY42" fmla="*/ 28349 h 32797"/>
                          <a:gd name="connsiteX43" fmla="*/ 19024 w 29812"/>
                          <a:gd name="connsiteY43" fmla="*/ 28528 h 32797"/>
                          <a:gd name="connsiteX44" fmla="*/ 18725 w 29812"/>
                          <a:gd name="connsiteY44" fmla="*/ 28707 h 32797"/>
                          <a:gd name="connsiteX45" fmla="*/ 16811 w 29812"/>
                          <a:gd name="connsiteY45" fmla="*/ 29784 h 32797"/>
                          <a:gd name="connsiteX46" fmla="*/ 14897 w 29812"/>
                          <a:gd name="connsiteY46" fmla="*/ 30561 h 32797"/>
                          <a:gd name="connsiteX47" fmla="*/ 12983 w 29812"/>
                          <a:gd name="connsiteY47" fmla="*/ 31099 h 32797"/>
                          <a:gd name="connsiteX48" fmla="*/ 11070 w 29812"/>
                          <a:gd name="connsiteY48" fmla="*/ 31339 h 32797"/>
                          <a:gd name="connsiteX49" fmla="*/ 10890 w 29812"/>
                          <a:gd name="connsiteY49" fmla="*/ 31339 h 32797"/>
                          <a:gd name="connsiteX50" fmla="*/ 10711 w 29812"/>
                          <a:gd name="connsiteY50" fmla="*/ 31339 h 32797"/>
                          <a:gd name="connsiteX51" fmla="*/ 10532 w 29812"/>
                          <a:gd name="connsiteY51" fmla="*/ 31339 h 32797"/>
                          <a:gd name="connsiteX52" fmla="*/ 10352 w 29812"/>
                          <a:gd name="connsiteY52" fmla="*/ 31339 h 32797"/>
                          <a:gd name="connsiteX53" fmla="*/ 9574 w 29812"/>
                          <a:gd name="connsiteY53" fmla="*/ 31279 h 32797"/>
                          <a:gd name="connsiteX54" fmla="*/ 8797 w 29812"/>
                          <a:gd name="connsiteY54" fmla="*/ 31159 h 32797"/>
                          <a:gd name="connsiteX55" fmla="*/ 8019 w 29812"/>
                          <a:gd name="connsiteY55" fmla="*/ 30980 h 32797"/>
                          <a:gd name="connsiteX56" fmla="*/ 7302 w 29812"/>
                          <a:gd name="connsiteY56" fmla="*/ 30741 h 32797"/>
                          <a:gd name="connsiteX57" fmla="*/ 6704 w 29812"/>
                          <a:gd name="connsiteY57" fmla="*/ 30502 h 32797"/>
                          <a:gd name="connsiteX58" fmla="*/ 6165 w 29812"/>
                          <a:gd name="connsiteY58" fmla="*/ 30262 h 32797"/>
                          <a:gd name="connsiteX59" fmla="*/ 5627 w 29812"/>
                          <a:gd name="connsiteY59" fmla="*/ 29963 h 32797"/>
                          <a:gd name="connsiteX60" fmla="*/ 4850 w 29812"/>
                          <a:gd name="connsiteY60" fmla="*/ 29963 h 32797"/>
                          <a:gd name="connsiteX61" fmla="*/ 4251 w 29812"/>
                          <a:gd name="connsiteY61" fmla="*/ 29664 h 32797"/>
                          <a:gd name="connsiteX62" fmla="*/ 4850 w 29812"/>
                          <a:gd name="connsiteY62" fmla="*/ 30143 h 32797"/>
                          <a:gd name="connsiteX63" fmla="*/ 5508 w 29812"/>
                          <a:gd name="connsiteY63" fmla="*/ 30561 h 32797"/>
                          <a:gd name="connsiteX64" fmla="*/ 6225 w 29812"/>
                          <a:gd name="connsiteY64" fmla="*/ 30920 h 32797"/>
                          <a:gd name="connsiteX65" fmla="*/ 7003 w 29812"/>
                          <a:gd name="connsiteY65" fmla="*/ 31219 h 32797"/>
                          <a:gd name="connsiteX66" fmla="*/ 12146 w 29812"/>
                          <a:gd name="connsiteY66" fmla="*/ 31638 h 32797"/>
                          <a:gd name="connsiteX67" fmla="*/ 17529 w 29812"/>
                          <a:gd name="connsiteY67" fmla="*/ 29784 h 32797"/>
                          <a:gd name="connsiteX68" fmla="*/ 22493 w 29812"/>
                          <a:gd name="connsiteY68" fmla="*/ 25956 h 32797"/>
                          <a:gd name="connsiteX69" fmla="*/ 26440 w 29812"/>
                          <a:gd name="connsiteY69" fmla="*/ 20574 h 32797"/>
                          <a:gd name="connsiteX70" fmla="*/ 28354 w 29812"/>
                          <a:gd name="connsiteY70" fmla="*/ 15490 h 32797"/>
                          <a:gd name="connsiteX71" fmla="*/ 28773 w 29812"/>
                          <a:gd name="connsiteY71" fmla="*/ 10645 h 32797"/>
                          <a:gd name="connsiteX72" fmla="*/ 27756 w 29812"/>
                          <a:gd name="connsiteY72" fmla="*/ 6399 h 32797"/>
                          <a:gd name="connsiteX73" fmla="*/ 25304 w 29812"/>
                          <a:gd name="connsiteY73" fmla="*/ 3170 h 32797"/>
                          <a:gd name="connsiteX74" fmla="*/ 24706 w 29812"/>
                          <a:gd name="connsiteY74" fmla="*/ 2691 h 32797"/>
                          <a:gd name="connsiteX75" fmla="*/ 24048 w 29812"/>
                          <a:gd name="connsiteY75" fmla="*/ 2273 h 32797"/>
                          <a:gd name="connsiteX76" fmla="*/ 23330 w 29812"/>
                          <a:gd name="connsiteY76" fmla="*/ 1914 h 32797"/>
                          <a:gd name="connsiteX77" fmla="*/ 22612 w 29812"/>
                          <a:gd name="connsiteY77" fmla="*/ 1615 h 32797"/>
                          <a:gd name="connsiteX78" fmla="*/ 20160 w 29812"/>
                          <a:gd name="connsiteY78" fmla="*/ 1076 h 32797"/>
                          <a:gd name="connsiteX79" fmla="*/ 17529 w 29812"/>
                          <a:gd name="connsiteY79" fmla="*/ 1136 h 32797"/>
                          <a:gd name="connsiteX80" fmla="*/ 14778 w 29812"/>
                          <a:gd name="connsiteY80" fmla="*/ 1794 h 32797"/>
                          <a:gd name="connsiteX81" fmla="*/ 11967 w 29812"/>
                          <a:gd name="connsiteY81" fmla="*/ 3050 h 32797"/>
                          <a:gd name="connsiteX82" fmla="*/ 9275 w 29812"/>
                          <a:gd name="connsiteY82" fmla="*/ 4785 h 32797"/>
                          <a:gd name="connsiteX83" fmla="*/ 6824 w 29812"/>
                          <a:gd name="connsiteY83" fmla="*/ 6937 h 32797"/>
                          <a:gd name="connsiteX84" fmla="*/ 4730 w 29812"/>
                          <a:gd name="connsiteY84" fmla="*/ 9449 h 32797"/>
                          <a:gd name="connsiteX85" fmla="*/ 2996 w 29812"/>
                          <a:gd name="connsiteY85" fmla="*/ 12320 h 32797"/>
                          <a:gd name="connsiteX86" fmla="*/ 1680 w 29812"/>
                          <a:gd name="connsiteY86" fmla="*/ 15370 h 32797"/>
                          <a:gd name="connsiteX87" fmla="*/ 902 w 29812"/>
                          <a:gd name="connsiteY87" fmla="*/ 18361 h 32797"/>
                          <a:gd name="connsiteX88" fmla="*/ 663 w 29812"/>
                          <a:gd name="connsiteY88" fmla="*/ 21291 h 32797"/>
                          <a:gd name="connsiteX89" fmla="*/ 962 w 29812"/>
                          <a:gd name="connsiteY89" fmla="*/ 24102 h 32797"/>
                          <a:gd name="connsiteX90" fmla="*/ 1501 w 29812"/>
                          <a:gd name="connsiteY90" fmla="*/ 25837 h 32797"/>
                          <a:gd name="connsiteX91" fmla="*/ 2218 w 29812"/>
                          <a:gd name="connsiteY91" fmla="*/ 27391 h 32797"/>
                          <a:gd name="connsiteX92" fmla="*/ 3175 w 29812"/>
                          <a:gd name="connsiteY92" fmla="*/ 28707 h 32797"/>
                          <a:gd name="connsiteX93" fmla="*/ 4251 w 29812"/>
                          <a:gd name="connsiteY93" fmla="*/ 29664 h 32797"/>
                          <a:gd name="connsiteX94" fmla="*/ 3594 w 29812"/>
                          <a:gd name="connsiteY94" fmla="*/ 30561 h 32797"/>
                          <a:gd name="connsiteX95" fmla="*/ 3594 w 29812"/>
                          <a:gd name="connsiteY95" fmla="*/ 30561 h 32797"/>
                          <a:gd name="connsiteX96" fmla="*/ 3654 w 29812"/>
                          <a:gd name="connsiteY96" fmla="*/ 30621 h 32797"/>
                          <a:gd name="connsiteX97" fmla="*/ 3713 w 29812"/>
                          <a:gd name="connsiteY97" fmla="*/ 30621 h 32797"/>
                          <a:gd name="connsiteX98" fmla="*/ 3773 w 29812"/>
                          <a:gd name="connsiteY98" fmla="*/ 30621 h 32797"/>
                          <a:gd name="connsiteX99" fmla="*/ 3893 w 29812"/>
                          <a:gd name="connsiteY99" fmla="*/ 30741 h 32797"/>
                          <a:gd name="connsiteX100" fmla="*/ 4072 w 29812"/>
                          <a:gd name="connsiteY100" fmla="*/ 30860 h 32797"/>
                          <a:gd name="connsiteX101" fmla="*/ 4251 w 29812"/>
                          <a:gd name="connsiteY101" fmla="*/ 30980 h 32797"/>
                          <a:gd name="connsiteX102" fmla="*/ 4431 w 29812"/>
                          <a:gd name="connsiteY102" fmla="*/ 31099 h 32797"/>
                          <a:gd name="connsiteX103" fmla="*/ 4970 w 29812"/>
                          <a:gd name="connsiteY103" fmla="*/ 31399 h 32797"/>
                          <a:gd name="connsiteX104" fmla="*/ 5508 w 29812"/>
                          <a:gd name="connsiteY104" fmla="*/ 31698 h 32797"/>
                          <a:gd name="connsiteX105" fmla="*/ 6046 w 29812"/>
                          <a:gd name="connsiteY105" fmla="*/ 31937 h 32797"/>
                          <a:gd name="connsiteX106" fmla="*/ 6584 w 29812"/>
                          <a:gd name="connsiteY106" fmla="*/ 32176 h 32797"/>
                          <a:gd name="connsiteX107" fmla="*/ 7362 w 29812"/>
                          <a:gd name="connsiteY107" fmla="*/ 32415 h 32797"/>
                          <a:gd name="connsiteX108" fmla="*/ 8139 w 29812"/>
                          <a:gd name="connsiteY108" fmla="*/ 32595 h 32797"/>
                          <a:gd name="connsiteX109" fmla="*/ 8917 w 29812"/>
                          <a:gd name="connsiteY109" fmla="*/ 32714 h 32797"/>
                          <a:gd name="connsiteX110" fmla="*/ 9694 w 29812"/>
                          <a:gd name="connsiteY110" fmla="*/ 32774 h 32797"/>
                          <a:gd name="connsiteX111" fmla="*/ 9873 w 29812"/>
                          <a:gd name="connsiteY111" fmla="*/ 32774 h 32797"/>
                          <a:gd name="connsiteX112" fmla="*/ 10053 w 29812"/>
                          <a:gd name="connsiteY112" fmla="*/ 32774 h 32797"/>
                          <a:gd name="connsiteX113" fmla="*/ 10232 w 29812"/>
                          <a:gd name="connsiteY113" fmla="*/ 32774 h 32797"/>
                          <a:gd name="connsiteX114" fmla="*/ 10412 w 29812"/>
                          <a:gd name="connsiteY114" fmla="*/ 32774 h 32797"/>
                          <a:gd name="connsiteX115" fmla="*/ 12266 w 29812"/>
                          <a:gd name="connsiteY115" fmla="*/ 32595 h 32797"/>
                          <a:gd name="connsiteX116" fmla="*/ 14180 w 29812"/>
                          <a:gd name="connsiteY116" fmla="*/ 32116 h 32797"/>
                          <a:gd name="connsiteX117" fmla="*/ 16094 w 29812"/>
                          <a:gd name="connsiteY117" fmla="*/ 31399 h 32797"/>
                          <a:gd name="connsiteX118" fmla="*/ 17948 w 29812"/>
                          <a:gd name="connsiteY118" fmla="*/ 30442 h 32797"/>
                          <a:gd name="connsiteX119" fmla="*/ 18247 w 29812"/>
                          <a:gd name="connsiteY119" fmla="*/ 30262 h 32797"/>
                          <a:gd name="connsiteX120" fmla="*/ 18546 w 29812"/>
                          <a:gd name="connsiteY120" fmla="*/ 30083 h 32797"/>
                          <a:gd name="connsiteX121" fmla="*/ 18844 w 29812"/>
                          <a:gd name="connsiteY121" fmla="*/ 29904 h 32797"/>
                          <a:gd name="connsiteX122" fmla="*/ 19144 w 29812"/>
                          <a:gd name="connsiteY122" fmla="*/ 29724 h 32797"/>
                          <a:gd name="connsiteX123" fmla="*/ 21476 w 29812"/>
                          <a:gd name="connsiteY123" fmla="*/ 27990 h 32797"/>
                          <a:gd name="connsiteX124" fmla="*/ 23629 w 29812"/>
                          <a:gd name="connsiteY124" fmla="*/ 25896 h 32797"/>
                          <a:gd name="connsiteX125" fmla="*/ 25603 w 29812"/>
                          <a:gd name="connsiteY125" fmla="*/ 23444 h 32797"/>
                          <a:gd name="connsiteX126" fmla="*/ 27277 w 29812"/>
                          <a:gd name="connsiteY126" fmla="*/ 20753 h 32797"/>
                          <a:gd name="connsiteX127" fmla="*/ 28952 w 29812"/>
                          <a:gd name="connsiteY127" fmla="*/ 16746 h 32797"/>
                          <a:gd name="connsiteX128" fmla="*/ 29729 w 29812"/>
                          <a:gd name="connsiteY128" fmla="*/ 12798 h 32797"/>
                          <a:gd name="connsiteX129" fmla="*/ 29670 w 29812"/>
                          <a:gd name="connsiteY129" fmla="*/ 9090 h 32797"/>
                          <a:gd name="connsiteX130" fmla="*/ 28713 w 29812"/>
                          <a:gd name="connsiteY130" fmla="*/ 5801 h 32797"/>
                          <a:gd name="connsiteX131" fmla="*/ 28474 w 29812"/>
                          <a:gd name="connsiteY131" fmla="*/ 5622 h 32797"/>
                          <a:gd name="connsiteX132" fmla="*/ 28773 w 29812"/>
                          <a:gd name="connsiteY132" fmla="*/ 6280 h 32797"/>
                          <a:gd name="connsiteX133" fmla="*/ 29012 w 29812"/>
                          <a:gd name="connsiteY133" fmla="*/ 6997 h 32797"/>
                          <a:gd name="connsiteX134" fmla="*/ 29251 w 29812"/>
                          <a:gd name="connsiteY134" fmla="*/ 7715 h 32797"/>
                          <a:gd name="connsiteX135" fmla="*/ 29430 w 29812"/>
                          <a:gd name="connsiteY135" fmla="*/ 8493 h 32797"/>
                          <a:gd name="connsiteX136" fmla="*/ 29729 w 29812"/>
                          <a:gd name="connsiteY136" fmla="*/ 11423 h 32797"/>
                          <a:gd name="connsiteX137" fmla="*/ 29430 w 29812"/>
                          <a:gd name="connsiteY137" fmla="*/ 14533 h 32797"/>
                          <a:gd name="connsiteX138" fmla="*/ 28593 w 29812"/>
                          <a:gd name="connsiteY138" fmla="*/ 17703 h 32797"/>
                          <a:gd name="connsiteX139" fmla="*/ 27218 w 29812"/>
                          <a:gd name="connsiteY139" fmla="*/ 20873 h 32797"/>
                          <a:gd name="connsiteX140" fmla="*/ 25364 w 29812"/>
                          <a:gd name="connsiteY140" fmla="*/ 23863 h 32797"/>
                          <a:gd name="connsiteX141" fmla="*/ 23151 w 29812"/>
                          <a:gd name="connsiteY141" fmla="*/ 26495 h 32797"/>
                          <a:gd name="connsiteX142" fmla="*/ 20639 w 29812"/>
                          <a:gd name="connsiteY142" fmla="*/ 28767 h 32797"/>
                          <a:gd name="connsiteX143" fmla="*/ 17828 w 29812"/>
                          <a:gd name="connsiteY143" fmla="*/ 30621 h 32797"/>
                          <a:gd name="connsiteX144" fmla="*/ 14957 w 29812"/>
                          <a:gd name="connsiteY144" fmla="*/ 31937 h 32797"/>
                          <a:gd name="connsiteX145" fmla="*/ 12086 w 29812"/>
                          <a:gd name="connsiteY145" fmla="*/ 32655 h 32797"/>
                          <a:gd name="connsiteX146" fmla="*/ 9335 w 29812"/>
                          <a:gd name="connsiteY146" fmla="*/ 32774 h 32797"/>
                          <a:gd name="connsiteX147" fmla="*/ 6704 w 29812"/>
                          <a:gd name="connsiteY147" fmla="*/ 32236 h 32797"/>
                          <a:gd name="connsiteX148" fmla="*/ 5926 w 29812"/>
                          <a:gd name="connsiteY148" fmla="*/ 31937 h 32797"/>
                          <a:gd name="connsiteX149" fmla="*/ 5209 w 29812"/>
                          <a:gd name="connsiteY149" fmla="*/ 31578 h 32797"/>
                          <a:gd name="connsiteX150" fmla="*/ 4491 w 29812"/>
                          <a:gd name="connsiteY150" fmla="*/ 31159 h 32797"/>
                          <a:gd name="connsiteX151" fmla="*/ 3833 w 29812"/>
                          <a:gd name="connsiteY151" fmla="*/ 30681 h 32797"/>
                          <a:gd name="connsiteX152" fmla="*/ 2637 w 29812"/>
                          <a:gd name="connsiteY152" fmla="*/ 29485 h 32797"/>
                          <a:gd name="connsiteX153" fmla="*/ 1620 w 29812"/>
                          <a:gd name="connsiteY153" fmla="*/ 28050 h 32797"/>
                          <a:gd name="connsiteX154" fmla="*/ 843 w 29812"/>
                          <a:gd name="connsiteY154" fmla="*/ 26435 h 32797"/>
                          <a:gd name="connsiteX155" fmla="*/ 304 w 29812"/>
                          <a:gd name="connsiteY155" fmla="*/ 24641 h 32797"/>
                          <a:gd name="connsiteX156" fmla="*/ 5 w 29812"/>
                          <a:gd name="connsiteY156" fmla="*/ 21650 h 32797"/>
                          <a:gd name="connsiteX157" fmla="*/ 245 w 29812"/>
                          <a:gd name="connsiteY157" fmla="*/ 18540 h 32797"/>
                          <a:gd name="connsiteX158" fmla="*/ 1082 w 29812"/>
                          <a:gd name="connsiteY158" fmla="*/ 15370 h 32797"/>
                          <a:gd name="connsiteX159" fmla="*/ 2457 w 29812"/>
                          <a:gd name="connsiteY159" fmla="*/ 12201 h 32797"/>
                          <a:gd name="connsiteX160" fmla="*/ 4311 w 29812"/>
                          <a:gd name="connsiteY160" fmla="*/ 9150 h 32797"/>
                          <a:gd name="connsiteX161" fmla="*/ 6584 w 29812"/>
                          <a:gd name="connsiteY161" fmla="*/ 6459 h 32797"/>
                          <a:gd name="connsiteX162" fmla="*/ 9156 w 29812"/>
                          <a:gd name="connsiteY162" fmla="*/ 4127 h 32797"/>
                          <a:gd name="connsiteX163" fmla="*/ 12027 w 29812"/>
                          <a:gd name="connsiteY163" fmla="*/ 2273 h 32797"/>
                          <a:gd name="connsiteX164" fmla="*/ 14778 w 29812"/>
                          <a:gd name="connsiteY164" fmla="*/ 1017 h 32797"/>
                          <a:gd name="connsiteX165" fmla="*/ 17469 w 29812"/>
                          <a:gd name="connsiteY165" fmla="*/ 299 h 32797"/>
                          <a:gd name="connsiteX166" fmla="*/ 20041 w 29812"/>
                          <a:gd name="connsiteY166" fmla="*/ 119 h 32797"/>
                          <a:gd name="connsiteX167" fmla="*/ 22493 w 29812"/>
                          <a:gd name="connsiteY167" fmla="*/ 478 h 32797"/>
                          <a:gd name="connsiteX168" fmla="*/ 22313 w 29812"/>
                          <a:gd name="connsiteY168" fmla="*/ 299 h 32797"/>
                          <a:gd name="connsiteX169" fmla="*/ 19921 w 29812"/>
                          <a:gd name="connsiteY169" fmla="*/ 0 h 32797"/>
                          <a:gd name="connsiteX170" fmla="*/ 17349 w 29812"/>
                          <a:gd name="connsiteY170" fmla="*/ 179 h 32797"/>
                          <a:gd name="connsiteX171" fmla="*/ 14718 w 29812"/>
                          <a:gd name="connsiteY171" fmla="*/ 897 h 32797"/>
                          <a:gd name="connsiteX172" fmla="*/ 12027 w 29812"/>
                          <a:gd name="connsiteY172" fmla="*/ 2093 h 32797"/>
                          <a:gd name="connsiteX173" fmla="*/ 9156 w 29812"/>
                          <a:gd name="connsiteY173" fmla="*/ 3947 h 32797"/>
                          <a:gd name="connsiteX174" fmla="*/ 6584 w 29812"/>
                          <a:gd name="connsiteY174" fmla="*/ 6280 h 32797"/>
                          <a:gd name="connsiteX175" fmla="*/ 4311 w 29812"/>
                          <a:gd name="connsiteY175" fmla="*/ 8971 h 32797"/>
                          <a:gd name="connsiteX176" fmla="*/ 2457 w 29812"/>
                          <a:gd name="connsiteY176" fmla="*/ 12021 h 32797"/>
                          <a:gd name="connsiteX177" fmla="*/ 902 w 29812"/>
                          <a:gd name="connsiteY177" fmla="*/ 15789 h 32797"/>
                          <a:gd name="connsiteX178" fmla="*/ 125 w 29812"/>
                          <a:gd name="connsiteY178" fmla="*/ 19497 h 32797"/>
                          <a:gd name="connsiteX179" fmla="*/ 65 w 29812"/>
                          <a:gd name="connsiteY179" fmla="*/ 22966 h 32797"/>
                          <a:gd name="connsiteX180" fmla="*/ 783 w 29812"/>
                          <a:gd name="connsiteY180" fmla="*/ 26136 h 32797"/>
                          <a:gd name="connsiteX181" fmla="*/ 902 w 29812"/>
                          <a:gd name="connsiteY181" fmla="*/ 26375 h 32797"/>
                          <a:gd name="connsiteX182" fmla="*/ 1022 w 29812"/>
                          <a:gd name="connsiteY182" fmla="*/ 26614 h 32797"/>
                          <a:gd name="connsiteX183" fmla="*/ 1142 w 29812"/>
                          <a:gd name="connsiteY183" fmla="*/ 26853 h 32797"/>
                          <a:gd name="connsiteX184" fmla="*/ 1261 w 29812"/>
                          <a:gd name="connsiteY184" fmla="*/ 27092 h 32797"/>
                          <a:gd name="connsiteX185" fmla="*/ 1800 w 29812"/>
                          <a:gd name="connsiteY185" fmla="*/ 28109 h 32797"/>
                          <a:gd name="connsiteX186" fmla="*/ 2457 w 29812"/>
                          <a:gd name="connsiteY186" fmla="*/ 29066 h 32797"/>
                          <a:gd name="connsiteX187" fmla="*/ 3175 w 29812"/>
                          <a:gd name="connsiteY187" fmla="*/ 29904 h 32797"/>
                          <a:gd name="connsiteX188" fmla="*/ 3594 w 29812"/>
                          <a:gd name="connsiteY188" fmla="*/ 30561 h 3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812" h="32797">
                            <a:moveTo>
                              <a:pt x="4850" y="29963"/>
                            </a:moveTo>
                            <a:cubicBezTo>
                              <a:pt x="4790" y="29963"/>
                              <a:pt x="4790" y="29904"/>
                              <a:pt x="4730" y="29844"/>
                            </a:cubicBezTo>
                            <a:cubicBezTo>
                              <a:pt x="4670" y="29784"/>
                              <a:pt x="4670" y="29784"/>
                              <a:pt x="4610" y="29724"/>
                            </a:cubicBezTo>
                            <a:cubicBezTo>
                              <a:pt x="4551" y="29664"/>
                              <a:pt x="4551" y="29664"/>
                              <a:pt x="4491" y="29604"/>
                            </a:cubicBezTo>
                            <a:cubicBezTo>
                              <a:pt x="4431" y="29545"/>
                              <a:pt x="4431" y="29545"/>
                              <a:pt x="4371" y="29485"/>
                            </a:cubicBezTo>
                            <a:cubicBezTo>
                              <a:pt x="4371" y="29485"/>
                              <a:pt x="4371" y="29485"/>
                              <a:pt x="4371" y="29485"/>
                            </a:cubicBezTo>
                            <a:cubicBezTo>
                              <a:pt x="4371" y="29485"/>
                              <a:pt x="4371" y="29485"/>
                              <a:pt x="4371" y="29485"/>
                            </a:cubicBezTo>
                            <a:cubicBezTo>
                              <a:pt x="4371" y="29485"/>
                              <a:pt x="4371" y="29485"/>
                              <a:pt x="4371" y="29485"/>
                            </a:cubicBezTo>
                            <a:cubicBezTo>
                              <a:pt x="4371" y="29485"/>
                              <a:pt x="4371" y="29485"/>
                              <a:pt x="4371" y="29485"/>
                            </a:cubicBezTo>
                            <a:cubicBezTo>
                              <a:pt x="4072" y="29245"/>
                              <a:pt x="3773" y="28946"/>
                              <a:pt x="3474" y="28648"/>
                            </a:cubicBezTo>
                            <a:cubicBezTo>
                              <a:pt x="3175" y="28349"/>
                              <a:pt x="2936" y="28050"/>
                              <a:pt x="2756" y="27691"/>
                            </a:cubicBezTo>
                            <a:cubicBezTo>
                              <a:pt x="2517" y="27332"/>
                              <a:pt x="2338" y="27033"/>
                              <a:pt x="2158" y="26614"/>
                            </a:cubicBezTo>
                            <a:cubicBezTo>
                              <a:pt x="1979" y="26196"/>
                              <a:pt x="1800" y="25896"/>
                              <a:pt x="1680" y="25478"/>
                            </a:cubicBezTo>
                            <a:cubicBezTo>
                              <a:pt x="1620" y="25418"/>
                              <a:pt x="1620" y="25298"/>
                              <a:pt x="1560" y="25238"/>
                            </a:cubicBezTo>
                            <a:cubicBezTo>
                              <a:pt x="1501" y="25179"/>
                              <a:pt x="1501" y="25059"/>
                              <a:pt x="1501" y="24999"/>
                            </a:cubicBezTo>
                            <a:cubicBezTo>
                              <a:pt x="1501" y="24940"/>
                              <a:pt x="1441" y="24820"/>
                              <a:pt x="1441" y="24760"/>
                            </a:cubicBezTo>
                            <a:cubicBezTo>
                              <a:pt x="1441" y="24641"/>
                              <a:pt x="1381" y="24581"/>
                              <a:pt x="1381" y="24461"/>
                            </a:cubicBezTo>
                            <a:cubicBezTo>
                              <a:pt x="1142" y="23564"/>
                              <a:pt x="1022" y="22667"/>
                              <a:pt x="962" y="21650"/>
                            </a:cubicBezTo>
                            <a:cubicBezTo>
                              <a:pt x="902" y="20693"/>
                              <a:pt x="962" y="19676"/>
                              <a:pt x="1142" y="18600"/>
                            </a:cubicBezTo>
                            <a:cubicBezTo>
                              <a:pt x="1321" y="17583"/>
                              <a:pt x="1560" y="16506"/>
                              <a:pt x="1919" y="15430"/>
                            </a:cubicBezTo>
                            <a:cubicBezTo>
                              <a:pt x="2278" y="14354"/>
                              <a:pt x="2756" y="13277"/>
                              <a:pt x="3295" y="12260"/>
                            </a:cubicBezTo>
                            <a:cubicBezTo>
                              <a:pt x="3833" y="11244"/>
                              <a:pt x="4431" y="10287"/>
                              <a:pt x="5029" y="9390"/>
                            </a:cubicBezTo>
                            <a:cubicBezTo>
                              <a:pt x="5687" y="8493"/>
                              <a:pt x="6405" y="7655"/>
                              <a:pt x="7122" y="6878"/>
                            </a:cubicBezTo>
                            <a:cubicBezTo>
                              <a:pt x="7900" y="6100"/>
                              <a:pt x="8678" y="5382"/>
                              <a:pt x="9515" y="4725"/>
                            </a:cubicBezTo>
                            <a:cubicBezTo>
                              <a:pt x="10352" y="4067"/>
                              <a:pt x="11249" y="3469"/>
                              <a:pt x="12206" y="2990"/>
                            </a:cubicBezTo>
                            <a:cubicBezTo>
                              <a:pt x="13103" y="2512"/>
                              <a:pt x="14060" y="2093"/>
                              <a:pt x="14957" y="1794"/>
                            </a:cubicBezTo>
                            <a:cubicBezTo>
                              <a:pt x="15854" y="1495"/>
                              <a:pt x="16751" y="1256"/>
                              <a:pt x="17649" y="1136"/>
                            </a:cubicBezTo>
                            <a:cubicBezTo>
                              <a:pt x="18546" y="1017"/>
                              <a:pt x="19443" y="1017"/>
                              <a:pt x="20280" y="1076"/>
                            </a:cubicBezTo>
                            <a:cubicBezTo>
                              <a:pt x="21117" y="1136"/>
                              <a:pt x="21955" y="1316"/>
                              <a:pt x="22732" y="1615"/>
                            </a:cubicBezTo>
                            <a:cubicBezTo>
                              <a:pt x="22971" y="1734"/>
                              <a:pt x="23211" y="1794"/>
                              <a:pt x="23450" y="1914"/>
                            </a:cubicBezTo>
                            <a:cubicBezTo>
                              <a:pt x="23689" y="2033"/>
                              <a:pt x="23928" y="2153"/>
                              <a:pt x="24108" y="2273"/>
                            </a:cubicBezTo>
                            <a:cubicBezTo>
                              <a:pt x="24347" y="2392"/>
                              <a:pt x="24526" y="2512"/>
                              <a:pt x="24766" y="2691"/>
                            </a:cubicBezTo>
                            <a:cubicBezTo>
                              <a:pt x="25005" y="2811"/>
                              <a:pt x="25184" y="2990"/>
                              <a:pt x="25364" y="3170"/>
                            </a:cubicBezTo>
                            <a:cubicBezTo>
                              <a:pt x="26440" y="4067"/>
                              <a:pt x="27218" y="5143"/>
                              <a:pt x="27816" y="6399"/>
                            </a:cubicBezTo>
                            <a:cubicBezTo>
                              <a:pt x="28414" y="7655"/>
                              <a:pt x="28713" y="9090"/>
                              <a:pt x="28833" y="10586"/>
                            </a:cubicBezTo>
                            <a:cubicBezTo>
                              <a:pt x="28952" y="12081"/>
                              <a:pt x="28773" y="13696"/>
                              <a:pt x="28414" y="15370"/>
                            </a:cubicBezTo>
                            <a:cubicBezTo>
                              <a:pt x="28055" y="17045"/>
                              <a:pt x="27397" y="18720"/>
                              <a:pt x="26500" y="20334"/>
                            </a:cubicBezTo>
                            <a:cubicBezTo>
                              <a:pt x="26081" y="21112"/>
                              <a:pt x="25603" y="21889"/>
                              <a:pt x="25125" y="22607"/>
                            </a:cubicBezTo>
                            <a:cubicBezTo>
                              <a:pt x="24646" y="23325"/>
                              <a:pt x="24108" y="23982"/>
                              <a:pt x="23569" y="24641"/>
                            </a:cubicBezTo>
                            <a:cubicBezTo>
                              <a:pt x="23031" y="25298"/>
                              <a:pt x="22433" y="25896"/>
                              <a:pt x="21835" y="26435"/>
                            </a:cubicBezTo>
                            <a:cubicBezTo>
                              <a:pt x="21237" y="26973"/>
                              <a:pt x="20579" y="27511"/>
                              <a:pt x="19921" y="27990"/>
                            </a:cubicBezTo>
                            <a:cubicBezTo>
                              <a:pt x="19802" y="28050"/>
                              <a:pt x="19742" y="28109"/>
                              <a:pt x="19622" y="28169"/>
                            </a:cubicBezTo>
                            <a:cubicBezTo>
                              <a:pt x="19503" y="28229"/>
                              <a:pt x="19443" y="28289"/>
                              <a:pt x="19323" y="28349"/>
                            </a:cubicBezTo>
                            <a:cubicBezTo>
                              <a:pt x="19203" y="28408"/>
                              <a:pt x="19144" y="28468"/>
                              <a:pt x="19024" y="28528"/>
                            </a:cubicBezTo>
                            <a:cubicBezTo>
                              <a:pt x="18904" y="28588"/>
                              <a:pt x="18844" y="28648"/>
                              <a:pt x="18725" y="28707"/>
                            </a:cubicBezTo>
                            <a:cubicBezTo>
                              <a:pt x="18127" y="29126"/>
                              <a:pt x="17469" y="29485"/>
                              <a:pt x="16811" y="29784"/>
                            </a:cubicBezTo>
                            <a:cubicBezTo>
                              <a:pt x="16153" y="30083"/>
                              <a:pt x="15555" y="30382"/>
                              <a:pt x="14897" y="30561"/>
                            </a:cubicBezTo>
                            <a:cubicBezTo>
                              <a:pt x="14240" y="30741"/>
                              <a:pt x="13581" y="30980"/>
                              <a:pt x="12983" y="31099"/>
                            </a:cubicBezTo>
                            <a:cubicBezTo>
                              <a:pt x="12326" y="31219"/>
                              <a:pt x="11668" y="31279"/>
                              <a:pt x="11070" y="31339"/>
                            </a:cubicBezTo>
                            <a:cubicBezTo>
                              <a:pt x="11010" y="31339"/>
                              <a:pt x="10950" y="31339"/>
                              <a:pt x="10890" y="31339"/>
                            </a:cubicBezTo>
                            <a:cubicBezTo>
                              <a:pt x="10831" y="31339"/>
                              <a:pt x="10771" y="31339"/>
                              <a:pt x="10711" y="31339"/>
                            </a:cubicBezTo>
                            <a:cubicBezTo>
                              <a:pt x="10651" y="31339"/>
                              <a:pt x="10591" y="31339"/>
                              <a:pt x="10532" y="31339"/>
                            </a:cubicBezTo>
                            <a:cubicBezTo>
                              <a:pt x="10472" y="31339"/>
                              <a:pt x="10412" y="31339"/>
                              <a:pt x="10352" y="31339"/>
                            </a:cubicBezTo>
                            <a:cubicBezTo>
                              <a:pt x="10113" y="31339"/>
                              <a:pt x="9814" y="31339"/>
                              <a:pt x="9574" y="31279"/>
                            </a:cubicBezTo>
                            <a:cubicBezTo>
                              <a:pt x="9335" y="31279"/>
                              <a:pt x="9036" y="31219"/>
                              <a:pt x="8797" y="31159"/>
                            </a:cubicBezTo>
                            <a:cubicBezTo>
                              <a:pt x="8558" y="31099"/>
                              <a:pt x="8319" y="31040"/>
                              <a:pt x="8019" y="30980"/>
                            </a:cubicBezTo>
                            <a:cubicBezTo>
                              <a:pt x="7780" y="30920"/>
                              <a:pt x="7541" y="30860"/>
                              <a:pt x="7302" y="30741"/>
                            </a:cubicBezTo>
                            <a:cubicBezTo>
                              <a:pt x="7122" y="30681"/>
                              <a:pt x="6883" y="30621"/>
                              <a:pt x="6704" y="30502"/>
                            </a:cubicBezTo>
                            <a:cubicBezTo>
                              <a:pt x="6524" y="30442"/>
                              <a:pt x="6345" y="30322"/>
                              <a:pt x="6165" y="30262"/>
                            </a:cubicBezTo>
                            <a:cubicBezTo>
                              <a:pt x="5986" y="30203"/>
                              <a:pt x="5807" y="30083"/>
                              <a:pt x="5627" y="29963"/>
                            </a:cubicBezTo>
                            <a:cubicBezTo>
                              <a:pt x="5448" y="29844"/>
                              <a:pt x="5029" y="30083"/>
                              <a:pt x="4850" y="29963"/>
                            </a:cubicBezTo>
                            <a:moveTo>
                              <a:pt x="4251" y="29664"/>
                            </a:moveTo>
                            <a:cubicBezTo>
                              <a:pt x="4431" y="29844"/>
                              <a:pt x="4670" y="29963"/>
                              <a:pt x="4850" y="30143"/>
                            </a:cubicBezTo>
                            <a:cubicBezTo>
                              <a:pt x="5029" y="30322"/>
                              <a:pt x="5268" y="30442"/>
                              <a:pt x="5508" y="30561"/>
                            </a:cubicBezTo>
                            <a:cubicBezTo>
                              <a:pt x="5747" y="30681"/>
                              <a:pt x="5986" y="30800"/>
                              <a:pt x="6225" y="30920"/>
                            </a:cubicBezTo>
                            <a:cubicBezTo>
                              <a:pt x="6465" y="31040"/>
                              <a:pt x="6704" y="31099"/>
                              <a:pt x="7003" y="31219"/>
                            </a:cubicBezTo>
                            <a:cubicBezTo>
                              <a:pt x="8618" y="31758"/>
                              <a:pt x="10352" y="31877"/>
                              <a:pt x="12146" y="31638"/>
                            </a:cubicBezTo>
                            <a:cubicBezTo>
                              <a:pt x="13941" y="31399"/>
                              <a:pt x="15735" y="30741"/>
                              <a:pt x="17529" y="29784"/>
                            </a:cubicBezTo>
                            <a:cubicBezTo>
                              <a:pt x="19263" y="28827"/>
                              <a:pt x="20938" y="27511"/>
                              <a:pt x="22493" y="25956"/>
                            </a:cubicBezTo>
                            <a:cubicBezTo>
                              <a:pt x="23988" y="24401"/>
                              <a:pt x="25364" y="22607"/>
                              <a:pt x="26440" y="20574"/>
                            </a:cubicBezTo>
                            <a:cubicBezTo>
                              <a:pt x="27337" y="18899"/>
                              <a:pt x="27995" y="17165"/>
                              <a:pt x="28354" y="15490"/>
                            </a:cubicBezTo>
                            <a:cubicBezTo>
                              <a:pt x="28713" y="13815"/>
                              <a:pt x="28892" y="12201"/>
                              <a:pt x="28773" y="10645"/>
                            </a:cubicBezTo>
                            <a:cubicBezTo>
                              <a:pt x="28653" y="9090"/>
                              <a:pt x="28294" y="7715"/>
                              <a:pt x="27756" y="6399"/>
                            </a:cubicBezTo>
                            <a:cubicBezTo>
                              <a:pt x="27158" y="5143"/>
                              <a:pt x="26380" y="4067"/>
                              <a:pt x="25304" y="3170"/>
                            </a:cubicBezTo>
                            <a:cubicBezTo>
                              <a:pt x="25125" y="2990"/>
                              <a:pt x="24885" y="2871"/>
                              <a:pt x="24706" y="2691"/>
                            </a:cubicBezTo>
                            <a:cubicBezTo>
                              <a:pt x="24466" y="2572"/>
                              <a:pt x="24287" y="2392"/>
                              <a:pt x="24048" y="2273"/>
                            </a:cubicBezTo>
                            <a:cubicBezTo>
                              <a:pt x="23809" y="2153"/>
                              <a:pt x="23569" y="2033"/>
                              <a:pt x="23330" y="1914"/>
                            </a:cubicBezTo>
                            <a:cubicBezTo>
                              <a:pt x="23091" y="1794"/>
                              <a:pt x="22852" y="1674"/>
                              <a:pt x="22612" y="1615"/>
                            </a:cubicBezTo>
                            <a:cubicBezTo>
                              <a:pt x="21835" y="1316"/>
                              <a:pt x="20998" y="1136"/>
                              <a:pt x="20160" y="1076"/>
                            </a:cubicBezTo>
                            <a:cubicBezTo>
                              <a:pt x="19323" y="1017"/>
                              <a:pt x="18426" y="1017"/>
                              <a:pt x="17529" y="1136"/>
                            </a:cubicBezTo>
                            <a:cubicBezTo>
                              <a:pt x="16632" y="1256"/>
                              <a:pt x="15735" y="1495"/>
                              <a:pt x="14778" y="1794"/>
                            </a:cubicBezTo>
                            <a:cubicBezTo>
                              <a:pt x="13881" y="2093"/>
                              <a:pt x="12924" y="2512"/>
                              <a:pt x="11967" y="3050"/>
                            </a:cubicBezTo>
                            <a:cubicBezTo>
                              <a:pt x="11070" y="3528"/>
                              <a:pt x="10173" y="4127"/>
                              <a:pt x="9275" y="4785"/>
                            </a:cubicBezTo>
                            <a:cubicBezTo>
                              <a:pt x="8438" y="5442"/>
                              <a:pt x="7601" y="6160"/>
                              <a:pt x="6824" y="6937"/>
                            </a:cubicBezTo>
                            <a:cubicBezTo>
                              <a:pt x="6046" y="7715"/>
                              <a:pt x="5328" y="8552"/>
                              <a:pt x="4730" y="9449"/>
                            </a:cubicBezTo>
                            <a:cubicBezTo>
                              <a:pt x="4072" y="10347"/>
                              <a:pt x="3474" y="11303"/>
                              <a:pt x="2996" y="12320"/>
                            </a:cubicBezTo>
                            <a:cubicBezTo>
                              <a:pt x="2457" y="13337"/>
                              <a:pt x="2039" y="14354"/>
                              <a:pt x="1680" y="15370"/>
                            </a:cubicBezTo>
                            <a:cubicBezTo>
                              <a:pt x="1321" y="16387"/>
                              <a:pt x="1082" y="17404"/>
                              <a:pt x="902" y="18361"/>
                            </a:cubicBezTo>
                            <a:cubicBezTo>
                              <a:pt x="723" y="19377"/>
                              <a:pt x="663" y="20334"/>
                              <a:pt x="663" y="21291"/>
                            </a:cubicBezTo>
                            <a:cubicBezTo>
                              <a:pt x="663" y="22248"/>
                              <a:pt x="783" y="23205"/>
                              <a:pt x="962" y="24102"/>
                            </a:cubicBezTo>
                            <a:cubicBezTo>
                              <a:pt x="1082" y="24700"/>
                              <a:pt x="1261" y="25298"/>
                              <a:pt x="1501" y="25837"/>
                            </a:cubicBezTo>
                            <a:cubicBezTo>
                              <a:pt x="1740" y="26375"/>
                              <a:pt x="1979" y="26913"/>
                              <a:pt x="2218" y="27391"/>
                            </a:cubicBezTo>
                            <a:cubicBezTo>
                              <a:pt x="2517" y="27870"/>
                              <a:pt x="2816" y="28289"/>
                              <a:pt x="3175" y="28707"/>
                            </a:cubicBezTo>
                            <a:cubicBezTo>
                              <a:pt x="3474" y="28946"/>
                              <a:pt x="3833" y="29305"/>
                              <a:pt x="4251" y="29664"/>
                            </a:cubicBezTo>
                            <a:moveTo>
                              <a:pt x="3594" y="30561"/>
                            </a:moveTo>
                            <a:cubicBezTo>
                              <a:pt x="3594" y="30561"/>
                              <a:pt x="3594" y="30561"/>
                              <a:pt x="3594" y="30561"/>
                            </a:cubicBezTo>
                            <a:cubicBezTo>
                              <a:pt x="3654" y="30621"/>
                              <a:pt x="3654" y="30621"/>
                              <a:pt x="3654" y="30621"/>
                            </a:cubicBezTo>
                            <a:cubicBezTo>
                              <a:pt x="3654" y="30621"/>
                              <a:pt x="3654" y="30621"/>
                              <a:pt x="3713" y="30621"/>
                            </a:cubicBezTo>
                            <a:cubicBezTo>
                              <a:pt x="3773" y="30621"/>
                              <a:pt x="3713" y="30621"/>
                              <a:pt x="3773" y="30621"/>
                            </a:cubicBezTo>
                            <a:cubicBezTo>
                              <a:pt x="3833" y="30681"/>
                              <a:pt x="3893" y="30681"/>
                              <a:pt x="3893" y="30741"/>
                            </a:cubicBezTo>
                            <a:cubicBezTo>
                              <a:pt x="3953" y="30800"/>
                              <a:pt x="4012" y="30800"/>
                              <a:pt x="4072" y="30860"/>
                            </a:cubicBezTo>
                            <a:cubicBezTo>
                              <a:pt x="4132" y="30920"/>
                              <a:pt x="4192" y="30920"/>
                              <a:pt x="4251" y="30980"/>
                            </a:cubicBezTo>
                            <a:cubicBezTo>
                              <a:pt x="4311" y="31040"/>
                              <a:pt x="4371" y="31040"/>
                              <a:pt x="4431" y="31099"/>
                            </a:cubicBezTo>
                            <a:cubicBezTo>
                              <a:pt x="4610" y="31219"/>
                              <a:pt x="4790" y="31339"/>
                              <a:pt x="4970" y="31399"/>
                            </a:cubicBezTo>
                            <a:cubicBezTo>
                              <a:pt x="5149" y="31458"/>
                              <a:pt x="5328" y="31578"/>
                              <a:pt x="5508" y="31698"/>
                            </a:cubicBezTo>
                            <a:cubicBezTo>
                              <a:pt x="5687" y="31817"/>
                              <a:pt x="5866" y="31877"/>
                              <a:pt x="6046" y="31937"/>
                            </a:cubicBezTo>
                            <a:cubicBezTo>
                              <a:pt x="6225" y="31997"/>
                              <a:pt x="6405" y="32116"/>
                              <a:pt x="6584" y="32176"/>
                            </a:cubicBezTo>
                            <a:cubicBezTo>
                              <a:pt x="6824" y="32236"/>
                              <a:pt x="7063" y="32356"/>
                              <a:pt x="7362" y="32415"/>
                            </a:cubicBezTo>
                            <a:cubicBezTo>
                              <a:pt x="7601" y="32475"/>
                              <a:pt x="7900" y="32535"/>
                              <a:pt x="8139" y="32595"/>
                            </a:cubicBezTo>
                            <a:cubicBezTo>
                              <a:pt x="8378" y="32655"/>
                              <a:pt x="8678" y="32655"/>
                              <a:pt x="8917" y="32714"/>
                            </a:cubicBezTo>
                            <a:cubicBezTo>
                              <a:pt x="9156" y="32774"/>
                              <a:pt x="9455" y="32774"/>
                              <a:pt x="9694" y="32774"/>
                            </a:cubicBezTo>
                            <a:cubicBezTo>
                              <a:pt x="9754" y="32774"/>
                              <a:pt x="9814" y="32774"/>
                              <a:pt x="9873" y="32774"/>
                            </a:cubicBezTo>
                            <a:cubicBezTo>
                              <a:pt x="9933" y="32774"/>
                              <a:pt x="9993" y="32774"/>
                              <a:pt x="10053" y="32774"/>
                            </a:cubicBezTo>
                            <a:cubicBezTo>
                              <a:pt x="10113" y="32774"/>
                              <a:pt x="10173" y="32774"/>
                              <a:pt x="10232" y="32774"/>
                            </a:cubicBezTo>
                            <a:cubicBezTo>
                              <a:pt x="10292" y="32774"/>
                              <a:pt x="10352" y="32774"/>
                              <a:pt x="10412" y="32774"/>
                            </a:cubicBezTo>
                            <a:cubicBezTo>
                              <a:pt x="11010" y="32774"/>
                              <a:pt x="11668" y="32714"/>
                              <a:pt x="12266" y="32595"/>
                            </a:cubicBezTo>
                            <a:cubicBezTo>
                              <a:pt x="12924" y="32475"/>
                              <a:pt x="13522" y="32356"/>
                              <a:pt x="14180" y="32116"/>
                            </a:cubicBezTo>
                            <a:cubicBezTo>
                              <a:pt x="14837" y="31937"/>
                              <a:pt x="15436" y="31698"/>
                              <a:pt x="16094" y="31399"/>
                            </a:cubicBezTo>
                            <a:cubicBezTo>
                              <a:pt x="16692" y="31099"/>
                              <a:pt x="17349" y="30800"/>
                              <a:pt x="17948" y="30442"/>
                            </a:cubicBezTo>
                            <a:cubicBezTo>
                              <a:pt x="18067" y="30382"/>
                              <a:pt x="18127" y="30322"/>
                              <a:pt x="18247" y="30262"/>
                            </a:cubicBezTo>
                            <a:cubicBezTo>
                              <a:pt x="18366" y="30203"/>
                              <a:pt x="18426" y="30143"/>
                              <a:pt x="18546" y="30083"/>
                            </a:cubicBezTo>
                            <a:cubicBezTo>
                              <a:pt x="18665" y="30023"/>
                              <a:pt x="18725" y="29963"/>
                              <a:pt x="18844" y="29904"/>
                            </a:cubicBezTo>
                            <a:cubicBezTo>
                              <a:pt x="18964" y="29844"/>
                              <a:pt x="19024" y="29784"/>
                              <a:pt x="19144" y="29724"/>
                            </a:cubicBezTo>
                            <a:cubicBezTo>
                              <a:pt x="19921" y="29186"/>
                              <a:pt x="20758" y="28588"/>
                              <a:pt x="21476" y="27990"/>
                            </a:cubicBezTo>
                            <a:cubicBezTo>
                              <a:pt x="22194" y="27391"/>
                              <a:pt x="22971" y="26614"/>
                              <a:pt x="23629" y="25896"/>
                            </a:cubicBezTo>
                            <a:cubicBezTo>
                              <a:pt x="24347" y="25119"/>
                              <a:pt x="24945" y="24342"/>
                              <a:pt x="25603" y="23444"/>
                            </a:cubicBezTo>
                            <a:cubicBezTo>
                              <a:pt x="26201" y="22607"/>
                              <a:pt x="26739" y="21650"/>
                              <a:pt x="27277" y="20753"/>
                            </a:cubicBezTo>
                            <a:cubicBezTo>
                              <a:pt x="27995" y="19437"/>
                              <a:pt x="28533" y="18062"/>
                              <a:pt x="28952" y="16746"/>
                            </a:cubicBezTo>
                            <a:cubicBezTo>
                              <a:pt x="29371" y="15430"/>
                              <a:pt x="29610" y="14055"/>
                              <a:pt x="29729" y="12798"/>
                            </a:cubicBezTo>
                            <a:cubicBezTo>
                              <a:pt x="29849" y="11483"/>
                              <a:pt x="29849" y="10287"/>
                              <a:pt x="29670" y="9090"/>
                            </a:cubicBezTo>
                            <a:cubicBezTo>
                              <a:pt x="29490" y="7895"/>
                              <a:pt x="29191" y="6818"/>
                              <a:pt x="28713" y="5801"/>
                            </a:cubicBezTo>
                            <a:lnTo>
                              <a:pt x="28474" y="5622"/>
                            </a:lnTo>
                            <a:cubicBezTo>
                              <a:pt x="28593" y="5861"/>
                              <a:pt x="28653" y="6040"/>
                              <a:pt x="28773" y="6280"/>
                            </a:cubicBezTo>
                            <a:cubicBezTo>
                              <a:pt x="28892" y="6519"/>
                              <a:pt x="28952" y="6758"/>
                              <a:pt x="29012" y="6997"/>
                            </a:cubicBezTo>
                            <a:cubicBezTo>
                              <a:pt x="29072" y="7236"/>
                              <a:pt x="29191" y="7476"/>
                              <a:pt x="29251" y="7715"/>
                            </a:cubicBezTo>
                            <a:cubicBezTo>
                              <a:pt x="29311" y="7954"/>
                              <a:pt x="29371" y="8194"/>
                              <a:pt x="29430" y="8493"/>
                            </a:cubicBezTo>
                            <a:cubicBezTo>
                              <a:pt x="29610" y="9449"/>
                              <a:pt x="29729" y="10406"/>
                              <a:pt x="29729" y="11423"/>
                            </a:cubicBezTo>
                            <a:cubicBezTo>
                              <a:pt x="29729" y="12440"/>
                              <a:pt x="29610" y="13457"/>
                              <a:pt x="29430" y="14533"/>
                            </a:cubicBezTo>
                            <a:cubicBezTo>
                              <a:pt x="29251" y="15550"/>
                              <a:pt x="28952" y="16626"/>
                              <a:pt x="28593" y="17703"/>
                            </a:cubicBezTo>
                            <a:cubicBezTo>
                              <a:pt x="28234" y="18779"/>
                              <a:pt x="27756" y="19796"/>
                              <a:pt x="27218" y="20873"/>
                            </a:cubicBezTo>
                            <a:cubicBezTo>
                              <a:pt x="26679" y="21889"/>
                              <a:pt x="26021" y="22906"/>
                              <a:pt x="25364" y="23863"/>
                            </a:cubicBezTo>
                            <a:cubicBezTo>
                              <a:pt x="24706" y="24820"/>
                              <a:pt x="23928" y="25717"/>
                              <a:pt x="23151" y="26495"/>
                            </a:cubicBezTo>
                            <a:cubicBezTo>
                              <a:pt x="22373" y="27332"/>
                              <a:pt x="21536" y="28109"/>
                              <a:pt x="20639" y="28767"/>
                            </a:cubicBezTo>
                            <a:cubicBezTo>
                              <a:pt x="19742" y="29485"/>
                              <a:pt x="18785" y="30083"/>
                              <a:pt x="17828" y="30621"/>
                            </a:cubicBezTo>
                            <a:cubicBezTo>
                              <a:pt x="16871" y="31159"/>
                              <a:pt x="15914" y="31578"/>
                              <a:pt x="14957" y="31937"/>
                            </a:cubicBezTo>
                            <a:cubicBezTo>
                              <a:pt x="14000" y="32296"/>
                              <a:pt x="13043" y="32475"/>
                              <a:pt x="12086" y="32655"/>
                            </a:cubicBezTo>
                            <a:cubicBezTo>
                              <a:pt x="11129" y="32774"/>
                              <a:pt x="10232" y="32834"/>
                              <a:pt x="9335" y="32774"/>
                            </a:cubicBezTo>
                            <a:cubicBezTo>
                              <a:pt x="8438" y="32714"/>
                              <a:pt x="7541" y="32535"/>
                              <a:pt x="6704" y="32236"/>
                            </a:cubicBezTo>
                            <a:cubicBezTo>
                              <a:pt x="6465" y="32116"/>
                              <a:pt x="6165" y="32057"/>
                              <a:pt x="5926" y="31937"/>
                            </a:cubicBezTo>
                            <a:cubicBezTo>
                              <a:pt x="5687" y="31817"/>
                              <a:pt x="5448" y="31698"/>
                              <a:pt x="5209" y="31578"/>
                            </a:cubicBezTo>
                            <a:cubicBezTo>
                              <a:pt x="4970" y="31458"/>
                              <a:pt x="4730" y="31279"/>
                              <a:pt x="4491" y="31159"/>
                            </a:cubicBezTo>
                            <a:cubicBezTo>
                              <a:pt x="4251" y="30980"/>
                              <a:pt x="4072" y="30860"/>
                              <a:pt x="3833" y="30681"/>
                            </a:cubicBezTo>
                            <a:cubicBezTo>
                              <a:pt x="3414" y="30322"/>
                              <a:pt x="2996" y="29904"/>
                              <a:pt x="2637" y="29485"/>
                            </a:cubicBezTo>
                            <a:cubicBezTo>
                              <a:pt x="2278" y="29066"/>
                              <a:pt x="1919" y="28588"/>
                              <a:pt x="1620" y="28050"/>
                            </a:cubicBezTo>
                            <a:cubicBezTo>
                              <a:pt x="1321" y="27511"/>
                              <a:pt x="1082" y="26973"/>
                              <a:pt x="843" y="26435"/>
                            </a:cubicBezTo>
                            <a:cubicBezTo>
                              <a:pt x="603" y="25837"/>
                              <a:pt x="424" y="25238"/>
                              <a:pt x="304" y="24641"/>
                            </a:cubicBezTo>
                            <a:cubicBezTo>
                              <a:pt x="125" y="23683"/>
                              <a:pt x="5" y="22667"/>
                              <a:pt x="5" y="21650"/>
                            </a:cubicBezTo>
                            <a:cubicBezTo>
                              <a:pt x="5" y="20633"/>
                              <a:pt x="65" y="19617"/>
                              <a:pt x="245" y="18540"/>
                            </a:cubicBezTo>
                            <a:cubicBezTo>
                              <a:pt x="424" y="17464"/>
                              <a:pt x="723" y="16447"/>
                              <a:pt x="1082" y="15370"/>
                            </a:cubicBezTo>
                            <a:cubicBezTo>
                              <a:pt x="1441" y="14294"/>
                              <a:pt x="1919" y="13217"/>
                              <a:pt x="2457" y="12201"/>
                            </a:cubicBezTo>
                            <a:cubicBezTo>
                              <a:pt x="2996" y="11124"/>
                              <a:pt x="3654" y="10107"/>
                              <a:pt x="4311" y="9150"/>
                            </a:cubicBezTo>
                            <a:cubicBezTo>
                              <a:pt x="5029" y="8194"/>
                              <a:pt x="5747" y="7296"/>
                              <a:pt x="6584" y="6459"/>
                            </a:cubicBezTo>
                            <a:cubicBezTo>
                              <a:pt x="7362" y="5622"/>
                              <a:pt x="8259" y="4844"/>
                              <a:pt x="9156" y="4127"/>
                            </a:cubicBezTo>
                            <a:cubicBezTo>
                              <a:pt x="10053" y="3409"/>
                              <a:pt x="11010" y="2811"/>
                              <a:pt x="12027" y="2273"/>
                            </a:cubicBezTo>
                            <a:cubicBezTo>
                              <a:pt x="12924" y="1794"/>
                              <a:pt x="13821" y="1375"/>
                              <a:pt x="14778" y="1017"/>
                            </a:cubicBezTo>
                            <a:cubicBezTo>
                              <a:pt x="15675" y="718"/>
                              <a:pt x="16572" y="478"/>
                              <a:pt x="17469" y="299"/>
                            </a:cubicBezTo>
                            <a:cubicBezTo>
                              <a:pt x="18366" y="179"/>
                              <a:pt x="19203" y="119"/>
                              <a:pt x="20041" y="119"/>
                            </a:cubicBezTo>
                            <a:cubicBezTo>
                              <a:pt x="20878" y="179"/>
                              <a:pt x="21715" y="299"/>
                              <a:pt x="22493" y="478"/>
                            </a:cubicBezTo>
                            <a:lnTo>
                              <a:pt x="22313" y="299"/>
                            </a:lnTo>
                            <a:cubicBezTo>
                              <a:pt x="21536" y="119"/>
                              <a:pt x="20758" y="0"/>
                              <a:pt x="19921" y="0"/>
                            </a:cubicBezTo>
                            <a:cubicBezTo>
                              <a:pt x="19084" y="0"/>
                              <a:pt x="18247" y="60"/>
                              <a:pt x="17349" y="179"/>
                            </a:cubicBezTo>
                            <a:cubicBezTo>
                              <a:pt x="16452" y="359"/>
                              <a:pt x="15615" y="538"/>
                              <a:pt x="14718" y="897"/>
                            </a:cubicBezTo>
                            <a:cubicBezTo>
                              <a:pt x="13821" y="1196"/>
                              <a:pt x="12924" y="1615"/>
                              <a:pt x="12027" y="2093"/>
                            </a:cubicBezTo>
                            <a:cubicBezTo>
                              <a:pt x="11010" y="2632"/>
                              <a:pt x="10113" y="3229"/>
                              <a:pt x="9156" y="3947"/>
                            </a:cubicBezTo>
                            <a:cubicBezTo>
                              <a:pt x="8259" y="4665"/>
                              <a:pt x="7362" y="5442"/>
                              <a:pt x="6584" y="6280"/>
                            </a:cubicBezTo>
                            <a:cubicBezTo>
                              <a:pt x="5807" y="7117"/>
                              <a:pt x="5029" y="8014"/>
                              <a:pt x="4311" y="8971"/>
                            </a:cubicBezTo>
                            <a:cubicBezTo>
                              <a:pt x="3594" y="9928"/>
                              <a:pt x="2996" y="10944"/>
                              <a:pt x="2457" y="12021"/>
                            </a:cubicBezTo>
                            <a:cubicBezTo>
                              <a:pt x="1800" y="13277"/>
                              <a:pt x="1261" y="14533"/>
                              <a:pt x="902" y="15789"/>
                            </a:cubicBezTo>
                            <a:cubicBezTo>
                              <a:pt x="484" y="17045"/>
                              <a:pt x="245" y="18241"/>
                              <a:pt x="125" y="19497"/>
                            </a:cubicBezTo>
                            <a:cubicBezTo>
                              <a:pt x="5" y="20693"/>
                              <a:pt x="-54" y="21889"/>
                              <a:pt x="65" y="22966"/>
                            </a:cubicBezTo>
                            <a:cubicBezTo>
                              <a:pt x="185" y="24102"/>
                              <a:pt x="424" y="25119"/>
                              <a:pt x="783" y="26136"/>
                            </a:cubicBezTo>
                            <a:cubicBezTo>
                              <a:pt x="783" y="26196"/>
                              <a:pt x="843" y="26315"/>
                              <a:pt x="902" y="26375"/>
                            </a:cubicBezTo>
                            <a:cubicBezTo>
                              <a:pt x="962" y="26435"/>
                              <a:pt x="962" y="26554"/>
                              <a:pt x="1022" y="26614"/>
                            </a:cubicBezTo>
                            <a:cubicBezTo>
                              <a:pt x="1082" y="26674"/>
                              <a:pt x="1082" y="26794"/>
                              <a:pt x="1142" y="26853"/>
                            </a:cubicBezTo>
                            <a:cubicBezTo>
                              <a:pt x="1202" y="26913"/>
                              <a:pt x="1202" y="27033"/>
                              <a:pt x="1261" y="27092"/>
                            </a:cubicBezTo>
                            <a:cubicBezTo>
                              <a:pt x="1441" y="27451"/>
                              <a:pt x="1620" y="27750"/>
                              <a:pt x="1800" y="28109"/>
                            </a:cubicBezTo>
                            <a:cubicBezTo>
                              <a:pt x="1979" y="28408"/>
                              <a:pt x="2218" y="28767"/>
                              <a:pt x="2457" y="29066"/>
                            </a:cubicBezTo>
                            <a:cubicBezTo>
                              <a:pt x="2697" y="29365"/>
                              <a:pt x="2936" y="29664"/>
                              <a:pt x="3175" y="29904"/>
                            </a:cubicBezTo>
                            <a:cubicBezTo>
                              <a:pt x="2996" y="30083"/>
                              <a:pt x="3295" y="30322"/>
                              <a:pt x="3594" y="30561"/>
                            </a:cubicBezTo>
                          </a:path>
                        </a:pathLst>
                      </a:custGeom>
                      <a:noFill/>
                      <a:ln w="6350" cap="flat">
                        <a:solidFill>
                          <a:schemeClr val="bg1">
                            <a:alpha val="40000"/>
                          </a:schemeClr>
                        </a:solidFill>
                        <a:prstDash val="solid"/>
                        <a:miter/>
                      </a:ln>
                    </p:spPr>
                    <p:txBody>
                      <a:bodyPr rtlCol="0" anchor="ctr"/>
                      <a:lstStyle/>
                      <a:p>
                        <a:endParaRPr lang="en-GB"/>
                      </a:p>
                    </p:txBody>
                  </p:sp>
                  <p:sp>
                    <p:nvSpPr>
                      <p:cNvPr id="7435" name="Vrije vorm: vorm 7434">
                        <a:extLst>
                          <a:ext uri="{FF2B5EF4-FFF2-40B4-BE49-F238E27FC236}">
                            <a16:creationId xmlns:a16="http://schemas.microsoft.com/office/drawing/2014/main" id="{A42F6592-9213-42C9-ABB5-6C194478EC5F}"/>
                          </a:ext>
                        </a:extLst>
                      </p:cNvPr>
                      <p:cNvSpPr/>
                      <p:nvPr/>
                    </p:nvSpPr>
                    <p:spPr>
                      <a:xfrm>
                        <a:off x="5344317" y="5281593"/>
                        <a:ext cx="29919" cy="32652"/>
                      </a:xfrm>
                      <a:custGeom>
                        <a:avLst/>
                        <a:gdLst>
                          <a:gd name="connsiteX0" fmla="*/ 25613 w 29919"/>
                          <a:gd name="connsiteY0" fmla="*/ 3132 h 32652"/>
                          <a:gd name="connsiteX1" fmla="*/ 28065 w 29919"/>
                          <a:gd name="connsiteY1" fmla="*/ 6362 h 32652"/>
                          <a:gd name="connsiteX2" fmla="*/ 29082 w 29919"/>
                          <a:gd name="connsiteY2" fmla="*/ 10608 h 32652"/>
                          <a:gd name="connsiteX3" fmla="*/ 28663 w 29919"/>
                          <a:gd name="connsiteY3" fmla="*/ 15452 h 32652"/>
                          <a:gd name="connsiteX4" fmla="*/ 26749 w 29919"/>
                          <a:gd name="connsiteY4" fmla="*/ 20536 h 32652"/>
                          <a:gd name="connsiteX5" fmla="*/ 22802 w 29919"/>
                          <a:gd name="connsiteY5" fmla="*/ 25919 h 32652"/>
                          <a:gd name="connsiteX6" fmla="*/ 17838 w 29919"/>
                          <a:gd name="connsiteY6" fmla="*/ 29746 h 32652"/>
                          <a:gd name="connsiteX7" fmla="*/ 12455 w 29919"/>
                          <a:gd name="connsiteY7" fmla="*/ 31600 h 32652"/>
                          <a:gd name="connsiteX8" fmla="*/ 7312 w 29919"/>
                          <a:gd name="connsiteY8" fmla="*/ 31182 h 32652"/>
                          <a:gd name="connsiteX9" fmla="*/ 6534 w 29919"/>
                          <a:gd name="connsiteY9" fmla="*/ 30883 h 32652"/>
                          <a:gd name="connsiteX10" fmla="*/ 5817 w 29919"/>
                          <a:gd name="connsiteY10" fmla="*/ 30524 h 32652"/>
                          <a:gd name="connsiteX11" fmla="*/ 5159 w 29919"/>
                          <a:gd name="connsiteY11" fmla="*/ 30105 h 32652"/>
                          <a:gd name="connsiteX12" fmla="*/ 4561 w 29919"/>
                          <a:gd name="connsiteY12" fmla="*/ 29627 h 32652"/>
                          <a:gd name="connsiteX13" fmla="*/ 3425 w 29919"/>
                          <a:gd name="connsiteY13" fmla="*/ 28490 h 32652"/>
                          <a:gd name="connsiteX14" fmla="*/ 2468 w 29919"/>
                          <a:gd name="connsiteY14" fmla="*/ 27175 h 32652"/>
                          <a:gd name="connsiteX15" fmla="*/ 1750 w 29919"/>
                          <a:gd name="connsiteY15" fmla="*/ 25620 h 32652"/>
                          <a:gd name="connsiteX16" fmla="*/ 1212 w 29919"/>
                          <a:gd name="connsiteY16" fmla="*/ 23885 h 32652"/>
                          <a:gd name="connsiteX17" fmla="*/ 912 w 29919"/>
                          <a:gd name="connsiteY17" fmla="*/ 21074 h 32652"/>
                          <a:gd name="connsiteX18" fmla="*/ 1152 w 29919"/>
                          <a:gd name="connsiteY18" fmla="*/ 18144 h 32652"/>
                          <a:gd name="connsiteX19" fmla="*/ 1929 w 29919"/>
                          <a:gd name="connsiteY19" fmla="*/ 15153 h 32652"/>
                          <a:gd name="connsiteX20" fmla="*/ 3245 w 29919"/>
                          <a:gd name="connsiteY20" fmla="*/ 12103 h 32652"/>
                          <a:gd name="connsiteX21" fmla="*/ 4979 w 29919"/>
                          <a:gd name="connsiteY21" fmla="*/ 9233 h 32652"/>
                          <a:gd name="connsiteX22" fmla="*/ 7073 w 29919"/>
                          <a:gd name="connsiteY22" fmla="*/ 6721 h 32652"/>
                          <a:gd name="connsiteX23" fmla="*/ 9525 w 29919"/>
                          <a:gd name="connsiteY23" fmla="*/ 4567 h 32652"/>
                          <a:gd name="connsiteX24" fmla="*/ 12216 w 29919"/>
                          <a:gd name="connsiteY24" fmla="*/ 2833 h 32652"/>
                          <a:gd name="connsiteX25" fmla="*/ 15027 w 29919"/>
                          <a:gd name="connsiteY25" fmla="*/ 1577 h 32652"/>
                          <a:gd name="connsiteX26" fmla="*/ 17778 w 29919"/>
                          <a:gd name="connsiteY26" fmla="*/ 919 h 32652"/>
                          <a:gd name="connsiteX27" fmla="*/ 20410 w 29919"/>
                          <a:gd name="connsiteY27" fmla="*/ 859 h 32652"/>
                          <a:gd name="connsiteX28" fmla="*/ 22862 w 29919"/>
                          <a:gd name="connsiteY28" fmla="*/ 1398 h 32652"/>
                          <a:gd name="connsiteX29" fmla="*/ 23580 w 29919"/>
                          <a:gd name="connsiteY29" fmla="*/ 1697 h 32652"/>
                          <a:gd name="connsiteX30" fmla="*/ 24297 w 29919"/>
                          <a:gd name="connsiteY30" fmla="*/ 2056 h 32652"/>
                          <a:gd name="connsiteX31" fmla="*/ 24955 w 29919"/>
                          <a:gd name="connsiteY31" fmla="*/ 2474 h 32652"/>
                          <a:gd name="connsiteX32" fmla="*/ 25613 w 29919"/>
                          <a:gd name="connsiteY32" fmla="*/ 3132 h 32652"/>
                          <a:gd name="connsiteX33" fmla="*/ 4023 w 29919"/>
                          <a:gd name="connsiteY33" fmla="*/ 30524 h 32652"/>
                          <a:gd name="connsiteX34" fmla="*/ 4680 w 29919"/>
                          <a:gd name="connsiteY34" fmla="*/ 31003 h 32652"/>
                          <a:gd name="connsiteX35" fmla="*/ 5398 w 29919"/>
                          <a:gd name="connsiteY35" fmla="*/ 31421 h 32652"/>
                          <a:gd name="connsiteX36" fmla="*/ 6116 w 29919"/>
                          <a:gd name="connsiteY36" fmla="*/ 31780 h 32652"/>
                          <a:gd name="connsiteX37" fmla="*/ 6893 w 29919"/>
                          <a:gd name="connsiteY37" fmla="*/ 32079 h 32652"/>
                          <a:gd name="connsiteX38" fmla="*/ 9525 w 29919"/>
                          <a:gd name="connsiteY38" fmla="*/ 32617 h 32652"/>
                          <a:gd name="connsiteX39" fmla="*/ 12276 w 29919"/>
                          <a:gd name="connsiteY39" fmla="*/ 32498 h 32652"/>
                          <a:gd name="connsiteX40" fmla="*/ 15147 w 29919"/>
                          <a:gd name="connsiteY40" fmla="*/ 31780 h 32652"/>
                          <a:gd name="connsiteX41" fmla="*/ 18018 w 29919"/>
                          <a:gd name="connsiteY41" fmla="*/ 30464 h 32652"/>
                          <a:gd name="connsiteX42" fmla="*/ 20828 w 29919"/>
                          <a:gd name="connsiteY42" fmla="*/ 28610 h 32652"/>
                          <a:gd name="connsiteX43" fmla="*/ 23340 w 29919"/>
                          <a:gd name="connsiteY43" fmla="*/ 26337 h 32652"/>
                          <a:gd name="connsiteX44" fmla="*/ 25553 w 29919"/>
                          <a:gd name="connsiteY44" fmla="*/ 23706 h 32652"/>
                          <a:gd name="connsiteX45" fmla="*/ 27407 w 29919"/>
                          <a:gd name="connsiteY45" fmla="*/ 20716 h 32652"/>
                          <a:gd name="connsiteX46" fmla="*/ 28783 w 29919"/>
                          <a:gd name="connsiteY46" fmla="*/ 17546 h 32652"/>
                          <a:gd name="connsiteX47" fmla="*/ 29620 w 29919"/>
                          <a:gd name="connsiteY47" fmla="*/ 14376 h 32652"/>
                          <a:gd name="connsiteX48" fmla="*/ 29919 w 29919"/>
                          <a:gd name="connsiteY48" fmla="*/ 11266 h 32652"/>
                          <a:gd name="connsiteX49" fmla="*/ 29620 w 29919"/>
                          <a:gd name="connsiteY49" fmla="*/ 8335 h 32652"/>
                          <a:gd name="connsiteX50" fmla="*/ 29441 w 29919"/>
                          <a:gd name="connsiteY50" fmla="*/ 7558 h 32652"/>
                          <a:gd name="connsiteX51" fmla="*/ 29202 w 29919"/>
                          <a:gd name="connsiteY51" fmla="*/ 6840 h 32652"/>
                          <a:gd name="connsiteX52" fmla="*/ 28962 w 29919"/>
                          <a:gd name="connsiteY52" fmla="*/ 6123 h 32652"/>
                          <a:gd name="connsiteX53" fmla="*/ 28663 w 29919"/>
                          <a:gd name="connsiteY53" fmla="*/ 5465 h 32652"/>
                          <a:gd name="connsiteX54" fmla="*/ 26271 w 29919"/>
                          <a:gd name="connsiteY54" fmla="*/ 3491 h 32652"/>
                          <a:gd name="connsiteX55" fmla="*/ 23400 w 29919"/>
                          <a:gd name="connsiteY55" fmla="*/ 1099 h 32652"/>
                          <a:gd name="connsiteX56" fmla="*/ 22503 w 29919"/>
                          <a:gd name="connsiteY56" fmla="*/ 381 h 32652"/>
                          <a:gd name="connsiteX57" fmla="*/ 20051 w 29919"/>
                          <a:gd name="connsiteY57" fmla="*/ 22 h 32652"/>
                          <a:gd name="connsiteX58" fmla="*/ 17479 w 29919"/>
                          <a:gd name="connsiteY58" fmla="*/ 202 h 32652"/>
                          <a:gd name="connsiteX59" fmla="*/ 14788 w 29919"/>
                          <a:gd name="connsiteY59" fmla="*/ 919 h 32652"/>
                          <a:gd name="connsiteX60" fmla="*/ 12037 w 29919"/>
                          <a:gd name="connsiteY60" fmla="*/ 2175 h 32652"/>
                          <a:gd name="connsiteX61" fmla="*/ 9166 w 29919"/>
                          <a:gd name="connsiteY61" fmla="*/ 4029 h 32652"/>
                          <a:gd name="connsiteX62" fmla="*/ 6594 w 29919"/>
                          <a:gd name="connsiteY62" fmla="*/ 6362 h 32652"/>
                          <a:gd name="connsiteX63" fmla="*/ 4322 w 29919"/>
                          <a:gd name="connsiteY63" fmla="*/ 9053 h 32652"/>
                          <a:gd name="connsiteX64" fmla="*/ 2468 w 29919"/>
                          <a:gd name="connsiteY64" fmla="*/ 12103 h 32652"/>
                          <a:gd name="connsiteX65" fmla="*/ 1092 w 29919"/>
                          <a:gd name="connsiteY65" fmla="*/ 15273 h 32652"/>
                          <a:gd name="connsiteX66" fmla="*/ 255 w 29919"/>
                          <a:gd name="connsiteY66" fmla="*/ 18443 h 32652"/>
                          <a:gd name="connsiteX67" fmla="*/ 16 w 29919"/>
                          <a:gd name="connsiteY67" fmla="*/ 21553 h 32652"/>
                          <a:gd name="connsiteX68" fmla="*/ 315 w 29919"/>
                          <a:gd name="connsiteY68" fmla="*/ 24543 h 32652"/>
                          <a:gd name="connsiteX69" fmla="*/ 853 w 29919"/>
                          <a:gd name="connsiteY69" fmla="*/ 26337 h 32652"/>
                          <a:gd name="connsiteX70" fmla="*/ 1630 w 29919"/>
                          <a:gd name="connsiteY70" fmla="*/ 27952 h 32652"/>
                          <a:gd name="connsiteX71" fmla="*/ 2647 w 29919"/>
                          <a:gd name="connsiteY71" fmla="*/ 29388 h 32652"/>
                          <a:gd name="connsiteX72" fmla="*/ 4023 w 29919"/>
                          <a:gd name="connsiteY72" fmla="*/ 30524 h 3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9919" h="32652">
                            <a:moveTo>
                              <a:pt x="25613" y="3132"/>
                            </a:moveTo>
                            <a:cubicBezTo>
                              <a:pt x="26630" y="4029"/>
                              <a:pt x="27467" y="5106"/>
                              <a:pt x="28065" y="6362"/>
                            </a:cubicBezTo>
                            <a:cubicBezTo>
                              <a:pt x="28663" y="7618"/>
                              <a:pt x="29022" y="9053"/>
                              <a:pt x="29082" y="10608"/>
                            </a:cubicBezTo>
                            <a:cubicBezTo>
                              <a:pt x="29202" y="12163"/>
                              <a:pt x="29082" y="13778"/>
                              <a:pt x="28663" y="15452"/>
                            </a:cubicBezTo>
                            <a:cubicBezTo>
                              <a:pt x="28304" y="17127"/>
                              <a:pt x="27646" y="18862"/>
                              <a:pt x="26749" y="20536"/>
                            </a:cubicBezTo>
                            <a:cubicBezTo>
                              <a:pt x="25673" y="22570"/>
                              <a:pt x="24357" y="24364"/>
                              <a:pt x="22802" y="25919"/>
                            </a:cubicBezTo>
                            <a:cubicBezTo>
                              <a:pt x="21307" y="27474"/>
                              <a:pt x="19632" y="28790"/>
                              <a:pt x="17838" y="29746"/>
                            </a:cubicBezTo>
                            <a:cubicBezTo>
                              <a:pt x="16104" y="30704"/>
                              <a:pt x="14250" y="31361"/>
                              <a:pt x="12455" y="31600"/>
                            </a:cubicBezTo>
                            <a:cubicBezTo>
                              <a:pt x="10661" y="31840"/>
                              <a:pt x="8927" y="31720"/>
                              <a:pt x="7312" y="31182"/>
                            </a:cubicBezTo>
                            <a:cubicBezTo>
                              <a:pt x="7073" y="31122"/>
                              <a:pt x="6834" y="31003"/>
                              <a:pt x="6534" y="30883"/>
                            </a:cubicBezTo>
                            <a:cubicBezTo>
                              <a:pt x="6295" y="30763"/>
                              <a:pt x="6056" y="30644"/>
                              <a:pt x="5817" y="30524"/>
                            </a:cubicBezTo>
                            <a:cubicBezTo>
                              <a:pt x="5578" y="30404"/>
                              <a:pt x="5339" y="30285"/>
                              <a:pt x="5159" y="30105"/>
                            </a:cubicBezTo>
                            <a:cubicBezTo>
                              <a:pt x="4979" y="29926"/>
                              <a:pt x="4740" y="29806"/>
                              <a:pt x="4561" y="29627"/>
                            </a:cubicBezTo>
                            <a:cubicBezTo>
                              <a:pt x="4142" y="29268"/>
                              <a:pt x="3783" y="28909"/>
                              <a:pt x="3425" y="28490"/>
                            </a:cubicBezTo>
                            <a:cubicBezTo>
                              <a:pt x="3066" y="28072"/>
                              <a:pt x="2766" y="27653"/>
                              <a:pt x="2468" y="27175"/>
                            </a:cubicBezTo>
                            <a:cubicBezTo>
                              <a:pt x="2169" y="26696"/>
                              <a:pt x="1929" y="26158"/>
                              <a:pt x="1750" y="25620"/>
                            </a:cubicBezTo>
                            <a:cubicBezTo>
                              <a:pt x="1511" y="25082"/>
                              <a:pt x="1391" y="24483"/>
                              <a:pt x="1212" y="23885"/>
                            </a:cubicBezTo>
                            <a:cubicBezTo>
                              <a:pt x="1032" y="22988"/>
                              <a:pt x="912" y="22031"/>
                              <a:pt x="912" y="21074"/>
                            </a:cubicBezTo>
                            <a:cubicBezTo>
                              <a:pt x="912" y="20118"/>
                              <a:pt x="972" y="19160"/>
                              <a:pt x="1152" y="18144"/>
                            </a:cubicBezTo>
                            <a:cubicBezTo>
                              <a:pt x="1331" y="17127"/>
                              <a:pt x="1571" y="16170"/>
                              <a:pt x="1929" y="15153"/>
                            </a:cubicBezTo>
                            <a:cubicBezTo>
                              <a:pt x="2288" y="14137"/>
                              <a:pt x="2707" y="13120"/>
                              <a:pt x="3245" y="12103"/>
                            </a:cubicBezTo>
                            <a:cubicBezTo>
                              <a:pt x="3783" y="11087"/>
                              <a:pt x="4322" y="10130"/>
                              <a:pt x="4979" y="9233"/>
                            </a:cubicBezTo>
                            <a:cubicBezTo>
                              <a:pt x="5637" y="8335"/>
                              <a:pt x="6355" y="7498"/>
                              <a:pt x="7073" y="6721"/>
                            </a:cubicBezTo>
                            <a:cubicBezTo>
                              <a:pt x="7850" y="5943"/>
                              <a:pt x="8628" y="5226"/>
                              <a:pt x="9525" y="4567"/>
                            </a:cubicBezTo>
                            <a:cubicBezTo>
                              <a:pt x="10362" y="3910"/>
                              <a:pt x="11259" y="3312"/>
                              <a:pt x="12216" y="2833"/>
                            </a:cubicBezTo>
                            <a:cubicBezTo>
                              <a:pt x="13173" y="2355"/>
                              <a:pt x="14070" y="1936"/>
                              <a:pt x="15027" y="1577"/>
                            </a:cubicBezTo>
                            <a:cubicBezTo>
                              <a:pt x="15924" y="1278"/>
                              <a:pt x="16881" y="1039"/>
                              <a:pt x="17778" y="919"/>
                            </a:cubicBezTo>
                            <a:cubicBezTo>
                              <a:pt x="18675" y="800"/>
                              <a:pt x="19572" y="800"/>
                              <a:pt x="20410" y="859"/>
                            </a:cubicBezTo>
                            <a:cubicBezTo>
                              <a:pt x="21247" y="919"/>
                              <a:pt x="22084" y="1099"/>
                              <a:pt x="22862" y="1398"/>
                            </a:cubicBezTo>
                            <a:cubicBezTo>
                              <a:pt x="23101" y="1518"/>
                              <a:pt x="23340" y="1577"/>
                              <a:pt x="23580" y="1697"/>
                            </a:cubicBezTo>
                            <a:cubicBezTo>
                              <a:pt x="23819" y="1817"/>
                              <a:pt x="24058" y="1936"/>
                              <a:pt x="24297" y="2056"/>
                            </a:cubicBezTo>
                            <a:cubicBezTo>
                              <a:pt x="24536" y="2175"/>
                              <a:pt x="24716" y="2295"/>
                              <a:pt x="24955" y="2474"/>
                            </a:cubicBezTo>
                            <a:cubicBezTo>
                              <a:pt x="25194" y="2833"/>
                              <a:pt x="25434" y="2953"/>
                              <a:pt x="25613" y="3132"/>
                            </a:cubicBezTo>
                            <a:moveTo>
                              <a:pt x="4023" y="30524"/>
                            </a:moveTo>
                            <a:cubicBezTo>
                              <a:pt x="4262" y="30704"/>
                              <a:pt x="4441" y="30883"/>
                              <a:pt x="4680" y="31003"/>
                            </a:cubicBezTo>
                            <a:cubicBezTo>
                              <a:pt x="4920" y="31182"/>
                              <a:pt x="5159" y="31302"/>
                              <a:pt x="5398" y="31421"/>
                            </a:cubicBezTo>
                            <a:cubicBezTo>
                              <a:pt x="5637" y="31541"/>
                              <a:pt x="5877" y="31660"/>
                              <a:pt x="6116" y="31780"/>
                            </a:cubicBezTo>
                            <a:cubicBezTo>
                              <a:pt x="6355" y="31899"/>
                              <a:pt x="6654" y="32019"/>
                              <a:pt x="6893" y="32079"/>
                            </a:cubicBezTo>
                            <a:cubicBezTo>
                              <a:pt x="7731" y="32378"/>
                              <a:pt x="8628" y="32558"/>
                              <a:pt x="9525" y="32617"/>
                            </a:cubicBezTo>
                            <a:cubicBezTo>
                              <a:pt x="10422" y="32677"/>
                              <a:pt x="11379" y="32677"/>
                              <a:pt x="12276" y="32498"/>
                            </a:cubicBezTo>
                            <a:cubicBezTo>
                              <a:pt x="13233" y="32378"/>
                              <a:pt x="14190" y="32139"/>
                              <a:pt x="15147" y="31780"/>
                            </a:cubicBezTo>
                            <a:cubicBezTo>
                              <a:pt x="16104" y="31421"/>
                              <a:pt x="17060" y="31003"/>
                              <a:pt x="18018" y="30464"/>
                            </a:cubicBezTo>
                            <a:cubicBezTo>
                              <a:pt x="18974" y="29926"/>
                              <a:pt x="19931" y="29328"/>
                              <a:pt x="20828" y="28610"/>
                            </a:cubicBezTo>
                            <a:cubicBezTo>
                              <a:pt x="21726" y="27892"/>
                              <a:pt x="22563" y="27175"/>
                              <a:pt x="23340" y="26337"/>
                            </a:cubicBezTo>
                            <a:cubicBezTo>
                              <a:pt x="24118" y="25500"/>
                              <a:pt x="24895" y="24603"/>
                              <a:pt x="25553" y="23706"/>
                            </a:cubicBezTo>
                            <a:cubicBezTo>
                              <a:pt x="26211" y="22749"/>
                              <a:pt x="26869" y="21792"/>
                              <a:pt x="27407" y="20716"/>
                            </a:cubicBezTo>
                            <a:cubicBezTo>
                              <a:pt x="27945" y="19699"/>
                              <a:pt x="28424" y="18622"/>
                              <a:pt x="28783" y="17546"/>
                            </a:cubicBezTo>
                            <a:cubicBezTo>
                              <a:pt x="29142" y="16469"/>
                              <a:pt x="29441" y="15452"/>
                              <a:pt x="29620" y="14376"/>
                            </a:cubicBezTo>
                            <a:cubicBezTo>
                              <a:pt x="29799" y="13359"/>
                              <a:pt x="29919" y="12283"/>
                              <a:pt x="29919" y="11266"/>
                            </a:cubicBezTo>
                            <a:cubicBezTo>
                              <a:pt x="29919" y="10249"/>
                              <a:pt x="29799" y="9293"/>
                              <a:pt x="29620" y="8335"/>
                            </a:cubicBezTo>
                            <a:cubicBezTo>
                              <a:pt x="29560" y="8096"/>
                              <a:pt x="29500" y="7797"/>
                              <a:pt x="29441" y="7558"/>
                            </a:cubicBezTo>
                            <a:cubicBezTo>
                              <a:pt x="29381" y="7319"/>
                              <a:pt x="29321" y="7080"/>
                              <a:pt x="29202" y="6840"/>
                            </a:cubicBezTo>
                            <a:cubicBezTo>
                              <a:pt x="29142" y="6601"/>
                              <a:pt x="29022" y="6362"/>
                              <a:pt x="28962" y="6123"/>
                            </a:cubicBezTo>
                            <a:cubicBezTo>
                              <a:pt x="28843" y="5883"/>
                              <a:pt x="28783" y="5644"/>
                              <a:pt x="28663" y="5465"/>
                            </a:cubicBezTo>
                            <a:lnTo>
                              <a:pt x="26271" y="3491"/>
                            </a:lnTo>
                            <a:lnTo>
                              <a:pt x="23400" y="1099"/>
                            </a:lnTo>
                            <a:lnTo>
                              <a:pt x="22503" y="381"/>
                            </a:lnTo>
                            <a:cubicBezTo>
                              <a:pt x="21726" y="142"/>
                              <a:pt x="20888" y="22"/>
                              <a:pt x="20051" y="22"/>
                            </a:cubicBezTo>
                            <a:cubicBezTo>
                              <a:pt x="19213" y="-37"/>
                              <a:pt x="18317" y="22"/>
                              <a:pt x="17479" y="202"/>
                            </a:cubicBezTo>
                            <a:cubicBezTo>
                              <a:pt x="16582" y="321"/>
                              <a:pt x="15685" y="561"/>
                              <a:pt x="14788" y="919"/>
                            </a:cubicBezTo>
                            <a:cubicBezTo>
                              <a:pt x="13891" y="1218"/>
                              <a:pt x="12994" y="1637"/>
                              <a:pt x="12037" y="2175"/>
                            </a:cubicBezTo>
                            <a:cubicBezTo>
                              <a:pt x="11020" y="2713"/>
                              <a:pt x="10123" y="3312"/>
                              <a:pt x="9166" y="4029"/>
                            </a:cubicBezTo>
                            <a:cubicBezTo>
                              <a:pt x="8269" y="4747"/>
                              <a:pt x="7372" y="5525"/>
                              <a:pt x="6594" y="6362"/>
                            </a:cubicBezTo>
                            <a:cubicBezTo>
                              <a:pt x="5817" y="7199"/>
                              <a:pt x="5039" y="8096"/>
                              <a:pt x="4322" y="9053"/>
                            </a:cubicBezTo>
                            <a:cubicBezTo>
                              <a:pt x="3604" y="10010"/>
                              <a:pt x="3006" y="11027"/>
                              <a:pt x="2468" y="12103"/>
                            </a:cubicBezTo>
                            <a:cubicBezTo>
                              <a:pt x="1929" y="13180"/>
                              <a:pt x="1451" y="14197"/>
                              <a:pt x="1092" y="15273"/>
                            </a:cubicBezTo>
                            <a:cubicBezTo>
                              <a:pt x="733" y="16350"/>
                              <a:pt x="434" y="17426"/>
                              <a:pt x="255" y="18443"/>
                            </a:cubicBezTo>
                            <a:cubicBezTo>
                              <a:pt x="75" y="19519"/>
                              <a:pt x="-44" y="20536"/>
                              <a:pt x="16" y="21553"/>
                            </a:cubicBezTo>
                            <a:cubicBezTo>
                              <a:pt x="16" y="22570"/>
                              <a:pt x="135" y="23587"/>
                              <a:pt x="315" y="24543"/>
                            </a:cubicBezTo>
                            <a:cubicBezTo>
                              <a:pt x="434" y="25201"/>
                              <a:pt x="614" y="25799"/>
                              <a:pt x="853" y="26337"/>
                            </a:cubicBezTo>
                            <a:cubicBezTo>
                              <a:pt x="1092" y="26936"/>
                              <a:pt x="1331" y="27474"/>
                              <a:pt x="1630" y="27952"/>
                            </a:cubicBezTo>
                            <a:cubicBezTo>
                              <a:pt x="1929" y="28431"/>
                              <a:pt x="2288" y="28909"/>
                              <a:pt x="2647" y="29388"/>
                            </a:cubicBezTo>
                            <a:cubicBezTo>
                              <a:pt x="3006" y="29866"/>
                              <a:pt x="3604" y="30165"/>
                              <a:pt x="4023" y="30524"/>
                            </a:cubicBezTo>
                          </a:path>
                        </a:pathLst>
                      </a:custGeom>
                      <a:noFill/>
                      <a:ln w="6350" cap="flat">
                        <a:solidFill>
                          <a:schemeClr val="bg1">
                            <a:alpha val="40000"/>
                          </a:schemeClr>
                        </a:solidFill>
                        <a:prstDash val="solid"/>
                        <a:miter/>
                      </a:ln>
                    </p:spPr>
                    <p:txBody>
                      <a:bodyPr rtlCol="0" anchor="ctr"/>
                      <a:lstStyle/>
                      <a:p>
                        <a:endParaRPr lang="en-GB"/>
                      </a:p>
                    </p:txBody>
                  </p:sp>
                  <p:sp>
                    <p:nvSpPr>
                      <p:cNvPr id="7436" name="Vrije vorm: vorm 7435">
                        <a:extLst>
                          <a:ext uri="{FF2B5EF4-FFF2-40B4-BE49-F238E27FC236}">
                            <a16:creationId xmlns:a16="http://schemas.microsoft.com/office/drawing/2014/main" id="{22C12C5B-21DD-4193-8CE2-716461BF07AE}"/>
                          </a:ext>
                        </a:extLst>
                      </p:cNvPr>
                      <p:cNvSpPr/>
                      <p:nvPr/>
                    </p:nvSpPr>
                    <p:spPr>
                      <a:xfrm>
                        <a:off x="5365863" y="5298241"/>
                        <a:ext cx="5023" cy="5681"/>
                      </a:xfrm>
                      <a:custGeom>
                        <a:avLst/>
                        <a:gdLst>
                          <a:gd name="connsiteX0" fmla="*/ 1615 w 5023"/>
                          <a:gd name="connsiteY0" fmla="*/ 4785 h 5681"/>
                          <a:gd name="connsiteX1" fmla="*/ 1615 w 5023"/>
                          <a:gd name="connsiteY1" fmla="*/ 4785 h 5681"/>
                          <a:gd name="connsiteX2" fmla="*/ 1615 w 5023"/>
                          <a:gd name="connsiteY2" fmla="*/ 4785 h 5681"/>
                          <a:gd name="connsiteX3" fmla="*/ 1555 w 5023"/>
                          <a:gd name="connsiteY3" fmla="*/ 4785 h 5681"/>
                          <a:gd name="connsiteX4" fmla="*/ 1555 w 5023"/>
                          <a:gd name="connsiteY4" fmla="*/ 4785 h 5681"/>
                          <a:gd name="connsiteX5" fmla="*/ 1196 w 5023"/>
                          <a:gd name="connsiteY5" fmla="*/ 4605 h 5681"/>
                          <a:gd name="connsiteX6" fmla="*/ 1017 w 5023"/>
                          <a:gd name="connsiteY6" fmla="*/ 4306 h 5681"/>
                          <a:gd name="connsiteX7" fmla="*/ 778 w 5023"/>
                          <a:gd name="connsiteY7" fmla="*/ 3888 h 5681"/>
                          <a:gd name="connsiteX8" fmla="*/ 778 w 5023"/>
                          <a:gd name="connsiteY8" fmla="*/ 3529 h 5681"/>
                          <a:gd name="connsiteX9" fmla="*/ 837 w 5023"/>
                          <a:gd name="connsiteY9" fmla="*/ 3170 h 5681"/>
                          <a:gd name="connsiteX10" fmla="*/ 957 w 5023"/>
                          <a:gd name="connsiteY10" fmla="*/ 2811 h 5681"/>
                          <a:gd name="connsiteX11" fmla="*/ 1136 w 5023"/>
                          <a:gd name="connsiteY11" fmla="*/ 2452 h 5681"/>
                          <a:gd name="connsiteX12" fmla="*/ 1256 w 5023"/>
                          <a:gd name="connsiteY12" fmla="*/ 2213 h 5681"/>
                          <a:gd name="connsiteX13" fmla="*/ 1435 w 5023"/>
                          <a:gd name="connsiteY13" fmla="*/ 1974 h 5681"/>
                          <a:gd name="connsiteX14" fmla="*/ 1615 w 5023"/>
                          <a:gd name="connsiteY14" fmla="*/ 1794 h 5681"/>
                          <a:gd name="connsiteX15" fmla="*/ 1794 w 5023"/>
                          <a:gd name="connsiteY15" fmla="*/ 1615 h 5681"/>
                          <a:gd name="connsiteX16" fmla="*/ 1914 w 5023"/>
                          <a:gd name="connsiteY16" fmla="*/ 1555 h 5681"/>
                          <a:gd name="connsiteX17" fmla="*/ 2034 w 5023"/>
                          <a:gd name="connsiteY17" fmla="*/ 1495 h 5681"/>
                          <a:gd name="connsiteX18" fmla="*/ 2153 w 5023"/>
                          <a:gd name="connsiteY18" fmla="*/ 1435 h 5681"/>
                          <a:gd name="connsiteX19" fmla="*/ 2273 w 5023"/>
                          <a:gd name="connsiteY19" fmla="*/ 1375 h 5681"/>
                          <a:gd name="connsiteX20" fmla="*/ 2572 w 5023"/>
                          <a:gd name="connsiteY20" fmla="*/ 1256 h 5681"/>
                          <a:gd name="connsiteX21" fmla="*/ 2871 w 5023"/>
                          <a:gd name="connsiteY21" fmla="*/ 1196 h 5681"/>
                          <a:gd name="connsiteX22" fmla="*/ 3170 w 5023"/>
                          <a:gd name="connsiteY22" fmla="*/ 1196 h 5681"/>
                          <a:gd name="connsiteX23" fmla="*/ 3469 w 5023"/>
                          <a:gd name="connsiteY23" fmla="*/ 1196 h 5681"/>
                          <a:gd name="connsiteX24" fmla="*/ 3529 w 5023"/>
                          <a:gd name="connsiteY24" fmla="*/ 1196 h 5681"/>
                          <a:gd name="connsiteX25" fmla="*/ 3589 w 5023"/>
                          <a:gd name="connsiteY25" fmla="*/ 1196 h 5681"/>
                          <a:gd name="connsiteX26" fmla="*/ 3648 w 5023"/>
                          <a:gd name="connsiteY26" fmla="*/ 1196 h 5681"/>
                          <a:gd name="connsiteX27" fmla="*/ 3708 w 5023"/>
                          <a:gd name="connsiteY27" fmla="*/ 1196 h 5681"/>
                          <a:gd name="connsiteX28" fmla="*/ 3828 w 5023"/>
                          <a:gd name="connsiteY28" fmla="*/ 1256 h 5681"/>
                          <a:gd name="connsiteX29" fmla="*/ 3888 w 5023"/>
                          <a:gd name="connsiteY29" fmla="*/ 1316 h 5681"/>
                          <a:gd name="connsiteX30" fmla="*/ 3947 w 5023"/>
                          <a:gd name="connsiteY30" fmla="*/ 1375 h 5681"/>
                          <a:gd name="connsiteX31" fmla="*/ 4007 w 5023"/>
                          <a:gd name="connsiteY31" fmla="*/ 1435 h 5681"/>
                          <a:gd name="connsiteX32" fmla="*/ 4127 w 5023"/>
                          <a:gd name="connsiteY32" fmla="*/ 1555 h 5681"/>
                          <a:gd name="connsiteX33" fmla="*/ 4246 w 5023"/>
                          <a:gd name="connsiteY33" fmla="*/ 1735 h 5681"/>
                          <a:gd name="connsiteX34" fmla="*/ 4306 w 5023"/>
                          <a:gd name="connsiteY34" fmla="*/ 1914 h 5681"/>
                          <a:gd name="connsiteX35" fmla="*/ 4366 w 5023"/>
                          <a:gd name="connsiteY35" fmla="*/ 2153 h 5681"/>
                          <a:gd name="connsiteX36" fmla="*/ 4426 w 5023"/>
                          <a:gd name="connsiteY36" fmla="*/ 2512 h 5681"/>
                          <a:gd name="connsiteX37" fmla="*/ 4366 w 5023"/>
                          <a:gd name="connsiteY37" fmla="*/ 2871 h 5681"/>
                          <a:gd name="connsiteX38" fmla="*/ 4246 w 5023"/>
                          <a:gd name="connsiteY38" fmla="*/ 3230 h 5681"/>
                          <a:gd name="connsiteX39" fmla="*/ 4067 w 5023"/>
                          <a:gd name="connsiteY39" fmla="*/ 3589 h 5681"/>
                          <a:gd name="connsiteX40" fmla="*/ 3828 w 5023"/>
                          <a:gd name="connsiteY40" fmla="*/ 3947 h 5681"/>
                          <a:gd name="connsiteX41" fmla="*/ 3589 w 5023"/>
                          <a:gd name="connsiteY41" fmla="*/ 4246 h 5681"/>
                          <a:gd name="connsiteX42" fmla="*/ 3289 w 5023"/>
                          <a:gd name="connsiteY42" fmla="*/ 4486 h 5681"/>
                          <a:gd name="connsiteX43" fmla="*/ 2990 w 5023"/>
                          <a:gd name="connsiteY43" fmla="*/ 4725 h 5681"/>
                          <a:gd name="connsiteX44" fmla="*/ 2691 w 5023"/>
                          <a:gd name="connsiteY44" fmla="*/ 4844 h 5681"/>
                          <a:gd name="connsiteX45" fmla="*/ 2392 w 5023"/>
                          <a:gd name="connsiteY45" fmla="*/ 4904 h 5681"/>
                          <a:gd name="connsiteX46" fmla="*/ 2093 w 5023"/>
                          <a:gd name="connsiteY46" fmla="*/ 4904 h 5681"/>
                          <a:gd name="connsiteX47" fmla="*/ 1615 w 5023"/>
                          <a:gd name="connsiteY47" fmla="*/ 4785 h 5681"/>
                          <a:gd name="connsiteX48" fmla="*/ 538 w 5023"/>
                          <a:gd name="connsiteY48" fmla="*/ 5323 h 5681"/>
                          <a:gd name="connsiteX49" fmla="*/ 538 w 5023"/>
                          <a:gd name="connsiteY49" fmla="*/ 5323 h 5681"/>
                          <a:gd name="connsiteX50" fmla="*/ 538 w 5023"/>
                          <a:gd name="connsiteY50" fmla="*/ 5323 h 5681"/>
                          <a:gd name="connsiteX51" fmla="*/ 538 w 5023"/>
                          <a:gd name="connsiteY51" fmla="*/ 5323 h 5681"/>
                          <a:gd name="connsiteX52" fmla="*/ 538 w 5023"/>
                          <a:gd name="connsiteY52" fmla="*/ 5323 h 5681"/>
                          <a:gd name="connsiteX53" fmla="*/ 658 w 5023"/>
                          <a:gd name="connsiteY53" fmla="*/ 5443 h 5681"/>
                          <a:gd name="connsiteX54" fmla="*/ 778 w 5023"/>
                          <a:gd name="connsiteY54" fmla="*/ 5502 h 5681"/>
                          <a:gd name="connsiteX55" fmla="*/ 897 w 5023"/>
                          <a:gd name="connsiteY55" fmla="*/ 5562 h 5681"/>
                          <a:gd name="connsiteX56" fmla="*/ 1017 w 5023"/>
                          <a:gd name="connsiteY56" fmla="*/ 5622 h 5681"/>
                          <a:gd name="connsiteX57" fmla="*/ 1076 w 5023"/>
                          <a:gd name="connsiteY57" fmla="*/ 5622 h 5681"/>
                          <a:gd name="connsiteX58" fmla="*/ 1136 w 5023"/>
                          <a:gd name="connsiteY58" fmla="*/ 5622 h 5681"/>
                          <a:gd name="connsiteX59" fmla="*/ 1196 w 5023"/>
                          <a:gd name="connsiteY59" fmla="*/ 5622 h 5681"/>
                          <a:gd name="connsiteX60" fmla="*/ 1256 w 5023"/>
                          <a:gd name="connsiteY60" fmla="*/ 5622 h 5681"/>
                          <a:gd name="connsiteX61" fmla="*/ 1675 w 5023"/>
                          <a:gd name="connsiteY61" fmla="*/ 5682 h 5681"/>
                          <a:gd name="connsiteX62" fmla="*/ 2093 w 5023"/>
                          <a:gd name="connsiteY62" fmla="*/ 5622 h 5681"/>
                          <a:gd name="connsiteX63" fmla="*/ 2572 w 5023"/>
                          <a:gd name="connsiteY63" fmla="*/ 5502 h 5681"/>
                          <a:gd name="connsiteX64" fmla="*/ 3050 w 5023"/>
                          <a:gd name="connsiteY64" fmla="*/ 5263 h 5681"/>
                          <a:gd name="connsiteX65" fmla="*/ 3529 w 5023"/>
                          <a:gd name="connsiteY65" fmla="*/ 4964 h 5681"/>
                          <a:gd name="connsiteX66" fmla="*/ 3947 w 5023"/>
                          <a:gd name="connsiteY66" fmla="*/ 4545 h 5681"/>
                          <a:gd name="connsiteX67" fmla="*/ 4306 w 5023"/>
                          <a:gd name="connsiteY67" fmla="*/ 4067 h 5681"/>
                          <a:gd name="connsiteX68" fmla="*/ 4605 w 5023"/>
                          <a:gd name="connsiteY68" fmla="*/ 3529 h 5681"/>
                          <a:gd name="connsiteX69" fmla="*/ 4844 w 5023"/>
                          <a:gd name="connsiteY69" fmla="*/ 2990 h 5681"/>
                          <a:gd name="connsiteX70" fmla="*/ 4964 w 5023"/>
                          <a:gd name="connsiteY70" fmla="*/ 2452 h 5681"/>
                          <a:gd name="connsiteX71" fmla="*/ 5024 w 5023"/>
                          <a:gd name="connsiteY71" fmla="*/ 1914 h 5681"/>
                          <a:gd name="connsiteX72" fmla="*/ 4964 w 5023"/>
                          <a:gd name="connsiteY72" fmla="*/ 1435 h 5681"/>
                          <a:gd name="connsiteX73" fmla="*/ 4904 w 5023"/>
                          <a:gd name="connsiteY73" fmla="*/ 1136 h 5681"/>
                          <a:gd name="connsiteX74" fmla="*/ 4785 w 5023"/>
                          <a:gd name="connsiteY74" fmla="*/ 837 h 5681"/>
                          <a:gd name="connsiteX75" fmla="*/ 4605 w 5023"/>
                          <a:gd name="connsiteY75" fmla="*/ 598 h 5681"/>
                          <a:gd name="connsiteX76" fmla="*/ 4426 w 5023"/>
                          <a:gd name="connsiteY76" fmla="*/ 419 h 5681"/>
                          <a:gd name="connsiteX77" fmla="*/ 3947 w 5023"/>
                          <a:gd name="connsiteY77" fmla="*/ 120 h 5681"/>
                          <a:gd name="connsiteX78" fmla="*/ 3529 w 5023"/>
                          <a:gd name="connsiteY78" fmla="*/ 0 h 5681"/>
                          <a:gd name="connsiteX79" fmla="*/ 3050 w 5023"/>
                          <a:gd name="connsiteY79" fmla="*/ 0 h 5681"/>
                          <a:gd name="connsiteX80" fmla="*/ 2572 w 5023"/>
                          <a:gd name="connsiteY80" fmla="*/ 120 h 5681"/>
                          <a:gd name="connsiteX81" fmla="*/ 2093 w 5023"/>
                          <a:gd name="connsiteY81" fmla="*/ 359 h 5681"/>
                          <a:gd name="connsiteX82" fmla="*/ 2034 w 5023"/>
                          <a:gd name="connsiteY82" fmla="*/ 359 h 5681"/>
                          <a:gd name="connsiteX83" fmla="*/ 1974 w 5023"/>
                          <a:gd name="connsiteY83" fmla="*/ 359 h 5681"/>
                          <a:gd name="connsiteX84" fmla="*/ 1914 w 5023"/>
                          <a:gd name="connsiteY84" fmla="*/ 359 h 5681"/>
                          <a:gd name="connsiteX85" fmla="*/ 1854 w 5023"/>
                          <a:gd name="connsiteY85" fmla="*/ 419 h 5681"/>
                          <a:gd name="connsiteX86" fmla="*/ 1615 w 5023"/>
                          <a:gd name="connsiteY86" fmla="*/ 598 h 5681"/>
                          <a:gd name="connsiteX87" fmla="*/ 1375 w 5023"/>
                          <a:gd name="connsiteY87" fmla="*/ 778 h 5681"/>
                          <a:gd name="connsiteX88" fmla="*/ 1136 w 5023"/>
                          <a:gd name="connsiteY88" fmla="*/ 957 h 5681"/>
                          <a:gd name="connsiteX89" fmla="*/ 957 w 5023"/>
                          <a:gd name="connsiteY89" fmla="*/ 1196 h 5681"/>
                          <a:gd name="connsiteX90" fmla="*/ 837 w 5023"/>
                          <a:gd name="connsiteY90" fmla="*/ 1375 h 5681"/>
                          <a:gd name="connsiteX91" fmla="*/ 718 w 5023"/>
                          <a:gd name="connsiteY91" fmla="*/ 1555 h 5681"/>
                          <a:gd name="connsiteX92" fmla="*/ 598 w 5023"/>
                          <a:gd name="connsiteY92" fmla="*/ 1735 h 5681"/>
                          <a:gd name="connsiteX93" fmla="*/ 479 w 5023"/>
                          <a:gd name="connsiteY93" fmla="*/ 1914 h 5681"/>
                          <a:gd name="connsiteX94" fmla="*/ 239 w 5023"/>
                          <a:gd name="connsiteY94" fmla="*/ 2452 h 5681"/>
                          <a:gd name="connsiteX95" fmla="*/ 60 w 5023"/>
                          <a:gd name="connsiteY95" fmla="*/ 2990 h 5681"/>
                          <a:gd name="connsiteX96" fmla="*/ 0 w 5023"/>
                          <a:gd name="connsiteY96" fmla="*/ 3529 h 5681"/>
                          <a:gd name="connsiteX97" fmla="*/ 60 w 5023"/>
                          <a:gd name="connsiteY97" fmla="*/ 4007 h 5681"/>
                          <a:gd name="connsiteX98" fmla="*/ 120 w 5023"/>
                          <a:gd name="connsiteY98" fmla="*/ 4306 h 5681"/>
                          <a:gd name="connsiteX99" fmla="*/ 239 w 5023"/>
                          <a:gd name="connsiteY99" fmla="*/ 4605 h 5681"/>
                          <a:gd name="connsiteX100" fmla="*/ 419 w 5023"/>
                          <a:gd name="connsiteY100" fmla="*/ 4844 h 5681"/>
                          <a:gd name="connsiteX101" fmla="*/ 538 w 5023"/>
                          <a:gd name="connsiteY101" fmla="*/ 5323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023" h="5681">
                            <a:moveTo>
                              <a:pt x="1615" y="4785"/>
                            </a:moveTo>
                            <a:cubicBezTo>
                              <a:pt x="1615" y="4785"/>
                              <a:pt x="1615" y="4785"/>
                              <a:pt x="1615" y="4785"/>
                            </a:cubicBezTo>
                            <a:cubicBezTo>
                              <a:pt x="1615" y="4785"/>
                              <a:pt x="1555" y="4785"/>
                              <a:pt x="1615" y="4785"/>
                            </a:cubicBezTo>
                            <a:cubicBezTo>
                              <a:pt x="1555" y="4785"/>
                              <a:pt x="1555" y="4785"/>
                              <a:pt x="1555" y="4785"/>
                            </a:cubicBezTo>
                            <a:cubicBezTo>
                              <a:pt x="1555" y="4785"/>
                              <a:pt x="1555" y="4785"/>
                              <a:pt x="1555" y="4785"/>
                            </a:cubicBezTo>
                            <a:lnTo>
                              <a:pt x="1196" y="4605"/>
                            </a:lnTo>
                            <a:lnTo>
                              <a:pt x="1017" y="4306"/>
                            </a:lnTo>
                            <a:lnTo>
                              <a:pt x="778" y="3888"/>
                            </a:lnTo>
                            <a:cubicBezTo>
                              <a:pt x="778" y="3768"/>
                              <a:pt x="718" y="3648"/>
                              <a:pt x="778" y="3529"/>
                            </a:cubicBezTo>
                            <a:cubicBezTo>
                              <a:pt x="778" y="3409"/>
                              <a:pt x="778" y="3289"/>
                              <a:pt x="837" y="3170"/>
                            </a:cubicBezTo>
                            <a:cubicBezTo>
                              <a:pt x="837" y="3050"/>
                              <a:pt x="897" y="2930"/>
                              <a:pt x="957" y="2811"/>
                            </a:cubicBezTo>
                            <a:cubicBezTo>
                              <a:pt x="1017" y="2691"/>
                              <a:pt x="1076" y="2572"/>
                              <a:pt x="1136" y="2452"/>
                            </a:cubicBezTo>
                            <a:cubicBezTo>
                              <a:pt x="1196" y="2392"/>
                              <a:pt x="1256" y="2273"/>
                              <a:pt x="1256" y="2213"/>
                            </a:cubicBezTo>
                            <a:cubicBezTo>
                              <a:pt x="1316" y="2153"/>
                              <a:pt x="1375" y="2034"/>
                              <a:pt x="1435" y="1974"/>
                            </a:cubicBezTo>
                            <a:cubicBezTo>
                              <a:pt x="1495" y="1914"/>
                              <a:pt x="1555" y="1854"/>
                              <a:pt x="1615" y="1794"/>
                            </a:cubicBezTo>
                            <a:cubicBezTo>
                              <a:pt x="1675" y="1735"/>
                              <a:pt x="1735" y="1675"/>
                              <a:pt x="1794" y="1615"/>
                            </a:cubicBezTo>
                            <a:cubicBezTo>
                              <a:pt x="1854" y="1555"/>
                              <a:pt x="1854" y="1555"/>
                              <a:pt x="1914" y="1555"/>
                            </a:cubicBezTo>
                            <a:cubicBezTo>
                              <a:pt x="1974" y="1555"/>
                              <a:pt x="1974" y="1495"/>
                              <a:pt x="2034" y="1495"/>
                            </a:cubicBezTo>
                            <a:cubicBezTo>
                              <a:pt x="2093" y="1495"/>
                              <a:pt x="2093" y="1435"/>
                              <a:pt x="2153" y="1435"/>
                            </a:cubicBezTo>
                            <a:cubicBezTo>
                              <a:pt x="2213" y="1435"/>
                              <a:pt x="2213" y="1375"/>
                              <a:pt x="2273" y="1375"/>
                            </a:cubicBezTo>
                            <a:cubicBezTo>
                              <a:pt x="2392" y="1316"/>
                              <a:pt x="2452" y="1256"/>
                              <a:pt x="2572" y="1256"/>
                            </a:cubicBezTo>
                            <a:cubicBezTo>
                              <a:pt x="2691" y="1256"/>
                              <a:pt x="2751" y="1196"/>
                              <a:pt x="2871" y="1196"/>
                            </a:cubicBezTo>
                            <a:cubicBezTo>
                              <a:pt x="2990" y="1196"/>
                              <a:pt x="3050" y="1196"/>
                              <a:pt x="3170" y="1196"/>
                            </a:cubicBezTo>
                            <a:cubicBezTo>
                              <a:pt x="3289" y="1196"/>
                              <a:pt x="3349" y="1196"/>
                              <a:pt x="3469" y="1196"/>
                            </a:cubicBezTo>
                            <a:cubicBezTo>
                              <a:pt x="3469" y="1196"/>
                              <a:pt x="3469" y="1196"/>
                              <a:pt x="3529" y="1196"/>
                            </a:cubicBezTo>
                            <a:cubicBezTo>
                              <a:pt x="3589" y="1196"/>
                              <a:pt x="3529" y="1196"/>
                              <a:pt x="3589" y="1196"/>
                            </a:cubicBezTo>
                            <a:cubicBezTo>
                              <a:pt x="3589" y="1196"/>
                              <a:pt x="3589" y="1196"/>
                              <a:pt x="3648" y="1196"/>
                            </a:cubicBezTo>
                            <a:cubicBezTo>
                              <a:pt x="3648" y="1196"/>
                              <a:pt x="3648" y="1196"/>
                              <a:pt x="3708" y="1196"/>
                            </a:cubicBezTo>
                            <a:cubicBezTo>
                              <a:pt x="3768" y="1196"/>
                              <a:pt x="3768" y="1196"/>
                              <a:pt x="3828" y="1256"/>
                            </a:cubicBezTo>
                            <a:cubicBezTo>
                              <a:pt x="3888" y="1256"/>
                              <a:pt x="3888" y="1256"/>
                              <a:pt x="3888" y="1316"/>
                            </a:cubicBezTo>
                            <a:cubicBezTo>
                              <a:pt x="3888" y="1316"/>
                              <a:pt x="3947" y="1375"/>
                              <a:pt x="3947" y="1375"/>
                            </a:cubicBezTo>
                            <a:cubicBezTo>
                              <a:pt x="3947" y="1375"/>
                              <a:pt x="4007" y="1435"/>
                              <a:pt x="4007" y="1435"/>
                            </a:cubicBezTo>
                            <a:cubicBezTo>
                              <a:pt x="4067" y="1495"/>
                              <a:pt x="4127" y="1495"/>
                              <a:pt x="4127" y="1555"/>
                            </a:cubicBezTo>
                            <a:cubicBezTo>
                              <a:pt x="4187" y="1615"/>
                              <a:pt x="4187" y="1675"/>
                              <a:pt x="4246" y="1735"/>
                            </a:cubicBezTo>
                            <a:cubicBezTo>
                              <a:pt x="4306" y="1794"/>
                              <a:pt x="4306" y="1854"/>
                              <a:pt x="4306" y="1914"/>
                            </a:cubicBezTo>
                            <a:cubicBezTo>
                              <a:pt x="4306" y="1974"/>
                              <a:pt x="4366" y="2034"/>
                              <a:pt x="4366" y="2153"/>
                            </a:cubicBezTo>
                            <a:cubicBezTo>
                              <a:pt x="4366" y="2273"/>
                              <a:pt x="4426" y="2392"/>
                              <a:pt x="4426" y="2512"/>
                            </a:cubicBezTo>
                            <a:cubicBezTo>
                              <a:pt x="4426" y="2632"/>
                              <a:pt x="4426" y="2751"/>
                              <a:pt x="4366" y="2871"/>
                            </a:cubicBezTo>
                            <a:cubicBezTo>
                              <a:pt x="4366" y="2990"/>
                              <a:pt x="4306" y="3110"/>
                              <a:pt x="4246" y="3230"/>
                            </a:cubicBezTo>
                            <a:cubicBezTo>
                              <a:pt x="4187" y="3349"/>
                              <a:pt x="4127" y="3469"/>
                              <a:pt x="4067" y="3589"/>
                            </a:cubicBezTo>
                            <a:cubicBezTo>
                              <a:pt x="4007" y="3708"/>
                              <a:pt x="3947" y="3828"/>
                              <a:pt x="3828" y="3947"/>
                            </a:cubicBezTo>
                            <a:cubicBezTo>
                              <a:pt x="3768" y="4067"/>
                              <a:pt x="3648" y="4187"/>
                              <a:pt x="3589" y="4246"/>
                            </a:cubicBezTo>
                            <a:cubicBezTo>
                              <a:pt x="3469" y="4366"/>
                              <a:pt x="3409" y="4426"/>
                              <a:pt x="3289" y="4486"/>
                            </a:cubicBezTo>
                            <a:cubicBezTo>
                              <a:pt x="3170" y="4545"/>
                              <a:pt x="3050" y="4665"/>
                              <a:pt x="2990" y="4725"/>
                            </a:cubicBezTo>
                            <a:cubicBezTo>
                              <a:pt x="2871" y="4785"/>
                              <a:pt x="2811" y="4844"/>
                              <a:pt x="2691" y="4844"/>
                            </a:cubicBezTo>
                            <a:cubicBezTo>
                              <a:pt x="2572" y="4844"/>
                              <a:pt x="2512" y="4904"/>
                              <a:pt x="2392" y="4904"/>
                            </a:cubicBezTo>
                            <a:cubicBezTo>
                              <a:pt x="2273" y="4904"/>
                              <a:pt x="2213" y="4904"/>
                              <a:pt x="2093" y="4904"/>
                            </a:cubicBezTo>
                            <a:cubicBezTo>
                              <a:pt x="1794" y="4785"/>
                              <a:pt x="1675" y="4785"/>
                              <a:pt x="1615" y="4785"/>
                            </a:cubicBezTo>
                            <a:moveTo>
                              <a:pt x="538" y="5323"/>
                            </a:moveTo>
                            <a:cubicBezTo>
                              <a:pt x="538" y="5323"/>
                              <a:pt x="538" y="5323"/>
                              <a:pt x="538" y="5323"/>
                            </a:cubicBezTo>
                            <a:cubicBezTo>
                              <a:pt x="538" y="5323"/>
                              <a:pt x="538" y="5323"/>
                              <a:pt x="538" y="5323"/>
                            </a:cubicBezTo>
                            <a:cubicBezTo>
                              <a:pt x="538" y="5323"/>
                              <a:pt x="538" y="5323"/>
                              <a:pt x="538" y="5323"/>
                            </a:cubicBezTo>
                            <a:cubicBezTo>
                              <a:pt x="538" y="5323"/>
                              <a:pt x="538" y="5323"/>
                              <a:pt x="538" y="5323"/>
                            </a:cubicBezTo>
                            <a:cubicBezTo>
                              <a:pt x="598" y="5383"/>
                              <a:pt x="658" y="5383"/>
                              <a:pt x="658" y="5443"/>
                            </a:cubicBezTo>
                            <a:cubicBezTo>
                              <a:pt x="718" y="5443"/>
                              <a:pt x="718" y="5502"/>
                              <a:pt x="778" y="5502"/>
                            </a:cubicBezTo>
                            <a:cubicBezTo>
                              <a:pt x="837" y="5502"/>
                              <a:pt x="837" y="5562"/>
                              <a:pt x="897" y="5562"/>
                            </a:cubicBezTo>
                            <a:cubicBezTo>
                              <a:pt x="957" y="5562"/>
                              <a:pt x="1017" y="5622"/>
                              <a:pt x="1017" y="5622"/>
                            </a:cubicBezTo>
                            <a:cubicBezTo>
                              <a:pt x="1017" y="5622"/>
                              <a:pt x="1017" y="5622"/>
                              <a:pt x="1076" y="5622"/>
                            </a:cubicBezTo>
                            <a:cubicBezTo>
                              <a:pt x="1076" y="5622"/>
                              <a:pt x="1076" y="5622"/>
                              <a:pt x="1136" y="5622"/>
                            </a:cubicBezTo>
                            <a:cubicBezTo>
                              <a:pt x="1136" y="5622"/>
                              <a:pt x="1136" y="5622"/>
                              <a:pt x="1196" y="5622"/>
                            </a:cubicBezTo>
                            <a:cubicBezTo>
                              <a:pt x="1196" y="5622"/>
                              <a:pt x="1196" y="5622"/>
                              <a:pt x="1256" y="5622"/>
                            </a:cubicBezTo>
                            <a:cubicBezTo>
                              <a:pt x="1375" y="5682"/>
                              <a:pt x="1555" y="5682"/>
                              <a:pt x="1675" y="5682"/>
                            </a:cubicBezTo>
                            <a:cubicBezTo>
                              <a:pt x="1794" y="5682"/>
                              <a:pt x="1974" y="5682"/>
                              <a:pt x="2093" y="5622"/>
                            </a:cubicBezTo>
                            <a:cubicBezTo>
                              <a:pt x="2273" y="5622"/>
                              <a:pt x="2392" y="5562"/>
                              <a:pt x="2572" y="5502"/>
                            </a:cubicBezTo>
                            <a:cubicBezTo>
                              <a:pt x="2751" y="5443"/>
                              <a:pt x="2871" y="5383"/>
                              <a:pt x="3050" y="5263"/>
                            </a:cubicBezTo>
                            <a:cubicBezTo>
                              <a:pt x="3230" y="5143"/>
                              <a:pt x="3349" y="5084"/>
                              <a:pt x="3529" y="4964"/>
                            </a:cubicBezTo>
                            <a:cubicBezTo>
                              <a:pt x="3708" y="4844"/>
                              <a:pt x="3828" y="4725"/>
                              <a:pt x="3947" y="4545"/>
                            </a:cubicBezTo>
                            <a:cubicBezTo>
                              <a:pt x="4067" y="4426"/>
                              <a:pt x="4187" y="4246"/>
                              <a:pt x="4306" y="4067"/>
                            </a:cubicBezTo>
                            <a:cubicBezTo>
                              <a:pt x="4426" y="3888"/>
                              <a:pt x="4545" y="3708"/>
                              <a:pt x="4605" y="3529"/>
                            </a:cubicBezTo>
                            <a:cubicBezTo>
                              <a:pt x="4725" y="3349"/>
                              <a:pt x="4785" y="3170"/>
                              <a:pt x="4844" y="2990"/>
                            </a:cubicBezTo>
                            <a:cubicBezTo>
                              <a:pt x="4904" y="2811"/>
                              <a:pt x="4964" y="2632"/>
                              <a:pt x="4964" y="2452"/>
                            </a:cubicBezTo>
                            <a:cubicBezTo>
                              <a:pt x="5024" y="2273"/>
                              <a:pt x="5024" y="2093"/>
                              <a:pt x="5024" y="1914"/>
                            </a:cubicBezTo>
                            <a:cubicBezTo>
                              <a:pt x="5024" y="1735"/>
                              <a:pt x="5024" y="1555"/>
                              <a:pt x="4964" y="1435"/>
                            </a:cubicBezTo>
                            <a:cubicBezTo>
                              <a:pt x="4964" y="1316"/>
                              <a:pt x="4904" y="1196"/>
                              <a:pt x="4904" y="1136"/>
                            </a:cubicBezTo>
                            <a:cubicBezTo>
                              <a:pt x="4844" y="1017"/>
                              <a:pt x="4844" y="957"/>
                              <a:pt x="4785" y="837"/>
                            </a:cubicBezTo>
                            <a:cubicBezTo>
                              <a:pt x="4725" y="778"/>
                              <a:pt x="4665" y="658"/>
                              <a:pt x="4605" y="598"/>
                            </a:cubicBezTo>
                            <a:cubicBezTo>
                              <a:pt x="4545" y="538"/>
                              <a:pt x="4486" y="479"/>
                              <a:pt x="4426" y="419"/>
                            </a:cubicBezTo>
                            <a:lnTo>
                              <a:pt x="3947" y="120"/>
                            </a:lnTo>
                            <a:cubicBezTo>
                              <a:pt x="3828" y="60"/>
                              <a:pt x="3648" y="60"/>
                              <a:pt x="3529" y="0"/>
                            </a:cubicBezTo>
                            <a:cubicBezTo>
                              <a:pt x="3349" y="0"/>
                              <a:pt x="3230" y="0"/>
                              <a:pt x="3050" y="0"/>
                            </a:cubicBezTo>
                            <a:cubicBezTo>
                              <a:pt x="2871" y="0"/>
                              <a:pt x="2691" y="60"/>
                              <a:pt x="2572" y="120"/>
                            </a:cubicBezTo>
                            <a:cubicBezTo>
                              <a:pt x="2392" y="180"/>
                              <a:pt x="2213" y="239"/>
                              <a:pt x="2093" y="359"/>
                            </a:cubicBezTo>
                            <a:cubicBezTo>
                              <a:pt x="2093" y="359"/>
                              <a:pt x="2034" y="359"/>
                              <a:pt x="2034" y="359"/>
                            </a:cubicBezTo>
                            <a:cubicBezTo>
                              <a:pt x="2034" y="359"/>
                              <a:pt x="1974" y="359"/>
                              <a:pt x="1974" y="359"/>
                            </a:cubicBezTo>
                            <a:cubicBezTo>
                              <a:pt x="1974" y="359"/>
                              <a:pt x="1914" y="359"/>
                              <a:pt x="1914" y="359"/>
                            </a:cubicBezTo>
                            <a:cubicBezTo>
                              <a:pt x="1914" y="359"/>
                              <a:pt x="1854" y="359"/>
                              <a:pt x="1854" y="419"/>
                            </a:cubicBezTo>
                            <a:cubicBezTo>
                              <a:pt x="1794" y="479"/>
                              <a:pt x="1675" y="538"/>
                              <a:pt x="1615" y="598"/>
                            </a:cubicBezTo>
                            <a:cubicBezTo>
                              <a:pt x="1555" y="658"/>
                              <a:pt x="1435" y="718"/>
                              <a:pt x="1375" y="778"/>
                            </a:cubicBezTo>
                            <a:cubicBezTo>
                              <a:pt x="1316" y="837"/>
                              <a:pt x="1256" y="897"/>
                              <a:pt x="1136" y="957"/>
                            </a:cubicBezTo>
                            <a:cubicBezTo>
                              <a:pt x="1076" y="1017"/>
                              <a:pt x="1017" y="1076"/>
                              <a:pt x="957" y="1196"/>
                            </a:cubicBezTo>
                            <a:cubicBezTo>
                              <a:pt x="897" y="1256"/>
                              <a:pt x="837" y="1316"/>
                              <a:pt x="837" y="1375"/>
                            </a:cubicBezTo>
                            <a:cubicBezTo>
                              <a:pt x="837" y="1435"/>
                              <a:pt x="718" y="1495"/>
                              <a:pt x="718" y="1555"/>
                            </a:cubicBezTo>
                            <a:cubicBezTo>
                              <a:pt x="658" y="1615"/>
                              <a:pt x="658" y="1675"/>
                              <a:pt x="598" y="1735"/>
                            </a:cubicBezTo>
                            <a:cubicBezTo>
                              <a:pt x="538" y="1794"/>
                              <a:pt x="538" y="1854"/>
                              <a:pt x="479" y="1914"/>
                            </a:cubicBezTo>
                            <a:cubicBezTo>
                              <a:pt x="359" y="2093"/>
                              <a:pt x="299" y="2273"/>
                              <a:pt x="239" y="2452"/>
                            </a:cubicBezTo>
                            <a:cubicBezTo>
                              <a:pt x="180" y="2632"/>
                              <a:pt x="120" y="2811"/>
                              <a:pt x="60" y="2990"/>
                            </a:cubicBezTo>
                            <a:cubicBezTo>
                              <a:pt x="0" y="3170"/>
                              <a:pt x="0" y="3349"/>
                              <a:pt x="0" y="3529"/>
                            </a:cubicBezTo>
                            <a:cubicBezTo>
                              <a:pt x="0" y="3708"/>
                              <a:pt x="0" y="3888"/>
                              <a:pt x="60" y="4007"/>
                            </a:cubicBezTo>
                            <a:cubicBezTo>
                              <a:pt x="60" y="4127"/>
                              <a:pt x="120" y="4187"/>
                              <a:pt x="120" y="4306"/>
                            </a:cubicBezTo>
                            <a:cubicBezTo>
                              <a:pt x="180" y="4426"/>
                              <a:pt x="180" y="4486"/>
                              <a:pt x="239" y="4605"/>
                            </a:cubicBezTo>
                            <a:cubicBezTo>
                              <a:pt x="299" y="4725"/>
                              <a:pt x="359" y="4785"/>
                              <a:pt x="419" y="4844"/>
                            </a:cubicBezTo>
                            <a:cubicBezTo>
                              <a:pt x="419" y="5203"/>
                              <a:pt x="479" y="5263"/>
                              <a:pt x="538" y="5323"/>
                            </a:cubicBezTo>
                          </a:path>
                        </a:pathLst>
                      </a:custGeom>
                      <a:noFill/>
                      <a:ln w="6350" cap="flat">
                        <a:solidFill>
                          <a:schemeClr val="bg1">
                            <a:alpha val="40000"/>
                          </a:schemeClr>
                        </a:solidFill>
                        <a:prstDash val="solid"/>
                        <a:miter/>
                      </a:ln>
                    </p:spPr>
                    <p:txBody>
                      <a:bodyPr rtlCol="0" anchor="ctr"/>
                      <a:lstStyle/>
                      <a:p>
                        <a:endParaRPr lang="en-GB"/>
                      </a:p>
                    </p:txBody>
                  </p:sp>
                  <p:sp>
                    <p:nvSpPr>
                      <p:cNvPr id="7437" name="Vrije vorm: vorm 7436">
                        <a:extLst>
                          <a:ext uri="{FF2B5EF4-FFF2-40B4-BE49-F238E27FC236}">
                            <a16:creationId xmlns:a16="http://schemas.microsoft.com/office/drawing/2014/main" id="{BC18989C-469E-4C5F-A091-ECA361380967}"/>
                          </a:ext>
                        </a:extLst>
                      </p:cNvPr>
                      <p:cNvSpPr/>
                      <p:nvPr/>
                    </p:nvSpPr>
                    <p:spPr>
                      <a:xfrm>
                        <a:off x="5367418" y="5289450"/>
                        <a:ext cx="5023" cy="5621"/>
                      </a:xfrm>
                      <a:custGeom>
                        <a:avLst/>
                        <a:gdLst>
                          <a:gd name="connsiteX0" fmla="*/ 3828 w 5023"/>
                          <a:gd name="connsiteY0" fmla="*/ 1196 h 5621"/>
                          <a:gd name="connsiteX1" fmla="*/ 3947 w 5023"/>
                          <a:gd name="connsiteY1" fmla="*/ 1316 h 5621"/>
                          <a:gd name="connsiteX2" fmla="*/ 4067 w 5023"/>
                          <a:gd name="connsiteY2" fmla="*/ 1495 h 5621"/>
                          <a:gd name="connsiteX3" fmla="*/ 4127 w 5023"/>
                          <a:gd name="connsiteY3" fmla="*/ 1674 h 5621"/>
                          <a:gd name="connsiteX4" fmla="*/ 4187 w 5023"/>
                          <a:gd name="connsiteY4" fmla="*/ 1854 h 5621"/>
                          <a:gd name="connsiteX5" fmla="*/ 4187 w 5023"/>
                          <a:gd name="connsiteY5" fmla="*/ 2213 h 5621"/>
                          <a:gd name="connsiteX6" fmla="*/ 4127 w 5023"/>
                          <a:gd name="connsiteY6" fmla="*/ 2572 h 5621"/>
                          <a:gd name="connsiteX7" fmla="*/ 4007 w 5023"/>
                          <a:gd name="connsiteY7" fmla="*/ 2930 h 5621"/>
                          <a:gd name="connsiteX8" fmla="*/ 3828 w 5023"/>
                          <a:gd name="connsiteY8" fmla="*/ 3289 h 5621"/>
                          <a:gd name="connsiteX9" fmla="*/ 3588 w 5023"/>
                          <a:gd name="connsiteY9" fmla="*/ 3648 h 5621"/>
                          <a:gd name="connsiteX10" fmla="*/ 3349 w 5023"/>
                          <a:gd name="connsiteY10" fmla="*/ 3947 h 5621"/>
                          <a:gd name="connsiteX11" fmla="*/ 3050 w 5023"/>
                          <a:gd name="connsiteY11" fmla="*/ 4186 h 5621"/>
                          <a:gd name="connsiteX12" fmla="*/ 2751 w 5023"/>
                          <a:gd name="connsiteY12" fmla="*/ 4366 h 5621"/>
                          <a:gd name="connsiteX13" fmla="*/ 2392 w 5023"/>
                          <a:gd name="connsiteY13" fmla="*/ 4545 h 5621"/>
                          <a:gd name="connsiteX14" fmla="*/ 2034 w 5023"/>
                          <a:gd name="connsiteY14" fmla="*/ 4605 h 5621"/>
                          <a:gd name="connsiteX15" fmla="*/ 1734 w 5023"/>
                          <a:gd name="connsiteY15" fmla="*/ 4605 h 5621"/>
                          <a:gd name="connsiteX16" fmla="*/ 1435 w 5023"/>
                          <a:gd name="connsiteY16" fmla="*/ 4545 h 5621"/>
                          <a:gd name="connsiteX17" fmla="*/ 1076 w 5023"/>
                          <a:gd name="connsiteY17" fmla="*/ 4366 h 5621"/>
                          <a:gd name="connsiteX18" fmla="*/ 658 w 5023"/>
                          <a:gd name="connsiteY18" fmla="*/ 3648 h 5621"/>
                          <a:gd name="connsiteX19" fmla="*/ 598 w 5023"/>
                          <a:gd name="connsiteY19" fmla="*/ 3349 h 5621"/>
                          <a:gd name="connsiteX20" fmla="*/ 658 w 5023"/>
                          <a:gd name="connsiteY20" fmla="*/ 2990 h 5621"/>
                          <a:gd name="connsiteX21" fmla="*/ 778 w 5023"/>
                          <a:gd name="connsiteY21" fmla="*/ 2632 h 5621"/>
                          <a:gd name="connsiteX22" fmla="*/ 957 w 5023"/>
                          <a:gd name="connsiteY22" fmla="*/ 2273 h 5621"/>
                          <a:gd name="connsiteX23" fmla="*/ 1136 w 5023"/>
                          <a:gd name="connsiteY23" fmla="*/ 1914 h 5621"/>
                          <a:gd name="connsiteX24" fmla="*/ 1375 w 5023"/>
                          <a:gd name="connsiteY24" fmla="*/ 1615 h 5621"/>
                          <a:gd name="connsiteX25" fmla="*/ 1675 w 5023"/>
                          <a:gd name="connsiteY25" fmla="*/ 1375 h 5621"/>
                          <a:gd name="connsiteX26" fmla="*/ 2034 w 5023"/>
                          <a:gd name="connsiteY26" fmla="*/ 1136 h 5621"/>
                          <a:gd name="connsiteX27" fmla="*/ 2392 w 5023"/>
                          <a:gd name="connsiteY27" fmla="*/ 957 h 5621"/>
                          <a:gd name="connsiteX28" fmla="*/ 2751 w 5023"/>
                          <a:gd name="connsiteY28" fmla="*/ 897 h 5621"/>
                          <a:gd name="connsiteX29" fmla="*/ 3050 w 5023"/>
                          <a:gd name="connsiteY29" fmla="*/ 897 h 5621"/>
                          <a:gd name="connsiteX30" fmla="*/ 3349 w 5023"/>
                          <a:gd name="connsiteY30" fmla="*/ 957 h 5621"/>
                          <a:gd name="connsiteX31" fmla="*/ 3469 w 5023"/>
                          <a:gd name="connsiteY31" fmla="*/ 1017 h 5621"/>
                          <a:gd name="connsiteX32" fmla="*/ 3588 w 5023"/>
                          <a:gd name="connsiteY32" fmla="*/ 1076 h 5621"/>
                          <a:gd name="connsiteX33" fmla="*/ 3648 w 5023"/>
                          <a:gd name="connsiteY33" fmla="*/ 1136 h 5621"/>
                          <a:gd name="connsiteX34" fmla="*/ 3828 w 5023"/>
                          <a:gd name="connsiteY34" fmla="*/ 1196 h 5621"/>
                          <a:gd name="connsiteX35" fmla="*/ 598 w 5023"/>
                          <a:gd name="connsiteY35" fmla="*/ 5263 h 5621"/>
                          <a:gd name="connsiteX36" fmla="*/ 718 w 5023"/>
                          <a:gd name="connsiteY36" fmla="*/ 5323 h 5621"/>
                          <a:gd name="connsiteX37" fmla="*/ 837 w 5023"/>
                          <a:gd name="connsiteY37" fmla="*/ 5382 h 5621"/>
                          <a:gd name="connsiteX38" fmla="*/ 957 w 5023"/>
                          <a:gd name="connsiteY38" fmla="*/ 5442 h 5621"/>
                          <a:gd name="connsiteX39" fmla="*/ 1076 w 5023"/>
                          <a:gd name="connsiteY39" fmla="*/ 5502 h 5621"/>
                          <a:gd name="connsiteX40" fmla="*/ 1555 w 5023"/>
                          <a:gd name="connsiteY40" fmla="*/ 5622 h 5621"/>
                          <a:gd name="connsiteX41" fmla="*/ 2034 w 5023"/>
                          <a:gd name="connsiteY41" fmla="*/ 5622 h 5621"/>
                          <a:gd name="connsiteX42" fmla="*/ 2512 w 5023"/>
                          <a:gd name="connsiteY42" fmla="*/ 5502 h 5621"/>
                          <a:gd name="connsiteX43" fmla="*/ 3050 w 5023"/>
                          <a:gd name="connsiteY43" fmla="*/ 5263 h 5621"/>
                          <a:gd name="connsiteX44" fmla="*/ 3529 w 5023"/>
                          <a:gd name="connsiteY44" fmla="*/ 4964 h 5621"/>
                          <a:gd name="connsiteX45" fmla="*/ 3947 w 5023"/>
                          <a:gd name="connsiteY45" fmla="*/ 4545 h 5621"/>
                          <a:gd name="connsiteX46" fmla="*/ 4306 w 5023"/>
                          <a:gd name="connsiteY46" fmla="*/ 4067 h 5621"/>
                          <a:gd name="connsiteX47" fmla="*/ 4605 w 5023"/>
                          <a:gd name="connsiteY47" fmla="*/ 3528 h 5621"/>
                          <a:gd name="connsiteX48" fmla="*/ 4844 w 5023"/>
                          <a:gd name="connsiteY48" fmla="*/ 2990 h 5621"/>
                          <a:gd name="connsiteX49" fmla="*/ 4964 w 5023"/>
                          <a:gd name="connsiteY49" fmla="*/ 2452 h 5621"/>
                          <a:gd name="connsiteX50" fmla="*/ 5024 w 5023"/>
                          <a:gd name="connsiteY50" fmla="*/ 1914 h 5621"/>
                          <a:gd name="connsiteX51" fmla="*/ 4964 w 5023"/>
                          <a:gd name="connsiteY51" fmla="*/ 1375 h 5621"/>
                          <a:gd name="connsiteX52" fmla="*/ 4844 w 5023"/>
                          <a:gd name="connsiteY52" fmla="*/ 1076 h 5621"/>
                          <a:gd name="connsiteX53" fmla="*/ 4725 w 5023"/>
                          <a:gd name="connsiteY53" fmla="*/ 778 h 5621"/>
                          <a:gd name="connsiteX54" fmla="*/ 4545 w 5023"/>
                          <a:gd name="connsiteY54" fmla="*/ 538 h 5621"/>
                          <a:gd name="connsiteX55" fmla="*/ 4366 w 5023"/>
                          <a:gd name="connsiteY55" fmla="*/ 359 h 5621"/>
                          <a:gd name="connsiteX56" fmla="*/ 3888 w 5023"/>
                          <a:gd name="connsiteY56" fmla="*/ 60 h 5621"/>
                          <a:gd name="connsiteX57" fmla="*/ 3409 w 5023"/>
                          <a:gd name="connsiteY57" fmla="*/ 0 h 5621"/>
                          <a:gd name="connsiteX58" fmla="*/ 2930 w 5023"/>
                          <a:gd name="connsiteY58" fmla="*/ 0 h 5621"/>
                          <a:gd name="connsiteX59" fmla="*/ 2452 w 5023"/>
                          <a:gd name="connsiteY59" fmla="*/ 119 h 5621"/>
                          <a:gd name="connsiteX60" fmla="*/ 1974 w 5023"/>
                          <a:gd name="connsiteY60" fmla="*/ 359 h 5621"/>
                          <a:gd name="connsiteX61" fmla="*/ 1495 w 5023"/>
                          <a:gd name="connsiteY61" fmla="*/ 658 h 5621"/>
                          <a:gd name="connsiteX62" fmla="*/ 1076 w 5023"/>
                          <a:gd name="connsiteY62" fmla="*/ 1076 h 5621"/>
                          <a:gd name="connsiteX63" fmla="*/ 718 w 5023"/>
                          <a:gd name="connsiteY63" fmla="*/ 1555 h 5621"/>
                          <a:gd name="connsiteX64" fmla="*/ 419 w 5023"/>
                          <a:gd name="connsiteY64" fmla="*/ 2093 h 5621"/>
                          <a:gd name="connsiteX65" fmla="*/ 180 w 5023"/>
                          <a:gd name="connsiteY65" fmla="*/ 2632 h 5621"/>
                          <a:gd name="connsiteX66" fmla="*/ 60 w 5023"/>
                          <a:gd name="connsiteY66" fmla="*/ 3170 h 5621"/>
                          <a:gd name="connsiteX67" fmla="*/ 0 w 5023"/>
                          <a:gd name="connsiteY67" fmla="*/ 3708 h 5621"/>
                          <a:gd name="connsiteX68" fmla="*/ 60 w 5023"/>
                          <a:gd name="connsiteY68" fmla="*/ 4246 h 5621"/>
                          <a:gd name="connsiteX69" fmla="*/ 180 w 5023"/>
                          <a:gd name="connsiteY69" fmla="*/ 4545 h 5621"/>
                          <a:gd name="connsiteX70" fmla="*/ 299 w 5023"/>
                          <a:gd name="connsiteY70" fmla="*/ 4844 h 5621"/>
                          <a:gd name="connsiteX71" fmla="*/ 479 w 5023"/>
                          <a:gd name="connsiteY71" fmla="*/ 5083 h 5621"/>
                          <a:gd name="connsiteX72" fmla="*/ 598 w 5023"/>
                          <a:gd name="connsiteY72" fmla="*/ 5263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023" h="5621">
                            <a:moveTo>
                              <a:pt x="3828" y="1196"/>
                            </a:moveTo>
                            <a:cubicBezTo>
                              <a:pt x="3888" y="1256"/>
                              <a:pt x="3947" y="1256"/>
                              <a:pt x="3947" y="1316"/>
                            </a:cubicBezTo>
                            <a:cubicBezTo>
                              <a:pt x="3947" y="1375"/>
                              <a:pt x="4007" y="1435"/>
                              <a:pt x="4067" y="1495"/>
                            </a:cubicBezTo>
                            <a:cubicBezTo>
                              <a:pt x="4127" y="1555"/>
                              <a:pt x="4127" y="1615"/>
                              <a:pt x="4127" y="1674"/>
                            </a:cubicBezTo>
                            <a:cubicBezTo>
                              <a:pt x="4127" y="1734"/>
                              <a:pt x="4187" y="1794"/>
                              <a:pt x="4187" y="1854"/>
                            </a:cubicBezTo>
                            <a:cubicBezTo>
                              <a:pt x="4187" y="1973"/>
                              <a:pt x="4187" y="2093"/>
                              <a:pt x="4187" y="2213"/>
                            </a:cubicBezTo>
                            <a:cubicBezTo>
                              <a:pt x="4187" y="2332"/>
                              <a:pt x="4187" y="2452"/>
                              <a:pt x="4127" y="2572"/>
                            </a:cubicBezTo>
                            <a:cubicBezTo>
                              <a:pt x="4127" y="2691"/>
                              <a:pt x="4067" y="2811"/>
                              <a:pt x="4007" y="2930"/>
                            </a:cubicBezTo>
                            <a:cubicBezTo>
                              <a:pt x="3947" y="3050"/>
                              <a:pt x="3888" y="3170"/>
                              <a:pt x="3828" y="3289"/>
                            </a:cubicBezTo>
                            <a:cubicBezTo>
                              <a:pt x="3768" y="3409"/>
                              <a:pt x="3708" y="3528"/>
                              <a:pt x="3588" y="3648"/>
                            </a:cubicBezTo>
                            <a:cubicBezTo>
                              <a:pt x="3529" y="3768"/>
                              <a:pt x="3409" y="3887"/>
                              <a:pt x="3349" y="3947"/>
                            </a:cubicBezTo>
                            <a:cubicBezTo>
                              <a:pt x="3229" y="4067"/>
                              <a:pt x="3170" y="4127"/>
                              <a:pt x="3050" y="4186"/>
                            </a:cubicBezTo>
                            <a:cubicBezTo>
                              <a:pt x="2930" y="4246"/>
                              <a:pt x="2811" y="4306"/>
                              <a:pt x="2751" y="4366"/>
                            </a:cubicBezTo>
                            <a:cubicBezTo>
                              <a:pt x="2632" y="4426"/>
                              <a:pt x="2512" y="4486"/>
                              <a:pt x="2392" y="4545"/>
                            </a:cubicBezTo>
                            <a:cubicBezTo>
                              <a:pt x="2273" y="4605"/>
                              <a:pt x="2153" y="4605"/>
                              <a:pt x="2034" y="4605"/>
                            </a:cubicBezTo>
                            <a:cubicBezTo>
                              <a:pt x="1914" y="4605"/>
                              <a:pt x="1794" y="4605"/>
                              <a:pt x="1734" y="4605"/>
                            </a:cubicBezTo>
                            <a:cubicBezTo>
                              <a:pt x="1615" y="4605"/>
                              <a:pt x="1555" y="4605"/>
                              <a:pt x="1435" y="4545"/>
                            </a:cubicBezTo>
                            <a:lnTo>
                              <a:pt x="1076" y="4366"/>
                            </a:lnTo>
                            <a:lnTo>
                              <a:pt x="658" y="3648"/>
                            </a:lnTo>
                            <a:cubicBezTo>
                              <a:pt x="658" y="3528"/>
                              <a:pt x="598" y="3409"/>
                              <a:pt x="598" y="3349"/>
                            </a:cubicBezTo>
                            <a:cubicBezTo>
                              <a:pt x="598" y="3229"/>
                              <a:pt x="598" y="3110"/>
                              <a:pt x="658" y="2990"/>
                            </a:cubicBezTo>
                            <a:cubicBezTo>
                              <a:pt x="718" y="2871"/>
                              <a:pt x="718" y="2751"/>
                              <a:pt x="778" y="2632"/>
                            </a:cubicBezTo>
                            <a:cubicBezTo>
                              <a:pt x="837" y="2512"/>
                              <a:pt x="897" y="2392"/>
                              <a:pt x="957" y="2273"/>
                            </a:cubicBezTo>
                            <a:cubicBezTo>
                              <a:pt x="1017" y="2153"/>
                              <a:pt x="1076" y="2033"/>
                              <a:pt x="1136" y="1914"/>
                            </a:cubicBezTo>
                            <a:cubicBezTo>
                              <a:pt x="1196" y="1794"/>
                              <a:pt x="1316" y="1674"/>
                              <a:pt x="1375" y="1615"/>
                            </a:cubicBezTo>
                            <a:cubicBezTo>
                              <a:pt x="1495" y="1495"/>
                              <a:pt x="1555" y="1435"/>
                              <a:pt x="1675" y="1375"/>
                            </a:cubicBezTo>
                            <a:cubicBezTo>
                              <a:pt x="1794" y="1316"/>
                              <a:pt x="1914" y="1196"/>
                              <a:pt x="2034" y="1136"/>
                            </a:cubicBezTo>
                            <a:cubicBezTo>
                              <a:pt x="2153" y="1076"/>
                              <a:pt x="2273" y="1017"/>
                              <a:pt x="2392" y="957"/>
                            </a:cubicBezTo>
                            <a:cubicBezTo>
                              <a:pt x="2512" y="897"/>
                              <a:pt x="2632" y="897"/>
                              <a:pt x="2751" y="897"/>
                            </a:cubicBezTo>
                            <a:cubicBezTo>
                              <a:pt x="2871" y="897"/>
                              <a:pt x="2990" y="897"/>
                              <a:pt x="3050" y="897"/>
                            </a:cubicBezTo>
                            <a:cubicBezTo>
                              <a:pt x="3170" y="897"/>
                              <a:pt x="3229" y="957"/>
                              <a:pt x="3349" y="957"/>
                            </a:cubicBezTo>
                            <a:cubicBezTo>
                              <a:pt x="3409" y="957"/>
                              <a:pt x="3409" y="957"/>
                              <a:pt x="3469" y="1017"/>
                            </a:cubicBezTo>
                            <a:cubicBezTo>
                              <a:pt x="3529" y="1076"/>
                              <a:pt x="3529" y="1017"/>
                              <a:pt x="3588" y="1076"/>
                            </a:cubicBezTo>
                            <a:cubicBezTo>
                              <a:pt x="3648" y="1136"/>
                              <a:pt x="3648" y="1136"/>
                              <a:pt x="3648" y="1136"/>
                            </a:cubicBezTo>
                            <a:cubicBezTo>
                              <a:pt x="3768" y="1196"/>
                              <a:pt x="3828" y="1196"/>
                              <a:pt x="3828" y="1196"/>
                            </a:cubicBezTo>
                            <a:moveTo>
                              <a:pt x="598" y="5263"/>
                            </a:moveTo>
                            <a:cubicBezTo>
                              <a:pt x="658" y="5263"/>
                              <a:pt x="658" y="5323"/>
                              <a:pt x="718" y="5323"/>
                            </a:cubicBezTo>
                            <a:cubicBezTo>
                              <a:pt x="778" y="5323"/>
                              <a:pt x="778" y="5382"/>
                              <a:pt x="837" y="5382"/>
                            </a:cubicBezTo>
                            <a:cubicBezTo>
                              <a:pt x="897" y="5382"/>
                              <a:pt x="897" y="5442"/>
                              <a:pt x="957" y="5442"/>
                            </a:cubicBezTo>
                            <a:cubicBezTo>
                              <a:pt x="1017" y="5442"/>
                              <a:pt x="1017" y="5502"/>
                              <a:pt x="1076" y="5502"/>
                            </a:cubicBezTo>
                            <a:cubicBezTo>
                              <a:pt x="1196" y="5562"/>
                              <a:pt x="1375" y="5562"/>
                              <a:pt x="1555" y="5622"/>
                            </a:cubicBezTo>
                            <a:cubicBezTo>
                              <a:pt x="1734" y="5622"/>
                              <a:pt x="1854" y="5622"/>
                              <a:pt x="2034" y="5622"/>
                            </a:cubicBezTo>
                            <a:cubicBezTo>
                              <a:pt x="2213" y="5622"/>
                              <a:pt x="2333" y="5562"/>
                              <a:pt x="2512" y="5502"/>
                            </a:cubicBezTo>
                            <a:cubicBezTo>
                              <a:pt x="2691" y="5442"/>
                              <a:pt x="2871" y="5382"/>
                              <a:pt x="3050" y="5263"/>
                            </a:cubicBezTo>
                            <a:cubicBezTo>
                              <a:pt x="3229" y="5143"/>
                              <a:pt x="3349" y="5083"/>
                              <a:pt x="3529" y="4964"/>
                            </a:cubicBezTo>
                            <a:cubicBezTo>
                              <a:pt x="3708" y="4844"/>
                              <a:pt x="3828" y="4725"/>
                              <a:pt x="3947" y="4545"/>
                            </a:cubicBezTo>
                            <a:cubicBezTo>
                              <a:pt x="4067" y="4366"/>
                              <a:pt x="4187" y="4246"/>
                              <a:pt x="4306" y="4067"/>
                            </a:cubicBezTo>
                            <a:cubicBezTo>
                              <a:pt x="4426" y="3887"/>
                              <a:pt x="4545" y="3708"/>
                              <a:pt x="4605" y="3528"/>
                            </a:cubicBezTo>
                            <a:cubicBezTo>
                              <a:pt x="4725" y="3349"/>
                              <a:pt x="4785" y="3170"/>
                              <a:pt x="4844" y="2990"/>
                            </a:cubicBezTo>
                            <a:cubicBezTo>
                              <a:pt x="4904" y="2811"/>
                              <a:pt x="4964" y="2632"/>
                              <a:pt x="4964" y="2452"/>
                            </a:cubicBezTo>
                            <a:cubicBezTo>
                              <a:pt x="5024" y="2273"/>
                              <a:pt x="5024" y="2093"/>
                              <a:pt x="5024" y="1914"/>
                            </a:cubicBezTo>
                            <a:cubicBezTo>
                              <a:pt x="5024" y="1734"/>
                              <a:pt x="5024" y="1555"/>
                              <a:pt x="4964" y="1375"/>
                            </a:cubicBezTo>
                            <a:cubicBezTo>
                              <a:pt x="4964" y="1256"/>
                              <a:pt x="4904" y="1136"/>
                              <a:pt x="4844" y="1076"/>
                            </a:cubicBezTo>
                            <a:cubicBezTo>
                              <a:pt x="4785" y="957"/>
                              <a:pt x="4785" y="897"/>
                              <a:pt x="4725" y="778"/>
                            </a:cubicBezTo>
                            <a:cubicBezTo>
                              <a:pt x="4665" y="718"/>
                              <a:pt x="4605" y="598"/>
                              <a:pt x="4545" y="538"/>
                            </a:cubicBezTo>
                            <a:cubicBezTo>
                              <a:pt x="4486" y="478"/>
                              <a:pt x="4426" y="419"/>
                              <a:pt x="4366" y="359"/>
                            </a:cubicBezTo>
                            <a:lnTo>
                              <a:pt x="3888" y="60"/>
                            </a:lnTo>
                            <a:cubicBezTo>
                              <a:pt x="3768" y="0"/>
                              <a:pt x="3588" y="0"/>
                              <a:pt x="3409" y="0"/>
                            </a:cubicBezTo>
                            <a:cubicBezTo>
                              <a:pt x="3229" y="0"/>
                              <a:pt x="3110" y="0"/>
                              <a:pt x="2930" y="0"/>
                            </a:cubicBezTo>
                            <a:cubicBezTo>
                              <a:pt x="2751" y="0"/>
                              <a:pt x="2572" y="60"/>
                              <a:pt x="2452" y="119"/>
                            </a:cubicBezTo>
                            <a:cubicBezTo>
                              <a:pt x="2273" y="179"/>
                              <a:pt x="2093" y="239"/>
                              <a:pt x="1974" y="359"/>
                            </a:cubicBezTo>
                            <a:cubicBezTo>
                              <a:pt x="1794" y="419"/>
                              <a:pt x="1615" y="538"/>
                              <a:pt x="1495" y="658"/>
                            </a:cubicBezTo>
                            <a:cubicBezTo>
                              <a:pt x="1316" y="778"/>
                              <a:pt x="1196" y="897"/>
                              <a:pt x="1076" y="1076"/>
                            </a:cubicBezTo>
                            <a:cubicBezTo>
                              <a:pt x="957" y="1196"/>
                              <a:pt x="837" y="1375"/>
                              <a:pt x="718" y="1555"/>
                            </a:cubicBezTo>
                            <a:cubicBezTo>
                              <a:pt x="598" y="1734"/>
                              <a:pt x="479" y="1914"/>
                              <a:pt x="419" y="2093"/>
                            </a:cubicBezTo>
                            <a:cubicBezTo>
                              <a:pt x="299" y="2273"/>
                              <a:pt x="239" y="2452"/>
                              <a:pt x="180" y="2632"/>
                            </a:cubicBezTo>
                            <a:cubicBezTo>
                              <a:pt x="120" y="2811"/>
                              <a:pt x="60" y="2990"/>
                              <a:pt x="60" y="3170"/>
                            </a:cubicBezTo>
                            <a:cubicBezTo>
                              <a:pt x="0" y="3349"/>
                              <a:pt x="0" y="3528"/>
                              <a:pt x="0" y="3708"/>
                            </a:cubicBezTo>
                            <a:cubicBezTo>
                              <a:pt x="0" y="3887"/>
                              <a:pt x="0" y="4067"/>
                              <a:pt x="60" y="4246"/>
                            </a:cubicBezTo>
                            <a:cubicBezTo>
                              <a:pt x="60" y="4366"/>
                              <a:pt x="120" y="4486"/>
                              <a:pt x="180" y="4545"/>
                            </a:cubicBezTo>
                            <a:cubicBezTo>
                              <a:pt x="239" y="4665"/>
                              <a:pt x="239" y="4725"/>
                              <a:pt x="299" y="4844"/>
                            </a:cubicBezTo>
                            <a:cubicBezTo>
                              <a:pt x="359" y="4904"/>
                              <a:pt x="419" y="5024"/>
                              <a:pt x="479" y="5083"/>
                            </a:cubicBezTo>
                            <a:cubicBezTo>
                              <a:pt x="479" y="5143"/>
                              <a:pt x="538" y="5203"/>
                              <a:pt x="598" y="5263"/>
                            </a:cubicBezTo>
                          </a:path>
                        </a:pathLst>
                      </a:custGeom>
                      <a:noFill/>
                      <a:ln w="6350" cap="flat">
                        <a:solidFill>
                          <a:schemeClr val="bg1">
                            <a:alpha val="40000"/>
                          </a:schemeClr>
                        </a:solidFill>
                        <a:prstDash val="solid"/>
                        <a:miter/>
                      </a:ln>
                    </p:spPr>
                    <p:txBody>
                      <a:bodyPr rtlCol="0" anchor="ctr"/>
                      <a:lstStyle/>
                      <a:p>
                        <a:endParaRPr lang="en-GB"/>
                      </a:p>
                    </p:txBody>
                  </p:sp>
                  <p:sp>
                    <p:nvSpPr>
                      <p:cNvPr id="7438" name="Vrije vorm: vorm 7437">
                        <a:extLst>
                          <a:ext uri="{FF2B5EF4-FFF2-40B4-BE49-F238E27FC236}">
                            <a16:creationId xmlns:a16="http://schemas.microsoft.com/office/drawing/2014/main" id="{56DC1480-63C4-43A0-9847-980804E1278F}"/>
                          </a:ext>
                        </a:extLst>
                      </p:cNvPr>
                      <p:cNvSpPr/>
                      <p:nvPr/>
                    </p:nvSpPr>
                    <p:spPr>
                      <a:xfrm>
                        <a:off x="5362694" y="5283801"/>
                        <a:ext cx="5143" cy="5708"/>
                      </a:xfrm>
                      <a:custGeom>
                        <a:avLst/>
                        <a:gdLst>
                          <a:gd name="connsiteX0" fmla="*/ 4007 w 5143"/>
                          <a:gd name="connsiteY0" fmla="*/ 1282 h 5708"/>
                          <a:gd name="connsiteX1" fmla="*/ 4127 w 5143"/>
                          <a:gd name="connsiteY1" fmla="*/ 1402 h 5708"/>
                          <a:gd name="connsiteX2" fmla="*/ 4246 w 5143"/>
                          <a:gd name="connsiteY2" fmla="*/ 1582 h 5708"/>
                          <a:gd name="connsiteX3" fmla="*/ 4366 w 5143"/>
                          <a:gd name="connsiteY3" fmla="*/ 1761 h 5708"/>
                          <a:gd name="connsiteX4" fmla="*/ 4426 w 5143"/>
                          <a:gd name="connsiteY4" fmla="*/ 2000 h 5708"/>
                          <a:gd name="connsiteX5" fmla="*/ 4426 w 5143"/>
                          <a:gd name="connsiteY5" fmla="*/ 2359 h 5708"/>
                          <a:gd name="connsiteX6" fmla="*/ 4366 w 5143"/>
                          <a:gd name="connsiteY6" fmla="*/ 2718 h 5708"/>
                          <a:gd name="connsiteX7" fmla="*/ 4246 w 5143"/>
                          <a:gd name="connsiteY7" fmla="*/ 3077 h 5708"/>
                          <a:gd name="connsiteX8" fmla="*/ 4067 w 5143"/>
                          <a:gd name="connsiteY8" fmla="*/ 3436 h 5708"/>
                          <a:gd name="connsiteX9" fmla="*/ 3887 w 5143"/>
                          <a:gd name="connsiteY9" fmla="*/ 3794 h 5708"/>
                          <a:gd name="connsiteX10" fmla="*/ 3648 w 5143"/>
                          <a:gd name="connsiteY10" fmla="*/ 4093 h 5708"/>
                          <a:gd name="connsiteX11" fmla="*/ 3349 w 5143"/>
                          <a:gd name="connsiteY11" fmla="*/ 4392 h 5708"/>
                          <a:gd name="connsiteX12" fmla="*/ 3050 w 5143"/>
                          <a:gd name="connsiteY12" fmla="*/ 4632 h 5708"/>
                          <a:gd name="connsiteX13" fmla="*/ 2691 w 5143"/>
                          <a:gd name="connsiteY13" fmla="*/ 4751 h 5708"/>
                          <a:gd name="connsiteX14" fmla="*/ 2332 w 5143"/>
                          <a:gd name="connsiteY14" fmla="*/ 4811 h 5708"/>
                          <a:gd name="connsiteX15" fmla="*/ 2033 w 5143"/>
                          <a:gd name="connsiteY15" fmla="*/ 4811 h 5708"/>
                          <a:gd name="connsiteX16" fmla="*/ 1734 w 5143"/>
                          <a:gd name="connsiteY16" fmla="*/ 4751 h 5708"/>
                          <a:gd name="connsiteX17" fmla="*/ 1375 w 5143"/>
                          <a:gd name="connsiteY17" fmla="*/ 4572 h 5708"/>
                          <a:gd name="connsiteX18" fmla="*/ 1017 w 5143"/>
                          <a:gd name="connsiteY18" fmla="*/ 3854 h 5708"/>
                          <a:gd name="connsiteX19" fmla="*/ 957 w 5143"/>
                          <a:gd name="connsiteY19" fmla="*/ 3495 h 5708"/>
                          <a:gd name="connsiteX20" fmla="*/ 1017 w 5143"/>
                          <a:gd name="connsiteY20" fmla="*/ 3136 h 5708"/>
                          <a:gd name="connsiteX21" fmla="*/ 1136 w 5143"/>
                          <a:gd name="connsiteY21" fmla="*/ 2778 h 5708"/>
                          <a:gd name="connsiteX22" fmla="*/ 1316 w 5143"/>
                          <a:gd name="connsiteY22" fmla="*/ 2419 h 5708"/>
                          <a:gd name="connsiteX23" fmla="*/ 1555 w 5143"/>
                          <a:gd name="connsiteY23" fmla="*/ 2060 h 5708"/>
                          <a:gd name="connsiteX24" fmla="*/ 1794 w 5143"/>
                          <a:gd name="connsiteY24" fmla="*/ 1761 h 5708"/>
                          <a:gd name="connsiteX25" fmla="*/ 2093 w 5143"/>
                          <a:gd name="connsiteY25" fmla="*/ 1522 h 5708"/>
                          <a:gd name="connsiteX26" fmla="*/ 2452 w 5143"/>
                          <a:gd name="connsiteY26" fmla="*/ 1282 h 5708"/>
                          <a:gd name="connsiteX27" fmla="*/ 2811 w 5143"/>
                          <a:gd name="connsiteY27" fmla="*/ 1103 h 5708"/>
                          <a:gd name="connsiteX28" fmla="*/ 3170 w 5143"/>
                          <a:gd name="connsiteY28" fmla="*/ 1043 h 5708"/>
                          <a:gd name="connsiteX29" fmla="*/ 3469 w 5143"/>
                          <a:gd name="connsiteY29" fmla="*/ 1043 h 5708"/>
                          <a:gd name="connsiteX30" fmla="*/ 3768 w 5143"/>
                          <a:gd name="connsiteY30" fmla="*/ 1103 h 5708"/>
                          <a:gd name="connsiteX31" fmla="*/ 3827 w 5143"/>
                          <a:gd name="connsiteY31" fmla="*/ 1163 h 5708"/>
                          <a:gd name="connsiteX32" fmla="*/ 3887 w 5143"/>
                          <a:gd name="connsiteY32" fmla="*/ 1223 h 5708"/>
                          <a:gd name="connsiteX33" fmla="*/ 3947 w 5143"/>
                          <a:gd name="connsiteY33" fmla="*/ 1282 h 5708"/>
                          <a:gd name="connsiteX34" fmla="*/ 4007 w 5143"/>
                          <a:gd name="connsiteY34" fmla="*/ 1282 h 5708"/>
                          <a:gd name="connsiteX35" fmla="*/ 778 w 5143"/>
                          <a:gd name="connsiteY35" fmla="*/ 5349 h 5708"/>
                          <a:gd name="connsiteX36" fmla="*/ 897 w 5143"/>
                          <a:gd name="connsiteY36" fmla="*/ 5409 h 5708"/>
                          <a:gd name="connsiteX37" fmla="*/ 1017 w 5143"/>
                          <a:gd name="connsiteY37" fmla="*/ 5469 h 5708"/>
                          <a:gd name="connsiteX38" fmla="*/ 1136 w 5143"/>
                          <a:gd name="connsiteY38" fmla="*/ 5529 h 5708"/>
                          <a:gd name="connsiteX39" fmla="*/ 1256 w 5143"/>
                          <a:gd name="connsiteY39" fmla="*/ 5589 h 5708"/>
                          <a:gd name="connsiteX40" fmla="*/ 1734 w 5143"/>
                          <a:gd name="connsiteY40" fmla="*/ 5708 h 5708"/>
                          <a:gd name="connsiteX41" fmla="*/ 2213 w 5143"/>
                          <a:gd name="connsiteY41" fmla="*/ 5708 h 5708"/>
                          <a:gd name="connsiteX42" fmla="*/ 2691 w 5143"/>
                          <a:gd name="connsiteY42" fmla="*/ 5589 h 5708"/>
                          <a:gd name="connsiteX43" fmla="*/ 3170 w 5143"/>
                          <a:gd name="connsiteY43" fmla="*/ 5349 h 5708"/>
                          <a:gd name="connsiteX44" fmla="*/ 3648 w 5143"/>
                          <a:gd name="connsiteY44" fmla="*/ 5050 h 5708"/>
                          <a:gd name="connsiteX45" fmla="*/ 4067 w 5143"/>
                          <a:gd name="connsiteY45" fmla="*/ 4632 h 5708"/>
                          <a:gd name="connsiteX46" fmla="*/ 4426 w 5143"/>
                          <a:gd name="connsiteY46" fmla="*/ 4153 h 5708"/>
                          <a:gd name="connsiteX47" fmla="*/ 4725 w 5143"/>
                          <a:gd name="connsiteY47" fmla="*/ 3615 h 5708"/>
                          <a:gd name="connsiteX48" fmla="*/ 4964 w 5143"/>
                          <a:gd name="connsiteY48" fmla="*/ 3077 h 5708"/>
                          <a:gd name="connsiteX49" fmla="*/ 5083 w 5143"/>
                          <a:gd name="connsiteY49" fmla="*/ 2538 h 5708"/>
                          <a:gd name="connsiteX50" fmla="*/ 5143 w 5143"/>
                          <a:gd name="connsiteY50" fmla="*/ 2000 h 5708"/>
                          <a:gd name="connsiteX51" fmla="*/ 5083 w 5143"/>
                          <a:gd name="connsiteY51" fmla="*/ 1462 h 5708"/>
                          <a:gd name="connsiteX52" fmla="*/ 4964 w 5143"/>
                          <a:gd name="connsiteY52" fmla="*/ 1163 h 5708"/>
                          <a:gd name="connsiteX53" fmla="*/ 4844 w 5143"/>
                          <a:gd name="connsiteY53" fmla="*/ 864 h 5708"/>
                          <a:gd name="connsiteX54" fmla="*/ 4665 w 5143"/>
                          <a:gd name="connsiteY54" fmla="*/ 625 h 5708"/>
                          <a:gd name="connsiteX55" fmla="*/ 4486 w 5143"/>
                          <a:gd name="connsiteY55" fmla="*/ 445 h 5708"/>
                          <a:gd name="connsiteX56" fmla="*/ 4007 w 5143"/>
                          <a:gd name="connsiteY56" fmla="*/ 146 h 5708"/>
                          <a:gd name="connsiteX57" fmla="*/ 3528 w 5143"/>
                          <a:gd name="connsiteY57" fmla="*/ 27 h 5708"/>
                          <a:gd name="connsiteX58" fmla="*/ 3050 w 5143"/>
                          <a:gd name="connsiteY58" fmla="*/ 27 h 5708"/>
                          <a:gd name="connsiteX59" fmla="*/ 2572 w 5143"/>
                          <a:gd name="connsiteY59" fmla="*/ 146 h 5708"/>
                          <a:gd name="connsiteX60" fmla="*/ 2093 w 5143"/>
                          <a:gd name="connsiteY60" fmla="*/ 385 h 5708"/>
                          <a:gd name="connsiteX61" fmla="*/ 1615 w 5143"/>
                          <a:gd name="connsiteY61" fmla="*/ 684 h 5708"/>
                          <a:gd name="connsiteX62" fmla="*/ 1136 w 5143"/>
                          <a:gd name="connsiteY62" fmla="*/ 1103 h 5708"/>
                          <a:gd name="connsiteX63" fmla="*/ 718 w 5143"/>
                          <a:gd name="connsiteY63" fmla="*/ 1582 h 5708"/>
                          <a:gd name="connsiteX64" fmla="*/ 419 w 5143"/>
                          <a:gd name="connsiteY64" fmla="*/ 2120 h 5708"/>
                          <a:gd name="connsiteX65" fmla="*/ 179 w 5143"/>
                          <a:gd name="connsiteY65" fmla="*/ 2658 h 5708"/>
                          <a:gd name="connsiteX66" fmla="*/ 60 w 5143"/>
                          <a:gd name="connsiteY66" fmla="*/ 3196 h 5708"/>
                          <a:gd name="connsiteX67" fmla="*/ 0 w 5143"/>
                          <a:gd name="connsiteY67" fmla="*/ 3735 h 5708"/>
                          <a:gd name="connsiteX68" fmla="*/ 60 w 5143"/>
                          <a:gd name="connsiteY68" fmla="*/ 4273 h 5708"/>
                          <a:gd name="connsiteX69" fmla="*/ 179 w 5143"/>
                          <a:gd name="connsiteY69" fmla="*/ 4572 h 5708"/>
                          <a:gd name="connsiteX70" fmla="*/ 299 w 5143"/>
                          <a:gd name="connsiteY70" fmla="*/ 4871 h 5708"/>
                          <a:gd name="connsiteX71" fmla="*/ 478 w 5143"/>
                          <a:gd name="connsiteY71" fmla="*/ 5110 h 5708"/>
                          <a:gd name="connsiteX72" fmla="*/ 778 w 5143"/>
                          <a:gd name="connsiteY72" fmla="*/ 5349 h 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143" h="5708">
                            <a:moveTo>
                              <a:pt x="4007" y="1282"/>
                            </a:moveTo>
                            <a:cubicBezTo>
                              <a:pt x="4067" y="1342"/>
                              <a:pt x="4127" y="1402"/>
                              <a:pt x="4127" y="1402"/>
                            </a:cubicBezTo>
                            <a:cubicBezTo>
                              <a:pt x="4186" y="1462"/>
                              <a:pt x="4186" y="1522"/>
                              <a:pt x="4246" y="1582"/>
                            </a:cubicBezTo>
                            <a:cubicBezTo>
                              <a:pt x="4306" y="1641"/>
                              <a:pt x="4306" y="1701"/>
                              <a:pt x="4366" y="1761"/>
                            </a:cubicBezTo>
                            <a:cubicBezTo>
                              <a:pt x="4426" y="1821"/>
                              <a:pt x="4426" y="1881"/>
                              <a:pt x="4426" y="2000"/>
                            </a:cubicBezTo>
                            <a:cubicBezTo>
                              <a:pt x="4426" y="2120"/>
                              <a:pt x="4486" y="2239"/>
                              <a:pt x="4426" y="2359"/>
                            </a:cubicBezTo>
                            <a:cubicBezTo>
                              <a:pt x="4426" y="2479"/>
                              <a:pt x="4426" y="2598"/>
                              <a:pt x="4366" y="2718"/>
                            </a:cubicBezTo>
                            <a:cubicBezTo>
                              <a:pt x="4366" y="2837"/>
                              <a:pt x="4306" y="2957"/>
                              <a:pt x="4246" y="3077"/>
                            </a:cubicBezTo>
                            <a:cubicBezTo>
                              <a:pt x="4186" y="3196"/>
                              <a:pt x="4127" y="3316"/>
                              <a:pt x="4067" y="3436"/>
                            </a:cubicBezTo>
                            <a:cubicBezTo>
                              <a:pt x="4007" y="3555"/>
                              <a:pt x="3947" y="3675"/>
                              <a:pt x="3887" y="3794"/>
                            </a:cubicBezTo>
                            <a:cubicBezTo>
                              <a:pt x="3827" y="3914"/>
                              <a:pt x="3708" y="4034"/>
                              <a:pt x="3648" y="4093"/>
                            </a:cubicBezTo>
                            <a:cubicBezTo>
                              <a:pt x="3528" y="4213"/>
                              <a:pt x="3469" y="4273"/>
                              <a:pt x="3349" y="4392"/>
                            </a:cubicBezTo>
                            <a:cubicBezTo>
                              <a:pt x="3229" y="4512"/>
                              <a:pt x="3110" y="4572"/>
                              <a:pt x="3050" y="4632"/>
                            </a:cubicBezTo>
                            <a:cubicBezTo>
                              <a:pt x="2930" y="4691"/>
                              <a:pt x="2811" y="4751"/>
                              <a:pt x="2691" y="4751"/>
                            </a:cubicBezTo>
                            <a:cubicBezTo>
                              <a:pt x="2572" y="4811"/>
                              <a:pt x="2452" y="4811"/>
                              <a:pt x="2332" y="4811"/>
                            </a:cubicBezTo>
                            <a:cubicBezTo>
                              <a:pt x="2213" y="4811"/>
                              <a:pt x="2093" y="4811"/>
                              <a:pt x="2033" y="4811"/>
                            </a:cubicBezTo>
                            <a:cubicBezTo>
                              <a:pt x="1914" y="4811"/>
                              <a:pt x="1854" y="4811"/>
                              <a:pt x="1734" y="4751"/>
                            </a:cubicBezTo>
                            <a:lnTo>
                              <a:pt x="1375" y="4572"/>
                            </a:lnTo>
                            <a:lnTo>
                              <a:pt x="1017" y="3854"/>
                            </a:lnTo>
                            <a:cubicBezTo>
                              <a:pt x="1017" y="3735"/>
                              <a:pt x="957" y="3615"/>
                              <a:pt x="957" y="3495"/>
                            </a:cubicBezTo>
                            <a:cubicBezTo>
                              <a:pt x="957" y="3376"/>
                              <a:pt x="957" y="3256"/>
                              <a:pt x="1017" y="3136"/>
                            </a:cubicBezTo>
                            <a:cubicBezTo>
                              <a:pt x="1017" y="3017"/>
                              <a:pt x="1076" y="2897"/>
                              <a:pt x="1136" y="2778"/>
                            </a:cubicBezTo>
                            <a:cubicBezTo>
                              <a:pt x="1196" y="2658"/>
                              <a:pt x="1256" y="2538"/>
                              <a:pt x="1316" y="2419"/>
                            </a:cubicBezTo>
                            <a:cubicBezTo>
                              <a:pt x="1375" y="2299"/>
                              <a:pt x="1435" y="2180"/>
                              <a:pt x="1555" y="2060"/>
                            </a:cubicBezTo>
                            <a:cubicBezTo>
                              <a:pt x="1674" y="1940"/>
                              <a:pt x="1734" y="1821"/>
                              <a:pt x="1794" y="1761"/>
                            </a:cubicBezTo>
                            <a:cubicBezTo>
                              <a:pt x="1914" y="1641"/>
                              <a:pt x="1973" y="1582"/>
                              <a:pt x="2093" y="1522"/>
                            </a:cubicBezTo>
                            <a:cubicBezTo>
                              <a:pt x="2213" y="1462"/>
                              <a:pt x="2332" y="1342"/>
                              <a:pt x="2452" y="1282"/>
                            </a:cubicBezTo>
                            <a:cubicBezTo>
                              <a:pt x="2572" y="1223"/>
                              <a:pt x="2691" y="1163"/>
                              <a:pt x="2811" y="1103"/>
                            </a:cubicBezTo>
                            <a:cubicBezTo>
                              <a:pt x="2930" y="1043"/>
                              <a:pt x="3050" y="1043"/>
                              <a:pt x="3170" y="1043"/>
                            </a:cubicBezTo>
                            <a:cubicBezTo>
                              <a:pt x="3289" y="1043"/>
                              <a:pt x="3409" y="1043"/>
                              <a:pt x="3469" y="1043"/>
                            </a:cubicBezTo>
                            <a:cubicBezTo>
                              <a:pt x="3588" y="1043"/>
                              <a:pt x="3708" y="1103"/>
                              <a:pt x="3768" y="1103"/>
                            </a:cubicBezTo>
                            <a:cubicBezTo>
                              <a:pt x="3768" y="1103"/>
                              <a:pt x="3827" y="1103"/>
                              <a:pt x="3827" y="1163"/>
                            </a:cubicBezTo>
                            <a:cubicBezTo>
                              <a:pt x="3827" y="1223"/>
                              <a:pt x="3887" y="1163"/>
                              <a:pt x="3887" y="1223"/>
                            </a:cubicBezTo>
                            <a:cubicBezTo>
                              <a:pt x="3887" y="1223"/>
                              <a:pt x="3947" y="1282"/>
                              <a:pt x="3947" y="1282"/>
                            </a:cubicBezTo>
                            <a:cubicBezTo>
                              <a:pt x="3947" y="1223"/>
                              <a:pt x="3947" y="1223"/>
                              <a:pt x="4007" y="1282"/>
                            </a:cubicBezTo>
                            <a:moveTo>
                              <a:pt x="778" y="5349"/>
                            </a:moveTo>
                            <a:cubicBezTo>
                              <a:pt x="837" y="5349"/>
                              <a:pt x="837" y="5409"/>
                              <a:pt x="897" y="5409"/>
                            </a:cubicBezTo>
                            <a:cubicBezTo>
                              <a:pt x="957" y="5409"/>
                              <a:pt x="957" y="5469"/>
                              <a:pt x="1017" y="5469"/>
                            </a:cubicBezTo>
                            <a:cubicBezTo>
                              <a:pt x="1076" y="5469"/>
                              <a:pt x="1076" y="5529"/>
                              <a:pt x="1136" y="5529"/>
                            </a:cubicBezTo>
                            <a:cubicBezTo>
                              <a:pt x="1196" y="5529"/>
                              <a:pt x="1196" y="5589"/>
                              <a:pt x="1256" y="5589"/>
                            </a:cubicBezTo>
                            <a:cubicBezTo>
                              <a:pt x="1435" y="5648"/>
                              <a:pt x="1555" y="5648"/>
                              <a:pt x="1734" y="5708"/>
                            </a:cubicBezTo>
                            <a:cubicBezTo>
                              <a:pt x="1914" y="5708"/>
                              <a:pt x="2033" y="5708"/>
                              <a:pt x="2213" y="5708"/>
                            </a:cubicBezTo>
                            <a:cubicBezTo>
                              <a:pt x="2392" y="5708"/>
                              <a:pt x="2572" y="5648"/>
                              <a:pt x="2691" y="5589"/>
                            </a:cubicBezTo>
                            <a:cubicBezTo>
                              <a:pt x="2811" y="5529"/>
                              <a:pt x="3050" y="5469"/>
                              <a:pt x="3170" y="5349"/>
                            </a:cubicBezTo>
                            <a:cubicBezTo>
                              <a:pt x="3289" y="5230"/>
                              <a:pt x="3528" y="5170"/>
                              <a:pt x="3648" y="5050"/>
                            </a:cubicBezTo>
                            <a:cubicBezTo>
                              <a:pt x="3827" y="4931"/>
                              <a:pt x="3947" y="4811"/>
                              <a:pt x="4067" y="4632"/>
                            </a:cubicBezTo>
                            <a:cubicBezTo>
                              <a:pt x="4186" y="4512"/>
                              <a:pt x="4306" y="4333"/>
                              <a:pt x="4426" y="4153"/>
                            </a:cubicBezTo>
                            <a:cubicBezTo>
                              <a:pt x="4545" y="3974"/>
                              <a:pt x="4665" y="3794"/>
                              <a:pt x="4725" y="3615"/>
                            </a:cubicBezTo>
                            <a:cubicBezTo>
                              <a:pt x="4844" y="3436"/>
                              <a:pt x="4904" y="3256"/>
                              <a:pt x="4964" y="3077"/>
                            </a:cubicBezTo>
                            <a:cubicBezTo>
                              <a:pt x="5024" y="2897"/>
                              <a:pt x="5083" y="2718"/>
                              <a:pt x="5083" y="2538"/>
                            </a:cubicBezTo>
                            <a:cubicBezTo>
                              <a:pt x="5143" y="2359"/>
                              <a:pt x="5143" y="2180"/>
                              <a:pt x="5143" y="2000"/>
                            </a:cubicBezTo>
                            <a:cubicBezTo>
                              <a:pt x="5143" y="1821"/>
                              <a:pt x="5143" y="1641"/>
                              <a:pt x="5083" y="1462"/>
                            </a:cubicBezTo>
                            <a:cubicBezTo>
                              <a:pt x="5083" y="1342"/>
                              <a:pt x="5024" y="1223"/>
                              <a:pt x="4964" y="1163"/>
                            </a:cubicBezTo>
                            <a:cubicBezTo>
                              <a:pt x="4904" y="1043"/>
                              <a:pt x="4904" y="983"/>
                              <a:pt x="4844" y="864"/>
                            </a:cubicBezTo>
                            <a:cubicBezTo>
                              <a:pt x="4785" y="744"/>
                              <a:pt x="4725" y="684"/>
                              <a:pt x="4665" y="625"/>
                            </a:cubicBezTo>
                            <a:cubicBezTo>
                              <a:pt x="4605" y="565"/>
                              <a:pt x="4545" y="505"/>
                              <a:pt x="4486" y="445"/>
                            </a:cubicBezTo>
                            <a:lnTo>
                              <a:pt x="4007" y="146"/>
                            </a:lnTo>
                            <a:cubicBezTo>
                              <a:pt x="3887" y="86"/>
                              <a:pt x="3708" y="86"/>
                              <a:pt x="3528" y="27"/>
                            </a:cubicBezTo>
                            <a:cubicBezTo>
                              <a:pt x="3349" y="-33"/>
                              <a:pt x="3229" y="27"/>
                              <a:pt x="3050" y="27"/>
                            </a:cubicBezTo>
                            <a:cubicBezTo>
                              <a:pt x="2871" y="27"/>
                              <a:pt x="2751" y="86"/>
                              <a:pt x="2572" y="146"/>
                            </a:cubicBezTo>
                            <a:cubicBezTo>
                              <a:pt x="2392" y="206"/>
                              <a:pt x="2213" y="266"/>
                              <a:pt x="2093" y="385"/>
                            </a:cubicBezTo>
                            <a:cubicBezTo>
                              <a:pt x="1914" y="445"/>
                              <a:pt x="1734" y="565"/>
                              <a:pt x="1615" y="684"/>
                            </a:cubicBezTo>
                            <a:cubicBezTo>
                              <a:pt x="1435" y="804"/>
                              <a:pt x="1316" y="923"/>
                              <a:pt x="1136" y="1103"/>
                            </a:cubicBezTo>
                            <a:cubicBezTo>
                              <a:pt x="1017" y="1223"/>
                              <a:pt x="837" y="1402"/>
                              <a:pt x="718" y="1582"/>
                            </a:cubicBezTo>
                            <a:cubicBezTo>
                              <a:pt x="598" y="1761"/>
                              <a:pt x="478" y="1940"/>
                              <a:pt x="419" y="2120"/>
                            </a:cubicBezTo>
                            <a:cubicBezTo>
                              <a:pt x="299" y="2299"/>
                              <a:pt x="239" y="2479"/>
                              <a:pt x="179" y="2658"/>
                            </a:cubicBezTo>
                            <a:cubicBezTo>
                              <a:pt x="119" y="2837"/>
                              <a:pt x="60" y="3017"/>
                              <a:pt x="60" y="3196"/>
                            </a:cubicBezTo>
                            <a:cubicBezTo>
                              <a:pt x="0" y="3376"/>
                              <a:pt x="0" y="3555"/>
                              <a:pt x="0" y="3735"/>
                            </a:cubicBezTo>
                            <a:cubicBezTo>
                              <a:pt x="0" y="3914"/>
                              <a:pt x="0" y="4093"/>
                              <a:pt x="60" y="4273"/>
                            </a:cubicBezTo>
                            <a:cubicBezTo>
                              <a:pt x="60" y="4392"/>
                              <a:pt x="119" y="4512"/>
                              <a:pt x="179" y="4572"/>
                            </a:cubicBezTo>
                            <a:cubicBezTo>
                              <a:pt x="239" y="4691"/>
                              <a:pt x="239" y="4751"/>
                              <a:pt x="299" y="4871"/>
                            </a:cubicBezTo>
                            <a:cubicBezTo>
                              <a:pt x="359" y="4931"/>
                              <a:pt x="419" y="5050"/>
                              <a:pt x="478" y="5110"/>
                            </a:cubicBezTo>
                            <a:cubicBezTo>
                              <a:pt x="658" y="5230"/>
                              <a:pt x="718" y="5290"/>
                              <a:pt x="778" y="5349"/>
                            </a:cubicBezTo>
                          </a:path>
                        </a:pathLst>
                      </a:custGeom>
                      <a:noFill/>
                      <a:ln w="6350" cap="flat">
                        <a:solidFill>
                          <a:schemeClr val="bg1">
                            <a:alpha val="40000"/>
                          </a:schemeClr>
                        </a:solidFill>
                        <a:prstDash val="solid"/>
                        <a:miter/>
                      </a:ln>
                    </p:spPr>
                    <p:txBody>
                      <a:bodyPr rtlCol="0" anchor="ctr"/>
                      <a:lstStyle/>
                      <a:p>
                        <a:endParaRPr lang="en-GB"/>
                      </a:p>
                    </p:txBody>
                  </p:sp>
                  <p:sp>
                    <p:nvSpPr>
                      <p:cNvPr id="7439" name="Vrije vorm: vorm 7438">
                        <a:extLst>
                          <a:ext uri="{FF2B5EF4-FFF2-40B4-BE49-F238E27FC236}">
                            <a16:creationId xmlns:a16="http://schemas.microsoft.com/office/drawing/2014/main" id="{B146FA2A-F59F-4393-A580-286AC7795A06}"/>
                          </a:ext>
                        </a:extLst>
                      </p:cNvPr>
                      <p:cNvSpPr/>
                      <p:nvPr/>
                    </p:nvSpPr>
                    <p:spPr>
                      <a:xfrm>
                        <a:off x="5354634" y="5284905"/>
                        <a:ext cx="5233" cy="5681"/>
                      </a:xfrm>
                      <a:custGeom>
                        <a:avLst/>
                        <a:gdLst>
                          <a:gd name="connsiteX0" fmla="*/ 3992 w 5233"/>
                          <a:gd name="connsiteY0" fmla="*/ 1196 h 5681"/>
                          <a:gd name="connsiteX1" fmla="*/ 4112 w 5233"/>
                          <a:gd name="connsiteY1" fmla="*/ 1316 h 5681"/>
                          <a:gd name="connsiteX2" fmla="*/ 4231 w 5233"/>
                          <a:gd name="connsiteY2" fmla="*/ 1495 h 5681"/>
                          <a:gd name="connsiteX3" fmla="*/ 4291 w 5233"/>
                          <a:gd name="connsiteY3" fmla="*/ 1674 h 5681"/>
                          <a:gd name="connsiteX4" fmla="*/ 4351 w 5233"/>
                          <a:gd name="connsiteY4" fmla="*/ 1914 h 5681"/>
                          <a:gd name="connsiteX5" fmla="*/ 4351 w 5233"/>
                          <a:gd name="connsiteY5" fmla="*/ 2632 h 5681"/>
                          <a:gd name="connsiteX6" fmla="*/ 4112 w 5233"/>
                          <a:gd name="connsiteY6" fmla="*/ 3349 h 5681"/>
                          <a:gd name="connsiteX7" fmla="*/ 3633 w 5233"/>
                          <a:gd name="connsiteY7" fmla="*/ 4007 h 5681"/>
                          <a:gd name="connsiteX8" fmla="*/ 2975 w 5233"/>
                          <a:gd name="connsiteY8" fmla="*/ 4486 h 5681"/>
                          <a:gd name="connsiteX9" fmla="*/ 2617 w 5233"/>
                          <a:gd name="connsiteY9" fmla="*/ 4665 h 5681"/>
                          <a:gd name="connsiteX10" fmla="*/ 2258 w 5233"/>
                          <a:gd name="connsiteY10" fmla="*/ 4725 h 5681"/>
                          <a:gd name="connsiteX11" fmla="*/ 1899 w 5233"/>
                          <a:gd name="connsiteY11" fmla="*/ 4725 h 5681"/>
                          <a:gd name="connsiteX12" fmla="*/ 1600 w 5233"/>
                          <a:gd name="connsiteY12" fmla="*/ 4665 h 5681"/>
                          <a:gd name="connsiteX13" fmla="*/ 1241 w 5233"/>
                          <a:gd name="connsiteY13" fmla="*/ 4486 h 5681"/>
                          <a:gd name="connsiteX14" fmla="*/ 822 w 5233"/>
                          <a:gd name="connsiteY14" fmla="*/ 3768 h 5681"/>
                          <a:gd name="connsiteX15" fmla="*/ 822 w 5233"/>
                          <a:gd name="connsiteY15" fmla="*/ 3050 h 5681"/>
                          <a:gd name="connsiteX16" fmla="*/ 1062 w 5233"/>
                          <a:gd name="connsiteY16" fmla="*/ 2333 h 5681"/>
                          <a:gd name="connsiteX17" fmla="*/ 1540 w 5233"/>
                          <a:gd name="connsiteY17" fmla="*/ 1674 h 5681"/>
                          <a:gd name="connsiteX18" fmla="*/ 2198 w 5233"/>
                          <a:gd name="connsiteY18" fmla="*/ 1136 h 5681"/>
                          <a:gd name="connsiteX19" fmla="*/ 2676 w 5233"/>
                          <a:gd name="connsiteY19" fmla="*/ 957 h 5681"/>
                          <a:gd name="connsiteX20" fmla="*/ 3095 w 5233"/>
                          <a:gd name="connsiteY20" fmla="*/ 897 h 5681"/>
                          <a:gd name="connsiteX21" fmla="*/ 3514 w 5233"/>
                          <a:gd name="connsiteY21" fmla="*/ 957 h 5681"/>
                          <a:gd name="connsiteX22" fmla="*/ 3992 w 5233"/>
                          <a:gd name="connsiteY22" fmla="*/ 1196 h 5681"/>
                          <a:gd name="connsiteX23" fmla="*/ 763 w 5233"/>
                          <a:gd name="connsiteY23" fmla="*/ 5323 h 5681"/>
                          <a:gd name="connsiteX24" fmla="*/ 882 w 5233"/>
                          <a:gd name="connsiteY24" fmla="*/ 5382 h 5681"/>
                          <a:gd name="connsiteX25" fmla="*/ 1002 w 5233"/>
                          <a:gd name="connsiteY25" fmla="*/ 5442 h 5681"/>
                          <a:gd name="connsiteX26" fmla="*/ 1121 w 5233"/>
                          <a:gd name="connsiteY26" fmla="*/ 5502 h 5681"/>
                          <a:gd name="connsiteX27" fmla="*/ 1241 w 5233"/>
                          <a:gd name="connsiteY27" fmla="*/ 5562 h 5681"/>
                          <a:gd name="connsiteX28" fmla="*/ 1720 w 5233"/>
                          <a:gd name="connsiteY28" fmla="*/ 5682 h 5681"/>
                          <a:gd name="connsiteX29" fmla="*/ 2198 w 5233"/>
                          <a:gd name="connsiteY29" fmla="*/ 5682 h 5681"/>
                          <a:gd name="connsiteX30" fmla="*/ 2676 w 5233"/>
                          <a:gd name="connsiteY30" fmla="*/ 5562 h 5681"/>
                          <a:gd name="connsiteX31" fmla="*/ 3155 w 5233"/>
                          <a:gd name="connsiteY31" fmla="*/ 5323 h 5681"/>
                          <a:gd name="connsiteX32" fmla="*/ 4112 w 5233"/>
                          <a:gd name="connsiteY32" fmla="*/ 4605 h 5681"/>
                          <a:gd name="connsiteX33" fmla="*/ 4829 w 5233"/>
                          <a:gd name="connsiteY33" fmla="*/ 3648 h 5681"/>
                          <a:gd name="connsiteX34" fmla="*/ 5188 w 5233"/>
                          <a:gd name="connsiteY34" fmla="*/ 2572 h 5681"/>
                          <a:gd name="connsiteX35" fmla="*/ 5188 w 5233"/>
                          <a:gd name="connsiteY35" fmla="*/ 1495 h 5681"/>
                          <a:gd name="connsiteX36" fmla="*/ 5069 w 5233"/>
                          <a:gd name="connsiteY36" fmla="*/ 1196 h 5681"/>
                          <a:gd name="connsiteX37" fmla="*/ 4949 w 5233"/>
                          <a:gd name="connsiteY37" fmla="*/ 897 h 5681"/>
                          <a:gd name="connsiteX38" fmla="*/ 4770 w 5233"/>
                          <a:gd name="connsiteY38" fmla="*/ 658 h 5681"/>
                          <a:gd name="connsiteX39" fmla="*/ 4530 w 5233"/>
                          <a:gd name="connsiteY39" fmla="*/ 419 h 5681"/>
                          <a:gd name="connsiteX40" fmla="*/ 4052 w 5233"/>
                          <a:gd name="connsiteY40" fmla="*/ 120 h 5681"/>
                          <a:gd name="connsiteX41" fmla="*/ 3454 w 5233"/>
                          <a:gd name="connsiteY41" fmla="*/ 0 h 5681"/>
                          <a:gd name="connsiteX42" fmla="*/ 2796 w 5233"/>
                          <a:gd name="connsiteY42" fmla="*/ 60 h 5681"/>
                          <a:gd name="connsiteX43" fmla="*/ 2079 w 5233"/>
                          <a:gd name="connsiteY43" fmla="*/ 359 h 5681"/>
                          <a:gd name="connsiteX44" fmla="*/ 1121 w 5233"/>
                          <a:gd name="connsiteY44" fmla="*/ 1076 h 5681"/>
                          <a:gd name="connsiteX45" fmla="*/ 404 w 5233"/>
                          <a:gd name="connsiteY45" fmla="*/ 2033 h 5681"/>
                          <a:gd name="connsiteX46" fmla="*/ 45 w 5233"/>
                          <a:gd name="connsiteY46" fmla="*/ 3110 h 5681"/>
                          <a:gd name="connsiteX47" fmla="*/ 45 w 5233"/>
                          <a:gd name="connsiteY47" fmla="*/ 4187 h 5681"/>
                          <a:gd name="connsiteX48" fmla="*/ 165 w 5233"/>
                          <a:gd name="connsiteY48" fmla="*/ 4486 h 5681"/>
                          <a:gd name="connsiteX49" fmla="*/ 284 w 5233"/>
                          <a:gd name="connsiteY49" fmla="*/ 4785 h 5681"/>
                          <a:gd name="connsiteX50" fmla="*/ 464 w 5233"/>
                          <a:gd name="connsiteY50" fmla="*/ 5024 h 5681"/>
                          <a:gd name="connsiteX51" fmla="*/ 763 w 5233"/>
                          <a:gd name="connsiteY51" fmla="*/ 5323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233" h="5681">
                            <a:moveTo>
                              <a:pt x="3992" y="1196"/>
                            </a:moveTo>
                            <a:cubicBezTo>
                              <a:pt x="4052" y="1256"/>
                              <a:pt x="4112" y="1256"/>
                              <a:pt x="4112" y="1316"/>
                            </a:cubicBezTo>
                            <a:cubicBezTo>
                              <a:pt x="4172" y="1375"/>
                              <a:pt x="4172" y="1435"/>
                              <a:pt x="4231" y="1495"/>
                            </a:cubicBezTo>
                            <a:cubicBezTo>
                              <a:pt x="4291" y="1555"/>
                              <a:pt x="4291" y="1615"/>
                              <a:pt x="4291" y="1674"/>
                            </a:cubicBezTo>
                            <a:cubicBezTo>
                              <a:pt x="4291" y="1734"/>
                              <a:pt x="4351" y="1794"/>
                              <a:pt x="4351" y="1914"/>
                            </a:cubicBezTo>
                            <a:cubicBezTo>
                              <a:pt x="4411" y="2153"/>
                              <a:pt x="4411" y="2392"/>
                              <a:pt x="4351" y="2632"/>
                            </a:cubicBezTo>
                            <a:cubicBezTo>
                              <a:pt x="4291" y="2871"/>
                              <a:pt x="4231" y="3110"/>
                              <a:pt x="4112" y="3349"/>
                            </a:cubicBezTo>
                            <a:cubicBezTo>
                              <a:pt x="3992" y="3588"/>
                              <a:pt x="3813" y="3828"/>
                              <a:pt x="3633" y="4007"/>
                            </a:cubicBezTo>
                            <a:cubicBezTo>
                              <a:pt x="3454" y="4187"/>
                              <a:pt x="3215" y="4366"/>
                              <a:pt x="2975" y="4486"/>
                            </a:cubicBezTo>
                            <a:cubicBezTo>
                              <a:pt x="2856" y="4545"/>
                              <a:pt x="2736" y="4605"/>
                              <a:pt x="2617" y="4665"/>
                            </a:cubicBezTo>
                            <a:cubicBezTo>
                              <a:pt x="2497" y="4725"/>
                              <a:pt x="2377" y="4725"/>
                              <a:pt x="2258" y="4725"/>
                            </a:cubicBezTo>
                            <a:cubicBezTo>
                              <a:pt x="2138" y="4725"/>
                              <a:pt x="2019" y="4725"/>
                              <a:pt x="1899" y="4725"/>
                            </a:cubicBezTo>
                            <a:cubicBezTo>
                              <a:pt x="1779" y="4725"/>
                              <a:pt x="1660" y="4665"/>
                              <a:pt x="1600" y="4665"/>
                            </a:cubicBezTo>
                            <a:lnTo>
                              <a:pt x="1241" y="4486"/>
                            </a:lnTo>
                            <a:lnTo>
                              <a:pt x="822" y="3768"/>
                            </a:lnTo>
                            <a:cubicBezTo>
                              <a:pt x="763" y="3528"/>
                              <a:pt x="763" y="3289"/>
                              <a:pt x="822" y="3050"/>
                            </a:cubicBezTo>
                            <a:cubicBezTo>
                              <a:pt x="882" y="2811"/>
                              <a:pt x="942" y="2572"/>
                              <a:pt x="1062" y="2333"/>
                            </a:cubicBezTo>
                            <a:cubicBezTo>
                              <a:pt x="1181" y="2093"/>
                              <a:pt x="1361" y="1854"/>
                              <a:pt x="1540" y="1674"/>
                            </a:cubicBezTo>
                            <a:cubicBezTo>
                              <a:pt x="1720" y="1495"/>
                              <a:pt x="1959" y="1316"/>
                              <a:pt x="2198" y="1136"/>
                            </a:cubicBezTo>
                            <a:cubicBezTo>
                              <a:pt x="2377" y="1076"/>
                              <a:pt x="2497" y="1017"/>
                              <a:pt x="2676" y="957"/>
                            </a:cubicBezTo>
                            <a:cubicBezTo>
                              <a:pt x="2856" y="897"/>
                              <a:pt x="2975" y="897"/>
                              <a:pt x="3095" y="897"/>
                            </a:cubicBezTo>
                            <a:cubicBezTo>
                              <a:pt x="3215" y="897"/>
                              <a:pt x="3394" y="957"/>
                              <a:pt x="3514" y="957"/>
                            </a:cubicBezTo>
                            <a:cubicBezTo>
                              <a:pt x="3813" y="1076"/>
                              <a:pt x="3933" y="1136"/>
                              <a:pt x="3992" y="1196"/>
                            </a:cubicBezTo>
                            <a:moveTo>
                              <a:pt x="763" y="5323"/>
                            </a:moveTo>
                            <a:cubicBezTo>
                              <a:pt x="822" y="5323"/>
                              <a:pt x="822" y="5382"/>
                              <a:pt x="882" y="5382"/>
                            </a:cubicBezTo>
                            <a:cubicBezTo>
                              <a:pt x="942" y="5382"/>
                              <a:pt x="942" y="5442"/>
                              <a:pt x="1002" y="5442"/>
                            </a:cubicBezTo>
                            <a:cubicBezTo>
                              <a:pt x="1062" y="5442"/>
                              <a:pt x="1062" y="5502"/>
                              <a:pt x="1121" y="5502"/>
                            </a:cubicBezTo>
                            <a:cubicBezTo>
                              <a:pt x="1181" y="5502"/>
                              <a:pt x="1181" y="5562"/>
                              <a:pt x="1241" y="5562"/>
                            </a:cubicBezTo>
                            <a:cubicBezTo>
                              <a:pt x="1361" y="5622"/>
                              <a:pt x="1540" y="5622"/>
                              <a:pt x="1720" y="5682"/>
                            </a:cubicBezTo>
                            <a:cubicBezTo>
                              <a:pt x="1899" y="5682"/>
                              <a:pt x="2019" y="5682"/>
                              <a:pt x="2198" y="5682"/>
                            </a:cubicBezTo>
                            <a:cubicBezTo>
                              <a:pt x="2377" y="5682"/>
                              <a:pt x="2557" y="5622"/>
                              <a:pt x="2676" y="5562"/>
                            </a:cubicBezTo>
                            <a:cubicBezTo>
                              <a:pt x="2856" y="5502"/>
                              <a:pt x="3035" y="5442"/>
                              <a:pt x="3155" y="5323"/>
                            </a:cubicBezTo>
                            <a:cubicBezTo>
                              <a:pt x="3514" y="5143"/>
                              <a:pt x="3813" y="4904"/>
                              <a:pt x="4112" y="4605"/>
                            </a:cubicBezTo>
                            <a:cubicBezTo>
                              <a:pt x="4411" y="4306"/>
                              <a:pt x="4650" y="4007"/>
                              <a:pt x="4829" y="3648"/>
                            </a:cubicBezTo>
                            <a:cubicBezTo>
                              <a:pt x="5009" y="3289"/>
                              <a:pt x="5128" y="2930"/>
                              <a:pt x="5188" y="2572"/>
                            </a:cubicBezTo>
                            <a:cubicBezTo>
                              <a:pt x="5248" y="2213"/>
                              <a:pt x="5248" y="1854"/>
                              <a:pt x="5188" y="1495"/>
                            </a:cubicBezTo>
                            <a:cubicBezTo>
                              <a:pt x="5188" y="1375"/>
                              <a:pt x="5128" y="1256"/>
                              <a:pt x="5069" y="1196"/>
                            </a:cubicBezTo>
                            <a:cubicBezTo>
                              <a:pt x="5009" y="1136"/>
                              <a:pt x="5009" y="1017"/>
                              <a:pt x="4949" y="897"/>
                            </a:cubicBezTo>
                            <a:cubicBezTo>
                              <a:pt x="4889" y="837"/>
                              <a:pt x="4829" y="718"/>
                              <a:pt x="4770" y="658"/>
                            </a:cubicBezTo>
                            <a:cubicBezTo>
                              <a:pt x="4710" y="598"/>
                              <a:pt x="4650" y="479"/>
                              <a:pt x="4530" y="419"/>
                            </a:cubicBezTo>
                            <a:cubicBezTo>
                              <a:pt x="4411" y="299"/>
                              <a:pt x="4231" y="179"/>
                              <a:pt x="4052" y="120"/>
                            </a:cubicBezTo>
                            <a:cubicBezTo>
                              <a:pt x="3873" y="60"/>
                              <a:pt x="3693" y="0"/>
                              <a:pt x="3454" y="0"/>
                            </a:cubicBezTo>
                            <a:cubicBezTo>
                              <a:pt x="3215" y="0"/>
                              <a:pt x="3035" y="0"/>
                              <a:pt x="2796" y="60"/>
                            </a:cubicBezTo>
                            <a:cubicBezTo>
                              <a:pt x="2557" y="120"/>
                              <a:pt x="2318" y="239"/>
                              <a:pt x="2079" y="359"/>
                            </a:cubicBezTo>
                            <a:cubicBezTo>
                              <a:pt x="1720" y="538"/>
                              <a:pt x="1420" y="778"/>
                              <a:pt x="1121" y="1076"/>
                            </a:cubicBezTo>
                            <a:cubicBezTo>
                              <a:pt x="822" y="1375"/>
                              <a:pt x="583" y="1674"/>
                              <a:pt x="404" y="2033"/>
                            </a:cubicBezTo>
                            <a:cubicBezTo>
                              <a:pt x="224" y="2392"/>
                              <a:pt x="105" y="2751"/>
                              <a:pt x="45" y="3110"/>
                            </a:cubicBezTo>
                            <a:cubicBezTo>
                              <a:pt x="-15" y="3469"/>
                              <a:pt x="-15" y="3828"/>
                              <a:pt x="45" y="4187"/>
                            </a:cubicBezTo>
                            <a:cubicBezTo>
                              <a:pt x="45" y="4306"/>
                              <a:pt x="105" y="4426"/>
                              <a:pt x="165" y="4486"/>
                            </a:cubicBezTo>
                            <a:cubicBezTo>
                              <a:pt x="224" y="4605"/>
                              <a:pt x="224" y="4665"/>
                              <a:pt x="284" y="4785"/>
                            </a:cubicBezTo>
                            <a:cubicBezTo>
                              <a:pt x="344" y="4904"/>
                              <a:pt x="404" y="4964"/>
                              <a:pt x="464" y="5024"/>
                            </a:cubicBezTo>
                            <a:cubicBezTo>
                              <a:pt x="523" y="5083"/>
                              <a:pt x="703" y="5263"/>
                              <a:pt x="763" y="5323"/>
                            </a:cubicBezTo>
                          </a:path>
                        </a:pathLst>
                      </a:custGeom>
                      <a:noFill/>
                      <a:ln w="6350" cap="flat">
                        <a:solidFill>
                          <a:schemeClr val="bg1">
                            <a:alpha val="40000"/>
                          </a:schemeClr>
                        </a:solidFill>
                        <a:prstDash val="solid"/>
                        <a:miter/>
                      </a:ln>
                    </p:spPr>
                    <p:txBody>
                      <a:bodyPr rtlCol="0" anchor="ctr"/>
                      <a:lstStyle/>
                      <a:p>
                        <a:endParaRPr lang="en-GB"/>
                      </a:p>
                    </p:txBody>
                  </p:sp>
                  <p:sp>
                    <p:nvSpPr>
                      <p:cNvPr id="7440" name="Vrije vorm: vorm 7439">
                        <a:extLst>
                          <a:ext uri="{FF2B5EF4-FFF2-40B4-BE49-F238E27FC236}">
                            <a16:creationId xmlns:a16="http://schemas.microsoft.com/office/drawing/2014/main" id="{B0F437AF-9F28-4569-BEF5-99D4CBC2C979}"/>
                          </a:ext>
                        </a:extLst>
                      </p:cNvPr>
                      <p:cNvSpPr/>
                      <p:nvPr/>
                    </p:nvSpPr>
                    <p:spPr>
                      <a:xfrm>
                        <a:off x="5347921" y="5291863"/>
                        <a:ext cx="5188" cy="5721"/>
                      </a:xfrm>
                      <a:custGeom>
                        <a:avLst/>
                        <a:gdLst>
                          <a:gd name="connsiteX0" fmla="*/ 2093 w 5188"/>
                          <a:gd name="connsiteY0" fmla="*/ 4884 h 5721"/>
                          <a:gd name="connsiteX1" fmla="*/ 1974 w 5188"/>
                          <a:gd name="connsiteY1" fmla="*/ 4884 h 5721"/>
                          <a:gd name="connsiteX2" fmla="*/ 1854 w 5188"/>
                          <a:gd name="connsiteY2" fmla="*/ 4884 h 5721"/>
                          <a:gd name="connsiteX3" fmla="*/ 1735 w 5188"/>
                          <a:gd name="connsiteY3" fmla="*/ 4884 h 5721"/>
                          <a:gd name="connsiteX4" fmla="*/ 1615 w 5188"/>
                          <a:gd name="connsiteY4" fmla="*/ 4824 h 5721"/>
                          <a:gd name="connsiteX5" fmla="*/ 1256 w 5188"/>
                          <a:gd name="connsiteY5" fmla="*/ 4645 h 5721"/>
                          <a:gd name="connsiteX6" fmla="*/ 957 w 5188"/>
                          <a:gd name="connsiteY6" fmla="*/ 4226 h 5721"/>
                          <a:gd name="connsiteX7" fmla="*/ 837 w 5188"/>
                          <a:gd name="connsiteY7" fmla="*/ 3687 h 5721"/>
                          <a:gd name="connsiteX8" fmla="*/ 897 w 5188"/>
                          <a:gd name="connsiteY8" fmla="*/ 3090 h 5721"/>
                          <a:gd name="connsiteX9" fmla="*/ 1136 w 5188"/>
                          <a:gd name="connsiteY9" fmla="*/ 2432 h 5721"/>
                          <a:gd name="connsiteX10" fmla="*/ 1615 w 5188"/>
                          <a:gd name="connsiteY10" fmla="*/ 1774 h 5721"/>
                          <a:gd name="connsiteX11" fmla="*/ 2213 w 5188"/>
                          <a:gd name="connsiteY11" fmla="*/ 1295 h 5721"/>
                          <a:gd name="connsiteX12" fmla="*/ 2871 w 5188"/>
                          <a:gd name="connsiteY12" fmla="*/ 1056 h 5721"/>
                          <a:gd name="connsiteX13" fmla="*/ 3529 w 5188"/>
                          <a:gd name="connsiteY13" fmla="*/ 1116 h 5721"/>
                          <a:gd name="connsiteX14" fmla="*/ 3589 w 5188"/>
                          <a:gd name="connsiteY14" fmla="*/ 1176 h 5721"/>
                          <a:gd name="connsiteX15" fmla="*/ 3648 w 5188"/>
                          <a:gd name="connsiteY15" fmla="*/ 1236 h 5721"/>
                          <a:gd name="connsiteX16" fmla="*/ 3708 w 5188"/>
                          <a:gd name="connsiteY16" fmla="*/ 1295 h 5721"/>
                          <a:gd name="connsiteX17" fmla="*/ 3768 w 5188"/>
                          <a:gd name="connsiteY17" fmla="*/ 1355 h 5721"/>
                          <a:gd name="connsiteX18" fmla="*/ 4067 w 5188"/>
                          <a:gd name="connsiteY18" fmla="*/ 1714 h 5721"/>
                          <a:gd name="connsiteX19" fmla="*/ 4187 w 5188"/>
                          <a:gd name="connsiteY19" fmla="*/ 2192 h 5721"/>
                          <a:gd name="connsiteX20" fmla="*/ 4187 w 5188"/>
                          <a:gd name="connsiteY20" fmla="*/ 2731 h 5721"/>
                          <a:gd name="connsiteX21" fmla="*/ 4007 w 5188"/>
                          <a:gd name="connsiteY21" fmla="*/ 3329 h 5721"/>
                          <a:gd name="connsiteX22" fmla="*/ 4007 w 5188"/>
                          <a:gd name="connsiteY22" fmla="*/ 3389 h 5721"/>
                          <a:gd name="connsiteX23" fmla="*/ 4007 w 5188"/>
                          <a:gd name="connsiteY23" fmla="*/ 3448 h 5721"/>
                          <a:gd name="connsiteX24" fmla="*/ 4007 w 5188"/>
                          <a:gd name="connsiteY24" fmla="*/ 3508 h 5721"/>
                          <a:gd name="connsiteX25" fmla="*/ 4007 w 5188"/>
                          <a:gd name="connsiteY25" fmla="*/ 3568 h 5721"/>
                          <a:gd name="connsiteX26" fmla="*/ 3888 w 5188"/>
                          <a:gd name="connsiteY26" fmla="*/ 3747 h 5721"/>
                          <a:gd name="connsiteX27" fmla="*/ 3768 w 5188"/>
                          <a:gd name="connsiteY27" fmla="*/ 3927 h 5721"/>
                          <a:gd name="connsiteX28" fmla="*/ 3648 w 5188"/>
                          <a:gd name="connsiteY28" fmla="*/ 4106 h 5721"/>
                          <a:gd name="connsiteX29" fmla="*/ 3529 w 5188"/>
                          <a:gd name="connsiteY29" fmla="*/ 4286 h 5721"/>
                          <a:gd name="connsiteX30" fmla="*/ 3409 w 5188"/>
                          <a:gd name="connsiteY30" fmla="*/ 4405 h 5721"/>
                          <a:gd name="connsiteX31" fmla="*/ 3289 w 5188"/>
                          <a:gd name="connsiteY31" fmla="*/ 4525 h 5721"/>
                          <a:gd name="connsiteX32" fmla="*/ 3170 w 5188"/>
                          <a:gd name="connsiteY32" fmla="*/ 4645 h 5721"/>
                          <a:gd name="connsiteX33" fmla="*/ 3050 w 5188"/>
                          <a:gd name="connsiteY33" fmla="*/ 4704 h 5721"/>
                          <a:gd name="connsiteX34" fmla="*/ 2811 w 5188"/>
                          <a:gd name="connsiteY34" fmla="*/ 4824 h 5721"/>
                          <a:gd name="connsiteX35" fmla="*/ 2572 w 5188"/>
                          <a:gd name="connsiteY35" fmla="*/ 4944 h 5721"/>
                          <a:gd name="connsiteX36" fmla="*/ 2333 w 5188"/>
                          <a:gd name="connsiteY36" fmla="*/ 5003 h 5721"/>
                          <a:gd name="connsiteX37" fmla="*/ 2093 w 5188"/>
                          <a:gd name="connsiteY37" fmla="*/ 4884 h 5721"/>
                          <a:gd name="connsiteX38" fmla="*/ 658 w 5188"/>
                          <a:gd name="connsiteY38" fmla="*/ 5422 h 5721"/>
                          <a:gd name="connsiteX39" fmla="*/ 778 w 5188"/>
                          <a:gd name="connsiteY39" fmla="*/ 5482 h 5721"/>
                          <a:gd name="connsiteX40" fmla="*/ 897 w 5188"/>
                          <a:gd name="connsiteY40" fmla="*/ 5541 h 5721"/>
                          <a:gd name="connsiteX41" fmla="*/ 1017 w 5188"/>
                          <a:gd name="connsiteY41" fmla="*/ 5601 h 5721"/>
                          <a:gd name="connsiteX42" fmla="*/ 1136 w 5188"/>
                          <a:gd name="connsiteY42" fmla="*/ 5661 h 5721"/>
                          <a:gd name="connsiteX43" fmla="*/ 1256 w 5188"/>
                          <a:gd name="connsiteY43" fmla="*/ 5721 h 5721"/>
                          <a:gd name="connsiteX44" fmla="*/ 1375 w 5188"/>
                          <a:gd name="connsiteY44" fmla="*/ 5721 h 5721"/>
                          <a:gd name="connsiteX45" fmla="*/ 1495 w 5188"/>
                          <a:gd name="connsiteY45" fmla="*/ 5721 h 5721"/>
                          <a:gd name="connsiteX46" fmla="*/ 1615 w 5188"/>
                          <a:gd name="connsiteY46" fmla="*/ 5721 h 5721"/>
                          <a:gd name="connsiteX47" fmla="*/ 1854 w 5188"/>
                          <a:gd name="connsiteY47" fmla="*/ 5721 h 5721"/>
                          <a:gd name="connsiteX48" fmla="*/ 2093 w 5188"/>
                          <a:gd name="connsiteY48" fmla="*/ 5721 h 5721"/>
                          <a:gd name="connsiteX49" fmla="*/ 2333 w 5188"/>
                          <a:gd name="connsiteY49" fmla="*/ 5661 h 5721"/>
                          <a:gd name="connsiteX50" fmla="*/ 2572 w 5188"/>
                          <a:gd name="connsiteY50" fmla="*/ 5601 h 5721"/>
                          <a:gd name="connsiteX51" fmla="*/ 3050 w 5188"/>
                          <a:gd name="connsiteY51" fmla="*/ 5422 h 5721"/>
                          <a:gd name="connsiteX52" fmla="*/ 3529 w 5188"/>
                          <a:gd name="connsiteY52" fmla="*/ 5123 h 5721"/>
                          <a:gd name="connsiteX53" fmla="*/ 3947 w 5188"/>
                          <a:gd name="connsiteY53" fmla="*/ 4764 h 5721"/>
                          <a:gd name="connsiteX54" fmla="*/ 4366 w 5188"/>
                          <a:gd name="connsiteY54" fmla="*/ 4346 h 5721"/>
                          <a:gd name="connsiteX55" fmla="*/ 4486 w 5188"/>
                          <a:gd name="connsiteY55" fmla="*/ 4166 h 5721"/>
                          <a:gd name="connsiteX56" fmla="*/ 4605 w 5188"/>
                          <a:gd name="connsiteY56" fmla="*/ 3987 h 5721"/>
                          <a:gd name="connsiteX57" fmla="*/ 4725 w 5188"/>
                          <a:gd name="connsiteY57" fmla="*/ 3807 h 5721"/>
                          <a:gd name="connsiteX58" fmla="*/ 4844 w 5188"/>
                          <a:gd name="connsiteY58" fmla="*/ 3628 h 5721"/>
                          <a:gd name="connsiteX59" fmla="*/ 4904 w 5188"/>
                          <a:gd name="connsiteY59" fmla="*/ 3568 h 5721"/>
                          <a:gd name="connsiteX60" fmla="*/ 4904 w 5188"/>
                          <a:gd name="connsiteY60" fmla="*/ 3508 h 5721"/>
                          <a:gd name="connsiteX61" fmla="*/ 4904 w 5188"/>
                          <a:gd name="connsiteY61" fmla="*/ 3448 h 5721"/>
                          <a:gd name="connsiteX62" fmla="*/ 4904 w 5188"/>
                          <a:gd name="connsiteY62" fmla="*/ 3389 h 5721"/>
                          <a:gd name="connsiteX63" fmla="*/ 5143 w 5188"/>
                          <a:gd name="connsiteY63" fmla="*/ 2492 h 5721"/>
                          <a:gd name="connsiteX64" fmla="*/ 5143 w 5188"/>
                          <a:gd name="connsiteY64" fmla="*/ 1654 h 5721"/>
                          <a:gd name="connsiteX65" fmla="*/ 4904 w 5188"/>
                          <a:gd name="connsiteY65" fmla="*/ 937 h 5721"/>
                          <a:gd name="connsiteX66" fmla="*/ 4486 w 5188"/>
                          <a:gd name="connsiteY66" fmla="*/ 398 h 5721"/>
                          <a:gd name="connsiteX67" fmla="*/ 4007 w 5188"/>
                          <a:gd name="connsiteY67" fmla="*/ 99 h 5721"/>
                          <a:gd name="connsiteX68" fmla="*/ 3050 w 5188"/>
                          <a:gd name="connsiteY68" fmla="*/ 39 h 5721"/>
                          <a:gd name="connsiteX69" fmla="*/ 2034 w 5188"/>
                          <a:gd name="connsiteY69" fmla="*/ 398 h 5721"/>
                          <a:gd name="connsiteX70" fmla="*/ 1136 w 5188"/>
                          <a:gd name="connsiteY70" fmla="*/ 1116 h 5721"/>
                          <a:gd name="connsiteX71" fmla="*/ 419 w 5188"/>
                          <a:gd name="connsiteY71" fmla="*/ 2133 h 5721"/>
                          <a:gd name="connsiteX72" fmla="*/ 60 w 5188"/>
                          <a:gd name="connsiteY72" fmla="*/ 3090 h 5721"/>
                          <a:gd name="connsiteX73" fmla="*/ 0 w 5188"/>
                          <a:gd name="connsiteY73" fmla="*/ 3987 h 5721"/>
                          <a:gd name="connsiteX74" fmla="*/ 180 w 5188"/>
                          <a:gd name="connsiteY74" fmla="*/ 4764 h 5721"/>
                          <a:gd name="connsiteX75" fmla="*/ 658 w 5188"/>
                          <a:gd name="connsiteY75" fmla="*/ 5422 h 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188" h="5721">
                            <a:moveTo>
                              <a:pt x="2093" y="4884"/>
                            </a:moveTo>
                            <a:cubicBezTo>
                              <a:pt x="2034" y="4884"/>
                              <a:pt x="2034" y="4884"/>
                              <a:pt x="1974" y="4884"/>
                            </a:cubicBezTo>
                            <a:cubicBezTo>
                              <a:pt x="1914" y="4884"/>
                              <a:pt x="1914" y="4884"/>
                              <a:pt x="1854" y="4884"/>
                            </a:cubicBezTo>
                            <a:cubicBezTo>
                              <a:pt x="1794" y="4884"/>
                              <a:pt x="1794" y="4884"/>
                              <a:pt x="1735" y="4884"/>
                            </a:cubicBezTo>
                            <a:cubicBezTo>
                              <a:pt x="1675" y="4884"/>
                              <a:pt x="1675" y="4884"/>
                              <a:pt x="1615" y="4824"/>
                            </a:cubicBezTo>
                            <a:lnTo>
                              <a:pt x="1256" y="4645"/>
                            </a:lnTo>
                            <a:cubicBezTo>
                              <a:pt x="1136" y="4525"/>
                              <a:pt x="1017" y="4405"/>
                              <a:pt x="957" y="4226"/>
                            </a:cubicBezTo>
                            <a:cubicBezTo>
                              <a:pt x="897" y="4046"/>
                              <a:pt x="837" y="3867"/>
                              <a:pt x="837" y="3687"/>
                            </a:cubicBezTo>
                            <a:cubicBezTo>
                              <a:pt x="837" y="3508"/>
                              <a:pt x="837" y="3269"/>
                              <a:pt x="897" y="3090"/>
                            </a:cubicBezTo>
                            <a:cubicBezTo>
                              <a:pt x="957" y="2850"/>
                              <a:pt x="1017" y="2671"/>
                              <a:pt x="1136" y="2432"/>
                            </a:cubicBezTo>
                            <a:cubicBezTo>
                              <a:pt x="1256" y="2192"/>
                              <a:pt x="1435" y="1953"/>
                              <a:pt x="1615" y="1774"/>
                            </a:cubicBezTo>
                            <a:cubicBezTo>
                              <a:pt x="1794" y="1594"/>
                              <a:pt x="2034" y="1415"/>
                              <a:pt x="2213" y="1295"/>
                            </a:cubicBezTo>
                            <a:cubicBezTo>
                              <a:pt x="2452" y="1176"/>
                              <a:pt x="2691" y="1116"/>
                              <a:pt x="2871" y="1056"/>
                            </a:cubicBezTo>
                            <a:cubicBezTo>
                              <a:pt x="3110" y="996"/>
                              <a:pt x="3289" y="1056"/>
                              <a:pt x="3529" y="1116"/>
                            </a:cubicBezTo>
                            <a:cubicBezTo>
                              <a:pt x="3529" y="1116"/>
                              <a:pt x="3589" y="1116"/>
                              <a:pt x="3589" y="1176"/>
                            </a:cubicBezTo>
                            <a:cubicBezTo>
                              <a:pt x="3589" y="1176"/>
                              <a:pt x="3648" y="1176"/>
                              <a:pt x="3648" y="1236"/>
                            </a:cubicBezTo>
                            <a:cubicBezTo>
                              <a:pt x="3648" y="1236"/>
                              <a:pt x="3708" y="1295"/>
                              <a:pt x="3708" y="1295"/>
                            </a:cubicBezTo>
                            <a:cubicBezTo>
                              <a:pt x="3708" y="1295"/>
                              <a:pt x="3768" y="1355"/>
                              <a:pt x="3768" y="1355"/>
                            </a:cubicBezTo>
                            <a:cubicBezTo>
                              <a:pt x="3888" y="1475"/>
                              <a:pt x="4007" y="1594"/>
                              <a:pt x="4067" y="1714"/>
                            </a:cubicBezTo>
                            <a:cubicBezTo>
                              <a:pt x="4127" y="1833"/>
                              <a:pt x="4187" y="2013"/>
                              <a:pt x="4187" y="2192"/>
                            </a:cubicBezTo>
                            <a:cubicBezTo>
                              <a:pt x="4187" y="2372"/>
                              <a:pt x="4187" y="2551"/>
                              <a:pt x="4187" y="2731"/>
                            </a:cubicBezTo>
                            <a:cubicBezTo>
                              <a:pt x="4187" y="2910"/>
                              <a:pt x="4127" y="3149"/>
                              <a:pt x="4007" y="3329"/>
                            </a:cubicBezTo>
                            <a:cubicBezTo>
                              <a:pt x="4007" y="3329"/>
                              <a:pt x="4007" y="3329"/>
                              <a:pt x="4007" y="3389"/>
                            </a:cubicBezTo>
                            <a:cubicBezTo>
                              <a:pt x="4007" y="3448"/>
                              <a:pt x="4007" y="3389"/>
                              <a:pt x="4007" y="3448"/>
                            </a:cubicBezTo>
                            <a:cubicBezTo>
                              <a:pt x="4007" y="3508"/>
                              <a:pt x="4007" y="3448"/>
                              <a:pt x="4007" y="3508"/>
                            </a:cubicBezTo>
                            <a:cubicBezTo>
                              <a:pt x="4007" y="3508"/>
                              <a:pt x="4007" y="3508"/>
                              <a:pt x="4007" y="3568"/>
                            </a:cubicBezTo>
                            <a:cubicBezTo>
                              <a:pt x="3947" y="3628"/>
                              <a:pt x="3947" y="3687"/>
                              <a:pt x="3888" y="3747"/>
                            </a:cubicBezTo>
                            <a:cubicBezTo>
                              <a:pt x="3828" y="3807"/>
                              <a:pt x="3828" y="3867"/>
                              <a:pt x="3768" y="3927"/>
                            </a:cubicBezTo>
                            <a:cubicBezTo>
                              <a:pt x="3708" y="3987"/>
                              <a:pt x="3708" y="4046"/>
                              <a:pt x="3648" y="4106"/>
                            </a:cubicBezTo>
                            <a:cubicBezTo>
                              <a:pt x="3589" y="4166"/>
                              <a:pt x="3529" y="4226"/>
                              <a:pt x="3529" y="4286"/>
                            </a:cubicBezTo>
                            <a:cubicBezTo>
                              <a:pt x="3469" y="4346"/>
                              <a:pt x="3469" y="4346"/>
                              <a:pt x="3409" y="4405"/>
                            </a:cubicBezTo>
                            <a:cubicBezTo>
                              <a:pt x="3349" y="4465"/>
                              <a:pt x="3349" y="4465"/>
                              <a:pt x="3289" y="4525"/>
                            </a:cubicBezTo>
                            <a:cubicBezTo>
                              <a:pt x="3230" y="4585"/>
                              <a:pt x="3230" y="4585"/>
                              <a:pt x="3170" y="4645"/>
                            </a:cubicBezTo>
                            <a:cubicBezTo>
                              <a:pt x="3110" y="4704"/>
                              <a:pt x="3110" y="4704"/>
                              <a:pt x="3050" y="4704"/>
                            </a:cubicBezTo>
                            <a:cubicBezTo>
                              <a:pt x="2990" y="4764"/>
                              <a:pt x="2871" y="4824"/>
                              <a:pt x="2811" y="4824"/>
                            </a:cubicBezTo>
                            <a:cubicBezTo>
                              <a:pt x="2751" y="4884"/>
                              <a:pt x="2632" y="4884"/>
                              <a:pt x="2572" y="4944"/>
                            </a:cubicBezTo>
                            <a:cubicBezTo>
                              <a:pt x="2512" y="4944"/>
                              <a:pt x="2392" y="5003"/>
                              <a:pt x="2333" y="5003"/>
                            </a:cubicBezTo>
                            <a:cubicBezTo>
                              <a:pt x="2273" y="4884"/>
                              <a:pt x="2153" y="4884"/>
                              <a:pt x="2093" y="4884"/>
                            </a:cubicBezTo>
                            <a:moveTo>
                              <a:pt x="658" y="5422"/>
                            </a:moveTo>
                            <a:cubicBezTo>
                              <a:pt x="718" y="5422"/>
                              <a:pt x="718" y="5482"/>
                              <a:pt x="778" y="5482"/>
                            </a:cubicBezTo>
                            <a:cubicBezTo>
                              <a:pt x="837" y="5482"/>
                              <a:pt x="837" y="5541"/>
                              <a:pt x="897" y="5541"/>
                            </a:cubicBezTo>
                            <a:cubicBezTo>
                              <a:pt x="957" y="5541"/>
                              <a:pt x="957" y="5601"/>
                              <a:pt x="1017" y="5601"/>
                            </a:cubicBezTo>
                            <a:cubicBezTo>
                              <a:pt x="1076" y="5601"/>
                              <a:pt x="1076" y="5661"/>
                              <a:pt x="1136" y="5661"/>
                            </a:cubicBezTo>
                            <a:cubicBezTo>
                              <a:pt x="1196" y="5661"/>
                              <a:pt x="1196" y="5661"/>
                              <a:pt x="1256" y="5721"/>
                            </a:cubicBezTo>
                            <a:cubicBezTo>
                              <a:pt x="1316" y="5721"/>
                              <a:pt x="1375" y="5721"/>
                              <a:pt x="1375" y="5721"/>
                            </a:cubicBezTo>
                            <a:cubicBezTo>
                              <a:pt x="1375" y="5721"/>
                              <a:pt x="1495" y="5721"/>
                              <a:pt x="1495" y="5721"/>
                            </a:cubicBezTo>
                            <a:cubicBezTo>
                              <a:pt x="1555" y="5721"/>
                              <a:pt x="1615" y="5721"/>
                              <a:pt x="1615" y="5721"/>
                            </a:cubicBezTo>
                            <a:cubicBezTo>
                              <a:pt x="1675" y="5721"/>
                              <a:pt x="1735" y="5721"/>
                              <a:pt x="1854" y="5721"/>
                            </a:cubicBezTo>
                            <a:cubicBezTo>
                              <a:pt x="1914" y="5721"/>
                              <a:pt x="1974" y="5721"/>
                              <a:pt x="2093" y="5721"/>
                            </a:cubicBezTo>
                            <a:cubicBezTo>
                              <a:pt x="2153" y="5721"/>
                              <a:pt x="2213" y="5721"/>
                              <a:pt x="2333" y="5661"/>
                            </a:cubicBezTo>
                            <a:cubicBezTo>
                              <a:pt x="2452" y="5601"/>
                              <a:pt x="2452" y="5601"/>
                              <a:pt x="2572" y="5601"/>
                            </a:cubicBezTo>
                            <a:cubicBezTo>
                              <a:pt x="2751" y="5541"/>
                              <a:pt x="2871" y="5482"/>
                              <a:pt x="3050" y="5422"/>
                            </a:cubicBezTo>
                            <a:cubicBezTo>
                              <a:pt x="3230" y="5362"/>
                              <a:pt x="3349" y="5243"/>
                              <a:pt x="3529" y="5123"/>
                            </a:cubicBezTo>
                            <a:cubicBezTo>
                              <a:pt x="3708" y="5003"/>
                              <a:pt x="3828" y="4884"/>
                              <a:pt x="3947" y="4764"/>
                            </a:cubicBezTo>
                            <a:cubicBezTo>
                              <a:pt x="4067" y="4645"/>
                              <a:pt x="4187" y="4465"/>
                              <a:pt x="4366" y="4346"/>
                            </a:cubicBezTo>
                            <a:cubicBezTo>
                              <a:pt x="4426" y="4286"/>
                              <a:pt x="4426" y="4226"/>
                              <a:pt x="4486" y="4166"/>
                            </a:cubicBezTo>
                            <a:cubicBezTo>
                              <a:pt x="4545" y="4106"/>
                              <a:pt x="4545" y="4046"/>
                              <a:pt x="4605" y="3987"/>
                            </a:cubicBezTo>
                            <a:cubicBezTo>
                              <a:pt x="4665" y="3927"/>
                              <a:pt x="4665" y="3867"/>
                              <a:pt x="4725" y="3807"/>
                            </a:cubicBezTo>
                            <a:cubicBezTo>
                              <a:pt x="4785" y="3747"/>
                              <a:pt x="4785" y="3687"/>
                              <a:pt x="4844" y="3628"/>
                            </a:cubicBezTo>
                            <a:cubicBezTo>
                              <a:pt x="4844" y="3628"/>
                              <a:pt x="4844" y="3568"/>
                              <a:pt x="4904" y="3568"/>
                            </a:cubicBezTo>
                            <a:cubicBezTo>
                              <a:pt x="4904" y="3568"/>
                              <a:pt x="4904" y="3508"/>
                              <a:pt x="4904" y="3508"/>
                            </a:cubicBezTo>
                            <a:cubicBezTo>
                              <a:pt x="4904" y="3508"/>
                              <a:pt x="4904" y="3448"/>
                              <a:pt x="4904" y="3448"/>
                            </a:cubicBezTo>
                            <a:cubicBezTo>
                              <a:pt x="4904" y="3448"/>
                              <a:pt x="4904" y="3389"/>
                              <a:pt x="4904" y="3389"/>
                            </a:cubicBezTo>
                            <a:cubicBezTo>
                              <a:pt x="5024" y="3090"/>
                              <a:pt x="5143" y="2791"/>
                              <a:pt x="5143" y="2492"/>
                            </a:cubicBezTo>
                            <a:cubicBezTo>
                              <a:pt x="5203" y="2192"/>
                              <a:pt x="5203" y="1953"/>
                              <a:pt x="5143" y="1654"/>
                            </a:cubicBezTo>
                            <a:cubicBezTo>
                              <a:pt x="5084" y="1415"/>
                              <a:pt x="5024" y="1176"/>
                              <a:pt x="4904" y="937"/>
                            </a:cubicBezTo>
                            <a:cubicBezTo>
                              <a:pt x="4785" y="697"/>
                              <a:pt x="4665" y="518"/>
                              <a:pt x="4486" y="398"/>
                            </a:cubicBezTo>
                            <a:lnTo>
                              <a:pt x="4007" y="99"/>
                            </a:lnTo>
                            <a:cubicBezTo>
                              <a:pt x="3708" y="-21"/>
                              <a:pt x="3349" y="-21"/>
                              <a:pt x="3050" y="39"/>
                            </a:cubicBezTo>
                            <a:cubicBezTo>
                              <a:pt x="2751" y="99"/>
                              <a:pt x="2392" y="219"/>
                              <a:pt x="2034" y="398"/>
                            </a:cubicBezTo>
                            <a:cubicBezTo>
                              <a:pt x="1675" y="578"/>
                              <a:pt x="1375" y="817"/>
                              <a:pt x="1136" y="1116"/>
                            </a:cubicBezTo>
                            <a:cubicBezTo>
                              <a:pt x="837" y="1415"/>
                              <a:pt x="598" y="1714"/>
                              <a:pt x="419" y="2133"/>
                            </a:cubicBezTo>
                            <a:cubicBezTo>
                              <a:pt x="239" y="2432"/>
                              <a:pt x="120" y="2791"/>
                              <a:pt x="60" y="3090"/>
                            </a:cubicBezTo>
                            <a:cubicBezTo>
                              <a:pt x="0" y="3389"/>
                              <a:pt x="0" y="3687"/>
                              <a:pt x="0" y="3987"/>
                            </a:cubicBezTo>
                            <a:cubicBezTo>
                              <a:pt x="0" y="4286"/>
                              <a:pt x="120" y="4525"/>
                              <a:pt x="180" y="4764"/>
                            </a:cubicBezTo>
                            <a:cubicBezTo>
                              <a:pt x="299" y="5063"/>
                              <a:pt x="419" y="5302"/>
                              <a:pt x="658" y="5422"/>
                            </a:cubicBezTo>
                          </a:path>
                        </a:pathLst>
                      </a:custGeom>
                      <a:noFill/>
                      <a:ln w="6350" cap="flat">
                        <a:solidFill>
                          <a:schemeClr val="bg1">
                            <a:alpha val="40000"/>
                          </a:schemeClr>
                        </a:solidFill>
                        <a:prstDash val="solid"/>
                        <a:miter/>
                      </a:ln>
                    </p:spPr>
                    <p:txBody>
                      <a:bodyPr rtlCol="0" anchor="ctr"/>
                      <a:lstStyle/>
                      <a:p>
                        <a:endParaRPr lang="en-GB"/>
                      </a:p>
                    </p:txBody>
                  </p:sp>
                  <p:sp>
                    <p:nvSpPr>
                      <p:cNvPr id="7441" name="Vrije vorm: vorm 7440">
                        <a:extLst>
                          <a:ext uri="{FF2B5EF4-FFF2-40B4-BE49-F238E27FC236}">
                            <a16:creationId xmlns:a16="http://schemas.microsoft.com/office/drawing/2014/main" id="{9355787C-835D-4BB6-8585-239D24D136CC}"/>
                          </a:ext>
                        </a:extLst>
                      </p:cNvPr>
                      <p:cNvSpPr/>
                      <p:nvPr/>
                    </p:nvSpPr>
                    <p:spPr>
                      <a:xfrm>
                        <a:off x="5346247" y="5300933"/>
                        <a:ext cx="5083" cy="5648"/>
                      </a:xfrm>
                      <a:custGeom>
                        <a:avLst/>
                        <a:gdLst>
                          <a:gd name="connsiteX0" fmla="*/ 3947 w 5083"/>
                          <a:gd name="connsiteY0" fmla="*/ 1196 h 5648"/>
                          <a:gd name="connsiteX1" fmla="*/ 4067 w 5083"/>
                          <a:gd name="connsiteY1" fmla="*/ 1316 h 5648"/>
                          <a:gd name="connsiteX2" fmla="*/ 4186 w 5083"/>
                          <a:gd name="connsiteY2" fmla="*/ 1495 h 5648"/>
                          <a:gd name="connsiteX3" fmla="*/ 4246 w 5083"/>
                          <a:gd name="connsiteY3" fmla="*/ 1674 h 5648"/>
                          <a:gd name="connsiteX4" fmla="*/ 4306 w 5083"/>
                          <a:gd name="connsiteY4" fmla="*/ 1914 h 5648"/>
                          <a:gd name="connsiteX5" fmla="*/ 4366 w 5083"/>
                          <a:gd name="connsiteY5" fmla="*/ 2273 h 5648"/>
                          <a:gd name="connsiteX6" fmla="*/ 4366 w 5083"/>
                          <a:gd name="connsiteY6" fmla="*/ 2632 h 5648"/>
                          <a:gd name="connsiteX7" fmla="*/ 4246 w 5083"/>
                          <a:gd name="connsiteY7" fmla="*/ 2990 h 5648"/>
                          <a:gd name="connsiteX8" fmla="*/ 4067 w 5083"/>
                          <a:gd name="connsiteY8" fmla="*/ 3349 h 5648"/>
                          <a:gd name="connsiteX9" fmla="*/ 3827 w 5083"/>
                          <a:gd name="connsiteY9" fmla="*/ 3708 h 5648"/>
                          <a:gd name="connsiteX10" fmla="*/ 3588 w 5083"/>
                          <a:gd name="connsiteY10" fmla="*/ 4007 h 5648"/>
                          <a:gd name="connsiteX11" fmla="*/ 3289 w 5083"/>
                          <a:gd name="connsiteY11" fmla="*/ 4246 h 5648"/>
                          <a:gd name="connsiteX12" fmla="*/ 2930 w 5083"/>
                          <a:gd name="connsiteY12" fmla="*/ 4486 h 5648"/>
                          <a:gd name="connsiteX13" fmla="*/ 2572 w 5083"/>
                          <a:gd name="connsiteY13" fmla="*/ 4665 h 5648"/>
                          <a:gd name="connsiteX14" fmla="*/ 2213 w 5083"/>
                          <a:gd name="connsiteY14" fmla="*/ 4725 h 5648"/>
                          <a:gd name="connsiteX15" fmla="*/ 1914 w 5083"/>
                          <a:gd name="connsiteY15" fmla="*/ 4725 h 5648"/>
                          <a:gd name="connsiteX16" fmla="*/ 1615 w 5083"/>
                          <a:gd name="connsiteY16" fmla="*/ 4665 h 5648"/>
                          <a:gd name="connsiteX17" fmla="*/ 1256 w 5083"/>
                          <a:gd name="connsiteY17" fmla="*/ 4486 h 5648"/>
                          <a:gd name="connsiteX18" fmla="*/ 897 w 5083"/>
                          <a:gd name="connsiteY18" fmla="*/ 3828 h 5648"/>
                          <a:gd name="connsiteX19" fmla="*/ 837 w 5083"/>
                          <a:gd name="connsiteY19" fmla="*/ 3768 h 5648"/>
                          <a:gd name="connsiteX20" fmla="*/ 778 w 5083"/>
                          <a:gd name="connsiteY20" fmla="*/ 3409 h 5648"/>
                          <a:gd name="connsiteX21" fmla="*/ 778 w 5083"/>
                          <a:gd name="connsiteY21" fmla="*/ 3050 h 5648"/>
                          <a:gd name="connsiteX22" fmla="*/ 897 w 5083"/>
                          <a:gd name="connsiteY22" fmla="*/ 2691 h 5648"/>
                          <a:gd name="connsiteX23" fmla="*/ 1076 w 5083"/>
                          <a:gd name="connsiteY23" fmla="*/ 2333 h 5648"/>
                          <a:gd name="connsiteX24" fmla="*/ 1256 w 5083"/>
                          <a:gd name="connsiteY24" fmla="*/ 2034 h 5648"/>
                          <a:gd name="connsiteX25" fmla="*/ 1495 w 5083"/>
                          <a:gd name="connsiteY25" fmla="*/ 1734 h 5648"/>
                          <a:gd name="connsiteX26" fmla="*/ 1734 w 5083"/>
                          <a:gd name="connsiteY26" fmla="*/ 1495 h 5648"/>
                          <a:gd name="connsiteX27" fmla="*/ 1973 w 5083"/>
                          <a:gd name="connsiteY27" fmla="*/ 1316 h 5648"/>
                          <a:gd name="connsiteX28" fmla="*/ 2033 w 5083"/>
                          <a:gd name="connsiteY28" fmla="*/ 1316 h 5648"/>
                          <a:gd name="connsiteX29" fmla="*/ 2093 w 5083"/>
                          <a:gd name="connsiteY29" fmla="*/ 1316 h 5648"/>
                          <a:gd name="connsiteX30" fmla="*/ 2153 w 5083"/>
                          <a:gd name="connsiteY30" fmla="*/ 1316 h 5648"/>
                          <a:gd name="connsiteX31" fmla="*/ 2213 w 5083"/>
                          <a:gd name="connsiteY31" fmla="*/ 1316 h 5648"/>
                          <a:gd name="connsiteX32" fmla="*/ 2572 w 5083"/>
                          <a:gd name="connsiteY32" fmla="*/ 1136 h 5648"/>
                          <a:gd name="connsiteX33" fmla="*/ 2930 w 5083"/>
                          <a:gd name="connsiteY33" fmla="*/ 1076 h 5648"/>
                          <a:gd name="connsiteX34" fmla="*/ 3229 w 5083"/>
                          <a:gd name="connsiteY34" fmla="*/ 1076 h 5648"/>
                          <a:gd name="connsiteX35" fmla="*/ 3528 w 5083"/>
                          <a:gd name="connsiteY35" fmla="*/ 1136 h 5648"/>
                          <a:gd name="connsiteX36" fmla="*/ 3648 w 5083"/>
                          <a:gd name="connsiteY36" fmla="*/ 1196 h 5648"/>
                          <a:gd name="connsiteX37" fmla="*/ 3768 w 5083"/>
                          <a:gd name="connsiteY37" fmla="*/ 1256 h 5648"/>
                          <a:gd name="connsiteX38" fmla="*/ 3827 w 5083"/>
                          <a:gd name="connsiteY38" fmla="*/ 1316 h 5648"/>
                          <a:gd name="connsiteX39" fmla="*/ 3947 w 5083"/>
                          <a:gd name="connsiteY39" fmla="*/ 1196 h 5648"/>
                          <a:gd name="connsiteX40" fmla="*/ 718 w 5083"/>
                          <a:gd name="connsiteY40" fmla="*/ 5263 h 5648"/>
                          <a:gd name="connsiteX41" fmla="*/ 837 w 5083"/>
                          <a:gd name="connsiteY41" fmla="*/ 5323 h 5648"/>
                          <a:gd name="connsiteX42" fmla="*/ 957 w 5083"/>
                          <a:gd name="connsiteY42" fmla="*/ 5383 h 5648"/>
                          <a:gd name="connsiteX43" fmla="*/ 1076 w 5083"/>
                          <a:gd name="connsiteY43" fmla="*/ 5442 h 5648"/>
                          <a:gd name="connsiteX44" fmla="*/ 1196 w 5083"/>
                          <a:gd name="connsiteY44" fmla="*/ 5502 h 5648"/>
                          <a:gd name="connsiteX45" fmla="*/ 1615 w 5083"/>
                          <a:gd name="connsiteY45" fmla="*/ 5622 h 5648"/>
                          <a:gd name="connsiteX46" fmla="*/ 2093 w 5083"/>
                          <a:gd name="connsiteY46" fmla="*/ 5622 h 5648"/>
                          <a:gd name="connsiteX47" fmla="*/ 2572 w 5083"/>
                          <a:gd name="connsiteY47" fmla="*/ 5502 h 5648"/>
                          <a:gd name="connsiteX48" fmla="*/ 3110 w 5083"/>
                          <a:gd name="connsiteY48" fmla="*/ 5263 h 5648"/>
                          <a:gd name="connsiteX49" fmla="*/ 3588 w 5083"/>
                          <a:gd name="connsiteY49" fmla="*/ 4964 h 5648"/>
                          <a:gd name="connsiteX50" fmla="*/ 4007 w 5083"/>
                          <a:gd name="connsiteY50" fmla="*/ 4545 h 5648"/>
                          <a:gd name="connsiteX51" fmla="*/ 4366 w 5083"/>
                          <a:gd name="connsiteY51" fmla="*/ 4067 h 5648"/>
                          <a:gd name="connsiteX52" fmla="*/ 4665 w 5083"/>
                          <a:gd name="connsiteY52" fmla="*/ 3529 h 5648"/>
                          <a:gd name="connsiteX53" fmla="*/ 4904 w 5083"/>
                          <a:gd name="connsiteY53" fmla="*/ 2990 h 5648"/>
                          <a:gd name="connsiteX54" fmla="*/ 5024 w 5083"/>
                          <a:gd name="connsiteY54" fmla="*/ 2452 h 5648"/>
                          <a:gd name="connsiteX55" fmla="*/ 5083 w 5083"/>
                          <a:gd name="connsiteY55" fmla="*/ 1914 h 5648"/>
                          <a:gd name="connsiteX56" fmla="*/ 5024 w 5083"/>
                          <a:gd name="connsiteY56" fmla="*/ 1435 h 5648"/>
                          <a:gd name="connsiteX57" fmla="*/ 4964 w 5083"/>
                          <a:gd name="connsiteY57" fmla="*/ 1136 h 5648"/>
                          <a:gd name="connsiteX58" fmla="*/ 4844 w 5083"/>
                          <a:gd name="connsiteY58" fmla="*/ 837 h 5648"/>
                          <a:gd name="connsiteX59" fmla="*/ 4665 w 5083"/>
                          <a:gd name="connsiteY59" fmla="*/ 598 h 5648"/>
                          <a:gd name="connsiteX60" fmla="*/ 4426 w 5083"/>
                          <a:gd name="connsiteY60" fmla="*/ 359 h 5648"/>
                          <a:gd name="connsiteX61" fmla="*/ 3947 w 5083"/>
                          <a:gd name="connsiteY61" fmla="*/ 120 h 5648"/>
                          <a:gd name="connsiteX62" fmla="*/ 3588 w 5083"/>
                          <a:gd name="connsiteY62" fmla="*/ 0 h 5648"/>
                          <a:gd name="connsiteX63" fmla="*/ 3229 w 5083"/>
                          <a:gd name="connsiteY63" fmla="*/ 0 h 5648"/>
                          <a:gd name="connsiteX64" fmla="*/ 2871 w 5083"/>
                          <a:gd name="connsiteY64" fmla="*/ 60 h 5648"/>
                          <a:gd name="connsiteX65" fmla="*/ 2512 w 5083"/>
                          <a:gd name="connsiteY65" fmla="*/ 179 h 5648"/>
                          <a:gd name="connsiteX66" fmla="*/ 2392 w 5083"/>
                          <a:gd name="connsiteY66" fmla="*/ 239 h 5648"/>
                          <a:gd name="connsiteX67" fmla="*/ 2273 w 5083"/>
                          <a:gd name="connsiteY67" fmla="*/ 299 h 5648"/>
                          <a:gd name="connsiteX68" fmla="*/ 2153 w 5083"/>
                          <a:gd name="connsiteY68" fmla="*/ 359 h 5648"/>
                          <a:gd name="connsiteX69" fmla="*/ 2033 w 5083"/>
                          <a:gd name="connsiteY69" fmla="*/ 419 h 5648"/>
                          <a:gd name="connsiteX70" fmla="*/ 1854 w 5083"/>
                          <a:gd name="connsiteY70" fmla="*/ 538 h 5648"/>
                          <a:gd name="connsiteX71" fmla="*/ 1674 w 5083"/>
                          <a:gd name="connsiteY71" fmla="*/ 658 h 5648"/>
                          <a:gd name="connsiteX72" fmla="*/ 1555 w 5083"/>
                          <a:gd name="connsiteY72" fmla="*/ 778 h 5648"/>
                          <a:gd name="connsiteX73" fmla="*/ 1435 w 5083"/>
                          <a:gd name="connsiteY73" fmla="*/ 897 h 5648"/>
                          <a:gd name="connsiteX74" fmla="*/ 1136 w 5083"/>
                          <a:gd name="connsiteY74" fmla="*/ 1196 h 5648"/>
                          <a:gd name="connsiteX75" fmla="*/ 837 w 5083"/>
                          <a:gd name="connsiteY75" fmla="*/ 1495 h 5648"/>
                          <a:gd name="connsiteX76" fmla="*/ 598 w 5083"/>
                          <a:gd name="connsiteY76" fmla="*/ 1854 h 5648"/>
                          <a:gd name="connsiteX77" fmla="*/ 419 w 5083"/>
                          <a:gd name="connsiteY77" fmla="*/ 2213 h 5648"/>
                          <a:gd name="connsiteX78" fmla="*/ 179 w 5083"/>
                          <a:gd name="connsiteY78" fmla="*/ 2691 h 5648"/>
                          <a:gd name="connsiteX79" fmla="*/ 60 w 5083"/>
                          <a:gd name="connsiteY79" fmla="*/ 3170 h 5648"/>
                          <a:gd name="connsiteX80" fmla="*/ 0 w 5083"/>
                          <a:gd name="connsiteY80" fmla="*/ 3648 h 5648"/>
                          <a:gd name="connsiteX81" fmla="*/ 0 w 5083"/>
                          <a:gd name="connsiteY81" fmla="*/ 4127 h 5648"/>
                          <a:gd name="connsiteX82" fmla="*/ 0 w 5083"/>
                          <a:gd name="connsiteY82" fmla="*/ 4187 h 5648"/>
                          <a:gd name="connsiteX83" fmla="*/ 0 w 5083"/>
                          <a:gd name="connsiteY83" fmla="*/ 4246 h 5648"/>
                          <a:gd name="connsiteX84" fmla="*/ 0 w 5083"/>
                          <a:gd name="connsiteY84" fmla="*/ 4306 h 5648"/>
                          <a:gd name="connsiteX85" fmla="*/ 0 w 5083"/>
                          <a:gd name="connsiteY85" fmla="*/ 4366 h 5648"/>
                          <a:gd name="connsiteX86" fmla="*/ 60 w 5083"/>
                          <a:gd name="connsiteY86" fmla="*/ 4605 h 5648"/>
                          <a:gd name="connsiteX87" fmla="*/ 119 w 5083"/>
                          <a:gd name="connsiteY87" fmla="*/ 4785 h 5648"/>
                          <a:gd name="connsiteX88" fmla="*/ 239 w 5083"/>
                          <a:gd name="connsiteY88" fmla="*/ 4964 h 5648"/>
                          <a:gd name="connsiteX89" fmla="*/ 359 w 5083"/>
                          <a:gd name="connsiteY89" fmla="*/ 5143 h 5648"/>
                          <a:gd name="connsiteX90" fmla="*/ 419 w 5083"/>
                          <a:gd name="connsiteY90" fmla="*/ 5203 h 5648"/>
                          <a:gd name="connsiteX91" fmla="*/ 478 w 5083"/>
                          <a:gd name="connsiteY91" fmla="*/ 5263 h 5648"/>
                          <a:gd name="connsiteX92" fmla="*/ 538 w 5083"/>
                          <a:gd name="connsiteY92" fmla="*/ 5323 h 5648"/>
                          <a:gd name="connsiteX93" fmla="*/ 718 w 5083"/>
                          <a:gd name="connsiteY93" fmla="*/ 5263 h 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083" h="5648">
                            <a:moveTo>
                              <a:pt x="3947" y="1196"/>
                            </a:moveTo>
                            <a:cubicBezTo>
                              <a:pt x="4007" y="1256"/>
                              <a:pt x="4067" y="1256"/>
                              <a:pt x="4067" y="1316"/>
                            </a:cubicBezTo>
                            <a:cubicBezTo>
                              <a:pt x="4067" y="1375"/>
                              <a:pt x="4127" y="1435"/>
                              <a:pt x="4186" y="1495"/>
                            </a:cubicBezTo>
                            <a:cubicBezTo>
                              <a:pt x="4246" y="1555"/>
                              <a:pt x="4246" y="1615"/>
                              <a:pt x="4246" y="1674"/>
                            </a:cubicBezTo>
                            <a:cubicBezTo>
                              <a:pt x="4246" y="1734"/>
                              <a:pt x="4306" y="1794"/>
                              <a:pt x="4306" y="1914"/>
                            </a:cubicBezTo>
                            <a:cubicBezTo>
                              <a:pt x="4306" y="2034"/>
                              <a:pt x="4366" y="2153"/>
                              <a:pt x="4366" y="2273"/>
                            </a:cubicBezTo>
                            <a:cubicBezTo>
                              <a:pt x="4366" y="2392"/>
                              <a:pt x="4366" y="2512"/>
                              <a:pt x="4366" y="2632"/>
                            </a:cubicBezTo>
                            <a:cubicBezTo>
                              <a:pt x="4366" y="2751"/>
                              <a:pt x="4306" y="2871"/>
                              <a:pt x="4246" y="2990"/>
                            </a:cubicBezTo>
                            <a:cubicBezTo>
                              <a:pt x="4186" y="3110"/>
                              <a:pt x="4127" y="3229"/>
                              <a:pt x="4067" y="3349"/>
                            </a:cubicBezTo>
                            <a:cubicBezTo>
                              <a:pt x="4007" y="3469"/>
                              <a:pt x="3947" y="3588"/>
                              <a:pt x="3827" y="3708"/>
                            </a:cubicBezTo>
                            <a:cubicBezTo>
                              <a:pt x="3768" y="3828"/>
                              <a:pt x="3648" y="3947"/>
                              <a:pt x="3588" y="4007"/>
                            </a:cubicBezTo>
                            <a:cubicBezTo>
                              <a:pt x="3469" y="4127"/>
                              <a:pt x="3409" y="4187"/>
                              <a:pt x="3289" y="4246"/>
                            </a:cubicBezTo>
                            <a:cubicBezTo>
                              <a:pt x="3170" y="4306"/>
                              <a:pt x="3050" y="4426"/>
                              <a:pt x="2930" y="4486"/>
                            </a:cubicBezTo>
                            <a:cubicBezTo>
                              <a:pt x="2811" y="4545"/>
                              <a:pt x="2691" y="4605"/>
                              <a:pt x="2572" y="4665"/>
                            </a:cubicBezTo>
                            <a:cubicBezTo>
                              <a:pt x="2452" y="4725"/>
                              <a:pt x="2332" y="4725"/>
                              <a:pt x="2213" y="4725"/>
                            </a:cubicBezTo>
                            <a:cubicBezTo>
                              <a:pt x="2093" y="4725"/>
                              <a:pt x="1973" y="4725"/>
                              <a:pt x="1914" y="4725"/>
                            </a:cubicBezTo>
                            <a:cubicBezTo>
                              <a:pt x="1794" y="4725"/>
                              <a:pt x="1734" y="4665"/>
                              <a:pt x="1615" y="4665"/>
                            </a:cubicBezTo>
                            <a:lnTo>
                              <a:pt x="1256" y="4486"/>
                            </a:lnTo>
                            <a:lnTo>
                              <a:pt x="897" y="3828"/>
                            </a:lnTo>
                            <a:lnTo>
                              <a:pt x="837" y="3768"/>
                            </a:lnTo>
                            <a:cubicBezTo>
                              <a:pt x="837" y="3648"/>
                              <a:pt x="778" y="3529"/>
                              <a:pt x="778" y="3409"/>
                            </a:cubicBezTo>
                            <a:cubicBezTo>
                              <a:pt x="778" y="3289"/>
                              <a:pt x="778" y="3170"/>
                              <a:pt x="778" y="3050"/>
                            </a:cubicBezTo>
                            <a:cubicBezTo>
                              <a:pt x="778" y="2930"/>
                              <a:pt x="837" y="2811"/>
                              <a:pt x="897" y="2691"/>
                            </a:cubicBezTo>
                            <a:cubicBezTo>
                              <a:pt x="957" y="2572"/>
                              <a:pt x="1017" y="2452"/>
                              <a:pt x="1076" y="2333"/>
                            </a:cubicBezTo>
                            <a:cubicBezTo>
                              <a:pt x="1136" y="2213"/>
                              <a:pt x="1196" y="2093"/>
                              <a:pt x="1256" y="2034"/>
                            </a:cubicBezTo>
                            <a:cubicBezTo>
                              <a:pt x="1316" y="1914"/>
                              <a:pt x="1375" y="1854"/>
                              <a:pt x="1495" y="1734"/>
                            </a:cubicBezTo>
                            <a:cubicBezTo>
                              <a:pt x="1555" y="1674"/>
                              <a:pt x="1674" y="1555"/>
                              <a:pt x="1734" y="1495"/>
                            </a:cubicBezTo>
                            <a:cubicBezTo>
                              <a:pt x="1794" y="1435"/>
                              <a:pt x="1914" y="1375"/>
                              <a:pt x="1973" y="1316"/>
                            </a:cubicBezTo>
                            <a:cubicBezTo>
                              <a:pt x="1973" y="1316"/>
                              <a:pt x="1973" y="1316"/>
                              <a:pt x="2033" y="1316"/>
                            </a:cubicBezTo>
                            <a:cubicBezTo>
                              <a:pt x="2033" y="1316"/>
                              <a:pt x="2033" y="1316"/>
                              <a:pt x="2093" y="1316"/>
                            </a:cubicBezTo>
                            <a:cubicBezTo>
                              <a:pt x="2153" y="1316"/>
                              <a:pt x="2093" y="1316"/>
                              <a:pt x="2153" y="1316"/>
                            </a:cubicBezTo>
                            <a:cubicBezTo>
                              <a:pt x="2153" y="1316"/>
                              <a:pt x="2153" y="1316"/>
                              <a:pt x="2213" y="1316"/>
                            </a:cubicBezTo>
                            <a:cubicBezTo>
                              <a:pt x="2332" y="1256"/>
                              <a:pt x="2452" y="1196"/>
                              <a:pt x="2572" y="1136"/>
                            </a:cubicBezTo>
                            <a:cubicBezTo>
                              <a:pt x="2691" y="1076"/>
                              <a:pt x="2811" y="1076"/>
                              <a:pt x="2930" y="1076"/>
                            </a:cubicBezTo>
                            <a:cubicBezTo>
                              <a:pt x="3050" y="1076"/>
                              <a:pt x="3170" y="1076"/>
                              <a:pt x="3229" y="1076"/>
                            </a:cubicBezTo>
                            <a:cubicBezTo>
                              <a:pt x="3289" y="1076"/>
                              <a:pt x="3409" y="1076"/>
                              <a:pt x="3528" y="1136"/>
                            </a:cubicBezTo>
                            <a:cubicBezTo>
                              <a:pt x="3588" y="1136"/>
                              <a:pt x="3588" y="1136"/>
                              <a:pt x="3648" y="1196"/>
                            </a:cubicBezTo>
                            <a:cubicBezTo>
                              <a:pt x="3708" y="1196"/>
                              <a:pt x="3708" y="1196"/>
                              <a:pt x="3768" y="1256"/>
                            </a:cubicBezTo>
                            <a:cubicBezTo>
                              <a:pt x="3768" y="1256"/>
                              <a:pt x="3827" y="1316"/>
                              <a:pt x="3827" y="1316"/>
                            </a:cubicBezTo>
                            <a:cubicBezTo>
                              <a:pt x="3887" y="1196"/>
                              <a:pt x="3947" y="1196"/>
                              <a:pt x="3947" y="1196"/>
                            </a:cubicBezTo>
                            <a:moveTo>
                              <a:pt x="718" y="5263"/>
                            </a:moveTo>
                            <a:cubicBezTo>
                              <a:pt x="778" y="5323"/>
                              <a:pt x="778" y="5323"/>
                              <a:pt x="837" y="5323"/>
                            </a:cubicBezTo>
                            <a:cubicBezTo>
                              <a:pt x="897" y="5323"/>
                              <a:pt x="897" y="5383"/>
                              <a:pt x="957" y="5383"/>
                            </a:cubicBezTo>
                            <a:cubicBezTo>
                              <a:pt x="1017" y="5383"/>
                              <a:pt x="1017" y="5442"/>
                              <a:pt x="1076" y="5442"/>
                            </a:cubicBezTo>
                            <a:cubicBezTo>
                              <a:pt x="1136" y="5442"/>
                              <a:pt x="1196" y="5502"/>
                              <a:pt x="1196" y="5502"/>
                            </a:cubicBezTo>
                            <a:cubicBezTo>
                              <a:pt x="1316" y="5562"/>
                              <a:pt x="1495" y="5562"/>
                              <a:pt x="1615" y="5622"/>
                            </a:cubicBezTo>
                            <a:cubicBezTo>
                              <a:pt x="1734" y="5682"/>
                              <a:pt x="1914" y="5622"/>
                              <a:pt x="2093" y="5622"/>
                            </a:cubicBezTo>
                            <a:cubicBezTo>
                              <a:pt x="2273" y="5622"/>
                              <a:pt x="2452" y="5562"/>
                              <a:pt x="2572" y="5502"/>
                            </a:cubicBezTo>
                            <a:cubicBezTo>
                              <a:pt x="2751" y="5442"/>
                              <a:pt x="2930" y="5383"/>
                              <a:pt x="3110" y="5263"/>
                            </a:cubicBezTo>
                            <a:cubicBezTo>
                              <a:pt x="3289" y="5203"/>
                              <a:pt x="3469" y="5083"/>
                              <a:pt x="3588" y="4964"/>
                            </a:cubicBezTo>
                            <a:cubicBezTo>
                              <a:pt x="3768" y="4844"/>
                              <a:pt x="3887" y="4725"/>
                              <a:pt x="4007" y="4545"/>
                            </a:cubicBezTo>
                            <a:cubicBezTo>
                              <a:pt x="4127" y="4426"/>
                              <a:pt x="4246" y="4246"/>
                              <a:pt x="4366" y="4067"/>
                            </a:cubicBezTo>
                            <a:cubicBezTo>
                              <a:pt x="4486" y="3888"/>
                              <a:pt x="4605" y="3708"/>
                              <a:pt x="4665" y="3529"/>
                            </a:cubicBezTo>
                            <a:cubicBezTo>
                              <a:pt x="4785" y="3349"/>
                              <a:pt x="4844" y="3170"/>
                              <a:pt x="4904" y="2990"/>
                            </a:cubicBezTo>
                            <a:cubicBezTo>
                              <a:pt x="4964" y="2811"/>
                              <a:pt x="5024" y="2632"/>
                              <a:pt x="5024" y="2452"/>
                            </a:cubicBezTo>
                            <a:cubicBezTo>
                              <a:pt x="5083" y="2273"/>
                              <a:pt x="5083" y="2093"/>
                              <a:pt x="5083" y="1914"/>
                            </a:cubicBezTo>
                            <a:cubicBezTo>
                              <a:pt x="5083" y="1734"/>
                              <a:pt x="5083" y="1555"/>
                              <a:pt x="5024" y="1435"/>
                            </a:cubicBezTo>
                            <a:cubicBezTo>
                              <a:pt x="5024" y="1316"/>
                              <a:pt x="4964" y="1196"/>
                              <a:pt x="4964" y="1136"/>
                            </a:cubicBezTo>
                            <a:cubicBezTo>
                              <a:pt x="4904" y="1017"/>
                              <a:pt x="4904" y="957"/>
                              <a:pt x="4844" y="837"/>
                            </a:cubicBezTo>
                            <a:cubicBezTo>
                              <a:pt x="4785" y="718"/>
                              <a:pt x="4725" y="658"/>
                              <a:pt x="4665" y="598"/>
                            </a:cubicBezTo>
                            <a:cubicBezTo>
                              <a:pt x="4605" y="538"/>
                              <a:pt x="4545" y="479"/>
                              <a:pt x="4426" y="359"/>
                            </a:cubicBezTo>
                            <a:lnTo>
                              <a:pt x="3947" y="120"/>
                            </a:lnTo>
                            <a:cubicBezTo>
                              <a:pt x="3827" y="60"/>
                              <a:pt x="3708" y="60"/>
                              <a:pt x="3588" y="0"/>
                            </a:cubicBezTo>
                            <a:cubicBezTo>
                              <a:pt x="3469" y="0"/>
                              <a:pt x="3349" y="0"/>
                              <a:pt x="3229" y="0"/>
                            </a:cubicBezTo>
                            <a:cubicBezTo>
                              <a:pt x="3110" y="0"/>
                              <a:pt x="2990" y="0"/>
                              <a:pt x="2871" y="60"/>
                            </a:cubicBezTo>
                            <a:cubicBezTo>
                              <a:pt x="2751" y="60"/>
                              <a:pt x="2632" y="120"/>
                              <a:pt x="2512" y="179"/>
                            </a:cubicBezTo>
                            <a:cubicBezTo>
                              <a:pt x="2452" y="179"/>
                              <a:pt x="2452" y="239"/>
                              <a:pt x="2392" y="239"/>
                            </a:cubicBezTo>
                            <a:cubicBezTo>
                              <a:pt x="2332" y="239"/>
                              <a:pt x="2332" y="299"/>
                              <a:pt x="2273" y="299"/>
                            </a:cubicBezTo>
                            <a:cubicBezTo>
                              <a:pt x="2213" y="299"/>
                              <a:pt x="2213" y="359"/>
                              <a:pt x="2153" y="359"/>
                            </a:cubicBezTo>
                            <a:cubicBezTo>
                              <a:pt x="2093" y="359"/>
                              <a:pt x="2093" y="419"/>
                              <a:pt x="2033" y="419"/>
                            </a:cubicBezTo>
                            <a:cubicBezTo>
                              <a:pt x="1973" y="419"/>
                              <a:pt x="1914" y="479"/>
                              <a:pt x="1854" y="538"/>
                            </a:cubicBezTo>
                            <a:cubicBezTo>
                              <a:pt x="1794" y="598"/>
                              <a:pt x="1734" y="598"/>
                              <a:pt x="1674" y="658"/>
                            </a:cubicBezTo>
                            <a:cubicBezTo>
                              <a:pt x="1615" y="718"/>
                              <a:pt x="1555" y="718"/>
                              <a:pt x="1555" y="778"/>
                            </a:cubicBezTo>
                            <a:cubicBezTo>
                              <a:pt x="1495" y="837"/>
                              <a:pt x="1435" y="837"/>
                              <a:pt x="1435" y="897"/>
                            </a:cubicBezTo>
                            <a:cubicBezTo>
                              <a:pt x="1316" y="957"/>
                              <a:pt x="1256" y="1076"/>
                              <a:pt x="1136" y="1196"/>
                            </a:cubicBezTo>
                            <a:cubicBezTo>
                              <a:pt x="1017" y="1316"/>
                              <a:pt x="957" y="1375"/>
                              <a:pt x="837" y="1495"/>
                            </a:cubicBezTo>
                            <a:cubicBezTo>
                              <a:pt x="778" y="1615"/>
                              <a:pt x="658" y="1734"/>
                              <a:pt x="598" y="1854"/>
                            </a:cubicBezTo>
                            <a:cubicBezTo>
                              <a:pt x="538" y="1974"/>
                              <a:pt x="478" y="2093"/>
                              <a:pt x="419" y="2213"/>
                            </a:cubicBezTo>
                            <a:cubicBezTo>
                              <a:pt x="299" y="2392"/>
                              <a:pt x="239" y="2572"/>
                              <a:pt x="179" y="2691"/>
                            </a:cubicBezTo>
                            <a:cubicBezTo>
                              <a:pt x="119" y="2871"/>
                              <a:pt x="60" y="3050"/>
                              <a:pt x="60" y="3170"/>
                            </a:cubicBezTo>
                            <a:cubicBezTo>
                              <a:pt x="0" y="3349"/>
                              <a:pt x="0" y="3469"/>
                              <a:pt x="0" y="3648"/>
                            </a:cubicBezTo>
                            <a:cubicBezTo>
                              <a:pt x="0" y="3828"/>
                              <a:pt x="0" y="3947"/>
                              <a:pt x="0" y="4127"/>
                            </a:cubicBezTo>
                            <a:cubicBezTo>
                              <a:pt x="0" y="4127"/>
                              <a:pt x="0" y="4187"/>
                              <a:pt x="0" y="4187"/>
                            </a:cubicBezTo>
                            <a:cubicBezTo>
                              <a:pt x="0" y="4187"/>
                              <a:pt x="0" y="4246"/>
                              <a:pt x="0" y="4246"/>
                            </a:cubicBezTo>
                            <a:cubicBezTo>
                              <a:pt x="0" y="4246"/>
                              <a:pt x="0" y="4306"/>
                              <a:pt x="0" y="4306"/>
                            </a:cubicBezTo>
                            <a:cubicBezTo>
                              <a:pt x="0" y="4306"/>
                              <a:pt x="0" y="4366"/>
                              <a:pt x="0" y="4366"/>
                            </a:cubicBezTo>
                            <a:cubicBezTo>
                              <a:pt x="0" y="4426"/>
                              <a:pt x="60" y="4486"/>
                              <a:pt x="60" y="4605"/>
                            </a:cubicBezTo>
                            <a:cubicBezTo>
                              <a:pt x="60" y="4725"/>
                              <a:pt x="119" y="4725"/>
                              <a:pt x="119" y="4785"/>
                            </a:cubicBezTo>
                            <a:cubicBezTo>
                              <a:pt x="119" y="4844"/>
                              <a:pt x="179" y="4904"/>
                              <a:pt x="239" y="4964"/>
                            </a:cubicBezTo>
                            <a:cubicBezTo>
                              <a:pt x="299" y="5024"/>
                              <a:pt x="299" y="5083"/>
                              <a:pt x="359" y="5143"/>
                            </a:cubicBezTo>
                            <a:cubicBezTo>
                              <a:pt x="359" y="5143"/>
                              <a:pt x="419" y="5203"/>
                              <a:pt x="419" y="5203"/>
                            </a:cubicBezTo>
                            <a:cubicBezTo>
                              <a:pt x="419" y="5203"/>
                              <a:pt x="478" y="5263"/>
                              <a:pt x="478" y="5263"/>
                            </a:cubicBezTo>
                            <a:cubicBezTo>
                              <a:pt x="478" y="5263"/>
                              <a:pt x="538" y="5323"/>
                              <a:pt x="538" y="5323"/>
                            </a:cubicBezTo>
                            <a:cubicBezTo>
                              <a:pt x="538" y="5323"/>
                              <a:pt x="718" y="5263"/>
                              <a:pt x="718" y="5263"/>
                            </a:cubicBezTo>
                          </a:path>
                        </a:pathLst>
                      </a:custGeom>
                      <a:noFill/>
                      <a:ln w="6350" cap="flat">
                        <a:solidFill>
                          <a:schemeClr val="bg1">
                            <a:alpha val="40000"/>
                          </a:schemeClr>
                        </a:solidFill>
                        <a:prstDash val="solid"/>
                        <a:miter/>
                      </a:ln>
                    </p:spPr>
                    <p:txBody>
                      <a:bodyPr rtlCol="0" anchor="ctr"/>
                      <a:lstStyle/>
                      <a:p>
                        <a:endParaRPr lang="en-GB"/>
                      </a:p>
                    </p:txBody>
                  </p:sp>
                  <p:sp>
                    <p:nvSpPr>
                      <p:cNvPr id="7442" name="Vrije vorm: vorm 7441">
                        <a:extLst>
                          <a:ext uri="{FF2B5EF4-FFF2-40B4-BE49-F238E27FC236}">
                            <a16:creationId xmlns:a16="http://schemas.microsoft.com/office/drawing/2014/main" id="{372F173E-21FD-4422-8C0E-DE243DA4B40E}"/>
                          </a:ext>
                        </a:extLst>
                      </p:cNvPr>
                      <p:cNvSpPr/>
                      <p:nvPr/>
                    </p:nvSpPr>
                    <p:spPr>
                      <a:xfrm>
                        <a:off x="5350732" y="5306396"/>
                        <a:ext cx="5168" cy="5687"/>
                      </a:xfrm>
                      <a:custGeom>
                        <a:avLst/>
                        <a:gdLst>
                          <a:gd name="connsiteX0" fmla="*/ 4067 w 5168"/>
                          <a:gd name="connsiteY0" fmla="*/ 1295 h 5687"/>
                          <a:gd name="connsiteX1" fmla="*/ 4366 w 5168"/>
                          <a:gd name="connsiteY1" fmla="*/ 1714 h 5687"/>
                          <a:gd name="connsiteX2" fmla="*/ 4486 w 5168"/>
                          <a:gd name="connsiteY2" fmla="*/ 2252 h 5687"/>
                          <a:gd name="connsiteX3" fmla="*/ 4426 w 5168"/>
                          <a:gd name="connsiteY3" fmla="*/ 2850 h 5687"/>
                          <a:gd name="connsiteX4" fmla="*/ 4186 w 5168"/>
                          <a:gd name="connsiteY4" fmla="*/ 3508 h 5687"/>
                          <a:gd name="connsiteX5" fmla="*/ 4007 w 5168"/>
                          <a:gd name="connsiteY5" fmla="*/ 3867 h 5687"/>
                          <a:gd name="connsiteX6" fmla="*/ 3768 w 5168"/>
                          <a:gd name="connsiteY6" fmla="*/ 4166 h 5687"/>
                          <a:gd name="connsiteX7" fmla="*/ 3469 w 5168"/>
                          <a:gd name="connsiteY7" fmla="*/ 4405 h 5687"/>
                          <a:gd name="connsiteX8" fmla="*/ 3110 w 5168"/>
                          <a:gd name="connsiteY8" fmla="*/ 4645 h 5687"/>
                          <a:gd name="connsiteX9" fmla="*/ 2751 w 5168"/>
                          <a:gd name="connsiteY9" fmla="*/ 4824 h 5687"/>
                          <a:gd name="connsiteX10" fmla="*/ 2392 w 5168"/>
                          <a:gd name="connsiteY10" fmla="*/ 4884 h 5687"/>
                          <a:gd name="connsiteX11" fmla="*/ 2093 w 5168"/>
                          <a:gd name="connsiteY11" fmla="*/ 4884 h 5687"/>
                          <a:gd name="connsiteX12" fmla="*/ 1794 w 5168"/>
                          <a:gd name="connsiteY12" fmla="*/ 4824 h 5687"/>
                          <a:gd name="connsiteX13" fmla="*/ 1435 w 5168"/>
                          <a:gd name="connsiteY13" fmla="*/ 4645 h 5687"/>
                          <a:gd name="connsiteX14" fmla="*/ 1017 w 5168"/>
                          <a:gd name="connsiteY14" fmla="*/ 3987 h 5687"/>
                          <a:gd name="connsiteX15" fmla="*/ 957 w 5168"/>
                          <a:gd name="connsiteY15" fmla="*/ 3628 h 5687"/>
                          <a:gd name="connsiteX16" fmla="*/ 1017 w 5168"/>
                          <a:gd name="connsiteY16" fmla="*/ 3269 h 5687"/>
                          <a:gd name="connsiteX17" fmla="*/ 1136 w 5168"/>
                          <a:gd name="connsiteY17" fmla="*/ 2910 h 5687"/>
                          <a:gd name="connsiteX18" fmla="*/ 1316 w 5168"/>
                          <a:gd name="connsiteY18" fmla="*/ 2551 h 5687"/>
                          <a:gd name="connsiteX19" fmla="*/ 1794 w 5168"/>
                          <a:gd name="connsiteY19" fmla="*/ 1893 h 5687"/>
                          <a:gd name="connsiteX20" fmla="*/ 2392 w 5168"/>
                          <a:gd name="connsiteY20" fmla="*/ 1415 h 5687"/>
                          <a:gd name="connsiteX21" fmla="*/ 3050 w 5168"/>
                          <a:gd name="connsiteY21" fmla="*/ 1176 h 5687"/>
                          <a:gd name="connsiteX22" fmla="*/ 3708 w 5168"/>
                          <a:gd name="connsiteY22" fmla="*/ 1236 h 5687"/>
                          <a:gd name="connsiteX23" fmla="*/ 3827 w 5168"/>
                          <a:gd name="connsiteY23" fmla="*/ 1295 h 5687"/>
                          <a:gd name="connsiteX24" fmla="*/ 3887 w 5168"/>
                          <a:gd name="connsiteY24" fmla="*/ 1355 h 5687"/>
                          <a:gd name="connsiteX25" fmla="*/ 3947 w 5168"/>
                          <a:gd name="connsiteY25" fmla="*/ 1415 h 5687"/>
                          <a:gd name="connsiteX26" fmla="*/ 4067 w 5168"/>
                          <a:gd name="connsiteY26" fmla="*/ 1295 h 5687"/>
                          <a:gd name="connsiteX27" fmla="*/ 837 w 5168"/>
                          <a:gd name="connsiteY27" fmla="*/ 5302 h 5687"/>
                          <a:gd name="connsiteX28" fmla="*/ 957 w 5168"/>
                          <a:gd name="connsiteY28" fmla="*/ 5362 h 5687"/>
                          <a:gd name="connsiteX29" fmla="*/ 1076 w 5168"/>
                          <a:gd name="connsiteY29" fmla="*/ 5422 h 5687"/>
                          <a:gd name="connsiteX30" fmla="*/ 1196 w 5168"/>
                          <a:gd name="connsiteY30" fmla="*/ 5482 h 5687"/>
                          <a:gd name="connsiteX31" fmla="*/ 1316 w 5168"/>
                          <a:gd name="connsiteY31" fmla="*/ 5542 h 5687"/>
                          <a:gd name="connsiteX32" fmla="*/ 1734 w 5168"/>
                          <a:gd name="connsiteY32" fmla="*/ 5661 h 5687"/>
                          <a:gd name="connsiteX33" fmla="*/ 2213 w 5168"/>
                          <a:gd name="connsiteY33" fmla="*/ 5661 h 5687"/>
                          <a:gd name="connsiteX34" fmla="*/ 2691 w 5168"/>
                          <a:gd name="connsiteY34" fmla="*/ 5542 h 5687"/>
                          <a:gd name="connsiteX35" fmla="*/ 3170 w 5168"/>
                          <a:gd name="connsiteY35" fmla="*/ 5302 h 5687"/>
                          <a:gd name="connsiteX36" fmla="*/ 3648 w 5168"/>
                          <a:gd name="connsiteY36" fmla="*/ 5003 h 5687"/>
                          <a:gd name="connsiteX37" fmla="*/ 4067 w 5168"/>
                          <a:gd name="connsiteY37" fmla="*/ 4585 h 5687"/>
                          <a:gd name="connsiteX38" fmla="*/ 4426 w 5168"/>
                          <a:gd name="connsiteY38" fmla="*/ 4106 h 5687"/>
                          <a:gd name="connsiteX39" fmla="*/ 4725 w 5168"/>
                          <a:gd name="connsiteY39" fmla="*/ 3628 h 5687"/>
                          <a:gd name="connsiteX40" fmla="*/ 5083 w 5168"/>
                          <a:gd name="connsiteY40" fmla="*/ 2671 h 5687"/>
                          <a:gd name="connsiteX41" fmla="*/ 5143 w 5168"/>
                          <a:gd name="connsiteY41" fmla="*/ 1774 h 5687"/>
                          <a:gd name="connsiteX42" fmla="*/ 4964 w 5168"/>
                          <a:gd name="connsiteY42" fmla="*/ 996 h 5687"/>
                          <a:gd name="connsiteX43" fmla="*/ 4486 w 5168"/>
                          <a:gd name="connsiteY43" fmla="*/ 398 h 5687"/>
                          <a:gd name="connsiteX44" fmla="*/ 4007 w 5168"/>
                          <a:gd name="connsiteY44" fmla="*/ 99 h 5687"/>
                          <a:gd name="connsiteX45" fmla="*/ 3050 w 5168"/>
                          <a:gd name="connsiteY45" fmla="*/ 39 h 5687"/>
                          <a:gd name="connsiteX46" fmla="*/ 2033 w 5168"/>
                          <a:gd name="connsiteY46" fmla="*/ 398 h 5687"/>
                          <a:gd name="connsiteX47" fmla="*/ 1136 w 5168"/>
                          <a:gd name="connsiteY47" fmla="*/ 1116 h 5687"/>
                          <a:gd name="connsiteX48" fmla="*/ 419 w 5168"/>
                          <a:gd name="connsiteY48" fmla="*/ 2133 h 5687"/>
                          <a:gd name="connsiteX49" fmla="*/ 179 w 5168"/>
                          <a:gd name="connsiteY49" fmla="*/ 2671 h 5687"/>
                          <a:gd name="connsiteX50" fmla="*/ 60 w 5168"/>
                          <a:gd name="connsiteY50" fmla="*/ 3209 h 5687"/>
                          <a:gd name="connsiteX51" fmla="*/ 0 w 5168"/>
                          <a:gd name="connsiteY51" fmla="*/ 3747 h 5687"/>
                          <a:gd name="connsiteX52" fmla="*/ 60 w 5168"/>
                          <a:gd name="connsiteY52" fmla="*/ 4226 h 5687"/>
                          <a:gd name="connsiteX53" fmla="*/ 179 w 5168"/>
                          <a:gd name="connsiteY53" fmla="*/ 4525 h 5687"/>
                          <a:gd name="connsiteX54" fmla="*/ 299 w 5168"/>
                          <a:gd name="connsiteY54" fmla="*/ 4824 h 5687"/>
                          <a:gd name="connsiteX55" fmla="*/ 478 w 5168"/>
                          <a:gd name="connsiteY55" fmla="*/ 5063 h 5687"/>
                          <a:gd name="connsiteX56" fmla="*/ 837 w 5168"/>
                          <a:gd name="connsiteY56" fmla="*/ 5302 h 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168" h="5687">
                            <a:moveTo>
                              <a:pt x="4067" y="1295"/>
                            </a:moveTo>
                            <a:cubicBezTo>
                              <a:pt x="4186" y="1415"/>
                              <a:pt x="4306" y="1535"/>
                              <a:pt x="4366" y="1714"/>
                            </a:cubicBezTo>
                            <a:cubicBezTo>
                              <a:pt x="4426" y="1893"/>
                              <a:pt x="4486" y="2073"/>
                              <a:pt x="4486" y="2252"/>
                            </a:cubicBezTo>
                            <a:cubicBezTo>
                              <a:pt x="4486" y="2432"/>
                              <a:pt x="4486" y="2671"/>
                              <a:pt x="4426" y="2850"/>
                            </a:cubicBezTo>
                            <a:cubicBezTo>
                              <a:pt x="4366" y="3030"/>
                              <a:pt x="4306" y="3269"/>
                              <a:pt x="4186" y="3508"/>
                            </a:cubicBezTo>
                            <a:cubicBezTo>
                              <a:pt x="4127" y="3628"/>
                              <a:pt x="4067" y="3747"/>
                              <a:pt x="4007" y="3867"/>
                            </a:cubicBezTo>
                            <a:cubicBezTo>
                              <a:pt x="3947" y="3987"/>
                              <a:pt x="3827" y="4106"/>
                              <a:pt x="3768" y="4166"/>
                            </a:cubicBezTo>
                            <a:cubicBezTo>
                              <a:pt x="3648" y="4286"/>
                              <a:pt x="3588" y="4346"/>
                              <a:pt x="3469" y="4405"/>
                            </a:cubicBezTo>
                            <a:cubicBezTo>
                              <a:pt x="3349" y="4465"/>
                              <a:pt x="3229" y="4585"/>
                              <a:pt x="3110" y="4645"/>
                            </a:cubicBezTo>
                            <a:cubicBezTo>
                              <a:pt x="2990" y="4704"/>
                              <a:pt x="2871" y="4764"/>
                              <a:pt x="2751" y="4824"/>
                            </a:cubicBezTo>
                            <a:cubicBezTo>
                              <a:pt x="2632" y="4884"/>
                              <a:pt x="2512" y="4884"/>
                              <a:pt x="2392" y="4884"/>
                            </a:cubicBezTo>
                            <a:cubicBezTo>
                              <a:pt x="2273" y="4884"/>
                              <a:pt x="2153" y="4884"/>
                              <a:pt x="2093" y="4884"/>
                            </a:cubicBezTo>
                            <a:cubicBezTo>
                              <a:pt x="2033" y="4884"/>
                              <a:pt x="1914" y="4824"/>
                              <a:pt x="1794" y="4824"/>
                            </a:cubicBezTo>
                            <a:lnTo>
                              <a:pt x="1435" y="4645"/>
                            </a:lnTo>
                            <a:lnTo>
                              <a:pt x="1017" y="3987"/>
                            </a:lnTo>
                            <a:cubicBezTo>
                              <a:pt x="1017" y="3867"/>
                              <a:pt x="957" y="3747"/>
                              <a:pt x="957" y="3628"/>
                            </a:cubicBezTo>
                            <a:cubicBezTo>
                              <a:pt x="957" y="3508"/>
                              <a:pt x="957" y="3389"/>
                              <a:pt x="1017" y="3269"/>
                            </a:cubicBezTo>
                            <a:cubicBezTo>
                              <a:pt x="1076" y="3149"/>
                              <a:pt x="1076" y="3030"/>
                              <a:pt x="1136" y="2910"/>
                            </a:cubicBezTo>
                            <a:cubicBezTo>
                              <a:pt x="1196" y="2791"/>
                              <a:pt x="1256" y="2671"/>
                              <a:pt x="1316" y="2551"/>
                            </a:cubicBezTo>
                            <a:cubicBezTo>
                              <a:pt x="1435" y="2312"/>
                              <a:pt x="1615" y="2073"/>
                              <a:pt x="1794" y="1893"/>
                            </a:cubicBezTo>
                            <a:cubicBezTo>
                              <a:pt x="1973" y="1714"/>
                              <a:pt x="2213" y="1535"/>
                              <a:pt x="2392" y="1415"/>
                            </a:cubicBezTo>
                            <a:cubicBezTo>
                              <a:pt x="2572" y="1295"/>
                              <a:pt x="2811" y="1236"/>
                              <a:pt x="3050" y="1176"/>
                            </a:cubicBezTo>
                            <a:cubicBezTo>
                              <a:pt x="3289" y="1116"/>
                              <a:pt x="3469" y="1176"/>
                              <a:pt x="3708" y="1236"/>
                            </a:cubicBezTo>
                            <a:cubicBezTo>
                              <a:pt x="3768" y="1236"/>
                              <a:pt x="3768" y="1236"/>
                              <a:pt x="3827" y="1295"/>
                            </a:cubicBezTo>
                            <a:cubicBezTo>
                              <a:pt x="3887" y="1355"/>
                              <a:pt x="3887" y="1295"/>
                              <a:pt x="3887" y="1355"/>
                            </a:cubicBezTo>
                            <a:cubicBezTo>
                              <a:pt x="3887" y="1355"/>
                              <a:pt x="3947" y="1415"/>
                              <a:pt x="3947" y="1415"/>
                            </a:cubicBezTo>
                            <a:cubicBezTo>
                              <a:pt x="4007" y="1236"/>
                              <a:pt x="4067" y="1236"/>
                              <a:pt x="4067" y="1295"/>
                            </a:cubicBezTo>
                            <a:moveTo>
                              <a:pt x="837" y="5302"/>
                            </a:moveTo>
                            <a:cubicBezTo>
                              <a:pt x="897" y="5362"/>
                              <a:pt x="897" y="5362"/>
                              <a:pt x="957" y="5362"/>
                            </a:cubicBezTo>
                            <a:cubicBezTo>
                              <a:pt x="1017" y="5362"/>
                              <a:pt x="1017" y="5422"/>
                              <a:pt x="1076" y="5422"/>
                            </a:cubicBezTo>
                            <a:cubicBezTo>
                              <a:pt x="1136" y="5422"/>
                              <a:pt x="1136" y="5482"/>
                              <a:pt x="1196" y="5482"/>
                            </a:cubicBezTo>
                            <a:cubicBezTo>
                              <a:pt x="1256" y="5482"/>
                              <a:pt x="1316" y="5542"/>
                              <a:pt x="1316" y="5542"/>
                            </a:cubicBezTo>
                            <a:cubicBezTo>
                              <a:pt x="1435" y="5601"/>
                              <a:pt x="1615" y="5601"/>
                              <a:pt x="1734" y="5661"/>
                            </a:cubicBezTo>
                            <a:cubicBezTo>
                              <a:pt x="1854" y="5721"/>
                              <a:pt x="2033" y="5661"/>
                              <a:pt x="2213" y="5661"/>
                            </a:cubicBezTo>
                            <a:cubicBezTo>
                              <a:pt x="2392" y="5661"/>
                              <a:pt x="2572" y="5601"/>
                              <a:pt x="2691" y="5542"/>
                            </a:cubicBezTo>
                            <a:cubicBezTo>
                              <a:pt x="2811" y="5482"/>
                              <a:pt x="3050" y="5422"/>
                              <a:pt x="3170" y="5302"/>
                            </a:cubicBezTo>
                            <a:cubicBezTo>
                              <a:pt x="3349" y="5183"/>
                              <a:pt x="3528" y="5123"/>
                              <a:pt x="3648" y="5003"/>
                            </a:cubicBezTo>
                            <a:cubicBezTo>
                              <a:pt x="3827" y="4884"/>
                              <a:pt x="3947" y="4764"/>
                              <a:pt x="4067" y="4585"/>
                            </a:cubicBezTo>
                            <a:cubicBezTo>
                              <a:pt x="4186" y="4465"/>
                              <a:pt x="4306" y="4286"/>
                              <a:pt x="4426" y="4106"/>
                            </a:cubicBezTo>
                            <a:cubicBezTo>
                              <a:pt x="4545" y="3927"/>
                              <a:pt x="4665" y="3747"/>
                              <a:pt x="4725" y="3628"/>
                            </a:cubicBezTo>
                            <a:cubicBezTo>
                              <a:pt x="4904" y="3329"/>
                              <a:pt x="5024" y="2970"/>
                              <a:pt x="5083" y="2671"/>
                            </a:cubicBezTo>
                            <a:cubicBezTo>
                              <a:pt x="5143" y="2372"/>
                              <a:pt x="5203" y="2073"/>
                              <a:pt x="5143" y="1774"/>
                            </a:cubicBezTo>
                            <a:cubicBezTo>
                              <a:pt x="5143" y="1475"/>
                              <a:pt x="5083" y="1236"/>
                              <a:pt x="4964" y="996"/>
                            </a:cubicBezTo>
                            <a:cubicBezTo>
                              <a:pt x="4844" y="757"/>
                              <a:pt x="4725" y="578"/>
                              <a:pt x="4486" y="398"/>
                            </a:cubicBezTo>
                            <a:lnTo>
                              <a:pt x="4007" y="99"/>
                            </a:lnTo>
                            <a:cubicBezTo>
                              <a:pt x="3708" y="-21"/>
                              <a:pt x="3409" y="-21"/>
                              <a:pt x="3050" y="39"/>
                            </a:cubicBezTo>
                            <a:cubicBezTo>
                              <a:pt x="2751" y="99"/>
                              <a:pt x="2392" y="219"/>
                              <a:pt x="2033" y="398"/>
                            </a:cubicBezTo>
                            <a:cubicBezTo>
                              <a:pt x="1734" y="578"/>
                              <a:pt x="1375" y="817"/>
                              <a:pt x="1136" y="1116"/>
                            </a:cubicBezTo>
                            <a:cubicBezTo>
                              <a:pt x="897" y="1415"/>
                              <a:pt x="598" y="1714"/>
                              <a:pt x="419" y="2133"/>
                            </a:cubicBezTo>
                            <a:cubicBezTo>
                              <a:pt x="299" y="2312"/>
                              <a:pt x="239" y="2492"/>
                              <a:pt x="179" y="2671"/>
                            </a:cubicBezTo>
                            <a:cubicBezTo>
                              <a:pt x="119" y="2850"/>
                              <a:pt x="60" y="3030"/>
                              <a:pt x="60" y="3209"/>
                            </a:cubicBezTo>
                            <a:cubicBezTo>
                              <a:pt x="60" y="3389"/>
                              <a:pt x="0" y="3568"/>
                              <a:pt x="0" y="3747"/>
                            </a:cubicBezTo>
                            <a:cubicBezTo>
                              <a:pt x="0" y="3927"/>
                              <a:pt x="0" y="4106"/>
                              <a:pt x="60" y="4226"/>
                            </a:cubicBezTo>
                            <a:cubicBezTo>
                              <a:pt x="60" y="4346"/>
                              <a:pt x="119" y="4405"/>
                              <a:pt x="179" y="4525"/>
                            </a:cubicBezTo>
                            <a:cubicBezTo>
                              <a:pt x="239" y="4645"/>
                              <a:pt x="239" y="4704"/>
                              <a:pt x="299" y="4824"/>
                            </a:cubicBezTo>
                            <a:cubicBezTo>
                              <a:pt x="359" y="4884"/>
                              <a:pt x="419" y="5003"/>
                              <a:pt x="478" y="5063"/>
                            </a:cubicBezTo>
                            <a:cubicBezTo>
                              <a:pt x="538" y="5123"/>
                              <a:pt x="778" y="5243"/>
                              <a:pt x="837" y="5302"/>
                            </a:cubicBezTo>
                          </a:path>
                        </a:pathLst>
                      </a:custGeom>
                      <a:noFill/>
                      <a:ln w="6350" cap="flat">
                        <a:solidFill>
                          <a:schemeClr val="bg1">
                            <a:alpha val="40000"/>
                          </a:schemeClr>
                        </a:solidFill>
                        <a:prstDash val="solid"/>
                        <a:miter/>
                      </a:ln>
                    </p:spPr>
                    <p:txBody>
                      <a:bodyPr rtlCol="0" anchor="ctr"/>
                      <a:lstStyle/>
                      <a:p>
                        <a:endParaRPr lang="en-GB"/>
                      </a:p>
                    </p:txBody>
                  </p:sp>
                  <p:sp>
                    <p:nvSpPr>
                      <p:cNvPr id="7443" name="Vrije vorm: vorm 7442">
                        <a:extLst>
                          <a:ext uri="{FF2B5EF4-FFF2-40B4-BE49-F238E27FC236}">
                            <a16:creationId xmlns:a16="http://schemas.microsoft.com/office/drawing/2014/main" id="{34315EF0-E0E5-4AB1-BCBC-E1537F1234E3}"/>
                          </a:ext>
                        </a:extLst>
                      </p:cNvPr>
                      <p:cNvSpPr/>
                      <p:nvPr/>
                    </p:nvSpPr>
                    <p:spPr>
                      <a:xfrm>
                        <a:off x="5358926" y="5305299"/>
                        <a:ext cx="5023" cy="5681"/>
                      </a:xfrm>
                      <a:custGeom>
                        <a:avLst/>
                        <a:gdLst>
                          <a:gd name="connsiteX0" fmla="*/ 3947 w 5023"/>
                          <a:gd name="connsiteY0" fmla="*/ 1256 h 5681"/>
                          <a:gd name="connsiteX1" fmla="*/ 4067 w 5023"/>
                          <a:gd name="connsiteY1" fmla="*/ 1376 h 5681"/>
                          <a:gd name="connsiteX2" fmla="*/ 4187 w 5023"/>
                          <a:gd name="connsiteY2" fmla="*/ 1555 h 5681"/>
                          <a:gd name="connsiteX3" fmla="*/ 4246 w 5023"/>
                          <a:gd name="connsiteY3" fmla="*/ 1735 h 5681"/>
                          <a:gd name="connsiteX4" fmla="*/ 4306 w 5023"/>
                          <a:gd name="connsiteY4" fmla="*/ 1974 h 5681"/>
                          <a:gd name="connsiteX5" fmla="*/ 4366 w 5023"/>
                          <a:gd name="connsiteY5" fmla="*/ 2273 h 5681"/>
                          <a:gd name="connsiteX6" fmla="*/ 4306 w 5023"/>
                          <a:gd name="connsiteY6" fmla="*/ 2632 h 5681"/>
                          <a:gd name="connsiteX7" fmla="*/ 4187 w 5023"/>
                          <a:gd name="connsiteY7" fmla="*/ 2990 h 5681"/>
                          <a:gd name="connsiteX8" fmla="*/ 4007 w 5023"/>
                          <a:gd name="connsiteY8" fmla="*/ 3349 h 5681"/>
                          <a:gd name="connsiteX9" fmla="*/ 3827 w 5023"/>
                          <a:gd name="connsiteY9" fmla="*/ 3708 h 5681"/>
                          <a:gd name="connsiteX10" fmla="*/ 3588 w 5023"/>
                          <a:gd name="connsiteY10" fmla="*/ 4007 h 5681"/>
                          <a:gd name="connsiteX11" fmla="*/ 3289 w 5023"/>
                          <a:gd name="connsiteY11" fmla="*/ 4306 h 5681"/>
                          <a:gd name="connsiteX12" fmla="*/ 2990 w 5023"/>
                          <a:gd name="connsiteY12" fmla="*/ 4545 h 5681"/>
                          <a:gd name="connsiteX13" fmla="*/ 2632 w 5023"/>
                          <a:gd name="connsiteY13" fmla="*/ 4665 h 5681"/>
                          <a:gd name="connsiteX14" fmla="*/ 2273 w 5023"/>
                          <a:gd name="connsiteY14" fmla="*/ 4725 h 5681"/>
                          <a:gd name="connsiteX15" fmla="*/ 1973 w 5023"/>
                          <a:gd name="connsiteY15" fmla="*/ 4725 h 5681"/>
                          <a:gd name="connsiteX16" fmla="*/ 1674 w 5023"/>
                          <a:gd name="connsiteY16" fmla="*/ 4665 h 5681"/>
                          <a:gd name="connsiteX17" fmla="*/ 1316 w 5023"/>
                          <a:gd name="connsiteY17" fmla="*/ 4486 h 5681"/>
                          <a:gd name="connsiteX18" fmla="*/ 897 w 5023"/>
                          <a:gd name="connsiteY18" fmla="*/ 3768 h 5681"/>
                          <a:gd name="connsiteX19" fmla="*/ 837 w 5023"/>
                          <a:gd name="connsiteY19" fmla="*/ 3409 h 5681"/>
                          <a:gd name="connsiteX20" fmla="*/ 837 w 5023"/>
                          <a:gd name="connsiteY20" fmla="*/ 3050 h 5681"/>
                          <a:gd name="connsiteX21" fmla="*/ 957 w 5023"/>
                          <a:gd name="connsiteY21" fmla="*/ 2691 h 5681"/>
                          <a:gd name="connsiteX22" fmla="*/ 1136 w 5023"/>
                          <a:gd name="connsiteY22" fmla="*/ 2333 h 5681"/>
                          <a:gd name="connsiteX23" fmla="*/ 1375 w 5023"/>
                          <a:gd name="connsiteY23" fmla="*/ 1974 h 5681"/>
                          <a:gd name="connsiteX24" fmla="*/ 1615 w 5023"/>
                          <a:gd name="connsiteY24" fmla="*/ 1675 h 5681"/>
                          <a:gd name="connsiteX25" fmla="*/ 1914 w 5023"/>
                          <a:gd name="connsiteY25" fmla="*/ 1376 h 5681"/>
                          <a:gd name="connsiteX26" fmla="*/ 2273 w 5023"/>
                          <a:gd name="connsiteY26" fmla="*/ 1136 h 5681"/>
                          <a:gd name="connsiteX27" fmla="*/ 2572 w 5023"/>
                          <a:gd name="connsiteY27" fmla="*/ 1017 h 5681"/>
                          <a:gd name="connsiteX28" fmla="*/ 2871 w 5023"/>
                          <a:gd name="connsiteY28" fmla="*/ 957 h 5681"/>
                          <a:gd name="connsiteX29" fmla="*/ 3170 w 5023"/>
                          <a:gd name="connsiteY29" fmla="*/ 957 h 5681"/>
                          <a:gd name="connsiteX30" fmla="*/ 3469 w 5023"/>
                          <a:gd name="connsiteY30" fmla="*/ 1017 h 5681"/>
                          <a:gd name="connsiteX31" fmla="*/ 3588 w 5023"/>
                          <a:gd name="connsiteY31" fmla="*/ 1076 h 5681"/>
                          <a:gd name="connsiteX32" fmla="*/ 3648 w 5023"/>
                          <a:gd name="connsiteY32" fmla="*/ 1136 h 5681"/>
                          <a:gd name="connsiteX33" fmla="*/ 3708 w 5023"/>
                          <a:gd name="connsiteY33" fmla="*/ 1196 h 5681"/>
                          <a:gd name="connsiteX34" fmla="*/ 3947 w 5023"/>
                          <a:gd name="connsiteY34" fmla="*/ 1256 h 5681"/>
                          <a:gd name="connsiteX35" fmla="*/ 658 w 5023"/>
                          <a:gd name="connsiteY35" fmla="*/ 5323 h 5681"/>
                          <a:gd name="connsiteX36" fmla="*/ 778 w 5023"/>
                          <a:gd name="connsiteY36" fmla="*/ 5383 h 5681"/>
                          <a:gd name="connsiteX37" fmla="*/ 897 w 5023"/>
                          <a:gd name="connsiteY37" fmla="*/ 5443 h 5681"/>
                          <a:gd name="connsiteX38" fmla="*/ 1017 w 5023"/>
                          <a:gd name="connsiteY38" fmla="*/ 5503 h 5681"/>
                          <a:gd name="connsiteX39" fmla="*/ 1136 w 5023"/>
                          <a:gd name="connsiteY39" fmla="*/ 5562 h 5681"/>
                          <a:gd name="connsiteX40" fmla="*/ 1615 w 5023"/>
                          <a:gd name="connsiteY40" fmla="*/ 5682 h 5681"/>
                          <a:gd name="connsiteX41" fmla="*/ 2093 w 5023"/>
                          <a:gd name="connsiteY41" fmla="*/ 5682 h 5681"/>
                          <a:gd name="connsiteX42" fmla="*/ 2572 w 5023"/>
                          <a:gd name="connsiteY42" fmla="*/ 5562 h 5681"/>
                          <a:gd name="connsiteX43" fmla="*/ 3050 w 5023"/>
                          <a:gd name="connsiteY43" fmla="*/ 5323 h 5681"/>
                          <a:gd name="connsiteX44" fmla="*/ 3528 w 5023"/>
                          <a:gd name="connsiteY44" fmla="*/ 5024 h 5681"/>
                          <a:gd name="connsiteX45" fmla="*/ 3947 w 5023"/>
                          <a:gd name="connsiteY45" fmla="*/ 4605 h 5681"/>
                          <a:gd name="connsiteX46" fmla="*/ 4306 w 5023"/>
                          <a:gd name="connsiteY46" fmla="*/ 4127 h 5681"/>
                          <a:gd name="connsiteX47" fmla="*/ 4605 w 5023"/>
                          <a:gd name="connsiteY47" fmla="*/ 3589 h 5681"/>
                          <a:gd name="connsiteX48" fmla="*/ 4844 w 5023"/>
                          <a:gd name="connsiteY48" fmla="*/ 3050 h 5681"/>
                          <a:gd name="connsiteX49" fmla="*/ 4964 w 5023"/>
                          <a:gd name="connsiteY49" fmla="*/ 2512 h 5681"/>
                          <a:gd name="connsiteX50" fmla="*/ 5024 w 5023"/>
                          <a:gd name="connsiteY50" fmla="*/ 1974 h 5681"/>
                          <a:gd name="connsiteX51" fmla="*/ 4964 w 5023"/>
                          <a:gd name="connsiteY51" fmla="*/ 1435 h 5681"/>
                          <a:gd name="connsiteX52" fmla="*/ 4844 w 5023"/>
                          <a:gd name="connsiteY52" fmla="*/ 1136 h 5681"/>
                          <a:gd name="connsiteX53" fmla="*/ 4725 w 5023"/>
                          <a:gd name="connsiteY53" fmla="*/ 837 h 5681"/>
                          <a:gd name="connsiteX54" fmla="*/ 4545 w 5023"/>
                          <a:gd name="connsiteY54" fmla="*/ 598 h 5681"/>
                          <a:gd name="connsiteX55" fmla="*/ 4366 w 5023"/>
                          <a:gd name="connsiteY55" fmla="*/ 419 h 5681"/>
                          <a:gd name="connsiteX56" fmla="*/ 3887 w 5023"/>
                          <a:gd name="connsiteY56" fmla="*/ 120 h 5681"/>
                          <a:gd name="connsiteX57" fmla="*/ 3469 w 5023"/>
                          <a:gd name="connsiteY57" fmla="*/ 0 h 5681"/>
                          <a:gd name="connsiteX58" fmla="*/ 2990 w 5023"/>
                          <a:gd name="connsiteY58" fmla="*/ 0 h 5681"/>
                          <a:gd name="connsiteX59" fmla="*/ 2512 w 5023"/>
                          <a:gd name="connsiteY59" fmla="*/ 120 h 5681"/>
                          <a:gd name="connsiteX60" fmla="*/ 2033 w 5023"/>
                          <a:gd name="connsiteY60" fmla="*/ 359 h 5681"/>
                          <a:gd name="connsiteX61" fmla="*/ 1555 w 5023"/>
                          <a:gd name="connsiteY61" fmla="*/ 658 h 5681"/>
                          <a:gd name="connsiteX62" fmla="*/ 1136 w 5023"/>
                          <a:gd name="connsiteY62" fmla="*/ 1076 h 5681"/>
                          <a:gd name="connsiteX63" fmla="*/ 778 w 5023"/>
                          <a:gd name="connsiteY63" fmla="*/ 1555 h 5681"/>
                          <a:gd name="connsiteX64" fmla="*/ 478 w 5023"/>
                          <a:gd name="connsiteY64" fmla="*/ 2093 h 5681"/>
                          <a:gd name="connsiteX65" fmla="*/ 239 w 5023"/>
                          <a:gd name="connsiteY65" fmla="*/ 2632 h 5681"/>
                          <a:gd name="connsiteX66" fmla="*/ 60 w 5023"/>
                          <a:gd name="connsiteY66" fmla="*/ 3170 h 5681"/>
                          <a:gd name="connsiteX67" fmla="*/ 0 w 5023"/>
                          <a:gd name="connsiteY67" fmla="*/ 3708 h 5681"/>
                          <a:gd name="connsiteX68" fmla="*/ 60 w 5023"/>
                          <a:gd name="connsiteY68" fmla="*/ 4187 h 5681"/>
                          <a:gd name="connsiteX69" fmla="*/ 119 w 5023"/>
                          <a:gd name="connsiteY69" fmla="*/ 4486 h 5681"/>
                          <a:gd name="connsiteX70" fmla="*/ 239 w 5023"/>
                          <a:gd name="connsiteY70" fmla="*/ 4785 h 5681"/>
                          <a:gd name="connsiteX71" fmla="*/ 419 w 5023"/>
                          <a:gd name="connsiteY71" fmla="*/ 5024 h 5681"/>
                          <a:gd name="connsiteX72" fmla="*/ 658 w 5023"/>
                          <a:gd name="connsiteY72" fmla="*/ 5323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023" h="5681">
                            <a:moveTo>
                              <a:pt x="3947" y="1256"/>
                            </a:moveTo>
                            <a:cubicBezTo>
                              <a:pt x="4007" y="1316"/>
                              <a:pt x="4067" y="1316"/>
                              <a:pt x="4067" y="1376"/>
                            </a:cubicBezTo>
                            <a:cubicBezTo>
                              <a:pt x="4127" y="1435"/>
                              <a:pt x="4127" y="1495"/>
                              <a:pt x="4187" y="1555"/>
                            </a:cubicBezTo>
                            <a:cubicBezTo>
                              <a:pt x="4246" y="1615"/>
                              <a:pt x="4246" y="1675"/>
                              <a:pt x="4246" y="1735"/>
                            </a:cubicBezTo>
                            <a:cubicBezTo>
                              <a:pt x="4246" y="1794"/>
                              <a:pt x="4306" y="1854"/>
                              <a:pt x="4306" y="1974"/>
                            </a:cubicBezTo>
                            <a:cubicBezTo>
                              <a:pt x="4306" y="2093"/>
                              <a:pt x="4366" y="2213"/>
                              <a:pt x="4366" y="2273"/>
                            </a:cubicBezTo>
                            <a:cubicBezTo>
                              <a:pt x="4366" y="2392"/>
                              <a:pt x="4366" y="2512"/>
                              <a:pt x="4306" y="2632"/>
                            </a:cubicBezTo>
                            <a:cubicBezTo>
                              <a:pt x="4306" y="2751"/>
                              <a:pt x="4246" y="2871"/>
                              <a:pt x="4187" y="2990"/>
                            </a:cubicBezTo>
                            <a:cubicBezTo>
                              <a:pt x="4127" y="3110"/>
                              <a:pt x="4067" y="3230"/>
                              <a:pt x="4007" y="3349"/>
                            </a:cubicBezTo>
                            <a:cubicBezTo>
                              <a:pt x="3947" y="3469"/>
                              <a:pt x="3887" y="3589"/>
                              <a:pt x="3827" y="3708"/>
                            </a:cubicBezTo>
                            <a:cubicBezTo>
                              <a:pt x="3768" y="3828"/>
                              <a:pt x="3648" y="3947"/>
                              <a:pt x="3588" y="4007"/>
                            </a:cubicBezTo>
                            <a:cubicBezTo>
                              <a:pt x="3469" y="4127"/>
                              <a:pt x="3409" y="4187"/>
                              <a:pt x="3289" y="4306"/>
                            </a:cubicBezTo>
                            <a:cubicBezTo>
                              <a:pt x="3170" y="4366"/>
                              <a:pt x="3050" y="4486"/>
                              <a:pt x="2990" y="4545"/>
                            </a:cubicBezTo>
                            <a:cubicBezTo>
                              <a:pt x="2871" y="4605"/>
                              <a:pt x="2751" y="4665"/>
                              <a:pt x="2632" y="4665"/>
                            </a:cubicBezTo>
                            <a:cubicBezTo>
                              <a:pt x="2512" y="4725"/>
                              <a:pt x="2392" y="4725"/>
                              <a:pt x="2273" y="4725"/>
                            </a:cubicBezTo>
                            <a:cubicBezTo>
                              <a:pt x="2153" y="4725"/>
                              <a:pt x="2033" y="4725"/>
                              <a:pt x="1973" y="4725"/>
                            </a:cubicBezTo>
                            <a:cubicBezTo>
                              <a:pt x="1854" y="4725"/>
                              <a:pt x="1794" y="4665"/>
                              <a:pt x="1674" y="4665"/>
                            </a:cubicBezTo>
                            <a:lnTo>
                              <a:pt x="1316" y="4486"/>
                            </a:lnTo>
                            <a:lnTo>
                              <a:pt x="897" y="3768"/>
                            </a:lnTo>
                            <a:cubicBezTo>
                              <a:pt x="897" y="3649"/>
                              <a:pt x="837" y="3529"/>
                              <a:pt x="837" y="3409"/>
                            </a:cubicBezTo>
                            <a:cubicBezTo>
                              <a:pt x="837" y="3289"/>
                              <a:pt x="837" y="3170"/>
                              <a:pt x="837" y="3050"/>
                            </a:cubicBezTo>
                            <a:cubicBezTo>
                              <a:pt x="837" y="2930"/>
                              <a:pt x="897" y="2811"/>
                              <a:pt x="957" y="2691"/>
                            </a:cubicBezTo>
                            <a:cubicBezTo>
                              <a:pt x="1017" y="2572"/>
                              <a:pt x="1076" y="2452"/>
                              <a:pt x="1136" y="2333"/>
                            </a:cubicBezTo>
                            <a:cubicBezTo>
                              <a:pt x="1196" y="2213"/>
                              <a:pt x="1256" y="2093"/>
                              <a:pt x="1375" y="1974"/>
                            </a:cubicBezTo>
                            <a:cubicBezTo>
                              <a:pt x="1435" y="1854"/>
                              <a:pt x="1555" y="1735"/>
                              <a:pt x="1615" y="1675"/>
                            </a:cubicBezTo>
                            <a:cubicBezTo>
                              <a:pt x="1734" y="1555"/>
                              <a:pt x="1794" y="1495"/>
                              <a:pt x="1914" y="1376"/>
                            </a:cubicBezTo>
                            <a:cubicBezTo>
                              <a:pt x="2033" y="1256"/>
                              <a:pt x="2153" y="1196"/>
                              <a:pt x="2273" y="1136"/>
                            </a:cubicBezTo>
                            <a:cubicBezTo>
                              <a:pt x="2392" y="1076"/>
                              <a:pt x="2512" y="1017"/>
                              <a:pt x="2572" y="1017"/>
                            </a:cubicBezTo>
                            <a:cubicBezTo>
                              <a:pt x="2691" y="957"/>
                              <a:pt x="2811" y="957"/>
                              <a:pt x="2871" y="957"/>
                            </a:cubicBezTo>
                            <a:cubicBezTo>
                              <a:pt x="2990" y="957"/>
                              <a:pt x="3110" y="957"/>
                              <a:pt x="3170" y="957"/>
                            </a:cubicBezTo>
                            <a:cubicBezTo>
                              <a:pt x="3289" y="957"/>
                              <a:pt x="3409" y="1017"/>
                              <a:pt x="3469" y="1017"/>
                            </a:cubicBezTo>
                            <a:cubicBezTo>
                              <a:pt x="3528" y="1017"/>
                              <a:pt x="3528" y="1017"/>
                              <a:pt x="3588" y="1076"/>
                            </a:cubicBezTo>
                            <a:cubicBezTo>
                              <a:pt x="3648" y="1076"/>
                              <a:pt x="3648" y="1076"/>
                              <a:pt x="3648" y="1136"/>
                            </a:cubicBezTo>
                            <a:cubicBezTo>
                              <a:pt x="3648" y="1136"/>
                              <a:pt x="3708" y="1196"/>
                              <a:pt x="3708" y="1196"/>
                            </a:cubicBezTo>
                            <a:cubicBezTo>
                              <a:pt x="3708" y="1196"/>
                              <a:pt x="3887" y="1256"/>
                              <a:pt x="3947" y="1256"/>
                            </a:cubicBezTo>
                            <a:moveTo>
                              <a:pt x="658" y="5323"/>
                            </a:moveTo>
                            <a:cubicBezTo>
                              <a:pt x="718" y="5383"/>
                              <a:pt x="718" y="5383"/>
                              <a:pt x="778" y="5383"/>
                            </a:cubicBezTo>
                            <a:cubicBezTo>
                              <a:pt x="837" y="5383"/>
                              <a:pt x="837" y="5443"/>
                              <a:pt x="897" y="5443"/>
                            </a:cubicBezTo>
                            <a:cubicBezTo>
                              <a:pt x="957" y="5443"/>
                              <a:pt x="957" y="5503"/>
                              <a:pt x="1017" y="5503"/>
                            </a:cubicBezTo>
                            <a:cubicBezTo>
                              <a:pt x="1076" y="5503"/>
                              <a:pt x="1136" y="5562"/>
                              <a:pt x="1136" y="5562"/>
                            </a:cubicBezTo>
                            <a:cubicBezTo>
                              <a:pt x="1256" y="5622"/>
                              <a:pt x="1435" y="5682"/>
                              <a:pt x="1615" y="5682"/>
                            </a:cubicBezTo>
                            <a:cubicBezTo>
                              <a:pt x="1794" y="5682"/>
                              <a:pt x="1914" y="5682"/>
                              <a:pt x="2093" y="5682"/>
                            </a:cubicBezTo>
                            <a:cubicBezTo>
                              <a:pt x="2273" y="5682"/>
                              <a:pt x="2452" y="5622"/>
                              <a:pt x="2572" y="5562"/>
                            </a:cubicBezTo>
                            <a:cubicBezTo>
                              <a:pt x="2691" y="5503"/>
                              <a:pt x="2930" y="5443"/>
                              <a:pt x="3050" y="5323"/>
                            </a:cubicBezTo>
                            <a:cubicBezTo>
                              <a:pt x="3229" y="5203"/>
                              <a:pt x="3349" y="5144"/>
                              <a:pt x="3528" y="5024"/>
                            </a:cubicBezTo>
                            <a:cubicBezTo>
                              <a:pt x="3708" y="4904"/>
                              <a:pt x="3827" y="4785"/>
                              <a:pt x="3947" y="4605"/>
                            </a:cubicBezTo>
                            <a:cubicBezTo>
                              <a:pt x="4067" y="4426"/>
                              <a:pt x="4187" y="4306"/>
                              <a:pt x="4306" y="4127"/>
                            </a:cubicBezTo>
                            <a:cubicBezTo>
                              <a:pt x="4426" y="3947"/>
                              <a:pt x="4545" y="3768"/>
                              <a:pt x="4605" y="3589"/>
                            </a:cubicBezTo>
                            <a:cubicBezTo>
                              <a:pt x="4725" y="3409"/>
                              <a:pt x="4785" y="3230"/>
                              <a:pt x="4844" y="3050"/>
                            </a:cubicBezTo>
                            <a:cubicBezTo>
                              <a:pt x="4904" y="2871"/>
                              <a:pt x="4964" y="2691"/>
                              <a:pt x="4964" y="2512"/>
                            </a:cubicBezTo>
                            <a:cubicBezTo>
                              <a:pt x="5024" y="2333"/>
                              <a:pt x="5024" y="2153"/>
                              <a:pt x="5024" y="1974"/>
                            </a:cubicBezTo>
                            <a:cubicBezTo>
                              <a:pt x="5024" y="1794"/>
                              <a:pt x="5024" y="1615"/>
                              <a:pt x="4964" y="1435"/>
                            </a:cubicBezTo>
                            <a:cubicBezTo>
                              <a:pt x="4964" y="1316"/>
                              <a:pt x="4904" y="1256"/>
                              <a:pt x="4844" y="1136"/>
                            </a:cubicBezTo>
                            <a:cubicBezTo>
                              <a:pt x="4785" y="1017"/>
                              <a:pt x="4785" y="957"/>
                              <a:pt x="4725" y="837"/>
                            </a:cubicBezTo>
                            <a:cubicBezTo>
                              <a:pt x="4665" y="718"/>
                              <a:pt x="4605" y="658"/>
                              <a:pt x="4545" y="598"/>
                            </a:cubicBezTo>
                            <a:cubicBezTo>
                              <a:pt x="4486" y="538"/>
                              <a:pt x="4426" y="479"/>
                              <a:pt x="4366" y="419"/>
                            </a:cubicBezTo>
                            <a:lnTo>
                              <a:pt x="3887" y="120"/>
                            </a:lnTo>
                            <a:cubicBezTo>
                              <a:pt x="3768" y="60"/>
                              <a:pt x="3588" y="60"/>
                              <a:pt x="3469" y="0"/>
                            </a:cubicBezTo>
                            <a:cubicBezTo>
                              <a:pt x="3289" y="0"/>
                              <a:pt x="3170" y="0"/>
                              <a:pt x="2990" y="0"/>
                            </a:cubicBezTo>
                            <a:cubicBezTo>
                              <a:pt x="2811" y="0"/>
                              <a:pt x="2632" y="60"/>
                              <a:pt x="2512" y="120"/>
                            </a:cubicBezTo>
                            <a:cubicBezTo>
                              <a:pt x="2332" y="180"/>
                              <a:pt x="2153" y="239"/>
                              <a:pt x="2033" y="359"/>
                            </a:cubicBezTo>
                            <a:cubicBezTo>
                              <a:pt x="1854" y="419"/>
                              <a:pt x="1674" y="538"/>
                              <a:pt x="1555" y="658"/>
                            </a:cubicBezTo>
                            <a:cubicBezTo>
                              <a:pt x="1435" y="778"/>
                              <a:pt x="1256" y="897"/>
                              <a:pt x="1136" y="1076"/>
                            </a:cubicBezTo>
                            <a:cubicBezTo>
                              <a:pt x="1017" y="1256"/>
                              <a:pt x="897" y="1376"/>
                              <a:pt x="778" y="1555"/>
                            </a:cubicBezTo>
                            <a:cubicBezTo>
                              <a:pt x="658" y="1735"/>
                              <a:pt x="538" y="1914"/>
                              <a:pt x="478" y="2093"/>
                            </a:cubicBezTo>
                            <a:cubicBezTo>
                              <a:pt x="359" y="2273"/>
                              <a:pt x="299" y="2452"/>
                              <a:pt x="239" y="2632"/>
                            </a:cubicBezTo>
                            <a:cubicBezTo>
                              <a:pt x="179" y="2811"/>
                              <a:pt x="119" y="2990"/>
                              <a:pt x="60" y="3170"/>
                            </a:cubicBezTo>
                            <a:cubicBezTo>
                              <a:pt x="0" y="3349"/>
                              <a:pt x="0" y="3529"/>
                              <a:pt x="0" y="3708"/>
                            </a:cubicBezTo>
                            <a:cubicBezTo>
                              <a:pt x="0" y="3888"/>
                              <a:pt x="0" y="4067"/>
                              <a:pt x="60" y="4187"/>
                            </a:cubicBezTo>
                            <a:cubicBezTo>
                              <a:pt x="60" y="4306"/>
                              <a:pt x="119" y="4366"/>
                              <a:pt x="119" y="4486"/>
                            </a:cubicBezTo>
                            <a:cubicBezTo>
                              <a:pt x="179" y="4605"/>
                              <a:pt x="179" y="4665"/>
                              <a:pt x="239" y="4785"/>
                            </a:cubicBezTo>
                            <a:cubicBezTo>
                              <a:pt x="299" y="4844"/>
                              <a:pt x="359" y="4964"/>
                              <a:pt x="419" y="5024"/>
                            </a:cubicBezTo>
                            <a:cubicBezTo>
                              <a:pt x="538" y="5203"/>
                              <a:pt x="598" y="5263"/>
                              <a:pt x="658" y="5323"/>
                            </a:cubicBezTo>
                          </a:path>
                        </a:pathLst>
                      </a:custGeom>
                      <a:noFill/>
                      <a:ln w="6350" cap="flat">
                        <a:solidFill>
                          <a:schemeClr val="bg1">
                            <a:alpha val="40000"/>
                          </a:schemeClr>
                        </a:solidFill>
                        <a:prstDash val="solid"/>
                        <a:miter/>
                      </a:ln>
                    </p:spPr>
                    <p:txBody>
                      <a:bodyPr rtlCol="0" anchor="ctr"/>
                      <a:lstStyle/>
                      <a:p>
                        <a:endParaRPr lang="en-GB"/>
                      </a:p>
                    </p:txBody>
                  </p:sp>
                  <p:sp>
                    <p:nvSpPr>
                      <p:cNvPr id="7444" name="Vrije vorm: vorm 7443">
                        <a:extLst>
                          <a:ext uri="{FF2B5EF4-FFF2-40B4-BE49-F238E27FC236}">
                            <a16:creationId xmlns:a16="http://schemas.microsoft.com/office/drawing/2014/main" id="{BFC49A68-E72D-46C0-9B61-748184E748F5}"/>
                          </a:ext>
                        </a:extLst>
                      </p:cNvPr>
                      <p:cNvSpPr/>
                      <p:nvPr/>
                    </p:nvSpPr>
                    <p:spPr>
                      <a:xfrm>
                        <a:off x="5352083" y="5289990"/>
                        <a:ext cx="14716" cy="16145"/>
                      </a:xfrm>
                      <a:custGeom>
                        <a:avLst/>
                        <a:gdLst>
                          <a:gd name="connsiteX0" fmla="*/ 6484 w 14716"/>
                          <a:gd name="connsiteY0" fmla="*/ 14830 h 16145"/>
                          <a:gd name="connsiteX1" fmla="*/ 5826 w 14716"/>
                          <a:gd name="connsiteY1" fmla="*/ 14890 h 16145"/>
                          <a:gd name="connsiteX2" fmla="*/ 5168 w 14716"/>
                          <a:gd name="connsiteY2" fmla="*/ 14890 h 16145"/>
                          <a:gd name="connsiteX3" fmla="*/ 4510 w 14716"/>
                          <a:gd name="connsiteY3" fmla="*/ 14830 h 16145"/>
                          <a:gd name="connsiteX4" fmla="*/ 3912 w 14716"/>
                          <a:gd name="connsiteY4" fmla="*/ 14651 h 16145"/>
                          <a:gd name="connsiteX5" fmla="*/ 3554 w 14716"/>
                          <a:gd name="connsiteY5" fmla="*/ 14531 h 16145"/>
                          <a:gd name="connsiteX6" fmla="*/ 3254 w 14716"/>
                          <a:gd name="connsiteY6" fmla="*/ 14352 h 16145"/>
                          <a:gd name="connsiteX7" fmla="*/ 2955 w 14716"/>
                          <a:gd name="connsiteY7" fmla="*/ 14172 h 16145"/>
                          <a:gd name="connsiteX8" fmla="*/ 2656 w 14716"/>
                          <a:gd name="connsiteY8" fmla="*/ 13993 h 16145"/>
                          <a:gd name="connsiteX9" fmla="*/ 2298 w 14716"/>
                          <a:gd name="connsiteY9" fmla="*/ 13634 h 16145"/>
                          <a:gd name="connsiteX10" fmla="*/ 1999 w 14716"/>
                          <a:gd name="connsiteY10" fmla="*/ 13275 h 16145"/>
                          <a:gd name="connsiteX11" fmla="*/ 1759 w 14716"/>
                          <a:gd name="connsiteY11" fmla="*/ 12857 h 16145"/>
                          <a:gd name="connsiteX12" fmla="*/ 1520 w 14716"/>
                          <a:gd name="connsiteY12" fmla="*/ 12438 h 16145"/>
                          <a:gd name="connsiteX13" fmla="*/ 1400 w 14716"/>
                          <a:gd name="connsiteY13" fmla="*/ 12199 h 16145"/>
                          <a:gd name="connsiteX14" fmla="*/ 1281 w 14716"/>
                          <a:gd name="connsiteY14" fmla="*/ 11959 h 16145"/>
                          <a:gd name="connsiteX15" fmla="*/ 1221 w 14716"/>
                          <a:gd name="connsiteY15" fmla="*/ 11720 h 16145"/>
                          <a:gd name="connsiteX16" fmla="*/ 1161 w 14716"/>
                          <a:gd name="connsiteY16" fmla="*/ 11421 h 16145"/>
                          <a:gd name="connsiteX17" fmla="*/ 1041 w 14716"/>
                          <a:gd name="connsiteY17" fmla="*/ 10285 h 16145"/>
                          <a:gd name="connsiteX18" fmla="*/ 1101 w 14716"/>
                          <a:gd name="connsiteY18" fmla="*/ 9089 h 16145"/>
                          <a:gd name="connsiteX19" fmla="*/ 1400 w 14716"/>
                          <a:gd name="connsiteY19" fmla="*/ 7833 h 16145"/>
                          <a:gd name="connsiteX20" fmla="*/ 1879 w 14716"/>
                          <a:gd name="connsiteY20" fmla="*/ 6577 h 16145"/>
                          <a:gd name="connsiteX21" fmla="*/ 1939 w 14716"/>
                          <a:gd name="connsiteY21" fmla="*/ 6457 h 16145"/>
                          <a:gd name="connsiteX22" fmla="*/ 1999 w 14716"/>
                          <a:gd name="connsiteY22" fmla="*/ 6338 h 16145"/>
                          <a:gd name="connsiteX23" fmla="*/ 2058 w 14716"/>
                          <a:gd name="connsiteY23" fmla="*/ 6218 h 16145"/>
                          <a:gd name="connsiteX24" fmla="*/ 2118 w 14716"/>
                          <a:gd name="connsiteY24" fmla="*/ 6098 h 16145"/>
                          <a:gd name="connsiteX25" fmla="*/ 2178 w 14716"/>
                          <a:gd name="connsiteY25" fmla="*/ 5979 h 16145"/>
                          <a:gd name="connsiteX26" fmla="*/ 2238 w 14716"/>
                          <a:gd name="connsiteY26" fmla="*/ 5859 h 16145"/>
                          <a:gd name="connsiteX27" fmla="*/ 2298 w 14716"/>
                          <a:gd name="connsiteY27" fmla="*/ 5740 h 16145"/>
                          <a:gd name="connsiteX28" fmla="*/ 2357 w 14716"/>
                          <a:gd name="connsiteY28" fmla="*/ 5620 h 16145"/>
                          <a:gd name="connsiteX29" fmla="*/ 4152 w 14716"/>
                          <a:gd name="connsiteY29" fmla="*/ 3347 h 16145"/>
                          <a:gd name="connsiteX30" fmla="*/ 6304 w 14716"/>
                          <a:gd name="connsiteY30" fmla="*/ 1792 h 16145"/>
                          <a:gd name="connsiteX31" fmla="*/ 8637 w 14716"/>
                          <a:gd name="connsiteY31" fmla="*/ 1074 h 16145"/>
                          <a:gd name="connsiteX32" fmla="*/ 10850 w 14716"/>
                          <a:gd name="connsiteY32" fmla="*/ 1314 h 16145"/>
                          <a:gd name="connsiteX33" fmla="*/ 11149 w 14716"/>
                          <a:gd name="connsiteY33" fmla="*/ 1433 h 16145"/>
                          <a:gd name="connsiteX34" fmla="*/ 11448 w 14716"/>
                          <a:gd name="connsiteY34" fmla="*/ 1613 h 16145"/>
                          <a:gd name="connsiteX35" fmla="*/ 11747 w 14716"/>
                          <a:gd name="connsiteY35" fmla="*/ 1792 h 16145"/>
                          <a:gd name="connsiteX36" fmla="*/ 12046 w 14716"/>
                          <a:gd name="connsiteY36" fmla="*/ 2032 h 16145"/>
                          <a:gd name="connsiteX37" fmla="*/ 13003 w 14716"/>
                          <a:gd name="connsiteY37" fmla="*/ 3168 h 16145"/>
                          <a:gd name="connsiteX38" fmla="*/ 13541 w 14716"/>
                          <a:gd name="connsiteY38" fmla="*/ 4663 h 16145"/>
                          <a:gd name="connsiteX39" fmla="*/ 13601 w 14716"/>
                          <a:gd name="connsiteY39" fmla="*/ 6338 h 16145"/>
                          <a:gd name="connsiteX40" fmla="*/ 13242 w 14716"/>
                          <a:gd name="connsiteY40" fmla="*/ 8192 h 16145"/>
                          <a:gd name="connsiteX41" fmla="*/ 13182 w 14716"/>
                          <a:gd name="connsiteY41" fmla="*/ 8431 h 16145"/>
                          <a:gd name="connsiteX42" fmla="*/ 13123 w 14716"/>
                          <a:gd name="connsiteY42" fmla="*/ 8670 h 16145"/>
                          <a:gd name="connsiteX43" fmla="*/ 13063 w 14716"/>
                          <a:gd name="connsiteY43" fmla="*/ 8909 h 16145"/>
                          <a:gd name="connsiteX44" fmla="*/ 12943 w 14716"/>
                          <a:gd name="connsiteY44" fmla="*/ 9149 h 16145"/>
                          <a:gd name="connsiteX45" fmla="*/ 12883 w 14716"/>
                          <a:gd name="connsiteY45" fmla="*/ 9328 h 16145"/>
                          <a:gd name="connsiteX46" fmla="*/ 12824 w 14716"/>
                          <a:gd name="connsiteY46" fmla="*/ 9507 h 16145"/>
                          <a:gd name="connsiteX47" fmla="*/ 12764 w 14716"/>
                          <a:gd name="connsiteY47" fmla="*/ 9687 h 16145"/>
                          <a:gd name="connsiteX48" fmla="*/ 12704 w 14716"/>
                          <a:gd name="connsiteY48" fmla="*/ 9866 h 16145"/>
                          <a:gd name="connsiteX49" fmla="*/ 11687 w 14716"/>
                          <a:gd name="connsiteY49" fmla="*/ 11481 h 16145"/>
                          <a:gd name="connsiteX50" fmla="*/ 10431 w 14716"/>
                          <a:gd name="connsiteY50" fmla="*/ 12797 h 16145"/>
                          <a:gd name="connsiteX51" fmla="*/ 8996 w 14716"/>
                          <a:gd name="connsiteY51" fmla="*/ 13813 h 16145"/>
                          <a:gd name="connsiteX52" fmla="*/ 7501 w 14716"/>
                          <a:gd name="connsiteY52" fmla="*/ 14531 h 16145"/>
                          <a:gd name="connsiteX53" fmla="*/ 7262 w 14716"/>
                          <a:gd name="connsiteY53" fmla="*/ 14591 h 16145"/>
                          <a:gd name="connsiteX54" fmla="*/ 7022 w 14716"/>
                          <a:gd name="connsiteY54" fmla="*/ 14651 h 16145"/>
                          <a:gd name="connsiteX55" fmla="*/ 6783 w 14716"/>
                          <a:gd name="connsiteY55" fmla="*/ 14711 h 16145"/>
                          <a:gd name="connsiteX56" fmla="*/ 6484 w 14716"/>
                          <a:gd name="connsiteY56" fmla="*/ 14830 h 16145"/>
                          <a:gd name="connsiteX57" fmla="*/ 2596 w 14716"/>
                          <a:gd name="connsiteY57" fmla="*/ 14112 h 16145"/>
                          <a:gd name="connsiteX58" fmla="*/ 2895 w 14716"/>
                          <a:gd name="connsiteY58" fmla="*/ 14292 h 16145"/>
                          <a:gd name="connsiteX59" fmla="*/ 3194 w 14716"/>
                          <a:gd name="connsiteY59" fmla="*/ 14472 h 16145"/>
                          <a:gd name="connsiteX60" fmla="*/ 3494 w 14716"/>
                          <a:gd name="connsiteY60" fmla="*/ 14651 h 16145"/>
                          <a:gd name="connsiteX61" fmla="*/ 3853 w 14716"/>
                          <a:gd name="connsiteY61" fmla="*/ 14771 h 16145"/>
                          <a:gd name="connsiteX62" fmla="*/ 6185 w 14716"/>
                          <a:gd name="connsiteY62" fmla="*/ 14950 h 16145"/>
                          <a:gd name="connsiteX63" fmla="*/ 8637 w 14716"/>
                          <a:gd name="connsiteY63" fmla="*/ 14112 h 16145"/>
                          <a:gd name="connsiteX64" fmla="*/ 10910 w 14716"/>
                          <a:gd name="connsiteY64" fmla="*/ 12378 h 16145"/>
                          <a:gd name="connsiteX65" fmla="*/ 12704 w 14716"/>
                          <a:gd name="connsiteY65" fmla="*/ 9926 h 16145"/>
                          <a:gd name="connsiteX66" fmla="*/ 13302 w 14716"/>
                          <a:gd name="connsiteY66" fmla="*/ 8550 h 16145"/>
                          <a:gd name="connsiteX67" fmla="*/ 13661 w 14716"/>
                          <a:gd name="connsiteY67" fmla="*/ 7175 h 16145"/>
                          <a:gd name="connsiteX68" fmla="*/ 13780 w 14716"/>
                          <a:gd name="connsiteY68" fmla="*/ 5859 h 16145"/>
                          <a:gd name="connsiteX69" fmla="*/ 13661 w 14716"/>
                          <a:gd name="connsiteY69" fmla="*/ 4603 h 16145"/>
                          <a:gd name="connsiteX70" fmla="*/ 13422 w 14716"/>
                          <a:gd name="connsiteY70" fmla="*/ 3826 h 16145"/>
                          <a:gd name="connsiteX71" fmla="*/ 13123 w 14716"/>
                          <a:gd name="connsiteY71" fmla="*/ 3108 h 16145"/>
                          <a:gd name="connsiteX72" fmla="*/ 12704 w 14716"/>
                          <a:gd name="connsiteY72" fmla="*/ 2510 h 16145"/>
                          <a:gd name="connsiteX73" fmla="*/ 12165 w 14716"/>
                          <a:gd name="connsiteY73" fmla="*/ 1972 h 16145"/>
                          <a:gd name="connsiteX74" fmla="*/ 11867 w 14716"/>
                          <a:gd name="connsiteY74" fmla="*/ 1733 h 16145"/>
                          <a:gd name="connsiteX75" fmla="*/ 11568 w 14716"/>
                          <a:gd name="connsiteY75" fmla="*/ 1553 h 16145"/>
                          <a:gd name="connsiteX76" fmla="*/ 11269 w 14716"/>
                          <a:gd name="connsiteY76" fmla="*/ 1374 h 16145"/>
                          <a:gd name="connsiteX77" fmla="*/ 10910 w 14716"/>
                          <a:gd name="connsiteY77" fmla="*/ 1254 h 16145"/>
                          <a:gd name="connsiteX78" fmla="*/ 8577 w 14716"/>
                          <a:gd name="connsiteY78" fmla="*/ 1015 h 16145"/>
                          <a:gd name="connsiteX79" fmla="*/ 6125 w 14716"/>
                          <a:gd name="connsiteY79" fmla="*/ 1852 h 16145"/>
                          <a:gd name="connsiteX80" fmla="*/ 3853 w 14716"/>
                          <a:gd name="connsiteY80" fmla="*/ 3587 h 16145"/>
                          <a:gd name="connsiteX81" fmla="*/ 2058 w 14716"/>
                          <a:gd name="connsiteY81" fmla="*/ 6039 h 16145"/>
                          <a:gd name="connsiteX82" fmla="*/ 1161 w 14716"/>
                          <a:gd name="connsiteY82" fmla="*/ 8371 h 16145"/>
                          <a:gd name="connsiteX83" fmla="*/ 982 w 14716"/>
                          <a:gd name="connsiteY83" fmla="*/ 10584 h 16145"/>
                          <a:gd name="connsiteX84" fmla="*/ 1460 w 14716"/>
                          <a:gd name="connsiteY84" fmla="*/ 12498 h 16145"/>
                          <a:gd name="connsiteX85" fmla="*/ 2596 w 14716"/>
                          <a:gd name="connsiteY85" fmla="*/ 14112 h 16145"/>
                          <a:gd name="connsiteX86" fmla="*/ 12764 w 14716"/>
                          <a:gd name="connsiteY86" fmla="*/ 1254 h 16145"/>
                          <a:gd name="connsiteX87" fmla="*/ 13362 w 14716"/>
                          <a:gd name="connsiteY87" fmla="*/ 1852 h 16145"/>
                          <a:gd name="connsiteX88" fmla="*/ 13840 w 14716"/>
                          <a:gd name="connsiteY88" fmla="*/ 2570 h 16145"/>
                          <a:gd name="connsiteX89" fmla="*/ 14199 w 14716"/>
                          <a:gd name="connsiteY89" fmla="*/ 3347 h 16145"/>
                          <a:gd name="connsiteX90" fmla="*/ 14438 w 14716"/>
                          <a:gd name="connsiteY90" fmla="*/ 4244 h 16145"/>
                          <a:gd name="connsiteX91" fmla="*/ 14558 w 14716"/>
                          <a:gd name="connsiteY91" fmla="*/ 5680 h 16145"/>
                          <a:gd name="connsiteX92" fmla="*/ 14438 w 14716"/>
                          <a:gd name="connsiteY92" fmla="*/ 7175 h 16145"/>
                          <a:gd name="connsiteX93" fmla="*/ 14020 w 14716"/>
                          <a:gd name="connsiteY93" fmla="*/ 8730 h 16145"/>
                          <a:gd name="connsiteX94" fmla="*/ 13362 w 14716"/>
                          <a:gd name="connsiteY94" fmla="*/ 10285 h 16145"/>
                          <a:gd name="connsiteX95" fmla="*/ 11328 w 14716"/>
                          <a:gd name="connsiteY95" fmla="*/ 13096 h 16145"/>
                          <a:gd name="connsiteX96" fmla="*/ 8757 w 14716"/>
                          <a:gd name="connsiteY96" fmla="*/ 15069 h 16145"/>
                          <a:gd name="connsiteX97" fmla="*/ 6006 w 14716"/>
                          <a:gd name="connsiteY97" fmla="*/ 16026 h 16145"/>
                          <a:gd name="connsiteX98" fmla="*/ 3374 w 14716"/>
                          <a:gd name="connsiteY98" fmla="*/ 15787 h 16145"/>
                          <a:gd name="connsiteX99" fmla="*/ 3015 w 14716"/>
                          <a:gd name="connsiteY99" fmla="*/ 15608 h 16145"/>
                          <a:gd name="connsiteX100" fmla="*/ 2656 w 14716"/>
                          <a:gd name="connsiteY100" fmla="*/ 15428 h 16145"/>
                          <a:gd name="connsiteX101" fmla="*/ 2298 w 14716"/>
                          <a:gd name="connsiteY101" fmla="*/ 15249 h 16145"/>
                          <a:gd name="connsiteX102" fmla="*/ 1999 w 14716"/>
                          <a:gd name="connsiteY102" fmla="*/ 15010 h 16145"/>
                          <a:gd name="connsiteX103" fmla="*/ 742 w 14716"/>
                          <a:gd name="connsiteY103" fmla="*/ 13395 h 16145"/>
                          <a:gd name="connsiteX104" fmla="*/ 204 w 14716"/>
                          <a:gd name="connsiteY104" fmla="*/ 11242 h 16145"/>
                          <a:gd name="connsiteX105" fmla="*/ 384 w 14716"/>
                          <a:gd name="connsiteY105" fmla="*/ 8730 h 16145"/>
                          <a:gd name="connsiteX106" fmla="*/ 1340 w 14716"/>
                          <a:gd name="connsiteY106" fmla="*/ 6098 h 16145"/>
                          <a:gd name="connsiteX107" fmla="*/ 3374 w 14716"/>
                          <a:gd name="connsiteY107" fmla="*/ 3287 h 16145"/>
                          <a:gd name="connsiteX108" fmla="*/ 5946 w 14716"/>
                          <a:gd name="connsiteY108" fmla="*/ 1314 h 16145"/>
                          <a:gd name="connsiteX109" fmla="*/ 8697 w 14716"/>
                          <a:gd name="connsiteY109" fmla="*/ 357 h 16145"/>
                          <a:gd name="connsiteX110" fmla="*/ 11328 w 14716"/>
                          <a:gd name="connsiteY110" fmla="*/ 596 h 16145"/>
                          <a:gd name="connsiteX111" fmla="*/ 11747 w 14716"/>
                          <a:gd name="connsiteY111" fmla="*/ 775 h 16145"/>
                          <a:gd name="connsiteX112" fmla="*/ 12106 w 14716"/>
                          <a:gd name="connsiteY112" fmla="*/ 955 h 16145"/>
                          <a:gd name="connsiteX113" fmla="*/ 12465 w 14716"/>
                          <a:gd name="connsiteY113" fmla="*/ 1134 h 16145"/>
                          <a:gd name="connsiteX114" fmla="*/ 12764 w 14716"/>
                          <a:gd name="connsiteY114" fmla="*/ 1254 h 16145"/>
                          <a:gd name="connsiteX115" fmla="*/ 1879 w 14716"/>
                          <a:gd name="connsiteY115" fmla="*/ 15010 h 16145"/>
                          <a:gd name="connsiteX116" fmla="*/ 2178 w 14716"/>
                          <a:gd name="connsiteY116" fmla="*/ 15249 h 16145"/>
                          <a:gd name="connsiteX117" fmla="*/ 2537 w 14716"/>
                          <a:gd name="connsiteY117" fmla="*/ 15488 h 16145"/>
                          <a:gd name="connsiteX118" fmla="*/ 2895 w 14716"/>
                          <a:gd name="connsiteY118" fmla="*/ 15667 h 16145"/>
                          <a:gd name="connsiteX119" fmla="*/ 3254 w 14716"/>
                          <a:gd name="connsiteY119" fmla="*/ 15847 h 16145"/>
                          <a:gd name="connsiteX120" fmla="*/ 3912 w 14716"/>
                          <a:gd name="connsiteY120" fmla="*/ 16026 h 16145"/>
                          <a:gd name="connsiteX121" fmla="*/ 4570 w 14716"/>
                          <a:gd name="connsiteY121" fmla="*/ 16146 h 16145"/>
                          <a:gd name="connsiteX122" fmla="*/ 5228 w 14716"/>
                          <a:gd name="connsiteY122" fmla="*/ 16146 h 16145"/>
                          <a:gd name="connsiteX123" fmla="*/ 5886 w 14716"/>
                          <a:gd name="connsiteY123" fmla="*/ 16086 h 16145"/>
                          <a:gd name="connsiteX124" fmla="*/ 6125 w 14716"/>
                          <a:gd name="connsiteY124" fmla="*/ 16026 h 16145"/>
                          <a:gd name="connsiteX125" fmla="*/ 6364 w 14716"/>
                          <a:gd name="connsiteY125" fmla="*/ 15967 h 16145"/>
                          <a:gd name="connsiteX126" fmla="*/ 6603 w 14716"/>
                          <a:gd name="connsiteY126" fmla="*/ 15907 h 16145"/>
                          <a:gd name="connsiteX127" fmla="*/ 6843 w 14716"/>
                          <a:gd name="connsiteY127" fmla="*/ 15847 h 16145"/>
                          <a:gd name="connsiteX128" fmla="*/ 8757 w 14716"/>
                          <a:gd name="connsiteY128" fmla="*/ 15069 h 16145"/>
                          <a:gd name="connsiteX129" fmla="*/ 10551 w 14716"/>
                          <a:gd name="connsiteY129" fmla="*/ 13813 h 16145"/>
                          <a:gd name="connsiteX130" fmla="*/ 12165 w 14716"/>
                          <a:gd name="connsiteY130" fmla="*/ 12199 h 16145"/>
                          <a:gd name="connsiteX131" fmla="*/ 13481 w 14716"/>
                          <a:gd name="connsiteY131" fmla="*/ 10225 h 16145"/>
                          <a:gd name="connsiteX132" fmla="*/ 13601 w 14716"/>
                          <a:gd name="connsiteY132" fmla="*/ 10046 h 16145"/>
                          <a:gd name="connsiteX133" fmla="*/ 13721 w 14716"/>
                          <a:gd name="connsiteY133" fmla="*/ 9866 h 16145"/>
                          <a:gd name="connsiteX134" fmla="*/ 13780 w 14716"/>
                          <a:gd name="connsiteY134" fmla="*/ 9687 h 16145"/>
                          <a:gd name="connsiteX135" fmla="*/ 13840 w 14716"/>
                          <a:gd name="connsiteY135" fmla="*/ 9507 h 16145"/>
                          <a:gd name="connsiteX136" fmla="*/ 13960 w 14716"/>
                          <a:gd name="connsiteY136" fmla="*/ 9268 h 16145"/>
                          <a:gd name="connsiteX137" fmla="*/ 14079 w 14716"/>
                          <a:gd name="connsiteY137" fmla="*/ 9029 h 16145"/>
                          <a:gd name="connsiteX138" fmla="*/ 14139 w 14716"/>
                          <a:gd name="connsiteY138" fmla="*/ 8790 h 16145"/>
                          <a:gd name="connsiteX139" fmla="*/ 14199 w 14716"/>
                          <a:gd name="connsiteY139" fmla="*/ 8550 h 16145"/>
                          <a:gd name="connsiteX140" fmla="*/ 14678 w 14716"/>
                          <a:gd name="connsiteY140" fmla="*/ 6338 h 16145"/>
                          <a:gd name="connsiteX141" fmla="*/ 14618 w 14716"/>
                          <a:gd name="connsiteY141" fmla="*/ 4304 h 16145"/>
                          <a:gd name="connsiteX142" fmla="*/ 14020 w 14716"/>
                          <a:gd name="connsiteY142" fmla="*/ 2510 h 16145"/>
                          <a:gd name="connsiteX143" fmla="*/ 12883 w 14716"/>
                          <a:gd name="connsiteY143" fmla="*/ 1134 h 16145"/>
                          <a:gd name="connsiteX144" fmla="*/ 12584 w 14716"/>
                          <a:gd name="connsiteY144" fmla="*/ 895 h 16145"/>
                          <a:gd name="connsiteX145" fmla="*/ 12225 w 14716"/>
                          <a:gd name="connsiteY145" fmla="*/ 656 h 16145"/>
                          <a:gd name="connsiteX146" fmla="*/ 11867 w 14716"/>
                          <a:gd name="connsiteY146" fmla="*/ 477 h 16145"/>
                          <a:gd name="connsiteX147" fmla="*/ 11508 w 14716"/>
                          <a:gd name="connsiteY147" fmla="*/ 297 h 16145"/>
                          <a:gd name="connsiteX148" fmla="*/ 8876 w 14716"/>
                          <a:gd name="connsiteY148" fmla="*/ 58 h 16145"/>
                          <a:gd name="connsiteX149" fmla="*/ 6125 w 14716"/>
                          <a:gd name="connsiteY149" fmla="*/ 955 h 16145"/>
                          <a:gd name="connsiteX150" fmla="*/ 3554 w 14716"/>
                          <a:gd name="connsiteY150" fmla="*/ 2809 h 16145"/>
                          <a:gd name="connsiteX151" fmla="*/ 1460 w 14716"/>
                          <a:gd name="connsiteY151" fmla="*/ 5500 h 16145"/>
                          <a:gd name="connsiteX152" fmla="*/ 1400 w 14716"/>
                          <a:gd name="connsiteY152" fmla="*/ 5620 h 16145"/>
                          <a:gd name="connsiteX153" fmla="*/ 1340 w 14716"/>
                          <a:gd name="connsiteY153" fmla="*/ 5740 h 16145"/>
                          <a:gd name="connsiteX154" fmla="*/ 1281 w 14716"/>
                          <a:gd name="connsiteY154" fmla="*/ 5859 h 16145"/>
                          <a:gd name="connsiteX155" fmla="*/ 1221 w 14716"/>
                          <a:gd name="connsiteY155" fmla="*/ 5979 h 16145"/>
                          <a:gd name="connsiteX156" fmla="*/ 1161 w 14716"/>
                          <a:gd name="connsiteY156" fmla="*/ 6098 h 16145"/>
                          <a:gd name="connsiteX157" fmla="*/ 1101 w 14716"/>
                          <a:gd name="connsiteY157" fmla="*/ 6218 h 16145"/>
                          <a:gd name="connsiteX158" fmla="*/ 1041 w 14716"/>
                          <a:gd name="connsiteY158" fmla="*/ 6338 h 16145"/>
                          <a:gd name="connsiteX159" fmla="*/ 982 w 14716"/>
                          <a:gd name="connsiteY159" fmla="*/ 6457 h 16145"/>
                          <a:gd name="connsiteX160" fmla="*/ 324 w 14716"/>
                          <a:gd name="connsiteY160" fmla="*/ 8192 h 16145"/>
                          <a:gd name="connsiteX161" fmla="*/ 25 w 14716"/>
                          <a:gd name="connsiteY161" fmla="*/ 9926 h 16145"/>
                          <a:gd name="connsiteX162" fmla="*/ 85 w 14716"/>
                          <a:gd name="connsiteY162" fmla="*/ 11541 h 16145"/>
                          <a:gd name="connsiteX163" fmla="*/ 443 w 14716"/>
                          <a:gd name="connsiteY163" fmla="*/ 12976 h 16145"/>
                          <a:gd name="connsiteX164" fmla="*/ 563 w 14716"/>
                          <a:gd name="connsiteY164" fmla="*/ 13215 h 16145"/>
                          <a:gd name="connsiteX165" fmla="*/ 683 w 14716"/>
                          <a:gd name="connsiteY165" fmla="*/ 13455 h 16145"/>
                          <a:gd name="connsiteX166" fmla="*/ 802 w 14716"/>
                          <a:gd name="connsiteY166" fmla="*/ 13634 h 16145"/>
                          <a:gd name="connsiteX167" fmla="*/ 922 w 14716"/>
                          <a:gd name="connsiteY167" fmla="*/ 13813 h 16145"/>
                          <a:gd name="connsiteX168" fmla="*/ 1161 w 14716"/>
                          <a:gd name="connsiteY168" fmla="*/ 14112 h 16145"/>
                          <a:gd name="connsiteX169" fmla="*/ 1400 w 14716"/>
                          <a:gd name="connsiteY169" fmla="*/ 14412 h 16145"/>
                          <a:gd name="connsiteX170" fmla="*/ 1640 w 14716"/>
                          <a:gd name="connsiteY170" fmla="*/ 14711 h 16145"/>
                          <a:gd name="connsiteX171" fmla="*/ 1879 w 14716"/>
                          <a:gd name="connsiteY171" fmla="*/ 15010 h 1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14716" h="16145">
                            <a:moveTo>
                              <a:pt x="6484" y="14830"/>
                            </a:moveTo>
                            <a:cubicBezTo>
                              <a:pt x="6245" y="14890"/>
                              <a:pt x="6065" y="14890"/>
                              <a:pt x="5826" y="14890"/>
                            </a:cubicBezTo>
                            <a:cubicBezTo>
                              <a:pt x="5587" y="14890"/>
                              <a:pt x="5408" y="14890"/>
                              <a:pt x="5168" y="14890"/>
                            </a:cubicBezTo>
                            <a:cubicBezTo>
                              <a:pt x="4929" y="14890"/>
                              <a:pt x="4749" y="14830"/>
                              <a:pt x="4510" y="14830"/>
                            </a:cubicBezTo>
                            <a:cubicBezTo>
                              <a:pt x="4331" y="14771"/>
                              <a:pt x="4092" y="14711"/>
                              <a:pt x="3912" y="14651"/>
                            </a:cubicBezTo>
                            <a:cubicBezTo>
                              <a:pt x="3793" y="14591"/>
                              <a:pt x="3673" y="14591"/>
                              <a:pt x="3554" y="14531"/>
                            </a:cubicBezTo>
                            <a:cubicBezTo>
                              <a:pt x="3434" y="14472"/>
                              <a:pt x="3314" y="14412"/>
                              <a:pt x="3254" y="14352"/>
                            </a:cubicBezTo>
                            <a:cubicBezTo>
                              <a:pt x="3135" y="14292"/>
                              <a:pt x="3075" y="14232"/>
                              <a:pt x="2955" y="14172"/>
                            </a:cubicBezTo>
                            <a:cubicBezTo>
                              <a:pt x="2836" y="14112"/>
                              <a:pt x="2776" y="14053"/>
                              <a:pt x="2656" y="13993"/>
                            </a:cubicBezTo>
                            <a:cubicBezTo>
                              <a:pt x="2537" y="13873"/>
                              <a:pt x="2417" y="13754"/>
                              <a:pt x="2298" y="13634"/>
                            </a:cubicBezTo>
                            <a:cubicBezTo>
                              <a:pt x="2178" y="13514"/>
                              <a:pt x="2058" y="13395"/>
                              <a:pt x="1999" y="13275"/>
                            </a:cubicBezTo>
                            <a:cubicBezTo>
                              <a:pt x="1939" y="13156"/>
                              <a:pt x="1819" y="13036"/>
                              <a:pt x="1759" y="12857"/>
                            </a:cubicBezTo>
                            <a:cubicBezTo>
                              <a:pt x="1699" y="12677"/>
                              <a:pt x="1580" y="12558"/>
                              <a:pt x="1520" y="12438"/>
                            </a:cubicBezTo>
                            <a:cubicBezTo>
                              <a:pt x="1460" y="12378"/>
                              <a:pt x="1460" y="12258"/>
                              <a:pt x="1400" y="12199"/>
                            </a:cubicBezTo>
                            <a:cubicBezTo>
                              <a:pt x="1340" y="12139"/>
                              <a:pt x="1340" y="12019"/>
                              <a:pt x="1281" y="11959"/>
                            </a:cubicBezTo>
                            <a:cubicBezTo>
                              <a:pt x="1281" y="11900"/>
                              <a:pt x="1221" y="11780"/>
                              <a:pt x="1221" y="11720"/>
                            </a:cubicBezTo>
                            <a:cubicBezTo>
                              <a:pt x="1221" y="11601"/>
                              <a:pt x="1161" y="11541"/>
                              <a:pt x="1161" y="11421"/>
                            </a:cubicBezTo>
                            <a:cubicBezTo>
                              <a:pt x="1101" y="11063"/>
                              <a:pt x="1041" y="10704"/>
                              <a:pt x="1041" y="10285"/>
                            </a:cubicBezTo>
                            <a:cubicBezTo>
                              <a:pt x="1041" y="9866"/>
                              <a:pt x="1041" y="9507"/>
                              <a:pt x="1101" y="9089"/>
                            </a:cubicBezTo>
                            <a:cubicBezTo>
                              <a:pt x="1161" y="8670"/>
                              <a:pt x="1281" y="8251"/>
                              <a:pt x="1400" y="7833"/>
                            </a:cubicBezTo>
                            <a:cubicBezTo>
                              <a:pt x="1520" y="7414"/>
                              <a:pt x="1699" y="6996"/>
                              <a:pt x="1879" y="6577"/>
                            </a:cubicBezTo>
                            <a:cubicBezTo>
                              <a:pt x="1879" y="6517"/>
                              <a:pt x="1939" y="6517"/>
                              <a:pt x="1939" y="6457"/>
                            </a:cubicBezTo>
                            <a:cubicBezTo>
                              <a:pt x="1939" y="6397"/>
                              <a:pt x="1999" y="6397"/>
                              <a:pt x="1999" y="6338"/>
                            </a:cubicBezTo>
                            <a:cubicBezTo>
                              <a:pt x="1999" y="6278"/>
                              <a:pt x="2058" y="6278"/>
                              <a:pt x="2058" y="6218"/>
                            </a:cubicBezTo>
                            <a:cubicBezTo>
                              <a:pt x="2058" y="6158"/>
                              <a:pt x="2118" y="6158"/>
                              <a:pt x="2118" y="6098"/>
                            </a:cubicBezTo>
                            <a:cubicBezTo>
                              <a:pt x="2118" y="6039"/>
                              <a:pt x="2178" y="6039"/>
                              <a:pt x="2178" y="5979"/>
                            </a:cubicBezTo>
                            <a:cubicBezTo>
                              <a:pt x="2178" y="5919"/>
                              <a:pt x="2238" y="5919"/>
                              <a:pt x="2238" y="5859"/>
                            </a:cubicBezTo>
                            <a:cubicBezTo>
                              <a:pt x="2238" y="5799"/>
                              <a:pt x="2298" y="5799"/>
                              <a:pt x="2298" y="5740"/>
                            </a:cubicBezTo>
                            <a:cubicBezTo>
                              <a:pt x="2298" y="5680"/>
                              <a:pt x="2357" y="5680"/>
                              <a:pt x="2357" y="5620"/>
                            </a:cubicBezTo>
                            <a:cubicBezTo>
                              <a:pt x="2836" y="4782"/>
                              <a:pt x="3434" y="4005"/>
                              <a:pt x="4152" y="3347"/>
                            </a:cubicBezTo>
                            <a:cubicBezTo>
                              <a:pt x="4869" y="2689"/>
                              <a:pt x="5587" y="2151"/>
                              <a:pt x="6304" y="1792"/>
                            </a:cubicBezTo>
                            <a:cubicBezTo>
                              <a:pt x="7082" y="1374"/>
                              <a:pt x="7860" y="1134"/>
                              <a:pt x="8637" y="1074"/>
                            </a:cubicBezTo>
                            <a:cubicBezTo>
                              <a:pt x="9415" y="955"/>
                              <a:pt x="10132" y="1074"/>
                              <a:pt x="10850" y="1314"/>
                            </a:cubicBezTo>
                            <a:cubicBezTo>
                              <a:pt x="10970" y="1374"/>
                              <a:pt x="11089" y="1433"/>
                              <a:pt x="11149" y="1433"/>
                            </a:cubicBezTo>
                            <a:cubicBezTo>
                              <a:pt x="11209" y="1433"/>
                              <a:pt x="11328" y="1553"/>
                              <a:pt x="11448" y="1613"/>
                            </a:cubicBezTo>
                            <a:cubicBezTo>
                              <a:pt x="11568" y="1673"/>
                              <a:pt x="11627" y="1733"/>
                              <a:pt x="11747" y="1792"/>
                            </a:cubicBezTo>
                            <a:cubicBezTo>
                              <a:pt x="11867" y="1852"/>
                              <a:pt x="11926" y="1912"/>
                              <a:pt x="12046" y="2032"/>
                            </a:cubicBezTo>
                            <a:cubicBezTo>
                              <a:pt x="12465" y="2331"/>
                              <a:pt x="12764" y="2749"/>
                              <a:pt x="13003" y="3168"/>
                            </a:cubicBezTo>
                            <a:cubicBezTo>
                              <a:pt x="13242" y="3587"/>
                              <a:pt x="13422" y="4125"/>
                              <a:pt x="13541" y="4663"/>
                            </a:cubicBezTo>
                            <a:cubicBezTo>
                              <a:pt x="13661" y="5201"/>
                              <a:pt x="13661" y="5799"/>
                              <a:pt x="13601" y="6338"/>
                            </a:cubicBezTo>
                            <a:cubicBezTo>
                              <a:pt x="13541" y="6936"/>
                              <a:pt x="13422" y="7534"/>
                              <a:pt x="13242" y="8192"/>
                            </a:cubicBezTo>
                            <a:cubicBezTo>
                              <a:pt x="13242" y="8251"/>
                              <a:pt x="13182" y="8371"/>
                              <a:pt x="13182" y="8431"/>
                            </a:cubicBezTo>
                            <a:cubicBezTo>
                              <a:pt x="13182" y="8491"/>
                              <a:pt x="13123" y="8610"/>
                              <a:pt x="13123" y="8670"/>
                            </a:cubicBezTo>
                            <a:cubicBezTo>
                              <a:pt x="13123" y="8730"/>
                              <a:pt x="13063" y="8850"/>
                              <a:pt x="13063" y="8909"/>
                            </a:cubicBezTo>
                            <a:cubicBezTo>
                              <a:pt x="13003" y="8969"/>
                              <a:pt x="13003" y="9089"/>
                              <a:pt x="12943" y="9149"/>
                            </a:cubicBezTo>
                            <a:cubicBezTo>
                              <a:pt x="12943" y="9209"/>
                              <a:pt x="12883" y="9268"/>
                              <a:pt x="12883" y="9328"/>
                            </a:cubicBezTo>
                            <a:cubicBezTo>
                              <a:pt x="12883" y="9388"/>
                              <a:pt x="12824" y="9448"/>
                              <a:pt x="12824" y="9507"/>
                            </a:cubicBezTo>
                            <a:cubicBezTo>
                              <a:pt x="12824" y="9567"/>
                              <a:pt x="12764" y="9627"/>
                              <a:pt x="12764" y="9687"/>
                            </a:cubicBezTo>
                            <a:cubicBezTo>
                              <a:pt x="12764" y="9747"/>
                              <a:pt x="12704" y="9806"/>
                              <a:pt x="12704" y="9866"/>
                            </a:cubicBezTo>
                            <a:cubicBezTo>
                              <a:pt x="12405" y="10464"/>
                              <a:pt x="12046" y="10943"/>
                              <a:pt x="11687" y="11481"/>
                            </a:cubicBezTo>
                            <a:cubicBezTo>
                              <a:pt x="11328" y="12019"/>
                              <a:pt x="10850" y="12438"/>
                              <a:pt x="10431" y="12797"/>
                            </a:cubicBezTo>
                            <a:cubicBezTo>
                              <a:pt x="10013" y="13215"/>
                              <a:pt x="9534" y="13514"/>
                              <a:pt x="8996" y="13813"/>
                            </a:cubicBezTo>
                            <a:cubicBezTo>
                              <a:pt x="8517" y="14112"/>
                              <a:pt x="7979" y="14352"/>
                              <a:pt x="7501" y="14531"/>
                            </a:cubicBezTo>
                            <a:cubicBezTo>
                              <a:pt x="7441" y="14531"/>
                              <a:pt x="7321" y="14591"/>
                              <a:pt x="7262" y="14591"/>
                            </a:cubicBezTo>
                            <a:cubicBezTo>
                              <a:pt x="7202" y="14591"/>
                              <a:pt x="7082" y="14651"/>
                              <a:pt x="7022" y="14651"/>
                            </a:cubicBezTo>
                            <a:cubicBezTo>
                              <a:pt x="6962" y="14651"/>
                              <a:pt x="6843" y="14711"/>
                              <a:pt x="6783" y="14711"/>
                            </a:cubicBezTo>
                            <a:cubicBezTo>
                              <a:pt x="6723" y="14711"/>
                              <a:pt x="6544" y="14830"/>
                              <a:pt x="6484" y="14830"/>
                            </a:cubicBezTo>
                            <a:moveTo>
                              <a:pt x="2596" y="14112"/>
                            </a:moveTo>
                            <a:cubicBezTo>
                              <a:pt x="2656" y="14172"/>
                              <a:pt x="2776" y="14232"/>
                              <a:pt x="2895" y="14292"/>
                            </a:cubicBezTo>
                            <a:cubicBezTo>
                              <a:pt x="3015" y="14352"/>
                              <a:pt x="3075" y="14412"/>
                              <a:pt x="3194" y="14472"/>
                            </a:cubicBezTo>
                            <a:cubicBezTo>
                              <a:pt x="3314" y="14531"/>
                              <a:pt x="3434" y="14591"/>
                              <a:pt x="3494" y="14651"/>
                            </a:cubicBezTo>
                            <a:cubicBezTo>
                              <a:pt x="3613" y="14711"/>
                              <a:pt x="3733" y="14771"/>
                              <a:pt x="3853" y="14771"/>
                            </a:cubicBezTo>
                            <a:cubicBezTo>
                              <a:pt x="4570" y="15010"/>
                              <a:pt x="5408" y="15069"/>
                              <a:pt x="6185" y="14950"/>
                            </a:cubicBezTo>
                            <a:cubicBezTo>
                              <a:pt x="7022" y="14830"/>
                              <a:pt x="7800" y="14531"/>
                              <a:pt x="8637" y="14112"/>
                            </a:cubicBezTo>
                            <a:cubicBezTo>
                              <a:pt x="9415" y="13694"/>
                              <a:pt x="10192" y="13096"/>
                              <a:pt x="10910" y="12378"/>
                            </a:cubicBezTo>
                            <a:cubicBezTo>
                              <a:pt x="11627" y="11660"/>
                              <a:pt x="12225" y="10823"/>
                              <a:pt x="12704" y="9926"/>
                            </a:cubicBezTo>
                            <a:cubicBezTo>
                              <a:pt x="12943" y="9448"/>
                              <a:pt x="13123" y="9029"/>
                              <a:pt x="13302" y="8550"/>
                            </a:cubicBezTo>
                            <a:cubicBezTo>
                              <a:pt x="13481" y="8072"/>
                              <a:pt x="13601" y="7653"/>
                              <a:pt x="13661" y="7175"/>
                            </a:cubicBezTo>
                            <a:cubicBezTo>
                              <a:pt x="13721" y="6696"/>
                              <a:pt x="13780" y="6278"/>
                              <a:pt x="13780" y="5859"/>
                            </a:cubicBezTo>
                            <a:cubicBezTo>
                              <a:pt x="13780" y="5441"/>
                              <a:pt x="13721" y="5022"/>
                              <a:pt x="13661" y="4603"/>
                            </a:cubicBezTo>
                            <a:cubicBezTo>
                              <a:pt x="13601" y="4304"/>
                              <a:pt x="13541" y="4065"/>
                              <a:pt x="13422" y="3826"/>
                            </a:cubicBezTo>
                            <a:cubicBezTo>
                              <a:pt x="13302" y="3587"/>
                              <a:pt x="13242" y="3347"/>
                              <a:pt x="13123" y="3108"/>
                            </a:cubicBezTo>
                            <a:cubicBezTo>
                              <a:pt x="13003" y="2869"/>
                              <a:pt x="12883" y="2689"/>
                              <a:pt x="12704" y="2510"/>
                            </a:cubicBezTo>
                            <a:cubicBezTo>
                              <a:pt x="12525" y="2331"/>
                              <a:pt x="12405" y="2151"/>
                              <a:pt x="12165" y="1972"/>
                            </a:cubicBezTo>
                            <a:cubicBezTo>
                              <a:pt x="12046" y="1912"/>
                              <a:pt x="11986" y="1852"/>
                              <a:pt x="11867" y="1733"/>
                            </a:cubicBezTo>
                            <a:cubicBezTo>
                              <a:pt x="11747" y="1673"/>
                              <a:pt x="11687" y="1613"/>
                              <a:pt x="11568" y="1553"/>
                            </a:cubicBezTo>
                            <a:cubicBezTo>
                              <a:pt x="11448" y="1493"/>
                              <a:pt x="11328" y="1433"/>
                              <a:pt x="11269" y="1374"/>
                            </a:cubicBezTo>
                            <a:cubicBezTo>
                              <a:pt x="11209" y="1314"/>
                              <a:pt x="11029" y="1254"/>
                              <a:pt x="10910" y="1254"/>
                            </a:cubicBezTo>
                            <a:cubicBezTo>
                              <a:pt x="10192" y="1015"/>
                              <a:pt x="9355" y="955"/>
                              <a:pt x="8577" y="1015"/>
                            </a:cubicBezTo>
                            <a:cubicBezTo>
                              <a:pt x="7800" y="1074"/>
                              <a:pt x="6903" y="1433"/>
                              <a:pt x="6125" y="1852"/>
                            </a:cubicBezTo>
                            <a:cubicBezTo>
                              <a:pt x="5348" y="2271"/>
                              <a:pt x="4570" y="2869"/>
                              <a:pt x="3853" y="3587"/>
                            </a:cubicBezTo>
                            <a:cubicBezTo>
                              <a:pt x="3135" y="4304"/>
                              <a:pt x="2537" y="5141"/>
                              <a:pt x="2058" y="6039"/>
                            </a:cubicBezTo>
                            <a:cubicBezTo>
                              <a:pt x="1640" y="6816"/>
                              <a:pt x="1340" y="7594"/>
                              <a:pt x="1161" y="8371"/>
                            </a:cubicBezTo>
                            <a:cubicBezTo>
                              <a:pt x="982" y="9149"/>
                              <a:pt x="922" y="9866"/>
                              <a:pt x="982" y="10584"/>
                            </a:cubicBezTo>
                            <a:cubicBezTo>
                              <a:pt x="1041" y="11302"/>
                              <a:pt x="1221" y="11959"/>
                              <a:pt x="1460" y="12498"/>
                            </a:cubicBezTo>
                            <a:cubicBezTo>
                              <a:pt x="1699" y="13036"/>
                              <a:pt x="2118" y="13754"/>
                              <a:pt x="2596" y="14112"/>
                            </a:cubicBezTo>
                            <a:moveTo>
                              <a:pt x="12764" y="1254"/>
                            </a:moveTo>
                            <a:cubicBezTo>
                              <a:pt x="13003" y="1433"/>
                              <a:pt x="13182" y="1613"/>
                              <a:pt x="13362" y="1852"/>
                            </a:cubicBezTo>
                            <a:cubicBezTo>
                              <a:pt x="13541" y="2091"/>
                              <a:pt x="13721" y="2271"/>
                              <a:pt x="13840" y="2570"/>
                            </a:cubicBezTo>
                            <a:cubicBezTo>
                              <a:pt x="13960" y="2809"/>
                              <a:pt x="14079" y="3108"/>
                              <a:pt x="14199" y="3347"/>
                            </a:cubicBezTo>
                            <a:cubicBezTo>
                              <a:pt x="14319" y="3646"/>
                              <a:pt x="14379" y="3945"/>
                              <a:pt x="14438" y="4244"/>
                            </a:cubicBezTo>
                            <a:cubicBezTo>
                              <a:pt x="14558" y="4723"/>
                              <a:pt x="14558" y="5201"/>
                              <a:pt x="14558" y="5680"/>
                            </a:cubicBezTo>
                            <a:cubicBezTo>
                              <a:pt x="14558" y="6158"/>
                              <a:pt x="14498" y="6696"/>
                              <a:pt x="14438" y="7175"/>
                            </a:cubicBezTo>
                            <a:cubicBezTo>
                              <a:pt x="14319" y="7653"/>
                              <a:pt x="14199" y="8192"/>
                              <a:pt x="14020" y="8730"/>
                            </a:cubicBezTo>
                            <a:cubicBezTo>
                              <a:pt x="13840" y="9268"/>
                              <a:pt x="13601" y="9747"/>
                              <a:pt x="13362" y="10285"/>
                            </a:cubicBezTo>
                            <a:cubicBezTo>
                              <a:pt x="12824" y="11361"/>
                              <a:pt x="12106" y="12258"/>
                              <a:pt x="11328" y="13096"/>
                            </a:cubicBezTo>
                            <a:cubicBezTo>
                              <a:pt x="10551" y="13873"/>
                              <a:pt x="9654" y="14531"/>
                              <a:pt x="8757" y="15069"/>
                            </a:cubicBezTo>
                            <a:cubicBezTo>
                              <a:pt x="7860" y="15548"/>
                              <a:pt x="6903" y="15907"/>
                              <a:pt x="6006" y="16026"/>
                            </a:cubicBezTo>
                            <a:cubicBezTo>
                              <a:pt x="5108" y="16146"/>
                              <a:pt x="4152" y="16086"/>
                              <a:pt x="3374" y="15787"/>
                            </a:cubicBezTo>
                            <a:cubicBezTo>
                              <a:pt x="3254" y="15727"/>
                              <a:pt x="3135" y="15667"/>
                              <a:pt x="3015" y="15608"/>
                            </a:cubicBezTo>
                            <a:cubicBezTo>
                              <a:pt x="2895" y="15548"/>
                              <a:pt x="2776" y="15488"/>
                              <a:pt x="2656" y="15428"/>
                            </a:cubicBezTo>
                            <a:cubicBezTo>
                              <a:pt x="2537" y="15368"/>
                              <a:pt x="2417" y="15309"/>
                              <a:pt x="2298" y="15249"/>
                            </a:cubicBezTo>
                            <a:cubicBezTo>
                              <a:pt x="2178" y="15189"/>
                              <a:pt x="2058" y="15069"/>
                              <a:pt x="1999" y="15010"/>
                            </a:cubicBezTo>
                            <a:cubicBezTo>
                              <a:pt x="1460" y="14591"/>
                              <a:pt x="1041" y="13993"/>
                              <a:pt x="742" y="13395"/>
                            </a:cubicBezTo>
                            <a:cubicBezTo>
                              <a:pt x="443" y="12737"/>
                              <a:pt x="264" y="12019"/>
                              <a:pt x="204" y="11242"/>
                            </a:cubicBezTo>
                            <a:cubicBezTo>
                              <a:pt x="145" y="10464"/>
                              <a:pt x="204" y="9627"/>
                              <a:pt x="384" y="8730"/>
                            </a:cubicBezTo>
                            <a:cubicBezTo>
                              <a:pt x="563" y="7833"/>
                              <a:pt x="922" y="6996"/>
                              <a:pt x="1340" y="6098"/>
                            </a:cubicBezTo>
                            <a:cubicBezTo>
                              <a:pt x="1879" y="5022"/>
                              <a:pt x="2596" y="4125"/>
                              <a:pt x="3374" y="3287"/>
                            </a:cubicBezTo>
                            <a:cubicBezTo>
                              <a:pt x="4152" y="2510"/>
                              <a:pt x="5049" y="1792"/>
                              <a:pt x="5946" y="1314"/>
                            </a:cubicBezTo>
                            <a:cubicBezTo>
                              <a:pt x="6843" y="835"/>
                              <a:pt x="7800" y="477"/>
                              <a:pt x="8697" y="357"/>
                            </a:cubicBezTo>
                            <a:cubicBezTo>
                              <a:pt x="9594" y="237"/>
                              <a:pt x="10551" y="297"/>
                              <a:pt x="11328" y="596"/>
                            </a:cubicBezTo>
                            <a:cubicBezTo>
                              <a:pt x="11448" y="656"/>
                              <a:pt x="11568" y="716"/>
                              <a:pt x="11747" y="775"/>
                            </a:cubicBezTo>
                            <a:cubicBezTo>
                              <a:pt x="11867" y="835"/>
                              <a:pt x="11986" y="895"/>
                              <a:pt x="12106" y="955"/>
                            </a:cubicBezTo>
                            <a:cubicBezTo>
                              <a:pt x="12225" y="1015"/>
                              <a:pt x="12345" y="1074"/>
                              <a:pt x="12465" y="1134"/>
                            </a:cubicBezTo>
                            <a:cubicBezTo>
                              <a:pt x="12584" y="1074"/>
                              <a:pt x="12704" y="1134"/>
                              <a:pt x="12764" y="1254"/>
                            </a:cubicBezTo>
                            <a:moveTo>
                              <a:pt x="1879" y="15010"/>
                            </a:moveTo>
                            <a:cubicBezTo>
                              <a:pt x="1999" y="15069"/>
                              <a:pt x="2118" y="15189"/>
                              <a:pt x="2178" y="15249"/>
                            </a:cubicBezTo>
                            <a:cubicBezTo>
                              <a:pt x="2238" y="15309"/>
                              <a:pt x="2417" y="15428"/>
                              <a:pt x="2537" y="15488"/>
                            </a:cubicBezTo>
                            <a:cubicBezTo>
                              <a:pt x="2656" y="15548"/>
                              <a:pt x="2776" y="15608"/>
                              <a:pt x="2895" y="15667"/>
                            </a:cubicBezTo>
                            <a:cubicBezTo>
                              <a:pt x="3015" y="15727"/>
                              <a:pt x="3135" y="15787"/>
                              <a:pt x="3254" y="15847"/>
                            </a:cubicBezTo>
                            <a:cubicBezTo>
                              <a:pt x="3434" y="15907"/>
                              <a:pt x="3673" y="15967"/>
                              <a:pt x="3912" y="16026"/>
                            </a:cubicBezTo>
                            <a:cubicBezTo>
                              <a:pt x="4152" y="16086"/>
                              <a:pt x="4331" y="16086"/>
                              <a:pt x="4570" y="16146"/>
                            </a:cubicBezTo>
                            <a:cubicBezTo>
                              <a:pt x="4809" y="16146"/>
                              <a:pt x="4989" y="16146"/>
                              <a:pt x="5228" y="16146"/>
                            </a:cubicBezTo>
                            <a:cubicBezTo>
                              <a:pt x="5467" y="16146"/>
                              <a:pt x="5707" y="16146"/>
                              <a:pt x="5886" y="16086"/>
                            </a:cubicBezTo>
                            <a:cubicBezTo>
                              <a:pt x="5946" y="16086"/>
                              <a:pt x="6065" y="16086"/>
                              <a:pt x="6125" y="16026"/>
                            </a:cubicBezTo>
                            <a:cubicBezTo>
                              <a:pt x="6185" y="16026"/>
                              <a:pt x="6304" y="16026"/>
                              <a:pt x="6364" y="15967"/>
                            </a:cubicBezTo>
                            <a:cubicBezTo>
                              <a:pt x="6424" y="15967"/>
                              <a:pt x="6544" y="15907"/>
                              <a:pt x="6603" y="15907"/>
                            </a:cubicBezTo>
                            <a:cubicBezTo>
                              <a:pt x="6663" y="15907"/>
                              <a:pt x="6783" y="15847"/>
                              <a:pt x="6843" y="15847"/>
                            </a:cubicBezTo>
                            <a:cubicBezTo>
                              <a:pt x="7501" y="15667"/>
                              <a:pt x="8099" y="15428"/>
                              <a:pt x="8757" y="15069"/>
                            </a:cubicBezTo>
                            <a:cubicBezTo>
                              <a:pt x="9355" y="14711"/>
                              <a:pt x="10013" y="14352"/>
                              <a:pt x="10551" y="13813"/>
                            </a:cubicBezTo>
                            <a:cubicBezTo>
                              <a:pt x="11089" y="13275"/>
                              <a:pt x="11687" y="12797"/>
                              <a:pt x="12165" y="12199"/>
                            </a:cubicBezTo>
                            <a:cubicBezTo>
                              <a:pt x="12644" y="11601"/>
                              <a:pt x="13123" y="10943"/>
                              <a:pt x="13481" y="10225"/>
                            </a:cubicBezTo>
                            <a:cubicBezTo>
                              <a:pt x="13541" y="10165"/>
                              <a:pt x="13541" y="10105"/>
                              <a:pt x="13601" y="10046"/>
                            </a:cubicBezTo>
                            <a:cubicBezTo>
                              <a:pt x="13661" y="9986"/>
                              <a:pt x="13661" y="9926"/>
                              <a:pt x="13721" y="9866"/>
                            </a:cubicBezTo>
                            <a:cubicBezTo>
                              <a:pt x="13780" y="9806"/>
                              <a:pt x="13780" y="9747"/>
                              <a:pt x="13780" y="9687"/>
                            </a:cubicBezTo>
                            <a:cubicBezTo>
                              <a:pt x="13780" y="9627"/>
                              <a:pt x="13840" y="9567"/>
                              <a:pt x="13840" y="9507"/>
                            </a:cubicBezTo>
                            <a:cubicBezTo>
                              <a:pt x="13900" y="9448"/>
                              <a:pt x="13900" y="9328"/>
                              <a:pt x="13960" y="9268"/>
                            </a:cubicBezTo>
                            <a:cubicBezTo>
                              <a:pt x="14020" y="9209"/>
                              <a:pt x="14020" y="9089"/>
                              <a:pt x="14079" y="9029"/>
                            </a:cubicBezTo>
                            <a:cubicBezTo>
                              <a:pt x="14079" y="8969"/>
                              <a:pt x="14139" y="8850"/>
                              <a:pt x="14139" y="8790"/>
                            </a:cubicBezTo>
                            <a:cubicBezTo>
                              <a:pt x="14139" y="8730"/>
                              <a:pt x="14199" y="8610"/>
                              <a:pt x="14199" y="8550"/>
                            </a:cubicBezTo>
                            <a:cubicBezTo>
                              <a:pt x="14438" y="7833"/>
                              <a:pt x="14618" y="7055"/>
                              <a:pt x="14678" y="6338"/>
                            </a:cubicBezTo>
                            <a:cubicBezTo>
                              <a:pt x="14738" y="5620"/>
                              <a:pt x="14738" y="4962"/>
                              <a:pt x="14618" y="4304"/>
                            </a:cubicBezTo>
                            <a:cubicBezTo>
                              <a:pt x="14498" y="3646"/>
                              <a:pt x="14319" y="3048"/>
                              <a:pt x="14020" y="2510"/>
                            </a:cubicBezTo>
                            <a:cubicBezTo>
                              <a:pt x="13721" y="1972"/>
                              <a:pt x="13362" y="1493"/>
                              <a:pt x="12883" y="1134"/>
                            </a:cubicBezTo>
                            <a:cubicBezTo>
                              <a:pt x="12764" y="1074"/>
                              <a:pt x="12644" y="955"/>
                              <a:pt x="12584" y="895"/>
                            </a:cubicBezTo>
                            <a:cubicBezTo>
                              <a:pt x="12465" y="835"/>
                              <a:pt x="12345" y="775"/>
                              <a:pt x="12225" y="656"/>
                            </a:cubicBezTo>
                            <a:cubicBezTo>
                              <a:pt x="12106" y="596"/>
                              <a:pt x="11986" y="536"/>
                              <a:pt x="11867" y="477"/>
                            </a:cubicBezTo>
                            <a:cubicBezTo>
                              <a:pt x="11747" y="417"/>
                              <a:pt x="11627" y="357"/>
                              <a:pt x="11508" y="297"/>
                            </a:cubicBezTo>
                            <a:cubicBezTo>
                              <a:pt x="10670" y="-2"/>
                              <a:pt x="9773" y="-62"/>
                              <a:pt x="8876" y="58"/>
                            </a:cubicBezTo>
                            <a:cubicBezTo>
                              <a:pt x="7979" y="178"/>
                              <a:pt x="7022" y="477"/>
                              <a:pt x="6125" y="955"/>
                            </a:cubicBezTo>
                            <a:cubicBezTo>
                              <a:pt x="5228" y="1433"/>
                              <a:pt x="4331" y="2032"/>
                              <a:pt x="3554" y="2809"/>
                            </a:cubicBezTo>
                            <a:cubicBezTo>
                              <a:pt x="2776" y="3587"/>
                              <a:pt x="2058" y="4484"/>
                              <a:pt x="1460" y="5500"/>
                            </a:cubicBezTo>
                            <a:cubicBezTo>
                              <a:pt x="1460" y="5560"/>
                              <a:pt x="1400" y="5560"/>
                              <a:pt x="1400" y="5620"/>
                            </a:cubicBezTo>
                            <a:cubicBezTo>
                              <a:pt x="1400" y="5680"/>
                              <a:pt x="1340" y="5680"/>
                              <a:pt x="1340" y="5740"/>
                            </a:cubicBezTo>
                            <a:cubicBezTo>
                              <a:pt x="1340" y="5799"/>
                              <a:pt x="1281" y="5799"/>
                              <a:pt x="1281" y="5859"/>
                            </a:cubicBezTo>
                            <a:cubicBezTo>
                              <a:pt x="1281" y="5919"/>
                              <a:pt x="1221" y="5919"/>
                              <a:pt x="1221" y="5979"/>
                            </a:cubicBezTo>
                            <a:cubicBezTo>
                              <a:pt x="1221" y="6039"/>
                              <a:pt x="1161" y="6039"/>
                              <a:pt x="1161" y="6098"/>
                            </a:cubicBezTo>
                            <a:cubicBezTo>
                              <a:pt x="1161" y="6158"/>
                              <a:pt x="1101" y="6158"/>
                              <a:pt x="1101" y="6218"/>
                            </a:cubicBezTo>
                            <a:cubicBezTo>
                              <a:pt x="1101" y="6278"/>
                              <a:pt x="1041" y="6278"/>
                              <a:pt x="1041" y="6338"/>
                            </a:cubicBezTo>
                            <a:cubicBezTo>
                              <a:pt x="1041" y="6397"/>
                              <a:pt x="982" y="6397"/>
                              <a:pt x="982" y="6457"/>
                            </a:cubicBezTo>
                            <a:cubicBezTo>
                              <a:pt x="683" y="7055"/>
                              <a:pt x="503" y="7653"/>
                              <a:pt x="324" y="8192"/>
                            </a:cubicBezTo>
                            <a:cubicBezTo>
                              <a:pt x="145" y="8730"/>
                              <a:pt x="85" y="9328"/>
                              <a:pt x="25" y="9926"/>
                            </a:cubicBezTo>
                            <a:cubicBezTo>
                              <a:pt x="-35" y="10464"/>
                              <a:pt x="25" y="11003"/>
                              <a:pt x="85" y="11541"/>
                            </a:cubicBezTo>
                            <a:cubicBezTo>
                              <a:pt x="145" y="12079"/>
                              <a:pt x="264" y="12558"/>
                              <a:pt x="443" y="12976"/>
                            </a:cubicBezTo>
                            <a:cubicBezTo>
                              <a:pt x="503" y="13036"/>
                              <a:pt x="503" y="13096"/>
                              <a:pt x="563" y="13215"/>
                            </a:cubicBezTo>
                            <a:cubicBezTo>
                              <a:pt x="623" y="13275"/>
                              <a:pt x="623" y="13335"/>
                              <a:pt x="683" y="13455"/>
                            </a:cubicBezTo>
                            <a:cubicBezTo>
                              <a:pt x="742" y="13514"/>
                              <a:pt x="742" y="13574"/>
                              <a:pt x="802" y="13634"/>
                            </a:cubicBezTo>
                            <a:cubicBezTo>
                              <a:pt x="862" y="13694"/>
                              <a:pt x="862" y="13754"/>
                              <a:pt x="922" y="13813"/>
                            </a:cubicBezTo>
                            <a:cubicBezTo>
                              <a:pt x="982" y="13933"/>
                              <a:pt x="1041" y="14053"/>
                              <a:pt x="1161" y="14112"/>
                            </a:cubicBezTo>
                            <a:cubicBezTo>
                              <a:pt x="1221" y="14232"/>
                              <a:pt x="1340" y="14292"/>
                              <a:pt x="1400" y="14412"/>
                            </a:cubicBezTo>
                            <a:cubicBezTo>
                              <a:pt x="1460" y="14531"/>
                              <a:pt x="1580" y="14591"/>
                              <a:pt x="1640" y="14711"/>
                            </a:cubicBezTo>
                            <a:cubicBezTo>
                              <a:pt x="1699" y="14830"/>
                              <a:pt x="1819" y="14890"/>
                              <a:pt x="1879" y="15010"/>
                            </a:cubicBezTo>
                          </a:path>
                        </a:pathLst>
                      </a:custGeom>
                      <a:noFill/>
                      <a:ln w="6350" cap="flat">
                        <a:solidFill>
                          <a:schemeClr val="bg1">
                            <a:alpha val="40000"/>
                          </a:schemeClr>
                        </a:solidFill>
                        <a:prstDash val="solid"/>
                        <a:miter/>
                      </a:ln>
                    </p:spPr>
                    <p:txBody>
                      <a:bodyPr rtlCol="0" anchor="ctr"/>
                      <a:lstStyle/>
                      <a:p>
                        <a:endParaRPr lang="en-GB"/>
                      </a:p>
                    </p:txBody>
                  </p:sp>
                  <p:sp>
                    <p:nvSpPr>
                      <p:cNvPr id="7445" name="Vrije vorm: vorm 7444">
                        <a:extLst>
                          <a:ext uri="{FF2B5EF4-FFF2-40B4-BE49-F238E27FC236}">
                            <a16:creationId xmlns:a16="http://schemas.microsoft.com/office/drawing/2014/main" id="{B2A16C39-A817-46C4-8D3B-C3B6FECF9BE8}"/>
                          </a:ext>
                        </a:extLst>
                      </p:cNvPr>
                      <p:cNvSpPr/>
                      <p:nvPr/>
                    </p:nvSpPr>
                    <p:spPr>
                      <a:xfrm>
                        <a:off x="5352265" y="5290050"/>
                        <a:ext cx="14376" cy="15904"/>
                      </a:xfrm>
                      <a:custGeom>
                        <a:avLst/>
                        <a:gdLst>
                          <a:gd name="connsiteX0" fmla="*/ 11984 w 14376"/>
                          <a:gd name="connsiteY0" fmla="*/ 1972 h 15904"/>
                          <a:gd name="connsiteX1" fmla="*/ 12522 w 14376"/>
                          <a:gd name="connsiteY1" fmla="*/ 2510 h 15904"/>
                          <a:gd name="connsiteX2" fmla="*/ 12941 w 14376"/>
                          <a:gd name="connsiteY2" fmla="*/ 3108 h 15904"/>
                          <a:gd name="connsiteX3" fmla="*/ 13240 w 14376"/>
                          <a:gd name="connsiteY3" fmla="*/ 3826 h 15904"/>
                          <a:gd name="connsiteX4" fmla="*/ 13479 w 14376"/>
                          <a:gd name="connsiteY4" fmla="*/ 4603 h 15904"/>
                          <a:gd name="connsiteX5" fmla="*/ 13599 w 14376"/>
                          <a:gd name="connsiteY5" fmla="*/ 5859 h 15904"/>
                          <a:gd name="connsiteX6" fmla="*/ 13479 w 14376"/>
                          <a:gd name="connsiteY6" fmla="*/ 7175 h 15904"/>
                          <a:gd name="connsiteX7" fmla="*/ 13120 w 14376"/>
                          <a:gd name="connsiteY7" fmla="*/ 8550 h 15904"/>
                          <a:gd name="connsiteX8" fmla="*/ 12522 w 14376"/>
                          <a:gd name="connsiteY8" fmla="*/ 9926 h 15904"/>
                          <a:gd name="connsiteX9" fmla="*/ 10728 w 14376"/>
                          <a:gd name="connsiteY9" fmla="*/ 12378 h 15904"/>
                          <a:gd name="connsiteX10" fmla="*/ 8455 w 14376"/>
                          <a:gd name="connsiteY10" fmla="*/ 14112 h 15904"/>
                          <a:gd name="connsiteX11" fmla="*/ 6003 w 14376"/>
                          <a:gd name="connsiteY11" fmla="*/ 14950 h 15904"/>
                          <a:gd name="connsiteX12" fmla="*/ 3671 w 14376"/>
                          <a:gd name="connsiteY12" fmla="*/ 14771 h 15904"/>
                          <a:gd name="connsiteX13" fmla="*/ 3312 w 14376"/>
                          <a:gd name="connsiteY13" fmla="*/ 14651 h 15904"/>
                          <a:gd name="connsiteX14" fmla="*/ 3013 w 14376"/>
                          <a:gd name="connsiteY14" fmla="*/ 14471 h 15904"/>
                          <a:gd name="connsiteX15" fmla="*/ 2714 w 14376"/>
                          <a:gd name="connsiteY15" fmla="*/ 14292 h 15904"/>
                          <a:gd name="connsiteX16" fmla="*/ 2415 w 14376"/>
                          <a:gd name="connsiteY16" fmla="*/ 14112 h 15904"/>
                          <a:gd name="connsiteX17" fmla="*/ 1278 w 14376"/>
                          <a:gd name="connsiteY17" fmla="*/ 12677 h 15904"/>
                          <a:gd name="connsiteX18" fmla="*/ 800 w 14376"/>
                          <a:gd name="connsiteY18" fmla="*/ 10763 h 15904"/>
                          <a:gd name="connsiteX19" fmla="*/ 979 w 14376"/>
                          <a:gd name="connsiteY19" fmla="*/ 8550 h 15904"/>
                          <a:gd name="connsiteX20" fmla="*/ 1877 w 14376"/>
                          <a:gd name="connsiteY20" fmla="*/ 6218 h 15904"/>
                          <a:gd name="connsiteX21" fmla="*/ 3671 w 14376"/>
                          <a:gd name="connsiteY21" fmla="*/ 3766 h 15904"/>
                          <a:gd name="connsiteX22" fmla="*/ 5944 w 14376"/>
                          <a:gd name="connsiteY22" fmla="*/ 2032 h 15904"/>
                          <a:gd name="connsiteX23" fmla="*/ 8395 w 14376"/>
                          <a:gd name="connsiteY23" fmla="*/ 1194 h 15904"/>
                          <a:gd name="connsiteX24" fmla="*/ 10728 w 14376"/>
                          <a:gd name="connsiteY24" fmla="*/ 1433 h 15904"/>
                          <a:gd name="connsiteX25" fmla="*/ 11087 w 14376"/>
                          <a:gd name="connsiteY25" fmla="*/ 1553 h 15904"/>
                          <a:gd name="connsiteX26" fmla="*/ 11386 w 14376"/>
                          <a:gd name="connsiteY26" fmla="*/ 1732 h 15904"/>
                          <a:gd name="connsiteX27" fmla="*/ 11685 w 14376"/>
                          <a:gd name="connsiteY27" fmla="*/ 1912 h 15904"/>
                          <a:gd name="connsiteX28" fmla="*/ 11984 w 14376"/>
                          <a:gd name="connsiteY28" fmla="*/ 1972 h 15904"/>
                          <a:gd name="connsiteX29" fmla="*/ 1817 w 14376"/>
                          <a:gd name="connsiteY29" fmla="*/ 14830 h 15904"/>
                          <a:gd name="connsiteX30" fmla="*/ 2116 w 14376"/>
                          <a:gd name="connsiteY30" fmla="*/ 15069 h 15904"/>
                          <a:gd name="connsiteX31" fmla="*/ 2475 w 14376"/>
                          <a:gd name="connsiteY31" fmla="*/ 15249 h 15904"/>
                          <a:gd name="connsiteX32" fmla="*/ 2833 w 14376"/>
                          <a:gd name="connsiteY32" fmla="*/ 15428 h 15904"/>
                          <a:gd name="connsiteX33" fmla="*/ 3192 w 14376"/>
                          <a:gd name="connsiteY33" fmla="*/ 15608 h 15904"/>
                          <a:gd name="connsiteX34" fmla="*/ 5824 w 14376"/>
                          <a:gd name="connsiteY34" fmla="*/ 15847 h 15904"/>
                          <a:gd name="connsiteX35" fmla="*/ 8575 w 14376"/>
                          <a:gd name="connsiteY35" fmla="*/ 14890 h 15904"/>
                          <a:gd name="connsiteX36" fmla="*/ 11147 w 14376"/>
                          <a:gd name="connsiteY36" fmla="*/ 12917 h 15904"/>
                          <a:gd name="connsiteX37" fmla="*/ 13180 w 14376"/>
                          <a:gd name="connsiteY37" fmla="*/ 10105 h 15904"/>
                          <a:gd name="connsiteX38" fmla="*/ 13838 w 14376"/>
                          <a:gd name="connsiteY38" fmla="*/ 8550 h 15904"/>
                          <a:gd name="connsiteX39" fmla="*/ 14256 w 14376"/>
                          <a:gd name="connsiteY39" fmla="*/ 6995 h 15904"/>
                          <a:gd name="connsiteX40" fmla="*/ 14376 w 14376"/>
                          <a:gd name="connsiteY40" fmla="*/ 5500 h 15904"/>
                          <a:gd name="connsiteX41" fmla="*/ 14256 w 14376"/>
                          <a:gd name="connsiteY41" fmla="*/ 4065 h 15904"/>
                          <a:gd name="connsiteX42" fmla="*/ 14017 w 14376"/>
                          <a:gd name="connsiteY42" fmla="*/ 3168 h 15904"/>
                          <a:gd name="connsiteX43" fmla="*/ 13659 w 14376"/>
                          <a:gd name="connsiteY43" fmla="*/ 2390 h 15904"/>
                          <a:gd name="connsiteX44" fmla="*/ 13180 w 14376"/>
                          <a:gd name="connsiteY44" fmla="*/ 1673 h 15904"/>
                          <a:gd name="connsiteX45" fmla="*/ 12582 w 14376"/>
                          <a:gd name="connsiteY45" fmla="*/ 1074 h 15904"/>
                          <a:gd name="connsiteX46" fmla="*/ 12283 w 14376"/>
                          <a:gd name="connsiteY46" fmla="*/ 835 h 15904"/>
                          <a:gd name="connsiteX47" fmla="*/ 11924 w 14376"/>
                          <a:gd name="connsiteY47" fmla="*/ 656 h 15904"/>
                          <a:gd name="connsiteX48" fmla="*/ 11565 w 14376"/>
                          <a:gd name="connsiteY48" fmla="*/ 477 h 15904"/>
                          <a:gd name="connsiteX49" fmla="*/ 11147 w 14376"/>
                          <a:gd name="connsiteY49" fmla="*/ 297 h 15904"/>
                          <a:gd name="connsiteX50" fmla="*/ 8515 w 14376"/>
                          <a:gd name="connsiteY50" fmla="*/ 58 h 15904"/>
                          <a:gd name="connsiteX51" fmla="*/ 5764 w 14376"/>
                          <a:gd name="connsiteY51" fmla="*/ 1015 h 15904"/>
                          <a:gd name="connsiteX52" fmla="*/ 3192 w 14376"/>
                          <a:gd name="connsiteY52" fmla="*/ 2988 h 15904"/>
                          <a:gd name="connsiteX53" fmla="*/ 1159 w 14376"/>
                          <a:gd name="connsiteY53" fmla="*/ 5799 h 15904"/>
                          <a:gd name="connsiteX54" fmla="*/ 202 w 14376"/>
                          <a:gd name="connsiteY54" fmla="*/ 8431 h 15904"/>
                          <a:gd name="connsiteX55" fmla="*/ 22 w 14376"/>
                          <a:gd name="connsiteY55" fmla="*/ 10943 h 15904"/>
                          <a:gd name="connsiteX56" fmla="*/ 561 w 14376"/>
                          <a:gd name="connsiteY56" fmla="*/ 13096 h 15904"/>
                          <a:gd name="connsiteX57" fmla="*/ 1817 w 14376"/>
                          <a:gd name="connsiteY57" fmla="*/ 14830 h 1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76" h="15904">
                            <a:moveTo>
                              <a:pt x="11984" y="1972"/>
                            </a:moveTo>
                            <a:cubicBezTo>
                              <a:pt x="12163" y="2151"/>
                              <a:pt x="12343" y="2271"/>
                              <a:pt x="12522" y="2510"/>
                            </a:cubicBezTo>
                            <a:cubicBezTo>
                              <a:pt x="12702" y="2689"/>
                              <a:pt x="12821" y="2928"/>
                              <a:pt x="12941" y="3108"/>
                            </a:cubicBezTo>
                            <a:cubicBezTo>
                              <a:pt x="13061" y="3347"/>
                              <a:pt x="13180" y="3586"/>
                              <a:pt x="13240" y="3826"/>
                            </a:cubicBezTo>
                            <a:cubicBezTo>
                              <a:pt x="13360" y="4065"/>
                              <a:pt x="13419" y="4304"/>
                              <a:pt x="13479" y="4603"/>
                            </a:cubicBezTo>
                            <a:cubicBezTo>
                              <a:pt x="13539" y="5022"/>
                              <a:pt x="13599" y="5441"/>
                              <a:pt x="13599" y="5859"/>
                            </a:cubicBezTo>
                            <a:cubicBezTo>
                              <a:pt x="13599" y="6278"/>
                              <a:pt x="13539" y="6756"/>
                              <a:pt x="13479" y="7175"/>
                            </a:cubicBezTo>
                            <a:cubicBezTo>
                              <a:pt x="13419" y="7653"/>
                              <a:pt x="13300" y="8072"/>
                              <a:pt x="13120" y="8550"/>
                            </a:cubicBezTo>
                            <a:cubicBezTo>
                              <a:pt x="12941" y="9029"/>
                              <a:pt x="12761" y="9448"/>
                              <a:pt x="12522" y="9926"/>
                            </a:cubicBezTo>
                            <a:cubicBezTo>
                              <a:pt x="12044" y="10823"/>
                              <a:pt x="11446" y="11660"/>
                              <a:pt x="10728" y="12378"/>
                            </a:cubicBezTo>
                            <a:cubicBezTo>
                              <a:pt x="10010" y="13096"/>
                              <a:pt x="9293" y="13694"/>
                              <a:pt x="8455" y="14112"/>
                            </a:cubicBezTo>
                            <a:cubicBezTo>
                              <a:pt x="7678" y="14531"/>
                              <a:pt x="6840" y="14830"/>
                              <a:pt x="6003" y="14950"/>
                            </a:cubicBezTo>
                            <a:cubicBezTo>
                              <a:pt x="5166" y="15069"/>
                              <a:pt x="4388" y="15010"/>
                              <a:pt x="3671" y="14771"/>
                            </a:cubicBezTo>
                            <a:cubicBezTo>
                              <a:pt x="3551" y="14711"/>
                              <a:pt x="3431" y="14711"/>
                              <a:pt x="3312" y="14651"/>
                            </a:cubicBezTo>
                            <a:cubicBezTo>
                              <a:pt x="3192" y="14591"/>
                              <a:pt x="3073" y="14531"/>
                              <a:pt x="3013" y="14471"/>
                            </a:cubicBezTo>
                            <a:cubicBezTo>
                              <a:pt x="2953" y="14412"/>
                              <a:pt x="2833" y="14352"/>
                              <a:pt x="2714" y="14292"/>
                            </a:cubicBezTo>
                            <a:cubicBezTo>
                              <a:pt x="2594" y="14232"/>
                              <a:pt x="2534" y="14172"/>
                              <a:pt x="2415" y="14112"/>
                            </a:cubicBezTo>
                            <a:cubicBezTo>
                              <a:pt x="1936" y="13694"/>
                              <a:pt x="1577" y="13215"/>
                              <a:pt x="1278" y="12677"/>
                            </a:cubicBezTo>
                            <a:cubicBezTo>
                              <a:pt x="979" y="12139"/>
                              <a:pt x="860" y="11481"/>
                              <a:pt x="800" y="10763"/>
                            </a:cubicBezTo>
                            <a:cubicBezTo>
                              <a:pt x="740" y="10046"/>
                              <a:pt x="800" y="9328"/>
                              <a:pt x="979" y="8550"/>
                            </a:cubicBezTo>
                            <a:cubicBezTo>
                              <a:pt x="1159" y="7773"/>
                              <a:pt x="1458" y="6995"/>
                              <a:pt x="1877" y="6218"/>
                            </a:cubicBezTo>
                            <a:cubicBezTo>
                              <a:pt x="2355" y="5261"/>
                              <a:pt x="3013" y="4484"/>
                              <a:pt x="3671" y="3766"/>
                            </a:cubicBezTo>
                            <a:cubicBezTo>
                              <a:pt x="4388" y="3048"/>
                              <a:pt x="5166" y="2450"/>
                              <a:pt x="5944" y="2032"/>
                            </a:cubicBezTo>
                            <a:cubicBezTo>
                              <a:pt x="6721" y="1613"/>
                              <a:pt x="7558" y="1314"/>
                              <a:pt x="8395" y="1194"/>
                            </a:cubicBezTo>
                            <a:cubicBezTo>
                              <a:pt x="9233" y="1074"/>
                              <a:pt x="10010" y="1134"/>
                              <a:pt x="10728" y="1433"/>
                            </a:cubicBezTo>
                            <a:cubicBezTo>
                              <a:pt x="10848" y="1493"/>
                              <a:pt x="10967" y="1493"/>
                              <a:pt x="11087" y="1553"/>
                            </a:cubicBezTo>
                            <a:cubicBezTo>
                              <a:pt x="11207" y="1613"/>
                              <a:pt x="11326" y="1673"/>
                              <a:pt x="11386" y="1732"/>
                            </a:cubicBezTo>
                            <a:cubicBezTo>
                              <a:pt x="11506" y="1792"/>
                              <a:pt x="11565" y="1852"/>
                              <a:pt x="11685" y="1912"/>
                            </a:cubicBezTo>
                            <a:cubicBezTo>
                              <a:pt x="11805" y="1852"/>
                              <a:pt x="11864" y="1912"/>
                              <a:pt x="11984" y="1972"/>
                            </a:cubicBezTo>
                            <a:moveTo>
                              <a:pt x="1817" y="14830"/>
                            </a:moveTo>
                            <a:cubicBezTo>
                              <a:pt x="1936" y="14890"/>
                              <a:pt x="1996" y="15010"/>
                              <a:pt x="2116" y="15069"/>
                            </a:cubicBezTo>
                            <a:cubicBezTo>
                              <a:pt x="2235" y="15129"/>
                              <a:pt x="2355" y="15189"/>
                              <a:pt x="2475" y="15249"/>
                            </a:cubicBezTo>
                            <a:cubicBezTo>
                              <a:pt x="2594" y="15309"/>
                              <a:pt x="2714" y="15368"/>
                              <a:pt x="2833" y="15428"/>
                            </a:cubicBezTo>
                            <a:cubicBezTo>
                              <a:pt x="2953" y="15488"/>
                              <a:pt x="3073" y="15548"/>
                              <a:pt x="3192" y="15608"/>
                            </a:cubicBezTo>
                            <a:cubicBezTo>
                              <a:pt x="4030" y="15907"/>
                              <a:pt x="4927" y="15966"/>
                              <a:pt x="5824" y="15847"/>
                            </a:cubicBezTo>
                            <a:cubicBezTo>
                              <a:pt x="6721" y="15727"/>
                              <a:pt x="7678" y="15368"/>
                              <a:pt x="8575" y="14890"/>
                            </a:cubicBezTo>
                            <a:cubicBezTo>
                              <a:pt x="9472" y="14412"/>
                              <a:pt x="10369" y="13754"/>
                              <a:pt x="11147" y="12917"/>
                            </a:cubicBezTo>
                            <a:cubicBezTo>
                              <a:pt x="11924" y="12139"/>
                              <a:pt x="12642" y="11182"/>
                              <a:pt x="13180" y="10105"/>
                            </a:cubicBezTo>
                            <a:cubicBezTo>
                              <a:pt x="13419" y="9567"/>
                              <a:pt x="13659" y="9089"/>
                              <a:pt x="13838" y="8550"/>
                            </a:cubicBezTo>
                            <a:cubicBezTo>
                              <a:pt x="14017" y="8012"/>
                              <a:pt x="14137" y="7534"/>
                              <a:pt x="14256" y="6995"/>
                            </a:cubicBezTo>
                            <a:cubicBezTo>
                              <a:pt x="14376" y="6517"/>
                              <a:pt x="14376" y="5979"/>
                              <a:pt x="14376" y="5500"/>
                            </a:cubicBezTo>
                            <a:cubicBezTo>
                              <a:pt x="14376" y="5022"/>
                              <a:pt x="14316" y="4543"/>
                              <a:pt x="14256" y="4065"/>
                            </a:cubicBezTo>
                            <a:cubicBezTo>
                              <a:pt x="14197" y="3766"/>
                              <a:pt x="14137" y="3467"/>
                              <a:pt x="14017" y="3168"/>
                            </a:cubicBezTo>
                            <a:cubicBezTo>
                              <a:pt x="13898" y="2869"/>
                              <a:pt x="13778" y="2629"/>
                              <a:pt x="13659" y="2390"/>
                            </a:cubicBezTo>
                            <a:cubicBezTo>
                              <a:pt x="13539" y="2151"/>
                              <a:pt x="13360" y="1912"/>
                              <a:pt x="13180" y="1673"/>
                            </a:cubicBezTo>
                            <a:cubicBezTo>
                              <a:pt x="13001" y="1433"/>
                              <a:pt x="12821" y="1254"/>
                              <a:pt x="12582" y="1074"/>
                            </a:cubicBezTo>
                            <a:cubicBezTo>
                              <a:pt x="12462" y="1015"/>
                              <a:pt x="12402" y="895"/>
                              <a:pt x="12283" y="835"/>
                            </a:cubicBezTo>
                            <a:cubicBezTo>
                              <a:pt x="12163" y="775"/>
                              <a:pt x="12044" y="716"/>
                              <a:pt x="11924" y="656"/>
                            </a:cubicBezTo>
                            <a:cubicBezTo>
                              <a:pt x="11805" y="596"/>
                              <a:pt x="11685" y="536"/>
                              <a:pt x="11565" y="477"/>
                            </a:cubicBezTo>
                            <a:cubicBezTo>
                              <a:pt x="11446" y="417"/>
                              <a:pt x="11326" y="357"/>
                              <a:pt x="11147" y="297"/>
                            </a:cubicBezTo>
                            <a:cubicBezTo>
                              <a:pt x="10309" y="-2"/>
                              <a:pt x="9412" y="-62"/>
                              <a:pt x="8515" y="58"/>
                            </a:cubicBezTo>
                            <a:cubicBezTo>
                              <a:pt x="7618" y="178"/>
                              <a:pt x="6661" y="536"/>
                              <a:pt x="5764" y="1015"/>
                            </a:cubicBezTo>
                            <a:cubicBezTo>
                              <a:pt x="4867" y="1493"/>
                              <a:pt x="3970" y="2151"/>
                              <a:pt x="3192" y="2988"/>
                            </a:cubicBezTo>
                            <a:cubicBezTo>
                              <a:pt x="2415" y="3766"/>
                              <a:pt x="1697" y="4723"/>
                              <a:pt x="1159" y="5799"/>
                            </a:cubicBezTo>
                            <a:cubicBezTo>
                              <a:pt x="680" y="6696"/>
                              <a:pt x="381" y="7594"/>
                              <a:pt x="202" y="8431"/>
                            </a:cubicBezTo>
                            <a:cubicBezTo>
                              <a:pt x="22" y="9328"/>
                              <a:pt x="-37" y="10165"/>
                              <a:pt x="22" y="10943"/>
                            </a:cubicBezTo>
                            <a:cubicBezTo>
                              <a:pt x="82" y="11720"/>
                              <a:pt x="262" y="12438"/>
                              <a:pt x="561" y="13096"/>
                            </a:cubicBezTo>
                            <a:cubicBezTo>
                              <a:pt x="860" y="13813"/>
                              <a:pt x="1278" y="14412"/>
                              <a:pt x="1817" y="14830"/>
                            </a:cubicBezTo>
                          </a:path>
                        </a:pathLst>
                      </a:custGeom>
                      <a:noFill/>
                      <a:ln w="6350" cap="flat">
                        <a:solidFill>
                          <a:schemeClr val="bg1">
                            <a:alpha val="40000"/>
                          </a:schemeClr>
                        </a:solidFill>
                        <a:prstDash val="solid"/>
                        <a:miter/>
                      </a:ln>
                    </p:spPr>
                    <p:txBody>
                      <a:bodyPr rtlCol="0" anchor="ctr"/>
                      <a:lstStyle/>
                      <a:p>
                        <a:endParaRPr lang="en-GB"/>
                      </a:p>
                    </p:txBody>
                  </p:sp>
                  <p:sp>
                    <p:nvSpPr>
                      <p:cNvPr id="7446" name="Vrije vorm: vorm 7445">
                        <a:extLst>
                          <a:ext uri="{FF2B5EF4-FFF2-40B4-BE49-F238E27FC236}">
                            <a16:creationId xmlns:a16="http://schemas.microsoft.com/office/drawing/2014/main" id="{84BDA1A4-68BE-49F9-ABBD-37A34CF1CE0D}"/>
                          </a:ext>
                        </a:extLst>
                      </p:cNvPr>
                      <p:cNvSpPr/>
                      <p:nvPr/>
                    </p:nvSpPr>
                    <p:spPr>
                      <a:xfrm>
                        <a:off x="5354620" y="5292892"/>
                        <a:ext cx="9532" cy="10433"/>
                      </a:xfrm>
                      <a:custGeom>
                        <a:avLst/>
                        <a:gdLst>
                          <a:gd name="connsiteX0" fmla="*/ 5323 w 9532"/>
                          <a:gd name="connsiteY0" fmla="*/ 8878 h 10433"/>
                          <a:gd name="connsiteX1" fmla="*/ 4665 w 9532"/>
                          <a:gd name="connsiteY1" fmla="*/ 9117 h 10433"/>
                          <a:gd name="connsiteX2" fmla="*/ 4007 w 9532"/>
                          <a:gd name="connsiteY2" fmla="*/ 9237 h 10433"/>
                          <a:gd name="connsiteX3" fmla="*/ 3349 w 9532"/>
                          <a:gd name="connsiteY3" fmla="*/ 9237 h 10433"/>
                          <a:gd name="connsiteX4" fmla="*/ 2751 w 9532"/>
                          <a:gd name="connsiteY4" fmla="*/ 9117 h 10433"/>
                          <a:gd name="connsiteX5" fmla="*/ 2572 w 9532"/>
                          <a:gd name="connsiteY5" fmla="*/ 9057 h 10433"/>
                          <a:gd name="connsiteX6" fmla="*/ 2392 w 9532"/>
                          <a:gd name="connsiteY6" fmla="*/ 8938 h 10433"/>
                          <a:gd name="connsiteX7" fmla="*/ 2213 w 9532"/>
                          <a:gd name="connsiteY7" fmla="*/ 8818 h 10433"/>
                          <a:gd name="connsiteX8" fmla="*/ 2034 w 9532"/>
                          <a:gd name="connsiteY8" fmla="*/ 8699 h 10433"/>
                          <a:gd name="connsiteX9" fmla="*/ 1376 w 9532"/>
                          <a:gd name="connsiteY9" fmla="*/ 7861 h 10433"/>
                          <a:gd name="connsiteX10" fmla="*/ 1076 w 9532"/>
                          <a:gd name="connsiteY10" fmla="*/ 6785 h 10433"/>
                          <a:gd name="connsiteX11" fmla="*/ 1136 w 9532"/>
                          <a:gd name="connsiteY11" fmla="*/ 5529 h 10433"/>
                          <a:gd name="connsiteX12" fmla="*/ 1555 w 9532"/>
                          <a:gd name="connsiteY12" fmla="*/ 4213 h 10433"/>
                          <a:gd name="connsiteX13" fmla="*/ 1555 w 9532"/>
                          <a:gd name="connsiteY13" fmla="*/ 4153 h 10433"/>
                          <a:gd name="connsiteX14" fmla="*/ 1555 w 9532"/>
                          <a:gd name="connsiteY14" fmla="*/ 4094 h 10433"/>
                          <a:gd name="connsiteX15" fmla="*/ 1615 w 9532"/>
                          <a:gd name="connsiteY15" fmla="*/ 4034 h 10433"/>
                          <a:gd name="connsiteX16" fmla="*/ 1675 w 9532"/>
                          <a:gd name="connsiteY16" fmla="*/ 3974 h 10433"/>
                          <a:gd name="connsiteX17" fmla="*/ 1794 w 9532"/>
                          <a:gd name="connsiteY17" fmla="*/ 3794 h 10433"/>
                          <a:gd name="connsiteX18" fmla="*/ 1914 w 9532"/>
                          <a:gd name="connsiteY18" fmla="*/ 3615 h 10433"/>
                          <a:gd name="connsiteX19" fmla="*/ 2034 w 9532"/>
                          <a:gd name="connsiteY19" fmla="*/ 3435 h 10433"/>
                          <a:gd name="connsiteX20" fmla="*/ 2153 w 9532"/>
                          <a:gd name="connsiteY20" fmla="*/ 3256 h 10433"/>
                          <a:gd name="connsiteX21" fmla="*/ 2572 w 9532"/>
                          <a:gd name="connsiteY21" fmla="*/ 2718 h 10433"/>
                          <a:gd name="connsiteX22" fmla="*/ 3050 w 9532"/>
                          <a:gd name="connsiteY22" fmla="*/ 2239 h 10433"/>
                          <a:gd name="connsiteX23" fmla="*/ 3589 w 9532"/>
                          <a:gd name="connsiteY23" fmla="*/ 1821 h 10433"/>
                          <a:gd name="connsiteX24" fmla="*/ 4127 w 9532"/>
                          <a:gd name="connsiteY24" fmla="*/ 1462 h 10433"/>
                          <a:gd name="connsiteX25" fmla="*/ 4844 w 9532"/>
                          <a:gd name="connsiteY25" fmla="*/ 1103 h 10433"/>
                          <a:gd name="connsiteX26" fmla="*/ 5562 w 9532"/>
                          <a:gd name="connsiteY26" fmla="*/ 924 h 10433"/>
                          <a:gd name="connsiteX27" fmla="*/ 6280 w 9532"/>
                          <a:gd name="connsiteY27" fmla="*/ 924 h 10433"/>
                          <a:gd name="connsiteX28" fmla="*/ 6938 w 9532"/>
                          <a:gd name="connsiteY28" fmla="*/ 1043 h 10433"/>
                          <a:gd name="connsiteX29" fmla="*/ 7117 w 9532"/>
                          <a:gd name="connsiteY29" fmla="*/ 1103 h 10433"/>
                          <a:gd name="connsiteX30" fmla="*/ 7297 w 9532"/>
                          <a:gd name="connsiteY30" fmla="*/ 1223 h 10433"/>
                          <a:gd name="connsiteX31" fmla="*/ 7476 w 9532"/>
                          <a:gd name="connsiteY31" fmla="*/ 1342 h 10433"/>
                          <a:gd name="connsiteX32" fmla="*/ 7656 w 9532"/>
                          <a:gd name="connsiteY32" fmla="*/ 1462 h 10433"/>
                          <a:gd name="connsiteX33" fmla="*/ 8194 w 9532"/>
                          <a:gd name="connsiteY33" fmla="*/ 2060 h 10433"/>
                          <a:gd name="connsiteX34" fmla="*/ 8493 w 9532"/>
                          <a:gd name="connsiteY34" fmla="*/ 2838 h 10433"/>
                          <a:gd name="connsiteX35" fmla="*/ 8612 w 9532"/>
                          <a:gd name="connsiteY35" fmla="*/ 3734 h 10433"/>
                          <a:gd name="connsiteX36" fmla="*/ 8493 w 9532"/>
                          <a:gd name="connsiteY36" fmla="*/ 4692 h 10433"/>
                          <a:gd name="connsiteX37" fmla="*/ 8433 w 9532"/>
                          <a:gd name="connsiteY37" fmla="*/ 4931 h 10433"/>
                          <a:gd name="connsiteX38" fmla="*/ 8373 w 9532"/>
                          <a:gd name="connsiteY38" fmla="*/ 5170 h 10433"/>
                          <a:gd name="connsiteX39" fmla="*/ 8313 w 9532"/>
                          <a:gd name="connsiteY39" fmla="*/ 5409 h 10433"/>
                          <a:gd name="connsiteX40" fmla="*/ 8194 w 9532"/>
                          <a:gd name="connsiteY40" fmla="*/ 5648 h 10433"/>
                          <a:gd name="connsiteX41" fmla="*/ 8134 w 9532"/>
                          <a:gd name="connsiteY41" fmla="*/ 5768 h 10433"/>
                          <a:gd name="connsiteX42" fmla="*/ 8074 w 9532"/>
                          <a:gd name="connsiteY42" fmla="*/ 5888 h 10433"/>
                          <a:gd name="connsiteX43" fmla="*/ 8014 w 9532"/>
                          <a:gd name="connsiteY43" fmla="*/ 6007 h 10433"/>
                          <a:gd name="connsiteX44" fmla="*/ 7954 w 9532"/>
                          <a:gd name="connsiteY44" fmla="*/ 6127 h 10433"/>
                          <a:gd name="connsiteX45" fmla="*/ 7656 w 9532"/>
                          <a:gd name="connsiteY45" fmla="*/ 6665 h 10433"/>
                          <a:gd name="connsiteX46" fmla="*/ 7297 w 9532"/>
                          <a:gd name="connsiteY46" fmla="*/ 7144 h 10433"/>
                          <a:gd name="connsiteX47" fmla="*/ 6878 w 9532"/>
                          <a:gd name="connsiteY47" fmla="*/ 7562 h 10433"/>
                          <a:gd name="connsiteX48" fmla="*/ 6459 w 9532"/>
                          <a:gd name="connsiteY48" fmla="*/ 7981 h 10433"/>
                          <a:gd name="connsiteX49" fmla="*/ 6220 w 9532"/>
                          <a:gd name="connsiteY49" fmla="*/ 8161 h 10433"/>
                          <a:gd name="connsiteX50" fmla="*/ 5981 w 9532"/>
                          <a:gd name="connsiteY50" fmla="*/ 8340 h 10433"/>
                          <a:gd name="connsiteX51" fmla="*/ 5742 w 9532"/>
                          <a:gd name="connsiteY51" fmla="*/ 8519 h 10433"/>
                          <a:gd name="connsiteX52" fmla="*/ 5503 w 9532"/>
                          <a:gd name="connsiteY52" fmla="*/ 8639 h 10433"/>
                          <a:gd name="connsiteX53" fmla="*/ 5443 w 9532"/>
                          <a:gd name="connsiteY53" fmla="*/ 8699 h 10433"/>
                          <a:gd name="connsiteX54" fmla="*/ 5383 w 9532"/>
                          <a:gd name="connsiteY54" fmla="*/ 8758 h 10433"/>
                          <a:gd name="connsiteX55" fmla="*/ 5323 w 9532"/>
                          <a:gd name="connsiteY55" fmla="*/ 8818 h 10433"/>
                          <a:gd name="connsiteX56" fmla="*/ 5323 w 9532"/>
                          <a:gd name="connsiteY56" fmla="*/ 8878 h 10433"/>
                          <a:gd name="connsiteX57" fmla="*/ 1974 w 9532"/>
                          <a:gd name="connsiteY57" fmla="*/ 8818 h 10433"/>
                          <a:gd name="connsiteX58" fmla="*/ 2153 w 9532"/>
                          <a:gd name="connsiteY58" fmla="*/ 8938 h 10433"/>
                          <a:gd name="connsiteX59" fmla="*/ 2333 w 9532"/>
                          <a:gd name="connsiteY59" fmla="*/ 9057 h 10433"/>
                          <a:gd name="connsiteX60" fmla="*/ 2512 w 9532"/>
                          <a:gd name="connsiteY60" fmla="*/ 9177 h 10433"/>
                          <a:gd name="connsiteX61" fmla="*/ 2691 w 9532"/>
                          <a:gd name="connsiteY61" fmla="*/ 9237 h 10433"/>
                          <a:gd name="connsiteX62" fmla="*/ 4067 w 9532"/>
                          <a:gd name="connsiteY62" fmla="*/ 9356 h 10433"/>
                          <a:gd name="connsiteX63" fmla="*/ 5562 w 9532"/>
                          <a:gd name="connsiteY63" fmla="*/ 8878 h 10433"/>
                          <a:gd name="connsiteX64" fmla="*/ 6938 w 9532"/>
                          <a:gd name="connsiteY64" fmla="*/ 7861 h 10433"/>
                          <a:gd name="connsiteX65" fmla="*/ 8014 w 9532"/>
                          <a:gd name="connsiteY65" fmla="*/ 6366 h 10433"/>
                          <a:gd name="connsiteX66" fmla="*/ 8373 w 9532"/>
                          <a:gd name="connsiteY66" fmla="*/ 5529 h 10433"/>
                          <a:gd name="connsiteX67" fmla="*/ 8612 w 9532"/>
                          <a:gd name="connsiteY67" fmla="*/ 4692 h 10433"/>
                          <a:gd name="connsiteX68" fmla="*/ 8672 w 9532"/>
                          <a:gd name="connsiteY68" fmla="*/ 3914 h 10433"/>
                          <a:gd name="connsiteX69" fmla="*/ 8612 w 9532"/>
                          <a:gd name="connsiteY69" fmla="*/ 3137 h 10433"/>
                          <a:gd name="connsiteX70" fmla="*/ 8493 w 9532"/>
                          <a:gd name="connsiteY70" fmla="*/ 2658 h 10433"/>
                          <a:gd name="connsiteX71" fmla="*/ 8313 w 9532"/>
                          <a:gd name="connsiteY71" fmla="*/ 2239 h 10433"/>
                          <a:gd name="connsiteX72" fmla="*/ 8074 w 9532"/>
                          <a:gd name="connsiteY72" fmla="*/ 1880 h 10433"/>
                          <a:gd name="connsiteX73" fmla="*/ 7775 w 9532"/>
                          <a:gd name="connsiteY73" fmla="*/ 1581 h 10433"/>
                          <a:gd name="connsiteX74" fmla="*/ 7596 w 9532"/>
                          <a:gd name="connsiteY74" fmla="*/ 1462 h 10433"/>
                          <a:gd name="connsiteX75" fmla="*/ 7416 w 9532"/>
                          <a:gd name="connsiteY75" fmla="*/ 1342 h 10433"/>
                          <a:gd name="connsiteX76" fmla="*/ 7237 w 9532"/>
                          <a:gd name="connsiteY76" fmla="*/ 1223 h 10433"/>
                          <a:gd name="connsiteX77" fmla="*/ 7057 w 9532"/>
                          <a:gd name="connsiteY77" fmla="*/ 1163 h 10433"/>
                          <a:gd name="connsiteX78" fmla="*/ 5622 w 9532"/>
                          <a:gd name="connsiteY78" fmla="*/ 1043 h 10433"/>
                          <a:gd name="connsiteX79" fmla="*/ 4127 w 9532"/>
                          <a:gd name="connsiteY79" fmla="*/ 1522 h 10433"/>
                          <a:gd name="connsiteX80" fmla="*/ 2751 w 9532"/>
                          <a:gd name="connsiteY80" fmla="*/ 2539 h 10433"/>
                          <a:gd name="connsiteX81" fmla="*/ 1675 w 9532"/>
                          <a:gd name="connsiteY81" fmla="*/ 4034 h 10433"/>
                          <a:gd name="connsiteX82" fmla="*/ 1136 w 9532"/>
                          <a:gd name="connsiteY82" fmla="*/ 5469 h 10433"/>
                          <a:gd name="connsiteX83" fmla="*/ 1017 w 9532"/>
                          <a:gd name="connsiteY83" fmla="*/ 6785 h 10433"/>
                          <a:gd name="connsiteX84" fmla="*/ 1316 w 9532"/>
                          <a:gd name="connsiteY84" fmla="*/ 7921 h 10433"/>
                          <a:gd name="connsiteX85" fmla="*/ 1974 w 9532"/>
                          <a:gd name="connsiteY85" fmla="*/ 8818 h 10433"/>
                          <a:gd name="connsiteX86" fmla="*/ 8313 w 9532"/>
                          <a:gd name="connsiteY86" fmla="*/ 744 h 10433"/>
                          <a:gd name="connsiteX87" fmla="*/ 9151 w 9532"/>
                          <a:gd name="connsiteY87" fmla="*/ 1821 h 10433"/>
                          <a:gd name="connsiteX88" fmla="*/ 9510 w 9532"/>
                          <a:gd name="connsiteY88" fmla="*/ 3196 h 10433"/>
                          <a:gd name="connsiteX89" fmla="*/ 9390 w 9532"/>
                          <a:gd name="connsiteY89" fmla="*/ 4811 h 10433"/>
                          <a:gd name="connsiteX90" fmla="*/ 8732 w 9532"/>
                          <a:gd name="connsiteY90" fmla="*/ 6486 h 10433"/>
                          <a:gd name="connsiteX91" fmla="*/ 8134 w 9532"/>
                          <a:gd name="connsiteY91" fmla="*/ 7443 h 10433"/>
                          <a:gd name="connsiteX92" fmla="*/ 7416 w 9532"/>
                          <a:gd name="connsiteY92" fmla="*/ 8280 h 10433"/>
                          <a:gd name="connsiteX93" fmla="*/ 6639 w 9532"/>
                          <a:gd name="connsiteY93" fmla="*/ 8998 h 10433"/>
                          <a:gd name="connsiteX94" fmla="*/ 5742 w 9532"/>
                          <a:gd name="connsiteY94" fmla="*/ 9596 h 10433"/>
                          <a:gd name="connsiteX95" fmla="*/ 4844 w 9532"/>
                          <a:gd name="connsiteY95" fmla="*/ 10015 h 10433"/>
                          <a:gd name="connsiteX96" fmla="*/ 3947 w 9532"/>
                          <a:gd name="connsiteY96" fmla="*/ 10254 h 10433"/>
                          <a:gd name="connsiteX97" fmla="*/ 3050 w 9532"/>
                          <a:gd name="connsiteY97" fmla="*/ 10254 h 10433"/>
                          <a:gd name="connsiteX98" fmla="*/ 2213 w 9532"/>
                          <a:gd name="connsiteY98" fmla="*/ 10074 h 10433"/>
                          <a:gd name="connsiteX99" fmla="*/ 1974 w 9532"/>
                          <a:gd name="connsiteY99" fmla="*/ 9955 h 10433"/>
                          <a:gd name="connsiteX100" fmla="*/ 1735 w 9532"/>
                          <a:gd name="connsiteY100" fmla="*/ 9835 h 10433"/>
                          <a:gd name="connsiteX101" fmla="*/ 1495 w 9532"/>
                          <a:gd name="connsiteY101" fmla="*/ 9715 h 10433"/>
                          <a:gd name="connsiteX102" fmla="*/ 1316 w 9532"/>
                          <a:gd name="connsiteY102" fmla="*/ 9536 h 10433"/>
                          <a:gd name="connsiteX103" fmla="*/ 479 w 9532"/>
                          <a:gd name="connsiteY103" fmla="*/ 8459 h 10433"/>
                          <a:gd name="connsiteX104" fmla="*/ 120 w 9532"/>
                          <a:gd name="connsiteY104" fmla="*/ 7084 h 10433"/>
                          <a:gd name="connsiteX105" fmla="*/ 239 w 9532"/>
                          <a:gd name="connsiteY105" fmla="*/ 5469 h 10433"/>
                          <a:gd name="connsiteX106" fmla="*/ 897 w 9532"/>
                          <a:gd name="connsiteY106" fmla="*/ 3734 h 10433"/>
                          <a:gd name="connsiteX107" fmla="*/ 2213 w 9532"/>
                          <a:gd name="connsiteY107" fmla="*/ 1940 h 10433"/>
                          <a:gd name="connsiteX108" fmla="*/ 3888 w 9532"/>
                          <a:gd name="connsiteY108" fmla="*/ 685 h 10433"/>
                          <a:gd name="connsiteX109" fmla="*/ 5682 w 9532"/>
                          <a:gd name="connsiteY109" fmla="*/ 86 h 10433"/>
                          <a:gd name="connsiteX110" fmla="*/ 7416 w 9532"/>
                          <a:gd name="connsiteY110" fmla="*/ 266 h 10433"/>
                          <a:gd name="connsiteX111" fmla="*/ 7656 w 9532"/>
                          <a:gd name="connsiteY111" fmla="*/ 385 h 10433"/>
                          <a:gd name="connsiteX112" fmla="*/ 7895 w 9532"/>
                          <a:gd name="connsiteY112" fmla="*/ 505 h 10433"/>
                          <a:gd name="connsiteX113" fmla="*/ 8134 w 9532"/>
                          <a:gd name="connsiteY113" fmla="*/ 625 h 10433"/>
                          <a:gd name="connsiteX114" fmla="*/ 8313 w 9532"/>
                          <a:gd name="connsiteY114" fmla="*/ 744 h 10433"/>
                          <a:gd name="connsiteX115" fmla="*/ 1256 w 9532"/>
                          <a:gd name="connsiteY115" fmla="*/ 9656 h 10433"/>
                          <a:gd name="connsiteX116" fmla="*/ 1495 w 9532"/>
                          <a:gd name="connsiteY116" fmla="*/ 9835 h 10433"/>
                          <a:gd name="connsiteX117" fmla="*/ 1735 w 9532"/>
                          <a:gd name="connsiteY117" fmla="*/ 9955 h 10433"/>
                          <a:gd name="connsiteX118" fmla="*/ 1974 w 9532"/>
                          <a:gd name="connsiteY118" fmla="*/ 10074 h 10433"/>
                          <a:gd name="connsiteX119" fmla="*/ 2213 w 9532"/>
                          <a:gd name="connsiteY119" fmla="*/ 10194 h 10433"/>
                          <a:gd name="connsiteX120" fmla="*/ 2811 w 9532"/>
                          <a:gd name="connsiteY120" fmla="*/ 10373 h 10433"/>
                          <a:gd name="connsiteX121" fmla="*/ 3409 w 9532"/>
                          <a:gd name="connsiteY121" fmla="*/ 10433 h 10433"/>
                          <a:gd name="connsiteX122" fmla="*/ 4067 w 9532"/>
                          <a:gd name="connsiteY122" fmla="*/ 10373 h 10433"/>
                          <a:gd name="connsiteX123" fmla="*/ 4725 w 9532"/>
                          <a:gd name="connsiteY123" fmla="*/ 10194 h 10433"/>
                          <a:gd name="connsiteX124" fmla="*/ 4964 w 9532"/>
                          <a:gd name="connsiteY124" fmla="*/ 10134 h 10433"/>
                          <a:gd name="connsiteX125" fmla="*/ 5203 w 9532"/>
                          <a:gd name="connsiteY125" fmla="*/ 10015 h 10433"/>
                          <a:gd name="connsiteX126" fmla="*/ 5443 w 9532"/>
                          <a:gd name="connsiteY126" fmla="*/ 9895 h 10433"/>
                          <a:gd name="connsiteX127" fmla="*/ 5682 w 9532"/>
                          <a:gd name="connsiteY127" fmla="*/ 9775 h 10433"/>
                          <a:gd name="connsiteX128" fmla="*/ 5682 w 9532"/>
                          <a:gd name="connsiteY128" fmla="*/ 9775 h 10433"/>
                          <a:gd name="connsiteX129" fmla="*/ 5682 w 9532"/>
                          <a:gd name="connsiteY129" fmla="*/ 9775 h 10433"/>
                          <a:gd name="connsiteX130" fmla="*/ 5682 w 9532"/>
                          <a:gd name="connsiteY130" fmla="*/ 9775 h 10433"/>
                          <a:gd name="connsiteX131" fmla="*/ 5682 w 9532"/>
                          <a:gd name="connsiteY131" fmla="*/ 9775 h 10433"/>
                          <a:gd name="connsiteX132" fmla="*/ 6579 w 9532"/>
                          <a:gd name="connsiteY132" fmla="*/ 9177 h 10433"/>
                          <a:gd name="connsiteX133" fmla="*/ 7416 w 9532"/>
                          <a:gd name="connsiteY133" fmla="*/ 8459 h 10433"/>
                          <a:gd name="connsiteX134" fmla="*/ 8134 w 9532"/>
                          <a:gd name="connsiteY134" fmla="*/ 7622 h 10433"/>
                          <a:gd name="connsiteX135" fmla="*/ 8732 w 9532"/>
                          <a:gd name="connsiteY135" fmla="*/ 6665 h 10433"/>
                          <a:gd name="connsiteX136" fmla="*/ 8792 w 9532"/>
                          <a:gd name="connsiteY136" fmla="*/ 6546 h 10433"/>
                          <a:gd name="connsiteX137" fmla="*/ 8852 w 9532"/>
                          <a:gd name="connsiteY137" fmla="*/ 6426 h 10433"/>
                          <a:gd name="connsiteX138" fmla="*/ 8911 w 9532"/>
                          <a:gd name="connsiteY138" fmla="*/ 6306 h 10433"/>
                          <a:gd name="connsiteX139" fmla="*/ 8971 w 9532"/>
                          <a:gd name="connsiteY139" fmla="*/ 6187 h 10433"/>
                          <a:gd name="connsiteX140" fmla="*/ 9091 w 9532"/>
                          <a:gd name="connsiteY140" fmla="*/ 5948 h 10433"/>
                          <a:gd name="connsiteX141" fmla="*/ 9151 w 9532"/>
                          <a:gd name="connsiteY141" fmla="*/ 5708 h 10433"/>
                          <a:gd name="connsiteX142" fmla="*/ 9211 w 9532"/>
                          <a:gd name="connsiteY142" fmla="*/ 5469 h 10433"/>
                          <a:gd name="connsiteX143" fmla="*/ 9270 w 9532"/>
                          <a:gd name="connsiteY143" fmla="*/ 5230 h 10433"/>
                          <a:gd name="connsiteX144" fmla="*/ 9510 w 9532"/>
                          <a:gd name="connsiteY144" fmla="*/ 3914 h 10433"/>
                          <a:gd name="connsiteX145" fmla="*/ 9390 w 9532"/>
                          <a:gd name="connsiteY145" fmla="*/ 2658 h 10433"/>
                          <a:gd name="connsiteX146" fmla="*/ 8971 w 9532"/>
                          <a:gd name="connsiteY146" fmla="*/ 1581 h 10433"/>
                          <a:gd name="connsiteX147" fmla="*/ 8253 w 9532"/>
                          <a:gd name="connsiteY147" fmla="*/ 744 h 10433"/>
                          <a:gd name="connsiteX148" fmla="*/ 8014 w 9532"/>
                          <a:gd name="connsiteY148" fmla="*/ 565 h 10433"/>
                          <a:gd name="connsiteX149" fmla="*/ 7775 w 9532"/>
                          <a:gd name="connsiteY149" fmla="*/ 445 h 10433"/>
                          <a:gd name="connsiteX150" fmla="*/ 7536 w 9532"/>
                          <a:gd name="connsiteY150" fmla="*/ 326 h 10433"/>
                          <a:gd name="connsiteX151" fmla="*/ 7297 w 9532"/>
                          <a:gd name="connsiteY151" fmla="*/ 206 h 10433"/>
                          <a:gd name="connsiteX152" fmla="*/ 6459 w 9532"/>
                          <a:gd name="connsiteY152" fmla="*/ 26 h 10433"/>
                          <a:gd name="connsiteX153" fmla="*/ 5562 w 9532"/>
                          <a:gd name="connsiteY153" fmla="*/ 26 h 10433"/>
                          <a:gd name="connsiteX154" fmla="*/ 4605 w 9532"/>
                          <a:gd name="connsiteY154" fmla="*/ 266 h 10433"/>
                          <a:gd name="connsiteX155" fmla="*/ 3648 w 9532"/>
                          <a:gd name="connsiteY155" fmla="*/ 685 h 10433"/>
                          <a:gd name="connsiteX156" fmla="*/ 2871 w 9532"/>
                          <a:gd name="connsiteY156" fmla="*/ 1163 h 10433"/>
                          <a:gd name="connsiteX157" fmla="*/ 2153 w 9532"/>
                          <a:gd name="connsiteY157" fmla="*/ 1761 h 10433"/>
                          <a:gd name="connsiteX158" fmla="*/ 1495 w 9532"/>
                          <a:gd name="connsiteY158" fmla="*/ 2479 h 10433"/>
                          <a:gd name="connsiteX159" fmla="*/ 957 w 9532"/>
                          <a:gd name="connsiteY159" fmla="*/ 3256 h 10433"/>
                          <a:gd name="connsiteX160" fmla="*/ 897 w 9532"/>
                          <a:gd name="connsiteY160" fmla="*/ 3376 h 10433"/>
                          <a:gd name="connsiteX161" fmla="*/ 837 w 9532"/>
                          <a:gd name="connsiteY161" fmla="*/ 3495 h 10433"/>
                          <a:gd name="connsiteX162" fmla="*/ 778 w 9532"/>
                          <a:gd name="connsiteY162" fmla="*/ 3615 h 10433"/>
                          <a:gd name="connsiteX163" fmla="*/ 718 w 9532"/>
                          <a:gd name="connsiteY163" fmla="*/ 3734 h 10433"/>
                          <a:gd name="connsiteX164" fmla="*/ 359 w 9532"/>
                          <a:gd name="connsiteY164" fmla="*/ 4572 h 10433"/>
                          <a:gd name="connsiteX165" fmla="*/ 120 w 9532"/>
                          <a:gd name="connsiteY165" fmla="*/ 5409 h 10433"/>
                          <a:gd name="connsiteX166" fmla="*/ 0 w 9532"/>
                          <a:gd name="connsiteY166" fmla="*/ 6247 h 10433"/>
                          <a:gd name="connsiteX167" fmla="*/ 0 w 9532"/>
                          <a:gd name="connsiteY167" fmla="*/ 7024 h 10433"/>
                          <a:gd name="connsiteX168" fmla="*/ 120 w 9532"/>
                          <a:gd name="connsiteY168" fmla="*/ 7802 h 10433"/>
                          <a:gd name="connsiteX169" fmla="*/ 359 w 9532"/>
                          <a:gd name="connsiteY169" fmla="*/ 8459 h 10433"/>
                          <a:gd name="connsiteX170" fmla="*/ 718 w 9532"/>
                          <a:gd name="connsiteY170" fmla="*/ 9057 h 10433"/>
                          <a:gd name="connsiteX171" fmla="*/ 1256 w 9532"/>
                          <a:gd name="connsiteY171" fmla="*/ 9656 h 10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532" h="10433">
                            <a:moveTo>
                              <a:pt x="5323" y="8878"/>
                            </a:moveTo>
                            <a:cubicBezTo>
                              <a:pt x="5084" y="8998"/>
                              <a:pt x="4904" y="9057"/>
                              <a:pt x="4665" y="9117"/>
                            </a:cubicBezTo>
                            <a:cubicBezTo>
                              <a:pt x="4426" y="9177"/>
                              <a:pt x="4246" y="9237"/>
                              <a:pt x="4007" y="9237"/>
                            </a:cubicBezTo>
                            <a:cubicBezTo>
                              <a:pt x="3768" y="9237"/>
                              <a:pt x="3589" y="9237"/>
                              <a:pt x="3349" y="9237"/>
                            </a:cubicBezTo>
                            <a:cubicBezTo>
                              <a:pt x="3170" y="9237"/>
                              <a:pt x="2930" y="9177"/>
                              <a:pt x="2751" y="9117"/>
                            </a:cubicBezTo>
                            <a:cubicBezTo>
                              <a:pt x="2691" y="9117"/>
                              <a:pt x="2632" y="9057"/>
                              <a:pt x="2572" y="9057"/>
                            </a:cubicBezTo>
                            <a:cubicBezTo>
                              <a:pt x="2512" y="9057"/>
                              <a:pt x="2452" y="8998"/>
                              <a:pt x="2392" y="8938"/>
                            </a:cubicBezTo>
                            <a:cubicBezTo>
                              <a:pt x="2333" y="8878"/>
                              <a:pt x="2273" y="8878"/>
                              <a:pt x="2213" y="8818"/>
                            </a:cubicBezTo>
                            <a:cubicBezTo>
                              <a:pt x="2153" y="8758"/>
                              <a:pt x="2093" y="8758"/>
                              <a:pt x="2034" y="8699"/>
                            </a:cubicBezTo>
                            <a:cubicBezTo>
                              <a:pt x="1794" y="8459"/>
                              <a:pt x="1555" y="8220"/>
                              <a:pt x="1376" y="7861"/>
                            </a:cubicBezTo>
                            <a:cubicBezTo>
                              <a:pt x="1196" y="7502"/>
                              <a:pt x="1136" y="7203"/>
                              <a:pt x="1076" y="6785"/>
                            </a:cubicBezTo>
                            <a:cubicBezTo>
                              <a:pt x="1017" y="6426"/>
                              <a:pt x="1076" y="6007"/>
                              <a:pt x="1136" y="5529"/>
                            </a:cubicBezTo>
                            <a:cubicBezTo>
                              <a:pt x="1196" y="5110"/>
                              <a:pt x="1376" y="4692"/>
                              <a:pt x="1555" y="4213"/>
                            </a:cubicBezTo>
                            <a:cubicBezTo>
                              <a:pt x="1555" y="4213"/>
                              <a:pt x="1555" y="4153"/>
                              <a:pt x="1555" y="4153"/>
                            </a:cubicBezTo>
                            <a:cubicBezTo>
                              <a:pt x="1555" y="4153"/>
                              <a:pt x="1555" y="4094"/>
                              <a:pt x="1555" y="4094"/>
                            </a:cubicBezTo>
                            <a:cubicBezTo>
                              <a:pt x="1555" y="4094"/>
                              <a:pt x="1555" y="4034"/>
                              <a:pt x="1615" y="4034"/>
                            </a:cubicBezTo>
                            <a:cubicBezTo>
                              <a:pt x="1675" y="4034"/>
                              <a:pt x="1615" y="3974"/>
                              <a:pt x="1675" y="3974"/>
                            </a:cubicBezTo>
                            <a:cubicBezTo>
                              <a:pt x="1675" y="3914"/>
                              <a:pt x="1735" y="3854"/>
                              <a:pt x="1794" y="3794"/>
                            </a:cubicBezTo>
                            <a:cubicBezTo>
                              <a:pt x="1854" y="3734"/>
                              <a:pt x="1854" y="3675"/>
                              <a:pt x="1914" y="3615"/>
                            </a:cubicBezTo>
                            <a:cubicBezTo>
                              <a:pt x="1974" y="3555"/>
                              <a:pt x="1974" y="3495"/>
                              <a:pt x="2034" y="3435"/>
                            </a:cubicBezTo>
                            <a:cubicBezTo>
                              <a:pt x="2093" y="3376"/>
                              <a:pt x="2093" y="3316"/>
                              <a:pt x="2153" y="3256"/>
                            </a:cubicBezTo>
                            <a:cubicBezTo>
                              <a:pt x="2273" y="3077"/>
                              <a:pt x="2452" y="2897"/>
                              <a:pt x="2572" y="2718"/>
                            </a:cubicBezTo>
                            <a:cubicBezTo>
                              <a:pt x="2751" y="2539"/>
                              <a:pt x="2871" y="2359"/>
                              <a:pt x="3050" y="2239"/>
                            </a:cubicBezTo>
                            <a:cubicBezTo>
                              <a:pt x="3230" y="2060"/>
                              <a:pt x="3409" y="1940"/>
                              <a:pt x="3589" y="1821"/>
                            </a:cubicBezTo>
                            <a:cubicBezTo>
                              <a:pt x="3768" y="1701"/>
                              <a:pt x="3947" y="1581"/>
                              <a:pt x="4127" y="1462"/>
                            </a:cubicBezTo>
                            <a:cubicBezTo>
                              <a:pt x="4366" y="1342"/>
                              <a:pt x="4605" y="1223"/>
                              <a:pt x="4844" y="1103"/>
                            </a:cubicBezTo>
                            <a:cubicBezTo>
                              <a:pt x="5084" y="1043"/>
                              <a:pt x="5323" y="984"/>
                              <a:pt x="5562" y="924"/>
                            </a:cubicBezTo>
                            <a:cubicBezTo>
                              <a:pt x="5801" y="864"/>
                              <a:pt x="6041" y="864"/>
                              <a:pt x="6280" y="924"/>
                            </a:cubicBezTo>
                            <a:cubicBezTo>
                              <a:pt x="6519" y="984"/>
                              <a:pt x="6698" y="984"/>
                              <a:pt x="6938" y="1043"/>
                            </a:cubicBezTo>
                            <a:cubicBezTo>
                              <a:pt x="6998" y="1043"/>
                              <a:pt x="7057" y="1103"/>
                              <a:pt x="7117" y="1103"/>
                            </a:cubicBezTo>
                            <a:cubicBezTo>
                              <a:pt x="7177" y="1103"/>
                              <a:pt x="7237" y="1163"/>
                              <a:pt x="7297" y="1223"/>
                            </a:cubicBezTo>
                            <a:cubicBezTo>
                              <a:pt x="7357" y="1283"/>
                              <a:pt x="7416" y="1283"/>
                              <a:pt x="7476" y="1342"/>
                            </a:cubicBezTo>
                            <a:cubicBezTo>
                              <a:pt x="7536" y="1402"/>
                              <a:pt x="7596" y="1402"/>
                              <a:pt x="7656" y="1462"/>
                            </a:cubicBezTo>
                            <a:cubicBezTo>
                              <a:pt x="7835" y="1641"/>
                              <a:pt x="8014" y="1821"/>
                              <a:pt x="8194" y="2060"/>
                            </a:cubicBezTo>
                            <a:cubicBezTo>
                              <a:pt x="8313" y="2299"/>
                              <a:pt x="8433" y="2539"/>
                              <a:pt x="8493" y="2838"/>
                            </a:cubicBezTo>
                            <a:cubicBezTo>
                              <a:pt x="8552" y="3137"/>
                              <a:pt x="8612" y="3435"/>
                              <a:pt x="8612" y="3734"/>
                            </a:cubicBezTo>
                            <a:cubicBezTo>
                              <a:pt x="8612" y="4034"/>
                              <a:pt x="8552" y="4393"/>
                              <a:pt x="8493" y="4692"/>
                            </a:cubicBezTo>
                            <a:cubicBezTo>
                              <a:pt x="8493" y="4751"/>
                              <a:pt x="8433" y="4871"/>
                              <a:pt x="8433" y="4931"/>
                            </a:cubicBezTo>
                            <a:cubicBezTo>
                              <a:pt x="8433" y="4991"/>
                              <a:pt x="8373" y="5110"/>
                              <a:pt x="8373" y="5170"/>
                            </a:cubicBezTo>
                            <a:cubicBezTo>
                              <a:pt x="8373" y="5230"/>
                              <a:pt x="8313" y="5349"/>
                              <a:pt x="8313" y="5409"/>
                            </a:cubicBezTo>
                            <a:cubicBezTo>
                              <a:pt x="8313" y="5469"/>
                              <a:pt x="8253" y="5589"/>
                              <a:pt x="8194" y="5648"/>
                            </a:cubicBezTo>
                            <a:cubicBezTo>
                              <a:pt x="8194" y="5708"/>
                              <a:pt x="8134" y="5708"/>
                              <a:pt x="8134" y="5768"/>
                            </a:cubicBezTo>
                            <a:cubicBezTo>
                              <a:pt x="8134" y="5828"/>
                              <a:pt x="8074" y="5828"/>
                              <a:pt x="8074" y="5888"/>
                            </a:cubicBezTo>
                            <a:cubicBezTo>
                              <a:pt x="8074" y="5948"/>
                              <a:pt x="8014" y="5948"/>
                              <a:pt x="8014" y="6007"/>
                            </a:cubicBezTo>
                            <a:cubicBezTo>
                              <a:pt x="8014" y="6067"/>
                              <a:pt x="7954" y="6067"/>
                              <a:pt x="7954" y="6127"/>
                            </a:cubicBezTo>
                            <a:cubicBezTo>
                              <a:pt x="7835" y="6306"/>
                              <a:pt x="7775" y="6486"/>
                              <a:pt x="7656" y="6665"/>
                            </a:cubicBezTo>
                            <a:cubicBezTo>
                              <a:pt x="7536" y="6845"/>
                              <a:pt x="7416" y="7024"/>
                              <a:pt x="7297" y="7144"/>
                            </a:cubicBezTo>
                            <a:cubicBezTo>
                              <a:pt x="7177" y="7323"/>
                              <a:pt x="7057" y="7443"/>
                              <a:pt x="6878" y="7562"/>
                            </a:cubicBezTo>
                            <a:cubicBezTo>
                              <a:pt x="6698" y="7682"/>
                              <a:pt x="6579" y="7861"/>
                              <a:pt x="6459" y="7981"/>
                            </a:cubicBezTo>
                            <a:cubicBezTo>
                              <a:pt x="6399" y="8041"/>
                              <a:pt x="6340" y="8101"/>
                              <a:pt x="6220" y="8161"/>
                            </a:cubicBezTo>
                            <a:cubicBezTo>
                              <a:pt x="6100" y="8220"/>
                              <a:pt x="6100" y="8280"/>
                              <a:pt x="5981" y="8340"/>
                            </a:cubicBezTo>
                            <a:cubicBezTo>
                              <a:pt x="5921" y="8400"/>
                              <a:pt x="5801" y="8459"/>
                              <a:pt x="5742" y="8519"/>
                            </a:cubicBezTo>
                            <a:cubicBezTo>
                              <a:pt x="5682" y="8579"/>
                              <a:pt x="5562" y="8639"/>
                              <a:pt x="5503" y="8639"/>
                            </a:cubicBezTo>
                            <a:cubicBezTo>
                              <a:pt x="5503" y="8639"/>
                              <a:pt x="5443" y="8639"/>
                              <a:pt x="5443" y="8699"/>
                            </a:cubicBezTo>
                            <a:cubicBezTo>
                              <a:pt x="5443" y="8699"/>
                              <a:pt x="5383" y="8699"/>
                              <a:pt x="5383" y="8758"/>
                            </a:cubicBezTo>
                            <a:cubicBezTo>
                              <a:pt x="5383" y="8758"/>
                              <a:pt x="5323" y="8758"/>
                              <a:pt x="5323" y="8818"/>
                            </a:cubicBezTo>
                            <a:cubicBezTo>
                              <a:pt x="5323" y="8818"/>
                              <a:pt x="5323" y="8878"/>
                              <a:pt x="5323" y="8878"/>
                            </a:cubicBezTo>
                            <a:moveTo>
                              <a:pt x="1974" y="8818"/>
                            </a:moveTo>
                            <a:cubicBezTo>
                              <a:pt x="2034" y="8878"/>
                              <a:pt x="2093" y="8878"/>
                              <a:pt x="2153" y="8938"/>
                            </a:cubicBezTo>
                            <a:cubicBezTo>
                              <a:pt x="2213" y="8998"/>
                              <a:pt x="2273" y="8998"/>
                              <a:pt x="2333" y="9057"/>
                            </a:cubicBezTo>
                            <a:cubicBezTo>
                              <a:pt x="2392" y="9117"/>
                              <a:pt x="2452" y="9117"/>
                              <a:pt x="2512" y="9177"/>
                            </a:cubicBezTo>
                            <a:cubicBezTo>
                              <a:pt x="2572" y="9177"/>
                              <a:pt x="2632" y="9237"/>
                              <a:pt x="2691" y="9237"/>
                            </a:cubicBezTo>
                            <a:cubicBezTo>
                              <a:pt x="3110" y="9416"/>
                              <a:pt x="3589" y="9416"/>
                              <a:pt x="4067" y="9356"/>
                            </a:cubicBezTo>
                            <a:cubicBezTo>
                              <a:pt x="4545" y="9297"/>
                              <a:pt x="5084" y="9117"/>
                              <a:pt x="5562" y="8878"/>
                            </a:cubicBezTo>
                            <a:cubicBezTo>
                              <a:pt x="6041" y="8639"/>
                              <a:pt x="6519" y="8280"/>
                              <a:pt x="6938" y="7861"/>
                            </a:cubicBezTo>
                            <a:cubicBezTo>
                              <a:pt x="7357" y="7443"/>
                              <a:pt x="7715" y="6904"/>
                              <a:pt x="8014" y="6366"/>
                            </a:cubicBezTo>
                            <a:cubicBezTo>
                              <a:pt x="8134" y="6127"/>
                              <a:pt x="8253" y="5828"/>
                              <a:pt x="8373" y="5529"/>
                            </a:cubicBezTo>
                            <a:cubicBezTo>
                              <a:pt x="8493" y="5230"/>
                              <a:pt x="8552" y="4991"/>
                              <a:pt x="8612" y="4692"/>
                            </a:cubicBezTo>
                            <a:cubicBezTo>
                              <a:pt x="8672" y="4393"/>
                              <a:pt x="8672" y="4153"/>
                              <a:pt x="8672" y="3914"/>
                            </a:cubicBezTo>
                            <a:cubicBezTo>
                              <a:pt x="8672" y="3675"/>
                              <a:pt x="8672" y="3376"/>
                              <a:pt x="8612" y="3137"/>
                            </a:cubicBezTo>
                            <a:cubicBezTo>
                              <a:pt x="8552" y="2957"/>
                              <a:pt x="8552" y="2838"/>
                              <a:pt x="8493" y="2658"/>
                            </a:cubicBezTo>
                            <a:cubicBezTo>
                              <a:pt x="8433" y="2539"/>
                              <a:pt x="8373" y="2359"/>
                              <a:pt x="8313" y="2239"/>
                            </a:cubicBezTo>
                            <a:cubicBezTo>
                              <a:pt x="8253" y="2120"/>
                              <a:pt x="8134" y="2000"/>
                              <a:pt x="8074" y="1880"/>
                            </a:cubicBezTo>
                            <a:cubicBezTo>
                              <a:pt x="7954" y="1761"/>
                              <a:pt x="7895" y="1641"/>
                              <a:pt x="7775" y="1581"/>
                            </a:cubicBezTo>
                            <a:cubicBezTo>
                              <a:pt x="7715" y="1522"/>
                              <a:pt x="7656" y="1522"/>
                              <a:pt x="7596" y="1462"/>
                            </a:cubicBezTo>
                            <a:cubicBezTo>
                              <a:pt x="7536" y="1402"/>
                              <a:pt x="7476" y="1402"/>
                              <a:pt x="7416" y="1342"/>
                            </a:cubicBezTo>
                            <a:cubicBezTo>
                              <a:pt x="7357" y="1283"/>
                              <a:pt x="7297" y="1283"/>
                              <a:pt x="7237" y="1223"/>
                            </a:cubicBezTo>
                            <a:cubicBezTo>
                              <a:pt x="7177" y="1163"/>
                              <a:pt x="7117" y="1163"/>
                              <a:pt x="7057" y="1163"/>
                            </a:cubicBezTo>
                            <a:cubicBezTo>
                              <a:pt x="6639" y="984"/>
                              <a:pt x="6160" y="984"/>
                              <a:pt x="5622" y="1043"/>
                            </a:cubicBezTo>
                            <a:cubicBezTo>
                              <a:pt x="5143" y="1103"/>
                              <a:pt x="4605" y="1283"/>
                              <a:pt x="4127" y="1522"/>
                            </a:cubicBezTo>
                            <a:cubicBezTo>
                              <a:pt x="3648" y="1761"/>
                              <a:pt x="3170" y="2120"/>
                              <a:pt x="2751" y="2539"/>
                            </a:cubicBezTo>
                            <a:cubicBezTo>
                              <a:pt x="2333" y="2957"/>
                              <a:pt x="1974" y="3435"/>
                              <a:pt x="1675" y="4034"/>
                            </a:cubicBezTo>
                            <a:cubicBezTo>
                              <a:pt x="1435" y="4512"/>
                              <a:pt x="1256" y="4991"/>
                              <a:pt x="1136" y="5469"/>
                            </a:cubicBezTo>
                            <a:cubicBezTo>
                              <a:pt x="1017" y="5948"/>
                              <a:pt x="1017" y="6366"/>
                              <a:pt x="1017" y="6785"/>
                            </a:cubicBezTo>
                            <a:cubicBezTo>
                              <a:pt x="1017" y="7203"/>
                              <a:pt x="1136" y="7622"/>
                              <a:pt x="1316" y="7921"/>
                            </a:cubicBezTo>
                            <a:cubicBezTo>
                              <a:pt x="1495" y="8280"/>
                              <a:pt x="1675" y="8579"/>
                              <a:pt x="1974" y="8818"/>
                            </a:cubicBezTo>
                            <a:moveTo>
                              <a:pt x="8313" y="744"/>
                            </a:moveTo>
                            <a:cubicBezTo>
                              <a:pt x="8672" y="1043"/>
                              <a:pt x="8911" y="1402"/>
                              <a:pt x="9151" y="1821"/>
                            </a:cubicBezTo>
                            <a:cubicBezTo>
                              <a:pt x="9390" y="2239"/>
                              <a:pt x="9450" y="2718"/>
                              <a:pt x="9510" y="3196"/>
                            </a:cubicBezTo>
                            <a:cubicBezTo>
                              <a:pt x="9569" y="3675"/>
                              <a:pt x="9510" y="4273"/>
                              <a:pt x="9390" y="4811"/>
                            </a:cubicBezTo>
                            <a:cubicBezTo>
                              <a:pt x="9270" y="5349"/>
                              <a:pt x="9031" y="5948"/>
                              <a:pt x="8732" y="6486"/>
                            </a:cubicBezTo>
                            <a:cubicBezTo>
                              <a:pt x="8552" y="6845"/>
                              <a:pt x="8373" y="7144"/>
                              <a:pt x="8134" y="7443"/>
                            </a:cubicBezTo>
                            <a:cubicBezTo>
                              <a:pt x="7895" y="7742"/>
                              <a:pt x="7715" y="8041"/>
                              <a:pt x="7416" y="8280"/>
                            </a:cubicBezTo>
                            <a:cubicBezTo>
                              <a:pt x="7177" y="8519"/>
                              <a:pt x="6878" y="8758"/>
                              <a:pt x="6639" y="8998"/>
                            </a:cubicBezTo>
                            <a:cubicBezTo>
                              <a:pt x="6340" y="9237"/>
                              <a:pt x="6041" y="9416"/>
                              <a:pt x="5742" y="9596"/>
                            </a:cubicBezTo>
                            <a:cubicBezTo>
                              <a:pt x="5443" y="9775"/>
                              <a:pt x="5143" y="9895"/>
                              <a:pt x="4844" y="10015"/>
                            </a:cubicBezTo>
                            <a:cubicBezTo>
                              <a:pt x="4545" y="10134"/>
                              <a:pt x="4246" y="10194"/>
                              <a:pt x="3947" y="10254"/>
                            </a:cubicBezTo>
                            <a:cubicBezTo>
                              <a:pt x="3648" y="10313"/>
                              <a:pt x="3349" y="10313"/>
                              <a:pt x="3050" y="10254"/>
                            </a:cubicBezTo>
                            <a:cubicBezTo>
                              <a:pt x="2751" y="10254"/>
                              <a:pt x="2512" y="10194"/>
                              <a:pt x="2213" y="10074"/>
                            </a:cubicBezTo>
                            <a:cubicBezTo>
                              <a:pt x="2153" y="10015"/>
                              <a:pt x="2034" y="10015"/>
                              <a:pt x="1974" y="9955"/>
                            </a:cubicBezTo>
                            <a:cubicBezTo>
                              <a:pt x="1914" y="9895"/>
                              <a:pt x="1794" y="9895"/>
                              <a:pt x="1735" y="9835"/>
                            </a:cubicBezTo>
                            <a:cubicBezTo>
                              <a:pt x="1675" y="9775"/>
                              <a:pt x="1615" y="9775"/>
                              <a:pt x="1495" y="9715"/>
                            </a:cubicBezTo>
                            <a:cubicBezTo>
                              <a:pt x="1435" y="9656"/>
                              <a:pt x="1376" y="9596"/>
                              <a:pt x="1316" y="9536"/>
                            </a:cubicBezTo>
                            <a:cubicBezTo>
                              <a:pt x="957" y="9237"/>
                              <a:pt x="718" y="8878"/>
                              <a:pt x="479" y="8459"/>
                            </a:cubicBezTo>
                            <a:cubicBezTo>
                              <a:pt x="299" y="8041"/>
                              <a:pt x="180" y="7562"/>
                              <a:pt x="120" y="7084"/>
                            </a:cubicBezTo>
                            <a:cubicBezTo>
                              <a:pt x="60" y="6546"/>
                              <a:pt x="120" y="6007"/>
                              <a:pt x="239" y="5469"/>
                            </a:cubicBezTo>
                            <a:cubicBezTo>
                              <a:pt x="359" y="4931"/>
                              <a:pt x="598" y="4333"/>
                              <a:pt x="897" y="3734"/>
                            </a:cubicBezTo>
                            <a:cubicBezTo>
                              <a:pt x="1256" y="3077"/>
                              <a:pt x="1735" y="2419"/>
                              <a:pt x="2213" y="1940"/>
                            </a:cubicBezTo>
                            <a:cubicBezTo>
                              <a:pt x="2751" y="1402"/>
                              <a:pt x="3289" y="984"/>
                              <a:pt x="3888" y="685"/>
                            </a:cubicBezTo>
                            <a:cubicBezTo>
                              <a:pt x="4486" y="385"/>
                              <a:pt x="5084" y="146"/>
                              <a:pt x="5682" y="86"/>
                            </a:cubicBezTo>
                            <a:cubicBezTo>
                              <a:pt x="6280" y="26"/>
                              <a:pt x="6878" y="26"/>
                              <a:pt x="7416" y="266"/>
                            </a:cubicBezTo>
                            <a:cubicBezTo>
                              <a:pt x="7536" y="266"/>
                              <a:pt x="7596" y="326"/>
                              <a:pt x="7656" y="385"/>
                            </a:cubicBezTo>
                            <a:cubicBezTo>
                              <a:pt x="7715" y="445"/>
                              <a:pt x="7835" y="445"/>
                              <a:pt x="7895" y="505"/>
                            </a:cubicBezTo>
                            <a:cubicBezTo>
                              <a:pt x="7954" y="565"/>
                              <a:pt x="8014" y="565"/>
                              <a:pt x="8134" y="625"/>
                            </a:cubicBezTo>
                            <a:cubicBezTo>
                              <a:pt x="8253" y="685"/>
                              <a:pt x="8253" y="685"/>
                              <a:pt x="8313" y="744"/>
                            </a:cubicBezTo>
                            <a:moveTo>
                              <a:pt x="1256" y="9656"/>
                            </a:moveTo>
                            <a:cubicBezTo>
                              <a:pt x="1316" y="9715"/>
                              <a:pt x="1376" y="9775"/>
                              <a:pt x="1495" y="9835"/>
                            </a:cubicBezTo>
                            <a:cubicBezTo>
                              <a:pt x="1615" y="9895"/>
                              <a:pt x="1615" y="9955"/>
                              <a:pt x="1735" y="9955"/>
                            </a:cubicBezTo>
                            <a:cubicBezTo>
                              <a:pt x="1794" y="10015"/>
                              <a:pt x="1914" y="10015"/>
                              <a:pt x="1974" y="10074"/>
                            </a:cubicBezTo>
                            <a:cubicBezTo>
                              <a:pt x="2034" y="10134"/>
                              <a:pt x="2153" y="10134"/>
                              <a:pt x="2213" y="10194"/>
                            </a:cubicBezTo>
                            <a:cubicBezTo>
                              <a:pt x="2392" y="10254"/>
                              <a:pt x="2632" y="10313"/>
                              <a:pt x="2811" y="10373"/>
                            </a:cubicBezTo>
                            <a:cubicBezTo>
                              <a:pt x="2990" y="10433"/>
                              <a:pt x="3230" y="10433"/>
                              <a:pt x="3409" y="10433"/>
                            </a:cubicBezTo>
                            <a:cubicBezTo>
                              <a:pt x="3589" y="10433"/>
                              <a:pt x="3828" y="10433"/>
                              <a:pt x="4067" y="10373"/>
                            </a:cubicBezTo>
                            <a:cubicBezTo>
                              <a:pt x="4306" y="10313"/>
                              <a:pt x="4486" y="10313"/>
                              <a:pt x="4725" y="10194"/>
                            </a:cubicBezTo>
                            <a:cubicBezTo>
                              <a:pt x="4785" y="10194"/>
                              <a:pt x="4904" y="10134"/>
                              <a:pt x="4964" y="10134"/>
                            </a:cubicBezTo>
                            <a:cubicBezTo>
                              <a:pt x="5024" y="10074"/>
                              <a:pt x="5143" y="10074"/>
                              <a:pt x="5203" y="10015"/>
                            </a:cubicBezTo>
                            <a:cubicBezTo>
                              <a:pt x="5263" y="9955"/>
                              <a:pt x="5383" y="9955"/>
                              <a:pt x="5443" y="9895"/>
                            </a:cubicBezTo>
                            <a:cubicBezTo>
                              <a:pt x="5503" y="9835"/>
                              <a:pt x="5622" y="9835"/>
                              <a:pt x="5682" y="9775"/>
                            </a:cubicBezTo>
                            <a:cubicBezTo>
                              <a:pt x="5682" y="9775"/>
                              <a:pt x="5682" y="9775"/>
                              <a:pt x="5682" y="9775"/>
                            </a:cubicBezTo>
                            <a:cubicBezTo>
                              <a:pt x="5682" y="9775"/>
                              <a:pt x="5682" y="9775"/>
                              <a:pt x="5682" y="9775"/>
                            </a:cubicBezTo>
                            <a:cubicBezTo>
                              <a:pt x="5682" y="9775"/>
                              <a:pt x="5682" y="9775"/>
                              <a:pt x="5682" y="9775"/>
                            </a:cubicBezTo>
                            <a:cubicBezTo>
                              <a:pt x="5682" y="9775"/>
                              <a:pt x="5682" y="9775"/>
                              <a:pt x="5682" y="9775"/>
                            </a:cubicBezTo>
                            <a:cubicBezTo>
                              <a:pt x="5981" y="9596"/>
                              <a:pt x="6280" y="9416"/>
                              <a:pt x="6579" y="9177"/>
                            </a:cubicBezTo>
                            <a:cubicBezTo>
                              <a:pt x="6878" y="8938"/>
                              <a:pt x="7117" y="8699"/>
                              <a:pt x="7416" y="8459"/>
                            </a:cubicBezTo>
                            <a:cubicBezTo>
                              <a:pt x="7656" y="8220"/>
                              <a:pt x="7895" y="7921"/>
                              <a:pt x="8134" y="7622"/>
                            </a:cubicBezTo>
                            <a:cubicBezTo>
                              <a:pt x="8373" y="7323"/>
                              <a:pt x="8552" y="7024"/>
                              <a:pt x="8732" y="6665"/>
                            </a:cubicBezTo>
                            <a:cubicBezTo>
                              <a:pt x="8732" y="6605"/>
                              <a:pt x="8792" y="6546"/>
                              <a:pt x="8792" y="6546"/>
                            </a:cubicBezTo>
                            <a:cubicBezTo>
                              <a:pt x="8792" y="6486"/>
                              <a:pt x="8852" y="6426"/>
                              <a:pt x="8852" y="6426"/>
                            </a:cubicBezTo>
                            <a:cubicBezTo>
                              <a:pt x="8852" y="6366"/>
                              <a:pt x="8911" y="6306"/>
                              <a:pt x="8911" y="6306"/>
                            </a:cubicBezTo>
                            <a:cubicBezTo>
                              <a:pt x="8911" y="6247"/>
                              <a:pt x="8971" y="6187"/>
                              <a:pt x="8971" y="6187"/>
                            </a:cubicBezTo>
                            <a:cubicBezTo>
                              <a:pt x="9031" y="6127"/>
                              <a:pt x="9031" y="6007"/>
                              <a:pt x="9091" y="5948"/>
                            </a:cubicBezTo>
                            <a:cubicBezTo>
                              <a:pt x="9151" y="5888"/>
                              <a:pt x="9151" y="5768"/>
                              <a:pt x="9151" y="5708"/>
                            </a:cubicBezTo>
                            <a:cubicBezTo>
                              <a:pt x="9151" y="5648"/>
                              <a:pt x="9211" y="5529"/>
                              <a:pt x="9211" y="5469"/>
                            </a:cubicBezTo>
                            <a:cubicBezTo>
                              <a:pt x="9211" y="5409"/>
                              <a:pt x="9270" y="5290"/>
                              <a:pt x="9270" y="5230"/>
                            </a:cubicBezTo>
                            <a:cubicBezTo>
                              <a:pt x="9390" y="4751"/>
                              <a:pt x="9450" y="4333"/>
                              <a:pt x="9510" y="3914"/>
                            </a:cubicBezTo>
                            <a:cubicBezTo>
                              <a:pt x="9510" y="3495"/>
                              <a:pt x="9510" y="3077"/>
                              <a:pt x="9390" y="2658"/>
                            </a:cubicBezTo>
                            <a:cubicBezTo>
                              <a:pt x="9330" y="2299"/>
                              <a:pt x="9151" y="1940"/>
                              <a:pt x="8971" y="1581"/>
                            </a:cubicBezTo>
                            <a:cubicBezTo>
                              <a:pt x="8792" y="1283"/>
                              <a:pt x="8552" y="984"/>
                              <a:pt x="8253" y="744"/>
                            </a:cubicBezTo>
                            <a:cubicBezTo>
                              <a:pt x="8194" y="685"/>
                              <a:pt x="8134" y="625"/>
                              <a:pt x="8014" y="565"/>
                            </a:cubicBezTo>
                            <a:cubicBezTo>
                              <a:pt x="7895" y="505"/>
                              <a:pt x="7895" y="445"/>
                              <a:pt x="7775" y="445"/>
                            </a:cubicBezTo>
                            <a:cubicBezTo>
                              <a:pt x="7715" y="385"/>
                              <a:pt x="7596" y="385"/>
                              <a:pt x="7536" y="326"/>
                            </a:cubicBezTo>
                            <a:cubicBezTo>
                              <a:pt x="7476" y="266"/>
                              <a:pt x="7357" y="266"/>
                              <a:pt x="7297" y="206"/>
                            </a:cubicBezTo>
                            <a:cubicBezTo>
                              <a:pt x="7057" y="146"/>
                              <a:pt x="6758" y="86"/>
                              <a:pt x="6459" y="26"/>
                            </a:cubicBezTo>
                            <a:cubicBezTo>
                              <a:pt x="6160" y="-33"/>
                              <a:pt x="5861" y="26"/>
                              <a:pt x="5562" y="26"/>
                            </a:cubicBezTo>
                            <a:cubicBezTo>
                              <a:pt x="5263" y="26"/>
                              <a:pt x="4964" y="146"/>
                              <a:pt x="4605" y="266"/>
                            </a:cubicBezTo>
                            <a:cubicBezTo>
                              <a:pt x="4306" y="385"/>
                              <a:pt x="4007" y="505"/>
                              <a:pt x="3648" y="685"/>
                            </a:cubicBezTo>
                            <a:cubicBezTo>
                              <a:pt x="3409" y="804"/>
                              <a:pt x="3110" y="984"/>
                              <a:pt x="2871" y="1163"/>
                            </a:cubicBezTo>
                            <a:cubicBezTo>
                              <a:pt x="2632" y="1342"/>
                              <a:pt x="2392" y="1522"/>
                              <a:pt x="2153" y="1761"/>
                            </a:cubicBezTo>
                            <a:cubicBezTo>
                              <a:pt x="1914" y="2000"/>
                              <a:pt x="1735" y="2239"/>
                              <a:pt x="1495" y="2479"/>
                            </a:cubicBezTo>
                            <a:cubicBezTo>
                              <a:pt x="1316" y="2718"/>
                              <a:pt x="1076" y="3017"/>
                              <a:pt x="957" y="3256"/>
                            </a:cubicBezTo>
                            <a:cubicBezTo>
                              <a:pt x="897" y="3316"/>
                              <a:pt x="897" y="3376"/>
                              <a:pt x="897" y="3376"/>
                            </a:cubicBezTo>
                            <a:cubicBezTo>
                              <a:pt x="897" y="3435"/>
                              <a:pt x="837" y="3495"/>
                              <a:pt x="837" y="3495"/>
                            </a:cubicBezTo>
                            <a:cubicBezTo>
                              <a:pt x="837" y="3555"/>
                              <a:pt x="778" y="3615"/>
                              <a:pt x="778" y="3615"/>
                            </a:cubicBezTo>
                            <a:cubicBezTo>
                              <a:pt x="778" y="3675"/>
                              <a:pt x="718" y="3734"/>
                              <a:pt x="718" y="3734"/>
                            </a:cubicBezTo>
                            <a:cubicBezTo>
                              <a:pt x="598" y="4034"/>
                              <a:pt x="419" y="4333"/>
                              <a:pt x="359" y="4572"/>
                            </a:cubicBezTo>
                            <a:cubicBezTo>
                              <a:pt x="239" y="4871"/>
                              <a:pt x="180" y="5170"/>
                              <a:pt x="120" y="5409"/>
                            </a:cubicBezTo>
                            <a:cubicBezTo>
                              <a:pt x="60" y="5648"/>
                              <a:pt x="0" y="5948"/>
                              <a:pt x="0" y="6247"/>
                            </a:cubicBezTo>
                            <a:cubicBezTo>
                              <a:pt x="0" y="6546"/>
                              <a:pt x="0" y="6785"/>
                              <a:pt x="0" y="7024"/>
                            </a:cubicBezTo>
                            <a:cubicBezTo>
                              <a:pt x="0" y="7263"/>
                              <a:pt x="60" y="7562"/>
                              <a:pt x="120" y="7802"/>
                            </a:cubicBezTo>
                            <a:cubicBezTo>
                              <a:pt x="180" y="8041"/>
                              <a:pt x="239" y="8280"/>
                              <a:pt x="359" y="8459"/>
                            </a:cubicBezTo>
                            <a:cubicBezTo>
                              <a:pt x="479" y="8699"/>
                              <a:pt x="598" y="8878"/>
                              <a:pt x="718" y="9057"/>
                            </a:cubicBezTo>
                            <a:cubicBezTo>
                              <a:pt x="957" y="9356"/>
                              <a:pt x="1076" y="9536"/>
                              <a:pt x="1256" y="9656"/>
                            </a:cubicBezTo>
                          </a:path>
                        </a:pathLst>
                      </a:custGeom>
                      <a:noFill/>
                      <a:ln w="6350" cap="flat">
                        <a:solidFill>
                          <a:schemeClr val="bg1">
                            <a:alpha val="40000"/>
                          </a:schemeClr>
                        </a:solidFill>
                        <a:prstDash val="solid"/>
                        <a:miter/>
                      </a:ln>
                    </p:spPr>
                    <p:txBody>
                      <a:bodyPr rtlCol="0" anchor="ctr"/>
                      <a:lstStyle/>
                      <a:p>
                        <a:endParaRPr lang="en-GB"/>
                      </a:p>
                    </p:txBody>
                  </p:sp>
                  <p:sp>
                    <p:nvSpPr>
                      <p:cNvPr id="7447" name="Vrije vorm: vorm 7446">
                        <a:extLst>
                          <a:ext uri="{FF2B5EF4-FFF2-40B4-BE49-F238E27FC236}">
                            <a16:creationId xmlns:a16="http://schemas.microsoft.com/office/drawing/2014/main" id="{9B7C6160-70DF-4FB4-8833-DEFABA8E487A}"/>
                          </a:ext>
                        </a:extLst>
                      </p:cNvPr>
                      <p:cNvSpPr/>
                      <p:nvPr/>
                    </p:nvSpPr>
                    <p:spPr>
                      <a:xfrm>
                        <a:off x="5354776" y="5292956"/>
                        <a:ext cx="9436" cy="10249"/>
                      </a:xfrm>
                      <a:custGeom>
                        <a:avLst/>
                        <a:gdLst>
                          <a:gd name="connsiteX0" fmla="*/ 7559 w 9436"/>
                          <a:gd name="connsiteY0" fmla="*/ 1458 h 10249"/>
                          <a:gd name="connsiteX1" fmla="*/ 7858 w 9436"/>
                          <a:gd name="connsiteY1" fmla="*/ 1757 h 10249"/>
                          <a:gd name="connsiteX2" fmla="*/ 8097 w 9436"/>
                          <a:gd name="connsiteY2" fmla="*/ 2116 h 10249"/>
                          <a:gd name="connsiteX3" fmla="*/ 8277 w 9436"/>
                          <a:gd name="connsiteY3" fmla="*/ 2535 h 10249"/>
                          <a:gd name="connsiteX4" fmla="*/ 8396 w 9436"/>
                          <a:gd name="connsiteY4" fmla="*/ 3013 h 10249"/>
                          <a:gd name="connsiteX5" fmla="*/ 8456 w 9436"/>
                          <a:gd name="connsiteY5" fmla="*/ 3790 h 10249"/>
                          <a:gd name="connsiteX6" fmla="*/ 8396 w 9436"/>
                          <a:gd name="connsiteY6" fmla="*/ 4568 h 10249"/>
                          <a:gd name="connsiteX7" fmla="*/ 8157 w 9436"/>
                          <a:gd name="connsiteY7" fmla="*/ 5405 h 10249"/>
                          <a:gd name="connsiteX8" fmla="*/ 7798 w 9436"/>
                          <a:gd name="connsiteY8" fmla="*/ 6243 h 10249"/>
                          <a:gd name="connsiteX9" fmla="*/ 6722 w 9436"/>
                          <a:gd name="connsiteY9" fmla="*/ 7738 h 10249"/>
                          <a:gd name="connsiteX10" fmla="*/ 5346 w 9436"/>
                          <a:gd name="connsiteY10" fmla="*/ 8754 h 10249"/>
                          <a:gd name="connsiteX11" fmla="*/ 3851 w 9436"/>
                          <a:gd name="connsiteY11" fmla="*/ 9233 h 10249"/>
                          <a:gd name="connsiteX12" fmla="*/ 2475 w 9436"/>
                          <a:gd name="connsiteY12" fmla="*/ 9113 h 10249"/>
                          <a:gd name="connsiteX13" fmla="*/ 2296 w 9436"/>
                          <a:gd name="connsiteY13" fmla="*/ 9053 h 10249"/>
                          <a:gd name="connsiteX14" fmla="*/ 2117 w 9436"/>
                          <a:gd name="connsiteY14" fmla="*/ 8934 h 10249"/>
                          <a:gd name="connsiteX15" fmla="*/ 1937 w 9436"/>
                          <a:gd name="connsiteY15" fmla="*/ 8814 h 10249"/>
                          <a:gd name="connsiteX16" fmla="*/ 1758 w 9436"/>
                          <a:gd name="connsiteY16" fmla="*/ 8695 h 10249"/>
                          <a:gd name="connsiteX17" fmla="*/ 1100 w 9436"/>
                          <a:gd name="connsiteY17" fmla="*/ 7797 h 10249"/>
                          <a:gd name="connsiteX18" fmla="*/ 801 w 9436"/>
                          <a:gd name="connsiteY18" fmla="*/ 6661 h 10249"/>
                          <a:gd name="connsiteX19" fmla="*/ 920 w 9436"/>
                          <a:gd name="connsiteY19" fmla="*/ 5345 h 10249"/>
                          <a:gd name="connsiteX20" fmla="*/ 1459 w 9436"/>
                          <a:gd name="connsiteY20" fmla="*/ 3910 h 10249"/>
                          <a:gd name="connsiteX21" fmla="*/ 2535 w 9436"/>
                          <a:gd name="connsiteY21" fmla="*/ 2415 h 10249"/>
                          <a:gd name="connsiteX22" fmla="*/ 3911 w 9436"/>
                          <a:gd name="connsiteY22" fmla="*/ 1398 h 10249"/>
                          <a:gd name="connsiteX23" fmla="*/ 5406 w 9436"/>
                          <a:gd name="connsiteY23" fmla="*/ 920 h 10249"/>
                          <a:gd name="connsiteX24" fmla="*/ 6842 w 9436"/>
                          <a:gd name="connsiteY24" fmla="*/ 1039 h 10249"/>
                          <a:gd name="connsiteX25" fmla="*/ 7021 w 9436"/>
                          <a:gd name="connsiteY25" fmla="*/ 1099 h 10249"/>
                          <a:gd name="connsiteX26" fmla="*/ 7200 w 9436"/>
                          <a:gd name="connsiteY26" fmla="*/ 1219 h 10249"/>
                          <a:gd name="connsiteX27" fmla="*/ 7380 w 9436"/>
                          <a:gd name="connsiteY27" fmla="*/ 1338 h 10249"/>
                          <a:gd name="connsiteX28" fmla="*/ 7559 w 9436"/>
                          <a:gd name="connsiteY28" fmla="*/ 1458 h 10249"/>
                          <a:gd name="connsiteX29" fmla="*/ 1220 w 9436"/>
                          <a:gd name="connsiteY29" fmla="*/ 9532 h 10249"/>
                          <a:gd name="connsiteX30" fmla="*/ 1399 w 9436"/>
                          <a:gd name="connsiteY30" fmla="*/ 9711 h 10249"/>
                          <a:gd name="connsiteX31" fmla="*/ 1638 w 9436"/>
                          <a:gd name="connsiteY31" fmla="*/ 9831 h 10249"/>
                          <a:gd name="connsiteX32" fmla="*/ 1878 w 9436"/>
                          <a:gd name="connsiteY32" fmla="*/ 9951 h 10249"/>
                          <a:gd name="connsiteX33" fmla="*/ 2117 w 9436"/>
                          <a:gd name="connsiteY33" fmla="*/ 10070 h 10249"/>
                          <a:gd name="connsiteX34" fmla="*/ 2954 w 9436"/>
                          <a:gd name="connsiteY34" fmla="*/ 10250 h 10249"/>
                          <a:gd name="connsiteX35" fmla="*/ 3851 w 9436"/>
                          <a:gd name="connsiteY35" fmla="*/ 10250 h 10249"/>
                          <a:gd name="connsiteX36" fmla="*/ 4748 w 9436"/>
                          <a:gd name="connsiteY36" fmla="*/ 10011 h 10249"/>
                          <a:gd name="connsiteX37" fmla="*/ 5645 w 9436"/>
                          <a:gd name="connsiteY37" fmla="*/ 9592 h 10249"/>
                          <a:gd name="connsiteX38" fmla="*/ 6542 w 9436"/>
                          <a:gd name="connsiteY38" fmla="*/ 8994 h 10249"/>
                          <a:gd name="connsiteX39" fmla="*/ 7320 w 9436"/>
                          <a:gd name="connsiteY39" fmla="*/ 8276 h 10249"/>
                          <a:gd name="connsiteX40" fmla="*/ 8037 w 9436"/>
                          <a:gd name="connsiteY40" fmla="*/ 7438 h 10249"/>
                          <a:gd name="connsiteX41" fmla="*/ 8636 w 9436"/>
                          <a:gd name="connsiteY41" fmla="*/ 6482 h 10249"/>
                          <a:gd name="connsiteX42" fmla="*/ 9294 w 9436"/>
                          <a:gd name="connsiteY42" fmla="*/ 4807 h 10249"/>
                          <a:gd name="connsiteX43" fmla="*/ 9413 w 9436"/>
                          <a:gd name="connsiteY43" fmla="*/ 3192 h 10249"/>
                          <a:gd name="connsiteX44" fmla="*/ 9054 w 9436"/>
                          <a:gd name="connsiteY44" fmla="*/ 1817 h 10249"/>
                          <a:gd name="connsiteX45" fmla="*/ 8217 w 9436"/>
                          <a:gd name="connsiteY45" fmla="*/ 740 h 10249"/>
                          <a:gd name="connsiteX46" fmla="*/ 8037 w 9436"/>
                          <a:gd name="connsiteY46" fmla="*/ 561 h 10249"/>
                          <a:gd name="connsiteX47" fmla="*/ 7798 w 9436"/>
                          <a:gd name="connsiteY47" fmla="*/ 441 h 10249"/>
                          <a:gd name="connsiteX48" fmla="*/ 7559 w 9436"/>
                          <a:gd name="connsiteY48" fmla="*/ 321 h 10249"/>
                          <a:gd name="connsiteX49" fmla="*/ 7320 w 9436"/>
                          <a:gd name="connsiteY49" fmla="*/ 202 h 10249"/>
                          <a:gd name="connsiteX50" fmla="*/ 5586 w 9436"/>
                          <a:gd name="connsiteY50" fmla="*/ 22 h 10249"/>
                          <a:gd name="connsiteX51" fmla="*/ 3791 w 9436"/>
                          <a:gd name="connsiteY51" fmla="*/ 621 h 10249"/>
                          <a:gd name="connsiteX52" fmla="*/ 2117 w 9436"/>
                          <a:gd name="connsiteY52" fmla="*/ 1876 h 10249"/>
                          <a:gd name="connsiteX53" fmla="*/ 801 w 9436"/>
                          <a:gd name="connsiteY53" fmla="*/ 3671 h 10249"/>
                          <a:gd name="connsiteX54" fmla="*/ 143 w 9436"/>
                          <a:gd name="connsiteY54" fmla="*/ 5405 h 10249"/>
                          <a:gd name="connsiteX55" fmla="*/ 23 w 9436"/>
                          <a:gd name="connsiteY55" fmla="*/ 7020 h 10249"/>
                          <a:gd name="connsiteX56" fmla="*/ 382 w 9436"/>
                          <a:gd name="connsiteY56" fmla="*/ 8396 h 10249"/>
                          <a:gd name="connsiteX57" fmla="*/ 1220 w 9436"/>
                          <a:gd name="connsiteY57" fmla="*/ 9532 h 1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436" h="10249">
                            <a:moveTo>
                              <a:pt x="7559" y="1458"/>
                            </a:moveTo>
                            <a:cubicBezTo>
                              <a:pt x="7679" y="1577"/>
                              <a:pt x="7798" y="1637"/>
                              <a:pt x="7858" y="1757"/>
                            </a:cubicBezTo>
                            <a:cubicBezTo>
                              <a:pt x="7978" y="1876"/>
                              <a:pt x="8037" y="1996"/>
                              <a:pt x="8097" y="2116"/>
                            </a:cubicBezTo>
                            <a:cubicBezTo>
                              <a:pt x="8157" y="2235"/>
                              <a:pt x="8217" y="2355"/>
                              <a:pt x="8277" y="2535"/>
                            </a:cubicBezTo>
                            <a:cubicBezTo>
                              <a:pt x="8337" y="2654"/>
                              <a:pt x="8396" y="2834"/>
                              <a:pt x="8396" y="3013"/>
                            </a:cubicBezTo>
                            <a:cubicBezTo>
                              <a:pt x="8456" y="3252"/>
                              <a:pt x="8456" y="3491"/>
                              <a:pt x="8456" y="3790"/>
                            </a:cubicBezTo>
                            <a:cubicBezTo>
                              <a:pt x="8456" y="4030"/>
                              <a:pt x="8456" y="4329"/>
                              <a:pt x="8396" y="4568"/>
                            </a:cubicBezTo>
                            <a:cubicBezTo>
                              <a:pt x="8337" y="4867"/>
                              <a:pt x="8277" y="5106"/>
                              <a:pt x="8157" y="5405"/>
                            </a:cubicBezTo>
                            <a:cubicBezTo>
                              <a:pt x="8037" y="5704"/>
                              <a:pt x="7978" y="5943"/>
                              <a:pt x="7798" y="6243"/>
                            </a:cubicBezTo>
                            <a:cubicBezTo>
                              <a:pt x="7499" y="6781"/>
                              <a:pt x="7141" y="7319"/>
                              <a:pt x="6722" y="7738"/>
                            </a:cubicBezTo>
                            <a:cubicBezTo>
                              <a:pt x="6303" y="8156"/>
                              <a:pt x="5825" y="8515"/>
                              <a:pt x="5346" y="8754"/>
                            </a:cubicBezTo>
                            <a:cubicBezTo>
                              <a:pt x="4868" y="8994"/>
                              <a:pt x="4389" y="9173"/>
                              <a:pt x="3851" y="9233"/>
                            </a:cubicBezTo>
                            <a:cubicBezTo>
                              <a:pt x="3313" y="9292"/>
                              <a:pt x="2894" y="9292"/>
                              <a:pt x="2475" y="9113"/>
                            </a:cubicBezTo>
                            <a:cubicBezTo>
                              <a:pt x="2416" y="9113"/>
                              <a:pt x="2356" y="9053"/>
                              <a:pt x="2296" y="9053"/>
                            </a:cubicBezTo>
                            <a:cubicBezTo>
                              <a:pt x="2236" y="9053"/>
                              <a:pt x="2176" y="8994"/>
                              <a:pt x="2117" y="8934"/>
                            </a:cubicBezTo>
                            <a:cubicBezTo>
                              <a:pt x="2057" y="8874"/>
                              <a:pt x="1997" y="8874"/>
                              <a:pt x="1937" y="8814"/>
                            </a:cubicBezTo>
                            <a:cubicBezTo>
                              <a:pt x="1878" y="8754"/>
                              <a:pt x="1818" y="8754"/>
                              <a:pt x="1758" y="8695"/>
                            </a:cubicBezTo>
                            <a:cubicBezTo>
                              <a:pt x="1459" y="8455"/>
                              <a:pt x="1220" y="8156"/>
                              <a:pt x="1100" y="7797"/>
                            </a:cubicBezTo>
                            <a:cubicBezTo>
                              <a:pt x="920" y="7438"/>
                              <a:pt x="861" y="7080"/>
                              <a:pt x="801" y="6661"/>
                            </a:cubicBezTo>
                            <a:cubicBezTo>
                              <a:pt x="741" y="6243"/>
                              <a:pt x="801" y="5764"/>
                              <a:pt x="920" y="5345"/>
                            </a:cubicBezTo>
                            <a:cubicBezTo>
                              <a:pt x="1040" y="4867"/>
                              <a:pt x="1220" y="4389"/>
                              <a:pt x="1459" y="3910"/>
                            </a:cubicBezTo>
                            <a:cubicBezTo>
                              <a:pt x="1758" y="3372"/>
                              <a:pt x="2117" y="2834"/>
                              <a:pt x="2535" y="2415"/>
                            </a:cubicBezTo>
                            <a:cubicBezTo>
                              <a:pt x="2954" y="1996"/>
                              <a:pt x="3433" y="1637"/>
                              <a:pt x="3911" y="1398"/>
                            </a:cubicBezTo>
                            <a:cubicBezTo>
                              <a:pt x="4389" y="1159"/>
                              <a:pt x="4868" y="980"/>
                              <a:pt x="5406" y="920"/>
                            </a:cubicBezTo>
                            <a:cubicBezTo>
                              <a:pt x="5884" y="860"/>
                              <a:pt x="6363" y="920"/>
                              <a:pt x="6842" y="1039"/>
                            </a:cubicBezTo>
                            <a:cubicBezTo>
                              <a:pt x="6901" y="1039"/>
                              <a:pt x="6961" y="1099"/>
                              <a:pt x="7021" y="1099"/>
                            </a:cubicBezTo>
                            <a:cubicBezTo>
                              <a:pt x="7081" y="1099"/>
                              <a:pt x="7141" y="1159"/>
                              <a:pt x="7200" y="1219"/>
                            </a:cubicBezTo>
                            <a:cubicBezTo>
                              <a:pt x="7260" y="1279"/>
                              <a:pt x="7320" y="1279"/>
                              <a:pt x="7380" y="1338"/>
                            </a:cubicBezTo>
                            <a:cubicBezTo>
                              <a:pt x="7440" y="1398"/>
                              <a:pt x="7499" y="1458"/>
                              <a:pt x="7559" y="1458"/>
                            </a:cubicBezTo>
                            <a:moveTo>
                              <a:pt x="1220" y="9532"/>
                            </a:moveTo>
                            <a:cubicBezTo>
                              <a:pt x="1279" y="9592"/>
                              <a:pt x="1339" y="9651"/>
                              <a:pt x="1399" y="9711"/>
                            </a:cubicBezTo>
                            <a:cubicBezTo>
                              <a:pt x="1459" y="9771"/>
                              <a:pt x="1519" y="9831"/>
                              <a:pt x="1638" y="9831"/>
                            </a:cubicBezTo>
                            <a:cubicBezTo>
                              <a:pt x="1698" y="9891"/>
                              <a:pt x="1818" y="9891"/>
                              <a:pt x="1878" y="9951"/>
                            </a:cubicBezTo>
                            <a:cubicBezTo>
                              <a:pt x="1937" y="10011"/>
                              <a:pt x="2057" y="10011"/>
                              <a:pt x="2117" y="10070"/>
                            </a:cubicBezTo>
                            <a:cubicBezTo>
                              <a:pt x="2356" y="10130"/>
                              <a:pt x="2655" y="10190"/>
                              <a:pt x="2954" y="10250"/>
                            </a:cubicBezTo>
                            <a:cubicBezTo>
                              <a:pt x="3253" y="10250"/>
                              <a:pt x="3552" y="10250"/>
                              <a:pt x="3851" y="10250"/>
                            </a:cubicBezTo>
                            <a:cubicBezTo>
                              <a:pt x="4150" y="10190"/>
                              <a:pt x="4449" y="10130"/>
                              <a:pt x="4748" y="10011"/>
                            </a:cubicBezTo>
                            <a:cubicBezTo>
                              <a:pt x="5047" y="9891"/>
                              <a:pt x="5346" y="9771"/>
                              <a:pt x="5645" y="9592"/>
                            </a:cubicBezTo>
                            <a:cubicBezTo>
                              <a:pt x="5944" y="9412"/>
                              <a:pt x="6243" y="9233"/>
                              <a:pt x="6542" y="8994"/>
                            </a:cubicBezTo>
                            <a:cubicBezTo>
                              <a:pt x="6842" y="8754"/>
                              <a:pt x="7081" y="8515"/>
                              <a:pt x="7320" y="8276"/>
                            </a:cubicBezTo>
                            <a:cubicBezTo>
                              <a:pt x="7559" y="8037"/>
                              <a:pt x="7798" y="7738"/>
                              <a:pt x="8037" y="7438"/>
                            </a:cubicBezTo>
                            <a:cubicBezTo>
                              <a:pt x="8277" y="7140"/>
                              <a:pt x="8456" y="6841"/>
                              <a:pt x="8636" y="6482"/>
                            </a:cubicBezTo>
                            <a:cubicBezTo>
                              <a:pt x="8935" y="5943"/>
                              <a:pt x="9174" y="5345"/>
                              <a:pt x="9294" y="4807"/>
                            </a:cubicBezTo>
                            <a:cubicBezTo>
                              <a:pt x="9413" y="4269"/>
                              <a:pt x="9473" y="3730"/>
                              <a:pt x="9413" y="3192"/>
                            </a:cubicBezTo>
                            <a:cubicBezTo>
                              <a:pt x="9353" y="2714"/>
                              <a:pt x="9234" y="2235"/>
                              <a:pt x="9054" y="1817"/>
                            </a:cubicBezTo>
                            <a:cubicBezTo>
                              <a:pt x="8875" y="1398"/>
                              <a:pt x="8576" y="1039"/>
                              <a:pt x="8217" y="740"/>
                            </a:cubicBezTo>
                            <a:cubicBezTo>
                              <a:pt x="8157" y="680"/>
                              <a:pt x="8097" y="621"/>
                              <a:pt x="8037" y="561"/>
                            </a:cubicBezTo>
                            <a:cubicBezTo>
                              <a:pt x="7978" y="501"/>
                              <a:pt x="7918" y="441"/>
                              <a:pt x="7798" y="441"/>
                            </a:cubicBezTo>
                            <a:cubicBezTo>
                              <a:pt x="7738" y="381"/>
                              <a:pt x="7619" y="381"/>
                              <a:pt x="7559" y="321"/>
                            </a:cubicBezTo>
                            <a:cubicBezTo>
                              <a:pt x="7499" y="262"/>
                              <a:pt x="7380" y="262"/>
                              <a:pt x="7320" y="202"/>
                            </a:cubicBezTo>
                            <a:cubicBezTo>
                              <a:pt x="6782" y="22"/>
                              <a:pt x="6183" y="-37"/>
                              <a:pt x="5586" y="22"/>
                            </a:cubicBezTo>
                            <a:cubicBezTo>
                              <a:pt x="4987" y="82"/>
                              <a:pt x="4389" y="321"/>
                              <a:pt x="3791" y="621"/>
                            </a:cubicBezTo>
                            <a:cubicBezTo>
                              <a:pt x="3193" y="920"/>
                              <a:pt x="2655" y="1398"/>
                              <a:pt x="2117" y="1876"/>
                            </a:cubicBezTo>
                            <a:cubicBezTo>
                              <a:pt x="1579" y="2415"/>
                              <a:pt x="1160" y="3013"/>
                              <a:pt x="801" y="3671"/>
                            </a:cubicBezTo>
                            <a:cubicBezTo>
                              <a:pt x="502" y="4269"/>
                              <a:pt x="263" y="4807"/>
                              <a:pt x="143" y="5405"/>
                            </a:cubicBezTo>
                            <a:cubicBezTo>
                              <a:pt x="23" y="5943"/>
                              <a:pt x="-36" y="6542"/>
                              <a:pt x="23" y="7020"/>
                            </a:cubicBezTo>
                            <a:cubicBezTo>
                              <a:pt x="83" y="7558"/>
                              <a:pt x="203" y="7977"/>
                              <a:pt x="382" y="8396"/>
                            </a:cubicBezTo>
                            <a:cubicBezTo>
                              <a:pt x="562" y="8874"/>
                              <a:pt x="861" y="9233"/>
                              <a:pt x="1220" y="9532"/>
                            </a:cubicBezTo>
                          </a:path>
                        </a:pathLst>
                      </a:custGeom>
                      <a:noFill/>
                      <a:ln w="6350" cap="flat">
                        <a:solidFill>
                          <a:schemeClr val="bg1">
                            <a:alpha val="40000"/>
                          </a:schemeClr>
                        </a:solidFill>
                        <a:prstDash val="solid"/>
                        <a:miter/>
                      </a:ln>
                    </p:spPr>
                    <p:txBody>
                      <a:bodyPr rtlCol="0" anchor="ctr"/>
                      <a:lstStyle/>
                      <a:p>
                        <a:endParaRPr lang="en-GB"/>
                      </a:p>
                    </p:txBody>
                  </p:sp>
                  <p:sp>
                    <p:nvSpPr>
                      <p:cNvPr id="7448" name="Vrije vorm: vorm 7447">
                        <a:extLst>
                          <a:ext uri="{FF2B5EF4-FFF2-40B4-BE49-F238E27FC236}">
                            <a16:creationId xmlns:a16="http://schemas.microsoft.com/office/drawing/2014/main" id="{4B185610-92AB-4382-A342-9F29E9A84CA9}"/>
                          </a:ext>
                        </a:extLst>
                      </p:cNvPr>
                      <p:cNvSpPr/>
                      <p:nvPr/>
                    </p:nvSpPr>
                    <p:spPr>
                      <a:xfrm>
                        <a:off x="5339608" y="5442551"/>
                        <a:ext cx="50946" cy="53353"/>
                      </a:xfrm>
                      <a:custGeom>
                        <a:avLst/>
                        <a:gdLst>
                          <a:gd name="connsiteX0" fmla="*/ 24342 w 50946"/>
                          <a:gd name="connsiteY0" fmla="*/ 7003 h 53353"/>
                          <a:gd name="connsiteX1" fmla="*/ 26734 w 50946"/>
                          <a:gd name="connsiteY1" fmla="*/ 5149 h 53353"/>
                          <a:gd name="connsiteX2" fmla="*/ 29246 w 50946"/>
                          <a:gd name="connsiteY2" fmla="*/ 3594 h 53353"/>
                          <a:gd name="connsiteX3" fmla="*/ 31758 w 50946"/>
                          <a:gd name="connsiteY3" fmla="*/ 2398 h 53353"/>
                          <a:gd name="connsiteX4" fmla="*/ 34270 w 50946"/>
                          <a:gd name="connsiteY4" fmla="*/ 1560 h 53353"/>
                          <a:gd name="connsiteX5" fmla="*/ 33612 w 50946"/>
                          <a:gd name="connsiteY5" fmla="*/ 963 h 53353"/>
                          <a:gd name="connsiteX6" fmla="*/ 31100 w 50946"/>
                          <a:gd name="connsiteY6" fmla="*/ 1919 h 53353"/>
                          <a:gd name="connsiteX7" fmla="*/ 28588 w 50946"/>
                          <a:gd name="connsiteY7" fmla="*/ 3175 h 53353"/>
                          <a:gd name="connsiteX8" fmla="*/ 26136 w 50946"/>
                          <a:gd name="connsiteY8" fmla="*/ 4730 h 53353"/>
                          <a:gd name="connsiteX9" fmla="*/ 23744 w 50946"/>
                          <a:gd name="connsiteY9" fmla="*/ 6584 h 53353"/>
                          <a:gd name="connsiteX10" fmla="*/ 24342 w 50946"/>
                          <a:gd name="connsiteY10" fmla="*/ 7003 h 53353"/>
                          <a:gd name="connsiteX11" fmla="*/ 17225 w 50946"/>
                          <a:gd name="connsiteY11" fmla="*/ 15077 h 53353"/>
                          <a:gd name="connsiteX12" fmla="*/ 20036 w 50946"/>
                          <a:gd name="connsiteY12" fmla="*/ 11548 h 53353"/>
                          <a:gd name="connsiteX13" fmla="*/ 20096 w 50946"/>
                          <a:gd name="connsiteY13" fmla="*/ 11429 h 53353"/>
                          <a:gd name="connsiteX14" fmla="*/ 20933 w 50946"/>
                          <a:gd name="connsiteY14" fmla="*/ 10412 h 53353"/>
                          <a:gd name="connsiteX15" fmla="*/ 21770 w 50946"/>
                          <a:gd name="connsiteY15" fmla="*/ 9455 h 53353"/>
                          <a:gd name="connsiteX16" fmla="*/ 22667 w 50946"/>
                          <a:gd name="connsiteY16" fmla="*/ 8558 h 53353"/>
                          <a:gd name="connsiteX17" fmla="*/ 23564 w 50946"/>
                          <a:gd name="connsiteY17" fmla="*/ 7661 h 53353"/>
                          <a:gd name="connsiteX18" fmla="*/ 23086 w 50946"/>
                          <a:gd name="connsiteY18" fmla="*/ 7242 h 53353"/>
                          <a:gd name="connsiteX19" fmla="*/ 22189 w 50946"/>
                          <a:gd name="connsiteY19" fmla="*/ 8139 h 53353"/>
                          <a:gd name="connsiteX20" fmla="*/ 21291 w 50946"/>
                          <a:gd name="connsiteY20" fmla="*/ 9096 h 53353"/>
                          <a:gd name="connsiteX21" fmla="*/ 20394 w 50946"/>
                          <a:gd name="connsiteY21" fmla="*/ 10053 h 53353"/>
                          <a:gd name="connsiteX22" fmla="*/ 19557 w 50946"/>
                          <a:gd name="connsiteY22" fmla="*/ 11070 h 53353"/>
                          <a:gd name="connsiteX23" fmla="*/ 16686 w 50946"/>
                          <a:gd name="connsiteY23" fmla="*/ 14718 h 53353"/>
                          <a:gd name="connsiteX24" fmla="*/ 17225 w 50946"/>
                          <a:gd name="connsiteY24" fmla="*/ 15077 h 53353"/>
                          <a:gd name="connsiteX25" fmla="*/ 12021 w 50946"/>
                          <a:gd name="connsiteY25" fmla="*/ 21656 h 53353"/>
                          <a:gd name="connsiteX26" fmla="*/ 16627 w 50946"/>
                          <a:gd name="connsiteY26" fmla="*/ 15795 h 53353"/>
                          <a:gd name="connsiteX27" fmla="*/ 16148 w 50946"/>
                          <a:gd name="connsiteY27" fmla="*/ 15376 h 53353"/>
                          <a:gd name="connsiteX28" fmla="*/ 11543 w 50946"/>
                          <a:gd name="connsiteY28" fmla="*/ 21237 h 53353"/>
                          <a:gd name="connsiteX29" fmla="*/ 12021 w 50946"/>
                          <a:gd name="connsiteY29" fmla="*/ 21656 h 53353"/>
                          <a:gd name="connsiteX30" fmla="*/ 29963 w 50946"/>
                          <a:gd name="connsiteY30" fmla="*/ 46476 h 53353"/>
                          <a:gd name="connsiteX31" fmla="*/ 30502 w 50946"/>
                          <a:gd name="connsiteY31" fmla="*/ 46835 h 53353"/>
                          <a:gd name="connsiteX32" fmla="*/ 44616 w 50946"/>
                          <a:gd name="connsiteY32" fmla="*/ 28952 h 53353"/>
                          <a:gd name="connsiteX33" fmla="*/ 49102 w 50946"/>
                          <a:gd name="connsiteY33" fmla="*/ 21357 h 53353"/>
                          <a:gd name="connsiteX34" fmla="*/ 50896 w 50946"/>
                          <a:gd name="connsiteY34" fmla="*/ 13821 h 53353"/>
                          <a:gd name="connsiteX35" fmla="*/ 49999 w 50946"/>
                          <a:gd name="connsiteY35" fmla="*/ 7122 h 53353"/>
                          <a:gd name="connsiteX36" fmla="*/ 46291 w 50946"/>
                          <a:gd name="connsiteY36" fmla="*/ 2218 h 53353"/>
                          <a:gd name="connsiteX37" fmla="*/ 43779 w 50946"/>
                          <a:gd name="connsiteY37" fmla="*/ 843 h 53353"/>
                          <a:gd name="connsiteX38" fmla="*/ 40968 w 50946"/>
                          <a:gd name="connsiteY38" fmla="*/ 125 h 53353"/>
                          <a:gd name="connsiteX39" fmla="*/ 37918 w 50946"/>
                          <a:gd name="connsiteY39" fmla="*/ 65 h 53353"/>
                          <a:gd name="connsiteX40" fmla="*/ 34688 w 50946"/>
                          <a:gd name="connsiteY40" fmla="*/ 603 h 53353"/>
                          <a:gd name="connsiteX41" fmla="*/ 35406 w 50946"/>
                          <a:gd name="connsiteY41" fmla="*/ 1261 h 53353"/>
                          <a:gd name="connsiteX42" fmla="*/ 38217 w 50946"/>
                          <a:gd name="connsiteY42" fmla="*/ 903 h 53353"/>
                          <a:gd name="connsiteX43" fmla="*/ 40908 w 50946"/>
                          <a:gd name="connsiteY43" fmla="*/ 1082 h 53353"/>
                          <a:gd name="connsiteX44" fmla="*/ 43420 w 50946"/>
                          <a:gd name="connsiteY44" fmla="*/ 1800 h 53353"/>
                          <a:gd name="connsiteX45" fmla="*/ 45633 w 50946"/>
                          <a:gd name="connsiteY45" fmla="*/ 3056 h 53353"/>
                          <a:gd name="connsiteX46" fmla="*/ 49162 w 50946"/>
                          <a:gd name="connsiteY46" fmla="*/ 7780 h 53353"/>
                          <a:gd name="connsiteX47" fmla="*/ 49999 w 50946"/>
                          <a:gd name="connsiteY47" fmla="*/ 14180 h 53353"/>
                          <a:gd name="connsiteX48" fmla="*/ 48264 w 50946"/>
                          <a:gd name="connsiteY48" fmla="*/ 21416 h 53353"/>
                          <a:gd name="connsiteX49" fmla="*/ 43959 w 50946"/>
                          <a:gd name="connsiteY49" fmla="*/ 28653 h 53353"/>
                          <a:gd name="connsiteX50" fmla="*/ 29963 w 50946"/>
                          <a:gd name="connsiteY50" fmla="*/ 46476 h 53353"/>
                          <a:gd name="connsiteX51" fmla="*/ 5263 w 50946"/>
                          <a:gd name="connsiteY51" fmla="*/ 29251 h 53353"/>
                          <a:gd name="connsiteX52" fmla="*/ 5801 w 50946"/>
                          <a:gd name="connsiteY52" fmla="*/ 29610 h 53353"/>
                          <a:gd name="connsiteX53" fmla="*/ 11483 w 50946"/>
                          <a:gd name="connsiteY53" fmla="*/ 22433 h 53353"/>
                          <a:gd name="connsiteX54" fmla="*/ 11005 w 50946"/>
                          <a:gd name="connsiteY54" fmla="*/ 22014 h 53353"/>
                          <a:gd name="connsiteX55" fmla="*/ 5263 w 50946"/>
                          <a:gd name="connsiteY55" fmla="*/ 29251 h 53353"/>
                          <a:gd name="connsiteX56" fmla="*/ 5682 w 50946"/>
                          <a:gd name="connsiteY56" fmla="*/ 39837 h 53353"/>
                          <a:gd name="connsiteX57" fmla="*/ 25239 w 50946"/>
                          <a:gd name="connsiteY57" fmla="*/ 53353 h 53353"/>
                          <a:gd name="connsiteX58" fmla="*/ 29844 w 50946"/>
                          <a:gd name="connsiteY58" fmla="*/ 47552 h 53353"/>
                          <a:gd name="connsiteX59" fmla="*/ 29306 w 50946"/>
                          <a:gd name="connsiteY59" fmla="*/ 47193 h 53353"/>
                          <a:gd name="connsiteX60" fmla="*/ 25299 w 50946"/>
                          <a:gd name="connsiteY60" fmla="*/ 52277 h 53353"/>
                          <a:gd name="connsiteX61" fmla="*/ 6399 w 50946"/>
                          <a:gd name="connsiteY61" fmla="*/ 39179 h 53353"/>
                          <a:gd name="connsiteX62" fmla="*/ 6220 w 50946"/>
                          <a:gd name="connsiteY62" fmla="*/ 39359 h 53353"/>
                          <a:gd name="connsiteX63" fmla="*/ 6041 w 50946"/>
                          <a:gd name="connsiteY63" fmla="*/ 39538 h 53353"/>
                          <a:gd name="connsiteX64" fmla="*/ 5861 w 50946"/>
                          <a:gd name="connsiteY64" fmla="*/ 39717 h 53353"/>
                          <a:gd name="connsiteX65" fmla="*/ 5682 w 50946"/>
                          <a:gd name="connsiteY65" fmla="*/ 39837 h 53353"/>
                          <a:gd name="connsiteX66" fmla="*/ 0 w 50946"/>
                          <a:gd name="connsiteY66" fmla="*/ 35890 h 53353"/>
                          <a:gd name="connsiteX67" fmla="*/ 5203 w 50946"/>
                          <a:gd name="connsiteY67" fmla="*/ 39478 h 53353"/>
                          <a:gd name="connsiteX68" fmla="*/ 5383 w 50946"/>
                          <a:gd name="connsiteY68" fmla="*/ 39299 h 53353"/>
                          <a:gd name="connsiteX69" fmla="*/ 5562 w 50946"/>
                          <a:gd name="connsiteY69" fmla="*/ 39119 h 53353"/>
                          <a:gd name="connsiteX70" fmla="*/ 5742 w 50946"/>
                          <a:gd name="connsiteY70" fmla="*/ 38940 h 53353"/>
                          <a:gd name="connsiteX71" fmla="*/ 5921 w 50946"/>
                          <a:gd name="connsiteY71" fmla="*/ 38760 h 53353"/>
                          <a:gd name="connsiteX72" fmla="*/ 1136 w 50946"/>
                          <a:gd name="connsiteY72" fmla="*/ 35471 h 53353"/>
                          <a:gd name="connsiteX73" fmla="*/ 5024 w 50946"/>
                          <a:gd name="connsiteY73" fmla="*/ 30507 h 53353"/>
                          <a:gd name="connsiteX74" fmla="*/ 4844 w 50946"/>
                          <a:gd name="connsiteY74" fmla="*/ 30447 h 53353"/>
                          <a:gd name="connsiteX75" fmla="*/ 4665 w 50946"/>
                          <a:gd name="connsiteY75" fmla="*/ 30388 h 53353"/>
                          <a:gd name="connsiteX76" fmla="*/ 4486 w 50946"/>
                          <a:gd name="connsiteY76" fmla="*/ 30328 h 53353"/>
                          <a:gd name="connsiteX77" fmla="*/ 4306 w 50946"/>
                          <a:gd name="connsiteY77" fmla="*/ 30268 h 53353"/>
                          <a:gd name="connsiteX78" fmla="*/ 0 w 50946"/>
                          <a:gd name="connsiteY78" fmla="*/ 35890 h 5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0946" h="53353">
                            <a:moveTo>
                              <a:pt x="24342" y="7003"/>
                            </a:moveTo>
                            <a:cubicBezTo>
                              <a:pt x="25119" y="6345"/>
                              <a:pt x="25956" y="5687"/>
                              <a:pt x="26734" y="5149"/>
                            </a:cubicBezTo>
                            <a:cubicBezTo>
                              <a:pt x="27571" y="4551"/>
                              <a:pt x="28408" y="4072"/>
                              <a:pt x="29246" y="3594"/>
                            </a:cubicBezTo>
                            <a:cubicBezTo>
                              <a:pt x="30083" y="3115"/>
                              <a:pt x="30921" y="2757"/>
                              <a:pt x="31758" y="2398"/>
                            </a:cubicBezTo>
                            <a:cubicBezTo>
                              <a:pt x="32595" y="2039"/>
                              <a:pt x="33432" y="1740"/>
                              <a:pt x="34270" y="1560"/>
                            </a:cubicBezTo>
                            <a:lnTo>
                              <a:pt x="33612" y="963"/>
                            </a:lnTo>
                            <a:cubicBezTo>
                              <a:pt x="32775" y="1202"/>
                              <a:pt x="31937" y="1560"/>
                              <a:pt x="31100" y="1919"/>
                            </a:cubicBezTo>
                            <a:cubicBezTo>
                              <a:pt x="30262" y="2278"/>
                              <a:pt x="29425" y="2697"/>
                              <a:pt x="28588" y="3175"/>
                            </a:cubicBezTo>
                            <a:cubicBezTo>
                              <a:pt x="27751" y="3654"/>
                              <a:pt x="26973" y="4192"/>
                              <a:pt x="26136" y="4730"/>
                            </a:cubicBezTo>
                            <a:cubicBezTo>
                              <a:pt x="25359" y="5328"/>
                              <a:pt x="24521" y="5926"/>
                              <a:pt x="23744" y="6584"/>
                            </a:cubicBezTo>
                            <a:lnTo>
                              <a:pt x="24342" y="7003"/>
                            </a:lnTo>
                            <a:moveTo>
                              <a:pt x="17225" y="15077"/>
                            </a:moveTo>
                            <a:lnTo>
                              <a:pt x="20036" y="11548"/>
                            </a:lnTo>
                            <a:lnTo>
                              <a:pt x="20096" y="11429"/>
                            </a:lnTo>
                            <a:cubicBezTo>
                              <a:pt x="20394" y="11070"/>
                              <a:pt x="20634" y="10771"/>
                              <a:pt x="20933" y="10412"/>
                            </a:cubicBezTo>
                            <a:cubicBezTo>
                              <a:pt x="21232" y="10053"/>
                              <a:pt x="21531" y="9754"/>
                              <a:pt x="21770" y="9455"/>
                            </a:cubicBezTo>
                            <a:cubicBezTo>
                              <a:pt x="22069" y="9156"/>
                              <a:pt x="22368" y="8857"/>
                              <a:pt x="22667" y="8558"/>
                            </a:cubicBezTo>
                            <a:cubicBezTo>
                              <a:pt x="22966" y="8259"/>
                              <a:pt x="23265" y="7960"/>
                              <a:pt x="23564" y="7661"/>
                            </a:cubicBezTo>
                            <a:lnTo>
                              <a:pt x="23086" y="7242"/>
                            </a:lnTo>
                            <a:cubicBezTo>
                              <a:pt x="22787" y="7541"/>
                              <a:pt x="22488" y="7840"/>
                              <a:pt x="22189" y="8139"/>
                            </a:cubicBezTo>
                            <a:cubicBezTo>
                              <a:pt x="21890" y="8438"/>
                              <a:pt x="21591" y="8737"/>
                              <a:pt x="21291" y="9096"/>
                            </a:cubicBezTo>
                            <a:cubicBezTo>
                              <a:pt x="20992" y="9395"/>
                              <a:pt x="20693" y="9754"/>
                              <a:pt x="20394" y="10053"/>
                            </a:cubicBezTo>
                            <a:cubicBezTo>
                              <a:pt x="20096" y="10352"/>
                              <a:pt x="19856" y="10711"/>
                              <a:pt x="19557" y="11070"/>
                            </a:cubicBezTo>
                            <a:lnTo>
                              <a:pt x="16686" y="14718"/>
                            </a:lnTo>
                            <a:lnTo>
                              <a:pt x="17225" y="15077"/>
                            </a:lnTo>
                            <a:moveTo>
                              <a:pt x="12021" y="21656"/>
                            </a:moveTo>
                            <a:lnTo>
                              <a:pt x="16627" y="15795"/>
                            </a:lnTo>
                            <a:lnTo>
                              <a:pt x="16148" y="15376"/>
                            </a:lnTo>
                            <a:lnTo>
                              <a:pt x="11543" y="21237"/>
                            </a:lnTo>
                            <a:lnTo>
                              <a:pt x="12021" y="21656"/>
                            </a:lnTo>
                            <a:moveTo>
                              <a:pt x="29963" y="46476"/>
                            </a:moveTo>
                            <a:lnTo>
                              <a:pt x="30502" y="46835"/>
                            </a:lnTo>
                            <a:lnTo>
                              <a:pt x="44616" y="28952"/>
                            </a:lnTo>
                            <a:cubicBezTo>
                              <a:pt x="46530" y="26500"/>
                              <a:pt x="48025" y="23928"/>
                              <a:pt x="49102" y="21357"/>
                            </a:cubicBezTo>
                            <a:cubicBezTo>
                              <a:pt x="50178" y="18785"/>
                              <a:pt x="50777" y="16213"/>
                              <a:pt x="50896" y="13821"/>
                            </a:cubicBezTo>
                            <a:cubicBezTo>
                              <a:pt x="51076" y="11429"/>
                              <a:pt x="50777" y="9156"/>
                              <a:pt x="49999" y="7122"/>
                            </a:cubicBezTo>
                            <a:cubicBezTo>
                              <a:pt x="49222" y="5149"/>
                              <a:pt x="48025" y="3414"/>
                              <a:pt x="46291" y="2218"/>
                            </a:cubicBezTo>
                            <a:cubicBezTo>
                              <a:pt x="45514" y="1680"/>
                              <a:pt x="44676" y="1202"/>
                              <a:pt x="43779" y="843"/>
                            </a:cubicBezTo>
                            <a:cubicBezTo>
                              <a:pt x="42882" y="484"/>
                              <a:pt x="41925" y="244"/>
                              <a:pt x="40968" y="125"/>
                            </a:cubicBezTo>
                            <a:cubicBezTo>
                              <a:pt x="40011" y="5"/>
                              <a:pt x="38994" y="-54"/>
                              <a:pt x="37918" y="65"/>
                            </a:cubicBezTo>
                            <a:cubicBezTo>
                              <a:pt x="36901" y="125"/>
                              <a:pt x="35825" y="304"/>
                              <a:pt x="34688" y="603"/>
                            </a:cubicBezTo>
                            <a:lnTo>
                              <a:pt x="35406" y="1261"/>
                            </a:lnTo>
                            <a:cubicBezTo>
                              <a:pt x="36363" y="1082"/>
                              <a:pt x="37320" y="963"/>
                              <a:pt x="38217" y="903"/>
                            </a:cubicBezTo>
                            <a:cubicBezTo>
                              <a:pt x="39114" y="843"/>
                              <a:pt x="40071" y="903"/>
                              <a:pt x="40908" y="1082"/>
                            </a:cubicBezTo>
                            <a:cubicBezTo>
                              <a:pt x="41746" y="1202"/>
                              <a:pt x="42583" y="1441"/>
                              <a:pt x="43420" y="1800"/>
                            </a:cubicBezTo>
                            <a:cubicBezTo>
                              <a:pt x="44198" y="2099"/>
                              <a:pt x="44975" y="2517"/>
                              <a:pt x="45633" y="3056"/>
                            </a:cubicBezTo>
                            <a:cubicBezTo>
                              <a:pt x="47248" y="4252"/>
                              <a:pt x="48444" y="5866"/>
                              <a:pt x="49162" y="7780"/>
                            </a:cubicBezTo>
                            <a:cubicBezTo>
                              <a:pt x="49879" y="9694"/>
                              <a:pt x="50178" y="11847"/>
                              <a:pt x="49999" y="14180"/>
                            </a:cubicBezTo>
                            <a:cubicBezTo>
                              <a:pt x="49820" y="16512"/>
                              <a:pt x="49281" y="18964"/>
                              <a:pt x="48264" y="21416"/>
                            </a:cubicBezTo>
                            <a:cubicBezTo>
                              <a:pt x="47248" y="23868"/>
                              <a:pt x="45813" y="26321"/>
                              <a:pt x="43959" y="28653"/>
                            </a:cubicBezTo>
                            <a:lnTo>
                              <a:pt x="29963" y="46476"/>
                            </a:lnTo>
                            <a:moveTo>
                              <a:pt x="5263" y="29251"/>
                            </a:moveTo>
                            <a:lnTo>
                              <a:pt x="5801" y="29610"/>
                            </a:lnTo>
                            <a:lnTo>
                              <a:pt x="11483" y="22433"/>
                            </a:lnTo>
                            <a:lnTo>
                              <a:pt x="11005" y="22014"/>
                            </a:lnTo>
                            <a:lnTo>
                              <a:pt x="5263" y="29251"/>
                            </a:lnTo>
                            <a:moveTo>
                              <a:pt x="5682" y="39837"/>
                            </a:moveTo>
                            <a:lnTo>
                              <a:pt x="25239" y="53353"/>
                            </a:lnTo>
                            <a:lnTo>
                              <a:pt x="29844" y="47552"/>
                            </a:lnTo>
                            <a:lnTo>
                              <a:pt x="29306" y="47193"/>
                            </a:lnTo>
                            <a:lnTo>
                              <a:pt x="25299" y="52277"/>
                            </a:lnTo>
                            <a:lnTo>
                              <a:pt x="6399" y="39179"/>
                            </a:lnTo>
                            <a:cubicBezTo>
                              <a:pt x="6340" y="39239"/>
                              <a:pt x="6280" y="39299"/>
                              <a:pt x="6220" y="39359"/>
                            </a:cubicBezTo>
                            <a:cubicBezTo>
                              <a:pt x="6160" y="39419"/>
                              <a:pt x="6100" y="39478"/>
                              <a:pt x="6041" y="39538"/>
                            </a:cubicBezTo>
                            <a:cubicBezTo>
                              <a:pt x="5981" y="39598"/>
                              <a:pt x="5921" y="39658"/>
                              <a:pt x="5861" y="39717"/>
                            </a:cubicBezTo>
                            <a:cubicBezTo>
                              <a:pt x="5801" y="39717"/>
                              <a:pt x="5742" y="39777"/>
                              <a:pt x="5682" y="39837"/>
                            </a:cubicBezTo>
                            <a:moveTo>
                              <a:pt x="0" y="35890"/>
                            </a:moveTo>
                            <a:lnTo>
                              <a:pt x="5203" y="39478"/>
                            </a:lnTo>
                            <a:cubicBezTo>
                              <a:pt x="5263" y="39419"/>
                              <a:pt x="5323" y="39359"/>
                              <a:pt x="5383" y="39299"/>
                            </a:cubicBezTo>
                            <a:cubicBezTo>
                              <a:pt x="5443" y="39239"/>
                              <a:pt x="5503" y="39179"/>
                              <a:pt x="5562" y="39119"/>
                            </a:cubicBezTo>
                            <a:cubicBezTo>
                              <a:pt x="5622" y="39060"/>
                              <a:pt x="5682" y="39000"/>
                              <a:pt x="5742" y="38940"/>
                            </a:cubicBezTo>
                            <a:cubicBezTo>
                              <a:pt x="5801" y="38880"/>
                              <a:pt x="5861" y="38820"/>
                              <a:pt x="5921" y="38760"/>
                            </a:cubicBezTo>
                            <a:lnTo>
                              <a:pt x="1136" y="35471"/>
                            </a:lnTo>
                            <a:lnTo>
                              <a:pt x="5024" y="30507"/>
                            </a:lnTo>
                            <a:cubicBezTo>
                              <a:pt x="4964" y="30507"/>
                              <a:pt x="4904" y="30447"/>
                              <a:pt x="4844" y="30447"/>
                            </a:cubicBezTo>
                            <a:cubicBezTo>
                              <a:pt x="4785" y="30447"/>
                              <a:pt x="4725" y="30388"/>
                              <a:pt x="4665" y="30388"/>
                            </a:cubicBezTo>
                            <a:cubicBezTo>
                              <a:pt x="4605" y="30388"/>
                              <a:pt x="4545" y="30328"/>
                              <a:pt x="4486" y="30328"/>
                            </a:cubicBezTo>
                            <a:cubicBezTo>
                              <a:pt x="4426" y="30328"/>
                              <a:pt x="4366" y="30328"/>
                              <a:pt x="4306" y="30268"/>
                            </a:cubicBezTo>
                            <a:lnTo>
                              <a:pt x="0" y="35890"/>
                            </a:lnTo>
                          </a:path>
                        </a:pathLst>
                      </a:custGeom>
                      <a:noFill/>
                      <a:ln w="6350" cap="flat">
                        <a:solidFill>
                          <a:schemeClr val="bg1">
                            <a:alpha val="40000"/>
                          </a:schemeClr>
                        </a:solidFill>
                        <a:prstDash val="solid"/>
                        <a:miter/>
                      </a:ln>
                    </p:spPr>
                    <p:txBody>
                      <a:bodyPr rtlCol="0" anchor="ctr"/>
                      <a:lstStyle/>
                      <a:p>
                        <a:endParaRPr lang="en-GB"/>
                      </a:p>
                    </p:txBody>
                  </p:sp>
                  <p:sp>
                    <p:nvSpPr>
                      <p:cNvPr id="7449" name="Vrije vorm: vorm 7448">
                        <a:extLst>
                          <a:ext uri="{FF2B5EF4-FFF2-40B4-BE49-F238E27FC236}">
                            <a16:creationId xmlns:a16="http://schemas.microsoft.com/office/drawing/2014/main" id="{89C47C9B-0F42-4A0E-AD1A-7B0252A65090}"/>
                          </a:ext>
                        </a:extLst>
                      </p:cNvPr>
                      <p:cNvSpPr/>
                      <p:nvPr/>
                    </p:nvSpPr>
                    <p:spPr>
                      <a:xfrm>
                        <a:off x="5355577" y="5445547"/>
                        <a:ext cx="32145" cy="34055"/>
                      </a:xfrm>
                      <a:custGeom>
                        <a:avLst/>
                        <a:gdLst>
                          <a:gd name="connsiteX0" fmla="*/ 10167 w 32145"/>
                          <a:gd name="connsiteY0" fmla="*/ 5562 h 34055"/>
                          <a:gd name="connsiteX1" fmla="*/ 12858 w 32145"/>
                          <a:gd name="connsiteY1" fmla="*/ 3648 h 34055"/>
                          <a:gd name="connsiteX2" fmla="*/ 15610 w 32145"/>
                          <a:gd name="connsiteY2" fmla="*/ 2213 h 34055"/>
                          <a:gd name="connsiteX3" fmla="*/ 18361 w 32145"/>
                          <a:gd name="connsiteY3" fmla="*/ 1256 h 34055"/>
                          <a:gd name="connsiteX4" fmla="*/ 21052 w 32145"/>
                          <a:gd name="connsiteY4" fmla="*/ 837 h 34055"/>
                          <a:gd name="connsiteX5" fmla="*/ 20215 w 32145"/>
                          <a:gd name="connsiteY5" fmla="*/ 120 h 34055"/>
                          <a:gd name="connsiteX6" fmla="*/ 17583 w 32145"/>
                          <a:gd name="connsiteY6" fmla="*/ 718 h 34055"/>
                          <a:gd name="connsiteX7" fmla="*/ 14892 w 32145"/>
                          <a:gd name="connsiteY7" fmla="*/ 1734 h 34055"/>
                          <a:gd name="connsiteX8" fmla="*/ 12260 w 32145"/>
                          <a:gd name="connsiteY8" fmla="*/ 3229 h 34055"/>
                          <a:gd name="connsiteX9" fmla="*/ 9689 w 32145"/>
                          <a:gd name="connsiteY9" fmla="*/ 5143 h 34055"/>
                          <a:gd name="connsiteX10" fmla="*/ 10167 w 32145"/>
                          <a:gd name="connsiteY10" fmla="*/ 5562 h 34055"/>
                          <a:gd name="connsiteX11" fmla="*/ 3349 w 32145"/>
                          <a:gd name="connsiteY11" fmla="*/ 13875 h 34055"/>
                          <a:gd name="connsiteX12" fmla="*/ 3947 w 32145"/>
                          <a:gd name="connsiteY12" fmla="*/ 12799 h 34055"/>
                          <a:gd name="connsiteX13" fmla="*/ 4605 w 32145"/>
                          <a:gd name="connsiteY13" fmla="*/ 11782 h 34055"/>
                          <a:gd name="connsiteX14" fmla="*/ 5323 w 32145"/>
                          <a:gd name="connsiteY14" fmla="*/ 10765 h 34055"/>
                          <a:gd name="connsiteX15" fmla="*/ 6100 w 32145"/>
                          <a:gd name="connsiteY15" fmla="*/ 9749 h 34055"/>
                          <a:gd name="connsiteX16" fmla="*/ 6878 w 32145"/>
                          <a:gd name="connsiteY16" fmla="*/ 8792 h 34055"/>
                          <a:gd name="connsiteX17" fmla="*/ 7715 w 32145"/>
                          <a:gd name="connsiteY17" fmla="*/ 7895 h 34055"/>
                          <a:gd name="connsiteX18" fmla="*/ 8552 w 32145"/>
                          <a:gd name="connsiteY18" fmla="*/ 7057 h 34055"/>
                          <a:gd name="connsiteX19" fmla="*/ 9449 w 32145"/>
                          <a:gd name="connsiteY19" fmla="*/ 6220 h 34055"/>
                          <a:gd name="connsiteX20" fmla="*/ 8971 w 32145"/>
                          <a:gd name="connsiteY20" fmla="*/ 5801 h 34055"/>
                          <a:gd name="connsiteX21" fmla="*/ 8074 w 32145"/>
                          <a:gd name="connsiteY21" fmla="*/ 6639 h 34055"/>
                          <a:gd name="connsiteX22" fmla="*/ 7236 w 32145"/>
                          <a:gd name="connsiteY22" fmla="*/ 7536 h 34055"/>
                          <a:gd name="connsiteX23" fmla="*/ 6399 w 32145"/>
                          <a:gd name="connsiteY23" fmla="*/ 8493 h 34055"/>
                          <a:gd name="connsiteX24" fmla="*/ 5562 w 32145"/>
                          <a:gd name="connsiteY24" fmla="*/ 9450 h 34055"/>
                          <a:gd name="connsiteX25" fmla="*/ 4785 w 32145"/>
                          <a:gd name="connsiteY25" fmla="*/ 10466 h 34055"/>
                          <a:gd name="connsiteX26" fmla="*/ 4067 w 32145"/>
                          <a:gd name="connsiteY26" fmla="*/ 11483 h 34055"/>
                          <a:gd name="connsiteX27" fmla="*/ 3409 w 32145"/>
                          <a:gd name="connsiteY27" fmla="*/ 12500 h 34055"/>
                          <a:gd name="connsiteX28" fmla="*/ 2811 w 32145"/>
                          <a:gd name="connsiteY28" fmla="*/ 13516 h 34055"/>
                          <a:gd name="connsiteX29" fmla="*/ 3349 w 32145"/>
                          <a:gd name="connsiteY29" fmla="*/ 13875 h 34055"/>
                          <a:gd name="connsiteX30" fmla="*/ 897 w 32145"/>
                          <a:gd name="connsiteY30" fmla="*/ 22787 h 34055"/>
                          <a:gd name="connsiteX31" fmla="*/ 1017 w 32145"/>
                          <a:gd name="connsiteY31" fmla="*/ 20873 h 34055"/>
                          <a:gd name="connsiteX32" fmla="*/ 1375 w 32145"/>
                          <a:gd name="connsiteY32" fmla="*/ 18899 h 34055"/>
                          <a:gd name="connsiteX33" fmla="*/ 1973 w 32145"/>
                          <a:gd name="connsiteY33" fmla="*/ 16866 h 34055"/>
                          <a:gd name="connsiteX34" fmla="*/ 2811 w 32145"/>
                          <a:gd name="connsiteY34" fmla="*/ 14832 h 34055"/>
                          <a:gd name="connsiteX35" fmla="*/ 2273 w 32145"/>
                          <a:gd name="connsiteY35" fmla="*/ 14354 h 34055"/>
                          <a:gd name="connsiteX36" fmla="*/ 1375 w 32145"/>
                          <a:gd name="connsiteY36" fmla="*/ 16327 h 34055"/>
                          <a:gd name="connsiteX37" fmla="*/ 718 w 32145"/>
                          <a:gd name="connsiteY37" fmla="*/ 18301 h 34055"/>
                          <a:gd name="connsiteX38" fmla="*/ 239 w 32145"/>
                          <a:gd name="connsiteY38" fmla="*/ 20275 h 34055"/>
                          <a:gd name="connsiteX39" fmla="*/ 0 w 32145"/>
                          <a:gd name="connsiteY39" fmla="*/ 22189 h 34055"/>
                          <a:gd name="connsiteX40" fmla="*/ 897 w 32145"/>
                          <a:gd name="connsiteY40" fmla="*/ 22787 h 34055"/>
                          <a:gd name="connsiteX41" fmla="*/ 4246 w 32145"/>
                          <a:gd name="connsiteY41" fmla="*/ 32296 h 34055"/>
                          <a:gd name="connsiteX42" fmla="*/ 9330 w 32145"/>
                          <a:gd name="connsiteY42" fmla="*/ 34030 h 34055"/>
                          <a:gd name="connsiteX43" fmla="*/ 15251 w 32145"/>
                          <a:gd name="connsiteY43" fmla="*/ 33133 h 34055"/>
                          <a:gd name="connsiteX44" fmla="*/ 21291 w 32145"/>
                          <a:gd name="connsiteY44" fmla="*/ 29904 h 34055"/>
                          <a:gd name="connsiteX45" fmla="*/ 26734 w 32145"/>
                          <a:gd name="connsiteY45" fmla="*/ 24641 h 34055"/>
                          <a:gd name="connsiteX46" fmla="*/ 30561 w 32145"/>
                          <a:gd name="connsiteY46" fmla="*/ 18181 h 34055"/>
                          <a:gd name="connsiteX47" fmla="*/ 32116 w 32145"/>
                          <a:gd name="connsiteY47" fmla="*/ 11722 h 34055"/>
                          <a:gd name="connsiteX48" fmla="*/ 31339 w 32145"/>
                          <a:gd name="connsiteY48" fmla="*/ 6041 h 34055"/>
                          <a:gd name="connsiteX49" fmla="*/ 28169 w 32145"/>
                          <a:gd name="connsiteY49" fmla="*/ 1854 h 34055"/>
                          <a:gd name="connsiteX50" fmla="*/ 26674 w 32145"/>
                          <a:gd name="connsiteY50" fmla="*/ 957 h 34055"/>
                          <a:gd name="connsiteX51" fmla="*/ 25059 w 32145"/>
                          <a:gd name="connsiteY51" fmla="*/ 359 h 34055"/>
                          <a:gd name="connsiteX52" fmla="*/ 23265 w 32145"/>
                          <a:gd name="connsiteY52" fmla="*/ 60 h 34055"/>
                          <a:gd name="connsiteX53" fmla="*/ 21411 w 32145"/>
                          <a:gd name="connsiteY53" fmla="*/ 0 h 34055"/>
                          <a:gd name="connsiteX54" fmla="*/ 22368 w 32145"/>
                          <a:gd name="connsiteY54" fmla="*/ 837 h 34055"/>
                          <a:gd name="connsiteX55" fmla="*/ 23803 w 32145"/>
                          <a:gd name="connsiteY55" fmla="*/ 1017 h 34055"/>
                          <a:gd name="connsiteX56" fmla="*/ 25179 w 32145"/>
                          <a:gd name="connsiteY56" fmla="*/ 1375 h 34055"/>
                          <a:gd name="connsiteX57" fmla="*/ 26435 w 32145"/>
                          <a:gd name="connsiteY57" fmla="*/ 1914 h 34055"/>
                          <a:gd name="connsiteX58" fmla="*/ 27631 w 32145"/>
                          <a:gd name="connsiteY58" fmla="*/ 2632 h 34055"/>
                          <a:gd name="connsiteX59" fmla="*/ 30621 w 32145"/>
                          <a:gd name="connsiteY59" fmla="*/ 6639 h 34055"/>
                          <a:gd name="connsiteX60" fmla="*/ 31339 w 32145"/>
                          <a:gd name="connsiteY60" fmla="*/ 12021 h 34055"/>
                          <a:gd name="connsiteX61" fmla="*/ 29844 w 32145"/>
                          <a:gd name="connsiteY61" fmla="*/ 18122 h 34055"/>
                          <a:gd name="connsiteX62" fmla="*/ 26196 w 32145"/>
                          <a:gd name="connsiteY62" fmla="*/ 24282 h 34055"/>
                          <a:gd name="connsiteX63" fmla="*/ 20992 w 32145"/>
                          <a:gd name="connsiteY63" fmla="*/ 29306 h 34055"/>
                          <a:gd name="connsiteX64" fmla="*/ 15251 w 32145"/>
                          <a:gd name="connsiteY64" fmla="*/ 32356 h 34055"/>
                          <a:gd name="connsiteX65" fmla="*/ 9569 w 32145"/>
                          <a:gd name="connsiteY65" fmla="*/ 33193 h 34055"/>
                          <a:gd name="connsiteX66" fmla="*/ 4725 w 32145"/>
                          <a:gd name="connsiteY66" fmla="*/ 31578 h 34055"/>
                          <a:gd name="connsiteX67" fmla="*/ 3170 w 32145"/>
                          <a:gd name="connsiteY67" fmla="*/ 30143 h 34055"/>
                          <a:gd name="connsiteX68" fmla="*/ 2033 w 32145"/>
                          <a:gd name="connsiteY68" fmla="*/ 28408 h 34055"/>
                          <a:gd name="connsiteX69" fmla="*/ 1256 w 32145"/>
                          <a:gd name="connsiteY69" fmla="*/ 26375 h 34055"/>
                          <a:gd name="connsiteX70" fmla="*/ 897 w 32145"/>
                          <a:gd name="connsiteY70" fmla="*/ 24102 h 34055"/>
                          <a:gd name="connsiteX71" fmla="*/ 60 w 32145"/>
                          <a:gd name="connsiteY71" fmla="*/ 23385 h 34055"/>
                          <a:gd name="connsiteX72" fmla="*/ 299 w 32145"/>
                          <a:gd name="connsiteY72" fmla="*/ 26076 h 34055"/>
                          <a:gd name="connsiteX73" fmla="*/ 1076 w 32145"/>
                          <a:gd name="connsiteY73" fmla="*/ 28528 h 34055"/>
                          <a:gd name="connsiteX74" fmla="*/ 2332 w 32145"/>
                          <a:gd name="connsiteY74" fmla="*/ 30621 h 34055"/>
                          <a:gd name="connsiteX75" fmla="*/ 4246 w 32145"/>
                          <a:gd name="connsiteY75" fmla="*/ 32296 h 3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2145" h="34055">
                            <a:moveTo>
                              <a:pt x="10167" y="5562"/>
                            </a:moveTo>
                            <a:cubicBezTo>
                              <a:pt x="11064" y="4844"/>
                              <a:pt x="11902" y="4246"/>
                              <a:pt x="12858" y="3648"/>
                            </a:cubicBezTo>
                            <a:cubicBezTo>
                              <a:pt x="13756" y="3110"/>
                              <a:pt x="14712" y="2632"/>
                              <a:pt x="15610" y="2213"/>
                            </a:cubicBezTo>
                            <a:cubicBezTo>
                              <a:pt x="16507" y="1794"/>
                              <a:pt x="17464" y="1495"/>
                              <a:pt x="18361" y="1256"/>
                            </a:cubicBezTo>
                            <a:cubicBezTo>
                              <a:pt x="19258" y="1017"/>
                              <a:pt x="20155" y="897"/>
                              <a:pt x="21052" y="837"/>
                            </a:cubicBezTo>
                            <a:lnTo>
                              <a:pt x="20215" y="120"/>
                            </a:lnTo>
                            <a:cubicBezTo>
                              <a:pt x="19377" y="239"/>
                              <a:pt x="18480" y="419"/>
                              <a:pt x="17583" y="718"/>
                            </a:cubicBezTo>
                            <a:cubicBezTo>
                              <a:pt x="16686" y="1017"/>
                              <a:pt x="15789" y="1316"/>
                              <a:pt x="14892" y="1734"/>
                            </a:cubicBezTo>
                            <a:cubicBezTo>
                              <a:pt x="13995" y="2153"/>
                              <a:pt x="13098" y="2632"/>
                              <a:pt x="12260" y="3229"/>
                            </a:cubicBezTo>
                            <a:cubicBezTo>
                              <a:pt x="11363" y="3768"/>
                              <a:pt x="10526" y="4426"/>
                              <a:pt x="9689" y="5143"/>
                            </a:cubicBezTo>
                            <a:lnTo>
                              <a:pt x="10167" y="5562"/>
                            </a:lnTo>
                            <a:moveTo>
                              <a:pt x="3349" y="13875"/>
                            </a:moveTo>
                            <a:cubicBezTo>
                              <a:pt x="3528" y="13516"/>
                              <a:pt x="3708" y="13158"/>
                              <a:pt x="3947" y="12799"/>
                            </a:cubicBezTo>
                            <a:cubicBezTo>
                              <a:pt x="4186" y="12440"/>
                              <a:pt x="4366" y="12081"/>
                              <a:pt x="4605" y="11782"/>
                            </a:cubicBezTo>
                            <a:cubicBezTo>
                              <a:pt x="4844" y="11483"/>
                              <a:pt x="5083" y="11064"/>
                              <a:pt x="5323" y="10765"/>
                            </a:cubicBezTo>
                            <a:cubicBezTo>
                              <a:pt x="5562" y="10406"/>
                              <a:pt x="5801" y="10107"/>
                              <a:pt x="6100" y="9749"/>
                            </a:cubicBezTo>
                            <a:cubicBezTo>
                              <a:pt x="6340" y="9390"/>
                              <a:pt x="6639" y="9091"/>
                              <a:pt x="6878" y="8792"/>
                            </a:cubicBezTo>
                            <a:cubicBezTo>
                              <a:pt x="7177" y="8493"/>
                              <a:pt x="7416" y="8194"/>
                              <a:pt x="7715" y="7895"/>
                            </a:cubicBezTo>
                            <a:cubicBezTo>
                              <a:pt x="8014" y="7596"/>
                              <a:pt x="8313" y="7297"/>
                              <a:pt x="8552" y="7057"/>
                            </a:cubicBezTo>
                            <a:cubicBezTo>
                              <a:pt x="8851" y="6758"/>
                              <a:pt x="9150" y="6519"/>
                              <a:pt x="9449" y="6220"/>
                            </a:cubicBezTo>
                            <a:lnTo>
                              <a:pt x="8971" y="5801"/>
                            </a:lnTo>
                            <a:cubicBezTo>
                              <a:pt x="8672" y="6041"/>
                              <a:pt x="8373" y="6340"/>
                              <a:pt x="8074" y="6639"/>
                            </a:cubicBezTo>
                            <a:cubicBezTo>
                              <a:pt x="7775" y="6938"/>
                              <a:pt x="7476" y="7237"/>
                              <a:pt x="7236" y="7536"/>
                            </a:cubicBezTo>
                            <a:cubicBezTo>
                              <a:pt x="6997" y="7835"/>
                              <a:pt x="6698" y="8134"/>
                              <a:pt x="6399" y="8493"/>
                            </a:cubicBezTo>
                            <a:cubicBezTo>
                              <a:pt x="6100" y="8792"/>
                              <a:pt x="5861" y="9151"/>
                              <a:pt x="5562" y="9450"/>
                            </a:cubicBezTo>
                            <a:cubicBezTo>
                              <a:pt x="5323" y="9808"/>
                              <a:pt x="5024" y="10107"/>
                              <a:pt x="4785" y="10466"/>
                            </a:cubicBezTo>
                            <a:cubicBezTo>
                              <a:pt x="4545" y="10825"/>
                              <a:pt x="4306" y="11124"/>
                              <a:pt x="4067" y="11483"/>
                            </a:cubicBezTo>
                            <a:cubicBezTo>
                              <a:pt x="3827" y="11842"/>
                              <a:pt x="3648" y="12141"/>
                              <a:pt x="3409" y="12500"/>
                            </a:cubicBezTo>
                            <a:cubicBezTo>
                              <a:pt x="3229" y="12859"/>
                              <a:pt x="2990" y="13218"/>
                              <a:pt x="2811" y="13516"/>
                            </a:cubicBezTo>
                            <a:lnTo>
                              <a:pt x="3349" y="13875"/>
                            </a:lnTo>
                            <a:moveTo>
                              <a:pt x="897" y="22787"/>
                            </a:moveTo>
                            <a:cubicBezTo>
                              <a:pt x="897" y="22129"/>
                              <a:pt x="957" y="21530"/>
                              <a:pt x="1017" y="20873"/>
                            </a:cubicBezTo>
                            <a:cubicBezTo>
                              <a:pt x="1076" y="20215"/>
                              <a:pt x="1256" y="19557"/>
                              <a:pt x="1375" y="18899"/>
                            </a:cubicBezTo>
                            <a:cubicBezTo>
                              <a:pt x="1555" y="18241"/>
                              <a:pt x="1734" y="17523"/>
                              <a:pt x="1973" y="16866"/>
                            </a:cubicBezTo>
                            <a:cubicBezTo>
                              <a:pt x="2213" y="16208"/>
                              <a:pt x="2512" y="15490"/>
                              <a:pt x="2811" y="14832"/>
                            </a:cubicBezTo>
                            <a:lnTo>
                              <a:pt x="2273" y="14354"/>
                            </a:lnTo>
                            <a:cubicBezTo>
                              <a:pt x="1973" y="15012"/>
                              <a:pt x="1674" y="15669"/>
                              <a:pt x="1375" y="16327"/>
                            </a:cubicBezTo>
                            <a:cubicBezTo>
                              <a:pt x="1076" y="16985"/>
                              <a:pt x="897" y="17643"/>
                              <a:pt x="718" y="18301"/>
                            </a:cubicBezTo>
                            <a:cubicBezTo>
                              <a:pt x="538" y="18959"/>
                              <a:pt x="359" y="19617"/>
                              <a:pt x="239" y="20275"/>
                            </a:cubicBezTo>
                            <a:cubicBezTo>
                              <a:pt x="119" y="20933"/>
                              <a:pt x="60" y="21530"/>
                              <a:pt x="0" y="22189"/>
                            </a:cubicBezTo>
                            <a:lnTo>
                              <a:pt x="897" y="22787"/>
                            </a:lnTo>
                            <a:moveTo>
                              <a:pt x="4246" y="32296"/>
                            </a:moveTo>
                            <a:cubicBezTo>
                              <a:pt x="5741" y="33313"/>
                              <a:pt x="7476" y="33911"/>
                              <a:pt x="9330" y="34030"/>
                            </a:cubicBezTo>
                            <a:cubicBezTo>
                              <a:pt x="11184" y="34150"/>
                              <a:pt x="13217" y="33851"/>
                              <a:pt x="15251" y="33133"/>
                            </a:cubicBezTo>
                            <a:cubicBezTo>
                              <a:pt x="17284" y="32415"/>
                              <a:pt x="19377" y="31339"/>
                              <a:pt x="21291" y="29904"/>
                            </a:cubicBezTo>
                            <a:cubicBezTo>
                              <a:pt x="23265" y="28468"/>
                              <a:pt x="25119" y="26674"/>
                              <a:pt x="26734" y="24641"/>
                            </a:cubicBezTo>
                            <a:cubicBezTo>
                              <a:pt x="28349" y="22547"/>
                              <a:pt x="29664" y="20335"/>
                              <a:pt x="30561" y="18181"/>
                            </a:cubicBezTo>
                            <a:cubicBezTo>
                              <a:pt x="31459" y="15968"/>
                              <a:pt x="31997" y="13815"/>
                              <a:pt x="32116" y="11722"/>
                            </a:cubicBezTo>
                            <a:cubicBezTo>
                              <a:pt x="32236" y="9689"/>
                              <a:pt x="31997" y="7715"/>
                              <a:pt x="31339" y="6041"/>
                            </a:cubicBezTo>
                            <a:cubicBezTo>
                              <a:pt x="30681" y="4366"/>
                              <a:pt x="29664" y="2930"/>
                              <a:pt x="28169" y="1854"/>
                            </a:cubicBezTo>
                            <a:cubicBezTo>
                              <a:pt x="27691" y="1495"/>
                              <a:pt x="27212" y="1196"/>
                              <a:pt x="26674" y="957"/>
                            </a:cubicBezTo>
                            <a:cubicBezTo>
                              <a:pt x="26136" y="718"/>
                              <a:pt x="25597" y="538"/>
                              <a:pt x="25059" y="359"/>
                            </a:cubicBezTo>
                            <a:cubicBezTo>
                              <a:pt x="24461" y="180"/>
                              <a:pt x="23923" y="120"/>
                              <a:pt x="23265" y="60"/>
                            </a:cubicBezTo>
                            <a:cubicBezTo>
                              <a:pt x="22667" y="0"/>
                              <a:pt x="22009" y="0"/>
                              <a:pt x="21411" y="0"/>
                            </a:cubicBezTo>
                            <a:lnTo>
                              <a:pt x="22368" y="837"/>
                            </a:lnTo>
                            <a:cubicBezTo>
                              <a:pt x="22846" y="837"/>
                              <a:pt x="23325" y="897"/>
                              <a:pt x="23803" y="1017"/>
                            </a:cubicBezTo>
                            <a:cubicBezTo>
                              <a:pt x="24282" y="1076"/>
                              <a:pt x="24700" y="1196"/>
                              <a:pt x="25179" y="1375"/>
                            </a:cubicBezTo>
                            <a:cubicBezTo>
                              <a:pt x="25597" y="1495"/>
                              <a:pt x="26016" y="1675"/>
                              <a:pt x="26435" y="1914"/>
                            </a:cubicBezTo>
                            <a:cubicBezTo>
                              <a:pt x="26853" y="2153"/>
                              <a:pt x="27212" y="2392"/>
                              <a:pt x="27631" y="2632"/>
                            </a:cubicBezTo>
                            <a:cubicBezTo>
                              <a:pt x="29006" y="3648"/>
                              <a:pt x="30023" y="5024"/>
                              <a:pt x="30621" y="6639"/>
                            </a:cubicBezTo>
                            <a:cubicBezTo>
                              <a:pt x="31219" y="8253"/>
                              <a:pt x="31459" y="10107"/>
                              <a:pt x="31339" y="12021"/>
                            </a:cubicBezTo>
                            <a:cubicBezTo>
                              <a:pt x="31219" y="13995"/>
                              <a:pt x="30741" y="16088"/>
                              <a:pt x="29844" y="18122"/>
                            </a:cubicBezTo>
                            <a:cubicBezTo>
                              <a:pt x="29006" y="20215"/>
                              <a:pt x="27810" y="22308"/>
                              <a:pt x="26196" y="24282"/>
                            </a:cubicBezTo>
                            <a:cubicBezTo>
                              <a:pt x="24581" y="26255"/>
                              <a:pt x="22846" y="27930"/>
                              <a:pt x="20992" y="29306"/>
                            </a:cubicBezTo>
                            <a:cubicBezTo>
                              <a:pt x="19138" y="30681"/>
                              <a:pt x="17165" y="31698"/>
                              <a:pt x="15251" y="32356"/>
                            </a:cubicBezTo>
                            <a:cubicBezTo>
                              <a:pt x="13277" y="33014"/>
                              <a:pt x="11363" y="33313"/>
                              <a:pt x="9569" y="33193"/>
                            </a:cubicBezTo>
                            <a:cubicBezTo>
                              <a:pt x="7775" y="33074"/>
                              <a:pt x="6100" y="32535"/>
                              <a:pt x="4725" y="31578"/>
                            </a:cubicBezTo>
                            <a:cubicBezTo>
                              <a:pt x="4127" y="31160"/>
                              <a:pt x="3648" y="30681"/>
                              <a:pt x="3170" y="30143"/>
                            </a:cubicBezTo>
                            <a:cubicBezTo>
                              <a:pt x="2691" y="29605"/>
                              <a:pt x="2332" y="29006"/>
                              <a:pt x="2033" y="28408"/>
                            </a:cubicBezTo>
                            <a:cubicBezTo>
                              <a:pt x="1734" y="27751"/>
                              <a:pt x="1435" y="27093"/>
                              <a:pt x="1256" y="26375"/>
                            </a:cubicBezTo>
                            <a:cubicBezTo>
                              <a:pt x="1076" y="25657"/>
                              <a:pt x="957" y="24880"/>
                              <a:pt x="897" y="24102"/>
                            </a:cubicBezTo>
                            <a:lnTo>
                              <a:pt x="60" y="23385"/>
                            </a:lnTo>
                            <a:cubicBezTo>
                              <a:pt x="60" y="24342"/>
                              <a:pt x="179" y="25239"/>
                              <a:pt x="299" y="26076"/>
                            </a:cubicBezTo>
                            <a:cubicBezTo>
                              <a:pt x="478" y="26913"/>
                              <a:pt x="718" y="27751"/>
                              <a:pt x="1076" y="28528"/>
                            </a:cubicBezTo>
                            <a:cubicBezTo>
                              <a:pt x="1435" y="29306"/>
                              <a:pt x="1854" y="29963"/>
                              <a:pt x="2332" y="30621"/>
                            </a:cubicBezTo>
                            <a:cubicBezTo>
                              <a:pt x="2930" y="31220"/>
                              <a:pt x="3528" y="31817"/>
                              <a:pt x="4246" y="32296"/>
                            </a:cubicBezTo>
                          </a:path>
                        </a:pathLst>
                      </a:custGeom>
                      <a:noFill/>
                      <a:ln w="6350" cap="flat">
                        <a:solidFill>
                          <a:schemeClr val="bg1">
                            <a:alpha val="40000"/>
                          </a:schemeClr>
                        </a:solidFill>
                        <a:prstDash val="solid"/>
                        <a:miter/>
                      </a:ln>
                    </p:spPr>
                    <p:txBody>
                      <a:bodyPr rtlCol="0" anchor="ctr"/>
                      <a:lstStyle/>
                      <a:p>
                        <a:endParaRPr lang="en-GB"/>
                      </a:p>
                    </p:txBody>
                  </p:sp>
                  <p:sp>
                    <p:nvSpPr>
                      <p:cNvPr id="7450" name="Vrije vorm: vorm 7449">
                        <a:extLst>
                          <a:ext uri="{FF2B5EF4-FFF2-40B4-BE49-F238E27FC236}">
                            <a16:creationId xmlns:a16="http://schemas.microsoft.com/office/drawing/2014/main" id="{1FEF60E7-F069-408B-BB78-D14C49A1D8BA}"/>
                          </a:ext>
                        </a:extLst>
                      </p:cNvPr>
                      <p:cNvSpPr/>
                      <p:nvPr/>
                    </p:nvSpPr>
                    <p:spPr>
                      <a:xfrm>
                        <a:off x="5305637" y="5467153"/>
                        <a:ext cx="71783" cy="63858"/>
                      </a:xfrm>
                      <a:custGeom>
                        <a:avLst/>
                        <a:gdLst>
                          <a:gd name="connsiteX0" fmla="*/ 0 w 71783"/>
                          <a:gd name="connsiteY0" fmla="*/ 32340 h 63858"/>
                          <a:gd name="connsiteX1" fmla="*/ 2392 w 71783"/>
                          <a:gd name="connsiteY1" fmla="*/ 33955 h 63858"/>
                          <a:gd name="connsiteX2" fmla="*/ 2930 w 71783"/>
                          <a:gd name="connsiteY2" fmla="*/ 34313 h 63858"/>
                          <a:gd name="connsiteX3" fmla="*/ 5323 w 71783"/>
                          <a:gd name="connsiteY3" fmla="*/ 35928 h 63858"/>
                          <a:gd name="connsiteX4" fmla="*/ 5861 w 71783"/>
                          <a:gd name="connsiteY4" fmla="*/ 36287 h 63858"/>
                          <a:gd name="connsiteX5" fmla="*/ 7057 w 71783"/>
                          <a:gd name="connsiteY5" fmla="*/ 37065 h 63858"/>
                          <a:gd name="connsiteX6" fmla="*/ 7656 w 71783"/>
                          <a:gd name="connsiteY6" fmla="*/ 36287 h 63858"/>
                          <a:gd name="connsiteX7" fmla="*/ 6459 w 71783"/>
                          <a:gd name="connsiteY7" fmla="*/ 35510 h 63858"/>
                          <a:gd name="connsiteX8" fmla="*/ 5921 w 71783"/>
                          <a:gd name="connsiteY8" fmla="*/ 35151 h 63858"/>
                          <a:gd name="connsiteX9" fmla="*/ 3529 w 71783"/>
                          <a:gd name="connsiteY9" fmla="*/ 33536 h 63858"/>
                          <a:gd name="connsiteX10" fmla="*/ 2990 w 71783"/>
                          <a:gd name="connsiteY10" fmla="*/ 33177 h 63858"/>
                          <a:gd name="connsiteX11" fmla="*/ 1136 w 71783"/>
                          <a:gd name="connsiteY11" fmla="*/ 31921 h 63858"/>
                          <a:gd name="connsiteX12" fmla="*/ 2811 w 71783"/>
                          <a:gd name="connsiteY12" fmla="*/ 29828 h 63858"/>
                          <a:gd name="connsiteX13" fmla="*/ 3409 w 71783"/>
                          <a:gd name="connsiteY13" fmla="*/ 29110 h 63858"/>
                          <a:gd name="connsiteX14" fmla="*/ 6519 w 71783"/>
                          <a:gd name="connsiteY14" fmla="*/ 25163 h 63858"/>
                          <a:gd name="connsiteX15" fmla="*/ 7117 w 71783"/>
                          <a:gd name="connsiteY15" fmla="*/ 24386 h 63858"/>
                          <a:gd name="connsiteX16" fmla="*/ 7954 w 71783"/>
                          <a:gd name="connsiteY16" fmla="*/ 23369 h 63858"/>
                          <a:gd name="connsiteX17" fmla="*/ 8552 w 71783"/>
                          <a:gd name="connsiteY17" fmla="*/ 22591 h 63858"/>
                          <a:gd name="connsiteX18" fmla="*/ 10347 w 71783"/>
                          <a:gd name="connsiteY18" fmla="*/ 20319 h 63858"/>
                          <a:gd name="connsiteX19" fmla="*/ 10945 w 71783"/>
                          <a:gd name="connsiteY19" fmla="*/ 19601 h 63858"/>
                          <a:gd name="connsiteX20" fmla="*/ 12560 w 71783"/>
                          <a:gd name="connsiteY20" fmla="*/ 17567 h 63858"/>
                          <a:gd name="connsiteX21" fmla="*/ 13158 w 71783"/>
                          <a:gd name="connsiteY21" fmla="*/ 16790 h 63858"/>
                          <a:gd name="connsiteX22" fmla="*/ 16686 w 71783"/>
                          <a:gd name="connsiteY22" fmla="*/ 12304 h 63858"/>
                          <a:gd name="connsiteX23" fmla="*/ 17284 w 71783"/>
                          <a:gd name="connsiteY23" fmla="*/ 11527 h 63858"/>
                          <a:gd name="connsiteX24" fmla="*/ 20813 w 71783"/>
                          <a:gd name="connsiteY24" fmla="*/ 7041 h 63858"/>
                          <a:gd name="connsiteX25" fmla="*/ 24342 w 71783"/>
                          <a:gd name="connsiteY25" fmla="*/ 3274 h 63858"/>
                          <a:gd name="connsiteX26" fmla="*/ 27691 w 71783"/>
                          <a:gd name="connsiteY26" fmla="*/ 1180 h 63858"/>
                          <a:gd name="connsiteX27" fmla="*/ 30861 w 71783"/>
                          <a:gd name="connsiteY27" fmla="*/ 762 h 63858"/>
                          <a:gd name="connsiteX28" fmla="*/ 33911 w 71783"/>
                          <a:gd name="connsiteY28" fmla="*/ 2018 h 63858"/>
                          <a:gd name="connsiteX29" fmla="*/ 37858 w 71783"/>
                          <a:gd name="connsiteY29" fmla="*/ 4769 h 63858"/>
                          <a:gd name="connsiteX30" fmla="*/ 38815 w 71783"/>
                          <a:gd name="connsiteY30" fmla="*/ 4888 h 63858"/>
                          <a:gd name="connsiteX31" fmla="*/ 39712 w 71783"/>
                          <a:gd name="connsiteY31" fmla="*/ 5187 h 63858"/>
                          <a:gd name="connsiteX32" fmla="*/ 40609 w 71783"/>
                          <a:gd name="connsiteY32" fmla="*/ 5606 h 63858"/>
                          <a:gd name="connsiteX33" fmla="*/ 41506 w 71783"/>
                          <a:gd name="connsiteY33" fmla="*/ 6144 h 63858"/>
                          <a:gd name="connsiteX34" fmla="*/ 50477 w 71783"/>
                          <a:gd name="connsiteY34" fmla="*/ 12424 h 63858"/>
                          <a:gd name="connsiteX35" fmla="*/ 49879 w 71783"/>
                          <a:gd name="connsiteY35" fmla="*/ 13202 h 63858"/>
                          <a:gd name="connsiteX36" fmla="*/ 63336 w 71783"/>
                          <a:gd name="connsiteY36" fmla="*/ 22591 h 63858"/>
                          <a:gd name="connsiteX37" fmla="*/ 63874 w 71783"/>
                          <a:gd name="connsiteY37" fmla="*/ 22950 h 63858"/>
                          <a:gd name="connsiteX38" fmla="*/ 68539 w 71783"/>
                          <a:gd name="connsiteY38" fmla="*/ 26180 h 63858"/>
                          <a:gd name="connsiteX39" fmla="*/ 70273 w 71783"/>
                          <a:gd name="connsiteY39" fmla="*/ 27974 h 63858"/>
                          <a:gd name="connsiteX40" fmla="*/ 70991 w 71783"/>
                          <a:gd name="connsiteY40" fmla="*/ 30127 h 63858"/>
                          <a:gd name="connsiteX41" fmla="*/ 70692 w 71783"/>
                          <a:gd name="connsiteY41" fmla="*/ 32639 h 63858"/>
                          <a:gd name="connsiteX42" fmla="*/ 69377 w 71783"/>
                          <a:gd name="connsiteY42" fmla="*/ 35570 h 63858"/>
                          <a:gd name="connsiteX43" fmla="*/ 69257 w 71783"/>
                          <a:gd name="connsiteY43" fmla="*/ 35749 h 63858"/>
                          <a:gd name="connsiteX44" fmla="*/ 69137 w 71783"/>
                          <a:gd name="connsiteY44" fmla="*/ 35928 h 63858"/>
                          <a:gd name="connsiteX45" fmla="*/ 69018 w 71783"/>
                          <a:gd name="connsiteY45" fmla="*/ 36108 h 63858"/>
                          <a:gd name="connsiteX46" fmla="*/ 68898 w 71783"/>
                          <a:gd name="connsiteY46" fmla="*/ 36287 h 63858"/>
                          <a:gd name="connsiteX47" fmla="*/ 68718 w 71783"/>
                          <a:gd name="connsiteY47" fmla="*/ 36527 h 63858"/>
                          <a:gd name="connsiteX48" fmla="*/ 68539 w 71783"/>
                          <a:gd name="connsiteY48" fmla="*/ 36766 h 63858"/>
                          <a:gd name="connsiteX49" fmla="*/ 68360 w 71783"/>
                          <a:gd name="connsiteY49" fmla="*/ 37005 h 63858"/>
                          <a:gd name="connsiteX50" fmla="*/ 68180 w 71783"/>
                          <a:gd name="connsiteY50" fmla="*/ 37244 h 63858"/>
                          <a:gd name="connsiteX51" fmla="*/ 68061 w 71783"/>
                          <a:gd name="connsiteY51" fmla="*/ 37424 h 63858"/>
                          <a:gd name="connsiteX52" fmla="*/ 67941 w 71783"/>
                          <a:gd name="connsiteY52" fmla="*/ 37603 h 63858"/>
                          <a:gd name="connsiteX53" fmla="*/ 67822 w 71783"/>
                          <a:gd name="connsiteY53" fmla="*/ 37782 h 63858"/>
                          <a:gd name="connsiteX54" fmla="*/ 67702 w 71783"/>
                          <a:gd name="connsiteY54" fmla="*/ 37962 h 63858"/>
                          <a:gd name="connsiteX55" fmla="*/ 67582 w 71783"/>
                          <a:gd name="connsiteY55" fmla="*/ 38141 h 63858"/>
                          <a:gd name="connsiteX56" fmla="*/ 67463 w 71783"/>
                          <a:gd name="connsiteY56" fmla="*/ 38321 h 63858"/>
                          <a:gd name="connsiteX57" fmla="*/ 67343 w 71783"/>
                          <a:gd name="connsiteY57" fmla="*/ 38500 h 63858"/>
                          <a:gd name="connsiteX58" fmla="*/ 67223 w 71783"/>
                          <a:gd name="connsiteY58" fmla="*/ 38680 h 63858"/>
                          <a:gd name="connsiteX59" fmla="*/ 66565 w 71783"/>
                          <a:gd name="connsiteY59" fmla="*/ 39517 h 63858"/>
                          <a:gd name="connsiteX60" fmla="*/ 65968 w 71783"/>
                          <a:gd name="connsiteY60" fmla="*/ 40235 h 63858"/>
                          <a:gd name="connsiteX61" fmla="*/ 65190 w 71783"/>
                          <a:gd name="connsiteY61" fmla="*/ 41191 h 63858"/>
                          <a:gd name="connsiteX62" fmla="*/ 64592 w 71783"/>
                          <a:gd name="connsiteY62" fmla="*/ 41909 h 63858"/>
                          <a:gd name="connsiteX63" fmla="*/ 63755 w 71783"/>
                          <a:gd name="connsiteY63" fmla="*/ 42986 h 63858"/>
                          <a:gd name="connsiteX64" fmla="*/ 63575 w 71783"/>
                          <a:gd name="connsiteY64" fmla="*/ 43225 h 63858"/>
                          <a:gd name="connsiteX65" fmla="*/ 62977 w 71783"/>
                          <a:gd name="connsiteY65" fmla="*/ 43943 h 63858"/>
                          <a:gd name="connsiteX66" fmla="*/ 62200 w 71783"/>
                          <a:gd name="connsiteY66" fmla="*/ 44899 h 63858"/>
                          <a:gd name="connsiteX67" fmla="*/ 61601 w 71783"/>
                          <a:gd name="connsiteY67" fmla="*/ 45617 h 63858"/>
                          <a:gd name="connsiteX68" fmla="*/ 59688 w 71783"/>
                          <a:gd name="connsiteY68" fmla="*/ 48069 h 63858"/>
                          <a:gd name="connsiteX69" fmla="*/ 59090 w 71783"/>
                          <a:gd name="connsiteY69" fmla="*/ 48787 h 63858"/>
                          <a:gd name="connsiteX70" fmla="*/ 57535 w 71783"/>
                          <a:gd name="connsiteY70" fmla="*/ 50760 h 63858"/>
                          <a:gd name="connsiteX71" fmla="*/ 56996 w 71783"/>
                          <a:gd name="connsiteY71" fmla="*/ 51478 h 63858"/>
                          <a:gd name="connsiteX72" fmla="*/ 55262 w 71783"/>
                          <a:gd name="connsiteY72" fmla="*/ 53691 h 63858"/>
                          <a:gd name="connsiteX73" fmla="*/ 54664 w 71783"/>
                          <a:gd name="connsiteY73" fmla="*/ 54409 h 63858"/>
                          <a:gd name="connsiteX74" fmla="*/ 53886 w 71783"/>
                          <a:gd name="connsiteY74" fmla="*/ 55426 h 63858"/>
                          <a:gd name="connsiteX75" fmla="*/ 53288 w 71783"/>
                          <a:gd name="connsiteY75" fmla="*/ 56143 h 63858"/>
                          <a:gd name="connsiteX76" fmla="*/ 50298 w 71783"/>
                          <a:gd name="connsiteY76" fmla="*/ 59971 h 63858"/>
                          <a:gd name="connsiteX77" fmla="*/ 49760 w 71783"/>
                          <a:gd name="connsiteY77" fmla="*/ 60689 h 63858"/>
                          <a:gd name="connsiteX78" fmla="*/ 48145 w 71783"/>
                          <a:gd name="connsiteY78" fmla="*/ 62722 h 63858"/>
                          <a:gd name="connsiteX79" fmla="*/ 45932 w 71783"/>
                          <a:gd name="connsiteY79" fmla="*/ 61227 h 63858"/>
                          <a:gd name="connsiteX80" fmla="*/ 45454 w 71783"/>
                          <a:gd name="connsiteY80" fmla="*/ 60868 h 63858"/>
                          <a:gd name="connsiteX81" fmla="*/ 43241 w 71783"/>
                          <a:gd name="connsiteY81" fmla="*/ 59373 h 63858"/>
                          <a:gd name="connsiteX82" fmla="*/ 42702 w 71783"/>
                          <a:gd name="connsiteY82" fmla="*/ 59014 h 63858"/>
                          <a:gd name="connsiteX83" fmla="*/ 37200 w 71783"/>
                          <a:gd name="connsiteY83" fmla="*/ 55366 h 63858"/>
                          <a:gd name="connsiteX84" fmla="*/ 36662 w 71783"/>
                          <a:gd name="connsiteY84" fmla="*/ 55007 h 63858"/>
                          <a:gd name="connsiteX85" fmla="*/ 34329 w 71783"/>
                          <a:gd name="connsiteY85" fmla="*/ 53452 h 63858"/>
                          <a:gd name="connsiteX86" fmla="*/ 33791 w 71783"/>
                          <a:gd name="connsiteY86" fmla="*/ 53093 h 63858"/>
                          <a:gd name="connsiteX87" fmla="*/ 29844 w 71783"/>
                          <a:gd name="connsiteY87" fmla="*/ 50521 h 63858"/>
                          <a:gd name="connsiteX88" fmla="*/ 29306 w 71783"/>
                          <a:gd name="connsiteY88" fmla="*/ 50162 h 63858"/>
                          <a:gd name="connsiteX89" fmla="*/ 20634 w 71783"/>
                          <a:gd name="connsiteY89" fmla="*/ 44421 h 63858"/>
                          <a:gd name="connsiteX90" fmla="*/ 20096 w 71783"/>
                          <a:gd name="connsiteY90" fmla="*/ 44062 h 63858"/>
                          <a:gd name="connsiteX91" fmla="*/ 17643 w 71783"/>
                          <a:gd name="connsiteY91" fmla="*/ 42447 h 63858"/>
                          <a:gd name="connsiteX92" fmla="*/ 17045 w 71783"/>
                          <a:gd name="connsiteY92" fmla="*/ 43225 h 63858"/>
                          <a:gd name="connsiteX93" fmla="*/ 19497 w 71783"/>
                          <a:gd name="connsiteY93" fmla="*/ 44840 h 63858"/>
                          <a:gd name="connsiteX94" fmla="*/ 20036 w 71783"/>
                          <a:gd name="connsiteY94" fmla="*/ 45198 h 63858"/>
                          <a:gd name="connsiteX95" fmla="*/ 28707 w 71783"/>
                          <a:gd name="connsiteY95" fmla="*/ 50940 h 63858"/>
                          <a:gd name="connsiteX96" fmla="*/ 29246 w 71783"/>
                          <a:gd name="connsiteY96" fmla="*/ 51299 h 63858"/>
                          <a:gd name="connsiteX97" fmla="*/ 33193 w 71783"/>
                          <a:gd name="connsiteY97" fmla="*/ 53871 h 63858"/>
                          <a:gd name="connsiteX98" fmla="*/ 33731 w 71783"/>
                          <a:gd name="connsiteY98" fmla="*/ 54229 h 63858"/>
                          <a:gd name="connsiteX99" fmla="*/ 36064 w 71783"/>
                          <a:gd name="connsiteY99" fmla="*/ 55784 h 63858"/>
                          <a:gd name="connsiteX100" fmla="*/ 36602 w 71783"/>
                          <a:gd name="connsiteY100" fmla="*/ 56143 h 63858"/>
                          <a:gd name="connsiteX101" fmla="*/ 42105 w 71783"/>
                          <a:gd name="connsiteY101" fmla="*/ 59791 h 63858"/>
                          <a:gd name="connsiteX102" fmla="*/ 42643 w 71783"/>
                          <a:gd name="connsiteY102" fmla="*/ 60150 h 63858"/>
                          <a:gd name="connsiteX103" fmla="*/ 44855 w 71783"/>
                          <a:gd name="connsiteY103" fmla="*/ 61645 h 63858"/>
                          <a:gd name="connsiteX104" fmla="*/ 45334 w 71783"/>
                          <a:gd name="connsiteY104" fmla="*/ 62004 h 63858"/>
                          <a:gd name="connsiteX105" fmla="*/ 48085 w 71783"/>
                          <a:gd name="connsiteY105" fmla="*/ 63858 h 63858"/>
                          <a:gd name="connsiteX106" fmla="*/ 50298 w 71783"/>
                          <a:gd name="connsiteY106" fmla="*/ 61047 h 63858"/>
                          <a:gd name="connsiteX107" fmla="*/ 50836 w 71783"/>
                          <a:gd name="connsiteY107" fmla="*/ 60330 h 63858"/>
                          <a:gd name="connsiteX108" fmla="*/ 53827 w 71783"/>
                          <a:gd name="connsiteY108" fmla="*/ 56502 h 63858"/>
                          <a:gd name="connsiteX109" fmla="*/ 54425 w 71783"/>
                          <a:gd name="connsiteY109" fmla="*/ 55784 h 63858"/>
                          <a:gd name="connsiteX110" fmla="*/ 55202 w 71783"/>
                          <a:gd name="connsiteY110" fmla="*/ 54768 h 63858"/>
                          <a:gd name="connsiteX111" fmla="*/ 55800 w 71783"/>
                          <a:gd name="connsiteY111" fmla="*/ 54050 h 63858"/>
                          <a:gd name="connsiteX112" fmla="*/ 57535 w 71783"/>
                          <a:gd name="connsiteY112" fmla="*/ 51837 h 63858"/>
                          <a:gd name="connsiteX113" fmla="*/ 58073 w 71783"/>
                          <a:gd name="connsiteY113" fmla="*/ 51120 h 63858"/>
                          <a:gd name="connsiteX114" fmla="*/ 59628 w 71783"/>
                          <a:gd name="connsiteY114" fmla="*/ 49146 h 63858"/>
                          <a:gd name="connsiteX115" fmla="*/ 60226 w 71783"/>
                          <a:gd name="connsiteY115" fmla="*/ 48428 h 63858"/>
                          <a:gd name="connsiteX116" fmla="*/ 62140 w 71783"/>
                          <a:gd name="connsiteY116" fmla="*/ 46036 h 63858"/>
                          <a:gd name="connsiteX117" fmla="*/ 62738 w 71783"/>
                          <a:gd name="connsiteY117" fmla="*/ 45318 h 63858"/>
                          <a:gd name="connsiteX118" fmla="*/ 63515 w 71783"/>
                          <a:gd name="connsiteY118" fmla="*/ 44361 h 63858"/>
                          <a:gd name="connsiteX119" fmla="*/ 64114 w 71783"/>
                          <a:gd name="connsiteY119" fmla="*/ 43644 h 63858"/>
                          <a:gd name="connsiteX120" fmla="*/ 64293 w 71783"/>
                          <a:gd name="connsiteY120" fmla="*/ 43404 h 63858"/>
                          <a:gd name="connsiteX121" fmla="*/ 65130 w 71783"/>
                          <a:gd name="connsiteY121" fmla="*/ 42388 h 63858"/>
                          <a:gd name="connsiteX122" fmla="*/ 65728 w 71783"/>
                          <a:gd name="connsiteY122" fmla="*/ 41670 h 63858"/>
                          <a:gd name="connsiteX123" fmla="*/ 66506 w 71783"/>
                          <a:gd name="connsiteY123" fmla="*/ 40713 h 63858"/>
                          <a:gd name="connsiteX124" fmla="*/ 67104 w 71783"/>
                          <a:gd name="connsiteY124" fmla="*/ 39995 h 63858"/>
                          <a:gd name="connsiteX125" fmla="*/ 67762 w 71783"/>
                          <a:gd name="connsiteY125" fmla="*/ 39098 h 63858"/>
                          <a:gd name="connsiteX126" fmla="*/ 67881 w 71783"/>
                          <a:gd name="connsiteY126" fmla="*/ 38919 h 63858"/>
                          <a:gd name="connsiteX127" fmla="*/ 68001 w 71783"/>
                          <a:gd name="connsiteY127" fmla="*/ 38739 h 63858"/>
                          <a:gd name="connsiteX128" fmla="*/ 68121 w 71783"/>
                          <a:gd name="connsiteY128" fmla="*/ 38560 h 63858"/>
                          <a:gd name="connsiteX129" fmla="*/ 68240 w 71783"/>
                          <a:gd name="connsiteY129" fmla="*/ 38381 h 63858"/>
                          <a:gd name="connsiteX130" fmla="*/ 68360 w 71783"/>
                          <a:gd name="connsiteY130" fmla="*/ 38201 h 63858"/>
                          <a:gd name="connsiteX131" fmla="*/ 68479 w 71783"/>
                          <a:gd name="connsiteY131" fmla="*/ 38022 h 63858"/>
                          <a:gd name="connsiteX132" fmla="*/ 68599 w 71783"/>
                          <a:gd name="connsiteY132" fmla="*/ 37842 h 63858"/>
                          <a:gd name="connsiteX133" fmla="*/ 68718 w 71783"/>
                          <a:gd name="connsiteY133" fmla="*/ 37663 h 63858"/>
                          <a:gd name="connsiteX134" fmla="*/ 68898 w 71783"/>
                          <a:gd name="connsiteY134" fmla="*/ 37424 h 63858"/>
                          <a:gd name="connsiteX135" fmla="*/ 69077 w 71783"/>
                          <a:gd name="connsiteY135" fmla="*/ 37184 h 63858"/>
                          <a:gd name="connsiteX136" fmla="*/ 69257 w 71783"/>
                          <a:gd name="connsiteY136" fmla="*/ 36945 h 63858"/>
                          <a:gd name="connsiteX137" fmla="*/ 69436 w 71783"/>
                          <a:gd name="connsiteY137" fmla="*/ 36706 h 63858"/>
                          <a:gd name="connsiteX138" fmla="*/ 69556 w 71783"/>
                          <a:gd name="connsiteY138" fmla="*/ 36527 h 63858"/>
                          <a:gd name="connsiteX139" fmla="*/ 69676 w 71783"/>
                          <a:gd name="connsiteY139" fmla="*/ 36347 h 63858"/>
                          <a:gd name="connsiteX140" fmla="*/ 69795 w 71783"/>
                          <a:gd name="connsiteY140" fmla="*/ 36168 h 63858"/>
                          <a:gd name="connsiteX141" fmla="*/ 69915 w 71783"/>
                          <a:gd name="connsiteY141" fmla="*/ 35988 h 63858"/>
                          <a:gd name="connsiteX142" fmla="*/ 71410 w 71783"/>
                          <a:gd name="connsiteY142" fmla="*/ 32699 h 63858"/>
                          <a:gd name="connsiteX143" fmla="*/ 71769 w 71783"/>
                          <a:gd name="connsiteY143" fmla="*/ 29828 h 63858"/>
                          <a:gd name="connsiteX144" fmla="*/ 70991 w 71783"/>
                          <a:gd name="connsiteY144" fmla="*/ 27436 h 63858"/>
                          <a:gd name="connsiteX145" fmla="*/ 69077 w 71783"/>
                          <a:gd name="connsiteY145" fmla="*/ 25462 h 63858"/>
                          <a:gd name="connsiteX146" fmla="*/ 64412 w 71783"/>
                          <a:gd name="connsiteY146" fmla="*/ 22233 h 63858"/>
                          <a:gd name="connsiteX147" fmla="*/ 63874 w 71783"/>
                          <a:gd name="connsiteY147" fmla="*/ 21874 h 63858"/>
                          <a:gd name="connsiteX148" fmla="*/ 39712 w 71783"/>
                          <a:gd name="connsiteY148" fmla="*/ 5008 h 63858"/>
                          <a:gd name="connsiteX149" fmla="*/ 39174 w 71783"/>
                          <a:gd name="connsiteY149" fmla="*/ 4649 h 63858"/>
                          <a:gd name="connsiteX150" fmla="*/ 34449 w 71783"/>
                          <a:gd name="connsiteY150" fmla="*/ 1360 h 63858"/>
                          <a:gd name="connsiteX151" fmla="*/ 31160 w 71783"/>
                          <a:gd name="connsiteY151" fmla="*/ 44 h 63858"/>
                          <a:gd name="connsiteX152" fmla="*/ 27691 w 71783"/>
                          <a:gd name="connsiteY152" fmla="*/ 463 h 63858"/>
                          <a:gd name="connsiteX153" fmla="*/ 24043 w 71783"/>
                          <a:gd name="connsiteY153" fmla="*/ 2676 h 63858"/>
                          <a:gd name="connsiteX154" fmla="*/ 20215 w 71783"/>
                          <a:gd name="connsiteY154" fmla="*/ 6683 h 63858"/>
                          <a:gd name="connsiteX155" fmla="*/ 16686 w 71783"/>
                          <a:gd name="connsiteY155" fmla="*/ 11168 h 63858"/>
                          <a:gd name="connsiteX156" fmla="*/ 16088 w 71783"/>
                          <a:gd name="connsiteY156" fmla="*/ 11946 h 63858"/>
                          <a:gd name="connsiteX157" fmla="*/ 12560 w 71783"/>
                          <a:gd name="connsiteY157" fmla="*/ 16431 h 63858"/>
                          <a:gd name="connsiteX158" fmla="*/ 11961 w 71783"/>
                          <a:gd name="connsiteY158" fmla="*/ 17209 h 63858"/>
                          <a:gd name="connsiteX159" fmla="*/ 10347 w 71783"/>
                          <a:gd name="connsiteY159" fmla="*/ 19242 h 63858"/>
                          <a:gd name="connsiteX160" fmla="*/ 9749 w 71783"/>
                          <a:gd name="connsiteY160" fmla="*/ 19960 h 63858"/>
                          <a:gd name="connsiteX161" fmla="*/ 7954 w 71783"/>
                          <a:gd name="connsiteY161" fmla="*/ 22233 h 63858"/>
                          <a:gd name="connsiteX162" fmla="*/ 7357 w 71783"/>
                          <a:gd name="connsiteY162" fmla="*/ 23010 h 63858"/>
                          <a:gd name="connsiteX163" fmla="*/ 6519 w 71783"/>
                          <a:gd name="connsiteY163" fmla="*/ 24027 h 63858"/>
                          <a:gd name="connsiteX164" fmla="*/ 5921 w 71783"/>
                          <a:gd name="connsiteY164" fmla="*/ 24804 h 63858"/>
                          <a:gd name="connsiteX165" fmla="*/ 2811 w 71783"/>
                          <a:gd name="connsiteY165" fmla="*/ 28751 h 63858"/>
                          <a:gd name="connsiteX166" fmla="*/ 2213 w 71783"/>
                          <a:gd name="connsiteY166" fmla="*/ 29469 h 63858"/>
                          <a:gd name="connsiteX167" fmla="*/ 0 w 71783"/>
                          <a:gd name="connsiteY167" fmla="*/ 32340 h 6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71783" h="63858">
                            <a:moveTo>
                              <a:pt x="0" y="32340"/>
                            </a:moveTo>
                            <a:lnTo>
                              <a:pt x="2392" y="33955"/>
                            </a:lnTo>
                            <a:lnTo>
                              <a:pt x="2930" y="34313"/>
                            </a:lnTo>
                            <a:lnTo>
                              <a:pt x="5323" y="35928"/>
                            </a:lnTo>
                            <a:lnTo>
                              <a:pt x="5861" y="36287"/>
                            </a:lnTo>
                            <a:lnTo>
                              <a:pt x="7057" y="37065"/>
                            </a:lnTo>
                            <a:lnTo>
                              <a:pt x="7656" y="36287"/>
                            </a:lnTo>
                            <a:lnTo>
                              <a:pt x="6459" y="35510"/>
                            </a:lnTo>
                            <a:lnTo>
                              <a:pt x="5921" y="35151"/>
                            </a:lnTo>
                            <a:lnTo>
                              <a:pt x="3529" y="33536"/>
                            </a:lnTo>
                            <a:lnTo>
                              <a:pt x="2990" y="33177"/>
                            </a:lnTo>
                            <a:lnTo>
                              <a:pt x="1136" y="31921"/>
                            </a:lnTo>
                            <a:lnTo>
                              <a:pt x="2811" y="29828"/>
                            </a:lnTo>
                            <a:lnTo>
                              <a:pt x="3409" y="29110"/>
                            </a:lnTo>
                            <a:lnTo>
                              <a:pt x="6519" y="25163"/>
                            </a:lnTo>
                            <a:lnTo>
                              <a:pt x="7117" y="24386"/>
                            </a:lnTo>
                            <a:lnTo>
                              <a:pt x="7954" y="23369"/>
                            </a:lnTo>
                            <a:lnTo>
                              <a:pt x="8552" y="22591"/>
                            </a:lnTo>
                            <a:lnTo>
                              <a:pt x="10347" y="20319"/>
                            </a:lnTo>
                            <a:lnTo>
                              <a:pt x="10945" y="19601"/>
                            </a:lnTo>
                            <a:lnTo>
                              <a:pt x="12560" y="17567"/>
                            </a:lnTo>
                            <a:lnTo>
                              <a:pt x="13158" y="16790"/>
                            </a:lnTo>
                            <a:lnTo>
                              <a:pt x="16686" y="12304"/>
                            </a:lnTo>
                            <a:lnTo>
                              <a:pt x="17284" y="11527"/>
                            </a:lnTo>
                            <a:lnTo>
                              <a:pt x="20813" y="7041"/>
                            </a:lnTo>
                            <a:cubicBezTo>
                              <a:pt x="22009" y="5487"/>
                              <a:pt x="23205" y="4231"/>
                              <a:pt x="24342" y="3274"/>
                            </a:cubicBezTo>
                            <a:cubicBezTo>
                              <a:pt x="25478" y="2317"/>
                              <a:pt x="26614" y="1599"/>
                              <a:pt x="27691" y="1180"/>
                            </a:cubicBezTo>
                            <a:cubicBezTo>
                              <a:pt x="28767" y="762"/>
                              <a:pt x="29844" y="642"/>
                              <a:pt x="30861" y="762"/>
                            </a:cubicBezTo>
                            <a:cubicBezTo>
                              <a:pt x="31877" y="881"/>
                              <a:pt x="32894" y="1300"/>
                              <a:pt x="33911" y="2018"/>
                            </a:cubicBezTo>
                            <a:lnTo>
                              <a:pt x="37858" y="4769"/>
                            </a:lnTo>
                            <a:cubicBezTo>
                              <a:pt x="38157" y="4769"/>
                              <a:pt x="38456" y="4829"/>
                              <a:pt x="38815" y="4888"/>
                            </a:cubicBezTo>
                            <a:cubicBezTo>
                              <a:pt x="39114" y="4948"/>
                              <a:pt x="39413" y="5068"/>
                              <a:pt x="39712" y="5187"/>
                            </a:cubicBezTo>
                            <a:cubicBezTo>
                              <a:pt x="40011" y="5307"/>
                              <a:pt x="40310" y="5427"/>
                              <a:pt x="40609" y="5606"/>
                            </a:cubicBezTo>
                            <a:cubicBezTo>
                              <a:pt x="40908" y="5786"/>
                              <a:pt x="41207" y="5965"/>
                              <a:pt x="41506" y="6144"/>
                            </a:cubicBezTo>
                            <a:lnTo>
                              <a:pt x="50477" y="12424"/>
                            </a:lnTo>
                            <a:lnTo>
                              <a:pt x="49879" y="13202"/>
                            </a:lnTo>
                            <a:lnTo>
                              <a:pt x="63336" y="22591"/>
                            </a:lnTo>
                            <a:lnTo>
                              <a:pt x="63874" y="22950"/>
                            </a:lnTo>
                            <a:lnTo>
                              <a:pt x="68539" y="26180"/>
                            </a:lnTo>
                            <a:cubicBezTo>
                              <a:pt x="69317" y="26718"/>
                              <a:pt x="69855" y="27316"/>
                              <a:pt x="70273" y="27974"/>
                            </a:cubicBezTo>
                            <a:cubicBezTo>
                              <a:pt x="70692" y="28632"/>
                              <a:pt x="70932" y="29350"/>
                              <a:pt x="70991" y="30127"/>
                            </a:cubicBezTo>
                            <a:cubicBezTo>
                              <a:pt x="71051" y="30905"/>
                              <a:pt x="70991" y="31742"/>
                              <a:pt x="70692" y="32639"/>
                            </a:cubicBezTo>
                            <a:cubicBezTo>
                              <a:pt x="70453" y="33536"/>
                              <a:pt x="69975" y="34553"/>
                              <a:pt x="69377" y="35570"/>
                            </a:cubicBezTo>
                            <a:cubicBezTo>
                              <a:pt x="69317" y="35629"/>
                              <a:pt x="69317" y="35689"/>
                              <a:pt x="69257" y="35749"/>
                            </a:cubicBezTo>
                            <a:cubicBezTo>
                              <a:pt x="69197" y="35809"/>
                              <a:pt x="69197" y="35868"/>
                              <a:pt x="69137" y="35928"/>
                            </a:cubicBezTo>
                            <a:cubicBezTo>
                              <a:pt x="69077" y="35988"/>
                              <a:pt x="69077" y="36048"/>
                              <a:pt x="69018" y="36108"/>
                            </a:cubicBezTo>
                            <a:cubicBezTo>
                              <a:pt x="68958" y="36168"/>
                              <a:pt x="68958" y="36227"/>
                              <a:pt x="68898" y="36287"/>
                            </a:cubicBezTo>
                            <a:cubicBezTo>
                              <a:pt x="68838" y="36347"/>
                              <a:pt x="68778" y="36467"/>
                              <a:pt x="68718" y="36527"/>
                            </a:cubicBezTo>
                            <a:cubicBezTo>
                              <a:pt x="68659" y="36586"/>
                              <a:pt x="68599" y="36706"/>
                              <a:pt x="68539" y="36766"/>
                            </a:cubicBezTo>
                            <a:cubicBezTo>
                              <a:pt x="68479" y="36826"/>
                              <a:pt x="68419" y="36945"/>
                              <a:pt x="68360" y="37005"/>
                            </a:cubicBezTo>
                            <a:cubicBezTo>
                              <a:pt x="68300" y="37065"/>
                              <a:pt x="68240" y="37184"/>
                              <a:pt x="68180" y="37244"/>
                            </a:cubicBezTo>
                            <a:cubicBezTo>
                              <a:pt x="68121" y="37304"/>
                              <a:pt x="68121" y="37364"/>
                              <a:pt x="68061" y="37424"/>
                            </a:cubicBezTo>
                            <a:cubicBezTo>
                              <a:pt x="68001" y="37483"/>
                              <a:pt x="68001" y="37543"/>
                              <a:pt x="67941" y="37603"/>
                            </a:cubicBezTo>
                            <a:cubicBezTo>
                              <a:pt x="67881" y="37663"/>
                              <a:pt x="67822" y="37722"/>
                              <a:pt x="67822" y="37782"/>
                            </a:cubicBezTo>
                            <a:cubicBezTo>
                              <a:pt x="67762" y="37842"/>
                              <a:pt x="67702" y="37902"/>
                              <a:pt x="67702" y="37962"/>
                            </a:cubicBezTo>
                            <a:cubicBezTo>
                              <a:pt x="67642" y="38022"/>
                              <a:pt x="67642" y="38081"/>
                              <a:pt x="67582" y="38141"/>
                            </a:cubicBezTo>
                            <a:cubicBezTo>
                              <a:pt x="67523" y="38201"/>
                              <a:pt x="67523" y="38261"/>
                              <a:pt x="67463" y="38321"/>
                            </a:cubicBezTo>
                            <a:cubicBezTo>
                              <a:pt x="67403" y="38381"/>
                              <a:pt x="67343" y="38440"/>
                              <a:pt x="67343" y="38500"/>
                            </a:cubicBezTo>
                            <a:cubicBezTo>
                              <a:pt x="67283" y="38560"/>
                              <a:pt x="67223" y="38620"/>
                              <a:pt x="67223" y="38680"/>
                            </a:cubicBezTo>
                            <a:lnTo>
                              <a:pt x="66565" y="39517"/>
                            </a:lnTo>
                            <a:lnTo>
                              <a:pt x="65968" y="40235"/>
                            </a:lnTo>
                            <a:lnTo>
                              <a:pt x="65190" y="41191"/>
                            </a:lnTo>
                            <a:lnTo>
                              <a:pt x="64592" y="41909"/>
                            </a:lnTo>
                            <a:lnTo>
                              <a:pt x="63755" y="42986"/>
                            </a:lnTo>
                            <a:lnTo>
                              <a:pt x="63575" y="43225"/>
                            </a:lnTo>
                            <a:lnTo>
                              <a:pt x="62977" y="43943"/>
                            </a:lnTo>
                            <a:lnTo>
                              <a:pt x="62200" y="44899"/>
                            </a:lnTo>
                            <a:lnTo>
                              <a:pt x="61601" y="45617"/>
                            </a:lnTo>
                            <a:lnTo>
                              <a:pt x="59688" y="48069"/>
                            </a:lnTo>
                            <a:lnTo>
                              <a:pt x="59090" y="48787"/>
                            </a:lnTo>
                            <a:lnTo>
                              <a:pt x="57535" y="50760"/>
                            </a:lnTo>
                            <a:lnTo>
                              <a:pt x="56996" y="51478"/>
                            </a:lnTo>
                            <a:lnTo>
                              <a:pt x="55262" y="53691"/>
                            </a:lnTo>
                            <a:lnTo>
                              <a:pt x="54664" y="54409"/>
                            </a:lnTo>
                            <a:lnTo>
                              <a:pt x="53886" y="55426"/>
                            </a:lnTo>
                            <a:lnTo>
                              <a:pt x="53288" y="56143"/>
                            </a:lnTo>
                            <a:lnTo>
                              <a:pt x="50298" y="59971"/>
                            </a:lnTo>
                            <a:lnTo>
                              <a:pt x="49760" y="60689"/>
                            </a:lnTo>
                            <a:lnTo>
                              <a:pt x="48145" y="62722"/>
                            </a:lnTo>
                            <a:lnTo>
                              <a:pt x="45932" y="61227"/>
                            </a:lnTo>
                            <a:lnTo>
                              <a:pt x="45454" y="60868"/>
                            </a:lnTo>
                            <a:lnTo>
                              <a:pt x="43241" y="59373"/>
                            </a:lnTo>
                            <a:lnTo>
                              <a:pt x="42702" y="59014"/>
                            </a:lnTo>
                            <a:lnTo>
                              <a:pt x="37200" y="55366"/>
                            </a:lnTo>
                            <a:lnTo>
                              <a:pt x="36662" y="55007"/>
                            </a:lnTo>
                            <a:lnTo>
                              <a:pt x="34329" y="53452"/>
                            </a:lnTo>
                            <a:lnTo>
                              <a:pt x="33791" y="53093"/>
                            </a:lnTo>
                            <a:lnTo>
                              <a:pt x="29844" y="50521"/>
                            </a:lnTo>
                            <a:lnTo>
                              <a:pt x="29306" y="50162"/>
                            </a:lnTo>
                            <a:lnTo>
                              <a:pt x="20634" y="44421"/>
                            </a:lnTo>
                            <a:lnTo>
                              <a:pt x="20096" y="44062"/>
                            </a:lnTo>
                            <a:lnTo>
                              <a:pt x="17643" y="42447"/>
                            </a:lnTo>
                            <a:lnTo>
                              <a:pt x="17045" y="43225"/>
                            </a:lnTo>
                            <a:lnTo>
                              <a:pt x="19497" y="44840"/>
                            </a:lnTo>
                            <a:lnTo>
                              <a:pt x="20036" y="45198"/>
                            </a:lnTo>
                            <a:lnTo>
                              <a:pt x="28707" y="50940"/>
                            </a:lnTo>
                            <a:lnTo>
                              <a:pt x="29246" y="51299"/>
                            </a:lnTo>
                            <a:lnTo>
                              <a:pt x="33193" y="53871"/>
                            </a:lnTo>
                            <a:lnTo>
                              <a:pt x="33731" y="54229"/>
                            </a:lnTo>
                            <a:lnTo>
                              <a:pt x="36064" y="55784"/>
                            </a:lnTo>
                            <a:lnTo>
                              <a:pt x="36602" y="56143"/>
                            </a:lnTo>
                            <a:lnTo>
                              <a:pt x="42105" y="59791"/>
                            </a:lnTo>
                            <a:lnTo>
                              <a:pt x="42643" y="60150"/>
                            </a:lnTo>
                            <a:lnTo>
                              <a:pt x="44855" y="61645"/>
                            </a:lnTo>
                            <a:lnTo>
                              <a:pt x="45334" y="62004"/>
                            </a:lnTo>
                            <a:lnTo>
                              <a:pt x="48085" y="63858"/>
                            </a:lnTo>
                            <a:lnTo>
                              <a:pt x="50298" y="61047"/>
                            </a:lnTo>
                            <a:lnTo>
                              <a:pt x="50836" y="60330"/>
                            </a:lnTo>
                            <a:lnTo>
                              <a:pt x="53827" y="56502"/>
                            </a:lnTo>
                            <a:lnTo>
                              <a:pt x="54425" y="55784"/>
                            </a:lnTo>
                            <a:lnTo>
                              <a:pt x="55202" y="54768"/>
                            </a:lnTo>
                            <a:lnTo>
                              <a:pt x="55800" y="54050"/>
                            </a:lnTo>
                            <a:lnTo>
                              <a:pt x="57535" y="51837"/>
                            </a:lnTo>
                            <a:lnTo>
                              <a:pt x="58073" y="51120"/>
                            </a:lnTo>
                            <a:lnTo>
                              <a:pt x="59628" y="49146"/>
                            </a:lnTo>
                            <a:lnTo>
                              <a:pt x="60226" y="48428"/>
                            </a:lnTo>
                            <a:lnTo>
                              <a:pt x="62140" y="46036"/>
                            </a:lnTo>
                            <a:lnTo>
                              <a:pt x="62738" y="45318"/>
                            </a:lnTo>
                            <a:lnTo>
                              <a:pt x="63515" y="44361"/>
                            </a:lnTo>
                            <a:lnTo>
                              <a:pt x="64114" y="43644"/>
                            </a:lnTo>
                            <a:lnTo>
                              <a:pt x="64293" y="43404"/>
                            </a:lnTo>
                            <a:lnTo>
                              <a:pt x="65130" y="42388"/>
                            </a:lnTo>
                            <a:lnTo>
                              <a:pt x="65728" y="41670"/>
                            </a:lnTo>
                            <a:lnTo>
                              <a:pt x="66506" y="40713"/>
                            </a:lnTo>
                            <a:lnTo>
                              <a:pt x="67104" y="39995"/>
                            </a:lnTo>
                            <a:lnTo>
                              <a:pt x="67762" y="39098"/>
                            </a:lnTo>
                            <a:cubicBezTo>
                              <a:pt x="67822" y="39038"/>
                              <a:pt x="67881" y="38979"/>
                              <a:pt x="67881" y="38919"/>
                            </a:cubicBezTo>
                            <a:cubicBezTo>
                              <a:pt x="67941" y="38859"/>
                              <a:pt x="67941" y="38799"/>
                              <a:pt x="68001" y="38739"/>
                            </a:cubicBezTo>
                            <a:cubicBezTo>
                              <a:pt x="68061" y="38680"/>
                              <a:pt x="68061" y="38620"/>
                              <a:pt x="68121" y="38560"/>
                            </a:cubicBezTo>
                            <a:cubicBezTo>
                              <a:pt x="68180" y="38500"/>
                              <a:pt x="68180" y="38440"/>
                              <a:pt x="68240" y="38381"/>
                            </a:cubicBezTo>
                            <a:cubicBezTo>
                              <a:pt x="68300" y="38321"/>
                              <a:pt x="68360" y="38261"/>
                              <a:pt x="68360" y="38201"/>
                            </a:cubicBezTo>
                            <a:cubicBezTo>
                              <a:pt x="68360" y="38141"/>
                              <a:pt x="68479" y="38081"/>
                              <a:pt x="68479" y="38022"/>
                            </a:cubicBezTo>
                            <a:cubicBezTo>
                              <a:pt x="68479" y="37962"/>
                              <a:pt x="68539" y="37902"/>
                              <a:pt x="68599" y="37842"/>
                            </a:cubicBezTo>
                            <a:cubicBezTo>
                              <a:pt x="68659" y="37782"/>
                              <a:pt x="68659" y="37722"/>
                              <a:pt x="68718" y="37663"/>
                            </a:cubicBezTo>
                            <a:cubicBezTo>
                              <a:pt x="68778" y="37603"/>
                              <a:pt x="68838" y="37483"/>
                              <a:pt x="68898" y="37424"/>
                            </a:cubicBezTo>
                            <a:cubicBezTo>
                              <a:pt x="68958" y="37364"/>
                              <a:pt x="69018" y="37244"/>
                              <a:pt x="69077" y="37184"/>
                            </a:cubicBezTo>
                            <a:cubicBezTo>
                              <a:pt x="69137" y="37125"/>
                              <a:pt x="69197" y="37005"/>
                              <a:pt x="69257" y="36945"/>
                            </a:cubicBezTo>
                            <a:cubicBezTo>
                              <a:pt x="69317" y="36885"/>
                              <a:pt x="69377" y="36766"/>
                              <a:pt x="69436" y="36706"/>
                            </a:cubicBezTo>
                            <a:cubicBezTo>
                              <a:pt x="69496" y="36646"/>
                              <a:pt x="69496" y="36586"/>
                              <a:pt x="69556" y="36527"/>
                            </a:cubicBezTo>
                            <a:cubicBezTo>
                              <a:pt x="69616" y="36467"/>
                              <a:pt x="69616" y="36407"/>
                              <a:pt x="69676" y="36347"/>
                            </a:cubicBezTo>
                            <a:cubicBezTo>
                              <a:pt x="69735" y="36287"/>
                              <a:pt x="69735" y="36227"/>
                              <a:pt x="69795" y="36168"/>
                            </a:cubicBezTo>
                            <a:cubicBezTo>
                              <a:pt x="69855" y="36108"/>
                              <a:pt x="69855" y="36048"/>
                              <a:pt x="69915" y="35988"/>
                            </a:cubicBezTo>
                            <a:cubicBezTo>
                              <a:pt x="70632" y="34792"/>
                              <a:pt x="71111" y="33716"/>
                              <a:pt x="71410" y="32699"/>
                            </a:cubicBezTo>
                            <a:cubicBezTo>
                              <a:pt x="71709" y="31682"/>
                              <a:pt x="71829" y="30725"/>
                              <a:pt x="71769" y="29828"/>
                            </a:cubicBezTo>
                            <a:cubicBezTo>
                              <a:pt x="71709" y="28931"/>
                              <a:pt x="71470" y="28153"/>
                              <a:pt x="70991" y="27436"/>
                            </a:cubicBezTo>
                            <a:cubicBezTo>
                              <a:pt x="70513" y="26718"/>
                              <a:pt x="69915" y="26060"/>
                              <a:pt x="69077" y="25462"/>
                            </a:cubicBezTo>
                            <a:lnTo>
                              <a:pt x="64412" y="22233"/>
                            </a:lnTo>
                            <a:lnTo>
                              <a:pt x="63874" y="21874"/>
                            </a:lnTo>
                            <a:lnTo>
                              <a:pt x="39712" y="5008"/>
                            </a:lnTo>
                            <a:lnTo>
                              <a:pt x="39174" y="4649"/>
                            </a:lnTo>
                            <a:lnTo>
                              <a:pt x="34449" y="1360"/>
                            </a:lnTo>
                            <a:cubicBezTo>
                              <a:pt x="33373" y="642"/>
                              <a:pt x="32296" y="164"/>
                              <a:pt x="31160" y="44"/>
                            </a:cubicBezTo>
                            <a:cubicBezTo>
                              <a:pt x="30023" y="-76"/>
                              <a:pt x="28887" y="44"/>
                              <a:pt x="27691" y="463"/>
                            </a:cubicBezTo>
                            <a:cubicBezTo>
                              <a:pt x="26495" y="881"/>
                              <a:pt x="25299" y="1659"/>
                              <a:pt x="24043" y="2676"/>
                            </a:cubicBezTo>
                            <a:cubicBezTo>
                              <a:pt x="22787" y="3692"/>
                              <a:pt x="21531" y="5068"/>
                              <a:pt x="20215" y="6683"/>
                            </a:cubicBezTo>
                            <a:lnTo>
                              <a:pt x="16686" y="11168"/>
                            </a:lnTo>
                            <a:lnTo>
                              <a:pt x="16088" y="11946"/>
                            </a:lnTo>
                            <a:lnTo>
                              <a:pt x="12560" y="16431"/>
                            </a:lnTo>
                            <a:lnTo>
                              <a:pt x="11961" y="17209"/>
                            </a:lnTo>
                            <a:lnTo>
                              <a:pt x="10347" y="19242"/>
                            </a:lnTo>
                            <a:lnTo>
                              <a:pt x="9749" y="19960"/>
                            </a:lnTo>
                            <a:lnTo>
                              <a:pt x="7954" y="22233"/>
                            </a:lnTo>
                            <a:lnTo>
                              <a:pt x="7357" y="23010"/>
                            </a:lnTo>
                            <a:lnTo>
                              <a:pt x="6519" y="24027"/>
                            </a:lnTo>
                            <a:lnTo>
                              <a:pt x="5921" y="24804"/>
                            </a:lnTo>
                            <a:lnTo>
                              <a:pt x="2811" y="28751"/>
                            </a:lnTo>
                            <a:lnTo>
                              <a:pt x="2213" y="29469"/>
                            </a:lnTo>
                            <a:lnTo>
                              <a:pt x="0" y="32340"/>
                            </a:lnTo>
                          </a:path>
                        </a:pathLst>
                      </a:custGeom>
                      <a:noFill/>
                      <a:ln w="6350" cap="flat">
                        <a:solidFill>
                          <a:schemeClr val="bg1">
                            <a:alpha val="40000"/>
                          </a:schemeClr>
                        </a:solidFill>
                        <a:prstDash val="solid"/>
                        <a:miter/>
                      </a:ln>
                    </p:spPr>
                    <p:txBody>
                      <a:bodyPr rtlCol="0" anchor="ctr"/>
                      <a:lstStyle/>
                      <a:p>
                        <a:endParaRPr lang="en-GB"/>
                      </a:p>
                    </p:txBody>
                  </p:sp>
                  <p:sp>
                    <p:nvSpPr>
                      <p:cNvPr id="7451" name="Vrije vorm: vorm 7450">
                        <a:extLst>
                          <a:ext uri="{FF2B5EF4-FFF2-40B4-BE49-F238E27FC236}">
                            <a16:creationId xmlns:a16="http://schemas.microsoft.com/office/drawing/2014/main" id="{ADA4E38C-9BEE-4709-887D-8BC69F7017D4}"/>
                          </a:ext>
                        </a:extLst>
                      </p:cNvPr>
                      <p:cNvSpPr/>
                      <p:nvPr/>
                    </p:nvSpPr>
                    <p:spPr>
                      <a:xfrm>
                        <a:off x="5312814" y="5471787"/>
                        <a:ext cx="43539" cy="39009"/>
                      </a:xfrm>
                      <a:custGeom>
                        <a:avLst/>
                        <a:gdLst>
                          <a:gd name="connsiteX0" fmla="*/ 11483 w 43539"/>
                          <a:gd name="connsiteY0" fmla="*/ 35780 h 39009"/>
                          <a:gd name="connsiteX1" fmla="*/ 9808 w 43539"/>
                          <a:gd name="connsiteY1" fmla="*/ 37873 h 39009"/>
                          <a:gd name="connsiteX2" fmla="*/ 1076 w 43539"/>
                          <a:gd name="connsiteY2" fmla="*/ 32072 h 39009"/>
                          <a:gd name="connsiteX3" fmla="*/ 2751 w 43539"/>
                          <a:gd name="connsiteY3" fmla="*/ 29979 h 39009"/>
                          <a:gd name="connsiteX4" fmla="*/ 3349 w 43539"/>
                          <a:gd name="connsiteY4" fmla="*/ 29261 h 39009"/>
                          <a:gd name="connsiteX5" fmla="*/ 3708 w 43539"/>
                          <a:gd name="connsiteY5" fmla="*/ 28783 h 39009"/>
                          <a:gd name="connsiteX6" fmla="*/ 4366 w 43539"/>
                          <a:gd name="connsiteY6" fmla="*/ 28005 h 39009"/>
                          <a:gd name="connsiteX7" fmla="*/ 6459 w 43539"/>
                          <a:gd name="connsiteY7" fmla="*/ 25373 h 39009"/>
                          <a:gd name="connsiteX8" fmla="*/ 7057 w 43539"/>
                          <a:gd name="connsiteY8" fmla="*/ 24656 h 39009"/>
                          <a:gd name="connsiteX9" fmla="*/ 7656 w 43539"/>
                          <a:gd name="connsiteY9" fmla="*/ 23878 h 39009"/>
                          <a:gd name="connsiteX10" fmla="*/ 7895 w 43539"/>
                          <a:gd name="connsiteY10" fmla="*/ 23579 h 39009"/>
                          <a:gd name="connsiteX11" fmla="*/ 8493 w 43539"/>
                          <a:gd name="connsiteY11" fmla="*/ 22802 h 39009"/>
                          <a:gd name="connsiteX12" fmla="*/ 10287 w 43539"/>
                          <a:gd name="connsiteY12" fmla="*/ 20529 h 39009"/>
                          <a:gd name="connsiteX13" fmla="*/ 10885 w 43539"/>
                          <a:gd name="connsiteY13" fmla="*/ 19811 h 39009"/>
                          <a:gd name="connsiteX14" fmla="*/ 12500 w 43539"/>
                          <a:gd name="connsiteY14" fmla="*/ 17778 h 39009"/>
                          <a:gd name="connsiteX15" fmla="*/ 13098 w 43539"/>
                          <a:gd name="connsiteY15" fmla="*/ 17000 h 39009"/>
                          <a:gd name="connsiteX16" fmla="*/ 16627 w 43539"/>
                          <a:gd name="connsiteY16" fmla="*/ 12515 h 39009"/>
                          <a:gd name="connsiteX17" fmla="*/ 17225 w 43539"/>
                          <a:gd name="connsiteY17" fmla="*/ 11737 h 39009"/>
                          <a:gd name="connsiteX18" fmla="*/ 20753 w 43539"/>
                          <a:gd name="connsiteY18" fmla="*/ 7252 h 39009"/>
                          <a:gd name="connsiteX19" fmla="*/ 23504 w 43539"/>
                          <a:gd name="connsiteY19" fmla="*/ 4202 h 39009"/>
                          <a:gd name="connsiteX20" fmla="*/ 26136 w 43539"/>
                          <a:gd name="connsiteY20" fmla="*/ 2168 h 39009"/>
                          <a:gd name="connsiteX21" fmla="*/ 28707 w 43539"/>
                          <a:gd name="connsiteY21" fmla="*/ 1152 h 39009"/>
                          <a:gd name="connsiteX22" fmla="*/ 31160 w 43539"/>
                          <a:gd name="connsiteY22" fmla="*/ 1152 h 39009"/>
                          <a:gd name="connsiteX23" fmla="*/ 31339 w 43539"/>
                          <a:gd name="connsiteY23" fmla="*/ 1211 h 39009"/>
                          <a:gd name="connsiteX24" fmla="*/ 31519 w 43539"/>
                          <a:gd name="connsiteY24" fmla="*/ 1271 h 39009"/>
                          <a:gd name="connsiteX25" fmla="*/ 31698 w 43539"/>
                          <a:gd name="connsiteY25" fmla="*/ 1331 h 39009"/>
                          <a:gd name="connsiteX26" fmla="*/ 31877 w 43539"/>
                          <a:gd name="connsiteY26" fmla="*/ 1391 h 39009"/>
                          <a:gd name="connsiteX27" fmla="*/ 32356 w 43539"/>
                          <a:gd name="connsiteY27" fmla="*/ 1570 h 39009"/>
                          <a:gd name="connsiteX28" fmla="*/ 32834 w 43539"/>
                          <a:gd name="connsiteY28" fmla="*/ 1809 h 39009"/>
                          <a:gd name="connsiteX29" fmla="*/ 33313 w 43539"/>
                          <a:gd name="connsiteY29" fmla="*/ 2048 h 39009"/>
                          <a:gd name="connsiteX30" fmla="*/ 33791 w 43539"/>
                          <a:gd name="connsiteY30" fmla="*/ 2348 h 39009"/>
                          <a:gd name="connsiteX31" fmla="*/ 39772 w 43539"/>
                          <a:gd name="connsiteY31" fmla="*/ 6534 h 39009"/>
                          <a:gd name="connsiteX32" fmla="*/ 38097 w 43539"/>
                          <a:gd name="connsiteY32" fmla="*/ 6654 h 39009"/>
                          <a:gd name="connsiteX33" fmla="*/ 36363 w 43539"/>
                          <a:gd name="connsiteY33" fmla="*/ 7192 h 39009"/>
                          <a:gd name="connsiteX34" fmla="*/ 34569 w 43539"/>
                          <a:gd name="connsiteY34" fmla="*/ 8149 h 39009"/>
                          <a:gd name="connsiteX35" fmla="*/ 32715 w 43539"/>
                          <a:gd name="connsiteY35" fmla="*/ 9584 h 39009"/>
                          <a:gd name="connsiteX36" fmla="*/ 32535 w 43539"/>
                          <a:gd name="connsiteY36" fmla="*/ 9764 h 39009"/>
                          <a:gd name="connsiteX37" fmla="*/ 32356 w 43539"/>
                          <a:gd name="connsiteY37" fmla="*/ 9943 h 39009"/>
                          <a:gd name="connsiteX38" fmla="*/ 32176 w 43539"/>
                          <a:gd name="connsiteY38" fmla="*/ 10123 h 39009"/>
                          <a:gd name="connsiteX39" fmla="*/ 31997 w 43539"/>
                          <a:gd name="connsiteY39" fmla="*/ 10302 h 39009"/>
                          <a:gd name="connsiteX40" fmla="*/ 31339 w 43539"/>
                          <a:gd name="connsiteY40" fmla="*/ 10960 h 39009"/>
                          <a:gd name="connsiteX41" fmla="*/ 30681 w 43539"/>
                          <a:gd name="connsiteY41" fmla="*/ 11678 h 39009"/>
                          <a:gd name="connsiteX42" fmla="*/ 30023 w 43539"/>
                          <a:gd name="connsiteY42" fmla="*/ 12455 h 39009"/>
                          <a:gd name="connsiteX43" fmla="*/ 29366 w 43539"/>
                          <a:gd name="connsiteY43" fmla="*/ 13292 h 39009"/>
                          <a:gd name="connsiteX44" fmla="*/ 25837 w 43539"/>
                          <a:gd name="connsiteY44" fmla="*/ 17718 h 39009"/>
                          <a:gd name="connsiteX45" fmla="*/ 25239 w 43539"/>
                          <a:gd name="connsiteY45" fmla="*/ 18495 h 39009"/>
                          <a:gd name="connsiteX46" fmla="*/ 21710 w 43539"/>
                          <a:gd name="connsiteY46" fmla="*/ 22922 h 39009"/>
                          <a:gd name="connsiteX47" fmla="*/ 21112 w 43539"/>
                          <a:gd name="connsiteY47" fmla="*/ 23699 h 39009"/>
                          <a:gd name="connsiteX48" fmla="*/ 19497 w 43539"/>
                          <a:gd name="connsiteY48" fmla="*/ 25732 h 39009"/>
                          <a:gd name="connsiteX49" fmla="*/ 18899 w 43539"/>
                          <a:gd name="connsiteY49" fmla="*/ 26450 h 39009"/>
                          <a:gd name="connsiteX50" fmla="*/ 17105 w 43539"/>
                          <a:gd name="connsiteY50" fmla="*/ 28663 h 39009"/>
                          <a:gd name="connsiteX51" fmla="*/ 16507 w 43539"/>
                          <a:gd name="connsiteY51" fmla="*/ 29440 h 39009"/>
                          <a:gd name="connsiteX52" fmla="*/ 15669 w 43539"/>
                          <a:gd name="connsiteY52" fmla="*/ 30457 h 39009"/>
                          <a:gd name="connsiteX53" fmla="*/ 15072 w 43539"/>
                          <a:gd name="connsiteY53" fmla="*/ 31234 h 39009"/>
                          <a:gd name="connsiteX54" fmla="*/ 12021 w 43539"/>
                          <a:gd name="connsiteY54" fmla="*/ 35122 h 39009"/>
                          <a:gd name="connsiteX55" fmla="*/ 11483 w 43539"/>
                          <a:gd name="connsiteY55" fmla="*/ 35780 h 39009"/>
                          <a:gd name="connsiteX56" fmla="*/ 0 w 43539"/>
                          <a:gd name="connsiteY56" fmla="*/ 32491 h 39009"/>
                          <a:gd name="connsiteX57" fmla="*/ 4545 w 43539"/>
                          <a:gd name="connsiteY57" fmla="*/ 35481 h 39009"/>
                          <a:gd name="connsiteX58" fmla="*/ 5083 w 43539"/>
                          <a:gd name="connsiteY58" fmla="*/ 35840 h 39009"/>
                          <a:gd name="connsiteX59" fmla="*/ 7416 w 43539"/>
                          <a:gd name="connsiteY59" fmla="*/ 37395 h 39009"/>
                          <a:gd name="connsiteX60" fmla="*/ 7954 w 43539"/>
                          <a:gd name="connsiteY60" fmla="*/ 37754 h 39009"/>
                          <a:gd name="connsiteX61" fmla="*/ 9868 w 43539"/>
                          <a:gd name="connsiteY61" fmla="*/ 39010 h 39009"/>
                          <a:gd name="connsiteX62" fmla="*/ 10466 w 43539"/>
                          <a:gd name="connsiteY62" fmla="*/ 38232 h 39009"/>
                          <a:gd name="connsiteX63" fmla="*/ 12141 w 43539"/>
                          <a:gd name="connsiteY63" fmla="*/ 36139 h 39009"/>
                          <a:gd name="connsiteX64" fmla="*/ 12739 w 43539"/>
                          <a:gd name="connsiteY64" fmla="*/ 35421 h 39009"/>
                          <a:gd name="connsiteX65" fmla="*/ 15789 w 43539"/>
                          <a:gd name="connsiteY65" fmla="*/ 31534 h 39009"/>
                          <a:gd name="connsiteX66" fmla="*/ 16387 w 43539"/>
                          <a:gd name="connsiteY66" fmla="*/ 30756 h 39009"/>
                          <a:gd name="connsiteX67" fmla="*/ 17225 w 43539"/>
                          <a:gd name="connsiteY67" fmla="*/ 29739 h 39009"/>
                          <a:gd name="connsiteX68" fmla="*/ 17822 w 43539"/>
                          <a:gd name="connsiteY68" fmla="*/ 28962 h 39009"/>
                          <a:gd name="connsiteX69" fmla="*/ 19617 w 43539"/>
                          <a:gd name="connsiteY69" fmla="*/ 26749 h 39009"/>
                          <a:gd name="connsiteX70" fmla="*/ 20215 w 43539"/>
                          <a:gd name="connsiteY70" fmla="*/ 26031 h 39009"/>
                          <a:gd name="connsiteX71" fmla="*/ 21830 w 43539"/>
                          <a:gd name="connsiteY71" fmla="*/ 23998 h 39009"/>
                          <a:gd name="connsiteX72" fmla="*/ 22428 w 43539"/>
                          <a:gd name="connsiteY72" fmla="*/ 23220 h 39009"/>
                          <a:gd name="connsiteX73" fmla="*/ 25956 w 43539"/>
                          <a:gd name="connsiteY73" fmla="*/ 18795 h 39009"/>
                          <a:gd name="connsiteX74" fmla="*/ 26554 w 43539"/>
                          <a:gd name="connsiteY74" fmla="*/ 18017 h 39009"/>
                          <a:gd name="connsiteX75" fmla="*/ 30083 w 43539"/>
                          <a:gd name="connsiteY75" fmla="*/ 13592 h 39009"/>
                          <a:gd name="connsiteX76" fmla="*/ 30741 w 43539"/>
                          <a:gd name="connsiteY76" fmla="*/ 12754 h 39009"/>
                          <a:gd name="connsiteX77" fmla="*/ 31399 w 43539"/>
                          <a:gd name="connsiteY77" fmla="*/ 11977 h 39009"/>
                          <a:gd name="connsiteX78" fmla="*/ 32057 w 43539"/>
                          <a:gd name="connsiteY78" fmla="*/ 11259 h 39009"/>
                          <a:gd name="connsiteX79" fmla="*/ 32715 w 43539"/>
                          <a:gd name="connsiteY79" fmla="*/ 10601 h 39009"/>
                          <a:gd name="connsiteX80" fmla="*/ 32894 w 43539"/>
                          <a:gd name="connsiteY80" fmla="*/ 10422 h 39009"/>
                          <a:gd name="connsiteX81" fmla="*/ 33074 w 43539"/>
                          <a:gd name="connsiteY81" fmla="*/ 10242 h 39009"/>
                          <a:gd name="connsiteX82" fmla="*/ 33253 w 43539"/>
                          <a:gd name="connsiteY82" fmla="*/ 10063 h 39009"/>
                          <a:gd name="connsiteX83" fmla="*/ 33432 w 43539"/>
                          <a:gd name="connsiteY83" fmla="*/ 9883 h 39009"/>
                          <a:gd name="connsiteX84" fmla="*/ 35944 w 43539"/>
                          <a:gd name="connsiteY84" fmla="*/ 8089 h 39009"/>
                          <a:gd name="connsiteX85" fmla="*/ 38337 w 43539"/>
                          <a:gd name="connsiteY85" fmla="*/ 7252 h 39009"/>
                          <a:gd name="connsiteX86" fmla="*/ 40669 w 43539"/>
                          <a:gd name="connsiteY86" fmla="*/ 7371 h 39009"/>
                          <a:gd name="connsiteX87" fmla="*/ 42942 w 43539"/>
                          <a:gd name="connsiteY87" fmla="*/ 8448 h 39009"/>
                          <a:gd name="connsiteX88" fmla="*/ 43540 w 43539"/>
                          <a:gd name="connsiteY88" fmla="*/ 7670 h 39009"/>
                          <a:gd name="connsiteX89" fmla="*/ 34569 w 43539"/>
                          <a:gd name="connsiteY89" fmla="*/ 1391 h 39009"/>
                          <a:gd name="connsiteX90" fmla="*/ 33671 w 43539"/>
                          <a:gd name="connsiteY90" fmla="*/ 853 h 39009"/>
                          <a:gd name="connsiteX91" fmla="*/ 32774 w 43539"/>
                          <a:gd name="connsiteY91" fmla="*/ 434 h 39009"/>
                          <a:gd name="connsiteX92" fmla="*/ 31877 w 43539"/>
                          <a:gd name="connsiteY92" fmla="*/ 135 h 39009"/>
                          <a:gd name="connsiteX93" fmla="*/ 30920 w 43539"/>
                          <a:gd name="connsiteY93" fmla="*/ 15 h 39009"/>
                          <a:gd name="connsiteX94" fmla="*/ 28408 w 43539"/>
                          <a:gd name="connsiteY94" fmla="*/ 314 h 39009"/>
                          <a:gd name="connsiteX95" fmla="*/ 25837 w 43539"/>
                          <a:gd name="connsiteY95" fmla="*/ 1510 h 39009"/>
                          <a:gd name="connsiteX96" fmla="*/ 23145 w 43539"/>
                          <a:gd name="connsiteY96" fmla="*/ 3663 h 39009"/>
                          <a:gd name="connsiteX97" fmla="*/ 20394 w 43539"/>
                          <a:gd name="connsiteY97" fmla="*/ 6714 h 39009"/>
                          <a:gd name="connsiteX98" fmla="*/ 16866 w 43539"/>
                          <a:gd name="connsiteY98" fmla="*/ 11199 h 39009"/>
                          <a:gd name="connsiteX99" fmla="*/ 16268 w 43539"/>
                          <a:gd name="connsiteY99" fmla="*/ 11977 h 39009"/>
                          <a:gd name="connsiteX100" fmla="*/ 12739 w 43539"/>
                          <a:gd name="connsiteY100" fmla="*/ 16462 h 39009"/>
                          <a:gd name="connsiteX101" fmla="*/ 12141 w 43539"/>
                          <a:gd name="connsiteY101" fmla="*/ 17240 h 39009"/>
                          <a:gd name="connsiteX102" fmla="*/ 10526 w 43539"/>
                          <a:gd name="connsiteY102" fmla="*/ 19273 h 39009"/>
                          <a:gd name="connsiteX103" fmla="*/ 9928 w 43539"/>
                          <a:gd name="connsiteY103" fmla="*/ 19991 h 39009"/>
                          <a:gd name="connsiteX104" fmla="*/ 8134 w 43539"/>
                          <a:gd name="connsiteY104" fmla="*/ 22263 h 39009"/>
                          <a:gd name="connsiteX105" fmla="*/ 7536 w 43539"/>
                          <a:gd name="connsiteY105" fmla="*/ 23041 h 39009"/>
                          <a:gd name="connsiteX106" fmla="*/ 7177 w 43539"/>
                          <a:gd name="connsiteY106" fmla="*/ 23519 h 39009"/>
                          <a:gd name="connsiteX107" fmla="*/ 6579 w 43539"/>
                          <a:gd name="connsiteY107" fmla="*/ 24297 h 39009"/>
                          <a:gd name="connsiteX108" fmla="*/ 6160 w 43539"/>
                          <a:gd name="connsiteY108" fmla="*/ 24835 h 39009"/>
                          <a:gd name="connsiteX109" fmla="*/ 3828 w 43539"/>
                          <a:gd name="connsiteY109" fmla="*/ 27825 h 39009"/>
                          <a:gd name="connsiteX110" fmla="*/ 3110 w 43539"/>
                          <a:gd name="connsiteY110" fmla="*/ 28723 h 39009"/>
                          <a:gd name="connsiteX111" fmla="*/ 3050 w 43539"/>
                          <a:gd name="connsiteY111" fmla="*/ 28783 h 39009"/>
                          <a:gd name="connsiteX112" fmla="*/ 2452 w 43539"/>
                          <a:gd name="connsiteY112" fmla="*/ 29500 h 39009"/>
                          <a:gd name="connsiteX113" fmla="*/ 778 w 43539"/>
                          <a:gd name="connsiteY113" fmla="*/ 31593 h 39009"/>
                          <a:gd name="connsiteX114" fmla="*/ 0 w 43539"/>
                          <a:gd name="connsiteY114" fmla="*/ 32491 h 3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43539" h="39009">
                            <a:moveTo>
                              <a:pt x="11483" y="35780"/>
                            </a:moveTo>
                            <a:lnTo>
                              <a:pt x="9808" y="37873"/>
                            </a:lnTo>
                            <a:lnTo>
                              <a:pt x="1076" y="32072"/>
                            </a:lnTo>
                            <a:lnTo>
                              <a:pt x="2751" y="29979"/>
                            </a:lnTo>
                            <a:lnTo>
                              <a:pt x="3349" y="29261"/>
                            </a:lnTo>
                            <a:lnTo>
                              <a:pt x="3708" y="28783"/>
                            </a:lnTo>
                            <a:lnTo>
                              <a:pt x="4366" y="28005"/>
                            </a:lnTo>
                            <a:lnTo>
                              <a:pt x="6459" y="25373"/>
                            </a:lnTo>
                            <a:lnTo>
                              <a:pt x="7057" y="24656"/>
                            </a:lnTo>
                            <a:lnTo>
                              <a:pt x="7656" y="23878"/>
                            </a:lnTo>
                            <a:lnTo>
                              <a:pt x="7895" y="23579"/>
                            </a:lnTo>
                            <a:lnTo>
                              <a:pt x="8493" y="22802"/>
                            </a:lnTo>
                            <a:lnTo>
                              <a:pt x="10287" y="20529"/>
                            </a:lnTo>
                            <a:lnTo>
                              <a:pt x="10885" y="19811"/>
                            </a:lnTo>
                            <a:lnTo>
                              <a:pt x="12500" y="17778"/>
                            </a:lnTo>
                            <a:lnTo>
                              <a:pt x="13098" y="17000"/>
                            </a:lnTo>
                            <a:lnTo>
                              <a:pt x="16627" y="12515"/>
                            </a:lnTo>
                            <a:lnTo>
                              <a:pt x="17225" y="11737"/>
                            </a:lnTo>
                            <a:lnTo>
                              <a:pt x="20753" y="7252"/>
                            </a:lnTo>
                            <a:cubicBezTo>
                              <a:pt x="21710" y="6056"/>
                              <a:pt x="22607" y="5039"/>
                              <a:pt x="23504" y="4202"/>
                            </a:cubicBezTo>
                            <a:cubicBezTo>
                              <a:pt x="24401" y="3364"/>
                              <a:pt x="25298" y="2647"/>
                              <a:pt x="26136" y="2168"/>
                            </a:cubicBezTo>
                            <a:cubicBezTo>
                              <a:pt x="26973" y="1630"/>
                              <a:pt x="27870" y="1331"/>
                              <a:pt x="28707" y="1152"/>
                            </a:cubicBezTo>
                            <a:cubicBezTo>
                              <a:pt x="29545" y="972"/>
                              <a:pt x="30382" y="972"/>
                              <a:pt x="31160" y="1152"/>
                            </a:cubicBezTo>
                            <a:cubicBezTo>
                              <a:pt x="31220" y="1152"/>
                              <a:pt x="31279" y="1152"/>
                              <a:pt x="31339" y="1211"/>
                            </a:cubicBezTo>
                            <a:cubicBezTo>
                              <a:pt x="31399" y="1211"/>
                              <a:pt x="31459" y="1211"/>
                              <a:pt x="31519" y="1271"/>
                            </a:cubicBezTo>
                            <a:cubicBezTo>
                              <a:pt x="31578" y="1331"/>
                              <a:pt x="31638" y="1331"/>
                              <a:pt x="31698" y="1331"/>
                            </a:cubicBezTo>
                            <a:cubicBezTo>
                              <a:pt x="31758" y="1331"/>
                              <a:pt x="31817" y="1391"/>
                              <a:pt x="31877" y="1391"/>
                            </a:cubicBezTo>
                            <a:cubicBezTo>
                              <a:pt x="32057" y="1451"/>
                              <a:pt x="32176" y="1510"/>
                              <a:pt x="32356" y="1570"/>
                            </a:cubicBezTo>
                            <a:cubicBezTo>
                              <a:pt x="32535" y="1630"/>
                              <a:pt x="32655" y="1690"/>
                              <a:pt x="32834" y="1809"/>
                            </a:cubicBezTo>
                            <a:cubicBezTo>
                              <a:pt x="33014" y="1869"/>
                              <a:pt x="33133" y="1989"/>
                              <a:pt x="33313" y="2048"/>
                            </a:cubicBezTo>
                            <a:cubicBezTo>
                              <a:pt x="33492" y="2168"/>
                              <a:pt x="33612" y="2228"/>
                              <a:pt x="33791" y="2348"/>
                            </a:cubicBezTo>
                            <a:lnTo>
                              <a:pt x="39772" y="6534"/>
                            </a:lnTo>
                            <a:cubicBezTo>
                              <a:pt x="39234" y="6475"/>
                              <a:pt x="38636" y="6534"/>
                              <a:pt x="38097" y="6654"/>
                            </a:cubicBezTo>
                            <a:cubicBezTo>
                              <a:pt x="37499" y="6774"/>
                              <a:pt x="36961" y="6953"/>
                              <a:pt x="36363" y="7192"/>
                            </a:cubicBezTo>
                            <a:cubicBezTo>
                              <a:pt x="35765" y="7431"/>
                              <a:pt x="35167" y="7790"/>
                              <a:pt x="34569" y="8149"/>
                            </a:cubicBezTo>
                            <a:cubicBezTo>
                              <a:pt x="33970" y="8568"/>
                              <a:pt x="33373" y="9046"/>
                              <a:pt x="32715" y="9584"/>
                            </a:cubicBezTo>
                            <a:cubicBezTo>
                              <a:pt x="32655" y="9644"/>
                              <a:pt x="32595" y="9704"/>
                              <a:pt x="32535" y="9764"/>
                            </a:cubicBezTo>
                            <a:cubicBezTo>
                              <a:pt x="32475" y="9824"/>
                              <a:pt x="32415" y="9883"/>
                              <a:pt x="32356" y="9943"/>
                            </a:cubicBezTo>
                            <a:cubicBezTo>
                              <a:pt x="32296" y="10003"/>
                              <a:pt x="32236" y="10063"/>
                              <a:pt x="32176" y="10123"/>
                            </a:cubicBezTo>
                            <a:cubicBezTo>
                              <a:pt x="32116" y="10183"/>
                              <a:pt x="32057" y="10242"/>
                              <a:pt x="31997" y="10302"/>
                            </a:cubicBezTo>
                            <a:cubicBezTo>
                              <a:pt x="31758" y="10541"/>
                              <a:pt x="31578" y="10721"/>
                              <a:pt x="31339" y="10960"/>
                            </a:cubicBezTo>
                            <a:cubicBezTo>
                              <a:pt x="31100" y="11199"/>
                              <a:pt x="30920" y="11438"/>
                              <a:pt x="30681" y="11678"/>
                            </a:cubicBezTo>
                            <a:cubicBezTo>
                              <a:pt x="30442" y="11917"/>
                              <a:pt x="30262" y="12156"/>
                              <a:pt x="30023" y="12455"/>
                            </a:cubicBezTo>
                            <a:cubicBezTo>
                              <a:pt x="29784" y="12694"/>
                              <a:pt x="29605" y="12993"/>
                              <a:pt x="29366" y="13292"/>
                            </a:cubicBezTo>
                            <a:lnTo>
                              <a:pt x="25837" y="17718"/>
                            </a:lnTo>
                            <a:lnTo>
                              <a:pt x="25239" y="18495"/>
                            </a:lnTo>
                            <a:lnTo>
                              <a:pt x="21710" y="22922"/>
                            </a:lnTo>
                            <a:lnTo>
                              <a:pt x="21112" y="23699"/>
                            </a:lnTo>
                            <a:lnTo>
                              <a:pt x="19497" y="25732"/>
                            </a:lnTo>
                            <a:lnTo>
                              <a:pt x="18899" y="26450"/>
                            </a:lnTo>
                            <a:lnTo>
                              <a:pt x="17105" y="28663"/>
                            </a:lnTo>
                            <a:lnTo>
                              <a:pt x="16507" y="29440"/>
                            </a:lnTo>
                            <a:lnTo>
                              <a:pt x="15669" y="30457"/>
                            </a:lnTo>
                            <a:lnTo>
                              <a:pt x="15072" y="31234"/>
                            </a:lnTo>
                            <a:lnTo>
                              <a:pt x="12021" y="35122"/>
                            </a:lnTo>
                            <a:lnTo>
                              <a:pt x="11483" y="35780"/>
                            </a:lnTo>
                            <a:moveTo>
                              <a:pt x="0" y="32491"/>
                            </a:moveTo>
                            <a:lnTo>
                              <a:pt x="4545" y="35481"/>
                            </a:lnTo>
                            <a:lnTo>
                              <a:pt x="5083" y="35840"/>
                            </a:lnTo>
                            <a:lnTo>
                              <a:pt x="7416" y="37395"/>
                            </a:lnTo>
                            <a:lnTo>
                              <a:pt x="7954" y="37754"/>
                            </a:lnTo>
                            <a:lnTo>
                              <a:pt x="9868" y="39010"/>
                            </a:lnTo>
                            <a:lnTo>
                              <a:pt x="10466" y="38232"/>
                            </a:lnTo>
                            <a:lnTo>
                              <a:pt x="12141" y="36139"/>
                            </a:lnTo>
                            <a:lnTo>
                              <a:pt x="12739" y="35421"/>
                            </a:lnTo>
                            <a:lnTo>
                              <a:pt x="15789" y="31534"/>
                            </a:lnTo>
                            <a:lnTo>
                              <a:pt x="16387" y="30756"/>
                            </a:lnTo>
                            <a:lnTo>
                              <a:pt x="17225" y="29739"/>
                            </a:lnTo>
                            <a:lnTo>
                              <a:pt x="17822" y="28962"/>
                            </a:lnTo>
                            <a:lnTo>
                              <a:pt x="19617" y="26749"/>
                            </a:lnTo>
                            <a:lnTo>
                              <a:pt x="20215" y="26031"/>
                            </a:lnTo>
                            <a:lnTo>
                              <a:pt x="21830" y="23998"/>
                            </a:lnTo>
                            <a:lnTo>
                              <a:pt x="22428" y="23220"/>
                            </a:lnTo>
                            <a:lnTo>
                              <a:pt x="25956" y="18795"/>
                            </a:lnTo>
                            <a:lnTo>
                              <a:pt x="26554" y="18017"/>
                            </a:lnTo>
                            <a:lnTo>
                              <a:pt x="30083" y="13592"/>
                            </a:lnTo>
                            <a:cubicBezTo>
                              <a:pt x="30322" y="13292"/>
                              <a:pt x="30561" y="13053"/>
                              <a:pt x="30741" y="12754"/>
                            </a:cubicBezTo>
                            <a:cubicBezTo>
                              <a:pt x="30980" y="12515"/>
                              <a:pt x="31160" y="12216"/>
                              <a:pt x="31399" y="11977"/>
                            </a:cubicBezTo>
                            <a:cubicBezTo>
                              <a:pt x="31638" y="11737"/>
                              <a:pt x="31817" y="11498"/>
                              <a:pt x="32057" y="11259"/>
                            </a:cubicBezTo>
                            <a:cubicBezTo>
                              <a:pt x="32296" y="11020"/>
                              <a:pt x="32475" y="10840"/>
                              <a:pt x="32715" y="10601"/>
                            </a:cubicBezTo>
                            <a:cubicBezTo>
                              <a:pt x="32774" y="10541"/>
                              <a:pt x="32834" y="10482"/>
                              <a:pt x="32894" y="10422"/>
                            </a:cubicBezTo>
                            <a:cubicBezTo>
                              <a:pt x="32954" y="10362"/>
                              <a:pt x="33014" y="10302"/>
                              <a:pt x="33074" y="10242"/>
                            </a:cubicBezTo>
                            <a:cubicBezTo>
                              <a:pt x="33133" y="10183"/>
                              <a:pt x="33193" y="10123"/>
                              <a:pt x="33253" y="10063"/>
                            </a:cubicBezTo>
                            <a:cubicBezTo>
                              <a:pt x="33313" y="10003"/>
                              <a:pt x="33373" y="9943"/>
                              <a:pt x="33432" y="9883"/>
                            </a:cubicBezTo>
                            <a:cubicBezTo>
                              <a:pt x="34269" y="9106"/>
                              <a:pt x="35107" y="8508"/>
                              <a:pt x="35944" y="8089"/>
                            </a:cubicBezTo>
                            <a:cubicBezTo>
                              <a:pt x="36782" y="7670"/>
                              <a:pt x="37559" y="7371"/>
                              <a:pt x="38337" y="7252"/>
                            </a:cubicBezTo>
                            <a:cubicBezTo>
                              <a:pt x="39114" y="7132"/>
                              <a:pt x="39891" y="7192"/>
                              <a:pt x="40669" y="7371"/>
                            </a:cubicBezTo>
                            <a:cubicBezTo>
                              <a:pt x="41446" y="7551"/>
                              <a:pt x="42164" y="7910"/>
                              <a:pt x="42942" y="8448"/>
                            </a:cubicBezTo>
                            <a:lnTo>
                              <a:pt x="43540" y="7670"/>
                            </a:lnTo>
                            <a:lnTo>
                              <a:pt x="34569" y="1391"/>
                            </a:lnTo>
                            <a:cubicBezTo>
                              <a:pt x="34269" y="1211"/>
                              <a:pt x="33970" y="1032"/>
                              <a:pt x="33671" y="853"/>
                            </a:cubicBezTo>
                            <a:cubicBezTo>
                              <a:pt x="33373" y="673"/>
                              <a:pt x="33074" y="553"/>
                              <a:pt x="32774" y="434"/>
                            </a:cubicBezTo>
                            <a:cubicBezTo>
                              <a:pt x="32475" y="314"/>
                              <a:pt x="32176" y="254"/>
                              <a:pt x="31877" y="135"/>
                            </a:cubicBezTo>
                            <a:cubicBezTo>
                              <a:pt x="31578" y="75"/>
                              <a:pt x="31279" y="15"/>
                              <a:pt x="30920" y="15"/>
                            </a:cubicBezTo>
                            <a:cubicBezTo>
                              <a:pt x="30083" y="-45"/>
                              <a:pt x="29246" y="75"/>
                              <a:pt x="28408" y="314"/>
                            </a:cubicBezTo>
                            <a:cubicBezTo>
                              <a:pt x="27571" y="553"/>
                              <a:pt x="26674" y="972"/>
                              <a:pt x="25837" y="1510"/>
                            </a:cubicBezTo>
                            <a:cubicBezTo>
                              <a:pt x="24940" y="2048"/>
                              <a:pt x="24043" y="2766"/>
                              <a:pt x="23145" y="3663"/>
                            </a:cubicBezTo>
                            <a:cubicBezTo>
                              <a:pt x="22248" y="4561"/>
                              <a:pt x="21351" y="5577"/>
                              <a:pt x="20394" y="6714"/>
                            </a:cubicBezTo>
                            <a:lnTo>
                              <a:pt x="16866" y="11199"/>
                            </a:lnTo>
                            <a:lnTo>
                              <a:pt x="16268" y="11977"/>
                            </a:lnTo>
                            <a:lnTo>
                              <a:pt x="12739" y="16462"/>
                            </a:lnTo>
                            <a:lnTo>
                              <a:pt x="12141" y="17240"/>
                            </a:lnTo>
                            <a:lnTo>
                              <a:pt x="10526" y="19273"/>
                            </a:lnTo>
                            <a:lnTo>
                              <a:pt x="9928" y="19991"/>
                            </a:lnTo>
                            <a:lnTo>
                              <a:pt x="8134" y="22263"/>
                            </a:lnTo>
                            <a:lnTo>
                              <a:pt x="7536" y="23041"/>
                            </a:lnTo>
                            <a:lnTo>
                              <a:pt x="7177" y="23519"/>
                            </a:lnTo>
                            <a:lnTo>
                              <a:pt x="6579" y="24297"/>
                            </a:lnTo>
                            <a:lnTo>
                              <a:pt x="6160" y="24835"/>
                            </a:lnTo>
                            <a:lnTo>
                              <a:pt x="3828" y="27825"/>
                            </a:lnTo>
                            <a:lnTo>
                              <a:pt x="3110" y="28723"/>
                            </a:lnTo>
                            <a:lnTo>
                              <a:pt x="3050" y="28783"/>
                            </a:lnTo>
                            <a:lnTo>
                              <a:pt x="2452" y="29500"/>
                            </a:lnTo>
                            <a:lnTo>
                              <a:pt x="778" y="31593"/>
                            </a:lnTo>
                            <a:lnTo>
                              <a:pt x="0" y="32491"/>
                            </a:lnTo>
                          </a:path>
                        </a:pathLst>
                      </a:custGeom>
                      <a:noFill/>
                      <a:ln w="6350" cap="flat">
                        <a:solidFill>
                          <a:schemeClr val="bg1">
                            <a:alpha val="40000"/>
                          </a:schemeClr>
                        </a:solidFill>
                        <a:prstDash val="solid"/>
                        <a:miter/>
                      </a:ln>
                    </p:spPr>
                    <p:txBody>
                      <a:bodyPr rtlCol="0" anchor="ctr"/>
                      <a:lstStyle/>
                      <a:p>
                        <a:endParaRPr lang="en-GB"/>
                      </a:p>
                    </p:txBody>
                  </p:sp>
                  <p:sp>
                    <p:nvSpPr>
                      <p:cNvPr id="7452" name="Vrije vorm: vorm 7451">
                        <a:extLst>
                          <a:ext uri="{FF2B5EF4-FFF2-40B4-BE49-F238E27FC236}">
                            <a16:creationId xmlns:a16="http://schemas.microsoft.com/office/drawing/2014/main" id="{E79B1F4B-6E4C-4233-B6F3-6A32A01FCACD}"/>
                          </a:ext>
                        </a:extLst>
                      </p:cNvPr>
                      <p:cNvSpPr/>
                      <p:nvPr/>
                    </p:nvSpPr>
                    <p:spPr>
                      <a:xfrm>
                        <a:off x="5304561" y="5400572"/>
                        <a:ext cx="80414" cy="75273"/>
                      </a:xfrm>
                      <a:custGeom>
                        <a:avLst/>
                        <a:gdLst>
                          <a:gd name="connsiteX0" fmla="*/ 20454 w 80414"/>
                          <a:gd name="connsiteY0" fmla="*/ 2153 h 75273"/>
                          <a:gd name="connsiteX1" fmla="*/ 21231 w 80414"/>
                          <a:gd name="connsiteY1" fmla="*/ 1256 h 75273"/>
                          <a:gd name="connsiteX2" fmla="*/ 22308 w 80414"/>
                          <a:gd name="connsiteY2" fmla="*/ 2213 h 75273"/>
                          <a:gd name="connsiteX3" fmla="*/ 22308 w 80414"/>
                          <a:gd name="connsiteY3" fmla="*/ 1854 h 75273"/>
                          <a:gd name="connsiteX4" fmla="*/ 22308 w 80414"/>
                          <a:gd name="connsiteY4" fmla="*/ 1495 h 75273"/>
                          <a:gd name="connsiteX5" fmla="*/ 22308 w 80414"/>
                          <a:gd name="connsiteY5" fmla="*/ 1136 h 75273"/>
                          <a:gd name="connsiteX6" fmla="*/ 22308 w 80414"/>
                          <a:gd name="connsiteY6" fmla="*/ 778 h 75273"/>
                          <a:gd name="connsiteX7" fmla="*/ 21710 w 80414"/>
                          <a:gd name="connsiteY7" fmla="*/ 239 h 75273"/>
                          <a:gd name="connsiteX8" fmla="*/ 21411 w 80414"/>
                          <a:gd name="connsiteY8" fmla="*/ 0 h 75273"/>
                          <a:gd name="connsiteX9" fmla="*/ 20454 w 80414"/>
                          <a:gd name="connsiteY9" fmla="*/ 1136 h 75273"/>
                          <a:gd name="connsiteX10" fmla="*/ 20454 w 80414"/>
                          <a:gd name="connsiteY10" fmla="*/ 1376 h 75273"/>
                          <a:gd name="connsiteX11" fmla="*/ 20454 w 80414"/>
                          <a:gd name="connsiteY11" fmla="*/ 1615 h 75273"/>
                          <a:gd name="connsiteX12" fmla="*/ 20454 w 80414"/>
                          <a:gd name="connsiteY12" fmla="*/ 1854 h 75273"/>
                          <a:gd name="connsiteX13" fmla="*/ 20454 w 80414"/>
                          <a:gd name="connsiteY13" fmla="*/ 2153 h 75273"/>
                          <a:gd name="connsiteX14" fmla="*/ 18720 w 80414"/>
                          <a:gd name="connsiteY14" fmla="*/ 4187 h 75273"/>
                          <a:gd name="connsiteX15" fmla="*/ 19437 w 80414"/>
                          <a:gd name="connsiteY15" fmla="*/ 3349 h 75273"/>
                          <a:gd name="connsiteX16" fmla="*/ 19437 w 80414"/>
                          <a:gd name="connsiteY16" fmla="*/ 3110 h 75273"/>
                          <a:gd name="connsiteX17" fmla="*/ 19437 w 80414"/>
                          <a:gd name="connsiteY17" fmla="*/ 2871 h 75273"/>
                          <a:gd name="connsiteX18" fmla="*/ 19437 w 80414"/>
                          <a:gd name="connsiteY18" fmla="*/ 2632 h 75273"/>
                          <a:gd name="connsiteX19" fmla="*/ 19437 w 80414"/>
                          <a:gd name="connsiteY19" fmla="*/ 2392 h 75273"/>
                          <a:gd name="connsiteX20" fmla="*/ 18481 w 80414"/>
                          <a:gd name="connsiteY20" fmla="*/ 3529 h 75273"/>
                          <a:gd name="connsiteX21" fmla="*/ 18600 w 80414"/>
                          <a:gd name="connsiteY21" fmla="*/ 3708 h 75273"/>
                          <a:gd name="connsiteX22" fmla="*/ 18660 w 80414"/>
                          <a:gd name="connsiteY22" fmla="*/ 3888 h 75273"/>
                          <a:gd name="connsiteX23" fmla="*/ 18720 w 80414"/>
                          <a:gd name="connsiteY23" fmla="*/ 4067 h 75273"/>
                          <a:gd name="connsiteX24" fmla="*/ 18720 w 80414"/>
                          <a:gd name="connsiteY24" fmla="*/ 4187 h 75273"/>
                          <a:gd name="connsiteX25" fmla="*/ 15251 w 80414"/>
                          <a:gd name="connsiteY25" fmla="*/ 7177 h 75273"/>
                          <a:gd name="connsiteX26" fmla="*/ 15430 w 80414"/>
                          <a:gd name="connsiteY26" fmla="*/ 7237 h 75273"/>
                          <a:gd name="connsiteX27" fmla="*/ 15610 w 80414"/>
                          <a:gd name="connsiteY27" fmla="*/ 7237 h 75273"/>
                          <a:gd name="connsiteX28" fmla="*/ 15789 w 80414"/>
                          <a:gd name="connsiteY28" fmla="*/ 7237 h 75273"/>
                          <a:gd name="connsiteX29" fmla="*/ 16028 w 80414"/>
                          <a:gd name="connsiteY29" fmla="*/ 7177 h 75273"/>
                          <a:gd name="connsiteX30" fmla="*/ 16088 w 80414"/>
                          <a:gd name="connsiteY30" fmla="*/ 7177 h 75273"/>
                          <a:gd name="connsiteX31" fmla="*/ 16148 w 80414"/>
                          <a:gd name="connsiteY31" fmla="*/ 7177 h 75273"/>
                          <a:gd name="connsiteX32" fmla="*/ 16208 w 80414"/>
                          <a:gd name="connsiteY32" fmla="*/ 7177 h 75273"/>
                          <a:gd name="connsiteX33" fmla="*/ 16268 w 80414"/>
                          <a:gd name="connsiteY33" fmla="*/ 7177 h 75273"/>
                          <a:gd name="connsiteX34" fmla="*/ 17942 w 80414"/>
                          <a:gd name="connsiteY34" fmla="*/ 5203 h 75273"/>
                          <a:gd name="connsiteX35" fmla="*/ 17942 w 80414"/>
                          <a:gd name="connsiteY35" fmla="*/ 5144 h 75273"/>
                          <a:gd name="connsiteX36" fmla="*/ 17942 w 80414"/>
                          <a:gd name="connsiteY36" fmla="*/ 5084 h 75273"/>
                          <a:gd name="connsiteX37" fmla="*/ 17942 w 80414"/>
                          <a:gd name="connsiteY37" fmla="*/ 5024 h 75273"/>
                          <a:gd name="connsiteX38" fmla="*/ 17942 w 80414"/>
                          <a:gd name="connsiteY38" fmla="*/ 4964 h 75273"/>
                          <a:gd name="connsiteX39" fmla="*/ 17942 w 80414"/>
                          <a:gd name="connsiteY39" fmla="*/ 4725 h 75273"/>
                          <a:gd name="connsiteX40" fmla="*/ 17942 w 80414"/>
                          <a:gd name="connsiteY40" fmla="*/ 4545 h 75273"/>
                          <a:gd name="connsiteX41" fmla="*/ 17882 w 80414"/>
                          <a:gd name="connsiteY41" fmla="*/ 4366 h 75273"/>
                          <a:gd name="connsiteX42" fmla="*/ 17822 w 80414"/>
                          <a:gd name="connsiteY42" fmla="*/ 4187 h 75273"/>
                          <a:gd name="connsiteX43" fmla="*/ 15251 w 80414"/>
                          <a:gd name="connsiteY43" fmla="*/ 7177 h 75273"/>
                          <a:gd name="connsiteX44" fmla="*/ 6758 w 80414"/>
                          <a:gd name="connsiteY44" fmla="*/ 17045 h 75273"/>
                          <a:gd name="connsiteX45" fmla="*/ 13516 w 80414"/>
                          <a:gd name="connsiteY45" fmla="*/ 9211 h 75273"/>
                          <a:gd name="connsiteX46" fmla="*/ 13756 w 80414"/>
                          <a:gd name="connsiteY46" fmla="*/ 9450 h 75273"/>
                          <a:gd name="connsiteX47" fmla="*/ 13995 w 80414"/>
                          <a:gd name="connsiteY47" fmla="*/ 9689 h 75273"/>
                          <a:gd name="connsiteX48" fmla="*/ 15311 w 80414"/>
                          <a:gd name="connsiteY48" fmla="*/ 8134 h 75273"/>
                          <a:gd name="connsiteX49" fmla="*/ 15072 w 80414"/>
                          <a:gd name="connsiteY49" fmla="*/ 8134 h 75273"/>
                          <a:gd name="connsiteX50" fmla="*/ 14892 w 80414"/>
                          <a:gd name="connsiteY50" fmla="*/ 8134 h 75273"/>
                          <a:gd name="connsiteX51" fmla="*/ 14713 w 80414"/>
                          <a:gd name="connsiteY51" fmla="*/ 8074 h 75273"/>
                          <a:gd name="connsiteX52" fmla="*/ 14533 w 80414"/>
                          <a:gd name="connsiteY52" fmla="*/ 8014 h 75273"/>
                          <a:gd name="connsiteX53" fmla="*/ 6758 w 80414"/>
                          <a:gd name="connsiteY53" fmla="*/ 17045 h 75273"/>
                          <a:gd name="connsiteX54" fmla="*/ 6758 w 80414"/>
                          <a:gd name="connsiteY54" fmla="*/ 17045 h 75273"/>
                          <a:gd name="connsiteX55" fmla="*/ 6758 w 80414"/>
                          <a:gd name="connsiteY55" fmla="*/ 17045 h 75273"/>
                          <a:gd name="connsiteX56" fmla="*/ 6758 w 80414"/>
                          <a:gd name="connsiteY56" fmla="*/ 17045 h 75273"/>
                          <a:gd name="connsiteX57" fmla="*/ 6758 w 80414"/>
                          <a:gd name="connsiteY57" fmla="*/ 17045 h 75273"/>
                          <a:gd name="connsiteX58" fmla="*/ 5742 w 80414"/>
                          <a:gd name="connsiteY58" fmla="*/ 18182 h 75273"/>
                          <a:gd name="connsiteX59" fmla="*/ 6100 w 80414"/>
                          <a:gd name="connsiteY59" fmla="*/ 17763 h 75273"/>
                          <a:gd name="connsiteX60" fmla="*/ 6100 w 80414"/>
                          <a:gd name="connsiteY60" fmla="*/ 17763 h 75273"/>
                          <a:gd name="connsiteX61" fmla="*/ 6100 w 80414"/>
                          <a:gd name="connsiteY61" fmla="*/ 17763 h 75273"/>
                          <a:gd name="connsiteX62" fmla="*/ 6100 w 80414"/>
                          <a:gd name="connsiteY62" fmla="*/ 17763 h 75273"/>
                          <a:gd name="connsiteX63" fmla="*/ 6100 w 80414"/>
                          <a:gd name="connsiteY63" fmla="*/ 17763 h 75273"/>
                          <a:gd name="connsiteX64" fmla="*/ 5742 w 80414"/>
                          <a:gd name="connsiteY64" fmla="*/ 18182 h 75273"/>
                          <a:gd name="connsiteX65" fmla="*/ 3529 w 80414"/>
                          <a:gd name="connsiteY65" fmla="*/ 20753 h 75273"/>
                          <a:gd name="connsiteX66" fmla="*/ 3708 w 80414"/>
                          <a:gd name="connsiteY66" fmla="*/ 20813 h 75273"/>
                          <a:gd name="connsiteX67" fmla="*/ 3888 w 80414"/>
                          <a:gd name="connsiteY67" fmla="*/ 20813 h 75273"/>
                          <a:gd name="connsiteX68" fmla="*/ 4067 w 80414"/>
                          <a:gd name="connsiteY68" fmla="*/ 20813 h 75273"/>
                          <a:gd name="connsiteX69" fmla="*/ 4306 w 80414"/>
                          <a:gd name="connsiteY69" fmla="*/ 20753 h 75273"/>
                          <a:gd name="connsiteX70" fmla="*/ 4366 w 80414"/>
                          <a:gd name="connsiteY70" fmla="*/ 20753 h 75273"/>
                          <a:gd name="connsiteX71" fmla="*/ 4426 w 80414"/>
                          <a:gd name="connsiteY71" fmla="*/ 20753 h 75273"/>
                          <a:gd name="connsiteX72" fmla="*/ 4486 w 80414"/>
                          <a:gd name="connsiteY72" fmla="*/ 20753 h 75273"/>
                          <a:gd name="connsiteX73" fmla="*/ 4545 w 80414"/>
                          <a:gd name="connsiteY73" fmla="*/ 20753 h 75273"/>
                          <a:gd name="connsiteX74" fmla="*/ 6100 w 80414"/>
                          <a:gd name="connsiteY74" fmla="*/ 18959 h 75273"/>
                          <a:gd name="connsiteX75" fmla="*/ 5562 w 80414"/>
                          <a:gd name="connsiteY75" fmla="*/ 18481 h 75273"/>
                          <a:gd name="connsiteX76" fmla="*/ 3529 w 80414"/>
                          <a:gd name="connsiteY76" fmla="*/ 20753 h 75273"/>
                          <a:gd name="connsiteX77" fmla="*/ 1914 w 80414"/>
                          <a:gd name="connsiteY77" fmla="*/ 22607 h 75273"/>
                          <a:gd name="connsiteX78" fmla="*/ 2153 w 80414"/>
                          <a:gd name="connsiteY78" fmla="*/ 22607 h 75273"/>
                          <a:gd name="connsiteX79" fmla="*/ 2392 w 80414"/>
                          <a:gd name="connsiteY79" fmla="*/ 22547 h 75273"/>
                          <a:gd name="connsiteX80" fmla="*/ 2632 w 80414"/>
                          <a:gd name="connsiteY80" fmla="*/ 22488 h 75273"/>
                          <a:gd name="connsiteX81" fmla="*/ 2871 w 80414"/>
                          <a:gd name="connsiteY81" fmla="*/ 22428 h 75273"/>
                          <a:gd name="connsiteX82" fmla="*/ 3589 w 80414"/>
                          <a:gd name="connsiteY82" fmla="*/ 21591 h 75273"/>
                          <a:gd name="connsiteX83" fmla="*/ 3349 w 80414"/>
                          <a:gd name="connsiteY83" fmla="*/ 21591 h 75273"/>
                          <a:gd name="connsiteX84" fmla="*/ 3110 w 80414"/>
                          <a:gd name="connsiteY84" fmla="*/ 21591 h 75273"/>
                          <a:gd name="connsiteX85" fmla="*/ 2930 w 80414"/>
                          <a:gd name="connsiteY85" fmla="*/ 21531 h 75273"/>
                          <a:gd name="connsiteX86" fmla="*/ 2751 w 80414"/>
                          <a:gd name="connsiteY86" fmla="*/ 21471 h 75273"/>
                          <a:gd name="connsiteX87" fmla="*/ 1914 w 80414"/>
                          <a:gd name="connsiteY87" fmla="*/ 22607 h 75273"/>
                          <a:gd name="connsiteX88" fmla="*/ 658 w 80414"/>
                          <a:gd name="connsiteY88" fmla="*/ 25658 h 75273"/>
                          <a:gd name="connsiteX89" fmla="*/ 1017 w 80414"/>
                          <a:gd name="connsiteY89" fmla="*/ 25658 h 75273"/>
                          <a:gd name="connsiteX90" fmla="*/ 1375 w 80414"/>
                          <a:gd name="connsiteY90" fmla="*/ 25598 h 75273"/>
                          <a:gd name="connsiteX91" fmla="*/ 1735 w 80414"/>
                          <a:gd name="connsiteY91" fmla="*/ 25538 h 75273"/>
                          <a:gd name="connsiteX92" fmla="*/ 2093 w 80414"/>
                          <a:gd name="connsiteY92" fmla="*/ 25478 h 75273"/>
                          <a:gd name="connsiteX93" fmla="*/ 1136 w 80414"/>
                          <a:gd name="connsiteY93" fmla="*/ 24700 h 75273"/>
                          <a:gd name="connsiteX94" fmla="*/ 2034 w 80414"/>
                          <a:gd name="connsiteY94" fmla="*/ 23684 h 75273"/>
                          <a:gd name="connsiteX95" fmla="*/ 1794 w 80414"/>
                          <a:gd name="connsiteY95" fmla="*/ 23684 h 75273"/>
                          <a:gd name="connsiteX96" fmla="*/ 1555 w 80414"/>
                          <a:gd name="connsiteY96" fmla="*/ 23684 h 75273"/>
                          <a:gd name="connsiteX97" fmla="*/ 1316 w 80414"/>
                          <a:gd name="connsiteY97" fmla="*/ 23684 h 75273"/>
                          <a:gd name="connsiteX98" fmla="*/ 1076 w 80414"/>
                          <a:gd name="connsiteY98" fmla="*/ 23684 h 75273"/>
                          <a:gd name="connsiteX99" fmla="*/ 0 w 80414"/>
                          <a:gd name="connsiteY99" fmla="*/ 24940 h 75273"/>
                          <a:gd name="connsiteX100" fmla="*/ 658 w 80414"/>
                          <a:gd name="connsiteY100" fmla="*/ 25658 h 75273"/>
                          <a:gd name="connsiteX101" fmla="*/ 57654 w 80414"/>
                          <a:gd name="connsiteY101" fmla="*/ 73862 h 75273"/>
                          <a:gd name="connsiteX102" fmla="*/ 61601 w 80414"/>
                          <a:gd name="connsiteY102" fmla="*/ 75238 h 75273"/>
                          <a:gd name="connsiteX103" fmla="*/ 66207 w 80414"/>
                          <a:gd name="connsiteY103" fmla="*/ 74700 h 75273"/>
                          <a:gd name="connsiteX104" fmla="*/ 70991 w 80414"/>
                          <a:gd name="connsiteY104" fmla="*/ 72367 h 75273"/>
                          <a:gd name="connsiteX105" fmla="*/ 75417 w 80414"/>
                          <a:gd name="connsiteY105" fmla="*/ 68419 h 75273"/>
                          <a:gd name="connsiteX106" fmla="*/ 78766 w 80414"/>
                          <a:gd name="connsiteY106" fmla="*/ 63216 h 75273"/>
                          <a:gd name="connsiteX107" fmla="*/ 80321 w 80414"/>
                          <a:gd name="connsiteY107" fmla="*/ 57953 h 75273"/>
                          <a:gd name="connsiteX108" fmla="*/ 79962 w 80414"/>
                          <a:gd name="connsiteY108" fmla="*/ 53169 h 75273"/>
                          <a:gd name="connsiteX109" fmla="*/ 77630 w 80414"/>
                          <a:gd name="connsiteY109" fmla="*/ 49521 h 75273"/>
                          <a:gd name="connsiteX110" fmla="*/ 73384 w 80414"/>
                          <a:gd name="connsiteY110" fmla="*/ 45813 h 75273"/>
                          <a:gd name="connsiteX111" fmla="*/ 72426 w 80414"/>
                          <a:gd name="connsiteY111" fmla="*/ 44975 h 75273"/>
                          <a:gd name="connsiteX112" fmla="*/ 70453 w 80414"/>
                          <a:gd name="connsiteY112" fmla="*/ 43241 h 75273"/>
                          <a:gd name="connsiteX113" fmla="*/ 69735 w 80414"/>
                          <a:gd name="connsiteY113" fmla="*/ 42583 h 75273"/>
                          <a:gd name="connsiteX114" fmla="*/ 23086 w 80414"/>
                          <a:gd name="connsiteY114" fmla="*/ 1615 h 75273"/>
                          <a:gd name="connsiteX115" fmla="*/ 23086 w 80414"/>
                          <a:gd name="connsiteY115" fmla="*/ 1914 h 75273"/>
                          <a:gd name="connsiteX116" fmla="*/ 23086 w 80414"/>
                          <a:gd name="connsiteY116" fmla="*/ 2213 h 75273"/>
                          <a:gd name="connsiteX117" fmla="*/ 23086 w 80414"/>
                          <a:gd name="connsiteY117" fmla="*/ 2512 h 75273"/>
                          <a:gd name="connsiteX118" fmla="*/ 23086 w 80414"/>
                          <a:gd name="connsiteY118" fmla="*/ 2871 h 75273"/>
                          <a:gd name="connsiteX119" fmla="*/ 68718 w 80414"/>
                          <a:gd name="connsiteY119" fmla="*/ 42822 h 75273"/>
                          <a:gd name="connsiteX120" fmla="*/ 69377 w 80414"/>
                          <a:gd name="connsiteY120" fmla="*/ 43420 h 75273"/>
                          <a:gd name="connsiteX121" fmla="*/ 71231 w 80414"/>
                          <a:gd name="connsiteY121" fmla="*/ 45035 h 75273"/>
                          <a:gd name="connsiteX122" fmla="*/ 72068 w 80414"/>
                          <a:gd name="connsiteY122" fmla="*/ 45753 h 75273"/>
                          <a:gd name="connsiteX123" fmla="*/ 77092 w 80414"/>
                          <a:gd name="connsiteY123" fmla="*/ 50178 h 75273"/>
                          <a:gd name="connsiteX124" fmla="*/ 79245 w 80414"/>
                          <a:gd name="connsiteY124" fmla="*/ 53587 h 75273"/>
                          <a:gd name="connsiteX125" fmla="*/ 79544 w 80414"/>
                          <a:gd name="connsiteY125" fmla="*/ 58073 h 75273"/>
                          <a:gd name="connsiteX126" fmla="*/ 78108 w 80414"/>
                          <a:gd name="connsiteY126" fmla="*/ 63037 h 75273"/>
                          <a:gd name="connsiteX127" fmla="*/ 74998 w 80414"/>
                          <a:gd name="connsiteY127" fmla="*/ 67881 h 75273"/>
                          <a:gd name="connsiteX128" fmla="*/ 70872 w 80414"/>
                          <a:gd name="connsiteY128" fmla="*/ 71649 h 75273"/>
                          <a:gd name="connsiteX129" fmla="*/ 66386 w 80414"/>
                          <a:gd name="connsiteY129" fmla="*/ 73862 h 75273"/>
                          <a:gd name="connsiteX130" fmla="*/ 62020 w 80414"/>
                          <a:gd name="connsiteY130" fmla="*/ 74400 h 75273"/>
                          <a:gd name="connsiteX131" fmla="*/ 58312 w 80414"/>
                          <a:gd name="connsiteY131" fmla="*/ 73085 h 75273"/>
                          <a:gd name="connsiteX132" fmla="*/ 57833 w 80414"/>
                          <a:gd name="connsiteY132" fmla="*/ 72726 h 75273"/>
                          <a:gd name="connsiteX133" fmla="*/ 51972 w 80414"/>
                          <a:gd name="connsiteY133" fmla="*/ 67762 h 75273"/>
                          <a:gd name="connsiteX134" fmla="*/ 51195 w 80414"/>
                          <a:gd name="connsiteY134" fmla="*/ 67104 h 75273"/>
                          <a:gd name="connsiteX135" fmla="*/ 47128 w 80414"/>
                          <a:gd name="connsiteY135" fmla="*/ 63635 h 75273"/>
                          <a:gd name="connsiteX136" fmla="*/ 46650 w 80414"/>
                          <a:gd name="connsiteY136" fmla="*/ 63216 h 75273"/>
                          <a:gd name="connsiteX137" fmla="*/ 2930 w 80414"/>
                          <a:gd name="connsiteY137" fmla="*/ 26196 h 75273"/>
                          <a:gd name="connsiteX138" fmla="*/ 2632 w 80414"/>
                          <a:gd name="connsiteY138" fmla="*/ 26255 h 75273"/>
                          <a:gd name="connsiteX139" fmla="*/ 2333 w 80414"/>
                          <a:gd name="connsiteY139" fmla="*/ 26315 h 75273"/>
                          <a:gd name="connsiteX140" fmla="*/ 2034 w 80414"/>
                          <a:gd name="connsiteY140" fmla="*/ 26375 h 75273"/>
                          <a:gd name="connsiteX141" fmla="*/ 1735 w 80414"/>
                          <a:gd name="connsiteY141" fmla="*/ 26435 h 75273"/>
                          <a:gd name="connsiteX142" fmla="*/ 46112 w 80414"/>
                          <a:gd name="connsiteY142" fmla="*/ 63994 h 75273"/>
                          <a:gd name="connsiteX143" fmla="*/ 46590 w 80414"/>
                          <a:gd name="connsiteY143" fmla="*/ 64412 h 75273"/>
                          <a:gd name="connsiteX144" fmla="*/ 51255 w 80414"/>
                          <a:gd name="connsiteY144" fmla="*/ 68360 h 75273"/>
                          <a:gd name="connsiteX145" fmla="*/ 52092 w 80414"/>
                          <a:gd name="connsiteY145" fmla="*/ 69078 h 75273"/>
                          <a:gd name="connsiteX146" fmla="*/ 57295 w 80414"/>
                          <a:gd name="connsiteY146" fmla="*/ 73503 h 75273"/>
                          <a:gd name="connsiteX147" fmla="*/ 57654 w 80414"/>
                          <a:gd name="connsiteY147" fmla="*/ 73862 h 7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80414" h="75273">
                            <a:moveTo>
                              <a:pt x="20454" y="2153"/>
                            </a:moveTo>
                            <a:lnTo>
                              <a:pt x="21231" y="1256"/>
                            </a:lnTo>
                            <a:lnTo>
                              <a:pt x="22308" y="2213"/>
                            </a:lnTo>
                            <a:cubicBezTo>
                              <a:pt x="22308" y="2093"/>
                              <a:pt x="22308" y="1974"/>
                              <a:pt x="22308" y="1854"/>
                            </a:cubicBezTo>
                            <a:cubicBezTo>
                              <a:pt x="22308" y="1735"/>
                              <a:pt x="22308" y="1615"/>
                              <a:pt x="22308" y="1495"/>
                            </a:cubicBezTo>
                            <a:cubicBezTo>
                              <a:pt x="22308" y="1376"/>
                              <a:pt x="22308" y="1256"/>
                              <a:pt x="22308" y="1136"/>
                            </a:cubicBezTo>
                            <a:cubicBezTo>
                              <a:pt x="22308" y="1017"/>
                              <a:pt x="22308" y="897"/>
                              <a:pt x="22308" y="778"/>
                            </a:cubicBezTo>
                            <a:lnTo>
                              <a:pt x="21710" y="239"/>
                            </a:lnTo>
                            <a:lnTo>
                              <a:pt x="21411" y="0"/>
                            </a:lnTo>
                            <a:lnTo>
                              <a:pt x="20454" y="1136"/>
                            </a:lnTo>
                            <a:cubicBezTo>
                              <a:pt x="20454" y="1196"/>
                              <a:pt x="20454" y="1316"/>
                              <a:pt x="20454" y="1376"/>
                            </a:cubicBezTo>
                            <a:cubicBezTo>
                              <a:pt x="20454" y="1436"/>
                              <a:pt x="20454" y="1555"/>
                              <a:pt x="20454" y="1615"/>
                            </a:cubicBezTo>
                            <a:cubicBezTo>
                              <a:pt x="20454" y="1675"/>
                              <a:pt x="20454" y="1795"/>
                              <a:pt x="20454" y="1854"/>
                            </a:cubicBezTo>
                            <a:cubicBezTo>
                              <a:pt x="20454" y="1914"/>
                              <a:pt x="20454" y="2034"/>
                              <a:pt x="20454" y="2153"/>
                            </a:cubicBezTo>
                            <a:moveTo>
                              <a:pt x="18720" y="4187"/>
                            </a:moveTo>
                            <a:lnTo>
                              <a:pt x="19437" y="3349"/>
                            </a:lnTo>
                            <a:cubicBezTo>
                              <a:pt x="19437" y="3290"/>
                              <a:pt x="19437" y="3170"/>
                              <a:pt x="19437" y="3110"/>
                            </a:cubicBezTo>
                            <a:cubicBezTo>
                              <a:pt x="19437" y="3050"/>
                              <a:pt x="19437" y="2931"/>
                              <a:pt x="19437" y="2871"/>
                            </a:cubicBezTo>
                            <a:cubicBezTo>
                              <a:pt x="19437" y="2811"/>
                              <a:pt x="19437" y="2691"/>
                              <a:pt x="19437" y="2632"/>
                            </a:cubicBezTo>
                            <a:cubicBezTo>
                              <a:pt x="19437" y="2572"/>
                              <a:pt x="19437" y="2452"/>
                              <a:pt x="19437" y="2392"/>
                            </a:cubicBezTo>
                            <a:lnTo>
                              <a:pt x="18481" y="3529"/>
                            </a:lnTo>
                            <a:cubicBezTo>
                              <a:pt x="18540" y="3589"/>
                              <a:pt x="18540" y="3649"/>
                              <a:pt x="18600" y="3708"/>
                            </a:cubicBezTo>
                            <a:cubicBezTo>
                              <a:pt x="18600" y="3768"/>
                              <a:pt x="18660" y="3828"/>
                              <a:pt x="18660" y="3888"/>
                            </a:cubicBezTo>
                            <a:cubicBezTo>
                              <a:pt x="18660" y="3947"/>
                              <a:pt x="18720" y="4007"/>
                              <a:pt x="18720" y="4067"/>
                            </a:cubicBezTo>
                            <a:cubicBezTo>
                              <a:pt x="18720" y="4007"/>
                              <a:pt x="18720" y="4127"/>
                              <a:pt x="18720" y="4187"/>
                            </a:cubicBezTo>
                            <a:moveTo>
                              <a:pt x="15251" y="7177"/>
                            </a:moveTo>
                            <a:cubicBezTo>
                              <a:pt x="15311" y="7177"/>
                              <a:pt x="15371" y="7237"/>
                              <a:pt x="15430" y="7237"/>
                            </a:cubicBezTo>
                            <a:cubicBezTo>
                              <a:pt x="15490" y="7237"/>
                              <a:pt x="15550" y="7237"/>
                              <a:pt x="15610" y="7237"/>
                            </a:cubicBezTo>
                            <a:cubicBezTo>
                              <a:pt x="15669" y="7237"/>
                              <a:pt x="15729" y="7237"/>
                              <a:pt x="15789" y="7237"/>
                            </a:cubicBezTo>
                            <a:cubicBezTo>
                              <a:pt x="15849" y="7237"/>
                              <a:pt x="15909" y="7237"/>
                              <a:pt x="16028" y="7177"/>
                            </a:cubicBezTo>
                            <a:cubicBezTo>
                              <a:pt x="16028" y="7177"/>
                              <a:pt x="16028" y="7177"/>
                              <a:pt x="16088" y="7177"/>
                            </a:cubicBezTo>
                            <a:cubicBezTo>
                              <a:pt x="16148" y="7177"/>
                              <a:pt x="16088" y="7177"/>
                              <a:pt x="16148" y="7177"/>
                            </a:cubicBezTo>
                            <a:cubicBezTo>
                              <a:pt x="16148" y="7177"/>
                              <a:pt x="16148" y="7177"/>
                              <a:pt x="16208" y="7177"/>
                            </a:cubicBezTo>
                            <a:cubicBezTo>
                              <a:pt x="16268" y="7177"/>
                              <a:pt x="16208" y="7177"/>
                              <a:pt x="16268" y="7177"/>
                            </a:cubicBezTo>
                            <a:lnTo>
                              <a:pt x="17942" y="5203"/>
                            </a:lnTo>
                            <a:cubicBezTo>
                              <a:pt x="17942" y="5203"/>
                              <a:pt x="17942" y="5144"/>
                              <a:pt x="17942" y="5144"/>
                            </a:cubicBezTo>
                            <a:cubicBezTo>
                              <a:pt x="17942" y="5144"/>
                              <a:pt x="17942" y="5084"/>
                              <a:pt x="17942" y="5084"/>
                            </a:cubicBezTo>
                            <a:cubicBezTo>
                              <a:pt x="17942" y="5084"/>
                              <a:pt x="17942" y="5024"/>
                              <a:pt x="17942" y="5024"/>
                            </a:cubicBezTo>
                            <a:cubicBezTo>
                              <a:pt x="17942" y="5024"/>
                              <a:pt x="17942" y="4964"/>
                              <a:pt x="17942" y="4964"/>
                            </a:cubicBezTo>
                            <a:cubicBezTo>
                              <a:pt x="17942" y="4904"/>
                              <a:pt x="17942" y="4844"/>
                              <a:pt x="17942" y="4725"/>
                            </a:cubicBezTo>
                            <a:cubicBezTo>
                              <a:pt x="17942" y="4665"/>
                              <a:pt x="17942" y="4605"/>
                              <a:pt x="17942" y="4545"/>
                            </a:cubicBezTo>
                            <a:cubicBezTo>
                              <a:pt x="17942" y="4486"/>
                              <a:pt x="17942" y="4426"/>
                              <a:pt x="17882" y="4366"/>
                            </a:cubicBezTo>
                            <a:cubicBezTo>
                              <a:pt x="17882" y="4306"/>
                              <a:pt x="17822" y="4246"/>
                              <a:pt x="17822" y="4187"/>
                            </a:cubicBezTo>
                            <a:lnTo>
                              <a:pt x="15251" y="7177"/>
                            </a:lnTo>
                            <a:moveTo>
                              <a:pt x="6758" y="17045"/>
                            </a:moveTo>
                            <a:lnTo>
                              <a:pt x="13516" y="9211"/>
                            </a:lnTo>
                            <a:lnTo>
                              <a:pt x="13756" y="9450"/>
                            </a:lnTo>
                            <a:lnTo>
                              <a:pt x="13995" y="9689"/>
                            </a:lnTo>
                            <a:lnTo>
                              <a:pt x="15311" y="8134"/>
                            </a:lnTo>
                            <a:cubicBezTo>
                              <a:pt x="15251" y="8134"/>
                              <a:pt x="15191" y="8134"/>
                              <a:pt x="15072" y="8134"/>
                            </a:cubicBezTo>
                            <a:cubicBezTo>
                              <a:pt x="15012" y="8134"/>
                              <a:pt x="14952" y="8134"/>
                              <a:pt x="14892" y="8134"/>
                            </a:cubicBezTo>
                            <a:cubicBezTo>
                              <a:pt x="14832" y="8134"/>
                              <a:pt x="14773" y="8134"/>
                              <a:pt x="14713" y="8074"/>
                            </a:cubicBezTo>
                            <a:cubicBezTo>
                              <a:pt x="14653" y="8014"/>
                              <a:pt x="14593" y="8014"/>
                              <a:pt x="14533" y="8014"/>
                            </a:cubicBezTo>
                            <a:lnTo>
                              <a:pt x="6758" y="17045"/>
                            </a:lnTo>
                            <a:cubicBezTo>
                              <a:pt x="6758" y="17045"/>
                              <a:pt x="6758" y="17045"/>
                              <a:pt x="6758" y="17045"/>
                            </a:cubicBezTo>
                            <a:cubicBezTo>
                              <a:pt x="6758" y="17045"/>
                              <a:pt x="6758" y="17045"/>
                              <a:pt x="6758" y="17045"/>
                            </a:cubicBezTo>
                            <a:cubicBezTo>
                              <a:pt x="6758" y="17045"/>
                              <a:pt x="6758" y="17045"/>
                              <a:pt x="6758" y="17045"/>
                            </a:cubicBezTo>
                            <a:cubicBezTo>
                              <a:pt x="6758" y="17045"/>
                              <a:pt x="6758" y="17045"/>
                              <a:pt x="6758" y="17045"/>
                            </a:cubicBezTo>
                            <a:moveTo>
                              <a:pt x="5742" y="18182"/>
                            </a:moveTo>
                            <a:lnTo>
                              <a:pt x="6100" y="17763"/>
                            </a:lnTo>
                            <a:lnTo>
                              <a:pt x="6100" y="17763"/>
                            </a:lnTo>
                            <a:lnTo>
                              <a:pt x="6100" y="17763"/>
                            </a:lnTo>
                            <a:lnTo>
                              <a:pt x="6100" y="17763"/>
                            </a:lnTo>
                            <a:lnTo>
                              <a:pt x="6100" y="17763"/>
                            </a:lnTo>
                            <a:lnTo>
                              <a:pt x="5742" y="18182"/>
                            </a:lnTo>
                            <a:moveTo>
                              <a:pt x="3529" y="20753"/>
                            </a:moveTo>
                            <a:cubicBezTo>
                              <a:pt x="3589" y="20753"/>
                              <a:pt x="3648" y="20813"/>
                              <a:pt x="3708" y="20813"/>
                            </a:cubicBezTo>
                            <a:cubicBezTo>
                              <a:pt x="3768" y="20813"/>
                              <a:pt x="3828" y="20813"/>
                              <a:pt x="3888" y="20813"/>
                            </a:cubicBezTo>
                            <a:cubicBezTo>
                              <a:pt x="3947" y="20813"/>
                              <a:pt x="4007" y="20813"/>
                              <a:pt x="4067" y="20813"/>
                            </a:cubicBezTo>
                            <a:cubicBezTo>
                              <a:pt x="4127" y="20813"/>
                              <a:pt x="4187" y="20813"/>
                              <a:pt x="4306" y="20753"/>
                            </a:cubicBezTo>
                            <a:cubicBezTo>
                              <a:pt x="4306" y="20753"/>
                              <a:pt x="4366" y="20753"/>
                              <a:pt x="4366" y="20753"/>
                            </a:cubicBezTo>
                            <a:cubicBezTo>
                              <a:pt x="4366" y="20753"/>
                              <a:pt x="4426" y="20753"/>
                              <a:pt x="4426" y="20753"/>
                            </a:cubicBezTo>
                            <a:cubicBezTo>
                              <a:pt x="4426" y="20753"/>
                              <a:pt x="4486" y="20753"/>
                              <a:pt x="4486" y="20753"/>
                            </a:cubicBezTo>
                            <a:cubicBezTo>
                              <a:pt x="4486" y="20753"/>
                              <a:pt x="4545" y="20753"/>
                              <a:pt x="4545" y="20753"/>
                            </a:cubicBezTo>
                            <a:lnTo>
                              <a:pt x="6100" y="18959"/>
                            </a:lnTo>
                            <a:lnTo>
                              <a:pt x="5562" y="18481"/>
                            </a:lnTo>
                            <a:lnTo>
                              <a:pt x="3529" y="20753"/>
                            </a:lnTo>
                            <a:moveTo>
                              <a:pt x="1914" y="22607"/>
                            </a:moveTo>
                            <a:cubicBezTo>
                              <a:pt x="1974" y="22607"/>
                              <a:pt x="2093" y="22607"/>
                              <a:pt x="2153" y="22607"/>
                            </a:cubicBezTo>
                            <a:cubicBezTo>
                              <a:pt x="2213" y="22607"/>
                              <a:pt x="2333" y="22607"/>
                              <a:pt x="2392" y="22547"/>
                            </a:cubicBezTo>
                            <a:cubicBezTo>
                              <a:pt x="2452" y="22547"/>
                              <a:pt x="2572" y="22547"/>
                              <a:pt x="2632" y="22488"/>
                            </a:cubicBezTo>
                            <a:cubicBezTo>
                              <a:pt x="2691" y="22488"/>
                              <a:pt x="2811" y="22488"/>
                              <a:pt x="2871" y="22428"/>
                            </a:cubicBezTo>
                            <a:lnTo>
                              <a:pt x="3589" y="21591"/>
                            </a:lnTo>
                            <a:cubicBezTo>
                              <a:pt x="3529" y="21591"/>
                              <a:pt x="3409" y="21591"/>
                              <a:pt x="3349" y="21591"/>
                            </a:cubicBezTo>
                            <a:cubicBezTo>
                              <a:pt x="3289" y="21591"/>
                              <a:pt x="3230" y="21591"/>
                              <a:pt x="3110" y="21591"/>
                            </a:cubicBezTo>
                            <a:cubicBezTo>
                              <a:pt x="2990" y="21591"/>
                              <a:pt x="2990" y="21591"/>
                              <a:pt x="2930" y="21531"/>
                            </a:cubicBezTo>
                            <a:cubicBezTo>
                              <a:pt x="2871" y="21531"/>
                              <a:pt x="2811" y="21471"/>
                              <a:pt x="2751" y="21471"/>
                            </a:cubicBezTo>
                            <a:lnTo>
                              <a:pt x="1914" y="22607"/>
                            </a:lnTo>
                            <a:moveTo>
                              <a:pt x="658" y="25658"/>
                            </a:moveTo>
                            <a:cubicBezTo>
                              <a:pt x="778" y="25658"/>
                              <a:pt x="897" y="25658"/>
                              <a:pt x="1017" y="25658"/>
                            </a:cubicBezTo>
                            <a:cubicBezTo>
                              <a:pt x="1136" y="25658"/>
                              <a:pt x="1256" y="25658"/>
                              <a:pt x="1375" y="25598"/>
                            </a:cubicBezTo>
                            <a:cubicBezTo>
                              <a:pt x="1495" y="25598"/>
                              <a:pt x="1615" y="25598"/>
                              <a:pt x="1735" y="25538"/>
                            </a:cubicBezTo>
                            <a:cubicBezTo>
                              <a:pt x="1854" y="25478"/>
                              <a:pt x="1974" y="25538"/>
                              <a:pt x="2093" y="25478"/>
                            </a:cubicBezTo>
                            <a:lnTo>
                              <a:pt x="1136" y="24700"/>
                            </a:lnTo>
                            <a:lnTo>
                              <a:pt x="2034" y="23684"/>
                            </a:lnTo>
                            <a:cubicBezTo>
                              <a:pt x="1974" y="23684"/>
                              <a:pt x="1854" y="23684"/>
                              <a:pt x="1794" y="23684"/>
                            </a:cubicBezTo>
                            <a:cubicBezTo>
                              <a:pt x="1735" y="23684"/>
                              <a:pt x="1615" y="23684"/>
                              <a:pt x="1555" y="23684"/>
                            </a:cubicBezTo>
                            <a:cubicBezTo>
                              <a:pt x="1495" y="23684"/>
                              <a:pt x="1375" y="23684"/>
                              <a:pt x="1316" y="23684"/>
                            </a:cubicBezTo>
                            <a:cubicBezTo>
                              <a:pt x="1256" y="23684"/>
                              <a:pt x="1136" y="23684"/>
                              <a:pt x="1076" y="23684"/>
                            </a:cubicBezTo>
                            <a:lnTo>
                              <a:pt x="0" y="24940"/>
                            </a:lnTo>
                            <a:lnTo>
                              <a:pt x="658" y="25658"/>
                            </a:lnTo>
                            <a:moveTo>
                              <a:pt x="57654" y="73862"/>
                            </a:moveTo>
                            <a:cubicBezTo>
                              <a:pt x="58791" y="74640"/>
                              <a:pt x="60106" y="75118"/>
                              <a:pt x="61601" y="75238"/>
                            </a:cubicBezTo>
                            <a:cubicBezTo>
                              <a:pt x="63037" y="75357"/>
                              <a:pt x="64652" y="75178"/>
                              <a:pt x="66207" y="74700"/>
                            </a:cubicBezTo>
                            <a:cubicBezTo>
                              <a:pt x="67822" y="74221"/>
                              <a:pt x="69436" y="73443"/>
                              <a:pt x="70991" y="72367"/>
                            </a:cubicBezTo>
                            <a:cubicBezTo>
                              <a:pt x="72546" y="71290"/>
                              <a:pt x="74041" y="69975"/>
                              <a:pt x="75417" y="68419"/>
                            </a:cubicBezTo>
                            <a:cubicBezTo>
                              <a:pt x="76793" y="66805"/>
                              <a:pt x="77929" y="65010"/>
                              <a:pt x="78766" y="63216"/>
                            </a:cubicBezTo>
                            <a:cubicBezTo>
                              <a:pt x="79603" y="61422"/>
                              <a:pt x="80082" y="59628"/>
                              <a:pt x="80321" y="57953"/>
                            </a:cubicBezTo>
                            <a:cubicBezTo>
                              <a:pt x="80501" y="56219"/>
                              <a:pt x="80441" y="54604"/>
                              <a:pt x="79962" y="53169"/>
                            </a:cubicBezTo>
                            <a:cubicBezTo>
                              <a:pt x="79544" y="51733"/>
                              <a:pt x="78766" y="50477"/>
                              <a:pt x="77630" y="49521"/>
                            </a:cubicBezTo>
                            <a:lnTo>
                              <a:pt x="73384" y="45813"/>
                            </a:lnTo>
                            <a:lnTo>
                              <a:pt x="72426" y="44975"/>
                            </a:lnTo>
                            <a:lnTo>
                              <a:pt x="70453" y="43241"/>
                            </a:lnTo>
                            <a:lnTo>
                              <a:pt x="69735" y="42583"/>
                            </a:lnTo>
                            <a:lnTo>
                              <a:pt x="23086" y="1615"/>
                            </a:lnTo>
                            <a:cubicBezTo>
                              <a:pt x="23086" y="1735"/>
                              <a:pt x="23086" y="1854"/>
                              <a:pt x="23086" y="1914"/>
                            </a:cubicBezTo>
                            <a:cubicBezTo>
                              <a:pt x="23086" y="2034"/>
                              <a:pt x="23086" y="2153"/>
                              <a:pt x="23086" y="2213"/>
                            </a:cubicBezTo>
                            <a:cubicBezTo>
                              <a:pt x="23086" y="2273"/>
                              <a:pt x="23086" y="2452"/>
                              <a:pt x="23086" y="2512"/>
                            </a:cubicBezTo>
                            <a:cubicBezTo>
                              <a:pt x="23086" y="2632"/>
                              <a:pt x="23086" y="2751"/>
                              <a:pt x="23086" y="2871"/>
                            </a:cubicBezTo>
                            <a:lnTo>
                              <a:pt x="68718" y="42822"/>
                            </a:lnTo>
                            <a:lnTo>
                              <a:pt x="69377" y="43420"/>
                            </a:lnTo>
                            <a:lnTo>
                              <a:pt x="71231" y="45035"/>
                            </a:lnTo>
                            <a:lnTo>
                              <a:pt x="72068" y="45753"/>
                            </a:lnTo>
                            <a:lnTo>
                              <a:pt x="77092" y="50178"/>
                            </a:lnTo>
                            <a:cubicBezTo>
                              <a:pt x="78108" y="51076"/>
                              <a:pt x="78826" y="52272"/>
                              <a:pt x="79245" y="53587"/>
                            </a:cubicBezTo>
                            <a:cubicBezTo>
                              <a:pt x="79663" y="54963"/>
                              <a:pt x="79723" y="56458"/>
                              <a:pt x="79544" y="58073"/>
                            </a:cubicBezTo>
                            <a:cubicBezTo>
                              <a:pt x="79364" y="59688"/>
                              <a:pt x="78886" y="61362"/>
                              <a:pt x="78108" y="63037"/>
                            </a:cubicBezTo>
                            <a:cubicBezTo>
                              <a:pt x="77331" y="64711"/>
                              <a:pt x="76314" y="66326"/>
                              <a:pt x="74998" y="67881"/>
                            </a:cubicBezTo>
                            <a:cubicBezTo>
                              <a:pt x="73742" y="69377"/>
                              <a:pt x="72307" y="70632"/>
                              <a:pt x="70872" y="71649"/>
                            </a:cubicBezTo>
                            <a:cubicBezTo>
                              <a:pt x="69377" y="72666"/>
                              <a:pt x="67881" y="73384"/>
                              <a:pt x="66386" y="73862"/>
                            </a:cubicBezTo>
                            <a:cubicBezTo>
                              <a:pt x="64891" y="74341"/>
                              <a:pt x="63396" y="74520"/>
                              <a:pt x="62020" y="74400"/>
                            </a:cubicBezTo>
                            <a:cubicBezTo>
                              <a:pt x="60645" y="74281"/>
                              <a:pt x="59389" y="73862"/>
                              <a:pt x="58312" y="73085"/>
                            </a:cubicBezTo>
                            <a:lnTo>
                              <a:pt x="57833" y="72726"/>
                            </a:lnTo>
                            <a:lnTo>
                              <a:pt x="51972" y="67762"/>
                            </a:lnTo>
                            <a:lnTo>
                              <a:pt x="51195" y="67104"/>
                            </a:lnTo>
                            <a:lnTo>
                              <a:pt x="47128" y="63635"/>
                            </a:lnTo>
                            <a:lnTo>
                              <a:pt x="46650" y="63216"/>
                            </a:lnTo>
                            <a:lnTo>
                              <a:pt x="2930" y="26196"/>
                            </a:lnTo>
                            <a:cubicBezTo>
                              <a:pt x="2811" y="26196"/>
                              <a:pt x="2691" y="26255"/>
                              <a:pt x="2632" y="26255"/>
                            </a:cubicBezTo>
                            <a:cubicBezTo>
                              <a:pt x="2512" y="26255"/>
                              <a:pt x="2392" y="26315"/>
                              <a:pt x="2333" y="26315"/>
                            </a:cubicBezTo>
                            <a:cubicBezTo>
                              <a:pt x="2273" y="26315"/>
                              <a:pt x="2093" y="26375"/>
                              <a:pt x="2034" y="26375"/>
                            </a:cubicBezTo>
                            <a:cubicBezTo>
                              <a:pt x="1914" y="26375"/>
                              <a:pt x="1794" y="26435"/>
                              <a:pt x="1735" y="26435"/>
                            </a:cubicBezTo>
                            <a:lnTo>
                              <a:pt x="46112" y="63994"/>
                            </a:lnTo>
                            <a:lnTo>
                              <a:pt x="46590" y="64412"/>
                            </a:lnTo>
                            <a:lnTo>
                              <a:pt x="51255" y="68360"/>
                            </a:lnTo>
                            <a:lnTo>
                              <a:pt x="52092" y="69078"/>
                            </a:lnTo>
                            <a:lnTo>
                              <a:pt x="57295" y="73503"/>
                            </a:lnTo>
                            <a:lnTo>
                              <a:pt x="57654" y="73862"/>
                            </a:lnTo>
                          </a:path>
                        </a:pathLst>
                      </a:custGeom>
                      <a:noFill/>
                      <a:ln w="6350" cap="flat">
                        <a:solidFill>
                          <a:schemeClr val="bg1">
                            <a:alpha val="40000"/>
                          </a:schemeClr>
                        </a:solidFill>
                        <a:prstDash val="solid"/>
                        <a:miter/>
                      </a:ln>
                    </p:spPr>
                    <p:txBody>
                      <a:bodyPr rtlCol="0" anchor="ctr"/>
                      <a:lstStyle/>
                      <a:p>
                        <a:endParaRPr lang="en-GB"/>
                      </a:p>
                    </p:txBody>
                  </p:sp>
                  <p:sp>
                    <p:nvSpPr>
                      <p:cNvPr id="7453" name="Vrije vorm: vorm 7452">
                        <a:extLst>
                          <a:ext uri="{FF2B5EF4-FFF2-40B4-BE49-F238E27FC236}">
                            <a16:creationId xmlns:a16="http://schemas.microsoft.com/office/drawing/2014/main" id="{9E61B7E0-08D2-4F4F-9065-D45D66A414BA}"/>
                          </a:ext>
                        </a:extLst>
                      </p:cNvPr>
                      <p:cNvSpPr/>
                      <p:nvPr/>
                    </p:nvSpPr>
                    <p:spPr>
                      <a:xfrm>
                        <a:off x="5310063" y="5409602"/>
                        <a:ext cx="64771" cy="58192"/>
                      </a:xfrm>
                      <a:custGeom>
                        <a:avLst/>
                        <a:gdLst>
                          <a:gd name="connsiteX0" fmla="*/ 12620 w 64771"/>
                          <a:gd name="connsiteY0" fmla="*/ 5503 h 58192"/>
                          <a:gd name="connsiteX1" fmla="*/ 12739 w 64771"/>
                          <a:gd name="connsiteY1" fmla="*/ 5263 h 58192"/>
                          <a:gd name="connsiteX2" fmla="*/ 12859 w 64771"/>
                          <a:gd name="connsiteY2" fmla="*/ 5024 h 58192"/>
                          <a:gd name="connsiteX3" fmla="*/ 12978 w 64771"/>
                          <a:gd name="connsiteY3" fmla="*/ 4785 h 58192"/>
                          <a:gd name="connsiteX4" fmla="*/ 13098 w 64771"/>
                          <a:gd name="connsiteY4" fmla="*/ 4545 h 58192"/>
                          <a:gd name="connsiteX5" fmla="*/ 11961 w 64771"/>
                          <a:gd name="connsiteY5" fmla="*/ 3529 h 58192"/>
                          <a:gd name="connsiteX6" fmla="*/ 11842 w 64771"/>
                          <a:gd name="connsiteY6" fmla="*/ 3768 h 58192"/>
                          <a:gd name="connsiteX7" fmla="*/ 11722 w 64771"/>
                          <a:gd name="connsiteY7" fmla="*/ 4007 h 58192"/>
                          <a:gd name="connsiteX8" fmla="*/ 11603 w 64771"/>
                          <a:gd name="connsiteY8" fmla="*/ 4246 h 58192"/>
                          <a:gd name="connsiteX9" fmla="*/ 11483 w 64771"/>
                          <a:gd name="connsiteY9" fmla="*/ 4486 h 58192"/>
                          <a:gd name="connsiteX10" fmla="*/ 12620 w 64771"/>
                          <a:gd name="connsiteY10" fmla="*/ 5503 h 58192"/>
                          <a:gd name="connsiteX11" fmla="*/ 59987 w 64771"/>
                          <a:gd name="connsiteY11" fmla="*/ 46470 h 58192"/>
                          <a:gd name="connsiteX12" fmla="*/ 60226 w 64771"/>
                          <a:gd name="connsiteY12" fmla="*/ 46351 h 58192"/>
                          <a:gd name="connsiteX13" fmla="*/ 60465 w 64771"/>
                          <a:gd name="connsiteY13" fmla="*/ 46231 h 58192"/>
                          <a:gd name="connsiteX14" fmla="*/ 60704 w 64771"/>
                          <a:gd name="connsiteY14" fmla="*/ 46111 h 58192"/>
                          <a:gd name="connsiteX15" fmla="*/ 60944 w 64771"/>
                          <a:gd name="connsiteY15" fmla="*/ 45992 h 58192"/>
                          <a:gd name="connsiteX16" fmla="*/ 55800 w 64771"/>
                          <a:gd name="connsiteY16" fmla="*/ 41506 h 58192"/>
                          <a:gd name="connsiteX17" fmla="*/ 55262 w 64771"/>
                          <a:gd name="connsiteY17" fmla="*/ 41088 h 58192"/>
                          <a:gd name="connsiteX18" fmla="*/ 54006 w 64771"/>
                          <a:gd name="connsiteY18" fmla="*/ 40011 h 58192"/>
                          <a:gd name="connsiteX19" fmla="*/ 53528 w 64771"/>
                          <a:gd name="connsiteY19" fmla="*/ 39592 h 58192"/>
                          <a:gd name="connsiteX20" fmla="*/ 13815 w 64771"/>
                          <a:gd name="connsiteY20" fmla="*/ 5203 h 58192"/>
                          <a:gd name="connsiteX21" fmla="*/ 13696 w 64771"/>
                          <a:gd name="connsiteY21" fmla="*/ 5443 h 58192"/>
                          <a:gd name="connsiteX22" fmla="*/ 13576 w 64771"/>
                          <a:gd name="connsiteY22" fmla="*/ 5682 h 58192"/>
                          <a:gd name="connsiteX23" fmla="*/ 13457 w 64771"/>
                          <a:gd name="connsiteY23" fmla="*/ 5921 h 58192"/>
                          <a:gd name="connsiteX24" fmla="*/ 13337 w 64771"/>
                          <a:gd name="connsiteY24" fmla="*/ 6160 h 58192"/>
                          <a:gd name="connsiteX25" fmla="*/ 52870 w 64771"/>
                          <a:gd name="connsiteY25" fmla="*/ 40370 h 58192"/>
                          <a:gd name="connsiteX26" fmla="*/ 53348 w 64771"/>
                          <a:gd name="connsiteY26" fmla="*/ 40789 h 58192"/>
                          <a:gd name="connsiteX27" fmla="*/ 54604 w 64771"/>
                          <a:gd name="connsiteY27" fmla="*/ 41865 h 58192"/>
                          <a:gd name="connsiteX28" fmla="*/ 55083 w 64771"/>
                          <a:gd name="connsiteY28" fmla="*/ 42284 h 58192"/>
                          <a:gd name="connsiteX29" fmla="*/ 59987 w 64771"/>
                          <a:gd name="connsiteY29" fmla="*/ 46470 h 58192"/>
                          <a:gd name="connsiteX30" fmla="*/ 61183 w 64771"/>
                          <a:gd name="connsiteY30" fmla="*/ 47487 h 58192"/>
                          <a:gd name="connsiteX31" fmla="*/ 61422 w 64771"/>
                          <a:gd name="connsiteY31" fmla="*/ 47368 h 58192"/>
                          <a:gd name="connsiteX32" fmla="*/ 61661 w 64771"/>
                          <a:gd name="connsiteY32" fmla="*/ 47248 h 58192"/>
                          <a:gd name="connsiteX33" fmla="*/ 61901 w 64771"/>
                          <a:gd name="connsiteY33" fmla="*/ 47128 h 58192"/>
                          <a:gd name="connsiteX34" fmla="*/ 62140 w 64771"/>
                          <a:gd name="connsiteY34" fmla="*/ 47008 h 58192"/>
                          <a:gd name="connsiteX35" fmla="*/ 61422 w 64771"/>
                          <a:gd name="connsiteY35" fmla="*/ 46410 h 58192"/>
                          <a:gd name="connsiteX36" fmla="*/ 61183 w 64771"/>
                          <a:gd name="connsiteY36" fmla="*/ 46530 h 58192"/>
                          <a:gd name="connsiteX37" fmla="*/ 60944 w 64771"/>
                          <a:gd name="connsiteY37" fmla="*/ 46650 h 58192"/>
                          <a:gd name="connsiteX38" fmla="*/ 60704 w 64771"/>
                          <a:gd name="connsiteY38" fmla="*/ 46769 h 58192"/>
                          <a:gd name="connsiteX39" fmla="*/ 60465 w 64771"/>
                          <a:gd name="connsiteY39" fmla="*/ 46889 h 58192"/>
                          <a:gd name="connsiteX40" fmla="*/ 61183 w 64771"/>
                          <a:gd name="connsiteY40" fmla="*/ 47487 h 58192"/>
                          <a:gd name="connsiteX41" fmla="*/ 1555 w 64771"/>
                          <a:gd name="connsiteY41" fmla="*/ 8732 h 58192"/>
                          <a:gd name="connsiteX42" fmla="*/ 4306 w 64771"/>
                          <a:gd name="connsiteY42" fmla="*/ 5562 h 58192"/>
                          <a:gd name="connsiteX43" fmla="*/ 4366 w 64771"/>
                          <a:gd name="connsiteY43" fmla="*/ 5024 h 58192"/>
                          <a:gd name="connsiteX44" fmla="*/ 4545 w 64771"/>
                          <a:gd name="connsiteY44" fmla="*/ 4486 h 58192"/>
                          <a:gd name="connsiteX45" fmla="*/ 4844 w 64771"/>
                          <a:gd name="connsiteY45" fmla="*/ 3947 h 58192"/>
                          <a:gd name="connsiteX46" fmla="*/ 5204 w 64771"/>
                          <a:gd name="connsiteY46" fmla="*/ 3409 h 58192"/>
                          <a:gd name="connsiteX47" fmla="*/ 5682 w 64771"/>
                          <a:gd name="connsiteY47" fmla="*/ 2930 h 58192"/>
                          <a:gd name="connsiteX48" fmla="*/ 6160 w 64771"/>
                          <a:gd name="connsiteY48" fmla="*/ 2572 h 58192"/>
                          <a:gd name="connsiteX49" fmla="*/ 6639 w 64771"/>
                          <a:gd name="connsiteY49" fmla="*/ 2333 h 58192"/>
                          <a:gd name="connsiteX50" fmla="*/ 7117 w 64771"/>
                          <a:gd name="connsiteY50" fmla="*/ 2153 h 58192"/>
                          <a:gd name="connsiteX51" fmla="*/ 7835 w 64771"/>
                          <a:gd name="connsiteY51" fmla="*/ 1316 h 58192"/>
                          <a:gd name="connsiteX52" fmla="*/ 10766 w 64771"/>
                          <a:gd name="connsiteY52" fmla="*/ 3888 h 58192"/>
                          <a:gd name="connsiteX53" fmla="*/ 10885 w 64771"/>
                          <a:gd name="connsiteY53" fmla="*/ 3648 h 58192"/>
                          <a:gd name="connsiteX54" fmla="*/ 11005 w 64771"/>
                          <a:gd name="connsiteY54" fmla="*/ 3409 h 58192"/>
                          <a:gd name="connsiteX55" fmla="*/ 11124 w 64771"/>
                          <a:gd name="connsiteY55" fmla="*/ 3170 h 58192"/>
                          <a:gd name="connsiteX56" fmla="*/ 11244 w 64771"/>
                          <a:gd name="connsiteY56" fmla="*/ 2930 h 58192"/>
                          <a:gd name="connsiteX57" fmla="*/ 8433 w 64771"/>
                          <a:gd name="connsiteY57" fmla="*/ 479 h 58192"/>
                          <a:gd name="connsiteX58" fmla="*/ 8194 w 64771"/>
                          <a:gd name="connsiteY58" fmla="*/ 239 h 58192"/>
                          <a:gd name="connsiteX59" fmla="*/ 7954 w 64771"/>
                          <a:gd name="connsiteY59" fmla="*/ 0 h 58192"/>
                          <a:gd name="connsiteX60" fmla="*/ 1196 w 64771"/>
                          <a:gd name="connsiteY60" fmla="*/ 7835 h 58192"/>
                          <a:gd name="connsiteX61" fmla="*/ 1316 w 64771"/>
                          <a:gd name="connsiteY61" fmla="*/ 8014 h 58192"/>
                          <a:gd name="connsiteX62" fmla="*/ 1376 w 64771"/>
                          <a:gd name="connsiteY62" fmla="*/ 8194 h 58192"/>
                          <a:gd name="connsiteX63" fmla="*/ 1436 w 64771"/>
                          <a:gd name="connsiteY63" fmla="*/ 8373 h 58192"/>
                          <a:gd name="connsiteX64" fmla="*/ 1555 w 64771"/>
                          <a:gd name="connsiteY64" fmla="*/ 8732 h 58192"/>
                          <a:gd name="connsiteX65" fmla="*/ 658 w 64771"/>
                          <a:gd name="connsiteY65" fmla="*/ 9868 h 58192"/>
                          <a:gd name="connsiteX66" fmla="*/ 658 w 64771"/>
                          <a:gd name="connsiteY66" fmla="*/ 9808 h 58192"/>
                          <a:gd name="connsiteX67" fmla="*/ 658 w 64771"/>
                          <a:gd name="connsiteY67" fmla="*/ 9749 h 58192"/>
                          <a:gd name="connsiteX68" fmla="*/ 658 w 64771"/>
                          <a:gd name="connsiteY68" fmla="*/ 9689 h 58192"/>
                          <a:gd name="connsiteX69" fmla="*/ 658 w 64771"/>
                          <a:gd name="connsiteY69" fmla="*/ 9629 h 58192"/>
                          <a:gd name="connsiteX70" fmla="*/ 658 w 64771"/>
                          <a:gd name="connsiteY70" fmla="*/ 9450 h 58192"/>
                          <a:gd name="connsiteX71" fmla="*/ 658 w 64771"/>
                          <a:gd name="connsiteY71" fmla="*/ 9270 h 58192"/>
                          <a:gd name="connsiteX72" fmla="*/ 598 w 64771"/>
                          <a:gd name="connsiteY72" fmla="*/ 9091 h 58192"/>
                          <a:gd name="connsiteX73" fmla="*/ 538 w 64771"/>
                          <a:gd name="connsiteY73" fmla="*/ 8911 h 58192"/>
                          <a:gd name="connsiteX74" fmla="*/ 180 w 64771"/>
                          <a:gd name="connsiteY74" fmla="*/ 9330 h 58192"/>
                          <a:gd name="connsiteX75" fmla="*/ 0 w 64771"/>
                          <a:gd name="connsiteY75" fmla="*/ 9510 h 58192"/>
                          <a:gd name="connsiteX76" fmla="*/ 658 w 64771"/>
                          <a:gd name="connsiteY76" fmla="*/ 9868 h 58192"/>
                          <a:gd name="connsiteX77" fmla="*/ 658 w 64771"/>
                          <a:gd name="connsiteY77" fmla="*/ 9868 h 58192"/>
                          <a:gd name="connsiteX78" fmla="*/ 2691 w 64771"/>
                          <a:gd name="connsiteY78" fmla="*/ 11603 h 58192"/>
                          <a:gd name="connsiteX79" fmla="*/ 2931 w 64771"/>
                          <a:gd name="connsiteY79" fmla="*/ 11483 h 58192"/>
                          <a:gd name="connsiteX80" fmla="*/ 3170 w 64771"/>
                          <a:gd name="connsiteY80" fmla="*/ 11364 h 58192"/>
                          <a:gd name="connsiteX81" fmla="*/ 3409 w 64771"/>
                          <a:gd name="connsiteY81" fmla="*/ 11244 h 58192"/>
                          <a:gd name="connsiteX82" fmla="*/ 3649 w 64771"/>
                          <a:gd name="connsiteY82" fmla="*/ 11124 h 58192"/>
                          <a:gd name="connsiteX83" fmla="*/ 1615 w 64771"/>
                          <a:gd name="connsiteY83" fmla="*/ 9390 h 58192"/>
                          <a:gd name="connsiteX84" fmla="*/ 1555 w 64771"/>
                          <a:gd name="connsiteY84" fmla="*/ 9629 h 58192"/>
                          <a:gd name="connsiteX85" fmla="*/ 1495 w 64771"/>
                          <a:gd name="connsiteY85" fmla="*/ 9868 h 58192"/>
                          <a:gd name="connsiteX86" fmla="*/ 1436 w 64771"/>
                          <a:gd name="connsiteY86" fmla="*/ 10107 h 58192"/>
                          <a:gd name="connsiteX87" fmla="*/ 1316 w 64771"/>
                          <a:gd name="connsiteY87" fmla="*/ 10347 h 58192"/>
                          <a:gd name="connsiteX88" fmla="*/ 2691 w 64771"/>
                          <a:gd name="connsiteY88" fmla="*/ 11603 h 58192"/>
                          <a:gd name="connsiteX89" fmla="*/ 4665 w 64771"/>
                          <a:gd name="connsiteY89" fmla="*/ 13337 h 58192"/>
                          <a:gd name="connsiteX90" fmla="*/ 4904 w 64771"/>
                          <a:gd name="connsiteY90" fmla="*/ 13218 h 58192"/>
                          <a:gd name="connsiteX91" fmla="*/ 5144 w 64771"/>
                          <a:gd name="connsiteY91" fmla="*/ 13098 h 58192"/>
                          <a:gd name="connsiteX92" fmla="*/ 5383 w 64771"/>
                          <a:gd name="connsiteY92" fmla="*/ 12978 h 58192"/>
                          <a:gd name="connsiteX93" fmla="*/ 5622 w 64771"/>
                          <a:gd name="connsiteY93" fmla="*/ 12859 h 58192"/>
                          <a:gd name="connsiteX94" fmla="*/ 4366 w 64771"/>
                          <a:gd name="connsiteY94" fmla="*/ 11782 h 58192"/>
                          <a:gd name="connsiteX95" fmla="*/ 4127 w 64771"/>
                          <a:gd name="connsiteY95" fmla="*/ 11902 h 58192"/>
                          <a:gd name="connsiteX96" fmla="*/ 3888 w 64771"/>
                          <a:gd name="connsiteY96" fmla="*/ 12021 h 58192"/>
                          <a:gd name="connsiteX97" fmla="*/ 3649 w 64771"/>
                          <a:gd name="connsiteY97" fmla="*/ 12141 h 58192"/>
                          <a:gd name="connsiteX98" fmla="*/ 3409 w 64771"/>
                          <a:gd name="connsiteY98" fmla="*/ 12260 h 58192"/>
                          <a:gd name="connsiteX99" fmla="*/ 4665 w 64771"/>
                          <a:gd name="connsiteY99" fmla="*/ 13337 h 58192"/>
                          <a:gd name="connsiteX100" fmla="*/ 58432 w 64771"/>
                          <a:gd name="connsiteY100" fmla="*/ 56757 h 58192"/>
                          <a:gd name="connsiteX101" fmla="*/ 64771 w 64771"/>
                          <a:gd name="connsiteY101" fmla="*/ 49341 h 58192"/>
                          <a:gd name="connsiteX102" fmla="*/ 62798 w 64771"/>
                          <a:gd name="connsiteY102" fmla="*/ 47667 h 58192"/>
                          <a:gd name="connsiteX103" fmla="*/ 62558 w 64771"/>
                          <a:gd name="connsiteY103" fmla="*/ 47726 h 58192"/>
                          <a:gd name="connsiteX104" fmla="*/ 62319 w 64771"/>
                          <a:gd name="connsiteY104" fmla="*/ 47786 h 58192"/>
                          <a:gd name="connsiteX105" fmla="*/ 62080 w 64771"/>
                          <a:gd name="connsiteY105" fmla="*/ 47906 h 58192"/>
                          <a:gd name="connsiteX106" fmla="*/ 61841 w 64771"/>
                          <a:gd name="connsiteY106" fmla="*/ 48025 h 58192"/>
                          <a:gd name="connsiteX107" fmla="*/ 63755 w 64771"/>
                          <a:gd name="connsiteY107" fmla="*/ 49700 h 58192"/>
                          <a:gd name="connsiteX108" fmla="*/ 58073 w 64771"/>
                          <a:gd name="connsiteY108" fmla="*/ 56339 h 58192"/>
                          <a:gd name="connsiteX109" fmla="*/ 58193 w 64771"/>
                          <a:gd name="connsiteY109" fmla="*/ 56458 h 58192"/>
                          <a:gd name="connsiteX110" fmla="*/ 58312 w 64771"/>
                          <a:gd name="connsiteY110" fmla="*/ 56578 h 58192"/>
                          <a:gd name="connsiteX111" fmla="*/ 58432 w 64771"/>
                          <a:gd name="connsiteY111" fmla="*/ 56697 h 58192"/>
                          <a:gd name="connsiteX112" fmla="*/ 58432 w 64771"/>
                          <a:gd name="connsiteY112" fmla="*/ 56757 h 58192"/>
                          <a:gd name="connsiteX113" fmla="*/ 54843 w 64771"/>
                          <a:gd name="connsiteY113" fmla="*/ 56219 h 58192"/>
                          <a:gd name="connsiteX114" fmla="*/ 54784 w 64771"/>
                          <a:gd name="connsiteY114" fmla="*/ 55920 h 58192"/>
                          <a:gd name="connsiteX115" fmla="*/ 54784 w 64771"/>
                          <a:gd name="connsiteY115" fmla="*/ 55621 h 58192"/>
                          <a:gd name="connsiteX116" fmla="*/ 54784 w 64771"/>
                          <a:gd name="connsiteY116" fmla="*/ 55262 h 58192"/>
                          <a:gd name="connsiteX117" fmla="*/ 54784 w 64771"/>
                          <a:gd name="connsiteY117" fmla="*/ 54903 h 58192"/>
                          <a:gd name="connsiteX118" fmla="*/ 48863 w 64771"/>
                          <a:gd name="connsiteY118" fmla="*/ 49820 h 58192"/>
                          <a:gd name="connsiteX119" fmla="*/ 48324 w 64771"/>
                          <a:gd name="connsiteY119" fmla="*/ 49341 h 58192"/>
                          <a:gd name="connsiteX120" fmla="*/ 46769 w 64771"/>
                          <a:gd name="connsiteY120" fmla="*/ 48025 h 58192"/>
                          <a:gd name="connsiteX121" fmla="*/ 46291 w 64771"/>
                          <a:gd name="connsiteY121" fmla="*/ 47607 h 58192"/>
                          <a:gd name="connsiteX122" fmla="*/ 6100 w 64771"/>
                          <a:gd name="connsiteY122" fmla="*/ 13218 h 58192"/>
                          <a:gd name="connsiteX123" fmla="*/ 5921 w 64771"/>
                          <a:gd name="connsiteY123" fmla="*/ 13337 h 58192"/>
                          <a:gd name="connsiteX124" fmla="*/ 5742 w 64771"/>
                          <a:gd name="connsiteY124" fmla="*/ 13457 h 58192"/>
                          <a:gd name="connsiteX125" fmla="*/ 5503 w 64771"/>
                          <a:gd name="connsiteY125" fmla="*/ 13576 h 58192"/>
                          <a:gd name="connsiteX126" fmla="*/ 5263 w 64771"/>
                          <a:gd name="connsiteY126" fmla="*/ 13696 h 58192"/>
                          <a:gd name="connsiteX127" fmla="*/ 45693 w 64771"/>
                          <a:gd name="connsiteY127" fmla="*/ 48264 h 58192"/>
                          <a:gd name="connsiteX128" fmla="*/ 46171 w 64771"/>
                          <a:gd name="connsiteY128" fmla="*/ 48683 h 58192"/>
                          <a:gd name="connsiteX129" fmla="*/ 47846 w 64771"/>
                          <a:gd name="connsiteY129" fmla="*/ 50118 h 58192"/>
                          <a:gd name="connsiteX130" fmla="*/ 48384 w 64771"/>
                          <a:gd name="connsiteY130" fmla="*/ 50597 h 58192"/>
                          <a:gd name="connsiteX131" fmla="*/ 54843 w 64771"/>
                          <a:gd name="connsiteY131" fmla="*/ 56219 h 58192"/>
                          <a:gd name="connsiteX132" fmla="*/ 56937 w 64771"/>
                          <a:gd name="connsiteY132" fmla="*/ 58013 h 58192"/>
                          <a:gd name="connsiteX133" fmla="*/ 57176 w 64771"/>
                          <a:gd name="connsiteY133" fmla="*/ 58193 h 58192"/>
                          <a:gd name="connsiteX134" fmla="*/ 57774 w 64771"/>
                          <a:gd name="connsiteY134" fmla="*/ 57475 h 58192"/>
                          <a:gd name="connsiteX135" fmla="*/ 57654 w 64771"/>
                          <a:gd name="connsiteY135" fmla="*/ 57355 h 58192"/>
                          <a:gd name="connsiteX136" fmla="*/ 57535 w 64771"/>
                          <a:gd name="connsiteY136" fmla="*/ 57236 h 58192"/>
                          <a:gd name="connsiteX137" fmla="*/ 57415 w 64771"/>
                          <a:gd name="connsiteY137" fmla="*/ 57116 h 58192"/>
                          <a:gd name="connsiteX138" fmla="*/ 57295 w 64771"/>
                          <a:gd name="connsiteY138" fmla="*/ 56996 h 58192"/>
                          <a:gd name="connsiteX139" fmla="*/ 57295 w 64771"/>
                          <a:gd name="connsiteY139" fmla="*/ 57056 h 58192"/>
                          <a:gd name="connsiteX140" fmla="*/ 55561 w 64771"/>
                          <a:gd name="connsiteY140" fmla="*/ 55561 h 58192"/>
                          <a:gd name="connsiteX141" fmla="*/ 55621 w 64771"/>
                          <a:gd name="connsiteY141" fmla="*/ 55920 h 58192"/>
                          <a:gd name="connsiteX142" fmla="*/ 55681 w 64771"/>
                          <a:gd name="connsiteY142" fmla="*/ 56279 h 58192"/>
                          <a:gd name="connsiteX143" fmla="*/ 55800 w 64771"/>
                          <a:gd name="connsiteY143" fmla="*/ 56638 h 58192"/>
                          <a:gd name="connsiteX144" fmla="*/ 55920 w 64771"/>
                          <a:gd name="connsiteY144" fmla="*/ 56996 h 58192"/>
                          <a:gd name="connsiteX145" fmla="*/ 55980 w 64771"/>
                          <a:gd name="connsiteY145" fmla="*/ 57056 h 58192"/>
                          <a:gd name="connsiteX146" fmla="*/ 56040 w 64771"/>
                          <a:gd name="connsiteY146" fmla="*/ 57116 h 58192"/>
                          <a:gd name="connsiteX147" fmla="*/ 56099 w 64771"/>
                          <a:gd name="connsiteY147" fmla="*/ 57176 h 58192"/>
                          <a:gd name="connsiteX148" fmla="*/ 56159 w 64771"/>
                          <a:gd name="connsiteY148" fmla="*/ 57236 h 58192"/>
                          <a:gd name="connsiteX149" fmla="*/ 56937 w 64771"/>
                          <a:gd name="connsiteY149" fmla="*/ 58013 h 5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771" h="58192">
                            <a:moveTo>
                              <a:pt x="12620" y="5503"/>
                            </a:moveTo>
                            <a:cubicBezTo>
                              <a:pt x="12679" y="5443"/>
                              <a:pt x="12739" y="5383"/>
                              <a:pt x="12739" y="5263"/>
                            </a:cubicBezTo>
                            <a:cubicBezTo>
                              <a:pt x="12799" y="5203"/>
                              <a:pt x="12859" y="5143"/>
                              <a:pt x="12859" y="5024"/>
                            </a:cubicBezTo>
                            <a:cubicBezTo>
                              <a:pt x="12919" y="4964"/>
                              <a:pt x="12978" y="4904"/>
                              <a:pt x="12978" y="4785"/>
                            </a:cubicBezTo>
                            <a:cubicBezTo>
                              <a:pt x="13038" y="4725"/>
                              <a:pt x="13098" y="4665"/>
                              <a:pt x="13098" y="4545"/>
                            </a:cubicBezTo>
                            <a:lnTo>
                              <a:pt x="11961" y="3529"/>
                            </a:lnTo>
                            <a:cubicBezTo>
                              <a:pt x="11902" y="3589"/>
                              <a:pt x="11902" y="3648"/>
                              <a:pt x="11842" y="3768"/>
                            </a:cubicBezTo>
                            <a:cubicBezTo>
                              <a:pt x="11782" y="3828"/>
                              <a:pt x="11782" y="3888"/>
                              <a:pt x="11722" y="4007"/>
                            </a:cubicBezTo>
                            <a:cubicBezTo>
                              <a:pt x="11662" y="4067"/>
                              <a:pt x="11603" y="4127"/>
                              <a:pt x="11603" y="4246"/>
                            </a:cubicBezTo>
                            <a:cubicBezTo>
                              <a:pt x="11543" y="4306"/>
                              <a:pt x="11483" y="4366"/>
                              <a:pt x="11483" y="4486"/>
                            </a:cubicBezTo>
                            <a:lnTo>
                              <a:pt x="12620" y="5503"/>
                            </a:lnTo>
                            <a:moveTo>
                              <a:pt x="59987" y="46470"/>
                            </a:moveTo>
                            <a:cubicBezTo>
                              <a:pt x="60047" y="46410"/>
                              <a:pt x="60107" y="46351"/>
                              <a:pt x="60226" y="46351"/>
                            </a:cubicBezTo>
                            <a:cubicBezTo>
                              <a:pt x="60286" y="46291"/>
                              <a:pt x="60346" y="46231"/>
                              <a:pt x="60465" y="46231"/>
                            </a:cubicBezTo>
                            <a:cubicBezTo>
                              <a:pt x="60525" y="46171"/>
                              <a:pt x="60585" y="46171"/>
                              <a:pt x="60704" y="46111"/>
                            </a:cubicBezTo>
                            <a:cubicBezTo>
                              <a:pt x="60764" y="46052"/>
                              <a:pt x="60824" y="46052"/>
                              <a:pt x="60944" y="45992"/>
                            </a:cubicBezTo>
                            <a:lnTo>
                              <a:pt x="55800" y="41506"/>
                            </a:lnTo>
                            <a:lnTo>
                              <a:pt x="55262" y="41088"/>
                            </a:lnTo>
                            <a:lnTo>
                              <a:pt x="54006" y="40011"/>
                            </a:lnTo>
                            <a:lnTo>
                              <a:pt x="53528" y="39592"/>
                            </a:lnTo>
                            <a:lnTo>
                              <a:pt x="13815" y="5203"/>
                            </a:lnTo>
                            <a:cubicBezTo>
                              <a:pt x="13756" y="5263"/>
                              <a:pt x="13696" y="5323"/>
                              <a:pt x="13696" y="5443"/>
                            </a:cubicBezTo>
                            <a:cubicBezTo>
                              <a:pt x="13696" y="5562"/>
                              <a:pt x="13576" y="5562"/>
                              <a:pt x="13576" y="5682"/>
                            </a:cubicBezTo>
                            <a:cubicBezTo>
                              <a:pt x="13516" y="5742"/>
                              <a:pt x="13457" y="5801"/>
                              <a:pt x="13457" y="5921"/>
                            </a:cubicBezTo>
                            <a:cubicBezTo>
                              <a:pt x="13397" y="5981"/>
                              <a:pt x="13337" y="6041"/>
                              <a:pt x="13337" y="6160"/>
                            </a:cubicBezTo>
                            <a:lnTo>
                              <a:pt x="52870" y="40370"/>
                            </a:lnTo>
                            <a:lnTo>
                              <a:pt x="53348" y="40789"/>
                            </a:lnTo>
                            <a:lnTo>
                              <a:pt x="54604" y="41865"/>
                            </a:lnTo>
                            <a:lnTo>
                              <a:pt x="55083" y="42284"/>
                            </a:lnTo>
                            <a:lnTo>
                              <a:pt x="59987" y="46470"/>
                            </a:lnTo>
                            <a:moveTo>
                              <a:pt x="61183" y="47487"/>
                            </a:moveTo>
                            <a:cubicBezTo>
                              <a:pt x="61243" y="47427"/>
                              <a:pt x="61362" y="47427"/>
                              <a:pt x="61422" y="47368"/>
                            </a:cubicBezTo>
                            <a:cubicBezTo>
                              <a:pt x="61482" y="47308"/>
                              <a:pt x="61602" y="47308"/>
                              <a:pt x="61661" y="47248"/>
                            </a:cubicBezTo>
                            <a:cubicBezTo>
                              <a:pt x="61721" y="47188"/>
                              <a:pt x="61841" y="47188"/>
                              <a:pt x="61901" y="47128"/>
                            </a:cubicBezTo>
                            <a:cubicBezTo>
                              <a:pt x="61961" y="47068"/>
                              <a:pt x="62080" y="47068"/>
                              <a:pt x="62140" y="47008"/>
                            </a:cubicBezTo>
                            <a:lnTo>
                              <a:pt x="61422" y="46410"/>
                            </a:lnTo>
                            <a:cubicBezTo>
                              <a:pt x="61362" y="46470"/>
                              <a:pt x="61302" y="46470"/>
                              <a:pt x="61183" y="46530"/>
                            </a:cubicBezTo>
                            <a:cubicBezTo>
                              <a:pt x="61123" y="46590"/>
                              <a:pt x="61063" y="46590"/>
                              <a:pt x="60944" y="46650"/>
                            </a:cubicBezTo>
                            <a:cubicBezTo>
                              <a:pt x="60824" y="46709"/>
                              <a:pt x="60824" y="46709"/>
                              <a:pt x="60704" y="46769"/>
                            </a:cubicBezTo>
                            <a:cubicBezTo>
                              <a:pt x="60645" y="46829"/>
                              <a:pt x="60585" y="46829"/>
                              <a:pt x="60465" y="46889"/>
                            </a:cubicBezTo>
                            <a:lnTo>
                              <a:pt x="61183" y="47487"/>
                            </a:lnTo>
                            <a:moveTo>
                              <a:pt x="1555" y="8732"/>
                            </a:moveTo>
                            <a:lnTo>
                              <a:pt x="4306" y="5562"/>
                            </a:lnTo>
                            <a:cubicBezTo>
                              <a:pt x="4306" y="5383"/>
                              <a:pt x="4366" y="5203"/>
                              <a:pt x="4366" y="5024"/>
                            </a:cubicBezTo>
                            <a:cubicBezTo>
                              <a:pt x="4426" y="4844"/>
                              <a:pt x="4486" y="4665"/>
                              <a:pt x="4545" y="4486"/>
                            </a:cubicBezTo>
                            <a:cubicBezTo>
                              <a:pt x="4605" y="4306"/>
                              <a:pt x="4725" y="4127"/>
                              <a:pt x="4844" y="3947"/>
                            </a:cubicBezTo>
                            <a:cubicBezTo>
                              <a:pt x="4964" y="3768"/>
                              <a:pt x="5084" y="3589"/>
                              <a:pt x="5204" y="3409"/>
                            </a:cubicBezTo>
                            <a:cubicBezTo>
                              <a:pt x="5323" y="3230"/>
                              <a:pt x="5503" y="3110"/>
                              <a:pt x="5682" y="2930"/>
                            </a:cubicBezTo>
                            <a:cubicBezTo>
                              <a:pt x="5861" y="2751"/>
                              <a:pt x="5981" y="2691"/>
                              <a:pt x="6160" y="2572"/>
                            </a:cubicBezTo>
                            <a:cubicBezTo>
                              <a:pt x="6340" y="2452"/>
                              <a:pt x="6519" y="2392"/>
                              <a:pt x="6639" y="2333"/>
                            </a:cubicBezTo>
                            <a:cubicBezTo>
                              <a:pt x="6818" y="2273"/>
                              <a:pt x="6998" y="2213"/>
                              <a:pt x="7117" y="2153"/>
                            </a:cubicBezTo>
                            <a:lnTo>
                              <a:pt x="7835" y="1316"/>
                            </a:lnTo>
                            <a:lnTo>
                              <a:pt x="10766" y="3888"/>
                            </a:lnTo>
                            <a:cubicBezTo>
                              <a:pt x="10825" y="3828"/>
                              <a:pt x="10885" y="3768"/>
                              <a:pt x="10885" y="3648"/>
                            </a:cubicBezTo>
                            <a:cubicBezTo>
                              <a:pt x="10885" y="3529"/>
                              <a:pt x="10945" y="3529"/>
                              <a:pt x="11005" y="3409"/>
                            </a:cubicBezTo>
                            <a:cubicBezTo>
                              <a:pt x="11065" y="3349"/>
                              <a:pt x="11065" y="3289"/>
                              <a:pt x="11124" y="3170"/>
                            </a:cubicBezTo>
                            <a:cubicBezTo>
                              <a:pt x="11184" y="3050"/>
                              <a:pt x="11184" y="3050"/>
                              <a:pt x="11244" y="2930"/>
                            </a:cubicBezTo>
                            <a:lnTo>
                              <a:pt x="8433" y="479"/>
                            </a:lnTo>
                            <a:lnTo>
                              <a:pt x="8194" y="239"/>
                            </a:lnTo>
                            <a:lnTo>
                              <a:pt x="7954" y="0"/>
                            </a:lnTo>
                            <a:lnTo>
                              <a:pt x="1196" y="7835"/>
                            </a:lnTo>
                            <a:cubicBezTo>
                              <a:pt x="1256" y="7895"/>
                              <a:pt x="1256" y="7954"/>
                              <a:pt x="1316" y="8014"/>
                            </a:cubicBezTo>
                            <a:cubicBezTo>
                              <a:pt x="1316" y="8074"/>
                              <a:pt x="1376" y="8134"/>
                              <a:pt x="1376" y="8194"/>
                            </a:cubicBezTo>
                            <a:cubicBezTo>
                              <a:pt x="1376" y="8253"/>
                              <a:pt x="1436" y="8313"/>
                              <a:pt x="1436" y="8373"/>
                            </a:cubicBezTo>
                            <a:cubicBezTo>
                              <a:pt x="1495" y="8612"/>
                              <a:pt x="1495" y="8672"/>
                              <a:pt x="1555" y="8732"/>
                            </a:cubicBezTo>
                            <a:moveTo>
                              <a:pt x="658" y="9868"/>
                            </a:moveTo>
                            <a:cubicBezTo>
                              <a:pt x="658" y="9868"/>
                              <a:pt x="658" y="9808"/>
                              <a:pt x="658" y="9808"/>
                            </a:cubicBezTo>
                            <a:cubicBezTo>
                              <a:pt x="658" y="9808"/>
                              <a:pt x="658" y="9749"/>
                              <a:pt x="658" y="9749"/>
                            </a:cubicBezTo>
                            <a:cubicBezTo>
                              <a:pt x="658" y="9749"/>
                              <a:pt x="658" y="9689"/>
                              <a:pt x="658" y="9689"/>
                            </a:cubicBezTo>
                            <a:cubicBezTo>
                              <a:pt x="658" y="9689"/>
                              <a:pt x="658" y="9629"/>
                              <a:pt x="658" y="9629"/>
                            </a:cubicBezTo>
                            <a:cubicBezTo>
                              <a:pt x="658" y="9569"/>
                              <a:pt x="658" y="9510"/>
                              <a:pt x="658" y="9450"/>
                            </a:cubicBezTo>
                            <a:cubicBezTo>
                              <a:pt x="658" y="9390"/>
                              <a:pt x="658" y="9330"/>
                              <a:pt x="658" y="9270"/>
                            </a:cubicBezTo>
                            <a:cubicBezTo>
                              <a:pt x="658" y="9211"/>
                              <a:pt x="658" y="9151"/>
                              <a:pt x="598" y="9091"/>
                            </a:cubicBezTo>
                            <a:cubicBezTo>
                              <a:pt x="598" y="9031"/>
                              <a:pt x="538" y="8971"/>
                              <a:pt x="538" y="8911"/>
                            </a:cubicBezTo>
                            <a:lnTo>
                              <a:pt x="180" y="9330"/>
                            </a:lnTo>
                            <a:lnTo>
                              <a:pt x="0" y="9510"/>
                            </a:lnTo>
                            <a:lnTo>
                              <a:pt x="658" y="9868"/>
                            </a:lnTo>
                            <a:lnTo>
                              <a:pt x="658" y="9868"/>
                            </a:lnTo>
                            <a:moveTo>
                              <a:pt x="2691" y="11603"/>
                            </a:moveTo>
                            <a:cubicBezTo>
                              <a:pt x="2751" y="11543"/>
                              <a:pt x="2871" y="11543"/>
                              <a:pt x="2931" y="11483"/>
                            </a:cubicBezTo>
                            <a:cubicBezTo>
                              <a:pt x="2990" y="11423"/>
                              <a:pt x="3110" y="11423"/>
                              <a:pt x="3170" y="11364"/>
                            </a:cubicBezTo>
                            <a:cubicBezTo>
                              <a:pt x="3230" y="11304"/>
                              <a:pt x="3349" y="11304"/>
                              <a:pt x="3409" y="11244"/>
                            </a:cubicBezTo>
                            <a:cubicBezTo>
                              <a:pt x="3469" y="11184"/>
                              <a:pt x="3589" y="11124"/>
                              <a:pt x="3649" y="11124"/>
                            </a:cubicBezTo>
                            <a:lnTo>
                              <a:pt x="1615" y="9390"/>
                            </a:lnTo>
                            <a:cubicBezTo>
                              <a:pt x="1615" y="9450"/>
                              <a:pt x="1615" y="9569"/>
                              <a:pt x="1555" y="9629"/>
                            </a:cubicBezTo>
                            <a:cubicBezTo>
                              <a:pt x="1555" y="9689"/>
                              <a:pt x="1495" y="9808"/>
                              <a:pt x="1495" y="9868"/>
                            </a:cubicBezTo>
                            <a:cubicBezTo>
                              <a:pt x="1495" y="9928"/>
                              <a:pt x="1436" y="10048"/>
                              <a:pt x="1436" y="10107"/>
                            </a:cubicBezTo>
                            <a:cubicBezTo>
                              <a:pt x="1436" y="10167"/>
                              <a:pt x="1376" y="10287"/>
                              <a:pt x="1316" y="10347"/>
                            </a:cubicBezTo>
                            <a:lnTo>
                              <a:pt x="2691" y="11603"/>
                            </a:lnTo>
                            <a:moveTo>
                              <a:pt x="4665" y="13337"/>
                            </a:moveTo>
                            <a:cubicBezTo>
                              <a:pt x="4725" y="13277"/>
                              <a:pt x="4785" y="13218"/>
                              <a:pt x="4904" y="13218"/>
                            </a:cubicBezTo>
                            <a:cubicBezTo>
                              <a:pt x="4964" y="13158"/>
                              <a:pt x="5024" y="13098"/>
                              <a:pt x="5144" y="13098"/>
                            </a:cubicBezTo>
                            <a:cubicBezTo>
                              <a:pt x="5204" y="13038"/>
                              <a:pt x="5263" y="12978"/>
                              <a:pt x="5383" y="12978"/>
                            </a:cubicBezTo>
                            <a:cubicBezTo>
                              <a:pt x="5443" y="12919"/>
                              <a:pt x="5503" y="12859"/>
                              <a:pt x="5622" y="12859"/>
                            </a:cubicBezTo>
                            <a:lnTo>
                              <a:pt x="4366" y="11782"/>
                            </a:lnTo>
                            <a:cubicBezTo>
                              <a:pt x="4306" y="11842"/>
                              <a:pt x="4246" y="11902"/>
                              <a:pt x="4127" y="11902"/>
                            </a:cubicBezTo>
                            <a:cubicBezTo>
                              <a:pt x="4067" y="11961"/>
                              <a:pt x="4007" y="12021"/>
                              <a:pt x="3888" y="12021"/>
                            </a:cubicBezTo>
                            <a:cubicBezTo>
                              <a:pt x="3828" y="12081"/>
                              <a:pt x="3768" y="12141"/>
                              <a:pt x="3649" y="12141"/>
                            </a:cubicBezTo>
                            <a:cubicBezTo>
                              <a:pt x="3589" y="12201"/>
                              <a:pt x="3529" y="12201"/>
                              <a:pt x="3409" y="12260"/>
                            </a:cubicBezTo>
                            <a:lnTo>
                              <a:pt x="4665" y="13337"/>
                            </a:lnTo>
                            <a:moveTo>
                              <a:pt x="58432" y="56757"/>
                            </a:moveTo>
                            <a:lnTo>
                              <a:pt x="64771" y="49341"/>
                            </a:lnTo>
                            <a:lnTo>
                              <a:pt x="62798" y="47667"/>
                            </a:lnTo>
                            <a:cubicBezTo>
                              <a:pt x="62738" y="47667"/>
                              <a:pt x="62618" y="47726"/>
                              <a:pt x="62558" y="47726"/>
                            </a:cubicBezTo>
                            <a:cubicBezTo>
                              <a:pt x="62499" y="47726"/>
                              <a:pt x="62379" y="47786"/>
                              <a:pt x="62319" y="47786"/>
                            </a:cubicBezTo>
                            <a:cubicBezTo>
                              <a:pt x="62260" y="47786"/>
                              <a:pt x="62140" y="47846"/>
                              <a:pt x="62080" y="47906"/>
                            </a:cubicBezTo>
                            <a:cubicBezTo>
                              <a:pt x="62020" y="47966"/>
                              <a:pt x="61901" y="47966"/>
                              <a:pt x="61841" y="48025"/>
                            </a:cubicBezTo>
                            <a:lnTo>
                              <a:pt x="63755" y="49700"/>
                            </a:lnTo>
                            <a:lnTo>
                              <a:pt x="58073" y="56339"/>
                            </a:lnTo>
                            <a:cubicBezTo>
                              <a:pt x="58133" y="56398"/>
                              <a:pt x="58133" y="56398"/>
                              <a:pt x="58193" y="56458"/>
                            </a:cubicBezTo>
                            <a:cubicBezTo>
                              <a:pt x="58253" y="56518"/>
                              <a:pt x="58253" y="56518"/>
                              <a:pt x="58312" y="56578"/>
                            </a:cubicBezTo>
                            <a:cubicBezTo>
                              <a:pt x="58372" y="56638"/>
                              <a:pt x="58372" y="56638"/>
                              <a:pt x="58432" y="56697"/>
                            </a:cubicBezTo>
                            <a:cubicBezTo>
                              <a:pt x="58492" y="56757"/>
                              <a:pt x="58372" y="56697"/>
                              <a:pt x="58432" y="56757"/>
                            </a:cubicBezTo>
                            <a:moveTo>
                              <a:pt x="54843" y="56219"/>
                            </a:moveTo>
                            <a:cubicBezTo>
                              <a:pt x="54843" y="56099"/>
                              <a:pt x="54843" y="55979"/>
                              <a:pt x="54784" y="55920"/>
                            </a:cubicBezTo>
                            <a:cubicBezTo>
                              <a:pt x="54784" y="55800"/>
                              <a:pt x="54784" y="55681"/>
                              <a:pt x="54784" y="55621"/>
                            </a:cubicBezTo>
                            <a:cubicBezTo>
                              <a:pt x="54784" y="55561"/>
                              <a:pt x="54784" y="55382"/>
                              <a:pt x="54784" y="55262"/>
                            </a:cubicBezTo>
                            <a:cubicBezTo>
                              <a:pt x="54784" y="55142"/>
                              <a:pt x="54784" y="55023"/>
                              <a:pt x="54784" y="54903"/>
                            </a:cubicBezTo>
                            <a:lnTo>
                              <a:pt x="48863" y="49820"/>
                            </a:lnTo>
                            <a:lnTo>
                              <a:pt x="48324" y="49341"/>
                            </a:lnTo>
                            <a:lnTo>
                              <a:pt x="46769" y="48025"/>
                            </a:lnTo>
                            <a:lnTo>
                              <a:pt x="46291" y="47607"/>
                            </a:lnTo>
                            <a:lnTo>
                              <a:pt x="6100" y="13218"/>
                            </a:lnTo>
                            <a:cubicBezTo>
                              <a:pt x="6041" y="13277"/>
                              <a:pt x="5981" y="13337"/>
                              <a:pt x="5921" y="13337"/>
                            </a:cubicBezTo>
                            <a:cubicBezTo>
                              <a:pt x="5861" y="13397"/>
                              <a:pt x="5801" y="13457"/>
                              <a:pt x="5742" y="13457"/>
                            </a:cubicBezTo>
                            <a:cubicBezTo>
                              <a:pt x="5682" y="13516"/>
                              <a:pt x="5622" y="13576"/>
                              <a:pt x="5503" y="13576"/>
                            </a:cubicBezTo>
                            <a:cubicBezTo>
                              <a:pt x="5383" y="13576"/>
                              <a:pt x="5383" y="13696"/>
                              <a:pt x="5263" y="13696"/>
                            </a:cubicBezTo>
                            <a:lnTo>
                              <a:pt x="45693" y="48264"/>
                            </a:lnTo>
                            <a:lnTo>
                              <a:pt x="46171" y="48683"/>
                            </a:lnTo>
                            <a:lnTo>
                              <a:pt x="47846" y="50118"/>
                            </a:lnTo>
                            <a:lnTo>
                              <a:pt x="48384" y="50597"/>
                            </a:lnTo>
                            <a:lnTo>
                              <a:pt x="54843" y="56219"/>
                            </a:lnTo>
                            <a:moveTo>
                              <a:pt x="56937" y="58013"/>
                            </a:moveTo>
                            <a:lnTo>
                              <a:pt x="57176" y="58193"/>
                            </a:lnTo>
                            <a:lnTo>
                              <a:pt x="57774" y="57475"/>
                            </a:lnTo>
                            <a:cubicBezTo>
                              <a:pt x="57714" y="57415"/>
                              <a:pt x="57714" y="57415"/>
                              <a:pt x="57654" y="57355"/>
                            </a:cubicBezTo>
                            <a:cubicBezTo>
                              <a:pt x="57594" y="57295"/>
                              <a:pt x="57594" y="57295"/>
                              <a:pt x="57535" y="57236"/>
                            </a:cubicBezTo>
                            <a:cubicBezTo>
                              <a:pt x="57475" y="57176"/>
                              <a:pt x="57475" y="57176"/>
                              <a:pt x="57415" y="57116"/>
                            </a:cubicBezTo>
                            <a:cubicBezTo>
                              <a:pt x="57355" y="57056"/>
                              <a:pt x="57355" y="57056"/>
                              <a:pt x="57295" y="56996"/>
                            </a:cubicBezTo>
                            <a:lnTo>
                              <a:pt x="57295" y="57056"/>
                            </a:lnTo>
                            <a:lnTo>
                              <a:pt x="55561" y="55561"/>
                            </a:lnTo>
                            <a:cubicBezTo>
                              <a:pt x="55561" y="55681"/>
                              <a:pt x="55621" y="55800"/>
                              <a:pt x="55621" y="55920"/>
                            </a:cubicBezTo>
                            <a:cubicBezTo>
                              <a:pt x="55621" y="56039"/>
                              <a:pt x="55681" y="56159"/>
                              <a:pt x="55681" y="56279"/>
                            </a:cubicBezTo>
                            <a:cubicBezTo>
                              <a:pt x="55740" y="56398"/>
                              <a:pt x="55740" y="56518"/>
                              <a:pt x="55800" y="56638"/>
                            </a:cubicBezTo>
                            <a:cubicBezTo>
                              <a:pt x="55860" y="56757"/>
                              <a:pt x="55860" y="56877"/>
                              <a:pt x="55920" y="56996"/>
                            </a:cubicBezTo>
                            <a:cubicBezTo>
                              <a:pt x="55920" y="56996"/>
                              <a:pt x="55920" y="57056"/>
                              <a:pt x="55980" y="57056"/>
                            </a:cubicBezTo>
                            <a:cubicBezTo>
                              <a:pt x="55980" y="57056"/>
                              <a:pt x="55980" y="57116"/>
                              <a:pt x="56040" y="57116"/>
                            </a:cubicBezTo>
                            <a:cubicBezTo>
                              <a:pt x="56040" y="57116"/>
                              <a:pt x="56040" y="57176"/>
                              <a:pt x="56099" y="57176"/>
                            </a:cubicBezTo>
                            <a:cubicBezTo>
                              <a:pt x="56099" y="57176"/>
                              <a:pt x="56099" y="57236"/>
                              <a:pt x="56159" y="57236"/>
                            </a:cubicBezTo>
                            <a:lnTo>
                              <a:pt x="56937" y="58013"/>
                            </a:lnTo>
                          </a:path>
                        </a:pathLst>
                      </a:custGeom>
                      <a:noFill/>
                      <a:ln w="6350" cap="flat">
                        <a:solidFill>
                          <a:schemeClr val="bg1">
                            <a:alpha val="40000"/>
                          </a:schemeClr>
                        </a:solidFill>
                        <a:prstDash val="solid"/>
                        <a:miter/>
                      </a:ln>
                    </p:spPr>
                    <p:txBody>
                      <a:bodyPr rtlCol="0" anchor="ctr"/>
                      <a:lstStyle/>
                      <a:p>
                        <a:endParaRPr lang="en-GB"/>
                      </a:p>
                    </p:txBody>
                  </p:sp>
                  <p:sp>
                    <p:nvSpPr>
                      <p:cNvPr id="7454" name="Vrije vorm: vorm 7453">
                        <a:extLst>
                          <a:ext uri="{FF2B5EF4-FFF2-40B4-BE49-F238E27FC236}">
                            <a16:creationId xmlns:a16="http://schemas.microsoft.com/office/drawing/2014/main" id="{4CFFFA7E-E32D-452F-8EFE-F336F8ED851C}"/>
                          </a:ext>
                        </a:extLst>
                      </p:cNvPr>
                      <p:cNvSpPr/>
                      <p:nvPr/>
                    </p:nvSpPr>
                    <p:spPr>
                      <a:xfrm>
                        <a:off x="5364847" y="5454518"/>
                        <a:ext cx="14245" cy="15110"/>
                      </a:xfrm>
                      <a:custGeom>
                        <a:avLst/>
                        <a:gdLst>
                          <a:gd name="connsiteX0" fmla="*/ 11902 w 14245"/>
                          <a:gd name="connsiteY0" fmla="*/ 1495 h 15110"/>
                          <a:gd name="connsiteX1" fmla="*/ 12260 w 14245"/>
                          <a:gd name="connsiteY1" fmla="*/ 1794 h 15110"/>
                          <a:gd name="connsiteX2" fmla="*/ 12559 w 14245"/>
                          <a:gd name="connsiteY2" fmla="*/ 2153 h 15110"/>
                          <a:gd name="connsiteX3" fmla="*/ 12858 w 14245"/>
                          <a:gd name="connsiteY3" fmla="*/ 2572 h 15110"/>
                          <a:gd name="connsiteX4" fmla="*/ 13098 w 14245"/>
                          <a:gd name="connsiteY4" fmla="*/ 2990 h 15110"/>
                          <a:gd name="connsiteX5" fmla="*/ 13516 w 14245"/>
                          <a:gd name="connsiteY5" fmla="*/ 5263 h 15110"/>
                          <a:gd name="connsiteX6" fmla="*/ 12978 w 14245"/>
                          <a:gd name="connsiteY6" fmla="*/ 7835 h 15110"/>
                          <a:gd name="connsiteX7" fmla="*/ 11603 w 14245"/>
                          <a:gd name="connsiteY7" fmla="*/ 10347 h 15110"/>
                          <a:gd name="connsiteX8" fmla="*/ 9509 w 14245"/>
                          <a:gd name="connsiteY8" fmla="*/ 12500 h 15110"/>
                          <a:gd name="connsiteX9" fmla="*/ 7596 w 14245"/>
                          <a:gd name="connsiteY9" fmla="*/ 13636 h 15110"/>
                          <a:gd name="connsiteX10" fmla="*/ 5682 w 14245"/>
                          <a:gd name="connsiteY10" fmla="*/ 14174 h 15110"/>
                          <a:gd name="connsiteX11" fmla="*/ 3947 w 14245"/>
                          <a:gd name="connsiteY11" fmla="*/ 14114 h 15110"/>
                          <a:gd name="connsiteX12" fmla="*/ 2512 w 14245"/>
                          <a:gd name="connsiteY12" fmla="*/ 13516 h 15110"/>
                          <a:gd name="connsiteX13" fmla="*/ 2213 w 14245"/>
                          <a:gd name="connsiteY13" fmla="*/ 13277 h 15110"/>
                          <a:gd name="connsiteX14" fmla="*/ 1914 w 14245"/>
                          <a:gd name="connsiteY14" fmla="*/ 12978 h 15110"/>
                          <a:gd name="connsiteX15" fmla="*/ 1674 w 14245"/>
                          <a:gd name="connsiteY15" fmla="*/ 12679 h 15110"/>
                          <a:gd name="connsiteX16" fmla="*/ 1435 w 14245"/>
                          <a:gd name="connsiteY16" fmla="*/ 12320 h 15110"/>
                          <a:gd name="connsiteX17" fmla="*/ 1375 w 14245"/>
                          <a:gd name="connsiteY17" fmla="*/ 12260 h 15110"/>
                          <a:gd name="connsiteX18" fmla="*/ 1316 w 14245"/>
                          <a:gd name="connsiteY18" fmla="*/ 12201 h 15110"/>
                          <a:gd name="connsiteX19" fmla="*/ 1256 w 14245"/>
                          <a:gd name="connsiteY19" fmla="*/ 12141 h 15110"/>
                          <a:gd name="connsiteX20" fmla="*/ 1196 w 14245"/>
                          <a:gd name="connsiteY20" fmla="*/ 12081 h 15110"/>
                          <a:gd name="connsiteX21" fmla="*/ 1076 w 14245"/>
                          <a:gd name="connsiteY21" fmla="*/ 11722 h 15110"/>
                          <a:gd name="connsiteX22" fmla="*/ 957 w 14245"/>
                          <a:gd name="connsiteY22" fmla="*/ 11364 h 15110"/>
                          <a:gd name="connsiteX23" fmla="*/ 897 w 14245"/>
                          <a:gd name="connsiteY23" fmla="*/ 11005 h 15110"/>
                          <a:gd name="connsiteX24" fmla="*/ 837 w 14245"/>
                          <a:gd name="connsiteY24" fmla="*/ 10646 h 15110"/>
                          <a:gd name="connsiteX25" fmla="*/ 957 w 14245"/>
                          <a:gd name="connsiteY25" fmla="*/ 8552 h 15110"/>
                          <a:gd name="connsiteX26" fmla="*/ 1734 w 14245"/>
                          <a:gd name="connsiteY26" fmla="*/ 6399 h 15110"/>
                          <a:gd name="connsiteX27" fmla="*/ 3050 w 14245"/>
                          <a:gd name="connsiteY27" fmla="*/ 4306 h 15110"/>
                          <a:gd name="connsiteX28" fmla="*/ 4904 w 14245"/>
                          <a:gd name="connsiteY28" fmla="*/ 2512 h 15110"/>
                          <a:gd name="connsiteX29" fmla="*/ 5083 w 14245"/>
                          <a:gd name="connsiteY29" fmla="*/ 2392 h 15110"/>
                          <a:gd name="connsiteX30" fmla="*/ 5263 w 14245"/>
                          <a:gd name="connsiteY30" fmla="*/ 2273 h 15110"/>
                          <a:gd name="connsiteX31" fmla="*/ 5442 w 14245"/>
                          <a:gd name="connsiteY31" fmla="*/ 2153 h 15110"/>
                          <a:gd name="connsiteX32" fmla="*/ 5622 w 14245"/>
                          <a:gd name="connsiteY32" fmla="*/ 2034 h 15110"/>
                          <a:gd name="connsiteX33" fmla="*/ 5861 w 14245"/>
                          <a:gd name="connsiteY33" fmla="*/ 1914 h 15110"/>
                          <a:gd name="connsiteX34" fmla="*/ 6100 w 14245"/>
                          <a:gd name="connsiteY34" fmla="*/ 1794 h 15110"/>
                          <a:gd name="connsiteX35" fmla="*/ 6340 w 14245"/>
                          <a:gd name="connsiteY35" fmla="*/ 1675 h 15110"/>
                          <a:gd name="connsiteX36" fmla="*/ 6579 w 14245"/>
                          <a:gd name="connsiteY36" fmla="*/ 1555 h 15110"/>
                          <a:gd name="connsiteX37" fmla="*/ 8074 w 14245"/>
                          <a:gd name="connsiteY37" fmla="*/ 1017 h 15110"/>
                          <a:gd name="connsiteX38" fmla="*/ 9509 w 14245"/>
                          <a:gd name="connsiteY38" fmla="*/ 837 h 15110"/>
                          <a:gd name="connsiteX39" fmla="*/ 10825 w 14245"/>
                          <a:gd name="connsiteY39" fmla="*/ 1017 h 15110"/>
                          <a:gd name="connsiteX40" fmla="*/ 11902 w 14245"/>
                          <a:gd name="connsiteY40" fmla="*/ 1495 h 15110"/>
                          <a:gd name="connsiteX41" fmla="*/ 1794 w 14245"/>
                          <a:gd name="connsiteY41" fmla="*/ 14294 h 15110"/>
                          <a:gd name="connsiteX42" fmla="*/ 3409 w 14245"/>
                          <a:gd name="connsiteY42" fmla="*/ 15012 h 15110"/>
                          <a:gd name="connsiteX43" fmla="*/ 5382 w 14245"/>
                          <a:gd name="connsiteY43" fmla="*/ 15072 h 15110"/>
                          <a:gd name="connsiteX44" fmla="*/ 7476 w 14245"/>
                          <a:gd name="connsiteY44" fmla="*/ 14414 h 15110"/>
                          <a:gd name="connsiteX45" fmla="*/ 9629 w 14245"/>
                          <a:gd name="connsiteY45" fmla="*/ 13098 h 15110"/>
                          <a:gd name="connsiteX46" fmla="*/ 12021 w 14245"/>
                          <a:gd name="connsiteY46" fmla="*/ 10705 h 15110"/>
                          <a:gd name="connsiteX47" fmla="*/ 13576 w 14245"/>
                          <a:gd name="connsiteY47" fmla="*/ 7895 h 15110"/>
                          <a:gd name="connsiteX48" fmla="*/ 14234 w 14245"/>
                          <a:gd name="connsiteY48" fmla="*/ 5024 h 15110"/>
                          <a:gd name="connsiteX49" fmla="*/ 13815 w 14245"/>
                          <a:gd name="connsiteY49" fmla="*/ 2452 h 15110"/>
                          <a:gd name="connsiteX50" fmla="*/ 13576 w 14245"/>
                          <a:gd name="connsiteY50" fmla="*/ 1974 h 15110"/>
                          <a:gd name="connsiteX51" fmla="*/ 13277 w 14245"/>
                          <a:gd name="connsiteY51" fmla="*/ 1555 h 15110"/>
                          <a:gd name="connsiteX52" fmla="*/ 12918 w 14245"/>
                          <a:gd name="connsiteY52" fmla="*/ 1196 h 15110"/>
                          <a:gd name="connsiteX53" fmla="*/ 12500 w 14245"/>
                          <a:gd name="connsiteY53" fmla="*/ 837 h 15110"/>
                          <a:gd name="connsiteX54" fmla="*/ 11184 w 14245"/>
                          <a:gd name="connsiteY54" fmla="*/ 180 h 15110"/>
                          <a:gd name="connsiteX55" fmla="*/ 9629 w 14245"/>
                          <a:gd name="connsiteY55" fmla="*/ 0 h 15110"/>
                          <a:gd name="connsiteX56" fmla="*/ 7895 w 14245"/>
                          <a:gd name="connsiteY56" fmla="*/ 299 h 15110"/>
                          <a:gd name="connsiteX57" fmla="*/ 6100 w 14245"/>
                          <a:gd name="connsiteY57" fmla="*/ 1076 h 15110"/>
                          <a:gd name="connsiteX58" fmla="*/ 5861 w 14245"/>
                          <a:gd name="connsiteY58" fmla="*/ 1196 h 15110"/>
                          <a:gd name="connsiteX59" fmla="*/ 5622 w 14245"/>
                          <a:gd name="connsiteY59" fmla="*/ 1316 h 15110"/>
                          <a:gd name="connsiteX60" fmla="*/ 5382 w 14245"/>
                          <a:gd name="connsiteY60" fmla="*/ 1435 h 15110"/>
                          <a:gd name="connsiteX61" fmla="*/ 5143 w 14245"/>
                          <a:gd name="connsiteY61" fmla="*/ 1555 h 15110"/>
                          <a:gd name="connsiteX62" fmla="*/ 5024 w 14245"/>
                          <a:gd name="connsiteY62" fmla="*/ 1675 h 15110"/>
                          <a:gd name="connsiteX63" fmla="*/ 4904 w 14245"/>
                          <a:gd name="connsiteY63" fmla="*/ 1794 h 15110"/>
                          <a:gd name="connsiteX64" fmla="*/ 4785 w 14245"/>
                          <a:gd name="connsiteY64" fmla="*/ 1914 h 15110"/>
                          <a:gd name="connsiteX65" fmla="*/ 4665 w 14245"/>
                          <a:gd name="connsiteY65" fmla="*/ 2034 h 15110"/>
                          <a:gd name="connsiteX66" fmla="*/ 2811 w 14245"/>
                          <a:gd name="connsiteY66" fmla="*/ 3768 h 15110"/>
                          <a:gd name="connsiteX67" fmla="*/ 1375 w 14245"/>
                          <a:gd name="connsiteY67" fmla="*/ 5801 h 15110"/>
                          <a:gd name="connsiteX68" fmla="*/ 419 w 14245"/>
                          <a:gd name="connsiteY68" fmla="*/ 7954 h 15110"/>
                          <a:gd name="connsiteX69" fmla="*/ 0 w 14245"/>
                          <a:gd name="connsiteY69" fmla="*/ 10107 h 15110"/>
                          <a:gd name="connsiteX70" fmla="*/ 0 w 14245"/>
                          <a:gd name="connsiteY70" fmla="*/ 10466 h 15110"/>
                          <a:gd name="connsiteX71" fmla="*/ 0 w 14245"/>
                          <a:gd name="connsiteY71" fmla="*/ 10825 h 15110"/>
                          <a:gd name="connsiteX72" fmla="*/ 0 w 14245"/>
                          <a:gd name="connsiteY72" fmla="*/ 11124 h 15110"/>
                          <a:gd name="connsiteX73" fmla="*/ 60 w 14245"/>
                          <a:gd name="connsiteY73" fmla="*/ 11423 h 15110"/>
                          <a:gd name="connsiteX74" fmla="*/ 120 w 14245"/>
                          <a:gd name="connsiteY74" fmla="*/ 11782 h 15110"/>
                          <a:gd name="connsiteX75" fmla="*/ 179 w 14245"/>
                          <a:gd name="connsiteY75" fmla="*/ 12141 h 15110"/>
                          <a:gd name="connsiteX76" fmla="*/ 299 w 14245"/>
                          <a:gd name="connsiteY76" fmla="*/ 12500 h 15110"/>
                          <a:gd name="connsiteX77" fmla="*/ 419 w 14245"/>
                          <a:gd name="connsiteY77" fmla="*/ 12799 h 15110"/>
                          <a:gd name="connsiteX78" fmla="*/ 658 w 14245"/>
                          <a:gd name="connsiteY78" fmla="*/ 13277 h 15110"/>
                          <a:gd name="connsiteX79" fmla="*/ 957 w 14245"/>
                          <a:gd name="connsiteY79" fmla="*/ 13696 h 15110"/>
                          <a:gd name="connsiteX80" fmla="*/ 1316 w 14245"/>
                          <a:gd name="connsiteY80" fmla="*/ 14055 h 15110"/>
                          <a:gd name="connsiteX81" fmla="*/ 1794 w 14245"/>
                          <a:gd name="connsiteY81" fmla="*/ 14294 h 15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4245" h="15110">
                            <a:moveTo>
                              <a:pt x="11902" y="1495"/>
                            </a:moveTo>
                            <a:cubicBezTo>
                              <a:pt x="12021" y="1615"/>
                              <a:pt x="12141" y="1675"/>
                              <a:pt x="12260" y="1794"/>
                            </a:cubicBezTo>
                            <a:cubicBezTo>
                              <a:pt x="12380" y="1914"/>
                              <a:pt x="12500" y="2034"/>
                              <a:pt x="12559" y="2153"/>
                            </a:cubicBezTo>
                            <a:cubicBezTo>
                              <a:pt x="12679" y="2273"/>
                              <a:pt x="12739" y="2392"/>
                              <a:pt x="12858" y="2572"/>
                            </a:cubicBezTo>
                            <a:cubicBezTo>
                              <a:pt x="12978" y="2751"/>
                              <a:pt x="13038" y="2871"/>
                              <a:pt x="13098" y="2990"/>
                            </a:cubicBezTo>
                            <a:cubicBezTo>
                              <a:pt x="13397" y="3648"/>
                              <a:pt x="13516" y="4426"/>
                              <a:pt x="13516" y="5263"/>
                            </a:cubicBezTo>
                            <a:cubicBezTo>
                              <a:pt x="13457" y="6100"/>
                              <a:pt x="13277" y="6938"/>
                              <a:pt x="12978" y="7835"/>
                            </a:cubicBezTo>
                            <a:cubicBezTo>
                              <a:pt x="12679" y="8732"/>
                              <a:pt x="12141" y="9569"/>
                              <a:pt x="11603" y="10347"/>
                            </a:cubicBezTo>
                            <a:cubicBezTo>
                              <a:pt x="11004" y="11124"/>
                              <a:pt x="10287" y="11902"/>
                              <a:pt x="9509" y="12500"/>
                            </a:cubicBezTo>
                            <a:cubicBezTo>
                              <a:pt x="8851" y="12978"/>
                              <a:pt x="8253" y="13337"/>
                              <a:pt x="7596" y="13636"/>
                            </a:cubicBezTo>
                            <a:cubicBezTo>
                              <a:pt x="6937" y="13935"/>
                              <a:pt x="6340" y="14114"/>
                              <a:pt x="5682" y="14174"/>
                            </a:cubicBezTo>
                            <a:cubicBezTo>
                              <a:pt x="5083" y="14234"/>
                              <a:pt x="4486" y="14234"/>
                              <a:pt x="3947" y="14114"/>
                            </a:cubicBezTo>
                            <a:cubicBezTo>
                              <a:pt x="3409" y="13995"/>
                              <a:pt x="2930" y="13815"/>
                              <a:pt x="2512" y="13516"/>
                            </a:cubicBezTo>
                            <a:cubicBezTo>
                              <a:pt x="2392" y="13457"/>
                              <a:pt x="2333" y="13337"/>
                              <a:pt x="2213" y="13277"/>
                            </a:cubicBezTo>
                            <a:cubicBezTo>
                              <a:pt x="2093" y="13218"/>
                              <a:pt x="2033" y="13098"/>
                              <a:pt x="1914" y="12978"/>
                            </a:cubicBezTo>
                            <a:cubicBezTo>
                              <a:pt x="1854" y="12859"/>
                              <a:pt x="1734" y="12799"/>
                              <a:pt x="1674" y="12679"/>
                            </a:cubicBezTo>
                            <a:cubicBezTo>
                              <a:pt x="1615" y="12559"/>
                              <a:pt x="1555" y="12440"/>
                              <a:pt x="1435" y="12320"/>
                            </a:cubicBezTo>
                            <a:cubicBezTo>
                              <a:pt x="1435" y="12320"/>
                              <a:pt x="1435" y="12260"/>
                              <a:pt x="1375" y="12260"/>
                            </a:cubicBezTo>
                            <a:cubicBezTo>
                              <a:pt x="1375" y="12260"/>
                              <a:pt x="1375" y="12201"/>
                              <a:pt x="1316" y="12201"/>
                            </a:cubicBezTo>
                            <a:cubicBezTo>
                              <a:pt x="1316" y="12201"/>
                              <a:pt x="1316" y="12141"/>
                              <a:pt x="1256" y="12141"/>
                            </a:cubicBezTo>
                            <a:cubicBezTo>
                              <a:pt x="1256" y="12141"/>
                              <a:pt x="1256" y="12081"/>
                              <a:pt x="1196" y="12081"/>
                            </a:cubicBezTo>
                            <a:cubicBezTo>
                              <a:pt x="1136" y="11961"/>
                              <a:pt x="1076" y="11842"/>
                              <a:pt x="1076" y="11722"/>
                            </a:cubicBezTo>
                            <a:cubicBezTo>
                              <a:pt x="1076" y="11603"/>
                              <a:pt x="1017" y="11483"/>
                              <a:pt x="957" y="11364"/>
                            </a:cubicBezTo>
                            <a:cubicBezTo>
                              <a:pt x="897" y="11244"/>
                              <a:pt x="897" y="11124"/>
                              <a:pt x="897" y="11005"/>
                            </a:cubicBezTo>
                            <a:cubicBezTo>
                              <a:pt x="897" y="10885"/>
                              <a:pt x="837" y="10765"/>
                              <a:pt x="837" y="10646"/>
                            </a:cubicBezTo>
                            <a:cubicBezTo>
                              <a:pt x="778" y="9988"/>
                              <a:pt x="837" y="9270"/>
                              <a:pt x="957" y="8552"/>
                            </a:cubicBezTo>
                            <a:cubicBezTo>
                              <a:pt x="1136" y="7835"/>
                              <a:pt x="1375" y="7117"/>
                              <a:pt x="1734" y="6399"/>
                            </a:cubicBezTo>
                            <a:cubicBezTo>
                              <a:pt x="2093" y="5682"/>
                              <a:pt x="2572" y="4964"/>
                              <a:pt x="3050" y="4306"/>
                            </a:cubicBezTo>
                            <a:cubicBezTo>
                              <a:pt x="3528" y="3648"/>
                              <a:pt x="4187" y="3050"/>
                              <a:pt x="4904" y="2512"/>
                            </a:cubicBezTo>
                            <a:cubicBezTo>
                              <a:pt x="4964" y="2452"/>
                              <a:pt x="5024" y="2392"/>
                              <a:pt x="5083" y="2392"/>
                            </a:cubicBezTo>
                            <a:cubicBezTo>
                              <a:pt x="5143" y="2333"/>
                              <a:pt x="5203" y="2273"/>
                              <a:pt x="5263" y="2273"/>
                            </a:cubicBezTo>
                            <a:cubicBezTo>
                              <a:pt x="5323" y="2213"/>
                              <a:pt x="5382" y="2213"/>
                              <a:pt x="5442" y="2153"/>
                            </a:cubicBezTo>
                            <a:cubicBezTo>
                              <a:pt x="5502" y="2093"/>
                              <a:pt x="5562" y="2093"/>
                              <a:pt x="5622" y="2034"/>
                            </a:cubicBezTo>
                            <a:cubicBezTo>
                              <a:pt x="5682" y="1974"/>
                              <a:pt x="5742" y="1914"/>
                              <a:pt x="5861" y="1914"/>
                            </a:cubicBezTo>
                            <a:cubicBezTo>
                              <a:pt x="5921" y="1854"/>
                              <a:pt x="5981" y="1854"/>
                              <a:pt x="6100" y="1794"/>
                            </a:cubicBezTo>
                            <a:cubicBezTo>
                              <a:pt x="6220" y="1734"/>
                              <a:pt x="6220" y="1734"/>
                              <a:pt x="6340" y="1675"/>
                            </a:cubicBezTo>
                            <a:cubicBezTo>
                              <a:pt x="6399" y="1615"/>
                              <a:pt x="6459" y="1615"/>
                              <a:pt x="6579" y="1555"/>
                            </a:cubicBezTo>
                            <a:cubicBezTo>
                              <a:pt x="7057" y="1316"/>
                              <a:pt x="7596" y="1136"/>
                              <a:pt x="8074" y="1017"/>
                            </a:cubicBezTo>
                            <a:cubicBezTo>
                              <a:pt x="8552" y="897"/>
                              <a:pt x="9031" y="837"/>
                              <a:pt x="9509" y="837"/>
                            </a:cubicBezTo>
                            <a:cubicBezTo>
                              <a:pt x="9988" y="837"/>
                              <a:pt x="10406" y="897"/>
                              <a:pt x="10825" y="1017"/>
                            </a:cubicBezTo>
                            <a:cubicBezTo>
                              <a:pt x="11184" y="1076"/>
                              <a:pt x="11543" y="1256"/>
                              <a:pt x="11902" y="1495"/>
                            </a:cubicBezTo>
                            <a:moveTo>
                              <a:pt x="1794" y="14294"/>
                            </a:moveTo>
                            <a:cubicBezTo>
                              <a:pt x="2273" y="14653"/>
                              <a:pt x="2811" y="14892"/>
                              <a:pt x="3409" y="15012"/>
                            </a:cubicBezTo>
                            <a:cubicBezTo>
                              <a:pt x="4007" y="15131"/>
                              <a:pt x="4665" y="15131"/>
                              <a:pt x="5382" y="15072"/>
                            </a:cubicBezTo>
                            <a:cubicBezTo>
                              <a:pt x="6100" y="15012"/>
                              <a:pt x="6758" y="14773"/>
                              <a:pt x="7476" y="14414"/>
                            </a:cubicBezTo>
                            <a:cubicBezTo>
                              <a:pt x="8194" y="14055"/>
                              <a:pt x="8911" y="13636"/>
                              <a:pt x="9629" y="13098"/>
                            </a:cubicBezTo>
                            <a:cubicBezTo>
                              <a:pt x="10526" y="12380"/>
                              <a:pt x="11363" y="11603"/>
                              <a:pt x="12021" y="10705"/>
                            </a:cubicBezTo>
                            <a:cubicBezTo>
                              <a:pt x="12679" y="9808"/>
                              <a:pt x="13218" y="8851"/>
                              <a:pt x="13576" y="7895"/>
                            </a:cubicBezTo>
                            <a:cubicBezTo>
                              <a:pt x="13935" y="6938"/>
                              <a:pt x="14174" y="5981"/>
                              <a:pt x="14234" y="5024"/>
                            </a:cubicBezTo>
                            <a:cubicBezTo>
                              <a:pt x="14294" y="4127"/>
                              <a:pt x="14114" y="3229"/>
                              <a:pt x="13815" y="2452"/>
                            </a:cubicBezTo>
                            <a:cubicBezTo>
                              <a:pt x="13756" y="2273"/>
                              <a:pt x="13636" y="2093"/>
                              <a:pt x="13576" y="1974"/>
                            </a:cubicBezTo>
                            <a:cubicBezTo>
                              <a:pt x="13516" y="1854"/>
                              <a:pt x="13397" y="1675"/>
                              <a:pt x="13277" y="1555"/>
                            </a:cubicBezTo>
                            <a:cubicBezTo>
                              <a:pt x="13158" y="1435"/>
                              <a:pt x="13038" y="1316"/>
                              <a:pt x="12918" y="1196"/>
                            </a:cubicBezTo>
                            <a:cubicBezTo>
                              <a:pt x="12799" y="1076"/>
                              <a:pt x="12679" y="957"/>
                              <a:pt x="12500" y="837"/>
                            </a:cubicBezTo>
                            <a:cubicBezTo>
                              <a:pt x="12081" y="538"/>
                              <a:pt x="11662" y="359"/>
                              <a:pt x="11184" y="180"/>
                            </a:cubicBezTo>
                            <a:cubicBezTo>
                              <a:pt x="10705" y="60"/>
                              <a:pt x="10167" y="0"/>
                              <a:pt x="9629" y="0"/>
                            </a:cubicBezTo>
                            <a:cubicBezTo>
                              <a:pt x="9091" y="0"/>
                              <a:pt x="8493" y="120"/>
                              <a:pt x="7895" y="299"/>
                            </a:cubicBezTo>
                            <a:cubicBezTo>
                              <a:pt x="7296" y="479"/>
                              <a:pt x="6698" y="718"/>
                              <a:pt x="6100" y="1076"/>
                            </a:cubicBezTo>
                            <a:cubicBezTo>
                              <a:pt x="6041" y="1136"/>
                              <a:pt x="5981" y="1136"/>
                              <a:pt x="5861" y="1196"/>
                            </a:cubicBezTo>
                            <a:cubicBezTo>
                              <a:pt x="5801" y="1256"/>
                              <a:pt x="5742" y="1256"/>
                              <a:pt x="5622" y="1316"/>
                            </a:cubicBezTo>
                            <a:cubicBezTo>
                              <a:pt x="5562" y="1375"/>
                              <a:pt x="5502" y="1375"/>
                              <a:pt x="5382" y="1435"/>
                            </a:cubicBezTo>
                            <a:cubicBezTo>
                              <a:pt x="5323" y="1495"/>
                              <a:pt x="5263" y="1555"/>
                              <a:pt x="5143" y="1555"/>
                            </a:cubicBezTo>
                            <a:cubicBezTo>
                              <a:pt x="5083" y="1615"/>
                              <a:pt x="5024" y="1615"/>
                              <a:pt x="5024" y="1675"/>
                            </a:cubicBezTo>
                            <a:cubicBezTo>
                              <a:pt x="4964" y="1734"/>
                              <a:pt x="4904" y="1734"/>
                              <a:pt x="4904" y="1794"/>
                            </a:cubicBezTo>
                            <a:cubicBezTo>
                              <a:pt x="4844" y="1854"/>
                              <a:pt x="4785" y="1854"/>
                              <a:pt x="4785" y="1914"/>
                            </a:cubicBezTo>
                            <a:cubicBezTo>
                              <a:pt x="4785" y="1974"/>
                              <a:pt x="4665" y="1974"/>
                              <a:pt x="4665" y="2034"/>
                            </a:cubicBezTo>
                            <a:cubicBezTo>
                              <a:pt x="4007" y="2572"/>
                              <a:pt x="3349" y="3170"/>
                              <a:pt x="2811" y="3768"/>
                            </a:cubicBezTo>
                            <a:cubicBezTo>
                              <a:pt x="2273" y="4426"/>
                              <a:pt x="1794" y="5083"/>
                              <a:pt x="1375" y="5801"/>
                            </a:cubicBezTo>
                            <a:cubicBezTo>
                              <a:pt x="957" y="6519"/>
                              <a:pt x="658" y="7237"/>
                              <a:pt x="419" y="7954"/>
                            </a:cubicBezTo>
                            <a:cubicBezTo>
                              <a:pt x="179" y="8672"/>
                              <a:pt x="60" y="9390"/>
                              <a:pt x="0" y="10107"/>
                            </a:cubicBezTo>
                            <a:cubicBezTo>
                              <a:pt x="0" y="10227"/>
                              <a:pt x="0" y="10347"/>
                              <a:pt x="0" y="10466"/>
                            </a:cubicBezTo>
                            <a:cubicBezTo>
                              <a:pt x="0" y="10586"/>
                              <a:pt x="0" y="10705"/>
                              <a:pt x="0" y="10825"/>
                            </a:cubicBezTo>
                            <a:cubicBezTo>
                              <a:pt x="0" y="10945"/>
                              <a:pt x="0" y="11064"/>
                              <a:pt x="0" y="11124"/>
                            </a:cubicBezTo>
                            <a:cubicBezTo>
                              <a:pt x="0" y="11244"/>
                              <a:pt x="0" y="11364"/>
                              <a:pt x="60" y="11423"/>
                            </a:cubicBezTo>
                            <a:cubicBezTo>
                              <a:pt x="60" y="11543"/>
                              <a:pt x="120" y="11662"/>
                              <a:pt x="120" y="11782"/>
                            </a:cubicBezTo>
                            <a:cubicBezTo>
                              <a:pt x="120" y="11902"/>
                              <a:pt x="179" y="12021"/>
                              <a:pt x="179" y="12141"/>
                            </a:cubicBezTo>
                            <a:cubicBezTo>
                              <a:pt x="239" y="12260"/>
                              <a:pt x="239" y="12380"/>
                              <a:pt x="299" y="12500"/>
                            </a:cubicBezTo>
                            <a:cubicBezTo>
                              <a:pt x="359" y="12619"/>
                              <a:pt x="359" y="12739"/>
                              <a:pt x="419" y="12799"/>
                            </a:cubicBezTo>
                            <a:cubicBezTo>
                              <a:pt x="479" y="12978"/>
                              <a:pt x="598" y="13158"/>
                              <a:pt x="658" y="13277"/>
                            </a:cubicBezTo>
                            <a:cubicBezTo>
                              <a:pt x="778" y="13457"/>
                              <a:pt x="837" y="13576"/>
                              <a:pt x="957" y="13696"/>
                            </a:cubicBezTo>
                            <a:cubicBezTo>
                              <a:pt x="1076" y="13815"/>
                              <a:pt x="1196" y="13935"/>
                              <a:pt x="1316" y="14055"/>
                            </a:cubicBezTo>
                            <a:cubicBezTo>
                              <a:pt x="1495" y="14055"/>
                              <a:pt x="1674" y="14174"/>
                              <a:pt x="1794" y="14294"/>
                            </a:cubicBezTo>
                          </a:path>
                        </a:pathLst>
                      </a:custGeom>
                      <a:noFill/>
                      <a:ln w="6350" cap="flat">
                        <a:solidFill>
                          <a:schemeClr val="bg1">
                            <a:alpha val="40000"/>
                          </a:schemeClr>
                        </a:solidFill>
                        <a:prstDash val="solid"/>
                        <a:miter/>
                      </a:ln>
                    </p:spPr>
                    <p:txBody>
                      <a:bodyPr rtlCol="0" anchor="ctr"/>
                      <a:lstStyle/>
                      <a:p>
                        <a:endParaRPr lang="en-GB"/>
                      </a:p>
                    </p:txBody>
                  </p:sp>
                  <p:sp>
                    <p:nvSpPr>
                      <p:cNvPr id="7455" name="Vrije vorm: vorm 7454">
                        <a:extLst>
                          <a:ext uri="{FF2B5EF4-FFF2-40B4-BE49-F238E27FC236}">
                            <a16:creationId xmlns:a16="http://schemas.microsoft.com/office/drawing/2014/main" id="{2A97FCC5-A174-4BD8-AF65-C7E56A9213FE}"/>
                          </a:ext>
                        </a:extLst>
                      </p:cNvPr>
                      <p:cNvSpPr/>
                      <p:nvPr/>
                    </p:nvSpPr>
                    <p:spPr>
                      <a:xfrm>
                        <a:off x="5366581" y="5456312"/>
                        <a:ext cx="10825" cy="11423"/>
                      </a:xfrm>
                      <a:custGeom>
                        <a:avLst/>
                        <a:gdLst>
                          <a:gd name="connsiteX0" fmla="*/ 8852 w 10825"/>
                          <a:gd name="connsiteY0" fmla="*/ 1376 h 11423"/>
                          <a:gd name="connsiteX1" fmla="*/ 9091 w 10825"/>
                          <a:gd name="connsiteY1" fmla="*/ 1615 h 11423"/>
                          <a:gd name="connsiteX2" fmla="*/ 9330 w 10825"/>
                          <a:gd name="connsiteY2" fmla="*/ 1854 h 11423"/>
                          <a:gd name="connsiteX3" fmla="*/ 9510 w 10825"/>
                          <a:gd name="connsiteY3" fmla="*/ 2153 h 11423"/>
                          <a:gd name="connsiteX4" fmla="*/ 9689 w 10825"/>
                          <a:gd name="connsiteY4" fmla="*/ 2452 h 11423"/>
                          <a:gd name="connsiteX5" fmla="*/ 9928 w 10825"/>
                          <a:gd name="connsiteY5" fmla="*/ 3230 h 11423"/>
                          <a:gd name="connsiteX6" fmla="*/ 9988 w 10825"/>
                          <a:gd name="connsiteY6" fmla="*/ 4067 h 11423"/>
                          <a:gd name="connsiteX7" fmla="*/ 9868 w 10825"/>
                          <a:gd name="connsiteY7" fmla="*/ 4964 h 11423"/>
                          <a:gd name="connsiteX8" fmla="*/ 9569 w 10825"/>
                          <a:gd name="connsiteY8" fmla="*/ 5921 h 11423"/>
                          <a:gd name="connsiteX9" fmla="*/ 9091 w 10825"/>
                          <a:gd name="connsiteY9" fmla="*/ 6878 h 11423"/>
                          <a:gd name="connsiteX10" fmla="*/ 8493 w 10825"/>
                          <a:gd name="connsiteY10" fmla="*/ 7775 h 11423"/>
                          <a:gd name="connsiteX11" fmla="*/ 7775 w 10825"/>
                          <a:gd name="connsiteY11" fmla="*/ 8612 h 11423"/>
                          <a:gd name="connsiteX12" fmla="*/ 6998 w 10825"/>
                          <a:gd name="connsiteY12" fmla="*/ 9330 h 11423"/>
                          <a:gd name="connsiteX13" fmla="*/ 6100 w 10825"/>
                          <a:gd name="connsiteY13" fmla="*/ 9928 h 11423"/>
                          <a:gd name="connsiteX14" fmla="*/ 5203 w 10825"/>
                          <a:gd name="connsiteY14" fmla="*/ 10347 h 11423"/>
                          <a:gd name="connsiteX15" fmla="*/ 4306 w 10825"/>
                          <a:gd name="connsiteY15" fmla="*/ 10586 h 11423"/>
                          <a:gd name="connsiteX16" fmla="*/ 3469 w 10825"/>
                          <a:gd name="connsiteY16" fmla="*/ 10646 h 11423"/>
                          <a:gd name="connsiteX17" fmla="*/ 3050 w 10825"/>
                          <a:gd name="connsiteY17" fmla="*/ 10586 h 11423"/>
                          <a:gd name="connsiteX18" fmla="*/ 2632 w 10825"/>
                          <a:gd name="connsiteY18" fmla="*/ 10466 h 11423"/>
                          <a:gd name="connsiteX19" fmla="*/ 2273 w 10825"/>
                          <a:gd name="connsiteY19" fmla="*/ 10287 h 11423"/>
                          <a:gd name="connsiteX20" fmla="*/ 1914 w 10825"/>
                          <a:gd name="connsiteY20" fmla="*/ 10107 h 11423"/>
                          <a:gd name="connsiteX21" fmla="*/ 1914 w 10825"/>
                          <a:gd name="connsiteY21" fmla="*/ 10107 h 11423"/>
                          <a:gd name="connsiteX22" fmla="*/ 1914 w 10825"/>
                          <a:gd name="connsiteY22" fmla="*/ 10107 h 11423"/>
                          <a:gd name="connsiteX23" fmla="*/ 1914 w 10825"/>
                          <a:gd name="connsiteY23" fmla="*/ 10107 h 11423"/>
                          <a:gd name="connsiteX24" fmla="*/ 1914 w 10825"/>
                          <a:gd name="connsiteY24" fmla="*/ 10107 h 11423"/>
                          <a:gd name="connsiteX25" fmla="*/ 1794 w 10825"/>
                          <a:gd name="connsiteY25" fmla="*/ 9988 h 11423"/>
                          <a:gd name="connsiteX26" fmla="*/ 1675 w 10825"/>
                          <a:gd name="connsiteY26" fmla="*/ 9868 h 11423"/>
                          <a:gd name="connsiteX27" fmla="*/ 1555 w 10825"/>
                          <a:gd name="connsiteY27" fmla="*/ 9749 h 11423"/>
                          <a:gd name="connsiteX28" fmla="*/ 1435 w 10825"/>
                          <a:gd name="connsiteY28" fmla="*/ 9629 h 11423"/>
                          <a:gd name="connsiteX29" fmla="*/ 1316 w 10825"/>
                          <a:gd name="connsiteY29" fmla="*/ 9510 h 11423"/>
                          <a:gd name="connsiteX30" fmla="*/ 1256 w 10825"/>
                          <a:gd name="connsiteY30" fmla="*/ 9390 h 11423"/>
                          <a:gd name="connsiteX31" fmla="*/ 1196 w 10825"/>
                          <a:gd name="connsiteY31" fmla="*/ 9270 h 11423"/>
                          <a:gd name="connsiteX32" fmla="*/ 1136 w 10825"/>
                          <a:gd name="connsiteY32" fmla="*/ 9091 h 11423"/>
                          <a:gd name="connsiteX33" fmla="*/ 897 w 10825"/>
                          <a:gd name="connsiteY33" fmla="*/ 8313 h 11423"/>
                          <a:gd name="connsiteX34" fmla="*/ 837 w 10825"/>
                          <a:gd name="connsiteY34" fmla="*/ 7476 h 11423"/>
                          <a:gd name="connsiteX35" fmla="*/ 957 w 10825"/>
                          <a:gd name="connsiteY35" fmla="*/ 6579 h 11423"/>
                          <a:gd name="connsiteX36" fmla="*/ 1256 w 10825"/>
                          <a:gd name="connsiteY36" fmla="*/ 5622 h 11423"/>
                          <a:gd name="connsiteX37" fmla="*/ 1735 w 10825"/>
                          <a:gd name="connsiteY37" fmla="*/ 4665 h 11423"/>
                          <a:gd name="connsiteX38" fmla="*/ 2333 w 10825"/>
                          <a:gd name="connsiteY38" fmla="*/ 3768 h 11423"/>
                          <a:gd name="connsiteX39" fmla="*/ 3050 w 10825"/>
                          <a:gd name="connsiteY39" fmla="*/ 2930 h 11423"/>
                          <a:gd name="connsiteX40" fmla="*/ 3888 w 10825"/>
                          <a:gd name="connsiteY40" fmla="*/ 2213 h 11423"/>
                          <a:gd name="connsiteX41" fmla="*/ 4246 w 10825"/>
                          <a:gd name="connsiteY41" fmla="*/ 1974 h 11423"/>
                          <a:gd name="connsiteX42" fmla="*/ 4605 w 10825"/>
                          <a:gd name="connsiteY42" fmla="*/ 1735 h 11423"/>
                          <a:gd name="connsiteX43" fmla="*/ 4964 w 10825"/>
                          <a:gd name="connsiteY43" fmla="*/ 1555 h 11423"/>
                          <a:gd name="connsiteX44" fmla="*/ 5323 w 10825"/>
                          <a:gd name="connsiteY44" fmla="*/ 1376 h 11423"/>
                          <a:gd name="connsiteX45" fmla="*/ 5562 w 10825"/>
                          <a:gd name="connsiteY45" fmla="*/ 1256 h 11423"/>
                          <a:gd name="connsiteX46" fmla="*/ 5801 w 10825"/>
                          <a:gd name="connsiteY46" fmla="*/ 1136 h 11423"/>
                          <a:gd name="connsiteX47" fmla="*/ 6041 w 10825"/>
                          <a:gd name="connsiteY47" fmla="*/ 1076 h 11423"/>
                          <a:gd name="connsiteX48" fmla="*/ 6280 w 10825"/>
                          <a:gd name="connsiteY48" fmla="*/ 1017 h 11423"/>
                          <a:gd name="connsiteX49" fmla="*/ 6579 w 10825"/>
                          <a:gd name="connsiteY49" fmla="*/ 957 h 11423"/>
                          <a:gd name="connsiteX50" fmla="*/ 6818 w 10825"/>
                          <a:gd name="connsiteY50" fmla="*/ 897 h 11423"/>
                          <a:gd name="connsiteX51" fmla="*/ 7057 w 10825"/>
                          <a:gd name="connsiteY51" fmla="*/ 897 h 11423"/>
                          <a:gd name="connsiteX52" fmla="*/ 7297 w 10825"/>
                          <a:gd name="connsiteY52" fmla="*/ 897 h 11423"/>
                          <a:gd name="connsiteX53" fmla="*/ 7715 w 10825"/>
                          <a:gd name="connsiteY53" fmla="*/ 957 h 11423"/>
                          <a:gd name="connsiteX54" fmla="*/ 8134 w 10825"/>
                          <a:gd name="connsiteY54" fmla="*/ 1076 h 11423"/>
                          <a:gd name="connsiteX55" fmla="*/ 8493 w 10825"/>
                          <a:gd name="connsiteY55" fmla="*/ 1256 h 11423"/>
                          <a:gd name="connsiteX56" fmla="*/ 8852 w 10825"/>
                          <a:gd name="connsiteY56" fmla="*/ 1376 h 11423"/>
                          <a:gd name="connsiteX57" fmla="*/ 1435 w 10825"/>
                          <a:gd name="connsiteY57" fmla="*/ 10825 h 11423"/>
                          <a:gd name="connsiteX58" fmla="*/ 1794 w 10825"/>
                          <a:gd name="connsiteY58" fmla="*/ 11065 h 11423"/>
                          <a:gd name="connsiteX59" fmla="*/ 2213 w 10825"/>
                          <a:gd name="connsiteY59" fmla="*/ 11244 h 11423"/>
                          <a:gd name="connsiteX60" fmla="*/ 2691 w 10825"/>
                          <a:gd name="connsiteY60" fmla="*/ 11364 h 11423"/>
                          <a:gd name="connsiteX61" fmla="*/ 3170 w 10825"/>
                          <a:gd name="connsiteY61" fmla="*/ 11423 h 11423"/>
                          <a:gd name="connsiteX62" fmla="*/ 4187 w 10825"/>
                          <a:gd name="connsiteY62" fmla="*/ 11364 h 11423"/>
                          <a:gd name="connsiteX63" fmla="*/ 5203 w 10825"/>
                          <a:gd name="connsiteY63" fmla="*/ 11065 h 11423"/>
                          <a:gd name="connsiteX64" fmla="*/ 6280 w 10825"/>
                          <a:gd name="connsiteY64" fmla="*/ 10586 h 11423"/>
                          <a:gd name="connsiteX65" fmla="*/ 7297 w 10825"/>
                          <a:gd name="connsiteY65" fmla="*/ 9928 h 11423"/>
                          <a:gd name="connsiteX66" fmla="*/ 8253 w 10825"/>
                          <a:gd name="connsiteY66" fmla="*/ 9091 h 11423"/>
                          <a:gd name="connsiteX67" fmla="*/ 9091 w 10825"/>
                          <a:gd name="connsiteY67" fmla="*/ 8134 h 11423"/>
                          <a:gd name="connsiteX68" fmla="*/ 9808 w 10825"/>
                          <a:gd name="connsiteY68" fmla="*/ 7117 h 11423"/>
                          <a:gd name="connsiteX69" fmla="*/ 10347 w 10825"/>
                          <a:gd name="connsiteY69" fmla="*/ 5981 h 11423"/>
                          <a:gd name="connsiteX70" fmla="*/ 10706 w 10825"/>
                          <a:gd name="connsiteY70" fmla="*/ 4844 h 11423"/>
                          <a:gd name="connsiteX71" fmla="*/ 10825 w 10825"/>
                          <a:gd name="connsiteY71" fmla="*/ 3768 h 11423"/>
                          <a:gd name="connsiteX72" fmla="*/ 10765 w 10825"/>
                          <a:gd name="connsiteY72" fmla="*/ 2751 h 11423"/>
                          <a:gd name="connsiteX73" fmla="*/ 10526 w 10825"/>
                          <a:gd name="connsiteY73" fmla="*/ 1854 h 11423"/>
                          <a:gd name="connsiteX74" fmla="*/ 10347 w 10825"/>
                          <a:gd name="connsiteY74" fmla="*/ 1495 h 11423"/>
                          <a:gd name="connsiteX75" fmla="*/ 10107 w 10825"/>
                          <a:gd name="connsiteY75" fmla="*/ 1136 h 11423"/>
                          <a:gd name="connsiteX76" fmla="*/ 9808 w 10825"/>
                          <a:gd name="connsiteY76" fmla="*/ 837 h 11423"/>
                          <a:gd name="connsiteX77" fmla="*/ 9510 w 10825"/>
                          <a:gd name="connsiteY77" fmla="*/ 598 h 11423"/>
                          <a:gd name="connsiteX78" fmla="*/ 9091 w 10825"/>
                          <a:gd name="connsiteY78" fmla="*/ 359 h 11423"/>
                          <a:gd name="connsiteX79" fmla="*/ 8672 w 10825"/>
                          <a:gd name="connsiteY79" fmla="*/ 180 h 11423"/>
                          <a:gd name="connsiteX80" fmla="*/ 8194 w 10825"/>
                          <a:gd name="connsiteY80" fmla="*/ 60 h 11423"/>
                          <a:gd name="connsiteX81" fmla="*/ 7715 w 10825"/>
                          <a:gd name="connsiteY81" fmla="*/ 0 h 11423"/>
                          <a:gd name="connsiteX82" fmla="*/ 7237 w 10825"/>
                          <a:gd name="connsiteY82" fmla="*/ 0 h 11423"/>
                          <a:gd name="connsiteX83" fmla="*/ 6698 w 10825"/>
                          <a:gd name="connsiteY83" fmla="*/ 60 h 11423"/>
                          <a:gd name="connsiteX84" fmla="*/ 6160 w 10825"/>
                          <a:gd name="connsiteY84" fmla="*/ 180 h 11423"/>
                          <a:gd name="connsiteX85" fmla="*/ 5622 w 10825"/>
                          <a:gd name="connsiteY85" fmla="*/ 359 h 11423"/>
                          <a:gd name="connsiteX86" fmla="*/ 5383 w 10825"/>
                          <a:gd name="connsiteY86" fmla="*/ 479 h 11423"/>
                          <a:gd name="connsiteX87" fmla="*/ 5143 w 10825"/>
                          <a:gd name="connsiteY87" fmla="*/ 598 h 11423"/>
                          <a:gd name="connsiteX88" fmla="*/ 4904 w 10825"/>
                          <a:gd name="connsiteY88" fmla="*/ 718 h 11423"/>
                          <a:gd name="connsiteX89" fmla="*/ 4665 w 10825"/>
                          <a:gd name="connsiteY89" fmla="*/ 837 h 11423"/>
                          <a:gd name="connsiteX90" fmla="*/ 4366 w 10825"/>
                          <a:gd name="connsiteY90" fmla="*/ 1017 h 11423"/>
                          <a:gd name="connsiteX91" fmla="*/ 4067 w 10825"/>
                          <a:gd name="connsiteY91" fmla="*/ 1196 h 11423"/>
                          <a:gd name="connsiteX92" fmla="*/ 3768 w 10825"/>
                          <a:gd name="connsiteY92" fmla="*/ 1376 h 11423"/>
                          <a:gd name="connsiteX93" fmla="*/ 3529 w 10825"/>
                          <a:gd name="connsiteY93" fmla="*/ 1555 h 11423"/>
                          <a:gd name="connsiteX94" fmla="*/ 2572 w 10825"/>
                          <a:gd name="connsiteY94" fmla="*/ 2392 h 11423"/>
                          <a:gd name="connsiteX95" fmla="*/ 1735 w 10825"/>
                          <a:gd name="connsiteY95" fmla="*/ 3349 h 11423"/>
                          <a:gd name="connsiteX96" fmla="*/ 1017 w 10825"/>
                          <a:gd name="connsiteY96" fmla="*/ 4426 h 11423"/>
                          <a:gd name="connsiteX97" fmla="*/ 479 w 10825"/>
                          <a:gd name="connsiteY97" fmla="*/ 5562 h 11423"/>
                          <a:gd name="connsiteX98" fmla="*/ 120 w 10825"/>
                          <a:gd name="connsiteY98" fmla="*/ 6698 h 11423"/>
                          <a:gd name="connsiteX99" fmla="*/ 0 w 10825"/>
                          <a:gd name="connsiteY99" fmla="*/ 7775 h 11423"/>
                          <a:gd name="connsiteX100" fmla="*/ 60 w 10825"/>
                          <a:gd name="connsiteY100" fmla="*/ 8792 h 11423"/>
                          <a:gd name="connsiteX101" fmla="*/ 359 w 10825"/>
                          <a:gd name="connsiteY101" fmla="*/ 9689 h 11423"/>
                          <a:gd name="connsiteX102" fmla="*/ 479 w 10825"/>
                          <a:gd name="connsiteY102" fmla="*/ 9868 h 11423"/>
                          <a:gd name="connsiteX103" fmla="*/ 598 w 10825"/>
                          <a:gd name="connsiteY103" fmla="*/ 10048 h 11423"/>
                          <a:gd name="connsiteX104" fmla="*/ 718 w 10825"/>
                          <a:gd name="connsiteY104" fmla="*/ 10227 h 11423"/>
                          <a:gd name="connsiteX105" fmla="*/ 837 w 10825"/>
                          <a:gd name="connsiteY105" fmla="*/ 10406 h 11423"/>
                          <a:gd name="connsiteX106" fmla="*/ 957 w 10825"/>
                          <a:gd name="connsiteY106" fmla="*/ 10526 h 11423"/>
                          <a:gd name="connsiteX107" fmla="*/ 1076 w 10825"/>
                          <a:gd name="connsiteY107" fmla="*/ 10646 h 11423"/>
                          <a:gd name="connsiteX108" fmla="*/ 1196 w 10825"/>
                          <a:gd name="connsiteY108" fmla="*/ 10765 h 11423"/>
                          <a:gd name="connsiteX109" fmla="*/ 1316 w 10825"/>
                          <a:gd name="connsiteY109" fmla="*/ 10885 h 11423"/>
                          <a:gd name="connsiteX110" fmla="*/ 1376 w 10825"/>
                          <a:gd name="connsiteY110" fmla="*/ 10885 h 11423"/>
                          <a:gd name="connsiteX111" fmla="*/ 1435 w 10825"/>
                          <a:gd name="connsiteY111" fmla="*/ 10885 h 11423"/>
                          <a:gd name="connsiteX112" fmla="*/ 1435 w 10825"/>
                          <a:gd name="connsiteY112" fmla="*/ 10825 h 11423"/>
                          <a:gd name="connsiteX113" fmla="*/ 1435 w 10825"/>
                          <a:gd name="connsiteY113" fmla="*/ 10825 h 1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825" h="11423">
                            <a:moveTo>
                              <a:pt x="8852" y="1376"/>
                            </a:moveTo>
                            <a:cubicBezTo>
                              <a:pt x="8971" y="1435"/>
                              <a:pt x="9031" y="1495"/>
                              <a:pt x="9091" y="1615"/>
                            </a:cubicBezTo>
                            <a:cubicBezTo>
                              <a:pt x="9151" y="1675"/>
                              <a:pt x="9270" y="1794"/>
                              <a:pt x="9330" y="1854"/>
                            </a:cubicBezTo>
                            <a:cubicBezTo>
                              <a:pt x="9390" y="1914"/>
                              <a:pt x="9450" y="2034"/>
                              <a:pt x="9510" y="2153"/>
                            </a:cubicBezTo>
                            <a:cubicBezTo>
                              <a:pt x="9569" y="2273"/>
                              <a:pt x="9629" y="2333"/>
                              <a:pt x="9689" y="2452"/>
                            </a:cubicBezTo>
                            <a:cubicBezTo>
                              <a:pt x="9808" y="2691"/>
                              <a:pt x="9868" y="2930"/>
                              <a:pt x="9928" y="3230"/>
                            </a:cubicBezTo>
                            <a:cubicBezTo>
                              <a:pt x="9988" y="3529"/>
                              <a:pt x="9988" y="3768"/>
                              <a:pt x="9988" y="4067"/>
                            </a:cubicBezTo>
                            <a:cubicBezTo>
                              <a:pt x="9988" y="4366"/>
                              <a:pt x="9928" y="4665"/>
                              <a:pt x="9868" y="4964"/>
                            </a:cubicBezTo>
                            <a:cubicBezTo>
                              <a:pt x="9808" y="5263"/>
                              <a:pt x="9689" y="5622"/>
                              <a:pt x="9569" y="5921"/>
                            </a:cubicBezTo>
                            <a:cubicBezTo>
                              <a:pt x="9450" y="6220"/>
                              <a:pt x="9270" y="6579"/>
                              <a:pt x="9091" y="6878"/>
                            </a:cubicBezTo>
                            <a:cubicBezTo>
                              <a:pt x="8911" y="7177"/>
                              <a:pt x="8732" y="7476"/>
                              <a:pt x="8493" y="7775"/>
                            </a:cubicBezTo>
                            <a:cubicBezTo>
                              <a:pt x="8253" y="8074"/>
                              <a:pt x="8014" y="8313"/>
                              <a:pt x="7775" y="8612"/>
                            </a:cubicBezTo>
                            <a:cubicBezTo>
                              <a:pt x="7536" y="8911"/>
                              <a:pt x="7237" y="9091"/>
                              <a:pt x="6998" y="9330"/>
                            </a:cubicBezTo>
                            <a:cubicBezTo>
                              <a:pt x="6698" y="9569"/>
                              <a:pt x="6399" y="9749"/>
                              <a:pt x="6100" y="9928"/>
                            </a:cubicBezTo>
                            <a:cubicBezTo>
                              <a:pt x="5801" y="10107"/>
                              <a:pt x="5503" y="10227"/>
                              <a:pt x="5203" y="10347"/>
                            </a:cubicBezTo>
                            <a:cubicBezTo>
                              <a:pt x="4904" y="10466"/>
                              <a:pt x="4605" y="10526"/>
                              <a:pt x="4306" y="10586"/>
                            </a:cubicBezTo>
                            <a:cubicBezTo>
                              <a:pt x="4007" y="10646"/>
                              <a:pt x="3708" y="10646"/>
                              <a:pt x="3469" y="10646"/>
                            </a:cubicBezTo>
                            <a:cubicBezTo>
                              <a:pt x="3349" y="10646"/>
                              <a:pt x="3170" y="10646"/>
                              <a:pt x="3050" y="10586"/>
                            </a:cubicBezTo>
                            <a:cubicBezTo>
                              <a:pt x="2930" y="10586"/>
                              <a:pt x="2751" y="10526"/>
                              <a:pt x="2632" y="10466"/>
                            </a:cubicBezTo>
                            <a:cubicBezTo>
                              <a:pt x="2512" y="10406"/>
                              <a:pt x="2392" y="10347"/>
                              <a:pt x="2273" y="10287"/>
                            </a:cubicBezTo>
                            <a:cubicBezTo>
                              <a:pt x="2153" y="10227"/>
                              <a:pt x="2034" y="10167"/>
                              <a:pt x="1914" y="10107"/>
                            </a:cubicBezTo>
                            <a:cubicBezTo>
                              <a:pt x="1914" y="10107"/>
                              <a:pt x="1914" y="10107"/>
                              <a:pt x="1914" y="10107"/>
                            </a:cubicBezTo>
                            <a:cubicBezTo>
                              <a:pt x="1914" y="10107"/>
                              <a:pt x="1914" y="10107"/>
                              <a:pt x="1914" y="10107"/>
                            </a:cubicBezTo>
                            <a:cubicBezTo>
                              <a:pt x="1914" y="10107"/>
                              <a:pt x="1914" y="10107"/>
                              <a:pt x="1914" y="10107"/>
                            </a:cubicBezTo>
                            <a:cubicBezTo>
                              <a:pt x="1914" y="10107"/>
                              <a:pt x="1914" y="10107"/>
                              <a:pt x="1914" y="10107"/>
                            </a:cubicBezTo>
                            <a:cubicBezTo>
                              <a:pt x="1854" y="10048"/>
                              <a:pt x="1854" y="10048"/>
                              <a:pt x="1794" y="9988"/>
                            </a:cubicBezTo>
                            <a:cubicBezTo>
                              <a:pt x="1735" y="9928"/>
                              <a:pt x="1735" y="9928"/>
                              <a:pt x="1675" y="9868"/>
                            </a:cubicBezTo>
                            <a:cubicBezTo>
                              <a:pt x="1615" y="9808"/>
                              <a:pt x="1615" y="9808"/>
                              <a:pt x="1555" y="9749"/>
                            </a:cubicBezTo>
                            <a:cubicBezTo>
                              <a:pt x="1495" y="9689"/>
                              <a:pt x="1495" y="9689"/>
                              <a:pt x="1435" y="9629"/>
                            </a:cubicBezTo>
                            <a:cubicBezTo>
                              <a:pt x="1376" y="9569"/>
                              <a:pt x="1376" y="9569"/>
                              <a:pt x="1316" y="9510"/>
                            </a:cubicBezTo>
                            <a:cubicBezTo>
                              <a:pt x="1256" y="9450"/>
                              <a:pt x="1256" y="9390"/>
                              <a:pt x="1256" y="9390"/>
                            </a:cubicBezTo>
                            <a:cubicBezTo>
                              <a:pt x="1256" y="9330"/>
                              <a:pt x="1196" y="9270"/>
                              <a:pt x="1196" y="9270"/>
                            </a:cubicBezTo>
                            <a:cubicBezTo>
                              <a:pt x="1196" y="9211"/>
                              <a:pt x="1136" y="9151"/>
                              <a:pt x="1136" y="9091"/>
                            </a:cubicBezTo>
                            <a:cubicBezTo>
                              <a:pt x="1017" y="8852"/>
                              <a:pt x="957" y="8612"/>
                              <a:pt x="897" y="8313"/>
                            </a:cubicBezTo>
                            <a:cubicBezTo>
                              <a:pt x="837" y="8014"/>
                              <a:pt x="837" y="7775"/>
                              <a:pt x="837" y="7476"/>
                            </a:cubicBezTo>
                            <a:cubicBezTo>
                              <a:pt x="837" y="7177"/>
                              <a:pt x="897" y="6878"/>
                              <a:pt x="957" y="6579"/>
                            </a:cubicBezTo>
                            <a:cubicBezTo>
                              <a:pt x="1017" y="6280"/>
                              <a:pt x="1136" y="5921"/>
                              <a:pt x="1256" y="5622"/>
                            </a:cubicBezTo>
                            <a:cubicBezTo>
                              <a:pt x="1376" y="5323"/>
                              <a:pt x="1555" y="4964"/>
                              <a:pt x="1735" y="4665"/>
                            </a:cubicBezTo>
                            <a:cubicBezTo>
                              <a:pt x="1914" y="4366"/>
                              <a:pt x="2093" y="4067"/>
                              <a:pt x="2333" y="3768"/>
                            </a:cubicBezTo>
                            <a:cubicBezTo>
                              <a:pt x="2572" y="3469"/>
                              <a:pt x="2811" y="3230"/>
                              <a:pt x="3050" y="2930"/>
                            </a:cubicBezTo>
                            <a:cubicBezTo>
                              <a:pt x="3289" y="2632"/>
                              <a:pt x="3589" y="2452"/>
                              <a:pt x="3888" y="2213"/>
                            </a:cubicBezTo>
                            <a:cubicBezTo>
                              <a:pt x="4007" y="2153"/>
                              <a:pt x="4127" y="2034"/>
                              <a:pt x="4246" y="1974"/>
                            </a:cubicBezTo>
                            <a:cubicBezTo>
                              <a:pt x="4366" y="1914"/>
                              <a:pt x="4486" y="1794"/>
                              <a:pt x="4605" y="1735"/>
                            </a:cubicBezTo>
                            <a:cubicBezTo>
                              <a:pt x="4725" y="1675"/>
                              <a:pt x="4844" y="1615"/>
                              <a:pt x="4964" y="1555"/>
                            </a:cubicBezTo>
                            <a:cubicBezTo>
                              <a:pt x="5084" y="1495"/>
                              <a:pt x="5203" y="1435"/>
                              <a:pt x="5323" y="1376"/>
                            </a:cubicBezTo>
                            <a:cubicBezTo>
                              <a:pt x="5383" y="1316"/>
                              <a:pt x="5503" y="1316"/>
                              <a:pt x="5562" y="1256"/>
                            </a:cubicBezTo>
                            <a:cubicBezTo>
                              <a:pt x="5622" y="1196"/>
                              <a:pt x="5742" y="1196"/>
                              <a:pt x="5801" y="1136"/>
                            </a:cubicBezTo>
                            <a:cubicBezTo>
                              <a:pt x="5861" y="1076"/>
                              <a:pt x="5981" y="1076"/>
                              <a:pt x="6041" y="1076"/>
                            </a:cubicBezTo>
                            <a:cubicBezTo>
                              <a:pt x="6100" y="1076"/>
                              <a:pt x="6220" y="1017"/>
                              <a:pt x="6280" y="1017"/>
                            </a:cubicBezTo>
                            <a:cubicBezTo>
                              <a:pt x="6399" y="1017"/>
                              <a:pt x="6459" y="957"/>
                              <a:pt x="6579" y="957"/>
                            </a:cubicBezTo>
                            <a:cubicBezTo>
                              <a:pt x="6639" y="957"/>
                              <a:pt x="6758" y="957"/>
                              <a:pt x="6818" y="897"/>
                            </a:cubicBezTo>
                            <a:cubicBezTo>
                              <a:pt x="6878" y="897"/>
                              <a:pt x="6998" y="897"/>
                              <a:pt x="7057" y="897"/>
                            </a:cubicBezTo>
                            <a:cubicBezTo>
                              <a:pt x="7117" y="897"/>
                              <a:pt x="7237" y="897"/>
                              <a:pt x="7297" y="897"/>
                            </a:cubicBezTo>
                            <a:cubicBezTo>
                              <a:pt x="7476" y="897"/>
                              <a:pt x="7596" y="897"/>
                              <a:pt x="7715" y="957"/>
                            </a:cubicBezTo>
                            <a:cubicBezTo>
                              <a:pt x="7835" y="957"/>
                              <a:pt x="8014" y="1017"/>
                              <a:pt x="8134" y="1076"/>
                            </a:cubicBezTo>
                            <a:cubicBezTo>
                              <a:pt x="8253" y="1136"/>
                              <a:pt x="8373" y="1196"/>
                              <a:pt x="8493" y="1256"/>
                            </a:cubicBezTo>
                            <a:cubicBezTo>
                              <a:pt x="8672" y="1196"/>
                              <a:pt x="8792" y="1316"/>
                              <a:pt x="8852" y="1376"/>
                            </a:cubicBezTo>
                            <a:moveTo>
                              <a:pt x="1435" y="10825"/>
                            </a:moveTo>
                            <a:cubicBezTo>
                              <a:pt x="1555" y="10885"/>
                              <a:pt x="1675" y="11005"/>
                              <a:pt x="1794" y="11065"/>
                            </a:cubicBezTo>
                            <a:cubicBezTo>
                              <a:pt x="1914" y="11124"/>
                              <a:pt x="2093" y="11184"/>
                              <a:pt x="2213" y="11244"/>
                            </a:cubicBezTo>
                            <a:cubicBezTo>
                              <a:pt x="2333" y="11304"/>
                              <a:pt x="2512" y="11304"/>
                              <a:pt x="2691" y="11364"/>
                            </a:cubicBezTo>
                            <a:cubicBezTo>
                              <a:pt x="2871" y="11364"/>
                              <a:pt x="2990" y="11423"/>
                              <a:pt x="3170" y="11423"/>
                            </a:cubicBezTo>
                            <a:cubicBezTo>
                              <a:pt x="3469" y="11423"/>
                              <a:pt x="3828" y="11423"/>
                              <a:pt x="4187" y="11364"/>
                            </a:cubicBezTo>
                            <a:cubicBezTo>
                              <a:pt x="4545" y="11304"/>
                              <a:pt x="4904" y="11184"/>
                              <a:pt x="5203" y="11065"/>
                            </a:cubicBezTo>
                            <a:cubicBezTo>
                              <a:pt x="5562" y="10945"/>
                              <a:pt x="5921" y="10765"/>
                              <a:pt x="6280" y="10586"/>
                            </a:cubicBezTo>
                            <a:cubicBezTo>
                              <a:pt x="6639" y="10406"/>
                              <a:pt x="6998" y="10167"/>
                              <a:pt x="7297" y="9928"/>
                            </a:cubicBezTo>
                            <a:cubicBezTo>
                              <a:pt x="7596" y="9689"/>
                              <a:pt x="7954" y="9390"/>
                              <a:pt x="8253" y="9091"/>
                            </a:cubicBezTo>
                            <a:cubicBezTo>
                              <a:pt x="8552" y="8792"/>
                              <a:pt x="8852" y="8493"/>
                              <a:pt x="9091" y="8134"/>
                            </a:cubicBezTo>
                            <a:cubicBezTo>
                              <a:pt x="9330" y="7775"/>
                              <a:pt x="9569" y="7476"/>
                              <a:pt x="9808" y="7117"/>
                            </a:cubicBezTo>
                            <a:cubicBezTo>
                              <a:pt x="9988" y="6758"/>
                              <a:pt x="10167" y="6399"/>
                              <a:pt x="10347" y="5981"/>
                            </a:cubicBezTo>
                            <a:cubicBezTo>
                              <a:pt x="10526" y="5622"/>
                              <a:pt x="10586" y="5203"/>
                              <a:pt x="10706" y="4844"/>
                            </a:cubicBezTo>
                            <a:cubicBezTo>
                              <a:pt x="10765" y="4486"/>
                              <a:pt x="10825" y="4127"/>
                              <a:pt x="10825" y="3768"/>
                            </a:cubicBezTo>
                            <a:cubicBezTo>
                              <a:pt x="10825" y="3409"/>
                              <a:pt x="10825" y="3110"/>
                              <a:pt x="10765" y="2751"/>
                            </a:cubicBezTo>
                            <a:cubicBezTo>
                              <a:pt x="10706" y="2452"/>
                              <a:pt x="10646" y="2153"/>
                              <a:pt x="10526" y="1854"/>
                            </a:cubicBezTo>
                            <a:cubicBezTo>
                              <a:pt x="10466" y="1735"/>
                              <a:pt x="10406" y="1615"/>
                              <a:pt x="10347" y="1495"/>
                            </a:cubicBezTo>
                            <a:cubicBezTo>
                              <a:pt x="10287" y="1376"/>
                              <a:pt x="10167" y="1256"/>
                              <a:pt x="10107" y="1136"/>
                            </a:cubicBezTo>
                            <a:cubicBezTo>
                              <a:pt x="10048" y="1017"/>
                              <a:pt x="9928" y="957"/>
                              <a:pt x="9808" y="837"/>
                            </a:cubicBezTo>
                            <a:cubicBezTo>
                              <a:pt x="9689" y="718"/>
                              <a:pt x="9629" y="658"/>
                              <a:pt x="9510" y="598"/>
                            </a:cubicBezTo>
                            <a:cubicBezTo>
                              <a:pt x="9390" y="538"/>
                              <a:pt x="9270" y="419"/>
                              <a:pt x="9091" y="359"/>
                            </a:cubicBezTo>
                            <a:cubicBezTo>
                              <a:pt x="8971" y="299"/>
                              <a:pt x="8792" y="239"/>
                              <a:pt x="8672" y="180"/>
                            </a:cubicBezTo>
                            <a:cubicBezTo>
                              <a:pt x="8552" y="120"/>
                              <a:pt x="8373" y="60"/>
                              <a:pt x="8194" y="60"/>
                            </a:cubicBezTo>
                            <a:cubicBezTo>
                              <a:pt x="8014" y="0"/>
                              <a:pt x="7835" y="0"/>
                              <a:pt x="7715" y="0"/>
                            </a:cubicBezTo>
                            <a:cubicBezTo>
                              <a:pt x="7536" y="0"/>
                              <a:pt x="7357" y="0"/>
                              <a:pt x="7237" y="0"/>
                            </a:cubicBezTo>
                            <a:cubicBezTo>
                              <a:pt x="7057" y="0"/>
                              <a:pt x="6878" y="60"/>
                              <a:pt x="6698" y="60"/>
                            </a:cubicBezTo>
                            <a:cubicBezTo>
                              <a:pt x="6519" y="60"/>
                              <a:pt x="6340" y="120"/>
                              <a:pt x="6160" y="180"/>
                            </a:cubicBezTo>
                            <a:cubicBezTo>
                              <a:pt x="5981" y="239"/>
                              <a:pt x="5801" y="299"/>
                              <a:pt x="5622" y="359"/>
                            </a:cubicBezTo>
                            <a:cubicBezTo>
                              <a:pt x="5562" y="359"/>
                              <a:pt x="5443" y="419"/>
                              <a:pt x="5383" y="479"/>
                            </a:cubicBezTo>
                            <a:cubicBezTo>
                              <a:pt x="5323" y="538"/>
                              <a:pt x="5203" y="538"/>
                              <a:pt x="5143" y="598"/>
                            </a:cubicBezTo>
                            <a:cubicBezTo>
                              <a:pt x="5084" y="658"/>
                              <a:pt x="4964" y="658"/>
                              <a:pt x="4904" y="718"/>
                            </a:cubicBezTo>
                            <a:cubicBezTo>
                              <a:pt x="4844" y="778"/>
                              <a:pt x="4725" y="778"/>
                              <a:pt x="4665" y="837"/>
                            </a:cubicBezTo>
                            <a:cubicBezTo>
                              <a:pt x="4545" y="897"/>
                              <a:pt x="4486" y="957"/>
                              <a:pt x="4366" y="1017"/>
                            </a:cubicBezTo>
                            <a:cubicBezTo>
                              <a:pt x="4246" y="1076"/>
                              <a:pt x="4187" y="1136"/>
                              <a:pt x="4067" y="1196"/>
                            </a:cubicBezTo>
                            <a:cubicBezTo>
                              <a:pt x="3947" y="1256"/>
                              <a:pt x="3888" y="1316"/>
                              <a:pt x="3768" y="1376"/>
                            </a:cubicBezTo>
                            <a:cubicBezTo>
                              <a:pt x="3708" y="1435"/>
                              <a:pt x="3589" y="1495"/>
                              <a:pt x="3529" y="1555"/>
                            </a:cubicBezTo>
                            <a:cubicBezTo>
                              <a:pt x="3170" y="1794"/>
                              <a:pt x="2871" y="2093"/>
                              <a:pt x="2572" y="2392"/>
                            </a:cubicBezTo>
                            <a:cubicBezTo>
                              <a:pt x="2273" y="2691"/>
                              <a:pt x="1974" y="2990"/>
                              <a:pt x="1735" y="3349"/>
                            </a:cubicBezTo>
                            <a:cubicBezTo>
                              <a:pt x="1495" y="3708"/>
                              <a:pt x="1256" y="4067"/>
                              <a:pt x="1017" y="4426"/>
                            </a:cubicBezTo>
                            <a:cubicBezTo>
                              <a:pt x="837" y="4785"/>
                              <a:pt x="658" y="5144"/>
                              <a:pt x="479" y="5562"/>
                            </a:cubicBezTo>
                            <a:cubicBezTo>
                              <a:pt x="299" y="5921"/>
                              <a:pt x="239" y="6340"/>
                              <a:pt x="120" y="6698"/>
                            </a:cubicBezTo>
                            <a:cubicBezTo>
                              <a:pt x="0" y="7057"/>
                              <a:pt x="0" y="7416"/>
                              <a:pt x="0" y="7775"/>
                            </a:cubicBezTo>
                            <a:cubicBezTo>
                              <a:pt x="0" y="8134"/>
                              <a:pt x="0" y="8433"/>
                              <a:pt x="60" y="8792"/>
                            </a:cubicBezTo>
                            <a:cubicBezTo>
                              <a:pt x="120" y="9151"/>
                              <a:pt x="239" y="9390"/>
                              <a:pt x="359" y="9689"/>
                            </a:cubicBezTo>
                            <a:cubicBezTo>
                              <a:pt x="419" y="9749"/>
                              <a:pt x="419" y="9808"/>
                              <a:pt x="479" y="9868"/>
                            </a:cubicBezTo>
                            <a:cubicBezTo>
                              <a:pt x="538" y="9928"/>
                              <a:pt x="538" y="9988"/>
                              <a:pt x="598" y="10048"/>
                            </a:cubicBezTo>
                            <a:cubicBezTo>
                              <a:pt x="658" y="10107"/>
                              <a:pt x="658" y="10167"/>
                              <a:pt x="718" y="10227"/>
                            </a:cubicBezTo>
                            <a:cubicBezTo>
                              <a:pt x="778" y="10287"/>
                              <a:pt x="778" y="10347"/>
                              <a:pt x="837" y="10406"/>
                            </a:cubicBezTo>
                            <a:cubicBezTo>
                              <a:pt x="897" y="10466"/>
                              <a:pt x="897" y="10466"/>
                              <a:pt x="957" y="10526"/>
                            </a:cubicBezTo>
                            <a:cubicBezTo>
                              <a:pt x="1017" y="10586"/>
                              <a:pt x="1017" y="10586"/>
                              <a:pt x="1076" y="10646"/>
                            </a:cubicBezTo>
                            <a:cubicBezTo>
                              <a:pt x="1136" y="10706"/>
                              <a:pt x="1136" y="10706"/>
                              <a:pt x="1196" y="10765"/>
                            </a:cubicBezTo>
                            <a:cubicBezTo>
                              <a:pt x="1256" y="10825"/>
                              <a:pt x="1256" y="10825"/>
                              <a:pt x="1316" y="10885"/>
                            </a:cubicBezTo>
                            <a:cubicBezTo>
                              <a:pt x="1316" y="10885"/>
                              <a:pt x="1316" y="10885"/>
                              <a:pt x="1376" y="10885"/>
                            </a:cubicBezTo>
                            <a:cubicBezTo>
                              <a:pt x="1435" y="10885"/>
                              <a:pt x="1376" y="10885"/>
                              <a:pt x="1435" y="10885"/>
                            </a:cubicBezTo>
                            <a:cubicBezTo>
                              <a:pt x="1376" y="10825"/>
                              <a:pt x="1376" y="10825"/>
                              <a:pt x="1435" y="10825"/>
                            </a:cubicBezTo>
                            <a:cubicBezTo>
                              <a:pt x="1376" y="10825"/>
                              <a:pt x="1435" y="10825"/>
                              <a:pt x="1435" y="10825"/>
                            </a:cubicBezTo>
                          </a:path>
                        </a:pathLst>
                      </a:custGeom>
                      <a:noFill/>
                      <a:ln w="6350" cap="flat">
                        <a:solidFill>
                          <a:schemeClr val="bg1">
                            <a:alpha val="40000"/>
                          </a:schemeClr>
                        </a:solidFill>
                        <a:prstDash val="solid"/>
                        <a:miter/>
                      </a:ln>
                    </p:spPr>
                    <p:txBody>
                      <a:bodyPr rtlCol="0" anchor="ctr"/>
                      <a:lstStyle/>
                      <a:p>
                        <a:endParaRPr lang="en-GB"/>
                      </a:p>
                    </p:txBody>
                  </p:sp>
                  <p:sp>
                    <p:nvSpPr>
                      <p:cNvPr id="7456" name="Vrije vorm: vorm 7455">
                        <a:extLst>
                          <a:ext uri="{FF2B5EF4-FFF2-40B4-BE49-F238E27FC236}">
                            <a16:creationId xmlns:a16="http://schemas.microsoft.com/office/drawing/2014/main" id="{F45174B2-35A2-4CD2-9EC9-1CB80B289CC3}"/>
                          </a:ext>
                        </a:extLst>
                      </p:cNvPr>
                      <p:cNvSpPr/>
                      <p:nvPr/>
                    </p:nvSpPr>
                    <p:spPr>
                      <a:xfrm>
                        <a:off x="5292150" y="5390105"/>
                        <a:ext cx="35317" cy="37020"/>
                      </a:xfrm>
                      <a:custGeom>
                        <a:avLst/>
                        <a:gdLst>
                          <a:gd name="connsiteX0" fmla="*/ 13069 w 35317"/>
                          <a:gd name="connsiteY0" fmla="*/ 36124 h 37020"/>
                          <a:gd name="connsiteX1" fmla="*/ 10976 w 35317"/>
                          <a:gd name="connsiteY1" fmla="*/ 36064 h 37020"/>
                          <a:gd name="connsiteX2" fmla="*/ 9002 w 35317"/>
                          <a:gd name="connsiteY2" fmla="*/ 35705 h 37020"/>
                          <a:gd name="connsiteX3" fmla="*/ 7208 w 35317"/>
                          <a:gd name="connsiteY3" fmla="*/ 35047 h 37020"/>
                          <a:gd name="connsiteX4" fmla="*/ 5593 w 35317"/>
                          <a:gd name="connsiteY4" fmla="*/ 34090 h 37020"/>
                          <a:gd name="connsiteX5" fmla="*/ 5414 w 35317"/>
                          <a:gd name="connsiteY5" fmla="*/ 33971 h 37020"/>
                          <a:gd name="connsiteX6" fmla="*/ 5234 w 35317"/>
                          <a:gd name="connsiteY6" fmla="*/ 33851 h 37020"/>
                          <a:gd name="connsiteX7" fmla="*/ 5055 w 35317"/>
                          <a:gd name="connsiteY7" fmla="*/ 33731 h 37020"/>
                          <a:gd name="connsiteX8" fmla="*/ 4875 w 35317"/>
                          <a:gd name="connsiteY8" fmla="*/ 33612 h 37020"/>
                          <a:gd name="connsiteX9" fmla="*/ 1706 w 35317"/>
                          <a:gd name="connsiteY9" fmla="*/ 28887 h 37020"/>
                          <a:gd name="connsiteX10" fmla="*/ 1048 w 35317"/>
                          <a:gd name="connsiteY10" fmla="*/ 22727 h 37020"/>
                          <a:gd name="connsiteX11" fmla="*/ 2902 w 35317"/>
                          <a:gd name="connsiteY11" fmla="*/ 15909 h 37020"/>
                          <a:gd name="connsiteX12" fmla="*/ 7148 w 35317"/>
                          <a:gd name="connsiteY12" fmla="*/ 9270 h 37020"/>
                          <a:gd name="connsiteX13" fmla="*/ 8882 w 35317"/>
                          <a:gd name="connsiteY13" fmla="*/ 7476 h 37020"/>
                          <a:gd name="connsiteX14" fmla="*/ 10736 w 35317"/>
                          <a:gd name="connsiteY14" fmla="*/ 5861 h 37020"/>
                          <a:gd name="connsiteX15" fmla="*/ 12650 w 35317"/>
                          <a:gd name="connsiteY15" fmla="*/ 4426 h 37020"/>
                          <a:gd name="connsiteX16" fmla="*/ 14684 w 35317"/>
                          <a:gd name="connsiteY16" fmla="*/ 3230 h 37020"/>
                          <a:gd name="connsiteX17" fmla="*/ 14923 w 35317"/>
                          <a:gd name="connsiteY17" fmla="*/ 3110 h 37020"/>
                          <a:gd name="connsiteX18" fmla="*/ 15162 w 35317"/>
                          <a:gd name="connsiteY18" fmla="*/ 2990 h 37020"/>
                          <a:gd name="connsiteX19" fmla="*/ 15401 w 35317"/>
                          <a:gd name="connsiteY19" fmla="*/ 2871 h 37020"/>
                          <a:gd name="connsiteX20" fmla="*/ 15641 w 35317"/>
                          <a:gd name="connsiteY20" fmla="*/ 2751 h 37020"/>
                          <a:gd name="connsiteX21" fmla="*/ 16597 w 35317"/>
                          <a:gd name="connsiteY21" fmla="*/ 2333 h 37020"/>
                          <a:gd name="connsiteX22" fmla="*/ 17554 w 35317"/>
                          <a:gd name="connsiteY22" fmla="*/ 1974 h 37020"/>
                          <a:gd name="connsiteX23" fmla="*/ 18511 w 35317"/>
                          <a:gd name="connsiteY23" fmla="*/ 1675 h 37020"/>
                          <a:gd name="connsiteX24" fmla="*/ 19468 w 35317"/>
                          <a:gd name="connsiteY24" fmla="*/ 1436 h 37020"/>
                          <a:gd name="connsiteX25" fmla="*/ 19827 w 35317"/>
                          <a:gd name="connsiteY25" fmla="*/ 1376 h 37020"/>
                          <a:gd name="connsiteX26" fmla="*/ 20186 w 35317"/>
                          <a:gd name="connsiteY26" fmla="*/ 1316 h 37020"/>
                          <a:gd name="connsiteX27" fmla="*/ 20545 w 35317"/>
                          <a:gd name="connsiteY27" fmla="*/ 1256 h 37020"/>
                          <a:gd name="connsiteX28" fmla="*/ 20903 w 35317"/>
                          <a:gd name="connsiteY28" fmla="*/ 1196 h 37020"/>
                          <a:gd name="connsiteX29" fmla="*/ 21143 w 35317"/>
                          <a:gd name="connsiteY29" fmla="*/ 1136 h 37020"/>
                          <a:gd name="connsiteX30" fmla="*/ 21382 w 35317"/>
                          <a:gd name="connsiteY30" fmla="*/ 1077 h 37020"/>
                          <a:gd name="connsiteX31" fmla="*/ 21621 w 35317"/>
                          <a:gd name="connsiteY31" fmla="*/ 1077 h 37020"/>
                          <a:gd name="connsiteX32" fmla="*/ 21861 w 35317"/>
                          <a:gd name="connsiteY32" fmla="*/ 1077 h 37020"/>
                          <a:gd name="connsiteX33" fmla="*/ 23356 w 35317"/>
                          <a:gd name="connsiteY33" fmla="*/ 957 h 37020"/>
                          <a:gd name="connsiteX34" fmla="*/ 24791 w 35317"/>
                          <a:gd name="connsiteY34" fmla="*/ 1017 h 37020"/>
                          <a:gd name="connsiteX35" fmla="*/ 26166 w 35317"/>
                          <a:gd name="connsiteY35" fmla="*/ 1256 h 37020"/>
                          <a:gd name="connsiteX36" fmla="*/ 27482 w 35317"/>
                          <a:gd name="connsiteY36" fmla="*/ 1615 h 37020"/>
                          <a:gd name="connsiteX37" fmla="*/ 27662 w 35317"/>
                          <a:gd name="connsiteY37" fmla="*/ 1675 h 37020"/>
                          <a:gd name="connsiteX38" fmla="*/ 27841 w 35317"/>
                          <a:gd name="connsiteY38" fmla="*/ 1735 h 37020"/>
                          <a:gd name="connsiteX39" fmla="*/ 28020 w 35317"/>
                          <a:gd name="connsiteY39" fmla="*/ 1795 h 37020"/>
                          <a:gd name="connsiteX40" fmla="*/ 28200 w 35317"/>
                          <a:gd name="connsiteY40" fmla="*/ 1854 h 37020"/>
                          <a:gd name="connsiteX41" fmla="*/ 28738 w 35317"/>
                          <a:gd name="connsiteY41" fmla="*/ 2093 h 37020"/>
                          <a:gd name="connsiteX42" fmla="*/ 29277 w 35317"/>
                          <a:gd name="connsiteY42" fmla="*/ 2392 h 37020"/>
                          <a:gd name="connsiteX43" fmla="*/ 29815 w 35317"/>
                          <a:gd name="connsiteY43" fmla="*/ 2691 h 37020"/>
                          <a:gd name="connsiteX44" fmla="*/ 30353 w 35317"/>
                          <a:gd name="connsiteY44" fmla="*/ 3050 h 37020"/>
                          <a:gd name="connsiteX45" fmla="*/ 30533 w 35317"/>
                          <a:gd name="connsiteY45" fmla="*/ 3170 h 37020"/>
                          <a:gd name="connsiteX46" fmla="*/ 30712 w 35317"/>
                          <a:gd name="connsiteY46" fmla="*/ 3290 h 37020"/>
                          <a:gd name="connsiteX47" fmla="*/ 30891 w 35317"/>
                          <a:gd name="connsiteY47" fmla="*/ 3409 h 37020"/>
                          <a:gd name="connsiteX48" fmla="*/ 31071 w 35317"/>
                          <a:gd name="connsiteY48" fmla="*/ 3529 h 37020"/>
                          <a:gd name="connsiteX49" fmla="*/ 31609 w 35317"/>
                          <a:gd name="connsiteY49" fmla="*/ 4007 h 37020"/>
                          <a:gd name="connsiteX50" fmla="*/ 32088 w 35317"/>
                          <a:gd name="connsiteY50" fmla="*/ 4545 h 37020"/>
                          <a:gd name="connsiteX51" fmla="*/ 32506 w 35317"/>
                          <a:gd name="connsiteY51" fmla="*/ 5144 h 37020"/>
                          <a:gd name="connsiteX52" fmla="*/ 32925 w 35317"/>
                          <a:gd name="connsiteY52" fmla="*/ 5742 h 37020"/>
                          <a:gd name="connsiteX53" fmla="*/ 33044 w 35317"/>
                          <a:gd name="connsiteY53" fmla="*/ 5921 h 37020"/>
                          <a:gd name="connsiteX54" fmla="*/ 33164 w 35317"/>
                          <a:gd name="connsiteY54" fmla="*/ 6100 h 37020"/>
                          <a:gd name="connsiteX55" fmla="*/ 33284 w 35317"/>
                          <a:gd name="connsiteY55" fmla="*/ 6280 h 37020"/>
                          <a:gd name="connsiteX56" fmla="*/ 33403 w 35317"/>
                          <a:gd name="connsiteY56" fmla="*/ 6459 h 37020"/>
                          <a:gd name="connsiteX57" fmla="*/ 33942 w 35317"/>
                          <a:gd name="connsiteY57" fmla="*/ 7596 h 37020"/>
                          <a:gd name="connsiteX58" fmla="*/ 34360 w 35317"/>
                          <a:gd name="connsiteY58" fmla="*/ 8792 h 37020"/>
                          <a:gd name="connsiteX59" fmla="*/ 34659 w 35317"/>
                          <a:gd name="connsiteY59" fmla="*/ 10048 h 37020"/>
                          <a:gd name="connsiteX60" fmla="*/ 34839 w 35317"/>
                          <a:gd name="connsiteY60" fmla="*/ 11364 h 37020"/>
                          <a:gd name="connsiteX61" fmla="*/ 34839 w 35317"/>
                          <a:gd name="connsiteY61" fmla="*/ 11722 h 37020"/>
                          <a:gd name="connsiteX62" fmla="*/ 34839 w 35317"/>
                          <a:gd name="connsiteY62" fmla="*/ 12081 h 37020"/>
                          <a:gd name="connsiteX63" fmla="*/ 34839 w 35317"/>
                          <a:gd name="connsiteY63" fmla="*/ 12440 h 37020"/>
                          <a:gd name="connsiteX64" fmla="*/ 34839 w 35317"/>
                          <a:gd name="connsiteY64" fmla="*/ 12799 h 37020"/>
                          <a:gd name="connsiteX65" fmla="*/ 34839 w 35317"/>
                          <a:gd name="connsiteY65" fmla="*/ 13218 h 37020"/>
                          <a:gd name="connsiteX66" fmla="*/ 34839 w 35317"/>
                          <a:gd name="connsiteY66" fmla="*/ 13636 h 37020"/>
                          <a:gd name="connsiteX67" fmla="*/ 34839 w 35317"/>
                          <a:gd name="connsiteY67" fmla="*/ 14055 h 37020"/>
                          <a:gd name="connsiteX68" fmla="*/ 34779 w 35317"/>
                          <a:gd name="connsiteY68" fmla="*/ 14474 h 37020"/>
                          <a:gd name="connsiteX69" fmla="*/ 34360 w 35317"/>
                          <a:gd name="connsiteY69" fmla="*/ 16985 h 37020"/>
                          <a:gd name="connsiteX70" fmla="*/ 33642 w 35317"/>
                          <a:gd name="connsiteY70" fmla="*/ 19497 h 37020"/>
                          <a:gd name="connsiteX71" fmla="*/ 32626 w 35317"/>
                          <a:gd name="connsiteY71" fmla="*/ 21950 h 37020"/>
                          <a:gd name="connsiteX72" fmla="*/ 31310 w 35317"/>
                          <a:gd name="connsiteY72" fmla="*/ 24342 h 37020"/>
                          <a:gd name="connsiteX73" fmla="*/ 31190 w 35317"/>
                          <a:gd name="connsiteY73" fmla="*/ 24581 h 37020"/>
                          <a:gd name="connsiteX74" fmla="*/ 31071 w 35317"/>
                          <a:gd name="connsiteY74" fmla="*/ 24820 h 37020"/>
                          <a:gd name="connsiteX75" fmla="*/ 30951 w 35317"/>
                          <a:gd name="connsiteY75" fmla="*/ 25059 h 37020"/>
                          <a:gd name="connsiteX76" fmla="*/ 30832 w 35317"/>
                          <a:gd name="connsiteY76" fmla="*/ 25299 h 37020"/>
                          <a:gd name="connsiteX77" fmla="*/ 30353 w 35317"/>
                          <a:gd name="connsiteY77" fmla="*/ 25956 h 37020"/>
                          <a:gd name="connsiteX78" fmla="*/ 29874 w 35317"/>
                          <a:gd name="connsiteY78" fmla="*/ 26614 h 37020"/>
                          <a:gd name="connsiteX79" fmla="*/ 29336 w 35317"/>
                          <a:gd name="connsiteY79" fmla="*/ 27272 h 37020"/>
                          <a:gd name="connsiteX80" fmla="*/ 28798 w 35317"/>
                          <a:gd name="connsiteY80" fmla="*/ 27930 h 37020"/>
                          <a:gd name="connsiteX81" fmla="*/ 27602 w 35317"/>
                          <a:gd name="connsiteY81" fmla="*/ 29246 h 37020"/>
                          <a:gd name="connsiteX82" fmla="*/ 26346 w 35317"/>
                          <a:gd name="connsiteY82" fmla="*/ 30442 h 37020"/>
                          <a:gd name="connsiteX83" fmla="*/ 25030 w 35317"/>
                          <a:gd name="connsiteY83" fmla="*/ 31578 h 37020"/>
                          <a:gd name="connsiteX84" fmla="*/ 23655 w 35317"/>
                          <a:gd name="connsiteY84" fmla="*/ 32595 h 37020"/>
                          <a:gd name="connsiteX85" fmla="*/ 23416 w 35317"/>
                          <a:gd name="connsiteY85" fmla="*/ 32715 h 37020"/>
                          <a:gd name="connsiteX86" fmla="*/ 23176 w 35317"/>
                          <a:gd name="connsiteY86" fmla="*/ 32834 h 37020"/>
                          <a:gd name="connsiteX87" fmla="*/ 22937 w 35317"/>
                          <a:gd name="connsiteY87" fmla="*/ 32954 h 37020"/>
                          <a:gd name="connsiteX88" fmla="*/ 22698 w 35317"/>
                          <a:gd name="connsiteY88" fmla="*/ 33074 h 37020"/>
                          <a:gd name="connsiteX89" fmla="*/ 21143 w 35317"/>
                          <a:gd name="connsiteY89" fmla="*/ 33971 h 37020"/>
                          <a:gd name="connsiteX90" fmla="*/ 19588 w 35317"/>
                          <a:gd name="connsiteY90" fmla="*/ 34748 h 37020"/>
                          <a:gd name="connsiteX91" fmla="*/ 17973 w 35317"/>
                          <a:gd name="connsiteY91" fmla="*/ 35406 h 37020"/>
                          <a:gd name="connsiteX92" fmla="*/ 16358 w 35317"/>
                          <a:gd name="connsiteY92" fmla="*/ 35884 h 37020"/>
                          <a:gd name="connsiteX93" fmla="*/ 15880 w 35317"/>
                          <a:gd name="connsiteY93" fmla="*/ 36004 h 37020"/>
                          <a:gd name="connsiteX94" fmla="*/ 15401 w 35317"/>
                          <a:gd name="connsiteY94" fmla="*/ 36124 h 37020"/>
                          <a:gd name="connsiteX95" fmla="*/ 14923 w 35317"/>
                          <a:gd name="connsiteY95" fmla="*/ 36184 h 37020"/>
                          <a:gd name="connsiteX96" fmla="*/ 14444 w 35317"/>
                          <a:gd name="connsiteY96" fmla="*/ 36243 h 37020"/>
                          <a:gd name="connsiteX97" fmla="*/ 14086 w 35317"/>
                          <a:gd name="connsiteY97" fmla="*/ 36303 h 37020"/>
                          <a:gd name="connsiteX98" fmla="*/ 13727 w 35317"/>
                          <a:gd name="connsiteY98" fmla="*/ 36363 h 37020"/>
                          <a:gd name="connsiteX99" fmla="*/ 13368 w 35317"/>
                          <a:gd name="connsiteY99" fmla="*/ 36423 h 37020"/>
                          <a:gd name="connsiteX100" fmla="*/ 13069 w 35317"/>
                          <a:gd name="connsiteY100" fmla="*/ 36124 h 37020"/>
                          <a:gd name="connsiteX101" fmla="*/ 5115 w 35317"/>
                          <a:gd name="connsiteY101" fmla="*/ 35047 h 37020"/>
                          <a:gd name="connsiteX102" fmla="*/ 7028 w 35317"/>
                          <a:gd name="connsiteY102" fmla="*/ 36124 h 37020"/>
                          <a:gd name="connsiteX103" fmla="*/ 9181 w 35317"/>
                          <a:gd name="connsiteY103" fmla="*/ 36782 h 37020"/>
                          <a:gd name="connsiteX104" fmla="*/ 11514 w 35317"/>
                          <a:gd name="connsiteY104" fmla="*/ 37021 h 37020"/>
                          <a:gd name="connsiteX105" fmla="*/ 13966 w 35317"/>
                          <a:gd name="connsiteY105" fmla="*/ 36901 h 37020"/>
                          <a:gd name="connsiteX106" fmla="*/ 14265 w 35317"/>
                          <a:gd name="connsiteY106" fmla="*/ 36841 h 37020"/>
                          <a:gd name="connsiteX107" fmla="*/ 14564 w 35317"/>
                          <a:gd name="connsiteY107" fmla="*/ 36782 h 37020"/>
                          <a:gd name="connsiteX108" fmla="*/ 14863 w 35317"/>
                          <a:gd name="connsiteY108" fmla="*/ 36722 h 37020"/>
                          <a:gd name="connsiteX109" fmla="*/ 15162 w 35317"/>
                          <a:gd name="connsiteY109" fmla="*/ 36662 h 37020"/>
                          <a:gd name="connsiteX110" fmla="*/ 15401 w 35317"/>
                          <a:gd name="connsiteY110" fmla="*/ 36602 h 37020"/>
                          <a:gd name="connsiteX111" fmla="*/ 15641 w 35317"/>
                          <a:gd name="connsiteY111" fmla="*/ 36542 h 37020"/>
                          <a:gd name="connsiteX112" fmla="*/ 15880 w 35317"/>
                          <a:gd name="connsiteY112" fmla="*/ 36483 h 37020"/>
                          <a:gd name="connsiteX113" fmla="*/ 16119 w 35317"/>
                          <a:gd name="connsiteY113" fmla="*/ 36423 h 37020"/>
                          <a:gd name="connsiteX114" fmla="*/ 17913 w 35317"/>
                          <a:gd name="connsiteY114" fmla="*/ 35884 h 37020"/>
                          <a:gd name="connsiteX115" fmla="*/ 19648 w 35317"/>
                          <a:gd name="connsiteY115" fmla="*/ 35167 h 37020"/>
                          <a:gd name="connsiteX116" fmla="*/ 21382 w 35317"/>
                          <a:gd name="connsiteY116" fmla="*/ 34270 h 37020"/>
                          <a:gd name="connsiteX117" fmla="*/ 23057 w 35317"/>
                          <a:gd name="connsiteY117" fmla="*/ 33253 h 37020"/>
                          <a:gd name="connsiteX118" fmla="*/ 23296 w 35317"/>
                          <a:gd name="connsiteY118" fmla="*/ 33133 h 37020"/>
                          <a:gd name="connsiteX119" fmla="*/ 23535 w 35317"/>
                          <a:gd name="connsiteY119" fmla="*/ 33014 h 37020"/>
                          <a:gd name="connsiteX120" fmla="*/ 23715 w 35317"/>
                          <a:gd name="connsiteY120" fmla="*/ 32894 h 37020"/>
                          <a:gd name="connsiteX121" fmla="*/ 23894 w 35317"/>
                          <a:gd name="connsiteY121" fmla="*/ 32775 h 37020"/>
                          <a:gd name="connsiteX122" fmla="*/ 25210 w 35317"/>
                          <a:gd name="connsiteY122" fmla="*/ 31758 h 37020"/>
                          <a:gd name="connsiteX123" fmla="*/ 26525 w 35317"/>
                          <a:gd name="connsiteY123" fmla="*/ 30621 h 37020"/>
                          <a:gd name="connsiteX124" fmla="*/ 27781 w 35317"/>
                          <a:gd name="connsiteY124" fmla="*/ 29425 h 37020"/>
                          <a:gd name="connsiteX125" fmla="*/ 28978 w 35317"/>
                          <a:gd name="connsiteY125" fmla="*/ 28109 h 37020"/>
                          <a:gd name="connsiteX126" fmla="*/ 29516 w 35317"/>
                          <a:gd name="connsiteY126" fmla="*/ 27452 h 37020"/>
                          <a:gd name="connsiteX127" fmla="*/ 30054 w 35317"/>
                          <a:gd name="connsiteY127" fmla="*/ 26794 h 37020"/>
                          <a:gd name="connsiteX128" fmla="*/ 30533 w 35317"/>
                          <a:gd name="connsiteY128" fmla="*/ 26136 h 37020"/>
                          <a:gd name="connsiteX129" fmla="*/ 31011 w 35317"/>
                          <a:gd name="connsiteY129" fmla="*/ 25478 h 37020"/>
                          <a:gd name="connsiteX130" fmla="*/ 31131 w 35317"/>
                          <a:gd name="connsiteY130" fmla="*/ 25239 h 37020"/>
                          <a:gd name="connsiteX131" fmla="*/ 31250 w 35317"/>
                          <a:gd name="connsiteY131" fmla="*/ 25000 h 37020"/>
                          <a:gd name="connsiteX132" fmla="*/ 31370 w 35317"/>
                          <a:gd name="connsiteY132" fmla="*/ 24760 h 37020"/>
                          <a:gd name="connsiteX133" fmla="*/ 31489 w 35317"/>
                          <a:gd name="connsiteY133" fmla="*/ 24521 h 37020"/>
                          <a:gd name="connsiteX134" fmla="*/ 32925 w 35317"/>
                          <a:gd name="connsiteY134" fmla="*/ 21950 h 37020"/>
                          <a:gd name="connsiteX135" fmla="*/ 34061 w 35317"/>
                          <a:gd name="connsiteY135" fmla="*/ 19318 h 37020"/>
                          <a:gd name="connsiteX136" fmla="*/ 34839 w 35317"/>
                          <a:gd name="connsiteY136" fmla="*/ 16686 h 37020"/>
                          <a:gd name="connsiteX137" fmla="*/ 35317 w 35317"/>
                          <a:gd name="connsiteY137" fmla="*/ 13995 h 37020"/>
                          <a:gd name="connsiteX138" fmla="*/ 35317 w 35317"/>
                          <a:gd name="connsiteY138" fmla="*/ 13815 h 37020"/>
                          <a:gd name="connsiteX139" fmla="*/ 35317 w 35317"/>
                          <a:gd name="connsiteY139" fmla="*/ 13636 h 37020"/>
                          <a:gd name="connsiteX140" fmla="*/ 35317 w 35317"/>
                          <a:gd name="connsiteY140" fmla="*/ 13457 h 37020"/>
                          <a:gd name="connsiteX141" fmla="*/ 35317 w 35317"/>
                          <a:gd name="connsiteY141" fmla="*/ 13277 h 37020"/>
                          <a:gd name="connsiteX142" fmla="*/ 35317 w 35317"/>
                          <a:gd name="connsiteY142" fmla="*/ 12919 h 37020"/>
                          <a:gd name="connsiteX143" fmla="*/ 35317 w 35317"/>
                          <a:gd name="connsiteY143" fmla="*/ 12620 h 37020"/>
                          <a:gd name="connsiteX144" fmla="*/ 35317 w 35317"/>
                          <a:gd name="connsiteY144" fmla="*/ 12320 h 37020"/>
                          <a:gd name="connsiteX145" fmla="*/ 35317 w 35317"/>
                          <a:gd name="connsiteY145" fmla="*/ 12021 h 37020"/>
                          <a:gd name="connsiteX146" fmla="*/ 35197 w 35317"/>
                          <a:gd name="connsiteY146" fmla="*/ 10167 h 37020"/>
                          <a:gd name="connsiteX147" fmla="*/ 34839 w 35317"/>
                          <a:gd name="connsiteY147" fmla="*/ 8433 h 37020"/>
                          <a:gd name="connsiteX148" fmla="*/ 34301 w 35317"/>
                          <a:gd name="connsiteY148" fmla="*/ 6818 h 37020"/>
                          <a:gd name="connsiteX149" fmla="*/ 33583 w 35317"/>
                          <a:gd name="connsiteY149" fmla="*/ 5323 h 37020"/>
                          <a:gd name="connsiteX150" fmla="*/ 33463 w 35317"/>
                          <a:gd name="connsiteY150" fmla="*/ 5144 h 37020"/>
                          <a:gd name="connsiteX151" fmla="*/ 33343 w 35317"/>
                          <a:gd name="connsiteY151" fmla="*/ 4964 h 37020"/>
                          <a:gd name="connsiteX152" fmla="*/ 33224 w 35317"/>
                          <a:gd name="connsiteY152" fmla="*/ 4785 h 37020"/>
                          <a:gd name="connsiteX153" fmla="*/ 33104 w 35317"/>
                          <a:gd name="connsiteY153" fmla="*/ 4605 h 37020"/>
                          <a:gd name="connsiteX154" fmla="*/ 32745 w 35317"/>
                          <a:gd name="connsiteY154" fmla="*/ 4067 h 37020"/>
                          <a:gd name="connsiteX155" fmla="*/ 32327 w 35317"/>
                          <a:gd name="connsiteY155" fmla="*/ 3589 h 37020"/>
                          <a:gd name="connsiteX156" fmla="*/ 31908 w 35317"/>
                          <a:gd name="connsiteY156" fmla="*/ 3110 h 37020"/>
                          <a:gd name="connsiteX157" fmla="*/ 31430 w 35317"/>
                          <a:gd name="connsiteY157" fmla="*/ 2691 h 37020"/>
                          <a:gd name="connsiteX158" fmla="*/ 31250 w 35317"/>
                          <a:gd name="connsiteY158" fmla="*/ 2572 h 37020"/>
                          <a:gd name="connsiteX159" fmla="*/ 31071 w 35317"/>
                          <a:gd name="connsiteY159" fmla="*/ 2452 h 37020"/>
                          <a:gd name="connsiteX160" fmla="*/ 30891 w 35317"/>
                          <a:gd name="connsiteY160" fmla="*/ 2333 h 37020"/>
                          <a:gd name="connsiteX161" fmla="*/ 30712 w 35317"/>
                          <a:gd name="connsiteY161" fmla="*/ 2213 h 37020"/>
                          <a:gd name="connsiteX162" fmla="*/ 30174 w 35317"/>
                          <a:gd name="connsiteY162" fmla="*/ 1854 h 37020"/>
                          <a:gd name="connsiteX163" fmla="*/ 29576 w 35317"/>
                          <a:gd name="connsiteY163" fmla="*/ 1495 h 37020"/>
                          <a:gd name="connsiteX164" fmla="*/ 28978 w 35317"/>
                          <a:gd name="connsiteY164" fmla="*/ 1196 h 37020"/>
                          <a:gd name="connsiteX165" fmla="*/ 28379 w 35317"/>
                          <a:gd name="connsiteY165" fmla="*/ 897 h 37020"/>
                          <a:gd name="connsiteX166" fmla="*/ 28200 w 35317"/>
                          <a:gd name="connsiteY166" fmla="*/ 837 h 37020"/>
                          <a:gd name="connsiteX167" fmla="*/ 28020 w 35317"/>
                          <a:gd name="connsiteY167" fmla="*/ 778 h 37020"/>
                          <a:gd name="connsiteX168" fmla="*/ 27841 w 35317"/>
                          <a:gd name="connsiteY168" fmla="*/ 718 h 37020"/>
                          <a:gd name="connsiteX169" fmla="*/ 27662 w 35317"/>
                          <a:gd name="connsiteY169" fmla="*/ 658 h 37020"/>
                          <a:gd name="connsiteX170" fmla="*/ 26346 w 35317"/>
                          <a:gd name="connsiteY170" fmla="*/ 299 h 37020"/>
                          <a:gd name="connsiteX171" fmla="*/ 24971 w 35317"/>
                          <a:gd name="connsiteY171" fmla="*/ 60 h 37020"/>
                          <a:gd name="connsiteX172" fmla="*/ 23535 w 35317"/>
                          <a:gd name="connsiteY172" fmla="*/ 0 h 37020"/>
                          <a:gd name="connsiteX173" fmla="*/ 22040 w 35317"/>
                          <a:gd name="connsiteY173" fmla="*/ 60 h 37020"/>
                          <a:gd name="connsiteX174" fmla="*/ 21801 w 35317"/>
                          <a:gd name="connsiteY174" fmla="*/ 60 h 37020"/>
                          <a:gd name="connsiteX175" fmla="*/ 21562 w 35317"/>
                          <a:gd name="connsiteY175" fmla="*/ 60 h 37020"/>
                          <a:gd name="connsiteX176" fmla="*/ 21322 w 35317"/>
                          <a:gd name="connsiteY176" fmla="*/ 60 h 37020"/>
                          <a:gd name="connsiteX177" fmla="*/ 21083 w 35317"/>
                          <a:gd name="connsiteY177" fmla="*/ 120 h 37020"/>
                          <a:gd name="connsiteX178" fmla="*/ 20664 w 35317"/>
                          <a:gd name="connsiteY178" fmla="*/ 180 h 37020"/>
                          <a:gd name="connsiteX179" fmla="*/ 20246 w 35317"/>
                          <a:gd name="connsiteY179" fmla="*/ 239 h 37020"/>
                          <a:gd name="connsiteX180" fmla="*/ 19827 w 35317"/>
                          <a:gd name="connsiteY180" fmla="*/ 299 h 37020"/>
                          <a:gd name="connsiteX181" fmla="*/ 19408 w 35317"/>
                          <a:gd name="connsiteY181" fmla="*/ 419 h 37020"/>
                          <a:gd name="connsiteX182" fmla="*/ 18511 w 35317"/>
                          <a:gd name="connsiteY182" fmla="*/ 658 h 37020"/>
                          <a:gd name="connsiteX183" fmla="*/ 17614 w 35317"/>
                          <a:gd name="connsiteY183" fmla="*/ 957 h 37020"/>
                          <a:gd name="connsiteX184" fmla="*/ 16777 w 35317"/>
                          <a:gd name="connsiteY184" fmla="*/ 1256 h 37020"/>
                          <a:gd name="connsiteX185" fmla="*/ 15940 w 35317"/>
                          <a:gd name="connsiteY185" fmla="*/ 1615 h 37020"/>
                          <a:gd name="connsiteX186" fmla="*/ 15700 w 35317"/>
                          <a:gd name="connsiteY186" fmla="*/ 1735 h 37020"/>
                          <a:gd name="connsiteX187" fmla="*/ 15461 w 35317"/>
                          <a:gd name="connsiteY187" fmla="*/ 1854 h 37020"/>
                          <a:gd name="connsiteX188" fmla="*/ 15222 w 35317"/>
                          <a:gd name="connsiteY188" fmla="*/ 1974 h 37020"/>
                          <a:gd name="connsiteX189" fmla="*/ 14983 w 35317"/>
                          <a:gd name="connsiteY189" fmla="*/ 2093 h 37020"/>
                          <a:gd name="connsiteX190" fmla="*/ 12710 w 35317"/>
                          <a:gd name="connsiteY190" fmla="*/ 3409 h 37020"/>
                          <a:gd name="connsiteX191" fmla="*/ 10497 w 35317"/>
                          <a:gd name="connsiteY191" fmla="*/ 4964 h 37020"/>
                          <a:gd name="connsiteX192" fmla="*/ 8404 w 35317"/>
                          <a:gd name="connsiteY192" fmla="*/ 6818 h 37020"/>
                          <a:gd name="connsiteX193" fmla="*/ 6430 w 35317"/>
                          <a:gd name="connsiteY193" fmla="*/ 8912 h 37020"/>
                          <a:gd name="connsiteX194" fmla="*/ 2004 w 35317"/>
                          <a:gd name="connsiteY194" fmla="*/ 15909 h 37020"/>
                          <a:gd name="connsiteX195" fmla="*/ 91 w 35317"/>
                          <a:gd name="connsiteY195" fmla="*/ 23086 h 37020"/>
                          <a:gd name="connsiteX196" fmla="*/ 748 w 35317"/>
                          <a:gd name="connsiteY196" fmla="*/ 29545 h 37020"/>
                          <a:gd name="connsiteX197" fmla="*/ 4098 w 35317"/>
                          <a:gd name="connsiteY197" fmla="*/ 34509 h 37020"/>
                          <a:gd name="connsiteX198" fmla="*/ 4277 w 35317"/>
                          <a:gd name="connsiteY198" fmla="*/ 34688 h 37020"/>
                          <a:gd name="connsiteX199" fmla="*/ 4456 w 35317"/>
                          <a:gd name="connsiteY199" fmla="*/ 34868 h 37020"/>
                          <a:gd name="connsiteX200" fmla="*/ 4636 w 35317"/>
                          <a:gd name="connsiteY200" fmla="*/ 35047 h 37020"/>
                          <a:gd name="connsiteX201" fmla="*/ 5115 w 35317"/>
                          <a:gd name="connsiteY201" fmla="*/ 35047 h 3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35317" h="37020">
                            <a:moveTo>
                              <a:pt x="13069" y="36124"/>
                            </a:moveTo>
                            <a:cubicBezTo>
                              <a:pt x="12351" y="36184"/>
                              <a:pt x="11693" y="36124"/>
                              <a:pt x="10976" y="36064"/>
                            </a:cubicBezTo>
                            <a:cubicBezTo>
                              <a:pt x="10318" y="36004"/>
                              <a:pt x="9660" y="35884"/>
                              <a:pt x="9002" y="35705"/>
                            </a:cubicBezTo>
                            <a:cubicBezTo>
                              <a:pt x="8404" y="35526"/>
                              <a:pt x="7806" y="35346"/>
                              <a:pt x="7208" y="35047"/>
                            </a:cubicBezTo>
                            <a:cubicBezTo>
                              <a:pt x="6610" y="34808"/>
                              <a:pt x="6071" y="34449"/>
                              <a:pt x="5593" y="34090"/>
                            </a:cubicBezTo>
                            <a:cubicBezTo>
                              <a:pt x="5533" y="34030"/>
                              <a:pt x="5473" y="34030"/>
                              <a:pt x="5414" y="33971"/>
                            </a:cubicBezTo>
                            <a:cubicBezTo>
                              <a:pt x="5354" y="33911"/>
                              <a:pt x="5294" y="33851"/>
                              <a:pt x="5234" y="33851"/>
                            </a:cubicBezTo>
                            <a:cubicBezTo>
                              <a:pt x="5174" y="33851"/>
                              <a:pt x="5115" y="33731"/>
                              <a:pt x="5055" y="33731"/>
                            </a:cubicBezTo>
                            <a:cubicBezTo>
                              <a:pt x="4995" y="33671"/>
                              <a:pt x="4935" y="33671"/>
                              <a:pt x="4875" y="33612"/>
                            </a:cubicBezTo>
                            <a:cubicBezTo>
                              <a:pt x="3380" y="32356"/>
                              <a:pt x="2363" y="30741"/>
                              <a:pt x="1706" y="28887"/>
                            </a:cubicBezTo>
                            <a:cubicBezTo>
                              <a:pt x="1048" y="27033"/>
                              <a:pt x="868" y="24940"/>
                              <a:pt x="1048" y="22727"/>
                            </a:cubicBezTo>
                            <a:cubicBezTo>
                              <a:pt x="1227" y="20514"/>
                              <a:pt x="1885" y="18182"/>
                              <a:pt x="2902" y="15909"/>
                            </a:cubicBezTo>
                            <a:cubicBezTo>
                              <a:pt x="3918" y="13636"/>
                              <a:pt x="5354" y="11364"/>
                              <a:pt x="7148" y="9270"/>
                            </a:cubicBezTo>
                            <a:cubicBezTo>
                              <a:pt x="7686" y="8612"/>
                              <a:pt x="8284" y="8014"/>
                              <a:pt x="8882" y="7476"/>
                            </a:cubicBezTo>
                            <a:cubicBezTo>
                              <a:pt x="9480" y="6878"/>
                              <a:pt x="10078" y="6340"/>
                              <a:pt x="10736" y="5861"/>
                            </a:cubicBezTo>
                            <a:cubicBezTo>
                              <a:pt x="11394" y="5383"/>
                              <a:pt x="11992" y="4844"/>
                              <a:pt x="12650" y="4426"/>
                            </a:cubicBezTo>
                            <a:cubicBezTo>
                              <a:pt x="13308" y="4007"/>
                              <a:pt x="13966" y="3589"/>
                              <a:pt x="14684" y="3230"/>
                            </a:cubicBezTo>
                            <a:cubicBezTo>
                              <a:pt x="14743" y="3170"/>
                              <a:pt x="14863" y="3110"/>
                              <a:pt x="14923" y="3110"/>
                            </a:cubicBezTo>
                            <a:cubicBezTo>
                              <a:pt x="14983" y="3050"/>
                              <a:pt x="15102" y="2990"/>
                              <a:pt x="15162" y="2990"/>
                            </a:cubicBezTo>
                            <a:cubicBezTo>
                              <a:pt x="15222" y="2931"/>
                              <a:pt x="15341" y="2931"/>
                              <a:pt x="15401" y="2871"/>
                            </a:cubicBezTo>
                            <a:cubicBezTo>
                              <a:pt x="15461" y="2811"/>
                              <a:pt x="15581" y="2811"/>
                              <a:pt x="15641" y="2751"/>
                            </a:cubicBezTo>
                            <a:cubicBezTo>
                              <a:pt x="15940" y="2572"/>
                              <a:pt x="16299" y="2452"/>
                              <a:pt x="16597" y="2333"/>
                            </a:cubicBezTo>
                            <a:cubicBezTo>
                              <a:pt x="16896" y="2213"/>
                              <a:pt x="17255" y="2093"/>
                              <a:pt x="17554" y="1974"/>
                            </a:cubicBezTo>
                            <a:cubicBezTo>
                              <a:pt x="17854" y="1854"/>
                              <a:pt x="18212" y="1735"/>
                              <a:pt x="18511" y="1675"/>
                            </a:cubicBezTo>
                            <a:cubicBezTo>
                              <a:pt x="18810" y="1555"/>
                              <a:pt x="19169" y="1495"/>
                              <a:pt x="19468" y="1436"/>
                            </a:cubicBezTo>
                            <a:cubicBezTo>
                              <a:pt x="19588" y="1436"/>
                              <a:pt x="19708" y="1376"/>
                              <a:pt x="19827" y="1376"/>
                            </a:cubicBezTo>
                            <a:cubicBezTo>
                              <a:pt x="19947" y="1376"/>
                              <a:pt x="20066" y="1316"/>
                              <a:pt x="20186" y="1316"/>
                            </a:cubicBezTo>
                            <a:cubicBezTo>
                              <a:pt x="20305" y="1316"/>
                              <a:pt x="20425" y="1256"/>
                              <a:pt x="20545" y="1256"/>
                            </a:cubicBezTo>
                            <a:cubicBezTo>
                              <a:pt x="20664" y="1256"/>
                              <a:pt x="20784" y="1196"/>
                              <a:pt x="20903" y="1196"/>
                            </a:cubicBezTo>
                            <a:cubicBezTo>
                              <a:pt x="20963" y="1196"/>
                              <a:pt x="21023" y="1196"/>
                              <a:pt x="21143" y="1136"/>
                            </a:cubicBezTo>
                            <a:cubicBezTo>
                              <a:pt x="21203" y="1136"/>
                              <a:pt x="21262" y="1136"/>
                              <a:pt x="21382" y="1077"/>
                            </a:cubicBezTo>
                            <a:cubicBezTo>
                              <a:pt x="21442" y="1077"/>
                              <a:pt x="21502" y="1077"/>
                              <a:pt x="21621" y="1077"/>
                            </a:cubicBezTo>
                            <a:cubicBezTo>
                              <a:pt x="21741" y="1077"/>
                              <a:pt x="21741" y="1077"/>
                              <a:pt x="21861" y="1077"/>
                            </a:cubicBezTo>
                            <a:cubicBezTo>
                              <a:pt x="22399" y="1017"/>
                              <a:pt x="22877" y="1017"/>
                              <a:pt x="23356" y="957"/>
                            </a:cubicBezTo>
                            <a:cubicBezTo>
                              <a:pt x="23834" y="897"/>
                              <a:pt x="24312" y="957"/>
                              <a:pt x="24791" y="1017"/>
                            </a:cubicBezTo>
                            <a:cubicBezTo>
                              <a:pt x="25270" y="1077"/>
                              <a:pt x="25748" y="1136"/>
                              <a:pt x="26166" y="1256"/>
                            </a:cubicBezTo>
                            <a:cubicBezTo>
                              <a:pt x="26585" y="1376"/>
                              <a:pt x="27064" y="1495"/>
                              <a:pt x="27482" y="1615"/>
                            </a:cubicBezTo>
                            <a:cubicBezTo>
                              <a:pt x="27542" y="1615"/>
                              <a:pt x="27602" y="1675"/>
                              <a:pt x="27662" y="1675"/>
                            </a:cubicBezTo>
                            <a:cubicBezTo>
                              <a:pt x="27722" y="1675"/>
                              <a:pt x="27781" y="1735"/>
                              <a:pt x="27841" y="1735"/>
                            </a:cubicBezTo>
                            <a:cubicBezTo>
                              <a:pt x="27901" y="1735"/>
                              <a:pt x="27961" y="1795"/>
                              <a:pt x="28020" y="1795"/>
                            </a:cubicBezTo>
                            <a:cubicBezTo>
                              <a:pt x="28080" y="1795"/>
                              <a:pt x="28140" y="1854"/>
                              <a:pt x="28200" y="1854"/>
                            </a:cubicBezTo>
                            <a:cubicBezTo>
                              <a:pt x="28379" y="1914"/>
                              <a:pt x="28559" y="2034"/>
                              <a:pt x="28738" y="2093"/>
                            </a:cubicBezTo>
                            <a:cubicBezTo>
                              <a:pt x="28918" y="2213"/>
                              <a:pt x="29097" y="2273"/>
                              <a:pt x="29277" y="2392"/>
                            </a:cubicBezTo>
                            <a:cubicBezTo>
                              <a:pt x="29456" y="2512"/>
                              <a:pt x="29635" y="2632"/>
                              <a:pt x="29815" y="2691"/>
                            </a:cubicBezTo>
                            <a:cubicBezTo>
                              <a:pt x="29994" y="2811"/>
                              <a:pt x="30174" y="2931"/>
                              <a:pt x="30353" y="3050"/>
                            </a:cubicBezTo>
                            <a:cubicBezTo>
                              <a:pt x="30413" y="3110"/>
                              <a:pt x="30473" y="3110"/>
                              <a:pt x="30533" y="3170"/>
                            </a:cubicBezTo>
                            <a:cubicBezTo>
                              <a:pt x="30593" y="3230"/>
                              <a:pt x="30652" y="3230"/>
                              <a:pt x="30712" y="3290"/>
                            </a:cubicBezTo>
                            <a:cubicBezTo>
                              <a:pt x="30772" y="3349"/>
                              <a:pt x="30832" y="3349"/>
                              <a:pt x="30891" y="3409"/>
                            </a:cubicBezTo>
                            <a:cubicBezTo>
                              <a:pt x="30951" y="3469"/>
                              <a:pt x="31011" y="3469"/>
                              <a:pt x="31071" y="3529"/>
                            </a:cubicBezTo>
                            <a:cubicBezTo>
                              <a:pt x="31250" y="3708"/>
                              <a:pt x="31430" y="3828"/>
                              <a:pt x="31609" y="4007"/>
                            </a:cubicBezTo>
                            <a:cubicBezTo>
                              <a:pt x="31788" y="4187"/>
                              <a:pt x="31968" y="4366"/>
                              <a:pt x="32088" y="4545"/>
                            </a:cubicBezTo>
                            <a:cubicBezTo>
                              <a:pt x="32267" y="4725"/>
                              <a:pt x="32387" y="4904"/>
                              <a:pt x="32506" y="5144"/>
                            </a:cubicBezTo>
                            <a:cubicBezTo>
                              <a:pt x="32626" y="5323"/>
                              <a:pt x="32805" y="5562"/>
                              <a:pt x="32925" y="5742"/>
                            </a:cubicBezTo>
                            <a:cubicBezTo>
                              <a:pt x="32985" y="5801"/>
                              <a:pt x="32985" y="5861"/>
                              <a:pt x="33044" y="5921"/>
                            </a:cubicBezTo>
                            <a:cubicBezTo>
                              <a:pt x="33104" y="5981"/>
                              <a:pt x="33104" y="6041"/>
                              <a:pt x="33164" y="6100"/>
                            </a:cubicBezTo>
                            <a:cubicBezTo>
                              <a:pt x="33224" y="6160"/>
                              <a:pt x="33224" y="6220"/>
                              <a:pt x="33284" y="6280"/>
                            </a:cubicBezTo>
                            <a:cubicBezTo>
                              <a:pt x="33343" y="6340"/>
                              <a:pt x="33343" y="6399"/>
                              <a:pt x="33403" y="6459"/>
                            </a:cubicBezTo>
                            <a:cubicBezTo>
                              <a:pt x="33583" y="6818"/>
                              <a:pt x="33762" y="7177"/>
                              <a:pt x="33942" y="7596"/>
                            </a:cubicBezTo>
                            <a:cubicBezTo>
                              <a:pt x="34121" y="7954"/>
                              <a:pt x="34241" y="8373"/>
                              <a:pt x="34360" y="8792"/>
                            </a:cubicBezTo>
                            <a:cubicBezTo>
                              <a:pt x="34480" y="9211"/>
                              <a:pt x="34540" y="9629"/>
                              <a:pt x="34659" y="10048"/>
                            </a:cubicBezTo>
                            <a:cubicBezTo>
                              <a:pt x="34719" y="10466"/>
                              <a:pt x="34779" y="10945"/>
                              <a:pt x="34839" y="11364"/>
                            </a:cubicBezTo>
                            <a:cubicBezTo>
                              <a:pt x="34839" y="11483"/>
                              <a:pt x="34839" y="11603"/>
                              <a:pt x="34839" y="11722"/>
                            </a:cubicBezTo>
                            <a:cubicBezTo>
                              <a:pt x="34839" y="11842"/>
                              <a:pt x="34839" y="11961"/>
                              <a:pt x="34839" y="12081"/>
                            </a:cubicBezTo>
                            <a:cubicBezTo>
                              <a:pt x="34839" y="12201"/>
                              <a:pt x="34839" y="12320"/>
                              <a:pt x="34839" y="12440"/>
                            </a:cubicBezTo>
                            <a:cubicBezTo>
                              <a:pt x="34839" y="12560"/>
                              <a:pt x="34839" y="12679"/>
                              <a:pt x="34839" y="12799"/>
                            </a:cubicBezTo>
                            <a:cubicBezTo>
                              <a:pt x="34839" y="12919"/>
                              <a:pt x="34839" y="13098"/>
                              <a:pt x="34839" y="13218"/>
                            </a:cubicBezTo>
                            <a:cubicBezTo>
                              <a:pt x="34839" y="13337"/>
                              <a:pt x="34839" y="13516"/>
                              <a:pt x="34839" y="13636"/>
                            </a:cubicBezTo>
                            <a:cubicBezTo>
                              <a:pt x="34839" y="13756"/>
                              <a:pt x="34839" y="13935"/>
                              <a:pt x="34839" y="14055"/>
                            </a:cubicBezTo>
                            <a:cubicBezTo>
                              <a:pt x="34839" y="14174"/>
                              <a:pt x="34839" y="14354"/>
                              <a:pt x="34779" y="14474"/>
                            </a:cubicBezTo>
                            <a:cubicBezTo>
                              <a:pt x="34719" y="15311"/>
                              <a:pt x="34540" y="16148"/>
                              <a:pt x="34360" y="16985"/>
                            </a:cubicBezTo>
                            <a:cubicBezTo>
                              <a:pt x="34181" y="17823"/>
                              <a:pt x="33942" y="18660"/>
                              <a:pt x="33642" y="19497"/>
                            </a:cubicBezTo>
                            <a:cubicBezTo>
                              <a:pt x="33343" y="20335"/>
                              <a:pt x="32985" y="21112"/>
                              <a:pt x="32626" y="21950"/>
                            </a:cubicBezTo>
                            <a:cubicBezTo>
                              <a:pt x="32207" y="22787"/>
                              <a:pt x="31788" y="23564"/>
                              <a:pt x="31310" y="24342"/>
                            </a:cubicBezTo>
                            <a:cubicBezTo>
                              <a:pt x="31250" y="24401"/>
                              <a:pt x="31250" y="24461"/>
                              <a:pt x="31190" y="24581"/>
                            </a:cubicBezTo>
                            <a:cubicBezTo>
                              <a:pt x="31131" y="24641"/>
                              <a:pt x="31071" y="24700"/>
                              <a:pt x="31071" y="24820"/>
                            </a:cubicBezTo>
                            <a:cubicBezTo>
                              <a:pt x="31011" y="24880"/>
                              <a:pt x="30951" y="24940"/>
                              <a:pt x="30951" y="25059"/>
                            </a:cubicBezTo>
                            <a:cubicBezTo>
                              <a:pt x="30891" y="25119"/>
                              <a:pt x="30832" y="25179"/>
                              <a:pt x="30832" y="25299"/>
                            </a:cubicBezTo>
                            <a:cubicBezTo>
                              <a:pt x="30652" y="25538"/>
                              <a:pt x="30533" y="25717"/>
                              <a:pt x="30353" y="25956"/>
                            </a:cubicBezTo>
                            <a:cubicBezTo>
                              <a:pt x="30174" y="26196"/>
                              <a:pt x="30054" y="26375"/>
                              <a:pt x="29874" y="26614"/>
                            </a:cubicBezTo>
                            <a:cubicBezTo>
                              <a:pt x="29695" y="26854"/>
                              <a:pt x="29516" y="27033"/>
                              <a:pt x="29336" y="27272"/>
                            </a:cubicBezTo>
                            <a:cubicBezTo>
                              <a:pt x="29157" y="27512"/>
                              <a:pt x="28978" y="27691"/>
                              <a:pt x="28798" y="27930"/>
                            </a:cubicBezTo>
                            <a:cubicBezTo>
                              <a:pt x="28439" y="28349"/>
                              <a:pt x="28020" y="28827"/>
                              <a:pt x="27602" y="29246"/>
                            </a:cubicBezTo>
                            <a:cubicBezTo>
                              <a:pt x="27183" y="29665"/>
                              <a:pt x="26765" y="30083"/>
                              <a:pt x="26346" y="30442"/>
                            </a:cubicBezTo>
                            <a:cubicBezTo>
                              <a:pt x="25927" y="30801"/>
                              <a:pt x="25509" y="31220"/>
                              <a:pt x="25030" y="31578"/>
                            </a:cubicBezTo>
                            <a:cubicBezTo>
                              <a:pt x="24552" y="31937"/>
                              <a:pt x="24133" y="32296"/>
                              <a:pt x="23655" y="32595"/>
                            </a:cubicBezTo>
                            <a:cubicBezTo>
                              <a:pt x="23595" y="32655"/>
                              <a:pt x="23535" y="32715"/>
                              <a:pt x="23416" y="32715"/>
                            </a:cubicBezTo>
                            <a:cubicBezTo>
                              <a:pt x="23356" y="32775"/>
                              <a:pt x="23296" y="32834"/>
                              <a:pt x="23176" y="32834"/>
                            </a:cubicBezTo>
                            <a:cubicBezTo>
                              <a:pt x="23117" y="32894"/>
                              <a:pt x="23057" y="32954"/>
                              <a:pt x="22937" y="32954"/>
                            </a:cubicBezTo>
                            <a:cubicBezTo>
                              <a:pt x="22877" y="33014"/>
                              <a:pt x="22817" y="33074"/>
                              <a:pt x="22698" y="33074"/>
                            </a:cubicBezTo>
                            <a:cubicBezTo>
                              <a:pt x="22219" y="33373"/>
                              <a:pt x="21681" y="33671"/>
                              <a:pt x="21143" y="33971"/>
                            </a:cubicBezTo>
                            <a:cubicBezTo>
                              <a:pt x="20604" y="34270"/>
                              <a:pt x="20126" y="34509"/>
                              <a:pt x="19588" y="34748"/>
                            </a:cubicBezTo>
                            <a:cubicBezTo>
                              <a:pt x="19049" y="34987"/>
                              <a:pt x="18511" y="35167"/>
                              <a:pt x="17973" y="35406"/>
                            </a:cubicBezTo>
                            <a:cubicBezTo>
                              <a:pt x="17435" y="35585"/>
                              <a:pt x="16896" y="35765"/>
                              <a:pt x="16358" y="35884"/>
                            </a:cubicBezTo>
                            <a:cubicBezTo>
                              <a:pt x="16179" y="35944"/>
                              <a:pt x="16059" y="35944"/>
                              <a:pt x="15880" y="36004"/>
                            </a:cubicBezTo>
                            <a:cubicBezTo>
                              <a:pt x="15700" y="36064"/>
                              <a:pt x="15581" y="36064"/>
                              <a:pt x="15401" y="36124"/>
                            </a:cubicBezTo>
                            <a:cubicBezTo>
                              <a:pt x="15222" y="36184"/>
                              <a:pt x="15102" y="36184"/>
                              <a:pt x="14923" y="36184"/>
                            </a:cubicBezTo>
                            <a:cubicBezTo>
                              <a:pt x="14743" y="36184"/>
                              <a:pt x="14624" y="36243"/>
                              <a:pt x="14444" y="36243"/>
                            </a:cubicBezTo>
                            <a:cubicBezTo>
                              <a:pt x="14325" y="36243"/>
                              <a:pt x="14205" y="36303"/>
                              <a:pt x="14086" y="36303"/>
                            </a:cubicBezTo>
                            <a:cubicBezTo>
                              <a:pt x="13966" y="36303"/>
                              <a:pt x="13846" y="36303"/>
                              <a:pt x="13727" y="36363"/>
                            </a:cubicBezTo>
                            <a:cubicBezTo>
                              <a:pt x="13607" y="36363"/>
                              <a:pt x="13487" y="36363"/>
                              <a:pt x="13368" y="36423"/>
                            </a:cubicBezTo>
                            <a:cubicBezTo>
                              <a:pt x="13308" y="36124"/>
                              <a:pt x="13188" y="36124"/>
                              <a:pt x="13069" y="36124"/>
                            </a:cubicBezTo>
                            <a:moveTo>
                              <a:pt x="5115" y="35047"/>
                            </a:moveTo>
                            <a:cubicBezTo>
                              <a:pt x="5713" y="35466"/>
                              <a:pt x="6370" y="35825"/>
                              <a:pt x="7028" y="36124"/>
                            </a:cubicBezTo>
                            <a:cubicBezTo>
                              <a:pt x="7686" y="36423"/>
                              <a:pt x="8404" y="36662"/>
                              <a:pt x="9181" y="36782"/>
                            </a:cubicBezTo>
                            <a:cubicBezTo>
                              <a:pt x="9899" y="36961"/>
                              <a:pt x="10677" y="37021"/>
                              <a:pt x="11514" y="37021"/>
                            </a:cubicBezTo>
                            <a:cubicBezTo>
                              <a:pt x="12291" y="37021"/>
                              <a:pt x="13129" y="37021"/>
                              <a:pt x="13966" y="36901"/>
                            </a:cubicBezTo>
                            <a:cubicBezTo>
                              <a:pt x="14086" y="36901"/>
                              <a:pt x="14205" y="36901"/>
                              <a:pt x="14265" y="36841"/>
                            </a:cubicBezTo>
                            <a:cubicBezTo>
                              <a:pt x="14385" y="36841"/>
                              <a:pt x="14504" y="36782"/>
                              <a:pt x="14564" y="36782"/>
                            </a:cubicBezTo>
                            <a:cubicBezTo>
                              <a:pt x="14624" y="36782"/>
                              <a:pt x="14803" y="36722"/>
                              <a:pt x="14863" y="36722"/>
                            </a:cubicBezTo>
                            <a:cubicBezTo>
                              <a:pt x="14983" y="36722"/>
                              <a:pt x="15102" y="36662"/>
                              <a:pt x="15162" y="36662"/>
                            </a:cubicBezTo>
                            <a:cubicBezTo>
                              <a:pt x="15222" y="36662"/>
                              <a:pt x="15341" y="36602"/>
                              <a:pt x="15401" y="36602"/>
                            </a:cubicBezTo>
                            <a:cubicBezTo>
                              <a:pt x="15461" y="36602"/>
                              <a:pt x="15581" y="36542"/>
                              <a:pt x="15641" y="36542"/>
                            </a:cubicBezTo>
                            <a:cubicBezTo>
                              <a:pt x="15700" y="36542"/>
                              <a:pt x="15820" y="36483"/>
                              <a:pt x="15880" y="36483"/>
                            </a:cubicBezTo>
                            <a:cubicBezTo>
                              <a:pt x="15940" y="36483"/>
                              <a:pt x="16059" y="36423"/>
                              <a:pt x="16119" y="36423"/>
                            </a:cubicBezTo>
                            <a:cubicBezTo>
                              <a:pt x="16717" y="36243"/>
                              <a:pt x="17315" y="36064"/>
                              <a:pt x="17913" y="35884"/>
                            </a:cubicBezTo>
                            <a:cubicBezTo>
                              <a:pt x="18511" y="35705"/>
                              <a:pt x="19109" y="35466"/>
                              <a:pt x="19648" y="35167"/>
                            </a:cubicBezTo>
                            <a:cubicBezTo>
                              <a:pt x="20246" y="34928"/>
                              <a:pt x="20784" y="34629"/>
                              <a:pt x="21382" y="34270"/>
                            </a:cubicBezTo>
                            <a:cubicBezTo>
                              <a:pt x="21980" y="33971"/>
                              <a:pt x="22518" y="33612"/>
                              <a:pt x="23057" y="33253"/>
                            </a:cubicBezTo>
                            <a:cubicBezTo>
                              <a:pt x="23117" y="33193"/>
                              <a:pt x="23176" y="33133"/>
                              <a:pt x="23296" y="33133"/>
                            </a:cubicBezTo>
                            <a:cubicBezTo>
                              <a:pt x="23416" y="33133"/>
                              <a:pt x="23416" y="33014"/>
                              <a:pt x="23535" y="33014"/>
                            </a:cubicBezTo>
                            <a:cubicBezTo>
                              <a:pt x="23595" y="32954"/>
                              <a:pt x="23655" y="32894"/>
                              <a:pt x="23715" y="32894"/>
                            </a:cubicBezTo>
                            <a:cubicBezTo>
                              <a:pt x="23774" y="32834"/>
                              <a:pt x="23834" y="32775"/>
                              <a:pt x="23894" y="32775"/>
                            </a:cubicBezTo>
                            <a:cubicBezTo>
                              <a:pt x="24372" y="32476"/>
                              <a:pt x="24791" y="32116"/>
                              <a:pt x="25210" y="31758"/>
                            </a:cubicBezTo>
                            <a:cubicBezTo>
                              <a:pt x="25628" y="31399"/>
                              <a:pt x="26107" y="31040"/>
                              <a:pt x="26525" y="30621"/>
                            </a:cubicBezTo>
                            <a:cubicBezTo>
                              <a:pt x="26944" y="30262"/>
                              <a:pt x="27363" y="29844"/>
                              <a:pt x="27781" y="29425"/>
                            </a:cubicBezTo>
                            <a:cubicBezTo>
                              <a:pt x="28200" y="29007"/>
                              <a:pt x="28559" y="28588"/>
                              <a:pt x="28978" y="28109"/>
                            </a:cubicBezTo>
                            <a:cubicBezTo>
                              <a:pt x="29157" y="27870"/>
                              <a:pt x="29336" y="27691"/>
                              <a:pt x="29516" y="27452"/>
                            </a:cubicBezTo>
                            <a:cubicBezTo>
                              <a:pt x="29695" y="27213"/>
                              <a:pt x="29874" y="27033"/>
                              <a:pt x="30054" y="26794"/>
                            </a:cubicBezTo>
                            <a:cubicBezTo>
                              <a:pt x="30233" y="26554"/>
                              <a:pt x="30413" y="26375"/>
                              <a:pt x="30533" y="26136"/>
                            </a:cubicBezTo>
                            <a:cubicBezTo>
                              <a:pt x="30652" y="25897"/>
                              <a:pt x="30832" y="25717"/>
                              <a:pt x="31011" y="25478"/>
                            </a:cubicBezTo>
                            <a:cubicBezTo>
                              <a:pt x="31071" y="25418"/>
                              <a:pt x="31131" y="25359"/>
                              <a:pt x="31131" y="25239"/>
                            </a:cubicBezTo>
                            <a:cubicBezTo>
                              <a:pt x="31190" y="25179"/>
                              <a:pt x="31250" y="25119"/>
                              <a:pt x="31250" y="25000"/>
                            </a:cubicBezTo>
                            <a:cubicBezTo>
                              <a:pt x="31310" y="24940"/>
                              <a:pt x="31370" y="24880"/>
                              <a:pt x="31370" y="24760"/>
                            </a:cubicBezTo>
                            <a:cubicBezTo>
                              <a:pt x="31370" y="24641"/>
                              <a:pt x="31489" y="24641"/>
                              <a:pt x="31489" y="24521"/>
                            </a:cubicBezTo>
                            <a:cubicBezTo>
                              <a:pt x="32028" y="23684"/>
                              <a:pt x="32506" y="22846"/>
                              <a:pt x="32925" y="21950"/>
                            </a:cubicBezTo>
                            <a:cubicBezTo>
                              <a:pt x="33343" y="21112"/>
                              <a:pt x="33702" y="20215"/>
                              <a:pt x="34061" y="19318"/>
                            </a:cubicBezTo>
                            <a:cubicBezTo>
                              <a:pt x="34360" y="18421"/>
                              <a:pt x="34659" y="17524"/>
                              <a:pt x="34839" y="16686"/>
                            </a:cubicBezTo>
                            <a:cubicBezTo>
                              <a:pt x="35018" y="15789"/>
                              <a:pt x="35197" y="14892"/>
                              <a:pt x="35317" y="13995"/>
                            </a:cubicBezTo>
                            <a:cubicBezTo>
                              <a:pt x="35317" y="13935"/>
                              <a:pt x="35317" y="13875"/>
                              <a:pt x="35317" y="13815"/>
                            </a:cubicBezTo>
                            <a:cubicBezTo>
                              <a:pt x="35317" y="13756"/>
                              <a:pt x="35317" y="13696"/>
                              <a:pt x="35317" y="13636"/>
                            </a:cubicBezTo>
                            <a:cubicBezTo>
                              <a:pt x="35317" y="13576"/>
                              <a:pt x="35317" y="13516"/>
                              <a:pt x="35317" y="13457"/>
                            </a:cubicBezTo>
                            <a:cubicBezTo>
                              <a:pt x="35317" y="13397"/>
                              <a:pt x="35317" y="13337"/>
                              <a:pt x="35317" y="13277"/>
                            </a:cubicBezTo>
                            <a:cubicBezTo>
                              <a:pt x="35317" y="13158"/>
                              <a:pt x="35317" y="13038"/>
                              <a:pt x="35317" y="12919"/>
                            </a:cubicBezTo>
                            <a:cubicBezTo>
                              <a:pt x="35317" y="12799"/>
                              <a:pt x="35317" y="12679"/>
                              <a:pt x="35317" y="12620"/>
                            </a:cubicBezTo>
                            <a:cubicBezTo>
                              <a:pt x="35317" y="12560"/>
                              <a:pt x="35317" y="12380"/>
                              <a:pt x="35317" y="12320"/>
                            </a:cubicBezTo>
                            <a:cubicBezTo>
                              <a:pt x="35317" y="12201"/>
                              <a:pt x="35317" y="12081"/>
                              <a:pt x="35317" y="12021"/>
                            </a:cubicBezTo>
                            <a:cubicBezTo>
                              <a:pt x="35317" y="11364"/>
                              <a:pt x="35257" y="10766"/>
                              <a:pt x="35197" y="10167"/>
                            </a:cubicBezTo>
                            <a:cubicBezTo>
                              <a:pt x="35138" y="9569"/>
                              <a:pt x="35018" y="8971"/>
                              <a:pt x="34839" y="8433"/>
                            </a:cubicBezTo>
                            <a:cubicBezTo>
                              <a:pt x="34719" y="7895"/>
                              <a:pt x="34540" y="7297"/>
                              <a:pt x="34301" y="6818"/>
                            </a:cubicBezTo>
                            <a:cubicBezTo>
                              <a:pt x="34061" y="6340"/>
                              <a:pt x="33822" y="5801"/>
                              <a:pt x="33583" y="5323"/>
                            </a:cubicBezTo>
                            <a:cubicBezTo>
                              <a:pt x="33523" y="5263"/>
                              <a:pt x="33523" y="5203"/>
                              <a:pt x="33463" y="5144"/>
                            </a:cubicBezTo>
                            <a:cubicBezTo>
                              <a:pt x="33403" y="5084"/>
                              <a:pt x="33403" y="5024"/>
                              <a:pt x="33343" y="4964"/>
                            </a:cubicBezTo>
                            <a:cubicBezTo>
                              <a:pt x="33284" y="4904"/>
                              <a:pt x="33284" y="4844"/>
                              <a:pt x="33224" y="4785"/>
                            </a:cubicBezTo>
                            <a:cubicBezTo>
                              <a:pt x="33164" y="4725"/>
                              <a:pt x="33164" y="4665"/>
                              <a:pt x="33104" y="4605"/>
                            </a:cubicBezTo>
                            <a:cubicBezTo>
                              <a:pt x="32985" y="4426"/>
                              <a:pt x="32865" y="4246"/>
                              <a:pt x="32745" y="4067"/>
                            </a:cubicBezTo>
                            <a:cubicBezTo>
                              <a:pt x="32626" y="3888"/>
                              <a:pt x="32447" y="3708"/>
                              <a:pt x="32327" y="3589"/>
                            </a:cubicBezTo>
                            <a:cubicBezTo>
                              <a:pt x="32207" y="3409"/>
                              <a:pt x="32028" y="3290"/>
                              <a:pt x="31908" y="3110"/>
                            </a:cubicBezTo>
                            <a:cubicBezTo>
                              <a:pt x="31788" y="2931"/>
                              <a:pt x="31609" y="2811"/>
                              <a:pt x="31430" y="2691"/>
                            </a:cubicBezTo>
                            <a:cubicBezTo>
                              <a:pt x="31370" y="2632"/>
                              <a:pt x="31310" y="2572"/>
                              <a:pt x="31250" y="2572"/>
                            </a:cubicBezTo>
                            <a:cubicBezTo>
                              <a:pt x="31190" y="2572"/>
                              <a:pt x="31131" y="2452"/>
                              <a:pt x="31071" y="2452"/>
                            </a:cubicBezTo>
                            <a:cubicBezTo>
                              <a:pt x="31011" y="2392"/>
                              <a:pt x="30951" y="2333"/>
                              <a:pt x="30891" y="2333"/>
                            </a:cubicBezTo>
                            <a:cubicBezTo>
                              <a:pt x="30832" y="2333"/>
                              <a:pt x="30772" y="2273"/>
                              <a:pt x="30712" y="2213"/>
                            </a:cubicBezTo>
                            <a:cubicBezTo>
                              <a:pt x="30533" y="2093"/>
                              <a:pt x="30353" y="1974"/>
                              <a:pt x="30174" y="1854"/>
                            </a:cubicBezTo>
                            <a:cubicBezTo>
                              <a:pt x="29994" y="1735"/>
                              <a:pt x="29815" y="1615"/>
                              <a:pt x="29576" y="1495"/>
                            </a:cubicBezTo>
                            <a:cubicBezTo>
                              <a:pt x="29336" y="1376"/>
                              <a:pt x="29157" y="1256"/>
                              <a:pt x="28978" y="1196"/>
                            </a:cubicBezTo>
                            <a:cubicBezTo>
                              <a:pt x="28798" y="1077"/>
                              <a:pt x="28559" y="1017"/>
                              <a:pt x="28379" y="897"/>
                            </a:cubicBezTo>
                            <a:cubicBezTo>
                              <a:pt x="28320" y="897"/>
                              <a:pt x="28260" y="837"/>
                              <a:pt x="28200" y="837"/>
                            </a:cubicBezTo>
                            <a:cubicBezTo>
                              <a:pt x="28140" y="837"/>
                              <a:pt x="28080" y="778"/>
                              <a:pt x="28020" y="778"/>
                            </a:cubicBezTo>
                            <a:cubicBezTo>
                              <a:pt x="27961" y="778"/>
                              <a:pt x="27901" y="718"/>
                              <a:pt x="27841" y="718"/>
                            </a:cubicBezTo>
                            <a:cubicBezTo>
                              <a:pt x="27781" y="718"/>
                              <a:pt x="27722" y="658"/>
                              <a:pt x="27662" y="658"/>
                            </a:cubicBezTo>
                            <a:cubicBezTo>
                              <a:pt x="27243" y="538"/>
                              <a:pt x="26825" y="419"/>
                              <a:pt x="26346" y="299"/>
                            </a:cubicBezTo>
                            <a:cubicBezTo>
                              <a:pt x="25868" y="180"/>
                              <a:pt x="25449" y="120"/>
                              <a:pt x="24971" y="60"/>
                            </a:cubicBezTo>
                            <a:cubicBezTo>
                              <a:pt x="24492" y="0"/>
                              <a:pt x="24014" y="0"/>
                              <a:pt x="23535" y="0"/>
                            </a:cubicBezTo>
                            <a:cubicBezTo>
                              <a:pt x="23057" y="0"/>
                              <a:pt x="22518" y="0"/>
                              <a:pt x="22040" y="60"/>
                            </a:cubicBezTo>
                            <a:cubicBezTo>
                              <a:pt x="21980" y="60"/>
                              <a:pt x="21920" y="60"/>
                              <a:pt x="21801" y="60"/>
                            </a:cubicBezTo>
                            <a:cubicBezTo>
                              <a:pt x="21681" y="60"/>
                              <a:pt x="21681" y="60"/>
                              <a:pt x="21562" y="60"/>
                            </a:cubicBezTo>
                            <a:cubicBezTo>
                              <a:pt x="21502" y="60"/>
                              <a:pt x="21442" y="60"/>
                              <a:pt x="21322" y="60"/>
                            </a:cubicBezTo>
                            <a:cubicBezTo>
                              <a:pt x="21203" y="60"/>
                              <a:pt x="21203" y="60"/>
                              <a:pt x="21083" y="120"/>
                            </a:cubicBezTo>
                            <a:cubicBezTo>
                              <a:pt x="20963" y="120"/>
                              <a:pt x="20784" y="180"/>
                              <a:pt x="20664" y="180"/>
                            </a:cubicBezTo>
                            <a:cubicBezTo>
                              <a:pt x="20545" y="180"/>
                              <a:pt x="20365" y="239"/>
                              <a:pt x="20246" y="239"/>
                            </a:cubicBezTo>
                            <a:cubicBezTo>
                              <a:pt x="20126" y="239"/>
                              <a:pt x="19947" y="299"/>
                              <a:pt x="19827" y="299"/>
                            </a:cubicBezTo>
                            <a:cubicBezTo>
                              <a:pt x="19708" y="299"/>
                              <a:pt x="19528" y="359"/>
                              <a:pt x="19408" y="419"/>
                            </a:cubicBezTo>
                            <a:cubicBezTo>
                              <a:pt x="19109" y="479"/>
                              <a:pt x="18810" y="538"/>
                              <a:pt x="18511" y="658"/>
                            </a:cubicBezTo>
                            <a:cubicBezTo>
                              <a:pt x="18212" y="718"/>
                              <a:pt x="17913" y="837"/>
                              <a:pt x="17614" y="957"/>
                            </a:cubicBezTo>
                            <a:cubicBezTo>
                              <a:pt x="17315" y="1077"/>
                              <a:pt x="17016" y="1136"/>
                              <a:pt x="16777" y="1256"/>
                            </a:cubicBezTo>
                            <a:cubicBezTo>
                              <a:pt x="16478" y="1376"/>
                              <a:pt x="16179" y="1495"/>
                              <a:pt x="15940" y="1615"/>
                            </a:cubicBezTo>
                            <a:cubicBezTo>
                              <a:pt x="15880" y="1675"/>
                              <a:pt x="15760" y="1675"/>
                              <a:pt x="15700" y="1735"/>
                            </a:cubicBezTo>
                            <a:cubicBezTo>
                              <a:pt x="15641" y="1795"/>
                              <a:pt x="15521" y="1795"/>
                              <a:pt x="15461" y="1854"/>
                            </a:cubicBezTo>
                            <a:cubicBezTo>
                              <a:pt x="15401" y="1914"/>
                              <a:pt x="15282" y="1914"/>
                              <a:pt x="15222" y="1974"/>
                            </a:cubicBezTo>
                            <a:cubicBezTo>
                              <a:pt x="15162" y="2034"/>
                              <a:pt x="15042" y="2034"/>
                              <a:pt x="14983" y="2093"/>
                            </a:cubicBezTo>
                            <a:cubicBezTo>
                              <a:pt x="14205" y="2452"/>
                              <a:pt x="13428" y="2931"/>
                              <a:pt x="12710" y="3409"/>
                            </a:cubicBezTo>
                            <a:cubicBezTo>
                              <a:pt x="11932" y="3888"/>
                              <a:pt x="11215" y="4426"/>
                              <a:pt x="10497" y="4964"/>
                            </a:cubicBezTo>
                            <a:cubicBezTo>
                              <a:pt x="9779" y="5503"/>
                              <a:pt x="9062" y="6160"/>
                              <a:pt x="8404" y="6818"/>
                            </a:cubicBezTo>
                            <a:cubicBezTo>
                              <a:pt x="7746" y="7476"/>
                              <a:pt x="7088" y="8134"/>
                              <a:pt x="6430" y="8912"/>
                            </a:cubicBezTo>
                            <a:cubicBezTo>
                              <a:pt x="4516" y="11124"/>
                              <a:pt x="3081" y="13516"/>
                              <a:pt x="2004" y="15909"/>
                            </a:cubicBezTo>
                            <a:cubicBezTo>
                              <a:pt x="928" y="18301"/>
                              <a:pt x="270" y="20753"/>
                              <a:pt x="91" y="23086"/>
                            </a:cubicBezTo>
                            <a:cubicBezTo>
                              <a:pt x="-148" y="25418"/>
                              <a:pt x="91" y="27631"/>
                              <a:pt x="748" y="29545"/>
                            </a:cubicBezTo>
                            <a:cubicBezTo>
                              <a:pt x="1407" y="31519"/>
                              <a:pt x="2543" y="33193"/>
                              <a:pt x="4098" y="34509"/>
                            </a:cubicBezTo>
                            <a:cubicBezTo>
                              <a:pt x="4157" y="34569"/>
                              <a:pt x="4217" y="34629"/>
                              <a:pt x="4277" y="34688"/>
                            </a:cubicBezTo>
                            <a:cubicBezTo>
                              <a:pt x="4337" y="34748"/>
                              <a:pt x="4397" y="34808"/>
                              <a:pt x="4456" y="34868"/>
                            </a:cubicBezTo>
                            <a:cubicBezTo>
                              <a:pt x="4516" y="34928"/>
                              <a:pt x="4576" y="34987"/>
                              <a:pt x="4636" y="35047"/>
                            </a:cubicBezTo>
                            <a:cubicBezTo>
                              <a:pt x="4995" y="34928"/>
                              <a:pt x="5055" y="34987"/>
                              <a:pt x="5115" y="35047"/>
                            </a:cubicBezTo>
                          </a:path>
                        </a:pathLst>
                      </a:custGeom>
                      <a:noFill/>
                      <a:ln w="6350" cap="flat">
                        <a:solidFill>
                          <a:schemeClr val="bg1">
                            <a:alpha val="40000"/>
                          </a:schemeClr>
                        </a:solidFill>
                        <a:prstDash val="solid"/>
                        <a:miter/>
                      </a:ln>
                    </p:spPr>
                    <p:txBody>
                      <a:bodyPr rtlCol="0" anchor="ctr"/>
                      <a:lstStyle/>
                      <a:p>
                        <a:endParaRPr lang="en-GB"/>
                      </a:p>
                    </p:txBody>
                  </p:sp>
                  <p:sp>
                    <p:nvSpPr>
                      <p:cNvPr id="7457" name="Vrije vorm: vorm 7456">
                        <a:extLst>
                          <a:ext uri="{FF2B5EF4-FFF2-40B4-BE49-F238E27FC236}">
                            <a16:creationId xmlns:a16="http://schemas.microsoft.com/office/drawing/2014/main" id="{3F415238-7BD9-436C-9A50-DD3FD508AC25}"/>
                          </a:ext>
                        </a:extLst>
                      </p:cNvPr>
                      <p:cNvSpPr/>
                      <p:nvPr/>
                    </p:nvSpPr>
                    <p:spPr>
                      <a:xfrm>
                        <a:off x="5294902" y="5392990"/>
                        <a:ext cx="29993" cy="31332"/>
                      </a:xfrm>
                      <a:custGeom>
                        <a:avLst/>
                        <a:gdLst>
                          <a:gd name="connsiteX0" fmla="*/ 11573 w 29993"/>
                          <a:gd name="connsiteY0" fmla="*/ 30189 h 31332"/>
                          <a:gd name="connsiteX1" fmla="*/ 9779 w 29993"/>
                          <a:gd name="connsiteY1" fmla="*/ 30189 h 31332"/>
                          <a:gd name="connsiteX2" fmla="*/ 8044 w 29993"/>
                          <a:gd name="connsiteY2" fmla="*/ 29949 h 31332"/>
                          <a:gd name="connsiteX3" fmla="*/ 6429 w 29993"/>
                          <a:gd name="connsiteY3" fmla="*/ 29411 h 31332"/>
                          <a:gd name="connsiteX4" fmla="*/ 4934 w 29993"/>
                          <a:gd name="connsiteY4" fmla="*/ 28574 h 31332"/>
                          <a:gd name="connsiteX5" fmla="*/ 4396 w 29993"/>
                          <a:gd name="connsiteY5" fmla="*/ 28155 h 31332"/>
                          <a:gd name="connsiteX6" fmla="*/ 2841 w 29993"/>
                          <a:gd name="connsiteY6" fmla="*/ 26421 h 31332"/>
                          <a:gd name="connsiteX7" fmla="*/ 1764 w 29993"/>
                          <a:gd name="connsiteY7" fmla="*/ 24328 h 31332"/>
                          <a:gd name="connsiteX8" fmla="*/ 1226 w 29993"/>
                          <a:gd name="connsiteY8" fmla="*/ 21875 h 31332"/>
                          <a:gd name="connsiteX9" fmla="*/ 1226 w 29993"/>
                          <a:gd name="connsiteY9" fmla="*/ 19124 h 31332"/>
                          <a:gd name="connsiteX10" fmla="*/ 1764 w 29993"/>
                          <a:gd name="connsiteY10" fmla="*/ 16253 h 31332"/>
                          <a:gd name="connsiteX11" fmla="*/ 2781 w 29993"/>
                          <a:gd name="connsiteY11" fmla="*/ 13383 h 31332"/>
                          <a:gd name="connsiteX12" fmla="*/ 4276 w 29993"/>
                          <a:gd name="connsiteY12" fmla="*/ 10572 h 31332"/>
                          <a:gd name="connsiteX13" fmla="*/ 6250 w 29993"/>
                          <a:gd name="connsiteY13" fmla="*/ 7940 h 31332"/>
                          <a:gd name="connsiteX14" fmla="*/ 7745 w 29993"/>
                          <a:gd name="connsiteY14" fmla="*/ 6326 h 31332"/>
                          <a:gd name="connsiteX15" fmla="*/ 9360 w 29993"/>
                          <a:gd name="connsiteY15" fmla="*/ 4890 h 31332"/>
                          <a:gd name="connsiteX16" fmla="*/ 11034 w 29993"/>
                          <a:gd name="connsiteY16" fmla="*/ 3694 h 31332"/>
                          <a:gd name="connsiteX17" fmla="*/ 12769 w 29993"/>
                          <a:gd name="connsiteY17" fmla="*/ 2677 h 31332"/>
                          <a:gd name="connsiteX18" fmla="*/ 13128 w 29993"/>
                          <a:gd name="connsiteY18" fmla="*/ 2498 h 31332"/>
                          <a:gd name="connsiteX19" fmla="*/ 13487 w 29993"/>
                          <a:gd name="connsiteY19" fmla="*/ 2318 h 31332"/>
                          <a:gd name="connsiteX20" fmla="*/ 13845 w 29993"/>
                          <a:gd name="connsiteY20" fmla="*/ 2139 h 31332"/>
                          <a:gd name="connsiteX21" fmla="*/ 14204 w 29993"/>
                          <a:gd name="connsiteY21" fmla="*/ 1959 h 31332"/>
                          <a:gd name="connsiteX22" fmla="*/ 14802 w 29993"/>
                          <a:gd name="connsiteY22" fmla="*/ 1720 h 31332"/>
                          <a:gd name="connsiteX23" fmla="*/ 15400 w 29993"/>
                          <a:gd name="connsiteY23" fmla="*/ 1541 h 31332"/>
                          <a:gd name="connsiteX24" fmla="*/ 15998 w 29993"/>
                          <a:gd name="connsiteY24" fmla="*/ 1361 h 31332"/>
                          <a:gd name="connsiteX25" fmla="*/ 16597 w 29993"/>
                          <a:gd name="connsiteY25" fmla="*/ 1182 h 31332"/>
                          <a:gd name="connsiteX26" fmla="*/ 16836 w 29993"/>
                          <a:gd name="connsiteY26" fmla="*/ 1122 h 31332"/>
                          <a:gd name="connsiteX27" fmla="*/ 17075 w 29993"/>
                          <a:gd name="connsiteY27" fmla="*/ 1063 h 31332"/>
                          <a:gd name="connsiteX28" fmla="*/ 17314 w 29993"/>
                          <a:gd name="connsiteY28" fmla="*/ 1003 h 31332"/>
                          <a:gd name="connsiteX29" fmla="*/ 17553 w 29993"/>
                          <a:gd name="connsiteY29" fmla="*/ 943 h 31332"/>
                          <a:gd name="connsiteX30" fmla="*/ 19049 w 29993"/>
                          <a:gd name="connsiteY30" fmla="*/ 764 h 31332"/>
                          <a:gd name="connsiteX31" fmla="*/ 20484 w 29993"/>
                          <a:gd name="connsiteY31" fmla="*/ 764 h 31332"/>
                          <a:gd name="connsiteX32" fmla="*/ 21860 w 29993"/>
                          <a:gd name="connsiteY32" fmla="*/ 943 h 31332"/>
                          <a:gd name="connsiteX33" fmla="*/ 23175 w 29993"/>
                          <a:gd name="connsiteY33" fmla="*/ 1361 h 31332"/>
                          <a:gd name="connsiteX34" fmla="*/ 23355 w 29993"/>
                          <a:gd name="connsiteY34" fmla="*/ 1421 h 31332"/>
                          <a:gd name="connsiteX35" fmla="*/ 23534 w 29993"/>
                          <a:gd name="connsiteY35" fmla="*/ 1481 h 31332"/>
                          <a:gd name="connsiteX36" fmla="*/ 23714 w 29993"/>
                          <a:gd name="connsiteY36" fmla="*/ 1541 h 31332"/>
                          <a:gd name="connsiteX37" fmla="*/ 23893 w 29993"/>
                          <a:gd name="connsiteY37" fmla="*/ 1601 h 31332"/>
                          <a:gd name="connsiteX38" fmla="*/ 24252 w 29993"/>
                          <a:gd name="connsiteY38" fmla="*/ 1780 h 31332"/>
                          <a:gd name="connsiteX39" fmla="*/ 24611 w 29993"/>
                          <a:gd name="connsiteY39" fmla="*/ 1959 h 31332"/>
                          <a:gd name="connsiteX40" fmla="*/ 24969 w 29993"/>
                          <a:gd name="connsiteY40" fmla="*/ 2199 h 31332"/>
                          <a:gd name="connsiteX41" fmla="*/ 25268 w 29993"/>
                          <a:gd name="connsiteY41" fmla="*/ 2438 h 31332"/>
                          <a:gd name="connsiteX42" fmla="*/ 25807 w 29993"/>
                          <a:gd name="connsiteY42" fmla="*/ 2917 h 31332"/>
                          <a:gd name="connsiteX43" fmla="*/ 26106 w 29993"/>
                          <a:gd name="connsiteY43" fmla="*/ 3215 h 31332"/>
                          <a:gd name="connsiteX44" fmla="*/ 26405 w 29993"/>
                          <a:gd name="connsiteY44" fmla="*/ 3514 h 31332"/>
                          <a:gd name="connsiteX45" fmla="*/ 26704 w 29993"/>
                          <a:gd name="connsiteY45" fmla="*/ 3813 h 31332"/>
                          <a:gd name="connsiteX46" fmla="*/ 26943 w 29993"/>
                          <a:gd name="connsiteY46" fmla="*/ 4173 h 31332"/>
                          <a:gd name="connsiteX47" fmla="*/ 27122 w 29993"/>
                          <a:gd name="connsiteY47" fmla="*/ 4412 h 31332"/>
                          <a:gd name="connsiteX48" fmla="*/ 27302 w 29993"/>
                          <a:gd name="connsiteY48" fmla="*/ 4651 h 31332"/>
                          <a:gd name="connsiteX49" fmla="*/ 27481 w 29993"/>
                          <a:gd name="connsiteY49" fmla="*/ 4890 h 31332"/>
                          <a:gd name="connsiteX50" fmla="*/ 27661 w 29993"/>
                          <a:gd name="connsiteY50" fmla="*/ 5129 h 31332"/>
                          <a:gd name="connsiteX51" fmla="*/ 28139 w 29993"/>
                          <a:gd name="connsiteY51" fmla="*/ 6146 h 31332"/>
                          <a:gd name="connsiteX52" fmla="*/ 28498 w 29993"/>
                          <a:gd name="connsiteY52" fmla="*/ 7222 h 31332"/>
                          <a:gd name="connsiteX53" fmla="*/ 28737 w 29993"/>
                          <a:gd name="connsiteY53" fmla="*/ 8359 h 31332"/>
                          <a:gd name="connsiteX54" fmla="*/ 28857 w 29993"/>
                          <a:gd name="connsiteY54" fmla="*/ 9615 h 31332"/>
                          <a:gd name="connsiteX55" fmla="*/ 28857 w 29993"/>
                          <a:gd name="connsiteY55" fmla="*/ 9854 h 31332"/>
                          <a:gd name="connsiteX56" fmla="*/ 28857 w 29993"/>
                          <a:gd name="connsiteY56" fmla="*/ 10093 h 31332"/>
                          <a:gd name="connsiteX57" fmla="*/ 28857 w 29993"/>
                          <a:gd name="connsiteY57" fmla="*/ 10333 h 31332"/>
                          <a:gd name="connsiteX58" fmla="*/ 28857 w 29993"/>
                          <a:gd name="connsiteY58" fmla="*/ 10572 h 31332"/>
                          <a:gd name="connsiteX59" fmla="*/ 28857 w 29993"/>
                          <a:gd name="connsiteY59" fmla="*/ 10871 h 31332"/>
                          <a:gd name="connsiteX60" fmla="*/ 28857 w 29993"/>
                          <a:gd name="connsiteY60" fmla="*/ 11170 h 31332"/>
                          <a:gd name="connsiteX61" fmla="*/ 28857 w 29993"/>
                          <a:gd name="connsiteY61" fmla="*/ 11469 h 31332"/>
                          <a:gd name="connsiteX62" fmla="*/ 28857 w 29993"/>
                          <a:gd name="connsiteY62" fmla="*/ 11768 h 31332"/>
                          <a:gd name="connsiteX63" fmla="*/ 28558 w 29993"/>
                          <a:gd name="connsiteY63" fmla="*/ 13682 h 31332"/>
                          <a:gd name="connsiteX64" fmla="*/ 28020 w 29993"/>
                          <a:gd name="connsiteY64" fmla="*/ 15596 h 31332"/>
                          <a:gd name="connsiteX65" fmla="*/ 27302 w 29993"/>
                          <a:gd name="connsiteY65" fmla="*/ 17450 h 31332"/>
                          <a:gd name="connsiteX66" fmla="*/ 26345 w 29993"/>
                          <a:gd name="connsiteY66" fmla="*/ 19304 h 31332"/>
                          <a:gd name="connsiteX67" fmla="*/ 26226 w 29993"/>
                          <a:gd name="connsiteY67" fmla="*/ 19543 h 31332"/>
                          <a:gd name="connsiteX68" fmla="*/ 26106 w 29993"/>
                          <a:gd name="connsiteY68" fmla="*/ 19782 h 31332"/>
                          <a:gd name="connsiteX69" fmla="*/ 25986 w 29993"/>
                          <a:gd name="connsiteY69" fmla="*/ 20021 h 31332"/>
                          <a:gd name="connsiteX70" fmla="*/ 25867 w 29993"/>
                          <a:gd name="connsiteY70" fmla="*/ 20260 h 31332"/>
                          <a:gd name="connsiteX71" fmla="*/ 25388 w 29993"/>
                          <a:gd name="connsiteY71" fmla="*/ 20919 h 31332"/>
                          <a:gd name="connsiteX72" fmla="*/ 24910 w 29993"/>
                          <a:gd name="connsiteY72" fmla="*/ 21576 h 31332"/>
                          <a:gd name="connsiteX73" fmla="*/ 24431 w 29993"/>
                          <a:gd name="connsiteY73" fmla="*/ 22234 h 31332"/>
                          <a:gd name="connsiteX74" fmla="*/ 23893 w 29993"/>
                          <a:gd name="connsiteY74" fmla="*/ 22892 h 31332"/>
                          <a:gd name="connsiteX75" fmla="*/ 22697 w 29993"/>
                          <a:gd name="connsiteY75" fmla="*/ 24208 h 31332"/>
                          <a:gd name="connsiteX76" fmla="*/ 21381 w 29993"/>
                          <a:gd name="connsiteY76" fmla="*/ 25404 h 31332"/>
                          <a:gd name="connsiteX77" fmla="*/ 20065 w 29993"/>
                          <a:gd name="connsiteY77" fmla="*/ 26481 h 31332"/>
                          <a:gd name="connsiteX78" fmla="*/ 18690 w 29993"/>
                          <a:gd name="connsiteY78" fmla="*/ 27377 h 31332"/>
                          <a:gd name="connsiteX79" fmla="*/ 18451 w 29993"/>
                          <a:gd name="connsiteY79" fmla="*/ 27497 h 31332"/>
                          <a:gd name="connsiteX80" fmla="*/ 18211 w 29993"/>
                          <a:gd name="connsiteY80" fmla="*/ 27617 h 31332"/>
                          <a:gd name="connsiteX81" fmla="*/ 17972 w 29993"/>
                          <a:gd name="connsiteY81" fmla="*/ 27736 h 31332"/>
                          <a:gd name="connsiteX82" fmla="*/ 17733 w 29993"/>
                          <a:gd name="connsiteY82" fmla="*/ 27856 h 31332"/>
                          <a:gd name="connsiteX83" fmla="*/ 16417 w 29993"/>
                          <a:gd name="connsiteY83" fmla="*/ 28514 h 31332"/>
                          <a:gd name="connsiteX84" fmla="*/ 15101 w 29993"/>
                          <a:gd name="connsiteY84" fmla="*/ 29052 h 31332"/>
                          <a:gd name="connsiteX85" fmla="*/ 13786 w 29993"/>
                          <a:gd name="connsiteY85" fmla="*/ 29471 h 31332"/>
                          <a:gd name="connsiteX86" fmla="*/ 12470 w 29993"/>
                          <a:gd name="connsiteY86" fmla="*/ 29770 h 31332"/>
                          <a:gd name="connsiteX87" fmla="*/ 12230 w 29993"/>
                          <a:gd name="connsiteY87" fmla="*/ 29830 h 31332"/>
                          <a:gd name="connsiteX88" fmla="*/ 11991 w 29993"/>
                          <a:gd name="connsiteY88" fmla="*/ 29890 h 31332"/>
                          <a:gd name="connsiteX89" fmla="*/ 11752 w 29993"/>
                          <a:gd name="connsiteY89" fmla="*/ 29949 h 31332"/>
                          <a:gd name="connsiteX90" fmla="*/ 11573 w 29993"/>
                          <a:gd name="connsiteY90" fmla="*/ 30189 h 31332"/>
                          <a:gd name="connsiteX91" fmla="*/ 4336 w 29993"/>
                          <a:gd name="connsiteY91" fmla="*/ 28275 h 31332"/>
                          <a:gd name="connsiteX92" fmla="*/ 4934 w 29993"/>
                          <a:gd name="connsiteY92" fmla="*/ 28693 h 31332"/>
                          <a:gd name="connsiteX93" fmla="*/ 6848 w 29993"/>
                          <a:gd name="connsiteY93" fmla="*/ 29710 h 31332"/>
                          <a:gd name="connsiteX94" fmla="*/ 9001 w 29993"/>
                          <a:gd name="connsiteY94" fmla="*/ 30248 h 31332"/>
                          <a:gd name="connsiteX95" fmla="*/ 11334 w 29993"/>
                          <a:gd name="connsiteY95" fmla="*/ 30308 h 31332"/>
                          <a:gd name="connsiteX96" fmla="*/ 13845 w 29993"/>
                          <a:gd name="connsiteY96" fmla="*/ 29890 h 31332"/>
                          <a:gd name="connsiteX97" fmla="*/ 16597 w 29993"/>
                          <a:gd name="connsiteY97" fmla="*/ 28933 h 31332"/>
                          <a:gd name="connsiteX98" fmla="*/ 19228 w 29993"/>
                          <a:gd name="connsiteY98" fmla="*/ 27497 h 31332"/>
                          <a:gd name="connsiteX99" fmla="*/ 21740 w 29993"/>
                          <a:gd name="connsiteY99" fmla="*/ 25583 h 31332"/>
                          <a:gd name="connsiteX100" fmla="*/ 24013 w 29993"/>
                          <a:gd name="connsiteY100" fmla="*/ 23251 h 31332"/>
                          <a:gd name="connsiteX101" fmla="*/ 25986 w 29993"/>
                          <a:gd name="connsiteY101" fmla="*/ 20620 h 31332"/>
                          <a:gd name="connsiteX102" fmla="*/ 27481 w 29993"/>
                          <a:gd name="connsiteY102" fmla="*/ 17868 h 31332"/>
                          <a:gd name="connsiteX103" fmla="*/ 28558 w 29993"/>
                          <a:gd name="connsiteY103" fmla="*/ 14998 h 31332"/>
                          <a:gd name="connsiteX104" fmla="*/ 29096 w 29993"/>
                          <a:gd name="connsiteY104" fmla="*/ 12127 h 31332"/>
                          <a:gd name="connsiteX105" fmla="*/ 29096 w 29993"/>
                          <a:gd name="connsiteY105" fmla="*/ 9376 h 31332"/>
                          <a:gd name="connsiteX106" fmla="*/ 28558 w 29993"/>
                          <a:gd name="connsiteY106" fmla="*/ 6923 h 31332"/>
                          <a:gd name="connsiteX107" fmla="*/ 27541 w 29993"/>
                          <a:gd name="connsiteY107" fmla="*/ 4771 h 31332"/>
                          <a:gd name="connsiteX108" fmla="*/ 26046 w 29993"/>
                          <a:gd name="connsiteY108" fmla="*/ 2976 h 31332"/>
                          <a:gd name="connsiteX109" fmla="*/ 25927 w 29993"/>
                          <a:gd name="connsiteY109" fmla="*/ 2857 h 31332"/>
                          <a:gd name="connsiteX110" fmla="*/ 25807 w 29993"/>
                          <a:gd name="connsiteY110" fmla="*/ 2737 h 31332"/>
                          <a:gd name="connsiteX111" fmla="*/ 25687 w 29993"/>
                          <a:gd name="connsiteY111" fmla="*/ 2618 h 31332"/>
                          <a:gd name="connsiteX112" fmla="*/ 25568 w 29993"/>
                          <a:gd name="connsiteY112" fmla="*/ 2498 h 31332"/>
                          <a:gd name="connsiteX113" fmla="*/ 23654 w 29993"/>
                          <a:gd name="connsiteY113" fmla="*/ 1421 h 31332"/>
                          <a:gd name="connsiteX114" fmla="*/ 21501 w 29993"/>
                          <a:gd name="connsiteY114" fmla="*/ 823 h 31332"/>
                          <a:gd name="connsiteX115" fmla="*/ 19108 w 29993"/>
                          <a:gd name="connsiteY115" fmla="*/ 704 h 31332"/>
                          <a:gd name="connsiteX116" fmla="*/ 16537 w 29993"/>
                          <a:gd name="connsiteY116" fmla="*/ 1122 h 31332"/>
                          <a:gd name="connsiteX117" fmla="*/ 13726 w 29993"/>
                          <a:gd name="connsiteY117" fmla="*/ 2079 h 31332"/>
                          <a:gd name="connsiteX118" fmla="*/ 11034 w 29993"/>
                          <a:gd name="connsiteY118" fmla="*/ 3514 h 31332"/>
                          <a:gd name="connsiteX119" fmla="*/ 8522 w 29993"/>
                          <a:gd name="connsiteY119" fmla="*/ 5428 h 31332"/>
                          <a:gd name="connsiteX120" fmla="*/ 6190 w 29993"/>
                          <a:gd name="connsiteY120" fmla="*/ 7761 h 31332"/>
                          <a:gd name="connsiteX121" fmla="*/ 2661 w 29993"/>
                          <a:gd name="connsiteY121" fmla="*/ 13323 h 31332"/>
                          <a:gd name="connsiteX122" fmla="*/ 1106 w 29993"/>
                          <a:gd name="connsiteY122" fmla="*/ 19005 h 31332"/>
                          <a:gd name="connsiteX123" fmla="*/ 1645 w 29993"/>
                          <a:gd name="connsiteY123" fmla="*/ 24148 h 31332"/>
                          <a:gd name="connsiteX124" fmla="*/ 4336 w 29993"/>
                          <a:gd name="connsiteY124" fmla="*/ 28275 h 31332"/>
                          <a:gd name="connsiteX125" fmla="*/ 26106 w 29993"/>
                          <a:gd name="connsiteY125" fmla="*/ 1780 h 31332"/>
                          <a:gd name="connsiteX126" fmla="*/ 26704 w 29993"/>
                          <a:gd name="connsiteY126" fmla="*/ 2259 h 31332"/>
                          <a:gd name="connsiteX127" fmla="*/ 28319 w 29993"/>
                          <a:gd name="connsiteY127" fmla="*/ 4113 h 31332"/>
                          <a:gd name="connsiteX128" fmla="*/ 29395 w 29993"/>
                          <a:gd name="connsiteY128" fmla="*/ 6385 h 31332"/>
                          <a:gd name="connsiteX129" fmla="*/ 29934 w 29993"/>
                          <a:gd name="connsiteY129" fmla="*/ 9017 h 31332"/>
                          <a:gd name="connsiteX130" fmla="*/ 29934 w 29993"/>
                          <a:gd name="connsiteY130" fmla="*/ 11947 h 31332"/>
                          <a:gd name="connsiteX131" fmla="*/ 29336 w 29993"/>
                          <a:gd name="connsiteY131" fmla="*/ 14998 h 31332"/>
                          <a:gd name="connsiteX132" fmla="*/ 28259 w 29993"/>
                          <a:gd name="connsiteY132" fmla="*/ 18048 h 31332"/>
                          <a:gd name="connsiteX133" fmla="*/ 26644 w 29993"/>
                          <a:gd name="connsiteY133" fmla="*/ 20978 h 31332"/>
                          <a:gd name="connsiteX134" fmla="*/ 24551 w 29993"/>
                          <a:gd name="connsiteY134" fmla="*/ 23729 h 31332"/>
                          <a:gd name="connsiteX135" fmla="*/ 19587 w 29993"/>
                          <a:gd name="connsiteY135" fmla="*/ 28155 h 31332"/>
                          <a:gd name="connsiteX136" fmla="*/ 14144 w 29993"/>
                          <a:gd name="connsiteY136" fmla="*/ 30727 h 31332"/>
                          <a:gd name="connsiteX137" fmla="*/ 8821 w 29993"/>
                          <a:gd name="connsiteY137" fmla="*/ 31265 h 31332"/>
                          <a:gd name="connsiteX138" fmla="*/ 4276 w 29993"/>
                          <a:gd name="connsiteY138" fmla="*/ 29591 h 31332"/>
                          <a:gd name="connsiteX139" fmla="*/ 3678 w 29993"/>
                          <a:gd name="connsiteY139" fmla="*/ 29112 h 31332"/>
                          <a:gd name="connsiteX140" fmla="*/ 867 w 29993"/>
                          <a:gd name="connsiteY140" fmla="*/ 24926 h 31332"/>
                          <a:gd name="connsiteX141" fmla="*/ 329 w 29993"/>
                          <a:gd name="connsiteY141" fmla="*/ 19483 h 31332"/>
                          <a:gd name="connsiteX142" fmla="*/ 1944 w 29993"/>
                          <a:gd name="connsiteY142" fmla="*/ 13443 h 31332"/>
                          <a:gd name="connsiteX143" fmla="*/ 5712 w 29993"/>
                          <a:gd name="connsiteY143" fmla="*/ 7522 h 31332"/>
                          <a:gd name="connsiteX144" fmla="*/ 10795 w 29993"/>
                          <a:gd name="connsiteY144" fmla="*/ 3036 h 31332"/>
                          <a:gd name="connsiteX145" fmla="*/ 16297 w 29993"/>
                          <a:gd name="connsiteY145" fmla="*/ 524 h 31332"/>
                          <a:gd name="connsiteX146" fmla="*/ 21620 w 29993"/>
                          <a:gd name="connsiteY146" fmla="*/ 105 h 31332"/>
                          <a:gd name="connsiteX147" fmla="*/ 26106 w 29993"/>
                          <a:gd name="connsiteY147" fmla="*/ 1780 h 31332"/>
                          <a:gd name="connsiteX148" fmla="*/ 4217 w 29993"/>
                          <a:gd name="connsiteY148" fmla="*/ 29591 h 31332"/>
                          <a:gd name="connsiteX149" fmla="*/ 5652 w 29993"/>
                          <a:gd name="connsiteY149" fmla="*/ 30428 h 31332"/>
                          <a:gd name="connsiteX150" fmla="*/ 7207 w 29993"/>
                          <a:gd name="connsiteY150" fmla="*/ 30966 h 31332"/>
                          <a:gd name="connsiteX151" fmla="*/ 8881 w 29993"/>
                          <a:gd name="connsiteY151" fmla="*/ 31265 h 31332"/>
                          <a:gd name="connsiteX152" fmla="*/ 10616 w 29993"/>
                          <a:gd name="connsiteY152" fmla="*/ 31325 h 31332"/>
                          <a:gd name="connsiteX153" fmla="*/ 10855 w 29993"/>
                          <a:gd name="connsiteY153" fmla="*/ 31325 h 31332"/>
                          <a:gd name="connsiteX154" fmla="*/ 11094 w 29993"/>
                          <a:gd name="connsiteY154" fmla="*/ 31325 h 31332"/>
                          <a:gd name="connsiteX155" fmla="*/ 11334 w 29993"/>
                          <a:gd name="connsiteY155" fmla="*/ 31325 h 31332"/>
                          <a:gd name="connsiteX156" fmla="*/ 11573 w 29993"/>
                          <a:gd name="connsiteY156" fmla="*/ 31325 h 31332"/>
                          <a:gd name="connsiteX157" fmla="*/ 13307 w 29993"/>
                          <a:gd name="connsiteY157" fmla="*/ 31026 h 31332"/>
                          <a:gd name="connsiteX158" fmla="*/ 15042 w 29993"/>
                          <a:gd name="connsiteY158" fmla="*/ 30547 h 31332"/>
                          <a:gd name="connsiteX159" fmla="*/ 16776 w 29993"/>
                          <a:gd name="connsiteY159" fmla="*/ 29830 h 31332"/>
                          <a:gd name="connsiteX160" fmla="*/ 18510 w 29993"/>
                          <a:gd name="connsiteY160" fmla="*/ 28933 h 31332"/>
                          <a:gd name="connsiteX161" fmla="*/ 18750 w 29993"/>
                          <a:gd name="connsiteY161" fmla="*/ 28813 h 31332"/>
                          <a:gd name="connsiteX162" fmla="*/ 18989 w 29993"/>
                          <a:gd name="connsiteY162" fmla="*/ 28693 h 31332"/>
                          <a:gd name="connsiteX163" fmla="*/ 19228 w 29993"/>
                          <a:gd name="connsiteY163" fmla="*/ 28574 h 31332"/>
                          <a:gd name="connsiteX164" fmla="*/ 19467 w 29993"/>
                          <a:gd name="connsiteY164" fmla="*/ 28454 h 31332"/>
                          <a:gd name="connsiteX165" fmla="*/ 20843 w 29993"/>
                          <a:gd name="connsiteY165" fmla="*/ 27497 h 31332"/>
                          <a:gd name="connsiteX166" fmla="*/ 22159 w 29993"/>
                          <a:gd name="connsiteY166" fmla="*/ 26421 h 31332"/>
                          <a:gd name="connsiteX167" fmla="*/ 23414 w 29993"/>
                          <a:gd name="connsiteY167" fmla="*/ 25224 h 31332"/>
                          <a:gd name="connsiteX168" fmla="*/ 24611 w 29993"/>
                          <a:gd name="connsiteY168" fmla="*/ 23909 h 31332"/>
                          <a:gd name="connsiteX169" fmla="*/ 25149 w 29993"/>
                          <a:gd name="connsiteY169" fmla="*/ 23251 h 31332"/>
                          <a:gd name="connsiteX170" fmla="*/ 25627 w 29993"/>
                          <a:gd name="connsiteY170" fmla="*/ 22593 h 31332"/>
                          <a:gd name="connsiteX171" fmla="*/ 26106 w 29993"/>
                          <a:gd name="connsiteY171" fmla="*/ 21935 h 31332"/>
                          <a:gd name="connsiteX172" fmla="*/ 26584 w 29993"/>
                          <a:gd name="connsiteY172" fmla="*/ 21277 h 31332"/>
                          <a:gd name="connsiteX173" fmla="*/ 26704 w 29993"/>
                          <a:gd name="connsiteY173" fmla="*/ 21038 h 31332"/>
                          <a:gd name="connsiteX174" fmla="*/ 26823 w 29993"/>
                          <a:gd name="connsiteY174" fmla="*/ 20799 h 31332"/>
                          <a:gd name="connsiteX175" fmla="*/ 26943 w 29993"/>
                          <a:gd name="connsiteY175" fmla="*/ 20560 h 31332"/>
                          <a:gd name="connsiteX176" fmla="*/ 27063 w 29993"/>
                          <a:gd name="connsiteY176" fmla="*/ 20320 h 31332"/>
                          <a:gd name="connsiteX177" fmla="*/ 28139 w 29993"/>
                          <a:gd name="connsiteY177" fmla="*/ 18287 h 31332"/>
                          <a:gd name="connsiteX178" fmla="*/ 28976 w 29993"/>
                          <a:gd name="connsiteY178" fmla="*/ 16194 h 31332"/>
                          <a:gd name="connsiteX179" fmla="*/ 29575 w 29993"/>
                          <a:gd name="connsiteY179" fmla="*/ 14100 h 31332"/>
                          <a:gd name="connsiteX180" fmla="*/ 29934 w 29993"/>
                          <a:gd name="connsiteY180" fmla="*/ 12007 h 31332"/>
                          <a:gd name="connsiteX181" fmla="*/ 29993 w 29993"/>
                          <a:gd name="connsiteY181" fmla="*/ 11469 h 31332"/>
                          <a:gd name="connsiteX182" fmla="*/ 29993 w 29993"/>
                          <a:gd name="connsiteY182" fmla="*/ 10930 h 31332"/>
                          <a:gd name="connsiteX183" fmla="*/ 29993 w 29993"/>
                          <a:gd name="connsiteY183" fmla="*/ 10392 h 31332"/>
                          <a:gd name="connsiteX184" fmla="*/ 29993 w 29993"/>
                          <a:gd name="connsiteY184" fmla="*/ 9854 h 31332"/>
                          <a:gd name="connsiteX185" fmla="*/ 29993 w 29993"/>
                          <a:gd name="connsiteY185" fmla="*/ 9615 h 31332"/>
                          <a:gd name="connsiteX186" fmla="*/ 29993 w 29993"/>
                          <a:gd name="connsiteY186" fmla="*/ 9376 h 31332"/>
                          <a:gd name="connsiteX187" fmla="*/ 29993 w 29993"/>
                          <a:gd name="connsiteY187" fmla="*/ 9136 h 31332"/>
                          <a:gd name="connsiteX188" fmla="*/ 29993 w 29993"/>
                          <a:gd name="connsiteY188" fmla="*/ 8897 h 31332"/>
                          <a:gd name="connsiteX189" fmla="*/ 29874 w 29993"/>
                          <a:gd name="connsiteY189" fmla="*/ 8060 h 31332"/>
                          <a:gd name="connsiteX190" fmla="*/ 29694 w 29993"/>
                          <a:gd name="connsiteY190" fmla="*/ 7282 h 31332"/>
                          <a:gd name="connsiteX191" fmla="*/ 29455 w 29993"/>
                          <a:gd name="connsiteY191" fmla="*/ 6505 h 31332"/>
                          <a:gd name="connsiteX192" fmla="*/ 29216 w 29993"/>
                          <a:gd name="connsiteY192" fmla="*/ 5787 h 31332"/>
                          <a:gd name="connsiteX193" fmla="*/ 29096 w 29993"/>
                          <a:gd name="connsiteY193" fmla="*/ 5548 h 31332"/>
                          <a:gd name="connsiteX194" fmla="*/ 28976 w 29993"/>
                          <a:gd name="connsiteY194" fmla="*/ 5309 h 31332"/>
                          <a:gd name="connsiteX195" fmla="*/ 28857 w 29993"/>
                          <a:gd name="connsiteY195" fmla="*/ 5069 h 31332"/>
                          <a:gd name="connsiteX196" fmla="*/ 28737 w 29993"/>
                          <a:gd name="connsiteY196" fmla="*/ 4830 h 31332"/>
                          <a:gd name="connsiteX197" fmla="*/ 28319 w 29993"/>
                          <a:gd name="connsiteY197" fmla="*/ 4113 h 31332"/>
                          <a:gd name="connsiteX198" fmla="*/ 27840 w 29993"/>
                          <a:gd name="connsiteY198" fmla="*/ 3455 h 31332"/>
                          <a:gd name="connsiteX199" fmla="*/ 27302 w 29993"/>
                          <a:gd name="connsiteY199" fmla="*/ 2857 h 31332"/>
                          <a:gd name="connsiteX200" fmla="*/ 26704 w 29993"/>
                          <a:gd name="connsiteY200" fmla="*/ 2318 h 31332"/>
                          <a:gd name="connsiteX201" fmla="*/ 26106 w 29993"/>
                          <a:gd name="connsiteY201" fmla="*/ 1840 h 31332"/>
                          <a:gd name="connsiteX202" fmla="*/ 25687 w 29993"/>
                          <a:gd name="connsiteY202" fmla="*/ 1541 h 31332"/>
                          <a:gd name="connsiteX203" fmla="*/ 25268 w 29993"/>
                          <a:gd name="connsiteY203" fmla="*/ 1302 h 31332"/>
                          <a:gd name="connsiteX204" fmla="*/ 24850 w 29993"/>
                          <a:gd name="connsiteY204" fmla="*/ 1063 h 31332"/>
                          <a:gd name="connsiteX205" fmla="*/ 24431 w 29993"/>
                          <a:gd name="connsiteY205" fmla="*/ 883 h 31332"/>
                          <a:gd name="connsiteX206" fmla="*/ 24252 w 29993"/>
                          <a:gd name="connsiteY206" fmla="*/ 823 h 31332"/>
                          <a:gd name="connsiteX207" fmla="*/ 24073 w 29993"/>
                          <a:gd name="connsiteY207" fmla="*/ 764 h 31332"/>
                          <a:gd name="connsiteX208" fmla="*/ 23893 w 29993"/>
                          <a:gd name="connsiteY208" fmla="*/ 704 h 31332"/>
                          <a:gd name="connsiteX209" fmla="*/ 23714 w 29993"/>
                          <a:gd name="connsiteY209" fmla="*/ 644 h 31332"/>
                          <a:gd name="connsiteX210" fmla="*/ 22398 w 29993"/>
                          <a:gd name="connsiteY210" fmla="*/ 285 h 31332"/>
                          <a:gd name="connsiteX211" fmla="*/ 21022 w 29993"/>
                          <a:gd name="connsiteY211" fmla="*/ 105 h 31332"/>
                          <a:gd name="connsiteX212" fmla="*/ 19587 w 29993"/>
                          <a:gd name="connsiteY212" fmla="*/ 46 h 31332"/>
                          <a:gd name="connsiteX213" fmla="*/ 18092 w 29993"/>
                          <a:gd name="connsiteY213" fmla="*/ 165 h 31332"/>
                          <a:gd name="connsiteX214" fmla="*/ 17852 w 29993"/>
                          <a:gd name="connsiteY214" fmla="*/ 225 h 31332"/>
                          <a:gd name="connsiteX215" fmla="*/ 17613 w 29993"/>
                          <a:gd name="connsiteY215" fmla="*/ 285 h 31332"/>
                          <a:gd name="connsiteX216" fmla="*/ 17374 w 29993"/>
                          <a:gd name="connsiteY216" fmla="*/ 345 h 31332"/>
                          <a:gd name="connsiteX217" fmla="*/ 17135 w 29993"/>
                          <a:gd name="connsiteY217" fmla="*/ 405 h 31332"/>
                          <a:gd name="connsiteX218" fmla="*/ 15998 w 29993"/>
                          <a:gd name="connsiteY218" fmla="*/ 704 h 31332"/>
                          <a:gd name="connsiteX219" fmla="*/ 14862 w 29993"/>
                          <a:gd name="connsiteY219" fmla="*/ 1063 h 31332"/>
                          <a:gd name="connsiteX220" fmla="*/ 13726 w 29993"/>
                          <a:gd name="connsiteY220" fmla="*/ 1541 h 31332"/>
                          <a:gd name="connsiteX221" fmla="*/ 12589 w 29993"/>
                          <a:gd name="connsiteY221" fmla="*/ 2079 h 31332"/>
                          <a:gd name="connsiteX222" fmla="*/ 12290 w 29993"/>
                          <a:gd name="connsiteY222" fmla="*/ 2259 h 31332"/>
                          <a:gd name="connsiteX223" fmla="*/ 11991 w 29993"/>
                          <a:gd name="connsiteY223" fmla="*/ 2438 h 31332"/>
                          <a:gd name="connsiteX224" fmla="*/ 11692 w 29993"/>
                          <a:gd name="connsiteY224" fmla="*/ 2618 h 31332"/>
                          <a:gd name="connsiteX225" fmla="*/ 11393 w 29993"/>
                          <a:gd name="connsiteY225" fmla="*/ 2797 h 31332"/>
                          <a:gd name="connsiteX226" fmla="*/ 9838 w 29993"/>
                          <a:gd name="connsiteY226" fmla="*/ 3813 h 31332"/>
                          <a:gd name="connsiteX227" fmla="*/ 8343 w 29993"/>
                          <a:gd name="connsiteY227" fmla="*/ 4950 h 31332"/>
                          <a:gd name="connsiteX228" fmla="*/ 6908 w 29993"/>
                          <a:gd name="connsiteY228" fmla="*/ 6266 h 31332"/>
                          <a:gd name="connsiteX229" fmla="*/ 5532 w 29993"/>
                          <a:gd name="connsiteY229" fmla="*/ 7701 h 31332"/>
                          <a:gd name="connsiteX230" fmla="*/ 3439 w 29993"/>
                          <a:gd name="connsiteY230" fmla="*/ 10512 h 31332"/>
                          <a:gd name="connsiteX231" fmla="*/ 1824 w 29993"/>
                          <a:gd name="connsiteY231" fmla="*/ 13503 h 31332"/>
                          <a:gd name="connsiteX232" fmla="*/ 688 w 29993"/>
                          <a:gd name="connsiteY232" fmla="*/ 16612 h 31332"/>
                          <a:gd name="connsiteX233" fmla="*/ 90 w 29993"/>
                          <a:gd name="connsiteY233" fmla="*/ 19722 h 31332"/>
                          <a:gd name="connsiteX234" fmla="*/ 90 w 29993"/>
                          <a:gd name="connsiteY234" fmla="*/ 22653 h 31332"/>
                          <a:gd name="connsiteX235" fmla="*/ 688 w 29993"/>
                          <a:gd name="connsiteY235" fmla="*/ 25284 h 31332"/>
                          <a:gd name="connsiteX236" fmla="*/ 1824 w 29993"/>
                          <a:gd name="connsiteY236" fmla="*/ 27557 h 31332"/>
                          <a:gd name="connsiteX237" fmla="*/ 3499 w 29993"/>
                          <a:gd name="connsiteY237" fmla="*/ 29411 h 31332"/>
                          <a:gd name="connsiteX238" fmla="*/ 4217 w 29993"/>
                          <a:gd name="connsiteY238" fmla="*/ 29591 h 31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29993" h="31332">
                            <a:moveTo>
                              <a:pt x="11573" y="30189"/>
                            </a:moveTo>
                            <a:cubicBezTo>
                              <a:pt x="10975" y="30248"/>
                              <a:pt x="10376" y="30248"/>
                              <a:pt x="9779" y="30189"/>
                            </a:cubicBezTo>
                            <a:cubicBezTo>
                              <a:pt x="9180" y="30129"/>
                              <a:pt x="8642" y="30069"/>
                              <a:pt x="8044" y="29949"/>
                            </a:cubicBezTo>
                            <a:cubicBezTo>
                              <a:pt x="7506" y="29830"/>
                              <a:pt x="6967" y="29650"/>
                              <a:pt x="6429" y="29411"/>
                            </a:cubicBezTo>
                            <a:cubicBezTo>
                              <a:pt x="5891" y="29172"/>
                              <a:pt x="5413" y="28873"/>
                              <a:pt x="4934" y="28574"/>
                            </a:cubicBezTo>
                            <a:lnTo>
                              <a:pt x="4396" y="28155"/>
                            </a:lnTo>
                            <a:cubicBezTo>
                              <a:pt x="3798" y="27677"/>
                              <a:pt x="3259" y="27078"/>
                              <a:pt x="2841" y="26421"/>
                            </a:cubicBezTo>
                            <a:cubicBezTo>
                              <a:pt x="2422" y="25763"/>
                              <a:pt x="2063" y="25045"/>
                              <a:pt x="1764" y="24328"/>
                            </a:cubicBezTo>
                            <a:cubicBezTo>
                              <a:pt x="1525" y="23550"/>
                              <a:pt x="1286" y="22713"/>
                              <a:pt x="1226" y="21875"/>
                            </a:cubicBezTo>
                            <a:cubicBezTo>
                              <a:pt x="1106" y="20978"/>
                              <a:pt x="1106" y="20081"/>
                              <a:pt x="1226" y="19124"/>
                            </a:cubicBezTo>
                            <a:cubicBezTo>
                              <a:pt x="1286" y="18167"/>
                              <a:pt x="1465" y="17211"/>
                              <a:pt x="1764" y="16253"/>
                            </a:cubicBezTo>
                            <a:cubicBezTo>
                              <a:pt x="2004" y="15297"/>
                              <a:pt x="2363" y="14340"/>
                              <a:pt x="2781" y="13383"/>
                            </a:cubicBezTo>
                            <a:cubicBezTo>
                              <a:pt x="3200" y="12426"/>
                              <a:pt x="3738" y="11529"/>
                              <a:pt x="4276" y="10572"/>
                            </a:cubicBezTo>
                            <a:cubicBezTo>
                              <a:pt x="4874" y="9675"/>
                              <a:pt x="5532" y="8778"/>
                              <a:pt x="6250" y="7940"/>
                            </a:cubicBezTo>
                            <a:cubicBezTo>
                              <a:pt x="6728" y="7402"/>
                              <a:pt x="7267" y="6864"/>
                              <a:pt x="7745" y="6326"/>
                            </a:cubicBezTo>
                            <a:cubicBezTo>
                              <a:pt x="8283" y="5847"/>
                              <a:pt x="8821" y="5368"/>
                              <a:pt x="9360" y="4890"/>
                            </a:cubicBezTo>
                            <a:cubicBezTo>
                              <a:pt x="9898" y="4472"/>
                              <a:pt x="10496" y="4053"/>
                              <a:pt x="11034" y="3694"/>
                            </a:cubicBezTo>
                            <a:cubicBezTo>
                              <a:pt x="11633" y="3335"/>
                              <a:pt x="12171" y="2976"/>
                              <a:pt x="12769" y="2677"/>
                            </a:cubicBezTo>
                            <a:cubicBezTo>
                              <a:pt x="12889" y="2618"/>
                              <a:pt x="13008" y="2558"/>
                              <a:pt x="13128" y="2498"/>
                            </a:cubicBezTo>
                            <a:cubicBezTo>
                              <a:pt x="13247" y="2438"/>
                              <a:pt x="13367" y="2378"/>
                              <a:pt x="13487" y="2318"/>
                            </a:cubicBezTo>
                            <a:cubicBezTo>
                              <a:pt x="13606" y="2259"/>
                              <a:pt x="13726" y="2199"/>
                              <a:pt x="13845" y="2139"/>
                            </a:cubicBezTo>
                            <a:cubicBezTo>
                              <a:pt x="13965" y="2079"/>
                              <a:pt x="14084" y="2019"/>
                              <a:pt x="14204" y="1959"/>
                            </a:cubicBezTo>
                            <a:cubicBezTo>
                              <a:pt x="14384" y="1900"/>
                              <a:pt x="14623" y="1780"/>
                              <a:pt x="14802" y="1720"/>
                            </a:cubicBezTo>
                            <a:cubicBezTo>
                              <a:pt x="14982" y="1660"/>
                              <a:pt x="15221" y="1601"/>
                              <a:pt x="15400" y="1541"/>
                            </a:cubicBezTo>
                            <a:cubicBezTo>
                              <a:pt x="15580" y="1481"/>
                              <a:pt x="15819" y="1421"/>
                              <a:pt x="15998" y="1361"/>
                            </a:cubicBezTo>
                            <a:cubicBezTo>
                              <a:pt x="16178" y="1302"/>
                              <a:pt x="16417" y="1242"/>
                              <a:pt x="16597" y="1182"/>
                            </a:cubicBezTo>
                            <a:cubicBezTo>
                              <a:pt x="16656" y="1182"/>
                              <a:pt x="16716" y="1122"/>
                              <a:pt x="16836" y="1122"/>
                            </a:cubicBezTo>
                            <a:cubicBezTo>
                              <a:pt x="16955" y="1122"/>
                              <a:pt x="16955" y="1063"/>
                              <a:pt x="17075" y="1063"/>
                            </a:cubicBezTo>
                            <a:cubicBezTo>
                              <a:pt x="17135" y="1063"/>
                              <a:pt x="17195" y="1063"/>
                              <a:pt x="17314" y="1003"/>
                            </a:cubicBezTo>
                            <a:cubicBezTo>
                              <a:pt x="17374" y="1003"/>
                              <a:pt x="17434" y="1003"/>
                              <a:pt x="17553" y="943"/>
                            </a:cubicBezTo>
                            <a:cubicBezTo>
                              <a:pt x="18032" y="883"/>
                              <a:pt x="18570" y="823"/>
                              <a:pt x="19049" y="764"/>
                            </a:cubicBezTo>
                            <a:cubicBezTo>
                              <a:pt x="19527" y="764"/>
                              <a:pt x="20005" y="764"/>
                              <a:pt x="20484" y="764"/>
                            </a:cubicBezTo>
                            <a:cubicBezTo>
                              <a:pt x="20962" y="764"/>
                              <a:pt x="21441" y="883"/>
                              <a:pt x="21860" y="943"/>
                            </a:cubicBezTo>
                            <a:cubicBezTo>
                              <a:pt x="22338" y="1063"/>
                              <a:pt x="22757" y="1182"/>
                              <a:pt x="23175" y="1361"/>
                            </a:cubicBezTo>
                            <a:cubicBezTo>
                              <a:pt x="23235" y="1361"/>
                              <a:pt x="23295" y="1421"/>
                              <a:pt x="23355" y="1421"/>
                            </a:cubicBezTo>
                            <a:cubicBezTo>
                              <a:pt x="23414" y="1421"/>
                              <a:pt x="23474" y="1481"/>
                              <a:pt x="23534" y="1481"/>
                            </a:cubicBezTo>
                            <a:cubicBezTo>
                              <a:pt x="23594" y="1481"/>
                              <a:pt x="23654" y="1541"/>
                              <a:pt x="23714" y="1541"/>
                            </a:cubicBezTo>
                            <a:cubicBezTo>
                              <a:pt x="23773" y="1541"/>
                              <a:pt x="23833" y="1601"/>
                              <a:pt x="23893" y="1601"/>
                            </a:cubicBezTo>
                            <a:cubicBezTo>
                              <a:pt x="24013" y="1660"/>
                              <a:pt x="24132" y="1720"/>
                              <a:pt x="24252" y="1780"/>
                            </a:cubicBezTo>
                            <a:cubicBezTo>
                              <a:pt x="24372" y="1840"/>
                              <a:pt x="24491" y="1900"/>
                              <a:pt x="24611" y="1959"/>
                            </a:cubicBezTo>
                            <a:cubicBezTo>
                              <a:pt x="24730" y="2019"/>
                              <a:pt x="24850" y="2079"/>
                              <a:pt x="24969" y="2199"/>
                            </a:cubicBezTo>
                            <a:cubicBezTo>
                              <a:pt x="25089" y="2259"/>
                              <a:pt x="25209" y="2378"/>
                              <a:pt x="25268" y="2438"/>
                            </a:cubicBezTo>
                            <a:lnTo>
                              <a:pt x="25807" y="2917"/>
                            </a:lnTo>
                            <a:cubicBezTo>
                              <a:pt x="25927" y="3036"/>
                              <a:pt x="26046" y="3096"/>
                              <a:pt x="26106" y="3215"/>
                            </a:cubicBezTo>
                            <a:cubicBezTo>
                              <a:pt x="26226" y="3335"/>
                              <a:pt x="26285" y="3395"/>
                              <a:pt x="26405" y="3514"/>
                            </a:cubicBezTo>
                            <a:cubicBezTo>
                              <a:pt x="26524" y="3634"/>
                              <a:pt x="26584" y="3754"/>
                              <a:pt x="26704" y="3813"/>
                            </a:cubicBezTo>
                            <a:cubicBezTo>
                              <a:pt x="26823" y="3873"/>
                              <a:pt x="26883" y="4053"/>
                              <a:pt x="26943" y="4173"/>
                            </a:cubicBezTo>
                            <a:cubicBezTo>
                              <a:pt x="27003" y="4232"/>
                              <a:pt x="27063" y="4352"/>
                              <a:pt x="27122" y="4412"/>
                            </a:cubicBezTo>
                            <a:cubicBezTo>
                              <a:pt x="27182" y="4472"/>
                              <a:pt x="27242" y="4591"/>
                              <a:pt x="27302" y="4651"/>
                            </a:cubicBezTo>
                            <a:cubicBezTo>
                              <a:pt x="27362" y="4711"/>
                              <a:pt x="27422" y="4830"/>
                              <a:pt x="27481" y="4890"/>
                            </a:cubicBezTo>
                            <a:cubicBezTo>
                              <a:pt x="27541" y="4950"/>
                              <a:pt x="27601" y="5069"/>
                              <a:pt x="27661" y="5129"/>
                            </a:cubicBezTo>
                            <a:cubicBezTo>
                              <a:pt x="27840" y="5428"/>
                              <a:pt x="28020" y="5787"/>
                              <a:pt x="28139" y="6146"/>
                            </a:cubicBezTo>
                            <a:cubicBezTo>
                              <a:pt x="28259" y="6505"/>
                              <a:pt x="28378" y="6864"/>
                              <a:pt x="28498" y="7222"/>
                            </a:cubicBezTo>
                            <a:cubicBezTo>
                              <a:pt x="28618" y="7581"/>
                              <a:pt x="28677" y="8000"/>
                              <a:pt x="28737" y="8359"/>
                            </a:cubicBezTo>
                            <a:cubicBezTo>
                              <a:pt x="28797" y="8718"/>
                              <a:pt x="28857" y="9196"/>
                              <a:pt x="28857" y="9615"/>
                            </a:cubicBezTo>
                            <a:cubicBezTo>
                              <a:pt x="28857" y="9675"/>
                              <a:pt x="28857" y="9794"/>
                              <a:pt x="28857" y="9854"/>
                            </a:cubicBezTo>
                            <a:cubicBezTo>
                              <a:pt x="28857" y="9914"/>
                              <a:pt x="28857" y="10034"/>
                              <a:pt x="28857" y="10093"/>
                            </a:cubicBezTo>
                            <a:cubicBezTo>
                              <a:pt x="28857" y="10153"/>
                              <a:pt x="28857" y="10273"/>
                              <a:pt x="28857" y="10333"/>
                            </a:cubicBezTo>
                            <a:cubicBezTo>
                              <a:pt x="28857" y="10392"/>
                              <a:pt x="28857" y="10512"/>
                              <a:pt x="28857" y="10572"/>
                            </a:cubicBezTo>
                            <a:cubicBezTo>
                              <a:pt x="28857" y="10691"/>
                              <a:pt x="28857" y="10751"/>
                              <a:pt x="28857" y="10871"/>
                            </a:cubicBezTo>
                            <a:cubicBezTo>
                              <a:pt x="28857" y="10990"/>
                              <a:pt x="28857" y="11050"/>
                              <a:pt x="28857" y="11170"/>
                            </a:cubicBezTo>
                            <a:cubicBezTo>
                              <a:pt x="28857" y="11289"/>
                              <a:pt x="28857" y="11349"/>
                              <a:pt x="28857" y="11469"/>
                            </a:cubicBezTo>
                            <a:cubicBezTo>
                              <a:pt x="28857" y="11589"/>
                              <a:pt x="28857" y="11648"/>
                              <a:pt x="28857" y="11768"/>
                            </a:cubicBezTo>
                            <a:cubicBezTo>
                              <a:pt x="28797" y="12426"/>
                              <a:pt x="28677" y="13024"/>
                              <a:pt x="28558" y="13682"/>
                            </a:cubicBezTo>
                            <a:cubicBezTo>
                              <a:pt x="28438" y="14340"/>
                              <a:pt x="28259" y="14938"/>
                              <a:pt x="28020" y="15596"/>
                            </a:cubicBezTo>
                            <a:cubicBezTo>
                              <a:pt x="27781" y="16253"/>
                              <a:pt x="27541" y="16852"/>
                              <a:pt x="27302" y="17450"/>
                            </a:cubicBezTo>
                            <a:cubicBezTo>
                              <a:pt x="27003" y="18048"/>
                              <a:pt x="26704" y="18706"/>
                              <a:pt x="26345" y="19304"/>
                            </a:cubicBezTo>
                            <a:cubicBezTo>
                              <a:pt x="26285" y="19363"/>
                              <a:pt x="26285" y="19423"/>
                              <a:pt x="26226" y="19543"/>
                            </a:cubicBezTo>
                            <a:cubicBezTo>
                              <a:pt x="26166" y="19662"/>
                              <a:pt x="26166" y="19662"/>
                              <a:pt x="26106" y="19782"/>
                            </a:cubicBezTo>
                            <a:cubicBezTo>
                              <a:pt x="26046" y="19842"/>
                              <a:pt x="26046" y="19902"/>
                              <a:pt x="25986" y="20021"/>
                            </a:cubicBezTo>
                            <a:cubicBezTo>
                              <a:pt x="25927" y="20141"/>
                              <a:pt x="25867" y="20141"/>
                              <a:pt x="25867" y="20260"/>
                            </a:cubicBezTo>
                            <a:cubicBezTo>
                              <a:pt x="25747" y="20500"/>
                              <a:pt x="25568" y="20739"/>
                              <a:pt x="25388" y="20919"/>
                            </a:cubicBezTo>
                            <a:cubicBezTo>
                              <a:pt x="25209" y="21158"/>
                              <a:pt x="25089" y="21397"/>
                              <a:pt x="24910" y="21576"/>
                            </a:cubicBezTo>
                            <a:cubicBezTo>
                              <a:pt x="24730" y="21815"/>
                              <a:pt x="24551" y="21995"/>
                              <a:pt x="24431" y="22234"/>
                            </a:cubicBezTo>
                            <a:cubicBezTo>
                              <a:pt x="24252" y="22474"/>
                              <a:pt x="24073" y="22653"/>
                              <a:pt x="23893" y="22892"/>
                            </a:cubicBezTo>
                            <a:cubicBezTo>
                              <a:pt x="23474" y="23370"/>
                              <a:pt x="23115" y="23789"/>
                              <a:pt x="22697" y="24208"/>
                            </a:cubicBezTo>
                            <a:cubicBezTo>
                              <a:pt x="22278" y="24627"/>
                              <a:pt x="21860" y="25045"/>
                              <a:pt x="21381" y="25404"/>
                            </a:cubicBezTo>
                            <a:cubicBezTo>
                              <a:pt x="20962" y="25763"/>
                              <a:pt x="20484" y="26122"/>
                              <a:pt x="20065" y="26481"/>
                            </a:cubicBezTo>
                            <a:cubicBezTo>
                              <a:pt x="19587" y="26839"/>
                              <a:pt x="19168" y="27138"/>
                              <a:pt x="18690" y="27377"/>
                            </a:cubicBezTo>
                            <a:cubicBezTo>
                              <a:pt x="18630" y="27437"/>
                              <a:pt x="18510" y="27497"/>
                              <a:pt x="18451" y="27497"/>
                            </a:cubicBezTo>
                            <a:cubicBezTo>
                              <a:pt x="18391" y="27557"/>
                              <a:pt x="18271" y="27557"/>
                              <a:pt x="18211" y="27617"/>
                            </a:cubicBezTo>
                            <a:cubicBezTo>
                              <a:pt x="18151" y="27677"/>
                              <a:pt x="18032" y="27677"/>
                              <a:pt x="17972" y="27736"/>
                            </a:cubicBezTo>
                            <a:cubicBezTo>
                              <a:pt x="17912" y="27796"/>
                              <a:pt x="17793" y="27796"/>
                              <a:pt x="17733" y="27856"/>
                            </a:cubicBezTo>
                            <a:cubicBezTo>
                              <a:pt x="17314" y="28095"/>
                              <a:pt x="16896" y="28335"/>
                              <a:pt x="16417" y="28514"/>
                            </a:cubicBezTo>
                            <a:cubicBezTo>
                              <a:pt x="15938" y="28693"/>
                              <a:pt x="15520" y="28873"/>
                              <a:pt x="15101" y="29052"/>
                            </a:cubicBezTo>
                            <a:cubicBezTo>
                              <a:pt x="14683" y="29231"/>
                              <a:pt x="14204" y="29351"/>
                              <a:pt x="13786" y="29471"/>
                            </a:cubicBezTo>
                            <a:cubicBezTo>
                              <a:pt x="13367" y="29591"/>
                              <a:pt x="12889" y="29650"/>
                              <a:pt x="12470" y="29770"/>
                            </a:cubicBezTo>
                            <a:cubicBezTo>
                              <a:pt x="12410" y="29770"/>
                              <a:pt x="12290" y="29770"/>
                              <a:pt x="12230" y="29830"/>
                            </a:cubicBezTo>
                            <a:cubicBezTo>
                              <a:pt x="12171" y="29830"/>
                              <a:pt x="12051" y="29830"/>
                              <a:pt x="11991" y="29890"/>
                            </a:cubicBezTo>
                            <a:cubicBezTo>
                              <a:pt x="11932" y="29890"/>
                              <a:pt x="11812" y="29890"/>
                              <a:pt x="11752" y="29949"/>
                            </a:cubicBezTo>
                            <a:cubicBezTo>
                              <a:pt x="11752" y="30189"/>
                              <a:pt x="11692" y="30189"/>
                              <a:pt x="11573" y="30189"/>
                            </a:cubicBezTo>
                            <a:moveTo>
                              <a:pt x="4336" y="28275"/>
                            </a:moveTo>
                            <a:lnTo>
                              <a:pt x="4934" y="28693"/>
                            </a:lnTo>
                            <a:cubicBezTo>
                              <a:pt x="5532" y="29112"/>
                              <a:pt x="6130" y="29471"/>
                              <a:pt x="6848" y="29710"/>
                            </a:cubicBezTo>
                            <a:cubicBezTo>
                              <a:pt x="7506" y="29949"/>
                              <a:pt x="8223" y="30189"/>
                              <a:pt x="9001" y="30248"/>
                            </a:cubicBezTo>
                            <a:cubicBezTo>
                              <a:pt x="9779" y="30368"/>
                              <a:pt x="10556" y="30368"/>
                              <a:pt x="11334" y="30308"/>
                            </a:cubicBezTo>
                            <a:cubicBezTo>
                              <a:pt x="12171" y="30248"/>
                              <a:pt x="13008" y="30129"/>
                              <a:pt x="13845" y="29890"/>
                            </a:cubicBezTo>
                            <a:cubicBezTo>
                              <a:pt x="14802" y="29650"/>
                              <a:pt x="15699" y="29351"/>
                              <a:pt x="16597" y="28933"/>
                            </a:cubicBezTo>
                            <a:cubicBezTo>
                              <a:pt x="17494" y="28514"/>
                              <a:pt x="18391" y="28036"/>
                              <a:pt x="19228" y="27497"/>
                            </a:cubicBezTo>
                            <a:cubicBezTo>
                              <a:pt x="20065" y="26959"/>
                              <a:pt x="20903" y="26301"/>
                              <a:pt x="21740" y="25583"/>
                            </a:cubicBezTo>
                            <a:cubicBezTo>
                              <a:pt x="22518" y="24866"/>
                              <a:pt x="23295" y="24088"/>
                              <a:pt x="24013" y="23251"/>
                            </a:cubicBezTo>
                            <a:cubicBezTo>
                              <a:pt x="24730" y="22414"/>
                              <a:pt x="25388" y="21516"/>
                              <a:pt x="25986" y="20620"/>
                            </a:cubicBezTo>
                            <a:cubicBezTo>
                              <a:pt x="26584" y="19722"/>
                              <a:pt x="27063" y="18765"/>
                              <a:pt x="27481" y="17868"/>
                            </a:cubicBezTo>
                            <a:cubicBezTo>
                              <a:pt x="27900" y="16911"/>
                              <a:pt x="28259" y="15954"/>
                              <a:pt x="28558" y="14998"/>
                            </a:cubicBezTo>
                            <a:cubicBezTo>
                              <a:pt x="28797" y="14041"/>
                              <a:pt x="29036" y="13084"/>
                              <a:pt x="29096" y="12127"/>
                            </a:cubicBezTo>
                            <a:cubicBezTo>
                              <a:pt x="29216" y="11170"/>
                              <a:pt x="29216" y="10273"/>
                              <a:pt x="29096" y="9376"/>
                            </a:cubicBezTo>
                            <a:cubicBezTo>
                              <a:pt x="29036" y="8479"/>
                              <a:pt x="28857" y="7641"/>
                              <a:pt x="28558" y="6923"/>
                            </a:cubicBezTo>
                            <a:cubicBezTo>
                              <a:pt x="28319" y="6146"/>
                              <a:pt x="27960" y="5428"/>
                              <a:pt x="27541" y="4771"/>
                            </a:cubicBezTo>
                            <a:cubicBezTo>
                              <a:pt x="27122" y="4113"/>
                              <a:pt x="26584" y="3514"/>
                              <a:pt x="26046" y="2976"/>
                            </a:cubicBezTo>
                            <a:cubicBezTo>
                              <a:pt x="25986" y="2917"/>
                              <a:pt x="25986" y="2917"/>
                              <a:pt x="25927" y="2857"/>
                            </a:cubicBezTo>
                            <a:cubicBezTo>
                              <a:pt x="25867" y="2797"/>
                              <a:pt x="25867" y="2797"/>
                              <a:pt x="25807" y="2737"/>
                            </a:cubicBezTo>
                            <a:cubicBezTo>
                              <a:pt x="25747" y="2677"/>
                              <a:pt x="25747" y="2677"/>
                              <a:pt x="25687" y="2618"/>
                            </a:cubicBezTo>
                            <a:cubicBezTo>
                              <a:pt x="25627" y="2558"/>
                              <a:pt x="25627" y="2558"/>
                              <a:pt x="25568" y="2498"/>
                            </a:cubicBezTo>
                            <a:cubicBezTo>
                              <a:pt x="24969" y="2079"/>
                              <a:pt x="24372" y="1720"/>
                              <a:pt x="23654" y="1421"/>
                            </a:cubicBezTo>
                            <a:cubicBezTo>
                              <a:pt x="22996" y="1122"/>
                              <a:pt x="22278" y="943"/>
                              <a:pt x="21501" y="823"/>
                            </a:cubicBezTo>
                            <a:cubicBezTo>
                              <a:pt x="20723" y="704"/>
                              <a:pt x="19946" y="644"/>
                              <a:pt x="19108" y="704"/>
                            </a:cubicBezTo>
                            <a:cubicBezTo>
                              <a:pt x="18271" y="764"/>
                              <a:pt x="17434" y="883"/>
                              <a:pt x="16537" y="1122"/>
                            </a:cubicBezTo>
                            <a:cubicBezTo>
                              <a:pt x="15580" y="1361"/>
                              <a:pt x="14683" y="1660"/>
                              <a:pt x="13726" y="2079"/>
                            </a:cubicBezTo>
                            <a:cubicBezTo>
                              <a:pt x="12829" y="2498"/>
                              <a:pt x="11932" y="2976"/>
                              <a:pt x="11034" y="3514"/>
                            </a:cubicBezTo>
                            <a:cubicBezTo>
                              <a:pt x="10137" y="4053"/>
                              <a:pt x="9300" y="4711"/>
                              <a:pt x="8522" y="5428"/>
                            </a:cubicBezTo>
                            <a:cubicBezTo>
                              <a:pt x="7685" y="6146"/>
                              <a:pt x="6908" y="6923"/>
                              <a:pt x="6190" y="7761"/>
                            </a:cubicBezTo>
                            <a:cubicBezTo>
                              <a:pt x="4695" y="9495"/>
                              <a:pt x="3499" y="11409"/>
                              <a:pt x="2661" y="13323"/>
                            </a:cubicBezTo>
                            <a:cubicBezTo>
                              <a:pt x="1824" y="15237"/>
                              <a:pt x="1286" y="17151"/>
                              <a:pt x="1106" y="19005"/>
                            </a:cubicBezTo>
                            <a:cubicBezTo>
                              <a:pt x="927" y="20859"/>
                              <a:pt x="1106" y="22593"/>
                              <a:pt x="1645" y="24148"/>
                            </a:cubicBezTo>
                            <a:cubicBezTo>
                              <a:pt x="2243" y="25882"/>
                              <a:pt x="3080" y="27258"/>
                              <a:pt x="4336" y="28275"/>
                            </a:cubicBezTo>
                            <a:moveTo>
                              <a:pt x="26106" y="1780"/>
                            </a:moveTo>
                            <a:lnTo>
                              <a:pt x="26704" y="2259"/>
                            </a:lnTo>
                            <a:cubicBezTo>
                              <a:pt x="27302" y="2797"/>
                              <a:pt x="27900" y="3455"/>
                              <a:pt x="28319" y="4113"/>
                            </a:cubicBezTo>
                            <a:cubicBezTo>
                              <a:pt x="28797" y="4830"/>
                              <a:pt x="29156" y="5548"/>
                              <a:pt x="29395" y="6385"/>
                            </a:cubicBezTo>
                            <a:cubicBezTo>
                              <a:pt x="29694" y="7222"/>
                              <a:pt x="29874" y="8060"/>
                              <a:pt x="29934" y="9017"/>
                            </a:cubicBezTo>
                            <a:cubicBezTo>
                              <a:pt x="29993" y="9974"/>
                              <a:pt x="29993" y="10930"/>
                              <a:pt x="29934" y="11947"/>
                            </a:cubicBezTo>
                            <a:cubicBezTo>
                              <a:pt x="29814" y="12964"/>
                              <a:pt x="29635" y="13981"/>
                              <a:pt x="29336" y="14998"/>
                            </a:cubicBezTo>
                            <a:cubicBezTo>
                              <a:pt x="29036" y="16014"/>
                              <a:pt x="28677" y="17031"/>
                              <a:pt x="28259" y="18048"/>
                            </a:cubicBezTo>
                            <a:cubicBezTo>
                              <a:pt x="27781" y="19065"/>
                              <a:pt x="27242" y="20021"/>
                              <a:pt x="26644" y="20978"/>
                            </a:cubicBezTo>
                            <a:cubicBezTo>
                              <a:pt x="26046" y="21935"/>
                              <a:pt x="25328" y="22832"/>
                              <a:pt x="24551" y="23729"/>
                            </a:cubicBezTo>
                            <a:cubicBezTo>
                              <a:pt x="23056" y="25523"/>
                              <a:pt x="21321" y="26959"/>
                              <a:pt x="19587" y="28155"/>
                            </a:cubicBezTo>
                            <a:cubicBezTo>
                              <a:pt x="17793" y="29351"/>
                              <a:pt x="15998" y="30189"/>
                              <a:pt x="14144" y="30727"/>
                            </a:cubicBezTo>
                            <a:cubicBezTo>
                              <a:pt x="12350" y="31265"/>
                              <a:pt x="10496" y="31445"/>
                              <a:pt x="8821" y="31265"/>
                            </a:cubicBezTo>
                            <a:cubicBezTo>
                              <a:pt x="7147" y="31086"/>
                              <a:pt x="5592" y="30547"/>
                              <a:pt x="4276" y="29591"/>
                            </a:cubicBezTo>
                            <a:lnTo>
                              <a:pt x="3678" y="29112"/>
                            </a:lnTo>
                            <a:cubicBezTo>
                              <a:pt x="2363" y="28036"/>
                              <a:pt x="1405" y="26600"/>
                              <a:pt x="867" y="24926"/>
                            </a:cubicBezTo>
                            <a:cubicBezTo>
                              <a:pt x="329" y="23251"/>
                              <a:pt x="150" y="21397"/>
                              <a:pt x="329" y="19483"/>
                            </a:cubicBezTo>
                            <a:cubicBezTo>
                              <a:pt x="508" y="17509"/>
                              <a:pt x="1047" y="15476"/>
                              <a:pt x="1944" y="13443"/>
                            </a:cubicBezTo>
                            <a:cubicBezTo>
                              <a:pt x="2841" y="11409"/>
                              <a:pt x="4097" y="9435"/>
                              <a:pt x="5712" y="7522"/>
                            </a:cubicBezTo>
                            <a:cubicBezTo>
                              <a:pt x="7267" y="5727"/>
                              <a:pt x="9001" y="4232"/>
                              <a:pt x="10795" y="3036"/>
                            </a:cubicBezTo>
                            <a:cubicBezTo>
                              <a:pt x="12589" y="1840"/>
                              <a:pt x="14443" y="1003"/>
                              <a:pt x="16297" y="524"/>
                            </a:cubicBezTo>
                            <a:cubicBezTo>
                              <a:pt x="18151" y="46"/>
                              <a:pt x="19946" y="-134"/>
                              <a:pt x="21620" y="105"/>
                            </a:cubicBezTo>
                            <a:cubicBezTo>
                              <a:pt x="23295" y="225"/>
                              <a:pt x="24790" y="823"/>
                              <a:pt x="26106" y="1780"/>
                            </a:cubicBezTo>
                            <a:moveTo>
                              <a:pt x="4217" y="29591"/>
                            </a:moveTo>
                            <a:cubicBezTo>
                              <a:pt x="4695" y="29890"/>
                              <a:pt x="5173" y="30189"/>
                              <a:pt x="5652" y="30428"/>
                            </a:cubicBezTo>
                            <a:cubicBezTo>
                              <a:pt x="6130" y="30667"/>
                              <a:pt x="6668" y="30846"/>
                              <a:pt x="7207" y="30966"/>
                            </a:cubicBezTo>
                            <a:cubicBezTo>
                              <a:pt x="7745" y="31086"/>
                              <a:pt x="8283" y="31205"/>
                              <a:pt x="8881" y="31265"/>
                            </a:cubicBezTo>
                            <a:cubicBezTo>
                              <a:pt x="9480" y="31325"/>
                              <a:pt x="10018" y="31325"/>
                              <a:pt x="10616" y="31325"/>
                            </a:cubicBezTo>
                            <a:cubicBezTo>
                              <a:pt x="10675" y="31325"/>
                              <a:pt x="10795" y="31325"/>
                              <a:pt x="10855" y="31325"/>
                            </a:cubicBezTo>
                            <a:cubicBezTo>
                              <a:pt x="10915" y="31325"/>
                              <a:pt x="11034" y="31325"/>
                              <a:pt x="11094" y="31325"/>
                            </a:cubicBezTo>
                            <a:cubicBezTo>
                              <a:pt x="11154" y="31325"/>
                              <a:pt x="11274" y="31325"/>
                              <a:pt x="11334" y="31325"/>
                            </a:cubicBezTo>
                            <a:cubicBezTo>
                              <a:pt x="11393" y="31325"/>
                              <a:pt x="11513" y="31325"/>
                              <a:pt x="11573" y="31325"/>
                            </a:cubicBezTo>
                            <a:cubicBezTo>
                              <a:pt x="12171" y="31265"/>
                              <a:pt x="12709" y="31145"/>
                              <a:pt x="13307" y="31026"/>
                            </a:cubicBezTo>
                            <a:cubicBezTo>
                              <a:pt x="13905" y="30906"/>
                              <a:pt x="14443" y="30727"/>
                              <a:pt x="15042" y="30547"/>
                            </a:cubicBezTo>
                            <a:cubicBezTo>
                              <a:pt x="15640" y="30368"/>
                              <a:pt x="16238" y="30129"/>
                              <a:pt x="16776" y="29830"/>
                            </a:cubicBezTo>
                            <a:cubicBezTo>
                              <a:pt x="17374" y="29531"/>
                              <a:pt x="17912" y="29231"/>
                              <a:pt x="18510" y="28933"/>
                            </a:cubicBezTo>
                            <a:cubicBezTo>
                              <a:pt x="18570" y="28873"/>
                              <a:pt x="18630" y="28873"/>
                              <a:pt x="18750" y="28813"/>
                            </a:cubicBezTo>
                            <a:cubicBezTo>
                              <a:pt x="18809" y="28753"/>
                              <a:pt x="18869" y="28753"/>
                              <a:pt x="18989" y="28693"/>
                            </a:cubicBezTo>
                            <a:cubicBezTo>
                              <a:pt x="19049" y="28634"/>
                              <a:pt x="19108" y="28574"/>
                              <a:pt x="19228" y="28574"/>
                            </a:cubicBezTo>
                            <a:cubicBezTo>
                              <a:pt x="19288" y="28514"/>
                              <a:pt x="19348" y="28454"/>
                              <a:pt x="19467" y="28454"/>
                            </a:cubicBezTo>
                            <a:cubicBezTo>
                              <a:pt x="19946" y="28155"/>
                              <a:pt x="20365" y="27856"/>
                              <a:pt x="20843" y="27497"/>
                            </a:cubicBezTo>
                            <a:cubicBezTo>
                              <a:pt x="21321" y="27138"/>
                              <a:pt x="21740" y="26780"/>
                              <a:pt x="22159" y="26421"/>
                            </a:cubicBezTo>
                            <a:cubicBezTo>
                              <a:pt x="22577" y="26062"/>
                              <a:pt x="22996" y="25643"/>
                              <a:pt x="23414" y="25224"/>
                            </a:cubicBezTo>
                            <a:cubicBezTo>
                              <a:pt x="23833" y="24806"/>
                              <a:pt x="24252" y="24387"/>
                              <a:pt x="24611" y="23909"/>
                            </a:cubicBezTo>
                            <a:cubicBezTo>
                              <a:pt x="24790" y="23669"/>
                              <a:pt x="24969" y="23490"/>
                              <a:pt x="25149" y="23251"/>
                            </a:cubicBezTo>
                            <a:cubicBezTo>
                              <a:pt x="25328" y="23012"/>
                              <a:pt x="25508" y="22832"/>
                              <a:pt x="25627" y="22593"/>
                            </a:cubicBezTo>
                            <a:cubicBezTo>
                              <a:pt x="25807" y="22354"/>
                              <a:pt x="25927" y="22174"/>
                              <a:pt x="26106" y="21935"/>
                            </a:cubicBezTo>
                            <a:cubicBezTo>
                              <a:pt x="26285" y="21696"/>
                              <a:pt x="26405" y="21516"/>
                              <a:pt x="26584" y="21277"/>
                            </a:cubicBezTo>
                            <a:cubicBezTo>
                              <a:pt x="26644" y="21218"/>
                              <a:pt x="26704" y="21158"/>
                              <a:pt x="26704" y="21038"/>
                            </a:cubicBezTo>
                            <a:cubicBezTo>
                              <a:pt x="26764" y="20978"/>
                              <a:pt x="26823" y="20919"/>
                              <a:pt x="26823" y="20799"/>
                            </a:cubicBezTo>
                            <a:cubicBezTo>
                              <a:pt x="26883" y="20739"/>
                              <a:pt x="26883" y="20679"/>
                              <a:pt x="26943" y="20560"/>
                            </a:cubicBezTo>
                            <a:cubicBezTo>
                              <a:pt x="27003" y="20500"/>
                              <a:pt x="27003" y="20440"/>
                              <a:pt x="27063" y="20320"/>
                            </a:cubicBezTo>
                            <a:cubicBezTo>
                              <a:pt x="27481" y="19662"/>
                              <a:pt x="27840" y="18945"/>
                              <a:pt x="28139" y="18287"/>
                            </a:cubicBezTo>
                            <a:cubicBezTo>
                              <a:pt x="28438" y="17569"/>
                              <a:pt x="28737" y="16911"/>
                              <a:pt x="28976" y="16194"/>
                            </a:cubicBezTo>
                            <a:cubicBezTo>
                              <a:pt x="29216" y="15476"/>
                              <a:pt x="29395" y="14758"/>
                              <a:pt x="29575" y="14100"/>
                            </a:cubicBezTo>
                            <a:cubicBezTo>
                              <a:pt x="29754" y="13383"/>
                              <a:pt x="29874" y="12665"/>
                              <a:pt x="29934" y="12007"/>
                            </a:cubicBezTo>
                            <a:cubicBezTo>
                              <a:pt x="29934" y="11828"/>
                              <a:pt x="29993" y="11648"/>
                              <a:pt x="29993" y="11469"/>
                            </a:cubicBezTo>
                            <a:cubicBezTo>
                              <a:pt x="29993" y="11289"/>
                              <a:pt x="29993" y="11110"/>
                              <a:pt x="29993" y="10930"/>
                            </a:cubicBezTo>
                            <a:cubicBezTo>
                              <a:pt x="29993" y="10751"/>
                              <a:pt x="29993" y="10572"/>
                              <a:pt x="29993" y="10392"/>
                            </a:cubicBezTo>
                            <a:cubicBezTo>
                              <a:pt x="29993" y="10213"/>
                              <a:pt x="29993" y="10034"/>
                              <a:pt x="29993" y="9854"/>
                            </a:cubicBezTo>
                            <a:cubicBezTo>
                              <a:pt x="29993" y="9794"/>
                              <a:pt x="29993" y="9675"/>
                              <a:pt x="29993" y="9615"/>
                            </a:cubicBezTo>
                            <a:cubicBezTo>
                              <a:pt x="29993" y="9555"/>
                              <a:pt x="29993" y="9435"/>
                              <a:pt x="29993" y="9376"/>
                            </a:cubicBezTo>
                            <a:cubicBezTo>
                              <a:pt x="29993" y="9316"/>
                              <a:pt x="29993" y="9196"/>
                              <a:pt x="29993" y="9136"/>
                            </a:cubicBezTo>
                            <a:cubicBezTo>
                              <a:pt x="29993" y="9076"/>
                              <a:pt x="29993" y="8957"/>
                              <a:pt x="29993" y="8897"/>
                            </a:cubicBezTo>
                            <a:cubicBezTo>
                              <a:pt x="29934" y="8598"/>
                              <a:pt x="29934" y="8359"/>
                              <a:pt x="29874" y="8060"/>
                            </a:cubicBezTo>
                            <a:cubicBezTo>
                              <a:pt x="29814" y="7821"/>
                              <a:pt x="29754" y="7522"/>
                              <a:pt x="29694" y="7282"/>
                            </a:cubicBezTo>
                            <a:cubicBezTo>
                              <a:pt x="29635" y="7043"/>
                              <a:pt x="29575" y="6744"/>
                              <a:pt x="29455" y="6505"/>
                            </a:cubicBezTo>
                            <a:cubicBezTo>
                              <a:pt x="29395" y="6266"/>
                              <a:pt x="29276" y="6027"/>
                              <a:pt x="29216" y="5787"/>
                            </a:cubicBezTo>
                            <a:cubicBezTo>
                              <a:pt x="29156" y="5727"/>
                              <a:pt x="29156" y="5608"/>
                              <a:pt x="29096" y="5548"/>
                            </a:cubicBezTo>
                            <a:cubicBezTo>
                              <a:pt x="29036" y="5488"/>
                              <a:pt x="29036" y="5368"/>
                              <a:pt x="28976" y="5309"/>
                            </a:cubicBezTo>
                            <a:cubicBezTo>
                              <a:pt x="28917" y="5249"/>
                              <a:pt x="28917" y="5129"/>
                              <a:pt x="28857" y="5069"/>
                            </a:cubicBezTo>
                            <a:cubicBezTo>
                              <a:pt x="28797" y="5010"/>
                              <a:pt x="28797" y="4890"/>
                              <a:pt x="28737" y="4830"/>
                            </a:cubicBezTo>
                            <a:cubicBezTo>
                              <a:pt x="28618" y="4591"/>
                              <a:pt x="28498" y="4352"/>
                              <a:pt x="28319" y="4113"/>
                            </a:cubicBezTo>
                            <a:cubicBezTo>
                              <a:pt x="28199" y="3873"/>
                              <a:pt x="28020" y="3694"/>
                              <a:pt x="27840" y="3455"/>
                            </a:cubicBezTo>
                            <a:cubicBezTo>
                              <a:pt x="27661" y="3215"/>
                              <a:pt x="27481" y="3036"/>
                              <a:pt x="27302" y="2857"/>
                            </a:cubicBezTo>
                            <a:cubicBezTo>
                              <a:pt x="27122" y="2677"/>
                              <a:pt x="26943" y="2498"/>
                              <a:pt x="26704" y="2318"/>
                            </a:cubicBezTo>
                            <a:lnTo>
                              <a:pt x="26106" y="1840"/>
                            </a:lnTo>
                            <a:cubicBezTo>
                              <a:pt x="25986" y="1720"/>
                              <a:pt x="25867" y="1660"/>
                              <a:pt x="25687" y="1541"/>
                            </a:cubicBezTo>
                            <a:cubicBezTo>
                              <a:pt x="25568" y="1481"/>
                              <a:pt x="25448" y="1361"/>
                              <a:pt x="25268" y="1302"/>
                            </a:cubicBezTo>
                            <a:cubicBezTo>
                              <a:pt x="25149" y="1242"/>
                              <a:pt x="24969" y="1122"/>
                              <a:pt x="24850" y="1063"/>
                            </a:cubicBezTo>
                            <a:cubicBezTo>
                              <a:pt x="24730" y="1003"/>
                              <a:pt x="24551" y="943"/>
                              <a:pt x="24431" y="883"/>
                            </a:cubicBezTo>
                            <a:cubicBezTo>
                              <a:pt x="24372" y="883"/>
                              <a:pt x="24312" y="823"/>
                              <a:pt x="24252" y="823"/>
                            </a:cubicBezTo>
                            <a:cubicBezTo>
                              <a:pt x="24192" y="823"/>
                              <a:pt x="24132" y="764"/>
                              <a:pt x="24073" y="764"/>
                            </a:cubicBezTo>
                            <a:cubicBezTo>
                              <a:pt x="24013" y="764"/>
                              <a:pt x="23953" y="704"/>
                              <a:pt x="23893" y="704"/>
                            </a:cubicBezTo>
                            <a:cubicBezTo>
                              <a:pt x="23833" y="704"/>
                              <a:pt x="23773" y="644"/>
                              <a:pt x="23714" y="644"/>
                            </a:cubicBezTo>
                            <a:cubicBezTo>
                              <a:pt x="23295" y="464"/>
                              <a:pt x="22816" y="345"/>
                              <a:pt x="22398" y="285"/>
                            </a:cubicBezTo>
                            <a:cubicBezTo>
                              <a:pt x="21919" y="165"/>
                              <a:pt x="21501" y="105"/>
                              <a:pt x="21022" y="105"/>
                            </a:cubicBezTo>
                            <a:cubicBezTo>
                              <a:pt x="20544" y="105"/>
                              <a:pt x="20065" y="46"/>
                              <a:pt x="19587" y="46"/>
                            </a:cubicBezTo>
                            <a:cubicBezTo>
                              <a:pt x="19108" y="46"/>
                              <a:pt x="18570" y="105"/>
                              <a:pt x="18092" y="165"/>
                            </a:cubicBezTo>
                            <a:cubicBezTo>
                              <a:pt x="18032" y="165"/>
                              <a:pt x="17972" y="165"/>
                              <a:pt x="17852" y="225"/>
                            </a:cubicBezTo>
                            <a:cubicBezTo>
                              <a:pt x="17733" y="285"/>
                              <a:pt x="17733" y="225"/>
                              <a:pt x="17613" y="285"/>
                            </a:cubicBezTo>
                            <a:cubicBezTo>
                              <a:pt x="17553" y="285"/>
                              <a:pt x="17494" y="285"/>
                              <a:pt x="17374" y="345"/>
                            </a:cubicBezTo>
                            <a:cubicBezTo>
                              <a:pt x="17314" y="345"/>
                              <a:pt x="17254" y="345"/>
                              <a:pt x="17135" y="405"/>
                            </a:cubicBezTo>
                            <a:cubicBezTo>
                              <a:pt x="16776" y="464"/>
                              <a:pt x="16357" y="584"/>
                              <a:pt x="15998" y="704"/>
                            </a:cubicBezTo>
                            <a:cubicBezTo>
                              <a:pt x="15640" y="823"/>
                              <a:pt x="15221" y="943"/>
                              <a:pt x="14862" y="1063"/>
                            </a:cubicBezTo>
                            <a:cubicBezTo>
                              <a:pt x="14503" y="1182"/>
                              <a:pt x="14084" y="1361"/>
                              <a:pt x="13726" y="1541"/>
                            </a:cubicBezTo>
                            <a:cubicBezTo>
                              <a:pt x="13367" y="1720"/>
                              <a:pt x="12948" y="1900"/>
                              <a:pt x="12589" y="2079"/>
                            </a:cubicBezTo>
                            <a:cubicBezTo>
                              <a:pt x="12470" y="2139"/>
                              <a:pt x="12350" y="2199"/>
                              <a:pt x="12290" y="2259"/>
                            </a:cubicBezTo>
                            <a:cubicBezTo>
                              <a:pt x="12171" y="2318"/>
                              <a:pt x="12051" y="2378"/>
                              <a:pt x="11991" y="2438"/>
                            </a:cubicBezTo>
                            <a:cubicBezTo>
                              <a:pt x="11872" y="2498"/>
                              <a:pt x="11752" y="2558"/>
                              <a:pt x="11692" y="2618"/>
                            </a:cubicBezTo>
                            <a:cubicBezTo>
                              <a:pt x="11573" y="2677"/>
                              <a:pt x="11453" y="2737"/>
                              <a:pt x="11393" y="2797"/>
                            </a:cubicBezTo>
                            <a:cubicBezTo>
                              <a:pt x="10855" y="3096"/>
                              <a:pt x="10376" y="3455"/>
                              <a:pt x="9838" y="3813"/>
                            </a:cubicBezTo>
                            <a:cubicBezTo>
                              <a:pt x="9360" y="4173"/>
                              <a:pt x="8821" y="4591"/>
                              <a:pt x="8343" y="4950"/>
                            </a:cubicBezTo>
                            <a:cubicBezTo>
                              <a:pt x="7865" y="5368"/>
                              <a:pt x="7386" y="5787"/>
                              <a:pt x="6908" y="6266"/>
                            </a:cubicBezTo>
                            <a:cubicBezTo>
                              <a:pt x="6429" y="6744"/>
                              <a:pt x="6011" y="7222"/>
                              <a:pt x="5532" y="7701"/>
                            </a:cubicBezTo>
                            <a:cubicBezTo>
                              <a:pt x="4755" y="8598"/>
                              <a:pt x="4037" y="9555"/>
                              <a:pt x="3439" y="10512"/>
                            </a:cubicBezTo>
                            <a:cubicBezTo>
                              <a:pt x="2841" y="11469"/>
                              <a:pt x="2303" y="12486"/>
                              <a:pt x="1824" y="13503"/>
                            </a:cubicBezTo>
                            <a:cubicBezTo>
                              <a:pt x="1346" y="14519"/>
                              <a:pt x="987" y="15536"/>
                              <a:pt x="688" y="16612"/>
                            </a:cubicBezTo>
                            <a:cubicBezTo>
                              <a:pt x="389" y="17629"/>
                              <a:pt x="209" y="18706"/>
                              <a:pt x="90" y="19722"/>
                            </a:cubicBezTo>
                            <a:cubicBezTo>
                              <a:pt x="-30" y="20739"/>
                              <a:pt x="-30" y="21756"/>
                              <a:pt x="90" y="22653"/>
                            </a:cubicBezTo>
                            <a:cubicBezTo>
                              <a:pt x="209" y="23610"/>
                              <a:pt x="389" y="24447"/>
                              <a:pt x="688" y="25284"/>
                            </a:cubicBezTo>
                            <a:cubicBezTo>
                              <a:pt x="987" y="26122"/>
                              <a:pt x="1346" y="26899"/>
                              <a:pt x="1824" y="27557"/>
                            </a:cubicBezTo>
                            <a:cubicBezTo>
                              <a:pt x="2303" y="28275"/>
                              <a:pt x="2841" y="28873"/>
                              <a:pt x="3499" y="29411"/>
                            </a:cubicBezTo>
                            <a:lnTo>
                              <a:pt x="4217" y="29591"/>
                            </a:lnTo>
                          </a:path>
                        </a:pathLst>
                      </a:custGeom>
                      <a:noFill/>
                      <a:ln w="6350" cap="flat">
                        <a:solidFill>
                          <a:schemeClr val="bg1">
                            <a:alpha val="40000"/>
                          </a:schemeClr>
                        </a:solidFill>
                        <a:prstDash val="solid"/>
                        <a:miter/>
                      </a:ln>
                    </p:spPr>
                    <p:txBody>
                      <a:bodyPr rtlCol="0" anchor="ctr"/>
                      <a:lstStyle/>
                      <a:p>
                        <a:endParaRPr lang="en-GB"/>
                      </a:p>
                    </p:txBody>
                  </p:sp>
                  <p:sp>
                    <p:nvSpPr>
                      <p:cNvPr id="7458" name="Vrije vorm: vorm 7457">
                        <a:extLst>
                          <a:ext uri="{FF2B5EF4-FFF2-40B4-BE49-F238E27FC236}">
                            <a16:creationId xmlns:a16="http://schemas.microsoft.com/office/drawing/2014/main" id="{53568062-0FFB-4861-A671-14700BC96456}"/>
                          </a:ext>
                        </a:extLst>
                      </p:cNvPr>
                      <p:cNvSpPr/>
                      <p:nvPr/>
                    </p:nvSpPr>
                    <p:spPr>
                      <a:xfrm>
                        <a:off x="5295104" y="5392811"/>
                        <a:ext cx="29821" cy="31392"/>
                      </a:xfrm>
                      <a:custGeom>
                        <a:avLst/>
                        <a:gdLst>
                          <a:gd name="connsiteX0" fmla="*/ 25366 w 29821"/>
                          <a:gd name="connsiteY0" fmla="*/ 2737 h 31392"/>
                          <a:gd name="connsiteX1" fmla="*/ 25485 w 29821"/>
                          <a:gd name="connsiteY1" fmla="*/ 2857 h 31392"/>
                          <a:gd name="connsiteX2" fmla="*/ 25605 w 29821"/>
                          <a:gd name="connsiteY2" fmla="*/ 2976 h 31392"/>
                          <a:gd name="connsiteX3" fmla="*/ 25725 w 29821"/>
                          <a:gd name="connsiteY3" fmla="*/ 3096 h 31392"/>
                          <a:gd name="connsiteX4" fmla="*/ 25844 w 29821"/>
                          <a:gd name="connsiteY4" fmla="*/ 3216 h 31392"/>
                          <a:gd name="connsiteX5" fmla="*/ 27339 w 29821"/>
                          <a:gd name="connsiteY5" fmla="*/ 5010 h 31392"/>
                          <a:gd name="connsiteX6" fmla="*/ 28356 w 29821"/>
                          <a:gd name="connsiteY6" fmla="*/ 7163 h 31392"/>
                          <a:gd name="connsiteX7" fmla="*/ 28894 w 29821"/>
                          <a:gd name="connsiteY7" fmla="*/ 9615 h 31392"/>
                          <a:gd name="connsiteX8" fmla="*/ 28894 w 29821"/>
                          <a:gd name="connsiteY8" fmla="*/ 12366 h 31392"/>
                          <a:gd name="connsiteX9" fmla="*/ 28356 w 29821"/>
                          <a:gd name="connsiteY9" fmla="*/ 15236 h 31392"/>
                          <a:gd name="connsiteX10" fmla="*/ 27279 w 29821"/>
                          <a:gd name="connsiteY10" fmla="*/ 18107 h 31392"/>
                          <a:gd name="connsiteX11" fmla="*/ 25784 w 29821"/>
                          <a:gd name="connsiteY11" fmla="*/ 20858 h 31392"/>
                          <a:gd name="connsiteX12" fmla="*/ 23811 w 29821"/>
                          <a:gd name="connsiteY12" fmla="*/ 23490 h 31392"/>
                          <a:gd name="connsiteX13" fmla="*/ 21538 w 29821"/>
                          <a:gd name="connsiteY13" fmla="*/ 25822 h 31392"/>
                          <a:gd name="connsiteX14" fmla="*/ 19026 w 29821"/>
                          <a:gd name="connsiteY14" fmla="*/ 27736 h 31392"/>
                          <a:gd name="connsiteX15" fmla="*/ 16395 w 29821"/>
                          <a:gd name="connsiteY15" fmla="*/ 29172 h 31392"/>
                          <a:gd name="connsiteX16" fmla="*/ 13644 w 29821"/>
                          <a:gd name="connsiteY16" fmla="*/ 30129 h 31392"/>
                          <a:gd name="connsiteX17" fmla="*/ 11132 w 29821"/>
                          <a:gd name="connsiteY17" fmla="*/ 30547 h 31392"/>
                          <a:gd name="connsiteX18" fmla="*/ 8799 w 29821"/>
                          <a:gd name="connsiteY18" fmla="*/ 30488 h 31392"/>
                          <a:gd name="connsiteX19" fmla="*/ 6646 w 29821"/>
                          <a:gd name="connsiteY19" fmla="*/ 29949 h 31392"/>
                          <a:gd name="connsiteX20" fmla="*/ 4732 w 29821"/>
                          <a:gd name="connsiteY20" fmla="*/ 28933 h 31392"/>
                          <a:gd name="connsiteX21" fmla="*/ 4134 w 29821"/>
                          <a:gd name="connsiteY21" fmla="*/ 28514 h 31392"/>
                          <a:gd name="connsiteX22" fmla="*/ 1503 w 29821"/>
                          <a:gd name="connsiteY22" fmla="*/ 24566 h 31392"/>
                          <a:gd name="connsiteX23" fmla="*/ 964 w 29821"/>
                          <a:gd name="connsiteY23" fmla="*/ 19423 h 31392"/>
                          <a:gd name="connsiteX24" fmla="*/ 2520 w 29821"/>
                          <a:gd name="connsiteY24" fmla="*/ 13741 h 31392"/>
                          <a:gd name="connsiteX25" fmla="*/ 6048 w 29821"/>
                          <a:gd name="connsiteY25" fmla="*/ 8179 h 31392"/>
                          <a:gd name="connsiteX26" fmla="*/ 8380 w 29821"/>
                          <a:gd name="connsiteY26" fmla="*/ 5847 h 31392"/>
                          <a:gd name="connsiteX27" fmla="*/ 10892 w 29821"/>
                          <a:gd name="connsiteY27" fmla="*/ 3933 h 31392"/>
                          <a:gd name="connsiteX28" fmla="*/ 13584 w 29821"/>
                          <a:gd name="connsiteY28" fmla="*/ 2498 h 31392"/>
                          <a:gd name="connsiteX29" fmla="*/ 16395 w 29821"/>
                          <a:gd name="connsiteY29" fmla="*/ 1541 h 31392"/>
                          <a:gd name="connsiteX30" fmla="*/ 18966 w 29821"/>
                          <a:gd name="connsiteY30" fmla="*/ 1122 h 31392"/>
                          <a:gd name="connsiteX31" fmla="*/ 21359 w 29821"/>
                          <a:gd name="connsiteY31" fmla="*/ 1242 h 31392"/>
                          <a:gd name="connsiteX32" fmla="*/ 23512 w 29821"/>
                          <a:gd name="connsiteY32" fmla="*/ 1840 h 31392"/>
                          <a:gd name="connsiteX33" fmla="*/ 25366 w 29821"/>
                          <a:gd name="connsiteY33" fmla="*/ 2737 h 31392"/>
                          <a:gd name="connsiteX34" fmla="*/ 4075 w 29821"/>
                          <a:gd name="connsiteY34" fmla="*/ 29650 h 31392"/>
                          <a:gd name="connsiteX35" fmla="*/ 8620 w 29821"/>
                          <a:gd name="connsiteY35" fmla="*/ 31325 h 31392"/>
                          <a:gd name="connsiteX36" fmla="*/ 13943 w 29821"/>
                          <a:gd name="connsiteY36" fmla="*/ 30787 h 31392"/>
                          <a:gd name="connsiteX37" fmla="*/ 19385 w 29821"/>
                          <a:gd name="connsiteY37" fmla="*/ 28215 h 31392"/>
                          <a:gd name="connsiteX38" fmla="*/ 24349 w 29821"/>
                          <a:gd name="connsiteY38" fmla="*/ 23789 h 31392"/>
                          <a:gd name="connsiteX39" fmla="*/ 26442 w 29821"/>
                          <a:gd name="connsiteY39" fmla="*/ 21038 h 31392"/>
                          <a:gd name="connsiteX40" fmla="*/ 28057 w 29821"/>
                          <a:gd name="connsiteY40" fmla="*/ 18107 h 31392"/>
                          <a:gd name="connsiteX41" fmla="*/ 29134 w 29821"/>
                          <a:gd name="connsiteY41" fmla="*/ 15057 h 31392"/>
                          <a:gd name="connsiteX42" fmla="*/ 29732 w 29821"/>
                          <a:gd name="connsiteY42" fmla="*/ 12007 h 31392"/>
                          <a:gd name="connsiteX43" fmla="*/ 29732 w 29821"/>
                          <a:gd name="connsiteY43" fmla="*/ 9077 h 31392"/>
                          <a:gd name="connsiteX44" fmla="*/ 29193 w 29821"/>
                          <a:gd name="connsiteY44" fmla="*/ 6445 h 31392"/>
                          <a:gd name="connsiteX45" fmla="*/ 28117 w 29821"/>
                          <a:gd name="connsiteY45" fmla="*/ 4172 h 31392"/>
                          <a:gd name="connsiteX46" fmla="*/ 26502 w 29821"/>
                          <a:gd name="connsiteY46" fmla="*/ 2318 h 31392"/>
                          <a:gd name="connsiteX47" fmla="*/ 25904 w 29821"/>
                          <a:gd name="connsiteY47" fmla="*/ 1840 h 31392"/>
                          <a:gd name="connsiteX48" fmla="*/ 21359 w 29821"/>
                          <a:gd name="connsiteY48" fmla="*/ 105 h 31392"/>
                          <a:gd name="connsiteX49" fmla="*/ 16036 w 29821"/>
                          <a:gd name="connsiteY49" fmla="*/ 524 h 31392"/>
                          <a:gd name="connsiteX50" fmla="*/ 10533 w 29821"/>
                          <a:gd name="connsiteY50" fmla="*/ 3036 h 31392"/>
                          <a:gd name="connsiteX51" fmla="*/ 5450 w 29821"/>
                          <a:gd name="connsiteY51" fmla="*/ 7521 h 31392"/>
                          <a:gd name="connsiteX52" fmla="*/ 1682 w 29821"/>
                          <a:gd name="connsiteY52" fmla="*/ 13442 h 31392"/>
                          <a:gd name="connsiteX53" fmla="*/ 67 w 29821"/>
                          <a:gd name="connsiteY53" fmla="*/ 19483 h 31392"/>
                          <a:gd name="connsiteX54" fmla="*/ 606 w 29821"/>
                          <a:gd name="connsiteY54" fmla="*/ 24925 h 31392"/>
                          <a:gd name="connsiteX55" fmla="*/ 3416 w 29821"/>
                          <a:gd name="connsiteY55" fmla="*/ 29112 h 31392"/>
                          <a:gd name="connsiteX56" fmla="*/ 4075 w 29821"/>
                          <a:gd name="connsiteY56" fmla="*/ 29650 h 3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9821" h="31392">
                            <a:moveTo>
                              <a:pt x="25366" y="2737"/>
                            </a:moveTo>
                            <a:cubicBezTo>
                              <a:pt x="25425" y="2797"/>
                              <a:pt x="25425" y="2797"/>
                              <a:pt x="25485" y="2857"/>
                            </a:cubicBezTo>
                            <a:cubicBezTo>
                              <a:pt x="25545" y="2916"/>
                              <a:pt x="25545" y="2916"/>
                              <a:pt x="25605" y="2976"/>
                            </a:cubicBezTo>
                            <a:cubicBezTo>
                              <a:pt x="25665" y="3036"/>
                              <a:pt x="25665" y="3036"/>
                              <a:pt x="25725" y="3096"/>
                            </a:cubicBezTo>
                            <a:cubicBezTo>
                              <a:pt x="25784" y="3156"/>
                              <a:pt x="25784" y="3156"/>
                              <a:pt x="25844" y="3216"/>
                            </a:cubicBezTo>
                            <a:cubicBezTo>
                              <a:pt x="26442" y="3754"/>
                              <a:pt x="26921" y="4352"/>
                              <a:pt x="27339" y="5010"/>
                            </a:cubicBezTo>
                            <a:cubicBezTo>
                              <a:pt x="27758" y="5667"/>
                              <a:pt x="28117" y="6385"/>
                              <a:pt x="28356" y="7163"/>
                            </a:cubicBezTo>
                            <a:cubicBezTo>
                              <a:pt x="28595" y="7940"/>
                              <a:pt x="28775" y="8778"/>
                              <a:pt x="28894" y="9615"/>
                            </a:cubicBezTo>
                            <a:cubicBezTo>
                              <a:pt x="28954" y="10512"/>
                              <a:pt x="28954" y="11409"/>
                              <a:pt x="28894" y="12366"/>
                            </a:cubicBezTo>
                            <a:cubicBezTo>
                              <a:pt x="28775" y="13323"/>
                              <a:pt x="28595" y="14280"/>
                              <a:pt x="28356" y="15236"/>
                            </a:cubicBezTo>
                            <a:cubicBezTo>
                              <a:pt x="28117" y="16194"/>
                              <a:pt x="27758" y="17150"/>
                              <a:pt x="27279" y="18107"/>
                            </a:cubicBezTo>
                            <a:cubicBezTo>
                              <a:pt x="26861" y="19064"/>
                              <a:pt x="26323" y="19961"/>
                              <a:pt x="25784" y="20858"/>
                            </a:cubicBezTo>
                            <a:cubicBezTo>
                              <a:pt x="25186" y="21756"/>
                              <a:pt x="24529" y="22653"/>
                              <a:pt x="23811" y="23490"/>
                            </a:cubicBezTo>
                            <a:cubicBezTo>
                              <a:pt x="23093" y="24327"/>
                              <a:pt x="22316" y="25105"/>
                              <a:pt x="21538" y="25822"/>
                            </a:cubicBezTo>
                            <a:cubicBezTo>
                              <a:pt x="20761" y="26540"/>
                              <a:pt x="19923" y="27198"/>
                              <a:pt x="19026" y="27736"/>
                            </a:cubicBezTo>
                            <a:cubicBezTo>
                              <a:pt x="18189" y="28275"/>
                              <a:pt x="17292" y="28813"/>
                              <a:pt x="16395" y="29172"/>
                            </a:cubicBezTo>
                            <a:cubicBezTo>
                              <a:pt x="15498" y="29590"/>
                              <a:pt x="14541" y="29889"/>
                              <a:pt x="13644" y="30129"/>
                            </a:cubicBezTo>
                            <a:cubicBezTo>
                              <a:pt x="12806" y="30368"/>
                              <a:pt x="11969" y="30488"/>
                              <a:pt x="11132" y="30547"/>
                            </a:cubicBezTo>
                            <a:cubicBezTo>
                              <a:pt x="10294" y="30607"/>
                              <a:pt x="9517" y="30607"/>
                              <a:pt x="8799" y="30488"/>
                            </a:cubicBezTo>
                            <a:cubicBezTo>
                              <a:pt x="8022" y="30368"/>
                              <a:pt x="7304" y="30188"/>
                              <a:pt x="6646" y="29949"/>
                            </a:cubicBezTo>
                            <a:cubicBezTo>
                              <a:pt x="5988" y="29710"/>
                              <a:pt x="5330" y="29351"/>
                              <a:pt x="4732" y="28933"/>
                            </a:cubicBezTo>
                            <a:lnTo>
                              <a:pt x="4134" y="28514"/>
                            </a:lnTo>
                            <a:cubicBezTo>
                              <a:pt x="2878" y="27437"/>
                              <a:pt x="2041" y="26121"/>
                              <a:pt x="1503" y="24566"/>
                            </a:cubicBezTo>
                            <a:cubicBezTo>
                              <a:pt x="964" y="23012"/>
                              <a:pt x="785" y="21277"/>
                              <a:pt x="964" y="19423"/>
                            </a:cubicBezTo>
                            <a:cubicBezTo>
                              <a:pt x="1144" y="17569"/>
                              <a:pt x="1622" y="15655"/>
                              <a:pt x="2520" y="13741"/>
                            </a:cubicBezTo>
                            <a:cubicBezTo>
                              <a:pt x="3357" y="11828"/>
                              <a:pt x="4553" y="9914"/>
                              <a:pt x="6048" y="8179"/>
                            </a:cubicBezTo>
                            <a:cubicBezTo>
                              <a:pt x="6766" y="7342"/>
                              <a:pt x="7543" y="6565"/>
                              <a:pt x="8380" y="5847"/>
                            </a:cubicBezTo>
                            <a:cubicBezTo>
                              <a:pt x="9218" y="5129"/>
                              <a:pt x="10055" y="4471"/>
                              <a:pt x="10892" y="3933"/>
                            </a:cubicBezTo>
                            <a:cubicBezTo>
                              <a:pt x="11790" y="3395"/>
                              <a:pt x="12687" y="2857"/>
                              <a:pt x="13584" y="2498"/>
                            </a:cubicBezTo>
                            <a:cubicBezTo>
                              <a:pt x="14481" y="2079"/>
                              <a:pt x="15438" y="1780"/>
                              <a:pt x="16395" y="1541"/>
                            </a:cubicBezTo>
                            <a:cubicBezTo>
                              <a:pt x="17292" y="1302"/>
                              <a:pt x="18129" y="1182"/>
                              <a:pt x="18966" y="1122"/>
                            </a:cubicBezTo>
                            <a:cubicBezTo>
                              <a:pt x="19804" y="1062"/>
                              <a:pt x="20581" y="1122"/>
                              <a:pt x="21359" y="1242"/>
                            </a:cubicBezTo>
                            <a:cubicBezTo>
                              <a:pt x="22136" y="1362"/>
                              <a:pt x="22854" y="1541"/>
                              <a:pt x="23512" y="1840"/>
                            </a:cubicBezTo>
                            <a:cubicBezTo>
                              <a:pt x="24170" y="1959"/>
                              <a:pt x="24827" y="2318"/>
                              <a:pt x="25366" y="2737"/>
                            </a:cubicBezTo>
                            <a:moveTo>
                              <a:pt x="4075" y="29650"/>
                            </a:moveTo>
                            <a:cubicBezTo>
                              <a:pt x="5390" y="30607"/>
                              <a:pt x="6945" y="31145"/>
                              <a:pt x="8620" y="31325"/>
                            </a:cubicBezTo>
                            <a:cubicBezTo>
                              <a:pt x="10294" y="31504"/>
                              <a:pt x="12089" y="31325"/>
                              <a:pt x="13943" y="30787"/>
                            </a:cubicBezTo>
                            <a:cubicBezTo>
                              <a:pt x="15737" y="30248"/>
                              <a:pt x="17591" y="29411"/>
                              <a:pt x="19385" y="28215"/>
                            </a:cubicBezTo>
                            <a:cubicBezTo>
                              <a:pt x="21179" y="27019"/>
                              <a:pt x="22854" y="25583"/>
                              <a:pt x="24349" y="23789"/>
                            </a:cubicBezTo>
                            <a:cubicBezTo>
                              <a:pt x="25126" y="22892"/>
                              <a:pt x="25784" y="21995"/>
                              <a:pt x="26442" y="21038"/>
                            </a:cubicBezTo>
                            <a:cubicBezTo>
                              <a:pt x="27040" y="20081"/>
                              <a:pt x="27579" y="19124"/>
                              <a:pt x="28057" y="18107"/>
                            </a:cubicBezTo>
                            <a:cubicBezTo>
                              <a:pt x="28535" y="17090"/>
                              <a:pt x="28894" y="16074"/>
                              <a:pt x="29134" y="15057"/>
                            </a:cubicBezTo>
                            <a:cubicBezTo>
                              <a:pt x="29433" y="14041"/>
                              <a:pt x="29612" y="13024"/>
                              <a:pt x="29732" y="12007"/>
                            </a:cubicBezTo>
                            <a:cubicBezTo>
                              <a:pt x="29851" y="10990"/>
                              <a:pt x="29851" y="10033"/>
                              <a:pt x="29732" y="9077"/>
                            </a:cubicBezTo>
                            <a:cubicBezTo>
                              <a:pt x="29672" y="8119"/>
                              <a:pt x="29433" y="7282"/>
                              <a:pt x="29193" y="6445"/>
                            </a:cubicBezTo>
                            <a:cubicBezTo>
                              <a:pt x="28894" y="5608"/>
                              <a:pt x="28535" y="4890"/>
                              <a:pt x="28117" y="4172"/>
                            </a:cubicBezTo>
                            <a:cubicBezTo>
                              <a:pt x="27639" y="3455"/>
                              <a:pt x="27100" y="2857"/>
                              <a:pt x="26502" y="2318"/>
                            </a:cubicBezTo>
                            <a:lnTo>
                              <a:pt x="25904" y="1840"/>
                            </a:lnTo>
                            <a:cubicBezTo>
                              <a:pt x="24588" y="883"/>
                              <a:pt x="23033" y="285"/>
                              <a:pt x="21359" y="105"/>
                            </a:cubicBezTo>
                            <a:cubicBezTo>
                              <a:pt x="19684" y="-134"/>
                              <a:pt x="17890" y="46"/>
                              <a:pt x="16036" y="524"/>
                            </a:cubicBezTo>
                            <a:cubicBezTo>
                              <a:pt x="14182" y="1002"/>
                              <a:pt x="12328" y="1900"/>
                              <a:pt x="10533" y="3036"/>
                            </a:cubicBezTo>
                            <a:cubicBezTo>
                              <a:pt x="8739" y="4232"/>
                              <a:pt x="7005" y="5727"/>
                              <a:pt x="5450" y="7521"/>
                            </a:cubicBezTo>
                            <a:cubicBezTo>
                              <a:pt x="3835" y="9375"/>
                              <a:pt x="2579" y="11409"/>
                              <a:pt x="1682" y="13442"/>
                            </a:cubicBezTo>
                            <a:cubicBezTo>
                              <a:pt x="785" y="15476"/>
                              <a:pt x="247" y="17509"/>
                              <a:pt x="67" y="19483"/>
                            </a:cubicBezTo>
                            <a:cubicBezTo>
                              <a:pt x="-112" y="21457"/>
                              <a:pt x="67" y="23311"/>
                              <a:pt x="606" y="24925"/>
                            </a:cubicBezTo>
                            <a:cubicBezTo>
                              <a:pt x="1144" y="26540"/>
                              <a:pt x="2101" y="27975"/>
                              <a:pt x="3416" y="29112"/>
                            </a:cubicBezTo>
                            <a:lnTo>
                              <a:pt x="4075" y="29650"/>
                            </a:lnTo>
                          </a:path>
                        </a:pathLst>
                      </a:custGeom>
                      <a:noFill/>
                      <a:ln w="6350" cap="flat">
                        <a:solidFill>
                          <a:schemeClr val="bg1">
                            <a:alpha val="40000"/>
                          </a:schemeClr>
                        </a:solidFill>
                        <a:prstDash val="solid"/>
                        <a:miter/>
                      </a:ln>
                    </p:spPr>
                    <p:txBody>
                      <a:bodyPr rtlCol="0" anchor="ctr"/>
                      <a:lstStyle/>
                      <a:p>
                        <a:endParaRPr lang="en-GB"/>
                      </a:p>
                    </p:txBody>
                  </p:sp>
                  <p:sp>
                    <p:nvSpPr>
                      <p:cNvPr id="7459" name="Vrije vorm: vorm 7458">
                        <a:extLst>
                          <a:ext uri="{FF2B5EF4-FFF2-40B4-BE49-F238E27FC236}">
                            <a16:creationId xmlns:a16="http://schemas.microsoft.com/office/drawing/2014/main" id="{9015CABB-550A-4C60-AFBB-7A57062BA364}"/>
                          </a:ext>
                        </a:extLst>
                      </p:cNvPr>
                      <p:cNvSpPr/>
                      <p:nvPr/>
                    </p:nvSpPr>
                    <p:spPr>
                      <a:xfrm>
                        <a:off x="5302925" y="5400930"/>
                        <a:ext cx="14359" cy="15357"/>
                      </a:xfrm>
                      <a:custGeom>
                        <a:avLst/>
                        <a:gdLst>
                          <a:gd name="connsiteX0" fmla="*/ 11982 w 14359"/>
                          <a:gd name="connsiteY0" fmla="*/ 1854 h 15357"/>
                          <a:gd name="connsiteX1" fmla="*/ 11982 w 14359"/>
                          <a:gd name="connsiteY1" fmla="*/ 1854 h 15357"/>
                          <a:gd name="connsiteX2" fmla="*/ 12042 w 14359"/>
                          <a:gd name="connsiteY2" fmla="*/ 1914 h 15357"/>
                          <a:gd name="connsiteX3" fmla="*/ 12102 w 14359"/>
                          <a:gd name="connsiteY3" fmla="*/ 1974 h 15357"/>
                          <a:gd name="connsiteX4" fmla="*/ 12162 w 14359"/>
                          <a:gd name="connsiteY4" fmla="*/ 2034 h 15357"/>
                          <a:gd name="connsiteX5" fmla="*/ 12879 w 14359"/>
                          <a:gd name="connsiteY5" fmla="*/ 2811 h 15357"/>
                          <a:gd name="connsiteX6" fmla="*/ 13358 w 14359"/>
                          <a:gd name="connsiteY6" fmla="*/ 3768 h 15357"/>
                          <a:gd name="connsiteX7" fmla="*/ 13597 w 14359"/>
                          <a:gd name="connsiteY7" fmla="*/ 4904 h 15357"/>
                          <a:gd name="connsiteX8" fmla="*/ 13597 w 14359"/>
                          <a:gd name="connsiteY8" fmla="*/ 6160 h 15357"/>
                          <a:gd name="connsiteX9" fmla="*/ 13358 w 14359"/>
                          <a:gd name="connsiteY9" fmla="*/ 7476 h 15357"/>
                          <a:gd name="connsiteX10" fmla="*/ 12879 w 14359"/>
                          <a:gd name="connsiteY10" fmla="*/ 8792 h 15357"/>
                          <a:gd name="connsiteX11" fmla="*/ 12162 w 14359"/>
                          <a:gd name="connsiteY11" fmla="*/ 10048 h 15357"/>
                          <a:gd name="connsiteX12" fmla="*/ 11265 w 14359"/>
                          <a:gd name="connsiteY12" fmla="*/ 11244 h 15357"/>
                          <a:gd name="connsiteX13" fmla="*/ 9112 w 14359"/>
                          <a:gd name="connsiteY13" fmla="*/ 13158 h 15357"/>
                          <a:gd name="connsiteX14" fmla="*/ 6779 w 14359"/>
                          <a:gd name="connsiteY14" fmla="*/ 14234 h 15357"/>
                          <a:gd name="connsiteX15" fmla="*/ 4506 w 14359"/>
                          <a:gd name="connsiteY15" fmla="*/ 14474 h 15357"/>
                          <a:gd name="connsiteX16" fmla="*/ 2533 w 14359"/>
                          <a:gd name="connsiteY16" fmla="*/ 13756 h 15357"/>
                          <a:gd name="connsiteX17" fmla="*/ 2293 w 14359"/>
                          <a:gd name="connsiteY17" fmla="*/ 13516 h 15357"/>
                          <a:gd name="connsiteX18" fmla="*/ 1098 w 14359"/>
                          <a:gd name="connsiteY18" fmla="*/ 11722 h 15357"/>
                          <a:gd name="connsiteX19" fmla="*/ 858 w 14359"/>
                          <a:gd name="connsiteY19" fmla="*/ 9390 h 15357"/>
                          <a:gd name="connsiteX20" fmla="*/ 1576 w 14359"/>
                          <a:gd name="connsiteY20" fmla="*/ 6818 h 15357"/>
                          <a:gd name="connsiteX21" fmla="*/ 3191 w 14359"/>
                          <a:gd name="connsiteY21" fmla="*/ 4306 h 15357"/>
                          <a:gd name="connsiteX22" fmla="*/ 4207 w 14359"/>
                          <a:gd name="connsiteY22" fmla="*/ 3230 h 15357"/>
                          <a:gd name="connsiteX23" fmla="*/ 5344 w 14359"/>
                          <a:gd name="connsiteY23" fmla="*/ 2333 h 15357"/>
                          <a:gd name="connsiteX24" fmla="*/ 6600 w 14359"/>
                          <a:gd name="connsiteY24" fmla="*/ 1675 h 15357"/>
                          <a:gd name="connsiteX25" fmla="*/ 7856 w 14359"/>
                          <a:gd name="connsiteY25" fmla="*/ 1196 h 15357"/>
                          <a:gd name="connsiteX26" fmla="*/ 9052 w 14359"/>
                          <a:gd name="connsiteY26" fmla="*/ 1017 h 15357"/>
                          <a:gd name="connsiteX27" fmla="*/ 10128 w 14359"/>
                          <a:gd name="connsiteY27" fmla="*/ 1077 h 15357"/>
                          <a:gd name="connsiteX28" fmla="*/ 11145 w 14359"/>
                          <a:gd name="connsiteY28" fmla="*/ 1376 h 15357"/>
                          <a:gd name="connsiteX29" fmla="*/ 11982 w 14359"/>
                          <a:gd name="connsiteY29" fmla="*/ 1854 h 15357"/>
                          <a:gd name="connsiteX30" fmla="*/ 1576 w 14359"/>
                          <a:gd name="connsiteY30" fmla="*/ 14234 h 15357"/>
                          <a:gd name="connsiteX31" fmla="*/ 1875 w 14359"/>
                          <a:gd name="connsiteY31" fmla="*/ 14474 h 15357"/>
                          <a:gd name="connsiteX32" fmla="*/ 4088 w 14359"/>
                          <a:gd name="connsiteY32" fmla="*/ 15311 h 15357"/>
                          <a:gd name="connsiteX33" fmla="*/ 6660 w 14359"/>
                          <a:gd name="connsiteY33" fmla="*/ 15072 h 15357"/>
                          <a:gd name="connsiteX34" fmla="*/ 9291 w 14359"/>
                          <a:gd name="connsiteY34" fmla="*/ 13815 h 15357"/>
                          <a:gd name="connsiteX35" fmla="*/ 11683 w 14359"/>
                          <a:gd name="connsiteY35" fmla="*/ 11662 h 15357"/>
                          <a:gd name="connsiteX36" fmla="*/ 12700 w 14359"/>
                          <a:gd name="connsiteY36" fmla="*/ 10287 h 15357"/>
                          <a:gd name="connsiteX37" fmla="*/ 13477 w 14359"/>
                          <a:gd name="connsiteY37" fmla="*/ 8852 h 15357"/>
                          <a:gd name="connsiteX38" fmla="*/ 14016 w 14359"/>
                          <a:gd name="connsiteY38" fmla="*/ 7357 h 15357"/>
                          <a:gd name="connsiteX39" fmla="*/ 14315 w 14359"/>
                          <a:gd name="connsiteY39" fmla="*/ 5861 h 15357"/>
                          <a:gd name="connsiteX40" fmla="*/ 14315 w 14359"/>
                          <a:gd name="connsiteY40" fmla="*/ 4426 h 15357"/>
                          <a:gd name="connsiteX41" fmla="*/ 14076 w 14359"/>
                          <a:gd name="connsiteY41" fmla="*/ 3170 h 15357"/>
                          <a:gd name="connsiteX42" fmla="*/ 13537 w 14359"/>
                          <a:gd name="connsiteY42" fmla="*/ 2034 h 15357"/>
                          <a:gd name="connsiteX43" fmla="*/ 12760 w 14359"/>
                          <a:gd name="connsiteY43" fmla="*/ 1136 h 15357"/>
                          <a:gd name="connsiteX44" fmla="*/ 12461 w 14359"/>
                          <a:gd name="connsiteY44" fmla="*/ 897 h 15357"/>
                          <a:gd name="connsiteX45" fmla="*/ 11504 w 14359"/>
                          <a:gd name="connsiteY45" fmla="*/ 359 h 15357"/>
                          <a:gd name="connsiteX46" fmla="*/ 10427 w 14359"/>
                          <a:gd name="connsiteY46" fmla="*/ 60 h 15357"/>
                          <a:gd name="connsiteX47" fmla="*/ 9231 w 14359"/>
                          <a:gd name="connsiteY47" fmla="*/ 0 h 15357"/>
                          <a:gd name="connsiteX48" fmla="*/ 7915 w 14359"/>
                          <a:gd name="connsiteY48" fmla="*/ 180 h 15357"/>
                          <a:gd name="connsiteX49" fmla="*/ 6480 w 14359"/>
                          <a:gd name="connsiteY49" fmla="*/ 658 h 15357"/>
                          <a:gd name="connsiteX50" fmla="*/ 5105 w 14359"/>
                          <a:gd name="connsiteY50" fmla="*/ 1436 h 15357"/>
                          <a:gd name="connsiteX51" fmla="*/ 3789 w 14359"/>
                          <a:gd name="connsiteY51" fmla="*/ 2452 h 15357"/>
                          <a:gd name="connsiteX52" fmla="*/ 2593 w 14359"/>
                          <a:gd name="connsiteY52" fmla="*/ 3649 h 15357"/>
                          <a:gd name="connsiteX53" fmla="*/ 798 w 14359"/>
                          <a:gd name="connsiteY53" fmla="*/ 6459 h 15357"/>
                          <a:gd name="connsiteX54" fmla="*/ 21 w 14359"/>
                          <a:gd name="connsiteY54" fmla="*/ 9390 h 15357"/>
                          <a:gd name="connsiteX55" fmla="*/ 320 w 14359"/>
                          <a:gd name="connsiteY55" fmla="*/ 12021 h 15357"/>
                          <a:gd name="connsiteX56" fmla="*/ 1576 w 14359"/>
                          <a:gd name="connsiteY56" fmla="*/ 14234 h 1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4359" h="15357">
                            <a:moveTo>
                              <a:pt x="11982" y="1854"/>
                            </a:moveTo>
                            <a:cubicBezTo>
                              <a:pt x="11982" y="1854"/>
                              <a:pt x="11982" y="1854"/>
                              <a:pt x="11982" y="1854"/>
                            </a:cubicBezTo>
                            <a:cubicBezTo>
                              <a:pt x="12042" y="1914"/>
                              <a:pt x="12042" y="1914"/>
                              <a:pt x="12042" y="1914"/>
                            </a:cubicBezTo>
                            <a:cubicBezTo>
                              <a:pt x="12042" y="1914"/>
                              <a:pt x="12042" y="1914"/>
                              <a:pt x="12102" y="1974"/>
                            </a:cubicBezTo>
                            <a:cubicBezTo>
                              <a:pt x="12102" y="1974"/>
                              <a:pt x="12102" y="1974"/>
                              <a:pt x="12162" y="2034"/>
                            </a:cubicBezTo>
                            <a:cubicBezTo>
                              <a:pt x="12401" y="2273"/>
                              <a:pt x="12640" y="2512"/>
                              <a:pt x="12879" y="2811"/>
                            </a:cubicBezTo>
                            <a:cubicBezTo>
                              <a:pt x="13059" y="3110"/>
                              <a:pt x="13238" y="3409"/>
                              <a:pt x="13358" y="3768"/>
                            </a:cubicBezTo>
                            <a:cubicBezTo>
                              <a:pt x="13477" y="4127"/>
                              <a:pt x="13537" y="4486"/>
                              <a:pt x="13597" y="4904"/>
                            </a:cubicBezTo>
                            <a:cubicBezTo>
                              <a:pt x="13657" y="5323"/>
                              <a:pt x="13657" y="5742"/>
                              <a:pt x="13597" y="6160"/>
                            </a:cubicBezTo>
                            <a:cubicBezTo>
                              <a:pt x="13537" y="6579"/>
                              <a:pt x="13477" y="6998"/>
                              <a:pt x="13358" y="7476"/>
                            </a:cubicBezTo>
                            <a:cubicBezTo>
                              <a:pt x="13238" y="7895"/>
                              <a:pt x="13059" y="8373"/>
                              <a:pt x="12879" y="8792"/>
                            </a:cubicBezTo>
                            <a:cubicBezTo>
                              <a:pt x="12700" y="9211"/>
                              <a:pt x="12461" y="9629"/>
                              <a:pt x="12162" y="10048"/>
                            </a:cubicBezTo>
                            <a:cubicBezTo>
                              <a:pt x="11923" y="10466"/>
                              <a:pt x="11623" y="10885"/>
                              <a:pt x="11265" y="11244"/>
                            </a:cubicBezTo>
                            <a:cubicBezTo>
                              <a:pt x="10607" y="12021"/>
                              <a:pt x="9889" y="12620"/>
                              <a:pt x="9112" y="13158"/>
                            </a:cubicBezTo>
                            <a:cubicBezTo>
                              <a:pt x="8334" y="13696"/>
                              <a:pt x="7556" y="14055"/>
                              <a:pt x="6779" y="14234"/>
                            </a:cubicBezTo>
                            <a:cubicBezTo>
                              <a:pt x="6001" y="14474"/>
                              <a:pt x="5224" y="14533"/>
                              <a:pt x="4506" y="14474"/>
                            </a:cubicBezTo>
                            <a:cubicBezTo>
                              <a:pt x="3789" y="14414"/>
                              <a:pt x="3131" y="14175"/>
                              <a:pt x="2533" y="13756"/>
                            </a:cubicBezTo>
                            <a:lnTo>
                              <a:pt x="2293" y="13516"/>
                            </a:lnTo>
                            <a:cubicBezTo>
                              <a:pt x="1755" y="13038"/>
                              <a:pt x="1337" y="12440"/>
                              <a:pt x="1098" y="11722"/>
                            </a:cubicBezTo>
                            <a:cubicBezTo>
                              <a:pt x="858" y="11005"/>
                              <a:pt x="798" y="10227"/>
                              <a:pt x="858" y="9390"/>
                            </a:cubicBezTo>
                            <a:cubicBezTo>
                              <a:pt x="918" y="8553"/>
                              <a:pt x="1157" y="7655"/>
                              <a:pt x="1576" y="6818"/>
                            </a:cubicBezTo>
                            <a:cubicBezTo>
                              <a:pt x="1935" y="5921"/>
                              <a:pt x="2533" y="5084"/>
                              <a:pt x="3191" y="4306"/>
                            </a:cubicBezTo>
                            <a:cubicBezTo>
                              <a:pt x="3490" y="3947"/>
                              <a:pt x="3848" y="3589"/>
                              <a:pt x="4207" y="3230"/>
                            </a:cubicBezTo>
                            <a:cubicBezTo>
                              <a:pt x="4566" y="2931"/>
                              <a:pt x="4985" y="2632"/>
                              <a:pt x="5344" y="2333"/>
                            </a:cubicBezTo>
                            <a:cubicBezTo>
                              <a:pt x="5702" y="2034"/>
                              <a:pt x="6181" y="1854"/>
                              <a:pt x="6600" y="1675"/>
                            </a:cubicBezTo>
                            <a:cubicBezTo>
                              <a:pt x="7018" y="1495"/>
                              <a:pt x="7437" y="1316"/>
                              <a:pt x="7856" y="1196"/>
                            </a:cubicBezTo>
                            <a:cubicBezTo>
                              <a:pt x="8274" y="1077"/>
                              <a:pt x="8633" y="1017"/>
                              <a:pt x="9052" y="1017"/>
                            </a:cubicBezTo>
                            <a:cubicBezTo>
                              <a:pt x="9410" y="1017"/>
                              <a:pt x="9769" y="1017"/>
                              <a:pt x="10128" y="1077"/>
                            </a:cubicBezTo>
                            <a:cubicBezTo>
                              <a:pt x="10487" y="1136"/>
                              <a:pt x="10786" y="1256"/>
                              <a:pt x="11145" y="1376"/>
                            </a:cubicBezTo>
                            <a:cubicBezTo>
                              <a:pt x="11504" y="1495"/>
                              <a:pt x="11683" y="1675"/>
                              <a:pt x="11982" y="1854"/>
                            </a:cubicBezTo>
                            <a:moveTo>
                              <a:pt x="1576" y="14234"/>
                            </a:moveTo>
                            <a:lnTo>
                              <a:pt x="1875" y="14474"/>
                            </a:lnTo>
                            <a:cubicBezTo>
                              <a:pt x="2533" y="14952"/>
                              <a:pt x="3251" y="15191"/>
                              <a:pt x="4088" y="15311"/>
                            </a:cubicBezTo>
                            <a:cubicBezTo>
                              <a:pt x="4925" y="15430"/>
                              <a:pt x="5762" y="15311"/>
                              <a:pt x="6660" y="15072"/>
                            </a:cubicBezTo>
                            <a:cubicBezTo>
                              <a:pt x="7556" y="14832"/>
                              <a:pt x="8454" y="14414"/>
                              <a:pt x="9291" y="13815"/>
                            </a:cubicBezTo>
                            <a:cubicBezTo>
                              <a:pt x="10128" y="13277"/>
                              <a:pt x="10966" y="12560"/>
                              <a:pt x="11683" y="11662"/>
                            </a:cubicBezTo>
                            <a:cubicBezTo>
                              <a:pt x="12042" y="11244"/>
                              <a:pt x="12401" y="10766"/>
                              <a:pt x="12700" y="10287"/>
                            </a:cubicBezTo>
                            <a:cubicBezTo>
                              <a:pt x="12999" y="9808"/>
                              <a:pt x="13238" y="9330"/>
                              <a:pt x="13477" y="8852"/>
                            </a:cubicBezTo>
                            <a:cubicBezTo>
                              <a:pt x="13717" y="8373"/>
                              <a:pt x="13896" y="7895"/>
                              <a:pt x="14016" y="7357"/>
                            </a:cubicBezTo>
                            <a:cubicBezTo>
                              <a:pt x="14135" y="6878"/>
                              <a:pt x="14255" y="6340"/>
                              <a:pt x="14315" y="5861"/>
                            </a:cubicBezTo>
                            <a:cubicBezTo>
                              <a:pt x="14375" y="5383"/>
                              <a:pt x="14375" y="4904"/>
                              <a:pt x="14315" y="4426"/>
                            </a:cubicBezTo>
                            <a:cubicBezTo>
                              <a:pt x="14255" y="3947"/>
                              <a:pt x="14195" y="3529"/>
                              <a:pt x="14076" y="3170"/>
                            </a:cubicBezTo>
                            <a:cubicBezTo>
                              <a:pt x="13956" y="2751"/>
                              <a:pt x="13777" y="2392"/>
                              <a:pt x="13537" y="2034"/>
                            </a:cubicBezTo>
                            <a:cubicBezTo>
                              <a:pt x="13298" y="1675"/>
                              <a:pt x="13059" y="1376"/>
                              <a:pt x="12760" y="1136"/>
                            </a:cubicBezTo>
                            <a:lnTo>
                              <a:pt x="12461" y="897"/>
                            </a:lnTo>
                            <a:cubicBezTo>
                              <a:pt x="12162" y="658"/>
                              <a:pt x="11863" y="479"/>
                              <a:pt x="11504" y="359"/>
                            </a:cubicBezTo>
                            <a:cubicBezTo>
                              <a:pt x="11145" y="239"/>
                              <a:pt x="10786" y="120"/>
                              <a:pt x="10427" y="60"/>
                            </a:cubicBezTo>
                            <a:cubicBezTo>
                              <a:pt x="10069" y="0"/>
                              <a:pt x="9650" y="0"/>
                              <a:pt x="9231" y="0"/>
                            </a:cubicBezTo>
                            <a:cubicBezTo>
                              <a:pt x="8813" y="0"/>
                              <a:pt x="8394" y="120"/>
                              <a:pt x="7915" y="180"/>
                            </a:cubicBezTo>
                            <a:cubicBezTo>
                              <a:pt x="7437" y="299"/>
                              <a:pt x="6959" y="479"/>
                              <a:pt x="6480" y="658"/>
                            </a:cubicBezTo>
                            <a:cubicBezTo>
                              <a:pt x="6001" y="897"/>
                              <a:pt x="5523" y="1136"/>
                              <a:pt x="5105" y="1436"/>
                            </a:cubicBezTo>
                            <a:cubicBezTo>
                              <a:pt x="4626" y="1735"/>
                              <a:pt x="4207" y="2093"/>
                              <a:pt x="3789" y="2452"/>
                            </a:cubicBezTo>
                            <a:cubicBezTo>
                              <a:pt x="3370" y="2811"/>
                              <a:pt x="2952" y="3230"/>
                              <a:pt x="2593" y="3649"/>
                            </a:cubicBezTo>
                            <a:cubicBezTo>
                              <a:pt x="1815" y="4545"/>
                              <a:pt x="1217" y="5503"/>
                              <a:pt x="798" y="6459"/>
                            </a:cubicBezTo>
                            <a:cubicBezTo>
                              <a:pt x="380" y="7416"/>
                              <a:pt x="81" y="8433"/>
                              <a:pt x="21" y="9390"/>
                            </a:cubicBezTo>
                            <a:cubicBezTo>
                              <a:pt x="-39" y="10347"/>
                              <a:pt x="21" y="11244"/>
                              <a:pt x="320" y="12021"/>
                            </a:cubicBezTo>
                            <a:cubicBezTo>
                              <a:pt x="499" y="12978"/>
                              <a:pt x="978" y="13696"/>
                              <a:pt x="1576" y="14234"/>
                            </a:cubicBezTo>
                          </a:path>
                        </a:pathLst>
                      </a:custGeom>
                      <a:noFill/>
                      <a:ln w="6350" cap="flat">
                        <a:solidFill>
                          <a:schemeClr val="bg1">
                            <a:alpha val="40000"/>
                          </a:schemeClr>
                        </a:solidFill>
                        <a:prstDash val="solid"/>
                        <a:miter/>
                      </a:ln>
                    </p:spPr>
                    <p:txBody>
                      <a:bodyPr rtlCol="0" anchor="ctr"/>
                      <a:lstStyle/>
                      <a:p>
                        <a:endParaRPr lang="en-GB"/>
                      </a:p>
                    </p:txBody>
                  </p:sp>
                  <p:sp>
                    <p:nvSpPr>
                      <p:cNvPr id="7460" name="Vrije vorm: vorm 7459">
                        <a:extLst>
                          <a:ext uri="{FF2B5EF4-FFF2-40B4-BE49-F238E27FC236}">
                            <a16:creationId xmlns:a16="http://schemas.microsoft.com/office/drawing/2014/main" id="{79CEE490-22F5-442B-847D-92359EFD7BC0}"/>
                          </a:ext>
                        </a:extLst>
                      </p:cNvPr>
                      <p:cNvSpPr/>
                      <p:nvPr/>
                    </p:nvSpPr>
                    <p:spPr>
                      <a:xfrm>
                        <a:off x="5305518" y="5403697"/>
                        <a:ext cx="9292" cy="9875"/>
                      </a:xfrm>
                      <a:custGeom>
                        <a:avLst/>
                        <a:gdLst>
                          <a:gd name="connsiteX0" fmla="*/ 7476 w 9292"/>
                          <a:gd name="connsiteY0" fmla="*/ 1420 h 9875"/>
                          <a:gd name="connsiteX1" fmla="*/ 7476 w 9292"/>
                          <a:gd name="connsiteY1" fmla="*/ 1420 h 9875"/>
                          <a:gd name="connsiteX2" fmla="*/ 7476 w 9292"/>
                          <a:gd name="connsiteY2" fmla="*/ 1420 h 9875"/>
                          <a:gd name="connsiteX3" fmla="*/ 7535 w 9292"/>
                          <a:gd name="connsiteY3" fmla="*/ 1480 h 9875"/>
                          <a:gd name="connsiteX4" fmla="*/ 7535 w 9292"/>
                          <a:gd name="connsiteY4" fmla="*/ 1480 h 9875"/>
                          <a:gd name="connsiteX5" fmla="*/ 8253 w 9292"/>
                          <a:gd name="connsiteY5" fmla="*/ 2557 h 9875"/>
                          <a:gd name="connsiteX6" fmla="*/ 8373 w 9292"/>
                          <a:gd name="connsiteY6" fmla="*/ 3992 h 9875"/>
                          <a:gd name="connsiteX7" fmla="*/ 7954 w 9292"/>
                          <a:gd name="connsiteY7" fmla="*/ 5547 h 9875"/>
                          <a:gd name="connsiteX8" fmla="*/ 6997 w 9292"/>
                          <a:gd name="connsiteY8" fmla="*/ 7042 h 9875"/>
                          <a:gd name="connsiteX9" fmla="*/ 5681 w 9292"/>
                          <a:gd name="connsiteY9" fmla="*/ 8179 h 9875"/>
                          <a:gd name="connsiteX10" fmla="*/ 4246 w 9292"/>
                          <a:gd name="connsiteY10" fmla="*/ 8836 h 9875"/>
                          <a:gd name="connsiteX11" fmla="*/ 2871 w 9292"/>
                          <a:gd name="connsiteY11" fmla="*/ 8956 h 9875"/>
                          <a:gd name="connsiteX12" fmla="*/ 1674 w 9292"/>
                          <a:gd name="connsiteY12" fmla="*/ 8537 h 9875"/>
                          <a:gd name="connsiteX13" fmla="*/ 1674 w 9292"/>
                          <a:gd name="connsiteY13" fmla="*/ 8537 h 9875"/>
                          <a:gd name="connsiteX14" fmla="*/ 1674 w 9292"/>
                          <a:gd name="connsiteY14" fmla="*/ 8537 h 9875"/>
                          <a:gd name="connsiteX15" fmla="*/ 1674 w 9292"/>
                          <a:gd name="connsiteY15" fmla="*/ 8537 h 9875"/>
                          <a:gd name="connsiteX16" fmla="*/ 1674 w 9292"/>
                          <a:gd name="connsiteY16" fmla="*/ 8537 h 9875"/>
                          <a:gd name="connsiteX17" fmla="*/ 1256 w 9292"/>
                          <a:gd name="connsiteY17" fmla="*/ 8059 h 9875"/>
                          <a:gd name="connsiteX18" fmla="*/ 957 w 9292"/>
                          <a:gd name="connsiteY18" fmla="*/ 7461 h 9875"/>
                          <a:gd name="connsiteX19" fmla="*/ 837 w 9292"/>
                          <a:gd name="connsiteY19" fmla="*/ 6803 h 9875"/>
                          <a:gd name="connsiteX20" fmla="*/ 837 w 9292"/>
                          <a:gd name="connsiteY20" fmla="*/ 6026 h 9875"/>
                          <a:gd name="connsiteX21" fmla="*/ 957 w 9292"/>
                          <a:gd name="connsiteY21" fmla="*/ 5248 h 9875"/>
                          <a:gd name="connsiteX22" fmla="*/ 1256 w 9292"/>
                          <a:gd name="connsiteY22" fmla="*/ 4471 h 9875"/>
                          <a:gd name="connsiteX23" fmla="*/ 1674 w 9292"/>
                          <a:gd name="connsiteY23" fmla="*/ 3693 h 9875"/>
                          <a:gd name="connsiteX24" fmla="*/ 2213 w 9292"/>
                          <a:gd name="connsiteY24" fmla="*/ 2975 h 9875"/>
                          <a:gd name="connsiteX25" fmla="*/ 2871 w 9292"/>
                          <a:gd name="connsiteY25" fmla="*/ 2318 h 9875"/>
                          <a:gd name="connsiteX26" fmla="*/ 3588 w 9292"/>
                          <a:gd name="connsiteY26" fmla="*/ 1779 h 9875"/>
                          <a:gd name="connsiteX27" fmla="*/ 4306 w 9292"/>
                          <a:gd name="connsiteY27" fmla="*/ 1360 h 9875"/>
                          <a:gd name="connsiteX28" fmla="*/ 5083 w 9292"/>
                          <a:gd name="connsiteY28" fmla="*/ 1062 h 9875"/>
                          <a:gd name="connsiteX29" fmla="*/ 5801 w 9292"/>
                          <a:gd name="connsiteY29" fmla="*/ 942 h 9875"/>
                          <a:gd name="connsiteX30" fmla="*/ 6459 w 9292"/>
                          <a:gd name="connsiteY30" fmla="*/ 1002 h 9875"/>
                          <a:gd name="connsiteX31" fmla="*/ 7057 w 9292"/>
                          <a:gd name="connsiteY31" fmla="*/ 1181 h 9875"/>
                          <a:gd name="connsiteX32" fmla="*/ 7476 w 9292"/>
                          <a:gd name="connsiteY32" fmla="*/ 1420 h 9875"/>
                          <a:gd name="connsiteX33" fmla="*/ 1196 w 9292"/>
                          <a:gd name="connsiteY33" fmla="*/ 9315 h 9875"/>
                          <a:gd name="connsiteX34" fmla="*/ 2632 w 9292"/>
                          <a:gd name="connsiteY34" fmla="*/ 9853 h 9875"/>
                          <a:gd name="connsiteX35" fmla="*/ 4306 w 9292"/>
                          <a:gd name="connsiteY35" fmla="*/ 9674 h 9875"/>
                          <a:gd name="connsiteX36" fmla="*/ 5981 w 9292"/>
                          <a:gd name="connsiteY36" fmla="*/ 8896 h 9875"/>
                          <a:gd name="connsiteX37" fmla="*/ 7535 w 9292"/>
                          <a:gd name="connsiteY37" fmla="*/ 7521 h 9875"/>
                          <a:gd name="connsiteX38" fmla="*/ 8732 w 9292"/>
                          <a:gd name="connsiteY38" fmla="*/ 5667 h 9875"/>
                          <a:gd name="connsiteX39" fmla="*/ 9270 w 9292"/>
                          <a:gd name="connsiteY39" fmla="*/ 3813 h 9875"/>
                          <a:gd name="connsiteX40" fmla="*/ 9090 w 9292"/>
                          <a:gd name="connsiteY40" fmla="*/ 2078 h 9875"/>
                          <a:gd name="connsiteX41" fmla="*/ 8253 w 9292"/>
                          <a:gd name="connsiteY41" fmla="*/ 763 h 9875"/>
                          <a:gd name="connsiteX42" fmla="*/ 8074 w 9292"/>
                          <a:gd name="connsiteY42" fmla="*/ 583 h 9875"/>
                          <a:gd name="connsiteX43" fmla="*/ 7416 w 9292"/>
                          <a:gd name="connsiteY43" fmla="*/ 224 h 9875"/>
                          <a:gd name="connsiteX44" fmla="*/ 6698 w 9292"/>
                          <a:gd name="connsiteY44" fmla="*/ 45 h 9875"/>
                          <a:gd name="connsiteX45" fmla="*/ 5921 w 9292"/>
                          <a:gd name="connsiteY45" fmla="*/ 45 h 9875"/>
                          <a:gd name="connsiteX46" fmla="*/ 5083 w 9292"/>
                          <a:gd name="connsiteY46" fmla="*/ 165 h 9875"/>
                          <a:gd name="connsiteX47" fmla="*/ 4186 w 9292"/>
                          <a:gd name="connsiteY47" fmla="*/ 464 h 9875"/>
                          <a:gd name="connsiteX48" fmla="*/ 3289 w 9292"/>
                          <a:gd name="connsiteY48" fmla="*/ 942 h 9875"/>
                          <a:gd name="connsiteX49" fmla="*/ 2452 w 9292"/>
                          <a:gd name="connsiteY49" fmla="*/ 1600 h 9875"/>
                          <a:gd name="connsiteX50" fmla="*/ 1674 w 9292"/>
                          <a:gd name="connsiteY50" fmla="*/ 2377 h 9875"/>
                          <a:gd name="connsiteX51" fmla="*/ 1017 w 9292"/>
                          <a:gd name="connsiteY51" fmla="*/ 3274 h 9875"/>
                          <a:gd name="connsiteX52" fmla="*/ 538 w 9292"/>
                          <a:gd name="connsiteY52" fmla="*/ 4172 h 9875"/>
                          <a:gd name="connsiteX53" fmla="*/ 179 w 9292"/>
                          <a:gd name="connsiteY53" fmla="*/ 5128 h 9875"/>
                          <a:gd name="connsiteX54" fmla="*/ 0 w 9292"/>
                          <a:gd name="connsiteY54" fmla="*/ 6085 h 9875"/>
                          <a:gd name="connsiteX55" fmla="*/ 0 w 9292"/>
                          <a:gd name="connsiteY55" fmla="*/ 6982 h 9875"/>
                          <a:gd name="connsiteX56" fmla="*/ 179 w 9292"/>
                          <a:gd name="connsiteY56" fmla="*/ 7820 h 9875"/>
                          <a:gd name="connsiteX57" fmla="*/ 538 w 9292"/>
                          <a:gd name="connsiteY57" fmla="*/ 8537 h 9875"/>
                          <a:gd name="connsiteX58" fmla="*/ 1076 w 9292"/>
                          <a:gd name="connsiteY58" fmla="*/ 9136 h 9875"/>
                          <a:gd name="connsiteX59" fmla="*/ 1136 w 9292"/>
                          <a:gd name="connsiteY59" fmla="*/ 9195 h 9875"/>
                          <a:gd name="connsiteX60" fmla="*/ 1196 w 9292"/>
                          <a:gd name="connsiteY60" fmla="*/ 9255 h 9875"/>
                          <a:gd name="connsiteX61" fmla="*/ 1196 w 9292"/>
                          <a:gd name="connsiteY61" fmla="*/ 9315 h 9875"/>
                          <a:gd name="connsiteX62" fmla="*/ 1196 w 9292"/>
                          <a:gd name="connsiteY62" fmla="*/ 9315 h 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292" h="9875">
                            <a:moveTo>
                              <a:pt x="7476" y="1420"/>
                            </a:moveTo>
                            <a:cubicBezTo>
                              <a:pt x="7476" y="1420"/>
                              <a:pt x="7476" y="1420"/>
                              <a:pt x="7476" y="1420"/>
                            </a:cubicBezTo>
                            <a:cubicBezTo>
                              <a:pt x="7535" y="1480"/>
                              <a:pt x="7535" y="1480"/>
                              <a:pt x="7476" y="1420"/>
                            </a:cubicBezTo>
                            <a:cubicBezTo>
                              <a:pt x="7535" y="1480"/>
                              <a:pt x="7535" y="1480"/>
                              <a:pt x="7535" y="1480"/>
                            </a:cubicBezTo>
                            <a:cubicBezTo>
                              <a:pt x="7535" y="1480"/>
                              <a:pt x="7535" y="1480"/>
                              <a:pt x="7535" y="1480"/>
                            </a:cubicBezTo>
                            <a:cubicBezTo>
                              <a:pt x="7894" y="1779"/>
                              <a:pt x="8134" y="2138"/>
                              <a:pt x="8253" y="2557"/>
                            </a:cubicBezTo>
                            <a:cubicBezTo>
                              <a:pt x="8373" y="2975"/>
                              <a:pt x="8433" y="3454"/>
                              <a:pt x="8373" y="3992"/>
                            </a:cubicBezTo>
                            <a:cubicBezTo>
                              <a:pt x="8313" y="4471"/>
                              <a:pt x="8194" y="5009"/>
                              <a:pt x="7954" y="5547"/>
                            </a:cubicBezTo>
                            <a:cubicBezTo>
                              <a:pt x="7715" y="6085"/>
                              <a:pt x="7416" y="6564"/>
                              <a:pt x="6997" y="7042"/>
                            </a:cubicBezTo>
                            <a:cubicBezTo>
                              <a:pt x="6579" y="7521"/>
                              <a:pt x="6160" y="7880"/>
                              <a:pt x="5681" y="8179"/>
                            </a:cubicBezTo>
                            <a:cubicBezTo>
                              <a:pt x="5203" y="8478"/>
                              <a:pt x="4725" y="8717"/>
                              <a:pt x="4246" y="8836"/>
                            </a:cubicBezTo>
                            <a:cubicBezTo>
                              <a:pt x="3768" y="8956"/>
                              <a:pt x="3289" y="9016"/>
                              <a:pt x="2871" y="8956"/>
                            </a:cubicBezTo>
                            <a:cubicBezTo>
                              <a:pt x="2452" y="8896"/>
                              <a:pt x="2033" y="8777"/>
                              <a:pt x="1674" y="8537"/>
                            </a:cubicBezTo>
                            <a:cubicBezTo>
                              <a:pt x="1674" y="8537"/>
                              <a:pt x="1674" y="8537"/>
                              <a:pt x="1674" y="8537"/>
                            </a:cubicBezTo>
                            <a:cubicBezTo>
                              <a:pt x="1674" y="8537"/>
                              <a:pt x="1674" y="8537"/>
                              <a:pt x="1674" y="8537"/>
                            </a:cubicBezTo>
                            <a:cubicBezTo>
                              <a:pt x="1674" y="8537"/>
                              <a:pt x="1674" y="8537"/>
                              <a:pt x="1674" y="8537"/>
                            </a:cubicBezTo>
                            <a:cubicBezTo>
                              <a:pt x="1674" y="8537"/>
                              <a:pt x="1674" y="8537"/>
                              <a:pt x="1674" y="8537"/>
                            </a:cubicBezTo>
                            <a:cubicBezTo>
                              <a:pt x="1495" y="8418"/>
                              <a:pt x="1375" y="8238"/>
                              <a:pt x="1256" y="8059"/>
                            </a:cubicBezTo>
                            <a:cubicBezTo>
                              <a:pt x="1136" y="7880"/>
                              <a:pt x="1017" y="7700"/>
                              <a:pt x="957" y="7461"/>
                            </a:cubicBezTo>
                            <a:cubicBezTo>
                              <a:pt x="897" y="7222"/>
                              <a:pt x="837" y="7042"/>
                              <a:pt x="837" y="6803"/>
                            </a:cubicBezTo>
                            <a:cubicBezTo>
                              <a:pt x="837" y="6564"/>
                              <a:pt x="837" y="6325"/>
                              <a:pt x="837" y="6026"/>
                            </a:cubicBezTo>
                            <a:cubicBezTo>
                              <a:pt x="837" y="5787"/>
                              <a:pt x="897" y="5487"/>
                              <a:pt x="957" y="5248"/>
                            </a:cubicBezTo>
                            <a:cubicBezTo>
                              <a:pt x="1017" y="5009"/>
                              <a:pt x="1136" y="4710"/>
                              <a:pt x="1256" y="4471"/>
                            </a:cubicBezTo>
                            <a:cubicBezTo>
                              <a:pt x="1375" y="4231"/>
                              <a:pt x="1495" y="3933"/>
                              <a:pt x="1674" y="3693"/>
                            </a:cubicBezTo>
                            <a:cubicBezTo>
                              <a:pt x="1854" y="3454"/>
                              <a:pt x="2033" y="3214"/>
                              <a:pt x="2213" y="2975"/>
                            </a:cubicBezTo>
                            <a:cubicBezTo>
                              <a:pt x="2392" y="2736"/>
                              <a:pt x="2632" y="2557"/>
                              <a:pt x="2871" y="2318"/>
                            </a:cubicBezTo>
                            <a:cubicBezTo>
                              <a:pt x="3110" y="2138"/>
                              <a:pt x="3349" y="1959"/>
                              <a:pt x="3588" y="1779"/>
                            </a:cubicBezTo>
                            <a:cubicBezTo>
                              <a:pt x="3827" y="1600"/>
                              <a:pt x="4067" y="1480"/>
                              <a:pt x="4306" y="1360"/>
                            </a:cubicBezTo>
                            <a:cubicBezTo>
                              <a:pt x="4545" y="1241"/>
                              <a:pt x="4785" y="1181"/>
                              <a:pt x="5083" y="1062"/>
                            </a:cubicBezTo>
                            <a:cubicBezTo>
                              <a:pt x="5323" y="1002"/>
                              <a:pt x="5562" y="942"/>
                              <a:pt x="5801" y="942"/>
                            </a:cubicBezTo>
                            <a:cubicBezTo>
                              <a:pt x="6040" y="942"/>
                              <a:pt x="6220" y="942"/>
                              <a:pt x="6459" y="1002"/>
                            </a:cubicBezTo>
                            <a:cubicBezTo>
                              <a:pt x="6698" y="1062"/>
                              <a:pt x="6878" y="1121"/>
                              <a:pt x="7057" y="1181"/>
                            </a:cubicBezTo>
                            <a:cubicBezTo>
                              <a:pt x="7117" y="1181"/>
                              <a:pt x="7296" y="1301"/>
                              <a:pt x="7476" y="1420"/>
                            </a:cubicBezTo>
                            <a:moveTo>
                              <a:pt x="1196" y="9315"/>
                            </a:moveTo>
                            <a:cubicBezTo>
                              <a:pt x="1615" y="9614"/>
                              <a:pt x="2093" y="9794"/>
                              <a:pt x="2632" y="9853"/>
                            </a:cubicBezTo>
                            <a:cubicBezTo>
                              <a:pt x="3170" y="9913"/>
                              <a:pt x="3708" y="9853"/>
                              <a:pt x="4306" y="9674"/>
                            </a:cubicBezTo>
                            <a:cubicBezTo>
                              <a:pt x="4904" y="9495"/>
                              <a:pt x="5442" y="9255"/>
                              <a:pt x="5981" y="8896"/>
                            </a:cubicBezTo>
                            <a:cubicBezTo>
                              <a:pt x="6519" y="8537"/>
                              <a:pt x="7057" y="8059"/>
                              <a:pt x="7535" y="7521"/>
                            </a:cubicBezTo>
                            <a:cubicBezTo>
                              <a:pt x="8014" y="6923"/>
                              <a:pt x="8433" y="6325"/>
                              <a:pt x="8732" y="5667"/>
                            </a:cubicBezTo>
                            <a:cubicBezTo>
                              <a:pt x="9031" y="5009"/>
                              <a:pt x="9210" y="4411"/>
                              <a:pt x="9270" y="3813"/>
                            </a:cubicBezTo>
                            <a:cubicBezTo>
                              <a:pt x="9330" y="3214"/>
                              <a:pt x="9270" y="2617"/>
                              <a:pt x="9090" y="2078"/>
                            </a:cubicBezTo>
                            <a:cubicBezTo>
                              <a:pt x="8911" y="1540"/>
                              <a:pt x="8612" y="1121"/>
                              <a:pt x="8253" y="763"/>
                            </a:cubicBezTo>
                            <a:lnTo>
                              <a:pt x="8074" y="583"/>
                            </a:lnTo>
                            <a:cubicBezTo>
                              <a:pt x="7894" y="464"/>
                              <a:pt x="7655" y="344"/>
                              <a:pt x="7416" y="224"/>
                            </a:cubicBezTo>
                            <a:cubicBezTo>
                              <a:pt x="7177" y="105"/>
                              <a:pt x="6937" y="45"/>
                              <a:pt x="6698" y="45"/>
                            </a:cubicBezTo>
                            <a:cubicBezTo>
                              <a:pt x="6459" y="-15"/>
                              <a:pt x="6160" y="-15"/>
                              <a:pt x="5921" y="45"/>
                            </a:cubicBezTo>
                            <a:cubicBezTo>
                              <a:pt x="5622" y="45"/>
                              <a:pt x="5382" y="105"/>
                              <a:pt x="5083" y="165"/>
                            </a:cubicBezTo>
                            <a:cubicBezTo>
                              <a:pt x="4785" y="224"/>
                              <a:pt x="4486" y="344"/>
                              <a:pt x="4186" y="464"/>
                            </a:cubicBezTo>
                            <a:cubicBezTo>
                              <a:pt x="3887" y="583"/>
                              <a:pt x="3588" y="763"/>
                              <a:pt x="3289" y="942"/>
                            </a:cubicBezTo>
                            <a:cubicBezTo>
                              <a:pt x="2990" y="1121"/>
                              <a:pt x="2691" y="1360"/>
                              <a:pt x="2452" y="1600"/>
                            </a:cubicBezTo>
                            <a:cubicBezTo>
                              <a:pt x="2153" y="1839"/>
                              <a:pt x="1914" y="2078"/>
                              <a:pt x="1674" y="2377"/>
                            </a:cubicBezTo>
                            <a:cubicBezTo>
                              <a:pt x="1435" y="2676"/>
                              <a:pt x="1196" y="2975"/>
                              <a:pt x="1017" y="3274"/>
                            </a:cubicBezTo>
                            <a:cubicBezTo>
                              <a:pt x="837" y="3573"/>
                              <a:pt x="658" y="3873"/>
                              <a:pt x="538" y="4172"/>
                            </a:cubicBezTo>
                            <a:cubicBezTo>
                              <a:pt x="418" y="4471"/>
                              <a:pt x="299" y="4829"/>
                              <a:pt x="179" y="5128"/>
                            </a:cubicBezTo>
                            <a:cubicBezTo>
                              <a:pt x="119" y="5428"/>
                              <a:pt x="0" y="5787"/>
                              <a:pt x="0" y="6085"/>
                            </a:cubicBezTo>
                            <a:cubicBezTo>
                              <a:pt x="0" y="6384"/>
                              <a:pt x="0" y="6743"/>
                              <a:pt x="0" y="6982"/>
                            </a:cubicBezTo>
                            <a:cubicBezTo>
                              <a:pt x="0" y="7282"/>
                              <a:pt x="60" y="7581"/>
                              <a:pt x="179" y="7820"/>
                            </a:cubicBezTo>
                            <a:cubicBezTo>
                              <a:pt x="299" y="8059"/>
                              <a:pt x="359" y="8298"/>
                              <a:pt x="538" y="8537"/>
                            </a:cubicBezTo>
                            <a:cubicBezTo>
                              <a:pt x="658" y="8777"/>
                              <a:pt x="837" y="8956"/>
                              <a:pt x="1076" y="9136"/>
                            </a:cubicBezTo>
                            <a:cubicBezTo>
                              <a:pt x="1076" y="9136"/>
                              <a:pt x="1136" y="9136"/>
                              <a:pt x="1136" y="9195"/>
                            </a:cubicBezTo>
                            <a:cubicBezTo>
                              <a:pt x="1136" y="9195"/>
                              <a:pt x="1196" y="9195"/>
                              <a:pt x="1196" y="9255"/>
                            </a:cubicBezTo>
                            <a:cubicBezTo>
                              <a:pt x="1076" y="9255"/>
                              <a:pt x="1136" y="9255"/>
                              <a:pt x="1196" y="9315"/>
                            </a:cubicBezTo>
                            <a:cubicBezTo>
                              <a:pt x="1136" y="9315"/>
                              <a:pt x="1196" y="9315"/>
                              <a:pt x="1196" y="9315"/>
                            </a:cubicBezTo>
                          </a:path>
                        </a:pathLst>
                      </a:custGeom>
                      <a:noFill/>
                      <a:ln w="6350" cap="flat">
                        <a:solidFill>
                          <a:schemeClr val="bg1">
                            <a:alpha val="40000"/>
                          </a:schemeClr>
                        </a:solidFill>
                        <a:prstDash val="solid"/>
                        <a:miter/>
                      </a:ln>
                    </p:spPr>
                    <p:txBody>
                      <a:bodyPr rtlCol="0" anchor="ctr"/>
                      <a:lstStyle/>
                      <a:p>
                        <a:endParaRPr lang="en-GB"/>
                      </a:p>
                    </p:txBody>
                  </p:sp>
                  <p:sp>
                    <p:nvSpPr>
                      <p:cNvPr id="7461" name="Vrije vorm: vorm 7460">
                        <a:extLst>
                          <a:ext uri="{FF2B5EF4-FFF2-40B4-BE49-F238E27FC236}">
                            <a16:creationId xmlns:a16="http://schemas.microsoft.com/office/drawing/2014/main" id="{E5EE9B81-3A6A-4DFF-936E-EF6BA9DFA640}"/>
                          </a:ext>
                        </a:extLst>
                      </p:cNvPr>
                      <p:cNvSpPr/>
                      <p:nvPr/>
                    </p:nvSpPr>
                    <p:spPr>
                      <a:xfrm>
                        <a:off x="5314369" y="5411755"/>
                        <a:ext cx="5047" cy="5442"/>
                      </a:xfrm>
                      <a:custGeom>
                        <a:avLst/>
                        <a:gdLst>
                          <a:gd name="connsiteX0" fmla="*/ 3888 w 5047"/>
                          <a:gd name="connsiteY0" fmla="*/ 1136 h 5442"/>
                          <a:gd name="connsiteX1" fmla="*/ 4187 w 5047"/>
                          <a:gd name="connsiteY1" fmla="*/ 1615 h 5442"/>
                          <a:gd name="connsiteX2" fmla="*/ 4246 w 5047"/>
                          <a:gd name="connsiteY2" fmla="*/ 2273 h 5442"/>
                          <a:gd name="connsiteX3" fmla="*/ 4067 w 5047"/>
                          <a:gd name="connsiteY3" fmla="*/ 2990 h 5442"/>
                          <a:gd name="connsiteX4" fmla="*/ 3648 w 5047"/>
                          <a:gd name="connsiteY4" fmla="*/ 3649 h 5442"/>
                          <a:gd name="connsiteX5" fmla="*/ 3050 w 5047"/>
                          <a:gd name="connsiteY5" fmla="*/ 4187 h 5442"/>
                          <a:gd name="connsiteX6" fmla="*/ 2392 w 5047"/>
                          <a:gd name="connsiteY6" fmla="*/ 4486 h 5442"/>
                          <a:gd name="connsiteX7" fmla="*/ 1794 w 5047"/>
                          <a:gd name="connsiteY7" fmla="*/ 4545 h 5442"/>
                          <a:gd name="connsiteX8" fmla="*/ 1256 w 5047"/>
                          <a:gd name="connsiteY8" fmla="*/ 4366 h 5442"/>
                          <a:gd name="connsiteX9" fmla="*/ 1196 w 5047"/>
                          <a:gd name="connsiteY9" fmla="*/ 4306 h 5442"/>
                          <a:gd name="connsiteX10" fmla="*/ 837 w 5047"/>
                          <a:gd name="connsiteY10" fmla="*/ 3828 h 5442"/>
                          <a:gd name="connsiteX11" fmla="*/ 778 w 5047"/>
                          <a:gd name="connsiteY11" fmla="*/ 3170 h 5442"/>
                          <a:gd name="connsiteX12" fmla="*/ 957 w 5047"/>
                          <a:gd name="connsiteY12" fmla="*/ 2452 h 5442"/>
                          <a:gd name="connsiteX13" fmla="*/ 1375 w 5047"/>
                          <a:gd name="connsiteY13" fmla="*/ 1795 h 5442"/>
                          <a:gd name="connsiteX14" fmla="*/ 1974 w 5047"/>
                          <a:gd name="connsiteY14" fmla="*/ 1256 h 5442"/>
                          <a:gd name="connsiteX15" fmla="*/ 2632 w 5047"/>
                          <a:gd name="connsiteY15" fmla="*/ 957 h 5442"/>
                          <a:gd name="connsiteX16" fmla="*/ 3229 w 5047"/>
                          <a:gd name="connsiteY16" fmla="*/ 897 h 5442"/>
                          <a:gd name="connsiteX17" fmla="*/ 3768 w 5047"/>
                          <a:gd name="connsiteY17" fmla="*/ 1077 h 5442"/>
                          <a:gd name="connsiteX18" fmla="*/ 3888 w 5047"/>
                          <a:gd name="connsiteY18" fmla="*/ 1136 h 5442"/>
                          <a:gd name="connsiteX19" fmla="*/ 658 w 5047"/>
                          <a:gd name="connsiteY19" fmla="*/ 5144 h 5442"/>
                          <a:gd name="connsiteX20" fmla="*/ 1435 w 5047"/>
                          <a:gd name="connsiteY20" fmla="*/ 5443 h 5442"/>
                          <a:gd name="connsiteX21" fmla="*/ 2333 w 5047"/>
                          <a:gd name="connsiteY21" fmla="*/ 5323 h 5442"/>
                          <a:gd name="connsiteX22" fmla="*/ 3229 w 5047"/>
                          <a:gd name="connsiteY22" fmla="*/ 4904 h 5442"/>
                          <a:gd name="connsiteX23" fmla="*/ 4067 w 5047"/>
                          <a:gd name="connsiteY23" fmla="*/ 4127 h 5442"/>
                          <a:gd name="connsiteX24" fmla="*/ 4725 w 5047"/>
                          <a:gd name="connsiteY24" fmla="*/ 3110 h 5442"/>
                          <a:gd name="connsiteX25" fmla="*/ 5024 w 5047"/>
                          <a:gd name="connsiteY25" fmla="*/ 2093 h 5442"/>
                          <a:gd name="connsiteX26" fmla="*/ 4904 w 5047"/>
                          <a:gd name="connsiteY26" fmla="*/ 1136 h 5442"/>
                          <a:gd name="connsiteX27" fmla="*/ 4426 w 5047"/>
                          <a:gd name="connsiteY27" fmla="*/ 419 h 5442"/>
                          <a:gd name="connsiteX28" fmla="*/ 4366 w 5047"/>
                          <a:gd name="connsiteY28" fmla="*/ 299 h 5442"/>
                          <a:gd name="connsiteX29" fmla="*/ 4007 w 5047"/>
                          <a:gd name="connsiteY29" fmla="*/ 120 h 5442"/>
                          <a:gd name="connsiteX30" fmla="*/ 3648 w 5047"/>
                          <a:gd name="connsiteY30" fmla="*/ 0 h 5442"/>
                          <a:gd name="connsiteX31" fmla="*/ 3229 w 5047"/>
                          <a:gd name="connsiteY31" fmla="*/ 0 h 5442"/>
                          <a:gd name="connsiteX32" fmla="*/ 2811 w 5047"/>
                          <a:gd name="connsiteY32" fmla="*/ 60 h 5442"/>
                          <a:gd name="connsiteX33" fmla="*/ 2333 w 5047"/>
                          <a:gd name="connsiteY33" fmla="*/ 239 h 5442"/>
                          <a:gd name="connsiteX34" fmla="*/ 1854 w 5047"/>
                          <a:gd name="connsiteY34" fmla="*/ 479 h 5442"/>
                          <a:gd name="connsiteX35" fmla="*/ 1375 w 5047"/>
                          <a:gd name="connsiteY35" fmla="*/ 837 h 5442"/>
                          <a:gd name="connsiteX36" fmla="*/ 897 w 5047"/>
                          <a:gd name="connsiteY36" fmla="*/ 1316 h 5442"/>
                          <a:gd name="connsiteX37" fmla="*/ 538 w 5047"/>
                          <a:gd name="connsiteY37" fmla="*/ 1854 h 5442"/>
                          <a:gd name="connsiteX38" fmla="*/ 239 w 5047"/>
                          <a:gd name="connsiteY38" fmla="*/ 2392 h 5442"/>
                          <a:gd name="connsiteX39" fmla="*/ 60 w 5047"/>
                          <a:gd name="connsiteY39" fmla="*/ 2931 h 5442"/>
                          <a:gd name="connsiteX40" fmla="*/ 0 w 5047"/>
                          <a:gd name="connsiteY40" fmla="*/ 3469 h 5442"/>
                          <a:gd name="connsiteX41" fmla="*/ 0 w 5047"/>
                          <a:gd name="connsiteY41" fmla="*/ 3947 h 5442"/>
                          <a:gd name="connsiteX42" fmla="*/ 120 w 5047"/>
                          <a:gd name="connsiteY42" fmla="*/ 4366 h 5442"/>
                          <a:gd name="connsiteX43" fmla="*/ 299 w 5047"/>
                          <a:gd name="connsiteY43" fmla="*/ 4725 h 5442"/>
                          <a:gd name="connsiteX44" fmla="*/ 598 w 5047"/>
                          <a:gd name="connsiteY44" fmla="*/ 5024 h 5442"/>
                          <a:gd name="connsiteX45" fmla="*/ 658 w 5047"/>
                          <a:gd name="connsiteY45" fmla="*/ 5084 h 5442"/>
                          <a:gd name="connsiteX46" fmla="*/ 718 w 5047"/>
                          <a:gd name="connsiteY46" fmla="*/ 5144 h 5442"/>
                          <a:gd name="connsiteX47" fmla="*/ 658 w 5047"/>
                          <a:gd name="connsiteY47" fmla="*/ 5144 h 5442"/>
                          <a:gd name="connsiteX48" fmla="*/ 658 w 5047"/>
                          <a:gd name="connsiteY48" fmla="*/ 5144 h 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47" h="5442">
                            <a:moveTo>
                              <a:pt x="3888" y="1136"/>
                            </a:moveTo>
                            <a:cubicBezTo>
                              <a:pt x="4007" y="1256"/>
                              <a:pt x="4127" y="1436"/>
                              <a:pt x="4187" y="1615"/>
                            </a:cubicBezTo>
                            <a:cubicBezTo>
                              <a:pt x="4246" y="1795"/>
                              <a:pt x="4246" y="2034"/>
                              <a:pt x="4246" y="2273"/>
                            </a:cubicBezTo>
                            <a:cubicBezTo>
                              <a:pt x="4246" y="2512"/>
                              <a:pt x="4187" y="2751"/>
                              <a:pt x="4067" y="2990"/>
                            </a:cubicBezTo>
                            <a:cubicBezTo>
                              <a:pt x="3947" y="3230"/>
                              <a:pt x="3828" y="3469"/>
                              <a:pt x="3648" y="3649"/>
                            </a:cubicBezTo>
                            <a:cubicBezTo>
                              <a:pt x="3469" y="3888"/>
                              <a:pt x="3289" y="4007"/>
                              <a:pt x="3050" y="4187"/>
                            </a:cubicBezTo>
                            <a:cubicBezTo>
                              <a:pt x="2811" y="4306"/>
                              <a:pt x="2632" y="4426"/>
                              <a:pt x="2392" y="4486"/>
                            </a:cubicBezTo>
                            <a:cubicBezTo>
                              <a:pt x="2153" y="4545"/>
                              <a:pt x="1974" y="4545"/>
                              <a:pt x="1794" y="4545"/>
                            </a:cubicBezTo>
                            <a:cubicBezTo>
                              <a:pt x="1615" y="4545"/>
                              <a:pt x="1435" y="4486"/>
                              <a:pt x="1256" y="4366"/>
                            </a:cubicBezTo>
                            <a:lnTo>
                              <a:pt x="1196" y="4306"/>
                            </a:lnTo>
                            <a:cubicBezTo>
                              <a:pt x="1017" y="4187"/>
                              <a:pt x="957" y="4007"/>
                              <a:pt x="837" y="3828"/>
                            </a:cubicBezTo>
                            <a:cubicBezTo>
                              <a:pt x="778" y="3649"/>
                              <a:pt x="778" y="3409"/>
                              <a:pt x="778" y="3170"/>
                            </a:cubicBezTo>
                            <a:cubicBezTo>
                              <a:pt x="778" y="2931"/>
                              <a:pt x="837" y="2691"/>
                              <a:pt x="957" y="2452"/>
                            </a:cubicBezTo>
                            <a:cubicBezTo>
                              <a:pt x="1076" y="2213"/>
                              <a:pt x="1196" y="1974"/>
                              <a:pt x="1375" y="1795"/>
                            </a:cubicBezTo>
                            <a:cubicBezTo>
                              <a:pt x="1555" y="1555"/>
                              <a:pt x="1734" y="1436"/>
                              <a:pt x="1974" y="1256"/>
                            </a:cubicBezTo>
                            <a:cubicBezTo>
                              <a:pt x="2153" y="1136"/>
                              <a:pt x="2392" y="1017"/>
                              <a:pt x="2632" y="957"/>
                            </a:cubicBezTo>
                            <a:cubicBezTo>
                              <a:pt x="2871" y="897"/>
                              <a:pt x="3050" y="897"/>
                              <a:pt x="3229" y="897"/>
                            </a:cubicBezTo>
                            <a:cubicBezTo>
                              <a:pt x="3409" y="897"/>
                              <a:pt x="3588" y="957"/>
                              <a:pt x="3768" y="1077"/>
                            </a:cubicBezTo>
                            <a:lnTo>
                              <a:pt x="3888" y="1136"/>
                            </a:lnTo>
                            <a:moveTo>
                              <a:pt x="658" y="5144"/>
                            </a:moveTo>
                            <a:cubicBezTo>
                              <a:pt x="897" y="5323"/>
                              <a:pt x="1136" y="5383"/>
                              <a:pt x="1435" y="5443"/>
                            </a:cubicBezTo>
                            <a:cubicBezTo>
                              <a:pt x="1734" y="5443"/>
                              <a:pt x="2033" y="5443"/>
                              <a:pt x="2333" y="5323"/>
                            </a:cubicBezTo>
                            <a:cubicBezTo>
                              <a:pt x="2632" y="5204"/>
                              <a:pt x="2930" y="5084"/>
                              <a:pt x="3229" y="4904"/>
                            </a:cubicBezTo>
                            <a:cubicBezTo>
                              <a:pt x="3528" y="4725"/>
                              <a:pt x="3828" y="4426"/>
                              <a:pt x="4067" y="4127"/>
                            </a:cubicBezTo>
                            <a:cubicBezTo>
                              <a:pt x="4366" y="3828"/>
                              <a:pt x="4545" y="3469"/>
                              <a:pt x="4725" y="3110"/>
                            </a:cubicBezTo>
                            <a:cubicBezTo>
                              <a:pt x="4904" y="2751"/>
                              <a:pt x="4964" y="2392"/>
                              <a:pt x="5024" y="2093"/>
                            </a:cubicBezTo>
                            <a:cubicBezTo>
                              <a:pt x="5083" y="1735"/>
                              <a:pt x="5024" y="1436"/>
                              <a:pt x="4904" y="1136"/>
                            </a:cubicBezTo>
                            <a:cubicBezTo>
                              <a:pt x="4785" y="837"/>
                              <a:pt x="4665" y="598"/>
                              <a:pt x="4426" y="419"/>
                            </a:cubicBezTo>
                            <a:lnTo>
                              <a:pt x="4366" y="299"/>
                            </a:lnTo>
                            <a:cubicBezTo>
                              <a:pt x="4246" y="239"/>
                              <a:pt x="4127" y="180"/>
                              <a:pt x="4007" y="120"/>
                            </a:cubicBezTo>
                            <a:cubicBezTo>
                              <a:pt x="3888" y="60"/>
                              <a:pt x="3768" y="60"/>
                              <a:pt x="3648" y="0"/>
                            </a:cubicBezTo>
                            <a:cubicBezTo>
                              <a:pt x="3528" y="0"/>
                              <a:pt x="3349" y="0"/>
                              <a:pt x="3229" y="0"/>
                            </a:cubicBezTo>
                            <a:cubicBezTo>
                              <a:pt x="3110" y="0"/>
                              <a:pt x="2930" y="0"/>
                              <a:pt x="2811" y="60"/>
                            </a:cubicBezTo>
                            <a:cubicBezTo>
                              <a:pt x="2632" y="120"/>
                              <a:pt x="2452" y="180"/>
                              <a:pt x="2333" y="239"/>
                            </a:cubicBezTo>
                            <a:cubicBezTo>
                              <a:pt x="2153" y="299"/>
                              <a:pt x="1974" y="419"/>
                              <a:pt x="1854" y="479"/>
                            </a:cubicBezTo>
                            <a:cubicBezTo>
                              <a:pt x="1674" y="598"/>
                              <a:pt x="1555" y="718"/>
                              <a:pt x="1375" y="837"/>
                            </a:cubicBezTo>
                            <a:cubicBezTo>
                              <a:pt x="1196" y="957"/>
                              <a:pt x="1076" y="1136"/>
                              <a:pt x="897" y="1316"/>
                            </a:cubicBezTo>
                            <a:cubicBezTo>
                              <a:pt x="778" y="1495"/>
                              <a:pt x="658" y="1675"/>
                              <a:pt x="538" y="1854"/>
                            </a:cubicBezTo>
                            <a:cubicBezTo>
                              <a:pt x="419" y="2034"/>
                              <a:pt x="359" y="2213"/>
                              <a:pt x="239" y="2392"/>
                            </a:cubicBezTo>
                            <a:cubicBezTo>
                              <a:pt x="179" y="2572"/>
                              <a:pt x="120" y="2751"/>
                              <a:pt x="60" y="2931"/>
                            </a:cubicBezTo>
                            <a:cubicBezTo>
                              <a:pt x="0" y="3110"/>
                              <a:pt x="0" y="3290"/>
                              <a:pt x="0" y="3469"/>
                            </a:cubicBezTo>
                            <a:cubicBezTo>
                              <a:pt x="0" y="3649"/>
                              <a:pt x="0" y="3768"/>
                              <a:pt x="0" y="3947"/>
                            </a:cubicBezTo>
                            <a:cubicBezTo>
                              <a:pt x="0" y="4067"/>
                              <a:pt x="60" y="4246"/>
                              <a:pt x="120" y="4366"/>
                            </a:cubicBezTo>
                            <a:cubicBezTo>
                              <a:pt x="179" y="4486"/>
                              <a:pt x="239" y="4605"/>
                              <a:pt x="299" y="4725"/>
                            </a:cubicBezTo>
                            <a:cubicBezTo>
                              <a:pt x="359" y="4845"/>
                              <a:pt x="479" y="4964"/>
                              <a:pt x="598" y="5024"/>
                            </a:cubicBezTo>
                            <a:cubicBezTo>
                              <a:pt x="598" y="5024"/>
                              <a:pt x="598" y="5024"/>
                              <a:pt x="658" y="5084"/>
                            </a:cubicBezTo>
                            <a:cubicBezTo>
                              <a:pt x="658" y="5084"/>
                              <a:pt x="658" y="5084"/>
                              <a:pt x="718" y="5144"/>
                            </a:cubicBezTo>
                            <a:cubicBezTo>
                              <a:pt x="598" y="5084"/>
                              <a:pt x="598" y="5084"/>
                              <a:pt x="658" y="5144"/>
                            </a:cubicBezTo>
                            <a:cubicBezTo>
                              <a:pt x="658" y="5084"/>
                              <a:pt x="658" y="5144"/>
                              <a:pt x="658" y="5144"/>
                            </a:cubicBezTo>
                          </a:path>
                        </a:pathLst>
                      </a:custGeom>
                      <a:noFill/>
                      <a:ln w="6350" cap="flat">
                        <a:solidFill>
                          <a:schemeClr val="bg1">
                            <a:alpha val="40000"/>
                          </a:schemeClr>
                        </a:solidFill>
                        <a:prstDash val="solid"/>
                        <a:miter/>
                      </a:ln>
                    </p:spPr>
                    <p:txBody>
                      <a:bodyPr rtlCol="0" anchor="ctr"/>
                      <a:lstStyle/>
                      <a:p>
                        <a:endParaRPr lang="en-GB"/>
                      </a:p>
                    </p:txBody>
                  </p:sp>
                  <p:sp>
                    <p:nvSpPr>
                      <p:cNvPr id="7462" name="Vrije vorm: vorm 7461">
                        <a:extLst>
                          <a:ext uri="{FF2B5EF4-FFF2-40B4-BE49-F238E27FC236}">
                            <a16:creationId xmlns:a16="http://schemas.microsoft.com/office/drawing/2014/main" id="{6A9DAAC9-5CDA-45F4-BAA1-A27DF5830395}"/>
                          </a:ext>
                        </a:extLst>
                      </p:cNvPr>
                      <p:cNvSpPr/>
                      <p:nvPr/>
                    </p:nvSpPr>
                    <p:spPr>
                      <a:xfrm>
                        <a:off x="5318197" y="5403383"/>
                        <a:ext cx="5023" cy="5263"/>
                      </a:xfrm>
                      <a:custGeom>
                        <a:avLst/>
                        <a:gdLst>
                          <a:gd name="connsiteX0" fmla="*/ 1615 w 5023"/>
                          <a:gd name="connsiteY0" fmla="*/ 4366 h 5263"/>
                          <a:gd name="connsiteX1" fmla="*/ 1555 w 5023"/>
                          <a:gd name="connsiteY1" fmla="*/ 4366 h 5263"/>
                          <a:gd name="connsiteX2" fmla="*/ 1495 w 5023"/>
                          <a:gd name="connsiteY2" fmla="*/ 4306 h 5263"/>
                          <a:gd name="connsiteX3" fmla="*/ 1435 w 5023"/>
                          <a:gd name="connsiteY3" fmla="*/ 4246 h 5263"/>
                          <a:gd name="connsiteX4" fmla="*/ 1375 w 5023"/>
                          <a:gd name="connsiteY4" fmla="*/ 4187 h 5263"/>
                          <a:gd name="connsiteX5" fmla="*/ 1316 w 5023"/>
                          <a:gd name="connsiteY5" fmla="*/ 4127 h 5263"/>
                          <a:gd name="connsiteX6" fmla="*/ 1136 w 5023"/>
                          <a:gd name="connsiteY6" fmla="*/ 3947 h 5263"/>
                          <a:gd name="connsiteX7" fmla="*/ 1017 w 5023"/>
                          <a:gd name="connsiteY7" fmla="*/ 3708 h 5263"/>
                          <a:gd name="connsiteX8" fmla="*/ 957 w 5023"/>
                          <a:gd name="connsiteY8" fmla="*/ 3409 h 5263"/>
                          <a:gd name="connsiteX9" fmla="*/ 957 w 5023"/>
                          <a:gd name="connsiteY9" fmla="*/ 3050 h 5263"/>
                          <a:gd name="connsiteX10" fmla="*/ 1017 w 5023"/>
                          <a:gd name="connsiteY10" fmla="*/ 2691 h 5263"/>
                          <a:gd name="connsiteX11" fmla="*/ 1136 w 5023"/>
                          <a:gd name="connsiteY11" fmla="*/ 2333 h 5263"/>
                          <a:gd name="connsiteX12" fmla="*/ 1316 w 5023"/>
                          <a:gd name="connsiteY12" fmla="*/ 1974 h 5263"/>
                          <a:gd name="connsiteX13" fmla="*/ 1555 w 5023"/>
                          <a:gd name="connsiteY13" fmla="*/ 1674 h 5263"/>
                          <a:gd name="connsiteX14" fmla="*/ 1854 w 5023"/>
                          <a:gd name="connsiteY14" fmla="*/ 1375 h 5263"/>
                          <a:gd name="connsiteX15" fmla="*/ 2153 w 5023"/>
                          <a:gd name="connsiteY15" fmla="*/ 1136 h 5263"/>
                          <a:gd name="connsiteX16" fmla="*/ 2512 w 5023"/>
                          <a:gd name="connsiteY16" fmla="*/ 957 h 5263"/>
                          <a:gd name="connsiteX17" fmla="*/ 2871 w 5023"/>
                          <a:gd name="connsiteY17" fmla="*/ 837 h 5263"/>
                          <a:gd name="connsiteX18" fmla="*/ 3170 w 5023"/>
                          <a:gd name="connsiteY18" fmla="*/ 778 h 5263"/>
                          <a:gd name="connsiteX19" fmla="*/ 3469 w 5023"/>
                          <a:gd name="connsiteY19" fmla="*/ 778 h 5263"/>
                          <a:gd name="connsiteX20" fmla="*/ 3768 w 5023"/>
                          <a:gd name="connsiteY20" fmla="*/ 837 h 5263"/>
                          <a:gd name="connsiteX21" fmla="*/ 4007 w 5023"/>
                          <a:gd name="connsiteY21" fmla="*/ 1017 h 5263"/>
                          <a:gd name="connsiteX22" fmla="*/ 4067 w 5023"/>
                          <a:gd name="connsiteY22" fmla="*/ 1076 h 5263"/>
                          <a:gd name="connsiteX23" fmla="*/ 4127 w 5023"/>
                          <a:gd name="connsiteY23" fmla="*/ 1136 h 5263"/>
                          <a:gd name="connsiteX24" fmla="*/ 4186 w 5023"/>
                          <a:gd name="connsiteY24" fmla="*/ 1256 h 5263"/>
                          <a:gd name="connsiteX25" fmla="*/ 4246 w 5023"/>
                          <a:gd name="connsiteY25" fmla="*/ 1375 h 5263"/>
                          <a:gd name="connsiteX26" fmla="*/ 4306 w 5023"/>
                          <a:gd name="connsiteY26" fmla="*/ 1555 h 5263"/>
                          <a:gd name="connsiteX27" fmla="*/ 4366 w 5023"/>
                          <a:gd name="connsiteY27" fmla="*/ 1734 h 5263"/>
                          <a:gd name="connsiteX28" fmla="*/ 4366 w 5023"/>
                          <a:gd name="connsiteY28" fmla="*/ 1914 h 5263"/>
                          <a:gd name="connsiteX29" fmla="*/ 4366 w 5023"/>
                          <a:gd name="connsiteY29" fmla="*/ 2153 h 5263"/>
                          <a:gd name="connsiteX30" fmla="*/ 4366 w 5023"/>
                          <a:gd name="connsiteY30" fmla="*/ 2213 h 5263"/>
                          <a:gd name="connsiteX31" fmla="*/ 4366 w 5023"/>
                          <a:gd name="connsiteY31" fmla="*/ 2273 h 5263"/>
                          <a:gd name="connsiteX32" fmla="*/ 4366 w 5023"/>
                          <a:gd name="connsiteY32" fmla="*/ 2333 h 5263"/>
                          <a:gd name="connsiteX33" fmla="*/ 4366 w 5023"/>
                          <a:gd name="connsiteY33" fmla="*/ 2392 h 5263"/>
                          <a:gd name="connsiteX34" fmla="*/ 4306 w 5023"/>
                          <a:gd name="connsiteY34" fmla="*/ 2691 h 5263"/>
                          <a:gd name="connsiteX35" fmla="*/ 4186 w 5023"/>
                          <a:gd name="connsiteY35" fmla="*/ 2990 h 5263"/>
                          <a:gd name="connsiteX36" fmla="*/ 4007 w 5023"/>
                          <a:gd name="connsiteY36" fmla="*/ 3289 h 5263"/>
                          <a:gd name="connsiteX37" fmla="*/ 3768 w 5023"/>
                          <a:gd name="connsiteY37" fmla="*/ 3588 h 5263"/>
                          <a:gd name="connsiteX38" fmla="*/ 3528 w 5023"/>
                          <a:gd name="connsiteY38" fmla="*/ 3828 h 5263"/>
                          <a:gd name="connsiteX39" fmla="*/ 3289 w 5023"/>
                          <a:gd name="connsiteY39" fmla="*/ 4067 h 5263"/>
                          <a:gd name="connsiteX40" fmla="*/ 2990 w 5023"/>
                          <a:gd name="connsiteY40" fmla="*/ 4246 h 5263"/>
                          <a:gd name="connsiteX41" fmla="*/ 2691 w 5023"/>
                          <a:gd name="connsiteY41" fmla="*/ 4366 h 5263"/>
                          <a:gd name="connsiteX42" fmla="*/ 2632 w 5023"/>
                          <a:gd name="connsiteY42" fmla="*/ 4366 h 5263"/>
                          <a:gd name="connsiteX43" fmla="*/ 2572 w 5023"/>
                          <a:gd name="connsiteY43" fmla="*/ 4366 h 5263"/>
                          <a:gd name="connsiteX44" fmla="*/ 2512 w 5023"/>
                          <a:gd name="connsiteY44" fmla="*/ 4366 h 5263"/>
                          <a:gd name="connsiteX45" fmla="*/ 2452 w 5023"/>
                          <a:gd name="connsiteY45" fmla="*/ 4366 h 5263"/>
                          <a:gd name="connsiteX46" fmla="*/ 2213 w 5023"/>
                          <a:gd name="connsiteY46" fmla="*/ 4426 h 5263"/>
                          <a:gd name="connsiteX47" fmla="*/ 2033 w 5023"/>
                          <a:gd name="connsiteY47" fmla="*/ 4426 h 5263"/>
                          <a:gd name="connsiteX48" fmla="*/ 1854 w 5023"/>
                          <a:gd name="connsiteY48" fmla="*/ 4426 h 5263"/>
                          <a:gd name="connsiteX49" fmla="*/ 1615 w 5023"/>
                          <a:gd name="connsiteY49" fmla="*/ 4366 h 5263"/>
                          <a:gd name="connsiteX50" fmla="*/ 718 w 5023"/>
                          <a:gd name="connsiteY50" fmla="*/ 5024 h 5263"/>
                          <a:gd name="connsiteX51" fmla="*/ 718 w 5023"/>
                          <a:gd name="connsiteY51" fmla="*/ 5024 h 5263"/>
                          <a:gd name="connsiteX52" fmla="*/ 837 w 5023"/>
                          <a:gd name="connsiteY52" fmla="*/ 5083 h 5263"/>
                          <a:gd name="connsiteX53" fmla="*/ 897 w 5023"/>
                          <a:gd name="connsiteY53" fmla="*/ 5143 h 5263"/>
                          <a:gd name="connsiteX54" fmla="*/ 957 w 5023"/>
                          <a:gd name="connsiteY54" fmla="*/ 5143 h 5263"/>
                          <a:gd name="connsiteX55" fmla="*/ 1136 w 5023"/>
                          <a:gd name="connsiteY55" fmla="*/ 5203 h 5263"/>
                          <a:gd name="connsiteX56" fmla="*/ 1316 w 5023"/>
                          <a:gd name="connsiteY56" fmla="*/ 5263 h 5263"/>
                          <a:gd name="connsiteX57" fmla="*/ 1495 w 5023"/>
                          <a:gd name="connsiteY57" fmla="*/ 5263 h 5263"/>
                          <a:gd name="connsiteX58" fmla="*/ 1734 w 5023"/>
                          <a:gd name="connsiteY58" fmla="*/ 5263 h 5263"/>
                          <a:gd name="connsiteX59" fmla="*/ 1854 w 5023"/>
                          <a:gd name="connsiteY59" fmla="*/ 5263 h 5263"/>
                          <a:gd name="connsiteX60" fmla="*/ 1973 w 5023"/>
                          <a:gd name="connsiteY60" fmla="*/ 5263 h 5263"/>
                          <a:gd name="connsiteX61" fmla="*/ 2093 w 5023"/>
                          <a:gd name="connsiteY61" fmla="*/ 5263 h 5263"/>
                          <a:gd name="connsiteX62" fmla="*/ 2213 w 5023"/>
                          <a:gd name="connsiteY62" fmla="*/ 5203 h 5263"/>
                          <a:gd name="connsiteX63" fmla="*/ 2691 w 5023"/>
                          <a:gd name="connsiteY63" fmla="*/ 5024 h 5263"/>
                          <a:gd name="connsiteX64" fmla="*/ 3170 w 5023"/>
                          <a:gd name="connsiteY64" fmla="*/ 4785 h 5263"/>
                          <a:gd name="connsiteX65" fmla="*/ 3648 w 5023"/>
                          <a:gd name="connsiteY65" fmla="*/ 4426 h 5263"/>
                          <a:gd name="connsiteX66" fmla="*/ 4067 w 5023"/>
                          <a:gd name="connsiteY66" fmla="*/ 4007 h 5263"/>
                          <a:gd name="connsiteX67" fmla="*/ 4426 w 5023"/>
                          <a:gd name="connsiteY67" fmla="*/ 3528 h 5263"/>
                          <a:gd name="connsiteX68" fmla="*/ 4725 w 5023"/>
                          <a:gd name="connsiteY68" fmla="*/ 2990 h 5263"/>
                          <a:gd name="connsiteX69" fmla="*/ 4904 w 5023"/>
                          <a:gd name="connsiteY69" fmla="*/ 2452 h 5263"/>
                          <a:gd name="connsiteX70" fmla="*/ 5024 w 5023"/>
                          <a:gd name="connsiteY70" fmla="*/ 1914 h 5263"/>
                          <a:gd name="connsiteX71" fmla="*/ 5024 w 5023"/>
                          <a:gd name="connsiteY71" fmla="*/ 1734 h 5263"/>
                          <a:gd name="connsiteX72" fmla="*/ 5024 w 5023"/>
                          <a:gd name="connsiteY72" fmla="*/ 1615 h 5263"/>
                          <a:gd name="connsiteX73" fmla="*/ 5024 w 5023"/>
                          <a:gd name="connsiteY73" fmla="*/ 1495 h 5263"/>
                          <a:gd name="connsiteX74" fmla="*/ 5024 w 5023"/>
                          <a:gd name="connsiteY74" fmla="*/ 1375 h 5263"/>
                          <a:gd name="connsiteX75" fmla="*/ 4964 w 5023"/>
                          <a:gd name="connsiteY75" fmla="*/ 1196 h 5263"/>
                          <a:gd name="connsiteX76" fmla="*/ 4904 w 5023"/>
                          <a:gd name="connsiteY76" fmla="*/ 1017 h 5263"/>
                          <a:gd name="connsiteX77" fmla="*/ 4844 w 5023"/>
                          <a:gd name="connsiteY77" fmla="*/ 837 h 5263"/>
                          <a:gd name="connsiteX78" fmla="*/ 4725 w 5023"/>
                          <a:gd name="connsiteY78" fmla="*/ 658 h 5263"/>
                          <a:gd name="connsiteX79" fmla="*/ 4665 w 5023"/>
                          <a:gd name="connsiteY79" fmla="*/ 598 h 5263"/>
                          <a:gd name="connsiteX80" fmla="*/ 4605 w 5023"/>
                          <a:gd name="connsiteY80" fmla="*/ 538 h 5263"/>
                          <a:gd name="connsiteX81" fmla="*/ 4545 w 5023"/>
                          <a:gd name="connsiteY81" fmla="*/ 479 h 5263"/>
                          <a:gd name="connsiteX82" fmla="*/ 4486 w 5023"/>
                          <a:gd name="connsiteY82" fmla="*/ 419 h 5263"/>
                          <a:gd name="connsiteX83" fmla="*/ 4426 w 5023"/>
                          <a:gd name="connsiteY83" fmla="*/ 299 h 5263"/>
                          <a:gd name="connsiteX84" fmla="*/ 4067 w 5023"/>
                          <a:gd name="connsiteY84" fmla="*/ 120 h 5263"/>
                          <a:gd name="connsiteX85" fmla="*/ 3648 w 5023"/>
                          <a:gd name="connsiteY85" fmla="*/ 0 h 5263"/>
                          <a:gd name="connsiteX86" fmla="*/ 3229 w 5023"/>
                          <a:gd name="connsiteY86" fmla="*/ 0 h 5263"/>
                          <a:gd name="connsiteX87" fmla="*/ 2751 w 5023"/>
                          <a:gd name="connsiteY87" fmla="*/ 60 h 5263"/>
                          <a:gd name="connsiteX88" fmla="*/ 2273 w 5023"/>
                          <a:gd name="connsiteY88" fmla="*/ 239 h 5263"/>
                          <a:gd name="connsiteX89" fmla="*/ 1794 w 5023"/>
                          <a:gd name="connsiteY89" fmla="*/ 479 h 5263"/>
                          <a:gd name="connsiteX90" fmla="*/ 1316 w 5023"/>
                          <a:gd name="connsiteY90" fmla="*/ 837 h 5263"/>
                          <a:gd name="connsiteX91" fmla="*/ 897 w 5023"/>
                          <a:gd name="connsiteY91" fmla="*/ 1256 h 5263"/>
                          <a:gd name="connsiteX92" fmla="*/ 538 w 5023"/>
                          <a:gd name="connsiteY92" fmla="*/ 1734 h 5263"/>
                          <a:gd name="connsiteX93" fmla="*/ 239 w 5023"/>
                          <a:gd name="connsiteY93" fmla="*/ 2213 h 5263"/>
                          <a:gd name="connsiteX94" fmla="*/ 60 w 5023"/>
                          <a:gd name="connsiteY94" fmla="*/ 2751 h 5263"/>
                          <a:gd name="connsiteX95" fmla="*/ 0 w 5023"/>
                          <a:gd name="connsiteY95" fmla="*/ 3289 h 5263"/>
                          <a:gd name="connsiteX96" fmla="*/ 0 w 5023"/>
                          <a:gd name="connsiteY96" fmla="*/ 3828 h 5263"/>
                          <a:gd name="connsiteX97" fmla="*/ 119 w 5023"/>
                          <a:gd name="connsiteY97" fmla="*/ 4306 h 5263"/>
                          <a:gd name="connsiteX98" fmla="*/ 299 w 5023"/>
                          <a:gd name="connsiteY98" fmla="*/ 4725 h 5263"/>
                          <a:gd name="connsiteX99" fmla="*/ 598 w 5023"/>
                          <a:gd name="connsiteY99" fmla="*/ 5024 h 5263"/>
                          <a:gd name="connsiteX100" fmla="*/ 658 w 5023"/>
                          <a:gd name="connsiteY100" fmla="*/ 5024 h 5263"/>
                          <a:gd name="connsiteX101" fmla="*/ 718 w 5023"/>
                          <a:gd name="connsiteY101" fmla="*/ 5024 h 5263"/>
                          <a:gd name="connsiteX102" fmla="*/ 718 w 5023"/>
                          <a:gd name="connsiteY102" fmla="*/ 5024 h 5263"/>
                          <a:gd name="connsiteX103" fmla="*/ 718 w 5023"/>
                          <a:gd name="connsiteY103" fmla="*/ 5024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5023" h="5263">
                            <a:moveTo>
                              <a:pt x="1615" y="4366"/>
                            </a:moveTo>
                            <a:cubicBezTo>
                              <a:pt x="1615" y="4366"/>
                              <a:pt x="1555" y="4366"/>
                              <a:pt x="1555" y="4366"/>
                            </a:cubicBezTo>
                            <a:cubicBezTo>
                              <a:pt x="1555" y="4366"/>
                              <a:pt x="1495" y="4366"/>
                              <a:pt x="1495" y="4306"/>
                            </a:cubicBezTo>
                            <a:cubicBezTo>
                              <a:pt x="1495" y="4246"/>
                              <a:pt x="1435" y="4306"/>
                              <a:pt x="1435" y="4246"/>
                            </a:cubicBezTo>
                            <a:cubicBezTo>
                              <a:pt x="1435" y="4246"/>
                              <a:pt x="1375" y="4187"/>
                              <a:pt x="1375" y="4187"/>
                            </a:cubicBezTo>
                            <a:lnTo>
                              <a:pt x="1316" y="4127"/>
                            </a:lnTo>
                            <a:cubicBezTo>
                              <a:pt x="1256" y="4067"/>
                              <a:pt x="1196" y="4007"/>
                              <a:pt x="1136" y="3947"/>
                            </a:cubicBezTo>
                            <a:cubicBezTo>
                              <a:pt x="1076" y="3887"/>
                              <a:pt x="1017" y="3768"/>
                              <a:pt x="1017" y="3708"/>
                            </a:cubicBezTo>
                            <a:cubicBezTo>
                              <a:pt x="1017" y="3648"/>
                              <a:pt x="957" y="3528"/>
                              <a:pt x="957" y="3409"/>
                            </a:cubicBezTo>
                            <a:cubicBezTo>
                              <a:pt x="957" y="3289"/>
                              <a:pt x="957" y="3170"/>
                              <a:pt x="957" y="3050"/>
                            </a:cubicBezTo>
                            <a:cubicBezTo>
                              <a:pt x="957" y="2930"/>
                              <a:pt x="1017" y="2811"/>
                              <a:pt x="1017" y="2691"/>
                            </a:cubicBezTo>
                            <a:cubicBezTo>
                              <a:pt x="1076" y="2572"/>
                              <a:pt x="1076" y="2452"/>
                              <a:pt x="1136" y="2333"/>
                            </a:cubicBezTo>
                            <a:cubicBezTo>
                              <a:pt x="1196" y="2213"/>
                              <a:pt x="1256" y="2093"/>
                              <a:pt x="1316" y="1974"/>
                            </a:cubicBezTo>
                            <a:cubicBezTo>
                              <a:pt x="1375" y="1854"/>
                              <a:pt x="1495" y="1734"/>
                              <a:pt x="1555" y="1674"/>
                            </a:cubicBezTo>
                            <a:cubicBezTo>
                              <a:pt x="1674" y="1555"/>
                              <a:pt x="1734" y="1495"/>
                              <a:pt x="1854" y="1375"/>
                            </a:cubicBezTo>
                            <a:cubicBezTo>
                              <a:pt x="1973" y="1316"/>
                              <a:pt x="2033" y="1196"/>
                              <a:pt x="2153" y="1136"/>
                            </a:cubicBezTo>
                            <a:cubicBezTo>
                              <a:pt x="2273" y="1076"/>
                              <a:pt x="2392" y="1017"/>
                              <a:pt x="2512" y="957"/>
                            </a:cubicBezTo>
                            <a:cubicBezTo>
                              <a:pt x="2632" y="897"/>
                              <a:pt x="2751" y="837"/>
                              <a:pt x="2871" y="837"/>
                            </a:cubicBezTo>
                            <a:cubicBezTo>
                              <a:pt x="2990" y="837"/>
                              <a:pt x="3110" y="778"/>
                              <a:pt x="3170" y="778"/>
                            </a:cubicBezTo>
                            <a:cubicBezTo>
                              <a:pt x="3289" y="778"/>
                              <a:pt x="3349" y="778"/>
                              <a:pt x="3469" y="778"/>
                            </a:cubicBezTo>
                            <a:cubicBezTo>
                              <a:pt x="3588" y="778"/>
                              <a:pt x="3648" y="837"/>
                              <a:pt x="3768" y="837"/>
                            </a:cubicBezTo>
                            <a:cubicBezTo>
                              <a:pt x="3827" y="897"/>
                              <a:pt x="3947" y="957"/>
                              <a:pt x="4007" y="1017"/>
                            </a:cubicBezTo>
                            <a:cubicBezTo>
                              <a:pt x="4007" y="1017"/>
                              <a:pt x="4067" y="1076"/>
                              <a:pt x="4067" y="1076"/>
                            </a:cubicBezTo>
                            <a:cubicBezTo>
                              <a:pt x="4067" y="1076"/>
                              <a:pt x="4127" y="1136"/>
                              <a:pt x="4127" y="1136"/>
                            </a:cubicBezTo>
                            <a:cubicBezTo>
                              <a:pt x="4127" y="1136"/>
                              <a:pt x="4186" y="1196"/>
                              <a:pt x="4186" y="1256"/>
                            </a:cubicBezTo>
                            <a:cubicBezTo>
                              <a:pt x="4186" y="1316"/>
                              <a:pt x="4246" y="1316"/>
                              <a:pt x="4246" y="1375"/>
                            </a:cubicBezTo>
                            <a:cubicBezTo>
                              <a:pt x="4246" y="1435"/>
                              <a:pt x="4306" y="1495"/>
                              <a:pt x="4306" y="1555"/>
                            </a:cubicBezTo>
                            <a:cubicBezTo>
                              <a:pt x="4306" y="1615"/>
                              <a:pt x="4306" y="1674"/>
                              <a:pt x="4366" y="1734"/>
                            </a:cubicBezTo>
                            <a:cubicBezTo>
                              <a:pt x="4426" y="1794"/>
                              <a:pt x="4366" y="1854"/>
                              <a:pt x="4366" y="1914"/>
                            </a:cubicBezTo>
                            <a:cubicBezTo>
                              <a:pt x="4366" y="1974"/>
                              <a:pt x="4366" y="2033"/>
                              <a:pt x="4366" y="2153"/>
                            </a:cubicBezTo>
                            <a:cubicBezTo>
                              <a:pt x="4366" y="2153"/>
                              <a:pt x="4366" y="2213"/>
                              <a:pt x="4366" y="2213"/>
                            </a:cubicBezTo>
                            <a:cubicBezTo>
                              <a:pt x="4366" y="2213"/>
                              <a:pt x="4366" y="2273"/>
                              <a:pt x="4366" y="2273"/>
                            </a:cubicBezTo>
                            <a:cubicBezTo>
                              <a:pt x="4366" y="2273"/>
                              <a:pt x="4366" y="2333"/>
                              <a:pt x="4366" y="2333"/>
                            </a:cubicBezTo>
                            <a:cubicBezTo>
                              <a:pt x="4366" y="2333"/>
                              <a:pt x="4366" y="2392"/>
                              <a:pt x="4366" y="2392"/>
                            </a:cubicBezTo>
                            <a:cubicBezTo>
                              <a:pt x="4366" y="2512"/>
                              <a:pt x="4306" y="2572"/>
                              <a:pt x="4306" y="2691"/>
                            </a:cubicBezTo>
                            <a:cubicBezTo>
                              <a:pt x="4306" y="2811"/>
                              <a:pt x="4246" y="2871"/>
                              <a:pt x="4186" y="2990"/>
                            </a:cubicBezTo>
                            <a:cubicBezTo>
                              <a:pt x="4127" y="3110"/>
                              <a:pt x="4067" y="3170"/>
                              <a:pt x="4007" y="3289"/>
                            </a:cubicBezTo>
                            <a:cubicBezTo>
                              <a:pt x="3947" y="3409"/>
                              <a:pt x="3887" y="3469"/>
                              <a:pt x="3768" y="3588"/>
                            </a:cubicBezTo>
                            <a:cubicBezTo>
                              <a:pt x="3708" y="3708"/>
                              <a:pt x="3588" y="3768"/>
                              <a:pt x="3528" y="3828"/>
                            </a:cubicBezTo>
                            <a:cubicBezTo>
                              <a:pt x="3469" y="3887"/>
                              <a:pt x="3349" y="4007"/>
                              <a:pt x="3289" y="4067"/>
                            </a:cubicBezTo>
                            <a:cubicBezTo>
                              <a:pt x="3170" y="4127"/>
                              <a:pt x="3110" y="4187"/>
                              <a:pt x="2990" y="4246"/>
                            </a:cubicBezTo>
                            <a:cubicBezTo>
                              <a:pt x="2871" y="4306"/>
                              <a:pt x="2811" y="4366"/>
                              <a:pt x="2691" y="4366"/>
                            </a:cubicBezTo>
                            <a:cubicBezTo>
                              <a:pt x="2691" y="4366"/>
                              <a:pt x="2691" y="4366"/>
                              <a:pt x="2632" y="4366"/>
                            </a:cubicBezTo>
                            <a:cubicBezTo>
                              <a:pt x="2572" y="4366"/>
                              <a:pt x="2632" y="4366"/>
                              <a:pt x="2572" y="4366"/>
                            </a:cubicBezTo>
                            <a:cubicBezTo>
                              <a:pt x="2572" y="4366"/>
                              <a:pt x="2572" y="4366"/>
                              <a:pt x="2512" y="4366"/>
                            </a:cubicBezTo>
                            <a:cubicBezTo>
                              <a:pt x="2452" y="4366"/>
                              <a:pt x="2512" y="4366"/>
                              <a:pt x="2452" y="4366"/>
                            </a:cubicBezTo>
                            <a:cubicBezTo>
                              <a:pt x="2392" y="4366"/>
                              <a:pt x="2332" y="4366"/>
                              <a:pt x="2213" y="4426"/>
                            </a:cubicBezTo>
                            <a:cubicBezTo>
                              <a:pt x="2153" y="4426"/>
                              <a:pt x="2093" y="4426"/>
                              <a:pt x="2033" y="4426"/>
                            </a:cubicBezTo>
                            <a:cubicBezTo>
                              <a:pt x="1973" y="4426"/>
                              <a:pt x="1914" y="4426"/>
                              <a:pt x="1854" y="4426"/>
                            </a:cubicBezTo>
                            <a:cubicBezTo>
                              <a:pt x="1734" y="4366"/>
                              <a:pt x="1674" y="4366"/>
                              <a:pt x="1615" y="4366"/>
                            </a:cubicBezTo>
                            <a:moveTo>
                              <a:pt x="718" y="5024"/>
                            </a:moveTo>
                            <a:cubicBezTo>
                              <a:pt x="718" y="5024"/>
                              <a:pt x="718" y="5024"/>
                              <a:pt x="718" y="5024"/>
                            </a:cubicBezTo>
                            <a:cubicBezTo>
                              <a:pt x="778" y="5083"/>
                              <a:pt x="778" y="5083"/>
                              <a:pt x="837" y="5083"/>
                            </a:cubicBezTo>
                            <a:cubicBezTo>
                              <a:pt x="837" y="5083"/>
                              <a:pt x="897" y="5083"/>
                              <a:pt x="897" y="5143"/>
                            </a:cubicBezTo>
                            <a:cubicBezTo>
                              <a:pt x="897" y="5143"/>
                              <a:pt x="957" y="5143"/>
                              <a:pt x="957" y="5143"/>
                            </a:cubicBezTo>
                            <a:cubicBezTo>
                              <a:pt x="1017" y="5143"/>
                              <a:pt x="1076" y="5203"/>
                              <a:pt x="1136" y="5203"/>
                            </a:cubicBezTo>
                            <a:cubicBezTo>
                              <a:pt x="1196" y="5203"/>
                              <a:pt x="1256" y="5263"/>
                              <a:pt x="1316" y="5263"/>
                            </a:cubicBezTo>
                            <a:cubicBezTo>
                              <a:pt x="1375" y="5263"/>
                              <a:pt x="1435" y="5263"/>
                              <a:pt x="1495" y="5263"/>
                            </a:cubicBezTo>
                            <a:cubicBezTo>
                              <a:pt x="1555" y="5263"/>
                              <a:pt x="1615" y="5263"/>
                              <a:pt x="1734" y="5263"/>
                            </a:cubicBezTo>
                            <a:cubicBezTo>
                              <a:pt x="1794" y="5263"/>
                              <a:pt x="1854" y="5263"/>
                              <a:pt x="1854" y="5263"/>
                            </a:cubicBezTo>
                            <a:cubicBezTo>
                              <a:pt x="1914" y="5263"/>
                              <a:pt x="1973" y="5263"/>
                              <a:pt x="1973" y="5263"/>
                            </a:cubicBezTo>
                            <a:cubicBezTo>
                              <a:pt x="1973" y="5263"/>
                              <a:pt x="2093" y="5263"/>
                              <a:pt x="2093" y="5263"/>
                            </a:cubicBezTo>
                            <a:cubicBezTo>
                              <a:pt x="2153" y="5263"/>
                              <a:pt x="2213" y="5263"/>
                              <a:pt x="2213" y="5203"/>
                            </a:cubicBezTo>
                            <a:cubicBezTo>
                              <a:pt x="2392" y="5143"/>
                              <a:pt x="2572" y="5083"/>
                              <a:pt x="2691" y="5024"/>
                            </a:cubicBezTo>
                            <a:cubicBezTo>
                              <a:pt x="2811" y="4964"/>
                              <a:pt x="2990" y="4844"/>
                              <a:pt x="3170" y="4785"/>
                            </a:cubicBezTo>
                            <a:cubicBezTo>
                              <a:pt x="3349" y="4665"/>
                              <a:pt x="3469" y="4545"/>
                              <a:pt x="3648" y="4426"/>
                            </a:cubicBezTo>
                            <a:cubicBezTo>
                              <a:pt x="3827" y="4306"/>
                              <a:pt x="3947" y="4127"/>
                              <a:pt x="4067" y="4007"/>
                            </a:cubicBezTo>
                            <a:cubicBezTo>
                              <a:pt x="4186" y="3828"/>
                              <a:pt x="4306" y="3708"/>
                              <a:pt x="4426" y="3528"/>
                            </a:cubicBezTo>
                            <a:cubicBezTo>
                              <a:pt x="4545" y="3349"/>
                              <a:pt x="4605" y="3170"/>
                              <a:pt x="4725" y="2990"/>
                            </a:cubicBezTo>
                            <a:cubicBezTo>
                              <a:pt x="4785" y="2811"/>
                              <a:pt x="4844" y="2632"/>
                              <a:pt x="4904" y="2452"/>
                            </a:cubicBezTo>
                            <a:cubicBezTo>
                              <a:pt x="4964" y="2273"/>
                              <a:pt x="4964" y="2093"/>
                              <a:pt x="5024" y="1914"/>
                            </a:cubicBezTo>
                            <a:cubicBezTo>
                              <a:pt x="5024" y="1854"/>
                              <a:pt x="5024" y="1794"/>
                              <a:pt x="5024" y="1734"/>
                            </a:cubicBezTo>
                            <a:cubicBezTo>
                              <a:pt x="5024" y="1674"/>
                              <a:pt x="5024" y="1615"/>
                              <a:pt x="5024" y="1615"/>
                            </a:cubicBezTo>
                            <a:cubicBezTo>
                              <a:pt x="5024" y="1555"/>
                              <a:pt x="5024" y="1495"/>
                              <a:pt x="5024" y="1495"/>
                            </a:cubicBezTo>
                            <a:cubicBezTo>
                              <a:pt x="5024" y="1435"/>
                              <a:pt x="5024" y="1375"/>
                              <a:pt x="5024" y="1375"/>
                            </a:cubicBezTo>
                            <a:cubicBezTo>
                              <a:pt x="5024" y="1316"/>
                              <a:pt x="5024" y="1256"/>
                              <a:pt x="4964" y="1196"/>
                            </a:cubicBezTo>
                            <a:cubicBezTo>
                              <a:pt x="4964" y="1136"/>
                              <a:pt x="4904" y="1076"/>
                              <a:pt x="4904" y="1017"/>
                            </a:cubicBezTo>
                            <a:cubicBezTo>
                              <a:pt x="4904" y="957"/>
                              <a:pt x="4844" y="897"/>
                              <a:pt x="4844" y="837"/>
                            </a:cubicBezTo>
                            <a:cubicBezTo>
                              <a:pt x="4844" y="778"/>
                              <a:pt x="4785" y="718"/>
                              <a:pt x="4725" y="658"/>
                            </a:cubicBezTo>
                            <a:cubicBezTo>
                              <a:pt x="4725" y="658"/>
                              <a:pt x="4665" y="598"/>
                              <a:pt x="4665" y="598"/>
                            </a:cubicBezTo>
                            <a:cubicBezTo>
                              <a:pt x="4665" y="598"/>
                              <a:pt x="4605" y="538"/>
                              <a:pt x="4605" y="538"/>
                            </a:cubicBezTo>
                            <a:cubicBezTo>
                              <a:pt x="4605" y="538"/>
                              <a:pt x="4545" y="479"/>
                              <a:pt x="4545" y="479"/>
                            </a:cubicBezTo>
                            <a:cubicBezTo>
                              <a:pt x="4545" y="479"/>
                              <a:pt x="4486" y="419"/>
                              <a:pt x="4486" y="419"/>
                            </a:cubicBezTo>
                            <a:lnTo>
                              <a:pt x="4426" y="299"/>
                            </a:lnTo>
                            <a:cubicBezTo>
                              <a:pt x="4306" y="239"/>
                              <a:pt x="4186" y="179"/>
                              <a:pt x="4067" y="120"/>
                            </a:cubicBezTo>
                            <a:cubicBezTo>
                              <a:pt x="3947" y="60"/>
                              <a:pt x="3827" y="60"/>
                              <a:pt x="3648" y="0"/>
                            </a:cubicBezTo>
                            <a:cubicBezTo>
                              <a:pt x="3528" y="0"/>
                              <a:pt x="3349" y="0"/>
                              <a:pt x="3229" y="0"/>
                            </a:cubicBezTo>
                            <a:cubicBezTo>
                              <a:pt x="3110" y="0"/>
                              <a:pt x="2930" y="60"/>
                              <a:pt x="2751" y="60"/>
                            </a:cubicBezTo>
                            <a:cubicBezTo>
                              <a:pt x="2572" y="120"/>
                              <a:pt x="2392" y="179"/>
                              <a:pt x="2273" y="239"/>
                            </a:cubicBezTo>
                            <a:cubicBezTo>
                              <a:pt x="2093" y="299"/>
                              <a:pt x="1914" y="419"/>
                              <a:pt x="1794" y="479"/>
                            </a:cubicBezTo>
                            <a:cubicBezTo>
                              <a:pt x="1674" y="538"/>
                              <a:pt x="1495" y="718"/>
                              <a:pt x="1316" y="837"/>
                            </a:cubicBezTo>
                            <a:cubicBezTo>
                              <a:pt x="1136" y="957"/>
                              <a:pt x="1017" y="1076"/>
                              <a:pt x="897" y="1256"/>
                            </a:cubicBezTo>
                            <a:cubicBezTo>
                              <a:pt x="778" y="1435"/>
                              <a:pt x="658" y="1555"/>
                              <a:pt x="538" y="1734"/>
                            </a:cubicBezTo>
                            <a:cubicBezTo>
                              <a:pt x="419" y="1914"/>
                              <a:pt x="359" y="2093"/>
                              <a:pt x="239" y="2213"/>
                            </a:cubicBezTo>
                            <a:cubicBezTo>
                              <a:pt x="119" y="2333"/>
                              <a:pt x="119" y="2572"/>
                              <a:pt x="60" y="2751"/>
                            </a:cubicBezTo>
                            <a:cubicBezTo>
                              <a:pt x="0" y="2930"/>
                              <a:pt x="0" y="3110"/>
                              <a:pt x="0" y="3289"/>
                            </a:cubicBezTo>
                            <a:cubicBezTo>
                              <a:pt x="0" y="3469"/>
                              <a:pt x="0" y="3648"/>
                              <a:pt x="0" y="3828"/>
                            </a:cubicBezTo>
                            <a:cubicBezTo>
                              <a:pt x="0" y="4007"/>
                              <a:pt x="60" y="4127"/>
                              <a:pt x="119" y="4306"/>
                            </a:cubicBezTo>
                            <a:cubicBezTo>
                              <a:pt x="179" y="4426"/>
                              <a:pt x="239" y="4605"/>
                              <a:pt x="299" y="4725"/>
                            </a:cubicBezTo>
                            <a:cubicBezTo>
                              <a:pt x="359" y="4844"/>
                              <a:pt x="478" y="4964"/>
                              <a:pt x="598" y="5024"/>
                            </a:cubicBezTo>
                            <a:cubicBezTo>
                              <a:pt x="598" y="5024"/>
                              <a:pt x="598" y="5024"/>
                              <a:pt x="658" y="5024"/>
                            </a:cubicBezTo>
                            <a:cubicBezTo>
                              <a:pt x="658" y="5024"/>
                              <a:pt x="658" y="5024"/>
                              <a:pt x="718" y="5024"/>
                            </a:cubicBezTo>
                            <a:cubicBezTo>
                              <a:pt x="658" y="4964"/>
                              <a:pt x="658" y="4964"/>
                              <a:pt x="718" y="5024"/>
                            </a:cubicBezTo>
                            <a:cubicBezTo>
                              <a:pt x="658" y="4964"/>
                              <a:pt x="718" y="5024"/>
                              <a:pt x="718" y="5024"/>
                            </a:cubicBezTo>
                          </a:path>
                        </a:pathLst>
                      </a:custGeom>
                      <a:noFill/>
                      <a:ln w="6350" cap="flat">
                        <a:solidFill>
                          <a:schemeClr val="bg1">
                            <a:alpha val="40000"/>
                          </a:schemeClr>
                        </a:solidFill>
                        <a:prstDash val="solid"/>
                        <a:miter/>
                      </a:ln>
                    </p:spPr>
                    <p:txBody>
                      <a:bodyPr rtlCol="0" anchor="ctr"/>
                      <a:lstStyle/>
                      <a:p>
                        <a:endParaRPr lang="en-GB"/>
                      </a:p>
                    </p:txBody>
                  </p:sp>
                  <p:sp>
                    <p:nvSpPr>
                      <p:cNvPr id="7463" name="Vrije vorm: vorm 7462">
                        <a:extLst>
                          <a:ext uri="{FF2B5EF4-FFF2-40B4-BE49-F238E27FC236}">
                            <a16:creationId xmlns:a16="http://schemas.microsoft.com/office/drawing/2014/main" id="{A6E2DD08-6BC2-4483-875F-6653A2CBC14E}"/>
                          </a:ext>
                        </a:extLst>
                      </p:cNvPr>
                      <p:cNvSpPr/>
                      <p:nvPr/>
                    </p:nvSpPr>
                    <p:spPr>
                      <a:xfrm>
                        <a:off x="5315745" y="5396299"/>
                        <a:ext cx="5203" cy="5433"/>
                      </a:xfrm>
                      <a:custGeom>
                        <a:avLst/>
                        <a:gdLst>
                          <a:gd name="connsiteX0" fmla="*/ 4306 w 5203"/>
                          <a:gd name="connsiteY0" fmla="*/ 1582 h 5433"/>
                          <a:gd name="connsiteX1" fmla="*/ 4366 w 5203"/>
                          <a:gd name="connsiteY1" fmla="*/ 1761 h 5433"/>
                          <a:gd name="connsiteX2" fmla="*/ 4366 w 5203"/>
                          <a:gd name="connsiteY2" fmla="*/ 1940 h 5433"/>
                          <a:gd name="connsiteX3" fmla="*/ 4366 w 5203"/>
                          <a:gd name="connsiteY3" fmla="*/ 2120 h 5433"/>
                          <a:gd name="connsiteX4" fmla="*/ 4366 w 5203"/>
                          <a:gd name="connsiteY4" fmla="*/ 2299 h 5433"/>
                          <a:gd name="connsiteX5" fmla="*/ 4306 w 5203"/>
                          <a:gd name="connsiteY5" fmla="*/ 2658 h 5433"/>
                          <a:gd name="connsiteX6" fmla="*/ 4187 w 5203"/>
                          <a:gd name="connsiteY6" fmla="*/ 3017 h 5433"/>
                          <a:gd name="connsiteX7" fmla="*/ 4007 w 5203"/>
                          <a:gd name="connsiteY7" fmla="*/ 3376 h 5433"/>
                          <a:gd name="connsiteX8" fmla="*/ 3768 w 5203"/>
                          <a:gd name="connsiteY8" fmla="*/ 3675 h 5433"/>
                          <a:gd name="connsiteX9" fmla="*/ 3469 w 5203"/>
                          <a:gd name="connsiteY9" fmla="*/ 3974 h 5433"/>
                          <a:gd name="connsiteX10" fmla="*/ 3170 w 5203"/>
                          <a:gd name="connsiteY10" fmla="*/ 4213 h 5433"/>
                          <a:gd name="connsiteX11" fmla="*/ 2871 w 5203"/>
                          <a:gd name="connsiteY11" fmla="*/ 4392 h 5433"/>
                          <a:gd name="connsiteX12" fmla="*/ 2512 w 5203"/>
                          <a:gd name="connsiteY12" fmla="*/ 4512 h 5433"/>
                          <a:gd name="connsiteX13" fmla="*/ 2153 w 5203"/>
                          <a:gd name="connsiteY13" fmla="*/ 4572 h 5433"/>
                          <a:gd name="connsiteX14" fmla="*/ 1854 w 5203"/>
                          <a:gd name="connsiteY14" fmla="*/ 4572 h 5433"/>
                          <a:gd name="connsiteX15" fmla="*/ 1615 w 5203"/>
                          <a:gd name="connsiteY15" fmla="*/ 4512 h 5433"/>
                          <a:gd name="connsiteX16" fmla="*/ 1376 w 5203"/>
                          <a:gd name="connsiteY16" fmla="*/ 4392 h 5433"/>
                          <a:gd name="connsiteX17" fmla="*/ 1316 w 5203"/>
                          <a:gd name="connsiteY17" fmla="*/ 4273 h 5433"/>
                          <a:gd name="connsiteX18" fmla="*/ 1136 w 5203"/>
                          <a:gd name="connsiteY18" fmla="*/ 4034 h 5433"/>
                          <a:gd name="connsiteX19" fmla="*/ 1017 w 5203"/>
                          <a:gd name="connsiteY19" fmla="*/ 3794 h 5433"/>
                          <a:gd name="connsiteX20" fmla="*/ 957 w 5203"/>
                          <a:gd name="connsiteY20" fmla="*/ 3495 h 5433"/>
                          <a:gd name="connsiteX21" fmla="*/ 957 w 5203"/>
                          <a:gd name="connsiteY21" fmla="*/ 3136 h 5433"/>
                          <a:gd name="connsiteX22" fmla="*/ 1017 w 5203"/>
                          <a:gd name="connsiteY22" fmla="*/ 2778 h 5433"/>
                          <a:gd name="connsiteX23" fmla="*/ 1136 w 5203"/>
                          <a:gd name="connsiteY23" fmla="*/ 2419 h 5433"/>
                          <a:gd name="connsiteX24" fmla="*/ 1316 w 5203"/>
                          <a:gd name="connsiteY24" fmla="*/ 2060 h 5433"/>
                          <a:gd name="connsiteX25" fmla="*/ 1555 w 5203"/>
                          <a:gd name="connsiteY25" fmla="*/ 1761 h 5433"/>
                          <a:gd name="connsiteX26" fmla="*/ 1675 w 5203"/>
                          <a:gd name="connsiteY26" fmla="*/ 1582 h 5433"/>
                          <a:gd name="connsiteX27" fmla="*/ 1794 w 5203"/>
                          <a:gd name="connsiteY27" fmla="*/ 1462 h 5433"/>
                          <a:gd name="connsiteX28" fmla="*/ 1974 w 5203"/>
                          <a:gd name="connsiteY28" fmla="*/ 1342 h 5433"/>
                          <a:gd name="connsiteX29" fmla="*/ 2153 w 5203"/>
                          <a:gd name="connsiteY29" fmla="*/ 1223 h 5433"/>
                          <a:gd name="connsiteX30" fmla="*/ 2333 w 5203"/>
                          <a:gd name="connsiteY30" fmla="*/ 1103 h 5433"/>
                          <a:gd name="connsiteX31" fmla="*/ 2512 w 5203"/>
                          <a:gd name="connsiteY31" fmla="*/ 1043 h 5433"/>
                          <a:gd name="connsiteX32" fmla="*/ 2691 w 5203"/>
                          <a:gd name="connsiteY32" fmla="*/ 983 h 5433"/>
                          <a:gd name="connsiteX33" fmla="*/ 2871 w 5203"/>
                          <a:gd name="connsiteY33" fmla="*/ 923 h 5433"/>
                          <a:gd name="connsiteX34" fmla="*/ 3170 w 5203"/>
                          <a:gd name="connsiteY34" fmla="*/ 864 h 5433"/>
                          <a:gd name="connsiteX35" fmla="*/ 3469 w 5203"/>
                          <a:gd name="connsiteY35" fmla="*/ 864 h 5433"/>
                          <a:gd name="connsiteX36" fmla="*/ 3768 w 5203"/>
                          <a:gd name="connsiteY36" fmla="*/ 923 h 5433"/>
                          <a:gd name="connsiteX37" fmla="*/ 4007 w 5203"/>
                          <a:gd name="connsiteY37" fmla="*/ 1043 h 5433"/>
                          <a:gd name="connsiteX38" fmla="*/ 4127 w 5203"/>
                          <a:gd name="connsiteY38" fmla="*/ 1163 h 5433"/>
                          <a:gd name="connsiteX39" fmla="*/ 4187 w 5203"/>
                          <a:gd name="connsiteY39" fmla="*/ 1282 h 5433"/>
                          <a:gd name="connsiteX40" fmla="*/ 4246 w 5203"/>
                          <a:gd name="connsiteY40" fmla="*/ 1402 h 5433"/>
                          <a:gd name="connsiteX41" fmla="*/ 4306 w 5203"/>
                          <a:gd name="connsiteY41" fmla="*/ 1582 h 5433"/>
                          <a:gd name="connsiteX42" fmla="*/ 778 w 5203"/>
                          <a:gd name="connsiteY42" fmla="*/ 5110 h 5433"/>
                          <a:gd name="connsiteX43" fmla="*/ 1555 w 5203"/>
                          <a:gd name="connsiteY43" fmla="*/ 5409 h 5433"/>
                          <a:gd name="connsiteX44" fmla="*/ 2452 w 5203"/>
                          <a:gd name="connsiteY44" fmla="*/ 5350 h 5433"/>
                          <a:gd name="connsiteX45" fmla="*/ 3409 w 5203"/>
                          <a:gd name="connsiteY45" fmla="*/ 4931 h 5433"/>
                          <a:gd name="connsiteX46" fmla="*/ 4246 w 5203"/>
                          <a:gd name="connsiteY46" fmla="*/ 4153 h 5433"/>
                          <a:gd name="connsiteX47" fmla="*/ 4605 w 5203"/>
                          <a:gd name="connsiteY47" fmla="*/ 3675 h 5433"/>
                          <a:gd name="connsiteX48" fmla="*/ 4904 w 5203"/>
                          <a:gd name="connsiteY48" fmla="*/ 3136 h 5433"/>
                          <a:gd name="connsiteX49" fmla="*/ 5084 w 5203"/>
                          <a:gd name="connsiteY49" fmla="*/ 2598 h 5433"/>
                          <a:gd name="connsiteX50" fmla="*/ 5203 w 5203"/>
                          <a:gd name="connsiteY50" fmla="*/ 2060 h 5433"/>
                          <a:gd name="connsiteX51" fmla="*/ 5203 w 5203"/>
                          <a:gd name="connsiteY51" fmla="*/ 2000 h 5433"/>
                          <a:gd name="connsiteX52" fmla="*/ 5203 w 5203"/>
                          <a:gd name="connsiteY52" fmla="*/ 1940 h 5433"/>
                          <a:gd name="connsiteX53" fmla="*/ 5203 w 5203"/>
                          <a:gd name="connsiteY53" fmla="*/ 1881 h 5433"/>
                          <a:gd name="connsiteX54" fmla="*/ 5203 w 5203"/>
                          <a:gd name="connsiteY54" fmla="*/ 1821 h 5433"/>
                          <a:gd name="connsiteX55" fmla="*/ 5203 w 5203"/>
                          <a:gd name="connsiteY55" fmla="*/ 1582 h 5433"/>
                          <a:gd name="connsiteX56" fmla="*/ 5143 w 5203"/>
                          <a:gd name="connsiteY56" fmla="*/ 1342 h 5433"/>
                          <a:gd name="connsiteX57" fmla="*/ 5084 w 5203"/>
                          <a:gd name="connsiteY57" fmla="*/ 1103 h 5433"/>
                          <a:gd name="connsiteX58" fmla="*/ 4964 w 5203"/>
                          <a:gd name="connsiteY58" fmla="*/ 864 h 5433"/>
                          <a:gd name="connsiteX59" fmla="*/ 4904 w 5203"/>
                          <a:gd name="connsiteY59" fmla="*/ 744 h 5433"/>
                          <a:gd name="connsiteX60" fmla="*/ 4844 w 5203"/>
                          <a:gd name="connsiteY60" fmla="*/ 625 h 5433"/>
                          <a:gd name="connsiteX61" fmla="*/ 4785 w 5203"/>
                          <a:gd name="connsiteY61" fmla="*/ 505 h 5433"/>
                          <a:gd name="connsiteX62" fmla="*/ 4665 w 5203"/>
                          <a:gd name="connsiteY62" fmla="*/ 385 h 5433"/>
                          <a:gd name="connsiteX63" fmla="*/ 4545 w 5203"/>
                          <a:gd name="connsiteY63" fmla="*/ 326 h 5433"/>
                          <a:gd name="connsiteX64" fmla="*/ 4187 w 5203"/>
                          <a:gd name="connsiteY64" fmla="*/ 146 h 5433"/>
                          <a:gd name="connsiteX65" fmla="*/ 3768 w 5203"/>
                          <a:gd name="connsiteY65" fmla="*/ 27 h 5433"/>
                          <a:gd name="connsiteX66" fmla="*/ 3349 w 5203"/>
                          <a:gd name="connsiteY66" fmla="*/ 27 h 5433"/>
                          <a:gd name="connsiteX67" fmla="*/ 2871 w 5203"/>
                          <a:gd name="connsiteY67" fmla="*/ 86 h 5433"/>
                          <a:gd name="connsiteX68" fmla="*/ 2751 w 5203"/>
                          <a:gd name="connsiteY68" fmla="*/ 146 h 5433"/>
                          <a:gd name="connsiteX69" fmla="*/ 2632 w 5203"/>
                          <a:gd name="connsiteY69" fmla="*/ 206 h 5433"/>
                          <a:gd name="connsiteX70" fmla="*/ 2512 w 5203"/>
                          <a:gd name="connsiteY70" fmla="*/ 266 h 5433"/>
                          <a:gd name="connsiteX71" fmla="*/ 2392 w 5203"/>
                          <a:gd name="connsiteY71" fmla="*/ 326 h 5433"/>
                          <a:gd name="connsiteX72" fmla="*/ 2093 w 5203"/>
                          <a:gd name="connsiteY72" fmla="*/ 505 h 5433"/>
                          <a:gd name="connsiteX73" fmla="*/ 1794 w 5203"/>
                          <a:gd name="connsiteY73" fmla="*/ 684 h 5433"/>
                          <a:gd name="connsiteX74" fmla="*/ 1495 w 5203"/>
                          <a:gd name="connsiteY74" fmla="*/ 923 h 5433"/>
                          <a:gd name="connsiteX75" fmla="*/ 1196 w 5203"/>
                          <a:gd name="connsiteY75" fmla="*/ 1163 h 5433"/>
                          <a:gd name="connsiteX76" fmla="*/ 1136 w 5203"/>
                          <a:gd name="connsiteY76" fmla="*/ 1223 h 5433"/>
                          <a:gd name="connsiteX77" fmla="*/ 1076 w 5203"/>
                          <a:gd name="connsiteY77" fmla="*/ 1282 h 5433"/>
                          <a:gd name="connsiteX78" fmla="*/ 1017 w 5203"/>
                          <a:gd name="connsiteY78" fmla="*/ 1342 h 5433"/>
                          <a:gd name="connsiteX79" fmla="*/ 957 w 5203"/>
                          <a:gd name="connsiteY79" fmla="*/ 1402 h 5433"/>
                          <a:gd name="connsiteX80" fmla="*/ 598 w 5203"/>
                          <a:gd name="connsiteY80" fmla="*/ 1881 h 5433"/>
                          <a:gd name="connsiteX81" fmla="*/ 299 w 5203"/>
                          <a:gd name="connsiteY81" fmla="*/ 2419 h 5433"/>
                          <a:gd name="connsiteX82" fmla="*/ 120 w 5203"/>
                          <a:gd name="connsiteY82" fmla="*/ 2957 h 5433"/>
                          <a:gd name="connsiteX83" fmla="*/ 0 w 5203"/>
                          <a:gd name="connsiteY83" fmla="*/ 3495 h 5433"/>
                          <a:gd name="connsiteX84" fmla="*/ 0 w 5203"/>
                          <a:gd name="connsiteY84" fmla="*/ 3974 h 5433"/>
                          <a:gd name="connsiteX85" fmla="*/ 120 w 5203"/>
                          <a:gd name="connsiteY85" fmla="*/ 4452 h 5433"/>
                          <a:gd name="connsiteX86" fmla="*/ 299 w 5203"/>
                          <a:gd name="connsiteY86" fmla="*/ 4871 h 5433"/>
                          <a:gd name="connsiteX87" fmla="*/ 598 w 5203"/>
                          <a:gd name="connsiteY87" fmla="*/ 5170 h 5433"/>
                          <a:gd name="connsiteX88" fmla="*/ 598 w 5203"/>
                          <a:gd name="connsiteY88" fmla="*/ 5170 h 5433"/>
                          <a:gd name="connsiteX89" fmla="*/ 778 w 5203"/>
                          <a:gd name="connsiteY89" fmla="*/ 5110 h 5433"/>
                          <a:gd name="connsiteX90" fmla="*/ 778 w 5203"/>
                          <a:gd name="connsiteY90" fmla="*/ 5110 h 5433"/>
                          <a:gd name="connsiteX91" fmla="*/ 778 w 5203"/>
                          <a:gd name="connsiteY91" fmla="*/ 5110 h 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203" h="5433">
                            <a:moveTo>
                              <a:pt x="4306" y="1582"/>
                            </a:moveTo>
                            <a:cubicBezTo>
                              <a:pt x="4306" y="1641"/>
                              <a:pt x="4306" y="1701"/>
                              <a:pt x="4366" y="1761"/>
                            </a:cubicBezTo>
                            <a:cubicBezTo>
                              <a:pt x="4366" y="1821"/>
                              <a:pt x="4366" y="1881"/>
                              <a:pt x="4366" y="1940"/>
                            </a:cubicBezTo>
                            <a:cubicBezTo>
                              <a:pt x="4366" y="2000"/>
                              <a:pt x="4366" y="2060"/>
                              <a:pt x="4366" y="2120"/>
                            </a:cubicBezTo>
                            <a:cubicBezTo>
                              <a:pt x="4366" y="2180"/>
                              <a:pt x="4366" y="2239"/>
                              <a:pt x="4366" y="2299"/>
                            </a:cubicBezTo>
                            <a:cubicBezTo>
                              <a:pt x="4366" y="2419"/>
                              <a:pt x="4306" y="2538"/>
                              <a:pt x="4306" y="2658"/>
                            </a:cubicBezTo>
                            <a:cubicBezTo>
                              <a:pt x="4246" y="2778"/>
                              <a:pt x="4246" y="2897"/>
                              <a:pt x="4187" y="3017"/>
                            </a:cubicBezTo>
                            <a:cubicBezTo>
                              <a:pt x="4127" y="3136"/>
                              <a:pt x="4067" y="3256"/>
                              <a:pt x="4007" y="3376"/>
                            </a:cubicBezTo>
                            <a:cubicBezTo>
                              <a:pt x="3947" y="3495"/>
                              <a:pt x="3828" y="3615"/>
                              <a:pt x="3768" y="3675"/>
                            </a:cubicBezTo>
                            <a:cubicBezTo>
                              <a:pt x="3708" y="3735"/>
                              <a:pt x="3589" y="3854"/>
                              <a:pt x="3469" y="3974"/>
                            </a:cubicBezTo>
                            <a:cubicBezTo>
                              <a:pt x="3349" y="4093"/>
                              <a:pt x="3289" y="4153"/>
                              <a:pt x="3170" y="4213"/>
                            </a:cubicBezTo>
                            <a:cubicBezTo>
                              <a:pt x="3050" y="4273"/>
                              <a:pt x="2930" y="4333"/>
                              <a:pt x="2871" y="4392"/>
                            </a:cubicBezTo>
                            <a:cubicBezTo>
                              <a:pt x="2751" y="4452"/>
                              <a:pt x="2632" y="4452"/>
                              <a:pt x="2512" y="4512"/>
                            </a:cubicBezTo>
                            <a:cubicBezTo>
                              <a:pt x="2392" y="4572"/>
                              <a:pt x="2273" y="4572"/>
                              <a:pt x="2153" y="4572"/>
                            </a:cubicBezTo>
                            <a:cubicBezTo>
                              <a:pt x="2034" y="4572"/>
                              <a:pt x="1974" y="4572"/>
                              <a:pt x="1854" y="4572"/>
                            </a:cubicBezTo>
                            <a:cubicBezTo>
                              <a:pt x="1735" y="4572"/>
                              <a:pt x="1675" y="4512"/>
                              <a:pt x="1615" y="4512"/>
                            </a:cubicBezTo>
                            <a:cubicBezTo>
                              <a:pt x="1555" y="4452"/>
                              <a:pt x="1435" y="4452"/>
                              <a:pt x="1376" y="4392"/>
                            </a:cubicBezTo>
                            <a:lnTo>
                              <a:pt x="1316" y="4273"/>
                            </a:lnTo>
                            <a:cubicBezTo>
                              <a:pt x="1256" y="4213"/>
                              <a:pt x="1196" y="4153"/>
                              <a:pt x="1136" y="4034"/>
                            </a:cubicBezTo>
                            <a:cubicBezTo>
                              <a:pt x="1076" y="3974"/>
                              <a:pt x="1017" y="3854"/>
                              <a:pt x="1017" y="3794"/>
                            </a:cubicBezTo>
                            <a:cubicBezTo>
                              <a:pt x="957" y="3675"/>
                              <a:pt x="957" y="3615"/>
                              <a:pt x="957" y="3495"/>
                            </a:cubicBezTo>
                            <a:cubicBezTo>
                              <a:pt x="957" y="3376"/>
                              <a:pt x="957" y="3256"/>
                              <a:pt x="957" y="3136"/>
                            </a:cubicBezTo>
                            <a:cubicBezTo>
                              <a:pt x="957" y="3017"/>
                              <a:pt x="1017" y="2897"/>
                              <a:pt x="1017" y="2778"/>
                            </a:cubicBezTo>
                            <a:cubicBezTo>
                              <a:pt x="1076" y="2658"/>
                              <a:pt x="1076" y="2538"/>
                              <a:pt x="1136" y="2419"/>
                            </a:cubicBezTo>
                            <a:cubicBezTo>
                              <a:pt x="1196" y="2299"/>
                              <a:pt x="1256" y="2180"/>
                              <a:pt x="1316" y="2060"/>
                            </a:cubicBezTo>
                            <a:cubicBezTo>
                              <a:pt x="1376" y="1940"/>
                              <a:pt x="1495" y="1821"/>
                              <a:pt x="1555" y="1761"/>
                            </a:cubicBezTo>
                            <a:cubicBezTo>
                              <a:pt x="1615" y="1701"/>
                              <a:pt x="1675" y="1641"/>
                              <a:pt x="1675" y="1582"/>
                            </a:cubicBezTo>
                            <a:cubicBezTo>
                              <a:pt x="1735" y="1522"/>
                              <a:pt x="1794" y="1462"/>
                              <a:pt x="1794" y="1462"/>
                            </a:cubicBezTo>
                            <a:cubicBezTo>
                              <a:pt x="1854" y="1402"/>
                              <a:pt x="1914" y="1402"/>
                              <a:pt x="1974" y="1342"/>
                            </a:cubicBezTo>
                            <a:cubicBezTo>
                              <a:pt x="2034" y="1282"/>
                              <a:pt x="2093" y="1282"/>
                              <a:pt x="2153" y="1223"/>
                            </a:cubicBezTo>
                            <a:cubicBezTo>
                              <a:pt x="2213" y="1163"/>
                              <a:pt x="2273" y="1163"/>
                              <a:pt x="2333" y="1103"/>
                            </a:cubicBezTo>
                            <a:cubicBezTo>
                              <a:pt x="2392" y="1043"/>
                              <a:pt x="2452" y="1043"/>
                              <a:pt x="2512" y="1043"/>
                            </a:cubicBezTo>
                            <a:cubicBezTo>
                              <a:pt x="2572" y="1043"/>
                              <a:pt x="2632" y="983"/>
                              <a:pt x="2691" y="983"/>
                            </a:cubicBezTo>
                            <a:cubicBezTo>
                              <a:pt x="2751" y="983"/>
                              <a:pt x="2811" y="923"/>
                              <a:pt x="2871" y="923"/>
                            </a:cubicBezTo>
                            <a:cubicBezTo>
                              <a:pt x="2990" y="923"/>
                              <a:pt x="3110" y="864"/>
                              <a:pt x="3170" y="864"/>
                            </a:cubicBezTo>
                            <a:cubicBezTo>
                              <a:pt x="3289" y="864"/>
                              <a:pt x="3349" y="864"/>
                              <a:pt x="3469" y="864"/>
                            </a:cubicBezTo>
                            <a:cubicBezTo>
                              <a:pt x="3589" y="864"/>
                              <a:pt x="3648" y="923"/>
                              <a:pt x="3768" y="923"/>
                            </a:cubicBezTo>
                            <a:cubicBezTo>
                              <a:pt x="3888" y="983"/>
                              <a:pt x="3947" y="983"/>
                              <a:pt x="4007" y="1043"/>
                            </a:cubicBezTo>
                            <a:cubicBezTo>
                              <a:pt x="4067" y="1103"/>
                              <a:pt x="4067" y="1103"/>
                              <a:pt x="4127" y="1163"/>
                            </a:cubicBezTo>
                            <a:cubicBezTo>
                              <a:pt x="4187" y="1223"/>
                              <a:pt x="4187" y="1223"/>
                              <a:pt x="4187" y="1282"/>
                            </a:cubicBezTo>
                            <a:cubicBezTo>
                              <a:pt x="4187" y="1342"/>
                              <a:pt x="4246" y="1342"/>
                              <a:pt x="4246" y="1402"/>
                            </a:cubicBezTo>
                            <a:cubicBezTo>
                              <a:pt x="4246" y="1462"/>
                              <a:pt x="4306" y="1582"/>
                              <a:pt x="4306" y="1582"/>
                            </a:cubicBezTo>
                            <a:moveTo>
                              <a:pt x="778" y="5110"/>
                            </a:moveTo>
                            <a:cubicBezTo>
                              <a:pt x="1017" y="5290"/>
                              <a:pt x="1256" y="5350"/>
                              <a:pt x="1555" y="5409"/>
                            </a:cubicBezTo>
                            <a:cubicBezTo>
                              <a:pt x="1854" y="5469"/>
                              <a:pt x="2153" y="5409"/>
                              <a:pt x="2452" y="5350"/>
                            </a:cubicBezTo>
                            <a:cubicBezTo>
                              <a:pt x="2751" y="5290"/>
                              <a:pt x="3110" y="5110"/>
                              <a:pt x="3409" y="4931"/>
                            </a:cubicBezTo>
                            <a:cubicBezTo>
                              <a:pt x="3708" y="4751"/>
                              <a:pt x="4007" y="4452"/>
                              <a:pt x="4246" y="4153"/>
                            </a:cubicBezTo>
                            <a:cubicBezTo>
                              <a:pt x="4366" y="3974"/>
                              <a:pt x="4486" y="3854"/>
                              <a:pt x="4605" y="3675"/>
                            </a:cubicBezTo>
                            <a:cubicBezTo>
                              <a:pt x="4725" y="3495"/>
                              <a:pt x="4785" y="3316"/>
                              <a:pt x="4904" y="3136"/>
                            </a:cubicBezTo>
                            <a:cubicBezTo>
                              <a:pt x="5024" y="2957"/>
                              <a:pt x="5024" y="2778"/>
                              <a:pt x="5084" y="2598"/>
                            </a:cubicBezTo>
                            <a:cubicBezTo>
                              <a:pt x="5143" y="2419"/>
                              <a:pt x="5143" y="2239"/>
                              <a:pt x="5203" y="2060"/>
                            </a:cubicBezTo>
                            <a:cubicBezTo>
                              <a:pt x="5203" y="2060"/>
                              <a:pt x="5203" y="2000"/>
                              <a:pt x="5203" y="2000"/>
                            </a:cubicBezTo>
                            <a:cubicBezTo>
                              <a:pt x="5203" y="2000"/>
                              <a:pt x="5203" y="1940"/>
                              <a:pt x="5203" y="1940"/>
                            </a:cubicBezTo>
                            <a:cubicBezTo>
                              <a:pt x="5203" y="1940"/>
                              <a:pt x="5203" y="1881"/>
                              <a:pt x="5203" y="1881"/>
                            </a:cubicBezTo>
                            <a:cubicBezTo>
                              <a:pt x="5203" y="1881"/>
                              <a:pt x="5203" y="1821"/>
                              <a:pt x="5203" y="1821"/>
                            </a:cubicBezTo>
                            <a:cubicBezTo>
                              <a:pt x="5203" y="1761"/>
                              <a:pt x="5203" y="1641"/>
                              <a:pt x="5203" y="1582"/>
                            </a:cubicBezTo>
                            <a:cubicBezTo>
                              <a:pt x="5203" y="1522"/>
                              <a:pt x="5203" y="1402"/>
                              <a:pt x="5143" y="1342"/>
                            </a:cubicBezTo>
                            <a:cubicBezTo>
                              <a:pt x="5143" y="1282"/>
                              <a:pt x="5084" y="1163"/>
                              <a:pt x="5084" y="1103"/>
                            </a:cubicBezTo>
                            <a:cubicBezTo>
                              <a:pt x="5084" y="1043"/>
                              <a:pt x="5024" y="983"/>
                              <a:pt x="4964" y="864"/>
                            </a:cubicBezTo>
                            <a:cubicBezTo>
                              <a:pt x="4964" y="804"/>
                              <a:pt x="4904" y="804"/>
                              <a:pt x="4904" y="744"/>
                            </a:cubicBezTo>
                            <a:cubicBezTo>
                              <a:pt x="4904" y="684"/>
                              <a:pt x="4844" y="684"/>
                              <a:pt x="4844" y="625"/>
                            </a:cubicBezTo>
                            <a:cubicBezTo>
                              <a:pt x="4844" y="565"/>
                              <a:pt x="4785" y="565"/>
                              <a:pt x="4785" y="505"/>
                            </a:cubicBezTo>
                            <a:cubicBezTo>
                              <a:pt x="4725" y="445"/>
                              <a:pt x="4725" y="445"/>
                              <a:pt x="4665" y="385"/>
                            </a:cubicBezTo>
                            <a:lnTo>
                              <a:pt x="4545" y="326"/>
                            </a:lnTo>
                            <a:cubicBezTo>
                              <a:pt x="4426" y="266"/>
                              <a:pt x="4306" y="206"/>
                              <a:pt x="4187" y="146"/>
                            </a:cubicBezTo>
                            <a:cubicBezTo>
                              <a:pt x="4067" y="86"/>
                              <a:pt x="3947" y="27"/>
                              <a:pt x="3768" y="27"/>
                            </a:cubicBezTo>
                            <a:cubicBezTo>
                              <a:pt x="3648" y="27"/>
                              <a:pt x="3469" y="-33"/>
                              <a:pt x="3349" y="27"/>
                            </a:cubicBezTo>
                            <a:cubicBezTo>
                              <a:pt x="3230" y="86"/>
                              <a:pt x="3050" y="27"/>
                              <a:pt x="2871" y="86"/>
                            </a:cubicBezTo>
                            <a:cubicBezTo>
                              <a:pt x="2811" y="86"/>
                              <a:pt x="2811" y="86"/>
                              <a:pt x="2751" y="146"/>
                            </a:cubicBezTo>
                            <a:cubicBezTo>
                              <a:pt x="2691" y="146"/>
                              <a:pt x="2691" y="146"/>
                              <a:pt x="2632" y="206"/>
                            </a:cubicBezTo>
                            <a:cubicBezTo>
                              <a:pt x="2572" y="266"/>
                              <a:pt x="2572" y="206"/>
                              <a:pt x="2512" y="266"/>
                            </a:cubicBezTo>
                            <a:cubicBezTo>
                              <a:pt x="2452" y="266"/>
                              <a:pt x="2452" y="326"/>
                              <a:pt x="2392" y="326"/>
                            </a:cubicBezTo>
                            <a:cubicBezTo>
                              <a:pt x="2273" y="385"/>
                              <a:pt x="2153" y="445"/>
                              <a:pt x="2093" y="505"/>
                            </a:cubicBezTo>
                            <a:cubicBezTo>
                              <a:pt x="2034" y="565"/>
                              <a:pt x="1854" y="625"/>
                              <a:pt x="1794" y="684"/>
                            </a:cubicBezTo>
                            <a:cubicBezTo>
                              <a:pt x="1735" y="744"/>
                              <a:pt x="1615" y="804"/>
                              <a:pt x="1495" y="923"/>
                            </a:cubicBezTo>
                            <a:cubicBezTo>
                              <a:pt x="1376" y="983"/>
                              <a:pt x="1316" y="1103"/>
                              <a:pt x="1196" y="1163"/>
                            </a:cubicBezTo>
                            <a:cubicBezTo>
                              <a:pt x="1196" y="1163"/>
                              <a:pt x="1136" y="1223"/>
                              <a:pt x="1136" y="1223"/>
                            </a:cubicBezTo>
                            <a:cubicBezTo>
                              <a:pt x="1136" y="1223"/>
                              <a:pt x="1076" y="1282"/>
                              <a:pt x="1076" y="1282"/>
                            </a:cubicBezTo>
                            <a:cubicBezTo>
                              <a:pt x="1076" y="1282"/>
                              <a:pt x="1017" y="1342"/>
                              <a:pt x="1017" y="1342"/>
                            </a:cubicBezTo>
                            <a:cubicBezTo>
                              <a:pt x="1017" y="1342"/>
                              <a:pt x="957" y="1402"/>
                              <a:pt x="957" y="1402"/>
                            </a:cubicBezTo>
                            <a:cubicBezTo>
                              <a:pt x="837" y="1582"/>
                              <a:pt x="718" y="1701"/>
                              <a:pt x="598" y="1881"/>
                            </a:cubicBezTo>
                            <a:cubicBezTo>
                              <a:pt x="479" y="2060"/>
                              <a:pt x="419" y="2239"/>
                              <a:pt x="299" y="2419"/>
                            </a:cubicBezTo>
                            <a:cubicBezTo>
                              <a:pt x="239" y="2598"/>
                              <a:pt x="180" y="2778"/>
                              <a:pt x="120" y="2957"/>
                            </a:cubicBezTo>
                            <a:cubicBezTo>
                              <a:pt x="60" y="3136"/>
                              <a:pt x="60" y="3316"/>
                              <a:pt x="0" y="3495"/>
                            </a:cubicBezTo>
                            <a:cubicBezTo>
                              <a:pt x="0" y="3675"/>
                              <a:pt x="0" y="3854"/>
                              <a:pt x="0" y="3974"/>
                            </a:cubicBezTo>
                            <a:cubicBezTo>
                              <a:pt x="0" y="4093"/>
                              <a:pt x="60" y="4273"/>
                              <a:pt x="120" y="4452"/>
                            </a:cubicBezTo>
                            <a:cubicBezTo>
                              <a:pt x="180" y="4572"/>
                              <a:pt x="239" y="4751"/>
                              <a:pt x="299" y="4871"/>
                            </a:cubicBezTo>
                            <a:cubicBezTo>
                              <a:pt x="359" y="4990"/>
                              <a:pt x="479" y="5110"/>
                              <a:pt x="598" y="5170"/>
                            </a:cubicBezTo>
                            <a:cubicBezTo>
                              <a:pt x="598" y="5170"/>
                              <a:pt x="598" y="5170"/>
                              <a:pt x="598" y="5170"/>
                            </a:cubicBezTo>
                            <a:cubicBezTo>
                              <a:pt x="718" y="5050"/>
                              <a:pt x="718" y="5050"/>
                              <a:pt x="778" y="5110"/>
                            </a:cubicBezTo>
                            <a:cubicBezTo>
                              <a:pt x="778" y="5050"/>
                              <a:pt x="778" y="5050"/>
                              <a:pt x="778" y="5110"/>
                            </a:cubicBezTo>
                            <a:cubicBezTo>
                              <a:pt x="778" y="5110"/>
                              <a:pt x="778" y="5110"/>
                              <a:pt x="778" y="5110"/>
                            </a:cubicBezTo>
                          </a:path>
                        </a:pathLst>
                      </a:custGeom>
                      <a:noFill/>
                      <a:ln w="6350" cap="flat">
                        <a:solidFill>
                          <a:schemeClr val="bg1">
                            <a:alpha val="40000"/>
                          </a:schemeClr>
                        </a:solidFill>
                        <a:prstDash val="solid"/>
                        <a:miter/>
                      </a:ln>
                    </p:spPr>
                    <p:txBody>
                      <a:bodyPr rtlCol="0" anchor="ctr"/>
                      <a:lstStyle/>
                      <a:p>
                        <a:endParaRPr lang="en-GB"/>
                      </a:p>
                    </p:txBody>
                  </p:sp>
                  <p:sp>
                    <p:nvSpPr>
                      <p:cNvPr id="7464" name="Vrije vorm: vorm 7463">
                        <a:extLst>
                          <a:ext uri="{FF2B5EF4-FFF2-40B4-BE49-F238E27FC236}">
                            <a16:creationId xmlns:a16="http://schemas.microsoft.com/office/drawing/2014/main" id="{96BA7EDC-58E1-4B01-A0B5-FBDE9DC738B5}"/>
                          </a:ext>
                        </a:extLst>
                      </p:cNvPr>
                      <p:cNvSpPr/>
                      <p:nvPr/>
                    </p:nvSpPr>
                    <p:spPr>
                      <a:xfrm>
                        <a:off x="5308688" y="5394830"/>
                        <a:ext cx="5143" cy="5528"/>
                      </a:xfrm>
                      <a:custGeom>
                        <a:avLst/>
                        <a:gdLst>
                          <a:gd name="connsiteX0" fmla="*/ 4187 w 5143"/>
                          <a:gd name="connsiteY0" fmla="*/ 1794 h 5528"/>
                          <a:gd name="connsiteX1" fmla="*/ 4187 w 5143"/>
                          <a:gd name="connsiteY1" fmla="*/ 1914 h 5528"/>
                          <a:gd name="connsiteX2" fmla="*/ 4187 w 5143"/>
                          <a:gd name="connsiteY2" fmla="*/ 2033 h 5528"/>
                          <a:gd name="connsiteX3" fmla="*/ 4187 w 5143"/>
                          <a:gd name="connsiteY3" fmla="*/ 2153 h 5528"/>
                          <a:gd name="connsiteX4" fmla="*/ 4187 w 5143"/>
                          <a:gd name="connsiteY4" fmla="*/ 2333 h 5528"/>
                          <a:gd name="connsiteX5" fmla="*/ 4007 w 5143"/>
                          <a:gd name="connsiteY5" fmla="*/ 3050 h 5528"/>
                          <a:gd name="connsiteX6" fmla="*/ 3589 w 5143"/>
                          <a:gd name="connsiteY6" fmla="*/ 3708 h 5528"/>
                          <a:gd name="connsiteX7" fmla="*/ 2990 w 5143"/>
                          <a:gd name="connsiteY7" fmla="*/ 4246 h 5528"/>
                          <a:gd name="connsiteX8" fmla="*/ 2333 w 5143"/>
                          <a:gd name="connsiteY8" fmla="*/ 4545 h 5528"/>
                          <a:gd name="connsiteX9" fmla="*/ 2034 w 5143"/>
                          <a:gd name="connsiteY9" fmla="*/ 4605 h 5528"/>
                          <a:gd name="connsiteX10" fmla="*/ 1734 w 5143"/>
                          <a:gd name="connsiteY10" fmla="*/ 4605 h 5528"/>
                          <a:gd name="connsiteX11" fmla="*/ 1495 w 5143"/>
                          <a:gd name="connsiteY11" fmla="*/ 4545 h 5528"/>
                          <a:gd name="connsiteX12" fmla="*/ 1256 w 5143"/>
                          <a:gd name="connsiteY12" fmla="*/ 4426 h 5528"/>
                          <a:gd name="connsiteX13" fmla="*/ 1017 w 5143"/>
                          <a:gd name="connsiteY13" fmla="*/ 4187 h 5528"/>
                          <a:gd name="connsiteX14" fmla="*/ 837 w 5143"/>
                          <a:gd name="connsiteY14" fmla="*/ 3887 h 5528"/>
                          <a:gd name="connsiteX15" fmla="*/ 778 w 5143"/>
                          <a:gd name="connsiteY15" fmla="*/ 3528 h 5528"/>
                          <a:gd name="connsiteX16" fmla="*/ 778 w 5143"/>
                          <a:gd name="connsiteY16" fmla="*/ 3170 h 5528"/>
                          <a:gd name="connsiteX17" fmla="*/ 837 w 5143"/>
                          <a:gd name="connsiteY17" fmla="*/ 2811 h 5528"/>
                          <a:gd name="connsiteX18" fmla="*/ 957 w 5143"/>
                          <a:gd name="connsiteY18" fmla="*/ 2452 h 5528"/>
                          <a:gd name="connsiteX19" fmla="*/ 1136 w 5143"/>
                          <a:gd name="connsiteY19" fmla="*/ 2093 h 5528"/>
                          <a:gd name="connsiteX20" fmla="*/ 1375 w 5143"/>
                          <a:gd name="connsiteY20" fmla="*/ 1794 h 5528"/>
                          <a:gd name="connsiteX21" fmla="*/ 1495 w 5143"/>
                          <a:gd name="connsiteY21" fmla="*/ 1674 h 5528"/>
                          <a:gd name="connsiteX22" fmla="*/ 1615 w 5143"/>
                          <a:gd name="connsiteY22" fmla="*/ 1555 h 5528"/>
                          <a:gd name="connsiteX23" fmla="*/ 1734 w 5143"/>
                          <a:gd name="connsiteY23" fmla="*/ 1435 h 5528"/>
                          <a:gd name="connsiteX24" fmla="*/ 1854 w 5143"/>
                          <a:gd name="connsiteY24" fmla="*/ 1316 h 5528"/>
                          <a:gd name="connsiteX25" fmla="*/ 1914 w 5143"/>
                          <a:gd name="connsiteY25" fmla="*/ 1256 h 5528"/>
                          <a:gd name="connsiteX26" fmla="*/ 1974 w 5143"/>
                          <a:gd name="connsiteY26" fmla="*/ 1196 h 5528"/>
                          <a:gd name="connsiteX27" fmla="*/ 2034 w 5143"/>
                          <a:gd name="connsiteY27" fmla="*/ 1136 h 5528"/>
                          <a:gd name="connsiteX28" fmla="*/ 2093 w 5143"/>
                          <a:gd name="connsiteY28" fmla="*/ 1076 h 5528"/>
                          <a:gd name="connsiteX29" fmla="*/ 2213 w 5143"/>
                          <a:gd name="connsiteY29" fmla="*/ 1017 h 5528"/>
                          <a:gd name="connsiteX30" fmla="*/ 2333 w 5143"/>
                          <a:gd name="connsiteY30" fmla="*/ 957 h 5528"/>
                          <a:gd name="connsiteX31" fmla="*/ 2452 w 5143"/>
                          <a:gd name="connsiteY31" fmla="*/ 897 h 5528"/>
                          <a:gd name="connsiteX32" fmla="*/ 2572 w 5143"/>
                          <a:gd name="connsiteY32" fmla="*/ 837 h 5528"/>
                          <a:gd name="connsiteX33" fmla="*/ 2871 w 5143"/>
                          <a:gd name="connsiteY33" fmla="*/ 778 h 5528"/>
                          <a:gd name="connsiteX34" fmla="*/ 3170 w 5143"/>
                          <a:gd name="connsiteY34" fmla="*/ 778 h 5528"/>
                          <a:gd name="connsiteX35" fmla="*/ 3409 w 5143"/>
                          <a:gd name="connsiteY35" fmla="*/ 837 h 5528"/>
                          <a:gd name="connsiteX36" fmla="*/ 3648 w 5143"/>
                          <a:gd name="connsiteY36" fmla="*/ 957 h 5528"/>
                          <a:gd name="connsiteX37" fmla="*/ 3768 w 5143"/>
                          <a:gd name="connsiteY37" fmla="*/ 1076 h 5528"/>
                          <a:gd name="connsiteX38" fmla="*/ 3888 w 5143"/>
                          <a:gd name="connsiteY38" fmla="*/ 1196 h 5528"/>
                          <a:gd name="connsiteX39" fmla="*/ 4007 w 5143"/>
                          <a:gd name="connsiteY39" fmla="*/ 1375 h 5528"/>
                          <a:gd name="connsiteX40" fmla="*/ 4187 w 5143"/>
                          <a:gd name="connsiteY40" fmla="*/ 1794 h 5528"/>
                          <a:gd name="connsiteX41" fmla="*/ 598 w 5143"/>
                          <a:gd name="connsiteY41" fmla="*/ 5203 h 5528"/>
                          <a:gd name="connsiteX42" fmla="*/ 957 w 5143"/>
                          <a:gd name="connsiteY42" fmla="*/ 5382 h 5528"/>
                          <a:gd name="connsiteX43" fmla="*/ 1375 w 5143"/>
                          <a:gd name="connsiteY43" fmla="*/ 5502 h 5528"/>
                          <a:gd name="connsiteX44" fmla="*/ 1794 w 5143"/>
                          <a:gd name="connsiteY44" fmla="*/ 5502 h 5528"/>
                          <a:gd name="connsiteX45" fmla="*/ 2273 w 5143"/>
                          <a:gd name="connsiteY45" fmla="*/ 5442 h 5528"/>
                          <a:gd name="connsiteX46" fmla="*/ 3289 w 5143"/>
                          <a:gd name="connsiteY46" fmla="*/ 4964 h 5528"/>
                          <a:gd name="connsiteX47" fmla="*/ 4187 w 5143"/>
                          <a:gd name="connsiteY47" fmla="*/ 4187 h 5528"/>
                          <a:gd name="connsiteX48" fmla="*/ 4844 w 5143"/>
                          <a:gd name="connsiteY48" fmla="*/ 3229 h 5528"/>
                          <a:gd name="connsiteX49" fmla="*/ 5143 w 5143"/>
                          <a:gd name="connsiteY49" fmla="*/ 2153 h 5528"/>
                          <a:gd name="connsiteX50" fmla="*/ 5143 w 5143"/>
                          <a:gd name="connsiteY50" fmla="*/ 2093 h 5528"/>
                          <a:gd name="connsiteX51" fmla="*/ 5143 w 5143"/>
                          <a:gd name="connsiteY51" fmla="*/ 2033 h 5528"/>
                          <a:gd name="connsiteX52" fmla="*/ 5143 w 5143"/>
                          <a:gd name="connsiteY52" fmla="*/ 1973 h 5528"/>
                          <a:gd name="connsiteX53" fmla="*/ 5143 w 5143"/>
                          <a:gd name="connsiteY53" fmla="*/ 1914 h 5528"/>
                          <a:gd name="connsiteX54" fmla="*/ 5143 w 5143"/>
                          <a:gd name="connsiteY54" fmla="*/ 1615 h 5528"/>
                          <a:gd name="connsiteX55" fmla="*/ 5084 w 5143"/>
                          <a:gd name="connsiteY55" fmla="*/ 1375 h 5528"/>
                          <a:gd name="connsiteX56" fmla="*/ 5024 w 5143"/>
                          <a:gd name="connsiteY56" fmla="*/ 1136 h 5528"/>
                          <a:gd name="connsiteX57" fmla="*/ 4904 w 5143"/>
                          <a:gd name="connsiteY57" fmla="*/ 897 h 5528"/>
                          <a:gd name="connsiteX58" fmla="*/ 4785 w 5143"/>
                          <a:gd name="connsiteY58" fmla="*/ 718 h 5528"/>
                          <a:gd name="connsiteX59" fmla="*/ 4665 w 5143"/>
                          <a:gd name="connsiteY59" fmla="*/ 598 h 5528"/>
                          <a:gd name="connsiteX60" fmla="*/ 4545 w 5143"/>
                          <a:gd name="connsiteY60" fmla="*/ 478 h 5528"/>
                          <a:gd name="connsiteX61" fmla="*/ 4426 w 5143"/>
                          <a:gd name="connsiteY61" fmla="*/ 359 h 5528"/>
                          <a:gd name="connsiteX62" fmla="*/ 4246 w 5143"/>
                          <a:gd name="connsiteY62" fmla="*/ 239 h 5528"/>
                          <a:gd name="connsiteX63" fmla="*/ 4007 w 5143"/>
                          <a:gd name="connsiteY63" fmla="*/ 119 h 5528"/>
                          <a:gd name="connsiteX64" fmla="*/ 3768 w 5143"/>
                          <a:gd name="connsiteY64" fmla="*/ 60 h 5528"/>
                          <a:gd name="connsiteX65" fmla="*/ 3529 w 5143"/>
                          <a:gd name="connsiteY65" fmla="*/ 0 h 5528"/>
                          <a:gd name="connsiteX66" fmla="*/ 3349 w 5143"/>
                          <a:gd name="connsiteY66" fmla="*/ 0 h 5528"/>
                          <a:gd name="connsiteX67" fmla="*/ 3170 w 5143"/>
                          <a:gd name="connsiteY67" fmla="*/ 0 h 5528"/>
                          <a:gd name="connsiteX68" fmla="*/ 2990 w 5143"/>
                          <a:gd name="connsiteY68" fmla="*/ 0 h 5528"/>
                          <a:gd name="connsiteX69" fmla="*/ 2811 w 5143"/>
                          <a:gd name="connsiteY69" fmla="*/ 60 h 5528"/>
                          <a:gd name="connsiteX70" fmla="*/ 2811 w 5143"/>
                          <a:gd name="connsiteY70" fmla="*/ 60 h 5528"/>
                          <a:gd name="connsiteX71" fmla="*/ 2811 w 5143"/>
                          <a:gd name="connsiteY71" fmla="*/ 60 h 5528"/>
                          <a:gd name="connsiteX72" fmla="*/ 2811 w 5143"/>
                          <a:gd name="connsiteY72" fmla="*/ 60 h 5528"/>
                          <a:gd name="connsiteX73" fmla="*/ 2811 w 5143"/>
                          <a:gd name="connsiteY73" fmla="*/ 60 h 5528"/>
                          <a:gd name="connsiteX74" fmla="*/ 2632 w 5143"/>
                          <a:gd name="connsiteY74" fmla="*/ 119 h 5528"/>
                          <a:gd name="connsiteX75" fmla="*/ 2452 w 5143"/>
                          <a:gd name="connsiteY75" fmla="*/ 179 h 5528"/>
                          <a:gd name="connsiteX76" fmla="*/ 2273 w 5143"/>
                          <a:gd name="connsiteY76" fmla="*/ 239 h 5528"/>
                          <a:gd name="connsiteX77" fmla="*/ 2093 w 5143"/>
                          <a:gd name="connsiteY77" fmla="*/ 299 h 5528"/>
                          <a:gd name="connsiteX78" fmla="*/ 1854 w 5143"/>
                          <a:gd name="connsiteY78" fmla="*/ 478 h 5528"/>
                          <a:gd name="connsiteX79" fmla="*/ 1615 w 5143"/>
                          <a:gd name="connsiteY79" fmla="*/ 658 h 5528"/>
                          <a:gd name="connsiteX80" fmla="*/ 1375 w 5143"/>
                          <a:gd name="connsiteY80" fmla="*/ 837 h 5528"/>
                          <a:gd name="connsiteX81" fmla="*/ 1136 w 5143"/>
                          <a:gd name="connsiteY81" fmla="*/ 1076 h 5528"/>
                          <a:gd name="connsiteX82" fmla="*/ 1076 w 5143"/>
                          <a:gd name="connsiteY82" fmla="*/ 1136 h 5528"/>
                          <a:gd name="connsiteX83" fmla="*/ 1017 w 5143"/>
                          <a:gd name="connsiteY83" fmla="*/ 1196 h 5528"/>
                          <a:gd name="connsiteX84" fmla="*/ 957 w 5143"/>
                          <a:gd name="connsiteY84" fmla="*/ 1256 h 5528"/>
                          <a:gd name="connsiteX85" fmla="*/ 897 w 5143"/>
                          <a:gd name="connsiteY85" fmla="*/ 1316 h 5528"/>
                          <a:gd name="connsiteX86" fmla="*/ 538 w 5143"/>
                          <a:gd name="connsiteY86" fmla="*/ 1794 h 5528"/>
                          <a:gd name="connsiteX87" fmla="*/ 239 w 5143"/>
                          <a:gd name="connsiteY87" fmla="*/ 2333 h 5528"/>
                          <a:gd name="connsiteX88" fmla="*/ 60 w 5143"/>
                          <a:gd name="connsiteY88" fmla="*/ 2871 h 5528"/>
                          <a:gd name="connsiteX89" fmla="*/ 0 w 5143"/>
                          <a:gd name="connsiteY89" fmla="*/ 3409 h 5528"/>
                          <a:gd name="connsiteX90" fmla="*/ 0 w 5143"/>
                          <a:gd name="connsiteY90" fmla="*/ 3947 h 5528"/>
                          <a:gd name="connsiteX91" fmla="*/ 120 w 5143"/>
                          <a:gd name="connsiteY91" fmla="*/ 4426 h 5528"/>
                          <a:gd name="connsiteX92" fmla="*/ 359 w 5143"/>
                          <a:gd name="connsiteY92" fmla="*/ 4844 h 5528"/>
                          <a:gd name="connsiteX93" fmla="*/ 598 w 5143"/>
                          <a:gd name="connsiteY93" fmla="*/ 5203 h 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143" h="5528">
                            <a:moveTo>
                              <a:pt x="4187" y="1794"/>
                            </a:moveTo>
                            <a:cubicBezTo>
                              <a:pt x="4187" y="1854"/>
                              <a:pt x="4187" y="1854"/>
                              <a:pt x="4187" y="1914"/>
                            </a:cubicBezTo>
                            <a:cubicBezTo>
                              <a:pt x="4187" y="1973"/>
                              <a:pt x="4187" y="2033"/>
                              <a:pt x="4187" y="2033"/>
                            </a:cubicBezTo>
                            <a:cubicBezTo>
                              <a:pt x="4187" y="2093"/>
                              <a:pt x="4187" y="2153"/>
                              <a:pt x="4187" y="2153"/>
                            </a:cubicBezTo>
                            <a:cubicBezTo>
                              <a:pt x="4187" y="2213"/>
                              <a:pt x="4187" y="2273"/>
                              <a:pt x="4187" y="2333"/>
                            </a:cubicBezTo>
                            <a:cubicBezTo>
                              <a:pt x="4187" y="2572"/>
                              <a:pt x="4067" y="2811"/>
                              <a:pt x="4007" y="3050"/>
                            </a:cubicBezTo>
                            <a:cubicBezTo>
                              <a:pt x="3947" y="3289"/>
                              <a:pt x="3768" y="3528"/>
                              <a:pt x="3589" y="3708"/>
                            </a:cubicBezTo>
                            <a:cubicBezTo>
                              <a:pt x="3409" y="3887"/>
                              <a:pt x="3229" y="4067"/>
                              <a:pt x="2990" y="4246"/>
                            </a:cubicBezTo>
                            <a:cubicBezTo>
                              <a:pt x="2751" y="4366"/>
                              <a:pt x="2572" y="4486"/>
                              <a:pt x="2333" y="4545"/>
                            </a:cubicBezTo>
                            <a:cubicBezTo>
                              <a:pt x="2213" y="4545"/>
                              <a:pt x="2093" y="4605"/>
                              <a:pt x="2034" y="4605"/>
                            </a:cubicBezTo>
                            <a:cubicBezTo>
                              <a:pt x="1914" y="4605"/>
                              <a:pt x="1854" y="4605"/>
                              <a:pt x="1734" y="4605"/>
                            </a:cubicBezTo>
                            <a:cubicBezTo>
                              <a:pt x="1615" y="4605"/>
                              <a:pt x="1555" y="4545"/>
                              <a:pt x="1495" y="4545"/>
                            </a:cubicBezTo>
                            <a:cubicBezTo>
                              <a:pt x="1435" y="4486"/>
                              <a:pt x="1316" y="4486"/>
                              <a:pt x="1256" y="4426"/>
                            </a:cubicBezTo>
                            <a:cubicBezTo>
                              <a:pt x="1196" y="4366"/>
                              <a:pt x="1076" y="4306"/>
                              <a:pt x="1017" y="4187"/>
                            </a:cubicBezTo>
                            <a:cubicBezTo>
                              <a:pt x="957" y="4127"/>
                              <a:pt x="897" y="4007"/>
                              <a:pt x="837" y="3887"/>
                            </a:cubicBezTo>
                            <a:cubicBezTo>
                              <a:pt x="778" y="3768"/>
                              <a:pt x="778" y="3648"/>
                              <a:pt x="778" y="3528"/>
                            </a:cubicBezTo>
                            <a:cubicBezTo>
                              <a:pt x="778" y="3409"/>
                              <a:pt x="778" y="3289"/>
                              <a:pt x="778" y="3170"/>
                            </a:cubicBezTo>
                            <a:cubicBezTo>
                              <a:pt x="778" y="3050"/>
                              <a:pt x="837" y="2930"/>
                              <a:pt x="837" y="2811"/>
                            </a:cubicBezTo>
                            <a:cubicBezTo>
                              <a:pt x="837" y="2691"/>
                              <a:pt x="897" y="2572"/>
                              <a:pt x="957" y="2452"/>
                            </a:cubicBezTo>
                            <a:cubicBezTo>
                              <a:pt x="1017" y="2333"/>
                              <a:pt x="1076" y="2213"/>
                              <a:pt x="1136" y="2093"/>
                            </a:cubicBezTo>
                            <a:cubicBezTo>
                              <a:pt x="1196" y="1973"/>
                              <a:pt x="1316" y="1854"/>
                              <a:pt x="1375" y="1794"/>
                            </a:cubicBezTo>
                            <a:cubicBezTo>
                              <a:pt x="1435" y="1734"/>
                              <a:pt x="1435" y="1734"/>
                              <a:pt x="1495" y="1674"/>
                            </a:cubicBezTo>
                            <a:cubicBezTo>
                              <a:pt x="1555" y="1615"/>
                              <a:pt x="1555" y="1615"/>
                              <a:pt x="1615" y="1555"/>
                            </a:cubicBezTo>
                            <a:cubicBezTo>
                              <a:pt x="1675" y="1495"/>
                              <a:pt x="1675" y="1495"/>
                              <a:pt x="1734" y="1435"/>
                            </a:cubicBezTo>
                            <a:cubicBezTo>
                              <a:pt x="1794" y="1375"/>
                              <a:pt x="1794" y="1375"/>
                              <a:pt x="1854" y="1316"/>
                            </a:cubicBezTo>
                            <a:cubicBezTo>
                              <a:pt x="1854" y="1316"/>
                              <a:pt x="1914" y="1256"/>
                              <a:pt x="1914" y="1256"/>
                            </a:cubicBezTo>
                            <a:cubicBezTo>
                              <a:pt x="1914" y="1256"/>
                              <a:pt x="1974" y="1196"/>
                              <a:pt x="1974" y="1196"/>
                            </a:cubicBezTo>
                            <a:cubicBezTo>
                              <a:pt x="1974" y="1196"/>
                              <a:pt x="2034" y="1136"/>
                              <a:pt x="2034" y="1136"/>
                            </a:cubicBezTo>
                            <a:cubicBezTo>
                              <a:pt x="2034" y="1136"/>
                              <a:pt x="2093" y="1136"/>
                              <a:pt x="2093" y="1076"/>
                            </a:cubicBezTo>
                            <a:cubicBezTo>
                              <a:pt x="2153" y="1076"/>
                              <a:pt x="2153" y="1017"/>
                              <a:pt x="2213" y="1017"/>
                            </a:cubicBezTo>
                            <a:cubicBezTo>
                              <a:pt x="2273" y="1017"/>
                              <a:pt x="2273" y="957"/>
                              <a:pt x="2333" y="957"/>
                            </a:cubicBezTo>
                            <a:cubicBezTo>
                              <a:pt x="2392" y="957"/>
                              <a:pt x="2392" y="957"/>
                              <a:pt x="2452" y="897"/>
                            </a:cubicBezTo>
                            <a:cubicBezTo>
                              <a:pt x="2512" y="897"/>
                              <a:pt x="2512" y="897"/>
                              <a:pt x="2572" y="837"/>
                            </a:cubicBezTo>
                            <a:cubicBezTo>
                              <a:pt x="2691" y="837"/>
                              <a:pt x="2811" y="778"/>
                              <a:pt x="2871" y="778"/>
                            </a:cubicBezTo>
                            <a:cubicBezTo>
                              <a:pt x="2990" y="778"/>
                              <a:pt x="3050" y="778"/>
                              <a:pt x="3170" y="778"/>
                            </a:cubicBezTo>
                            <a:cubicBezTo>
                              <a:pt x="3289" y="778"/>
                              <a:pt x="3349" y="837"/>
                              <a:pt x="3409" y="837"/>
                            </a:cubicBezTo>
                            <a:cubicBezTo>
                              <a:pt x="3469" y="897"/>
                              <a:pt x="3589" y="897"/>
                              <a:pt x="3648" y="957"/>
                            </a:cubicBezTo>
                            <a:cubicBezTo>
                              <a:pt x="3708" y="1017"/>
                              <a:pt x="3768" y="1017"/>
                              <a:pt x="3768" y="1076"/>
                            </a:cubicBezTo>
                            <a:cubicBezTo>
                              <a:pt x="3828" y="1136"/>
                              <a:pt x="3828" y="1196"/>
                              <a:pt x="3888" y="1196"/>
                            </a:cubicBezTo>
                            <a:cubicBezTo>
                              <a:pt x="3947" y="1196"/>
                              <a:pt x="3947" y="1316"/>
                              <a:pt x="4007" y="1375"/>
                            </a:cubicBezTo>
                            <a:cubicBezTo>
                              <a:pt x="4127" y="1674"/>
                              <a:pt x="4187" y="1734"/>
                              <a:pt x="4187" y="1794"/>
                            </a:cubicBezTo>
                            <a:moveTo>
                              <a:pt x="598" y="5203"/>
                            </a:moveTo>
                            <a:cubicBezTo>
                              <a:pt x="718" y="5263"/>
                              <a:pt x="837" y="5323"/>
                              <a:pt x="957" y="5382"/>
                            </a:cubicBezTo>
                            <a:cubicBezTo>
                              <a:pt x="1076" y="5442"/>
                              <a:pt x="1196" y="5442"/>
                              <a:pt x="1375" y="5502"/>
                            </a:cubicBezTo>
                            <a:cubicBezTo>
                              <a:pt x="1555" y="5562"/>
                              <a:pt x="1675" y="5502"/>
                              <a:pt x="1794" y="5502"/>
                            </a:cubicBezTo>
                            <a:cubicBezTo>
                              <a:pt x="1974" y="5502"/>
                              <a:pt x="2093" y="5442"/>
                              <a:pt x="2273" y="5442"/>
                            </a:cubicBezTo>
                            <a:cubicBezTo>
                              <a:pt x="2632" y="5382"/>
                              <a:pt x="2990" y="5203"/>
                              <a:pt x="3289" y="4964"/>
                            </a:cubicBezTo>
                            <a:cubicBezTo>
                              <a:pt x="3589" y="4785"/>
                              <a:pt x="3888" y="4486"/>
                              <a:pt x="4187" y="4187"/>
                            </a:cubicBezTo>
                            <a:cubicBezTo>
                              <a:pt x="4486" y="3887"/>
                              <a:pt x="4665" y="3588"/>
                              <a:pt x="4844" y="3229"/>
                            </a:cubicBezTo>
                            <a:cubicBezTo>
                              <a:pt x="5024" y="2871"/>
                              <a:pt x="5084" y="2512"/>
                              <a:pt x="5143" y="2153"/>
                            </a:cubicBezTo>
                            <a:cubicBezTo>
                              <a:pt x="5143" y="2153"/>
                              <a:pt x="5143" y="2093"/>
                              <a:pt x="5143" y="2093"/>
                            </a:cubicBezTo>
                            <a:cubicBezTo>
                              <a:pt x="5143" y="2093"/>
                              <a:pt x="5143" y="2033"/>
                              <a:pt x="5143" y="2033"/>
                            </a:cubicBezTo>
                            <a:cubicBezTo>
                              <a:pt x="5143" y="2033"/>
                              <a:pt x="5143" y="1973"/>
                              <a:pt x="5143" y="1973"/>
                            </a:cubicBezTo>
                            <a:cubicBezTo>
                              <a:pt x="5143" y="1973"/>
                              <a:pt x="5143" y="1914"/>
                              <a:pt x="5143" y="1914"/>
                            </a:cubicBezTo>
                            <a:cubicBezTo>
                              <a:pt x="5143" y="1794"/>
                              <a:pt x="5143" y="1734"/>
                              <a:pt x="5143" y="1615"/>
                            </a:cubicBezTo>
                            <a:cubicBezTo>
                              <a:pt x="5143" y="1495"/>
                              <a:pt x="5143" y="1435"/>
                              <a:pt x="5084" y="1375"/>
                            </a:cubicBezTo>
                            <a:cubicBezTo>
                              <a:pt x="5084" y="1316"/>
                              <a:pt x="5024" y="1196"/>
                              <a:pt x="5024" y="1136"/>
                            </a:cubicBezTo>
                            <a:cubicBezTo>
                              <a:pt x="5024" y="1076"/>
                              <a:pt x="4964" y="957"/>
                              <a:pt x="4904" y="897"/>
                            </a:cubicBezTo>
                            <a:cubicBezTo>
                              <a:pt x="4904" y="837"/>
                              <a:pt x="4844" y="778"/>
                              <a:pt x="4785" y="718"/>
                            </a:cubicBezTo>
                            <a:cubicBezTo>
                              <a:pt x="4725" y="658"/>
                              <a:pt x="4725" y="598"/>
                              <a:pt x="4665" y="598"/>
                            </a:cubicBezTo>
                            <a:cubicBezTo>
                              <a:pt x="4605" y="538"/>
                              <a:pt x="4605" y="478"/>
                              <a:pt x="4545" y="478"/>
                            </a:cubicBezTo>
                            <a:cubicBezTo>
                              <a:pt x="4486" y="478"/>
                              <a:pt x="4486" y="419"/>
                              <a:pt x="4426" y="359"/>
                            </a:cubicBezTo>
                            <a:cubicBezTo>
                              <a:pt x="4366" y="299"/>
                              <a:pt x="4306" y="299"/>
                              <a:pt x="4246" y="239"/>
                            </a:cubicBezTo>
                            <a:cubicBezTo>
                              <a:pt x="4187" y="179"/>
                              <a:pt x="4127" y="179"/>
                              <a:pt x="4007" y="119"/>
                            </a:cubicBezTo>
                            <a:cubicBezTo>
                              <a:pt x="3947" y="119"/>
                              <a:pt x="3828" y="60"/>
                              <a:pt x="3768" y="60"/>
                            </a:cubicBezTo>
                            <a:cubicBezTo>
                              <a:pt x="3708" y="60"/>
                              <a:pt x="3589" y="60"/>
                              <a:pt x="3529" y="0"/>
                            </a:cubicBezTo>
                            <a:cubicBezTo>
                              <a:pt x="3469" y="0"/>
                              <a:pt x="3409" y="0"/>
                              <a:pt x="3349" y="0"/>
                            </a:cubicBezTo>
                            <a:cubicBezTo>
                              <a:pt x="3289" y="0"/>
                              <a:pt x="3229" y="0"/>
                              <a:pt x="3170" y="0"/>
                            </a:cubicBezTo>
                            <a:cubicBezTo>
                              <a:pt x="3110" y="0"/>
                              <a:pt x="3050" y="0"/>
                              <a:pt x="2990" y="0"/>
                            </a:cubicBezTo>
                            <a:cubicBezTo>
                              <a:pt x="2930" y="0"/>
                              <a:pt x="2871" y="0"/>
                              <a:pt x="2811" y="60"/>
                            </a:cubicBezTo>
                            <a:cubicBezTo>
                              <a:pt x="2811" y="60"/>
                              <a:pt x="2811" y="60"/>
                              <a:pt x="2811" y="60"/>
                            </a:cubicBezTo>
                            <a:cubicBezTo>
                              <a:pt x="2811" y="60"/>
                              <a:pt x="2811" y="60"/>
                              <a:pt x="2811" y="60"/>
                            </a:cubicBezTo>
                            <a:cubicBezTo>
                              <a:pt x="2811" y="60"/>
                              <a:pt x="2811" y="60"/>
                              <a:pt x="2811" y="60"/>
                            </a:cubicBezTo>
                            <a:cubicBezTo>
                              <a:pt x="2811" y="60"/>
                              <a:pt x="2811" y="60"/>
                              <a:pt x="2811" y="60"/>
                            </a:cubicBezTo>
                            <a:cubicBezTo>
                              <a:pt x="2751" y="60"/>
                              <a:pt x="2691" y="119"/>
                              <a:pt x="2632" y="119"/>
                            </a:cubicBezTo>
                            <a:cubicBezTo>
                              <a:pt x="2572" y="119"/>
                              <a:pt x="2512" y="179"/>
                              <a:pt x="2452" y="179"/>
                            </a:cubicBezTo>
                            <a:cubicBezTo>
                              <a:pt x="2392" y="179"/>
                              <a:pt x="2333" y="239"/>
                              <a:pt x="2273" y="239"/>
                            </a:cubicBezTo>
                            <a:cubicBezTo>
                              <a:pt x="2213" y="239"/>
                              <a:pt x="2153" y="299"/>
                              <a:pt x="2093" y="299"/>
                            </a:cubicBezTo>
                            <a:cubicBezTo>
                              <a:pt x="2034" y="359"/>
                              <a:pt x="1914" y="419"/>
                              <a:pt x="1854" y="478"/>
                            </a:cubicBezTo>
                            <a:cubicBezTo>
                              <a:pt x="1794" y="538"/>
                              <a:pt x="1675" y="598"/>
                              <a:pt x="1615" y="658"/>
                            </a:cubicBezTo>
                            <a:cubicBezTo>
                              <a:pt x="1555" y="718"/>
                              <a:pt x="1435" y="778"/>
                              <a:pt x="1375" y="837"/>
                            </a:cubicBezTo>
                            <a:cubicBezTo>
                              <a:pt x="1316" y="897"/>
                              <a:pt x="1196" y="957"/>
                              <a:pt x="1136" y="1076"/>
                            </a:cubicBezTo>
                            <a:cubicBezTo>
                              <a:pt x="1136" y="1076"/>
                              <a:pt x="1136" y="1076"/>
                              <a:pt x="1076" y="1136"/>
                            </a:cubicBezTo>
                            <a:cubicBezTo>
                              <a:pt x="1076" y="1136"/>
                              <a:pt x="1076" y="1136"/>
                              <a:pt x="1017" y="1196"/>
                            </a:cubicBezTo>
                            <a:cubicBezTo>
                              <a:pt x="1017" y="1196"/>
                              <a:pt x="1017" y="1196"/>
                              <a:pt x="957" y="1256"/>
                            </a:cubicBezTo>
                            <a:cubicBezTo>
                              <a:pt x="957" y="1256"/>
                              <a:pt x="957" y="1256"/>
                              <a:pt x="897" y="1316"/>
                            </a:cubicBezTo>
                            <a:cubicBezTo>
                              <a:pt x="778" y="1495"/>
                              <a:pt x="658" y="1615"/>
                              <a:pt x="538" y="1794"/>
                            </a:cubicBezTo>
                            <a:cubicBezTo>
                              <a:pt x="419" y="1973"/>
                              <a:pt x="359" y="2153"/>
                              <a:pt x="239" y="2333"/>
                            </a:cubicBezTo>
                            <a:cubicBezTo>
                              <a:pt x="120" y="2512"/>
                              <a:pt x="120" y="2691"/>
                              <a:pt x="60" y="2871"/>
                            </a:cubicBezTo>
                            <a:cubicBezTo>
                              <a:pt x="0" y="3050"/>
                              <a:pt x="0" y="3229"/>
                              <a:pt x="0" y="3409"/>
                            </a:cubicBezTo>
                            <a:cubicBezTo>
                              <a:pt x="0" y="3588"/>
                              <a:pt x="0" y="3768"/>
                              <a:pt x="0" y="3947"/>
                            </a:cubicBezTo>
                            <a:cubicBezTo>
                              <a:pt x="0" y="4127"/>
                              <a:pt x="60" y="4306"/>
                              <a:pt x="120" y="4426"/>
                            </a:cubicBezTo>
                            <a:cubicBezTo>
                              <a:pt x="180" y="4545"/>
                              <a:pt x="239" y="4725"/>
                              <a:pt x="359" y="4844"/>
                            </a:cubicBezTo>
                            <a:cubicBezTo>
                              <a:pt x="359" y="5024"/>
                              <a:pt x="479" y="5083"/>
                              <a:pt x="598" y="5203"/>
                            </a:cubicBezTo>
                          </a:path>
                        </a:pathLst>
                      </a:custGeom>
                      <a:noFill/>
                      <a:ln w="6350" cap="flat">
                        <a:solidFill>
                          <a:schemeClr val="bg1">
                            <a:alpha val="40000"/>
                          </a:schemeClr>
                        </a:solidFill>
                        <a:prstDash val="solid"/>
                        <a:miter/>
                      </a:ln>
                    </p:spPr>
                    <p:txBody>
                      <a:bodyPr rtlCol="0" anchor="ctr"/>
                      <a:lstStyle/>
                      <a:p>
                        <a:endParaRPr lang="en-GB"/>
                      </a:p>
                    </p:txBody>
                  </p:sp>
                  <p:sp>
                    <p:nvSpPr>
                      <p:cNvPr id="7465" name="Vrije vorm: vorm 7464">
                        <a:extLst>
                          <a:ext uri="{FF2B5EF4-FFF2-40B4-BE49-F238E27FC236}">
                            <a16:creationId xmlns:a16="http://schemas.microsoft.com/office/drawing/2014/main" id="{5B608E64-D9FD-4724-B7B3-38568DA9835A}"/>
                          </a:ext>
                        </a:extLst>
                      </p:cNvPr>
                      <p:cNvSpPr/>
                      <p:nvPr/>
                    </p:nvSpPr>
                    <p:spPr>
                      <a:xfrm>
                        <a:off x="5300614" y="5399889"/>
                        <a:ext cx="5263" cy="5526"/>
                      </a:xfrm>
                      <a:custGeom>
                        <a:avLst/>
                        <a:gdLst>
                          <a:gd name="connsiteX0" fmla="*/ 4007 w 5263"/>
                          <a:gd name="connsiteY0" fmla="*/ 1221 h 5526"/>
                          <a:gd name="connsiteX1" fmla="*/ 4007 w 5263"/>
                          <a:gd name="connsiteY1" fmla="*/ 1221 h 5526"/>
                          <a:gd name="connsiteX2" fmla="*/ 4007 w 5263"/>
                          <a:gd name="connsiteY2" fmla="*/ 1221 h 5526"/>
                          <a:gd name="connsiteX3" fmla="*/ 4007 w 5263"/>
                          <a:gd name="connsiteY3" fmla="*/ 1221 h 5526"/>
                          <a:gd name="connsiteX4" fmla="*/ 4007 w 5263"/>
                          <a:gd name="connsiteY4" fmla="*/ 1221 h 5526"/>
                          <a:gd name="connsiteX5" fmla="*/ 4246 w 5263"/>
                          <a:gd name="connsiteY5" fmla="*/ 1460 h 5526"/>
                          <a:gd name="connsiteX6" fmla="*/ 4366 w 5263"/>
                          <a:gd name="connsiteY6" fmla="*/ 1700 h 5526"/>
                          <a:gd name="connsiteX7" fmla="*/ 4426 w 5263"/>
                          <a:gd name="connsiteY7" fmla="*/ 1999 h 5526"/>
                          <a:gd name="connsiteX8" fmla="*/ 4426 w 5263"/>
                          <a:gd name="connsiteY8" fmla="*/ 2357 h 5526"/>
                          <a:gd name="connsiteX9" fmla="*/ 4366 w 5263"/>
                          <a:gd name="connsiteY9" fmla="*/ 2716 h 5526"/>
                          <a:gd name="connsiteX10" fmla="*/ 4246 w 5263"/>
                          <a:gd name="connsiteY10" fmla="*/ 3075 h 5526"/>
                          <a:gd name="connsiteX11" fmla="*/ 4067 w 5263"/>
                          <a:gd name="connsiteY11" fmla="*/ 3434 h 5526"/>
                          <a:gd name="connsiteX12" fmla="*/ 3827 w 5263"/>
                          <a:gd name="connsiteY12" fmla="*/ 3733 h 5526"/>
                          <a:gd name="connsiteX13" fmla="*/ 3528 w 5263"/>
                          <a:gd name="connsiteY13" fmla="*/ 4032 h 5526"/>
                          <a:gd name="connsiteX14" fmla="*/ 3229 w 5263"/>
                          <a:gd name="connsiteY14" fmla="*/ 4271 h 5526"/>
                          <a:gd name="connsiteX15" fmla="*/ 2930 w 5263"/>
                          <a:gd name="connsiteY15" fmla="*/ 4450 h 5526"/>
                          <a:gd name="connsiteX16" fmla="*/ 2572 w 5263"/>
                          <a:gd name="connsiteY16" fmla="*/ 4570 h 5526"/>
                          <a:gd name="connsiteX17" fmla="*/ 2273 w 5263"/>
                          <a:gd name="connsiteY17" fmla="*/ 4630 h 5526"/>
                          <a:gd name="connsiteX18" fmla="*/ 1973 w 5263"/>
                          <a:gd name="connsiteY18" fmla="*/ 4630 h 5526"/>
                          <a:gd name="connsiteX19" fmla="*/ 1734 w 5263"/>
                          <a:gd name="connsiteY19" fmla="*/ 4570 h 5526"/>
                          <a:gd name="connsiteX20" fmla="*/ 1495 w 5263"/>
                          <a:gd name="connsiteY20" fmla="*/ 4450 h 5526"/>
                          <a:gd name="connsiteX21" fmla="*/ 1435 w 5263"/>
                          <a:gd name="connsiteY21" fmla="*/ 4391 h 5526"/>
                          <a:gd name="connsiteX22" fmla="*/ 1256 w 5263"/>
                          <a:gd name="connsiteY22" fmla="*/ 4152 h 5526"/>
                          <a:gd name="connsiteX23" fmla="*/ 1136 w 5263"/>
                          <a:gd name="connsiteY23" fmla="*/ 3853 h 5526"/>
                          <a:gd name="connsiteX24" fmla="*/ 1076 w 5263"/>
                          <a:gd name="connsiteY24" fmla="*/ 3554 h 5526"/>
                          <a:gd name="connsiteX25" fmla="*/ 1076 w 5263"/>
                          <a:gd name="connsiteY25" fmla="*/ 3195 h 5526"/>
                          <a:gd name="connsiteX26" fmla="*/ 1136 w 5263"/>
                          <a:gd name="connsiteY26" fmla="*/ 2836 h 5526"/>
                          <a:gd name="connsiteX27" fmla="*/ 1256 w 5263"/>
                          <a:gd name="connsiteY27" fmla="*/ 2477 h 5526"/>
                          <a:gd name="connsiteX28" fmla="*/ 1435 w 5263"/>
                          <a:gd name="connsiteY28" fmla="*/ 2118 h 5526"/>
                          <a:gd name="connsiteX29" fmla="*/ 1674 w 5263"/>
                          <a:gd name="connsiteY29" fmla="*/ 1819 h 5526"/>
                          <a:gd name="connsiteX30" fmla="*/ 2273 w 5263"/>
                          <a:gd name="connsiteY30" fmla="*/ 1281 h 5526"/>
                          <a:gd name="connsiteX31" fmla="*/ 2930 w 5263"/>
                          <a:gd name="connsiteY31" fmla="*/ 982 h 5526"/>
                          <a:gd name="connsiteX32" fmla="*/ 3588 w 5263"/>
                          <a:gd name="connsiteY32" fmla="*/ 922 h 5526"/>
                          <a:gd name="connsiteX33" fmla="*/ 4007 w 5263"/>
                          <a:gd name="connsiteY33" fmla="*/ 1221 h 5526"/>
                          <a:gd name="connsiteX34" fmla="*/ 778 w 5263"/>
                          <a:gd name="connsiteY34" fmla="*/ 5228 h 5526"/>
                          <a:gd name="connsiteX35" fmla="*/ 1136 w 5263"/>
                          <a:gd name="connsiteY35" fmla="*/ 5408 h 5526"/>
                          <a:gd name="connsiteX36" fmla="*/ 1555 w 5263"/>
                          <a:gd name="connsiteY36" fmla="*/ 5527 h 5526"/>
                          <a:gd name="connsiteX37" fmla="*/ 1973 w 5263"/>
                          <a:gd name="connsiteY37" fmla="*/ 5527 h 5526"/>
                          <a:gd name="connsiteX38" fmla="*/ 2452 w 5263"/>
                          <a:gd name="connsiteY38" fmla="*/ 5467 h 5526"/>
                          <a:gd name="connsiteX39" fmla="*/ 2990 w 5263"/>
                          <a:gd name="connsiteY39" fmla="*/ 5288 h 5526"/>
                          <a:gd name="connsiteX40" fmla="*/ 3469 w 5263"/>
                          <a:gd name="connsiteY40" fmla="*/ 5049 h 5526"/>
                          <a:gd name="connsiteX41" fmla="*/ 3947 w 5263"/>
                          <a:gd name="connsiteY41" fmla="*/ 4690 h 5526"/>
                          <a:gd name="connsiteX42" fmla="*/ 4366 w 5263"/>
                          <a:gd name="connsiteY42" fmla="*/ 4271 h 5526"/>
                          <a:gd name="connsiteX43" fmla="*/ 4725 w 5263"/>
                          <a:gd name="connsiteY43" fmla="*/ 3793 h 5526"/>
                          <a:gd name="connsiteX44" fmla="*/ 5024 w 5263"/>
                          <a:gd name="connsiteY44" fmla="*/ 3255 h 5526"/>
                          <a:gd name="connsiteX45" fmla="*/ 5203 w 5263"/>
                          <a:gd name="connsiteY45" fmla="*/ 2716 h 5526"/>
                          <a:gd name="connsiteX46" fmla="*/ 5263 w 5263"/>
                          <a:gd name="connsiteY46" fmla="*/ 2178 h 5526"/>
                          <a:gd name="connsiteX47" fmla="*/ 5263 w 5263"/>
                          <a:gd name="connsiteY47" fmla="*/ 1640 h 5526"/>
                          <a:gd name="connsiteX48" fmla="*/ 5143 w 5263"/>
                          <a:gd name="connsiteY48" fmla="*/ 1161 h 5526"/>
                          <a:gd name="connsiteX49" fmla="*/ 4964 w 5263"/>
                          <a:gd name="connsiteY49" fmla="*/ 742 h 5526"/>
                          <a:gd name="connsiteX50" fmla="*/ 4665 w 5263"/>
                          <a:gd name="connsiteY50" fmla="*/ 384 h 5526"/>
                          <a:gd name="connsiteX51" fmla="*/ 4545 w 5263"/>
                          <a:gd name="connsiteY51" fmla="*/ 324 h 5526"/>
                          <a:gd name="connsiteX52" fmla="*/ 3768 w 5263"/>
                          <a:gd name="connsiteY52" fmla="*/ 25 h 5526"/>
                          <a:gd name="connsiteX53" fmla="*/ 2811 w 5263"/>
                          <a:gd name="connsiteY53" fmla="*/ 85 h 5526"/>
                          <a:gd name="connsiteX54" fmla="*/ 1854 w 5263"/>
                          <a:gd name="connsiteY54" fmla="*/ 503 h 5526"/>
                          <a:gd name="connsiteX55" fmla="*/ 957 w 5263"/>
                          <a:gd name="connsiteY55" fmla="*/ 1281 h 5526"/>
                          <a:gd name="connsiteX56" fmla="*/ 598 w 5263"/>
                          <a:gd name="connsiteY56" fmla="*/ 1759 h 5526"/>
                          <a:gd name="connsiteX57" fmla="*/ 299 w 5263"/>
                          <a:gd name="connsiteY57" fmla="*/ 2298 h 5526"/>
                          <a:gd name="connsiteX58" fmla="*/ 119 w 5263"/>
                          <a:gd name="connsiteY58" fmla="*/ 2836 h 5526"/>
                          <a:gd name="connsiteX59" fmla="*/ 0 w 5263"/>
                          <a:gd name="connsiteY59" fmla="*/ 3374 h 5526"/>
                          <a:gd name="connsiteX60" fmla="*/ 0 w 5263"/>
                          <a:gd name="connsiteY60" fmla="*/ 3912 h 5526"/>
                          <a:gd name="connsiteX61" fmla="*/ 119 w 5263"/>
                          <a:gd name="connsiteY61" fmla="*/ 4391 h 5526"/>
                          <a:gd name="connsiteX62" fmla="*/ 299 w 5263"/>
                          <a:gd name="connsiteY62" fmla="*/ 4809 h 5526"/>
                          <a:gd name="connsiteX63" fmla="*/ 598 w 5263"/>
                          <a:gd name="connsiteY63" fmla="*/ 5168 h 5526"/>
                          <a:gd name="connsiteX64" fmla="*/ 598 w 5263"/>
                          <a:gd name="connsiteY64" fmla="*/ 5168 h 5526"/>
                          <a:gd name="connsiteX65" fmla="*/ 778 w 5263"/>
                          <a:gd name="connsiteY65" fmla="*/ 5228 h 5526"/>
                          <a:gd name="connsiteX66" fmla="*/ 778 w 5263"/>
                          <a:gd name="connsiteY66" fmla="*/ 5228 h 5526"/>
                          <a:gd name="connsiteX67" fmla="*/ 778 w 5263"/>
                          <a:gd name="connsiteY67" fmla="*/ 5228 h 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263" h="5526">
                            <a:moveTo>
                              <a:pt x="4007" y="1221"/>
                            </a:moveTo>
                            <a:cubicBezTo>
                              <a:pt x="4007" y="1221"/>
                              <a:pt x="4007" y="1221"/>
                              <a:pt x="4007" y="1221"/>
                            </a:cubicBezTo>
                            <a:cubicBezTo>
                              <a:pt x="4007" y="1281"/>
                              <a:pt x="4007" y="1281"/>
                              <a:pt x="4007" y="1221"/>
                            </a:cubicBezTo>
                            <a:cubicBezTo>
                              <a:pt x="4007" y="1281"/>
                              <a:pt x="4007" y="1281"/>
                              <a:pt x="4007" y="1221"/>
                            </a:cubicBezTo>
                            <a:cubicBezTo>
                              <a:pt x="4007" y="1281"/>
                              <a:pt x="4007" y="1281"/>
                              <a:pt x="4007" y="1221"/>
                            </a:cubicBezTo>
                            <a:cubicBezTo>
                              <a:pt x="4127" y="1341"/>
                              <a:pt x="4187" y="1400"/>
                              <a:pt x="4246" y="1460"/>
                            </a:cubicBezTo>
                            <a:cubicBezTo>
                              <a:pt x="4306" y="1520"/>
                              <a:pt x="4366" y="1640"/>
                              <a:pt x="4366" y="1700"/>
                            </a:cubicBezTo>
                            <a:cubicBezTo>
                              <a:pt x="4366" y="1759"/>
                              <a:pt x="4426" y="1879"/>
                              <a:pt x="4426" y="1999"/>
                            </a:cubicBezTo>
                            <a:cubicBezTo>
                              <a:pt x="4426" y="2118"/>
                              <a:pt x="4426" y="2238"/>
                              <a:pt x="4426" y="2357"/>
                            </a:cubicBezTo>
                            <a:cubicBezTo>
                              <a:pt x="4426" y="2477"/>
                              <a:pt x="4366" y="2596"/>
                              <a:pt x="4366" y="2716"/>
                            </a:cubicBezTo>
                            <a:cubicBezTo>
                              <a:pt x="4306" y="2836"/>
                              <a:pt x="4306" y="2955"/>
                              <a:pt x="4246" y="3075"/>
                            </a:cubicBezTo>
                            <a:cubicBezTo>
                              <a:pt x="4187" y="3195"/>
                              <a:pt x="4127" y="3314"/>
                              <a:pt x="4067" y="3434"/>
                            </a:cubicBezTo>
                            <a:cubicBezTo>
                              <a:pt x="4007" y="3554"/>
                              <a:pt x="3887" y="3673"/>
                              <a:pt x="3827" y="3733"/>
                            </a:cubicBezTo>
                            <a:cubicBezTo>
                              <a:pt x="3708" y="3853"/>
                              <a:pt x="3648" y="3912"/>
                              <a:pt x="3528" y="4032"/>
                            </a:cubicBezTo>
                            <a:cubicBezTo>
                              <a:pt x="3409" y="4092"/>
                              <a:pt x="3349" y="4211"/>
                              <a:pt x="3229" y="4271"/>
                            </a:cubicBezTo>
                            <a:cubicBezTo>
                              <a:pt x="3110" y="4331"/>
                              <a:pt x="2990" y="4391"/>
                              <a:pt x="2930" y="4450"/>
                            </a:cubicBezTo>
                            <a:cubicBezTo>
                              <a:pt x="2811" y="4510"/>
                              <a:pt x="2691" y="4570"/>
                              <a:pt x="2572" y="4570"/>
                            </a:cubicBezTo>
                            <a:cubicBezTo>
                              <a:pt x="2452" y="4570"/>
                              <a:pt x="2332" y="4630"/>
                              <a:pt x="2273" y="4630"/>
                            </a:cubicBezTo>
                            <a:cubicBezTo>
                              <a:pt x="2153" y="4630"/>
                              <a:pt x="2093" y="4630"/>
                              <a:pt x="1973" y="4630"/>
                            </a:cubicBezTo>
                            <a:cubicBezTo>
                              <a:pt x="1854" y="4630"/>
                              <a:pt x="1794" y="4570"/>
                              <a:pt x="1734" y="4570"/>
                            </a:cubicBezTo>
                            <a:cubicBezTo>
                              <a:pt x="1674" y="4510"/>
                              <a:pt x="1555" y="4510"/>
                              <a:pt x="1495" y="4450"/>
                            </a:cubicBezTo>
                            <a:lnTo>
                              <a:pt x="1435" y="4391"/>
                            </a:lnTo>
                            <a:cubicBezTo>
                              <a:pt x="1375" y="4331"/>
                              <a:pt x="1316" y="4271"/>
                              <a:pt x="1256" y="4152"/>
                            </a:cubicBezTo>
                            <a:cubicBezTo>
                              <a:pt x="1196" y="4092"/>
                              <a:pt x="1136" y="3972"/>
                              <a:pt x="1136" y="3853"/>
                            </a:cubicBezTo>
                            <a:cubicBezTo>
                              <a:pt x="1076" y="3733"/>
                              <a:pt x="1076" y="3673"/>
                              <a:pt x="1076" y="3554"/>
                            </a:cubicBezTo>
                            <a:cubicBezTo>
                              <a:pt x="1076" y="3434"/>
                              <a:pt x="1076" y="3314"/>
                              <a:pt x="1076" y="3195"/>
                            </a:cubicBezTo>
                            <a:cubicBezTo>
                              <a:pt x="1076" y="3075"/>
                              <a:pt x="1136" y="2955"/>
                              <a:pt x="1136" y="2836"/>
                            </a:cubicBezTo>
                            <a:cubicBezTo>
                              <a:pt x="1196" y="2716"/>
                              <a:pt x="1196" y="2596"/>
                              <a:pt x="1256" y="2477"/>
                            </a:cubicBezTo>
                            <a:cubicBezTo>
                              <a:pt x="1316" y="2357"/>
                              <a:pt x="1375" y="2238"/>
                              <a:pt x="1435" y="2118"/>
                            </a:cubicBezTo>
                            <a:cubicBezTo>
                              <a:pt x="1495" y="1999"/>
                              <a:pt x="1615" y="1879"/>
                              <a:pt x="1674" y="1819"/>
                            </a:cubicBezTo>
                            <a:cubicBezTo>
                              <a:pt x="1854" y="1640"/>
                              <a:pt x="2033" y="1460"/>
                              <a:pt x="2273" y="1281"/>
                            </a:cubicBezTo>
                            <a:cubicBezTo>
                              <a:pt x="2512" y="1101"/>
                              <a:pt x="2691" y="1041"/>
                              <a:pt x="2930" y="982"/>
                            </a:cubicBezTo>
                            <a:cubicBezTo>
                              <a:pt x="3170" y="922"/>
                              <a:pt x="3349" y="922"/>
                              <a:pt x="3588" y="922"/>
                            </a:cubicBezTo>
                            <a:cubicBezTo>
                              <a:pt x="3648" y="1041"/>
                              <a:pt x="3827" y="1101"/>
                              <a:pt x="4007" y="1221"/>
                            </a:cubicBezTo>
                            <a:moveTo>
                              <a:pt x="778" y="5228"/>
                            </a:moveTo>
                            <a:cubicBezTo>
                              <a:pt x="897" y="5288"/>
                              <a:pt x="1017" y="5348"/>
                              <a:pt x="1136" y="5408"/>
                            </a:cubicBezTo>
                            <a:cubicBezTo>
                              <a:pt x="1256" y="5467"/>
                              <a:pt x="1375" y="5467"/>
                              <a:pt x="1555" y="5527"/>
                            </a:cubicBezTo>
                            <a:cubicBezTo>
                              <a:pt x="1674" y="5527"/>
                              <a:pt x="1854" y="5527"/>
                              <a:pt x="1973" y="5527"/>
                            </a:cubicBezTo>
                            <a:cubicBezTo>
                              <a:pt x="2093" y="5527"/>
                              <a:pt x="2273" y="5467"/>
                              <a:pt x="2452" y="5467"/>
                            </a:cubicBezTo>
                            <a:cubicBezTo>
                              <a:pt x="2632" y="5408"/>
                              <a:pt x="2811" y="5348"/>
                              <a:pt x="2990" y="5288"/>
                            </a:cubicBezTo>
                            <a:cubicBezTo>
                              <a:pt x="3170" y="5228"/>
                              <a:pt x="3349" y="5109"/>
                              <a:pt x="3469" y="5049"/>
                            </a:cubicBezTo>
                            <a:cubicBezTo>
                              <a:pt x="3648" y="4929"/>
                              <a:pt x="3768" y="4809"/>
                              <a:pt x="3947" y="4690"/>
                            </a:cubicBezTo>
                            <a:cubicBezTo>
                              <a:pt x="4067" y="4570"/>
                              <a:pt x="4246" y="4391"/>
                              <a:pt x="4366" y="4271"/>
                            </a:cubicBezTo>
                            <a:cubicBezTo>
                              <a:pt x="4486" y="4092"/>
                              <a:pt x="4605" y="3972"/>
                              <a:pt x="4725" y="3793"/>
                            </a:cubicBezTo>
                            <a:cubicBezTo>
                              <a:pt x="4844" y="3613"/>
                              <a:pt x="4904" y="3434"/>
                              <a:pt x="5024" y="3255"/>
                            </a:cubicBezTo>
                            <a:cubicBezTo>
                              <a:pt x="5083" y="3075"/>
                              <a:pt x="5143" y="2895"/>
                              <a:pt x="5203" y="2716"/>
                            </a:cubicBezTo>
                            <a:cubicBezTo>
                              <a:pt x="5263" y="2537"/>
                              <a:pt x="5263" y="2357"/>
                              <a:pt x="5263" y="2178"/>
                            </a:cubicBezTo>
                            <a:cubicBezTo>
                              <a:pt x="5263" y="1999"/>
                              <a:pt x="5263" y="1819"/>
                              <a:pt x="5263" y="1640"/>
                            </a:cubicBezTo>
                            <a:cubicBezTo>
                              <a:pt x="5263" y="1460"/>
                              <a:pt x="5203" y="1341"/>
                              <a:pt x="5143" y="1161"/>
                            </a:cubicBezTo>
                            <a:cubicBezTo>
                              <a:pt x="5083" y="1041"/>
                              <a:pt x="5024" y="862"/>
                              <a:pt x="4964" y="742"/>
                            </a:cubicBezTo>
                            <a:cubicBezTo>
                              <a:pt x="4904" y="623"/>
                              <a:pt x="4785" y="503"/>
                              <a:pt x="4665" y="384"/>
                            </a:cubicBezTo>
                            <a:lnTo>
                              <a:pt x="4545" y="324"/>
                            </a:lnTo>
                            <a:cubicBezTo>
                              <a:pt x="4306" y="145"/>
                              <a:pt x="4067" y="85"/>
                              <a:pt x="3768" y="25"/>
                            </a:cubicBezTo>
                            <a:cubicBezTo>
                              <a:pt x="3469" y="-35"/>
                              <a:pt x="3170" y="25"/>
                              <a:pt x="2811" y="85"/>
                            </a:cubicBezTo>
                            <a:cubicBezTo>
                              <a:pt x="2512" y="145"/>
                              <a:pt x="2153" y="324"/>
                              <a:pt x="1854" y="503"/>
                            </a:cubicBezTo>
                            <a:cubicBezTo>
                              <a:pt x="1555" y="683"/>
                              <a:pt x="1256" y="982"/>
                              <a:pt x="957" y="1281"/>
                            </a:cubicBezTo>
                            <a:cubicBezTo>
                              <a:pt x="837" y="1460"/>
                              <a:pt x="718" y="1580"/>
                              <a:pt x="598" y="1759"/>
                            </a:cubicBezTo>
                            <a:cubicBezTo>
                              <a:pt x="478" y="1939"/>
                              <a:pt x="419" y="2118"/>
                              <a:pt x="299" y="2298"/>
                            </a:cubicBezTo>
                            <a:cubicBezTo>
                              <a:pt x="239" y="2477"/>
                              <a:pt x="179" y="2656"/>
                              <a:pt x="119" y="2836"/>
                            </a:cubicBezTo>
                            <a:cubicBezTo>
                              <a:pt x="60" y="3015"/>
                              <a:pt x="60" y="3195"/>
                              <a:pt x="0" y="3374"/>
                            </a:cubicBezTo>
                            <a:cubicBezTo>
                              <a:pt x="0" y="3554"/>
                              <a:pt x="0" y="3733"/>
                              <a:pt x="0" y="3912"/>
                            </a:cubicBezTo>
                            <a:cubicBezTo>
                              <a:pt x="0" y="4092"/>
                              <a:pt x="60" y="4211"/>
                              <a:pt x="119" y="4391"/>
                            </a:cubicBezTo>
                            <a:cubicBezTo>
                              <a:pt x="179" y="4570"/>
                              <a:pt x="239" y="4690"/>
                              <a:pt x="299" y="4809"/>
                            </a:cubicBezTo>
                            <a:cubicBezTo>
                              <a:pt x="359" y="4929"/>
                              <a:pt x="478" y="5049"/>
                              <a:pt x="598" y="5168"/>
                            </a:cubicBezTo>
                            <a:cubicBezTo>
                              <a:pt x="598" y="5168"/>
                              <a:pt x="598" y="5168"/>
                              <a:pt x="598" y="5168"/>
                            </a:cubicBezTo>
                            <a:cubicBezTo>
                              <a:pt x="718" y="5228"/>
                              <a:pt x="718" y="5228"/>
                              <a:pt x="778" y="5228"/>
                            </a:cubicBezTo>
                            <a:cubicBezTo>
                              <a:pt x="718" y="5228"/>
                              <a:pt x="718" y="5228"/>
                              <a:pt x="778" y="5228"/>
                            </a:cubicBezTo>
                            <a:cubicBezTo>
                              <a:pt x="778" y="5228"/>
                              <a:pt x="778" y="5228"/>
                              <a:pt x="778" y="5228"/>
                            </a:cubicBezTo>
                          </a:path>
                        </a:pathLst>
                      </a:custGeom>
                      <a:noFill/>
                      <a:ln w="6350" cap="flat">
                        <a:solidFill>
                          <a:schemeClr val="bg1">
                            <a:alpha val="40000"/>
                          </a:schemeClr>
                        </a:solidFill>
                        <a:prstDash val="solid"/>
                        <a:miter/>
                      </a:ln>
                    </p:spPr>
                    <p:txBody>
                      <a:bodyPr rtlCol="0" anchor="ctr"/>
                      <a:lstStyle/>
                      <a:p>
                        <a:endParaRPr lang="en-GB"/>
                      </a:p>
                    </p:txBody>
                  </p:sp>
                  <p:sp>
                    <p:nvSpPr>
                      <p:cNvPr id="7466" name="Vrije vorm: vorm 7465">
                        <a:extLst>
                          <a:ext uri="{FF2B5EF4-FFF2-40B4-BE49-F238E27FC236}">
                            <a16:creationId xmlns:a16="http://schemas.microsoft.com/office/drawing/2014/main" id="{312B09B4-E92C-423B-8E76-D5B4700DE549}"/>
                          </a:ext>
                        </a:extLst>
                      </p:cNvPr>
                      <p:cNvSpPr/>
                      <p:nvPr/>
                    </p:nvSpPr>
                    <p:spPr>
                      <a:xfrm>
                        <a:off x="5296846" y="5408526"/>
                        <a:ext cx="5203" cy="5502"/>
                      </a:xfrm>
                      <a:custGeom>
                        <a:avLst/>
                        <a:gdLst>
                          <a:gd name="connsiteX0" fmla="*/ 3947 w 5203"/>
                          <a:gd name="connsiteY0" fmla="*/ 1196 h 5502"/>
                          <a:gd name="connsiteX1" fmla="*/ 4127 w 5203"/>
                          <a:gd name="connsiteY1" fmla="*/ 1435 h 5502"/>
                          <a:gd name="connsiteX2" fmla="*/ 4246 w 5203"/>
                          <a:gd name="connsiteY2" fmla="*/ 1675 h 5502"/>
                          <a:gd name="connsiteX3" fmla="*/ 4306 w 5203"/>
                          <a:gd name="connsiteY3" fmla="*/ 1974 h 5502"/>
                          <a:gd name="connsiteX4" fmla="*/ 4306 w 5203"/>
                          <a:gd name="connsiteY4" fmla="*/ 2333 h 5502"/>
                          <a:gd name="connsiteX5" fmla="*/ 4127 w 5203"/>
                          <a:gd name="connsiteY5" fmla="*/ 3050 h 5502"/>
                          <a:gd name="connsiteX6" fmla="*/ 3708 w 5203"/>
                          <a:gd name="connsiteY6" fmla="*/ 3708 h 5502"/>
                          <a:gd name="connsiteX7" fmla="*/ 3110 w 5203"/>
                          <a:gd name="connsiteY7" fmla="*/ 4246 h 5502"/>
                          <a:gd name="connsiteX8" fmla="*/ 2452 w 5203"/>
                          <a:gd name="connsiteY8" fmla="*/ 4545 h 5502"/>
                          <a:gd name="connsiteX9" fmla="*/ 2153 w 5203"/>
                          <a:gd name="connsiteY9" fmla="*/ 4605 h 5502"/>
                          <a:gd name="connsiteX10" fmla="*/ 1854 w 5203"/>
                          <a:gd name="connsiteY10" fmla="*/ 4605 h 5502"/>
                          <a:gd name="connsiteX11" fmla="*/ 1555 w 5203"/>
                          <a:gd name="connsiteY11" fmla="*/ 4545 h 5502"/>
                          <a:gd name="connsiteX12" fmla="*/ 1316 w 5203"/>
                          <a:gd name="connsiteY12" fmla="*/ 4426 h 5502"/>
                          <a:gd name="connsiteX13" fmla="*/ 1076 w 5203"/>
                          <a:gd name="connsiteY13" fmla="*/ 4246 h 5502"/>
                          <a:gd name="connsiteX14" fmla="*/ 897 w 5203"/>
                          <a:gd name="connsiteY14" fmla="*/ 4007 h 5502"/>
                          <a:gd name="connsiteX15" fmla="*/ 837 w 5203"/>
                          <a:gd name="connsiteY15" fmla="*/ 3708 h 5502"/>
                          <a:gd name="connsiteX16" fmla="*/ 837 w 5203"/>
                          <a:gd name="connsiteY16" fmla="*/ 3349 h 5502"/>
                          <a:gd name="connsiteX17" fmla="*/ 897 w 5203"/>
                          <a:gd name="connsiteY17" fmla="*/ 2990 h 5502"/>
                          <a:gd name="connsiteX18" fmla="*/ 1017 w 5203"/>
                          <a:gd name="connsiteY18" fmla="*/ 2632 h 5502"/>
                          <a:gd name="connsiteX19" fmla="*/ 1196 w 5203"/>
                          <a:gd name="connsiteY19" fmla="*/ 2273 h 5502"/>
                          <a:gd name="connsiteX20" fmla="*/ 1435 w 5203"/>
                          <a:gd name="connsiteY20" fmla="*/ 1974 h 5502"/>
                          <a:gd name="connsiteX21" fmla="*/ 1734 w 5203"/>
                          <a:gd name="connsiteY21" fmla="*/ 1675 h 5502"/>
                          <a:gd name="connsiteX22" fmla="*/ 2033 w 5203"/>
                          <a:gd name="connsiteY22" fmla="*/ 1435 h 5502"/>
                          <a:gd name="connsiteX23" fmla="*/ 2333 w 5203"/>
                          <a:gd name="connsiteY23" fmla="*/ 1256 h 5502"/>
                          <a:gd name="connsiteX24" fmla="*/ 2691 w 5203"/>
                          <a:gd name="connsiteY24" fmla="*/ 1136 h 5502"/>
                          <a:gd name="connsiteX25" fmla="*/ 3050 w 5203"/>
                          <a:gd name="connsiteY25" fmla="*/ 1076 h 5502"/>
                          <a:gd name="connsiteX26" fmla="*/ 3349 w 5203"/>
                          <a:gd name="connsiteY26" fmla="*/ 1076 h 5502"/>
                          <a:gd name="connsiteX27" fmla="*/ 3648 w 5203"/>
                          <a:gd name="connsiteY27" fmla="*/ 1196 h 5502"/>
                          <a:gd name="connsiteX28" fmla="*/ 3947 w 5203"/>
                          <a:gd name="connsiteY28" fmla="*/ 1196 h 5502"/>
                          <a:gd name="connsiteX29" fmla="*/ 658 w 5203"/>
                          <a:gd name="connsiteY29" fmla="*/ 5203 h 5502"/>
                          <a:gd name="connsiteX30" fmla="*/ 1017 w 5203"/>
                          <a:gd name="connsiteY30" fmla="*/ 5383 h 5502"/>
                          <a:gd name="connsiteX31" fmla="*/ 1435 w 5203"/>
                          <a:gd name="connsiteY31" fmla="*/ 5502 h 5502"/>
                          <a:gd name="connsiteX32" fmla="*/ 1854 w 5203"/>
                          <a:gd name="connsiteY32" fmla="*/ 5502 h 5502"/>
                          <a:gd name="connsiteX33" fmla="*/ 2333 w 5203"/>
                          <a:gd name="connsiteY33" fmla="*/ 5443 h 5502"/>
                          <a:gd name="connsiteX34" fmla="*/ 3349 w 5203"/>
                          <a:gd name="connsiteY34" fmla="*/ 4964 h 5502"/>
                          <a:gd name="connsiteX35" fmla="*/ 4246 w 5203"/>
                          <a:gd name="connsiteY35" fmla="*/ 4187 h 5502"/>
                          <a:gd name="connsiteX36" fmla="*/ 4904 w 5203"/>
                          <a:gd name="connsiteY36" fmla="*/ 3229 h 5502"/>
                          <a:gd name="connsiteX37" fmla="*/ 5203 w 5203"/>
                          <a:gd name="connsiteY37" fmla="*/ 2153 h 5502"/>
                          <a:gd name="connsiteX38" fmla="*/ 5203 w 5203"/>
                          <a:gd name="connsiteY38" fmla="*/ 1615 h 5502"/>
                          <a:gd name="connsiteX39" fmla="*/ 5083 w 5203"/>
                          <a:gd name="connsiteY39" fmla="*/ 1136 h 5502"/>
                          <a:gd name="connsiteX40" fmla="*/ 4904 w 5203"/>
                          <a:gd name="connsiteY40" fmla="*/ 718 h 5502"/>
                          <a:gd name="connsiteX41" fmla="*/ 4605 w 5203"/>
                          <a:gd name="connsiteY41" fmla="*/ 359 h 5502"/>
                          <a:gd name="connsiteX42" fmla="*/ 4486 w 5203"/>
                          <a:gd name="connsiteY42" fmla="*/ 299 h 5502"/>
                          <a:gd name="connsiteX43" fmla="*/ 4127 w 5203"/>
                          <a:gd name="connsiteY43" fmla="*/ 120 h 5502"/>
                          <a:gd name="connsiteX44" fmla="*/ 3708 w 5203"/>
                          <a:gd name="connsiteY44" fmla="*/ 0 h 5502"/>
                          <a:gd name="connsiteX45" fmla="*/ 3289 w 5203"/>
                          <a:gd name="connsiteY45" fmla="*/ 0 h 5502"/>
                          <a:gd name="connsiteX46" fmla="*/ 2811 w 5203"/>
                          <a:gd name="connsiteY46" fmla="*/ 60 h 5502"/>
                          <a:gd name="connsiteX47" fmla="*/ 2273 w 5203"/>
                          <a:gd name="connsiteY47" fmla="*/ 239 h 5502"/>
                          <a:gd name="connsiteX48" fmla="*/ 1794 w 5203"/>
                          <a:gd name="connsiteY48" fmla="*/ 479 h 5502"/>
                          <a:gd name="connsiteX49" fmla="*/ 1316 w 5203"/>
                          <a:gd name="connsiteY49" fmla="*/ 837 h 5502"/>
                          <a:gd name="connsiteX50" fmla="*/ 897 w 5203"/>
                          <a:gd name="connsiteY50" fmla="*/ 1256 h 5502"/>
                          <a:gd name="connsiteX51" fmla="*/ 538 w 5203"/>
                          <a:gd name="connsiteY51" fmla="*/ 1734 h 5502"/>
                          <a:gd name="connsiteX52" fmla="*/ 239 w 5203"/>
                          <a:gd name="connsiteY52" fmla="*/ 2273 h 5502"/>
                          <a:gd name="connsiteX53" fmla="*/ 60 w 5203"/>
                          <a:gd name="connsiteY53" fmla="*/ 2811 h 5502"/>
                          <a:gd name="connsiteX54" fmla="*/ 0 w 5203"/>
                          <a:gd name="connsiteY54" fmla="*/ 3349 h 5502"/>
                          <a:gd name="connsiteX55" fmla="*/ 0 w 5203"/>
                          <a:gd name="connsiteY55" fmla="*/ 3888 h 5502"/>
                          <a:gd name="connsiteX56" fmla="*/ 119 w 5203"/>
                          <a:gd name="connsiteY56" fmla="*/ 4366 h 5502"/>
                          <a:gd name="connsiteX57" fmla="*/ 359 w 5203"/>
                          <a:gd name="connsiteY57" fmla="*/ 4785 h 5502"/>
                          <a:gd name="connsiteX58" fmla="*/ 658 w 5203"/>
                          <a:gd name="connsiteY58" fmla="*/ 5203 h 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203" h="5502">
                            <a:moveTo>
                              <a:pt x="3947" y="1196"/>
                            </a:moveTo>
                            <a:cubicBezTo>
                              <a:pt x="4007" y="1256"/>
                              <a:pt x="4067" y="1316"/>
                              <a:pt x="4127" y="1435"/>
                            </a:cubicBezTo>
                            <a:cubicBezTo>
                              <a:pt x="4187" y="1495"/>
                              <a:pt x="4246" y="1615"/>
                              <a:pt x="4246" y="1675"/>
                            </a:cubicBezTo>
                            <a:cubicBezTo>
                              <a:pt x="4246" y="1734"/>
                              <a:pt x="4306" y="1854"/>
                              <a:pt x="4306" y="1974"/>
                            </a:cubicBezTo>
                            <a:cubicBezTo>
                              <a:pt x="4306" y="2093"/>
                              <a:pt x="4306" y="2213"/>
                              <a:pt x="4306" y="2333"/>
                            </a:cubicBezTo>
                            <a:cubicBezTo>
                              <a:pt x="4306" y="2572"/>
                              <a:pt x="4187" y="2811"/>
                              <a:pt x="4127" y="3050"/>
                            </a:cubicBezTo>
                            <a:cubicBezTo>
                              <a:pt x="4067" y="3289"/>
                              <a:pt x="3887" y="3529"/>
                              <a:pt x="3708" y="3708"/>
                            </a:cubicBezTo>
                            <a:cubicBezTo>
                              <a:pt x="3528" y="3888"/>
                              <a:pt x="3349" y="4067"/>
                              <a:pt x="3110" y="4246"/>
                            </a:cubicBezTo>
                            <a:cubicBezTo>
                              <a:pt x="2871" y="4366"/>
                              <a:pt x="2691" y="4486"/>
                              <a:pt x="2452" y="4545"/>
                            </a:cubicBezTo>
                            <a:cubicBezTo>
                              <a:pt x="2333" y="4545"/>
                              <a:pt x="2213" y="4605"/>
                              <a:pt x="2153" y="4605"/>
                            </a:cubicBezTo>
                            <a:cubicBezTo>
                              <a:pt x="2093" y="4605"/>
                              <a:pt x="1974" y="4605"/>
                              <a:pt x="1854" y="4605"/>
                            </a:cubicBezTo>
                            <a:cubicBezTo>
                              <a:pt x="1734" y="4605"/>
                              <a:pt x="1674" y="4545"/>
                              <a:pt x="1555" y="4545"/>
                            </a:cubicBezTo>
                            <a:cubicBezTo>
                              <a:pt x="1495" y="4486"/>
                              <a:pt x="1375" y="4486"/>
                              <a:pt x="1316" y="4426"/>
                            </a:cubicBezTo>
                            <a:cubicBezTo>
                              <a:pt x="1256" y="4366"/>
                              <a:pt x="1136" y="4306"/>
                              <a:pt x="1076" y="4246"/>
                            </a:cubicBezTo>
                            <a:cubicBezTo>
                              <a:pt x="1017" y="4187"/>
                              <a:pt x="957" y="4067"/>
                              <a:pt x="897" y="4007"/>
                            </a:cubicBezTo>
                            <a:cubicBezTo>
                              <a:pt x="837" y="3888"/>
                              <a:pt x="837" y="3828"/>
                              <a:pt x="837" y="3708"/>
                            </a:cubicBezTo>
                            <a:cubicBezTo>
                              <a:pt x="837" y="3589"/>
                              <a:pt x="837" y="3469"/>
                              <a:pt x="837" y="3349"/>
                            </a:cubicBezTo>
                            <a:cubicBezTo>
                              <a:pt x="837" y="3229"/>
                              <a:pt x="897" y="3110"/>
                              <a:pt x="897" y="2990"/>
                            </a:cubicBezTo>
                            <a:cubicBezTo>
                              <a:pt x="897" y="2871"/>
                              <a:pt x="957" y="2751"/>
                              <a:pt x="1017" y="2632"/>
                            </a:cubicBezTo>
                            <a:cubicBezTo>
                              <a:pt x="1076" y="2512"/>
                              <a:pt x="1136" y="2392"/>
                              <a:pt x="1196" y="2273"/>
                            </a:cubicBezTo>
                            <a:cubicBezTo>
                              <a:pt x="1256" y="2153"/>
                              <a:pt x="1375" y="2034"/>
                              <a:pt x="1435" y="1974"/>
                            </a:cubicBezTo>
                            <a:cubicBezTo>
                              <a:pt x="1555" y="1854"/>
                              <a:pt x="1615" y="1794"/>
                              <a:pt x="1734" y="1675"/>
                            </a:cubicBezTo>
                            <a:cubicBezTo>
                              <a:pt x="1854" y="1555"/>
                              <a:pt x="1914" y="1495"/>
                              <a:pt x="2033" y="1435"/>
                            </a:cubicBezTo>
                            <a:cubicBezTo>
                              <a:pt x="2153" y="1375"/>
                              <a:pt x="2273" y="1316"/>
                              <a:pt x="2333" y="1256"/>
                            </a:cubicBezTo>
                            <a:cubicBezTo>
                              <a:pt x="2452" y="1196"/>
                              <a:pt x="2572" y="1136"/>
                              <a:pt x="2691" y="1136"/>
                            </a:cubicBezTo>
                            <a:cubicBezTo>
                              <a:pt x="2811" y="1136"/>
                              <a:pt x="2930" y="1076"/>
                              <a:pt x="3050" y="1076"/>
                            </a:cubicBezTo>
                            <a:cubicBezTo>
                              <a:pt x="3170" y="1076"/>
                              <a:pt x="3289" y="1076"/>
                              <a:pt x="3349" y="1076"/>
                            </a:cubicBezTo>
                            <a:cubicBezTo>
                              <a:pt x="3409" y="1076"/>
                              <a:pt x="3528" y="1136"/>
                              <a:pt x="3648" y="1196"/>
                            </a:cubicBezTo>
                            <a:cubicBezTo>
                              <a:pt x="3768" y="1136"/>
                              <a:pt x="3828" y="1136"/>
                              <a:pt x="3947" y="1196"/>
                            </a:cubicBezTo>
                            <a:moveTo>
                              <a:pt x="658" y="5203"/>
                            </a:moveTo>
                            <a:cubicBezTo>
                              <a:pt x="778" y="5263"/>
                              <a:pt x="897" y="5323"/>
                              <a:pt x="1017" y="5383"/>
                            </a:cubicBezTo>
                            <a:cubicBezTo>
                              <a:pt x="1136" y="5443"/>
                              <a:pt x="1256" y="5443"/>
                              <a:pt x="1435" y="5502"/>
                            </a:cubicBezTo>
                            <a:cubicBezTo>
                              <a:pt x="1555" y="5502"/>
                              <a:pt x="1734" y="5502"/>
                              <a:pt x="1854" y="5502"/>
                            </a:cubicBezTo>
                            <a:cubicBezTo>
                              <a:pt x="2033" y="5502"/>
                              <a:pt x="2153" y="5443"/>
                              <a:pt x="2333" y="5443"/>
                            </a:cubicBezTo>
                            <a:cubicBezTo>
                              <a:pt x="2691" y="5383"/>
                              <a:pt x="3050" y="5203"/>
                              <a:pt x="3349" y="4964"/>
                            </a:cubicBezTo>
                            <a:cubicBezTo>
                              <a:pt x="3648" y="4725"/>
                              <a:pt x="3947" y="4486"/>
                              <a:pt x="4246" y="4187"/>
                            </a:cubicBezTo>
                            <a:cubicBezTo>
                              <a:pt x="4545" y="3888"/>
                              <a:pt x="4725" y="3589"/>
                              <a:pt x="4904" y="3229"/>
                            </a:cubicBezTo>
                            <a:cubicBezTo>
                              <a:pt x="5083" y="2871"/>
                              <a:pt x="5143" y="2512"/>
                              <a:pt x="5203" y="2153"/>
                            </a:cubicBezTo>
                            <a:cubicBezTo>
                              <a:pt x="5203" y="1974"/>
                              <a:pt x="5203" y="1794"/>
                              <a:pt x="5203" y="1615"/>
                            </a:cubicBezTo>
                            <a:cubicBezTo>
                              <a:pt x="5203" y="1435"/>
                              <a:pt x="5143" y="1316"/>
                              <a:pt x="5083" y="1136"/>
                            </a:cubicBezTo>
                            <a:cubicBezTo>
                              <a:pt x="5024" y="957"/>
                              <a:pt x="4964" y="837"/>
                              <a:pt x="4904" y="718"/>
                            </a:cubicBezTo>
                            <a:cubicBezTo>
                              <a:pt x="4844" y="598"/>
                              <a:pt x="4725" y="479"/>
                              <a:pt x="4605" y="359"/>
                            </a:cubicBezTo>
                            <a:lnTo>
                              <a:pt x="4486" y="299"/>
                            </a:lnTo>
                            <a:cubicBezTo>
                              <a:pt x="4366" y="239"/>
                              <a:pt x="4246" y="180"/>
                              <a:pt x="4127" y="120"/>
                            </a:cubicBezTo>
                            <a:cubicBezTo>
                              <a:pt x="4007" y="60"/>
                              <a:pt x="3887" y="60"/>
                              <a:pt x="3708" y="0"/>
                            </a:cubicBezTo>
                            <a:cubicBezTo>
                              <a:pt x="3588" y="0"/>
                              <a:pt x="3409" y="0"/>
                              <a:pt x="3289" y="0"/>
                            </a:cubicBezTo>
                            <a:cubicBezTo>
                              <a:pt x="3110" y="0"/>
                              <a:pt x="2990" y="60"/>
                              <a:pt x="2811" y="60"/>
                            </a:cubicBezTo>
                            <a:cubicBezTo>
                              <a:pt x="2632" y="120"/>
                              <a:pt x="2452" y="180"/>
                              <a:pt x="2273" y="239"/>
                            </a:cubicBezTo>
                            <a:cubicBezTo>
                              <a:pt x="2093" y="299"/>
                              <a:pt x="1914" y="419"/>
                              <a:pt x="1794" y="479"/>
                            </a:cubicBezTo>
                            <a:cubicBezTo>
                              <a:pt x="1674" y="538"/>
                              <a:pt x="1495" y="718"/>
                              <a:pt x="1316" y="837"/>
                            </a:cubicBezTo>
                            <a:cubicBezTo>
                              <a:pt x="1136" y="957"/>
                              <a:pt x="1017" y="1136"/>
                              <a:pt x="897" y="1256"/>
                            </a:cubicBezTo>
                            <a:cubicBezTo>
                              <a:pt x="778" y="1435"/>
                              <a:pt x="658" y="1555"/>
                              <a:pt x="538" y="1734"/>
                            </a:cubicBezTo>
                            <a:cubicBezTo>
                              <a:pt x="419" y="1914"/>
                              <a:pt x="359" y="2093"/>
                              <a:pt x="239" y="2273"/>
                            </a:cubicBezTo>
                            <a:cubicBezTo>
                              <a:pt x="179" y="2452"/>
                              <a:pt x="119" y="2632"/>
                              <a:pt x="60" y="2811"/>
                            </a:cubicBezTo>
                            <a:cubicBezTo>
                              <a:pt x="0" y="2990"/>
                              <a:pt x="0" y="3170"/>
                              <a:pt x="0" y="3349"/>
                            </a:cubicBezTo>
                            <a:cubicBezTo>
                              <a:pt x="0" y="3529"/>
                              <a:pt x="0" y="3708"/>
                              <a:pt x="0" y="3888"/>
                            </a:cubicBezTo>
                            <a:cubicBezTo>
                              <a:pt x="0" y="4067"/>
                              <a:pt x="60" y="4246"/>
                              <a:pt x="119" y="4366"/>
                            </a:cubicBezTo>
                            <a:cubicBezTo>
                              <a:pt x="179" y="4486"/>
                              <a:pt x="239" y="4665"/>
                              <a:pt x="359" y="4785"/>
                            </a:cubicBezTo>
                            <a:cubicBezTo>
                              <a:pt x="479" y="4904"/>
                              <a:pt x="538" y="5084"/>
                              <a:pt x="658" y="5203"/>
                            </a:cubicBezTo>
                          </a:path>
                        </a:pathLst>
                      </a:custGeom>
                      <a:noFill/>
                      <a:ln w="6350" cap="flat">
                        <a:solidFill>
                          <a:schemeClr val="bg1">
                            <a:alpha val="40000"/>
                          </a:schemeClr>
                        </a:solidFill>
                        <a:prstDash val="solid"/>
                        <a:miter/>
                      </a:ln>
                    </p:spPr>
                    <p:txBody>
                      <a:bodyPr rtlCol="0" anchor="ctr"/>
                      <a:lstStyle/>
                      <a:p>
                        <a:endParaRPr lang="en-GB"/>
                      </a:p>
                    </p:txBody>
                  </p:sp>
                  <p:sp>
                    <p:nvSpPr>
                      <p:cNvPr id="7467" name="Vrije vorm: vorm 7466">
                        <a:extLst>
                          <a:ext uri="{FF2B5EF4-FFF2-40B4-BE49-F238E27FC236}">
                            <a16:creationId xmlns:a16="http://schemas.microsoft.com/office/drawing/2014/main" id="{A66ABE83-D5FE-4D4F-8E13-C62E25F3EC42}"/>
                          </a:ext>
                        </a:extLst>
                      </p:cNvPr>
                      <p:cNvSpPr/>
                      <p:nvPr/>
                    </p:nvSpPr>
                    <p:spPr>
                      <a:xfrm>
                        <a:off x="5299298" y="5415643"/>
                        <a:ext cx="5226" cy="5382"/>
                      </a:xfrm>
                      <a:custGeom>
                        <a:avLst/>
                        <a:gdLst>
                          <a:gd name="connsiteX0" fmla="*/ 3888 w 5226"/>
                          <a:gd name="connsiteY0" fmla="*/ 1076 h 5382"/>
                          <a:gd name="connsiteX1" fmla="*/ 4067 w 5226"/>
                          <a:gd name="connsiteY1" fmla="*/ 1316 h 5382"/>
                          <a:gd name="connsiteX2" fmla="*/ 4187 w 5226"/>
                          <a:gd name="connsiteY2" fmla="*/ 1555 h 5382"/>
                          <a:gd name="connsiteX3" fmla="*/ 4246 w 5226"/>
                          <a:gd name="connsiteY3" fmla="*/ 1854 h 5382"/>
                          <a:gd name="connsiteX4" fmla="*/ 4246 w 5226"/>
                          <a:gd name="connsiteY4" fmla="*/ 2213 h 5382"/>
                          <a:gd name="connsiteX5" fmla="*/ 4187 w 5226"/>
                          <a:gd name="connsiteY5" fmla="*/ 2572 h 5382"/>
                          <a:gd name="connsiteX6" fmla="*/ 4067 w 5226"/>
                          <a:gd name="connsiteY6" fmla="*/ 2930 h 5382"/>
                          <a:gd name="connsiteX7" fmla="*/ 3888 w 5226"/>
                          <a:gd name="connsiteY7" fmla="*/ 3289 h 5382"/>
                          <a:gd name="connsiteX8" fmla="*/ 3648 w 5226"/>
                          <a:gd name="connsiteY8" fmla="*/ 3588 h 5382"/>
                          <a:gd name="connsiteX9" fmla="*/ 3349 w 5226"/>
                          <a:gd name="connsiteY9" fmla="*/ 3888 h 5382"/>
                          <a:gd name="connsiteX10" fmla="*/ 3050 w 5226"/>
                          <a:gd name="connsiteY10" fmla="*/ 4127 h 5382"/>
                          <a:gd name="connsiteX11" fmla="*/ 2691 w 5226"/>
                          <a:gd name="connsiteY11" fmla="*/ 4306 h 5382"/>
                          <a:gd name="connsiteX12" fmla="*/ 2333 w 5226"/>
                          <a:gd name="connsiteY12" fmla="*/ 4426 h 5382"/>
                          <a:gd name="connsiteX13" fmla="*/ 2034 w 5226"/>
                          <a:gd name="connsiteY13" fmla="*/ 4486 h 5382"/>
                          <a:gd name="connsiteX14" fmla="*/ 1735 w 5226"/>
                          <a:gd name="connsiteY14" fmla="*/ 4486 h 5382"/>
                          <a:gd name="connsiteX15" fmla="*/ 1435 w 5226"/>
                          <a:gd name="connsiteY15" fmla="*/ 4426 h 5382"/>
                          <a:gd name="connsiteX16" fmla="*/ 1196 w 5226"/>
                          <a:gd name="connsiteY16" fmla="*/ 4306 h 5382"/>
                          <a:gd name="connsiteX17" fmla="*/ 1136 w 5226"/>
                          <a:gd name="connsiteY17" fmla="*/ 4246 h 5382"/>
                          <a:gd name="connsiteX18" fmla="*/ 957 w 5226"/>
                          <a:gd name="connsiteY18" fmla="*/ 4007 h 5382"/>
                          <a:gd name="connsiteX19" fmla="*/ 837 w 5226"/>
                          <a:gd name="connsiteY19" fmla="*/ 3768 h 5382"/>
                          <a:gd name="connsiteX20" fmla="*/ 778 w 5226"/>
                          <a:gd name="connsiteY20" fmla="*/ 3469 h 5382"/>
                          <a:gd name="connsiteX21" fmla="*/ 778 w 5226"/>
                          <a:gd name="connsiteY21" fmla="*/ 3110 h 5382"/>
                          <a:gd name="connsiteX22" fmla="*/ 837 w 5226"/>
                          <a:gd name="connsiteY22" fmla="*/ 2751 h 5382"/>
                          <a:gd name="connsiteX23" fmla="*/ 957 w 5226"/>
                          <a:gd name="connsiteY23" fmla="*/ 2392 h 5382"/>
                          <a:gd name="connsiteX24" fmla="*/ 1136 w 5226"/>
                          <a:gd name="connsiteY24" fmla="*/ 2034 h 5382"/>
                          <a:gd name="connsiteX25" fmla="*/ 1376 w 5226"/>
                          <a:gd name="connsiteY25" fmla="*/ 1734 h 5382"/>
                          <a:gd name="connsiteX26" fmla="*/ 1675 w 5226"/>
                          <a:gd name="connsiteY26" fmla="*/ 1435 h 5382"/>
                          <a:gd name="connsiteX27" fmla="*/ 1974 w 5226"/>
                          <a:gd name="connsiteY27" fmla="*/ 1196 h 5382"/>
                          <a:gd name="connsiteX28" fmla="*/ 2273 w 5226"/>
                          <a:gd name="connsiteY28" fmla="*/ 1017 h 5382"/>
                          <a:gd name="connsiteX29" fmla="*/ 2632 w 5226"/>
                          <a:gd name="connsiteY29" fmla="*/ 897 h 5382"/>
                          <a:gd name="connsiteX30" fmla="*/ 2990 w 5226"/>
                          <a:gd name="connsiteY30" fmla="*/ 837 h 5382"/>
                          <a:gd name="connsiteX31" fmla="*/ 3289 w 5226"/>
                          <a:gd name="connsiteY31" fmla="*/ 897 h 5382"/>
                          <a:gd name="connsiteX32" fmla="*/ 3589 w 5226"/>
                          <a:gd name="connsiteY32" fmla="*/ 1017 h 5382"/>
                          <a:gd name="connsiteX33" fmla="*/ 3888 w 5226"/>
                          <a:gd name="connsiteY33" fmla="*/ 1076 h 5382"/>
                          <a:gd name="connsiteX34" fmla="*/ 658 w 5226"/>
                          <a:gd name="connsiteY34" fmla="*/ 5083 h 5382"/>
                          <a:gd name="connsiteX35" fmla="*/ 1017 w 5226"/>
                          <a:gd name="connsiteY35" fmla="*/ 5263 h 5382"/>
                          <a:gd name="connsiteX36" fmla="*/ 1435 w 5226"/>
                          <a:gd name="connsiteY36" fmla="*/ 5383 h 5382"/>
                          <a:gd name="connsiteX37" fmla="*/ 1854 w 5226"/>
                          <a:gd name="connsiteY37" fmla="*/ 5383 h 5382"/>
                          <a:gd name="connsiteX38" fmla="*/ 2333 w 5226"/>
                          <a:gd name="connsiteY38" fmla="*/ 5323 h 5382"/>
                          <a:gd name="connsiteX39" fmla="*/ 2871 w 5226"/>
                          <a:gd name="connsiteY39" fmla="*/ 5143 h 5382"/>
                          <a:gd name="connsiteX40" fmla="*/ 3349 w 5226"/>
                          <a:gd name="connsiteY40" fmla="*/ 4844 h 5382"/>
                          <a:gd name="connsiteX41" fmla="*/ 3828 w 5226"/>
                          <a:gd name="connsiteY41" fmla="*/ 4486 h 5382"/>
                          <a:gd name="connsiteX42" fmla="*/ 4246 w 5226"/>
                          <a:gd name="connsiteY42" fmla="*/ 4067 h 5382"/>
                          <a:gd name="connsiteX43" fmla="*/ 4904 w 5226"/>
                          <a:gd name="connsiteY43" fmla="*/ 3050 h 5382"/>
                          <a:gd name="connsiteX44" fmla="*/ 5203 w 5226"/>
                          <a:gd name="connsiteY44" fmla="*/ 2034 h 5382"/>
                          <a:gd name="connsiteX45" fmla="*/ 5084 w 5226"/>
                          <a:gd name="connsiteY45" fmla="*/ 1076 h 5382"/>
                          <a:gd name="connsiteX46" fmla="*/ 4605 w 5226"/>
                          <a:gd name="connsiteY46" fmla="*/ 359 h 5382"/>
                          <a:gd name="connsiteX47" fmla="*/ 4486 w 5226"/>
                          <a:gd name="connsiteY47" fmla="*/ 299 h 5382"/>
                          <a:gd name="connsiteX48" fmla="*/ 4127 w 5226"/>
                          <a:gd name="connsiteY48" fmla="*/ 120 h 5382"/>
                          <a:gd name="connsiteX49" fmla="*/ 3708 w 5226"/>
                          <a:gd name="connsiteY49" fmla="*/ 0 h 5382"/>
                          <a:gd name="connsiteX50" fmla="*/ 3289 w 5226"/>
                          <a:gd name="connsiteY50" fmla="*/ 0 h 5382"/>
                          <a:gd name="connsiteX51" fmla="*/ 2811 w 5226"/>
                          <a:gd name="connsiteY51" fmla="*/ 60 h 5382"/>
                          <a:gd name="connsiteX52" fmla="*/ 2273 w 5226"/>
                          <a:gd name="connsiteY52" fmla="*/ 239 h 5382"/>
                          <a:gd name="connsiteX53" fmla="*/ 1794 w 5226"/>
                          <a:gd name="connsiteY53" fmla="*/ 538 h 5382"/>
                          <a:gd name="connsiteX54" fmla="*/ 1316 w 5226"/>
                          <a:gd name="connsiteY54" fmla="*/ 897 h 5382"/>
                          <a:gd name="connsiteX55" fmla="*/ 897 w 5226"/>
                          <a:gd name="connsiteY55" fmla="*/ 1316 h 5382"/>
                          <a:gd name="connsiteX56" fmla="*/ 538 w 5226"/>
                          <a:gd name="connsiteY56" fmla="*/ 1794 h 5382"/>
                          <a:gd name="connsiteX57" fmla="*/ 239 w 5226"/>
                          <a:gd name="connsiteY57" fmla="*/ 2333 h 5382"/>
                          <a:gd name="connsiteX58" fmla="*/ 60 w 5226"/>
                          <a:gd name="connsiteY58" fmla="*/ 2871 h 5382"/>
                          <a:gd name="connsiteX59" fmla="*/ 0 w 5226"/>
                          <a:gd name="connsiteY59" fmla="*/ 3409 h 5382"/>
                          <a:gd name="connsiteX60" fmla="*/ 0 w 5226"/>
                          <a:gd name="connsiteY60" fmla="*/ 3888 h 5382"/>
                          <a:gd name="connsiteX61" fmla="*/ 120 w 5226"/>
                          <a:gd name="connsiteY61" fmla="*/ 4306 h 5382"/>
                          <a:gd name="connsiteX62" fmla="*/ 299 w 5226"/>
                          <a:gd name="connsiteY62" fmla="*/ 4725 h 5382"/>
                          <a:gd name="connsiteX63" fmla="*/ 598 w 5226"/>
                          <a:gd name="connsiteY63" fmla="*/ 5024 h 5382"/>
                          <a:gd name="connsiteX64" fmla="*/ 658 w 5226"/>
                          <a:gd name="connsiteY64" fmla="*/ 5083 h 5382"/>
                          <a:gd name="connsiteX65" fmla="*/ 718 w 5226"/>
                          <a:gd name="connsiteY65" fmla="*/ 5083 h 5382"/>
                          <a:gd name="connsiteX66" fmla="*/ 658 w 5226"/>
                          <a:gd name="connsiteY66" fmla="*/ 5083 h 5382"/>
                          <a:gd name="connsiteX67" fmla="*/ 658 w 5226"/>
                          <a:gd name="connsiteY67" fmla="*/ 5083 h 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226" h="5382">
                            <a:moveTo>
                              <a:pt x="3888" y="1076"/>
                            </a:moveTo>
                            <a:cubicBezTo>
                              <a:pt x="3947" y="1136"/>
                              <a:pt x="4007" y="1196"/>
                              <a:pt x="4067" y="1316"/>
                            </a:cubicBezTo>
                            <a:cubicBezTo>
                              <a:pt x="4127" y="1435"/>
                              <a:pt x="4187" y="1495"/>
                              <a:pt x="4187" y="1555"/>
                            </a:cubicBezTo>
                            <a:cubicBezTo>
                              <a:pt x="4246" y="1675"/>
                              <a:pt x="4246" y="1734"/>
                              <a:pt x="4246" y="1854"/>
                            </a:cubicBezTo>
                            <a:cubicBezTo>
                              <a:pt x="4246" y="1974"/>
                              <a:pt x="4246" y="2093"/>
                              <a:pt x="4246" y="2213"/>
                            </a:cubicBezTo>
                            <a:cubicBezTo>
                              <a:pt x="4246" y="2333"/>
                              <a:pt x="4187" y="2452"/>
                              <a:pt x="4187" y="2572"/>
                            </a:cubicBezTo>
                            <a:cubicBezTo>
                              <a:pt x="4187" y="2691"/>
                              <a:pt x="4127" y="2811"/>
                              <a:pt x="4067" y="2930"/>
                            </a:cubicBezTo>
                            <a:cubicBezTo>
                              <a:pt x="4007" y="3050"/>
                              <a:pt x="3947" y="3170"/>
                              <a:pt x="3888" y="3289"/>
                            </a:cubicBezTo>
                            <a:cubicBezTo>
                              <a:pt x="3828" y="3409"/>
                              <a:pt x="3708" y="3529"/>
                              <a:pt x="3648" y="3588"/>
                            </a:cubicBezTo>
                            <a:cubicBezTo>
                              <a:pt x="3529" y="3708"/>
                              <a:pt x="3469" y="3768"/>
                              <a:pt x="3349" y="3888"/>
                            </a:cubicBezTo>
                            <a:cubicBezTo>
                              <a:pt x="3230" y="3947"/>
                              <a:pt x="3170" y="4067"/>
                              <a:pt x="3050" y="4127"/>
                            </a:cubicBezTo>
                            <a:cubicBezTo>
                              <a:pt x="2930" y="4187"/>
                              <a:pt x="2811" y="4246"/>
                              <a:pt x="2691" y="4306"/>
                            </a:cubicBezTo>
                            <a:cubicBezTo>
                              <a:pt x="2572" y="4366"/>
                              <a:pt x="2452" y="4366"/>
                              <a:pt x="2333" y="4426"/>
                            </a:cubicBezTo>
                            <a:cubicBezTo>
                              <a:pt x="2213" y="4426"/>
                              <a:pt x="2153" y="4486"/>
                              <a:pt x="2034" y="4486"/>
                            </a:cubicBezTo>
                            <a:cubicBezTo>
                              <a:pt x="1914" y="4486"/>
                              <a:pt x="1854" y="4486"/>
                              <a:pt x="1735" y="4486"/>
                            </a:cubicBezTo>
                            <a:cubicBezTo>
                              <a:pt x="1615" y="4486"/>
                              <a:pt x="1555" y="4426"/>
                              <a:pt x="1435" y="4426"/>
                            </a:cubicBezTo>
                            <a:cubicBezTo>
                              <a:pt x="1376" y="4366"/>
                              <a:pt x="1256" y="4366"/>
                              <a:pt x="1196" y="4306"/>
                            </a:cubicBezTo>
                            <a:lnTo>
                              <a:pt x="1136" y="4246"/>
                            </a:lnTo>
                            <a:cubicBezTo>
                              <a:pt x="1076" y="4187"/>
                              <a:pt x="1017" y="4127"/>
                              <a:pt x="957" y="4007"/>
                            </a:cubicBezTo>
                            <a:cubicBezTo>
                              <a:pt x="897" y="3947"/>
                              <a:pt x="837" y="3828"/>
                              <a:pt x="837" y="3768"/>
                            </a:cubicBezTo>
                            <a:cubicBezTo>
                              <a:pt x="778" y="3648"/>
                              <a:pt x="778" y="3588"/>
                              <a:pt x="778" y="3469"/>
                            </a:cubicBezTo>
                            <a:cubicBezTo>
                              <a:pt x="778" y="3349"/>
                              <a:pt x="778" y="3229"/>
                              <a:pt x="778" y="3110"/>
                            </a:cubicBezTo>
                            <a:cubicBezTo>
                              <a:pt x="778" y="2990"/>
                              <a:pt x="837" y="2871"/>
                              <a:pt x="837" y="2751"/>
                            </a:cubicBezTo>
                            <a:cubicBezTo>
                              <a:pt x="897" y="2632"/>
                              <a:pt x="897" y="2512"/>
                              <a:pt x="957" y="2392"/>
                            </a:cubicBezTo>
                            <a:cubicBezTo>
                              <a:pt x="1017" y="2273"/>
                              <a:pt x="1076" y="2153"/>
                              <a:pt x="1136" y="2034"/>
                            </a:cubicBezTo>
                            <a:cubicBezTo>
                              <a:pt x="1196" y="1914"/>
                              <a:pt x="1316" y="1794"/>
                              <a:pt x="1376" y="1734"/>
                            </a:cubicBezTo>
                            <a:cubicBezTo>
                              <a:pt x="1435" y="1675"/>
                              <a:pt x="1555" y="1555"/>
                              <a:pt x="1675" y="1435"/>
                            </a:cubicBezTo>
                            <a:cubicBezTo>
                              <a:pt x="1794" y="1375"/>
                              <a:pt x="1854" y="1256"/>
                              <a:pt x="1974" y="1196"/>
                            </a:cubicBezTo>
                            <a:cubicBezTo>
                              <a:pt x="2093" y="1136"/>
                              <a:pt x="2213" y="1076"/>
                              <a:pt x="2273" y="1017"/>
                            </a:cubicBezTo>
                            <a:cubicBezTo>
                              <a:pt x="2392" y="957"/>
                              <a:pt x="2512" y="897"/>
                              <a:pt x="2632" y="897"/>
                            </a:cubicBezTo>
                            <a:cubicBezTo>
                              <a:pt x="2751" y="897"/>
                              <a:pt x="2871" y="837"/>
                              <a:pt x="2990" y="837"/>
                            </a:cubicBezTo>
                            <a:cubicBezTo>
                              <a:pt x="3110" y="837"/>
                              <a:pt x="3230" y="837"/>
                              <a:pt x="3289" y="897"/>
                            </a:cubicBezTo>
                            <a:cubicBezTo>
                              <a:pt x="3349" y="957"/>
                              <a:pt x="3469" y="957"/>
                              <a:pt x="3589" y="1017"/>
                            </a:cubicBezTo>
                            <a:cubicBezTo>
                              <a:pt x="3708" y="957"/>
                              <a:pt x="3768" y="1017"/>
                              <a:pt x="3888" y="1076"/>
                            </a:cubicBezTo>
                            <a:moveTo>
                              <a:pt x="658" y="5083"/>
                            </a:moveTo>
                            <a:cubicBezTo>
                              <a:pt x="778" y="5143"/>
                              <a:pt x="897" y="5203"/>
                              <a:pt x="1017" y="5263"/>
                            </a:cubicBezTo>
                            <a:cubicBezTo>
                              <a:pt x="1136" y="5323"/>
                              <a:pt x="1256" y="5323"/>
                              <a:pt x="1435" y="5383"/>
                            </a:cubicBezTo>
                            <a:cubicBezTo>
                              <a:pt x="1555" y="5383"/>
                              <a:pt x="1735" y="5383"/>
                              <a:pt x="1854" y="5383"/>
                            </a:cubicBezTo>
                            <a:cubicBezTo>
                              <a:pt x="1974" y="5383"/>
                              <a:pt x="2153" y="5323"/>
                              <a:pt x="2333" y="5323"/>
                            </a:cubicBezTo>
                            <a:cubicBezTo>
                              <a:pt x="2512" y="5263"/>
                              <a:pt x="2691" y="5203"/>
                              <a:pt x="2871" y="5143"/>
                            </a:cubicBezTo>
                            <a:cubicBezTo>
                              <a:pt x="3050" y="5083"/>
                              <a:pt x="3230" y="4964"/>
                              <a:pt x="3349" y="4844"/>
                            </a:cubicBezTo>
                            <a:cubicBezTo>
                              <a:pt x="3529" y="4725"/>
                              <a:pt x="3648" y="4605"/>
                              <a:pt x="3828" y="4486"/>
                            </a:cubicBezTo>
                            <a:cubicBezTo>
                              <a:pt x="4007" y="4366"/>
                              <a:pt x="4127" y="4187"/>
                              <a:pt x="4246" y="4067"/>
                            </a:cubicBezTo>
                            <a:cubicBezTo>
                              <a:pt x="4486" y="3768"/>
                              <a:pt x="4725" y="3409"/>
                              <a:pt x="4904" y="3050"/>
                            </a:cubicBezTo>
                            <a:cubicBezTo>
                              <a:pt x="5084" y="2691"/>
                              <a:pt x="5143" y="2333"/>
                              <a:pt x="5203" y="2034"/>
                            </a:cubicBezTo>
                            <a:cubicBezTo>
                              <a:pt x="5263" y="1675"/>
                              <a:pt x="5203" y="1375"/>
                              <a:pt x="5084" y="1076"/>
                            </a:cubicBezTo>
                            <a:cubicBezTo>
                              <a:pt x="4964" y="778"/>
                              <a:pt x="4844" y="538"/>
                              <a:pt x="4605" y="359"/>
                            </a:cubicBezTo>
                            <a:lnTo>
                              <a:pt x="4486" y="299"/>
                            </a:lnTo>
                            <a:cubicBezTo>
                              <a:pt x="4366" y="239"/>
                              <a:pt x="4246" y="180"/>
                              <a:pt x="4127" y="120"/>
                            </a:cubicBezTo>
                            <a:cubicBezTo>
                              <a:pt x="4007" y="60"/>
                              <a:pt x="3888" y="60"/>
                              <a:pt x="3708" y="0"/>
                            </a:cubicBezTo>
                            <a:cubicBezTo>
                              <a:pt x="3589" y="0"/>
                              <a:pt x="3409" y="0"/>
                              <a:pt x="3289" y="0"/>
                            </a:cubicBezTo>
                            <a:cubicBezTo>
                              <a:pt x="3110" y="0"/>
                              <a:pt x="2990" y="60"/>
                              <a:pt x="2811" y="60"/>
                            </a:cubicBezTo>
                            <a:cubicBezTo>
                              <a:pt x="2632" y="120"/>
                              <a:pt x="2452" y="180"/>
                              <a:pt x="2273" y="239"/>
                            </a:cubicBezTo>
                            <a:cubicBezTo>
                              <a:pt x="2093" y="299"/>
                              <a:pt x="1914" y="419"/>
                              <a:pt x="1794" y="538"/>
                            </a:cubicBezTo>
                            <a:cubicBezTo>
                              <a:pt x="1615" y="658"/>
                              <a:pt x="1495" y="778"/>
                              <a:pt x="1316" y="897"/>
                            </a:cubicBezTo>
                            <a:cubicBezTo>
                              <a:pt x="1136" y="1017"/>
                              <a:pt x="1017" y="1196"/>
                              <a:pt x="897" y="1316"/>
                            </a:cubicBezTo>
                            <a:cubicBezTo>
                              <a:pt x="778" y="1495"/>
                              <a:pt x="658" y="1615"/>
                              <a:pt x="538" y="1794"/>
                            </a:cubicBezTo>
                            <a:cubicBezTo>
                              <a:pt x="419" y="1974"/>
                              <a:pt x="359" y="2153"/>
                              <a:pt x="239" y="2333"/>
                            </a:cubicBezTo>
                            <a:cubicBezTo>
                              <a:pt x="180" y="2512"/>
                              <a:pt x="120" y="2691"/>
                              <a:pt x="60" y="2871"/>
                            </a:cubicBezTo>
                            <a:cubicBezTo>
                              <a:pt x="0" y="3050"/>
                              <a:pt x="0" y="3229"/>
                              <a:pt x="0" y="3409"/>
                            </a:cubicBezTo>
                            <a:cubicBezTo>
                              <a:pt x="0" y="3588"/>
                              <a:pt x="0" y="3768"/>
                              <a:pt x="0" y="3888"/>
                            </a:cubicBezTo>
                            <a:cubicBezTo>
                              <a:pt x="0" y="4067"/>
                              <a:pt x="60" y="4187"/>
                              <a:pt x="120" y="4306"/>
                            </a:cubicBezTo>
                            <a:cubicBezTo>
                              <a:pt x="180" y="4426"/>
                              <a:pt x="239" y="4605"/>
                              <a:pt x="299" y="4725"/>
                            </a:cubicBezTo>
                            <a:cubicBezTo>
                              <a:pt x="359" y="4844"/>
                              <a:pt x="479" y="4964"/>
                              <a:pt x="598" y="5024"/>
                            </a:cubicBezTo>
                            <a:cubicBezTo>
                              <a:pt x="598" y="5024"/>
                              <a:pt x="598" y="5024"/>
                              <a:pt x="658" y="5083"/>
                            </a:cubicBezTo>
                            <a:cubicBezTo>
                              <a:pt x="658" y="5083"/>
                              <a:pt x="658" y="5083"/>
                              <a:pt x="718" y="5083"/>
                            </a:cubicBezTo>
                            <a:cubicBezTo>
                              <a:pt x="598" y="5024"/>
                              <a:pt x="598" y="5024"/>
                              <a:pt x="658" y="5083"/>
                            </a:cubicBezTo>
                            <a:cubicBezTo>
                              <a:pt x="658" y="5024"/>
                              <a:pt x="658" y="5083"/>
                              <a:pt x="658" y="5083"/>
                            </a:cubicBezTo>
                          </a:path>
                        </a:pathLst>
                      </a:custGeom>
                      <a:noFill/>
                      <a:ln w="6350" cap="flat">
                        <a:solidFill>
                          <a:schemeClr val="bg1">
                            <a:alpha val="40000"/>
                          </a:schemeClr>
                        </a:solidFill>
                        <a:prstDash val="solid"/>
                        <a:miter/>
                      </a:ln>
                    </p:spPr>
                    <p:txBody>
                      <a:bodyPr rtlCol="0" anchor="ctr"/>
                      <a:lstStyle/>
                      <a:p>
                        <a:endParaRPr lang="en-GB"/>
                      </a:p>
                    </p:txBody>
                  </p:sp>
                  <p:sp>
                    <p:nvSpPr>
                      <p:cNvPr id="7468" name="Vrije vorm: vorm 7467">
                        <a:extLst>
                          <a:ext uri="{FF2B5EF4-FFF2-40B4-BE49-F238E27FC236}">
                            <a16:creationId xmlns:a16="http://schemas.microsoft.com/office/drawing/2014/main" id="{53CD9BA3-3458-4FBE-AF47-8D7D7F990D4C}"/>
                          </a:ext>
                        </a:extLst>
                      </p:cNvPr>
                      <p:cNvSpPr/>
                      <p:nvPr/>
                    </p:nvSpPr>
                    <p:spPr>
                      <a:xfrm>
                        <a:off x="5306355" y="5417112"/>
                        <a:ext cx="5143" cy="5169"/>
                      </a:xfrm>
                      <a:custGeom>
                        <a:avLst/>
                        <a:gdLst>
                          <a:gd name="connsiteX0" fmla="*/ 1735 w 5143"/>
                          <a:gd name="connsiteY0" fmla="*/ 4213 h 5169"/>
                          <a:gd name="connsiteX1" fmla="*/ 1675 w 5143"/>
                          <a:gd name="connsiteY1" fmla="*/ 4153 h 5169"/>
                          <a:gd name="connsiteX2" fmla="*/ 1615 w 5143"/>
                          <a:gd name="connsiteY2" fmla="*/ 4093 h 5169"/>
                          <a:gd name="connsiteX3" fmla="*/ 1555 w 5143"/>
                          <a:gd name="connsiteY3" fmla="*/ 4034 h 5169"/>
                          <a:gd name="connsiteX4" fmla="*/ 1495 w 5143"/>
                          <a:gd name="connsiteY4" fmla="*/ 3974 h 5169"/>
                          <a:gd name="connsiteX5" fmla="*/ 1256 w 5143"/>
                          <a:gd name="connsiteY5" fmla="*/ 3794 h 5169"/>
                          <a:gd name="connsiteX6" fmla="*/ 1076 w 5143"/>
                          <a:gd name="connsiteY6" fmla="*/ 3555 h 5169"/>
                          <a:gd name="connsiteX7" fmla="*/ 1017 w 5143"/>
                          <a:gd name="connsiteY7" fmla="*/ 3256 h 5169"/>
                          <a:gd name="connsiteX8" fmla="*/ 1017 w 5143"/>
                          <a:gd name="connsiteY8" fmla="*/ 2897 h 5169"/>
                          <a:gd name="connsiteX9" fmla="*/ 1076 w 5143"/>
                          <a:gd name="connsiteY9" fmla="*/ 2538 h 5169"/>
                          <a:gd name="connsiteX10" fmla="*/ 1196 w 5143"/>
                          <a:gd name="connsiteY10" fmla="*/ 2180 h 5169"/>
                          <a:gd name="connsiteX11" fmla="*/ 1376 w 5143"/>
                          <a:gd name="connsiteY11" fmla="*/ 1821 h 5169"/>
                          <a:gd name="connsiteX12" fmla="*/ 1615 w 5143"/>
                          <a:gd name="connsiteY12" fmla="*/ 1522 h 5169"/>
                          <a:gd name="connsiteX13" fmla="*/ 1914 w 5143"/>
                          <a:gd name="connsiteY13" fmla="*/ 1223 h 5169"/>
                          <a:gd name="connsiteX14" fmla="*/ 2213 w 5143"/>
                          <a:gd name="connsiteY14" fmla="*/ 984 h 5169"/>
                          <a:gd name="connsiteX15" fmla="*/ 2572 w 5143"/>
                          <a:gd name="connsiteY15" fmla="*/ 804 h 5169"/>
                          <a:gd name="connsiteX16" fmla="*/ 2931 w 5143"/>
                          <a:gd name="connsiteY16" fmla="*/ 684 h 5169"/>
                          <a:gd name="connsiteX17" fmla="*/ 3290 w 5143"/>
                          <a:gd name="connsiteY17" fmla="*/ 684 h 5169"/>
                          <a:gd name="connsiteX18" fmla="*/ 3589 w 5143"/>
                          <a:gd name="connsiteY18" fmla="*/ 744 h 5169"/>
                          <a:gd name="connsiteX19" fmla="*/ 3888 w 5143"/>
                          <a:gd name="connsiteY19" fmla="*/ 804 h 5169"/>
                          <a:gd name="connsiteX20" fmla="*/ 4127 w 5143"/>
                          <a:gd name="connsiteY20" fmla="*/ 924 h 5169"/>
                          <a:gd name="connsiteX21" fmla="*/ 4187 w 5143"/>
                          <a:gd name="connsiteY21" fmla="*/ 984 h 5169"/>
                          <a:gd name="connsiteX22" fmla="*/ 4246 w 5143"/>
                          <a:gd name="connsiteY22" fmla="*/ 1043 h 5169"/>
                          <a:gd name="connsiteX23" fmla="*/ 4306 w 5143"/>
                          <a:gd name="connsiteY23" fmla="*/ 1163 h 5169"/>
                          <a:gd name="connsiteX24" fmla="*/ 4366 w 5143"/>
                          <a:gd name="connsiteY24" fmla="*/ 1283 h 5169"/>
                          <a:gd name="connsiteX25" fmla="*/ 4366 w 5143"/>
                          <a:gd name="connsiteY25" fmla="*/ 1283 h 5169"/>
                          <a:gd name="connsiteX26" fmla="*/ 4366 w 5143"/>
                          <a:gd name="connsiteY26" fmla="*/ 1283 h 5169"/>
                          <a:gd name="connsiteX27" fmla="*/ 4366 w 5143"/>
                          <a:gd name="connsiteY27" fmla="*/ 1283 h 5169"/>
                          <a:gd name="connsiteX28" fmla="*/ 4366 w 5143"/>
                          <a:gd name="connsiteY28" fmla="*/ 1283 h 5169"/>
                          <a:gd name="connsiteX29" fmla="*/ 4426 w 5143"/>
                          <a:gd name="connsiteY29" fmla="*/ 1462 h 5169"/>
                          <a:gd name="connsiteX30" fmla="*/ 4486 w 5143"/>
                          <a:gd name="connsiteY30" fmla="*/ 1642 h 5169"/>
                          <a:gd name="connsiteX31" fmla="*/ 4486 w 5143"/>
                          <a:gd name="connsiteY31" fmla="*/ 1821 h 5169"/>
                          <a:gd name="connsiteX32" fmla="*/ 4486 w 5143"/>
                          <a:gd name="connsiteY32" fmla="*/ 2000 h 5169"/>
                          <a:gd name="connsiteX33" fmla="*/ 4486 w 5143"/>
                          <a:gd name="connsiteY33" fmla="*/ 2060 h 5169"/>
                          <a:gd name="connsiteX34" fmla="*/ 4486 w 5143"/>
                          <a:gd name="connsiteY34" fmla="*/ 2120 h 5169"/>
                          <a:gd name="connsiteX35" fmla="*/ 4486 w 5143"/>
                          <a:gd name="connsiteY35" fmla="*/ 2180 h 5169"/>
                          <a:gd name="connsiteX36" fmla="*/ 4486 w 5143"/>
                          <a:gd name="connsiteY36" fmla="*/ 2239 h 5169"/>
                          <a:gd name="connsiteX37" fmla="*/ 4246 w 5143"/>
                          <a:gd name="connsiteY37" fmla="*/ 2778 h 5169"/>
                          <a:gd name="connsiteX38" fmla="*/ 3888 w 5143"/>
                          <a:gd name="connsiteY38" fmla="*/ 3256 h 5169"/>
                          <a:gd name="connsiteX39" fmla="*/ 3409 w 5143"/>
                          <a:gd name="connsiteY39" fmla="*/ 3675 h 5169"/>
                          <a:gd name="connsiteX40" fmla="*/ 2871 w 5143"/>
                          <a:gd name="connsiteY40" fmla="*/ 3974 h 5169"/>
                          <a:gd name="connsiteX41" fmla="*/ 2811 w 5143"/>
                          <a:gd name="connsiteY41" fmla="*/ 3974 h 5169"/>
                          <a:gd name="connsiteX42" fmla="*/ 2751 w 5143"/>
                          <a:gd name="connsiteY42" fmla="*/ 3974 h 5169"/>
                          <a:gd name="connsiteX43" fmla="*/ 2691 w 5143"/>
                          <a:gd name="connsiteY43" fmla="*/ 3974 h 5169"/>
                          <a:gd name="connsiteX44" fmla="*/ 2632 w 5143"/>
                          <a:gd name="connsiteY44" fmla="*/ 3974 h 5169"/>
                          <a:gd name="connsiteX45" fmla="*/ 2392 w 5143"/>
                          <a:gd name="connsiteY45" fmla="*/ 4034 h 5169"/>
                          <a:gd name="connsiteX46" fmla="*/ 2213 w 5143"/>
                          <a:gd name="connsiteY46" fmla="*/ 4034 h 5169"/>
                          <a:gd name="connsiteX47" fmla="*/ 2034 w 5143"/>
                          <a:gd name="connsiteY47" fmla="*/ 4034 h 5169"/>
                          <a:gd name="connsiteX48" fmla="*/ 1735 w 5143"/>
                          <a:gd name="connsiteY48" fmla="*/ 4213 h 5169"/>
                          <a:gd name="connsiteX49" fmla="*/ 778 w 5143"/>
                          <a:gd name="connsiteY49" fmla="*/ 4811 h 5169"/>
                          <a:gd name="connsiteX50" fmla="*/ 837 w 5143"/>
                          <a:gd name="connsiteY50" fmla="*/ 4871 h 5169"/>
                          <a:gd name="connsiteX51" fmla="*/ 897 w 5143"/>
                          <a:gd name="connsiteY51" fmla="*/ 4931 h 5169"/>
                          <a:gd name="connsiteX52" fmla="*/ 957 w 5143"/>
                          <a:gd name="connsiteY52" fmla="*/ 4991 h 5169"/>
                          <a:gd name="connsiteX53" fmla="*/ 1017 w 5143"/>
                          <a:gd name="connsiteY53" fmla="*/ 5051 h 5169"/>
                          <a:gd name="connsiteX54" fmla="*/ 1196 w 5143"/>
                          <a:gd name="connsiteY54" fmla="*/ 5110 h 5169"/>
                          <a:gd name="connsiteX55" fmla="*/ 1376 w 5143"/>
                          <a:gd name="connsiteY55" fmla="*/ 5170 h 5169"/>
                          <a:gd name="connsiteX56" fmla="*/ 1615 w 5143"/>
                          <a:gd name="connsiteY56" fmla="*/ 5170 h 5169"/>
                          <a:gd name="connsiteX57" fmla="*/ 1854 w 5143"/>
                          <a:gd name="connsiteY57" fmla="*/ 5170 h 5169"/>
                          <a:gd name="connsiteX58" fmla="*/ 1974 w 5143"/>
                          <a:gd name="connsiteY58" fmla="*/ 5170 h 5169"/>
                          <a:gd name="connsiteX59" fmla="*/ 2093 w 5143"/>
                          <a:gd name="connsiteY59" fmla="*/ 5170 h 5169"/>
                          <a:gd name="connsiteX60" fmla="*/ 2213 w 5143"/>
                          <a:gd name="connsiteY60" fmla="*/ 5170 h 5169"/>
                          <a:gd name="connsiteX61" fmla="*/ 2333 w 5143"/>
                          <a:gd name="connsiteY61" fmla="*/ 5110 h 5169"/>
                          <a:gd name="connsiteX62" fmla="*/ 3110 w 5143"/>
                          <a:gd name="connsiteY62" fmla="*/ 4811 h 5169"/>
                          <a:gd name="connsiteX63" fmla="*/ 3828 w 5143"/>
                          <a:gd name="connsiteY63" fmla="*/ 4333 h 5169"/>
                          <a:gd name="connsiteX64" fmla="*/ 4426 w 5143"/>
                          <a:gd name="connsiteY64" fmla="*/ 3675 h 5169"/>
                          <a:gd name="connsiteX65" fmla="*/ 4844 w 5143"/>
                          <a:gd name="connsiteY65" fmla="*/ 2957 h 5169"/>
                          <a:gd name="connsiteX66" fmla="*/ 4964 w 5143"/>
                          <a:gd name="connsiteY66" fmla="*/ 2718 h 5169"/>
                          <a:gd name="connsiteX67" fmla="*/ 5024 w 5143"/>
                          <a:gd name="connsiteY67" fmla="*/ 2479 h 5169"/>
                          <a:gd name="connsiteX68" fmla="*/ 5084 w 5143"/>
                          <a:gd name="connsiteY68" fmla="*/ 2239 h 5169"/>
                          <a:gd name="connsiteX69" fmla="*/ 5144 w 5143"/>
                          <a:gd name="connsiteY69" fmla="*/ 2000 h 5169"/>
                          <a:gd name="connsiteX70" fmla="*/ 5144 w 5143"/>
                          <a:gd name="connsiteY70" fmla="*/ 2000 h 5169"/>
                          <a:gd name="connsiteX71" fmla="*/ 5144 w 5143"/>
                          <a:gd name="connsiteY71" fmla="*/ 2000 h 5169"/>
                          <a:gd name="connsiteX72" fmla="*/ 5144 w 5143"/>
                          <a:gd name="connsiteY72" fmla="*/ 2000 h 5169"/>
                          <a:gd name="connsiteX73" fmla="*/ 5144 w 5143"/>
                          <a:gd name="connsiteY73" fmla="*/ 2000 h 5169"/>
                          <a:gd name="connsiteX74" fmla="*/ 5144 w 5143"/>
                          <a:gd name="connsiteY74" fmla="*/ 1881 h 5169"/>
                          <a:gd name="connsiteX75" fmla="*/ 5144 w 5143"/>
                          <a:gd name="connsiteY75" fmla="*/ 1761 h 5169"/>
                          <a:gd name="connsiteX76" fmla="*/ 5144 w 5143"/>
                          <a:gd name="connsiteY76" fmla="*/ 1642 h 5169"/>
                          <a:gd name="connsiteX77" fmla="*/ 5144 w 5143"/>
                          <a:gd name="connsiteY77" fmla="*/ 1522 h 5169"/>
                          <a:gd name="connsiteX78" fmla="*/ 5084 w 5143"/>
                          <a:gd name="connsiteY78" fmla="*/ 1283 h 5169"/>
                          <a:gd name="connsiteX79" fmla="*/ 5024 w 5143"/>
                          <a:gd name="connsiteY79" fmla="*/ 1103 h 5169"/>
                          <a:gd name="connsiteX80" fmla="*/ 4964 w 5143"/>
                          <a:gd name="connsiteY80" fmla="*/ 924 h 5169"/>
                          <a:gd name="connsiteX81" fmla="*/ 4844 w 5143"/>
                          <a:gd name="connsiteY81" fmla="*/ 744 h 5169"/>
                          <a:gd name="connsiteX82" fmla="*/ 4844 w 5143"/>
                          <a:gd name="connsiteY82" fmla="*/ 744 h 5169"/>
                          <a:gd name="connsiteX83" fmla="*/ 4844 w 5143"/>
                          <a:gd name="connsiteY83" fmla="*/ 744 h 5169"/>
                          <a:gd name="connsiteX84" fmla="*/ 4844 w 5143"/>
                          <a:gd name="connsiteY84" fmla="*/ 744 h 5169"/>
                          <a:gd name="connsiteX85" fmla="*/ 4844 w 5143"/>
                          <a:gd name="connsiteY85" fmla="*/ 744 h 5169"/>
                          <a:gd name="connsiteX86" fmla="*/ 4785 w 5143"/>
                          <a:gd name="connsiteY86" fmla="*/ 625 h 5169"/>
                          <a:gd name="connsiteX87" fmla="*/ 4725 w 5143"/>
                          <a:gd name="connsiteY87" fmla="*/ 565 h 5169"/>
                          <a:gd name="connsiteX88" fmla="*/ 4665 w 5143"/>
                          <a:gd name="connsiteY88" fmla="*/ 505 h 5169"/>
                          <a:gd name="connsiteX89" fmla="*/ 4605 w 5143"/>
                          <a:gd name="connsiteY89" fmla="*/ 445 h 5169"/>
                          <a:gd name="connsiteX90" fmla="*/ 4545 w 5143"/>
                          <a:gd name="connsiteY90" fmla="*/ 326 h 5169"/>
                          <a:gd name="connsiteX91" fmla="*/ 4187 w 5143"/>
                          <a:gd name="connsiteY91" fmla="*/ 146 h 5169"/>
                          <a:gd name="connsiteX92" fmla="*/ 3768 w 5143"/>
                          <a:gd name="connsiteY92" fmla="*/ 27 h 5169"/>
                          <a:gd name="connsiteX93" fmla="*/ 3349 w 5143"/>
                          <a:gd name="connsiteY93" fmla="*/ 27 h 5169"/>
                          <a:gd name="connsiteX94" fmla="*/ 2871 w 5143"/>
                          <a:gd name="connsiteY94" fmla="*/ 86 h 5169"/>
                          <a:gd name="connsiteX95" fmla="*/ 2333 w 5143"/>
                          <a:gd name="connsiteY95" fmla="*/ 266 h 5169"/>
                          <a:gd name="connsiteX96" fmla="*/ 1854 w 5143"/>
                          <a:gd name="connsiteY96" fmla="*/ 505 h 5169"/>
                          <a:gd name="connsiteX97" fmla="*/ 1376 w 5143"/>
                          <a:gd name="connsiteY97" fmla="*/ 864 h 5169"/>
                          <a:gd name="connsiteX98" fmla="*/ 957 w 5143"/>
                          <a:gd name="connsiteY98" fmla="*/ 1283 h 5169"/>
                          <a:gd name="connsiteX99" fmla="*/ 598 w 5143"/>
                          <a:gd name="connsiteY99" fmla="*/ 1761 h 5169"/>
                          <a:gd name="connsiteX100" fmla="*/ 299 w 5143"/>
                          <a:gd name="connsiteY100" fmla="*/ 2299 h 5169"/>
                          <a:gd name="connsiteX101" fmla="*/ 120 w 5143"/>
                          <a:gd name="connsiteY101" fmla="*/ 2838 h 5169"/>
                          <a:gd name="connsiteX102" fmla="*/ 0 w 5143"/>
                          <a:gd name="connsiteY102" fmla="*/ 3376 h 5169"/>
                          <a:gd name="connsiteX103" fmla="*/ 0 w 5143"/>
                          <a:gd name="connsiteY103" fmla="*/ 3914 h 5169"/>
                          <a:gd name="connsiteX104" fmla="*/ 120 w 5143"/>
                          <a:gd name="connsiteY104" fmla="*/ 4392 h 5169"/>
                          <a:gd name="connsiteX105" fmla="*/ 359 w 5143"/>
                          <a:gd name="connsiteY105" fmla="*/ 4811 h 5169"/>
                          <a:gd name="connsiteX106" fmla="*/ 778 w 5143"/>
                          <a:gd name="connsiteY106" fmla="*/ 4811 h 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5143" h="5169">
                            <a:moveTo>
                              <a:pt x="1735" y="4213"/>
                            </a:moveTo>
                            <a:cubicBezTo>
                              <a:pt x="1675" y="4213"/>
                              <a:pt x="1675" y="4213"/>
                              <a:pt x="1675" y="4153"/>
                            </a:cubicBezTo>
                            <a:cubicBezTo>
                              <a:pt x="1675" y="4153"/>
                              <a:pt x="1615" y="4153"/>
                              <a:pt x="1615" y="4093"/>
                            </a:cubicBezTo>
                            <a:cubicBezTo>
                              <a:pt x="1615" y="4093"/>
                              <a:pt x="1555" y="4093"/>
                              <a:pt x="1555" y="4034"/>
                            </a:cubicBezTo>
                            <a:cubicBezTo>
                              <a:pt x="1555" y="3974"/>
                              <a:pt x="1495" y="3974"/>
                              <a:pt x="1495" y="3974"/>
                            </a:cubicBezTo>
                            <a:cubicBezTo>
                              <a:pt x="1436" y="3914"/>
                              <a:pt x="1316" y="3854"/>
                              <a:pt x="1256" y="3794"/>
                            </a:cubicBezTo>
                            <a:cubicBezTo>
                              <a:pt x="1196" y="3735"/>
                              <a:pt x="1136" y="3615"/>
                              <a:pt x="1076" y="3555"/>
                            </a:cubicBezTo>
                            <a:cubicBezTo>
                              <a:pt x="1017" y="3436"/>
                              <a:pt x="1017" y="3376"/>
                              <a:pt x="1017" y="3256"/>
                            </a:cubicBezTo>
                            <a:cubicBezTo>
                              <a:pt x="1017" y="3137"/>
                              <a:pt x="1017" y="3017"/>
                              <a:pt x="1017" y="2897"/>
                            </a:cubicBezTo>
                            <a:cubicBezTo>
                              <a:pt x="1017" y="2778"/>
                              <a:pt x="1076" y="2658"/>
                              <a:pt x="1076" y="2538"/>
                            </a:cubicBezTo>
                            <a:cubicBezTo>
                              <a:pt x="1136" y="2419"/>
                              <a:pt x="1136" y="2299"/>
                              <a:pt x="1196" y="2180"/>
                            </a:cubicBezTo>
                            <a:cubicBezTo>
                              <a:pt x="1256" y="2060"/>
                              <a:pt x="1316" y="1940"/>
                              <a:pt x="1376" y="1821"/>
                            </a:cubicBezTo>
                            <a:cubicBezTo>
                              <a:pt x="1436" y="1701"/>
                              <a:pt x="1555" y="1582"/>
                              <a:pt x="1615" y="1522"/>
                            </a:cubicBezTo>
                            <a:cubicBezTo>
                              <a:pt x="1735" y="1402"/>
                              <a:pt x="1795" y="1343"/>
                              <a:pt x="1914" y="1223"/>
                            </a:cubicBezTo>
                            <a:cubicBezTo>
                              <a:pt x="2034" y="1103"/>
                              <a:pt x="2093" y="1043"/>
                              <a:pt x="2213" y="984"/>
                            </a:cubicBezTo>
                            <a:cubicBezTo>
                              <a:pt x="2333" y="924"/>
                              <a:pt x="2452" y="864"/>
                              <a:pt x="2572" y="804"/>
                            </a:cubicBezTo>
                            <a:cubicBezTo>
                              <a:pt x="2691" y="744"/>
                              <a:pt x="2811" y="684"/>
                              <a:pt x="2931" y="684"/>
                            </a:cubicBezTo>
                            <a:cubicBezTo>
                              <a:pt x="3050" y="684"/>
                              <a:pt x="3170" y="684"/>
                              <a:pt x="3290" y="684"/>
                            </a:cubicBezTo>
                            <a:cubicBezTo>
                              <a:pt x="3409" y="684"/>
                              <a:pt x="3529" y="684"/>
                              <a:pt x="3589" y="744"/>
                            </a:cubicBezTo>
                            <a:cubicBezTo>
                              <a:pt x="3649" y="804"/>
                              <a:pt x="3768" y="804"/>
                              <a:pt x="3888" y="804"/>
                            </a:cubicBezTo>
                            <a:cubicBezTo>
                              <a:pt x="4007" y="864"/>
                              <a:pt x="4067" y="864"/>
                              <a:pt x="4127" y="924"/>
                            </a:cubicBezTo>
                            <a:cubicBezTo>
                              <a:pt x="4127" y="924"/>
                              <a:pt x="4187" y="984"/>
                              <a:pt x="4187" y="984"/>
                            </a:cubicBezTo>
                            <a:cubicBezTo>
                              <a:pt x="4187" y="984"/>
                              <a:pt x="4246" y="1043"/>
                              <a:pt x="4246" y="1043"/>
                            </a:cubicBezTo>
                            <a:cubicBezTo>
                              <a:pt x="4246" y="1103"/>
                              <a:pt x="4306" y="1103"/>
                              <a:pt x="4306" y="1163"/>
                            </a:cubicBezTo>
                            <a:cubicBezTo>
                              <a:pt x="4306" y="1223"/>
                              <a:pt x="4366" y="1223"/>
                              <a:pt x="4366" y="1283"/>
                            </a:cubicBezTo>
                            <a:lnTo>
                              <a:pt x="4366" y="1283"/>
                            </a:lnTo>
                            <a:cubicBezTo>
                              <a:pt x="4366" y="1283"/>
                              <a:pt x="4366" y="1283"/>
                              <a:pt x="4366" y="1283"/>
                            </a:cubicBezTo>
                            <a:lnTo>
                              <a:pt x="4366" y="1283"/>
                            </a:lnTo>
                            <a:lnTo>
                              <a:pt x="4366" y="1283"/>
                            </a:lnTo>
                            <a:cubicBezTo>
                              <a:pt x="4366" y="1343"/>
                              <a:pt x="4426" y="1402"/>
                              <a:pt x="4426" y="1462"/>
                            </a:cubicBezTo>
                            <a:cubicBezTo>
                              <a:pt x="4426" y="1522"/>
                              <a:pt x="4486" y="1582"/>
                              <a:pt x="4486" y="1642"/>
                            </a:cubicBezTo>
                            <a:cubicBezTo>
                              <a:pt x="4486" y="1701"/>
                              <a:pt x="4486" y="1761"/>
                              <a:pt x="4486" y="1821"/>
                            </a:cubicBezTo>
                            <a:cubicBezTo>
                              <a:pt x="4486" y="1881"/>
                              <a:pt x="4486" y="1940"/>
                              <a:pt x="4486" y="2000"/>
                            </a:cubicBezTo>
                            <a:cubicBezTo>
                              <a:pt x="4486" y="2000"/>
                              <a:pt x="4486" y="2060"/>
                              <a:pt x="4486" y="2060"/>
                            </a:cubicBezTo>
                            <a:cubicBezTo>
                              <a:pt x="4486" y="2060"/>
                              <a:pt x="4486" y="2120"/>
                              <a:pt x="4486" y="2120"/>
                            </a:cubicBezTo>
                            <a:cubicBezTo>
                              <a:pt x="4486" y="2120"/>
                              <a:pt x="4486" y="2180"/>
                              <a:pt x="4486" y="2180"/>
                            </a:cubicBezTo>
                            <a:cubicBezTo>
                              <a:pt x="4486" y="2180"/>
                              <a:pt x="4486" y="2239"/>
                              <a:pt x="4486" y="2239"/>
                            </a:cubicBezTo>
                            <a:cubicBezTo>
                              <a:pt x="4426" y="2419"/>
                              <a:pt x="4366" y="2598"/>
                              <a:pt x="4246" y="2778"/>
                            </a:cubicBezTo>
                            <a:cubicBezTo>
                              <a:pt x="4127" y="2957"/>
                              <a:pt x="4007" y="3137"/>
                              <a:pt x="3888" y="3256"/>
                            </a:cubicBezTo>
                            <a:cubicBezTo>
                              <a:pt x="3768" y="3376"/>
                              <a:pt x="3589" y="3555"/>
                              <a:pt x="3409" y="3675"/>
                            </a:cubicBezTo>
                            <a:cubicBezTo>
                              <a:pt x="3230" y="3794"/>
                              <a:pt x="3050" y="3914"/>
                              <a:pt x="2871" y="3974"/>
                            </a:cubicBezTo>
                            <a:cubicBezTo>
                              <a:pt x="2871" y="3974"/>
                              <a:pt x="2811" y="3974"/>
                              <a:pt x="2811" y="3974"/>
                            </a:cubicBezTo>
                            <a:cubicBezTo>
                              <a:pt x="2811" y="3974"/>
                              <a:pt x="2751" y="3974"/>
                              <a:pt x="2751" y="3974"/>
                            </a:cubicBezTo>
                            <a:cubicBezTo>
                              <a:pt x="2751" y="3974"/>
                              <a:pt x="2691" y="3974"/>
                              <a:pt x="2691" y="3974"/>
                            </a:cubicBezTo>
                            <a:cubicBezTo>
                              <a:pt x="2691" y="3974"/>
                              <a:pt x="2632" y="3974"/>
                              <a:pt x="2632" y="3974"/>
                            </a:cubicBezTo>
                            <a:cubicBezTo>
                              <a:pt x="2572" y="3974"/>
                              <a:pt x="2512" y="4034"/>
                              <a:pt x="2392" y="4034"/>
                            </a:cubicBezTo>
                            <a:cubicBezTo>
                              <a:pt x="2333" y="4034"/>
                              <a:pt x="2273" y="4034"/>
                              <a:pt x="2213" y="4034"/>
                            </a:cubicBezTo>
                            <a:cubicBezTo>
                              <a:pt x="2153" y="4034"/>
                              <a:pt x="2093" y="4034"/>
                              <a:pt x="2034" y="4034"/>
                            </a:cubicBezTo>
                            <a:cubicBezTo>
                              <a:pt x="1854" y="4213"/>
                              <a:pt x="1795" y="4213"/>
                              <a:pt x="1735" y="4213"/>
                            </a:cubicBezTo>
                            <a:moveTo>
                              <a:pt x="778" y="4811"/>
                            </a:moveTo>
                            <a:cubicBezTo>
                              <a:pt x="778" y="4811"/>
                              <a:pt x="837" y="4871"/>
                              <a:pt x="837" y="4871"/>
                            </a:cubicBezTo>
                            <a:cubicBezTo>
                              <a:pt x="837" y="4871"/>
                              <a:pt x="897" y="4871"/>
                              <a:pt x="897" y="4931"/>
                            </a:cubicBezTo>
                            <a:cubicBezTo>
                              <a:pt x="897" y="4991"/>
                              <a:pt x="957" y="4931"/>
                              <a:pt x="957" y="4991"/>
                            </a:cubicBezTo>
                            <a:cubicBezTo>
                              <a:pt x="957" y="4991"/>
                              <a:pt x="1017" y="4991"/>
                              <a:pt x="1017" y="5051"/>
                            </a:cubicBezTo>
                            <a:cubicBezTo>
                              <a:pt x="1076" y="5051"/>
                              <a:pt x="1136" y="5110"/>
                              <a:pt x="1196" y="5110"/>
                            </a:cubicBezTo>
                            <a:cubicBezTo>
                              <a:pt x="1256" y="5110"/>
                              <a:pt x="1316" y="5170"/>
                              <a:pt x="1376" y="5170"/>
                            </a:cubicBezTo>
                            <a:cubicBezTo>
                              <a:pt x="1436" y="5170"/>
                              <a:pt x="1495" y="5170"/>
                              <a:pt x="1615" y="5170"/>
                            </a:cubicBezTo>
                            <a:cubicBezTo>
                              <a:pt x="1675" y="5170"/>
                              <a:pt x="1735" y="5170"/>
                              <a:pt x="1854" y="5170"/>
                            </a:cubicBezTo>
                            <a:cubicBezTo>
                              <a:pt x="1914" y="5170"/>
                              <a:pt x="1914" y="5170"/>
                              <a:pt x="1974" y="5170"/>
                            </a:cubicBezTo>
                            <a:cubicBezTo>
                              <a:pt x="2034" y="5170"/>
                              <a:pt x="2093" y="5170"/>
                              <a:pt x="2093" y="5170"/>
                            </a:cubicBezTo>
                            <a:cubicBezTo>
                              <a:pt x="2153" y="5170"/>
                              <a:pt x="2213" y="5170"/>
                              <a:pt x="2213" y="5170"/>
                            </a:cubicBezTo>
                            <a:cubicBezTo>
                              <a:pt x="2273" y="5170"/>
                              <a:pt x="2333" y="5170"/>
                              <a:pt x="2333" y="5110"/>
                            </a:cubicBezTo>
                            <a:cubicBezTo>
                              <a:pt x="2572" y="5051"/>
                              <a:pt x="2871" y="4931"/>
                              <a:pt x="3110" y="4811"/>
                            </a:cubicBezTo>
                            <a:cubicBezTo>
                              <a:pt x="3349" y="4692"/>
                              <a:pt x="3589" y="4512"/>
                              <a:pt x="3828" y="4333"/>
                            </a:cubicBezTo>
                            <a:cubicBezTo>
                              <a:pt x="4067" y="4153"/>
                              <a:pt x="4246" y="3914"/>
                              <a:pt x="4426" y="3675"/>
                            </a:cubicBezTo>
                            <a:cubicBezTo>
                              <a:pt x="4605" y="3436"/>
                              <a:pt x="4725" y="3197"/>
                              <a:pt x="4844" y="2957"/>
                            </a:cubicBezTo>
                            <a:cubicBezTo>
                              <a:pt x="4904" y="2897"/>
                              <a:pt x="4904" y="2778"/>
                              <a:pt x="4964" y="2718"/>
                            </a:cubicBezTo>
                            <a:cubicBezTo>
                              <a:pt x="5024" y="2658"/>
                              <a:pt x="5024" y="2538"/>
                              <a:pt x="5024" y="2479"/>
                            </a:cubicBezTo>
                            <a:cubicBezTo>
                              <a:pt x="5024" y="2419"/>
                              <a:pt x="5084" y="2299"/>
                              <a:pt x="5084" y="2239"/>
                            </a:cubicBezTo>
                            <a:cubicBezTo>
                              <a:pt x="5084" y="2180"/>
                              <a:pt x="5144" y="2060"/>
                              <a:pt x="5144" y="2000"/>
                            </a:cubicBezTo>
                            <a:cubicBezTo>
                              <a:pt x="5144" y="2000"/>
                              <a:pt x="5144" y="2000"/>
                              <a:pt x="5144" y="2000"/>
                            </a:cubicBezTo>
                            <a:cubicBezTo>
                              <a:pt x="5144" y="2000"/>
                              <a:pt x="5144" y="2000"/>
                              <a:pt x="5144" y="2000"/>
                            </a:cubicBezTo>
                            <a:cubicBezTo>
                              <a:pt x="5144" y="2000"/>
                              <a:pt x="5144" y="2000"/>
                              <a:pt x="5144" y="2000"/>
                            </a:cubicBezTo>
                            <a:cubicBezTo>
                              <a:pt x="5144" y="2000"/>
                              <a:pt x="5144" y="2000"/>
                              <a:pt x="5144" y="2000"/>
                            </a:cubicBezTo>
                            <a:cubicBezTo>
                              <a:pt x="5144" y="1940"/>
                              <a:pt x="5144" y="1881"/>
                              <a:pt x="5144" y="1881"/>
                            </a:cubicBezTo>
                            <a:cubicBezTo>
                              <a:pt x="5144" y="1881"/>
                              <a:pt x="5144" y="1761"/>
                              <a:pt x="5144" y="1761"/>
                            </a:cubicBezTo>
                            <a:cubicBezTo>
                              <a:pt x="5144" y="1761"/>
                              <a:pt x="5144" y="1701"/>
                              <a:pt x="5144" y="1642"/>
                            </a:cubicBezTo>
                            <a:cubicBezTo>
                              <a:pt x="5144" y="1582"/>
                              <a:pt x="5144" y="1582"/>
                              <a:pt x="5144" y="1522"/>
                            </a:cubicBezTo>
                            <a:cubicBezTo>
                              <a:pt x="5144" y="1462"/>
                              <a:pt x="5144" y="1402"/>
                              <a:pt x="5084" y="1283"/>
                            </a:cubicBezTo>
                            <a:cubicBezTo>
                              <a:pt x="5084" y="1223"/>
                              <a:pt x="5024" y="1163"/>
                              <a:pt x="5024" y="1103"/>
                            </a:cubicBezTo>
                            <a:cubicBezTo>
                              <a:pt x="5024" y="1043"/>
                              <a:pt x="4964" y="984"/>
                              <a:pt x="4964" y="924"/>
                            </a:cubicBezTo>
                            <a:cubicBezTo>
                              <a:pt x="4964" y="864"/>
                              <a:pt x="4904" y="804"/>
                              <a:pt x="4844" y="744"/>
                            </a:cubicBezTo>
                            <a:cubicBezTo>
                              <a:pt x="4844" y="744"/>
                              <a:pt x="4844" y="744"/>
                              <a:pt x="4844" y="744"/>
                            </a:cubicBezTo>
                            <a:cubicBezTo>
                              <a:pt x="4844" y="744"/>
                              <a:pt x="4844" y="744"/>
                              <a:pt x="4844" y="744"/>
                            </a:cubicBezTo>
                            <a:cubicBezTo>
                              <a:pt x="4844" y="744"/>
                              <a:pt x="4844" y="744"/>
                              <a:pt x="4844" y="744"/>
                            </a:cubicBezTo>
                            <a:cubicBezTo>
                              <a:pt x="4844" y="744"/>
                              <a:pt x="4844" y="744"/>
                              <a:pt x="4844" y="744"/>
                            </a:cubicBezTo>
                            <a:cubicBezTo>
                              <a:pt x="4844" y="684"/>
                              <a:pt x="4785" y="684"/>
                              <a:pt x="4785" y="625"/>
                            </a:cubicBezTo>
                            <a:cubicBezTo>
                              <a:pt x="4785" y="625"/>
                              <a:pt x="4725" y="565"/>
                              <a:pt x="4725" y="565"/>
                            </a:cubicBezTo>
                            <a:cubicBezTo>
                              <a:pt x="4725" y="565"/>
                              <a:pt x="4665" y="505"/>
                              <a:pt x="4665" y="505"/>
                            </a:cubicBezTo>
                            <a:cubicBezTo>
                              <a:pt x="4665" y="505"/>
                              <a:pt x="4605" y="445"/>
                              <a:pt x="4605" y="445"/>
                            </a:cubicBezTo>
                            <a:lnTo>
                              <a:pt x="4545" y="326"/>
                            </a:lnTo>
                            <a:cubicBezTo>
                              <a:pt x="4426" y="266"/>
                              <a:pt x="4306" y="206"/>
                              <a:pt x="4187" y="146"/>
                            </a:cubicBezTo>
                            <a:cubicBezTo>
                              <a:pt x="4067" y="86"/>
                              <a:pt x="3947" y="86"/>
                              <a:pt x="3768" y="27"/>
                            </a:cubicBezTo>
                            <a:cubicBezTo>
                              <a:pt x="3589" y="-33"/>
                              <a:pt x="3469" y="27"/>
                              <a:pt x="3349" y="27"/>
                            </a:cubicBezTo>
                            <a:cubicBezTo>
                              <a:pt x="3230" y="27"/>
                              <a:pt x="3050" y="86"/>
                              <a:pt x="2871" y="86"/>
                            </a:cubicBezTo>
                            <a:cubicBezTo>
                              <a:pt x="2691" y="146"/>
                              <a:pt x="2512" y="206"/>
                              <a:pt x="2333" y="266"/>
                            </a:cubicBezTo>
                            <a:cubicBezTo>
                              <a:pt x="2153" y="326"/>
                              <a:pt x="1974" y="445"/>
                              <a:pt x="1854" y="505"/>
                            </a:cubicBezTo>
                            <a:cubicBezTo>
                              <a:pt x="1675" y="625"/>
                              <a:pt x="1555" y="744"/>
                              <a:pt x="1376" y="864"/>
                            </a:cubicBezTo>
                            <a:cubicBezTo>
                              <a:pt x="1256" y="984"/>
                              <a:pt x="1076" y="1163"/>
                              <a:pt x="957" y="1283"/>
                            </a:cubicBezTo>
                            <a:cubicBezTo>
                              <a:pt x="837" y="1462"/>
                              <a:pt x="718" y="1582"/>
                              <a:pt x="598" y="1761"/>
                            </a:cubicBezTo>
                            <a:cubicBezTo>
                              <a:pt x="479" y="1940"/>
                              <a:pt x="419" y="2120"/>
                              <a:pt x="299" y="2299"/>
                            </a:cubicBezTo>
                            <a:cubicBezTo>
                              <a:pt x="180" y="2479"/>
                              <a:pt x="180" y="2658"/>
                              <a:pt x="120" y="2838"/>
                            </a:cubicBezTo>
                            <a:cubicBezTo>
                              <a:pt x="60" y="3017"/>
                              <a:pt x="60" y="3197"/>
                              <a:pt x="0" y="3376"/>
                            </a:cubicBezTo>
                            <a:cubicBezTo>
                              <a:pt x="0" y="3555"/>
                              <a:pt x="0" y="3735"/>
                              <a:pt x="0" y="3914"/>
                            </a:cubicBezTo>
                            <a:cubicBezTo>
                              <a:pt x="0" y="4093"/>
                              <a:pt x="60" y="4273"/>
                              <a:pt x="120" y="4392"/>
                            </a:cubicBezTo>
                            <a:cubicBezTo>
                              <a:pt x="180" y="4512"/>
                              <a:pt x="239" y="4692"/>
                              <a:pt x="359" y="4811"/>
                            </a:cubicBezTo>
                            <a:cubicBezTo>
                              <a:pt x="479" y="4931"/>
                              <a:pt x="658" y="4751"/>
                              <a:pt x="778" y="4811"/>
                            </a:cubicBezTo>
                          </a:path>
                        </a:pathLst>
                      </a:custGeom>
                      <a:noFill/>
                      <a:ln w="6350" cap="flat">
                        <a:solidFill>
                          <a:schemeClr val="bg1">
                            <a:alpha val="40000"/>
                          </a:schemeClr>
                        </a:solidFill>
                        <a:prstDash val="solid"/>
                        <a:miter/>
                      </a:ln>
                    </p:spPr>
                    <p:txBody>
                      <a:bodyPr rtlCol="0" anchor="ctr"/>
                      <a:lstStyle/>
                      <a:p>
                        <a:endParaRPr lang="en-GB"/>
                      </a:p>
                    </p:txBody>
                  </p:sp>
                  <p:sp>
                    <p:nvSpPr>
                      <p:cNvPr id="7469" name="Vrije vorm: vorm 7468">
                        <a:extLst>
                          <a:ext uri="{FF2B5EF4-FFF2-40B4-BE49-F238E27FC236}">
                            <a16:creationId xmlns:a16="http://schemas.microsoft.com/office/drawing/2014/main" id="{29DFAAE5-79CE-41F5-9352-77AFC1971DED}"/>
                          </a:ext>
                        </a:extLst>
                      </p:cNvPr>
                      <p:cNvSpPr/>
                      <p:nvPr/>
                    </p:nvSpPr>
                    <p:spPr>
                      <a:xfrm>
                        <a:off x="4844703" y="5157037"/>
                        <a:ext cx="37439" cy="73323"/>
                      </a:xfrm>
                      <a:custGeom>
                        <a:avLst/>
                        <a:gdLst>
                          <a:gd name="connsiteX0" fmla="*/ 19378 w 37439"/>
                          <a:gd name="connsiteY0" fmla="*/ 5861 h 73323"/>
                          <a:gd name="connsiteX1" fmla="*/ 20155 w 37439"/>
                          <a:gd name="connsiteY1" fmla="*/ 4844 h 73323"/>
                          <a:gd name="connsiteX2" fmla="*/ 19557 w 37439"/>
                          <a:gd name="connsiteY2" fmla="*/ 4426 h 73323"/>
                          <a:gd name="connsiteX3" fmla="*/ 18959 w 37439"/>
                          <a:gd name="connsiteY3" fmla="*/ 4007 h 73323"/>
                          <a:gd name="connsiteX4" fmla="*/ 18361 w 37439"/>
                          <a:gd name="connsiteY4" fmla="*/ 3588 h 73323"/>
                          <a:gd name="connsiteX5" fmla="*/ 17703 w 37439"/>
                          <a:gd name="connsiteY5" fmla="*/ 3170 h 73323"/>
                          <a:gd name="connsiteX6" fmla="*/ 18720 w 37439"/>
                          <a:gd name="connsiteY6" fmla="*/ 1854 h 73323"/>
                          <a:gd name="connsiteX7" fmla="*/ 19378 w 37439"/>
                          <a:gd name="connsiteY7" fmla="*/ 2273 h 73323"/>
                          <a:gd name="connsiteX8" fmla="*/ 19976 w 37439"/>
                          <a:gd name="connsiteY8" fmla="*/ 2691 h 73323"/>
                          <a:gd name="connsiteX9" fmla="*/ 20574 w 37439"/>
                          <a:gd name="connsiteY9" fmla="*/ 3110 h 73323"/>
                          <a:gd name="connsiteX10" fmla="*/ 21172 w 37439"/>
                          <a:gd name="connsiteY10" fmla="*/ 3528 h 73323"/>
                          <a:gd name="connsiteX11" fmla="*/ 21950 w 37439"/>
                          <a:gd name="connsiteY11" fmla="*/ 2512 h 73323"/>
                          <a:gd name="connsiteX12" fmla="*/ 21232 w 37439"/>
                          <a:gd name="connsiteY12" fmla="*/ 1974 h 73323"/>
                          <a:gd name="connsiteX13" fmla="*/ 20514 w 37439"/>
                          <a:gd name="connsiteY13" fmla="*/ 1435 h 73323"/>
                          <a:gd name="connsiteX14" fmla="*/ 19796 w 37439"/>
                          <a:gd name="connsiteY14" fmla="*/ 897 h 73323"/>
                          <a:gd name="connsiteX15" fmla="*/ 19019 w 37439"/>
                          <a:gd name="connsiteY15" fmla="*/ 359 h 73323"/>
                          <a:gd name="connsiteX16" fmla="*/ 18540 w 37439"/>
                          <a:gd name="connsiteY16" fmla="*/ 0 h 73323"/>
                          <a:gd name="connsiteX17" fmla="*/ 15909 w 37439"/>
                          <a:gd name="connsiteY17" fmla="*/ 3289 h 73323"/>
                          <a:gd name="connsiteX18" fmla="*/ 16387 w 37439"/>
                          <a:gd name="connsiteY18" fmla="*/ 3648 h 73323"/>
                          <a:gd name="connsiteX19" fmla="*/ 17165 w 37439"/>
                          <a:gd name="connsiteY19" fmla="*/ 4187 h 73323"/>
                          <a:gd name="connsiteX20" fmla="*/ 17883 w 37439"/>
                          <a:gd name="connsiteY20" fmla="*/ 4725 h 73323"/>
                          <a:gd name="connsiteX21" fmla="*/ 18600 w 37439"/>
                          <a:gd name="connsiteY21" fmla="*/ 5263 h 73323"/>
                          <a:gd name="connsiteX22" fmla="*/ 19378 w 37439"/>
                          <a:gd name="connsiteY22" fmla="*/ 5861 h 73323"/>
                          <a:gd name="connsiteX23" fmla="*/ 33671 w 37439"/>
                          <a:gd name="connsiteY23" fmla="*/ 20873 h 73323"/>
                          <a:gd name="connsiteX24" fmla="*/ 33492 w 37439"/>
                          <a:gd name="connsiteY24" fmla="*/ 20394 h 73323"/>
                          <a:gd name="connsiteX25" fmla="*/ 33313 w 37439"/>
                          <a:gd name="connsiteY25" fmla="*/ 19916 h 73323"/>
                          <a:gd name="connsiteX26" fmla="*/ 33074 w 37439"/>
                          <a:gd name="connsiteY26" fmla="*/ 19437 h 73323"/>
                          <a:gd name="connsiteX27" fmla="*/ 32834 w 37439"/>
                          <a:gd name="connsiteY27" fmla="*/ 18959 h 73323"/>
                          <a:gd name="connsiteX28" fmla="*/ 32535 w 37439"/>
                          <a:gd name="connsiteY28" fmla="*/ 18361 h 73323"/>
                          <a:gd name="connsiteX29" fmla="*/ 32236 w 37439"/>
                          <a:gd name="connsiteY29" fmla="*/ 17763 h 73323"/>
                          <a:gd name="connsiteX30" fmla="*/ 31877 w 37439"/>
                          <a:gd name="connsiteY30" fmla="*/ 17165 h 73323"/>
                          <a:gd name="connsiteX31" fmla="*/ 31519 w 37439"/>
                          <a:gd name="connsiteY31" fmla="*/ 16567 h 73323"/>
                          <a:gd name="connsiteX32" fmla="*/ 29605 w 37439"/>
                          <a:gd name="connsiteY32" fmla="*/ 13875 h 73323"/>
                          <a:gd name="connsiteX33" fmla="*/ 27213 w 37439"/>
                          <a:gd name="connsiteY33" fmla="*/ 11184 h 73323"/>
                          <a:gd name="connsiteX34" fmla="*/ 24401 w 37439"/>
                          <a:gd name="connsiteY34" fmla="*/ 8493 h 73323"/>
                          <a:gd name="connsiteX35" fmla="*/ 21112 w 37439"/>
                          <a:gd name="connsiteY35" fmla="*/ 5801 h 73323"/>
                          <a:gd name="connsiteX36" fmla="*/ 20335 w 37439"/>
                          <a:gd name="connsiteY36" fmla="*/ 6818 h 73323"/>
                          <a:gd name="connsiteX37" fmla="*/ 22727 w 37439"/>
                          <a:gd name="connsiteY37" fmla="*/ 8791 h 73323"/>
                          <a:gd name="connsiteX38" fmla="*/ 24880 w 37439"/>
                          <a:gd name="connsiteY38" fmla="*/ 10705 h 73323"/>
                          <a:gd name="connsiteX39" fmla="*/ 26794 w 37439"/>
                          <a:gd name="connsiteY39" fmla="*/ 12619 h 73323"/>
                          <a:gd name="connsiteX40" fmla="*/ 28468 w 37439"/>
                          <a:gd name="connsiteY40" fmla="*/ 14533 h 73323"/>
                          <a:gd name="connsiteX41" fmla="*/ 29067 w 37439"/>
                          <a:gd name="connsiteY41" fmla="*/ 15251 h 73323"/>
                          <a:gd name="connsiteX42" fmla="*/ 29605 w 37439"/>
                          <a:gd name="connsiteY42" fmla="*/ 15968 h 73323"/>
                          <a:gd name="connsiteX43" fmla="*/ 30083 w 37439"/>
                          <a:gd name="connsiteY43" fmla="*/ 16686 h 73323"/>
                          <a:gd name="connsiteX44" fmla="*/ 30562 w 37439"/>
                          <a:gd name="connsiteY44" fmla="*/ 17404 h 73323"/>
                          <a:gd name="connsiteX45" fmla="*/ 30741 w 37439"/>
                          <a:gd name="connsiteY45" fmla="*/ 17703 h 73323"/>
                          <a:gd name="connsiteX46" fmla="*/ 30921 w 37439"/>
                          <a:gd name="connsiteY46" fmla="*/ 18002 h 73323"/>
                          <a:gd name="connsiteX47" fmla="*/ 31100 w 37439"/>
                          <a:gd name="connsiteY47" fmla="*/ 18301 h 73323"/>
                          <a:gd name="connsiteX48" fmla="*/ 31279 w 37439"/>
                          <a:gd name="connsiteY48" fmla="*/ 18600 h 73323"/>
                          <a:gd name="connsiteX49" fmla="*/ 31937 w 37439"/>
                          <a:gd name="connsiteY49" fmla="*/ 19198 h 73323"/>
                          <a:gd name="connsiteX50" fmla="*/ 32595 w 37439"/>
                          <a:gd name="connsiteY50" fmla="*/ 19796 h 73323"/>
                          <a:gd name="connsiteX51" fmla="*/ 33193 w 37439"/>
                          <a:gd name="connsiteY51" fmla="*/ 20394 h 73323"/>
                          <a:gd name="connsiteX52" fmla="*/ 33671 w 37439"/>
                          <a:gd name="connsiteY52" fmla="*/ 20873 h 73323"/>
                          <a:gd name="connsiteX53" fmla="*/ 37380 w 37439"/>
                          <a:gd name="connsiteY53" fmla="*/ 25119 h 73323"/>
                          <a:gd name="connsiteX54" fmla="*/ 37320 w 37439"/>
                          <a:gd name="connsiteY54" fmla="*/ 24222 h 73323"/>
                          <a:gd name="connsiteX55" fmla="*/ 37200 w 37439"/>
                          <a:gd name="connsiteY55" fmla="*/ 23325 h 73323"/>
                          <a:gd name="connsiteX56" fmla="*/ 37021 w 37439"/>
                          <a:gd name="connsiteY56" fmla="*/ 22428 h 73323"/>
                          <a:gd name="connsiteX57" fmla="*/ 36841 w 37439"/>
                          <a:gd name="connsiteY57" fmla="*/ 21530 h 73323"/>
                          <a:gd name="connsiteX58" fmla="*/ 36722 w 37439"/>
                          <a:gd name="connsiteY58" fmla="*/ 21052 h 73323"/>
                          <a:gd name="connsiteX59" fmla="*/ 36602 w 37439"/>
                          <a:gd name="connsiteY59" fmla="*/ 20574 h 73323"/>
                          <a:gd name="connsiteX60" fmla="*/ 36483 w 37439"/>
                          <a:gd name="connsiteY60" fmla="*/ 20095 h 73323"/>
                          <a:gd name="connsiteX61" fmla="*/ 36303 w 37439"/>
                          <a:gd name="connsiteY61" fmla="*/ 19617 h 73323"/>
                          <a:gd name="connsiteX62" fmla="*/ 34389 w 37439"/>
                          <a:gd name="connsiteY62" fmla="*/ 15490 h 73323"/>
                          <a:gd name="connsiteX63" fmla="*/ 31519 w 37439"/>
                          <a:gd name="connsiteY63" fmla="*/ 11364 h 73323"/>
                          <a:gd name="connsiteX64" fmla="*/ 27691 w 37439"/>
                          <a:gd name="connsiteY64" fmla="*/ 7296 h 73323"/>
                          <a:gd name="connsiteX65" fmla="*/ 22906 w 37439"/>
                          <a:gd name="connsiteY65" fmla="*/ 3229 h 73323"/>
                          <a:gd name="connsiteX66" fmla="*/ 22129 w 37439"/>
                          <a:gd name="connsiteY66" fmla="*/ 4246 h 73323"/>
                          <a:gd name="connsiteX67" fmla="*/ 26315 w 37439"/>
                          <a:gd name="connsiteY67" fmla="*/ 7775 h 73323"/>
                          <a:gd name="connsiteX68" fmla="*/ 29784 w 37439"/>
                          <a:gd name="connsiteY68" fmla="*/ 11304 h 73323"/>
                          <a:gd name="connsiteX69" fmla="*/ 32476 w 37439"/>
                          <a:gd name="connsiteY69" fmla="*/ 14832 h 73323"/>
                          <a:gd name="connsiteX70" fmla="*/ 34449 w 37439"/>
                          <a:gd name="connsiteY70" fmla="*/ 18361 h 73323"/>
                          <a:gd name="connsiteX71" fmla="*/ 34688 w 37439"/>
                          <a:gd name="connsiteY71" fmla="*/ 18899 h 73323"/>
                          <a:gd name="connsiteX72" fmla="*/ 34928 w 37439"/>
                          <a:gd name="connsiteY72" fmla="*/ 19437 h 73323"/>
                          <a:gd name="connsiteX73" fmla="*/ 35107 w 37439"/>
                          <a:gd name="connsiteY73" fmla="*/ 19975 h 73323"/>
                          <a:gd name="connsiteX74" fmla="*/ 35286 w 37439"/>
                          <a:gd name="connsiteY74" fmla="*/ 20514 h 73323"/>
                          <a:gd name="connsiteX75" fmla="*/ 35526 w 37439"/>
                          <a:gd name="connsiteY75" fmla="*/ 21231 h 73323"/>
                          <a:gd name="connsiteX76" fmla="*/ 35705 w 37439"/>
                          <a:gd name="connsiteY76" fmla="*/ 21949 h 73323"/>
                          <a:gd name="connsiteX77" fmla="*/ 35884 w 37439"/>
                          <a:gd name="connsiteY77" fmla="*/ 22667 h 73323"/>
                          <a:gd name="connsiteX78" fmla="*/ 36004 w 37439"/>
                          <a:gd name="connsiteY78" fmla="*/ 23384 h 73323"/>
                          <a:gd name="connsiteX79" fmla="*/ 36363 w 37439"/>
                          <a:gd name="connsiteY79" fmla="*/ 23803 h 73323"/>
                          <a:gd name="connsiteX80" fmla="*/ 36722 w 37439"/>
                          <a:gd name="connsiteY80" fmla="*/ 24222 h 73323"/>
                          <a:gd name="connsiteX81" fmla="*/ 37081 w 37439"/>
                          <a:gd name="connsiteY81" fmla="*/ 24641 h 73323"/>
                          <a:gd name="connsiteX82" fmla="*/ 37380 w 37439"/>
                          <a:gd name="connsiteY82" fmla="*/ 25119 h 73323"/>
                          <a:gd name="connsiteX83" fmla="*/ 34688 w 37439"/>
                          <a:gd name="connsiteY83" fmla="*/ 26315 h 73323"/>
                          <a:gd name="connsiteX84" fmla="*/ 34629 w 37439"/>
                          <a:gd name="connsiteY84" fmla="*/ 25597 h 73323"/>
                          <a:gd name="connsiteX85" fmla="*/ 34569 w 37439"/>
                          <a:gd name="connsiteY85" fmla="*/ 24880 h 73323"/>
                          <a:gd name="connsiteX86" fmla="*/ 34449 w 37439"/>
                          <a:gd name="connsiteY86" fmla="*/ 24162 h 73323"/>
                          <a:gd name="connsiteX87" fmla="*/ 34330 w 37439"/>
                          <a:gd name="connsiteY87" fmla="*/ 23444 h 73323"/>
                          <a:gd name="connsiteX88" fmla="*/ 33911 w 37439"/>
                          <a:gd name="connsiteY88" fmla="*/ 22966 h 73323"/>
                          <a:gd name="connsiteX89" fmla="*/ 33432 w 37439"/>
                          <a:gd name="connsiteY89" fmla="*/ 22488 h 73323"/>
                          <a:gd name="connsiteX90" fmla="*/ 32954 w 37439"/>
                          <a:gd name="connsiteY90" fmla="*/ 22009 h 73323"/>
                          <a:gd name="connsiteX91" fmla="*/ 32476 w 37439"/>
                          <a:gd name="connsiteY91" fmla="*/ 21530 h 73323"/>
                          <a:gd name="connsiteX92" fmla="*/ 32715 w 37439"/>
                          <a:gd name="connsiteY92" fmla="*/ 22308 h 73323"/>
                          <a:gd name="connsiteX93" fmla="*/ 32954 w 37439"/>
                          <a:gd name="connsiteY93" fmla="*/ 23145 h 73323"/>
                          <a:gd name="connsiteX94" fmla="*/ 33133 w 37439"/>
                          <a:gd name="connsiteY94" fmla="*/ 23983 h 73323"/>
                          <a:gd name="connsiteX95" fmla="*/ 33253 w 37439"/>
                          <a:gd name="connsiteY95" fmla="*/ 24820 h 73323"/>
                          <a:gd name="connsiteX96" fmla="*/ 33612 w 37439"/>
                          <a:gd name="connsiteY96" fmla="*/ 25238 h 73323"/>
                          <a:gd name="connsiteX97" fmla="*/ 33971 w 37439"/>
                          <a:gd name="connsiteY97" fmla="*/ 25657 h 73323"/>
                          <a:gd name="connsiteX98" fmla="*/ 34330 w 37439"/>
                          <a:gd name="connsiteY98" fmla="*/ 26076 h 73323"/>
                          <a:gd name="connsiteX99" fmla="*/ 34688 w 37439"/>
                          <a:gd name="connsiteY99" fmla="*/ 26315 h 73323"/>
                          <a:gd name="connsiteX100" fmla="*/ 37200 w 37439"/>
                          <a:gd name="connsiteY100" fmla="*/ 29724 h 73323"/>
                          <a:gd name="connsiteX101" fmla="*/ 37260 w 37439"/>
                          <a:gd name="connsiteY101" fmla="*/ 29126 h 73323"/>
                          <a:gd name="connsiteX102" fmla="*/ 37320 w 37439"/>
                          <a:gd name="connsiteY102" fmla="*/ 28468 h 73323"/>
                          <a:gd name="connsiteX103" fmla="*/ 37380 w 37439"/>
                          <a:gd name="connsiteY103" fmla="*/ 27811 h 73323"/>
                          <a:gd name="connsiteX104" fmla="*/ 37439 w 37439"/>
                          <a:gd name="connsiteY104" fmla="*/ 27152 h 73323"/>
                          <a:gd name="connsiteX105" fmla="*/ 37140 w 37439"/>
                          <a:gd name="connsiteY105" fmla="*/ 26794 h 73323"/>
                          <a:gd name="connsiteX106" fmla="*/ 36841 w 37439"/>
                          <a:gd name="connsiteY106" fmla="*/ 26435 h 73323"/>
                          <a:gd name="connsiteX107" fmla="*/ 36542 w 37439"/>
                          <a:gd name="connsiteY107" fmla="*/ 26016 h 73323"/>
                          <a:gd name="connsiteX108" fmla="*/ 36243 w 37439"/>
                          <a:gd name="connsiteY108" fmla="*/ 25597 h 73323"/>
                          <a:gd name="connsiteX109" fmla="*/ 36243 w 37439"/>
                          <a:gd name="connsiteY109" fmla="*/ 25777 h 73323"/>
                          <a:gd name="connsiteX110" fmla="*/ 36243 w 37439"/>
                          <a:gd name="connsiteY110" fmla="*/ 25956 h 73323"/>
                          <a:gd name="connsiteX111" fmla="*/ 36243 w 37439"/>
                          <a:gd name="connsiteY111" fmla="*/ 26136 h 73323"/>
                          <a:gd name="connsiteX112" fmla="*/ 36243 w 37439"/>
                          <a:gd name="connsiteY112" fmla="*/ 26315 h 73323"/>
                          <a:gd name="connsiteX113" fmla="*/ 36243 w 37439"/>
                          <a:gd name="connsiteY113" fmla="*/ 26794 h 73323"/>
                          <a:gd name="connsiteX114" fmla="*/ 36243 w 37439"/>
                          <a:gd name="connsiteY114" fmla="*/ 27272 h 73323"/>
                          <a:gd name="connsiteX115" fmla="*/ 36243 w 37439"/>
                          <a:gd name="connsiteY115" fmla="*/ 27751 h 73323"/>
                          <a:gd name="connsiteX116" fmla="*/ 36184 w 37439"/>
                          <a:gd name="connsiteY116" fmla="*/ 28229 h 73323"/>
                          <a:gd name="connsiteX117" fmla="*/ 36423 w 37439"/>
                          <a:gd name="connsiteY117" fmla="*/ 28588 h 73323"/>
                          <a:gd name="connsiteX118" fmla="*/ 36662 w 37439"/>
                          <a:gd name="connsiteY118" fmla="*/ 28946 h 73323"/>
                          <a:gd name="connsiteX119" fmla="*/ 36901 w 37439"/>
                          <a:gd name="connsiteY119" fmla="*/ 29306 h 73323"/>
                          <a:gd name="connsiteX120" fmla="*/ 37200 w 37439"/>
                          <a:gd name="connsiteY120" fmla="*/ 29724 h 73323"/>
                          <a:gd name="connsiteX121" fmla="*/ 16926 w 37439"/>
                          <a:gd name="connsiteY121" fmla="*/ 57116 h 73323"/>
                          <a:gd name="connsiteX122" fmla="*/ 17883 w 37439"/>
                          <a:gd name="connsiteY122" fmla="*/ 57714 h 73323"/>
                          <a:gd name="connsiteX123" fmla="*/ 20036 w 37439"/>
                          <a:gd name="connsiteY123" fmla="*/ 55621 h 73323"/>
                          <a:gd name="connsiteX124" fmla="*/ 22129 w 37439"/>
                          <a:gd name="connsiteY124" fmla="*/ 53468 h 73323"/>
                          <a:gd name="connsiteX125" fmla="*/ 24162 w 37439"/>
                          <a:gd name="connsiteY125" fmla="*/ 51315 h 73323"/>
                          <a:gd name="connsiteX126" fmla="*/ 26136 w 37439"/>
                          <a:gd name="connsiteY126" fmla="*/ 49161 h 73323"/>
                          <a:gd name="connsiteX127" fmla="*/ 26315 w 37439"/>
                          <a:gd name="connsiteY127" fmla="*/ 48922 h 73323"/>
                          <a:gd name="connsiteX128" fmla="*/ 26495 w 37439"/>
                          <a:gd name="connsiteY128" fmla="*/ 48683 h 73323"/>
                          <a:gd name="connsiteX129" fmla="*/ 26674 w 37439"/>
                          <a:gd name="connsiteY129" fmla="*/ 48444 h 73323"/>
                          <a:gd name="connsiteX130" fmla="*/ 26854 w 37439"/>
                          <a:gd name="connsiteY130" fmla="*/ 48205 h 73323"/>
                          <a:gd name="connsiteX131" fmla="*/ 27930 w 37439"/>
                          <a:gd name="connsiteY131" fmla="*/ 46949 h 73323"/>
                          <a:gd name="connsiteX132" fmla="*/ 28947 w 37439"/>
                          <a:gd name="connsiteY132" fmla="*/ 45693 h 73323"/>
                          <a:gd name="connsiteX133" fmla="*/ 29963 w 37439"/>
                          <a:gd name="connsiteY133" fmla="*/ 44437 h 73323"/>
                          <a:gd name="connsiteX134" fmla="*/ 30921 w 37439"/>
                          <a:gd name="connsiteY134" fmla="*/ 43181 h 73323"/>
                          <a:gd name="connsiteX135" fmla="*/ 31100 w 37439"/>
                          <a:gd name="connsiteY135" fmla="*/ 42942 h 73323"/>
                          <a:gd name="connsiteX136" fmla="*/ 31279 w 37439"/>
                          <a:gd name="connsiteY136" fmla="*/ 42702 h 73323"/>
                          <a:gd name="connsiteX137" fmla="*/ 31459 w 37439"/>
                          <a:gd name="connsiteY137" fmla="*/ 42463 h 73323"/>
                          <a:gd name="connsiteX138" fmla="*/ 31638 w 37439"/>
                          <a:gd name="connsiteY138" fmla="*/ 42224 h 73323"/>
                          <a:gd name="connsiteX139" fmla="*/ 31877 w 37439"/>
                          <a:gd name="connsiteY139" fmla="*/ 41865 h 73323"/>
                          <a:gd name="connsiteX140" fmla="*/ 32116 w 37439"/>
                          <a:gd name="connsiteY140" fmla="*/ 41506 h 73323"/>
                          <a:gd name="connsiteX141" fmla="*/ 32356 w 37439"/>
                          <a:gd name="connsiteY141" fmla="*/ 41147 h 73323"/>
                          <a:gd name="connsiteX142" fmla="*/ 32595 w 37439"/>
                          <a:gd name="connsiteY142" fmla="*/ 40789 h 73323"/>
                          <a:gd name="connsiteX143" fmla="*/ 32775 w 37439"/>
                          <a:gd name="connsiteY143" fmla="*/ 40549 h 73323"/>
                          <a:gd name="connsiteX144" fmla="*/ 32954 w 37439"/>
                          <a:gd name="connsiteY144" fmla="*/ 40310 h 73323"/>
                          <a:gd name="connsiteX145" fmla="*/ 33133 w 37439"/>
                          <a:gd name="connsiteY145" fmla="*/ 40071 h 73323"/>
                          <a:gd name="connsiteX146" fmla="*/ 33313 w 37439"/>
                          <a:gd name="connsiteY146" fmla="*/ 39831 h 73323"/>
                          <a:gd name="connsiteX147" fmla="*/ 33791 w 37439"/>
                          <a:gd name="connsiteY147" fmla="*/ 38994 h 73323"/>
                          <a:gd name="connsiteX148" fmla="*/ 34270 w 37439"/>
                          <a:gd name="connsiteY148" fmla="*/ 38157 h 73323"/>
                          <a:gd name="connsiteX149" fmla="*/ 34688 w 37439"/>
                          <a:gd name="connsiteY149" fmla="*/ 37320 h 73323"/>
                          <a:gd name="connsiteX150" fmla="*/ 35107 w 37439"/>
                          <a:gd name="connsiteY150" fmla="*/ 36482 h 73323"/>
                          <a:gd name="connsiteX151" fmla="*/ 35227 w 37439"/>
                          <a:gd name="connsiteY151" fmla="*/ 36183 h 73323"/>
                          <a:gd name="connsiteX152" fmla="*/ 35346 w 37439"/>
                          <a:gd name="connsiteY152" fmla="*/ 35884 h 73323"/>
                          <a:gd name="connsiteX153" fmla="*/ 35466 w 37439"/>
                          <a:gd name="connsiteY153" fmla="*/ 35585 h 73323"/>
                          <a:gd name="connsiteX154" fmla="*/ 35585 w 37439"/>
                          <a:gd name="connsiteY154" fmla="*/ 35286 h 73323"/>
                          <a:gd name="connsiteX155" fmla="*/ 35884 w 37439"/>
                          <a:gd name="connsiteY155" fmla="*/ 34449 h 73323"/>
                          <a:gd name="connsiteX156" fmla="*/ 36184 w 37439"/>
                          <a:gd name="connsiteY156" fmla="*/ 33612 h 73323"/>
                          <a:gd name="connsiteX157" fmla="*/ 36423 w 37439"/>
                          <a:gd name="connsiteY157" fmla="*/ 32774 h 73323"/>
                          <a:gd name="connsiteX158" fmla="*/ 36662 w 37439"/>
                          <a:gd name="connsiteY158" fmla="*/ 31937 h 73323"/>
                          <a:gd name="connsiteX159" fmla="*/ 36662 w 37439"/>
                          <a:gd name="connsiteY159" fmla="*/ 31817 h 73323"/>
                          <a:gd name="connsiteX160" fmla="*/ 36662 w 37439"/>
                          <a:gd name="connsiteY160" fmla="*/ 31698 h 73323"/>
                          <a:gd name="connsiteX161" fmla="*/ 36662 w 37439"/>
                          <a:gd name="connsiteY161" fmla="*/ 31578 h 73323"/>
                          <a:gd name="connsiteX162" fmla="*/ 36662 w 37439"/>
                          <a:gd name="connsiteY162" fmla="*/ 31459 h 73323"/>
                          <a:gd name="connsiteX163" fmla="*/ 36423 w 37439"/>
                          <a:gd name="connsiteY163" fmla="*/ 31100 h 73323"/>
                          <a:gd name="connsiteX164" fmla="*/ 36184 w 37439"/>
                          <a:gd name="connsiteY164" fmla="*/ 30741 h 73323"/>
                          <a:gd name="connsiteX165" fmla="*/ 35944 w 37439"/>
                          <a:gd name="connsiteY165" fmla="*/ 30382 h 73323"/>
                          <a:gd name="connsiteX166" fmla="*/ 35705 w 37439"/>
                          <a:gd name="connsiteY166" fmla="*/ 30023 h 73323"/>
                          <a:gd name="connsiteX167" fmla="*/ 35645 w 37439"/>
                          <a:gd name="connsiteY167" fmla="*/ 30322 h 73323"/>
                          <a:gd name="connsiteX168" fmla="*/ 35585 w 37439"/>
                          <a:gd name="connsiteY168" fmla="*/ 30621 h 73323"/>
                          <a:gd name="connsiteX169" fmla="*/ 35526 w 37439"/>
                          <a:gd name="connsiteY169" fmla="*/ 30920 h 73323"/>
                          <a:gd name="connsiteX170" fmla="*/ 35466 w 37439"/>
                          <a:gd name="connsiteY170" fmla="*/ 31219 h 73323"/>
                          <a:gd name="connsiteX171" fmla="*/ 35227 w 37439"/>
                          <a:gd name="connsiteY171" fmla="*/ 32057 h 73323"/>
                          <a:gd name="connsiteX172" fmla="*/ 34987 w 37439"/>
                          <a:gd name="connsiteY172" fmla="*/ 32894 h 73323"/>
                          <a:gd name="connsiteX173" fmla="*/ 34688 w 37439"/>
                          <a:gd name="connsiteY173" fmla="*/ 33731 h 73323"/>
                          <a:gd name="connsiteX174" fmla="*/ 34389 w 37439"/>
                          <a:gd name="connsiteY174" fmla="*/ 34568 h 73323"/>
                          <a:gd name="connsiteX175" fmla="*/ 34270 w 37439"/>
                          <a:gd name="connsiteY175" fmla="*/ 34868 h 73323"/>
                          <a:gd name="connsiteX176" fmla="*/ 34150 w 37439"/>
                          <a:gd name="connsiteY176" fmla="*/ 35167 h 73323"/>
                          <a:gd name="connsiteX177" fmla="*/ 34030 w 37439"/>
                          <a:gd name="connsiteY177" fmla="*/ 35466 h 73323"/>
                          <a:gd name="connsiteX178" fmla="*/ 33911 w 37439"/>
                          <a:gd name="connsiteY178" fmla="*/ 35765 h 73323"/>
                          <a:gd name="connsiteX179" fmla="*/ 33492 w 37439"/>
                          <a:gd name="connsiteY179" fmla="*/ 36602 h 73323"/>
                          <a:gd name="connsiteX180" fmla="*/ 33074 w 37439"/>
                          <a:gd name="connsiteY180" fmla="*/ 37439 h 73323"/>
                          <a:gd name="connsiteX181" fmla="*/ 32655 w 37439"/>
                          <a:gd name="connsiteY181" fmla="*/ 38277 h 73323"/>
                          <a:gd name="connsiteX182" fmla="*/ 32176 w 37439"/>
                          <a:gd name="connsiteY182" fmla="*/ 39114 h 73323"/>
                          <a:gd name="connsiteX183" fmla="*/ 31997 w 37439"/>
                          <a:gd name="connsiteY183" fmla="*/ 39353 h 73323"/>
                          <a:gd name="connsiteX184" fmla="*/ 31817 w 37439"/>
                          <a:gd name="connsiteY184" fmla="*/ 39592 h 73323"/>
                          <a:gd name="connsiteX185" fmla="*/ 31638 w 37439"/>
                          <a:gd name="connsiteY185" fmla="*/ 39831 h 73323"/>
                          <a:gd name="connsiteX186" fmla="*/ 31459 w 37439"/>
                          <a:gd name="connsiteY186" fmla="*/ 40071 h 73323"/>
                          <a:gd name="connsiteX187" fmla="*/ 31220 w 37439"/>
                          <a:gd name="connsiteY187" fmla="*/ 40430 h 73323"/>
                          <a:gd name="connsiteX188" fmla="*/ 30980 w 37439"/>
                          <a:gd name="connsiteY188" fmla="*/ 40789 h 73323"/>
                          <a:gd name="connsiteX189" fmla="*/ 30741 w 37439"/>
                          <a:gd name="connsiteY189" fmla="*/ 41147 h 73323"/>
                          <a:gd name="connsiteX190" fmla="*/ 30502 w 37439"/>
                          <a:gd name="connsiteY190" fmla="*/ 41506 h 73323"/>
                          <a:gd name="connsiteX191" fmla="*/ 30322 w 37439"/>
                          <a:gd name="connsiteY191" fmla="*/ 41745 h 73323"/>
                          <a:gd name="connsiteX192" fmla="*/ 30143 w 37439"/>
                          <a:gd name="connsiteY192" fmla="*/ 41985 h 73323"/>
                          <a:gd name="connsiteX193" fmla="*/ 29963 w 37439"/>
                          <a:gd name="connsiteY193" fmla="*/ 42224 h 73323"/>
                          <a:gd name="connsiteX194" fmla="*/ 29784 w 37439"/>
                          <a:gd name="connsiteY194" fmla="*/ 42463 h 73323"/>
                          <a:gd name="connsiteX195" fmla="*/ 28827 w 37439"/>
                          <a:gd name="connsiteY195" fmla="*/ 43719 h 73323"/>
                          <a:gd name="connsiteX196" fmla="*/ 27811 w 37439"/>
                          <a:gd name="connsiteY196" fmla="*/ 44975 h 73323"/>
                          <a:gd name="connsiteX197" fmla="*/ 26794 w 37439"/>
                          <a:gd name="connsiteY197" fmla="*/ 46231 h 73323"/>
                          <a:gd name="connsiteX198" fmla="*/ 25717 w 37439"/>
                          <a:gd name="connsiteY198" fmla="*/ 47487 h 73323"/>
                          <a:gd name="connsiteX199" fmla="*/ 25538 w 37439"/>
                          <a:gd name="connsiteY199" fmla="*/ 47726 h 73323"/>
                          <a:gd name="connsiteX200" fmla="*/ 25359 w 37439"/>
                          <a:gd name="connsiteY200" fmla="*/ 47966 h 73323"/>
                          <a:gd name="connsiteX201" fmla="*/ 25179 w 37439"/>
                          <a:gd name="connsiteY201" fmla="*/ 48205 h 73323"/>
                          <a:gd name="connsiteX202" fmla="*/ 25000 w 37439"/>
                          <a:gd name="connsiteY202" fmla="*/ 48444 h 73323"/>
                          <a:gd name="connsiteX203" fmla="*/ 23026 w 37439"/>
                          <a:gd name="connsiteY203" fmla="*/ 50597 h 73323"/>
                          <a:gd name="connsiteX204" fmla="*/ 20992 w 37439"/>
                          <a:gd name="connsiteY204" fmla="*/ 52750 h 73323"/>
                          <a:gd name="connsiteX205" fmla="*/ 18899 w 37439"/>
                          <a:gd name="connsiteY205" fmla="*/ 54903 h 73323"/>
                          <a:gd name="connsiteX206" fmla="*/ 16926 w 37439"/>
                          <a:gd name="connsiteY206" fmla="*/ 57116 h 73323"/>
                          <a:gd name="connsiteX207" fmla="*/ 14773 w 37439"/>
                          <a:gd name="connsiteY207" fmla="*/ 55681 h 73323"/>
                          <a:gd name="connsiteX208" fmla="*/ 15729 w 37439"/>
                          <a:gd name="connsiteY208" fmla="*/ 56338 h 73323"/>
                          <a:gd name="connsiteX209" fmla="*/ 17883 w 37439"/>
                          <a:gd name="connsiteY209" fmla="*/ 54245 h 73323"/>
                          <a:gd name="connsiteX210" fmla="*/ 19976 w 37439"/>
                          <a:gd name="connsiteY210" fmla="*/ 52092 h 73323"/>
                          <a:gd name="connsiteX211" fmla="*/ 22069 w 37439"/>
                          <a:gd name="connsiteY211" fmla="*/ 49939 h 73323"/>
                          <a:gd name="connsiteX212" fmla="*/ 24043 w 37439"/>
                          <a:gd name="connsiteY212" fmla="*/ 47786 h 73323"/>
                          <a:gd name="connsiteX213" fmla="*/ 24222 w 37439"/>
                          <a:gd name="connsiteY213" fmla="*/ 47547 h 73323"/>
                          <a:gd name="connsiteX214" fmla="*/ 24401 w 37439"/>
                          <a:gd name="connsiteY214" fmla="*/ 47307 h 73323"/>
                          <a:gd name="connsiteX215" fmla="*/ 24581 w 37439"/>
                          <a:gd name="connsiteY215" fmla="*/ 47068 h 73323"/>
                          <a:gd name="connsiteX216" fmla="*/ 24760 w 37439"/>
                          <a:gd name="connsiteY216" fmla="*/ 46829 h 73323"/>
                          <a:gd name="connsiteX217" fmla="*/ 25837 w 37439"/>
                          <a:gd name="connsiteY217" fmla="*/ 45573 h 73323"/>
                          <a:gd name="connsiteX218" fmla="*/ 26854 w 37439"/>
                          <a:gd name="connsiteY218" fmla="*/ 44317 h 73323"/>
                          <a:gd name="connsiteX219" fmla="*/ 27870 w 37439"/>
                          <a:gd name="connsiteY219" fmla="*/ 43061 h 73323"/>
                          <a:gd name="connsiteX220" fmla="*/ 28827 w 37439"/>
                          <a:gd name="connsiteY220" fmla="*/ 41805 h 73323"/>
                          <a:gd name="connsiteX221" fmla="*/ 29007 w 37439"/>
                          <a:gd name="connsiteY221" fmla="*/ 41566 h 73323"/>
                          <a:gd name="connsiteX222" fmla="*/ 29186 w 37439"/>
                          <a:gd name="connsiteY222" fmla="*/ 41327 h 73323"/>
                          <a:gd name="connsiteX223" fmla="*/ 29366 w 37439"/>
                          <a:gd name="connsiteY223" fmla="*/ 41088 h 73323"/>
                          <a:gd name="connsiteX224" fmla="*/ 29545 w 37439"/>
                          <a:gd name="connsiteY224" fmla="*/ 40848 h 73323"/>
                          <a:gd name="connsiteX225" fmla="*/ 29784 w 37439"/>
                          <a:gd name="connsiteY225" fmla="*/ 40490 h 73323"/>
                          <a:gd name="connsiteX226" fmla="*/ 30023 w 37439"/>
                          <a:gd name="connsiteY226" fmla="*/ 40131 h 73323"/>
                          <a:gd name="connsiteX227" fmla="*/ 30262 w 37439"/>
                          <a:gd name="connsiteY227" fmla="*/ 39772 h 73323"/>
                          <a:gd name="connsiteX228" fmla="*/ 30502 w 37439"/>
                          <a:gd name="connsiteY228" fmla="*/ 39413 h 73323"/>
                          <a:gd name="connsiteX229" fmla="*/ 30681 w 37439"/>
                          <a:gd name="connsiteY229" fmla="*/ 39174 h 73323"/>
                          <a:gd name="connsiteX230" fmla="*/ 30861 w 37439"/>
                          <a:gd name="connsiteY230" fmla="*/ 38935 h 73323"/>
                          <a:gd name="connsiteX231" fmla="*/ 31040 w 37439"/>
                          <a:gd name="connsiteY231" fmla="*/ 38695 h 73323"/>
                          <a:gd name="connsiteX232" fmla="*/ 31220 w 37439"/>
                          <a:gd name="connsiteY232" fmla="*/ 38396 h 73323"/>
                          <a:gd name="connsiteX233" fmla="*/ 31698 w 37439"/>
                          <a:gd name="connsiteY233" fmla="*/ 37559 h 73323"/>
                          <a:gd name="connsiteX234" fmla="*/ 32116 w 37439"/>
                          <a:gd name="connsiteY234" fmla="*/ 36722 h 73323"/>
                          <a:gd name="connsiteX235" fmla="*/ 32535 w 37439"/>
                          <a:gd name="connsiteY235" fmla="*/ 35884 h 73323"/>
                          <a:gd name="connsiteX236" fmla="*/ 32894 w 37439"/>
                          <a:gd name="connsiteY236" fmla="*/ 35047 h 73323"/>
                          <a:gd name="connsiteX237" fmla="*/ 33014 w 37439"/>
                          <a:gd name="connsiteY237" fmla="*/ 34748 h 73323"/>
                          <a:gd name="connsiteX238" fmla="*/ 33133 w 37439"/>
                          <a:gd name="connsiteY238" fmla="*/ 34449 h 73323"/>
                          <a:gd name="connsiteX239" fmla="*/ 33253 w 37439"/>
                          <a:gd name="connsiteY239" fmla="*/ 34150 h 73323"/>
                          <a:gd name="connsiteX240" fmla="*/ 33373 w 37439"/>
                          <a:gd name="connsiteY240" fmla="*/ 33851 h 73323"/>
                          <a:gd name="connsiteX241" fmla="*/ 33671 w 37439"/>
                          <a:gd name="connsiteY241" fmla="*/ 33014 h 73323"/>
                          <a:gd name="connsiteX242" fmla="*/ 33911 w 37439"/>
                          <a:gd name="connsiteY242" fmla="*/ 32176 h 73323"/>
                          <a:gd name="connsiteX243" fmla="*/ 34150 w 37439"/>
                          <a:gd name="connsiteY243" fmla="*/ 31339 h 73323"/>
                          <a:gd name="connsiteX244" fmla="*/ 34330 w 37439"/>
                          <a:gd name="connsiteY244" fmla="*/ 30502 h 73323"/>
                          <a:gd name="connsiteX245" fmla="*/ 34389 w 37439"/>
                          <a:gd name="connsiteY245" fmla="*/ 30143 h 73323"/>
                          <a:gd name="connsiteX246" fmla="*/ 34449 w 37439"/>
                          <a:gd name="connsiteY246" fmla="*/ 29784 h 73323"/>
                          <a:gd name="connsiteX247" fmla="*/ 34509 w 37439"/>
                          <a:gd name="connsiteY247" fmla="*/ 29425 h 73323"/>
                          <a:gd name="connsiteX248" fmla="*/ 34569 w 37439"/>
                          <a:gd name="connsiteY248" fmla="*/ 29066 h 73323"/>
                          <a:gd name="connsiteX249" fmla="*/ 34569 w 37439"/>
                          <a:gd name="connsiteY249" fmla="*/ 28887 h 73323"/>
                          <a:gd name="connsiteX250" fmla="*/ 34569 w 37439"/>
                          <a:gd name="connsiteY250" fmla="*/ 28707 h 73323"/>
                          <a:gd name="connsiteX251" fmla="*/ 34569 w 37439"/>
                          <a:gd name="connsiteY251" fmla="*/ 28528 h 73323"/>
                          <a:gd name="connsiteX252" fmla="*/ 34569 w 37439"/>
                          <a:gd name="connsiteY252" fmla="*/ 28349 h 73323"/>
                          <a:gd name="connsiteX253" fmla="*/ 34270 w 37439"/>
                          <a:gd name="connsiteY253" fmla="*/ 27990 h 73323"/>
                          <a:gd name="connsiteX254" fmla="*/ 33971 w 37439"/>
                          <a:gd name="connsiteY254" fmla="*/ 27631 h 73323"/>
                          <a:gd name="connsiteX255" fmla="*/ 33671 w 37439"/>
                          <a:gd name="connsiteY255" fmla="*/ 27272 h 73323"/>
                          <a:gd name="connsiteX256" fmla="*/ 33373 w 37439"/>
                          <a:gd name="connsiteY256" fmla="*/ 26913 h 73323"/>
                          <a:gd name="connsiteX257" fmla="*/ 33373 w 37439"/>
                          <a:gd name="connsiteY257" fmla="*/ 27272 h 73323"/>
                          <a:gd name="connsiteX258" fmla="*/ 33373 w 37439"/>
                          <a:gd name="connsiteY258" fmla="*/ 27631 h 73323"/>
                          <a:gd name="connsiteX259" fmla="*/ 33373 w 37439"/>
                          <a:gd name="connsiteY259" fmla="*/ 27990 h 73323"/>
                          <a:gd name="connsiteX260" fmla="*/ 33373 w 37439"/>
                          <a:gd name="connsiteY260" fmla="*/ 28349 h 73323"/>
                          <a:gd name="connsiteX261" fmla="*/ 33313 w 37439"/>
                          <a:gd name="connsiteY261" fmla="*/ 28707 h 73323"/>
                          <a:gd name="connsiteX262" fmla="*/ 33253 w 37439"/>
                          <a:gd name="connsiteY262" fmla="*/ 29066 h 73323"/>
                          <a:gd name="connsiteX263" fmla="*/ 33193 w 37439"/>
                          <a:gd name="connsiteY263" fmla="*/ 29425 h 73323"/>
                          <a:gd name="connsiteX264" fmla="*/ 33133 w 37439"/>
                          <a:gd name="connsiteY264" fmla="*/ 29784 h 73323"/>
                          <a:gd name="connsiteX265" fmla="*/ 32954 w 37439"/>
                          <a:gd name="connsiteY265" fmla="*/ 30681 h 73323"/>
                          <a:gd name="connsiteX266" fmla="*/ 32775 w 37439"/>
                          <a:gd name="connsiteY266" fmla="*/ 31578 h 73323"/>
                          <a:gd name="connsiteX267" fmla="*/ 32535 w 37439"/>
                          <a:gd name="connsiteY267" fmla="*/ 32475 h 73323"/>
                          <a:gd name="connsiteX268" fmla="*/ 32236 w 37439"/>
                          <a:gd name="connsiteY268" fmla="*/ 33373 h 73323"/>
                          <a:gd name="connsiteX269" fmla="*/ 32116 w 37439"/>
                          <a:gd name="connsiteY269" fmla="*/ 33671 h 73323"/>
                          <a:gd name="connsiteX270" fmla="*/ 31997 w 37439"/>
                          <a:gd name="connsiteY270" fmla="*/ 33970 h 73323"/>
                          <a:gd name="connsiteX271" fmla="*/ 31877 w 37439"/>
                          <a:gd name="connsiteY271" fmla="*/ 34269 h 73323"/>
                          <a:gd name="connsiteX272" fmla="*/ 31758 w 37439"/>
                          <a:gd name="connsiteY272" fmla="*/ 34568 h 73323"/>
                          <a:gd name="connsiteX273" fmla="*/ 31399 w 37439"/>
                          <a:gd name="connsiteY273" fmla="*/ 35406 h 73323"/>
                          <a:gd name="connsiteX274" fmla="*/ 30980 w 37439"/>
                          <a:gd name="connsiteY274" fmla="*/ 36243 h 73323"/>
                          <a:gd name="connsiteX275" fmla="*/ 30562 w 37439"/>
                          <a:gd name="connsiteY275" fmla="*/ 37081 h 73323"/>
                          <a:gd name="connsiteX276" fmla="*/ 30083 w 37439"/>
                          <a:gd name="connsiteY276" fmla="*/ 37918 h 73323"/>
                          <a:gd name="connsiteX277" fmla="*/ 29904 w 37439"/>
                          <a:gd name="connsiteY277" fmla="*/ 38217 h 73323"/>
                          <a:gd name="connsiteX278" fmla="*/ 29724 w 37439"/>
                          <a:gd name="connsiteY278" fmla="*/ 38516 h 73323"/>
                          <a:gd name="connsiteX279" fmla="*/ 29545 w 37439"/>
                          <a:gd name="connsiteY279" fmla="*/ 38815 h 73323"/>
                          <a:gd name="connsiteX280" fmla="*/ 29366 w 37439"/>
                          <a:gd name="connsiteY280" fmla="*/ 39114 h 73323"/>
                          <a:gd name="connsiteX281" fmla="*/ 29126 w 37439"/>
                          <a:gd name="connsiteY281" fmla="*/ 39473 h 73323"/>
                          <a:gd name="connsiteX282" fmla="*/ 28887 w 37439"/>
                          <a:gd name="connsiteY282" fmla="*/ 39831 h 73323"/>
                          <a:gd name="connsiteX283" fmla="*/ 28648 w 37439"/>
                          <a:gd name="connsiteY283" fmla="*/ 40190 h 73323"/>
                          <a:gd name="connsiteX284" fmla="*/ 28408 w 37439"/>
                          <a:gd name="connsiteY284" fmla="*/ 40549 h 73323"/>
                          <a:gd name="connsiteX285" fmla="*/ 28229 w 37439"/>
                          <a:gd name="connsiteY285" fmla="*/ 40789 h 73323"/>
                          <a:gd name="connsiteX286" fmla="*/ 28050 w 37439"/>
                          <a:gd name="connsiteY286" fmla="*/ 41028 h 73323"/>
                          <a:gd name="connsiteX287" fmla="*/ 27870 w 37439"/>
                          <a:gd name="connsiteY287" fmla="*/ 41267 h 73323"/>
                          <a:gd name="connsiteX288" fmla="*/ 27691 w 37439"/>
                          <a:gd name="connsiteY288" fmla="*/ 41506 h 73323"/>
                          <a:gd name="connsiteX289" fmla="*/ 26734 w 37439"/>
                          <a:gd name="connsiteY289" fmla="*/ 42762 h 73323"/>
                          <a:gd name="connsiteX290" fmla="*/ 25717 w 37439"/>
                          <a:gd name="connsiteY290" fmla="*/ 44018 h 73323"/>
                          <a:gd name="connsiteX291" fmla="*/ 24700 w 37439"/>
                          <a:gd name="connsiteY291" fmla="*/ 45274 h 73323"/>
                          <a:gd name="connsiteX292" fmla="*/ 23624 w 37439"/>
                          <a:gd name="connsiteY292" fmla="*/ 46530 h 73323"/>
                          <a:gd name="connsiteX293" fmla="*/ 23445 w 37439"/>
                          <a:gd name="connsiteY293" fmla="*/ 46769 h 73323"/>
                          <a:gd name="connsiteX294" fmla="*/ 23265 w 37439"/>
                          <a:gd name="connsiteY294" fmla="*/ 47008 h 73323"/>
                          <a:gd name="connsiteX295" fmla="*/ 23086 w 37439"/>
                          <a:gd name="connsiteY295" fmla="*/ 47248 h 73323"/>
                          <a:gd name="connsiteX296" fmla="*/ 22906 w 37439"/>
                          <a:gd name="connsiteY296" fmla="*/ 47487 h 73323"/>
                          <a:gd name="connsiteX297" fmla="*/ 20933 w 37439"/>
                          <a:gd name="connsiteY297" fmla="*/ 49640 h 73323"/>
                          <a:gd name="connsiteX298" fmla="*/ 18839 w 37439"/>
                          <a:gd name="connsiteY298" fmla="*/ 51793 h 73323"/>
                          <a:gd name="connsiteX299" fmla="*/ 16746 w 37439"/>
                          <a:gd name="connsiteY299" fmla="*/ 53946 h 73323"/>
                          <a:gd name="connsiteX300" fmla="*/ 14773 w 37439"/>
                          <a:gd name="connsiteY300" fmla="*/ 55681 h 73323"/>
                          <a:gd name="connsiteX301" fmla="*/ 14414 w 37439"/>
                          <a:gd name="connsiteY301" fmla="*/ 59568 h 73323"/>
                          <a:gd name="connsiteX302" fmla="*/ 15311 w 37439"/>
                          <a:gd name="connsiteY302" fmla="*/ 60166 h 73323"/>
                          <a:gd name="connsiteX303" fmla="*/ 15430 w 37439"/>
                          <a:gd name="connsiteY303" fmla="*/ 60046 h 73323"/>
                          <a:gd name="connsiteX304" fmla="*/ 15550 w 37439"/>
                          <a:gd name="connsiteY304" fmla="*/ 59927 h 73323"/>
                          <a:gd name="connsiteX305" fmla="*/ 15669 w 37439"/>
                          <a:gd name="connsiteY305" fmla="*/ 59807 h 73323"/>
                          <a:gd name="connsiteX306" fmla="*/ 15789 w 37439"/>
                          <a:gd name="connsiteY306" fmla="*/ 59687 h 73323"/>
                          <a:gd name="connsiteX307" fmla="*/ 16088 w 37439"/>
                          <a:gd name="connsiteY307" fmla="*/ 59448 h 73323"/>
                          <a:gd name="connsiteX308" fmla="*/ 16387 w 37439"/>
                          <a:gd name="connsiteY308" fmla="*/ 59209 h 73323"/>
                          <a:gd name="connsiteX309" fmla="*/ 16686 w 37439"/>
                          <a:gd name="connsiteY309" fmla="*/ 58970 h 73323"/>
                          <a:gd name="connsiteX310" fmla="*/ 16985 w 37439"/>
                          <a:gd name="connsiteY310" fmla="*/ 58731 h 73323"/>
                          <a:gd name="connsiteX311" fmla="*/ 16088 w 37439"/>
                          <a:gd name="connsiteY311" fmla="*/ 58132 h 73323"/>
                          <a:gd name="connsiteX312" fmla="*/ 15849 w 37439"/>
                          <a:gd name="connsiteY312" fmla="*/ 58372 h 73323"/>
                          <a:gd name="connsiteX313" fmla="*/ 15610 w 37439"/>
                          <a:gd name="connsiteY313" fmla="*/ 58611 h 73323"/>
                          <a:gd name="connsiteX314" fmla="*/ 15371 w 37439"/>
                          <a:gd name="connsiteY314" fmla="*/ 58850 h 73323"/>
                          <a:gd name="connsiteX315" fmla="*/ 15131 w 37439"/>
                          <a:gd name="connsiteY315" fmla="*/ 59090 h 73323"/>
                          <a:gd name="connsiteX316" fmla="*/ 14952 w 37439"/>
                          <a:gd name="connsiteY316" fmla="*/ 59269 h 73323"/>
                          <a:gd name="connsiteX317" fmla="*/ 14773 w 37439"/>
                          <a:gd name="connsiteY317" fmla="*/ 59448 h 73323"/>
                          <a:gd name="connsiteX318" fmla="*/ 14593 w 37439"/>
                          <a:gd name="connsiteY318" fmla="*/ 59628 h 73323"/>
                          <a:gd name="connsiteX319" fmla="*/ 14414 w 37439"/>
                          <a:gd name="connsiteY319" fmla="*/ 59568 h 73323"/>
                          <a:gd name="connsiteX320" fmla="*/ 12201 w 37439"/>
                          <a:gd name="connsiteY320" fmla="*/ 58132 h 73323"/>
                          <a:gd name="connsiteX321" fmla="*/ 13158 w 37439"/>
                          <a:gd name="connsiteY321" fmla="*/ 58731 h 73323"/>
                          <a:gd name="connsiteX322" fmla="*/ 13337 w 37439"/>
                          <a:gd name="connsiteY322" fmla="*/ 58551 h 73323"/>
                          <a:gd name="connsiteX323" fmla="*/ 13516 w 37439"/>
                          <a:gd name="connsiteY323" fmla="*/ 58372 h 73323"/>
                          <a:gd name="connsiteX324" fmla="*/ 13696 w 37439"/>
                          <a:gd name="connsiteY324" fmla="*/ 58192 h 73323"/>
                          <a:gd name="connsiteX325" fmla="*/ 13875 w 37439"/>
                          <a:gd name="connsiteY325" fmla="*/ 58013 h 73323"/>
                          <a:gd name="connsiteX326" fmla="*/ 14055 w 37439"/>
                          <a:gd name="connsiteY326" fmla="*/ 57833 h 73323"/>
                          <a:gd name="connsiteX327" fmla="*/ 14234 w 37439"/>
                          <a:gd name="connsiteY327" fmla="*/ 57654 h 73323"/>
                          <a:gd name="connsiteX328" fmla="*/ 14414 w 37439"/>
                          <a:gd name="connsiteY328" fmla="*/ 57475 h 73323"/>
                          <a:gd name="connsiteX329" fmla="*/ 14593 w 37439"/>
                          <a:gd name="connsiteY329" fmla="*/ 57295 h 73323"/>
                          <a:gd name="connsiteX330" fmla="*/ 13636 w 37439"/>
                          <a:gd name="connsiteY330" fmla="*/ 56637 h 73323"/>
                          <a:gd name="connsiteX331" fmla="*/ 13457 w 37439"/>
                          <a:gd name="connsiteY331" fmla="*/ 56817 h 73323"/>
                          <a:gd name="connsiteX332" fmla="*/ 13277 w 37439"/>
                          <a:gd name="connsiteY332" fmla="*/ 56996 h 73323"/>
                          <a:gd name="connsiteX333" fmla="*/ 13098 w 37439"/>
                          <a:gd name="connsiteY333" fmla="*/ 57176 h 73323"/>
                          <a:gd name="connsiteX334" fmla="*/ 12919 w 37439"/>
                          <a:gd name="connsiteY334" fmla="*/ 57355 h 73323"/>
                          <a:gd name="connsiteX335" fmla="*/ 12679 w 37439"/>
                          <a:gd name="connsiteY335" fmla="*/ 57594 h 73323"/>
                          <a:gd name="connsiteX336" fmla="*/ 12440 w 37439"/>
                          <a:gd name="connsiteY336" fmla="*/ 57833 h 73323"/>
                          <a:gd name="connsiteX337" fmla="*/ 12201 w 37439"/>
                          <a:gd name="connsiteY337" fmla="*/ 58073 h 73323"/>
                          <a:gd name="connsiteX338" fmla="*/ 12201 w 37439"/>
                          <a:gd name="connsiteY338" fmla="*/ 58132 h 73323"/>
                          <a:gd name="connsiteX339" fmla="*/ 12141 w 37439"/>
                          <a:gd name="connsiteY339" fmla="*/ 61840 h 73323"/>
                          <a:gd name="connsiteX340" fmla="*/ 13098 w 37439"/>
                          <a:gd name="connsiteY340" fmla="*/ 62439 h 73323"/>
                          <a:gd name="connsiteX341" fmla="*/ 13457 w 37439"/>
                          <a:gd name="connsiteY341" fmla="*/ 62080 h 73323"/>
                          <a:gd name="connsiteX342" fmla="*/ 13815 w 37439"/>
                          <a:gd name="connsiteY342" fmla="*/ 61721 h 73323"/>
                          <a:gd name="connsiteX343" fmla="*/ 14174 w 37439"/>
                          <a:gd name="connsiteY343" fmla="*/ 61362 h 73323"/>
                          <a:gd name="connsiteX344" fmla="*/ 14533 w 37439"/>
                          <a:gd name="connsiteY344" fmla="*/ 61003 h 73323"/>
                          <a:gd name="connsiteX345" fmla="*/ 13576 w 37439"/>
                          <a:gd name="connsiteY345" fmla="*/ 60405 h 73323"/>
                          <a:gd name="connsiteX346" fmla="*/ 13218 w 37439"/>
                          <a:gd name="connsiteY346" fmla="*/ 60764 h 73323"/>
                          <a:gd name="connsiteX347" fmla="*/ 12859 w 37439"/>
                          <a:gd name="connsiteY347" fmla="*/ 61123 h 73323"/>
                          <a:gd name="connsiteX348" fmla="*/ 12500 w 37439"/>
                          <a:gd name="connsiteY348" fmla="*/ 61482 h 73323"/>
                          <a:gd name="connsiteX349" fmla="*/ 12141 w 37439"/>
                          <a:gd name="connsiteY349" fmla="*/ 61840 h 73323"/>
                          <a:gd name="connsiteX350" fmla="*/ 9928 w 37439"/>
                          <a:gd name="connsiteY350" fmla="*/ 60405 h 73323"/>
                          <a:gd name="connsiteX351" fmla="*/ 10885 w 37439"/>
                          <a:gd name="connsiteY351" fmla="*/ 61003 h 73323"/>
                          <a:gd name="connsiteX352" fmla="*/ 11244 w 37439"/>
                          <a:gd name="connsiteY352" fmla="*/ 60645 h 73323"/>
                          <a:gd name="connsiteX353" fmla="*/ 11603 w 37439"/>
                          <a:gd name="connsiteY353" fmla="*/ 60286 h 73323"/>
                          <a:gd name="connsiteX354" fmla="*/ 11961 w 37439"/>
                          <a:gd name="connsiteY354" fmla="*/ 59927 h 73323"/>
                          <a:gd name="connsiteX355" fmla="*/ 12320 w 37439"/>
                          <a:gd name="connsiteY355" fmla="*/ 59568 h 73323"/>
                          <a:gd name="connsiteX356" fmla="*/ 11364 w 37439"/>
                          <a:gd name="connsiteY356" fmla="*/ 58970 h 73323"/>
                          <a:gd name="connsiteX357" fmla="*/ 11005 w 37439"/>
                          <a:gd name="connsiteY357" fmla="*/ 59329 h 73323"/>
                          <a:gd name="connsiteX358" fmla="*/ 10646 w 37439"/>
                          <a:gd name="connsiteY358" fmla="*/ 59687 h 73323"/>
                          <a:gd name="connsiteX359" fmla="*/ 10287 w 37439"/>
                          <a:gd name="connsiteY359" fmla="*/ 60046 h 73323"/>
                          <a:gd name="connsiteX360" fmla="*/ 9928 w 37439"/>
                          <a:gd name="connsiteY360" fmla="*/ 60405 h 73323"/>
                          <a:gd name="connsiteX361" fmla="*/ 0 w 37439"/>
                          <a:gd name="connsiteY361" fmla="*/ 71290 h 73323"/>
                          <a:gd name="connsiteX362" fmla="*/ 3110 w 37439"/>
                          <a:gd name="connsiteY362" fmla="*/ 73324 h 73323"/>
                          <a:gd name="connsiteX363" fmla="*/ 3469 w 37439"/>
                          <a:gd name="connsiteY363" fmla="*/ 72845 h 73323"/>
                          <a:gd name="connsiteX364" fmla="*/ 4127 w 37439"/>
                          <a:gd name="connsiteY364" fmla="*/ 72008 h 73323"/>
                          <a:gd name="connsiteX365" fmla="*/ 4785 w 37439"/>
                          <a:gd name="connsiteY365" fmla="*/ 71171 h 73323"/>
                          <a:gd name="connsiteX366" fmla="*/ 5503 w 37439"/>
                          <a:gd name="connsiteY366" fmla="*/ 70333 h 73323"/>
                          <a:gd name="connsiteX367" fmla="*/ 6220 w 37439"/>
                          <a:gd name="connsiteY367" fmla="*/ 69496 h 73323"/>
                          <a:gd name="connsiteX368" fmla="*/ 6459 w 37439"/>
                          <a:gd name="connsiteY368" fmla="*/ 69257 h 73323"/>
                          <a:gd name="connsiteX369" fmla="*/ 6698 w 37439"/>
                          <a:gd name="connsiteY369" fmla="*/ 69017 h 73323"/>
                          <a:gd name="connsiteX370" fmla="*/ 6938 w 37439"/>
                          <a:gd name="connsiteY370" fmla="*/ 68778 h 73323"/>
                          <a:gd name="connsiteX371" fmla="*/ 7177 w 37439"/>
                          <a:gd name="connsiteY371" fmla="*/ 68539 h 73323"/>
                          <a:gd name="connsiteX372" fmla="*/ 8373 w 37439"/>
                          <a:gd name="connsiteY372" fmla="*/ 67223 h 73323"/>
                          <a:gd name="connsiteX373" fmla="*/ 9629 w 37439"/>
                          <a:gd name="connsiteY373" fmla="*/ 65908 h 73323"/>
                          <a:gd name="connsiteX374" fmla="*/ 10945 w 37439"/>
                          <a:gd name="connsiteY374" fmla="*/ 64592 h 73323"/>
                          <a:gd name="connsiteX375" fmla="*/ 12261 w 37439"/>
                          <a:gd name="connsiteY375" fmla="*/ 63276 h 73323"/>
                          <a:gd name="connsiteX376" fmla="*/ 11304 w 37439"/>
                          <a:gd name="connsiteY376" fmla="*/ 62678 h 73323"/>
                          <a:gd name="connsiteX377" fmla="*/ 9988 w 37439"/>
                          <a:gd name="connsiteY377" fmla="*/ 63994 h 73323"/>
                          <a:gd name="connsiteX378" fmla="*/ 8672 w 37439"/>
                          <a:gd name="connsiteY378" fmla="*/ 65309 h 73323"/>
                          <a:gd name="connsiteX379" fmla="*/ 7416 w 37439"/>
                          <a:gd name="connsiteY379" fmla="*/ 66625 h 73323"/>
                          <a:gd name="connsiteX380" fmla="*/ 6220 w 37439"/>
                          <a:gd name="connsiteY380" fmla="*/ 67941 h 73323"/>
                          <a:gd name="connsiteX381" fmla="*/ 5981 w 37439"/>
                          <a:gd name="connsiteY381" fmla="*/ 68180 h 73323"/>
                          <a:gd name="connsiteX382" fmla="*/ 5742 w 37439"/>
                          <a:gd name="connsiteY382" fmla="*/ 68419 h 73323"/>
                          <a:gd name="connsiteX383" fmla="*/ 5503 w 37439"/>
                          <a:gd name="connsiteY383" fmla="*/ 68659 h 73323"/>
                          <a:gd name="connsiteX384" fmla="*/ 5263 w 37439"/>
                          <a:gd name="connsiteY384" fmla="*/ 68898 h 73323"/>
                          <a:gd name="connsiteX385" fmla="*/ 4665 w 37439"/>
                          <a:gd name="connsiteY385" fmla="*/ 69556 h 73323"/>
                          <a:gd name="connsiteX386" fmla="*/ 4067 w 37439"/>
                          <a:gd name="connsiteY386" fmla="*/ 70214 h 73323"/>
                          <a:gd name="connsiteX387" fmla="*/ 3469 w 37439"/>
                          <a:gd name="connsiteY387" fmla="*/ 70871 h 73323"/>
                          <a:gd name="connsiteX388" fmla="*/ 2931 w 37439"/>
                          <a:gd name="connsiteY388" fmla="*/ 71530 h 73323"/>
                          <a:gd name="connsiteX389" fmla="*/ 1735 w 37439"/>
                          <a:gd name="connsiteY389" fmla="*/ 70752 h 73323"/>
                          <a:gd name="connsiteX390" fmla="*/ 2273 w 37439"/>
                          <a:gd name="connsiteY390" fmla="*/ 70094 h 73323"/>
                          <a:gd name="connsiteX391" fmla="*/ 2871 w 37439"/>
                          <a:gd name="connsiteY391" fmla="*/ 69436 h 73323"/>
                          <a:gd name="connsiteX392" fmla="*/ 3469 w 37439"/>
                          <a:gd name="connsiteY392" fmla="*/ 68778 h 73323"/>
                          <a:gd name="connsiteX393" fmla="*/ 4067 w 37439"/>
                          <a:gd name="connsiteY393" fmla="*/ 68121 h 73323"/>
                          <a:gd name="connsiteX394" fmla="*/ 4306 w 37439"/>
                          <a:gd name="connsiteY394" fmla="*/ 67881 h 73323"/>
                          <a:gd name="connsiteX395" fmla="*/ 4545 w 37439"/>
                          <a:gd name="connsiteY395" fmla="*/ 67642 h 73323"/>
                          <a:gd name="connsiteX396" fmla="*/ 4785 w 37439"/>
                          <a:gd name="connsiteY396" fmla="*/ 67403 h 73323"/>
                          <a:gd name="connsiteX397" fmla="*/ 5024 w 37439"/>
                          <a:gd name="connsiteY397" fmla="*/ 67163 h 73323"/>
                          <a:gd name="connsiteX398" fmla="*/ 6220 w 37439"/>
                          <a:gd name="connsiteY398" fmla="*/ 65848 h 73323"/>
                          <a:gd name="connsiteX399" fmla="*/ 7476 w 37439"/>
                          <a:gd name="connsiteY399" fmla="*/ 64532 h 73323"/>
                          <a:gd name="connsiteX400" fmla="*/ 8732 w 37439"/>
                          <a:gd name="connsiteY400" fmla="*/ 63216 h 73323"/>
                          <a:gd name="connsiteX401" fmla="*/ 10048 w 37439"/>
                          <a:gd name="connsiteY401" fmla="*/ 61900 h 73323"/>
                          <a:gd name="connsiteX402" fmla="*/ 9091 w 37439"/>
                          <a:gd name="connsiteY402" fmla="*/ 61302 h 73323"/>
                          <a:gd name="connsiteX403" fmla="*/ 7775 w 37439"/>
                          <a:gd name="connsiteY403" fmla="*/ 62618 h 73323"/>
                          <a:gd name="connsiteX404" fmla="*/ 6519 w 37439"/>
                          <a:gd name="connsiteY404" fmla="*/ 63934 h 73323"/>
                          <a:gd name="connsiteX405" fmla="*/ 5263 w 37439"/>
                          <a:gd name="connsiteY405" fmla="*/ 65250 h 73323"/>
                          <a:gd name="connsiteX406" fmla="*/ 4067 w 37439"/>
                          <a:gd name="connsiteY406" fmla="*/ 66565 h 73323"/>
                          <a:gd name="connsiteX407" fmla="*/ 3828 w 37439"/>
                          <a:gd name="connsiteY407" fmla="*/ 66805 h 73323"/>
                          <a:gd name="connsiteX408" fmla="*/ 3589 w 37439"/>
                          <a:gd name="connsiteY408" fmla="*/ 67044 h 73323"/>
                          <a:gd name="connsiteX409" fmla="*/ 3349 w 37439"/>
                          <a:gd name="connsiteY409" fmla="*/ 67283 h 73323"/>
                          <a:gd name="connsiteX410" fmla="*/ 3110 w 37439"/>
                          <a:gd name="connsiteY410" fmla="*/ 67522 h 73323"/>
                          <a:gd name="connsiteX411" fmla="*/ 2392 w 37439"/>
                          <a:gd name="connsiteY411" fmla="*/ 68360 h 73323"/>
                          <a:gd name="connsiteX412" fmla="*/ 1675 w 37439"/>
                          <a:gd name="connsiteY412" fmla="*/ 69197 h 73323"/>
                          <a:gd name="connsiteX413" fmla="*/ 1017 w 37439"/>
                          <a:gd name="connsiteY413" fmla="*/ 70034 h 73323"/>
                          <a:gd name="connsiteX414" fmla="*/ 359 w 37439"/>
                          <a:gd name="connsiteY414" fmla="*/ 70871 h 73323"/>
                          <a:gd name="connsiteX415" fmla="*/ 0 w 37439"/>
                          <a:gd name="connsiteY415" fmla="*/ 71290 h 7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37439" h="73323">
                            <a:moveTo>
                              <a:pt x="19378" y="5861"/>
                            </a:moveTo>
                            <a:lnTo>
                              <a:pt x="20155" y="4844"/>
                            </a:lnTo>
                            <a:cubicBezTo>
                              <a:pt x="19976" y="4725"/>
                              <a:pt x="19737" y="4545"/>
                              <a:pt x="19557" y="4426"/>
                            </a:cubicBezTo>
                            <a:cubicBezTo>
                              <a:pt x="19378" y="4306"/>
                              <a:pt x="19138" y="4127"/>
                              <a:pt x="18959" y="4007"/>
                            </a:cubicBezTo>
                            <a:cubicBezTo>
                              <a:pt x="18780" y="3888"/>
                              <a:pt x="18540" y="3708"/>
                              <a:pt x="18361" y="3588"/>
                            </a:cubicBezTo>
                            <a:cubicBezTo>
                              <a:pt x="18182" y="3469"/>
                              <a:pt x="17942" y="3289"/>
                              <a:pt x="17703" y="3170"/>
                            </a:cubicBezTo>
                            <a:lnTo>
                              <a:pt x="18720" y="1854"/>
                            </a:lnTo>
                            <a:cubicBezTo>
                              <a:pt x="18959" y="1974"/>
                              <a:pt x="19138" y="2153"/>
                              <a:pt x="19378" y="2273"/>
                            </a:cubicBezTo>
                            <a:cubicBezTo>
                              <a:pt x="19557" y="2392"/>
                              <a:pt x="19796" y="2572"/>
                              <a:pt x="19976" y="2691"/>
                            </a:cubicBezTo>
                            <a:cubicBezTo>
                              <a:pt x="20155" y="2811"/>
                              <a:pt x="20394" y="2990"/>
                              <a:pt x="20574" y="3110"/>
                            </a:cubicBezTo>
                            <a:cubicBezTo>
                              <a:pt x="20753" y="3229"/>
                              <a:pt x="20992" y="3409"/>
                              <a:pt x="21172" y="3528"/>
                            </a:cubicBezTo>
                            <a:lnTo>
                              <a:pt x="21950" y="2512"/>
                            </a:lnTo>
                            <a:cubicBezTo>
                              <a:pt x="21710" y="2333"/>
                              <a:pt x="21471" y="2153"/>
                              <a:pt x="21232" y="1974"/>
                            </a:cubicBezTo>
                            <a:cubicBezTo>
                              <a:pt x="20992" y="1794"/>
                              <a:pt x="20753" y="1615"/>
                              <a:pt x="20514" y="1435"/>
                            </a:cubicBezTo>
                            <a:cubicBezTo>
                              <a:pt x="20275" y="1256"/>
                              <a:pt x="20036" y="1076"/>
                              <a:pt x="19796" y="897"/>
                            </a:cubicBezTo>
                            <a:cubicBezTo>
                              <a:pt x="19557" y="718"/>
                              <a:pt x="19318" y="538"/>
                              <a:pt x="19019" y="359"/>
                            </a:cubicBezTo>
                            <a:lnTo>
                              <a:pt x="18540" y="0"/>
                            </a:lnTo>
                            <a:lnTo>
                              <a:pt x="15909" y="3289"/>
                            </a:lnTo>
                            <a:lnTo>
                              <a:pt x="16387" y="3648"/>
                            </a:lnTo>
                            <a:cubicBezTo>
                              <a:pt x="16627" y="3828"/>
                              <a:pt x="16866" y="4007"/>
                              <a:pt x="17165" y="4187"/>
                            </a:cubicBezTo>
                            <a:cubicBezTo>
                              <a:pt x="17464" y="4366"/>
                              <a:pt x="17643" y="4545"/>
                              <a:pt x="17883" y="4725"/>
                            </a:cubicBezTo>
                            <a:cubicBezTo>
                              <a:pt x="18122" y="4904"/>
                              <a:pt x="18361" y="5083"/>
                              <a:pt x="18600" y="5263"/>
                            </a:cubicBezTo>
                            <a:cubicBezTo>
                              <a:pt x="18899" y="5502"/>
                              <a:pt x="19138" y="5682"/>
                              <a:pt x="19378" y="5861"/>
                            </a:cubicBezTo>
                            <a:moveTo>
                              <a:pt x="33671" y="20873"/>
                            </a:moveTo>
                            <a:cubicBezTo>
                              <a:pt x="33612" y="20693"/>
                              <a:pt x="33552" y="20514"/>
                              <a:pt x="33492" y="20394"/>
                            </a:cubicBezTo>
                            <a:cubicBezTo>
                              <a:pt x="33432" y="20215"/>
                              <a:pt x="33373" y="20035"/>
                              <a:pt x="33313" y="19916"/>
                            </a:cubicBezTo>
                            <a:cubicBezTo>
                              <a:pt x="33253" y="19736"/>
                              <a:pt x="33193" y="19557"/>
                              <a:pt x="33074" y="19437"/>
                            </a:cubicBezTo>
                            <a:cubicBezTo>
                              <a:pt x="33014" y="19258"/>
                              <a:pt x="32894" y="19079"/>
                              <a:pt x="32834" y="18959"/>
                            </a:cubicBezTo>
                            <a:cubicBezTo>
                              <a:pt x="32715" y="18780"/>
                              <a:pt x="32655" y="18540"/>
                              <a:pt x="32535" y="18361"/>
                            </a:cubicBezTo>
                            <a:cubicBezTo>
                              <a:pt x="32416" y="18181"/>
                              <a:pt x="32296" y="17942"/>
                              <a:pt x="32236" y="17763"/>
                            </a:cubicBezTo>
                            <a:cubicBezTo>
                              <a:pt x="32116" y="17583"/>
                              <a:pt x="31997" y="17344"/>
                              <a:pt x="31877" y="17165"/>
                            </a:cubicBezTo>
                            <a:cubicBezTo>
                              <a:pt x="31758" y="16985"/>
                              <a:pt x="31638" y="16746"/>
                              <a:pt x="31519" y="16567"/>
                            </a:cubicBezTo>
                            <a:cubicBezTo>
                              <a:pt x="30980" y="15669"/>
                              <a:pt x="30322" y="14772"/>
                              <a:pt x="29605" y="13875"/>
                            </a:cubicBezTo>
                            <a:cubicBezTo>
                              <a:pt x="28887" y="12978"/>
                              <a:pt x="28109" y="12081"/>
                              <a:pt x="27213" y="11184"/>
                            </a:cubicBezTo>
                            <a:cubicBezTo>
                              <a:pt x="26375" y="10287"/>
                              <a:pt x="25418" y="9390"/>
                              <a:pt x="24401" y="8493"/>
                            </a:cubicBezTo>
                            <a:cubicBezTo>
                              <a:pt x="23385" y="7596"/>
                              <a:pt x="22308" y="6698"/>
                              <a:pt x="21112" y="5801"/>
                            </a:cubicBezTo>
                            <a:lnTo>
                              <a:pt x="20335" y="6818"/>
                            </a:lnTo>
                            <a:cubicBezTo>
                              <a:pt x="21172" y="7476"/>
                              <a:pt x="21950" y="8134"/>
                              <a:pt x="22727" y="8791"/>
                            </a:cubicBezTo>
                            <a:cubicBezTo>
                              <a:pt x="23505" y="9450"/>
                              <a:pt x="24222" y="10107"/>
                              <a:pt x="24880" y="10705"/>
                            </a:cubicBezTo>
                            <a:cubicBezTo>
                              <a:pt x="25538" y="11364"/>
                              <a:pt x="26196" y="11961"/>
                              <a:pt x="26794" y="12619"/>
                            </a:cubicBezTo>
                            <a:cubicBezTo>
                              <a:pt x="27392" y="13277"/>
                              <a:pt x="27930" y="13875"/>
                              <a:pt x="28468" y="14533"/>
                            </a:cubicBezTo>
                            <a:cubicBezTo>
                              <a:pt x="28648" y="14772"/>
                              <a:pt x="28887" y="15012"/>
                              <a:pt x="29067" y="15251"/>
                            </a:cubicBezTo>
                            <a:cubicBezTo>
                              <a:pt x="29246" y="15490"/>
                              <a:pt x="29425" y="15729"/>
                              <a:pt x="29605" y="15968"/>
                            </a:cubicBezTo>
                            <a:cubicBezTo>
                              <a:pt x="29784" y="16208"/>
                              <a:pt x="29963" y="16447"/>
                              <a:pt x="30083" y="16686"/>
                            </a:cubicBezTo>
                            <a:cubicBezTo>
                              <a:pt x="30262" y="16926"/>
                              <a:pt x="30382" y="17165"/>
                              <a:pt x="30562" y="17404"/>
                            </a:cubicBezTo>
                            <a:cubicBezTo>
                              <a:pt x="30621" y="17523"/>
                              <a:pt x="30681" y="17583"/>
                              <a:pt x="30741" y="17703"/>
                            </a:cubicBezTo>
                            <a:cubicBezTo>
                              <a:pt x="30801" y="17822"/>
                              <a:pt x="30861" y="17882"/>
                              <a:pt x="30921" y="18002"/>
                            </a:cubicBezTo>
                            <a:cubicBezTo>
                              <a:pt x="30980" y="18121"/>
                              <a:pt x="31040" y="18181"/>
                              <a:pt x="31100" y="18301"/>
                            </a:cubicBezTo>
                            <a:cubicBezTo>
                              <a:pt x="31160" y="18421"/>
                              <a:pt x="31220" y="18480"/>
                              <a:pt x="31279" y="18600"/>
                            </a:cubicBezTo>
                            <a:cubicBezTo>
                              <a:pt x="31519" y="18780"/>
                              <a:pt x="31698" y="19019"/>
                              <a:pt x="31937" y="19198"/>
                            </a:cubicBezTo>
                            <a:cubicBezTo>
                              <a:pt x="32176" y="19377"/>
                              <a:pt x="32356" y="19617"/>
                              <a:pt x="32595" y="19796"/>
                            </a:cubicBezTo>
                            <a:cubicBezTo>
                              <a:pt x="32834" y="19975"/>
                              <a:pt x="33014" y="20215"/>
                              <a:pt x="33193" y="20394"/>
                            </a:cubicBezTo>
                            <a:cubicBezTo>
                              <a:pt x="33253" y="20454"/>
                              <a:pt x="33432" y="20634"/>
                              <a:pt x="33671" y="20873"/>
                            </a:cubicBezTo>
                            <a:moveTo>
                              <a:pt x="37380" y="25119"/>
                            </a:moveTo>
                            <a:cubicBezTo>
                              <a:pt x="37380" y="24820"/>
                              <a:pt x="37320" y="24521"/>
                              <a:pt x="37320" y="24222"/>
                            </a:cubicBezTo>
                            <a:cubicBezTo>
                              <a:pt x="37260" y="23923"/>
                              <a:pt x="37260" y="23624"/>
                              <a:pt x="37200" y="23325"/>
                            </a:cubicBezTo>
                            <a:cubicBezTo>
                              <a:pt x="37140" y="23026"/>
                              <a:pt x="37081" y="22727"/>
                              <a:pt x="37021" y="22428"/>
                            </a:cubicBezTo>
                            <a:cubicBezTo>
                              <a:pt x="36961" y="22129"/>
                              <a:pt x="36901" y="21830"/>
                              <a:pt x="36841" y="21530"/>
                            </a:cubicBezTo>
                            <a:cubicBezTo>
                              <a:pt x="36782" y="21351"/>
                              <a:pt x="36782" y="21231"/>
                              <a:pt x="36722" y="21052"/>
                            </a:cubicBezTo>
                            <a:cubicBezTo>
                              <a:pt x="36662" y="20873"/>
                              <a:pt x="36662" y="20753"/>
                              <a:pt x="36602" y="20574"/>
                            </a:cubicBezTo>
                            <a:cubicBezTo>
                              <a:pt x="36542" y="20394"/>
                              <a:pt x="36483" y="20275"/>
                              <a:pt x="36483" y="20095"/>
                            </a:cubicBezTo>
                            <a:cubicBezTo>
                              <a:pt x="36423" y="19916"/>
                              <a:pt x="36363" y="19796"/>
                              <a:pt x="36303" y="19617"/>
                            </a:cubicBezTo>
                            <a:cubicBezTo>
                              <a:pt x="35825" y="18241"/>
                              <a:pt x="35167" y="16866"/>
                              <a:pt x="34389" y="15490"/>
                            </a:cubicBezTo>
                            <a:cubicBezTo>
                              <a:pt x="33612" y="14114"/>
                              <a:pt x="32655" y="12739"/>
                              <a:pt x="31519" y="11364"/>
                            </a:cubicBezTo>
                            <a:cubicBezTo>
                              <a:pt x="30382" y="9988"/>
                              <a:pt x="29126" y="8612"/>
                              <a:pt x="27691" y="7296"/>
                            </a:cubicBezTo>
                            <a:cubicBezTo>
                              <a:pt x="26255" y="5921"/>
                              <a:pt x="24641" y="4605"/>
                              <a:pt x="22906" y="3229"/>
                            </a:cubicBezTo>
                            <a:lnTo>
                              <a:pt x="22129" y="4246"/>
                            </a:lnTo>
                            <a:cubicBezTo>
                              <a:pt x="23684" y="5442"/>
                              <a:pt x="25059" y="6579"/>
                              <a:pt x="26315" y="7775"/>
                            </a:cubicBezTo>
                            <a:cubicBezTo>
                              <a:pt x="27571" y="8971"/>
                              <a:pt x="28708" y="10107"/>
                              <a:pt x="29784" y="11304"/>
                            </a:cubicBezTo>
                            <a:cubicBezTo>
                              <a:pt x="30801" y="12500"/>
                              <a:pt x="31698" y="13636"/>
                              <a:pt x="32476" y="14832"/>
                            </a:cubicBezTo>
                            <a:cubicBezTo>
                              <a:pt x="33253" y="16028"/>
                              <a:pt x="33911" y="17165"/>
                              <a:pt x="34449" y="18361"/>
                            </a:cubicBezTo>
                            <a:cubicBezTo>
                              <a:pt x="34509" y="18540"/>
                              <a:pt x="34629" y="18720"/>
                              <a:pt x="34688" y="18899"/>
                            </a:cubicBezTo>
                            <a:cubicBezTo>
                              <a:pt x="34748" y="19079"/>
                              <a:pt x="34808" y="19258"/>
                              <a:pt x="34928" y="19437"/>
                            </a:cubicBezTo>
                            <a:cubicBezTo>
                              <a:pt x="35047" y="19617"/>
                              <a:pt x="35047" y="19796"/>
                              <a:pt x="35107" y="19975"/>
                            </a:cubicBezTo>
                            <a:cubicBezTo>
                              <a:pt x="35167" y="20155"/>
                              <a:pt x="35227" y="20335"/>
                              <a:pt x="35286" y="20514"/>
                            </a:cubicBezTo>
                            <a:cubicBezTo>
                              <a:pt x="35346" y="20753"/>
                              <a:pt x="35466" y="20992"/>
                              <a:pt x="35526" y="21231"/>
                            </a:cubicBezTo>
                            <a:cubicBezTo>
                              <a:pt x="35585" y="21471"/>
                              <a:pt x="35645" y="21710"/>
                              <a:pt x="35705" y="21949"/>
                            </a:cubicBezTo>
                            <a:cubicBezTo>
                              <a:pt x="35765" y="22189"/>
                              <a:pt x="35825" y="22428"/>
                              <a:pt x="35884" y="22667"/>
                            </a:cubicBezTo>
                            <a:cubicBezTo>
                              <a:pt x="35944" y="22906"/>
                              <a:pt x="36004" y="23145"/>
                              <a:pt x="36004" y="23384"/>
                            </a:cubicBezTo>
                            <a:cubicBezTo>
                              <a:pt x="36124" y="23504"/>
                              <a:pt x="36243" y="23684"/>
                              <a:pt x="36363" y="23803"/>
                            </a:cubicBezTo>
                            <a:cubicBezTo>
                              <a:pt x="36483" y="23923"/>
                              <a:pt x="36602" y="24102"/>
                              <a:pt x="36722" y="24222"/>
                            </a:cubicBezTo>
                            <a:cubicBezTo>
                              <a:pt x="36841" y="24342"/>
                              <a:pt x="36961" y="24521"/>
                              <a:pt x="37081" y="24641"/>
                            </a:cubicBezTo>
                            <a:cubicBezTo>
                              <a:pt x="37140" y="24820"/>
                              <a:pt x="37260" y="24940"/>
                              <a:pt x="37380" y="25119"/>
                            </a:cubicBezTo>
                            <a:moveTo>
                              <a:pt x="34688" y="26315"/>
                            </a:moveTo>
                            <a:cubicBezTo>
                              <a:pt x="34688" y="26076"/>
                              <a:pt x="34688" y="25837"/>
                              <a:pt x="34629" y="25597"/>
                            </a:cubicBezTo>
                            <a:cubicBezTo>
                              <a:pt x="34629" y="25358"/>
                              <a:pt x="34569" y="25119"/>
                              <a:pt x="34569" y="24880"/>
                            </a:cubicBezTo>
                            <a:cubicBezTo>
                              <a:pt x="34569" y="24641"/>
                              <a:pt x="34509" y="24401"/>
                              <a:pt x="34449" y="24162"/>
                            </a:cubicBezTo>
                            <a:cubicBezTo>
                              <a:pt x="34389" y="23923"/>
                              <a:pt x="34389" y="23684"/>
                              <a:pt x="34330" y="23444"/>
                            </a:cubicBezTo>
                            <a:cubicBezTo>
                              <a:pt x="34210" y="23265"/>
                              <a:pt x="34030" y="23145"/>
                              <a:pt x="33911" y="22966"/>
                            </a:cubicBezTo>
                            <a:cubicBezTo>
                              <a:pt x="33791" y="22787"/>
                              <a:pt x="33612" y="22667"/>
                              <a:pt x="33432" y="22488"/>
                            </a:cubicBezTo>
                            <a:cubicBezTo>
                              <a:pt x="33253" y="22308"/>
                              <a:pt x="33133" y="22189"/>
                              <a:pt x="32954" y="22009"/>
                            </a:cubicBezTo>
                            <a:cubicBezTo>
                              <a:pt x="32775" y="21830"/>
                              <a:pt x="32655" y="21650"/>
                              <a:pt x="32476" y="21530"/>
                            </a:cubicBezTo>
                            <a:cubicBezTo>
                              <a:pt x="32595" y="21770"/>
                              <a:pt x="32655" y="22069"/>
                              <a:pt x="32715" y="22308"/>
                            </a:cubicBezTo>
                            <a:cubicBezTo>
                              <a:pt x="32775" y="22547"/>
                              <a:pt x="32834" y="22846"/>
                              <a:pt x="32954" y="23145"/>
                            </a:cubicBezTo>
                            <a:cubicBezTo>
                              <a:pt x="33014" y="23384"/>
                              <a:pt x="33074" y="23684"/>
                              <a:pt x="33133" y="23983"/>
                            </a:cubicBezTo>
                            <a:cubicBezTo>
                              <a:pt x="33193" y="24282"/>
                              <a:pt x="33253" y="24521"/>
                              <a:pt x="33253" y="24820"/>
                            </a:cubicBezTo>
                            <a:cubicBezTo>
                              <a:pt x="33373" y="24940"/>
                              <a:pt x="33492" y="25119"/>
                              <a:pt x="33612" y="25238"/>
                            </a:cubicBezTo>
                            <a:cubicBezTo>
                              <a:pt x="33731" y="25358"/>
                              <a:pt x="33851" y="25538"/>
                              <a:pt x="33971" y="25657"/>
                            </a:cubicBezTo>
                            <a:cubicBezTo>
                              <a:pt x="34090" y="25777"/>
                              <a:pt x="34210" y="25956"/>
                              <a:pt x="34330" y="26076"/>
                            </a:cubicBezTo>
                            <a:cubicBezTo>
                              <a:pt x="34449" y="26196"/>
                              <a:pt x="34569" y="26196"/>
                              <a:pt x="34688" y="26315"/>
                            </a:cubicBezTo>
                            <a:moveTo>
                              <a:pt x="37200" y="29724"/>
                            </a:moveTo>
                            <a:cubicBezTo>
                              <a:pt x="37260" y="29545"/>
                              <a:pt x="37260" y="29306"/>
                              <a:pt x="37260" y="29126"/>
                            </a:cubicBezTo>
                            <a:cubicBezTo>
                              <a:pt x="37260" y="28946"/>
                              <a:pt x="37320" y="28707"/>
                              <a:pt x="37320" y="28468"/>
                            </a:cubicBezTo>
                            <a:cubicBezTo>
                              <a:pt x="37320" y="28229"/>
                              <a:pt x="37380" y="28050"/>
                              <a:pt x="37380" y="27811"/>
                            </a:cubicBezTo>
                            <a:cubicBezTo>
                              <a:pt x="37380" y="27571"/>
                              <a:pt x="37380" y="27392"/>
                              <a:pt x="37439" y="27152"/>
                            </a:cubicBezTo>
                            <a:cubicBezTo>
                              <a:pt x="37320" y="27033"/>
                              <a:pt x="37260" y="26913"/>
                              <a:pt x="37140" y="26794"/>
                            </a:cubicBezTo>
                            <a:cubicBezTo>
                              <a:pt x="37021" y="26674"/>
                              <a:pt x="36961" y="26554"/>
                              <a:pt x="36841" y="26435"/>
                            </a:cubicBezTo>
                            <a:cubicBezTo>
                              <a:pt x="36722" y="26315"/>
                              <a:pt x="36662" y="26196"/>
                              <a:pt x="36542" y="26016"/>
                            </a:cubicBezTo>
                            <a:cubicBezTo>
                              <a:pt x="36423" y="25897"/>
                              <a:pt x="36363" y="25777"/>
                              <a:pt x="36243" y="25597"/>
                            </a:cubicBezTo>
                            <a:cubicBezTo>
                              <a:pt x="36243" y="25657"/>
                              <a:pt x="36243" y="25717"/>
                              <a:pt x="36243" y="25777"/>
                            </a:cubicBezTo>
                            <a:cubicBezTo>
                              <a:pt x="36243" y="25837"/>
                              <a:pt x="36243" y="25897"/>
                              <a:pt x="36243" y="25956"/>
                            </a:cubicBezTo>
                            <a:cubicBezTo>
                              <a:pt x="36243" y="26016"/>
                              <a:pt x="36243" y="26076"/>
                              <a:pt x="36243" y="26136"/>
                            </a:cubicBezTo>
                            <a:cubicBezTo>
                              <a:pt x="36243" y="26196"/>
                              <a:pt x="36243" y="26255"/>
                              <a:pt x="36243" y="26315"/>
                            </a:cubicBezTo>
                            <a:cubicBezTo>
                              <a:pt x="36243" y="26495"/>
                              <a:pt x="36243" y="26614"/>
                              <a:pt x="36243" y="26794"/>
                            </a:cubicBezTo>
                            <a:cubicBezTo>
                              <a:pt x="36243" y="26973"/>
                              <a:pt x="36243" y="27092"/>
                              <a:pt x="36243" y="27272"/>
                            </a:cubicBezTo>
                            <a:cubicBezTo>
                              <a:pt x="36243" y="27451"/>
                              <a:pt x="36243" y="27571"/>
                              <a:pt x="36243" y="27751"/>
                            </a:cubicBezTo>
                            <a:cubicBezTo>
                              <a:pt x="36243" y="27930"/>
                              <a:pt x="36243" y="28050"/>
                              <a:pt x="36184" y="28229"/>
                            </a:cubicBezTo>
                            <a:cubicBezTo>
                              <a:pt x="36243" y="28349"/>
                              <a:pt x="36363" y="28468"/>
                              <a:pt x="36423" y="28588"/>
                            </a:cubicBezTo>
                            <a:cubicBezTo>
                              <a:pt x="36483" y="28707"/>
                              <a:pt x="36602" y="28827"/>
                              <a:pt x="36662" y="28946"/>
                            </a:cubicBezTo>
                            <a:cubicBezTo>
                              <a:pt x="36722" y="29066"/>
                              <a:pt x="36841" y="29186"/>
                              <a:pt x="36901" y="29306"/>
                            </a:cubicBezTo>
                            <a:cubicBezTo>
                              <a:pt x="37021" y="29485"/>
                              <a:pt x="37081" y="29605"/>
                              <a:pt x="37200" y="29724"/>
                            </a:cubicBezTo>
                            <a:moveTo>
                              <a:pt x="16926" y="57116"/>
                            </a:moveTo>
                            <a:lnTo>
                              <a:pt x="17883" y="57714"/>
                            </a:lnTo>
                            <a:cubicBezTo>
                              <a:pt x="18600" y="56996"/>
                              <a:pt x="19318" y="56278"/>
                              <a:pt x="20036" y="55621"/>
                            </a:cubicBezTo>
                            <a:cubicBezTo>
                              <a:pt x="20753" y="54963"/>
                              <a:pt x="21471" y="54185"/>
                              <a:pt x="22129" y="53468"/>
                            </a:cubicBezTo>
                            <a:cubicBezTo>
                              <a:pt x="22787" y="52750"/>
                              <a:pt x="23505" y="52032"/>
                              <a:pt x="24162" y="51315"/>
                            </a:cubicBezTo>
                            <a:cubicBezTo>
                              <a:pt x="24820" y="50597"/>
                              <a:pt x="25478" y="49879"/>
                              <a:pt x="26136" y="49161"/>
                            </a:cubicBezTo>
                            <a:cubicBezTo>
                              <a:pt x="26196" y="49102"/>
                              <a:pt x="26255" y="48982"/>
                              <a:pt x="26315" y="48922"/>
                            </a:cubicBezTo>
                            <a:cubicBezTo>
                              <a:pt x="26375" y="48862"/>
                              <a:pt x="26435" y="48743"/>
                              <a:pt x="26495" y="48683"/>
                            </a:cubicBezTo>
                            <a:cubicBezTo>
                              <a:pt x="26554" y="48623"/>
                              <a:pt x="26614" y="48504"/>
                              <a:pt x="26674" y="48444"/>
                            </a:cubicBezTo>
                            <a:cubicBezTo>
                              <a:pt x="26734" y="48384"/>
                              <a:pt x="26794" y="48264"/>
                              <a:pt x="26854" y="48205"/>
                            </a:cubicBezTo>
                            <a:cubicBezTo>
                              <a:pt x="27213" y="47786"/>
                              <a:pt x="27571" y="47367"/>
                              <a:pt x="27930" y="46949"/>
                            </a:cubicBezTo>
                            <a:cubicBezTo>
                              <a:pt x="28289" y="46530"/>
                              <a:pt x="28648" y="46111"/>
                              <a:pt x="28947" y="45693"/>
                            </a:cubicBezTo>
                            <a:cubicBezTo>
                              <a:pt x="29246" y="45274"/>
                              <a:pt x="29605" y="44855"/>
                              <a:pt x="29963" y="44437"/>
                            </a:cubicBezTo>
                            <a:cubicBezTo>
                              <a:pt x="30322" y="44018"/>
                              <a:pt x="30621" y="43599"/>
                              <a:pt x="30921" y="43181"/>
                            </a:cubicBezTo>
                            <a:cubicBezTo>
                              <a:pt x="30980" y="43121"/>
                              <a:pt x="31040" y="43001"/>
                              <a:pt x="31100" y="42942"/>
                            </a:cubicBezTo>
                            <a:cubicBezTo>
                              <a:pt x="31160" y="42882"/>
                              <a:pt x="31220" y="42762"/>
                              <a:pt x="31279" y="42702"/>
                            </a:cubicBezTo>
                            <a:cubicBezTo>
                              <a:pt x="31339" y="42643"/>
                              <a:pt x="31399" y="42523"/>
                              <a:pt x="31459" y="42463"/>
                            </a:cubicBezTo>
                            <a:cubicBezTo>
                              <a:pt x="31519" y="42403"/>
                              <a:pt x="31578" y="42284"/>
                              <a:pt x="31638" y="42224"/>
                            </a:cubicBezTo>
                            <a:cubicBezTo>
                              <a:pt x="31698" y="42104"/>
                              <a:pt x="31817" y="41985"/>
                              <a:pt x="31877" y="41865"/>
                            </a:cubicBezTo>
                            <a:cubicBezTo>
                              <a:pt x="31937" y="41745"/>
                              <a:pt x="32057" y="41626"/>
                              <a:pt x="32116" y="41506"/>
                            </a:cubicBezTo>
                            <a:cubicBezTo>
                              <a:pt x="32176" y="41386"/>
                              <a:pt x="32296" y="41267"/>
                              <a:pt x="32356" y="41147"/>
                            </a:cubicBezTo>
                            <a:cubicBezTo>
                              <a:pt x="32416" y="41028"/>
                              <a:pt x="32535" y="40908"/>
                              <a:pt x="32595" y="40789"/>
                            </a:cubicBezTo>
                            <a:cubicBezTo>
                              <a:pt x="32655" y="40729"/>
                              <a:pt x="32715" y="40609"/>
                              <a:pt x="32775" y="40549"/>
                            </a:cubicBezTo>
                            <a:cubicBezTo>
                              <a:pt x="32834" y="40490"/>
                              <a:pt x="32894" y="40370"/>
                              <a:pt x="32954" y="40310"/>
                            </a:cubicBezTo>
                            <a:cubicBezTo>
                              <a:pt x="33014" y="40250"/>
                              <a:pt x="33074" y="40131"/>
                              <a:pt x="33133" y="40071"/>
                            </a:cubicBezTo>
                            <a:cubicBezTo>
                              <a:pt x="33193" y="40011"/>
                              <a:pt x="33253" y="39891"/>
                              <a:pt x="33313" y="39831"/>
                            </a:cubicBezTo>
                            <a:cubicBezTo>
                              <a:pt x="33492" y="39532"/>
                              <a:pt x="33612" y="39293"/>
                              <a:pt x="33791" y="38994"/>
                            </a:cubicBezTo>
                            <a:cubicBezTo>
                              <a:pt x="33971" y="38695"/>
                              <a:pt x="34090" y="38456"/>
                              <a:pt x="34270" y="38157"/>
                            </a:cubicBezTo>
                            <a:cubicBezTo>
                              <a:pt x="34449" y="37858"/>
                              <a:pt x="34569" y="37619"/>
                              <a:pt x="34688" y="37320"/>
                            </a:cubicBezTo>
                            <a:cubicBezTo>
                              <a:pt x="34808" y="37021"/>
                              <a:pt x="34987" y="36782"/>
                              <a:pt x="35107" y="36482"/>
                            </a:cubicBezTo>
                            <a:cubicBezTo>
                              <a:pt x="35167" y="36363"/>
                              <a:pt x="35167" y="36303"/>
                              <a:pt x="35227" y="36183"/>
                            </a:cubicBezTo>
                            <a:cubicBezTo>
                              <a:pt x="35286" y="36064"/>
                              <a:pt x="35286" y="36004"/>
                              <a:pt x="35346" y="35884"/>
                            </a:cubicBezTo>
                            <a:cubicBezTo>
                              <a:pt x="35406" y="35765"/>
                              <a:pt x="35406" y="35705"/>
                              <a:pt x="35466" y="35585"/>
                            </a:cubicBezTo>
                            <a:cubicBezTo>
                              <a:pt x="35526" y="35466"/>
                              <a:pt x="35526" y="35406"/>
                              <a:pt x="35585" y="35286"/>
                            </a:cubicBezTo>
                            <a:cubicBezTo>
                              <a:pt x="35705" y="34987"/>
                              <a:pt x="35825" y="34748"/>
                              <a:pt x="35884" y="34449"/>
                            </a:cubicBezTo>
                            <a:cubicBezTo>
                              <a:pt x="36004" y="34150"/>
                              <a:pt x="36064" y="33911"/>
                              <a:pt x="36184" y="33612"/>
                            </a:cubicBezTo>
                            <a:cubicBezTo>
                              <a:pt x="36303" y="33313"/>
                              <a:pt x="36363" y="33073"/>
                              <a:pt x="36423" y="32774"/>
                            </a:cubicBezTo>
                            <a:cubicBezTo>
                              <a:pt x="36483" y="32475"/>
                              <a:pt x="36602" y="32236"/>
                              <a:pt x="36662" y="31937"/>
                            </a:cubicBezTo>
                            <a:cubicBezTo>
                              <a:pt x="36662" y="31877"/>
                              <a:pt x="36662" y="31877"/>
                              <a:pt x="36662" y="31817"/>
                            </a:cubicBezTo>
                            <a:cubicBezTo>
                              <a:pt x="36662" y="31758"/>
                              <a:pt x="36662" y="31758"/>
                              <a:pt x="36662" y="31698"/>
                            </a:cubicBezTo>
                            <a:cubicBezTo>
                              <a:pt x="36662" y="31638"/>
                              <a:pt x="36662" y="31638"/>
                              <a:pt x="36662" y="31578"/>
                            </a:cubicBezTo>
                            <a:cubicBezTo>
                              <a:pt x="36662" y="31519"/>
                              <a:pt x="36662" y="31519"/>
                              <a:pt x="36662" y="31459"/>
                            </a:cubicBezTo>
                            <a:cubicBezTo>
                              <a:pt x="36602" y="31339"/>
                              <a:pt x="36542" y="31219"/>
                              <a:pt x="36423" y="31100"/>
                            </a:cubicBezTo>
                            <a:cubicBezTo>
                              <a:pt x="36303" y="30980"/>
                              <a:pt x="36303" y="30860"/>
                              <a:pt x="36184" y="30741"/>
                            </a:cubicBezTo>
                            <a:cubicBezTo>
                              <a:pt x="36064" y="30621"/>
                              <a:pt x="36064" y="30502"/>
                              <a:pt x="35944" y="30382"/>
                            </a:cubicBezTo>
                            <a:cubicBezTo>
                              <a:pt x="35884" y="30262"/>
                              <a:pt x="35765" y="30143"/>
                              <a:pt x="35705" y="30023"/>
                            </a:cubicBezTo>
                            <a:cubicBezTo>
                              <a:pt x="35705" y="30143"/>
                              <a:pt x="35645" y="30203"/>
                              <a:pt x="35645" y="30322"/>
                            </a:cubicBezTo>
                            <a:cubicBezTo>
                              <a:pt x="35645" y="30442"/>
                              <a:pt x="35585" y="30502"/>
                              <a:pt x="35585" y="30621"/>
                            </a:cubicBezTo>
                            <a:cubicBezTo>
                              <a:pt x="35585" y="30741"/>
                              <a:pt x="35526" y="30801"/>
                              <a:pt x="35526" y="30920"/>
                            </a:cubicBezTo>
                            <a:cubicBezTo>
                              <a:pt x="35526" y="31040"/>
                              <a:pt x="35466" y="31100"/>
                              <a:pt x="35466" y="31219"/>
                            </a:cubicBezTo>
                            <a:cubicBezTo>
                              <a:pt x="35406" y="31519"/>
                              <a:pt x="35346" y="31758"/>
                              <a:pt x="35227" y="32057"/>
                            </a:cubicBezTo>
                            <a:cubicBezTo>
                              <a:pt x="35107" y="32356"/>
                              <a:pt x="35047" y="32595"/>
                              <a:pt x="34987" y="32894"/>
                            </a:cubicBezTo>
                            <a:cubicBezTo>
                              <a:pt x="34868" y="33193"/>
                              <a:pt x="34808" y="33432"/>
                              <a:pt x="34688" y="33731"/>
                            </a:cubicBezTo>
                            <a:cubicBezTo>
                              <a:pt x="34569" y="34030"/>
                              <a:pt x="34509" y="34269"/>
                              <a:pt x="34389" y="34568"/>
                            </a:cubicBezTo>
                            <a:cubicBezTo>
                              <a:pt x="34330" y="34688"/>
                              <a:pt x="34330" y="34748"/>
                              <a:pt x="34270" y="34868"/>
                            </a:cubicBezTo>
                            <a:cubicBezTo>
                              <a:pt x="34210" y="34987"/>
                              <a:pt x="34210" y="35047"/>
                              <a:pt x="34150" y="35167"/>
                            </a:cubicBezTo>
                            <a:cubicBezTo>
                              <a:pt x="34090" y="35286"/>
                              <a:pt x="34090" y="35346"/>
                              <a:pt x="34030" y="35466"/>
                            </a:cubicBezTo>
                            <a:cubicBezTo>
                              <a:pt x="33971" y="35585"/>
                              <a:pt x="33971" y="35645"/>
                              <a:pt x="33911" y="35765"/>
                            </a:cubicBezTo>
                            <a:cubicBezTo>
                              <a:pt x="33791" y="36064"/>
                              <a:pt x="33671" y="36303"/>
                              <a:pt x="33492" y="36602"/>
                            </a:cubicBezTo>
                            <a:cubicBezTo>
                              <a:pt x="33373" y="36901"/>
                              <a:pt x="33193" y="37140"/>
                              <a:pt x="33074" y="37439"/>
                            </a:cubicBezTo>
                            <a:cubicBezTo>
                              <a:pt x="32954" y="37738"/>
                              <a:pt x="32775" y="37977"/>
                              <a:pt x="32655" y="38277"/>
                            </a:cubicBezTo>
                            <a:cubicBezTo>
                              <a:pt x="32535" y="38576"/>
                              <a:pt x="32356" y="38815"/>
                              <a:pt x="32176" y="39114"/>
                            </a:cubicBezTo>
                            <a:cubicBezTo>
                              <a:pt x="32116" y="39234"/>
                              <a:pt x="32057" y="39293"/>
                              <a:pt x="31997" y="39353"/>
                            </a:cubicBezTo>
                            <a:cubicBezTo>
                              <a:pt x="31937" y="39413"/>
                              <a:pt x="31877" y="39532"/>
                              <a:pt x="31817" y="39592"/>
                            </a:cubicBezTo>
                            <a:cubicBezTo>
                              <a:pt x="31758" y="39652"/>
                              <a:pt x="31698" y="39772"/>
                              <a:pt x="31638" y="39831"/>
                            </a:cubicBezTo>
                            <a:cubicBezTo>
                              <a:pt x="31578" y="39891"/>
                              <a:pt x="31519" y="40011"/>
                              <a:pt x="31459" y="40071"/>
                            </a:cubicBezTo>
                            <a:cubicBezTo>
                              <a:pt x="31399" y="40190"/>
                              <a:pt x="31279" y="40310"/>
                              <a:pt x="31220" y="40430"/>
                            </a:cubicBezTo>
                            <a:cubicBezTo>
                              <a:pt x="31160" y="40549"/>
                              <a:pt x="31040" y="40669"/>
                              <a:pt x="30980" y="40789"/>
                            </a:cubicBezTo>
                            <a:cubicBezTo>
                              <a:pt x="30921" y="40908"/>
                              <a:pt x="30801" y="41028"/>
                              <a:pt x="30741" y="41147"/>
                            </a:cubicBezTo>
                            <a:cubicBezTo>
                              <a:pt x="30681" y="41267"/>
                              <a:pt x="30562" y="41386"/>
                              <a:pt x="30502" y="41506"/>
                            </a:cubicBezTo>
                            <a:cubicBezTo>
                              <a:pt x="30442" y="41566"/>
                              <a:pt x="30382" y="41685"/>
                              <a:pt x="30322" y="41745"/>
                            </a:cubicBezTo>
                            <a:cubicBezTo>
                              <a:pt x="30262" y="41805"/>
                              <a:pt x="30203" y="41925"/>
                              <a:pt x="30143" y="41985"/>
                            </a:cubicBezTo>
                            <a:cubicBezTo>
                              <a:pt x="30083" y="42044"/>
                              <a:pt x="30023" y="42164"/>
                              <a:pt x="29963" y="42224"/>
                            </a:cubicBezTo>
                            <a:cubicBezTo>
                              <a:pt x="29904" y="42284"/>
                              <a:pt x="29844" y="42403"/>
                              <a:pt x="29784" y="42463"/>
                            </a:cubicBezTo>
                            <a:cubicBezTo>
                              <a:pt x="29485" y="42882"/>
                              <a:pt x="29186" y="43300"/>
                              <a:pt x="28827" y="43719"/>
                            </a:cubicBezTo>
                            <a:cubicBezTo>
                              <a:pt x="28528" y="44138"/>
                              <a:pt x="28169" y="44556"/>
                              <a:pt x="27811" y="44975"/>
                            </a:cubicBezTo>
                            <a:cubicBezTo>
                              <a:pt x="27452" y="45393"/>
                              <a:pt x="27153" y="45812"/>
                              <a:pt x="26794" y="46231"/>
                            </a:cubicBezTo>
                            <a:cubicBezTo>
                              <a:pt x="26435" y="46650"/>
                              <a:pt x="26076" y="47068"/>
                              <a:pt x="25717" y="47487"/>
                            </a:cubicBezTo>
                            <a:cubicBezTo>
                              <a:pt x="25658" y="47547"/>
                              <a:pt x="25598" y="47666"/>
                              <a:pt x="25538" y="47726"/>
                            </a:cubicBezTo>
                            <a:cubicBezTo>
                              <a:pt x="25478" y="47786"/>
                              <a:pt x="25418" y="47906"/>
                              <a:pt x="25359" y="47966"/>
                            </a:cubicBezTo>
                            <a:cubicBezTo>
                              <a:pt x="25299" y="48025"/>
                              <a:pt x="25239" y="48145"/>
                              <a:pt x="25179" y="48205"/>
                            </a:cubicBezTo>
                            <a:cubicBezTo>
                              <a:pt x="25119" y="48264"/>
                              <a:pt x="25059" y="48384"/>
                              <a:pt x="25000" y="48444"/>
                            </a:cubicBezTo>
                            <a:cubicBezTo>
                              <a:pt x="24342" y="49161"/>
                              <a:pt x="23684" y="49879"/>
                              <a:pt x="23026" y="50597"/>
                            </a:cubicBezTo>
                            <a:cubicBezTo>
                              <a:pt x="22368" y="51315"/>
                              <a:pt x="21650" y="52032"/>
                              <a:pt x="20992" y="52750"/>
                            </a:cubicBezTo>
                            <a:cubicBezTo>
                              <a:pt x="20275" y="53468"/>
                              <a:pt x="19617" y="54185"/>
                              <a:pt x="18899" y="54903"/>
                            </a:cubicBezTo>
                            <a:cubicBezTo>
                              <a:pt x="18361" y="55740"/>
                              <a:pt x="17643" y="56458"/>
                              <a:pt x="16926" y="57116"/>
                            </a:cubicBezTo>
                            <a:moveTo>
                              <a:pt x="14773" y="55681"/>
                            </a:moveTo>
                            <a:lnTo>
                              <a:pt x="15729" y="56338"/>
                            </a:lnTo>
                            <a:cubicBezTo>
                              <a:pt x="16447" y="55621"/>
                              <a:pt x="17165" y="54903"/>
                              <a:pt x="17883" y="54245"/>
                            </a:cubicBezTo>
                            <a:cubicBezTo>
                              <a:pt x="18600" y="53528"/>
                              <a:pt x="19318" y="52810"/>
                              <a:pt x="19976" y="52092"/>
                            </a:cubicBezTo>
                            <a:cubicBezTo>
                              <a:pt x="20693" y="51374"/>
                              <a:pt x="21351" y="50657"/>
                              <a:pt x="22069" y="49939"/>
                            </a:cubicBezTo>
                            <a:cubicBezTo>
                              <a:pt x="22787" y="49221"/>
                              <a:pt x="23385" y="48504"/>
                              <a:pt x="24043" y="47786"/>
                            </a:cubicBezTo>
                            <a:cubicBezTo>
                              <a:pt x="24102" y="47726"/>
                              <a:pt x="24162" y="47607"/>
                              <a:pt x="24222" y="47547"/>
                            </a:cubicBezTo>
                            <a:cubicBezTo>
                              <a:pt x="24282" y="47487"/>
                              <a:pt x="24342" y="47367"/>
                              <a:pt x="24401" y="47307"/>
                            </a:cubicBezTo>
                            <a:cubicBezTo>
                              <a:pt x="24461" y="47248"/>
                              <a:pt x="24521" y="47128"/>
                              <a:pt x="24581" y="47068"/>
                            </a:cubicBezTo>
                            <a:cubicBezTo>
                              <a:pt x="24641" y="47008"/>
                              <a:pt x="24700" y="46889"/>
                              <a:pt x="24760" y="46829"/>
                            </a:cubicBezTo>
                            <a:cubicBezTo>
                              <a:pt x="25119" y="46410"/>
                              <a:pt x="25478" y="45992"/>
                              <a:pt x="25837" y="45573"/>
                            </a:cubicBezTo>
                            <a:cubicBezTo>
                              <a:pt x="26196" y="45154"/>
                              <a:pt x="26554" y="44736"/>
                              <a:pt x="26854" y="44317"/>
                            </a:cubicBezTo>
                            <a:cubicBezTo>
                              <a:pt x="27213" y="43898"/>
                              <a:pt x="27512" y="43480"/>
                              <a:pt x="27870" y="43061"/>
                            </a:cubicBezTo>
                            <a:cubicBezTo>
                              <a:pt x="28169" y="42643"/>
                              <a:pt x="28528" y="42224"/>
                              <a:pt x="28827" y="41805"/>
                            </a:cubicBezTo>
                            <a:cubicBezTo>
                              <a:pt x="28887" y="41745"/>
                              <a:pt x="28947" y="41626"/>
                              <a:pt x="29007" y="41566"/>
                            </a:cubicBezTo>
                            <a:cubicBezTo>
                              <a:pt x="29067" y="41506"/>
                              <a:pt x="29126" y="41386"/>
                              <a:pt x="29186" y="41327"/>
                            </a:cubicBezTo>
                            <a:cubicBezTo>
                              <a:pt x="29246" y="41267"/>
                              <a:pt x="29306" y="41147"/>
                              <a:pt x="29366" y="41088"/>
                            </a:cubicBezTo>
                            <a:cubicBezTo>
                              <a:pt x="29425" y="41028"/>
                              <a:pt x="29485" y="40908"/>
                              <a:pt x="29545" y="40848"/>
                            </a:cubicBezTo>
                            <a:cubicBezTo>
                              <a:pt x="29605" y="40729"/>
                              <a:pt x="29724" y="40609"/>
                              <a:pt x="29784" y="40490"/>
                            </a:cubicBezTo>
                            <a:cubicBezTo>
                              <a:pt x="29844" y="40370"/>
                              <a:pt x="29963" y="40250"/>
                              <a:pt x="30023" y="40131"/>
                            </a:cubicBezTo>
                            <a:cubicBezTo>
                              <a:pt x="30083" y="40011"/>
                              <a:pt x="30203" y="39891"/>
                              <a:pt x="30262" y="39772"/>
                            </a:cubicBezTo>
                            <a:cubicBezTo>
                              <a:pt x="30322" y="39652"/>
                              <a:pt x="30442" y="39532"/>
                              <a:pt x="30502" y="39413"/>
                            </a:cubicBezTo>
                            <a:cubicBezTo>
                              <a:pt x="30562" y="39353"/>
                              <a:pt x="30621" y="39234"/>
                              <a:pt x="30681" y="39174"/>
                            </a:cubicBezTo>
                            <a:cubicBezTo>
                              <a:pt x="30741" y="39114"/>
                              <a:pt x="30801" y="38994"/>
                              <a:pt x="30861" y="38935"/>
                            </a:cubicBezTo>
                            <a:cubicBezTo>
                              <a:pt x="30921" y="38875"/>
                              <a:pt x="30980" y="38755"/>
                              <a:pt x="31040" y="38695"/>
                            </a:cubicBezTo>
                            <a:cubicBezTo>
                              <a:pt x="31100" y="38576"/>
                              <a:pt x="31160" y="38516"/>
                              <a:pt x="31220" y="38396"/>
                            </a:cubicBezTo>
                            <a:cubicBezTo>
                              <a:pt x="31399" y="38097"/>
                              <a:pt x="31519" y="37858"/>
                              <a:pt x="31698" y="37559"/>
                            </a:cubicBezTo>
                            <a:cubicBezTo>
                              <a:pt x="31877" y="37260"/>
                              <a:pt x="31997" y="37021"/>
                              <a:pt x="32116" y="36722"/>
                            </a:cubicBezTo>
                            <a:cubicBezTo>
                              <a:pt x="32236" y="36422"/>
                              <a:pt x="32416" y="36183"/>
                              <a:pt x="32535" y="35884"/>
                            </a:cubicBezTo>
                            <a:cubicBezTo>
                              <a:pt x="32655" y="35585"/>
                              <a:pt x="32775" y="35346"/>
                              <a:pt x="32894" y="35047"/>
                            </a:cubicBezTo>
                            <a:cubicBezTo>
                              <a:pt x="32954" y="34927"/>
                              <a:pt x="32954" y="34868"/>
                              <a:pt x="33014" y="34748"/>
                            </a:cubicBezTo>
                            <a:cubicBezTo>
                              <a:pt x="33074" y="34628"/>
                              <a:pt x="33074" y="34568"/>
                              <a:pt x="33133" y="34449"/>
                            </a:cubicBezTo>
                            <a:cubicBezTo>
                              <a:pt x="33193" y="34329"/>
                              <a:pt x="33193" y="34269"/>
                              <a:pt x="33253" y="34150"/>
                            </a:cubicBezTo>
                            <a:cubicBezTo>
                              <a:pt x="33313" y="34030"/>
                              <a:pt x="33313" y="33970"/>
                              <a:pt x="33373" y="33851"/>
                            </a:cubicBezTo>
                            <a:cubicBezTo>
                              <a:pt x="33492" y="33552"/>
                              <a:pt x="33552" y="33253"/>
                              <a:pt x="33671" y="33014"/>
                            </a:cubicBezTo>
                            <a:cubicBezTo>
                              <a:pt x="33791" y="32714"/>
                              <a:pt x="33851" y="32415"/>
                              <a:pt x="33911" y="32176"/>
                            </a:cubicBezTo>
                            <a:cubicBezTo>
                              <a:pt x="33971" y="31877"/>
                              <a:pt x="34090" y="31578"/>
                              <a:pt x="34150" y="31339"/>
                            </a:cubicBezTo>
                            <a:cubicBezTo>
                              <a:pt x="34210" y="31040"/>
                              <a:pt x="34270" y="30741"/>
                              <a:pt x="34330" y="30502"/>
                            </a:cubicBezTo>
                            <a:cubicBezTo>
                              <a:pt x="34330" y="30382"/>
                              <a:pt x="34389" y="30262"/>
                              <a:pt x="34389" y="30143"/>
                            </a:cubicBezTo>
                            <a:cubicBezTo>
                              <a:pt x="34389" y="30023"/>
                              <a:pt x="34449" y="29904"/>
                              <a:pt x="34449" y="29784"/>
                            </a:cubicBezTo>
                            <a:cubicBezTo>
                              <a:pt x="34449" y="29665"/>
                              <a:pt x="34509" y="29545"/>
                              <a:pt x="34509" y="29425"/>
                            </a:cubicBezTo>
                            <a:cubicBezTo>
                              <a:pt x="34509" y="29306"/>
                              <a:pt x="34569" y="29186"/>
                              <a:pt x="34569" y="29066"/>
                            </a:cubicBezTo>
                            <a:cubicBezTo>
                              <a:pt x="34569" y="29006"/>
                              <a:pt x="34569" y="28946"/>
                              <a:pt x="34569" y="28887"/>
                            </a:cubicBezTo>
                            <a:cubicBezTo>
                              <a:pt x="34569" y="28827"/>
                              <a:pt x="34569" y="28767"/>
                              <a:pt x="34569" y="28707"/>
                            </a:cubicBezTo>
                            <a:cubicBezTo>
                              <a:pt x="34569" y="28648"/>
                              <a:pt x="34569" y="28588"/>
                              <a:pt x="34569" y="28528"/>
                            </a:cubicBezTo>
                            <a:cubicBezTo>
                              <a:pt x="34569" y="28468"/>
                              <a:pt x="34569" y="28408"/>
                              <a:pt x="34569" y="28349"/>
                            </a:cubicBezTo>
                            <a:cubicBezTo>
                              <a:pt x="34449" y="28229"/>
                              <a:pt x="34389" y="28109"/>
                              <a:pt x="34270" y="27990"/>
                            </a:cubicBezTo>
                            <a:cubicBezTo>
                              <a:pt x="34150" y="27870"/>
                              <a:pt x="34090" y="27751"/>
                              <a:pt x="33971" y="27631"/>
                            </a:cubicBezTo>
                            <a:cubicBezTo>
                              <a:pt x="33851" y="27511"/>
                              <a:pt x="33791" y="27392"/>
                              <a:pt x="33671" y="27272"/>
                            </a:cubicBezTo>
                            <a:cubicBezTo>
                              <a:pt x="33552" y="27152"/>
                              <a:pt x="33492" y="27033"/>
                              <a:pt x="33373" y="26913"/>
                            </a:cubicBezTo>
                            <a:cubicBezTo>
                              <a:pt x="33373" y="27033"/>
                              <a:pt x="33373" y="27152"/>
                              <a:pt x="33373" y="27272"/>
                            </a:cubicBezTo>
                            <a:cubicBezTo>
                              <a:pt x="33373" y="27392"/>
                              <a:pt x="33373" y="27511"/>
                              <a:pt x="33373" y="27631"/>
                            </a:cubicBezTo>
                            <a:cubicBezTo>
                              <a:pt x="33373" y="27751"/>
                              <a:pt x="33373" y="27870"/>
                              <a:pt x="33373" y="27990"/>
                            </a:cubicBezTo>
                            <a:cubicBezTo>
                              <a:pt x="33373" y="28109"/>
                              <a:pt x="33373" y="28229"/>
                              <a:pt x="33373" y="28349"/>
                            </a:cubicBezTo>
                            <a:cubicBezTo>
                              <a:pt x="33373" y="28468"/>
                              <a:pt x="33373" y="28588"/>
                              <a:pt x="33313" y="28707"/>
                            </a:cubicBezTo>
                            <a:cubicBezTo>
                              <a:pt x="33313" y="28827"/>
                              <a:pt x="33313" y="28946"/>
                              <a:pt x="33253" y="29066"/>
                            </a:cubicBezTo>
                            <a:cubicBezTo>
                              <a:pt x="33193" y="29186"/>
                              <a:pt x="33253" y="29306"/>
                              <a:pt x="33193" y="29425"/>
                            </a:cubicBezTo>
                            <a:cubicBezTo>
                              <a:pt x="33193" y="29545"/>
                              <a:pt x="33133" y="29665"/>
                              <a:pt x="33133" y="29784"/>
                            </a:cubicBezTo>
                            <a:cubicBezTo>
                              <a:pt x="33074" y="30083"/>
                              <a:pt x="33014" y="30382"/>
                              <a:pt x="32954" y="30681"/>
                            </a:cubicBezTo>
                            <a:cubicBezTo>
                              <a:pt x="32894" y="30980"/>
                              <a:pt x="32834" y="31279"/>
                              <a:pt x="32775" y="31578"/>
                            </a:cubicBezTo>
                            <a:cubicBezTo>
                              <a:pt x="32715" y="31877"/>
                              <a:pt x="32595" y="32176"/>
                              <a:pt x="32535" y="32475"/>
                            </a:cubicBezTo>
                            <a:cubicBezTo>
                              <a:pt x="32476" y="32774"/>
                              <a:pt x="32356" y="33073"/>
                              <a:pt x="32236" y="33373"/>
                            </a:cubicBezTo>
                            <a:cubicBezTo>
                              <a:pt x="32176" y="33492"/>
                              <a:pt x="32176" y="33552"/>
                              <a:pt x="32116" y="33671"/>
                            </a:cubicBezTo>
                            <a:cubicBezTo>
                              <a:pt x="32057" y="33791"/>
                              <a:pt x="32057" y="33851"/>
                              <a:pt x="31997" y="33970"/>
                            </a:cubicBezTo>
                            <a:cubicBezTo>
                              <a:pt x="31937" y="34090"/>
                              <a:pt x="31937" y="34150"/>
                              <a:pt x="31877" y="34269"/>
                            </a:cubicBezTo>
                            <a:cubicBezTo>
                              <a:pt x="31817" y="34389"/>
                              <a:pt x="31817" y="34449"/>
                              <a:pt x="31758" y="34568"/>
                            </a:cubicBezTo>
                            <a:cubicBezTo>
                              <a:pt x="31638" y="34868"/>
                              <a:pt x="31519" y="35107"/>
                              <a:pt x="31399" y="35406"/>
                            </a:cubicBezTo>
                            <a:cubicBezTo>
                              <a:pt x="31279" y="35705"/>
                              <a:pt x="31160" y="35944"/>
                              <a:pt x="30980" y="36243"/>
                            </a:cubicBezTo>
                            <a:cubicBezTo>
                              <a:pt x="30861" y="36542"/>
                              <a:pt x="30681" y="36782"/>
                              <a:pt x="30562" y="37081"/>
                            </a:cubicBezTo>
                            <a:cubicBezTo>
                              <a:pt x="30442" y="37380"/>
                              <a:pt x="30262" y="37619"/>
                              <a:pt x="30083" y="37918"/>
                            </a:cubicBezTo>
                            <a:cubicBezTo>
                              <a:pt x="30023" y="38037"/>
                              <a:pt x="29963" y="38097"/>
                              <a:pt x="29904" y="38217"/>
                            </a:cubicBezTo>
                            <a:cubicBezTo>
                              <a:pt x="29844" y="38336"/>
                              <a:pt x="29784" y="38396"/>
                              <a:pt x="29724" y="38516"/>
                            </a:cubicBezTo>
                            <a:cubicBezTo>
                              <a:pt x="29665" y="38636"/>
                              <a:pt x="29605" y="38695"/>
                              <a:pt x="29545" y="38815"/>
                            </a:cubicBezTo>
                            <a:cubicBezTo>
                              <a:pt x="29485" y="38935"/>
                              <a:pt x="29425" y="38994"/>
                              <a:pt x="29366" y="39114"/>
                            </a:cubicBezTo>
                            <a:cubicBezTo>
                              <a:pt x="29306" y="39234"/>
                              <a:pt x="29186" y="39353"/>
                              <a:pt x="29126" y="39473"/>
                            </a:cubicBezTo>
                            <a:cubicBezTo>
                              <a:pt x="29067" y="39592"/>
                              <a:pt x="28947" y="39712"/>
                              <a:pt x="28887" y="39831"/>
                            </a:cubicBezTo>
                            <a:cubicBezTo>
                              <a:pt x="28827" y="39951"/>
                              <a:pt x="28708" y="40071"/>
                              <a:pt x="28648" y="40190"/>
                            </a:cubicBezTo>
                            <a:cubicBezTo>
                              <a:pt x="28588" y="40310"/>
                              <a:pt x="28468" y="40430"/>
                              <a:pt x="28408" y="40549"/>
                            </a:cubicBezTo>
                            <a:cubicBezTo>
                              <a:pt x="28349" y="40609"/>
                              <a:pt x="28289" y="40729"/>
                              <a:pt x="28229" y="40789"/>
                            </a:cubicBezTo>
                            <a:cubicBezTo>
                              <a:pt x="28169" y="40848"/>
                              <a:pt x="28109" y="40968"/>
                              <a:pt x="28050" y="41028"/>
                            </a:cubicBezTo>
                            <a:cubicBezTo>
                              <a:pt x="27990" y="41088"/>
                              <a:pt x="27930" y="41207"/>
                              <a:pt x="27870" y="41267"/>
                            </a:cubicBezTo>
                            <a:cubicBezTo>
                              <a:pt x="27811" y="41327"/>
                              <a:pt x="27751" y="41446"/>
                              <a:pt x="27691" y="41506"/>
                            </a:cubicBezTo>
                            <a:cubicBezTo>
                              <a:pt x="27392" y="41925"/>
                              <a:pt x="27093" y="42344"/>
                              <a:pt x="26734" y="42762"/>
                            </a:cubicBezTo>
                            <a:cubicBezTo>
                              <a:pt x="26375" y="43181"/>
                              <a:pt x="26076" y="43599"/>
                              <a:pt x="25717" y="44018"/>
                            </a:cubicBezTo>
                            <a:cubicBezTo>
                              <a:pt x="25359" y="44437"/>
                              <a:pt x="25059" y="44855"/>
                              <a:pt x="24700" y="45274"/>
                            </a:cubicBezTo>
                            <a:cubicBezTo>
                              <a:pt x="24342" y="45693"/>
                              <a:pt x="23983" y="46111"/>
                              <a:pt x="23624" y="46530"/>
                            </a:cubicBezTo>
                            <a:cubicBezTo>
                              <a:pt x="23564" y="46590"/>
                              <a:pt x="23505" y="46709"/>
                              <a:pt x="23445" y="46769"/>
                            </a:cubicBezTo>
                            <a:cubicBezTo>
                              <a:pt x="23385" y="46829"/>
                              <a:pt x="23325" y="46949"/>
                              <a:pt x="23265" y="47008"/>
                            </a:cubicBezTo>
                            <a:cubicBezTo>
                              <a:pt x="23205" y="47068"/>
                              <a:pt x="23145" y="47188"/>
                              <a:pt x="23086" y="47248"/>
                            </a:cubicBezTo>
                            <a:cubicBezTo>
                              <a:pt x="23026" y="47307"/>
                              <a:pt x="22966" y="47427"/>
                              <a:pt x="22906" y="47487"/>
                            </a:cubicBezTo>
                            <a:cubicBezTo>
                              <a:pt x="22248" y="48205"/>
                              <a:pt x="21591" y="48922"/>
                              <a:pt x="20933" y="49640"/>
                            </a:cubicBezTo>
                            <a:cubicBezTo>
                              <a:pt x="20275" y="50358"/>
                              <a:pt x="19557" y="51075"/>
                              <a:pt x="18839" y="51793"/>
                            </a:cubicBezTo>
                            <a:cubicBezTo>
                              <a:pt x="18122" y="52511"/>
                              <a:pt x="17404" y="53229"/>
                              <a:pt x="16746" y="53946"/>
                            </a:cubicBezTo>
                            <a:cubicBezTo>
                              <a:pt x="16208" y="54305"/>
                              <a:pt x="15490" y="54963"/>
                              <a:pt x="14773" y="55681"/>
                            </a:cubicBezTo>
                            <a:moveTo>
                              <a:pt x="14414" y="59568"/>
                            </a:moveTo>
                            <a:lnTo>
                              <a:pt x="15311" y="60166"/>
                            </a:lnTo>
                            <a:cubicBezTo>
                              <a:pt x="15371" y="60106"/>
                              <a:pt x="15371" y="60106"/>
                              <a:pt x="15430" y="60046"/>
                            </a:cubicBezTo>
                            <a:cubicBezTo>
                              <a:pt x="15490" y="59986"/>
                              <a:pt x="15490" y="59986"/>
                              <a:pt x="15550" y="59927"/>
                            </a:cubicBezTo>
                            <a:cubicBezTo>
                              <a:pt x="15610" y="59867"/>
                              <a:pt x="15610" y="59867"/>
                              <a:pt x="15669" y="59807"/>
                            </a:cubicBezTo>
                            <a:cubicBezTo>
                              <a:pt x="15729" y="59747"/>
                              <a:pt x="15729" y="59747"/>
                              <a:pt x="15789" y="59687"/>
                            </a:cubicBezTo>
                            <a:cubicBezTo>
                              <a:pt x="15909" y="59628"/>
                              <a:pt x="15969" y="59508"/>
                              <a:pt x="16088" y="59448"/>
                            </a:cubicBezTo>
                            <a:cubicBezTo>
                              <a:pt x="16208" y="59389"/>
                              <a:pt x="16268" y="59269"/>
                              <a:pt x="16387" y="59209"/>
                            </a:cubicBezTo>
                            <a:cubicBezTo>
                              <a:pt x="16507" y="59149"/>
                              <a:pt x="16567" y="59030"/>
                              <a:pt x="16686" y="58970"/>
                            </a:cubicBezTo>
                            <a:cubicBezTo>
                              <a:pt x="16806" y="58910"/>
                              <a:pt x="16866" y="58791"/>
                              <a:pt x="16985" y="58731"/>
                            </a:cubicBezTo>
                            <a:lnTo>
                              <a:pt x="16088" y="58132"/>
                            </a:lnTo>
                            <a:cubicBezTo>
                              <a:pt x="16029" y="58192"/>
                              <a:pt x="15909" y="58312"/>
                              <a:pt x="15849" y="58372"/>
                            </a:cubicBezTo>
                            <a:cubicBezTo>
                              <a:pt x="15789" y="58432"/>
                              <a:pt x="15669" y="58551"/>
                              <a:pt x="15610" y="58611"/>
                            </a:cubicBezTo>
                            <a:cubicBezTo>
                              <a:pt x="15550" y="58671"/>
                              <a:pt x="15430" y="58791"/>
                              <a:pt x="15371" y="58850"/>
                            </a:cubicBezTo>
                            <a:cubicBezTo>
                              <a:pt x="15311" y="58910"/>
                              <a:pt x="15191" y="59030"/>
                              <a:pt x="15131" y="59090"/>
                            </a:cubicBezTo>
                            <a:cubicBezTo>
                              <a:pt x="15072" y="59149"/>
                              <a:pt x="15012" y="59209"/>
                              <a:pt x="14952" y="59269"/>
                            </a:cubicBezTo>
                            <a:cubicBezTo>
                              <a:pt x="14892" y="59329"/>
                              <a:pt x="14832" y="59389"/>
                              <a:pt x="14773" y="59448"/>
                            </a:cubicBezTo>
                            <a:cubicBezTo>
                              <a:pt x="14713" y="59508"/>
                              <a:pt x="14653" y="59568"/>
                              <a:pt x="14593" y="59628"/>
                            </a:cubicBezTo>
                            <a:cubicBezTo>
                              <a:pt x="14533" y="59508"/>
                              <a:pt x="14474" y="59568"/>
                              <a:pt x="14414" y="59568"/>
                            </a:cubicBezTo>
                            <a:moveTo>
                              <a:pt x="12201" y="58132"/>
                            </a:moveTo>
                            <a:lnTo>
                              <a:pt x="13158" y="58731"/>
                            </a:lnTo>
                            <a:cubicBezTo>
                              <a:pt x="13218" y="58671"/>
                              <a:pt x="13277" y="58611"/>
                              <a:pt x="13337" y="58551"/>
                            </a:cubicBezTo>
                            <a:cubicBezTo>
                              <a:pt x="13397" y="58491"/>
                              <a:pt x="13457" y="58432"/>
                              <a:pt x="13516" y="58372"/>
                            </a:cubicBezTo>
                            <a:cubicBezTo>
                              <a:pt x="13576" y="58312"/>
                              <a:pt x="13636" y="58252"/>
                              <a:pt x="13696" y="58192"/>
                            </a:cubicBezTo>
                            <a:cubicBezTo>
                              <a:pt x="13756" y="58132"/>
                              <a:pt x="13815" y="58073"/>
                              <a:pt x="13875" y="58013"/>
                            </a:cubicBezTo>
                            <a:cubicBezTo>
                              <a:pt x="13935" y="57953"/>
                              <a:pt x="13995" y="57893"/>
                              <a:pt x="14055" y="57833"/>
                            </a:cubicBezTo>
                            <a:cubicBezTo>
                              <a:pt x="14115" y="57774"/>
                              <a:pt x="14174" y="57714"/>
                              <a:pt x="14234" y="57654"/>
                            </a:cubicBezTo>
                            <a:cubicBezTo>
                              <a:pt x="14294" y="57594"/>
                              <a:pt x="14354" y="57535"/>
                              <a:pt x="14414" y="57475"/>
                            </a:cubicBezTo>
                            <a:cubicBezTo>
                              <a:pt x="14474" y="57415"/>
                              <a:pt x="14533" y="57355"/>
                              <a:pt x="14593" y="57295"/>
                            </a:cubicBezTo>
                            <a:lnTo>
                              <a:pt x="13636" y="56637"/>
                            </a:lnTo>
                            <a:cubicBezTo>
                              <a:pt x="13576" y="56697"/>
                              <a:pt x="13516" y="56757"/>
                              <a:pt x="13457" y="56817"/>
                            </a:cubicBezTo>
                            <a:cubicBezTo>
                              <a:pt x="13397" y="56877"/>
                              <a:pt x="13337" y="56937"/>
                              <a:pt x="13277" y="56996"/>
                            </a:cubicBezTo>
                            <a:cubicBezTo>
                              <a:pt x="13218" y="57056"/>
                              <a:pt x="13158" y="57116"/>
                              <a:pt x="13098" y="57176"/>
                            </a:cubicBezTo>
                            <a:cubicBezTo>
                              <a:pt x="13038" y="57236"/>
                              <a:pt x="12978" y="57295"/>
                              <a:pt x="12919" y="57355"/>
                            </a:cubicBezTo>
                            <a:cubicBezTo>
                              <a:pt x="12859" y="57415"/>
                              <a:pt x="12739" y="57535"/>
                              <a:pt x="12679" y="57594"/>
                            </a:cubicBezTo>
                            <a:cubicBezTo>
                              <a:pt x="12620" y="57654"/>
                              <a:pt x="12500" y="57774"/>
                              <a:pt x="12440" y="57833"/>
                            </a:cubicBezTo>
                            <a:cubicBezTo>
                              <a:pt x="12380" y="57893"/>
                              <a:pt x="12261" y="58013"/>
                              <a:pt x="12201" y="58073"/>
                            </a:cubicBezTo>
                            <a:cubicBezTo>
                              <a:pt x="12141" y="58132"/>
                              <a:pt x="12320" y="58073"/>
                              <a:pt x="12201" y="58132"/>
                            </a:cubicBezTo>
                            <a:moveTo>
                              <a:pt x="12141" y="61840"/>
                            </a:moveTo>
                            <a:lnTo>
                              <a:pt x="13098" y="62439"/>
                            </a:lnTo>
                            <a:cubicBezTo>
                              <a:pt x="13218" y="62319"/>
                              <a:pt x="13337" y="62200"/>
                              <a:pt x="13457" y="62080"/>
                            </a:cubicBezTo>
                            <a:cubicBezTo>
                              <a:pt x="13576" y="61960"/>
                              <a:pt x="13696" y="61840"/>
                              <a:pt x="13815" y="61721"/>
                            </a:cubicBezTo>
                            <a:cubicBezTo>
                              <a:pt x="13935" y="61601"/>
                              <a:pt x="14055" y="61482"/>
                              <a:pt x="14174" y="61362"/>
                            </a:cubicBezTo>
                            <a:cubicBezTo>
                              <a:pt x="14294" y="61243"/>
                              <a:pt x="14414" y="61123"/>
                              <a:pt x="14533" y="61003"/>
                            </a:cubicBezTo>
                            <a:lnTo>
                              <a:pt x="13576" y="60405"/>
                            </a:lnTo>
                            <a:cubicBezTo>
                              <a:pt x="13457" y="60525"/>
                              <a:pt x="13337" y="60645"/>
                              <a:pt x="13218" y="60764"/>
                            </a:cubicBezTo>
                            <a:cubicBezTo>
                              <a:pt x="13098" y="60884"/>
                              <a:pt x="12978" y="61003"/>
                              <a:pt x="12859" y="61123"/>
                            </a:cubicBezTo>
                            <a:cubicBezTo>
                              <a:pt x="12739" y="61243"/>
                              <a:pt x="12620" y="61362"/>
                              <a:pt x="12500" y="61482"/>
                            </a:cubicBezTo>
                            <a:cubicBezTo>
                              <a:pt x="12320" y="61601"/>
                              <a:pt x="12201" y="61721"/>
                              <a:pt x="12141" y="61840"/>
                            </a:cubicBezTo>
                            <a:moveTo>
                              <a:pt x="9928" y="60405"/>
                            </a:moveTo>
                            <a:lnTo>
                              <a:pt x="10885" y="61003"/>
                            </a:lnTo>
                            <a:cubicBezTo>
                              <a:pt x="11005" y="60884"/>
                              <a:pt x="11124" y="60764"/>
                              <a:pt x="11244" y="60645"/>
                            </a:cubicBezTo>
                            <a:cubicBezTo>
                              <a:pt x="11364" y="60525"/>
                              <a:pt x="11483" y="60405"/>
                              <a:pt x="11603" y="60286"/>
                            </a:cubicBezTo>
                            <a:cubicBezTo>
                              <a:pt x="11722" y="60166"/>
                              <a:pt x="11842" y="60046"/>
                              <a:pt x="11961" y="59927"/>
                            </a:cubicBezTo>
                            <a:cubicBezTo>
                              <a:pt x="12081" y="59807"/>
                              <a:pt x="12201" y="59687"/>
                              <a:pt x="12320" y="59568"/>
                            </a:cubicBezTo>
                            <a:lnTo>
                              <a:pt x="11364" y="58970"/>
                            </a:lnTo>
                            <a:cubicBezTo>
                              <a:pt x="11244" y="59090"/>
                              <a:pt x="11124" y="59209"/>
                              <a:pt x="11005" y="59329"/>
                            </a:cubicBezTo>
                            <a:cubicBezTo>
                              <a:pt x="10885" y="59448"/>
                              <a:pt x="10766" y="59568"/>
                              <a:pt x="10646" y="59687"/>
                            </a:cubicBezTo>
                            <a:cubicBezTo>
                              <a:pt x="10526" y="59807"/>
                              <a:pt x="10407" y="59927"/>
                              <a:pt x="10287" y="60046"/>
                            </a:cubicBezTo>
                            <a:cubicBezTo>
                              <a:pt x="10167" y="60166"/>
                              <a:pt x="10048" y="60286"/>
                              <a:pt x="9928" y="60405"/>
                            </a:cubicBezTo>
                            <a:moveTo>
                              <a:pt x="0" y="71290"/>
                            </a:moveTo>
                            <a:lnTo>
                              <a:pt x="3110" y="73324"/>
                            </a:lnTo>
                            <a:lnTo>
                              <a:pt x="3469" y="72845"/>
                            </a:lnTo>
                            <a:cubicBezTo>
                              <a:pt x="3708" y="72546"/>
                              <a:pt x="3888" y="72307"/>
                              <a:pt x="4127" y="72008"/>
                            </a:cubicBezTo>
                            <a:cubicBezTo>
                              <a:pt x="4366" y="71709"/>
                              <a:pt x="4545" y="71470"/>
                              <a:pt x="4785" y="71171"/>
                            </a:cubicBezTo>
                            <a:cubicBezTo>
                              <a:pt x="5024" y="70871"/>
                              <a:pt x="5263" y="70632"/>
                              <a:pt x="5503" y="70333"/>
                            </a:cubicBezTo>
                            <a:cubicBezTo>
                              <a:pt x="5742" y="70034"/>
                              <a:pt x="5981" y="69795"/>
                              <a:pt x="6220" y="69496"/>
                            </a:cubicBezTo>
                            <a:cubicBezTo>
                              <a:pt x="6280" y="69436"/>
                              <a:pt x="6340" y="69316"/>
                              <a:pt x="6459" y="69257"/>
                            </a:cubicBezTo>
                            <a:cubicBezTo>
                              <a:pt x="6519" y="69197"/>
                              <a:pt x="6579" y="69077"/>
                              <a:pt x="6698" y="69017"/>
                            </a:cubicBezTo>
                            <a:cubicBezTo>
                              <a:pt x="6758" y="68958"/>
                              <a:pt x="6818" y="68838"/>
                              <a:pt x="6938" y="68778"/>
                            </a:cubicBezTo>
                            <a:cubicBezTo>
                              <a:pt x="7058" y="68718"/>
                              <a:pt x="7058" y="68599"/>
                              <a:pt x="7177" y="68539"/>
                            </a:cubicBezTo>
                            <a:cubicBezTo>
                              <a:pt x="7596" y="68121"/>
                              <a:pt x="7954" y="67702"/>
                              <a:pt x="8373" y="67223"/>
                            </a:cubicBezTo>
                            <a:cubicBezTo>
                              <a:pt x="8792" y="66805"/>
                              <a:pt x="9211" y="66326"/>
                              <a:pt x="9629" y="65908"/>
                            </a:cubicBezTo>
                            <a:cubicBezTo>
                              <a:pt x="10048" y="65489"/>
                              <a:pt x="10466" y="65010"/>
                              <a:pt x="10945" y="64592"/>
                            </a:cubicBezTo>
                            <a:cubicBezTo>
                              <a:pt x="11364" y="64173"/>
                              <a:pt x="11842" y="63695"/>
                              <a:pt x="12261" y="63276"/>
                            </a:cubicBezTo>
                            <a:lnTo>
                              <a:pt x="11304" y="62678"/>
                            </a:lnTo>
                            <a:cubicBezTo>
                              <a:pt x="10885" y="63097"/>
                              <a:pt x="10407" y="63575"/>
                              <a:pt x="9988" y="63994"/>
                            </a:cubicBezTo>
                            <a:cubicBezTo>
                              <a:pt x="9569" y="64412"/>
                              <a:pt x="9151" y="64891"/>
                              <a:pt x="8672" y="65309"/>
                            </a:cubicBezTo>
                            <a:cubicBezTo>
                              <a:pt x="8194" y="65728"/>
                              <a:pt x="7835" y="66207"/>
                              <a:pt x="7416" y="66625"/>
                            </a:cubicBezTo>
                            <a:cubicBezTo>
                              <a:pt x="6998" y="67044"/>
                              <a:pt x="6579" y="67462"/>
                              <a:pt x="6220" y="67941"/>
                            </a:cubicBezTo>
                            <a:cubicBezTo>
                              <a:pt x="6160" y="68001"/>
                              <a:pt x="6100" y="68121"/>
                              <a:pt x="5981" y="68180"/>
                            </a:cubicBezTo>
                            <a:cubicBezTo>
                              <a:pt x="5921" y="68240"/>
                              <a:pt x="5861" y="68360"/>
                              <a:pt x="5742" y="68419"/>
                            </a:cubicBezTo>
                            <a:cubicBezTo>
                              <a:pt x="5682" y="68479"/>
                              <a:pt x="5622" y="68599"/>
                              <a:pt x="5503" y="68659"/>
                            </a:cubicBezTo>
                            <a:cubicBezTo>
                              <a:pt x="5443" y="68718"/>
                              <a:pt x="5383" y="68838"/>
                              <a:pt x="5263" y="68898"/>
                            </a:cubicBezTo>
                            <a:cubicBezTo>
                              <a:pt x="5084" y="69137"/>
                              <a:pt x="4844" y="69376"/>
                              <a:pt x="4665" y="69556"/>
                            </a:cubicBezTo>
                            <a:cubicBezTo>
                              <a:pt x="4486" y="69735"/>
                              <a:pt x="4246" y="70034"/>
                              <a:pt x="4067" y="70214"/>
                            </a:cubicBezTo>
                            <a:cubicBezTo>
                              <a:pt x="3888" y="70453"/>
                              <a:pt x="3649" y="70692"/>
                              <a:pt x="3469" y="70871"/>
                            </a:cubicBezTo>
                            <a:cubicBezTo>
                              <a:pt x="3290" y="71051"/>
                              <a:pt x="3110" y="71350"/>
                              <a:pt x="2931" y="71530"/>
                            </a:cubicBezTo>
                            <a:lnTo>
                              <a:pt x="1735" y="70752"/>
                            </a:lnTo>
                            <a:cubicBezTo>
                              <a:pt x="1914" y="70513"/>
                              <a:pt x="2093" y="70273"/>
                              <a:pt x="2273" y="70094"/>
                            </a:cubicBezTo>
                            <a:cubicBezTo>
                              <a:pt x="2452" y="69855"/>
                              <a:pt x="2632" y="69616"/>
                              <a:pt x="2871" y="69436"/>
                            </a:cubicBezTo>
                            <a:cubicBezTo>
                              <a:pt x="3050" y="69197"/>
                              <a:pt x="3290" y="68958"/>
                              <a:pt x="3469" y="68778"/>
                            </a:cubicBezTo>
                            <a:cubicBezTo>
                              <a:pt x="3649" y="68539"/>
                              <a:pt x="3888" y="68300"/>
                              <a:pt x="4067" y="68121"/>
                            </a:cubicBezTo>
                            <a:cubicBezTo>
                              <a:pt x="4127" y="68061"/>
                              <a:pt x="4187" y="67941"/>
                              <a:pt x="4306" y="67881"/>
                            </a:cubicBezTo>
                            <a:cubicBezTo>
                              <a:pt x="4426" y="67821"/>
                              <a:pt x="4426" y="67702"/>
                              <a:pt x="4545" y="67642"/>
                            </a:cubicBezTo>
                            <a:cubicBezTo>
                              <a:pt x="4605" y="67582"/>
                              <a:pt x="4665" y="67462"/>
                              <a:pt x="4785" y="67403"/>
                            </a:cubicBezTo>
                            <a:cubicBezTo>
                              <a:pt x="4844" y="67343"/>
                              <a:pt x="4904" y="67223"/>
                              <a:pt x="5024" y="67163"/>
                            </a:cubicBezTo>
                            <a:cubicBezTo>
                              <a:pt x="5443" y="66745"/>
                              <a:pt x="5801" y="66266"/>
                              <a:pt x="6220" y="65848"/>
                            </a:cubicBezTo>
                            <a:cubicBezTo>
                              <a:pt x="6639" y="65429"/>
                              <a:pt x="7058" y="64951"/>
                              <a:pt x="7476" y="64532"/>
                            </a:cubicBezTo>
                            <a:cubicBezTo>
                              <a:pt x="7895" y="64113"/>
                              <a:pt x="8313" y="63635"/>
                              <a:pt x="8732" y="63216"/>
                            </a:cubicBezTo>
                            <a:cubicBezTo>
                              <a:pt x="9151" y="62798"/>
                              <a:pt x="9629" y="62319"/>
                              <a:pt x="10048" y="61900"/>
                            </a:cubicBezTo>
                            <a:lnTo>
                              <a:pt x="9091" y="61302"/>
                            </a:lnTo>
                            <a:cubicBezTo>
                              <a:pt x="8672" y="61721"/>
                              <a:pt x="8194" y="62200"/>
                              <a:pt x="7775" y="62618"/>
                            </a:cubicBezTo>
                            <a:cubicBezTo>
                              <a:pt x="7357" y="63037"/>
                              <a:pt x="6938" y="63515"/>
                              <a:pt x="6519" y="63934"/>
                            </a:cubicBezTo>
                            <a:cubicBezTo>
                              <a:pt x="6100" y="64353"/>
                              <a:pt x="5682" y="64831"/>
                              <a:pt x="5263" y="65250"/>
                            </a:cubicBezTo>
                            <a:cubicBezTo>
                              <a:pt x="4844" y="65668"/>
                              <a:pt x="4426" y="66147"/>
                              <a:pt x="4067" y="66565"/>
                            </a:cubicBezTo>
                            <a:cubicBezTo>
                              <a:pt x="4007" y="66625"/>
                              <a:pt x="3947" y="66745"/>
                              <a:pt x="3828" y="66805"/>
                            </a:cubicBezTo>
                            <a:cubicBezTo>
                              <a:pt x="3708" y="66864"/>
                              <a:pt x="3708" y="66984"/>
                              <a:pt x="3589" y="67044"/>
                            </a:cubicBezTo>
                            <a:cubicBezTo>
                              <a:pt x="3529" y="67104"/>
                              <a:pt x="3469" y="67223"/>
                              <a:pt x="3349" y="67283"/>
                            </a:cubicBezTo>
                            <a:cubicBezTo>
                              <a:pt x="3290" y="67343"/>
                              <a:pt x="3230" y="67462"/>
                              <a:pt x="3110" y="67522"/>
                            </a:cubicBezTo>
                            <a:cubicBezTo>
                              <a:pt x="2871" y="67821"/>
                              <a:pt x="2632" y="68061"/>
                              <a:pt x="2392" y="68360"/>
                            </a:cubicBezTo>
                            <a:cubicBezTo>
                              <a:pt x="2153" y="68659"/>
                              <a:pt x="1914" y="68898"/>
                              <a:pt x="1675" y="69197"/>
                            </a:cubicBezTo>
                            <a:cubicBezTo>
                              <a:pt x="1436" y="69496"/>
                              <a:pt x="1196" y="69735"/>
                              <a:pt x="1017" y="70034"/>
                            </a:cubicBezTo>
                            <a:cubicBezTo>
                              <a:pt x="778" y="70333"/>
                              <a:pt x="598" y="70572"/>
                              <a:pt x="359" y="70871"/>
                            </a:cubicBezTo>
                            <a:lnTo>
                              <a:pt x="0" y="71290"/>
                            </a:lnTo>
                          </a:path>
                        </a:pathLst>
                      </a:custGeom>
                      <a:noFill/>
                      <a:ln w="6350" cap="flat">
                        <a:solidFill>
                          <a:schemeClr val="bg1">
                            <a:alpha val="40000"/>
                          </a:schemeClr>
                        </a:solidFill>
                        <a:prstDash val="solid"/>
                        <a:miter/>
                      </a:ln>
                    </p:spPr>
                    <p:txBody>
                      <a:bodyPr rtlCol="0" anchor="ctr"/>
                      <a:lstStyle/>
                      <a:p>
                        <a:endParaRPr lang="en-GB"/>
                      </a:p>
                    </p:txBody>
                  </p:sp>
                  <p:sp>
                    <p:nvSpPr>
                      <p:cNvPr id="7470" name="Vrije vorm: vorm 7469">
                        <a:extLst>
                          <a:ext uri="{FF2B5EF4-FFF2-40B4-BE49-F238E27FC236}">
                            <a16:creationId xmlns:a16="http://schemas.microsoft.com/office/drawing/2014/main" id="{FB7AEF82-FDE8-48DD-AE97-4D66A8A3A2E6}"/>
                          </a:ext>
                        </a:extLst>
                      </p:cNvPr>
                      <p:cNvSpPr/>
                      <p:nvPr/>
                    </p:nvSpPr>
                    <p:spPr>
                      <a:xfrm>
                        <a:off x="4852239" y="5152073"/>
                        <a:ext cx="36721" cy="83072"/>
                      </a:xfrm>
                      <a:custGeom>
                        <a:avLst/>
                        <a:gdLst>
                          <a:gd name="connsiteX0" fmla="*/ 16088 w 36721"/>
                          <a:gd name="connsiteY0" fmla="*/ 5443 h 83072"/>
                          <a:gd name="connsiteX1" fmla="*/ 16268 w 36721"/>
                          <a:gd name="connsiteY1" fmla="*/ 5203 h 83072"/>
                          <a:gd name="connsiteX2" fmla="*/ 16447 w 36721"/>
                          <a:gd name="connsiteY2" fmla="*/ 4964 h 83072"/>
                          <a:gd name="connsiteX3" fmla="*/ 16627 w 36721"/>
                          <a:gd name="connsiteY3" fmla="*/ 4725 h 83072"/>
                          <a:gd name="connsiteX4" fmla="*/ 16806 w 36721"/>
                          <a:gd name="connsiteY4" fmla="*/ 4486 h 83072"/>
                          <a:gd name="connsiteX5" fmla="*/ 16268 w 36721"/>
                          <a:gd name="connsiteY5" fmla="*/ 4127 h 83072"/>
                          <a:gd name="connsiteX6" fmla="*/ 15729 w 36721"/>
                          <a:gd name="connsiteY6" fmla="*/ 3768 h 83072"/>
                          <a:gd name="connsiteX7" fmla="*/ 15191 w 36721"/>
                          <a:gd name="connsiteY7" fmla="*/ 3409 h 83072"/>
                          <a:gd name="connsiteX8" fmla="*/ 14653 w 36721"/>
                          <a:gd name="connsiteY8" fmla="*/ 3050 h 83072"/>
                          <a:gd name="connsiteX9" fmla="*/ 15729 w 36721"/>
                          <a:gd name="connsiteY9" fmla="*/ 1735 h 83072"/>
                          <a:gd name="connsiteX10" fmla="*/ 16208 w 36721"/>
                          <a:gd name="connsiteY10" fmla="*/ 2093 h 83072"/>
                          <a:gd name="connsiteX11" fmla="*/ 16686 w 36721"/>
                          <a:gd name="connsiteY11" fmla="*/ 2452 h 83072"/>
                          <a:gd name="connsiteX12" fmla="*/ 17165 w 36721"/>
                          <a:gd name="connsiteY12" fmla="*/ 2811 h 83072"/>
                          <a:gd name="connsiteX13" fmla="*/ 17643 w 36721"/>
                          <a:gd name="connsiteY13" fmla="*/ 3170 h 83072"/>
                          <a:gd name="connsiteX14" fmla="*/ 17823 w 36721"/>
                          <a:gd name="connsiteY14" fmla="*/ 2871 h 83072"/>
                          <a:gd name="connsiteX15" fmla="*/ 18002 w 36721"/>
                          <a:gd name="connsiteY15" fmla="*/ 2572 h 83072"/>
                          <a:gd name="connsiteX16" fmla="*/ 18182 w 36721"/>
                          <a:gd name="connsiteY16" fmla="*/ 2273 h 83072"/>
                          <a:gd name="connsiteX17" fmla="*/ 18301 w 36721"/>
                          <a:gd name="connsiteY17" fmla="*/ 1974 h 83072"/>
                          <a:gd name="connsiteX18" fmla="*/ 17763 w 36721"/>
                          <a:gd name="connsiteY18" fmla="*/ 1555 h 83072"/>
                          <a:gd name="connsiteX19" fmla="*/ 17225 w 36721"/>
                          <a:gd name="connsiteY19" fmla="*/ 1136 h 83072"/>
                          <a:gd name="connsiteX20" fmla="*/ 16686 w 36721"/>
                          <a:gd name="connsiteY20" fmla="*/ 718 h 83072"/>
                          <a:gd name="connsiteX21" fmla="*/ 16088 w 36721"/>
                          <a:gd name="connsiteY21" fmla="*/ 299 h 83072"/>
                          <a:gd name="connsiteX22" fmla="*/ 15610 w 36721"/>
                          <a:gd name="connsiteY22" fmla="*/ 0 h 83072"/>
                          <a:gd name="connsiteX23" fmla="*/ 12978 w 36721"/>
                          <a:gd name="connsiteY23" fmla="*/ 3289 h 83072"/>
                          <a:gd name="connsiteX24" fmla="*/ 13457 w 36721"/>
                          <a:gd name="connsiteY24" fmla="*/ 3589 h 83072"/>
                          <a:gd name="connsiteX25" fmla="*/ 14114 w 36721"/>
                          <a:gd name="connsiteY25" fmla="*/ 4067 h 83072"/>
                          <a:gd name="connsiteX26" fmla="*/ 14773 w 36721"/>
                          <a:gd name="connsiteY26" fmla="*/ 4545 h 83072"/>
                          <a:gd name="connsiteX27" fmla="*/ 15430 w 36721"/>
                          <a:gd name="connsiteY27" fmla="*/ 5024 h 83072"/>
                          <a:gd name="connsiteX28" fmla="*/ 16088 w 36721"/>
                          <a:gd name="connsiteY28" fmla="*/ 5443 h 83072"/>
                          <a:gd name="connsiteX29" fmla="*/ 33612 w 36721"/>
                          <a:gd name="connsiteY29" fmla="*/ 35705 h 83072"/>
                          <a:gd name="connsiteX30" fmla="*/ 33851 w 36721"/>
                          <a:gd name="connsiteY30" fmla="*/ 34270 h 83072"/>
                          <a:gd name="connsiteX31" fmla="*/ 33970 w 36721"/>
                          <a:gd name="connsiteY31" fmla="*/ 32834 h 83072"/>
                          <a:gd name="connsiteX32" fmla="*/ 34030 w 36721"/>
                          <a:gd name="connsiteY32" fmla="*/ 31399 h 83072"/>
                          <a:gd name="connsiteX33" fmla="*/ 34030 w 36721"/>
                          <a:gd name="connsiteY33" fmla="*/ 29963 h 83072"/>
                          <a:gd name="connsiteX34" fmla="*/ 34030 w 36721"/>
                          <a:gd name="connsiteY34" fmla="*/ 29904 h 83072"/>
                          <a:gd name="connsiteX35" fmla="*/ 34030 w 36721"/>
                          <a:gd name="connsiteY35" fmla="*/ 29844 h 83072"/>
                          <a:gd name="connsiteX36" fmla="*/ 34030 w 36721"/>
                          <a:gd name="connsiteY36" fmla="*/ 29784 h 83072"/>
                          <a:gd name="connsiteX37" fmla="*/ 34030 w 36721"/>
                          <a:gd name="connsiteY37" fmla="*/ 29724 h 83072"/>
                          <a:gd name="connsiteX38" fmla="*/ 34030 w 36721"/>
                          <a:gd name="connsiteY38" fmla="*/ 29306 h 83072"/>
                          <a:gd name="connsiteX39" fmla="*/ 33970 w 36721"/>
                          <a:gd name="connsiteY39" fmla="*/ 28887 h 83072"/>
                          <a:gd name="connsiteX40" fmla="*/ 33911 w 36721"/>
                          <a:gd name="connsiteY40" fmla="*/ 28468 h 83072"/>
                          <a:gd name="connsiteX41" fmla="*/ 33851 w 36721"/>
                          <a:gd name="connsiteY41" fmla="*/ 28050 h 83072"/>
                          <a:gd name="connsiteX42" fmla="*/ 32296 w 36721"/>
                          <a:gd name="connsiteY42" fmla="*/ 22129 h 83072"/>
                          <a:gd name="connsiteX43" fmla="*/ 29126 w 36721"/>
                          <a:gd name="connsiteY43" fmla="*/ 16328 h 83072"/>
                          <a:gd name="connsiteX44" fmla="*/ 24282 w 36721"/>
                          <a:gd name="connsiteY44" fmla="*/ 10646 h 83072"/>
                          <a:gd name="connsiteX45" fmla="*/ 17763 w 36721"/>
                          <a:gd name="connsiteY45" fmla="*/ 5024 h 83072"/>
                          <a:gd name="connsiteX46" fmla="*/ 17583 w 36721"/>
                          <a:gd name="connsiteY46" fmla="*/ 5263 h 83072"/>
                          <a:gd name="connsiteX47" fmla="*/ 17404 w 36721"/>
                          <a:gd name="connsiteY47" fmla="*/ 5502 h 83072"/>
                          <a:gd name="connsiteX48" fmla="*/ 17225 w 36721"/>
                          <a:gd name="connsiteY48" fmla="*/ 5742 h 83072"/>
                          <a:gd name="connsiteX49" fmla="*/ 17045 w 36721"/>
                          <a:gd name="connsiteY49" fmla="*/ 5981 h 83072"/>
                          <a:gd name="connsiteX50" fmla="*/ 23086 w 36721"/>
                          <a:gd name="connsiteY50" fmla="*/ 11184 h 83072"/>
                          <a:gd name="connsiteX51" fmla="*/ 27631 w 36721"/>
                          <a:gd name="connsiteY51" fmla="*/ 16387 h 83072"/>
                          <a:gd name="connsiteX52" fmla="*/ 30741 w 36721"/>
                          <a:gd name="connsiteY52" fmla="*/ 21650 h 83072"/>
                          <a:gd name="connsiteX53" fmla="*/ 32475 w 36721"/>
                          <a:gd name="connsiteY53" fmla="*/ 27033 h 83072"/>
                          <a:gd name="connsiteX54" fmla="*/ 32535 w 36721"/>
                          <a:gd name="connsiteY54" fmla="*/ 27452 h 83072"/>
                          <a:gd name="connsiteX55" fmla="*/ 32595 w 36721"/>
                          <a:gd name="connsiteY55" fmla="*/ 27870 h 83072"/>
                          <a:gd name="connsiteX56" fmla="*/ 32655 w 36721"/>
                          <a:gd name="connsiteY56" fmla="*/ 28289 h 83072"/>
                          <a:gd name="connsiteX57" fmla="*/ 32715 w 36721"/>
                          <a:gd name="connsiteY57" fmla="*/ 28707 h 83072"/>
                          <a:gd name="connsiteX58" fmla="*/ 32775 w 36721"/>
                          <a:gd name="connsiteY58" fmla="*/ 29007 h 83072"/>
                          <a:gd name="connsiteX59" fmla="*/ 32834 w 36721"/>
                          <a:gd name="connsiteY59" fmla="*/ 29306 h 83072"/>
                          <a:gd name="connsiteX60" fmla="*/ 32834 w 36721"/>
                          <a:gd name="connsiteY60" fmla="*/ 29665 h 83072"/>
                          <a:gd name="connsiteX61" fmla="*/ 32834 w 36721"/>
                          <a:gd name="connsiteY61" fmla="*/ 30023 h 83072"/>
                          <a:gd name="connsiteX62" fmla="*/ 32834 w 36721"/>
                          <a:gd name="connsiteY62" fmla="*/ 30980 h 83072"/>
                          <a:gd name="connsiteX63" fmla="*/ 32834 w 36721"/>
                          <a:gd name="connsiteY63" fmla="*/ 31937 h 83072"/>
                          <a:gd name="connsiteX64" fmla="*/ 32775 w 36721"/>
                          <a:gd name="connsiteY64" fmla="*/ 32894 h 83072"/>
                          <a:gd name="connsiteX65" fmla="*/ 32655 w 36721"/>
                          <a:gd name="connsiteY65" fmla="*/ 33851 h 83072"/>
                          <a:gd name="connsiteX66" fmla="*/ 32894 w 36721"/>
                          <a:gd name="connsiteY66" fmla="*/ 34270 h 83072"/>
                          <a:gd name="connsiteX67" fmla="*/ 33133 w 36721"/>
                          <a:gd name="connsiteY67" fmla="*/ 34688 h 83072"/>
                          <a:gd name="connsiteX68" fmla="*/ 33373 w 36721"/>
                          <a:gd name="connsiteY68" fmla="*/ 35107 h 83072"/>
                          <a:gd name="connsiteX69" fmla="*/ 33612 w 36721"/>
                          <a:gd name="connsiteY69" fmla="*/ 35705 h 83072"/>
                          <a:gd name="connsiteX70" fmla="*/ 35346 w 36721"/>
                          <a:gd name="connsiteY70" fmla="*/ 39832 h 83072"/>
                          <a:gd name="connsiteX71" fmla="*/ 35346 w 36721"/>
                          <a:gd name="connsiteY71" fmla="*/ 39832 h 83072"/>
                          <a:gd name="connsiteX72" fmla="*/ 35346 w 36721"/>
                          <a:gd name="connsiteY72" fmla="*/ 39772 h 83072"/>
                          <a:gd name="connsiteX73" fmla="*/ 35346 w 36721"/>
                          <a:gd name="connsiteY73" fmla="*/ 39712 h 83072"/>
                          <a:gd name="connsiteX74" fmla="*/ 35346 w 36721"/>
                          <a:gd name="connsiteY74" fmla="*/ 39652 h 83072"/>
                          <a:gd name="connsiteX75" fmla="*/ 35884 w 36721"/>
                          <a:gd name="connsiteY75" fmla="*/ 37678 h 83072"/>
                          <a:gd name="connsiteX76" fmla="*/ 36303 w 36721"/>
                          <a:gd name="connsiteY76" fmla="*/ 35705 h 83072"/>
                          <a:gd name="connsiteX77" fmla="*/ 36602 w 36721"/>
                          <a:gd name="connsiteY77" fmla="*/ 33731 h 83072"/>
                          <a:gd name="connsiteX78" fmla="*/ 36722 w 36721"/>
                          <a:gd name="connsiteY78" fmla="*/ 31698 h 83072"/>
                          <a:gd name="connsiteX79" fmla="*/ 36722 w 36721"/>
                          <a:gd name="connsiteY79" fmla="*/ 31339 h 83072"/>
                          <a:gd name="connsiteX80" fmla="*/ 36722 w 36721"/>
                          <a:gd name="connsiteY80" fmla="*/ 30980 h 83072"/>
                          <a:gd name="connsiteX81" fmla="*/ 36722 w 36721"/>
                          <a:gd name="connsiteY81" fmla="*/ 30621 h 83072"/>
                          <a:gd name="connsiteX82" fmla="*/ 36722 w 36721"/>
                          <a:gd name="connsiteY82" fmla="*/ 30262 h 83072"/>
                          <a:gd name="connsiteX83" fmla="*/ 36722 w 36721"/>
                          <a:gd name="connsiteY83" fmla="*/ 30083 h 83072"/>
                          <a:gd name="connsiteX84" fmla="*/ 36722 w 36721"/>
                          <a:gd name="connsiteY84" fmla="*/ 29904 h 83072"/>
                          <a:gd name="connsiteX85" fmla="*/ 36722 w 36721"/>
                          <a:gd name="connsiteY85" fmla="*/ 29724 h 83072"/>
                          <a:gd name="connsiteX86" fmla="*/ 36722 w 36721"/>
                          <a:gd name="connsiteY86" fmla="*/ 29545 h 83072"/>
                          <a:gd name="connsiteX87" fmla="*/ 35406 w 36721"/>
                          <a:gd name="connsiteY87" fmla="*/ 22547 h 83072"/>
                          <a:gd name="connsiteX88" fmla="*/ 32057 w 36721"/>
                          <a:gd name="connsiteY88" fmla="*/ 15729 h 83072"/>
                          <a:gd name="connsiteX89" fmla="*/ 26674 w 36721"/>
                          <a:gd name="connsiteY89" fmla="*/ 9091 h 83072"/>
                          <a:gd name="connsiteX90" fmla="*/ 19198 w 36721"/>
                          <a:gd name="connsiteY90" fmla="*/ 2572 h 83072"/>
                          <a:gd name="connsiteX91" fmla="*/ 19079 w 36721"/>
                          <a:gd name="connsiteY91" fmla="*/ 2871 h 83072"/>
                          <a:gd name="connsiteX92" fmla="*/ 18899 w 36721"/>
                          <a:gd name="connsiteY92" fmla="*/ 3170 h 83072"/>
                          <a:gd name="connsiteX93" fmla="*/ 18720 w 36721"/>
                          <a:gd name="connsiteY93" fmla="*/ 3469 h 83072"/>
                          <a:gd name="connsiteX94" fmla="*/ 18540 w 36721"/>
                          <a:gd name="connsiteY94" fmla="*/ 3768 h 83072"/>
                          <a:gd name="connsiteX95" fmla="*/ 25717 w 36721"/>
                          <a:gd name="connsiteY95" fmla="*/ 9988 h 83072"/>
                          <a:gd name="connsiteX96" fmla="*/ 30861 w 36721"/>
                          <a:gd name="connsiteY96" fmla="*/ 16328 h 83072"/>
                          <a:gd name="connsiteX97" fmla="*/ 34090 w 36721"/>
                          <a:gd name="connsiteY97" fmla="*/ 22787 h 83072"/>
                          <a:gd name="connsiteX98" fmla="*/ 35466 w 36721"/>
                          <a:gd name="connsiteY98" fmla="*/ 29366 h 83072"/>
                          <a:gd name="connsiteX99" fmla="*/ 35466 w 36721"/>
                          <a:gd name="connsiteY99" fmla="*/ 29485 h 83072"/>
                          <a:gd name="connsiteX100" fmla="*/ 35466 w 36721"/>
                          <a:gd name="connsiteY100" fmla="*/ 29605 h 83072"/>
                          <a:gd name="connsiteX101" fmla="*/ 35466 w 36721"/>
                          <a:gd name="connsiteY101" fmla="*/ 29724 h 83072"/>
                          <a:gd name="connsiteX102" fmla="*/ 35466 w 36721"/>
                          <a:gd name="connsiteY102" fmla="*/ 29844 h 83072"/>
                          <a:gd name="connsiteX103" fmla="*/ 35466 w 36721"/>
                          <a:gd name="connsiteY103" fmla="*/ 30143 h 83072"/>
                          <a:gd name="connsiteX104" fmla="*/ 35466 w 36721"/>
                          <a:gd name="connsiteY104" fmla="*/ 30442 h 83072"/>
                          <a:gd name="connsiteX105" fmla="*/ 35466 w 36721"/>
                          <a:gd name="connsiteY105" fmla="*/ 30741 h 83072"/>
                          <a:gd name="connsiteX106" fmla="*/ 35466 w 36721"/>
                          <a:gd name="connsiteY106" fmla="*/ 31040 h 83072"/>
                          <a:gd name="connsiteX107" fmla="*/ 35406 w 36721"/>
                          <a:gd name="connsiteY107" fmla="*/ 32834 h 83072"/>
                          <a:gd name="connsiteX108" fmla="*/ 35227 w 36721"/>
                          <a:gd name="connsiteY108" fmla="*/ 34629 h 83072"/>
                          <a:gd name="connsiteX109" fmla="*/ 34928 w 36721"/>
                          <a:gd name="connsiteY109" fmla="*/ 36423 h 83072"/>
                          <a:gd name="connsiteX110" fmla="*/ 34509 w 36721"/>
                          <a:gd name="connsiteY110" fmla="*/ 38157 h 83072"/>
                          <a:gd name="connsiteX111" fmla="*/ 34688 w 36721"/>
                          <a:gd name="connsiteY111" fmla="*/ 38636 h 83072"/>
                          <a:gd name="connsiteX112" fmla="*/ 34868 w 36721"/>
                          <a:gd name="connsiteY112" fmla="*/ 39114 h 83072"/>
                          <a:gd name="connsiteX113" fmla="*/ 35047 w 36721"/>
                          <a:gd name="connsiteY113" fmla="*/ 39592 h 83072"/>
                          <a:gd name="connsiteX114" fmla="*/ 35346 w 36721"/>
                          <a:gd name="connsiteY114" fmla="*/ 39832 h 83072"/>
                          <a:gd name="connsiteX115" fmla="*/ 32416 w 36721"/>
                          <a:gd name="connsiteY115" fmla="*/ 40071 h 83072"/>
                          <a:gd name="connsiteX116" fmla="*/ 32475 w 36721"/>
                          <a:gd name="connsiteY116" fmla="*/ 39891 h 83072"/>
                          <a:gd name="connsiteX117" fmla="*/ 32535 w 36721"/>
                          <a:gd name="connsiteY117" fmla="*/ 39712 h 83072"/>
                          <a:gd name="connsiteX118" fmla="*/ 32595 w 36721"/>
                          <a:gd name="connsiteY118" fmla="*/ 39532 h 83072"/>
                          <a:gd name="connsiteX119" fmla="*/ 32655 w 36721"/>
                          <a:gd name="connsiteY119" fmla="*/ 39353 h 83072"/>
                          <a:gd name="connsiteX120" fmla="*/ 32775 w 36721"/>
                          <a:gd name="connsiteY120" fmla="*/ 39054 h 83072"/>
                          <a:gd name="connsiteX121" fmla="*/ 32894 w 36721"/>
                          <a:gd name="connsiteY121" fmla="*/ 38755 h 83072"/>
                          <a:gd name="connsiteX122" fmla="*/ 33014 w 36721"/>
                          <a:gd name="connsiteY122" fmla="*/ 38456 h 83072"/>
                          <a:gd name="connsiteX123" fmla="*/ 33074 w 36721"/>
                          <a:gd name="connsiteY123" fmla="*/ 38157 h 83072"/>
                          <a:gd name="connsiteX124" fmla="*/ 33074 w 36721"/>
                          <a:gd name="connsiteY124" fmla="*/ 38037 h 83072"/>
                          <a:gd name="connsiteX125" fmla="*/ 33074 w 36721"/>
                          <a:gd name="connsiteY125" fmla="*/ 37918 h 83072"/>
                          <a:gd name="connsiteX126" fmla="*/ 33074 w 36721"/>
                          <a:gd name="connsiteY126" fmla="*/ 37798 h 83072"/>
                          <a:gd name="connsiteX127" fmla="*/ 33074 w 36721"/>
                          <a:gd name="connsiteY127" fmla="*/ 37678 h 83072"/>
                          <a:gd name="connsiteX128" fmla="*/ 32894 w 36721"/>
                          <a:gd name="connsiteY128" fmla="*/ 37260 h 83072"/>
                          <a:gd name="connsiteX129" fmla="*/ 32715 w 36721"/>
                          <a:gd name="connsiteY129" fmla="*/ 36841 h 83072"/>
                          <a:gd name="connsiteX130" fmla="*/ 32535 w 36721"/>
                          <a:gd name="connsiteY130" fmla="*/ 36423 h 83072"/>
                          <a:gd name="connsiteX131" fmla="*/ 32296 w 36721"/>
                          <a:gd name="connsiteY131" fmla="*/ 36004 h 83072"/>
                          <a:gd name="connsiteX132" fmla="*/ 32236 w 36721"/>
                          <a:gd name="connsiteY132" fmla="*/ 36363 h 83072"/>
                          <a:gd name="connsiteX133" fmla="*/ 32176 w 36721"/>
                          <a:gd name="connsiteY133" fmla="*/ 36722 h 83072"/>
                          <a:gd name="connsiteX134" fmla="*/ 32116 w 36721"/>
                          <a:gd name="connsiteY134" fmla="*/ 37081 h 83072"/>
                          <a:gd name="connsiteX135" fmla="*/ 32057 w 36721"/>
                          <a:gd name="connsiteY135" fmla="*/ 37439 h 83072"/>
                          <a:gd name="connsiteX136" fmla="*/ 31997 w 36721"/>
                          <a:gd name="connsiteY136" fmla="*/ 37738 h 83072"/>
                          <a:gd name="connsiteX137" fmla="*/ 31937 w 36721"/>
                          <a:gd name="connsiteY137" fmla="*/ 38037 h 83072"/>
                          <a:gd name="connsiteX138" fmla="*/ 31877 w 36721"/>
                          <a:gd name="connsiteY138" fmla="*/ 38337 h 83072"/>
                          <a:gd name="connsiteX139" fmla="*/ 31817 w 36721"/>
                          <a:gd name="connsiteY139" fmla="*/ 38636 h 83072"/>
                          <a:gd name="connsiteX140" fmla="*/ 31997 w 36721"/>
                          <a:gd name="connsiteY140" fmla="*/ 39054 h 83072"/>
                          <a:gd name="connsiteX141" fmla="*/ 32176 w 36721"/>
                          <a:gd name="connsiteY141" fmla="*/ 39473 h 83072"/>
                          <a:gd name="connsiteX142" fmla="*/ 32356 w 36721"/>
                          <a:gd name="connsiteY142" fmla="*/ 39891 h 83072"/>
                          <a:gd name="connsiteX143" fmla="*/ 32416 w 36721"/>
                          <a:gd name="connsiteY143" fmla="*/ 40071 h 83072"/>
                          <a:gd name="connsiteX144" fmla="*/ 33492 w 36721"/>
                          <a:gd name="connsiteY144" fmla="*/ 44497 h 83072"/>
                          <a:gd name="connsiteX145" fmla="*/ 33552 w 36721"/>
                          <a:gd name="connsiteY145" fmla="*/ 44377 h 83072"/>
                          <a:gd name="connsiteX146" fmla="*/ 33612 w 36721"/>
                          <a:gd name="connsiteY146" fmla="*/ 44257 h 83072"/>
                          <a:gd name="connsiteX147" fmla="*/ 33671 w 36721"/>
                          <a:gd name="connsiteY147" fmla="*/ 44138 h 83072"/>
                          <a:gd name="connsiteX148" fmla="*/ 33731 w 36721"/>
                          <a:gd name="connsiteY148" fmla="*/ 44018 h 83072"/>
                          <a:gd name="connsiteX149" fmla="*/ 33970 w 36721"/>
                          <a:gd name="connsiteY149" fmla="*/ 43480 h 83072"/>
                          <a:gd name="connsiteX150" fmla="*/ 34210 w 36721"/>
                          <a:gd name="connsiteY150" fmla="*/ 42942 h 83072"/>
                          <a:gd name="connsiteX151" fmla="*/ 34449 w 36721"/>
                          <a:gd name="connsiteY151" fmla="*/ 42403 h 83072"/>
                          <a:gd name="connsiteX152" fmla="*/ 34688 w 36721"/>
                          <a:gd name="connsiteY152" fmla="*/ 41865 h 83072"/>
                          <a:gd name="connsiteX153" fmla="*/ 34569 w 36721"/>
                          <a:gd name="connsiteY153" fmla="*/ 41386 h 83072"/>
                          <a:gd name="connsiteX154" fmla="*/ 34449 w 36721"/>
                          <a:gd name="connsiteY154" fmla="*/ 40908 h 83072"/>
                          <a:gd name="connsiteX155" fmla="*/ 34329 w 36721"/>
                          <a:gd name="connsiteY155" fmla="*/ 40430 h 83072"/>
                          <a:gd name="connsiteX156" fmla="*/ 34150 w 36721"/>
                          <a:gd name="connsiteY156" fmla="*/ 39951 h 83072"/>
                          <a:gd name="connsiteX157" fmla="*/ 34150 w 36721"/>
                          <a:gd name="connsiteY157" fmla="*/ 40011 h 83072"/>
                          <a:gd name="connsiteX158" fmla="*/ 34150 w 36721"/>
                          <a:gd name="connsiteY158" fmla="*/ 40071 h 83072"/>
                          <a:gd name="connsiteX159" fmla="*/ 34150 w 36721"/>
                          <a:gd name="connsiteY159" fmla="*/ 40131 h 83072"/>
                          <a:gd name="connsiteX160" fmla="*/ 34150 w 36721"/>
                          <a:gd name="connsiteY160" fmla="*/ 40191 h 83072"/>
                          <a:gd name="connsiteX161" fmla="*/ 33970 w 36721"/>
                          <a:gd name="connsiteY161" fmla="*/ 40729 h 83072"/>
                          <a:gd name="connsiteX162" fmla="*/ 33731 w 36721"/>
                          <a:gd name="connsiteY162" fmla="*/ 41267 h 83072"/>
                          <a:gd name="connsiteX163" fmla="*/ 33492 w 36721"/>
                          <a:gd name="connsiteY163" fmla="*/ 41805 h 83072"/>
                          <a:gd name="connsiteX164" fmla="*/ 33253 w 36721"/>
                          <a:gd name="connsiteY164" fmla="*/ 42344 h 83072"/>
                          <a:gd name="connsiteX165" fmla="*/ 33373 w 36721"/>
                          <a:gd name="connsiteY165" fmla="*/ 42882 h 83072"/>
                          <a:gd name="connsiteX166" fmla="*/ 33492 w 36721"/>
                          <a:gd name="connsiteY166" fmla="*/ 43420 h 83072"/>
                          <a:gd name="connsiteX167" fmla="*/ 33552 w 36721"/>
                          <a:gd name="connsiteY167" fmla="*/ 43959 h 83072"/>
                          <a:gd name="connsiteX168" fmla="*/ 33492 w 36721"/>
                          <a:gd name="connsiteY168" fmla="*/ 44497 h 83072"/>
                          <a:gd name="connsiteX169" fmla="*/ 16088 w 36721"/>
                          <a:gd name="connsiteY169" fmla="*/ 66506 h 83072"/>
                          <a:gd name="connsiteX170" fmla="*/ 17045 w 36721"/>
                          <a:gd name="connsiteY170" fmla="*/ 67104 h 83072"/>
                          <a:gd name="connsiteX171" fmla="*/ 19019 w 36721"/>
                          <a:gd name="connsiteY171" fmla="*/ 64891 h 83072"/>
                          <a:gd name="connsiteX172" fmla="*/ 20933 w 36721"/>
                          <a:gd name="connsiteY172" fmla="*/ 62678 h 83072"/>
                          <a:gd name="connsiteX173" fmla="*/ 22846 w 36721"/>
                          <a:gd name="connsiteY173" fmla="*/ 60465 h 83072"/>
                          <a:gd name="connsiteX174" fmla="*/ 24700 w 36721"/>
                          <a:gd name="connsiteY174" fmla="*/ 58193 h 83072"/>
                          <a:gd name="connsiteX175" fmla="*/ 24880 w 36721"/>
                          <a:gd name="connsiteY175" fmla="*/ 57953 h 83072"/>
                          <a:gd name="connsiteX176" fmla="*/ 25059 w 36721"/>
                          <a:gd name="connsiteY176" fmla="*/ 57714 h 83072"/>
                          <a:gd name="connsiteX177" fmla="*/ 25239 w 36721"/>
                          <a:gd name="connsiteY177" fmla="*/ 57475 h 83072"/>
                          <a:gd name="connsiteX178" fmla="*/ 25418 w 36721"/>
                          <a:gd name="connsiteY178" fmla="*/ 57236 h 83072"/>
                          <a:gd name="connsiteX179" fmla="*/ 26435 w 36721"/>
                          <a:gd name="connsiteY179" fmla="*/ 55920 h 83072"/>
                          <a:gd name="connsiteX180" fmla="*/ 27392 w 36721"/>
                          <a:gd name="connsiteY180" fmla="*/ 54604 h 83072"/>
                          <a:gd name="connsiteX181" fmla="*/ 28349 w 36721"/>
                          <a:gd name="connsiteY181" fmla="*/ 53288 h 83072"/>
                          <a:gd name="connsiteX182" fmla="*/ 29246 w 36721"/>
                          <a:gd name="connsiteY182" fmla="*/ 51972 h 83072"/>
                          <a:gd name="connsiteX183" fmla="*/ 29425 w 36721"/>
                          <a:gd name="connsiteY183" fmla="*/ 51733 h 83072"/>
                          <a:gd name="connsiteX184" fmla="*/ 29605 w 36721"/>
                          <a:gd name="connsiteY184" fmla="*/ 51494 h 83072"/>
                          <a:gd name="connsiteX185" fmla="*/ 29784 w 36721"/>
                          <a:gd name="connsiteY185" fmla="*/ 51255 h 83072"/>
                          <a:gd name="connsiteX186" fmla="*/ 29963 w 36721"/>
                          <a:gd name="connsiteY186" fmla="*/ 51016 h 83072"/>
                          <a:gd name="connsiteX187" fmla="*/ 30203 w 36721"/>
                          <a:gd name="connsiteY187" fmla="*/ 50657 h 83072"/>
                          <a:gd name="connsiteX188" fmla="*/ 30442 w 36721"/>
                          <a:gd name="connsiteY188" fmla="*/ 50298 h 83072"/>
                          <a:gd name="connsiteX189" fmla="*/ 30681 w 36721"/>
                          <a:gd name="connsiteY189" fmla="*/ 49939 h 83072"/>
                          <a:gd name="connsiteX190" fmla="*/ 30921 w 36721"/>
                          <a:gd name="connsiteY190" fmla="*/ 49580 h 83072"/>
                          <a:gd name="connsiteX191" fmla="*/ 31100 w 36721"/>
                          <a:gd name="connsiteY191" fmla="*/ 49341 h 83072"/>
                          <a:gd name="connsiteX192" fmla="*/ 31279 w 36721"/>
                          <a:gd name="connsiteY192" fmla="*/ 49102 h 83072"/>
                          <a:gd name="connsiteX193" fmla="*/ 31459 w 36721"/>
                          <a:gd name="connsiteY193" fmla="*/ 48862 h 83072"/>
                          <a:gd name="connsiteX194" fmla="*/ 31638 w 36721"/>
                          <a:gd name="connsiteY194" fmla="*/ 48623 h 83072"/>
                          <a:gd name="connsiteX195" fmla="*/ 31877 w 36721"/>
                          <a:gd name="connsiteY195" fmla="*/ 48205 h 83072"/>
                          <a:gd name="connsiteX196" fmla="*/ 32116 w 36721"/>
                          <a:gd name="connsiteY196" fmla="*/ 47786 h 83072"/>
                          <a:gd name="connsiteX197" fmla="*/ 32356 w 36721"/>
                          <a:gd name="connsiteY197" fmla="*/ 47367 h 83072"/>
                          <a:gd name="connsiteX198" fmla="*/ 32595 w 36721"/>
                          <a:gd name="connsiteY198" fmla="*/ 46949 h 83072"/>
                          <a:gd name="connsiteX199" fmla="*/ 32595 w 36721"/>
                          <a:gd name="connsiteY199" fmla="*/ 46590 h 83072"/>
                          <a:gd name="connsiteX200" fmla="*/ 32595 w 36721"/>
                          <a:gd name="connsiteY200" fmla="*/ 46231 h 83072"/>
                          <a:gd name="connsiteX201" fmla="*/ 32595 w 36721"/>
                          <a:gd name="connsiteY201" fmla="*/ 45872 h 83072"/>
                          <a:gd name="connsiteX202" fmla="*/ 32595 w 36721"/>
                          <a:gd name="connsiteY202" fmla="*/ 45513 h 83072"/>
                          <a:gd name="connsiteX203" fmla="*/ 32595 w 36721"/>
                          <a:gd name="connsiteY203" fmla="*/ 45274 h 83072"/>
                          <a:gd name="connsiteX204" fmla="*/ 32595 w 36721"/>
                          <a:gd name="connsiteY204" fmla="*/ 45035 h 83072"/>
                          <a:gd name="connsiteX205" fmla="*/ 32595 w 36721"/>
                          <a:gd name="connsiteY205" fmla="*/ 44796 h 83072"/>
                          <a:gd name="connsiteX206" fmla="*/ 32595 w 36721"/>
                          <a:gd name="connsiteY206" fmla="*/ 44556 h 83072"/>
                          <a:gd name="connsiteX207" fmla="*/ 32595 w 36721"/>
                          <a:gd name="connsiteY207" fmla="*/ 44556 h 83072"/>
                          <a:gd name="connsiteX208" fmla="*/ 32595 w 36721"/>
                          <a:gd name="connsiteY208" fmla="*/ 44556 h 83072"/>
                          <a:gd name="connsiteX209" fmla="*/ 32595 w 36721"/>
                          <a:gd name="connsiteY209" fmla="*/ 44556 h 83072"/>
                          <a:gd name="connsiteX210" fmla="*/ 32595 w 36721"/>
                          <a:gd name="connsiteY210" fmla="*/ 44556 h 83072"/>
                          <a:gd name="connsiteX211" fmla="*/ 32176 w 36721"/>
                          <a:gd name="connsiteY211" fmla="*/ 45394 h 83072"/>
                          <a:gd name="connsiteX212" fmla="*/ 31758 w 36721"/>
                          <a:gd name="connsiteY212" fmla="*/ 46231 h 83072"/>
                          <a:gd name="connsiteX213" fmla="*/ 31339 w 36721"/>
                          <a:gd name="connsiteY213" fmla="*/ 47068 h 83072"/>
                          <a:gd name="connsiteX214" fmla="*/ 30861 w 36721"/>
                          <a:gd name="connsiteY214" fmla="*/ 47906 h 83072"/>
                          <a:gd name="connsiteX215" fmla="*/ 30681 w 36721"/>
                          <a:gd name="connsiteY215" fmla="*/ 48205 h 83072"/>
                          <a:gd name="connsiteX216" fmla="*/ 30502 w 36721"/>
                          <a:gd name="connsiteY216" fmla="*/ 48504 h 83072"/>
                          <a:gd name="connsiteX217" fmla="*/ 30322 w 36721"/>
                          <a:gd name="connsiteY217" fmla="*/ 48803 h 83072"/>
                          <a:gd name="connsiteX218" fmla="*/ 30143 w 36721"/>
                          <a:gd name="connsiteY218" fmla="*/ 49042 h 83072"/>
                          <a:gd name="connsiteX219" fmla="*/ 29904 w 36721"/>
                          <a:gd name="connsiteY219" fmla="*/ 49401 h 83072"/>
                          <a:gd name="connsiteX220" fmla="*/ 29665 w 36721"/>
                          <a:gd name="connsiteY220" fmla="*/ 49760 h 83072"/>
                          <a:gd name="connsiteX221" fmla="*/ 29425 w 36721"/>
                          <a:gd name="connsiteY221" fmla="*/ 50118 h 83072"/>
                          <a:gd name="connsiteX222" fmla="*/ 29186 w 36721"/>
                          <a:gd name="connsiteY222" fmla="*/ 50477 h 83072"/>
                          <a:gd name="connsiteX223" fmla="*/ 29007 w 36721"/>
                          <a:gd name="connsiteY223" fmla="*/ 50717 h 83072"/>
                          <a:gd name="connsiteX224" fmla="*/ 28827 w 36721"/>
                          <a:gd name="connsiteY224" fmla="*/ 50956 h 83072"/>
                          <a:gd name="connsiteX225" fmla="*/ 28648 w 36721"/>
                          <a:gd name="connsiteY225" fmla="*/ 51195 h 83072"/>
                          <a:gd name="connsiteX226" fmla="*/ 28468 w 36721"/>
                          <a:gd name="connsiteY226" fmla="*/ 51434 h 83072"/>
                          <a:gd name="connsiteX227" fmla="*/ 27571 w 36721"/>
                          <a:gd name="connsiteY227" fmla="*/ 52750 h 83072"/>
                          <a:gd name="connsiteX228" fmla="*/ 26614 w 36721"/>
                          <a:gd name="connsiteY228" fmla="*/ 54066 h 83072"/>
                          <a:gd name="connsiteX229" fmla="*/ 25658 w 36721"/>
                          <a:gd name="connsiteY229" fmla="*/ 55382 h 83072"/>
                          <a:gd name="connsiteX230" fmla="*/ 24641 w 36721"/>
                          <a:gd name="connsiteY230" fmla="*/ 56697 h 83072"/>
                          <a:gd name="connsiteX231" fmla="*/ 24461 w 36721"/>
                          <a:gd name="connsiteY231" fmla="*/ 56937 h 83072"/>
                          <a:gd name="connsiteX232" fmla="*/ 24282 w 36721"/>
                          <a:gd name="connsiteY232" fmla="*/ 57176 h 83072"/>
                          <a:gd name="connsiteX233" fmla="*/ 24102 w 36721"/>
                          <a:gd name="connsiteY233" fmla="*/ 57415 h 83072"/>
                          <a:gd name="connsiteX234" fmla="*/ 23923 w 36721"/>
                          <a:gd name="connsiteY234" fmla="*/ 57654 h 83072"/>
                          <a:gd name="connsiteX235" fmla="*/ 22069 w 36721"/>
                          <a:gd name="connsiteY235" fmla="*/ 59927 h 83072"/>
                          <a:gd name="connsiteX236" fmla="*/ 20155 w 36721"/>
                          <a:gd name="connsiteY236" fmla="*/ 62140 h 83072"/>
                          <a:gd name="connsiteX237" fmla="*/ 18241 w 36721"/>
                          <a:gd name="connsiteY237" fmla="*/ 64353 h 83072"/>
                          <a:gd name="connsiteX238" fmla="*/ 16088 w 36721"/>
                          <a:gd name="connsiteY238" fmla="*/ 66506 h 83072"/>
                          <a:gd name="connsiteX239" fmla="*/ 13995 w 36721"/>
                          <a:gd name="connsiteY239" fmla="*/ 65070 h 83072"/>
                          <a:gd name="connsiteX240" fmla="*/ 14952 w 36721"/>
                          <a:gd name="connsiteY240" fmla="*/ 65669 h 83072"/>
                          <a:gd name="connsiteX241" fmla="*/ 16926 w 36721"/>
                          <a:gd name="connsiteY241" fmla="*/ 63455 h 83072"/>
                          <a:gd name="connsiteX242" fmla="*/ 18839 w 36721"/>
                          <a:gd name="connsiteY242" fmla="*/ 61243 h 83072"/>
                          <a:gd name="connsiteX243" fmla="*/ 20753 w 36721"/>
                          <a:gd name="connsiteY243" fmla="*/ 59030 h 83072"/>
                          <a:gd name="connsiteX244" fmla="*/ 22547 w 36721"/>
                          <a:gd name="connsiteY244" fmla="*/ 56757 h 83072"/>
                          <a:gd name="connsiteX245" fmla="*/ 22727 w 36721"/>
                          <a:gd name="connsiteY245" fmla="*/ 56518 h 83072"/>
                          <a:gd name="connsiteX246" fmla="*/ 22906 w 36721"/>
                          <a:gd name="connsiteY246" fmla="*/ 56279 h 83072"/>
                          <a:gd name="connsiteX247" fmla="*/ 23086 w 36721"/>
                          <a:gd name="connsiteY247" fmla="*/ 56039 h 83072"/>
                          <a:gd name="connsiteX248" fmla="*/ 23265 w 36721"/>
                          <a:gd name="connsiteY248" fmla="*/ 55800 h 83072"/>
                          <a:gd name="connsiteX249" fmla="*/ 24282 w 36721"/>
                          <a:gd name="connsiteY249" fmla="*/ 54484 h 83072"/>
                          <a:gd name="connsiteX250" fmla="*/ 25239 w 36721"/>
                          <a:gd name="connsiteY250" fmla="*/ 53169 h 83072"/>
                          <a:gd name="connsiteX251" fmla="*/ 26196 w 36721"/>
                          <a:gd name="connsiteY251" fmla="*/ 51853 h 83072"/>
                          <a:gd name="connsiteX252" fmla="*/ 27093 w 36721"/>
                          <a:gd name="connsiteY252" fmla="*/ 50537 h 83072"/>
                          <a:gd name="connsiteX253" fmla="*/ 27272 w 36721"/>
                          <a:gd name="connsiteY253" fmla="*/ 50298 h 83072"/>
                          <a:gd name="connsiteX254" fmla="*/ 27452 w 36721"/>
                          <a:gd name="connsiteY254" fmla="*/ 50059 h 83072"/>
                          <a:gd name="connsiteX255" fmla="*/ 27631 w 36721"/>
                          <a:gd name="connsiteY255" fmla="*/ 49820 h 83072"/>
                          <a:gd name="connsiteX256" fmla="*/ 27811 w 36721"/>
                          <a:gd name="connsiteY256" fmla="*/ 49580 h 83072"/>
                          <a:gd name="connsiteX257" fmla="*/ 28050 w 36721"/>
                          <a:gd name="connsiteY257" fmla="*/ 49222 h 83072"/>
                          <a:gd name="connsiteX258" fmla="*/ 28289 w 36721"/>
                          <a:gd name="connsiteY258" fmla="*/ 48862 h 83072"/>
                          <a:gd name="connsiteX259" fmla="*/ 28528 w 36721"/>
                          <a:gd name="connsiteY259" fmla="*/ 48504 h 83072"/>
                          <a:gd name="connsiteX260" fmla="*/ 28767 w 36721"/>
                          <a:gd name="connsiteY260" fmla="*/ 48145 h 83072"/>
                          <a:gd name="connsiteX261" fmla="*/ 28947 w 36721"/>
                          <a:gd name="connsiteY261" fmla="*/ 47846 h 83072"/>
                          <a:gd name="connsiteX262" fmla="*/ 29126 w 36721"/>
                          <a:gd name="connsiteY262" fmla="*/ 47547 h 83072"/>
                          <a:gd name="connsiteX263" fmla="*/ 29306 w 36721"/>
                          <a:gd name="connsiteY263" fmla="*/ 47248 h 83072"/>
                          <a:gd name="connsiteX264" fmla="*/ 29485 w 36721"/>
                          <a:gd name="connsiteY264" fmla="*/ 46949 h 83072"/>
                          <a:gd name="connsiteX265" fmla="*/ 29963 w 36721"/>
                          <a:gd name="connsiteY265" fmla="*/ 46111 h 83072"/>
                          <a:gd name="connsiteX266" fmla="*/ 30382 w 36721"/>
                          <a:gd name="connsiteY266" fmla="*/ 45274 h 83072"/>
                          <a:gd name="connsiteX267" fmla="*/ 30801 w 36721"/>
                          <a:gd name="connsiteY267" fmla="*/ 44437 h 83072"/>
                          <a:gd name="connsiteX268" fmla="*/ 31220 w 36721"/>
                          <a:gd name="connsiteY268" fmla="*/ 43600 h 83072"/>
                          <a:gd name="connsiteX269" fmla="*/ 31339 w 36721"/>
                          <a:gd name="connsiteY269" fmla="*/ 43300 h 83072"/>
                          <a:gd name="connsiteX270" fmla="*/ 31459 w 36721"/>
                          <a:gd name="connsiteY270" fmla="*/ 43001 h 83072"/>
                          <a:gd name="connsiteX271" fmla="*/ 31578 w 36721"/>
                          <a:gd name="connsiteY271" fmla="*/ 42702 h 83072"/>
                          <a:gd name="connsiteX272" fmla="*/ 31698 w 36721"/>
                          <a:gd name="connsiteY272" fmla="*/ 42403 h 83072"/>
                          <a:gd name="connsiteX273" fmla="*/ 31758 w 36721"/>
                          <a:gd name="connsiteY273" fmla="*/ 42284 h 83072"/>
                          <a:gd name="connsiteX274" fmla="*/ 31817 w 36721"/>
                          <a:gd name="connsiteY274" fmla="*/ 42164 h 83072"/>
                          <a:gd name="connsiteX275" fmla="*/ 31877 w 36721"/>
                          <a:gd name="connsiteY275" fmla="*/ 42045 h 83072"/>
                          <a:gd name="connsiteX276" fmla="*/ 31937 w 36721"/>
                          <a:gd name="connsiteY276" fmla="*/ 41925 h 83072"/>
                          <a:gd name="connsiteX277" fmla="*/ 31817 w 36721"/>
                          <a:gd name="connsiteY277" fmla="*/ 41506 h 83072"/>
                          <a:gd name="connsiteX278" fmla="*/ 31698 w 36721"/>
                          <a:gd name="connsiteY278" fmla="*/ 41088 h 83072"/>
                          <a:gd name="connsiteX279" fmla="*/ 31578 w 36721"/>
                          <a:gd name="connsiteY279" fmla="*/ 40669 h 83072"/>
                          <a:gd name="connsiteX280" fmla="*/ 31399 w 36721"/>
                          <a:gd name="connsiteY280" fmla="*/ 40251 h 83072"/>
                          <a:gd name="connsiteX281" fmla="*/ 31220 w 36721"/>
                          <a:gd name="connsiteY281" fmla="*/ 40669 h 83072"/>
                          <a:gd name="connsiteX282" fmla="*/ 31040 w 36721"/>
                          <a:gd name="connsiteY282" fmla="*/ 41088 h 83072"/>
                          <a:gd name="connsiteX283" fmla="*/ 30861 w 36721"/>
                          <a:gd name="connsiteY283" fmla="*/ 41506 h 83072"/>
                          <a:gd name="connsiteX284" fmla="*/ 30681 w 36721"/>
                          <a:gd name="connsiteY284" fmla="*/ 41925 h 83072"/>
                          <a:gd name="connsiteX285" fmla="*/ 30561 w 36721"/>
                          <a:gd name="connsiteY285" fmla="*/ 42224 h 83072"/>
                          <a:gd name="connsiteX286" fmla="*/ 30442 w 36721"/>
                          <a:gd name="connsiteY286" fmla="*/ 42523 h 83072"/>
                          <a:gd name="connsiteX287" fmla="*/ 30322 w 36721"/>
                          <a:gd name="connsiteY287" fmla="*/ 42822 h 83072"/>
                          <a:gd name="connsiteX288" fmla="*/ 30203 w 36721"/>
                          <a:gd name="connsiteY288" fmla="*/ 43121 h 83072"/>
                          <a:gd name="connsiteX289" fmla="*/ 29784 w 36721"/>
                          <a:gd name="connsiteY289" fmla="*/ 43959 h 83072"/>
                          <a:gd name="connsiteX290" fmla="*/ 29366 w 36721"/>
                          <a:gd name="connsiteY290" fmla="*/ 44796 h 83072"/>
                          <a:gd name="connsiteX291" fmla="*/ 28947 w 36721"/>
                          <a:gd name="connsiteY291" fmla="*/ 45633 h 83072"/>
                          <a:gd name="connsiteX292" fmla="*/ 28468 w 36721"/>
                          <a:gd name="connsiteY292" fmla="*/ 46470 h 83072"/>
                          <a:gd name="connsiteX293" fmla="*/ 28289 w 36721"/>
                          <a:gd name="connsiteY293" fmla="*/ 46769 h 83072"/>
                          <a:gd name="connsiteX294" fmla="*/ 28109 w 36721"/>
                          <a:gd name="connsiteY294" fmla="*/ 47068 h 83072"/>
                          <a:gd name="connsiteX295" fmla="*/ 27930 w 36721"/>
                          <a:gd name="connsiteY295" fmla="*/ 47367 h 83072"/>
                          <a:gd name="connsiteX296" fmla="*/ 27751 w 36721"/>
                          <a:gd name="connsiteY296" fmla="*/ 47667 h 83072"/>
                          <a:gd name="connsiteX297" fmla="*/ 27512 w 36721"/>
                          <a:gd name="connsiteY297" fmla="*/ 48025 h 83072"/>
                          <a:gd name="connsiteX298" fmla="*/ 27272 w 36721"/>
                          <a:gd name="connsiteY298" fmla="*/ 48384 h 83072"/>
                          <a:gd name="connsiteX299" fmla="*/ 27033 w 36721"/>
                          <a:gd name="connsiteY299" fmla="*/ 48743 h 83072"/>
                          <a:gd name="connsiteX300" fmla="*/ 26794 w 36721"/>
                          <a:gd name="connsiteY300" fmla="*/ 49102 h 83072"/>
                          <a:gd name="connsiteX301" fmla="*/ 26614 w 36721"/>
                          <a:gd name="connsiteY301" fmla="*/ 49341 h 83072"/>
                          <a:gd name="connsiteX302" fmla="*/ 26435 w 36721"/>
                          <a:gd name="connsiteY302" fmla="*/ 49580 h 83072"/>
                          <a:gd name="connsiteX303" fmla="*/ 26255 w 36721"/>
                          <a:gd name="connsiteY303" fmla="*/ 49820 h 83072"/>
                          <a:gd name="connsiteX304" fmla="*/ 26076 w 36721"/>
                          <a:gd name="connsiteY304" fmla="*/ 50059 h 83072"/>
                          <a:gd name="connsiteX305" fmla="*/ 25179 w 36721"/>
                          <a:gd name="connsiteY305" fmla="*/ 51375 h 83072"/>
                          <a:gd name="connsiteX306" fmla="*/ 24282 w 36721"/>
                          <a:gd name="connsiteY306" fmla="*/ 52690 h 83072"/>
                          <a:gd name="connsiteX307" fmla="*/ 23325 w 36721"/>
                          <a:gd name="connsiteY307" fmla="*/ 54006 h 83072"/>
                          <a:gd name="connsiteX308" fmla="*/ 22308 w 36721"/>
                          <a:gd name="connsiteY308" fmla="*/ 55322 h 83072"/>
                          <a:gd name="connsiteX309" fmla="*/ 22129 w 36721"/>
                          <a:gd name="connsiteY309" fmla="*/ 55561 h 83072"/>
                          <a:gd name="connsiteX310" fmla="*/ 21950 w 36721"/>
                          <a:gd name="connsiteY310" fmla="*/ 55800 h 83072"/>
                          <a:gd name="connsiteX311" fmla="*/ 21770 w 36721"/>
                          <a:gd name="connsiteY311" fmla="*/ 56039 h 83072"/>
                          <a:gd name="connsiteX312" fmla="*/ 21590 w 36721"/>
                          <a:gd name="connsiteY312" fmla="*/ 56279 h 83072"/>
                          <a:gd name="connsiteX313" fmla="*/ 19796 w 36721"/>
                          <a:gd name="connsiteY313" fmla="*/ 58551 h 83072"/>
                          <a:gd name="connsiteX314" fmla="*/ 17882 w 36721"/>
                          <a:gd name="connsiteY314" fmla="*/ 60764 h 83072"/>
                          <a:gd name="connsiteX315" fmla="*/ 15969 w 36721"/>
                          <a:gd name="connsiteY315" fmla="*/ 62977 h 83072"/>
                          <a:gd name="connsiteX316" fmla="*/ 13995 w 36721"/>
                          <a:gd name="connsiteY316" fmla="*/ 65070 h 83072"/>
                          <a:gd name="connsiteX317" fmla="*/ 13756 w 36721"/>
                          <a:gd name="connsiteY317" fmla="*/ 69077 h 83072"/>
                          <a:gd name="connsiteX318" fmla="*/ 14713 w 36721"/>
                          <a:gd name="connsiteY318" fmla="*/ 69676 h 83072"/>
                          <a:gd name="connsiteX319" fmla="*/ 15072 w 36721"/>
                          <a:gd name="connsiteY319" fmla="*/ 69257 h 83072"/>
                          <a:gd name="connsiteX320" fmla="*/ 15430 w 36721"/>
                          <a:gd name="connsiteY320" fmla="*/ 68838 h 83072"/>
                          <a:gd name="connsiteX321" fmla="*/ 15789 w 36721"/>
                          <a:gd name="connsiteY321" fmla="*/ 68419 h 83072"/>
                          <a:gd name="connsiteX322" fmla="*/ 16148 w 36721"/>
                          <a:gd name="connsiteY322" fmla="*/ 68001 h 83072"/>
                          <a:gd name="connsiteX323" fmla="*/ 15191 w 36721"/>
                          <a:gd name="connsiteY323" fmla="*/ 67403 h 83072"/>
                          <a:gd name="connsiteX324" fmla="*/ 14832 w 36721"/>
                          <a:gd name="connsiteY324" fmla="*/ 67822 h 83072"/>
                          <a:gd name="connsiteX325" fmla="*/ 14474 w 36721"/>
                          <a:gd name="connsiteY325" fmla="*/ 68240 h 83072"/>
                          <a:gd name="connsiteX326" fmla="*/ 14114 w 36721"/>
                          <a:gd name="connsiteY326" fmla="*/ 68659 h 83072"/>
                          <a:gd name="connsiteX327" fmla="*/ 13756 w 36721"/>
                          <a:gd name="connsiteY327" fmla="*/ 69077 h 83072"/>
                          <a:gd name="connsiteX328" fmla="*/ 11662 w 36721"/>
                          <a:gd name="connsiteY328" fmla="*/ 67702 h 83072"/>
                          <a:gd name="connsiteX329" fmla="*/ 12619 w 36721"/>
                          <a:gd name="connsiteY329" fmla="*/ 68300 h 83072"/>
                          <a:gd name="connsiteX330" fmla="*/ 12978 w 36721"/>
                          <a:gd name="connsiteY330" fmla="*/ 67881 h 83072"/>
                          <a:gd name="connsiteX331" fmla="*/ 13337 w 36721"/>
                          <a:gd name="connsiteY331" fmla="*/ 67463 h 83072"/>
                          <a:gd name="connsiteX332" fmla="*/ 13696 w 36721"/>
                          <a:gd name="connsiteY332" fmla="*/ 67044 h 83072"/>
                          <a:gd name="connsiteX333" fmla="*/ 14055 w 36721"/>
                          <a:gd name="connsiteY333" fmla="*/ 66625 h 83072"/>
                          <a:gd name="connsiteX334" fmla="*/ 13098 w 36721"/>
                          <a:gd name="connsiteY334" fmla="*/ 66027 h 83072"/>
                          <a:gd name="connsiteX335" fmla="*/ 12739 w 36721"/>
                          <a:gd name="connsiteY335" fmla="*/ 66446 h 83072"/>
                          <a:gd name="connsiteX336" fmla="*/ 12380 w 36721"/>
                          <a:gd name="connsiteY336" fmla="*/ 66864 h 83072"/>
                          <a:gd name="connsiteX337" fmla="*/ 12021 w 36721"/>
                          <a:gd name="connsiteY337" fmla="*/ 67283 h 83072"/>
                          <a:gd name="connsiteX338" fmla="*/ 11662 w 36721"/>
                          <a:gd name="connsiteY338" fmla="*/ 67702 h 83072"/>
                          <a:gd name="connsiteX339" fmla="*/ 11662 w 36721"/>
                          <a:gd name="connsiteY339" fmla="*/ 71410 h 83072"/>
                          <a:gd name="connsiteX340" fmla="*/ 12619 w 36721"/>
                          <a:gd name="connsiteY340" fmla="*/ 72008 h 83072"/>
                          <a:gd name="connsiteX341" fmla="*/ 12859 w 36721"/>
                          <a:gd name="connsiteY341" fmla="*/ 71769 h 83072"/>
                          <a:gd name="connsiteX342" fmla="*/ 13098 w 36721"/>
                          <a:gd name="connsiteY342" fmla="*/ 71530 h 83072"/>
                          <a:gd name="connsiteX343" fmla="*/ 13337 w 36721"/>
                          <a:gd name="connsiteY343" fmla="*/ 71290 h 83072"/>
                          <a:gd name="connsiteX344" fmla="*/ 13576 w 36721"/>
                          <a:gd name="connsiteY344" fmla="*/ 71051 h 83072"/>
                          <a:gd name="connsiteX345" fmla="*/ 13636 w 36721"/>
                          <a:gd name="connsiteY345" fmla="*/ 70931 h 83072"/>
                          <a:gd name="connsiteX346" fmla="*/ 13696 w 36721"/>
                          <a:gd name="connsiteY346" fmla="*/ 70812 h 83072"/>
                          <a:gd name="connsiteX347" fmla="*/ 13756 w 36721"/>
                          <a:gd name="connsiteY347" fmla="*/ 70692 h 83072"/>
                          <a:gd name="connsiteX348" fmla="*/ 13815 w 36721"/>
                          <a:gd name="connsiteY348" fmla="*/ 70572 h 83072"/>
                          <a:gd name="connsiteX349" fmla="*/ 12859 w 36721"/>
                          <a:gd name="connsiteY349" fmla="*/ 69975 h 83072"/>
                          <a:gd name="connsiteX350" fmla="*/ 12799 w 36721"/>
                          <a:gd name="connsiteY350" fmla="*/ 70034 h 83072"/>
                          <a:gd name="connsiteX351" fmla="*/ 12739 w 36721"/>
                          <a:gd name="connsiteY351" fmla="*/ 70094 h 83072"/>
                          <a:gd name="connsiteX352" fmla="*/ 12679 w 36721"/>
                          <a:gd name="connsiteY352" fmla="*/ 70154 h 83072"/>
                          <a:gd name="connsiteX353" fmla="*/ 12619 w 36721"/>
                          <a:gd name="connsiteY353" fmla="*/ 70214 h 83072"/>
                          <a:gd name="connsiteX354" fmla="*/ 12380 w 36721"/>
                          <a:gd name="connsiteY354" fmla="*/ 70513 h 83072"/>
                          <a:gd name="connsiteX355" fmla="*/ 12141 w 36721"/>
                          <a:gd name="connsiteY355" fmla="*/ 70812 h 83072"/>
                          <a:gd name="connsiteX356" fmla="*/ 11902 w 36721"/>
                          <a:gd name="connsiteY356" fmla="*/ 71111 h 83072"/>
                          <a:gd name="connsiteX357" fmla="*/ 11662 w 36721"/>
                          <a:gd name="connsiteY357" fmla="*/ 71410 h 83072"/>
                          <a:gd name="connsiteX358" fmla="*/ 9510 w 36721"/>
                          <a:gd name="connsiteY358" fmla="*/ 70034 h 83072"/>
                          <a:gd name="connsiteX359" fmla="*/ 10466 w 36721"/>
                          <a:gd name="connsiteY359" fmla="*/ 70632 h 83072"/>
                          <a:gd name="connsiteX360" fmla="*/ 10765 w 36721"/>
                          <a:gd name="connsiteY360" fmla="*/ 70333 h 83072"/>
                          <a:gd name="connsiteX361" fmla="*/ 11065 w 36721"/>
                          <a:gd name="connsiteY361" fmla="*/ 70034 h 83072"/>
                          <a:gd name="connsiteX362" fmla="*/ 11364 w 36721"/>
                          <a:gd name="connsiteY362" fmla="*/ 69735 h 83072"/>
                          <a:gd name="connsiteX363" fmla="*/ 11662 w 36721"/>
                          <a:gd name="connsiteY363" fmla="*/ 69436 h 83072"/>
                          <a:gd name="connsiteX364" fmla="*/ 11722 w 36721"/>
                          <a:gd name="connsiteY364" fmla="*/ 69377 h 83072"/>
                          <a:gd name="connsiteX365" fmla="*/ 11782 w 36721"/>
                          <a:gd name="connsiteY365" fmla="*/ 69317 h 83072"/>
                          <a:gd name="connsiteX366" fmla="*/ 11842 w 36721"/>
                          <a:gd name="connsiteY366" fmla="*/ 69257 h 83072"/>
                          <a:gd name="connsiteX367" fmla="*/ 11902 w 36721"/>
                          <a:gd name="connsiteY367" fmla="*/ 69197 h 83072"/>
                          <a:gd name="connsiteX368" fmla="*/ 10945 w 36721"/>
                          <a:gd name="connsiteY368" fmla="*/ 68599 h 83072"/>
                          <a:gd name="connsiteX369" fmla="*/ 10885 w 36721"/>
                          <a:gd name="connsiteY369" fmla="*/ 68659 h 83072"/>
                          <a:gd name="connsiteX370" fmla="*/ 10825 w 36721"/>
                          <a:gd name="connsiteY370" fmla="*/ 68718 h 83072"/>
                          <a:gd name="connsiteX371" fmla="*/ 10765 w 36721"/>
                          <a:gd name="connsiteY371" fmla="*/ 68778 h 83072"/>
                          <a:gd name="connsiteX372" fmla="*/ 10706 w 36721"/>
                          <a:gd name="connsiteY372" fmla="*/ 68838 h 83072"/>
                          <a:gd name="connsiteX373" fmla="*/ 10406 w 36721"/>
                          <a:gd name="connsiteY373" fmla="*/ 69137 h 83072"/>
                          <a:gd name="connsiteX374" fmla="*/ 10107 w 36721"/>
                          <a:gd name="connsiteY374" fmla="*/ 69436 h 83072"/>
                          <a:gd name="connsiteX375" fmla="*/ 9808 w 36721"/>
                          <a:gd name="connsiteY375" fmla="*/ 69735 h 83072"/>
                          <a:gd name="connsiteX376" fmla="*/ 9510 w 36721"/>
                          <a:gd name="connsiteY376" fmla="*/ 70034 h 83072"/>
                          <a:gd name="connsiteX377" fmla="*/ 0 w 36721"/>
                          <a:gd name="connsiteY377" fmla="*/ 81099 h 83072"/>
                          <a:gd name="connsiteX378" fmla="*/ 3110 w 36721"/>
                          <a:gd name="connsiteY378" fmla="*/ 83072 h 83072"/>
                          <a:gd name="connsiteX379" fmla="*/ 3469 w 36721"/>
                          <a:gd name="connsiteY379" fmla="*/ 82594 h 83072"/>
                          <a:gd name="connsiteX380" fmla="*/ 4127 w 36721"/>
                          <a:gd name="connsiteY380" fmla="*/ 81756 h 83072"/>
                          <a:gd name="connsiteX381" fmla="*/ 4785 w 36721"/>
                          <a:gd name="connsiteY381" fmla="*/ 80919 h 83072"/>
                          <a:gd name="connsiteX382" fmla="*/ 5443 w 36721"/>
                          <a:gd name="connsiteY382" fmla="*/ 80082 h 83072"/>
                          <a:gd name="connsiteX383" fmla="*/ 6160 w 36721"/>
                          <a:gd name="connsiteY383" fmla="*/ 79245 h 83072"/>
                          <a:gd name="connsiteX384" fmla="*/ 6340 w 36721"/>
                          <a:gd name="connsiteY384" fmla="*/ 79005 h 83072"/>
                          <a:gd name="connsiteX385" fmla="*/ 6519 w 36721"/>
                          <a:gd name="connsiteY385" fmla="*/ 78766 h 83072"/>
                          <a:gd name="connsiteX386" fmla="*/ 6698 w 36721"/>
                          <a:gd name="connsiteY386" fmla="*/ 78527 h 83072"/>
                          <a:gd name="connsiteX387" fmla="*/ 6878 w 36721"/>
                          <a:gd name="connsiteY387" fmla="*/ 78288 h 83072"/>
                          <a:gd name="connsiteX388" fmla="*/ 8014 w 36721"/>
                          <a:gd name="connsiteY388" fmla="*/ 76972 h 83072"/>
                          <a:gd name="connsiteX389" fmla="*/ 9211 w 36721"/>
                          <a:gd name="connsiteY389" fmla="*/ 75656 h 83072"/>
                          <a:gd name="connsiteX390" fmla="*/ 10406 w 36721"/>
                          <a:gd name="connsiteY390" fmla="*/ 74280 h 83072"/>
                          <a:gd name="connsiteX391" fmla="*/ 11662 w 36721"/>
                          <a:gd name="connsiteY391" fmla="*/ 72905 h 83072"/>
                          <a:gd name="connsiteX392" fmla="*/ 10706 w 36721"/>
                          <a:gd name="connsiteY392" fmla="*/ 72307 h 83072"/>
                          <a:gd name="connsiteX393" fmla="*/ 9510 w 36721"/>
                          <a:gd name="connsiteY393" fmla="*/ 73683 h 83072"/>
                          <a:gd name="connsiteX394" fmla="*/ 8313 w 36721"/>
                          <a:gd name="connsiteY394" fmla="*/ 75058 h 83072"/>
                          <a:gd name="connsiteX395" fmla="*/ 7117 w 36721"/>
                          <a:gd name="connsiteY395" fmla="*/ 76374 h 83072"/>
                          <a:gd name="connsiteX396" fmla="*/ 5981 w 36721"/>
                          <a:gd name="connsiteY396" fmla="*/ 77690 h 83072"/>
                          <a:gd name="connsiteX397" fmla="*/ 5801 w 36721"/>
                          <a:gd name="connsiteY397" fmla="*/ 77929 h 83072"/>
                          <a:gd name="connsiteX398" fmla="*/ 5622 w 36721"/>
                          <a:gd name="connsiteY398" fmla="*/ 78168 h 83072"/>
                          <a:gd name="connsiteX399" fmla="*/ 5443 w 36721"/>
                          <a:gd name="connsiteY399" fmla="*/ 78407 h 83072"/>
                          <a:gd name="connsiteX400" fmla="*/ 5263 w 36721"/>
                          <a:gd name="connsiteY400" fmla="*/ 78647 h 83072"/>
                          <a:gd name="connsiteX401" fmla="*/ 4665 w 36721"/>
                          <a:gd name="connsiteY401" fmla="*/ 79364 h 83072"/>
                          <a:gd name="connsiteX402" fmla="*/ 4067 w 36721"/>
                          <a:gd name="connsiteY402" fmla="*/ 80082 h 83072"/>
                          <a:gd name="connsiteX403" fmla="*/ 3529 w 36721"/>
                          <a:gd name="connsiteY403" fmla="*/ 80800 h 83072"/>
                          <a:gd name="connsiteX404" fmla="*/ 2990 w 36721"/>
                          <a:gd name="connsiteY404" fmla="*/ 81517 h 83072"/>
                          <a:gd name="connsiteX405" fmla="*/ 1794 w 36721"/>
                          <a:gd name="connsiteY405" fmla="*/ 80740 h 83072"/>
                          <a:gd name="connsiteX406" fmla="*/ 2333 w 36721"/>
                          <a:gd name="connsiteY406" fmla="*/ 80022 h 83072"/>
                          <a:gd name="connsiteX407" fmla="*/ 2871 w 36721"/>
                          <a:gd name="connsiteY407" fmla="*/ 79304 h 83072"/>
                          <a:gd name="connsiteX408" fmla="*/ 3469 w 36721"/>
                          <a:gd name="connsiteY408" fmla="*/ 78587 h 83072"/>
                          <a:gd name="connsiteX409" fmla="*/ 4067 w 36721"/>
                          <a:gd name="connsiteY409" fmla="*/ 77869 h 83072"/>
                          <a:gd name="connsiteX410" fmla="*/ 4246 w 36721"/>
                          <a:gd name="connsiteY410" fmla="*/ 77630 h 83072"/>
                          <a:gd name="connsiteX411" fmla="*/ 4426 w 36721"/>
                          <a:gd name="connsiteY411" fmla="*/ 77391 h 83072"/>
                          <a:gd name="connsiteX412" fmla="*/ 4605 w 36721"/>
                          <a:gd name="connsiteY412" fmla="*/ 77151 h 83072"/>
                          <a:gd name="connsiteX413" fmla="*/ 4785 w 36721"/>
                          <a:gd name="connsiteY413" fmla="*/ 76912 h 83072"/>
                          <a:gd name="connsiteX414" fmla="*/ 5921 w 36721"/>
                          <a:gd name="connsiteY414" fmla="*/ 75596 h 83072"/>
                          <a:gd name="connsiteX415" fmla="*/ 7117 w 36721"/>
                          <a:gd name="connsiteY415" fmla="*/ 74280 h 83072"/>
                          <a:gd name="connsiteX416" fmla="*/ 8313 w 36721"/>
                          <a:gd name="connsiteY416" fmla="*/ 72905 h 83072"/>
                          <a:gd name="connsiteX417" fmla="*/ 9569 w 36721"/>
                          <a:gd name="connsiteY417" fmla="*/ 71530 h 83072"/>
                          <a:gd name="connsiteX418" fmla="*/ 8612 w 36721"/>
                          <a:gd name="connsiteY418" fmla="*/ 70931 h 83072"/>
                          <a:gd name="connsiteX419" fmla="*/ 7357 w 36721"/>
                          <a:gd name="connsiteY419" fmla="*/ 72307 h 83072"/>
                          <a:gd name="connsiteX420" fmla="*/ 6160 w 36721"/>
                          <a:gd name="connsiteY420" fmla="*/ 73683 h 83072"/>
                          <a:gd name="connsiteX421" fmla="*/ 4964 w 36721"/>
                          <a:gd name="connsiteY421" fmla="*/ 74998 h 83072"/>
                          <a:gd name="connsiteX422" fmla="*/ 3828 w 36721"/>
                          <a:gd name="connsiteY422" fmla="*/ 76314 h 83072"/>
                          <a:gd name="connsiteX423" fmla="*/ 3648 w 36721"/>
                          <a:gd name="connsiteY423" fmla="*/ 76553 h 83072"/>
                          <a:gd name="connsiteX424" fmla="*/ 3469 w 36721"/>
                          <a:gd name="connsiteY424" fmla="*/ 76793 h 83072"/>
                          <a:gd name="connsiteX425" fmla="*/ 3289 w 36721"/>
                          <a:gd name="connsiteY425" fmla="*/ 77032 h 83072"/>
                          <a:gd name="connsiteX426" fmla="*/ 3110 w 36721"/>
                          <a:gd name="connsiteY426" fmla="*/ 77271 h 83072"/>
                          <a:gd name="connsiteX427" fmla="*/ 2392 w 36721"/>
                          <a:gd name="connsiteY427" fmla="*/ 78108 h 83072"/>
                          <a:gd name="connsiteX428" fmla="*/ 1735 w 36721"/>
                          <a:gd name="connsiteY428" fmla="*/ 78946 h 83072"/>
                          <a:gd name="connsiteX429" fmla="*/ 1076 w 36721"/>
                          <a:gd name="connsiteY429" fmla="*/ 79783 h 83072"/>
                          <a:gd name="connsiteX430" fmla="*/ 419 w 36721"/>
                          <a:gd name="connsiteY430" fmla="*/ 80620 h 83072"/>
                          <a:gd name="connsiteX431" fmla="*/ 0 w 36721"/>
                          <a:gd name="connsiteY431" fmla="*/ 81099 h 8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Lst>
                        <a:rect l="l" t="t" r="r" b="b"/>
                        <a:pathLst>
                          <a:path w="36721" h="83072">
                            <a:moveTo>
                              <a:pt x="16088" y="5443"/>
                            </a:moveTo>
                            <a:cubicBezTo>
                              <a:pt x="16148" y="5383"/>
                              <a:pt x="16208" y="5263"/>
                              <a:pt x="16268" y="5203"/>
                            </a:cubicBezTo>
                            <a:cubicBezTo>
                              <a:pt x="16328" y="5143"/>
                              <a:pt x="16387" y="5024"/>
                              <a:pt x="16447" y="4964"/>
                            </a:cubicBezTo>
                            <a:cubicBezTo>
                              <a:pt x="16507" y="4904"/>
                              <a:pt x="16567" y="4785"/>
                              <a:pt x="16627" y="4725"/>
                            </a:cubicBezTo>
                            <a:cubicBezTo>
                              <a:pt x="16686" y="4665"/>
                              <a:pt x="16746" y="4545"/>
                              <a:pt x="16806" y="4486"/>
                            </a:cubicBezTo>
                            <a:cubicBezTo>
                              <a:pt x="16627" y="4366"/>
                              <a:pt x="16447" y="4246"/>
                              <a:pt x="16268" y="4127"/>
                            </a:cubicBezTo>
                            <a:cubicBezTo>
                              <a:pt x="16088" y="4007"/>
                              <a:pt x="15909" y="3888"/>
                              <a:pt x="15729" y="3768"/>
                            </a:cubicBezTo>
                            <a:cubicBezTo>
                              <a:pt x="15550" y="3648"/>
                              <a:pt x="15371" y="3529"/>
                              <a:pt x="15191" y="3409"/>
                            </a:cubicBezTo>
                            <a:cubicBezTo>
                              <a:pt x="15012" y="3289"/>
                              <a:pt x="14832" y="3170"/>
                              <a:pt x="14653" y="3050"/>
                            </a:cubicBezTo>
                            <a:lnTo>
                              <a:pt x="15729" y="1735"/>
                            </a:lnTo>
                            <a:cubicBezTo>
                              <a:pt x="15909" y="1854"/>
                              <a:pt x="16088" y="1974"/>
                              <a:pt x="16208" y="2093"/>
                            </a:cubicBezTo>
                            <a:cubicBezTo>
                              <a:pt x="16387" y="2213"/>
                              <a:pt x="16567" y="2333"/>
                              <a:pt x="16686" y="2452"/>
                            </a:cubicBezTo>
                            <a:cubicBezTo>
                              <a:pt x="16866" y="2572"/>
                              <a:pt x="16985" y="2691"/>
                              <a:pt x="17165" y="2811"/>
                            </a:cubicBezTo>
                            <a:cubicBezTo>
                              <a:pt x="17344" y="2930"/>
                              <a:pt x="17464" y="3050"/>
                              <a:pt x="17643" y="3170"/>
                            </a:cubicBezTo>
                            <a:cubicBezTo>
                              <a:pt x="17703" y="3050"/>
                              <a:pt x="17763" y="2990"/>
                              <a:pt x="17823" y="2871"/>
                            </a:cubicBezTo>
                            <a:cubicBezTo>
                              <a:pt x="17882" y="2751"/>
                              <a:pt x="17942" y="2691"/>
                              <a:pt x="18002" y="2572"/>
                            </a:cubicBezTo>
                            <a:cubicBezTo>
                              <a:pt x="18062" y="2452"/>
                              <a:pt x="18122" y="2392"/>
                              <a:pt x="18182" y="2273"/>
                            </a:cubicBezTo>
                            <a:cubicBezTo>
                              <a:pt x="18241" y="2153"/>
                              <a:pt x="18301" y="2093"/>
                              <a:pt x="18301" y="1974"/>
                            </a:cubicBezTo>
                            <a:cubicBezTo>
                              <a:pt x="18122" y="1854"/>
                              <a:pt x="17942" y="1735"/>
                              <a:pt x="17763" y="1555"/>
                            </a:cubicBezTo>
                            <a:cubicBezTo>
                              <a:pt x="17583" y="1435"/>
                              <a:pt x="17404" y="1316"/>
                              <a:pt x="17225" y="1136"/>
                            </a:cubicBezTo>
                            <a:cubicBezTo>
                              <a:pt x="17045" y="957"/>
                              <a:pt x="16866" y="897"/>
                              <a:pt x="16686" y="718"/>
                            </a:cubicBezTo>
                            <a:cubicBezTo>
                              <a:pt x="16507" y="598"/>
                              <a:pt x="16328" y="479"/>
                              <a:pt x="16088" y="299"/>
                            </a:cubicBezTo>
                            <a:lnTo>
                              <a:pt x="15610" y="0"/>
                            </a:lnTo>
                            <a:lnTo>
                              <a:pt x="12978" y="3289"/>
                            </a:lnTo>
                            <a:lnTo>
                              <a:pt x="13457" y="3589"/>
                            </a:lnTo>
                            <a:cubicBezTo>
                              <a:pt x="13696" y="3768"/>
                              <a:pt x="13935" y="3888"/>
                              <a:pt x="14114" y="4067"/>
                            </a:cubicBezTo>
                            <a:cubicBezTo>
                              <a:pt x="14354" y="4246"/>
                              <a:pt x="14533" y="4366"/>
                              <a:pt x="14773" y="4545"/>
                            </a:cubicBezTo>
                            <a:cubicBezTo>
                              <a:pt x="15012" y="4725"/>
                              <a:pt x="15191" y="4844"/>
                              <a:pt x="15430" y="5024"/>
                            </a:cubicBezTo>
                            <a:cubicBezTo>
                              <a:pt x="15669" y="5143"/>
                              <a:pt x="15849" y="5263"/>
                              <a:pt x="16088" y="5443"/>
                            </a:cubicBezTo>
                            <a:moveTo>
                              <a:pt x="33612" y="35705"/>
                            </a:moveTo>
                            <a:cubicBezTo>
                              <a:pt x="33671" y="35227"/>
                              <a:pt x="33791" y="34748"/>
                              <a:pt x="33851" y="34270"/>
                            </a:cubicBezTo>
                            <a:cubicBezTo>
                              <a:pt x="33911" y="33791"/>
                              <a:pt x="33970" y="33313"/>
                              <a:pt x="33970" y="32834"/>
                            </a:cubicBezTo>
                            <a:cubicBezTo>
                              <a:pt x="34030" y="32356"/>
                              <a:pt x="34030" y="31877"/>
                              <a:pt x="34030" y="31399"/>
                            </a:cubicBezTo>
                            <a:cubicBezTo>
                              <a:pt x="34030" y="30920"/>
                              <a:pt x="34030" y="30442"/>
                              <a:pt x="34030" y="29963"/>
                            </a:cubicBezTo>
                            <a:cubicBezTo>
                              <a:pt x="34030" y="29963"/>
                              <a:pt x="34030" y="29904"/>
                              <a:pt x="34030" y="29904"/>
                            </a:cubicBezTo>
                            <a:cubicBezTo>
                              <a:pt x="34030" y="29904"/>
                              <a:pt x="34030" y="29844"/>
                              <a:pt x="34030" y="29844"/>
                            </a:cubicBezTo>
                            <a:cubicBezTo>
                              <a:pt x="34030" y="29844"/>
                              <a:pt x="34030" y="29784"/>
                              <a:pt x="34030" y="29784"/>
                            </a:cubicBezTo>
                            <a:cubicBezTo>
                              <a:pt x="34030" y="29784"/>
                              <a:pt x="34030" y="29724"/>
                              <a:pt x="34030" y="29724"/>
                            </a:cubicBezTo>
                            <a:cubicBezTo>
                              <a:pt x="34030" y="29605"/>
                              <a:pt x="34030" y="29425"/>
                              <a:pt x="34030" y="29306"/>
                            </a:cubicBezTo>
                            <a:cubicBezTo>
                              <a:pt x="34030" y="29186"/>
                              <a:pt x="34030" y="29007"/>
                              <a:pt x="33970" y="28887"/>
                            </a:cubicBezTo>
                            <a:cubicBezTo>
                              <a:pt x="33911" y="28767"/>
                              <a:pt x="33970" y="28588"/>
                              <a:pt x="33911" y="28468"/>
                            </a:cubicBezTo>
                            <a:cubicBezTo>
                              <a:pt x="33911" y="28349"/>
                              <a:pt x="33851" y="28169"/>
                              <a:pt x="33851" y="28050"/>
                            </a:cubicBezTo>
                            <a:cubicBezTo>
                              <a:pt x="33612" y="26076"/>
                              <a:pt x="33074" y="24102"/>
                              <a:pt x="32296" y="22129"/>
                            </a:cubicBezTo>
                            <a:cubicBezTo>
                              <a:pt x="31519" y="20155"/>
                              <a:pt x="30442" y="18241"/>
                              <a:pt x="29126" y="16328"/>
                            </a:cubicBezTo>
                            <a:cubicBezTo>
                              <a:pt x="27811" y="14414"/>
                              <a:pt x="26196" y="12500"/>
                              <a:pt x="24282" y="10646"/>
                            </a:cubicBezTo>
                            <a:cubicBezTo>
                              <a:pt x="22368" y="8732"/>
                              <a:pt x="20215" y="6878"/>
                              <a:pt x="17763" y="5024"/>
                            </a:cubicBezTo>
                            <a:cubicBezTo>
                              <a:pt x="17703" y="5084"/>
                              <a:pt x="17643" y="5203"/>
                              <a:pt x="17583" y="5263"/>
                            </a:cubicBezTo>
                            <a:cubicBezTo>
                              <a:pt x="17523" y="5323"/>
                              <a:pt x="17464" y="5443"/>
                              <a:pt x="17404" y="5502"/>
                            </a:cubicBezTo>
                            <a:cubicBezTo>
                              <a:pt x="17344" y="5562"/>
                              <a:pt x="17284" y="5682"/>
                              <a:pt x="17225" y="5742"/>
                            </a:cubicBezTo>
                            <a:cubicBezTo>
                              <a:pt x="17165" y="5801"/>
                              <a:pt x="17105" y="5921"/>
                              <a:pt x="17045" y="5981"/>
                            </a:cubicBezTo>
                            <a:cubicBezTo>
                              <a:pt x="19318" y="7715"/>
                              <a:pt x="21291" y="9450"/>
                              <a:pt x="23086" y="11184"/>
                            </a:cubicBezTo>
                            <a:cubicBezTo>
                              <a:pt x="24820" y="12919"/>
                              <a:pt x="26375" y="14653"/>
                              <a:pt x="27631" y="16387"/>
                            </a:cubicBezTo>
                            <a:cubicBezTo>
                              <a:pt x="28887" y="18122"/>
                              <a:pt x="29963" y="19916"/>
                              <a:pt x="30741" y="21650"/>
                            </a:cubicBezTo>
                            <a:cubicBezTo>
                              <a:pt x="31578" y="23444"/>
                              <a:pt x="32116" y="25179"/>
                              <a:pt x="32475" y="27033"/>
                            </a:cubicBezTo>
                            <a:cubicBezTo>
                              <a:pt x="32475" y="27153"/>
                              <a:pt x="32535" y="27332"/>
                              <a:pt x="32535" y="27452"/>
                            </a:cubicBezTo>
                            <a:cubicBezTo>
                              <a:pt x="32535" y="27571"/>
                              <a:pt x="32595" y="27751"/>
                              <a:pt x="32595" y="27870"/>
                            </a:cubicBezTo>
                            <a:cubicBezTo>
                              <a:pt x="32595" y="27990"/>
                              <a:pt x="32655" y="28169"/>
                              <a:pt x="32655" y="28289"/>
                            </a:cubicBezTo>
                            <a:cubicBezTo>
                              <a:pt x="32655" y="28408"/>
                              <a:pt x="32715" y="28588"/>
                              <a:pt x="32715" y="28707"/>
                            </a:cubicBezTo>
                            <a:cubicBezTo>
                              <a:pt x="32715" y="28827"/>
                              <a:pt x="32715" y="28947"/>
                              <a:pt x="32775" y="29007"/>
                            </a:cubicBezTo>
                            <a:cubicBezTo>
                              <a:pt x="32775" y="29126"/>
                              <a:pt x="32775" y="29246"/>
                              <a:pt x="32834" y="29306"/>
                            </a:cubicBezTo>
                            <a:cubicBezTo>
                              <a:pt x="32834" y="29425"/>
                              <a:pt x="32834" y="29545"/>
                              <a:pt x="32834" y="29665"/>
                            </a:cubicBezTo>
                            <a:cubicBezTo>
                              <a:pt x="32834" y="29784"/>
                              <a:pt x="32834" y="29904"/>
                              <a:pt x="32834" y="30023"/>
                            </a:cubicBezTo>
                            <a:cubicBezTo>
                              <a:pt x="32834" y="30322"/>
                              <a:pt x="32834" y="30681"/>
                              <a:pt x="32834" y="30980"/>
                            </a:cubicBezTo>
                            <a:cubicBezTo>
                              <a:pt x="32834" y="31279"/>
                              <a:pt x="32834" y="31638"/>
                              <a:pt x="32834" y="31937"/>
                            </a:cubicBezTo>
                            <a:cubicBezTo>
                              <a:pt x="32834" y="32236"/>
                              <a:pt x="32775" y="32595"/>
                              <a:pt x="32775" y="32894"/>
                            </a:cubicBezTo>
                            <a:cubicBezTo>
                              <a:pt x="32775" y="33193"/>
                              <a:pt x="32715" y="33552"/>
                              <a:pt x="32655" y="33851"/>
                            </a:cubicBezTo>
                            <a:cubicBezTo>
                              <a:pt x="32715" y="33970"/>
                              <a:pt x="32834" y="34150"/>
                              <a:pt x="32894" y="34270"/>
                            </a:cubicBezTo>
                            <a:cubicBezTo>
                              <a:pt x="32954" y="34389"/>
                              <a:pt x="33074" y="34569"/>
                              <a:pt x="33133" y="34688"/>
                            </a:cubicBezTo>
                            <a:cubicBezTo>
                              <a:pt x="33193" y="34808"/>
                              <a:pt x="33313" y="34987"/>
                              <a:pt x="33373" y="35107"/>
                            </a:cubicBezTo>
                            <a:cubicBezTo>
                              <a:pt x="33492" y="35466"/>
                              <a:pt x="33552" y="35585"/>
                              <a:pt x="33612" y="35705"/>
                            </a:cubicBezTo>
                            <a:moveTo>
                              <a:pt x="35346" y="39832"/>
                            </a:moveTo>
                            <a:cubicBezTo>
                              <a:pt x="35346" y="39772"/>
                              <a:pt x="35346" y="39772"/>
                              <a:pt x="35346" y="39832"/>
                            </a:cubicBezTo>
                            <a:cubicBezTo>
                              <a:pt x="35346" y="39772"/>
                              <a:pt x="35346" y="39772"/>
                              <a:pt x="35346" y="39772"/>
                            </a:cubicBezTo>
                            <a:cubicBezTo>
                              <a:pt x="35346" y="39772"/>
                              <a:pt x="35346" y="39712"/>
                              <a:pt x="35346" y="39712"/>
                            </a:cubicBezTo>
                            <a:cubicBezTo>
                              <a:pt x="35346" y="39712"/>
                              <a:pt x="35346" y="39652"/>
                              <a:pt x="35346" y="39652"/>
                            </a:cubicBezTo>
                            <a:cubicBezTo>
                              <a:pt x="35526" y="38994"/>
                              <a:pt x="35765" y="38337"/>
                              <a:pt x="35884" y="37678"/>
                            </a:cubicBezTo>
                            <a:cubicBezTo>
                              <a:pt x="36064" y="37021"/>
                              <a:pt x="36183" y="36363"/>
                              <a:pt x="36303" y="35705"/>
                            </a:cubicBezTo>
                            <a:cubicBezTo>
                              <a:pt x="36423" y="35047"/>
                              <a:pt x="36542" y="34389"/>
                              <a:pt x="36602" y="33731"/>
                            </a:cubicBezTo>
                            <a:cubicBezTo>
                              <a:pt x="36662" y="33074"/>
                              <a:pt x="36722" y="32415"/>
                              <a:pt x="36722" y="31698"/>
                            </a:cubicBezTo>
                            <a:cubicBezTo>
                              <a:pt x="36722" y="31578"/>
                              <a:pt x="36722" y="31459"/>
                              <a:pt x="36722" y="31339"/>
                            </a:cubicBezTo>
                            <a:cubicBezTo>
                              <a:pt x="36722" y="31220"/>
                              <a:pt x="36722" y="31100"/>
                              <a:pt x="36722" y="30980"/>
                            </a:cubicBezTo>
                            <a:cubicBezTo>
                              <a:pt x="36722" y="30861"/>
                              <a:pt x="36722" y="30741"/>
                              <a:pt x="36722" y="30621"/>
                            </a:cubicBezTo>
                            <a:cubicBezTo>
                              <a:pt x="36722" y="30502"/>
                              <a:pt x="36722" y="30382"/>
                              <a:pt x="36722" y="30262"/>
                            </a:cubicBezTo>
                            <a:cubicBezTo>
                              <a:pt x="36722" y="30203"/>
                              <a:pt x="36722" y="30143"/>
                              <a:pt x="36722" y="30083"/>
                            </a:cubicBezTo>
                            <a:cubicBezTo>
                              <a:pt x="36722" y="30023"/>
                              <a:pt x="36722" y="29963"/>
                              <a:pt x="36722" y="29904"/>
                            </a:cubicBezTo>
                            <a:cubicBezTo>
                              <a:pt x="36722" y="29844"/>
                              <a:pt x="36722" y="29784"/>
                              <a:pt x="36722" y="29724"/>
                            </a:cubicBezTo>
                            <a:cubicBezTo>
                              <a:pt x="36722" y="29665"/>
                              <a:pt x="36722" y="29605"/>
                              <a:pt x="36722" y="29545"/>
                            </a:cubicBezTo>
                            <a:cubicBezTo>
                              <a:pt x="36602" y="27153"/>
                              <a:pt x="36183" y="24880"/>
                              <a:pt x="35406" y="22547"/>
                            </a:cubicBezTo>
                            <a:cubicBezTo>
                              <a:pt x="34629" y="20275"/>
                              <a:pt x="33492" y="18002"/>
                              <a:pt x="32057" y="15729"/>
                            </a:cubicBezTo>
                            <a:cubicBezTo>
                              <a:pt x="30621" y="13516"/>
                              <a:pt x="28827" y="11304"/>
                              <a:pt x="26674" y="9091"/>
                            </a:cubicBezTo>
                            <a:cubicBezTo>
                              <a:pt x="24521" y="6878"/>
                              <a:pt x="22009" y="4725"/>
                              <a:pt x="19198" y="2572"/>
                            </a:cubicBezTo>
                            <a:cubicBezTo>
                              <a:pt x="19138" y="2691"/>
                              <a:pt x="19079" y="2751"/>
                              <a:pt x="19079" y="2871"/>
                            </a:cubicBezTo>
                            <a:cubicBezTo>
                              <a:pt x="19019" y="2990"/>
                              <a:pt x="18959" y="3050"/>
                              <a:pt x="18899" y="3170"/>
                            </a:cubicBezTo>
                            <a:cubicBezTo>
                              <a:pt x="18839" y="3289"/>
                              <a:pt x="18780" y="3349"/>
                              <a:pt x="18720" y="3469"/>
                            </a:cubicBezTo>
                            <a:cubicBezTo>
                              <a:pt x="18660" y="3589"/>
                              <a:pt x="18600" y="3648"/>
                              <a:pt x="18540" y="3768"/>
                            </a:cubicBezTo>
                            <a:cubicBezTo>
                              <a:pt x="21291" y="5861"/>
                              <a:pt x="23624" y="7895"/>
                              <a:pt x="25717" y="9988"/>
                            </a:cubicBezTo>
                            <a:cubicBezTo>
                              <a:pt x="27751" y="12081"/>
                              <a:pt x="29485" y="14174"/>
                              <a:pt x="30861" y="16328"/>
                            </a:cubicBezTo>
                            <a:cubicBezTo>
                              <a:pt x="32236" y="18421"/>
                              <a:pt x="33313" y="20574"/>
                              <a:pt x="34090" y="22787"/>
                            </a:cubicBezTo>
                            <a:cubicBezTo>
                              <a:pt x="34868" y="24940"/>
                              <a:pt x="35286" y="27153"/>
                              <a:pt x="35466" y="29366"/>
                            </a:cubicBezTo>
                            <a:cubicBezTo>
                              <a:pt x="35466" y="29425"/>
                              <a:pt x="35466" y="29425"/>
                              <a:pt x="35466" y="29485"/>
                            </a:cubicBezTo>
                            <a:cubicBezTo>
                              <a:pt x="35466" y="29545"/>
                              <a:pt x="35466" y="29545"/>
                              <a:pt x="35466" y="29605"/>
                            </a:cubicBezTo>
                            <a:cubicBezTo>
                              <a:pt x="35466" y="29665"/>
                              <a:pt x="35466" y="29665"/>
                              <a:pt x="35466" y="29724"/>
                            </a:cubicBezTo>
                            <a:cubicBezTo>
                              <a:pt x="35466" y="29784"/>
                              <a:pt x="35466" y="29784"/>
                              <a:pt x="35466" y="29844"/>
                            </a:cubicBezTo>
                            <a:cubicBezTo>
                              <a:pt x="35466" y="29963"/>
                              <a:pt x="35466" y="30023"/>
                              <a:pt x="35466" y="30143"/>
                            </a:cubicBezTo>
                            <a:cubicBezTo>
                              <a:pt x="35466" y="30262"/>
                              <a:pt x="35466" y="30322"/>
                              <a:pt x="35466" y="30442"/>
                            </a:cubicBezTo>
                            <a:cubicBezTo>
                              <a:pt x="35466" y="30561"/>
                              <a:pt x="35466" y="30621"/>
                              <a:pt x="35466" y="30741"/>
                            </a:cubicBezTo>
                            <a:cubicBezTo>
                              <a:pt x="35466" y="30861"/>
                              <a:pt x="35466" y="30920"/>
                              <a:pt x="35466" y="31040"/>
                            </a:cubicBezTo>
                            <a:cubicBezTo>
                              <a:pt x="35466" y="31638"/>
                              <a:pt x="35466" y="32236"/>
                              <a:pt x="35406" y="32834"/>
                            </a:cubicBezTo>
                            <a:cubicBezTo>
                              <a:pt x="35346" y="33432"/>
                              <a:pt x="35286" y="34030"/>
                              <a:pt x="35227" y="34629"/>
                            </a:cubicBezTo>
                            <a:cubicBezTo>
                              <a:pt x="35167" y="35227"/>
                              <a:pt x="35047" y="35824"/>
                              <a:pt x="34928" y="36423"/>
                            </a:cubicBezTo>
                            <a:cubicBezTo>
                              <a:pt x="34808" y="37021"/>
                              <a:pt x="34688" y="37619"/>
                              <a:pt x="34509" y="38157"/>
                            </a:cubicBezTo>
                            <a:cubicBezTo>
                              <a:pt x="34569" y="38337"/>
                              <a:pt x="34629" y="38456"/>
                              <a:pt x="34688" y="38636"/>
                            </a:cubicBezTo>
                            <a:cubicBezTo>
                              <a:pt x="34748" y="38815"/>
                              <a:pt x="34808" y="38935"/>
                              <a:pt x="34868" y="39114"/>
                            </a:cubicBezTo>
                            <a:cubicBezTo>
                              <a:pt x="34928" y="39293"/>
                              <a:pt x="34987" y="39413"/>
                              <a:pt x="35047" y="39592"/>
                            </a:cubicBezTo>
                            <a:cubicBezTo>
                              <a:pt x="35227" y="39532"/>
                              <a:pt x="35286" y="39652"/>
                              <a:pt x="35346" y="39832"/>
                            </a:cubicBezTo>
                            <a:moveTo>
                              <a:pt x="32416" y="40071"/>
                            </a:moveTo>
                            <a:cubicBezTo>
                              <a:pt x="32416" y="40011"/>
                              <a:pt x="32475" y="39951"/>
                              <a:pt x="32475" y="39891"/>
                            </a:cubicBezTo>
                            <a:cubicBezTo>
                              <a:pt x="32475" y="39832"/>
                              <a:pt x="32535" y="39772"/>
                              <a:pt x="32535" y="39712"/>
                            </a:cubicBezTo>
                            <a:cubicBezTo>
                              <a:pt x="32535" y="39652"/>
                              <a:pt x="32595" y="39592"/>
                              <a:pt x="32595" y="39532"/>
                            </a:cubicBezTo>
                            <a:cubicBezTo>
                              <a:pt x="32595" y="39473"/>
                              <a:pt x="32655" y="39413"/>
                              <a:pt x="32655" y="39353"/>
                            </a:cubicBezTo>
                            <a:cubicBezTo>
                              <a:pt x="32715" y="39234"/>
                              <a:pt x="32715" y="39114"/>
                              <a:pt x="32775" y="39054"/>
                            </a:cubicBezTo>
                            <a:cubicBezTo>
                              <a:pt x="32834" y="38935"/>
                              <a:pt x="32834" y="38815"/>
                              <a:pt x="32894" y="38755"/>
                            </a:cubicBezTo>
                            <a:cubicBezTo>
                              <a:pt x="32954" y="38636"/>
                              <a:pt x="32954" y="38516"/>
                              <a:pt x="33014" y="38456"/>
                            </a:cubicBezTo>
                            <a:cubicBezTo>
                              <a:pt x="33074" y="38337"/>
                              <a:pt x="33074" y="38217"/>
                              <a:pt x="33074" y="38157"/>
                            </a:cubicBezTo>
                            <a:cubicBezTo>
                              <a:pt x="33074" y="38097"/>
                              <a:pt x="33074" y="38097"/>
                              <a:pt x="33074" y="38037"/>
                            </a:cubicBezTo>
                            <a:cubicBezTo>
                              <a:pt x="33074" y="37978"/>
                              <a:pt x="33074" y="37978"/>
                              <a:pt x="33074" y="37918"/>
                            </a:cubicBezTo>
                            <a:cubicBezTo>
                              <a:pt x="33074" y="37858"/>
                              <a:pt x="33074" y="37858"/>
                              <a:pt x="33074" y="37798"/>
                            </a:cubicBezTo>
                            <a:cubicBezTo>
                              <a:pt x="33074" y="37738"/>
                              <a:pt x="33074" y="37738"/>
                              <a:pt x="33074" y="37678"/>
                            </a:cubicBezTo>
                            <a:cubicBezTo>
                              <a:pt x="33014" y="37559"/>
                              <a:pt x="32954" y="37439"/>
                              <a:pt x="32894" y="37260"/>
                            </a:cubicBezTo>
                            <a:cubicBezTo>
                              <a:pt x="32834" y="37140"/>
                              <a:pt x="32775" y="36961"/>
                              <a:pt x="32715" y="36841"/>
                            </a:cubicBezTo>
                            <a:cubicBezTo>
                              <a:pt x="32655" y="36722"/>
                              <a:pt x="32595" y="36542"/>
                              <a:pt x="32535" y="36423"/>
                            </a:cubicBezTo>
                            <a:cubicBezTo>
                              <a:pt x="32475" y="36303"/>
                              <a:pt x="32416" y="36124"/>
                              <a:pt x="32296" y="36004"/>
                            </a:cubicBezTo>
                            <a:cubicBezTo>
                              <a:pt x="32296" y="36124"/>
                              <a:pt x="32236" y="36243"/>
                              <a:pt x="32236" y="36363"/>
                            </a:cubicBezTo>
                            <a:cubicBezTo>
                              <a:pt x="32236" y="36483"/>
                              <a:pt x="32176" y="36602"/>
                              <a:pt x="32176" y="36722"/>
                            </a:cubicBezTo>
                            <a:cubicBezTo>
                              <a:pt x="32176" y="36841"/>
                              <a:pt x="32116" y="36961"/>
                              <a:pt x="32116" y="37081"/>
                            </a:cubicBezTo>
                            <a:cubicBezTo>
                              <a:pt x="32116" y="37200"/>
                              <a:pt x="32057" y="37320"/>
                              <a:pt x="32057" y="37439"/>
                            </a:cubicBezTo>
                            <a:cubicBezTo>
                              <a:pt x="32057" y="37559"/>
                              <a:pt x="31997" y="37619"/>
                              <a:pt x="31997" y="37738"/>
                            </a:cubicBezTo>
                            <a:cubicBezTo>
                              <a:pt x="31997" y="37858"/>
                              <a:pt x="31937" y="37918"/>
                              <a:pt x="31937" y="38037"/>
                            </a:cubicBezTo>
                            <a:cubicBezTo>
                              <a:pt x="31937" y="38157"/>
                              <a:pt x="31877" y="38217"/>
                              <a:pt x="31877" y="38337"/>
                            </a:cubicBezTo>
                            <a:cubicBezTo>
                              <a:pt x="31877" y="38456"/>
                              <a:pt x="31817" y="38516"/>
                              <a:pt x="31817" y="38636"/>
                            </a:cubicBezTo>
                            <a:cubicBezTo>
                              <a:pt x="31877" y="38755"/>
                              <a:pt x="31937" y="38935"/>
                              <a:pt x="31997" y="39054"/>
                            </a:cubicBezTo>
                            <a:cubicBezTo>
                              <a:pt x="32057" y="39174"/>
                              <a:pt x="32116" y="39353"/>
                              <a:pt x="32176" y="39473"/>
                            </a:cubicBezTo>
                            <a:cubicBezTo>
                              <a:pt x="32236" y="39592"/>
                              <a:pt x="32296" y="39772"/>
                              <a:pt x="32356" y="39891"/>
                            </a:cubicBezTo>
                            <a:cubicBezTo>
                              <a:pt x="32416" y="40011"/>
                              <a:pt x="32416" y="39951"/>
                              <a:pt x="32416" y="40071"/>
                            </a:cubicBezTo>
                            <a:moveTo>
                              <a:pt x="33492" y="44497"/>
                            </a:moveTo>
                            <a:cubicBezTo>
                              <a:pt x="33492" y="44437"/>
                              <a:pt x="33552" y="44437"/>
                              <a:pt x="33552" y="44377"/>
                            </a:cubicBezTo>
                            <a:cubicBezTo>
                              <a:pt x="33552" y="44317"/>
                              <a:pt x="33612" y="44317"/>
                              <a:pt x="33612" y="44257"/>
                            </a:cubicBezTo>
                            <a:cubicBezTo>
                              <a:pt x="33612" y="44198"/>
                              <a:pt x="33671" y="44198"/>
                              <a:pt x="33671" y="44138"/>
                            </a:cubicBezTo>
                            <a:cubicBezTo>
                              <a:pt x="33671" y="44078"/>
                              <a:pt x="33731" y="44078"/>
                              <a:pt x="33731" y="44018"/>
                            </a:cubicBezTo>
                            <a:cubicBezTo>
                              <a:pt x="33791" y="43839"/>
                              <a:pt x="33911" y="43659"/>
                              <a:pt x="33970" y="43480"/>
                            </a:cubicBezTo>
                            <a:cubicBezTo>
                              <a:pt x="34030" y="43300"/>
                              <a:pt x="34150" y="43121"/>
                              <a:pt x="34210" y="42942"/>
                            </a:cubicBezTo>
                            <a:cubicBezTo>
                              <a:pt x="34270" y="42762"/>
                              <a:pt x="34389" y="42583"/>
                              <a:pt x="34449" y="42403"/>
                            </a:cubicBezTo>
                            <a:cubicBezTo>
                              <a:pt x="34509" y="42224"/>
                              <a:pt x="34629" y="42045"/>
                              <a:pt x="34688" y="41865"/>
                            </a:cubicBezTo>
                            <a:cubicBezTo>
                              <a:pt x="34629" y="41686"/>
                              <a:pt x="34629" y="41566"/>
                              <a:pt x="34569" y="41386"/>
                            </a:cubicBezTo>
                            <a:cubicBezTo>
                              <a:pt x="34509" y="41207"/>
                              <a:pt x="34509" y="41088"/>
                              <a:pt x="34449" y="40908"/>
                            </a:cubicBezTo>
                            <a:cubicBezTo>
                              <a:pt x="34389" y="40729"/>
                              <a:pt x="34329" y="40609"/>
                              <a:pt x="34329" y="40430"/>
                            </a:cubicBezTo>
                            <a:cubicBezTo>
                              <a:pt x="34329" y="40251"/>
                              <a:pt x="34210" y="40131"/>
                              <a:pt x="34150" y="39951"/>
                            </a:cubicBezTo>
                            <a:cubicBezTo>
                              <a:pt x="34150" y="39951"/>
                              <a:pt x="34150" y="40011"/>
                              <a:pt x="34150" y="40011"/>
                            </a:cubicBezTo>
                            <a:cubicBezTo>
                              <a:pt x="34150" y="40011"/>
                              <a:pt x="34150" y="40071"/>
                              <a:pt x="34150" y="40071"/>
                            </a:cubicBezTo>
                            <a:cubicBezTo>
                              <a:pt x="34150" y="40071"/>
                              <a:pt x="34150" y="40131"/>
                              <a:pt x="34150" y="40131"/>
                            </a:cubicBezTo>
                            <a:cubicBezTo>
                              <a:pt x="34150" y="40131"/>
                              <a:pt x="34150" y="40191"/>
                              <a:pt x="34150" y="40191"/>
                            </a:cubicBezTo>
                            <a:cubicBezTo>
                              <a:pt x="34090" y="40370"/>
                              <a:pt x="34030" y="40549"/>
                              <a:pt x="33970" y="40729"/>
                            </a:cubicBezTo>
                            <a:cubicBezTo>
                              <a:pt x="33911" y="40908"/>
                              <a:pt x="33851" y="41088"/>
                              <a:pt x="33731" y="41267"/>
                            </a:cubicBezTo>
                            <a:cubicBezTo>
                              <a:pt x="33671" y="41446"/>
                              <a:pt x="33612" y="41626"/>
                              <a:pt x="33492" y="41805"/>
                            </a:cubicBezTo>
                            <a:cubicBezTo>
                              <a:pt x="33432" y="41985"/>
                              <a:pt x="33313" y="42164"/>
                              <a:pt x="33253" y="42344"/>
                            </a:cubicBezTo>
                            <a:cubicBezTo>
                              <a:pt x="33313" y="42523"/>
                              <a:pt x="33313" y="42702"/>
                              <a:pt x="33373" y="42882"/>
                            </a:cubicBezTo>
                            <a:cubicBezTo>
                              <a:pt x="33432" y="43061"/>
                              <a:pt x="33432" y="43241"/>
                              <a:pt x="33492" y="43420"/>
                            </a:cubicBezTo>
                            <a:cubicBezTo>
                              <a:pt x="33552" y="43600"/>
                              <a:pt x="33552" y="43779"/>
                              <a:pt x="33552" y="43959"/>
                            </a:cubicBezTo>
                            <a:cubicBezTo>
                              <a:pt x="33432" y="44138"/>
                              <a:pt x="33492" y="44317"/>
                              <a:pt x="33492" y="44497"/>
                            </a:cubicBezTo>
                            <a:moveTo>
                              <a:pt x="16088" y="66506"/>
                            </a:moveTo>
                            <a:lnTo>
                              <a:pt x="17045" y="67104"/>
                            </a:lnTo>
                            <a:cubicBezTo>
                              <a:pt x="17703" y="66386"/>
                              <a:pt x="18361" y="65609"/>
                              <a:pt x="19019" y="64891"/>
                            </a:cubicBezTo>
                            <a:cubicBezTo>
                              <a:pt x="19677" y="64173"/>
                              <a:pt x="20335" y="63396"/>
                              <a:pt x="20933" y="62678"/>
                            </a:cubicBezTo>
                            <a:cubicBezTo>
                              <a:pt x="21590" y="61960"/>
                              <a:pt x="22189" y="61183"/>
                              <a:pt x="22846" y="60465"/>
                            </a:cubicBezTo>
                            <a:cubicBezTo>
                              <a:pt x="23504" y="59747"/>
                              <a:pt x="24102" y="58970"/>
                              <a:pt x="24700" y="58193"/>
                            </a:cubicBezTo>
                            <a:cubicBezTo>
                              <a:pt x="24760" y="58133"/>
                              <a:pt x="24820" y="58013"/>
                              <a:pt x="24880" y="57953"/>
                            </a:cubicBezTo>
                            <a:cubicBezTo>
                              <a:pt x="24940" y="57893"/>
                              <a:pt x="24999" y="57774"/>
                              <a:pt x="25059" y="57714"/>
                            </a:cubicBezTo>
                            <a:cubicBezTo>
                              <a:pt x="25119" y="57654"/>
                              <a:pt x="25179" y="57535"/>
                              <a:pt x="25239" y="57475"/>
                            </a:cubicBezTo>
                            <a:cubicBezTo>
                              <a:pt x="25299" y="57415"/>
                              <a:pt x="25358" y="57295"/>
                              <a:pt x="25418" y="57236"/>
                            </a:cubicBezTo>
                            <a:cubicBezTo>
                              <a:pt x="25777" y="56817"/>
                              <a:pt x="26076" y="56398"/>
                              <a:pt x="26435" y="55920"/>
                            </a:cubicBezTo>
                            <a:cubicBezTo>
                              <a:pt x="26734" y="55501"/>
                              <a:pt x="27093" y="55083"/>
                              <a:pt x="27392" y="54604"/>
                            </a:cubicBezTo>
                            <a:cubicBezTo>
                              <a:pt x="27691" y="54125"/>
                              <a:pt x="27990" y="53707"/>
                              <a:pt x="28349" y="53288"/>
                            </a:cubicBezTo>
                            <a:cubicBezTo>
                              <a:pt x="28707" y="52870"/>
                              <a:pt x="28947" y="52391"/>
                              <a:pt x="29246" y="51972"/>
                            </a:cubicBezTo>
                            <a:cubicBezTo>
                              <a:pt x="29306" y="51913"/>
                              <a:pt x="29366" y="51793"/>
                              <a:pt x="29425" y="51733"/>
                            </a:cubicBezTo>
                            <a:cubicBezTo>
                              <a:pt x="29485" y="51674"/>
                              <a:pt x="29545" y="51554"/>
                              <a:pt x="29605" y="51494"/>
                            </a:cubicBezTo>
                            <a:cubicBezTo>
                              <a:pt x="29665" y="51434"/>
                              <a:pt x="29724" y="51315"/>
                              <a:pt x="29784" y="51255"/>
                            </a:cubicBezTo>
                            <a:cubicBezTo>
                              <a:pt x="29844" y="51195"/>
                              <a:pt x="29904" y="51076"/>
                              <a:pt x="29963" y="51016"/>
                            </a:cubicBezTo>
                            <a:cubicBezTo>
                              <a:pt x="30023" y="50896"/>
                              <a:pt x="30143" y="50776"/>
                              <a:pt x="30203" y="50657"/>
                            </a:cubicBezTo>
                            <a:cubicBezTo>
                              <a:pt x="30262" y="50537"/>
                              <a:pt x="30382" y="50417"/>
                              <a:pt x="30442" y="50298"/>
                            </a:cubicBezTo>
                            <a:cubicBezTo>
                              <a:pt x="30502" y="50178"/>
                              <a:pt x="30621" y="50059"/>
                              <a:pt x="30681" y="49939"/>
                            </a:cubicBezTo>
                            <a:cubicBezTo>
                              <a:pt x="30741" y="49820"/>
                              <a:pt x="30801" y="49700"/>
                              <a:pt x="30921" y="49580"/>
                            </a:cubicBezTo>
                            <a:cubicBezTo>
                              <a:pt x="30980" y="49521"/>
                              <a:pt x="31040" y="49401"/>
                              <a:pt x="31100" y="49341"/>
                            </a:cubicBezTo>
                            <a:cubicBezTo>
                              <a:pt x="31160" y="49281"/>
                              <a:pt x="31220" y="49162"/>
                              <a:pt x="31279" y="49102"/>
                            </a:cubicBezTo>
                            <a:cubicBezTo>
                              <a:pt x="31339" y="49042"/>
                              <a:pt x="31399" y="48922"/>
                              <a:pt x="31459" y="48862"/>
                            </a:cubicBezTo>
                            <a:cubicBezTo>
                              <a:pt x="31519" y="48803"/>
                              <a:pt x="31578" y="48683"/>
                              <a:pt x="31638" y="48623"/>
                            </a:cubicBezTo>
                            <a:cubicBezTo>
                              <a:pt x="31698" y="48504"/>
                              <a:pt x="31817" y="48324"/>
                              <a:pt x="31877" y="48205"/>
                            </a:cubicBezTo>
                            <a:cubicBezTo>
                              <a:pt x="31937" y="48085"/>
                              <a:pt x="32057" y="47906"/>
                              <a:pt x="32116" y="47786"/>
                            </a:cubicBezTo>
                            <a:cubicBezTo>
                              <a:pt x="32176" y="47667"/>
                              <a:pt x="32296" y="47487"/>
                              <a:pt x="32356" y="47367"/>
                            </a:cubicBezTo>
                            <a:cubicBezTo>
                              <a:pt x="32416" y="47248"/>
                              <a:pt x="32535" y="47068"/>
                              <a:pt x="32595" y="46949"/>
                            </a:cubicBezTo>
                            <a:cubicBezTo>
                              <a:pt x="32595" y="46829"/>
                              <a:pt x="32595" y="46709"/>
                              <a:pt x="32595" y="46590"/>
                            </a:cubicBezTo>
                            <a:cubicBezTo>
                              <a:pt x="32595" y="46470"/>
                              <a:pt x="32595" y="46351"/>
                              <a:pt x="32595" y="46231"/>
                            </a:cubicBezTo>
                            <a:cubicBezTo>
                              <a:pt x="32595" y="46111"/>
                              <a:pt x="32595" y="45992"/>
                              <a:pt x="32595" y="45872"/>
                            </a:cubicBezTo>
                            <a:cubicBezTo>
                              <a:pt x="32595" y="45753"/>
                              <a:pt x="32595" y="45633"/>
                              <a:pt x="32595" y="45513"/>
                            </a:cubicBezTo>
                            <a:cubicBezTo>
                              <a:pt x="32595" y="45454"/>
                              <a:pt x="32595" y="45334"/>
                              <a:pt x="32595" y="45274"/>
                            </a:cubicBezTo>
                            <a:cubicBezTo>
                              <a:pt x="32595" y="45214"/>
                              <a:pt x="32595" y="45095"/>
                              <a:pt x="32595" y="45035"/>
                            </a:cubicBezTo>
                            <a:cubicBezTo>
                              <a:pt x="32595" y="44975"/>
                              <a:pt x="32595" y="44855"/>
                              <a:pt x="32595" y="44796"/>
                            </a:cubicBezTo>
                            <a:cubicBezTo>
                              <a:pt x="32595" y="44736"/>
                              <a:pt x="32595" y="44616"/>
                              <a:pt x="32595" y="44556"/>
                            </a:cubicBezTo>
                            <a:cubicBezTo>
                              <a:pt x="32595" y="44556"/>
                              <a:pt x="32595" y="44556"/>
                              <a:pt x="32595" y="44556"/>
                            </a:cubicBezTo>
                            <a:cubicBezTo>
                              <a:pt x="32595" y="44556"/>
                              <a:pt x="32595" y="44556"/>
                              <a:pt x="32595" y="44556"/>
                            </a:cubicBezTo>
                            <a:cubicBezTo>
                              <a:pt x="32595" y="44556"/>
                              <a:pt x="32595" y="44556"/>
                              <a:pt x="32595" y="44556"/>
                            </a:cubicBezTo>
                            <a:cubicBezTo>
                              <a:pt x="32595" y="44556"/>
                              <a:pt x="32595" y="44556"/>
                              <a:pt x="32595" y="44556"/>
                            </a:cubicBezTo>
                            <a:cubicBezTo>
                              <a:pt x="32475" y="44855"/>
                              <a:pt x="32356" y="45095"/>
                              <a:pt x="32176" y="45394"/>
                            </a:cubicBezTo>
                            <a:cubicBezTo>
                              <a:pt x="32057" y="45693"/>
                              <a:pt x="31877" y="45932"/>
                              <a:pt x="31758" y="46231"/>
                            </a:cubicBezTo>
                            <a:cubicBezTo>
                              <a:pt x="31638" y="46530"/>
                              <a:pt x="31459" y="46769"/>
                              <a:pt x="31339" y="47068"/>
                            </a:cubicBezTo>
                            <a:cubicBezTo>
                              <a:pt x="31220" y="47367"/>
                              <a:pt x="31040" y="47607"/>
                              <a:pt x="30861" y="47906"/>
                            </a:cubicBezTo>
                            <a:cubicBezTo>
                              <a:pt x="30801" y="48025"/>
                              <a:pt x="30741" y="48085"/>
                              <a:pt x="30681" y="48205"/>
                            </a:cubicBezTo>
                            <a:cubicBezTo>
                              <a:pt x="30621" y="48324"/>
                              <a:pt x="30561" y="48384"/>
                              <a:pt x="30502" y="48504"/>
                            </a:cubicBezTo>
                            <a:cubicBezTo>
                              <a:pt x="30442" y="48623"/>
                              <a:pt x="30382" y="48683"/>
                              <a:pt x="30322" y="48803"/>
                            </a:cubicBezTo>
                            <a:cubicBezTo>
                              <a:pt x="30262" y="48922"/>
                              <a:pt x="30203" y="48982"/>
                              <a:pt x="30143" y="49042"/>
                            </a:cubicBezTo>
                            <a:cubicBezTo>
                              <a:pt x="30083" y="49162"/>
                              <a:pt x="30023" y="49281"/>
                              <a:pt x="29904" y="49401"/>
                            </a:cubicBezTo>
                            <a:cubicBezTo>
                              <a:pt x="29844" y="49521"/>
                              <a:pt x="29724" y="49640"/>
                              <a:pt x="29665" y="49760"/>
                            </a:cubicBezTo>
                            <a:cubicBezTo>
                              <a:pt x="29605" y="49879"/>
                              <a:pt x="29485" y="49999"/>
                              <a:pt x="29425" y="50118"/>
                            </a:cubicBezTo>
                            <a:cubicBezTo>
                              <a:pt x="29366" y="50238"/>
                              <a:pt x="29246" y="50358"/>
                              <a:pt x="29186" y="50477"/>
                            </a:cubicBezTo>
                            <a:cubicBezTo>
                              <a:pt x="29126" y="50537"/>
                              <a:pt x="29066" y="50657"/>
                              <a:pt x="29007" y="50717"/>
                            </a:cubicBezTo>
                            <a:cubicBezTo>
                              <a:pt x="28947" y="50776"/>
                              <a:pt x="28887" y="50896"/>
                              <a:pt x="28827" y="50956"/>
                            </a:cubicBezTo>
                            <a:cubicBezTo>
                              <a:pt x="28767" y="51016"/>
                              <a:pt x="28707" y="51135"/>
                              <a:pt x="28648" y="51195"/>
                            </a:cubicBezTo>
                            <a:cubicBezTo>
                              <a:pt x="28588" y="51255"/>
                              <a:pt x="28528" y="51375"/>
                              <a:pt x="28468" y="51434"/>
                            </a:cubicBezTo>
                            <a:cubicBezTo>
                              <a:pt x="28169" y="51853"/>
                              <a:pt x="27870" y="52331"/>
                              <a:pt x="27571" y="52750"/>
                            </a:cubicBezTo>
                            <a:cubicBezTo>
                              <a:pt x="27272" y="53169"/>
                              <a:pt x="26973" y="53647"/>
                              <a:pt x="26614" y="54066"/>
                            </a:cubicBezTo>
                            <a:cubicBezTo>
                              <a:pt x="26315" y="54484"/>
                              <a:pt x="25956" y="54963"/>
                              <a:pt x="25658" y="55382"/>
                            </a:cubicBezTo>
                            <a:cubicBezTo>
                              <a:pt x="25358" y="55800"/>
                              <a:pt x="24999" y="56219"/>
                              <a:pt x="24641" y="56697"/>
                            </a:cubicBezTo>
                            <a:cubicBezTo>
                              <a:pt x="24581" y="56757"/>
                              <a:pt x="24521" y="56877"/>
                              <a:pt x="24461" y="56937"/>
                            </a:cubicBezTo>
                            <a:cubicBezTo>
                              <a:pt x="24401" y="56996"/>
                              <a:pt x="24342" y="57116"/>
                              <a:pt x="24282" y="57176"/>
                            </a:cubicBezTo>
                            <a:cubicBezTo>
                              <a:pt x="24222" y="57236"/>
                              <a:pt x="24162" y="57355"/>
                              <a:pt x="24102" y="57415"/>
                            </a:cubicBezTo>
                            <a:cubicBezTo>
                              <a:pt x="24043" y="57475"/>
                              <a:pt x="23983" y="57594"/>
                              <a:pt x="23923" y="57654"/>
                            </a:cubicBezTo>
                            <a:cubicBezTo>
                              <a:pt x="23325" y="58432"/>
                              <a:pt x="22727" y="59149"/>
                              <a:pt x="22069" y="59927"/>
                            </a:cubicBezTo>
                            <a:cubicBezTo>
                              <a:pt x="21471" y="60704"/>
                              <a:pt x="20813" y="61422"/>
                              <a:pt x="20155" y="62140"/>
                            </a:cubicBezTo>
                            <a:cubicBezTo>
                              <a:pt x="19497" y="62857"/>
                              <a:pt x="18899" y="63635"/>
                              <a:pt x="18241" y="64353"/>
                            </a:cubicBezTo>
                            <a:cubicBezTo>
                              <a:pt x="17404" y="65010"/>
                              <a:pt x="16746" y="65728"/>
                              <a:pt x="16088" y="66506"/>
                            </a:cubicBezTo>
                            <a:moveTo>
                              <a:pt x="13995" y="65070"/>
                            </a:moveTo>
                            <a:lnTo>
                              <a:pt x="14952" y="65669"/>
                            </a:lnTo>
                            <a:cubicBezTo>
                              <a:pt x="15610" y="64951"/>
                              <a:pt x="16268" y="64173"/>
                              <a:pt x="16926" y="63455"/>
                            </a:cubicBezTo>
                            <a:cubicBezTo>
                              <a:pt x="17583" y="62738"/>
                              <a:pt x="18241" y="61960"/>
                              <a:pt x="18839" y="61243"/>
                            </a:cubicBezTo>
                            <a:cubicBezTo>
                              <a:pt x="19497" y="60525"/>
                              <a:pt x="20095" y="59747"/>
                              <a:pt x="20753" y="59030"/>
                            </a:cubicBezTo>
                            <a:cubicBezTo>
                              <a:pt x="21411" y="58312"/>
                              <a:pt x="22009" y="57535"/>
                              <a:pt x="22547" y="56757"/>
                            </a:cubicBezTo>
                            <a:cubicBezTo>
                              <a:pt x="22607" y="56697"/>
                              <a:pt x="22667" y="56578"/>
                              <a:pt x="22727" y="56518"/>
                            </a:cubicBezTo>
                            <a:cubicBezTo>
                              <a:pt x="22787" y="56458"/>
                              <a:pt x="22846" y="56338"/>
                              <a:pt x="22906" y="56279"/>
                            </a:cubicBezTo>
                            <a:cubicBezTo>
                              <a:pt x="22966" y="56219"/>
                              <a:pt x="23026" y="56099"/>
                              <a:pt x="23086" y="56039"/>
                            </a:cubicBezTo>
                            <a:cubicBezTo>
                              <a:pt x="23145" y="55979"/>
                              <a:pt x="23205" y="55860"/>
                              <a:pt x="23265" y="55800"/>
                            </a:cubicBezTo>
                            <a:cubicBezTo>
                              <a:pt x="23624" y="55382"/>
                              <a:pt x="23923" y="54963"/>
                              <a:pt x="24282" y="54484"/>
                            </a:cubicBezTo>
                            <a:cubicBezTo>
                              <a:pt x="24641" y="54006"/>
                              <a:pt x="24940" y="53587"/>
                              <a:pt x="25239" y="53169"/>
                            </a:cubicBezTo>
                            <a:cubicBezTo>
                              <a:pt x="25538" y="52750"/>
                              <a:pt x="25837" y="52271"/>
                              <a:pt x="26196" y="51853"/>
                            </a:cubicBezTo>
                            <a:cubicBezTo>
                              <a:pt x="26495" y="51434"/>
                              <a:pt x="26794" y="50956"/>
                              <a:pt x="27093" y="50537"/>
                            </a:cubicBezTo>
                            <a:cubicBezTo>
                              <a:pt x="27153" y="50477"/>
                              <a:pt x="27212" y="50358"/>
                              <a:pt x="27272" y="50298"/>
                            </a:cubicBezTo>
                            <a:cubicBezTo>
                              <a:pt x="27332" y="50238"/>
                              <a:pt x="27392" y="50118"/>
                              <a:pt x="27452" y="50059"/>
                            </a:cubicBezTo>
                            <a:cubicBezTo>
                              <a:pt x="27512" y="49999"/>
                              <a:pt x="27571" y="49879"/>
                              <a:pt x="27631" y="49820"/>
                            </a:cubicBezTo>
                            <a:cubicBezTo>
                              <a:pt x="27691" y="49760"/>
                              <a:pt x="27751" y="49640"/>
                              <a:pt x="27811" y="49580"/>
                            </a:cubicBezTo>
                            <a:cubicBezTo>
                              <a:pt x="27870" y="49461"/>
                              <a:pt x="27990" y="49341"/>
                              <a:pt x="28050" y="49222"/>
                            </a:cubicBezTo>
                            <a:cubicBezTo>
                              <a:pt x="28109" y="49102"/>
                              <a:pt x="28229" y="48982"/>
                              <a:pt x="28289" y="48862"/>
                            </a:cubicBezTo>
                            <a:cubicBezTo>
                              <a:pt x="28349" y="48743"/>
                              <a:pt x="28468" y="48623"/>
                              <a:pt x="28528" y="48504"/>
                            </a:cubicBezTo>
                            <a:cubicBezTo>
                              <a:pt x="28588" y="48384"/>
                              <a:pt x="28648" y="48264"/>
                              <a:pt x="28767" y="48145"/>
                            </a:cubicBezTo>
                            <a:cubicBezTo>
                              <a:pt x="28827" y="48025"/>
                              <a:pt x="28887" y="47966"/>
                              <a:pt x="28947" y="47846"/>
                            </a:cubicBezTo>
                            <a:cubicBezTo>
                              <a:pt x="29007" y="47726"/>
                              <a:pt x="29066" y="47667"/>
                              <a:pt x="29126" y="47547"/>
                            </a:cubicBezTo>
                            <a:cubicBezTo>
                              <a:pt x="29186" y="47427"/>
                              <a:pt x="29246" y="47367"/>
                              <a:pt x="29306" y="47248"/>
                            </a:cubicBezTo>
                            <a:cubicBezTo>
                              <a:pt x="29366" y="47128"/>
                              <a:pt x="29425" y="47068"/>
                              <a:pt x="29485" y="46949"/>
                            </a:cubicBezTo>
                            <a:cubicBezTo>
                              <a:pt x="29665" y="46650"/>
                              <a:pt x="29784" y="46410"/>
                              <a:pt x="29963" y="46111"/>
                            </a:cubicBezTo>
                            <a:cubicBezTo>
                              <a:pt x="30143" y="45813"/>
                              <a:pt x="30262" y="45573"/>
                              <a:pt x="30382" y="45274"/>
                            </a:cubicBezTo>
                            <a:cubicBezTo>
                              <a:pt x="30502" y="44975"/>
                              <a:pt x="30681" y="44736"/>
                              <a:pt x="30801" y="44437"/>
                            </a:cubicBezTo>
                            <a:cubicBezTo>
                              <a:pt x="30921" y="44138"/>
                              <a:pt x="31100" y="43899"/>
                              <a:pt x="31220" y="43600"/>
                            </a:cubicBezTo>
                            <a:cubicBezTo>
                              <a:pt x="31279" y="43480"/>
                              <a:pt x="31279" y="43420"/>
                              <a:pt x="31339" y="43300"/>
                            </a:cubicBezTo>
                            <a:cubicBezTo>
                              <a:pt x="31399" y="43181"/>
                              <a:pt x="31399" y="43121"/>
                              <a:pt x="31459" y="43001"/>
                            </a:cubicBezTo>
                            <a:cubicBezTo>
                              <a:pt x="31519" y="42882"/>
                              <a:pt x="31519" y="42822"/>
                              <a:pt x="31578" y="42702"/>
                            </a:cubicBezTo>
                            <a:cubicBezTo>
                              <a:pt x="31638" y="42583"/>
                              <a:pt x="31638" y="42523"/>
                              <a:pt x="31698" y="42403"/>
                            </a:cubicBezTo>
                            <a:cubicBezTo>
                              <a:pt x="31698" y="42344"/>
                              <a:pt x="31758" y="42284"/>
                              <a:pt x="31758" y="42284"/>
                            </a:cubicBezTo>
                            <a:cubicBezTo>
                              <a:pt x="31758" y="42224"/>
                              <a:pt x="31817" y="42164"/>
                              <a:pt x="31817" y="42164"/>
                            </a:cubicBezTo>
                            <a:cubicBezTo>
                              <a:pt x="31817" y="42105"/>
                              <a:pt x="31877" y="42045"/>
                              <a:pt x="31877" y="42045"/>
                            </a:cubicBezTo>
                            <a:cubicBezTo>
                              <a:pt x="31877" y="41985"/>
                              <a:pt x="31937" y="41925"/>
                              <a:pt x="31937" y="41925"/>
                            </a:cubicBezTo>
                            <a:cubicBezTo>
                              <a:pt x="31877" y="41805"/>
                              <a:pt x="31877" y="41626"/>
                              <a:pt x="31817" y="41506"/>
                            </a:cubicBezTo>
                            <a:cubicBezTo>
                              <a:pt x="31758" y="41386"/>
                              <a:pt x="31758" y="41207"/>
                              <a:pt x="31698" y="41088"/>
                            </a:cubicBezTo>
                            <a:cubicBezTo>
                              <a:pt x="31638" y="40968"/>
                              <a:pt x="31578" y="40789"/>
                              <a:pt x="31578" y="40669"/>
                            </a:cubicBezTo>
                            <a:cubicBezTo>
                              <a:pt x="31519" y="40549"/>
                              <a:pt x="31459" y="40370"/>
                              <a:pt x="31399" y="40251"/>
                            </a:cubicBezTo>
                            <a:cubicBezTo>
                              <a:pt x="31339" y="40370"/>
                              <a:pt x="31279" y="40549"/>
                              <a:pt x="31220" y="40669"/>
                            </a:cubicBezTo>
                            <a:cubicBezTo>
                              <a:pt x="31160" y="40789"/>
                              <a:pt x="31100" y="40968"/>
                              <a:pt x="31040" y="41088"/>
                            </a:cubicBezTo>
                            <a:cubicBezTo>
                              <a:pt x="30980" y="41207"/>
                              <a:pt x="30921" y="41386"/>
                              <a:pt x="30861" y="41506"/>
                            </a:cubicBezTo>
                            <a:cubicBezTo>
                              <a:pt x="30801" y="41626"/>
                              <a:pt x="30741" y="41805"/>
                              <a:pt x="30681" y="41925"/>
                            </a:cubicBezTo>
                            <a:cubicBezTo>
                              <a:pt x="30621" y="42045"/>
                              <a:pt x="30621" y="42105"/>
                              <a:pt x="30561" y="42224"/>
                            </a:cubicBezTo>
                            <a:cubicBezTo>
                              <a:pt x="30502" y="42344"/>
                              <a:pt x="30502" y="42403"/>
                              <a:pt x="30442" y="42523"/>
                            </a:cubicBezTo>
                            <a:cubicBezTo>
                              <a:pt x="30382" y="42643"/>
                              <a:pt x="30382" y="42702"/>
                              <a:pt x="30322" y="42822"/>
                            </a:cubicBezTo>
                            <a:cubicBezTo>
                              <a:pt x="30262" y="42942"/>
                              <a:pt x="30262" y="43001"/>
                              <a:pt x="30203" y="43121"/>
                            </a:cubicBezTo>
                            <a:cubicBezTo>
                              <a:pt x="30083" y="43420"/>
                              <a:pt x="29963" y="43659"/>
                              <a:pt x="29784" y="43959"/>
                            </a:cubicBezTo>
                            <a:cubicBezTo>
                              <a:pt x="29605" y="44257"/>
                              <a:pt x="29485" y="44497"/>
                              <a:pt x="29366" y="44796"/>
                            </a:cubicBezTo>
                            <a:cubicBezTo>
                              <a:pt x="29246" y="45095"/>
                              <a:pt x="29066" y="45334"/>
                              <a:pt x="28947" y="45633"/>
                            </a:cubicBezTo>
                            <a:cubicBezTo>
                              <a:pt x="28827" y="45932"/>
                              <a:pt x="28648" y="46171"/>
                              <a:pt x="28468" y="46470"/>
                            </a:cubicBezTo>
                            <a:cubicBezTo>
                              <a:pt x="28408" y="46590"/>
                              <a:pt x="28349" y="46650"/>
                              <a:pt x="28289" y="46769"/>
                            </a:cubicBezTo>
                            <a:cubicBezTo>
                              <a:pt x="28229" y="46889"/>
                              <a:pt x="28169" y="46949"/>
                              <a:pt x="28109" y="47068"/>
                            </a:cubicBezTo>
                            <a:cubicBezTo>
                              <a:pt x="28050" y="47188"/>
                              <a:pt x="27990" y="47248"/>
                              <a:pt x="27930" y="47367"/>
                            </a:cubicBezTo>
                            <a:cubicBezTo>
                              <a:pt x="27870" y="47487"/>
                              <a:pt x="27811" y="47547"/>
                              <a:pt x="27751" y="47667"/>
                            </a:cubicBezTo>
                            <a:cubicBezTo>
                              <a:pt x="27691" y="47786"/>
                              <a:pt x="27631" y="47906"/>
                              <a:pt x="27512" y="48025"/>
                            </a:cubicBezTo>
                            <a:cubicBezTo>
                              <a:pt x="27392" y="48145"/>
                              <a:pt x="27392" y="48264"/>
                              <a:pt x="27272" y="48384"/>
                            </a:cubicBezTo>
                            <a:cubicBezTo>
                              <a:pt x="27212" y="48504"/>
                              <a:pt x="27093" y="48623"/>
                              <a:pt x="27033" y="48743"/>
                            </a:cubicBezTo>
                            <a:cubicBezTo>
                              <a:pt x="26973" y="48862"/>
                              <a:pt x="26853" y="48982"/>
                              <a:pt x="26794" y="49102"/>
                            </a:cubicBezTo>
                            <a:cubicBezTo>
                              <a:pt x="26734" y="49162"/>
                              <a:pt x="26674" y="49281"/>
                              <a:pt x="26614" y="49341"/>
                            </a:cubicBezTo>
                            <a:cubicBezTo>
                              <a:pt x="26554" y="49401"/>
                              <a:pt x="26495" y="49521"/>
                              <a:pt x="26435" y="49580"/>
                            </a:cubicBezTo>
                            <a:cubicBezTo>
                              <a:pt x="26375" y="49640"/>
                              <a:pt x="26315" y="49760"/>
                              <a:pt x="26255" y="49820"/>
                            </a:cubicBezTo>
                            <a:cubicBezTo>
                              <a:pt x="26196" y="49879"/>
                              <a:pt x="26136" y="49999"/>
                              <a:pt x="26076" y="50059"/>
                            </a:cubicBezTo>
                            <a:cubicBezTo>
                              <a:pt x="25777" y="50477"/>
                              <a:pt x="25478" y="50956"/>
                              <a:pt x="25179" y="51375"/>
                            </a:cubicBezTo>
                            <a:cubicBezTo>
                              <a:pt x="24880" y="51793"/>
                              <a:pt x="24581" y="52271"/>
                              <a:pt x="24282" y="52690"/>
                            </a:cubicBezTo>
                            <a:cubicBezTo>
                              <a:pt x="23983" y="53109"/>
                              <a:pt x="23624" y="53587"/>
                              <a:pt x="23325" y="54006"/>
                            </a:cubicBezTo>
                            <a:cubicBezTo>
                              <a:pt x="23026" y="54425"/>
                              <a:pt x="22667" y="54903"/>
                              <a:pt x="22308" y="55322"/>
                            </a:cubicBezTo>
                            <a:cubicBezTo>
                              <a:pt x="22248" y="55382"/>
                              <a:pt x="22189" y="55501"/>
                              <a:pt x="22129" y="55561"/>
                            </a:cubicBezTo>
                            <a:cubicBezTo>
                              <a:pt x="22069" y="55621"/>
                              <a:pt x="22009" y="55740"/>
                              <a:pt x="21950" y="55800"/>
                            </a:cubicBezTo>
                            <a:cubicBezTo>
                              <a:pt x="21890" y="55860"/>
                              <a:pt x="21830" y="55979"/>
                              <a:pt x="21770" y="56039"/>
                            </a:cubicBezTo>
                            <a:cubicBezTo>
                              <a:pt x="21710" y="56099"/>
                              <a:pt x="21650" y="56219"/>
                              <a:pt x="21590" y="56279"/>
                            </a:cubicBezTo>
                            <a:cubicBezTo>
                              <a:pt x="20992" y="57056"/>
                              <a:pt x="20394" y="57774"/>
                              <a:pt x="19796" y="58551"/>
                            </a:cubicBezTo>
                            <a:cubicBezTo>
                              <a:pt x="19198" y="59329"/>
                              <a:pt x="18540" y="60047"/>
                              <a:pt x="17882" y="60764"/>
                            </a:cubicBezTo>
                            <a:cubicBezTo>
                              <a:pt x="17225" y="61482"/>
                              <a:pt x="16627" y="62260"/>
                              <a:pt x="15969" y="62977"/>
                            </a:cubicBezTo>
                            <a:cubicBezTo>
                              <a:pt x="15311" y="63635"/>
                              <a:pt x="14653" y="64353"/>
                              <a:pt x="13995" y="65070"/>
                            </a:cubicBezTo>
                            <a:moveTo>
                              <a:pt x="13756" y="69077"/>
                            </a:moveTo>
                            <a:lnTo>
                              <a:pt x="14713" y="69676"/>
                            </a:lnTo>
                            <a:cubicBezTo>
                              <a:pt x="14832" y="69556"/>
                              <a:pt x="14952" y="69377"/>
                              <a:pt x="15072" y="69257"/>
                            </a:cubicBezTo>
                            <a:cubicBezTo>
                              <a:pt x="15191" y="69137"/>
                              <a:pt x="15311" y="68958"/>
                              <a:pt x="15430" y="68838"/>
                            </a:cubicBezTo>
                            <a:cubicBezTo>
                              <a:pt x="15550" y="68718"/>
                              <a:pt x="15669" y="68539"/>
                              <a:pt x="15789" y="68419"/>
                            </a:cubicBezTo>
                            <a:cubicBezTo>
                              <a:pt x="15909" y="68300"/>
                              <a:pt x="16028" y="68121"/>
                              <a:pt x="16148" y="68001"/>
                            </a:cubicBezTo>
                            <a:lnTo>
                              <a:pt x="15191" y="67403"/>
                            </a:lnTo>
                            <a:cubicBezTo>
                              <a:pt x="15072" y="67523"/>
                              <a:pt x="14952" y="67702"/>
                              <a:pt x="14832" y="67822"/>
                            </a:cubicBezTo>
                            <a:cubicBezTo>
                              <a:pt x="14713" y="67941"/>
                              <a:pt x="14593" y="68121"/>
                              <a:pt x="14474" y="68240"/>
                            </a:cubicBezTo>
                            <a:cubicBezTo>
                              <a:pt x="14354" y="68360"/>
                              <a:pt x="14234" y="68539"/>
                              <a:pt x="14114" y="68659"/>
                            </a:cubicBezTo>
                            <a:cubicBezTo>
                              <a:pt x="13995" y="68778"/>
                              <a:pt x="13875" y="68958"/>
                              <a:pt x="13756" y="69077"/>
                            </a:cubicBezTo>
                            <a:moveTo>
                              <a:pt x="11662" y="67702"/>
                            </a:moveTo>
                            <a:lnTo>
                              <a:pt x="12619" y="68300"/>
                            </a:lnTo>
                            <a:cubicBezTo>
                              <a:pt x="12739" y="68180"/>
                              <a:pt x="12859" y="68001"/>
                              <a:pt x="12978" y="67881"/>
                            </a:cubicBezTo>
                            <a:cubicBezTo>
                              <a:pt x="13098" y="67762"/>
                              <a:pt x="13218" y="67582"/>
                              <a:pt x="13337" y="67463"/>
                            </a:cubicBezTo>
                            <a:cubicBezTo>
                              <a:pt x="13457" y="67343"/>
                              <a:pt x="13576" y="67164"/>
                              <a:pt x="13696" y="67044"/>
                            </a:cubicBezTo>
                            <a:cubicBezTo>
                              <a:pt x="13815" y="66924"/>
                              <a:pt x="13935" y="66745"/>
                              <a:pt x="14055" y="66625"/>
                            </a:cubicBezTo>
                            <a:lnTo>
                              <a:pt x="13098" y="66027"/>
                            </a:lnTo>
                            <a:cubicBezTo>
                              <a:pt x="12978" y="66147"/>
                              <a:pt x="12859" y="66326"/>
                              <a:pt x="12739" y="66446"/>
                            </a:cubicBezTo>
                            <a:cubicBezTo>
                              <a:pt x="12619" y="66565"/>
                              <a:pt x="12500" y="66745"/>
                              <a:pt x="12380" y="66864"/>
                            </a:cubicBezTo>
                            <a:cubicBezTo>
                              <a:pt x="12260" y="66984"/>
                              <a:pt x="12141" y="67164"/>
                              <a:pt x="12021" y="67283"/>
                            </a:cubicBezTo>
                            <a:cubicBezTo>
                              <a:pt x="11902" y="67403"/>
                              <a:pt x="11782" y="67523"/>
                              <a:pt x="11662" y="67702"/>
                            </a:cubicBezTo>
                            <a:moveTo>
                              <a:pt x="11662" y="71410"/>
                            </a:moveTo>
                            <a:lnTo>
                              <a:pt x="12619" y="72008"/>
                            </a:lnTo>
                            <a:cubicBezTo>
                              <a:pt x="12679" y="71948"/>
                              <a:pt x="12799" y="71829"/>
                              <a:pt x="12859" y="71769"/>
                            </a:cubicBezTo>
                            <a:cubicBezTo>
                              <a:pt x="12919" y="71709"/>
                              <a:pt x="13038" y="71589"/>
                              <a:pt x="13098" y="71530"/>
                            </a:cubicBezTo>
                            <a:cubicBezTo>
                              <a:pt x="13158" y="71470"/>
                              <a:pt x="13277" y="71350"/>
                              <a:pt x="13337" y="71290"/>
                            </a:cubicBezTo>
                            <a:cubicBezTo>
                              <a:pt x="13397" y="71231"/>
                              <a:pt x="13516" y="71111"/>
                              <a:pt x="13576" y="71051"/>
                            </a:cubicBezTo>
                            <a:cubicBezTo>
                              <a:pt x="13576" y="70991"/>
                              <a:pt x="13636" y="70991"/>
                              <a:pt x="13636" y="70931"/>
                            </a:cubicBezTo>
                            <a:cubicBezTo>
                              <a:pt x="13636" y="70872"/>
                              <a:pt x="13696" y="70872"/>
                              <a:pt x="13696" y="70812"/>
                            </a:cubicBezTo>
                            <a:cubicBezTo>
                              <a:pt x="13696" y="70752"/>
                              <a:pt x="13756" y="70752"/>
                              <a:pt x="13756" y="70692"/>
                            </a:cubicBezTo>
                            <a:cubicBezTo>
                              <a:pt x="13756" y="70632"/>
                              <a:pt x="13815" y="70632"/>
                              <a:pt x="13815" y="70572"/>
                            </a:cubicBezTo>
                            <a:lnTo>
                              <a:pt x="12859" y="69975"/>
                            </a:lnTo>
                            <a:cubicBezTo>
                              <a:pt x="12859" y="69975"/>
                              <a:pt x="12799" y="70034"/>
                              <a:pt x="12799" y="70034"/>
                            </a:cubicBezTo>
                            <a:cubicBezTo>
                              <a:pt x="12799" y="70034"/>
                              <a:pt x="12739" y="70094"/>
                              <a:pt x="12739" y="70094"/>
                            </a:cubicBezTo>
                            <a:cubicBezTo>
                              <a:pt x="12739" y="70094"/>
                              <a:pt x="12679" y="70154"/>
                              <a:pt x="12679" y="70154"/>
                            </a:cubicBezTo>
                            <a:cubicBezTo>
                              <a:pt x="12679" y="70154"/>
                              <a:pt x="12619" y="70214"/>
                              <a:pt x="12619" y="70214"/>
                            </a:cubicBezTo>
                            <a:cubicBezTo>
                              <a:pt x="12560" y="70333"/>
                              <a:pt x="12440" y="70393"/>
                              <a:pt x="12380" y="70513"/>
                            </a:cubicBezTo>
                            <a:cubicBezTo>
                              <a:pt x="12320" y="70632"/>
                              <a:pt x="12201" y="70692"/>
                              <a:pt x="12141" y="70812"/>
                            </a:cubicBezTo>
                            <a:cubicBezTo>
                              <a:pt x="12081" y="70931"/>
                              <a:pt x="11961" y="70991"/>
                              <a:pt x="11902" y="71111"/>
                            </a:cubicBezTo>
                            <a:cubicBezTo>
                              <a:pt x="11842" y="71231"/>
                              <a:pt x="11722" y="71350"/>
                              <a:pt x="11662" y="71410"/>
                            </a:cubicBezTo>
                            <a:moveTo>
                              <a:pt x="9510" y="70034"/>
                            </a:moveTo>
                            <a:lnTo>
                              <a:pt x="10466" y="70632"/>
                            </a:lnTo>
                            <a:cubicBezTo>
                              <a:pt x="10586" y="70513"/>
                              <a:pt x="10646" y="70453"/>
                              <a:pt x="10765" y="70333"/>
                            </a:cubicBezTo>
                            <a:cubicBezTo>
                              <a:pt x="10885" y="70214"/>
                              <a:pt x="10945" y="70154"/>
                              <a:pt x="11065" y="70034"/>
                            </a:cubicBezTo>
                            <a:cubicBezTo>
                              <a:pt x="11184" y="69915"/>
                              <a:pt x="11244" y="69855"/>
                              <a:pt x="11364" y="69735"/>
                            </a:cubicBezTo>
                            <a:cubicBezTo>
                              <a:pt x="11483" y="69616"/>
                              <a:pt x="11543" y="69556"/>
                              <a:pt x="11662" y="69436"/>
                            </a:cubicBezTo>
                            <a:cubicBezTo>
                              <a:pt x="11662" y="69436"/>
                              <a:pt x="11722" y="69377"/>
                              <a:pt x="11722" y="69377"/>
                            </a:cubicBezTo>
                            <a:cubicBezTo>
                              <a:pt x="11722" y="69377"/>
                              <a:pt x="11782" y="69317"/>
                              <a:pt x="11782" y="69317"/>
                            </a:cubicBezTo>
                            <a:cubicBezTo>
                              <a:pt x="11782" y="69317"/>
                              <a:pt x="11842" y="69257"/>
                              <a:pt x="11842" y="69257"/>
                            </a:cubicBezTo>
                            <a:cubicBezTo>
                              <a:pt x="11842" y="69257"/>
                              <a:pt x="11902" y="69197"/>
                              <a:pt x="11902" y="69197"/>
                            </a:cubicBezTo>
                            <a:lnTo>
                              <a:pt x="10945" y="68599"/>
                            </a:lnTo>
                            <a:cubicBezTo>
                              <a:pt x="10945" y="68599"/>
                              <a:pt x="10945" y="68599"/>
                              <a:pt x="10885" y="68659"/>
                            </a:cubicBezTo>
                            <a:cubicBezTo>
                              <a:pt x="10825" y="68718"/>
                              <a:pt x="10885" y="68659"/>
                              <a:pt x="10825" y="68718"/>
                            </a:cubicBezTo>
                            <a:cubicBezTo>
                              <a:pt x="10825" y="68718"/>
                              <a:pt x="10825" y="68718"/>
                              <a:pt x="10765" y="68778"/>
                            </a:cubicBezTo>
                            <a:cubicBezTo>
                              <a:pt x="10765" y="68778"/>
                              <a:pt x="10765" y="68778"/>
                              <a:pt x="10706" y="68838"/>
                            </a:cubicBezTo>
                            <a:cubicBezTo>
                              <a:pt x="10586" y="68958"/>
                              <a:pt x="10526" y="69077"/>
                              <a:pt x="10406" y="69137"/>
                            </a:cubicBezTo>
                            <a:cubicBezTo>
                              <a:pt x="10287" y="69257"/>
                              <a:pt x="10227" y="69377"/>
                              <a:pt x="10107" y="69436"/>
                            </a:cubicBezTo>
                            <a:cubicBezTo>
                              <a:pt x="9988" y="69556"/>
                              <a:pt x="9928" y="69676"/>
                              <a:pt x="9808" y="69735"/>
                            </a:cubicBezTo>
                            <a:cubicBezTo>
                              <a:pt x="9689" y="69855"/>
                              <a:pt x="9629" y="69915"/>
                              <a:pt x="9510" y="70034"/>
                            </a:cubicBezTo>
                            <a:moveTo>
                              <a:pt x="0" y="81099"/>
                            </a:moveTo>
                            <a:lnTo>
                              <a:pt x="3110" y="83072"/>
                            </a:lnTo>
                            <a:lnTo>
                              <a:pt x="3469" y="82594"/>
                            </a:lnTo>
                            <a:cubicBezTo>
                              <a:pt x="3708" y="82295"/>
                              <a:pt x="3888" y="82056"/>
                              <a:pt x="4127" y="81756"/>
                            </a:cubicBezTo>
                            <a:cubicBezTo>
                              <a:pt x="4366" y="81457"/>
                              <a:pt x="4545" y="81218"/>
                              <a:pt x="4785" y="80919"/>
                            </a:cubicBezTo>
                            <a:cubicBezTo>
                              <a:pt x="5024" y="80620"/>
                              <a:pt x="5263" y="80381"/>
                              <a:pt x="5443" y="80082"/>
                            </a:cubicBezTo>
                            <a:cubicBezTo>
                              <a:pt x="5682" y="79783"/>
                              <a:pt x="5921" y="79544"/>
                              <a:pt x="6160" y="79245"/>
                            </a:cubicBezTo>
                            <a:cubicBezTo>
                              <a:pt x="6220" y="79185"/>
                              <a:pt x="6280" y="79065"/>
                              <a:pt x="6340" y="79005"/>
                            </a:cubicBezTo>
                            <a:cubicBezTo>
                              <a:pt x="6399" y="78946"/>
                              <a:pt x="6459" y="78826"/>
                              <a:pt x="6519" y="78766"/>
                            </a:cubicBezTo>
                            <a:cubicBezTo>
                              <a:pt x="6579" y="78706"/>
                              <a:pt x="6639" y="78587"/>
                              <a:pt x="6698" y="78527"/>
                            </a:cubicBezTo>
                            <a:cubicBezTo>
                              <a:pt x="6758" y="78467"/>
                              <a:pt x="6818" y="78348"/>
                              <a:pt x="6878" y="78288"/>
                            </a:cubicBezTo>
                            <a:cubicBezTo>
                              <a:pt x="7237" y="77869"/>
                              <a:pt x="7656" y="77391"/>
                              <a:pt x="8014" y="76972"/>
                            </a:cubicBezTo>
                            <a:cubicBezTo>
                              <a:pt x="8433" y="76553"/>
                              <a:pt x="8792" y="76075"/>
                              <a:pt x="9211" y="75656"/>
                            </a:cubicBezTo>
                            <a:cubicBezTo>
                              <a:pt x="9629" y="75178"/>
                              <a:pt x="9988" y="74759"/>
                              <a:pt x="10406" y="74280"/>
                            </a:cubicBezTo>
                            <a:cubicBezTo>
                              <a:pt x="10825" y="73802"/>
                              <a:pt x="11244" y="73384"/>
                              <a:pt x="11662" y="72905"/>
                            </a:cubicBezTo>
                            <a:lnTo>
                              <a:pt x="10706" y="72307"/>
                            </a:lnTo>
                            <a:cubicBezTo>
                              <a:pt x="10287" y="72785"/>
                              <a:pt x="9868" y="73204"/>
                              <a:pt x="9510" y="73683"/>
                            </a:cubicBezTo>
                            <a:cubicBezTo>
                              <a:pt x="9091" y="74161"/>
                              <a:pt x="8732" y="74580"/>
                              <a:pt x="8313" y="75058"/>
                            </a:cubicBezTo>
                            <a:cubicBezTo>
                              <a:pt x="7895" y="75537"/>
                              <a:pt x="7536" y="75955"/>
                              <a:pt x="7117" y="76374"/>
                            </a:cubicBezTo>
                            <a:cubicBezTo>
                              <a:pt x="6698" y="76793"/>
                              <a:pt x="6340" y="77271"/>
                              <a:pt x="5981" y="77690"/>
                            </a:cubicBezTo>
                            <a:cubicBezTo>
                              <a:pt x="5921" y="77749"/>
                              <a:pt x="5861" y="77869"/>
                              <a:pt x="5801" y="77929"/>
                            </a:cubicBezTo>
                            <a:cubicBezTo>
                              <a:pt x="5742" y="77989"/>
                              <a:pt x="5682" y="78108"/>
                              <a:pt x="5622" y="78168"/>
                            </a:cubicBezTo>
                            <a:cubicBezTo>
                              <a:pt x="5562" y="78228"/>
                              <a:pt x="5503" y="78348"/>
                              <a:pt x="5443" y="78407"/>
                            </a:cubicBezTo>
                            <a:cubicBezTo>
                              <a:pt x="5383" y="78467"/>
                              <a:pt x="5323" y="78587"/>
                              <a:pt x="5263" y="78647"/>
                            </a:cubicBezTo>
                            <a:cubicBezTo>
                              <a:pt x="5084" y="78886"/>
                              <a:pt x="4844" y="79125"/>
                              <a:pt x="4665" y="79364"/>
                            </a:cubicBezTo>
                            <a:cubicBezTo>
                              <a:pt x="4486" y="79603"/>
                              <a:pt x="4306" y="79843"/>
                              <a:pt x="4067" y="80082"/>
                            </a:cubicBezTo>
                            <a:cubicBezTo>
                              <a:pt x="3888" y="80321"/>
                              <a:pt x="3708" y="80561"/>
                              <a:pt x="3529" y="80800"/>
                            </a:cubicBezTo>
                            <a:cubicBezTo>
                              <a:pt x="3349" y="81039"/>
                              <a:pt x="3170" y="81278"/>
                              <a:pt x="2990" y="81517"/>
                            </a:cubicBezTo>
                            <a:lnTo>
                              <a:pt x="1794" y="80740"/>
                            </a:lnTo>
                            <a:cubicBezTo>
                              <a:pt x="1974" y="80501"/>
                              <a:pt x="2153" y="80261"/>
                              <a:pt x="2333" y="80022"/>
                            </a:cubicBezTo>
                            <a:cubicBezTo>
                              <a:pt x="2512" y="79783"/>
                              <a:pt x="2691" y="79544"/>
                              <a:pt x="2871" y="79304"/>
                            </a:cubicBezTo>
                            <a:cubicBezTo>
                              <a:pt x="3050" y="79065"/>
                              <a:pt x="3230" y="78826"/>
                              <a:pt x="3469" y="78587"/>
                            </a:cubicBezTo>
                            <a:cubicBezTo>
                              <a:pt x="3708" y="78348"/>
                              <a:pt x="3828" y="78108"/>
                              <a:pt x="4067" y="77869"/>
                            </a:cubicBezTo>
                            <a:cubicBezTo>
                              <a:pt x="4127" y="77809"/>
                              <a:pt x="4187" y="77690"/>
                              <a:pt x="4246" y="77630"/>
                            </a:cubicBezTo>
                            <a:cubicBezTo>
                              <a:pt x="4306" y="77570"/>
                              <a:pt x="4366" y="77450"/>
                              <a:pt x="4426" y="77391"/>
                            </a:cubicBezTo>
                            <a:cubicBezTo>
                              <a:pt x="4486" y="77331"/>
                              <a:pt x="4545" y="77211"/>
                              <a:pt x="4605" y="77151"/>
                            </a:cubicBezTo>
                            <a:cubicBezTo>
                              <a:pt x="4665" y="77092"/>
                              <a:pt x="4725" y="76972"/>
                              <a:pt x="4785" y="76912"/>
                            </a:cubicBezTo>
                            <a:cubicBezTo>
                              <a:pt x="5143" y="76494"/>
                              <a:pt x="5562" y="76015"/>
                              <a:pt x="5921" y="75596"/>
                            </a:cubicBezTo>
                            <a:cubicBezTo>
                              <a:pt x="6340" y="75178"/>
                              <a:pt x="6698" y="74699"/>
                              <a:pt x="7117" y="74280"/>
                            </a:cubicBezTo>
                            <a:cubicBezTo>
                              <a:pt x="7536" y="73802"/>
                              <a:pt x="7895" y="73384"/>
                              <a:pt x="8313" y="72905"/>
                            </a:cubicBezTo>
                            <a:cubicBezTo>
                              <a:pt x="8732" y="72426"/>
                              <a:pt x="9151" y="72008"/>
                              <a:pt x="9569" y="71530"/>
                            </a:cubicBezTo>
                            <a:lnTo>
                              <a:pt x="8612" y="70931"/>
                            </a:lnTo>
                            <a:cubicBezTo>
                              <a:pt x="8194" y="71410"/>
                              <a:pt x="7775" y="71829"/>
                              <a:pt x="7357" y="72307"/>
                            </a:cubicBezTo>
                            <a:cubicBezTo>
                              <a:pt x="6938" y="72785"/>
                              <a:pt x="6519" y="73204"/>
                              <a:pt x="6160" y="73683"/>
                            </a:cubicBezTo>
                            <a:cubicBezTo>
                              <a:pt x="5742" y="74161"/>
                              <a:pt x="5383" y="74580"/>
                              <a:pt x="4964" y="74998"/>
                            </a:cubicBezTo>
                            <a:cubicBezTo>
                              <a:pt x="4545" y="75417"/>
                              <a:pt x="4187" y="75895"/>
                              <a:pt x="3828" y="76314"/>
                            </a:cubicBezTo>
                            <a:cubicBezTo>
                              <a:pt x="3768" y="76374"/>
                              <a:pt x="3708" y="76494"/>
                              <a:pt x="3648" y="76553"/>
                            </a:cubicBezTo>
                            <a:cubicBezTo>
                              <a:pt x="3589" y="76613"/>
                              <a:pt x="3529" y="76733"/>
                              <a:pt x="3469" y="76793"/>
                            </a:cubicBezTo>
                            <a:cubicBezTo>
                              <a:pt x="3409" y="76852"/>
                              <a:pt x="3349" y="76972"/>
                              <a:pt x="3289" y="77032"/>
                            </a:cubicBezTo>
                            <a:cubicBezTo>
                              <a:pt x="3230" y="77092"/>
                              <a:pt x="3170" y="77211"/>
                              <a:pt x="3110" y="77271"/>
                            </a:cubicBezTo>
                            <a:cubicBezTo>
                              <a:pt x="2871" y="77570"/>
                              <a:pt x="2632" y="77809"/>
                              <a:pt x="2392" y="78108"/>
                            </a:cubicBezTo>
                            <a:cubicBezTo>
                              <a:pt x="2153" y="78407"/>
                              <a:pt x="1914" y="78647"/>
                              <a:pt x="1735" y="78946"/>
                            </a:cubicBezTo>
                            <a:cubicBezTo>
                              <a:pt x="1555" y="79245"/>
                              <a:pt x="1316" y="79484"/>
                              <a:pt x="1076" y="79783"/>
                            </a:cubicBezTo>
                            <a:cubicBezTo>
                              <a:pt x="837" y="80082"/>
                              <a:pt x="658" y="80321"/>
                              <a:pt x="419" y="80620"/>
                            </a:cubicBezTo>
                            <a:lnTo>
                              <a:pt x="0" y="81099"/>
                            </a:lnTo>
                          </a:path>
                        </a:pathLst>
                      </a:custGeom>
                      <a:noFill/>
                      <a:ln w="6350" cap="flat">
                        <a:solidFill>
                          <a:schemeClr val="bg1">
                            <a:alpha val="40000"/>
                          </a:schemeClr>
                        </a:solidFill>
                        <a:prstDash val="solid"/>
                        <a:miter/>
                      </a:ln>
                    </p:spPr>
                    <p:txBody>
                      <a:bodyPr rtlCol="0" anchor="ctr"/>
                      <a:lstStyle/>
                      <a:p>
                        <a:endParaRPr lang="en-GB"/>
                      </a:p>
                    </p:txBody>
                  </p:sp>
                  <p:sp>
                    <p:nvSpPr>
                      <p:cNvPr id="7471" name="Vrije vorm: vorm 7470">
                        <a:extLst>
                          <a:ext uri="{FF2B5EF4-FFF2-40B4-BE49-F238E27FC236}">
                            <a16:creationId xmlns:a16="http://schemas.microsoft.com/office/drawing/2014/main" id="{B354CD6B-0F9A-41A0-8F0B-F06A70FDE7D4}"/>
                          </a:ext>
                        </a:extLst>
                      </p:cNvPr>
                      <p:cNvSpPr/>
                      <p:nvPr/>
                    </p:nvSpPr>
                    <p:spPr>
                      <a:xfrm>
                        <a:off x="4853973" y="5160386"/>
                        <a:ext cx="34628" cy="81816"/>
                      </a:xfrm>
                      <a:custGeom>
                        <a:avLst/>
                        <a:gdLst>
                          <a:gd name="connsiteX0" fmla="*/ 6100 w 34628"/>
                          <a:gd name="connsiteY0" fmla="*/ 7596 h 81816"/>
                          <a:gd name="connsiteX1" fmla="*/ 6878 w 34628"/>
                          <a:gd name="connsiteY1" fmla="*/ 6579 h 81816"/>
                          <a:gd name="connsiteX2" fmla="*/ 5622 w 34628"/>
                          <a:gd name="connsiteY2" fmla="*/ 5682 h 81816"/>
                          <a:gd name="connsiteX3" fmla="*/ 4366 w 34628"/>
                          <a:gd name="connsiteY3" fmla="*/ 4785 h 81816"/>
                          <a:gd name="connsiteX4" fmla="*/ 3050 w 34628"/>
                          <a:gd name="connsiteY4" fmla="*/ 3888 h 81816"/>
                          <a:gd name="connsiteX5" fmla="*/ 1734 w 34628"/>
                          <a:gd name="connsiteY5" fmla="*/ 2990 h 81816"/>
                          <a:gd name="connsiteX6" fmla="*/ 2751 w 34628"/>
                          <a:gd name="connsiteY6" fmla="*/ 1674 h 81816"/>
                          <a:gd name="connsiteX7" fmla="*/ 4067 w 34628"/>
                          <a:gd name="connsiteY7" fmla="*/ 2572 h 81816"/>
                          <a:gd name="connsiteX8" fmla="*/ 5382 w 34628"/>
                          <a:gd name="connsiteY8" fmla="*/ 3469 h 81816"/>
                          <a:gd name="connsiteX9" fmla="*/ 6639 w 34628"/>
                          <a:gd name="connsiteY9" fmla="*/ 4366 h 81816"/>
                          <a:gd name="connsiteX10" fmla="*/ 7894 w 34628"/>
                          <a:gd name="connsiteY10" fmla="*/ 5263 h 81816"/>
                          <a:gd name="connsiteX11" fmla="*/ 8672 w 34628"/>
                          <a:gd name="connsiteY11" fmla="*/ 4246 h 81816"/>
                          <a:gd name="connsiteX12" fmla="*/ 7296 w 34628"/>
                          <a:gd name="connsiteY12" fmla="*/ 3289 h 81816"/>
                          <a:gd name="connsiteX13" fmla="*/ 5921 w 34628"/>
                          <a:gd name="connsiteY13" fmla="*/ 2333 h 81816"/>
                          <a:gd name="connsiteX14" fmla="*/ 4486 w 34628"/>
                          <a:gd name="connsiteY14" fmla="*/ 1316 h 81816"/>
                          <a:gd name="connsiteX15" fmla="*/ 3050 w 34628"/>
                          <a:gd name="connsiteY15" fmla="*/ 299 h 81816"/>
                          <a:gd name="connsiteX16" fmla="*/ 2572 w 34628"/>
                          <a:gd name="connsiteY16" fmla="*/ 0 h 81816"/>
                          <a:gd name="connsiteX17" fmla="*/ 1973 w 34628"/>
                          <a:gd name="connsiteY17" fmla="*/ 778 h 81816"/>
                          <a:gd name="connsiteX18" fmla="*/ 0 w 34628"/>
                          <a:gd name="connsiteY18" fmla="*/ 3289 h 81816"/>
                          <a:gd name="connsiteX19" fmla="*/ 478 w 34628"/>
                          <a:gd name="connsiteY19" fmla="*/ 3588 h 81816"/>
                          <a:gd name="connsiteX20" fmla="*/ 1973 w 34628"/>
                          <a:gd name="connsiteY20" fmla="*/ 4605 h 81816"/>
                          <a:gd name="connsiteX21" fmla="*/ 3409 w 34628"/>
                          <a:gd name="connsiteY21" fmla="*/ 5622 h 81816"/>
                          <a:gd name="connsiteX22" fmla="*/ 4785 w 34628"/>
                          <a:gd name="connsiteY22" fmla="*/ 6579 h 81816"/>
                          <a:gd name="connsiteX23" fmla="*/ 6100 w 34628"/>
                          <a:gd name="connsiteY23" fmla="*/ 7596 h 81816"/>
                          <a:gd name="connsiteX24" fmla="*/ 20693 w 34628"/>
                          <a:gd name="connsiteY24" fmla="*/ 62379 h 81816"/>
                          <a:gd name="connsiteX25" fmla="*/ 21590 w 34628"/>
                          <a:gd name="connsiteY25" fmla="*/ 62977 h 81816"/>
                          <a:gd name="connsiteX26" fmla="*/ 23564 w 34628"/>
                          <a:gd name="connsiteY26" fmla="*/ 60585 h 81816"/>
                          <a:gd name="connsiteX27" fmla="*/ 25418 w 34628"/>
                          <a:gd name="connsiteY27" fmla="*/ 58252 h 81816"/>
                          <a:gd name="connsiteX28" fmla="*/ 27152 w 34628"/>
                          <a:gd name="connsiteY28" fmla="*/ 55979 h 81816"/>
                          <a:gd name="connsiteX29" fmla="*/ 28707 w 34628"/>
                          <a:gd name="connsiteY29" fmla="*/ 53707 h 81816"/>
                          <a:gd name="connsiteX30" fmla="*/ 28887 w 34628"/>
                          <a:gd name="connsiteY30" fmla="*/ 53468 h 81816"/>
                          <a:gd name="connsiteX31" fmla="*/ 29066 w 34628"/>
                          <a:gd name="connsiteY31" fmla="*/ 53229 h 81816"/>
                          <a:gd name="connsiteX32" fmla="*/ 29245 w 34628"/>
                          <a:gd name="connsiteY32" fmla="*/ 52989 h 81816"/>
                          <a:gd name="connsiteX33" fmla="*/ 29425 w 34628"/>
                          <a:gd name="connsiteY33" fmla="*/ 52750 h 81816"/>
                          <a:gd name="connsiteX34" fmla="*/ 30322 w 34628"/>
                          <a:gd name="connsiteY34" fmla="*/ 51315 h 81816"/>
                          <a:gd name="connsiteX35" fmla="*/ 31159 w 34628"/>
                          <a:gd name="connsiteY35" fmla="*/ 49879 h 81816"/>
                          <a:gd name="connsiteX36" fmla="*/ 31877 w 34628"/>
                          <a:gd name="connsiteY36" fmla="*/ 48444 h 81816"/>
                          <a:gd name="connsiteX37" fmla="*/ 32535 w 34628"/>
                          <a:gd name="connsiteY37" fmla="*/ 47068 h 81816"/>
                          <a:gd name="connsiteX38" fmla="*/ 32655 w 34628"/>
                          <a:gd name="connsiteY38" fmla="*/ 46769 h 81816"/>
                          <a:gd name="connsiteX39" fmla="*/ 32774 w 34628"/>
                          <a:gd name="connsiteY39" fmla="*/ 46470 h 81816"/>
                          <a:gd name="connsiteX40" fmla="*/ 32894 w 34628"/>
                          <a:gd name="connsiteY40" fmla="*/ 46171 h 81816"/>
                          <a:gd name="connsiteX41" fmla="*/ 33013 w 34628"/>
                          <a:gd name="connsiteY41" fmla="*/ 45872 h 81816"/>
                          <a:gd name="connsiteX42" fmla="*/ 33193 w 34628"/>
                          <a:gd name="connsiteY42" fmla="*/ 45453 h 81816"/>
                          <a:gd name="connsiteX43" fmla="*/ 33372 w 34628"/>
                          <a:gd name="connsiteY43" fmla="*/ 45035 h 81816"/>
                          <a:gd name="connsiteX44" fmla="*/ 33492 w 34628"/>
                          <a:gd name="connsiteY44" fmla="*/ 44616 h 81816"/>
                          <a:gd name="connsiteX45" fmla="*/ 33612 w 34628"/>
                          <a:gd name="connsiteY45" fmla="*/ 44198 h 81816"/>
                          <a:gd name="connsiteX46" fmla="*/ 33731 w 34628"/>
                          <a:gd name="connsiteY46" fmla="*/ 43899 h 81816"/>
                          <a:gd name="connsiteX47" fmla="*/ 33851 w 34628"/>
                          <a:gd name="connsiteY47" fmla="*/ 43599 h 81816"/>
                          <a:gd name="connsiteX48" fmla="*/ 33911 w 34628"/>
                          <a:gd name="connsiteY48" fmla="*/ 43300 h 81816"/>
                          <a:gd name="connsiteX49" fmla="*/ 33970 w 34628"/>
                          <a:gd name="connsiteY49" fmla="*/ 43001 h 81816"/>
                          <a:gd name="connsiteX50" fmla="*/ 34210 w 34628"/>
                          <a:gd name="connsiteY50" fmla="*/ 41985 h 81816"/>
                          <a:gd name="connsiteX51" fmla="*/ 34389 w 34628"/>
                          <a:gd name="connsiteY51" fmla="*/ 40968 h 81816"/>
                          <a:gd name="connsiteX52" fmla="*/ 34509 w 34628"/>
                          <a:gd name="connsiteY52" fmla="*/ 39951 h 81816"/>
                          <a:gd name="connsiteX53" fmla="*/ 34628 w 34628"/>
                          <a:gd name="connsiteY53" fmla="*/ 38935 h 81816"/>
                          <a:gd name="connsiteX54" fmla="*/ 34628 w 34628"/>
                          <a:gd name="connsiteY54" fmla="*/ 38576 h 81816"/>
                          <a:gd name="connsiteX55" fmla="*/ 34628 w 34628"/>
                          <a:gd name="connsiteY55" fmla="*/ 38217 h 81816"/>
                          <a:gd name="connsiteX56" fmla="*/ 34628 w 34628"/>
                          <a:gd name="connsiteY56" fmla="*/ 37858 h 81816"/>
                          <a:gd name="connsiteX57" fmla="*/ 34628 w 34628"/>
                          <a:gd name="connsiteY57" fmla="*/ 37499 h 81816"/>
                          <a:gd name="connsiteX58" fmla="*/ 34628 w 34628"/>
                          <a:gd name="connsiteY58" fmla="*/ 37200 h 81816"/>
                          <a:gd name="connsiteX59" fmla="*/ 34628 w 34628"/>
                          <a:gd name="connsiteY59" fmla="*/ 36901 h 81816"/>
                          <a:gd name="connsiteX60" fmla="*/ 34628 w 34628"/>
                          <a:gd name="connsiteY60" fmla="*/ 36602 h 81816"/>
                          <a:gd name="connsiteX61" fmla="*/ 34628 w 34628"/>
                          <a:gd name="connsiteY61" fmla="*/ 36303 h 81816"/>
                          <a:gd name="connsiteX62" fmla="*/ 34568 w 34628"/>
                          <a:gd name="connsiteY62" fmla="*/ 35526 h 81816"/>
                          <a:gd name="connsiteX63" fmla="*/ 34449 w 34628"/>
                          <a:gd name="connsiteY63" fmla="*/ 34688 h 81816"/>
                          <a:gd name="connsiteX64" fmla="*/ 34329 w 34628"/>
                          <a:gd name="connsiteY64" fmla="*/ 33851 h 81816"/>
                          <a:gd name="connsiteX65" fmla="*/ 34150 w 34628"/>
                          <a:gd name="connsiteY65" fmla="*/ 33014 h 81816"/>
                          <a:gd name="connsiteX66" fmla="*/ 34030 w 34628"/>
                          <a:gd name="connsiteY66" fmla="*/ 32595 h 81816"/>
                          <a:gd name="connsiteX67" fmla="*/ 33911 w 34628"/>
                          <a:gd name="connsiteY67" fmla="*/ 32176 h 81816"/>
                          <a:gd name="connsiteX68" fmla="*/ 33791 w 34628"/>
                          <a:gd name="connsiteY68" fmla="*/ 31758 h 81816"/>
                          <a:gd name="connsiteX69" fmla="*/ 33671 w 34628"/>
                          <a:gd name="connsiteY69" fmla="*/ 31339 h 81816"/>
                          <a:gd name="connsiteX70" fmla="*/ 33492 w 34628"/>
                          <a:gd name="connsiteY70" fmla="*/ 30860 h 81816"/>
                          <a:gd name="connsiteX71" fmla="*/ 33312 w 34628"/>
                          <a:gd name="connsiteY71" fmla="*/ 30382 h 81816"/>
                          <a:gd name="connsiteX72" fmla="*/ 33133 w 34628"/>
                          <a:gd name="connsiteY72" fmla="*/ 29904 h 81816"/>
                          <a:gd name="connsiteX73" fmla="*/ 32953 w 34628"/>
                          <a:gd name="connsiteY73" fmla="*/ 29425 h 81816"/>
                          <a:gd name="connsiteX74" fmla="*/ 32714 w 34628"/>
                          <a:gd name="connsiteY74" fmla="*/ 28887 h 81816"/>
                          <a:gd name="connsiteX75" fmla="*/ 32475 w 34628"/>
                          <a:gd name="connsiteY75" fmla="*/ 28349 h 81816"/>
                          <a:gd name="connsiteX76" fmla="*/ 32176 w 34628"/>
                          <a:gd name="connsiteY76" fmla="*/ 27811 h 81816"/>
                          <a:gd name="connsiteX77" fmla="*/ 31877 w 34628"/>
                          <a:gd name="connsiteY77" fmla="*/ 27272 h 81816"/>
                          <a:gd name="connsiteX78" fmla="*/ 31638 w 34628"/>
                          <a:gd name="connsiteY78" fmla="*/ 26853 h 81816"/>
                          <a:gd name="connsiteX79" fmla="*/ 31399 w 34628"/>
                          <a:gd name="connsiteY79" fmla="*/ 26435 h 81816"/>
                          <a:gd name="connsiteX80" fmla="*/ 31159 w 34628"/>
                          <a:gd name="connsiteY80" fmla="*/ 26016 h 81816"/>
                          <a:gd name="connsiteX81" fmla="*/ 30920 w 34628"/>
                          <a:gd name="connsiteY81" fmla="*/ 25597 h 81816"/>
                          <a:gd name="connsiteX82" fmla="*/ 30262 w 34628"/>
                          <a:gd name="connsiteY82" fmla="*/ 24581 h 81816"/>
                          <a:gd name="connsiteX83" fmla="*/ 29604 w 34628"/>
                          <a:gd name="connsiteY83" fmla="*/ 23564 h 81816"/>
                          <a:gd name="connsiteX84" fmla="*/ 28887 w 34628"/>
                          <a:gd name="connsiteY84" fmla="*/ 22547 h 81816"/>
                          <a:gd name="connsiteX85" fmla="*/ 28109 w 34628"/>
                          <a:gd name="connsiteY85" fmla="*/ 21530 h 81816"/>
                          <a:gd name="connsiteX86" fmla="*/ 27750 w 34628"/>
                          <a:gd name="connsiteY86" fmla="*/ 21112 h 81816"/>
                          <a:gd name="connsiteX87" fmla="*/ 27391 w 34628"/>
                          <a:gd name="connsiteY87" fmla="*/ 20693 h 81816"/>
                          <a:gd name="connsiteX88" fmla="*/ 27033 w 34628"/>
                          <a:gd name="connsiteY88" fmla="*/ 20275 h 81816"/>
                          <a:gd name="connsiteX89" fmla="*/ 26674 w 34628"/>
                          <a:gd name="connsiteY89" fmla="*/ 19856 h 81816"/>
                          <a:gd name="connsiteX90" fmla="*/ 26136 w 34628"/>
                          <a:gd name="connsiteY90" fmla="*/ 19198 h 81816"/>
                          <a:gd name="connsiteX91" fmla="*/ 25537 w 34628"/>
                          <a:gd name="connsiteY91" fmla="*/ 18540 h 81816"/>
                          <a:gd name="connsiteX92" fmla="*/ 24940 w 34628"/>
                          <a:gd name="connsiteY92" fmla="*/ 17882 h 81816"/>
                          <a:gd name="connsiteX93" fmla="*/ 24341 w 34628"/>
                          <a:gd name="connsiteY93" fmla="*/ 17225 h 81816"/>
                          <a:gd name="connsiteX94" fmla="*/ 23743 w 34628"/>
                          <a:gd name="connsiteY94" fmla="*/ 16626 h 81816"/>
                          <a:gd name="connsiteX95" fmla="*/ 23145 w 34628"/>
                          <a:gd name="connsiteY95" fmla="*/ 16028 h 81816"/>
                          <a:gd name="connsiteX96" fmla="*/ 22487 w 34628"/>
                          <a:gd name="connsiteY96" fmla="*/ 15430 h 81816"/>
                          <a:gd name="connsiteX97" fmla="*/ 21829 w 34628"/>
                          <a:gd name="connsiteY97" fmla="*/ 14832 h 81816"/>
                          <a:gd name="connsiteX98" fmla="*/ 21112 w 34628"/>
                          <a:gd name="connsiteY98" fmla="*/ 14174 h 81816"/>
                          <a:gd name="connsiteX99" fmla="*/ 20394 w 34628"/>
                          <a:gd name="connsiteY99" fmla="*/ 13516 h 81816"/>
                          <a:gd name="connsiteX100" fmla="*/ 19617 w 34628"/>
                          <a:gd name="connsiteY100" fmla="*/ 12799 h 81816"/>
                          <a:gd name="connsiteX101" fmla="*/ 18839 w 34628"/>
                          <a:gd name="connsiteY101" fmla="*/ 12081 h 81816"/>
                          <a:gd name="connsiteX102" fmla="*/ 16746 w 34628"/>
                          <a:gd name="connsiteY102" fmla="*/ 10287 h 81816"/>
                          <a:gd name="connsiteX103" fmla="*/ 14533 w 34628"/>
                          <a:gd name="connsiteY103" fmla="*/ 8493 h 81816"/>
                          <a:gd name="connsiteX104" fmla="*/ 12141 w 34628"/>
                          <a:gd name="connsiteY104" fmla="*/ 6639 h 81816"/>
                          <a:gd name="connsiteX105" fmla="*/ 9629 w 34628"/>
                          <a:gd name="connsiteY105" fmla="*/ 4725 h 81816"/>
                          <a:gd name="connsiteX106" fmla="*/ 8851 w 34628"/>
                          <a:gd name="connsiteY106" fmla="*/ 5742 h 81816"/>
                          <a:gd name="connsiteX107" fmla="*/ 13098 w 34628"/>
                          <a:gd name="connsiteY107" fmla="*/ 8971 h 81816"/>
                          <a:gd name="connsiteX108" fmla="*/ 16925 w 34628"/>
                          <a:gd name="connsiteY108" fmla="*/ 12081 h 81816"/>
                          <a:gd name="connsiteX109" fmla="*/ 20334 w 34628"/>
                          <a:gd name="connsiteY109" fmla="*/ 15072 h 81816"/>
                          <a:gd name="connsiteX110" fmla="*/ 23325 w 34628"/>
                          <a:gd name="connsiteY110" fmla="*/ 17942 h 81816"/>
                          <a:gd name="connsiteX111" fmla="*/ 23803 w 34628"/>
                          <a:gd name="connsiteY111" fmla="*/ 18421 h 81816"/>
                          <a:gd name="connsiteX112" fmla="*/ 24282 w 34628"/>
                          <a:gd name="connsiteY112" fmla="*/ 18899 h 81816"/>
                          <a:gd name="connsiteX113" fmla="*/ 24760 w 34628"/>
                          <a:gd name="connsiteY113" fmla="*/ 19377 h 81816"/>
                          <a:gd name="connsiteX114" fmla="*/ 25179 w 34628"/>
                          <a:gd name="connsiteY114" fmla="*/ 19856 h 81816"/>
                          <a:gd name="connsiteX115" fmla="*/ 25657 w 34628"/>
                          <a:gd name="connsiteY115" fmla="*/ 20394 h 81816"/>
                          <a:gd name="connsiteX116" fmla="*/ 26136 w 34628"/>
                          <a:gd name="connsiteY116" fmla="*/ 20933 h 81816"/>
                          <a:gd name="connsiteX117" fmla="*/ 26614 w 34628"/>
                          <a:gd name="connsiteY117" fmla="*/ 21471 h 81816"/>
                          <a:gd name="connsiteX118" fmla="*/ 27033 w 34628"/>
                          <a:gd name="connsiteY118" fmla="*/ 22009 h 81816"/>
                          <a:gd name="connsiteX119" fmla="*/ 27332 w 34628"/>
                          <a:gd name="connsiteY119" fmla="*/ 22428 h 81816"/>
                          <a:gd name="connsiteX120" fmla="*/ 27631 w 34628"/>
                          <a:gd name="connsiteY120" fmla="*/ 22846 h 81816"/>
                          <a:gd name="connsiteX121" fmla="*/ 27930 w 34628"/>
                          <a:gd name="connsiteY121" fmla="*/ 23205 h 81816"/>
                          <a:gd name="connsiteX122" fmla="*/ 28229 w 34628"/>
                          <a:gd name="connsiteY122" fmla="*/ 23564 h 81816"/>
                          <a:gd name="connsiteX123" fmla="*/ 28946 w 34628"/>
                          <a:gd name="connsiteY123" fmla="*/ 24521 h 81816"/>
                          <a:gd name="connsiteX124" fmla="*/ 29604 w 34628"/>
                          <a:gd name="connsiteY124" fmla="*/ 25478 h 81816"/>
                          <a:gd name="connsiteX125" fmla="*/ 30203 w 34628"/>
                          <a:gd name="connsiteY125" fmla="*/ 26435 h 81816"/>
                          <a:gd name="connsiteX126" fmla="*/ 30741 w 34628"/>
                          <a:gd name="connsiteY126" fmla="*/ 27392 h 81816"/>
                          <a:gd name="connsiteX127" fmla="*/ 30980 w 34628"/>
                          <a:gd name="connsiteY127" fmla="*/ 27811 h 81816"/>
                          <a:gd name="connsiteX128" fmla="*/ 31159 w 34628"/>
                          <a:gd name="connsiteY128" fmla="*/ 28229 h 81816"/>
                          <a:gd name="connsiteX129" fmla="*/ 31339 w 34628"/>
                          <a:gd name="connsiteY129" fmla="*/ 28648 h 81816"/>
                          <a:gd name="connsiteX130" fmla="*/ 31518 w 34628"/>
                          <a:gd name="connsiteY130" fmla="*/ 29066 h 81816"/>
                          <a:gd name="connsiteX131" fmla="*/ 31578 w 34628"/>
                          <a:gd name="connsiteY131" fmla="*/ 29246 h 81816"/>
                          <a:gd name="connsiteX132" fmla="*/ 31638 w 34628"/>
                          <a:gd name="connsiteY132" fmla="*/ 29425 h 81816"/>
                          <a:gd name="connsiteX133" fmla="*/ 31698 w 34628"/>
                          <a:gd name="connsiteY133" fmla="*/ 29605 h 81816"/>
                          <a:gd name="connsiteX134" fmla="*/ 31758 w 34628"/>
                          <a:gd name="connsiteY134" fmla="*/ 29784 h 81816"/>
                          <a:gd name="connsiteX135" fmla="*/ 31937 w 34628"/>
                          <a:gd name="connsiteY135" fmla="*/ 30203 h 81816"/>
                          <a:gd name="connsiteX136" fmla="*/ 32116 w 34628"/>
                          <a:gd name="connsiteY136" fmla="*/ 30621 h 81816"/>
                          <a:gd name="connsiteX137" fmla="*/ 32296 w 34628"/>
                          <a:gd name="connsiteY137" fmla="*/ 31040 h 81816"/>
                          <a:gd name="connsiteX138" fmla="*/ 32415 w 34628"/>
                          <a:gd name="connsiteY138" fmla="*/ 31459 h 81816"/>
                          <a:gd name="connsiteX139" fmla="*/ 32595 w 34628"/>
                          <a:gd name="connsiteY139" fmla="*/ 31937 h 81816"/>
                          <a:gd name="connsiteX140" fmla="*/ 32714 w 34628"/>
                          <a:gd name="connsiteY140" fmla="*/ 32415 h 81816"/>
                          <a:gd name="connsiteX141" fmla="*/ 32834 w 34628"/>
                          <a:gd name="connsiteY141" fmla="*/ 32894 h 81816"/>
                          <a:gd name="connsiteX142" fmla="*/ 32953 w 34628"/>
                          <a:gd name="connsiteY142" fmla="*/ 33373 h 81816"/>
                          <a:gd name="connsiteX143" fmla="*/ 33133 w 34628"/>
                          <a:gd name="connsiteY143" fmla="*/ 34150 h 81816"/>
                          <a:gd name="connsiteX144" fmla="*/ 33253 w 34628"/>
                          <a:gd name="connsiteY144" fmla="*/ 34928 h 81816"/>
                          <a:gd name="connsiteX145" fmla="*/ 33372 w 34628"/>
                          <a:gd name="connsiteY145" fmla="*/ 35705 h 81816"/>
                          <a:gd name="connsiteX146" fmla="*/ 33432 w 34628"/>
                          <a:gd name="connsiteY146" fmla="*/ 36482 h 81816"/>
                          <a:gd name="connsiteX147" fmla="*/ 33432 w 34628"/>
                          <a:gd name="connsiteY147" fmla="*/ 36482 h 81816"/>
                          <a:gd name="connsiteX148" fmla="*/ 33432 w 34628"/>
                          <a:gd name="connsiteY148" fmla="*/ 36482 h 81816"/>
                          <a:gd name="connsiteX149" fmla="*/ 33432 w 34628"/>
                          <a:gd name="connsiteY149" fmla="*/ 36482 h 81816"/>
                          <a:gd name="connsiteX150" fmla="*/ 33432 w 34628"/>
                          <a:gd name="connsiteY150" fmla="*/ 36482 h 81816"/>
                          <a:gd name="connsiteX151" fmla="*/ 33432 w 34628"/>
                          <a:gd name="connsiteY151" fmla="*/ 36841 h 81816"/>
                          <a:gd name="connsiteX152" fmla="*/ 33432 w 34628"/>
                          <a:gd name="connsiteY152" fmla="*/ 37200 h 81816"/>
                          <a:gd name="connsiteX153" fmla="*/ 33432 w 34628"/>
                          <a:gd name="connsiteY153" fmla="*/ 37559 h 81816"/>
                          <a:gd name="connsiteX154" fmla="*/ 33432 w 34628"/>
                          <a:gd name="connsiteY154" fmla="*/ 37918 h 81816"/>
                          <a:gd name="connsiteX155" fmla="*/ 33372 w 34628"/>
                          <a:gd name="connsiteY155" fmla="*/ 38935 h 81816"/>
                          <a:gd name="connsiteX156" fmla="*/ 33253 w 34628"/>
                          <a:gd name="connsiteY156" fmla="*/ 39951 h 81816"/>
                          <a:gd name="connsiteX157" fmla="*/ 33073 w 34628"/>
                          <a:gd name="connsiteY157" fmla="*/ 40968 h 81816"/>
                          <a:gd name="connsiteX158" fmla="*/ 32834 w 34628"/>
                          <a:gd name="connsiteY158" fmla="*/ 41985 h 81816"/>
                          <a:gd name="connsiteX159" fmla="*/ 32774 w 34628"/>
                          <a:gd name="connsiteY159" fmla="*/ 42284 h 81816"/>
                          <a:gd name="connsiteX160" fmla="*/ 32714 w 34628"/>
                          <a:gd name="connsiteY160" fmla="*/ 42583 h 81816"/>
                          <a:gd name="connsiteX161" fmla="*/ 32655 w 34628"/>
                          <a:gd name="connsiteY161" fmla="*/ 42882 h 81816"/>
                          <a:gd name="connsiteX162" fmla="*/ 32535 w 34628"/>
                          <a:gd name="connsiteY162" fmla="*/ 43181 h 81816"/>
                          <a:gd name="connsiteX163" fmla="*/ 32415 w 34628"/>
                          <a:gd name="connsiteY163" fmla="*/ 43599 h 81816"/>
                          <a:gd name="connsiteX164" fmla="*/ 32296 w 34628"/>
                          <a:gd name="connsiteY164" fmla="*/ 44018 h 81816"/>
                          <a:gd name="connsiteX165" fmla="*/ 32176 w 34628"/>
                          <a:gd name="connsiteY165" fmla="*/ 44437 h 81816"/>
                          <a:gd name="connsiteX166" fmla="*/ 31997 w 34628"/>
                          <a:gd name="connsiteY166" fmla="*/ 44855 h 81816"/>
                          <a:gd name="connsiteX167" fmla="*/ 31877 w 34628"/>
                          <a:gd name="connsiteY167" fmla="*/ 45154 h 81816"/>
                          <a:gd name="connsiteX168" fmla="*/ 31758 w 34628"/>
                          <a:gd name="connsiteY168" fmla="*/ 45453 h 81816"/>
                          <a:gd name="connsiteX169" fmla="*/ 31638 w 34628"/>
                          <a:gd name="connsiteY169" fmla="*/ 45753 h 81816"/>
                          <a:gd name="connsiteX170" fmla="*/ 31518 w 34628"/>
                          <a:gd name="connsiteY170" fmla="*/ 46052 h 81816"/>
                          <a:gd name="connsiteX171" fmla="*/ 30860 w 34628"/>
                          <a:gd name="connsiteY171" fmla="*/ 47487 h 81816"/>
                          <a:gd name="connsiteX172" fmla="*/ 30143 w 34628"/>
                          <a:gd name="connsiteY172" fmla="*/ 48922 h 81816"/>
                          <a:gd name="connsiteX173" fmla="*/ 29365 w 34628"/>
                          <a:gd name="connsiteY173" fmla="*/ 50358 h 81816"/>
                          <a:gd name="connsiteX174" fmla="*/ 28468 w 34628"/>
                          <a:gd name="connsiteY174" fmla="*/ 51793 h 81816"/>
                          <a:gd name="connsiteX175" fmla="*/ 28289 w 34628"/>
                          <a:gd name="connsiteY175" fmla="*/ 52032 h 81816"/>
                          <a:gd name="connsiteX176" fmla="*/ 28109 w 34628"/>
                          <a:gd name="connsiteY176" fmla="*/ 52271 h 81816"/>
                          <a:gd name="connsiteX177" fmla="*/ 27930 w 34628"/>
                          <a:gd name="connsiteY177" fmla="*/ 52511 h 81816"/>
                          <a:gd name="connsiteX178" fmla="*/ 27750 w 34628"/>
                          <a:gd name="connsiteY178" fmla="*/ 52750 h 81816"/>
                          <a:gd name="connsiteX179" fmla="*/ 26196 w 34628"/>
                          <a:gd name="connsiteY179" fmla="*/ 55023 h 81816"/>
                          <a:gd name="connsiteX180" fmla="*/ 24461 w 34628"/>
                          <a:gd name="connsiteY180" fmla="*/ 57295 h 81816"/>
                          <a:gd name="connsiteX181" fmla="*/ 22607 w 34628"/>
                          <a:gd name="connsiteY181" fmla="*/ 59628 h 81816"/>
                          <a:gd name="connsiteX182" fmla="*/ 20693 w 34628"/>
                          <a:gd name="connsiteY182" fmla="*/ 62379 h 81816"/>
                          <a:gd name="connsiteX183" fmla="*/ 18600 w 34628"/>
                          <a:gd name="connsiteY183" fmla="*/ 60944 h 81816"/>
                          <a:gd name="connsiteX184" fmla="*/ 19497 w 34628"/>
                          <a:gd name="connsiteY184" fmla="*/ 61541 h 81816"/>
                          <a:gd name="connsiteX185" fmla="*/ 21471 w 34628"/>
                          <a:gd name="connsiteY185" fmla="*/ 59149 h 81816"/>
                          <a:gd name="connsiteX186" fmla="*/ 23325 w 34628"/>
                          <a:gd name="connsiteY186" fmla="*/ 56817 h 81816"/>
                          <a:gd name="connsiteX187" fmla="*/ 25059 w 34628"/>
                          <a:gd name="connsiteY187" fmla="*/ 54544 h 81816"/>
                          <a:gd name="connsiteX188" fmla="*/ 26614 w 34628"/>
                          <a:gd name="connsiteY188" fmla="*/ 52331 h 81816"/>
                          <a:gd name="connsiteX189" fmla="*/ 26794 w 34628"/>
                          <a:gd name="connsiteY189" fmla="*/ 52092 h 81816"/>
                          <a:gd name="connsiteX190" fmla="*/ 26973 w 34628"/>
                          <a:gd name="connsiteY190" fmla="*/ 51853 h 81816"/>
                          <a:gd name="connsiteX191" fmla="*/ 27152 w 34628"/>
                          <a:gd name="connsiteY191" fmla="*/ 51614 h 81816"/>
                          <a:gd name="connsiteX192" fmla="*/ 27332 w 34628"/>
                          <a:gd name="connsiteY192" fmla="*/ 51375 h 81816"/>
                          <a:gd name="connsiteX193" fmla="*/ 28229 w 34628"/>
                          <a:gd name="connsiteY193" fmla="*/ 49939 h 81816"/>
                          <a:gd name="connsiteX194" fmla="*/ 29006 w 34628"/>
                          <a:gd name="connsiteY194" fmla="*/ 48504 h 81816"/>
                          <a:gd name="connsiteX195" fmla="*/ 29724 w 34628"/>
                          <a:gd name="connsiteY195" fmla="*/ 47068 h 81816"/>
                          <a:gd name="connsiteX196" fmla="*/ 30322 w 34628"/>
                          <a:gd name="connsiteY196" fmla="*/ 45633 h 81816"/>
                          <a:gd name="connsiteX197" fmla="*/ 30442 w 34628"/>
                          <a:gd name="connsiteY197" fmla="*/ 45334 h 81816"/>
                          <a:gd name="connsiteX198" fmla="*/ 30561 w 34628"/>
                          <a:gd name="connsiteY198" fmla="*/ 45035 h 81816"/>
                          <a:gd name="connsiteX199" fmla="*/ 30681 w 34628"/>
                          <a:gd name="connsiteY199" fmla="*/ 44736 h 81816"/>
                          <a:gd name="connsiteX200" fmla="*/ 30801 w 34628"/>
                          <a:gd name="connsiteY200" fmla="*/ 44437 h 81816"/>
                          <a:gd name="connsiteX201" fmla="*/ 30920 w 34628"/>
                          <a:gd name="connsiteY201" fmla="*/ 44018 h 81816"/>
                          <a:gd name="connsiteX202" fmla="*/ 31040 w 34628"/>
                          <a:gd name="connsiteY202" fmla="*/ 43599 h 81816"/>
                          <a:gd name="connsiteX203" fmla="*/ 31159 w 34628"/>
                          <a:gd name="connsiteY203" fmla="*/ 43181 h 81816"/>
                          <a:gd name="connsiteX204" fmla="*/ 31279 w 34628"/>
                          <a:gd name="connsiteY204" fmla="*/ 42762 h 81816"/>
                          <a:gd name="connsiteX205" fmla="*/ 31339 w 34628"/>
                          <a:gd name="connsiteY205" fmla="*/ 42463 h 81816"/>
                          <a:gd name="connsiteX206" fmla="*/ 31399 w 34628"/>
                          <a:gd name="connsiteY206" fmla="*/ 42164 h 81816"/>
                          <a:gd name="connsiteX207" fmla="*/ 31458 w 34628"/>
                          <a:gd name="connsiteY207" fmla="*/ 41865 h 81816"/>
                          <a:gd name="connsiteX208" fmla="*/ 31518 w 34628"/>
                          <a:gd name="connsiteY208" fmla="*/ 41566 h 81816"/>
                          <a:gd name="connsiteX209" fmla="*/ 31698 w 34628"/>
                          <a:gd name="connsiteY209" fmla="*/ 40490 h 81816"/>
                          <a:gd name="connsiteX210" fmla="*/ 31817 w 34628"/>
                          <a:gd name="connsiteY210" fmla="*/ 39413 h 81816"/>
                          <a:gd name="connsiteX211" fmla="*/ 31877 w 34628"/>
                          <a:gd name="connsiteY211" fmla="*/ 38336 h 81816"/>
                          <a:gd name="connsiteX212" fmla="*/ 31877 w 34628"/>
                          <a:gd name="connsiteY212" fmla="*/ 37260 h 81816"/>
                          <a:gd name="connsiteX213" fmla="*/ 31877 w 34628"/>
                          <a:gd name="connsiteY213" fmla="*/ 37200 h 81816"/>
                          <a:gd name="connsiteX214" fmla="*/ 31877 w 34628"/>
                          <a:gd name="connsiteY214" fmla="*/ 37140 h 81816"/>
                          <a:gd name="connsiteX215" fmla="*/ 31877 w 34628"/>
                          <a:gd name="connsiteY215" fmla="*/ 37081 h 81816"/>
                          <a:gd name="connsiteX216" fmla="*/ 31877 w 34628"/>
                          <a:gd name="connsiteY216" fmla="*/ 37021 h 81816"/>
                          <a:gd name="connsiteX217" fmla="*/ 31877 w 34628"/>
                          <a:gd name="connsiteY217" fmla="*/ 36841 h 81816"/>
                          <a:gd name="connsiteX218" fmla="*/ 31877 w 34628"/>
                          <a:gd name="connsiteY218" fmla="*/ 36662 h 81816"/>
                          <a:gd name="connsiteX219" fmla="*/ 31877 w 34628"/>
                          <a:gd name="connsiteY219" fmla="*/ 36482 h 81816"/>
                          <a:gd name="connsiteX220" fmla="*/ 31877 w 34628"/>
                          <a:gd name="connsiteY220" fmla="*/ 36303 h 81816"/>
                          <a:gd name="connsiteX221" fmla="*/ 31817 w 34628"/>
                          <a:gd name="connsiteY221" fmla="*/ 35824 h 81816"/>
                          <a:gd name="connsiteX222" fmla="*/ 31758 w 34628"/>
                          <a:gd name="connsiteY222" fmla="*/ 35286 h 81816"/>
                          <a:gd name="connsiteX223" fmla="*/ 31638 w 34628"/>
                          <a:gd name="connsiteY223" fmla="*/ 34748 h 81816"/>
                          <a:gd name="connsiteX224" fmla="*/ 31518 w 34628"/>
                          <a:gd name="connsiteY224" fmla="*/ 34210 h 81816"/>
                          <a:gd name="connsiteX225" fmla="*/ 31399 w 34628"/>
                          <a:gd name="connsiteY225" fmla="*/ 33612 h 81816"/>
                          <a:gd name="connsiteX226" fmla="*/ 31219 w 34628"/>
                          <a:gd name="connsiteY226" fmla="*/ 33014 h 81816"/>
                          <a:gd name="connsiteX227" fmla="*/ 31040 w 34628"/>
                          <a:gd name="connsiteY227" fmla="*/ 32415 h 81816"/>
                          <a:gd name="connsiteX228" fmla="*/ 30860 w 34628"/>
                          <a:gd name="connsiteY228" fmla="*/ 31817 h 81816"/>
                          <a:gd name="connsiteX229" fmla="*/ 30681 w 34628"/>
                          <a:gd name="connsiteY229" fmla="*/ 31399 h 81816"/>
                          <a:gd name="connsiteX230" fmla="*/ 30502 w 34628"/>
                          <a:gd name="connsiteY230" fmla="*/ 30980 h 81816"/>
                          <a:gd name="connsiteX231" fmla="*/ 30322 w 34628"/>
                          <a:gd name="connsiteY231" fmla="*/ 30561 h 81816"/>
                          <a:gd name="connsiteX232" fmla="*/ 30143 w 34628"/>
                          <a:gd name="connsiteY232" fmla="*/ 30143 h 81816"/>
                          <a:gd name="connsiteX233" fmla="*/ 29904 w 34628"/>
                          <a:gd name="connsiteY233" fmla="*/ 29665 h 81816"/>
                          <a:gd name="connsiteX234" fmla="*/ 29664 w 34628"/>
                          <a:gd name="connsiteY234" fmla="*/ 29186 h 81816"/>
                          <a:gd name="connsiteX235" fmla="*/ 29425 w 34628"/>
                          <a:gd name="connsiteY235" fmla="*/ 28707 h 81816"/>
                          <a:gd name="connsiteX236" fmla="*/ 29126 w 34628"/>
                          <a:gd name="connsiteY236" fmla="*/ 28229 h 81816"/>
                          <a:gd name="connsiteX237" fmla="*/ 28887 w 34628"/>
                          <a:gd name="connsiteY237" fmla="*/ 27811 h 81816"/>
                          <a:gd name="connsiteX238" fmla="*/ 28588 w 34628"/>
                          <a:gd name="connsiteY238" fmla="*/ 27332 h 81816"/>
                          <a:gd name="connsiteX239" fmla="*/ 28289 w 34628"/>
                          <a:gd name="connsiteY239" fmla="*/ 26853 h 81816"/>
                          <a:gd name="connsiteX240" fmla="*/ 27990 w 34628"/>
                          <a:gd name="connsiteY240" fmla="*/ 26375 h 81816"/>
                          <a:gd name="connsiteX241" fmla="*/ 27750 w 34628"/>
                          <a:gd name="connsiteY241" fmla="*/ 26016 h 81816"/>
                          <a:gd name="connsiteX242" fmla="*/ 27511 w 34628"/>
                          <a:gd name="connsiteY242" fmla="*/ 25657 h 81816"/>
                          <a:gd name="connsiteX243" fmla="*/ 27272 w 34628"/>
                          <a:gd name="connsiteY243" fmla="*/ 25298 h 81816"/>
                          <a:gd name="connsiteX244" fmla="*/ 27033 w 34628"/>
                          <a:gd name="connsiteY244" fmla="*/ 24940 h 81816"/>
                          <a:gd name="connsiteX245" fmla="*/ 26674 w 34628"/>
                          <a:gd name="connsiteY245" fmla="*/ 24461 h 81816"/>
                          <a:gd name="connsiteX246" fmla="*/ 26315 w 34628"/>
                          <a:gd name="connsiteY246" fmla="*/ 23983 h 81816"/>
                          <a:gd name="connsiteX247" fmla="*/ 25956 w 34628"/>
                          <a:gd name="connsiteY247" fmla="*/ 23504 h 81816"/>
                          <a:gd name="connsiteX248" fmla="*/ 25537 w 34628"/>
                          <a:gd name="connsiteY248" fmla="*/ 23026 h 81816"/>
                          <a:gd name="connsiteX249" fmla="*/ 25179 w 34628"/>
                          <a:gd name="connsiteY249" fmla="*/ 22607 h 81816"/>
                          <a:gd name="connsiteX250" fmla="*/ 24820 w 34628"/>
                          <a:gd name="connsiteY250" fmla="*/ 22189 h 81816"/>
                          <a:gd name="connsiteX251" fmla="*/ 24461 w 34628"/>
                          <a:gd name="connsiteY251" fmla="*/ 21770 h 81816"/>
                          <a:gd name="connsiteX252" fmla="*/ 24102 w 34628"/>
                          <a:gd name="connsiteY252" fmla="*/ 21351 h 81816"/>
                          <a:gd name="connsiteX253" fmla="*/ 20933 w 34628"/>
                          <a:gd name="connsiteY253" fmla="*/ 18062 h 81816"/>
                          <a:gd name="connsiteX254" fmla="*/ 17165 w 34628"/>
                          <a:gd name="connsiteY254" fmla="*/ 14593 h 81816"/>
                          <a:gd name="connsiteX255" fmla="*/ 12858 w 34628"/>
                          <a:gd name="connsiteY255" fmla="*/ 11005 h 81816"/>
                          <a:gd name="connsiteX256" fmla="*/ 7894 w 34628"/>
                          <a:gd name="connsiteY256" fmla="*/ 7237 h 81816"/>
                          <a:gd name="connsiteX257" fmla="*/ 7117 w 34628"/>
                          <a:gd name="connsiteY257" fmla="*/ 8253 h 81816"/>
                          <a:gd name="connsiteX258" fmla="*/ 12500 w 34628"/>
                          <a:gd name="connsiteY258" fmla="*/ 12380 h 81816"/>
                          <a:gd name="connsiteX259" fmla="*/ 17105 w 34628"/>
                          <a:gd name="connsiteY259" fmla="*/ 16267 h 81816"/>
                          <a:gd name="connsiteX260" fmla="*/ 20992 w 34628"/>
                          <a:gd name="connsiteY260" fmla="*/ 19976 h 81816"/>
                          <a:gd name="connsiteX261" fmla="*/ 24222 w 34628"/>
                          <a:gd name="connsiteY261" fmla="*/ 23504 h 81816"/>
                          <a:gd name="connsiteX262" fmla="*/ 24521 w 34628"/>
                          <a:gd name="connsiteY262" fmla="*/ 23863 h 81816"/>
                          <a:gd name="connsiteX263" fmla="*/ 24820 w 34628"/>
                          <a:gd name="connsiteY263" fmla="*/ 24222 h 81816"/>
                          <a:gd name="connsiteX264" fmla="*/ 25119 w 34628"/>
                          <a:gd name="connsiteY264" fmla="*/ 24581 h 81816"/>
                          <a:gd name="connsiteX265" fmla="*/ 25418 w 34628"/>
                          <a:gd name="connsiteY265" fmla="*/ 24940 h 81816"/>
                          <a:gd name="connsiteX266" fmla="*/ 25717 w 34628"/>
                          <a:gd name="connsiteY266" fmla="*/ 25298 h 81816"/>
                          <a:gd name="connsiteX267" fmla="*/ 26016 w 34628"/>
                          <a:gd name="connsiteY267" fmla="*/ 25657 h 81816"/>
                          <a:gd name="connsiteX268" fmla="*/ 26255 w 34628"/>
                          <a:gd name="connsiteY268" fmla="*/ 26016 h 81816"/>
                          <a:gd name="connsiteX269" fmla="*/ 26495 w 34628"/>
                          <a:gd name="connsiteY269" fmla="*/ 26375 h 81816"/>
                          <a:gd name="connsiteX270" fmla="*/ 26554 w 34628"/>
                          <a:gd name="connsiteY270" fmla="*/ 26495 h 81816"/>
                          <a:gd name="connsiteX271" fmla="*/ 26614 w 34628"/>
                          <a:gd name="connsiteY271" fmla="*/ 26614 h 81816"/>
                          <a:gd name="connsiteX272" fmla="*/ 26674 w 34628"/>
                          <a:gd name="connsiteY272" fmla="*/ 26734 h 81816"/>
                          <a:gd name="connsiteX273" fmla="*/ 26734 w 34628"/>
                          <a:gd name="connsiteY273" fmla="*/ 26794 h 81816"/>
                          <a:gd name="connsiteX274" fmla="*/ 26973 w 34628"/>
                          <a:gd name="connsiteY274" fmla="*/ 27152 h 81816"/>
                          <a:gd name="connsiteX275" fmla="*/ 27212 w 34628"/>
                          <a:gd name="connsiteY275" fmla="*/ 27511 h 81816"/>
                          <a:gd name="connsiteX276" fmla="*/ 27451 w 34628"/>
                          <a:gd name="connsiteY276" fmla="*/ 27870 h 81816"/>
                          <a:gd name="connsiteX277" fmla="*/ 27691 w 34628"/>
                          <a:gd name="connsiteY277" fmla="*/ 28229 h 81816"/>
                          <a:gd name="connsiteX278" fmla="*/ 27810 w 34628"/>
                          <a:gd name="connsiteY278" fmla="*/ 28468 h 81816"/>
                          <a:gd name="connsiteX279" fmla="*/ 27930 w 34628"/>
                          <a:gd name="connsiteY279" fmla="*/ 28707 h 81816"/>
                          <a:gd name="connsiteX280" fmla="*/ 28050 w 34628"/>
                          <a:gd name="connsiteY280" fmla="*/ 28947 h 81816"/>
                          <a:gd name="connsiteX281" fmla="*/ 28169 w 34628"/>
                          <a:gd name="connsiteY281" fmla="*/ 29186 h 81816"/>
                          <a:gd name="connsiteX282" fmla="*/ 28588 w 34628"/>
                          <a:gd name="connsiteY282" fmla="*/ 29904 h 81816"/>
                          <a:gd name="connsiteX283" fmla="*/ 28946 w 34628"/>
                          <a:gd name="connsiteY283" fmla="*/ 30621 h 81816"/>
                          <a:gd name="connsiteX284" fmla="*/ 29245 w 34628"/>
                          <a:gd name="connsiteY284" fmla="*/ 31339 h 81816"/>
                          <a:gd name="connsiteX285" fmla="*/ 29545 w 34628"/>
                          <a:gd name="connsiteY285" fmla="*/ 32057 h 81816"/>
                          <a:gd name="connsiteX286" fmla="*/ 29724 w 34628"/>
                          <a:gd name="connsiteY286" fmla="*/ 32475 h 81816"/>
                          <a:gd name="connsiteX287" fmla="*/ 29844 w 34628"/>
                          <a:gd name="connsiteY287" fmla="*/ 32894 h 81816"/>
                          <a:gd name="connsiteX288" fmla="*/ 29963 w 34628"/>
                          <a:gd name="connsiteY288" fmla="*/ 33313 h 81816"/>
                          <a:gd name="connsiteX289" fmla="*/ 30083 w 34628"/>
                          <a:gd name="connsiteY289" fmla="*/ 33731 h 81816"/>
                          <a:gd name="connsiteX290" fmla="*/ 30143 w 34628"/>
                          <a:gd name="connsiteY290" fmla="*/ 33970 h 81816"/>
                          <a:gd name="connsiteX291" fmla="*/ 30203 w 34628"/>
                          <a:gd name="connsiteY291" fmla="*/ 34210 h 81816"/>
                          <a:gd name="connsiteX292" fmla="*/ 30262 w 34628"/>
                          <a:gd name="connsiteY292" fmla="*/ 34449 h 81816"/>
                          <a:gd name="connsiteX293" fmla="*/ 30322 w 34628"/>
                          <a:gd name="connsiteY293" fmla="*/ 34688 h 81816"/>
                          <a:gd name="connsiteX294" fmla="*/ 30382 w 34628"/>
                          <a:gd name="connsiteY294" fmla="*/ 35107 h 81816"/>
                          <a:gd name="connsiteX295" fmla="*/ 30442 w 34628"/>
                          <a:gd name="connsiteY295" fmla="*/ 35526 h 81816"/>
                          <a:gd name="connsiteX296" fmla="*/ 30502 w 34628"/>
                          <a:gd name="connsiteY296" fmla="*/ 35944 h 81816"/>
                          <a:gd name="connsiteX297" fmla="*/ 30561 w 34628"/>
                          <a:gd name="connsiteY297" fmla="*/ 36363 h 81816"/>
                          <a:gd name="connsiteX298" fmla="*/ 30561 w 34628"/>
                          <a:gd name="connsiteY298" fmla="*/ 36602 h 81816"/>
                          <a:gd name="connsiteX299" fmla="*/ 30561 w 34628"/>
                          <a:gd name="connsiteY299" fmla="*/ 36841 h 81816"/>
                          <a:gd name="connsiteX300" fmla="*/ 30561 w 34628"/>
                          <a:gd name="connsiteY300" fmla="*/ 37081 h 81816"/>
                          <a:gd name="connsiteX301" fmla="*/ 30561 w 34628"/>
                          <a:gd name="connsiteY301" fmla="*/ 37320 h 81816"/>
                          <a:gd name="connsiteX302" fmla="*/ 30561 w 34628"/>
                          <a:gd name="connsiteY302" fmla="*/ 37678 h 81816"/>
                          <a:gd name="connsiteX303" fmla="*/ 30561 w 34628"/>
                          <a:gd name="connsiteY303" fmla="*/ 38037 h 81816"/>
                          <a:gd name="connsiteX304" fmla="*/ 30561 w 34628"/>
                          <a:gd name="connsiteY304" fmla="*/ 38396 h 81816"/>
                          <a:gd name="connsiteX305" fmla="*/ 30561 w 34628"/>
                          <a:gd name="connsiteY305" fmla="*/ 38755 h 81816"/>
                          <a:gd name="connsiteX306" fmla="*/ 30561 w 34628"/>
                          <a:gd name="connsiteY306" fmla="*/ 39293 h 81816"/>
                          <a:gd name="connsiteX307" fmla="*/ 30502 w 34628"/>
                          <a:gd name="connsiteY307" fmla="*/ 39831 h 81816"/>
                          <a:gd name="connsiteX308" fmla="*/ 30442 w 34628"/>
                          <a:gd name="connsiteY308" fmla="*/ 40370 h 81816"/>
                          <a:gd name="connsiteX309" fmla="*/ 30382 w 34628"/>
                          <a:gd name="connsiteY309" fmla="*/ 40908 h 81816"/>
                          <a:gd name="connsiteX310" fmla="*/ 30322 w 34628"/>
                          <a:gd name="connsiteY310" fmla="*/ 41267 h 81816"/>
                          <a:gd name="connsiteX311" fmla="*/ 30262 w 34628"/>
                          <a:gd name="connsiteY311" fmla="*/ 41626 h 81816"/>
                          <a:gd name="connsiteX312" fmla="*/ 30203 w 34628"/>
                          <a:gd name="connsiteY312" fmla="*/ 41985 h 81816"/>
                          <a:gd name="connsiteX313" fmla="*/ 30143 w 34628"/>
                          <a:gd name="connsiteY313" fmla="*/ 42344 h 81816"/>
                          <a:gd name="connsiteX314" fmla="*/ 30023 w 34628"/>
                          <a:gd name="connsiteY314" fmla="*/ 42762 h 81816"/>
                          <a:gd name="connsiteX315" fmla="*/ 29904 w 34628"/>
                          <a:gd name="connsiteY315" fmla="*/ 43181 h 81816"/>
                          <a:gd name="connsiteX316" fmla="*/ 29784 w 34628"/>
                          <a:gd name="connsiteY316" fmla="*/ 43599 h 81816"/>
                          <a:gd name="connsiteX317" fmla="*/ 29664 w 34628"/>
                          <a:gd name="connsiteY317" fmla="*/ 44018 h 81816"/>
                          <a:gd name="connsiteX318" fmla="*/ 29545 w 34628"/>
                          <a:gd name="connsiteY318" fmla="*/ 44317 h 81816"/>
                          <a:gd name="connsiteX319" fmla="*/ 29425 w 34628"/>
                          <a:gd name="connsiteY319" fmla="*/ 44616 h 81816"/>
                          <a:gd name="connsiteX320" fmla="*/ 29305 w 34628"/>
                          <a:gd name="connsiteY320" fmla="*/ 44915 h 81816"/>
                          <a:gd name="connsiteX321" fmla="*/ 29186 w 34628"/>
                          <a:gd name="connsiteY321" fmla="*/ 45214 h 81816"/>
                          <a:gd name="connsiteX322" fmla="*/ 28588 w 34628"/>
                          <a:gd name="connsiteY322" fmla="*/ 46650 h 81816"/>
                          <a:gd name="connsiteX323" fmla="*/ 27870 w 34628"/>
                          <a:gd name="connsiteY323" fmla="*/ 48085 h 81816"/>
                          <a:gd name="connsiteX324" fmla="*/ 27092 w 34628"/>
                          <a:gd name="connsiteY324" fmla="*/ 49520 h 81816"/>
                          <a:gd name="connsiteX325" fmla="*/ 26196 w 34628"/>
                          <a:gd name="connsiteY325" fmla="*/ 50956 h 81816"/>
                          <a:gd name="connsiteX326" fmla="*/ 26016 w 34628"/>
                          <a:gd name="connsiteY326" fmla="*/ 51195 h 81816"/>
                          <a:gd name="connsiteX327" fmla="*/ 25836 w 34628"/>
                          <a:gd name="connsiteY327" fmla="*/ 51434 h 81816"/>
                          <a:gd name="connsiteX328" fmla="*/ 25657 w 34628"/>
                          <a:gd name="connsiteY328" fmla="*/ 51674 h 81816"/>
                          <a:gd name="connsiteX329" fmla="*/ 25478 w 34628"/>
                          <a:gd name="connsiteY329" fmla="*/ 51913 h 81816"/>
                          <a:gd name="connsiteX330" fmla="*/ 23923 w 34628"/>
                          <a:gd name="connsiteY330" fmla="*/ 54125 h 81816"/>
                          <a:gd name="connsiteX331" fmla="*/ 22248 w 34628"/>
                          <a:gd name="connsiteY331" fmla="*/ 56398 h 81816"/>
                          <a:gd name="connsiteX332" fmla="*/ 20394 w 34628"/>
                          <a:gd name="connsiteY332" fmla="*/ 58731 h 81816"/>
                          <a:gd name="connsiteX333" fmla="*/ 18600 w 34628"/>
                          <a:gd name="connsiteY333" fmla="*/ 60944 h 81816"/>
                          <a:gd name="connsiteX334" fmla="*/ 18480 w 34628"/>
                          <a:gd name="connsiteY334" fmla="*/ 64951 h 81816"/>
                          <a:gd name="connsiteX335" fmla="*/ 19377 w 34628"/>
                          <a:gd name="connsiteY335" fmla="*/ 65549 h 81816"/>
                          <a:gd name="connsiteX336" fmla="*/ 19736 w 34628"/>
                          <a:gd name="connsiteY336" fmla="*/ 65130 h 81816"/>
                          <a:gd name="connsiteX337" fmla="*/ 20095 w 34628"/>
                          <a:gd name="connsiteY337" fmla="*/ 64711 h 81816"/>
                          <a:gd name="connsiteX338" fmla="*/ 20454 w 34628"/>
                          <a:gd name="connsiteY338" fmla="*/ 64293 h 81816"/>
                          <a:gd name="connsiteX339" fmla="*/ 20813 w 34628"/>
                          <a:gd name="connsiteY339" fmla="*/ 63874 h 81816"/>
                          <a:gd name="connsiteX340" fmla="*/ 19916 w 34628"/>
                          <a:gd name="connsiteY340" fmla="*/ 63276 h 81816"/>
                          <a:gd name="connsiteX341" fmla="*/ 19557 w 34628"/>
                          <a:gd name="connsiteY341" fmla="*/ 63695 h 81816"/>
                          <a:gd name="connsiteX342" fmla="*/ 19198 w 34628"/>
                          <a:gd name="connsiteY342" fmla="*/ 64113 h 81816"/>
                          <a:gd name="connsiteX343" fmla="*/ 18839 w 34628"/>
                          <a:gd name="connsiteY343" fmla="*/ 64532 h 81816"/>
                          <a:gd name="connsiteX344" fmla="*/ 18480 w 34628"/>
                          <a:gd name="connsiteY344" fmla="*/ 64951 h 81816"/>
                          <a:gd name="connsiteX345" fmla="*/ 16327 w 34628"/>
                          <a:gd name="connsiteY345" fmla="*/ 63575 h 81816"/>
                          <a:gd name="connsiteX346" fmla="*/ 17225 w 34628"/>
                          <a:gd name="connsiteY346" fmla="*/ 64173 h 81816"/>
                          <a:gd name="connsiteX347" fmla="*/ 17583 w 34628"/>
                          <a:gd name="connsiteY347" fmla="*/ 63754 h 81816"/>
                          <a:gd name="connsiteX348" fmla="*/ 17942 w 34628"/>
                          <a:gd name="connsiteY348" fmla="*/ 63336 h 81816"/>
                          <a:gd name="connsiteX349" fmla="*/ 18301 w 34628"/>
                          <a:gd name="connsiteY349" fmla="*/ 62917 h 81816"/>
                          <a:gd name="connsiteX350" fmla="*/ 18660 w 34628"/>
                          <a:gd name="connsiteY350" fmla="*/ 62499 h 81816"/>
                          <a:gd name="connsiteX351" fmla="*/ 17763 w 34628"/>
                          <a:gd name="connsiteY351" fmla="*/ 61900 h 81816"/>
                          <a:gd name="connsiteX352" fmla="*/ 17404 w 34628"/>
                          <a:gd name="connsiteY352" fmla="*/ 62319 h 81816"/>
                          <a:gd name="connsiteX353" fmla="*/ 17045 w 34628"/>
                          <a:gd name="connsiteY353" fmla="*/ 62738 h 81816"/>
                          <a:gd name="connsiteX354" fmla="*/ 16686 w 34628"/>
                          <a:gd name="connsiteY354" fmla="*/ 63156 h 81816"/>
                          <a:gd name="connsiteX355" fmla="*/ 16327 w 34628"/>
                          <a:gd name="connsiteY355" fmla="*/ 63575 h 81816"/>
                          <a:gd name="connsiteX356" fmla="*/ 16447 w 34628"/>
                          <a:gd name="connsiteY356" fmla="*/ 67403 h 81816"/>
                          <a:gd name="connsiteX357" fmla="*/ 17344 w 34628"/>
                          <a:gd name="connsiteY357" fmla="*/ 68001 h 81816"/>
                          <a:gd name="connsiteX358" fmla="*/ 17643 w 34628"/>
                          <a:gd name="connsiteY358" fmla="*/ 67642 h 81816"/>
                          <a:gd name="connsiteX359" fmla="*/ 17942 w 34628"/>
                          <a:gd name="connsiteY359" fmla="*/ 67283 h 81816"/>
                          <a:gd name="connsiteX360" fmla="*/ 18241 w 34628"/>
                          <a:gd name="connsiteY360" fmla="*/ 66924 h 81816"/>
                          <a:gd name="connsiteX361" fmla="*/ 18540 w 34628"/>
                          <a:gd name="connsiteY361" fmla="*/ 66565 h 81816"/>
                          <a:gd name="connsiteX362" fmla="*/ 17643 w 34628"/>
                          <a:gd name="connsiteY362" fmla="*/ 65967 h 81816"/>
                          <a:gd name="connsiteX363" fmla="*/ 17344 w 34628"/>
                          <a:gd name="connsiteY363" fmla="*/ 66326 h 81816"/>
                          <a:gd name="connsiteX364" fmla="*/ 17045 w 34628"/>
                          <a:gd name="connsiteY364" fmla="*/ 66685 h 81816"/>
                          <a:gd name="connsiteX365" fmla="*/ 16746 w 34628"/>
                          <a:gd name="connsiteY365" fmla="*/ 67044 h 81816"/>
                          <a:gd name="connsiteX366" fmla="*/ 16447 w 34628"/>
                          <a:gd name="connsiteY366" fmla="*/ 67403 h 81816"/>
                          <a:gd name="connsiteX367" fmla="*/ 14294 w 34628"/>
                          <a:gd name="connsiteY367" fmla="*/ 65967 h 81816"/>
                          <a:gd name="connsiteX368" fmla="*/ 15251 w 34628"/>
                          <a:gd name="connsiteY368" fmla="*/ 66565 h 81816"/>
                          <a:gd name="connsiteX369" fmla="*/ 15550 w 34628"/>
                          <a:gd name="connsiteY369" fmla="*/ 66207 h 81816"/>
                          <a:gd name="connsiteX370" fmla="*/ 15849 w 34628"/>
                          <a:gd name="connsiteY370" fmla="*/ 65848 h 81816"/>
                          <a:gd name="connsiteX371" fmla="*/ 16148 w 34628"/>
                          <a:gd name="connsiteY371" fmla="*/ 65489 h 81816"/>
                          <a:gd name="connsiteX372" fmla="*/ 16447 w 34628"/>
                          <a:gd name="connsiteY372" fmla="*/ 65130 h 81816"/>
                          <a:gd name="connsiteX373" fmla="*/ 15490 w 34628"/>
                          <a:gd name="connsiteY373" fmla="*/ 64532 h 81816"/>
                          <a:gd name="connsiteX374" fmla="*/ 15191 w 34628"/>
                          <a:gd name="connsiteY374" fmla="*/ 64891 h 81816"/>
                          <a:gd name="connsiteX375" fmla="*/ 14892 w 34628"/>
                          <a:gd name="connsiteY375" fmla="*/ 65250 h 81816"/>
                          <a:gd name="connsiteX376" fmla="*/ 14593 w 34628"/>
                          <a:gd name="connsiteY376" fmla="*/ 65608 h 81816"/>
                          <a:gd name="connsiteX377" fmla="*/ 14294 w 34628"/>
                          <a:gd name="connsiteY377" fmla="*/ 65967 h 81816"/>
                          <a:gd name="connsiteX378" fmla="*/ 2811 w 34628"/>
                          <a:gd name="connsiteY378" fmla="*/ 79842 h 81816"/>
                          <a:gd name="connsiteX379" fmla="*/ 5861 w 34628"/>
                          <a:gd name="connsiteY379" fmla="*/ 81816 h 81816"/>
                          <a:gd name="connsiteX380" fmla="*/ 5921 w 34628"/>
                          <a:gd name="connsiteY380" fmla="*/ 81696 h 81816"/>
                          <a:gd name="connsiteX381" fmla="*/ 7236 w 34628"/>
                          <a:gd name="connsiteY381" fmla="*/ 80082 h 81816"/>
                          <a:gd name="connsiteX382" fmla="*/ 8552 w 34628"/>
                          <a:gd name="connsiteY382" fmla="*/ 78467 h 81816"/>
                          <a:gd name="connsiteX383" fmla="*/ 9868 w 34628"/>
                          <a:gd name="connsiteY383" fmla="*/ 76912 h 81816"/>
                          <a:gd name="connsiteX384" fmla="*/ 11124 w 34628"/>
                          <a:gd name="connsiteY384" fmla="*/ 75357 h 81816"/>
                          <a:gd name="connsiteX385" fmla="*/ 11303 w 34628"/>
                          <a:gd name="connsiteY385" fmla="*/ 75118 h 81816"/>
                          <a:gd name="connsiteX386" fmla="*/ 11483 w 34628"/>
                          <a:gd name="connsiteY386" fmla="*/ 74879 h 81816"/>
                          <a:gd name="connsiteX387" fmla="*/ 11662 w 34628"/>
                          <a:gd name="connsiteY387" fmla="*/ 74639 h 81816"/>
                          <a:gd name="connsiteX388" fmla="*/ 11842 w 34628"/>
                          <a:gd name="connsiteY388" fmla="*/ 74400 h 81816"/>
                          <a:gd name="connsiteX389" fmla="*/ 13038 w 34628"/>
                          <a:gd name="connsiteY389" fmla="*/ 73025 h 81816"/>
                          <a:gd name="connsiteX390" fmla="*/ 14174 w 34628"/>
                          <a:gd name="connsiteY390" fmla="*/ 71649 h 81816"/>
                          <a:gd name="connsiteX391" fmla="*/ 15311 w 34628"/>
                          <a:gd name="connsiteY391" fmla="*/ 70273 h 81816"/>
                          <a:gd name="connsiteX392" fmla="*/ 16447 w 34628"/>
                          <a:gd name="connsiteY392" fmla="*/ 68958 h 81816"/>
                          <a:gd name="connsiteX393" fmla="*/ 15550 w 34628"/>
                          <a:gd name="connsiteY393" fmla="*/ 68360 h 81816"/>
                          <a:gd name="connsiteX394" fmla="*/ 14413 w 34628"/>
                          <a:gd name="connsiteY394" fmla="*/ 69676 h 81816"/>
                          <a:gd name="connsiteX395" fmla="*/ 13277 w 34628"/>
                          <a:gd name="connsiteY395" fmla="*/ 71051 h 81816"/>
                          <a:gd name="connsiteX396" fmla="*/ 12141 w 34628"/>
                          <a:gd name="connsiteY396" fmla="*/ 72426 h 81816"/>
                          <a:gd name="connsiteX397" fmla="*/ 10944 w 34628"/>
                          <a:gd name="connsiteY397" fmla="*/ 73802 h 81816"/>
                          <a:gd name="connsiteX398" fmla="*/ 10765 w 34628"/>
                          <a:gd name="connsiteY398" fmla="*/ 74041 h 81816"/>
                          <a:gd name="connsiteX399" fmla="*/ 10586 w 34628"/>
                          <a:gd name="connsiteY399" fmla="*/ 74280 h 81816"/>
                          <a:gd name="connsiteX400" fmla="*/ 10406 w 34628"/>
                          <a:gd name="connsiteY400" fmla="*/ 74520 h 81816"/>
                          <a:gd name="connsiteX401" fmla="*/ 10227 w 34628"/>
                          <a:gd name="connsiteY401" fmla="*/ 74759 h 81816"/>
                          <a:gd name="connsiteX402" fmla="*/ 9031 w 34628"/>
                          <a:gd name="connsiteY402" fmla="*/ 76194 h 81816"/>
                          <a:gd name="connsiteX403" fmla="*/ 7835 w 34628"/>
                          <a:gd name="connsiteY403" fmla="*/ 77630 h 81816"/>
                          <a:gd name="connsiteX404" fmla="*/ 6639 w 34628"/>
                          <a:gd name="connsiteY404" fmla="*/ 79125 h 81816"/>
                          <a:gd name="connsiteX405" fmla="*/ 5442 w 34628"/>
                          <a:gd name="connsiteY405" fmla="*/ 80620 h 81816"/>
                          <a:gd name="connsiteX406" fmla="*/ 4186 w 34628"/>
                          <a:gd name="connsiteY406" fmla="*/ 79842 h 81816"/>
                          <a:gd name="connsiteX407" fmla="*/ 5382 w 34628"/>
                          <a:gd name="connsiteY407" fmla="*/ 78347 h 81816"/>
                          <a:gd name="connsiteX408" fmla="*/ 6579 w 34628"/>
                          <a:gd name="connsiteY408" fmla="*/ 76852 h 81816"/>
                          <a:gd name="connsiteX409" fmla="*/ 7775 w 34628"/>
                          <a:gd name="connsiteY409" fmla="*/ 75417 h 81816"/>
                          <a:gd name="connsiteX410" fmla="*/ 8971 w 34628"/>
                          <a:gd name="connsiteY410" fmla="*/ 73981 h 81816"/>
                          <a:gd name="connsiteX411" fmla="*/ 9150 w 34628"/>
                          <a:gd name="connsiteY411" fmla="*/ 73742 h 81816"/>
                          <a:gd name="connsiteX412" fmla="*/ 9330 w 34628"/>
                          <a:gd name="connsiteY412" fmla="*/ 73503 h 81816"/>
                          <a:gd name="connsiteX413" fmla="*/ 9509 w 34628"/>
                          <a:gd name="connsiteY413" fmla="*/ 73264 h 81816"/>
                          <a:gd name="connsiteX414" fmla="*/ 9689 w 34628"/>
                          <a:gd name="connsiteY414" fmla="*/ 73025 h 81816"/>
                          <a:gd name="connsiteX415" fmla="*/ 10885 w 34628"/>
                          <a:gd name="connsiteY415" fmla="*/ 71649 h 81816"/>
                          <a:gd name="connsiteX416" fmla="*/ 12021 w 34628"/>
                          <a:gd name="connsiteY416" fmla="*/ 70273 h 81816"/>
                          <a:gd name="connsiteX417" fmla="*/ 13157 w 34628"/>
                          <a:gd name="connsiteY417" fmla="*/ 68898 h 81816"/>
                          <a:gd name="connsiteX418" fmla="*/ 14294 w 34628"/>
                          <a:gd name="connsiteY418" fmla="*/ 67582 h 81816"/>
                          <a:gd name="connsiteX419" fmla="*/ 13337 w 34628"/>
                          <a:gd name="connsiteY419" fmla="*/ 66984 h 81816"/>
                          <a:gd name="connsiteX420" fmla="*/ 12201 w 34628"/>
                          <a:gd name="connsiteY420" fmla="*/ 68300 h 81816"/>
                          <a:gd name="connsiteX421" fmla="*/ 11064 w 34628"/>
                          <a:gd name="connsiteY421" fmla="*/ 69676 h 81816"/>
                          <a:gd name="connsiteX422" fmla="*/ 9928 w 34628"/>
                          <a:gd name="connsiteY422" fmla="*/ 71051 h 81816"/>
                          <a:gd name="connsiteX423" fmla="*/ 8732 w 34628"/>
                          <a:gd name="connsiteY423" fmla="*/ 72426 h 81816"/>
                          <a:gd name="connsiteX424" fmla="*/ 8552 w 34628"/>
                          <a:gd name="connsiteY424" fmla="*/ 72666 h 81816"/>
                          <a:gd name="connsiteX425" fmla="*/ 8373 w 34628"/>
                          <a:gd name="connsiteY425" fmla="*/ 72905 h 81816"/>
                          <a:gd name="connsiteX426" fmla="*/ 8194 w 34628"/>
                          <a:gd name="connsiteY426" fmla="*/ 73144 h 81816"/>
                          <a:gd name="connsiteX427" fmla="*/ 8014 w 34628"/>
                          <a:gd name="connsiteY427" fmla="*/ 73384 h 81816"/>
                          <a:gd name="connsiteX428" fmla="*/ 6758 w 34628"/>
                          <a:gd name="connsiteY428" fmla="*/ 74938 h 81816"/>
                          <a:gd name="connsiteX429" fmla="*/ 5502 w 34628"/>
                          <a:gd name="connsiteY429" fmla="*/ 76493 h 81816"/>
                          <a:gd name="connsiteX430" fmla="*/ 4186 w 34628"/>
                          <a:gd name="connsiteY430" fmla="*/ 78108 h 81816"/>
                          <a:gd name="connsiteX431" fmla="*/ 2871 w 34628"/>
                          <a:gd name="connsiteY431" fmla="*/ 79723 h 81816"/>
                          <a:gd name="connsiteX432" fmla="*/ 2811 w 34628"/>
                          <a:gd name="connsiteY432" fmla="*/ 79842 h 8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Lst>
                        <a:rect l="l" t="t" r="r" b="b"/>
                        <a:pathLst>
                          <a:path w="34628" h="81816">
                            <a:moveTo>
                              <a:pt x="6100" y="7596"/>
                            </a:moveTo>
                            <a:lnTo>
                              <a:pt x="6878" y="6579"/>
                            </a:lnTo>
                            <a:cubicBezTo>
                              <a:pt x="6459" y="6280"/>
                              <a:pt x="6040" y="5981"/>
                              <a:pt x="5622" y="5682"/>
                            </a:cubicBezTo>
                            <a:cubicBezTo>
                              <a:pt x="5203" y="5383"/>
                              <a:pt x="4785" y="5083"/>
                              <a:pt x="4366" y="4785"/>
                            </a:cubicBezTo>
                            <a:cubicBezTo>
                              <a:pt x="3947" y="4486"/>
                              <a:pt x="3528" y="4187"/>
                              <a:pt x="3050" y="3888"/>
                            </a:cubicBezTo>
                            <a:cubicBezTo>
                              <a:pt x="2632" y="3588"/>
                              <a:pt x="2153" y="3289"/>
                              <a:pt x="1734" y="2990"/>
                            </a:cubicBezTo>
                            <a:lnTo>
                              <a:pt x="2751" y="1674"/>
                            </a:lnTo>
                            <a:cubicBezTo>
                              <a:pt x="3229" y="1974"/>
                              <a:pt x="3648" y="2273"/>
                              <a:pt x="4067" y="2572"/>
                            </a:cubicBezTo>
                            <a:cubicBezTo>
                              <a:pt x="4486" y="2871"/>
                              <a:pt x="4964" y="3170"/>
                              <a:pt x="5382" y="3469"/>
                            </a:cubicBezTo>
                            <a:cubicBezTo>
                              <a:pt x="5801" y="3768"/>
                              <a:pt x="6220" y="4067"/>
                              <a:pt x="6639" y="4366"/>
                            </a:cubicBezTo>
                            <a:cubicBezTo>
                              <a:pt x="7057" y="4665"/>
                              <a:pt x="7476" y="4964"/>
                              <a:pt x="7894" y="5263"/>
                            </a:cubicBezTo>
                            <a:lnTo>
                              <a:pt x="8672" y="4246"/>
                            </a:lnTo>
                            <a:cubicBezTo>
                              <a:pt x="8253" y="3947"/>
                              <a:pt x="7775" y="3588"/>
                              <a:pt x="7296" y="3289"/>
                            </a:cubicBezTo>
                            <a:cubicBezTo>
                              <a:pt x="6818" y="2990"/>
                              <a:pt x="6399" y="2632"/>
                              <a:pt x="5921" y="2333"/>
                            </a:cubicBezTo>
                            <a:cubicBezTo>
                              <a:pt x="5442" y="1974"/>
                              <a:pt x="4964" y="1674"/>
                              <a:pt x="4486" y="1316"/>
                            </a:cubicBezTo>
                            <a:cubicBezTo>
                              <a:pt x="4007" y="957"/>
                              <a:pt x="3528" y="658"/>
                              <a:pt x="3050" y="299"/>
                            </a:cubicBezTo>
                            <a:lnTo>
                              <a:pt x="2572" y="0"/>
                            </a:lnTo>
                            <a:lnTo>
                              <a:pt x="1973" y="778"/>
                            </a:lnTo>
                            <a:lnTo>
                              <a:pt x="0" y="3289"/>
                            </a:lnTo>
                            <a:lnTo>
                              <a:pt x="478" y="3588"/>
                            </a:lnTo>
                            <a:cubicBezTo>
                              <a:pt x="957" y="3947"/>
                              <a:pt x="1435" y="4246"/>
                              <a:pt x="1973" y="4605"/>
                            </a:cubicBezTo>
                            <a:cubicBezTo>
                              <a:pt x="2452" y="4964"/>
                              <a:pt x="2930" y="5263"/>
                              <a:pt x="3409" y="5622"/>
                            </a:cubicBezTo>
                            <a:cubicBezTo>
                              <a:pt x="3887" y="5921"/>
                              <a:pt x="4366" y="6280"/>
                              <a:pt x="4785" y="6579"/>
                            </a:cubicBezTo>
                            <a:cubicBezTo>
                              <a:pt x="5203" y="6878"/>
                              <a:pt x="5681" y="7237"/>
                              <a:pt x="6100" y="7596"/>
                            </a:cubicBezTo>
                            <a:moveTo>
                              <a:pt x="20693" y="62379"/>
                            </a:moveTo>
                            <a:lnTo>
                              <a:pt x="21590" y="62977"/>
                            </a:lnTo>
                            <a:cubicBezTo>
                              <a:pt x="22248" y="62200"/>
                              <a:pt x="22906" y="61362"/>
                              <a:pt x="23564" y="60585"/>
                            </a:cubicBezTo>
                            <a:cubicBezTo>
                              <a:pt x="24222" y="59807"/>
                              <a:pt x="24820" y="59030"/>
                              <a:pt x="25418" y="58252"/>
                            </a:cubicBezTo>
                            <a:cubicBezTo>
                              <a:pt x="26016" y="57475"/>
                              <a:pt x="26554" y="56697"/>
                              <a:pt x="27152" y="55979"/>
                            </a:cubicBezTo>
                            <a:cubicBezTo>
                              <a:pt x="27691" y="55202"/>
                              <a:pt x="28229" y="54484"/>
                              <a:pt x="28707" y="53707"/>
                            </a:cubicBezTo>
                            <a:cubicBezTo>
                              <a:pt x="28767" y="53647"/>
                              <a:pt x="28827" y="53528"/>
                              <a:pt x="28887" y="53468"/>
                            </a:cubicBezTo>
                            <a:cubicBezTo>
                              <a:pt x="28946" y="53408"/>
                              <a:pt x="29006" y="53288"/>
                              <a:pt x="29066" y="53229"/>
                            </a:cubicBezTo>
                            <a:cubicBezTo>
                              <a:pt x="29126" y="53169"/>
                              <a:pt x="29186" y="53049"/>
                              <a:pt x="29245" y="52989"/>
                            </a:cubicBezTo>
                            <a:cubicBezTo>
                              <a:pt x="29305" y="52929"/>
                              <a:pt x="29365" y="52810"/>
                              <a:pt x="29425" y="52750"/>
                            </a:cubicBezTo>
                            <a:cubicBezTo>
                              <a:pt x="29724" y="52271"/>
                              <a:pt x="30023" y="51793"/>
                              <a:pt x="30322" y="51315"/>
                            </a:cubicBezTo>
                            <a:cubicBezTo>
                              <a:pt x="30621" y="50836"/>
                              <a:pt x="30860" y="50358"/>
                              <a:pt x="31159" y="49879"/>
                            </a:cubicBezTo>
                            <a:cubicBezTo>
                              <a:pt x="31399" y="49401"/>
                              <a:pt x="31638" y="48922"/>
                              <a:pt x="31877" y="48444"/>
                            </a:cubicBezTo>
                            <a:cubicBezTo>
                              <a:pt x="32116" y="47966"/>
                              <a:pt x="32356" y="47487"/>
                              <a:pt x="32535" y="47068"/>
                            </a:cubicBezTo>
                            <a:cubicBezTo>
                              <a:pt x="32595" y="46949"/>
                              <a:pt x="32595" y="46889"/>
                              <a:pt x="32655" y="46769"/>
                            </a:cubicBezTo>
                            <a:cubicBezTo>
                              <a:pt x="32714" y="46650"/>
                              <a:pt x="32714" y="46590"/>
                              <a:pt x="32774" y="46470"/>
                            </a:cubicBezTo>
                            <a:cubicBezTo>
                              <a:pt x="32834" y="46351"/>
                              <a:pt x="32834" y="46291"/>
                              <a:pt x="32894" y="46171"/>
                            </a:cubicBezTo>
                            <a:cubicBezTo>
                              <a:pt x="32953" y="46052"/>
                              <a:pt x="32953" y="45992"/>
                              <a:pt x="33013" y="45872"/>
                            </a:cubicBezTo>
                            <a:cubicBezTo>
                              <a:pt x="33073" y="45753"/>
                              <a:pt x="33133" y="45573"/>
                              <a:pt x="33193" y="45453"/>
                            </a:cubicBezTo>
                            <a:cubicBezTo>
                              <a:pt x="33253" y="45334"/>
                              <a:pt x="33312" y="45154"/>
                              <a:pt x="33372" y="45035"/>
                            </a:cubicBezTo>
                            <a:cubicBezTo>
                              <a:pt x="33432" y="44915"/>
                              <a:pt x="33492" y="44736"/>
                              <a:pt x="33492" y="44616"/>
                            </a:cubicBezTo>
                            <a:cubicBezTo>
                              <a:pt x="33552" y="44497"/>
                              <a:pt x="33612" y="44317"/>
                              <a:pt x="33612" y="44198"/>
                            </a:cubicBezTo>
                            <a:cubicBezTo>
                              <a:pt x="33671" y="44078"/>
                              <a:pt x="33671" y="44018"/>
                              <a:pt x="33731" y="43899"/>
                            </a:cubicBezTo>
                            <a:cubicBezTo>
                              <a:pt x="33791" y="43779"/>
                              <a:pt x="33791" y="43719"/>
                              <a:pt x="33851" y="43599"/>
                            </a:cubicBezTo>
                            <a:cubicBezTo>
                              <a:pt x="33911" y="43480"/>
                              <a:pt x="33911" y="43360"/>
                              <a:pt x="33911" y="43300"/>
                            </a:cubicBezTo>
                            <a:cubicBezTo>
                              <a:pt x="33911" y="43240"/>
                              <a:pt x="33970" y="43061"/>
                              <a:pt x="33970" y="43001"/>
                            </a:cubicBezTo>
                            <a:cubicBezTo>
                              <a:pt x="34030" y="42643"/>
                              <a:pt x="34150" y="42344"/>
                              <a:pt x="34210" y="41985"/>
                            </a:cubicBezTo>
                            <a:cubicBezTo>
                              <a:pt x="34269" y="41626"/>
                              <a:pt x="34329" y="41327"/>
                              <a:pt x="34389" y="40968"/>
                            </a:cubicBezTo>
                            <a:cubicBezTo>
                              <a:pt x="34449" y="40609"/>
                              <a:pt x="34509" y="40310"/>
                              <a:pt x="34509" y="39951"/>
                            </a:cubicBezTo>
                            <a:cubicBezTo>
                              <a:pt x="34568" y="39592"/>
                              <a:pt x="34568" y="39293"/>
                              <a:pt x="34628" y="38935"/>
                            </a:cubicBezTo>
                            <a:cubicBezTo>
                              <a:pt x="34628" y="38815"/>
                              <a:pt x="34628" y="38695"/>
                              <a:pt x="34628" y="38576"/>
                            </a:cubicBezTo>
                            <a:cubicBezTo>
                              <a:pt x="34628" y="38456"/>
                              <a:pt x="34628" y="38336"/>
                              <a:pt x="34628" y="38217"/>
                            </a:cubicBezTo>
                            <a:cubicBezTo>
                              <a:pt x="34628" y="38097"/>
                              <a:pt x="34628" y="37977"/>
                              <a:pt x="34628" y="37858"/>
                            </a:cubicBezTo>
                            <a:cubicBezTo>
                              <a:pt x="34628" y="37738"/>
                              <a:pt x="34628" y="37619"/>
                              <a:pt x="34628" y="37499"/>
                            </a:cubicBezTo>
                            <a:cubicBezTo>
                              <a:pt x="34628" y="37380"/>
                              <a:pt x="34628" y="37320"/>
                              <a:pt x="34628" y="37200"/>
                            </a:cubicBezTo>
                            <a:cubicBezTo>
                              <a:pt x="34628" y="37081"/>
                              <a:pt x="34628" y="37021"/>
                              <a:pt x="34628" y="36901"/>
                            </a:cubicBezTo>
                            <a:cubicBezTo>
                              <a:pt x="34628" y="36782"/>
                              <a:pt x="34628" y="36722"/>
                              <a:pt x="34628" y="36602"/>
                            </a:cubicBezTo>
                            <a:cubicBezTo>
                              <a:pt x="34628" y="36482"/>
                              <a:pt x="34628" y="36423"/>
                              <a:pt x="34628" y="36303"/>
                            </a:cubicBezTo>
                            <a:cubicBezTo>
                              <a:pt x="34628" y="36064"/>
                              <a:pt x="34568" y="35765"/>
                              <a:pt x="34568" y="35526"/>
                            </a:cubicBezTo>
                            <a:cubicBezTo>
                              <a:pt x="34568" y="35286"/>
                              <a:pt x="34509" y="34987"/>
                              <a:pt x="34449" y="34688"/>
                            </a:cubicBezTo>
                            <a:cubicBezTo>
                              <a:pt x="34389" y="34389"/>
                              <a:pt x="34389" y="34150"/>
                              <a:pt x="34329" y="33851"/>
                            </a:cubicBezTo>
                            <a:cubicBezTo>
                              <a:pt x="34269" y="33552"/>
                              <a:pt x="34210" y="33313"/>
                              <a:pt x="34150" y="33014"/>
                            </a:cubicBezTo>
                            <a:cubicBezTo>
                              <a:pt x="34090" y="32894"/>
                              <a:pt x="34090" y="32774"/>
                              <a:pt x="34030" y="32595"/>
                            </a:cubicBezTo>
                            <a:cubicBezTo>
                              <a:pt x="33970" y="32475"/>
                              <a:pt x="33970" y="32356"/>
                              <a:pt x="33911" y="32176"/>
                            </a:cubicBezTo>
                            <a:cubicBezTo>
                              <a:pt x="33851" y="31997"/>
                              <a:pt x="33851" y="31937"/>
                              <a:pt x="33791" y="31758"/>
                            </a:cubicBezTo>
                            <a:cubicBezTo>
                              <a:pt x="33731" y="31638"/>
                              <a:pt x="33731" y="31519"/>
                              <a:pt x="33671" y="31339"/>
                            </a:cubicBezTo>
                            <a:cubicBezTo>
                              <a:pt x="33612" y="31160"/>
                              <a:pt x="33552" y="31040"/>
                              <a:pt x="33492" y="30860"/>
                            </a:cubicBezTo>
                            <a:cubicBezTo>
                              <a:pt x="33432" y="30681"/>
                              <a:pt x="33372" y="30561"/>
                              <a:pt x="33312" y="30382"/>
                            </a:cubicBezTo>
                            <a:cubicBezTo>
                              <a:pt x="33253" y="30203"/>
                              <a:pt x="33193" y="30083"/>
                              <a:pt x="33133" y="29904"/>
                            </a:cubicBezTo>
                            <a:cubicBezTo>
                              <a:pt x="33073" y="29724"/>
                              <a:pt x="33013" y="29605"/>
                              <a:pt x="32953" y="29425"/>
                            </a:cubicBezTo>
                            <a:cubicBezTo>
                              <a:pt x="32894" y="29246"/>
                              <a:pt x="32774" y="29066"/>
                              <a:pt x="32714" y="28887"/>
                            </a:cubicBezTo>
                            <a:cubicBezTo>
                              <a:pt x="32655" y="28707"/>
                              <a:pt x="32535" y="28528"/>
                              <a:pt x="32475" y="28349"/>
                            </a:cubicBezTo>
                            <a:cubicBezTo>
                              <a:pt x="32415" y="28169"/>
                              <a:pt x="32296" y="27990"/>
                              <a:pt x="32176" y="27811"/>
                            </a:cubicBezTo>
                            <a:cubicBezTo>
                              <a:pt x="32057" y="27631"/>
                              <a:pt x="31997" y="27452"/>
                              <a:pt x="31877" y="27272"/>
                            </a:cubicBezTo>
                            <a:cubicBezTo>
                              <a:pt x="31817" y="27152"/>
                              <a:pt x="31758" y="26973"/>
                              <a:pt x="31638" y="26853"/>
                            </a:cubicBezTo>
                            <a:cubicBezTo>
                              <a:pt x="31578" y="26734"/>
                              <a:pt x="31458" y="26554"/>
                              <a:pt x="31399" y="26435"/>
                            </a:cubicBezTo>
                            <a:cubicBezTo>
                              <a:pt x="31339" y="26315"/>
                              <a:pt x="31219" y="26136"/>
                              <a:pt x="31159" y="26016"/>
                            </a:cubicBezTo>
                            <a:cubicBezTo>
                              <a:pt x="31099" y="25897"/>
                              <a:pt x="30980" y="25717"/>
                              <a:pt x="30920" y="25597"/>
                            </a:cubicBezTo>
                            <a:cubicBezTo>
                              <a:pt x="30741" y="25238"/>
                              <a:pt x="30502" y="24940"/>
                              <a:pt x="30262" y="24581"/>
                            </a:cubicBezTo>
                            <a:cubicBezTo>
                              <a:pt x="30023" y="24222"/>
                              <a:pt x="29844" y="23923"/>
                              <a:pt x="29604" y="23564"/>
                            </a:cubicBezTo>
                            <a:cubicBezTo>
                              <a:pt x="29365" y="23205"/>
                              <a:pt x="29126" y="22906"/>
                              <a:pt x="28887" y="22547"/>
                            </a:cubicBezTo>
                            <a:cubicBezTo>
                              <a:pt x="28648" y="22189"/>
                              <a:pt x="28349" y="21889"/>
                              <a:pt x="28109" y="21530"/>
                            </a:cubicBezTo>
                            <a:cubicBezTo>
                              <a:pt x="27990" y="21411"/>
                              <a:pt x="27870" y="21231"/>
                              <a:pt x="27750" y="21112"/>
                            </a:cubicBezTo>
                            <a:cubicBezTo>
                              <a:pt x="27631" y="20992"/>
                              <a:pt x="27511" y="20813"/>
                              <a:pt x="27391" y="20693"/>
                            </a:cubicBezTo>
                            <a:cubicBezTo>
                              <a:pt x="27272" y="20574"/>
                              <a:pt x="27152" y="20394"/>
                              <a:pt x="27033" y="20275"/>
                            </a:cubicBezTo>
                            <a:cubicBezTo>
                              <a:pt x="26913" y="20155"/>
                              <a:pt x="26794" y="19976"/>
                              <a:pt x="26674" y="19856"/>
                            </a:cubicBezTo>
                            <a:cubicBezTo>
                              <a:pt x="26495" y="19676"/>
                              <a:pt x="26315" y="19437"/>
                              <a:pt x="26136" y="19198"/>
                            </a:cubicBezTo>
                            <a:cubicBezTo>
                              <a:pt x="25956" y="18959"/>
                              <a:pt x="25777" y="18780"/>
                              <a:pt x="25537" y="18540"/>
                            </a:cubicBezTo>
                            <a:cubicBezTo>
                              <a:pt x="25298" y="18301"/>
                              <a:pt x="25119" y="18121"/>
                              <a:pt x="24940" y="17882"/>
                            </a:cubicBezTo>
                            <a:cubicBezTo>
                              <a:pt x="24760" y="17643"/>
                              <a:pt x="24521" y="17464"/>
                              <a:pt x="24341" y="17225"/>
                            </a:cubicBezTo>
                            <a:cubicBezTo>
                              <a:pt x="24162" y="17045"/>
                              <a:pt x="23923" y="16806"/>
                              <a:pt x="23743" y="16626"/>
                            </a:cubicBezTo>
                            <a:cubicBezTo>
                              <a:pt x="23564" y="16447"/>
                              <a:pt x="23325" y="16208"/>
                              <a:pt x="23145" y="16028"/>
                            </a:cubicBezTo>
                            <a:cubicBezTo>
                              <a:pt x="22966" y="15849"/>
                              <a:pt x="22727" y="15610"/>
                              <a:pt x="22487" y="15430"/>
                            </a:cubicBezTo>
                            <a:cubicBezTo>
                              <a:pt x="22248" y="15251"/>
                              <a:pt x="22069" y="15012"/>
                              <a:pt x="21829" y="14832"/>
                            </a:cubicBezTo>
                            <a:cubicBezTo>
                              <a:pt x="21590" y="14593"/>
                              <a:pt x="21351" y="14354"/>
                              <a:pt x="21112" y="14174"/>
                            </a:cubicBezTo>
                            <a:cubicBezTo>
                              <a:pt x="20873" y="13935"/>
                              <a:pt x="20633" y="13696"/>
                              <a:pt x="20394" y="13516"/>
                            </a:cubicBezTo>
                            <a:cubicBezTo>
                              <a:pt x="20155" y="13337"/>
                              <a:pt x="19856" y="13038"/>
                              <a:pt x="19617" y="12799"/>
                            </a:cubicBezTo>
                            <a:cubicBezTo>
                              <a:pt x="19377" y="12559"/>
                              <a:pt x="19079" y="12320"/>
                              <a:pt x="18839" y="12081"/>
                            </a:cubicBezTo>
                            <a:cubicBezTo>
                              <a:pt x="18181" y="11483"/>
                              <a:pt x="17464" y="10885"/>
                              <a:pt x="16746" y="10287"/>
                            </a:cubicBezTo>
                            <a:cubicBezTo>
                              <a:pt x="16028" y="9689"/>
                              <a:pt x="15311" y="9091"/>
                              <a:pt x="14533" y="8493"/>
                            </a:cubicBezTo>
                            <a:cubicBezTo>
                              <a:pt x="13756" y="7895"/>
                              <a:pt x="12978" y="7237"/>
                              <a:pt x="12141" y="6639"/>
                            </a:cubicBezTo>
                            <a:cubicBezTo>
                              <a:pt x="11303" y="6041"/>
                              <a:pt x="10466" y="5383"/>
                              <a:pt x="9629" y="4725"/>
                            </a:cubicBezTo>
                            <a:lnTo>
                              <a:pt x="8851" y="5742"/>
                            </a:lnTo>
                            <a:cubicBezTo>
                              <a:pt x="10347" y="6818"/>
                              <a:pt x="11722" y="7895"/>
                              <a:pt x="13098" y="8971"/>
                            </a:cubicBezTo>
                            <a:cubicBezTo>
                              <a:pt x="14413" y="10048"/>
                              <a:pt x="15729" y="11064"/>
                              <a:pt x="16925" y="12081"/>
                            </a:cubicBezTo>
                            <a:cubicBezTo>
                              <a:pt x="18121" y="13098"/>
                              <a:pt x="19258" y="14114"/>
                              <a:pt x="20334" y="15072"/>
                            </a:cubicBezTo>
                            <a:cubicBezTo>
                              <a:pt x="21411" y="16028"/>
                              <a:pt x="22368" y="16985"/>
                              <a:pt x="23325" y="17942"/>
                            </a:cubicBezTo>
                            <a:cubicBezTo>
                              <a:pt x="23504" y="18121"/>
                              <a:pt x="23624" y="18301"/>
                              <a:pt x="23803" y="18421"/>
                            </a:cubicBezTo>
                            <a:cubicBezTo>
                              <a:pt x="23982" y="18540"/>
                              <a:pt x="24102" y="18720"/>
                              <a:pt x="24282" y="18899"/>
                            </a:cubicBezTo>
                            <a:cubicBezTo>
                              <a:pt x="24461" y="19079"/>
                              <a:pt x="24581" y="19198"/>
                              <a:pt x="24760" y="19377"/>
                            </a:cubicBezTo>
                            <a:cubicBezTo>
                              <a:pt x="24940" y="19557"/>
                              <a:pt x="25059" y="19676"/>
                              <a:pt x="25179" y="19856"/>
                            </a:cubicBezTo>
                            <a:cubicBezTo>
                              <a:pt x="25358" y="20035"/>
                              <a:pt x="25478" y="20215"/>
                              <a:pt x="25657" y="20394"/>
                            </a:cubicBezTo>
                            <a:cubicBezTo>
                              <a:pt x="25836" y="20574"/>
                              <a:pt x="25956" y="20753"/>
                              <a:pt x="26136" y="20933"/>
                            </a:cubicBezTo>
                            <a:cubicBezTo>
                              <a:pt x="26315" y="21112"/>
                              <a:pt x="26435" y="21291"/>
                              <a:pt x="26614" y="21471"/>
                            </a:cubicBezTo>
                            <a:cubicBezTo>
                              <a:pt x="26794" y="21650"/>
                              <a:pt x="26913" y="21830"/>
                              <a:pt x="27033" y="22009"/>
                            </a:cubicBezTo>
                            <a:cubicBezTo>
                              <a:pt x="27152" y="22129"/>
                              <a:pt x="27212" y="22248"/>
                              <a:pt x="27332" y="22428"/>
                            </a:cubicBezTo>
                            <a:cubicBezTo>
                              <a:pt x="27451" y="22547"/>
                              <a:pt x="27511" y="22667"/>
                              <a:pt x="27631" y="22846"/>
                            </a:cubicBezTo>
                            <a:cubicBezTo>
                              <a:pt x="27750" y="22966"/>
                              <a:pt x="27810" y="23085"/>
                              <a:pt x="27930" y="23205"/>
                            </a:cubicBezTo>
                            <a:cubicBezTo>
                              <a:pt x="28050" y="23325"/>
                              <a:pt x="28109" y="23444"/>
                              <a:pt x="28229" y="23564"/>
                            </a:cubicBezTo>
                            <a:cubicBezTo>
                              <a:pt x="28468" y="23923"/>
                              <a:pt x="28707" y="24222"/>
                              <a:pt x="28946" y="24521"/>
                            </a:cubicBezTo>
                            <a:cubicBezTo>
                              <a:pt x="29186" y="24820"/>
                              <a:pt x="29365" y="25179"/>
                              <a:pt x="29604" y="25478"/>
                            </a:cubicBezTo>
                            <a:cubicBezTo>
                              <a:pt x="29784" y="25777"/>
                              <a:pt x="30023" y="26136"/>
                              <a:pt x="30203" y="26435"/>
                            </a:cubicBezTo>
                            <a:cubicBezTo>
                              <a:pt x="30382" y="26734"/>
                              <a:pt x="30561" y="27092"/>
                              <a:pt x="30741" y="27392"/>
                            </a:cubicBezTo>
                            <a:cubicBezTo>
                              <a:pt x="30801" y="27511"/>
                              <a:pt x="30860" y="27691"/>
                              <a:pt x="30980" y="27811"/>
                            </a:cubicBezTo>
                            <a:cubicBezTo>
                              <a:pt x="31040" y="27930"/>
                              <a:pt x="31099" y="28109"/>
                              <a:pt x="31159" y="28229"/>
                            </a:cubicBezTo>
                            <a:cubicBezTo>
                              <a:pt x="31219" y="28349"/>
                              <a:pt x="31279" y="28528"/>
                              <a:pt x="31339" y="28648"/>
                            </a:cubicBezTo>
                            <a:cubicBezTo>
                              <a:pt x="31399" y="28767"/>
                              <a:pt x="31458" y="28887"/>
                              <a:pt x="31518" y="29066"/>
                            </a:cubicBezTo>
                            <a:cubicBezTo>
                              <a:pt x="31518" y="29126"/>
                              <a:pt x="31578" y="29186"/>
                              <a:pt x="31578" y="29246"/>
                            </a:cubicBezTo>
                            <a:cubicBezTo>
                              <a:pt x="31578" y="29306"/>
                              <a:pt x="31638" y="29365"/>
                              <a:pt x="31638" y="29425"/>
                            </a:cubicBezTo>
                            <a:cubicBezTo>
                              <a:pt x="31638" y="29485"/>
                              <a:pt x="31698" y="29545"/>
                              <a:pt x="31698" y="29605"/>
                            </a:cubicBezTo>
                            <a:cubicBezTo>
                              <a:pt x="31698" y="29665"/>
                              <a:pt x="31758" y="29724"/>
                              <a:pt x="31758" y="29784"/>
                            </a:cubicBezTo>
                            <a:cubicBezTo>
                              <a:pt x="31817" y="29904"/>
                              <a:pt x="31877" y="30083"/>
                              <a:pt x="31937" y="30203"/>
                            </a:cubicBezTo>
                            <a:cubicBezTo>
                              <a:pt x="31997" y="30322"/>
                              <a:pt x="32057" y="30502"/>
                              <a:pt x="32116" y="30621"/>
                            </a:cubicBezTo>
                            <a:cubicBezTo>
                              <a:pt x="32176" y="30741"/>
                              <a:pt x="32236" y="30920"/>
                              <a:pt x="32296" y="31040"/>
                            </a:cubicBezTo>
                            <a:cubicBezTo>
                              <a:pt x="32356" y="31160"/>
                              <a:pt x="32415" y="31279"/>
                              <a:pt x="32415" y="31459"/>
                            </a:cubicBezTo>
                            <a:cubicBezTo>
                              <a:pt x="32475" y="31638"/>
                              <a:pt x="32535" y="31758"/>
                              <a:pt x="32595" y="31937"/>
                            </a:cubicBezTo>
                            <a:cubicBezTo>
                              <a:pt x="32655" y="32116"/>
                              <a:pt x="32714" y="32236"/>
                              <a:pt x="32714" y="32415"/>
                            </a:cubicBezTo>
                            <a:cubicBezTo>
                              <a:pt x="32774" y="32595"/>
                              <a:pt x="32774" y="32714"/>
                              <a:pt x="32834" y="32894"/>
                            </a:cubicBezTo>
                            <a:cubicBezTo>
                              <a:pt x="32894" y="33073"/>
                              <a:pt x="32894" y="33193"/>
                              <a:pt x="32953" y="33373"/>
                            </a:cubicBezTo>
                            <a:cubicBezTo>
                              <a:pt x="33013" y="33612"/>
                              <a:pt x="33073" y="33911"/>
                              <a:pt x="33133" y="34150"/>
                            </a:cubicBezTo>
                            <a:cubicBezTo>
                              <a:pt x="33193" y="34389"/>
                              <a:pt x="33253" y="34688"/>
                              <a:pt x="33253" y="34928"/>
                            </a:cubicBezTo>
                            <a:cubicBezTo>
                              <a:pt x="33312" y="35167"/>
                              <a:pt x="33312" y="35466"/>
                              <a:pt x="33372" y="35705"/>
                            </a:cubicBezTo>
                            <a:cubicBezTo>
                              <a:pt x="33372" y="35944"/>
                              <a:pt x="33432" y="36243"/>
                              <a:pt x="33432" y="36482"/>
                            </a:cubicBezTo>
                            <a:cubicBezTo>
                              <a:pt x="33432" y="36482"/>
                              <a:pt x="33432" y="36482"/>
                              <a:pt x="33432" y="36482"/>
                            </a:cubicBezTo>
                            <a:cubicBezTo>
                              <a:pt x="33432" y="36482"/>
                              <a:pt x="33432" y="36482"/>
                              <a:pt x="33432" y="36482"/>
                            </a:cubicBezTo>
                            <a:cubicBezTo>
                              <a:pt x="33432" y="36482"/>
                              <a:pt x="33432" y="36482"/>
                              <a:pt x="33432" y="36482"/>
                            </a:cubicBezTo>
                            <a:cubicBezTo>
                              <a:pt x="33432" y="36482"/>
                              <a:pt x="33432" y="36482"/>
                              <a:pt x="33432" y="36482"/>
                            </a:cubicBezTo>
                            <a:cubicBezTo>
                              <a:pt x="33432" y="36602"/>
                              <a:pt x="33432" y="36722"/>
                              <a:pt x="33432" y="36841"/>
                            </a:cubicBezTo>
                            <a:cubicBezTo>
                              <a:pt x="33432" y="36961"/>
                              <a:pt x="33432" y="37081"/>
                              <a:pt x="33432" y="37200"/>
                            </a:cubicBezTo>
                            <a:cubicBezTo>
                              <a:pt x="33432" y="37320"/>
                              <a:pt x="33432" y="37439"/>
                              <a:pt x="33432" y="37559"/>
                            </a:cubicBezTo>
                            <a:cubicBezTo>
                              <a:pt x="33432" y="37678"/>
                              <a:pt x="33432" y="37798"/>
                              <a:pt x="33432" y="37918"/>
                            </a:cubicBezTo>
                            <a:cubicBezTo>
                              <a:pt x="33432" y="38277"/>
                              <a:pt x="33432" y="38576"/>
                              <a:pt x="33372" y="38935"/>
                            </a:cubicBezTo>
                            <a:cubicBezTo>
                              <a:pt x="33372" y="39293"/>
                              <a:pt x="33312" y="39592"/>
                              <a:pt x="33253" y="39951"/>
                            </a:cubicBezTo>
                            <a:cubicBezTo>
                              <a:pt x="33193" y="40310"/>
                              <a:pt x="33133" y="40609"/>
                              <a:pt x="33073" y="40968"/>
                            </a:cubicBezTo>
                            <a:cubicBezTo>
                              <a:pt x="33013" y="41327"/>
                              <a:pt x="32953" y="41626"/>
                              <a:pt x="32834" y="41985"/>
                            </a:cubicBezTo>
                            <a:cubicBezTo>
                              <a:pt x="32834" y="42104"/>
                              <a:pt x="32774" y="42224"/>
                              <a:pt x="32774" y="42284"/>
                            </a:cubicBezTo>
                            <a:cubicBezTo>
                              <a:pt x="32774" y="42403"/>
                              <a:pt x="32714" y="42523"/>
                              <a:pt x="32714" y="42583"/>
                            </a:cubicBezTo>
                            <a:cubicBezTo>
                              <a:pt x="32714" y="42702"/>
                              <a:pt x="32655" y="42822"/>
                              <a:pt x="32655" y="42882"/>
                            </a:cubicBezTo>
                            <a:cubicBezTo>
                              <a:pt x="32595" y="43001"/>
                              <a:pt x="32595" y="43121"/>
                              <a:pt x="32535" y="43181"/>
                            </a:cubicBezTo>
                            <a:cubicBezTo>
                              <a:pt x="32475" y="43300"/>
                              <a:pt x="32475" y="43480"/>
                              <a:pt x="32415" y="43599"/>
                            </a:cubicBezTo>
                            <a:cubicBezTo>
                              <a:pt x="32356" y="43719"/>
                              <a:pt x="32296" y="43899"/>
                              <a:pt x="32296" y="44018"/>
                            </a:cubicBezTo>
                            <a:cubicBezTo>
                              <a:pt x="32236" y="44138"/>
                              <a:pt x="32176" y="44317"/>
                              <a:pt x="32176" y="44437"/>
                            </a:cubicBezTo>
                            <a:cubicBezTo>
                              <a:pt x="32116" y="44556"/>
                              <a:pt x="32057" y="44736"/>
                              <a:pt x="31997" y="44855"/>
                            </a:cubicBezTo>
                            <a:cubicBezTo>
                              <a:pt x="31937" y="44975"/>
                              <a:pt x="31937" y="45035"/>
                              <a:pt x="31877" y="45154"/>
                            </a:cubicBezTo>
                            <a:cubicBezTo>
                              <a:pt x="31817" y="45274"/>
                              <a:pt x="31817" y="45334"/>
                              <a:pt x="31758" y="45453"/>
                            </a:cubicBezTo>
                            <a:cubicBezTo>
                              <a:pt x="31698" y="45573"/>
                              <a:pt x="31698" y="45633"/>
                              <a:pt x="31638" y="45753"/>
                            </a:cubicBezTo>
                            <a:cubicBezTo>
                              <a:pt x="31578" y="45872"/>
                              <a:pt x="31578" y="45932"/>
                              <a:pt x="31518" y="46052"/>
                            </a:cubicBezTo>
                            <a:cubicBezTo>
                              <a:pt x="31339" y="46530"/>
                              <a:pt x="31099" y="47008"/>
                              <a:pt x="30860" y="47487"/>
                            </a:cubicBezTo>
                            <a:cubicBezTo>
                              <a:pt x="30621" y="47966"/>
                              <a:pt x="30382" y="48444"/>
                              <a:pt x="30143" y="48922"/>
                            </a:cubicBezTo>
                            <a:cubicBezTo>
                              <a:pt x="29904" y="49401"/>
                              <a:pt x="29604" y="49879"/>
                              <a:pt x="29365" y="50358"/>
                            </a:cubicBezTo>
                            <a:cubicBezTo>
                              <a:pt x="29066" y="50836"/>
                              <a:pt x="28767" y="51315"/>
                              <a:pt x="28468" y="51793"/>
                            </a:cubicBezTo>
                            <a:cubicBezTo>
                              <a:pt x="28408" y="51853"/>
                              <a:pt x="28349" y="51972"/>
                              <a:pt x="28289" y="52032"/>
                            </a:cubicBezTo>
                            <a:cubicBezTo>
                              <a:pt x="28229" y="52092"/>
                              <a:pt x="28169" y="52212"/>
                              <a:pt x="28109" y="52271"/>
                            </a:cubicBezTo>
                            <a:cubicBezTo>
                              <a:pt x="28050" y="52331"/>
                              <a:pt x="27990" y="52451"/>
                              <a:pt x="27930" y="52511"/>
                            </a:cubicBezTo>
                            <a:cubicBezTo>
                              <a:pt x="27870" y="52570"/>
                              <a:pt x="27810" y="52690"/>
                              <a:pt x="27750" y="52750"/>
                            </a:cubicBezTo>
                            <a:cubicBezTo>
                              <a:pt x="27272" y="53468"/>
                              <a:pt x="26734" y="54245"/>
                              <a:pt x="26196" y="55023"/>
                            </a:cubicBezTo>
                            <a:cubicBezTo>
                              <a:pt x="25657" y="55800"/>
                              <a:pt x="25059" y="56518"/>
                              <a:pt x="24461" y="57295"/>
                            </a:cubicBezTo>
                            <a:cubicBezTo>
                              <a:pt x="23863" y="58073"/>
                              <a:pt x="23265" y="58850"/>
                              <a:pt x="22607" y="59628"/>
                            </a:cubicBezTo>
                            <a:cubicBezTo>
                              <a:pt x="22009" y="60764"/>
                              <a:pt x="21351" y="61541"/>
                              <a:pt x="20693" y="62379"/>
                            </a:cubicBezTo>
                            <a:moveTo>
                              <a:pt x="18600" y="60944"/>
                            </a:moveTo>
                            <a:lnTo>
                              <a:pt x="19497" y="61541"/>
                            </a:lnTo>
                            <a:cubicBezTo>
                              <a:pt x="20155" y="60704"/>
                              <a:pt x="20873" y="59927"/>
                              <a:pt x="21471" y="59149"/>
                            </a:cubicBezTo>
                            <a:cubicBezTo>
                              <a:pt x="22069" y="58372"/>
                              <a:pt x="22727" y="57594"/>
                              <a:pt x="23325" y="56817"/>
                            </a:cubicBezTo>
                            <a:cubicBezTo>
                              <a:pt x="23923" y="56039"/>
                              <a:pt x="24461" y="55262"/>
                              <a:pt x="25059" y="54544"/>
                            </a:cubicBezTo>
                            <a:cubicBezTo>
                              <a:pt x="25597" y="53767"/>
                              <a:pt x="26136" y="53049"/>
                              <a:pt x="26614" y="52331"/>
                            </a:cubicBezTo>
                            <a:cubicBezTo>
                              <a:pt x="26674" y="52271"/>
                              <a:pt x="26734" y="52152"/>
                              <a:pt x="26794" y="52092"/>
                            </a:cubicBezTo>
                            <a:cubicBezTo>
                              <a:pt x="26853" y="52032"/>
                              <a:pt x="26913" y="51913"/>
                              <a:pt x="26973" y="51853"/>
                            </a:cubicBezTo>
                            <a:cubicBezTo>
                              <a:pt x="27033" y="51793"/>
                              <a:pt x="27092" y="51674"/>
                              <a:pt x="27152" y="51614"/>
                            </a:cubicBezTo>
                            <a:cubicBezTo>
                              <a:pt x="27212" y="51554"/>
                              <a:pt x="27272" y="51434"/>
                              <a:pt x="27332" y="51375"/>
                            </a:cubicBezTo>
                            <a:cubicBezTo>
                              <a:pt x="27631" y="50896"/>
                              <a:pt x="27930" y="50417"/>
                              <a:pt x="28229" y="49939"/>
                            </a:cubicBezTo>
                            <a:cubicBezTo>
                              <a:pt x="28528" y="49461"/>
                              <a:pt x="28767" y="48982"/>
                              <a:pt x="29006" y="48504"/>
                            </a:cubicBezTo>
                            <a:cubicBezTo>
                              <a:pt x="29245" y="48025"/>
                              <a:pt x="29485" y="47547"/>
                              <a:pt x="29724" y="47068"/>
                            </a:cubicBezTo>
                            <a:cubicBezTo>
                              <a:pt x="29963" y="46590"/>
                              <a:pt x="30143" y="46111"/>
                              <a:pt x="30322" y="45633"/>
                            </a:cubicBezTo>
                            <a:cubicBezTo>
                              <a:pt x="30382" y="45513"/>
                              <a:pt x="30382" y="45453"/>
                              <a:pt x="30442" y="45334"/>
                            </a:cubicBezTo>
                            <a:cubicBezTo>
                              <a:pt x="30502" y="45214"/>
                              <a:pt x="30502" y="45154"/>
                              <a:pt x="30561" y="45035"/>
                            </a:cubicBezTo>
                            <a:cubicBezTo>
                              <a:pt x="30621" y="44915"/>
                              <a:pt x="30621" y="44855"/>
                              <a:pt x="30681" y="44736"/>
                            </a:cubicBezTo>
                            <a:cubicBezTo>
                              <a:pt x="30741" y="44616"/>
                              <a:pt x="30741" y="44556"/>
                              <a:pt x="30801" y="44437"/>
                            </a:cubicBezTo>
                            <a:cubicBezTo>
                              <a:pt x="30860" y="44317"/>
                              <a:pt x="30920" y="44138"/>
                              <a:pt x="30920" y="44018"/>
                            </a:cubicBezTo>
                            <a:cubicBezTo>
                              <a:pt x="30980" y="43899"/>
                              <a:pt x="31040" y="43719"/>
                              <a:pt x="31040" y="43599"/>
                            </a:cubicBezTo>
                            <a:cubicBezTo>
                              <a:pt x="31099" y="43480"/>
                              <a:pt x="31099" y="43300"/>
                              <a:pt x="31159" y="43181"/>
                            </a:cubicBezTo>
                            <a:cubicBezTo>
                              <a:pt x="31219" y="43061"/>
                              <a:pt x="31219" y="42882"/>
                              <a:pt x="31279" y="42762"/>
                            </a:cubicBezTo>
                            <a:cubicBezTo>
                              <a:pt x="31279" y="42643"/>
                              <a:pt x="31339" y="42523"/>
                              <a:pt x="31339" y="42463"/>
                            </a:cubicBezTo>
                            <a:cubicBezTo>
                              <a:pt x="31339" y="42344"/>
                              <a:pt x="31399" y="42224"/>
                              <a:pt x="31399" y="42164"/>
                            </a:cubicBezTo>
                            <a:cubicBezTo>
                              <a:pt x="31399" y="42044"/>
                              <a:pt x="31458" y="41925"/>
                              <a:pt x="31458" y="41865"/>
                            </a:cubicBezTo>
                            <a:cubicBezTo>
                              <a:pt x="31458" y="41745"/>
                              <a:pt x="31518" y="41626"/>
                              <a:pt x="31518" y="41566"/>
                            </a:cubicBezTo>
                            <a:cubicBezTo>
                              <a:pt x="31578" y="41207"/>
                              <a:pt x="31638" y="40848"/>
                              <a:pt x="31698" y="40490"/>
                            </a:cubicBezTo>
                            <a:cubicBezTo>
                              <a:pt x="31758" y="40131"/>
                              <a:pt x="31758" y="39772"/>
                              <a:pt x="31817" y="39413"/>
                            </a:cubicBezTo>
                            <a:cubicBezTo>
                              <a:pt x="31817" y="39054"/>
                              <a:pt x="31877" y="38695"/>
                              <a:pt x="31877" y="38336"/>
                            </a:cubicBezTo>
                            <a:cubicBezTo>
                              <a:pt x="31877" y="37977"/>
                              <a:pt x="31877" y="37619"/>
                              <a:pt x="31877" y="37260"/>
                            </a:cubicBezTo>
                            <a:cubicBezTo>
                              <a:pt x="31877" y="37260"/>
                              <a:pt x="31877" y="37200"/>
                              <a:pt x="31877" y="37200"/>
                            </a:cubicBezTo>
                            <a:cubicBezTo>
                              <a:pt x="31877" y="37200"/>
                              <a:pt x="31877" y="37140"/>
                              <a:pt x="31877" y="37140"/>
                            </a:cubicBezTo>
                            <a:cubicBezTo>
                              <a:pt x="31877" y="37140"/>
                              <a:pt x="31877" y="37081"/>
                              <a:pt x="31877" y="37081"/>
                            </a:cubicBezTo>
                            <a:cubicBezTo>
                              <a:pt x="31877" y="37081"/>
                              <a:pt x="31877" y="37021"/>
                              <a:pt x="31877" y="37021"/>
                            </a:cubicBezTo>
                            <a:cubicBezTo>
                              <a:pt x="31877" y="36961"/>
                              <a:pt x="31877" y="36901"/>
                              <a:pt x="31877" y="36841"/>
                            </a:cubicBezTo>
                            <a:cubicBezTo>
                              <a:pt x="31877" y="36782"/>
                              <a:pt x="31877" y="36722"/>
                              <a:pt x="31877" y="36662"/>
                            </a:cubicBezTo>
                            <a:cubicBezTo>
                              <a:pt x="31877" y="36602"/>
                              <a:pt x="31877" y="36542"/>
                              <a:pt x="31877" y="36482"/>
                            </a:cubicBezTo>
                            <a:cubicBezTo>
                              <a:pt x="31877" y="36423"/>
                              <a:pt x="31877" y="36363"/>
                              <a:pt x="31877" y="36303"/>
                            </a:cubicBezTo>
                            <a:cubicBezTo>
                              <a:pt x="31877" y="36123"/>
                              <a:pt x="31817" y="35944"/>
                              <a:pt x="31817" y="35824"/>
                            </a:cubicBezTo>
                            <a:cubicBezTo>
                              <a:pt x="31817" y="35645"/>
                              <a:pt x="31758" y="35466"/>
                              <a:pt x="31758" y="35286"/>
                            </a:cubicBezTo>
                            <a:cubicBezTo>
                              <a:pt x="31758" y="35107"/>
                              <a:pt x="31698" y="34928"/>
                              <a:pt x="31638" y="34748"/>
                            </a:cubicBezTo>
                            <a:cubicBezTo>
                              <a:pt x="31578" y="34568"/>
                              <a:pt x="31578" y="34389"/>
                              <a:pt x="31518" y="34210"/>
                            </a:cubicBezTo>
                            <a:cubicBezTo>
                              <a:pt x="31458" y="34030"/>
                              <a:pt x="31399" y="33791"/>
                              <a:pt x="31399" y="33612"/>
                            </a:cubicBezTo>
                            <a:cubicBezTo>
                              <a:pt x="31339" y="33432"/>
                              <a:pt x="31279" y="33193"/>
                              <a:pt x="31219" y="33014"/>
                            </a:cubicBezTo>
                            <a:cubicBezTo>
                              <a:pt x="31159" y="32834"/>
                              <a:pt x="31099" y="32595"/>
                              <a:pt x="31040" y="32415"/>
                            </a:cubicBezTo>
                            <a:cubicBezTo>
                              <a:pt x="30980" y="32236"/>
                              <a:pt x="30920" y="31997"/>
                              <a:pt x="30860" y="31817"/>
                            </a:cubicBezTo>
                            <a:cubicBezTo>
                              <a:pt x="30801" y="31698"/>
                              <a:pt x="30741" y="31519"/>
                              <a:pt x="30681" y="31399"/>
                            </a:cubicBezTo>
                            <a:cubicBezTo>
                              <a:pt x="30621" y="31279"/>
                              <a:pt x="30561" y="31100"/>
                              <a:pt x="30502" y="30980"/>
                            </a:cubicBezTo>
                            <a:cubicBezTo>
                              <a:pt x="30442" y="30860"/>
                              <a:pt x="30382" y="30681"/>
                              <a:pt x="30322" y="30561"/>
                            </a:cubicBezTo>
                            <a:cubicBezTo>
                              <a:pt x="30262" y="30442"/>
                              <a:pt x="30203" y="30262"/>
                              <a:pt x="30143" y="30143"/>
                            </a:cubicBezTo>
                            <a:cubicBezTo>
                              <a:pt x="30083" y="29963"/>
                              <a:pt x="29963" y="29844"/>
                              <a:pt x="29904" y="29665"/>
                            </a:cubicBezTo>
                            <a:cubicBezTo>
                              <a:pt x="29844" y="29485"/>
                              <a:pt x="29724" y="29306"/>
                              <a:pt x="29664" y="29186"/>
                            </a:cubicBezTo>
                            <a:cubicBezTo>
                              <a:pt x="29604" y="29066"/>
                              <a:pt x="29485" y="28827"/>
                              <a:pt x="29425" y="28707"/>
                            </a:cubicBezTo>
                            <a:cubicBezTo>
                              <a:pt x="29365" y="28528"/>
                              <a:pt x="29245" y="28349"/>
                              <a:pt x="29126" y="28229"/>
                            </a:cubicBezTo>
                            <a:cubicBezTo>
                              <a:pt x="29066" y="28109"/>
                              <a:pt x="28946" y="27930"/>
                              <a:pt x="28887" y="27811"/>
                            </a:cubicBezTo>
                            <a:cubicBezTo>
                              <a:pt x="28827" y="27631"/>
                              <a:pt x="28707" y="27511"/>
                              <a:pt x="28588" y="27332"/>
                            </a:cubicBezTo>
                            <a:cubicBezTo>
                              <a:pt x="28468" y="27152"/>
                              <a:pt x="28408" y="27033"/>
                              <a:pt x="28289" y="26853"/>
                            </a:cubicBezTo>
                            <a:cubicBezTo>
                              <a:pt x="28169" y="26674"/>
                              <a:pt x="28109" y="26554"/>
                              <a:pt x="27990" y="26375"/>
                            </a:cubicBezTo>
                            <a:cubicBezTo>
                              <a:pt x="27930" y="26255"/>
                              <a:pt x="27810" y="26136"/>
                              <a:pt x="27750" y="26016"/>
                            </a:cubicBezTo>
                            <a:cubicBezTo>
                              <a:pt x="27691" y="25897"/>
                              <a:pt x="27571" y="25777"/>
                              <a:pt x="27511" y="25657"/>
                            </a:cubicBezTo>
                            <a:cubicBezTo>
                              <a:pt x="27451" y="25538"/>
                              <a:pt x="27332" y="25418"/>
                              <a:pt x="27272" y="25298"/>
                            </a:cubicBezTo>
                            <a:cubicBezTo>
                              <a:pt x="27212" y="25179"/>
                              <a:pt x="27092" y="25059"/>
                              <a:pt x="27033" y="24940"/>
                            </a:cubicBezTo>
                            <a:cubicBezTo>
                              <a:pt x="26913" y="24760"/>
                              <a:pt x="26794" y="24641"/>
                              <a:pt x="26674" y="24461"/>
                            </a:cubicBezTo>
                            <a:cubicBezTo>
                              <a:pt x="26554" y="24282"/>
                              <a:pt x="26435" y="24162"/>
                              <a:pt x="26315" y="23983"/>
                            </a:cubicBezTo>
                            <a:cubicBezTo>
                              <a:pt x="26196" y="23803"/>
                              <a:pt x="26076" y="23684"/>
                              <a:pt x="25956" y="23504"/>
                            </a:cubicBezTo>
                            <a:cubicBezTo>
                              <a:pt x="25836" y="23325"/>
                              <a:pt x="25717" y="23205"/>
                              <a:pt x="25537" y="23026"/>
                            </a:cubicBezTo>
                            <a:cubicBezTo>
                              <a:pt x="25418" y="22906"/>
                              <a:pt x="25298" y="22787"/>
                              <a:pt x="25179" y="22607"/>
                            </a:cubicBezTo>
                            <a:cubicBezTo>
                              <a:pt x="25059" y="22428"/>
                              <a:pt x="24940" y="22308"/>
                              <a:pt x="24820" y="22189"/>
                            </a:cubicBezTo>
                            <a:cubicBezTo>
                              <a:pt x="24700" y="22069"/>
                              <a:pt x="24581" y="21889"/>
                              <a:pt x="24461" y="21770"/>
                            </a:cubicBezTo>
                            <a:cubicBezTo>
                              <a:pt x="24341" y="21650"/>
                              <a:pt x="24222" y="21471"/>
                              <a:pt x="24102" y="21351"/>
                            </a:cubicBezTo>
                            <a:cubicBezTo>
                              <a:pt x="23145" y="20275"/>
                              <a:pt x="22069" y="19198"/>
                              <a:pt x="20933" y="18062"/>
                            </a:cubicBezTo>
                            <a:cubicBezTo>
                              <a:pt x="19796" y="16926"/>
                              <a:pt x="18540" y="15789"/>
                              <a:pt x="17165" y="14593"/>
                            </a:cubicBezTo>
                            <a:cubicBezTo>
                              <a:pt x="15789" y="13397"/>
                              <a:pt x="14354" y="12201"/>
                              <a:pt x="12858" y="11005"/>
                            </a:cubicBezTo>
                            <a:cubicBezTo>
                              <a:pt x="11303" y="9749"/>
                              <a:pt x="9689" y="8493"/>
                              <a:pt x="7894" y="7237"/>
                            </a:cubicBezTo>
                            <a:lnTo>
                              <a:pt x="7117" y="8253"/>
                            </a:lnTo>
                            <a:cubicBezTo>
                              <a:pt x="9031" y="9629"/>
                              <a:pt x="10825" y="11005"/>
                              <a:pt x="12500" y="12380"/>
                            </a:cubicBezTo>
                            <a:cubicBezTo>
                              <a:pt x="14174" y="13696"/>
                              <a:pt x="15729" y="15012"/>
                              <a:pt x="17105" y="16267"/>
                            </a:cubicBezTo>
                            <a:cubicBezTo>
                              <a:pt x="18540" y="17523"/>
                              <a:pt x="19856" y="18780"/>
                              <a:pt x="20992" y="19976"/>
                            </a:cubicBezTo>
                            <a:cubicBezTo>
                              <a:pt x="22188" y="21172"/>
                              <a:pt x="23265" y="22368"/>
                              <a:pt x="24222" y="23504"/>
                            </a:cubicBezTo>
                            <a:cubicBezTo>
                              <a:pt x="24341" y="23624"/>
                              <a:pt x="24401" y="23743"/>
                              <a:pt x="24521" y="23863"/>
                            </a:cubicBezTo>
                            <a:cubicBezTo>
                              <a:pt x="24641" y="23983"/>
                              <a:pt x="24700" y="24102"/>
                              <a:pt x="24820" y="24222"/>
                            </a:cubicBezTo>
                            <a:cubicBezTo>
                              <a:pt x="24940" y="24342"/>
                              <a:pt x="24999" y="24461"/>
                              <a:pt x="25119" y="24581"/>
                            </a:cubicBezTo>
                            <a:cubicBezTo>
                              <a:pt x="25238" y="24700"/>
                              <a:pt x="25298" y="24820"/>
                              <a:pt x="25418" y="24940"/>
                            </a:cubicBezTo>
                            <a:cubicBezTo>
                              <a:pt x="25537" y="25059"/>
                              <a:pt x="25597" y="25179"/>
                              <a:pt x="25717" y="25298"/>
                            </a:cubicBezTo>
                            <a:cubicBezTo>
                              <a:pt x="25836" y="25418"/>
                              <a:pt x="25896" y="25538"/>
                              <a:pt x="26016" y="25657"/>
                            </a:cubicBezTo>
                            <a:cubicBezTo>
                              <a:pt x="26076" y="25777"/>
                              <a:pt x="26196" y="25897"/>
                              <a:pt x="26255" y="26016"/>
                            </a:cubicBezTo>
                            <a:cubicBezTo>
                              <a:pt x="26315" y="26136"/>
                              <a:pt x="26435" y="26255"/>
                              <a:pt x="26495" y="26375"/>
                            </a:cubicBezTo>
                            <a:cubicBezTo>
                              <a:pt x="26495" y="26435"/>
                              <a:pt x="26554" y="26435"/>
                              <a:pt x="26554" y="26495"/>
                            </a:cubicBezTo>
                            <a:cubicBezTo>
                              <a:pt x="26554" y="26554"/>
                              <a:pt x="26614" y="26554"/>
                              <a:pt x="26614" y="26614"/>
                            </a:cubicBezTo>
                            <a:cubicBezTo>
                              <a:pt x="26614" y="26674"/>
                              <a:pt x="26674" y="26674"/>
                              <a:pt x="26674" y="26734"/>
                            </a:cubicBezTo>
                            <a:cubicBezTo>
                              <a:pt x="26674" y="26794"/>
                              <a:pt x="26734" y="26794"/>
                              <a:pt x="26734" y="26794"/>
                            </a:cubicBezTo>
                            <a:cubicBezTo>
                              <a:pt x="26794" y="26913"/>
                              <a:pt x="26913" y="27033"/>
                              <a:pt x="26973" y="27152"/>
                            </a:cubicBezTo>
                            <a:cubicBezTo>
                              <a:pt x="27033" y="27272"/>
                              <a:pt x="27152" y="27392"/>
                              <a:pt x="27212" y="27511"/>
                            </a:cubicBezTo>
                            <a:cubicBezTo>
                              <a:pt x="27272" y="27631"/>
                              <a:pt x="27332" y="27751"/>
                              <a:pt x="27451" y="27870"/>
                            </a:cubicBezTo>
                            <a:cubicBezTo>
                              <a:pt x="27571" y="27990"/>
                              <a:pt x="27571" y="28109"/>
                              <a:pt x="27691" y="28229"/>
                            </a:cubicBezTo>
                            <a:cubicBezTo>
                              <a:pt x="27750" y="28289"/>
                              <a:pt x="27750" y="28349"/>
                              <a:pt x="27810" y="28468"/>
                            </a:cubicBezTo>
                            <a:cubicBezTo>
                              <a:pt x="27870" y="28528"/>
                              <a:pt x="27870" y="28588"/>
                              <a:pt x="27930" y="28707"/>
                            </a:cubicBezTo>
                            <a:cubicBezTo>
                              <a:pt x="27990" y="28767"/>
                              <a:pt x="27990" y="28827"/>
                              <a:pt x="28050" y="28947"/>
                            </a:cubicBezTo>
                            <a:cubicBezTo>
                              <a:pt x="28109" y="29006"/>
                              <a:pt x="28109" y="29066"/>
                              <a:pt x="28169" y="29186"/>
                            </a:cubicBezTo>
                            <a:cubicBezTo>
                              <a:pt x="28289" y="29425"/>
                              <a:pt x="28408" y="29665"/>
                              <a:pt x="28588" y="29904"/>
                            </a:cubicBezTo>
                            <a:cubicBezTo>
                              <a:pt x="28707" y="30143"/>
                              <a:pt x="28827" y="30382"/>
                              <a:pt x="28946" y="30621"/>
                            </a:cubicBezTo>
                            <a:cubicBezTo>
                              <a:pt x="29066" y="30860"/>
                              <a:pt x="29186" y="31100"/>
                              <a:pt x="29245" y="31339"/>
                            </a:cubicBezTo>
                            <a:cubicBezTo>
                              <a:pt x="29365" y="31578"/>
                              <a:pt x="29425" y="31817"/>
                              <a:pt x="29545" y="32057"/>
                            </a:cubicBezTo>
                            <a:cubicBezTo>
                              <a:pt x="29604" y="32176"/>
                              <a:pt x="29664" y="32356"/>
                              <a:pt x="29724" y="32475"/>
                            </a:cubicBezTo>
                            <a:cubicBezTo>
                              <a:pt x="29784" y="32595"/>
                              <a:pt x="29844" y="32774"/>
                              <a:pt x="29844" y="32894"/>
                            </a:cubicBezTo>
                            <a:cubicBezTo>
                              <a:pt x="29904" y="33014"/>
                              <a:pt x="29963" y="33193"/>
                              <a:pt x="29963" y="33313"/>
                            </a:cubicBezTo>
                            <a:cubicBezTo>
                              <a:pt x="30023" y="33432"/>
                              <a:pt x="30023" y="33612"/>
                              <a:pt x="30083" y="33731"/>
                            </a:cubicBezTo>
                            <a:cubicBezTo>
                              <a:pt x="30083" y="33791"/>
                              <a:pt x="30143" y="33911"/>
                              <a:pt x="30143" y="33970"/>
                            </a:cubicBezTo>
                            <a:cubicBezTo>
                              <a:pt x="30143" y="34030"/>
                              <a:pt x="30203" y="34150"/>
                              <a:pt x="30203" y="34210"/>
                            </a:cubicBezTo>
                            <a:cubicBezTo>
                              <a:pt x="30203" y="34269"/>
                              <a:pt x="30262" y="34389"/>
                              <a:pt x="30262" y="34449"/>
                            </a:cubicBezTo>
                            <a:cubicBezTo>
                              <a:pt x="30262" y="34509"/>
                              <a:pt x="30322" y="34628"/>
                              <a:pt x="30322" y="34688"/>
                            </a:cubicBezTo>
                            <a:cubicBezTo>
                              <a:pt x="30382" y="34808"/>
                              <a:pt x="30382" y="34928"/>
                              <a:pt x="30382" y="35107"/>
                            </a:cubicBezTo>
                            <a:cubicBezTo>
                              <a:pt x="30382" y="35286"/>
                              <a:pt x="30442" y="35346"/>
                              <a:pt x="30442" y="35526"/>
                            </a:cubicBezTo>
                            <a:cubicBezTo>
                              <a:pt x="30442" y="35645"/>
                              <a:pt x="30502" y="35765"/>
                              <a:pt x="30502" y="35944"/>
                            </a:cubicBezTo>
                            <a:cubicBezTo>
                              <a:pt x="30502" y="36064"/>
                              <a:pt x="30561" y="36183"/>
                              <a:pt x="30561" y="36363"/>
                            </a:cubicBezTo>
                            <a:cubicBezTo>
                              <a:pt x="30561" y="36423"/>
                              <a:pt x="30561" y="36542"/>
                              <a:pt x="30561" y="36602"/>
                            </a:cubicBezTo>
                            <a:cubicBezTo>
                              <a:pt x="30561" y="36662"/>
                              <a:pt x="30561" y="36782"/>
                              <a:pt x="30561" y="36841"/>
                            </a:cubicBezTo>
                            <a:cubicBezTo>
                              <a:pt x="30561" y="36901"/>
                              <a:pt x="30561" y="37021"/>
                              <a:pt x="30561" y="37081"/>
                            </a:cubicBezTo>
                            <a:cubicBezTo>
                              <a:pt x="30561" y="37140"/>
                              <a:pt x="30561" y="37260"/>
                              <a:pt x="30561" y="37320"/>
                            </a:cubicBezTo>
                            <a:cubicBezTo>
                              <a:pt x="30561" y="37439"/>
                              <a:pt x="30561" y="37559"/>
                              <a:pt x="30561" y="37678"/>
                            </a:cubicBezTo>
                            <a:cubicBezTo>
                              <a:pt x="30561" y="37798"/>
                              <a:pt x="30561" y="37918"/>
                              <a:pt x="30561" y="38037"/>
                            </a:cubicBezTo>
                            <a:cubicBezTo>
                              <a:pt x="30561" y="38157"/>
                              <a:pt x="30561" y="38277"/>
                              <a:pt x="30561" y="38396"/>
                            </a:cubicBezTo>
                            <a:cubicBezTo>
                              <a:pt x="30561" y="38516"/>
                              <a:pt x="30561" y="38636"/>
                              <a:pt x="30561" y="38755"/>
                            </a:cubicBezTo>
                            <a:cubicBezTo>
                              <a:pt x="30561" y="38935"/>
                              <a:pt x="30561" y="39114"/>
                              <a:pt x="30561" y="39293"/>
                            </a:cubicBezTo>
                            <a:cubicBezTo>
                              <a:pt x="30561" y="39473"/>
                              <a:pt x="30561" y="39652"/>
                              <a:pt x="30502" y="39831"/>
                            </a:cubicBezTo>
                            <a:cubicBezTo>
                              <a:pt x="30502" y="40011"/>
                              <a:pt x="30442" y="40190"/>
                              <a:pt x="30442" y="40370"/>
                            </a:cubicBezTo>
                            <a:cubicBezTo>
                              <a:pt x="30442" y="40549"/>
                              <a:pt x="30382" y="40729"/>
                              <a:pt x="30382" y="40908"/>
                            </a:cubicBezTo>
                            <a:cubicBezTo>
                              <a:pt x="30382" y="41028"/>
                              <a:pt x="30322" y="41147"/>
                              <a:pt x="30322" y="41267"/>
                            </a:cubicBezTo>
                            <a:cubicBezTo>
                              <a:pt x="30322" y="41386"/>
                              <a:pt x="30262" y="41506"/>
                              <a:pt x="30262" y="41626"/>
                            </a:cubicBezTo>
                            <a:cubicBezTo>
                              <a:pt x="30262" y="41745"/>
                              <a:pt x="30203" y="41865"/>
                              <a:pt x="30203" y="41985"/>
                            </a:cubicBezTo>
                            <a:cubicBezTo>
                              <a:pt x="30203" y="42104"/>
                              <a:pt x="30143" y="42224"/>
                              <a:pt x="30143" y="42344"/>
                            </a:cubicBezTo>
                            <a:cubicBezTo>
                              <a:pt x="30083" y="42463"/>
                              <a:pt x="30083" y="42643"/>
                              <a:pt x="30023" y="42762"/>
                            </a:cubicBezTo>
                            <a:cubicBezTo>
                              <a:pt x="29963" y="42882"/>
                              <a:pt x="29963" y="43061"/>
                              <a:pt x="29904" y="43181"/>
                            </a:cubicBezTo>
                            <a:cubicBezTo>
                              <a:pt x="29844" y="43300"/>
                              <a:pt x="29844" y="43480"/>
                              <a:pt x="29784" y="43599"/>
                            </a:cubicBezTo>
                            <a:cubicBezTo>
                              <a:pt x="29724" y="43719"/>
                              <a:pt x="29724" y="43899"/>
                              <a:pt x="29664" y="44018"/>
                            </a:cubicBezTo>
                            <a:cubicBezTo>
                              <a:pt x="29604" y="44138"/>
                              <a:pt x="29604" y="44198"/>
                              <a:pt x="29545" y="44317"/>
                            </a:cubicBezTo>
                            <a:cubicBezTo>
                              <a:pt x="29485" y="44437"/>
                              <a:pt x="29485" y="44497"/>
                              <a:pt x="29425" y="44616"/>
                            </a:cubicBezTo>
                            <a:cubicBezTo>
                              <a:pt x="29365" y="44736"/>
                              <a:pt x="29365" y="44796"/>
                              <a:pt x="29305" y="44915"/>
                            </a:cubicBezTo>
                            <a:cubicBezTo>
                              <a:pt x="29245" y="45035"/>
                              <a:pt x="29245" y="45095"/>
                              <a:pt x="29186" y="45214"/>
                            </a:cubicBezTo>
                            <a:cubicBezTo>
                              <a:pt x="29006" y="45693"/>
                              <a:pt x="28827" y="46171"/>
                              <a:pt x="28588" y="46650"/>
                            </a:cubicBezTo>
                            <a:cubicBezTo>
                              <a:pt x="28349" y="47128"/>
                              <a:pt x="28169" y="47607"/>
                              <a:pt x="27870" y="48085"/>
                            </a:cubicBezTo>
                            <a:cubicBezTo>
                              <a:pt x="27631" y="48563"/>
                              <a:pt x="27332" y="49042"/>
                              <a:pt x="27092" y="49520"/>
                            </a:cubicBezTo>
                            <a:cubicBezTo>
                              <a:pt x="26794" y="49999"/>
                              <a:pt x="26495" y="50477"/>
                              <a:pt x="26196" y="50956"/>
                            </a:cubicBezTo>
                            <a:cubicBezTo>
                              <a:pt x="26136" y="51015"/>
                              <a:pt x="26076" y="51135"/>
                              <a:pt x="26016" y="51195"/>
                            </a:cubicBezTo>
                            <a:cubicBezTo>
                              <a:pt x="25956" y="51255"/>
                              <a:pt x="25896" y="51375"/>
                              <a:pt x="25836" y="51434"/>
                            </a:cubicBezTo>
                            <a:cubicBezTo>
                              <a:pt x="25777" y="51494"/>
                              <a:pt x="25717" y="51614"/>
                              <a:pt x="25657" y="51674"/>
                            </a:cubicBezTo>
                            <a:cubicBezTo>
                              <a:pt x="25597" y="51733"/>
                              <a:pt x="25537" y="51853"/>
                              <a:pt x="25478" y="51913"/>
                            </a:cubicBezTo>
                            <a:cubicBezTo>
                              <a:pt x="24999" y="52630"/>
                              <a:pt x="24461" y="53408"/>
                              <a:pt x="23923" y="54125"/>
                            </a:cubicBezTo>
                            <a:cubicBezTo>
                              <a:pt x="23384" y="54843"/>
                              <a:pt x="22787" y="55621"/>
                              <a:pt x="22248" y="56398"/>
                            </a:cubicBezTo>
                            <a:cubicBezTo>
                              <a:pt x="21710" y="57176"/>
                              <a:pt x="21052" y="57953"/>
                              <a:pt x="20394" y="58731"/>
                            </a:cubicBezTo>
                            <a:cubicBezTo>
                              <a:pt x="19916" y="59329"/>
                              <a:pt x="19258" y="60106"/>
                              <a:pt x="18600" y="60944"/>
                            </a:cubicBezTo>
                            <a:moveTo>
                              <a:pt x="18480" y="64951"/>
                            </a:moveTo>
                            <a:lnTo>
                              <a:pt x="19377" y="65549"/>
                            </a:lnTo>
                            <a:cubicBezTo>
                              <a:pt x="19497" y="65429"/>
                              <a:pt x="19617" y="65250"/>
                              <a:pt x="19736" y="65130"/>
                            </a:cubicBezTo>
                            <a:cubicBezTo>
                              <a:pt x="19856" y="65010"/>
                              <a:pt x="19975" y="64831"/>
                              <a:pt x="20095" y="64711"/>
                            </a:cubicBezTo>
                            <a:cubicBezTo>
                              <a:pt x="20215" y="64592"/>
                              <a:pt x="20334" y="64412"/>
                              <a:pt x="20454" y="64293"/>
                            </a:cubicBezTo>
                            <a:cubicBezTo>
                              <a:pt x="20574" y="64173"/>
                              <a:pt x="20693" y="63994"/>
                              <a:pt x="20813" y="63874"/>
                            </a:cubicBezTo>
                            <a:lnTo>
                              <a:pt x="19916" y="63276"/>
                            </a:lnTo>
                            <a:cubicBezTo>
                              <a:pt x="19796" y="63396"/>
                              <a:pt x="19676" y="63575"/>
                              <a:pt x="19557" y="63695"/>
                            </a:cubicBezTo>
                            <a:cubicBezTo>
                              <a:pt x="19437" y="63814"/>
                              <a:pt x="19318" y="63994"/>
                              <a:pt x="19198" y="64113"/>
                            </a:cubicBezTo>
                            <a:cubicBezTo>
                              <a:pt x="19079" y="64233"/>
                              <a:pt x="18959" y="64412"/>
                              <a:pt x="18839" y="64532"/>
                            </a:cubicBezTo>
                            <a:cubicBezTo>
                              <a:pt x="18720" y="64711"/>
                              <a:pt x="18600" y="64831"/>
                              <a:pt x="18480" y="64951"/>
                            </a:cubicBezTo>
                            <a:moveTo>
                              <a:pt x="16327" y="63575"/>
                            </a:moveTo>
                            <a:lnTo>
                              <a:pt x="17225" y="64173"/>
                            </a:lnTo>
                            <a:cubicBezTo>
                              <a:pt x="17344" y="64054"/>
                              <a:pt x="17464" y="63874"/>
                              <a:pt x="17583" y="63754"/>
                            </a:cubicBezTo>
                            <a:cubicBezTo>
                              <a:pt x="17703" y="63635"/>
                              <a:pt x="17822" y="63455"/>
                              <a:pt x="17942" y="63336"/>
                            </a:cubicBezTo>
                            <a:cubicBezTo>
                              <a:pt x="18062" y="63216"/>
                              <a:pt x="18181" y="63037"/>
                              <a:pt x="18301" y="62917"/>
                            </a:cubicBezTo>
                            <a:cubicBezTo>
                              <a:pt x="18420" y="62798"/>
                              <a:pt x="18540" y="62618"/>
                              <a:pt x="18660" y="62499"/>
                            </a:cubicBezTo>
                            <a:lnTo>
                              <a:pt x="17763" y="61900"/>
                            </a:lnTo>
                            <a:cubicBezTo>
                              <a:pt x="17643" y="62020"/>
                              <a:pt x="17523" y="62200"/>
                              <a:pt x="17404" y="62319"/>
                            </a:cubicBezTo>
                            <a:cubicBezTo>
                              <a:pt x="17284" y="62439"/>
                              <a:pt x="17165" y="62618"/>
                              <a:pt x="17045" y="62738"/>
                            </a:cubicBezTo>
                            <a:cubicBezTo>
                              <a:pt x="16925" y="62857"/>
                              <a:pt x="16806" y="63037"/>
                              <a:pt x="16686" y="63156"/>
                            </a:cubicBezTo>
                            <a:cubicBezTo>
                              <a:pt x="16566" y="63276"/>
                              <a:pt x="16447" y="63455"/>
                              <a:pt x="16327" y="63575"/>
                            </a:cubicBezTo>
                            <a:moveTo>
                              <a:pt x="16447" y="67403"/>
                            </a:moveTo>
                            <a:lnTo>
                              <a:pt x="17344" y="68001"/>
                            </a:lnTo>
                            <a:cubicBezTo>
                              <a:pt x="17464" y="67881"/>
                              <a:pt x="17523" y="67762"/>
                              <a:pt x="17643" y="67642"/>
                            </a:cubicBezTo>
                            <a:cubicBezTo>
                              <a:pt x="17763" y="67522"/>
                              <a:pt x="17822" y="67403"/>
                              <a:pt x="17942" y="67283"/>
                            </a:cubicBezTo>
                            <a:cubicBezTo>
                              <a:pt x="18062" y="67163"/>
                              <a:pt x="18121" y="67044"/>
                              <a:pt x="18241" y="66924"/>
                            </a:cubicBezTo>
                            <a:cubicBezTo>
                              <a:pt x="18360" y="66805"/>
                              <a:pt x="18420" y="66685"/>
                              <a:pt x="18540" y="66565"/>
                            </a:cubicBezTo>
                            <a:lnTo>
                              <a:pt x="17643" y="65967"/>
                            </a:lnTo>
                            <a:cubicBezTo>
                              <a:pt x="17523" y="66087"/>
                              <a:pt x="17464" y="66207"/>
                              <a:pt x="17344" y="66326"/>
                            </a:cubicBezTo>
                            <a:cubicBezTo>
                              <a:pt x="17225" y="66446"/>
                              <a:pt x="17165" y="66565"/>
                              <a:pt x="17045" y="66685"/>
                            </a:cubicBezTo>
                            <a:cubicBezTo>
                              <a:pt x="16925" y="66805"/>
                              <a:pt x="16865" y="66924"/>
                              <a:pt x="16746" y="67044"/>
                            </a:cubicBezTo>
                            <a:cubicBezTo>
                              <a:pt x="16626" y="67163"/>
                              <a:pt x="16566" y="67283"/>
                              <a:pt x="16447" y="67403"/>
                            </a:cubicBezTo>
                            <a:moveTo>
                              <a:pt x="14294" y="65967"/>
                            </a:moveTo>
                            <a:lnTo>
                              <a:pt x="15251" y="66565"/>
                            </a:lnTo>
                            <a:cubicBezTo>
                              <a:pt x="15370" y="66446"/>
                              <a:pt x="15430" y="66326"/>
                              <a:pt x="15550" y="66207"/>
                            </a:cubicBezTo>
                            <a:cubicBezTo>
                              <a:pt x="15669" y="66087"/>
                              <a:pt x="15729" y="65967"/>
                              <a:pt x="15849" y="65848"/>
                            </a:cubicBezTo>
                            <a:cubicBezTo>
                              <a:pt x="15968" y="65728"/>
                              <a:pt x="16028" y="65608"/>
                              <a:pt x="16148" y="65489"/>
                            </a:cubicBezTo>
                            <a:cubicBezTo>
                              <a:pt x="16267" y="65369"/>
                              <a:pt x="16327" y="65250"/>
                              <a:pt x="16447" y="65130"/>
                            </a:cubicBezTo>
                            <a:lnTo>
                              <a:pt x="15490" y="64532"/>
                            </a:lnTo>
                            <a:cubicBezTo>
                              <a:pt x="15370" y="64652"/>
                              <a:pt x="15311" y="64771"/>
                              <a:pt x="15191" y="64891"/>
                            </a:cubicBezTo>
                            <a:cubicBezTo>
                              <a:pt x="15071" y="65010"/>
                              <a:pt x="15011" y="65130"/>
                              <a:pt x="14892" y="65250"/>
                            </a:cubicBezTo>
                            <a:cubicBezTo>
                              <a:pt x="14772" y="65369"/>
                              <a:pt x="14712" y="65489"/>
                              <a:pt x="14593" y="65608"/>
                            </a:cubicBezTo>
                            <a:cubicBezTo>
                              <a:pt x="14533" y="65728"/>
                              <a:pt x="14413" y="65848"/>
                              <a:pt x="14294" y="65967"/>
                            </a:cubicBezTo>
                            <a:moveTo>
                              <a:pt x="2811" y="79842"/>
                            </a:moveTo>
                            <a:lnTo>
                              <a:pt x="5861" y="81816"/>
                            </a:lnTo>
                            <a:lnTo>
                              <a:pt x="5921" y="81696"/>
                            </a:lnTo>
                            <a:cubicBezTo>
                              <a:pt x="6340" y="81158"/>
                              <a:pt x="6818" y="80620"/>
                              <a:pt x="7236" y="80082"/>
                            </a:cubicBezTo>
                            <a:cubicBezTo>
                              <a:pt x="7655" y="79544"/>
                              <a:pt x="8074" y="79005"/>
                              <a:pt x="8552" y="78467"/>
                            </a:cubicBezTo>
                            <a:cubicBezTo>
                              <a:pt x="8971" y="77929"/>
                              <a:pt x="9389" y="77450"/>
                              <a:pt x="9868" y="76912"/>
                            </a:cubicBezTo>
                            <a:cubicBezTo>
                              <a:pt x="10287" y="76374"/>
                              <a:pt x="10705" y="75895"/>
                              <a:pt x="11124" y="75357"/>
                            </a:cubicBezTo>
                            <a:cubicBezTo>
                              <a:pt x="11184" y="75297"/>
                              <a:pt x="11244" y="75178"/>
                              <a:pt x="11303" y="75118"/>
                            </a:cubicBezTo>
                            <a:cubicBezTo>
                              <a:pt x="11363" y="75058"/>
                              <a:pt x="11423" y="74938"/>
                              <a:pt x="11483" y="74879"/>
                            </a:cubicBezTo>
                            <a:cubicBezTo>
                              <a:pt x="11543" y="74819"/>
                              <a:pt x="11603" y="74699"/>
                              <a:pt x="11662" y="74639"/>
                            </a:cubicBezTo>
                            <a:cubicBezTo>
                              <a:pt x="11722" y="74579"/>
                              <a:pt x="11782" y="74460"/>
                              <a:pt x="11842" y="74400"/>
                            </a:cubicBezTo>
                            <a:cubicBezTo>
                              <a:pt x="12260" y="73922"/>
                              <a:pt x="12619" y="73503"/>
                              <a:pt x="13038" y="73025"/>
                            </a:cubicBezTo>
                            <a:cubicBezTo>
                              <a:pt x="13457" y="72546"/>
                              <a:pt x="13815" y="72127"/>
                              <a:pt x="14174" y="71649"/>
                            </a:cubicBezTo>
                            <a:cubicBezTo>
                              <a:pt x="14533" y="71171"/>
                              <a:pt x="14952" y="70752"/>
                              <a:pt x="15311" y="70273"/>
                            </a:cubicBezTo>
                            <a:cubicBezTo>
                              <a:pt x="15669" y="69795"/>
                              <a:pt x="16088" y="69376"/>
                              <a:pt x="16447" y="68958"/>
                            </a:cubicBezTo>
                            <a:lnTo>
                              <a:pt x="15550" y="68360"/>
                            </a:lnTo>
                            <a:cubicBezTo>
                              <a:pt x="15191" y="68778"/>
                              <a:pt x="14772" y="69257"/>
                              <a:pt x="14413" y="69676"/>
                            </a:cubicBezTo>
                            <a:cubicBezTo>
                              <a:pt x="14055" y="70154"/>
                              <a:pt x="13636" y="70572"/>
                              <a:pt x="13277" y="71051"/>
                            </a:cubicBezTo>
                            <a:cubicBezTo>
                              <a:pt x="12918" y="71530"/>
                              <a:pt x="12500" y="71948"/>
                              <a:pt x="12141" y="72426"/>
                            </a:cubicBezTo>
                            <a:cubicBezTo>
                              <a:pt x="11722" y="72905"/>
                              <a:pt x="11363" y="73324"/>
                              <a:pt x="10944" y="73802"/>
                            </a:cubicBezTo>
                            <a:cubicBezTo>
                              <a:pt x="10885" y="73862"/>
                              <a:pt x="10825" y="73981"/>
                              <a:pt x="10765" y="74041"/>
                            </a:cubicBezTo>
                            <a:cubicBezTo>
                              <a:pt x="10705" y="74101"/>
                              <a:pt x="10645" y="74221"/>
                              <a:pt x="10586" y="74280"/>
                            </a:cubicBezTo>
                            <a:cubicBezTo>
                              <a:pt x="10526" y="74340"/>
                              <a:pt x="10466" y="74460"/>
                              <a:pt x="10406" y="74520"/>
                            </a:cubicBezTo>
                            <a:cubicBezTo>
                              <a:pt x="10347" y="74579"/>
                              <a:pt x="10287" y="74699"/>
                              <a:pt x="10227" y="74759"/>
                            </a:cubicBezTo>
                            <a:cubicBezTo>
                              <a:pt x="9808" y="75238"/>
                              <a:pt x="9449" y="75716"/>
                              <a:pt x="9031" y="76194"/>
                            </a:cubicBezTo>
                            <a:cubicBezTo>
                              <a:pt x="8612" y="76673"/>
                              <a:pt x="8253" y="77151"/>
                              <a:pt x="7835" y="77630"/>
                            </a:cubicBezTo>
                            <a:cubicBezTo>
                              <a:pt x="7416" y="78108"/>
                              <a:pt x="7057" y="78587"/>
                              <a:pt x="6639" y="79125"/>
                            </a:cubicBezTo>
                            <a:cubicBezTo>
                              <a:pt x="6220" y="79603"/>
                              <a:pt x="5861" y="80142"/>
                              <a:pt x="5442" y="80620"/>
                            </a:cubicBezTo>
                            <a:lnTo>
                              <a:pt x="4186" y="79842"/>
                            </a:lnTo>
                            <a:cubicBezTo>
                              <a:pt x="4605" y="79364"/>
                              <a:pt x="5024" y="78826"/>
                              <a:pt x="5382" y="78347"/>
                            </a:cubicBezTo>
                            <a:cubicBezTo>
                              <a:pt x="5801" y="77869"/>
                              <a:pt x="6160" y="77391"/>
                              <a:pt x="6579" y="76852"/>
                            </a:cubicBezTo>
                            <a:cubicBezTo>
                              <a:pt x="6997" y="76314"/>
                              <a:pt x="7356" y="75895"/>
                              <a:pt x="7775" y="75417"/>
                            </a:cubicBezTo>
                            <a:cubicBezTo>
                              <a:pt x="8194" y="74938"/>
                              <a:pt x="8552" y="74460"/>
                              <a:pt x="8971" y="73981"/>
                            </a:cubicBezTo>
                            <a:cubicBezTo>
                              <a:pt x="9031" y="73922"/>
                              <a:pt x="9090" y="73802"/>
                              <a:pt x="9150" y="73742"/>
                            </a:cubicBezTo>
                            <a:cubicBezTo>
                              <a:pt x="9210" y="73683"/>
                              <a:pt x="9270" y="73563"/>
                              <a:pt x="9330" y="73503"/>
                            </a:cubicBezTo>
                            <a:cubicBezTo>
                              <a:pt x="9389" y="73443"/>
                              <a:pt x="9449" y="73324"/>
                              <a:pt x="9509" y="73264"/>
                            </a:cubicBezTo>
                            <a:cubicBezTo>
                              <a:pt x="9569" y="73204"/>
                              <a:pt x="9629" y="73084"/>
                              <a:pt x="9689" y="73025"/>
                            </a:cubicBezTo>
                            <a:cubicBezTo>
                              <a:pt x="10107" y="72546"/>
                              <a:pt x="10466" y="72068"/>
                              <a:pt x="10885" y="71649"/>
                            </a:cubicBezTo>
                            <a:cubicBezTo>
                              <a:pt x="11303" y="71171"/>
                              <a:pt x="11662" y="70752"/>
                              <a:pt x="12021" y="70273"/>
                            </a:cubicBezTo>
                            <a:cubicBezTo>
                              <a:pt x="12380" y="69795"/>
                              <a:pt x="12798" y="69376"/>
                              <a:pt x="13157" y="68898"/>
                            </a:cubicBezTo>
                            <a:cubicBezTo>
                              <a:pt x="13516" y="68419"/>
                              <a:pt x="13935" y="68001"/>
                              <a:pt x="14294" y="67582"/>
                            </a:cubicBezTo>
                            <a:lnTo>
                              <a:pt x="13337" y="66984"/>
                            </a:lnTo>
                            <a:cubicBezTo>
                              <a:pt x="12978" y="67403"/>
                              <a:pt x="12559" y="67881"/>
                              <a:pt x="12201" y="68300"/>
                            </a:cubicBezTo>
                            <a:cubicBezTo>
                              <a:pt x="11842" y="68778"/>
                              <a:pt x="11423" y="69197"/>
                              <a:pt x="11064" y="69676"/>
                            </a:cubicBezTo>
                            <a:cubicBezTo>
                              <a:pt x="10705" y="70154"/>
                              <a:pt x="10287" y="70572"/>
                              <a:pt x="9928" y="71051"/>
                            </a:cubicBezTo>
                            <a:cubicBezTo>
                              <a:pt x="9569" y="71530"/>
                              <a:pt x="9150" y="71948"/>
                              <a:pt x="8732" y="72426"/>
                            </a:cubicBezTo>
                            <a:cubicBezTo>
                              <a:pt x="8672" y="72486"/>
                              <a:pt x="8612" y="72606"/>
                              <a:pt x="8552" y="72666"/>
                            </a:cubicBezTo>
                            <a:cubicBezTo>
                              <a:pt x="8493" y="72725"/>
                              <a:pt x="8433" y="72845"/>
                              <a:pt x="8373" y="72905"/>
                            </a:cubicBezTo>
                            <a:cubicBezTo>
                              <a:pt x="8313" y="72965"/>
                              <a:pt x="8253" y="73084"/>
                              <a:pt x="8194" y="73144"/>
                            </a:cubicBezTo>
                            <a:cubicBezTo>
                              <a:pt x="8134" y="73204"/>
                              <a:pt x="8074" y="73324"/>
                              <a:pt x="8014" y="73384"/>
                            </a:cubicBezTo>
                            <a:cubicBezTo>
                              <a:pt x="7595" y="73862"/>
                              <a:pt x="7177" y="74400"/>
                              <a:pt x="6758" y="74938"/>
                            </a:cubicBezTo>
                            <a:cubicBezTo>
                              <a:pt x="6340" y="75477"/>
                              <a:pt x="5921" y="75955"/>
                              <a:pt x="5502" y="76493"/>
                            </a:cubicBezTo>
                            <a:cubicBezTo>
                              <a:pt x="5083" y="77032"/>
                              <a:pt x="4665" y="77570"/>
                              <a:pt x="4186" y="78108"/>
                            </a:cubicBezTo>
                            <a:cubicBezTo>
                              <a:pt x="3768" y="78647"/>
                              <a:pt x="3289" y="79185"/>
                              <a:pt x="2871" y="79723"/>
                            </a:cubicBezTo>
                            <a:lnTo>
                              <a:pt x="2811" y="79842"/>
                            </a:lnTo>
                          </a:path>
                        </a:pathLst>
                      </a:custGeom>
                      <a:noFill/>
                      <a:ln w="6350" cap="flat">
                        <a:solidFill>
                          <a:schemeClr val="bg1">
                            <a:alpha val="40000"/>
                          </a:schemeClr>
                        </a:solidFill>
                        <a:prstDash val="solid"/>
                        <a:miter/>
                      </a:ln>
                    </p:spPr>
                    <p:txBody>
                      <a:bodyPr rtlCol="0" anchor="ctr"/>
                      <a:lstStyle/>
                      <a:p>
                        <a:endParaRPr lang="en-GB"/>
                      </a:p>
                    </p:txBody>
                  </p:sp>
                  <p:sp>
                    <p:nvSpPr>
                      <p:cNvPr id="7472" name="Vrije vorm: vorm 7471">
                        <a:extLst>
                          <a:ext uri="{FF2B5EF4-FFF2-40B4-BE49-F238E27FC236}">
                            <a16:creationId xmlns:a16="http://schemas.microsoft.com/office/drawing/2014/main" id="{8EB74764-6261-41B8-B438-D0C57590FF6D}"/>
                          </a:ext>
                        </a:extLst>
                      </p:cNvPr>
                      <p:cNvSpPr/>
                      <p:nvPr/>
                    </p:nvSpPr>
                    <p:spPr>
                      <a:xfrm>
                        <a:off x="4811690" y="5167862"/>
                        <a:ext cx="28827" cy="27391"/>
                      </a:xfrm>
                      <a:custGeom>
                        <a:avLst/>
                        <a:gdLst>
                          <a:gd name="connsiteX0" fmla="*/ 3588 w 28827"/>
                          <a:gd name="connsiteY0" fmla="*/ 5742 h 27391"/>
                          <a:gd name="connsiteX1" fmla="*/ 4545 w 28827"/>
                          <a:gd name="connsiteY1" fmla="*/ 6399 h 27391"/>
                          <a:gd name="connsiteX2" fmla="*/ 5203 w 28827"/>
                          <a:gd name="connsiteY2" fmla="*/ 5682 h 27391"/>
                          <a:gd name="connsiteX3" fmla="*/ 5861 w 28827"/>
                          <a:gd name="connsiteY3" fmla="*/ 5024 h 27391"/>
                          <a:gd name="connsiteX4" fmla="*/ 6579 w 28827"/>
                          <a:gd name="connsiteY4" fmla="*/ 4426 h 27391"/>
                          <a:gd name="connsiteX5" fmla="*/ 7296 w 28827"/>
                          <a:gd name="connsiteY5" fmla="*/ 3888 h 27391"/>
                          <a:gd name="connsiteX6" fmla="*/ 7595 w 28827"/>
                          <a:gd name="connsiteY6" fmla="*/ 3708 h 27391"/>
                          <a:gd name="connsiteX7" fmla="*/ 7895 w 28827"/>
                          <a:gd name="connsiteY7" fmla="*/ 3529 h 27391"/>
                          <a:gd name="connsiteX8" fmla="*/ 8194 w 28827"/>
                          <a:gd name="connsiteY8" fmla="*/ 3349 h 27391"/>
                          <a:gd name="connsiteX9" fmla="*/ 8493 w 28827"/>
                          <a:gd name="connsiteY9" fmla="*/ 3170 h 27391"/>
                          <a:gd name="connsiteX10" fmla="*/ 10586 w 28827"/>
                          <a:gd name="connsiteY10" fmla="*/ 2153 h 27391"/>
                          <a:gd name="connsiteX11" fmla="*/ 12798 w 28827"/>
                          <a:gd name="connsiteY11" fmla="*/ 1435 h 27391"/>
                          <a:gd name="connsiteX12" fmla="*/ 15071 w 28827"/>
                          <a:gd name="connsiteY12" fmla="*/ 1076 h 27391"/>
                          <a:gd name="connsiteX13" fmla="*/ 17344 w 28827"/>
                          <a:gd name="connsiteY13" fmla="*/ 1136 h 27391"/>
                          <a:gd name="connsiteX14" fmla="*/ 18301 w 28827"/>
                          <a:gd name="connsiteY14" fmla="*/ 1256 h 27391"/>
                          <a:gd name="connsiteX15" fmla="*/ 19258 w 28827"/>
                          <a:gd name="connsiteY15" fmla="*/ 1435 h 27391"/>
                          <a:gd name="connsiteX16" fmla="*/ 20155 w 28827"/>
                          <a:gd name="connsiteY16" fmla="*/ 1734 h 27391"/>
                          <a:gd name="connsiteX17" fmla="*/ 21052 w 28827"/>
                          <a:gd name="connsiteY17" fmla="*/ 2093 h 27391"/>
                          <a:gd name="connsiteX18" fmla="*/ 21530 w 28827"/>
                          <a:gd name="connsiteY18" fmla="*/ 2333 h 27391"/>
                          <a:gd name="connsiteX19" fmla="*/ 22009 w 28827"/>
                          <a:gd name="connsiteY19" fmla="*/ 2572 h 27391"/>
                          <a:gd name="connsiteX20" fmla="*/ 22488 w 28827"/>
                          <a:gd name="connsiteY20" fmla="*/ 2811 h 27391"/>
                          <a:gd name="connsiteX21" fmla="*/ 22906 w 28827"/>
                          <a:gd name="connsiteY21" fmla="*/ 3110 h 27391"/>
                          <a:gd name="connsiteX22" fmla="*/ 23325 w 28827"/>
                          <a:gd name="connsiteY22" fmla="*/ 3409 h 27391"/>
                          <a:gd name="connsiteX23" fmla="*/ 23743 w 28827"/>
                          <a:gd name="connsiteY23" fmla="*/ 3708 h 27391"/>
                          <a:gd name="connsiteX24" fmla="*/ 24102 w 28827"/>
                          <a:gd name="connsiteY24" fmla="*/ 4067 h 27391"/>
                          <a:gd name="connsiteX25" fmla="*/ 24461 w 28827"/>
                          <a:gd name="connsiteY25" fmla="*/ 4426 h 27391"/>
                          <a:gd name="connsiteX26" fmla="*/ 25119 w 28827"/>
                          <a:gd name="connsiteY26" fmla="*/ 5083 h 27391"/>
                          <a:gd name="connsiteX27" fmla="*/ 25717 w 28827"/>
                          <a:gd name="connsiteY27" fmla="*/ 5801 h 27391"/>
                          <a:gd name="connsiteX28" fmla="*/ 26196 w 28827"/>
                          <a:gd name="connsiteY28" fmla="*/ 6579 h 27391"/>
                          <a:gd name="connsiteX29" fmla="*/ 26614 w 28827"/>
                          <a:gd name="connsiteY29" fmla="*/ 7356 h 27391"/>
                          <a:gd name="connsiteX30" fmla="*/ 27332 w 28827"/>
                          <a:gd name="connsiteY30" fmla="*/ 9330 h 27391"/>
                          <a:gd name="connsiteX31" fmla="*/ 27691 w 28827"/>
                          <a:gd name="connsiteY31" fmla="*/ 11423 h 27391"/>
                          <a:gd name="connsiteX32" fmla="*/ 27631 w 28827"/>
                          <a:gd name="connsiteY32" fmla="*/ 13576 h 27391"/>
                          <a:gd name="connsiteX33" fmla="*/ 27212 w 28827"/>
                          <a:gd name="connsiteY33" fmla="*/ 15729 h 27391"/>
                          <a:gd name="connsiteX34" fmla="*/ 27092 w 28827"/>
                          <a:gd name="connsiteY34" fmla="*/ 16028 h 27391"/>
                          <a:gd name="connsiteX35" fmla="*/ 26973 w 28827"/>
                          <a:gd name="connsiteY35" fmla="*/ 16327 h 27391"/>
                          <a:gd name="connsiteX36" fmla="*/ 26853 w 28827"/>
                          <a:gd name="connsiteY36" fmla="*/ 16626 h 27391"/>
                          <a:gd name="connsiteX37" fmla="*/ 26734 w 28827"/>
                          <a:gd name="connsiteY37" fmla="*/ 16926 h 27391"/>
                          <a:gd name="connsiteX38" fmla="*/ 26375 w 28827"/>
                          <a:gd name="connsiteY38" fmla="*/ 17703 h 27391"/>
                          <a:gd name="connsiteX39" fmla="*/ 25956 w 28827"/>
                          <a:gd name="connsiteY39" fmla="*/ 18481 h 27391"/>
                          <a:gd name="connsiteX40" fmla="*/ 25478 w 28827"/>
                          <a:gd name="connsiteY40" fmla="*/ 19258 h 27391"/>
                          <a:gd name="connsiteX41" fmla="*/ 24940 w 28827"/>
                          <a:gd name="connsiteY41" fmla="*/ 20035 h 27391"/>
                          <a:gd name="connsiteX42" fmla="*/ 25896 w 28827"/>
                          <a:gd name="connsiteY42" fmla="*/ 20693 h 27391"/>
                          <a:gd name="connsiteX43" fmla="*/ 26435 w 28827"/>
                          <a:gd name="connsiteY43" fmla="*/ 19916 h 27391"/>
                          <a:gd name="connsiteX44" fmla="*/ 26913 w 28827"/>
                          <a:gd name="connsiteY44" fmla="*/ 19138 h 27391"/>
                          <a:gd name="connsiteX45" fmla="*/ 27332 w 28827"/>
                          <a:gd name="connsiteY45" fmla="*/ 18361 h 27391"/>
                          <a:gd name="connsiteX46" fmla="*/ 27691 w 28827"/>
                          <a:gd name="connsiteY46" fmla="*/ 17583 h 27391"/>
                          <a:gd name="connsiteX47" fmla="*/ 27810 w 28827"/>
                          <a:gd name="connsiteY47" fmla="*/ 17284 h 27391"/>
                          <a:gd name="connsiteX48" fmla="*/ 27930 w 28827"/>
                          <a:gd name="connsiteY48" fmla="*/ 16985 h 27391"/>
                          <a:gd name="connsiteX49" fmla="*/ 28050 w 28827"/>
                          <a:gd name="connsiteY49" fmla="*/ 16686 h 27391"/>
                          <a:gd name="connsiteX50" fmla="*/ 28169 w 28827"/>
                          <a:gd name="connsiteY50" fmla="*/ 16387 h 27391"/>
                          <a:gd name="connsiteX51" fmla="*/ 28648 w 28827"/>
                          <a:gd name="connsiteY51" fmla="*/ 14413 h 27391"/>
                          <a:gd name="connsiteX52" fmla="*/ 28827 w 28827"/>
                          <a:gd name="connsiteY52" fmla="*/ 12440 h 27391"/>
                          <a:gd name="connsiteX53" fmla="*/ 28707 w 28827"/>
                          <a:gd name="connsiteY53" fmla="*/ 10526 h 27391"/>
                          <a:gd name="connsiteX54" fmla="*/ 28349 w 28827"/>
                          <a:gd name="connsiteY54" fmla="*/ 8672 h 27391"/>
                          <a:gd name="connsiteX55" fmla="*/ 28169 w 28827"/>
                          <a:gd name="connsiteY55" fmla="*/ 8134 h 27391"/>
                          <a:gd name="connsiteX56" fmla="*/ 27990 w 28827"/>
                          <a:gd name="connsiteY56" fmla="*/ 7596 h 27391"/>
                          <a:gd name="connsiteX57" fmla="*/ 27750 w 28827"/>
                          <a:gd name="connsiteY57" fmla="*/ 7057 h 27391"/>
                          <a:gd name="connsiteX58" fmla="*/ 27511 w 28827"/>
                          <a:gd name="connsiteY58" fmla="*/ 6579 h 27391"/>
                          <a:gd name="connsiteX59" fmla="*/ 26794 w 28827"/>
                          <a:gd name="connsiteY59" fmla="*/ 5323 h 27391"/>
                          <a:gd name="connsiteX60" fmla="*/ 25896 w 28827"/>
                          <a:gd name="connsiteY60" fmla="*/ 4187 h 27391"/>
                          <a:gd name="connsiteX61" fmla="*/ 24820 w 28827"/>
                          <a:gd name="connsiteY61" fmla="*/ 3110 h 27391"/>
                          <a:gd name="connsiteX62" fmla="*/ 23564 w 28827"/>
                          <a:gd name="connsiteY62" fmla="*/ 2153 h 27391"/>
                          <a:gd name="connsiteX63" fmla="*/ 22188 w 28827"/>
                          <a:gd name="connsiteY63" fmla="*/ 1375 h 27391"/>
                          <a:gd name="connsiteX64" fmla="*/ 20753 w 28827"/>
                          <a:gd name="connsiteY64" fmla="*/ 778 h 27391"/>
                          <a:gd name="connsiteX65" fmla="*/ 19258 w 28827"/>
                          <a:gd name="connsiteY65" fmla="*/ 359 h 27391"/>
                          <a:gd name="connsiteX66" fmla="*/ 17703 w 28827"/>
                          <a:gd name="connsiteY66" fmla="*/ 120 h 27391"/>
                          <a:gd name="connsiteX67" fmla="*/ 17105 w 28827"/>
                          <a:gd name="connsiteY67" fmla="*/ 60 h 27391"/>
                          <a:gd name="connsiteX68" fmla="*/ 16507 w 28827"/>
                          <a:gd name="connsiteY68" fmla="*/ 0 h 27391"/>
                          <a:gd name="connsiteX69" fmla="*/ 15909 w 28827"/>
                          <a:gd name="connsiteY69" fmla="*/ 0 h 27391"/>
                          <a:gd name="connsiteX70" fmla="*/ 15311 w 28827"/>
                          <a:gd name="connsiteY70" fmla="*/ 0 h 27391"/>
                          <a:gd name="connsiteX71" fmla="*/ 13217 w 28827"/>
                          <a:gd name="connsiteY71" fmla="*/ 239 h 27391"/>
                          <a:gd name="connsiteX72" fmla="*/ 11184 w 28827"/>
                          <a:gd name="connsiteY72" fmla="*/ 778 h 27391"/>
                          <a:gd name="connsiteX73" fmla="*/ 9210 w 28827"/>
                          <a:gd name="connsiteY73" fmla="*/ 1555 h 27391"/>
                          <a:gd name="connsiteX74" fmla="*/ 7296 w 28827"/>
                          <a:gd name="connsiteY74" fmla="*/ 2632 h 27391"/>
                          <a:gd name="connsiteX75" fmla="*/ 6997 w 28827"/>
                          <a:gd name="connsiteY75" fmla="*/ 2811 h 27391"/>
                          <a:gd name="connsiteX76" fmla="*/ 6698 w 28827"/>
                          <a:gd name="connsiteY76" fmla="*/ 2990 h 27391"/>
                          <a:gd name="connsiteX77" fmla="*/ 6399 w 28827"/>
                          <a:gd name="connsiteY77" fmla="*/ 3170 h 27391"/>
                          <a:gd name="connsiteX78" fmla="*/ 6160 w 28827"/>
                          <a:gd name="connsiteY78" fmla="*/ 3349 h 27391"/>
                          <a:gd name="connsiteX79" fmla="*/ 5442 w 28827"/>
                          <a:gd name="connsiteY79" fmla="*/ 3888 h 27391"/>
                          <a:gd name="connsiteX80" fmla="*/ 4785 w 28827"/>
                          <a:gd name="connsiteY80" fmla="*/ 4486 h 27391"/>
                          <a:gd name="connsiteX81" fmla="*/ 4127 w 28827"/>
                          <a:gd name="connsiteY81" fmla="*/ 5143 h 27391"/>
                          <a:gd name="connsiteX82" fmla="*/ 3588 w 28827"/>
                          <a:gd name="connsiteY82" fmla="*/ 5742 h 27391"/>
                          <a:gd name="connsiteX83" fmla="*/ 17942 w 28827"/>
                          <a:gd name="connsiteY83" fmla="*/ 25298 h 27391"/>
                          <a:gd name="connsiteX84" fmla="*/ 19138 w 28827"/>
                          <a:gd name="connsiteY84" fmla="*/ 26076 h 27391"/>
                          <a:gd name="connsiteX85" fmla="*/ 20813 w 28827"/>
                          <a:gd name="connsiteY85" fmla="*/ 25238 h 27391"/>
                          <a:gd name="connsiteX86" fmla="*/ 22368 w 28827"/>
                          <a:gd name="connsiteY86" fmla="*/ 24222 h 27391"/>
                          <a:gd name="connsiteX87" fmla="*/ 23863 w 28827"/>
                          <a:gd name="connsiteY87" fmla="*/ 23026 h 27391"/>
                          <a:gd name="connsiteX88" fmla="*/ 25179 w 28827"/>
                          <a:gd name="connsiteY88" fmla="*/ 21650 h 27391"/>
                          <a:gd name="connsiteX89" fmla="*/ 24222 w 28827"/>
                          <a:gd name="connsiteY89" fmla="*/ 20992 h 27391"/>
                          <a:gd name="connsiteX90" fmla="*/ 22846 w 28827"/>
                          <a:gd name="connsiteY90" fmla="*/ 22368 h 27391"/>
                          <a:gd name="connsiteX91" fmla="*/ 21351 w 28827"/>
                          <a:gd name="connsiteY91" fmla="*/ 23564 h 27391"/>
                          <a:gd name="connsiteX92" fmla="*/ 19736 w 28827"/>
                          <a:gd name="connsiteY92" fmla="*/ 24521 h 27391"/>
                          <a:gd name="connsiteX93" fmla="*/ 17942 w 28827"/>
                          <a:gd name="connsiteY93" fmla="*/ 25298 h 27391"/>
                          <a:gd name="connsiteX94" fmla="*/ 60 w 28827"/>
                          <a:gd name="connsiteY94" fmla="*/ 13516 h 27391"/>
                          <a:gd name="connsiteX95" fmla="*/ 1256 w 28827"/>
                          <a:gd name="connsiteY95" fmla="*/ 14294 h 27391"/>
                          <a:gd name="connsiteX96" fmla="*/ 1495 w 28827"/>
                          <a:gd name="connsiteY96" fmla="*/ 12559 h 27391"/>
                          <a:gd name="connsiteX97" fmla="*/ 1973 w 28827"/>
                          <a:gd name="connsiteY97" fmla="*/ 10825 h 27391"/>
                          <a:gd name="connsiteX98" fmla="*/ 2751 w 28827"/>
                          <a:gd name="connsiteY98" fmla="*/ 9091 h 27391"/>
                          <a:gd name="connsiteX99" fmla="*/ 3768 w 28827"/>
                          <a:gd name="connsiteY99" fmla="*/ 7416 h 27391"/>
                          <a:gd name="connsiteX100" fmla="*/ 2811 w 28827"/>
                          <a:gd name="connsiteY100" fmla="*/ 6758 h 27391"/>
                          <a:gd name="connsiteX101" fmla="*/ 1794 w 28827"/>
                          <a:gd name="connsiteY101" fmla="*/ 8373 h 27391"/>
                          <a:gd name="connsiteX102" fmla="*/ 1017 w 28827"/>
                          <a:gd name="connsiteY102" fmla="*/ 10048 h 27391"/>
                          <a:gd name="connsiteX103" fmla="*/ 478 w 28827"/>
                          <a:gd name="connsiteY103" fmla="*/ 11782 h 27391"/>
                          <a:gd name="connsiteX104" fmla="*/ 60 w 28827"/>
                          <a:gd name="connsiteY104" fmla="*/ 13516 h 27391"/>
                          <a:gd name="connsiteX105" fmla="*/ 12978 w 28827"/>
                          <a:gd name="connsiteY105" fmla="*/ 26196 h 27391"/>
                          <a:gd name="connsiteX106" fmla="*/ 14653 w 28827"/>
                          <a:gd name="connsiteY106" fmla="*/ 27272 h 27391"/>
                          <a:gd name="connsiteX107" fmla="*/ 15430 w 28827"/>
                          <a:gd name="connsiteY107" fmla="*/ 27152 h 27391"/>
                          <a:gd name="connsiteX108" fmla="*/ 16208 w 28827"/>
                          <a:gd name="connsiteY108" fmla="*/ 26973 h 27391"/>
                          <a:gd name="connsiteX109" fmla="*/ 16985 w 28827"/>
                          <a:gd name="connsiteY109" fmla="*/ 26794 h 27391"/>
                          <a:gd name="connsiteX110" fmla="*/ 17703 w 28827"/>
                          <a:gd name="connsiteY110" fmla="*/ 26554 h 27391"/>
                          <a:gd name="connsiteX111" fmla="*/ 16447 w 28827"/>
                          <a:gd name="connsiteY111" fmla="*/ 25717 h 27391"/>
                          <a:gd name="connsiteX112" fmla="*/ 15610 w 28827"/>
                          <a:gd name="connsiteY112" fmla="*/ 25897 h 27391"/>
                          <a:gd name="connsiteX113" fmla="*/ 14772 w 28827"/>
                          <a:gd name="connsiteY113" fmla="*/ 26016 h 27391"/>
                          <a:gd name="connsiteX114" fmla="*/ 13935 w 28827"/>
                          <a:gd name="connsiteY114" fmla="*/ 26076 h 27391"/>
                          <a:gd name="connsiteX115" fmla="*/ 12978 w 28827"/>
                          <a:gd name="connsiteY115" fmla="*/ 26196 h 27391"/>
                          <a:gd name="connsiteX116" fmla="*/ 239 w 28827"/>
                          <a:gd name="connsiteY116" fmla="*/ 17822 h 27391"/>
                          <a:gd name="connsiteX117" fmla="*/ 1914 w 28827"/>
                          <a:gd name="connsiteY117" fmla="*/ 18899 h 27391"/>
                          <a:gd name="connsiteX118" fmla="*/ 1674 w 28827"/>
                          <a:gd name="connsiteY118" fmla="*/ 18121 h 27391"/>
                          <a:gd name="connsiteX119" fmla="*/ 1495 w 28827"/>
                          <a:gd name="connsiteY119" fmla="*/ 17344 h 27391"/>
                          <a:gd name="connsiteX120" fmla="*/ 1375 w 28827"/>
                          <a:gd name="connsiteY120" fmla="*/ 16567 h 27391"/>
                          <a:gd name="connsiteX121" fmla="*/ 1316 w 28827"/>
                          <a:gd name="connsiteY121" fmla="*/ 15789 h 27391"/>
                          <a:gd name="connsiteX122" fmla="*/ 0 w 28827"/>
                          <a:gd name="connsiteY122" fmla="*/ 14952 h 27391"/>
                          <a:gd name="connsiteX123" fmla="*/ 0 w 28827"/>
                          <a:gd name="connsiteY123" fmla="*/ 15669 h 27391"/>
                          <a:gd name="connsiteX124" fmla="*/ 60 w 28827"/>
                          <a:gd name="connsiteY124" fmla="*/ 16387 h 27391"/>
                          <a:gd name="connsiteX125" fmla="*/ 119 w 28827"/>
                          <a:gd name="connsiteY125" fmla="*/ 17105 h 27391"/>
                          <a:gd name="connsiteX126" fmla="*/ 239 w 28827"/>
                          <a:gd name="connsiteY126" fmla="*/ 17822 h 27391"/>
                          <a:gd name="connsiteX127" fmla="*/ 3648 w 28827"/>
                          <a:gd name="connsiteY127" fmla="*/ 23923 h 27391"/>
                          <a:gd name="connsiteX128" fmla="*/ 7236 w 28827"/>
                          <a:gd name="connsiteY128" fmla="*/ 26255 h 27391"/>
                          <a:gd name="connsiteX129" fmla="*/ 8493 w 28827"/>
                          <a:gd name="connsiteY129" fmla="*/ 26734 h 27391"/>
                          <a:gd name="connsiteX130" fmla="*/ 9808 w 28827"/>
                          <a:gd name="connsiteY130" fmla="*/ 27092 h 27391"/>
                          <a:gd name="connsiteX131" fmla="*/ 11124 w 28827"/>
                          <a:gd name="connsiteY131" fmla="*/ 27332 h 27391"/>
                          <a:gd name="connsiteX132" fmla="*/ 12500 w 28827"/>
                          <a:gd name="connsiteY132" fmla="*/ 27392 h 27391"/>
                          <a:gd name="connsiteX133" fmla="*/ 10287 w 28827"/>
                          <a:gd name="connsiteY133" fmla="*/ 25956 h 27391"/>
                          <a:gd name="connsiteX134" fmla="*/ 9210 w 28827"/>
                          <a:gd name="connsiteY134" fmla="*/ 25657 h 27391"/>
                          <a:gd name="connsiteX135" fmla="*/ 8134 w 28827"/>
                          <a:gd name="connsiteY135" fmla="*/ 25298 h 27391"/>
                          <a:gd name="connsiteX136" fmla="*/ 7117 w 28827"/>
                          <a:gd name="connsiteY136" fmla="*/ 24820 h 27391"/>
                          <a:gd name="connsiteX137" fmla="*/ 6160 w 28827"/>
                          <a:gd name="connsiteY137" fmla="*/ 24222 h 27391"/>
                          <a:gd name="connsiteX138" fmla="*/ 5263 w 28827"/>
                          <a:gd name="connsiteY138" fmla="*/ 23564 h 27391"/>
                          <a:gd name="connsiteX139" fmla="*/ 4426 w 28827"/>
                          <a:gd name="connsiteY139" fmla="*/ 22846 h 27391"/>
                          <a:gd name="connsiteX140" fmla="*/ 3708 w 28827"/>
                          <a:gd name="connsiteY140" fmla="*/ 22069 h 27391"/>
                          <a:gd name="connsiteX141" fmla="*/ 3050 w 28827"/>
                          <a:gd name="connsiteY141" fmla="*/ 21231 h 27391"/>
                          <a:gd name="connsiteX142" fmla="*/ 837 w 28827"/>
                          <a:gd name="connsiteY142" fmla="*/ 19736 h 27391"/>
                          <a:gd name="connsiteX143" fmla="*/ 1375 w 28827"/>
                          <a:gd name="connsiteY143" fmla="*/ 20873 h 27391"/>
                          <a:gd name="connsiteX144" fmla="*/ 2033 w 28827"/>
                          <a:gd name="connsiteY144" fmla="*/ 21949 h 27391"/>
                          <a:gd name="connsiteX145" fmla="*/ 2811 w 28827"/>
                          <a:gd name="connsiteY145" fmla="*/ 22966 h 27391"/>
                          <a:gd name="connsiteX146" fmla="*/ 3648 w 28827"/>
                          <a:gd name="connsiteY146" fmla="*/ 23923 h 2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28827" h="27391">
                            <a:moveTo>
                              <a:pt x="3588" y="5742"/>
                            </a:moveTo>
                            <a:lnTo>
                              <a:pt x="4545" y="6399"/>
                            </a:lnTo>
                            <a:cubicBezTo>
                              <a:pt x="4725" y="6160"/>
                              <a:pt x="4964" y="5921"/>
                              <a:pt x="5203" y="5682"/>
                            </a:cubicBezTo>
                            <a:cubicBezTo>
                              <a:pt x="5442" y="5442"/>
                              <a:pt x="5622" y="5263"/>
                              <a:pt x="5861" y="5024"/>
                            </a:cubicBezTo>
                            <a:cubicBezTo>
                              <a:pt x="6100" y="4785"/>
                              <a:pt x="6340" y="4605"/>
                              <a:pt x="6579" y="4426"/>
                            </a:cubicBezTo>
                            <a:cubicBezTo>
                              <a:pt x="6818" y="4246"/>
                              <a:pt x="7057" y="4067"/>
                              <a:pt x="7296" y="3888"/>
                            </a:cubicBezTo>
                            <a:cubicBezTo>
                              <a:pt x="7416" y="3828"/>
                              <a:pt x="7476" y="3768"/>
                              <a:pt x="7595" y="3708"/>
                            </a:cubicBezTo>
                            <a:cubicBezTo>
                              <a:pt x="7715" y="3648"/>
                              <a:pt x="7775" y="3588"/>
                              <a:pt x="7895" y="3529"/>
                            </a:cubicBezTo>
                            <a:cubicBezTo>
                              <a:pt x="8014" y="3469"/>
                              <a:pt x="8074" y="3409"/>
                              <a:pt x="8194" y="3349"/>
                            </a:cubicBezTo>
                            <a:cubicBezTo>
                              <a:pt x="8313" y="3289"/>
                              <a:pt x="8373" y="3229"/>
                              <a:pt x="8493" y="3170"/>
                            </a:cubicBezTo>
                            <a:cubicBezTo>
                              <a:pt x="9150" y="2751"/>
                              <a:pt x="9868" y="2392"/>
                              <a:pt x="10586" y="2153"/>
                            </a:cubicBezTo>
                            <a:cubicBezTo>
                              <a:pt x="11303" y="1914"/>
                              <a:pt x="12081" y="1615"/>
                              <a:pt x="12798" y="1435"/>
                            </a:cubicBezTo>
                            <a:cubicBezTo>
                              <a:pt x="13576" y="1256"/>
                              <a:pt x="14294" y="1136"/>
                              <a:pt x="15071" y="1076"/>
                            </a:cubicBezTo>
                            <a:cubicBezTo>
                              <a:pt x="15849" y="1017"/>
                              <a:pt x="16566" y="1017"/>
                              <a:pt x="17344" y="1136"/>
                            </a:cubicBezTo>
                            <a:cubicBezTo>
                              <a:pt x="17643" y="1196"/>
                              <a:pt x="18002" y="1196"/>
                              <a:pt x="18301" y="1256"/>
                            </a:cubicBezTo>
                            <a:cubicBezTo>
                              <a:pt x="18600" y="1316"/>
                              <a:pt x="18959" y="1375"/>
                              <a:pt x="19258" y="1435"/>
                            </a:cubicBezTo>
                            <a:cubicBezTo>
                              <a:pt x="19557" y="1495"/>
                              <a:pt x="19856" y="1615"/>
                              <a:pt x="20155" y="1734"/>
                            </a:cubicBezTo>
                            <a:cubicBezTo>
                              <a:pt x="20454" y="1854"/>
                              <a:pt x="20753" y="1974"/>
                              <a:pt x="21052" y="2093"/>
                            </a:cubicBezTo>
                            <a:cubicBezTo>
                              <a:pt x="21231" y="2153"/>
                              <a:pt x="21351" y="2213"/>
                              <a:pt x="21530" y="2333"/>
                            </a:cubicBezTo>
                            <a:cubicBezTo>
                              <a:pt x="21710" y="2392"/>
                              <a:pt x="21829" y="2512"/>
                              <a:pt x="22009" y="2572"/>
                            </a:cubicBezTo>
                            <a:cubicBezTo>
                              <a:pt x="22188" y="2632"/>
                              <a:pt x="22308" y="2751"/>
                              <a:pt x="22488" y="2811"/>
                            </a:cubicBezTo>
                            <a:cubicBezTo>
                              <a:pt x="22607" y="2871"/>
                              <a:pt x="22787" y="2990"/>
                              <a:pt x="22906" y="3110"/>
                            </a:cubicBezTo>
                            <a:cubicBezTo>
                              <a:pt x="23026" y="3229"/>
                              <a:pt x="23205" y="3289"/>
                              <a:pt x="23325" y="3409"/>
                            </a:cubicBezTo>
                            <a:cubicBezTo>
                              <a:pt x="23444" y="3529"/>
                              <a:pt x="23624" y="3588"/>
                              <a:pt x="23743" y="3708"/>
                            </a:cubicBezTo>
                            <a:cubicBezTo>
                              <a:pt x="23863" y="3828"/>
                              <a:pt x="23983" y="3947"/>
                              <a:pt x="24102" y="4067"/>
                            </a:cubicBezTo>
                            <a:cubicBezTo>
                              <a:pt x="24222" y="4187"/>
                              <a:pt x="24342" y="4306"/>
                              <a:pt x="24461" y="4426"/>
                            </a:cubicBezTo>
                            <a:cubicBezTo>
                              <a:pt x="24700" y="4665"/>
                              <a:pt x="24880" y="4844"/>
                              <a:pt x="25119" y="5083"/>
                            </a:cubicBezTo>
                            <a:cubicBezTo>
                              <a:pt x="25298" y="5323"/>
                              <a:pt x="25537" y="5562"/>
                              <a:pt x="25717" y="5801"/>
                            </a:cubicBezTo>
                            <a:cubicBezTo>
                              <a:pt x="25896" y="6041"/>
                              <a:pt x="26076" y="6280"/>
                              <a:pt x="26196" y="6579"/>
                            </a:cubicBezTo>
                            <a:cubicBezTo>
                              <a:pt x="26375" y="6818"/>
                              <a:pt x="26495" y="7117"/>
                              <a:pt x="26614" y="7356"/>
                            </a:cubicBezTo>
                            <a:cubicBezTo>
                              <a:pt x="26913" y="7954"/>
                              <a:pt x="27152" y="8612"/>
                              <a:pt x="27332" y="9330"/>
                            </a:cubicBezTo>
                            <a:cubicBezTo>
                              <a:pt x="27511" y="9988"/>
                              <a:pt x="27631" y="10705"/>
                              <a:pt x="27691" y="11423"/>
                            </a:cubicBezTo>
                            <a:cubicBezTo>
                              <a:pt x="27750" y="12141"/>
                              <a:pt x="27750" y="12859"/>
                              <a:pt x="27631" y="13576"/>
                            </a:cubicBezTo>
                            <a:cubicBezTo>
                              <a:pt x="27511" y="14294"/>
                              <a:pt x="27391" y="15012"/>
                              <a:pt x="27212" y="15729"/>
                            </a:cubicBezTo>
                            <a:cubicBezTo>
                              <a:pt x="27212" y="15849"/>
                              <a:pt x="27152" y="15909"/>
                              <a:pt x="27092" y="16028"/>
                            </a:cubicBezTo>
                            <a:cubicBezTo>
                              <a:pt x="27033" y="16148"/>
                              <a:pt x="27033" y="16208"/>
                              <a:pt x="26973" y="16327"/>
                            </a:cubicBezTo>
                            <a:cubicBezTo>
                              <a:pt x="26913" y="16447"/>
                              <a:pt x="26913" y="16507"/>
                              <a:pt x="26853" y="16626"/>
                            </a:cubicBezTo>
                            <a:cubicBezTo>
                              <a:pt x="26794" y="16746"/>
                              <a:pt x="26794" y="16806"/>
                              <a:pt x="26734" y="16926"/>
                            </a:cubicBezTo>
                            <a:cubicBezTo>
                              <a:pt x="26614" y="17165"/>
                              <a:pt x="26495" y="17464"/>
                              <a:pt x="26375" y="17703"/>
                            </a:cubicBezTo>
                            <a:cubicBezTo>
                              <a:pt x="26255" y="17942"/>
                              <a:pt x="26136" y="18241"/>
                              <a:pt x="25956" y="18481"/>
                            </a:cubicBezTo>
                            <a:cubicBezTo>
                              <a:pt x="25837" y="18720"/>
                              <a:pt x="25657" y="19019"/>
                              <a:pt x="25478" y="19258"/>
                            </a:cubicBezTo>
                            <a:cubicBezTo>
                              <a:pt x="25298" y="19497"/>
                              <a:pt x="25119" y="19736"/>
                              <a:pt x="24940" y="20035"/>
                            </a:cubicBezTo>
                            <a:lnTo>
                              <a:pt x="25896" y="20693"/>
                            </a:lnTo>
                            <a:cubicBezTo>
                              <a:pt x="26076" y="20454"/>
                              <a:pt x="26255" y="20215"/>
                              <a:pt x="26435" y="19916"/>
                            </a:cubicBezTo>
                            <a:cubicBezTo>
                              <a:pt x="26614" y="19676"/>
                              <a:pt x="26734" y="19437"/>
                              <a:pt x="26913" y="19138"/>
                            </a:cubicBezTo>
                            <a:cubicBezTo>
                              <a:pt x="27033" y="18899"/>
                              <a:pt x="27212" y="18600"/>
                              <a:pt x="27332" y="18361"/>
                            </a:cubicBezTo>
                            <a:cubicBezTo>
                              <a:pt x="27451" y="18121"/>
                              <a:pt x="27571" y="17822"/>
                              <a:pt x="27691" y="17583"/>
                            </a:cubicBezTo>
                            <a:cubicBezTo>
                              <a:pt x="27750" y="17464"/>
                              <a:pt x="27750" y="17404"/>
                              <a:pt x="27810" y="17284"/>
                            </a:cubicBezTo>
                            <a:cubicBezTo>
                              <a:pt x="27870" y="17165"/>
                              <a:pt x="27870" y="17105"/>
                              <a:pt x="27930" y="16985"/>
                            </a:cubicBezTo>
                            <a:cubicBezTo>
                              <a:pt x="27990" y="16866"/>
                              <a:pt x="27990" y="16806"/>
                              <a:pt x="28050" y="16686"/>
                            </a:cubicBezTo>
                            <a:cubicBezTo>
                              <a:pt x="28109" y="16567"/>
                              <a:pt x="28109" y="16507"/>
                              <a:pt x="28169" y="16387"/>
                            </a:cubicBezTo>
                            <a:cubicBezTo>
                              <a:pt x="28408" y="15729"/>
                              <a:pt x="28528" y="15072"/>
                              <a:pt x="28648" y="14413"/>
                            </a:cubicBezTo>
                            <a:cubicBezTo>
                              <a:pt x="28767" y="13756"/>
                              <a:pt x="28827" y="13098"/>
                              <a:pt x="28827" y="12440"/>
                            </a:cubicBezTo>
                            <a:cubicBezTo>
                              <a:pt x="28827" y="11782"/>
                              <a:pt x="28827" y="11124"/>
                              <a:pt x="28707" y="10526"/>
                            </a:cubicBezTo>
                            <a:cubicBezTo>
                              <a:pt x="28648" y="9868"/>
                              <a:pt x="28468" y="9270"/>
                              <a:pt x="28349" y="8672"/>
                            </a:cubicBezTo>
                            <a:cubicBezTo>
                              <a:pt x="28289" y="8493"/>
                              <a:pt x="28229" y="8313"/>
                              <a:pt x="28169" y="8134"/>
                            </a:cubicBezTo>
                            <a:cubicBezTo>
                              <a:pt x="28109" y="7954"/>
                              <a:pt x="28050" y="7775"/>
                              <a:pt x="27990" y="7596"/>
                            </a:cubicBezTo>
                            <a:cubicBezTo>
                              <a:pt x="27930" y="7416"/>
                              <a:pt x="27870" y="7237"/>
                              <a:pt x="27750" y="7057"/>
                            </a:cubicBezTo>
                            <a:cubicBezTo>
                              <a:pt x="27631" y="6878"/>
                              <a:pt x="27571" y="6698"/>
                              <a:pt x="27511" y="6579"/>
                            </a:cubicBezTo>
                            <a:cubicBezTo>
                              <a:pt x="27272" y="6160"/>
                              <a:pt x="27033" y="5742"/>
                              <a:pt x="26794" y="5323"/>
                            </a:cubicBezTo>
                            <a:cubicBezTo>
                              <a:pt x="26495" y="4904"/>
                              <a:pt x="26196" y="4545"/>
                              <a:pt x="25896" y="4187"/>
                            </a:cubicBezTo>
                            <a:cubicBezTo>
                              <a:pt x="25537" y="3828"/>
                              <a:pt x="25238" y="3469"/>
                              <a:pt x="24820" y="3110"/>
                            </a:cubicBezTo>
                            <a:cubicBezTo>
                              <a:pt x="24461" y="2751"/>
                              <a:pt x="24042" y="2452"/>
                              <a:pt x="23564" y="2153"/>
                            </a:cubicBezTo>
                            <a:cubicBezTo>
                              <a:pt x="23145" y="1854"/>
                              <a:pt x="22667" y="1615"/>
                              <a:pt x="22188" y="1375"/>
                            </a:cubicBezTo>
                            <a:cubicBezTo>
                              <a:pt x="21710" y="1136"/>
                              <a:pt x="21231" y="957"/>
                              <a:pt x="20753" y="778"/>
                            </a:cubicBezTo>
                            <a:cubicBezTo>
                              <a:pt x="20274" y="598"/>
                              <a:pt x="19796" y="479"/>
                              <a:pt x="19258" y="359"/>
                            </a:cubicBezTo>
                            <a:cubicBezTo>
                              <a:pt x="18779" y="239"/>
                              <a:pt x="18241" y="179"/>
                              <a:pt x="17703" y="120"/>
                            </a:cubicBezTo>
                            <a:cubicBezTo>
                              <a:pt x="17523" y="120"/>
                              <a:pt x="17284" y="60"/>
                              <a:pt x="17105" y="60"/>
                            </a:cubicBezTo>
                            <a:cubicBezTo>
                              <a:pt x="16925" y="60"/>
                              <a:pt x="16686" y="60"/>
                              <a:pt x="16507" y="0"/>
                            </a:cubicBezTo>
                            <a:cubicBezTo>
                              <a:pt x="16327" y="0"/>
                              <a:pt x="16088" y="0"/>
                              <a:pt x="15909" y="0"/>
                            </a:cubicBezTo>
                            <a:cubicBezTo>
                              <a:pt x="15729" y="0"/>
                              <a:pt x="15490" y="0"/>
                              <a:pt x="15311" y="0"/>
                            </a:cubicBezTo>
                            <a:cubicBezTo>
                              <a:pt x="14593" y="60"/>
                              <a:pt x="13935" y="120"/>
                              <a:pt x="13217" y="239"/>
                            </a:cubicBezTo>
                            <a:cubicBezTo>
                              <a:pt x="12500" y="359"/>
                              <a:pt x="11842" y="538"/>
                              <a:pt x="11184" y="778"/>
                            </a:cubicBezTo>
                            <a:cubicBezTo>
                              <a:pt x="10526" y="1017"/>
                              <a:pt x="9808" y="1256"/>
                              <a:pt x="9210" y="1555"/>
                            </a:cubicBezTo>
                            <a:cubicBezTo>
                              <a:pt x="8552" y="1854"/>
                              <a:pt x="7895" y="2213"/>
                              <a:pt x="7296" y="2632"/>
                            </a:cubicBezTo>
                            <a:cubicBezTo>
                              <a:pt x="7177" y="2691"/>
                              <a:pt x="7117" y="2751"/>
                              <a:pt x="6997" y="2811"/>
                            </a:cubicBezTo>
                            <a:cubicBezTo>
                              <a:pt x="6878" y="2871"/>
                              <a:pt x="6818" y="2930"/>
                              <a:pt x="6698" y="2990"/>
                            </a:cubicBezTo>
                            <a:cubicBezTo>
                              <a:pt x="6579" y="3050"/>
                              <a:pt x="6519" y="3110"/>
                              <a:pt x="6399" y="3170"/>
                            </a:cubicBezTo>
                            <a:cubicBezTo>
                              <a:pt x="6280" y="3229"/>
                              <a:pt x="6220" y="3289"/>
                              <a:pt x="6160" y="3349"/>
                            </a:cubicBezTo>
                            <a:cubicBezTo>
                              <a:pt x="5921" y="3529"/>
                              <a:pt x="5682" y="3708"/>
                              <a:pt x="5442" y="3888"/>
                            </a:cubicBezTo>
                            <a:cubicBezTo>
                              <a:pt x="5203" y="4067"/>
                              <a:pt x="4964" y="4306"/>
                              <a:pt x="4785" y="4486"/>
                            </a:cubicBezTo>
                            <a:cubicBezTo>
                              <a:pt x="4545" y="4725"/>
                              <a:pt x="4366" y="4904"/>
                              <a:pt x="4127" y="5143"/>
                            </a:cubicBezTo>
                            <a:cubicBezTo>
                              <a:pt x="4007" y="5263"/>
                              <a:pt x="3827" y="5502"/>
                              <a:pt x="3588" y="5742"/>
                            </a:cubicBezTo>
                            <a:moveTo>
                              <a:pt x="17942" y="25298"/>
                            </a:moveTo>
                            <a:lnTo>
                              <a:pt x="19138" y="26076"/>
                            </a:lnTo>
                            <a:cubicBezTo>
                              <a:pt x="19676" y="25837"/>
                              <a:pt x="20274" y="25538"/>
                              <a:pt x="20813" y="25238"/>
                            </a:cubicBezTo>
                            <a:cubicBezTo>
                              <a:pt x="21351" y="24940"/>
                              <a:pt x="21889" y="24581"/>
                              <a:pt x="22368" y="24222"/>
                            </a:cubicBezTo>
                            <a:cubicBezTo>
                              <a:pt x="22906" y="23863"/>
                              <a:pt x="23384" y="23444"/>
                              <a:pt x="23863" y="23026"/>
                            </a:cubicBezTo>
                            <a:cubicBezTo>
                              <a:pt x="24342" y="22607"/>
                              <a:pt x="24760" y="22129"/>
                              <a:pt x="25179" y="21650"/>
                            </a:cubicBezTo>
                            <a:lnTo>
                              <a:pt x="24222" y="20992"/>
                            </a:lnTo>
                            <a:cubicBezTo>
                              <a:pt x="23803" y="21471"/>
                              <a:pt x="23325" y="21949"/>
                              <a:pt x="22846" y="22368"/>
                            </a:cubicBezTo>
                            <a:cubicBezTo>
                              <a:pt x="22368" y="22787"/>
                              <a:pt x="21829" y="23205"/>
                              <a:pt x="21351" y="23564"/>
                            </a:cubicBezTo>
                            <a:cubicBezTo>
                              <a:pt x="20873" y="23923"/>
                              <a:pt x="20274" y="24282"/>
                              <a:pt x="19736" y="24521"/>
                            </a:cubicBezTo>
                            <a:cubicBezTo>
                              <a:pt x="19198" y="24760"/>
                              <a:pt x="18540" y="25059"/>
                              <a:pt x="17942" y="25298"/>
                            </a:cubicBezTo>
                            <a:moveTo>
                              <a:pt x="60" y="13516"/>
                            </a:moveTo>
                            <a:lnTo>
                              <a:pt x="1256" y="14294"/>
                            </a:lnTo>
                            <a:cubicBezTo>
                              <a:pt x="1316" y="13696"/>
                              <a:pt x="1375" y="13098"/>
                              <a:pt x="1495" y="12559"/>
                            </a:cubicBezTo>
                            <a:cubicBezTo>
                              <a:pt x="1615" y="11961"/>
                              <a:pt x="1794" y="11364"/>
                              <a:pt x="1973" y="10825"/>
                            </a:cubicBezTo>
                            <a:cubicBezTo>
                              <a:pt x="2213" y="10227"/>
                              <a:pt x="2452" y="9689"/>
                              <a:pt x="2751" y="9091"/>
                            </a:cubicBezTo>
                            <a:cubicBezTo>
                              <a:pt x="3050" y="8552"/>
                              <a:pt x="3409" y="7954"/>
                              <a:pt x="3768" y="7416"/>
                            </a:cubicBezTo>
                            <a:lnTo>
                              <a:pt x="2811" y="6758"/>
                            </a:lnTo>
                            <a:cubicBezTo>
                              <a:pt x="2452" y="7296"/>
                              <a:pt x="2093" y="7835"/>
                              <a:pt x="1794" y="8373"/>
                            </a:cubicBezTo>
                            <a:cubicBezTo>
                              <a:pt x="1495" y="8911"/>
                              <a:pt x="1196" y="9510"/>
                              <a:pt x="1017" y="10048"/>
                            </a:cubicBezTo>
                            <a:cubicBezTo>
                              <a:pt x="837" y="10586"/>
                              <a:pt x="598" y="11184"/>
                              <a:pt x="478" y="11782"/>
                            </a:cubicBezTo>
                            <a:cubicBezTo>
                              <a:pt x="359" y="12380"/>
                              <a:pt x="119" y="12978"/>
                              <a:pt x="60" y="13516"/>
                            </a:cubicBezTo>
                            <a:moveTo>
                              <a:pt x="12978" y="26196"/>
                            </a:moveTo>
                            <a:lnTo>
                              <a:pt x="14653" y="27272"/>
                            </a:lnTo>
                            <a:cubicBezTo>
                              <a:pt x="14892" y="27212"/>
                              <a:pt x="15131" y="27212"/>
                              <a:pt x="15430" y="27152"/>
                            </a:cubicBezTo>
                            <a:cubicBezTo>
                              <a:pt x="15669" y="27092"/>
                              <a:pt x="15909" y="27033"/>
                              <a:pt x="16208" y="26973"/>
                            </a:cubicBezTo>
                            <a:cubicBezTo>
                              <a:pt x="16447" y="26913"/>
                              <a:pt x="16686" y="26853"/>
                              <a:pt x="16985" y="26794"/>
                            </a:cubicBezTo>
                            <a:cubicBezTo>
                              <a:pt x="17225" y="26734"/>
                              <a:pt x="17464" y="26674"/>
                              <a:pt x="17703" y="26554"/>
                            </a:cubicBezTo>
                            <a:lnTo>
                              <a:pt x="16447" y="25717"/>
                            </a:lnTo>
                            <a:cubicBezTo>
                              <a:pt x="16148" y="25777"/>
                              <a:pt x="15909" y="25837"/>
                              <a:pt x="15610" y="25897"/>
                            </a:cubicBezTo>
                            <a:cubicBezTo>
                              <a:pt x="15311" y="25956"/>
                              <a:pt x="15071" y="26016"/>
                              <a:pt x="14772" y="26016"/>
                            </a:cubicBezTo>
                            <a:cubicBezTo>
                              <a:pt x="14473" y="26016"/>
                              <a:pt x="14234" y="26076"/>
                              <a:pt x="13935" y="26076"/>
                            </a:cubicBezTo>
                            <a:cubicBezTo>
                              <a:pt x="13576" y="26196"/>
                              <a:pt x="13277" y="26196"/>
                              <a:pt x="12978" y="26196"/>
                            </a:cubicBezTo>
                            <a:moveTo>
                              <a:pt x="239" y="17822"/>
                            </a:moveTo>
                            <a:lnTo>
                              <a:pt x="1914" y="18899"/>
                            </a:lnTo>
                            <a:cubicBezTo>
                              <a:pt x="1854" y="18660"/>
                              <a:pt x="1734" y="18421"/>
                              <a:pt x="1674" y="18121"/>
                            </a:cubicBezTo>
                            <a:cubicBezTo>
                              <a:pt x="1615" y="17882"/>
                              <a:pt x="1555" y="17583"/>
                              <a:pt x="1495" y="17344"/>
                            </a:cubicBezTo>
                            <a:cubicBezTo>
                              <a:pt x="1435" y="17105"/>
                              <a:pt x="1375" y="16806"/>
                              <a:pt x="1375" y="16567"/>
                            </a:cubicBezTo>
                            <a:cubicBezTo>
                              <a:pt x="1316" y="16327"/>
                              <a:pt x="1316" y="16028"/>
                              <a:pt x="1316" y="15789"/>
                            </a:cubicBezTo>
                            <a:lnTo>
                              <a:pt x="0" y="14952"/>
                            </a:lnTo>
                            <a:cubicBezTo>
                              <a:pt x="0" y="15191"/>
                              <a:pt x="0" y="15430"/>
                              <a:pt x="0" y="15669"/>
                            </a:cubicBezTo>
                            <a:cubicBezTo>
                              <a:pt x="0" y="15909"/>
                              <a:pt x="0" y="16148"/>
                              <a:pt x="60" y="16387"/>
                            </a:cubicBezTo>
                            <a:cubicBezTo>
                              <a:pt x="60" y="16626"/>
                              <a:pt x="119" y="16866"/>
                              <a:pt x="119" y="17105"/>
                            </a:cubicBezTo>
                            <a:cubicBezTo>
                              <a:pt x="119" y="17404"/>
                              <a:pt x="179" y="17643"/>
                              <a:pt x="239" y="17822"/>
                            </a:cubicBezTo>
                            <a:moveTo>
                              <a:pt x="3648" y="23923"/>
                            </a:moveTo>
                            <a:lnTo>
                              <a:pt x="7236" y="26255"/>
                            </a:lnTo>
                            <a:cubicBezTo>
                              <a:pt x="7655" y="26435"/>
                              <a:pt x="8074" y="26614"/>
                              <a:pt x="8493" y="26734"/>
                            </a:cubicBezTo>
                            <a:cubicBezTo>
                              <a:pt x="8911" y="26853"/>
                              <a:pt x="9330" y="26973"/>
                              <a:pt x="9808" y="27092"/>
                            </a:cubicBezTo>
                            <a:cubicBezTo>
                              <a:pt x="10227" y="27212"/>
                              <a:pt x="10705" y="27272"/>
                              <a:pt x="11124" y="27332"/>
                            </a:cubicBezTo>
                            <a:cubicBezTo>
                              <a:pt x="11543" y="27392"/>
                              <a:pt x="12021" y="27392"/>
                              <a:pt x="12500" y="27392"/>
                            </a:cubicBezTo>
                            <a:lnTo>
                              <a:pt x="10287" y="25956"/>
                            </a:lnTo>
                            <a:cubicBezTo>
                              <a:pt x="9928" y="25897"/>
                              <a:pt x="9569" y="25777"/>
                              <a:pt x="9210" y="25657"/>
                            </a:cubicBezTo>
                            <a:cubicBezTo>
                              <a:pt x="8851" y="25538"/>
                              <a:pt x="8493" y="25418"/>
                              <a:pt x="8134" y="25298"/>
                            </a:cubicBezTo>
                            <a:cubicBezTo>
                              <a:pt x="7775" y="25179"/>
                              <a:pt x="7476" y="24999"/>
                              <a:pt x="7117" y="24820"/>
                            </a:cubicBezTo>
                            <a:cubicBezTo>
                              <a:pt x="6758" y="24641"/>
                              <a:pt x="6459" y="24461"/>
                              <a:pt x="6160" y="24222"/>
                            </a:cubicBezTo>
                            <a:cubicBezTo>
                              <a:pt x="5861" y="24043"/>
                              <a:pt x="5562" y="23803"/>
                              <a:pt x="5263" y="23564"/>
                            </a:cubicBezTo>
                            <a:cubicBezTo>
                              <a:pt x="4964" y="23325"/>
                              <a:pt x="4725" y="23085"/>
                              <a:pt x="4426" y="22846"/>
                            </a:cubicBezTo>
                            <a:cubicBezTo>
                              <a:pt x="4187" y="22607"/>
                              <a:pt x="3947" y="22308"/>
                              <a:pt x="3708" y="22069"/>
                            </a:cubicBezTo>
                            <a:cubicBezTo>
                              <a:pt x="3469" y="21830"/>
                              <a:pt x="3289" y="21530"/>
                              <a:pt x="3050" y="21231"/>
                            </a:cubicBezTo>
                            <a:lnTo>
                              <a:pt x="837" y="19736"/>
                            </a:lnTo>
                            <a:cubicBezTo>
                              <a:pt x="1017" y="20155"/>
                              <a:pt x="1196" y="20514"/>
                              <a:pt x="1375" y="20873"/>
                            </a:cubicBezTo>
                            <a:cubicBezTo>
                              <a:pt x="1555" y="21231"/>
                              <a:pt x="1794" y="21590"/>
                              <a:pt x="2033" y="21949"/>
                            </a:cubicBezTo>
                            <a:cubicBezTo>
                              <a:pt x="2273" y="22308"/>
                              <a:pt x="2512" y="22667"/>
                              <a:pt x="2811" y="22966"/>
                            </a:cubicBezTo>
                            <a:cubicBezTo>
                              <a:pt x="3110" y="23265"/>
                              <a:pt x="3349" y="23624"/>
                              <a:pt x="3648" y="23923"/>
                            </a:cubicBezTo>
                          </a:path>
                        </a:pathLst>
                      </a:custGeom>
                      <a:noFill/>
                      <a:ln w="6350" cap="flat">
                        <a:solidFill>
                          <a:schemeClr val="bg1">
                            <a:alpha val="40000"/>
                          </a:schemeClr>
                        </a:solidFill>
                        <a:prstDash val="solid"/>
                        <a:miter/>
                      </a:ln>
                    </p:spPr>
                    <p:txBody>
                      <a:bodyPr rtlCol="0" anchor="ctr"/>
                      <a:lstStyle/>
                      <a:p>
                        <a:endParaRPr lang="en-GB"/>
                      </a:p>
                    </p:txBody>
                  </p:sp>
                  <p:sp>
                    <p:nvSpPr>
                      <p:cNvPr id="7473" name="Vrije vorm: vorm 7472">
                        <a:extLst>
                          <a:ext uri="{FF2B5EF4-FFF2-40B4-BE49-F238E27FC236}">
                            <a16:creationId xmlns:a16="http://schemas.microsoft.com/office/drawing/2014/main" id="{F583951D-1964-4A50-9240-912793532299}"/>
                          </a:ext>
                        </a:extLst>
                      </p:cNvPr>
                      <p:cNvSpPr/>
                      <p:nvPr/>
                    </p:nvSpPr>
                    <p:spPr>
                      <a:xfrm>
                        <a:off x="4818507" y="5173937"/>
                        <a:ext cx="15370" cy="15036"/>
                      </a:xfrm>
                      <a:custGeom>
                        <a:avLst/>
                        <a:gdLst>
                          <a:gd name="connsiteX0" fmla="*/ 2034 w 15370"/>
                          <a:gd name="connsiteY0" fmla="*/ 3135 h 15036"/>
                          <a:gd name="connsiteX1" fmla="*/ 2990 w 15370"/>
                          <a:gd name="connsiteY1" fmla="*/ 3733 h 15036"/>
                          <a:gd name="connsiteX2" fmla="*/ 3708 w 15370"/>
                          <a:gd name="connsiteY2" fmla="*/ 3015 h 15036"/>
                          <a:gd name="connsiteX3" fmla="*/ 4545 w 15370"/>
                          <a:gd name="connsiteY3" fmla="*/ 2417 h 15036"/>
                          <a:gd name="connsiteX4" fmla="*/ 5383 w 15370"/>
                          <a:gd name="connsiteY4" fmla="*/ 1939 h 15036"/>
                          <a:gd name="connsiteX5" fmla="*/ 6280 w 15370"/>
                          <a:gd name="connsiteY5" fmla="*/ 1579 h 15036"/>
                          <a:gd name="connsiteX6" fmla="*/ 6699 w 15370"/>
                          <a:gd name="connsiteY6" fmla="*/ 1460 h 15036"/>
                          <a:gd name="connsiteX7" fmla="*/ 7117 w 15370"/>
                          <a:gd name="connsiteY7" fmla="*/ 1340 h 15036"/>
                          <a:gd name="connsiteX8" fmla="*/ 7536 w 15370"/>
                          <a:gd name="connsiteY8" fmla="*/ 1281 h 15036"/>
                          <a:gd name="connsiteX9" fmla="*/ 7954 w 15370"/>
                          <a:gd name="connsiteY9" fmla="*/ 1221 h 15036"/>
                          <a:gd name="connsiteX10" fmla="*/ 8971 w 15370"/>
                          <a:gd name="connsiteY10" fmla="*/ 1221 h 15036"/>
                          <a:gd name="connsiteX11" fmla="*/ 9928 w 15370"/>
                          <a:gd name="connsiteY11" fmla="*/ 1400 h 15036"/>
                          <a:gd name="connsiteX12" fmla="*/ 10885 w 15370"/>
                          <a:gd name="connsiteY12" fmla="*/ 1699 h 15036"/>
                          <a:gd name="connsiteX13" fmla="*/ 11782 w 15370"/>
                          <a:gd name="connsiteY13" fmla="*/ 2178 h 15036"/>
                          <a:gd name="connsiteX14" fmla="*/ 12560 w 15370"/>
                          <a:gd name="connsiteY14" fmla="*/ 2776 h 15036"/>
                          <a:gd name="connsiteX15" fmla="*/ 13158 w 15370"/>
                          <a:gd name="connsiteY15" fmla="*/ 3493 h 15036"/>
                          <a:gd name="connsiteX16" fmla="*/ 13636 w 15370"/>
                          <a:gd name="connsiteY16" fmla="*/ 4271 h 15036"/>
                          <a:gd name="connsiteX17" fmla="*/ 13935 w 15370"/>
                          <a:gd name="connsiteY17" fmla="*/ 5108 h 15036"/>
                          <a:gd name="connsiteX18" fmla="*/ 14055 w 15370"/>
                          <a:gd name="connsiteY18" fmla="*/ 5527 h 15036"/>
                          <a:gd name="connsiteX19" fmla="*/ 14115 w 15370"/>
                          <a:gd name="connsiteY19" fmla="*/ 5946 h 15036"/>
                          <a:gd name="connsiteX20" fmla="*/ 14175 w 15370"/>
                          <a:gd name="connsiteY20" fmla="*/ 6364 h 15036"/>
                          <a:gd name="connsiteX21" fmla="*/ 14175 w 15370"/>
                          <a:gd name="connsiteY21" fmla="*/ 6783 h 15036"/>
                          <a:gd name="connsiteX22" fmla="*/ 14115 w 15370"/>
                          <a:gd name="connsiteY22" fmla="*/ 7680 h 15036"/>
                          <a:gd name="connsiteX23" fmla="*/ 13875 w 15370"/>
                          <a:gd name="connsiteY23" fmla="*/ 8577 h 15036"/>
                          <a:gd name="connsiteX24" fmla="*/ 13516 w 15370"/>
                          <a:gd name="connsiteY24" fmla="*/ 9474 h 15036"/>
                          <a:gd name="connsiteX25" fmla="*/ 13038 w 15370"/>
                          <a:gd name="connsiteY25" fmla="*/ 10311 h 15036"/>
                          <a:gd name="connsiteX26" fmla="*/ 13995 w 15370"/>
                          <a:gd name="connsiteY26" fmla="*/ 10969 h 15036"/>
                          <a:gd name="connsiteX27" fmla="*/ 14474 w 15370"/>
                          <a:gd name="connsiteY27" fmla="*/ 10132 h 15036"/>
                          <a:gd name="connsiteX28" fmla="*/ 14832 w 15370"/>
                          <a:gd name="connsiteY28" fmla="*/ 9295 h 15036"/>
                          <a:gd name="connsiteX29" fmla="*/ 15131 w 15370"/>
                          <a:gd name="connsiteY29" fmla="*/ 8457 h 15036"/>
                          <a:gd name="connsiteX30" fmla="*/ 15311 w 15370"/>
                          <a:gd name="connsiteY30" fmla="*/ 7620 h 15036"/>
                          <a:gd name="connsiteX31" fmla="*/ 15371 w 15370"/>
                          <a:gd name="connsiteY31" fmla="*/ 7261 h 15036"/>
                          <a:gd name="connsiteX32" fmla="*/ 15371 w 15370"/>
                          <a:gd name="connsiteY32" fmla="*/ 6902 h 15036"/>
                          <a:gd name="connsiteX33" fmla="*/ 15371 w 15370"/>
                          <a:gd name="connsiteY33" fmla="*/ 6544 h 15036"/>
                          <a:gd name="connsiteX34" fmla="*/ 15371 w 15370"/>
                          <a:gd name="connsiteY34" fmla="*/ 6185 h 15036"/>
                          <a:gd name="connsiteX35" fmla="*/ 15131 w 15370"/>
                          <a:gd name="connsiteY35" fmla="*/ 4749 h 15036"/>
                          <a:gd name="connsiteX36" fmla="*/ 14593 w 15370"/>
                          <a:gd name="connsiteY36" fmla="*/ 3434 h 15036"/>
                          <a:gd name="connsiteX37" fmla="*/ 13696 w 15370"/>
                          <a:gd name="connsiteY37" fmla="*/ 2238 h 15036"/>
                          <a:gd name="connsiteX38" fmla="*/ 12500 w 15370"/>
                          <a:gd name="connsiteY38" fmla="*/ 1221 h 15036"/>
                          <a:gd name="connsiteX39" fmla="*/ 11124 w 15370"/>
                          <a:gd name="connsiteY39" fmla="*/ 503 h 15036"/>
                          <a:gd name="connsiteX40" fmla="*/ 9629 w 15370"/>
                          <a:gd name="connsiteY40" fmla="*/ 84 h 15036"/>
                          <a:gd name="connsiteX41" fmla="*/ 8074 w 15370"/>
                          <a:gd name="connsiteY41" fmla="*/ 25 h 15036"/>
                          <a:gd name="connsiteX42" fmla="*/ 6519 w 15370"/>
                          <a:gd name="connsiteY42" fmla="*/ 264 h 15036"/>
                          <a:gd name="connsiteX43" fmla="*/ 6160 w 15370"/>
                          <a:gd name="connsiteY43" fmla="*/ 384 h 15036"/>
                          <a:gd name="connsiteX44" fmla="*/ 5801 w 15370"/>
                          <a:gd name="connsiteY44" fmla="*/ 503 h 15036"/>
                          <a:gd name="connsiteX45" fmla="*/ 5443 w 15370"/>
                          <a:gd name="connsiteY45" fmla="*/ 623 h 15036"/>
                          <a:gd name="connsiteX46" fmla="*/ 5084 w 15370"/>
                          <a:gd name="connsiteY46" fmla="*/ 802 h 15036"/>
                          <a:gd name="connsiteX47" fmla="*/ 4246 w 15370"/>
                          <a:gd name="connsiteY47" fmla="*/ 1221 h 15036"/>
                          <a:gd name="connsiteX48" fmla="*/ 3469 w 15370"/>
                          <a:gd name="connsiteY48" fmla="*/ 1759 h 15036"/>
                          <a:gd name="connsiteX49" fmla="*/ 2691 w 15370"/>
                          <a:gd name="connsiteY49" fmla="*/ 2357 h 15036"/>
                          <a:gd name="connsiteX50" fmla="*/ 2034 w 15370"/>
                          <a:gd name="connsiteY50" fmla="*/ 3135 h 15036"/>
                          <a:gd name="connsiteX51" fmla="*/ 1555 w 15370"/>
                          <a:gd name="connsiteY51" fmla="*/ 12883 h 15036"/>
                          <a:gd name="connsiteX52" fmla="*/ 4187 w 15370"/>
                          <a:gd name="connsiteY52" fmla="*/ 14618 h 15036"/>
                          <a:gd name="connsiteX53" fmla="*/ 6579 w 15370"/>
                          <a:gd name="connsiteY53" fmla="*/ 15036 h 15036"/>
                          <a:gd name="connsiteX54" fmla="*/ 9031 w 15370"/>
                          <a:gd name="connsiteY54" fmla="*/ 14737 h 15036"/>
                          <a:gd name="connsiteX55" fmla="*/ 11364 w 15370"/>
                          <a:gd name="connsiteY55" fmla="*/ 13721 h 15036"/>
                          <a:gd name="connsiteX56" fmla="*/ 13397 w 15370"/>
                          <a:gd name="connsiteY56" fmla="*/ 12046 h 15036"/>
                          <a:gd name="connsiteX57" fmla="*/ 12440 w 15370"/>
                          <a:gd name="connsiteY57" fmla="*/ 11388 h 15036"/>
                          <a:gd name="connsiteX58" fmla="*/ 10466 w 15370"/>
                          <a:gd name="connsiteY58" fmla="*/ 12883 h 15036"/>
                          <a:gd name="connsiteX59" fmla="*/ 8194 w 15370"/>
                          <a:gd name="connsiteY59" fmla="*/ 13661 h 15036"/>
                          <a:gd name="connsiteX60" fmla="*/ 5861 w 15370"/>
                          <a:gd name="connsiteY60" fmla="*/ 13661 h 15036"/>
                          <a:gd name="connsiteX61" fmla="*/ 3708 w 15370"/>
                          <a:gd name="connsiteY61" fmla="*/ 12823 h 15036"/>
                          <a:gd name="connsiteX62" fmla="*/ 2093 w 15370"/>
                          <a:gd name="connsiteY62" fmla="*/ 11209 h 15036"/>
                          <a:gd name="connsiteX63" fmla="*/ 1316 w 15370"/>
                          <a:gd name="connsiteY63" fmla="*/ 9175 h 15036"/>
                          <a:gd name="connsiteX64" fmla="*/ 1376 w 15370"/>
                          <a:gd name="connsiteY64" fmla="*/ 6902 h 15036"/>
                          <a:gd name="connsiteX65" fmla="*/ 2333 w 15370"/>
                          <a:gd name="connsiteY65" fmla="*/ 4690 h 15036"/>
                          <a:gd name="connsiteX66" fmla="*/ 1376 w 15370"/>
                          <a:gd name="connsiteY66" fmla="*/ 4092 h 15036"/>
                          <a:gd name="connsiteX67" fmla="*/ 299 w 15370"/>
                          <a:gd name="connsiteY67" fmla="*/ 6364 h 15036"/>
                          <a:gd name="connsiteX68" fmla="*/ 0 w 15370"/>
                          <a:gd name="connsiteY68" fmla="*/ 8697 h 15036"/>
                          <a:gd name="connsiteX69" fmla="*/ 479 w 15370"/>
                          <a:gd name="connsiteY69" fmla="*/ 10910 h 15036"/>
                          <a:gd name="connsiteX70" fmla="*/ 1555 w 15370"/>
                          <a:gd name="connsiteY70" fmla="*/ 12883 h 15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5370" h="15036">
                            <a:moveTo>
                              <a:pt x="2034" y="3135"/>
                            </a:moveTo>
                            <a:lnTo>
                              <a:pt x="2990" y="3733"/>
                            </a:lnTo>
                            <a:cubicBezTo>
                              <a:pt x="3230" y="3493"/>
                              <a:pt x="3469" y="3254"/>
                              <a:pt x="3708" y="3015"/>
                            </a:cubicBezTo>
                            <a:cubicBezTo>
                              <a:pt x="3947" y="2776"/>
                              <a:pt x="4246" y="2596"/>
                              <a:pt x="4545" y="2417"/>
                            </a:cubicBezTo>
                            <a:cubicBezTo>
                              <a:pt x="4845" y="2238"/>
                              <a:pt x="5144" y="2118"/>
                              <a:pt x="5383" y="1939"/>
                            </a:cubicBezTo>
                            <a:cubicBezTo>
                              <a:pt x="5682" y="1819"/>
                              <a:pt x="5981" y="1699"/>
                              <a:pt x="6280" y="1579"/>
                            </a:cubicBezTo>
                            <a:cubicBezTo>
                              <a:pt x="6399" y="1520"/>
                              <a:pt x="6579" y="1520"/>
                              <a:pt x="6699" y="1460"/>
                            </a:cubicBezTo>
                            <a:cubicBezTo>
                              <a:pt x="6818" y="1400"/>
                              <a:pt x="6998" y="1400"/>
                              <a:pt x="7117" y="1340"/>
                            </a:cubicBezTo>
                            <a:cubicBezTo>
                              <a:pt x="7237" y="1340"/>
                              <a:pt x="7416" y="1281"/>
                              <a:pt x="7536" y="1281"/>
                            </a:cubicBezTo>
                            <a:cubicBezTo>
                              <a:pt x="7656" y="1281"/>
                              <a:pt x="7835" y="1281"/>
                              <a:pt x="7954" y="1221"/>
                            </a:cubicBezTo>
                            <a:cubicBezTo>
                              <a:pt x="8313" y="1221"/>
                              <a:pt x="8612" y="1221"/>
                              <a:pt x="8971" y="1221"/>
                            </a:cubicBezTo>
                            <a:cubicBezTo>
                              <a:pt x="9330" y="1281"/>
                              <a:pt x="9629" y="1281"/>
                              <a:pt x="9928" y="1400"/>
                            </a:cubicBezTo>
                            <a:cubicBezTo>
                              <a:pt x="10227" y="1460"/>
                              <a:pt x="10586" y="1579"/>
                              <a:pt x="10885" y="1699"/>
                            </a:cubicBezTo>
                            <a:cubicBezTo>
                              <a:pt x="11184" y="1819"/>
                              <a:pt x="11483" y="1998"/>
                              <a:pt x="11782" y="2178"/>
                            </a:cubicBezTo>
                            <a:cubicBezTo>
                              <a:pt x="12081" y="2357"/>
                              <a:pt x="12321" y="2596"/>
                              <a:pt x="12560" y="2776"/>
                            </a:cubicBezTo>
                            <a:cubicBezTo>
                              <a:pt x="12799" y="3015"/>
                              <a:pt x="12978" y="3254"/>
                              <a:pt x="13158" y="3493"/>
                            </a:cubicBezTo>
                            <a:cubicBezTo>
                              <a:pt x="13337" y="3733"/>
                              <a:pt x="13516" y="4032"/>
                              <a:pt x="13636" y="4271"/>
                            </a:cubicBezTo>
                            <a:cubicBezTo>
                              <a:pt x="13756" y="4570"/>
                              <a:pt x="13875" y="4809"/>
                              <a:pt x="13935" y="5108"/>
                            </a:cubicBezTo>
                            <a:cubicBezTo>
                              <a:pt x="13995" y="5228"/>
                              <a:pt x="13995" y="5347"/>
                              <a:pt x="14055" y="5527"/>
                            </a:cubicBezTo>
                            <a:cubicBezTo>
                              <a:pt x="14055" y="5647"/>
                              <a:pt x="14115" y="5766"/>
                              <a:pt x="14115" y="5946"/>
                            </a:cubicBezTo>
                            <a:cubicBezTo>
                              <a:pt x="14115" y="6125"/>
                              <a:pt x="14175" y="6245"/>
                              <a:pt x="14175" y="6364"/>
                            </a:cubicBezTo>
                            <a:cubicBezTo>
                              <a:pt x="14175" y="6484"/>
                              <a:pt x="14175" y="6663"/>
                              <a:pt x="14175" y="6783"/>
                            </a:cubicBezTo>
                            <a:cubicBezTo>
                              <a:pt x="14175" y="7082"/>
                              <a:pt x="14115" y="7381"/>
                              <a:pt x="14115" y="7680"/>
                            </a:cubicBezTo>
                            <a:cubicBezTo>
                              <a:pt x="14115" y="7979"/>
                              <a:pt x="13995" y="8278"/>
                              <a:pt x="13875" y="8577"/>
                            </a:cubicBezTo>
                            <a:cubicBezTo>
                              <a:pt x="13756" y="8876"/>
                              <a:pt x="13696" y="9175"/>
                              <a:pt x="13516" y="9474"/>
                            </a:cubicBezTo>
                            <a:cubicBezTo>
                              <a:pt x="13397" y="9773"/>
                              <a:pt x="13218" y="10072"/>
                              <a:pt x="13038" y="10311"/>
                            </a:cubicBezTo>
                            <a:lnTo>
                              <a:pt x="13995" y="10969"/>
                            </a:lnTo>
                            <a:cubicBezTo>
                              <a:pt x="14175" y="10730"/>
                              <a:pt x="14354" y="10431"/>
                              <a:pt x="14474" y="10132"/>
                            </a:cubicBezTo>
                            <a:cubicBezTo>
                              <a:pt x="14593" y="9833"/>
                              <a:pt x="14773" y="9594"/>
                              <a:pt x="14832" y="9295"/>
                            </a:cubicBezTo>
                            <a:cubicBezTo>
                              <a:pt x="14952" y="8996"/>
                              <a:pt x="15012" y="8756"/>
                              <a:pt x="15131" y="8457"/>
                            </a:cubicBezTo>
                            <a:cubicBezTo>
                              <a:pt x="15191" y="8158"/>
                              <a:pt x="15251" y="7860"/>
                              <a:pt x="15311" y="7620"/>
                            </a:cubicBezTo>
                            <a:cubicBezTo>
                              <a:pt x="15311" y="7501"/>
                              <a:pt x="15371" y="7381"/>
                              <a:pt x="15371" y="7261"/>
                            </a:cubicBezTo>
                            <a:cubicBezTo>
                              <a:pt x="15371" y="7142"/>
                              <a:pt x="15371" y="7022"/>
                              <a:pt x="15371" y="6902"/>
                            </a:cubicBezTo>
                            <a:cubicBezTo>
                              <a:pt x="15371" y="6783"/>
                              <a:pt x="15371" y="6663"/>
                              <a:pt x="15371" y="6544"/>
                            </a:cubicBezTo>
                            <a:cubicBezTo>
                              <a:pt x="15371" y="6424"/>
                              <a:pt x="15371" y="6304"/>
                              <a:pt x="15371" y="6185"/>
                            </a:cubicBezTo>
                            <a:cubicBezTo>
                              <a:pt x="15311" y="5706"/>
                              <a:pt x="15251" y="5228"/>
                              <a:pt x="15131" y="4749"/>
                            </a:cubicBezTo>
                            <a:cubicBezTo>
                              <a:pt x="15012" y="4271"/>
                              <a:pt x="14832" y="3852"/>
                              <a:pt x="14593" y="3434"/>
                            </a:cubicBezTo>
                            <a:cubicBezTo>
                              <a:pt x="14354" y="3015"/>
                              <a:pt x="14055" y="2596"/>
                              <a:pt x="13696" y="2238"/>
                            </a:cubicBezTo>
                            <a:cubicBezTo>
                              <a:pt x="13337" y="1879"/>
                              <a:pt x="12978" y="1520"/>
                              <a:pt x="12500" y="1221"/>
                            </a:cubicBezTo>
                            <a:cubicBezTo>
                              <a:pt x="12021" y="922"/>
                              <a:pt x="11603" y="683"/>
                              <a:pt x="11124" y="503"/>
                            </a:cubicBezTo>
                            <a:cubicBezTo>
                              <a:pt x="10646" y="324"/>
                              <a:pt x="10107" y="204"/>
                              <a:pt x="9629" y="84"/>
                            </a:cubicBezTo>
                            <a:cubicBezTo>
                              <a:pt x="9091" y="25"/>
                              <a:pt x="8612" y="-35"/>
                              <a:pt x="8074" y="25"/>
                            </a:cubicBezTo>
                            <a:cubicBezTo>
                              <a:pt x="7536" y="25"/>
                              <a:pt x="6998" y="144"/>
                              <a:pt x="6519" y="264"/>
                            </a:cubicBezTo>
                            <a:cubicBezTo>
                              <a:pt x="6399" y="324"/>
                              <a:pt x="6280" y="324"/>
                              <a:pt x="6160" y="384"/>
                            </a:cubicBezTo>
                            <a:cubicBezTo>
                              <a:pt x="6041" y="444"/>
                              <a:pt x="5921" y="444"/>
                              <a:pt x="5801" y="503"/>
                            </a:cubicBezTo>
                            <a:cubicBezTo>
                              <a:pt x="5682" y="563"/>
                              <a:pt x="5562" y="563"/>
                              <a:pt x="5443" y="623"/>
                            </a:cubicBezTo>
                            <a:cubicBezTo>
                              <a:pt x="5323" y="683"/>
                              <a:pt x="5204" y="742"/>
                              <a:pt x="5084" y="802"/>
                            </a:cubicBezTo>
                            <a:cubicBezTo>
                              <a:pt x="4785" y="922"/>
                              <a:pt x="4545" y="1041"/>
                              <a:pt x="4246" y="1221"/>
                            </a:cubicBezTo>
                            <a:cubicBezTo>
                              <a:pt x="3947" y="1400"/>
                              <a:pt x="3708" y="1520"/>
                              <a:pt x="3469" y="1759"/>
                            </a:cubicBezTo>
                            <a:cubicBezTo>
                              <a:pt x="3230" y="1939"/>
                              <a:pt x="2931" y="2118"/>
                              <a:pt x="2691" y="2357"/>
                            </a:cubicBezTo>
                            <a:cubicBezTo>
                              <a:pt x="2512" y="2656"/>
                              <a:pt x="2273" y="2895"/>
                              <a:pt x="2034" y="3135"/>
                            </a:cubicBezTo>
                            <a:moveTo>
                              <a:pt x="1555" y="12883"/>
                            </a:moveTo>
                            <a:lnTo>
                              <a:pt x="4187" y="14618"/>
                            </a:lnTo>
                            <a:cubicBezTo>
                              <a:pt x="4964" y="14917"/>
                              <a:pt x="5742" y="15036"/>
                              <a:pt x="6579" y="15036"/>
                            </a:cubicBezTo>
                            <a:cubicBezTo>
                              <a:pt x="7416" y="15036"/>
                              <a:pt x="8194" y="14977"/>
                              <a:pt x="9031" y="14737"/>
                            </a:cubicBezTo>
                            <a:cubicBezTo>
                              <a:pt x="9808" y="14498"/>
                              <a:pt x="10586" y="14199"/>
                              <a:pt x="11364" y="13721"/>
                            </a:cubicBezTo>
                            <a:cubicBezTo>
                              <a:pt x="12141" y="13242"/>
                              <a:pt x="12799" y="12704"/>
                              <a:pt x="13397" y="12046"/>
                            </a:cubicBezTo>
                            <a:lnTo>
                              <a:pt x="12440" y="11388"/>
                            </a:lnTo>
                            <a:cubicBezTo>
                              <a:pt x="11842" y="11986"/>
                              <a:pt x="11184" y="12524"/>
                              <a:pt x="10466" y="12883"/>
                            </a:cubicBezTo>
                            <a:cubicBezTo>
                              <a:pt x="9749" y="13242"/>
                              <a:pt x="8971" y="13541"/>
                              <a:pt x="8194" y="13661"/>
                            </a:cubicBezTo>
                            <a:cubicBezTo>
                              <a:pt x="7416" y="13780"/>
                              <a:pt x="6639" y="13780"/>
                              <a:pt x="5861" y="13661"/>
                            </a:cubicBezTo>
                            <a:cubicBezTo>
                              <a:pt x="5084" y="13541"/>
                              <a:pt x="4366" y="13242"/>
                              <a:pt x="3708" y="12823"/>
                            </a:cubicBezTo>
                            <a:cubicBezTo>
                              <a:pt x="3050" y="12405"/>
                              <a:pt x="2512" y="11867"/>
                              <a:pt x="2093" y="11209"/>
                            </a:cubicBezTo>
                            <a:cubicBezTo>
                              <a:pt x="1675" y="10610"/>
                              <a:pt x="1436" y="9893"/>
                              <a:pt x="1316" y="9175"/>
                            </a:cubicBezTo>
                            <a:cubicBezTo>
                              <a:pt x="1196" y="8457"/>
                              <a:pt x="1196" y="7680"/>
                              <a:pt x="1376" y="6902"/>
                            </a:cubicBezTo>
                            <a:cubicBezTo>
                              <a:pt x="1555" y="6125"/>
                              <a:pt x="1854" y="5407"/>
                              <a:pt x="2333" y="4690"/>
                            </a:cubicBezTo>
                            <a:lnTo>
                              <a:pt x="1376" y="4092"/>
                            </a:lnTo>
                            <a:cubicBezTo>
                              <a:pt x="897" y="4809"/>
                              <a:pt x="538" y="5587"/>
                              <a:pt x="299" y="6364"/>
                            </a:cubicBezTo>
                            <a:cubicBezTo>
                              <a:pt x="60" y="7142"/>
                              <a:pt x="0" y="7919"/>
                              <a:pt x="0" y="8697"/>
                            </a:cubicBezTo>
                            <a:cubicBezTo>
                              <a:pt x="60" y="9474"/>
                              <a:pt x="180" y="10192"/>
                              <a:pt x="479" y="10910"/>
                            </a:cubicBezTo>
                            <a:cubicBezTo>
                              <a:pt x="598" y="11687"/>
                              <a:pt x="1017" y="12345"/>
                              <a:pt x="1555" y="12883"/>
                            </a:cubicBezTo>
                          </a:path>
                        </a:pathLst>
                      </a:custGeom>
                      <a:noFill/>
                      <a:ln w="6350" cap="flat">
                        <a:solidFill>
                          <a:schemeClr val="bg1">
                            <a:alpha val="40000"/>
                          </a:schemeClr>
                        </a:solidFill>
                        <a:prstDash val="solid"/>
                        <a:miter/>
                      </a:ln>
                    </p:spPr>
                    <p:txBody>
                      <a:bodyPr rtlCol="0" anchor="ctr"/>
                      <a:lstStyle/>
                      <a:p>
                        <a:endParaRPr lang="en-GB"/>
                      </a:p>
                    </p:txBody>
                  </p:sp>
                  <p:sp>
                    <p:nvSpPr>
                      <p:cNvPr id="7474" name="Vrije vorm: vorm 7473">
                        <a:extLst>
                          <a:ext uri="{FF2B5EF4-FFF2-40B4-BE49-F238E27FC236}">
                            <a16:creationId xmlns:a16="http://schemas.microsoft.com/office/drawing/2014/main" id="{872014CC-E8E8-4625-B06F-916762F70C04}"/>
                          </a:ext>
                        </a:extLst>
                      </p:cNvPr>
                      <p:cNvSpPr/>
                      <p:nvPr/>
                    </p:nvSpPr>
                    <p:spPr>
                      <a:xfrm>
                        <a:off x="4754454" y="5129944"/>
                        <a:ext cx="30322" cy="28468"/>
                      </a:xfrm>
                      <a:custGeom>
                        <a:avLst/>
                        <a:gdLst>
                          <a:gd name="connsiteX0" fmla="*/ 26375 w 30322"/>
                          <a:gd name="connsiteY0" fmla="*/ 20873 h 28468"/>
                          <a:gd name="connsiteX1" fmla="*/ 27392 w 30322"/>
                          <a:gd name="connsiteY1" fmla="*/ 21531 h 28468"/>
                          <a:gd name="connsiteX2" fmla="*/ 27930 w 30322"/>
                          <a:gd name="connsiteY2" fmla="*/ 20753 h 28468"/>
                          <a:gd name="connsiteX3" fmla="*/ 28408 w 30322"/>
                          <a:gd name="connsiteY3" fmla="*/ 19976 h 28468"/>
                          <a:gd name="connsiteX4" fmla="*/ 28827 w 30322"/>
                          <a:gd name="connsiteY4" fmla="*/ 19198 h 28468"/>
                          <a:gd name="connsiteX5" fmla="*/ 29186 w 30322"/>
                          <a:gd name="connsiteY5" fmla="*/ 18361 h 28468"/>
                          <a:gd name="connsiteX6" fmla="*/ 29305 w 30322"/>
                          <a:gd name="connsiteY6" fmla="*/ 18062 h 28468"/>
                          <a:gd name="connsiteX7" fmla="*/ 29425 w 30322"/>
                          <a:gd name="connsiteY7" fmla="*/ 17763 h 28468"/>
                          <a:gd name="connsiteX8" fmla="*/ 29545 w 30322"/>
                          <a:gd name="connsiteY8" fmla="*/ 17464 h 28468"/>
                          <a:gd name="connsiteX9" fmla="*/ 29664 w 30322"/>
                          <a:gd name="connsiteY9" fmla="*/ 17165 h 28468"/>
                          <a:gd name="connsiteX10" fmla="*/ 30143 w 30322"/>
                          <a:gd name="connsiteY10" fmla="*/ 15131 h 28468"/>
                          <a:gd name="connsiteX11" fmla="*/ 30322 w 30322"/>
                          <a:gd name="connsiteY11" fmla="*/ 13098 h 28468"/>
                          <a:gd name="connsiteX12" fmla="*/ 30203 w 30322"/>
                          <a:gd name="connsiteY12" fmla="*/ 11065 h 28468"/>
                          <a:gd name="connsiteX13" fmla="*/ 29784 w 30322"/>
                          <a:gd name="connsiteY13" fmla="*/ 9091 h 28468"/>
                          <a:gd name="connsiteX14" fmla="*/ 29605 w 30322"/>
                          <a:gd name="connsiteY14" fmla="*/ 8553 h 28468"/>
                          <a:gd name="connsiteX15" fmla="*/ 29365 w 30322"/>
                          <a:gd name="connsiteY15" fmla="*/ 8014 h 28468"/>
                          <a:gd name="connsiteX16" fmla="*/ 29126 w 30322"/>
                          <a:gd name="connsiteY16" fmla="*/ 7476 h 28468"/>
                          <a:gd name="connsiteX17" fmla="*/ 28887 w 30322"/>
                          <a:gd name="connsiteY17" fmla="*/ 6938 h 28468"/>
                          <a:gd name="connsiteX18" fmla="*/ 28109 w 30322"/>
                          <a:gd name="connsiteY18" fmla="*/ 5622 h 28468"/>
                          <a:gd name="connsiteX19" fmla="*/ 27152 w 30322"/>
                          <a:gd name="connsiteY19" fmla="*/ 4426 h 28468"/>
                          <a:gd name="connsiteX20" fmla="*/ 26016 w 30322"/>
                          <a:gd name="connsiteY20" fmla="*/ 3290 h 28468"/>
                          <a:gd name="connsiteX21" fmla="*/ 24700 w 30322"/>
                          <a:gd name="connsiteY21" fmla="*/ 2273 h 28468"/>
                          <a:gd name="connsiteX22" fmla="*/ 24162 w 30322"/>
                          <a:gd name="connsiteY22" fmla="*/ 1914 h 28468"/>
                          <a:gd name="connsiteX23" fmla="*/ 23624 w 30322"/>
                          <a:gd name="connsiteY23" fmla="*/ 1615 h 28468"/>
                          <a:gd name="connsiteX24" fmla="*/ 23086 w 30322"/>
                          <a:gd name="connsiteY24" fmla="*/ 1316 h 28468"/>
                          <a:gd name="connsiteX25" fmla="*/ 22547 w 30322"/>
                          <a:gd name="connsiteY25" fmla="*/ 1077 h 28468"/>
                          <a:gd name="connsiteX26" fmla="*/ 21710 w 30322"/>
                          <a:gd name="connsiteY26" fmla="*/ 2153 h 28468"/>
                          <a:gd name="connsiteX27" fmla="*/ 21770 w 30322"/>
                          <a:gd name="connsiteY27" fmla="*/ 2153 h 28468"/>
                          <a:gd name="connsiteX28" fmla="*/ 21829 w 30322"/>
                          <a:gd name="connsiteY28" fmla="*/ 2153 h 28468"/>
                          <a:gd name="connsiteX29" fmla="*/ 21889 w 30322"/>
                          <a:gd name="connsiteY29" fmla="*/ 2153 h 28468"/>
                          <a:gd name="connsiteX30" fmla="*/ 21949 w 30322"/>
                          <a:gd name="connsiteY30" fmla="*/ 2153 h 28468"/>
                          <a:gd name="connsiteX31" fmla="*/ 22428 w 30322"/>
                          <a:gd name="connsiteY31" fmla="*/ 2392 h 28468"/>
                          <a:gd name="connsiteX32" fmla="*/ 22906 w 30322"/>
                          <a:gd name="connsiteY32" fmla="*/ 2632 h 28468"/>
                          <a:gd name="connsiteX33" fmla="*/ 23384 w 30322"/>
                          <a:gd name="connsiteY33" fmla="*/ 2931 h 28468"/>
                          <a:gd name="connsiteX34" fmla="*/ 23863 w 30322"/>
                          <a:gd name="connsiteY34" fmla="*/ 3230 h 28468"/>
                          <a:gd name="connsiteX35" fmla="*/ 24282 w 30322"/>
                          <a:gd name="connsiteY35" fmla="*/ 3529 h 28468"/>
                          <a:gd name="connsiteX36" fmla="*/ 24700 w 30322"/>
                          <a:gd name="connsiteY36" fmla="*/ 3888 h 28468"/>
                          <a:gd name="connsiteX37" fmla="*/ 25119 w 30322"/>
                          <a:gd name="connsiteY37" fmla="*/ 4246 h 28468"/>
                          <a:gd name="connsiteX38" fmla="*/ 25478 w 30322"/>
                          <a:gd name="connsiteY38" fmla="*/ 4605 h 28468"/>
                          <a:gd name="connsiteX39" fmla="*/ 26136 w 30322"/>
                          <a:gd name="connsiteY39" fmla="*/ 5323 h 28468"/>
                          <a:gd name="connsiteX40" fmla="*/ 26734 w 30322"/>
                          <a:gd name="connsiteY40" fmla="*/ 6100 h 28468"/>
                          <a:gd name="connsiteX41" fmla="*/ 27272 w 30322"/>
                          <a:gd name="connsiteY41" fmla="*/ 6878 h 28468"/>
                          <a:gd name="connsiteX42" fmla="*/ 27751 w 30322"/>
                          <a:gd name="connsiteY42" fmla="*/ 7715 h 28468"/>
                          <a:gd name="connsiteX43" fmla="*/ 28528 w 30322"/>
                          <a:gd name="connsiteY43" fmla="*/ 9749 h 28468"/>
                          <a:gd name="connsiteX44" fmla="*/ 28887 w 30322"/>
                          <a:gd name="connsiteY44" fmla="*/ 11902 h 28468"/>
                          <a:gd name="connsiteX45" fmla="*/ 28887 w 30322"/>
                          <a:gd name="connsiteY45" fmla="*/ 14115 h 28468"/>
                          <a:gd name="connsiteX46" fmla="*/ 28468 w 30322"/>
                          <a:gd name="connsiteY46" fmla="*/ 16328 h 28468"/>
                          <a:gd name="connsiteX47" fmla="*/ 28349 w 30322"/>
                          <a:gd name="connsiteY47" fmla="*/ 16627 h 28468"/>
                          <a:gd name="connsiteX48" fmla="*/ 28229 w 30322"/>
                          <a:gd name="connsiteY48" fmla="*/ 16926 h 28468"/>
                          <a:gd name="connsiteX49" fmla="*/ 28109 w 30322"/>
                          <a:gd name="connsiteY49" fmla="*/ 17225 h 28468"/>
                          <a:gd name="connsiteX50" fmla="*/ 27990 w 30322"/>
                          <a:gd name="connsiteY50" fmla="*/ 17524 h 28468"/>
                          <a:gd name="connsiteX51" fmla="*/ 27631 w 30322"/>
                          <a:gd name="connsiteY51" fmla="*/ 18361 h 28468"/>
                          <a:gd name="connsiteX52" fmla="*/ 27212 w 30322"/>
                          <a:gd name="connsiteY52" fmla="*/ 19198 h 28468"/>
                          <a:gd name="connsiteX53" fmla="*/ 26734 w 30322"/>
                          <a:gd name="connsiteY53" fmla="*/ 19976 h 28468"/>
                          <a:gd name="connsiteX54" fmla="*/ 26375 w 30322"/>
                          <a:gd name="connsiteY54" fmla="*/ 20873 h 28468"/>
                          <a:gd name="connsiteX55" fmla="*/ 3768 w 30322"/>
                          <a:gd name="connsiteY55" fmla="*/ 5861 h 28468"/>
                          <a:gd name="connsiteX56" fmla="*/ 4785 w 30322"/>
                          <a:gd name="connsiteY56" fmla="*/ 6579 h 28468"/>
                          <a:gd name="connsiteX57" fmla="*/ 5442 w 30322"/>
                          <a:gd name="connsiteY57" fmla="*/ 5861 h 28468"/>
                          <a:gd name="connsiteX58" fmla="*/ 6100 w 30322"/>
                          <a:gd name="connsiteY58" fmla="*/ 5203 h 28468"/>
                          <a:gd name="connsiteX59" fmla="*/ 6818 w 30322"/>
                          <a:gd name="connsiteY59" fmla="*/ 4605 h 28468"/>
                          <a:gd name="connsiteX60" fmla="*/ 7596 w 30322"/>
                          <a:gd name="connsiteY60" fmla="*/ 4067 h 28468"/>
                          <a:gd name="connsiteX61" fmla="*/ 7895 w 30322"/>
                          <a:gd name="connsiteY61" fmla="*/ 3888 h 28468"/>
                          <a:gd name="connsiteX62" fmla="*/ 8194 w 30322"/>
                          <a:gd name="connsiteY62" fmla="*/ 3708 h 28468"/>
                          <a:gd name="connsiteX63" fmla="*/ 8493 w 30322"/>
                          <a:gd name="connsiteY63" fmla="*/ 3529 h 28468"/>
                          <a:gd name="connsiteX64" fmla="*/ 8791 w 30322"/>
                          <a:gd name="connsiteY64" fmla="*/ 3349 h 28468"/>
                          <a:gd name="connsiteX65" fmla="*/ 11004 w 30322"/>
                          <a:gd name="connsiteY65" fmla="*/ 2273 h 28468"/>
                          <a:gd name="connsiteX66" fmla="*/ 13337 w 30322"/>
                          <a:gd name="connsiteY66" fmla="*/ 1555 h 28468"/>
                          <a:gd name="connsiteX67" fmla="*/ 15729 w 30322"/>
                          <a:gd name="connsiteY67" fmla="*/ 1256 h 28468"/>
                          <a:gd name="connsiteX68" fmla="*/ 18121 w 30322"/>
                          <a:gd name="connsiteY68" fmla="*/ 1316 h 28468"/>
                          <a:gd name="connsiteX69" fmla="*/ 18720 w 30322"/>
                          <a:gd name="connsiteY69" fmla="*/ 1376 h 28468"/>
                          <a:gd name="connsiteX70" fmla="*/ 19318 w 30322"/>
                          <a:gd name="connsiteY70" fmla="*/ 1495 h 28468"/>
                          <a:gd name="connsiteX71" fmla="*/ 19916 w 30322"/>
                          <a:gd name="connsiteY71" fmla="*/ 1615 h 28468"/>
                          <a:gd name="connsiteX72" fmla="*/ 20514 w 30322"/>
                          <a:gd name="connsiteY72" fmla="*/ 1795 h 28468"/>
                          <a:gd name="connsiteX73" fmla="*/ 21351 w 30322"/>
                          <a:gd name="connsiteY73" fmla="*/ 718 h 28468"/>
                          <a:gd name="connsiteX74" fmla="*/ 20693 w 30322"/>
                          <a:gd name="connsiteY74" fmla="*/ 538 h 28468"/>
                          <a:gd name="connsiteX75" fmla="*/ 20035 w 30322"/>
                          <a:gd name="connsiteY75" fmla="*/ 359 h 28468"/>
                          <a:gd name="connsiteX76" fmla="*/ 19318 w 30322"/>
                          <a:gd name="connsiteY76" fmla="*/ 239 h 28468"/>
                          <a:gd name="connsiteX77" fmla="*/ 18600 w 30322"/>
                          <a:gd name="connsiteY77" fmla="*/ 120 h 28468"/>
                          <a:gd name="connsiteX78" fmla="*/ 17942 w 30322"/>
                          <a:gd name="connsiteY78" fmla="*/ 60 h 28468"/>
                          <a:gd name="connsiteX79" fmla="*/ 17284 w 30322"/>
                          <a:gd name="connsiteY79" fmla="*/ 0 h 28468"/>
                          <a:gd name="connsiteX80" fmla="*/ 16626 w 30322"/>
                          <a:gd name="connsiteY80" fmla="*/ 0 h 28468"/>
                          <a:gd name="connsiteX81" fmla="*/ 15968 w 30322"/>
                          <a:gd name="connsiteY81" fmla="*/ 0 h 28468"/>
                          <a:gd name="connsiteX82" fmla="*/ 13815 w 30322"/>
                          <a:gd name="connsiteY82" fmla="*/ 239 h 28468"/>
                          <a:gd name="connsiteX83" fmla="*/ 11662 w 30322"/>
                          <a:gd name="connsiteY83" fmla="*/ 718 h 28468"/>
                          <a:gd name="connsiteX84" fmla="*/ 9569 w 30322"/>
                          <a:gd name="connsiteY84" fmla="*/ 1495 h 28468"/>
                          <a:gd name="connsiteX85" fmla="*/ 7596 w 30322"/>
                          <a:gd name="connsiteY85" fmla="*/ 2572 h 28468"/>
                          <a:gd name="connsiteX86" fmla="*/ 7296 w 30322"/>
                          <a:gd name="connsiteY86" fmla="*/ 2751 h 28468"/>
                          <a:gd name="connsiteX87" fmla="*/ 6997 w 30322"/>
                          <a:gd name="connsiteY87" fmla="*/ 2931 h 28468"/>
                          <a:gd name="connsiteX88" fmla="*/ 6698 w 30322"/>
                          <a:gd name="connsiteY88" fmla="*/ 3110 h 28468"/>
                          <a:gd name="connsiteX89" fmla="*/ 6399 w 30322"/>
                          <a:gd name="connsiteY89" fmla="*/ 3290 h 28468"/>
                          <a:gd name="connsiteX90" fmla="*/ 5682 w 30322"/>
                          <a:gd name="connsiteY90" fmla="*/ 3888 h 28468"/>
                          <a:gd name="connsiteX91" fmla="*/ 4964 w 30322"/>
                          <a:gd name="connsiteY91" fmla="*/ 4486 h 28468"/>
                          <a:gd name="connsiteX92" fmla="*/ 4306 w 30322"/>
                          <a:gd name="connsiteY92" fmla="*/ 5144 h 28468"/>
                          <a:gd name="connsiteX93" fmla="*/ 3768 w 30322"/>
                          <a:gd name="connsiteY93" fmla="*/ 5861 h 28468"/>
                          <a:gd name="connsiteX94" fmla="*/ 19079 w 30322"/>
                          <a:gd name="connsiteY94" fmla="*/ 26315 h 28468"/>
                          <a:gd name="connsiteX95" fmla="*/ 20334 w 30322"/>
                          <a:gd name="connsiteY95" fmla="*/ 27153 h 28468"/>
                          <a:gd name="connsiteX96" fmla="*/ 22069 w 30322"/>
                          <a:gd name="connsiteY96" fmla="*/ 26315 h 28468"/>
                          <a:gd name="connsiteX97" fmla="*/ 23683 w 30322"/>
                          <a:gd name="connsiteY97" fmla="*/ 25299 h 28468"/>
                          <a:gd name="connsiteX98" fmla="*/ 25238 w 30322"/>
                          <a:gd name="connsiteY98" fmla="*/ 24043 h 28468"/>
                          <a:gd name="connsiteX99" fmla="*/ 26614 w 30322"/>
                          <a:gd name="connsiteY99" fmla="*/ 22607 h 28468"/>
                          <a:gd name="connsiteX100" fmla="*/ 25597 w 30322"/>
                          <a:gd name="connsiteY100" fmla="*/ 21950 h 28468"/>
                          <a:gd name="connsiteX101" fmla="*/ 24162 w 30322"/>
                          <a:gd name="connsiteY101" fmla="*/ 23385 h 28468"/>
                          <a:gd name="connsiteX102" fmla="*/ 22607 w 30322"/>
                          <a:gd name="connsiteY102" fmla="*/ 24581 h 28468"/>
                          <a:gd name="connsiteX103" fmla="*/ 20933 w 30322"/>
                          <a:gd name="connsiteY103" fmla="*/ 25598 h 28468"/>
                          <a:gd name="connsiteX104" fmla="*/ 19079 w 30322"/>
                          <a:gd name="connsiteY104" fmla="*/ 26315 h 28468"/>
                          <a:gd name="connsiteX105" fmla="*/ 179 w 30322"/>
                          <a:gd name="connsiteY105" fmla="*/ 13875 h 28468"/>
                          <a:gd name="connsiteX106" fmla="*/ 1435 w 30322"/>
                          <a:gd name="connsiteY106" fmla="*/ 14713 h 28468"/>
                          <a:gd name="connsiteX107" fmla="*/ 1674 w 30322"/>
                          <a:gd name="connsiteY107" fmla="*/ 12919 h 28468"/>
                          <a:gd name="connsiteX108" fmla="*/ 2153 w 30322"/>
                          <a:gd name="connsiteY108" fmla="*/ 11124 h 28468"/>
                          <a:gd name="connsiteX109" fmla="*/ 2930 w 30322"/>
                          <a:gd name="connsiteY109" fmla="*/ 9330 h 28468"/>
                          <a:gd name="connsiteX110" fmla="*/ 4007 w 30322"/>
                          <a:gd name="connsiteY110" fmla="*/ 7596 h 28468"/>
                          <a:gd name="connsiteX111" fmla="*/ 2990 w 30322"/>
                          <a:gd name="connsiteY111" fmla="*/ 6878 h 28468"/>
                          <a:gd name="connsiteX112" fmla="*/ 1914 w 30322"/>
                          <a:gd name="connsiteY112" fmla="*/ 8553 h 28468"/>
                          <a:gd name="connsiteX113" fmla="*/ 1076 w 30322"/>
                          <a:gd name="connsiteY113" fmla="*/ 10287 h 28468"/>
                          <a:gd name="connsiteX114" fmla="*/ 538 w 30322"/>
                          <a:gd name="connsiteY114" fmla="*/ 12081 h 28468"/>
                          <a:gd name="connsiteX115" fmla="*/ 179 w 30322"/>
                          <a:gd name="connsiteY115" fmla="*/ 13875 h 28468"/>
                          <a:gd name="connsiteX116" fmla="*/ 13875 w 30322"/>
                          <a:gd name="connsiteY116" fmla="*/ 27213 h 28468"/>
                          <a:gd name="connsiteX117" fmla="*/ 15610 w 30322"/>
                          <a:gd name="connsiteY117" fmla="*/ 28349 h 28468"/>
                          <a:gd name="connsiteX118" fmla="*/ 16387 w 30322"/>
                          <a:gd name="connsiteY118" fmla="*/ 28229 h 28468"/>
                          <a:gd name="connsiteX119" fmla="*/ 17165 w 30322"/>
                          <a:gd name="connsiteY119" fmla="*/ 28109 h 28468"/>
                          <a:gd name="connsiteX120" fmla="*/ 17942 w 30322"/>
                          <a:gd name="connsiteY120" fmla="*/ 27930 h 28468"/>
                          <a:gd name="connsiteX121" fmla="*/ 18720 w 30322"/>
                          <a:gd name="connsiteY121" fmla="*/ 27691 h 28468"/>
                          <a:gd name="connsiteX122" fmla="*/ 17404 w 30322"/>
                          <a:gd name="connsiteY122" fmla="*/ 26794 h 28468"/>
                          <a:gd name="connsiteX123" fmla="*/ 16507 w 30322"/>
                          <a:gd name="connsiteY123" fmla="*/ 26973 h 28468"/>
                          <a:gd name="connsiteX124" fmla="*/ 15610 w 30322"/>
                          <a:gd name="connsiteY124" fmla="*/ 27093 h 28468"/>
                          <a:gd name="connsiteX125" fmla="*/ 14712 w 30322"/>
                          <a:gd name="connsiteY125" fmla="*/ 27153 h 28468"/>
                          <a:gd name="connsiteX126" fmla="*/ 13875 w 30322"/>
                          <a:gd name="connsiteY126" fmla="*/ 27213 h 28468"/>
                          <a:gd name="connsiteX127" fmla="*/ 419 w 30322"/>
                          <a:gd name="connsiteY127" fmla="*/ 18361 h 28468"/>
                          <a:gd name="connsiteX128" fmla="*/ 2153 w 30322"/>
                          <a:gd name="connsiteY128" fmla="*/ 19497 h 28468"/>
                          <a:gd name="connsiteX129" fmla="*/ 1914 w 30322"/>
                          <a:gd name="connsiteY129" fmla="*/ 18720 h 28468"/>
                          <a:gd name="connsiteX130" fmla="*/ 1674 w 30322"/>
                          <a:gd name="connsiteY130" fmla="*/ 17942 h 28468"/>
                          <a:gd name="connsiteX131" fmla="*/ 1495 w 30322"/>
                          <a:gd name="connsiteY131" fmla="*/ 17105 h 28468"/>
                          <a:gd name="connsiteX132" fmla="*/ 1375 w 30322"/>
                          <a:gd name="connsiteY132" fmla="*/ 16268 h 28468"/>
                          <a:gd name="connsiteX133" fmla="*/ 0 w 30322"/>
                          <a:gd name="connsiteY133" fmla="*/ 15370 h 28468"/>
                          <a:gd name="connsiteX134" fmla="*/ 0 w 30322"/>
                          <a:gd name="connsiteY134" fmla="*/ 16148 h 28468"/>
                          <a:gd name="connsiteX135" fmla="*/ 60 w 30322"/>
                          <a:gd name="connsiteY135" fmla="*/ 16866 h 28468"/>
                          <a:gd name="connsiteX136" fmla="*/ 179 w 30322"/>
                          <a:gd name="connsiteY136" fmla="*/ 17583 h 28468"/>
                          <a:gd name="connsiteX137" fmla="*/ 419 w 30322"/>
                          <a:gd name="connsiteY137" fmla="*/ 18361 h 28468"/>
                          <a:gd name="connsiteX138" fmla="*/ 4067 w 30322"/>
                          <a:gd name="connsiteY138" fmla="*/ 24760 h 28468"/>
                          <a:gd name="connsiteX139" fmla="*/ 7895 w 30322"/>
                          <a:gd name="connsiteY139" fmla="*/ 27272 h 28468"/>
                          <a:gd name="connsiteX140" fmla="*/ 9210 w 30322"/>
                          <a:gd name="connsiteY140" fmla="*/ 27751 h 28468"/>
                          <a:gd name="connsiteX141" fmla="*/ 10586 w 30322"/>
                          <a:gd name="connsiteY141" fmla="*/ 28109 h 28468"/>
                          <a:gd name="connsiteX142" fmla="*/ 11961 w 30322"/>
                          <a:gd name="connsiteY142" fmla="*/ 28349 h 28468"/>
                          <a:gd name="connsiteX143" fmla="*/ 13397 w 30322"/>
                          <a:gd name="connsiteY143" fmla="*/ 28468 h 28468"/>
                          <a:gd name="connsiteX144" fmla="*/ 11064 w 30322"/>
                          <a:gd name="connsiteY144" fmla="*/ 26913 h 28468"/>
                          <a:gd name="connsiteX145" fmla="*/ 9928 w 30322"/>
                          <a:gd name="connsiteY145" fmla="*/ 26614 h 28468"/>
                          <a:gd name="connsiteX146" fmla="*/ 8791 w 30322"/>
                          <a:gd name="connsiteY146" fmla="*/ 26196 h 28468"/>
                          <a:gd name="connsiteX147" fmla="*/ 7715 w 30322"/>
                          <a:gd name="connsiteY147" fmla="*/ 25717 h 28468"/>
                          <a:gd name="connsiteX148" fmla="*/ 6698 w 30322"/>
                          <a:gd name="connsiteY148" fmla="*/ 25119 h 28468"/>
                          <a:gd name="connsiteX149" fmla="*/ 5741 w 30322"/>
                          <a:gd name="connsiteY149" fmla="*/ 24401 h 28468"/>
                          <a:gd name="connsiteX150" fmla="*/ 4844 w 30322"/>
                          <a:gd name="connsiteY150" fmla="*/ 23624 h 28468"/>
                          <a:gd name="connsiteX151" fmla="*/ 4067 w 30322"/>
                          <a:gd name="connsiteY151" fmla="*/ 22787 h 28468"/>
                          <a:gd name="connsiteX152" fmla="*/ 3409 w 30322"/>
                          <a:gd name="connsiteY152" fmla="*/ 21890 h 28468"/>
                          <a:gd name="connsiteX153" fmla="*/ 1017 w 30322"/>
                          <a:gd name="connsiteY153" fmla="*/ 20335 h 28468"/>
                          <a:gd name="connsiteX154" fmla="*/ 1615 w 30322"/>
                          <a:gd name="connsiteY154" fmla="*/ 21531 h 28468"/>
                          <a:gd name="connsiteX155" fmla="*/ 2333 w 30322"/>
                          <a:gd name="connsiteY155" fmla="*/ 22667 h 28468"/>
                          <a:gd name="connsiteX156" fmla="*/ 3170 w 30322"/>
                          <a:gd name="connsiteY156" fmla="*/ 23744 h 28468"/>
                          <a:gd name="connsiteX157" fmla="*/ 4067 w 30322"/>
                          <a:gd name="connsiteY157" fmla="*/ 24760 h 2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30322" h="28468">
                            <a:moveTo>
                              <a:pt x="26375" y="20873"/>
                            </a:moveTo>
                            <a:lnTo>
                              <a:pt x="27392" y="21531"/>
                            </a:lnTo>
                            <a:cubicBezTo>
                              <a:pt x="27571" y="21291"/>
                              <a:pt x="27751" y="20992"/>
                              <a:pt x="27930" y="20753"/>
                            </a:cubicBezTo>
                            <a:cubicBezTo>
                              <a:pt x="28109" y="20514"/>
                              <a:pt x="28229" y="20215"/>
                              <a:pt x="28408" y="19976"/>
                            </a:cubicBezTo>
                            <a:cubicBezTo>
                              <a:pt x="28528" y="19737"/>
                              <a:pt x="28707" y="19437"/>
                              <a:pt x="28827" y="19198"/>
                            </a:cubicBezTo>
                            <a:cubicBezTo>
                              <a:pt x="28946" y="18959"/>
                              <a:pt x="29066" y="18660"/>
                              <a:pt x="29186" y="18361"/>
                            </a:cubicBezTo>
                            <a:cubicBezTo>
                              <a:pt x="29246" y="18241"/>
                              <a:pt x="29246" y="18182"/>
                              <a:pt x="29305" y="18062"/>
                            </a:cubicBezTo>
                            <a:cubicBezTo>
                              <a:pt x="29365" y="17942"/>
                              <a:pt x="29365" y="17883"/>
                              <a:pt x="29425" y="17763"/>
                            </a:cubicBezTo>
                            <a:cubicBezTo>
                              <a:pt x="29485" y="17643"/>
                              <a:pt x="29485" y="17583"/>
                              <a:pt x="29545" y="17464"/>
                            </a:cubicBezTo>
                            <a:cubicBezTo>
                              <a:pt x="29605" y="17344"/>
                              <a:pt x="29605" y="17284"/>
                              <a:pt x="29664" y="17165"/>
                            </a:cubicBezTo>
                            <a:cubicBezTo>
                              <a:pt x="29904" y="16507"/>
                              <a:pt x="30023" y="15789"/>
                              <a:pt x="30143" y="15131"/>
                            </a:cubicBezTo>
                            <a:cubicBezTo>
                              <a:pt x="30262" y="14474"/>
                              <a:pt x="30322" y="13756"/>
                              <a:pt x="30322" y="13098"/>
                            </a:cubicBezTo>
                            <a:cubicBezTo>
                              <a:pt x="30322" y="12440"/>
                              <a:pt x="30262" y="11722"/>
                              <a:pt x="30203" y="11065"/>
                            </a:cubicBezTo>
                            <a:cubicBezTo>
                              <a:pt x="30083" y="10407"/>
                              <a:pt x="29963" y="9749"/>
                              <a:pt x="29784" y="9091"/>
                            </a:cubicBezTo>
                            <a:cubicBezTo>
                              <a:pt x="29724" y="8912"/>
                              <a:pt x="29664" y="8732"/>
                              <a:pt x="29605" y="8553"/>
                            </a:cubicBezTo>
                            <a:cubicBezTo>
                              <a:pt x="29545" y="8373"/>
                              <a:pt x="29485" y="8194"/>
                              <a:pt x="29365" y="8014"/>
                            </a:cubicBezTo>
                            <a:cubicBezTo>
                              <a:pt x="29305" y="7835"/>
                              <a:pt x="29186" y="7655"/>
                              <a:pt x="29126" y="7476"/>
                            </a:cubicBezTo>
                            <a:cubicBezTo>
                              <a:pt x="29066" y="7297"/>
                              <a:pt x="28946" y="7117"/>
                              <a:pt x="28887" y="6938"/>
                            </a:cubicBezTo>
                            <a:cubicBezTo>
                              <a:pt x="28648" y="6459"/>
                              <a:pt x="28408" y="6041"/>
                              <a:pt x="28109" y="5622"/>
                            </a:cubicBezTo>
                            <a:cubicBezTo>
                              <a:pt x="27810" y="5203"/>
                              <a:pt x="27511" y="4785"/>
                              <a:pt x="27152" y="4426"/>
                            </a:cubicBezTo>
                            <a:cubicBezTo>
                              <a:pt x="26794" y="4007"/>
                              <a:pt x="26435" y="3649"/>
                              <a:pt x="26016" y="3290"/>
                            </a:cubicBezTo>
                            <a:cubicBezTo>
                              <a:pt x="25597" y="2931"/>
                              <a:pt x="25179" y="2632"/>
                              <a:pt x="24700" y="2273"/>
                            </a:cubicBezTo>
                            <a:cubicBezTo>
                              <a:pt x="24521" y="2153"/>
                              <a:pt x="24342" y="2034"/>
                              <a:pt x="24162" y="1914"/>
                            </a:cubicBezTo>
                            <a:cubicBezTo>
                              <a:pt x="23983" y="1795"/>
                              <a:pt x="23803" y="1735"/>
                              <a:pt x="23624" y="1615"/>
                            </a:cubicBezTo>
                            <a:cubicBezTo>
                              <a:pt x="23444" y="1495"/>
                              <a:pt x="23265" y="1436"/>
                              <a:pt x="23086" y="1316"/>
                            </a:cubicBezTo>
                            <a:cubicBezTo>
                              <a:pt x="22906" y="1256"/>
                              <a:pt x="22727" y="1136"/>
                              <a:pt x="22547" y="1077"/>
                            </a:cubicBezTo>
                            <a:lnTo>
                              <a:pt x="21710" y="2153"/>
                            </a:lnTo>
                            <a:cubicBezTo>
                              <a:pt x="21710" y="2153"/>
                              <a:pt x="21770" y="2153"/>
                              <a:pt x="21770" y="2153"/>
                            </a:cubicBezTo>
                            <a:cubicBezTo>
                              <a:pt x="21770" y="2153"/>
                              <a:pt x="21829" y="2153"/>
                              <a:pt x="21829" y="2153"/>
                            </a:cubicBezTo>
                            <a:cubicBezTo>
                              <a:pt x="21829" y="2153"/>
                              <a:pt x="21889" y="2153"/>
                              <a:pt x="21889" y="2153"/>
                            </a:cubicBezTo>
                            <a:cubicBezTo>
                              <a:pt x="21889" y="2153"/>
                              <a:pt x="21949" y="2153"/>
                              <a:pt x="21949" y="2153"/>
                            </a:cubicBezTo>
                            <a:cubicBezTo>
                              <a:pt x="22129" y="2213"/>
                              <a:pt x="22308" y="2333"/>
                              <a:pt x="22428" y="2392"/>
                            </a:cubicBezTo>
                            <a:cubicBezTo>
                              <a:pt x="22607" y="2452"/>
                              <a:pt x="22727" y="2572"/>
                              <a:pt x="22906" y="2632"/>
                            </a:cubicBezTo>
                            <a:cubicBezTo>
                              <a:pt x="23086" y="2691"/>
                              <a:pt x="23205" y="2811"/>
                              <a:pt x="23384" y="2931"/>
                            </a:cubicBezTo>
                            <a:cubicBezTo>
                              <a:pt x="23564" y="3050"/>
                              <a:pt x="23683" y="3110"/>
                              <a:pt x="23863" y="3230"/>
                            </a:cubicBezTo>
                            <a:cubicBezTo>
                              <a:pt x="24043" y="3349"/>
                              <a:pt x="24162" y="3409"/>
                              <a:pt x="24282" y="3529"/>
                            </a:cubicBezTo>
                            <a:cubicBezTo>
                              <a:pt x="24401" y="3649"/>
                              <a:pt x="24581" y="3768"/>
                              <a:pt x="24700" y="3888"/>
                            </a:cubicBezTo>
                            <a:cubicBezTo>
                              <a:pt x="24820" y="4007"/>
                              <a:pt x="24999" y="4127"/>
                              <a:pt x="25119" y="4246"/>
                            </a:cubicBezTo>
                            <a:cubicBezTo>
                              <a:pt x="25238" y="4366"/>
                              <a:pt x="25358" y="4486"/>
                              <a:pt x="25478" y="4605"/>
                            </a:cubicBezTo>
                            <a:cubicBezTo>
                              <a:pt x="25717" y="4844"/>
                              <a:pt x="25956" y="5084"/>
                              <a:pt x="26136" y="5323"/>
                            </a:cubicBezTo>
                            <a:cubicBezTo>
                              <a:pt x="26375" y="5562"/>
                              <a:pt x="26554" y="5801"/>
                              <a:pt x="26734" y="6100"/>
                            </a:cubicBezTo>
                            <a:cubicBezTo>
                              <a:pt x="26913" y="6340"/>
                              <a:pt x="27092" y="6639"/>
                              <a:pt x="27272" y="6878"/>
                            </a:cubicBezTo>
                            <a:cubicBezTo>
                              <a:pt x="27451" y="7117"/>
                              <a:pt x="27571" y="7416"/>
                              <a:pt x="27751" y="7715"/>
                            </a:cubicBezTo>
                            <a:cubicBezTo>
                              <a:pt x="28050" y="8373"/>
                              <a:pt x="28349" y="9031"/>
                              <a:pt x="28528" y="9749"/>
                            </a:cubicBezTo>
                            <a:cubicBezTo>
                              <a:pt x="28707" y="10466"/>
                              <a:pt x="28827" y="11184"/>
                              <a:pt x="28887" y="11902"/>
                            </a:cubicBezTo>
                            <a:cubicBezTo>
                              <a:pt x="28946" y="12620"/>
                              <a:pt x="28946" y="13397"/>
                              <a:pt x="28887" y="14115"/>
                            </a:cubicBezTo>
                            <a:cubicBezTo>
                              <a:pt x="28827" y="14832"/>
                              <a:pt x="28707" y="15610"/>
                              <a:pt x="28468" y="16328"/>
                            </a:cubicBezTo>
                            <a:cubicBezTo>
                              <a:pt x="28468" y="16447"/>
                              <a:pt x="28408" y="16507"/>
                              <a:pt x="28349" y="16627"/>
                            </a:cubicBezTo>
                            <a:cubicBezTo>
                              <a:pt x="28289" y="16746"/>
                              <a:pt x="28289" y="16806"/>
                              <a:pt x="28229" y="16926"/>
                            </a:cubicBezTo>
                            <a:cubicBezTo>
                              <a:pt x="28169" y="17045"/>
                              <a:pt x="28169" y="17105"/>
                              <a:pt x="28109" y="17225"/>
                            </a:cubicBezTo>
                            <a:cubicBezTo>
                              <a:pt x="28050" y="17344"/>
                              <a:pt x="28050" y="17404"/>
                              <a:pt x="27990" y="17524"/>
                            </a:cubicBezTo>
                            <a:cubicBezTo>
                              <a:pt x="27870" y="17823"/>
                              <a:pt x="27751" y="18062"/>
                              <a:pt x="27631" y="18361"/>
                            </a:cubicBezTo>
                            <a:cubicBezTo>
                              <a:pt x="27511" y="18660"/>
                              <a:pt x="27392" y="18899"/>
                              <a:pt x="27212" y="19198"/>
                            </a:cubicBezTo>
                            <a:cubicBezTo>
                              <a:pt x="27092" y="19437"/>
                              <a:pt x="26913" y="19737"/>
                              <a:pt x="26734" y="19976"/>
                            </a:cubicBezTo>
                            <a:cubicBezTo>
                              <a:pt x="26554" y="20215"/>
                              <a:pt x="26614" y="20634"/>
                              <a:pt x="26375" y="20873"/>
                            </a:cubicBezTo>
                            <a:moveTo>
                              <a:pt x="3768" y="5861"/>
                            </a:moveTo>
                            <a:lnTo>
                              <a:pt x="4785" y="6579"/>
                            </a:lnTo>
                            <a:cubicBezTo>
                              <a:pt x="5024" y="6340"/>
                              <a:pt x="5203" y="6100"/>
                              <a:pt x="5442" y="5861"/>
                            </a:cubicBezTo>
                            <a:cubicBezTo>
                              <a:pt x="5682" y="5622"/>
                              <a:pt x="5921" y="5383"/>
                              <a:pt x="6100" y="5203"/>
                            </a:cubicBezTo>
                            <a:cubicBezTo>
                              <a:pt x="6340" y="4964"/>
                              <a:pt x="6579" y="4785"/>
                              <a:pt x="6818" y="4605"/>
                            </a:cubicBezTo>
                            <a:cubicBezTo>
                              <a:pt x="7057" y="4426"/>
                              <a:pt x="7296" y="4246"/>
                              <a:pt x="7596" y="4067"/>
                            </a:cubicBezTo>
                            <a:cubicBezTo>
                              <a:pt x="7715" y="4007"/>
                              <a:pt x="7775" y="3947"/>
                              <a:pt x="7895" y="3888"/>
                            </a:cubicBezTo>
                            <a:cubicBezTo>
                              <a:pt x="8014" y="3828"/>
                              <a:pt x="8074" y="3768"/>
                              <a:pt x="8194" y="3708"/>
                            </a:cubicBezTo>
                            <a:cubicBezTo>
                              <a:pt x="8313" y="3649"/>
                              <a:pt x="8373" y="3589"/>
                              <a:pt x="8493" y="3529"/>
                            </a:cubicBezTo>
                            <a:cubicBezTo>
                              <a:pt x="8612" y="3469"/>
                              <a:pt x="8672" y="3409"/>
                              <a:pt x="8791" y="3349"/>
                            </a:cubicBezTo>
                            <a:cubicBezTo>
                              <a:pt x="9509" y="2931"/>
                              <a:pt x="10227" y="2572"/>
                              <a:pt x="11004" y="2273"/>
                            </a:cubicBezTo>
                            <a:cubicBezTo>
                              <a:pt x="11782" y="1974"/>
                              <a:pt x="12559" y="1735"/>
                              <a:pt x="13337" y="1555"/>
                            </a:cubicBezTo>
                            <a:cubicBezTo>
                              <a:pt x="14114" y="1376"/>
                              <a:pt x="14892" y="1256"/>
                              <a:pt x="15729" y="1256"/>
                            </a:cubicBezTo>
                            <a:cubicBezTo>
                              <a:pt x="16507" y="1196"/>
                              <a:pt x="17284" y="1256"/>
                              <a:pt x="18121" y="1316"/>
                            </a:cubicBezTo>
                            <a:cubicBezTo>
                              <a:pt x="18301" y="1316"/>
                              <a:pt x="18540" y="1376"/>
                              <a:pt x="18720" y="1376"/>
                            </a:cubicBezTo>
                            <a:cubicBezTo>
                              <a:pt x="18899" y="1436"/>
                              <a:pt x="19138" y="1436"/>
                              <a:pt x="19318" y="1495"/>
                            </a:cubicBezTo>
                            <a:cubicBezTo>
                              <a:pt x="19497" y="1555"/>
                              <a:pt x="19736" y="1555"/>
                              <a:pt x="19916" y="1615"/>
                            </a:cubicBezTo>
                            <a:cubicBezTo>
                              <a:pt x="20095" y="1675"/>
                              <a:pt x="20334" y="1735"/>
                              <a:pt x="20514" y="1795"/>
                            </a:cubicBezTo>
                            <a:lnTo>
                              <a:pt x="21351" y="718"/>
                            </a:lnTo>
                            <a:cubicBezTo>
                              <a:pt x="21112" y="658"/>
                              <a:pt x="20933" y="598"/>
                              <a:pt x="20693" y="538"/>
                            </a:cubicBezTo>
                            <a:cubicBezTo>
                              <a:pt x="20454" y="479"/>
                              <a:pt x="20215" y="419"/>
                              <a:pt x="20035" y="359"/>
                            </a:cubicBezTo>
                            <a:cubicBezTo>
                              <a:pt x="19796" y="299"/>
                              <a:pt x="19557" y="239"/>
                              <a:pt x="19318" y="239"/>
                            </a:cubicBezTo>
                            <a:cubicBezTo>
                              <a:pt x="19079" y="180"/>
                              <a:pt x="18839" y="180"/>
                              <a:pt x="18600" y="120"/>
                            </a:cubicBezTo>
                            <a:cubicBezTo>
                              <a:pt x="18361" y="120"/>
                              <a:pt x="18181" y="60"/>
                              <a:pt x="17942" y="60"/>
                            </a:cubicBezTo>
                            <a:cubicBezTo>
                              <a:pt x="17703" y="60"/>
                              <a:pt x="17523" y="0"/>
                              <a:pt x="17284" y="0"/>
                            </a:cubicBezTo>
                            <a:cubicBezTo>
                              <a:pt x="17045" y="0"/>
                              <a:pt x="16866" y="0"/>
                              <a:pt x="16626" y="0"/>
                            </a:cubicBezTo>
                            <a:cubicBezTo>
                              <a:pt x="16387" y="0"/>
                              <a:pt x="16208" y="0"/>
                              <a:pt x="15968" y="0"/>
                            </a:cubicBezTo>
                            <a:cubicBezTo>
                              <a:pt x="15251" y="0"/>
                              <a:pt x="14533" y="120"/>
                              <a:pt x="13815" y="239"/>
                            </a:cubicBezTo>
                            <a:cubicBezTo>
                              <a:pt x="13098" y="359"/>
                              <a:pt x="12380" y="538"/>
                              <a:pt x="11662" y="718"/>
                            </a:cubicBezTo>
                            <a:cubicBezTo>
                              <a:pt x="10945" y="957"/>
                              <a:pt x="10287" y="1196"/>
                              <a:pt x="9569" y="1495"/>
                            </a:cubicBezTo>
                            <a:cubicBezTo>
                              <a:pt x="8911" y="1795"/>
                              <a:pt x="8253" y="2153"/>
                              <a:pt x="7596" y="2572"/>
                            </a:cubicBezTo>
                            <a:cubicBezTo>
                              <a:pt x="7476" y="2632"/>
                              <a:pt x="7416" y="2691"/>
                              <a:pt x="7296" y="2751"/>
                            </a:cubicBezTo>
                            <a:cubicBezTo>
                              <a:pt x="7177" y="2811"/>
                              <a:pt x="7117" y="2871"/>
                              <a:pt x="6997" y="2931"/>
                            </a:cubicBezTo>
                            <a:cubicBezTo>
                              <a:pt x="6878" y="2990"/>
                              <a:pt x="6818" y="3050"/>
                              <a:pt x="6698" y="3110"/>
                            </a:cubicBezTo>
                            <a:cubicBezTo>
                              <a:pt x="6579" y="3170"/>
                              <a:pt x="6519" y="3230"/>
                              <a:pt x="6399" y="3290"/>
                            </a:cubicBezTo>
                            <a:cubicBezTo>
                              <a:pt x="6160" y="3469"/>
                              <a:pt x="5921" y="3649"/>
                              <a:pt x="5682" y="3888"/>
                            </a:cubicBezTo>
                            <a:cubicBezTo>
                              <a:pt x="5442" y="4067"/>
                              <a:pt x="5203" y="4306"/>
                              <a:pt x="4964" y="4486"/>
                            </a:cubicBezTo>
                            <a:cubicBezTo>
                              <a:pt x="4725" y="4725"/>
                              <a:pt x="4486" y="4904"/>
                              <a:pt x="4306" y="5144"/>
                            </a:cubicBezTo>
                            <a:cubicBezTo>
                              <a:pt x="4187" y="5383"/>
                              <a:pt x="3947" y="5622"/>
                              <a:pt x="3768" y="5861"/>
                            </a:cubicBezTo>
                            <a:moveTo>
                              <a:pt x="19079" y="26315"/>
                            </a:moveTo>
                            <a:lnTo>
                              <a:pt x="20334" y="27153"/>
                            </a:lnTo>
                            <a:cubicBezTo>
                              <a:pt x="20933" y="26913"/>
                              <a:pt x="21530" y="26614"/>
                              <a:pt x="22069" y="26315"/>
                            </a:cubicBezTo>
                            <a:cubicBezTo>
                              <a:pt x="22607" y="26016"/>
                              <a:pt x="23205" y="25658"/>
                              <a:pt x="23683" y="25299"/>
                            </a:cubicBezTo>
                            <a:cubicBezTo>
                              <a:pt x="24222" y="24940"/>
                              <a:pt x="24700" y="24521"/>
                              <a:pt x="25238" y="24043"/>
                            </a:cubicBezTo>
                            <a:cubicBezTo>
                              <a:pt x="25717" y="23624"/>
                              <a:pt x="26196" y="23145"/>
                              <a:pt x="26614" y="22607"/>
                            </a:cubicBezTo>
                            <a:lnTo>
                              <a:pt x="25597" y="21950"/>
                            </a:lnTo>
                            <a:cubicBezTo>
                              <a:pt x="25179" y="22488"/>
                              <a:pt x="24700" y="22966"/>
                              <a:pt x="24162" y="23385"/>
                            </a:cubicBezTo>
                            <a:cubicBezTo>
                              <a:pt x="23624" y="23804"/>
                              <a:pt x="23145" y="24222"/>
                              <a:pt x="22607" y="24581"/>
                            </a:cubicBezTo>
                            <a:cubicBezTo>
                              <a:pt x="22069" y="24940"/>
                              <a:pt x="21471" y="25299"/>
                              <a:pt x="20933" y="25598"/>
                            </a:cubicBezTo>
                            <a:cubicBezTo>
                              <a:pt x="20394" y="25897"/>
                              <a:pt x="19676" y="26136"/>
                              <a:pt x="19079" y="26315"/>
                            </a:cubicBezTo>
                            <a:moveTo>
                              <a:pt x="179" y="13875"/>
                            </a:moveTo>
                            <a:lnTo>
                              <a:pt x="1435" y="14713"/>
                            </a:lnTo>
                            <a:cubicBezTo>
                              <a:pt x="1495" y="14115"/>
                              <a:pt x="1555" y="13516"/>
                              <a:pt x="1674" y="12919"/>
                            </a:cubicBezTo>
                            <a:cubicBezTo>
                              <a:pt x="1794" y="12320"/>
                              <a:pt x="1974" y="11722"/>
                              <a:pt x="2153" y="11124"/>
                            </a:cubicBezTo>
                            <a:cubicBezTo>
                              <a:pt x="2392" y="10526"/>
                              <a:pt x="2632" y="9928"/>
                              <a:pt x="2930" y="9330"/>
                            </a:cubicBezTo>
                            <a:cubicBezTo>
                              <a:pt x="3229" y="8732"/>
                              <a:pt x="3588" y="8194"/>
                              <a:pt x="4007" y="7596"/>
                            </a:cubicBezTo>
                            <a:lnTo>
                              <a:pt x="2990" y="6878"/>
                            </a:lnTo>
                            <a:cubicBezTo>
                              <a:pt x="2572" y="7416"/>
                              <a:pt x="2213" y="7954"/>
                              <a:pt x="1914" y="8553"/>
                            </a:cubicBezTo>
                            <a:cubicBezTo>
                              <a:pt x="1615" y="9151"/>
                              <a:pt x="1316" y="9689"/>
                              <a:pt x="1076" y="10287"/>
                            </a:cubicBezTo>
                            <a:cubicBezTo>
                              <a:pt x="837" y="10885"/>
                              <a:pt x="658" y="11483"/>
                              <a:pt x="538" y="12081"/>
                            </a:cubicBezTo>
                            <a:cubicBezTo>
                              <a:pt x="359" y="12679"/>
                              <a:pt x="239" y="13277"/>
                              <a:pt x="179" y="13875"/>
                            </a:cubicBezTo>
                            <a:moveTo>
                              <a:pt x="13875" y="27213"/>
                            </a:moveTo>
                            <a:lnTo>
                              <a:pt x="15610" y="28349"/>
                            </a:lnTo>
                            <a:cubicBezTo>
                              <a:pt x="15849" y="28349"/>
                              <a:pt x="16148" y="28289"/>
                              <a:pt x="16387" y="28229"/>
                            </a:cubicBezTo>
                            <a:cubicBezTo>
                              <a:pt x="16626" y="28169"/>
                              <a:pt x="16926" y="28109"/>
                              <a:pt x="17165" y="28109"/>
                            </a:cubicBezTo>
                            <a:cubicBezTo>
                              <a:pt x="17404" y="28109"/>
                              <a:pt x="17703" y="27990"/>
                              <a:pt x="17942" y="27930"/>
                            </a:cubicBezTo>
                            <a:cubicBezTo>
                              <a:pt x="18181" y="27870"/>
                              <a:pt x="18480" y="27811"/>
                              <a:pt x="18720" y="27691"/>
                            </a:cubicBezTo>
                            <a:lnTo>
                              <a:pt x="17404" y="26794"/>
                            </a:lnTo>
                            <a:cubicBezTo>
                              <a:pt x="17105" y="26854"/>
                              <a:pt x="16806" y="26913"/>
                              <a:pt x="16507" y="26973"/>
                            </a:cubicBezTo>
                            <a:cubicBezTo>
                              <a:pt x="16208" y="27033"/>
                              <a:pt x="15909" y="27093"/>
                              <a:pt x="15610" y="27093"/>
                            </a:cubicBezTo>
                            <a:cubicBezTo>
                              <a:pt x="15311" y="27093"/>
                              <a:pt x="15012" y="27153"/>
                              <a:pt x="14712" y="27153"/>
                            </a:cubicBezTo>
                            <a:cubicBezTo>
                              <a:pt x="14473" y="27213"/>
                              <a:pt x="14174" y="27213"/>
                              <a:pt x="13875" y="27213"/>
                            </a:cubicBezTo>
                            <a:moveTo>
                              <a:pt x="419" y="18361"/>
                            </a:moveTo>
                            <a:lnTo>
                              <a:pt x="2153" y="19497"/>
                            </a:lnTo>
                            <a:cubicBezTo>
                              <a:pt x="2033" y="19258"/>
                              <a:pt x="1974" y="18959"/>
                              <a:pt x="1914" y="18720"/>
                            </a:cubicBezTo>
                            <a:cubicBezTo>
                              <a:pt x="1854" y="18481"/>
                              <a:pt x="1734" y="18182"/>
                              <a:pt x="1674" y="17942"/>
                            </a:cubicBezTo>
                            <a:cubicBezTo>
                              <a:pt x="1615" y="17643"/>
                              <a:pt x="1555" y="17404"/>
                              <a:pt x="1495" y="17105"/>
                            </a:cubicBezTo>
                            <a:cubicBezTo>
                              <a:pt x="1435" y="16806"/>
                              <a:pt x="1435" y="16567"/>
                              <a:pt x="1375" y="16268"/>
                            </a:cubicBezTo>
                            <a:lnTo>
                              <a:pt x="0" y="15370"/>
                            </a:lnTo>
                            <a:cubicBezTo>
                              <a:pt x="0" y="15610"/>
                              <a:pt x="0" y="15849"/>
                              <a:pt x="0" y="16148"/>
                            </a:cubicBezTo>
                            <a:cubicBezTo>
                              <a:pt x="0" y="16387"/>
                              <a:pt x="60" y="16627"/>
                              <a:pt x="60" y="16866"/>
                            </a:cubicBezTo>
                            <a:cubicBezTo>
                              <a:pt x="60" y="17105"/>
                              <a:pt x="120" y="17344"/>
                              <a:pt x="179" y="17583"/>
                            </a:cubicBezTo>
                            <a:cubicBezTo>
                              <a:pt x="239" y="17823"/>
                              <a:pt x="359" y="18122"/>
                              <a:pt x="419" y="18361"/>
                            </a:cubicBezTo>
                            <a:moveTo>
                              <a:pt x="4067" y="24760"/>
                            </a:moveTo>
                            <a:lnTo>
                              <a:pt x="7895" y="27272"/>
                            </a:lnTo>
                            <a:cubicBezTo>
                              <a:pt x="8313" y="27452"/>
                              <a:pt x="8791" y="27631"/>
                              <a:pt x="9210" y="27751"/>
                            </a:cubicBezTo>
                            <a:cubicBezTo>
                              <a:pt x="9629" y="27870"/>
                              <a:pt x="10107" y="27990"/>
                              <a:pt x="10586" y="28109"/>
                            </a:cubicBezTo>
                            <a:cubicBezTo>
                              <a:pt x="11064" y="28229"/>
                              <a:pt x="11483" y="28289"/>
                              <a:pt x="11961" y="28349"/>
                            </a:cubicBezTo>
                            <a:cubicBezTo>
                              <a:pt x="12440" y="28408"/>
                              <a:pt x="12918" y="28468"/>
                              <a:pt x="13397" y="28468"/>
                            </a:cubicBezTo>
                            <a:lnTo>
                              <a:pt x="11064" y="26913"/>
                            </a:lnTo>
                            <a:cubicBezTo>
                              <a:pt x="10705" y="26854"/>
                              <a:pt x="10287" y="26734"/>
                              <a:pt x="9928" y="26614"/>
                            </a:cubicBezTo>
                            <a:cubicBezTo>
                              <a:pt x="9569" y="26495"/>
                              <a:pt x="9210" y="26375"/>
                              <a:pt x="8791" y="26196"/>
                            </a:cubicBezTo>
                            <a:cubicBezTo>
                              <a:pt x="8433" y="26076"/>
                              <a:pt x="8074" y="25897"/>
                              <a:pt x="7715" y="25717"/>
                            </a:cubicBezTo>
                            <a:cubicBezTo>
                              <a:pt x="7356" y="25538"/>
                              <a:pt x="6997" y="25359"/>
                              <a:pt x="6698" y="25119"/>
                            </a:cubicBezTo>
                            <a:cubicBezTo>
                              <a:pt x="6340" y="24880"/>
                              <a:pt x="6041" y="24641"/>
                              <a:pt x="5741" y="24401"/>
                            </a:cubicBezTo>
                            <a:cubicBezTo>
                              <a:pt x="5442" y="24162"/>
                              <a:pt x="5143" y="23923"/>
                              <a:pt x="4844" y="23624"/>
                            </a:cubicBezTo>
                            <a:cubicBezTo>
                              <a:pt x="4545" y="23385"/>
                              <a:pt x="4306" y="23086"/>
                              <a:pt x="4067" y="22787"/>
                            </a:cubicBezTo>
                            <a:cubicBezTo>
                              <a:pt x="3828" y="22488"/>
                              <a:pt x="3588" y="22189"/>
                              <a:pt x="3409" y="21890"/>
                            </a:cubicBezTo>
                            <a:lnTo>
                              <a:pt x="1017" y="20335"/>
                            </a:lnTo>
                            <a:cubicBezTo>
                              <a:pt x="1196" y="20753"/>
                              <a:pt x="1375" y="21112"/>
                              <a:pt x="1615" y="21531"/>
                            </a:cubicBezTo>
                            <a:cubicBezTo>
                              <a:pt x="1854" y="21950"/>
                              <a:pt x="2033" y="22308"/>
                              <a:pt x="2333" y="22667"/>
                            </a:cubicBezTo>
                            <a:cubicBezTo>
                              <a:pt x="2572" y="23026"/>
                              <a:pt x="2871" y="23385"/>
                              <a:pt x="3170" y="23744"/>
                            </a:cubicBezTo>
                            <a:cubicBezTo>
                              <a:pt x="3409" y="24102"/>
                              <a:pt x="3768" y="24461"/>
                              <a:pt x="4067" y="24760"/>
                            </a:cubicBezTo>
                          </a:path>
                        </a:pathLst>
                      </a:custGeom>
                      <a:noFill/>
                      <a:ln w="6350" cap="flat">
                        <a:solidFill>
                          <a:schemeClr val="bg1">
                            <a:alpha val="40000"/>
                          </a:schemeClr>
                        </a:solidFill>
                        <a:prstDash val="solid"/>
                        <a:miter/>
                      </a:ln>
                    </p:spPr>
                    <p:txBody>
                      <a:bodyPr rtlCol="0" anchor="ctr"/>
                      <a:lstStyle/>
                      <a:p>
                        <a:endParaRPr lang="en-GB"/>
                      </a:p>
                    </p:txBody>
                  </p:sp>
                  <p:sp>
                    <p:nvSpPr>
                      <p:cNvPr id="7475" name="Vrije vorm: vorm 7474">
                        <a:extLst>
                          <a:ext uri="{FF2B5EF4-FFF2-40B4-BE49-F238E27FC236}">
                            <a16:creationId xmlns:a16="http://schemas.microsoft.com/office/drawing/2014/main" id="{22A1270F-78B5-4640-8CDB-BA33AD6F081C}"/>
                          </a:ext>
                        </a:extLst>
                      </p:cNvPr>
                      <p:cNvSpPr/>
                      <p:nvPr/>
                    </p:nvSpPr>
                    <p:spPr>
                      <a:xfrm>
                        <a:off x="4761691" y="5136463"/>
                        <a:ext cx="16327" cy="15505"/>
                      </a:xfrm>
                      <a:custGeom>
                        <a:avLst/>
                        <a:gdLst>
                          <a:gd name="connsiteX0" fmla="*/ 13875 w 16327"/>
                          <a:gd name="connsiteY0" fmla="*/ 10825 h 15505"/>
                          <a:gd name="connsiteX1" fmla="*/ 14892 w 16327"/>
                          <a:gd name="connsiteY1" fmla="*/ 11483 h 15505"/>
                          <a:gd name="connsiteX2" fmla="*/ 15371 w 16327"/>
                          <a:gd name="connsiteY2" fmla="*/ 10645 h 15505"/>
                          <a:gd name="connsiteX3" fmla="*/ 15789 w 16327"/>
                          <a:gd name="connsiteY3" fmla="*/ 9808 h 15505"/>
                          <a:gd name="connsiteX4" fmla="*/ 16088 w 16327"/>
                          <a:gd name="connsiteY4" fmla="*/ 8911 h 15505"/>
                          <a:gd name="connsiteX5" fmla="*/ 16268 w 16327"/>
                          <a:gd name="connsiteY5" fmla="*/ 8014 h 15505"/>
                          <a:gd name="connsiteX6" fmla="*/ 16328 w 16327"/>
                          <a:gd name="connsiteY6" fmla="*/ 7655 h 15505"/>
                          <a:gd name="connsiteX7" fmla="*/ 16328 w 16327"/>
                          <a:gd name="connsiteY7" fmla="*/ 7296 h 15505"/>
                          <a:gd name="connsiteX8" fmla="*/ 16328 w 16327"/>
                          <a:gd name="connsiteY8" fmla="*/ 6937 h 15505"/>
                          <a:gd name="connsiteX9" fmla="*/ 16328 w 16327"/>
                          <a:gd name="connsiteY9" fmla="*/ 6579 h 15505"/>
                          <a:gd name="connsiteX10" fmla="*/ 16029 w 16327"/>
                          <a:gd name="connsiteY10" fmla="*/ 5083 h 15505"/>
                          <a:gd name="connsiteX11" fmla="*/ 15430 w 16327"/>
                          <a:gd name="connsiteY11" fmla="*/ 3708 h 15505"/>
                          <a:gd name="connsiteX12" fmla="*/ 14474 w 16327"/>
                          <a:gd name="connsiteY12" fmla="*/ 2452 h 15505"/>
                          <a:gd name="connsiteX13" fmla="*/ 13218 w 16327"/>
                          <a:gd name="connsiteY13" fmla="*/ 1375 h 15505"/>
                          <a:gd name="connsiteX14" fmla="*/ 12679 w 16327"/>
                          <a:gd name="connsiteY14" fmla="*/ 1017 h 15505"/>
                          <a:gd name="connsiteX15" fmla="*/ 12081 w 16327"/>
                          <a:gd name="connsiteY15" fmla="*/ 718 h 15505"/>
                          <a:gd name="connsiteX16" fmla="*/ 11483 w 16327"/>
                          <a:gd name="connsiteY16" fmla="*/ 479 h 15505"/>
                          <a:gd name="connsiteX17" fmla="*/ 10885 w 16327"/>
                          <a:gd name="connsiteY17" fmla="*/ 299 h 15505"/>
                          <a:gd name="connsiteX18" fmla="*/ 9988 w 16327"/>
                          <a:gd name="connsiteY18" fmla="*/ 1435 h 15505"/>
                          <a:gd name="connsiteX19" fmla="*/ 10586 w 16327"/>
                          <a:gd name="connsiteY19" fmla="*/ 1555 h 15505"/>
                          <a:gd name="connsiteX20" fmla="*/ 11184 w 16327"/>
                          <a:gd name="connsiteY20" fmla="*/ 1734 h 15505"/>
                          <a:gd name="connsiteX21" fmla="*/ 11782 w 16327"/>
                          <a:gd name="connsiteY21" fmla="*/ 2034 h 15505"/>
                          <a:gd name="connsiteX22" fmla="*/ 12321 w 16327"/>
                          <a:gd name="connsiteY22" fmla="*/ 2392 h 15505"/>
                          <a:gd name="connsiteX23" fmla="*/ 13158 w 16327"/>
                          <a:gd name="connsiteY23" fmla="*/ 3050 h 15505"/>
                          <a:gd name="connsiteX24" fmla="*/ 13816 w 16327"/>
                          <a:gd name="connsiteY24" fmla="*/ 3828 h 15505"/>
                          <a:gd name="connsiteX25" fmla="*/ 14354 w 16327"/>
                          <a:gd name="connsiteY25" fmla="*/ 4665 h 15505"/>
                          <a:gd name="connsiteX26" fmla="*/ 14713 w 16327"/>
                          <a:gd name="connsiteY26" fmla="*/ 5562 h 15505"/>
                          <a:gd name="connsiteX27" fmla="*/ 14832 w 16327"/>
                          <a:gd name="connsiteY27" fmla="*/ 5981 h 15505"/>
                          <a:gd name="connsiteX28" fmla="*/ 14892 w 16327"/>
                          <a:gd name="connsiteY28" fmla="*/ 6399 h 15505"/>
                          <a:gd name="connsiteX29" fmla="*/ 14952 w 16327"/>
                          <a:gd name="connsiteY29" fmla="*/ 6818 h 15505"/>
                          <a:gd name="connsiteX30" fmla="*/ 14952 w 16327"/>
                          <a:gd name="connsiteY30" fmla="*/ 7237 h 15505"/>
                          <a:gd name="connsiteX31" fmla="*/ 14892 w 16327"/>
                          <a:gd name="connsiteY31" fmla="*/ 8134 h 15505"/>
                          <a:gd name="connsiteX32" fmla="*/ 14713 w 16327"/>
                          <a:gd name="connsiteY32" fmla="*/ 9031 h 15505"/>
                          <a:gd name="connsiteX33" fmla="*/ 14354 w 16327"/>
                          <a:gd name="connsiteY33" fmla="*/ 9928 h 15505"/>
                          <a:gd name="connsiteX34" fmla="*/ 13875 w 16327"/>
                          <a:gd name="connsiteY34" fmla="*/ 10825 h 15505"/>
                          <a:gd name="connsiteX35" fmla="*/ 2034 w 16327"/>
                          <a:gd name="connsiteY35" fmla="*/ 2990 h 15505"/>
                          <a:gd name="connsiteX36" fmla="*/ 3050 w 16327"/>
                          <a:gd name="connsiteY36" fmla="*/ 3708 h 15505"/>
                          <a:gd name="connsiteX37" fmla="*/ 3828 w 16327"/>
                          <a:gd name="connsiteY37" fmla="*/ 2990 h 15505"/>
                          <a:gd name="connsiteX38" fmla="*/ 4665 w 16327"/>
                          <a:gd name="connsiteY38" fmla="*/ 2392 h 15505"/>
                          <a:gd name="connsiteX39" fmla="*/ 5562 w 16327"/>
                          <a:gd name="connsiteY39" fmla="*/ 1914 h 15505"/>
                          <a:gd name="connsiteX40" fmla="*/ 6519 w 16327"/>
                          <a:gd name="connsiteY40" fmla="*/ 1555 h 15505"/>
                          <a:gd name="connsiteX41" fmla="*/ 6998 w 16327"/>
                          <a:gd name="connsiteY41" fmla="*/ 1435 h 15505"/>
                          <a:gd name="connsiteX42" fmla="*/ 7476 w 16327"/>
                          <a:gd name="connsiteY42" fmla="*/ 1316 h 15505"/>
                          <a:gd name="connsiteX43" fmla="*/ 7954 w 16327"/>
                          <a:gd name="connsiteY43" fmla="*/ 1256 h 15505"/>
                          <a:gd name="connsiteX44" fmla="*/ 8433 w 16327"/>
                          <a:gd name="connsiteY44" fmla="*/ 1196 h 15505"/>
                          <a:gd name="connsiteX45" fmla="*/ 8493 w 16327"/>
                          <a:gd name="connsiteY45" fmla="*/ 1196 h 15505"/>
                          <a:gd name="connsiteX46" fmla="*/ 8553 w 16327"/>
                          <a:gd name="connsiteY46" fmla="*/ 1196 h 15505"/>
                          <a:gd name="connsiteX47" fmla="*/ 8612 w 16327"/>
                          <a:gd name="connsiteY47" fmla="*/ 1196 h 15505"/>
                          <a:gd name="connsiteX48" fmla="*/ 8672 w 16327"/>
                          <a:gd name="connsiteY48" fmla="*/ 1196 h 15505"/>
                          <a:gd name="connsiteX49" fmla="*/ 9629 w 16327"/>
                          <a:gd name="connsiteY49" fmla="*/ 0 h 15505"/>
                          <a:gd name="connsiteX50" fmla="*/ 8971 w 16327"/>
                          <a:gd name="connsiteY50" fmla="*/ 0 h 15505"/>
                          <a:gd name="connsiteX51" fmla="*/ 8313 w 16327"/>
                          <a:gd name="connsiteY51" fmla="*/ 0 h 15505"/>
                          <a:gd name="connsiteX52" fmla="*/ 7656 w 16327"/>
                          <a:gd name="connsiteY52" fmla="*/ 60 h 15505"/>
                          <a:gd name="connsiteX53" fmla="*/ 6998 w 16327"/>
                          <a:gd name="connsiteY53" fmla="*/ 179 h 15505"/>
                          <a:gd name="connsiteX54" fmla="*/ 6579 w 16327"/>
                          <a:gd name="connsiteY54" fmla="*/ 299 h 15505"/>
                          <a:gd name="connsiteX55" fmla="*/ 6160 w 16327"/>
                          <a:gd name="connsiteY55" fmla="*/ 419 h 15505"/>
                          <a:gd name="connsiteX56" fmla="*/ 5801 w 16327"/>
                          <a:gd name="connsiteY56" fmla="*/ 538 h 15505"/>
                          <a:gd name="connsiteX57" fmla="*/ 5443 w 16327"/>
                          <a:gd name="connsiteY57" fmla="*/ 718 h 15505"/>
                          <a:gd name="connsiteX58" fmla="*/ 4545 w 16327"/>
                          <a:gd name="connsiteY58" fmla="*/ 1136 h 15505"/>
                          <a:gd name="connsiteX59" fmla="*/ 3708 w 16327"/>
                          <a:gd name="connsiteY59" fmla="*/ 1674 h 15505"/>
                          <a:gd name="connsiteX60" fmla="*/ 2931 w 16327"/>
                          <a:gd name="connsiteY60" fmla="*/ 2273 h 15505"/>
                          <a:gd name="connsiteX61" fmla="*/ 2034 w 16327"/>
                          <a:gd name="connsiteY61" fmla="*/ 2990 h 15505"/>
                          <a:gd name="connsiteX62" fmla="*/ 1735 w 16327"/>
                          <a:gd name="connsiteY62" fmla="*/ 13158 h 15505"/>
                          <a:gd name="connsiteX63" fmla="*/ 4545 w 16327"/>
                          <a:gd name="connsiteY63" fmla="*/ 15012 h 15505"/>
                          <a:gd name="connsiteX64" fmla="*/ 7058 w 16327"/>
                          <a:gd name="connsiteY64" fmla="*/ 15490 h 15505"/>
                          <a:gd name="connsiteX65" fmla="*/ 9629 w 16327"/>
                          <a:gd name="connsiteY65" fmla="*/ 15191 h 15505"/>
                          <a:gd name="connsiteX66" fmla="*/ 12021 w 16327"/>
                          <a:gd name="connsiteY66" fmla="*/ 14174 h 15505"/>
                          <a:gd name="connsiteX67" fmla="*/ 14115 w 16327"/>
                          <a:gd name="connsiteY67" fmla="*/ 12500 h 15505"/>
                          <a:gd name="connsiteX68" fmla="*/ 13098 w 16327"/>
                          <a:gd name="connsiteY68" fmla="*/ 11842 h 15505"/>
                          <a:gd name="connsiteX69" fmla="*/ 11005 w 16327"/>
                          <a:gd name="connsiteY69" fmla="*/ 13397 h 15505"/>
                          <a:gd name="connsiteX70" fmla="*/ 8612 w 16327"/>
                          <a:gd name="connsiteY70" fmla="*/ 14174 h 15505"/>
                          <a:gd name="connsiteX71" fmla="*/ 6160 w 16327"/>
                          <a:gd name="connsiteY71" fmla="*/ 14114 h 15505"/>
                          <a:gd name="connsiteX72" fmla="*/ 3888 w 16327"/>
                          <a:gd name="connsiteY72" fmla="*/ 13158 h 15505"/>
                          <a:gd name="connsiteX73" fmla="*/ 2213 w 16327"/>
                          <a:gd name="connsiteY73" fmla="*/ 11483 h 15505"/>
                          <a:gd name="connsiteX74" fmla="*/ 1376 w 16327"/>
                          <a:gd name="connsiteY74" fmla="*/ 9330 h 15505"/>
                          <a:gd name="connsiteX75" fmla="*/ 1436 w 16327"/>
                          <a:gd name="connsiteY75" fmla="*/ 6997 h 15505"/>
                          <a:gd name="connsiteX76" fmla="*/ 2392 w 16327"/>
                          <a:gd name="connsiteY76" fmla="*/ 4725 h 15505"/>
                          <a:gd name="connsiteX77" fmla="*/ 1376 w 16327"/>
                          <a:gd name="connsiteY77" fmla="*/ 4067 h 15505"/>
                          <a:gd name="connsiteX78" fmla="*/ 299 w 16327"/>
                          <a:gd name="connsiteY78" fmla="*/ 6399 h 15505"/>
                          <a:gd name="connsiteX79" fmla="*/ 0 w 16327"/>
                          <a:gd name="connsiteY79" fmla="*/ 8851 h 15505"/>
                          <a:gd name="connsiteX80" fmla="*/ 538 w 16327"/>
                          <a:gd name="connsiteY80" fmla="*/ 11184 h 15505"/>
                          <a:gd name="connsiteX81" fmla="*/ 1735 w 16327"/>
                          <a:gd name="connsiteY81" fmla="*/ 13158 h 1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327" h="15505">
                            <a:moveTo>
                              <a:pt x="13875" y="10825"/>
                            </a:moveTo>
                            <a:lnTo>
                              <a:pt x="14892" y="11483"/>
                            </a:lnTo>
                            <a:cubicBezTo>
                              <a:pt x="15072" y="11184"/>
                              <a:pt x="15251" y="10945"/>
                              <a:pt x="15371" y="10645"/>
                            </a:cubicBezTo>
                            <a:cubicBezTo>
                              <a:pt x="15490" y="10347"/>
                              <a:pt x="15670" y="10048"/>
                              <a:pt x="15789" y="9808"/>
                            </a:cubicBezTo>
                            <a:cubicBezTo>
                              <a:pt x="15909" y="9569"/>
                              <a:pt x="15969" y="9210"/>
                              <a:pt x="16088" y="8911"/>
                            </a:cubicBezTo>
                            <a:cubicBezTo>
                              <a:pt x="16148" y="8612"/>
                              <a:pt x="16208" y="8313"/>
                              <a:pt x="16268" y="8014"/>
                            </a:cubicBezTo>
                            <a:cubicBezTo>
                              <a:pt x="16268" y="7895"/>
                              <a:pt x="16268" y="7775"/>
                              <a:pt x="16328" y="7655"/>
                            </a:cubicBezTo>
                            <a:cubicBezTo>
                              <a:pt x="16328" y="7536"/>
                              <a:pt x="16328" y="7416"/>
                              <a:pt x="16328" y="7296"/>
                            </a:cubicBezTo>
                            <a:cubicBezTo>
                              <a:pt x="16328" y="7177"/>
                              <a:pt x="16328" y="7057"/>
                              <a:pt x="16328" y="6937"/>
                            </a:cubicBezTo>
                            <a:cubicBezTo>
                              <a:pt x="16328" y="6818"/>
                              <a:pt x="16328" y="6698"/>
                              <a:pt x="16328" y="6579"/>
                            </a:cubicBezTo>
                            <a:cubicBezTo>
                              <a:pt x="16268" y="6041"/>
                              <a:pt x="16208" y="5562"/>
                              <a:pt x="16029" y="5083"/>
                            </a:cubicBezTo>
                            <a:cubicBezTo>
                              <a:pt x="15909" y="4605"/>
                              <a:pt x="15670" y="4127"/>
                              <a:pt x="15430" y="3708"/>
                            </a:cubicBezTo>
                            <a:cubicBezTo>
                              <a:pt x="15191" y="3289"/>
                              <a:pt x="14892" y="2871"/>
                              <a:pt x="14474" y="2452"/>
                            </a:cubicBezTo>
                            <a:cubicBezTo>
                              <a:pt x="14115" y="2093"/>
                              <a:pt x="13696" y="1734"/>
                              <a:pt x="13218" y="1375"/>
                            </a:cubicBezTo>
                            <a:cubicBezTo>
                              <a:pt x="13038" y="1256"/>
                              <a:pt x="12859" y="1136"/>
                              <a:pt x="12679" y="1017"/>
                            </a:cubicBezTo>
                            <a:cubicBezTo>
                              <a:pt x="12500" y="897"/>
                              <a:pt x="12321" y="837"/>
                              <a:pt x="12081" y="718"/>
                            </a:cubicBezTo>
                            <a:cubicBezTo>
                              <a:pt x="11902" y="658"/>
                              <a:pt x="11662" y="538"/>
                              <a:pt x="11483" y="479"/>
                            </a:cubicBezTo>
                            <a:cubicBezTo>
                              <a:pt x="11304" y="419"/>
                              <a:pt x="11065" y="359"/>
                              <a:pt x="10885" y="299"/>
                            </a:cubicBezTo>
                            <a:lnTo>
                              <a:pt x="9988" y="1435"/>
                            </a:lnTo>
                            <a:cubicBezTo>
                              <a:pt x="10227" y="1495"/>
                              <a:pt x="10407" y="1495"/>
                              <a:pt x="10586" y="1555"/>
                            </a:cubicBezTo>
                            <a:cubicBezTo>
                              <a:pt x="10766" y="1615"/>
                              <a:pt x="11005" y="1674"/>
                              <a:pt x="11184" y="1734"/>
                            </a:cubicBezTo>
                            <a:cubicBezTo>
                              <a:pt x="11364" y="1794"/>
                              <a:pt x="11603" y="1914"/>
                              <a:pt x="11782" y="2034"/>
                            </a:cubicBezTo>
                            <a:cubicBezTo>
                              <a:pt x="11961" y="2153"/>
                              <a:pt x="12141" y="2273"/>
                              <a:pt x="12321" y="2392"/>
                            </a:cubicBezTo>
                            <a:cubicBezTo>
                              <a:pt x="12620" y="2572"/>
                              <a:pt x="12859" y="2811"/>
                              <a:pt x="13158" y="3050"/>
                            </a:cubicBezTo>
                            <a:cubicBezTo>
                              <a:pt x="13457" y="3289"/>
                              <a:pt x="13636" y="3529"/>
                              <a:pt x="13816" y="3828"/>
                            </a:cubicBezTo>
                            <a:cubicBezTo>
                              <a:pt x="13995" y="4127"/>
                              <a:pt x="14175" y="4366"/>
                              <a:pt x="14354" y="4665"/>
                            </a:cubicBezTo>
                            <a:cubicBezTo>
                              <a:pt x="14533" y="4964"/>
                              <a:pt x="14593" y="5263"/>
                              <a:pt x="14713" y="5562"/>
                            </a:cubicBezTo>
                            <a:cubicBezTo>
                              <a:pt x="14773" y="5682"/>
                              <a:pt x="14773" y="5861"/>
                              <a:pt x="14832" y="5981"/>
                            </a:cubicBezTo>
                            <a:cubicBezTo>
                              <a:pt x="14892" y="6100"/>
                              <a:pt x="14892" y="6280"/>
                              <a:pt x="14892" y="6399"/>
                            </a:cubicBezTo>
                            <a:cubicBezTo>
                              <a:pt x="14892" y="6519"/>
                              <a:pt x="14952" y="6698"/>
                              <a:pt x="14952" y="6818"/>
                            </a:cubicBezTo>
                            <a:cubicBezTo>
                              <a:pt x="14952" y="6937"/>
                              <a:pt x="14952" y="7117"/>
                              <a:pt x="14952" y="7237"/>
                            </a:cubicBezTo>
                            <a:cubicBezTo>
                              <a:pt x="14952" y="7536"/>
                              <a:pt x="14952" y="7835"/>
                              <a:pt x="14892" y="8134"/>
                            </a:cubicBezTo>
                            <a:cubicBezTo>
                              <a:pt x="14832" y="8433"/>
                              <a:pt x="14773" y="8732"/>
                              <a:pt x="14713" y="9031"/>
                            </a:cubicBezTo>
                            <a:cubicBezTo>
                              <a:pt x="14593" y="9330"/>
                              <a:pt x="14533" y="9629"/>
                              <a:pt x="14354" y="9928"/>
                            </a:cubicBezTo>
                            <a:cubicBezTo>
                              <a:pt x="14234" y="10227"/>
                              <a:pt x="14055" y="10526"/>
                              <a:pt x="13875" y="10825"/>
                            </a:cubicBezTo>
                            <a:moveTo>
                              <a:pt x="2034" y="2990"/>
                            </a:moveTo>
                            <a:lnTo>
                              <a:pt x="3050" y="3708"/>
                            </a:lnTo>
                            <a:cubicBezTo>
                              <a:pt x="3290" y="3469"/>
                              <a:pt x="3529" y="3229"/>
                              <a:pt x="3828" y="2990"/>
                            </a:cubicBezTo>
                            <a:cubicBezTo>
                              <a:pt x="4067" y="2751"/>
                              <a:pt x="4366" y="2572"/>
                              <a:pt x="4665" y="2392"/>
                            </a:cubicBezTo>
                            <a:cubicBezTo>
                              <a:pt x="4964" y="2213"/>
                              <a:pt x="5263" y="2034"/>
                              <a:pt x="5562" y="1914"/>
                            </a:cubicBezTo>
                            <a:cubicBezTo>
                              <a:pt x="5861" y="1794"/>
                              <a:pt x="6160" y="1674"/>
                              <a:pt x="6519" y="1555"/>
                            </a:cubicBezTo>
                            <a:cubicBezTo>
                              <a:pt x="6699" y="1495"/>
                              <a:pt x="6818" y="1495"/>
                              <a:pt x="6998" y="1435"/>
                            </a:cubicBezTo>
                            <a:cubicBezTo>
                              <a:pt x="7177" y="1375"/>
                              <a:pt x="7297" y="1375"/>
                              <a:pt x="7476" y="1316"/>
                            </a:cubicBezTo>
                            <a:cubicBezTo>
                              <a:pt x="7656" y="1316"/>
                              <a:pt x="7775" y="1256"/>
                              <a:pt x="7954" y="1256"/>
                            </a:cubicBezTo>
                            <a:cubicBezTo>
                              <a:pt x="8134" y="1256"/>
                              <a:pt x="8253" y="1256"/>
                              <a:pt x="8433" y="1196"/>
                            </a:cubicBezTo>
                            <a:cubicBezTo>
                              <a:pt x="8433" y="1196"/>
                              <a:pt x="8433" y="1196"/>
                              <a:pt x="8493" y="1196"/>
                            </a:cubicBezTo>
                            <a:cubicBezTo>
                              <a:pt x="8493" y="1196"/>
                              <a:pt x="8493" y="1196"/>
                              <a:pt x="8553" y="1196"/>
                            </a:cubicBezTo>
                            <a:cubicBezTo>
                              <a:pt x="8553" y="1196"/>
                              <a:pt x="8553" y="1196"/>
                              <a:pt x="8612" y="1196"/>
                            </a:cubicBezTo>
                            <a:cubicBezTo>
                              <a:pt x="8672" y="1196"/>
                              <a:pt x="8612" y="1196"/>
                              <a:pt x="8672" y="1196"/>
                            </a:cubicBezTo>
                            <a:lnTo>
                              <a:pt x="9629" y="0"/>
                            </a:lnTo>
                            <a:cubicBezTo>
                              <a:pt x="9390" y="0"/>
                              <a:pt x="9211" y="0"/>
                              <a:pt x="8971" y="0"/>
                            </a:cubicBezTo>
                            <a:cubicBezTo>
                              <a:pt x="8732" y="0"/>
                              <a:pt x="8553" y="0"/>
                              <a:pt x="8313" y="0"/>
                            </a:cubicBezTo>
                            <a:cubicBezTo>
                              <a:pt x="8074" y="0"/>
                              <a:pt x="7895" y="60"/>
                              <a:pt x="7656" y="60"/>
                            </a:cubicBezTo>
                            <a:cubicBezTo>
                              <a:pt x="7416" y="60"/>
                              <a:pt x="7237" y="120"/>
                              <a:pt x="6998" y="179"/>
                            </a:cubicBezTo>
                            <a:cubicBezTo>
                              <a:pt x="6878" y="239"/>
                              <a:pt x="6758" y="239"/>
                              <a:pt x="6579" y="299"/>
                            </a:cubicBezTo>
                            <a:cubicBezTo>
                              <a:pt x="6399" y="359"/>
                              <a:pt x="6340" y="359"/>
                              <a:pt x="6160" y="419"/>
                            </a:cubicBezTo>
                            <a:cubicBezTo>
                              <a:pt x="5981" y="479"/>
                              <a:pt x="5921" y="479"/>
                              <a:pt x="5801" y="538"/>
                            </a:cubicBezTo>
                            <a:cubicBezTo>
                              <a:pt x="5682" y="598"/>
                              <a:pt x="5562" y="658"/>
                              <a:pt x="5443" y="718"/>
                            </a:cubicBezTo>
                            <a:cubicBezTo>
                              <a:pt x="5144" y="837"/>
                              <a:pt x="4845" y="957"/>
                              <a:pt x="4545" y="1136"/>
                            </a:cubicBezTo>
                            <a:cubicBezTo>
                              <a:pt x="4246" y="1316"/>
                              <a:pt x="4007" y="1495"/>
                              <a:pt x="3708" y="1674"/>
                            </a:cubicBezTo>
                            <a:cubicBezTo>
                              <a:pt x="3409" y="1854"/>
                              <a:pt x="3170" y="2093"/>
                              <a:pt x="2931" y="2273"/>
                            </a:cubicBezTo>
                            <a:cubicBezTo>
                              <a:pt x="2512" y="2512"/>
                              <a:pt x="2273" y="2751"/>
                              <a:pt x="2034" y="2990"/>
                            </a:cubicBezTo>
                            <a:moveTo>
                              <a:pt x="1735" y="13158"/>
                            </a:moveTo>
                            <a:lnTo>
                              <a:pt x="4545" y="15012"/>
                            </a:lnTo>
                            <a:cubicBezTo>
                              <a:pt x="5323" y="15311"/>
                              <a:pt x="6160" y="15490"/>
                              <a:pt x="7058" y="15490"/>
                            </a:cubicBezTo>
                            <a:cubicBezTo>
                              <a:pt x="7895" y="15550"/>
                              <a:pt x="8792" y="15430"/>
                              <a:pt x="9629" y="15191"/>
                            </a:cubicBezTo>
                            <a:cubicBezTo>
                              <a:pt x="10466" y="14952"/>
                              <a:pt x="11304" y="14653"/>
                              <a:pt x="12021" y="14174"/>
                            </a:cubicBezTo>
                            <a:cubicBezTo>
                              <a:pt x="12799" y="13696"/>
                              <a:pt x="13457" y="13158"/>
                              <a:pt x="14115" y="12500"/>
                            </a:cubicBezTo>
                            <a:lnTo>
                              <a:pt x="13098" y="11842"/>
                            </a:lnTo>
                            <a:cubicBezTo>
                              <a:pt x="12500" y="12500"/>
                              <a:pt x="11782" y="12978"/>
                              <a:pt x="11005" y="13397"/>
                            </a:cubicBezTo>
                            <a:cubicBezTo>
                              <a:pt x="10227" y="13756"/>
                              <a:pt x="9450" y="14055"/>
                              <a:pt x="8612" y="14174"/>
                            </a:cubicBezTo>
                            <a:cubicBezTo>
                              <a:pt x="7775" y="14294"/>
                              <a:pt x="6938" y="14294"/>
                              <a:pt x="6160" y="14114"/>
                            </a:cubicBezTo>
                            <a:cubicBezTo>
                              <a:pt x="5323" y="13935"/>
                              <a:pt x="4605" y="13636"/>
                              <a:pt x="3888" y="13158"/>
                            </a:cubicBezTo>
                            <a:cubicBezTo>
                              <a:pt x="3170" y="12679"/>
                              <a:pt x="2632" y="12141"/>
                              <a:pt x="2213" y="11483"/>
                            </a:cubicBezTo>
                            <a:cubicBezTo>
                              <a:pt x="1795" y="10825"/>
                              <a:pt x="1495" y="10107"/>
                              <a:pt x="1376" y="9330"/>
                            </a:cubicBezTo>
                            <a:cubicBezTo>
                              <a:pt x="1256" y="8552"/>
                              <a:pt x="1256" y="7775"/>
                              <a:pt x="1436" y="6997"/>
                            </a:cubicBezTo>
                            <a:cubicBezTo>
                              <a:pt x="1615" y="6220"/>
                              <a:pt x="1914" y="5442"/>
                              <a:pt x="2392" y="4725"/>
                            </a:cubicBezTo>
                            <a:lnTo>
                              <a:pt x="1376" y="4067"/>
                            </a:lnTo>
                            <a:cubicBezTo>
                              <a:pt x="897" y="4844"/>
                              <a:pt x="479" y="5622"/>
                              <a:pt x="299" y="6399"/>
                            </a:cubicBezTo>
                            <a:cubicBezTo>
                              <a:pt x="120" y="7177"/>
                              <a:pt x="0" y="8014"/>
                              <a:pt x="0" y="8851"/>
                            </a:cubicBezTo>
                            <a:cubicBezTo>
                              <a:pt x="60" y="9629"/>
                              <a:pt x="239" y="10406"/>
                              <a:pt x="538" y="11184"/>
                            </a:cubicBezTo>
                            <a:cubicBezTo>
                              <a:pt x="718" y="11842"/>
                              <a:pt x="1136" y="12559"/>
                              <a:pt x="1735" y="13158"/>
                            </a:cubicBezTo>
                          </a:path>
                        </a:pathLst>
                      </a:custGeom>
                      <a:noFill/>
                      <a:ln w="6350" cap="flat">
                        <a:solidFill>
                          <a:schemeClr val="bg1">
                            <a:alpha val="40000"/>
                          </a:schemeClr>
                        </a:solidFill>
                        <a:prstDash val="solid"/>
                        <a:miter/>
                      </a:ln>
                    </p:spPr>
                    <p:txBody>
                      <a:bodyPr rtlCol="0" anchor="ctr"/>
                      <a:lstStyle/>
                      <a:p>
                        <a:endParaRPr lang="en-GB"/>
                      </a:p>
                    </p:txBody>
                  </p:sp>
                  <p:sp>
                    <p:nvSpPr>
                      <p:cNvPr id="7476" name="Vrije vorm: vorm 7475">
                        <a:extLst>
                          <a:ext uri="{FF2B5EF4-FFF2-40B4-BE49-F238E27FC236}">
                            <a16:creationId xmlns:a16="http://schemas.microsoft.com/office/drawing/2014/main" id="{9CCD9D02-63CA-4466-A819-B6CEDC54E19D}"/>
                          </a:ext>
                        </a:extLst>
                      </p:cNvPr>
                      <p:cNvSpPr/>
                      <p:nvPr/>
                    </p:nvSpPr>
                    <p:spPr>
                      <a:xfrm>
                        <a:off x="4768688" y="5149322"/>
                        <a:ext cx="45214" cy="46111"/>
                      </a:xfrm>
                      <a:custGeom>
                        <a:avLst/>
                        <a:gdLst>
                          <a:gd name="connsiteX0" fmla="*/ 21231 w 45214"/>
                          <a:gd name="connsiteY0" fmla="*/ 7476 h 46111"/>
                          <a:gd name="connsiteX1" fmla="*/ 22248 w 45214"/>
                          <a:gd name="connsiteY1" fmla="*/ 8134 h 46111"/>
                          <a:gd name="connsiteX2" fmla="*/ 24521 w 45214"/>
                          <a:gd name="connsiteY2" fmla="*/ 5263 h 46111"/>
                          <a:gd name="connsiteX3" fmla="*/ 25298 w 45214"/>
                          <a:gd name="connsiteY3" fmla="*/ 4246 h 46111"/>
                          <a:gd name="connsiteX4" fmla="*/ 27332 w 45214"/>
                          <a:gd name="connsiteY4" fmla="*/ 1674 h 46111"/>
                          <a:gd name="connsiteX5" fmla="*/ 43420 w 45214"/>
                          <a:gd name="connsiteY5" fmla="*/ 12440 h 46111"/>
                          <a:gd name="connsiteX6" fmla="*/ 41386 w 45214"/>
                          <a:gd name="connsiteY6" fmla="*/ 15011 h 46111"/>
                          <a:gd name="connsiteX7" fmla="*/ 40609 w 45214"/>
                          <a:gd name="connsiteY7" fmla="*/ 15968 h 46111"/>
                          <a:gd name="connsiteX8" fmla="*/ 38396 w 45214"/>
                          <a:gd name="connsiteY8" fmla="*/ 18779 h 46111"/>
                          <a:gd name="connsiteX9" fmla="*/ 39413 w 45214"/>
                          <a:gd name="connsiteY9" fmla="*/ 19437 h 46111"/>
                          <a:gd name="connsiteX10" fmla="*/ 41626 w 45214"/>
                          <a:gd name="connsiteY10" fmla="*/ 16626 h 46111"/>
                          <a:gd name="connsiteX11" fmla="*/ 42403 w 45214"/>
                          <a:gd name="connsiteY11" fmla="*/ 15669 h 46111"/>
                          <a:gd name="connsiteX12" fmla="*/ 45214 w 45214"/>
                          <a:gd name="connsiteY12" fmla="*/ 12081 h 46111"/>
                          <a:gd name="connsiteX13" fmla="*/ 27152 w 45214"/>
                          <a:gd name="connsiteY13" fmla="*/ 0 h 46111"/>
                          <a:gd name="connsiteX14" fmla="*/ 24282 w 45214"/>
                          <a:gd name="connsiteY14" fmla="*/ 3588 h 46111"/>
                          <a:gd name="connsiteX15" fmla="*/ 23504 w 45214"/>
                          <a:gd name="connsiteY15" fmla="*/ 4605 h 46111"/>
                          <a:gd name="connsiteX16" fmla="*/ 21231 w 45214"/>
                          <a:gd name="connsiteY16" fmla="*/ 7476 h 46111"/>
                          <a:gd name="connsiteX17" fmla="*/ 33073 w 45214"/>
                          <a:gd name="connsiteY17" fmla="*/ 25478 h 46111"/>
                          <a:gd name="connsiteX18" fmla="*/ 34090 w 45214"/>
                          <a:gd name="connsiteY18" fmla="*/ 26136 h 46111"/>
                          <a:gd name="connsiteX19" fmla="*/ 38576 w 45214"/>
                          <a:gd name="connsiteY19" fmla="*/ 20454 h 46111"/>
                          <a:gd name="connsiteX20" fmla="*/ 37559 w 45214"/>
                          <a:gd name="connsiteY20" fmla="*/ 19796 h 46111"/>
                          <a:gd name="connsiteX21" fmla="*/ 33073 w 45214"/>
                          <a:gd name="connsiteY21" fmla="*/ 25478 h 46111"/>
                          <a:gd name="connsiteX22" fmla="*/ 15909 w 45214"/>
                          <a:gd name="connsiteY22" fmla="*/ 14234 h 46111"/>
                          <a:gd name="connsiteX23" fmla="*/ 16925 w 45214"/>
                          <a:gd name="connsiteY23" fmla="*/ 14892 h 46111"/>
                          <a:gd name="connsiteX24" fmla="*/ 21411 w 45214"/>
                          <a:gd name="connsiteY24" fmla="*/ 9210 h 46111"/>
                          <a:gd name="connsiteX25" fmla="*/ 20394 w 45214"/>
                          <a:gd name="connsiteY25" fmla="*/ 8552 h 46111"/>
                          <a:gd name="connsiteX26" fmla="*/ 15909 w 45214"/>
                          <a:gd name="connsiteY26" fmla="*/ 14234 h 46111"/>
                          <a:gd name="connsiteX27" fmla="*/ 30860 w 45214"/>
                          <a:gd name="connsiteY27" fmla="*/ 28289 h 46111"/>
                          <a:gd name="connsiteX28" fmla="*/ 31877 w 45214"/>
                          <a:gd name="connsiteY28" fmla="*/ 28946 h 46111"/>
                          <a:gd name="connsiteX29" fmla="*/ 33253 w 45214"/>
                          <a:gd name="connsiteY29" fmla="*/ 27152 h 46111"/>
                          <a:gd name="connsiteX30" fmla="*/ 32236 w 45214"/>
                          <a:gd name="connsiteY30" fmla="*/ 26495 h 46111"/>
                          <a:gd name="connsiteX31" fmla="*/ 30860 w 45214"/>
                          <a:gd name="connsiteY31" fmla="*/ 28289 h 46111"/>
                          <a:gd name="connsiteX32" fmla="*/ 13696 w 45214"/>
                          <a:gd name="connsiteY32" fmla="*/ 17045 h 46111"/>
                          <a:gd name="connsiteX33" fmla="*/ 14712 w 45214"/>
                          <a:gd name="connsiteY33" fmla="*/ 17703 h 46111"/>
                          <a:gd name="connsiteX34" fmla="*/ 16148 w 45214"/>
                          <a:gd name="connsiteY34" fmla="*/ 15909 h 46111"/>
                          <a:gd name="connsiteX35" fmla="*/ 15131 w 45214"/>
                          <a:gd name="connsiteY35" fmla="*/ 15251 h 46111"/>
                          <a:gd name="connsiteX36" fmla="*/ 13696 w 45214"/>
                          <a:gd name="connsiteY36" fmla="*/ 17045 h 46111"/>
                          <a:gd name="connsiteX37" fmla="*/ 28887 w 45214"/>
                          <a:gd name="connsiteY37" fmla="*/ 30860 h 46111"/>
                          <a:gd name="connsiteX38" fmla="*/ 29904 w 45214"/>
                          <a:gd name="connsiteY38" fmla="*/ 31518 h 46111"/>
                          <a:gd name="connsiteX39" fmla="*/ 31100 w 45214"/>
                          <a:gd name="connsiteY39" fmla="*/ 29963 h 46111"/>
                          <a:gd name="connsiteX40" fmla="*/ 30083 w 45214"/>
                          <a:gd name="connsiteY40" fmla="*/ 29305 h 46111"/>
                          <a:gd name="connsiteX41" fmla="*/ 28887 w 45214"/>
                          <a:gd name="connsiteY41" fmla="*/ 30860 h 46111"/>
                          <a:gd name="connsiteX42" fmla="*/ 11603 w 45214"/>
                          <a:gd name="connsiteY42" fmla="*/ 19617 h 46111"/>
                          <a:gd name="connsiteX43" fmla="*/ 12619 w 45214"/>
                          <a:gd name="connsiteY43" fmla="*/ 20274 h 46111"/>
                          <a:gd name="connsiteX44" fmla="*/ 13875 w 45214"/>
                          <a:gd name="connsiteY44" fmla="*/ 18719 h 46111"/>
                          <a:gd name="connsiteX45" fmla="*/ 12858 w 45214"/>
                          <a:gd name="connsiteY45" fmla="*/ 18062 h 46111"/>
                          <a:gd name="connsiteX46" fmla="*/ 11603 w 45214"/>
                          <a:gd name="connsiteY46" fmla="*/ 19617 h 46111"/>
                          <a:gd name="connsiteX47" fmla="*/ 0 w 45214"/>
                          <a:gd name="connsiteY47" fmla="*/ 34329 h 46111"/>
                          <a:gd name="connsiteX48" fmla="*/ 18301 w 45214"/>
                          <a:gd name="connsiteY48" fmla="*/ 46111 h 46111"/>
                          <a:gd name="connsiteX49" fmla="*/ 25597 w 45214"/>
                          <a:gd name="connsiteY49" fmla="*/ 36841 h 46111"/>
                          <a:gd name="connsiteX50" fmla="*/ 26375 w 45214"/>
                          <a:gd name="connsiteY50" fmla="*/ 35824 h 46111"/>
                          <a:gd name="connsiteX51" fmla="*/ 28946 w 45214"/>
                          <a:gd name="connsiteY51" fmla="*/ 32535 h 46111"/>
                          <a:gd name="connsiteX52" fmla="*/ 27930 w 45214"/>
                          <a:gd name="connsiteY52" fmla="*/ 31877 h 46111"/>
                          <a:gd name="connsiteX53" fmla="*/ 25358 w 45214"/>
                          <a:gd name="connsiteY53" fmla="*/ 35166 h 46111"/>
                          <a:gd name="connsiteX54" fmla="*/ 24581 w 45214"/>
                          <a:gd name="connsiteY54" fmla="*/ 36183 h 46111"/>
                          <a:gd name="connsiteX55" fmla="*/ 18062 w 45214"/>
                          <a:gd name="connsiteY55" fmla="*/ 44497 h 46111"/>
                          <a:gd name="connsiteX56" fmla="*/ 1734 w 45214"/>
                          <a:gd name="connsiteY56" fmla="*/ 34030 h 46111"/>
                          <a:gd name="connsiteX57" fmla="*/ 8313 w 45214"/>
                          <a:gd name="connsiteY57" fmla="*/ 25657 h 46111"/>
                          <a:gd name="connsiteX58" fmla="*/ 9150 w 45214"/>
                          <a:gd name="connsiteY58" fmla="*/ 24641 h 46111"/>
                          <a:gd name="connsiteX59" fmla="*/ 11782 w 45214"/>
                          <a:gd name="connsiteY59" fmla="*/ 21351 h 46111"/>
                          <a:gd name="connsiteX60" fmla="*/ 10765 w 45214"/>
                          <a:gd name="connsiteY60" fmla="*/ 20693 h 46111"/>
                          <a:gd name="connsiteX61" fmla="*/ 8134 w 45214"/>
                          <a:gd name="connsiteY61" fmla="*/ 23982 h 46111"/>
                          <a:gd name="connsiteX62" fmla="*/ 7296 w 45214"/>
                          <a:gd name="connsiteY62" fmla="*/ 24999 h 46111"/>
                          <a:gd name="connsiteX63" fmla="*/ 0 w 45214"/>
                          <a:gd name="connsiteY63" fmla="*/ 34329 h 46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5214" h="46111">
                            <a:moveTo>
                              <a:pt x="21231" y="7476"/>
                            </a:moveTo>
                            <a:lnTo>
                              <a:pt x="22248" y="8134"/>
                            </a:lnTo>
                            <a:lnTo>
                              <a:pt x="24521" y="5263"/>
                            </a:lnTo>
                            <a:lnTo>
                              <a:pt x="25298" y="4246"/>
                            </a:lnTo>
                            <a:lnTo>
                              <a:pt x="27332" y="1674"/>
                            </a:lnTo>
                            <a:lnTo>
                              <a:pt x="43420" y="12440"/>
                            </a:lnTo>
                            <a:lnTo>
                              <a:pt x="41386" y="15011"/>
                            </a:lnTo>
                            <a:lnTo>
                              <a:pt x="40609" y="15968"/>
                            </a:lnTo>
                            <a:lnTo>
                              <a:pt x="38396" y="18779"/>
                            </a:lnTo>
                            <a:lnTo>
                              <a:pt x="39413" y="19437"/>
                            </a:lnTo>
                            <a:lnTo>
                              <a:pt x="41626" y="16626"/>
                            </a:lnTo>
                            <a:lnTo>
                              <a:pt x="42403" y="15669"/>
                            </a:lnTo>
                            <a:lnTo>
                              <a:pt x="45214" y="12081"/>
                            </a:lnTo>
                            <a:lnTo>
                              <a:pt x="27152" y="0"/>
                            </a:lnTo>
                            <a:lnTo>
                              <a:pt x="24282" y="3588"/>
                            </a:lnTo>
                            <a:lnTo>
                              <a:pt x="23504" y="4605"/>
                            </a:lnTo>
                            <a:lnTo>
                              <a:pt x="21231" y="7476"/>
                            </a:lnTo>
                            <a:moveTo>
                              <a:pt x="33073" y="25478"/>
                            </a:moveTo>
                            <a:lnTo>
                              <a:pt x="34090" y="26136"/>
                            </a:lnTo>
                            <a:lnTo>
                              <a:pt x="38576" y="20454"/>
                            </a:lnTo>
                            <a:lnTo>
                              <a:pt x="37559" y="19796"/>
                            </a:lnTo>
                            <a:lnTo>
                              <a:pt x="33073" y="25478"/>
                            </a:lnTo>
                            <a:moveTo>
                              <a:pt x="15909" y="14234"/>
                            </a:moveTo>
                            <a:lnTo>
                              <a:pt x="16925" y="14892"/>
                            </a:lnTo>
                            <a:lnTo>
                              <a:pt x="21411" y="9210"/>
                            </a:lnTo>
                            <a:lnTo>
                              <a:pt x="20394" y="8552"/>
                            </a:lnTo>
                            <a:lnTo>
                              <a:pt x="15909" y="14234"/>
                            </a:lnTo>
                            <a:moveTo>
                              <a:pt x="30860" y="28289"/>
                            </a:moveTo>
                            <a:lnTo>
                              <a:pt x="31877" y="28946"/>
                            </a:lnTo>
                            <a:lnTo>
                              <a:pt x="33253" y="27152"/>
                            </a:lnTo>
                            <a:lnTo>
                              <a:pt x="32236" y="26495"/>
                            </a:lnTo>
                            <a:lnTo>
                              <a:pt x="30860" y="28289"/>
                            </a:lnTo>
                            <a:moveTo>
                              <a:pt x="13696" y="17045"/>
                            </a:moveTo>
                            <a:lnTo>
                              <a:pt x="14712" y="17703"/>
                            </a:lnTo>
                            <a:lnTo>
                              <a:pt x="16148" y="15909"/>
                            </a:lnTo>
                            <a:lnTo>
                              <a:pt x="15131" y="15251"/>
                            </a:lnTo>
                            <a:lnTo>
                              <a:pt x="13696" y="17045"/>
                            </a:lnTo>
                            <a:moveTo>
                              <a:pt x="28887" y="30860"/>
                            </a:moveTo>
                            <a:lnTo>
                              <a:pt x="29904" y="31518"/>
                            </a:lnTo>
                            <a:lnTo>
                              <a:pt x="31100" y="29963"/>
                            </a:lnTo>
                            <a:lnTo>
                              <a:pt x="30083" y="29305"/>
                            </a:lnTo>
                            <a:lnTo>
                              <a:pt x="28887" y="30860"/>
                            </a:lnTo>
                            <a:moveTo>
                              <a:pt x="11603" y="19617"/>
                            </a:moveTo>
                            <a:lnTo>
                              <a:pt x="12619" y="20274"/>
                            </a:lnTo>
                            <a:lnTo>
                              <a:pt x="13875" y="18719"/>
                            </a:lnTo>
                            <a:lnTo>
                              <a:pt x="12858" y="18062"/>
                            </a:lnTo>
                            <a:lnTo>
                              <a:pt x="11603" y="19617"/>
                            </a:lnTo>
                            <a:moveTo>
                              <a:pt x="0" y="34329"/>
                            </a:moveTo>
                            <a:lnTo>
                              <a:pt x="18301" y="46111"/>
                            </a:lnTo>
                            <a:lnTo>
                              <a:pt x="25597" y="36841"/>
                            </a:lnTo>
                            <a:lnTo>
                              <a:pt x="26375" y="35824"/>
                            </a:lnTo>
                            <a:lnTo>
                              <a:pt x="28946" y="32535"/>
                            </a:lnTo>
                            <a:lnTo>
                              <a:pt x="27930" y="31877"/>
                            </a:lnTo>
                            <a:lnTo>
                              <a:pt x="25358" y="35166"/>
                            </a:lnTo>
                            <a:lnTo>
                              <a:pt x="24581" y="36183"/>
                            </a:lnTo>
                            <a:lnTo>
                              <a:pt x="18062" y="44497"/>
                            </a:lnTo>
                            <a:lnTo>
                              <a:pt x="1734" y="34030"/>
                            </a:lnTo>
                            <a:lnTo>
                              <a:pt x="8313" y="25657"/>
                            </a:lnTo>
                            <a:lnTo>
                              <a:pt x="9150" y="24641"/>
                            </a:lnTo>
                            <a:lnTo>
                              <a:pt x="11782" y="21351"/>
                            </a:lnTo>
                            <a:lnTo>
                              <a:pt x="10765" y="20693"/>
                            </a:lnTo>
                            <a:lnTo>
                              <a:pt x="8134" y="23982"/>
                            </a:lnTo>
                            <a:lnTo>
                              <a:pt x="7296" y="24999"/>
                            </a:lnTo>
                            <a:lnTo>
                              <a:pt x="0" y="34329"/>
                            </a:lnTo>
                          </a:path>
                        </a:pathLst>
                      </a:custGeom>
                      <a:noFill/>
                      <a:ln w="6350" cap="flat">
                        <a:solidFill>
                          <a:schemeClr val="bg1">
                            <a:alpha val="40000"/>
                          </a:schemeClr>
                        </a:solidFill>
                        <a:prstDash val="solid"/>
                        <a:miter/>
                      </a:ln>
                    </p:spPr>
                    <p:txBody>
                      <a:bodyPr rtlCol="0" anchor="ctr"/>
                      <a:lstStyle/>
                      <a:p>
                        <a:endParaRPr lang="en-GB"/>
                      </a:p>
                    </p:txBody>
                  </p:sp>
                  <p:sp>
                    <p:nvSpPr>
                      <p:cNvPr id="7477" name="Vrije vorm: vorm 7476">
                        <a:extLst>
                          <a:ext uri="{FF2B5EF4-FFF2-40B4-BE49-F238E27FC236}">
                            <a16:creationId xmlns:a16="http://schemas.microsoft.com/office/drawing/2014/main" id="{D2C725E0-4224-45A3-A3CC-FC383102E5BA}"/>
                          </a:ext>
                        </a:extLst>
                      </p:cNvPr>
                      <p:cNvSpPr/>
                      <p:nvPr/>
                    </p:nvSpPr>
                    <p:spPr>
                      <a:xfrm>
                        <a:off x="4992487" y="4951539"/>
                        <a:ext cx="80560" cy="137376"/>
                      </a:xfrm>
                      <a:custGeom>
                        <a:avLst/>
                        <a:gdLst>
                          <a:gd name="connsiteX0" fmla="*/ 79364 w 80560"/>
                          <a:gd name="connsiteY0" fmla="*/ 12440 h 137376"/>
                          <a:gd name="connsiteX1" fmla="*/ 79364 w 80560"/>
                          <a:gd name="connsiteY1" fmla="*/ 12440 h 137376"/>
                          <a:gd name="connsiteX2" fmla="*/ 79424 w 80560"/>
                          <a:gd name="connsiteY2" fmla="*/ 12500 h 137376"/>
                          <a:gd name="connsiteX3" fmla="*/ 79484 w 80560"/>
                          <a:gd name="connsiteY3" fmla="*/ 12500 h 137376"/>
                          <a:gd name="connsiteX4" fmla="*/ 79544 w 80560"/>
                          <a:gd name="connsiteY4" fmla="*/ 12500 h 137376"/>
                          <a:gd name="connsiteX5" fmla="*/ 80321 w 80560"/>
                          <a:gd name="connsiteY5" fmla="*/ 10765 h 137376"/>
                          <a:gd name="connsiteX6" fmla="*/ 80561 w 80560"/>
                          <a:gd name="connsiteY6" fmla="*/ 10167 h 137376"/>
                          <a:gd name="connsiteX7" fmla="*/ 78946 w 80560"/>
                          <a:gd name="connsiteY7" fmla="*/ 9509 h 137376"/>
                          <a:gd name="connsiteX8" fmla="*/ 78946 w 80560"/>
                          <a:gd name="connsiteY8" fmla="*/ 9569 h 137376"/>
                          <a:gd name="connsiteX9" fmla="*/ 78946 w 80560"/>
                          <a:gd name="connsiteY9" fmla="*/ 9629 h 137376"/>
                          <a:gd name="connsiteX10" fmla="*/ 78946 w 80560"/>
                          <a:gd name="connsiteY10" fmla="*/ 9689 h 137376"/>
                          <a:gd name="connsiteX11" fmla="*/ 78946 w 80560"/>
                          <a:gd name="connsiteY11" fmla="*/ 9749 h 137376"/>
                          <a:gd name="connsiteX12" fmla="*/ 78886 w 80560"/>
                          <a:gd name="connsiteY12" fmla="*/ 9988 h 137376"/>
                          <a:gd name="connsiteX13" fmla="*/ 78826 w 80560"/>
                          <a:gd name="connsiteY13" fmla="*/ 10227 h 137376"/>
                          <a:gd name="connsiteX14" fmla="*/ 78826 w 80560"/>
                          <a:gd name="connsiteY14" fmla="*/ 10466 h 137376"/>
                          <a:gd name="connsiteX15" fmla="*/ 78826 w 80560"/>
                          <a:gd name="connsiteY15" fmla="*/ 10705 h 137376"/>
                          <a:gd name="connsiteX16" fmla="*/ 79185 w 80560"/>
                          <a:gd name="connsiteY16" fmla="*/ 10825 h 137376"/>
                          <a:gd name="connsiteX17" fmla="*/ 78946 w 80560"/>
                          <a:gd name="connsiteY17" fmla="*/ 11363 h 137376"/>
                          <a:gd name="connsiteX18" fmla="*/ 78946 w 80560"/>
                          <a:gd name="connsiteY18" fmla="*/ 11423 h 137376"/>
                          <a:gd name="connsiteX19" fmla="*/ 78946 w 80560"/>
                          <a:gd name="connsiteY19" fmla="*/ 11483 h 137376"/>
                          <a:gd name="connsiteX20" fmla="*/ 78946 w 80560"/>
                          <a:gd name="connsiteY20" fmla="*/ 11543 h 137376"/>
                          <a:gd name="connsiteX21" fmla="*/ 78946 w 80560"/>
                          <a:gd name="connsiteY21" fmla="*/ 11603 h 137376"/>
                          <a:gd name="connsiteX22" fmla="*/ 79065 w 80560"/>
                          <a:gd name="connsiteY22" fmla="*/ 11782 h 137376"/>
                          <a:gd name="connsiteX23" fmla="*/ 79185 w 80560"/>
                          <a:gd name="connsiteY23" fmla="*/ 11961 h 137376"/>
                          <a:gd name="connsiteX24" fmla="*/ 79304 w 80560"/>
                          <a:gd name="connsiteY24" fmla="*/ 12141 h 137376"/>
                          <a:gd name="connsiteX25" fmla="*/ 79364 w 80560"/>
                          <a:gd name="connsiteY25" fmla="*/ 12440 h 137376"/>
                          <a:gd name="connsiteX26" fmla="*/ 76434 w 80560"/>
                          <a:gd name="connsiteY26" fmla="*/ 9928 h 137376"/>
                          <a:gd name="connsiteX27" fmla="*/ 77570 w 80560"/>
                          <a:gd name="connsiteY27" fmla="*/ 10406 h 137376"/>
                          <a:gd name="connsiteX28" fmla="*/ 77630 w 80560"/>
                          <a:gd name="connsiteY28" fmla="*/ 10167 h 137376"/>
                          <a:gd name="connsiteX29" fmla="*/ 77690 w 80560"/>
                          <a:gd name="connsiteY29" fmla="*/ 9928 h 137376"/>
                          <a:gd name="connsiteX30" fmla="*/ 77749 w 80560"/>
                          <a:gd name="connsiteY30" fmla="*/ 9689 h 137376"/>
                          <a:gd name="connsiteX31" fmla="*/ 77809 w 80560"/>
                          <a:gd name="connsiteY31" fmla="*/ 9449 h 137376"/>
                          <a:gd name="connsiteX32" fmla="*/ 77869 w 80560"/>
                          <a:gd name="connsiteY32" fmla="*/ 9390 h 137376"/>
                          <a:gd name="connsiteX33" fmla="*/ 77929 w 80560"/>
                          <a:gd name="connsiteY33" fmla="*/ 9330 h 137376"/>
                          <a:gd name="connsiteX34" fmla="*/ 77988 w 80560"/>
                          <a:gd name="connsiteY34" fmla="*/ 9270 h 137376"/>
                          <a:gd name="connsiteX35" fmla="*/ 78048 w 80560"/>
                          <a:gd name="connsiteY35" fmla="*/ 9210 h 137376"/>
                          <a:gd name="connsiteX36" fmla="*/ 77032 w 80560"/>
                          <a:gd name="connsiteY36" fmla="*/ 8791 h 137376"/>
                          <a:gd name="connsiteX37" fmla="*/ 76972 w 80560"/>
                          <a:gd name="connsiteY37" fmla="*/ 8911 h 137376"/>
                          <a:gd name="connsiteX38" fmla="*/ 76912 w 80560"/>
                          <a:gd name="connsiteY38" fmla="*/ 9031 h 137376"/>
                          <a:gd name="connsiteX39" fmla="*/ 76852 w 80560"/>
                          <a:gd name="connsiteY39" fmla="*/ 9150 h 137376"/>
                          <a:gd name="connsiteX40" fmla="*/ 76793 w 80560"/>
                          <a:gd name="connsiteY40" fmla="*/ 9270 h 137376"/>
                          <a:gd name="connsiteX41" fmla="*/ 76733 w 80560"/>
                          <a:gd name="connsiteY41" fmla="*/ 9449 h 137376"/>
                          <a:gd name="connsiteX42" fmla="*/ 76673 w 80560"/>
                          <a:gd name="connsiteY42" fmla="*/ 9629 h 137376"/>
                          <a:gd name="connsiteX43" fmla="*/ 76613 w 80560"/>
                          <a:gd name="connsiteY43" fmla="*/ 9808 h 137376"/>
                          <a:gd name="connsiteX44" fmla="*/ 76434 w 80560"/>
                          <a:gd name="connsiteY44" fmla="*/ 9928 h 137376"/>
                          <a:gd name="connsiteX45" fmla="*/ 73384 w 80560"/>
                          <a:gd name="connsiteY45" fmla="*/ 8672 h 137376"/>
                          <a:gd name="connsiteX46" fmla="*/ 75178 w 80560"/>
                          <a:gd name="connsiteY46" fmla="*/ 9390 h 137376"/>
                          <a:gd name="connsiteX47" fmla="*/ 75238 w 80560"/>
                          <a:gd name="connsiteY47" fmla="*/ 9270 h 137376"/>
                          <a:gd name="connsiteX48" fmla="*/ 75297 w 80560"/>
                          <a:gd name="connsiteY48" fmla="*/ 9150 h 137376"/>
                          <a:gd name="connsiteX49" fmla="*/ 75357 w 80560"/>
                          <a:gd name="connsiteY49" fmla="*/ 8971 h 137376"/>
                          <a:gd name="connsiteX50" fmla="*/ 75417 w 80560"/>
                          <a:gd name="connsiteY50" fmla="*/ 8791 h 137376"/>
                          <a:gd name="connsiteX51" fmla="*/ 75477 w 80560"/>
                          <a:gd name="connsiteY51" fmla="*/ 8612 h 137376"/>
                          <a:gd name="connsiteX52" fmla="*/ 75537 w 80560"/>
                          <a:gd name="connsiteY52" fmla="*/ 8433 h 137376"/>
                          <a:gd name="connsiteX53" fmla="*/ 75596 w 80560"/>
                          <a:gd name="connsiteY53" fmla="*/ 8253 h 137376"/>
                          <a:gd name="connsiteX54" fmla="*/ 75656 w 80560"/>
                          <a:gd name="connsiteY54" fmla="*/ 8074 h 137376"/>
                          <a:gd name="connsiteX55" fmla="*/ 73742 w 80560"/>
                          <a:gd name="connsiteY55" fmla="*/ 7296 h 137376"/>
                          <a:gd name="connsiteX56" fmla="*/ 73742 w 80560"/>
                          <a:gd name="connsiteY56" fmla="*/ 7296 h 137376"/>
                          <a:gd name="connsiteX57" fmla="*/ 73742 w 80560"/>
                          <a:gd name="connsiteY57" fmla="*/ 7296 h 137376"/>
                          <a:gd name="connsiteX58" fmla="*/ 73742 w 80560"/>
                          <a:gd name="connsiteY58" fmla="*/ 7296 h 137376"/>
                          <a:gd name="connsiteX59" fmla="*/ 73742 w 80560"/>
                          <a:gd name="connsiteY59" fmla="*/ 7296 h 137376"/>
                          <a:gd name="connsiteX60" fmla="*/ 73922 w 80560"/>
                          <a:gd name="connsiteY60" fmla="*/ 7356 h 137376"/>
                          <a:gd name="connsiteX61" fmla="*/ 73683 w 80560"/>
                          <a:gd name="connsiteY61" fmla="*/ 7954 h 137376"/>
                          <a:gd name="connsiteX62" fmla="*/ 73384 w 80560"/>
                          <a:gd name="connsiteY62" fmla="*/ 8672 h 137376"/>
                          <a:gd name="connsiteX63" fmla="*/ 67223 w 80560"/>
                          <a:gd name="connsiteY63" fmla="*/ 6220 h 137376"/>
                          <a:gd name="connsiteX64" fmla="*/ 72068 w 80560"/>
                          <a:gd name="connsiteY64" fmla="*/ 8194 h 137376"/>
                          <a:gd name="connsiteX65" fmla="*/ 72068 w 80560"/>
                          <a:gd name="connsiteY65" fmla="*/ 8194 h 137376"/>
                          <a:gd name="connsiteX66" fmla="*/ 72068 w 80560"/>
                          <a:gd name="connsiteY66" fmla="*/ 8194 h 137376"/>
                          <a:gd name="connsiteX67" fmla="*/ 72068 w 80560"/>
                          <a:gd name="connsiteY67" fmla="*/ 8194 h 137376"/>
                          <a:gd name="connsiteX68" fmla="*/ 72068 w 80560"/>
                          <a:gd name="connsiteY68" fmla="*/ 8194 h 137376"/>
                          <a:gd name="connsiteX69" fmla="*/ 67223 w 80560"/>
                          <a:gd name="connsiteY69" fmla="*/ 6220 h 137376"/>
                          <a:gd name="connsiteX70" fmla="*/ 62857 w 80560"/>
                          <a:gd name="connsiteY70" fmla="*/ 4426 h 137376"/>
                          <a:gd name="connsiteX71" fmla="*/ 63754 w 80560"/>
                          <a:gd name="connsiteY71" fmla="*/ 4785 h 137376"/>
                          <a:gd name="connsiteX72" fmla="*/ 64233 w 80560"/>
                          <a:gd name="connsiteY72" fmla="*/ 3648 h 137376"/>
                          <a:gd name="connsiteX73" fmla="*/ 72367 w 80560"/>
                          <a:gd name="connsiteY73" fmla="*/ 6937 h 137376"/>
                          <a:gd name="connsiteX74" fmla="*/ 72367 w 80560"/>
                          <a:gd name="connsiteY74" fmla="*/ 6937 h 137376"/>
                          <a:gd name="connsiteX75" fmla="*/ 72367 w 80560"/>
                          <a:gd name="connsiteY75" fmla="*/ 6937 h 137376"/>
                          <a:gd name="connsiteX76" fmla="*/ 72367 w 80560"/>
                          <a:gd name="connsiteY76" fmla="*/ 6937 h 137376"/>
                          <a:gd name="connsiteX77" fmla="*/ 72367 w 80560"/>
                          <a:gd name="connsiteY77" fmla="*/ 6937 h 137376"/>
                          <a:gd name="connsiteX78" fmla="*/ 63515 w 80560"/>
                          <a:gd name="connsiteY78" fmla="*/ 3349 h 137376"/>
                          <a:gd name="connsiteX79" fmla="*/ 63336 w 80560"/>
                          <a:gd name="connsiteY79" fmla="*/ 3588 h 137376"/>
                          <a:gd name="connsiteX80" fmla="*/ 63156 w 80560"/>
                          <a:gd name="connsiteY80" fmla="*/ 3827 h 137376"/>
                          <a:gd name="connsiteX81" fmla="*/ 62977 w 80560"/>
                          <a:gd name="connsiteY81" fmla="*/ 4127 h 137376"/>
                          <a:gd name="connsiteX82" fmla="*/ 62857 w 80560"/>
                          <a:gd name="connsiteY82" fmla="*/ 4426 h 137376"/>
                          <a:gd name="connsiteX83" fmla="*/ 59747 w 80560"/>
                          <a:gd name="connsiteY83" fmla="*/ 3170 h 137376"/>
                          <a:gd name="connsiteX84" fmla="*/ 61601 w 80560"/>
                          <a:gd name="connsiteY84" fmla="*/ 3947 h 137376"/>
                          <a:gd name="connsiteX85" fmla="*/ 61721 w 80560"/>
                          <a:gd name="connsiteY85" fmla="*/ 3648 h 137376"/>
                          <a:gd name="connsiteX86" fmla="*/ 61841 w 80560"/>
                          <a:gd name="connsiteY86" fmla="*/ 3349 h 137376"/>
                          <a:gd name="connsiteX87" fmla="*/ 62020 w 80560"/>
                          <a:gd name="connsiteY87" fmla="*/ 3050 h 137376"/>
                          <a:gd name="connsiteX88" fmla="*/ 62200 w 80560"/>
                          <a:gd name="connsiteY88" fmla="*/ 2811 h 137376"/>
                          <a:gd name="connsiteX89" fmla="*/ 60286 w 80560"/>
                          <a:gd name="connsiteY89" fmla="*/ 2033 h 137376"/>
                          <a:gd name="connsiteX90" fmla="*/ 60106 w 80560"/>
                          <a:gd name="connsiteY90" fmla="*/ 2332 h 137376"/>
                          <a:gd name="connsiteX91" fmla="*/ 59987 w 80560"/>
                          <a:gd name="connsiteY91" fmla="*/ 2632 h 137376"/>
                          <a:gd name="connsiteX92" fmla="*/ 59867 w 80560"/>
                          <a:gd name="connsiteY92" fmla="*/ 2930 h 137376"/>
                          <a:gd name="connsiteX93" fmla="*/ 59747 w 80560"/>
                          <a:gd name="connsiteY93" fmla="*/ 3170 h 137376"/>
                          <a:gd name="connsiteX94" fmla="*/ 76793 w 80560"/>
                          <a:gd name="connsiteY94" fmla="*/ 18899 h 137376"/>
                          <a:gd name="connsiteX95" fmla="*/ 79005 w 80560"/>
                          <a:gd name="connsiteY95" fmla="*/ 13696 h 137376"/>
                          <a:gd name="connsiteX96" fmla="*/ 78886 w 80560"/>
                          <a:gd name="connsiteY96" fmla="*/ 13636 h 137376"/>
                          <a:gd name="connsiteX97" fmla="*/ 78766 w 80560"/>
                          <a:gd name="connsiteY97" fmla="*/ 13576 h 137376"/>
                          <a:gd name="connsiteX98" fmla="*/ 78647 w 80560"/>
                          <a:gd name="connsiteY98" fmla="*/ 13516 h 137376"/>
                          <a:gd name="connsiteX99" fmla="*/ 78527 w 80560"/>
                          <a:gd name="connsiteY99" fmla="*/ 13457 h 137376"/>
                          <a:gd name="connsiteX100" fmla="*/ 78407 w 80560"/>
                          <a:gd name="connsiteY100" fmla="*/ 13337 h 137376"/>
                          <a:gd name="connsiteX101" fmla="*/ 78288 w 80560"/>
                          <a:gd name="connsiteY101" fmla="*/ 13217 h 137376"/>
                          <a:gd name="connsiteX102" fmla="*/ 78168 w 80560"/>
                          <a:gd name="connsiteY102" fmla="*/ 13098 h 137376"/>
                          <a:gd name="connsiteX103" fmla="*/ 78048 w 80560"/>
                          <a:gd name="connsiteY103" fmla="*/ 12978 h 137376"/>
                          <a:gd name="connsiteX104" fmla="*/ 76075 w 80560"/>
                          <a:gd name="connsiteY104" fmla="*/ 17523 h 137376"/>
                          <a:gd name="connsiteX105" fmla="*/ 76134 w 80560"/>
                          <a:gd name="connsiteY105" fmla="*/ 17643 h 137376"/>
                          <a:gd name="connsiteX106" fmla="*/ 76194 w 80560"/>
                          <a:gd name="connsiteY106" fmla="*/ 17763 h 137376"/>
                          <a:gd name="connsiteX107" fmla="*/ 76254 w 80560"/>
                          <a:gd name="connsiteY107" fmla="*/ 17882 h 137376"/>
                          <a:gd name="connsiteX108" fmla="*/ 76314 w 80560"/>
                          <a:gd name="connsiteY108" fmla="*/ 18062 h 137376"/>
                          <a:gd name="connsiteX109" fmla="*/ 76374 w 80560"/>
                          <a:gd name="connsiteY109" fmla="*/ 18241 h 137376"/>
                          <a:gd name="connsiteX110" fmla="*/ 76434 w 80560"/>
                          <a:gd name="connsiteY110" fmla="*/ 18480 h 137376"/>
                          <a:gd name="connsiteX111" fmla="*/ 76493 w 80560"/>
                          <a:gd name="connsiteY111" fmla="*/ 18720 h 137376"/>
                          <a:gd name="connsiteX112" fmla="*/ 76793 w 80560"/>
                          <a:gd name="connsiteY112" fmla="*/ 18899 h 137376"/>
                          <a:gd name="connsiteX113" fmla="*/ 57295 w 80560"/>
                          <a:gd name="connsiteY113" fmla="*/ 2213 h 137376"/>
                          <a:gd name="connsiteX114" fmla="*/ 58492 w 80560"/>
                          <a:gd name="connsiteY114" fmla="*/ 2691 h 137376"/>
                          <a:gd name="connsiteX115" fmla="*/ 58611 w 80560"/>
                          <a:gd name="connsiteY115" fmla="*/ 2392 h 137376"/>
                          <a:gd name="connsiteX116" fmla="*/ 58731 w 80560"/>
                          <a:gd name="connsiteY116" fmla="*/ 2093 h 137376"/>
                          <a:gd name="connsiteX117" fmla="*/ 58850 w 80560"/>
                          <a:gd name="connsiteY117" fmla="*/ 1794 h 137376"/>
                          <a:gd name="connsiteX118" fmla="*/ 58970 w 80560"/>
                          <a:gd name="connsiteY118" fmla="*/ 1495 h 137376"/>
                          <a:gd name="connsiteX119" fmla="*/ 56996 w 80560"/>
                          <a:gd name="connsiteY119" fmla="*/ 718 h 137376"/>
                          <a:gd name="connsiteX120" fmla="*/ 57116 w 80560"/>
                          <a:gd name="connsiteY120" fmla="*/ 1076 h 137376"/>
                          <a:gd name="connsiteX121" fmla="*/ 57176 w 80560"/>
                          <a:gd name="connsiteY121" fmla="*/ 1435 h 137376"/>
                          <a:gd name="connsiteX122" fmla="*/ 57236 w 80560"/>
                          <a:gd name="connsiteY122" fmla="*/ 1794 h 137376"/>
                          <a:gd name="connsiteX123" fmla="*/ 57295 w 80560"/>
                          <a:gd name="connsiteY123" fmla="*/ 2213 h 137376"/>
                          <a:gd name="connsiteX124" fmla="*/ 74221 w 80560"/>
                          <a:gd name="connsiteY124" fmla="*/ 22128 h 137376"/>
                          <a:gd name="connsiteX125" fmla="*/ 74221 w 80560"/>
                          <a:gd name="connsiteY125" fmla="*/ 22128 h 137376"/>
                          <a:gd name="connsiteX126" fmla="*/ 74221 w 80560"/>
                          <a:gd name="connsiteY126" fmla="*/ 22128 h 137376"/>
                          <a:gd name="connsiteX127" fmla="*/ 74280 w 80560"/>
                          <a:gd name="connsiteY127" fmla="*/ 22069 h 137376"/>
                          <a:gd name="connsiteX128" fmla="*/ 74280 w 80560"/>
                          <a:gd name="connsiteY128" fmla="*/ 22069 h 137376"/>
                          <a:gd name="connsiteX129" fmla="*/ 74998 w 80560"/>
                          <a:gd name="connsiteY129" fmla="*/ 21471 h 137376"/>
                          <a:gd name="connsiteX130" fmla="*/ 75477 w 80560"/>
                          <a:gd name="connsiteY130" fmla="*/ 20693 h 137376"/>
                          <a:gd name="connsiteX131" fmla="*/ 75656 w 80560"/>
                          <a:gd name="connsiteY131" fmla="*/ 19796 h 137376"/>
                          <a:gd name="connsiteX132" fmla="*/ 75537 w 80560"/>
                          <a:gd name="connsiteY132" fmla="*/ 18899 h 137376"/>
                          <a:gd name="connsiteX133" fmla="*/ 74221 w 80560"/>
                          <a:gd name="connsiteY133" fmla="*/ 22128 h 137376"/>
                          <a:gd name="connsiteX134" fmla="*/ 52750 w 80560"/>
                          <a:gd name="connsiteY134" fmla="*/ 4785 h 137376"/>
                          <a:gd name="connsiteX135" fmla="*/ 52870 w 80560"/>
                          <a:gd name="connsiteY135" fmla="*/ 4844 h 137376"/>
                          <a:gd name="connsiteX136" fmla="*/ 53109 w 80560"/>
                          <a:gd name="connsiteY136" fmla="*/ 4904 h 137376"/>
                          <a:gd name="connsiteX137" fmla="*/ 53348 w 80560"/>
                          <a:gd name="connsiteY137" fmla="*/ 4964 h 137376"/>
                          <a:gd name="connsiteX138" fmla="*/ 53587 w 80560"/>
                          <a:gd name="connsiteY138" fmla="*/ 4964 h 137376"/>
                          <a:gd name="connsiteX139" fmla="*/ 53827 w 80560"/>
                          <a:gd name="connsiteY139" fmla="*/ 4904 h 137376"/>
                          <a:gd name="connsiteX140" fmla="*/ 55322 w 80560"/>
                          <a:gd name="connsiteY140" fmla="*/ 1435 h 137376"/>
                          <a:gd name="connsiteX141" fmla="*/ 55979 w 80560"/>
                          <a:gd name="connsiteY141" fmla="*/ 1734 h 137376"/>
                          <a:gd name="connsiteX142" fmla="*/ 55920 w 80560"/>
                          <a:gd name="connsiteY142" fmla="*/ 1555 h 137376"/>
                          <a:gd name="connsiteX143" fmla="*/ 55860 w 80560"/>
                          <a:gd name="connsiteY143" fmla="*/ 1375 h 137376"/>
                          <a:gd name="connsiteX144" fmla="*/ 55800 w 80560"/>
                          <a:gd name="connsiteY144" fmla="*/ 1256 h 137376"/>
                          <a:gd name="connsiteX145" fmla="*/ 55740 w 80560"/>
                          <a:gd name="connsiteY145" fmla="*/ 1136 h 137376"/>
                          <a:gd name="connsiteX146" fmla="*/ 55621 w 80560"/>
                          <a:gd name="connsiteY146" fmla="*/ 897 h 137376"/>
                          <a:gd name="connsiteX147" fmla="*/ 55501 w 80560"/>
                          <a:gd name="connsiteY147" fmla="*/ 718 h 137376"/>
                          <a:gd name="connsiteX148" fmla="*/ 55322 w 80560"/>
                          <a:gd name="connsiteY148" fmla="*/ 538 h 137376"/>
                          <a:gd name="connsiteX149" fmla="*/ 55142 w 80560"/>
                          <a:gd name="connsiteY149" fmla="*/ 359 h 137376"/>
                          <a:gd name="connsiteX150" fmla="*/ 55023 w 80560"/>
                          <a:gd name="connsiteY150" fmla="*/ 239 h 137376"/>
                          <a:gd name="connsiteX151" fmla="*/ 54903 w 80560"/>
                          <a:gd name="connsiteY151" fmla="*/ 119 h 137376"/>
                          <a:gd name="connsiteX152" fmla="*/ 54783 w 80560"/>
                          <a:gd name="connsiteY152" fmla="*/ 60 h 137376"/>
                          <a:gd name="connsiteX153" fmla="*/ 54664 w 80560"/>
                          <a:gd name="connsiteY153" fmla="*/ 0 h 137376"/>
                          <a:gd name="connsiteX154" fmla="*/ 52750 w 80560"/>
                          <a:gd name="connsiteY154" fmla="*/ 4785 h 137376"/>
                          <a:gd name="connsiteX155" fmla="*/ 72965 w 80560"/>
                          <a:gd name="connsiteY155" fmla="*/ 25059 h 137376"/>
                          <a:gd name="connsiteX156" fmla="*/ 73324 w 80560"/>
                          <a:gd name="connsiteY156" fmla="*/ 24880 h 137376"/>
                          <a:gd name="connsiteX157" fmla="*/ 73683 w 80560"/>
                          <a:gd name="connsiteY157" fmla="*/ 24700 h 137376"/>
                          <a:gd name="connsiteX158" fmla="*/ 74041 w 80560"/>
                          <a:gd name="connsiteY158" fmla="*/ 24521 h 137376"/>
                          <a:gd name="connsiteX159" fmla="*/ 74400 w 80560"/>
                          <a:gd name="connsiteY159" fmla="*/ 24342 h 137376"/>
                          <a:gd name="connsiteX160" fmla="*/ 74998 w 80560"/>
                          <a:gd name="connsiteY160" fmla="*/ 23026 h 137376"/>
                          <a:gd name="connsiteX161" fmla="*/ 74939 w 80560"/>
                          <a:gd name="connsiteY161" fmla="*/ 23085 h 137376"/>
                          <a:gd name="connsiteX162" fmla="*/ 74879 w 80560"/>
                          <a:gd name="connsiteY162" fmla="*/ 23145 h 137376"/>
                          <a:gd name="connsiteX163" fmla="*/ 74819 w 80560"/>
                          <a:gd name="connsiteY163" fmla="*/ 23205 h 137376"/>
                          <a:gd name="connsiteX164" fmla="*/ 74759 w 80560"/>
                          <a:gd name="connsiteY164" fmla="*/ 23265 h 137376"/>
                          <a:gd name="connsiteX165" fmla="*/ 74460 w 80560"/>
                          <a:gd name="connsiteY165" fmla="*/ 23384 h 137376"/>
                          <a:gd name="connsiteX166" fmla="*/ 74161 w 80560"/>
                          <a:gd name="connsiteY166" fmla="*/ 23504 h 137376"/>
                          <a:gd name="connsiteX167" fmla="*/ 73862 w 80560"/>
                          <a:gd name="connsiteY167" fmla="*/ 23624 h 137376"/>
                          <a:gd name="connsiteX168" fmla="*/ 73563 w 80560"/>
                          <a:gd name="connsiteY168" fmla="*/ 23683 h 137376"/>
                          <a:gd name="connsiteX169" fmla="*/ 72965 w 80560"/>
                          <a:gd name="connsiteY169" fmla="*/ 25059 h 137376"/>
                          <a:gd name="connsiteX170" fmla="*/ 70812 w 80560"/>
                          <a:gd name="connsiteY170" fmla="*/ 30083 h 137376"/>
                          <a:gd name="connsiteX171" fmla="*/ 71171 w 80560"/>
                          <a:gd name="connsiteY171" fmla="*/ 29963 h 137376"/>
                          <a:gd name="connsiteX172" fmla="*/ 71530 w 80560"/>
                          <a:gd name="connsiteY172" fmla="*/ 29844 h 137376"/>
                          <a:gd name="connsiteX173" fmla="*/ 71888 w 80560"/>
                          <a:gd name="connsiteY173" fmla="*/ 29724 h 137376"/>
                          <a:gd name="connsiteX174" fmla="*/ 72247 w 80560"/>
                          <a:gd name="connsiteY174" fmla="*/ 29604 h 137376"/>
                          <a:gd name="connsiteX175" fmla="*/ 73683 w 80560"/>
                          <a:gd name="connsiteY175" fmla="*/ 26315 h 137376"/>
                          <a:gd name="connsiteX176" fmla="*/ 73324 w 80560"/>
                          <a:gd name="connsiteY176" fmla="*/ 26495 h 137376"/>
                          <a:gd name="connsiteX177" fmla="*/ 72965 w 80560"/>
                          <a:gd name="connsiteY177" fmla="*/ 26674 h 137376"/>
                          <a:gd name="connsiteX178" fmla="*/ 72606 w 80560"/>
                          <a:gd name="connsiteY178" fmla="*/ 26794 h 137376"/>
                          <a:gd name="connsiteX179" fmla="*/ 72247 w 80560"/>
                          <a:gd name="connsiteY179" fmla="*/ 26913 h 137376"/>
                          <a:gd name="connsiteX180" fmla="*/ 70812 w 80560"/>
                          <a:gd name="connsiteY180" fmla="*/ 30083 h 137376"/>
                          <a:gd name="connsiteX181" fmla="*/ 49521 w 80560"/>
                          <a:gd name="connsiteY181" fmla="*/ 15251 h 137376"/>
                          <a:gd name="connsiteX182" fmla="*/ 53408 w 80560"/>
                          <a:gd name="connsiteY182" fmla="*/ 6160 h 137376"/>
                          <a:gd name="connsiteX183" fmla="*/ 53169 w 80560"/>
                          <a:gd name="connsiteY183" fmla="*/ 6160 h 137376"/>
                          <a:gd name="connsiteX184" fmla="*/ 52929 w 80560"/>
                          <a:gd name="connsiteY184" fmla="*/ 6160 h 137376"/>
                          <a:gd name="connsiteX185" fmla="*/ 52690 w 80560"/>
                          <a:gd name="connsiteY185" fmla="*/ 6100 h 137376"/>
                          <a:gd name="connsiteX186" fmla="*/ 52451 w 80560"/>
                          <a:gd name="connsiteY186" fmla="*/ 6041 h 137376"/>
                          <a:gd name="connsiteX187" fmla="*/ 52391 w 80560"/>
                          <a:gd name="connsiteY187" fmla="*/ 6041 h 137376"/>
                          <a:gd name="connsiteX188" fmla="*/ 52331 w 80560"/>
                          <a:gd name="connsiteY188" fmla="*/ 6041 h 137376"/>
                          <a:gd name="connsiteX189" fmla="*/ 52271 w 80560"/>
                          <a:gd name="connsiteY189" fmla="*/ 6041 h 137376"/>
                          <a:gd name="connsiteX190" fmla="*/ 52212 w 80560"/>
                          <a:gd name="connsiteY190" fmla="*/ 6041 h 137376"/>
                          <a:gd name="connsiteX191" fmla="*/ 48982 w 80560"/>
                          <a:gd name="connsiteY191" fmla="*/ 13636 h 137376"/>
                          <a:gd name="connsiteX192" fmla="*/ 49102 w 80560"/>
                          <a:gd name="connsiteY192" fmla="*/ 14055 h 137376"/>
                          <a:gd name="connsiteX193" fmla="*/ 49221 w 80560"/>
                          <a:gd name="connsiteY193" fmla="*/ 14473 h 137376"/>
                          <a:gd name="connsiteX194" fmla="*/ 49341 w 80560"/>
                          <a:gd name="connsiteY194" fmla="*/ 14892 h 137376"/>
                          <a:gd name="connsiteX195" fmla="*/ 49521 w 80560"/>
                          <a:gd name="connsiteY195" fmla="*/ 15251 h 137376"/>
                          <a:gd name="connsiteX196" fmla="*/ 47307 w 80560"/>
                          <a:gd name="connsiteY196" fmla="*/ 20454 h 137376"/>
                          <a:gd name="connsiteX197" fmla="*/ 48683 w 80560"/>
                          <a:gd name="connsiteY197" fmla="*/ 17284 h 137376"/>
                          <a:gd name="connsiteX198" fmla="*/ 48504 w 80560"/>
                          <a:gd name="connsiteY198" fmla="*/ 16925 h 137376"/>
                          <a:gd name="connsiteX199" fmla="*/ 48324 w 80560"/>
                          <a:gd name="connsiteY199" fmla="*/ 16566 h 137376"/>
                          <a:gd name="connsiteX200" fmla="*/ 48205 w 80560"/>
                          <a:gd name="connsiteY200" fmla="*/ 16208 h 137376"/>
                          <a:gd name="connsiteX201" fmla="*/ 48085 w 80560"/>
                          <a:gd name="connsiteY201" fmla="*/ 15849 h 137376"/>
                          <a:gd name="connsiteX202" fmla="*/ 46650 w 80560"/>
                          <a:gd name="connsiteY202" fmla="*/ 19198 h 137376"/>
                          <a:gd name="connsiteX203" fmla="*/ 46829 w 80560"/>
                          <a:gd name="connsiteY203" fmla="*/ 19557 h 137376"/>
                          <a:gd name="connsiteX204" fmla="*/ 47008 w 80560"/>
                          <a:gd name="connsiteY204" fmla="*/ 19916 h 137376"/>
                          <a:gd name="connsiteX205" fmla="*/ 47188 w 80560"/>
                          <a:gd name="connsiteY205" fmla="*/ 20274 h 137376"/>
                          <a:gd name="connsiteX206" fmla="*/ 47307 w 80560"/>
                          <a:gd name="connsiteY206" fmla="*/ 20454 h 137376"/>
                          <a:gd name="connsiteX207" fmla="*/ 27571 w 80560"/>
                          <a:gd name="connsiteY207" fmla="*/ 133490 h 137376"/>
                          <a:gd name="connsiteX208" fmla="*/ 71589 w 80560"/>
                          <a:gd name="connsiteY208" fmla="*/ 31040 h 137376"/>
                          <a:gd name="connsiteX209" fmla="*/ 71230 w 80560"/>
                          <a:gd name="connsiteY209" fmla="*/ 31159 h 137376"/>
                          <a:gd name="connsiteX210" fmla="*/ 70871 w 80560"/>
                          <a:gd name="connsiteY210" fmla="*/ 31279 h 137376"/>
                          <a:gd name="connsiteX211" fmla="*/ 70513 w 80560"/>
                          <a:gd name="connsiteY211" fmla="*/ 31339 h 137376"/>
                          <a:gd name="connsiteX212" fmla="*/ 70154 w 80560"/>
                          <a:gd name="connsiteY212" fmla="*/ 31399 h 137376"/>
                          <a:gd name="connsiteX213" fmla="*/ 26794 w 80560"/>
                          <a:gd name="connsiteY213" fmla="*/ 132353 h 137376"/>
                          <a:gd name="connsiteX214" fmla="*/ 26973 w 80560"/>
                          <a:gd name="connsiteY214" fmla="*/ 132652 h 137376"/>
                          <a:gd name="connsiteX215" fmla="*/ 27152 w 80560"/>
                          <a:gd name="connsiteY215" fmla="*/ 132951 h 137376"/>
                          <a:gd name="connsiteX216" fmla="*/ 27332 w 80560"/>
                          <a:gd name="connsiteY216" fmla="*/ 133250 h 137376"/>
                          <a:gd name="connsiteX217" fmla="*/ 27571 w 80560"/>
                          <a:gd name="connsiteY217" fmla="*/ 133490 h 137376"/>
                          <a:gd name="connsiteX218" fmla="*/ 25119 w 80560"/>
                          <a:gd name="connsiteY218" fmla="*/ 137138 h 137376"/>
                          <a:gd name="connsiteX219" fmla="*/ 25358 w 80560"/>
                          <a:gd name="connsiteY219" fmla="*/ 137198 h 137376"/>
                          <a:gd name="connsiteX220" fmla="*/ 25897 w 80560"/>
                          <a:gd name="connsiteY220" fmla="*/ 137377 h 137376"/>
                          <a:gd name="connsiteX221" fmla="*/ 26973 w 80560"/>
                          <a:gd name="connsiteY221" fmla="*/ 134925 h 137376"/>
                          <a:gd name="connsiteX222" fmla="*/ 26794 w 80560"/>
                          <a:gd name="connsiteY222" fmla="*/ 134626 h 137376"/>
                          <a:gd name="connsiteX223" fmla="*/ 26614 w 80560"/>
                          <a:gd name="connsiteY223" fmla="*/ 134327 h 137376"/>
                          <a:gd name="connsiteX224" fmla="*/ 26435 w 80560"/>
                          <a:gd name="connsiteY224" fmla="*/ 134028 h 137376"/>
                          <a:gd name="connsiteX225" fmla="*/ 26255 w 80560"/>
                          <a:gd name="connsiteY225" fmla="*/ 133729 h 137376"/>
                          <a:gd name="connsiteX226" fmla="*/ 25298 w 80560"/>
                          <a:gd name="connsiteY226" fmla="*/ 136002 h 137376"/>
                          <a:gd name="connsiteX227" fmla="*/ 24342 w 80560"/>
                          <a:gd name="connsiteY227" fmla="*/ 135703 h 137376"/>
                          <a:gd name="connsiteX228" fmla="*/ 24521 w 80560"/>
                          <a:gd name="connsiteY228" fmla="*/ 136061 h 137376"/>
                          <a:gd name="connsiteX229" fmla="*/ 24700 w 80560"/>
                          <a:gd name="connsiteY229" fmla="*/ 136420 h 137376"/>
                          <a:gd name="connsiteX230" fmla="*/ 24880 w 80560"/>
                          <a:gd name="connsiteY230" fmla="*/ 136779 h 137376"/>
                          <a:gd name="connsiteX231" fmla="*/ 25119 w 80560"/>
                          <a:gd name="connsiteY231" fmla="*/ 137138 h 137376"/>
                          <a:gd name="connsiteX232" fmla="*/ 19497 w 80560"/>
                          <a:gd name="connsiteY232" fmla="*/ 134447 h 137376"/>
                          <a:gd name="connsiteX233" fmla="*/ 19856 w 80560"/>
                          <a:gd name="connsiteY233" fmla="*/ 134506 h 137376"/>
                          <a:gd name="connsiteX234" fmla="*/ 20215 w 80560"/>
                          <a:gd name="connsiteY234" fmla="*/ 134626 h 137376"/>
                          <a:gd name="connsiteX235" fmla="*/ 20574 w 80560"/>
                          <a:gd name="connsiteY235" fmla="*/ 134805 h 137376"/>
                          <a:gd name="connsiteX236" fmla="*/ 20873 w 80560"/>
                          <a:gd name="connsiteY236" fmla="*/ 134985 h 137376"/>
                          <a:gd name="connsiteX237" fmla="*/ 21471 w 80560"/>
                          <a:gd name="connsiteY237" fmla="*/ 135583 h 137376"/>
                          <a:gd name="connsiteX238" fmla="*/ 21530 w 80560"/>
                          <a:gd name="connsiteY238" fmla="*/ 135703 h 137376"/>
                          <a:gd name="connsiteX239" fmla="*/ 21590 w 80560"/>
                          <a:gd name="connsiteY239" fmla="*/ 135822 h 137376"/>
                          <a:gd name="connsiteX240" fmla="*/ 21650 w 80560"/>
                          <a:gd name="connsiteY240" fmla="*/ 135942 h 137376"/>
                          <a:gd name="connsiteX241" fmla="*/ 21710 w 80560"/>
                          <a:gd name="connsiteY241" fmla="*/ 136061 h 137376"/>
                          <a:gd name="connsiteX242" fmla="*/ 23145 w 80560"/>
                          <a:gd name="connsiteY242" fmla="*/ 136540 h 137376"/>
                          <a:gd name="connsiteX243" fmla="*/ 22906 w 80560"/>
                          <a:gd name="connsiteY243" fmla="*/ 136121 h 137376"/>
                          <a:gd name="connsiteX244" fmla="*/ 22667 w 80560"/>
                          <a:gd name="connsiteY244" fmla="*/ 135703 h 137376"/>
                          <a:gd name="connsiteX245" fmla="*/ 22428 w 80560"/>
                          <a:gd name="connsiteY245" fmla="*/ 135284 h 137376"/>
                          <a:gd name="connsiteX246" fmla="*/ 22129 w 80560"/>
                          <a:gd name="connsiteY246" fmla="*/ 134925 h 137376"/>
                          <a:gd name="connsiteX247" fmla="*/ 19676 w 80560"/>
                          <a:gd name="connsiteY247" fmla="*/ 134088 h 137376"/>
                          <a:gd name="connsiteX248" fmla="*/ 19497 w 80560"/>
                          <a:gd name="connsiteY248" fmla="*/ 134447 h 137376"/>
                          <a:gd name="connsiteX249" fmla="*/ 1794 w 80560"/>
                          <a:gd name="connsiteY249" fmla="*/ 124399 h 137376"/>
                          <a:gd name="connsiteX250" fmla="*/ 2153 w 80560"/>
                          <a:gd name="connsiteY250" fmla="*/ 124279 h 137376"/>
                          <a:gd name="connsiteX251" fmla="*/ 2512 w 80560"/>
                          <a:gd name="connsiteY251" fmla="*/ 124160 h 137376"/>
                          <a:gd name="connsiteX252" fmla="*/ 2871 w 80560"/>
                          <a:gd name="connsiteY252" fmla="*/ 124040 h 137376"/>
                          <a:gd name="connsiteX253" fmla="*/ 3229 w 80560"/>
                          <a:gd name="connsiteY253" fmla="*/ 123920 h 137376"/>
                          <a:gd name="connsiteX254" fmla="*/ 46769 w 80560"/>
                          <a:gd name="connsiteY254" fmla="*/ 21770 h 137376"/>
                          <a:gd name="connsiteX255" fmla="*/ 46590 w 80560"/>
                          <a:gd name="connsiteY255" fmla="*/ 21471 h 137376"/>
                          <a:gd name="connsiteX256" fmla="*/ 46410 w 80560"/>
                          <a:gd name="connsiteY256" fmla="*/ 21172 h 137376"/>
                          <a:gd name="connsiteX257" fmla="*/ 46231 w 80560"/>
                          <a:gd name="connsiteY257" fmla="*/ 20873 h 137376"/>
                          <a:gd name="connsiteX258" fmla="*/ 46052 w 80560"/>
                          <a:gd name="connsiteY258" fmla="*/ 20574 h 137376"/>
                          <a:gd name="connsiteX259" fmla="*/ 1794 w 80560"/>
                          <a:gd name="connsiteY259" fmla="*/ 124399 h 137376"/>
                          <a:gd name="connsiteX260" fmla="*/ 12739 w 80560"/>
                          <a:gd name="connsiteY260" fmla="*/ 132951 h 137376"/>
                          <a:gd name="connsiteX261" fmla="*/ 13218 w 80560"/>
                          <a:gd name="connsiteY261" fmla="*/ 133131 h 137376"/>
                          <a:gd name="connsiteX262" fmla="*/ 12739 w 80560"/>
                          <a:gd name="connsiteY262" fmla="*/ 132951 h 137376"/>
                          <a:gd name="connsiteX263" fmla="*/ 12739 w 80560"/>
                          <a:gd name="connsiteY263" fmla="*/ 132951 h 137376"/>
                          <a:gd name="connsiteX264" fmla="*/ 12739 w 80560"/>
                          <a:gd name="connsiteY264" fmla="*/ 132951 h 137376"/>
                          <a:gd name="connsiteX265" fmla="*/ 12739 w 80560"/>
                          <a:gd name="connsiteY265" fmla="*/ 132951 h 137376"/>
                          <a:gd name="connsiteX266" fmla="*/ 12739 w 80560"/>
                          <a:gd name="connsiteY266" fmla="*/ 132951 h 137376"/>
                          <a:gd name="connsiteX267" fmla="*/ 7715 w 80560"/>
                          <a:gd name="connsiteY267" fmla="*/ 131277 h 137376"/>
                          <a:gd name="connsiteX268" fmla="*/ 11662 w 80560"/>
                          <a:gd name="connsiteY268" fmla="*/ 132592 h 137376"/>
                          <a:gd name="connsiteX269" fmla="*/ 11662 w 80560"/>
                          <a:gd name="connsiteY269" fmla="*/ 132592 h 137376"/>
                          <a:gd name="connsiteX270" fmla="*/ 11662 w 80560"/>
                          <a:gd name="connsiteY270" fmla="*/ 132592 h 137376"/>
                          <a:gd name="connsiteX271" fmla="*/ 11662 w 80560"/>
                          <a:gd name="connsiteY271" fmla="*/ 132592 h 137376"/>
                          <a:gd name="connsiteX272" fmla="*/ 11662 w 80560"/>
                          <a:gd name="connsiteY272" fmla="*/ 132592 h 137376"/>
                          <a:gd name="connsiteX273" fmla="*/ 9450 w 80560"/>
                          <a:gd name="connsiteY273" fmla="*/ 131875 h 137376"/>
                          <a:gd name="connsiteX274" fmla="*/ 9689 w 80560"/>
                          <a:gd name="connsiteY274" fmla="*/ 131277 h 137376"/>
                          <a:gd name="connsiteX275" fmla="*/ 9928 w 80560"/>
                          <a:gd name="connsiteY275" fmla="*/ 130738 h 137376"/>
                          <a:gd name="connsiteX276" fmla="*/ 9210 w 80560"/>
                          <a:gd name="connsiteY276" fmla="*/ 130499 h 137376"/>
                          <a:gd name="connsiteX277" fmla="*/ 8911 w 80560"/>
                          <a:gd name="connsiteY277" fmla="*/ 130559 h 137376"/>
                          <a:gd name="connsiteX278" fmla="*/ 8612 w 80560"/>
                          <a:gd name="connsiteY278" fmla="*/ 130679 h 137376"/>
                          <a:gd name="connsiteX279" fmla="*/ 8313 w 80560"/>
                          <a:gd name="connsiteY279" fmla="*/ 130858 h 137376"/>
                          <a:gd name="connsiteX280" fmla="*/ 8014 w 80560"/>
                          <a:gd name="connsiteY280" fmla="*/ 131097 h 137376"/>
                          <a:gd name="connsiteX281" fmla="*/ 7954 w 80560"/>
                          <a:gd name="connsiteY281" fmla="*/ 131157 h 137376"/>
                          <a:gd name="connsiteX282" fmla="*/ 7895 w 80560"/>
                          <a:gd name="connsiteY282" fmla="*/ 131217 h 137376"/>
                          <a:gd name="connsiteX283" fmla="*/ 7715 w 80560"/>
                          <a:gd name="connsiteY283" fmla="*/ 131277 h 137376"/>
                          <a:gd name="connsiteX284" fmla="*/ 7715 w 80560"/>
                          <a:gd name="connsiteY284" fmla="*/ 131277 h 137376"/>
                          <a:gd name="connsiteX285" fmla="*/ 2392 w 80560"/>
                          <a:gd name="connsiteY285" fmla="*/ 129482 h 137376"/>
                          <a:gd name="connsiteX286" fmla="*/ 6639 w 80560"/>
                          <a:gd name="connsiteY286" fmla="*/ 130918 h 137376"/>
                          <a:gd name="connsiteX287" fmla="*/ 6818 w 80560"/>
                          <a:gd name="connsiteY287" fmla="*/ 130738 h 137376"/>
                          <a:gd name="connsiteX288" fmla="*/ 6997 w 80560"/>
                          <a:gd name="connsiteY288" fmla="*/ 130559 h 137376"/>
                          <a:gd name="connsiteX289" fmla="*/ 7177 w 80560"/>
                          <a:gd name="connsiteY289" fmla="*/ 130380 h 137376"/>
                          <a:gd name="connsiteX290" fmla="*/ 7356 w 80560"/>
                          <a:gd name="connsiteY290" fmla="*/ 130200 h 137376"/>
                          <a:gd name="connsiteX291" fmla="*/ 7416 w 80560"/>
                          <a:gd name="connsiteY291" fmla="*/ 130141 h 137376"/>
                          <a:gd name="connsiteX292" fmla="*/ 7476 w 80560"/>
                          <a:gd name="connsiteY292" fmla="*/ 130081 h 137376"/>
                          <a:gd name="connsiteX293" fmla="*/ 7536 w 80560"/>
                          <a:gd name="connsiteY293" fmla="*/ 130021 h 137376"/>
                          <a:gd name="connsiteX294" fmla="*/ 7596 w 80560"/>
                          <a:gd name="connsiteY294" fmla="*/ 129961 h 137376"/>
                          <a:gd name="connsiteX295" fmla="*/ 4366 w 80560"/>
                          <a:gd name="connsiteY295" fmla="*/ 128884 h 137376"/>
                          <a:gd name="connsiteX296" fmla="*/ 3828 w 80560"/>
                          <a:gd name="connsiteY296" fmla="*/ 129004 h 137376"/>
                          <a:gd name="connsiteX297" fmla="*/ 3289 w 80560"/>
                          <a:gd name="connsiteY297" fmla="*/ 129124 h 137376"/>
                          <a:gd name="connsiteX298" fmla="*/ 2811 w 80560"/>
                          <a:gd name="connsiteY298" fmla="*/ 129303 h 137376"/>
                          <a:gd name="connsiteX299" fmla="*/ 2392 w 80560"/>
                          <a:gd name="connsiteY299" fmla="*/ 129482 h 137376"/>
                          <a:gd name="connsiteX300" fmla="*/ 0 w 80560"/>
                          <a:gd name="connsiteY300" fmla="*/ 128705 h 137376"/>
                          <a:gd name="connsiteX301" fmla="*/ 299 w 80560"/>
                          <a:gd name="connsiteY301" fmla="*/ 128825 h 137376"/>
                          <a:gd name="connsiteX302" fmla="*/ 718 w 80560"/>
                          <a:gd name="connsiteY302" fmla="*/ 128645 h 137376"/>
                          <a:gd name="connsiteX303" fmla="*/ 1136 w 80560"/>
                          <a:gd name="connsiteY303" fmla="*/ 128466 h 137376"/>
                          <a:gd name="connsiteX304" fmla="*/ 1555 w 80560"/>
                          <a:gd name="connsiteY304" fmla="*/ 128286 h 137376"/>
                          <a:gd name="connsiteX305" fmla="*/ 1974 w 80560"/>
                          <a:gd name="connsiteY305" fmla="*/ 128107 h 137376"/>
                          <a:gd name="connsiteX306" fmla="*/ 1435 w 80560"/>
                          <a:gd name="connsiteY306" fmla="*/ 127927 h 137376"/>
                          <a:gd name="connsiteX307" fmla="*/ 2512 w 80560"/>
                          <a:gd name="connsiteY307" fmla="*/ 125356 h 137376"/>
                          <a:gd name="connsiteX308" fmla="*/ 2153 w 80560"/>
                          <a:gd name="connsiteY308" fmla="*/ 125475 h 137376"/>
                          <a:gd name="connsiteX309" fmla="*/ 1794 w 80560"/>
                          <a:gd name="connsiteY309" fmla="*/ 125595 h 137376"/>
                          <a:gd name="connsiteX310" fmla="*/ 1435 w 80560"/>
                          <a:gd name="connsiteY310" fmla="*/ 125715 h 137376"/>
                          <a:gd name="connsiteX311" fmla="*/ 1076 w 80560"/>
                          <a:gd name="connsiteY311" fmla="*/ 125834 h 137376"/>
                          <a:gd name="connsiteX312" fmla="*/ 120 w 80560"/>
                          <a:gd name="connsiteY312" fmla="*/ 128107 h 137376"/>
                          <a:gd name="connsiteX313" fmla="*/ 0 w 80560"/>
                          <a:gd name="connsiteY313" fmla="*/ 128705 h 137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80560" h="137376">
                            <a:moveTo>
                              <a:pt x="79364" y="12440"/>
                            </a:moveTo>
                            <a:cubicBezTo>
                              <a:pt x="79424" y="12440"/>
                              <a:pt x="79424" y="12440"/>
                              <a:pt x="79364" y="12440"/>
                            </a:cubicBezTo>
                            <a:cubicBezTo>
                              <a:pt x="79424" y="12500"/>
                              <a:pt x="79424" y="12500"/>
                              <a:pt x="79424" y="12500"/>
                            </a:cubicBezTo>
                            <a:cubicBezTo>
                              <a:pt x="79424" y="12500"/>
                              <a:pt x="79424" y="12500"/>
                              <a:pt x="79484" y="12500"/>
                            </a:cubicBezTo>
                            <a:cubicBezTo>
                              <a:pt x="79484" y="12500"/>
                              <a:pt x="79484" y="12500"/>
                              <a:pt x="79544" y="12500"/>
                            </a:cubicBezTo>
                            <a:lnTo>
                              <a:pt x="80321" y="10765"/>
                            </a:lnTo>
                            <a:lnTo>
                              <a:pt x="80561" y="10167"/>
                            </a:lnTo>
                            <a:lnTo>
                              <a:pt x="78946" y="9509"/>
                            </a:lnTo>
                            <a:cubicBezTo>
                              <a:pt x="78946" y="9509"/>
                              <a:pt x="78946" y="9569"/>
                              <a:pt x="78946" y="9569"/>
                            </a:cubicBezTo>
                            <a:cubicBezTo>
                              <a:pt x="78946" y="9569"/>
                              <a:pt x="78946" y="9629"/>
                              <a:pt x="78946" y="9629"/>
                            </a:cubicBezTo>
                            <a:cubicBezTo>
                              <a:pt x="78946" y="9629"/>
                              <a:pt x="78946" y="9689"/>
                              <a:pt x="78946" y="9689"/>
                            </a:cubicBezTo>
                            <a:cubicBezTo>
                              <a:pt x="78946" y="9689"/>
                              <a:pt x="78946" y="9749"/>
                              <a:pt x="78946" y="9749"/>
                            </a:cubicBezTo>
                            <a:cubicBezTo>
                              <a:pt x="78946" y="9808"/>
                              <a:pt x="78886" y="9928"/>
                              <a:pt x="78886" y="9988"/>
                            </a:cubicBezTo>
                            <a:cubicBezTo>
                              <a:pt x="78886" y="10048"/>
                              <a:pt x="78826" y="10167"/>
                              <a:pt x="78826" y="10227"/>
                            </a:cubicBezTo>
                            <a:cubicBezTo>
                              <a:pt x="78826" y="10287"/>
                              <a:pt x="78826" y="10406"/>
                              <a:pt x="78826" y="10466"/>
                            </a:cubicBezTo>
                            <a:cubicBezTo>
                              <a:pt x="78826" y="10526"/>
                              <a:pt x="78826" y="10645"/>
                              <a:pt x="78826" y="10705"/>
                            </a:cubicBezTo>
                            <a:lnTo>
                              <a:pt x="79185" y="10825"/>
                            </a:lnTo>
                            <a:lnTo>
                              <a:pt x="78946" y="11363"/>
                            </a:lnTo>
                            <a:cubicBezTo>
                              <a:pt x="78946" y="11363"/>
                              <a:pt x="78946" y="11423"/>
                              <a:pt x="78946" y="11423"/>
                            </a:cubicBezTo>
                            <a:cubicBezTo>
                              <a:pt x="78946" y="11423"/>
                              <a:pt x="78946" y="11483"/>
                              <a:pt x="78946" y="11483"/>
                            </a:cubicBezTo>
                            <a:cubicBezTo>
                              <a:pt x="78946" y="11483"/>
                              <a:pt x="78946" y="11543"/>
                              <a:pt x="78946" y="11543"/>
                            </a:cubicBezTo>
                            <a:cubicBezTo>
                              <a:pt x="78946" y="11543"/>
                              <a:pt x="78946" y="11603"/>
                              <a:pt x="78946" y="11603"/>
                            </a:cubicBezTo>
                            <a:cubicBezTo>
                              <a:pt x="78946" y="11662"/>
                              <a:pt x="79005" y="11722"/>
                              <a:pt x="79065" y="11782"/>
                            </a:cubicBezTo>
                            <a:cubicBezTo>
                              <a:pt x="79125" y="11842"/>
                              <a:pt x="79125" y="11902"/>
                              <a:pt x="79185" y="11961"/>
                            </a:cubicBezTo>
                            <a:cubicBezTo>
                              <a:pt x="79245" y="12021"/>
                              <a:pt x="79245" y="12081"/>
                              <a:pt x="79304" y="12141"/>
                            </a:cubicBezTo>
                            <a:cubicBezTo>
                              <a:pt x="79304" y="12320"/>
                              <a:pt x="79304" y="12380"/>
                              <a:pt x="79364" y="12440"/>
                            </a:cubicBezTo>
                            <a:moveTo>
                              <a:pt x="76434" y="9928"/>
                            </a:moveTo>
                            <a:lnTo>
                              <a:pt x="77570" y="10406"/>
                            </a:lnTo>
                            <a:cubicBezTo>
                              <a:pt x="77570" y="10347"/>
                              <a:pt x="77570" y="10227"/>
                              <a:pt x="77630" y="10167"/>
                            </a:cubicBezTo>
                            <a:cubicBezTo>
                              <a:pt x="77690" y="10107"/>
                              <a:pt x="77630" y="9988"/>
                              <a:pt x="77690" y="9928"/>
                            </a:cubicBezTo>
                            <a:cubicBezTo>
                              <a:pt x="77690" y="9868"/>
                              <a:pt x="77749" y="9749"/>
                              <a:pt x="77749" y="9689"/>
                            </a:cubicBezTo>
                            <a:cubicBezTo>
                              <a:pt x="77749" y="9629"/>
                              <a:pt x="77809" y="9509"/>
                              <a:pt x="77809" y="9449"/>
                            </a:cubicBezTo>
                            <a:cubicBezTo>
                              <a:pt x="77809" y="9449"/>
                              <a:pt x="77809" y="9390"/>
                              <a:pt x="77869" y="9390"/>
                            </a:cubicBezTo>
                            <a:cubicBezTo>
                              <a:pt x="77929" y="9390"/>
                              <a:pt x="77869" y="9330"/>
                              <a:pt x="77929" y="9330"/>
                            </a:cubicBezTo>
                            <a:cubicBezTo>
                              <a:pt x="77929" y="9330"/>
                              <a:pt x="77929" y="9270"/>
                              <a:pt x="77988" y="9270"/>
                            </a:cubicBezTo>
                            <a:cubicBezTo>
                              <a:pt x="77988" y="9270"/>
                              <a:pt x="77988" y="9210"/>
                              <a:pt x="78048" y="9210"/>
                            </a:cubicBezTo>
                            <a:lnTo>
                              <a:pt x="77032" y="8791"/>
                            </a:lnTo>
                            <a:cubicBezTo>
                              <a:pt x="77032" y="8851"/>
                              <a:pt x="77032" y="8851"/>
                              <a:pt x="76972" y="8911"/>
                            </a:cubicBezTo>
                            <a:cubicBezTo>
                              <a:pt x="76972" y="8971"/>
                              <a:pt x="76972" y="8971"/>
                              <a:pt x="76912" y="9031"/>
                            </a:cubicBezTo>
                            <a:cubicBezTo>
                              <a:pt x="76912" y="9090"/>
                              <a:pt x="76912" y="9090"/>
                              <a:pt x="76852" y="9150"/>
                            </a:cubicBezTo>
                            <a:cubicBezTo>
                              <a:pt x="76852" y="9210"/>
                              <a:pt x="76852" y="9210"/>
                              <a:pt x="76793" y="9270"/>
                            </a:cubicBezTo>
                            <a:cubicBezTo>
                              <a:pt x="76793" y="9330"/>
                              <a:pt x="76733" y="9390"/>
                              <a:pt x="76733" y="9449"/>
                            </a:cubicBezTo>
                            <a:cubicBezTo>
                              <a:pt x="76733" y="9509"/>
                              <a:pt x="76673" y="9569"/>
                              <a:pt x="76673" y="9629"/>
                            </a:cubicBezTo>
                            <a:cubicBezTo>
                              <a:pt x="76673" y="9689"/>
                              <a:pt x="76613" y="9749"/>
                              <a:pt x="76613" y="9808"/>
                            </a:cubicBezTo>
                            <a:cubicBezTo>
                              <a:pt x="76493" y="9808"/>
                              <a:pt x="76434" y="9868"/>
                              <a:pt x="76434" y="9928"/>
                            </a:cubicBezTo>
                            <a:moveTo>
                              <a:pt x="73384" y="8672"/>
                            </a:moveTo>
                            <a:lnTo>
                              <a:pt x="75178" y="9390"/>
                            </a:lnTo>
                            <a:cubicBezTo>
                              <a:pt x="75178" y="9330"/>
                              <a:pt x="75238" y="9270"/>
                              <a:pt x="75238" y="9270"/>
                            </a:cubicBezTo>
                            <a:cubicBezTo>
                              <a:pt x="75238" y="9210"/>
                              <a:pt x="75297" y="9150"/>
                              <a:pt x="75297" y="9150"/>
                            </a:cubicBezTo>
                            <a:cubicBezTo>
                              <a:pt x="75297" y="9150"/>
                              <a:pt x="75357" y="9031"/>
                              <a:pt x="75357" y="8971"/>
                            </a:cubicBezTo>
                            <a:cubicBezTo>
                              <a:pt x="75357" y="8911"/>
                              <a:pt x="75417" y="8851"/>
                              <a:pt x="75417" y="8791"/>
                            </a:cubicBezTo>
                            <a:cubicBezTo>
                              <a:pt x="75417" y="8732"/>
                              <a:pt x="75477" y="8672"/>
                              <a:pt x="75477" y="8612"/>
                            </a:cubicBezTo>
                            <a:cubicBezTo>
                              <a:pt x="75477" y="8552"/>
                              <a:pt x="75537" y="8493"/>
                              <a:pt x="75537" y="8433"/>
                            </a:cubicBezTo>
                            <a:cubicBezTo>
                              <a:pt x="75537" y="8373"/>
                              <a:pt x="75596" y="8313"/>
                              <a:pt x="75596" y="8253"/>
                            </a:cubicBezTo>
                            <a:cubicBezTo>
                              <a:pt x="75596" y="8194"/>
                              <a:pt x="75596" y="8134"/>
                              <a:pt x="75656" y="8074"/>
                            </a:cubicBezTo>
                            <a:lnTo>
                              <a:pt x="73742" y="7296"/>
                            </a:lnTo>
                            <a:cubicBezTo>
                              <a:pt x="73742" y="7296"/>
                              <a:pt x="73742" y="7296"/>
                              <a:pt x="73742" y="7296"/>
                            </a:cubicBezTo>
                            <a:cubicBezTo>
                              <a:pt x="73742" y="7296"/>
                              <a:pt x="73742" y="7296"/>
                              <a:pt x="73742" y="7296"/>
                            </a:cubicBezTo>
                            <a:cubicBezTo>
                              <a:pt x="73742" y="7296"/>
                              <a:pt x="73742" y="7296"/>
                              <a:pt x="73742" y="7296"/>
                            </a:cubicBezTo>
                            <a:cubicBezTo>
                              <a:pt x="73742" y="7296"/>
                              <a:pt x="73742" y="7296"/>
                              <a:pt x="73742" y="7296"/>
                            </a:cubicBezTo>
                            <a:lnTo>
                              <a:pt x="73922" y="7356"/>
                            </a:lnTo>
                            <a:lnTo>
                              <a:pt x="73683" y="7954"/>
                            </a:lnTo>
                            <a:lnTo>
                              <a:pt x="73384" y="8672"/>
                            </a:lnTo>
                            <a:moveTo>
                              <a:pt x="67223" y="6220"/>
                            </a:moveTo>
                            <a:lnTo>
                              <a:pt x="72068" y="8194"/>
                            </a:lnTo>
                            <a:cubicBezTo>
                              <a:pt x="72068" y="8194"/>
                              <a:pt x="72068" y="8194"/>
                              <a:pt x="72068" y="8194"/>
                            </a:cubicBezTo>
                            <a:cubicBezTo>
                              <a:pt x="72068" y="8194"/>
                              <a:pt x="72068" y="8194"/>
                              <a:pt x="72068" y="8194"/>
                            </a:cubicBezTo>
                            <a:cubicBezTo>
                              <a:pt x="72068" y="8194"/>
                              <a:pt x="72068" y="8194"/>
                              <a:pt x="72068" y="8194"/>
                            </a:cubicBezTo>
                            <a:cubicBezTo>
                              <a:pt x="72068" y="8194"/>
                              <a:pt x="72068" y="8194"/>
                              <a:pt x="72068" y="8194"/>
                            </a:cubicBezTo>
                            <a:lnTo>
                              <a:pt x="67223" y="6220"/>
                            </a:lnTo>
                            <a:moveTo>
                              <a:pt x="62857" y="4426"/>
                            </a:moveTo>
                            <a:lnTo>
                              <a:pt x="63754" y="4785"/>
                            </a:lnTo>
                            <a:lnTo>
                              <a:pt x="64233" y="3648"/>
                            </a:lnTo>
                            <a:lnTo>
                              <a:pt x="72367" y="6937"/>
                            </a:lnTo>
                            <a:cubicBezTo>
                              <a:pt x="72367" y="6937"/>
                              <a:pt x="72367" y="6937"/>
                              <a:pt x="72367" y="6937"/>
                            </a:cubicBezTo>
                            <a:cubicBezTo>
                              <a:pt x="72367" y="6937"/>
                              <a:pt x="72367" y="6937"/>
                              <a:pt x="72367" y="6937"/>
                            </a:cubicBezTo>
                            <a:cubicBezTo>
                              <a:pt x="72367" y="6937"/>
                              <a:pt x="72367" y="6937"/>
                              <a:pt x="72367" y="6937"/>
                            </a:cubicBezTo>
                            <a:cubicBezTo>
                              <a:pt x="72367" y="6937"/>
                              <a:pt x="72367" y="6937"/>
                              <a:pt x="72367" y="6937"/>
                            </a:cubicBezTo>
                            <a:lnTo>
                              <a:pt x="63515" y="3349"/>
                            </a:lnTo>
                            <a:cubicBezTo>
                              <a:pt x="63455" y="3409"/>
                              <a:pt x="63396" y="3528"/>
                              <a:pt x="63336" y="3588"/>
                            </a:cubicBezTo>
                            <a:cubicBezTo>
                              <a:pt x="63276" y="3648"/>
                              <a:pt x="63216" y="3768"/>
                              <a:pt x="63156" y="3827"/>
                            </a:cubicBezTo>
                            <a:cubicBezTo>
                              <a:pt x="63097" y="3947"/>
                              <a:pt x="63037" y="4007"/>
                              <a:pt x="62977" y="4127"/>
                            </a:cubicBezTo>
                            <a:cubicBezTo>
                              <a:pt x="62977" y="4246"/>
                              <a:pt x="62917" y="4366"/>
                              <a:pt x="62857" y="4426"/>
                            </a:cubicBezTo>
                            <a:moveTo>
                              <a:pt x="59747" y="3170"/>
                            </a:moveTo>
                            <a:lnTo>
                              <a:pt x="61601" y="3947"/>
                            </a:lnTo>
                            <a:cubicBezTo>
                              <a:pt x="61661" y="3827"/>
                              <a:pt x="61661" y="3768"/>
                              <a:pt x="61721" y="3648"/>
                            </a:cubicBezTo>
                            <a:cubicBezTo>
                              <a:pt x="61781" y="3528"/>
                              <a:pt x="61841" y="3469"/>
                              <a:pt x="61841" y="3349"/>
                            </a:cubicBezTo>
                            <a:cubicBezTo>
                              <a:pt x="61841" y="3229"/>
                              <a:pt x="61960" y="3170"/>
                              <a:pt x="62020" y="3050"/>
                            </a:cubicBezTo>
                            <a:cubicBezTo>
                              <a:pt x="62080" y="2930"/>
                              <a:pt x="62140" y="2871"/>
                              <a:pt x="62200" y="2811"/>
                            </a:cubicBezTo>
                            <a:lnTo>
                              <a:pt x="60286" y="2033"/>
                            </a:lnTo>
                            <a:cubicBezTo>
                              <a:pt x="60226" y="2093"/>
                              <a:pt x="60166" y="2213"/>
                              <a:pt x="60106" y="2332"/>
                            </a:cubicBezTo>
                            <a:cubicBezTo>
                              <a:pt x="60046" y="2452"/>
                              <a:pt x="59987" y="2512"/>
                              <a:pt x="59987" y="2632"/>
                            </a:cubicBezTo>
                            <a:cubicBezTo>
                              <a:pt x="59927" y="2751"/>
                              <a:pt x="59867" y="2811"/>
                              <a:pt x="59867" y="2930"/>
                            </a:cubicBezTo>
                            <a:cubicBezTo>
                              <a:pt x="59867" y="3050"/>
                              <a:pt x="59747" y="3110"/>
                              <a:pt x="59747" y="3170"/>
                            </a:cubicBezTo>
                            <a:moveTo>
                              <a:pt x="76793" y="18899"/>
                            </a:moveTo>
                            <a:lnTo>
                              <a:pt x="79005" y="13696"/>
                            </a:lnTo>
                            <a:cubicBezTo>
                              <a:pt x="78946" y="13696"/>
                              <a:pt x="78946" y="13636"/>
                              <a:pt x="78886" y="13636"/>
                            </a:cubicBezTo>
                            <a:cubicBezTo>
                              <a:pt x="78826" y="13636"/>
                              <a:pt x="78826" y="13576"/>
                              <a:pt x="78766" y="13576"/>
                            </a:cubicBezTo>
                            <a:cubicBezTo>
                              <a:pt x="78706" y="13576"/>
                              <a:pt x="78706" y="13516"/>
                              <a:pt x="78647" y="13516"/>
                            </a:cubicBezTo>
                            <a:cubicBezTo>
                              <a:pt x="78587" y="13516"/>
                              <a:pt x="78587" y="13457"/>
                              <a:pt x="78527" y="13457"/>
                            </a:cubicBezTo>
                            <a:cubicBezTo>
                              <a:pt x="78467" y="13397"/>
                              <a:pt x="78467" y="13397"/>
                              <a:pt x="78407" y="13337"/>
                            </a:cubicBezTo>
                            <a:cubicBezTo>
                              <a:pt x="78347" y="13277"/>
                              <a:pt x="78347" y="13277"/>
                              <a:pt x="78288" y="13217"/>
                            </a:cubicBezTo>
                            <a:cubicBezTo>
                              <a:pt x="78228" y="13157"/>
                              <a:pt x="78228" y="13157"/>
                              <a:pt x="78168" y="13098"/>
                            </a:cubicBezTo>
                            <a:cubicBezTo>
                              <a:pt x="78108" y="13038"/>
                              <a:pt x="78108" y="13038"/>
                              <a:pt x="78048" y="12978"/>
                            </a:cubicBezTo>
                            <a:lnTo>
                              <a:pt x="76075" y="17523"/>
                            </a:lnTo>
                            <a:cubicBezTo>
                              <a:pt x="76075" y="17583"/>
                              <a:pt x="76134" y="17583"/>
                              <a:pt x="76134" y="17643"/>
                            </a:cubicBezTo>
                            <a:cubicBezTo>
                              <a:pt x="76134" y="17703"/>
                              <a:pt x="76194" y="17763"/>
                              <a:pt x="76194" y="17763"/>
                            </a:cubicBezTo>
                            <a:cubicBezTo>
                              <a:pt x="76194" y="17822"/>
                              <a:pt x="76254" y="17882"/>
                              <a:pt x="76254" y="17882"/>
                            </a:cubicBezTo>
                            <a:cubicBezTo>
                              <a:pt x="76254" y="17882"/>
                              <a:pt x="76314" y="18002"/>
                              <a:pt x="76314" y="18062"/>
                            </a:cubicBezTo>
                            <a:cubicBezTo>
                              <a:pt x="76374" y="18121"/>
                              <a:pt x="76374" y="18181"/>
                              <a:pt x="76374" y="18241"/>
                            </a:cubicBezTo>
                            <a:cubicBezTo>
                              <a:pt x="76374" y="18301"/>
                              <a:pt x="76434" y="18361"/>
                              <a:pt x="76434" y="18480"/>
                            </a:cubicBezTo>
                            <a:cubicBezTo>
                              <a:pt x="76434" y="18540"/>
                              <a:pt x="76493" y="18600"/>
                              <a:pt x="76493" y="18720"/>
                            </a:cubicBezTo>
                            <a:cubicBezTo>
                              <a:pt x="76793" y="18779"/>
                              <a:pt x="76793" y="18839"/>
                              <a:pt x="76793" y="18899"/>
                            </a:cubicBezTo>
                            <a:moveTo>
                              <a:pt x="57295" y="2213"/>
                            </a:moveTo>
                            <a:lnTo>
                              <a:pt x="58492" y="2691"/>
                            </a:lnTo>
                            <a:cubicBezTo>
                              <a:pt x="58551" y="2572"/>
                              <a:pt x="58551" y="2512"/>
                              <a:pt x="58611" y="2392"/>
                            </a:cubicBezTo>
                            <a:cubicBezTo>
                              <a:pt x="58671" y="2273"/>
                              <a:pt x="58731" y="2213"/>
                              <a:pt x="58731" y="2093"/>
                            </a:cubicBezTo>
                            <a:cubicBezTo>
                              <a:pt x="58791" y="1973"/>
                              <a:pt x="58850" y="1914"/>
                              <a:pt x="58850" y="1794"/>
                            </a:cubicBezTo>
                            <a:cubicBezTo>
                              <a:pt x="58910" y="1674"/>
                              <a:pt x="58970" y="1615"/>
                              <a:pt x="58970" y="1495"/>
                            </a:cubicBezTo>
                            <a:lnTo>
                              <a:pt x="56996" y="718"/>
                            </a:lnTo>
                            <a:cubicBezTo>
                              <a:pt x="57056" y="837"/>
                              <a:pt x="57056" y="957"/>
                              <a:pt x="57116" y="1076"/>
                            </a:cubicBezTo>
                            <a:cubicBezTo>
                              <a:pt x="57176" y="1196"/>
                              <a:pt x="57176" y="1316"/>
                              <a:pt x="57176" y="1435"/>
                            </a:cubicBezTo>
                            <a:cubicBezTo>
                              <a:pt x="57176" y="1555"/>
                              <a:pt x="57176" y="1674"/>
                              <a:pt x="57236" y="1794"/>
                            </a:cubicBezTo>
                            <a:cubicBezTo>
                              <a:pt x="57295" y="1973"/>
                              <a:pt x="57295" y="2093"/>
                              <a:pt x="57295" y="2213"/>
                            </a:cubicBezTo>
                            <a:moveTo>
                              <a:pt x="74221" y="22128"/>
                            </a:moveTo>
                            <a:cubicBezTo>
                              <a:pt x="74221" y="22128"/>
                              <a:pt x="74280" y="22128"/>
                              <a:pt x="74221" y="22128"/>
                            </a:cubicBezTo>
                            <a:cubicBezTo>
                              <a:pt x="74280" y="22128"/>
                              <a:pt x="74280" y="22128"/>
                              <a:pt x="74221" y="22128"/>
                            </a:cubicBezTo>
                            <a:cubicBezTo>
                              <a:pt x="74280" y="22069"/>
                              <a:pt x="74280" y="22069"/>
                              <a:pt x="74280" y="22069"/>
                            </a:cubicBezTo>
                            <a:cubicBezTo>
                              <a:pt x="74280" y="22069"/>
                              <a:pt x="74280" y="22069"/>
                              <a:pt x="74280" y="22069"/>
                            </a:cubicBezTo>
                            <a:cubicBezTo>
                              <a:pt x="74580" y="21889"/>
                              <a:pt x="74819" y="21710"/>
                              <a:pt x="74998" y="21471"/>
                            </a:cubicBezTo>
                            <a:cubicBezTo>
                              <a:pt x="75178" y="21231"/>
                              <a:pt x="75357" y="20933"/>
                              <a:pt x="75477" y="20693"/>
                            </a:cubicBezTo>
                            <a:cubicBezTo>
                              <a:pt x="75596" y="20454"/>
                              <a:pt x="75656" y="20095"/>
                              <a:pt x="75656" y="19796"/>
                            </a:cubicBezTo>
                            <a:cubicBezTo>
                              <a:pt x="75656" y="19497"/>
                              <a:pt x="75656" y="19198"/>
                              <a:pt x="75537" y="18899"/>
                            </a:cubicBezTo>
                            <a:lnTo>
                              <a:pt x="74221" y="22128"/>
                            </a:lnTo>
                            <a:moveTo>
                              <a:pt x="52750" y="4785"/>
                            </a:moveTo>
                            <a:lnTo>
                              <a:pt x="52870" y="4844"/>
                            </a:lnTo>
                            <a:cubicBezTo>
                              <a:pt x="52929" y="4844"/>
                              <a:pt x="53049" y="4904"/>
                              <a:pt x="53109" y="4904"/>
                            </a:cubicBezTo>
                            <a:cubicBezTo>
                              <a:pt x="53169" y="4904"/>
                              <a:pt x="53288" y="4904"/>
                              <a:pt x="53348" y="4964"/>
                            </a:cubicBezTo>
                            <a:cubicBezTo>
                              <a:pt x="53408" y="4964"/>
                              <a:pt x="53528" y="4964"/>
                              <a:pt x="53587" y="4964"/>
                            </a:cubicBezTo>
                            <a:cubicBezTo>
                              <a:pt x="53647" y="4964"/>
                              <a:pt x="53767" y="4964"/>
                              <a:pt x="53827" y="4904"/>
                            </a:cubicBezTo>
                            <a:lnTo>
                              <a:pt x="55322" y="1435"/>
                            </a:lnTo>
                            <a:lnTo>
                              <a:pt x="55979" y="1734"/>
                            </a:lnTo>
                            <a:cubicBezTo>
                              <a:pt x="55979" y="1674"/>
                              <a:pt x="55979" y="1615"/>
                              <a:pt x="55920" y="1555"/>
                            </a:cubicBezTo>
                            <a:cubicBezTo>
                              <a:pt x="55860" y="1495"/>
                              <a:pt x="55920" y="1435"/>
                              <a:pt x="55860" y="1375"/>
                            </a:cubicBezTo>
                            <a:cubicBezTo>
                              <a:pt x="55860" y="1316"/>
                              <a:pt x="55800" y="1256"/>
                              <a:pt x="55800" y="1256"/>
                            </a:cubicBezTo>
                            <a:cubicBezTo>
                              <a:pt x="55800" y="1256"/>
                              <a:pt x="55740" y="1136"/>
                              <a:pt x="55740" y="1136"/>
                            </a:cubicBezTo>
                            <a:cubicBezTo>
                              <a:pt x="55681" y="1076"/>
                              <a:pt x="55681" y="957"/>
                              <a:pt x="55621" y="897"/>
                            </a:cubicBezTo>
                            <a:cubicBezTo>
                              <a:pt x="55561" y="837"/>
                              <a:pt x="55561" y="778"/>
                              <a:pt x="55501" y="718"/>
                            </a:cubicBezTo>
                            <a:cubicBezTo>
                              <a:pt x="55441" y="658"/>
                              <a:pt x="55382" y="598"/>
                              <a:pt x="55322" y="538"/>
                            </a:cubicBezTo>
                            <a:cubicBezTo>
                              <a:pt x="55262" y="478"/>
                              <a:pt x="55202" y="419"/>
                              <a:pt x="55142" y="359"/>
                            </a:cubicBezTo>
                            <a:cubicBezTo>
                              <a:pt x="55083" y="299"/>
                              <a:pt x="55083" y="299"/>
                              <a:pt x="55023" y="239"/>
                            </a:cubicBezTo>
                            <a:cubicBezTo>
                              <a:pt x="54963" y="179"/>
                              <a:pt x="54963" y="179"/>
                              <a:pt x="54903" y="119"/>
                            </a:cubicBezTo>
                            <a:cubicBezTo>
                              <a:pt x="54843" y="119"/>
                              <a:pt x="54783" y="60"/>
                              <a:pt x="54783" y="60"/>
                            </a:cubicBezTo>
                            <a:cubicBezTo>
                              <a:pt x="54724" y="60"/>
                              <a:pt x="54664" y="0"/>
                              <a:pt x="54664" y="0"/>
                            </a:cubicBezTo>
                            <a:lnTo>
                              <a:pt x="52750" y="4785"/>
                            </a:lnTo>
                            <a:moveTo>
                              <a:pt x="72965" y="25059"/>
                            </a:moveTo>
                            <a:cubicBezTo>
                              <a:pt x="73085" y="24999"/>
                              <a:pt x="73204" y="24940"/>
                              <a:pt x="73324" y="24880"/>
                            </a:cubicBezTo>
                            <a:cubicBezTo>
                              <a:pt x="73443" y="24820"/>
                              <a:pt x="73563" y="24760"/>
                              <a:pt x="73683" y="24700"/>
                            </a:cubicBezTo>
                            <a:cubicBezTo>
                              <a:pt x="73802" y="24641"/>
                              <a:pt x="73922" y="24581"/>
                              <a:pt x="74041" y="24521"/>
                            </a:cubicBezTo>
                            <a:cubicBezTo>
                              <a:pt x="74161" y="24461"/>
                              <a:pt x="74280" y="24401"/>
                              <a:pt x="74400" y="24342"/>
                            </a:cubicBezTo>
                            <a:lnTo>
                              <a:pt x="74998" y="23026"/>
                            </a:lnTo>
                            <a:cubicBezTo>
                              <a:pt x="74998" y="23026"/>
                              <a:pt x="74939" y="23026"/>
                              <a:pt x="74939" y="23085"/>
                            </a:cubicBezTo>
                            <a:cubicBezTo>
                              <a:pt x="74939" y="23085"/>
                              <a:pt x="74879" y="23085"/>
                              <a:pt x="74879" y="23145"/>
                            </a:cubicBezTo>
                            <a:cubicBezTo>
                              <a:pt x="74879" y="23145"/>
                              <a:pt x="74819" y="23145"/>
                              <a:pt x="74819" y="23205"/>
                            </a:cubicBezTo>
                            <a:cubicBezTo>
                              <a:pt x="74819" y="23205"/>
                              <a:pt x="74759" y="23205"/>
                              <a:pt x="74759" y="23265"/>
                            </a:cubicBezTo>
                            <a:cubicBezTo>
                              <a:pt x="74639" y="23325"/>
                              <a:pt x="74580" y="23384"/>
                              <a:pt x="74460" y="23384"/>
                            </a:cubicBezTo>
                            <a:cubicBezTo>
                              <a:pt x="74340" y="23444"/>
                              <a:pt x="74280" y="23444"/>
                              <a:pt x="74161" y="23504"/>
                            </a:cubicBezTo>
                            <a:cubicBezTo>
                              <a:pt x="74041" y="23564"/>
                              <a:pt x="73982" y="23564"/>
                              <a:pt x="73862" y="23624"/>
                            </a:cubicBezTo>
                            <a:cubicBezTo>
                              <a:pt x="73742" y="23624"/>
                              <a:pt x="73683" y="23683"/>
                              <a:pt x="73563" y="23683"/>
                            </a:cubicBezTo>
                            <a:lnTo>
                              <a:pt x="72965" y="25059"/>
                            </a:lnTo>
                            <a:moveTo>
                              <a:pt x="70812" y="30083"/>
                            </a:moveTo>
                            <a:cubicBezTo>
                              <a:pt x="70931" y="30023"/>
                              <a:pt x="71051" y="30023"/>
                              <a:pt x="71171" y="29963"/>
                            </a:cubicBezTo>
                            <a:cubicBezTo>
                              <a:pt x="71290" y="29904"/>
                              <a:pt x="71410" y="29904"/>
                              <a:pt x="71530" y="29844"/>
                            </a:cubicBezTo>
                            <a:cubicBezTo>
                              <a:pt x="71649" y="29784"/>
                              <a:pt x="71769" y="29784"/>
                              <a:pt x="71888" y="29724"/>
                            </a:cubicBezTo>
                            <a:cubicBezTo>
                              <a:pt x="72008" y="29664"/>
                              <a:pt x="72128" y="29664"/>
                              <a:pt x="72247" y="29604"/>
                            </a:cubicBezTo>
                            <a:lnTo>
                              <a:pt x="73683" y="26315"/>
                            </a:lnTo>
                            <a:cubicBezTo>
                              <a:pt x="73563" y="26375"/>
                              <a:pt x="73443" y="26435"/>
                              <a:pt x="73324" y="26495"/>
                            </a:cubicBezTo>
                            <a:cubicBezTo>
                              <a:pt x="73204" y="26554"/>
                              <a:pt x="73085" y="26614"/>
                              <a:pt x="72965" y="26674"/>
                            </a:cubicBezTo>
                            <a:cubicBezTo>
                              <a:pt x="72845" y="26734"/>
                              <a:pt x="72725" y="26794"/>
                              <a:pt x="72606" y="26794"/>
                            </a:cubicBezTo>
                            <a:cubicBezTo>
                              <a:pt x="72486" y="26853"/>
                              <a:pt x="72367" y="26913"/>
                              <a:pt x="72247" y="26913"/>
                            </a:cubicBezTo>
                            <a:lnTo>
                              <a:pt x="70812" y="30083"/>
                            </a:lnTo>
                            <a:moveTo>
                              <a:pt x="49521" y="15251"/>
                            </a:moveTo>
                            <a:lnTo>
                              <a:pt x="53408" y="6160"/>
                            </a:lnTo>
                            <a:cubicBezTo>
                              <a:pt x="53348" y="6160"/>
                              <a:pt x="53229" y="6160"/>
                              <a:pt x="53169" y="6160"/>
                            </a:cubicBezTo>
                            <a:cubicBezTo>
                              <a:pt x="53109" y="6160"/>
                              <a:pt x="52989" y="6160"/>
                              <a:pt x="52929" y="6160"/>
                            </a:cubicBezTo>
                            <a:cubicBezTo>
                              <a:pt x="52870" y="6160"/>
                              <a:pt x="52750" y="6160"/>
                              <a:pt x="52690" y="6100"/>
                            </a:cubicBezTo>
                            <a:cubicBezTo>
                              <a:pt x="52630" y="6100"/>
                              <a:pt x="52511" y="6041"/>
                              <a:pt x="52451" y="6041"/>
                            </a:cubicBezTo>
                            <a:cubicBezTo>
                              <a:pt x="52451" y="6041"/>
                              <a:pt x="52391" y="6041"/>
                              <a:pt x="52391" y="6041"/>
                            </a:cubicBezTo>
                            <a:cubicBezTo>
                              <a:pt x="52391" y="6041"/>
                              <a:pt x="52331" y="6041"/>
                              <a:pt x="52331" y="6041"/>
                            </a:cubicBezTo>
                            <a:cubicBezTo>
                              <a:pt x="52331" y="6041"/>
                              <a:pt x="52271" y="6041"/>
                              <a:pt x="52271" y="6041"/>
                            </a:cubicBezTo>
                            <a:cubicBezTo>
                              <a:pt x="52271" y="6041"/>
                              <a:pt x="52212" y="6041"/>
                              <a:pt x="52212" y="6041"/>
                            </a:cubicBezTo>
                            <a:lnTo>
                              <a:pt x="48982" y="13636"/>
                            </a:lnTo>
                            <a:cubicBezTo>
                              <a:pt x="49042" y="13756"/>
                              <a:pt x="49042" y="13935"/>
                              <a:pt x="49102" y="14055"/>
                            </a:cubicBezTo>
                            <a:cubicBezTo>
                              <a:pt x="49162" y="14174"/>
                              <a:pt x="49162" y="14354"/>
                              <a:pt x="49221" y="14473"/>
                            </a:cubicBezTo>
                            <a:cubicBezTo>
                              <a:pt x="49281" y="14593"/>
                              <a:pt x="49281" y="14772"/>
                              <a:pt x="49341" y="14892"/>
                            </a:cubicBezTo>
                            <a:cubicBezTo>
                              <a:pt x="49401" y="15012"/>
                              <a:pt x="49461" y="15131"/>
                              <a:pt x="49521" y="15251"/>
                            </a:cubicBezTo>
                            <a:moveTo>
                              <a:pt x="47307" y="20454"/>
                            </a:moveTo>
                            <a:lnTo>
                              <a:pt x="48683" y="17284"/>
                            </a:lnTo>
                            <a:cubicBezTo>
                              <a:pt x="48623" y="17165"/>
                              <a:pt x="48563" y="17045"/>
                              <a:pt x="48504" y="16925"/>
                            </a:cubicBezTo>
                            <a:cubicBezTo>
                              <a:pt x="48444" y="16806"/>
                              <a:pt x="48384" y="16686"/>
                              <a:pt x="48324" y="16566"/>
                            </a:cubicBezTo>
                            <a:cubicBezTo>
                              <a:pt x="48264" y="16447"/>
                              <a:pt x="48205" y="16327"/>
                              <a:pt x="48205" y="16208"/>
                            </a:cubicBezTo>
                            <a:cubicBezTo>
                              <a:pt x="48145" y="16088"/>
                              <a:pt x="48085" y="15968"/>
                              <a:pt x="48085" y="15849"/>
                            </a:cubicBezTo>
                            <a:lnTo>
                              <a:pt x="46650" y="19198"/>
                            </a:lnTo>
                            <a:cubicBezTo>
                              <a:pt x="46709" y="19318"/>
                              <a:pt x="46769" y="19437"/>
                              <a:pt x="46829" y="19557"/>
                            </a:cubicBezTo>
                            <a:cubicBezTo>
                              <a:pt x="46889" y="19676"/>
                              <a:pt x="46949" y="19796"/>
                              <a:pt x="47008" y="19916"/>
                            </a:cubicBezTo>
                            <a:cubicBezTo>
                              <a:pt x="47068" y="20035"/>
                              <a:pt x="47128" y="20155"/>
                              <a:pt x="47188" y="20274"/>
                            </a:cubicBezTo>
                            <a:cubicBezTo>
                              <a:pt x="47188" y="20215"/>
                              <a:pt x="47248" y="20334"/>
                              <a:pt x="47307" y="20454"/>
                            </a:cubicBezTo>
                            <a:moveTo>
                              <a:pt x="27571" y="133490"/>
                            </a:moveTo>
                            <a:lnTo>
                              <a:pt x="71589" y="31040"/>
                            </a:lnTo>
                            <a:cubicBezTo>
                              <a:pt x="71470" y="31099"/>
                              <a:pt x="71350" y="31099"/>
                              <a:pt x="71230" y="31159"/>
                            </a:cubicBezTo>
                            <a:cubicBezTo>
                              <a:pt x="71111" y="31219"/>
                              <a:pt x="70991" y="31219"/>
                              <a:pt x="70871" y="31279"/>
                            </a:cubicBezTo>
                            <a:cubicBezTo>
                              <a:pt x="70752" y="31339"/>
                              <a:pt x="70632" y="31339"/>
                              <a:pt x="70513" y="31339"/>
                            </a:cubicBezTo>
                            <a:cubicBezTo>
                              <a:pt x="70393" y="31339"/>
                              <a:pt x="70273" y="31399"/>
                              <a:pt x="70154" y="31399"/>
                            </a:cubicBezTo>
                            <a:lnTo>
                              <a:pt x="26794" y="132353"/>
                            </a:lnTo>
                            <a:cubicBezTo>
                              <a:pt x="26853" y="132473"/>
                              <a:pt x="26913" y="132533"/>
                              <a:pt x="26973" y="132652"/>
                            </a:cubicBezTo>
                            <a:cubicBezTo>
                              <a:pt x="27033" y="132772"/>
                              <a:pt x="27093" y="132832"/>
                              <a:pt x="27152" y="132951"/>
                            </a:cubicBezTo>
                            <a:cubicBezTo>
                              <a:pt x="27212" y="133071"/>
                              <a:pt x="27272" y="133131"/>
                              <a:pt x="27332" y="133250"/>
                            </a:cubicBezTo>
                            <a:cubicBezTo>
                              <a:pt x="27392" y="133370"/>
                              <a:pt x="27511" y="133430"/>
                              <a:pt x="27571" y="133490"/>
                            </a:cubicBezTo>
                            <a:moveTo>
                              <a:pt x="25119" y="137138"/>
                            </a:moveTo>
                            <a:lnTo>
                              <a:pt x="25358" y="137198"/>
                            </a:lnTo>
                            <a:lnTo>
                              <a:pt x="25897" y="137377"/>
                            </a:lnTo>
                            <a:lnTo>
                              <a:pt x="26973" y="134925"/>
                            </a:lnTo>
                            <a:cubicBezTo>
                              <a:pt x="26913" y="134805"/>
                              <a:pt x="26853" y="134745"/>
                              <a:pt x="26794" y="134626"/>
                            </a:cubicBezTo>
                            <a:cubicBezTo>
                              <a:pt x="26734" y="134506"/>
                              <a:pt x="26674" y="134447"/>
                              <a:pt x="26614" y="134327"/>
                            </a:cubicBezTo>
                            <a:cubicBezTo>
                              <a:pt x="26554" y="134207"/>
                              <a:pt x="26495" y="134148"/>
                              <a:pt x="26435" y="134028"/>
                            </a:cubicBezTo>
                            <a:cubicBezTo>
                              <a:pt x="26375" y="133908"/>
                              <a:pt x="26315" y="133849"/>
                              <a:pt x="26255" y="133729"/>
                            </a:cubicBezTo>
                            <a:lnTo>
                              <a:pt x="25298" y="136002"/>
                            </a:lnTo>
                            <a:lnTo>
                              <a:pt x="24342" y="135703"/>
                            </a:lnTo>
                            <a:cubicBezTo>
                              <a:pt x="24401" y="135822"/>
                              <a:pt x="24461" y="135942"/>
                              <a:pt x="24521" y="136061"/>
                            </a:cubicBezTo>
                            <a:cubicBezTo>
                              <a:pt x="24581" y="136181"/>
                              <a:pt x="24641" y="136301"/>
                              <a:pt x="24700" y="136420"/>
                            </a:cubicBezTo>
                            <a:cubicBezTo>
                              <a:pt x="24760" y="136540"/>
                              <a:pt x="24820" y="136659"/>
                              <a:pt x="24880" y="136779"/>
                            </a:cubicBezTo>
                            <a:cubicBezTo>
                              <a:pt x="24940" y="136898"/>
                              <a:pt x="25119" y="137018"/>
                              <a:pt x="25119" y="137138"/>
                            </a:cubicBezTo>
                            <a:moveTo>
                              <a:pt x="19497" y="134447"/>
                            </a:moveTo>
                            <a:cubicBezTo>
                              <a:pt x="19617" y="134447"/>
                              <a:pt x="19736" y="134506"/>
                              <a:pt x="19856" y="134506"/>
                            </a:cubicBezTo>
                            <a:cubicBezTo>
                              <a:pt x="19976" y="134506"/>
                              <a:pt x="20095" y="134566"/>
                              <a:pt x="20215" y="134626"/>
                            </a:cubicBezTo>
                            <a:cubicBezTo>
                              <a:pt x="20335" y="134686"/>
                              <a:pt x="20454" y="134745"/>
                              <a:pt x="20574" y="134805"/>
                            </a:cubicBezTo>
                            <a:cubicBezTo>
                              <a:pt x="20693" y="134865"/>
                              <a:pt x="20753" y="134925"/>
                              <a:pt x="20873" y="134985"/>
                            </a:cubicBezTo>
                            <a:lnTo>
                              <a:pt x="21471" y="135583"/>
                            </a:lnTo>
                            <a:cubicBezTo>
                              <a:pt x="21471" y="135643"/>
                              <a:pt x="21530" y="135643"/>
                              <a:pt x="21530" y="135703"/>
                            </a:cubicBezTo>
                            <a:cubicBezTo>
                              <a:pt x="21530" y="135762"/>
                              <a:pt x="21590" y="135762"/>
                              <a:pt x="21590" y="135822"/>
                            </a:cubicBezTo>
                            <a:cubicBezTo>
                              <a:pt x="21590" y="135882"/>
                              <a:pt x="21650" y="135882"/>
                              <a:pt x="21650" y="135942"/>
                            </a:cubicBezTo>
                            <a:cubicBezTo>
                              <a:pt x="21650" y="136002"/>
                              <a:pt x="21710" y="136002"/>
                              <a:pt x="21710" y="136061"/>
                            </a:cubicBezTo>
                            <a:lnTo>
                              <a:pt x="23145" y="136540"/>
                            </a:lnTo>
                            <a:cubicBezTo>
                              <a:pt x="23086" y="136420"/>
                              <a:pt x="22966" y="136241"/>
                              <a:pt x="22906" y="136121"/>
                            </a:cubicBezTo>
                            <a:cubicBezTo>
                              <a:pt x="22846" y="136002"/>
                              <a:pt x="22727" y="135882"/>
                              <a:pt x="22667" y="135703"/>
                            </a:cubicBezTo>
                            <a:cubicBezTo>
                              <a:pt x="22607" y="135523"/>
                              <a:pt x="22488" y="135463"/>
                              <a:pt x="22428" y="135284"/>
                            </a:cubicBezTo>
                            <a:cubicBezTo>
                              <a:pt x="22368" y="135164"/>
                              <a:pt x="22248" y="135044"/>
                              <a:pt x="22129" y="134925"/>
                            </a:cubicBezTo>
                            <a:lnTo>
                              <a:pt x="19676" y="134088"/>
                            </a:lnTo>
                            <a:lnTo>
                              <a:pt x="19497" y="134447"/>
                            </a:lnTo>
                            <a:moveTo>
                              <a:pt x="1794" y="124399"/>
                            </a:moveTo>
                            <a:cubicBezTo>
                              <a:pt x="1914" y="124339"/>
                              <a:pt x="2034" y="124339"/>
                              <a:pt x="2153" y="124279"/>
                            </a:cubicBezTo>
                            <a:cubicBezTo>
                              <a:pt x="2273" y="124219"/>
                              <a:pt x="2392" y="124219"/>
                              <a:pt x="2512" y="124160"/>
                            </a:cubicBezTo>
                            <a:cubicBezTo>
                              <a:pt x="2632" y="124100"/>
                              <a:pt x="2751" y="124100"/>
                              <a:pt x="2871" y="124040"/>
                            </a:cubicBezTo>
                            <a:cubicBezTo>
                              <a:pt x="2990" y="123980"/>
                              <a:pt x="3110" y="123980"/>
                              <a:pt x="3229" y="123920"/>
                            </a:cubicBezTo>
                            <a:lnTo>
                              <a:pt x="46769" y="21770"/>
                            </a:lnTo>
                            <a:cubicBezTo>
                              <a:pt x="46709" y="21650"/>
                              <a:pt x="46650" y="21590"/>
                              <a:pt x="46590" y="21471"/>
                            </a:cubicBezTo>
                            <a:cubicBezTo>
                              <a:pt x="46530" y="21351"/>
                              <a:pt x="46470" y="21231"/>
                              <a:pt x="46410" y="21172"/>
                            </a:cubicBezTo>
                            <a:cubicBezTo>
                              <a:pt x="46351" y="21052"/>
                              <a:pt x="46291" y="20933"/>
                              <a:pt x="46231" y="20873"/>
                            </a:cubicBezTo>
                            <a:cubicBezTo>
                              <a:pt x="46171" y="20753"/>
                              <a:pt x="46112" y="20633"/>
                              <a:pt x="46052" y="20574"/>
                            </a:cubicBezTo>
                            <a:lnTo>
                              <a:pt x="1794" y="124399"/>
                            </a:lnTo>
                            <a:moveTo>
                              <a:pt x="12739" y="132951"/>
                            </a:moveTo>
                            <a:lnTo>
                              <a:pt x="13218" y="133131"/>
                            </a:lnTo>
                            <a:lnTo>
                              <a:pt x="12739" y="132951"/>
                            </a:lnTo>
                            <a:lnTo>
                              <a:pt x="12739" y="132951"/>
                            </a:lnTo>
                            <a:cubicBezTo>
                              <a:pt x="12739" y="132951"/>
                              <a:pt x="12739" y="132951"/>
                              <a:pt x="12739" y="132951"/>
                            </a:cubicBezTo>
                            <a:lnTo>
                              <a:pt x="12739" y="132951"/>
                            </a:lnTo>
                            <a:lnTo>
                              <a:pt x="12739" y="132951"/>
                            </a:lnTo>
                            <a:moveTo>
                              <a:pt x="7715" y="131277"/>
                            </a:moveTo>
                            <a:lnTo>
                              <a:pt x="11662" y="132592"/>
                            </a:lnTo>
                            <a:cubicBezTo>
                              <a:pt x="11662" y="132592"/>
                              <a:pt x="11662" y="132592"/>
                              <a:pt x="11662" y="132592"/>
                            </a:cubicBezTo>
                            <a:lnTo>
                              <a:pt x="11662" y="132592"/>
                            </a:lnTo>
                            <a:cubicBezTo>
                              <a:pt x="11662" y="132592"/>
                              <a:pt x="11662" y="132592"/>
                              <a:pt x="11662" y="132592"/>
                            </a:cubicBezTo>
                            <a:cubicBezTo>
                              <a:pt x="11662" y="132592"/>
                              <a:pt x="11662" y="132592"/>
                              <a:pt x="11662" y="132592"/>
                            </a:cubicBezTo>
                            <a:lnTo>
                              <a:pt x="9450" y="131875"/>
                            </a:lnTo>
                            <a:lnTo>
                              <a:pt x="9689" y="131277"/>
                            </a:lnTo>
                            <a:lnTo>
                              <a:pt x="9928" y="130738"/>
                            </a:lnTo>
                            <a:lnTo>
                              <a:pt x="9210" y="130499"/>
                            </a:lnTo>
                            <a:cubicBezTo>
                              <a:pt x="9091" y="130499"/>
                              <a:pt x="8971" y="130559"/>
                              <a:pt x="8911" y="130559"/>
                            </a:cubicBezTo>
                            <a:cubicBezTo>
                              <a:pt x="8851" y="130559"/>
                              <a:pt x="8672" y="130619"/>
                              <a:pt x="8612" y="130679"/>
                            </a:cubicBezTo>
                            <a:cubicBezTo>
                              <a:pt x="8493" y="130738"/>
                              <a:pt x="8433" y="130798"/>
                              <a:pt x="8313" y="130858"/>
                            </a:cubicBezTo>
                            <a:cubicBezTo>
                              <a:pt x="8194" y="130918"/>
                              <a:pt x="8134" y="130978"/>
                              <a:pt x="8014" y="131097"/>
                            </a:cubicBezTo>
                            <a:cubicBezTo>
                              <a:pt x="8014" y="131097"/>
                              <a:pt x="7954" y="131157"/>
                              <a:pt x="7954" y="131157"/>
                            </a:cubicBezTo>
                            <a:cubicBezTo>
                              <a:pt x="7954" y="131157"/>
                              <a:pt x="7895" y="131217"/>
                              <a:pt x="7895" y="131217"/>
                            </a:cubicBezTo>
                            <a:cubicBezTo>
                              <a:pt x="7895" y="131217"/>
                              <a:pt x="7775" y="131217"/>
                              <a:pt x="7715" y="131277"/>
                            </a:cubicBezTo>
                            <a:cubicBezTo>
                              <a:pt x="7775" y="131277"/>
                              <a:pt x="7775" y="131277"/>
                              <a:pt x="7715" y="131277"/>
                            </a:cubicBezTo>
                            <a:moveTo>
                              <a:pt x="2392" y="129482"/>
                            </a:moveTo>
                            <a:lnTo>
                              <a:pt x="6639" y="130918"/>
                            </a:lnTo>
                            <a:cubicBezTo>
                              <a:pt x="6698" y="130858"/>
                              <a:pt x="6758" y="130798"/>
                              <a:pt x="6818" y="130738"/>
                            </a:cubicBezTo>
                            <a:cubicBezTo>
                              <a:pt x="6878" y="130679"/>
                              <a:pt x="6937" y="130619"/>
                              <a:pt x="6997" y="130559"/>
                            </a:cubicBezTo>
                            <a:cubicBezTo>
                              <a:pt x="7057" y="130499"/>
                              <a:pt x="7117" y="130440"/>
                              <a:pt x="7177" y="130380"/>
                            </a:cubicBezTo>
                            <a:cubicBezTo>
                              <a:pt x="7237" y="130320"/>
                              <a:pt x="7297" y="130260"/>
                              <a:pt x="7356" y="130200"/>
                            </a:cubicBezTo>
                            <a:cubicBezTo>
                              <a:pt x="7356" y="130200"/>
                              <a:pt x="7416" y="130141"/>
                              <a:pt x="7416" y="130141"/>
                            </a:cubicBezTo>
                            <a:cubicBezTo>
                              <a:pt x="7416" y="130141"/>
                              <a:pt x="7476" y="130081"/>
                              <a:pt x="7476" y="130081"/>
                            </a:cubicBezTo>
                            <a:cubicBezTo>
                              <a:pt x="7476" y="130081"/>
                              <a:pt x="7536" y="130021"/>
                              <a:pt x="7536" y="130021"/>
                            </a:cubicBezTo>
                            <a:cubicBezTo>
                              <a:pt x="7536" y="130021"/>
                              <a:pt x="7596" y="129961"/>
                              <a:pt x="7596" y="129961"/>
                            </a:cubicBezTo>
                            <a:lnTo>
                              <a:pt x="4366" y="128884"/>
                            </a:lnTo>
                            <a:cubicBezTo>
                              <a:pt x="4187" y="128944"/>
                              <a:pt x="4007" y="128944"/>
                              <a:pt x="3828" y="129004"/>
                            </a:cubicBezTo>
                            <a:cubicBezTo>
                              <a:pt x="3648" y="129064"/>
                              <a:pt x="3469" y="129124"/>
                              <a:pt x="3289" y="129124"/>
                            </a:cubicBezTo>
                            <a:cubicBezTo>
                              <a:pt x="3110" y="129183"/>
                              <a:pt x="2930" y="129243"/>
                              <a:pt x="2811" y="129303"/>
                            </a:cubicBezTo>
                            <a:cubicBezTo>
                              <a:pt x="2691" y="129363"/>
                              <a:pt x="2512" y="129423"/>
                              <a:pt x="2392" y="129482"/>
                            </a:cubicBezTo>
                            <a:moveTo>
                              <a:pt x="0" y="128705"/>
                            </a:moveTo>
                            <a:lnTo>
                              <a:pt x="299" y="128825"/>
                            </a:lnTo>
                            <a:cubicBezTo>
                              <a:pt x="419" y="128765"/>
                              <a:pt x="598" y="128705"/>
                              <a:pt x="718" y="128645"/>
                            </a:cubicBezTo>
                            <a:cubicBezTo>
                              <a:pt x="837" y="128586"/>
                              <a:pt x="1017" y="128526"/>
                              <a:pt x="1136" y="128466"/>
                            </a:cubicBezTo>
                            <a:cubicBezTo>
                              <a:pt x="1256" y="128406"/>
                              <a:pt x="1435" y="128346"/>
                              <a:pt x="1555" y="128286"/>
                            </a:cubicBezTo>
                            <a:cubicBezTo>
                              <a:pt x="1675" y="128227"/>
                              <a:pt x="1854" y="128167"/>
                              <a:pt x="1974" y="128107"/>
                            </a:cubicBezTo>
                            <a:lnTo>
                              <a:pt x="1435" y="127927"/>
                            </a:lnTo>
                            <a:lnTo>
                              <a:pt x="2512" y="125356"/>
                            </a:lnTo>
                            <a:cubicBezTo>
                              <a:pt x="2392" y="125416"/>
                              <a:pt x="2273" y="125416"/>
                              <a:pt x="2153" y="125475"/>
                            </a:cubicBezTo>
                            <a:cubicBezTo>
                              <a:pt x="2034" y="125535"/>
                              <a:pt x="1914" y="125535"/>
                              <a:pt x="1794" y="125595"/>
                            </a:cubicBezTo>
                            <a:cubicBezTo>
                              <a:pt x="1675" y="125655"/>
                              <a:pt x="1555" y="125655"/>
                              <a:pt x="1435" y="125715"/>
                            </a:cubicBezTo>
                            <a:cubicBezTo>
                              <a:pt x="1316" y="125774"/>
                              <a:pt x="1196" y="125774"/>
                              <a:pt x="1076" y="125834"/>
                            </a:cubicBezTo>
                            <a:lnTo>
                              <a:pt x="120" y="128107"/>
                            </a:lnTo>
                            <a:lnTo>
                              <a:pt x="0" y="128705"/>
                            </a:lnTo>
                          </a:path>
                        </a:pathLst>
                      </a:custGeom>
                      <a:noFill/>
                      <a:ln w="6350" cap="flat">
                        <a:solidFill>
                          <a:schemeClr val="bg1">
                            <a:alpha val="40000"/>
                          </a:schemeClr>
                        </a:solidFill>
                        <a:prstDash val="solid"/>
                        <a:miter/>
                      </a:ln>
                    </p:spPr>
                    <p:txBody>
                      <a:bodyPr rtlCol="0" anchor="ctr"/>
                      <a:lstStyle/>
                      <a:p>
                        <a:endParaRPr lang="en-GB"/>
                      </a:p>
                    </p:txBody>
                  </p:sp>
                  <p:sp>
                    <p:nvSpPr>
                      <p:cNvPr id="7478" name="Vrije vorm: vorm 7477">
                        <a:extLst>
                          <a:ext uri="{FF2B5EF4-FFF2-40B4-BE49-F238E27FC236}">
                            <a16:creationId xmlns:a16="http://schemas.microsoft.com/office/drawing/2014/main" id="{5F6C3C5C-23E2-4B1B-BA56-D4917F5FF36E}"/>
                          </a:ext>
                        </a:extLst>
                      </p:cNvPr>
                      <p:cNvSpPr/>
                      <p:nvPr/>
                    </p:nvSpPr>
                    <p:spPr>
                      <a:xfrm>
                        <a:off x="5001937" y="4955187"/>
                        <a:ext cx="64412" cy="130977"/>
                      </a:xfrm>
                      <a:custGeom>
                        <a:avLst/>
                        <a:gdLst>
                          <a:gd name="connsiteX0" fmla="*/ 59986 w 64412"/>
                          <a:gd name="connsiteY0" fmla="*/ 11423 h 130977"/>
                          <a:gd name="connsiteX1" fmla="*/ 60405 w 64412"/>
                          <a:gd name="connsiteY1" fmla="*/ 11244 h 130977"/>
                          <a:gd name="connsiteX2" fmla="*/ 60764 w 64412"/>
                          <a:gd name="connsiteY2" fmla="*/ 11064 h 130977"/>
                          <a:gd name="connsiteX3" fmla="*/ 61123 w 64412"/>
                          <a:gd name="connsiteY3" fmla="*/ 10885 h 130977"/>
                          <a:gd name="connsiteX4" fmla="*/ 61482 w 64412"/>
                          <a:gd name="connsiteY4" fmla="*/ 10645 h 130977"/>
                          <a:gd name="connsiteX5" fmla="*/ 63934 w 64412"/>
                          <a:gd name="connsiteY5" fmla="*/ 4964 h 130977"/>
                          <a:gd name="connsiteX6" fmla="*/ 64173 w 64412"/>
                          <a:gd name="connsiteY6" fmla="*/ 4366 h 130977"/>
                          <a:gd name="connsiteX7" fmla="*/ 64412 w 64412"/>
                          <a:gd name="connsiteY7" fmla="*/ 3768 h 130977"/>
                          <a:gd name="connsiteX8" fmla="*/ 64233 w 64412"/>
                          <a:gd name="connsiteY8" fmla="*/ 3708 h 130977"/>
                          <a:gd name="connsiteX9" fmla="*/ 64173 w 64412"/>
                          <a:gd name="connsiteY9" fmla="*/ 3888 h 130977"/>
                          <a:gd name="connsiteX10" fmla="*/ 64113 w 64412"/>
                          <a:gd name="connsiteY10" fmla="*/ 4067 h 130977"/>
                          <a:gd name="connsiteX11" fmla="*/ 64053 w 64412"/>
                          <a:gd name="connsiteY11" fmla="*/ 4246 h 130977"/>
                          <a:gd name="connsiteX12" fmla="*/ 63994 w 64412"/>
                          <a:gd name="connsiteY12" fmla="*/ 4426 h 130977"/>
                          <a:gd name="connsiteX13" fmla="*/ 63515 w 64412"/>
                          <a:gd name="connsiteY13" fmla="*/ 5562 h 130977"/>
                          <a:gd name="connsiteX14" fmla="*/ 62917 w 64412"/>
                          <a:gd name="connsiteY14" fmla="*/ 6579 h 130977"/>
                          <a:gd name="connsiteX15" fmla="*/ 62199 w 64412"/>
                          <a:gd name="connsiteY15" fmla="*/ 7476 h 130977"/>
                          <a:gd name="connsiteX16" fmla="*/ 61362 w 64412"/>
                          <a:gd name="connsiteY16" fmla="*/ 8253 h 130977"/>
                          <a:gd name="connsiteX17" fmla="*/ 59986 w 64412"/>
                          <a:gd name="connsiteY17" fmla="*/ 11423 h 130977"/>
                          <a:gd name="connsiteX18" fmla="*/ 53468 w 64412"/>
                          <a:gd name="connsiteY18" fmla="*/ 5921 h 130977"/>
                          <a:gd name="connsiteX19" fmla="*/ 55322 w 64412"/>
                          <a:gd name="connsiteY19" fmla="*/ 1615 h 130977"/>
                          <a:gd name="connsiteX20" fmla="*/ 57774 w 64412"/>
                          <a:gd name="connsiteY20" fmla="*/ 2572 h 130977"/>
                          <a:gd name="connsiteX21" fmla="*/ 62618 w 64412"/>
                          <a:gd name="connsiteY21" fmla="*/ 4486 h 130977"/>
                          <a:gd name="connsiteX22" fmla="*/ 62618 w 64412"/>
                          <a:gd name="connsiteY22" fmla="*/ 4426 h 130977"/>
                          <a:gd name="connsiteX23" fmla="*/ 62618 w 64412"/>
                          <a:gd name="connsiteY23" fmla="*/ 4366 h 130977"/>
                          <a:gd name="connsiteX24" fmla="*/ 62618 w 64412"/>
                          <a:gd name="connsiteY24" fmla="*/ 4306 h 130977"/>
                          <a:gd name="connsiteX25" fmla="*/ 62618 w 64412"/>
                          <a:gd name="connsiteY25" fmla="*/ 4246 h 130977"/>
                          <a:gd name="connsiteX26" fmla="*/ 62678 w 64412"/>
                          <a:gd name="connsiteY26" fmla="*/ 4007 h 130977"/>
                          <a:gd name="connsiteX27" fmla="*/ 62738 w 64412"/>
                          <a:gd name="connsiteY27" fmla="*/ 3768 h 130977"/>
                          <a:gd name="connsiteX28" fmla="*/ 62798 w 64412"/>
                          <a:gd name="connsiteY28" fmla="*/ 3528 h 130977"/>
                          <a:gd name="connsiteX29" fmla="*/ 62857 w 64412"/>
                          <a:gd name="connsiteY29" fmla="*/ 3289 h 130977"/>
                          <a:gd name="connsiteX30" fmla="*/ 54723 w 64412"/>
                          <a:gd name="connsiteY30" fmla="*/ 0 h 130977"/>
                          <a:gd name="connsiteX31" fmla="*/ 54245 w 64412"/>
                          <a:gd name="connsiteY31" fmla="*/ 1136 h 130977"/>
                          <a:gd name="connsiteX32" fmla="*/ 52869 w 64412"/>
                          <a:gd name="connsiteY32" fmla="*/ 4306 h 130977"/>
                          <a:gd name="connsiteX33" fmla="*/ 52929 w 64412"/>
                          <a:gd name="connsiteY33" fmla="*/ 4725 h 130977"/>
                          <a:gd name="connsiteX34" fmla="*/ 53049 w 64412"/>
                          <a:gd name="connsiteY34" fmla="*/ 5143 h 130977"/>
                          <a:gd name="connsiteX35" fmla="*/ 53169 w 64412"/>
                          <a:gd name="connsiteY35" fmla="*/ 5502 h 130977"/>
                          <a:gd name="connsiteX36" fmla="*/ 53468 w 64412"/>
                          <a:gd name="connsiteY36" fmla="*/ 5921 h 130977"/>
                          <a:gd name="connsiteX37" fmla="*/ 51793 w 64412"/>
                          <a:gd name="connsiteY37" fmla="*/ 9868 h 130977"/>
                          <a:gd name="connsiteX38" fmla="*/ 52750 w 64412"/>
                          <a:gd name="connsiteY38" fmla="*/ 7536 h 130977"/>
                          <a:gd name="connsiteX39" fmla="*/ 52570 w 64412"/>
                          <a:gd name="connsiteY39" fmla="*/ 7237 h 130977"/>
                          <a:gd name="connsiteX40" fmla="*/ 52391 w 64412"/>
                          <a:gd name="connsiteY40" fmla="*/ 6937 h 130977"/>
                          <a:gd name="connsiteX41" fmla="*/ 52212 w 64412"/>
                          <a:gd name="connsiteY41" fmla="*/ 6639 h 130977"/>
                          <a:gd name="connsiteX42" fmla="*/ 52032 w 64412"/>
                          <a:gd name="connsiteY42" fmla="*/ 6340 h 130977"/>
                          <a:gd name="connsiteX43" fmla="*/ 50956 w 64412"/>
                          <a:gd name="connsiteY43" fmla="*/ 8851 h 130977"/>
                          <a:gd name="connsiteX44" fmla="*/ 51135 w 64412"/>
                          <a:gd name="connsiteY44" fmla="*/ 9091 h 130977"/>
                          <a:gd name="connsiteX45" fmla="*/ 51314 w 64412"/>
                          <a:gd name="connsiteY45" fmla="*/ 9330 h 130977"/>
                          <a:gd name="connsiteX46" fmla="*/ 51494 w 64412"/>
                          <a:gd name="connsiteY46" fmla="*/ 9569 h 130977"/>
                          <a:gd name="connsiteX47" fmla="*/ 51793 w 64412"/>
                          <a:gd name="connsiteY47" fmla="*/ 9868 h 130977"/>
                          <a:gd name="connsiteX48" fmla="*/ 55023 w 64412"/>
                          <a:gd name="connsiteY48" fmla="*/ 23085 h 130977"/>
                          <a:gd name="connsiteX49" fmla="*/ 55322 w 64412"/>
                          <a:gd name="connsiteY49" fmla="*/ 23085 h 130977"/>
                          <a:gd name="connsiteX50" fmla="*/ 55621 w 64412"/>
                          <a:gd name="connsiteY50" fmla="*/ 23085 h 130977"/>
                          <a:gd name="connsiteX51" fmla="*/ 55920 w 64412"/>
                          <a:gd name="connsiteY51" fmla="*/ 23085 h 130977"/>
                          <a:gd name="connsiteX52" fmla="*/ 56219 w 64412"/>
                          <a:gd name="connsiteY52" fmla="*/ 23085 h 130977"/>
                          <a:gd name="connsiteX53" fmla="*/ 60645 w 64412"/>
                          <a:gd name="connsiteY53" fmla="*/ 12739 h 130977"/>
                          <a:gd name="connsiteX54" fmla="*/ 60285 w 64412"/>
                          <a:gd name="connsiteY54" fmla="*/ 12859 h 130977"/>
                          <a:gd name="connsiteX55" fmla="*/ 59927 w 64412"/>
                          <a:gd name="connsiteY55" fmla="*/ 12978 h 130977"/>
                          <a:gd name="connsiteX56" fmla="*/ 59568 w 64412"/>
                          <a:gd name="connsiteY56" fmla="*/ 13098 h 130977"/>
                          <a:gd name="connsiteX57" fmla="*/ 59209 w 64412"/>
                          <a:gd name="connsiteY57" fmla="*/ 13218 h 130977"/>
                          <a:gd name="connsiteX58" fmla="*/ 55023 w 64412"/>
                          <a:gd name="connsiteY58" fmla="*/ 23085 h 130977"/>
                          <a:gd name="connsiteX59" fmla="*/ 46291 w 64412"/>
                          <a:gd name="connsiteY59" fmla="*/ 20035 h 130977"/>
                          <a:gd name="connsiteX60" fmla="*/ 46530 w 64412"/>
                          <a:gd name="connsiteY60" fmla="*/ 20215 h 130977"/>
                          <a:gd name="connsiteX61" fmla="*/ 46769 w 64412"/>
                          <a:gd name="connsiteY61" fmla="*/ 20394 h 130977"/>
                          <a:gd name="connsiteX62" fmla="*/ 47008 w 64412"/>
                          <a:gd name="connsiteY62" fmla="*/ 20574 h 130977"/>
                          <a:gd name="connsiteX63" fmla="*/ 47247 w 64412"/>
                          <a:gd name="connsiteY63" fmla="*/ 20693 h 130977"/>
                          <a:gd name="connsiteX64" fmla="*/ 51195 w 64412"/>
                          <a:gd name="connsiteY64" fmla="*/ 11423 h 130977"/>
                          <a:gd name="connsiteX65" fmla="*/ 50956 w 64412"/>
                          <a:gd name="connsiteY65" fmla="*/ 11244 h 130977"/>
                          <a:gd name="connsiteX66" fmla="*/ 50716 w 64412"/>
                          <a:gd name="connsiteY66" fmla="*/ 11064 h 130977"/>
                          <a:gd name="connsiteX67" fmla="*/ 50537 w 64412"/>
                          <a:gd name="connsiteY67" fmla="*/ 10825 h 130977"/>
                          <a:gd name="connsiteX68" fmla="*/ 50358 w 64412"/>
                          <a:gd name="connsiteY68" fmla="*/ 10586 h 130977"/>
                          <a:gd name="connsiteX69" fmla="*/ 46291 w 64412"/>
                          <a:gd name="connsiteY69" fmla="*/ 20035 h 130977"/>
                          <a:gd name="connsiteX70" fmla="*/ 53288 w 64412"/>
                          <a:gd name="connsiteY70" fmla="*/ 27152 h 130977"/>
                          <a:gd name="connsiteX71" fmla="*/ 53587 w 64412"/>
                          <a:gd name="connsiteY71" fmla="*/ 27152 h 130977"/>
                          <a:gd name="connsiteX72" fmla="*/ 53886 w 64412"/>
                          <a:gd name="connsiteY72" fmla="*/ 27152 h 130977"/>
                          <a:gd name="connsiteX73" fmla="*/ 54185 w 64412"/>
                          <a:gd name="connsiteY73" fmla="*/ 27152 h 130977"/>
                          <a:gd name="connsiteX74" fmla="*/ 54484 w 64412"/>
                          <a:gd name="connsiteY74" fmla="*/ 27152 h 130977"/>
                          <a:gd name="connsiteX75" fmla="*/ 55621 w 64412"/>
                          <a:gd name="connsiteY75" fmla="*/ 24521 h 130977"/>
                          <a:gd name="connsiteX76" fmla="*/ 55322 w 64412"/>
                          <a:gd name="connsiteY76" fmla="*/ 24521 h 130977"/>
                          <a:gd name="connsiteX77" fmla="*/ 55023 w 64412"/>
                          <a:gd name="connsiteY77" fmla="*/ 24521 h 130977"/>
                          <a:gd name="connsiteX78" fmla="*/ 54723 w 64412"/>
                          <a:gd name="connsiteY78" fmla="*/ 24521 h 130977"/>
                          <a:gd name="connsiteX79" fmla="*/ 54424 w 64412"/>
                          <a:gd name="connsiteY79" fmla="*/ 24521 h 130977"/>
                          <a:gd name="connsiteX80" fmla="*/ 53288 w 64412"/>
                          <a:gd name="connsiteY80" fmla="*/ 27152 h 130977"/>
                          <a:gd name="connsiteX81" fmla="*/ 44556 w 64412"/>
                          <a:gd name="connsiteY81" fmla="*/ 24043 h 130977"/>
                          <a:gd name="connsiteX82" fmla="*/ 44796 w 64412"/>
                          <a:gd name="connsiteY82" fmla="*/ 24162 h 130977"/>
                          <a:gd name="connsiteX83" fmla="*/ 45035 w 64412"/>
                          <a:gd name="connsiteY83" fmla="*/ 24282 h 130977"/>
                          <a:gd name="connsiteX84" fmla="*/ 45274 w 64412"/>
                          <a:gd name="connsiteY84" fmla="*/ 24401 h 130977"/>
                          <a:gd name="connsiteX85" fmla="*/ 45513 w 64412"/>
                          <a:gd name="connsiteY85" fmla="*/ 24521 h 130977"/>
                          <a:gd name="connsiteX86" fmla="*/ 46590 w 64412"/>
                          <a:gd name="connsiteY86" fmla="*/ 22009 h 130977"/>
                          <a:gd name="connsiteX87" fmla="*/ 46351 w 64412"/>
                          <a:gd name="connsiteY87" fmla="*/ 21889 h 130977"/>
                          <a:gd name="connsiteX88" fmla="*/ 46111 w 64412"/>
                          <a:gd name="connsiteY88" fmla="*/ 21770 h 130977"/>
                          <a:gd name="connsiteX89" fmla="*/ 45872 w 64412"/>
                          <a:gd name="connsiteY89" fmla="*/ 21590 h 130977"/>
                          <a:gd name="connsiteX90" fmla="*/ 45633 w 64412"/>
                          <a:gd name="connsiteY90" fmla="*/ 21411 h 130977"/>
                          <a:gd name="connsiteX91" fmla="*/ 44556 w 64412"/>
                          <a:gd name="connsiteY91" fmla="*/ 24043 h 130977"/>
                          <a:gd name="connsiteX92" fmla="*/ 12141 w 64412"/>
                          <a:gd name="connsiteY92" fmla="*/ 123143 h 130977"/>
                          <a:gd name="connsiteX93" fmla="*/ 12380 w 64412"/>
                          <a:gd name="connsiteY93" fmla="*/ 123322 h 130977"/>
                          <a:gd name="connsiteX94" fmla="*/ 12619 w 64412"/>
                          <a:gd name="connsiteY94" fmla="*/ 123502 h 130977"/>
                          <a:gd name="connsiteX95" fmla="*/ 12858 w 64412"/>
                          <a:gd name="connsiteY95" fmla="*/ 123681 h 130977"/>
                          <a:gd name="connsiteX96" fmla="*/ 13098 w 64412"/>
                          <a:gd name="connsiteY96" fmla="*/ 123861 h 130977"/>
                          <a:gd name="connsiteX97" fmla="*/ 54006 w 64412"/>
                          <a:gd name="connsiteY97" fmla="*/ 28408 h 130977"/>
                          <a:gd name="connsiteX98" fmla="*/ 53707 w 64412"/>
                          <a:gd name="connsiteY98" fmla="*/ 28408 h 130977"/>
                          <a:gd name="connsiteX99" fmla="*/ 53408 w 64412"/>
                          <a:gd name="connsiteY99" fmla="*/ 28408 h 130977"/>
                          <a:gd name="connsiteX100" fmla="*/ 53109 w 64412"/>
                          <a:gd name="connsiteY100" fmla="*/ 28408 h 130977"/>
                          <a:gd name="connsiteX101" fmla="*/ 52810 w 64412"/>
                          <a:gd name="connsiteY101" fmla="*/ 28349 h 130977"/>
                          <a:gd name="connsiteX102" fmla="*/ 12141 w 64412"/>
                          <a:gd name="connsiteY102" fmla="*/ 123143 h 130977"/>
                          <a:gd name="connsiteX103" fmla="*/ 3588 w 64412"/>
                          <a:gd name="connsiteY103" fmla="*/ 119794 h 130977"/>
                          <a:gd name="connsiteX104" fmla="*/ 3887 w 64412"/>
                          <a:gd name="connsiteY104" fmla="*/ 119854 h 130977"/>
                          <a:gd name="connsiteX105" fmla="*/ 4187 w 64412"/>
                          <a:gd name="connsiteY105" fmla="*/ 119913 h 130977"/>
                          <a:gd name="connsiteX106" fmla="*/ 4486 w 64412"/>
                          <a:gd name="connsiteY106" fmla="*/ 119973 h 130977"/>
                          <a:gd name="connsiteX107" fmla="*/ 4785 w 64412"/>
                          <a:gd name="connsiteY107" fmla="*/ 120033 h 130977"/>
                          <a:gd name="connsiteX108" fmla="*/ 45035 w 64412"/>
                          <a:gd name="connsiteY108" fmla="*/ 25837 h 130977"/>
                          <a:gd name="connsiteX109" fmla="*/ 44796 w 64412"/>
                          <a:gd name="connsiteY109" fmla="*/ 25717 h 130977"/>
                          <a:gd name="connsiteX110" fmla="*/ 44556 w 64412"/>
                          <a:gd name="connsiteY110" fmla="*/ 25597 h 130977"/>
                          <a:gd name="connsiteX111" fmla="*/ 44317 w 64412"/>
                          <a:gd name="connsiteY111" fmla="*/ 25478 h 130977"/>
                          <a:gd name="connsiteX112" fmla="*/ 44078 w 64412"/>
                          <a:gd name="connsiteY112" fmla="*/ 25358 h 130977"/>
                          <a:gd name="connsiteX113" fmla="*/ 3588 w 64412"/>
                          <a:gd name="connsiteY113" fmla="*/ 119794 h 130977"/>
                          <a:gd name="connsiteX114" fmla="*/ 11423 w 64412"/>
                          <a:gd name="connsiteY114" fmla="*/ 127569 h 130977"/>
                          <a:gd name="connsiteX115" fmla="*/ 12500 w 64412"/>
                          <a:gd name="connsiteY115" fmla="*/ 124997 h 130977"/>
                          <a:gd name="connsiteX116" fmla="*/ 12440 w 64412"/>
                          <a:gd name="connsiteY116" fmla="*/ 124937 h 130977"/>
                          <a:gd name="connsiteX117" fmla="*/ 12380 w 64412"/>
                          <a:gd name="connsiteY117" fmla="*/ 124877 h 130977"/>
                          <a:gd name="connsiteX118" fmla="*/ 12320 w 64412"/>
                          <a:gd name="connsiteY118" fmla="*/ 124818 h 130977"/>
                          <a:gd name="connsiteX119" fmla="*/ 12260 w 64412"/>
                          <a:gd name="connsiteY119" fmla="*/ 124758 h 130977"/>
                          <a:gd name="connsiteX120" fmla="*/ 12081 w 64412"/>
                          <a:gd name="connsiteY120" fmla="*/ 124638 h 130977"/>
                          <a:gd name="connsiteX121" fmla="*/ 11902 w 64412"/>
                          <a:gd name="connsiteY121" fmla="*/ 124519 h 130977"/>
                          <a:gd name="connsiteX122" fmla="*/ 11722 w 64412"/>
                          <a:gd name="connsiteY122" fmla="*/ 124399 h 130977"/>
                          <a:gd name="connsiteX123" fmla="*/ 11543 w 64412"/>
                          <a:gd name="connsiteY123" fmla="*/ 124279 h 130977"/>
                          <a:gd name="connsiteX124" fmla="*/ 10466 w 64412"/>
                          <a:gd name="connsiteY124" fmla="*/ 126791 h 130977"/>
                          <a:gd name="connsiteX125" fmla="*/ 10466 w 64412"/>
                          <a:gd name="connsiteY125" fmla="*/ 126791 h 130977"/>
                          <a:gd name="connsiteX126" fmla="*/ 10466 w 64412"/>
                          <a:gd name="connsiteY126" fmla="*/ 126791 h 130977"/>
                          <a:gd name="connsiteX127" fmla="*/ 10466 w 64412"/>
                          <a:gd name="connsiteY127" fmla="*/ 126791 h 130977"/>
                          <a:gd name="connsiteX128" fmla="*/ 10466 w 64412"/>
                          <a:gd name="connsiteY128" fmla="*/ 126791 h 130977"/>
                          <a:gd name="connsiteX129" fmla="*/ 10645 w 64412"/>
                          <a:gd name="connsiteY129" fmla="*/ 126971 h 130977"/>
                          <a:gd name="connsiteX130" fmla="*/ 10825 w 64412"/>
                          <a:gd name="connsiteY130" fmla="*/ 127150 h 130977"/>
                          <a:gd name="connsiteX131" fmla="*/ 11004 w 64412"/>
                          <a:gd name="connsiteY131" fmla="*/ 127329 h 130977"/>
                          <a:gd name="connsiteX132" fmla="*/ 11423 w 64412"/>
                          <a:gd name="connsiteY132" fmla="*/ 127569 h 130977"/>
                          <a:gd name="connsiteX133" fmla="*/ 2093 w 64412"/>
                          <a:gd name="connsiteY133" fmla="*/ 123442 h 130977"/>
                          <a:gd name="connsiteX134" fmla="*/ 2392 w 64412"/>
                          <a:gd name="connsiteY134" fmla="*/ 123502 h 130977"/>
                          <a:gd name="connsiteX135" fmla="*/ 2691 w 64412"/>
                          <a:gd name="connsiteY135" fmla="*/ 123562 h 130977"/>
                          <a:gd name="connsiteX136" fmla="*/ 2990 w 64412"/>
                          <a:gd name="connsiteY136" fmla="*/ 123621 h 130977"/>
                          <a:gd name="connsiteX137" fmla="*/ 3289 w 64412"/>
                          <a:gd name="connsiteY137" fmla="*/ 123681 h 130977"/>
                          <a:gd name="connsiteX138" fmla="*/ 4366 w 64412"/>
                          <a:gd name="connsiteY138" fmla="*/ 121229 h 130977"/>
                          <a:gd name="connsiteX139" fmla="*/ 4067 w 64412"/>
                          <a:gd name="connsiteY139" fmla="*/ 121169 h 130977"/>
                          <a:gd name="connsiteX140" fmla="*/ 3768 w 64412"/>
                          <a:gd name="connsiteY140" fmla="*/ 121110 h 130977"/>
                          <a:gd name="connsiteX141" fmla="*/ 3469 w 64412"/>
                          <a:gd name="connsiteY141" fmla="*/ 121050 h 130977"/>
                          <a:gd name="connsiteX142" fmla="*/ 3170 w 64412"/>
                          <a:gd name="connsiteY142" fmla="*/ 120990 h 130977"/>
                          <a:gd name="connsiteX143" fmla="*/ 2093 w 64412"/>
                          <a:gd name="connsiteY143" fmla="*/ 123442 h 130977"/>
                          <a:gd name="connsiteX144" fmla="*/ 1076 w 64412"/>
                          <a:gd name="connsiteY144" fmla="*/ 125774 h 130977"/>
                          <a:gd name="connsiteX145" fmla="*/ 1375 w 64412"/>
                          <a:gd name="connsiteY145" fmla="*/ 125834 h 130977"/>
                          <a:gd name="connsiteX146" fmla="*/ 1615 w 64412"/>
                          <a:gd name="connsiteY146" fmla="*/ 125954 h 130977"/>
                          <a:gd name="connsiteX147" fmla="*/ 1854 w 64412"/>
                          <a:gd name="connsiteY147" fmla="*/ 126074 h 130977"/>
                          <a:gd name="connsiteX148" fmla="*/ 2093 w 64412"/>
                          <a:gd name="connsiteY148" fmla="*/ 126193 h 130977"/>
                          <a:gd name="connsiteX149" fmla="*/ 2632 w 64412"/>
                          <a:gd name="connsiteY149" fmla="*/ 124937 h 130977"/>
                          <a:gd name="connsiteX150" fmla="*/ 2333 w 64412"/>
                          <a:gd name="connsiteY150" fmla="*/ 124877 h 130977"/>
                          <a:gd name="connsiteX151" fmla="*/ 2033 w 64412"/>
                          <a:gd name="connsiteY151" fmla="*/ 124818 h 130977"/>
                          <a:gd name="connsiteX152" fmla="*/ 1734 w 64412"/>
                          <a:gd name="connsiteY152" fmla="*/ 124758 h 130977"/>
                          <a:gd name="connsiteX153" fmla="*/ 1435 w 64412"/>
                          <a:gd name="connsiteY153" fmla="*/ 124698 h 130977"/>
                          <a:gd name="connsiteX154" fmla="*/ 1076 w 64412"/>
                          <a:gd name="connsiteY154" fmla="*/ 125774 h 130977"/>
                          <a:gd name="connsiteX155" fmla="*/ 3289 w 64412"/>
                          <a:gd name="connsiteY155" fmla="*/ 129303 h 130977"/>
                          <a:gd name="connsiteX156" fmla="*/ 3768 w 64412"/>
                          <a:gd name="connsiteY156" fmla="*/ 129483 h 130977"/>
                          <a:gd name="connsiteX157" fmla="*/ 8253 w 64412"/>
                          <a:gd name="connsiteY157" fmla="*/ 130978 h 130977"/>
                          <a:gd name="connsiteX158" fmla="*/ 8612 w 64412"/>
                          <a:gd name="connsiteY158" fmla="*/ 130858 h 130977"/>
                          <a:gd name="connsiteX159" fmla="*/ 9031 w 64412"/>
                          <a:gd name="connsiteY159" fmla="*/ 130738 h 130977"/>
                          <a:gd name="connsiteX160" fmla="*/ 9449 w 64412"/>
                          <a:gd name="connsiteY160" fmla="*/ 130679 h 130977"/>
                          <a:gd name="connsiteX161" fmla="*/ 9868 w 64412"/>
                          <a:gd name="connsiteY161" fmla="*/ 130679 h 130977"/>
                          <a:gd name="connsiteX162" fmla="*/ 9928 w 64412"/>
                          <a:gd name="connsiteY162" fmla="*/ 130679 h 130977"/>
                          <a:gd name="connsiteX163" fmla="*/ 9988 w 64412"/>
                          <a:gd name="connsiteY163" fmla="*/ 130679 h 130977"/>
                          <a:gd name="connsiteX164" fmla="*/ 10048 w 64412"/>
                          <a:gd name="connsiteY164" fmla="*/ 130679 h 130977"/>
                          <a:gd name="connsiteX165" fmla="*/ 10107 w 64412"/>
                          <a:gd name="connsiteY165" fmla="*/ 130679 h 130977"/>
                          <a:gd name="connsiteX166" fmla="*/ 10287 w 64412"/>
                          <a:gd name="connsiteY166" fmla="*/ 130320 h 130977"/>
                          <a:gd name="connsiteX167" fmla="*/ 10825 w 64412"/>
                          <a:gd name="connsiteY167" fmla="*/ 129004 h 130977"/>
                          <a:gd name="connsiteX168" fmla="*/ 10586 w 64412"/>
                          <a:gd name="connsiteY168" fmla="*/ 128825 h 130977"/>
                          <a:gd name="connsiteX169" fmla="*/ 10347 w 64412"/>
                          <a:gd name="connsiteY169" fmla="*/ 128645 h 130977"/>
                          <a:gd name="connsiteX170" fmla="*/ 10107 w 64412"/>
                          <a:gd name="connsiteY170" fmla="*/ 128466 h 130977"/>
                          <a:gd name="connsiteX171" fmla="*/ 9868 w 64412"/>
                          <a:gd name="connsiteY171" fmla="*/ 128287 h 130977"/>
                          <a:gd name="connsiteX172" fmla="*/ 9150 w 64412"/>
                          <a:gd name="connsiteY172" fmla="*/ 129961 h 130977"/>
                          <a:gd name="connsiteX173" fmla="*/ 3229 w 64412"/>
                          <a:gd name="connsiteY173" fmla="*/ 127928 h 130977"/>
                          <a:gd name="connsiteX174" fmla="*/ 3289 w 64412"/>
                          <a:gd name="connsiteY174" fmla="*/ 128227 h 130977"/>
                          <a:gd name="connsiteX175" fmla="*/ 3289 w 64412"/>
                          <a:gd name="connsiteY175" fmla="*/ 128526 h 130977"/>
                          <a:gd name="connsiteX176" fmla="*/ 3289 w 64412"/>
                          <a:gd name="connsiteY176" fmla="*/ 128884 h 130977"/>
                          <a:gd name="connsiteX177" fmla="*/ 3289 w 64412"/>
                          <a:gd name="connsiteY177" fmla="*/ 129303 h 130977"/>
                          <a:gd name="connsiteX178" fmla="*/ 0 w 64412"/>
                          <a:gd name="connsiteY178" fmla="*/ 128227 h 130977"/>
                          <a:gd name="connsiteX179" fmla="*/ 2213 w 64412"/>
                          <a:gd name="connsiteY179" fmla="*/ 128944 h 130977"/>
                          <a:gd name="connsiteX180" fmla="*/ 2213 w 64412"/>
                          <a:gd name="connsiteY180" fmla="*/ 128586 h 130977"/>
                          <a:gd name="connsiteX181" fmla="*/ 2153 w 64412"/>
                          <a:gd name="connsiteY181" fmla="*/ 128227 h 130977"/>
                          <a:gd name="connsiteX182" fmla="*/ 2033 w 64412"/>
                          <a:gd name="connsiteY182" fmla="*/ 127928 h 130977"/>
                          <a:gd name="connsiteX183" fmla="*/ 1854 w 64412"/>
                          <a:gd name="connsiteY183" fmla="*/ 127628 h 130977"/>
                          <a:gd name="connsiteX184" fmla="*/ 1794 w 64412"/>
                          <a:gd name="connsiteY184" fmla="*/ 127569 h 130977"/>
                          <a:gd name="connsiteX185" fmla="*/ 1734 w 64412"/>
                          <a:gd name="connsiteY185" fmla="*/ 127509 h 130977"/>
                          <a:gd name="connsiteX186" fmla="*/ 1674 w 64412"/>
                          <a:gd name="connsiteY186" fmla="*/ 127449 h 130977"/>
                          <a:gd name="connsiteX187" fmla="*/ 1615 w 64412"/>
                          <a:gd name="connsiteY187" fmla="*/ 127389 h 130977"/>
                          <a:gd name="connsiteX188" fmla="*/ 1555 w 64412"/>
                          <a:gd name="connsiteY188" fmla="*/ 127389 h 130977"/>
                          <a:gd name="connsiteX189" fmla="*/ 1555 w 64412"/>
                          <a:gd name="connsiteY189" fmla="*/ 127389 h 130977"/>
                          <a:gd name="connsiteX190" fmla="*/ 1495 w 64412"/>
                          <a:gd name="connsiteY190" fmla="*/ 127329 h 130977"/>
                          <a:gd name="connsiteX191" fmla="*/ 1435 w 64412"/>
                          <a:gd name="connsiteY191" fmla="*/ 127270 h 130977"/>
                          <a:gd name="connsiteX192" fmla="*/ 1375 w 64412"/>
                          <a:gd name="connsiteY192" fmla="*/ 127210 h 130977"/>
                          <a:gd name="connsiteX193" fmla="*/ 1316 w 64412"/>
                          <a:gd name="connsiteY193" fmla="*/ 127150 h 130977"/>
                          <a:gd name="connsiteX194" fmla="*/ 1136 w 64412"/>
                          <a:gd name="connsiteY194" fmla="*/ 127030 h 130977"/>
                          <a:gd name="connsiteX195" fmla="*/ 957 w 64412"/>
                          <a:gd name="connsiteY195" fmla="*/ 126911 h 130977"/>
                          <a:gd name="connsiteX196" fmla="*/ 778 w 64412"/>
                          <a:gd name="connsiteY196" fmla="*/ 126851 h 130977"/>
                          <a:gd name="connsiteX197" fmla="*/ 538 w 64412"/>
                          <a:gd name="connsiteY197" fmla="*/ 126791 h 130977"/>
                          <a:gd name="connsiteX198" fmla="*/ 419 w 64412"/>
                          <a:gd name="connsiteY198" fmla="*/ 127030 h 130977"/>
                          <a:gd name="connsiteX199" fmla="*/ 179 w 64412"/>
                          <a:gd name="connsiteY199" fmla="*/ 127569 h 130977"/>
                          <a:gd name="connsiteX200" fmla="*/ 0 w 64412"/>
                          <a:gd name="connsiteY200" fmla="*/ 128227 h 13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64412" h="130977">
                            <a:moveTo>
                              <a:pt x="59986" y="11423"/>
                            </a:moveTo>
                            <a:cubicBezTo>
                              <a:pt x="60106" y="11364"/>
                              <a:pt x="60226" y="11304"/>
                              <a:pt x="60405" y="11244"/>
                            </a:cubicBezTo>
                            <a:cubicBezTo>
                              <a:pt x="60525" y="11184"/>
                              <a:pt x="60645" y="11124"/>
                              <a:pt x="60764" y="11064"/>
                            </a:cubicBezTo>
                            <a:cubicBezTo>
                              <a:pt x="60884" y="11004"/>
                              <a:pt x="61003" y="10945"/>
                              <a:pt x="61123" y="10885"/>
                            </a:cubicBezTo>
                            <a:cubicBezTo>
                              <a:pt x="61243" y="10825"/>
                              <a:pt x="61362" y="10765"/>
                              <a:pt x="61482" y="10645"/>
                            </a:cubicBezTo>
                            <a:lnTo>
                              <a:pt x="63934" y="4964"/>
                            </a:lnTo>
                            <a:lnTo>
                              <a:pt x="64173" y="4366"/>
                            </a:lnTo>
                            <a:lnTo>
                              <a:pt x="64412" y="3768"/>
                            </a:lnTo>
                            <a:lnTo>
                              <a:pt x="64233" y="3708"/>
                            </a:lnTo>
                            <a:cubicBezTo>
                              <a:pt x="64233" y="3768"/>
                              <a:pt x="64173" y="3828"/>
                              <a:pt x="64173" y="3888"/>
                            </a:cubicBezTo>
                            <a:cubicBezTo>
                              <a:pt x="64173" y="3947"/>
                              <a:pt x="64113" y="4007"/>
                              <a:pt x="64113" y="4067"/>
                            </a:cubicBezTo>
                            <a:cubicBezTo>
                              <a:pt x="64113" y="4127"/>
                              <a:pt x="64053" y="4187"/>
                              <a:pt x="64053" y="4246"/>
                            </a:cubicBezTo>
                            <a:cubicBezTo>
                              <a:pt x="64053" y="4306"/>
                              <a:pt x="63994" y="4366"/>
                              <a:pt x="63994" y="4426"/>
                            </a:cubicBezTo>
                            <a:cubicBezTo>
                              <a:pt x="63874" y="4844"/>
                              <a:pt x="63694" y="5203"/>
                              <a:pt x="63515" y="5562"/>
                            </a:cubicBezTo>
                            <a:cubicBezTo>
                              <a:pt x="63336" y="5921"/>
                              <a:pt x="63097" y="6280"/>
                              <a:pt x="62917" y="6579"/>
                            </a:cubicBezTo>
                            <a:cubicBezTo>
                              <a:pt x="62738" y="6878"/>
                              <a:pt x="62439" y="7177"/>
                              <a:pt x="62199" y="7476"/>
                            </a:cubicBezTo>
                            <a:cubicBezTo>
                              <a:pt x="61960" y="7775"/>
                              <a:pt x="61661" y="8014"/>
                              <a:pt x="61362" y="8253"/>
                            </a:cubicBezTo>
                            <a:lnTo>
                              <a:pt x="59986" y="11423"/>
                            </a:lnTo>
                            <a:moveTo>
                              <a:pt x="53468" y="5921"/>
                            </a:moveTo>
                            <a:lnTo>
                              <a:pt x="55322" y="1615"/>
                            </a:lnTo>
                            <a:lnTo>
                              <a:pt x="57774" y="2572"/>
                            </a:lnTo>
                            <a:lnTo>
                              <a:pt x="62618" y="4486"/>
                            </a:lnTo>
                            <a:cubicBezTo>
                              <a:pt x="62618" y="4486"/>
                              <a:pt x="62618" y="4426"/>
                              <a:pt x="62618" y="4426"/>
                            </a:cubicBezTo>
                            <a:cubicBezTo>
                              <a:pt x="62618" y="4426"/>
                              <a:pt x="62618" y="4366"/>
                              <a:pt x="62618" y="4366"/>
                            </a:cubicBezTo>
                            <a:cubicBezTo>
                              <a:pt x="62618" y="4366"/>
                              <a:pt x="62618" y="4306"/>
                              <a:pt x="62618" y="4306"/>
                            </a:cubicBezTo>
                            <a:cubicBezTo>
                              <a:pt x="62618" y="4306"/>
                              <a:pt x="62618" y="4246"/>
                              <a:pt x="62618" y="4246"/>
                            </a:cubicBezTo>
                            <a:cubicBezTo>
                              <a:pt x="62618" y="4187"/>
                              <a:pt x="62678" y="4067"/>
                              <a:pt x="62678" y="4007"/>
                            </a:cubicBezTo>
                            <a:cubicBezTo>
                              <a:pt x="62678" y="3947"/>
                              <a:pt x="62738" y="3828"/>
                              <a:pt x="62738" y="3768"/>
                            </a:cubicBezTo>
                            <a:cubicBezTo>
                              <a:pt x="62738" y="3708"/>
                              <a:pt x="62798" y="3588"/>
                              <a:pt x="62798" y="3528"/>
                            </a:cubicBezTo>
                            <a:cubicBezTo>
                              <a:pt x="62798" y="3469"/>
                              <a:pt x="62857" y="3349"/>
                              <a:pt x="62857" y="3289"/>
                            </a:cubicBezTo>
                            <a:lnTo>
                              <a:pt x="54723" y="0"/>
                            </a:lnTo>
                            <a:lnTo>
                              <a:pt x="54245" y="1136"/>
                            </a:lnTo>
                            <a:lnTo>
                              <a:pt x="52869" y="4306"/>
                            </a:lnTo>
                            <a:cubicBezTo>
                              <a:pt x="52869" y="4426"/>
                              <a:pt x="52929" y="4605"/>
                              <a:pt x="52929" y="4725"/>
                            </a:cubicBezTo>
                            <a:cubicBezTo>
                              <a:pt x="52989" y="4844"/>
                              <a:pt x="52989" y="4964"/>
                              <a:pt x="53049" y="5143"/>
                            </a:cubicBezTo>
                            <a:cubicBezTo>
                              <a:pt x="53109" y="5263"/>
                              <a:pt x="53169" y="5383"/>
                              <a:pt x="53169" y="5502"/>
                            </a:cubicBezTo>
                            <a:cubicBezTo>
                              <a:pt x="53169" y="5622"/>
                              <a:pt x="53408" y="5801"/>
                              <a:pt x="53468" y="5921"/>
                            </a:cubicBezTo>
                            <a:moveTo>
                              <a:pt x="51793" y="9868"/>
                            </a:moveTo>
                            <a:lnTo>
                              <a:pt x="52750" y="7536"/>
                            </a:lnTo>
                            <a:cubicBezTo>
                              <a:pt x="52690" y="7476"/>
                              <a:pt x="52630" y="7356"/>
                              <a:pt x="52570" y="7237"/>
                            </a:cubicBezTo>
                            <a:cubicBezTo>
                              <a:pt x="52511" y="7117"/>
                              <a:pt x="52451" y="7057"/>
                              <a:pt x="52391" y="6937"/>
                            </a:cubicBezTo>
                            <a:cubicBezTo>
                              <a:pt x="52331" y="6818"/>
                              <a:pt x="52271" y="6758"/>
                              <a:pt x="52212" y="6639"/>
                            </a:cubicBezTo>
                            <a:cubicBezTo>
                              <a:pt x="52152" y="6519"/>
                              <a:pt x="52092" y="6459"/>
                              <a:pt x="52032" y="6340"/>
                            </a:cubicBezTo>
                            <a:lnTo>
                              <a:pt x="50956" y="8851"/>
                            </a:lnTo>
                            <a:cubicBezTo>
                              <a:pt x="51015" y="8911"/>
                              <a:pt x="51075" y="9031"/>
                              <a:pt x="51135" y="9091"/>
                            </a:cubicBezTo>
                            <a:cubicBezTo>
                              <a:pt x="51195" y="9150"/>
                              <a:pt x="51255" y="9270"/>
                              <a:pt x="51314" y="9330"/>
                            </a:cubicBezTo>
                            <a:cubicBezTo>
                              <a:pt x="51374" y="9390"/>
                              <a:pt x="51434" y="9509"/>
                              <a:pt x="51494" y="9569"/>
                            </a:cubicBezTo>
                            <a:cubicBezTo>
                              <a:pt x="51554" y="9629"/>
                              <a:pt x="51733" y="9808"/>
                              <a:pt x="51793" y="9868"/>
                            </a:cubicBezTo>
                            <a:moveTo>
                              <a:pt x="55023" y="23085"/>
                            </a:moveTo>
                            <a:cubicBezTo>
                              <a:pt x="55142" y="23085"/>
                              <a:pt x="55202" y="23085"/>
                              <a:pt x="55322" y="23085"/>
                            </a:cubicBezTo>
                            <a:cubicBezTo>
                              <a:pt x="55441" y="23085"/>
                              <a:pt x="55501" y="23085"/>
                              <a:pt x="55621" y="23085"/>
                            </a:cubicBezTo>
                            <a:cubicBezTo>
                              <a:pt x="55740" y="23085"/>
                              <a:pt x="55800" y="23085"/>
                              <a:pt x="55920" y="23085"/>
                            </a:cubicBezTo>
                            <a:cubicBezTo>
                              <a:pt x="56039" y="23085"/>
                              <a:pt x="56099" y="23085"/>
                              <a:pt x="56219" y="23085"/>
                            </a:cubicBezTo>
                            <a:lnTo>
                              <a:pt x="60645" y="12739"/>
                            </a:lnTo>
                            <a:cubicBezTo>
                              <a:pt x="60525" y="12799"/>
                              <a:pt x="60405" y="12859"/>
                              <a:pt x="60285" y="12859"/>
                            </a:cubicBezTo>
                            <a:cubicBezTo>
                              <a:pt x="60166" y="12918"/>
                              <a:pt x="60046" y="12918"/>
                              <a:pt x="59927" y="12978"/>
                            </a:cubicBezTo>
                            <a:cubicBezTo>
                              <a:pt x="59807" y="13038"/>
                              <a:pt x="59687" y="13038"/>
                              <a:pt x="59568" y="13098"/>
                            </a:cubicBezTo>
                            <a:cubicBezTo>
                              <a:pt x="59448" y="13158"/>
                              <a:pt x="59329" y="13158"/>
                              <a:pt x="59209" y="13218"/>
                            </a:cubicBezTo>
                            <a:lnTo>
                              <a:pt x="55023" y="23085"/>
                            </a:lnTo>
                            <a:moveTo>
                              <a:pt x="46291" y="20035"/>
                            </a:moveTo>
                            <a:cubicBezTo>
                              <a:pt x="46351" y="20095"/>
                              <a:pt x="46470" y="20155"/>
                              <a:pt x="46530" y="20215"/>
                            </a:cubicBezTo>
                            <a:cubicBezTo>
                              <a:pt x="46590" y="20275"/>
                              <a:pt x="46709" y="20335"/>
                              <a:pt x="46769" y="20394"/>
                            </a:cubicBezTo>
                            <a:cubicBezTo>
                              <a:pt x="46829" y="20454"/>
                              <a:pt x="46949" y="20514"/>
                              <a:pt x="47008" y="20574"/>
                            </a:cubicBezTo>
                            <a:cubicBezTo>
                              <a:pt x="47068" y="20634"/>
                              <a:pt x="47188" y="20693"/>
                              <a:pt x="47247" y="20693"/>
                            </a:cubicBezTo>
                            <a:lnTo>
                              <a:pt x="51195" y="11423"/>
                            </a:lnTo>
                            <a:cubicBezTo>
                              <a:pt x="51135" y="11364"/>
                              <a:pt x="51075" y="11304"/>
                              <a:pt x="50956" y="11244"/>
                            </a:cubicBezTo>
                            <a:cubicBezTo>
                              <a:pt x="50896" y="11184"/>
                              <a:pt x="50836" y="11124"/>
                              <a:pt x="50716" y="11064"/>
                            </a:cubicBezTo>
                            <a:cubicBezTo>
                              <a:pt x="50657" y="11004"/>
                              <a:pt x="50597" y="10945"/>
                              <a:pt x="50537" y="10825"/>
                            </a:cubicBezTo>
                            <a:cubicBezTo>
                              <a:pt x="50477" y="10765"/>
                              <a:pt x="50417" y="10705"/>
                              <a:pt x="50358" y="10586"/>
                            </a:cubicBezTo>
                            <a:lnTo>
                              <a:pt x="46291" y="20035"/>
                            </a:lnTo>
                            <a:moveTo>
                              <a:pt x="53288" y="27152"/>
                            </a:moveTo>
                            <a:cubicBezTo>
                              <a:pt x="53408" y="27152"/>
                              <a:pt x="53468" y="27152"/>
                              <a:pt x="53587" y="27152"/>
                            </a:cubicBezTo>
                            <a:cubicBezTo>
                              <a:pt x="53707" y="27152"/>
                              <a:pt x="53767" y="27152"/>
                              <a:pt x="53886" y="27152"/>
                            </a:cubicBezTo>
                            <a:cubicBezTo>
                              <a:pt x="54006" y="27152"/>
                              <a:pt x="54066" y="27152"/>
                              <a:pt x="54185" y="27152"/>
                            </a:cubicBezTo>
                            <a:cubicBezTo>
                              <a:pt x="54305" y="27152"/>
                              <a:pt x="54365" y="27152"/>
                              <a:pt x="54484" y="27152"/>
                            </a:cubicBezTo>
                            <a:lnTo>
                              <a:pt x="55621" y="24521"/>
                            </a:lnTo>
                            <a:cubicBezTo>
                              <a:pt x="55501" y="24521"/>
                              <a:pt x="55441" y="24521"/>
                              <a:pt x="55322" y="24521"/>
                            </a:cubicBezTo>
                            <a:cubicBezTo>
                              <a:pt x="55202" y="24521"/>
                              <a:pt x="55142" y="24521"/>
                              <a:pt x="55023" y="24521"/>
                            </a:cubicBezTo>
                            <a:cubicBezTo>
                              <a:pt x="54903" y="24521"/>
                              <a:pt x="54843" y="24521"/>
                              <a:pt x="54723" y="24521"/>
                            </a:cubicBezTo>
                            <a:cubicBezTo>
                              <a:pt x="54604" y="24521"/>
                              <a:pt x="54544" y="24521"/>
                              <a:pt x="54424" y="24521"/>
                            </a:cubicBezTo>
                            <a:lnTo>
                              <a:pt x="53288" y="27152"/>
                            </a:lnTo>
                            <a:moveTo>
                              <a:pt x="44556" y="24043"/>
                            </a:moveTo>
                            <a:cubicBezTo>
                              <a:pt x="44616" y="24102"/>
                              <a:pt x="44736" y="24162"/>
                              <a:pt x="44796" y="24162"/>
                            </a:cubicBezTo>
                            <a:cubicBezTo>
                              <a:pt x="44855" y="24162"/>
                              <a:pt x="44975" y="24282"/>
                              <a:pt x="45035" y="24282"/>
                            </a:cubicBezTo>
                            <a:cubicBezTo>
                              <a:pt x="45095" y="24342"/>
                              <a:pt x="45214" y="24401"/>
                              <a:pt x="45274" y="24401"/>
                            </a:cubicBezTo>
                            <a:cubicBezTo>
                              <a:pt x="45334" y="24401"/>
                              <a:pt x="45453" y="24521"/>
                              <a:pt x="45513" y="24521"/>
                            </a:cubicBezTo>
                            <a:lnTo>
                              <a:pt x="46590" y="22009"/>
                            </a:lnTo>
                            <a:cubicBezTo>
                              <a:pt x="46530" y="21949"/>
                              <a:pt x="46410" y="21889"/>
                              <a:pt x="46351" y="21889"/>
                            </a:cubicBezTo>
                            <a:cubicBezTo>
                              <a:pt x="46291" y="21889"/>
                              <a:pt x="46171" y="21770"/>
                              <a:pt x="46111" y="21770"/>
                            </a:cubicBezTo>
                            <a:cubicBezTo>
                              <a:pt x="46052" y="21710"/>
                              <a:pt x="45932" y="21650"/>
                              <a:pt x="45872" y="21590"/>
                            </a:cubicBezTo>
                            <a:cubicBezTo>
                              <a:pt x="45812" y="21530"/>
                              <a:pt x="45693" y="21471"/>
                              <a:pt x="45633" y="21411"/>
                            </a:cubicBezTo>
                            <a:lnTo>
                              <a:pt x="44556" y="24043"/>
                            </a:lnTo>
                            <a:moveTo>
                              <a:pt x="12141" y="123143"/>
                            </a:moveTo>
                            <a:cubicBezTo>
                              <a:pt x="12201" y="123203"/>
                              <a:pt x="12320" y="123263"/>
                              <a:pt x="12380" y="123322"/>
                            </a:cubicBezTo>
                            <a:cubicBezTo>
                              <a:pt x="12440" y="123382"/>
                              <a:pt x="12559" y="123442"/>
                              <a:pt x="12619" y="123502"/>
                            </a:cubicBezTo>
                            <a:cubicBezTo>
                              <a:pt x="12679" y="123562"/>
                              <a:pt x="12799" y="123621"/>
                              <a:pt x="12858" y="123681"/>
                            </a:cubicBezTo>
                            <a:cubicBezTo>
                              <a:pt x="12918" y="123741"/>
                              <a:pt x="13038" y="123801"/>
                              <a:pt x="13098" y="123861"/>
                            </a:cubicBezTo>
                            <a:lnTo>
                              <a:pt x="54006" y="28408"/>
                            </a:lnTo>
                            <a:cubicBezTo>
                              <a:pt x="53886" y="28408"/>
                              <a:pt x="53827" y="28408"/>
                              <a:pt x="53707" y="28408"/>
                            </a:cubicBezTo>
                            <a:cubicBezTo>
                              <a:pt x="53587" y="28408"/>
                              <a:pt x="53528" y="28408"/>
                              <a:pt x="53408" y="28408"/>
                            </a:cubicBezTo>
                            <a:cubicBezTo>
                              <a:pt x="53288" y="28408"/>
                              <a:pt x="53228" y="28408"/>
                              <a:pt x="53109" y="28408"/>
                            </a:cubicBezTo>
                            <a:cubicBezTo>
                              <a:pt x="52989" y="28408"/>
                              <a:pt x="52929" y="28408"/>
                              <a:pt x="52810" y="28349"/>
                            </a:cubicBezTo>
                            <a:lnTo>
                              <a:pt x="12141" y="123143"/>
                            </a:lnTo>
                            <a:moveTo>
                              <a:pt x="3588" y="119794"/>
                            </a:moveTo>
                            <a:cubicBezTo>
                              <a:pt x="3708" y="119794"/>
                              <a:pt x="3768" y="119854"/>
                              <a:pt x="3887" y="119854"/>
                            </a:cubicBezTo>
                            <a:cubicBezTo>
                              <a:pt x="4007" y="119854"/>
                              <a:pt x="4067" y="119913"/>
                              <a:pt x="4187" y="119913"/>
                            </a:cubicBezTo>
                            <a:cubicBezTo>
                              <a:pt x="4306" y="119913"/>
                              <a:pt x="4366" y="119973"/>
                              <a:pt x="4486" y="119973"/>
                            </a:cubicBezTo>
                            <a:cubicBezTo>
                              <a:pt x="4605" y="119973"/>
                              <a:pt x="4665" y="120033"/>
                              <a:pt x="4785" y="120033"/>
                            </a:cubicBezTo>
                            <a:lnTo>
                              <a:pt x="45035" y="25837"/>
                            </a:lnTo>
                            <a:cubicBezTo>
                              <a:pt x="44975" y="25777"/>
                              <a:pt x="44855" y="25717"/>
                              <a:pt x="44796" y="25717"/>
                            </a:cubicBezTo>
                            <a:cubicBezTo>
                              <a:pt x="44736" y="25657"/>
                              <a:pt x="44616" y="25597"/>
                              <a:pt x="44556" y="25597"/>
                            </a:cubicBezTo>
                            <a:cubicBezTo>
                              <a:pt x="44497" y="25538"/>
                              <a:pt x="44377" y="25478"/>
                              <a:pt x="44317" y="25478"/>
                            </a:cubicBezTo>
                            <a:cubicBezTo>
                              <a:pt x="44257" y="25478"/>
                              <a:pt x="44138" y="25358"/>
                              <a:pt x="44078" y="25358"/>
                            </a:cubicBezTo>
                            <a:lnTo>
                              <a:pt x="3588" y="119794"/>
                            </a:lnTo>
                            <a:moveTo>
                              <a:pt x="11423" y="127569"/>
                            </a:moveTo>
                            <a:lnTo>
                              <a:pt x="12500" y="124997"/>
                            </a:lnTo>
                            <a:cubicBezTo>
                              <a:pt x="12500" y="124997"/>
                              <a:pt x="12440" y="124937"/>
                              <a:pt x="12440" y="124937"/>
                            </a:cubicBezTo>
                            <a:cubicBezTo>
                              <a:pt x="12440" y="124937"/>
                              <a:pt x="12380" y="124877"/>
                              <a:pt x="12380" y="124877"/>
                            </a:cubicBezTo>
                            <a:cubicBezTo>
                              <a:pt x="12380" y="124877"/>
                              <a:pt x="12320" y="124818"/>
                              <a:pt x="12320" y="124818"/>
                            </a:cubicBezTo>
                            <a:cubicBezTo>
                              <a:pt x="12320" y="124818"/>
                              <a:pt x="12260" y="124758"/>
                              <a:pt x="12260" y="124758"/>
                            </a:cubicBezTo>
                            <a:cubicBezTo>
                              <a:pt x="12201" y="124698"/>
                              <a:pt x="12141" y="124698"/>
                              <a:pt x="12081" y="124638"/>
                            </a:cubicBezTo>
                            <a:cubicBezTo>
                              <a:pt x="12021" y="124579"/>
                              <a:pt x="11961" y="124579"/>
                              <a:pt x="11902" y="124519"/>
                            </a:cubicBezTo>
                            <a:cubicBezTo>
                              <a:pt x="11842" y="124459"/>
                              <a:pt x="11782" y="124459"/>
                              <a:pt x="11722" y="124399"/>
                            </a:cubicBezTo>
                            <a:cubicBezTo>
                              <a:pt x="11662" y="124339"/>
                              <a:pt x="11603" y="124339"/>
                              <a:pt x="11543" y="124279"/>
                            </a:cubicBezTo>
                            <a:lnTo>
                              <a:pt x="10466" y="126791"/>
                            </a:lnTo>
                            <a:cubicBezTo>
                              <a:pt x="10466" y="126791"/>
                              <a:pt x="10466" y="126791"/>
                              <a:pt x="10466" y="126791"/>
                            </a:cubicBezTo>
                            <a:cubicBezTo>
                              <a:pt x="10466" y="126791"/>
                              <a:pt x="10466" y="126791"/>
                              <a:pt x="10466" y="126791"/>
                            </a:cubicBezTo>
                            <a:cubicBezTo>
                              <a:pt x="10466" y="126791"/>
                              <a:pt x="10466" y="126791"/>
                              <a:pt x="10466" y="126791"/>
                            </a:cubicBezTo>
                            <a:cubicBezTo>
                              <a:pt x="10466" y="126791"/>
                              <a:pt x="10466" y="126791"/>
                              <a:pt x="10466" y="126791"/>
                            </a:cubicBezTo>
                            <a:cubicBezTo>
                              <a:pt x="10526" y="126851"/>
                              <a:pt x="10586" y="126911"/>
                              <a:pt x="10645" y="126971"/>
                            </a:cubicBezTo>
                            <a:cubicBezTo>
                              <a:pt x="10705" y="127030"/>
                              <a:pt x="10765" y="127090"/>
                              <a:pt x="10825" y="127150"/>
                            </a:cubicBezTo>
                            <a:cubicBezTo>
                              <a:pt x="10885" y="127210"/>
                              <a:pt x="10944" y="127270"/>
                              <a:pt x="11004" y="127329"/>
                            </a:cubicBezTo>
                            <a:cubicBezTo>
                              <a:pt x="11304" y="127449"/>
                              <a:pt x="11363" y="127509"/>
                              <a:pt x="11423" y="127569"/>
                            </a:cubicBezTo>
                            <a:moveTo>
                              <a:pt x="2093" y="123442"/>
                            </a:moveTo>
                            <a:cubicBezTo>
                              <a:pt x="2213" y="123442"/>
                              <a:pt x="2273" y="123442"/>
                              <a:pt x="2392" y="123502"/>
                            </a:cubicBezTo>
                            <a:cubicBezTo>
                              <a:pt x="2512" y="123562"/>
                              <a:pt x="2572" y="123502"/>
                              <a:pt x="2691" y="123562"/>
                            </a:cubicBezTo>
                            <a:cubicBezTo>
                              <a:pt x="2811" y="123562"/>
                              <a:pt x="2871" y="123621"/>
                              <a:pt x="2990" y="123621"/>
                            </a:cubicBezTo>
                            <a:cubicBezTo>
                              <a:pt x="3110" y="123621"/>
                              <a:pt x="3170" y="123681"/>
                              <a:pt x="3289" y="123681"/>
                            </a:cubicBezTo>
                            <a:lnTo>
                              <a:pt x="4366" y="121229"/>
                            </a:lnTo>
                            <a:cubicBezTo>
                              <a:pt x="4246" y="121229"/>
                              <a:pt x="4187" y="121169"/>
                              <a:pt x="4067" y="121169"/>
                            </a:cubicBezTo>
                            <a:cubicBezTo>
                              <a:pt x="3947" y="121169"/>
                              <a:pt x="3887" y="121110"/>
                              <a:pt x="3768" y="121110"/>
                            </a:cubicBezTo>
                            <a:cubicBezTo>
                              <a:pt x="3648" y="121110"/>
                              <a:pt x="3588" y="121050"/>
                              <a:pt x="3469" y="121050"/>
                            </a:cubicBezTo>
                            <a:cubicBezTo>
                              <a:pt x="3349" y="121050"/>
                              <a:pt x="3289" y="121050"/>
                              <a:pt x="3170" y="120990"/>
                            </a:cubicBezTo>
                            <a:lnTo>
                              <a:pt x="2093" y="123442"/>
                            </a:lnTo>
                            <a:moveTo>
                              <a:pt x="1076" y="125774"/>
                            </a:moveTo>
                            <a:cubicBezTo>
                              <a:pt x="1196" y="125774"/>
                              <a:pt x="1256" y="125834"/>
                              <a:pt x="1375" y="125834"/>
                            </a:cubicBezTo>
                            <a:cubicBezTo>
                              <a:pt x="1435" y="125894"/>
                              <a:pt x="1555" y="125894"/>
                              <a:pt x="1615" y="125954"/>
                            </a:cubicBezTo>
                            <a:cubicBezTo>
                              <a:pt x="1674" y="126014"/>
                              <a:pt x="1794" y="126014"/>
                              <a:pt x="1854" y="126074"/>
                            </a:cubicBezTo>
                            <a:cubicBezTo>
                              <a:pt x="1914" y="126133"/>
                              <a:pt x="2033" y="126193"/>
                              <a:pt x="2093" y="126193"/>
                            </a:cubicBezTo>
                            <a:lnTo>
                              <a:pt x="2632" y="124937"/>
                            </a:lnTo>
                            <a:cubicBezTo>
                              <a:pt x="2512" y="124937"/>
                              <a:pt x="2452" y="124877"/>
                              <a:pt x="2333" y="124877"/>
                            </a:cubicBezTo>
                            <a:cubicBezTo>
                              <a:pt x="2213" y="124877"/>
                              <a:pt x="2153" y="124818"/>
                              <a:pt x="2033" y="124818"/>
                            </a:cubicBezTo>
                            <a:cubicBezTo>
                              <a:pt x="1914" y="124818"/>
                              <a:pt x="1854" y="124818"/>
                              <a:pt x="1734" y="124758"/>
                            </a:cubicBezTo>
                            <a:cubicBezTo>
                              <a:pt x="1615" y="124758"/>
                              <a:pt x="1555" y="124758"/>
                              <a:pt x="1435" y="124698"/>
                            </a:cubicBezTo>
                            <a:lnTo>
                              <a:pt x="1076" y="125774"/>
                            </a:lnTo>
                            <a:moveTo>
                              <a:pt x="3289" y="129303"/>
                            </a:moveTo>
                            <a:lnTo>
                              <a:pt x="3768" y="129483"/>
                            </a:lnTo>
                            <a:lnTo>
                              <a:pt x="8253" y="130978"/>
                            </a:lnTo>
                            <a:cubicBezTo>
                              <a:pt x="8373" y="130918"/>
                              <a:pt x="8493" y="130858"/>
                              <a:pt x="8612" y="130858"/>
                            </a:cubicBezTo>
                            <a:cubicBezTo>
                              <a:pt x="8732" y="130798"/>
                              <a:pt x="8851" y="130798"/>
                              <a:pt x="9031" y="130738"/>
                            </a:cubicBezTo>
                            <a:cubicBezTo>
                              <a:pt x="9150" y="130738"/>
                              <a:pt x="9270" y="130679"/>
                              <a:pt x="9449" y="130679"/>
                            </a:cubicBezTo>
                            <a:cubicBezTo>
                              <a:pt x="9569" y="130679"/>
                              <a:pt x="9689" y="130679"/>
                              <a:pt x="9868" y="130679"/>
                            </a:cubicBezTo>
                            <a:cubicBezTo>
                              <a:pt x="9868" y="130679"/>
                              <a:pt x="9928" y="130679"/>
                              <a:pt x="9928" y="130679"/>
                            </a:cubicBezTo>
                            <a:cubicBezTo>
                              <a:pt x="9928" y="130679"/>
                              <a:pt x="9988" y="130679"/>
                              <a:pt x="9988" y="130679"/>
                            </a:cubicBezTo>
                            <a:cubicBezTo>
                              <a:pt x="9988" y="130679"/>
                              <a:pt x="10048" y="130679"/>
                              <a:pt x="10048" y="130679"/>
                            </a:cubicBezTo>
                            <a:cubicBezTo>
                              <a:pt x="10048" y="130679"/>
                              <a:pt x="10107" y="130679"/>
                              <a:pt x="10107" y="130679"/>
                            </a:cubicBezTo>
                            <a:lnTo>
                              <a:pt x="10287" y="130320"/>
                            </a:lnTo>
                            <a:lnTo>
                              <a:pt x="10825" y="129004"/>
                            </a:lnTo>
                            <a:cubicBezTo>
                              <a:pt x="10765" y="128944"/>
                              <a:pt x="10705" y="128884"/>
                              <a:pt x="10586" y="128825"/>
                            </a:cubicBezTo>
                            <a:cubicBezTo>
                              <a:pt x="10526" y="128765"/>
                              <a:pt x="10466" y="128705"/>
                              <a:pt x="10347" y="128645"/>
                            </a:cubicBezTo>
                            <a:cubicBezTo>
                              <a:pt x="10287" y="128586"/>
                              <a:pt x="10227" y="128526"/>
                              <a:pt x="10107" y="128466"/>
                            </a:cubicBezTo>
                            <a:cubicBezTo>
                              <a:pt x="10048" y="128406"/>
                              <a:pt x="9988" y="128346"/>
                              <a:pt x="9868" y="128287"/>
                            </a:cubicBezTo>
                            <a:lnTo>
                              <a:pt x="9150" y="129961"/>
                            </a:lnTo>
                            <a:lnTo>
                              <a:pt x="3229" y="127928"/>
                            </a:lnTo>
                            <a:cubicBezTo>
                              <a:pt x="3229" y="128047"/>
                              <a:pt x="3289" y="128167"/>
                              <a:pt x="3289" y="128227"/>
                            </a:cubicBezTo>
                            <a:cubicBezTo>
                              <a:pt x="3289" y="128346"/>
                              <a:pt x="3289" y="128466"/>
                              <a:pt x="3289" y="128526"/>
                            </a:cubicBezTo>
                            <a:cubicBezTo>
                              <a:pt x="3289" y="128645"/>
                              <a:pt x="3289" y="128765"/>
                              <a:pt x="3289" y="128884"/>
                            </a:cubicBezTo>
                            <a:cubicBezTo>
                              <a:pt x="3289" y="129124"/>
                              <a:pt x="3289" y="129243"/>
                              <a:pt x="3289" y="129303"/>
                            </a:cubicBezTo>
                            <a:moveTo>
                              <a:pt x="0" y="128227"/>
                            </a:moveTo>
                            <a:lnTo>
                              <a:pt x="2213" y="128944"/>
                            </a:lnTo>
                            <a:cubicBezTo>
                              <a:pt x="2213" y="128825"/>
                              <a:pt x="2213" y="128705"/>
                              <a:pt x="2213" y="128586"/>
                            </a:cubicBezTo>
                            <a:cubicBezTo>
                              <a:pt x="2213" y="128466"/>
                              <a:pt x="2153" y="128346"/>
                              <a:pt x="2153" y="128227"/>
                            </a:cubicBezTo>
                            <a:cubicBezTo>
                              <a:pt x="2093" y="128107"/>
                              <a:pt x="2093" y="127988"/>
                              <a:pt x="2033" y="127928"/>
                            </a:cubicBezTo>
                            <a:cubicBezTo>
                              <a:pt x="1973" y="127808"/>
                              <a:pt x="1914" y="127748"/>
                              <a:pt x="1854" y="127628"/>
                            </a:cubicBezTo>
                            <a:cubicBezTo>
                              <a:pt x="1854" y="127628"/>
                              <a:pt x="1854" y="127569"/>
                              <a:pt x="1794" y="127569"/>
                            </a:cubicBezTo>
                            <a:cubicBezTo>
                              <a:pt x="1794" y="127569"/>
                              <a:pt x="1794" y="127509"/>
                              <a:pt x="1734" y="127509"/>
                            </a:cubicBezTo>
                            <a:cubicBezTo>
                              <a:pt x="1674" y="127509"/>
                              <a:pt x="1734" y="127449"/>
                              <a:pt x="1674" y="127449"/>
                            </a:cubicBezTo>
                            <a:cubicBezTo>
                              <a:pt x="1674" y="127449"/>
                              <a:pt x="1615" y="127389"/>
                              <a:pt x="1615" y="127389"/>
                            </a:cubicBezTo>
                            <a:lnTo>
                              <a:pt x="1555" y="127389"/>
                            </a:lnTo>
                            <a:lnTo>
                              <a:pt x="1555" y="127389"/>
                            </a:lnTo>
                            <a:cubicBezTo>
                              <a:pt x="1555" y="127389"/>
                              <a:pt x="1555" y="127389"/>
                              <a:pt x="1495" y="127329"/>
                            </a:cubicBezTo>
                            <a:cubicBezTo>
                              <a:pt x="1435" y="127270"/>
                              <a:pt x="1495" y="127329"/>
                              <a:pt x="1435" y="127270"/>
                            </a:cubicBezTo>
                            <a:cubicBezTo>
                              <a:pt x="1375" y="127210"/>
                              <a:pt x="1375" y="127270"/>
                              <a:pt x="1375" y="127210"/>
                            </a:cubicBezTo>
                            <a:cubicBezTo>
                              <a:pt x="1375" y="127210"/>
                              <a:pt x="1316" y="127210"/>
                              <a:pt x="1316" y="127150"/>
                            </a:cubicBezTo>
                            <a:cubicBezTo>
                              <a:pt x="1256" y="127090"/>
                              <a:pt x="1196" y="127090"/>
                              <a:pt x="1136" y="127030"/>
                            </a:cubicBezTo>
                            <a:cubicBezTo>
                              <a:pt x="1076" y="126971"/>
                              <a:pt x="1017" y="126971"/>
                              <a:pt x="957" y="126911"/>
                            </a:cubicBezTo>
                            <a:cubicBezTo>
                              <a:pt x="897" y="126851"/>
                              <a:pt x="837" y="126851"/>
                              <a:pt x="778" y="126851"/>
                            </a:cubicBezTo>
                            <a:cubicBezTo>
                              <a:pt x="718" y="126851"/>
                              <a:pt x="658" y="126791"/>
                              <a:pt x="538" y="126791"/>
                            </a:cubicBezTo>
                            <a:lnTo>
                              <a:pt x="419" y="127030"/>
                            </a:lnTo>
                            <a:lnTo>
                              <a:pt x="179" y="127569"/>
                            </a:lnTo>
                            <a:lnTo>
                              <a:pt x="0" y="128227"/>
                            </a:lnTo>
                          </a:path>
                        </a:pathLst>
                      </a:custGeom>
                      <a:noFill/>
                      <a:ln w="6350" cap="flat">
                        <a:solidFill>
                          <a:schemeClr val="bg1">
                            <a:alpha val="40000"/>
                          </a:schemeClr>
                        </a:solidFill>
                        <a:prstDash val="solid"/>
                        <a:miter/>
                      </a:ln>
                    </p:spPr>
                    <p:txBody>
                      <a:bodyPr rtlCol="0" anchor="ctr"/>
                      <a:lstStyle/>
                      <a:p>
                        <a:endParaRPr lang="en-GB"/>
                      </a:p>
                    </p:txBody>
                  </p:sp>
                  <p:sp>
                    <p:nvSpPr>
                      <p:cNvPr id="7479" name="Vrije vorm: vorm 7478">
                        <a:extLst>
                          <a:ext uri="{FF2B5EF4-FFF2-40B4-BE49-F238E27FC236}">
                            <a16:creationId xmlns:a16="http://schemas.microsoft.com/office/drawing/2014/main" id="{AFEEB042-A386-4DB3-A06F-B7C268AD769B}"/>
                          </a:ext>
                        </a:extLst>
                      </p:cNvPr>
                      <p:cNvSpPr/>
                      <p:nvPr/>
                    </p:nvSpPr>
                    <p:spPr>
                      <a:xfrm>
                        <a:off x="5035892" y="4931781"/>
                        <a:ext cx="48175" cy="51694"/>
                      </a:xfrm>
                      <a:custGeom>
                        <a:avLst/>
                        <a:gdLst>
                          <a:gd name="connsiteX0" fmla="*/ 10601 w 48175"/>
                          <a:gd name="connsiteY0" fmla="*/ 47449 h 51694"/>
                          <a:gd name="connsiteX1" fmla="*/ 10063 w 48175"/>
                          <a:gd name="connsiteY1" fmla="*/ 47090 h 51694"/>
                          <a:gd name="connsiteX2" fmla="*/ 9524 w 48175"/>
                          <a:gd name="connsiteY2" fmla="*/ 46731 h 51694"/>
                          <a:gd name="connsiteX3" fmla="*/ 8986 w 48175"/>
                          <a:gd name="connsiteY3" fmla="*/ 46313 h 51694"/>
                          <a:gd name="connsiteX4" fmla="*/ 8508 w 48175"/>
                          <a:gd name="connsiteY4" fmla="*/ 45894 h 51694"/>
                          <a:gd name="connsiteX5" fmla="*/ 7192 w 48175"/>
                          <a:gd name="connsiteY5" fmla="*/ 44638 h 51694"/>
                          <a:gd name="connsiteX6" fmla="*/ 5996 w 48175"/>
                          <a:gd name="connsiteY6" fmla="*/ 43262 h 51694"/>
                          <a:gd name="connsiteX7" fmla="*/ 4919 w 48175"/>
                          <a:gd name="connsiteY7" fmla="*/ 41767 h 51694"/>
                          <a:gd name="connsiteX8" fmla="*/ 3962 w 48175"/>
                          <a:gd name="connsiteY8" fmla="*/ 40152 h 51694"/>
                          <a:gd name="connsiteX9" fmla="*/ 3783 w 48175"/>
                          <a:gd name="connsiteY9" fmla="*/ 39853 h 51694"/>
                          <a:gd name="connsiteX10" fmla="*/ 3604 w 48175"/>
                          <a:gd name="connsiteY10" fmla="*/ 39494 h 51694"/>
                          <a:gd name="connsiteX11" fmla="*/ 3424 w 48175"/>
                          <a:gd name="connsiteY11" fmla="*/ 39136 h 51694"/>
                          <a:gd name="connsiteX12" fmla="*/ 3245 w 48175"/>
                          <a:gd name="connsiteY12" fmla="*/ 38777 h 51694"/>
                          <a:gd name="connsiteX13" fmla="*/ 3185 w 48175"/>
                          <a:gd name="connsiteY13" fmla="*/ 38717 h 51694"/>
                          <a:gd name="connsiteX14" fmla="*/ 3125 w 48175"/>
                          <a:gd name="connsiteY14" fmla="*/ 38657 h 51694"/>
                          <a:gd name="connsiteX15" fmla="*/ 3065 w 48175"/>
                          <a:gd name="connsiteY15" fmla="*/ 38597 h 51694"/>
                          <a:gd name="connsiteX16" fmla="*/ 3006 w 48175"/>
                          <a:gd name="connsiteY16" fmla="*/ 38537 h 51694"/>
                          <a:gd name="connsiteX17" fmla="*/ 1510 w 48175"/>
                          <a:gd name="connsiteY17" fmla="*/ 34112 h 51694"/>
                          <a:gd name="connsiteX18" fmla="*/ 912 w 48175"/>
                          <a:gd name="connsiteY18" fmla="*/ 29447 h 51694"/>
                          <a:gd name="connsiteX19" fmla="*/ 1211 w 48175"/>
                          <a:gd name="connsiteY19" fmla="*/ 24602 h 51694"/>
                          <a:gd name="connsiteX20" fmla="*/ 2407 w 48175"/>
                          <a:gd name="connsiteY20" fmla="*/ 19758 h 51694"/>
                          <a:gd name="connsiteX21" fmla="*/ 4441 w 48175"/>
                          <a:gd name="connsiteY21" fmla="*/ 15153 h 51694"/>
                          <a:gd name="connsiteX22" fmla="*/ 7192 w 48175"/>
                          <a:gd name="connsiteY22" fmla="*/ 11026 h 51694"/>
                          <a:gd name="connsiteX23" fmla="*/ 10601 w 48175"/>
                          <a:gd name="connsiteY23" fmla="*/ 7497 h 51694"/>
                          <a:gd name="connsiteX24" fmla="*/ 14608 w 48175"/>
                          <a:gd name="connsiteY24" fmla="*/ 4627 h 51694"/>
                          <a:gd name="connsiteX25" fmla="*/ 18615 w 48175"/>
                          <a:gd name="connsiteY25" fmla="*/ 2713 h 51694"/>
                          <a:gd name="connsiteX26" fmla="*/ 22742 w 48175"/>
                          <a:gd name="connsiteY26" fmla="*/ 1636 h 51694"/>
                          <a:gd name="connsiteX27" fmla="*/ 26929 w 48175"/>
                          <a:gd name="connsiteY27" fmla="*/ 1397 h 51694"/>
                          <a:gd name="connsiteX28" fmla="*/ 31055 w 48175"/>
                          <a:gd name="connsiteY28" fmla="*/ 1935 h 51694"/>
                          <a:gd name="connsiteX29" fmla="*/ 31354 w 48175"/>
                          <a:gd name="connsiteY29" fmla="*/ 1995 h 51694"/>
                          <a:gd name="connsiteX30" fmla="*/ 31653 w 48175"/>
                          <a:gd name="connsiteY30" fmla="*/ 2055 h 51694"/>
                          <a:gd name="connsiteX31" fmla="*/ 31952 w 48175"/>
                          <a:gd name="connsiteY31" fmla="*/ 2115 h 51694"/>
                          <a:gd name="connsiteX32" fmla="*/ 32251 w 48175"/>
                          <a:gd name="connsiteY32" fmla="*/ 2175 h 51694"/>
                          <a:gd name="connsiteX33" fmla="*/ 33148 w 48175"/>
                          <a:gd name="connsiteY33" fmla="*/ 2474 h 51694"/>
                          <a:gd name="connsiteX34" fmla="*/ 33986 w 48175"/>
                          <a:gd name="connsiteY34" fmla="*/ 2833 h 51694"/>
                          <a:gd name="connsiteX35" fmla="*/ 34823 w 48175"/>
                          <a:gd name="connsiteY35" fmla="*/ 3191 h 51694"/>
                          <a:gd name="connsiteX36" fmla="*/ 35660 w 48175"/>
                          <a:gd name="connsiteY36" fmla="*/ 3610 h 51694"/>
                          <a:gd name="connsiteX37" fmla="*/ 35900 w 48175"/>
                          <a:gd name="connsiteY37" fmla="*/ 3730 h 51694"/>
                          <a:gd name="connsiteX38" fmla="*/ 36139 w 48175"/>
                          <a:gd name="connsiteY38" fmla="*/ 3849 h 51694"/>
                          <a:gd name="connsiteX39" fmla="*/ 36378 w 48175"/>
                          <a:gd name="connsiteY39" fmla="*/ 3969 h 51694"/>
                          <a:gd name="connsiteX40" fmla="*/ 36617 w 48175"/>
                          <a:gd name="connsiteY40" fmla="*/ 4089 h 51694"/>
                          <a:gd name="connsiteX41" fmla="*/ 37395 w 48175"/>
                          <a:gd name="connsiteY41" fmla="*/ 4567 h 51694"/>
                          <a:gd name="connsiteX42" fmla="*/ 38112 w 48175"/>
                          <a:gd name="connsiteY42" fmla="*/ 5045 h 51694"/>
                          <a:gd name="connsiteX43" fmla="*/ 38830 w 48175"/>
                          <a:gd name="connsiteY43" fmla="*/ 5584 h 51694"/>
                          <a:gd name="connsiteX44" fmla="*/ 39488 w 48175"/>
                          <a:gd name="connsiteY44" fmla="*/ 6122 h 51694"/>
                          <a:gd name="connsiteX45" fmla="*/ 39548 w 48175"/>
                          <a:gd name="connsiteY45" fmla="*/ 6122 h 51694"/>
                          <a:gd name="connsiteX46" fmla="*/ 39608 w 48175"/>
                          <a:gd name="connsiteY46" fmla="*/ 6122 h 51694"/>
                          <a:gd name="connsiteX47" fmla="*/ 39667 w 48175"/>
                          <a:gd name="connsiteY47" fmla="*/ 6122 h 51694"/>
                          <a:gd name="connsiteX48" fmla="*/ 39727 w 48175"/>
                          <a:gd name="connsiteY48" fmla="*/ 6122 h 51694"/>
                          <a:gd name="connsiteX49" fmla="*/ 39907 w 48175"/>
                          <a:gd name="connsiteY49" fmla="*/ 6301 h 51694"/>
                          <a:gd name="connsiteX50" fmla="*/ 40086 w 48175"/>
                          <a:gd name="connsiteY50" fmla="*/ 6481 h 51694"/>
                          <a:gd name="connsiteX51" fmla="*/ 40265 w 48175"/>
                          <a:gd name="connsiteY51" fmla="*/ 6660 h 51694"/>
                          <a:gd name="connsiteX52" fmla="*/ 40445 w 48175"/>
                          <a:gd name="connsiteY52" fmla="*/ 6840 h 51694"/>
                          <a:gd name="connsiteX53" fmla="*/ 41641 w 48175"/>
                          <a:gd name="connsiteY53" fmla="*/ 8096 h 51694"/>
                          <a:gd name="connsiteX54" fmla="*/ 42718 w 48175"/>
                          <a:gd name="connsiteY54" fmla="*/ 9471 h 51694"/>
                          <a:gd name="connsiteX55" fmla="*/ 43674 w 48175"/>
                          <a:gd name="connsiteY55" fmla="*/ 10966 h 51694"/>
                          <a:gd name="connsiteX56" fmla="*/ 44512 w 48175"/>
                          <a:gd name="connsiteY56" fmla="*/ 12521 h 51694"/>
                          <a:gd name="connsiteX57" fmla="*/ 44632 w 48175"/>
                          <a:gd name="connsiteY57" fmla="*/ 12820 h 51694"/>
                          <a:gd name="connsiteX58" fmla="*/ 44751 w 48175"/>
                          <a:gd name="connsiteY58" fmla="*/ 13119 h 51694"/>
                          <a:gd name="connsiteX59" fmla="*/ 44871 w 48175"/>
                          <a:gd name="connsiteY59" fmla="*/ 13419 h 51694"/>
                          <a:gd name="connsiteX60" fmla="*/ 44990 w 48175"/>
                          <a:gd name="connsiteY60" fmla="*/ 13718 h 51694"/>
                          <a:gd name="connsiteX61" fmla="*/ 46366 w 48175"/>
                          <a:gd name="connsiteY61" fmla="*/ 18023 h 51694"/>
                          <a:gd name="connsiteX62" fmla="*/ 46904 w 48175"/>
                          <a:gd name="connsiteY62" fmla="*/ 22629 h 51694"/>
                          <a:gd name="connsiteX63" fmla="*/ 46605 w 48175"/>
                          <a:gd name="connsiteY63" fmla="*/ 27413 h 51694"/>
                          <a:gd name="connsiteX64" fmla="*/ 45409 w 48175"/>
                          <a:gd name="connsiteY64" fmla="*/ 32258 h 51694"/>
                          <a:gd name="connsiteX65" fmla="*/ 43375 w 48175"/>
                          <a:gd name="connsiteY65" fmla="*/ 36803 h 51694"/>
                          <a:gd name="connsiteX66" fmla="*/ 40684 w 48175"/>
                          <a:gd name="connsiteY66" fmla="*/ 40810 h 51694"/>
                          <a:gd name="connsiteX67" fmla="*/ 37335 w 48175"/>
                          <a:gd name="connsiteY67" fmla="*/ 44279 h 51694"/>
                          <a:gd name="connsiteX68" fmla="*/ 33447 w 48175"/>
                          <a:gd name="connsiteY68" fmla="*/ 47090 h 51694"/>
                          <a:gd name="connsiteX69" fmla="*/ 32311 w 48175"/>
                          <a:gd name="connsiteY69" fmla="*/ 47688 h 51694"/>
                          <a:gd name="connsiteX70" fmla="*/ 31175 w 48175"/>
                          <a:gd name="connsiteY70" fmla="*/ 48226 h 51694"/>
                          <a:gd name="connsiteX71" fmla="*/ 30039 w 48175"/>
                          <a:gd name="connsiteY71" fmla="*/ 48705 h 51694"/>
                          <a:gd name="connsiteX72" fmla="*/ 28902 w 48175"/>
                          <a:gd name="connsiteY72" fmla="*/ 49123 h 51694"/>
                          <a:gd name="connsiteX73" fmla="*/ 28543 w 48175"/>
                          <a:gd name="connsiteY73" fmla="*/ 49243 h 51694"/>
                          <a:gd name="connsiteX74" fmla="*/ 28185 w 48175"/>
                          <a:gd name="connsiteY74" fmla="*/ 49362 h 51694"/>
                          <a:gd name="connsiteX75" fmla="*/ 27825 w 48175"/>
                          <a:gd name="connsiteY75" fmla="*/ 49482 h 51694"/>
                          <a:gd name="connsiteX76" fmla="*/ 27467 w 48175"/>
                          <a:gd name="connsiteY76" fmla="*/ 49602 h 51694"/>
                          <a:gd name="connsiteX77" fmla="*/ 25732 w 48175"/>
                          <a:gd name="connsiteY77" fmla="*/ 50021 h 51694"/>
                          <a:gd name="connsiteX78" fmla="*/ 23998 w 48175"/>
                          <a:gd name="connsiteY78" fmla="*/ 50320 h 51694"/>
                          <a:gd name="connsiteX79" fmla="*/ 22263 w 48175"/>
                          <a:gd name="connsiteY79" fmla="*/ 50439 h 51694"/>
                          <a:gd name="connsiteX80" fmla="*/ 20529 w 48175"/>
                          <a:gd name="connsiteY80" fmla="*/ 50439 h 51694"/>
                          <a:gd name="connsiteX81" fmla="*/ 20230 w 48175"/>
                          <a:gd name="connsiteY81" fmla="*/ 50439 h 51694"/>
                          <a:gd name="connsiteX82" fmla="*/ 19931 w 48175"/>
                          <a:gd name="connsiteY82" fmla="*/ 50439 h 51694"/>
                          <a:gd name="connsiteX83" fmla="*/ 19632 w 48175"/>
                          <a:gd name="connsiteY83" fmla="*/ 50439 h 51694"/>
                          <a:gd name="connsiteX84" fmla="*/ 19333 w 48175"/>
                          <a:gd name="connsiteY84" fmla="*/ 50439 h 51694"/>
                          <a:gd name="connsiteX85" fmla="*/ 18495 w 48175"/>
                          <a:gd name="connsiteY85" fmla="*/ 50320 h 51694"/>
                          <a:gd name="connsiteX86" fmla="*/ 17658 w 48175"/>
                          <a:gd name="connsiteY86" fmla="*/ 50200 h 51694"/>
                          <a:gd name="connsiteX87" fmla="*/ 16821 w 48175"/>
                          <a:gd name="connsiteY87" fmla="*/ 50021 h 51694"/>
                          <a:gd name="connsiteX88" fmla="*/ 15984 w 48175"/>
                          <a:gd name="connsiteY88" fmla="*/ 49781 h 51694"/>
                          <a:gd name="connsiteX89" fmla="*/ 14847 w 48175"/>
                          <a:gd name="connsiteY89" fmla="*/ 49422 h 51694"/>
                          <a:gd name="connsiteX90" fmla="*/ 13711 w 48175"/>
                          <a:gd name="connsiteY90" fmla="*/ 49004 h 51694"/>
                          <a:gd name="connsiteX91" fmla="*/ 12634 w 48175"/>
                          <a:gd name="connsiteY91" fmla="*/ 48525 h 51694"/>
                          <a:gd name="connsiteX92" fmla="*/ 11618 w 48175"/>
                          <a:gd name="connsiteY92" fmla="*/ 47987 h 51694"/>
                          <a:gd name="connsiteX93" fmla="*/ 11378 w 48175"/>
                          <a:gd name="connsiteY93" fmla="*/ 47867 h 51694"/>
                          <a:gd name="connsiteX94" fmla="*/ 11139 w 48175"/>
                          <a:gd name="connsiteY94" fmla="*/ 47748 h 51694"/>
                          <a:gd name="connsiteX95" fmla="*/ 10900 w 48175"/>
                          <a:gd name="connsiteY95" fmla="*/ 47628 h 51694"/>
                          <a:gd name="connsiteX96" fmla="*/ 10601 w 48175"/>
                          <a:gd name="connsiteY96" fmla="*/ 47449 h 51694"/>
                          <a:gd name="connsiteX97" fmla="*/ 7730 w 48175"/>
                          <a:gd name="connsiteY97" fmla="*/ 46851 h 51694"/>
                          <a:gd name="connsiteX98" fmla="*/ 8329 w 48175"/>
                          <a:gd name="connsiteY98" fmla="*/ 47329 h 51694"/>
                          <a:gd name="connsiteX99" fmla="*/ 8926 w 48175"/>
                          <a:gd name="connsiteY99" fmla="*/ 47808 h 51694"/>
                          <a:gd name="connsiteX100" fmla="*/ 9524 w 48175"/>
                          <a:gd name="connsiteY100" fmla="*/ 48226 h 51694"/>
                          <a:gd name="connsiteX101" fmla="*/ 10123 w 48175"/>
                          <a:gd name="connsiteY101" fmla="*/ 48645 h 51694"/>
                          <a:gd name="connsiteX102" fmla="*/ 10362 w 48175"/>
                          <a:gd name="connsiteY102" fmla="*/ 48764 h 51694"/>
                          <a:gd name="connsiteX103" fmla="*/ 10601 w 48175"/>
                          <a:gd name="connsiteY103" fmla="*/ 48884 h 51694"/>
                          <a:gd name="connsiteX104" fmla="*/ 10840 w 48175"/>
                          <a:gd name="connsiteY104" fmla="*/ 49004 h 51694"/>
                          <a:gd name="connsiteX105" fmla="*/ 11079 w 48175"/>
                          <a:gd name="connsiteY105" fmla="*/ 49123 h 51694"/>
                          <a:gd name="connsiteX106" fmla="*/ 12156 w 48175"/>
                          <a:gd name="connsiteY106" fmla="*/ 49662 h 51694"/>
                          <a:gd name="connsiteX107" fmla="*/ 13233 w 48175"/>
                          <a:gd name="connsiteY107" fmla="*/ 50140 h 51694"/>
                          <a:gd name="connsiteX108" fmla="*/ 14369 w 48175"/>
                          <a:gd name="connsiteY108" fmla="*/ 50559 h 51694"/>
                          <a:gd name="connsiteX109" fmla="*/ 15565 w 48175"/>
                          <a:gd name="connsiteY109" fmla="*/ 50917 h 51694"/>
                          <a:gd name="connsiteX110" fmla="*/ 16402 w 48175"/>
                          <a:gd name="connsiteY110" fmla="*/ 51157 h 51694"/>
                          <a:gd name="connsiteX111" fmla="*/ 17240 w 48175"/>
                          <a:gd name="connsiteY111" fmla="*/ 51336 h 51694"/>
                          <a:gd name="connsiteX112" fmla="*/ 18077 w 48175"/>
                          <a:gd name="connsiteY112" fmla="*/ 51456 h 51694"/>
                          <a:gd name="connsiteX113" fmla="*/ 18914 w 48175"/>
                          <a:gd name="connsiteY113" fmla="*/ 51576 h 51694"/>
                          <a:gd name="connsiteX114" fmla="*/ 19214 w 48175"/>
                          <a:gd name="connsiteY114" fmla="*/ 51635 h 51694"/>
                          <a:gd name="connsiteX115" fmla="*/ 19512 w 48175"/>
                          <a:gd name="connsiteY115" fmla="*/ 51635 h 51694"/>
                          <a:gd name="connsiteX116" fmla="*/ 19811 w 48175"/>
                          <a:gd name="connsiteY116" fmla="*/ 51635 h 51694"/>
                          <a:gd name="connsiteX117" fmla="*/ 20110 w 48175"/>
                          <a:gd name="connsiteY117" fmla="*/ 51635 h 51694"/>
                          <a:gd name="connsiteX118" fmla="*/ 21845 w 48175"/>
                          <a:gd name="connsiteY118" fmla="*/ 51695 h 51694"/>
                          <a:gd name="connsiteX119" fmla="*/ 23579 w 48175"/>
                          <a:gd name="connsiteY119" fmla="*/ 51635 h 51694"/>
                          <a:gd name="connsiteX120" fmla="*/ 25314 w 48175"/>
                          <a:gd name="connsiteY120" fmla="*/ 51396 h 51694"/>
                          <a:gd name="connsiteX121" fmla="*/ 27048 w 48175"/>
                          <a:gd name="connsiteY121" fmla="*/ 51037 h 51694"/>
                          <a:gd name="connsiteX122" fmla="*/ 27407 w 48175"/>
                          <a:gd name="connsiteY122" fmla="*/ 50977 h 51694"/>
                          <a:gd name="connsiteX123" fmla="*/ 27766 w 48175"/>
                          <a:gd name="connsiteY123" fmla="*/ 50917 h 51694"/>
                          <a:gd name="connsiteX124" fmla="*/ 28125 w 48175"/>
                          <a:gd name="connsiteY124" fmla="*/ 50798 h 51694"/>
                          <a:gd name="connsiteX125" fmla="*/ 28484 w 48175"/>
                          <a:gd name="connsiteY125" fmla="*/ 50678 h 51694"/>
                          <a:gd name="connsiteX126" fmla="*/ 29919 w 48175"/>
                          <a:gd name="connsiteY126" fmla="*/ 50200 h 51694"/>
                          <a:gd name="connsiteX127" fmla="*/ 31354 w 48175"/>
                          <a:gd name="connsiteY127" fmla="*/ 49602 h 51694"/>
                          <a:gd name="connsiteX128" fmla="*/ 32730 w 48175"/>
                          <a:gd name="connsiteY128" fmla="*/ 48944 h 51694"/>
                          <a:gd name="connsiteX129" fmla="*/ 34105 w 48175"/>
                          <a:gd name="connsiteY129" fmla="*/ 48167 h 51694"/>
                          <a:gd name="connsiteX130" fmla="*/ 38172 w 48175"/>
                          <a:gd name="connsiteY130" fmla="*/ 45236 h 51694"/>
                          <a:gd name="connsiteX131" fmla="*/ 41641 w 48175"/>
                          <a:gd name="connsiteY131" fmla="*/ 41588 h 51694"/>
                          <a:gd name="connsiteX132" fmla="*/ 44452 w 48175"/>
                          <a:gd name="connsiteY132" fmla="*/ 37341 h 51694"/>
                          <a:gd name="connsiteX133" fmla="*/ 46545 w 48175"/>
                          <a:gd name="connsiteY133" fmla="*/ 32616 h 51694"/>
                          <a:gd name="connsiteX134" fmla="*/ 47861 w 48175"/>
                          <a:gd name="connsiteY134" fmla="*/ 27413 h 51694"/>
                          <a:gd name="connsiteX135" fmla="*/ 48160 w 48175"/>
                          <a:gd name="connsiteY135" fmla="*/ 22270 h 51694"/>
                          <a:gd name="connsiteX136" fmla="*/ 47502 w 48175"/>
                          <a:gd name="connsiteY136" fmla="*/ 17366 h 51694"/>
                          <a:gd name="connsiteX137" fmla="*/ 45947 w 48175"/>
                          <a:gd name="connsiteY137" fmla="*/ 12760 h 51694"/>
                          <a:gd name="connsiteX138" fmla="*/ 45827 w 48175"/>
                          <a:gd name="connsiteY138" fmla="*/ 12461 h 51694"/>
                          <a:gd name="connsiteX139" fmla="*/ 45708 w 48175"/>
                          <a:gd name="connsiteY139" fmla="*/ 12162 h 51694"/>
                          <a:gd name="connsiteX140" fmla="*/ 45588 w 48175"/>
                          <a:gd name="connsiteY140" fmla="*/ 11864 h 51694"/>
                          <a:gd name="connsiteX141" fmla="*/ 45469 w 48175"/>
                          <a:gd name="connsiteY141" fmla="*/ 11565 h 51694"/>
                          <a:gd name="connsiteX142" fmla="*/ 44632 w 48175"/>
                          <a:gd name="connsiteY142" fmla="*/ 10010 h 51694"/>
                          <a:gd name="connsiteX143" fmla="*/ 43674 w 48175"/>
                          <a:gd name="connsiteY143" fmla="*/ 8574 h 51694"/>
                          <a:gd name="connsiteX144" fmla="*/ 42598 w 48175"/>
                          <a:gd name="connsiteY144" fmla="*/ 7198 h 51694"/>
                          <a:gd name="connsiteX145" fmla="*/ 41402 w 48175"/>
                          <a:gd name="connsiteY145" fmla="*/ 5943 h 51694"/>
                          <a:gd name="connsiteX146" fmla="*/ 41223 w 48175"/>
                          <a:gd name="connsiteY146" fmla="*/ 5763 h 51694"/>
                          <a:gd name="connsiteX147" fmla="*/ 41043 w 48175"/>
                          <a:gd name="connsiteY147" fmla="*/ 5584 h 51694"/>
                          <a:gd name="connsiteX148" fmla="*/ 40864 w 48175"/>
                          <a:gd name="connsiteY148" fmla="*/ 5404 h 51694"/>
                          <a:gd name="connsiteX149" fmla="*/ 40684 w 48175"/>
                          <a:gd name="connsiteY149" fmla="*/ 5225 h 51694"/>
                          <a:gd name="connsiteX150" fmla="*/ 40624 w 48175"/>
                          <a:gd name="connsiteY150" fmla="*/ 5225 h 51694"/>
                          <a:gd name="connsiteX151" fmla="*/ 40564 w 48175"/>
                          <a:gd name="connsiteY151" fmla="*/ 5225 h 51694"/>
                          <a:gd name="connsiteX152" fmla="*/ 40505 w 48175"/>
                          <a:gd name="connsiteY152" fmla="*/ 5225 h 51694"/>
                          <a:gd name="connsiteX153" fmla="*/ 40445 w 48175"/>
                          <a:gd name="connsiteY153" fmla="*/ 5225 h 51694"/>
                          <a:gd name="connsiteX154" fmla="*/ 39787 w 48175"/>
                          <a:gd name="connsiteY154" fmla="*/ 4687 h 51694"/>
                          <a:gd name="connsiteX155" fmla="*/ 39069 w 48175"/>
                          <a:gd name="connsiteY155" fmla="*/ 4148 h 51694"/>
                          <a:gd name="connsiteX156" fmla="*/ 38352 w 48175"/>
                          <a:gd name="connsiteY156" fmla="*/ 3610 h 51694"/>
                          <a:gd name="connsiteX157" fmla="*/ 37634 w 48175"/>
                          <a:gd name="connsiteY157" fmla="*/ 3132 h 51694"/>
                          <a:gd name="connsiteX158" fmla="*/ 37395 w 48175"/>
                          <a:gd name="connsiteY158" fmla="*/ 3012 h 51694"/>
                          <a:gd name="connsiteX159" fmla="*/ 37156 w 48175"/>
                          <a:gd name="connsiteY159" fmla="*/ 2892 h 51694"/>
                          <a:gd name="connsiteX160" fmla="*/ 36916 w 48175"/>
                          <a:gd name="connsiteY160" fmla="*/ 2773 h 51694"/>
                          <a:gd name="connsiteX161" fmla="*/ 36677 w 48175"/>
                          <a:gd name="connsiteY161" fmla="*/ 2653 h 51694"/>
                          <a:gd name="connsiteX162" fmla="*/ 35900 w 48175"/>
                          <a:gd name="connsiteY162" fmla="*/ 2235 h 51694"/>
                          <a:gd name="connsiteX163" fmla="*/ 35062 w 48175"/>
                          <a:gd name="connsiteY163" fmla="*/ 1876 h 51694"/>
                          <a:gd name="connsiteX164" fmla="*/ 34225 w 48175"/>
                          <a:gd name="connsiteY164" fmla="*/ 1517 h 51694"/>
                          <a:gd name="connsiteX165" fmla="*/ 33328 w 48175"/>
                          <a:gd name="connsiteY165" fmla="*/ 1218 h 51694"/>
                          <a:gd name="connsiteX166" fmla="*/ 33208 w 48175"/>
                          <a:gd name="connsiteY166" fmla="*/ 1158 h 51694"/>
                          <a:gd name="connsiteX167" fmla="*/ 33088 w 48175"/>
                          <a:gd name="connsiteY167" fmla="*/ 1098 h 51694"/>
                          <a:gd name="connsiteX168" fmla="*/ 32969 w 48175"/>
                          <a:gd name="connsiteY168" fmla="*/ 1038 h 51694"/>
                          <a:gd name="connsiteX169" fmla="*/ 32849 w 48175"/>
                          <a:gd name="connsiteY169" fmla="*/ 979 h 51694"/>
                          <a:gd name="connsiteX170" fmla="*/ 32670 w 48175"/>
                          <a:gd name="connsiteY170" fmla="*/ 919 h 51694"/>
                          <a:gd name="connsiteX171" fmla="*/ 32491 w 48175"/>
                          <a:gd name="connsiteY171" fmla="*/ 859 h 51694"/>
                          <a:gd name="connsiteX172" fmla="*/ 32311 w 48175"/>
                          <a:gd name="connsiteY172" fmla="*/ 799 h 51694"/>
                          <a:gd name="connsiteX173" fmla="*/ 32132 w 48175"/>
                          <a:gd name="connsiteY173" fmla="*/ 739 h 51694"/>
                          <a:gd name="connsiteX174" fmla="*/ 27706 w 48175"/>
                          <a:gd name="connsiteY174" fmla="*/ 21 h 51694"/>
                          <a:gd name="connsiteX175" fmla="*/ 23220 w 48175"/>
                          <a:gd name="connsiteY175" fmla="*/ 261 h 51694"/>
                          <a:gd name="connsiteX176" fmla="*/ 18735 w 48175"/>
                          <a:gd name="connsiteY176" fmla="*/ 1397 h 51694"/>
                          <a:gd name="connsiteX177" fmla="*/ 14369 w 48175"/>
                          <a:gd name="connsiteY177" fmla="*/ 3430 h 51694"/>
                          <a:gd name="connsiteX178" fmla="*/ 10183 w 48175"/>
                          <a:gd name="connsiteY178" fmla="*/ 6421 h 51694"/>
                          <a:gd name="connsiteX179" fmla="*/ 6594 w 48175"/>
                          <a:gd name="connsiteY179" fmla="*/ 10129 h 51694"/>
                          <a:gd name="connsiteX180" fmla="*/ 3723 w 48175"/>
                          <a:gd name="connsiteY180" fmla="*/ 14435 h 51694"/>
                          <a:gd name="connsiteX181" fmla="*/ 1570 w 48175"/>
                          <a:gd name="connsiteY181" fmla="*/ 19280 h 51694"/>
                          <a:gd name="connsiteX182" fmla="*/ 314 w 48175"/>
                          <a:gd name="connsiteY182" fmla="*/ 24363 h 51694"/>
                          <a:gd name="connsiteX183" fmla="*/ 15 w 48175"/>
                          <a:gd name="connsiteY183" fmla="*/ 29447 h 51694"/>
                          <a:gd name="connsiteX184" fmla="*/ 673 w 48175"/>
                          <a:gd name="connsiteY184" fmla="*/ 34351 h 51694"/>
                          <a:gd name="connsiteX185" fmla="*/ 2228 w 48175"/>
                          <a:gd name="connsiteY185" fmla="*/ 38956 h 51694"/>
                          <a:gd name="connsiteX186" fmla="*/ 2348 w 48175"/>
                          <a:gd name="connsiteY186" fmla="*/ 39255 h 51694"/>
                          <a:gd name="connsiteX187" fmla="*/ 2467 w 48175"/>
                          <a:gd name="connsiteY187" fmla="*/ 39554 h 51694"/>
                          <a:gd name="connsiteX188" fmla="*/ 2587 w 48175"/>
                          <a:gd name="connsiteY188" fmla="*/ 39853 h 51694"/>
                          <a:gd name="connsiteX189" fmla="*/ 2707 w 48175"/>
                          <a:gd name="connsiteY189" fmla="*/ 40152 h 51694"/>
                          <a:gd name="connsiteX190" fmla="*/ 2886 w 48175"/>
                          <a:gd name="connsiteY190" fmla="*/ 40451 h 51694"/>
                          <a:gd name="connsiteX191" fmla="*/ 3065 w 48175"/>
                          <a:gd name="connsiteY191" fmla="*/ 40751 h 51694"/>
                          <a:gd name="connsiteX192" fmla="*/ 3245 w 48175"/>
                          <a:gd name="connsiteY192" fmla="*/ 41049 h 51694"/>
                          <a:gd name="connsiteX193" fmla="*/ 3424 w 48175"/>
                          <a:gd name="connsiteY193" fmla="*/ 41348 h 51694"/>
                          <a:gd name="connsiteX194" fmla="*/ 4381 w 48175"/>
                          <a:gd name="connsiteY194" fmla="*/ 42844 h 51694"/>
                          <a:gd name="connsiteX195" fmla="*/ 5458 w 48175"/>
                          <a:gd name="connsiteY195" fmla="*/ 44219 h 51694"/>
                          <a:gd name="connsiteX196" fmla="*/ 6594 w 48175"/>
                          <a:gd name="connsiteY196" fmla="*/ 45475 h 51694"/>
                          <a:gd name="connsiteX197" fmla="*/ 7730 w 48175"/>
                          <a:gd name="connsiteY197" fmla="*/ 46851 h 5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48175" h="51694">
                            <a:moveTo>
                              <a:pt x="10601" y="47449"/>
                            </a:moveTo>
                            <a:cubicBezTo>
                              <a:pt x="10422" y="47329"/>
                              <a:pt x="10242" y="47209"/>
                              <a:pt x="10063" y="47090"/>
                            </a:cubicBezTo>
                            <a:cubicBezTo>
                              <a:pt x="9883" y="46970"/>
                              <a:pt x="9704" y="46851"/>
                              <a:pt x="9524" y="46731"/>
                            </a:cubicBezTo>
                            <a:cubicBezTo>
                              <a:pt x="9345" y="46611"/>
                              <a:pt x="9166" y="46492"/>
                              <a:pt x="8986" y="46313"/>
                            </a:cubicBezTo>
                            <a:cubicBezTo>
                              <a:pt x="8807" y="46133"/>
                              <a:pt x="8628" y="46013"/>
                              <a:pt x="8508" y="45894"/>
                            </a:cubicBezTo>
                            <a:cubicBezTo>
                              <a:pt x="8029" y="45535"/>
                              <a:pt x="7611" y="45116"/>
                              <a:pt x="7192" y="44638"/>
                            </a:cubicBezTo>
                            <a:cubicBezTo>
                              <a:pt x="6774" y="44219"/>
                              <a:pt x="6355" y="43741"/>
                              <a:pt x="5996" y="43262"/>
                            </a:cubicBezTo>
                            <a:cubicBezTo>
                              <a:pt x="5637" y="42784"/>
                              <a:pt x="5278" y="42305"/>
                              <a:pt x="4919" y="41767"/>
                            </a:cubicBezTo>
                            <a:cubicBezTo>
                              <a:pt x="4561" y="41229"/>
                              <a:pt x="4262" y="40751"/>
                              <a:pt x="3962" y="40152"/>
                            </a:cubicBezTo>
                            <a:cubicBezTo>
                              <a:pt x="3903" y="40032"/>
                              <a:pt x="3843" y="39913"/>
                              <a:pt x="3783" y="39853"/>
                            </a:cubicBezTo>
                            <a:cubicBezTo>
                              <a:pt x="3723" y="39734"/>
                              <a:pt x="3663" y="39614"/>
                              <a:pt x="3604" y="39494"/>
                            </a:cubicBezTo>
                            <a:cubicBezTo>
                              <a:pt x="3544" y="39375"/>
                              <a:pt x="3484" y="39255"/>
                              <a:pt x="3424" y="39136"/>
                            </a:cubicBezTo>
                            <a:cubicBezTo>
                              <a:pt x="3364" y="39016"/>
                              <a:pt x="3305" y="38896"/>
                              <a:pt x="3245" y="38777"/>
                            </a:cubicBezTo>
                            <a:cubicBezTo>
                              <a:pt x="3245" y="38777"/>
                              <a:pt x="3245" y="38717"/>
                              <a:pt x="3185" y="38717"/>
                            </a:cubicBezTo>
                            <a:cubicBezTo>
                              <a:pt x="3185" y="38717"/>
                              <a:pt x="3185" y="38657"/>
                              <a:pt x="3125" y="38657"/>
                            </a:cubicBezTo>
                            <a:cubicBezTo>
                              <a:pt x="3065" y="38657"/>
                              <a:pt x="3125" y="38597"/>
                              <a:pt x="3065" y="38597"/>
                            </a:cubicBezTo>
                            <a:cubicBezTo>
                              <a:pt x="3065" y="38597"/>
                              <a:pt x="3065" y="38537"/>
                              <a:pt x="3006" y="38537"/>
                            </a:cubicBezTo>
                            <a:cubicBezTo>
                              <a:pt x="2348" y="37102"/>
                              <a:pt x="1869" y="35607"/>
                              <a:pt x="1510" y="34112"/>
                            </a:cubicBezTo>
                            <a:cubicBezTo>
                              <a:pt x="1152" y="32557"/>
                              <a:pt x="972" y="31002"/>
                              <a:pt x="912" y="29447"/>
                            </a:cubicBezTo>
                            <a:cubicBezTo>
                              <a:pt x="853" y="27832"/>
                              <a:pt x="972" y="26217"/>
                              <a:pt x="1211" y="24602"/>
                            </a:cubicBezTo>
                            <a:cubicBezTo>
                              <a:pt x="1451" y="22988"/>
                              <a:pt x="1869" y="21373"/>
                              <a:pt x="2407" y="19758"/>
                            </a:cubicBezTo>
                            <a:cubicBezTo>
                              <a:pt x="2946" y="18143"/>
                              <a:pt x="3604" y="16588"/>
                              <a:pt x="4441" y="15153"/>
                            </a:cubicBezTo>
                            <a:cubicBezTo>
                              <a:pt x="5278" y="13718"/>
                              <a:pt x="6175" y="12342"/>
                              <a:pt x="7192" y="11026"/>
                            </a:cubicBezTo>
                            <a:cubicBezTo>
                              <a:pt x="8209" y="9711"/>
                              <a:pt x="9345" y="8574"/>
                              <a:pt x="10601" y="7497"/>
                            </a:cubicBezTo>
                            <a:cubicBezTo>
                              <a:pt x="11857" y="6421"/>
                              <a:pt x="13173" y="5464"/>
                              <a:pt x="14608" y="4627"/>
                            </a:cubicBezTo>
                            <a:cubicBezTo>
                              <a:pt x="15924" y="3849"/>
                              <a:pt x="17240" y="3251"/>
                              <a:pt x="18615" y="2713"/>
                            </a:cubicBezTo>
                            <a:cubicBezTo>
                              <a:pt x="19991" y="2235"/>
                              <a:pt x="21366" y="1876"/>
                              <a:pt x="22742" y="1636"/>
                            </a:cubicBezTo>
                            <a:cubicBezTo>
                              <a:pt x="24117" y="1397"/>
                              <a:pt x="25553" y="1337"/>
                              <a:pt x="26929" y="1397"/>
                            </a:cubicBezTo>
                            <a:cubicBezTo>
                              <a:pt x="28304" y="1457"/>
                              <a:pt x="29680" y="1636"/>
                              <a:pt x="31055" y="1935"/>
                            </a:cubicBezTo>
                            <a:cubicBezTo>
                              <a:pt x="31175" y="1935"/>
                              <a:pt x="31234" y="1995"/>
                              <a:pt x="31354" y="1995"/>
                            </a:cubicBezTo>
                            <a:cubicBezTo>
                              <a:pt x="31474" y="1995"/>
                              <a:pt x="31534" y="2055"/>
                              <a:pt x="31653" y="2055"/>
                            </a:cubicBezTo>
                            <a:cubicBezTo>
                              <a:pt x="31773" y="2055"/>
                              <a:pt x="31833" y="2115"/>
                              <a:pt x="31952" y="2115"/>
                            </a:cubicBezTo>
                            <a:cubicBezTo>
                              <a:pt x="32072" y="2115"/>
                              <a:pt x="32132" y="2175"/>
                              <a:pt x="32251" y="2175"/>
                            </a:cubicBezTo>
                            <a:cubicBezTo>
                              <a:pt x="32550" y="2294"/>
                              <a:pt x="32849" y="2354"/>
                              <a:pt x="33148" y="2474"/>
                            </a:cubicBezTo>
                            <a:cubicBezTo>
                              <a:pt x="33447" y="2593"/>
                              <a:pt x="33747" y="2713"/>
                              <a:pt x="33986" y="2833"/>
                            </a:cubicBezTo>
                            <a:cubicBezTo>
                              <a:pt x="34285" y="2952"/>
                              <a:pt x="34524" y="3072"/>
                              <a:pt x="34823" y="3191"/>
                            </a:cubicBezTo>
                            <a:cubicBezTo>
                              <a:pt x="35122" y="3311"/>
                              <a:pt x="35361" y="3430"/>
                              <a:pt x="35660" y="3610"/>
                            </a:cubicBezTo>
                            <a:cubicBezTo>
                              <a:pt x="35720" y="3670"/>
                              <a:pt x="35840" y="3670"/>
                              <a:pt x="35900" y="3730"/>
                            </a:cubicBezTo>
                            <a:cubicBezTo>
                              <a:pt x="35959" y="3789"/>
                              <a:pt x="36079" y="3849"/>
                              <a:pt x="36139" y="3849"/>
                            </a:cubicBezTo>
                            <a:cubicBezTo>
                              <a:pt x="36199" y="3909"/>
                              <a:pt x="36318" y="3969"/>
                              <a:pt x="36378" y="3969"/>
                            </a:cubicBezTo>
                            <a:cubicBezTo>
                              <a:pt x="36438" y="4029"/>
                              <a:pt x="36557" y="4089"/>
                              <a:pt x="36617" y="4089"/>
                            </a:cubicBezTo>
                            <a:cubicBezTo>
                              <a:pt x="36856" y="4268"/>
                              <a:pt x="37096" y="4388"/>
                              <a:pt x="37395" y="4567"/>
                            </a:cubicBezTo>
                            <a:cubicBezTo>
                              <a:pt x="37634" y="4746"/>
                              <a:pt x="37873" y="4926"/>
                              <a:pt x="38112" y="5045"/>
                            </a:cubicBezTo>
                            <a:cubicBezTo>
                              <a:pt x="38352" y="5225"/>
                              <a:pt x="38591" y="5404"/>
                              <a:pt x="38830" y="5584"/>
                            </a:cubicBezTo>
                            <a:cubicBezTo>
                              <a:pt x="39069" y="5763"/>
                              <a:pt x="39309" y="5943"/>
                              <a:pt x="39488" y="6122"/>
                            </a:cubicBezTo>
                            <a:cubicBezTo>
                              <a:pt x="39488" y="6122"/>
                              <a:pt x="39488" y="6122"/>
                              <a:pt x="39548" y="6122"/>
                            </a:cubicBezTo>
                            <a:cubicBezTo>
                              <a:pt x="39548" y="6122"/>
                              <a:pt x="39548" y="6122"/>
                              <a:pt x="39608" y="6122"/>
                            </a:cubicBezTo>
                            <a:cubicBezTo>
                              <a:pt x="39608" y="6122"/>
                              <a:pt x="39608" y="6122"/>
                              <a:pt x="39667" y="6122"/>
                            </a:cubicBezTo>
                            <a:cubicBezTo>
                              <a:pt x="39667" y="6122"/>
                              <a:pt x="39667" y="6122"/>
                              <a:pt x="39727" y="6122"/>
                            </a:cubicBezTo>
                            <a:cubicBezTo>
                              <a:pt x="39787" y="6182"/>
                              <a:pt x="39847" y="6242"/>
                              <a:pt x="39907" y="6301"/>
                            </a:cubicBezTo>
                            <a:cubicBezTo>
                              <a:pt x="39966" y="6361"/>
                              <a:pt x="40026" y="6421"/>
                              <a:pt x="40086" y="6481"/>
                            </a:cubicBezTo>
                            <a:cubicBezTo>
                              <a:pt x="40146" y="6541"/>
                              <a:pt x="40206" y="6600"/>
                              <a:pt x="40265" y="6660"/>
                            </a:cubicBezTo>
                            <a:cubicBezTo>
                              <a:pt x="40325" y="6720"/>
                              <a:pt x="40385" y="6780"/>
                              <a:pt x="40445" y="6840"/>
                            </a:cubicBezTo>
                            <a:cubicBezTo>
                              <a:pt x="40864" y="7258"/>
                              <a:pt x="41282" y="7677"/>
                              <a:pt x="41641" y="8096"/>
                            </a:cubicBezTo>
                            <a:cubicBezTo>
                              <a:pt x="42000" y="8514"/>
                              <a:pt x="42359" y="8993"/>
                              <a:pt x="42718" y="9471"/>
                            </a:cubicBezTo>
                            <a:cubicBezTo>
                              <a:pt x="43077" y="9950"/>
                              <a:pt x="43375" y="10428"/>
                              <a:pt x="43674" y="10966"/>
                            </a:cubicBezTo>
                            <a:cubicBezTo>
                              <a:pt x="43973" y="11445"/>
                              <a:pt x="44272" y="11983"/>
                              <a:pt x="44512" y="12521"/>
                            </a:cubicBezTo>
                            <a:cubicBezTo>
                              <a:pt x="44572" y="12641"/>
                              <a:pt x="44632" y="12701"/>
                              <a:pt x="44632" y="12820"/>
                            </a:cubicBezTo>
                            <a:cubicBezTo>
                              <a:pt x="44691" y="12940"/>
                              <a:pt x="44691" y="13000"/>
                              <a:pt x="44751" y="13119"/>
                            </a:cubicBezTo>
                            <a:cubicBezTo>
                              <a:pt x="44811" y="13239"/>
                              <a:pt x="44811" y="13299"/>
                              <a:pt x="44871" y="13419"/>
                            </a:cubicBezTo>
                            <a:cubicBezTo>
                              <a:pt x="44931" y="13538"/>
                              <a:pt x="44931" y="13598"/>
                              <a:pt x="44990" y="13718"/>
                            </a:cubicBezTo>
                            <a:cubicBezTo>
                              <a:pt x="45588" y="15093"/>
                              <a:pt x="46007" y="16528"/>
                              <a:pt x="46366" y="18023"/>
                            </a:cubicBezTo>
                            <a:cubicBezTo>
                              <a:pt x="46665" y="19519"/>
                              <a:pt x="46844" y="21074"/>
                              <a:pt x="46904" y="22629"/>
                            </a:cubicBezTo>
                            <a:cubicBezTo>
                              <a:pt x="46964" y="24184"/>
                              <a:pt x="46844" y="25799"/>
                              <a:pt x="46605" y="27413"/>
                            </a:cubicBezTo>
                            <a:cubicBezTo>
                              <a:pt x="46366" y="29028"/>
                              <a:pt x="45947" y="30643"/>
                              <a:pt x="45409" y="32258"/>
                            </a:cubicBezTo>
                            <a:cubicBezTo>
                              <a:pt x="44871" y="33813"/>
                              <a:pt x="44213" y="35368"/>
                              <a:pt x="43375" y="36803"/>
                            </a:cubicBezTo>
                            <a:cubicBezTo>
                              <a:pt x="42598" y="38238"/>
                              <a:pt x="41701" y="39614"/>
                              <a:pt x="40684" y="40810"/>
                            </a:cubicBezTo>
                            <a:cubicBezTo>
                              <a:pt x="39667" y="42066"/>
                              <a:pt x="38531" y="43202"/>
                              <a:pt x="37335" y="44279"/>
                            </a:cubicBezTo>
                            <a:cubicBezTo>
                              <a:pt x="36139" y="45355"/>
                              <a:pt x="34823" y="46253"/>
                              <a:pt x="33447" y="47090"/>
                            </a:cubicBezTo>
                            <a:cubicBezTo>
                              <a:pt x="33088" y="47329"/>
                              <a:pt x="32730" y="47508"/>
                              <a:pt x="32311" y="47688"/>
                            </a:cubicBezTo>
                            <a:cubicBezTo>
                              <a:pt x="31893" y="47867"/>
                              <a:pt x="31534" y="48047"/>
                              <a:pt x="31175" y="48226"/>
                            </a:cubicBezTo>
                            <a:cubicBezTo>
                              <a:pt x="30816" y="48406"/>
                              <a:pt x="30397" y="48585"/>
                              <a:pt x="30039" y="48705"/>
                            </a:cubicBezTo>
                            <a:cubicBezTo>
                              <a:pt x="29680" y="48884"/>
                              <a:pt x="29261" y="49004"/>
                              <a:pt x="28902" y="49123"/>
                            </a:cubicBezTo>
                            <a:cubicBezTo>
                              <a:pt x="28783" y="49183"/>
                              <a:pt x="28663" y="49183"/>
                              <a:pt x="28543" y="49243"/>
                            </a:cubicBezTo>
                            <a:cubicBezTo>
                              <a:pt x="28424" y="49303"/>
                              <a:pt x="28304" y="49303"/>
                              <a:pt x="28185" y="49362"/>
                            </a:cubicBezTo>
                            <a:cubicBezTo>
                              <a:pt x="28065" y="49422"/>
                              <a:pt x="27945" y="49422"/>
                              <a:pt x="27825" y="49482"/>
                            </a:cubicBezTo>
                            <a:cubicBezTo>
                              <a:pt x="27706" y="49542"/>
                              <a:pt x="27586" y="49542"/>
                              <a:pt x="27467" y="49602"/>
                            </a:cubicBezTo>
                            <a:cubicBezTo>
                              <a:pt x="26869" y="49781"/>
                              <a:pt x="26330" y="49901"/>
                              <a:pt x="25732" y="50021"/>
                            </a:cubicBezTo>
                            <a:cubicBezTo>
                              <a:pt x="25134" y="50140"/>
                              <a:pt x="24596" y="50200"/>
                              <a:pt x="23998" y="50320"/>
                            </a:cubicBezTo>
                            <a:cubicBezTo>
                              <a:pt x="23400" y="50379"/>
                              <a:pt x="22862" y="50439"/>
                              <a:pt x="22263" y="50439"/>
                            </a:cubicBezTo>
                            <a:cubicBezTo>
                              <a:pt x="21665" y="50439"/>
                              <a:pt x="21127" y="50439"/>
                              <a:pt x="20529" y="50439"/>
                            </a:cubicBezTo>
                            <a:cubicBezTo>
                              <a:pt x="20409" y="50439"/>
                              <a:pt x="20349" y="50439"/>
                              <a:pt x="20230" y="50439"/>
                            </a:cubicBezTo>
                            <a:cubicBezTo>
                              <a:pt x="20110" y="50439"/>
                              <a:pt x="20051" y="50439"/>
                              <a:pt x="19931" y="50439"/>
                            </a:cubicBezTo>
                            <a:cubicBezTo>
                              <a:pt x="19811" y="50439"/>
                              <a:pt x="19752" y="50439"/>
                              <a:pt x="19632" y="50439"/>
                            </a:cubicBezTo>
                            <a:cubicBezTo>
                              <a:pt x="19512" y="50439"/>
                              <a:pt x="19453" y="50439"/>
                              <a:pt x="19333" y="50439"/>
                            </a:cubicBezTo>
                            <a:cubicBezTo>
                              <a:pt x="19034" y="50379"/>
                              <a:pt x="18735" y="50379"/>
                              <a:pt x="18495" y="50320"/>
                            </a:cubicBezTo>
                            <a:cubicBezTo>
                              <a:pt x="18197" y="50260"/>
                              <a:pt x="17957" y="50200"/>
                              <a:pt x="17658" y="50200"/>
                            </a:cubicBezTo>
                            <a:cubicBezTo>
                              <a:pt x="17359" y="50140"/>
                              <a:pt x="17120" y="50080"/>
                              <a:pt x="16821" y="50021"/>
                            </a:cubicBezTo>
                            <a:cubicBezTo>
                              <a:pt x="16522" y="49961"/>
                              <a:pt x="16283" y="49901"/>
                              <a:pt x="15984" y="49781"/>
                            </a:cubicBezTo>
                            <a:cubicBezTo>
                              <a:pt x="15625" y="49662"/>
                              <a:pt x="15206" y="49542"/>
                              <a:pt x="14847" y="49422"/>
                            </a:cubicBezTo>
                            <a:cubicBezTo>
                              <a:pt x="14489" y="49303"/>
                              <a:pt x="14070" y="49123"/>
                              <a:pt x="13711" y="49004"/>
                            </a:cubicBezTo>
                            <a:cubicBezTo>
                              <a:pt x="13352" y="48884"/>
                              <a:pt x="12993" y="48705"/>
                              <a:pt x="12634" y="48525"/>
                            </a:cubicBezTo>
                            <a:cubicBezTo>
                              <a:pt x="12276" y="48346"/>
                              <a:pt x="11917" y="48167"/>
                              <a:pt x="11618" y="47987"/>
                            </a:cubicBezTo>
                            <a:cubicBezTo>
                              <a:pt x="11558" y="47927"/>
                              <a:pt x="11438" y="47867"/>
                              <a:pt x="11378" y="47867"/>
                            </a:cubicBezTo>
                            <a:cubicBezTo>
                              <a:pt x="11319" y="47867"/>
                              <a:pt x="11199" y="47748"/>
                              <a:pt x="11139" y="47748"/>
                            </a:cubicBezTo>
                            <a:cubicBezTo>
                              <a:pt x="11079" y="47688"/>
                              <a:pt x="10960" y="47628"/>
                              <a:pt x="10900" y="47628"/>
                            </a:cubicBezTo>
                            <a:cubicBezTo>
                              <a:pt x="10840" y="47628"/>
                              <a:pt x="10661" y="47508"/>
                              <a:pt x="10601" y="47449"/>
                            </a:cubicBezTo>
                            <a:moveTo>
                              <a:pt x="7730" y="46851"/>
                            </a:moveTo>
                            <a:cubicBezTo>
                              <a:pt x="7910" y="47030"/>
                              <a:pt x="8089" y="47150"/>
                              <a:pt x="8329" y="47329"/>
                            </a:cubicBezTo>
                            <a:cubicBezTo>
                              <a:pt x="8508" y="47508"/>
                              <a:pt x="8687" y="47628"/>
                              <a:pt x="8926" y="47808"/>
                            </a:cubicBezTo>
                            <a:cubicBezTo>
                              <a:pt x="9106" y="47927"/>
                              <a:pt x="9345" y="48107"/>
                              <a:pt x="9524" y="48226"/>
                            </a:cubicBezTo>
                            <a:cubicBezTo>
                              <a:pt x="9704" y="48346"/>
                              <a:pt x="9943" y="48525"/>
                              <a:pt x="10123" y="48645"/>
                            </a:cubicBezTo>
                            <a:cubicBezTo>
                              <a:pt x="10183" y="48705"/>
                              <a:pt x="10302" y="48764"/>
                              <a:pt x="10362" y="48764"/>
                            </a:cubicBezTo>
                            <a:cubicBezTo>
                              <a:pt x="10422" y="48764"/>
                              <a:pt x="10541" y="48884"/>
                              <a:pt x="10601" y="48884"/>
                            </a:cubicBezTo>
                            <a:cubicBezTo>
                              <a:pt x="10661" y="48944"/>
                              <a:pt x="10780" y="49004"/>
                              <a:pt x="10840" y="49004"/>
                            </a:cubicBezTo>
                            <a:cubicBezTo>
                              <a:pt x="10900" y="49063"/>
                              <a:pt x="11020" y="49123"/>
                              <a:pt x="11079" y="49123"/>
                            </a:cubicBezTo>
                            <a:cubicBezTo>
                              <a:pt x="11438" y="49303"/>
                              <a:pt x="11797" y="49482"/>
                              <a:pt x="12156" y="49662"/>
                            </a:cubicBezTo>
                            <a:cubicBezTo>
                              <a:pt x="12515" y="49841"/>
                              <a:pt x="12874" y="50021"/>
                              <a:pt x="13233" y="50140"/>
                            </a:cubicBezTo>
                            <a:cubicBezTo>
                              <a:pt x="13592" y="50320"/>
                              <a:pt x="14010" y="50439"/>
                              <a:pt x="14369" y="50559"/>
                            </a:cubicBezTo>
                            <a:cubicBezTo>
                              <a:pt x="14728" y="50678"/>
                              <a:pt x="15146" y="50798"/>
                              <a:pt x="15565" y="50917"/>
                            </a:cubicBezTo>
                            <a:cubicBezTo>
                              <a:pt x="15864" y="50977"/>
                              <a:pt x="16103" y="51037"/>
                              <a:pt x="16402" y="51157"/>
                            </a:cubicBezTo>
                            <a:cubicBezTo>
                              <a:pt x="16701" y="51217"/>
                              <a:pt x="16941" y="51276"/>
                              <a:pt x="17240" y="51336"/>
                            </a:cubicBezTo>
                            <a:cubicBezTo>
                              <a:pt x="17539" y="51396"/>
                              <a:pt x="17778" y="51456"/>
                              <a:pt x="18077" y="51456"/>
                            </a:cubicBezTo>
                            <a:cubicBezTo>
                              <a:pt x="18376" y="51456"/>
                              <a:pt x="18615" y="51516"/>
                              <a:pt x="18914" y="51576"/>
                            </a:cubicBezTo>
                            <a:cubicBezTo>
                              <a:pt x="19034" y="51576"/>
                              <a:pt x="19094" y="51576"/>
                              <a:pt x="19214" y="51635"/>
                            </a:cubicBezTo>
                            <a:cubicBezTo>
                              <a:pt x="19333" y="51695"/>
                              <a:pt x="19393" y="51635"/>
                              <a:pt x="19512" y="51635"/>
                            </a:cubicBezTo>
                            <a:cubicBezTo>
                              <a:pt x="19632" y="51635"/>
                              <a:pt x="19692" y="51635"/>
                              <a:pt x="19811" y="51635"/>
                            </a:cubicBezTo>
                            <a:cubicBezTo>
                              <a:pt x="19931" y="51635"/>
                              <a:pt x="19991" y="51635"/>
                              <a:pt x="20110" y="51635"/>
                            </a:cubicBezTo>
                            <a:cubicBezTo>
                              <a:pt x="20709" y="51695"/>
                              <a:pt x="21247" y="51695"/>
                              <a:pt x="21845" y="51695"/>
                            </a:cubicBezTo>
                            <a:cubicBezTo>
                              <a:pt x="22443" y="51695"/>
                              <a:pt x="22981" y="51635"/>
                              <a:pt x="23579" y="51635"/>
                            </a:cubicBezTo>
                            <a:cubicBezTo>
                              <a:pt x="24177" y="51576"/>
                              <a:pt x="24716" y="51516"/>
                              <a:pt x="25314" y="51396"/>
                            </a:cubicBezTo>
                            <a:cubicBezTo>
                              <a:pt x="25912" y="51276"/>
                              <a:pt x="26450" y="51157"/>
                              <a:pt x="27048" y="51037"/>
                            </a:cubicBezTo>
                            <a:cubicBezTo>
                              <a:pt x="27168" y="51037"/>
                              <a:pt x="27287" y="50977"/>
                              <a:pt x="27407" y="50977"/>
                            </a:cubicBezTo>
                            <a:cubicBezTo>
                              <a:pt x="27526" y="50977"/>
                              <a:pt x="27646" y="50917"/>
                              <a:pt x="27766" y="50917"/>
                            </a:cubicBezTo>
                            <a:cubicBezTo>
                              <a:pt x="27885" y="50917"/>
                              <a:pt x="28005" y="50858"/>
                              <a:pt x="28125" y="50798"/>
                            </a:cubicBezTo>
                            <a:cubicBezTo>
                              <a:pt x="28244" y="50738"/>
                              <a:pt x="28364" y="50738"/>
                              <a:pt x="28484" y="50678"/>
                            </a:cubicBezTo>
                            <a:cubicBezTo>
                              <a:pt x="28962" y="50559"/>
                              <a:pt x="29440" y="50379"/>
                              <a:pt x="29919" y="50200"/>
                            </a:cubicBezTo>
                            <a:cubicBezTo>
                              <a:pt x="30397" y="50021"/>
                              <a:pt x="30876" y="49841"/>
                              <a:pt x="31354" y="49602"/>
                            </a:cubicBezTo>
                            <a:cubicBezTo>
                              <a:pt x="31833" y="49362"/>
                              <a:pt x="32311" y="49183"/>
                              <a:pt x="32730" y="48944"/>
                            </a:cubicBezTo>
                            <a:cubicBezTo>
                              <a:pt x="33208" y="48705"/>
                              <a:pt x="33627" y="48466"/>
                              <a:pt x="34105" y="48167"/>
                            </a:cubicBezTo>
                            <a:cubicBezTo>
                              <a:pt x="35541" y="47329"/>
                              <a:pt x="36916" y="46313"/>
                              <a:pt x="38172" y="45236"/>
                            </a:cubicBezTo>
                            <a:cubicBezTo>
                              <a:pt x="39428" y="44159"/>
                              <a:pt x="40624" y="42903"/>
                              <a:pt x="41641" y="41588"/>
                            </a:cubicBezTo>
                            <a:cubicBezTo>
                              <a:pt x="42718" y="40272"/>
                              <a:pt x="43674" y="38837"/>
                              <a:pt x="44452" y="37341"/>
                            </a:cubicBezTo>
                            <a:cubicBezTo>
                              <a:pt x="45289" y="35846"/>
                              <a:pt x="46007" y="34231"/>
                              <a:pt x="46545" y="32616"/>
                            </a:cubicBezTo>
                            <a:cubicBezTo>
                              <a:pt x="47143" y="30882"/>
                              <a:pt x="47562" y="29148"/>
                              <a:pt x="47861" y="27413"/>
                            </a:cubicBezTo>
                            <a:cubicBezTo>
                              <a:pt x="48100" y="25679"/>
                              <a:pt x="48220" y="23944"/>
                              <a:pt x="48160" y="22270"/>
                            </a:cubicBezTo>
                            <a:cubicBezTo>
                              <a:pt x="48100" y="20595"/>
                              <a:pt x="47861" y="18921"/>
                              <a:pt x="47502" y="17366"/>
                            </a:cubicBezTo>
                            <a:cubicBezTo>
                              <a:pt x="47143" y="15751"/>
                              <a:pt x="46605" y="14256"/>
                              <a:pt x="45947" y="12760"/>
                            </a:cubicBezTo>
                            <a:cubicBezTo>
                              <a:pt x="45887" y="12641"/>
                              <a:pt x="45887" y="12581"/>
                              <a:pt x="45827" y="12461"/>
                            </a:cubicBezTo>
                            <a:cubicBezTo>
                              <a:pt x="45768" y="12342"/>
                              <a:pt x="45768" y="12282"/>
                              <a:pt x="45708" y="12162"/>
                            </a:cubicBezTo>
                            <a:cubicBezTo>
                              <a:pt x="45648" y="12043"/>
                              <a:pt x="45648" y="11983"/>
                              <a:pt x="45588" y="11864"/>
                            </a:cubicBezTo>
                            <a:cubicBezTo>
                              <a:pt x="45528" y="11744"/>
                              <a:pt x="45469" y="11684"/>
                              <a:pt x="45469" y="11565"/>
                            </a:cubicBezTo>
                            <a:cubicBezTo>
                              <a:pt x="45170" y="11026"/>
                              <a:pt x="44931" y="10548"/>
                              <a:pt x="44632" y="10010"/>
                            </a:cubicBezTo>
                            <a:cubicBezTo>
                              <a:pt x="44332" y="9531"/>
                              <a:pt x="43973" y="9052"/>
                              <a:pt x="43674" y="8574"/>
                            </a:cubicBezTo>
                            <a:cubicBezTo>
                              <a:pt x="43316" y="8096"/>
                              <a:pt x="42957" y="7617"/>
                              <a:pt x="42598" y="7198"/>
                            </a:cubicBezTo>
                            <a:cubicBezTo>
                              <a:pt x="42239" y="6780"/>
                              <a:pt x="41820" y="6361"/>
                              <a:pt x="41402" y="5943"/>
                            </a:cubicBezTo>
                            <a:cubicBezTo>
                              <a:pt x="41342" y="5883"/>
                              <a:pt x="41282" y="5823"/>
                              <a:pt x="41223" y="5763"/>
                            </a:cubicBezTo>
                            <a:cubicBezTo>
                              <a:pt x="41163" y="5703"/>
                              <a:pt x="41103" y="5643"/>
                              <a:pt x="41043" y="5584"/>
                            </a:cubicBezTo>
                            <a:cubicBezTo>
                              <a:pt x="40983" y="5524"/>
                              <a:pt x="40923" y="5464"/>
                              <a:pt x="40864" y="5404"/>
                            </a:cubicBezTo>
                            <a:cubicBezTo>
                              <a:pt x="40804" y="5344"/>
                              <a:pt x="40744" y="5285"/>
                              <a:pt x="40684" y="5225"/>
                            </a:cubicBezTo>
                            <a:cubicBezTo>
                              <a:pt x="40684" y="5225"/>
                              <a:pt x="40684" y="5225"/>
                              <a:pt x="40624" y="5225"/>
                            </a:cubicBezTo>
                            <a:cubicBezTo>
                              <a:pt x="40624" y="5225"/>
                              <a:pt x="40624" y="5225"/>
                              <a:pt x="40564" y="5225"/>
                            </a:cubicBezTo>
                            <a:cubicBezTo>
                              <a:pt x="40564" y="5225"/>
                              <a:pt x="40564" y="5225"/>
                              <a:pt x="40505" y="5225"/>
                            </a:cubicBezTo>
                            <a:cubicBezTo>
                              <a:pt x="40505" y="5225"/>
                              <a:pt x="40505" y="5225"/>
                              <a:pt x="40445" y="5225"/>
                            </a:cubicBezTo>
                            <a:cubicBezTo>
                              <a:pt x="40206" y="5045"/>
                              <a:pt x="40026" y="4866"/>
                              <a:pt x="39787" y="4687"/>
                            </a:cubicBezTo>
                            <a:cubicBezTo>
                              <a:pt x="39548" y="4507"/>
                              <a:pt x="39309" y="4328"/>
                              <a:pt x="39069" y="4148"/>
                            </a:cubicBezTo>
                            <a:cubicBezTo>
                              <a:pt x="38830" y="3969"/>
                              <a:pt x="38591" y="3789"/>
                              <a:pt x="38352" y="3610"/>
                            </a:cubicBezTo>
                            <a:cubicBezTo>
                              <a:pt x="38112" y="3430"/>
                              <a:pt x="37873" y="3311"/>
                              <a:pt x="37634" y="3132"/>
                            </a:cubicBezTo>
                            <a:cubicBezTo>
                              <a:pt x="37574" y="3072"/>
                              <a:pt x="37455" y="3012"/>
                              <a:pt x="37395" y="3012"/>
                            </a:cubicBezTo>
                            <a:cubicBezTo>
                              <a:pt x="37335" y="3012"/>
                              <a:pt x="37215" y="2892"/>
                              <a:pt x="37156" y="2892"/>
                            </a:cubicBezTo>
                            <a:cubicBezTo>
                              <a:pt x="37096" y="2833"/>
                              <a:pt x="36976" y="2773"/>
                              <a:pt x="36916" y="2773"/>
                            </a:cubicBezTo>
                            <a:cubicBezTo>
                              <a:pt x="36856" y="2713"/>
                              <a:pt x="36737" y="2653"/>
                              <a:pt x="36677" y="2653"/>
                            </a:cubicBezTo>
                            <a:cubicBezTo>
                              <a:pt x="36438" y="2534"/>
                              <a:pt x="36139" y="2354"/>
                              <a:pt x="35900" y="2235"/>
                            </a:cubicBezTo>
                            <a:cubicBezTo>
                              <a:pt x="35660" y="2115"/>
                              <a:pt x="35361" y="1995"/>
                              <a:pt x="35062" y="1876"/>
                            </a:cubicBezTo>
                            <a:cubicBezTo>
                              <a:pt x="34763" y="1756"/>
                              <a:pt x="34524" y="1636"/>
                              <a:pt x="34225" y="1517"/>
                            </a:cubicBezTo>
                            <a:cubicBezTo>
                              <a:pt x="33926" y="1397"/>
                              <a:pt x="33627" y="1278"/>
                              <a:pt x="33328" y="1218"/>
                            </a:cubicBezTo>
                            <a:cubicBezTo>
                              <a:pt x="33268" y="1218"/>
                              <a:pt x="33268" y="1218"/>
                              <a:pt x="33208" y="1158"/>
                            </a:cubicBezTo>
                            <a:cubicBezTo>
                              <a:pt x="33148" y="1158"/>
                              <a:pt x="33148" y="1158"/>
                              <a:pt x="33088" y="1098"/>
                            </a:cubicBezTo>
                            <a:cubicBezTo>
                              <a:pt x="33029" y="1038"/>
                              <a:pt x="33029" y="1098"/>
                              <a:pt x="32969" y="1038"/>
                            </a:cubicBezTo>
                            <a:cubicBezTo>
                              <a:pt x="32909" y="1038"/>
                              <a:pt x="32909" y="1038"/>
                              <a:pt x="32849" y="979"/>
                            </a:cubicBezTo>
                            <a:cubicBezTo>
                              <a:pt x="32790" y="979"/>
                              <a:pt x="32730" y="919"/>
                              <a:pt x="32670" y="919"/>
                            </a:cubicBezTo>
                            <a:cubicBezTo>
                              <a:pt x="32610" y="919"/>
                              <a:pt x="32550" y="859"/>
                              <a:pt x="32491" y="859"/>
                            </a:cubicBezTo>
                            <a:cubicBezTo>
                              <a:pt x="32431" y="859"/>
                              <a:pt x="32371" y="799"/>
                              <a:pt x="32311" y="799"/>
                            </a:cubicBezTo>
                            <a:cubicBezTo>
                              <a:pt x="32251" y="799"/>
                              <a:pt x="32192" y="739"/>
                              <a:pt x="32132" y="739"/>
                            </a:cubicBezTo>
                            <a:cubicBezTo>
                              <a:pt x="30696" y="321"/>
                              <a:pt x="29201" y="81"/>
                              <a:pt x="27706" y="21"/>
                            </a:cubicBezTo>
                            <a:cubicBezTo>
                              <a:pt x="26211" y="-38"/>
                              <a:pt x="24716" y="21"/>
                              <a:pt x="23220" y="261"/>
                            </a:cubicBezTo>
                            <a:cubicBezTo>
                              <a:pt x="21725" y="500"/>
                              <a:pt x="20230" y="859"/>
                              <a:pt x="18735" y="1397"/>
                            </a:cubicBezTo>
                            <a:cubicBezTo>
                              <a:pt x="17240" y="1935"/>
                              <a:pt x="15804" y="2593"/>
                              <a:pt x="14369" y="3430"/>
                            </a:cubicBezTo>
                            <a:cubicBezTo>
                              <a:pt x="12874" y="4328"/>
                              <a:pt x="11498" y="5285"/>
                              <a:pt x="10183" y="6421"/>
                            </a:cubicBezTo>
                            <a:cubicBezTo>
                              <a:pt x="8867" y="7557"/>
                              <a:pt x="7670" y="8813"/>
                              <a:pt x="6594" y="10129"/>
                            </a:cubicBezTo>
                            <a:cubicBezTo>
                              <a:pt x="5517" y="11445"/>
                              <a:pt x="4561" y="12940"/>
                              <a:pt x="3723" y="14435"/>
                            </a:cubicBezTo>
                            <a:cubicBezTo>
                              <a:pt x="2886" y="15990"/>
                              <a:pt x="2168" y="17605"/>
                              <a:pt x="1570" y="19280"/>
                            </a:cubicBezTo>
                            <a:cubicBezTo>
                              <a:pt x="972" y="20954"/>
                              <a:pt x="553" y="22689"/>
                              <a:pt x="314" y="24363"/>
                            </a:cubicBezTo>
                            <a:cubicBezTo>
                              <a:pt x="75" y="26038"/>
                              <a:pt x="-45" y="27772"/>
                              <a:pt x="15" y="29447"/>
                            </a:cubicBezTo>
                            <a:cubicBezTo>
                              <a:pt x="75" y="31121"/>
                              <a:pt x="314" y="32736"/>
                              <a:pt x="673" y="34351"/>
                            </a:cubicBezTo>
                            <a:cubicBezTo>
                              <a:pt x="1032" y="35966"/>
                              <a:pt x="1570" y="37521"/>
                              <a:pt x="2228" y="38956"/>
                            </a:cubicBezTo>
                            <a:cubicBezTo>
                              <a:pt x="2288" y="39076"/>
                              <a:pt x="2288" y="39136"/>
                              <a:pt x="2348" y="39255"/>
                            </a:cubicBezTo>
                            <a:cubicBezTo>
                              <a:pt x="2407" y="39375"/>
                              <a:pt x="2467" y="39435"/>
                              <a:pt x="2467" y="39554"/>
                            </a:cubicBezTo>
                            <a:cubicBezTo>
                              <a:pt x="2527" y="39674"/>
                              <a:pt x="2587" y="39734"/>
                              <a:pt x="2587" y="39853"/>
                            </a:cubicBezTo>
                            <a:cubicBezTo>
                              <a:pt x="2647" y="39973"/>
                              <a:pt x="2707" y="40032"/>
                              <a:pt x="2707" y="40152"/>
                            </a:cubicBezTo>
                            <a:cubicBezTo>
                              <a:pt x="2767" y="40272"/>
                              <a:pt x="2826" y="40391"/>
                              <a:pt x="2886" y="40451"/>
                            </a:cubicBezTo>
                            <a:cubicBezTo>
                              <a:pt x="2946" y="40571"/>
                              <a:pt x="3006" y="40691"/>
                              <a:pt x="3065" y="40751"/>
                            </a:cubicBezTo>
                            <a:cubicBezTo>
                              <a:pt x="3125" y="40870"/>
                              <a:pt x="3185" y="40990"/>
                              <a:pt x="3245" y="41049"/>
                            </a:cubicBezTo>
                            <a:cubicBezTo>
                              <a:pt x="3305" y="41169"/>
                              <a:pt x="3364" y="41229"/>
                              <a:pt x="3424" y="41348"/>
                            </a:cubicBezTo>
                            <a:cubicBezTo>
                              <a:pt x="3723" y="41827"/>
                              <a:pt x="4022" y="42365"/>
                              <a:pt x="4381" y="42844"/>
                            </a:cubicBezTo>
                            <a:cubicBezTo>
                              <a:pt x="4740" y="43322"/>
                              <a:pt x="5039" y="43800"/>
                              <a:pt x="5458" y="44219"/>
                            </a:cubicBezTo>
                            <a:cubicBezTo>
                              <a:pt x="5816" y="44638"/>
                              <a:pt x="6235" y="45056"/>
                              <a:pt x="6594" y="45475"/>
                            </a:cubicBezTo>
                            <a:cubicBezTo>
                              <a:pt x="6953" y="45894"/>
                              <a:pt x="7312" y="46492"/>
                              <a:pt x="7730" y="46851"/>
                            </a:cubicBezTo>
                          </a:path>
                        </a:pathLst>
                      </a:custGeom>
                      <a:noFill/>
                      <a:ln w="6350" cap="flat">
                        <a:solidFill>
                          <a:schemeClr val="bg1">
                            <a:alpha val="40000"/>
                          </a:schemeClr>
                        </a:solidFill>
                        <a:prstDash val="solid"/>
                        <a:miter/>
                      </a:ln>
                    </p:spPr>
                    <p:txBody>
                      <a:bodyPr rtlCol="0" anchor="ctr"/>
                      <a:lstStyle/>
                      <a:p>
                        <a:endParaRPr lang="en-GB"/>
                      </a:p>
                    </p:txBody>
                  </p:sp>
                  <p:sp>
                    <p:nvSpPr>
                      <p:cNvPr id="7480" name="Vrije vorm: vorm 7479">
                        <a:extLst>
                          <a:ext uri="{FF2B5EF4-FFF2-40B4-BE49-F238E27FC236}">
                            <a16:creationId xmlns:a16="http://schemas.microsoft.com/office/drawing/2014/main" id="{BCE59402-0FB1-4D83-B08E-195F0ECADB45}"/>
                          </a:ext>
                        </a:extLst>
                      </p:cNvPr>
                      <p:cNvSpPr/>
                      <p:nvPr/>
                    </p:nvSpPr>
                    <p:spPr>
                      <a:xfrm>
                        <a:off x="5039376" y="4935959"/>
                        <a:ext cx="40788" cy="43809"/>
                      </a:xfrm>
                      <a:custGeom>
                        <a:avLst/>
                        <a:gdLst>
                          <a:gd name="connsiteX0" fmla="*/ 8851 w 40788"/>
                          <a:gd name="connsiteY0" fmla="*/ 39264 h 43809"/>
                          <a:gd name="connsiteX1" fmla="*/ 8552 w 40788"/>
                          <a:gd name="connsiteY1" fmla="*/ 39025 h 43809"/>
                          <a:gd name="connsiteX2" fmla="*/ 8253 w 40788"/>
                          <a:gd name="connsiteY2" fmla="*/ 38786 h 43809"/>
                          <a:gd name="connsiteX3" fmla="*/ 7954 w 40788"/>
                          <a:gd name="connsiteY3" fmla="*/ 38546 h 43809"/>
                          <a:gd name="connsiteX4" fmla="*/ 7655 w 40788"/>
                          <a:gd name="connsiteY4" fmla="*/ 38307 h 43809"/>
                          <a:gd name="connsiteX5" fmla="*/ 6040 w 40788"/>
                          <a:gd name="connsiteY5" fmla="*/ 36692 h 43809"/>
                          <a:gd name="connsiteX6" fmla="*/ 4665 w 40788"/>
                          <a:gd name="connsiteY6" fmla="*/ 34898 h 43809"/>
                          <a:gd name="connsiteX7" fmla="*/ 3528 w 40788"/>
                          <a:gd name="connsiteY7" fmla="*/ 32924 h 43809"/>
                          <a:gd name="connsiteX8" fmla="*/ 2632 w 40788"/>
                          <a:gd name="connsiteY8" fmla="*/ 30831 h 43809"/>
                          <a:gd name="connsiteX9" fmla="*/ 2512 w 40788"/>
                          <a:gd name="connsiteY9" fmla="*/ 30413 h 43809"/>
                          <a:gd name="connsiteX10" fmla="*/ 2392 w 40788"/>
                          <a:gd name="connsiteY10" fmla="*/ 29994 h 43809"/>
                          <a:gd name="connsiteX11" fmla="*/ 2273 w 40788"/>
                          <a:gd name="connsiteY11" fmla="*/ 29575 h 43809"/>
                          <a:gd name="connsiteX12" fmla="*/ 2153 w 40788"/>
                          <a:gd name="connsiteY12" fmla="*/ 29157 h 43809"/>
                          <a:gd name="connsiteX13" fmla="*/ 1615 w 40788"/>
                          <a:gd name="connsiteY13" fmla="*/ 26166 h 43809"/>
                          <a:gd name="connsiteX14" fmla="*/ 1555 w 40788"/>
                          <a:gd name="connsiteY14" fmla="*/ 23056 h 43809"/>
                          <a:gd name="connsiteX15" fmla="*/ 1914 w 40788"/>
                          <a:gd name="connsiteY15" fmla="*/ 19887 h 43809"/>
                          <a:gd name="connsiteX16" fmla="*/ 2751 w 40788"/>
                          <a:gd name="connsiteY16" fmla="*/ 16717 h 43809"/>
                          <a:gd name="connsiteX17" fmla="*/ 4426 w 40788"/>
                          <a:gd name="connsiteY17" fmla="*/ 12889 h 43809"/>
                          <a:gd name="connsiteX18" fmla="*/ 6698 w 40788"/>
                          <a:gd name="connsiteY18" fmla="*/ 9480 h 43809"/>
                          <a:gd name="connsiteX19" fmla="*/ 9509 w 40788"/>
                          <a:gd name="connsiteY19" fmla="*/ 6550 h 43809"/>
                          <a:gd name="connsiteX20" fmla="*/ 12798 w 40788"/>
                          <a:gd name="connsiteY20" fmla="*/ 4157 h 43809"/>
                          <a:gd name="connsiteX21" fmla="*/ 15669 w 40788"/>
                          <a:gd name="connsiteY21" fmla="*/ 2782 h 43809"/>
                          <a:gd name="connsiteX22" fmla="*/ 18660 w 40788"/>
                          <a:gd name="connsiteY22" fmla="*/ 1884 h 43809"/>
                          <a:gd name="connsiteX23" fmla="*/ 21650 w 40788"/>
                          <a:gd name="connsiteY23" fmla="*/ 1466 h 43809"/>
                          <a:gd name="connsiteX24" fmla="*/ 24641 w 40788"/>
                          <a:gd name="connsiteY24" fmla="*/ 1586 h 43809"/>
                          <a:gd name="connsiteX25" fmla="*/ 24940 w 40788"/>
                          <a:gd name="connsiteY25" fmla="*/ 1645 h 43809"/>
                          <a:gd name="connsiteX26" fmla="*/ 25238 w 40788"/>
                          <a:gd name="connsiteY26" fmla="*/ 1705 h 43809"/>
                          <a:gd name="connsiteX27" fmla="*/ 25537 w 40788"/>
                          <a:gd name="connsiteY27" fmla="*/ 1765 h 43809"/>
                          <a:gd name="connsiteX28" fmla="*/ 25836 w 40788"/>
                          <a:gd name="connsiteY28" fmla="*/ 1825 h 43809"/>
                          <a:gd name="connsiteX29" fmla="*/ 26196 w 40788"/>
                          <a:gd name="connsiteY29" fmla="*/ 1884 h 43809"/>
                          <a:gd name="connsiteX30" fmla="*/ 26554 w 40788"/>
                          <a:gd name="connsiteY30" fmla="*/ 1944 h 43809"/>
                          <a:gd name="connsiteX31" fmla="*/ 26913 w 40788"/>
                          <a:gd name="connsiteY31" fmla="*/ 2064 h 43809"/>
                          <a:gd name="connsiteX32" fmla="*/ 27272 w 40788"/>
                          <a:gd name="connsiteY32" fmla="*/ 2184 h 43809"/>
                          <a:gd name="connsiteX33" fmla="*/ 27810 w 40788"/>
                          <a:gd name="connsiteY33" fmla="*/ 2363 h 43809"/>
                          <a:gd name="connsiteX34" fmla="*/ 28349 w 40788"/>
                          <a:gd name="connsiteY34" fmla="*/ 2543 h 43809"/>
                          <a:gd name="connsiteX35" fmla="*/ 28827 w 40788"/>
                          <a:gd name="connsiteY35" fmla="*/ 2722 h 43809"/>
                          <a:gd name="connsiteX36" fmla="*/ 29305 w 40788"/>
                          <a:gd name="connsiteY36" fmla="*/ 2961 h 43809"/>
                          <a:gd name="connsiteX37" fmla="*/ 29545 w 40788"/>
                          <a:gd name="connsiteY37" fmla="*/ 3081 h 43809"/>
                          <a:gd name="connsiteX38" fmla="*/ 29784 w 40788"/>
                          <a:gd name="connsiteY38" fmla="*/ 3200 h 43809"/>
                          <a:gd name="connsiteX39" fmla="*/ 30023 w 40788"/>
                          <a:gd name="connsiteY39" fmla="*/ 3320 h 43809"/>
                          <a:gd name="connsiteX40" fmla="*/ 30262 w 40788"/>
                          <a:gd name="connsiteY40" fmla="*/ 3440 h 43809"/>
                          <a:gd name="connsiteX41" fmla="*/ 31040 w 40788"/>
                          <a:gd name="connsiteY41" fmla="*/ 3858 h 43809"/>
                          <a:gd name="connsiteX42" fmla="*/ 31758 w 40788"/>
                          <a:gd name="connsiteY42" fmla="*/ 4337 h 43809"/>
                          <a:gd name="connsiteX43" fmla="*/ 32475 w 40788"/>
                          <a:gd name="connsiteY43" fmla="*/ 4875 h 43809"/>
                          <a:gd name="connsiteX44" fmla="*/ 33133 w 40788"/>
                          <a:gd name="connsiteY44" fmla="*/ 5413 h 43809"/>
                          <a:gd name="connsiteX45" fmla="*/ 33193 w 40788"/>
                          <a:gd name="connsiteY45" fmla="*/ 5413 h 43809"/>
                          <a:gd name="connsiteX46" fmla="*/ 33253 w 40788"/>
                          <a:gd name="connsiteY46" fmla="*/ 5413 h 43809"/>
                          <a:gd name="connsiteX47" fmla="*/ 33312 w 40788"/>
                          <a:gd name="connsiteY47" fmla="*/ 5413 h 43809"/>
                          <a:gd name="connsiteX48" fmla="*/ 33372 w 40788"/>
                          <a:gd name="connsiteY48" fmla="*/ 5413 h 43809"/>
                          <a:gd name="connsiteX49" fmla="*/ 33552 w 40788"/>
                          <a:gd name="connsiteY49" fmla="*/ 5593 h 43809"/>
                          <a:gd name="connsiteX50" fmla="*/ 33731 w 40788"/>
                          <a:gd name="connsiteY50" fmla="*/ 5772 h 43809"/>
                          <a:gd name="connsiteX51" fmla="*/ 33911 w 40788"/>
                          <a:gd name="connsiteY51" fmla="*/ 5951 h 43809"/>
                          <a:gd name="connsiteX52" fmla="*/ 34090 w 40788"/>
                          <a:gd name="connsiteY52" fmla="*/ 6131 h 43809"/>
                          <a:gd name="connsiteX53" fmla="*/ 35286 w 40788"/>
                          <a:gd name="connsiteY53" fmla="*/ 7447 h 43809"/>
                          <a:gd name="connsiteX54" fmla="*/ 36303 w 40788"/>
                          <a:gd name="connsiteY54" fmla="*/ 8882 h 43809"/>
                          <a:gd name="connsiteX55" fmla="*/ 37200 w 40788"/>
                          <a:gd name="connsiteY55" fmla="*/ 10437 h 43809"/>
                          <a:gd name="connsiteX56" fmla="*/ 37918 w 40788"/>
                          <a:gd name="connsiteY56" fmla="*/ 12052 h 43809"/>
                          <a:gd name="connsiteX57" fmla="*/ 38037 w 40788"/>
                          <a:gd name="connsiteY57" fmla="*/ 12351 h 43809"/>
                          <a:gd name="connsiteX58" fmla="*/ 38157 w 40788"/>
                          <a:gd name="connsiteY58" fmla="*/ 12650 h 43809"/>
                          <a:gd name="connsiteX59" fmla="*/ 38276 w 40788"/>
                          <a:gd name="connsiteY59" fmla="*/ 12949 h 43809"/>
                          <a:gd name="connsiteX60" fmla="*/ 38396 w 40788"/>
                          <a:gd name="connsiteY60" fmla="*/ 13248 h 43809"/>
                          <a:gd name="connsiteX61" fmla="*/ 39174 w 40788"/>
                          <a:gd name="connsiteY61" fmla="*/ 16537 h 43809"/>
                          <a:gd name="connsiteX62" fmla="*/ 39413 w 40788"/>
                          <a:gd name="connsiteY62" fmla="*/ 19946 h 43809"/>
                          <a:gd name="connsiteX63" fmla="*/ 39054 w 40788"/>
                          <a:gd name="connsiteY63" fmla="*/ 23475 h 43809"/>
                          <a:gd name="connsiteX64" fmla="*/ 38157 w 40788"/>
                          <a:gd name="connsiteY64" fmla="*/ 27004 h 43809"/>
                          <a:gd name="connsiteX65" fmla="*/ 36303 w 40788"/>
                          <a:gd name="connsiteY65" fmla="*/ 31011 h 43809"/>
                          <a:gd name="connsiteX66" fmla="*/ 33851 w 40788"/>
                          <a:gd name="connsiteY66" fmla="*/ 34539 h 43809"/>
                          <a:gd name="connsiteX67" fmla="*/ 30920 w 40788"/>
                          <a:gd name="connsiteY67" fmla="*/ 37470 h 43809"/>
                          <a:gd name="connsiteX68" fmla="*/ 27571 w 40788"/>
                          <a:gd name="connsiteY68" fmla="*/ 39743 h 43809"/>
                          <a:gd name="connsiteX69" fmla="*/ 27212 w 40788"/>
                          <a:gd name="connsiteY69" fmla="*/ 39922 h 43809"/>
                          <a:gd name="connsiteX70" fmla="*/ 26853 w 40788"/>
                          <a:gd name="connsiteY70" fmla="*/ 40101 h 43809"/>
                          <a:gd name="connsiteX71" fmla="*/ 26495 w 40788"/>
                          <a:gd name="connsiteY71" fmla="*/ 40281 h 43809"/>
                          <a:gd name="connsiteX72" fmla="*/ 26136 w 40788"/>
                          <a:gd name="connsiteY72" fmla="*/ 40460 h 43809"/>
                          <a:gd name="connsiteX73" fmla="*/ 24341 w 40788"/>
                          <a:gd name="connsiteY73" fmla="*/ 41178 h 43809"/>
                          <a:gd name="connsiteX74" fmla="*/ 22547 w 40788"/>
                          <a:gd name="connsiteY74" fmla="*/ 41716 h 43809"/>
                          <a:gd name="connsiteX75" fmla="*/ 20693 w 40788"/>
                          <a:gd name="connsiteY75" fmla="*/ 42015 h 43809"/>
                          <a:gd name="connsiteX76" fmla="*/ 18839 w 40788"/>
                          <a:gd name="connsiteY76" fmla="*/ 42135 h 43809"/>
                          <a:gd name="connsiteX77" fmla="*/ 18540 w 40788"/>
                          <a:gd name="connsiteY77" fmla="*/ 42135 h 43809"/>
                          <a:gd name="connsiteX78" fmla="*/ 18241 w 40788"/>
                          <a:gd name="connsiteY78" fmla="*/ 42135 h 43809"/>
                          <a:gd name="connsiteX79" fmla="*/ 17942 w 40788"/>
                          <a:gd name="connsiteY79" fmla="*/ 42135 h 43809"/>
                          <a:gd name="connsiteX80" fmla="*/ 17643 w 40788"/>
                          <a:gd name="connsiteY80" fmla="*/ 42135 h 43809"/>
                          <a:gd name="connsiteX81" fmla="*/ 16686 w 40788"/>
                          <a:gd name="connsiteY81" fmla="*/ 42075 h 43809"/>
                          <a:gd name="connsiteX82" fmla="*/ 15729 w 40788"/>
                          <a:gd name="connsiteY82" fmla="*/ 41955 h 43809"/>
                          <a:gd name="connsiteX83" fmla="*/ 14772 w 40788"/>
                          <a:gd name="connsiteY83" fmla="*/ 41776 h 43809"/>
                          <a:gd name="connsiteX84" fmla="*/ 13815 w 40788"/>
                          <a:gd name="connsiteY84" fmla="*/ 41537 h 43809"/>
                          <a:gd name="connsiteX85" fmla="*/ 12739 w 40788"/>
                          <a:gd name="connsiteY85" fmla="*/ 41178 h 43809"/>
                          <a:gd name="connsiteX86" fmla="*/ 11722 w 40788"/>
                          <a:gd name="connsiteY86" fmla="*/ 40759 h 43809"/>
                          <a:gd name="connsiteX87" fmla="*/ 10705 w 40788"/>
                          <a:gd name="connsiteY87" fmla="*/ 40281 h 43809"/>
                          <a:gd name="connsiteX88" fmla="*/ 9749 w 40788"/>
                          <a:gd name="connsiteY88" fmla="*/ 39743 h 43809"/>
                          <a:gd name="connsiteX89" fmla="*/ 9509 w 40788"/>
                          <a:gd name="connsiteY89" fmla="*/ 39623 h 43809"/>
                          <a:gd name="connsiteX90" fmla="*/ 9270 w 40788"/>
                          <a:gd name="connsiteY90" fmla="*/ 39444 h 43809"/>
                          <a:gd name="connsiteX91" fmla="*/ 9031 w 40788"/>
                          <a:gd name="connsiteY91" fmla="*/ 39264 h 43809"/>
                          <a:gd name="connsiteX92" fmla="*/ 8851 w 40788"/>
                          <a:gd name="connsiteY92" fmla="*/ 39264 h 43809"/>
                          <a:gd name="connsiteX93" fmla="*/ 7595 w 40788"/>
                          <a:gd name="connsiteY93" fmla="*/ 38486 h 43809"/>
                          <a:gd name="connsiteX94" fmla="*/ 8971 w 40788"/>
                          <a:gd name="connsiteY94" fmla="*/ 39563 h 43809"/>
                          <a:gd name="connsiteX95" fmla="*/ 10466 w 40788"/>
                          <a:gd name="connsiteY95" fmla="*/ 40520 h 43809"/>
                          <a:gd name="connsiteX96" fmla="*/ 12081 w 40788"/>
                          <a:gd name="connsiteY96" fmla="*/ 41298 h 43809"/>
                          <a:gd name="connsiteX97" fmla="*/ 13756 w 40788"/>
                          <a:gd name="connsiteY97" fmla="*/ 41896 h 43809"/>
                          <a:gd name="connsiteX98" fmla="*/ 21231 w 40788"/>
                          <a:gd name="connsiteY98" fmla="*/ 42314 h 43809"/>
                          <a:gd name="connsiteX99" fmla="*/ 28349 w 40788"/>
                          <a:gd name="connsiteY99" fmla="*/ 39743 h 43809"/>
                          <a:gd name="connsiteX100" fmla="*/ 34269 w 40788"/>
                          <a:gd name="connsiteY100" fmla="*/ 34599 h 43809"/>
                          <a:gd name="connsiteX101" fmla="*/ 38276 w 40788"/>
                          <a:gd name="connsiteY101" fmla="*/ 27362 h 43809"/>
                          <a:gd name="connsiteX102" fmla="*/ 39532 w 40788"/>
                          <a:gd name="connsiteY102" fmla="*/ 21202 h 43809"/>
                          <a:gd name="connsiteX103" fmla="*/ 39054 w 40788"/>
                          <a:gd name="connsiteY103" fmla="*/ 15281 h 43809"/>
                          <a:gd name="connsiteX104" fmla="*/ 37021 w 40788"/>
                          <a:gd name="connsiteY104" fmla="*/ 9959 h 43809"/>
                          <a:gd name="connsiteX105" fmla="*/ 33552 w 40788"/>
                          <a:gd name="connsiteY105" fmla="*/ 5652 h 43809"/>
                          <a:gd name="connsiteX106" fmla="*/ 32176 w 40788"/>
                          <a:gd name="connsiteY106" fmla="*/ 4576 h 43809"/>
                          <a:gd name="connsiteX107" fmla="*/ 30681 w 40788"/>
                          <a:gd name="connsiteY107" fmla="*/ 3619 h 43809"/>
                          <a:gd name="connsiteX108" fmla="*/ 29066 w 40788"/>
                          <a:gd name="connsiteY108" fmla="*/ 2842 h 43809"/>
                          <a:gd name="connsiteX109" fmla="*/ 27391 w 40788"/>
                          <a:gd name="connsiteY109" fmla="*/ 2184 h 43809"/>
                          <a:gd name="connsiteX110" fmla="*/ 19856 w 40788"/>
                          <a:gd name="connsiteY110" fmla="*/ 1645 h 43809"/>
                          <a:gd name="connsiteX111" fmla="*/ 12679 w 40788"/>
                          <a:gd name="connsiteY111" fmla="*/ 4217 h 43809"/>
                          <a:gd name="connsiteX112" fmla="*/ 6639 w 40788"/>
                          <a:gd name="connsiteY112" fmla="*/ 9420 h 43809"/>
                          <a:gd name="connsiteX113" fmla="*/ 2572 w 40788"/>
                          <a:gd name="connsiteY113" fmla="*/ 16776 h 43809"/>
                          <a:gd name="connsiteX114" fmla="*/ 1375 w 40788"/>
                          <a:gd name="connsiteY114" fmla="*/ 23056 h 43809"/>
                          <a:gd name="connsiteX115" fmla="*/ 1914 w 40788"/>
                          <a:gd name="connsiteY115" fmla="*/ 29037 h 43809"/>
                          <a:gd name="connsiteX116" fmla="*/ 4067 w 40788"/>
                          <a:gd name="connsiteY116" fmla="*/ 34300 h 43809"/>
                          <a:gd name="connsiteX117" fmla="*/ 7595 w 40788"/>
                          <a:gd name="connsiteY117" fmla="*/ 38486 h 43809"/>
                          <a:gd name="connsiteX118" fmla="*/ 34329 w 40788"/>
                          <a:gd name="connsiteY118" fmla="*/ 4576 h 43809"/>
                          <a:gd name="connsiteX119" fmla="*/ 38037 w 40788"/>
                          <a:gd name="connsiteY119" fmla="*/ 9181 h 43809"/>
                          <a:gd name="connsiteX120" fmla="*/ 40190 w 40788"/>
                          <a:gd name="connsiteY120" fmla="*/ 14803 h 43809"/>
                          <a:gd name="connsiteX121" fmla="*/ 40669 w 40788"/>
                          <a:gd name="connsiteY121" fmla="*/ 21083 h 43809"/>
                          <a:gd name="connsiteX122" fmla="*/ 39353 w 40788"/>
                          <a:gd name="connsiteY122" fmla="*/ 27602 h 43809"/>
                          <a:gd name="connsiteX123" fmla="*/ 35047 w 40788"/>
                          <a:gd name="connsiteY123" fmla="*/ 35317 h 43809"/>
                          <a:gd name="connsiteX124" fmla="*/ 28767 w 40788"/>
                          <a:gd name="connsiteY124" fmla="*/ 40759 h 43809"/>
                          <a:gd name="connsiteX125" fmla="*/ 21291 w 40788"/>
                          <a:gd name="connsiteY125" fmla="*/ 43510 h 43809"/>
                          <a:gd name="connsiteX126" fmla="*/ 13397 w 40788"/>
                          <a:gd name="connsiteY126" fmla="*/ 43032 h 43809"/>
                          <a:gd name="connsiteX127" fmla="*/ 11603 w 40788"/>
                          <a:gd name="connsiteY127" fmla="*/ 42434 h 43809"/>
                          <a:gd name="connsiteX128" fmla="*/ 9928 w 40788"/>
                          <a:gd name="connsiteY128" fmla="*/ 41656 h 43809"/>
                          <a:gd name="connsiteX129" fmla="*/ 8373 w 40788"/>
                          <a:gd name="connsiteY129" fmla="*/ 40699 h 43809"/>
                          <a:gd name="connsiteX130" fmla="*/ 6937 w 40788"/>
                          <a:gd name="connsiteY130" fmla="*/ 39563 h 43809"/>
                          <a:gd name="connsiteX131" fmla="*/ 3170 w 40788"/>
                          <a:gd name="connsiteY131" fmla="*/ 35078 h 43809"/>
                          <a:gd name="connsiteX132" fmla="*/ 897 w 40788"/>
                          <a:gd name="connsiteY132" fmla="*/ 29456 h 43809"/>
                          <a:gd name="connsiteX133" fmla="*/ 299 w 40788"/>
                          <a:gd name="connsiteY133" fmla="*/ 23116 h 43809"/>
                          <a:gd name="connsiteX134" fmla="*/ 1555 w 40788"/>
                          <a:gd name="connsiteY134" fmla="*/ 16477 h 43809"/>
                          <a:gd name="connsiteX135" fmla="*/ 5861 w 40788"/>
                          <a:gd name="connsiteY135" fmla="*/ 8643 h 43809"/>
                          <a:gd name="connsiteX136" fmla="*/ 12260 w 40788"/>
                          <a:gd name="connsiteY136" fmla="*/ 3081 h 43809"/>
                          <a:gd name="connsiteX137" fmla="*/ 19916 w 40788"/>
                          <a:gd name="connsiteY137" fmla="*/ 389 h 43809"/>
                          <a:gd name="connsiteX138" fmla="*/ 27870 w 40788"/>
                          <a:gd name="connsiteY138" fmla="*/ 988 h 43809"/>
                          <a:gd name="connsiteX139" fmla="*/ 29664 w 40788"/>
                          <a:gd name="connsiteY139" fmla="*/ 1645 h 43809"/>
                          <a:gd name="connsiteX140" fmla="*/ 31339 w 40788"/>
                          <a:gd name="connsiteY140" fmla="*/ 2483 h 43809"/>
                          <a:gd name="connsiteX141" fmla="*/ 32894 w 40788"/>
                          <a:gd name="connsiteY141" fmla="*/ 3499 h 43809"/>
                          <a:gd name="connsiteX142" fmla="*/ 34329 w 40788"/>
                          <a:gd name="connsiteY142" fmla="*/ 4576 h 43809"/>
                          <a:gd name="connsiteX143" fmla="*/ 6698 w 40788"/>
                          <a:gd name="connsiteY143" fmla="*/ 39623 h 43809"/>
                          <a:gd name="connsiteX144" fmla="*/ 7057 w 40788"/>
                          <a:gd name="connsiteY144" fmla="*/ 39922 h 43809"/>
                          <a:gd name="connsiteX145" fmla="*/ 7416 w 40788"/>
                          <a:gd name="connsiteY145" fmla="*/ 40221 h 43809"/>
                          <a:gd name="connsiteX146" fmla="*/ 7775 w 40788"/>
                          <a:gd name="connsiteY146" fmla="*/ 40520 h 43809"/>
                          <a:gd name="connsiteX147" fmla="*/ 8134 w 40788"/>
                          <a:gd name="connsiteY147" fmla="*/ 40759 h 43809"/>
                          <a:gd name="connsiteX148" fmla="*/ 8373 w 40788"/>
                          <a:gd name="connsiteY148" fmla="*/ 40939 h 43809"/>
                          <a:gd name="connsiteX149" fmla="*/ 8612 w 40788"/>
                          <a:gd name="connsiteY149" fmla="*/ 41118 h 43809"/>
                          <a:gd name="connsiteX150" fmla="*/ 8851 w 40788"/>
                          <a:gd name="connsiteY150" fmla="*/ 41238 h 43809"/>
                          <a:gd name="connsiteX151" fmla="*/ 9090 w 40788"/>
                          <a:gd name="connsiteY151" fmla="*/ 41357 h 43809"/>
                          <a:gd name="connsiteX152" fmla="*/ 10107 w 40788"/>
                          <a:gd name="connsiteY152" fmla="*/ 41896 h 43809"/>
                          <a:gd name="connsiteX153" fmla="*/ 11124 w 40788"/>
                          <a:gd name="connsiteY153" fmla="*/ 42374 h 43809"/>
                          <a:gd name="connsiteX154" fmla="*/ 12201 w 40788"/>
                          <a:gd name="connsiteY154" fmla="*/ 42793 h 43809"/>
                          <a:gd name="connsiteX155" fmla="*/ 13337 w 40788"/>
                          <a:gd name="connsiteY155" fmla="*/ 43152 h 43809"/>
                          <a:gd name="connsiteX156" fmla="*/ 14234 w 40788"/>
                          <a:gd name="connsiteY156" fmla="*/ 43391 h 43809"/>
                          <a:gd name="connsiteX157" fmla="*/ 15131 w 40788"/>
                          <a:gd name="connsiteY157" fmla="*/ 43570 h 43809"/>
                          <a:gd name="connsiteX158" fmla="*/ 16028 w 40788"/>
                          <a:gd name="connsiteY158" fmla="*/ 43690 h 43809"/>
                          <a:gd name="connsiteX159" fmla="*/ 16925 w 40788"/>
                          <a:gd name="connsiteY159" fmla="*/ 43809 h 43809"/>
                          <a:gd name="connsiteX160" fmla="*/ 17225 w 40788"/>
                          <a:gd name="connsiteY160" fmla="*/ 43809 h 43809"/>
                          <a:gd name="connsiteX161" fmla="*/ 17523 w 40788"/>
                          <a:gd name="connsiteY161" fmla="*/ 43809 h 43809"/>
                          <a:gd name="connsiteX162" fmla="*/ 17822 w 40788"/>
                          <a:gd name="connsiteY162" fmla="*/ 43809 h 43809"/>
                          <a:gd name="connsiteX163" fmla="*/ 18121 w 40788"/>
                          <a:gd name="connsiteY163" fmla="*/ 43809 h 43809"/>
                          <a:gd name="connsiteX164" fmla="*/ 19916 w 40788"/>
                          <a:gd name="connsiteY164" fmla="*/ 43750 h 43809"/>
                          <a:gd name="connsiteX165" fmla="*/ 21710 w 40788"/>
                          <a:gd name="connsiteY165" fmla="*/ 43510 h 43809"/>
                          <a:gd name="connsiteX166" fmla="*/ 23504 w 40788"/>
                          <a:gd name="connsiteY166" fmla="*/ 43092 h 43809"/>
                          <a:gd name="connsiteX167" fmla="*/ 25238 w 40788"/>
                          <a:gd name="connsiteY167" fmla="*/ 42494 h 43809"/>
                          <a:gd name="connsiteX168" fmla="*/ 25597 w 40788"/>
                          <a:gd name="connsiteY168" fmla="*/ 42374 h 43809"/>
                          <a:gd name="connsiteX169" fmla="*/ 25956 w 40788"/>
                          <a:gd name="connsiteY169" fmla="*/ 42254 h 43809"/>
                          <a:gd name="connsiteX170" fmla="*/ 26315 w 40788"/>
                          <a:gd name="connsiteY170" fmla="*/ 42075 h 43809"/>
                          <a:gd name="connsiteX171" fmla="*/ 26674 w 40788"/>
                          <a:gd name="connsiteY171" fmla="*/ 41896 h 43809"/>
                          <a:gd name="connsiteX172" fmla="*/ 30741 w 40788"/>
                          <a:gd name="connsiteY172" fmla="*/ 39503 h 43809"/>
                          <a:gd name="connsiteX173" fmla="*/ 34329 w 40788"/>
                          <a:gd name="connsiteY173" fmla="*/ 36274 h 43809"/>
                          <a:gd name="connsiteX174" fmla="*/ 37260 w 40788"/>
                          <a:gd name="connsiteY174" fmla="*/ 32267 h 43809"/>
                          <a:gd name="connsiteX175" fmla="*/ 39413 w 40788"/>
                          <a:gd name="connsiteY175" fmla="*/ 27602 h 43809"/>
                          <a:gd name="connsiteX176" fmla="*/ 40429 w 40788"/>
                          <a:gd name="connsiteY176" fmla="*/ 23595 h 43809"/>
                          <a:gd name="connsiteX177" fmla="*/ 40788 w 40788"/>
                          <a:gd name="connsiteY177" fmla="*/ 19588 h 43809"/>
                          <a:gd name="connsiteX178" fmla="*/ 40489 w 40788"/>
                          <a:gd name="connsiteY178" fmla="*/ 15700 h 43809"/>
                          <a:gd name="connsiteX179" fmla="*/ 39532 w 40788"/>
                          <a:gd name="connsiteY179" fmla="*/ 12052 h 43809"/>
                          <a:gd name="connsiteX180" fmla="*/ 39413 w 40788"/>
                          <a:gd name="connsiteY180" fmla="*/ 11753 h 43809"/>
                          <a:gd name="connsiteX181" fmla="*/ 39293 w 40788"/>
                          <a:gd name="connsiteY181" fmla="*/ 11454 h 43809"/>
                          <a:gd name="connsiteX182" fmla="*/ 39174 w 40788"/>
                          <a:gd name="connsiteY182" fmla="*/ 11155 h 43809"/>
                          <a:gd name="connsiteX183" fmla="*/ 39054 w 40788"/>
                          <a:gd name="connsiteY183" fmla="*/ 10856 h 43809"/>
                          <a:gd name="connsiteX184" fmla="*/ 38276 w 40788"/>
                          <a:gd name="connsiteY184" fmla="*/ 9241 h 43809"/>
                          <a:gd name="connsiteX185" fmla="*/ 37380 w 40788"/>
                          <a:gd name="connsiteY185" fmla="*/ 7746 h 43809"/>
                          <a:gd name="connsiteX186" fmla="*/ 36303 w 40788"/>
                          <a:gd name="connsiteY186" fmla="*/ 6310 h 43809"/>
                          <a:gd name="connsiteX187" fmla="*/ 35107 w 40788"/>
                          <a:gd name="connsiteY187" fmla="*/ 4995 h 43809"/>
                          <a:gd name="connsiteX188" fmla="*/ 34927 w 40788"/>
                          <a:gd name="connsiteY188" fmla="*/ 4815 h 43809"/>
                          <a:gd name="connsiteX189" fmla="*/ 34748 w 40788"/>
                          <a:gd name="connsiteY189" fmla="*/ 4636 h 43809"/>
                          <a:gd name="connsiteX190" fmla="*/ 34568 w 40788"/>
                          <a:gd name="connsiteY190" fmla="*/ 4456 h 43809"/>
                          <a:gd name="connsiteX191" fmla="*/ 34389 w 40788"/>
                          <a:gd name="connsiteY191" fmla="*/ 4277 h 43809"/>
                          <a:gd name="connsiteX192" fmla="*/ 34329 w 40788"/>
                          <a:gd name="connsiteY192" fmla="*/ 4277 h 43809"/>
                          <a:gd name="connsiteX193" fmla="*/ 34269 w 40788"/>
                          <a:gd name="connsiteY193" fmla="*/ 4277 h 43809"/>
                          <a:gd name="connsiteX194" fmla="*/ 34210 w 40788"/>
                          <a:gd name="connsiteY194" fmla="*/ 4277 h 43809"/>
                          <a:gd name="connsiteX195" fmla="*/ 34150 w 40788"/>
                          <a:gd name="connsiteY195" fmla="*/ 4277 h 43809"/>
                          <a:gd name="connsiteX196" fmla="*/ 33492 w 40788"/>
                          <a:gd name="connsiteY196" fmla="*/ 3739 h 43809"/>
                          <a:gd name="connsiteX197" fmla="*/ 32774 w 40788"/>
                          <a:gd name="connsiteY197" fmla="*/ 3200 h 43809"/>
                          <a:gd name="connsiteX198" fmla="*/ 32057 w 40788"/>
                          <a:gd name="connsiteY198" fmla="*/ 2722 h 43809"/>
                          <a:gd name="connsiteX199" fmla="*/ 31279 w 40788"/>
                          <a:gd name="connsiteY199" fmla="*/ 2243 h 43809"/>
                          <a:gd name="connsiteX200" fmla="*/ 31040 w 40788"/>
                          <a:gd name="connsiteY200" fmla="*/ 2124 h 43809"/>
                          <a:gd name="connsiteX201" fmla="*/ 30801 w 40788"/>
                          <a:gd name="connsiteY201" fmla="*/ 2004 h 43809"/>
                          <a:gd name="connsiteX202" fmla="*/ 30561 w 40788"/>
                          <a:gd name="connsiteY202" fmla="*/ 1884 h 43809"/>
                          <a:gd name="connsiteX203" fmla="*/ 30322 w 40788"/>
                          <a:gd name="connsiteY203" fmla="*/ 1765 h 43809"/>
                          <a:gd name="connsiteX204" fmla="*/ 29724 w 40788"/>
                          <a:gd name="connsiteY204" fmla="*/ 1466 h 43809"/>
                          <a:gd name="connsiteX205" fmla="*/ 29126 w 40788"/>
                          <a:gd name="connsiteY205" fmla="*/ 1227 h 43809"/>
                          <a:gd name="connsiteX206" fmla="*/ 28468 w 40788"/>
                          <a:gd name="connsiteY206" fmla="*/ 988 h 43809"/>
                          <a:gd name="connsiteX207" fmla="*/ 27810 w 40788"/>
                          <a:gd name="connsiteY207" fmla="*/ 748 h 43809"/>
                          <a:gd name="connsiteX208" fmla="*/ 27571 w 40788"/>
                          <a:gd name="connsiteY208" fmla="*/ 689 h 43809"/>
                          <a:gd name="connsiteX209" fmla="*/ 27332 w 40788"/>
                          <a:gd name="connsiteY209" fmla="*/ 629 h 43809"/>
                          <a:gd name="connsiteX210" fmla="*/ 27092 w 40788"/>
                          <a:gd name="connsiteY210" fmla="*/ 569 h 43809"/>
                          <a:gd name="connsiteX211" fmla="*/ 26853 w 40788"/>
                          <a:gd name="connsiteY211" fmla="*/ 509 h 43809"/>
                          <a:gd name="connsiteX212" fmla="*/ 26554 w 40788"/>
                          <a:gd name="connsiteY212" fmla="*/ 449 h 43809"/>
                          <a:gd name="connsiteX213" fmla="*/ 26255 w 40788"/>
                          <a:gd name="connsiteY213" fmla="*/ 389 h 43809"/>
                          <a:gd name="connsiteX214" fmla="*/ 25956 w 40788"/>
                          <a:gd name="connsiteY214" fmla="*/ 329 h 43809"/>
                          <a:gd name="connsiteX215" fmla="*/ 25657 w 40788"/>
                          <a:gd name="connsiteY215" fmla="*/ 270 h 43809"/>
                          <a:gd name="connsiteX216" fmla="*/ 18181 w 40788"/>
                          <a:gd name="connsiteY216" fmla="*/ 509 h 43809"/>
                          <a:gd name="connsiteX217" fmla="*/ 11184 w 40788"/>
                          <a:gd name="connsiteY217" fmla="*/ 3559 h 43809"/>
                          <a:gd name="connsiteX218" fmla="*/ 5323 w 40788"/>
                          <a:gd name="connsiteY218" fmla="*/ 9002 h 43809"/>
                          <a:gd name="connsiteX219" fmla="*/ 1375 w 40788"/>
                          <a:gd name="connsiteY219" fmla="*/ 16418 h 43809"/>
                          <a:gd name="connsiteX220" fmla="*/ 359 w 40788"/>
                          <a:gd name="connsiteY220" fmla="*/ 20305 h 43809"/>
                          <a:gd name="connsiteX221" fmla="*/ 0 w 40788"/>
                          <a:gd name="connsiteY221" fmla="*/ 24133 h 43809"/>
                          <a:gd name="connsiteX222" fmla="*/ 299 w 40788"/>
                          <a:gd name="connsiteY222" fmla="*/ 27901 h 43809"/>
                          <a:gd name="connsiteX223" fmla="*/ 1196 w 40788"/>
                          <a:gd name="connsiteY223" fmla="*/ 31429 h 43809"/>
                          <a:gd name="connsiteX224" fmla="*/ 1316 w 40788"/>
                          <a:gd name="connsiteY224" fmla="*/ 31788 h 43809"/>
                          <a:gd name="connsiteX225" fmla="*/ 1435 w 40788"/>
                          <a:gd name="connsiteY225" fmla="*/ 32147 h 43809"/>
                          <a:gd name="connsiteX226" fmla="*/ 1615 w 40788"/>
                          <a:gd name="connsiteY226" fmla="*/ 32506 h 43809"/>
                          <a:gd name="connsiteX227" fmla="*/ 1794 w 40788"/>
                          <a:gd name="connsiteY227" fmla="*/ 32865 h 43809"/>
                          <a:gd name="connsiteX228" fmla="*/ 2751 w 40788"/>
                          <a:gd name="connsiteY228" fmla="*/ 34719 h 43809"/>
                          <a:gd name="connsiteX229" fmla="*/ 3887 w 40788"/>
                          <a:gd name="connsiteY229" fmla="*/ 36453 h 43809"/>
                          <a:gd name="connsiteX230" fmla="*/ 5203 w 40788"/>
                          <a:gd name="connsiteY230" fmla="*/ 38068 h 43809"/>
                          <a:gd name="connsiteX231" fmla="*/ 6698 w 40788"/>
                          <a:gd name="connsiteY231" fmla="*/ 39623 h 4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40788" h="43809">
                            <a:moveTo>
                              <a:pt x="8851" y="39264"/>
                            </a:moveTo>
                            <a:cubicBezTo>
                              <a:pt x="8732" y="39204"/>
                              <a:pt x="8672" y="39145"/>
                              <a:pt x="8552" y="39025"/>
                            </a:cubicBezTo>
                            <a:cubicBezTo>
                              <a:pt x="8433" y="38965"/>
                              <a:pt x="8373" y="38905"/>
                              <a:pt x="8253" y="38786"/>
                            </a:cubicBezTo>
                            <a:cubicBezTo>
                              <a:pt x="8134" y="38726"/>
                              <a:pt x="8074" y="38666"/>
                              <a:pt x="7954" y="38546"/>
                            </a:cubicBezTo>
                            <a:cubicBezTo>
                              <a:pt x="7835" y="38486"/>
                              <a:pt x="7775" y="38367"/>
                              <a:pt x="7655" y="38307"/>
                            </a:cubicBezTo>
                            <a:cubicBezTo>
                              <a:pt x="7057" y="37829"/>
                              <a:pt x="6519" y="37291"/>
                              <a:pt x="6040" y="36692"/>
                            </a:cubicBezTo>
                            <a:cubicBezTo>
                              <a:pt x="5562" y="36094"/>
                              <a:pt x="5083" y="35496"/>
                              <a:pt x="4665" y="34898"/>
                            </a:cubicBezTo>
                            <a:cubicBezTo>
                              <a:pt x="4246" y="34240"/>
                              <a:pt x="3887" y="33583"/>
                              <a:pt x="3528" y="32924"/>
                            </a:cubicBezTo>
                            <a:cubicBezTo>
                              <a:pt x="3170" y="32267"/>
                              <a:pt x="2871" y="31549"/>
                              <a:pt x="2632" y="30831"/>
                            </a:cubicBezTo>
                            <a:cubicBezTo>
                              <a:pt x="2572" y="30712"/>
                              <a:pt x="2512" y="30532"/>
                              <a:pt x="2512" y="30413"/>
                            </a:cubicBezTo>
                            <a:cubicBezTo>
                              <a:pt x="2452" y="30293"/>
                              <a:pt x="2392" y="30114"/>
                              <a:pt x="2392" y="29994"/>
                            </a:cubicBezTo>
                            <a:cubicBezTo>
                              <a:pt x="2392" y="29874"/>
                              <a:pt x="2332" y="29695"/>
                              <a:pt x="2273" y="29575"/>
                            </a:cubicBezTo>
                            <a:cubicBezTo>
                              <a:pt x="2213" y="29456"/>
                              <a:pt x="2213" y="29276"/>
                              <a:pt x="2153" y="29157"/>
                            </a:cubicBezTo>
                            <a:cubicBezTo>
                              <a:pt x="1914" y="28200"/>
                              <a:pt x="1734" y="27183"/>
                              <a:pt x="1615" y="26166"/>
                            </a:cubicBezTo>
                            <a:cubicBezTo>
                              <a:pt x="1495" y="25150"/>
                              <a:pt x="1495" y="24133"/>
                              <a:pt x="1555" y="23056"/>
                            </a:cubicBezTo>
                            <a:cubicBezTo>
                              <a:pt x="1615" y="21980"/>
                              <a:pt x="1734" y="20963"/>
                              <a:pt x="1914" y="19887"/>
                            </a:cubicBezTo>
                            <a:cubicBezTo>
                              <a:pt x="2093" y="18810"/>
                              <a:pt x="2392" y="17793"/>
                              <a:pt x="2751" y="16717"/>
                            </a:cubicBezTo>
                            <a:cubicBezTo>
                              <a:pt x="3229" y="15401"/>
                              <a:pt x="3768" y="14085"/>
                              <a:pt x="4426" y="12889"/>
                            </a:cubicBezTo>
                            <a:cubicBezTo>
                              <a:pt x="5083" y="11693"/>
                              <a:pt x="5861" y="10557"/>
                              <a:pt x="6698" y="9480"/>
                            </a:cubicBezTo>
                            <a:cubicBezTo>
                              <a:pt x="7535" y="8404"/>
                              <a:pt x="8493" y="7447"/>
                              <a:pt x="9509" y="6550"/>
                            </a:cubicBezTo>
                            <a:cubicBezTo>
                              <a:pt x="10526" y="5652"/>
                              <a:pt x="11603" y="4875"/>
                              <a:pt x="12798" y="4157"/>
                            </a:cubicBezTo>
                            <a:cubicBezTo>
                              <a:pt x="13756" y="3619"/>
                              <a:pt x="14712" y="3141"/>
                              <a:pt x="15669" y="2782"/>
                            </a:cubicBezTo>
                            <a:cubicBezTo>
                              <a:pt x="16626" y="2423"/>
                              <a:pt x="17643" y="2124"/>
                              <a:pt x="18660" y="1884"/>
                            </a:cubicBezTo>
                            <a:cubicBezTo>
                              <a:pt x="19676" y="1645"/>
                              <a:pt x="20633" y="1526"/>
                              <a:pt x="21650" y="1466"/>
                            </a:cubicBezTo>
                            <a:cubicBezTo>
                              <a:pt x="22667" y="1406"/>
                              <a:pt x="23624" y="1466"/>
                              <a:pt x="24641" y="1586"/>
                            </a:cubicBezTo>
                            <a:cubicBezTo>
                              <a:pt x="24760" y="1586"/>
                              <a:pt x="24880" y="1586"/>
                              <a:pt x="24940" y="1645"/>
                            </a:cubicBezTo>
                            <a:cubicBezTo>
                              <a:pt x="25059" y="1645"/>
                              <a:pt x="25179" y="1705"/>
                              <a:pt x="25238" y="1705"/>
                            </a:cubicBezTo>
                            <a:cubicBezTo>
                              <a:pt x="25358" y="1705"/>
                              <a:pt x="25478" y="1765"/>
                              <a:pt x="25537" y="1765"/>
                            </a:cubicBezTo>
                            <a:cubicBezTo>
                              <a:pt x="25657" y="1765"/>
                              <a:pt x="25777" y="1825"/>
                              <a:pt x="25836" y="1825"/>
                            </a:cubicBezTo>
                            <a:cubicBezTo>
                              <a:pt x="25956" y="1825"/>
                              <a:pt x="26076" y="1884"/>
                              <a:pt x="26196" y="1884"/>
                            </a:cubicBezTo>
                            <a:cubicBezTo>
                              <a:pt x="26315" y="1884"/>
                              <a:pt x="26435" y="1944"/>
                              <a:pt x="26554" y="1944"/>
                            </a:cubicBezTo>
                            <a:cubicBezTo>
                              <a:pt x="26674" y="1944"/>
                              <a:pt x="26794" y="2004"/>
                              <a:pt x="26913" y="2064"/>
                            </a:cubicBezTo>
                            <a:cubicBezTo>
                              <a:pt x="27033" y="2124"/>
                              <a:pt x="27152" y="2124"/>
                              <a:pt x="27272" y="2184"/>
                            </a:cubicBezTo>
                            <a:cubicBezTo>
                              <a:pt x="27451" y="2243"/>
                              <a:pt x="27631" y="2303"/>
                              <a:pt x="27810" y="2363"/>
                            </a:cubicBezTo>
                            <a:cubicBezTo>
                              <a:pt x="27990" y="2423"/>
                              <a:pt x="28169" y="2483"/>
                              <a:pt x="28349" y="2543"/>
                            </a:cubicBezTo>
                            <a:cubicBezTo>
                              <a:pt x="28528" y="2602"/>
                              <a:pt x="28707" y="2662"/>
                              <a:pt x="28827" y="2722"/>
                            </a:cubicBezTo>
                            <a:cubicBezTo>
                              <a:pt x="28946" y="2782"/>
                              <a:pt x="29186" y="2842"/>
                              <a:pt x="29305" y="2961"/>
                            </a:cubicBezTo>
                            <a:cubicBezTo>
                              <a:pt x="29365" y="3021"/>
                              <a:pt x="29485" y="3021"/>
                              <a:pt x="29545" y="3081"/>
                            </a:cubicBezTo>
                            <a:cubicBezTo>
                              <a:pt x="29604" y="3141"/>
                              <a:pt x="29724" y="3141"/>
                              <a:pt x="29784" y="3200"/>
                            </a:cubicBezTo>
                            <a:cubicBezTo>
                              <a:pt x="29844" y="3260"/>
                              <a:pt x="29963" y="3260"/>
                              <a:pt x="30023" y="3320"/>
                            </a:cubicBezTo>
                            <a:cubicBezTo>
                              <a:pt x="30083" y="3380"/>
                              <a:pt x="30203" y="3440"/>
                              <a:pt x="30262" y="3440"/>
                            </a:cubicBezTo>
                            <a:cubicBezTo>
                              <a:pt x="30502" y="3559"/>
                              <a:pt x="30801" y="3739"/>
                              <a:pt x="31040" y="3858"/>
                            </a:cubicBezTo>
                            <a:cubicBezTo>
                              <a:pt x="31279" y="4038"/>
                              <a:pt x="31518" y="4157"/>
                              <a:pt x="31758" y="4337"/>
                            </a:cubicBezTo>
                            <a:cubicBezTo>
                              <a:pt x="31997" y="4516"/>
                              <a:pt x="32236" y="4696"/>
                              <a:pt x="32475" y="4875"/>
                            </a:cubicBezTo>
                            <a:cubicBezTo>
                              <a:pt x="32714" y="5054"/>
                              <a:pt x="32953" y="5234"/>
                              <a:pt x="33133" y="5413"/>
                            </a:cubicBezTo>
                            <a:cubicBezTo>
                              <a:pt x="33133" y="5413"/>
                              <a:pt x="33133" y="5413"/>
                              <a:pt x="33193" y="5413"/>
                            </a:cubicBezTo>
                            <a:cubicBezTo>
                              <a:pt x="33193" y="5413"/>
                              <a:pt x="33193" y="5413"/>
                              <a:pt x="33253" y="5413"/>
                            </a:cubicBezTo>
                            <a:cubicBezTo>
                              <a:pt x="33253" y="5413"/>
                              <a:pt x="33253" y="5413"/>
                              <a:pt x="33312" y="5413"/>
                            </a:cubicBezTo>
                            <a:cubicBezTo>
                              <a:pt x="33312" y="5413"/>
                              <a:pt x="33312" y="5413"/>
                              <a:pt x="33372" y="5413"/>
                            </a:cubicBezTo>
                            <a:cubicBezTo>
                              <a:pt x="33432" y="5473"/>
                              <a:pt x="33492" y="5533"/>
                              <a:pt x="33552" y="5593"/>
                            </a:cubicBezTo>
                            <a:cubicBezTo>
                              <a:pt x="33612" y="5652"/>
                              <a:pt x="33671" y="5712"/>
                              <a:pt x="33731" y="5772"/>
                            </a:cubicBezTo>
                            <a:cubicBezTo>
                              <a:pt x="33791" y="5832"/>
                              <a:pt x="33851" y="5892"/>
                              <a:pt x="33911" y="5951"/>
                            </a:cubicBezTo>
                            <a:cubicBezTo>
                              <a:pt x="33970" y="6011"/>
                              <a:pt x="34030" y="6071"/>
                              <a:pt x="34090" y="6131"/>
                            </a:cubicBezTo>
                            <a:cubicBezTo>
                              <a:pt x="34509" y="6550"/>
                              <a:pt x="34927" y="6968"/>
                              <a:pt x="35286" y="7447"/>
                            </a:cubicBezTo>
                            <a:cubicBezTo>
                              <a:pt x="35645" y="7925"/>
                              <a:pt x="36004" y="8404"/>
                              <a:pt x="36303" y="8882"/>
                            </a:cubicBezTo>
                            <a:cubicBezTo>
                              <a:pt x="36602" y="9360"/>
                              <a:pt x="36901" y="9899"/>
                              <a:pt x="37200" y="10437"/>
                            </a:cubicBezTo>
                            <a:cubicBezTo>
                              <a:pt x="37499" y="10975"/>
                              <a:pt x="37738" y="11514"/>
                              <a:pt x="37918" y="12052"/>
                            </a:cubicBezTo>
                            <a:cubicBezTo>
                              <a:pt x="37977" y="12172"/>
                              <a:pt x="37977" y="12231"/>
                              <a:pt x="38037" y="12351"/>
                            </a:cubicBezTo>
                            <a:cubicBezTo>
                              <a:pt x="38097" y="12470"/>
                              <a:pt x="38097" y="12530"/>
                              <a:pt x="38157" y="12650"/>
                            </a:cubicBezTo>
                            <a:cubicBezTo>
                              <a:pt x="38217" y="12769"/>
                              <a:pt x="38217" y="12829"/>
                              <a:pt x="38276" y="12949"/>
                            </a:cubicBezTo>
                            <a:cubicBezTo>
                              <a:pt x="38336" y="13068"/>
                              <a:pt x="38336" y="13128"/>
                              <a:pt x="38396" y="13248"/>
                            </a:cubicBezTo>
                            <a:cubicBezTo>
                              <a:pt x="38755" y="14324"/>
                              <a:pt x="38994" y="15401"/>
                              <a:pt x="39174" y="16537"/>
                            </a:cubicBezTo>
                            <a:cubicBezTo>
                              <a:pt x="39353" y="17674"/>
                              <a:pt x="39413" y="18810"/>
                              <a:pt x="39413" y="19946"/>
                            </a:cubicBezTo>
                            <a:cubicBezTo>
                              <a:pt x="39413" y="21083"/>
                              <a:pt x="39293" y="22279"/>
                              <a:pt x="39054" y="23475"/>
                            </a:cubicBezTo>
                            <a:cubicBezTo>
                              <a:pt x="38815" y="24671"/>
                              <a:pt x="38516" y="25807"/>
                              <a:pt x="38157" y="27004"/>
                            </a:cubicBezTo>
                            <a:cubicBezTo>
                              <a:pt x="37678" y="28439"/>
                              <a:pt x="37021" y="29755"/>
                              <a:pt x="36303" y="31011"/>
                            </a:cubicBezTo>
                            <a:cubicBezTo>
                              <a:pt x="35585" y="32267"/>
                              <a:pt x="34748" y="33463"/>
                              <a:pt x="33851" y="34539"/>
                            </a:cubicBezTo>
                            <a:cubicBezTo>
                              <a:pt x="32953" y="35616"/>
                              <a:pt x="31937" y="36573"/>
                              <a:pt x="30920" y="37470"/>
                            </a:cubicBezTo>
                            <a:cubicBezTo>
                              <a:pt x="29844" y="38367"/>
                              <a:pt x="28707" y="39085"/>
                              <a:pt x="27571" y="39743"/>
                            </a:cubicBezTo>
                            <a:cubicBezTo>
                              <a:pt x="27451" y="39802"/>
                              <a:pt x="27332" y="39862"/>
                              <a:pt x="27212" y="39922"/>
                            </a:cubicBezTo>
                            <a:cubicBezTo>
                              <a:pt x="27092" y="39982"/>
                              <a:pt x="26973" y="40042"/>
                              <a:pt x="26853" y="40101"/>
                            </a:cubicBezTo>
                            <a:cubicBezTo>
                              <a:pt x="26734" y="40161"/>
                              <a:pt x="26614" y="40221"/>
                              <a:pt x="26495" y="40281"/>
                            </a:cubicBezTo>
                            <a:cubicBezTo>
                              <a:pt x="26375" y="40340"/>
                              <a:pt x="26255" y="40400"/>
                              <a:pt x="26136" y="40460"/>
                            </a:cubicBezTo>
                            <a:cubicBezTo>
                              <a:pt x="25537" y="40699"/>
                              <a:pt x="24940" y="40939"/>
                              <a:pt x="24341" y="41178"/>
                            </a:cubicBezTo>
                            <a:cubicBezTo>
                              <a:pt x="23743" y="41357"/>
                              <a:pt x="23145" y="41537"/>
                              <a:pt x="22547" y="41716"/>
                            </a:cubicBezTo>
                            <a:cubicBezTo>
                              <a:pt x="21949" y="41896"/>
                              <a:pt x="21291" y="41955"/>
                              <a:pt x="20693" y="42015"/>
                            </a:cubicBezTo>
                            <a:cubicBezTo>
                              <a:pt x="20095" y="42075"/>
                              <a:pt x="19437" y="42135"/>
                              <a:pt x="18839" y="42135"/>
                            </a:cubicBezTo>
                            <a:cubicBezTo>
                              <a:pt x="18720" y="42135"/>
                              <a:pt x="18660" y="42135"/>
                              <a:pt x="18540" y="42135"/>
                            </a:cubicBezTo>
                            <a:cubicBezTo>
                              <a:pt x="18420" y="42135"/>
                              <a:pt x="18360" y="42135"/>
                              <a:pt x="18241" y="42135"/>
                            </a:cubicBezTo>
                            <a:cubicBezTo>
                              <a:pt x="18121" y="42135"/>
                              <a:pt x="18062" y="42135"/>
                              <a:pt x="17942" y="42135"/>
                            </a:cubicBezTo>
                            <a:cubicBezTo>
                              <a:pt x="17822" y="42135"/>
                              <a:pt x="17763" y="42135"/>
                              <a:pt x="17643" y="42135"/>
                            </a:cubicBezTo>
                            <a:cubicBezTo>
                              <a:pt x="17344" y="42135"/>
                              <a:pt x="17045" y="42075"/>
                              <a:pt x="16686" y="42075"/>
                            </a:cubicBezTo>
                            <a:cubicBezTo>
                              <a:pt x="16387" y="42015"/>
                              <a:pt x="16088" y="42015"/>
                              <a:pt x="15729" y="41955"/>
                            </a:cubicBezTo>
                            <a:cubicBezTo>
                              <a:pt x="15430" y="41896"/>
                              <a:pt x="15131" y="41836"/>
                              <a:pt x="14772" y="41776"/>
                            </a:cubicBezTo>
                            <a:cubicBezTo>
                              <a:pt x="14413" y="41716"/>
                              <a:pt x="14174" y="41656"/>
                              <a:pt x="13815" y="41537"/>
                            </a:cubicBezTo>
                            <a:cubicBezTo>
                              <a:pt x="13457" y="41417"/>
                              <a:pt x="13098" y="41298"/>
                              <a:pt x="12739" y="41178"/>
                            </a:cubicBezTo>
                            <a:cubicBezTo>
                              <a:pt x="12380" y="41059"/>
                              <a:pt x="12021" y="40939"/>
                              <a:pt x="11722" y="40759"/>
                            </a:cubicBezTo>
                            <a:cubicBezTo>
                              <a:pt x="11363" y="40580"/>
                              <a:pt x="11064" y="40460"/>
                              <a:pt x="10705" y="40281"/>
                            </a:cubicBezTo>
                            <a:cubicBezTo>
                              <a:pt x="10347" y="40101"/>
                              <a:pt x="10048" y="39922"/>
                              <a:pt x="9749" y="39743"/>
                            </a:cubicBezTo>
                            <a:cubicBezTo>
                              <a:pt x="9689" y="39683"/>
                              <a:pt x="9569" y="39623"/>
                              <a:pt x="9509" y="39623"/>
                            </a:cubicBezTo>
                            <a:cubicBezTo>
                              <a:pt x="9449" y="39563"/>
                              <a:pt x="9330" y="39503"/>
                              <a:pt x="9270" y="39444"/>
                            </a:cubicBezTo>
                            <a:cubicBezTo>
                              <a:pt x="9210" y="39384"/>
                              <a:pt x="9090" y="39324"/>
                              <a:pt x="9031" y="39264"/>
                            </a:cubicBezTo>
                            <a:cubicBezTo>
                              <a:pt x="8971" y="39324"/>
                              <a:pt x="8911" y="39264"/>
                              <a:pt x="8851" y="39264"/>
                            </a:cubicBezTo>
                            <a:moveTo>
                              <a:pt x="7595" y="38486"/>
                            </a:moveTo>
                            <a:cubicBezTo>
                              <a:pt x="8014" y="38845"/>
                              <a:pt x="8493" y="39204"/>
                              <a:pt x="8971" y="39563"/>
                            </a:cubicBezTo>
                            <a:cubicBezTo>
                              <a:pt x="9449" y="39922"/>
                              <a:pt x="9928" y="40221"/>
                              <a:pt x="10466" y="40520"/>
                            </a:cubicBezTo>
                            <a:cubicBezTo>
                              <a:pt x="11004" y="40819"/>
                              <a:pt x="11483" y="41059"/>
                              <a:pt x="12081" y="41298"/>
                            </a:cubicBezTo>
                            <a:cubicBezTo>
                              <a:pt x="12619" y="41537"/>
                              <a:pt x="13217" y="41716"/>
                              <a:pt x="13756" y="41896"/>
                            </a:cubicBezTo>
                            <a:cubicBezTo>
                              <a:pt x="16208" y="42613"/>
                              <a:pt x="18779" y="42733"/>
                              <a:pt x="21231" y="42314"/>
                            </a:cubicBezTo>
                            <a:cubicBezTo>
                              <a:pt x="23683" y="41955"/>
                              <a:pt x="26076" y="41059"/>
                              <a:pt x="28349" y="39743"/>
                            </a:cubicBezTo>
                            <a:cubicBezTo>
                              <a:pt x="30561" y="38427"/>
                              <a:pt x="32595" y="36692"/>
                              <a:pt x="34269" y="34599"/>
                            </a:cubicBezTo>
                            <a:cubicBezTo>
                              <a:pt x="36004" y="32506"/>
                              <a:pt x="37380" y="30054"/>
                              <a:pt x="38276" y="27362"/>
                            </a:cubicBezTo>
                            <a:cubicBezTo>
                              <a:pt x="38994" y="25269"/>
                              <a:pt x="39413" y="23236"/>
                              <a:pt x="39532" y="21202"/>
                            </a:cubicBezTo>
                            <a:cubicBezTo>
                              <a:pt x="39652" y="19169"/>
                              <a:pt x="39473" y="17195"/>
                              <a:pt x="39054" y="15281"/>
                            </a:cubicBezTo>
                            <a:cubicBezTo>
                              <a:pt x="38635" y="13368"/>
                              <a:pt x="37918" y="11633"/>
                              <a:pt x="37021" y="9959"/>
                            </a:cubicBezTo>
                            <a:cubicBezTo>
                              <a:pt x="36064" y="8344"/>
                              <a:pt x="34927" y="6849"/>
                              <a:pt x="33552" y="5652"/>
                            </a:cubicBezTo>
                            <a:cubicBezTo>
                              <a:pt x="33133" y="5294"/>
                              <a:pt x="32655" y="4875"/>
                              <a:pt x="32176" y="4576"/>
                            </a:cubicBezTo>
                            <a:cubicBezTo>
                              <a:pt x="31698" y="4277"/>
                              <a:pt x="31219" y="3918"/>
                              <a:pt x="30681" y="3619"/>
                            </a:cubicBezTo>
                            <a:cubicBezTo>
                              <a:pt x="30143" y="3320"/>
                              <a:pt x="29664" y="3081"/>
                              <a:pt x="29066" y="2842"/>
                            </a:cubicBezTo>
                            <a:cubicBezTo>
                              <a:pt x="28528" y="2602"/>
                              <a:pt x="27930" y="2423"/>
                              <a:pt x="27391" y="2184"/>
                            </a:cubicBezTo>
                            <a:cubicBezTo>
                              <a:pt x="24940" y="1406"/>
                              <a:pt x="22368" y="1287"/>
                              <a:pt x="19856" y="1645"/>
                            </a:cubicBezTo>
                            <a:cubicBezTo>
                              <a:pt x="17344" y="2004"/>
                              <a:pt x="14892" y="2901"/>
                              <a:pt x="12679" y="4217"/>
                            </a:cubicBezTo>
                            <a:cubicBezTo>
                              <a:pt x="10406" y="5533"/>
                              <a:pt x="8373" y="7327"/>
                              <a:pt x="6639" y="9420"/>
                            </a:cubicBezTo>
                            <a:cubicBezTo>
                              <a:pt x="4904" y="11514"/>
                              <a:pt x="3528" y="14026"/>
                              <a:pt x="2572" y="16776"/>
                            </a:cubicBezTo>
                            <a:cubicBezTo>
                              <a:pt x="1854" y="18870"/>
                              <a:pt x="1435" y="20963"/>
                              <a:pt x="1375" y="23056"/>
                            </a:cubicBezTo>
                            <a:cubicBezTo>
                              <a:pt x="1256" y="25090"/>
                              <a:pt x="1495" y="27123"/>
                              <a:pt x="1914" y="29037"/>
                            </a:cubicBezTo>
                            <a:cubicBezTo>
                              <a:pt x="2392" y="30951"/>
                              <a:pt x="3110" y="32685"/>
                              <a:pt x="4067" y="34300"/>
                            </a:cubicBezTo>
                            <a:cubicBezTo>
                              <a:pt x="5024" y="35795"/>
                              <a:pt x="6220" y="37231"/>
                              <a:pt x="7595" y="38486"/>
                            </a:cubicBezTo>
                            <a:moveTo>
                              <a:pt x="34329" y="4576"/>
                            </a:moveTo>
                            <a:cubicBezTo>
                              <a:pt x="35765" y="5892"/>
                              <a:pt x="37021" y="7447"/>
                              <a:pt x="38037" y="9181"/>
                            </a:cubicBezTo>
                            <a:cubicBezTo>
                              <a:pt x="38994" y="10915"/>
                              <a:pt x="39772" y="12769"/>
                              <a:pt x="40190" y="14803"/>
                            </a:cubicBezTo>
                            <a:cubicBezTo>
                              <a:pt x="40669" y="16776"/>
                              <a:pt x="40788" y="18930"/>
                              <a:pt x="40669" y="21083"/>
                            </a:cubicBezTo>
                            <a:cubicBezTo>
                              <a:pt x="40549" y="23236"/>
                              <a:pt x="40130" y="25449"/>
                              <a:pt x="39353" y="27602"/>
                            </a:cubicBezTo>
                            <a:cubicBezTo>
                              <a:pt x="38336" y="30473"/>
                              <a:pt x="36901" y="33044"/>
                              <a:pt x="35047" y="35317"/>
                            </a:cubicBezTo>
                            <a:cubicBezTo>
                              <a:pt x="33253" y="37530"/>
                              <a:pt x="31099" y="39384"/>
                              <a:pt x="28767" y="40759"/>
                            </a:cubicBezTo>
                            <a:cubicBezTo>
                              <a:pt x="26435" y="42135"/>
                              <a:pt x="23863" y="43092"/>
                              <a:pt x="21291" y="43510"/>
                            </a:cubicBezTo>
                            <a:cubicBezTo>
                              <a:pt x="18660" y="43929"/>
                              <a:pt x="15968" y="43809"/>
                              <a:pt x="13397" y="43032"/>
                            </a:cubicBezTo>
                            <a:cubicBezTo>
                              <a:pt x="12798" y="42853"/>
                              <a:pt x="12201" y="42673"/>
                              <a:pt x="11603" y="42434"/>
                            </a:cubicBezTo>
                            <a:cubicBezTo>
                              <a:pt x="11004" y="42195"/>
                              <a:pt x="10466" y="41955"/>
                              <a:pt x="9928" y="41656"/>
                            </a:cubicBezTo>
                            <a:cubicBezTo>
                              <a:pt x="9389" y="41357"/>
                              <a:pt x="8851" y="41059"/>
                              <a:pt x="8373" y="40699"/>
                            </a:cubicBezTo>
                            <a:cubicBezTo>
                              <a:pt x="7894" y="40340"/>
                              <a:pt x="7356" y="39982"/>
                              <a:pt x="6937" y="39563"/>
                            </a:cubicBezTo>
                            <a:cubicBezTo>
                              <a:pt x="5442" y="38307"/>
                              <a:pt x="4186" y="36752"/>
                              <a:pt x="3170" y="35078"/>
                            </a:cubicBezTo>
                            <a:cubicBezTo>
                              <a:pt x="2153" y="33343"/>
                              <a:pt x="1375" y="31489"/>
                              <a:pt x="897" y="29456"/>
                            </a:cubicBezTo>
                            <a:cubicBezTo>
                              <a:pt x="418" y="27422"/>
                              <a:pt x="179" y="25329"/>
                              <a:pt x="299" y="23116"/>
                            </a:cubicBezTo>
                            <a:cubicBezTo>
                              <a:pt x="418" y="20903"/>
                              <a:pt x="837" y="18690"/>
                              <a:pt x="1555" y="16477"/>
                            </a:cubicBezTo>
                            <a:cubicBezTo>
                              <a:pt x="2572" y="13547"/>
                              <a:pt x="4067" y="10915"/>
                              <a:pt x="5861" y="8643"/>
                            </a:cubicBezTo>
                            <a:cubicBezTo>
                              <a:pt x="7715" y="6370"/>
                              <a:pt x="9868" y="4516"/>
                              <a:pt x="12260" y="3081"/>
                            </a:cubicBezTo>
                            <a:cubicBezTo>
                              <a:pt x="14652" y="1705"/>
                              <a:pt x="17225" y="748"/>
                              <a:pt x="19916" y="389"/>
                            </a:cubicBezTo>
                            <a:cubicBezTo>
                              <a:pt x="22547" y="30"/>
                              <a:pt x="25238" y="150"/>
                              <a:pt x="27870" y="988"/>
                            </a:cubicBezTo>
                            <a:cubicBezTo>
                              <a:pt x="28468" y="1167"/>
                              <a:pt x="29066" y="1406"/>
                              <a:pt x="29664" y="1645"/>
                            </a:cubicBezTo>
                            <a:cubicBezTo>
                              <a:pt x="30262" y="1884"/>
                              <a:pt x="30801" y="2184"/>
                              <a:pt x="31339" y="2483"/>
                            </a:cubicBezTo>
                            <a:cubicBezTo>
                              <a:pt x="31877" y="2782"/>
                              <a:pt x="32415" y="3141"/>
                              <a:pt x="32894" y="3499"/>
                            </a:cubicBezTo>
                            <a:cubicBezTo>
                              <a:pt x="33372" y="3739"/>
                              <a:pt x="33851" y="4157"/>
                              <a:pt x="34329" y="4576"/>
                            </a:cubicBezTo>
                            <a:moveTo>
                              <a:pt x="6698" y="39623"/>
                            </a:moveTo>
                            <a:cubicBezTo>
                              <a:pt x="6818" y="39743"/>
                              <a:pt x="6937" y="39802"/>
                              <a:pt x="7057" y="39922"/>
                            </a:cubicBezTo>
                            <a:cubicBezTo>
                              <a:pt x="7177" y="40042"/>
                              <a:pt x="7296" y="40101"/>
                              <a:pt x="7416" y="40221"/>
                            </a:cubicBezTo>
                            <a:cubicBezTo>
                              <a:pt x="7535" y="40340"/>
                              <a:pt x="7655" y="40400"/>
                              <a:pt x="7775" y="40520"/>
                            </a:cubicBezTo>
                            <a:cubicBezTo>
                              <a:pt x="7894" y="40640"/>
                              <a:pt x="8014" y="40699"/>
                              <a:pt x="8134" y="40759"/>
                            </a:cubicBezTo>
                            <a:cubicBezTo>
                              <a:pt x="8194" y="40819"/>
                              <a:pt x="8313" y="40879"/>
                              <a:pt x="8373" y="40939"/>
                            </a:cubicBezTo>
                            <a:cubicBezTo>
                              <a:pt x="8433" y="40999"/>
                              <a:pt x="8552" y="41059"/>
                              <a:pt x="8612" y="41118"/>
                            </a:cubicBezTo>
                            <a:cubicBezTo>
                              <a:pt x="8672" y="41178"/>
                              <a:pt x="8791" y="41238"/>
                              <a:pt x="8851" y="41238"/>
                            </a:cubicBezTo>
                            <a:cubicBezTo>
                              <a:pt x="8911" y="41238"/>
                              <a:pt x="9031" y="41357"/>
                              <a:pt x="9090" y="41357"/>
                            </a:cubicBezTo>
                            <a:cubicBezTo>
                              <a:pt x="9389" y="41537"/>
                              <a:pt x="9749" y="41716"/>
                              <a:pt x="10107" y="41896"/>
                            </a:cubicBezTo>
                            <a:cubicBezTo>
                              <a:pt x="10466" y="42075"/>
                              <a:pt x="10765" y="42254"/>
                              <a:pt x="11124" y="42374"/>
                            </a:cubicBezTo>
                            <a:cubicBezTo>
                              <a:pt x="11483" y="42554"/>
                              <a:pt x="11842" y="42673"/>
                              <a:pt x="12201" y="42793"/>
                            </a:cubicBezTo>
                            <a:cubicBezTo>
                              <a:pt x="12559" y="42913"/>
                              <a:pt x="12918" y="43032"/>
                              <a:pt x="13337" y="43152"/>
                            </a:cubicBezTo>
                            <a:cubicBezTo>
                              <a:pt x="13636" y="43211"/>
                              <a:pt x="13935" y="43331"/>
                              <a:pt x="14234" y="43391"/>
                            </a:cubicBezTo>
                            <a:cubicBezTo>
                              <a:pt x="14533" y="43451"/>
                              <a:pt x="14832" y="43510"/>
                              <a:pt x="15131" y="43570"/>
                            </a:cubicBezTo>
                            <a:cubicBezTo>
                              <a:pt x="15430" y="43630"/>
                              <a:pt x="15729" y="43690"/>
                              <a:pt x="16028" y="43690"/>
                            </a:cubicBezTo>
                            <a:cubicBezTo>
                              <a:pt x="16327" y="43690"/>
                              <a:pt x="16626" y="43750"/>
                              <a:pt x="16925" y="43809"/>
                            </a:cubicBezTo>
                            <a:cubicBezTo>
                              <a:pt x="17045" y="43809"/>
                              <a:pt x="17105" y="43809"/>
                              <a:pt x="17225" y="43809"/>
                            </a:cubicBezTo>
                            <a:cubicBezTo>
                              <a:pt x="17344" y="43809"/>
                              <a:pt x="17404" y="43809"/>
                              <a:pt x="17523" y="43809"/>
                            </a:cubicBezTo>
                            <a:cubicBezTo>
                              <a:pt x="17643" y="43809"/>
                              <a:pt x="17703" y="43809"/>
                              <a:pt x="17822" y="43809"/>
                            </a:cubicBezTo>
                            <a:cubicBezTo>
                              <a:pt x="17942" y="43809"/>
                              <a:pt x="18002" y="43809"/>
                              <a:pt x="18121" y="43809"/>
                            </a:cubicBezTo>
                            <a:cubicBezTo>
                              <a:pt x="18720" y="43809"/>
                              <a:pt x="19318" y="43809"/>
                              <a:pt x="19916" y="43750"/>
                            </a:cubicBezTo>
                            <a:cubicBezTo>
                              <a:pt x="20514" y="43690"/>
                              <a:pt x="21112" y="43630"/>
                              <a:pt x="21710" y="43510"/>
                            </a:cubicBezTo>
                            <a:cubicBezTo>
                              <a:pt x="22308" y="43391"/>
                              <a:pt x="22906" y="43271"/>
                              <a:pt x="23504" y="43092"/>
                            </a:cubicBezTo>
                            <a:cubicBezTo>
                              <a:pt x="24102" y="42913"/>
                              <a:pt x="24700" y="42733"/>
                              <a:pt x="25238" y="42494"/>
                            </a:cubicBezTo>
                            <a:cubicBezTo>
                              <a:pt x="25358" y="42434"/>
                              <a:pt x="25478" y="42374"/>
                              <a:pt x="25597" y="42374"/>
                            </a:cubicBezTo>
                            <a:cubicBezTo>
                              <a:pt x="25717" y="42314"/>
                              <a:pt x="25836" y="42254"/>
                              <a:pt x="25956" y="42254"/>
                            </a:cubicBezTo>
                            <a:cubicBezTo>
                              <a:pt x="26076" y="42195"/>
                              <a:pt x="26196" y="42135"/>
                              <a:pt x="26315" y="42075"/>
                            </a:cubicBezTo>
                            <a:cubicBezTo>
                              <a:pt x="26435" y="42015"/>
                              <a:pt x="26554" y="41955"/>
                              <a:pt x="26674" y="41896"/>
                            </a:cubicBezTo>
                            <a:cubicBezTo>
                              <a:pt x="28109" y="41238"/>
                              <a:pt x="29425" y="40460"/>
                              <a:pt x="30741" y="39503"/>
                            </a:cubicBezTo>
                            <a:cubicBezTo>
                              <a:pt x="31997" y="38546"/>
                              <a:pt x="33253" y="37470"/>
                              <a:pt x="34329" y="36274"/>
                            </a:cubicBezTo>
                            <a:cubicBezTo>
                              <a:pt x="35406" y="35078"/>
                              <a:pt x="36422" y="33702"/>
                              <a:pt x="37260" y="32267"/>
                            </a:cubicBezTo>
                            <a:cubicBezTo>
                              <a:pt x="38097" y="30831"/>
                              <a:pt x="38875" y="29276"/>
                              <a:pt x="39413" y="27602"/>
                            </a:cubicBezTo>
                            <a:cubicBezTo>
                              <a:pt x="39891" y="26286"/>
                              <a:pt x="40250" y="24910"/>
                              <a:pt x="40429" y="23595"/>
                            </a:cubicBezTo>
                            <a:cubicBezTo>
                              <a:pt x="40669" y="22279"/>
                              <a:pt x="40788" y="20903"/>
                              <a:pt x="40788" y="19588"/>
                            </a:cubicBezTo>
                            <a:cubicBezTo>
                              <a:pt x="40788" y="18272"/>
                              <a:pt x="40669" y="16956"/>
                              <a:pt x="40489" y="15700"/>
                            </a:cubicBezTo>
                            <a:cubicBezTo>
                              <a:pt x="40250" y="14444"/>
                              <a:pt x="39951" y="13188"/>
                              <a:pt x="39532" y="12052"/>
                            </a:cubicBezTo>
                            <a:cubicBezTo>
                              <a:pt x="39473" y="11932"/>
                              <a:pt x="39473" y="11873"/>
                              <a:pt x="39413" y="11753"/>
                            </a:cubicBezTo>
                            <a:cubicBezTo>
                              <a:pt x="39353" y="11633"/>
                              <a:pt x="39353" y="11573"/>
                              <a:pt x="39293" y="11454"/>
                            </a:cubicBezTo>
                            <a:cubicBezTo>
                              <a:pt x="39234" y="11334"/>
                              <a:pt x="39234" y="11274"/>
                              <a:pt x="39174" y="11155"/>
                            </a:cubicBezTo>
                            <a:cubicBezTo>
                              <a:pt x="39114" y="11035"/>
                              <a:pt x="39114" y="10975"/>
                              <a:pt x="39054" y="10856"/>
                            </a:cubicBezTo>
                            <a:cubicBezTo>
                              <a:pt x="38815" y="10318"/>
                              <a:pt x="38575" y="9779"/>
                              <a:pt x="38276" y="9241"/>
                            </a:cubicBezTo>
                            <a:cubicBezTo>
                              <a:pt x="37977" y="8703"/>
                              <a:pt x="37678" y="8224"/>
                              <a:pt x="37380" y="7746"/>
                            </a:cubicBezTo>
                            <a:cubicBezTo>
                              <a:pt x="37021" y="7267"/>
                              <a:pt x="36721" y="6789"/>
                              <a:pt x="36303" y="6310"/>
                            </a:cubicBezTo>
                            <a:cubicBezTo>
                              <a:pt x="35944" y="5832"/>
                              <a:pt x="35526" y="5413"/>
                              <a:pt x="35107" y="4995"/>
                            </a:cubicBezTo>
                            <a:cubicBezTo>
                              <a:pt x="35047" y="4935"/>
                              <a:pt x="34987" y="4875"/>
                              <a:pt x="34927" y="4815"/>
                            </a:cubicBezTo>
                            <a:cubicBezTo>
                              <a:pt x="34867" y="4755"/>
                              <a:pt x="34807" y="4696"/>
                              <a:pt x="34748" y="4636"/>
                            </a:cubicBezTo>
                            <a:cubicBezTo>
                              <a:pt x="34688" y="4576"/>
                              <a:pt x="34628" y="4516"/>
                              <a:pt x="34568" y="4456"/>
                            </a:cubicBezTo>
                            <a:cubicBezTo>
                              <a:pt x="34509" y="4397"/>
                              <a:pt x="34449" y="4337"/>
                              <a:pt x="34389" y="4277"/>
                            </a:cubicBezTo>
                            <a:cubicBezTo>
                              <a:pt x="34389" y="4277"/>
                              <a:pt x="34389" y="4277"/>
                              <a:pt x="34329" y="4277"/>
                            </a:cubicBezTo>
                            <a:cubicBezTo>
                              <a:pt x="34329" y="4277"/>
                              <a:pt x="34329" y="4277"/>
                              <a:pt x="34269" y="4277"/>
                            </a:cubicBezTo>
                            <a:cubicBezTo>
                              <a:pt x="34269" y="4277"/>
                              <a:pt x="34269" y="4277"/>
                              <a:pt x="34210" y="4277"/>
                            </a:cubicBezTo>
                            <a:cubicBezTo>
                              <a:pt x="34210" y="4277"/>
                              <a:pt x="34210" y="4277"/>
                              <a:pt x="34150" y="4277"/>
                            </a:cubicBezTo>
                            <a:cubicBezTo>
                              <a:pt x="33911" y="4097"/>
                              <a:pt x="33671" y="3918"/>
                              <a:pt x="33492" y="3739"/>
                            </a:cubicBezTo>
                            <a:cubicBezTo>
                              <a:pt x="33253" y="3559"/>
                              <a:pt x="33013" y="3380"/>
                              <a:pt x="32774" y="3200"/>
                            </a:cubicBezTo>
                            <a:cubicBezTo>
                              <a:pt x="32535" y="3021"/>
                              <a:pt x="32296" y="2842"/>
                              <a:pt x="32057" y="2722"/>
                            </a:cubicBezTo>
                            <a:cubicBezTo>
                              <a:pt x="31817" y="2602"/>
                              <a:pt x="31578" y="2423"/>
                              <a:pt x="31279" y="2243"/>
                            </a:cubicBezTo>
                            <a:cubicBezTo>
                              <a:pt x="31219" y="2184"/>
                              <a:pt x="31099" y="2124"/>
                              <a:pt x="31040" y="2124"/>
                            </a:cubicBezTo>
                            <a:cubicBezTo>
                              <a:pt x="30980" y="2064"/>
                              <a:pt x="30860" y="2004"/>
                              <a:pt x="30801" y="2004"/>
                            </a:cubicBezTo>
                            <a:cubicBezTo>
                              <a:pt x="30741" y="1944"/>
                              <a:pt x="30621" y="1944"/>
                              <a:pt x="30561" y="1884"/>
                            </a:cubicBezTo>
                            <a:cubicBezTo>
                              <a:pt x="30502" y="1825"/>
                              <a:pt x="30382" y="1825"/>
                              <a:pt x="30322" y="1765"/>
                            </a:cubicBezTo>
                            <a:cubicBezTo>
                              <a:pt x="30143" y="1645"/>
                              <a:pt x="29904" y="1586"/>
                              <a:pt x="29724" y="1466"/>
                            </a:cubicBezTo>
                            <a:cubicBezTo>
                              <a:pt x="29545" y="1346"/>
                              <a:pt x="29305" y="1287"/>
                              <a:pt x="29126" y="1227"/>
                            </a:cubicBezTo>
                            <a:cubicBezTo>
                              <a:pt x="28946" y="1167"/>
                              <a:pt x="28707" y="1047"/>
                              <a:pt x="28468" y="988"/>
                            </a:cubicBezTo>
                            <a:cubicBezTo>
                              <a:pt x="28229" y="928"/>
                              <a:pt x="28050" y="868"/>
                              <a:pt x="27810" y="748"/>
                            </a:cubicBezTo>
                            <a:cubicBezTo>
                              <a:pt x="27750" y="748"/>
                              <a:pt x="27631" y="689"/>
                              <a:pt x="27571" y="689"/>
                            </a:cubicBezTo>
                            <a:cubicBezTo>
                              <a:pt x="27511" y="689"/>
                              <a:pt x="27391" y="629"/>
                              <a:pt x="27332" y="629"/>
                            </a:cubicBezTo>
                            <a:cubicBezTo>
                              <a:pt x="27272" y="629"/>
                              <a:pt x="27152" y="569"/>
                              <a:pt x="27092" y="569"/>
                            </a:cubicBezTo>
                            <a:cubicBezTo>
                              <a:pt x="27033" y="569"/>
                              <a:pt x="26913" y="509"/>
                              <a:pt x="26853" y="509"/>
                            </a:cubicBezTo>
                            <a:cubicBezTo>
                              <a:pt x="26734" y="509"/>
                              <a:pt x="26674" y="449"/>
                              <a:pt x="26554" y="449"/>
                            </a:cubicBezTo>
                            <a:cubicBezTo>
                              <a:pt x="26435" y="449"/>
                              <a:pt x="26375" y="389"/>
                              <a:pt x="26255" y="389"/>
                            </a:cubicBezTo>
                            <a:cubicBezTo>
                              <a:pt x="26136" y="389"/>
                              <a:pt x="26076" y="329"/>
                              <a:pt x="25956" y="329"/>
                            </a:cubicBezTo>
                            <a:cubicBezTo>
                              <a:pt x="25836" y="329"/>
                              <a:pt x="25777" y="270"/>
                              <a:pt x="25657" y="270"/>
                            </a:cubicBezTo>
                            <a:cubicBezTo>
                              <a:pt x="23145" y="-149"/>
                              <a:pt x="20633" y="-89"/>
                              <a:pt x="18181" y="509"/>
                            </a:cubicBezTo>
                            <a:cubicBezTo>
                              <a:pt x="15729" y="1047"/>
                              <a:pt x="13337" y="2124"/>
                              <a:pt x="11184" y="3559"/>
                            </a:cubicBezTo>
                            <a:cubicBezTo>
                              <a:pt x="8971" y="4995"/>
                              <a:pt x="6997" y="6849"/>
                              <a:pt x="5323" y="9002"/>
                            </a:cubicBezTo>
                            <a:cubicBezTo>
                              <a:pt x="3648" y="11155"/>
                              <a:pt x="2273" y="13667"/>
                              <a:pt x="1375" y="16418"/>
                            </a:cubicBezTo>
                            <a:cubicBezTo>
                              <a:pt x="957" y="17734"/>
                              <a:pt x="598" y="18990"/>
                              <a:pt x="359" y="20305"/>
                            </a:cubicBezTo>
                            <a:cubicBezTo>
                              <a:pt x="119" y="21621"/>
                              <a:pt x="0" y="22877"/>
                              <a:pt x="0" y="24133"/>
                            </a:cubicBezTo>
                            <a:cubicBezTo>
                              <a:pt x="0" y="25389"/>
                              <a:pt x="60" y="26645"/>
                              <a:pt x="299" y="27901"/>
                            </a:cubicBezTo>
                            <a:cubicBezTo>
                              <a:pt x="478" y="29097"/>
                              <a:pt x="778" y="30293"/>
                              <a:pt x="1196" y="31429"/>
                            </a:cubicBezTo>
                            <a:cubicBezTo>
                              <a:pt x="1256" y="31549"/>
                              <a:pt x="1316" y="31669"/>
                              <a:pt x="1316" y="31788"/>
                            </a:cubicBezTo>
                            <a:cubicBezTo>
                              <a:pt x="1375" y="31908"/>
                              <a:pt x="1435" y="32028"/>
                              <a:pt x="1435" y="32147"/>
                            </a:cubicBezTo>
                            <a:cubicBezTo>
                              <a:pt x="1495" y="32267"/>
                              <a:pt x="1555" y="32386"/>
                              <a:pt x="1615" y="32506"/>
                            </a:cubicBezTo>
                            <a:cubicBezTo>
                              <a:pt x="1674" y="32625"/>
                              <a:pt x="1734" y="32745"/>
                              <a:pt x="1794" y="32865"/>
                            </a:cubicBezTo>
                            <a:cubicBezTo>
                              <a:pt x="2093" y="33523"/>
                              <a:pt x="2392" y="34121"/>
                              <a:pt x="2751" y="34719"/>
                            </a:cubicBezTo>
                            <a:cubicBezTo>
                              <a:pt x="3110" y="35317"/>
                              <a:pt x="3469" y="35915"/>
                              <a:pt x="3887" y="36453"/>
                            </a:cubicBezTo>
                            <a:cubicBezTo>
                              <a:pt x="4306" y="36991"/>
                              <a:pt x="4725" y="37530"/>
                              <a:pt x="5203" y="38068"/>
                            </a:cubicBezTo>
                            <a:cubicBezTo>
                              <a:pt x="5681" y="38666"/>
                              <a:pt x="6160" y="39145"/>
                              <a:pt x="6698" y="39623"/>
                            </a:cubicBezTo>
                          </a:path>
                        </a:pathLst>
                      </a:custGeom>
                      <a:noFill/>
                      <a:ln w="6350" cap="flat">
                        <a:solidFill>
                          <a:schemeClr val="bg1">
                            <a:alpha val="40000"/>
                          </a:schemeClr>
                        </a:solidFill>
                        <a:prstDash val="solid"/>
                        <a:miter/>
                      </a:ln>
                    </p:spPr>
                    <p:txBody>
                      <a:bodyPr rtlCol="0" anchor="ctr"/>
                      <a:lstStyle/>
                      <a:p>
                        <a:endParaRPr lang="en-GB"/>
                      </a:p>
                    </p:txBody>
                  </p:sp>
                  <p:sp>
                    <p:nvSpPr>
                      <p:cNvPr id="7481" name="Vrije vorm: vorm 7480">
                        <a:extLst>
                          <a:ext uri="{FF2B5EF4-FFF2-40B4-BE49-F238E27FC236}">
                            <a16:creationId xmlns:a16="http://schemas.microsoft.com/office/drawing/2014/main" id="{42399B1A-9F8F-43E0-8E23-4DBADB1B9736}"/>
                          </a:ext>
                        </a:extLst>
                      </p:cNvPr>
                      <p:cNvSpPr/>
                      <p:nvPr/>
                    </p:nvSpPr>
                    <p:spPr>
                      <a:xfrm>
                        <a:off x="5039525" y="4936051"/>
                        <a:ext cx="40436" cy="43595"/>
                      </a:xfrm>
                      <a:custGeom>
                        <a:avLst/>
                        <a:gdLst>
                          <a:gd name="connsiteX0" fmla="*/ 33403 w 40436"/>
                          <a:gd name="connsiteY0" fmla="*/ 5440 h 43595"/>
                          <a:gd name="connsiteX1" fmla="*/ 36872 w 40436"/>
                          <a:gd name="connsiteY1" fmla="*/ 9746 h 43595"/>
                          <a:gd name="connsiteX2" fmla="*/ 38905 w 40436"/>
                          <a:gd name="connsiteY2" fmla="*/ 15069 h 43595"/>
                          <a:gd name="connsiteX3" fmla="*/ 39384 w 40436"/>
                          <a:gd name="connsiteY3" fmla="*/ 20990 h 43595"/>
                          <a:gd name="connsiteX4" fmla="*/ 38128 w 40436"/>
                          <a:gd name="connsiteY4" fmla="*/ 27150 h 43595"/>
                          <a:gd name="connsiteX5" fmla="*/ 34121 w 40436"/>
                          <a:gd name="connsiteY5" fmla="*/ 34387 h 43595"/>
                          <a:gd name="connsiteX6" fmla="*/ 28200 w 40436"/>
                          <a:gd name="connsiteY6" fmla="*/ 39530 h 43595"/>
                          <a:gd name="connsiteX7" fmla="*/ 21083 w 40436"/>
                          <a:gd name="connsiteY7" fmla="*/ 42102 h 43595"/>
                          <a:gd name="connsiteX8" fmla="*/ 13607 w 40436"/>
                          <a:gd name="connsiteY8" fmla="*/ 41684 h 43595"/>
                          <a:gd name="connsiteX9" fmla="*/ 11932 w 40436"/>
                          <a:gd name="connsiteY9" fmla="*/ 41085 h 43595"/>
                          <a:gd name="connsiteX10" fmla="*/ 10318 w 40436"/>
                          <a:gd name="connsiteY10" fmla="*/ 40308 h 43595"/>
                          <a:gd name="connsiteX11" fmla="*/ 8822 w 40436"/>
                          <a:gd name="connsiteY11" fmla="*/ 39351 h 43595"/>
                          <a:gd name="connsiteX12" fmla="*/ 7447 w 40436"/>
                          <a:gd name="connsiteY12" fmla="*/ 38274 h 43595"/>
                          <a:gd name="connsiteX13" fmla="*/ 3918 w 40436"/>
                          <a:gd name="connsiteY13" fmla="*/ 34028 h 43595"/>
                          <a:gd name="connsiteX14" fmla="*/ 1765 w 40436"/>
                          <a:gd name="connsiteY14" fmla="*/ 28765 h 43595"/>
                          <a:gd name="connsiteX15" fmla="*/ 1227 w 40436"/>
                          <a:gd name="connsiteY15" fmla="*/ 22784 h 43595"/>
                          <a:gd name="connsiteX16" fmla="*/ 2423 w 40436"/>
                          <a:gd name="connsiteY16" fmla="*/ 16505 h 43595"/>
                          <a:gd name="connsiteX17" fmla="*/ 6490 w 40436"/>
                          <a:gd name="connsiteY17" fmla="*/ 9148 h 43595"/>
                          <a:gd name="connsiteX18" fmla="*/ 12530 w 40436"/>
                          <a:gd name="connsiteY18" fmla="*/ 3945 h 43595"/>
                          <a:gd name="connsiteX19" fmla="*/ 19707 w 40436"/>
                          <a:gd name="connsiteY19" fmla="*/ 1373 h 43595"/>
                          <a:gd name="connsiteX20" fmla="*/ 27243 w 40436"/>
                          <a:gd name="connsiteY20" fmla="*/ 1912 h 43595"/>
                          <a:gd name="connsiteX21" fmla="*/ 28918 w 40436"/>
                          <a:gd name="connsiteY21" fmla="*/ 2569 h 43595"/>
                          <a:gd name="connsiteX22" fmla="*/ 30532 w 40436"/>
                          <a:gd name="connsiteY22" fmla="*/ 3347 h 43595"/>
                          <a:gd name="connsiteX23" fmla="*/ 32028 w 40436"/>
                          <a:gd name="connsiteY23" fmla="*/ 4304 h 43595"/>
                          <a:gd name="connsiteX24" fmla="*/ 33403 w 40436"/>
                          <a:gd name="connsiteY24" fmla="*/ 5440 h 43595"/>
                          <a:gd name="connsiteX25" fmla="*/ 6669 w 40436"/>
                          <a:gd name="connsiteY25" fmla="*/ 39411 h 43595"/>
                          <a:gd name="connsiteX26" fmla="*/ 8105 w 40436"/>
                          <a:gd name="connsiteY26" fmla="*/ 40547 h 43595"/>
                          <a:gd name="connsiteX27" fmla="*/ 9659 w 40436"/>
                          <a:gd name="connsiteY27" fmla="*/ 41504 h 43595"/>
                          <a:gd name="connsiteX28" fmla="*/ 11334 w 40436"/>
                          <a:gd name="connsiteY28" fmla="*/ 42281 h 43595"/>
                          <a:gd name="connsiteX29" fmla="*/ 13128 w 40436"/>
                          <a:gd name="connsiteY29" fmla="*/ 42879 h 43595"/>
                          <a:gd name="connsiteX30" fmla="*/ 21023 w 40436"/>
                          <a:gd name="connsiteY30" fmla="*/ 43358 h 43595"/>
                          <a:gd name="connsiteX31" fmla="*/ 28499 w 40436"/>
                          <a:gd name="connsiteY31" fmla="*/ 40607 h 43595"/>
                          <a:gd name="connsiteX32" fmla="*/ 34778 w 40436"/>
                          <a:gd name="connsiteY32" fmla="*/ 35164 h 43595"/>
                          <a:gd name="connsiteX33" fmla="*/ 39085 w 40436"/>
                          <a:gd name="connsiteY33" fmla="*/ 27449 h 43595"/>
                          <a:gd name="connsiteX34" fmla="*/ 40400 w 40436"/>
                          <a:gd name="connsiteY34" fmla="*/ 20930 h 43595"/>
                          <a:gd name="connsiteX35" fmla="*/ 39922 w 40436"/>
                          <a:gd name="connsiteY35" fmla="*/ 14651 h 43595"/>
                          <a:gd name="connsiteX36" fmla="*/ 37769 w 40436"/>
                          <a:gd name="connsiteY36" fmla="*/ 9029 h 43595"/>
                          <a:gd name="connsiteX37" fmla="*/ 34061 w 40436"/>
                          <a:gd name="connsiteY37" fmla="*/ 4423 h 43595"/>
                          <a:gd name="connsiteX38" fmla="*/ 32626 w 40436"/>
                          <a:gd name="connsiteY38" fmla="*/ 3287 h 43595"/>
                          <a:gd name="connsiteX39" fmla="*/ 31070 w 40436"/>
                          <a:gd name="connsiteY39" fmla="*/ 2270 h 43595"/>
                          <a:gd name="connsiteX40" fmla="*/ 29396 w 40436"/>
                          <a:gd name="connsiteY40" fmla="*/ 1433 h 43595"/>
                          <a:gd name="connsiteX41" fmla="*/ 27602 w 40436"/>
                          <a:gd name="connsiteY41" fmla="*/ 775 h 43595"/>
                          <a:gd name="connsiteX42" fmla="*/ 19647 w 40436"/>
                          <a:gd name="connsiteY42" fmla="*/ 177 h 43595"/>
                          <a:gd name="connsiteX43" fmla="*/ 11992 w 40436"/>
                          <a:gd name="connsiteY43" fmla="*/ 2868 h 43595"/>
                          <a:gd name="connsiteX44" fmla="*/ 5593 w 40436"/>
                          <a:gd name="connsiteY44" fmla="*/ 8431 h 43595"/>
                          <a:gd name="connsiteX45" fmla="*/ 1287 w 40436"/>
                          <a:gd name="connsiteY45" fmla="*/ 16265 h 43595"/>
                          <a:gd name="connsiteX46" fmla="*/ 31 w 40436"/>
                          <a:gd name="connsiteY46" fmla="*/ 22904 h 43595"/>
                          <a:gd name="connsiteX47" fmla="*/ 629 w 40436"/>
                          <a:gd name="connsiteY47" fmla="*/ 29244 h 43595"/>
                          <a:gd name="connsiteX48" fmla="*/ 2901 w 40436"/>
                          <a:gd name="connsiteY48" fmla="*/ 34865 h 43595"/>
                          <a:gd name="connsiteX49" fmla="*/ 6669 w 40436"/>
                          <a:gd name="connsiteY49" fmla="*/ 39411 h 4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436" h="43595">
                            <a:moveTo>
                              <a:pt x="33403" y="5440"/>
                            </a:moveTo>
                            <a:cubicBezTo>
                              <a:pt x="34778" y="6696"/>
                              <a:pt x="35975" y="8131"/>
                              <a:pt x="36872" y="9746"/>
                            </a:cubicBezTo>
                            <a:cubicBezTo>
                              <a:pt x="37769" y="11361"/>
                              <a:pt x="38487" y="13155"/>
                              <a:pt x="38905" y="15069"/>
                            </a:cubicBezTo>
                            <a:cubicBezTo>
                              <a:pt x="39324" y="16983"/>
                              <a:pt x="39504" y="18956"/>
                              <a:pt x="39384" y="20990"/>
                            </a:cubicBezTo>
                            <a:cubicBezTo>
                              <a:pt x="39264" y="23024"/>
                              <a:pt x="38845" y="25117"/>
                              <a:pt x="38128" y="27150"/>
                            </a:cubicBezTo>
                            <a:cubicBezTo>
                              <a:pt x="37171" y="29841"/>
                              <a:pt x="35795" y="32294"/>
                              <a:pt x="34121" y="34387"/>
                            </a:cubicBezTo>
                            <a:cubicBezTo>
                              <a:pt x="32446" y="36480"/>
                              <a:pt x="30413" y="38215"/>
                              <a:pt x="28200" y="39530"/>
                            </a:cubicBezTo>
                            <a:cubicBezTo>
                              <a:pt x="25987" y="40846"/>
                              <a:pt x="23595" y="41743"/>
                              <a:pt x="21083" y="42102"/>
                            </a:cubicBezTo>
                            <a:cubicBezTo>
                              <a:pt x="18630" y="42461"/>
                              <a:pt x="16059" y="42401"/>
                              <a:pt x="13607" y="41684"/>
                            </a:cubicBezTo>
                            <a:cubicBezTo>
                              <a:pt x="13009" y="41504"/>
                              <a:pt x="12471" y="41325"/>
                              <a:pt x="11932" y="41085"/>
                            </a:cubicBezTo>
                            <a:cubicBezTo>
                              <a:pt x="11394" y="40846"/>
                              <a:pt x="10856" y="40607"/>
                              <a:pt x="10318" y="40308"/>
                            </a:cubicBezTo>
                            <a:cubicBezTo>
                              <a:pt x="9779" y="40009"/>
                              <a:pt x="9301" y="39710"/>
                              <a:pt x="8822" y="39351"/>
                            </a:cubicBezTo>
                            <a:cubicBezTo>
                              <a:pt x="8344" y="38992"/>
                              <a:pt x="7865" y="38633"/>
                              <a:pt x="7447" y="38274"/>
                            </a:cubicBezTo>
                            <a:cubicBezTo>
                              <a:pt x="6071" y="37078"/>
                              <a:pt x="4875" y="35643"/>
                              <a:pt x="3918" y="34028"/>
                            </a:cubicBezTo>
                            <a:cubicBezTo>
                              <a:pt x="2961" y="32413"/>
                              <a:pt x="2243" y="30619"/>
                              <a:pt x="1765" y="28765"/>
                            </a:cubicBezTo>
                            <a:cubicBezTo>
                              <a:pt x="1287" y="26851"/>
                              <a:pt x="1107" y="24878"/>
                              <a:pt x="1227" y="22784"/>
                            </a:cubicBezTo>
                            <a:cubicBezTo>
                              <a:pt x="1346" y="20751"/>
                              <a:pt x="1705" y="18598"/>
                              <a:pt x="2423" y="16505"/>
                            </a:cubicBezTo>
                            <a:cubicBezTo>
                              <a:pt x="3380" y="13753"/>
                              <a:pt x="4755" y="11241"/>
                              <a:pt x="6490" y="9148"/>
                            </a:cubicBezTo>
                            <a:cubicBezTo>
                              <a:pt x="8224" y="7055"/>
                              <a:pt x="10258" y="5261"/>
                              <a:pt x="12530" y="3945"/>
                            </a:cubicBezTo>
                            <a:cubicBezTo>
                              <a:pt x="14803" y="2629"/>
                              <a:pt x="17255" y="1732"/>
                              <a:pt x="19707" y="1373"/>
                            </a:cubicBezTo>
                            <a:cubicBezTo>
                              <a:pt x="22219" y="1014"/>
                              <a:pt x="24731" y="1194"/>
                              <a:pt x="27243" y="1912"/>
                            </a:cubicBezTo>
                            <a:cubicBezTo>
                              <a:pt x="27841" y="2091"/>
                              <a:pt x="28379" y="2330"/>
                              <a:pt x="28918" y="2569"/>
                            </a:cubicBezTo>
                            <a:cubicBezTo>
                              <a:pt x="29456" y="2809"/>
                              <a:pt x="29994" y="3048"/>
                              <a:pt x="30532" y="3347"/>
                            </a:cubicBezTo>
                            <a:cubicBezTo>
                              <a:pt x="31070" y="3646"/>
                              <a:pt x="31549" y="3945"/>
                              <a:pt x="32028" y="4304"/>
                            </a:cubicBezTo>
                            <a:cubicBezTo>
                              <a:pt x="32506" y="4663"/>
                              <a:pt x="32984" y="5082"/>
                              <a:pt x="33403" y="5440"/>
                            </a:cubicBezTo>
                            <a:moveTo>
                              <a:pt x="6669" y="39411"/>
                            </a:moveTo>
                            <a:cubicBezTo>
                              <a:pt x="7148" y="39830"/>
                              <a:pt x="7626" y="40188"/>
                              <a:pt x="8105" y="40547"/>
                            </a:cubicBezTo>
                            <a:cubicBezTo>
                              <a:pt x="8583" y="40906"/>
                              <a:pt x="9121" y="41205"/>
                              <a:pt x="9659" y="41504"/>
                            </a:cubicBezTo>
                            <a:cubicBezTo>
                              <a:pt x="10198" y="41803"/>
                              <a:pt x="10796" y="42042"/>
                              <a:pt x="11334" y="42281"/>
                            </a:cubicBezTo>
                            <a:cubicBezTo>
                              <a:pt x="11932" y="42521"/>
                              <a:pt x="12530" y="42700"/>
                              <a:pt x="13128" y="42879"/>
                            </a:cubicBezTo>
                            <a:cubicBezTo>
                              <a:pt x="15760" y="43657"/>
                              <a:pt x="18391" y="43777"/>
                              <a:pt x="21023" y="43358"/>
                            </a:cubicBezTo>
                            <a:cubicBezTo>
                              <a:pt x="23654" y="42939"/>
                              <a:pt x="26166" y="41982"/>
                              <a:pt x="28499" y="40607"/>
                            </a:cubicBezTo>
                            <a:cubicBezTo>
                              <a:pt x="30831" y="39231"/>
                              <a:pt x="32984" y="37377"/>
                              <a:pt x="34778" y="35164"/>
                            </a:cubicBezTo>
                            <a:cubicBezTo>
                              <a:pt x="36573" y="32952"/>
                              <a:pt x="38068" y="30380"/>
                              <a:pt x="39085" y="27449"/>
                            </a:cubicBezTo>
                            <a:cubicBezTo>
                              <a:pt x="39862" y="25237"/>
                              <a:pt x="40281" y="23083"/>
                              <a:pt x="40400" y="20930"/>
                            </a:cubicBezTo>
                            <a:cubicBezTo>
                              <a:pt x="40520" y="18777"/>
                              <a:pt x="40341" y="16684"/>
                              <a:pt x="39922" y="14651"/>
                            </a:cubicBezTo>
                            <a:cubicBezTo>
                              <a:pt x="39444" y="12677"/>
                              <a:pt x="38726" y="10763"/>
                              <a:pt x="37769" y="9029"/>
                            </a:cubicBezTo>
                            <a:cubicBezTo>
                              <a:pt x="36812" y="7294"/>
                              <a:pt x="35556" y="5739"/>
                              <a:pt x="34061" y="4423"/>
                            </a:cubicBezTo>
                            <a:cubicBezTo>
                              <a:pt x="33582" y="4005"/>
                              <a:pt x="33104" y="3646"/>
                              <a:pt x="32626" y="3287"/>
                            </a:cubicBezTo>
                            <a:cubicBezTo>
                              <a:pt x="32147" y="2928"/>
                              <a:pt x="31609" y="2569"/>
                              <a:pt x="31070" y="2270"/>
                            </a:cubicBezTo>
                            <a:cubicBezTo>
                              <a:pt x="30532" y="1971"/>
                              <a:pt x="29994" y="1672"/>
                              <a:pt x="29396" y="1433"/>
                            </a:cubicBezTo>
                            <a:cubicBezTo>
                              <a:pt x="28798" y="1194"/>
                              <a:pt x="28200" y="955"/>
                              <a:pt x="27602" y="775"/>
                            </a:cubicBezTo>
                            <a:cubicBezTo>
                              <a:pt x="24970" y="-2"/>
                              <a:pt x="22279" y="-182"/>
                              <a:pt x="19647" y="177"/>
                            </a:cubicBezTo>
                            <a:cubicBezTo>
                              <a:pt x="17016" y="536"/>
                              <a:pt x="14384" y="1493"/>
                              <a:pt x="11992" y="2868"/>
                            </a:cubicBezTo>
                            <a:cubicBezTo>
                              <a:pt x="9600" y="4244"/>
                              <a:pt x="7387" y="6158"/>
                              <a:pt x="5593" y="8431"/>
                            </a:cubicBezTo>
                            <a:cubicBezTo>
                              <a:pt x="3739" y="10703"/>
                              <a:pt x="2243" y="13335"/>
                              <a:pt x="1287" y="16265"/>
                            </a:cubicBezTo>
                            <a:cubicBezTo>
                              <a:pt x="509" y="18478"/>
                              <a:pt x="90" y="20751"/>
                              <a:pt x="31" y="22904"/>
                            </a:cubicBezTo>
                            <a:cubicBezTo>
                              <a:pt x="-89" y="25117"/>
                              <a:pt x="150" y="27210"/>
                              <a:pt x="629" y="29244"/>
                            </a:cubicBezTo>
                            <a:cubicBezTo>
                              <a:pt x="1107" y="31277"/>
                              <a:pt x="1885" y="33131"/>
                              <a:pt x="2901" y="34865"/>
                            </a:cubicBezTo>
                            <a:cubicBezTo>
                              <a:pt x="3918" y="36600"/>
                              <a:pt x="5174" y="38095"/>
                              <a:pt x="6669" y="39411"/>
                            </a:cubicBezTo>
                          </a:path>
                        </a:pathLst>
                      </a:custGeom>
                      <a:noFill/>
                      <a:ln w="6350" cap="flat">
                        <a:solidFill>
                          <a:schemeClr val="bg1">
                            <a:alpha val="40000"/>
                          </a:schemeClr>
                        </a:solidFill>
                        <a:prstDash val="solid"/>
                        <a:miter/>
                      </a:ln>
                    </p:spPr>
                    <p:txBody>
                      <a:bodyPr rtlCol="0" anchor="ctr"/>
                      <a:lstStyle/>
                      <a:p>
                        <a:endParaRPr lang="en-GB"/>
                      </a:p>
                    </p:txBody>
                  </p:sp>
                  <p:sp>
                    <p:nvSpPr>
                      <p:cNvPr id="7482" name="Vrije vorm: vorm 7481">
                        <a:extLst>
                          <a:ext uri="{FF2B5EF4-FFF2-40B4-BE49-F238E27FC236}">
                            <a16:creationId xmlns:a16="http://schemas.microsoft.com/office/drawing/2014/main" id="{3D3EFF4F-5FD0-43C4-B5C1-7EFA627FA872}"/>
                          </a:ext>
                        </a:extLst>
                      </p:cNvPr>
                      <p:cNvSpPr/>
                      <p:nvPr/>
                    </p:nvSpPr>
                    <p:spPr>
                      <a:xfrm>
                        <a:off x="5042725" y="4949901"/>
                        <a:ext cx="6997" cy="7678"/>
                      </a:xfrm>
                      <a:custGeom>
                        <a:avLst/>
                        <a:gdLst>
                          <a:gd name="connsiteX0" fmla="*/ 2512 w 6997"/>
                          <a:gd name="connsiteY0" fmla="*/ 6423 h 7678"/>
                          <a:gd name="connsiteX1" fmla="*/ 1914 w 6997"/>
                          <a:gd name="connsiteY1" fmla="*/ 6124 h 7678"/>
                          <a:gd name="connsiteX2" fmla="*/ 1495 w 6997"/>
                          <a:gd name="connsiteY2" fmla="*/ 5586 h 7678"/>
                          <a:gd name="connsiteX3" fmla="*/ 1256 w 6997"/>
                          <a:gd name="connsiteY3" fmla="*/ 4928 h 7678"/>
                          <a:gd name="connsiteX4" fmla="*/ 1196 w 6997"/>
                          <a:gd name="connsiteY4" fmla="*/ 4210 h 7678"/>
                          <a:gd name="connsiteX5" fmla="*/ 1375 w 6997"/>
                          <a:gd name="connsiteY5" fmla="*/ 3433 h 7678"/>
                          <a:gd name="connsiteX6" fmla="*/ 1854 w 6997"/>
                          <a:gd name="connsiteY6" fmla="*/ 2535 h 7678"/>
                          <a:gd name="connsiteX7" fmla="*/ 2572 w 6997"/>
                          <a:gd name="connsiteY7" fmla="*/ 1877 h 7678"/>
                          <a:gd name="connsiteX8" fmla="*/ 3469 w 6997"/>
                          <a:gd name="connsiteY8" fmla="*/ 1579 h 7678"/>
                          <a:gd name="connsiteX9" fmla="*/ 4426 w 6997"/>
                          <a:gd name="connsiteY9" fmla="*/ 1638 h 7678"/>
                          <a:gd name="connsiteX10" fmla="*/ 4486 w 6997"/>
                          <a:gd name="connsiteY10" fmla="*/ 1638 h 7678"/>
                          <a:gd name="connsiteX11" fmla="*/ 4545 w 6997"/>
                          <a:gd name="connsiteY11" fmla="*/ 1638 h 7678"/>
                          <a:gd name="connsiteX12" fmla="*/ 4605 w 6997"/>
                          <a:gd name="connsiteY12" fmla="*/ 1638 h 7678"/>
                          <a:gd name="connsiteX13" fmla="*/ 4665 w 6997"/>
                          <a:gd name="connsiteY13" fmla="*/ 1638 h 7678"/>
                          <a:gd name="connsiteX14" fmla="*/ 4785 w 6997"/>
                          <a:gd name="connsiteY14" fmla="*/ 1698 h 7678"/>
                          <a:gd name="connsiteX15" fmla="*/ 4904 w 6997"/>
                          <a:gd name="connsiteY15" fmla="*/ 1758 h 7678"/>
                          <a:gd name="connsiteX16" fmla="*/ 5024 w 6997"/>
                          <a:gd name="connsiteY16" fmla="*/ 1877 h 7678"/>
                          <a:gd name="connsiteX17" fmla="*/ 5143 w 6997"/>
                          <a:gd name="connsiteY17" fmla="*/ 1997 h 7678"/>
                          <a:gd name="connsiteX18" fmla="*/ 5323 w 6997"/>
                          <a:gd name="connsiteY18" fmla="*/ 2176 h 7678"/>
                          <a:gd name="connsiteX19" fmla="*/ 5502 w 6997"/>
                          <a:gd name="connsiteY19" fmla="*/ 2356 h 7678"/>
                          <a:gd name="connsiteX20" fmla="*/ 5622 w 6997"/>
                          <a:gd name="connsiteY20" fmla="*/ 2535 h 7678"/>
                          <a:gd name="connsiteX21" fmla="*/ 5741 w 6997"/>
                          <a:gd name="connsiteY21" fmla="*/ 2775 h 7678"/>
                          <a:gd name="connsiteX22" fmla="*/ 5801 w 6997"/>
                          <a:gd name="connsiteY22" fmla="*/ 2894 h 7678"/>
                          <a:gd name="connsiteX23" fmla="*/ 5861 w 6997"/>
                          <a:gd name="connsiteY23" fmla="*/ 3014 h 7678"/>
                          <a:gd name="connsiteX24" fmla="*/ 5921 w 6997"/>
                          <a:gd name="connsiteY24" fmla="*/ 3193 h 7678"/>
                          <a:gd name="connsiteX25" fmla="*/ 5981 w 6997"/>
                          <a:gd name="connsiteY25" fmla="*/ 3373 h 7678"/>
                          <a:gd name="connsiteX26" fmla="*/ 6040 w 6997"/>
                          <a:gd name="connsiteY26" fmla="*/ 3672 h 7678"/>
                          <a:gd name="connsiteX27" fmla="*/ 6040 w 6997"/>
                          <a:gd name="connsiteY27" fmla="*/ 4030 h 7678"/>
                          <a:gd name="connsiteX28" fmla="*/ 5981 w 6997"/>
                          <a:gd name="connsiteY28" fmla="*/ 4389 h 7678"/>
                          <a:gd name="connsiteX29" fmla="*/ 5861 w 6997"/>
                          <a:gd name="connsiteY29" fmla="*/ 4748 h 7678"/>
                          <a:gd name="connsiteX30" fmla="*/ 5622 w 6997"/>
                          <a:gd name="connsiteY30" fmla="*/ 5227 h 7678"/>
                          <a:gd name="connsiteX31" fmla="*/ 5323 w 6997"/>
                          <a:gd name="connsiteY31" fmla="*/ 5645 h 7678"/>
                          <a:gd name="connsiteX32" fmla="*/ 4964 w 6997"/>
                          <a:gd name="connsiteY32" fmla="*/ 6004 h 7678"/>
                          <a:gd name="connsiteX33" fmla="*/ 4605 w 6997"/>
                          <a:gd name="connsiteY33" fmla="*/ 6303 h 7678"/>
                          <a:gd name="connsiteX34" fmla="*/ 4426 w 6997"/>
                          <a:gd name="connsiteY34" fmla="*/ 6423 h 7678"/>
                          <a:gd name="connsiteX35" fmla="*/ 4246 w 6997"/>
                          <a:gd name="connsiteY35" fmla="*/ 6483 h 7678"/>
                          <a:gd name="connsiteX36" fmla="*/ 4067 w 6997"/>
                          <a:gd name="connsiteY36" fmla="*/ 6543 h 7678"/>
                          <a:gd name="connsiteX37" fmla="*/ 3887 w 6997"/>
                          <a:gd name="connsiteY37" fmla="*/ 6602 h 7678"/>
                          <a:gd name="connsiteX38" fmla="*/ 3648 w 6997"/>
                          <a:gd name="connsiteY38" fmla="*/ 6662 h 7678"/>
                          <a:gd name="connsiteX39" fmla="*/ 3409 w 6997"/>
                          <a:gd name="connsiteY39" fmla="*/ 6662 h 7678"/>
                          <a:gd name="connsiteX40" fmla="*/ 3170 w 6997"/>
                          <a:gd name="connsiteY40" fmla="*/ 6602 h 7678"/>
                          <a:gd name="connsiteX41" fmla="*/ 2930 w 6997"/>
                          <a:gd name="connsiteY41" fmla="*/ 6543 h 7678"/>
                          <a:gd name="connsiteX42" fmla="*/ 2512 w 6997"/>
                          <a:gd name="connsiteY42" fmla="*/ 6423 h 7678"/>
                          <a:gd name="connsiteX43" fmla="*/ 1076 w 6997"/>
                          <a:gd name="connsiteY43" fmla="*/ 7021 h 7678"/>
                          <a:gd name="connsiteX44" fmla="*/ 1256 w 6997"/>
                          <a:gd name="connsiteY44" fmla="*/ 7200 h 7678"/>
                          <a:gd name="connsiteX45" fmla="*/ 1495 w 6997"/>
                          <a:gd name="connsiteY45" fmla="*/ 7320 h 7678"/>
                          <a:gd name="connsiteX46" fmla="*/ 1734 w 6997"/>
                          <a:gd name="connsiteY46" fmla="*/ 7440 h 7678"/>
                          <a:gd name="connsiteX47" fmla="*/ 1973 w 6997"/>
                          <a:gd name="connsiteY47" fmla="*/ 7559 h 7678"/>
                          <a:gd name="connsiteX48" fmla="*/ 2033 w 6997"/>
                          <a:gd name="connsiteY48" fmla="*/ 7559 h 7678"/>
                          <a:gd name="connsiteX49" fmla="*/ 2093 w 6997"/>
                          <a:gd name="connsiteY49" fmla="*/ 7559 h 7678"/>
                          <a:gd name="connsiteX50" fmla="*/ 2153 w 6997"/>
                          <a:gd name="connsiteY50" fmla="*/ 7559 h 7678"/>
                          <a:gd name="connsiteX51" fmla="*/ 2213 w 6997"/>
                          <a:gd name="connsiteY51" fmla="*/ 7559 h 7678"/>
                          <a:gd name="connsiteX52" fmla="*/ 2452 w 6997"/>
                          <a:gd name="connsiteY52" fmla="*/ 7619 h 7678"/>
                          <a:gd name="connsiteX53" fmla="*/ 2691 w 6997"/>
                          <a:gd name="connsiteY53" fmla="*/ 7679 h 7678"/>
                          <a:gd name="connsiteX54" fmla="*/ 2930 w 6997"/>
                          <a:gd name="connsiteY54" fmla="*/ 7679 h 7678"/>
                          <a:gd name="connsiteX55" fmla="*/ 3170 w 6997"/>
                          <a:gd name="connsiteY55" fmla="*/ 7679 h 7678"/>
                          <a:gd name="connsiteX56" fmla="*/ 3648 w 6997"/>
                          <a:gd name="connsiteY56" fmla="*/ 7619 h 7678"/>
                          <a:gd name="connsiteX57" fmla="*/ 4127 w 6997"/>
                          <a:gd name="connsiteY57" fmla="*/ 7499 h 7678"/>
                          <a:gd name="connsiteX58" fmla="*/ 4545 w 6997"/>
                          <a:gd name="connsiteY58" fmla="*/ 7320 h 7678"/>
                          <a:gd name="connsiteX59" fmla="*/ 4964 w 6997"/>
                          <a:gd name="connsiteY59" fmla="*/ 7081 h 7678"/>
                          <a:gd name="connsiteX60" fmla="*/ 5562 w 6997"/>
                          <a:gd name="connsiteY60" fmla="*/ 6662 h 7678"/>
                          <a:gd name="connsiteX61" fmla="*/ 6100 w 6997"/>
                          <a:gd name="connsiteY61" fmla="*/ 6124 h 7678"/>
                          <a:gd name="connsiteX62" fmla="*/ 6519 w 6997"/>
                          <a:gd name="connsiteY62" fmla="*/ 5526 h 7678"/>
                          <a:gd name="connsiteX63" fmla="*/ 6818 w 6997"/>
                          <a:gd name="connsiteY63" fmla="*/ 4808 h 7678"/>
                          <a:gd name="connsiteX64" fmla="*/ 6878 w 6997"/>
                          <a:gd name="connsiteY64" fmla="*/ 4509 h 7678"/>
                          <a:gd name="connsiteX65" fmla="*/ 6937 w 6997"/>
                          <a:gd name="connsiteY65" fmla="*/ 4210 h 7678"/>
                          <a:gd name="connsiteX66" fmla="*/ 6997 w 6997"/>
                          <a:gd name="connsiteY66" fmla="*/ 3911 h 7678"/>
                          <a:gd name="connsiteX67" fmla="*/ 6997 w 6997"/>
                          <a:gd name="connsiteY67" fmla="*/ 3612 h 7678"/>
                          <a:gd name="connsiteX68" fmla="*/ 6997 w 6997"/>
                          <a:gd name="connsiteY68" fmla="*/ 3253 h 7678"/>
                          <a:gd name="connsiteX69" fmla="*/ 6937 w 6997"/>
                          <a:gd name="connsiteY69" fmla="*/ 2894 h 7678"/>
                          <a:gd name="connsiteX70" fmla="*/ 6878 w 6997"/>
                          <a:gd name="connsiteY70" fmla="*/ 2535 h 7678"/>
                          <a:gd name="connsiteX71" fmla="*/ 6758 w 6997"/>
                          <a:gd name="connsiteY71" fmla="*/ 2176 h 7678"/>
                          <a:gd name="connsiteX72" fmla="*/ 6758 w 6997"/>
                          <a:gd name="connsiteY72" fmla="*/ 2117 h 7678"/>
                          <a:gd name="connsiteX73" fmla="*/ 6758 w 6997"/>
                          <a:gd name="connsiteY73" fmla="*/ 2057 h 7678"/>
                          <a:gd name="connsiteX74" fmla="*/ 6758 w 6997"/>
                          <a:gd name="connsiteY74" fmla="*/ 1997 h 7678"/>
                          <a:gd name="connsiteX75" fmla="*/ 6758 w 6997"/>
                          <a:gd name="connsiteY75" fmla="*/ 1937 h 7678"/>
                          <a:gd name="connsiteX76" fmla="*/ 6579 w 6997"/>
                          <a:gd name="connsiteY76" fmla="*/ 1579 h 7678"/>
                          <a:gd name="connsiteX77" fmla="*/ 6399 w 6997"/>
                          <a:gd name="connsiteY77" fmla="*/ 1280 h 7678"/>
                          <a:gd name="connsiteX78" fmla="*/ 6160 w 6997"/>
                          <a:gd name="connsiteY78" fmla="*/ 980 h 7678"/>
                          <a:gd name="connsiteX79" fmla="*/ 5921 w 6997"/>
                          <a:gd name="connsiteY79" fmla="*/ 741 h 7678"/>
                          <a:gd name="connsiteX80" fmla="*/ 5681 w 6997"/>
                          <a:gd name="connsiteY80" fmla="*/ 562 h 7678"/>
                          <a:gd name="connsiteX81" fmla="*/ 5382 w 6997"/>
                          <a:gd name="connsiteY81" fmla="*/ 382 h 7678"/>
                          <a:gd name="connsiteX82" fmla="*/ 5083 w 6997"/>
                          <a:gd name="connsiteY82" fmla="*/ 263 h 7678"/>
                          <a:gd name="connsiteX83" fmla="*/ 4785 w 6997"/>
                          <a:gd name="connsiteY83" fmla="*/ 143 h 7678"/>
                          <a:gd name="connsiteX84" fmla="*/ 3409 w 6997"/>
                          <a:gd name="connsiteY84" fmla="*/ 23 h 7678"/>
                          <a:gd name="connsiteX85" fmla="*/ 2093 w 6997"/>
                          <a:gd name="connsiteY85" fmla="*/ 502 h 7678"/>
                          <a:gd name="connsiteX86" fmla="*/ 957 w 6997"/>
                          <a:gd name="connsiteY86" fmla="*/ 1459 h 7678"/>
                          <a:gd name="connsiteX87" fmla="*/ 239 w 6997"/>
                          <a:gd name="connsiteY87" fmla="*/ 2834 h 7678"/>
                          <a:gd name="connsiteX88" fmla="*/ 0 w 6997"/>
                          <a:gd name="connsiteY88" fmla="*/ 3971 h 7678"/>
                          <a:gd name="connsiteX89" fmla="*/ 119 w 6997"/>
                          <a:gd name="connsiteY89" fmla="*/ 5047 h 7678"/>
                          <a:gd name="connsiteX90" fmla="*/ 478 w 6997"/>
                          <a:gd name="connsiteY90" fmla="*/ 6004 h 7678"/>
                          <a:gd name="connsiteX91" fmla="*/ 1076 w 6997"/>
                          <a:gd name="connsiteY91" fmla="*/ 7021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997" h="7678">
                            <a:moveTo>
                              <a:pt x="2512" y="6423"/>
                            </a:moveTo>
                            <a:lnTo>
                              <a:pt x="1914" y="6124"/>
                            </a:lnTo>
                            <a:cubicBezTo>
                              <a:pt x="1734" y="5944"/>
                              <a:pt x="1615" y="5765"/>
                              <a:pt x="1495" y="5586"/>
                            </a:cubicBezTo>
                            <a:cubicBezTo>
                              <a:pt x="1375" y="5406"/>
                              <a:pt x="1256" y="5167"/>
                              <a:pt x="1256" y="4928"/>
                            </a:cubicBezTo>
                            <a:cubicBezTo>
                              <a:pt x="1256" y="4689"/>
                              <a:pt x="1196" y="4449"/>
                              <a:pt x="1196" y="4210"/>
                            </a:cubicBezTo>
                            <a:cubicBezTo>
                              <a:pt x="1196" y="3971"/>
                              <a:pt x="1256" y="3672"/>
                              <a:pt x="1375" y="3433"/>
                            </a:cubicBezTo>
                            <a:cubicBezTo>
                              <a:pt x="1495" y="3074"/>
                              <a:pt x="1674" y="2775"/>
                              <a:pt x="1854" y="2535"/>
                            </a:cubicBezTo>
                            <a:cubicBezTo>
                              <a:pt x="2093" y="2296"/>
                              <a:pt x="2332" y="2057"/>
                              <a:pt x="2572" y="1877"/>
                            </a:cubicBezTo>
                            <a:cubicBezTo>
                              <a:pt x="2811" y="1698"/>
                              <a:pt x="3170" y="1579"/>
                              <a:pt x="3469" y="1579"/>
                            </a:cubicBezTo>
                            <a:cubicBezTo>
                              <a:pt x="3768" y="1519"/>
                              <a:pt x="4127" y="1579"/>
                              <a:pt x="4426" y="1638"/>
                            </a:cubicBezTo>
                            <a:cubicBezTo>
                              <a:pt x="4426" y="1638"/>
                              <a:pt x="4486" y="1638"/>
                              <a:pt x="4486" y="1638"/>
                            </a:cubicBezTo>
                            <a:cubicBezTo>
                              <a:pt x="4486" y="1638"/>
                              <a:pt x="4545" y="1638"/>
                              <a:pt x="4545" y="1638"/>
                            </a:cubicBezTo>
                            <a:cubicBezTo>
                              <a:pt x="4545" y="1638"/>
                              <a:pt x="4605" y="1638"/>
                              <a:pt x="4605" y="1638"/>
                            </a:cubicBezTo>
                            <a:cubicBezTo>
                              <a:pt x="4605" y="1638"/>
                              <a:pt x="4665" y="1638"/>
                              <a:pt x="4665" y="1638"/>
                            </a:cubicBezTo>
                            <a:cubicBezTo>
                              <a:pt x="4725" y="1638"/>
                              <a:pt x="4785" y="1698"/>
                              <a:pt x="4785" y="1698"/>
                            </a:cubicBezTo>
                            <a:cubicBezTo>
                              <a:pt x="4844" y="1698"/>
                              <a:pt x="4904" y="1758"/>
                              <a:pt x="4904" y="1758"/>
                            </a:cubicBezTo>
                            <a:cubicBezTo>
                              <a:pt x="4964" y="1758"/>
                              <a:pt x="5024" y="1818"/>
                              <a:pt x="5024" y="1877"/>
                            </a:cubicBezTo>
                            <a:cubicBezTo>
                              <a:pt x="5024" y="1937"/>
                              <a:pt x="5083" y="1937"/>
                              <a:pt x="5143" y="1997"/>
                            </a:cubicBezTo>
                            <a:cubicBezTo>
                              <a:pt x="5203" y="2057"/>
                              <a:pt x="5263" y="2117"/>
                              <a:pt x="5323" y="2176"/>
                            </a:cubicBezTo>
                            <a:cubicBezTo>
                              <a:pt x="5382" y="2236"/>
                              <a:pt x="5442" y="2296"/>
                              <a:pt x="5502" y="2356"/>
                            </a:cubicBezTo>
                            <a:cubicBezTo>
                              <a:pt x="5562" y="2416"/>
                              <a:pt x="5622" y="2475"/>
                              <a:pt x="5622" y="2535"/>
                            </a:cubicBezTo>
                            <a:cubicBezTo>
                              <a:pt x="5681" y="2595"/>
                              <a:pt x="5681" y="2655"/>
                              <a:pt x="5741" y="2775"/>
                            </a:cubicBezTo>
                            <a:cubicBezTo>
                              <a:pt x="5741" y="2834"/>
                              <a:pt x="5801" y="2894"/>
                              <a:pt x="5801" y="2894"/>
                            </a:cubicBezTo>
                            <a:cubicBezTo>
                              <a:pt x="5801" y="2894"/>
                              <a:pt x="5861" y="3014"/>
                              <a:pt x="5861" y="3014"/>
                            </a:cubicBezTo>
                            <a:cubicBezTo>
                              <a:pt x="5861" y="3074"/>
                              <a:pt x="5921" y="3134"/>
                              <a:pt x="5921" y="3193"/>
                            </a:cubicBezTo>
                            <a:cubicBezTo>
                              <a:pt x="5921" y="3253"/>
                              <a:pt x="5921" y="3313"/>
                              <a:pt x="5981" y="3373"/>
                            </a:cubicBezTo>
                            <a:cubicBezTo>
                              <a:pt x="5981" y="3492"/>
                              <a:pt x="5981" y="3612"/>
                              <a:pt x="6040" y="3672"/>
                            </a:cubicBezTo>
                            <a:cubicBezTo>
                              <a:pt x="6100" y="3732"/>
                              <a:pt x="6040" y="3911"/>
                              <a:pt x="6040" y="4030"/>
                            </a:cubicBezTo>
                            <a:cubicBezTo>
                              <a:pt x="6040" y="4150"/>
                              <a:pt x="6040" y="4270"/>
                              <a:pt x="5981" y="4389"/>
                            </a:cubicBezTo>
                            <a:cubicBezTo>
                              <a:pt x="5981" y="4509"/>
                              <a:pt x="5921" y="4629"/>
                              <a:pt x="5861" y="4748"/>
                            </a:cubicBezTo>
                            <a:cubicBezTo>
                              <a:pt x="5801" y="4928"/>
                              <a:pt x="5741" y="5047"/>
                              <a:pt x="5622" y="5227"/>
                            </a:cubicBezTo>
                            <a:cubicBezTo>
                              <a:pt x="5502" y="5406"/>
                              <a:pt x="5442" y="5526"/>
                              <a:pt x="5323" y="5645"/>
                            </a:cubicBezTo>
                            <a:cubicBezTo>
                              <a:pt x="5203" y="5765"/>
                              <a:pt x="5083" y="5884"/>
                              <a:pt x="4964" y="6004"/>
                            </a:cubicBezTo>
                            <a:cubicBezTo>
                              <a:pt x="4844" y="6124"/>
                              <a:pt x="4725" y="6184"/>
                              <a:pt x="4605" y="6303"/>
                            </a:cubicBezTo>
                            <a:cubicBezTo>
                              <a:pt x="4545" y="6363"/>
                              <a:pt x="4486" y="6363"/>
                              <a:pt x="4426" y="6423"/>
                            </a:cubicBezTo>
                            <a:cubicBezTo>
                              <a:pt x="4366" y="6483"/>
                              <a:pt x="4306" y="6483"/>
                              <a:pt x="4246" y="6483"/>
                            </a:cubicBezTo>
                            <a:cubicBezTo>
                              <a:pt x="4186" y="6483"/>
                              <a:pt x="4127" y="6543"/>
                              <a:pt x="4067" y="6543"/>
                            </a:cubicBezTo>
                            <a:cubicBezTo>
                              <a:pt x="4007" y="6543"/>
                              <a:pt x="3947" y="6602"/>
                              <a:pt x="3887" y="6602"/>
                            </a:cubicBezTo>
                            <a:cubicBezTo>
                              <a:pt x="3827" y="6602"/>
                              <a:pt x="3708" y="6662"/>
                              <a:pt x="3648" y="6662"/>
                            </a:cubicBezTo>
                            <a:cubicBezTo>
                              <a:pt x="3588" y="6662"/>
                              <a:pt x="3469" y="6662"/>
                              <a:pt x="3409" y="6662"/>
                            </a:cubicBezTo>
                            <a:cubicBezTo>
                              <a:pt x="3349" y="6662"/>
                              <a:pt x="3229" y="6662"/>
                              <a:pt x="3170" y="6602"/>
                            </a:cubicBezTo>
                            <a:cubicBezTo>
                              <a:pt x="3110" y="6602"/>
                              <a:pt x="2990" y="6543"/>
                              <a:pt x="2930" y="6543"/>
                            </a:cubicBezTo>
                            <a:lnTo>
                              <a:pt x="2512" y="6423"/>
                            </a:lnTo>
                            <a:moveTo>
                              <a:pt x="1076" y="7021"/>
                            </a:moveTo>
                            <a:cubicBezTo>
                              <a:pt x="1136" y="7081"/>
                              <a:pt x="1196" y="7141"/>
                              <a:pt x="1256" y="7200"/>
                            </a:cubicBezTo>
                            <a:cubicBezTo>
                              <a:pt x="1316" y="7260"/>
                              <a:pt x="1375" y="7320"/>
                              <a:pt x="1495" y="7320"/>
                            </a:cubicBezTo>
                            <a:cubicBezTo>
                              <a:pt x="1615" y="7320"/>
                              <a:pt x="1674" y="7380"/>
                              <a:pt x="1734" y="7440"/>
                            </a:cubicBezTo>
                            <a:cubicBezTo>
                              <a:pt x="1794" y="7499"/>
                              <a:pt x="1914" y="7499"/>
                              <a:pt x="1973" y="7559"/>
                            </a:cubicBezTo>
                            <a:cubicBezTo>
                              <a:pt x="1973" y="7559"/>
                              <a:pt x="2033" y="7559"/>
                              <a:pt x="2033" y="7559"/>
                            </a:cubicBezTo>
                            <a:cubicBezTo>
                              <a:pt x="2033" y="7559"/>
                              <a:pt x="2093" y="7559"/>
                              <a:pt x="2093" y="7559"/>
                            </a:cubicBezTo>
                            <a:cubicBezTo>
                              <a:pt x="2093" y="7559"/>
                              <a:pt x="2153" y="7559"/>
                              <a:pt x="2153" y="7559"/>
                            </a:cubicBezTo>
                            <a:cubicBezTo>
                              <a:pt x="2153" y="7559"/>
                              <a:pt x="2213" y="7559"/>
                              <a:pt x="2213" y="7559"/>
                            </a:cubicBezTo>
                            <a:cubicBezTo>
                              <a:pt x="2273" y="7559"/>
                              <a:pt x="2392" y="7619"/>
                              <a:pt x="2452" y="7619"/>
                            </a:cubicBezTo>
                            <a:cubicBezTo>
                              <a:pt x="2512" y="7619"/>
                              <a:pt x="2632" y="7679"/>
                              <a:pt x="2691" y="7679"/>
                            </a:cubicBezTo>
                            <a:cubicBezTo>
                              <a:pt x="2751" y="7679"/>
                              <a:pt x="2871" y="7679"/>
                              <a:pt x="2930" y="7679"/>
                            </a:cubicBezTo>
                            <a:cubicBezTo>
                              <a:pt x="2990" y="7679"/>
                              <a:pt x="3110" y="7679"/>
                              <a:pt x="3170" y="7679"/>
                            </a:cubicBezTo>
                            <a:cubicBezTo>
                              <a:pt x="3349" y="7679"/>
                              <a:pt x="3469" y="7679"/>
                              <a:pt x="3648" y="7619"/>
                            </a:cubicBezTo>
                            <a:cubicBezTo>
                              <a:pt x="3827" y="7619"/>
                              <a:pt x="3947" y="7559"/>
                              <a:pt x="4127" y="7499"/>
                            </a:cubicBezTo>
                            <a:cubicBezTo>
                              <a:pt x="4306" y="7440"/>
                              <a:pt x="4426" y="7380"/>
                              <a:pt x="4545" y="7320"/>
                            </a:cubicBezTo>
                            <a:cubicBezTo>
                              <a:pt x="4665" y="7260"/>
                              <a:pt x="4844" y="7200"/>
                              <a:pt x="4964" y="7081"/>
                            </a:cubicBezTo>
                            <a:cubicBezTo>
                              <a:pt x="5203" y="6961"/>
                              <a:pt x="5382" y="6842"/>
                              <a:pt x="5562" y="6662"/>
                            </a:cubicBezTo>
                            <a:cubicBezTo>
                              <a:pt x="5741" y="6483"/>
                              <a:pt x="5921" y="6303"/>
                              <a:pt x="6100" y="6124"/>
                            </a:cubicBezTo>
                            <a:cubicBezTo>
                              <a:pt x="6280" y="5944"/>
                              <a:pt x="6399" y="5705"/>
                              <a:pt x="6519" y="5526"/>
                            </a:cubicBezTo>
                            <a:cubicBezTo>
                              <a:pt x="6639" y="5287"/>
                              <a:pt x="6758" y="5047"/>
                              <a:pt x="6818" y="4808"/>
                            </a:cubicBezTo>
                            <a:cubicBezTo>
                              <a:pt x="6878" y="4689"/>
                              <a:pt x="6878" y="4629"/>
                              <a:pt x="6878" y="4509"/>
                            </a:cubicBezTo>
                            <a:cubicBezTo>
                              <a:pt x="6878" y="4389"/>
                              <a:pt x="6937" y="4329"/>
                              <a:pt x="6937" y="4210"/>
                            </a:cubicBezTo>
                            <a:cubicBezTo>
                              <a:pt x="6937" y="4090"/>
                              <a:pt x="6997" y="4030"/>
                              <a:pt x="6997" y="3911"/>
                            </a:cubicBezTo>
                            <a:cubicBezTo>
                              <a:pt x="6997" y="3791"/>
                              <a:pt x="6997" y="3732"/>
                              <a:pt x="6997" y="3612"/>
                            </a:cubicBezTo>
                            <a:cubicBezTo>
                              <a:pt x="6997" y="3492"/>
                              <a:pt x="6997" y="3373"/>
                              <a:pt x="6997" y="3253"/>
                            </a:cubicBezTo>
                            <a:cubicBezTo>
                              <a:pt x="6997" y="3134"/>
                              <a:pt x="6997" y="3014"/>
                              <a:pt x="6937" y="2894"/>
                            </a:cubicBezTo>
                            <a:cubicBezTo>
                              <a:pt x="6878" y="2775"/>
                              <a:pt x="6878" y="2655"/>
                              <a:pt x="6878" y="2535"/>
                            </a:cubicBezTo>
                            <a:cubicBezTo>
                              <a:pt x="6878" y="2416"/>
                              <a:pt x="6818" y="2296"/>
                              <a:pt x="6758" y="2176"/>
                            </a:cubicBezTo>
                            <a:cubicBezTo>
                              <a:pt x="6758" y="2176"/>
                              <a:pt x="6758" y="2117"/>
                              <a:pt x="6758" y="2117"/>
                            </a:cubicBezTo>
                            <a:cubicBezTo>
                              <a:pt x="6758" y="2117"/>
                              <a:pt x="6758" y="2057"/>
                              <a:pt x="6758" y="2057"/>
                            </a:cubicBezTo>
                            <a:cubicBezTo>
                              <a:pt x="6758" y="2057"/>
                              <a:pt x="6758" y="1997"/>
                              <a:pt x="6758" y="1997"/>
                            </a:cubicBezTo>
                            <a:cubicBezTo>
                              <a:pt x="6758" y="1997"/>
                              <a:pt x="6758" y="1937"/>
                              <a:pt x="6758" y="1937"/>
                            </a:cubicBezTo>
                            <a:cubicBezTo>
                              <a:pt x="6698" y="1818"/>
                              <a:pt x="6639" y="1698"/>
                              <a:pt x="6579" y="1579"/>
                            </a:cubicBezTo>
                            <a:cubicBezTo>
                              <a:pt x="6519" y="1459"/>
                              <a:pt x="6459" y="1339"/>
                              <a:pt x="6399" y="1280"/>
                            </a:cubicBezTo>
                            <a:cubicBezTo>
                              <a:pt x="6340" y="1160"/>
                              <a:pt x="6280" y="1100"/>
                              <a:pt x="6160" y="980"/>
                            </a:cubicBezTo>
                            <a:cubicBezTo>
                              <a:pt x="6100" y="921"/>
                              <a:pt x="5981" y="801"/>
                              <a:pt x="5921" y="741"/>
                            </a:cubicBezTo>
                            <a:cubicBezTo>
                              <a:pt x="5861" y="681"/>
                              <a:pt x="5741" y="621"/>
                              <a:pt x="5681" y="562"/>
                            </a:cubicBezTo>
                            <a:cubicBezTo>
                              <a:pt x="5622" y="502"/>
                              <a:pt x="5502" y="442"/>
                              <a:pt x="5382" y="382"/>
                            </a:cubicBezTo>
                            <a:cubicBezTo>
                              <a:pt x="5263" y="322"/>
                              <a:pt x="5203" y="263"/>
                              <a:pt x="5083" y="263"/>
                            </a:cubicBezTo>
                            <a:cubicBezTo>
                              <a:pt x="4964" y="203"/>
                              <a:pt x="4904" y="203"/>
                              <a:pt x="4785" y="143"/>
                            </a:cubicBezTo>
                            <a:cubicBezTo>
                              <a:pt x="4306" y="23"/>
                              <a:pt x="3887" y="-36"/>
                              <a:pt x="3409" y="23"/>
                            </a:cubicBezTo>
                            <a:cubicBezTo>
                              <a:pt x="2930" y="83"/>
                              <a:pt x="2512" y="263"/>
                              <a:pt x="2093" y="502"/>
                            </a:cubicBezTo>
                            <a:cubicBezTo>
                              <a:pt x="1674" y="741"/>
                              <a:pt x="1316" y="1040"/>
                              <a:pt x="957" y="1459"/>
                            </a:cubicBezTo>
                            <a:cubicBezTo>
                              <a:pt x="658" y="1818"/>
                              <a:pt x="359" y="2296"/>
                              <a:pt x="239" y="2834"/>
                            </a:cubicBezTo>
                            <a:cubicBezTo>
                              <a:pt x="119" y="3253"/>
                              <a:pt x="0" y="3612"/>
                              <a:pt x="0" y="3971"/>
                            </a:cubicBezTo>
                            <a:cubicBezTo>
                              <a:pt x="0" y="4329"/>
                              <a:pt x="0" y="4748"/>
                              <a:pt x="119" y="5047"/>
                            </a:cubicBezTo>
                            <a:cubicBezTo>
                              <a:pt x="179" y="5406"/>
                              <a:pt x="359" y="5705"/>
                              <a:pt x="478" y="6004"/>
                            </a:cubicBezTo>
                            <a:cubicBezTo>
                              <a:pt x="598" y="6543"/>
                              <a:pt x="837" y="6842"/>
                              <a:pt x="1076" y="7021"/>
                            </a:cubicBezTo>
                          </a:path>
                        </a:pathLst>
                      </a:custGeom>
                      <a:noFill/>
                      <a:ln w="6350" cap="flat">
                        <a:solidFill>
                          <a:schemeClr val="bg1">
                            <a:alpha val="40000"/>
                          </a:schemeClr>
                        </a:solidFill>
                        <a:prstDash val="solid"/>
                        <a:miter/>
                      </a:ln>
                    </p:spPr>
                    <p:txBody>
                      <a:bodyPr rtlCol="0" anchor="ctr"/>
                      <a:lstStyle/>
                      <a:p>
                        <a:endParaRPr lang="en-GB"/>
                      </a:p>
                    </p:txBody>
                  </p:sp>
                  <p:sp>
                    <p:nvSpPr>
                      <p:cNvPr id="7483" name="Vrije vorm: vorm 7482">
                        <a:extLst>
                          <a:ext uri="{FF2B5EF4-FFF2-40B4-BE49-F238E27FC236}">
                            <a16:creationId xmlns:a16="http://schemas.microsoft.com/office/drawing/2014/main" id="{7AC5C7DE-96B8-4E6A-9E58-EDAAC57282FF}"/>
                          </a:ext>
                        </a:extLst>
                      </p:cNvPr>
                      <p:cNvSpPr/>
                      <p:nvPr/>
                    </p:nvSpPr>
                    <p:spPr>
                      <a:xfrm>
                        <a:off x="5050320" y="4940535"/>
                        <a:ext cx="7057" cy="7535"/>
                      </a:xfrm>
                      <a:custGeom>
                        <a:avLst/>
                        <a:gdLst>
                          <a:gd name="connsiteX0" fmla="*/ 5263 w 7057"/>
                          <a:gd name="connsiteY0" fmla="*/ 1734 h 7535"/>
                          <a:gd name="connsiteX1" fmla="*/ 5443 w 7057"/>
                          <a:gd name="connsiteY1" fmla="*/ 1914 h 7535"/>
                          <a:gd name="connsiteX2" fmla="*/ 5562 w 7057"/>
                          <a:gd name="connsiteY2" fmla="*/ 2093 h 7535"/>
                          <a:gd name="connsiteX3" fmla="*/ 5682 w 7057"/>
                          <a:gd name="connsiteY3" fmla="*/ 2273 h 7535"/>
                          <a:gd name="connsiteX4" fmla="*/ 5801 w 7057"/>
                          <a:gd name="connsiteY4" fmla="*/ 2512 h 7535"/>
                          <a:gd name="connsiteX5" fmla="*/ 5981 w 7057"/>
                          <a:gd name="connsiteY5" fmla="*/ 3469 h 7535"/>
                          <a:gd name="connsiteX6" fmla="*/ 5801 w 7057"/>
                          <a:gd name="connsiteY6" fmla="*/ 4426 h 7535"/>
                          <a:gd name="connsiteX7" fmla="*/ 5323 w 7057"/>
                          <a:gd name="connsiteY7" fmla="*/ 5323 h 7535"/>
                          <a:gd name="connsiteX8" fmla="*/ 4545 w 7057"/>
                          <a:gd name="connsiteY8" fmla="*/ 5981 h 7535"/>
                          <a:gd name="connsiteX9" fmla="*/ 4067 w 7057"/>
                          <a:gd name="connsiteY9" fmla="*/ 6160 h 7535"/>
                          <a:gd name="connsiteX10" fmla="*/ 3589 w 7057"/>
                          <a:gd name="connsiteY10" fmla="*/ 6280 h 7535"/>
                          <a:gd name="connsiteX11" fmla="*/ 3110 w 7057"/>
                          <a:gd name="connsiteY11" fmla="*/ 6280 h 7535"/>
                          <a:gd name="connsiteX12" fmla="*/ 2691 w 7057"/>
                          <a:gd name="connsiteY12" fmla="*/ 6220 h 7535"/>
                          <a:gd name="connsiteX13" fmla="*/ 2512 w 7057"/>
                          <a:gd name="connsiteY13" fmla="*/ 6160 h 7535"/>
                          <a:gd name="connsiteX14" fmla="*/ 2333 w 7057"/>
                          <a:gd name="connsiteY14" fmla="*/ 6041 h 7535"/>
                          <a:gd name="connsiteX15" fmla="*/ 2153 w 7057"/>
                          <a:gd name="connsiteY15" fmla="*/ 5921 h 7535"/>
                          <a:gd name="connsiteX16" fmla="*/ 1974 w 7057"/>
                          <a:gd name="connsiteY16" fmla="*/ 5801 h 7535"/>
                          <a:gd name="connsiteX17" fmla="*/ 1795 w 7057"/>
                          <a:gd name="connsiteY17" fmla="*/ 5622 h 7535"/>
                          <a:gd name="connsiteX18" fmla="*/ 1615 w 7057"/>
                          <a:gd name="connsiteY18" fmla="*/ 5443 h 7535"/>
                          <a:gd name="connsiteX19" fmla="*/ 1495 w 7057"/>
                          <a:gd name="connsiteY19" fmla="*/ 5263 h 7535"/>
                          <a:gd name="connsiteX20" fmla="*/ 1376 w 7057"/>
                          <a:gd name="connsiteY20" fmla="*/ 5024 h 7535"/>
                          <a:gd name="connsiteX21" fmla="*/ 1196 w 7057"/>
                          <a:gd name="connsiteY21" fmla="*/ 4545 h 7535"/>
                          <a:gd name="connsiteX22" fmla="*/ 1136 w 7057"/>
                          <a:gd name="connsiteY22" fmla="*/ 4067 h 7535"/>
                          <a:gd name="connsiteX23" fmla="*/ 1196 w 7057"/>
                          <a:gd name="connsiteY23" fmla="*/ 3589 h 7535"/>
                          <a:gd name="connsiteX24" fmla="*/ 1316 w 7057"/>
                          <a:gd name="connsiteY24" fmla="*/ 3050 h 7535"/>
                          <a:gd name="connsiteX25" fmla="*/ 1555 w 7057"/>
                          <a:gd name="connsiteY25" fmla="*/ 2572 h 7535"/>
                          <a:gd name="connsiteX26" fmla="*/ 1854 w 7057"/>
                          <a:gd name="connsiteY26" fmla="*/ 2153 h 7535"/>
                          <a:gd name="connsiteX27" fmla="*/ 2213 w 7057"/>
                          <a:gd name="connsiteY27" fmla="*/ 1794 h 7535"/>
                          <a:gd name="connsiteX28" fmla="*/ 2632 w 7057"/>
                          <a:gd name="connsiteY28" fmla="*/ 1495 h 7535"/>
                          <a:gd name="connsiteX29" fmla="*/ 3290 w 7057"/>
                          <a:gd name="connsiteY29" fmla="*/ 1196 h 7535"/>
                          <a:gd name="connsiteX30" fmla="*/ 4007 w 7057"/>
                          <a:gd name="connsiteY30" fmla="*/ 1136 h 7535"/>
                          <a:gd name="connsiteX31" fmla="*/ 4665 w 7057"/>
                          <a:gd name="connsiteY31" fmla="*/ 1316 h 7535"/>
                          <a:gd name="connsiteX32" fmla="*/ 5263 w 7057"/>
                          <a:gd name="connsiteY32" fmla="*/ 1734 h 7535"/>
                          <a:gd name="connsiteX33" fmla="*/ 1196 w 7057"/>
                          <a:gd name="connsiteY33" fmla="*/ 6818 h 7535"/>
                          <a:gd name="connsiteX34" fmla="*/ 1435 w 7057"/>
                          <a:gd name="connsiteY34" fmla="*/ 6997 h 7535"/>
                          <a:gd name="connsiteX35" fmla="*/ 1735 w 7057"/>
                          <a:gd name="connsiteY35" fmla="*/ 7177 h 7535"/>
                          <a:gd name="connsiteX36" fmla="*/ 2034 w 7057"/>
                          <a:gd name="connsiteY36" fmla="*/ 7297 h 7535"/>
                          <a:gd name="connsiteX37" fmla="*/ 2333 w 7057"/>
                          <a:gd name="connsiteY37" fmla="*/ 7416 h 7535"/>
                          <a:gd name="connsiteX38" fmla="*/ 2990 w 7057"/>
                          <a:gd name="connsiteY38" fmla="*/ 7536 h 7535"/>
                          <a:gd name="connsiteX39" fmla="*/ 3649 w 7057"/>
                          <a:gd name="connsiteY39" fmla="*/ 7536 h 7535"/>
                          <a:gd name="connsiteX40" fmla="*/ 4306 w 7057"/>
                          <a:gd name="connsiteY40" fmla="*/ 7356 h 7535"/>
                          <a:gd name="connsiteX41" fmla="*/ 4964 w 7057"/>
                          <a:gd name="connsiteY41" fmla="*/ 7057 h 7535"/>
                          <a:gd name="connsiteX42" fmla="*/ 6100 w 7057"/>
                          <a:gd name="connsiteY42" fmla="*/ 6041 h 7535"/>
                          <a:gd name="connsiteX43" fmla="*/ 6818 w 7057"/>
                          <a:gd name="connsiteY43" fmla="*/ 4725 h 7535"/>
                          <a:gd name="connsiteX44" fmla="*/ 7057 w 7057"/>
                          <a:gd name="connsiteY44" fmla="*/ 3289 h 7535"/>
                          <a:gd name="connsiteX45" fmla="*/ 6758 w 7057"/>
                          <a:gd name="connsiteY45" fmla="*/ 1854 h 7535"/>
                          <a:gd name="connsiteX46" fmla="*/ 6579 w 7057"/>
                          <a:gd name="connsiteY46" fmla="*/ 1555 h 7535"/>
                          <a:gd name="connsiteX47" fmla="*/ 6399 w 7057"/>
                          <a:gd name="connsiteY47" fmla="*/ 1256 h 7535"/>
                          <a:gd name="connsiteX48" fmla="*/ 6160 w 7057"/>
                          <a:gd name="connsiteY48" fmla="*/ 1017 h 7535"/>
                          <a:gd name="connsiteX49" fmla="*/ 5921 w 7057"/>
                          <a:gd name="connsiteY49" fmla="*/ 778 h 7535"/>
                          <a:gd name="connsiteX50" fmla="*/ 5084 w 7057"/>
                          <a:gd name="connsiteY50" fmla="*/ 239 h 7535"/>
                          <a:gd name="connsiteX51" fmla="*/ 4127 w 7057"/>
                          <a:gd name="connsiteY51" fmla="*/ 0 h 7535"/>
                          <a:gd name="connsiteX52" fmla="*/ 3110 w 7057"/>
                          <a:gd name="connsiteY52" fmla="*/ 60 h 7535"/>
                          <a:gd name="connsiteX53" fmla="*/ 2093 w 7057"/>
                          <a:gd name="connsiteY53" fmla="*/ 479 h 7535"/>
                          <a:gd name="connsiteX54" fmla="*/ 1495 w 7057"/>
                          <a:gd name="connsiteY54" fmla="*/ 897 h 7535"/>
                          <a:gd name="connsiteX55" fmla="*/ 957 w 7057"/>
                          <a:gd name="connsiteY55" fmla="*/ 1435 h 7535"/>
                          <a:gd name="connsiteX56" fmla="*/ 538 w 7057"/>
                          <a:gd name="connsiteY56" fmla="*/ 2093 h 7535"/>
                          <a:gd name="connsiteX57" fmla="*/ 239 w 7057"/>
                          <a:gd name="connsiteY57" fmla="*/ 2811 h 7535"/>
                          <a:gd name="connsiteX58" fmla="*/ 60 w 7057"/>
                          <a:gd name="connsiteY58" fmla="*/ 3589 h 7535"/>
                          <a:gd name="connsiteX59" fmla="*/ 0 w 7057"/>
                          <a:gd name="connsiteY59" fmla="*/ 4306 h 7535"/>
                          <a:gd name="connsiteX60" fmla="*/ 120 w 7057"/>
                          <a:gd name="connsiteY60" fmla="*/ 5024 h 7535"/>
                          <a:gd name="connsiteX61" fmla="*/ 359 w 7057"/>
                          <a:gd name="connsiteY61" fmla="*/ 5742 h 7535"/>
                          <a:gd name="connsiteX62" fmla="*/ 538 w 7057"/>
                          <a:gd name="connsiteY62" fmla="*/ 6041 h 7535"/>
                          <a:gd name="connsiteX63" fmla="*/ 718 w 7057"/>
                          <a:gd name="connsiteY63" fmla="*/ 6340 h 7535"/>
                          <a:gd name="connsiteX64" fmla="*/ 957 w 7057"/>
                          <a:gd name="connsiteY64" fmla="*/ 6639 h 7535"/>
                          <a:gd name="connsiteX65" fmla="*/ 1196 w 7057"/>
                          <a:gd name="connsiteY65" fmla="*/ 6818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057" h="7535">
                            <a:moveTo>
                              <a:pt x="5263" y="1734"/>
                            </a:moveTo>
                            <a:cubicBezTo>
                              <a:pt x="5323" y="1794"/>
                              <a:pt x="5383" y="1854"/>
                              <a:pt x="5443" y="1914"/>
                            </a:cubicBezTo>
                            <a:cubicBezTo>
                              <a:pt x="5503" y="1974"/>
                              <a:pt x="5562" y="2034"/>
                              <a:pt x="5562" y="2093"/>
                            </a:cubicBezTo>
                            <a:cubicBezTo>
                              <a:pt x="5622" y="2153"/>
                              <a:pt x="5682" y="2213"/>
                              <a:pt x="5682" y="2273"/>
                            </a:cubicBezTo>
                            <a:cubicBezTo>
                              <a:pt x="5742" y="2333"/>
                              <a:pt x="5742" y="2392"/>
                              <a:pt x="5801" y="2512"/>
                            </a:cubicBezTo>
                            <a:cubicBezTo>
                              <a:pt x="5921" y="2811"/>
                              <a:pt x="5981" y="3170"/>
                              <a:pt x="5981" y="3469"/>
                            </a:cubicBezTo>
                            <a:cubicBezTo>
                              <a:pt x="5981" y="3768"/>
                              <a:pt x="5921" y="4127"/>
                              <a:pt x="5801" y="4426"/>
                            </a:cubicBezTo>
                            <a:cubicBezTo>
                              <a:pt x="5682" y="4725"/>
                              <a:pt x="5503" y="5024"/>
                              <a:pt x="5323" y="5323"/>
                            </a:cubicBezTo>
                            <a:cubicBezTo>
                              <a:pt x="5084" y="5562"/>
                              <a:pt x="4844" y="5801"/>
                              <a:pt x="4545" y="5981"/>
                            </a:cubicBezTo>
                            <a:cubicBezTo>
                              <a:pt x="4426" y="6041"/>
                              <a:pt x="4246" y="6160"/>
                              <a:pt x="4067" y="6160"/>
                            </a:cubicBezTo>
                            <a:cubicBezTo>
                              <a:pt x="3888" y="6220"/>
                              <a:pt x="3768" y="6220"/>
                              <a:pt x="3589" y="6280"/>
                            </a:cubicBezTo>
                            <a:cubicBezTo>
                              <a:pt x="3409" y="6280"/>
                              <a:pt x="3290" y="6280"/>
                              <a:pt x="3110" y="6280"/>
                            </a:cubicBezTo>
                            <a:cubicBezTo>
                              <a:pt x="2930" y="6280"/>
                              <a:pt x="2811" y="6220"/>
                              <a:pt x="2691" y="6220"/>
                            </a:cubicBezTo>
                            <a:cubicBezTo>
                              <a:pt x="2632" y="6220"/>
                              <a:pt x="2572" y="6160"/>
                              <a:pt x="2512" y="6160"/>
                            </a:cubicBezTo>
                            <a:cubicBezTo>
                              <a:pt x="2452" y="6100"/>
                              <a:pt x="2392" y="6100"/>
                              <a:pt x="2333" y="6041"/>
                            </a:cubicBezTo>
                            <a:cubicBezTo>
                              <a:pt x="2273" y="5981"/>
                              <a:pt x="2213" y="5981"/>
                              <a:pt x="2153" y="5921"/>
                            </a:cubicBezTo>
                            <a:cubicBezTo>
                              <a:pt x="2093" y="5861"/>
                              <a:pt x="2034" y="5861"/>
                              <a:pt x="1974" y="5801"/>
                            </a:cubicBezTo>
                            <a:cubicBezTo>
                              <a:pt x="1914" y="5742"/>
                              <a:pt x="1854" y="5682"/>
                              <a:pt x="1795" y="5622"/>
                            </a:cubicBezTo>
                            <a:cubicBezTo>
                              <a:pt x="1735" y="5562"/>
                              <a:pt x="1675" y="5502"/>
                              <a:pt x="1615" y="5443"/>
                            </a:cubicBezTo>
                            <a:cubicBezTo>
                              <a:pt x="1555" y="5383"/>
                              <a:pt x="1495" y="5323"/>
                              <a:pt x="1495" y="5263"/>
                            </a:cubicBezTo>
                            <a:cubicBezTo>
                              <a:pt x="1435" y="5203"/>
                              <a:pt x="1435" y="5084"/>
                              <a:pt x="1376" y="5024"/>
                            </a:cubicBezTo>
                            <a:cubicBezTo>
                              <a:pt x="1316" y="4904"/>
                              <a:pt x="1256" y="4725"/>
                              <a:pt x="1196" y="4545"/>
                            </a:cubicBezTo>
                            <a:cubicBezTo>
                              <a:pt x="1136" y="4366"/>
                              <a:pt x="1136" y="4246"/>
                              <a:pt x="1136" y="4067"/>
                            </a:cubicBezTo>
                            <a:cubicBezTo>
                              <a:pt x="1136" y="3888"/>
                              <a:pt x="1136" y="3708"/>
                              <a:pt x="1196" y="3589"/>
                            </a:cubicBezTo>
                            <a:cubicBezTo>
                              <a:pt x="1196" y="3409"/>
                              <a:pt x="1256" y="3229"/>
                              <a:pt x="1316" y="3050"/>
                            </a:cubicBezTo>
                            <a:cubicBezTo>
                              <a:pt x="1376" y="2871"/>
                              <a:pt x="1435" y="2751"/>
                              <a:pt x="1555" y="2572"/>
                            </a:cubicBezTo>
                            <a:cubicBezTo>
                              <a:pt x="1615" y="2392"/>
                              <a:pt x="1735" y="2273"/>
                              <a:pt x="1854" y="2153"/>
                            </a:cubicBezTo>
                            <a:cubicBezTo>
                              <a:pt x="1974" y="2034"/>
                              <a:pt x="2093" y="1914"/>
                              <a:pt x="2213" y="1794"/>
                            </a:cubicBezTo>
                            <a:cubicBezTo>
                              <a:pt x="2333" y="1675"/>
                              <a:pt x="2452" y="1555"/>
                              <a:pt x="2632" y="1495"/>
                            </a:cubicBezTo>
                            <a:cubicBezTo>
                              <a:pt x="2871" y="1375"/>
                              <a:pt x="3110" y="1256"/>
                              <a:pt x="3290" y="1196"/>
                            </a:cubicBezTo>
                            <a:cubicBezTo>
                              <a:pt x="3529" y="1136"/>
                              <a:pt x="3768" y="1136"/>
                              <a:pt x="4007" y="1136"/>
                            </a:cubicBezTo>
                            <a:cubicBezTo>
                              <a:pt x="4246" y="1136"/>
                              <a:pt x="4426" y="1196"/>
                              <a:pt x="4665" y="1316"/>
                            </a:cubicBezTo>
                            <a:cubicBezTo>
                              <a:pt x="4904" y="1495"/>
                              <a:pt x="5084" y="1615"/>
                              <a:pt x="5263" y="1734"/>
                            </a:cubicBezTo>
                            <a:moveTo>
                              <a:pt x="1196" y="6818"/>
                            </a:moveTo>
                            <a:cubicBezTo>
                              <a:pt x="1256" y="6878"/>
                              <a:pt x="1376" y="6938"/>
                              <a:pt x="1435" y="6997"/>
                            </a:cubicBezTo>
                            <a:cubicBezTo>
                              <a:pt x="1495" y="7057"/>
                              <a:pt x="1615" y="7117"/>
                              <a:pt x="1735" y="7177"/>
                            </a:cubicBezTo>
                            <a:cubicBezTo>
                              <a:pt x="1854" y="7237"/>
                              <a:pt x="1914" y="7297"/>
                              <a:pt x="2034" y="7297"/>
                            </a:cubicBezTo>
                            <a:cubicBezTo>
                              <a:pt x="2153" y="7297"/>
                              <a:pt x="2213" y="7356"/>
                              <a:pt x="2333" y="7416"/>
                            </a:cubicBezTo>
                            <a:cubicBezTo>
                              <a:pt x="2572" y="7476"/>
                              <a:pt x="2811" y="7536"/>
                              <a:pt x="2990" y="7536"/>
                            </a:cubicBezTo>
                            <a:cubicBezTo>
                              <a:pt x="3230" y="7536"/>
                              <a:pt x="3469" y="7536"/>
                              <a:pt x="3649" y="7536"/>
                            </a:cubicBezTo>
                            <a:cubicBezTo>
                              <a:pt x="3888" y="7536"/>
                              <a:pt x="4127" y="7476"/>
                              <a:pt x="4306" y="7356"/>
                            </a:cubicBezTo>
                            <a:cubicBezTo>
                              <a:pt x="4545" y="7297"/>
                              <a:pt x="4725" y="7177"/>
                              <a:pt x="4964" y="7057"/>
                            </a:cubicBezTo>
                            <a:cubicBezTo>
                              <a:pt x="5383" y="6818"/>
                              <a:pt x="5801" y="6459"/>
                              <a:pt x="6100" y="6041"/>
                            </a:cubicBezTo>
                            <a:cubicBezTo>
                              <a:pt x="6399" y="5622"/>
                              <a:pt x="6639" y="5203"/>
                              <a:pt x="6818" y="4725"/>
                            </a:cubicBezTo>
                            <a:cubicBezTo>
                              <a:pt x="6998" y="4246"/>
                              <a:pt x="7057" y="3768"/>
                              <a:pt x="7057" y="3289"/>
                            </a:cubicBezTo>
                            <a:cubicBezTo>
                              <a:pt x="7057" y="2811"/>
                              <a:pt x="6938" y="2333"/>
                              <a:pt x="6758" y="1854"/>
                            </a:cubicBezTo>
                            <a:cubicBezTo>
                              <a:pt x="6698" y="1734"/>
                              <a:pt x="6639" y="1615"/>
                              <a:pt x="6579" y="1555"/>
                            </a:cubicBezTo>
                            <a:cubicBezTo>
                              <a:pt x="6519" y="1495"/>
                              <a:pt x="6459" y="1375"/>
                              <a:pt x="6399" y="1256"/>
                            </a:cubicBezTo>
                            <a:cubicBezTo>
                              <a:pt x="6340" y="1136"/>
                              <a:pt x="6280" y="1076"/>
                              <a:pt x="6160" y="1017"/>
                            </a:cubicBezTo>
                            <a:cubicBezTo>
                              <a:pt x="6100" y="957"/>
                              <a:pt x="5981" y="837"/>
                              <a:pt x="5921" y="778"/>
                            </a:cubicBezTo>
                            <a:cubicBezTo>
                              <a:pt x="5682" y="538"/>
                              <a:pt x="5383" y="359"/>
                              <a:pt x="5084" y="239"/>
                            </a:cubicBezTo>
                            <a:cubicBezTo>
                              <a:pt x="4785" y="120"/>
                              <a:pt x="4426" y="60"/>
                              <a:pt x="4127" y="0"/>
                            </a:cubicBezTo>
                            <a:cubicBezTo>
                              <a:pt x="3768" y="0"/>
                              <a:pt x="3469" y="0"/>
                              <a:pt x="3110" y="60"/>
                            </a:cubicBezTo>
                            <a:cubicBezTo>
                              <a:pt x="2751" y="120"/>
                              <a:pt x="2452" y="299"/>
                              <a:pt x="2093" y="479"/>
                            </a:cubicBezTo>
                            <a:cubicBezTo>
                              <a:pt x="1854" y="598"/>
                              <a:pt x="1675" y="718"/>
                              <a:pt x="1495" y="897"/>
                            </a:cubicBezTo>
                            <a:cubicBezTo>
                              <a:pt x="1316" y="1076"/>
                              <a:pt x="1136" y="1256"/>
                              <a:pt x="957" y="1435"/>
                            </a:cubicBezTo>
                            <a:cubicBezTo>
                              <a:pt x="778" y="1615"/>
                              <a:pt x="658" y="1854"/>
                              <a:pt x="538" y="2093"/>
                            </a:cubicBezTo>
                            <a:cubicBezTo>
                              <a:pt x="419" y="2333"/>
                              <a:pt x="299" y="2572"/>
                              <a:pt x="239" y="2811"/>
                            </a:cubicBezTo>
                            <a:cubicBezTo>
                              <a:pt x="180" y="3050"/>
                              <a:pt x="120" y="3349"/>
                              <a:pt x="60" y="3589"/>
                            </a:cubicBezTo>
                            <a:cubicBezTo>
                              <a:pt x="0" y="3828"/>
                              <a:pt x="0" y="4067"/>
                              <a:pt x="0" y="4306"/>
                            </a:cubicBezTo>
                            <a:cubicBezTo>
                              <a:pt x="0" y="4545"/>
                              <a:pt x="60" y="4785"/>
                              <a:pt x="120" y="5024"/>
                            </a:cubicBezTo>
                            <a:cubicBezTo>
                              <a:pt x="180" y="5263"/>
                              <a:pt x="239" y="5502"/>
                              <a:pt x="359" y="5742"/>
                            </a:cubicBezTo>
                            <a:cubicBezTo>
                              <a:pt x="419" y="5861"/>
                              <a:pt x="479" y="5981"/>
                              <a:pt x="538" y="6041"/>
                            </a:cubicBezTo>
                            <a:cubicBezTo>
                              <a:pt x="598" y="6100"/>
                              <a:pt x="658" y="6220"/>
                              <a:pt x="718" y="6340"/>
                            </a:cubicBezTo>
                            <a:cubicBezTo>
                              <a:pt x="778" y="6459"/>
                              <a:pt x="837" y="6519"/>
                              <a:pt x="957" y="6639"/>
                            </a:cubicBezTo>
                            <a:cubicBezTo>
                              <a:pt x="1076" y="6758"/>
                              <a:pt x="1136" y="6758"/>
                              <a:pt x="1196" y="6818"/>
                            </a:cubicBezTo>
                          </a:path>
                        </a:pathLst>
                      </a:custGeom>
                      <a:noFill/>
                      <a:ln w="6350" cap="flat">
                        <a:solidFill>
                          <a:schemeClr val="bg1">
                            <a:alpha val="40000"/>
                          </a:schemeClr>
                        </a:solidFill>
                        <a:prstDash val="solid"/>
                        <a:miter/>
                      </a:ln>
                    </p:spPr>
                    <p:txBody>
                      <a:bodyPr rtlCol="0" anchor="ctr"/>
                      <a:lstStyle/>
                      <a:p>
                        <a:endParaRPr lang="en-GB"/>
                      </a:p>
                    </p:txBody>
                  </p:sp>
                  <p:sp>
                    <p:nvSpPr>
                      <p:cNvPr id="7484" name="Vrije vorm: vorm 7483">
                        <a:extLst>
                          <a:ext uri="{FF2B5EF4-FFF2-40B4-BE49-F238E27FC236}">
                            <a16:creationId xmlns:a16="http://schemas.microsoft.com/office/drawing/2014/main" id="{C8C317C6-21D0-49EB-9C0B-AD117086521A}"/>
                          </a:ext>
                        </a:extLst>
                      </p:cNvPr>
                      <p:cNvSpPr/>
                      <p:nvPr/>
                    </p:nvSpPr>
                    <p:spPr>
                      <a:xfrm>
                        <a:off x="5061624" y="4938860"/>
                        <a:ext cx="6997" cy="7655"/>
                      </a:xfrm>
                      <a:custGeom>
                        <a:avLst/>
                        <a:gdLst>
                          <a:gd name="connsiteX0" fmla="*/ 2333 w 6997"/>
                          <a:gd name="connsiteY0" fmla="*/ 6220 h 7655"/>
                          <a:gd name="connsiteX1" fmla="*/ 1914 w 6997"/>
                          <a:gd name="connsiteY1" fmla="*/ 5981 h 7655"/>
                          <a:gd name="connsiteX2" fmla="*/ 1734 w 6997"/>
                          <a:gd name="connsiteY2" fmla="*/ 5801 h 7655"/>
                          <a:gd name="connsiteX3" fmla="*/ 1555 w 6997"/>
                          <a:gd name="connsiteY3" fmla="*/ 5562 h 7655"/>
                          <a:gd name="connsiteX4" fmla="*/ 1435 w 6997"/>
                          <a:gd name="connsiteY4" fmla="*/ 5323 h 7655"/>
                          <a:gd name="connsiteX5" fmla="*/ 1316 w 6997"/>
                          <a:gd name="connsiteY5" fmla="*/ 5083 h 7655"/>
                          <a:gd name="connsiteX6" fmla="*/ 1196 w 6997"/>
                          <a:gd name="connsiteY6" fmla="*/ 4665 h 7655"/>
                          <a:gd name="connsiteX7" fmla="*/ 1136 w 6997"/>
                          <a:gd name="connsiteY7" fmla="*/ 4246 h 7655"/>
                          <a:gd name="connsiteX8" fmla="*/ 1196 w 6997"/>
                          <a:gd name="connsiteY8" fmla="*/ 3768 h 7655"/>
                          <a:gd name="connsiteX9" fmla="*/ 1316 w 6997"/>
                          <a:gd name="connsiteY9" fmla="*/ 3289 h 7655"/>
                          <a:gd name="connsiteX10" fmla="*/ 1555 w 6997"/>
                          <a:gd name="connsiteY10" fmla="*/ 2811 h 7655"/>
                          <a:gd name="connsiteX11" fmla="*/ 1854 w 6997"/>
                          <a:gd name="connsiteY11" fmla="*/ 2392 h 7655"/>
                          <a:gd name="connsiteX12" fmla="*/ 2213 w 6997"/>
                          <a:gd name="connsiteY12" fmla="*/ 2033 h 7655"/>
                          <a:gd name="connsiteX13" fmla="*/ 2632 w 6997"/>
                          <a:gd name="connsiteY13" fmla="*/ 1734 h 7655"/>
                          <a:gd name="connsiteX14" fmla="*/ 3110 w 6997"/>
                          <a:gd name="connsiteY14" fmla="*/ 1495 h 7655"/>
                          <a:gd name="connsiteX15" fmla="*/ 3588 w 6997"/>
                          <a:gd name="connsiteY15" fmla="*/ 1375 h 7655"/>
                          <a:gd name="connsiteX16" fmla="*/ 4067 w 6997"/>
                          <a:gd name="connsiteY16" fmla="*/ 1375 h 7655"/>
                          <a:gd name="connsiteX17" fmla="*/ 4486 w 6997"/>
                          <a:gd name="connsiteY17" fmla="*/ 1435 h 7655"/>
                          <a:gd name="connsiteX18" fmla="*/ 4725 w 6997"/>
                          <a:gd name="connsiteY18" fmla="*/ 1495 h 7655"/>
                          <a:gd name="connsiteX19" fmla="*/ 4904 w 6997"/>
                          <a:gd name="connsiteY19" fmla="*/ 1615 h 7655"/>
                          <a:gd name="connsiteX20" fmla="*/ 5083 w 6997"/>
                          <a:gd name="connsiteY20" fmla="*/ 1734 h 7655"/>
                          <a:gd name="connsiteX21" fmla="*/ 5263 w 6997"/>
                          <a:gd name="connsiteY21" fmla="*/ 1854 h 7655"/>
                          <a:gd name="connsiteX22" fmla="*/ 5323 w 6997"/>
                          <a:gd name="connsiteY22" fmla="*/ 1914 h 7655"/>
                          <a:gd name="connsiteX23" fmla="*/ 5383 w 6997"/>
                          <a:gd name="connsiteY23" fmla="*/ 2033 h 7655"/>
                          <a:gd name="connsiteX24" fmla="*/ 5443 w 6997"/>
                          <a:gd name="connsiteY24" fmla="*/ 2153 h 7655"/>
                          <a:gd name="connsiteX25" fmla="*/ 5502 w 6997"/>
                          <a:gd name="connsiteY25" fmla="*/ 2273 h 7655"/>
                          <a:gd name="connsiteX26" fmla="*/ 5562 w 6997"/>
                          <a:gd name="connsiteY26" fmla="*/ 2392 h 7655"/>
                          <a:gd name="connsiteX27" fmla="*/ 5622 w 6997"/>
                          <a:gd name="connsiteY27" fmla="*/ 2512 h 7655"/>
                          <a:gd name="connsiteX28" fmla="*/ 5682 w 6997"/>
                          <a:gd name="connsiteY28" fmla="*/ 2632 h 7655"/>
                          <a:gd name="connsiteX29" fmla="*/ 5742 w 6997"/>
                          <a:gd name="connsiteY29" fmla="*/ 2751 h 7655"/>
                          <a:gd name="connsiteX30" fmla="*/ 5801 w 6997"/>
                          <a:gd name="connsiteY30" fmla="*/ 2990 h 7655"/>
                          <a:gd name="connsiteX31" fmla="*/ 5861 w 6997"/>
                          <a:gd name="connsiteY31" fmla="*/ 3229 h 7655"/>
                          <a:gd name="connsiteX32" fmla="*/ 5921 w 6997"/>
                          <a:gd name="connsiteY32" fmla="*/ 3469 h 7655"/>
                          <a:gd name="connsiteX33" fmla="*/ 5921 w 6997"/>
                          <a:gd name="connsiteY33" fmla="*/ 3708 h 7655"/>
                          <a:gd name="connsiteX34" fmla="*/ 5921 w 6997"/>
                          <a:gd name="connsiteY34" fmla="*/ 3947 h 7655"/>
                          <a:gd name="connsiteX35" fmla="*/ 5921 w 6997"/>
                          <a:gd name="connsiteY35" fmla="*/ 4186 h 7655"/>
                          <a:gd name="connsiteX36" fmla="*/ 5861 w 6997"/>
                          <a:gd name="connsiteY36" fmla="*/ 4426 h 7655"/>
                          <a:gd name="connsiteX37" fmla="*/ 5801 w 6997"/>
                          <a:gd name="connsiteY37" fmla="*/ 4665 h 7655"/>
                          <a:gd name="connsiteX38" fmla="*/ 5622 w 6997"/>
                          <a:gd name="connsiteY38" fmla="*/ 5143 h 7655"/>
                          <a:gd name="connsiteX39" fmla="*/ 5323 w 6997"/>
                          <a:gd name="connsiteY39" fmla="*/ 5562 h 7655"/>
                          <a:gd name="connsiteX40" fmla="*/ 4964 w 6997"/>
                          <a:gd name="connsiteY40" fmla="*/ 5921 h 7655"/>
                          <a:gd name="connsiteX41" fmla="*/ 4545 w 6997"/>
                          <a:gd name="connsiteY41" fmla="*/ 6220 h 7655"/>
                          <a:gd name="connsiteX42" fmla="*/ 4306 w 6997"/>
                          <a:gd name="connsiteY42" fmla="*/ 6340 h 7655"/>
                          <a:gd name="connsiteX43" fmla="*/ 4067 w 6997"/>
                          <a:gd name="connsiteY43" fmla="*/ 6459 h 7655"/>
                          <a:gd name="connsiteX44" fmla="*/ 3828 w 6997"/>
                          <a:gd name="connsiteY44" fmla="*/ 6519 h 7655"/>
                          <a:gd name="connsiteX45" fmla="*/ 3588 w 6997"/>
                          <a:gd name="connsiteY45" fmla="*/ 6579 h 7655"/>
                          <a:gd name="connsiteX46" fmla="*/ 3349 w 6997"/>
                          <a:gd name="connsiteY46" fmla="*/ 6579 h 7655"/>
                          <a:gd name="connsiteX47" fmla="*/ 3110 w 6997"/>
                          <a:gd name="connsiteY47" fmla="*/ 6579 h 7655"/>
                          <a:gd name="connsiteX48" fmla="*/ 2871 w 6997"/>
                          <a:gd name="connsiteY48" fmla="*/ 6579 h 7655"/>
                          <a:gd name="connsiteX49" fmla="*/ 2632 w 6997"/>
                          <a:gd name="connsiteY49" fmla="*/ 6519 h 7655"/>
                          <a:gd name="connsiteX50" fmla="*/ 2333 w 6997"/>
                          <a:gd name="connsiteY50" fmla="*/ 6220 h 7655"/>
                          <a:gd name="connsiteX51" fmla="*/ 1136 w 6997"/>
                          <a:gd name="connsiteY51" fmla="*/ 6937 h 7655"/>
                          <a:gd name="connsiteX52" fmla="*/ 1375 w 6997"/>
                          <a:gd name="connsiteY52" fmla="*/ 7117 h 7655"/>
                          <a:gd name="connsiteX53" fmla="*/ 1675 w 6997"/>
                          <a:gd name="connsiteY53" fmla="*/ 7296 h 7655"/>
                          <a:gd name="connsiteX54" fmla="*/ 1974 w 6997"/>
                          <a:gd name="connsiteY54" fmla="*/ 7416 h 7655"/>
                          <a:gd name="connsiteX55" fmla="*/ 2273 w 6997"/>
                          <a:gd name="connsiteY55" fmla="*/ 7535 h 7655"/>
                          <a:gd name="connsiteX56" fmla="*/ 2751 w 6997"/>
                          <a:gd name="connsiteY56" fmla="*/ 7655 h 7655"/>
                          <a:gd name="connsiteX57" fmla="*/ 3229 w 6997"/>
                          <a:gd name="connsiteY57" fmla="*/ 7655 h 7655"/>
                          <a:gd name="connsiteX58" fmla="*/ 3708 w 6997"/>
                          <a:gd name="connsiteY58" fmla="*/ 7595 h 7655"/>
                          <a:gd name="connsiteX59" fmla="*/ 4187 w 6997"/>
                          <a:gd name="connsiteY59" fmla="*/ 7476 h 7655"/>
                          <a:gd name="connsiteX60" fmla="*/ 4366 w 6997"/>
                          <a:gd name="connsiteY60" fmla="*/ 7416 h 7655"/>
                          <a:gd name="connsiteX61" fmla="*/ 4545 w 6997"/>
                          <a:gd name="connsiteY61" fmla="*/ 7356 h 7655"/>
                          <a:gd name="connsiteX62" fmla="*/ 4725 w 6997"/>
                          <a:gd name="connsiteY62" fmla="*/ 7236 h 7655"/>
                          <a:gd name="connsiteX63" fmla="*/ 4904 w 6997"/>
                          <a:gd name="connsiteY63" fmla="*/ 7117 h 7655"/>
                          <a:gd name="connsiteX64" fmla="*/ 5502 w 6997"/>
                          <a:gd name="connsiteY64" fmla="*/ 6639 h 7655"/>
                          <a:gd name="connsiteX65" fmla="*/ 6041 w 6997"/>
                          <a:gd name="connsiteY65" fmla="*/ 6100 h 7655"/>
                          <a:gd name="connsiteX66" fmla="*/ 6459 w 6997"/>
                          <a:gd name="connsiteY66" fmla="*/ 5502 h 7655"/>
                          <a:gd name="connsiteX67" fmla="*/ 6758 w 6997"/>
                          <a:gd name="connsiteY67" fmla="*/ 4785 h 7655"/>
                          <a:gd name="connsiteX68" fmla="*/ 6938 w 6997"/>
                          <a:gd name="connsiteY68" fmla="*/ 4127 h 7655"/>
                          <a:gd name="connsiteX69" fmla="*/ 6997 w 6997"/>
                          <a:gd name="connsiteY69" fmla="*/ 3469 h 7655"/>
                          <a:gd name="connsiteX70" fmla="*/ 6938 w 6997"/>
                          <a:gd name="connsiteY70" fmla="*/ 2811 h 7655"/>
                          <a:gd name="connsiteX71" fmla="*/ 6758 w 6997"/>
                          <a:gd name="connsiteY71" fmla="*/ 2213 h 7655"/>
                          <a:gd name="connsiteX72" fmla="*/ 6758 w 6997"/>
                          <a:gd name="connsiteY72" fmla="*/ 2153 h 7655"/>
                          <a:gd name="connsiteX73" fmla="*/ 6698 w 6997"/>
                          <a:gd name="connsiteY73" fmla="*/ 2093 h 7655"/>
                          <a:gd name="connsiteX74" fmla="*/ 6639 w 6997"/>
                          <a:gd name="connsiteY74" fmla="*/ 2033 h 7655"/>
                          <a:gd name="connsiteX75" fmla="*/ 6579 w 6997"/>
                          <a:gd name="connsiteY75" fmla="*/ 1973 h 7655"/>
                          <a:gd name="connsiteX76" fmla="*/ 6519 w 6997"/>
                          <a:gd name="connsiteY76" fmla="*/ 1734 h 7655"/>
                          <a:gd name="connsiteX77" fmla="*/ 6399 w 6997"/>
                          <a:gd name="connsiteY77" fmla="*/ 1555 h 7655"/>
                          <a:gd name="connsiteX78" fmla="*/ 6280 w 6997"/>
                          <a:gd name="connsiteY78" fmla="*/ 1375 h 7655"/>
                          <a:gd name="connsiteX79" fmla="*/ 6160 w 6997"/>
                          <a:gd name="connsiteY79" fmla="*/ 1196 h 7655"/>
                          <a:gd name="connsiteX80" fmla="*/ 6100 w 6997"/>
                          <a:gd name="connsiteY80" fmla="*/ 1076 h 7655"/>
                          <a:gd name="connsiteX81" fmla="*/ 6041 w 6997"/>
                          <a:gd name="connsiteY81" fmla="*/ 957 h 7655"/>
                          <a:gd name="connsiteX82" fmla="*/ 5921 w 6997"/>
                          <a:gd name="connsiteY82" fmla="*/ 837 h 7655"/>
                          <a:gd name="connsiteX83" fmla="*/ 5801 w 6997"/>
                          <a:gd name="connsiteY83" fmla="*/ 778 h 7655"/>
                          <a:gd name="connsiteX84" fmla="*/ 5562 w 6997"/>
                          <a:gd name="connsiteY84" fmla="*/ 598 h 7655"/>
                          <a:gd name="connsiteX85" fmla="*/ 5263 w 6997"/>
                          <a:gd name="connsiteY85" fmla="*/ 418 h 7655"/>
                          <a:gd name="connsiteX86" fmla="*/ 4964 w 6997"/>
                          <a:gd name="connsiteY86" fmla="*/ 239 h 7655"/>
                          <a:gd name="connsiteX87" fmla="*/ 4665 w 6997"/>
                          <a:gd name="connsiteY87" fmla="*/ 119 h 7655"/>
                          <a:gd name="connsiteX88" fmla="*/ 4067 w 6997"/>
                          <a:gd name="connsiteY88" fmla="*/ 0 h 7655"/>
                          <a:gd name="connsiteX89" fmla="*/ 3469 w 6997"/>
                          <a:gd name="connsiteY89" fmla="*/ 0 h 7655"/>
                          <a:gd name="connsiteX90" fmla="*/ 2871 w 6997"/>
                          <a:gd name="connsiteY90" fmla="*/ 119 h 7655"/>
                          <a:gd name="connsiteX91" fmla="*/ 2273 w 6997"/>
                          <a:gd name="connsiteY91" fmla="*/ 299 h 7655"/>
                          <a:gd name="connsiteX92" fmla="*/ 2213 w 6997"/>
                          <a:gd name="connsiteY92" fmla="*/ 359 h 7655"/>
                          <a:gd name="connsiteX93" fmla="*/ 2153 w 6997"/>
                          <a:gd name="connsiteY93" fmla="*/ 418 h 7655"/>
                          <a:gd name="connsiteX94" fmla="*/ 2093 w 6997"/>
                          <a:gd name="connsiteY94" fmla="*/ 478 h 7655"/>
                          <a:gd name="connsiteX95" fmla="*/ 2034 w 6997"/>
                          <a:gd name="connsiteY95" fmla="*/ 538 h 7655"/>
                          <a:gd name="connsiteX96" fmla="*/ 1435 w 6997"/>
                          <a:gd name="connsiteY96" fmla="*/ 957 h 7655"/>
                          <a:gd name="connsiteX97" fmla="*/ 897 w 6997"/>
                          <a:gd name="connsiteY97" fmla="*/ 1495 h 7655"/>
                          <a:gd name="connsiteX98" fmla="*/ 479 w 6997"/>
                          <a:gd name="connsiteY98" fmla="*/ 2153 h 7655"/>
                          <a:gd name="connsiteX99" fmla="*/ 180 w 6997"/>
                          <a:gd name="connsiteY99" fmla="*/ 2871 h 7655"/>
                          <a:gd name="connsiteX100" fmla="*/ 120 w 6997"/>
                          <a:gd name="connsiteY100" fmla="*/ 2990 h 7655"/>
                          <a:gd name="connsiteX101" fmla="*/ 60 w 6997"/>
                          <a:gd name="connsiteY101" fmla="*/ 3110 h 7655"/>
                          <a:gd name="connsiteX102" fmla="*/ 60 w 6997"/>
                          <a:gd name="connsiteY102" fmla="*/ 3229 h 7655"/>
                          <a:gd name="connsiteX103" fmla="*/ 60 w 6997"/>
                          <a:gd name="connsiteY103" fmla="*/ 3349 h 7655"/>
                          <a:gd name="connsiteX104" fmla="*/ 0 w 6997"/>
                          <a:gd name="connsiteY104" fmla="*/ 3469 h 7655"/>
                          <a:gd name="connsiteX105" fmla="*/ 0 w 6997"/>
                          <a:gd name="connsiteY105" fmla="*/ 3588 h 7655"/>
                          <a:gd name="connsiteX106" fmla="*/ 0 w 6997"/>
                          <a:gd name="connsiteY106" fmla="*/ 3708 h 7655"/>
                          <a:gd name="connsiteX107" fmla="*/ 0 w 6997"/>
                          <a:gd name="connsiteY107" fmla="*/ 3827 h 7655"/>
                          <a:gd name="connsiteX108" fmla="*/ 0 w 6997"/>
                          <a:gd name="connsiteY108" fmla="*/ 4306 h 7655"/>
                          <a:gd name="connsiteX109" fmla="*/ 60 w 6997"/>
                          <a:gd name="connsiteY109" fmla="*/ 4785 h 7655"/>
                          <a:gd name="connsiteX110" fmla="*/ 180 w 6997"/>
                          <a:gd name="connsiteY110" fmla="*/ 5263 h 7655"/>
                          <a:gd name="connsiteX111" fmla="*/ 359 w 6997"/>
                          <a:gd name="connsiteY111" fmla="*/ 5681 h 7655"/>
                          <a:gd name="connsiteX112" fmla="*/ 359 w 6997"/>
                          <a:gd name="connsiteY112" fmla="*/ 5681 h 7655"/>
                          <a:gd name="connsiteX113" fmla="*/ 359 w 6997"/>
                          <a:gd name="connsiteY113" fmla="*/ 5681 h 7655"/>
                          <a:gd name="connsiteX114" fmla="*/ 359 w 6997"/>
                          <a:gd name="connsiteY114" fmla="*/ 5681 h 7655"/>
                          <a:gd name="connsiteX115" fmla="*/ 359 w 6997"/>
                          <a:gd name="connsiteY115" fmla="*/ 5681 h 7655"/>
                          <a:gd name="connsiteX116" fmla="*/ 538 w 6997"/>
                          <a:gd name="connsiteY116" fmla="*/ 5981 h 7655"/>
                          <a:gd name="connsiteX117" fmla="*/ 718 w 6997"/>
                          <a:gd name="connsiteY117" fmla="*/ 6280 h 7655"/>
                          <a:gd name="connsiteX118" fmla="*/ 897 w 6997"/>
                          <a:gd name="connsiteY118" fmla="*/ 6519 h 7655"/>
                          <a:gd name="connsiteX119" fmla="*/ 1136 w 6997"/>
                          <a:gd name="connsiteY119" fmla="*/ 6937 h 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997" h="7655">
                            <a:moveTo>
                              <a:pt x="2333" y="6220"/>
                            </a:moveTo>
                            <a:lnTo>
                              <a:pt x="1914" y="5981"/>
                            </a:lnTo>
                            <a:cubicBezTo>
                              <a:pt x="1854" y="5921"/>
                              <a:pt x="1794" y="5861"/>
                              <a:pt x="1734" y="5801"/>
                            </a:cubicBezTo>
                            <a:cubicBezTo>
                              <a:pt x="1675" y="5741"/>
                              <a:pt x="1615" y="5681"/>
                              <a:pt x="1555" y="5562"/>
                            </a:cubicBezTo>
                            <a:cubicBezTo>
                              <a:pt x="1495" y="5502"/>
                              <a:pt x="1435" y="5382"/>
                              <a:pt x="1435" y="5323"/>
                            </a:cubicBezTo>
                            <a:cubicBezTo>
                              <a:pt x="1375" y="5263"/>
                              <a:pt x="1375" y="5143"/>
                              <a:pt x="1316" y="5083"/>
                            </a:cubicBezTo>
                            <a:cubicBezTo>
                              <a:pt x="1256" y="4964"/>
                              <a:pt x="1256" y="4785"/>
                              <a:pt x="1196" y="4665"/>
                            </a:cubicBezTo>
                            <a:cubicBezTo>
                              <a:pt x="1196" y="4545"/>
                              <a:pt x="1136" y="4366"/>
                              <a:pt x="1136" y="4246"/>
                            </a:cubicBezTo>
                            <a:cubicBezTo>
                              <a:pt x="1136" y="4067"/>
                              <a:pt x="1136" y="3947"/>
                              <a:pt x="1196" y="3768"/>
                            </a:cubicBezTo>
                            <a:cubicBezTo>
                              <a:pt x="1196" y="3588"/>
                              <a:pt x="1256" y="3469"/>
                              <a:pt x="1316" y="3289"/>
                            </a:cubicBezTo>
                            <a:cubicBezTo>
                              <a:pt x="1375" y="3110"/>
                              <a:pt x="1435" y="2990"/>
                              <a:pt x="1555" y="2811"/>
                            </a:cubicBezTo>
                            <a:cubicBezTo>
                              <a:pt x="1615" y="2691"/>
                              <a:pt x="1734" y="2512"/>
                              <a:pt x="1854" y="2392"/>
                            </a:cubicBezTo>
                            <a:cubicBezTo>
                              <a:pt x="1974" y="2273"/>
                              <a:pt x="2093" y="2153"/>
                              <a:pt x="2213" y="2033"/>
                            </a:cubicBezTo>
                            <a:cubicBezTo>
                              <a:pt x="2333" y="1914"/>
                              <a:pt x="2452" y="1854"/>
                              <a:pt x="2632" y="1734"/>
                            </a:cubicBezTo>
                            <a:cubicBezTo>
                              <a:pt x="2751" y="1674"/>
                              <a:pt x="2930" y="1555"/>
                              <a:pt x="3110" y="1495"/>
                            </a:cubicBezTo>
                            <a:cubicBezTo>
                              <a:pt x="3289" y="1435"/>
                              <a:pt x="3409" y="1375"/>
                              <a:pt x="3588" y="1375"/>
                            </a:cubicBezTo>
                            <a:cubicBezTo>
                              <a:pt x="3768" y="1375"/>
                              <a:pt x="3888" y="1375"/>
                              <a:pt x="4067" y="1375"/>
                            </a:cubicBezTo>
                            <a:cubicBezTo>
                              <a:pt x="4246" y="1375"/>
                              <a:pt x="4366" y="1435"/>
                              <a:pt x="4486" y="1435"/>
                            </a:cubicBezTo>
                            <a:cubicBezTo>
                              <a:pt x="4545" y="1435"/>
                              <a:pt x="4665" y="1495"/>
                              <a:pt x="4725" y="1495"/>
                            </a:cubicBezTo>
                            <a:cubicBezTo>
                              <a:pt x="4785" y="1495"/>
                              <a:pt x="4844" y="1555"/>
                              <a:pt x="4904" y="1615"/>
                            </a:cubicBezTo>
                            <a:cubicBezTo>
                              <a:pt x="4964" y="1674"/>
                              <a:pt x="5024" y="1674"/>
                              <a:pt x="5083" y="1734"/>
                            </a:cubicBezTo>
                            <a:cubicBezTo>
                              <a:pt x="5143" y="1794"/>
                              <a:pt x="5203" y="1854"/>
                              <a:pt x="5263" y="1854"/>
                            </a:cubicBezTo>
                            <a:cubicBezTo>
                              <a:pt x="5323" y="1854"/>
                              <a:pt x="5323" y="1914"/>
                              <a:pt x="5323" y="1914"/>
                            </a:cubicBezTo>
                            <a:cubicBezTo>
                              <a:pt x="5323" y="1914"/>
                              <a:pt x="5383" y="1973"/>
                              <a:pt x="5383" y="2033"/>
                            </a:cubicBezTo>
                            <a:cubicBezTo>
                              <a:pt x="5383" y="2093"/>
                              <a:pt x="5443" y="2093"/>
                              <a:pt x="5443" y="2153"/>
                            </a:cubicBezTo>
                            <a:cubicBezTo>
                              <a:pt x="5443" y="2213"/>
                              <a:pt x="5502" y="2213"/>
                              <a:pt x="5502" y="2273"/>
                            </a:cubicBezTo>
                            <a:cubicBezTo>
                              <a:pt x="5502" y="2273"/>
                              <a:pt x="5562" y="2332"/>
                              <a:pt x="5562" y="2392"/>
                            </a:cubicBezTo>
                            <a:cubicBezTo>
                              <a:pt x="5562" y="2452"/>
                              <a:pt x="5622" y="2452"/>
                              <a:pt x="5622" y="2512"/>
                            </a:cubicBezTo>
                            <a:cubicBezTo>
                              <a:pt x="5622" y="2572"/>
                              <a:pt x="5682" y="2572"/>
                              <a:pt x="5682" y="2632"/>
                            </a:cubicBezTo>
                            <a:cubicBezTo>
                              <a:pt x="5682" y="2691"/>
                              <a:pt x="5742" y="2691"/>
                              <a:pt x="5742" y="2751"/>
                            </a:cubicBezTo>
                            <a:cubicBezTo>
                              <a:pt x="5742" y="2811"/>
                              <a:pt x="5801" y="2871"/>
                              <a:pt x="5801" y="2990"/>
                            </a:cubicBezTo>
                            <a:cubicBezTo>
                              <a:pt x="5801" y="3050"/>
                              <a:pt x="5861" y="3110"/>
                              <a:pt x="5861" y="3229"/>
                            </a:cubicBezTo>
                            <a:cubicBezTo>
                              <a:pt x="5861" y="3289"/>
                              <a:pt x="5861" y="3409"/>
                              <a:pt x="5921" y="3469"/>
                            </a:cubicBezTo>
                            <a:cubicBezTo>
                              <a:pt x="5981" y="3528"/>
                              <a:pt x="5921" y="3648"/>
                              <a:pt x="5921" y="3708"/>
                            </a:cubicBezTo>
                            <a:cubicBezTo>
                              <a:pt x="5921" y="3768"/>
                              <a:pt x="5921" y="3887"/>
                              <a:pt x="5921" y="3947"/>
                            </a:cubicBezTo>
                            <a:cubicBezTo>
                              <a:pt x="5921" y="4007"/>
                              <a:pt x="5921" y="4127"/>
                              <a:pt x="5921" y="4186"/>
                            </a:cubicBezTo>
                            <a:cubicBezTo>
                              <a:pt x="5921" y="4246"/>
                              <a:pt x="5921" y="4366"/>
                              <a:pt x="5861" y="4426"/>
                            </a:cubicBezTo>
                            <a:cubicBezTo>
                              <a:pt x="5801" y="4486"/>
                              <a:pt x="5801" y="4605"/>
                              <a:pt x="5801" y="4665"/>
                            </a:cubicBezTo>
                            <a:cubicBezTo>
                              <a:pt x="5742" y="4844"/>
                              <a:pt x="5682" y="4964"/>
                              <a:pt x="5622" y="5143"/>
                            </a:cubicBezTo>
                            <a:cubicBezTo>
                              <a:pt x="5562" y="5263"/>
                              <a:pt x="5443" y="5442"/>
                              <a:pt x="5323" y="5562"/>
                            </a:cubicBezTo>
                            <a:cubicBezTo>
                              <a:pt x="5203" y="5681"/>
                              <a:pt x="5083" y="5801"/>
                              <a:pt x="4964" y="5921"/>
                            </a:cubicBezTo>
                            <a:cubicBezTo>
                              <a:pt x="4844" y="6040"/>
                              <a:pt x="4725" y="6100"/>
                              <a:pt x="4545" y="6220"/>
                            </a:cubicBezTo>
                            <a:cubicBezTo>
                              <a:pt x="4486" y="6280"/>
                              <a:pt x="4426" y="6280"/>
                              <a:pt x="4306" y="6340"/>
                            </a:cubicBezTo>
                            <a:cubicBezTo>
                              <a:pt x="4246" y="6399"/>
                              <a:pt x="4187" y="6399"/>
                              <a:pt x="4067" y="6459"/>
                            </a:cubicBezTo>
                            <a:cubicBezTo>
                              <a:pt x="4007" y="6459"/>
                              <a:pt x="3947" y="6519"/>
                              <a:pt x="3828" y="6519"/>
                            </a:cubicBezTo>
                            <a:cubicBezTo>
                              <a:pt x="3708" y="6519"/>
                              <a:pt x="3648" y="6579"/>
                              <a:pt x="3588" y="6579"/>
                            </a:cubicBezTo>
                            <a:cubicBezTo>
                              <a:pt x="3529" y="6579"/>
                              <a:pt x="3409" y="6579"/>
                              <a:pt x="3349" y="6579"/>
                            </a:cubicBezTo>
                            <a:cubicBezTo>
                              <a:pt x="3289" y="6579"/>
                              <a:pt x="3170" y="6579"/>
                              <a:pt x="3110" y="6579"/>
                            </a:cubicBezTo>
                            <a:cubicBezTo>
                              <a:pt x="3050" y="6579"/>
                              <a:pt x="2930" y="6579"/>
                              <a:pt x="2871" y="6579"/>
                            </a:cubicBezTo>
                            <a:cubicBezTo>
                              <a:pt x="2811" y="6579"/>
                              <a:pt x="2691" y="6519"/>
                              <a:pt x="2632" y="6519"/>
                            </a:cubicBezTo>
                            <a:lnTo>
                              <a:pt x="2333" y="6220"/>
                            </a:lnTo>
                            <a:moveTo>
                              <a:pt x="1136" y="6937"/>
                            </a:moveTo>
                            <a:cubicBezTo>
                              <a:pt x="1196" y="6997"/>
                              <a:pt x="1316" y="7057"/>
                              <a:pt x="1375" y="7117"/>
                            </a:cubicBezTo>
                            <a:cubicBezTo>
                              <a:pt x="1435" y="7177"/>
                              <a:pt x="1555" y="7236"/>
                              <a:pt x="1675" y="7296"/>
                            </a:cubicBezTo>
                            <a:cubicBezTo>
                              <a:pt x="1794" y="7356"/>
                              <a:pt x="1854" y="7416"/>
                              <a:pt x="1974" y="7416"/>
                            </a:cubicBezTo>
                            <a:cubicBezTo>
                              <a:pt x="2093" y="7476"/>
                              <a:pt x="2153" y="7476"/>
                              <a:pt x="2273" y="7535"/>
                            </a:cubicBezTo>
                            <a:cubicBezTo>
                              <a:pt x="2392" y="7595"/>
                              <a:pt x="2572" y="7595"/>
                              <a:pt x="2751" y="7655"/>
                            </a:cubicBezTo>
                            <a:cubicBezTo>
                              <a:pt x="2930" y="7655"/>
                              <a:pt x="3050" y="7655"/>
                              <a:pt x="3229" y="7655"/>
                            </a:cubicBezTo>
                            <a:cubicBezTo>
                              <a:pt x="3409" y="7655"/>
                              <a:pt x="3529" y="7655"/>
                              <a:pt x="3708" y="7595"/>
                            </a:cubicBezTo>
                            <a:cubicBezTo>
                              <a:pt x="3888" y="7595"/>
                              <a:pt x="4007" y="7535"/>
                              <a:pt x="4187" y="7476"/>
                            </a:cubicBezTo>
                            <a:cubicBezTo>
                              <a:pt x="4246" y="7476"/>
                              <a:pt x="4306" y="7416"/>
                              <a:pt x="4366" y="7416"/>
                            </a:cubicBezTo>
                            <a:cubicBezTo>
                              <a:pt x="4426" y="7416"/>
                              <a:pt x="4486" y="7356"/>
                              <a:pt x="4545" y="7356"/>
                            </a:cubicBezTo>
                            <a:cubicBezTo>
                              <a:pt x="4605" y="7356"/>
                              <a:pt x="4665" y="7296"/>
                              <a:pt x="4725" y="7236"/>
                            </a:cubicBezTo>
                            <a:cubicBezTo>
                              <a:pt x="4785" y="7177"/>
                              <a:pt x="4844" y="7177"/>
                              <a:pt x="4904" y="7117"/>
                            </a:cubicBezTo>
                            <a:cubicBezTo>
                              <a:pt x="5143" y="6997"/>
                              <a:pt x="5323" y="6818"/>
                              <a:pt x="5502" y="6639"/>
                            </a:cubicBezTo>
                            <a:cubicBezTo>
                              <a:pt x="5682" y="6459"/>
                              <a:pt x="5861" y="6280"/>
                              <a:pt x="6041" y="6100"/>
                            </a:cubicBezTo>
                            <a:cubicBezTo>
                              <a:pt x="6220" y="5921"/>
                              <a:pt x="6340" y="5681"/>
                              <a:pt x="6459" y="5502"/>
                            </a:cubicBezTo>
                            <a:cubicBezTo>
                              <a:pt x="6579" y="5263"/>
                              <a:pt x="6698" y="5024"/>
                              <a:pt x="6758" y="4785"/>
                            </a:cubicBezTo>
                            <a:cubicBezTo>
                              <a:pt x="6818" y="4545"/>
                              <a:pt x="6878" y="4366"/>
                              <a:pt x="6938" y="4127"/>
                            </a:cubicBezTo>
                            <a:cubicBezTo>
                              <a:pt x="6997" y="3887"/>
                              <a:pt x="6997" y="3708"/>
                              <a:pt x="6997" y="3469"/>
                            </a:cubicBezTo>
                            <a:cubicBezTo>
                              <a:pt x="6997" y="3229"/>
                              <a:pt x="6997" y="3050"/>
                              <a:pt x="6938" y="2811"/>
                            </a:cubicBezTo>
                            <a:cubicBezTo>
                              <a:pt x="6878" y="2632"/>
                              <a:pt x="6878" y="2392"/>
                              <a:pt x="6758" y="2213"/>
                            </a:cubicBezTo>
                            <a:cubicBezTo>
                              <a:pt x="6758" y="2213"/>
                              <a:pt x="6758" y="2153"/>
                              <a:pt x="6758" y="2153"/>
                            </a:cubicBezTo>
                            <a:cubicBezTo>
                              <a:pt x="6758" y="2153"/>
                              <a:pt x="6758" y="2093"/>
                              <a:pt x="6698" y="2093"/>
                            </a:cubicBezTo>
                            <a:cubicBezTo>
                              <a:pt x="6698" y="2093"/>
                              <a:pt x="6698" y="2033"/>
                              <a:pt x="6639" y="2033"/>
                            </a:cubicBezTo>
                            <a:cubicBezTo>
                              <a:pt x="6579" y="2033"/>
                              <a:pt x="6639" y="1973"/>
                              <a:pt x="6579" y="1973"/>
                            </a:cubicBezTo>
                            <a:cubicBezTo>
                              <a:pt x="6579" y="1914"/>
                              <a:pt x="6519" y="1854"/>
                              <a:pt x="6519" y="1734"/>
                            </a:cubicBezTo>
                            <a:cubicBezTo>
                              <a:pt x="6459" y="1674"/>
                              <a:pt x="6459" y="1615"/>
                              <a:pt x="6399" y="1555"/>
                            </a:cubicBezTo>
                            <a:cubicBezTo>
                              <a:pt x="6340" y="1495"/>
                              <a:pt x="6340" y="1435"/>
                              <a:pt x="6280" y="1375"/>
                            </a:cubicBezTo>
                            <a:cubicBezTo>
                              <a:pt x="6220" y="1316"/>
                              <a:pt x="6220" y="1256"/>
                              <a:pt x="6160" y="1196"/>
                            </a:cubicBezTo>
                            <a:cubicBezTo>
                              <a:pt x="6160" y="1136"/>
                              <a:pt x="6100" y="1136"/>
                              <a:pt x="6100" y="1076"/>
                            </a:cubicBezTo>
                            <a:cubicBezTo>
                              <a:pt x="6100" y="1017"/>
                              <a:pt x="6041" y="1017"/>
                              <a:pt x="6041" y="957"/>
                            </a:cubicBezTo>
                            <a:cubicBezTo>
                              <a:pt x="6041" y="897"/>
                              <a:pt x="5981" y="897"/>
                              <a:pt x="5921" y="837"/>
                            </a:cubicBezTo>
                            <a:cubicBezTo>
                              <a:pt x="5861" y="778"/>
                              <a:pt x="5861" y="778"/>
                              <a:pt x="5801" y="778"/>
                            </a:cubicBezTo>
                            <a:cubicBezTo>
                              <a:pt x="5742" y="718"/>
                              <a:pt x="5622" y="658"/>
                              <a:pt x="5562" y="598"/>
                            </a:cubicBezTo>
                            <a:cubicBezTo>
                              <a:pt x="5502" y="538"/>
                              <a:pt x="5383" y="478"/>
                              <a:pt x="5263" y="418"/>
                            </a:cubicBezTo>
                            <a:cubicBezTo>
                              <a:pt x="5143" y="359"/>
                              <a:pt x="5083" y="299"/>
                              <a:pt x="4964" y="239"/>
                            </a:cubicBezTo>
                            <a:cubicBezTo>
                              <a:pt x="4844" y="179"/>
                              <a:pt x="4785" y="179"/>
                              <a:pt x="4665" y="119"/>
                            </a:cubicBezTo>
                            <a:cubicBezTo>
                              <a:pt x="4486" y="60"/>
                              <a:pt x="4306" y="0"/>
                              <a:pt x="4067" y="0"/>
                            </a:cubicBezTo>
                            <a:cubicBezTo>
                              <a:pt x="3888" y="0"/>
                              <a:pt x="3648" y="0"/>
                              <a:pt x="3469" y="0"/>
                            </a:cubicBezTo>
                            <a:cubicBezTo>
                              <a:pt x="3289" y="0"/>
                              <a:pt x="3050" y="60"/>
                              <a:pt x="2871" y="119"/>
                            </a:cubicBezTo>
                            <a:cubicBezTo>
                              <a:pt x="2691" y="179"/>
                              <a:pt x="2452" y="239"/>
                              <a:pt x="2273" y="299"/>
                            </a:cubicBezTo>
                            <a:cubicBezTo>
                              <a:pt x="2273" y="299"/>
                              <a:pt x="2213" y="299"/>
                              <a:pt x="2213" y="359"/>
                            </a:cubicBezTo>
                            <a:cubicBezTo>
                              <a:pt x="2213" y="359"/>
                              <a:pt x="2153" y="359"/>
                              <a:pt x="2153" y="418"/>
                            </a:cubicBezTo>
                            <a:cubicBezTo>
                              <a:pt x="2153" y="418"/>
                              <a:pt x="2093" y="418"/>
                              <a:pt x="2093" y="478"/>
                            </a:cubicBezTo>
                            <a:cubicBezTo>
                              <a:pt x="2093" y="478"/>
                              <a:pt x="2034" y="538"/>
                              <a:pt x="2034" y="538"/>
                            </a:cubicBezTo>
                            <a:cubicBezTo>
                              <a:pt x="1854" y="658"/>
                              <a:pt x="1615" y="837"/>
                              <a:pt x="1435" y="957"/>
                            </a:cubicBezTo>
                            <a:cubicBezTo>
                              <a:pt x="1256" y="1136"/>
                              <a:pt x="1076" y="1316"/>
                              <a:pt x="897" y="1495"/>
                            </a:cubicBezTo>
                            <a:cubicBezTo>
                              <a:pt x="718" y="1674"/>
                              <a:pt x="598" y="1914"/>
                              <a:pt x="479" y="2153"/>
                            </a:cubicBezTo>
                            <a:cubicBezTo>
                              <a:pt x="359" y="2392"/>
                              <a:pt x="239" y="2632"/>
                              <a:pt x="180" y="2871"/>
                            </a:cubicBezTo>
                            <a:cubicBezTo>
                              <a:pt x="180" y="2930"/>
                              <a:pt x="180" y="2930"/>
                              <a:pt x="120" y="2990"/>
                            </a:cubicBezTo>
                            <a:cubicBezTo>
                              <a:pt x="120" y="3050"/>
                              <a:pt x="120" y="3050"/>
                              <a:pt x="60" y="3110"/>
                            </a:cubicBezTo>
                            <a:cubicBezTo>
                              <a:pt x="60" y="3170"/>
                              <a:pt x="60" y="3170"/>
                              <a:pt x="60" y="3229"/>
                            </a:cubicBezTo>
                            <a:cubicBezTo>
                              <a:pt x="60" y="3289"/>
                              <a:pt x="60" y="3289"/>
                              <a:pt x="60" y="3349"/>
                            </a:cubicBezTo>
                            <a:cubicBezTo>
                              <a:pt x="60" y="3409"/>
                              <a:pt x="60" y="3469"/>
                              <a:pt x="0" y="3469"/>
                            </a:cubicBezTo>
                            <a:cubicBezTo>
                              <a:pt x="0" y="3528"/>
                              <a:pt x="0" y="3588"/>
                              <a:pt x="0" y="3588"/>
                            </a:cubicBezTo>
                            <a:cubicBezTo>
                              <a:pt x="0" y="3648"/>
                              <a:pt x="0" y="3708"/>
                              <a:pt x="0" y="3708"/>
                            </a:cubicBezTo>
                            <a:cubicBezTo>
                              <a:pt x="0" y="3768"/>
                              <a:pt x="0" y="3827"/>
                              <a:pt x="0" y="3827"/>
                            </a:cubicBezTo>
                            <a:cubicBezTo>
                              <a:pt x="0" y="4007"/>
                              <a:pt x="0" y="4127"/>
                              <a:pt x="0" y="4306"/>
                            </a:cubicBezTo>
                            <a:cubicBezTo>
                              <a:pt x="0" y="4486"/>
                              <a:pt x="0" y="4605"/>
                              <a:pt x="60" y="4785"/>
                            </a:cubicBezTo>
                            <a:cubicBezTo>
                              <a:pt x="60" y="4964"/>
                              <a:pt x="120" y="5083"/>
                              <a:pt x="180" y="5263"/>
                            </a:cubicBezTo>
                            <a:cubicBezTo>
                              <a:pt x="239" y="5442"/>
                              <a:pt x="299" y="5562"/>
                              <a:pt x="359" y="5681"/>
                            </a:cubicBezTo>
                            <a:cubicBezTo>
                              <a:pt x="359" y="5681"/>
                              <a:pt x="359" y="5681"/>
                              <a:pt x="359" y="5681"/>
                            </a:cubicBezTo>
                            <a:cubicBezTo>
                              <a:pt x="359" y="5681"/>
                              <a:pt x="359" y="5681"/>
                              <a:pt x="359" y="5681"/>
                            </a:cubicBezTo>
                            <a:cubicBezTo>
                              <a:pt x="359" y="5681"/>
                              <a:pt x="359" y="5681"/>
                              <a:pt x="359" y="5681"/>
                            </a:cubicBezTo>
                            <a:cubicBezTo>
                              <a:pt x="359" y="5681"/>
                              <a:pt x="359" y="5681"/>
                              <a:pt x="359" y="5681"/>
                            </a:cubicBezTo>
                            <a:cubicBezTo>
                              <a:pt x="419" y="5801"/>
                              <a:pt x="479" y="5861"/>
                              <a:pt x="538" y="5981"/>
                            </a:cubicBezTo>
                            <a:cubicBezTo>
                              <a:pt x="598" y="6100"/>
                              <a:pt x="658" y="6160"/>
                              <a:pt x="718" y="6280"/>
                            </a:cubicBezTo>
                            <a:cubicBezTo>
                              <a:pt x="778" y="6340"/>
                              <a:pt x="837" y="6459"/>
                              <a:pt x="897" y="6519"/>
                            </a:cubicBezTo>
                            <a:cubicBezTo>
                              <a:pt x="957" y="6818"/>
                              <a:pt x="1017" y="6878"/>
                              <a:pt x="1136" y="6937"/>
                            </a:cubicBezTo>
                          </a:path>
                        </a:pathLst>
                      </a:custGeom>
                      <a:noFill/>
                      <a:ln w="6350" cap="flat">
                        <a:solidFill>
                          <a:schemeClr val="bg1">
                            <a:alpha val="40000"/>
                          </a:schemeClr>
                        </a:solidFill>
                        <a:prstDash val="solid"/>
                        <a:miter/>
                      </a:ln>
                    </p:spPr>
                    <p:txBody>
                      <a:bodyPr rtlCol="0" anchor="ctr"/>
                      <a:lstStyle/>
                      <a:p>
                        <a:endParaRPr lang="en-GB"/>
                      </a:p>
                    </p:txBody>
                  </p:sp>
                  <p:sp>
                    <p:nvSpPr>
                      <p:cNvPr id="7485" name="Vrije vorm: vorm 7484">
                        <a:extLst>
                          <a:ext uri="{FF2B5EF4-FFF2-40B4-BE49-F238E27FC236}">
                            <a16:creationId xmlns:a16="http://schemas.microsoft.com/office/drawing/2014/main" id="{951761A4-E550-474D-B520-CDE6DE79BF06}"/>
                          </a:ext>
                        </a:extLst>
                      </p:cNvPr>
                      <p:cNvSpPr/>
                      <p:nvPr/>
                    </p:nvSpPr>
                    <p:spPr>
                      <a:xfrm>
                        <a:off x="5069578" y="4945917"/>
                        <a:ext cx="6997" cy="7834"/>
                      </a:xfrm>
                      <a:custGeom>
                        <a:avLst/>
                        <a:gdLst>
                          <a:gd name="connsiteX0" fmla="*/ 3170 w 6997"/>
                          <a:gd name="connsiteY0" fmla="*/ 6698 h 7834"/>
                          <a:gd name="connsiteX1" fmla="*/ 3050 w 6997"/>
                          <a:gd name="connsiteY1" fmla="*/ 6698 h 7834"/>
                          <a:gd name="connsiteX2" fmla="*/ 2930 w 6997"/>
                          <a:gd name="connsiteY2" fmla="*/ 6698 h 7834"/>
                          <a:gd name="connsiteX3" fmla="*/ 2811 w 6997"/>
                          <a:gd name="connsiteY3" fmla="*/ 6698 h 7834"/>
                          <a:gd name="connsiteX4" fmla="*/ 2691 w 6997"/>
                          <a:gd name="connsiteY4" fmla="*/ 6698 h 7834"/>
                          <a:gd name="connsiteX5" fmla="*/ 2452 w 6997"/>
                          <a:gd name="connsiteY5" fmla="*/ 6639 h 7834"/>
                          <a:gd name="connsiteX6" fmla="*/ 2273 w 6997"/>
                          <a:gd name="connsiteY6" fmla="*/ 6519 h 7834"/>
                          <a:gd name="connsiteX7" fmla="*/ 2093 w 6997"/>
                          <a:gd name="connsiteY7" fmla="*/ 6399 h 7834"/>
                          <a:gd name="connsiteX8" fmla="*/ 1914 w 6997"/>
                          <a:gd name="connsiteY8" fmla="*/ 6280 h 7834"/>
                          <a:gd name="connsiteX9" fmla="*/ 1734 w 6997"/>
                          <a:gd name="connsiteY9" fmla="*/ 6100 h 7834"/>
                          <a:gd name="connsiteX10" fmla="*/ 1615 w 6997"/>
                          <a:gd name="connsiteY10" fmla="*/ 5921 h 7834"/>
                          <a:gd name="connsiteX11" fmla="*/ 1495 w 6997"/>
                          <a:gd name="connsiteY11" fmla="*/ 5741 h 7834"/>
                          <a:gd name="connsiteX12" fmla="*/ 1375 w 6997"/>
                          <a:gd name="connsiteY12" fmla="*/ 5562 h 7834"/>
                          <a:gd name="connsiteX13" fmla="*/ 1316 w 6997"/>
                          <a:gd name="connsiteY13" fmla="*/ 5502 h 7834"/>
                          <a:gd name="connsiteX14" fmla="*/ 1256 w 6997"/>
                          <a:gd name="connsiteY14" fmla="*/ 5442 h 7834"/>
                          <a:gd name="connsiteX15" fmla="*/ 1256 w 6997"/>
                          <a:gd name="connsiteY15" fmla="*/ 5382 h 7834"/>
                          <a:gd name="connsiteX16" fmla="*/ 1256 w 6997"/>
                          <a:gd name="connsiteY16" fmla="*/ 5263 h 7834"/>
                          <a:gd name="connsiteX17" fmla="*/ 1196 w 6997"/>
                          <a:gd name="connsiteY17" fmla="*/ 4844 h 7834"/>
                          <a:gd name="connsiteX18" fmla="*/ 1196 w 6997"/>
                          <a:gd name="connsiteY18" fmla="*/ 4426 h 7834"/>
                          <a:gd name="connsiteX19" fmla="*/ 1256 w 6997"/>
                          <a:gd name="connsiteY19" fmla="*/ 4007 h 7834"/>
                          <a:gd name="connsiteX20" fmla="*/ 1375 w 6997"/>
                          <a:gd name="connsiteY20" fmla="*/ 3588 h 7834"/>
                          <a:gd name="connsiteX21" fmla="*/ 1555 w 6997"/>
                          <a:gd name="connsiteY21" fmla="*/ 3110 h 7834"/>
                          <a:gd name="connsiteX22" fmla="*/ 1854 w 6997"/>
                          <a:gd name="connsiteY22" fmla="*/ 2691 h 7834"/>
                          <a:gd name="connsiteX23" fmla="*/ 2213 w 6997"/>
                          <a:gd name="connsiteY23" fmla="*/ 2332 h 7834"/>
                          <a:gd name="connsiteX24" fmla="*/ 2632 w 6997"/>
                          <a:gd name="connsiteY24" fmla="*/ 2033 h 7834"/>
                          <a:gd name="connsiteX25" fmla="*/ 3110 w 6997"/>
                          <a:gd name="connsiteY25" fmla="*/ 1854 h 7834"/>
                          <a:gd name="connsiteX26" fmla="*/ 3588 w 6997"/>
                          <a:gd name="connsiteY26" fmla="*/ 1734 h 7834"/>
                          <a:gd name="connsiteX27" fmla="*/ 4067 w 6997"/>
                          <a:gd name="connsiteY27" fmla="*/ 1734 h 7834"/>
                          <a:gd name="connsiteX28" fmla="*/ 4545 w 6997"/>
                          <a:gd name="connsiteY28" fmla="*/ 1794 h 7834"/>
                          <a:gd name="connsiteX29" fmla="*/ 4725 w 6997"/>
                          <a:gd name="connsiteY29" fmla="*/ 1854 h 7834"/>
                          <a:gd name="connsiteX30" fmla="*/ 4904 w 6997"/>
                          <a:gd name="connsiteY30" fmla="*/ 1973 h 7834"/>
                          <a:gd name="connsiteX31" fmla="*/ 5083 w 6997"/>
                          <a:gd name="connsiteY31" fmla="*/ 2093 h 7834"/>
                          <a:gd name="connsiteX32" fmla="*/ 5263 w 6997"/>
                          <a:gd name="connsiteY32" fmla="*/ 2213 h 7834"/>
                          <a:gd name="connsiteX33" fmla="*/ 5442 w 6997"/>
                          <a:gd name="connsiteY33" fmla="*/ 2392 h 7834"/>
                          <a:gd name="connsiteX34" fmla="*/ 5562 w 6997"/>
                          <a:gd name="connsiteY34" fmla="*/ 2572 h 7834"/>
                          <a:gd name="connsiteX35" fmla="*/ 5682 w 6997"/>
                          <a:gd name="connsiteY35" fmla="*/ 2751 h 7834"/>
                          <a:gd name="connsiteX36" fmla="*/ 5801 w 6997"/>
                          <a:gd name="connsiteY36" fmla="*/ 2990 h 7834"/>
                          <a:gd name="connsiteX37" fmla="*/ 5981 w 6997"/>
                          <a:gd name="connsiteY37" fmla="*/ 3409 h 7834"/>
                          <a:gd name="connsiteX38" fmla="*/ 6041 w 6997"/>
                          <a:gd name="connsiteY38" fmla="*/ 3887 h 7834"/>
                          <a:gd name="connsiteX39" fmla="*/ 6041 w 6997"/>
                          <a:gd name="connsiteY39" fmla="*/ 4366 h 7834"/>
                          <a:gd name="connsiteX40" fmla="*/ 5921 w 6997"/>
                          <a:gd name="connsiteY40" fmla="*/ 4844 h 7834"/>
                          <a:gd name="connsiteX41" fmla="*/ 5921 w 6997"/>
                          <a:gd name="connsiteY41" fmla="*/ 4844 h 7834"/>
                          <a:gd name="connsiteX42" fmla="*/ 5921 w 6997"/>
                          <a:gd name="connsiteY42" fmla="*/ 4844 h 7834"/>
                          <a:gd name="connsiteX43" fmla="*/ 5921 w 6997"/>
                          <a:gd name="connsiteY43" fmla="*/ 4844 h 7834"/>
                          <a:gd name="connsiteX44" fmla="*/ 5921 w 6997"/>
                          <a:gd name="connsiteY44" fmla="*/ 4844 h 7834"/>
                          <a:gd name="connsiteX45" fmla="*/ 5741 w 6997"/>
                          <a:gd name="connsiteY45" fmla="*/ 5323 h 7834"/>
                          <a:gd name="connsiteX46" fmla="*/ 5442 w 6997"/>
                          <a:gd name="connsiteY46" fmla="*/ 5741 h 7834"/>
                          <a:gd name="connsiteX47" fmla="*/ 5083 w 6997"/>
                          <a:gd name="connsiteY47" fmla="*/ 6100 h 7834"/>
                          <a:gd name="connsiteX48" fmla="*/ 4725 w 6997"/>
                          <a:gd name="connsiteY48" fmla="*/ 6399 h 7834"/>
                          <a:gd name="connsiteX49" fmla="*/ 4725 w 6997"/>
                          <a:gd name="connsiteY49" fmla="*/ 6399 h 7834"/>
                          <a:gd name="connsiteX50" fmla="*/ 4725 w 6997"/>
                          <a:gd name="connsiteY50" fmla="*/ 6399 h 7834"/>
                          <a:gd name="connsiteX51" fmla="*/ 4725 w 6997"/>
                          <a:gd name="connsiteY51" fmla="*/ 6399 h 7834"/>
                          <a:gd name="connsiteX52" fmla="*/ 4725 w 6997"/>
                          <a:gd name="connsiteY52" fmla="*/ 6399 h 7834"/>
                          <a:gd name="connsiteX53" fmla="*/ 4366 w 6997"/>
                          <a:gd name="connsiteY53" fmla="*/ 6579 h 7834"/>
                          <a:gd name="connsiteX54" fmla="*/ 4007 w 6997"/>
                          <a:gd name="connsiteY54" fmla="*/ 6698 h 7834"/>
                          <a:gd name="connsiteX55" fmla="*/ 3648 w 6997"/>
                          <a:gd name="connsiteY55" fmla="*/ 6758 h 7834"/>
                          <a:gd name="connsiteX56" fmla="*/ 3170 w 6997"/>
                          <a:gd name="connsiteY56" fmla="*/ 6698 h 7834"/>
                          <a:gd name="connsiteX57" fmla="*/ 1256 w 6997"/>
                          <a:gd name="connsiteY57" fmla="*/ 7177 h 7834"/>
                          <a:gd name="connsiteX58" fmla="*/ 1495 w 6997"/>
                          <a:gd name="connsiteY58" fmla="*/ 7356 h 7834"/>
                          <a:gd name="connsiteX59" fmla="*/ 1794 w 6997"/>
                          <a:gd name="connsiteY59" fmla="*/ 7536 h 7834"/>
                          <a:gd name="connsiteX60" fmla="*/ 2093 w 6997"/>
                          <a:gd name="connsiteY60" fmla="*/ 7655 h 7834"/>
                          <a:gd name="connsiteX61" fmla="*/ 2392 w 6997"/>
                          <a:gd name="connsiteY61" fmla="*/ 7775 h 7834"/>
                          <a:gd name="connsiteX62" fmla="*/ 2452 w 6997"/>
                          <a:gd name="connsiteY62" fmla="*/ 7775 h 7834"/>
                          <a:gd name="connsiteX63" fmla="*/ 2512 w 6997"/>
                          <a:gd name="connsiteY63" fmla="*/ 7775 h 7834"/>
                          <a:gd name="connsiteX64" fmla="*/ 2572 w 6997"/>
                          <a:gd name="connsiteY64" fmla="*/ 7775 h 7834"/>
                          <a:gd name="connsiteX65" fmla="*/ 2632 w 6997"/>
                          <a:gd name="connsiteY65" fmla="*/ 7775 h 7834"/>
                          <a:gd name="connsiteX66" fmla="*/ 3229 w 6997"/>
                          <a:gd name="connsiteY66" fmla="*/ 7835 h 7834"/>
                          <a:gd name="connsiteX67" fmla="*/ 3828 w 6997"/>
                          <a:gd name="connsiteY67" fmla="*/ 7775 h 7834"/>
                          <a:gd name="connsiteX68" fmla="*/ 4426 w 6997"/>
                          <a:gd name="connsiteY68" fmla="*/ 7595 h 7834"/>
                          <a:gd name="connsiteX69" fmla="*/ 5024 w 6997"/>
                          <a:gd name="connsiteY69" fmla="*/ 7296 h 7834"/>
                          <a:gd name="connsiteX70" fmla="*/ 5083 w 6997"/>
                          <a:gd name="connsiteY70" fmla="*/ 7236 h 7834"/>
                          <a:gd name="connsiteX71" fmla="*/ 5143 w 6997"/>
                          <a:gd name="connsiteY71" fmla="*/ 7177 h 7834"/>
                          <a:gd name="connsiteX72" fmla="*/ 5203 w 6997"/>
                          <a:gd name="connsiteY72" fmla="*/ 7117 h 7834"/>
                          <a:gd name="connsiteX73" fmla="*/ 5263 w 6997"/>
                          <a:gd name="connsiteY73" fmla="*/ 7057 h 7834"/>
                          <a:gd name="connsiteX74" fmla="*/ 5741 w 6997"/>
                          <a:gd name="connsiteY74" fmla="*/ 6639 h 7834"/>
                          <a:gd name="connsiteX75" fmla="*/ 6160 w 6997"/>
                          <a:gd name="connsiteY75" fmla="*/ 6160 h 7834"/>
                          <a:gd name="connsiteX76" fmla="*/ 6519 w 6997"/>
                          <a:gd name="connsiteY76" fmla="*/ 5622 h 7834"/>
                          <a:gd name="connsiteX77" fmla="*/ 6818 w 6997"/>
                          <a:gd name="connsiteY77" fmla="*/ 5024 h 7834"/>
                          <a:gd name="connsiteX78" fmla="*/ 6818 w 6997"/>
                          <a:gd name="connsiteY78" fmla="*/ 4964 h 7834"/>
                          <a:gd name="connsiteX79" fmla="*/ 6818 w 6997"/>
                          <a:gd name="connsiteY79" fmla="*/ 4904 h 7834"/>
                          <a:gd name="connsiteX80" fmla="*/ 6818 w 6997"/>
                          <a:gd name="connsiteY80" fmla="*/ 4844 h 7834"/>
                          <a:gd name="connsiteX81" fmla="*/ 6818 w 6997"/>
                          <a:gd name="connsiteY81" fmla="*/ 4785 h 7834"/>
                          <a:gd name="connsiteX82" fmla="*/ 6937 w 6997"/>
                          <a:gd name="connsiteY82" fmla="*/ 4306 h 7834"/>
                          <a:gd name="connsiteX83" fmla="*/ 6997 w 6997"/>
                          <a:gd name="connsiteY83" fmla="*/ 3827 h 7834"/>
                          <a:gd name="connsiteX84" fmla="*/ 6997 w 6997"/>
                          <a:gd name="connsiteY84" fmla="*/ 3349 h 7834"/>
                          <a:gd name="connsiteX85" fmla="*/ 6937 w 6997"/>
                          <a:gd name="connsiteY85" fmla="*/ 2871 h 7834"/>
                          <a:gd name="connsiteX86" fmla="*/ 6878 w 6997"/>
                          <a:gd name="connsiteY86" fmla="*/ 2632 h 7834"/>
                          <a:gd name="connsiteX87" fmla="*/ 6818 w 6997"/>
                          <a:gd name="connsiteY87" fmla="*/ 2392 h 7834"/>
                          <a:gd name="connsiteX88" fmla="*/ 6758 w 6997"/>
                          <a:gd name="connsiteY88" fmla="*/ 2153 h 7834"/>
                          <a:gd name="connsiteX89" fmla="*/ 6698 w 6997"/>
                          <a:gd name="connsiteY89" fmla="*/ 1914 h 7834"/>
                          <a:gd name="connsiteX90" fmla="*/ 6519 w 6997"/>
                          <a:gd name="connsiteY90" fmla="*/ 1555 h 7834"/>
                          <a:gd name="connsiteX91" fmla="*/ 6340 w 6997"/>
                          <a:gd name="connsiteY91" fmla="*/ 1256 h 7834"/>
                          <a:gd name="connsiteX92" fmla="*/ 6100 w 6997"/>
                          <a:gd name="connsiteY92" fmla="*/ 957 h 7834"/>
                          <a:gd name="connsiteX93" fmla="*/ 5861 w 6997"/>
                          <a:gd name="connsiteY93" fmla="*/ 718 h 7834"/>
                          <a:gd name="connsiteX94" fmla="*/ 5622 w 6997"/>
                          <a:gd name="connsiteY94" fmla="*/ 538 h 7834"/>
                          <a:gd name="connsiteX95" fmla="*/ 5382 w 6997"/>
                          <a:gd name="connsiteY95" fmla="*/ 359 h 7834"/>
                          <a:gd name="connsiteX96" fmla="*/ 5083 w 6997"/>
                          <a:gd name="connsiteY96" fmla="*/ 239 h 7834"/>
                          <a:gd name="connsiteX97" fmla="*/ 4785 w 6997"/>
                          <a:gd name="connsiteY97" fmla="*/ 119 h 7834"/>
                          <a:gd name="connsiteX98" fmla="*/ 4127 w 6997"/>
                          <a:gd name="connsiteY98" fmla="*/ 0 h 7834"/>
                          <a:gd name="connsiteX99" fmla="*/ 3469 w 6997"/>
                          <a:gd name="connsiteY99" fmla="*/ 0 h 7834"/>
                          <a:gd name="connsiteX100" fmla="*/ 2811 w 6997"/>
                          <a:gd name="connsiteY100" fmla="*/ 179 h 7834"/>
                          <a:gd name="connsiteX101" fmla="*/ 2153 w 6997"/>
                          <a:gd name="connsiteY101" fmla="*/ 478 h 7834"/>
                          <a:gd name="connsiteX102" fmla="*/ 1555 w 6997"/>
                          <a:gd name="connsiteY102" fmla="*/ 897 h 7834"/>
                          <a:gd name="connsiteX103" fmla="*/ 1017 w 6997"/>
                          <a:gd name="connsiteY103" fmla="*/ 1435 h 7834"/>
                          <a:gd name="connsiteX104" fmla="*/ 598 w 6997"/>
                          <a:gd name="connsiteY104" fmla="*/ 2033 h 7834"/>
                          <a:gd name="connsiteX105" fmla="*/ 299 w 6997"/>
                          <a:gd name="connsiteY105" fmla="*/ 2691 h 7834"/>
                          <a:gd name="connsiteX106" fmla="*/ 239 w 6997"/>
                          <a:gd name="connsiteY106" fmla="*/ 2930 h 7834"/>
                          <a:gd name="connsiteX107" fmla="*/ 179 w 6997"/>
                          <a:gd name="connsiteY107" fmla="*/ 3170 h 7834"/>
                          <a:gd name="connsiteX108" fmla="*/ 119 w 6997"/>
                          <a:gd name="connsiteY108" fmla="*/ 3409 h 7834"/>
                          <a:gd name="connsiteX109" fmla="*/ 60 w 6997"/>
                          <a:gd name="connsiteY109" fmla="*/ 3648 h 7834"/>
                          <a:gd name="connsiteX110" fmla="*/ 0 w 6997"/>
                          <a:gd name="connsiteY110" fmla="*/ 4127 h 7834"/>
                          <a:gd name="connsiteX111" fmla="*/ 0 w 6997"/>
                          <a:gd name="connsiteY111" fmla="*/ 4605 h 7834"/>
                          <a:gd name="connsiteX112" fmla="*/ 60 w 6997"/>
                          <a:gd name="connsiteY112" fmla="*/ 5083 h 7834"/>
                          <a:gd name="connsiteX113" fmla="*/ 179 w 6997"/>
                          <a:gd name="connsiteY113" fmla="*/ 5502 h 7834"/>
                          <a:gd name="connsiteX114" fmla="*/ 179 w 6997"/>
                          <a:gd name="connsiteY114" fmla="*/ 5562 h 7834"/>
                          <a:gd name="connsiteX115" fmla="*/ 179 w 6997"/>
                          <a:gd name="connsiteY115" fmla="*/ 5622 h 7834"/>
                          <a:gd name="connsiteX116" fmla="*/ 179 w 6997"/>
                          <a:gd name="connsiteY116" fmla="*/ 5682 h 7834"/>
                          <a:gd name="connsiteX117" fmla="*/ 179 w 6997"/>
                          <a:gd name="connsiteY117" fmla="*/ 5741 h 7834"/>
                          <a:gd name="connsiteX118" fmla="*/ 359 w 6997"/>
                          <a:gd name="connsiteY118" fmla="*/ 6041 h 7834"/>
                          <a:gd name="connsiteX119" fmla="*/ 538 w 6997"/>
                          <a:gd name="connsiteY119" fmla="*/ 6340 h 7834"/>
                          <a:gd name="connsiteX120" fmla="*/ 778 w 6997"/>
                          <a:gd name="connsiteY120" fmla="*/ 6579 h 7834"/>
                          <a:gd name="connsiteX121" fmla="*/ 1256 w 6997"/>
                          <a:gd name="connsiteY121" fmla="*/ 7177 h 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997" h="7834">
                            <a:moveTo>
                              <a:pt x="3170" y="6698"/>
                            </a:moveTo>
                            <a:cubicBezTo>
                              <a:pt x="3110" y="6698"/>
                              <a:pt x="3110" y="6698"/>
                              <a:pt x="3050" y="6698"/>
                            </a:cubicBezTo>
                            <a:cubicBezTo>
                              <a:pt x="2990" y="6698"/>
                              <a:pt x="2990" y="6698"/>
                              <a:pt x="2930" y="6698"/>
                            </a:cubicBezTo>
                            <a:cubicBezTo>
                              <a:pt x="2871" y="6698"/>
                              <a:pt x="2871" y="6698"/>
                              <a:pt x="2811" y="6698"/>
                            </a:cubicBezTo>
                            <a:cubicBezTo>
                              <a:pt x="2751" y="6698"/>
                              <a:pt x="2751" y="6698"/>
                              <a:pt x="2691" y="6698"/>
                            </a:cubicBezTo>
                            <a:cubicBezTo>
                              <a:pt x="2632" y="6698"/>
                              <a:pt x="2572" y="6639"/>
                              <a:pt x="2452" y="6639"/>
                            </a:cubicBezTo>
                            <a:cubicBezTo>
                              <a:pt x="2333" y="6639"/>
                              <a:pt x="2333" y="6579"/>
                              <a:pt x="2273" y="6519"/>
                            </a:cubicBezTo>
                            <a:cubicBezTo>
                              <a:pt x="2213" y="6459"/>
                              <a:pt x="2153" y="6459"/>
                              <a:pt x="2093" y="6399"/>
                            </a:cubicBezTo>
                            <a:cubicBezTo>
                              <a:pt x="2033" y="6340"/>
                              <a:pt x="1974" y="6340"/>
                              <a:pt x="1914" y="6280"/>
                            </a:cubicBezTo>
                            <a:cubicBezTo>
                              <a:pt x="1854" y="6220"/>
                              <a:pt x="1794" y="6160"/>
                              <a:pt x="1734" y="6100"/>
                            </a:cubicBezTo>
                            <a:cubicBezTo>
                              <a:pt x="1674" y="6041"/>
                              <a:pt x="1615" y="5981"/>
                              <a:pt x="1615" y="5921"/>
                            </a:cubicBezTo>
                            <a:cubicBezTo>
                              <a:pt x="1555" y="5861"/>
                              <a:pt x="1555" y="5801"/>
                              <a:pt x="1495" y="5741"/>
                            </a:cubicBezTo>
                            <a:cubicBezTo>
                              <a:pt x="1435" y="5682"/>
                              <a:pt x="1435" y="5622"/>
                              <a:pt x="1375" y="5562"/>
                            </a:cubicBezTo>
                            <a:cubicBezTo>
                              <a:pt x="1375" y="5562"/>
                              <a:pt x="1375" y="5502"/>
                              <a:pt x="1316" y="5502"/>
                            </a:cubicBezTo>
                            <a:cubicBezTo>
                              <a:pt x="1316" y="5502"/>
                              <a:pt x="1316" y="5442"/>
                              <a:pt x="1256" y="5442"/>
                            </a:cubicBezTo>
                            <a:cubicBezTo>
                              <a:pt x="1196" y="5442"/>
                              <a:pt x="1256" y="5382"/>
                              <a:pt x="1256" y="5382"/>
                            </a:cubicBezTo>
                            <a:cubicBezTo>
                              <a:pt x="1256" y="5323"/>
                              <a:pt x="1256" y="5323"/>
                              <a:pt x="1256" y="5263"/>
                            </a:cubicBezTo>
                            <a:cubicBezTo>
                              <a:pt x="1196" y="5143"/>
                              <a:pt x="1196" y="5024"/>
                              <a:pt x="1196" y="4844"/>
                            </a:cubicBezTo>
                            <a:cubicBezTo>
                              <a:pt x="1196" y="4665"/>
                              <a:pt x="1196" y="4605"/>
                              <a:pt x="1196" y="4426"/>
                            </a:cubicBezTo>
                            <a:cubicBezTo>
                              <a:pt x="1196" y="4246"/>
                              <a:pt x="1196" y="4127"/>
                              <a:pt x="1256" y="4007"/>
                            </a:cubicBezTo>
                            <a:cubicBezTo>
                              <a:pt x="1256" y="3887"/>
                              <a:pt x="1316" y="3768"/>
                              <a:pt x="1375" y="3588"/>
                            </a:cubicBezTo>
                            <a:cubicBezTo>
                              <a:pt x="1435" y="3409"/>
                              <a:pt x="1495" y="3289"/>
                              <a:pt x="1555" y="3110"/>
                            </a:cubicBezTo>
                            <a:cubicBezTo>
                              <a:pt x="1615" y="2930"/>
                              <a:pt x="1734" y="2811"/>
                              <a:pt x="1854" y="2691"/>
                            </a:cubicBezTo>
                            <a:cubicBezTo>
                              <a:pt x="1974" y="2572"/>
                              <a:pt x="2093" y="2452"/>
                              <a:pt x="2213" y="2332"/>
                            </a:cubicBezTo>
                            <a:cubicBezTo>
                              <a:pt x="2333" y="2213"/>
                              <a:pt x="2452" y="2093"/>
                              <a:pt x="2632" y="2033"/>
                            </a:cubicBezTo>
                            <a:cubicBezTo>
                              <a:pt x="2751" y="1973"/>
                              <a:pt x="2930" y="1854"/>
                              <a:pt x="3110" y="1854"/>
                            </a:cubicBezTo>
                            <a:cubicBezTo>
                              <a:pt x="3289" y="1794"/>
                              <a:pt x="3409" y="1794"/>
                              <a:pt x="3588" y="1734"/>
                            </a:cubicBezTo>
                            <a:cubicBezTo>
                              <a:pt x="3768" y="1674"/>
                              <a:pt x="3887" y="1734"/>
                              <a:pt x="4067" y="1734"/>
                            </a:cubicBezTo>
                            <a:cubicBezTo>
                              <a:pt x="4246" y="1734"/>
                              <a:pt x="4366" y="1794"/>
                              <a:pt x="4545" y="1794"/>
                            </a:cubicBezTo>
                            <a:cubicBezTo>
                              <a:pt x="4605" y="1794"/>
                              <a:pt x="4665" y="1854"/>
                              <a:pt x="4725" y="1854"/>
                            </a:cubicBezTo>
                            <a:cubicBezTo>
                              <a:pt x="4785" y="1854"/>
                              <a:pt x="4844" y="1914"/>
                              <a:pt x="4904" y="1973"/>
                            </a:cubicBezTo>
                            <a:cubicBezTo>
                              <a:pt x="4964" y="2033"/>
                              <a:pt x="5024" y="2033"/>
                              <a:pt x="5083" y="2093"/>
                            </a:cubicBezTo>
                            <a:cubicBezTo>
                              <a:pt x="5143" y="2153"/>
                              <a:pt x="5203" y="2153"/>
                              <a:pt x="5263" y="2213"/>
                            </a:cubicBezTo>
                            <a:cubicBezTo>
                              <a:pt x="5323" y="2273"/>
                              <a:pt x="5382" y="2332"/>
                              <a:pt x="5442" y="2392"/>
                            </a:cubicBezTo>
                            <a:cubicBezTo>
                              <a:pt x="5502" y="2452"/>
                              <a:pt x="5562" y="2512"/>
                              <a:pt x="5562" y="2572"/>
                            </a:cubicBezTo>
                            <a:cubicBezTo>
                              <a:pt x="5562" y="2632"/>
                              <a:pt x="5622" y="2691"/>
                              <a:pt x="5682" y="2751"/>
                            </a:cubicBezTo>
                            <a:cubicBezTo>
                              <a:pt x="5741" y="2811"/>
                              <a:pt x="5741" y="2871"/>
                              <a:pt x="5801" y="2990"/>
                            </a:cubicBezTo>
                            <a:cubicBezTo>
                              <a:pt x="5861" y="3110"/>
                              <a:pt x="5921" y="3289"/>
                              <a:pt x="5981" y="3409"/>
                            </a:cubicBezTo>
                            <a:cubicBezTo>
                              <a:pt x="6041" y="3528"/>
                              <a:pt x="6041" y="3708"/>
                              <a:pt x="6041" y="3887"/>
                            </a:cubicBezTo>
                            <a:cubicBezTo>
                              <a:pt x="6041" y="4067"/>
                              <a:pt x="6041" y="4187"/>
                              <a:pt x="6041" y="4366"/>
                            </a:cubicBezTo>
                            <a:cubicBezTo>
                              <a:pt x="6041" y="4545"/>
                              <a:pt x="5981" y="4665"/>
                              <a:pt x="5921" y="4844"/>
                            </a:cubicBezTo>
                            <a:cubicBezTo>
                              <a:pt x="5921" y="4844"/>
                              <a:pt x="5921" y="4844"/>
                              <a:pt x="5921" y="4844"/>
                            </a:cubicBezTo>
                            <a:cubicBezTo>
                              <a:pt x="5921" y="4844"/>
                              <a:pt x="5921" y="4844"/>
                              <a:pt x="5921" y="4844"/>
                            </a:cubicBezTo>
                            <a:cubicBezTo>
                              <a:pt x="5921" y="4844"/>
                              <a:pt x="5921" y="4844"/>
                              <a:pt x="5921" y="4844"/>
                            </a:cubicBezTo>
                            <a:cubicBezTo>
                              <a:pt x="5921" y="4844"/>
                              <a:pt x="5921" y="4844"/>
                              <a:pt x="5921" y="4844"/>
                            </a:cubicBezTo>
                            <a:cubicBezTo>
                              <a:pt x="5861" y="5024"/>
                              <a:pt x="5801" y="5143"/>
                              <a:pt x="5741" y="5323"/>
                            </a:cubicBezTo>
                            <a:cubicBezTo>
                              <a:pt x="5682" y="5442"/>
                              <a:pt x="5562" y="5622"/>
                              <a:pt x="5442" y="5741"/>
                            </a:cubicBezTo>
                            <a:cubicBezTo>
                              <a:pt x="5323" y="5861"/>
                              <a:pt x="5203" y="5981"/>
                              <a:pt x="5083" y="6100"/>
                            </a:cubicBezTo>
                            <a:cubicBezTo>
                              <a:pt x="4964" y="6220"/>
                              <a:pt x="4844" y="6280"/>
                              <a:pt x="4725" y="6399"/>
                            </a:cubicBezTo>
                            <a:cubicBezTo>
                              <a:pt x="4725" y="6399"/>
                              <a:pt x="4725" y="6399"/>
                              <a:pt x="4725" y="6399"/>
                            </a:cubicBezTo>
                            <a:cubicBezTo>
                              <a:pt x="4725" y="6399"/>
                              <a:pt x="4725" y="6399"/>
                              <a:pt x="4725" y="6399"/>
                            </a:cubicBezTo>
                            <a:cubicBezTo>
                              <a:pt x="4725" y="6399"/>
                              <a:pt x="4725" y="6399"/>
                              <a:pt x="4725" y="6399"/>
                            </a:cubicBezTo>
                            <a:cubicBezTo>
                              <a:pt x="4725" y="6399"/>
                              <a:pt x="4725" y="6399"/>
                              <a:pt x="4725" y="6399"/>
                            </a:cubicBezTo>
                            <a:cubicBezTo>
                              <a:pt x="4605" y="6459"/>
                              <a:pt x="4486" y="6519"/>
                              <a:pt x="4366" y="6579"/>
                            </a:cubicBezTo>
                            <a:cubicBezTo>
                              <a:pt x="4246" y="6639"/>
                              <a:pt x="4127" y="6639"/>
                              <a:pt x="4007" y="6698"/>
                            </a:cubicBezTo>
                            <a:cubicBezTo>
                              <a:pt x="3887" y="6698"/>
                              <a:pt x="3768" y="6758"/>
                              <a:pt x="3648" y="6758"/>
                            </a:cubicBezTo>
                            <a:cubicBezTo>
                              <a:pt x="3409" y="6698"/>
                              <a:pt x="3289" y="6698"/>
                              <a:pt x="3170" y="6698"/>
                            </a:cubicBezTo>
                            <a:moveTo>
                              <a:pt x="1256" y="7177"/>
                            </a:moveTo>
                            <a:cubicBezTo>
                              <a:pt x="1316" y="7236"/>
                              <a:pt x="1435" y="7296"/>
                              <a:pt x="1495" y="7356"/>
                            </a:cubicBezTo>
                            <a:cubicBezTo>
                              <a:pt x="1615" y="7416"/>
                              <a:pt x="1674" y="7476"/>
                              <a:pt x="1794" y="7536"/>
                            </a:cubicBezTo>
                            <a:cubicBezTo>
                              <a:pt x="1914" y="7595"/>
                              <a:pt x="1974" y="7655"/>
                              <a:pt x="2093" y="7655"/>
                            </a:cubicBezTo>
                            <a:cubicBezTo>
                              <a:pt x="2213" y="7715"/>
                              <a:pt x="2273" y="7715"/>
                              <a:pt x="2392" y="7775"/>
                            </a:cubicBezTo>
                            <a:cubicBezTo>
                              <a:pt x="2392" y="7775"/>
                              <a:pt x="2452" y="7775"/>
                              <a:pt x="2452" y="7775"/>
                            </a:cubicBezTo>
                            <a:cubicBezTo>
                              <a:pt x="2452" y="7775"/>
                              <a:pt x="2512" y="7775"/>
                              <a:pt x="2512" y="7775"/>
                            </a:cubicBezTo>
                            <a:cubicBezTo>
                              <a:pt x="2512" y="7775"/>
                              <a:pt x="2572" y="7775"/>
                              <a:pt x="2572" y="7775"/>
                            </a:cubicBezTo>
                            <a:cubicBezTo>
                              <a:pt x="2572" y="7775"/>
                              <a:pt x="2632" y="7775"/>
                              <a:pt x="2632" y="7775"/>
                            </a:cubicBezTo>
                            <a:cubicBezTo>
                              <a:pt x="2811" y="7835"/>
                              <a:pt x="3050" y="7835"/>
                              <a:pt x="3229" y="7835"/>
                            </a:cubicBezTo>
                            <a:cubicBezTo>
                              <a:pt x="3409" y="7835"/>
                              <a:pt x="3648" y="7835"/>
                              <a:pt x="3828" y="7775"/>
                            </a:cubicBezTo>
                            <a:cubicBezTo>
                              <a:pt x="4007" y="7715"/>
                              <a:pt x="4246" y="7655"/>
                              <a:pt x="4426" y="7595"/>
                            </a:cubicBezTo>
                            <a:cubicBezTo>
                              <a:pt x="4605" y="7536"/>
                              <a:pt x="4844" y="7416"/>
                              <a:pt x="5024" y="7296"/>
                            </a:cubicBezTo>
                            <a:cubicBezTo>
                              <a:pt x="5024" y="7296"/>
                              <a:pt x="5083" y="7296"/>
                              <a:pt x="5083" y="7236"/>
                            </a:cubicBezTo>
                            <a:cubicBezTo>
                              <a:pt x="5083" y="7236"/>
                              <a:pt x="5143" y="7236"/>
                              <a:pt x="5143" y="7177"/>
                            </a:cubicBezTo>
                            <a:cubicBezTo>
                              <a:pt x="5143" y="7177"/>
                              <a:pt x="5203" y="7177"/>
                              <a:pt x="5203" y="7117"/>
                            </a:cubicBezTo>
                            <a:cubicBezTo>
                              <a:pt x="5203" y="7117"/>
                              <a:pt x="5263" y="7117"/>
                              <a:pt x="5263" y="7057"/>
                            </a:cubicBezTo>
                            <a:cubicBezTo>
                              <a:pt x="5442" y="6937"/>
                              <a:pt x="5622" y="6818"/>
                              <a:pt x="5741" y="6639"/>
                            </a:cubicBezTo>
                            <a:cubicBezTo>
                              <a:pt x="5921" y="6519"/>
                              <a:pt x="6041" y="6340"/>
                              <a:pt x="6160" y="6160"/>
                            </a:cubicBezTo>
                            <a:cubicBezTo>
                              <a:pt x="6280" y="5981"/>
                              <a:pt x="6399" y="5801"/>
                              <a:pt x="6519" y="5622"/>
                            </a:cubicBezTo>
                            <a:cubicBezTo>
                              <a:pt x="6639" y="5442"/>
                              <a:pt x="6698" y="5263"/>
                              <a:pt x="6818" y="5024"/>
                            </a:cubicBezTo>
                            <a:cubicBezTo>
                              <a:pt x="6818" y="5024"/>
                              <a:pt x="6818" y="5024"/>
                              <a:pt x="6818" y="4964"/>
                            </a:cubicBezTo>
                            <a:cubicBezTo>
                              <a:pt x="6818" y="4964"/>
                              <a:pt x="6818" y="4964"/>
                              <a:pt x="6818" y="4904"/>
                            </a:cubicBezTo>
                            <a:cubicBezTo>
                              <a:pt x="6818" y="4904"/>
                              <a:pt x="6818" y="4904"/>
                              <a:pt x="6818" y="4844"/>
                            </a:cubicBezTo>
                            <a:cubicBezTo>
                              <a:pt x="6818" y="4844"/>
                              <a:pt x="6818" y="4844"/>
                              <a:pt x="6818" y="4785"/>
                            </a:cubicBezTo>
                            <a:cubicBezTo>
                              <a:pt x="6878" y="4605"/>
                              <a:pt x="6937" y="4426"/>
                              <a:pt x="6937" y="4306"/>
                            </a:cubicBezTo>
                            <a:cubicBezTo>
                              <a:pt x="6997" y="4127"/>
                              <a:pt x="6997" y="3947"/>
                              <a:pt x="6997" y="3827"/>
                            </a:cubicBezTo>
                            <a:cubicBezTo>
                              <a:pt x="6997" y="3648"/>
                              <a:pt x="6997" y="3469"/>
                              <a:pt x="6997" y="3349"/>
                            </a:cubicBezTo>
                            <a:cubicBezTo>
                              <a:pt x="6997" y="3170"/>
                              <a:pt x="6997" y="3050"/>
                              <a:pt x="6937" y="2871"/>
                            </a:cubicBezTo>
                            <a:cubicBezTo>
                              <a:pt x="6937" y="2811"/>
                              <a:pt x="6937" y="2691"/>
                              <a:pt x="6878" y="2632"/>
                            </a:cubicBezTo>
                            <a:cubicBezTo>
                              <a:pt x="6878" y="2572"/>
                              <a:pt x="6818" y="2452"/>
                              <a:pt x="6818" y="2392"/>
                            </a:cubicBezTo>
                            <a:cubicBezTo>
                              <a:pt x="6818" y="2332"/>
                              <a:pt x="6758" y="2273"/>
                              <a:pt x="6758" y="2153"/>
                            </a:cubicBezTo>
                            <a:cubicBezTo>
                              <a:pt x="6758" y="2093"/>
                              <a:pt x="6698" y="2033"/>
                              <a:pt x="6698" y="1914"/>
                            </a:cubicBezTo>
                            <a:cubicBezTo>
                              <a:pt x="6639" y="1794"/>
                              <a:pt x="6579" y="1674"/>
                              <a:pt x="6519" y="1555"/>
                            </a:cubicBezTo>
                            <a:cubicBezTo>
                              <a:pt x="6459" y="1435"/>
                              <a:pt x="6399" y="1316"/>
                              <a:pt x="6340" y="1256"/>
                            </a:cubicBezTo>
                            <a:cubicBezTo>
                              <a:pt x="6280" y="1196"/>
                              <a:pt x="6220" y="1076"/>
                              <a:pt x="6100" y="957"/>
                            </a:cubicBezTo>
                            <a:cubicBezTo>
                              <a:pt x="6041" y="897"/>
                              <a:pt x="5921" y="778"/>
                              <a:pt x="5861" y="718"/>
                            </a:cubicBezTo>
                            <a:cubicBezTo>
                              <a:pt x="5801" y="658"/>
                              <a:pt x="5682" y="598"/>
                              <a:pt x="5622" y="538"/>
                            </a:cubicBezTo>
                            <a:cubicBezTo>
                              <a:pt x="5562" y="478"/>
                              <a:pt x="5442" y="419"/>
                              <a:pt x="5382" y="359"/>
                            </a:cubicBezTo>
                            <a:cubicBezTo>
                              <a:pt x="5263" y="299"/>
                              <a:pt x="5203" y="239"/>
                              <a:pt x="5083" y="239"/>
                            </a:cubicBezTo>
                            <a:cubicBezTo>
                              <a:pt x="4964" y="179"/>
                              <a:pt x="4904" y="179"/>
                              <a:pt x="4785" y="119"/>
                            </a:cubicBezTo>
                            <a:cubicBezTo>
                              <a:pt x="4545" y="60"/>
                              <a:pt x="4306" y="0"/>
                              <a:pt x="4127" y="0"/>
                            </a:cubicBezTo>
                            <a:cubicBezTo>
                              <a:pt x="3887" y="0"/>
                              <a:pt x="3648" y="0"/>
                              <a:pt x="3469" y="0"/>
                            </a:cubicBezTo>
                            <a:cubicBezTo>
                              <a:pt x="3229" y="0"/>
                              <a:pt x="3050" y="60"/>
                              <a:pt x="2811" y="179"/>
                            </a:cubicBezTo>
                            <a:cubicBezTo>
                              <a:pt x="2572" y="239"/>
                              <a:pt x="2392" y="359"/>
                              <a:pt x="2153" y="478"/>
                            </a:cubicBezTo>
                            <a:cubicBezTo>
                              <a:pt x="1914" y="598"/>
                              <a:pt x="1734" y="778"/>
                              <a:pt x="1555" y="897"/>
                            </a:cubicBezTo>
                            <a:cubicBezTo>
                              <a:pt x="1375" y="1017"/>
                              <a:pt x="1196" y="1256"/>
                              <a:pt x="1017" y="1435"/>
                            </a:cubicBezTo>
                            <a:cubicBezTo>
                              <a:pt x="837" y="1615"/>
                              <a:pt x="718" y="1854"/>
                              <a:pt x="598" y="2033"/>
                            </a:cubicBezTo>
                            <a:cubicBezTo>
                              <a:pt x="479" y="2213"/>
                              <a:pt x="359" y="2452"/>
                              <a:pt x="299" y="2691"/>
                            </a:cubicBezTo>
                            <a:cubicBezTo>
                              <a:pt x="299" y="2751"/>
                              <a:pt x="239" y="2811"/>
                              <a:pt x="239" y="2930"/>
                            </a:cubicBezTo>
                            <a:cubicBezTo>
                              <a:pt x="239" y="2990"/>
                              <a:pt x="179" y="3050"/>
                              <a:pt x="179" y="3170"/>
                            </a:cubicBezTo>
                            <a:cubicBezTo>
                              <a:pt x="179" y="3289"/>
                              <a:pt x="119" y="3289"/>
                              <a:pt x="119" y="3409"/>
                            </a:cubicBezTo>
                            <a:cubicBezTo>
                              <a:pt x="119" y="3528"/>
                              <a:pt x="119" y="3528"/>
                              <a:pt x="60" y="3648"/>
                            </a:cubicBezTo>
                            <a:cubicBezTo>
                              <a:pt x="60" y="3827"/>
                              <a:pt x="0" y="3947"/>
                              <a:pt x="0" y="4127"/>
                            </a:cubicBezTo>
                            <a:cubicBezTo>
                              <a:pt x="0" y="4306"/>
                              <a:pt x="0" y="4426"/>
                              <a:pt x="0" y="4605"/>
                            </a:cubicBezTo>
                            <a:cubicBezTo>
                              <a:pt x="0" y="4785"/>
                              <a:pt x="60" y="4904"/>
                              <a:pt x="60" y="5083"/>
                            </a:cubicBezTo>
                            <a:cubicBezTo>
                              <a:pt x="119" y="5263"/>
                              <a:pt x="119" y="5382"/>
                              <a:pt x="179" y="5502"/>
                            </a:cubicBezTo>
                            <a:cubicBezTo>
                              <a:pt x="179" y="5502"/>
                              <a:pt x="179" y="5562"/>
                              <a:pt x="179" y="5562"/>
                            </a:cubicBezTo>
                            <a:cubicBezTo>
                              <a:pt x="179" y="5562"/>
                              <a:pt x="179" y="5622"/>
                              <a:pt x="179" y="5622"/>
                            </a:cubicBezTo>
                            <a:cubicBezTo>
                              <a:pt x="179" y="5622"/>
                              <a:pt x="179" y="5682"/>
                              <a:pt x="179" y="5682"/>
                            </a:cubicBezTo>
                            <a:cubicBezTo>
                              <a:pt x="179" y="5682"/>
                              <a:pt x="179" y="5741"/>
                              <a:pt x="179" y="5741"/>
                            </a:cubicBezTo>
                            <a:cubicBezTo>
                              <a:pt x="239" y="5861"/>
                              <a:pt x="299" y="5921"/>
                              <a:pt x="359" y="6041"/>
                            </a:cubicBezTo>
                            <a:cubicBezTo>
                              <a:pt x="419" y="6160"/>
                              <a:pt x="479" y="6220"/>
                              <a:pt x="538" y="6340"/>
                            </a:cubicBezTo>
                            <a:cubicBezTo>
                              <a:pt x="598" y="6459"/>
                              <a:pt x="658" y="6519"/>
                              <a:pt x="778" y="6579"/>
                            </a:cubicBezTo>
                            <a:cubicBezTo>
                              <a:pt x="1076" y="6997"/>
                              <a:pt x="1136" y="7117"/>
                              <a:pt x="1256" y="7177"/>
                            </a:cubicBezTo>
                          </a:path>
                        </a:pathLst>
                      </a:custGeom>
                      <a:noFill/>
                      <a:ln w="6350" cap="flat">
                        <a:solidFill>
                          <a:schemeClr val="bg1">
                            <a:alpha val="40000"/>
                          </a:schemeClr>
                        </a:solidFill>
                        <a:prstDash val="solid"/>
                        <a:miter/>
                      </a:ln>
                    </p:spPr>
                    <p:txBody>
                      <a:bodyPr rtlCol="0" anchor="ctr"/>
                      <a:lstStyle/>
                      <a:p>
                        <a:endParaRPr lang="en-GB"/>
                      </a:p>
                    </p:txBody>
                  </p:sp>
                  <p:sp>
                    <p:nvSpPr>
                      <p:cNvPr id="7486" name="Vrije vorm: vorm 7485">
                        <a:extLst>
                          <a:ext uri="{FF2B5EF4-FFF2-40B4-BE49-F238E27FC236}">
                            <a16:creationId xmlns:a16="http://schemas.microsoft.com/office/drawing/2014/main" id="{B72C089D-F9BE-4C68-B28F-DD2E8B38267B}"/>
                          </a:ext>
                        </a:extLst>
                      </p:cNvPr>
                      <p:cNvSpPr/>
                      <p:nvPr/>
                    </p:nvSpPr>
                    <p:spPr>
                      <a:xfrm>
                        <a:off x="5070057" y="4958238"/>
                        <a:ext cx="6997" cy="7421"/>
                      </a:xfrm>
                      <a:custGeom>
                        <a:avLst/>
                        <a:gdLst>
                          <a:gd name="connsiteX0" fmla="*/ 1973 w 6997"/>
                          <a:gd name="connsiteY0" fmla="*/ 5861 h 7421"/>
                          <a:gd name="connsiteX1" fmla="*/ 1973 w 6997"/>
                          <a:gd name="connsiteY1" fmla="*/ 5861 h 7421"/>
                          <a:gd name="connsiteX2" fmla="*/ 1914 w 6997"/>
                          <a:gd name="connsiteY2" fmla="*/ 5801 h 7421"/>
                          <a:gd name="connsiteX3" fmla="*/ 1854 w 6997"/>
                          <a:gd name="connsiteY3" fmla="*/ 5801 h 7421"/>
                          <a:gd name="connsiteX4" fmla="*/ 1794 w 6997"/>
                          <a:gd name="connsiteY4" fmla="*/ 5741 h 7421"/>
                          <a:gd name="connsiteX5" fmla="*/ 1615 w 6997"/>
                          <a:gd name="connsiteY5" fmla="*/ 5562 h 7421"/>
                          <a:gd name="connsiteX6" fmla="*/ 1495 w 6997"/>
                          <a:gd name="connsiteY6" fmla="*/ 5382 h 7421"/>
                          <a:gd name="connsiteX7" fmla="*/ 1375 w 6997"/>
                          <a:gd name="connsiteY7" fmla="*/ 5203 h 7421"/>
                          <a:gd name="connsiteX8" fmla="*/ 1256 w 6997"/>
                          <a:gd name="connsiteY8" fmla="*/ 5024 h 7421"/>
                          <a:gd name="connsiteX9" fmla="*/ 1256 w 6997"/>
                          <a:gd name="connsiteY9" fmla="*/ 4964 h 7421"/>
                          <a:gd name="connsiteX10" fmla="*/ 1256 w 6997"/>
                          <a:gd name="connsiteY10" fmla="*/ 4904 h 7421"/>
                          <a:gd name="connsiteX11" fmla="*/ 1256 w 6997"/>
                          <a:gd name="connsiteY11" fmla="*/ 4844 h 7421"/>
                          <a:gd name="connsiteX12" fmla="*/ 1256 w 6997"/>
                          <a:gd name="connsiteY12" fmla="*/ 4785 h 7421"/>
                          <a:gd name="connsiteX13" fmla="*/ 1196 w 6997"/>
                          <a:gd name="connsiteY13" fmla="*/ 4605 h 7421"/>
                          <a:gd name="connsiteX14" fmla="*/ 1136 w 6997"/>
                          <a:gd name="connsiteY14" fmla="*/ 4426 h 7421"/>
                          <a:gd name="connsiteX15" fmla="*/ 1136 w 6997"/>
                          <a:gd name="connsiteY15" fmla="*/ 4246 h 7421"/>
                          <a:gd name="connsiteX16" fmla="*/ 1136 w 6997"/>
                          <a:gd name="connsiteY16" fmla="*/ 4067 h 7421"/>
                          <a:gd name="connsiteX17" fmla="*/ 1136 w 6997"/>
                          <a:gd name="connsiteY17" fmla="*/ 3828 h 7421"/>
                          <a:gd name="connsiteX18" fmla="*/ 1136 w 6997"/>
                          <a:gd name="connsiteY18" fmla="*/ 3588 h 7421"/>
                          <a:gd name="connsiteX19" fmla="*/ 1196 w 6997"/>
                          <a:gd name="connsiteY19" fmla="*/ 3349 h 7421"/>
                          <a:gd name="connsiteX20" fmla="*/ 1256 w 6997"/>
                          <a:gd name="connsiteY20" fmla="*/ 3110 h 7421"/>
                          <a:gd name="connsiteX21" fmla="*/ 1256 w 6997"/>
                          <a:gd name="connsiteY21" fmla="*/ 3050 h 7421"/>
                          <a:gd name="connsiteX22" fmla="*/ 1256 w 6997"/>
                          <a:gd name="connsiteY22" fmla="*/ 2990 h 7421"/>
                          <a:gd name="connsiteX23" fmla="*/ 1256 w 6997"/>
                          <a:gd name="connsiteY23" fmla="*/ 2930 h 7421"/>
                          <a:gd name="connsiteX24" fmla="*/ 1256 w 6997"/>
                          <a:gd name="connsiteY24" fmla="*/ 2871 h 7421"/>
                          <a:gd name="connsiteX25" fmla="*/ 1435 w 6997"/>
                          <a:gd name="connsiteY25" fmla="*/ 2452 h 7421"/>
                          <a:gd name="connsiteX26" fmla="*/ 1674 w 6997"/>
                          <a:gd name="connsiteY26" fmla="*/ 2093 h 7421"/>
                          <a:gd name="connsiteX27" fmla="*/ 1973 w 6997"/>
                          <a:gd name="connsiteY27" fmla="*/ 1794 h 7421"/>
                          <a:gd name="connsiteX28" fmla="*/ 2332 w 6997"/>
                          <a:gd name="connsiteY28" fmla="*/ 1555 h 7421"/>
                          <a:gd name="connsiteX29" fmla="*/ 2751 w 6997"/>
                          <a:gd name="connsiteY29" fmla="*/ 1375 h 7421"/>
                          <a:gd name="connsiteX30" fmla="*/ 3229 w 6997"/>
                          <a:gd name="connsiteY30" fmla="*/ 1256 h 7421"/>
                          <a:gd name="connsiteX31" fmla="*/ 3708 w 6997"/>
                          <a:gd name="connsiteY31" fmla="*/ 1256 h 7421"/>
                          <a:gd name="connsiteX32" fmla="*/ 4126 w 6997"/>
                          <a:gd name="connsiteY32" fmla="*/ 1375 h 7421"/>
                          <a:gd name="connsiteX33" fmla="*/ 4366 w 6997"/>
                          <a:gd name="connsiteY33" fmla="*/ 1435 h 7421"/>
                          <a:gd name="connsiteX34" fmla="*/ 4545 w 6997"/>
                          <a:gd name="connsiteY34" fmla="*/ 1555 h 7421"/>
                          <a:gd name="connsiteX35" fmla="*/ 4725 w 6997"/>
                          <a:gd name="connsiteY35" fmla="*/ 1674 h 7421"/>
                          <a:gd name="connsiteX36" fmla="*/ 4904 w 6997"/>
                          <a:gd name="connsiteY36" fmla="*/ 1794 h 7421"/>
                          <a:gd name="connsiteX37" fmla="*/ 5083 w 6997"/>
                          <a:gd name="connsiteY37" fmla="*/ 1973 h 7421"/>
                          <a:gd name="connsiteX38" fmla="*/ 5203 w 6997"/>
                          <a:gd name="connsiteY38" fmla="*/ 2153 h 7421"/>
                          <a:gd name="connsiteX39" fmla="*/ 5323 w 6997"/>
                          <a:gd name="connsiteY39" fmla="*/ 2333 h 7421"/>
                          <a:gd name="connsiteX40" fmla="*/ 5442 w 6997"/>
                          <a:gd name="connsiteY40" fmla="*/ 2512 h 7421"/>
                          <a:gd name="connsiteX41" fmla="*/ 5562 w 6997"/>
                          <a:gd name="connsiteY41" fmla="*/ 2990 h 7421"/>
                          <a:gd name="connsiteX42" fmla="*/ 5622 w 6997"/>
                          <a:gd name="connsiteY42" fmla="*/ 3469 h 7421"/>
                          <a:gd name="connsiteX43" fmla="*/ 5622 w 6997"/>
                          <a:gd name="connsiteY43" fmla="*/ 3947 h 7421"/>
                          <a:gd name="connsiteX44" fmla="*/ 5502 w 6997"/>
                          <a:gd name="connsiteY44" fmla="*/ 4426 h 7421"/>
                          <a:gd name="connsiteX45" fmla="*/ 4964 w 6997"/>
                          <a:gd name="connsiteY45" fmla="*/ 5323 h 7421"/>
                          <a:gd name="connsiteX46" fmla="*/ 4246 w 6997"/>
                          <a:gd name="connsiteY46" fmla="*/ 5981 h 7421"/>
                          <a:gd name="connsiteX47" fmla="*/ 3349 w 6997"/>
                          <a:gd name="connsiteY47" fmla="*/ 6280 h 7421"/>
                          <a:gd name="connsiteX48" fmla="*/ 2452 w 6997"/>
                          <a:gd name="connsiteY48" fmla="*/ 6220 h 7421"/>
                          <a:gd name="connsiteX49" fmla="*/ 2272 w 6997"/>
                          <a:gd name="connsiteY49" fmla="*/ 6160 h 7421"/>
                          <a:gd name="connsiteX50" fmla="*/ 2093 w 6997"/>
                          <a:gd name="connsiteY50" fmla="*/ 6100 h 7421"/>
                          <a:gd name="connsiteX51" fmla="*/ 1914 w 6997"/>
                          <a:gd name="connsiteY51" fmla="*/ 6041 h 7421"/>
                          <a:gd name="connsiteX52" fmla="*/ 1973 w 6997"/>
                          <a:gd name="connsiteY52" fmla="*/ 5861 h 7421"/>
                          <a:gd name="connsiteX53" fmla="*/ 1076 w 6997"/>
                          <a:gd name="connsiteY53" fmla="*/ 6758 h 7421"/>
                          <a:gd name="connsiteX54" fmla="*/ 1196 w 6997"/>
                          <a:gd name="connsiteY54" fmla="*/ 6818 h 7421"/>
                          <a:gd name="connsiteX55" fmla="*/ 1316 w 6997"/>
                          <a:gd name="connsiteY55" fmla="*/ 6878 h 7421"/>
                          <a:gd name="connsiteX56" fmla="*/ 1435 w 6997"/>
                          <a:gd name="connsiteY56" fmla="*/ 6937 h 7421"/>
                          <a:gd name="connsiteX57" fmla="*/ 1555 w 6997"/>
                          <a:gd name="connsiteY57" fmla="*/ 6997 h 7421"/>
                          <a:gd name="connsiteX58" fmla="*/ 1734 w 6997"/>
                          <a:gd name="connsiteY58" fmla="*/ 7117 h 7421"/>
                          <a:gd name="connsiteX59" fmla="*/ 1914 w 6997"/>
                          <a:gd name="connsiteY59" fmla="*/ 7177 h 7421"/>
                          <a:gd name="connsiteX60" fmla="*/ 2093 w 6997"/>
                          <a:gd name="connsiteY60" fmla="*/ 7236 h 7421"/>
                          <a:gd name="connsiteX61" fmla="*/ 2272 w 6997"/>
                          <a:gd name="connsiteY61" fmla="*/ 7296 h 7421"/>
                          <a:gd name="connsiteX62" fmla="*/ 3648 w 6997"/>
                          <a:gd name="connsiteY62" fmla="*/ 7356 h 7421"/>
                          <a:gd name="connsiteX63" fmla="*/ 4964 w 6997"/>
                          <a:gd name="connsiteY63" fmla="*/ 6878 h 7421"/>
                          <a:gd name="connsiteX64" fmla="*/ 6040 w 6997"/>
                          <a:gd name="connsiteY64" fmla="*/ 5921 h 7421"/>
                          <a:gd name="connsiteX65" fmla="*/ 6758 w 6997"/>
                          <a:gd name="connsiteY65" fmla="*/ 4605 h 7421"/>
                          <a:gd name="connsiteX66" fmla="*/ 6937 w 6997"/>
                          <a:gd name="connsiteY66" fmla="*/ 3887 h 7421"/>
                          <a:gd name="connsiteX67" fmla="*/ 6997 w 6997"/>
                          <a:gd name="connsiteY67" fmla="*/ 3170 h 7421"/>
                          <a:gd name="connsiteX68" fmla="*/ 6937 w 6997"/>
                          <a:gd name="connsiteY68" fmla="*/ 2452 h 7421"/>
                          <a:gd name="connsiteX69" fmla="*/ 6758 w 6997"/>
                          <a:gd name="connsiteY69" fmla="*/ 1794 h 7421"/>
                          <a:gd name="connsiteX70" fmla="*/ 6579 w 6997"/>
                          <a:gd name="connsiteY70" fmla="*/ 1495 h 7421"/>
                          <a:gd name="connsiteX71" fmla="*/ 6399 w 6997"/>
                          <a:gd name="connsiteY71" fmla="*/ 1196 h 7421"/>
                          <a:gd name="connsiteX72" fmla="*/ 6160 w 6997"/>
                          <a:gd name="connsiteY72" fmla="*/ 957 h 7421"/>
                          <a:gd name="connsiteX73" fmla="*/ 5921 w 6997"/>
                          <a:gd name="connsiteY73" fmla="*/ 718 h 7421"/>
                          <a:gd name="connsiteX74" fmla="*/ 5681 w 6997"/>
                          <a:gd name="connsiteY74" fmla="*/ 538 h 7421"/>
                          <a:gd name="connsiteX75" fmla="*/ 5442 w 6997"/>
                          <a:gd name="connsiteY75" fmla="*/ 359 h 7421"/>
                          <a:gd name="connsiteX76" fmla="*/ 5143 w 6997"/>
                          <a:gd name="connsiteY76" fmla="*/ 239 h 7421"/>
                          <a:gd name="connsiteX77" fmla="*/ 4844 w 6997"/>
                          <a:gd name="connsiteY77" fmla="*/ 119 h 7421"/>
                          <a:gd name="connsiteX78" fmla="*/ 4186 w 6997"/>
                          <a:gd name="connsiteY78" fmla="*/ 0 h 7421"/>
                          <a:gd name="connsiteX79" fmla="*/ 3528 w 6997"/>
                          <a:gd name="connsiteY79" fmla="*/ 0 h 7421"/>
                          <a:gd name="connsiteX80" fmla="*/ 2871 w 6997"/>
                          <a:gd name="connsiteY80" fmla="*/ 179 h 7421"/>
                          <a:gd name="connsiteX81" fmla="*/ 2213 w 6997"/>
                          <a:gd name="connsiteY81" fmla="*/ 538 h 7421"/>
                          <a:gd name="connsiteX82" fmla="*/ 1674 w 6997"/>
                          <a:gd name="connsiteY82" fmla="*/ 897 h 7421"/>
                          <a:gd name="connsiteX83" fmla="*/ 1196 w 6997"/>
                          <a:gd name="connsiteY83" fmla="*/ 1375 h 7421"/>
                          <a:gd name="connsiteX84" fmla="*/ 777 w 6997"/>
                          <a:gd name="connsiteY84" fmla="*/ 1914 h 7421"/>
                          <a:gd name="connsiteX85" fmla="*/ 478 w 6997"/>
                          <a:gd name="connsiteY85" fmla="*/ 2512 h 7421"/>
                          <a:gd name="connsiteX86" fmla="*/ 418 w 6997"/>
                          <a:gd name="connsiteY86" fmla="*/ 2572 h 7421"/>
                          <a:gd name="connsiteX87" fmla="*/ 359 w 6997"/>
                          <a:gd name="connsiteY87" fmla="*/ 2632 h 7421"/>
                          <a:gd name="connsiteX88" fmla="*/ 299 w 6997"/>
                          <a:gd name="connsiteY88" fmla="*/ 2691 h 7421"/>
                          <a:gd name="connsiteX89" fmla="*/ 239 w 6997"/>
                          <a:gd name="connsiteY89" fmla="*/ 2751 h 7421"/>
                          <a:gd name="connsiteX90" fmla="*/ 179 w 6997"/>
                          <a:gd name="connsiteY90" fmla="*/ 2990 h 7421"/>
                          <a:gd name="connsiteX91" fmla="*/ 119 w 6997"/>
                          <a:gd name="connsiteY91" fmla="*/ 3229 h 7421"/>
                          <a:gd name="connsiteX92" fmla="*/ 60 w 6997"/>
                          <a:gd name="connsiteY92" fmla="*/ 3469 h 7421"/>
                          <a:gd name="connsiteX93" fmla="*/ 0 w 6997"/>
                          <a:gd name="connsiteY93" fmla="*/ 3708 h 7421"/>
                          <a:gd name="connsiteX94" fmla="*/ 0 w 6997"/>
                          <a:gd name="connsiteY94" fmla="*/ 4187 h 7421"/>
                          <a:gd name="connsiteX95" fmla="*/ 60 w 6997"/>
                          <a:gd name="connsiteY95" fmla="*/ 4665 h 7421"/>
                          <a:gd name="connsiteX96" fmla="*/ 179 w 6997"/>
                          <a:gd name="connsiteY96" fmla="*/ 5143 h 7421"/>
                          <a:gd name="connsiteX97" fmla="*/ 359 w 6997"/>
                          <a:gd name="connsiteY97" fmla="*/ 5622 h 7421"/>
                          <a:gd name="connsiteX98" fmla="*/ 418 w 6997"/>
                          <a:gd name="connsiteY98" fmla="*/ 5801 h 7421"/>
                          <a:gd name="connsiteX99" fmla="*/ 478 w 6997"/>
                          <a:gd name="connsiteY99" fmla="*/ 5981 h 7421"/>
                          <a:gd name="connsiteX100" fmla="*/ 598 w 6997"/>
                          <a:gd name="connsiteY100" fmla="*/ 6160 h 7421"/>
                          <a:gd name="connsiteX101" fmla="*/ 718 w 6997"/>
                          <a:gd name="connsiteY101" fmla="*/ 6280 h 7421"/>
                          <a:gd name="connsiteX102" fmla="*/ 837 w 6997"/>
                          <a:gd name="connsiteY102" fmla="*/ 6399 h 7421"/>
                          <a:gd name="connsiteX103" fmla="*/ 957 w 6997"/>
                          <a:gd name="connsiteY103" fmla="*/ 6519 h 7421"/>
                          <a:gd name="connsiteX104" fmla="*/ 1076 w 6997"/>
                          <a:gd name="connsiteY104" fmla="*/ 6639 h 7421"/>
                          <a:gd name="connsiteX105" fmla="*/ 1076 w 6997"/>
                          <a:gd name="connsiteY105" fmla="*/ 6758 h 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997" h="7421">
                            <a:moveTo>
                              <a:pt x="1973" y="5861"/>
                            </a:moveTo>
                            <a:cubicBezTo>
                              <a:pt x="1973" y="5861"/>
                              <a:pt x="1914" y="5801"/>
                              <a:pt x="1973" y="5861"/>
                            </a:cubicBezTo>
                            <a:cubicBezTo>
                              <a:pt x="1914" y="5801"/>
                              <a:pt x="1914" y="5801"/>
                              <a:pt x="1914" y="5801"/>
                            </a:cubicBezTo>
                            <a:cubicBezTo>
                              <a:pt x="1914" y="5801"/>
                              <a:pt x="1914" y="5801"/>
                              <a:pt x="1854" y="5801"/>
                            </a:cubicBezTo>
                            <a:cubicBezTo>
                              <a:pt x="1854" y="5801"/>
                              <a:pt x="1854" y="5801"/>
                              <a:pt x="1794" y="5741"/>
                            </a:cubicBezTo>
                            <a:cubicBezTo>
                              <a:pt x="1734" y="5682"/>
                              <a:pt x="1674" y="5622"/>
                              <a:pt x="1615" y="5562"/>
                            </a:cubicBezTo>
                            <a:cubicBezTo>
                              <a:pt x="1555" y="5502"/>
                              <a:pt x="1495" y="5442"/>
                              <a:pt x="1495" y="5382"/>
                            </a:cubicBezTo>
                            <a:cubicBezTo>
                              <a:pt x="1435" y="5323"/>
                              <a:pt x="1435" y="5263"/>
                              <a:pt x="1375" y="5203"/>
                            </a:cubicBezTo>
                            <a:cubicBezTo>
                              <a:pt x="1316" y="5143"/>
                              <a:pt x="1316" y="5083"/>
                              <a:pt x="1256" y="5024"/>
                            </a:cubicBezTo>
                            <a:cubicBezTo>
                              <a:pt x="1256" y="5024"/>
                              <a:pt x="1256" y="4964"/>
                              <a:pt x="1256" y="4964"/>
                            </a:cubicBezTo>
                            <a:cubicBezTo>
                              <a:pt x="1256" y="4964"/>
                              <a:pt x="1256" y="4904"/>
                              <a:pt x="1256" y="4904"/>
                            </a:cubicBezTo>
                            <a:cubicBezTo>
                              <a:pt x="1256" y="4904"/>
                              <a:pt x="1256" y="4844"/>
                              <a:pt x="1256" y="4844"/>
                            </a:cubicBezTo>
                            <a:cubicBezTo>
                              <a:pt x="1256" y="4844"/>
                              <a:pt x="1256" y="4785"/>
                              <a:pt x="1256" y="4785"/>
                            </a:cubicBezTo>
                            <a:cubicBezTo>
                              <a:pt x="1256" y="4725"/>
                              <a:pt x="1196" y="4665"/>
                              <a:pt x="1196" y="4605"/>
                            </a:cubicBezTo>
                            <a:cubicBezTo>
                              <a:pt x="1196" y="4545"/>
                              <a:pt x="1196" y="4486"/>
                              <a:pt x="1136" y="4426"/>
                            </a:cubicBezTo>
                            <a:cubicBezTo>
                              <a:pt x="1136" y="4366"/>
                              <a:pt x="1136" y="4306"/>
                              <a:pt x="1136" y="4246"/>
                            </a:cubicBezTo>
                            <a:cubicBezTo>
                              <a:pt x="1136" y="4187"/>
                              <a:pt x="1136" y="4127"/>
                              <a:pt x="1136" y="4067"/>
                            </a:cubicBezTo>
                            <a:cubicBezTo>
                              <a:pt x="1136" y="4007"/>
                              <a:pt x="1136" y="3887"/>
                              <a:pt x="1136" y="3828"/>
                            </a:cubicBezTo>
                            <a:cubicBezTo>
                              <a:pt x="1136" y="3768"/>
                              <a:pt x="1136" y="3648"/>
                              <a:pt x="1136" y="3588"/>
                            </a:cubicBezTo>
                            <a:cubicBezTo>
                              <a:pt x="1136" y="3528"/>
                              <a:pt x="1136" y="3409"/>
                              <a:pt x="1196" y="3349"/>
                            </a:cubicBezTo>
                            <a:cubicBezTo>
                              <a:pt x="1196" y="3289"/>
                              <a:pt x="1256" y="3170"/>
                              <a:pt x="1256" y="3110"/>
                            </a:cubicBezTo>
                            <a:cubicBezTo>
                              <a:pt x="1256" y="3110"/>
                              <a:pt x="1256" y="3050"/>
                              <a:pt x="1256" y="3050"/>
                            </a:cubicBezTo>
                            <a:cubicBezTo>
                              <a:pt x="1256" y="3050"/>
                              <a:pt x="1256" y="2990"/>
                              <a:pt x="1256" y="2990"/>
                            </a:cubicBezTo>
                            <a:cubicBezTo>
                              <a:pt x="1256" y="2990"/>
                              <a:pt x="1256" y="2930"/>
                              <a:pt x="1256" y="2930"/>
                            </a:cubicBezTo>
                            <a:cubicBezTo>
                              <a:pt x="1256" y="2930"/>
                              <a:pt x="1256" y="2871"/>
                              <a:pt x="1256" y="2871"/>
                            </a:cubicBezTo>
                            <a:cubicBezTo>
                              <a:pt x="1316" y="2751"/>
                              <a:pt x="1375" y="2572"/>
                              <a:pt x="1435" y="2452"/>
                            </a:cubicBezTo>
                            <a:cubicBezTo>
                              <a:pt x="1495" y="2333"/>
                              <a:pt x="1615" y="2213"/>
                              <a:pt x="1674" y="2093"/>
                            </a:cubicBezTo>
                            <a:cubicBezTo>
                              <a:pt x="1734" y="1973"/>
                              <a:pt x="1854" y="1854"/>
                              <a:pt x="1973" y="1794"/>
                            </a:cubicBezTo>
                            <a:cubicBezTo>
                              <a:pt x="2093" y="1674"/>
                              <a:pt x="2213" y="1615"/>
                              <a:pt x="2332" y="1555"/>
                            </a:cubicBezTo>
                            <a:cubicBezTo>
                              <a:pt x="2452" y="1495"/>
                              <a:pt x="2631" y="1435"/>
                              <a:pt x="2751" y="1375"/>
                            </a:cubicBezTo>
                            <a:cubicBezTo>
                              <a:pt x="2871" y="1316"/>
                              <a:pt x="3050" y="1316"/>
                              <a:pt x="3229" y="1256"/>
                            </a:cubicBezTo>
                            <a:cubicBezTo>
                              <a:pt x="3409" y="1256"/>
                              <a:pt x="3528" y="1256"/>
                              <a:pt x="3708" y="1256"/>
                            </a:cubicBezTo>
                            <a:cubicBezTo>
                              <a:pt x="3887" y="1256"/>
                              <a:pt x="4007" y="1316"/>
                              <a:pt x="4126" y="1375"/>
                            </a:cubicBezTo>
                            <a:cubicBezTo>
                              <a:pt x="4186" y="1375"/>
                              <a:pt x="4246" y="1435"/>
                              <a:pt x="4366" y="1435"/>
                            </a:cubicBezTo>
                            <a:cubicBezTo>
                              <a:pt x="4426" y="1435"/>
                              <a:pt x="4486" y="1495"/>
                              <a:pt x="4545" y="1555"/>
                            </a:cubicBezTo>
                            <a:cubicBezTo>
                              <a:pt x="4605" y="1615"/>
                              <a:pt x="4665" y="1615"/>
                              <a:pt x="4725" y="1674"/>
                            </a:cubicBezTo>
                            <a:cubicBezTo>
                              <a:pt x="4785" y="1734"/>
                              <a:pt x="4844" y="1734"/>
                              <a:pt x="4904" y="1794"/>
                            </a:cubicBezTo>
                            <a:cubicBezTo>
                              <a:pt x="4964" y="1854"/>
                              <a:pt x="5024" y="1914"/>
                              <a:pt x="5083" y="1973"/>
                            </a:cubicBezTo>
                            <a:cubicBezTo>
                              <a:pt x="5143" y="2033"/>
                              <a:pt x="5203" y="2093"/>
                              <a:pt x="5203" y="2153"/>
                            </a:cubicBezTo>
                            <a:cubicBezTo>
                              <a:pt x="5263" y="2213"/>
                              <a:pt x="5263" y="2273"/>
                              <a:pt x="5323" y="2333"/>
                            </a:cubicBezTo>
                            <a:cubicBezTo>
                              <a:pt x="5382" y="2392"/>
                              <a:pt x="5382" y="2452"/>
                              <a:pt x="5442" y="2512"/>
                            </a:cubicBezTo>
                            <a:cubicBezTo>
                              <a:pt x="5502" y="2691"/>
                              <a:pt x="5562" y="2811"/>
                              <a:pt x="5562" y="2990"/>
                            </a:cubicBezTo>
                            <a:cubicBezTo>
                              <a:pt x="5562" y="3170"/>
                              <a:pt x="5622" y="3289"/>
                              <a:pt x="5622" y="3469"/>
                            </a:cubicBezTo>
                            <a:cubicBezTo>
                              <a:pt x="5622" y="3648"/>
                              <a:pt x="5622" y="3768"/>
                              <a:pt x="5622" y="3947"/>
                            </a:cubicBezTo>
                            <a:cubicBezTo>
                              <a:pt x="5622" y="4127"/>
                              <a:pt x="5562" y="4306"/>
                              <a:pt x="5502" y="4426"/>
                            </a:cubicBezTo>
                            <a:cubicBezTo>
                              <a:pt x="5382" y="4785"/>
                              <a:pt x="5203" y="5083"/>
                              <a:pt x="4964" y="5323"/>
                            </a:cubicBezTo>
                            <a:cubicBezTo>
                              <a:pt x="4725" y="5562"/>
                              <a:pt x="4486" y="5801"/>
                              <a:pt x="4246" y="5981"/>
                            </a:cubicBezTo>
                            <a:cubicBezTo>
                              <a:pt x="4007" y="6160"/>
                              <a:pt x="3708" y="6220"/>
                              <a:pt x="3349" y="6280"/>
                            </a:cubicBezTo>
                            <a:cubicBezTo>
                              <a:pt x="3050" y="6340"/>
                              <a:pt x="2751" y="6280"/>
                              <a:pt x="2452" y="6220"/>
                            </a:cubicBezTo>
                            <a:cubicBezTo>
                              <a:pt x="2392" y="6220"/>
                              <a:pt x="2332" y="6160"/>
                              <a:pt x="2272" y="6160"/>
                            </a:cubicBezTo>
                            <a:cubicBezTo>
                              <a:pt x="2213" y="6160"/>
                              <a:pt x="2153" y="6100"/>
                              <a:pt x="2093" y="6100"/>
                            </a:cubicBezTo>
                            <a:cubicBezTo>
                              <a:pt x="2033" y="6100"/>
                              <a:pt x="1973" y="6041"/>
                              <a:pt x="1914" y="6041"/>
                            </a:cubicBezTo>
                            <a:cubicBezTo>
                              <a:pt x="2033" y="5921"/>
                              <a:pt x="2033" y="5861"/>
                              <a:pt x="1973" y="5861"/>
                            </a:cubicBezTo>
                            <a:moveTo>
                              <a:pt x="1076" y="6758"/>
                            </a:moveTo>
                            <a:cubicBezTo>
                              <a:pt x="1136" y="6758"/>
                              <a:pt x="1136" y="6818"/>
                              <a:pt x="1196" y="6818"/>
                            </a:cubicBezTo>
                            <a:cubicBezTo>
                              <a:pt x="1256" y="6818"/>
                              <a:pt x="1256" y="6878"/>
                              <a:pt x="1316" y="6878"/>
                            </a:cubicBezTo>
                            <a:cubicBezTo>
                              <a:pt x="1375" y="6878"/>
                              <a:pt x="1375" y="6937"/>
                              <a:pt x="1435" y="6937"/>
                            </a:cubicBezTo>
                            <a:cubicBezTo>
                              <a:pt x="1495" y="6937"/>
                              <a:pt x="1495" y="6997"/>
                              <a:pt x="1555" y="6997"/>
                            </a:cubicBezTo>
                            <a:cubicBezTo>
                              <a:pt x="1615" y="7057"/>
                              <a:pt x="1674" y="7057"/>
                              <a:pt x="1734" y="7117"/>
                            </a:cubicBezTo>
                            <a:cubicBezTo>
                              <a:pt x="1794" y="7177"/>
                              <a:pt x="1854" y="7177"/>
                              <a:pt x="1914" y="7177"/>
                            </a:cubicBezTo>
                            <a:cubicBezTo>
                              <a:pt x="1973" y="7177"/>
                              <a:pt x="2033" y="7236"/>
                              <a:pt x="2093" y="7236"/>
                            </a:cubicBezTo>
                            <a:cubicBezTo>
                              <a:pt x="2153" y="7236"/>
                              <a:pt x="2213" y="7296"/>
                              <a:pt x="2272" y="7296"/>
                            </a:cubicBezTo>
                            <a:cubicBezTo>
                              <a:pt x="2691" y="7416"/>
                              <a:pt x="3170" y="7476"/>
                              <a:pt x="3648" y="7356"/>
                            </a:cubicBezTo>
                            <a:cubicBezTo>
                              <a:pt x="4126" y="7296"/>
                              <a:pt x="4545" y="7117"/>
                              <a:pt x="4964" y="6878"/>
                            </a:cubicBezTo>
                            <a:cubicBezTo>
                              <a:pt x="5382" y="6639"/>
                              <a:pt x="5741" y="6340"/>
                              <a:pt x="6040" y="5921"/>
                            </a:cubicBezTo>
                            <a:cubicBezTo>
                              <a:pt x="6340" y="5502"/>
                              <a:pt x="6579" y="5083"/>
                              <a:pt x="6758" y="4605"/>
                            </a:cubicBezTo>
                            <a:cubicBezTo>
                              <a:pt x="6818" y="4366"/>
                              <a:pt x="6878" y="4127"/>
                              <a:pt x="6937" y="3887"/>
                            </a:cubicBezTo>
                            <a:cubicBezTo>
                              <a:pt x="6997" y="3648"/>
                              <a:pt x="6997" y="3409"/>
                              <a:pt x="6997" y="3170"/>
                            </a:cubicBezTo>
                            <a:cubicBezTo>
                              <a:pt x="6997" y="2930"/>
                              <a:pt x="6937" y="2691"/>
                              <a:pt x="6937" y="2452"/>
                            </a:cubicBezTo>
                            <a:cubicBezTo>
                              <a:pt x="6937" y="2213"/>
                              <a:pt x="6818" y="1973"/>
                              <a:pt x="6758" y="1794"/>
                            </a:cubicBezTo>
                            <a:cubicBezTo>
                              <a:pt x="6698" y="1674"/>
                              <a:pt x="6639" y="1555"/>
                              <a:pt x="6579" y="1495"/>
                            </a:cubicBezTo>
                            <a:cubicBezTo>
                              <a:pt x="6519" y="1375"/>
                              <a:pt x="6459" y="1316"/>
                              <a:pt x="6399" y="1196"/>
                            </a:cubicBezTo>
                            <a:cubicBezTo>
                              <a:pt x="6340" y="1076"/>
                              <a:pt x="6280" y="1017"/>
                              <a:pt x="6160" y="957"/>
                            </a:cubicBezTo>
                            <a:cubicBezTo>
                              <a:pt x="6100" y="897"/>
                              <a:pt x="5981" y="778"/>
                              <a:pt x="5921" y="718"/>
                            </a:cubicBezTo>
                            <a:cubicBezTo>
                              <a:pt x="5861" y="658"/>
                              <a:pt x="5741" y="598"/>
                              <a:pt x="5681" y="538"/>
                            </a:cubicBezTo>
                            <a:cubicBezTo>
                              <a:pt x="5622" y="478"/>
                              <a:pt x="5502" y="419"/>
                              <a:pt x="5442" y="359"/>
                            </a:cubicBezTo>
                            <a:cubicBezTo>
                              <a:pt x="5382" y="299"/>
                              <a:pt x="5263" y="239"/>
                              <a:pt x="5143" y="239"/>
                            </a:cubicBezTo>
                            <a:cubicBezTo>
                              <a:pt x="5024" y="179"/>
                              <a:pt x="4964" y="179"/>
                              <a:pt x="4844" y="119"/>
                            </a:cubicBezTo>
                            <a:cubicBezTo>
                              <a:pt x="4605" y="60"/>
                              <a:pt x="4426" y="0"/>
                              <a:pt x="4186" y="0"/>
                            </a:cubicBezTo>
                            <a:cubicBezTo>
                              <a:pt x="3947" y="0"/>
                              <a:pt x="3768" y="0"/>
                              <a:pt x="3528" y="0"/>
                            </a:cubicBezTo>
                            <a:cubicBezTo>
                              <a:pt x="3289" y="60"/>
                              <a:pt x="3110" y="60"/>
                              <a:pt x="2871" y="179"/>
                            </a:cubicBezTo>
                            <a:cubicBezTo>
                              <a:pt x="2631" y="299"/>
                              <a:pt x="2452" y="359"/>
                              <a:pt x="2213" y="538"/>
                            </a:cubicBezTo>
                            <a:cubicBezTo>
                              <a:pt x="2033" y="658"/>
                              <a:pt x="1854" y="778"/>
                              <a:pt x="1674" y="897"/>
                            </a:cubicBezTo>
                            <a:cubicBezTo>
                              <a:pt x="1495" y="1017"/>
                              <a:pt x="1375" y="1196"/>
                              <a:pt x="1196" y="1375"/>
                            </a:cubicBezTo>
                            <a:cubicBezTo>
                              <a:pt x="1076" y="1555"/>
                              <a:pt x="897" y="1734"/>
                              <a:pt x="777" y="1914"/>
                            </a:cubicBezTo>
                            <a:cubicBezTo>
                              <a:pt x="658" y="2093"/>
                              <a:pt x="538" y="2273"/>
                              <a:pt x="478" y="2512"/>
                            </a:cubicBezTo>
                            <a:cubicBezTo>
                              <a:pt x="478" y="2512"/>
                              <a:pt x="478" y="2572"/>
                              <a:pt x="418" y="2572"/>
                            </a:cubicBezTo>
                            <a:cubicBezTo>
                              <a:pt x="418" y="2572"/>
                              <a:pt x="418" y="2632"/>
                              <a:pt x="359" y="2632"/>
                            </a:cubicBezTo>
                            <a:cubicBezTo>
                              <a:pt x="359" y="2632"/>
                              <a:pt x="359" y="2691"/>
                              <a:pt x="299" y="2691"/>
                            </a:cubicBezTo>
                            <a:cubicBezTo>
                              <a:pt x="239" y="2691"/>
                              <a:pt x="299" y="2751"/>
                              <a:pt x="239" y="2751"/>
                            </a:cubicBezTo>
                            <a:cubicBezTo>
                              <a:pt x="239" y="2811"/>
                              <a:pt x="179" y="2871"/>
                              <a:pt x="179" y="2990"/>
                            </a:cubicBezTo>
                            <a:cubicBezTo>
                              <a:pt x="179" y="3110"/>
                              <a:pt x="119" y="3170"/>
                              <a:pt x="119" y="3229"/>
                            </a:cubicBezTo>
                            <a:cubicBezTo>
                              <a:pt x="119" y="3289"/>
                              <a:pt x="60" y="3409"/>
                              <a:pt x="60" y="3469"/>
                            </a:cubicBezTo>
                            <a:cubicBezTo>
                              <a:pt x="60" y="3528"/>
                              <a:pt x="60" y="3648"/>
                              <a:pt x="0" y="3708"/>
                            </a:cubicBezTo>
                            <a:cubicBezTo>
                              <a:pt x="0" y="3887"/>
                              <a:pt x="0" y="4067"/>
                              <a:pt x="0" y="4187"/>
                            </a:cubicBezTo>
                            <a:cubicBezTo>
                              <a:pt x="0" y="4366"/>
                              <a:pt x="0" y="4545"/>
                              <a:pt x="60" y="4665"/>
                            </a:cubicBezTo>
                            <a:cubicBezTo>
                              <a:pt x="119" y="4785"/>
                              <a:pt x="119" y="4964"/>
                              <a:pt x="179" y="5143"/>
                            </a:cubicBezTo>
                            <a:cubicBezTo>
                              <a:pt x="239" y="5323"/>
                              <a:pt x="299" y="5442"/>
                              <a:pt x="359" y="5622"/>
                            </a:cubicBezTo>
                            <a:cubicBezTo>
                              <a:pt x="359" y="5682"/>
                              <a:pt x="418" y="5741"/>
                              <a:pt x="418" y="5801"/>
                            </a:cubicBezTo>
                            <a:cubicBezTo>
                              <a:pt x="418" y="5861"/>
                              <a:pt x="478" y="5921"/>
                              <a:pt x="478" y="5981"/>
                            </a:cubicBezTo>
                            <a:cubicBezTo>
                              <a:pt x="478" y="6041"/>
                              <a:pt x="538" y="6100"/>
                              <a:pt x="598" y="6160"/>
                            </a:cubicBezTo>
                            <a:cubicBezTo>
                              <a:pt x="658" y="6220"/>
                              <a:pt x="658" y="6280"/>
                              <a:pt x="718" y="6280"/>
                            </a:cubicBezTo>
                            <a:cubicBezTo>
                              <a:pt x="777" y="6340"/>
                              <a:pt x="777" y="6340"/>
                              <a:pt x="837" y="6399"/>
                            </a:cubicBezTo>
                            <a:cubicBezTo>
                              <a:pt x="897" y="6459"/>
                              <a:pt x="897" y="6459"/>
                              <a:pt x="957" y="6519"/>
                            </a:cubicBezTo>
                            <a:cubicBezTo>
                              <a:pt x="1017" y="6579"/>
                              <a:pt x="1017" y="6579"/>
                              <a:pt x="1076" y="6639"/>
                            </a:cubicBezTo>
                            <a:cubicBezTo>
                              <a:pt x="957" y="6639"/>
                              <a:pt x="1017" y="6698"/>
                              <a:pt x="1076" y="6758"/>
                            </a:cubicBezTo>
                          </a:path>
                        </a:pathLst>
                      </a:custGeom>
                      <a:noFill/>
                      <a:ln w="6350" cap="flat">
                        <a:solidFill>
                          <a:schemeClr val="bg1">
                            <a:alpha val="40000"/>
                          </a:schemeClr>
                        </a:solidFill>
                        <a:prstDash val="solid"/>
                        <a:miter/>
                      </a:ln>
                    </p:spPr>
                    <p:txBody>
                      <a:bodyPr rtlCol="0" anchor="ctr"/>
                      <a:lstStyle/>
                      <a:p>
                        <a:endParaRPr lang="en-GB"/>
                      </a:p>
                    </p:txBody>
                  </p:sp>
                  <p:sp>
                    <p:nvSpPr>
                      <p:cNvPr id="7487" name="Vrije vorm: vorm 7486">
                        <a:extLst>
                          <a:ext uri="{FF2B5EF4-FFF2-40B4-BE49-F238E27FC236}">
                            <a16:creationId xmlns:a16="http://schemas.microsoft.com/office/drawing/2014/main" id="{4875354E-B749-4A6C-ADA6-3318C5BD814C}"/>
                          </a:ext>
                        </a:extLst>
                      </p:cNvPr>
                      <p:cNvSpPr/>
                      <p:nvPr/>
                    </p:nvSpPr>
                    <p:spPr>
                      <a:xfrm>
                        <a:off x="5062402" y="4967568"/>
                        <a:ext cx="6922" cy="7595"/>
                      </a:xfrm>
                      <a:custGeom>
                        <a:avLst/>
                        <a:gdLst>
                          <a:gd name="connsiteX0" fmla="*/ 4306 w 6922"/>
                          <a:gd name="connsiteY0" fmla="*/ 6100 h 7595"/>
                          <a:gd name="connsiteX1" fmla="*/ 3888 w 6922"/>
                          <a:gd name="connsiteY1" fmla="*/ 6280 h 7595"/>
                          <a:gd name="connsiteX2" fmla="*/ 3469 w 6922"/>
                          <a:gd name="connsiteY2" fmla="*/ 6399 h 7595"/>
                          <a:gd name="connsiteX3" fmla="*/ 3050 w 6922"/>
                          <a:gd name="connsiteY3" fmla="*/ 6399 h 7595"/>
                          <a:gd name="connsiteX4" fmla="*/ 2632 w 6922"/>
                          <a:gd name="connsiteY4" fmla="*/ 6340 h 7595"/>
                          <a:gd name="connsiteX5" fmla="*/ 1854 w 6922"/>
                          <a:gd name="connsiteY5" fmla="*/ 5921 h 7595"/>
                          <a:gd name="connsiteX6" fmla="*/ 1316 w 6922"/>
                          <a:gd name="connsiteY6" fmla="*/ 5143 h 7595"/>
                          <a:gd name="connsiteX7" fmla="*/ 1136 w 6922"/>
                          <a:gd name="connsiteY7" fmla="*/ 4725 h 7595"/>
                          <a:gd name="connsiteX8" fmla="*/ 1076 w 6922"/>
                          <a:gd name="connsiteY8" fmla="*/ 4246 h 7595"/>
                          <a:gd name="connsiteX9" fmla="*/ 1076 w 6922"/>
                          <a:gd name="connsiteY9" fmla="*/ 3768 h 7595"/>
                          <a:gd name="connsiteX10" fmla="*/ 1196 w 6922"/>
                          <a:gd name="connsiteY10" fmla="*/ 3289 h 7595"/>
                          <a:gd name="connsiteX11" fmla="*/ 1435 w 6922"/>
                          <a:gd name="connsiteY11" fmla="*/ 2811 h 7595"/>
                          <a:gd name="connsiteX12" fmla="*/ 1734 w 6922"/>
                          <a:gd name="connsiteY12" fmla="*/ 2392 h 7595"/>
                          <a:gd name="connsiteX13" fmla="*/ 2093 w 6922"/>
                          <a:gd name="connsiteY13" fmla="*/ 2033 h 7595"/>
                          <a:gd name="connsiteX14" fmla="*/ 2512 w 6922"/>
                          <a:gd name="connsiteY14" fmla="*/ 1734 h 7595"/>
                          <a:gd name="connsiteX15" fmla="*/ 3170 w 6922"/>
                          <a:gd name="connsiteY15" fmla="*/ 1435 h 7595"/>
                          <a:gd name="connsiteX16" fmla="*/ 3888 w 6922"/>
                          <a:gd name="connsiteY16" fmla="*/ 1375 h 7595"/>
                          <a:gd name="connsiteX17" fmla="*/ 4545 w 6922"/>
                          <a:gd name="connsiteY17" fmla="*/ 1495 h 7595"/>
                          <a:gd name="connsiteX18" fmla="*/ 5083 w 6922"/>
                          <a:gd name="connsiteY18" fmla="*/ 1854 h 7595"/>
                          <a:gd name="connsiteX19" fmla="*/ 5263 w 6922"/>
                          <a:gd name="connsiteY19" fmla="*/ 2033 h 7595"/>
                          <a:gd name="connsiteX20" fmla="*/ 5383 w 6922"/>
                          <a:gd name="connsiteY20" fmla="*/ 2213 h 7595"/>
                          <a:gd name="connsiteX21" fmla="*/ 5502 w 6922"/>
                          <a:gd name="connsiteY21" fmla="*/ 2392 h 7595"/>
                          <a:gd name="connsiteX22" fmla="*/ 5622 w 6922"/>
                          <a:gd name="connsiteY22" fmla="*/ 2632 h 7595"/>
                          <a:gd name="connsiteX23" fmla="*/ 5622 w 6922"/>
                          <a:gd name="connsiteY23" fmla="*/ 2691 h 7595"/>
                          <a:gd name="connsiteX24" fmla="*/ 5622 w 6922"/>
                          <a:gd name="connsiteY24" fmla="*/ 2751 h 7595"/>
                          <a:gd name="connsiteX25" fmla="*/ 5622 w 6922"/>
                          <a:gd name="connsiteY25" fmla="*/ 2811 h 7595"/>
                          <a:gd name="connsiteX26" fmla="*/ 5622 w 6922"/>
                          <a:gd name="connsiteY26" fmla="*/ 2871 h 7595"/>
                          <a:gd name="connsiteX27" fmla="*/ 5742 w 6922"/>
                          <a:gd name="connsiteY27" fmla="*/ 3768 h 7595"/>
                          <a:gd name="connsiteX28" fmla="*/ 5562 w 6922"/>
                          <a:gd name="connsiteY28" fmla="*/ 4665 h 7595"/>
                          <a:gd name="connsiteX29" fmla="*/ 5083 w 6922"/>
                          <a:gd name="connsiteY29" fmla="*/ 5442 h 7595"/>
                          <a:gd name="connsiteX30" fmla="*/ 4366 w 6922"/>
                          <a:gd name="connsiteY30" fmla="*/ 6041 h 7595"/>
                          <a:gd name="connsiteX31" fmla="*/ 4366 w 6922"/>
                          <a:gd name="connsiteY31" fmla="*/ 6041 h 7595"/>
                          <a:gd name="connsiteX32" fmla="*/ 4306 w 6922"/>
                          <a:gd name="connsiteY32" fmla="*/ 6100 h 7595"/>
                          <a:gd name="connsiteX33" fmla="*/ 4306 w 6922"/>
                          <a:gd name="connsiteY33" fmla="*/ 6100 h 7595"/>
                          <a:gd name="connsiteX34" fmla="*/ 4306 w 6922"/>
                          <a:gd name="connsiteY34" fmla="*/ 6100 h 7595"/>
                          <a:gd name="connsiteX35" fmla="*/ 1076 w 6922"/>
                          <a:gd name="connsiteY35" fmla="*/ 6878 h 7595"/>
                          <a:gd name="connsiteX36" fmla="*/ 1316 w 6922"/>
                          <a:gd name="connsiteY36" fmla="*/ 7057 h 7595"/>
                          <a:gd name="connsiteX37" fmla="*/ 1615 w 6922"/>
                          <a:gd name="connsiteY37" fmla="*/ 7236 h 7595"/>
                          <a:gd name="connsiteX38" fmla="*/ 1914 w 6922"/>
                          <a:gd name="connsiteY38" fmla="*/ 7356 h 7595"/>
                          <a:gd name="connsiteX39" fmla="*/ 2213 w 6922"/>
                          <a:gd name="connsiteY39" fmla="*/ 7476 h 7595"/>
                          <a:gd name="connsiteX40" fmla="*/ 2572 w 6922"/>
                          <a:gd name="connsiteY40" fmla="*/ 7536 h 7595"/>
                          <a:gd name="connsiteX41" fmla="*/ 2930 w 6922"/>
                          <a:gd name="connsiteY41" fmla="*/ 7595 h 7595"/>
                          <a:gd name="connsiteX42" fmla="*/ 3289 w 6922"/>
                          <a:gd name="connsiteY42" fmla="*/ 7595 h 7595"/>
                          <a:gd name="connsiteX43" fmla="*/ 3648 w 6922"/>
                          <a:gd name="connsiteY43" fmla="*/ 7536 h 7595"/>
                          <a:gd name="connsiteX44" fmla="*/ 3947 w 6922"/>
                          <a:gd name="connsiteY44" fmla="*/ 7476 h 7595"/>
                          <a:gd name="connsiteX45" fmla="*/ 4246 w 6922"/>
                          <a:gd name="connsiteY45" fmla="*/ 7356 h 7595"/>
                          <a:gd name="connsiteX46" fmla="*/ 4545 w 6922"/>
                          <a:gd name="connsiteY46" fmla="*/ 7236 h 7595"/>
                          <a:gd name="connsiteX47" fmla="*/ 4844 w 6922"/>
                          <a:gd name="connsiteY47" fmla="*/ 7117 h 7595"/>
                          <a:gd name="connsiteX48" fmla="*/ 4904 w 6922"/>
                          <a:gd name="connsiteY48" fmla="*/ 7057 h 7595"/>
                          <a:gd name="connsiteX49" fmla="*/ 4964 w 6922"/>
                          <a:gd name="connsiteY49" fmla="*/ 6997 h 7595"/>
                          <a:gd name="connsiteX50" fmla="*/ 5024 w 6922"/>
                          <a:gd name="connsiteY50" fmla="*/ 6937 h 7595"/>
                          <a:gd name="connsiteX51" fmla="*/ 5083 w 6922"/>
                          <a:gd name="connsiteY51" fmla="*/ 6878 h 7595"/>
                          <a:gd name="connsiteX52" fmla="*/ 5981 w 6922"/>
                          <a:gd name="connsiteY52" fmla="*/ 6041 h 7595"/>
                          <a:gd name="connsiteX53" fmla="*/ 6579 w 6922"/>
                          <a:gd name="connsiteY53" fmla="*/ 5024 h 7595"/>
                          <a:gd name="connsiteX54" fmla="*/ 6878 w 6922"/>
                          <a:gd name="connsiteY54" fmla="*/ 3887 h 7595"/>
                          <a:gd name="connsiteX55" fmla="*/ 6878 w 6922"/>
                          <a:gd name="connsiteY55" fmla="*/ 2751 h 7595"/>
                          <a:gd name="connsiteX56" fmla="*/ 6818 w 6922"/>
                          <a:gd name="connsiteY56" fmla="*/ 2512 h 7595"/>
                          <a:gd name="connsiteX57" fmla="*/ 6758 w 6922"/>
                          <a:gd name="connsiteY57" fmla="*/ 2273 h 7595"/>
                          <a:gd name="connsiteX58" fmla="*/ 6698 w 6922"/>
                          <a:gd name="connsiteY58" fmla="*/ 2033 h 7595"/>
                          <a:gd name="connsiteX59" fmla="*/ 6639 w 6922"/>
                          <a:gd name="connsiteY59" fmla="*/ 1854 h 7595"/>
                          <a:gd name="connsiteX60" fmla="*/ 6579 w 6922"/>
                          <a:gd name="connsiteY60" fmla="*/ 1674 h 7595"/>
                          <a:gd name="connsiteX61" fmla="*/ 6519 w 6922"/>
                          <a:gd name="connsiteY61" fmla="*/ 1555 h 7595"/>
                          <a:gd name="connsiteX62" fmla="*/ 6459 w 6922"/>
                          <a:gd name="connsiteY62" fmla="*/ 1435 h 7595"/>
                          <a:gd name="connsiteX63" fmla="*/ 6399 w 6922"/>
                          <a:gd name="connsiteY63" fmla="*/ 1316 h 7595"/>
                          <a:gd name="connsiteX64" fmla="*/ 6280 w 6922"/>
                          <a:gd name="connsiteY64" fmla="*/ 1136 h 7595"/>
                          <a:gd name="connsiteX65" fmla="*/ 6160 w 6922"/>
                          <a:gd name="connsiteY65" fmla="*/ 1017 h 7595"/>
                          <a:gd name="connsiteX66" fmla="*/ 6041 w 6922"/>
                          <a:gd name="connsiteY66" fmla="*/ 897 h 7595"/>
                          <a:gd name="connsiteX67" fmla="*/ 5921 w 6922"/>
                          <a:gd name="connsiteY67" fmla="*/ 778 h 7595"/>
                          <a:gd name="connsiteX68" fmla="*/ 5083 w 6922"/>
                          <a:gd name="connsiteY68" fmla="*/ 239 h 7595"/>
                          <a:gd name="connsiteX69" fmla="*/ 4127 w 6922"/>
                          <a:gd name="connsiteY69" fmla="*/ 0 h 7595"/>
                          <a:gd name="connsiteX70" fmla="*/ 3110 w 6922"/>
                          <a:gd name="connsiteY70" fmla="*/ 60 h 7595"/>
                          <a:gd name="connsiteX71" fmla="*/ 2093 w 6922"/>
                          <a:gd name="connsiteY71" fmla="*/ 479 h 7595"/>
                          <a:gd name="connsiteX72" fmla="*/ 1495 w 6922"/>
                          <a:gd name="connsiteY72" fmla="*/ 897 h 7595"/>
                          <a:gd name="connsiteX73" fmla="*/ 957 w 6922"/>
                          <a:gd name="connsiteY73" fmla="*/ 1435 h 7595"/>
                          <a:gd name="connsiteX74" fmla="*/ 538 w 6922"/>
                          <a:gd name="connsiteY74" fmla="*/ 2033 h 7595"/>
                          <a:gd name="connsiteX75" fmla="*/ 239 w 6922"/>
                          <a:gd name="connsiteY75" fmla="*/ 2751 h 7595"/>
                          <a:gd name="connsiteX76" fmla="*/ 60 w 6922"/>
                          <a:gd name="connsiteY76" fmla="*/ 3469 h 7595"/>
                          <a:gd name="connsiteX77" fmla="*/ 0 w 6922"/>
                          <a:gd name="connsiteY77" fmla="*/ 4187 h 7595"/>
                          <a:gd name="connsiteX78" fmla="*/ 60 w 6922"/>
                          <a:gd name="connsiteY78" fmla="*/ 4904 h 7595"/>
                          <a:gd name="connsiteX79" fmla="*/ 299 w 6922"/>
                          <a:gd name="connsiteY79" fmla="*/ 5562 h 7595"/>
                          <a:gd name="connsiteX80" fmla="*/ 479 w 6922"/>
                          <a:gd name="connsiteY80" fmla="*/ 5861 h 7595"/>
                          <a:gd name="connsiteX81" fmla="*/ 658 w 6922"/>
                          <a:gd name="connsiteY81" fmla="*/ 6160 h 7595"/>
                          <a:gd name="connsiteX82" fmla="*/ 897 w 6922"/>
                          <a:gd name="connsiteY82" fmla="*/ 6399 h 7595"/>
                          <a:gd name="connsiteX83" fmla="*/ 1076 w 6922"/>
                          <a:gd name="connsiteY83" fmla="*/ 6878 h 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922" h="7595">
                            <a:moveTo>
                              <a:pt x="4306" y="6100"/>
                            </a:moveTo>
                            <a:cubicBezTo>
                              <a:pt x="4187" y="6160"/>
                              <a:pt x="4007" y="6220"/>
                              <a:pt x="3888" y="6280"/>
                            </a:cubicBezTo>
                            <a:cubicBezTo>
                              <a:pt x="3768" y="6340"/>
                              <a:pt x="3588" y="6340"/>
                              <a:pt x="3469" y="6399"/>
                            </a:cubicBezTo>
                            <a:cubicBezTo>
                              <a:pt x="3349" y="6399"/>
                              <a:pt x="3170" y="6399"/>
                              <a:pt x="3050" y="6399"/>
                            </a:cubicBezTo>
                            <a:cubicBezTo>
                              <a:pt x="2930" y="6399"/>
                              <a:pt x="2751" y="6340"/>
                              <a:pt x="2632" y="6340"/>
                            </a:cubicBezTo>
                            <a:lnTo>
                              <a:pt x="1854" y="5921"/>
                            </a:lnTo>
                            <a:lnTo>
                              <a:pt x="1316" y="5143"/>
                            </a:lnTo>
                            <a:cubicBezTo>
                              <a:pt x="1256" y="5024"/>
                              <a:pt x="1196" y="4844"/>
                              <a:pt x="1136" y="4725"/>
                            </a:cubicBezTo>
                            <a:cubicBezTo>
                              <a:pt x="1076" y="4545"/>
                              <a:pt x="1076" y="4426"/>
                              <a:pt x="1076" y="4246"/>
                            </a:cubicBezTo>
                            <a:cubicBezTo>
                              <a:pt x="1076" y="4067"/>
                              <a:pt x="1076" y="3887"/>
                              <a:pt x="1076" y="3768"/>
                            </a:cubicBezTo>
                            <a:cubicBezTo>
                              <a:pt x="1076" y="3588"/>
                              <a:pt x="1136" y="3409"/>
                              <a:pt x="1196" y="3289"/>
                            </a:cubicBezTo>
                            <a:cubicBezTo>
                              <a:pt x="1256" y="3110"/>
                              <a:pt x="1316" y="2990"/>
                              <a:pt x="1435" y="2811"/>
                            </a:cubicBezTo>
                            <a:cubicBezTo>
                              <a:pt x="1495" y="2691"/>
                              <a:pt x="1615" y="2512"/>
                              <a:pt x="1734" y="2392"/>
                            </a:cubicBezTo>
                            <a:cubicBezTo>
                              <a:pt x="1854" y="2273"/>
                              <a:pt x="1974" y="2153"/>
                              <a:pt x="2093" y="2033"/>
                            </a:cubicBezTo>
                            <a:cubicBezTo>
                              <a:pt x="2213" y="1914"/>
                              <a:pt x="2333" y="1854"/>
                              <a:pt x="2512" y="1734"/>
                            </a:cubicBezTo>
                            <a:cubicBezTo>
                              <a:pt x="2751" y="1615"/>
                              <a:pt x="2990" y="1495"/>
                              <a:pt x="3170" y="1435"/>
                            </a:cubicBezTo>
                            <a:cubicBezTo>
                              <a:pt x="3409" y="1375"/>
                              <a:pt x="3648" y="1375"/>
                              <a:pt x="3888" y="1375"/>
                            </a:cubicBezTo>
                            <a:cubicBezTo>
                              <a:pt x="4127" y="1375"/>
                              <a:pt x="4306" y="1435"/>
                              <a:pt x="4545" y="1495"/>
                            </a:cubicBezTo>
                            <a:cubicBezTo>
                              <a:pt x="4725" y="1555"/>
                              <a:pt x="4964" y="1674"/>
                              <a:pt x="5083" y="1854"/>
                            </a:cubicBezTo>
                            <a:cubicBezTo>
                              <a:pt x="5143" y="1914"/>
                              <a:pt x="5203" y="1974"/>
                              <a:pt x="5263" y="2033"/>
                            </a:cubicBezTo>
                            <a:cubicBezTo>
                              <a:pt x="5323" y="2093"/>
                              <a:pt x="5383" y="2153"/>
                              <a:pt x="5383" y="2213"/>
                            </a:cubicBezTo>
                            <a:cubicBezTo>
                              <a:pt x="5442" y="2273"/>
                              <a:pt x="5442" y="2333"/>
                              <a:pt x="5502" y="2392"/>
                            </a:cubicBezTo>
                            <a:cubicBezTo>
                              <a:pt x="5562" y="2452"/>
                              <a:pt x="5562" y="2512"/>
                              <a:pt x="5622" y="2632"/>
                            </a:cubicBezTo>
                            <a:cubicBezTo>
                              <a:pt x="5622" y="2632"/>
                              <a:pt x="5622" y="2691"/>
                              <a:pt x="5622" y="2691"/>
                            </a:cubicBezTo>
                            <a:cubicBezTo>
                              <a:pt x="5622" y="2691"/>
                              <a:pt x="5622" y="2751"/>
                              <a:pt x="5622" y="2751"/>
                            </a:cubicBezTo>
                            <a:cubicBezTo>
                              <a:pt x="5622" y="2751"/>
                              <a:pt x="5622" y="2811"/>
                              <a:pt x="5622" y="2811"/>
                            </a:cubicBezTo>
                            <a:cubicBezTo>
                              <a:pt x="5622" y="2811"/>
                              <a:pt x="5622" y="2871"/>
                              <a:pt x="5622" y="2871"/>
                            </a:cubicBezTo>
                            <a:cubicBezTo>
                              <a:pt x="5682" y="3170"/>
                              <a:pt x="5742" y="3469"/>
                              <a:pt x="5742" y="3768"/>
                            </a:cubicBezTo>
                            <a:cubicBezTo>
                              <a:pt x="5742" y="4067"/>
                              <a:pt x="5682" y="4366"/>
                              <a:pt x="5562" y="4665"/>
                            </a:cubicBezTo>
                            <a:cubicBezTo>
                              <a:pt x="5442" y="4964"/>
                              <a:pt x="5263" y="5203"/>
                              <a:pt x="5083" y="5442"/>
                            </a:cubicBezTo>
                            <a:cubicBezTo>
                              <a:pt x="4904" y="5682"/>
                              <a:pt x="4665" y="5861"/>
                              <a:pt x="4366" y="6041"/>
                            </a:cubicBezTo>
                            <a:cubicBezTo>
                              <a:pt x="4366" y="6041"/>
                              <a:pt x="4366" y="6041"/>
                              <a:pt x="4366" y="6041"/>
                            </a:cubicBezTo>
                            <a:cubicBezTo>
                              <a:pt x="4366" y="6100"/>
                              <a:pt x="4366" y="6100"/>
                              <a:pt x="4306" y="6100"/>
                            </a:cubicBezTo>
                            <a:cubicBezTo>
                              <a:pt x="4366" y="6100"/>
                              <a:pt x="4366" y="6100"/>
                              <a:pt x="4306" y="6100"/>
                            </a:cubicBezTo>
                            <a:cubicBezTo>
                              <a:pt x="4366" y="6100"/>
                              <a:pt x="4306" y="6100"/>
                              <a:pt x="4306" y="6100"/>
                            </a:cubicBezTo>
                            <a:moveTo>
                              <a:pt x="1076" y="6878"/>
                            </a:moveTo>
                            <a:cubicBezTo>
                              <a:pt x="1136" y="6937"/>
                              <a:pt x="1256" y="6997"/>
                              <a:pt x="1316" y="7057"/>
                            </a:cubicBezTo>
                            <a:cubicBezTo>
                              <a:pt x="1375" y="7117"/>
                              <a:pt x="1495" y="7177"/>
                              <a:pt x="1615" y="7236"/>
                            </a:cubicBezTo>
                            <a:cubicBezTo>
                              <a:pt x="1734" y="7296"/>
                              <a:pt x="1794" y="7356"/>
                              <a:pt x="1914" y="7356"/>
                            </a:cubicBezTo>
                            <a:cubicBezTo>
                              <a:pt x="2034" y="7416"/>
                              <a:pt x="2093" y="7416"/>
                              <a:pt x="2213" y="7476"/>
                            </a:cubicBezTo>
                            <a:cubicBezTo>
                              <a:pt x="2333" y="7536"/>
                              <a:pt x="2452" y="7536"/>
                              <a:pt x="2572" y="7536"/>
                            </a:cubicBezTo>
                            <a:cubicBezTo>
                              <a:pt x="2691" y="7536"/>
                              <a:pt x="2811" y="7595"/>
                              <a:pt x="2930" y="7595"/>
                            </a:cubicBezTo>
                            <a:cubicBezTo>
                              <a:pt x="3050" y="7595"/>
                              <a:pt x="3170" y="7595"/>
                              <a:pt x="3289" y="7595"/>
                            </a:cubicBezTo>
                            <a:cubicBezTo>
                              <a:pt x="3409" y="7595"/>
                              <a:pt x="3529" y="7595"/>
                              <a:pt x="3648" y="7536"/>
                            </a:cubicBezTo>
                            <a:cubicBezTo>
                              <a:pt x="3768" y="7536"/>
                              <a:pt x="3828" y="7476"/>
                              <a:pt x="3947" y="7476"/>
                            </a:cubicBezTo>
                            <a:cubicBezTo>
                              <a:pt x="4067" y="7476"/>
                              <a:pt x="4127" y="7416"/>
                              <a:pt x="4246" y="7356"/>
                            </a:cubicBezTo>
                            <a:cubicBezTo>
                              <a:pt x="4366" y="7296"/>
                              <a:pt x="4426" y="7296"/>
                              <a:pt x="4545" y="7236"/>
                            </a:cubicBezTo>
                            <a:cubicBezTo>
                              <a:pt x="4665" y="7177"/>
                              <a:pt x="4725" y="7117"/>
                              <a:pt x="4844" y="7117"/>
                            </a:cubicBezTo>
                            <a:cubicBezTo>
                              <a:pt x="4844" y="7117"/>
                              <a:pt x="4904" y="7117"/>
                              <a:pt x="4904" y="7057"/>
                            </a:cubicBezTo>
                            <a:cubicBezTo>
                              <a:pt x="4904" y="7057"/>
                              <a:pt x="4964" y="7057"/>
                              <a:pt x="4964" y="6997"/>
                            </a:cubicBezTo>
                            <a:cubicBezTo>
                              <a:pt x="4964" y="6997"/>
                              <a:pt x="5024" y="6997"/>
                              <a:pt x="5024" y="6937"/>
                            </a:cubicBezTo>
                            <a:cubicBezTo>
                              <a:pt x="5024" y="6937"/>
                              <a:pt x="5083" y="6937"/>
                              <a:pt x="5083" y="6878"/>
                            </a:cubicBezTo>
                            <a:cubicBezTo>
                              <a:pt x="5442" y="6639"/>
                              <a:pt x="5682" y="6340"/>
                              <a:pt x="5981" y="6041"/>
                            </a:cubicBezTo>
                            <a:cubicBezTo>
                              <a:pt x="6220" y="5741"/>
                              <a:pt x="6459" y="5382"/>
                              <a:pt x="6579" y="5024"/>
                            </a:cubicBezTo>
                            <a:cubicBezTo>
                              <a:pt x="6758" y="4665"/>
                              <a:pt x="6818" y="4306"/>
                              <a:pt x="6878" y="3887"/>
                            </a:cubicBezTo>
                            <a:cubicBezTo>
                              <a:pt x="6937" y="3528"/>
                              <a:pt x="6937" y="3110"/>
                              <a:pt x="6878" y="2751"/>
                            </a:cubicBezTo>
                            <a:cubicBezTo>
                              <a:pt x="6878" y="2691"/>
                              <a:pt x="6878" y="2632"/>
                              <a:pt x="6818" y="2512"/>
                            </a:cubicBezTo>
                            <a:cubicBezTo>
                              <a:pt x="6818" y="2452"/>
                              <a:pt x="6758" y="2392"/>
                              <a:pt x="6758" y="2273"/>
                            </a:cubicBezTo>
                            <a:cubicBezTo>
                              <a:pt x="6758" y="2213"/>
                              <a:pt x="6698" y="2153"/>
                              <a:pt x="6698" y="2033"/>
                            </a:cubicBezTo>
                            <a:cubicBezTo>
                              <a:pt x="6698" y="1914"/>
                              <a:pt x="6639" y="1914"/>
                              <a:pt x="6639" y="1854"/>
                            </a:cubicBezTo>
                            <a:cubicBezTo>
                              <a:pt x="6639" y="1794"/>
                              <a:pt x="6579" y="1734"/>
                              <a:pt x="6579" y="1674"/>
                            </a:cubicBezTo>
                            <a:cubicBezTo>
                              <a:pt x="6579" y="1615"/>
                              <a:pt x="6519" y="1555"/>
                              <a:pt x="6519" y="1555"/>
                            </a:cubicBezTo>
                            <a:cubicBezTo>
                              <a:pt x="6519" y="1495"/>
                              <a:pt x="6459" y="1435"/>
                              <a:pt x="6459" y="1435"/>
                            </a:cubicBezTo>
                            <a:cubicBezTo>
                              <a:pt x="6459" y="1375"/>
                              <a:pt x="6399" y="1316"/>
                              <a:pt x="6399" y="1316"/>
                            </a:cubicBezTo>
                            <a:cubicBezTo>
                              <a:pt x="6340" y="1256"/>
                              <a:pt x="6340" y="1196"/>
                              <a:pt x="6280" y="1136"/>
                            </a:cubicBezTo>
                            <a:cubicBezTo>
                              <a:pt x="6220" y="1076"/>
                              <a:pt x="6220" y="1017"/>
                              <a:pt x="6160" y="1017"/>
                            </a:cubicBezTo>
                            <a:cubicBezTo>
                              <a:pt x="6100" y="957"/>
                              <a:pt x="6100" y="897"/>
                              <a:pt x="6041" y="897"/>
                            </a:cubicBezTo>
                            <a:cubicBezTo>
                              <a:pt x="5981" y="837"/>
                              <a:pt x="5981" y="837"/>
                              <a:pt x="5921" y="778"/>
                            </a:cubicBezTo>
                            <a:cubicBezTo>
                              <a:pt x="5682" y="538"/>
                              <a:pt x="5383" y="419"/>
                              <a:pt x="5083" y="239"/>
                            </a:cubicBezTo>
                            <a:cubicBezTo>
                              <a:pt x="4785" y="119"/>
                              <a:pt x="4486" y="60"/>
                              <a:pt x="4127" y="0"/>
                            </a:cubicBezTo>
                            <a:cubicBezTo>
                              <a:pt x="3828" y="0"/>
                              <a:pt x="3469" y="0"/>
                              <a:pt x="3110" y="60"/>
                            </a:cubicBezTo>
                            <a:cubicBezTo>
                              <a:pt x="2751" y="119"/>
                              <a:pt x="2452" y="299"/>
                              <a:pt x="2093" y="479"/>
                            </a:cubicBezTo>
                            <a:cubicBezTo>
                              <a:pt x="1914" y="598"/>
                              <a:pt x="1675" y="778"/>
                              <a:pt x="1495" y="897"/>
                            </a:cubicBezTo>
                            <a:cubicBezTo>
                              <a:pt x="1316" y="1017"/>
                              <a:pt x="1136" y="1256"/>
                              <a:pt x="957" y="1435"/>
                            </a:cubicBezTo>
                            <a:cubicBezTo>
                              <a:pt x="778" y="1615"/>
                              <a:pt x="658" y="1854"/>
                              <a:pt x="538" y="2033"/>
                            </a:cubicBezTo>
                            <a:cubicBezTo>
                              <a:pt x="419" y="2273"/>
                              <a:pt x="299" y="2512"/>
                              <a:pt x="239" y="2751"/>
                            </a:cubicBezTo>
                            <a:cubicBezTo>
                              <a:pt x="180" y="2990"/>
                              <a:pt x="60" y="3229"/>
                              <a:pt x="60" y="3469"/>
                            </a:cubicBezTo>
                            <a:cubicBezTo>
                              <a:pt x="0" y="3708"/>
                              <a:pt x="0" y="3947"/>
                              <a:pt x="0" y="4187"/>
                            </a:cubicBezTo>
                            <a:cubicBezTo>
                              <a:pt x="0" y="4426"/>
                              <a:pt x="60" y="4665"/>
                              <a:pt x="60" y="4904"/>
                            </a:cubicBezTo>
                            <a:cubicBezTo>
                              <a:pt x="60" y="5143"/>
                              <a:pt x="180" y="5382"/>
                              <a:pt x="299" y="5562"/>
                            </a:cubicBezTo>
                            <a:cubicBezTo>
                              <a:pt x="359" y="5682"/>
                              <a:pt x="419" y="5801"/>
                              <a:pt x="479" y="5861"/>
                            </a:cubicBezTo>
                            <a:cubicBezTo>
                              <a:pt x="538" y="5981"/>
                              <a:pt x="598" y="6041"/>
                              <a:pt x="658" y="6160"/>
                            </a:cubicBezTo>
                            <a:cubicBezTo>
                              <a:pt x="718" y="6280"/>
                              <a:pt x="778" y="6340"/>
                              <a:pt x="897" y="6399"/>
                            </a:cubicBezTo>
                            <a:cubicBezTo>
                              <a:pt x="1017" y="6459"/>
                              <a:pt x="1017" y="6818"/>
                              <a:pt x="1076" y="6878"/>
                            </a:cubicBezTo>
                          </a:path>
                        </a:pathLst>
                      </a:custGeom>
                      <a:noFill/>
                      <a:ln w="6350" cap="flat">
                        <a:solidFill>
                          <a:schemeClr val="bg1">
                            <a:alpha val="40000"/>
                          </a:schemeClr>
                        </a:solidFill>
                        <a:prstDash val="solid"/>
                        <a:miter/>
                      </a:ln>
                    </p:spPr>
                    <p:txBody>
                      <a:bodyPr rtlCol="0" anchor="ctr"/>
                      <a:lstStyle/>
                      <a:p>
                        <a:endParaRPr lang="en-GB"/>
                      </a:p>
                    </p:txBody>
                  </p:sp>
                  <p:sp>
                    <p:nvSpPr>
                      <p:cNvPr id="7488" name="Vrije vorm: vorm 7487">
                        <a:extLst>
                          <a:ext uri="{FF2B5EF4-FFF2-40B4-BE49-F238E27FC236}">
                            <a16:creationId xmlns:a16="http://schemas.microsoft.com/office/drawing/2014/main" id="{6D2466A1-891F-40F8-B809-A78099DC3231}"/>
                          </a:ext>
                        </a:extLst>
                      </p:cNvPr>
                      <p:cNvSpPr/>
                      <p:nvPr/>
                    </p:nvSpPr>
                    <p:spPr>
                      <a:xfrm>
                        <a:off x="5051218" y="4969356"/>
                        <a:ext cx="6997" cy="7460"/>
                      </a:xfrm>
                      <a:custGeom>
                        <a:avLst/>
                        <a:gdLst>
                          <a:gd name="connsiteX0" fmla="*/ 5143 w 6997"/>
                          <a:gd name="connsiteY0" fmla="*/ 1740 h 7460"/>
                          <a:gd name="connsiteX1" fmla="*/ 5562 w 6997"/>
                          <a:gd name="connsiteY1" fmla="*/ 2278 h 7460"/>
                          <a:gd name="connsiteX2" fmla="*/ 5801 w 6997"/>
                          <a:gd name="connsiteY2" fmla="*/ 2936 h 7460"/>
                          <a:gd name="connsiteX3" fmla="*/ 5861 w 6997"/>
                          <a:gd name="connsiteY3" fmla="*/ 3654 h 7460"/>
                          <a:gd name="connsiteX4" fmla="*/ 5682 w 6997"/>
                          <a:gd name="connsiteY4" fmla="*/ 4431 h 7460"/>
                          <a:gd name="connsiteX5" fmla="*/ 5203 w 6997"/>
                          <a:gd name="connsiteY5" fmla="*/ 5328 h 7460"/>
                          <a:gd name="connsiteX6" fmla="*/ 4486 w 6997"/>
                          <a:gd name="connsiteY6" fmla="*/ 5986 h 7460"/>
                          <a:gd name="connsiteX7" fmla="*/ 3588 w 6997"/>
                          <a:gd name="connsiteY7" fmla="*/ 6285 h 7460"/>
                          <a:gd name="connsiteX8" fmla="*/ 2691 w 6997"/>
                          <a:gd name="connsiteY8" fmla="*/ 6225 h 7460"/>
                          <a:gd name="connsiteX9" fmla="*/ 1914 w 6997"/>
                          <a:gd name="connsiteY9" fmla="*/ 5807 h 7460"/>
                          <a:gd name="connsiteX10" fmla="*/ 1495 w 6997"/>
                          <a:gd name="connsiteY10" fmla="*/ 5268 h 7460"/>
                          <a:gd name="connsiteX11" fmla="*/ 1256 w 6997"/>
                          <a:gd name="connsiteY11" fmla="*/ 4611 h 7460"/>
                          <a:gd name="connsiteX12" fmla="*/ 1196 w 6997"/>
                          <a:gd name="connsiteY12" fmla="*/ 3893 h 7460"/>
                          <a:gd name="connsiteX13" fmla="*/ 1375 w 6997"/>
                          <a:gd name="connsiteY13" fmla="*/ 3115 h 7460"/>
                          <a:gd name="connsiteX14" fmla="*/ 1854 w 6997"/>
                          <a:gd name="connsiteY14" fmla="*/ 2218 h 7460"/>
                          <a:gd name="connsiteX15" fmla="*/ 2572 w 6997"/>
                          <a:gd name="connsiteY15" fmla="*/ 1560 h 7460"/>
                          <a:gd name="connsiteX16" fmla="*/ 3469 w 6997"/>
                          <a:gd name="connsiteY16" fmla="*/ 1261 h 7460"/>
                          <a:gd name="connsiteX17" fmla="*/ 4366 w 6997"/>
                          <a:gd name="connsiteY17" fmla="*/ 1321 h 7460"/>
                          <a:gd name="connsiteX18" fmla="*/ 4605 w 6997"/>
                          <a:gd name="connsiteY18" fmla="*/ 1381 h 7460"/>
                          <a:gd name="connsiteX19" fmla="*/ 4785 w 6997"/>
                          <a:gd name="connsiteY19" fmla="*/ 1501 h 7460"/>
                          <a:gd name="connsiteX20" fmla="*/ 4964 w 6997"/>
                          <a:gd name="connsiteY20" fmla="*/ 1620 h 7460"/>
                          <a:gd name="connsiteX21" fmla="*/ 5143 w 6997"/>
                          <a:gd name="connsiteY21" fmla="*/ 1740 h 7460"/>
                          <a:gd name="connsiteX22" fmla="*/ 1196 w 6997"/>
                          <a:gd name="connsiteY22" fmla="*/ 6764 h 7460"/>
                          <a:gd name="connsiteX23" fmla="*/ 1435 w 6997"/>
                          <a:gd name="connsiteY23" fmla="*/ 6943 h 7460"/>
                          <a:gd name="connsiteX24" fmla="*/ 1674 w 6997"/>
                          <a:gd name="connsiteY24" fmla="*/ 7122 h 7460"/>
                          <a:gd name="connsiteX25" fmla="*/ 1974 w 6997"/>
                          <a:gd name="connsiteY25" fmla="*/ 7242 h 7460"/>
                          <a:gd name="connsiteX26" fmla="*/ 2273 w 6997"/>
                          <a:gd name="connsiteY26" fmla="*/ 7362 h 7460"/>
                          <a:gd name="connsiteX27" fmla="*/ 3648 w 6997"/>
                          <a:gd name="connsiteY27" fmla="*/ 7421 h 7460"/>
                          <a:gd name="connsiteX28" fmla="*/ 4964 w 6997"/>
                          <a:gd name="connsiteY28" fmla="*/ 6943 h 7460"/>
                          <a:gd name="connsiteX29" fmla="*/ 6041 w 6997"/>
                          <a:gd name="connsiteY29" fmla="*/ 5986 h 7460"/>
                          <a:gd name="connsiteX30" fmla="*/ 6758 w 6997"/>
                          <a:gd name="connsiteY30" fmla="*/ 4671 h 7460"/>
                          <a:gd name="connsiteX31" fmla="*/ 6997 w 6997"/>
                          <a:gd name="connsiteY31" fmla="*/ 3534 h 7460"/>
                          <a:gd name="connsiteX32" fmla="*/ 6878 w 6997"/>
                          <a:gd name="connsiteY32" fmla="*/ 2457 h 7460"/>
                          <a:gd name="connsiteX33" fmla="*/ 6519 w 6997"/>
                          <a:gd name="connsiteY33" fmla="*/ 1501 h 7460"/>
                          <a:gd name="connsiteX34" fmla="*/ 5861 w 6997"/>
                          <a:gd name="connsiteY34" fmla="*/ 723 h 7460"/>
                          <a:gd name="connsiteX35" fmla="*/ 5622 w 6997"/>
                          <a:gd name="connsiteY35" fmla="*/ 544 h 7460"/>
                          <a:gd name="connsiteX36" fmla="*/ 5323 w 6997"/>
                          <a:gd name="connsiteY36" fmla="*/ 364 h 7460"/>
                          <a:gd name="connsiteX37" fmla="*/ 5024 w 6997"/>
                          <a:gd name="connsiteY37" fmla="*/ 244 h 7460"/>
                          <a:gd name="connsiteX38" fmla="*/ 4725 w 6997"/>
                          <a:gd name="connsiteY38" fmla="*/ 125 h 7460"/>
                          <a:gd name="connsiteX39" fmla="*/ 3349 w 6997"/>
                          <a:gd name="connsiteY39" fmla="*/ 65 h 7460"/>
                          <a:gd name="connsiteX40" fmla="*/ 2033 w 6997"/>
                          <a:gd name="connsiteY40" fmla="*/ 544 h 7460"/>
                          <a:gd name="connsiteX41" fmla="*/ 957 w 6997"/>
                          <a:gd name="connsiteY41" fmla="*/ 1501 h 7460"/>
                          <a:gd name="connsiteX42" fmla="*/ 239 w 6997"/>
                          <a:gd name="connsiteY42" fmla="*/ 2816 h 7460"/>
                          <a:gd name="connsiteX43" fmla="*/ 0 w 6997"/>
                          <a:gd name="connsiteY43" fmla="*/ 3953 h 7460"/>
                          <a:gd name="connsiteX44" fmla="*/ 120 w 6997"/>
                          <a:gd name="connsiteY44" fmla="*/ 5029 h 7460"/>
                          <a:gd name="connsiteX45" fmla="*/ 538 w 6997"/>
                          <a:gd name="connsiteY45" fmla="*/ 5986 h 7460"/>
                          <a:gd name="connsiteX46" fmla="*/ 1196 w 6997"/>
                          <a:gd name="connsiteY46" fmla="*/ 6764 h 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997" h="7460">
                            <a:moveTo>
                              <a:pt x="5143" y="1740"/>
                            </a:moveTo>
                            <a:cubicBezTo>
                              <a:pt x="5323" y="1859"/>
                              <a:pt x="5442" y="2039"/>
                              <a:pt x="5562" y="2278"/>
                            </a:cubicBezTo>
                            <a:cubicBezTo>
                              <a:pt x="5682" y="2457"/>
                              <a:pt x="5742" y="2697"/>
                              <a:pt x="5801" y="2936"/>
                            </a:cubicBezTo>
                            <a:cubicBezTo>
                              <a:pt x="5861" y="3175"/>
                              <a:pt x="5861" y="3414"/>
                              <a:pt x="5861" y="3654"/>
                            </a:cubicBezTo>
                            <a:cubicBezTo>
                              <a:pt x="5861" y="3893"/>
                              <a:pt x="5801" y="4192"/>
                              <a:pt x="5682" y="4431"/>
                            </a:cubicBezTo>
                            <a:cubicBezTo>
                              <a:pt x="5562" y="4790"/>
                              <a:pt x="5383" y="5089"/>
                              <a:pt x="5203" y="5328"/>
                            </a:cubicBezTo>
                            <a:cubicBezTo>
                              <a:pt x="5024" y="5567"/>
                              <a:pt x="4725" y="5807"/>
                              <a:pt x="4486" y="5986"/>
                            </a:cubicBezTo>
                            <a:cubicBezTo>
                              <a:pt x="4187" y="6166"/>
                              <a:pt x="3888" y="6285"/>
                              <a:pt x="3588" y="6285"/>
                            </a:cubicBezTo>
                            <a:cubicBezTo>
                              <a:pt x="3289" y="6345"/>
                              <a:pt x="2990" y="6345"/>
                              <a:pt x="2691" y="6225"/>
                            </a:cubicBezTo>
                            <a:lnTo>
                              <a:pt x="1914" y="5807"/>
                            </a:lnTo>
                            <a:cubicBezTo>
                              <a:pt x="1734" y="5687"/>
                              <a:pt x="1615" y="5508"/>
                              <a:pt x="1495" y="5268"/>
                            </a:cubicBezTo>
                            <a:cubicBezTo>
                              <a:pt x="1375" y="5089"/>
                              <a:pt x="1316" y="4850"/>
                              <a:pt x="1256" y="4611"/>
                            </a:cubicBezTo>
                            <a:cubicBezTo>
                              <a:pt x="1196" y="4371"/>
                              <a:pt x="1196" y="4132"/>
                              <a:pt x="1196" y="3893"/>
                            </a:cubicBezTo>
                            <a:cubicBezTo>
                              <a:pt x="1196" y="3654"/>
                              <a:pt x="1256" y="3355"/>
                              <a:pt x="1375" y="3115"/>
                            </a:cubicBezTo>
                            <a:cubicBezTo>
                              <a:pt x="1495" y="2757"/>
                              <a:pt x="1674" y="2457"/>
                              <a:pt x="1854" y="2218"/>
                            </a:cubicBezTo>
                            <a:cubicBezTo>
                              <a:pt x="2033" y="1979"/>
                              <a:pt x="2333" y="1740"/>
                              <a:pt x="2572" y="1560"/>
                            </a:cubicBezTo>
                            <a:cubicBezTo>
                              <a:pt x="2871" y="1381"/>
                              <a:pt x="3170" y="1261"/>
                              <a:pt x="3469" y="1261"/>
                            </a:cubicBezTo>
                            <a:cubicBezTo>
                              <a:pt x="3768" y="1202"/>
                              <a:pt x="4067" y="1202"/>
                              <a:pt x="4366" y="1321"/>
                            </a:cubicBezTo>
                            <a:cubicBezTo>
                              <a:pt x="4426" y="1321"/>
                              <a:pt x="4486" y="1381"/>
                              <a:pt x="4605" y="1381"/>
                            </a:cubicBezTo>
                            <a:cubicBezTo>
                              <a:pt x="4725" y="1381"/>
                              <a:pt x="4725" y="1441"/>
                              <a:pt x="4785" y="1501"/>
                            </a:cubicBezTo>
                            <a:cubicBezTo>
                              <a:pt x="4844" y="1560"/>
                              <a:pt x="4904" y="1560"/>
                              <a:pt x="4964" y="1620"/>
                            </a:cubicBezTo>
                            <a:cubicBezTo>
                              <a:pt x="5024" y="1620"/>
                              <a:pt x="5083" y="1680"/>
                              <a:pt x="5143" y="1740"/>
                            </a:cubicBezTo>
                            <a:moveTo>
                              <a:pt x="1196" y="6764"/>
                            </a:moveTo>
                            <a:cubicBezTo>
                              <a:pt x="1256" y="6824"/>
                              <a:pt x="1375" y="6883"/>
                              <a:pt x="1435" y="6943"/>
                            </a:cubicBezTo>
                            <a:cubicBezTo>
                              <a:pt x="1495" y="7003"/>
                              <a:pt x="1615" y="7063"/>
                              <a:pt x="1674" y="7122"/>
                            </a:cubicBezTo>
                            <a:cubicBezTo>
                              <a:pt x="1794" y="7182"/>
                              <a:pt x="1854" y="7242"/>
                              <a:pt x="1974" y="7242"/>
                            </a:cubicBezTo>
                            <a:cubicBezTo>
                              <a:pt x="2093" y="7302"/>
                              <a:pt x="2153" y="7302"/>
                              <a:pt x="2273" y="7362"/>
                            </a:cubicBezTo>
                            <a:cubicBezTo>
                              <a:pt x="2751" y="7481"/>
                              <a:pt x="3170" y="7481"/>
                              <a:pt x="3648" y="7421"/>
                            </a:cubicBezTo>
                            <a:cubicBezTo>
                              <a:pt x="4127" y="7362"/>
                              <a:pt x="4545" y="7182"/>
                              <a:pt x="4964" y="6943"/>
                            </a:cubicBezTo>
                            <a:cubicBezTo>
                              <a:pt x="5383" y="6704"/>
                              <a:pt x="5742" y="6405"/>
                              <a:pt x="6041" y="5986"/>
                            </a:cubicBezTo>
                            <a:cubicBezTo>
                              <a:pt x="6340" y="5627"/>
                              <a:pt x="6579" y="5149"/>
                              <a:pt x="6758" y="4671"/>
                            </a:cubicBezTo>
                            <a:cubicBezTo>
                              <a:pt x="6878" y="4252"/>
                              <a:pt x="6997" y="3893"/>
                              <a:pt x="6997" y="3534"/>
                            </a:cubicBezTo>
                            <a:cubicBezTo>
                              <a:pt x="6997" y="3175"/>
                              <a:pt x="6997" y="2816"/>
                              <a:pt x="6878" y="2457"/>
                            </a:cubicBezTo>
                            <a:cubicBezTo>
                              <a:pt x="6818" y="2099"/>
                              <a:pt x="6698" y="1800"/>
                              <a:pt x="6519" y="1501"/>
                            </a:cubicBezTo>
                            <a:cubicBezTo>
                              <a:pt x="6340" y="1202"/>
                              <a:pt x="6160" y="962"/>
                              <a:pt x="5861" y="723"/>
                            </a:cubicBezTo>
                            <a:cubicBezTo>
                              <a:pt x="5801" y="663"/>
                              <a:pt x="5682" y="603"/>
                              <a:pt x="5622" y="544"/>
                            </a:cubicBezTo>
                            <a:cubicBezTo>
                              <a:pt x="5562" y="484"/>
                              <a:pt x="5442" y="424"/>
                              <a:pt x="5323" y="364"/>
                            </a:cubicBezTo>
                            <a:cubicBezTo>
                              <a:pt x="5203" y="304"/>
                              <a:pt x="5143" y="244"/>
                              <a:pt x="5024" y="244"/>
                            </a:cubicBezTo>
                            <a:cubicBezTo>
                              <a:pt x="4904" y="185"/>
                              <a:pt x="4844" y="185"/>
                              <a:pt x="4725" y="125"/>
                            </a:cubicBezTo>
                            <a:cubicBezTo>
                              <a:pt x="4246" y="5"/>
                              <a:pt x="3828" y="-54"/>
                              <a:pt x="3349" y="65"/>
                            </a:cubicBezTo>
                            <a:cubicBezTo>
                              <a:pt x="2871" y="125"/>
                              <a:pt x="2452" y="304"/>
                              <a:pt x="2033" y="544"/>
                            </a:cubicBezTo>
                            <a:cubicBezTo>
                              <a:pt x="1615" y="783"/>
                              <a:pt x="1256" y="1082"/>
                              <a:pt x="957" y="1501"/>
                            </a:cubicBezTo>
                            <a:cubicBezTo>
                              <a:pt x="658" y="1859"/>
                              <a:pt x="359" y="2338"/>
                              <a:pt x="239" y="2816"/>
                            </a:cubicBezTo>
                            <a:cubicBezTo>
                              <a:pt x="120" y="3175"/>
                              <a:pt x="60" y="3594"/>
                              <a:pt x="0" y="3953"/>
                            </a:cubicBezTo>
                            <a:cubicBezTo>
                              <a:pt x="0" y="4311"/>
                              <a:pt x="0" y="4671"/>
                              <a:pt x="120" y="5029"/>
                            </a:cubicBezTo>
                            <a:cubicBezTo>
                              <a:pt x="239" y="5388"/>
                              <a:pt x="359" y="5687"/>
                              <a:pt x="538" y="5986"/>
                            </a:cubicBezTo>
                            <a:cubicBezTo>
                              <a:pt x="718" y="6285"/>
                              <a:pt x="957" y="6525"/>
                              <a:pt x="1196" y="6764"/>
                            </a:cubicBezTo>
                          </a:path>
                        </a:pathLst>
                      </a:custGeom>
                      <a:noFill/>
                      <a:ln w="6350" cap="flat">
                        <a:solidFill>
                          <a:schemeClr val="bg1">
                            <a:alpha val="40000"/>
                          </a:schemeClr>
                        </a:solidFill>
                        <a:prstDash val="solid"/>
                        <a:miter/>
                      </a:ln>
                    </p:spPr>
                    <p:txBody>
                      <a:bodyPr rtlCol="0" anchor="ctr"/>
                      <a:lstStyle/>
                      <a:p>
                        <a:endParaRPr lang="en-GB"/>
                      </a:p>
                    </p:txBody>
                  </p:sp>
                  <p:sp>
                    <p:nvSpPr>
                      <p:cNvPr id="7489" name="Vrije vorm: vorm 7488">
                        <a:extLst>
                          <a:ext uri="{FF2B5EF4-FFF2-40B4-BE49-F238E27FC236}">
                            <a16:creationId xmlns:a16="http://schemas.microsoft.com/office/drawing/2014/main" id="{1EB2A47C-A711-443F-A8F5-DD84D048154F}"/>
                          </a:ext>
                        </a:extLst>
                      </p:cNvPr>
                      <p:cNvSpPr/>
                      <p:nvPr/>
                    </p:nvSpPr>
                    <p:spPr>
                      <a:xfrm>
                        <a:off x="5043024" y="4962065"/>
                        <a:ext cx="7057" cy="7535"/>
                      </a:xfrm>
                      <a:custGeom>
                        <a:avLst/>
                        <a:gdLst>
                          <a:gd name="connsiteX0" fmla="*/ 5203 w 7057"/>
                          <a:gd name="connsiteY0" fmla="*/ 1734 h 7535"/>
                          <a:gd name="connsiteX1" fmla="*/ 5382 w 7057"/>
                          <a:gd name="connsiteY1" fmla="*/ 1914 h 7535"/>
                          <a:gd name="connsiteX2" fmla="*/ 5502 w 7057"/>
                          <a:gd name="connsiteY2" fmla="*/ 2093 h 7535"/>
                          <a:gd name="connsiteX3" fmla="*/ 5622 w 7057"/>
                          <a:gd name="connsiteY3" fmla="*/ 2272 h 7535"/>
                          <a:gd name="connsiteX4" fmla="*/ 5741 w 7057"/>
                          <a:gd name="connsiteY4" fmla="*/ 2512 h 7535"/>
                          <a:gd name="connsiteX5" fmla="*/ 5921 w 7057"/>
                          <a:gd name="connsiteY5" fmla="*/ 3469 h 7535"/>
                          <a:gd name="connsiteX6" fmla="*/ 5741 w 7057"/>
                          <a:gd name="connsiteY6" fmla="*/ 4426 h 7535"/>
                          <a:gd name="connsiteX7" fmla="*/ 5263 w 7057"/>
                          <a:gd name="connsiteY7" fmla="*/ 5323 h 7535"/>
                          <a:gd name="connsiteX8" fmla="*/ 4486 w 7057"/>
                          <a:gd name="connsiteY8" fmla="*/ 5981 h 7535"/>
                          <a:gd name="connsiteX9" fmla="*/ 4067 w 7057"/>
                          <a:gd name="connsiteY9" fmla="*/ 6220 h 7535"/>
                          <a:gd name="connsiteX10" fmla="*/ 3588 w 7057"/>
                          <a:gd name="connsiteY10" fmla="*/ 6340 h 7535"/>
                          <a:gd name="connsiteX11" fmla="*/ 3110 w 7057"/>
                          <a:gd name="connsiteY11" fmla="*/ 6340 h 7535"/>
                          <a:gd name="connsiteX12" fmla="*/ 2632 w 7057"/>
                          <a:gd name="connsiteY12" fmla="*/ 6220 h 7535"/>
                          <a:gd name="connsiteX13" fmla="*/ 1854 w 7057"/>
                          <a:gd name="connsiteY13" fmla="*/ 5801 h 7535"/>
                          <a:gd name="connsiteX14" fmla="*/ 1316 w 7057"/>
                          <a:gd name="connsiteY14" fmla="*/ 5024 h 7535"/>
                          <a:gd name="connsiteX15" fmla="*/ 1136 w 7057"/>
                          <a:gd name="connsiteY15" fmla="*/ 4545 h 7535"/>
                          <a:gd name="connsiteX16" fmla="*/ 1076 w 7057"/>
                          <a:gd name="connsiteY16" fmla="*/ 4067 h 7535"/>
                          <a:gd name="connsiteX17" fmla="*/ 1076 w 7057"/>
                          <a:gd name="connsiteY17" fmla="*/ 3588 h 7535"/>
                          <a:gd name="connsiteX18" fmla="*/ 1196 w 7057"/>
                          <a:gd name="connsiteY18" fmla="*/ 3110 h 7535"/>
                          <a:gd name="connsiteX19" fmla="*/ 1375 w 7057"/>
                          <a:gd name="connsiteY19" fmla="*/ 2631 h 7535"/>
                          <a:gd name="connsiteX20" fmla="*/ 1674 w 7057"/>
                          <a:gd name="connsiteY20" fmla="*/ 2213 h 7535"/>
                          <a:gd name="connsiteX21" fmla="*/ 2033 w 7057"/>
                          <a:gd name="connsiteY21" fmla="*/ 1854 h 7535"/>
                          <a:gd name="connsiteX22" fmla="*/ 2452 w 7057"/>
                          <a:gd name="connsiteY22" fmla="*/ 1555 h 7535"/>
                          <a:gd name="connsiteX23" fmla="*/ 3110 w 7057"/>
                          <a:gd name="connsiteY23" fmla="*/ 1256 h 7535"/>
                          <a:gd name="connsiteX24" fmla="*/ 3768 w 7057"/>
                          <a:gd name="connsiteY24" fmla="*/ 1196 h 7535"/>
                          <a:gd name="connsiteX25" fmla="*/ 4426 w 7057"/>
                          <a:gd name="connsiteY25" fmla="*/ 1375 h 7535"/>
                          <a:gd name="connsiteX26" fmla="*/ 5203 w 7057"/>
                          <a:gd name="connsiteY26" fmla="*/ 1734 h 7535"/>
                          <a:gd name="connsiteX27" fmla="*/ 1196 w 7057"/>
                          <a:gd name="connsiteY27" fmla="*/ 6818 h 7535"/>
                          <a:gd name="connsiteX28" fmla="*/ 1435 w 7057"/>
                          <a:gd name="connsiteY28" fmla="*/ 6997 h 7535"/>
                          <a:gd name="connsiteX29" fmla="*/ 1734 w 7057"/>
                          <a:gd name="connsiteY29" fmla="*/ 7177 h 7535"/>
                          <a:gd name="connsiteX30" fmla="*/ 2033 w 7057"/>
                          <a:gd name="connsiteY30" fmla="*/ 7296 h 7535"/>
                          <a:gd name="connsiteX31" fmla="*/ 2333 w 7057"/>
                          <a:gd name="connsiteY31" fmla="*/ 7416 h 7535"/>
                          <a:gd name="connsiteX32" fmla="*/ 2990 w 7057"/>
                          <a:gd name="connsiteY32" fmla="*/ 7535 h 7535"/>
                          <a:gd name="connsiteX33" fmla="*/ 3648 w 7057"/>
                          <a:gd name="connsiteY33" fmla="*/ 7476 h 7535"/>
                          <a:gd name="connsiteX34" fmla="*/ 4306 w 7057"/>
                          <a:gd name="connsiteY34" fmla="*/ 7296 h 7535"/>
                          <a:gd name="connsiteX35" fmla="*/ 4964 w 7057"/>
                          <a:gd name="connsiteY35" fmla="*/ 6997 h 7535"/>
                          <a:gd name="connsiteX36" fmla="*/ 6100 w 7057"/>
                          <a:gd name="connsiteY36" fmla="*/ 6040 h 7535"/>
                          <a:gd name="connsiteX37" fmla="*/ 6818 w 7057"/>
                          <a:gd name="connsiteY37" fmla="*/ 4725 h 7535"/>
                          <a:gd name="connsiteX38" fmla="*/ 7057 w 7057"/>
                          <a:gd name="connsiteY38" fmla="*/ 3289 h 7535"/>
                          <a:gd name="connsiteX39" fmla="*/ 6758 w 7057"/>
                          <a:gd name="connsiteY39" fmla="*/ 1854 h 7535"/>
                          <a:gd name="connsiteX40" fmla="*/ 6579 w 7057"/>
                          <a:gd name="connsiteY40" fmla="*/ 1555 h 7535"/>
                          <a:gd name="connsiteX41" fmla="*/ 6399 w 7057"/>
                          <a:gd name="connsiteY41" fmla="*/ 1256 h 7535"/>
                          <a:gd name="connsiteX42" fmla="*/ 6160 w 7057"/>
                          <a:gd name="connsiteY42" fmla="*/ 1017 h 7535"/>
                          <a:gd name="connsiteX43" fmla="*/ 5921 w 7057"/>
                          <a:gd name="connsiteY43" fmla="*/ 777 h 7535"/>
                          <a:gd name="connsiteX44" fmla="*/ 5083 w 7057"/>
                          <a:gd name="connsiteY44" fmla="*/ 239 h 7535"/>
                          <a:gd name="connsiteX45" fmla="*/ 4127 w 7057"/>
                          <a:gd name="connsiteY45" fmla="*/ 0 h 7535"/>
                          <a:gd name="connsiteX46" fmla="*/ 3110 w 7057"/>
                          <a:gd name="connsiteY46" fmla="*/ 119 h 7535"/>
                          <a:gd name="connsiteX47" fmla="*/ 2093 w 7057"/>
                          <a:gd name="connsiteY47" fmla="*/ 538 h 7535"/>
                          <a:gd name="connsiteX48" fmla="*/ 1495 w 7057"/>
                          <a:gd name="connsiteY48" fmla="*/ 957 h 7535"/>
                          <a:gd name="connsiteX49" fmla="*/ 957 w 7057"/>
                          <a:gd name="connsiteY49" fmla="*/ 1495 h 7535"/>
                          <a:gd name="connsiteX50" fmla="*/ 538 w 7057"/>
                          <a:gd name="connsiteY50" fmla="*/ 2093 h 7535"/>
                          <a:gd name="connsiteX51" fmla="*/ 239 w 7057"/>
                          <a:gd name="connsiteY51" fmla="*/ 2811 h 7535"/>
                          <a:gd name="connsiteX52" fmla="*/ 60 w 7057"/>
                          <a:gd name="connsiteY52" fmla="*/ 3528 h 7535"/>
                          <a:gd name="connsiteX53" fmla="*/ 0 w 7057"/>
                          <a:gd name="connsiteY53" fmla="*/ 4246 h 7535"/>
                          <a:gd name="connsiteX54" fmla="*/ 60 w 7057"/>
                          <a:gd name="connsiteY54" fmla="*/ 4964 h 7535"/>
                          <a:gd name="connsiteX55" fmla="*/ 299 w 7057"/>
                          <a:gd name="connsiteY55" fmla="*/ 5622 h 7535"/>
                          <a:gd name="connsiteX56" fmla="*/ 479 w 7057"/>
                          <a:gd name="connsiteY56" fmla="*/ 5921 h 7535"/>
                          <a:gd name="connsiteX57" fmla="*/ 658 w 7057"/>
                          <a:gd name="connsiteY57" fmla="*/ 6220 h 7535"/>
                          <a:gd name="connsiteX58" fmla="*/ 897 w 7057"/>
                          <a:gd name="connsiteY58" fmla="*/ 6519 h 7535"/>
                          <a:gd name="connsiteX59" fmla="*/ 1196 w 7057"/>
                          <a:gd name="connsiteY59" fmla="*/ 6818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057" h="7535">
                            <a:moveTo>
                              <a:pt x="5203" y="1734"/>
                            </a:moveTo>
                            <a:cubicBezTo>
                              <a:pt x="5263" y="1794"/>
                              <a:pt x="5323" y="1854"/>
                              <a:pt x="5382" y="1914"/>
                            </a:cubicBezTo>
                            <a:cubicBezTo>
                              <a:pt x="5442" y="1973"/>
                              <a:pt x="5502" y="2033"/>
                              <a:pt x="5502" y="2093"/>
                            </a:cubicBezTo>
                            <a:cubicBezTo>
                              <a:pt x="5562" y="2153"/>
                              <a:pt x="5622" y="2213"/>
                              <a:pt x="5622" y="2272"/>
                            </a:cubicBezTo>
                            <a:cubicBezTo>
                              <a:pt x="5682" y="2332"/>
                              <a:pt x="5682" y="2392"/>
                              <a:pt x="5741" y="2512"/>
                            </a:cubicBezTo>
                            <a:cubicBezTo>
                              <a:pt x="5861" y="2811"/>
                              <a:pt x="5921" y="3110"/>
                              <a:pt x="5921" y="3469"/>
                            </a:cubicBezTo>
                            <a:cubicBezTo>
                              <a:pt x="5921" y="3827"/>
                              <a:pt x="5861" y="4126"/>
                              <a:pt x="5741" y="4426"/>
                            </a:cubicBezTo>
                            <a:cubicBezTo>
                              <a:pt x="5622" y="4725"/>
                              <a:pt x="5442" y="5024"/>
                              <a:pt x="5263" y="5323"/>
                            </a:cubicBezTo>
                            <a:cubicBezTo>
                              <a:pt x="5083" y="5622"/>
                              <a:pt x="4785" y="5801"/>
                              <a:pt x="4486" y="5981"/>
                            </a:cubicBezTo>
                            <a:cubicBezTo>
                              <a:pt x="4366" y="6040"/>
                              <a:pt x="4187" y="6160"/>
                              <a:pt x="4067" y="6220"/>
                            </a:cubicBezTo>
                            <a:cubicBezTo>
                              <a:pt x="3947" y="6280"/>
                              <a:pt x="3768" y="6340"/>
                              <a:pt x="3588" y="6340"/>
                            </a:cubicBezTo>
                            <a:cubicBezTo>
                              <a:pt x="3409" y="6340"/>
                              <a:pt x="3289" y="6340"/>
                              <a:pt x="3110" y="6340"/>
                            </a:cubicBezTo>
                            <a:cubicBezTo>
                              <a:pt x="2930" y="6340"/>
                              <a:pt x="2811" y="6280"/>
                              <a:pt x="2632" y="6220"/>
                            </a:cubicBezTo>
                            <a:lnTo>
                              <a:pt x="1854" y="5801"/>
                            </a:lnTo>
                            <a:lnTo>
                              <a:pt x="1316" y="5024"/>
                            </a:lnTo>
                            <a:cubicBezTo>
                              <a:pt x="1256" y="4844"/>
                              <a:pt x="1196" y="4725"/>
                              <a:pt x="1136" y="4545"/>
                            </a:cubicBezTo>
                            <a:cubicBezTo>
                              <a:pt x="1076" y="4366"/>
                              <a:pt x="1076" y="4246"/>
                              <a:pt x="1076" y="4067"/>
                            </a:cubicBezTo>
                            <a:cubicBezTo>
                              <a:pt x="1076" y="3887"/>
                              <a:pt x="1076" y="3768"/>
                              <a:pt x="1076" y="3588"/>
                            </a:cubicBezTo>
                            <a:cubicBezTo>
                              <a:pt x="1076" y="3409"/>
                              <a:pt x="1136" y="3289"/>
                              <a:pt x="1196" y="3110"/>
                            </a:cubicBezTo>
                            <a:cubicBezTo>
                              <a:pt x="1256" y="2930"/>
                              <a:pt x="1316" y="2751"/>
                              <a:pt x="1375" y="2631"/>
                            </a:cubicBezTo>
                            <a:cubicBezTo>
                              <a:pt x="1435" y="2452"/>
                              <a:pt x="1555" y="2332"/>
                              <a:pt x="1674" y="2213"/>
                            </a:cubicBezTo>
                            <a:cubicBezTo>
                              <a:pt x="1794" y="2093"/>
                              <a:pt x="1914" y="1973"/>
                              <a:pt x="2033" y="1854"/>
                            </a:cubicBezTo>
                            <a:cubicBezTo>
                              <a:pt x="2153" y="1734"/>
                              <a:pt x="2273" y="1615"/>
                              <a:pt x="2452" y="1555"/>
                            </a:cubicBezTo>
                            <a:cubicBezTo>
                              <a:pt x="2691" y="1435"/>
                              <a:pt x="2930" y="1316"/>
                              <a:pt x="3110" y="1256"/>
                            </a:cubicBezTo>
                            <a:cubicBezTo>
                              <a:pt x="3289" y="1196"/>
                              <a:pt x="3588" y="1196"/>
                              <a:pt x="3768" y="1196"/>
                            </a:cubicBezTo>
                            <a:cubicBezTo>
                              <a:pt x="4007" y="1196"/>
                              <a:pt x="4187" y="1256"/>
                              <a:pt x="4426" y="1375"/>
                            </a:cubicBezTo>
                            <a:cubicBezTo>
                              <a:pt x="4844" y="1495"/>
                              <a:pt x="5024" y="1615"/>
                              <a:pt x="5203" y="1734"/>
                            </a:cubicBezTo>
                            <a:moveTo>
                              <a:pt x="1196" y="6818"/>
                            </a:moveTo>
                            <a:cubicBezTo>
                              <a:pt x="1256" y="6878"/>
                              <a:pt x="1375" y="6937"/>
                              <a:pt x="1435" y="6997"/>
                            </a:cubicBezTo>
                            <a:cubicBezTo>
                              <a:pt x="1495" y="7057"/>
                              <a:pt x="1615" y="7117"/>
                              <a:pt x="1734" y="7177"/>
                            </a:cubicBezTo>
                            <a:cubicBezTo>
                              <a:pt x="1854" y="7236"/>
                              <a:pt x="1914" y="7296"/>
                              <a:pt x="2033" y="7296"/>
                            </a:cubicBezTo>
                            <a:cubicBezTo>
                              <a:pt x="2153" y="7356"/>
                              <a:pt x="2213" y="7356"/>
                              <a:pt x="2333" y="7416"/>
                            </a:cubicBezTo>
                            <a:cubicBezTo>
                              <a:pt x="2572" y="7476"/>
                              <a:pt x="2751" y="7535"/>
                              <a:pt x="2990" y="7535"/>
                            </a:cubicBezTo>
                            <a:cubicBezTo>
                              <a:pt x="3229" y="7535"/>
                              <a:pt x="3469" y="7535"/>
                              <a:pt x="3648" y="7476"/>
                            </a:cubicBezTo>
                            <a:cubicBezTo>
                              <a:pt x="3828" y="7416"/>
                              <a:pt x="4127" y="7356"/>
                              <a:pt x="4306" y="7296"/>
                            </a:cubicBezTo>
                            <a:cubicBezTo>
                              <a:pt x="4486" y="7236"/>
                              <a:pt x="4725" y="7117"/>
                              <a:pt x="4964" y="6997"/>
                            </a:cubicBezTo>
                            <a:cubicBezTo>
                              <a:pt x="5382" y="6758"/>
                              <a:pt x="5801" y="6399"/>
                              <a:pt x="6100" y="6040"/>
                            </a:cubicBezTo>
                            <a:cubicBezTo>
                              <a:pt x="6399" y="5622"/>
                              <a:pt x="6639" y="5203"/>
                              <a:pt x="6818" y="4725"/>
                            </a:cubicBezTo>
                            <a:cubicBezTo>
                              <a:pt x="6997" y="4246"/>
                              <a:pt x="7057" y="3768"/>
                              <a:pt x="7057" y="3289"/>
                            </a:cubicBezTo>
                            <a:cubicBezTo>
                              <a:pt x="7057" y="2811"/>
                              <a:pt x="6937" y="2332"/>
                              <a:pt x="6758" y="1854"/>
                            </a:cubicBezTo>
                            <a:cubicBezTo>
                              <a:pt x="6698" y="1734"/>
                              <a:pt x="6639" y="1615"/>
                              <a:pt x="6579" y="1555"/>
                            </a:cubicBezTo>
                            <a:cubicBezTo>
                              <a:pt x="6519" y="1435"/>
                              <a:pt x="6459" y="1375"/>
                              <a:pt x="6399" y="1256"/>
                            </a:cubicBezTo>
                            <a:cubicBezTo>
                              <a:pt x="6340" y="1136"/>
                              <a:pt x="6280" y="1076"/>
                              <a:pt x="6160" y="1017"/>
                            </a:cubicBezTo>
                            <a:cubicBezTo>
                              <a:pt x="6100" y="957"/>
                              <a:pt x="5981" y="837"/>
                              <a:pt x="5921" y="777"/>
                            </a:cubicBezTo>
                            <a:cubicBezTo>
                              <a:pt x="5682" y="538"/>
                              <a:pt x="5382" y="359"/>
                              <a:pt x="5083" y="239"/>
                            </a:cubicBezTo>
                            <a:cubicBezTo>
                              <a:pt x="4785" y="119"/>
                              <a:pt x="4486" y="60"/>
                              <a:pt x="4127" y="0"/>
                            </a:cubicBezTo>
                            <a:cubicBezTo>
                              <a:pt x="3768" y="0"/>
                              <a:pt x="3469" y="0"/>
                              <a:pt x="3110" y="119"/>
                            </a:cubicBezTo>
                            <a:cubicBezTo>
                              <a:pt x="2751" y="179"/>
                              <a:pt x="2452" y="359"/>
                              <a:pt x="2093" y="538"/>
                            </a:cubicBezTo>
                            <a:cubicBezTo>
                              <a:pt x="1854" y="658"/>
                              <a:pt x="1674" y="777"/>
                              <a:pt x="1495" y="957"/>
                            </a:cubicBezTo>
                            <a:cubicBezTo>
                              <a:pt x="1316" y="1136"/>
                              <a:pt x="1136" y="1316"/>
                              <a:pt x="957" y="1495"/>
                            </a:cubicBezTo>
                            <a:cubicBezTo>
                              <a:pt x="778" y="1674"/>
                              <a:pt x="658" y="1914"/>
                              <a:pt x="538" y="2093"/>
                            </a:cubicBezTo>
                            <a:cubicBezTo>
                              <a:pt x="419" y="2332"/>
                              <a:pt x="299" y="2572"/>
                              <a:pt x="239" y="2811"/>
                            </a:cubicBezTo>
                            <a:cubicBezTo>
                              <a:pt x="179" y="3050"/>
                              <a:pt x="120" y="3289"/>
                              <a:pt x="60" y="3528"/>
                            </a:cubicBezTo>
                            <a:cubicBezTo>
                              <a:pt x="0" y="3768"/>
                              <a:pt x="0" y="4007"/>
                              <a:pt x="0" y="4246"/>
                            </a:cubicBezTo>
                            <a:cubicBezTo>
                              <a:pt x="0" y="4486"/>
                              <a:pt x="60" y="4725"/>
                              <a:pt x="60" y="4964"/>
                            </a:cubicBezTo>
                            <a:cubicBezTo>
                              <a:pt x="120" y="5203"/>
                              <a:pt x="179" y="5442"/>
                              <a:pt x="299" y="5622"/>
                            </a:cubicBezTo>
                            <a:cubicBezTo>
                              <a:pt x="359" y="5741"/>
                              <a:pt x="419" y="5861"/>
                              <a:pt x="479" y="5921"/>
                            </a:cubicBezTo>
                            <a:cubicBezTo>
                              <a:pt x="538" y="6040"/>
                              <a:pt x="598" y="6100"/>
                              <a:pt x="658" y="6220"/>
                            </a:cubicBezTo>
                            <a:cubicBezTo>
                              <a:pt x="718" y="6340"/>
                              <a:pt x="778" y="6399"/>
                              <a:pt x="897" y="6519"/>
                            </a:cubicBezTo>
                            <a:cubicBezTo>
                              <a:pt x="1017" y="6698"/>
                              <a:pt x="1076" y="6758"/>
                              <a:pt x="1196" y="6818"/>
                            </a:cubicBezTo>
                          </a:path>
                        </a:pathLst>
                      </a:custGeom>
                      <a:noFill/>
                      <a:ln w="6350" cap="flat">
                        <a:solidFill>
                          <a:schemeClr val="bg1">
                            <a:alpha val="40000"/>
                          </a:schemeClr>
                        </a:solidFill>
                        <a:prstDash val="solid"/>
                        <a:miter/>
                      </a:ln>
                    </p:spPr>
                    <p:txBody>
                      <a:bodyPr rtlCol="0" anchor="ctr"/>
                      <a:lstStyle/>
                      <a:p>
                        <a:endParaRPr lang="en-GB"/>
                      </a:p>
                    </p:txBody>
                  </p:sp>
                  <p:sp>
                    <p:nvSpPr>
                      <p:cNvPr id="7490" name="Vrije vorm: vorm 7489">
                        <a:extLst>
                          <a:ext uri="{FF2B5EF4-FFF2-40B4-BE49-F238E27FC236}">
                            <a16:creationId xmlns:a16="http://schemas.microsoft.com/office/drawing/2014/main" id="{7C55AFC0-82FA-4601-B7BA-B4DE3FD15DC2}"/>
                          </a:ext>
                        </a:extLst>
                      </p:cNvPr>
                      <p:cNvSpPr/>
                      <p:nvPr/>
                    </p:nvSpPr>
                    <p:spPr>
                      <a:xfrm>
                        <a:off x="5049986" y="4947208"/>
                        <a:ext cx="19891" cy="21555"/>
                      </a:xfrm>
                      <a:custGeom>
                        <a:avLst/>
                        <a:gdLst>
                          <a:gd name="connsiteX0" fmla="*/ 11937 w 19891"/>
                          <a:gd name="connsiteY0" fmla="*/ 19402 h 21555"/>
                          <a:gd name="connsiteX1" fmla="*/ 10682 w 19891"/>
                          <a:gd name="connsiteY1" fmla="*/ 19761 h 21555"/>
                          <a:gd name="connsiteX2" fmla="*/ 9426 w 19891"/>
                          <a:gd name="connsiteY2" fmla="*/ 19941 h 21555"/>
                          <a:gd name="connsiteX3" fmla="*/ 8169 w 19891"/>
                          <a:gd name="connsiteY3" fmla="*/ 19881 h 21555"/>
                          <a:gd name="connsiteX4" fmla="*/ 6914 w 19891"/>
                          <a:gd name="connsiteY4" fmla="*/ 19642 h 21555"/>
                          <a:gd name="connsiteX5" fmla="*/ 6136 w 19891"/>
                          <a:gd name="connsiteY5" fmla="*/ 19402 h 21555"/>
                          <a:gd name="connsiteX6" fmla="*/ 5419 w 19891"/>
                          <a:gd name="connsiteY6" fmla="*/ 19043 h 21555"/>
                          <a:gd name="connsiteX7" fmla="*/ 4760 w 19891"/>
                          <a:gd name="connsiteY7" fmla="*/ 18625 h 21555"/>
                          <a:gd name="connsiteX8" fmla="*/ 4103 w 19891"/>
                          <a:gd name="connsiteY8" fmla="*/ 18147 h 21555"/>
                          <a:gd name="connsiteX9" fmla="*/ 4043 w 19891"/>
                          <a:gd name="connsiteY9" fmla="*/ 18087 h 21555"/>
                          <a:gd name="connsiteX10" fmla="*/ 3983 w 19891"/>
                          <a:gd name="connsiteY10" fmla="*/ 18027 h 21555"/>
                          <a:gd name="connsiteX11" fmla="*/ 3923 w 19891"/>
                          <a:gd name="connsiteY11" fmla="*/ 17967 h 21555"/>
                          <a:gd name="connsiteX12" fmla="*/ 3864 w 19891"/>
                          <a:gd name="connsiteY12" fmla="*/ 17907 h 21555"/>
                          <a:gd name="connsiteX13" fmla="*/ 3624 w 19891"/>
                          <a:gd name="connsiteY13" fmla="*/ 17668 h 21555"/>
                          <a:gd name="connsiteX14" fmla="*/ 3445 w 19891"/>
                          <a:gd name="connsiteY14" fmla="*/ 17429 h 21555"/>
                          <a:gd name="connsiteX15" fmla="*/ 3265 w 19891"/>
                          <a:gd name="connsiteY15" fmla="*/ 17189 h 21555"/>
                          <a:gd name="connsiteX16" fmla="*/ 3086 w 19891"/>
                          <a:gd name="connsiteY16" fmla="*/ 16950 h 21555"/>
                          <a:gd name="connsiteX17" fmla="*/ 2069 w 19891"/>
                          <a:gd name="connsiteY17" fmla="*/ 15096 h 21555"/>
                          <a:gd name="connsiteX18" fmla="*/ 1531 w 19891"/>
                          <a:gd name="connsiteY18" fmla="*/ 13003 h 21555"/>
                          <a:gd name="connsiteX19" fmla="*/ 1471 w 19891"/>
                          <a:gd name="connsiteY19" fmla="*/ 10731 h 21555"/>
                          <a:gd name="connsiteX20" fmla="*/ 1950 w 19891"/>
                          <a:gd name="connsiteY20" fmla="*/ 8458 h 21555"/>
                          <a:gd name="connsiteX21" fmla="*/ 2010 w 19891"/>
                          <a:gd name="connsiteY21" fmla="*/ 8218 h 21555"/>
                          <a:gd name="connsiteX22" fmla="*/ 2069 w 19891"/>
                          <a:gd name="connsiteY22" fmla="*/ 7979 h 21555"/>
                          <a:gd name="connsiteX23" fmla="*/ 2189 w 19891"/>
                          <a:gd name="connsiteY23" fmla="*/ 7740 h 21555"/>
                          <a:gd name="connsiteX24" fmla="*/ 2309 w 19891"/>
                          <a:gd name="connsiteY24" fmla="*/ 7501 h 21555"/>
                          <a:gd name="connsiteX25" fmla="*/ 2428 w 19891"/>
                          <a:gd name="connsiteY25" fmla="*/ 7202 h 21555"/>
                          <a:gd name="connsiteX26" fmla="*/ 2548 w 19891"/>
                          <a:gd name="connsiteY26" fmla="*/ 6903 h 21555"/>
                          <a:gd name="connsiteX27" fmla="*/ 2667 w 19891"/>
                          <a:gd name="connsiteY27" fmla="*/ 6604 h 21555"/>
                          <a:gd name="connsiteX28" fmla="*/ 2847 w 19891"/>
                          <a:gd name="connsiteY28" fmla="*/ 6304 h 21555"/>
                          <a:gd name="connsiteX29" fmla="*/ 3565 w 19891"/>
                          <a:gd name="connsiteY29" fmla="*/ 5228 h 21555"/>
                          <a:gd name="connsiteX30" fmla="*/ 4402 w 19891"/>
                          <a:gd name="connsiteY30" fmla="*/ 4271 h 21555"/>
                          <a:gd name="connsiteX31" fmla="*/ 5359 w 19891"/>
                          <a:gd name="connsiteY31" fmla="*/ 3434 h 21555"/>
                          <a:gd name="connsiteX32" fmla="*/ 6435 w 19891"/>
                          <a:gd name="connsiteY32" fmla="*/ 2716 h 21555"/>
                          <a:gd name="connsiteX33" fmla="*/ 8050 w 19891"/>
                          <a:gd name="connsiteY33" fmla="*/ 1939 h 21555"/>
                          <a:gd name="connsiteX34" fmla="*/ 9725 w 19891"/>
                          <a:gd name="connsiteY34" fmla="*/ 1520 h 21555"/>
                          <a:gd name="connsiteX35" fmla="*/ 11399 w 19891"/>
                          <a:gd name="connsiteY35" fmla="*/ 1460 h 21555"/>
                          <a:gd name="connsiteX36" fmla="*/ 13014 w 19891"/>
                          <a:gd name="connsiteY36" fmla="*/ 1759 h 21555"/>
                          <a:gd name="connsiteX37" fmla="*/ 13791 w 19891"/>
                          <a:gd name="connsiteY37" fmla="*/ 1999 h 21555"/>
                          <a:gd name="connsiteX38" fmla="*/ 14509 w 19891"/>
                          <a:gd name="connsiteY38" fmla="*/ 2357 h 21555"/>
                          <a:gd name="connsiteX39" fmla="*/ 15167 w 19891"/>
                          <a:gd name="connsiteY39" fmla="*/ 2776 h 21555"/>
                          <a:gd name="connsiteX40" fmla="*/ 15765 w 19891"/>
                          <a:gd name="connsiteY40" fmla="*/ 3255 h 21555"/>
                          <a:gd name="connsiteX41" fmla="*/ 17320 w 19891"/>
                          <a:gd name="connsiteY41" fmla="*/ 5109 h 21555"/>
                          <a:gd name="connsiteX42" fmla="*/ 18217 w 19891"/>
                          <a:gd name="connsiteY42" fmla="*/ 7321 h 21555"/>
                          <a:gd name="connsiteX43" fmla="*/ 18516 w 19891"/>
                          <a:gd name="connsiteY43" fmla="*/ 9773 h 21555"/>
                          <a:gd name="connsiteX44" fmla="*/ 18158 w 19891"/>
                          <a:gd name="connsiteY44" fmla="*/ 12345 h 21555"/>
                          <a:gd name="connsiteX45" fmla="*/ 18098 w 19891"/>
                          <a:gd name="connsiteY45" fmla="*/ 12525 h 21555"/>
                          <a:gd name="connsiteX46" fmla="*/ 18038 w 19891"/>
                          <a:gd name="connsiteY46" fmla="*/ 12704 h 21555"/>
                          <a:gd name="connsiteX47" fmla="*/ 17978 w 19891"/>
                          <a:gd name="connsiteY47" fmla="*/ 12883 h 21555"/>
                          <a:gd name="connsiteX48" fmla="*/ 17918 w 19891"/>
                          <a:gd name="connsiteY48" fmla="*/ 13063 h 21555"/>
                          <a:gd name="connsiteX49" fmla="*/ 17858 w 19891"/>
                          <a:gd name="connsiteY49" fmla="*/ 13242 h 21555"/>
                          <a:gd name="connsiteX50" fmla="*/ 17799 w 19891"/>
                          <a:gd name="connsiteY50" fmla="*/ 13422 h 21555"/>
                          <a:gd name="connsiteX51" fmla="*/ 17739 w 19891"/>
                          <a:gd name="connsiteY51" fmla="*/ 13541 h 21555"/>
                          <a:gd name="connsiteX52" fmla="*/ 17679 w 19891"/>
                          <a:gd name="connsiteY52" fmla="*/ 13661 h 21555"/>
                          <a:gd name="connsiteX53" fmla="*/ 16901 w 19891"/>
                          <a:gd name="connsiteY53" fmla="*/ 15156 h 21555"/>
                          <a:gd name="connsiteX54" fmla="*/ 15945 w 19891"/>
                          <a:gd name="connsiteY54" fmla="*/ 16472 h 21555"/>
                          <a:gd name="connsiteX55" fmla="*/ 14808 w 19891"/>
                          <a:gd name="connsiteY55" fmla="*/ 17608 h 21555"/>
                          <a:gd name="connsiteX56" fmla="*/ 13492 w 19891"/>
                          <a:gd name="connsiteY56" fmla="*/ 18565 h 21555"/>
                          <a:gd name="connsiteX57" fmla="*/ 13134 w 19891"/>
                          <a:gd name="connsiteY57" fmla="*/ 18804 h 21555"/>
                          <a:gd name="connsiteX58" fmla="*/ 12775 w 19891"/>
                          <a:gd name="connsiteY58" fmla="*/ 18984 h 21555"/>
                          <a:gd name="connsiteX59" fmla="*/ 12416 w 19891"/>
                          <a:gd name="connsiteY59" fmla="*/ 19163 h 21555"/>
                          <a:gd name="connsiteX60" fmla="*/ 11937 w 19891"/>
                          <a:gd name="connsiteY60" fmla="*/ 19402 h 21555"/>
                          <a:gd name="connsiteX61" fmla="*/ 3983 w 19891"/>
                          <a:gd name="connsiteY61" fmla="*/ 18266 h 21555"/>
                          <a:gd name="connsiteX62" fmla="*/ 4641 w 19891"/>
                          <a:gd name="connsiteY62" fmla="*/ 18744 h 21555"/>
                          <a:gd name="connsiteX63" fmla="*/ 5299 w 19891"/>
                          <a:gd name="connsiteY63" fmla="*/ 19163 h 21555"/>
                          <a:gd name="connsiteX64" fmla="*/ 6017 w 19891"/>
                          <a:gd name="connsiteY64" fmla="*/ 19522 h 21555"/>
                          <a:gd name="connsiteX65" fmla="*/ 6794 w 19891"/>
                          <a:gd name="connsiteY65" fmla="*/ 19761 h 21555"/>
                          <a:gd name="connsiteX66" fmla="*/ 10203 w 19891"/>
                          <a:gd name="connsiteY66" fmla="*/ 20001 h 21555"/>
                          <a:gd name="connsiteX67" fmla="*/ 13433 w 19891"/>
                          <a:gd name="connsiteY67" fmla="*/ 18804 h 21555"/>
                          <a:gd name="connsiteX68" fmla="*/ 16184 w 19891"/>
                          <a:gd name="connsiteY68" fmla="*/ 16472 h 21555"/>
                          <a:gd name="connsiteX69" fmla="*/ 18038 w 19891"/>
                          <a:gd name="connsiteY69" fmla="*/ 13182 h 21555"/>
                          <a:gd name="connsiteX70" fmla="*/ 18576 w 19891"/>
                          <a:gd name="connsiteY70" fmla="*/ 10372 h 21555"/>
                          <a:gd name="connsiteX71" fmla="*/ 18337 w 19891"/>
                          <a:gd name="connsiteY71" fmla="*/ 7680 h 21555"/>
                          <a:gd name="connsiteX72" fmla="*/ 17380 w 19891"/>
                          <a:gd name="connsiteY72" fmla="*/ 5288 h 21555"/>
                          <a:gd name="connsiteX73" fmla="*/ 15765 w 19891"/>
                          <a:gd name="connsiteY73" fmla="*/ 3314 h 21555"/>
                          <a:gd name="connsiteX74" fmla="*/ 15167 w 19891"/>
                          <a:gd name="connsiteY74" fmla="*/ 2836 h 21555"/>
                          <a:gd name="connsiteX75" fmla="*/ 14509 w 19891"/>
                          <a:gd name="connsiteY75" fmla="*/ 2417 h 21555"/>
                          <a:gd name="connsiteX76" fmla="*/ 13791 w 19891"/>
                          <a:gd name="connsiteY76" fmla="*/ 2058 h 21555"/>
                          <a:gd name="connsiteX77" fmla="*/ 13014 w 19891"/>
                          <a:gd name="connsiteY77" fmla="*/ 1759 h 21555"/>
                          <a:gd name="connsiteX78" fmla="*/ 11339 w 19891"/>
                          <a:gd name="connsiteY78" fmla="*/ 1460 h 21555"/>
                          <a:gd name="connsiteX79" fmla="*/ 9665 w 19891"/>
                          <a:gd name="connsiteY79" fmla="*/ 1520 h 21555"/>
                          <a:gd name="connsiteX80" fmla="*/ 7990 w 19891"/>
                          <a:gd name="connsiteY80" fmla="*/ 1939 h 21555"/>
                          <a:gd name="connsiteX81" fmla="*/ 6375 w 19891"/>
                          <a:gd name="connsiteY81" fmla="*/ 2716 h 21555"/>
                          <a:gd name="connsiteX82" fmla="*/ 4880 w 19891"/>
                          <a:gd name="connsiteY82" fmla="*/ 3793 h 21555"/>
                          <a:gd name="connsiteX83" fmla="*/ 3565 w 19891"/>
                          <a:gd name="connsiteY83" fmla="*/ 5109 h 21555"/>
                          <a:gd name="connsiteX84" fmla="*/ 2548 w 19891"/>
                          <a:gd name="connsiteY84" fmla="*/ 6663 h 21555"/>
                          <a:gd name="connsiteX85" fmla="*/ 1770 w 19891"/>
                          <a:gd name="connsiteY85" fmla="*/ 8398 h 21555"/>
                          <a:gd name="connsiteX86" fmla="*/ 1352 w 19891"/>
                          <a:gd name="connsiteY86" fmla="*/ 10252 h 21555"/>
                          <a:gd name="connsiteX87" fmla="*/ 1232 w 19891"/>
                          <a:gd name="connsiteY87" fmla="*/ 12106 h 21555"/>
                          <a:gd name="connsiteX88" fmla="*/ 1471 w 19891"/>
                          <a:gd name="connsiteY88" fmla="*/ 13900 h 21555"/>
                          <a:gd name="connsiteX89" fmla="*/ 2010 w 19891"/>
                          <a:gd name="connsiteY89" fmla="*/ 15575 h 21555"/>
                          <a:gd name="connsiteX90" fmla="*/ 2428 w 19891"/>
                          <a:gd name="connsiteY90" fmla="*/ 16352 h 21555"/>
                          <a:gd name="connsiteX91" fmla="*/ 2906 w 19891"/>
                          <a:gd name="connsiteY91" fmla="*/ 17070 h 21555"/>
                          <a:gd name="connsiteX92" fmla="*/ 3445 w 19891"/>
                          <a:gd name="connsiteY92" fmla="*/ 17728 h 21555"/>
                          <a:gd name="connsiteX93" fmla="*/ 3983 w 19891"/>
                          <a:gd name="connsiteY93" fmla="*/ 18266 h 21555"/>
                          <a:gd name="connsiteX94" fmla="*/ 16603 w 19891"/>
                          <a:gd name="connsiteY94" fmla="*/ 2298 h 21555"/>
                          <a:gd name="connsiteX95" fmla="*/ 18397 w 19891"/>
                          <a:gd name="connsiteY95" fmla="*/ 4510 h 21555"/>
                          <a:gd name="connsiteX96" fmla="*/ 19473 w 19891"/>
                          <a:gd name="connsiteY96" fmla="*/ 7262 h 21555"/>
                          <a:gd name="connsiteX97" fmla="*/ 19712 w 19891"/>
                          <a:gd name="connsiteY97" fmla="*/ 10312 h 21555"/>
                          <a:gd name="connsiteX98" fmla="*/ 19114 w 19891"/>
                          <a:gd name="connsiteY98" fmla="*/ 13541 h 21555"/>
                          <a:gd name="connsiteX99" fmla="*/ 17021 w 19891"/>
                          <a:gd name="connsiteY99" fmla="*/ 17249 h 21555"/>
                          <a:gd name="connsiteX100" fmla="*/ 13971 w 19891"/>
                          <a:gd name="connsiteY100" fmla="*/ 19881 h 21555"/>
                          <a:gd name="connsiteX101" fmla="*/ 10323 w 19891"/>
                          <a:gd name="connsiteY101" fmla="*/ 21197 h 21555"/>
                          <a:gd name="connsiteX102" fmla="*/ 6435 w 19891"/>
                          <a:gd name="connsiteY102" fmla="*/ 20957 h 21555"/>
                          <a:gd name="connsiteX103" fmla="*/ 5598 w 19891"/>
                          <a:gd name="connsiteY103" fmla="*/ 20658 h 21555"/>
                          <a:gd name="connsiteX104" fmla="*/ 4760 w 19891"/>
                          <a:gd name="connsiteY104" fmla="*/ 20240 h 21555"/>
                          <a:gd name="connsiteX105" fmla="*/ 3983 w 19891"/>
                          <a:gd name="connsiteY105" fmla="*/ 19761 h 21555"/>
                          <a:gd name="connsiteX106" fmla="*/ 3265 w 19891"/>
                          <a:gd name="connsiteY106" fmla="*/ 19223 h 21555"/>
                          <a:gd name="connsiteX107" fmla="*/ 2548 w 19891"/>
                          <a:gd name="connsiteY107" fmla="*/ 18565 h 21555"/>
                          <a:gd name="connsiteX108" fmla="*/ 1950 w 19891"/>
                          <a:gd name="connsiteY108" fmla="*/ 17788 h 21555"/>
                          <a:gd name="connsiteX109" fmla="*/ 1411 w 19891"/>
                          <a:gd name="connsiteY109" fmla="*/ 16950 h 21555"/>
                          <a:gd name="connsiteX110" fmla="*/ 933 w 19891"/>
                          <a:gd name="connsiteY110" fmla="*/ 16053 h 21555"/>
                          <a:gd name="connsiteX111" fmla="*/ 335 w 19891"/>
                          <a:gd name="connsiteY111" fmla="*/ 14139 h 21555"/>
                          <a:gd name="connsiteX112" fmla="*/ 96 w 19891"/>
                          <a:gd name="connsiteY112" fmla="*/ 12166 h 21555"/>
                          <a:gd name="connsiteX113" fmla="*/ 215 w 19891"/>
                          <a:gd name="connsiteY113" fmla="*/ 10132 h 21555"/>
                          <a:gd name="connsiteX114" fmla="*/ 694 w 19891"/>
                          <a:gd name="connsiteY114" fmla="*/ 8039 h 21555"/>
                          <a:gd name="connsiteX115" fmla="*/ 1531 w 19891"/>
                          <a:gd name="connsiteY115" fmla="*/ 6065 h 21555"/>
                          <a:gd name="connsiteX116" fmla="*/ 2727 w 19891"/>
                          <a:gd name="connsiteY116" fmla="*/ 4331 h 21555"/>
                          <a:gd name="connsiteX117" fmla="*/ 4163 w 19891"/>
                          <a:gd name="connsiteY117" fmla="*/ 2836 h 21555"/>
                          <a:gd name="connsiteX118" fmla="*/ 5837 w 19891"/>
                          <a:gd name="connsiteY118" fmla="*/ 1640 h 21555"/>
                          <a:gd name="connsiteX119" fmla="*/ 7691 w 19891"/>
                          <a:gd name="connsiteY119" fmla="*/ 802 h 21555"/>
                          <a:gd name="connsiteX120" fmla="*/ 9605 w 19891"/>
                          <a:gd name="connsiteY120" fmla="*/ 324 h 21555"/>
                          <a:gd name="connsiteX121" fmla="*/ 11519 w 19891"/>
                          <a:gd name="connsiteY121" fmla="*/ 264 h 21555"/>
                          <a:gd name="connsiteX122" fmla="*/ 13373 w 19891"/>
                          <a:gd name="connsiteY122" fmla="*/ 623 h 21555"/>
                          <a:gd name="connsiteX123" fmla="*/ 14270 w 19891"/>
                          <a:gd name="connsiteY123" fmla="*/ 922 h 21555"/>
                          <a:gd name="connsiteX124" fmla="*/ 15107 w 19891"/>
                          <a:gd name="connsiteY124" fmla="*/ 1341 h 21555"/>
                          <a:gd name="connsiteX125" fmla="*/ 15885 w 19891"/>
                          <a:gd name="connsiteY125" fmla="*/ 1819 h 21555"/>
                          <a:gd name="connsiteX126" fmla="*/ 16603 w 19891"/>
                          <a:gd name="connsiteY126" fmla="*/ 2298 h 21555"/>
                          <a:gd name="connsiteX127" fmla="*/ 3146 w 19891"/>
                          <a:gd name="connsiteY127" fmla="*/ 19402 h 21555"/>
                          <a:gd name="connsiteX128" fmla="*/ 3864 w 19891"/>
                          <a:gd name="connsiteY128" fmla="*/ 20001 h 21555"/>
                          <a:gd name="connsiteX129" fmla="*/ 4641 w 19891"/>
                          <a:gd name="connsiteY129" fmla="*/ 20479 h 21555"/>
                          <a:gd name="connsiteX130" fmla="*/ 5478 w 19891"/>
                          <a:gd name="connsiteY130" fmla="*/ 20897 h 21555"/>
                          <a:gd name="connsiteX131" fmla="*/ 6375 w 19891"/>
                          <a:gd name="connsiteY131" fmla="*/ 21197 h 21555"/>
                          <a:gd name="connsiteX132" fmla="*/ 7572 w 19891"/>
                          <a:gd name="connsiteY132" fmla="*/ 21436 h 21555"/>
                          <a:gd name="connsiteX133" fmla="*/ 8768 w 19891"/>
                          <a:gd name="connsiteY133" fmla="*/ 21556 h 21555"/>
                          <a:gd name="connsiteX134" fmla="*/ 9964 w 19891"/>
                          <a:gd name="connsiteY134" fmla="*/ 21496 h 21555"/>
                          <a:gd name="connsiteX135" fmla="*/ 11160 w 19891"/>
                          <a:gd name="connsiteY135" fmla="*/ 21256 h 21555"/>
                          <a:gd name="connsiteX136" fmla="*/ 11519 w 19891"/>
                          <a:gd name="connsiteY136" fmla="*/ 21137 h 21555"/>
                          <a:gd name="connsiteX137" fmla="*/ 11878 w 19891"/>
                          <a:gd name="connsiteY137" fmla="*/ 21017 h 21555"/>
                          <a:gd name="connsiteX138" fmla="*/ 12236 w 19891"/>
                          <a:gd name="connsiteY138" fmla="*/ 20897 h 21555"/>
                          <a:gd name="connsiteX139" fmla="*/ 12596 w 19891"/>
                          <a:gd name="connsiteY139" fmla="*/ 20778 h 21555"/>
                          <a:gd name="connsiteX140" fmla="*/ 14569 w 19891"/>
                          <a:gd name="connsiteY140" fmla="*/ 19702 h 21555"/>
                          <a:gd name="connsiteX141" fmla="*/ 16304 w 19891"/>
                          <a:gd name="connsiteY141" fmla="*/ 18266 h 21555"/>
                          <a:gd name="connsiteX142" fmla="*/ 17799 w 19891"/>
                          <a:gd name="connsiteY142" fmla="*/ 16412 h 21555"/>
                          <a:gd name="connsiteX143" fmla="*/ 18935 w 19891"/>
                          <a:gd name="connsiteY143" fmla="*/ 14259 h 21555"/>
                          <a:gd name="connsiteX144" fmla="*/ 18995 w 19891"/>
                          <a:gd name="connsiteY144" fmla="*/ 14080 h 21555"/>
                          <a:gd name="connsiteX145" fmla="*/ 19054 w 19891"/>
                          <a:gd name="connsiteY145" fmla="*/ 13900 h 21555"/>
                          <a:gd name="connsiteX146" fmla="*/ 19114 w 19891"/>
                          <a:gd name="connsiteY146" fmla="*/ 13721 h 21555"/>
                          <a:gd name="connsiteX147" fmla="*/ 19174 w 19891"/>
                          <a:gd name="connsiteY147" fmla="*/ 13541 h 21555"/>
                          <a:gd name="connsiteX148" fmla="*/ 19234 w 19891"/>
                          <a:gd name="connsiteY148" fmla="*/ 13422 h 21555"/>
                          <a:gd name="connsiteX149" fmla="*/ 19294 w 19891"/>
                          <a:gd name="connsiteY149" fmla="*/ 13302 h 21555"/>
                          <a:gd name="connsiteX150" fmla="*/ 19353 w 19891"/>
                          <a:gd name="connsiteY150" fmla="*/ 13182 h 21555"/>
                          <a:gd name="connsiteX151" fmla="*/ 19413 w 19891"/>
                          <a:gd name="connsiteY151" fmla="*/ 13063 h 21555"/>
                          <a:gd name="connsiteX152" fmla="*/ 19892 w 19891"/>
                          <a:gd name="connsiteY152" fmla="*/ 10012 h 21555"/>
                          <a:gd name="connsiteX153" fmla="*/ 19593 w 19891"/>
                          <a:gd name="connsiteY153" fmla="*/ 7082 h 21555"/>
                          <a:gd name="connsiteX154" fmla="*/ 18516 w 19891"/>
                          <a:gd name="connsiteY154" fmla="*/ 4450 h 21555"/>
                          <a:gd name="connsiteX155" fmla="*/ 16722 w 19891"/>
                          <a:gd name="connsiteY155" fmla="*/ 2238 h 21555"/>
                          <a:gd name="connsiteX156" fmla="*/ 16004 w 19891"/>
                          <a:gd name="connsiteY156" fmla="*/ 1640 h 21555"/>
                          <a:gd name="connsiteX157" fmla="*/ 15227 w 19891"/>
                          <a:gd name="connsiteY157" fmla="*/ 1161 h 21555"/>
                          <a:gd name="connsiteX158" fmla="*/ 14390 w 19891"/>
                          <a:gd name="connsiteY158" fmla="*/ 742 h 21555"/>
                          <a:gd name="connsiteX159" fmla="*/ 13492 w 19891"/>
                          <a:gd name="connsiteY159" fmla="*/ 384 h 21555"/>
                          <a:gd name="connsiteX160" fmla="*/ 11579 w 19891"/>
                          <a:gd name="connsiteY160" fmla="*/ 25 h 21555"/>
                          <a:gd name="connsiteX161" fmla="*/ 9665 w 19891"/>
                          <a:gd name="connsiteY161" fmla="*/ 85 h 21555"/>
                          <a:gd name="connsiteX162" fmla="*/ 7751 w 19891"/>
                          <a:gd name="connsiteY162" fmla="*/ 563 h 21555"/>
                          <a:gd name="connsiteX163" fmla="*/ 5837 w 19891"/>
                          <a:gd name="connsiteY163" fmla="*/ 1460 h 21555"/>
                          <a:gd name="connsiteX164" fmla="*/ 4581 w 19891"/>
                          <a:gd name="connsiteY164" fmla="*/ 2357 h 21555"/>
                          <a:gd name="connsiteX165" fmla="*/ 3445 w 19891"/>
                          <a:gd name="connsiteY165" fmla="*/ 3374 h 21555"/>
                          <a:gd name="connsiteX166" fmla="*/ 2428 w 19891"/>
                          <a:gd name="connsiteY166" fmla="*/ 4570 h 21555"/>
                          <a:gd name="connsiteX167" fmla="*/ 1591 w 19891"/>
                          <a:gd name="connsiteY167" fmla="*/ 5886 h 21555"/>
                          <a:gd name="connsiteX168" fmla="*/ 1471 w 19891"/>
                          <a:gd name="connsiteY168" fmla="*/ 6185 h 21555"/>
                          <a:gd name="connsiteX169" fmla="*/ 1352 w 19891"/>
                          <a:gd name="connsiteY169" fmla="*/ 6484 h 21555"/>
                          <a:gd name="connsiteX170" fmla="*/ 1232 w 19891"/>
                          <a:gd name="connsiteY170" fmla="*/ 6783 h 21555"/>
                          <a:gd name="connsiteX171" fmla="*/ 1112 w 19891"/>
                          <a:gd name="connsiteY171" fmla="*/ 7082 h 21555"/>
                          <a:gd name="connsiteX172" fmla="*/ 993 w 19891"/>
                          <a:gd name="connsiteY172" fmla="*/ 7321 h 21555"/>
                          <a:gd name="connsiteX173" fmla="*/ 873 w 19891"/>
                          <a:gd name="connsiteY173" fmla="*/ 7561 h 21555"/>
                          <a:gd name="connsiteX174" fmla="*/ 753 w 19891"/>
                          <a:gd name="connsiteY174" fmla="*/ 7800 h 21555"/>
                          <a:gd name="connsiteX175" fmla="*/ 634 w 19891"/>
                          <a:gd name="connsiteY175" fmla="*/ 8039 h 21555"/>
                          <a:gd name="connsiteX176" fmla="*/ 36 w 19891"/>
                          <a:gd name="connsiteY176" fmla="*/ 10910 h 21555"/>
                          <a:gd name="connsiteX177" fmla="*/ 156 w 19891"/>
                          <a:gd name="connsiteY177" fmla="*/ 13721 h 21555"/>
                          <a:gd name="connsiteX178" fmla="*/ 933 w 19891"/>
                          <a:gd name="connsiteY178" fmla="*/ 16293 h 21555"/>
                          <a:gd name="connsiteX179" fmla="*/ 2368 w 19891"/>
                          <a:gd name="connsiteY179" fmla="*/ 18505 h 21555"/>
                          <a:gd name="connsiteX180" fmla="*/ 2548 w 19891"/>
                          <a:gd name="connsiteY180" fmla="*/ 18744 h 21555"/>
                          <a:gd name="connsiteX181" fmla="*/ 2727 w 19891"/>
                          <a:gd name="connsiteY181" fmla="*/ 18984 h 21555"/>
                          <a:gd name="connsiteX182" fmla="*/ 2966 w 19891"/>
                          <a:gd name="connsiteY182" fmla="*/ 19163 h 21555"/>
                          <a:gd name="connsiteX183" fmla="*/ 3146 w 19891"/>
                          <a:gd name="connsiteY183" fmla="*/ 19402 h 21555"/>
                          <a:gd name="connsiteX184" fmla="*/ 3146 w 19891"/>
                          <a:gd name="connsiteY184" fmla="*/ 19402 h 21555"/>
                          <a:gd name="connsiteX185" fmla="*/ 3146 w 19891"/>
                          <a:gd name="connsiteY185" fmla="*/ 19402 h 21555"/>
                          <a:gd name="connsiteX186" fmla="*/ 3146 w 19891"/>
                          <a:gd name="connsiteY186" fmla="*/ 19402 h 21555"/>
                          <a:gd name="connsiteX187" fmla="*/ 3146 w 19891"/>
                          <a:gd name="connsiteY187" fmla="*/ 19402 h 2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9891" h="21555">
                            <a:moveTo>
                              <a:pt x="11937" y="19402"/>
                            </a:moveTo>
                            <a:cubicBezTo>
                              <a:pt x="11519" y="19582"/>
                              <a:pt x="11100" y="19702"/>
                              <a:pt x="10682" y="19761"/>
                            </a:cubicBezTo>
                            <a:cubicBezTo>
                              <a:pt x="10263" y="19881"/>
                              <a:pt x="9844" y="19881"/>
                              <a:pt x="9426" y="19941"/>
                            </a:cubicBezTo>
                            <a:cubicBezTo>
                              <a:pt x="9007" y="20001"/>
                              <a:pt x="8588" y="19941"/>
                              <a:pt x="8169" y="19881"/>
                            </a:cubicBezTo>
                            <a:cubicBezTo>
                              <a:pt x="7751" y="19821"/>
                              <a:pt x="7332" y="19761"/>
                              <a:pt x="6914" y="19642"/>
                            </a:cubicBezTo>
                            <a:cubicBezTo>
                              <a:pt x="6674" y="19582"/>
                              <a:pt x="6375" y="19462"/>
                              <a:pt x="6136" y="19402"/>
                            </a:cubicBezTo>
                            <a:cubicBezTo>
                              <a:pt x="5897" y="19283"/>
                              <a:pt x="5658" y="19163"/>
                              <a:pt x="5419" y="19043"/>
                            </a:cubicBezTo>
                            <a:cubicBezTo>
                              <a:pt x="5179" y="18924"/>
                              <a:pt x="4940" y="18804"/>
                              <a:pt x="4760" y="18625"/>
                            </a:cubicBezTo>
                            <a:cubicBezTo>
                              <a:pt x="4521" y="18446"/>
                              <a:pt x="4342" y="18326"/>
                              <a:pt x="4103" y="18147"/>
                            </a:cubicBezTo>
                            <a:cubicBezTo>
                              <a:pt x="4043" y="18147"/>
                              <a:pt x="4043" y="18087"/>
                              <a:pt x="4043" y="18087"/>
                            </a:cubicBezTo>
                            <a:cubicBezTo>
                              <a:pt x="4043" y="18087"/>
                              <a:pt x="3983" y="18027"/>
                              <a:pt x="3983" y="18027"/>
                            </a:cubicBezTo>
                            <a:cubicBezTo>
                              <a:pt x="3983" y="18027"/>
                              <a:pt x="3923" y="17967"/>
                              <a:pt x="3923" y="17967"/>
                            </a:cubicBezTo>
                            <a:cubicBezTo>
                              <a:pt x="3923" y="17967"/>
                              <a:pt x="3864" y="17907"/>
                              <a:pt x="3864" y="17907"/>
                            </a:cubicBezTo>
                            <a:cubicBezTo>
                              <a:pt x="3804" y="17848"/>
                              <a:pt x="3744" y="17788"/>
                              <a:pt x="3624" y="17668"/>
                            </a:cubicBezTo>
                            <a:cubicBezTo>
                              <a:pt x="3505" y="17548"/>
                              <a:pt x="3505" y="17548"/>
                              <a:pt x="3445" y="17429"/>
                            </a:cubicBezTo>
                            <a:cubicBezTo>
                              <a:pt x="3385" y="17369"/>
                              <a:pt x="3325" y="17249"/>
                              <a:pt x="3265" y="17189"/>
                            </a:cubicBezTo>
                            <a:cubicBezTo>
                              <a:pt x="3206" y="17130"/>
                              <a:pt x="3146" y="17010"/>
                              <a:pt x="3086" y="16950"/>
                            </a:cubicBezTo>
                            <a:cubicBezTo>
                              <a:pt x="2667" y="16352"/>
                              <a:pt x="2309" y="15754"/>
                              <a:pt x="2069" y="15096"/>
                            </a:cubicBezTo>
                            <a:cubicBezTo>
                              <a:pt x="1830" y="14439"/>
                              <a:pt x="1651" y="13721"/>
                              <a:pt x="1531" y="13003"/>
                            </a:cubicBezTo>
                            <a:cubicBezTo>
                              <a:pt x="1411" y="12285"/>
                              <a:pt x="1411" y="11508"/>
                              <a:pt x="1471" y="10731"/>
                            </a:cubicBezTo>
                            <a:cubicBezTo>
                              <a:pt x="1531" y="9953"/>
                              <a:pt x="1711" y="9175"/>
                              <a:pt x="1950" y="8458"/>
                            </a:cubicBezTo>
                            <a:cubicBezTo>
                              <a:pt x="1950" y="8398"/>
                              <a:pt x="2010" y="8278"/>
                              <a:pt x="2010" y="8218"/>
                            </a:cubicBezTo>
                            <a:cubicBezTo>
                              <a:pt x="2010" y="8158"/>
                              <a:pt x="2069" y="8039"/>
                              <a:pt x="2069" y="7979"/>
                            </a:cubicBezTo>
                            <a:cubicBezTo>
                              <a:pt x="2069" y="7919"/>
                              <a:pt x="2129" y="7800"/>
                              <a:pt x="2189" y="7740"/>
                            </a:cubicBezTo>
                            <a:cubicBezTo>
                              <a:pt x="2249" y="7680"/>
                              <a:pt x="2249" y="7620"/>
                              <a:pt x="2309" y="7501"/>
                            </a:cubicBezTo>
                            <a:cubicBezTo>
                              <a:pt x="2368" y="7381"/>
                              <a:pt x="2368" y="7321"/>
                              <a:pt x="2428" y="7202"/>
                            </a:cubicBezTo>
                            <a:cubicBezTo>
                              <a:pt x="2488" y="7082"/>
                              <a:pt x="2548" y="7022"/>
                              <a:pt x="2548" y="6903"/>
                            </a:cubicBezTo>
                            <a:cubicBezTo>
                              <a:pt x="2607" y="6783"/>
                              <a:pt x="2667" y="6723"/>
                              <a:pt x="2667" y="6604"/>
                            </a:cubicBezTo>
                            <a:cubicBezTo>
                              <a:pt x="2727" y="6484"/>
                              <a:pt x="2787" y="6424"/>
                              <a:pt x="2847" y="6304"/>
                            </a:cubicBezTo>
                            <a:cubicBezTo>
                              <a:pt x="3086" y="5946"/>
                              <a:pt x="3325" y="5587"/>
                              <a:pt x="3565" y="5228"/>
                            </a:cubicBezTo>
                            <a:cubicBezTo>
                              <a:pt x="3804" y="4869"/>
                              <a:pt x="4103" y="4570"/>
                              <a:pt x="4402" y="4271"/>
                            </a:cubicBezTo>
                            <a:cubicBezTo>
                              <a:pt x="4701" y="3972"/>
                              <a:pt x="5000" y="3673"/>
                              <a:pt x="5359" y="3434"/>
                            </a:cubicBezTo>
                            <a:cubicBezTo>
                              <a:pt x="5718" y="3195"/>
                              <a:pt x="6017" y="2955"/>
                              <a:pt x="6435" y="2716"/>
                            </a:cubicBezTo>
                            <a:cubicBezTo>
                              <a:pt x="6974" y="2417"/>
                              <a:pt x="7512" y="2118"/>
                              <a:pt x="8050" y="1939"/>
                            </a:cubicBezTo>
                            <a:cubicBezTo>
                              <a:pt x="8588" y="1759"/>
                              <a:pt x="9127" y="1580"/>
                              <a:pt x="9725" y="1520"/>
                            </a:cubicBezTo>
                            <a:cubicBezTo>
                              <a:pt x="10263" y="1460"/>
                              <a:pt x="10861" y="1401"/>
                              <a:pt x="11399" y="1460"/>
                            </a:cubicBezTo>
                            <a:cubicBezTo>
                              <a:pt x="11937" y="1520"/>
                              <a:pt x="12476" y="1580"/>
                              <a:pt x="13014" y="1759"/>
                            </a:cubicBezTo>
                            <a:cubicBezTo>
                              <a:pt x="13253" y="1819"/>
                              <a:pt x="13552" y="1939"/>
                              <a:pt x="13791" y="1999"/>
                            </a:cubicBezTo>
                            <a:cubicBezTo>
                              <a:pt x="14031" y="2118"/>
                              <a:pt x="14270" y="2238"/>
                              <a:pt x="14509" y="2357"/>
                            </a:cubicBezTo>
                            <a:cubicBezTo>
                              <a:pt x="14749" y="2477"/>
                              <a:pt x="14988" y="2596"/>
                              <a:pt x="15167" y="2776"/>
                            </a:cubicBezTo>
                            <a:cubicBezTo>
                              <a:pt x="15346" y="2955"/>
                              <a:pt x="15586" y="3075"/>
                              <a:pt x="15765" y="3255"/>
                            </a:cubicBezTo>
                            <a:cubicBezTo>
                              <a:pt x="16363" y="3793"/>
                              <a:pt x="16901" y="4450"/>
                              <a:pt x="17320" y="5109"/>
                            </a:cubicBezTo>
                            <a:cubicBezTo>
                              <a:pt x="17739" y="5826"/>
                              <a:pt x="18038" y="6544"/>
                              <a:pt x="18217" y="7321"/>
                            </a:cubicBezTo>
                            <a:cubicBezTo>
                              <a:pt x="18397" y="8099"/>
                              <a:pt x="18516" y="8936"/>
                              <a:pt x="18516" y="9773"/>
                            </a:cubicBezTo>
                            <a:cubicBezTo>
                              <a:pt x="18516" y="10611"/>
                              <a:pt x="18397" y="11508"/>
                              <a:pt x="18158" y="12345"/>
                            </a:cubicBezTo>
                            <a:cubicBezTo>
                              <a:pt x="18158" y="12405"/>
                              <a:pt x="18158" y="12465"/>
                              <a:pt x="18098" y="12525"/>
                            </a:cubicBezTo>
                            <a:cubicBezTo>
                              <a:pt x="18098" y="12585"/>
                              <a:pt x="18038" y="12644"/>
                              <a:pt x="18038" y="12704"/>
                            </a:cubicBezTo>
                            <a:cubicBezTo>
                              <a:pt x="18038" y="12764"/>
                              <a:pt x="17978" y="12824"/>
                              <a:pt x="17978" y="12883"/>
                            </a:cubicBezTo>
                            <a:cubicBezTo>
                              <a:pt x="17978" y="12943"/>
                              <a:pt x="17918" y="13003"/>
                              <a:pt x="17918" y="13063"/>
                            </a:cubicBezTo>
                            <a:cubicBezTo>
                              <a:pt x="17918" y="13123"/>
                              <a:pt x="17858" y="13182"/>
                              <a:pt x="17858" y="13242"/>
                            </a:cubicBezTo>
                            <a:cubicBezTo>
                              <a:pt x="17858" y="13302"/>
                              <a:pt x="17799" y="13362"/>
                              <a:pt x="17799" y="13422"/>
                            </a:cubicBezTo>
                            <a:cubicBezTo>
                              <a:pt x="17799" y="13481"/>
                              <a:pt x="17739" y="13541"/>
                              <a:pt x="17739" y="13541"/>
                            </a:cubicBezTo>
                            <a:cubicBezTo>
                              <a:pt x="17739" y="13601"/>
                              <a:pt x="17679" y="13661"/>
                              <a:pt x="17679" y="13661"/>
                            </a:cubicBezTo>
                            <a:cubicBezTo>
                              <a:pt x="17440" y="14199"/>
                              <a:pt x="17200" y="14678"/>
                              <a:pt x="16901" y="15156"/>
                            </a:cubicBezTo>
                            <a:cubicBezTo>
                              <a:pt x="16603" y="15634"/>
                              <a:pt x="16304" y="16053"/>
                              <a:pt x="15945" y="16472"/>
                            </a:cubicBezTo>
                            <a:cubicBezTo>
                              <a:pt x="15586" y="16890"/>
                              <a:pt x="15227" y="17249"/>
                              <a:pt x="14808" y="17608"/>
                            </a:cubicBezTo>
                            <a:cubicBezTo>
                              <a:pt x="14390" y="17967"/>
                              <a:pt x="13971" y="18266"/>
                              <a:pt x="13492" y="18565"/>
                            </a:cubicBezTo>
                            <a:cubicBezTo>
                              <a:pt x="13373" y="18625"/>
                              <a:pt x="13253" y="18685"/>
                              <a:pt x="13134" y="18804"/>
                            </a:cubicBezTo>
                            <a:cubicBezTo>
                              <a:pt x="13014" y="18864"/>
                              <a:pt x="12895" y="18924"/>
                              <a:pt x="12775" y="18984"/>
                            </a:cubicBezTo>
                            <a:cubicBezTo>
                              <a:pt x="12655" y="19043"/>
                              <a:pt x="12536" y="19103"/>
                              <a:pt x="12416" y="19163"/>
                            </a:cubicBezTo>
                            <a:cubicBezTo>
                              <a:pt x="12177" y="19343"/>
                              <a:pt x="12057" y="19402"/>
                              <a:pt x="11937" y="19402"/>
                            </a:cubicBezTo>
                            <a:moveTo>
                              <a:pt x="3983" y="18266"/>
                            </a:moveTo>
                            <a:cubicBezTo>
                              <a:pt x="4163" y="18446"/>
                              <a:pt x="4402" y="18625"/>
                              <a:pt x="4641" y="18744"/>
                            </a:cubicBezTo>
                            <a:cubicBezTo>
                              <a:pt x="4880" y="18924"/>
                              <a:pt x="5120" y="19043"/>
                              <a:pt x="5299" y="19163"/>
                            </a:cubicBezTo>
                            <a:cubicBezTo>
                              <a:pt x="5478" y="19283"/>
                              <a:pt x="5777" y="19402"/>
                              <a:pt x="6017" y="19522"/>
                            </a:cubicBezTo>
                            <a:cubicBezTo>
                              <a:pt x="6256" y="19642"/>
                              <a:pt x="6495" y="19702"/>
                              <a:pt x="6794" y="19761"/>
                            </a:cubicBezTo>
                            <a:cubicBezTo>
                              <a:pt x="7930" y="20120"/>
                              <a:pt x="9067" y="20180"/>
                              <a:pt x="10203" y="20001"/>
                            </a:cubicBezTo>
                            <a:cubicBezTo>
                              <a:pt x="11339" y="19821"/>
                              <a:pt x="12416" y="19402"/>
                              <a:pt x="13433" y="18804"/>
                            </a:cubicBezTo>
                            <a:cubicBezTo>
                              <a:pt x="14450" y="18206"/>
                              <a:pt x="15346" y="17429"/>
                              <a:pt x="16184" y="16472"/>
                            </a:cubicBezTo>
                            <a:cubicBezTo>
                              <a:pt x="16961" y="15515"/>
                              <a:pt x="17619" y="14379"/>
                              <a:pt x="18038" y="13182"/>
                            </a:cubicBezTo>
                            <a:cubicBezTo>
                              <a:pt x="18337" y="12226"/>
                              <a:pt x="18516" y="11269"/>
                              <a:pt x="18576" y="10372"/>
                            </a:cubicBezTo>
                            <a:cubicBezTo>
                              <a:pt x="18636" y="9415"/>
                              <a:pt x="18516" y="8517"/>
                              <a:pt x="18337" y="7680"/>
                            </a:cubicBezTo>
                            <a:cubicBezTo>
                              <a:pt x="18158" y="6843"/>
                              <a:pt x="17799" y="6006"/>
                              <a:pt x="17380" y="5288"/>
                            </a:cubicBezTo>
                            <a:cubicBezTo>
                              <a:pt x="16961" y="4570"/>
                              <a:pt x="16423" y="3912"/>
                              <a:pt x="15765" y="3314"/>
                            </a:cubicBezTo>
                            <a:cubicBezTo>
                              <a:pt x="15586" y="3135"/>
                              <a:pt x="15346" y="2955"/>
                              <a:pt x="15167" y="2836"/>
                            </a:cubicBezTo>
                            <a:cubicBezTo>
                              <a:pt x="14928" y="2656"/>
                              <a:pt x="14749" y="2537"/>
                              <a:pt x="14509" y="2417"/>
                            </a:cubicBezTo>
                            <a:cubicBezTo>
                              <a:pt x="14270" y="2298"/>
                              <a:pt x="14031" y="2178"/>
                              <a:pt x="13791" y="2058"/>
                            </a:cubicBezTo>
                            <a:cubicBezTo>
                              <a:pt x="13552" y="1939"/>
                              <a:pt x="13313" y="1879"/>
                              <a:pt x="13014" y="1759"/>
                            </a:cubicBezTo>
                            <a:cubicBezTo>
                              <a:pt x="12476" y="1580"/>
                              <a:pt x="11937" y="1460"/>
                              <a:pt x="11339" y="1460"/>
                            </a:cubicBezTo>
                            <a:cubicBezTo>
                              <a:pt x="10801" y="1401"/>
                              <a:pt x="10203" y="1460"/>
                              <a:pt x="9665" y="1520"/>
                            </a:cubicBezTo>
                            <a:cubicBezTo>
                              <a:pt x="9127" y="1580"/>
                              <a:pt x="8528" y="1759"/>
                              <a:pt x="7990" y="1939"/>
                            </a:cubicBezTo>
                            <a:cubicBezTo>
                              <a:pt x="7452" y="2118"/>
                              <a:pt x="6914" y="2417"/>
                              <a:pt x="6375" y="2716"/>
                            </a:cubicBezTo>
                            <a:cubicBezTo>
                              <a:pt x="5837" y="3015"/>
                              <a:pt x="5359" y="3434"/>
                              <a:pt x="4880" y="3793"/>
                            </a:cubicBezTo>
                            <a:cubicBezTo>
                              <a:pt x="4402" y="4211"/>
                              <a:pt x="3983" y="4630"/>
                              <a:pt x="3565" y="5109"/>
                            </a:cubicBezTo>
                            <a:cubicBezTo>
                              <a:pt x="3146" y="5587"/>
                              <a:pt x="2847" y="6125"/>
                              <a:pt x="2548" y="6663"/>
                            </a:cubicBezTo>
                            <a:cubicBezTo>
                              <a:pt x="2249" y="7202"/>
                              <a:pt x="2010" y="7800"/>
                              <a:pt x="1770" y="8398"/>
                            </a:cubicBezTo>
                            <a:cubicBezTo>
                              <a:pt x="1591" y="8996"/>
                              <a:pt x="1411" y="9594"/>
                              <a:pt x="1352" y="10252"/>
                            </a:cubicBezTo>
                            <a:cubicBezTo>
                              <a:pt x="1232" y="10850"/>
                              <a:pt x="1232" y="11448"/>
                              <a:pt x="1232" y="12106"/>
                            </a:cubicBezTo>
                            <a:cubicBezTo>
                              <a:pt x="1232" y="12704"/>
                              <a:pt x="1292" y="13302"/>
                              <a:pt x="1471" y="13900"/>
                            </a:cubicBezTo>
                            <a:cubicBezTo>
                              <a:pt x="1651" y="14498"/>
                              <a:pt x="1770" y="15036"/>
                              <a:pt x="2010" y="15575"/>
                            </a:cubicBezTo>
                            <a:cubicBezTo>
                              <a:pt x="2129" y="15874"/>
                              <a:pt x="2309" y="16113"/>
                              <a:pt x="2428" y="16352"/>
                            </a:cubicBezTo>
                            <a:cubicBezTo>
                              <a:pt x="2548" y="16592"/>
                              <a:pt x="2727" y="16831"/>
                              <a:pt x="2906" y="17070"/>
                            </a:cubicBezTo>
                            <a:cubicBezTo>
                              <a:pt x="3086" y="17309"/>
                              <a:pt x="3265" y="17548"/>
                              <a:pt x="3445" y="17728"/>
                            </a:cubicBezTo>
                            <a:cubicBezTo>
                              <a:pt x="3624" y="17907"/>
                              <a:pt x="3804" y="18087"/>
                              <a:pt x="3983" y="18266"/>
                            </a:cubicBezTo>
                            <a:moveTo>
                              <a:pt x="16603" y="2298"/>
                            </a:moveTo>
                            <a:cubicBezTo>
                              <a:pt x="17320" y="2896"/>
                              <a:pt x="17918" y="3673"/>
                              <a:pt x="18397" y="4510"/>
                            </a:cubicBezTo>
                            <a:cubicBezTo>
                              <a:pt x="18875" y="5348"/>
                              <a:pt x="19234" y="6245"/>
                              <a:pt x="19473" y="7262"/>
                            </a:cubicBezTo>
                            <a:cubicBezTo>
                              <a:pt x="19712" y="8218"/>
                              <a:pt x="19772" y="9295"/>
                              <a:pt x="19712" y="10312"/>
                            </a:cubicBezTo>
                            <a:cubicBezTo>
                              <a:pt x="19653" y="11388"/>
                              <a:pt x="19473" y="12465"/>
                              <a:pt x="19114" y="13541"/>
                            </a:cubicBezTo>
                            <a:cubicBezTo>
                              <a:pt x="18636" y="14917"/>
                              <a:pt x="17918" y="16173"/>
                              <a:pt x="17021" y="17249"/>
                            </a:cubicBezTo>
                            <a:cubicBezTo>
                              <a:pt x="16124" y="18326"/>
                              <a:pt x="15107" y="19223"/>
                              <a:pt x="13971" y="19881"/>
                            </a:cubicBezTo>
                            <a:cubicBezTo>
                              <a:pt x="12835" y="20539"/>
                              <a:pt x="11579" y="21017"/>
                              <a:pt x="10323" y="21197"/>
                            </a:cubicBezTo>
                            <a:cubicBezTo>
                              <a:pt x="9067" y="21376"/>
                              <a:pt x="7751" y="21316"/>
                              <a:pt x="6435" y="20957"/>
                            </a:cubicBezTo>
                            <a:cubicBezTo>
                              <a:pt x="6136" y="20897"/>
                              <a:pt x="5837" y="20778"/>
                              <a:pt x="5598" y="20658"/>
                            </a:cubicBezTo>
                            <a:cubicBezTo>
                              <a:pt x="5299" y="20539"/>
                              <a:pt x="5060" y="20419"/>
                              <a:pt x="4760" y="20240"/>
                            </a:cubicBezTo>
                            <a:cubicBezTo>
                              <a:pt x="4521" y="20120"/>
                              <a:pt x="4222" y="19941"/>
                              <a:pt x="3983" y="19761"/>
                            </a:cubicBezTo>
                            <a:cubicBezTo>
                              <a:pt x="3744" y="19582"/>
                              <a:pt x="3505" y="19402"/>
                              <a:pt x="3265" y="19223"/>
                            </a:cubicBezTo>
                            <a:cubicBezTo>
                              <a:pt x="3026" y="18984"/>
                              <a:pt x="2787" y="18804"/>
                              <a:pt x="2548" y="18565"/>
                            </a:cubicBezTo>
                            <a:cubicBezTo>
                              <a:pt x="2309" y="18326"/>
                              <a:pt x="2129" y="18087"/>
                              <a:pt x="1950" y="17788"/>
                            </a:cubicBezTo>
                            <a:cubicBezTo>
                              <a:pt x="1770" y="17488"/>
                              <a:pt x="1591" y="17249"/>
                              <a:pt x="1411" y="16950"/>
                            </a:cubicBezTo>
                            <a:cubicBezTo>
                              <a:pt x="1232" y="16651"/>
                              <a:pt x="1112" y="16352"/>
                              <a:pt x="933" y="16053"/>
                            </a:cubicBezTo>
                            <a:cubicBezTo>
                              <a:pt x="694" y="15455"/>
                              <a:pt x="454" y="14797"/>
                              <a:pt x="335" y="14139"/>
                            </a:cubicBezTo>
                            <a:cubicBezTo>
                              <a:pt x="215" y="13481"/>
                              <a:pt x="96" y="12824"/>
                              <a:pt x="96" y="12166"/>
                            </a:cubicBezTo>
                            <a:cubicBezTo>
                              <a:pt x="96" y="11508"/>
                              <a:pt x="96" y="10790"/>
                              <a:pt x="215" y="10132"/>
                            </a:cubicBezTo>
                            <a:cubicBezTo>
                              <a:pt x="335" y="9415"/>
                              <a:pt x="514" y="8757"/>
                              <a:pt x="694" y="8039"/>
                            </a:cubicBezTo>
                            <a:cubicBezTo>
                              <a:pt x="933" y="7321"/>
                              <a:pt x="1232" y="6663"/>
                              <a:pt x="1531" y="6065"/>
                            </a:cubicBezTo>
                            <a:cubicBezTo>
                              <a:pt x="1890" y="5467"/>
                              <a:pt x="2249" y="4869"/>
                              <a:pt x="2727" y="4331"/>
                            </a:cubicBezTo>
                            <a:cubicBezTo>
                              <a:pt x="3146" y="3793"/>
                              <a:pt x="3624" y="3255"/>
                              <a:pt x="4163" y="2836"/>
                            </a:cubicBezTo>
                            <a:cubicBezTo>
                              <a:pt x="4701" y="2417"/>
                              <a:pt x="5239" y="1999"/>
                              <a:pt x="5837" y="1640"/>
                            </a:cubicBezTo>
                            <a:cubicBezTo>
                              <a:pt x="6435" y="1281"/>
                              <a:pt x="7093" y="982"/>
                              <a:pt x="7691" y="802"/>
                            </a:cubicBezTo>
                            <a:cubicBezTo>
                              <a:pt x="8349" y="563"/>
                              <a:pt x="8947" y="443"/>
                              <a:pt x="9605" y="324"/>
                            </a:cubicBezTo>
                            <a:cubicBezTo>
                              <a:pt x="10263" y="204"/>
                              <a:pt x="10861" y="204"/>
                              <a:pt x="11519" y="264"/>
                            </a:cubicBezTo>
                            <a:cubicBezTo>
                              <a:pt x="12177" y="324"/>
                              <a:pt x="12775" y="443"/>
                              <a:pt x="13373" y="623"/>
                            </a:cubicBezTo>
                            <a:cubicBezTo>
                              <a:pt x="13672" y="742"/>
                              <a:pt x="13971" y="802"/>
                              <a:pt x="14270" y="922"/>
                            </a:cubicBezTo>
                            <a:cubicBezTo>
                              <a:pt x="14569" y="1041"/>
                              <a:pt x="14808" y="1161"/>
                              <a:pt x="15107" y="1341"/>
                            </a:cubicBezTo>
                            <a:cubicBezTo>
                              <a:pt x="15346" y="1460"/>
                              <a:pt x="15645" y="1640"/>
                              <a:pt x="15885" y="1819"/>
                            </a:cubicBezTo>
                            <a:cubicBezTo>
                              <a:pt x="16124" y="1939"/>
                              <a:pt x="16363" y="2118"/>
                              <a:pt x="16603" y="2298"/>
                            </a:cubicBezTo>
                            <a:moveTo>
                              <a:pt x="3146" y="19402"/>
                            </a:moveTo>
                            <a:cubicBezTo>
                              <a:pt x="3385" y="19582"/>
                              <a:pt x="3624" y="19821"/>
                              <a:pt x="3864" y="20001"/>
                            </a:cubicBezTo>
                            <a:cubicBezTo>
                              <a:pt x="4103" y="20180"/>
                              <a:pt x="4402" y="20359"/>
                              <a:pt x="4641" y="20479"/>
                            </a:cubicBezTo>
                            <a:cubicBezTo>
                              <a:pt x="4940" y="20598"/>
                              <a:pt x="5179" y="20778"/>
                              <a:pt x="5478" y="20897"/>
                            </a:cubicBezTo>
                            <a:cubicBezTo>
                              <a:pt x="5777" y="21017"/>
                              <a:pt x="6076" y="21137"/>
                              <a:pt x="6375" y="21197"/>
                            </a:cubicBezTo>
                            <a:cubicBezTo>
                              <a:pt x="6794" y="21316"/>
                              <a:pt x="7153" y="21376"/>
                              <a:pt x="7572" y="21436"/>
                            </a:cubicBezTo>
                            <a:cubicBezTo>
                              <a:pt x="7990" y="21496"/>
                              <a:pt x="8349" y="21496"/>
                              <a:pt x="8768" y="21556"/>
                            </a:cubicBezTo>
                            <a:cubicBezTo>
                              <a:pt x="9186" y="21556"/>
                              <a:pt x="9545" y="21556"/>
                              <a:pt x="9964" y="21496"/>
                            </a:cubicBezTo>
                            <a:cubicBezTo>
                              <a:pt x="10382" y="21436"/>
                              <a:pt x="10741" y="21376"/>
                              <a:pt x="11160" y="21256"/>
                            </a:cubicBezTo>
                            <a:cubicBezTo>
                              <a:pt x="11280" y="21197"/>
                              <a:pt x="11399" y="21197"/>
                              <a:pt x="11519" y="21137"/>
                            </a:cubicBezTo>
                            <a:cubicBezTo>
                              <a:pt x="11638" y="21077"/>
                              <a:pt x="11758" y="21077"/>
                              <a:pt x="11878" y="21017"/>
                            </a:cubicBezTo>
                            <a:cubicBezTo>
                              <a:pt x="11997" y="20957"/>
                              <a:pt x="12117" y="20957"/>
                              <a:pt x="12236" y="20897"/>
                            </a:cubicBezTo>
                            <a:cubicBezTo>
                              <a:pt x="12356" y="20838"/>
                              <a:pt x="12476" y="20838"/>
                              <a:pt x="12596" y="20778"/>
                            </a:cubicBezTo>
                            <a:cubicBezTo>
                              <a:pt x="13253" y="20479"/>
                              <a:pt x="13911" y="20120"/>
                              <a:pt x="14569" y="19702"/>
                            </a:cubicBezTo>
                            <a:cubicBezTo>
                              <a:pt x="15227" y="19283"/>
                              <a:pt x="15765" y="18804"/>
                              <a:pt x="16304" y="18266"/>
                            </a:cubicBezTo>
                            <a:cubicBezTo>
                              <a:pt x="16842" y="17728"/>
                              <a:pt x="17320" y="17130"/>
                              <a:pt x="17799" y="16412"/>
                            </a:cubicBezTo>
                            <a:cubicBezTo>
                              <a:pt x="18217" y="15754"/>
                              <a:pt x="18636" y="15036"/>
                              <a:pt x="18935" y="14259"/>
                            </a:cubicBezTo>
                            <a:cubicBezTo>
                              <a:pt x="18935" y="14199"/>
                              <a:pt x="18995" y="14139"/>
                              <a:pt x="18995" y="14080"/>
                            </a:cubicBezTo>
                            <a:cubicBezTo>
                              <a:pt x="18995" y="14020"/>
                              <a:pt x="19054" y="13960"/>
                              <a:pt x="19054" y="13900"/>
                            </a:cubicBezTo>
                            <a:cubicBezTo>
                              <a:pt x="19054" y="13840"/>
                              <a:pt x="19114" y="13780"/>
                              <a:pt x="19114" y="13721"/>
                            </a:cubicBezTo>
                            <a:cubicBezTo>
                              <a:pt x="19114" y="13661"/>
                              <a:pt x="19174" y="13601"/>
                              <a:pt x="19174" y="13541"/>
                            </a:cubicBezTo>
                            <a:cubicBezTo>
                              <a:pt x="19174" y="13481"/>
                              <a:pt x="19174" y="13481"/>
                              <a:pt x="19234" y="13422"/>
                            </a:cubicBezTo>
                            <a:cubicBezTo>
                              <a:pt x="19234" y="13362"/>
                              <a:pt x="19234" y="13362"/>
                              <a:pt x="19294" y="13302"/>
                            </a:cubicBezTo>
                            <a:cubicBezTo>
                              <a:pt x="19294" y="13242"/>
                              <a:pt x="19294" y="13242"/>
                              <a:pt x="19353" y="13182"/>
                            </a:cubicBezTo>
                            <a:cubicBezTo>
                              <a:pt x="19353" y="13123"/>
                              <a:pt x="19353" y="13123"/>
                              <a:pt x="19413" y="13063"/>
                            </a:cubicBezTo>
                            <a:cubicBezTo>
                              <a:pt x="19712" y="12046"/>
                              <a:pt x="19892" y="11029"/>
                              <a:pt x="19892" y="10012"/>
                            </a:cubicBezTo>
                            <a:cubicBezTo>
                              <a:pt x="19892" y="8996"/>
                              <a:pt x="19832" y="8039"/>
                              <a:pt x="19593" y="7082"/>
                            </a:cubicBezTo>
                            <a:cubicBezTo>
                              <a:pt x="19353" y="6125"/>
                              <a:pt x="18995" y="5228"/>
                              <a:pt x="18516" y="4450"/>
                            </a:cubicBezTo>
                            <a:cubicBezTo>
                              <a:pt x="18038" y="3613"/>
                              <a:pt x="17440" y="2896"/>
                              <a:pt x="16722" y="2238"/>
                            </a:cubicBezTo>
                            <a:cubicBezTo>
                              <a:pt x="16483" y="2058"/>
                              <a:pt x="16244" y="1819"/>
                              <a:pt x="16004" y="1640"/>
                            </a:cubicBezTo>
                            <a:cubicBezTo>
                              <a:pt x="15765" y="1460"/>
                              <a:pt x="15466" y="1281"/>
                              <a:pt x="15227" y="1161"/>
                            </a:cubicBezTo>
                            <a:cubicBezTo>
                              <a:pt x="14988" y="982"/>
                              <a:pt x="14689" y="862"/>
                              <a:pt x="14390" y="742"/>
                            </a:cubicBezTo>
                            <a:cubicBezTo>
                              <a:pt x="14091" y="623"/>
                              <a:pt x="13791" y="503"/>
                              <a:pt x="13492" y="384"/>
                            </a:cubicBezTo>
                            <a:cubicBezTo>
                              <a:pt x="12895" y="204"/>
                              <a:pt x="12236" y="85"/>
                              <a:pt x="11579" y="25"/>
                            </a:cubicBezTo>
                            <a:cubicBezTo>
                              <a:pt x="10921" y="-35"/>
                              <a:pt x="10263" y="25"/>
                              <a:pt x="9665" y="85"/>
                            </a:cubicBezTo>
                            <a:cubicBezTo>
                              <a:pt x="9007" y="204"/>
                              <a:pt x="8349" y="324"/>
                              <a:pt x="7751" y="563"/>
                            </a:cubicBezTo>
                            <a:cubicBezTo>
                              <a:pt x="7153" y="802"/>
                              <a:pt x="6495" y="1101"/>
                              <a:pt x="5837" y="1460"/>
                            </a:cubicBezTo>
                            <a:cubicBezTo>
                              <a:pt x="5419" y="1700"/>
                              <a:pt x="5000" y="1999"/>
                              <a:pt x="4581" y="2357"/>
                            </a:cubicBezTo>
                            <a:cubicBezTo>
                              <a:pt x="4163" y="2656"/>
                              <a:pt x="3804" y="3015"/>
                              <a:pt x="3445" y="3374"/>
                            </a:cubicBezTo>
                            <a:cubicBezTo>
                              <a:pt x="3086" y="3733"/>
                              <a:pt x="2727" y="4152"/>
                              <a:pt x="2428" y="4570"/>
                            </a:cubicBezTo>
                            <a:cubicBezTo>
                              <a:pt x="2129" y="4989"/>
                              <a:pt x="1830" y="5408"/>
                              <a:pt x="1591" y="5886"/>
                            </a:cubicBezTo>
                            <a:cubicBezTo>
                              <a:pt x="1531" y="6006"/>
                              <a:pt x="1471" y="6065"/>
                              <a:pt x="1471" y="6185"/>
                            </a:cubicBezTo>
                            <a:cubicBezTo>
                              <a:pt x="1411" y="6304"/>
                              <a:pt x="1352" y="6364"/>
                              <a:pt x="1352" y="6484"/>
                            </a:cubicBezTo>
                            <a:cubicBezTo>
                              <a:pt x="1292" y="6604"/>
                              <a:pt x="1232" y="6663"/>
                              <a:pt x="1232" y="6783"/>
                            </a:cubicBezTo>
                            <a:cubicBezTo>
                              <a:pt x="1172" y="6903"/>
                              <a:pt x="1172" y="6963"/>
                              <a:pt x="1112" y="7082"/>
                            </a:cubicBezTo>
                            <a:cubicBezTo>
                              <a:pt x="1052" y="7142"/>
                              <a:pt x="1052" y="7262"/>
                              <a:pt x="993" y="7321"/>
                            </a:cubicBezTo>
                            <a:cubicBezTo>
                              <a:pt x="933" y="7381"/>
                              <a:pt x="933" y="7501"/>
                              <a:pt x="873" y="7561"/>
                            </a:cubicBezTo>
                            <a:cubicBezTo>
                              <a:pt x="813" y="7620"/>
                              <a:pt x="813" y="7740"/>
                              <a:pt x="753" y="7800"/>
                            </a:cubicBezTo>
                            <a:cubicBezTo>
                              <a:pt x="694" y="7860"/>
                              <a:pt x="694" y="7979"/>
                              <a:pt x="634" y="8039"/>
                            </a:cubicBezTo>
                            <a:cubicBezTo>
                              <a:pt x="335" y="8996"/>
                              <a:pt x="96" y="9953"/>
                              <a:pt x="36" y="10910"/>
                            </a:cubicBezTo>
                            <a:cubicBezTo>
                              <a:pt x="-24" y="11867"/>
                              <a:pt x="-24" y="12824"/>
                              <a:pt x="156" y="13721"/>
                            </a:cubicBezTo>
                            <a:cubicBezTo>
                              <a:pt x="275" y="14618"/>
                              <a:pt x="574" y="15515"/>
                              <a:pt x="933" y="16293"/>
                            </a:cubicBezTo>
                            <a:cubicBezTo>
                              <a:pt x="1292" y="17130"/>
                              <a:pt x="1770" y="17848"/>
                              <a:pt x="2368" y="18505"/>
                            </a:cubicBezTo>
                            <a:cubicBezTo>
                              <a:pt x="2428" y="18565"/>
                              <a:pt x="2488" y="18625"/>
                              <a:pt x="2548" y="18744"/>
                            </a:cubicBezTo>
                            <a:cubicBezTo>
                              <a:pt x="2607" y="18804"/>
                              <a:pt x="2667" y="18864"/>
                              <a:pt x="2727" y="18984"/>
                            </a:cubicBezTo>
                            <a:cubicBezTo>
                              <a:pt x="2787" y="19043"/>
                              <a:pt x="2847" y="19103"/>
                              <a:pt x="2966" y="19163"/>
                            </a:cubicBezTo>
                            <a:cubicBezTo>
                              <a:pt x="2966" y="19223"/>
                              <a:pt x="3026" y="19283"/>
                              <a:pt x="3146" y="19402"/>
                            </a:cubicBezTo>
                            <a:cubicBezTo>
                              <a:pt x="3086" y="19343"/>
                              <a:pt x="3086" y="19343"/>
                              <a:pt x="3146" y="19402"/>
                            </a:cubicBezTo>
                            <a:cubicBezTo>
                              <a:pt x="3086" y="19343"/>
                              <a:pt x="3086" y="19343"/>
                              <a:pt x="3146" y="19402"/>
                            </a:cubicBezTo>
                            <a:cubicBezTo>
                              <a:pt x="3086" y="19343"/>
                              <a:pt x="3086" y="19343"/>
                              <a:pt x="3146" y="19402"/>
                            </a:cubicBezTo>
                            <a:cubicBezTo>
                              <a:pt x="3146" y="19402"/>
                              <a:pt x="3146" y="19402"/>
                              <a:pt x="3146" y="19402"/>
                            </a:cubicBezTo>
                          </a:path>
                        </a:pathLst>
                      </a:custGeom>
                      <a:noFill/>
                      <a:ln w="6350" cap="flat">
                        <a:solidFill>
                          <a:schemeClr val="bg1">
                            <a:alpha val="40000"/>
                          </a:schemeClr>
                        </a:solidFill>
                        <a:prstDash val="solid"/>
                        <a:miter/>
                      </a:ln>
                    </p:spPr>
                    <p:txBody>
                      <a:bodyPr rtlCol="0" anchor="ctr"/>
                      <a:lstStyle/>
                      <a:p>
                        <a:endParaRPr lang="en-GB"/>
                      </a:p>
                    </p:txBody>
                  </p:sp>
                  <p:sp>
                    <p:nvSpPr>
                      <p:cNvPr id="7491" name="Vrije vorm: vorm 7490">
                        <a:extLst>
                          <a:ext uri="{FF2B5EF4-FFF2-40B4-BE49-F238E27FC236}">
                            <a16:creationId xmlns:a16="http://schemas.microsoft.com/office/drawing/2014/main" id="{51222E7C-8A12-4E2C-BDC2-60AEC7F90EF2}"/>
                          </a:ext>
                        </a:extLst>
                      </p:cNvPr>
                      <p:cNvSpPr/>
                      <p:nvPr/>
                    </p:nvSpPr>
                    <p:spPr>
                      <a:xfrm>
                        <a:off x="5049998" y="4947448"/>
                        <a:ext cx="19655" cy="21114"/>
                      </a:xfrm>
                      <a:custGeom>
                        <a:avLst/>
                        <a:gdLst>
                          <a:gd name="connsiteX0" fmla="*/ 15813 w 19655"/>
                          <a:gd name="connsiteY0" fmla="*/ 3075 h 21114"/>
                          <a:gd name="connsiteX1" fmla="*/ 17428 w 19655"/>
                          <a:gd name="connsiteY1" fmla="*/ 5048 h 21114"/>
                          <a:gd name="connsiteX2" fmla="*/ 18384 w 19655"/>
                          <a:gd name="connsiteY2" fmla="*/ 7441 h 21114"/>
                          <a:gd name="connsiteX3" fmla="*/ 18623 w 19655"/>
                          <a:gd name="connsiteY3" fmla="*/ 10132 h 21114"/>
                          <a:gd name="connsiteX4" fmla="*/ 18085 w 19655"/>
                          <a:gd name="connsiteY4" fmla="*/ 12943 h 21114"/>
                          <a:gd name="connsiteX5" fmla="*/ 16231 w 19655"/>
                          <a:gd name="connsiteY5" fmla="*/ 16232 h 21114"/>
                          <a:gd name="connsiteX6" fmla="*/ 13480 w 19655"/>
                          <a:gd name="connsiteY6" fmla="*/ 18565 h 21114"/>
                          <a:gd name="connsiteX7" fmla="*/ 10251 w 19655"/>
                          <a:gd name="connsiteY7" fmla="*/ 19761 h 21114"/>
                          <a:gd name="connsiteX8" fmla="*/ 6842 w 19655"/>
                          <a:gd name="connsiteY8" fmla="*/ 19522 h 21114"/>
                          <a:gd name="connsiteX9" fmla="*/ 6064 w 19655"/>
                          <a:gd name="connsiteY9" fmla="*/ 19283 h 21114"/>
                          <a:gd name="connsiteX10" fmla="*/ 5346 w 19655"/>
                          <a:gd name="connsiteY10" fmla="*/ 18924 h 21114"/>
                          <a:gd name="connsiteX11" fmla="*/ 4689 w 19655"/>
                          <a:gd name="connsiteY11" fmla="*/ 18505 h 21114"/>
                          <a:gd name="connsiteX12" fmla="*/ 4030 w 19655"/>
                          <a:gd name="connsiteY12" fmla="*/ 18026 h 21114"/>
                          <a:gd name="connsiteX13" fmla="*/ 3433 w 19655"/>
                          <a:gd name="connsiteY13" fmla="*/ 17429 h 21114"/>
                          <a:gd name="connsiteX14" fmla="*/ 2894 w 19655"/>
                          <a:gd name="connsiteY14" fmla="*/ 16771 h 21114"/>
                          <a:gd name="connsiteX15" fmla="*/ 2416 w 19655"/>
                          <a:gd name="connsiteY15" fmla="*/ 16053 h 21114"/>
                          <a:gd name="connsiteX16" fmla="*/ 1997 w 19655"/>
                          <a:gd name="connsiteY16" fmla="*/ 15276 h 21114"/>
                          <a:gd name="connsiteX17" fmla="*/ 1459 w 19655"/>
                          <a:gd name="connsiteY17" fmla="*/ 13601 h 21114"/>
                          <a:gd name="connsiteX18" fmla="*/ 1220 w 19655"/>
                          <a:gd name="connsiteY18" fmla="*/ 11807 h 21114"/>
                          <a:gd name="connsiteX19" fmla="*/ 1339 w 19655"/>
                          <a:gd name="connsiteY19" fmla="*/ 9953 h 21114"/>
                          <a:gd name="connsiteX20" fmla="*/ 1758 w 19655"/>
                          <a:gd name="connsiteY20" fmla="*/ 8099 h 21114"/>
                          <a:gd name="connsiteX21" fmla="*/ 2535 w 19655"/>
                          <a:gd name="connsiteY21" fmla="*/ 6364 h 21114"/>
                          <a:gd name="connsiteX22" fmla="*/ 3552 w 19655"/>
                          <a:gd name="connsiteY22" fmla="*/ 4809 h 21114"/>
                          <a:gd name="connsiteX23" fmla="*/ 4868 w 19655"/>
                          <a:gd name="connsiteY23" fmla="*/ 3493 h 21114"/>
                          <a:gd name="connsiteX24" fmla="*/ 6363 w 19655"/>
                          <a:gd name="connsiteY24" fmla="*/ 2417 h 21114"/>
                          <a:gd name="connsiteX25" fmla="*/ 7978 w 19655"/>
                          <a:gd name="connsiteY25" fmla="*/ 1639 h 21114"/>
                          <a:gd name="connsiteX26" fmla="*/ 9652 w 19655"/>
                          <a:gd name="connsiteY26" fmla="*/ 1221 h 21114"/>
                          <a:gd name="connsiteX27" fmla="*/ 11327 w 19655"/>
                          <a:gd name="connsiteY27" fmla="*/ 1161 h 21114"/>
                          <a:gd name="connsiteX28" fmla="*/ 13002 w 19655"/>
                          <a:gd name="connsiteY28" fmla="*/ 1460 h 21114"/>
                          <a:gd name="connsiteX29" fmla="*/ 13779 w 19655"/>
                          <a:gd name="connsiteY29" fmla="*/ 1759 h 21114"/>
                          <a:gd name="connsiteX30" fmla="*/ 14497 w 19655"/>
                          <a:gd name="connsiteY30" fmla="*/ 2118 h 21114"/>
                          <a:gd name="connsiteX31" fmla="*/ 15155 w 19655"/>
                          <a:gd name="connsiteY31" fmla="*/ 2537 h 21114"/>
                          <a:gd name="connsiteX32" fmla="*/ 15813 w 19655"/>
                          <a:gd name="connsiteY32" fmla="*/ 3075 h 21114"/>
                          <a:gd name="connsiteX33" fmla="*/ 3193 w 19655"/>
                          <a:gd name="connsiteY33" fmla="*/ 19043 h 21114"/>
                          <a:gd name="connsiteX34" fmla="*/ 3911 w 19655"/>
                          <a:gd name="connsiteY34" fmla="*/ 19582 h 21114"/>
                          <a:gd name="connsiteX35" fmla="*/ 4689 w 19655"/>
                          <a:gd name="connsiteY35" fmla="*/ 20060 h 21114"/>
                          <a:gd name="connsiteX36" fmla="*/ 5526 w 19655"/>
                          <a:gd name="connsiteY36" fmla="*/ 20479 h 21114"/>
                          <a:gd name="connsiteX37" fmla="*/ 6363 w 19655"/>
                          <a:gd name="connsiteY37" fmla="*/ 20778 h 21114"/>
                          <a:gd name="connsiteX38" fmla="*/ 10251 w 19655"/>
                          <a:gd name="connsiteY38" fmla="*/ 21017 h 21114"/>
                          <a:gd name="connsiteX39" fmla="*/ 13899 w 19655"/>
                          <a:gd name="connsiteY39" fmla="*/ 19701 h 21114"/>
                          <a:gd name="connsiteX40" fmla="*/ 16949 w 19655"/>
                          <a:gd name="connsiteY40" fmla="*/ 17070 h 21114"/>
                          <a:gd name="connsiteX41" fmla="*/ 19042 w 19655"/>
                          <a:gd name="connsiteY41" fmla="*/ 13362 h 21114"/>
                          <a:gd name="connsiteX42" fmla="*/ 19640 w 19655"/>
                          <a:gd name="connsiteY42" fmla="*/ 10132 h 21114"/>
                          <a:gd name="connsiteX43" fmla="*/ 19401 w 19655"/>
                          <a:gd name="connsiteY43" fmla="*/ 7082 h 21114"/>
                          <a:gd name="connsiteX44" fmla="*/ 18324 w 19655"/>
                          <a:gd name="connsiteY44" fmla="*/ 4331 h 21114"/>
                          <a:gd name="connsiteX45" fmla="*/ 16530 w 19655"/>
                          <a:gd name="connsiteY45" fmla="*/ 2118 h 21114"/>
                          <a:gd name="connsiteX46" fmla="*/ 15813 w 19655"/>
                          <a:gd name="connsiteY46" fmla="*/ 1579 h 21114"/>
                          <a:gd name="connsiteX47" fmla="*/ 15035 w 19655"/>
                          <a:gd name="connsiteY47" fmla="*/ 1101 h 21114"/>
                          <a:gd name="connsiteX48" fmla="*/ 14198 w 19655"/>
                          <a:gd name="connsiteY48" fmla="*/ 683 h 21114"/>
                          <a:gd name="connsiteX49" fmla="*/ 13301 w 19655"/>
                          <a:gd name="connsiteY49" fmla="*/ 384 h 21114"/>
                          <a:gd name="connsiteX50" fmla="*/ 11447 w 19655"/>
                          <a:gd name="connsiteY50" fmla="*/ 25 h 21114"/>
                          <a:gd name="connsiteX51" fmla="*/ 9533 w 19655"/>
                          <a:gd name="connsiteY51" fmla="*/ 84 h 21114"/>
                          <a:gd name="connsiteX52" fmla="*/ 7619 w 19655"/>
                          <a:gd name="connsiteY52" fmla="*/ 563 h 21114"/>
                          <a:gd name="connsiteX53" fmla="*/ 5765 w 19655"/>
                          <a:gd name="connsiteY53" fmla="*/ 1400 h 21114"/>
                          <a:gd name="connsiteX54" fmla="*/ 4090 w 19655"/>
                          <a:gd name="connsiteY54" fmla="*/ 2596 h 21114"/>
                          <a:gd name="connsiteX55" fmla="*/ 2655 w 19655"/>
                          <a:gd name="connsiteY55" fmla="*/ 4092 h 21114"/>
                          <a:gd name="connsiteX56" fmla="*/ 1459 w 19655"/>
                          <a:gd name="connsiteY56" fmla="*/ 5826 h 21114"/>
                          <a:gd name="connsiteX57" fmla="*/ 622 w 19655"/>
                          <a:gd name="connsiteY57" fmla="*/ 7800 h 21114"/>
                          <a:gd name="connsiteX58" fmla="*/ 143 w 19655"/>
                          <a:gd name="connsiteY58" fmla="*/ 9893 h 21114"/>
                          <a:gd name="connsiteX59" fmla="*/ 23 w 19655"/>
                          <a:gd name="connsiteY59" fmla="*/ 11926 h 21114"/>
                          <a:gd name="connsiteX60" fmla="*/ 263 w 19655"/>
                          <a:gd name="connsiteY60" fmla="*/ 13900 h 21114"/>
                          <a:gd name="connsiteX61" fmla="*/ 861 w 19655"/>
                          <a:gd name="connsiteY61" fmla="*/ 15814 h 21114"/>
                          <a:gd name="connsiteX62" fmla="*/ 1339 w 19655"/>
                          <a:gd name="connsiteY62" fmla="*/ 16711 h 21114"/>
                          <a:gd name="connsiteX63" fmla="*/ 1877 w 19655"/>
                          <a:gd name="connsiteY63" fmla="*/ 17548 h 21114"/>
                          <a:gd name="connsiteX64" fmla="*/ 2476 w 19655"/>
                          <a:gd name="connsiteY64" fmla="*/ 18326 h 21114"/>
                          <a:gd name="connsiteX65" fmla="*/ 3193 w 19655"/>
                          <a:gd name="connsiteY65" fmla="*/ 19043 h 21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9655" h="21114">
                            <a:moveTo>
                              <a:pt x="15813" y="3075"/>
                            </a:moveTo>
                            <a:cubicBezTo>
                              <a:pt x="16470" y="3613"/>
                              <a:pt x="16949" y="4271"/>
                              <a:pt x="17428" y="5048"/>
                            </a:cubicBezTo>
                            <a:cubicBezTo>
                              <a:pt x="17846" y="5766"/>
                              <a:pt x="18145" y="6603"/>
                              <a:pt x="18384" y="7441"/>
                            </a:cubicBezTo>
                            <a:cubicBezTo>
                              <a:pt x="18564" y="8278"/>
                              <a:pt x="18683" y="9235"/>
                              <a:pt x="18623" y="10132"/>
                            </a:cubicBezTo>
                            <a:cubicBezTo>
                              <a:pt x="18564" y="11089"/>
                              <a:pt x="18384" y="11986"/>
                              <a:pt x="18085" y="12943"/>
                            </a:cubicBezTo>
                            <a:cubicBezTo>
                              <a:pt x="17667" y="14199"/>
                              <a:pt x="17009" y="15335"/>
                              <a:pt x="16231" y="16232"/>
                            </a:cubicBezTo>
                            <a:cubicBezTo>
                              <a:pt x="15454" y="17189"/>
                              <a:pt x="14497" y="17967"/>
                              <a:pt x="13480" y="18565"/>
                            </a:cubicBezTo>
                            <a:cubicBezTo>
                              <a:pt x="12463" y="19163"/>
                              <a:pt x="11387" y="19582"/>
                              <a:pt x="10251" y="19761"/>
                            </a:cubicBezTo>
                            <a:cubicBezTo>
                              <a:pt x="9114" y="19940"/>
                              <a:pt x="7978" y="19880"/>
                              <a:pt x="6842" y="19522"/>
                            </a:cubicBezTo>
                            <a:cubicBezTo>
                              <a:pt x="6602" y="19462"/>
                              <a:pt x="6303" y="19342"/>
                              <a:pt x="6064" y="19283"/>
                            </a:cubicBezTo>
                            <a:cubicBezTo>
                              <a:pt x="5825" y="19163"/>
                              <a:pt x="5586" y="19043"/>
                              <a:pt x="5346" y="18924"/>
                            </a:cubicBezTo>
                            <a:cubicBezTo>
                              <a:pt x="5107" y="18804"/>
                              <a:pt x="4868" y="18625"/>
                              <a:pt x="4689" y="18505"/>
                            </a:cubicBezTo>
                            <a:cubicBezTo>
                              <a:pt x="4449" y="18326"/>
                              <a:pt x="4270" y="18206"/>
                              <a:pt x="4030" y="18026"/>
                            </a:cubicBezTo>
                            <a:cubicBezTo>
                              <a:pt x="3791" y="17847"/>
                              <a:pt x="3612" y="17668"/>
                              <a:pt x="3433" y="17429"/>
                            </a:cubicBezTo>
                            <a:cubicBezTo>
                              <a:pt x="3253" y="17189"/>
                              <a:pt x="3074" y="17010"/>
                              <a:pt x="2894" y="16771"/>
                            </a:cubicBezTo>
                            <a:cubicBezTo>
                              <a:pt x="2715" y="16531"/>
                              <a:pt x="2535" y="16292"/>
                              <a:pt x="2416" y="16053"/>
                            </a:cubicBezTo>
                            <a:cubicBezTo>
                              <a:pt x="2296" y="15814"/>
                              <a:pt x="2117" y="15515"/>
                              <a:pt x="1997" y="15276"/>
                            </a:cubicBezTo>
                            <a:cubicBezTo>
                              <a:pt x="1758" y="14737"/>
                              <a:pt x="1579" y="14139"/>
                              <a:pt x="1459" y="13601"/>
                            </a:cubicBezTo>
                            <a:cubicBezTo>
                              <a:pt x="1339" y="13063"/>
                              <a:pt x="1280" y="12405"/>
                              <a:pt x="1220" y="11807"/>
                            </a:cubicBezTo>
                            <a:cubicBezTo>
                              <a:pt x="1220" y="11209"/>
                              <a:pt x="1220" y="10610"/>
                              <a:pt x="1339" y="9953"/>
                            </a:cubicBezTo>
                            <a:cubicBezTo>
                              <a:pt x="1459" y="9355"/>
                              <a:pt x="1579" y="8756"/>
                              <a:pt x="1758" y="8099"/>
                            </a:cubicBezTo>
                            <a:cubicBezTo>
                              <a:pt x="1997" y="7501"/>
                              <a:pt x="2236" y="6902"/>
                              <a:pt x="2535" y="6364"/>
                            </a:cubicBezTo>
                            <a:cubicBezTo>
                              <a:pt x="2835" y="5826"/>
                              <a:pt x="3193" y="5288"/>
                              <a:pt x="3552" y="4809"/>
                            </a:cubicBezTo>
                            <a:cubicBezTo>
                              <a:pt x="3971" y="4331"/>
                              <a:pt x="4389" y="3852"/>
                              <a:pt x="4868" y="3493"/>
                            </a:cubicBezTo>
                            <a:cubicBezTo>
                              <a:pt x="5346" y="3075"/>
                              <a:pt x="5825" y="2716"/>
                              <a:pt x="6363" y="2417"/>
                            </a:cubicBezTo>
                            <a:cubicBezTo>
                              <a:pt x="6901" y="2118"/>
                              <a:pt x="7440" y="1819"/>
                              <a:pt x="7978" y="1639"/>
                            </a:cubicBezTo>
                            <a:cubicBezTo>
                              <a:pt x="8516" y="1460"/>
                              <a:pt x="9114" y="1281"/>
                              <a:pt x="9652" y="1221"/>
                            </a:cubicBezTo>
                            <a:cubicBezTo>
                              <a:pt x="10191" y="1161"/>
                              <a:pt x="10789" y="1101"/>
                              <a:pt x="11327" y="1161"/>
                            </a:cubicBezTo>
                            <a:cubicBezTo>
                              <a:pt x="11865" y="1221"/>
                              <a:pt x="12463" y="1340"/>
                              <a:pt x="13002" y="1460"/>
                            </a:cubicBezTo>
                            <a:cubicBezTo>
                              <a:pt x="13241" y="1520"/>
                              <a:pt x="13540" y="1639"/>
                              <a:pt x="13779" y="1759"/>
                            </a:cubicBezTo>
                            <a:cubicBezTo>
                              <a:pt x="14019" y="1879"/>
                              <a:pt x="14258" y="1998"/>
                              <a:pt x="14497" y="2118"/>
                            </a:cubicBezTo>
                            <a:cubicBezTo>
                              <a:pt x="14736" y="2238"/>
                              <a:pt x="14975" y="2417"/>
                              <a:pt x="15155" y="2537"/>
                            </a:cubicBezTo>
                            <a:cubicBezTo>
                              <a:pt x="15394" y="2716"/>
                              <a:pt x="15574" y="2895"/>
                              <a:pt x="15813" y="3075"/>
                            </a:cubicBezTo>
                            <a:moveTo>
                              <a:pt x="3193" y="19043"/>
                            </a:moveTo>
                            <a:cubicBezTo>
                              <a:pt x="3433" y="19223"/>
                              <a:pt x="3672" y="19402"/>
                              <a:pt x="3911" y="19582"/>
                            </a:cubicBezTo>
                            <a:cubicBezTo>
                              <a:pt x="4150" y="19761"/>
                              <a:pt x="4389" y="19940"/>
                              <a:pt x="4689" y="20060"/>
                            </a:cubicBezTo>
                            <a:cubicBezTo>
                              <a:pt x="4928" y="20180"/>
                              <a:pt x="5227" y="20359"/>
                              <a:pt x="5526" y="20479"/>
                            </a:cubicBezTo>
                            <a:cubicBezTo>
                              <a:pt x="5825" y="20599"/>
                              <a:pt x="6124" y="20718"/>
                              <a:pt x="6363" y="20778"/>
                            </a:cubicBezTo>
                            <a:cubicBezTo>
                              <a:pt x="7619" y="21137"/>
                              <a:pt x="8935" y="21196"/>
                              <a:pt x="10251" y="21017"/>
                            </a:cubicBezTo>
                            <a:cubicBezTo>
                              <a:pt x="11506" y="20838"/>
                              <a:pt x="12762" y="20359"/>
                              <a:pt x="13899" y="19701"/>
                            </a:cubicBezTo>
                            <a:cubicBezTo>
                              <a:pt x="15035" y="19043"/>
                              <a:pt x="16112" y="18146"/>
                              <a:pt x="16949" y="17070"/>
                            </a:cubicBezTo>
                            <a:cubicBezTo>
                              <a:pt x="17846" y="15993"/>
                              <a:pt x="18564" y="14737"/>
                              <a:pt x="19042" y="13362"/>
                            </a:cubicBezTo>
                            <a:cubicBezTo>
                              <a:pt x="19401" y="12285"/>
                              <a:pt x="19581" y="11209"/>
                              <a:pt x="19640" y="10132"/>
                            </a:cubicBezTo>
                            <a:cubicBezTo>
                              <a:pt x="19700" y="9055"/>
                              <a:pt x="19581" y="8039"/>
                              <a:pt x="19401" y="7082"/>
                            </a:cubicBezTo>
                            <a:cubicBezTo>
                              <a:pt x="19162" y="6125"/>
                              <a:pt x="18803" y="5168"/>
                              <a:pt x="18324" y="4331"/>
                            </a:cubicBezTo>
                            <a:cubicBezTo>
                              <a:pt x="17846" y="3493"/>
                              <a:pt x="17248" y="2776"/>
                              <a:pt x="16530" y="2118"/>
                            </a:cubicBezTo>
                            <a:cubicBezTo>
                              <a:pt x="16291" y="1938"/>
                              <a:pt x="16052" y="1759"/>
                              <a:pt x="15813" y="1579"/>
                            </a:cubicBezTo>
                            <a:cubicBezTo>
                              <a:pt x="15574" y="1400"/>
                              <a:pt x="15334" y="1221"/>
                              <a:pt x="15035" y="1101"/>
                            </a:cubicBezTo>
                            <a:cubicBezTo>
                              <a:pt x="14796" y="982"/>
                              <a:pt x="14497" y="802"/>
                              <a:pt x="14198" y="683"/>
                            </a:cubicBezTo>
                            <a:cubicBezTo>
                              <a:pt x="13899" y="563"/>
                              <a:pt x="13600" y="443"/>
                              <a:pt x="13301" y="384"/>
                            </a:cubicBezTo>
                            <a:cubicBezTo>
                              <a:pt x="12703" y="204"/>
                              <a:pt x="12045" y="84"/>
                              <a:pt x="11447" y="25"/>
                            </a:cubicBezTo>
                            <a:cubicBezTo>
                              <a:pt x="10789" y="-35"/>
                              <a:pt x="10191" y="25"/>
                              <a:pt x="9533" y="84"/>
                            </a:cubicBezTo>
                            <a:cubicBezTo>
                              <a:pt x="8875" y="144"/>
                              <a:pt x="8277" y="324"/>
                              <a:pt x="7619" y="563"/>
                            </a:cubicBezTo>
                            <a:cubicBezTo>
                              <a:pt x="6961" y="802"/>
                              <a:pt x="6363" y="1101"/>
                              <a:pt x="5765" y="1400"/>
                            </a:cubicBezTo>
                            <a:cubicBezTo>
                              <a:pt x="5167" y="1759"/>
                              <a:pt x="4569" y="2178"/>
                              <a:pt x="4090" y="2596"/>
                            </a:cubicBezTo>
                            <a:cubicBezTo>
                              <a:pt x="3612" y="3015"/>
                              <a:pt x="3074" y="3553"/>
                              <a:pt x="2655" y="4092"/>
                            </a:cubicBezTo>
                            <a:cubicBezTo>
                              <a:pt x="2236" y="4630"/>
                              <a:pt x="1818" y="5228"/>
                              <a:pt x="1459" y="5826"/>
                            </a:cubicBezTo>
                            <a:cubicBezTo>
                              <a:pt x="1100" y="6424"/>
                              <a:pt x="801" y="7142"/>
                              <a:pt x="622" y="7800"/>
                            </a:cubicBezTo>
                            <a:cubicBezTo>
                              <a:pt x="382" y="8457"/>
                              <a:pt x="203" y="9175"/>
                              <a:pt x="143" y="9893"/>
                            </a:cubicBezTo>
                            <a:cubicBezTo>
                              <a:pt x="23" y="10610"/>
                              <a:pt x="-36" y="11268"/>
                              <a:pt x="23" y="11926"/>
                            </a:cubicBezTo>
                            <a:cubicBezTo>
                              <a:pt x="23" y="12584"/>
                              <a:pt x="143" y="13302"/>
                              <a:pt x="263" y="13900"/>
                            </a:cubicBezTo>
                            <a:cubicBezTo>
                              <a:pt x="382" y="14558"/>
                              <a:pt x="622" y="15156"/>
                              <a:pt x="861" y="15814"/>
                            </a:cubicBezTo>
                            <a:cubicBezTo>
                              <a:pt x="981" y="16113"/>
                              <a:pt x="1160" y="16412"/>
                              <a:pt x="1339" y="16711"/>
                            </a:cubicBezTo>
                            <a:cubicBezTo>
                              <a:pt x="1519" y="17010"/>
                              <a:pt x="1698" y="17309"/>
                              <a:pt x="1877" y="17548"/>
                            </a:cubicBezTo>
                            <a:cubicBezTo>
                              <a:pt x="2057" y="17787"/>
                              <a:pt x="2296" y="18086"/>
                              <a:pt x="2476" y="18326"/>
                            </a:cubicBezTo>
                            <a:cubicBezTo>
                              <a:pt x="2775" y="18565"/>
                              <a:pt x="2954" y="18804"/>
                              <a:pt x="3193" y="19043"/>
                            </a:cubicBezTo>
                          </a:path>
                        </a:pathLst>
                      </a:custGeom>
                      <a:noFill/>
                      <a:ln w="6350" cap="flat">
                        <a:solidFill>
                          <a:schemeClr val="bg1">
                            <a:alpha val="40000"/>
                          </a:schemeClr>
                        </a:solidFill>
                        <a:prstDash val="solid"/>
                        <a:miter/>
                      </a:ln>
                    </p:spPr>
                    <p:txBody>
                      <a:bodyPr rtlCol="0" anchor="ctr"/>
                      <a:lstStyle/>
                      <a:p>
                        <a:endParaRPr lang="en-GB"/>
                      </a:p>
                    </p:txBody>
                  </p:sp>
                  <p:sp>
                    <p:nvSpPr>
                      <p:cNvPr id="7492" name="Vrije vorm: vorm 7491">
                        <a:extLst>
                          <a:ext uri="{FF2B5EF4-FFF2-40B4-BE49-F238E27FC236}">
                            <a16:creationId xmlns:a16="http://schemas.microsoft.com/office/drawing/2014/main" id="{7AD38781-C620-4D41-92E3-98D1529813E5}"/>
                          </a:ext>
                        </a:extLst>
                      </p:cNvPr>
                      <p:cNvSpPr/>
                      <p:nvPr/>
                    </p:nvSpPr>
                    <p:spPr>
                      <a:xfrm>
                        <a:off x="5053466" y="4951001"/>
                        <a:ext cx="12942" cy="13875"/>
                      </a:xfrm>
                      <a:custGeom>
                        <a:avLst/>
                        <a:gdLst>
                          <a:gd name="connsiteX0" fmla="*/ 11029 w 12942"/>
                          <a:gd name="connsiteY0" fmla="*/ 8672 h 13875"/>
                          <a:gd name="connsiteX1" fmla="*/ 9893 w 12942"/>
                          <a:gd name="connsiteY1" fmla="*/ 10466 h 13875"/>
                          <a:gd name="connsiteX2" fmla="*/ 8338 w 12942"/>
                          <a:gd name="connsiteY2" fmla="*/ 11722 h 13875"/>
                          <a:gd name="connsiteX3" fmla="*/ 6484 w 12942"/>
                          <a:gd name="connsiteY3" fmla="*/ 12320 h 13875"/>
                          <a:gd name="connsiteX4" fmla="*/ 4570 w 12942"/>
                          <a:gd name="connsiteY4" fmla="*/ 12201 h 13875"/>
                          <a:gd name="connsiteX5" fmla="*/ 4152 w 12942"/>
                          <a:gd name="connsiteY5" fmla="*/ 12081 h 13875"/>
                          <a:gd name="connsiteX6" fmla="*/ 3733 w 12942"/>
                          <a:gd name="connsiteY6" fmla="*/ 11902 h 13875"/>
                          <a:gd name="connsiteX7" fmla="*/ 3314 w 12942"/>
                          <a:gd name="connsiteY7" fmla="*/ 11662 h 13875"/>
                          <a:gd name="connsiteX8" fmla="*/ 2955 w 12942"/>
                          <a:gd name="connsiteY8" fmla="*/ 11364 h 13875"/>
                          <a:gd name="connsiteX9" fmla="*/ 2656 w 12942"/>
                          <a:gd name="connsiteY9" fmla="*/ 11065 h 13875"/>
                          <a:gd name="connsiteX10" fmla="*/ 2357 w 12942"/>
                          <a:gd name="connsiteY10" fmla="*/ 10765 h 13875"/>
                          <a:gd name="connsiteX11" fmla="*/ 2118 w 12942"/>
                          <a:gd name="connsiteY11" fmla="*/ 10406 h 13875"/>
                          <a:gd name="connsiteX12" fmla="*/ 1879 w 12942"/>
                          <a:gd name="connsiteY12" fmla="*/ 10048 h 13875"/>
                          <a:gd name="connsiteX13" fmla="*/ 1699 w 12942"/>
                          <a:gd name="connsiteY13" fmla="*/ 9689 h 13875"/>
                          <a:gd name="connsiteX14" fmla="*/ 1580 w 12942"/>
                          <a:gd name="connsiteY14" fmla="*/ 9330 h 13875"/>
                          <a:gd name="connsiteX15" fmla="*/ 1460 w 12942"/>
                          <a:gd name="connsiteY15" fmla="*/ 8911 h 13875"/>
                          <a:gd name="connsiteX16" fmla="*/ 1400 w 12942"/>
                          <a:gd name="connsiteY16" fmla="*/ 8493 h 13875"/>
                          <a:gd name="connsiteX17" fmla="*/ 1340 w 12942"/>
                          <a:gd name="connsiteY17" fmla="*/ 7775 h 13875"/>
                          <a:gd name="connsiteX18" fmla="*/ 1340 w 12942"/>
                          <a:gd name="connsiteY18" fmla="*/ 7057 h 13875"/>
                          <a:gd name="connsiteX19" fmla="*/ 1460 w 12942"/>
                          <a:gd name="connsiteY19" fmla="*/ 6280 h 13875"/>
                          <a:gd name="connsiteX20" fmla="*/ 1640 w 12942"/>
                          <a:gd name="connsiteY20" fmla="*/ 5502 h 13875"/>
                          <a:gd name="connsiteX21" fmla="*/ 1699 w 12942"/>
                          <a:gd name="connsiteY21" fmla="*/ 5323 h 13875"/>
                          <a:gd name="connsiteX22" fmla="*/ 1759 w 12942"/>
                          <a:gd name="connsiteY22" fmla="*/ 5203 h 13875"/>
                          <a:gd name="connsiteX23" fmla="*/ 1819 w 12942"/>
                          <a:gd name="connsiteY23" fmla="*/ 5084 h 13875"/>
                          <a:gd name="connsiteX24" fmla="*/ 1879 w 12942"/>
                          <a:gd name="connsiteY24" fmla="*/ 4964 h 13875"/>
                          <a:gd name="connsiteX25" fmla="*/ 1999 w 12942"/>
                          <a:gd name="connsiteY25" fmla="*/ 4665 h 13875"/>
                          <a:gd name="connsiteX26" fmla="*/ 2178 w 12942"/>
                          <a:gd name="connsiteY26" fmla="*/ 4366 h 13875"/>
                          <a:gd name="connsiteX27" fmla="*/ 2357 w 12942"/>
                          <a:gd name="connsiteY27" fmla="*/ 4127 h 13875"/>
                          <a:gd name="connsiteX28" fmla="*/ 2537 w 12942"/>
                          <a:gd name="connsiteY28" fmla="*/ 3888 h 13875"/>
                          <a:gd name="connsiteX29" fmla="*/ 2895 w 12942"/>
                          <a:gd name="connsiteY29" fmla="*/ 3409 h 13875"/>
                          <a:gd name="connsiteX30" fmla="*/ 3314 w 12942"/>
                          <a:gd name="connsiteY30" fmla="*/ 2990 h 13875"/>
                          <a:gd name="connsiteX31" fmla="*/ 3793 w 12942"/>
                          <a:gd name="connsiteY31" fmla="*/ 2572 h 13875"/>
                          <a:gd name="connsiteX32" fmla="*/ 4331 w 12942"/>
                          <a:gd name="connsiteY32" fmla="*/ 2213 h 13875"/>
                          <a:gd name="connsiteX33" fmla="*/ 5288 w 12942"/>
                          <a:gd name="connsiteY33" fmla="*/ 1794 h 13875"/>
                          <a:gd name="connsiteX34" fmla="*/ 6245 w 12942"/>
                          <a:gd name="connsiteY34" fmla="*/ 1555 h 13875"/>
                          <a:gd name="connsiteX35" fmla="*/ 7202 w 12942"/>
                          <a:gd name="connsiteY35" fmla="*/ 1495 h 13875"/>
                          <a:gd name="connsiteX36" fmla="*/ 8158 w 12942"/>
                          <a:gd name="connsiteY36" fmla="*/ 1675 h 13875"/>
                          <a:gd name="connsiteX37" fmla="*/ 8577 w 12942"/>
                          <a:gd name="connsiteY37" fmla="*/ 1854 h 13875"/>
                          <a:gd name="connsiteX38" fmla="*/ 8996 w 12942"/>
                          <a:gd name="connsiteY38" fmla="*/ 2093 h 13875"/>
                          <a:gd name="connsiteX39" fmla="*/ 9415 w 12942"/>
                          <a:gd name="connsiteY39" fmla="*/ 2333 h 13875"/>
                          <a:gd name="connsiteX40" fmla="*/ 9773 w 12942"/>
                          <a:gd name="connsiteY40" fmla="*/ 2632 h 13875"/>
                          <a:gd name="connsiteX41" fmla="*/ 10611 w 12942"/>
                          <a:gd name="connsiteY41" fmla="*/ 3589 h 13875"/>
                          <a:gd name="connsiteX42" fmla="*/ 11149 w 12942"/>
                          <a:gd name="connsiteY42" fmla="*/ 4785 h 13875"/>
                          <a:gd name="connsiteX43" fmla="*/ 11388 w 12942"/>
                          <a:gd name="connsiteY43" fmla="*/ 6100 h 13875"/>
                          <a:gd name="connsiteX44" fmla="*/ 11328 w 12942"/>
                          <a:gd name="connsiteY44" fmla="*/ 7476 h 13875"/>
                          <a:gd name="connsiteX45" fmla="*/ 11328 w 12942"/>
                          <a:gd name="connsiteY45" fmla="*/ 7476 h 13875"/>
                          <a:gd name="connsiteX46" fmla="*/ 11328 w 12942"/>
                          <a:gd name="connsiteY46" fmla="*/ 7476 h 13875"/>
                          <a:gd name="connsiteX47" fmla="*/ 11328 w 12942"/>
                          <a:gd name="connsiteY47" fmla="*/ 7476 h 13875"/>
                          <a:gd name="connsiteX48" fmla="*/ 11328 w 12942"/>
                          <a:gd name="connsiteY48" fmla="*/ 7476 h 13875"/>
                          <a:gd name="connsiteX49" fmla="*/ 11269 w 12942"/>
                          <a:gd name="connsiteY49" fmla="*/ 7715 h 13875"/>
                          <a:gd name="connsiteX50" fmla="*/ 11209 w 12942"/>
                          <a:gd name="connsiteY50" fmla="*/ 7954 h 13875"/>
                          <a:gd name="connsiteX51" fmla="*/ 11149 w 12942"/>
                          <a:gd name="connsiteY51" fmla="*/ 8194 h 13875"/>
                          <a:gd name="connsiteX52" fmla="*/ 11089 w 12942"/>
                          <a:gd name="connsiteY52" fmla="*/ 8433 h 13875"/>
                          <a:gd name="connsiteX53" fmla="*/ 11089 w 12942"/>
                          <a:gd name="connsiteY53" fmla="*/ 8493 h 13875"/>
                          <a:gd name="connsiteX54" fmla="*/ 11089 w 12942"/>
                          <a:gd name="connsiteY54" fmla="*/ 8552 h 13875"/>
                          <a:gd name="connsiteX55" fmla="*/ 11089 w 12942"/>
                          <a:gd name="connsiteY55" fmla="*/ 8612 h 13875"/>
                          <a:gd name="connsiteX56" fmla="*/ 11029 w 12942"/>
                          <a:gd name="connsiteY56" fmla="*/ 8672 h 13875"/>
                          <a:gd name="connsiteX57" fmla="*/ 11029 w 12942"/>
                          <a:gd name="connsiteY57" fmla="*/ 8672 h 13875"/>
                          <a:gd name="connsiteX58" fmla="*/ 11029 w 12942"/>
                          <a:gd name="connsiteY58" fmla="*/ 8672 h 13875"/>
                          <a:gd name="connsiteX59" fmla="*/ 11029 w 12942"/>
                          <a:gd name="connsiteY59" fmla="*/ 8672 h 13875"/>
                          <a:gd name="connsiteX60" fmla="*/ 11029 w 12942"/>
                          <a:gd name="connsiteY60" fmla="*/ 8672 h 13875"/>
                          <a:gd name="connsiteX61" fmla="*/ 2895 w 12942"/>
                          <a:gd name="connsiteY61" fmla="*/ 11483 h 13875"/>
                          <a:gd name="connsiteX62" fmla="*/ 3254 w 12942"/>
                          <a:gd name="connsiteY62" fmla="*/ 11782 h 13875"/>
                          <a:gd name="connsiteX63" fmla="*/ 3673 w 12942"/>
                          <a:gd name="connsiteY63" fmla="*/ 12021 h 13875"/>
                          <a:gd name="connsiteX64" fmla="*/ 4092 w 12942"/>
                          <a:gd name="connsiteY64" fmla="*/ 12260 h 13875"/>
                          <a:gd name="connsiteX65" fmla="*/ 4570 w 12942"/>
                          <a:gd name="connsiteY65" fmla="*/ 12440 h 13875"/>
                          <a:gd name="connsiteX66" fmla="*/ 6603 w 12942"/>
                          <a:gd name="connsiteY66" fmla="*/ 12560 h 13875"/>
                          <a:gd name="connsiteX67" fmla="*/ 8577 w 12942"/>
                          <a:gd name="connsiteY67" fmla="*/ 11842 h 13875"/>
                          <a:gd name="connsiteX68" fmla="*/ 10192 w 12942"/>
                          <a:gd name="connsiteY68" fmla="*/ 10406 h 13875"/>
                          <a:gd name="connsiteX69" fmla="*/ 11328 w 12942"/>
                          <a:gd name="connsiteY69" fmla="*/ 8433 h 13875"/>
                          <a:gd name="connsiteX70" fmla="*/ 11627 w 12942"/>
                          <a:gd name="connsiteY70" fmla="*/ 6758 h 13875"/>
                          <a:gd name="connsiteX71" fmla="*/ 11508 w 12942"/>
                          <a:gd name="connsiteY71" fmla="*/ 5143 h 13875"/>
                          <a:gd name="connsiteX72" fmla="*/ 10910 w 12942"/>
                          <a:gd name="connsiteY72" fmla="*/ 3708 h 13875"/>
                          <a:gd name="connsiteX73" fmla="*/ 9953 w 12942"/>
                          <a:gd name="connsiteY73" fmla="*/ 2512 h 13875"/>
                          <a:gd name="connsiteX74" fmla="*/ 9594 w 12942"/>
                          <a:gd name="connsiteY74" fmla="*/ 2213 h 13875"/>
                          <a:gd name="connsiteX75" fmla="*/ 9175 w 12942"/>
                          <a:gd name="connsiteY75" fmla="*/ 1974 h 13875"/>
                          <a:gd name="connsiteX76" fmla="*/ 8756 w 12942"/>
                          <a:gd name="connsiteY76" fmla="*/ 1734 h 13875"/>
                          <a:gd name="connsiteX77" fmla="*/ 8278 w 12942"/>
                          <a:gd name="connsiteY77" fmla="*/ 1555 h 13875"/>
                          <a:gd name="connsiteX78" fmla="*/ 6245 w 12942"/>
                          <a:gd name="connsiteY78" fmla="*/ 1435 h 13875"/>
                          <a:gd name="connsiteX79" fmla="*/ 4271 w 12942"/>
                          <a:gd name="connsiteY79" fmla="*/ 2153 h 13875"/>
                          <a:gd name="connsiteX80" fmla="*/ 2656 w 12942"/>
                          <a:gd name="connsiteY80" fmla="*/ 3589 h 13875"/>
                          <a:gd name="connsiteX81" fmla="*/ 1520 w 12942"/>
                          <a:gd name="connsiteY81" fmla="*/ 5562 h 13875"/>
                          <a:gd name="connsiteX82" fmla="*/ 1281 w 12942"/>
                          <a:gd name="connsiteY82" fmla="*/ 6639 h 13875"/>
                          <a:gd name="connsiteX83" fmla="*/ 1221 w 12942"/>
                          <a:gd name="connsiteY83" fmla="*/ 7715 h 13875"/>
                          <a:gd name="connsiteX84" fmla="*/ 1340 w 12942"/>
                          <a:gd name="connsiteY84" fmla="*/ 8792 h 13875"/>
                          <a:gd name="connsiteX85" fmla="*/ 1640 w 12942"/>
                          <a:gd name="connsiteY85" fmla="*/ 9808 h 13875"/>
                          <a:gd name="connsiteX86" fmla="*/ 1879 w 12942"/>
                          <a:gd name="connsiteY86" fmla="*/ 10287 h 13875"/>
                          <a:gd name="connsiteX87" fmla="*/ 2178 w 12942"/>
                          <a:gd name="connsiteY87" fmla="*/ 10705 h 13875"/>
                          <a:gd name="connsiteX88" fmla="*/ 2537 w 12942"/>
                          <a:gd name="connsiteY88" fmla="*/ 11124 h 13875"/>
                          <a:gd name="connsiteX89" fmla="*/ 2895 w 12942"/>
                          <a:gd name="connsiteY89" fmla="*/ 11483 h 13875"/>
                          <a:gd name="connsiteX90" fmla="*/ 10730 w 12942"/>
                          <a:gd name="connsiteY90" fmla="*/ 1495 h 13875"/>
                          <a:gd name="connsiteX91" fmla="*/ 11867 w 12942"/>
                          <a:gd name="connsiteY91" fmla="*/ 2930 h 13875"/>
                          <a:gd name="connsiteX92" fmla="*/ 12584 w 12942"/>
                          <a:gd name="connsiteY92" fmla="*/ 4665 h 13875"/>
                          <a:gd name="connsiteX93" fmla="*/ 12764 w 12942"/>
                          <a:gd name="connsiteY93" fmla="*/ 6639 h 13875"/>
                          <a:gd name="connsiteX94" fmla="*/ 12345 w 12942"/>
                          <a:gd name="connsiteY94" fmla="*/ 8672 h 13875"/>
                          <a:gd name="connsiteX95" fmla="*/ 10970 w 12942"/>
                          <a:gd name="connsiteY95" fmla="*/ 11124 h 13875"/>
                          <a:gd name="connsiteX96" fmla="*/ 8996 w 12942"/>
                          <a:gd name="connsiteY96" fmla="*/ 12859 h 13875"/>
                          <a:gd name="connsiteX97" fmla="*/ 6603 w 12942"/>
                          <a:gd name="connsiteY97" fmla="*/ 13756 h 13875"/>
                          <a:gd name="connsiteX98" fmla="*/ 4152 w 12942"/>
                          <a:gd name="connsiteY98" fmla="*/ 13636 h 13875"/>
                          <a:gd name="connsiteX99" fmla="*/ 3613 w 12942"/>
                          <a:gd name="connsiteY99" fmla="*/ 13457 h 13875"/>
                          <a:gd name="connsiteX100" fmla="*/ 3075 w 12942"/>
                          <a:gd name="connsiteY100" fmla="*/ 13218 h 13875"/>
                          <a:gd name="connsiteX101" fmla="*/ 2596 w 12942"/>
                          <a:gd name="connsiteY101" fmla="*/ 12919 h 13875"/>
                          <a:gd name="connsiteX102" fmla="*/ 2118 w 12942"/>
                          <a:gd name="connsiteY102" fmla="*/ 12560 h 13875"/>
                          <a:gd name="connsiteX103" fmla="*/ 1640 w 12942"/>
                          <a:gd name="connsiteY103" fmla="*/ 12141 h 13875"/>
                          <a:gd name="connsiteX104" fmla="*/ 1221 w 12942"/>
                          <a:gd name="connsiteY104" fmla="*/ 11662 h 13875"/>
                          <a:gd name="connsiteX105" fmla="*/ 862 w 12942"/>
                          <a:gd name="connsiteY105" fmla="*/ 11124 h 13875"/>
                          <a:gd name="connsiteX106" fmla="*/ 563 w 12942"/>
                          <a:gd name="connsiteY106" fmla="*/ 10526 h 13875"/>
                          <a:gd name="connsiteX107" fmla="*/ 204 w 12942"/>
                          <a:gd name="connsiteY107" fmla="*/ 9270 h 13875"/>
                          <a:gd name="connsiteX108" fmla="*/ 25 w 12942"/>
                          <a:gd name="connsiteY108" fmla="*/ 7954 h 13875"/>
                          <a:gd name="connsiteX109" fmla="*/ 85 w 12942"/>
                          <a:gd name="connsiteY109" fmla="*/ 6639 h 13875"/>
                          <a:gd name="connsiteX110" fmla="*/ 384 w 12942"/>
                          <a:gd name="connsiteY110" fmla="*/ 5323 h 13875"/>
                          <a:gd name="connsiteX111" fmla="*/ 1759 w 12942"/>
                          <a:gd name="connsiteY111" fmla="*/ 2871 h 13875"/>
                          <a:gd name="connsiteX112" fmla="*/ 3793 w 12942"/>
                          <a:gd name="connsiteY112" fmla="*/ 1136 h 13875"/>
                          <a:gd name="connsiteX113" fmla="*/ 6185 w 12942"/>
                          <a:gd name="connsiteY113" fmla="*/ 299 h 13875"/>
                          <a:gd name="connsiteX114" fmla="*/ 8697 w 12942"/>
                          <a:gd name="connsiteY114" fmla="*/ 479 h 13875"/>
                          <a:gd name="connsiteX115" fmla="*/ 9235 w 12942"/>
                          <a:gd name="connsiteY115" fmla="*/ 718 h 13875"/>
                          <a:gd name="connsiteX116" fmla="*/ 9773 w 12942"/>
                          <a:gd name="connsiteY116" fmla="*/ 1017 h 13875"/>
                          <a:gd name="connsiteX117" fmla="*/ 10252 w 12942"/>
                          <a:gd name="connsiteY117" fmla="*/ 1316 h 13875"/>
                          <a:gd name="connsiteX118" fmla="*/ 10730 w 12942"/>
                          <a:gd name="connsiteY118" fmla="*/ 1495 h 13875"/>
                          <a:gd name="connsiteX119" fmla="*/ 1999 w 12942"/>
                          <a:gd name="connsiteY119" fmla="*/ 12560 h 13875"/>
                          <a:gd name="connsiteX120" fmla="*/ 2477 w 12942"/>
                          <a:gd name="connsiteY120" fmla="*/ 12919 h 13875"/>
                          <a:gd name="connsiteX121" fmla="*/ 3015 w 12942"/>
                          <a:gd name="connsiteY121" fmla="*/ 13218 h 13875"/>
                          <a:gd name="connsiteX122" fmla="*/ 3553 w 12942"/>
                          <a:gd name="connsiteY122" fmla="*/ 13457 h 13875"/>
                          <a:gd name="connsiteX123" fmla="*/ 4092 w 12942"/>
                          <a:gd name="connsiteY123" fmla="*/ 13636 h 13875"/>
                          <a:gd name="connsiteX124" fmla="*/ 5587 w 12942"/>
                          <a:gd name="connsiteY124" fmla="*/ 13875 h 13875"/>
                          <a:gd name="connsiteX125" fmla="*/ 7082 w 12942"/>
                          <a:gd name="connsiteY125" fmla="*/ 13696 h 13875"/>
                          <a:gd name="connsiteX126" fmla="*/ 8517 w 12942"/>
                          <a:gd name="connsiteY126" fmla="*/ 13218 h 13875"/>
                          <a:gd name="connsiteX127" fmla="*/ 9833 w 12942"/>
                          <a:gd name="connsiteY127" fmla="*/ 12440 h 13875"/>
                          <a:gd name="connsiteX128" fmla="*/ 10670 w 12942"/>
                          <a:gd name="connsiteY128" fmla="*/ 11662 h 13875"/>
                          <a:gd name="connsiteX129" fmla="*/ 11388 w 12942"/>
                          <a:gd name="connsiteY129" fmla="*/ 10765 h 13875"/>
                          <a:gd name="connsiteX130" fmla="*/ 11986 w 12942"/>
                          <a:gd name="connsiteY130" fmla="*/ 9749 h 13875"/>
                          <a:gd name="connsiteX131" fmla="*/ 12465 w 12942"/>
                          <a:gd name="connsiteY131" fmla="*/ 8612 h 13875"/>
                          <a:gd name="connsiteX132" fmla="*/ 12524 w 12942"/>
                          <a:gd name="connsiteY132" fmla="*/ 8433 h 13875"/>
                          <a:gd name="connsiteX133" fmla="*/ 12584 w 12942"/>
                          <a:gd name="connsiteY133" fmla="*/ 8253 h 13875"/>
                          <a:gd name="connsiteX134" fmla="*/ 12644 w 12942"/>
                          <a:gd name="connsiteY134" fmla="*/ 8074 h 13875"/>
                          <a:gd name="connsiteX135" fmla="*/ 12704 w 12942"/>
                          <a:gd name="connsiteY135" fmla="*/ 7895 h 13875"/>
                          <a:gd name="connsiteX136" fmla="*/ 12704 w 12942"/>
                          <a:gd name="connsiteY136" fmla="*/ 7895 h 13875"/>
                          <a:gd name="connsiteX137" fmla="*/ 12704 w 12942"/>
                          <a:gd name="connsiteY137" fmla="*/ 7895 h 13875"/>
                          <a:gd name="connsiteX138" fmla="*/ 12704 w 12942"/>
                          <a:gd name="connsiteY138" fmla="*/ 7895 h 13875"/>
                          <a:gd name="connsiteX139" fmla="*/ 12704 w 12942"/>
                          <a:gd name="connsiteY139" fmla="*/ 7895 h 13875"/>
                          <a:gd name="connsiteX140" fmla="*/ 12943 w 12942"/>
                          <a:gd name="connsiteY140" fmla="*/ 6041 h 13875"/>
                          <a:gd name="connsiteX141" fmla="*/ 12704 w 12942"/>
                          <a:gd name="connsiteY141" fmla="*/ 4246 h 13875"/>
                          <a:gd name="connsiteX142" fmla="*/ 11986 w 12942"/>
                          <a:gd name="connsiteY142" fmla="*/ 2632 h 13875"/>
                          <a:gd name="connsiteX143" fmla="*/ 10850 w 12942"/>
                          <a:gd name="connsiteY143" fmla="*/ 1316 h 13875"/>
                          <a:gd name="connsiteX144" fmla="*/ 10371 w 12942"/>
                          <a:gd name="connsiteY144" fmla="*/ 957 h 13875"/>
                          <a:gd name="connsiteX145" fmla="*/ 9833 w 12942"/>
                          <a:gd name="connsiteY145" fmla="*/ 658 h 13875"/>
                          <a:gd name="connsiteX146" fmla="*/ 9295 w 12942"/>
                          <a:gd name="connsiteY146" fmla="*/ 419 h 13875"/>
                          <a:gd name="connsiteX147" fmla="*/ 8756 w 12942"/>
                          <a:gd name="connsiteY147" fmla="*/ 239 h 13875"/>
                          <a:gd name="connsiteX148" fmla="*/ 7501 w 12942"/>
                          <a:gd name="connsiteY148" fmla="*/ 0 h 13875"/>
                          <a:gd name="connsiteX149" fmla="*/ 6245 w 12942"/>
                          <a:gd name="connsiteY149" fmla="*/ 60 h 13875"/>
                          <a:gd name="connsiteX150" fmla="*/ 4989 w 12942"/>
                          <a:gd name="connsiteY150" fmla="*/ 359 h 13875"/>
                          <a:gd name="connsiteX151" fmla="*/ 3793 w 12942"/>
                          <a:gd name="connsiteY151" fmla="*/ 897 h 13875"/>
                          <a:gd name="connsiteX152" fmla="*/ 3075 w 12942"/>
                          <a:gd name="connsiteY152" fmla="*/ 1375 h 13875"/>
                          <a:gd name="connsiteX153" fmla="*/ 2417 w 12942"/>
                          <a:gd name="connsiteY153" fmla="*/ 1974 h 13875"/>
                          <a:gd name="connsiteX154" fmla="*/ 1819 w 12942"/>
                          <a:gd name="connsiteY154" fmla="*/ 2632 h 13875"/>
                          <a:gd name="connsiteX155" fmla="*/ 1281 w 12942"/>
                          <a:gd name="connsiteY155" fmla="*/ 3349 h 13875"/>
                          <a:gd name="connsiteX156" fmla="*/ 1101 w 12942"/>
                          <a:gd name="connsiteY156" fmla="*/ 3589 h 13875"/>
                          <a:gd name="connsiteX157" fmla="*/ 922 w 12942"/>
                          <a:gd name="connsiteY157" fmla="*/ 3888 h 13875"/>
                          <a:gd name="connsiteX158" fmla="*/ 802 w 12942"/>
                          <a:gd name="connsiteY158" fmla="*/ 4187 h 13875"/>
                          <a:gd name="connsiteX159" fmla="*/ 683 w 12942"/>
                          <a:gd name="connsiteY159" fmla="*/ 4486 h 13875"/>
                          <a:gd name="connsiteX160" fmla="*/ 623 w 12942"/>
                          <a:gd name="connsiteY160" fmla="*/ 4665 h 13875"/>
                          <a:gd name="connsiteX161" fmla="*/ 563 w 12942"/>
                          <a:gd name="connsiteY161" fmla="*/ 4844 h 13875"/>
                          <a:gd name="connsiteX162" fmla="*/ 503 w 12942"/>
                          <a:gd name="connsiteY162" fmla="*/ 5024 h 13875"/>
                          <a:gd name="connsiteX163" fmla="*/ 443 w 12942"/>
                          <a:gd name="connsiteY163" fmla="*/ 5203 h 13875"/>
                          <a:gd name="connsiteX164" fmla="*/ 85 w 12942"/>
                          <a:gd name="connsiteY164" fmla="*/ 6639 h 13875"/>
                          <a:gd name="connsiteX165" fmla="*/ 25 w 12942"/>
                          <a:gd name="connsiteY165" fmla="*/ 8074 h 13875"/>
                          <a:gd name="connsiteX166" fmla="*/ 204 w 12942"/>
                          <a:gd name="connsiteY166" fmla="*/ 9450 h 13875"/>
                          <a:gd name="connsiteX167" fmla="*/ 623 w 12942"/>
                          <a:gd name="connsiteY167" fmla="*/ 10705 h 13875"/>
                          <a:gd name="connsiteX168" fmla="*/ 802 w 12942"/>
                          <a:gd name="connsiteY168" fmla="*/ 11005 h 13875"/>
                          <a:gd name="connsiteX169" fmla="*/ 982 w 12942"/>
                          <a:gd name="connsiteY169" fmla="*/ 11304 h 13875"/>
                          <a:gd name="connsiteX170" fmla="*/ 1161 w 12942"/>
                          <a:gd name="connsiteY170" fmla="*/ 11603 h 13875"/>
                          <a:gd name="connsiteX171" fmla="*/ 1340 w 12942"/>
                          <a:gd name="connsiteY171" fmla="*/ 11902 h 13875"/>
                          <a:gd name="connsiteX172" fmla="*/ 1520 w 12942"/>
                          <a:gd name="connsiteY172" fmla="*/ 12141 h 13875"/>
                          <a:gd name="connsiteX173" fmla="*/ 1699 w 12942"/>
                          <a:gd name="connsiteY173" fmla="*/ 12380 h 13875"/>
                          <a:gd name="connsiteX174" fmla="*/ 1879 w 12942"/>
                          <a:gd name="connsiteY174" fmla="*/ 12560 h 13875"/>
                          <a:gd name="connsiteX175" fmla="*/ 1999 w 12942"/>
                          <a:gd name="connsiteY175" fmla="*/ 12560 h 1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12942" h="13875">
                            <a:moveTo>
                              <a:pt x="11029" y="8672"/>
                            </a:moveTo>
                            <a:cubicBezTo>
                              <a:pt x="10730" y="9330"/>
                              <a:pt x="10371" y="9928"/>
                              <a:pt x="9893" y="10466"/>
                            </a:cubicBezTo>
                            <a:cubicBezTo>
                              <a:pt x="9415" y="11005"/>
                              <a:pt x="8876" y="11423"/>
                              <a:pt x="8338" y="11722"/>
                            </a:cubicBezTo>
                            <a:cubicBezTo>
                              <a:pt x="7800" y="12021"/>
                              <a:pt x="7142" y="12260"/>
                              <a:pt x="6484" y="12320"/>
                            </a:cubicBezTo>
                            <a:cubicBezTo>
                              <a:pt x="5826" y="12380"/>
                              <a:pt x="5168" y="12380"/>
                              <a:pt x="4570" y="12201"/>
                            </a:cubicBezTo>
                            <a:cubicBezTo>
                              <a:pt x="4391" y="12141"/>
                              <a:pt x="4271" y="12081"/>
                              <a:pt x="4152" y="12081"/>
                            </a:cubicBezTo>
                            <a:cubicBezTo>
                              <a:pt x="4032" y="12081"/>
                              <a:pt x="3853" y="11961"/>
                              <a:pt x="3733" y="11902"/>
                            </a:cubicBezTo>
                            <a:cubicBezTo>
                              <a:pt x="3613" y="11842"/>
                              <a:pt x="3434" y="11722"/>
                              <a:pt x="3314" y="11662"/>
                            </a:cubicBezTo>
                            <a:cubicBezTo>
                              <a:pt x="3194" y="11603"/>
                              <a:pt x="3075" y="11483"/>
                              <a:pt x="2955" y="11364"/>
                            </a:cubicBezTo>
                            <a:cubicBezTo>
                              <a:pt x="2836" y="11244"/>
                              <a:pt x="2776" y="11184"/>
                              <a:pt x="2656" y="11065"/>
                            </a:cubicBezTo>
                            <a:cubicBezTo>
                              <a:pt x="2537" y="10945"/>
                              <a:pt x="2477" y="10885"/>
                              <a:pt x="2357" y="10765"/>
                            </a:cubicBezTo>
                            <a:cubicBezTo>
                              <a:pt x="2298" y="10646"/>
                              <a:pt x="2178" y="10526"/>
                              <a:pt x="2118" y="10406"/>
                            </a:cubicBezTo>
                            <a:cubicBezTo>
                              <a:pt x="2058" y="10287"/>
                              <a:pt x="1999" y="10167"/>
                              <a:pt x="1879" y="10048"/>
                            </a:cubicBezTo>
                            <a:cubicBezTo>
                              <a:pt x="1819" y="9928"/>
                              <a:pt x="1759" y="9808"/>
                              <a:pt x="1699" y="9689"/>
                            </a:cubicBezTo>
                            <a:cubicBezTo>
                              <a:pt x="1640" y="9569"/>
                              <a:pt x="1580" y="9450"/>
                              <a:pt x="1580" y="9330"/>
                            </a:cubicBezTo>
                            <a:cubicBezTo>
                              <a:pt x="1520" y="9210"/>
                              <a:pt x="1520" y="9091"/>
                              <a:pt x="1460" y="8911"/>
                            </a:cubicBezTo>
                            <a:cubicBezTo>
                              <a:pt x="1400" y="8792"/>
                              <a:pt x="1400" y="8672"/>
                              <a:pt x="1400" y="8493"/>
                            </a:cubicBezTo>
                            <a:cubicBezTo>
                              <a:pt x="1340" y="8253"/>
                              <a:pt x="1340" y="8014"/>
                              <a:pt x="1340" y="7775"/>
                            </a:cubicBezTo>
                            <a:cubicBezTo>
                              <a:pt x="1340" y="7536"/>
                              <a:pt x="1340" y="7297"/>
                              <a:pt x="1340" y="7057"/>
                            </a:cubicBezTo>
                            <a:cubicBezTo>
                              <a:pt x="1340" y="6818"/>
                              <a:pt x="1400" y="6579"/>
                              <a:pt x="1460" y="6280"/>
                            </a:cubicBezTo>
                            <a:cubicBezTo>
                              <a:pt x="1520" y="6041"/>
                              <a:pt x="1580" y="5801"/>
                              <a:pt x="1640" y="5502"/>
                            </a:cubicBezTo>
                            <a:cubicBezTo>
                              <a:pt x="1640" y="5443"/>
                              <a:pt x="1699" y="5383"/>
                              <a:pt x="1699" y="5323"/>
                            </a:cubicBezTo>
                            <a:cubicBezTo>
                              <a:pt x="1699" y="5263"/>
                              <a:pt x="1759" y="5203"/>
                              <a:pt x="1759" y="5203"/>
                            </a:cubicBezTo>
                            <a:cubicBezTo>
                              <a:pt x="1759" y="5143"/>
                              <a:pt x="1819" y="5084"/>
                              <a:pt x="1819" y="5084"/>
                            </a:cubicBezTo>
                            <a:cubicBezTo>
                              <a:pt x="1819" y="5024"/>
                              <a:pt x="1879" y="4964"/>
                              <a:pt x="1879" y="4964"/>
                            </a:cubicBezTo>
                            <a:cubicBezTo>
                              <a:pt x="1939" y="4844"/>
                              <a:pt x="1999" y="4785"/>
                              <a:pt x="1999" y="4665"/>
                            </a:cubicBezTo>
                            <a:cubicBezTo>
                              <a:pt x="2058" y="4545"/>
                              <a:pt x="2118" y="4486"/>
                              <a:pt x="2178" y="4366"/>
                            </a:cubicBezTo>
                            <a:cubicBezTo>
                              <a:pt x="2238" y="4246"/>
                              <a:pt x="2298" y="4187"/>
                              <a:pt x="2357" y="4127"/>
                            </a:cubicBezTo>
                            <a:cubicBezTo>
                              <a:pt x="2417" y="4067"/>
                              <a:pt x="2477" y="3947"/>
                              <a:pt x="2537" y="3888"/>
                            </a:cubicBezTo>
                            <a:cubicBezTo>
                              <a:pt x="2656" y="3708"/>
                              <a:pt x="2776" y="3529"/>
                              <a:pt x="2895" y="3409"/>
                            </a:cubicBezTo>
                            <a:cubicBezTo>
                              <a:pt x="3015" y="3229"/>
                              <a:pt x="3194" y="3110"/>
                              <a:pt x="3314" y="2990"/>
                            </a:cubicBezTo>
                            <a:cubicBezTo>
                              <a:pt x="3494" y="2871"/>
                              <a:pt x="3613" y="2691"/>
                              <a:pt x="3793" y="2572"/>
                            </a:cubicBezTo>
                            <a:cubicBezTo>
                              <a:pt x="3972" y="2452"/>
                              <a:pt x="4152" y="2333"/>
                              <a:pt x="4331" y="2213"/>
                            </a:cubicBezTo>
                            <a:cubicBezTo>
                              <a:pt x="4630" y="2034"/>
                              <a:pt x="4989" y="1914"/>
                              <a:pt x="5288" y="1794"/>
                            </a:cubicBezTo>
                            <a:cubicBezTo>
                              <a:pt x="5587" y="1675"/>
                              <a:pt x="5946" y="1615"/>
                              <a:pt x="6245" y="1555"/>
                            </a:cubicBezTo>
                            <a:cubicBezTo>
                              <a:pt x="6544" y="1495"/>
                              <a:pt x="6902" y="1495"/>
                              <a:pt x="7202" y="1495"/>
                            </a:cubicBezTo>
                            <a:cubicBezTo>
                              <a:pt x="7501" y="1495"/>
                              <a:pt x="7860" y="1555"/>
                              <a:pt x="8158" y="1675"/>
                            </a:cubicBezTo>
                            <a:cubicBezTo>
                              <a:pt x="8338" y="1734"/>
                              <a:pt x="8457" y="1794"/>
                              <a:pt x="8577" y="1854"/>
                            </a:cubicBezTo>
                            <a:cubicBezTo>
                              <a:pt x="8697" y="1914"/>
                              <a:pt x="8876" y="1974"/>
                              <a:pt x="8996" y="2093"/>
                            </a:cubicBezTo>
                            <a:cubicBezTo>
                              <a:pt x="9116" y="2153"/>
                              <a:pt x="9235" y="2273"/>
                              <a:pt x="9415" y="2333"/>
                            </a:cubicBezTo>
                            <a:cubicBezTo>
                              <a:pt x="9534" y="2452"/>
                              <a:pt x="9654" y="2512"/>
                              <a:pt x="9773" y="2632"/>
                            </a:cubicBezTo>
                            <a:cubicBezTo>
                              <a:pt x="10072" y="2930"/>
                              <a:pt x="10371" y="3229"/>
                              <a:pt x="10611" y="3589"/>
                            </a:cubicBezTo>
                            <a:cubicBezTo>
                              <a:pt x="10850" y="3947"/>
                              <a:pt x="11029" y="4366"/>
                              <a:pt x="11149" y="4785"/>
                            </a:cubicBezTo>
                            <a:cubicBezTo>
                              <a:pt x="11269" y="5203"/>
                              <a:pt x="11328" y="5622"/>
                              <a:pt x="11388" y="6100"/>
                            </a:cubicBezTo>
                            <a:cubicBezTo>
                              <a:pt x="11388" y="6579"/>
                              <a:pt x="11388" y="6997"/>
                              <a:pt x="11328" y="7476"/>
                            </a:cubicBezTo>
                            <a:cubicBezTo>
                              <a:pt x="11328" y="7476"/>
                              <a:pt x="11328" y="7476"/>
                              <a:pt x="11328" y="7476"/>
                            </a:cubicBezTo>
                            <a:cubicBezTo>
                              <a:pt x="11328" y="7476"/>
                              <a:pt x="11328" y="7476"/>
                              <a:pt x="11328" y="7476"/>
                            </a:cubicBezTo>
                            <a:cubicBezTo>
                              <a:pt x="11328" y="7476"/>
                              <a:pt x="11328" y="7476"/>
                              <a:pt x="11328" y="7476"/>
                            </a:cubicBezTo>
                            <a:cubicBezTo>
                              <a:pt x="11328" y="7476"/>
                              <a:pt x="11328" y="7476"/>
                              <a:pt x="11328" y="7476"/>
                            </a:cubicBezTo>
                            <a:cubicBezTo>
                              <a:pt x="11328" y="7536"/>
                              <a:pt x="11328" y="7655"/>
                              <a:pt x="11269" y="7715"/>
                            </a:cubicBezTo>
                            <a:cubicBezTo>
                              <a:pt x="11269" y="7775"/>
                              <a:pt x="11209" y="7895"/>
                              <a:pt x="11209" y="7954"/>
                            </a:cubicBezTo>
                            <a:cubicBezTo>
                              <a:pt x="11209" y="8014"/>
                              <a:pt x="11149" y="8134"/>
                              <a:pt x="11149" y="8194"/>
                            </a:cubicBezTo>
                            <a:cubicBezTo>
                              <a:pt x="11149" y="8253"/>
                              <a:pt x="11089" y="8373"/>
                              <a:pt x="11089" y="8433"/>
                            </a:cubicBezTo>
                            <a:cubicBezTo>
                              <a:pt x="11089" y="8433"/>
                              <a:pt x="11089" y="8493"/>
                              <a:pt x="11089" y="8493"/>
                            </a:cubicBezTo>
                            <a:cubicBezTo>
                              <a:pt x="11089" y="8493"/>
                              <a:pt x="11089" y="8552"/>
                              <a:pt x="11089" y="8552"/>
                            </a:cubicBezTo>
                            <a:cubicBezTo>
                              <a:pt x="11089" y="8552"/>
                              <a:pt x="11089" y="8612"/>
                              <a:pt x="11089" y="8612"/>
                            </a:cubicBezTo>
                            <a:cubicBezTo>
                              <a:pt x="11089" y="8612"/>
                              <a:pt x="11089" y="8672"/>
                              <a:pt x="11029" y="8672"/>
                            </a:cubicBezTo>
                            <a:cubicBezTo>
                              <a:pt x="11089" y="8672"/>
                              <a:pt x="11089" y="8672"/>
                              <a:pt x="11029" y="8672"/>
                            </a:cubicBezTo>
                            <a:cubicBezTo>
                              <a:pt x="11089" y="8672"/>
                              <a:pt x="11089" y="8672"/>
                              <a:pt x="11029" y="8672"/>
                            </a:cubicBezTo>
                            <a:cubicBezTo>
                              <a:pt x="11089" y="8672"/>
                              <a:pt x="11089" y="8672"/>
                              <a:pt x="11029" y="8672"/>
                            </a:cubicBezTo>
                            <a:cubicBezTo>
                              <a:pt x="11089" y="8672"/>
                              <a:pt x="11089" y="8672"/>
                              <a:pt x="11029" y="8672"/>
                            </a:cubicBezTo>
                            <a:moveTo>
                              <a:pt x="2895" y="11483"/>
                            </a:moveTo>
                            <a:cubicBezTo>
                              <a:pt x="3015" y="11603"/>
                              <a:pt x="3135" y="11662"/>
                              <a:pt x="3254" y="11782"/>
                            </a:cubicBezTo>
                            <a:cubicBezTo>
                              <a:pt x="3374" y="11902"/>
                              <a:pt x="3494" y="11961"/>
                              <a:pt x="3673" y="12021"/>
                            </a:cubicBezTo>
                            <a:cubicBezTo>
                              <a:pt x="3853" y="12081"/>
                              <a:pt x="3972" y="12201"/>
                              <a:pt x="4092" y="12260"/>
                            </a:cubicBezTo>
                            <a:cubicBezTo>
                              <a:pt x="4271" y="12320"/>
                              <a:pt x="4391" y="12380"/>
                              <a:pt x="4570" y="12440"/>
                            </a:cubicBezTo>
                            <a:cubicBezTo>
                              <a:pt x="5228" y="12619"/>
                              <a:pt x="5946" y="12679"/>
                              <a:pt x="6603" y="12560"/>
                            </a:cubicBezTo>
                            <a:cubicBezTo>
                              <a:pt x="7261" y="12440"/>
                              <a:pt x="7919" y="12201"/>
                              <a:pt x="8577" y="11842"/>
                            </a:cubicBezTo>
                            <a:cubicBezTo>
                              <a:pt x="9175" y="11483"/>
                              <a:pt x="9773" y="11005"/>
                              <a:pt x="10192" y="10406"/>
                            </a:cubicBezTo>
                            <a:cubicBezTo>
                              <a:pt x="10611" y="9808"/>
                              <a:pt x="11029" y="9151"/>
                              <a:pt x="11328" y="8433"/>
                            </a:cubicBezTo>
                            <a:cubicBezTo>
                              <a:pt x="11508" y="7835"/>
                              <a:pt x="11627" y="7297"/>
                              <a:pt x="11627" y="6758"/>
                            </a:cubicBezTo>
                            <a:cubicBezTo>
                              <a:pt x="11627" y="6220"/>
                              <a:pt x="11627" y="5622"/>
                              <a:pt x="11508" y="5143"/>
                            </a:cubicBezTo>
                            <a:cubicBezTo>
                              <a:pt x="11388" y="4605"/>
                              <a:pt x="11209" y="4127"/>
                              <a:pt x="10910" y="3708"/>
                            </a:cubicBezTo>
                            <a:cubicBezTo>
                              <a:pt x="10670" y="3289"/>
                              <a:pt x="10311" y="2871"/>
                              <a:pt x="9953" y="2512"/>
                            </a:cubicBezTo>
                            <a:cubicBezTo>
                              <a:pt x="9833" y="2392"/>
                              <a:pt x="9714" y="2333"/>
                              <a:pt x="9594" y="2213"/>
                            </a:cubicBezTo>
                            <a:cubicBezTo>
                              <a:pt x="9474" y="2093"/>
                              <a:pt x="9355" y="2034"/>
                              <a:pt x="9175" y="1974"/>
                            </a:cubicBezTo>
                            <a:cubicBezTo>
                              <a:pt x="9056" y="1914"/>
                              <a:pt x="8876" y="1854"/>
                              <a:pt x="8756" y="1734"/>
                            </a:cubicBezTo>
                            <a:cubicBezTo>
                              <a:pt x="8637" y="1615"/>
                              <a:pt x="8457" y="1615"/>
                              <a:pt x="8278" y="1555"/>
                            </a:cubicBezTo>
                            <a:cubicBezTo>
                              <a:pt x="7620" y="1375"/>
                              <a:pt x="6902" y="1316"/>
                              <a:pt x="6245" y="1435"/>
                            </a:cubicBezTo>
                            <a:cubicBezTo>
                              <a:pt x="5587" y="1555"/>
                              <a:pt x="4929" y="1794"/>
                              <a:pt x="4271" y="2153"/>
                            </a:cubicBezTo>
                            <a:cubicBezTo>
                              <a:pt x="3673" y="2512"/>
                              <a:pt x="3075" y="2990"/>
                              <a:pt x="2656" y="3589"/>
                            </a:cubicBezTo>
                            <a:cubicBezTo>
                              <a:pt x="2178" y="4187"/>
                              <a:pt x="1819" y="4844"/>
                              <a:pt x="1520" y="5562"/>
                            </a:cubicBezTo>
                            <a:cubicBezTo>
                              <a:pt x="1400" y="5921"/>
                              <a:pt x="1281" y="6280"/>
                              <a:pt x="1281" y="6639"/>
                            </a:cubicBezTo>
                            <a:cubicBezTo>
                              <a:pt x="1221" y="6997"/>
                              <a:pt x="1221" y="7356"/>
                              <a:pt x="1221" y="7715"/>
                            </a:cubicBezTo>
                            <a:cubicBezTo>
                              <a:pt x="1221" y="8074"/>
                              <a:pt x="1281" y="8433"/>
                              <a:pt x="1340" y="8792"/>
                            </a:cubicBezTo>
                            <a:cubicBezTo>
                              <a:pt x="1400" y="9151"/>
                              <a:pt x="1520" y="9510"/>
                              <a:pt x="1640" y="9808"/>
                            </a:cubicBezTo>
                            <a:cubicBezTo>
                              <a:pt x="1699" y="9988"/>
                              <a:pt x="1759" y="10107"/>
                              <a:pt x="1879" y="10287"/>
                            </a:cubicBezTo>
                            <a:cubicBezTo>
                              <a:pt x="1939" y="10466"/>
                              <a:pt x="2058" y="10586"/>
                              <a:pt x="2178" y="10705"/>
                            </a:cubicBezTo>
                            <a:cubicBezTo>
                              <a:pt x="2298" y="10825"/>
                              <a:pt x="2417" y="11005"/>
                              <a:pt x="2537" y="11124"/>
                            </a:cubicBezTo>
                            <a:cubicBezTo>
                              <a:pt x="2656" y="11244"/>
                              <a:pt x="2776" y="11364"/>
                              <a:pt x="2895" y="11483"/>
                            </a:cubicBezTo>
                            <a:moveTo>
                              <a:pt x="10730" y="1495"/>
                            </a:moveTo>
                            <a:cubicBezTo>
                              <a:pt x="11209" y="1914"/>
                              <a:pt x="11568" y="2392"/>
                              <a:pt x="11867" y="2930"/>
                            </a:cubicBezTo>
                            <a:cubicBezTo>
                              <a:pt x="12165" y="3469"/>
                              <a:pt x="12405" y="4067"/>
                              <a:pt x="12584" y="4665"/>
                            </a:cubicBezTo>
                            <a:cubicBezTo>
                              <a:pt x="12764" y="5263"/>
                              <a:pt x="12764" y="5921"/>
                              <a:pt x="12764" y="6639"/>
                            </a:cubicBezTo>
                            <a:cubicBezTo>
                              <a:pt x="12704" y="7297"/>
                              <a:pt x="12584" y="8014"/>
                              <a:pt x="12345" y="8672"/>
                            </a:cubicBezTo>
                            <a:cubicBezTo>
                              <a:pt x="12046" y="9569"/>
                              <a:pt x="11568" y="10406"/>
                              <a:pt x="10970" y="11124"/>
                            </a:cubicBezTo>
                            <a:cubicBezTo>
                              <a:pt x="10371" y="11842"/>
                              <a:pt x="9714" y="12440"/>
                              <a:pt x="8996" y="12859"/>
                            </a:cubicBezTo>
                            <a:cubicBezTo>
                              <a:pt x="8278" y="13277"/>
                              <a:pt x="7441" y="13576"/>
                              <a:pt x="6603" y="13756"/>
                            </a:cubicBezTo>
                            <a:cubicBezTo>
                              <a:pt x="5766" y="13875"/>
                              <a:pt x="4929" y="13815"/>
                              <a:pt x="4152" y="13636"/>
                            </a:cubicBezTo>
                            <a:cubicBezTo>
                              <a:pt x="3972" y="13576"/>
                              <a:pt x="3793" y="13516"/>
                              <a:pt x="3613" y="13457"/>
                            </a:cubicBezTo>
                            <a:cubicBezTo>
                              <a:pt x="3434" y="13397"/>
                              <a:pt x="3254" y="13277"/>
                              <a:pt x="3075" y="13218"/>
                            </a:cubicBezTo>
                            <a:cubicBezTo>
                              <a:pt x="2895" y="13098"/>
                              <a:pt x="2716" y="13038"/>
                              <a:pt x="2596" y="12919"/>
                            </a:cubicBezTo>
                            <a:cubicBezTo>
                              <a:pt x="2477" y="12799"/>
                              <a:pt x="2298" y="12679"/>
                              <a:pt x="2118" y="12560"/>
                            </a:cubicBezTo>
                            <a:cubicBezTo>
                              <a:pt x="1939" y="12440"/>
                              <a:pt x="1819" y="12260"/>
                              <a:pt x="1640" y="12141"/>
                            </a:cubicBezTo>
                            <a:cubicBezTo>
                              <a:pt x="1520" y="11961"/>
                              <a:pt x="1340" y="11842"/>
                              <a:pt x="1221" y="11662"/>
                            </a:cubicBezTo>
                            <a:cubicBezTo>
                              <a:pt x="1101" y="11483"/>
                              <a:pt x="982" y="11304"/>
                              <a:pt x="862" y="11124"/>
                            </a:cubicBezTo>
                            <a:cubicBezTo>
                              <a:pt x="742" y="10945"/>
                              <a:pt x="623" y="10765"/>
                              <a:pt x="563" y="10526"/>
                            </a:cubicBezTo>
                            <a:cubicBezTo>
                              <a:pt x="384" y="10107"/>
                              <a:pt x="264" y="9749"/>
                              <a:pt x="204" y="9270"/>
                            </a:cubicBezTo>
                            <a:cubicBezTo>
                              <a:pt x="85" y="8851"/>
                              <a:pt x="85" y="8433"/>
                              <a:pt x="25" y="7954"/>
                            </a:cubicBezTo>
                            <a:cubicBezTo>
                              <a:pt x="-35" y="7476"/>
                              <a:pt x="25" y="7057"/>
                              <a:pt x="85" y="6639"/>
                            </a:cubicBezTo>
                            <a:cubicBezTo>
                              <a:pt x="145" y="6220"/>
                              <a:pt x="264" y="5742"/>
                              <a:pt x="384" y="5323"/>
                            </a:cubicBezTo>
                            <a:cubicBezTo>
                              <a:pt x="683" y="4426"/>
                              <a:pt x="1161" y="3589"/>
                              <a:pt x="1759" y="2871"/>
                            </a:cubicBezTo>
                            <a:cubicBezTo>
                              <a:pt x="2357" y="2153"/>
                              <a:pt x="3015" y="1555"/>
                              <a:pt x="3793" y="1136"/>
                            </a:cubicBezTo>
                            <a:cubicBezTo>
                              <a:pt x="4570" y="718"/>
                              <a:pt x="5348" y="419"/>
                              <a:pt x="6185" y="299"/>
                            </a:cubicBezTo>
                            <a:cubicBezTo>
                              <a:pt x="7022" y="180"/>
                              <a:pt x="7860" y="239"/>
                              <a:pt x="8697" y="479"/>
                            </a:cubicBezTo>
                            <a:cubicBezTo>
                              <a:pt x="8876" y="538"/>
                              <a:pt x="9056" y="598"/>
                              <a:pt x="9235" y="718"/>
                            </a:cubicBezTo>
                            <a:cubicBezTo>
                              <a:pt x="9415" y="778"/>
                              <a:pt x="9594" y="897"/>
                              <a:pt x="9773" y="1017"/>
                            </a:cubicBezTo>
                            <a:cubicBezTo>
                              <a:pt x="9953" y="1136"/>
                              <a:pt x="10132" y="1196"/>
                              <a:pt x="10252" y="1316"/>
                            </a:cubicBezTo>
                            <a:cubicBezTo>
                              <a:pt x="10431" y="1256"/>
                              <a:pt x="10611" y="1375"/>
                              <a:pt x="10730" y="1495"/>
                            </a:cubicBezTo>
                            <a:moveTo>
                              <a:pt x="1999" y="12560"/>
                            </a:moveTo>
                            <a:cubicBezTo>
                              <a:pt x="2118" y="12679"/>
                              <a:pt x="2298" y="12799"/>
                              <a:pt x="2477" y="12919"/>
                            </a:cubicBezTo>
                            <a:cubicBezTo>
                              <a:pt x="2656" y="13038"/>
                              <a:pt x="2836" y="13158"/>
                              <a:pt x="3015" y="13218"/>
                            </a:cubicBezTo>
                            <a:cubicBezTo>
                              <a:pt x="3194" y="13277"/>
                              <a:pt x="3374" y="13397"/>
                              <a:pt x="3553" y="13457"/>
                            </a:cubicBezTo>
                            <a:cubicBezTo>
                              <a:pt x="3733" y="13516"/>
                              <a:pt x="3912" y="13576"/>
                              <a:pt x="4092" y="13636"/>
                            </a:cubicBezTo>
                            <a:cubicBezTo>
                              <a:pt x="4570" y="13756"/>
                              <a:pt x="5048" y="13875"/>
                              <a:pt x="5587" y="13875"/>
                            </a:cubicBezTo>
                            <a:cubicBezTo>
                              <a:pt x="6065" y="13875"/>
                              <a:pt x="6603" y="13815"/>
                              <a:pt x="7082" y="13696"/>
                            </a:cubicBezTo>
                            <a:cubicBezTo>
                              <a:pt x="7561" y="13576"/>
                              <a:pt x="8039" y="13397"/>
                              <a:pt x="8517" y="13218"/>
                            </a:cubicBezTo>
                            <a:cubicBezTo>
                              <a:pt x="8996" y="12978"/>
                              <a:pt x="9415" y="12739"/>
                              <a:pt x="9833" y="12440"/>
                            </a:cubicBezTo>
                            <a:cubicBezTo>
                              <a:pt x="10132" y="12201"/>
                              <a:pt x="10431" y="11961"/>
                              <a:pt x="10670" y="11662"/>
                            </a:cubicBezTo>
                            <a:cubicBezTo>
                              <a:pt x="10910" y="11364"/>
                              <a:pt x="11209" y="11065"/>
                              <a:pt x="11388" y="10765"/>
                            </a:cubicBezTo>
                            <a:cubicBezTo>
                              <a:pt x="11568" y="10466"/>
                              <a:pt x="11807" y="10107"/>
                              <a:pt x="11986" y="9749"/>
                            </a:cubicBezTo>
                            <a:cubicBezTo>
                              <a:pt x="12165" y="9390"/>
                              <a:pt x="12345" y="9031"/>
                              <a:pt x="12465" y="8612"/>
                            </a:cubicBezTo>
                            <a:cubicBezTo>
                              <a:pt x="12465" y="8552"/>
                              <a:pt x="12524" y="8493"/>
                              <a:pt x="12524" y="8433"/>
                            </a:cubicBezTo>
                            <a:cubicBezTo>
                              <a:pt x="12524" y="8373"/>
                              <a:pt x="12584" y="8313"/>
                              <a:pt x="12584" y="8253"/>
                            </a:cubicBezTo>
                            <a:cubicBezTo>
                              <a:pt x="12584" y="8194"/>
                              <a:pt x="12644" y="8134"/>
                              <a:pt x="12644" y="8074"/>
                            </a:cubicBezTo>
                            <a:cubicBezTo>
                              <a:pt x="12644" y="8014"/>
                              <a:pt x="12704" y="7954"/>
                              <a:pt x="12704" y="7895"/>
                            </a:cubicBezTo>
                            <a:cubicBezTo>
                              <a:pt x="12704" y="7895"/>
                              <a:pt x="12704" y="7895"/>
                              <a:pt x="12704" y="7895"/>
                            </a:cubicBezTo>
                            <a:cubicBezTo>
                              <a:pt x="12704" y="7895"/>
                              <a:pt x="12704" y="7895"/>
                              <a:pt x="12704" y="7895"/>
                            </a:cubicBezTo>
                            <a:cubicBezTo>
                              <a:pt x="12704" y="7895"/>
                              <a:pt x="12704" y="7895"/>
                              <a:pt x="12704" y="7895"/>
                            </a:cubicBezTo>
                            <a:cubicBezTo>
                              <a:pt x="12704" y="7895"/>
                              <a:pt x="12704" y="7895"/>
                              <a:pt x="12704" y="7895"/>
                            </a:cubicBezTo>
                            <a:cubicBezTo>
                              <a:pt x="12883" y="7297"/>
                              <a:pt x="12943" y="6639"/>
                              <a:pt x="12943" y="6041"/>
                            </a:cubicBezTo>
                            <a:cubicBezTo>
                              <a:pt x="12943" y="5443"/>
                              <a:pt x="12824" y="4844"/>
                              <a:pt x="12704" y="4246"/>
                            </a:cubicBezTo>
                            <a:cubicBezTo>
                              <a:pt x="12524" y="3648"/>
                              <a:pt x="12345" y="3110"/>
                              <a:pt x="11986" y="2632"/>
                            </a:cubicBezTo>
                            <a:cubicBezTo>
                              <a:pt x="11687" y="2153"/>
                              <a:pt x="11328" y="1675"/>
                              <a:pt x="10850" y="1316"/>
                            </a:cubicBezTo>
                            <a:cubicBezTo>
                              <a:pt x="10670" y="1196"/>
                              <a:pt x="10551" y="1076"/>
                              <a:pt x="10371" y="957"/>
                            </a:cubicBezTo>
                            <a:cubicBezTo>
                              <a:pt x="10192" y="837"/>
                              <a:pt x="10013" y="718"/>
                              <a:pt x="9833" y="658"/>
                            </a:cubicBezTo>
                            <a:cubicBezTo>
                              <a:pt x="9654" y="538"/>
                              <a:pt x="9474" y="479"/>
                              <a:pt x="9295" y="419"/>
                            </a:cubicBezTo>
                            <a:cubicBezTo>
                              <a:pt x="9116" y="359"/>
                              <a:pt x="8936" y="299"/>
                              <a:pt x="8756" y="239"/>
                            </a:cubicBezTo>
                            <a:cubicBezTo>
                              <a:pt x="8338" y="120"/>
                              <a:pt x="7919" y="60"/>
                              <a:pt x="7501" y="0"/>
                            </a:cubicBezTo>
                            <a:cubicBezTo>
                              <a:pt x="7082" y="0"/>
                              <a:pt x="6663" y="0"/>
                              <a:pt x="6245" y="60"/>
                            </a:cubicBezTo>
                            <a:cubicBezTo>
                              <a:pt x="5826" y="120"/>
                              <a:pt x="5407" y="239"/>
                              <a:pt x="4989" y="359"/>
                            </a:cubicBezTo>
                            <a:cubicBezTo>
                              <a:pt x="4570" y="479"/>
                              <a:pt x="4152" y="718"/>
                              <a:pt x="3793" y="897"/>
                            </a:cubicBezTo>
                            <a:cubicBezTo>
                              <a:pt x="3553" y="1076"/>
                              <a:pt x="3314" y="1196"/>
                              <a:pt x="3075" y="1375"/>
                            </a:cubicBezTo>
                            <a:cubicBezTo>
                              <a:pt x="2836" y="1555"/>
                              <a:pt x="2596" y="1734"/>
                              <a:pt x="2417" y="1974"/>
                            </a:cubicBezTo>
                            <a:cubicBezTo>
                              <a:pt x="2178" y="2153"/>
                              <a:pt x="1999" y="2392"/>
                              <a:pt x="1819" y="2632"/>
                            </a:cubicBezTo>
                            <a:cubicBezTo>
                              <a:pt x="1640" y="2871"/>
                              <a:pt x="1460" y="3110"/>
                              <a:pt x="1281" y="3349"/>
                            </a:cubicBezTo>
                            <a:cubicBezTo>
                              <a:pt x="1221" y="3409"/>
                              <a:pt x="1161" y="3529"/>
                              <a:pt x="1101" y="3589"/>
                            </a:cubicBezTo>
                            <a:cubicBezTo>
                              <a:pt x="1041" y="3648"/>
                              <a:pt x="982" y="3768"/>
                              <a:pt x="922" y="3888"/>
                            </a:cubicBezTo>
                            <a:cubicBezTo>
                              <a:pt x="862" y="4007"/>
                              <a:pt x="802" y="4067"/>
                              <a:pt x="802" y="4187"/>
                            </a:cubicBezTo>
                            <a:cubicBezTo>
                              <a:pt x="802" y="4306"/>
                              <a:pt x="683" y="4366"/>
                              <a:pt x="683" y="4486"/>
                            </a:cubicBezTo>
                            <a:cubicBezTo>
                              <a:pt x="683" y="4545"/>
                              <a:pt x="623" y="4605"/>
                              <a:pt x="623" y="4665"/>
                            </a:cubicBezTo>
                            <a:cubicBezTo>
                              <a:pt x="623" y="4725"/>
                              <a:pt x="563" y="4785"/>
                              <a:pt x="563" y="4844"/>
                            </a:cubicBezTo>
                            <a:cubicBezTo>
                              <a:pt x="563" y="4904"/>
                              <a:pt x="503" y="4964"/>
                              <a:pt x="503" y="5024"/>
                            </a:cubicBezTo>
                            <a:cubicBezTo>
                              <a:pt x="503" y="5084"/>
                              <a:pt x="443" y="5143"/>
                              <a:pt x="443" y="5203"/>
                            </a:cubicBezTo>
                            <a:cubicBezTo>
                              <a:pt x="264" y="5682"/>
                              <a:pt x="145" y="6160"/>
                              <a:pt x="85" y="6639"/>
                            </a:cubicBezTo>
                            <a:cubicBezTo>
                              <a:pt x="25" y="7117"/>
                              <a:pt x="-35" y="7596"/>
                              <a:pt x="25" y="8074"/>
                            </a:cubicBezTo>
                            <a:cubicBezTo>
                              <a:pt x="25" y="8552"/>
                              <a:pt x="85" y="8971"/>
                              <a:pt x="204" y="9450"/>
                            </a:cubicBezTo>
                            <a:cubicBezTo>
                              <a:pt x="324" y="9928"/>
                              <a:pt x="443" y="10287"/>
                              <a:pt x="623" y="10705"/>
                            </a:cubicBezTo>
                            <a:cubicBezTo>
                              <a:pt x="683" y="10825"/>
                              <a:pt x="742" y="10885"/>
                              <a:pt x="802" y="11005"/>
                            </a:cubicBezTo>
                            <a:cubicBezTo>
                              <a:pt x="862" y="11124"/>
                              <a:pt x="922" y="11184"/>
                              <a:pt x="982" y="11304"/>
                            </a:cubicBezTo>
                            <a:cubicBezTo>
                              <a:pt x="1041" y="11423"/>
                              <a:pt x="1101" y="11483"/>
                              <a:pt x="1161" y="11603"/>
                            </a:cubicBezTo>
                            <a:cubicBezTo>
                              <a:pt x="1221" y="11722"/>
                              <a:pt x="1281" y="11782"/>
                              <a:pt x="1340" y="11902"/>
                            </a:cubicBezTo>
                            <a:cubicBezTo>
                              <a:pt x="1400" y="11961"/>
                              <a:pt x="1460" y="12021"/>
                              <a:pt x="1520" y="12141"/>
                            </a:cubicBezTo>
                            <a:cubicBezTo>
                              <a:pt x="1580" y="12201"/>
                              <a:pt x="1640" y="12260"/>
                              <a:pt x="1699" y="12380"/>
                            </a:cubicBezTo>
                            <a:cubicBezTo>
                              <a:pt x="1759" y="12440"/>
                              <a:pt x="1819" y="12500"/>
                              <a:pt x="1879" y="12560"/>
                            </a:cubicBezTo>
                            <a:cubicBezTo>
                              <a:pt x="1879" y="12440"/>
                              <a:pt x="1939" y="12500"/>
                              <a:pt x="1999" y="12560"/>
                            </a:cubicBezTo>
                          </a:path>
                        </a:pathLst>
                      </a:custGeom>
                      <a:noFill/>
                      <a:ln w="6350" cap="flat">
                        <a:solidFill>
                          <a:schemeClr val="bg1">
                            <a:alpha val="40000"/>
                          </a:schemeClr>
                        </a:solidFill>
                        <a:prstDash val="solid"/>
                        <a:miter/>
                      </a:ln>
                    </p:spPr>
                    <p:txBody>
                      <a:bodyPr rtlCol="0" anchor="ctr"/>
                      <a:lstStyle/>
                      <a:p>
                        <a:endParaRPr lang="en-GB"/>
                      </a:p>
                    </p:txBody>
                  </p:sp>
                  <p:sp>
                    <p:nvSpPr>
                      <p:cNvPr id="7493" name="Vrije vorm: vorm 7492">
                        <a:extLst>
                          <a:ext uri="{FF2B5EF4-FFF2-40B4-BE49-F238E27FC236}">
                            <a16:creationId xmlns:a16="http://schemas.microsoft.com/office/drawing/2014/main" id="{B9A488EA-E855-4CB3-A7CA-81BAF228FFC7}"/>
                          </a:ext>
                        </a:extLst>
                      </p:cNvPr>
                      <p:cNvSpPr/>
                      <p:nvPr/>
                    </p:nvSpPr>
                    <p:spPr>
                      <a:xfrm>
                        <a:off x="5053466" y="4951001"/>
                        <a:ext cx="12786" cy="13800"/>
                      </a:xfrm>
                      <a:custGeom>
                        <a:avLst/>
                        <a:gdLst>
                          <a:gd name="connsiteX0" fmla="*/ 9953 w 12786"/>
                          <a:gd name="connsiteY0" fmla="*/ 2452 h 13800"/>
                          <a:gd name="connsiteX1" fmla="*/ 10910 w 12786"/>
                          <a:gd name="connsiteY1" fmla="*/ 3648 h 13800"/>
                          <a:gd name="connsiteX2" fmla="*/ 11508 w 12786"/>
                          <a:gd name="connsiteY2" fmla="*/ 5084 h 13800"/>
                          <a:gd name="connsiteX3" fmla="*/ 11627 w 12786"/>
                          <a:gd name="connsiteY3" fmla="*/ 6698 h 13800"/>
                          <a:gd name="connsiteX4" fmla="*/ 11328 w 12786"/>
                          <a:gd name="connsiteY4" fmla="*/ 8373 h 13800"/>
                          <a:gd name="connsiteX5" fmla="*/ 10192 w 12786"/>
                          <a:gd name="connsiteY5" fmla="*/ 10347 h 13800"/>
                          <a:gd name="connsiteX6" fmla="*/ 8577 w 12786"/>
                          <a:gd name="connsiteY6" fmla="*/ 11782 h 13800"/>
                          <a:gd name="connsiteX7" fmla="*/ 6603 w 12786"/>
                          <a:gd name="connsiteY7" fmla="*/ 12500 h 13800"/>
                          <a:gd name="connsiteX8" fmla="*/ 4570 w 12786"/>
                          <a:gd name="connsiteY8" fmla="*/ 12380 h 13800"/>
                          <a:gd name="connsiteX9" fmla="*/ 4092 w 12786"/>
                          <a:gd name="connsiteY9" fmla="*/ 12201 h 13800"/>
                          <a:gd name="connsiteX10" fmla="*/ 3673 w 12786"/>
                          <a:gd name="connsiteY10" fmla="*/ 11961 h 13800"/>
                          <a:gd name="connsiteX11" fmla="*/ 3254 w 12786"/>
                          <a:gd name="connsiteY11" fmla="*/ 11722 h 13800"/>
                          <a:gd name="connsiteX12" fmla="*/ 2895 w 12786"/>
                          <a:gd name="connsiteY12" fmla="*/ 11423 h 13800"/>
                          <a:gd name="connsiteX13" fmla="*/ 2537 w 12786"/>
                          <a:gd name="connsiteY13" fmla="*/ 11065 h 13800"/>
                          <a:gd name="connsiteX14" fmla="*/ 2178 w 12786"/>
                          <a:gd name="connsiteY14" fmla="*/ 10646 h 13800"/>
                          <a:gd name="connsiteX15" fmla="*/ 1879 w 12786"/>
                          <a:gd name="connsiteY15" fmla="*/ 10227 h 13800"/>
                          <a:gd name="connsiteX16" fmla="*/ 1640 w 12786"/>
                          <a:gd name="connsiteY16" fmla="*/ 9749 h 13800"/>
                          <a:gd name="connsiteX17" fmla="*/ 1340 w 12786"/>
                          <a:gd name="connsiteY17" fmla="*/ 8732 h 13800"/>
                          <a:gd name="connsiteX18" fmla="*/ 1221 w 12786"/>
                          <a:gd name="connsiteY18" fmla="*/ 7656 h 13800"/>
                          <a:gd name="connsiteX19" fmla="*/ 1281 w 12786"/>
                          <a:gd name="connsiteY19" fmla="*/ 6579 h 13800"/>
                          <a:gd name="connsiteX20" fmla="*/ 1520 w 12786"/>
                          <a:gd name="connsiteY20" fmla="*/ 5502 h 13800"/>
                          <a:gd name="connsiteX21" fmla="*/ 2656 w 12786"/>
                          <a:gd name="connsiteY21" fmla="*/ 3529 h 13800"/>
                          <a:gd name="connsiteX22" fmla="*/ 4271 w 12786"/>
                          <a:gd name="connsiteY22" fmla="*/ 2093 h 13800"/>
                          <a:gd name="connsiteX23" fmla="*/ 6245 w 12786"/>
                          <a:gd name="connsiteY23" fmla="*/ 1375 h 13800"/>
                          <a:gd name="connsiteX24" fmla="*/ 8278 w 12786"/>
                          <a:gd name="connsiteY24" fmla="*/ 1495 h 13800"/>
                          <a:gd name="connsiteX25" fmla="*/ 8756 w 12786"/>
                          <a:gd name="connsiteY25" fmla="*/ 1675 h 13800"/>
                          <a:gd name="connsiteX26" fmla="*/ 9175 w 12786"/>
                          <a:gd name="connsiteY26" fmla="*/ 1914 h 13800"/>
                          <a:gd name="connsiteX27" fmla="*/ 9594 w 12786"/>
                          <a:gd name="connsiteY27" fmla="*/ 2153 h 13800"/>
                          <a:gd name="connsiteX28" fmla="*/ 9953 w 12786"/>
                          <a:gd name="connsiteY28" fmla="*/ 2452 h 13800"/>
                          <a:gd name="connsiteX29" fmla="*/ 2118 w 12786"/>
                          <a:gd name="connsiteY29" fmla="*/ 12500 h 13800"/>
                          <a:gd name="connsiteX30" fmla="*/ 2596 w 12786"/>
                          <a:gd name="connsiteY30" fmla="*/ 12859 h 13800"/>
                          <a:gd name="connsiteX31" fmla="*/ 3075 w 12786"/>
                          <a:gd name="connsiteY31" fmla="*/ 13158 h 13800"/>
                          <a:gd name="connsiteX32" fmla="*/ 3613 w 12786"/>
                          <a:gd name="connsiteY32" fmla="*/ 13397 h 13800"/>
                          <a:gd name="connsiteX33" fmla="*/ 4152 w 12786"/>
                          <a:gd name="connsiteY33" fmla="*/ 13576 h 13800"/>
                          <a:gd name="connsiteX34" fmla="*/ 6603 w 12786"/>
                          <a:gd name="connsiteY34" fmla="*/ 13696 h 13800"/>
                          <a:gd name="connsiteX35" fmla="*/ 8996 w 12786"/>
                          <a:gd name="connsiteY35" fmla="*/ 12799 h 13800"/>
                          <a:gd name="connsiteX36" fmla="*/ 10970 w 12786"/>
                          <a:gd name="connsiteY36" fmla="*/ 11065 h 13800"/>
                          <a:gd name="connsiteX37" fmla="*/ 12345 w 12786"/>
                          <a:gd name="connsiteY37" fmla="*/ 8612 h 13800"/>
                          <a:gd name="connsiteX38" fmla="*/ 12764 w 12786"/>
                          <a:gd name="connsiteY38" fmla="*/ 6579 h 13800"/>
                          <a:gd name="connsiteX39" fmla="*/ 12584 w 12786"/>
                          <a:gd name="connsiteY39" fmla="*/ 4605 h 13800"/>
                          <a:gd name="connsiteX40" fmla="*/ 11867 w 12786"/>
                          <a:gd name="connsiteY40" fmla="*/ 2871 h 13800"/>
                          <a:gd name="connsiteX41" fmla="*/ 10730 w 12786"/>
                          <a:gd name="connsiteY41" fmla="*/ 1435 h 13800"/>
                          <a:gd name="connsiteX42" fmla="*/ 10252 w 12786"/>
                          <a:gd name="connsiteY42" fmla="*/ 1076 h 13800"/>
                          <a:gd name="connsiteX43" fmla="*/ 9773 w 12786"/>
                          <a:gd name="connsiteY43" fmla="*/ 778 h 13800"/>
                          <a:gd name="connsiteX44" fmla="*/ 9235 w 12786"/>
                          <a:gd name="connsiteY44" fmla="*/ 479 h 13800"/>
                          <a:gd name="connsiteX45" fmla="*/ 8697 w 12786"/>
                          <a:gd name="connsiteY45" fmla="*/ 239 h 13800"/>
                          <a:gd name="connsiteX46" fmla="*/ 6185 w 12786"/>
                          <a:gd name="connsiteY46" fmla="*/ 60 h 13800"/>
                          <a:gd name="connsiteX47" fmla="*/ 3793 w 12786"/>
                          <a:gd name="connsiteY47" fmla="*/ 897 h 13800"/>
                          <a:gd name="connsiteX48" fmla="*/ 1759 w 12786"/>
                          <a:gd name="connsiteY48" fmla="*/ 2632 h 13800"/>
                          <a:gd name="connsiteX49" fmla="*/ 384 w 12786"/>
                          <a:gd name="connsiteY49" fmla="*/ 5084 h 13800"/>
                          <a:gd name="connsiteX50" fmla="*/ 85 w 12786"/>
                          <a:gd name="connsiteY50" fmla="*/ 6399 h 13800"/>
                          <a:gd name="connsiteX51" fmla="*/ 25 w 12786"/>
                          <a:gd name="connsiteY51" fmla="*/ 7715 h 13800"/>
                          <a:gd name="connsiteX52" fmla="*/ 204 w 12786"/>
                          <a:gd name="connsiteY52" fmla="*/ 9031 h 13800"/>
                          <a:gd name="connsiteX53" fmla="*/ 563 w 12786"/>
                          <a:gd name="connsiteY53" fmla="*/ 10287 h 13800"/>
                          <a:gd name="connsiteX54" fmla="*/ 862 w 12786"/>
                          <a:gd name="connsiteY54" fmla="*/ 10885 h 13800"/>
                          <a:gd name="connsiteX55" fmla="*/ 1221 w 12786"/>
                          <a:gd name="connsiteY55" fmla="*/ 11423 h 13800"/>
                          <a:gd name="connsiteX56" fmla="*/ 1640 w 12786"/>
                          <a:gd name="connsiteY56" fmla="*/ 11902 h 13800"/>
                          <a:gd name="connsiteX57" fmla="*/ 2118 w 12786"/>
                          <a:gd name="connsiteY57" fmla="*/ 12500 h 1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2786" h="13800">
                            <a:moveTo>
                              <a:pt x="9953" y="2452"/>
                            </a:moveTo>
                            <a:cubicBezTo>
                              <a:pt x="10311" y="2811"/>
                              <a:pt x="10670" y="3170"/>
                              <a:pt x="10910" y="3648"/>
                            </a:cubicBezTo>
                            <a:cubicBezTo>
                              <a:pt x="11149" y="4067"/>
                              <a:pt x="11388" y="4605"/>
                              <a:pt x="11508" y="5084"/>
                            </a:cubicBezTo>
                            <a:cubicBezTo>
                              <a:pt x="11627" y="5622"/>
                              <a:pt x="11687" y="6160"/>
                              <a:pt x="11627" y="6698"/>
                            </a:cubicBezTo>
                            <a:cubicBezTo>
                              <a:pt x="11627" y="7237"/>
                              <a:pt x="11508" y="7835"/>
                              <a:pt x="11328" y="8373"/>
                            </a:cubicBezTo>
                            <a:cubicBezTo>
                              <a:pt x="11089" y="9091"/>
                              <a:pt x="10670" y="9808"/>
                              <a:pt x="10192" y="10347"/>
                            </a:cubicBezTo>
                            <a:cubicBezTo>
                              <a:pt x="9714" y="10885"/>
                              <a:pt x="9175" y="11423"/>
                              <a:pt x="8577" y="11782"/>
                            </a:cubicBezTo>
                            <a:cubicBezTo>
                              <a:pt x="7979" y="12141"/>
                              <a:pt x="7321" y="12380"/>
                              <a:pt x="6603" y="12500"/>
                            </a:cubicBezTo>
                            <a:cubicBezTo>
                              <a:pt x="5886" y="12619"/>
                              <a:pt x="5228" y="12560"/>
                              <a:pt x="4570" y="12380"/>
                            </a:cubicBezTo>
                            <a:cubicBezTo>
                              <a:pt x="4391" y="12320"/>
                              <a:pt x="4271" y="12260"/>
                              <a:pt x="4092" y="12201"/>
                            </a:cubicBezTo>
                            <a:cubicBezTo>
                              <a:pt x="3912" y="12141"/>
                              <a:pt x="3793" y="12081"/>
                              <a:pt x="3673" y="11961"/>
                            </a:cubicBezTo>
                            <a:cubicBezTo>
                              <a:pt x="3553" y="11842"/>
                              <a:pt x="3374" y="11782"/>
                              <a:pt x="3254" y="11722"/>
                            </a:cubicBezTo>
                            <a:cubicBezTo>
                              <a:pt x="3135" y="11603"/>
                              <a:pt x="3015" y="11543"/>
                              <a:pt x="2895" y="11423"/>
                            </a:cubicBezTo>
                            <a:cubicBezTo>
                              <a:pt x="2776" y="11304"/>
                              <a:pt x="2656" y="11184"/>
                              <a:pt x="2537" y="11065"/>
                            </a:cubicBezTo>
                            <a:cubicBezTo>
                              <a:pt x="2417" y="10945"/>
                              <a:pt x="2298" y="10825"/>
                              <a:pt x="2178" y="10646"/>
                            </a:cubicBezTo>
                            <a:cubicBezTo>
                              <a:pt x="2058" y="10526"/>
                              <a:pt x="1999" y="10347"/>
                              <a:pt x="1879" y="10227"/>
                            </a:cubicBezTo>
                            <a:cubicBezTo>
                              <a:pt x="1819" y="10048"/>
                              <a:pt x="1699" y="9928"/>
                              <a:pt x="1640" y="9749"/>
                            </a:cubicBezTo>
                            <a:cubicBezTo>
                              <a:pt x="1520" y="9450"/>
                              <a:pt x="1400" y="9091"/>
                              <a:pt x="1340" y="8732"/>
                            </a:cubicBezTo>
                            <a:cubicBezTo>
                              <a:pt x="1281" y="8373"/>
                              <a:pt x="1221" y="8014"/>
                              <a:pt x="1221" y="7656"/>
                            </a:cubicBezTo>
                            <a:cubicBezTo>
                              <a:pt x="1221" y="7297"/>
                              <a:pt x="1221" y="6938"/>
                              <a:pt x="1281" y="6579"/>
                            </a:cubicBezTo>
                            <a:cubicBezTo>
                              <a:pt x="1340" y="6220"/>
                              <a:pt x="1400" y="5861"/>
                              <a:pt x="1520" y="5502"/>
                            </a:cubicBezTo>
                            <a:cubicBezTo>
                              <a:pt x="1759" y="4725"/>
                              <a:pt x="2178" y="4067"/>
                              <a:pt x="2656" y="3529"/>
                            </a:cubicBezTo>
                            <a:cubicBezTo>
                              <a:pt x="3135" y="2931"/>
                              <a:pt x="3673" y="2452"/>
                              <a:pt x="4271" y="2093"/>
                            </a:cubicBezTo>
                            <a:cubicBezTo>
                              <a:pt x="4869" y="1734"/>
                              <a:pt x="5527" y="1495"/>
                              <a:pt x="6245" y="1375"/>
                            </a:cubicBezTo>
                            <a:cubicBezTo>
                              <a:pt x="6902" y="1256"/>
                              <a:pt x="7620" y="1316"/>
                              <a:pt x="8278" y="1495"/>
                            </a:cubicBezTo>
                            <a:cubicBezTo>
                              <a:pt x="8457" y="1555"/>
                              <a:pt x="8577" y="1615"/>
                              <a:pt x="8756" y="1675"/>
                            </a:cubicBezTo>
                            <a:cubicBezTo>
                              <a:pt x="8936" y="1734"/>
                              <a:pt x="9056" y="1794"/>
                              <a:pt x="9175" y="1914"/>
                            </a:cubicBezTo>
                            <a:cubicBezTo>
                              <a:pt x="9295" y="1974"/>
                              <a:pt x="9474" y="2093"/>
                              <a:pt x="9594" y="2153"/>
                            </a:cubicBezTo>
                            <a:cubicBezTo>
                              <a:pt x="9714" y="2273"/>
                              <a:pt x="9833" y="2333"/>
                              <a:pt x="9953" y="2452"/>
                            </a:cubicBezTo>
                            <a:moveTo>
                              <a:pt x="2118" y="12500"/>
                            </a:moveTo>
                            <a:cubicBezTo>
                              <a:pt x="2238" y="12619"/>
                              <a:pt x="2417" y="12739"/>
                              <a:pt x="2596" y="12859"/>
                            </a:cubicBezTo>
                            <a:cubicBezTo>
                              <a:pt x="2776" y="12978"/>
                              <a:pt x="2895" y="13098"/>
                              <a:pt x="3075" y="13158"/>
                            </a:cubicBezTo>
                            <a:cubicBezTo>
                              <a:pt x="3254" y="13277"/>
                              <a:pt x="3434" y="13337"/>
                              <a:pt x="3613" y="13397"/>
                            </a:cubicBezTo>
                            <a:cubicBezTo>
                              <a:pt x="3793" y="13457"/>
                              <a:pt x="3972" y="13517"/>
                              <a:pt x="4152" y="13576"/>
                            </a:cubicBezTo>
                            <a:cubicBezTo>
                              <a:pt x="4989" y="13815"/>
                              <a:pt x="5826" y="13875"/>
                              <a:pt x="6603" y="13696"/>
                            </a:cubicBezTo>
                            <a:cubicBezTo>
                              <a:pt x="7441" y="13576"/>
                              <a:pt x="8218" y="13277"/>
                              <a:pt x="8996" y="12799"/>
                            </a:cubicBezTo>
                            <a:cubicBezTo>
                              <a:pt x="9714" y="12380"/>
                              <a:pt x="10431" y="11782"/>
                              <a:pt x="10970" y="11065"/>
                            </a:cubicBezTo>
                            <a:cubicBezTo>
                              <a:pt x="11568" y="10347"/>
                              <a:pt x="11986" y="9569"/>
                              <a:pt x="12345" y="8612"/>
                            </a:cubicBezTo>
                            <a:cubicBezTo>
                              <a:pt x="12584" y="7954"/>
                              <a:pt x="12704" y="7237"/>
                              <a:pt x="12764" y="6579"/>
                            </a:cubicBezTo>
                            <a:cubicBezTo>
                              <a:pt x="12824" y="5921"/>
                              <a:pt x="12764" y="5263"/>
                              <a:pt x="12584" y="4605"/>
                            </a:cubicBezTo>
                            <a:cubicBezTo>
                              <a:pt x="12405" y="3947"/>
                              <a:pt x="12225" y="3409"/>
                              <a:pt x="11867" y="2871"/>
                            </a:cubicBezTo>
                            <a:cubicBezTo>
                              <a:pt x="11568" y="2333"/>
                              <a:pt x="11149" y="1854"/>
                              <a:pt x="10730" y="1435"/>
                            </a:cubicBezTo>
                            <a:cubicBezTo>
                              <a:pt x="10611" y="1316"/>
                              <a:pt x="10431" y="1196"/>
                              <a:pt x="10252" y="1076"/>
                            </a:cubicBezTo>
                            <a:cubicBezTo>
                              <a:pt x="10072" y="957"/>
                              <a:pt x="9953" y="837"/>
                              <a:pt x="9773" y="778"/>
                            </a:cubicBezTo>
                            <a:cubicBezTo>
                              <a:pt x="9594" y="658"/>
                              <a:pt x="9415" y="598"/>
                              <a:pt x="9235" y="479"/>
                            </a:cubicBezTo>
                            <a:cubicBezTo>
                              <a:pt x="9056" y="419"/>
                              <a:pt x="8876" y="299"/>
                              <a:pt x="8697" y="239"/>
                            </a:cubicBezTo>
                            <a:cubicBezTo>
                              <a:pt x="7860" y="0"/>
                              <a:pt x="7022" y="-60"/>
                              <a:pt x="6185" y="60"/>
                            </a:cubicBezTo>
                            <a:cubicBezTo>
                              <a:pt x="5348" y="180"/>
                              <a:pt x="4570" y="479"/>
                              <a:pt x="3793" y="897"/>
                            </a:cubicBezTo>
                            <a:cubicBezTo>
                              <a:pt x="3015" y="1316"/>
                              <a:pt x="2357" y="1914"/>
                              <a:pt x="1759" y="2632"/>
                            </a:cubicBezTo>
                            <a:cubicBezTo>
                              <a:pt x="1161" y="3349"/>
                              <a:pt x="742" y="4127"/>
                              <a:pt x="384" y="5084"/>
                            </a:cubicBezTo>
                            <a:cubicBezTo>
                              <a:pt x="204" y="5502"/>
                              <a:pt x="145" y="5981"/>
                              <a:pt x="85" y="6399"/>
                            </a:cubicBezTo>
                            <a:cubicBezTo>
                              <a:pt x="25" y="6818"/>
                              <a:pt x="-35" y="7297"/>
                              <a:pt x="25" y="7715"/>
                            </a:cubicBezTo>
                            <a:cubicBezTo>
                              <a:pt x="85" y="8134"/>
                              <a:pt x="85" y="8612"/>
                              <a:pt x="204" y="9031"/>
                            </a:cubicBezTo>
                            <a:cubicBezTo>
                              <a:pt x="324" y="9450"/>
                              <a:pt x="443" y="9868"/>
                              <a:pt x="563" y="10287"/>
                            </a:cubicBezTo>
                            <a:cubicBezTo>
                              <a:pt x="683" y="10466"/>
                              <a:pt x="742" y="10705"/>
                              <a:pt x="862" y="10885"/>
                            </a:cubicBezTo>
                            <a:cubicBezTo>
                              <a:pt x="982" y="11065"/>
                              <a:pt x="1101" y="11244"/>
                              <a:pt x="1221" y="11423"/>
                            </a:cubicBezTo>
                            <a:cubicBezTo>
                              <a:pt x="1340" y="11603"/>
                              <a:pt x="1460" y="11782"/>
                              <a:pt x="1640" y="11902"/>
                            </a:cubicBezTo>
                            <a:cubicBezTo>
                              <a:pt x="1819" y="12201"/>
                              <a:pt x="1939" y="12320"/>
                              <a:pt x="2118" y="12500"/>
                            </a:cubicBezTo>
                          </a:path>
                        </a:pathLst>
                      </a:custGeom>
                      <a:noFill/>
                      <a:ln w="6350" cap="flat">
                        <a:solidFill>
                          <a:schemeClr val="bg1">
                            <a:alpha val="40000"/>
                          </a:schemeClr>
                        </a:solidFill>
                        <a:prstDash val="solid"/>
                        <a:miter/>
                      </a:ln>
                    </p:spPr>
                    <p:txBody>
                      <a:bodyPr rtlCol="0" anchor="ctr"/>
                      <a:lstStyle/>
                      <a:p>
                        <a:endParaRPr lang="en-GB"/>
                      </a:p>
                    </p:txBody>
                  </p:sp>
                  <p:sp>
                    <p:nvSpPr>
                      <p:cNvPr id="7494" name="Vrije vorm: vorm 7493">
                        <a:extLst>
                          <a:ext uri="{FF2B5EF4-FFF2-40B4-BE49-F238E27FC236}">
                            <a16:creationId xmlns:a16="http://schemas.microsoft.com/office/drawing/2014/main" id="{AE121C75-C3B2-4624-B9E2-9CDB61FD218B}"/>
                          </a:ext>
                        </a:extLst>
                      </p:cNvPr>
                      <p:cNvSpPr/>
                      <p:nvPr/>
                    </p:nvSpPr>
                    <p:spPr>
                      <a:xfrm>
                        <a:off x="4803795" y="5061252"/>
                        <a:ext cx="80081" cy="79278"/>
                      </a:xfrm>
                      <a:custGeom>
                        <a:avLst/>
                        <a:gdLst>
                          <a:gd name="connsiteX0" fmla="*/ 78826 w 80081"/>
                          <a:gd name="connsiteY0" fmla="*/ 25452 h 79278"/>
                          <a:gd name="connsiteX1" fmla="*/ 80082 w 80081"/>
                          <a:gd name="connsiteY1" fmla="*/ 25511 h 79278"/>
                          <a:gd name="connsiteX2" fmla="*/ 79663 w 80081"/>
                          <a:gd name="connsiteY2" fmla="*/ 21744 h 79278"/>
                          <a:gd name="connsiteX3" fmla="*/ 78766 w 80081"/>
                          <a:gd name="connsiteY3" fmla="*/ 18095 h 79278"/>
                          <a:gd name="connsiteX4" fmla="*/ 77331 w 80081"/>
                          <a:gd name="connsiteY4" fmla="*/ 14627 h 79278"/>
                          <a:gd name="connsiteX5" fmla="*/ 75417 w 80081"/>
                          <a:gd name="connsiteY5" fmla="*/ 11397 h 79278"/>
                          <a:gd name="connsiteX6" fmla="*/ 73742 w 80081"/>
                          <a:gd name="connsiteY6" fmla="*/ 11277 h 79278"/>
                          <a:gd name="connsiteX7" fmla="*/ 75836 w 80081"/>
                          <a:gd name="connsiteY7" fmla="*/ 14507 h 79278"/>
                          <a:gd name="connsiteX8" fmla="*/ 77391 w 80081"/>
                          <a:gd name="connsiteY8" fmla="*/ 17976 h 79278"/>
                          <a:gd name="connsiteX9" fmla="*/ 78407 w 80081"/>
                          <a:gd name="connsiteY9" fmla="*/ 21624 h 79278"/>
                          <a:gd name="connsiteX10" fmla="*/ 78826 w 80081"/>
                          <a:gd name="connsiteY10" fmla="*/ 25452 h 79278"/>
                          <a:gd name="connsiteX11" fmla="*/ 76075 w 80081"/>
                          <a:gd name="connsiteY11" fmla="*/ 39088 h 79278"/>
                          <a:gd name="connsiteX12" fmla="*/ 77331 w 80081"/>
                          <a:gd name="connsiteY12" fmla="*/ 39147 h 79278"/>
                          <a:gd name="connsiteX13" fmla="*/ 78527 w 80081"/>
                          <a:gd name="connsiteY13" fmla="*/ 36097 h 79278"/>
                          <a:gd name="connsiteX14" fmla="*/ 79364 w 80081"/>
                          <a:gd name="connsiteY14" fmla="*/ 32987 h 79278"/>
                          <a:gd name="connsiteX15" fmla="*/ 79843 w 80081"/>
                          <a:gd name="connsiteY15" fmla="*/ 29877 h 79278"/>
                          <a:gd name="connsiteX16" fmla="*/ 80022 w 80081"/>
                          <a:gd name="connsiteY16" fmla="*/ 26768 h 79278"/>
                          <a:gd name="connsiteX17" fmla="*/ 78766 w 80081"/>
                          <a:gd name="connsiteY17" fmla="*/ 26708 h 79278"/>
                          <a:gd name="connsiteX18" fmla="*/ 78587 w 80081"/>
                          <a:gd name="connsiteY18" fmla="*/ 29817 h 79278"/>
                          <a:gd name="connsiteX19" fmla="*/ 78108 w 80081"/>
                          <a:gd name="connsiteY19" fmla="*/ 32927 h 79278"/>
                          <a:gd name="connsiteX20" fmla="*/ 77271 w 80081"/>
                          <a:gd name="connsiteY20" fmla="*/ 36038 h 79278"/>
                          <a:gd name="connsiteX21" fmla="*/ 76075 w 80081"/>
                          <a:gd name="connsiteY21" fmla="*/ 39088 h 79278"/>
                          <a:gd name="connsiteX22" fmla="*/ 69077 w 80081"/>
                          <a:gd name="connsiteY22" fmla="*/ 49374 h 79278"/>
                          <a:gd name="connsiteX23" fmla="*/ 70513 w 80081"/>
                          <a:gd name="connsiteY23" fmla="*/ 49434 h 79278"/>
                          <a:gd name="connsiteX24" fmla="*/ 73204 w 80081"/>
                          <a:gd name="connsiteY24" fmla="*/ 46025 h 79278"/>
                          <a:gd name="connsiteX25" fmla="*/ 74221 w 80081"/>
                          <a:gd name="connsiteY25" fmla="*/ 44650 h 79278"/>
                          <a:gd name="connsiteX26" fmla="*/ 75178 w 80081"/>
                          <a:gd name="connsiteY26" fmla="*/ 43215 h 79278"/>
                          <a:gd name="connsiteX27" fmla="*/ 76015 w 80081"/>
                          <a:gd name="connsiteY27" fmla="*/ 41779 h 79278"/>
                          <a:gd name="connsiteX28" fmla="*/ 76792 w 80081"/>
                          <a:gd name="connsiteY28" fmla="*/ 40284 h 79278"/>
                          <a:gd name="connsiteX29" fmla="*/ 75477 w 80081"/>
                          <a:gd name="connsiteY29" fmla="*/ 40224 h 79278"/>
                          <a:gd name="connsiteX30" fmla="*/ 74759 w 80081"/>
                          <a:gd name="connsiteY30" fmla="*/ 41540 h 79278"/>
                          <a:gd name="connsiteX31" fmla="*/ 73982 w 80081"/>
                          <a:gd name="connsiteY31" fmla="*/ 42856 h 79278"/>
                          <a:gd name="connsiteX32" fmla="*/ 73144 w 80081"/>
                          <a:gd name="connsiteY32" fmla="*/ 44111 h 79278"/>
                          <a:gd name="connsiteX33" fmla="*/ 72187 w 80081"/>
                          <a:gd name="connsiteY33" fmla="*/ 45368 h 79278"/>
                          <a:gd name="connsiteX34" fmla="*/ 69077 w 80081"/>
                          <a:gd name="connsiteY34" fmla="*/ 49374 h 79278"/>
                          <a:gd name="connsiteX35" fmla="*/ 53049 w 80081"/>
                          <a:gd name="connsiteY35" fmla="*/ 69649 h 79278"/>
                          <a:gd name="connsiteX36" fmla="*/ 54006 w 80081"/>
                          <a:gd name="connsiteY36" fmla="*/ 70307 h 79278"/>
                          <a:gd name="connsiteX37" fmla="*/ 69556 w 80081"/>
                          <a:gd name="connsiteY37" fmla="*/ 50571 h 79278"/>
                          <a:gd name="connsiteX38" fmla="*/ 68121 w 80081"/>
                          <a:gd name="connsiteY38" fmla="*/ 50511 h 79278"/>
                          <a:gd name="connsiteX39" fmla="*/ 53049 w 80081"/>
                          <a:gd name="connsiteY39" fmla="*/ 69649 h 79278"/>
                          <a:gd name="connsiteX40" fmla="*/ 7177 w 80081"/>
                          <a:gd name="connsiteY40" fmla="*/ 37652 h 79278"/>
                          <a:gd name="connsiteX41" fmla="*/ 8194 w 80081"/>
                          <a:gd name="connsiteY41" fmla="*/ 38370 h 79278"/>
                          <a:gd name="connsiteX42" fmla="*/ 27810 w 80081"/>
                          <a:gd name="connsiteY42" fmla="*/ 13490 h 79278"/>
                          <a:gd name="connsiteX43" fmla="*/ 36841 w 80081"/>
                          <a:gd name="connsiteY43" fmla="*/ 5596 h 79278"/>
                          <a:gd name="connsiteX44" fmla="*/ 47547 w 80081"/>
                          <a:gd name="connsiteY44" fmla="*/ 1648 h 79278"/>
                          <a:gd name="connsiteX45" fmla="*/ 58611 w 80081"/>
                          <a:gd name="connsiteY45" fmla="*/ 1828 h 79278"/>
                          <a:gd name="connsiteX46" fmla="*/ 68659 w 80081"/>
                          <a:gd name="connsiteY46" fmla="*/ 6313 h 79278"/>
                          <a:gd name="connsiteX47" fmla="*/ 69735 w 80081"/>
                          <a:gd name="connsiteY47" fmla="*/ 7151 h 79278"/>
                          <a:gd name="connsiteX48" fmla="*/ 70752 w 80081"/>
                          <a:gd name="connsiteY48" fmla="*/ 8048 h 79278"/>
                          <a:gd name="connsiteX49" fmla="*/ 71709 w 80081"/>
                          <a:gd name="connsiteY49" fmla="*/ 9005 h 79278"/>
                          <a:gd name="connsiteX50" fmla="*/ 72606 w 80081"/>
                          <a:gd name="connsiteY50" fmla="*/ 9962 h 79278"/>
                          <a:gd name="connsiteX51" fmla="*/ 74400 w 80081"/>
                          <a:gd name="connsiteY51" fmla="*/ 10081 h 79278"/>
                          <a:gd name="connsiteX52" fmla="*/ 73324 w 80081"/>
                          <a:gd name="connsiteY52" fmla="*/ 8766 h 79278"/>
                          <a:gd name="connsiteX53" fmla="*/ 72128 w 80081"/>
                          <a:gd name="connsiteY53" fmla="*/ 7509 h 79278"/>
                          <a:gd name="connsiteX54" fmla="*/ 70871 w 80081"/>
                          <a:gd name="connsiteY54" fmla="*/ 6373 h 79278"/>
                          <a:gd name="connsiteX55" fmla="*/ 69496 w 80081"/>
                          <a:gd name="connsiteY55" fmla="*/ 5297 h 79278"/>
                          <a:gd name="connsiteX56" fmla="*/ 59030 w 80081"/>
                          <a:gd name="connsiteY56" fmla="*/ 631 h 79278"/>
                          <a:gd name="connsiteX57" fmla="*/ 47487 w 80081"/>
                          <a:gd name="connsiteY57" fmla="*/ 452 h 79278"/>
                          <a:gd name="connsiteX58" fmla="*/ 36303 w 80081"/>
                          <a:gd name="connsiteY58" fmla="*/ 4579 h 79278"/>
                          <a:gd name="connsiteX59" fmla="*/ 26913 w 80081"/>
                          <a:gd name="connsiteY59" fmla="*/ 12772 h 79278"/>
                          <a:gd name="connsiteX60" fmla="*/ 7177 w 80081"/>
                          <a:gd name="connsiteY60" fmla="*/ 37652 h 79278"/>
                          <a:gd name="connsiteX61" fmla="*/ 11842 w 80081"/>
                          <a:gd name="connsiteY61" fmla="*/ 54996 h 79278"/>
                          <a:gd name="connsiteX62" fmla="*/ 46949 w 80081"/>
                          <a:gd name="connsiteY62" fmla="*/ 79278 h 79278"/>
                          <a:gd name="connsiteX63" fmla="*/ 53169 w 80081"/>
                          <a:gd name="connsiteY63" fmla="*/ 71383 h 79278"/>
                          <a:gd name="connsiteX64" fmla="*/ 52212 w 80081"/>
                          <a:gd name="connsiteY64" fmla="*/ 70726 h 79278"/>
                          <a:gd name="connsiteX65" fmla="*/ 46769 w 80081"/>
                          <a:gd name="connsiteY65" fmla="*/ 77604 h 79278"/>
                          <a:gd name="connsiteX66" fmla="*/ 12858 w 80081"/>
                          <a:gd name="connsiteY66" fmla="*/ 54159 h 79278"/>
                          <a:gd name="connsiteX67" fmla="*/ 12619 w 80081"/>
                          <a:gd name="connsiteY67" fmla="*/ 54339 h 79278"/>
                          <a:gd name="connsiteX68" fmla="*/ 12380 w 80081"/>
                          <a:gd name="connsiteY68" fmla="*/ 54578 h 79278"/>
                          <a:gd name="connsiteX69" fmla="*/ 12141 w 80081"/>
                          <a:gd name="connsiteY69" fmla="*/ 54817 h 79278"/>
                          <a:gd name="connsiteX70" fmla="*/ 11842 w 80081"/>
                          <a:gd name="connsiteY70" fmla="*/ 54996 h 79278"/>
                          <a:gd name="connsiteX71" fmla="*/ 0 w 80081"/>
                          <a:gd name="connsiteY71" fmla="*/ 46743 h 79278"/>
                          <a:gd name="connsiteX72" fmla="*/ 10885 w 80081"/>
                          <a:gd name="connsiteY72" fmla="*/ 54279 h 79278"/>
                          <a:gd name="connsiteX73" fmla="*/ 11124 w 80081"/>
                          <a:gd name="connsiteY73" fmla="*/ 54040 h 79278"/>
                          <a:gd name="connsiteX74" fmla="*/ 11363 w 80081"/>
                          <a:gd name="connsiteY74" fmla="*/ 53800 h 79278"/>
                          <a:gd name="connsiteX75" fmla="*/ 11603 w 80081"/>
                          <a:gd name="connsiteY75" fmla="*/ 53561 h 79278"/>
                          <a:gd name="connsiteX76" fmla="*/ 11842 w 80081"/>
                          <a:gd name="connsiteY76" fmla="*/ 53381 h 79278"/>
                          <a:gd name="connsiteX77" fmla="*/ 1734 w 80081"/>
                          <a:gd name="connsiteY77" fmla="*/ 46384 h 79278"/>
                          <a:gd name="connsiteX78" fmla="*/ 6818 w 80081"/>
                          <a:gd name="connsiteY78" fmla="*/ 39925 h 79278"/>
                          <a:gd name="connsiteX79" fmla="*/ 6459 w 80081"/>
                          <a:gd name="connsiteY79" fmla="*/ 39805 h 79278"/>
                          <a:gd name="connsiteX80" fmla="*/ 6160 w 80081"/>
                          <a:gd name="connsiteY80" fmla="*/ 39746 h 79278"/>
                          <a:gd name="connsiteX81" fmla="*/ 5861 w 80081"/>
                          <a:gd name="connsiteY81" fmla="*/ 39686 h 79278"/>
                          <a:gd name="connsiteX82" fmla="*/ 5562 w 80081"/>
                          <a:gd name="connsiteY82" fmla="*/ 39626 h 79278"/>
                          <a:gd name="connsiteX83" fmla="*/ 0 w 80081"/>
                          <a:gd name="connsiteY83" fmla="*/ 46743 h 7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0081" h="79278">
                            <a:moveTo>
                              <a:pt x="78826" y="25452"/>
                            </a:moveTo>
                            <a:lnTo>
                              <a:pt x="80082" y="25511"/>
                            </a:lnTo>
                            <a:cubicBezTo>
                              <a:pt x="80022" y="24255"/>
                              <a:pt x="79902" y="23000"/>
                              <a:pt x="79663" y="21744"/>
                            </a:cubicBezTo>
                            <a:cubicBezTo>
                              <a:pt x="79424" y="20487"/>
                              <a:pt x="79125" y="19292"/>
                              <a:pt x="78766" y="18095"/>
                            </a:cubicBezTo>
                            <a:cubicBezTo>
                              <a:pt x="78347" y="16899"/>
                              <a:pt x="77929" y="15763"/>
                              <a:pt x="77331" y="14627"/>
                            </a:cubicBezTo>
                            <a:cubicBezTo>
                              <a:pt x="76792" y="13490"/>
                              <a:pt x="76134" y="12414"/>
                              <a:pt x="75417" y="11397"/>
                            </a:cubicBezTo>
                            <a:lnTo>
                              <a:pt x="73742" y="11277"/>
                            </a:lnTo>
                            <a:cubicBezTo>
                              <a:pt x="74520" y="12294"/>
                              <a:pt x="75238" y="13370"/>
                              <a:pt x="75836" y="14507"/>
                            </a:cubicBezTo>
                            <a:cubicBezTo>
                              <a:pt x="76433" y="15643"/>
                              <a:pt x="76972" y="16779"/>
                              <a:pt x="77391" y="17976"/>
                            </a:cubicBezTo>
                            <a:cubicBezTo>
                              <a:pt x="77809" y="19172"/>
                              <a:pt x="78168" y="20428"/>
                              <a:pt x="78407" y="21624"/>
                            </a:cubicBezTo>
                            <a:cubicBezTo>
                              <a:pt x="78587" y="22880"/>
                              <a:pt x="78706" y="24136"/>
                              <a:pt x="78826" y="25452"/>
                            </a:cubicBezTo>
                            <a:moveTo>
                              <a:pt x="76075" y="39088"/>
                            </a:moveTo>
                            <a:lnTo>
                              <a:pt x="77331" y="39147"/>
                            </a:lnTo>
                            <a:cubicBezTo>
                              <a:pt x="77809" y="38131"/>
                              <a:pt x="78168" y="37114"/>
                              <a:pt x="78527" y="36097"/>
                            </a:cubicBezTo>
                            <a:cubicBezTo>
                              <a:pt x="78886" y="35080"/>
                              <a:pt x="79125" y="34004"/>
                              <a:pt x="79364" y="32987"/>
                            </a:cubicBezTo>
                            <a:cubicBezTo>
                              <a:pt x="79603" y="31971"/>
                              <a:pt x="79783" y="30894"/>
                              <a:pt x="79843" y="29877"/>
                            </a:cubicBezTo>
                            <a:cubicBezTo>
                              <a:pt x="79962" y="28861"/>
                              <a:pt x="80022" y="27784"/>
                              <a:pt x="80022" y="26768"/>
                            </a:cubicBezTo>
                            <a:lnTo>
                              <a:pt x="78766" y="26708"/>
                            </a:lnTo>
                            <a:cubicBezTo>
                              <a:pt x="78766" y="27724"/>
                              <a:pt x="78706" y="28801"/>
                              <a:pt x="78587" y="29817"/>
                            </a:cubicBezTo>
                            <a:cubicBezTo>
                              <a:pt x="78467" y="30834"/>
                              <a:pt x="78287" y="31911"/>
                              <a:pt x="78108" y="32927"/>
                            </a:cubicBezTo>
                            <a:cubicBezTo>
                              <a:pt x="77869" y="33944"/>
                              <a:pt x="77570" y="35021"/>
                              <a:pt x="77271" y="36038"/>
                            </a:cubicBezTo>
                            <a:cubicBezTo>
                              <a:pt x="76972" y="37054"/>
                              <a:pt x="76553" y="38071"/>
                              <a:pt x="76075" y="39088"/>
                            </a:cubicBezTo>
                            <a:moveTo>
                              <a:pt x="69077" y="49374"/>
                            </a:moveTo>
                            <a:lnTo>
                              <a:pt x="70513" y="49434"/>
                            </a:lnTo>
                            <a:lnTo>
                              <a:pt x="73204" y="46025"/>
                            </a:lnTo>
                            <a:cubicBezTo>
                              <a:pt x="73563" y="45547"/>
                              <a:pt x="73922" y="45128"/>
                              <a:pt x="74221" y="44650"/>
                            </a:cubicBezTo>
                            <a:cubicBezTo>
                              <a:pt x="74579" y="44171"/>
                              <a:pt x="74879" y="43693"/>
                              <a:pt x="75178" y="43215"/>
                            </a:cubicBezTo>
                            <a:cubicBezTo>
                              <a:pt x="75477" y="42736"/>
                              <a:pt x="75776" y="42257"/>
                              <a:pt x="76015" y="41779"/>
                            </a:cubicBezTo>
                            <a:cubicBezTo>
                              <a:pt x="76314" y="41301"/>
                              <a:pt x="76553" y="40822"/>
                              <a:pt x="76792" y="40284"/>
                            </a:cubicBezTo>
                            <a:lnTo>
                              <a:pt x="75477" y="40224"/>
                            </a:lnTo>
                            <a:cubicBezTo>
                              <a:pt x="75238" y="40642"/>
                              <a:pt x="74998" y="41121"/>
                              <a:pt x="74759" y="41540"/>
                            </a:cubicBezTo>
                            <a:cubicBezTo>
                              <a:pt x="74520" y="41958"/>
                              <a:pt x="74221" y="42377"/>
                              <a:pt x="73982" y="42856"/>
                            </a:cubicBezTo>
                            <a:cubicBezTo>
                              <a:pt x="73683" y="43274"/>
                              <a:pt x="73443" y="43693"/>
                              <a:pt x="73144" y="44111"/>
                            </a:cubicBezTo>
                            <a:cubicBezTo>
                              <a:pt x="72845" y="44530"/>
                              <a:pt x="72546" y="44949"/>
                              <a:pt x="72187" y="45368"/>
                            </a:cubicBezTo>
                            <a:lnTo>
                              <a:pt x="69077" y="49374"/>
                            </a:lnTo>
                            <a:moveTo>
                              <a:pt x="53049" y="69649"/>
                            </a:moveTo>
                            <a:lnTo>
                              <a:pt x="54006" y="70307"/>
                            </a:lnTo>
                            <a:lnTo>
                              <a:pt x="69556" y="50571"/>
                            </a:lnTo>
                            <a:lnTo>
                              <a:pt x="68121" y="50511"/>
                            </a:lnTo>
                            <a:lnTo>
                              <a:pt x="53049" y="69649"/>
                            </a:lnTo>
                            <a:moveTo>
                              <a:pt x="7177" y="37652"/>
                            </a:moveTo>
                            <a:lnTo>
                              <a:pt x="8194" y="38370"/>
                            </a:lnTo>
                            <a:lnTo>
                              <a:pt x="27810" y="13490"/>
                            </a:lnTo>
                            <a:cubicBezTo>
                              <a:pt x="30382" y="10261"/>
                              <a:pt x="33432" y="7629"/>
                              <a:pt x="36841" y="5596"/>
                            </a:cubicBezTo>
                            <a:cubicBezTo>
                              <a:pt x="40190" y="3622"/>
                              <a:pt x="43839" y="2306"/>
                              <a:pt x="47547" y="1648"/>
                            </a:cubicBezTo>
                            <a:cubicBezTo>
                              <a:pt x="51255" y="991"/>
                              <a:pt x="55023" y="1050"/>
                              <a:pt x="58611" y="1828"/>
                            </a:cubicBezTo>
                            <a:cubicBezTo>
                              <a:pt x="62199" y="2605"/>
                              <a:pt x="65608" y="4100"/>
                              <a:pt x="68659" y="6313"/>
                            </a:cubicBezTo>
                            <a:cubicBezTo>
                              <a:pt x="69017" y="6612"/>
                              <a:pt x="69376" y="6852"/>
                              <a:pt x="69735" y="7151"/>
                            </a:cubicBezTo>
                            <a:cubicBezTo>
                              <a:pt x="70094" y="7450"/>
                              <a:pt x="70453" y="7749"/>
                              <a:pt x="70752" y="8048"/>
                            </a:cubicBezTo>
                            <a:cubicBezTo>
                              <a:pt x="71111" y="8347"/>
                              <a:pt x="71410" y="8646"/>
                              <a:pt x="71709" y="9005"/>
                            </a:cubicBezTo>
                            <a:cubicBezTo>
                              <a:pt x="72008" y="9304"/>
                              <a:pt x="72307" y="9662"/>
                              <a:pt x="72606" y="9962"/>
                            </a:cubicBezTo>
                            <a:lnTo>
                              <a:pt x="74400" y="10081"/>
                            </a:lnTo>
                            <a:cubicBezTo>
                              <a:pt x="74041" y="9662"/>
                              <a:pt x="73683" y="9184"/>
                              <a:pt x="73324" y="8766"/>
                            </a:cubicBezTo>
                            <a:cubicBezTo>
                              <a:pt x="72965" y="8347"/>
                              <a:pt x="72546" y="7928"/>
                              <a:pt x="72128" y="7509"/>
                            </a:cubicBezTo>
                            <a:cubicBezTo>
                              <a:pt x="71709" y="7091"/>
                              <a:pt x="71290" y="6732"/>
                              <a:pt x="70871" y="6373"/>
                            </a:cubicBezTo>
                            <a:cubicBezTo>
                              <a:pt x="70453" y="6014"/>
                              <a:pt x="69975" y="5655"/>
                              <a:pt x="69496" y="5297"/>
                            </a:cubicBezTo>
                            <a:cubicBezTo>
                              <a:pt x="66326" y="2964"/>
                              <a:pt x="62738" y="1409"/>
                              <a:pt x="59030" y="631"/>
                            </a:cubicBezTo>
                            <a:cubicBezTo>
                              <a:pt x="55262" y="-146"/>
                              <a:pt x="51374" y="-206"/>
                              <a:pt x="47487" y="452"/>
                            </a:cubicBezTo>
                            <a:cubicBezTo>
                              <a:pt x="43599" y="1110"/>
                              <a:pt x="39772" y="2486"/>
                              <a:pt x="36303" y="4579"/>
                            </a:cubicBezTo>
                            <a:cubicBezTo>
                              <a:pt x="32774" y="6672"/>
                              <a:pt x="29545" y="9423"/>
                              <a:pt x="26913" y="12772"/>
                            </a:cubicBezTo>
                            <a:lnTo>
                              <a:pt x="7177" y="37652"/>
                            </a:lnTo>
                            <a:moveTo>
                              <a:pt x="11842" y="54996"/>
                            </a:moveTo>
                            <a:lnTo>
                              <a:pt x="46949" y="79278"/>
                            </a:lnTo>
                            <a:lnTo>
                              <a:pt x="53169" y="71383"/>
                            </a:lnTo>
                            <a:lnTo>
                              <a:pt x="52212" y="70726"/>
                            </a:lnTo>
                            <a:lnTo>
                              <a:pt x="46769" y="77604"/>
                            </a:lnTo>
                            <a:lnTo>
                              <a:pt x="12858" y="54159"/>
                            </a:lnTo>
                            <a:cubicBezTo>
                              <a:pt x="12799" y="54219"/>
                              <a:pt x="12679" y="54279"/>
                              <a:pt x="12619" y="54339"/>
                            </a:cubicBezTo>
                            <a:cubicBezTo>
                              <a:pt x="12559" y="54398"/>
                              <a:pt x="12440" y="54458"/>
                              <a:pt x="12380" y="54578"/>
                            </a:cubicBezTo>
                            <a:cubicBezTo>
                              <a:pt x="12320" y="54638"/>
                              <a:pt x="12201" y="54697"/>
                              <a:pt x="12141" y="54817"/>
                            </a:cubicBezTo>
                            <a:cubicBezTo>
                              <a:pt x="12081" y="54937"/>
                              <a:pt x="11961" y="54877"/>
                              <a:pt x="11842" y="54996"/>
                            </a:cubicBezTo>
                            <a:moveTo>
                              <a:pt x="0" y="46743"/>
                            </a:moveTo>
                            <a:lnTo>
                              <a:pt x="10885" y="54279"/>
                            </a:lnTo>
                            <a:cubicBezTo>
                              <a:pt x="10945" y="54219"/>
                              <a:pt x="11064" y="54099"/>
                              <a:pt x="11124" y="54040"/>
                            </a:cubicBezTo>
                            <a:cubicBezTo>
                              <a:pt x="11184" y="53980"/>
                              <a:pt x="11304" y="53920"/>
                              <a:pt x="11363" y="53800"/>
                            </a:cubicBezTo>
                            <a:cubicBezTo>
                              <a:pt x="11423" y="53740"/>
                              <a:pt x="11543" y="53681"/>
                              <a:pt x="11603" y="53561"/>
                            </a:cubicBezTo>
                            <a:cubicBezTo>
                              <a:pt x="11662" y="53501"/>
                              <a:pt x="11782" y="53441"/>
                              <a:pt x="11842" y="53381"/>
                            </a:cubicBezTo>
                            <a:lnTo>
                              <a:pt x="1734" y="46384"/>
                            </a:lnTo>
                            <a:lnTo>
                              <a:pt x="6818" y="39925"/>
                            </a:lnTo>
                            <a:cubicBezTo>
                              <a:pt x="6698" y="39865"/>
                              <a:pt x="6579" y="39865"/>
                              <a:pt x="6459" y="39805"/>
                            </a:cubicBezTo>
                            <a:cubicBezTo>
                              <a:pt x="6340" y="39805"/>
                              <a:pt x="6220" y="39746"/>
                              <a:pt x="6160" y="39746"/>
                            </a:cubicBezTo>
                            <a:cubicBezTo>
                              <a:pt x="6041" y="39746"/>
                              <a:pt x="5921" y="39686"/>
                              <a:pt x="5861" y="39686"/>
                            </a:cubicBezTo>
                            <a:cubicBezTo>
                              <a:pt x="5741" y="39686"/>
                              <a:pt x="5622" y="39626"/>
                              <a:pt x="5562" y="39626"/>
                            </a:cubicBezTo>
                            <a:lnTo>
                              <a:pt x="0" y="46743"/>
                            </a:lnTo>
                          </a:path>
                        </a:pathLst>
                      </a:custGeom>
                      <a:noFill/>
                      <a:ln w="6350" cap="flat">
                        <a:solidFill>
                          <a:schemeClr val="bg1">
                            <a:alpha val="40000"/>
                          </a:schemeClr>
                        </a:solidFill>
                        <a:prstDash val="solid"/>
                        <a:miter/>
                      </a:ln>
                    </p:spPr>
                    <p:txBody>
                      <a:bodyPr rtlCol="0" anchor="ctr"/>
                      <a:lstStyle/>
                      <a:p>
                        <a:endParaRPr lang="en-GB"/>
                      </a:p>
                    </p:txBody>
                  </p:sp>
                  <p:sp>
                    <p:nvSpPr>
                      <p:cNvPr id="7495" name="Vrije vorm: vorm 7494">
                        <a:extLst>
                          <a:ext uri="{FF2B5EF4-FFF2-40B4-BE49-F238E27FC236}">
                            <a16:creationId xmlns:a16="http://schemas.microsoft.com/office/drawing/2014/main" id="{B94A22DD-D504-47CA-A1BF-6CE0B6CEC6EF}"/>
                          </a:ext>
                        </a:extLst>
                      </p:cNvPr>
                      <p:cNvSpPr/>
                      <p:nvPr/>
                    </p:nvSpPr>
                    <p:spPr>
                      <a:xfrm>
                        <a:off x="4828169" y="5065527"/>
                        <a:ext cx="51401" cy="50249"/>
                      </a:xfrm>
                      <a:custGeom>
                        <a:avLst/>
                        <a:gdLst>
                          <a:gd name="connsiteX0" fmla="*/ 50086 w 51401"/>
                          <a:gd name="connsiteY0" fmla="*/ 20877 h 50249"/>
                          <a:gd name="connsiteX1" fmla="*/ 51342 w 51401"/>
                          <a:gd name="connsiteY1" fmla="*/ 20937 h 50249"/>
                          <a:gd name="connsiteX2" fmla="*/ 50684 w 51401"/>
                          <a:gd name="connsiteY2" fmla="*/ 16990 h 50249"/>
                          <a:gd name="connsiteX3" fmla="*/ 49368 w 51401"/>
                          <a:gd name="connsiteY3" fmla="*/ 13222 h 50249"/>
                          <a:gd name="connsiteX4" fmla="*/ 47395 w 51401"/>
                          <a:gd name="connsiteY4" fmla="*/ 9753 h 50249"/>
                          <a:gd name="connsiteX5" fmla="*/ 44763 w 51401"/>
                          <a:gd name="connsiteY5" fmla="*/ 6643 h 50249"/>
                          <a:gd name="connsiteX6" fmla="*/ 42670 w 51401"/>
                          <a:gd name="connsiteY6" fmla="*/ 6523 h 50249"/>
                          <a:gd name="connsiteX7" fmla="*/ 45601 w 51401"/>
                          <a:gd name="connsiteY7" fmla="*/ 9574 h 50249"/>
                          <a:gd name="connsiteX8" fmla="*/ 47813 w 51401"/>
                          <a:gd name="connsiteY8" fmla="*/ 13043 h 50249"/>
                          <a:gd name="connsiteX9" fmla="*/ 49309 w 51401"/>
                          <a:gd name="connsiteY9" fmla="*/ 16870 h 50249"/>
                          <a:gd name="connsiteX10" fmla="*/ 50086 w 51401"/>
                          <a:gd name="connsiteY10" fmla="*/ 20877 h 50249"/>
                          <a:gd name="connsiteX11" fmla="*/ 47275 w 51401"/>
                          <a:gd name="connsiteY11" fmla="*/ 34513 h 50249"/>
                          <a:gd name="connsiteX12" fmla="*/ 48591 w 51401"/>
                          <a:gd name="connsiteY12" fmla="*/ 34573 h 50249"/>
                          <a:gd name="connsiteX13" fmla="*/ 49906 w 51401"/>
                          <a:gd name="connsiteY13" fmla="*/ 31523 h 50249"/>
                          <a:gd name="connsiteX14" fmla="*/ 50804 w 51401"/>
                          <a:gd name="connsiteY14" fmla="*/ 28413 h 50249"/>
                          <a:gd name="connsiteX15" fmla="*/ 51282 w 51401"/>
                          <a:gd name="connsiteY15" fmla="*/ 25303 h 50249"/>
                          <a:gd name="connsiteX16" fmla="*/ 51402 w 51401"/>
                          <a:gd name="connsiteY16" fmla="*/ 22193 h 50249"/>
                          <a:gd name="connsiteX17" fmla="*/ 50146 w 51401"/>
                          <a:gd name="connsiteY17" fmla="*/ 22133 h 50249"/>
                          <a:gd name="connsiteX18" fmla="*/ 50086 w 51401"/>
                          <a:gd name="connsiteY18" fmla="*/ 25243 h 50249"/>
                          <a:gd name="connsiteX19" fmla="*/ 49607 w 51401"/>
                          <a:gd name="connsiteY19" fmla="*/ 28413 h 50249"/>
                          <a:gd name="connsiteX20" fmla="*/ 48650 w 51401"/>
                          <a:gd name="connsiteY20" fmla="*/ 31523 h 50249"/>
                          <a:gd name="connsiteX21" fmla="*/ 47275 w 51401"/>
                          <a:gd name="connsiteY21" fmla="*/ 34513 h 50249"/>
                          <a:gd name="connsiteX22" fmla="*/ 37945 w 51401"/>
                          <a:gd name="connsiteY22" fmla="*/ 44680 h 50249"/>
                          <a:gd name="connsiteX23" fmla="*/ 39859 w 51401"/>
                          <a:gd name="connsiteY23" fmla="*/ 44800 h 50249"/>
                          <a:gd name="connsiteX24" fmla="*/ 41414 w 51401"/>
                          <a:gd name="connsiteY24" fmla="*/ 43604 h 50249"/>
                          <a:gd name="connsiteX25" fmla="*/ 42849 w 51401"/>
                          <a:gd name="connsiteY25" fmla="*/ 42288 h 50249"/>
                          <a:gd name="connsiteX26" fmla="*/ 44225 w 51401"/>
                          <a:gd name="connsiteY26" fmla="*/ 40853 h 50249"/>
                          <a:gd name="connsiteX27" fmla="*/ 45541 w 51401"/>
                          <a:gd name="connsiteY27" fmla="*/ 39298 h 50249"/>
                          <a:gd name="connsiteX28" fmla="*/ 46198 w 51401"/>
                          <a:gd name="connsiteY28" fmla="*/ 38401 h 50249"/>
                          <a:gd name="connsiteX29" fmla="*/ 46796 w 51401"/>
                          <a:gd name="connsiteY29" fmla="*/ 37503 h 50249"/>
                          <a:gd name="connsiteX30" fmla="*/ 47395 w 51401"/>
                          <a:gd name="connsiteY30" fmla="*/ 36607 h 50249"/>
                          <a:gd name="connsiteX31" fmla="*/ 47933 w 51401"/>
                          <a:gd name="connsiteY31" fmla="*/ 35709 h 50249"/>
                          <a:gd name="connsiteX32" fmla="*/ 46617 w 51401"/>
                          <a:gd name="connsiteY32" fmla="*/ 35649 h 50249"/>
                          <a:gd name="connsiteX33" fmla="*/ 46139 w 51401"/>
                          <a:gd name="connsiteY33" fmla="*/ 36427 h 50249"/>
                          <a:gd name="connsiteX34" fmla="*/ 45660 w 51401"/>
                          <a:gd name="connsiteY34" fmla="*/ 37145 h 50249"/>
                          <a:gd name="connsiteX35" fmla="*/ 45122 w 51401"/>
                          <a:gd name="connsiteY35" fmla="*/ 37862 h 50249"/>
                          <a:gd name="connsiteX36" fmla="*/ 44584 w 51401"/>
                          <a:gd name="connsiteY36" fmla="*/ 38580 h 50249"/>
                          <a:gd name="connsiteX37" fmla="*/ 43088 w 51401"/>
                          <a:gd name="connsiteY37" fmla="*/ 40315 h 50249"/>
                          <a:gd name="connsiteX38" fmla="*/ 41474 w 51401"/>
                          <a:gd name="connsiteY38" fmla="*/ 41930 h 50249"/>
                          <a:gd name="connsiteX39" fmla="*/ 39739 w 51401"/>
                          <a:gd name="connsiteY39" fmla="*/ 43365 h 50249"/>
                          <a:gd name="connsiteX40" fmla="*/ 37945 w 51401"/>
                          <a:gd name="connsiteY40" fmla="*/ 44680 h 50249"/>
                          <a:gd name="connsiteX41" fmla="*/ 9596 w 51401"/>
                          <a:gd name="connsiteY41" fmla="*/ 46056 h 50249"/>
                          <a:gd name="connsiteX42" fmla="*/ 16355 w 51401"/>
                          <a:gd name="connsiteY42" fmla="*/ 49286 h 50249"/>
                          <a:gd name="connsiteX43" fmla="*/ 23711 w 51401"/>
                          <a:gd name="connsiteY43" fmla="*/ 50242 h 50249"/>
                          <a:gd name="connsiteX44" fmla="*/ 31127 w 51401"/>
                          <a:gd name="connsiteY44" fmla="*/ 49106 h 50249"/>
                          <a:gd name="connsiteX45" fmla="*/ 38125 w 51401"/>
                          <a:gd name="connsiteY45" fmla="*/ 45937 h 50249"/>
                          <a:gd name="connsiteX46" fmla="*/ 36031 w 51401"/>
                          <a:gd name="connsiteY46" fmla="*/ 45817 h 50249"/>
                          <a:gd name="connsiteX47" fmla="*/ 29632 w 51401"/>
                          <a:gd name="connsiteY47" fmla="*/ 48329 h 50249"/>
                          <a:gd name="connsiteX48" fmla="*/ 22933 w 51401"/>
                          <a:gd name="connsiteY48" fmla="*/ 49106 h 50249"/>
                          <a:gd name="connsiteX49" fmla="*/ 16355 w 51401"/>
                          <a:gd name="connsiteY49" fmla="*/ 48030 h 50249"/>
                          <a:gd name="connsiteX50" fmla="*/ 10314 w 51401"/>
                          <a:gd name="connsiteY50" fmla="*/ 45039 h 50249"/>
                          <a:gd name="connsiteX51" fmla="*/ 4154 w 51401"/>
                          <a:gd name="connsiteY51" fmla="*/ 38281 h 50249"/>
                          <a:gd name="connsiteX52" fmla="*/ 1463 w 51401"/>
                          <a:gd name="connsiteY52" fmla="*/ 29729 h 50249"/>
                          <a:gd name="connsiteX53" fmla="*/ 2360 w 51401"/>
                          <a:gd name="connsiteY53" fmla="*/ 20459 h 50249"/>
                          <a:gd name="connsiteX54" fmla="*/ 6965 w 51401"/>
                          <a:gd name="connsiteY54" fmla="*/ 11667 h 50249"/>
                          <a:gd name="connsiteX55" fmla="*/ 14381 w 51401"/>
                          <a:gd name="connsiteY55" fmla="*/ 5148 h 50249"/>
                          <a:gd name="connsiteX56" fmla="*/ 23232 w 51401"/>
                          <a:gd name="connsiteY56" fmla="*/ 1739 h 50249"/>
                          <a:gd name="connsiteX57" fmla="*/ 32383 w 51401"/>
                          <a:gd name="connsiteY57" fmla="*/ 1679 h 50249"/>
                          <a:gd name="connsiteX58" fmla="*/ 40816 w 51401"/>
                          <a:gd name="connsiteY58" fmla="*/ 5088 h 50249"/>
                          <a:gd name="connsiteX59" fmla="*/ 43208 w 51401"/>
                          <a:gd name="connsiteY59" fmla="*/ 5268 h 50249"/>
                          <a:gd name="connsiteX60" fmla="*/ 42969 w 51401"/>
                          <a:gd name="connsiteY60" fmla="*/ 5088 h 50249"/>
                          <a:gd name="connsiteX61" fmla="*/ 42730 w 51401"/>
                          <a:gd name="connsiteY61" fmla="*/ 4909 h 50249"/>
                          <a:gd name="connsiteX62" fmla="*/ 42490 w 51401"/>
                          <a:gd name="connsiteY62" fmla="*/ 4729 h 50249"/>
                          <a:gd name="connsiteX63" fmla="*/ 42251 w 51401"/>
                          <a:gd name="connsiteY63" fmla="*/ 4550 h 50249"/>
                          <a:gd name="connsiteX64" fmla="*/ 33280 w 51401"/>
                          <a:gd name="connsiteY64" fmla="*/ 543 h 50249"/>
                          <a:gd name="connsiteX65" fmla="*/ 23412 w 51401"/>
                          <a:gd name="connsiteY65" fmla="*/ 363 h 50249"/>
                          <a:gd name="connsiteX66" fmla="*/ 13902 w 51401"/>
                          <a:gd name="connsiteY66" fmla="*/ 3892 h 50249"/>
                          <a:gd name="connsiteX67" fmla="*/ 5888 w 51401"/>
                          <a:gd name="connsiteY67" fmla="*/ 10890 h 50249"/>
                          <a:gd name="connsiteX68" fmla="*/ 1044 w 51401"/>
                          <a:gd name="connsiteY68" fmla="*/ 20160 h 50249"/>
                          <a:gd name="connsiteX69" fmla="*/ 147 w 51401"/>
                          <a:gd name="connsiteY69" fmla="*/ 29908 h 50249"/>
                          <a:gd name="connsiteX70" fmla="*/ 3018 w 51401"/>
                          <a:gd name="connsiteY70" fmla="*/ 38879 h 50249"/>
                          <a:gd name="connsiteX71" fmla="*/ 9596 w 51401"/>
                          <a:gd name="connsiteY71" fmla="*/ 46056 h 5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1401" h="50249">
                            <a:moveTo>
                              <a:pt x="50086" y="20877"/>
                            </a:moveTo>
                            <a:lnTo>
                              <a:pt x="51342" y="20937"/>
                            </a:lnTo>
                            <a:cubicBezTo>
                              <a:pt x="51222" y="19621"/>
                              <a:pt x="51043" y="18246"/>
                              <a:pt x="50684" y="16990"/>
                            </a:cubicBezTo>
                            <a:cubicBezTo>
                              <a:pt x="50325" y="15674"/>
                              <a:pt x="49906" y="14418"/>
                              <a:pt x="49368" y="13222"/>
                            </a:cubicBezTo>
                            <a:cubicBezTo>
                              <a:pt x="48830" y="12026"/>
                              <a:pt x="48172" y="10830"/>
                              <a:pt x="47395" y="9753"/>
                            </a:cubicBezTo>
                            <a:cubicBezTo>
                              <a:pt x="46617" y="8677"/>
                              <a:pt x="45720" y="7600"/>
                              <a:pt x="44763" y="6643"/>
                            </a:cubicBezTo>
                            <a:lnTo>
                              <a:pt x="42670" y="6523"/>
                            </a:lnTo>
                            <a:cubicBezTo>
                              <a:pt x="43747" y="7481"/>
                              <a:pt x="44763" y="8497"/>
                              <a:pt x="45601" y="9574"/>
                            </a:cubicBezTo>
                            <a:cubicBezTo>
                              <a:pt x="46438" y="10650"/>
                              <a:pt x="47215" y="11846"/>
                              <a:pt x="47813" y="13043"/>
                            </a:cubicBezTo>
                            <a:cubicBezTo>
                              <a:pt x="48411" y="14239"/>
                              <a:pt x="48950" y="15554"/>
                              <a:pt x="49309" y="16870"/>
                            </a:cubicBezTo>
                            <a:cubicBezTo>
                              <a:pt x="49667" y="18126"/>
                              <a:pt x="49906" y="19502"/>
                              <a:pt x="50086" y="20877"/>
                            </a:cubicBezTo>
                            <a:moveTo>
                              <a:pt x="47275" y="34513"/>
                            </a:moveTo>
                            <a:lnTo>
                              <a:pt x="48591" y="34573"/>
                            </a:lnTo>
                            <a:cubicBezTo>
                              <a:pt x="49069" y="33556"/>
                              <a:pt x="49548" y="32540"/>
                              <a:pt x="49906" y="31523"/>
                            </a:cubicBezTo>
                            <a:cubicBezTo>
                              <a:pt x="50265" y="30506"/>
                              <a:pt x="50564" y="29430"/>
                              <a:pt x="50804" y="28413"/>
                            </a:cubicBezTo>
                            <a:cubicBezTo>
                              <a:pt x="51043" y="27396"/>
                              <a:pt x="51222" y="26320"/>
                              <a:pt x="51282" y="25303"/>
                            </a:cubicBezTo>
                            <a:cubicBezTo>
                              <a:pt x="51402" y="24226"/>
                              <a:pt x="51402" y="23210"/>
                              <a:pt x="51402" y="22193"/>
                            </a:cubicBezTo>
                            <a:lnTo>
                              <a:pt x="50146" y="22133"/>
                            </a:lnTo>
                            <a:cubicBezTo>
                              <a:pt x="50205" y="23150"/>
                              <a:pt x="50146" y="24226"/>
                              <a:pt x="50086" y="25243"/>
                            </a:cubicBezTo>
                            <a:cubicBezTo>
                              <a:pt x="49966" y="26320"/>
                              <a:pt x="49847" y="27337"/>
                              <a:pt x="49607" y="28413"/>
                            </a:cubicBezTo>
                            <a:cubicBezTo>
                              <a:pt x="49368" y="29430"/>
                              <a:pt x="49069" y="30506"/>
                              <a:pt x="48650" y="31523"/>
                            </a:cubicBezTo>
                            <a:cubicBezTo>
                              <a:pt x="48232" y="32480"/>
                              <a:pt x="47753" y="33497"/>
                              <a:pt x="47275" y="34513"/>
                            </a:cubicBezTo>
                            <a:moveTo>
                              <a:pt x="37945" y="44680"/>
                            </a:moveTo>
                            <a:lnTo>
                              <a:pt x="39859" y="44800"/>
                            </a:lnTo>
                            <a:cubicBezTo>
                              <a:pt x="40397" y="44441"/>
                              <a:pt x="40876" y="44023"/>
                              <a:pt x="41414" y="43604"/>
                            </a:cubicBezTo>
                            <a:cubicBezTo>
                              <a:pt x="41892" y="43185"/>
                              <a:pt x="42371" y="42767"/>
                              <a:pt x="42849" y="42288"/>
                            </a:cubicBezTo>
                            <a:cubicBezTo>
                              <a:pt x="43328" y="41810"/>
                              <a:pt x="43806" y="41331"/>
                              <a:pt x="44225" y="40853"/>
                            </a:cubicBezTo>
                            <a:cubicBezTo>
                              <a:pt x="44643" y="40374"/>
                              <a:pt x="45122" y="39836"/>
                              <a:pt x="45541" y="39298"/>
                            </a:cubicBezTo>
                            <a:cubicBezTo>
                              <a:pt x="45780" y="38999"/>
                              <a:pt x="45959" y="38700"/>
                              <a:pt x="46198" y="38401"/>
                            </a:cubicBezTo>
                            <a:cubicBezTo>
                              <a:pt x="46438" y="38102"/>
                              <a:pt x="46617" y="37803"/>
                              <a:pt x="46796" y="37503"/>
                            </a:cubicBezTo>
                            <a:cubicBezTo>
                              <a:pt x="46976" y="37205"/>
                              <a:pt x="47215" y="36906"/>
                              <a:pt x="47395" y="36607"/>
                            </a:cubicBezTo>
                            <a:cubicBezTo>
                              <a:pt x="47574" y="36308"/>
                              <a:pt x="47753" y="36008"/>
                              <a:pt x="47933" y="35709"/>
                            </a:cubicBezTo>
                            <a:lnTo>
                              <a:pt x="46617" y="35649"/>
                            </a:lnTo>
                            <a:cubicBezTo>
                              <a:pt x="46438" y="35889"/>
                              <a:pt x="46318" y="36128"/>
                              <a:pt x="46139" y="36427"/>
                            </a:cubicBezTo>
                            <a:cubicBezTo>
                              <a:pt x="45959" y="36726"/>
                              <a:pt x="45840" y="36906"/>
                              <a:pt x="45660" y="37145"/>
                            </a:cubicBezTo>
                            <a:cubicBezTo>
                              <a:pt x="45481" y="37384"/>
                              <a:pt x="45301" y="37623"/>
                              <a:pt x="45122" y="37862"/>
                            </a:cubicBezTo>
                            <a:cubicBezTo>
                              <a:pt x="44942" y="38102"/>
                              <a:pt x="44763" y="38341"/>
                              <a:pt x="44584" y="38580"/>
                            </a:cubicBezTo>
                            <a:cubicBezTo>
                              <a:pt x="44105" y="39178"/>
                              <a:pt x="43627" y="39776"/>
                              <a:pt x="43088" y="40315"/>
                            </a:cubicBezTo>
                            <a:cubicBezTo>
                              <a:pt x="42550" y="40853"/>
                              <a:pt x="42012" y="41391"/>
                              <a:pt x="41474" y="41930"/>
                            </a:cubicBezTo>
                            <a:cubicBezTo>
                              <a:pt x="40935" y="42468"/>
                              <a:pt x="40337" y="42886"/>
                              <a:pt x="39739" y="43365"/>
                            </a:cubicBezTo>
                            <a:cubicBezTo>
                              <a:pt x="39141" y="43903"/>
                              <a:pt x="38543" y="44322"/>
                              <a:pt x="37945" y="44680"/>
                            </a:cubicBezTo>
                            <a:moveTo>
                              <a:pt x="9596" y="46056"/>
                            </a:moveTo>
                            <a:cubicBezTo>
                              <a:pt x="11690" y="47551"/>
                              <a:pt x="13962" y="48628"/>
                              <a:pt x="16355" y="49286"/>
                            </a:cubicBezTo>
                            <a:cubicBezTo>
                              <a:pt x="18747" y="50003"/>
                              <a:pt x="21199" y="50302"/>
                              <a:pt x="23711" y="50242"/>
                            </a:cubicBezTo>
                            <a:cubicBezTo>
                              <a:pt x="26223" y="50183"/>
                              <a:pt x="28735" y="49824"/>
                              <a:pt x="31127" y="49106"/>
                            </a:cubicBezTo>
                            <a:cubicBezTo>
                              <a:pt x="33579" y="48388"/>
                              <a:pt x="35912" y="47312"/>
                              <a:pt x="38125" y="45937"/>
                            </a:cubicBezTo>
                            <a:lnTo>
                              <a:pt x="36031" y="45817"/>
                            </a:lnTo>
                            <a:cubicBezTo>
                              <a:pt x="33998" y="46953"/>
                              <a:pt x="31845" y="47731"/>
                              <a:pt x="29632" y="48329"/>
                            </a:cubicBezTo>
                            <a:cubicBezTo>
                              <a:pt x="27419" y="48867"/>
                              <a:pt x="25206" y="49106"/>
                              <a:pt x="22933" y="49106"/>
                            </a:cubicBezTo>
                            <a:cubicBezTo>
                              <a:pt x="20721" y="49047"/>
                              <a:pt x="18508" y="48687"/>
                              <a:pt x="16355" y="48030"/>
                            </a:cubicBezTo>
                            <a:cubicBezTo>
                              <a:pt x="14202" y="47372"/>
                              <a:pt x="12168" y="46355"/>
                              <a:pt x="10314" y="45039"/>
                            </a:cubicBezTo>
                            <a:cubicBezTo>
                              <a:pt x="7683" y="43185"/>
                              <a:pt x="5649" y="40913"/>
                              <a:pt x="4154" y="38281"/>
                            </a:cubicBezTo>
                            <a:cubicBezTo>
                              <a:pt x="2659" y="35649"/>
                              <a:pt x="1762" y="32779"/>
                              <a:pt x="1463" y="29729"/>
                            </a:cubicBezTo>
                            <a:cubicBezTo>
                              <a:pt x="1164" y="26678"/>
                              <a:pt x="1463" y="23569"/>
                              <a:pt x="2360" y="20459"/>
                            </a:cubicBezTo>
                            <a:cubicBezTo>
                              <a:pt x="3257" y="17408"/>
                              <a:pt x="4812" y="14358"/>
                              <a:pt x="6965" y="11667"/>
                            </a:cubicBezTo>
                            <a:cubicBezTo>
                              <a:pt x="9058" y="8976"/>
                              <a:pt x="11630" y="6763"/>
                              <a:pt x="14381" y="5148"/>
                            </a:cubicBezTo>
                            <a:cubicBezTo>
                              <a:pt x="17132" y="3473"/>
                              <a:pt x="20123" y="2337"/>
                              <a:pt x="23232" y="1739"/>
                            </a:cubicBezTo>
                            <a:cubicBezTo>
                              <a:pt x="26283" y="1141"/>
                              <a:pt x="29393" y="1141"/>
                              <a:pt x="32383" y="1679"/>
                            </a:cubicBezTo>
                            <a:cubicBezTo>
                              <a:pt x="35373" y="2217"/>
                              <a:pt x="38244" y="3354"/>
                              <a:pt x="40816" y="5088"/>
                            </a:cubicBezTo>
                            <a:lnTo>
                              <a:pt x="43208" y="5268"/>
                            </a:lnTo>
                            <a:cubicBezTo>
                              <a:pt x="43148" y="5208"/>
                              <a:pt x="43088" y="5148"/>
                              <a:pt x="42969" y="5088"/>
                            </a:cubicBezTo>
                            <a:cubicBezTo>
                              <a:pt x="42909" y="5028"/>
                              <a:pt x="42789" y="4968"/>
                              <a:pt x="42730" y="4909"/>
                            </a:cubicBezTo>
                            <a:cubicBezTo>
                              <a:pt x="42670" y="4849"/>
                              <a:pt x="42550" y="4789"/>
                              <a:pt x="42490" y="4729"/>
                            </a:cubicBezTo>
                            <a:cubicBezTo>
                              <a:pt x="42431" y="4669"/>
                              <a:pt x="42311" y="4610"/>
                              <a:pt x="42251" y="4550"/>
                            </a:cubicBezTo>
                            <a:cubicBezTo>
                              <a:pt x="39560" y="2576"/>
                              <a:pt x="36510" y="1260"/>
                              <a:pt x="33280" y="543"/>
                            </a:cubicBezTo>
                            <a:cubicBezTo>
                              <a:pt x="30050" y="-115"/>
                              <a:pt x="26761" y="-175"/>
                              <a:pt x="23412" y="363"/>
                            </a:cubicBezTo>
                            <a:cubicBezTo>
                              <a:pt x="20123" y="961"/>
                              <a:pt x="16893" y="2098"/>
                              <a:pt x="13902" y="3892"/>
                            </a:cubicBezTo>
                            <a:cubicBezTo>
                              <a:pt x="10912" y="5686"/>
                              <a:pt x="8161" y="8019"/>
                              <a:pt x="5888" y="10890"/>
                            </a:cubicBezTo>
                            <a:cubicBezTo>
                              <a:pt x="3616" y="13760"/>
                              <a:pt x="2001" y="16930"/>
                              <a:pt x="1044" y="20160"/>
                            </a:cubicBezTo>
                            <a:cubicBezTo>
                              <a:pt x="87" y="23389"/>
                              <a:pt x="-212" y="26678"/>
                              <a:pt x="147" y="29908"/>
                            </a:cubicBezTo>
                            <a:cubicBezTo>
                              <a:pt x="506" y="33078"/>
                              <a:pt x="1463" y="36128"/>
                              <a:pt x="3018" y="38879"/>
                            </a:cubicBezTo>
                            <a:cubicBezTo>
                              <a:pt x="4692" y="41690"/>
                              <a:pt x="6845" y="44142"/>
                              <a:pt x="9596" y="46056"/>
                            </a:cubicBezTo>
                          </a:path>
                        </a:pathLst>
                      </a:custGeom>
                      <a:noFill/>
                      <a:ln w="6350" cap="flat">
                        <a:solidFill>
                          <a:schemeClr val="bg1">
                            <a:alpha val="40000"/>
                          </a:schemeClr>
                        </a:solidFill>
                        <a:prstDash val="solid"/>
                        <a:miter/>
                      </a:ln>
                    </p:spPr>
                    <p:txBody>
                      <a:bodyPr rtlCol="0" anchor="ctr"/>
                      <a:lstStyle/>
                      <a:p>
                        <a:endParaRPr lang="en-GB"/>
                      </a:p>
                    </p:txBody>
                  </p:sp>
                  <p:sp>
                    <p:nvSpPr>
                      <p:cNvPr id="7496" name="Vrije vorm: vorm 7495">
                        <a:extLst>
                          <a:ext uri="{FF2B5EF4-FFF2-40B4-BE49-F238E27FC236}">
                            <a16:creationId xmlns:a16="http://schemas.microsoft.com/office/drawing/2014/main" id="{B930A06C-C7F5-4162-9934-6B95BB7A09BE}"/>
                          </a:ext>
                        </a:extLst>
                      </p:cNvPr>
                      <p:cNvSpPr/>
                      <p:nvPr/>
                    </p:nvSpPr>
                    <p:spPr>
                      <a:xfrm>
                        <a:off x="4752839" y="5090131"/>
                        <a:ext cx="120558" cy="102729"/>
                      </a:xfrm>
                      <a:custGeom>
                        <a:avLst/>
                        <a:gdLst>
                          <a:gd name="connsiteX0" fmla="*/ 0 w 120558"/>
                          <a:gd name="connsiteY0" fmla="*/ 43700 h 102729"/>
                          <a:gd name="connsiteX1" fmla="*/ 4545 w 120558"/>
                          <a:gd name="connsiteY1" fmla="*/ 46690 h 102729"/>
                          <a:gd name="connsiteX2" fmla="*/ 5562 w 120558"/>
                          <a:gd name="connsiteY2" fmla="*/ 47408 h 102729"/>
                          <a:gd name="connsiteX3" fmla="*/ 10107 w 120558"/>
                          <a:gd name="connsiteY3" fmla="*/ 50398 h 102729"/>
                          <a:gd name="connsiteX4" fmla="*/ 11124 w 120558"/>
                          <a:gd name="connsiteY4" fmla="*/ 51056 h 102729"/>
                          <a:gd name="connsiteX5" fmla="*/ 13397 w 120558"/>
                          <a:gd name="connsiteY5" fmla="*/ 52551 h 102729"/>
                          <a:gd name="connsiteX6" fmla="*/ 14234 w 120558"/>
                          <a:gd name="connsiteY6" fmla="*/ 51535 h 102729"/>
                          <a:gd name="connsiteX7" fmla="*/ 11961 w 120558"/>
                          <a:gd name="connsiteY7" fmla="*/ 50040 h 102729"/>
                          <a:gd name="connsiteX8" fmla="*/ 10945 w 120558"/>
                          <a:gd name="connsiteY8" fmla="*/ 49322 h 102729"/>
                          <a:gd name="connsiteX9" fmla="*/ 6459 w 120558"/>
                          <a:gd name="connsiteY9" fmla="*/ 46332 h 102729"/>
                          <a:gd name="connsiteX10" fmla="*/ 5443 w 120558"/>
                          <a:gd name="connsiteY10" fmla="*/ 45614 h 102729"/>
                          <a:gd name="connsiteX11" fmla="*/ 1974 w 120558"/>
                          <a:gd name="connsiteY11" fmla="*/ 43281 h 102729"/>
                          <a:gd name="connsiteX12" fmla="*/ 4246 w 120558"/>
                          <a:gd name="connsiteY12" fmla="*/ 40351 h 102729"/>
                          <a:gd name="connsiteX13" fmla="*/ 5024 w 120558"/>
                          <a:gd name="connsiteY13" fmla="*/ 39334 h 102729"/>
                          <a:gd name="connsiteX14" fmla="*/ 9270 w 120558"/>
                          <a:gd name="connsiteY14" fmla="*/ 33951 h 102729"/>
                          <a:gd name="connsiteX15" fmla="*/ 10107 w 120558"/>
                          <a:gd name="connsiteY15" fmla="*/ 32935 h 102729"/>
                          <a:gd name="connsiteX16" fmla="*/ 11244 w 120558"/>
                          <a:gd name="connsiteY16" fmla="*/ 31500 h 102729"/>
                          <a:gd name="connsiteX17" fmla="*/ 12081 w 120558"/>
                          <a:gd name="connsiteY17" fmla="*/ 30483 h 102729"/>
                          <a:gd name="connsiteX18" fmla="*/ 14533 w 120558"/>
                          <a:gd name="connsiteY18" fmla="*/ 27373 h 102729"/>
                          <a:gd name="connsiteX19" fmla="*/ 15311 w 120558"/>
                          <a:gd name="connsiteY19" fmla="*/ 26356 h 102729"/>
                          <a:gd name="connsiteX20" fmla="*/ 17523 w 120558"/>
                          <a:gd name="connsiteY20" fmla="*/ 23545 h 102729"/>
                          <a:gd name="connsiteX21" fmla="*/ 18361 w 120558"/>
                          <a:gd name="connsiteY21" fmla="*/ 22528 h 102729"/>
                          <a:gd name="connsiteX22" fmla="*/ 23205 w 120558"/>
                          <a:gd name="connsiteY22" fmla="*/ 16368 h 102729"/>
                          <a:gd name="connsiteX23" fmla="*/ 24043 w 120558"/>
                          <a:gd name="connsiteY23" fmla="*/ 15352 h 102729"/>
                          <a:gd name="connsiteX24" fmla="*/ 28887 w 120558"/>
                          <a:gd name="connsiteY24" fmla="*/ 9191 h 102729"/>
                          <a:gd name="connsiteX25" fmla="*/ 33911 w 120558"/>
                          <a:gd name="connsiteY25" fmla="*/ 4168 h 102729"/>
                          <a:gd name="connsiteX26" fmla="*/ 39054 w 120558"/>
                          <a:gd name="connsiteY26" fmla="*/ 1715 h 102729"/>
                          <a:gd name="connsiteX27" fmla="*/ 44317 w 120558"/>
                          <a:gd name="connsiteY27" fmla="*/ 1835 h 102729"/>
                          <a:gd name="connsiteX28" fmla="*/ 49760 w 120558"/>
                          <a:gd name="connsiteY28" fmla="*/ 4467 h 102729"/>
                          <a:gd name="connsiteX29" fmla="*/ 57116 w 120558"/>
                          <a:gd name="connsiteY29" fmla="*/ 9610 h 102729"/>
                          <a:gd name="connsiteX30" fmla="*/ 58731 w 120558"/>
                          <a:gd name="connsiteY30" fmla="*/ 10029 h 102729"/>
                          <a:gd name="connsiteX31" fmla="*/ 60346 w 120558"/>
                          <a:gd name="connsiteY31" fmla="*/ 10686 h 102729"/>
                          <a:gd name="connsiteX32" fmla="*/ 61960 w 120558"/>
                          <a:gd name="connsiteY32" fmla="*/ 11524 h 102729"/>
                          <a:gd name="connsiteX33" fmla="*/ 63575 w 120558"/>
                          <a:gd name="connsiteY33" fmla="*/ 12540 h 102729"/>
                          <a:gd name="connsiteX34" fmla="*/ 80261 w 120558"/>
                          <a:gd name="connsiteY34" fmla="*/ 24203 h 102729"/>
                          <a:gd name="connsiteX35" fmla="*/ 79424 w 120558"/>
                          <a:gd name="connsiteY35" fmla="*/ 25219 h 102729"/>
                          <a:gd name="connsiteX36" fmla="*/ 103227 w 120558"/>
                          <a:gd name="connsiteY36" fmla="*/ 41786 h 102729"/>
                          <a:gd name="connsiteX37" fmla="*/ 104184 w 120558"/>
                          <a:gd name="connsiteY37" fmla="*/ 42444 h 102729"/>
                          <a:gd name="connsiteX38" fmla="*/ 113873 w 120558"/>
                          <a:gd name="connsiteY38" fmla="*/ 49202 h 102729"/>
                          <a:gd name="connsiteX39" fmla="*/ 117222 w 120558"/>
                          <a:gd name="connsiteY39" fmla="*/ 52312 h 102729"/>
                          <a:gd name="connsiteX40" fmla="*/ 118957 w 120558"/>
                          <a:gd name="connsiteY40" fmla="*/ 55781 h 102729"/>
                          <a:gd name="connsiteX41" fmla="*/ 119136 w 120558"/>
                          <a:gd name="connsiteY41" fmla="*/ 59609 h 102729"/>
                          <a:gd name="connsiteX42" fmla="*/ 117701 w 120558"/>
                          <a:gd name="connsiteY42" fmla="*/ 63795 h 102729"/>
                          <a:gd name="connsiteX43" fmla="*/ 117581 w 120558"/>
                          <a:gd name="connsiteY43" fmla="*/ 64094 h 102729"/>
                          <a:gd name="connsiteX44" fmla="*/ 117402 w 120558"/>
                          <a:gd name="connsiteY44" fmla="*/ 64393 h 102729"/>
                          <a:gd name="connsiteX45" fmla="*/ 117222 w 120558"/>
                          <a:gd name="connsiteY45" fmla="*/ 64692 h 102729"/>
                          <a:gd name="connsiteX46" fmla="*/ 117043 w 120558"/>
                          <a:gd name="connsiteY46" fmla="*/ 64991 h 102729"/>
                          <a:gd name="connsiteX47" fmla="*/ 116804 w 120558"/>
                          <a:gd name="connsiteY47" fmla="*/ 65350 h 102729"/>
                          <a:gd name="connsiteX48" fmla="*/ 116564 w 120558"/>
                          <a:gd name="connsiteY48" fmla="*/ 65709 h 102729"/>
                          <a:gd name="connsiteX49" fmla="*/ 116325 w 120558"/>
                          <a:gd name="connsiteY49" fmla="*/ 66068 h 102729"/>
                          <a:gd name="connsiteX50" fmla="*/ 116086 w 120558"/>
                          <a:gd name="connsiteY50" fmla="*/ 66427 h 102729"/>
                          <a:gd name="connsiteX51" fmla="*/ 115906 w 120558"/>
                          <a:gd name="connsiteY51" fmla="*/ 66666 h 102729"/>
                          <a:gd name="connsiteX52" fmla="*/ 115727 w 120558"/>
                          <a:gd name="connsiteY52" fmla="*/ 66905 h 102729"/>
                          <a:gd name="connsiteX53" fmla="*/ 115548 w 120558"/>
                          <a:gd name="connsiteY53" fmla="*/ 67144 h 102729"/>
                          <a:gd name="connsiteX54" fmla="*/ 115368 w 120558"/>
                          <a:gd name="connsiteY54" fmla="*/ 67384 h 102729"/>
                          <a:gd name="connsiteX55" fmla="*/ 115189 w 120558"/>
                          <a:gd name="connsiteY55" fmla="*/ 67623 h 102729"/>
                          <a:gd name="connsiteX56" fmla="*/ 115009 w 120558"/>
                          <a:gd name="connsiteY56" fmla="*/ 67862 h 102729"/>
                          <a:gd name="connsiteX57" fmla="*/ 114830 w 120558"/>
                          <a:gd name="connsiteY57" fmla="*/ 68102 h 102729"/>
                          <a:gd name="connsiteX58" fmla="*/ 114650 w 120558"/>
                          <a:gd name="connsiteY58" fmla="*/ 68341 h 102729"/>
                          <a:gd name="connsiteX59" fmla="*/ 113753 w 120558"/>
                          <a:gd name="connsiteY59" fmla="*/ 69477 h 102729"/>
                          <a:gd name="connsiteX60" fmla="*/ 112976 w 120558"/>
                          <a:gd name="connsiteY60" fmla="*/ 70494 h 102729"/>
                          <a:gd name="connsiteX61" fmla="*/ 111959 w 120558"/>
                          <a:gd name="connsiteY61" fmla="*/ 71810 h 102729"/>
                          <a:gd name="connsiteX62" fmla="*/ 111182 w 120558"/>
                          <a:gd name="connsiteY62" fmla="*/ 72826 h 102729"/>
                          <a:gd name="connsiteX63" fmla="*/ 110045 w 120558"/>
                          <a:gd name="connsiteY63" fmla="*/ 74261 h 102729"/>
                          <a:gd name="connsiteX64" fmla="*/ 109806 w 120558"/>
                          <a:gd name="connsiteY64" fmla="*/ 74560 h 102729"/>
                          <a:gd name="connsiteX65" fmla="*/ 109028 w 120558"/>
                          <a:gd name="connsiteY65" fmla="*/ 75577 h 102729"/>
                          <a:gd name="connsiteX66" fmla="*/ 108012 w 120558"/>
                          <a:gd name="connsiteY66" fmla="*/ 76893 h 102729"/>
                          <a:gd name="connsiteX67" fmla="*/ 107234 w 120558"/>
                          <a:gd name="connsiteY67" fmla="*/ 77910 h 102729"/>
                          <a:gd name="connsiteX68" fmla="*/ 104663 w 120558"/>
                          <a:gd name="connsiteY68" fmla="*/ 81199 h 102729"/>
                          <a:gd name="connsiteX69" fmla="*/ 103885 w 120558"/>
                          <a:gd name="connsiteY69" fmla="*/ 82216 h 102729"/>
                          <a:gd name="connsiteX70" fmla="*/ 101732 w 120558"/>
                          <a:gd name="connsiteY70" fmla="*/ 84907 h 102729"/>
                          <a:gd name="connsiteX71" fmla="*/ 100955 w 120558"/>
                          <a:gd name="connsiteY71" fmla="*/ 85864 h 102729"/>
                          <a:gd name="connsiteX72" fmla="*/ 98622 w 120558"/>
                          <a:gd name="connsiteY72" fmla="*/ 88854 h 102729"/>
                          <a:gd name="connsiteX73" fmla="*/ 97845 w 120558"/>
                          <a:gd name="connsiteY73" fmla="*/ 89871 h 102729"/>
                          <a:gd name="connsiteX74" fmla="*/ 96768 w 120558"/>
                          <a:gd name="connsiteY74" fmla="*/ 91247 h 102729"/>
                          <a:gd name="connsiteX75" fmla="*/ 95991 w 120558"/>
                          <a:gd name="connsiteY75" fmla="*/ 92263 h 102729"/>
                          <a:gd name="connsiteX76" fmla="*/ 91924 w 120558"/>
                          <a:gd name="connsiteY76" fmla="*/ 97407 h 102729"/>
                          <a:gd name="connsiteX77" fmla="*/ 91146 w 120558"/>
                          <a:gd name="connsiteY77" fmla="*/ 98364 h 102729"/>
                          <a:gd name="connsiteX78" fmla="*/ 88933 w 120558"/>
                          <a:gd name="connsiteY78" fmla="*/ 101115 h 102729"/>
                          <a:gd name="connsiteX79" fmla="*/ 84807 w 120558"/>
                          <a:gd name="connsiteY79" fmla="*/ 98424 h 102729"/>
                          <a:gd name="connsiteX80" fmla="*/ 83850 w 120558"/>
                          <a:gd name="connsiteY80" fmla="*/ 97766 h 102729"/>
                          <a:gd name="connsiteX81" fmla="*/ 79783 w 120558"/>
                          <a:gd name="connsiteY81" fmla="*/ 95075 h 102729"/>
                          <a:gd name="connsiteX82" fmla="*/ 78826 w 120558"/>
                          <a:gd name="connsiteY82" fmla="*/ 94416 h 102729"/>
                          <a:gd name="connsiteX83" fmla="*/ 68659 w 120558"/>
                          <a:gd name="connsiteY83" fmla="*/ 87658 h 102729"/>
                          <a:gd name="connsiteX84" fmla="*/ 67702 w 120558"/>
                          <a:gd name="connsiteY84" fmla="*/ 87060 h 102729"/>
                          <a:gd name="connsiteX85" fmla="*/ 63455 w 120558"/>
                          <a:gd name="connsiteY85" fmla="*/ 84250 h 102729"/>
                          <a:gd name="connsiteX86" fmla="*/ 62499 w 120558"/>
                          <a:gd name="connsiteY86" fmla="*/ 83591 h 102729"/>
                          <a:gd name="connsiteX87" fmla="*/ 55262 w 120558"/>
                          <a:gd name="connsiteY87" fmla="*/ 78807 h 102729"/>
                          <a:gd name="connsiteX88" fmla="*/ 54245 w 120558"/>
                          <a:gd name="connsiteY88" fmla="*/ 78149 h 102729"/>
                          <a:gd name="connsiteX89" fmla="*/ 38097 w 120558"/>
                          <a:gd name="connsiteY89" fmla="*/ 67443 h 102729"/>
                          <a:gd name="connsiteX90" fmla="*/ 37081 w 120558"/>
                          <a:gd name="connsiteY90" fmla="*/ 66786 h 102729"/>
                          <a:gd name="connsiteX91" fmla="*/ 32595 w 120558"/>
                          <a:gd name="connsiteY91" fmla="*/ 63795 h 102729"/>
                          <a:gd name="connsiteX92" fmla="*/ 31758 w 120558"/>
                          <a:gd name="connsiteY92" fmla="*/ 64812 h 102729"/>
                          <a:gd name="connsiteX93" fmla="*/ 36243 w 120558"/>
                          <a:gd name="connsiteY93" fmla="*/ 67803 h 102729"/>
                          <a:gd name="connsiteX94" fmla="*/ 37260 w 120558"/>
                          <a:gd name="connsiteY94" fmla="*/ 68460 h 102729"/>
                          <a:gd name="connsiteX95" fmla="*/ 53408 w 120558"/>
                          <a:gd name="connsiteY95" fmla="*/ 79166 h 102729"/>
                          <a:gd name="connsiteX96" fmla="*/ 54425 w 120558"/>
                          <a:gd name="connsiteY96" fmla="*/ 79823 h 102729"/>
                          <a:gd name="connsiteX97" fmla="*/ 61721 w 120558"/>
                          <a:gd name="connsiteY97" fmla="*/ 84608 h 102729"/>
                          <a:gd name="connsiteX98" fmla="*/ 62678 w 120558"/>
                          <a:gd name="connsiteY98" fmla="*/ 85266 h 102729"/>
                          <a:gd name="connsiteX99" fmla="*/ 66924 w 120558"/>
                          <a:gd name="connsiteY99" fmla="*/ 88077 h 102729"/>
                          <a:gd name="connsiteX100" fmla="*/ 67881 w 120558"/>
                          <a:gd name="connsiteY100" fmla="*/ 88675 h 102729"/>
                          <a:gd name="connsiteX101" fmla="*/ 78048 w 120558"/>
                          <a:gd name="connsiteY101" fmla="*/ 95374 h 102729"/>
                          <a:gd name="connsiteX102" fmla="*/ 79005 w 120558"/>
                          <a:gd name="connsiteY102" fmla="*/ 96031 h 102729"/>
                          <a:gd name="connsiteX103" fmla="*/ 83072 w 120558"/>
                          <a:gd name="connsiteY103" fmla="*/ 98723 h 102729"/>
                          <a:gd name="connsiteX104" fmla="*/ 84029 w 120558"/>
                          <a:gd name="connsiteY104" fmla="*/ 99381 h 102729"/>
                          <a:gd name="connsiteX105" fmla="*/ 89113 w 120558"/>
                          <a:gd name="connsiteY105" fmla="*/ 102730 h 102729"/>
                          <a:gd name="connsiteX106" fmla="*/ 92103 w 120558"/>
                          <a:gd name="connsiteY106" fmla="*/ 98962 h 102729"/>
                          <a:gd name="connsiteX107" fmla="*/ 92881 w 120558"/>
                          <a:gd name="connsiteY107" fmla="*/ 98005 h 102729"/>
                          <a:gd name="connsiteX108" fmla="*/ 96948 w 120558"/>
                          <a:gd name="connsiteY108" fmla="*/ 92861 h 102729"/>
                          <a:gd name="connsiteX109" fmla="*/ 97725 w 120558"/>
                          <a:gd name="connsiteY109" fmla="*/ 91845 h 102729"/>
                          <a:gd name="connsiteX110" fmla="*/ 98802 w 120558"/>
                          <a:gd name="connsiteY110" fmla="*/ 90469 h 102729"/>
                          <a:gd name="connsiteX111" fmla="*/ 99579 w 120558"/>
                          <a:gd name="connsiteY111" fmla="*/ 89453 h 102729"/>
                          <a:gd name="connsiteX112" fmla="*/ 101912 w 120558"/>
                          <a:gd name="connsiteY112" fmla="*/ 86462 h 102729"/>
                          <a:gd name="connsiteX113" fmla="*/ 102689 w 120558"/>
                          <a:gd name="connsiteY113" fmla="*/ 85505 h 102729"/>
                          <a:gd name="connsiteX114" fmla="*/ 104842 w 120558"/>
                          <a:gd name="connsiteY114" fmla="*/ 82814 h 102729"/>
                          <a:gd name="connsiteX115" fmla="*/ 105620 w 120558"/>
                          <a:gd name="connsiteY115" fmla="*/ 81797 h 102729"/>
                          <a:gd name="connsiteX116" fmla="*/ 108191 w 120558"/>
                          <a:gd name="connsiteY116" fmla="*/ 78508 h 102729"/>
                          <a:gd name="connsiteX117" fmla="*/ 108969 w 120558"/>
                          <a:gd name="connsiteY117" fmla="*/ 77491 h 102729"/>
                          <a:gd name="connsiteX118" fmla="*/ 109986 w 120558"/>
                          <a:gd name="connsiteY118" fmla="*/ 76175 h 102729"/>
                          <a:gd name="connsiteX119" fmla="*/ 110763 w 120558"/>
                          <a:gd name="connsiteY119" fmla="*/ 75159 h 102729"/>
                          <a:gd name="connsiteX120" fmla="*/ 111002 w 120558"/>
                          <a:gd name="connsiteY120" fmla="*/ 74860 h 102729"/>
                          <a:gd name="connsiteX121" fmla="*/ 112139 w 120558"/>
                          <a:gd name="connsiteY121" fmla="*/ 73424 h 102729"/>
                          <a:gd name="connsiteX122" fmla="*/ 112916 w 120558"/>
                          <a:gd name="connsiteY122" fmla="*/ 72407 h 102729"/>
                          <a:gd name="connsiteX123" fmla="*/ 113933 w 120558"/>
                          <a:gd name="connsiteY123" fmla="*/ 71092 h 102729"/>
                          <a:gd name="connsiteX124" fmla="*/ 114710 w 120558"/>
                          <a:gd name="connsiteY124" fmla="*/ 70075 h 102729"/>
                          <a:gd name="connsiteX125" fmla="*/ 115667 w 120558"/>
                          <a:gd name="connsiteY125" fmla="*/ 68879 h 102729"/>
                          <a:gd name="connsiteX126" fmla="*/ 115847 w 120558"/>
                          <a:gd name="connsiteY126" fmla="*/ 68640 h 102729"/>
                          <a:gd name="connsiteX127" fmla="*/ 116026 w 120558"/>
                          <a:gd name="connsiteY127" fmla="*/ 68400 h 102729"/>
                          <a:gd name="connsiteX128" fmla="*/ 116205 w 120558"/>
                          <a:gd name="connsiteY128" fmla="*/ 68161 h 102729"/>
                          <a:gd name="connsiteX129" fmla="*/ 116385 w 120558"/>
                          <a:gd name="connsiteY129" fmla="*/ 67922 h 102729"/>
                          <a:gd name="connsiteX130" fmla="*/ 116564 w 120558"/>
                          <a:gd name="connsiteY130" fmla="*/ 67683 h 102729"/>
                          <a:gd name="connsiteX131" fmla="*/ 116744 w 120558"/>
                          <a:gd name="connsiteY131" fmla="*/ 67443 h 102729"/>
                          <a:gd name="connsiteX132" fmla="*/ 116923 w 120558"/>
                          <a:gd name="connsiteY132" fmla="*/ 67204 h 102729"/>
                          <a:gd name="connsiteX133" fmla="*/ 117103 w 120558"/>
                          <a:gd name="connsiteY133" fmla="*/ 66965 h 102729"/>
                          <a:gd name="connsiteX134" fmla="*/ 117342 w 120558"/>
                          <a:gd name="connsiteY134" fmla="*/ 66606 h 102729"/>
                          <a:gd name="connsiteX135" fmla="*/ 117581 w 120558"/>
                          <a:gd name="connsiteY135" fmla="*/ 66248 h 102729"/>
                          <a:gd name="connsiteX136" fmla="*/ 117820 w 120558"/>
                          <a:gd name="connsiteY136" fmla="*/ 65889 h 102729"/>
                          <a:gd name="connsiteX137" fmla="*/ 118059 w 120558"/>
                          <a:gd name="connsiteY137" fmla="*/ 65530 h 102729"/>
                          <a:gd name="connsiteX138" fmla="*/ 118239 w 120558"/>
                          <a:gd name="connsiteY138" fmla="*/ 65231 h 102729"/>
                          <a:gd name="connsiteX139" fmla="*/ 118418 w 120558"/>
                          <a:gd name="connsiteY139" fmla="*/ 64932 h 102729"/>
                          <a:gd name="connsiteX140" fmla="*/ 118598 w 120558"/>
                          <a:gd name="connsiteY140" fmla="*/ 64633 h 102729"/>
                          <a:gd name="connsiteX141" fmla="*/ 118718 w 120558"/>
                          <a:gd name="connsiteY141" fmla="*/ 64334 h 102729"/>
                          <a:gd name="connsiteX142" fmla="*/ 120392 w 120558"/>
                          <a:gd name="connsiteY142" fmla="*/ 59609 h 102729"/>
                          <a:gd name="connsiteX143" fmla="*/ 120272 w 120558"/>
                          <a:gd name="connsiteY143" fmla="*/ 55303 h 102729"/>
                          <a:gd name="connsiteX144" fmla="*/ 118359 w 120558"/>
                          <a:gd name="connsiteY144" fmla="*/ 51415 h 102729"/>
                          <a:gd name="connsiteX145" fmla="*/ 114650 w 120558"/>
                          <a:gd name="connsiteY145" fmla="*/ 48006 h 102729"/>
                          <a:gd name="connsiteX146" fmla="*/ 104962 w 120558"/>
                          <a:gd name="connsiteY146" fmla="*/ 41248 h 102729"/>
                          <a:gd name="connsiteX147" fmla="*/ 104005 w 120558"/>
                          <a:gd name="connsiteY147" fmla="*/ 40590 h 102729"/>
                          <a:gd name="connsiteX148" fmla="*/ 59149 w 120558"/>
                          <a:gd name="connsiteY148" fmla="*/ 9251 h 102729"/>
                          <a:gd name="connsiteX149" fmla="*/ 58133 w 120558"/>
                          <a:gd name="connsiteY149" fmla="*/ 8533 h 102729"/>
                          <a:gd name="connsiteX150" fmla="*/ 50477 w 120558"/>
                          <a:gd name="connsiteY150" fmla="*/ 3210 h 102729"/>
                          <a:gd name="connsiteX151" fmla="*/ 44556 w 120558"/>
                          <a:gd name="connsiteY151" fmla="*/ 400 h 102729"/>
                          <a:gd name="connsiteX152" fmla="*/ 38755 w 120558"/>
                          <a:gd name="connsiteY152" fmla="*/ 280 h 102729"/>
                          <a:gd name="connsiteX153" fmla="*/ 33133 w 120558"/>
                          <a:gd name="connsiteY153" fmla="*/ 2911 h 102729"/>
                          <a:gd name="connsiteX154" fmla="*/ 27691 w 120558"/>
                          <a:gd name="connsiteY154" fmla="*/ 8294 h 102729"/>
                          <a:gd name="connsiteX155" fmla="*/ 22846 w 120558"/>
                          <a:gd name="connsiteY155" fmla="*/ 14454 h 102729"/>
                          <a:gd name="connsiteX156" fmla="*/ 22009 w 120558"/>
                          <a:gd name="connsiteY156" fmla="*/ 15471 h 102729"/>
                          <a:gd name="connsiteX157" fmla="*/ 17165 w 120558"/>
                          <a:gd name="connsiteY157" fmla="*/ 21631 h 102729"/>
                          <a:gd name="connsiteX158" fmla="*/ 16327 w 120558"/>
                          <a:gd name="connsiteY158" fmla="*/ 22648 h 102729"/>
                          <a:gd name="connsiteX159" fmla="*/ 14114 w 120558"/>
                          <a:gd name="connsiteY159" fmla="*/ 25459 h 102729"/>
                          <a:gd name="connsiteX160" fmla="*/ 13337 w 120558"/>
                          <a:gd name="connsiteY160" fmla="*/ 26476 h 102729"/>
                          <a:gd name="connsiteX161" fmla="*/ 10885 w 120558"/>
                          <a:gd name="connsiteY161" fmla="*/ 29586 h 102729"/>
                          <a:gd name="connsiteX162" fmla="*/ 10048 w 120558"/>
                          <a:gd name="connsiteY162" fmla="*/ 30602 h 102729"/>
                          <a:gd name="connsiteX163" fmla="*/ 8911 w 120558"/>
                          <a:gd name="connsiteY163" fmla="*/ 32038 h 102729"/>
                          <a:gd name="connsiteX164" fmla="*/ 8074 w 120558"/>
                          <a:gd name="connsiteY164" fmla="*/ 33054 h 102729"/>
                          <a:gd name="connsiteX165" fmla="*/ 3828 w 120558"/>
                          <a:gd name="connsiteY165" fmla="*/ 38437 h 102729"/>
                          <a:gd name="connsiteX166" fmla="*/ 3050 w 120558"/>
                          <a:gd name="connsiteY166" fmla="*/ 39454 h 102729"/>
                          <a:gd name="connsiteX167" fmla="*/ 0 w 120558"/>
                          <a:gd name="connsiteY167" fmla="*/ 43700 h 10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0558" h="102729">
                            <a:moveTo>
                              <a:pt x="0" y="43700"/>
                            </a:moveTo>
                            <a:lnTo>
                              <a:pt x="4545" y="46690"/>
                            </a:lnTo>
                            <a:lnTo>
                              <a:pt x="5562" y="47408"/>
                            </a:lnTo>
                            <a:lnTo>
                              <a:pt x="10107" y="50398"/>
                            </a:lnTo>
                            <a:lnTo>
                              <a:pt x="11124" y="51056"/>
                            </a:lnTo>
                            <a:lnTo>
                              <a:pt x="13397" y="52551"/>
                            </a:lnTo>
                            <a:lnTo>
                              <a:pt x="14234" y="51535"/>
                            </a:lnTo>
                            <a:lnTo>
                              <a:pt x="11961" y="50040"/>
                            </a:lnTo>
                            <a:lnTo>
                              <a:pt x="10945" y="49322"/>
                            </a:lnTo>
                            <a:lnTo>
                              <a:pt x="6459" y="46332"/>
                            </a:lnTo>
                            <a:lnTo>
                              <a:pt x="5443" y="45614"/>
                            </a:lnTo>
                            <a:lnTo>
                              <a:pt x="1974" y="43281"/>
                            </a:lnTo>
                            <a:lnTo>
                              <a:pt x="4246" y="40351"/>
                            </a:lnTo>
                            <a:lnTo>
                              <a:pt x="5024" y="39334"/>
                            </a:lnTo>
                            <a:lnTo>
                              <a:pt x="9270" y="33951"/>
                            </a:lnTo>
                            <a:lnTo>
                              <a:pt x="10107" y="32935"/>
                            </a:lnTo>
                            <a:lnTo>
                              <a:pt x="11244" y="31500"/>
                            </a:lnTo>
                            <a:lnTo>
                              <a:pt x="12081" y="30483"/>
                            </a:lnTo>
                            <a:lnTo>
                              <a:pt x="14533" y="27373"/>
                            </a:lnTo>
                            <a:lnTo>
                              <a:pt x="15311" y="26356"/>
                            </a:lnTo>
                            <a:lnTo>
                              <a:pt x="17523" y="23545"/>
                            </a:lnTo>
                            <a:lnTo>
                              <a:pt x="18361" y="22528"/>
                            </a:lnTo>
                            <a:lnTo>
                              <a:pt x="23205" y="16368"/>
                            </a:lnTo>
                            <a:lnTo>
                              <a:pt x="24043" y="15352"/>
                            </a:lnTo>
                            <a:lnTo>
                              <a:pt x="28887" y="9191"/>
                            </a:lnTo>
                            <a:cubicBezTo>
                              <a:pt x="30561" y="7098"/>
                              <a:pt x="32236" y="5423"/>
                              <a:pt x="33911" y="4168"/>
                            </a:cubicBezTo>
                            <a:cubicBezTo>
                              <a:pt x="35585" y="2911"/>
                              <a:pt x="37320" y="2134"/>
                              <a:pt x="39054" y="1715"/>
                            </a:cubicBezTo>
                            <a:cubicBezTo>
                              <a:pt x="40789" y="1297"/>
                              <a:pt x="42523" y="1356"/>
                              <a:pt x="44317" y="1835"/>
                            </a:cubicBezTo>
                            <a:cubicBezTo>
                              <a:pt x="46112" y="2314"/>
                              <a:pt x="47906" y="3151"/>
                              <a:pt x="49760" y="4467"/>
                            </a:cubicBezTo>
                            <a:lnTo>
                              <a:pt x="57116" y="9610"/>
                            </a:lnTo>
                            <a:cubicBezTo>
                              <a:pt x="57654" y="9730"/>
                              <a:pt x="58192" y="9849"/>
                              <a:pt x="58731" y="10029"/>
                            </a:cubicBezTo>
                            <a:cubicBezTo>
                              <a:pt x="59269" y="10208"/>
                              <a:pt x="59807" y="10387"/>
                              <a:pt x="60346" y="10686"/>
                            </a:cubicBezTo>
                            <a:cubicBezTo>
                              <a:pt x="60884" y="10926"/>
                              <a:pt x="61422" y="11225"/>
                              <a:pt x="61960" y="11524"/>
                            </a:cubicBezTo>
                            <a:cubicBezTo>
                              <a:pt x="62499" y="11823"/>
                              <a:pt x="63037" y="12182"/>
                              <a:pt x="63575" y="12540"/>
                            </a:cubicBezTo>
                            <a:lnTo>
                              <a:pt x="80261" y="24203"/>
                            </a:lnTo>
                            <a:lnTo>
                              <a:pt x="79424" y="25219"/>
                            </a:lnTo>
                            <a:lnTo>
                              <a:pt x="103227" y="41786"/>
                            </a:lnTo>
                            <a:lnTo>
                              <a:pt x="104184" y="42444"/>
                            </a:lnTo>
                            <a:lnTo>
                              <a:pt x="113873" y="49202"/>
                            </a:lnTo>
                            <a:cubicBezTo>
                              <a:pt x="115249" y="50159"/>
                              <a:pt x="116385" y="51176"/>
                              <a:pt x="117222" y="52312"/>
                            </a:cubicBezTo>
                            <a:cubicBezTo>
                              <a:pt x="118059" y="53389"/>
                              <a:pt x="118658" y="54525"/>
                              <a:pt x="118957" y="55781"/>
                            </a:cubicBezTo>
                            <a:cubicBezTo>
                              <a:pt x="119256" y="56977"/>
                              <a:pt x="119315" y="58233"/>
                              <a:pt x="119136" y="59609"/>
                            </a:cubicBezTo>
                            <a:cubicBezTo>
                              <a:pt x="118897" y="60925"/>
                              <a:pt x="118418" y="62360"/>
                              <a:pt x="117701" y="63795"/>
                            </a:cubicBezTo>
                            <a:cubicBezTo>
                              <a:pt x="117641" y="63915"/>
                              <a:pt x="117581" y="63975"/>
                              <a:pt x="117581" y="64094"/>
                            </a:cubicBezTo>
                            <a:cubicBezTo>
                              <a:pt x="117521" y="64214"/>
                              <a:pt x="117461" y="64274"/>
                              <a:pt x="117402" y="64393"/>
                            </a:cubicBezTo>
                            <a:cubicBezTo>
                              <a:pt x="117342" y="64513"/>
                              <a:pt x="117282" y="64573"/>
                              <a:pt x="117222" y="64692"/>
                            </a:cubicBezTo>
                            <a:cubicBezTo>
                              <a:pt x="117163" y="64812"/>
                              <a:pt x="117103" y="64872"/>
                              <a:pt x="117043" y="64991"/>
                            </a:cubicBezTo>
                            <a:cubicBezTo>
                              <a:pt x="116983" y="65111"/>
                              <a:pt x="116923" y="65231"/>
                              <a:pt x="116804" y="65350"/>
                            </a:cubicBezTo>
                            <a:cubicBezTo>
                              <a:pt x="116684" y="65470"/>
                              <a:pt x="116684" y="65589"/>
                              <a:pt x="116564" y="65709"/>
                            </a:cubicBezTo>
                            <a:cubicBezTo>
                              <a:pt x="116445" y="65829"/>
                              <a:pt x="116385" y="65948"/>
                              <a:pt x="116325" y="66068"/>
                            </a:cubicBezTo>
                            <a:cubicBezTo>
                              <a:pt x="116265" y="66188"/>
                              <a:pt x="116146" y="66307"/>
                              <a:pt x="116086" y="66427"/>
                            </a:cubicBezTo>
                            <a:cubicBezTo>
                              <a:pt x="116026" y="66487"/>
                              <a:pt x="115966" y="66606"/>
                              <a:pt x="115906" y="66666"/>
                            </a:cubicBezTo>
                            <a:cubicBezTo>
                              <a:pt x="115847" y="66726"/>
                              <a:pt x="115787" y="66845"/>
                              <a:pt x="115727" y="66905"/>
                            </a:cubicBezTo>
                            <a:cubicBezTo>
                              <a:pt x="115667" y="66965"/>
                              <a:pt x="115607" y="67085"/>
                              <a:pt x="115548" y="67144"/>
                            </a:cubicBezTo>
                            <a:cubicBezTo>
                              <a:pt x="115488" y="67204"/>
                              <a:pt x="115428" y="67324"/>
                              <a:pt x="115368" y="67384"/>
                            </a:cubicBezTo>
                            <a:cubicBezTo>
                              <a:pt x="115309" y="67443"/>
                              <a:pt x="115249" y="67563"/>
                              <a:pt x="115189" y="67623"/>
                            </a:cubicBezTo>
                            <a:cubicBezTo>
                              <a:pt x="115129" y="67683"/>
                              <a:pt x="115069" y="67803"/>
                              <a:pt x="115009" y="67862"/>
                            </a:cubicBezTo>
                            <a:cubicBezTo>
                              <a:pt x="114950" y="67922"/>
                              <a:pt x="114890" y="68042"/>
                              <a:pt x="114830" y="68102"/>
                            </a:cubicBezTo>
                            <a:cubicBezTo>
                              <a:pt x="114770" y="68161"/>
                              <a:pt x="114710" y="68281"/>
                              <a:pt x="114650" y="68341"/>
                            </a:cubicBezTo>
                            <a:lnTo>
                              <a:pt x="113753" y="69477"/>
                            </a:lnTo>
                            <a:lnTo>
                              <a:pt x="112976" y="70494"/>
                            </a:lnTo>
                            <a:lnTo>
                              <a:pt x="111959" y="71810"/>
                            </a:lnTo>
                            <a:lnTo>
                              <a:pt x="111182" y="72826"/>
                            </a:lnTo>
                            <a:lnTo>
                              <a:pt x="110045" y="74261"/>
                            </a:lnTo>
                            <a:lnTo>
                              <a:pt x="109806" y="74560"/>
                            </a:lnTo>
                            <a:lnTo>
                              <a:pt x="109028" y="75577"/>
                            </a:lnTo>
                            <a:lnTo>
                              <a:pt x="108012" y="76893"/>
                            </a:lnTo>
                            <a:lnTo>
                              <a:pt x="107234" y="77910"/>
                            </a:lnTo>
                            <a:lnTo>
                              <a:pt x="104663" y="81199"/>
                            </a:lnTo>
                            <a:lnTo>
                              <a:pt x="103885" y="82216"/>
                            </a:lnTo>
                            <a:lnTo>
                              <a:pt x="101732" y="84907"/>
                            </a:lnTo>
                            <a:lnTo>
                              <a:pt x="100955" y="85864"/>
                            </a:lnTo>
                            <a:lnTo>
                              <a:pt x="98622" y="88854"/>
                            </a:lnTo>
                            <a:lnTo>
                              <a:pt x="97845" y="89871"/>
                            </a:lnTo>
                            <a:lnTo>
                              <a:pt x="96768" y="91247"/>
                            </a:lnTo>
                            <a:lnTo>
                              <a:pt x="95991" y="92263"/>
                            </a:lnTo>
                            <a:lnTo>
                              <a:pt x="91924" y="97407"/>
                            </a:lnTo>
                            <a:lnTo>
                              <a:pt x="91146" y="98364"/>
                            </a:lnTo>
                            <a:lnTo>
                              <a:pt x="88933" y="101115"/>
                            </a:lnTo>
                            <a:lnTo>
                              <a:pt x="84807" y="98424"/>
                            </a:lnTo>
                            <a:lnTo>
                              <a:pt x="83850" y="97766"/>
                            </a:lnTo>
                            <a:lnTo>
                              <a:pt x="79783" y="95075"/>
                            </a:lnTo>
                            <a:lnTo>
                              <a:pt x="78826" y="94416"/>
                            </a:lnTo>
                            <a:lnTo>
                              <a:pt x="68659" y="87658"/>
                            </a:lnTo>
                            <a:lnTo>
                              <a:pt x="67702" y="87060"/>
                            </a:lnTo>
                            <a:lnTo>
                              <a:pt x="63455" y="84250"/>
                            </a:lnTo>
                            <a:lnTo>
                              <a:pt x="62499" y="83591"/>
                            </a:lnTo>
                            <a:lnTo>
                              <a:pt x="55262" y="78807"/>
                            </a:lnTo>
                            <a:lnTo>
                              <a:pt x="54245" y="78149"/>
                            </a:lnTo>
                            <a:lnTo>
                              <a:pt x="38097" y="67443"/>
                            </a:lnTo>
                            <a:lnTo>
                              <a:pt x="37081" y="66786"/>
                            </a:lnTo>
                            <a:lnTo>
                              <a:pt x="32595" y="63795"/>
                            </a:lnTo>
                            <a:lnTo>
                              <a:pt x="31758" y="64812"/>
                            </a:lnTo>
                            <a:lnTo>
                              <a:pt x="36243" y="67803"/>
                            </a:lnTo>
                            <a:lnTo>
                              <a:pt x="37260" y="68460"/>
                            </a:lnTo>
                            <a:lnTo>
                              <a:pt x="53408" y="79166"/>
                            </a:lnTo>
                            <a:lnTo>
                              <a:pt x="54425" y="79823"/>
                            </a:lnTo>
                            <a:lnTo>
                              <a:pt x="61721" y="84608"/>
                            </a:lnTo>
                            <a:lnTo>
                              <a:pt x="62678" y="85266"/>
                            </a:lnTo>
                            <a:lnTo>
                              <a:pt x="66924" y="88077"/>
                            </a:lnTo>
                            <a:lnTo>
                              <a:pt x="67881" y="88675"/>
                            </a:lnTo>
                            <a:lnTo>
                              <a:pt x="78048" y="95374"/>
                            </a:lnTo>
                            <a:lnTo>
                              <a:pt x="79005" y="96031"/>
                            </a:lnTo>
                            <a:lnTo>
                              <a:pt x="83072" y="98723"/>
                            </a:lnTo>
                            <a:lnTo>
                              <a:pt x="84029" y="99381"/>
                            </a:lnTo>
                            <a:lnTo>
                              <a:pt x="89113" y="102730"/>
                            </a:lnTo>
                            <a:lnTo>
                              <a:pt x="92103" y="98962"/>
                            </a:lnTo>
                            <a:lnTo>
                              <a:pt x="92881" y="98005"/>
                            </a:lnTo>
                            <a:lnTo>
                              <a:pt x="96948" y="92861"/>
                            </a:lnTo>
                            <a:lnTo>
                              <a:pt x="97725" y="91845"/>
                            </a:lnTo>
                            <a:lnTo>
                              <a:pt x="98802" y="90469"/>
                            </a:lnTo>
                            <a:lnTo>
                              <a:pt x="99579" y="89453"/>
                            </a:lnTo>
                            <a:lnTo>
                              <a:pt x="101912" y="86462"/>
                            </a:lnTo>
                            <a:lnTo>
                              <a:pt x="102689" y="85505"/>
                            </a:lnTo>
                            <a:lnTo>
                              <a:pt x="104842" y="82814"/>
                            </a:lnTo>
                            <a:lnTo>
                              <a:pt x="105620" y="81797"/>
                            </a:lnTo>
                            <a:lnTo>
                              <a:pt x="108191" y="78508"/>
                            </a:lnTo>
                            <a:lnTo>
                              <a:pt x="108969" y="77491"/>
                            </a:lnTo>
                            <a:lnTo>
                              <a:pt x="109986" y="76175"/>
                            </a:lnTo>
                            <a:lnTo>
                              <a:pt x="110763" y="75159"/>
                            </a:lnTo>
                            <a:lnTo>
                              <a:pt x="111002" y="74860"/>
                            </a:lnTo>
                            <a:lnTo>
                              <a:pt x="112139" y="73424"/>
                            </a:lnTo>
                            <a:lnTo>
                              <a:pt x="112916" y="72407"/>
                            </a:lnTo>
                            <a:lnTo>
                              <a:pt x="113933" y="71092"/>
                            </a:lnTo>
                            <a:lnTo>
                              <a:pt x="114710" y="70075"/>
                            </a:lnTo>
                            <a:lnTo>
                              <a:pt x="115667" y="68879"/>
                            </a:lnTo>
                            <a:cubicBezTo>
                              <a:pt x="115727" y="68819"/>
                              <a:pt x="115787" y="68699"/>
                              <a:pt x="115847" y="68640"/>
                            </a:cubicBezTo>
                            <a:cubicBezTo>
                              <a:pt x="115906" y="68580"/>
                              <a:pt x="115966" y="68460"/>
                              <a:pt x="116026" y="68400"/>
                            </a:cubicBezTo>
                            <a:cubicBezTo>
                              <a:pt x="116086" y="68341"/>
                              <a:pt x="116146" y="68221"/>
                              <a:pt x="116205" y="68161"/>
                            </a:cubicBezTo>
                            <a:cubicBezTo>
                              <a:pt x="116265" y="68102"/>
                              <a:pt x="116325" y="67982"/>
                              <a:pt x="116385" y="67922"/>
                            </a:cubicBezTo>
                            <a:cubicBezTo>
                              <a:pt x="116445" y="67862"/>
                              <a:pt x="116504" y="67743"/>
                              <a:pt x="116564" y="67683"/>
                            </a:cubicBezTo>
                            <a:cubicBezTo>
                              <a:pt x="116624" y="67623"/>
                              <a:pt x="116684" y="67503"/>
                              <a:pt x="116744" y="67443"/>
                            </a:cubicBezTo>
                            <a:cubicBezTo>
                              <a:pt x="116804" y="67384"/>
                              <a:pt x="116864" y="67264"/>
                              <a:pt x="116923" y="67204"/>
                            </a:cubicBezTo>
                            <a:cubicBezTo>
                              <a:pt x="116983" y="67144"/>
                              <a:pt x="117043" y="67025"/>
                              <a:pt x="117103" y="66965"/>
                            </a:cubicBezTo>
                            <a:cubicBezTo>
                              <a:pt x="117163" y="66845"/>
                              <a:pt x="117282" y="66726"/>
                              <a:pt x="117342" y="66606"/>
                            </a:cubicBezTo>
                            <a:cubicBezTo>
                              <a:pt x="117402" y="66487"/>
                              <a:pt x="117521" y="66367"/>
                              <a:pt x="117581" y="66248"/>
                            </a:cubicBezTo>
                            <a:cubicBezTo>
                              <a:pt x="117641" y="66128"/>
                              <a:pt x="117760" y="66008"/>
                              <a:pt x="117820" y="65889"/>
                            </a:cubicBezTo>
                            <a:cubicBezTo>
                              <a:pt x="117880" y="65769"/>
                              <a:pt x="117940" y="65649"/>
                              <a:pt x="118059" y="65530"/>
                            </a:cubicBezTo>
                            <a:cubicBezTo>
                              <a:pt x="118119" y="65410"/>
                              <a:pt x="118179" y="65350"/>
                              <a:pt x="118239" y="65231"/>
                            </a:cubicBezTo>
                            <a:cubicBezTo>
                              <a:pt x="118299" y="65111"/>
                              <a:pt x="118359" y="65051"/>
                              <a:pt x="118418" y="64932"/>
                            </a:cubicBezTo>
                            <a:cubicBezTo>
                              <a:pt x="118478" y="64812"/>
                              <a:pt x="118538" y="64752"/>
                              <a:pt x="118598" y="64633"/>
                            </a:cubicBezTo>
                            <a:cubicBezTo>
                              <a:pt x="118658" y="64513"/>
                              <a:pt x="118718" y="64453"/>
                              <a:pt x="118718" y="64334"/>
                            </a:cubicBezTo>
                            <a:cubicBezTo>
                              <a:pt x="119555" y="62719"/>
                              <a:pt x="120153" y="61104"/>
                              <a:pt x="120392" y="59609"/>
                            </a:cubicBezTo>
                            <a:cubicBezTo>
                              <a:pt x="120631" y="58113"/>
                              <a:pt x="120631" y="56678"/>
                              <a:pt x="120272" y="55303"/>
                            </a:cubicBezTo>
                            <a:cubicBezTo>
                              <a:pt x="119913" y="53927"/>
                              <a:pt x="119315" y="52671"/>
                              <a:pt x="118359" y="51415"/>
                            </a:cubicBezTo>
                            <a:cubicBezTo>
                              <a:pt x="117402" y="50219"/>
                              <a:pt x="116205" y="49083"/>
                              <a:pt x="114650" y="48006"/>
                            </a:cubicBezTo>
                            <a:lnTo>
                              <a:pt x="104962" y="41248"/>
                            </a:lnTo>
                            <a:lnTo>
                              <a:pt x="104005" y="40590"/>
                            </a:lnTo>
                            <a:lnTo>
                              <a:pt x="59149" y="9251"/>
                            </a:lnTo>
                            <a:lnTo>
                              <a:pt x="58133" y="8533"/>
                            </a:lnTo>
                            <a:lnTo>
                              <a:pt x="50477" y="3210"/>
                            </a:lnTo>
                            <a:cubicBezTo>
                              <a:pt x="48504" y="1835"/>
                              <a:pt x="46530" y="878"/>
                              <a:pt x="44556" y="400"/>
                            </a:cubicBezTo>
                            <a:cubicBezTo>
                              <a:pt x="42583" y="-79"/>
                              <a:pt x="40669" y="-139"/>
                              <a:pt x="38755" y="280"/>
                            </a:cubicBezTo>
                            <a:cubicBezTo>
                              <a:pt x="36841" y="699"/>
                              <a:pt x="34987" y="1596"/>
                              <a:pt x="33133" y="2911"/>
                            </a:cubicBezTo>
                            <a:cubicBezTo>
                              <a:pt x="31279" y="4227"/>
                              <a:pt x="29485" y="6022"/>
                              <a:pt x="27691" y="8294"/>
                            </a:cubicBezTo>
                            <a:lnTo>
                              <a:pt x="22846" y="14454"/>
                            </a:lnTo>
                            <a:lnTo>
                              <a:pt x="22009" y="15471"/>
                            </a:lnTo>
                            <a:lnTo>
                              <a:pt x="17165" y="21631"/>
                            </a:lnTo>
                            <a:lnTo>
                              <a:pt x="16327" y="22648"/>
                            </a:lnTo>
                            <a:lnTo>
                              <a:pt x="14114" y="25459"/>
                            </a:lnTo>
                            <a:lnTo>
                              <a:pt x="13337" y="26476"/>
                            </a:lnTo>
                            <a:lnTo>
                              <a:pt x="10885" y="29586"/>
                            </a:lnTo>
                            <a:lnTo>
                              <a:pt x="10048" y="30602"/>
                            </a:lnTo>
                            <a:lnTo>
                              <a:pt x="8911" y="32038"/>
                            </a:lnTo>
                            <a:lnTo>
                              <a:pt x="8074" y="33054"/>
                            </a:lnTo>
                            <a:lnTo>
                              <a:pt x="3828" y="38437"/>
                            </a:lnTo>
                            <a:lnTo>
                              <a:pt x="3050" y="39454"/>
                            </a:lnTo>
                            <a:lnTo>
                              <a:pt x="0" y="43700"/>
                            </a:lnTo>
                          </a:path>
                        </a:pathLst>
                      </a:custGeom>
                      <a:noFill/>
                      <a:ln w="6350" cap="flat">
                        <a:solidFill>
                          <a:schemeClr val="bg1">
                            <a:alpha val="40000"/>
                          </a:schemeClr>
                        </a:solidFill>
                        <a:prstDash val="solid"/>
                        <a:miter/>
                      </a:ln>
                    </p:spPr>
                    <p:txBody>
                      <a:bodyPr rtlCol="0" anchor="ctr"/>
                      <a:lstStyle/>
                      <a:p>
                        <a:endParaRPr lang="en-GB"/>
                      </a:p>
                    </p:txBody>
                  </p:sp>
                  <p:sp>
                    <p:nvSpPr>
                      <p:cNvPr id="7497" name="Vrije vorm: vorm 7496">
                        <a:extLst>
                          <a:ext uri="{FF2B5EF4-FFF2-40B4-BE49-F238E27FC236}">
                            <a16:creationId xmlns:a16="http://schemas.microsoft.com/office/drawing/2014/main" id="{03AA1AD8-1F97-4058-A4A9-A22C07C146A4}"/>
                          </a:ext>
                        </a:extLst>
                      </p:cNvPr>
                      <p:cNvSpPr/>
                      <p:nvPr/>
                    </p:nvSpPr>
                    <p:spPr>
                      <a:xfrm>
                        <a:off x="4766236" y="5099559"/>
                        <a:ext cx="66745" cy="55324"/>
                      </a:xfrm>
                      <a:custGeom>
                        <a:avLst/>
                        <a:gdLst>
                          <a:gd name="connsiteX0" fmla="*/ 20394 w 66745"/>
                          <a:gd name="connsiteY0" fmla="*/ 50719 h 55324"/>
                          <a:gd name="connsiteX1" fmla="*/ 18122 w 66745"/>
                          <a:gd name="connsiteY1" fmla="*/ 53590 h 55324"/>
                          <a:gd name="connsiteX2" fmla="*/ 1854 w 66745"/>
                          <a:gd name="connsiteY2" fmla="*/ 42825 h 55324"/>
                          <a:gd name="connsiteX3" fmla="*/ 4127 w 66745"/>
                          <a:gd name="connsiteY3" fmla="*/ 39954 h 55324"/>
                          <a:gd name="connsiteX4" fmla="*/ 4904 w 66745"/>
                          <a:gd name="connsiteY4" fmla="*/ 38937 h 55324"/>
                          <a:gd name="connsiteX5" fmla="*/ 5383 w 66745"/>
                          <a:gd name="connsiteY5" fmla="*/ 38339 h 55324"/>
                          <a:gd name="connsiteX6" fmla="*/ 6280 w 66745"/>
                          <a:gd name="connsiteY6" fmla="*/ 37203 h 55324"/>
                          <a:gd name="connsiteX7" fmla="*/ 9151 w 66745"/>
                          <a:gd name="connsiteY7" fmla="*/ 33615 h 55324"/>
                          <a:gd name="connsiteX8" fmla="*/ 9928 w 66745"/>
                          <a:gd name="connsiteY8" fmla="*/ 32598 h 55324"/>
                          <a:gd name="connsiteX9" fmla="*/ 10766 w 66745"/>
                          <a:gd name="connsiteY9" fmla="*/ 31521 h 55324"/>
                          <a:gd name="connsiteX10" fmla="*/ 11065 w 66745"/>
                          <a:gd name="connsiteY10" fmla="*/ 31102 h 55324"/>
                          <a:gd name="connsiteX11" fmla="*/ 11902 w 66745"/>
                          <a:gd name="connsiteY11" fmla="*/ 30086 h 55324"/>
                          <a:gd name="connsiteX12" fmla="*/ 14354 w 66745"/>
                          <a:gd name="connsiteY12" fmla="*/ 27036 h 55324"/>
                          <a:gd name="connsiteX13" fmla="*/ 15131 w 66745"/>
                          <a:gd name="connsiteY13" fmla="*/ 26019 h 55324"/>
                          <a:gd name="connsiteX14" fmla="*/ 17344 w 66745"/>
                          <a:gd name="connsiteY14" fmla="*/ 23208 h 55324"/>
                          <a:gd name="connsiteX15" fmla="*/ 18182 w 66745"/>
                          <a:gd name="connsiteY15" fmla="*/ 22191 h 55324"/>
                          <a:gd name="connsiteX16" fmla="*/ 23026 w 66745"/>
                          <a:gd name="connsiteY16" fmla="*/ 16091 h 55324"/>
                          <a:gd name="connsiteX17" fmla="*/ 23863 w 66745"/>
                          <a:gd name="connsiteY17" fmla="*/ 15074 h 55324"/>
                          <a:gd name="connsiteX18" fmla="*/ 28708 w 66745"/>
                          <a:gd name="connsiteY18" fmla="*/ 8974 h 55324"/>
                          <a:gd name="connsiteX19" fmla="*/ 32236 w 66745"/>
                          <a:gd name="connsiteY19" fmla="*/ 5146 h 55324"/>
                          <a:gd name="connsiteX20" fmla="*/ 35824 w 66745"/>
                          <a:gd name="connsiteY20" fmla="*/ 2634 h 55324"/>
                          <a:gd name="connsiteX21" fmla="*/ 39473 w 66745"/>
                          <a:gd name="connsiteY21" fmla="*/ 1378 h 55324"/>
                          <a:gd name="connsiteX22" fmla="*/ 43181 w 66745"/>
                          <a:gd name="connsiteY22" fmla="*/ 1438 h 55324"/>
                          <a:gd name="connsiteX23" fmla="*/ 43480 w 66745"/>
                          <a:gd name="connsiteY23" fmla="*/ 1498 h 55324"/>
                          <a:gd name="connsiteX24" fmla="*/ 43779 w 66745"/>
                          <a:gd name="connsiteY24" fmla="*/ 1558 h 55324"/>
                          <a:gd name="connsiteX25" fmla="*/ 44078 w 66745"/>
                          <a:gd name="connsiteY25" fmla="*/ 1617 h 55324"/>
                          <a:gd name="connsiteX26" fmla="*/ 44437 w 66745"/>
                          <a:gd name="connsiteY26" fmla="*/ 1737 h 55324"/>
                          <a:gd name="connsiteX27" fmla="*/ 45633 w 66745"/>
                          <a:gd name="connsiteY27" fmla="*/ 2156 h 55324"/>
                          <a:gd name="connsiteX28" fmla="*/ 46829 w 66745"/>
                          <a:gd name="connsiteY28" fmla="*/ 2694 h 55324"/>
                          <a:gd name="connsiteX29" fmla="*/ 48025 w 66745"/>
                          <a:gd name="connsiteY29" fmla="*/ 3352 h 55324"/>
                          <a:gd name="connsiteX30" fmla="*/ 49281 w 66745"/>
                          <a:gd name="connsiteY30" fmla="*/ 4130 h 55324"/>
                          <a:gd name="connsiteX31" fmla="*/ 60465 w 66745"/>
                          <a:gd name="connsiteY31" fmla="*/ 11964 h 55324"/>
                          <a:gd name="connsiteX32" fmla="*/ 57654 w 66745"/>
                          <a:gd name="connsiteY32" fmla="*/ 11785 h 55324"/>
                          <a:gd name="connsiteX33" fmla="*/ 54843 w 66745"/>
                          <a:gd name="connsiteY33" fmla="*/ 12263 h 55324"/>
                          <a:gd name="connsiteX34" fmla="*/ 52092 w 66745"/>
                          <a:gd name="connsiteY34" fmla="*/ 13400 h 55324"/>
                          <a:gd name="connsiteX35" fmla="*/ 49401 w 66745"/>
                          <a:gd name="connsiteY35" fmla="*/ 15194 h 55324"/>
                          <a:gd name="connsiteX36" fmla="*/ 49162 w 66745"/>
                          <a:gd name="connsiteY36" fmla="*/ 15373 h 55324"/>
                          <a:gd name="connsiteX37" fmla="*/ 48922 w 66745"/>
                          <a:gd name="connsiteY37" fmla="*/ 15613 h 55324"/>
                          <a:gd name="connsiteX38" fmla="*/ 48683 w 66745"/>
                          <a:gd name="connsiteY38" fmla="*/ 15852 h 55324"/>
                          <a:gd name="connsiteX39" fmla="*/ 48444 w 66745"/>
                          <a:gd name="connsiteY39" fmla="*/ 16091 h 55324"/>
                          <a:gd name="connsiteX40" fmla="*/ 47487 w 66745"/>
                          <a:gd name="connsiteY40" fmla="*/ 16988 h 55324"/>
                          <a:gd name="connsiteX41" fmla="*/ 46530 w 66745"/>
                          <a:gd name="connsiteY41" fmla="*/ 17945 h 55324"/>
                          <a:gd name="connsiteX42" fmla="*/ 45633 w 66745"/>
                          <a:gd name="connsiteY42" fmla="*/ 18962 h 55324"/>
                          <a:gd name="connsiteX43" fmla="*/ 44736 w 66745"/>
                          <a:gd name="connsiteY43" fmla="*/ 20098 h 55324"/>
                          <a:gd name="connsiteX44" fmla="*/ 39951 w 66745"/>
                          <a:gd name="connsiteY44" fmla="*/ 26139 h 55324"/>
                          <a:gd name="connsiteX45" fmla="*/ 39114 w 66745"/>
                          <a:gd name="connsiteY45" fmla="*/ 27155 h 55324"/>
                          <a:gd name="connsiteX46" fmla="*/ 34329 w 66745"/>
                          <a:gd name="connsiteY46" fmla="*/ 33196 h 55324"/>
                          <a:gd name="connsiteX47" fmla="*/ 33492 w 66745"/>
                          <a:gd name="connsiteY47" fmla="*/ 34212 h 55324"/>
                          <a:gd name="connsiteX48" fmla="*/ 31279 w 66745"/>
                          <a:gd name="connsiteY48" fmla="*/ 37024 h 55324"/>
                          <a:gd name="connsiteX49" fmla="*/ 30502 w 66745"/>
                          <a:gd name="connsiteY49" fmla="*/ 38040 h 55324"/>
                          <a:gd name="connsiteX50" fmla="*/ 28109 w 66745"/>
                          <a:gd name="connsiteY50" fmla="*/ 41090 h 55324"/>
                          <a:gd name="connsiteX51" fmla="*/ 27272 w 66745"/>
                          <a:gd name="connsiteY51" fmla="*/ 42107 h 55324"/>
                          <a:gd name="connsiteX52" fmla="*/ 26136 w 66745"/>
                          <a:gd name="connsiteY52" fmla="*/ 43542 h 55324"/>
                          <a:gd name="connsiteX53" fmla="*/ 25299 w 66745"/>
                          <a:gd name="connsiteY53" fmla="*/ 44559 h 55324"/>
                          <a:gd name="connsiteX54" fmla="*/ 21112 w 66745"/>
                          <a:gd name="connsiteY54" fmla="*/ 49882 h 55324"/>
                          <a:gd name="connsiteX55" fmla="*/ 20394 w 66745"/>
                          <a:gd name="connsiteY55" fmla="*/ 50719 h 55324"/>
                          <a:gd name="connsiteX56" fmla="*/ 0 w 66745"/>
                          <a:gd name="connsiteY56" fmla="*/ 43184 h 55324"/>
                          <a:gd name="connsiteX57" fmla="*/ 8493 w 66745"/>
                          <a:gd name="connsiteY57" fmla="*/ 48805 h 55324"/>
                          <a:gd name="connsiteX58" fmla="*/ 9510 w 66745"/>
                          <a:gd name="connsiteY58" fmla="*/ 49463 h 55324"/>
                          <a:gd name="connsiteX59" fmla="*/ 13815 w 66745"/>
                          <a:gd name="connsiteY59" fmla="*/ 52334 h 55324"/>
                          <a:gd name="connsiteX60" fmla="*/ 14832 w 66745"/>
                          <a:gd name="connsiteY60" fmla="*/ 52992 h 55324"/>
                          <a:gd name="connsiteX61" fmla="*/ 18361 w 66745"/>
                          <a:gd name="connsiteY61" fmla="*/ 55325 h 55324"/>
                          <a:gd name="connsiteX62" fmla="*/ 19198 w 66745"/>
                          <a:gd name="connsiteY62" fmla="*/ 54308 h 55324"/>
                          <a:gd name="connsiteX63" fmla="*/ 21471 w 66745"/>
                          <a:gd name="connsiteY63" fmla="*/ 51437 h 55324"/>
                          <a:gd name="connsiteX64" fmla="*/ 22248 w 66745"/>
                          <a:gd name="connsiteY64" fmla="*/ 50420 h 55324"/>
                          <a:gd name="connsiteX65" fmla="*/ 26435 w 66745"/>
                          <a:gd name="connsiteY65" fmla="*/ 45097 h 55324"/>
                          <a:gd name="connsiteX66" fmla="*/ 27272 w 66745"/>
                          <a:gd name="connsiteY66" fmla="*/ 44081 h 55324"/>
                          <a:gd name="connsiteX67" fmla="*/ 28408 w 66745"/>
                          <a:gd name="connsiteY67" fmla="*/ 42646 h 55324"/>
                          <a:gd name="connsiteX68" fmla="*/ 29246 w 66745"/>
                          <a:gd name="connsiteY68" fmla="*/ 41629 h 55324"/>
                          <a:gd name="connsiteX69" fmla="*/ 31638 w 66745"/>
                          <a:gd name="connsiteY69" fmla="*/ 38578 h 55324"/>
                          <a:gd name="connsiteX70" fmla="*/ 32416 w 66745"/>
                          <a:gd name="connsiteY70" fmla="*/ 37562 h 55324"/>
                          <a:gd name="connsiteX71" fmla="*/ 34629 w 66745"/>
                          <a:gd name="connsiteY71" fmla="*/ 34811 h 55324"/>
                          <a:gd name="connsiteX72" fmla="*/ 35466 w 66745"/>
                          <a:gd name="connsiteY72" fmla="*/ 33794 h 55324"/>
                          <a:gd name="connsiteX73" fmla="*/ 40251 w 66745"/>
                          <a:gd name="connsiteY73" fmla="*/ 27753 h 55324"/>
                          <a:gd name="connsiteX74" fmla="*/ 41088 w 66745"/>
                          <a:gd name="connsiteY74" fmla="*/ 26737 h 55324"/>
                          <a:gd name="connsiteX75" fmla="*/ 45872 w 66745"/>
                          <a:gd name="connsiteY75" fmla="*/ 20696 h 55324"/>
                          <a:gd name="connsiteX76" fmla="*/ 46769 w 66745"/>
                          <a:gd name="connsiteY76" fmla="*/ 19560 h 55324"/>
                          <a:gd name="connsiteX77" fmla="*/ 47667 w 66745"/>
                          <a:gd name="connsiteY77" fmla="*/ 18543 h 55324"/>
                          <a:gd name="connsiteX78" fmla="*/ 48563 w 66745"/>
                          <a:gd name="connsiteY78" fmla="*/ 17586 h 55324"/>
                          <a:gd name="connsiteX79" fmla="*/ 49461 w 66745"/>
                          <a:gd name="connsiteY79" fmla="*/ 16749 h 55324"/>
                          <a:gd name="connsiteX80" fmla="*/ 49700 w 66745"/>
                          <a:gd name="connsiteY80" fmla="*/ 16510 h 55324"/>
                          <a:gd name="connsiteX81" fmla="*/ 49939 w 66745"/>
                          <a:gd name="connsiteY81" fmla="*/ 16270 h 55324"/>
                          <a:gd name="connsiteX82" fmla="*/ 50178 w 66745"/>
                          <a:gd name="connsiteY82" fmla="*/ 16031 h 55324"/>
                          <a:gd name="connsiteX83" fmla="*/ 50417 w 66745"/>
                          <a:gd name="connsiteY83" fmla="*/ 15852 h 55324"/>
                          <a:gd name="connsiteX84" fmla="*/ 54185 w 66745"/>
                          <a:gd name="connsiteY84" fmla="*/ 13699 h 55324"/>
                          <a:gd name="connsiteX85" fmla="*/ 58013 w 66745"/>
                          <a:gd name="connsiteY85" fmla="*/ 12981 h 55324"/>
                          <a:gd name="connsiteX86" fmla="*/ 61901 w 66745"/>
                          <a:gd name="connsiteY86" fmla="*/ 13699 h 55324"/>
                          <a:gd name="connsiteX87" fmla="*/ 65908 w 66745"/>
                          <a:gd name="connsiteY87" fmla="*/ 15852 h 55324"/>
                          <a:gd name="connsiteX88" fmla="*/ 66745 w 66745"/>
                          <a:gd name="connsiteY88" fmla="*/ 14835 h 55324"/>
                          <a:gd name="connsiteX89" fmla="*/ 50059 w 66745"/>
                          <a:gd name="connsiteY89" fmla="*/ 3173 h 55324"/>
                          <a:gd name="connsiteX90" fmla="*/ 48444 w 66745"/>
                          <a:gd name="connsiteY90" fmla="*/ 2156 h 55324"/>
                          <a:gd name="connsiteX91" fmla="*/ 46829 w 66745"/>
                          <a:gd name="connsiteY91" fmla="*/ 1319 h 55324"/>
                          <a:gd name="connsiteX92" fmla="*/ 45214 w 66745"/>
                          <a:gd name="connsiteY92" fmla="*/ 661 h 55324"/>
                          <a:gd name="connsiteX93" fmla="*/ 43600 w 66745"/>
                          <a:gd name="connsiteY93" fmla="*/ 242 h 55324"/>
                          <a:gd name="connsiteX94" fmla="*/ 39473 w 66745"/>
                          <a:gd name="connsiteY94" fmla="*/ 122 h 55324"/>
                          <a:gd name="connsiteX95" fmla="*/ 35406 w 66745"/>
                          <a:gd name="connsiteY95" fmla="*/ 1438 h 55324"/>
                          <a:gd name="connsiteX96" fmla="*/ 31459 w 66745"/>
                          <a:gd name="connsiteY96" fmla="*/ 4130 h 55324"/>
                          <a:gd name="connsiteX97" fmla="*/ 27571 w 66745"/>
                          <a:gd name="connsiteY97" fmla="*/ 8256 h 55324"/>
                          <a:gd name="connsiteX98" fmla="*/ 22727 w 66745"/>
                          <a:gd name="connsiteY98" fmla="*/ 14356 h 55324"/>
                          <a:gd name="connsiteX99" fmla="*/ 21890 w 66745"/>
                          <a:gd name="connsiteY99" fmla="*/ 15373 h 55324"/>
                          <a:gd name="connsiteX100" fmla="*/ 17045 w 66745"/>
                          <a:gd name="connsiteY100" fmla="*/ 21474 h 55324"/>
                          <a:gd name="connsiteX101" fmla="*/ 16208 w 66745"/>
                          <a:gd name="connsiteY101" fmla="*/ 22491 h 55324"/>
                          <a:gd name="connsiteX102" fmla="*/ 13995 w 66745"/>
                          <a:gd name="connsiteY102" fmla="*/ 25301 h 55324"/>
                          <a:gd name="connsiteX103" fmla="*/ 13218 w 66745"/>
                          <a:gd name="connsiteY103" fmla="*/ 26318 h 55324"/>
                          <a:gd name="connsiteX104" fmla="*/ 10766 w 66745"/>
                          <a:gd name="connsiteY104" fmla="*/ 29368 h 55324"/>
                          <a:gd name="connsiteX105" fmla="*/ 9928 w 66745"/>
                          <a:gd name="connsiteY105" fmla="*/ 30385 h 55324"/>
                          <a:gd name="connsiteX106" fmla="*/ 9450 w 66745"/>
                          <a:gd name="connsiteY106" fmla="*/ 31043 h 55324"/>
                          <a:gd name="connsiteX107" fmla="*/ 8612 w 66745"/>
                          <a:gd name="connsiteY107" fmla="*/ 32119 h 55324"/>
                          <a:gd name="connsiteX108" fmla="*/ 8014 w 66745"/>
                          <a:gd name="connsiteY108" fmla="*/ 32897 h 55324"/>
                          <a:gd name="connsiteX109" fmla="*/ 4785 w 66745"/>
                          <a:gd name="connsiteY109" fmla="*/ 36964 h 55324"/>
                          <a:gd name="connsiteX110" fmla="*/ 3828 w 66745"/>
                          <a:gd name="connsiteY110" fmla="*/ 38160 h 55324"/>
                          <a:gd name="connsiteX111" fmla="*/ 3768 w 66745"/>
                          <a:gd name="connsiteY111" fmla="*/ 38219 h 55324"/>
                          <a:gd name="connsiteX112" fmla="*/ 2990 w 66745"/>
                          <a:gd name="connsiteY112" fmla="*/ 39236 h 55324"/>
                          <a:gd name="connsiteX113" fmla="*/ 718 w 66745"/>
                          <a:gd name="connsiteY113" fmla="*/ 42107 h 55324"/>
                          <a:gd name="connsiteX114" fmla="*/ 0 w 66745"/>
                          <a:gd name="connsiteY114" fmla="*/ 43184 h 5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6745" h="55324">
                            <a:moveTo>
                              <a:pt x="20394" y="50719"/>
                            </a:moveTo>
                            <a:lnTo>
                              <a:pt x="18122" y="53590"/>
                            </a:lnTo>
                            <a:lnTo>
                              <a:pt x="1854" y="42825"/>
                            </a:lnTo>
                            <a:lnTo>
                              <a:pt x="4127" y="39954"/>
                            </a:lnTo>
                            <a:lnTo>
                              <a:pt x="4904" y="38937"/>
                            </a:lnTo>
                            <a:lnTo>
                              <a:pt x="5383" y="38339"/>
                            </a:lnTo>
                            <a:lnTo>
                              <a:pt x="6280" y="37203"/>
                            </a:lnTo>
                            <a:lnTo>
                              <a:pt x="9151" y="33615"/>
                            </a:lnTo>
                            <a:lnTo>
                              <a:pt x="9928" y="32598"/>
                            </a:lnTo>
                            <a:lnTo>
                              <a:pt x="10766" y="31521"/>
                            </a:lnTo>
                            <a:lnTo>
                              <a:pt x="11065" y="31102"/>
                            </a:lnTo>
                            <a:lnTo>
                              <a:pt x="11902" y="30086"/>
                            </a:lnTo>
                            <a:lnTo>
                              <a:pt x="14354" y="27036"/>
                            </a:lnTo>
                            <a:lnTo>
                              <a:pt x="15131" y="26019"/>
                            </a:lnTo>
                            <a:lnTo>
                              <a:pt x="17344" y="23208"/>
                            </a:lnTo>
                            <a:lnTo>
                              <a:pt x="18182" y="22191"/>
                            </a:lnTo>
                            <a:lnTo>
                              <a:pt x="23026" y="16091"/>
                            </a:lnTo>
                            <a:lnTo>
                              <a:pt x="23863" y="15074"/>
                            </a:lnTo>
                            <a:lnTo>
                              <a:pt x="28708" y="8974"/>
                            </a:lnTo>
                            <a:cubicBezTo>
                              <a:pt x="29904" y="7479"/>
                              <a:pt x="31040" y="6223"/>
                              <a:pt x="32236" y="5146"/>
                            </a:cubicBezTo>
                            <a:cubicBezTo>
                              <a:pt x="33432" y="4070"/>
                              <a:pt x="34629" y="3232"/>
                              <a:pt x="35824" y="2634"/>
                            </a:cubicBezTo>
                            <a:cubicBezTo>
                              <a:pt x="37021" y="2036"/>
                              <a:pt x="38277" y="1617"/>
                              <a:pt x="39473" y="1378"/>
                            </a:cubicBezTo>
                            <a:cubicBezTo>
                              <a:pt x="40729" y="1199"/>
                              <a:pt x="41925" y="1199"/>
                              <a:pt x="43181" y="1438"/>
                            </a:cubicBezTo>
                            <a:cubicBezTo>
                              <a:pt x="43300" y="1438"/>
                              <a:pt x="43420" y="1498"/>
                              <a:pt x="43480" y="1498"/>
                            </a:cubicBezTo>
                            <a:cubicBezTo>
                              <a:pt x="43600" y="1498"/>
                              <a:pt x="43719" y="1558"/>
                              <a:pt x="43779" y="1558"/>
                            </a:cubicBezTo>
                            <a:cubicBezTo>
                              <a:pt x="43899" y="1558"/>
                              <a:pt x="44018" y="1617"/>
                              <a:pt x="44078" y="1617"/>
                            </a:cubicBezTo>
                            <a:cubicBezTo>
                              <a:pt x="44198" y="1617"/>
                              <a:pt x="44317" y="1677"/>
                              <a:pt x="44437" y="1737"/>
                            </a:cubicBezTo>
                            <a:cubicBezTo>
                              <a:pt x="44855" y="1857"/>
                              <a:pt x="45214" y="1976"/>
                              <a:pt x="45633" y="2156"/>
                            </a:cubicBezTo>
                            <a:cubicBezTo>
                              <a:pt x="46052" y="2335"/>
                              <a:pt x="46470" y="2515"/>
                              <a:pt x="46829" y="2694"/>
                            </a:cubicBezTo>
                            <a:cubicBezTo>
                              <a:pt x="47248" y="2874"/>
                              <a:pt x="47667" y="3113"/>
                              <a:pt x="48025" y="3352"/>
                            </a:cubicBezTo>
                            <a:cubicBezTo>
                              <a:pt x="48444" y="3591"/>
                              <a:pt x="48863" y="3890"/>
                              <a:pt x="49281" y="4130"/>
                            </a:cubicBezTo>
                            <a:lnTo>
                              <a:pt x="60465" y="11964"/>
                            </a:lnTo>
                            <a:cubicBezTo>
                              <a:pt x="59508" y="11785"/>
                              <a:pt x="58611" y="11725"/>
                              <a:pt x="57654" y="11785"/>
                            </a:cubicBezTo>
                            <a:cubicBezTo>
                              <a:pt x="56697" y="11845"/>
                              <a:pt x="55800" y="11964"/>
                              <a:pt x="54843" y="12263"/>
                            </a:cubicBezTo>
                            <a:cubicBezTo>
                              <a:pt x="53946" y="12502"/>
                              <a:pt x="52989" y="12921"/>
                              <a:pt x="52092" y="13400"/>
                            </a:cubicBezTo>
                            <a:cubicBezTo>
                              <a:pt x="51195" y="13878"/>
                              <a:pt x="50298" y="14476"/>
                              <a:pt x="49401" y="15194"/>
                            </a:cubicBezTo>
                            <a:cubicBezTo>
                              <a:pt x="49341" y="15254"/>
                              <a:pt x="49222" y="15314"/>
                              <a:pt x="49162" y="15373"/>
                            </a:cubicBezTo>
                            <a:cubicBezTo>
                              <a:pt x="49102" y="15433"/>
                              <a:pt x="48982" y="15493"/>
                              <a:pt x="48922" y="15613"/>
                            </a:cubicBezTo>
                            <a:cubicBezTo>
                              <a:pt x="48863" y="15672"/>
                              <a:pt x="48743" y="15732"/>
                              <a:pt x="48683" y="15852"/>
                            </a:cubicBezTo>
                            <a:cubicBezTo>
                              <a:pt x="48623" y="15971"/>
                              <a:pt x="48504" y="16031"/>
                              <a:pt x="48444" y="16091"/>
                            </a:cubicBezTo>
                            <a:cubicBezTo>
                              <a:pt x="48145" y="16390"/>
                              <a:pt x="47846" y="16689"/>
                              <a:pt x="47487" y="16988"/>
                            </a:cubicBezTo>
                            <a:cubicBezTo>
                              <a:pt x="47188" y="17287"/>
                              <a:pt x="46889" y="17586"/>
                              <a:pt x="46530" y="17945"/>
                            </a:cubicBezTo>
                            <a:cubicBezTo>
                              <a:pt x="46231" y="18304"/>
                              <a:pt x="45932" y="18603"/>
                              <a:pt x="45633" y="18962"/>
                            </a:cubicBezTo>
                            <a:cubicBezTo>
                              <a:pt x="45334" y="19321"/>
                              <a:pt x="45035" y="19679"/>
                              <a:pt x="44736" y="20098"/>
                            </a:cubicBezTo>
                            <a:lnTo>
                              <a:pt x="39951" y="26139"/>
                            </a:lnTo>
                            <a:lnTo>
                              <a:pt x="39114" y="27155"/>
                            </a:lnTo>
                            <a:lnTo>
                              <a:pt x="34329" y="33196"/>
                            </a:lnTo>
                            <a:lnTo>
                              <a:pt x="33492" y="34212"/>
                            </a:lnTo>
                            <a:lnTo>
                              <a:pt x="31279" y="37024"/>
                            </a:lnTo>
                            <a:lnTo>
                              <a:pt x="30502" y="38040"/>
                            </a:lnTo>
                            <a:lnTo>
                              <a:pt x="28109" y="41090"/>
                            </a:lnTo>
                            <a:lnTo>
                              <a:pt x="27272" y="42107"/>
                            </a:lnTo>
                            <a:lnTo>
                              <a:pt x="26136" y="43542"/>
                            </a:lnTo>
                            <a:lnTo>
                              <a:pt x="25299" y="44559"/>
                            </a:lnTo>
                            <a:lnTo>
                              <a:pt x="21112" y="49882"/>
                            </a:lnTo>
                            <a:lnTo>
                              <a:pt x="20394" y="50719"/>
                            </a:lnTo>
                            <a:moveTo>
                              <a:pt x="0" y="43184"/>
                            </a:moveTo>
                            <a:lnTo>
                              <a:pt x="8493" y="48805"/>
                            </a:lnTo>
                            <a:lnTo>
                              <a:pt x="9510" y="49463"/>
                            </a:lnTo>
                            <a:lnTo>
                              <a:pt x="13815" y="52334"/>
                            </a:lnTo>
                            <a:lnTo>
                              <a:pt x="14832" y="52992"/>
                            </a:lnTo>
                            <a:lnTo>
                              <a:pt x="18361" y="55325"/>
                            </a:lnTo>
                            <a:lnTo>
                              <a:pt x="19198" y="54308"/>
                            </a:lnTo>
                            <a:lnTo>
                              <a:pt x="21471" y="51437"/>
                            </a:lnTo>
                            <a:lnTo>
                              <a:pt x="22248" y="50420"/>
                            </a:lnTo>
                            <a:lnTo>
                              <a:pt x="26435" y="45097"/>
                            </a:lnTo>
                            <a:lnTo>
                              <a:pt x="27272" y="44081"/>
                            </a:lnTo>
                            <a:lnTo>
                              <a:pt x="28408" y="42646"/>
                            </a:lnTo>
                            <a:lnTo>
                              <a:pt x="29246" y="41629"/>
                            </a:lnTo>
                            <a:lnTo>
                              <a:pt x="31638" y="38578"/>
                            </a:lnTo>
                            <a:lnTo>
                              <a:pt x="32416" y="37562"/>
                            </a:lnTo>
                            <a:lnTo>
                              <a:pt x="34629" y="34811"/>
                            </a:lnTo>
                            <a:lnTo>
                              <a:pt x="35466" y="33794"/>
                            </a:lnTo>
                            <a:lnTo>
                              <a:pt x="40251" y="27753"/>
                            </a:lnTo>
                            <a:lnTo>
                              <a:pt x="41088" y="26737"/>
                            </a:lnTo>
                            <a:lnTo>
                              <a:pt x="45872" y="20696"/>
                            </a:lnTo>
                            <a:cubicBezTo>
                              <a:pt x="46171" y="20277"/>
                              <a:pt x="46470" y="19918"/>
                              <a:pt x="46769" y="19560"/>
                            </a:cubicBezTo>
                            <a:cubicBezTo>
                              <a:pt x="47068" y="19201"/>
                              <a:pt x="47368" y="18842"/>
                              <a:pt x="47667" y="18543"/>
                            </a:cubicBezTo>
                            <a:cubicBezTo>
                              <a:pt x="47966" y="18184"/>
                              <a:pt x="48264" y="17885"/>
                              <a:pt x="48563" y="17586"/>
                            </a:cubicBezTo>
                            <a:cubicBezTo>
                              <a:pt x="48863" y="17287"/>
                              <a:pt x="49162" y="16988"/>
                              <a:pt x="49461" y="16749"/>
                            </a:cubicBezTo>
                            <a:cubicBezTo>
                              <a:pt x="49521" y="16689"/>
                              <a:pt x="49640" y="16569"/>
                              <a:pt x="49700" y="16510"/>
                            </a:cubicBezTo>
                            <a:cubicBezTo>
                              <a:pt x="49760" y="16450"/>
                              <a:pt x="49879" y="16390"/>
                              <a:pt x="49939" y="16270"/>
                            </a:cubicBezTo>
                            <a:cubicBezTo>
                              <a:pt x="49999" y="16210"/>
                              <a:pt x="50118" y="16151"/>
                              <a:pt x="50178" y="16031"/>
                            </a:cubicBezTo>
                            <a:cubicBezTo>
                              <a:pt x="50238" y="15971"/>
                              <a:pt x="50358" y="15911"/>
                              <a:pt x="50417" y="15852"/>
                            </a:cubicBezTo>
                            <a:cubicBezTo>
                              <a:pt x="51674" y="14895"/>
                              <a:pt x="52930" y="14177"/>
                              <a:pt x="54185" y="13699"/>
                            </a:cubicBezTo>
                            <a:cubicBezTo>
                              <a:pt x="55441" y="13220"/>
                              <a:pt x="56697" y="12981"/>
                              <a:pt x="58013" y="12981"/>
                            </a:cubicBezTo>
                            <a:cubicBezTo>
                              <a:pt x="59329" y="12981"/>
                              <a:pt x="60585" y="13220"/>
                              <a:pt x="61901" y="13699"/>
                            </a:cubicBezTo>
                            <a:cubicBezTo>
                              <a:pt x="63216" y="14177"/>
                              <a:pt x="64592" y="14895"/>
                              <a:pt x="65908" y="15852"/>
                            </a:cubicBezTo>
                            <a:lnTo>
                              <a:pt x="66745" y="14835"/>
                            </a:lnTo>
                            <a:lnTo>
                              <a:pt x="50059" y="3173"/>
                            </a:lnTo>
                            <a:cubicBezTo>
                              <a:pt x="49521" y="2814"/>
                              <a:pt x="48982" y="2455"/>
                              <a:pt x="48444" y="2156"/>
                            </a:cubicBezTo>
                            <a:cubicBezTo>
                              <a:pt x="47906" y="1857"/>
                              <a:pt x="47368" y="1558"/>
                              <a:pt x="46829" y="1319"/>
                            </a:cubicBezTo>
                            <a:cubicBezTo>
                              <a:pt x="46291" y="1079"/>
                              <a:pt x="45753" y="840"/>
                              <a:pt x="45214" y="661"/>
                            </a:cubicBezTo>
                            <a:cubicBezTo>
                              <a:pt x="44676" y="481"/>
                              <a:pt x="44138" y="362"/>
                              <a:pt x="43600" y="242"/>
                            </a:cubicBezTo>
                            <a:cubicBezTo>
                              <a:pt x="42224" y="-57"/>
                              <a:pt x="40848" y="-57"/>
                              <a:pt x="39473" y="122"/>
                            </a:cubicBezTo>
                            <a:cubicBezTo>
                              <a:pt x="38097" y="302"/>
                              <a:pt x="36722" y="721"/>
                              <a:pt x="35406" y="1438"/>
                            </a:cubicBezTo>
                            <a:cubicBezTo>
                              <a:pt x="34090" y="2096"/>
                              <a:pt x="32715" y="2993"/>
                              <a:pt x="31459" y="4130"/>
                            </a:cubicBezTo>
                            <a:cubicBezTo>
                              <a:pt x="30143" y="5266"/>
                              <a:pt x="28887" y="6641"/>
                              <a:pt x="27571" y="8256"/>
                            </a:cubicBezTo>
                            <a:lnTo>
                              <a:pt x="22727" y="14356"/>
                            </a:lnTo>
                            <a:lnTo>
                              <a:pt x="21890" y="15373"/>
                            </a:lnTo>
                            <a:lnTo>
                              <a:pt x="17045" y="21474"/>
                            </a:lnTo>
                            <a:lnTo>
                              <a:pt x="16208" y="22491"/>
                            </a:lnTo>
                            <a:lnTo>
                              <a:pt x="13995" y="25301"/>
                            </a:lnTo>
                            <a:lnTo>
                              <a:pt x="13218" y="26318"/>
                            </a:lnTo>
                            <a:lnTo>
                              <a:pt x="10766" y="29368"/>
                            </a:lnTo>
                            <a:lnTo>
                              <a:pt x="9928" y="30385"/>
                            </a:lnTo>
                            <a:lnTo>
                              <a:pt x="9450" y="31043"/>
                            </a:lnTo>
                            <a:lnTo>
                              <a:pt x="8612" y="32119"/>
                            </a:lnTo>
                            <a:lnTo>
                              <a:pt x="8014" y="32897"/>
                            </a:lnTo>
                            <a:lnTo>
                              <a:pt x="4785" y="36964"/>
                            </a:lnTo>
                            <a:lnTo>
                              <a:pt x="3828" y="38160"/>
                            </a:lnTo>
                            <a:lnTo>
                              <a:pt x="3768" y="38219"/>
                            </a:lnTo>
                            <a:lnTo>
                              <a:pt x="2990" y="39236"/>
                            </a:lnTo>
                            <a:lnTo>
                              <a:pt x="718" y="42107"/>
                            </a:lnTo>
                            <a:lnTo>
                              <a:pt x="0" y="43184"/>
                            </a:lnTo>
                          </a:path>
                        </a:pathLst>
                      </a:custGeom>
                      <a:noFill/>
                      <a:ln w="6350" cap="flat">
                        <a:solidFill>
                          <a:schemeClr val="bg1">
                            <a:alpha val="40000"/>
                          </a:schemeClr>
                        </a:solidFill>
                        <a:prstDash val="solid"/>
                        <a:miter/>
                      </a:ln>
                    </p:spPr>
                    <p:txBody>
                      <a:bodyPr rtlCol="0" anchor="ctr"/>
                      <a:lstStyle/>
                      <a:p>
                        <a:endParaRPr lang="en-GB"/>
                      </a:p>
                    </p:txBody>
                  </p:sp>
                  <p:sp>
                    <p:nvSpPr>
                      <p:cNvPr id="7498" name="Vrije vorm: vorm 7497">
                        <a:extLst>
                          <a:ext uri="{FF2B5EF4-FFF2-40B4-BE49-F238E27FC236}">
                            <a16:creationId xmlns:a16="http://schemas.microsoft.com/office/drawing/2014/main" id="{F55CF710-2AFF-4A7E-BA84-34BF06C3F501}"/>
                          </a:ext>
                        </a:extLst>
                      </p:cNvPr>
                      <p:cNvSpPr/>
                      <p:nvPr/>
                    </p:nvSpPr>
                    <p:spPr>
                      <a:xfrm>
                        <a:off x="4834174" y="5069716"/>
                        <a:ext cx="157654" cy="48386"/>
                      </a:xfrm>
                      <a:custGeom>
                        <a:avLst/>
                        <a:gdLst>
                          <a:gd name="connsiteX0" fmla="*/ 155861 w 157654"/>
                          <a:gd name="connsiteY0" fmla="*/ 12083 h 48386"/>
                          <a:gd name="connsiteX1" fmla="*/ 156219 w 157654"/>
                          <a:gd name="connsiteY1" fmla="*/ 11904 h 48386"/>
                          <a:gd name="connsiteX2" fmla="*/ 156578 w 157654"/>
                          <a:gd name="connsiteY2" fmla="*/ 11725 h 48386"/>
                          <a:gd name="connsiteX3" fmla="*/ 156937 w 157654"/>
                          <a:gd name="connsiteY3" fmla="*/ 11545 h 48386"/>
                          <a:gd name="connsiteX4" fmla="*/ 157296 w 157654"/>
                          <a:gd name="connsiteY4" fmla="*/ 11366 h 48386"/>
                          <a:gd name="connsiteX5" fmla="*/ 157535 w 157654"/>
                          <a:gd name="connsiteY5" fmla="*/ 10229 h 48386"/>
                          <a:gd name="connsiteX6" fmla="*/ 157655 w 157654"/>
                          <a:gd name="connsiteY6" fmla="*/ 9631 h 48386"/>
                          <a:gd name="connsiteX7" fmla="*/ 155741 w 157654"/>
                          <a:gd name="connsiteY7" fmla="*/ 9512 h 48386"/>
                          <a:gd name="connsiteX8" fmla="*/ 155322 w 157654"/>
                          <a:gd name="connsiteY8" fmla="*/ 9751 h 48386"/>
                          <a:gd name="connsiteX9" fmla="*/ 154903 w 157654"/>
                          <a:gd name="connsiteY9" fmla="*/ 9990 h 48386"/>
                          <a:gd name="connsiteX10" fmla="*/ 154485 w 157654"/>
                          <a:gd name="connsiteY10" fmla="*/ 10289 h 48386"/>
                          <a:gd name="connsiteX11" fmla="*/ 154066 w 157654"/>
                          <a:gd name="connsiteY11" fmla="*/ 10588 h 48386"/>
                          <a:gd name="connsiteX12" fmla="*/ 156279 w 157654"/>
                          <a:gd name="connsiteY12" fmla="*/ 10768 h 48386"/>
                          <a:gd name="connsiteX13" fmla="*/ 155861 w 157654"/>
                          <a:gd name="connsiteY13" fmla="*/ 12083 h 48386"/>
                          <a:gd name="connsiteX14" fmla="*/ 155262 w 157654"/>
                          <a:gd name="connsiteY14" fmla="*/ 15313 h 48386"/>
                          <a:gd name="connsiteX15" fmla="*/ 155561 w 157654"/>
                          <a:gd name="connsiteY15" fmla="*/ 15193 h 48386"/>
                          <a:gd name="connsiteX16" fmla="*/ 155861 w 157654"/>
                          <a:gd name="connsiteY16" fmla="*/ 15074 h 48386"/>
                          <a:gd name="connsiteX17" fmla="*/ 156160 w 157654"/>
                          <a:gd name="connsiteY17" fmla="*/ 15014 h 48386"/>
                          <a:gd name="connsiteX18" fmla="*/ 156458 w 157654"/>
                          <a:gd name="connsiteY18" fmla="*/ 14954 h 48386"/>
                          <a:gd name="connsiteX19" fmla="*/ 156817 w 157654"/>
                          <a:gd name="connsiteY19" fmla="*/ 13160 h 48386"/>
                          <a:gd name="connsiteX20" fmla="*/ 156458 w 157654"/>
                          <a:gd name="connsiteY20" fmla="*/ 13339 h 48386"/>
                          <a:gd name="connsiteX21" fmla="*/ 156100 w 157654"/>
                          <a:gd name="connsiteY21" fmla="*/ 13579 h 48386"/>
                          <a:gd name="connsiteX22" fmla="*/ 155741 w 157654"/>
                          <a:gd name="connsiteY22" fmla="*/ 13818 h 48386"/>
                          <a:gd name="connsiteX23" fmla="*/ 155382 w 157654"/>
                          <a:gd name="connsiteY23" fmla="*/ 14057 h 48386"/>
                          <a:gd name="connsiteX24" fmla="*/ 155262 w 157654"/>
                          <a:gd name="connsiteY24" fmla="*/ 15313 h 48386"/>
                          <a:gd name="connsiteX25" fmla="*/ 154963 w 157654"/>
                          <a:gd name="connsiteY25" fmla="*/ 20516 h 48386"/>
                          <a:gd name="connsiteX26" fmla="*/ 155083 w 157654"/>
                          <a:gd name="connsiteY26" fmla="*/ 20576 h 48386"/>
                          <a:gd name="connsiteX27" fmla="*/ 155202 w 157654"/>
                          <a:gd name="connsiteY27" fmla="*/ 20636 h 48386"/>
                          <a:gd name="connsiteX28" fmla="*/ 155322 w 157654"/>
                          <a:gd name="connsiteY28" fmla="*/ 20696 h 48386"/>
                          <a:gd name="connsiteX29" fmla="*/ 155442 w 157654"/>
                          <a:gd name="connsiteY29" fmla="*/ 20755 h 48386"/>
                          <a:gd name="connsiteX30" fmla="*/ 156339 w 157654"/>
                          <a:gd name="connsiteY30" fmla="*/ 16090 h 48386"/>
                          <a:gd name="connsiteX31" fmla="*/ 156040 w 157654"/>
                          <a:gd name="connsiteY31" fmla="*/ 16150 h 48386"/>
                          <a:gd name="connsiteX32" fmla="*/ 155741 w 157654"/>
                          <a:gd name="connsiteY32" fmla="*/ 16270 h 48386"/>
                          <a:gd name="connsiteX33" fmla="*/ 155502 w 157654"/>
                          <a:gd name="connsiteY33" fmla="*/ 16450 h 48386"/>
                          <a:gd name="connsiteX34" fmla="*/ 155262 w 157654"/>
                          <a:gd name="connsiteY34" fmla="*/ 16629 h 48386"/>
                          <a:gd name="connsiteX35" fmla="*/ 155202 w 157654"/>
                          <a:gd name="connsiteY35" fmla="*/ 16689 h 48386"/>
                          <a:gd name="connsiteX36" fmla="*/ 155143 w 157654"/>
                          <a:gd name="connsiteY36" fmla="*/ 16748 h 48386"/>
                          <a:gd name="connsiteX37" fmla="*/ 155083 w 157654"/>
                          <a:gd name="connsiteY37" fmla="*/ 16808 h 48386"/>
                          <a:gd name="connsiteX38" fmla="*/ 155023 w 157654"/>
                          <a:gd name="connsiteY38" fmla="*/ 16868 h 48386"/>
                          <a:gd name="connsiteX39" fmla="*/ 154485 w 157654"/>
                          <a:gd name="connsiteY39" fmla="*/ 19858 h 48386"/>
                          <a:gd name="connsiteX40" fmla="*/ 154545 w 157654"/>
                          <a:gd name="connsiteY40" fmla="*/ 19918 h 48386"/>
                          <a:gd name="connsiteX41" fmla="*/ 154604 w 157654"/>
                          <a:gd name="connsiteY41" fmla="*/ 19978 h 48386"/>
                          <a:gd name="connsiteX42" fmla="*/ 154664 w 157654"/>
                          <a:gd name="connsiteY42" fmla="*/ 20038 h 48386"/>
                          <a:gd name="connsiteX43" fmla="*/ 154724 w 157654"/>
                          <a:gd name="connsiteY43" fmla="*/ 20098 h 48386"/>
                          <a:gd name="connsiteX44" fmla="*/ 154784 w 157654"/>
                          <a:gd name="connsiteY44" fmla="*/ 20217 h 48386"/>
                          <a:gd name="connsiteX45" fmla="*/ 154903 w 157654"/>
                          <a:gd name="connsiteY45" fmla="*/ 20337 h 48386"/>
                          <a:gd name="connsiteX46" fmla="*/ 155023 w 157654"/>
                          <a:gd name="connsiteY46" fmla="*/ 20457 h 48386"/>
                          <a:gd name="connsiteX47" fmla="*/ 154963 w 157654"/>
                          <a:gd name="connsiteY47" fmla="*/ 20516 h 48386"/>
                          <a:gd name="connsiteX48" fmla="*/ 153229 w 157654"/>
                          <a:gd name="connsiteY48" fmla="*/ 26317 h 48386"/>
                          <a:gd name="connsiteX49" fmla="*/ 153468 w 157654"/>
                          <a:gd name="connsiteY49" fmla="*/ 25002 h 48386"/>
                          <a:gd name="connsiteX50" fmla="*/ 153468 w 157654"/>
                          <a:gd name="connsiteY50" fmla="*/ 25002 h 48386"/>
                          <a:gd name="connsiteX51" fmla="*/ 153229 w 157654"/>
                          <a:gd name="connsiteY51" fmla="*/ 26317 h 48386"/>
                          <a:gd name="connsiteX52" fmla="*/ 153229 w 157654"/>
                          <a:gd name="connsiteY52" fmla="*/ 26317 h 48386"/>
                          <a:gd name="connsiteX53" fmla="*/ 153229 w 157654"/>
                          <a:gd name="connsiteY53" fmla="*/ 26317 h 48386"/>
                          <a:gd name="connsiteX54" fmla="*/ 153229 w 157654"/>
                          <a:gd name="connsiteY54" fmla="*/ 26317 h 48386"/>
                          <a:gd name="connsiteX55" fmla="*/ 153229 w 157654"/>
                          <a:gd name="connsiteY55" fmla="*/ 26317 h 48386"/>
                          <a:gd name="connsiteX56" fmla="*/ 152571 w 157654"/>
                          <a:gd name="connsiteY56" fmla="*/ 36066 h 48386"/>
                          <a:gd name="connsiteX57" fmla="*/ 152571 w 157654"/>
                          <a:gd name="connsiteY57" fmla="*/ 36066 h 48386"/>
                          <a:gd name="connsiteX58" fmla="*/ 152571 w 157654"/>
                          <a:gd name="connsiteY58" fmla="*/ 36066 h 48386"/>
                          <a:gd name="connsiteX59" fmla="*/ 152571 w 157654"/>
                          <a:gd name="connsiteY59" fmla="*/ 36066 h 48386"/>
                          <a:gd name="connsiteX60" fmla="*/ 152571 w 157654"/>
                          <a:gd name="connsiteY60" fmla="*/ 36066 h 48386"/>
                          <a:gd name="connsiteX61" fmla="*/ 155262 w 157654"/>
                          <a:gd name="connsiteY61" fmla="*/ 21952 h 48386"/>
                          <a:gd name="connsiteX62" fmla="*/ 154963 w 157654"/>
                          <a:gd name="connsiteY62" fmla="*/ 21832 h 48386"/>
                          <a:gd name="connsiteX63" fmla="*/ 154724 w 157654"/>
                          <a:gd name="connsiteY63" fmla="*/ 21712 h 48386"/>
                          <a:gd name="connsiteX64" fmla="*/ 154485 w 157654"/>
                          <a:gd name="connsiteY64" fmla="*/ 21593 h 48386"/>
                          <a:gd name="connsiteX65" fmla="*/ 154246 w 157654"/>
                          <a:gd name="connsiteY65" fmla="*/ 21413 h 48386"/>
                          <a:gd name="connsiteX66" fmla="*/ 154246 w 157654"/>
                          <a:gd name="connsiteY66" fmla="*/ 21413 h 48386"/>
                          <a:gd name="connsiteX67" fmla="*/ 154246 w 157654"/>
                          <a:gd name="connsiteY67" fmla="*/ 21413 h 48386"/>
                          <a:gd name="connsiteX68" fmla="*/ 154246 w 157654"/>
                          <a:gd name="connsiteY68" fmla="*/ 21413 h 48386"/>
                          <a:gd name="connsiteX69" fmla="*/ 154246 w 157654"/>
                          <a:gd name="connsiteY69" fmla="*/ 21413 h 48386"/>
                          <a:gd name="connsiteX70" fmla="*/ 153767 w 157654"/>
                          <a:gd name="connsiteY70" fmla="*/ 23866 h 48386"/>
                          <a:gd name="connsiteX71" fmla="*/ 154903 w 157654"/>
                          <a:gd name="connsiteY71" fmla="*/ 23925 h 48386"/>
                          <a:gd name="connsiteX72" fmla="*/ 152571 w 157654"/>
                          <a:gd name="connsiteY72" fmla="*/ 36066 h 48386"/>
                          <a:gd name="connsiteX73" fmla="*/ 151076 w 157654"/>
                          <a:gd name="connsiteY73" fmla="*/ 41628 h 48386"/>
                          <a:gd name="connsiteX74" fmla="*/ 151195 w 157654"/>
                          <a:gd name="connsiteY74" fmla="*/ 41688 h 48386"/>
                          <a:gd name="connsiteX75" fmla="*/ 151315 w 157654"/>
                          <a:gd name="connsiteY75" fmla="*/ 41748 h 48386"/>
                          <a:gd name="connsiteX76" fmla="*/ 151435 w 157654"/>
                          <a:gd name="connsiteY76" fmla="*/ 41808 h 48386"/>
                          <a:gd name="connsiteX77" fmla="*/ 151554 w 157654"/>
                          <a:gd name="connsiteY77" fmla="*/ 41868 h 48386"/>
                          <a:gd name="connsiteX78" fmla="*/ 152392 w 157654"/>
                          <a:gd name="connsiteY78" fmla="*/ 37262 h 48386"/>
                          <a:gd name="connsiteX79" fmla="*/ 152392 w 157654"/>
                          <a:gd name="connsiteY79" fmla="*/ 37262 h 48386"/>
                          <a:gd name="connsiteX80" fmla="*/ 152392 w 157654"/>
                          <a:gd name="connsiteY80" fmla="*/ 37262 h 48386"/>
                          <a:gd name="connsiteX81" fmla="*/ 152392 w 157654"/>
                          <a:gd name="connsiteY81" fmla="*/ 37262 h 48386"/>
                          <a:gd name="connsiteX82" fmla="*/ 152392 w 157654"/>
                          <a:gd name="connsiteY82" fmla="*/ 37262 h 48386"/>
                          <a:gd name="connsiteX83" fmla="*/ 152212 w 157654"/>
                          <a:gd name="connsiteY83" fmla="*/ 38219 h 48386"/>
                          <a:gd name="connsiteX84" fmla="*/ 151674 w 157654"/>
                          <a:gd name="connsiteY84" fmla="*/ 38219 h 48386"/>
                          <a:gd name="connsiteX85" fmla="*/ 151076 w 157654"/>
                          <a:gd name="connsiteY85" fmla="*/ 38159 h 48386"/>
                          <a:gd name="connsiteX86" fmla="*/ 150538 w 157654"/>
                          <a:gd name="connsiteY86" fmla="*/ 40910 h 48386"/>
                          <a:gd name="connsiteX87" fmla="*/ 150597 w 157654"/>
                          <a:gd name="connsiteY87" fmla="*/ 40970 h 48386"/>
                          <a:gd name="connsiteX88" fmla="*/ 150657 w 157654"/>
                          <a:gd name="connsiteY88" fmla="*/ 41030 h 48386"/>
                          <a:gd name="connsiteX89" fmla="*/ 150717 w 157654"/>
                          <a:gd name="connsiteY89" fmla="*/ 41090 h 48386"/>
                          <a:gd name="connsiteX90" fmla="*/ 150777 w 157654"/>
                          <a:gd name="connsiteY90" fmla="*/ 41150 h 48386"/>
                          <a:gd name="connsiteX91" fmla="*/ 151076 w 157654"/>
                          <a:gd name="connsiteY91" fmla="*/ 41628 h 48386"/>
                          <a:gd name="connsiteX92" fmla="*/ 150956 w 157654"/>
                          <a:gd name="connsiteY92" fmla="*/ 44738 h 48386"/>
                          <a:gd name="connsiteX93" fmla="*/ 151255 w 157654"/>
                          <a:gd name="connsiteY93" fmla="*/ 43063 h 48386"/>
                          <a:gd name="connsiteX94" fmla="*/ 151016 w 157654"/>
                          <a:gd name="connsiteY94" fmla="*/ 43004 h 48386"/>
                          <a:gd name="connsiteX95" fmla="*/ 150777 w 157654"/>
                          <a:gd name="connsiteY95" fmla="*/ 42884 h 48386"/>
                          <a:gd name="connsiteX96" fmla="*/ 150538 w 157654"/>
                          <a:gd name="connsiteY96" fmla="*/ 42764 h 48386"/>
                          <a:gd name="connsiteX97" fmla="*/ 150298 w 157654"/>
                          <a:gd name="connsiteY97" fmla="*/ 42585 h 48386"/>
                          <a:gd name="connsiteX98" fmla="*/ 150298 w 157654"/>
                          <a:gd name="connsiteY98" fmla="*/ 42585 h 48386"/>
                          <a:gd name="connsiteX99" fmla="*/ 150298 w 157654"/>
                          <a:gd name="connsiteY99" fmla="*/ 42585 h 48386"/>
                          <a:gd name="connsiteX100" fmla="*/ 150298 w 157654"/>
                          <a:gd name="connsiteY100" fmla="*/ 42585 h 48386"/>
                          <a:gd name="connsiteX101" fmla="*/ 150298 w 157654"/>
                          <a:gd name="connsiteY101" fmla="*/ 42585 h 48386"/>
                          <a:gd name="connsiteX102" fmla="*/ 150059 w 157654"/>
                          <a:gd name="connsiteY102" fmla="*/ 43841 h 48386"/>
                          <a:gd name="connsiteX103" fmla="*/ 150298 w 157654"/>
                          <a:gd name="connsiteY103" fmla="*/ 44080 h 48386"/>
                          <a:gd name="connsiteX104" fmla="*/ 150538 w 157654"/>
                          <a:gd name="connsiteY104" fmla="*/ 44320 h 48386"/>
                          <a:gd name="connsiteX105" fmla="*/ 150777 w 157654"/>
                          <a:gd name="connsiteY105" fmla="*/ 44559 h 48386"/>
                          <a:gd name="connsiteX106" fmla="*/ 150956 w 157654"/>
                          <a:gd name="connsiteY106" fmla="*/ 44738 h 48386"/>
                          <a:gd name="connsiteX107" fmla="*/ 148624 w 157654"/>
                          <a:gd name="connsiteY107" fmla="*/ 48327 h 48386"/>
                          <a:gd name="connsiteX108" fmla="*/ 149700 w 157654"/>
                          <a:gd name="connsiteY108" fmla="*/ 48386 h 48386"/>
                          <a:gd name="connsiteX109" fmla="*/ 150239 w 157654"/>
                          <a:gd name="connsiteY109" fmla="*/ 48386 h 48386"/>
                          <a:gd name="connsiteX110" fmla="*/ 150597 w 157654"/>
                          <a:gd name="connsiteY110" fmla="*/ 46472 h 48386"/>
                          <a:gd name="connsiteX111" fmla="*/ 150358 w 157654"/>
                          <a:gd name="connsiteY111" fmla="*/ 46293 h 48386"/>
                          <a:gd name="connsiteX112" fmla="*/ 150119 w 157654"/>
                          <a:gd name="connsiteY112" fmla="*/ 46054 h 48386"/>
                          <a:gd name="connsiteX113" fmla="*/ 149880 w 157654"/>
                          <a:gd name="connsiteY113" fmla="*/ 45815 h 48386"/>
                          <a:gd name="connsiteX114" fmla="*/ 149640 w 157654"/>
                          <a:gd name="connsiteY114" fmla="*/ 45576 h 48386"/>
                          <a:gd name="connsiteX115" fmla="*/ 149341 w 157654"/>
                          <a:gd name="connsiteY115" fmla="*/ 47190 h 48386"/>
                          <a:gd name="connsiteX116" fmla="*/ 147308 w 157654"/>
                          <a:gd name="connsiteY116" fmla="*/ 47071 h 48386"/>
                          <a:gd name="connsiteX117" fmla="*/ 147607 w 157654"/>
                          <a:gd name="connsiteY117" fmla="*/ 47370 h 48386"/>
                          <a:gd name="connsiteX118" fmla="*/ 147906 w 157654"/>
                          <a:gd name="connsiteY118" fmla="*/ 47669 h 48386"/>
                          <a:gd name="connsiteX119" fmla="*/ 148265 w 157654"/>
                          <a:gd name="connsiteY119" fmla="*/ 47968 h 48386"/>
                          <a:gd name="connsiteX120" fmla="*/ 148624 w 157654"/>
                          <a:gd name="connsiteY120" fmla="*/ 48327 h 48386"/>
                          <a:gd name="connsiteX121" fmla="*/ 7598 w 157654"/>
                          <a:gd name="connsiteY121" fmla="*/ 37501 h 48386"/>
                          <a:gd name="connsiteX122" fmla="*/ 9811 w 157654"/>
                          <a:gd name="connsiteY122" fmla="*/ 38817 h 48386"/>
                          <a:gd name="connsiteX123" fmla="*/ 12263 w 157654"/>
                          <a:gd name="connsiteY123" fmla="*/ 39834 h 48386"/>
                          <a:gd name="connsiteX124" fmla="*/ 14895 w 157654"/>
                          <a:gd name="connsiteY124" fmla="*/ 40552 h 48386"/>
                          <a:gd name="connsiteX125" fmla="*/ 17706 w 157654"/>
                          <a:gd name="connsiteY125" fmla="*/ 40910 h 48386"/>
                          <a:gd name="connsiteX126" fmla="*/ 30086 w 157654"/>
                          <a:gd name="connsiteY126" fmla="*/ 41628 h 48386"/>
                          <a:gd name="connsiteX127" fmla="*/ 32179 w 157654"/>
                          <a:gd name="connsiteY127" fmla="*/ 41748 h 48386"/>
                          <a:gd name="connsiteX128" fmla="*/ 37741 w 157654"/>
                          <a:gd name="connsiteY128" fmla="*/ 42047 h 48386"/>
                          <a:gd name="connsiteX129" fmla="*/ 39177 w 157654"/>
                          <a:gd name="connsiteY129" fmla="*/ 42107 h 48386"/>
                          <a:gd name="connsiteX130" fmla="*/ 146710 w 157654"/>
                          <a:gd name="connsiteY130" fmla="*/ 48207 h 48386"/>
                          <a:gd name="connsiteX131" fmla="*/ 146411 w 157654"/>
                          <a:gd name="connsiteY131" fmla="*/ 47908 h 48386"/>
                          <a:gd name="connsiteX132" fmla="*/ 146112 w 157654"/>
                          <a:gd name="connsiteY132" fmla="*/ 47609 h 48386"/>
                          <a:gd name="connsiteX133" fmla="*/ 145813 w 157654"/>
                          <a:gd name="connsiteY133" fmla="*/ 47310 h 48386"/>
                          <a:gd name="connsiteX134" fmla="*/ 145514 w 157654"/>
                          <a:gd name="connsiteY134" fmla="*/ 47011 h 48386"/>
                          <a:gd name="connsiteX135" fmla="*/ 40014 w 157654"/>
                          <a:gd name="connsiteY135" fmla="*/ 40970 h 48386"/>
                          <a:gd name="connsiteX136" fmla="*/ 38578 w 157654"/>
                          <a:gd name="connsiteY136" fmla="*/ 40910 h 48386"/>
                          <a:gd name="connsiteX137" fmla="*/ 33734 w 157654"/>
                          <a:gd name="connsiteY137" fmla="*/ 40612 h 48386"/>
                          <a:gd name="connsiteX138" fmla="*/ 31820 w 157654"/>
                          <a:gd name="connsiteY138" fmla="*/ 40492 h 48386"/>
                          <a:gd name="connsiteX139" fmla="*/ 17766 w 157654"/>
                          <a:gd name="connsiteY139" fmla="*/ 39714 h 48386"/>
                          <a:gd name="connsiteX140" fmla="*/ 15134 w 157654"/>
                          <a:gd name="connsiteY140" fmla="*/ 39415 h 48386"/>
                          <a:gd name="connsiteX141" fmla="*/ 12682 w 157654"/>
                          <a:gd name="connsiteY141" fmla="*/ 38757 h 48386"/>
                          <a:gd name="connsiteX142" fmla="*/ 10409 w 157654"/>
                          <a:gd name="connsiteY142" fmla="*/ 37800 h 48386"/>
                          <a:gd name="connsiteX143" fmla="*/ 8316 w 157654"/>
                          <a:gd name="connsiteY143" fmla="*/ 36545 h 48386"/>
                          <a:gd name="connsiteX144" fmla="*/ 4907 w 157654"/>
                          <a:gd name="connsiteY144" fmla="*/ 33315 h 48386"/>
                          <a:gd name="connsiteX145" fmla="*/ 2515 w 157654"/>
                          <a:gd name="connsiteY145" fmla="*/ 29248 h 48386"/>
                          <a:gd name="connsiteX146" fmla="*/ 1259 w 157654"/>
                          <a:gd name="connsiteY146" fmla="*/ 24583 h 48386"/>
                          <a:gd name="connsiteX147" fmla="*/ 1378 w 157654"/>
                          <a:gd name="connsiteY147" fmla="*/ 19440 h 48386"/>
                          <a:gd name="connsiteX148" fmla="*/ 2335 w 157654"/>
                          <a:gd name="connsiteY148" fmla="*/ 15672 h 48386"/>
                          <a:gd name="connsiteX149" fmla="*/ 4010 w 157654"/>
                          <a:gd name="connsiteY149" fmla="*/ 12143 h 48386"/>
                          <a:gd name="connsiteX150" fmla="*/ 6342 w 157654"/>
                          <a:gd name="connsiteY150" fmla="*/ 8914 h 48386"/>
                          <a:gd name="connsiteX151" fmla="*/ 9273 w 157654"/>
                          <a:gd name="connsiteY151" fmla="*/ 6103 h 48386"/>
                          <a:gd name="connsiteX152" fmla="*/ 12622 w 157654"/>
                          <a:gd name="connsiteY152" fmla="*/ 3890 h 48386"/>
                          <a:gd name="connsiteX153" fmla="*/ 16270 w 157654"/>
                          <a:gd name="connsiteY153" fmla="*/ 2335 h 48386"/>
                          <a:gd name="connsiteX154" fmla="*/ 20098 w 157654"/>
                          <a:gd name="connsiteY154" fmla="*/ 1498 h 48386"/>
                          <a:gd name="connsiteX155" fmla="*/ 23985 w 157654"/>
                          <a:gd name="connsiteY155" fmla="*/ 1378 h 48386"/>
                          <a:gd name="connsiteX156" fmla="*/ 36664 w 157654"/>
                          <a:gd name="connsiteY156" fmla="*/ 2275 h 48386"/>
                          <a:gd name="connsiteX157" fmla="*/ 38758 w 157654"/>
                          <a:gd name="connsiteY157" fmla="*/ 2395 h 48386"/>
                          <a:gd name="connsiteX158" fmla="*/ 43363 w 157654"/>
                          <a:gd name="connsiteY158" fmla="*/ 2694 h 48386"/>
                          <a:gd name="connsiteX159" fmla="*/ 45038 w 157654"/>
                          <a:gd name="connsiteY159" fmla="*/ 2813 h 48386"/>
                          <a:gd name="connsiteX160" fmla="*/ 152212 w 157654"/>
                          <a:gd name="connsiteY160" fmla="*/ 10349 h 48386"/>
                          <a:gd name="connsiteX161" fmla="*/ 152571 w 157654"/>
                          <a:gd name="connsiteY161" fmla="*/ 10050 h 48386"/>
                          <a:gd name="connsiteX162" fmla="*/ 152930 w 157654"/>
                          <a:gd name="connsiteY162" fmla="*/ 9751 h 48386"/>
                          <a:gd name="connsiteX163" fmla="*/ 153348 w 157654"/>
                          <a:gd name="connsiteY163" fmla="*/ 9512 h 48386"/>
                          <a:gd name="connsiteX164" fmla="*/ 153767 w 157654"/>
                          <a:gd name="connsiteY164" fmla="*/ 9273 h 48386"/>
                          <a:gd name="connsiteX165" fmla="*/ 44140 w 157654"/>
                          <a:gd name="connsiteY165" fmla="*/ 1498 h 48386"/>
                          <a:gd name="connsiteX166" fmla="*/ 42346 w 157654"/>
                          <a:gd name="connsiteY166" fmla="*/ 1378 h 48386"/>
                          <a:gd name="connsiteX167" fmla="*/ 37323 w 157654"/>
                          <a:gd name="connsiteY167" fmla="*/ 1019 h 48386"/>
                          <a:gd name="connsiteX168" fmla="*/ 34930 w 157654"/>
                          <a:gd name="connsiteY168" fmla="*/ 840 h 48386"/>
                          <a:gd name="connsiteX169" fmla="*/ 24285 w 157654"/>
                          <a:gd name="connsiteY169" fmla="*/ 62 h 48386"/>
                          <a:gd name="connsiteX170" fmla="*/ 20158 w 157654"/>
                          <a:gd name="connsiteY170" fmla="*/ 182 h 48386"/>
                          <a:gd name="connsiteX171" fmla="*/ 16091 w 157654"/>
                          <a:gd name="connsiteY171" fmla="*/ 1079 h 48386"/>
                          <a:gd name="connsiteX172" fmla="*/ 12203 w 157654"/>
                          <a:gd name="connsiteY172" fmla="*/ 2694 h 48386"/>
                          <a:gd name="connsiteX173" fmla="*/ 8615 w 157654"/>
                          <a:gd name="connsiteY173" fmla="*/ 5086 h 48386"/>
                          <a:gd name="connsiteX174" fmla="*/ 5505 w 157654"/>
                          <a:gd name="connsiteY174" fmla="*/ 8076 h 48386"/>
                          <a:gd name="connsiteX175" fmla="*/ 3053 w 157654"/>
                          <a:gd name="connsiteY175" fmla="*/ 11485 h 48386"/>
                          <a:gd name="connsiteX176" fmla="*/ 1259 w 157654"/>
                          <a:gd name="connsiteY176" fmla="*/ 15253 h 48386"/>
                          <a:gd name="connsiteX177" fmla="*/ 242 w 157654"/>
                          <a:gd name="connsiteY177" fmla="*/ 19260 h 48386"/>
                          <a:gd name="connsiteX178" fmla="*/ 122 w 157654"/>
                          <a:gd name="connsiteY178" fmla="*/ 24703 h 48386"/>
                          <a:gd name="connsiteX179" fmla="*/ 1438 w 157654"/>
                          <a:gd name="connsiteY179" fmla="*/ 29667 h 48386"/>
                          <a:gd name="connsiteX180" fmla="*/ 4010 w 157654"/>
                          <a:gd name="connsiteY180" fmla="*/ 33973 h 48386"/>
                          <a:gd name="connsiteX181" fmla="*/ 7598 w 157654"/>
                          <a:gd name="connsiteY181" fmla="*/ 37501 h 4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57654" h="48386">
                            <a:moveTo>
                              <a:pt x="155861" y="12083"/>
                            </a:moveTo>
                            <a:cubicBezTo>
                              <a:pt x="155980" y="12023"/>
                              <a:pt x="156100" y="11964"/>
                              <a:pt x="156219" y="11904"/>
                            </a:cubicBezTo>
                            <a:cubicBezTo>
                              <a:pt x="156339" y="11844"/>
                              <a:pt x="156458" y="11784"/>
                              <a:pt x="156578" y="11725"/>
                            </a:cubicBezTo>
                            <a:cubicBezTo>
                              <a:pt x="156698" y="11665"/>
                              <a:pt x="156817" y="11605"/>
                              <a:pt x="156937" y="11545"/>
                            </a:cubicBezTo>
                            <a:cubicBezTo>
                              <a:pt x="157056" y="11485"/>
                              <a:pt x="157176" y="11426"/>
                              <a:pt x="157296" y="11366"/>
                            </a:cubicBezTo>
                            <a:lnTo>
                              <a:pt x="157535" y="10229"/>
                            </a:lnTo>
                            <a:lnTo>
                              <a:pt x="157655" y="9631"/>
                            </a:lnTo>
                            <a:lnTo>
                              <a:pt x="155741" y="9512"/>
                            </a:lnTo>
                            <a:cubicBezTo>
                              <a:pt x="155621" y="9572"/>
                              <a:pt x="155442" y="9691"/>
                              <a:pt x="155322" y="9751"/>
                            </a:cubicBezTo>
                            <a:cubicBezTo>
                              <a:pt x="155202" y="9811"/>
                              <a:pt x="155023" y="9930"/>
                              <a:pt x="154903" y="9990"/>
                            </a:cubicBezTo>
                            <a:cubicBezTo>
                              <a:pt x="154784" y="10050"/>
                              <a:pt x="154604" y="10169"/>
                              <a:pt x="154485" y="10289"/>
                            </a:cubicBezTo>
                            <a:cubicBezTo>
                              <a:pt x="154365" y="10409"/>
                              <a:pt x="154186" y="10469"/>
                              <a:pt x="154066" y="10588"/>
                            </a:cubicBezTo>
                            <a:lnTo>
                              <a:pt x="156279" y="10768"/>
                            </a:lnTo>
                            <a:lnTo>
                              <a:pt x="155861" y="12083"/>
                            </a:lnTo>
                            <a:moveTo>
                              <a:pt x="155262" y="15313"/>
                            </a:moveTo>
                            <a:cubicBezTo>
                              <a:pt x="155382" y="15253"/>
                              <a:pt x="155442" y="15193"/>
                              <a:pt x="155561" y="15193"/>
                            </a:cubicBezTo>
                            <a:cubicBezTo>
                              <a:pt x="155681" y="15134"/>
                              <a:pt x="155741" y="15134"/>
                              <a:pt x="155861" y="15074"/>
                            </a:cubicBezTo>
                            <a:cubicBezTo>
                              <a:pt x="155980" y="15014"/>
                              <a:pt x="156100" y="15014"/>
                              <a:pt x="156160" y="15014"/>
                            </a:cubicBezTo>
                            <a:cubicBezTo>
                              <a:pt x="156279" y="15014"/>
                              <a:pt x="156399" y="14954"/>
                              <a:pt x="156458" y="14954"/>
                            </a:cubicBezTo>
                            <a:lnTo>
                              <a:pt x="156817" y="13160"/>
                            </a:lnTo>
                            <a:cubicBezTo>
                              <a:pt x="156698" y="13220"/>
                              <a:pt x="156578" y="13280"/>
                              <a:pt x="156458" y="13339"/>
                            </a:cubicBezTo>
                            <a:cubicBezTo>
                              <a:pt x="156339" y="13399"/>
                              <a:pt x="156219" y="13459"/>
                              <a:pt x="156100" y="13579"/>
                            </a:cubicBezTo>
                            <a:cubicBezTo>
                              <a:pt x="155980" y="13638"/>
                              <a:pt x="155861" y="13698"/>
                              <a:pt x="155741" y="13818"/>
                            </a:cubicBezTo>
                            <a:cubicBezTo>
                              <a:pt x="155621" y="13877"/>
                              <a:pt x="155502" y="13997"/>
                              <a:pt x="155382" y="14057"/>
                            </a:cubicBezTo>
                            <a:lnTo>
                              <a:pt x="155262" y="15313"/>
                            </a:lnTo>
                            <a:moveTo>
                              <a:pt x="154963" y="20516"/>
                            </a:moveTo>
                            <a:cubicBezTo>
                              <a:pt x="155023" y="20516"/>
                              <a:pt x="155023" y="20576"/>
                              <a:pt x="155083" y="20576"/>
                            </a:cubicBezTo>
                            <a:cubicBezTo>
                              <a:pt x="155143" y="20576"/>
                              <a:pt x="155143" y="20636"/>
                              <a:pt x="155202" y="20636"/>
                            </a:cubicBezTo>
                            <a:cubicBezTo>
                              <a:pt x="155262" y="20636"/>
                              <a:pt x="155262" y="20696"/>
                              <a:pt x="155322" y="20696"/>
                            </a:cubicBezTo>
                            <a:cubicBezTo>
                              <a:pt x="155382" y="20696"/>
                              <a:pt x="155382" y="20755"/>
                              <a:pt x="155442" y="20755"/>
                            </a:cubicBezTo>
                            <a:lnTo>
                              <a:pt x="156339" y="16090"/>
                            </a:lnTo>
                            <a:cubicBezTo>
                              <a:pt x="156219" y="16090"/>
                              <a:pt x="156160" y="16150"/>
                              <a:pt x="156040" y="16150"/>
                            </a:cubicBezTo>
                            <a:cubicBezTo>
                              <a:pt x="155920" y="16210"/>
                              <a:pt x="155861" y="16210"/>
                              <a:pt x="155741" y="16270"/>
                            </a:cubicBezTo>
                            <a:cubicBezTo>
                              <a:pt x="155621" y="16330"/>
                              <a:pt x="155561" y="16390"/>
                              <a:pt x="155502" y="16450"/>
                            </a:cubicBezTo>
                            <a:cubicBezTo>
                              <a:pt x="155442" y="16509"/>
                              <a:pt x="155322" y="16569"/>
                              <a:pt x="155262" y="16629"/>
                            </a:cubicBezTo>
                            <a:cubicBezTo>
                              <a:pt x="155262" y="16629"/>
                              <a:pt x="155202" y="16689"/>
                              <a:pt x="155202" y="16689"/>
                            </a:cubicBezTo>
                            <a:cubicBezTo>
                              <a:pt x="155202" y="16689"/>
                              <a:pt x="155143" y="16748"/>
                              <a:pt x="155143" y="16748"/>
                            </a:cubicBezTo>
                            <a:cubicBezTo>
                              <a:pt x="155143" y="16748"/>
                              <a:pt x="155083" y="16808"/>
                              <a:pt x="155083" y="16808"/>
                            </a:cubicBezTo>
                            <a:cubicBezTo>
                              <a:pt x="155083" y="16808"/>
                              <a:pt x="155023" y="16868"/>
                              <a:pt x="155023" y="16868"/>
                            </a:cubicBezTo>
                            <a:lnTo>
                              <a:pt x="154485" y="19858"/>
                            </a:lnTo>
                            <a:cubicBezTo>
                              <a:pt x="154485" y="19858"/>
                              <a:pt x="154485" y="19918"/>
                              <a:pt x="154545" y="19918"/>
                            </a:cubicBezTo>
                            <a:cubicBezTo>
                              <a:pt x="154545" y="19918"/>
                              <a:pt x="154545" y="19978"/>
                              <a:pt x="154604" y="19978"/>
                            </a:cubicBezTo>
                            <a:cubicBezTo>
                              <a:pt x="154604" y="19978"/>
                              <a:pt x="154604" y="20038"/>
                              <a:pt x="154664" y="20038"/>
                            </a:cubicBezTo>
                            <a:cubicBezTo>
                              <a:pt x="154664" y="20038"/>
                              <a:pt x="154664" y="20098"/>
                              <a:pt x="154724" y="20098"/>
                            </a:cubicBezTo>
                            <a:cubicBezTo>
                              <a:pt x="154724" y="20158"/>
                              <a:pt x="154784" y="20158"/>
                              <a:pt x="154784" y="20217"/>
                            </a:cubicBezTo>
                            <a:cubicBezTo>
                              <a:pt x="154844" y="20277"/>
                              <a:pt x="154844" y="20277"/>
                              <a:pt x="154903" y="20337"/>
                            </a:cubicBezTo>
                            <a:cubicBezTo>
                              <a:pt x="154963" y="20397"/>
                              <a:pt x="154963" y="20397"/>
                              <a:pt x="155023" y="20457"/>
                            </a:cubicBezTo>
                            <a:cubicBezTo>
                              <a:pt x="154903" y="20457"/>
                              <a:pt x="154963" y="20457"/>
                              <a:pt x="154963" y="20516"/>
                            </a:cubicBezTo>
                            <a:moveTo>
                              <a:pt x="153229" y="26317"/>
                            </a:moveTo>
                            <a:lnTo>
                              <a:pt x="153468" y="25002"/>
                            </a:lnTo>
                            <a:lnTo>
                              <a:pt x="153468" y="25002"/>
                            </a:lnTo>
                            <a:lnTo>
                              <a:pt x="153229" y="26317"/>
                            </a:lnTo>
                            <a:cubicBezTo>
                              <a:pt x="153229" y="26317"/>
                              <a:pt x="153229" y="26317"/>
                              <a:pt x="153229" y="26317"/>
                            </a:cubicBezTo>
                            <a:cubicBezTo>
                              <a:pt x="153229" y="26317"/>
                              <a:pt x="153229" y="26317"/>
                              <a:pt x="153229" y="26317"/>
                            </a:cubicBezTo>
                            <a:cubicBezTo>
                              <a:pt x="153229" y="26317"/>
                              <a:pt x="153229" y="26317"/>
                              <a:pt x="153229" y="26317"/>
                            </a:cubicBezTo>
                            <a:cubicBezTo>
                              <a:pt x="153229" y="26317"/>
                              <a:pt x="153229" y="26317"/>
                              <a:pt x="153229" y="26317"/>
                            </a:cubicBezTo>
                            <a:moveTo>
                              <a:pt x="152571" y="36066"/>
                            </a:moveTo>
                            <a:cubicBezTo>
                              <a:pt x="152571" y="36066"/>
                              <a:pt x="152571" y="36066"/>
                              <a:pt x="152571" y="36066"/>
                            </a:cubicBezTo>
                            <a:cubicBezTo>
                              <a:pt x="152571" y="36066"/>
                              <a:pt x="152571" y="36066"/>
                              <a:pt x="152571" y="36066"/>
                            </a:cubicBezTo>
                            <a:cubicBezTo>
                              <a:pt x="152571" y="36066"/>
                              <a:pt x="152571" y="36066"/>
                              <a:pt x="152571" y="36066"/>
                            </a:cubicBezTo>
                            <a:cubicBezTo>
                              <a:pt x="152571" y="36066"/>
                              <a:pt x="152571" y="36066"/>
                              <a:pt x="152571" y="36066"/>
                            </a:cubicBezTo>
                            <a:lnTo>
                              <a:pt x="155262" y="21952"/>
                            </a:lnTo>
                            <a:cubicBezTo>
                              <a:pt x="155143" y="21952"/>
                              <a:pt x="155083" y="21892"/>
                              <a:pt x="154963" y="21832"/>
                            </a:cubicBezTo>
                            <a:cubicBezTo>
                              <a:pt x="154903" y="21772"/>
                              <a:pt x="154784" y="21772"/>
                              <a:pt x="154724" y="21712"/>
                            </a:cubicBezTo>
                            <a:cubicBezTo>
                              <a:pt x="154664" y="21653"/>
                              <a:pt x="154545" y="21653"/>
                              <a:pt x="154485" y="21593"/>
                            </a:cubicBezTo>
                            <a:cubicBezTo>
                              <a:pt x="154425" y="21533"/>
                              <a:pt x="154306" y="21473"/>
                              <a:pt x="154246" y="21413"/>
                            </a:cubicBezTo>
                            <a:cubicBezTo>
                              <a:pt x="154246" y="21413"/>
                              <a:pt x="154246" y="21413"/>
                              <a:pt x="154246" y="21413"/>
                            </a:cubicBezTo>
                            <a:cubicBezTo>
                              <a:pt x="154246" y="21413"/>
                              <a:pt x="154246" y="21413"/>
                              <a:pt x="154246" y="21413"/>
                            </a:cubicBezTo>
                            <a:cubicBezTo>
                              <a:pt x="154246" y="21413"/>
                              <a:pt x="154246" y="21413"/>
                              <a:pt x="154246" y="21413"/>
                            </a:cubicBezTo>
                            <a:cubicBezTo>
                              <a:pt x="154246" y="21413"/>
                              <a:pt x="154246" y="21413"/>
                              <a:pt x="154246" y="21413"/>
                            </a:cubicBezTo>
                            <a:lnTo>
                              <a:pt x="153767" y="23866"/>
                            </a:lnTo>
                            <a:lnTo>
                              <a:pt x="154903" y="23925"/>
                            </a:lnTo>
                            <a:lnTo>
                              <a:pt x="152571" y="36066"/>
                            </a:lnTo>
                            <a:moveTo>
                              <a:pt x="151076" y="41628"/>
                            </a:moveTo>
                            <a:cubicBezTo>
                              <a:pt x="151136" y="41628"/>
                              <a:pt x="151136" y="41688"/>
                              <a:pt x="151195" y="41688"/>
                            </a:cubicBezTo>
                            <a:cubicBezTo>
                              <a:pt x="151255" y="41688"/>
                              <a:pt x="151255" y="41748"/>
                              <a:pt x="151315" y="41748"/>
                            </a:cubicBezTo>
                            <a:cubicBezTo>
                              <a:pt x="151375" y="41748"/>
                              <a:pt x="151375" y="41808"/>
                              <a:pt x="151435" y="41808"/>
                            </a:cubicBezTo>
                            <a:cubicBezTo>
                              <a:pt x="151494" y="41808"/>
                              <a:pt x="151494" y="41868"/>
                              <a:pt x="151554" y="41868"/>
                            </a:cubicBezTo>
                            <a:lnTo>
                              <a:pt x="152392" y="37262"/>
                            </a:lnTo>
                            <a:cubicBezTo>
                              <a:pt x="152392" y="37262"/>
                              <a:pt x="152392" y="37262"/>
                              <a:pt x="152392" y="37262"/>
                            </a:cubicBezTo>
                            <a:cubicBezTo>
                              <a:pt x="152392" y="37262"/>
                              <a:pt x="152392" y="37262"/>
                              <a:pt x="152392" y="37262"/>
                            </a:cubicBezTo>
                            <a:cubicBezTo>
                              <a:pt x="152392" y="37262"/>
                              <a:pt x="152392" y="37262"/>
                              <a:pt x="152392" y="37262"/>
                            </a:cubicBezTo>
                            <a:cubicBezTo>
                              <a:pt x="152392" y="37262"/>
                              <a:pt x="152392" y="37262"/>
                              <a:pt x="152392" y="37262"/>
                            </a:cubicBezTo>
                            <a:lnTo>
                              <a:pt x="152212" y="38219"/>
                            </a:lnTo>
                            <a:lnTo>
                              <a:pt x="151674" y="38219"/>
                            </a:lnTo>
                            <a:lnTo>
                              <a:pt x="151076" y="38159"/>
                            </a:lnTo>
                            <a:lnTo>
                              <a:pt x="150538" y="40910"/>
                            </a:lnTo>
                            <a:cubicBezTo>
                              <a:pt x="150538" y="40910"/>
                              <a:pt x="150538" y="40970"/>
                              <a:pt x="150597" y="40970"/>
                            </a:cubicBezTo>
                            <a:cubicBezTo>
                              <a:pt x="150657" y="40970"/>
                              <a:pt x="150597" y="41030"/>
                              <a:pt x="150657" y="41030"/>
                            </a:cubicBezTo>
                            <a:cubicBezTo>
                              <a:pt x="150657" y="41030"/>
                              <a:pt x="150657" y="41090"/>
                              <a:pt x="150717" y="41090"/>
                            </a:cubicBezTo>
                            <a:cubicBezTo>
                              <a:pt x="150777" y="41090"/>
                              <a:pt x="150717" y="41150"/>
                              <a:pt x="150777" y="41150"/>
                            </a:cubicBezTo>
                            <a:lnTo>
                              <a:pt x="151076" y="41628"/>
                            </a:lnTo>
                            <a:moveTo>
                              <a:pt x="150956" y="44738"/>
                            </a:moveTo>
                            <a:lnTo>
                              <a:pt x="151255" y="43063"/>
                            </a:lnTo>
                            <a:cubicBezTo>
                              <a:pt x="151195" y="43063"/>
                              <a:pt x="151076" y="43004"/>
                              <a:pt x="151016" y="43004"/>
                            </a:cubicBezTo>
                            <a:cubicBezTo>
                              <a:pt x="150956" y="43004"/>
                              <a:pt x="150837" y="42944"/>
                              <a:pt x="150777" y="42884"/>
                            </a:cubicBezTo>
                            <a:cubicBezTo>
                              <a:pt x="150717" y="42824"/>
                              <a:pt x="150597" y="42824"/>
                              <a:pt x="150538" y="42764"/>
                            </a:cubicBezTo>
                            <a:cubicBezTo>
                              <a:pt x="150478" y="42705"/>
                              <a:pt x="150358" y="42645"/>
                              <a:pt x="150298" y="42585"/>
                            </a:cubicBezTo>
                            <a:cubicBezTo>
                              <a:pt x="150298" y="42585"/>
                              <a:pt x="150298" y="42585"/>
                              <a:pt x="150298" y="42585"/>
                            </a:cubicBezTo>
                            <a:cubicBezTo>
                              <a:pt x="150298" y="42585"/>
                              <a:pt x="150298" y="42585"/>
                              <a:pt x="150298" y="42585"/>
                            </a:cubicBezTo>
                            <a:cubicBezTo>
                              <a:pt x="150298" y="42585"/>
                              <a:pt x="150298" y="42585"/>
                              <a:pt x="150298" y="42585"/>
                            </a:cubicBezTo>
                            <a:cubicBezTo>
                              <a:pt x="150298" y="42585"/>
                              <a:pt x="150298" y="42585"/>
                              <a:pt x="150298" y="42585"/>
                            </a:cubicBezTo>
                            <a:lnTo>
                              <a:pt x="150059" y="43841"/>
                            </a:lnTo>
                            <a:cubicBezTo>
                              <a:pt x="150119" y="43901"/>
                              <a:pt x="150239" y="44021"/>
                              <a:pt x="150298" y="44080"/>
                            </a:cubicBezTo>
                            <a:cubicBezTo>
                              <a:pt x="150358" y="44140"/>
                              <a:pt x="150478" y="44260"/>
                              <a:pt x="150538" y="44320"/>
                            </a:cubicBezTo>
                            <a:cubicBezTo>
                              <a:pt x="150597" y="44379"/>
                              <a:pt x="150717" y="44499"/>
                              <a:pt x="150777" y="44559"/>
                            </a:cubicBezTo>
                            <a:cubicBezTo>
                              <a:pt x="150777" y="44618"/>
                              <a:pt x="150837" y="44678"/>
                              <a:pt x="150956" y="44738"/>
                            </a:cubicBezTo>
                            <a:moveTo>
                              <a:pt x="148624" y="48327"/>
                            </a:moveTo>
                            <a:lnTo>
                              <a:pt x="149700" y="48386"/>
                            </a:lnTo>
                            <a:lnTo>
                              <a:pt x="150239" y="48386"/>
                            </a:lnTo>
                            <a:lnTo>
                              <a:pt x="150597" y="46472"/>
                            </a:lnTo>
                            <a:cubicBezTo>
                              <a:pt x="150538" y="46413"/>
                              <a:pt x="150418" y="46353"/>
                              <a:pt x="150358" y="46293"/>
                            </a:cubicBezTo>
                            <a:cubicBezTo>
                              <a:pt x="150298" y="46233"/>
                              <a:pt x="150179" y="46174"/>
                              <a:pt x="150119" y="46054"/>
                            </a:cubicBezTo>
                            <a:cubicBezTo>
                              <a:pt x="150059" y="45994"/>
                              <a:pt x="149939" y="45934"/>
                              <a:pt x="149880" y="45815"/>
                            </a:cubicBezTo>
                            <a:cubicBezTo>
                              <a:pt x="149820" y="45755"/>
                              <a:pt x="149700" y="45695"/>
                              <a:pt x="149640" y="45576"/>
                            </a:cubicBezTo>
                            <a:lnTo>
                              <a:pt x="149341" y="47190"/>
                            </a:lnTo>
                            <a:lnTo>
                              <a:pt x="147308" y="47071"/>
                            </a:lnTo>
                            <a:cubicBezTo>
                              <a:pt x="147428" y="47190"/>
                              <a:pt x="147547" y="47310"/>
                              <a:pt x="147607" y="47370"/>
                            </a:cubicBezTo>
                            <a:cubicBezTo>
                              <a:pt x="147726" y="47489"/>
                              <a:pt x="147846" y="47609"/>
                              <a:pt x="147906" y="47669"/>
                            </a:cubicBezTo>
                            <a:cubicBezTo>
                              <a:pt x="148026" y="47788"/>
                              <a:pt x="148145" y="47848"/>
                              <a:pt x="148265" y="47968"/>
                            </a:cubicBezTo>
                            <a:cubicBezTo>
                              <a:pt x="148385" y="48147"/>
                              <a:pt x="148504" y="48267"/>
                              <a:pt x="148624" y="48327"/>
                            </a:cubicBezTo>
                            <a:moveTo>
                              <a:pt x="7598" y="37501"/>
                            </a:moveTo>
                            <a:cubicBezTo>
                              <a:pt x="8316" y="37980"/>
                              <a:pt x="9034" y="38459"/>
                              <a:pt x="9811" y="38817"/>
                            </a:cubicBezTo>
                            <a:cubicBezTo>
                              <a:pt x="10589" y="39236"/>
                              <a:pt x="11426" y="39535"/>
                              <a:pt x="12263" y="39834"/>
                            </a:cubicBezTo>
                            <a:cubicBezTo>
                              <a:pt x="13101" y="40133"/>
                              <a:pt x="13998" y="40372"/>
                              <a:pt x="14895" y="40552"/>
                            </a:cubicBezTo>
                            <a:cubicBezTo>
                              <a:pt x="15792" y="40731"/>
                              <a:pt x="16749" y="40851"/>
                              <a:pt x="17706" y="40910"/>
                            </a:cubicBezTo>
                            <a:lnTo>
                              <a:pt x="30086" y="41628"/>
                            </a:lnTo>
                            <a:lnTo>
                              <a:pt x="32179" y="41748"/>
                            </a:lnTo>
                            <a:lnTo>
                              <a:pt x="37741" y="42047"/>
                            </a:lnTo>
                            <a:lnTo>
                              <a:pt x="39177" y="42107"/>
                            </a:lnTo>
                            <a:lnTo>
                              <a:pt x="146710" y="48207"/>
                            </a:lnTo>
                            <a:cubicBezTo>
                              <a:pt x="146590" y="48087"/>
                              <a:pt x="146531" y="48028"/>
                              <a:pt x="146411" y="47908"/>
                            </a:cubicBezTo>
                            <a:cubicBezTo>
                              <a:pt x="146291" y="47788"/>
                              <a:pt x="146231" y="47729"/>
                              <a:pt x="146112" y="47609"/>
                            </a:cubicBezTo>
                            <a:cubicBezTo>
                              <a:pt x="145992" y="47489"/>
                              <a:pt x="145932" y="47430"/>
                              <a:pt x="145813" y="47310"/>
                            </a:cubicBezTo>
                            <a:cubicBezTo>
                              <a:pt x="145693" y="47190"/>
                              <a:pt x="145633" y="47071"/>
                              <a:pt x="145514" y="47011"/>
                            </a:cubicBezTo>
                            <a:lnTo>
                              <a:pt x="40014" y="40970"/>
                            </a:lnTo>
                            <a:lnTo>
                              <a:pt x="38578" y="40910"/>
                            </a:lnTo>
                            <a:lnTo>
                              <a:pt x="33734" y="40612"/>
                            </a:lnTo>
                            <a:lnTo>
                              <a:pt x="31820" y="40492"/>
                            </a:lnTo>
                            <a:lnTo>
                              <a:pt x="17766" y="39714"/>
                            </a:lnTo>
                            <a:cubicBezTo>
                              <a:pt x="16868" y="39654"/>
                              <a:pt x="15971" y="39535"/>
                              <a:pt x="15134" y="39415"/>
                            </a:cubicBezTo>
                            <a:cubicBezTo>
                              <a:pt x="14297" y="39236"/>
                              <a:pt x="13460" y="39056"/>
                              <a:pt x="12682" y="38757"/>
                            </a:cubicBezTo>
                            <a:cubicBezTo>
                              <a:pt x="11905" y="38459"/>
                              <a:pt x="11127" y="38159"/>
                              <a:pt x="10409" y="37800"/>
                            </a:cubicBezTo>
                            <a:cubicBezTo>
                              <a:pt x="9692" y="37442"/>
                              <a:pt x="8974" y="37023"/>
                              <a:pt x="8316" y="36545"/>
                            </a:cubicBezTo>
                            <a:cubicBezTo>
                              <a:pt x="7000" y="35647"/>
                              <a:pt x="5864" y="34571"/>
                              <a:pt x="4907" y="33315"/>
                            </a:cubicBezTo>
                            <a:cubicBezTo>
                              <a:pt x="3950" y="32119"/>
                              <a:pt x="3113" y="30743"/>
                              <a:pt x="2515" y="29248"/>
                            </a:cubicBezTo>
                            <a:cubicBezTo>
                              <a:pt x="1916" y="27753"/>
                              <a:pt x="1498" y="26198"/>
                              <a:pt x="1259" y="24583"/>
                            </a:cubicBezTo>
                            <a:cubicBezTo>
                              <a:pt x="1079" y="22908"/>
                              <a:pt x="1079" y="21234"/>
                              <a:pt x="1378" y="19440"/>
                            </a:cubicBezTo>
                            <a:cubicBezTo>
                              <a:pt x="1558" y="18124"/>
                              <a:pt x="1916" y="16868"/>
                              <a:pt x="2335" y="15672"/>
                            </a:cubicBezTo>
                            <a:cubicBezTo>
                              <a:pt x="2754" y="14476"/>
                              <a:pt x="3352" y="13280"/>
                              <a:pt x="4010" y="12143"/>
                            </a:cubicBezTo>
                            <a:cubicBezTo>
                              <a:pt x="4668" y="11007"/>
                              <a:pt x="5445" y="9930"/>
                              <a:pt x="6342" y="8914"/>
                            </a:cubicBezTo>
                            <a:cubicBezTo>
                              <a:pt x="7239" y="7897"/>
                              <a:pt x="8196" y="7000"/>
                              <a:pt x="9273" y="6103"/>
                            </a:cubicBezTo>
                            <a:cubicBezTo>
                              <a:pt x="10349" y="5265"/>
                              <a:pt x="11486" y="4548"/>
                              <a:pt x="12622" y="3890"/>
                            </a:cubicBezTo>
                            <a:cubicBezTo>
                              <a:pt x="13818" y="3292"/>
                              <a:pt x="15014" y="2753"/>
                              <a:pt x="16270" y="2335"/>
                            </a:cubicBezTo>
                            <a:cubicBezTo>
                              <a:pt x="17526" y="1916"/>
                              <a:pt x="18782" y="1677"/>
                              <a:pt x="20098" y="1498"/>
                            </a:cubicBezTo>
                            <a:cubicBezTo>
                              <a:pt x="21354" y="1318"/>
                              <a:pt x="22670" y="1318"/>
                              <a:pt x="23985" y="1378"/>
                            </a:cubicBezTo>
                            <a:lnTo>
                              <a:pt x="36664" y="2275"/>
                            </a:lnTo>
                            <a:lnTo>
                              <a:pt x="38758" y="2395"/>
                            </a:lnTo>
                            <a:lnTo>
                              <a:pt x="43363" y="2694"/>
                            </a:lnTo>
                            <a:lnTo>
                              <a:pt x="45038" y="2813"/>
                            </a:lnTo>
                            <a:lnTo>
                              <a:pt x="152212" y="10349"/>
                            </a:lnTo>
                            <a:cubicBezTo>
                              <a:pt x="152332" y="10229"/>
                              <a:pt x="152451" y="10169"/>
                              <a:pt x="152571" y="10050"/>
                            </a:cubicBezTo>
                            <a:cubicBezTo>
                              <a:pt x="152691" y="9930"/>
                              <a:pt x="152810" y="9871"/>
                              <a:pt x="152930" y="9751"/>
                            </a:cubicBezTo>
                            <a:cubicBezTo>
                              <a:pt x="153049" y="9631"/>
                              <a:pt x="153169" y="9572"/>
                              <a:pt x="153348" y="9512"/>
                            </a:cubicBezTo>
                            <a:cubicBezTo>
                              <a:pt x="153468" y="9452"/>
                              <a:pt x="153588" y="9332"/>
                              <a:pt x="153767" y="9273"/>
                            </a:cubicBezTo>
                            <a:lnTo>
                              <a:pt x="44140" y="1498"/>
                            </a:lnTo>
                            <a:lnTo>
                              <a:pt x="42346" y="1378"/>
                            </a:lnTo>
                            <a:lnTo>
                              <a:pt x="37323" y="1019"/>
                            </a:lnTo>
                            <a:lnTo>
                              <a:pt x="34930" y="840"/>
                            </a:lnTo>
                            <a:lnTo>
                              <a:pt x="24285" y="62"/>
                            </a:lnTo>
                            <a:cubicBezTo>
                              <a:pt x="22909" y="-57"/>
                              <a:pt x="21533" y="3"/>
                              <a:pt x="20158" y="182"/>
                            </a:cubicBezTo>
                            <a:cubicBezTo>
                              <a:pt x="18782" y="361"/>
                              <a:pt x="17407" y="660"/>
                              <a:pt x="16091" y="1079"/>
                            </a:cubicBezTo>
                            <a:cubicBezTo>
                              <a:pt x="14775" y="1498"/>
                              <a:pt x="13460" y="2036"/>
                              <a:pt x="12203" y="2694"/>
                            </a:cubicBezTo>
                            <a:cubicBezTo>
                              <a:pt x="10947" y="3352"/>
                              <a:pt x="9751" y="4129"/>
                              <a:pt x="8615" y="5086"/>
                            </a:cubicBezTo>
                            <a:cubicBezTo>
                              <a:pt x="7479" y="5983"/>
                              <a:pt x="6462" y="7000"/>
                              <a:pt x="5505" y="8076"/>
                            </a:cubicBezTo>
                            <a:cubicBezTo>
                              <a:pt x="4548" y="9153"/>
                              <a:pt x="3770" y="10289"/>
                              <a:pt x="3053" y="11485"/>
                            </a:cubicBezTo>
                            <a:cubicBezTo>
                              <a:pt x="2335" y="12682"/>
                              <a:pt x="1737" y="13937"/>
                              <a:pt x="1259" y="15253"/>
                            </a:cubicBezTo>
                            <a:cubicBezTo>
                              <a:pt x="780" y="16569"/>
                              <a:pt x="421" y="17885"/>
                              <a:pt x="242" y="19260"/>
                            </a:cubicBezTo>
                            <a:cubicBezTo>
                              <a:pt x="-57" y="21114"/>
                              <a:pt x="-57" y="22968"/>
                              <a:pt x="122" y="24703"/>
                            </a:cubicBezTo>
                            <a:cubicBezTo>
                              <a:pt x="362" y="26437"/>
                              <a:pt x="780" y="28112"/>
                              <a:pt x="1438" y="29667"/>
                            </a:cubicBezTo>
                            <a:cubicBezTo>
                              <a:pt x="2096" y="31222"/>
                              <a:pt x="2993" y="32657"/>
                              <a:pt x="4010" y="33973"/>
                            </a:cubicBezTo>
                            <a:cubicBezTo>
                              <a:pt x="5027" y="35408"/>
                              <a:pt x="6223" y="36545"/>
                              <a:pt x="7598" y="37501"/>
                            </a:cubicBezTo>
                          </a:path>
                        </a:pathLst>
                      </a:custGeom>
                      <a:noFill/>
                      <a:ln w="6350" cap="flat">
                        <a:solidFill>
                          <a:schemeClr val="bg1">
                            <a:alpha val="40000"/>
                          </a:schemeClr>
                        </a:solidFill>
                        <a:prstDash val="solid"/>
                        <a:miter/>
                      </a:ln>
                    </p:spPr>
                    <p:txBody>
                      <a:bodyPr rtlCol="0" anchor="ctr"/>
                      <a:lstStyle/>
                      <a:p>
                        <a:endParaRPr lang="en-GB"/>
                      </a:p>
                    </p:txBody>
                  </p:sp>
                  <p:sp>
                    <p:nvSpPr>
                      <p:cNvPr id="7499" name="Vrije vorm: vorm 7498">
                        <a:extLst>
                          <a:ext uri="{FF2B5EF4-FFF2-40B4-BE49-F238E27FC236}">
                            <a16:creationId xmlns:a16="http://schemas.microsoft.com/office/drawing/2014/main" id="{69DEE9CE-B5B6-463C-B82A-6059BB8F1C4A}"/>
                          </a:ext>
                        </a:extLst>
                      </p:cNvPr>
                      <p:cNvSpPr/>
                      <p:nvPr/>
                    </p:nvSpPr>
                    <p:spPr>
                      <a:xfrm>
                        <a:off x="4853256" y="5084909"/>
                        <a:ext cx="135702" cy="23025"/>
                      </a:xfrm>
                      <a:custGeom>
                        <a:avLst/>
                        <a:gdLst>
                          <a:gd name="connsiteX0" fmla="*/ 124100 w 135702"/>
                          <a:gd name="connsiteY0" fmla="*/ 9150 h 23025"/>
                          <a:gd name="connsiteX1" fmla="*/ 126612 w 135702"/>
                          <a:gd name="connsiteY1" fmla="*/ 9330 h 23025"/>
                          <a:gd name="connsiteX2" fmla="*/ 126731 w 135702"/>
                          <a:gd name="connsiteY2" fmla="*/ 9031 h 23025"/>
                          <a:gd name="connsiteX3" fmla="*/ 126851 w 135702"/>
                          <a:gd name="connsiteY3" fmla="*/ 8732 h 23025"/>
                          <a:gd name="connsiteX4" fmla="*/ 126971 w 135702"/>
                          <a:gd name="connsiteY4" fmla="*/ 8433 h 23025"/>
                          <a:gd name="connsiteX5" fmla="*/ 127090 w 135702"/>
                          <a:gd name="connsiteY5" fmla="*/ 8134 h 23025"/>
                          <a:gd name="connsiteX6" fmla="*/ 124578 w 135702"/>
                          <a:gd name="connsiteY6" fmla="*/ 7954 h 23025"/>
                          <a:gd name="connsiteX7" fmla="*/ 124459 w 135702"/>
                          <a:gd name="connsiteY7" fmla="*/ 8253 h 23025"/>
                          <a:gd name="connsiteX8" fmla="*/ 124339 w 135702"/>
                          <a:gd name="connsiteY8" fmla="*/ 8552 h 23025"/>
                          <a:gd name="connsiteX9" fmla="*/ 124219 w 135702"/>
                          <a:gd name="connsiteY9" fmla="*/ 8851 h 23025"/>
                          <a:gd name="connsiteX10" fmla="*/ 124100 w 135702"/>
                          <a:gd name="connsiteY10" fmla="*/ 9150 h 23025"/>
                          <a:gd name="connsiteX11" fmla="*/ 132234 w 135702"/>
                          <a:gd name="connsiteY11" fmla="*/ 21291 h 23025"/>
                          <a:gd name="connsiteX12" fmla="*/ 132533 w 135702"/>
                          <a:gd name="connsiteY12" fmla="*/ 21172 h 23025"/>
                          <a:gd name="connsiteX13" fmla="*/ 132832 w 135702"/>
                          <a:gd name="connsiteY13" fmla="*/ 21052 h 23025"/>
                          <a:gd name="connsiteX14" fmla="*/ 133131 w 135702"/>
                          <a:gd name="connsiteY14" fmla="*/ 20933 h 23025"/>
                          <a:gd name="connsiteX15" fmla="*/ 133430 w 135702"/>
                          <a:gd name="connsiteY15" fmla="*/ 20873 h 23025"/>
                          <a:gd name="connsiteX16" fmla="*/ 135702 w 135702"/>
                          <a:gd name="connsiteY16" fmla="*/ 8732 h 23025"/>
                          <a:gd name="connsiteX17" fmla="*/ 134566 w 135702"/>
                          <a:gd name="connsiteY17" fmla="*/ 8672 h 23025"/>
                          <a:gd name="connsiteX18" fmla="*/ 128466 w 135702"/>
                          <a:gd name="connsiteY18" fmla="*/ 8253 h 23025"/>
                          <a:gd name="connsiteX19" fmla="*/ 128346 w 135702"/>
                          <a:gd name="connsiteY19" fmla="*/ 8552 h 23025"/>
                          <a:gd name="connsiteX20" fmla="*/ 128226 w 135702"/>
                          <a:gd name="connsiteY20" fmla="*/ 8851 h 23025"/>
                          <a:gd name="connsiteX21" fmla="*/ 128107 w 135702"/>
                          <a:gd name="connsiteY21" fmla="*/ 9150 h 23025"/>
                          <a:gd name="connsiteX22" fmla="*/ 127987 w 135702"/>
                          <a:gd name="connsiteY22" fmla="*/ 9450 h 23025"/>
                          <a:gd name="connsiteX23" fmla="*/ 134327 w 135702"/>
                          <a:gd name="connsiteY23" fmla="*/ 9868 h 23025"/>
                          <a:gd name="connsiteX24" fmla="*/ 134327 w 135702"/>
                          <a:gd name="connsiteY24" fmla="*/ 9868 h 23025"/>
                          <a:gd name="connsiteX25" fmla="*/ 134088 w 135702"/>
                          <a:gd name="connsiteY25" fmla="*/ 11184 h 23025"/>
                          <a:gd name="connsiteX26" fmla="*/ 134447 w 135702"/>
                          <a:gd name="connsiteY26" fmla="*/ 11782 h 23025"/>
                          <a:gd name="connsiteX27" fmla="*/ 134686 w 135702"/>
                          <a:gd name="connsiteY27" fmla="*/ 12440 h 23025"/>
                          <a:gd name="connsiteX28" fmla="*/ 134745 w 135702"/>
                          <a:gd name="connsiteY28" fmla="*/ 13158 h 23025"/>
                          <a:gd name="connsiteX29" fmla="*/ 134686 w 135702"/>
                          <a:gd name="connsiteY29" fmla="*/ 13935 h 23025"/>
                          <a:gd name="connsiteX30" fmla="*/ 134447 w 135702"/>
                          <a:gd name="connsiteY30" fmla="*/ 14653 h 23025"/>
                          <a:gd name="connsiteX31" fmla="*/ 134088 w 135702"/>
                          <a:gd name="connsiteY31" fmla="*/ 15311 h 23025"/>
                          <a:gd name="connsiteX32" fmla="*/ 133609 w 135702"/>
                          <a:gd name="connsiteY32" fmla="*/ 15909 h 23025"/>
                          <a:gd name="connsiteX33" fmla="*/ 133071 w 135702"/>
                          <a:gd name="connsiteY33" fmla="*/ 16387 h 23025"/>
                          <a:gd name="connsiteX34" fmla="*/ 132234 w 135702"/>
                          <a:gd name="connsiteY34" fmla="*/ 21291 h 23025"/>
                          <a:gd name="connsiteX35" fmla="*/ 131875 w 135702"/>
                          <a:gd name="connsiteY35" fmla="*/ 22966 h 23025"/>
                          <a:gd name="connsiteX36" fmla="*/ 131994 w 135702"/>
                          <a:gd name="connsiteY36" fmla="*/ 22966 h 23025"/>
                          <a:gd name="connsiteX37" fmla="*/ 132593 w 135702"/>
                          <a:gd name="connsiteY37" fmla="*/ 23026 h 23025"/>
                          <a:gd name="connsiteX38" fmla="*/ 133131 w 135702"/>
                          <a:gd name="connsiteY38" fmla="*/ 23026 h 23025"/>
                          <a:gd name="connsiteX39" fmla="*/ 133310 w 135702"/>
                          <a:gd name="connsiteY39" fmla="*/ 22069 h 23025"/>
                          <a:gd name="connsiteX40" fmla="*/ 133071 w 135702"/>
                          <a:gd name="connsiteY40" fmla="*/ 22129 h 23025"/>
                          <a:gd name="connsiteX41" fmla="*/ 132832 w 135702"/>
                          <a:gd name="connsiteY41" fmla="*/ 22248 h 23025"/>
                          <a:gd name="connsiteX42" fmla="*/ 132593 w 135702"/>
                          <a:gd name="connsiteY42" fmla="*/ 22428 h 23025"/>
                          <a:gd name="connsiteX43" fmla="*/ 132353 w 135702"/>
                          <a:gd name="connsiteY43" fmla="*/ 22607 h 23025"/>
                          <a:gd name="connsiteX44" fmla="*/ 132234 w 135702"/>
                          <a:gd name="connsiteY44" fmla="*/ 22667 h 23025"/>
                          <a:gd name="connsiteX45" fmla="*/ 132114 w 135702"/>
                          <a:gd name="connsiteY45" fmla="*/ 22727 h 23025"/>
                          <a:gd name="connsiteX46" fmla="*/ 131994 w 135702"/>
                          <a:gd name="connsiteY46" fmla="*/ 22846 h 23025"/>
                          <a:gd name="connsiteX47" fmla="*/ 131875 w 135702"/>
                          <a:gd name="connsiteY47" fmla="*/ 22966 h 23025"/>
                          <a:gd name="connsiteX48" fmla="*/ 127509 w 135702"/>
                          <a:gd name="connsiteY48" fmla="*/ 22727 h 23025"/>
                          <a:gd name="connsiteX49" fmla="*/ 130559 w 135702"/>
                          <a:gd name="connsiteY49" fmla="*/ 22906 h 23025"/>
                          <a:gd name="connsiteX50" fmla="*/ 130739 w 135702"/>
                          <a:gd name="connsiteY50" fmla="*/ 22607 h 23025"/>
                          <a:gd name="connsiteX51" fmla="*/ 130978 w 135702"/>
                          <a:gd name="connsiteY51" fmla="*/ 22308 h 23025"/>
                          <a:gd name="connsiteX52" fmla="*/ 131217 w 135702"/>
                          <a:gd name="connsiteY52" fmla="*/ 22009 h 23025"/>
                          <a:gd name="connsiteX53" fmla="*/ 131516 w 135702"/>
                          <a:gd name="connsiteY53" fmla="*/ 21770 h 23025"/>
                          <a:gd name="connsiteX54" fmla="*/ 127150 w 135702"/>
                          <a:gd name="connsiteY54" fmla="*/ 21530 h 23025"/>
                          <a:gd name="connsiteX55" fmla="*/ 127210 w 135702"/>
                          <a:gd name="connsiteY55" fmla="*/ 21829 h 23025"/>
                          <a:gd name="connsiteX56" fmla="*/ 127270 w 135702"/>
                          <a:gd name="connsiteY56" fmla="*/ 22129 h 23025"/>
                          <a:gd name="connsiteX57" fmla="*/ 127389 w 135702"/>
                          <a:gd name="connsiteY57" fmla="*/ 22428 h 23025"/>
                          <a:gd name="connsiteX58" fmla="*/ 127509 w 135702"/>
                          <a:gd name="connsiteY58" fmla="*/ 22727 h 23025"/>
                          <a:gd name="connsiteX59" fmla="*/ 123143 w 135702"/>
                          <a:gd name="connsiteY59" fmla="*/ 22428 h 23025"/>
                          <a:gd name="connsiteX60" fmla="*/ 125894 w 135702"/>
                          <a:gd name="connsiteY60" fmla="*/ 22607 h 23025"/>
                          <a:gd name="connsiteX61" fmla="*/ 125834 w 135702"/>
                          <a:gd name="connsiteY61" fmla="*/ 22308 h 23025"/>
                          <a:gd name="connsiteX62" fmla="*/ 125774 w 135702"/>
                          <a:gd name="connsiteY62" fmla="*/ 22009 h 23025"/>
                          <a:gd name="connsiteX63" fmla="*/ 125715 w 135702"/>
                          <a:gd name="connsiteY63" fmla="*/ 21710 h 23025"/>
                          <a:gd name="connsiteX64" fmla="*/ 125655 w 135702"/>
                          <a:gd name="connsiteY64" fmla="*/ 21411 h 23025"/>
                          <a:gd name="connsiteX65" fmla="*/ 122964 w 135702"/>
                          <a:gd name="connsiteY65" fmla="*/ 21231 h 23025"/>
                          <a:gd name="connsiteX66" fmla="*/ 123023 w 135702"/>
                          <a:gd name="connsiteY66" fmla="*/ 21530 h 23025"/>
                          <a:gd name="connsiteX67" fmla="*/ 123083 w 135702"/>
                          <a:gd name="connsiteY67" fmla="*/ 21829 h 23025"/>
                          <a:gd name="connsiteX68" fmla="*/ 123143 w 135702"/>
                          <a:gd name="connsiteY68" fmla="*/ 22129 h 23025"/>
                          <a:gd name="connsiteX69" fmla="*/ 123143 w 135702"/>
                          <a:gd name="connsiteY69" fmla="*/ 22428 h 23025"/>
                          <a:gd name="connsiteX70" fmla="*/ 12619 w 135702"/>
                          <a:gd name="connsiteY70" fmla="*/ 1914 h 23025"/>
                          <a:gd name="connsiteX71" fmla="*/ 25059 w 135702"/>
                          <a:gd name="connsiteY71" fmla="*/ 2691 h 23025"/>
                          <a:gd name="connsiteX72" fmla="*/ 26315 w 135702"/>
                          <a:gd name="connsiteY72" fmla="*/ 2751 h 23025"/>
                          <a:gd name="connsiteX73" fmla="*/ 29365 w 135702"/>
                          <a:gd name="connsiteY73" fmla="*/ 2930 h 23025"/>
                          <a:gd name="connsiteX74" fmla="*/ 30621 w 135702"/>
                          <a:gd name="connsiteY74" fmla="*/ 2990 h 23025"/>
                          <a:gd name="connsiteX75" fmla="*/ 122964 w 135702"/>
                          <a:gd name="connsiteY75" fmla="*/ 8971 h 23025"/>
                          <a:gd name="connsiteX76" fmla="*/ 123083 w 135702"/>
                          <a:gd name="connsiteY76" fmla="*/ 8672 h 23025"/>
                          <a:gd name="connsiteX77" fmla="*/ 123203 w 135702"/>
                          <a:gd name="connsiteY77" fmla="*/ 8373 h 23025"/>
                          <a:gd name="connsiteX78" fmla="*/ 123322 w 135702"/>
                          <a:gd name="connsiteY78" fmla="*/ 8074 h 23025"/>
                          <a:gd name="connsiteX79" fmla="*/ 123442 w 135702"/>
                          <a:gd name="connsiteY79" fmla="*/ 7775 h 23025"/>
                          <a:gd name="connsiteX80" fmla="*/ 30681 w 135702"/>
                          <a:gd name="connsiteY80" fmla="*/ 1734 h 23025"/>
                          <a:gd name="connsiteX81" fmla="*/ 29425 w 135702"/>
                          <a:gd name="connsiteY81" fmla="*/ 1674 h 23025"/>
                          <a:gd name="connsiteX82" fmla="*/ 26315 w 135702"/>
                          <a:gd name="connsiteY82" fmla="*/ 1495 h 23025"/>
                          <a:gd name="connsiteX83" fmla="*/ 25059 w 135702"/>
                          <a:gd name="connsiteY83" fmla="*/ 1435 h 23025"/>
                          <a:gd name="connsiteX84" fmla="*/ 12320 w 135702"/>
                          <a:gd name="connsiteY84" fmla="*/ 598 h 23025"/>
                          <a:gd name="connsiteX85" fmla="*/ 12440 w 135702"/>
                          <a:gd name="connsiteY85" fmla="*/ 897 h 23025"/>
                          <a:gd name="connsiteX86" fmla="*/ 12559 w 135702"/>
                          <a:gd name="connsiteY86" fmla="*/ 1196 h 23025"/>
                          <a:gd name="connsiteX87" fmla="*/ 12679 w 135702"/>
                          <a:gd name="connsiteY87" fmla="*/ 1495 h 23025"/>
                          <a:gd name="connsiteX88" fmla="*/ 12619 w 135702"/>
                          <a:gd name="connsiteY88" fmla="*/ 1914 h 23025"/>
                          <a:gd name="connsiteX89" fmla="*/ 9629 w 135702"/>
                          <a:gd name="connsiteY89" fmla="*/ 1734 h 23025"/>
                          <a:gd name="connsiteX90" fmla="*/ 11303 w 135702"/>
                          <a:gd name="connsiteY90" fmla="*/ 1854 h 23025"/>
                          <a:gd name="connsiteX91" fmla="*/ 11184 w 135702"/>
                          <a:gd name="connsiteY91" fmla="*/ 1555 h 23025"/>
                          <a:gd name="connsiteX92" fmla="*/ 11064 w 135702"/>
                          <a:gd name="connsiteY92" fmla="*/ 1256 h 23025"/>
                          <a:gd name="connsiteX93" fmla="*/ 10944 w 135702"/>
                          <a:gd name="connsiteY93" fmla="*/ 957 h 23025"/>
                          <a:gd name="connsiteX94" fmla="*/ 10825 w 135702"/>
                          <a:gd name="connsiteY94" fmla="*/ 658 h 23025"/>
                          <a:gd name="connsiteX95" fmla="*/ 8971 w 135702"/>
                          <a:gd name="connsiteY95" fmla="*/ 538 h 23025"/>
                          <a:gd name="connsiteX96" fmla="*/ 9090 w 135702"/>
                          <a:gd name="connsiteY96" fmla="*/ 718 h 23025"/>
                          <a:gd name="connsiteX97" fmla="*/ 9210 w 135702"/>
                          <a:gd name="connsiteY97" fmla="*/ 897 h 23025"/>
                          <a:gd name="connsiteX98" fmla="*/ 9330 w 135702"/>
                          <a:gd name="connsiteY98" fmla="*/ 1076 h 23025"/>
                          <a:gd name="connsiteX99" fmla="*/ 9449 w 135702"/>
                          <a:gd name="connsiteY99" fmla="*/ 1256 h 23025"/>
                          <a:gd name="connsiteX100" fmla="*/ 9509 w 135702"/>
                          <a:gd name="connsiteY100" fmla="*/ 1435 h 23025"/>
                          <a:gd name="connsiteX101" fmla="*/ 9569 w 135702"/>
                          <a:gd name="connsiteY101" fmla="*/ 1615 h 23025"/>
                          <a:gd name="connsiteX102" fmla="*/ 9629 w 135702"/>
                          <a:gd name="connsiteY102" fmla="*/ 1794 h 23025"/>
                          <a:gd name="connsiteX103" fmla="*/ 9629 w 135702"/>
                          <a:gd name="connsiteY103" fmla="*/ 1734 h 23025"/>
                          <a:gd name="connsiteX104" fmla="*/ 5921 w 135702"/>
                          <a:gd name="connsiteY104" fmla="*/ 15370 h 23025"/>
                          <a:gd name="connsiteX105" fmla="*/ 21530 w 135702"/>
                          <a:gd name="connsiteY105" fmla="*/ 16327 h 23025"/>
                          <a:gd name="connsiteX106" fmla="*/ 22846 w 135702"/>
                          <a:gd name="connsiteY106" fmla="*/ 16387 h 23025"/>
                          <a:gd name="connsiteX107" fmla="*/ 26076 w 135702"/>
                          <a:gd name="connsiteY107" fmla="*/ 16567 h 23025"/>
                          <a:gd name="connsiteX108" fmla="*/ 27391 w 135702"/>
                          <a:gd name="connsiteY108" fmla="*/ 16626 h 23025"/>
                          <a:gd name="connsiteX109" fmla="*/ 122007 w 135702"/>
                          <a:gd name="connsiteY109" fmla="*/ 22308 h 23025"/>
                          <a:gd name="connsiteX110" fmla="*/ 121947 w 135702"/>
                          <a:gd name="connsiteY110" fmla="*/ 22009 h 23025"/>
                          <a:gd name="connsiteX111" fmla="*/ 121887 w 135702"/>
                          <a:gd name="connsiteY111" fmla="*/ 21710 h 23025"/>
                          <a:gd name="connsiteX112" fmla="*/ 121827 w 135702"/>
                          <a:gd name="connsiteY112" fmla="*/ 21411 h 23025"/>
                          <a:gd name="connsiteX113" fmla="*/ 121767 w 135702"/>
                          <a:gd name="connsiteY113" fmla="*/ 21112 h 23025"/>
                          <a:gd name="connsiteX114" fmla="*/ 27930 w 135702"/>
                          <a:gd name="connsiteY114" fmla="*/ 15430 h 23025"/>
                          <a:gd name="connsiteX115" fmla="*/ 26674 w 135702"/>
                          <a:gd name="connsiteY115" fmla="*/ 15370 h 23025"/>
                          <a:gd name="connsiteX116" fmla="*/ 23504 w 135702"/>
                          <a:gd name="connsiteY116" fmla="*/ 15191 h 23025"/>
                          <a:gd name="connsiteX117" fmla="*/ 22188 w 135702"/>
                          <a:gd name="connsiteY117" fmla="*/ 15131 h 23025"/>
                          <a:gd name="connsiteX118" fmla="*/ 7775 w 135702"/>
                          <a:gd name="connsiteY118" fmla="*/ 14234 h 23025"/>
                          <a:gd name="connsiteX119" fmla="*/ 7356 w 135702"/>
                          <a:gd name="connsiteY119" fmla="*/ 14533 h 23025"/>
                          <a:gd name="connsiteX120" fmla="*/ 6878 w 135702"/>
                          <a:gd name="connsiteY120" fmla="*/ 14832 h 23025"/>
                          <a:gd name="connsiteX121" fmla="*/ 6399 w 135702"/>
                          <a:gd name="connsiteY121" fmla="*/ 15131 h 23025"/>
                          <a:gd name="connsiteX122" fmla="*/ 5921 w 135702"/>
                          <a:gd name="connsiteY122" fmla="*/ 15370 h 23025"/>
                          <a:gd name="connsiteX123" fmla="*/ 418 w 135702"/>
                          <a:gd name="connsiteY123" fmla="*/ 12679 h 23025"/>
                          <a:gd name="connsiteX124" fmla="*/ 718 w 135702"/>
                          <a:gd name="connsiteY124" fmla="*/ 12679 h 23025"/>
                          <a:gd name="connsiteX125" fmla="*/ 1017 w 135702"/>
                          <a:gd name="connsiteY125" fmla="*/ 12679 h 23025"/>
                          <a:gd name="connsiteX126" fmla="*/ 1316 w 135702"/>
                          <a:gd name="connsiteY126" fmla="*/ 12679 h 23025"/>
                          <a:gd name="connsiteX127" fmla="*/ 1615 w 135702"/>
                          <a:gd name="connsiteY127" fmla="*/ 12679 h 23025"/>
                          <a:gd name="connsiteX128" fmla="*/ 3409 w 135702"/>
                          <a:gd name="connsiteY128" fmla="*/ 1375 h 23025"/>
                          <a:gd name="connsiteX129" fmla="*/ 8074 w 135702"/>
                          <a:gd name="connsiteY129" fmla="*/ 1674 h 23025"/>
                          <a:gd name="connsiteX130" fmla="*/ 7894 w 135702"/>
                          <a:gd name="connsiteY130" fmla="*/ 1316 h 23025"/>
                          <a:gd name="connsiteX131" fmla="*/ 7655 w 135702"/>
                          <a:gd name="connsiteY131" fmla="*/ 957 h 23025"/>
                          <a:gd name="connsiteX132" fmla="*/ 7416 w 135702"/>
                          <a:gd name="connsiteY132" fmla="*/ 658 h 23025"/>
                          <a:gd name="connsiteX133" fmla="*/ 7177 w 135702"/>
                          <a:gd name="connsiteY133" fmla="*/ 359 h 23025"/>
                          <a:gd name="connsiteX134" fmla="*/ 3050 w 135702"/>
                          <a:gd name="connsiteY134" fmla="*/ 60 h 23025"/>
                          <a:gd name="connsiteX135" fmla="*/ 2452 w 135702"/>
                          <a:gd name="connsiteY135" fmla="*/ 0 h 23025"/>
                          <a:gd name="connsiteX136" fmla="*/ 418 w 135702"/>
                          <a:gd name="connsiteY136" fmla="*/ 12679 h 23025"/>
                          <a:gd name="connsiteX137" fmla="*/ 0 w 135702"/>
                          <a:gd name="connsiteY137" fmla="*/ 15012 h 23025"/>
                          <a:gd name="connsiteX138" fmla="*/ 2871 w 135702"/>
                          <a:gd name="connsiteY138" fmla="*/ 15191 h 23025"/>
                          <a:gd name="connsiteX139" fmla="*/ 3588 w 135702"/>
                          <a:gd name="connsiteY139" fmla="*/ 15012 h 23025"/>
                          <a:gd name="connsiteX140" fmla="*/ 4306 w 135702"/>
                          <a:gd name="connsiteY140" fmla="*/ 14772 h 23025"/>
                          <a:gd name="connsiteX141" fmla="*/ 5024 w 135702"/>
                          <a:gd name="connsiteY141" fmla="*/ 14473 h 23025"/>
                          <a:gd name="connsiteX142" fmla="*/ 5681 w 135702"/>
                          <a:gd name="connsiteY142" fmla="*/ 14114 h 23025"/>
                          <a:gd name="connsiteX143" fmla="*/ 1555 w 135702"/>
                          <a:gd name="connsiteY143" fmla="*/ 13875 h 23025"/>
                          <a:gd name="connsiteX144" fmla="*/ 1196 w 135702"/>
                          <a:gd name="connsiteY144" fmla="*/ 13875 h 23025"/>
                          <a:gd name="connsiteX145" fmla="*/ 837 w 135702"/>
                          <a:gd name="connsiteY145" fmla="*/ 13875 h 23025"/>
                          <a:gd name="connsiteX146" fmla="*/ 478 w 135702"/>
                          <a:gd name="connsiteY146" fmla="*/ 13875 h 23025"/>
                          <a:gd name="connsiteX147" fmla="*/ 119 w 135702"/>
                          <a:gd name="connsiteY147" fmla="*/ 13875 h 23025"/>
                          <a:gd name="connsiteX148" fmla="*/ 0 w 135702"/>
                          <a:gd name="connsiteY148" fmla="*/ 15012 h 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135702" h="23025">
                            <a:moveTo>
                              <a:pt x="124100" y="9150"/>
                            </a:moveTo>
                            <a:lnTo>
                              <a:pt x="126612" y="9330"/>
                            </a:lnTo>
                            <a:cubicBezTo>
                              <a:pt x="126672" y="9210"/>
                              <a:pt x="126672" y="9150"/>
                              <a:pt x="126731" y="9031"/>
                            </a:cubicBezTo>
                            <a:cubicBezTo>
                              <a:pt x="126791" y="8911"/>
                              <a:pt x="126791" y="8851"/>
                              <a:pt x="126851" y="8732"/>
                            </a:cubicBezTo>
                            <a:cubicBezTo>
                              <a:pt x="126911" y="8612"/>
                              <a:pt x="126911" y="8552"/>
                              <a:pt x="126971" y="8433"/>
                            </a:cubicBezTo>
                            <a:cubicBezTo>
                              <a:pt x="127030" y="8313"/>
                              <a:pt x="127030" y="8253"/>
                              <a:pt x="127090" y="8134"/>
                            </a:cubicBezTo>
                            <a:lnTo>
                              <a:pt x="124578" y="7954"/>
                            </a:lnTo>
                            <a:cubicBezTo>
                              <a:pt x="124518" y="8074"/>
                              <a:pt x="124518" y="8134"/>
                              <a:pt x="124459" y="8253"/>
                            </a:cubicBezTo>
                            <a:cubicBezTo>
                              <a:pt x="124399" y="8373"/>
                              <a:pt x="124399" y="8433"/>
                              <a:pt x="124339" y="8552"/>
                            </a:cubicBezTo>
                            <a:cubicBezTo>
                              <a:pt x="124279" y="8672"/>
                              <a:pt x="124279" y="8732"/>
                              <a:pt x="124219" y="8851"/>
                            </a:cubicBezTo>
                            <a:cubicBezTo>
                              <a:pt x="124159" y="8971"/>
                              <a:pt x="124159" y="9031"/>
                              <a:pt x="124100" y="9150"/>
                            </a:cubicBezTo>
                            <a:moveTo>
                              <a:pt x="132234" y="21291"/>
                            </a:moveTo>
                            <a:cubicBezTo>
                              <a:pt x="132353" y="21231"/>
                              <a:pt x="132413" y="21172"/>
                              <a:pt x="132533" y="21172"/>
                            </a:cubicBezTo>
                            <a:cubicBezTo>
                              <a:pt x="132652" y="21112"/>
                              <a:pt x="132712" y="21112"/>
                              <a:pt x="132832" y="21052"/>
                            </a:cubicBezTo>
                            <a:cubicBezTo>
                              <a:pt x="132951" y="20992"/>
                              <a:pt x="133011" y="20992"/>
                              <a:pt x="133131" y="20933"/>
                            </a:cubicBezTo>
                            <a:cubicBezTo>
                              <a:pt x="133250" y="20933"/>
                              <a:pt x="133310" y="20873"/>
                              <a:pt x="133430" y="20873"/>
                            </a:cubicBezTo>
                            <a:lnTo>
                              <a:pt x="135702" y="8732"/>
                            </a:lnTo>
                            <a:lnTo>
                              <a:pt x="134566" y="8672"/>
                            </a:lnTo>
                            <a:lnTo>
                              <a:pt x="128466" y="8253"/>
                            </a:lnTo>
                            <a:cubicBezTo>
                              <a:pt x="128406" y="8373"/>
                              <a:pt x="128406" y="8433"/>
                              <a:pt x="128346" y="8552"/>
                            </a:cubicBezTo>
                            <a:cubicBezTo>
                              <a:pt x="128286" y="8672"/>
                              <a:pt x="128286" y="8732"/>
                              <a:pt x="128226" y="8851"/>
                            </a:cubicBezTo>
                            <a:cubicBezTo>
                              <a:pt x="128167" y="8971"/>
                              <a:pt x="128167" y="9031"/>
                              <a:pt x="128107" y="9150"/>
                            </a:cubicBezTo>
                            <a:cubicBezTo>
                              <a:pt x="128047" y="9270"/>
                              <a:pt x="128047" y="9330"/>
                              <a:pt x="127987" y="9450"/>
                            </a:cubicBezTo>
                            <a:lnTo>
                              <a:pt x="134327" y="9868"/>
                            </a:lnTo>
                            <a:lnTo>
                              <a:pt x="134327" y="9868"/>
                            </a:lnTo>
                            <a:lnTo>
                              <a:pt x="134088" y="11184"/>
                            </a:lnTo>
                            <a:cubicBezTo>
                              <a:pt x="134207" y="11363"/>
                              <a:pt x="134327" y="11543"/>
                              <a:pt x="134447" y="11782"/>
                            </a:cubicBezTo>
                            <a:cubicBezTo>
                              <a:pt x="134566" y="11961"/>
                              <a:pt x="134626" y="12201"/>
                              <a:pt x="134686" y="12440"/>
                            </a:cubicBezTo>
                            <a:cubicBezTo>
                              <a:pt x="134745" y="12679"/>
                              <a:pt x="134745" y="12918"/>
                              <a:pt x="134745" y="13158"/>
                            </a:cubicBezTo>
                            <a:cubicBezTo>
                              <a:pt x="134745" y="13397"/>
                              <a:pt x="134745" y="13636"/>
                              <a:pt x="134686" y="13935"/>
                            </a:cubicBezTo>
                            <a:cubicBezTo>
                              <a:pt x="134626" y="14174"/>
                              <a:pt x="134566" y="14413"/>
                              <a:pt x="134447" y="14653"/>
                            </a:cubicBezTo>
                            <a:cubicBezTo>
                              <a:pt x="134327" y="14892"/>
                              <a:pt x="134207" y="15131"/>
                              <a:pt x="134088" y="15311"/>
                            </a:cubicBezTo>
                            <a:cubicBezTo>
                              <a:pt x="133968" y="15550"/>
                              <a:pt x="133789" y="15729"/>
                              <a:pt x="133609" y="15909"/>
                            </a:cubicBezTo>
                            <a:cubicBezTo>
                              <a:pt x="133430" y="16088"/>
                              <a:pt x="133250" y="16267"/>
                              <a:pt x="133071" y="16387"/>
                            </a:cubicBezTo>
                            <a:lnTo>
                              <a:pt x="132234" y="21291"/>
                            </a:lnTo>
                            <a:moveTo>
                              <a:pt x="131875" y="22966"/>
                            </a:moveTo>
                            <a:lnTo>
                              <a:pt x="131994" y="22966"/>
                            </a:lnTo>
                            <a:lnTo>
                              <a:pt x="132593" y="23026"/>
                            </a:lnTo>
                            <a:lnTo>
                              <a:pt x="133131" y="23026"/>
                            </a:lnTo>
                            <a:lnTo>
                              <a:pt x="133310" y="22069"/>
                            </a:lnTo>
                            <a:cubicBezTo>
                              <a:pt x="133250" y="22069"/>
                              <a:pt x="133131" y="22129"/>
                              <a:pt x="133071" y="22129"/>
                            </a:cubicBezTo>
                            <a:cubicBezTo>
                              <a:pt x="133011" y="22189"/>
                              <a:pt x="132891" y="22189"/>
                              <a:pt x="132832" y="22248"/>
                            </a:cubicBezTo>
                            <a:cubicBezTo>
                              <a:pt x="132772" y="22308"/>
                              <a:pt x="132652" y="22368"/>
                              <a:pt x="132593" y="22428"/>
                            </a:cubicBezTo>
                            <a:cubicBezTo>
                              <a:pt x="132533" y="22488"/>
                              <a:pt x="132413" y="22547"/>
                              <a:pt x="132353" y="22607"/>
                            </a:cubicBezTo>
                            <a:cubicBezTo>
                              <a:pt x="132294" y="22607"/>
                              <a:pt x="132294" y="22667"/>
                              <a:pt x="132234" y="22667"/>
                            </a:cubicBezTo>
                            <a:cubicBezTo>
                              <a:pt x="132174" y="22667"/>
                              <a:pt x="132174" y="22727"/>
                              <a:pt x="132114" y="22727"/>
                            </a:cubicBezTo>
                            <a:cubicBezTo>
                              <a:pt x="132054" y="22787"/>
                              <a:pt x="132054" y="22787"/>
                              <a:pt x="131994" y="22846"/>
                            </a:cubicBezTo>
                            <a:cubicBezTo>
                              <a:pt x="131875" y="22906"/>
                              <a:pt x="131875" y="22966"/>
                              <a:pt x="131875" y="22966"/>
                            </a:cubicBezTo>
                            <a:moveTo>
                              <a:pt x="127509" y="22727"/>
                            </a:moveTo>
                            <a:lnTo>
                              <a:pt x="130559" y="22906"/>
                            </a:lnTo>
                            <a:cubicBezTo>
                              <a:pt x="130619" y="22787"/>
                              <a:pt x="130679" y="22727"/>
                              <a:pt x="130739" y="22607"/>
                            </a:cubicBezTo>
                            <a:cubicBezTo>
                              <a:pt x="130798" y="22488"/>
                              <a:pt x="130858" y="22428"/>
                              <a:pt x="130978" y="22308"/>
                            </a:cubicBezTo>
                            <a:cubicBezTo>
                              <a:pt x="131097" y="22189"/>
                              <a:pt x="131157" y="22129"/>
                              <a:pt x="131217" y="22009"/>
                            </a:cubicBezTo>
                            <a:cubicBezTo>
                              <a:pt x="131277" y="21889"/>
                              <a:pt x="131396" y="21829"/>
                              <a:pt x="131516" y="21770"/>
                            </a:cubicBezTo>
                            <a:lnTo>
                              <a:pt x="127150" y="21530"/>
                            </a:lnTo>
                            <a:cubicBezTo>
                              <a:pt x="127150" y="21650"/>
                              <a:pt x="127210" y="21710"/>
                              <a:pt x="127210" y="21829"/>
                            </a:cubicBezTo>
                            <a:cubicBezTo>
                              <a:pt x="127210" y="21949"/>
                              <a:pt x="127270" y="22009"/>
                              <a:pt x="127270" y="22129"/>
                            </a:cubicBezTo>
                            <a:cubicBezTo>
                              <a:pt x="127270" y="22248"/>
                              <a:pt x="127329" y="22308"/>
                              <a:pt x="127389" y="22428"/>
                            </a:cubicBezTo>
                            <a:cubicBezTo>
                              <a:pt x="127449" y="22547"/>
                              <a:pt x="127449" y="22607"/>
                              <a:pt x="127509" y="22727"/>
                            </a:cubicBezTo>
                            <a:moveTo>
                              <a:pt x="123143" y="22428"/>
                            </a:moveTo>
                            <a:lnTo>
                              <a:pt x="125894" y="22607"/>
                            </a:lnTo>
                            <a:cubicBezTo>
                              <a:pt x="125894" y="22488"/>
                              <a:pt x="125834" y="22428"/>
                              <a:pt x="125834" y="22308"/>
                            </a:cubicBezTo>
                            <a:cubicBezTo>
                              <a:pt x="125834" y="22189"/>
                              <a:pt x="125774" y="22129"/>
                              <a:pt x="125774" y="22009"/>
                            </a:cubicBezTo>
                            <a:cubicBezTo>
                              <a:pt x="125774" y="21889"/>
                              <a:pt x="125715" y="21829"/>
                              <a:pt x="125715" y="21710"/>
                            </a:cubicBezTo>
                            <a:cubicBezTo>
                              <a:pt x="125715" y="21590"/>
                              <a:pt x="125655" y="21530"/>
                              <a:pt x="125655" y="21411"/>
                            </a:cubicBezTo>
                            <a:lnTo>
                              <a:pt x="122964" y="21231"/>
                            </a:lnTo>
                            <a:cubicBezTo>
                              <a:pt x="122964" y="21351"/>
                              <a:pt x="123023" y="21411"/>
                              <a:pt x="123023" y="21530"/>
                            </a:cubicBezTo>
                            <a:cubicBezTo>
                              <a:pt x="123023" y="21650"/>
                              <a:pt x="123083" y="21710"/>
                              <a:pt x="123083" y="21829"/>
                            </a:cubicBezTo>
                            <a:cubicBezTo>
                              <a:pt x="123083" y="21949"/>
                              <a:pt x="123143" y="22009"/>
                              <a:pt x="123143" y="22129"/>
                            </a:cubicBezTo>
                            <a:cubicBezTo>
                              <a:pt x="123143" y="22248"/>
                              <a:pt x="123143" y="22368"/>
                              <a:pt x="123143" y="22428"/>
                            </a:cubicBezTo>
                            <a:moveTo>
                              <a:pt x="12619" y="1914"/>
                            </a:moveTo>
                            <a:lnTo>
                              <a:pt x="25059" y="2691"/>
                            </a:lnTo>
                            <a:lnTo>
                              <a:pt x="26315" y="2751"/>
                            </a:lnTo>
                            <a:lnTo>
                              <a:pt x="29365" y="2930"/>
                            </a:lnTo>
                            <a:lnTo>
                              <a:pt x="30621" y="2990"/>
                            </a:lnTo>
                            <a:lnTo>
                              <a:pt x="122964" y="8971"/>
                            </a:lnTo>
                            <a:cubicBezTo>
                              <a:pt x="123023" y="8851"/>
                              <a:pt x="123023" y="8791"/>
                              <a:pt x="123083" y="8672"/>
                            </a:cubicBezTo>
                            <a:cubicBezTo>
                              <a:pt x="123143" y="8552"/>
                              <a:pt x="123143" y="8493"/>
                              <a:pt x="123203" y="8373"/>
                            </a:cubicBezTo>
                            <a:cubicBezTo>
                              <a:pt x="123263" y="8253"/>
                              <a:pt x="123263" y="8194"/>
                              <a:pt x="123322" y="8074"/>
                            </a:cubicBezTo>
                            <a:cubicBezTo>
                              <a:pt x="123382" y="7954"/>
                              <a:pt x="123382" y="7895"/>
                              <a:pt x="123442" y="7775"/>
                            </a:cubicBezTo>
                            <a:lnTo>
                              <a:pt x="30681" y="1734"/>
                            </a:lnTo>
                            <a:lnTo>
                              <a:pt x="29425" y="1674"/>
                            </a:lnTo>
                            <a:lnTo>
                              <a:pt x="26315" y="1495"/>
                            </a:lnTo>
                            <a:lnTo>
                              <a:pt x="25059" y="1435"/>
                            </a:lnTo>
                            <a:lnTo>
                              <a:pt x="12320" y="598"/>
                            </a:lnTo>
                            <a:cubicBezTo>
                              <a:pt x="12380" y="718"/>
                              <a:pt x="12380" y="778"/>
                              <a:pt x="12440" y="897"/>
                            </a:cubicBezTo>
                            <a:cubicBezTo>
                              <a:pt x="12500" y="1017"/>
                              <a:pt x="12500" y="1076"/>
                              <a:pt x="12559" y="1196"/>
                            </a:cubicBezTo>
                            <a:cubicBezTo>
                              <a:pt x="12619" y="1316"/>
                              <a:pt x="12619" y="1435"/>
                              <a:pt x="12679" y="1495"/>
                            </a:cubicBezTo>
                            <a:cubicBezTo>
                              <a:pt x="12559" y="1674"/>
                              <a:pt x="12619" y="1794"/>
                              <a:pt x="12619" y="1914"/>
                            </a:cubicBezTo>
                            <a:moveTo>
                              <a:pt x="9629" y="1734"/>
                            </a:moveTo>
                            <a:lnTo>
                              <a:pt x="11303" y="1854"/>
                            </a:lnTo>
                            <a:cubicBezTo>
                              <a:pt x="11243" y="1734"/>
                              <a:pt x="11243" y="1615"/>
                              <a:pt x="11184" y="1555"/>
                            </a:cubicBezTo>
                            <a:cubicBezTo>
                              <a:pt x="11124" y="1435"/>
                              <a:pt x="11124" y="1316"/>
                              <a:pt x="11064" y="1256"/>
                            </a:cubicBezTo>
                            <a:cubicBezTo>
                              <a:pt x="11004" y="1136"/>
                              <a:pt x="11004" y="1076"/>
                              <a:pt x="10944" y="957"/>
                            </a:cubicBezTo>
                            <a:cubicBezTo>
                              <a:pt x="10885" y="837"/>
                              <a:pt x="10825" y="778"/>
                              <a:pt x="10825" y="658"/>
                            </a:cubicBezTo>
                            <a:lnTo>
                              <a:pt x="8971" y="538"/>
                            </a:lnTo>
                            <a:cubicBezTo>
                              <a:pt x="9031" y="598"/>
                              <a:pt x="9031" y="658"/>
                              <a:pt x="9090" y="718"/>
                            </a:cubicBezTo>
                            <a:cubicBezTo>
                              <a:pt x="9150" y="778"/>
                              <a:pt x="9150" y="837"/>
                              <a:pt x="9210" y="897"/>
                            </a:cubicBezTo>
                            <a:cubicBezTo>
                              <a:pt x="9270" y="957"/>
                              <a:pt x="9270" y="1017"/>
                              <a:pt x="9330" y="1076"/>
                            </a:cubicBezTo>
                            <a:cubicBezTo>
                              <a:pt x="9389" y="1136"/>
                              <a:pt x="9389" y="1196"/>
                              <a:pt x="9449" y="1256"/>
                            </a:cubicBezTo>
                            <a:cubicBezTo>
                              <a:pt x="9449" y="1316"/>
                              <a:pt x="9509" y="1375"/>
                              <a:pt x="9509" y="1435"/>
                            </a:cubicBezTo>
                            <a:cubicBezTo>
                              <a:pt x="9509" y="1495"/>
                              <a:pt x="9569" y="1555"/>
                              <a:pt x="9569" y="1615"/>
                            </a:cubicBezTo>
                            <a:cubicBezTo>
                              <a:pt x="9569" y="1674"/>
                              <a:pt x="9629" y="1734"/>
                              <a:pt x="9629" y="1794"/>
                            </a:cubicBezTo>
                            <a:cubicBezTo>
                              <a:pt x="9569" y="1615"/>
                              <a:pt x="9629" y="1674"/>
                              <a:pt x="9629" y="1734"/>
                            </a:cubicBezTo>
                            <a:moveTo>
                              <a:pt x="5921" y="15370"/>
                            </a:moveTo>
                            <a:lnTo>
                              <a:pt x="21530" y="16327"/>
                            </a:lnTo>
                            <a:lnTo>
                              <a:pt x="22846" y="16387"/>
                            </a:lnTo>
                            <a:lnTo>
                              <a:pt x="26076" y="16567"/>
                            </a:lnTo>
                            <a:lnTo>
                              <a:pt x="27391" y="16626"/>
                            </a:lnTo>
                            <a:lnTo>
                              <a:pt x="122007" y="22308"/>
                            </a:lnTo>
                            <a:cubicBezTo>
                              <a:pt x="122007" y="22189"/>
                              <a:pt x="121947" y="22129"/>
                              <a:pt x="121947" y="22009"/>
                            </a:cubicBezTo>
                            <a:cubicBezTo>
                              <a:pt x="121947" y="21889"/>
                              <a:pt x="121887" y="21829"/>
                              <a:pt x="121887" y="21710"/>
                            </a:cubicBezTo>
                            <a:cubicBezTo>
                              <a:pt x="121887" y="21590"/>
                              <a:pt x="121827" y="21530"/>
                              <a:pt x="121827" y="21411"/>
                            </a:cubicBezTo>
                            <a:cubicBezTo>
                              <a:pt x="121827" y="21291"/>
                              <a:pt x="121767" y="21231"/>
                              <a:pt x="121767" y="21112"/>
                            </a:cubicBezTo>
                            <a:lnTo>
                              <a:pt x="27930" y="15430"/>
                            </a:lnTo>
                            <a:lnTo>
                              <a:pt x="26674" y="15370"/>
                            </a:lnTo>
                            <a:lnTo>
                              <a:pt x="23504" y="15191"/>
                            </a:lnTo>
                            <a:lnTo>
                              <a:pt x="22188" y="15131"/>
                            </a:lnTo>
                            <a:lnTo>
                              <a:pt x="7775" y="14234"/>
                            </a:lnTo>
                            <a:cubicBezTo>
                              <a:pt x="7655" y="14354"/>
                              <a:pt x="7476" y="14413"/>
                              <a:pt x="7356" y="14533"/>
                            </a:cubicBezTo>
                            <a:cubicBezTo>
                              <a:pt x="7177" y="14653"/>
                              <a:pt x="7057" y="14713"/>
                              <a:pt x="6878" y="14832"/>
                            </a:cubicBezTo>
                            <a:cubicBezTo>
                              <a:pt x="6698" y="14952"/>
                              <a:pt x="6579" y="15012"/>
                              <a:pt x="6399" y="15131"/>
                            </a:cubicBezTo>
                            <a:cubicBezTo>
                              <a:pt x="6220" y="15191"/>
                              <a:pt x="6040" y="15311"/>
                              <a:pt x="5921" y="15370"/>
                            </a:cubicBezTo>
                            <a:moveTo>
                              <a:pt x="418" y="12679"/>
                            </a:moveTo>
                            <a:cubicBezTo>
                              <a:pt x="538" y="12679"/>
                              <a:pt x="658" y="12679"/>
                              <a:pt x="718" y="12679"/>
                            </a:cubicBezTo>
                            <a:cubicBezTo>
                              <a:pt x="777" y="12679"/>
                              <a:pt x="957" y="12679"/>
                              <a:pt x="1017" y="12679"/>
                            </a:cubicBezTo>
                            <a:cubicBezTo>
                              <a:pt x="1076" y="12679"/>
                              <a:pt x="1256" y="12679"/>
                              <a:pt x="1316" y="12679"/>
                            </a:cubicBezTo>
                            <a:cubicBezTo>
                              <a:pt x="1435" y="12679"/>
                              <a:pt x="1555" y="12679"/>
                              <a:pt x="1615" y="12679"/>
                            </a:cubicBezTo>
                            <a:lnTo>
                              <a:pt x="3409" y="1375"/>
                            </a:lnTo>
                            <a:lnTo>
                              <a:pt x="8074" y="1674"/>
                            </a:lnTo>
                            <a:cubicBezTo>
                              <a:pt x="8014" y="1555"/>
                              <a:pt x="7954" y="1435"/>
                              <a:pt x="7894" y="1316"/>
                            </a:cubicBezTo>
                            <a:cubicBezTo>
                              <a:pt x="7835" y="1196"/>
                              <a:pt x="7715" y="1076"/>
                              <a:pt x="7655" y="957"/>
                            </a:cubicBezTo>
                            <a:cubicBezTo>
                              <a:pt x="7595" y="837"/>
                              <a:pt x="7476" y="718"/>
                              <a:pt x="7416" y="658"/>
                            </a:cubicBezTo>
                            <a:cubicBezTo>
                              <a:pt x="7356" y="538"/>
                              <a:pt x="7236" y="479"/>
                              <a:pt x="7177" y="359"/>
                            </a:cubicBezTo>
                            <a:lnTo>
                              <a:pt x="3050" y="60"/>
                            </a:lnTo>
                            <a:lnTo>
                              <a:pt x="2452" y="0"/>
                            </a:lnTo>
                            <a:lnTo>
                              <a:pt x="418" y="12679"/>
                            </a:lnTo>
                            <a:moveTo>
                              <a:pt x="0" y="15012"/>
                            </a:moveTo>
                            <a:lnTo>
                              <a:pt x="2871" y="15191"/>
                            </a:lnTo>
                            <a:cubicBezTo>
                              <a:pt x="3110" y="15131"/>
                              <a:pt x="3349" y="15072"/>
                              <a:pt x="3588" y="15012"/>
                            </a:cubicBezTo>
                            <a:cubicBezTo>
                              <a:pt x="3827" y="14952"/>
                              <a:pt x="4067" y="14832"/>
                              <a:pt x="4306" y="14772"/>
                            </a:cubicBezTo>
                            <a:cubicBezTo>
                              <a:pt x="4545" y="14713"/>
                              <a:pt x="4785" y="14593"/>
                              <a:pt x="5024" y="14473"/>
                            </a:cubicBezTo>
                            <a:cubicBezTo>
                              <a:pt x="5263" y="14354"/>
                              <a:pt x="5502" y="14234"/>
                              <a:pt x="5681" y="14114"/>
                            </a:cubicBezTo>
                            <a:lnTo>
                              <a:pt x="1555" y="13875"/>
                            </a:lnTo>
                            <a:cubicBezTo>
                              <a:pt x="1435" y="13875"/>
                              <a:pt x="1316" y="13875"/>
                              <a:pt x="1196" y="13875"/>
                            </a:cubicBezTo>
                            <a:cubicBezTo>
                              <a:pt x="1076" y="13875"/>
                              <a:pt x="957" y="13875"/>
                              <a:pt x="837" y="13875"/>
                            </a:cubicBezTo>
                            <a:cubicBezTo>
                              <a:pt x="718" y="13875"/>
                              <a:pt x="598" y="13875"/>
                              <a:pt x="478" y="13875"/>
                            </a:cubicBezTo>
                            <a:cubicBezTo>
                              <a:pt x="359" y="13875"/>
                              <a:pt x="239" y="13875"/>
                              <a:pt x="119" y="13875"/>
                            </a:cubicBezTo>
                            <a:lnTo>
                              <a:pt x="0" y="15012"/>
                            </a:lnTo>
                          </a:path>
                        </a:pathLst>
                      </a:custGeom>
                      <a:noFill/>
                      <a:ln w="6350" cap="flat">
                        <a:solidFill>
                          <a:schemeClr val="bg1">
                            <a:alpha val="40000"/>
                          </a:schemeClr>
                        </a:solidFill>
                        <a:prstDash val="solid"/>
                        <a:miter/>
                      </a:ln>
                    </p:spPr>
                    <p:txBody>
                      <a:bodyPr rtlCol="0" anchor="ctr"/>
                      <a:lstStyle/>
                      <a:p>
                        <a:endParaRPr lang="en-GB"/>
                      </a:p>
                    </p:txBody>
                  </p:sp>
                  <p:sp>
                    <p:nvSpPr>
                      <p:cNvPr id="7500" name="Vrije vorm: vorm 7499">
                        <a:extLst>
                          <a:ext uri="{FF2B5EF4-FFF2-40B4-BE49-F238E27FC236}">
                            <a16:creationId xmlns:a16="http://schemas.microsoft.com/office/drawing/2014/main" id="{76F7C28E-47ED-4CA9-8F57-37AABDE6CCA3}"/>
                          </a:ext>
                        </a:extLst>
                      </p:cNvPr>
                      <p:cNvSpPr/>
                      <p:nvPr/>
                    </p:nvSpPr>
                    <p:spPr>
                      <a:xfrm>
                        <a:off x="4843627" y="5079323"/>
                        <a:ext cx="22667" cy="22295"/>
                      </a:xfrm>
                      <a:custGeom>
                        <a:avLst/>
                        <a:gdLst>
                          <a:gd name="connsiteX0" fmla="*/ 12560 w 22667"/>
                          <a:gd name="connsiteY0" fmla="*/ 20777 h 22295"/>
                          <a:gd name="connsiteX1" fmla="*/ 11423 w 22667"/>
                          <a:gd name="connsiteY1" fmla="*/ 20957 h 22295"/>
                          <a:gd name="connsiteX2" fmla="*/ 10287 w 22667"/>
                          <a:gd name="connsiteY2" fmla="*/ 21016 h 22295"/>
                          <a:gd name="connsiteX3" fmla="*/ 9151 w 22667"/>
                          <a:gd name="connsiteY3" fmla="*/ 20957 h 22295"/>
                          <a:gd name="connsiteX4" fmla="*/ 8014 w 22667"/>
                          <a:gd name="connsiteY4" fmla="*/ 20777 h 22295"/>
                          <a:gd name="connsiteX5" fmla="*/ 7117 w 22667"/>
                          <a:gd name="connsiteY5" fmla="*/ 20478 h 22295"/>
                          <a:gd name="connsiteX6" fmla="*/ 6280 w 22667"/>
                          <a:gd name="connsiteY6" fmla="*/ 20119 h 22295"/>
                          <a:gd name="connsiteX7" fmla="*/ 5503 w 22667"/>
                          <a:gd name="connsiteY7" fmla="*/ 19700 h 22295"/>
                          <a:gd name="connsiteX8" fmla="*/ 4785 w 22667"/>
                          <a:gd name="connsiteY8" fmla="*/ 19222 h 22295"/>
                          <a:gd name="connsiteX9" fmla="*/ 2751 w 22667"/>
                          <a:gd name="connsiteY9" fmla="*/ 17189 h 22295"/>
                          <a:gd name="connsiteX10" fmla="*/ 1495 w 22667"/>
                          <a:gd name="connsiteY10" fmla="*/ 14617 h 22295"/>
                          <a:gd name="connsiteX11" fmla="*/ 1076 w 22667"/>
                          <a:gd name="connsiteY11" fmla="*/ 11746 h 22295"/>
                          <a:gd name="connsiteX12" fmla="*/ 1615 w 22667"/>
                          <a:gd name="connsiteY12" fmla="*/ 8696 h 22295"/>
                          <a:gd name="connsiteX13" fmla="*/ 3649 w 22667"/>
                          <a:gd name="connsiteY13" fmla="*/ 5108 h 22295"/>
                          <a:gd name="connsiteX14" fmla="*/ 6758 w 22667"/>
                          <a:gd name="connsiteY14" fmla="*/ 2536 h 22295"/>
                          <a:gd name="connsiteX15" fmla="*/ 10526 w 22667"/>
                          <a:gd name="connsiteY15" fmla="*/ 1220 h 22295"/>
                          <a:gd name="connsiteX16" fmla="*/ 14533 w 22667"/>
                          <a:gd name="connsiteY16" fmla="*/ 1399 h 22295"/>
                          <a:gd name="connsiteX17" fmla="*/ 15430 w 22667"/>
                          <a:gd name="connsiteY17" fmla="*/ 1639 h 22295"/>
                          <a:gd name="connsiteX18" fmla="*/ 16268 w 22667"/>
                          <a:gd name="connsiteY18" fmla="*/ 1997 h 22295"/>
                          <a:gd name="connsiteX19" fmla="*/ 17045 w 22667"/>
                          <a:gd name="connsiteY19" fmla="*/ 2416 h 22295"/>
                          <a:gd name="connsiteX20" fmla="*/ 17763 w 22667"/>
                          <a:gd name="connsiteY20" fmla="*/ 2895 h 22295"/>
                          <a:gd name="connsiteX21" fmla="*/ 18600 w 22667"/>
                          <a:gd name="connsiteY21" fmla="*/ 3552 h 22295"/>
                          <a:gd name="connsiteX22" fmla="*/ 19318 w 22667"/>
                          <a:gd name="connsiteY22" fmla="*/ 4330 h 22295"/>
                          <a:gd name="connsiteX23" fmla="*/ 19916 w 22667"/>
                          <a:gd name="connsiteY23" fmla="*/ 5167 h 22295"/>
                          <a:gd name="connsiteX24" fmla="*/ 20454 w 22667"/>
                          <a:gd name="connsiteY24" fmla="*/ 6065 h 22295"/>
                          <a:gd name="connsiteX25" fmla="*/ 20574 w 22667"/>
                          <a:gd name="connsiteY25" fmla="*/ 6364 h 22295"/>
                          <a:gd name="connsiteX26" fmla="*/ 20693 w 22667"/>
                          <a:gd name="connsiteY26" fmla="*/ 6663 h 22295"/>
                          <a:gd name="connsiteX27" fmla="*/ 20813 w 22667"/>
                          <a:gd name="connsiteY27" fmla="*/ 6962 h 22295"/>
                          <a:gd name="connsiteX28" fmla="*/ 20933 w 22667"/>
                          <a:gd name="connsiteY28" fmla="*/ 7260 h 22295"/>
                          <a:gd name="connsiteX29" fmla="*/ 21231 w 22667"/>
                          <a:gd name="connsiteY29" fmla="*/ 8696 h 22295"/>
                          <a:gd name="connsiteX30" fmla="*/ 21351 w 22667"/>
                          <a:gd name="connsiteY30" fmla="*/ 10191 h 22295"/>
                          <a:gd name="connsiteX31" fmla="*/ 21231 w 22667"/>
                          <a:gd name="connsiteY31" fmla="*/ 11746 h 22295"/>
                          <a:gd name="connsiteX32" fmla="*/ 20813 w 22667"/>
                          <a:gd name="connsiteY32" fmla="*/ 13301 h 22295"/>
                          <a:gd name="connsiteX33" fmla="*/ 19916 w 22667"/>
                          <a:gd name="connsiteY33" fmla="*/ 15275 h 22295"/>
                          <a:gd name="connsiteX34" fmla="*/ 18660 w 22667"/>
                          <a:gd name="connsiteY34" fmla="*/ 17009 h 22295"/>
                          <a:gd name="connsiteX35" fmla="*/ 17105 w 22667"/>
                          <a:gd name="connsiteY35" fmla="*/ 18444 h 22295"/>
                          <a:gd name="connsiteX36" fmla="*/ 15371 w 22667"/>
                          <a:gd name="connsiteY36" fmla="*/ 19581 h 22295"/>
                          <a:gd name="connsiteX37" fmla="*/ 14713 w 22667"/>
                          <a:gd name="connsiteY37" fmla="*/ 19940 h 22295"/>
                          <a:gd name="connsiteX38" fmla="*/ 13995 w 22667"/>
                          <a:gd name="connsiteY38" fmla="*/ 20239 h 22295"/>
                          <a:gd name="connsiteX39" fmla="*/ 13277 w 22667"/>
                          <a:gd name="connsiteY39" fmla="*/ 20478 h 22295"/>
                          <a:gd name="connsiteX40" fmla="*/ 12560 w 22667"/>
                          <a:gd name="connsiteY40" fmla="*/ 20777 h 22295"/>
                          <a:gd name="connsiteX41" fmla="*/ 3947 w 22667"/>
                          <a:gd name="connsiteY41" fmla="*/ 20358 h 22295"/>
                          <a:gd name="connsiteX42" fmla="*/ 4785 w 22667"/>
                          <a:gd name="connsiteY42" fmla="*/ 20897 h 22295"/>
                          <a:gd name="connsiteX43" fmla="*/ 5682 w 22667"/>
                          <a:gd name="connsiteY43" fmla="*/ 21315 h 22295"/>
                          <a:gd name="connsiteX44" fmla="*/ 6639 w 22667"/>
                          <a:gd name="connsiteY44" fmla="*/ 21674 h 22295"/>
                          <a:gd name="connsiteX45" fmla="*/ 7656 w 22667"/>
                          <a:gd name="connsiteY45" fmla="*/ 21973 h 22295"/>
                          <a:gd name="connsiteX46" fmla="*/ 9689 w 22667"/>
                          <a:gd name="connsiteY46" fmla="*/ 22272 h 22295"/>
                          <a:gd name="connsiteX47" fmla="*/ 11722 w 22667"/>
                          <a:gd name="connsiteY47" fmla="*/ 22153 h 22295"/>
                          <a:gd name="connsiteX48" fmla="*/ 13696 w 22667"/>
                          <a:gd name="connsiteY48" fmla="*/ 21734 h 22295"/>
                          <a:gd name="connsiteX49" fmla="*/ 15610 w 22667"/>
                          <a:gd name="connsiteY49" fmla="*/ 20957 h 22295"/>
                          <a:gd name="connsiteX50" fmla="*/ 16088 w 22667"/>
                          <a:gd name="connsiteY50" fmla="*/ 20717 h 22295"/>
                          <a:gd name="connsiteX51" fmla="*/ 16567 w 22667"/>
                          <a:gd name="connsiteY51" fmla="*/ 20418 h 22295"/>
                          <a:gd name="connsiteX52" fmla="*/ 17045 w 22667"/>
                          <a:gd name="connsiteY52" fmla="*/ 20119 h 22295"/>
                          <a:gd name="connsiteX53" fmla="*/ 17464 w 22667"/>
                          <a:gd name="connsiteY53" fmla="*/ 19820 h 22295"/>
                          <a:gd name="connsiteX54" fmla="*/ 18959 w 22667"/>
                          <a:gd name="connsiteY54" fmla="*/ 18564 h 22295"/>
                          <a:gd name="connsiteX55" fmla="*/ 20215 w 22667"/>
                          <a:gd name="connsiteY55" fmla="*/ 17129 h 22295"/>
                          <a:gd name="connsiteX56" fmla="*/ 21291 w 22667"/>
                          <a:gd name="connsiteY56" fmla="*/ 15514 h 22295"/>
                          <a:gd name="connsiteX57" fmla="*/ 22069 w 22667"/>
                          <a:gd name="connsiteY57" fmla="*/ 13720 h 22295"/>
                          <a:gd name="connsiteX58" fmla="*/ 22488 w 22667"/>
                          <a:gd name="connsiteY58" fmla="*/ 12105 h 22295"/>
                          <a:gd name="connsiteX59" fmla="*/ 22667 w 22667"/>
                          <a:gd name="connsiteY59" fmla="*/ 10550 h 22295"/>
                          <a:gd name="connsiteX60" fmla="*/ 22607 w 22667"/>
                          <a:gd name="connsiteY60" fmla="*/ 8995 h 22295"/>
                          <a:gd name="connsiteX61" fmla="*/ 22368 w 22667"/>
                          <a:gd name="connsiteY61" fmla="*/ 7500 h 22295"/>
                          <a:gd name="connsiteX62" fmla="*/ 22308 w 22667"/>
                          <a:gd name="connsiteY62" fmla="*/ 7201 h 22295"/>
                          <a:gd name="connsiteX63" fmla="*/ 22189 w 22667"/>
                          <a:gd name="connsiteY63" fmla="*/ 6902 h 22295"/>
                          <a:gd name="connsiteX64" fmla="*/ 22069 w 22667"/>
                          <a:gd name="connsiteY64" fmla="*/ 6603 h 22295"/>
                          <a:gd name="connsiteX65" fmla="*/ 21950 w 22667"/>
                          <a:gd name="connsiteY65" fmla="*/ 6304 h 22295"/>
                          <a:gd name="connsiteX66" fmla="*/ 21351 w 22667"/>
                          <a:gd name="connsiteY66" fmla="*/ 5048 h 22295"/>
                          <a:gd name="connsiteX67" fmla="*/ 20574 w 22667"/>
                          <a:gd name="connsiteY67" fmla="*/ 3911 h 22295"/>
                          <a:gd name="connsiteX68" fmla="*/ 19677 w 22667"/>
                          <a:gd name="connsiteY68" fmla="*/ 2895 h 22295"/>
                          <a:gd name="connsiteX69" fmla="*/ 18600 w 22667"/>
                          <a:gd name="connsiteY69" fmla="*/ 1997 h 22295"/>
                          <a:gd name="connsiteX70" fmla="*/ 17763 w 22667"/>
                          <a:gd name="connsiteY70" fmla="*/ 1459 h 22295"/>
                          <a:gd name="connsiteX71" fmla="*/ 16926 w 22667"/>
                          <a:gd name="connsiteY71" fmla="*/ 981 h 22295"/>
                          <a:gd name="connsiteX72" fmla="*/ 16028 w 22667"/>
                          <a:gd name="connsiteY72" fmla="*/ 622 h 22295"/>
                          <a:gd name="connsiteX73" fmla="*/ 15072 w 22667"/>
                          <a:gd name="connsiteY73" fmla="*/ 323 h 22295"/>
                          <a:gd name="connsiteX74" fmla="*/ 10586 w 22667"/>
                          <a:gd name="connsiteY74" fmla="*/ 143 h 22295"/>
                          <a:gd name="connsiteX75" fmla="*/ 6340 w 22667"/>
                          <a:gd name="connsiteY75" fmla="*/ 1639 h 22295"/>
                          <a:gd name="connsiteX76" fmla="*/ 2871 w 22667"/>
                          <a:gd name="connsiteY76" fmla="*/ 4510 h 22295"/>
                          <a:gd name="connsiteX77" fmla="*/ 598 w 22667"/>
                          <a:gd name="connsiteY77" fmla="*/ 8517 h 22295"/>
                          <a:gd name="connsiteX78" fmla="*/ 0 w 22667"/>
                          <a:gd name="connsiteY78" fmla="*/ 11985 h 22295"/>
                          <a:gd name="connsiteX79" fmla="*/ 479 w 22667"/>
                          <a:gd name="connsiteY79" fmla="*/ 15275 h 22295"/>
                          <a:gd name="connsiteX80" fmla="*/ 1914 w 22667"/>
                          <a:gd name="connsiteY80" fmla="*/ 18145 h 22295"/>
                          <a:gd name="connsiteX81" fmla="*/ 3947 w 22667"/>
                          <a:gd name="connsiteY81" fmla="*/ 20358 h 2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2667" h="22295">
                            <a:moveTo>
                              <a:pt x="12560" y="20777"/>
                            </a:moveTo>
                            <a:cubicBezTo>
                              <a:pt x="12201" y="20837"/>
                              <a:pt x="11842" y="20897"/>
                              <a:pt x="11423" y="20957"/>
                            </a:cubicBezTo>
                            <a:cubicBezTo>
                              <a:pt x="11065" y="21016"/>
                              <a:pt x="10646" y="21016"/>
                              <a:pt x="10287" y="21016"/>
                            </a:cubicBezTo>
                            <a:cubicBezTo>
                              <a:pt x="9928" y="21016"/>
                              <a:pt x="9510" y="21016"/>
                              <a:pt x="9151" y="20957"/>
                            </a:cubicBezTo>
                            <a:cubicBezTo>
                              <a:pt x="8792" y="20897"/>
                              <a:pt x="8373" y="20837"/>
                              <a:pt x="8014" y="20777"/>
                            </a:cubicBezTo>
                            <a:cubicBezTo>
                              <a:pt x="7715" y="20717"/>
                              <a:pt x="7416" y="20598"/>
                              <a:pt x="7117" y="20478"/>
                            </a:cubicBezTo>
                            <a:cubicBezTo>
                              <a:pt x="6818" y="20358"/>
                              <a:pt x="6579" y="20239"/>
                              <a:pt x="6280" y="20119"/>
                            </a:cubicBezTo>
                            <a:cubicBezTo>
                              <a:pt x="6041" y="19999"/>
                              <a:pt x="5742" y="19880"/>
                              <a:pt x="5503" y="19700"/>
                            </a:cubicBezTo>
                            <a:cubicBezTo>
                              <a:pt x="5263" y="19581"/>
                              <a:pt x="5024" y="19402"/>
                              <a:pt x="4785" y="19222"/>
                            </a:cubicBezTo>
                            <a:cubicBezTo>
                              <a:pt x="4007" y="18684"/>
                              <a:pt x="3289" y="17966"/>
                              <a:pt x="2751" y="17189"/>
                            </a:cubicBezTo>
                            <a:cubicBezTo>
                              <a:pt x="2213" y="16411"/>
                              <a:pt x="1794" y="15574"/>
                              <a:pt x="1495" y="14617"/>
                            </a:cubicBezTo>
                            <a:cubicBezTo>
                              <a:pt x="1196" y="13720"/>
                              <a:pt x="1076" y="12703"/>
                              <a:pt x="1076" y="11746"/>
                            </a:cubicBezTo>
                            <a:cubicBezTo>
                              <a:pt x="1076" y="10729"/>
                              <a:pt x="1256" y="9713"/>
                              <a:pt x="1615" y="8696"/>
                            </a:cubicBezTo>
                            <a:cubicBezTo>
                              <a:pt x="2034" y="7380"/>
                              <a:pt x="2751" y="6124"/>
                              <a:pt x="3649" y="5108"/>
                            </a:cubicBezTo>
                            <a:cubicBezTo>
                              <a:pt x="4545" y="4091"/>
                              <a:pt x="5562" y="3194"/>
                              <a:pt x="6758" y="2536"/>
                            </a:cubicBezTo>
                            <a:cubicBezTo>
                              <a:pt x="7954" y="1878"/>
                              <a:pt x="9211" y="1399"/>
                              <a:pt x="10526" y="1220"/>
                            </a:cubicBezTo>
                            <a:cubicBezTo>
                              <a:pt x="11842" y="981"/>
                              <a:pt x="13218" y="1041"/>
                              <a:pt x="14533" y="1399"/>
                            </a:cubicBezTo>
                            <a:cubicBezTo>
                              <a:pt x="14832" y="1459"/>
                              <a:pt x="15131" y="1579"/>
                              <a:pt x="15430" y="1639"/>
                            </a:cubicBezTo>
                            <a:cubicBezTo>
                              <a:pt x="15729" y="1758"/>
                              <a:pt x="15969" y="1878"/>
                              <a:pt x="16268" y="1997"/>
                            </a:cubicBezTo>
                            <a:cubicBezTo>
                              <a:pt x="16567" y="2117"/>
                              <a:pt x="16806" y="2237"/>
                              <a:pt x="17045" y="2416"/>
                            </a:cubicBezTo>
                            <a:cubicBezTo>
                              <a:pt x="17284" y="2536"/>
                              <a:pt x="17523" y="2715"/>
                              <a:pt x="17763" y="2895"/>
                            </a:cubicBezTo>
                            <a:cubicBezTo>
                              <a:pt x="18062" y="3134"/>
                              <a:pt x="18301" y="3313"/>
                              <a:pt x="18600" y="3552"/>
                            </a:cubicBezTo>
                            <a:cubicBezTo>
                              <a:pt x="18839" y="3792"/>
                              <a:pt x="19079" y="4031"/>
                              <a:pt x="19318" y="4330"/>
                            </a:cubicBezTo>
                            <a:cubicBezTo>
                              <a:pt x="19557" y="4569"/>
                              <a:pt x="19736" y="4868"/>
                              <a:pt x="19916" y="5167"/>
                            </a:cubicBezTo>
                            <a:cubicBezTo>
                              <a:pt x="20096" y="5466"/>
                              <a:pt x="20275" y="5765"/>
                              <a:pt x="20454" y="6065"/>
                            </a:cubicBezTo>
                            <a:cubicBezTo>
                              <a:pt x="20514" y="6184"/>
                              <a:pt x="20574" y="6244"/>
                              <a:pt x="20574" y="6364"/>
                            </a:cubicBezTo>
                            <a:cubicBezTo>
                              <a:pt x="20634" y="6483"/>
                              <a:pt x="20693" y="6543"/>
                              <a:pt x="20693" y="6663"/>
                            </a:cubicBezTo>
                            <a:cubicBezTo>
                              <a:pt x="20753" y="6782"/>
                              <a:pt x="20753" y="6902"/>
                              <a:pt x="20813" y="6962"/>
                            </a:cubicBezTo>
                            <a:cubicBezTo>
                              <a:pt x="20873" y="7081"/>
                              <a:pt x="20873" y="7201"/>
                              <a:pt x="20933" y="7260"/>
                            </a:cubicBezTo>
                            <a:cubicBezTo>
                              <a:pt x="21052" y="7739"/>
                              <a:pt x="21172" y="8218"/>
                              <a:pt x="21231" y="8696"/>
                            </a:cubicBezTo>
                            <a:cubicBezTo>
                              <a:pt x="21291" y="9174"/>
                              <a:pt x="21351" y="9653"/>
                              <a:pt x="21351" y="10191"/>
                            </a:cubicBezTo>
                            <a:cubicBezTo>
                              <a:pt x="21351" y="10729"/>
                              <a:pt x="21291" y="11208"/>
                              <a:pt x="21231" y="11746"/>
                            </a:cubicBezTo>
                            <a:cubicBezTo>
                              <a:pt x="21172" y="12284"/>
                              <a:pt x="20992" y="12763"/>
                              <a:pt x="20813" y="13301"/>
                            </a:cubicBezTo>
                            <a:cubicBezTo>
                              <a:pt x="20574" y="14019"/>
                              <a:pt x="20275" y="14677"/>
                              <a:pt x="19916" y="15275"/>
                            </a:cubicBezTo>
                            <a:cubicBezTo>
                              <a:pt x="19557" y="15873"/>
                              <a:pt x="19138" y="16471"/>
                              <a:pt x="18660" y="17009"/>
                            </a:cubicBezTo>
                            <a:cubicBezTo>
                              <a:pt x="18182" y="17548"/>
                              <a:pt x="17703" y="18026"/>
                              <a:pt x="17105" y="18444"/>
                            </a:cubicBezTo>
                            <a:cubicBezTo>
                              <a:pt x="16567" y="18863"/>
                              <a:pt x="15969" y="19282"/>
                              <a:pt x="15371" y="19581"/>
                            </a:cubicBezTo>
                            <a:cubicBezTo>
                              <a:pt x="15131" y="19700"/>
                              <a:pt x="14892" y="19820"/>
                              <a:pt x="14713" y="19940"/>
                            </a:cubicBezTo>
                            <a:cubicBezTo>
                              <a:pt x="14474" y="20059"/>
                              <a:pt x="14234" y="20119"/>
                              <a:pt x="13995" y="20239"/>
                            </a:cubicBezTo>
                            <a:cubicBezTo>
                              <a:pt x="13756" y="20299"/>
                              <a:pt x="13516" y="20418"/>
                              <a:pt x="13277" y="20478"/>
                            </a:cubicBezTo>
                            <a:cubicBezTo>
                              <a:pt x="13038" y="20658"/>
                              <a:pt x="12799" y="20717"/>
                              <a:pt x="12560" y="20777"/>
                            </a:cubicBezTo>
                            <a:moveTo>
                              <a:pt x="3947" y="20358"/>
                            </a:moveTo>
                            <a:cubicBezTo>
                              <a:pt x="4187" y="20538"/>
                              <a:pt x="4486" y="20717"/>
                              <a:pt x="4785" y="20897"/>
                            </a:cubicBezTo>
                            <a:cubicBezTo>
                              <a:pt x="5084" y="21076"/>
                              <a:pt x="5383" y="21196"/>
                              <a:pt x="5682" y="21315"/>
                            </a:cubicBezTo>
                            <a:cubicBezTo>
                              <a:pt x="5981" y="21435"/>
                              <a:pt x="6280" y="21554"/>
                              <a:pt x="6639" y="21674"/>
                            </a:cubicBezTo>
                            <a:cubicBezTo>
                              <a:pt x="6998" y="21794"/>
                              <a:pt x="7297" y="21853"/>
                              <a:pt x="7656" y="21973"/>
                            </a:cubicBezTo>
                            <a:cubicBezTo>
                              <a:pt x="8313" y="22153"/>
                              <a:pt x="9031" y="22212"/>
                              <a:pt x="9689" y="22272"/>
                            </a:cubicBezTo>
                            <a:cubicBezTo>
                              <a:pt x="10347" y="22332"/>
                              <a:pt x="11065" y="22272"/>
                              <a:pt x="11722" y="22153"/>
                            </a:cubicBezTo>
                            <a:cubicBezTo>
                              <a:pt x="12380" y="22093"/>
                              <a:pt x="13038" y="21913"/>
                              <a:pt x="13696" y="21734"/>
                            </a:cubicBezTo>
                            <a:cubicBezTo>
                              <a:pt x="14354" y="21554"/>
                              <a:pt x="14952" y="21256"/>
                              <a:pt x="15610" y="20957"/>
                            </a:cubicBezTo>
                            <a:cubicBezTo>
                              <a:pt x="15789" y="20897"/>
                              <a:pt x="15909" y="20777"/>
                              <a:pt x="16088" y="20717"/>
                            </a:cubicBezTo>
                            <a:cubicBezTo>
                              <a:pt x="16268" y="20658"/>
                              <a:pt x="16387" y="20538"/>
                              <a:pt x="16567" y="20418"/>
                            </a:cubicBezTo>
                            <a:cubicBezTo>
                              <a:pt x="16746" y="20299"/>
                              <a:pt x="16866" y="20239"/>
                              <a:pt x="17045" y="20119"/>
                            </a:cubicBezTo>
                            <a:cubicBezTo>
                              <a:pt x="17225" y="19999"/>
                              <a:pt x="17344" y="19940"/>
                              <a:pt x="17464" y="19820"/>
                            </a:cubicBezTo>
                            <a:cubicBezTo>
                              <a:pt x="18002" y="19461"/>
                              <a:pt x="18481" y="19043"/>
                              <a:pt x="18959" y="18564"/>
                            </a:cubicBezTo>
                            <a:cubicBezTo>
                              <a:pt x="19437" y="18086"/>
                              <a:pt x="19856" y="17607"/>
                              <a:pt x="20215" y="17129"/>
                            </a:cubicBezTo>
                            <a:cubicBezTo>
                              <a:pt x="20634" y="16590"/>
                              <a:pt x="20933" y="16052"/>
                              <a:pt x="21291" y="15514"/>
                            </a:cubicBezTo>
                            <a:cubicBezTo>
                              <a:pt x="21591" y="14916"/>
                              <a:pt x="21890" y="14318"/>
                              <a:pt x="22069" y="13720"/>
                            </a:cubicBezTo>
                            <a:cubicBezTo>
                              <a:pt x="22248" y="13182"/>
                              <a:pt x="22368" y="12643"/>
                              <a:pt x="22488" y="12105"/>
                            </a:cubicBezTo>
                            <a:cubicBezTo>
                              <a:pt x="22607" y="11567"/>
                              <a:pt x="22667" y="11028"/>
                              <a:pt x="22667" y="10550"/>
                            </a:cubicBezTo>
                            <a:cubicBezTo>
                              <a:pt x="22667" y="10012"/>
                              <a:pt x="22667" y="9533"/>
                              <a:pt x="22607" y="8995"/>
                            </a:cubicBezTo>
                            <a:cubicBezTo>
                              <a:pt x="22547" y="8517"/>
                              <a:pt x="22488" y="7978"/>
                              <a:pt x="22368" y="7500"/>
                            </a:cubicBezTo>
                            <a:cubicBezTo>
                              <a:pt x="22368" y="7380"/>
                              <a:pt x="22308" y="7260"/>
                              <a:pt x="22308" y="7201"/>
                            </a:cubicBezTo>
                            <a:cubicBezTo>
                              <a:pt x="22248" y="7081"/>
                              <a:pt x="22248" y="6962"/>
                              <a:pt x="22189" y="6902"/>
                            </a:cubicBezTo>
                            <a:cubicBezTo>
                              <a:pt x="22129" y="6782"/>
                              <a:pt x="22129" y="6722"/>
                              <a:pt x="22069" y="6603"/>
                            </a:cubicBezTo>
                            <a:cubicBezTo>
                              <a:pt x="22009" y="6483"/>
                              <a:pt x="22009" y="6423"/>
                              <a:pt x="21950" y="6304"/>
                            </a:cubicBezTo>
                            <a:cubicBezTo>
                              <a:pt x="21770" y="5885"/>
                              <a:pt x="21591" y="5466"/>
                              <a:pt x="21351" y="5048"/>
                            </a:cubicBezTo>
                            <a:cubicBezTo>
                              <a:pt x="21112" y="4629"/>
                              <a:pt x="20873" y="4270"/>
                              <a:pt x="20574" y="3911"/>
                            </a:cubicBezTo>
                            <a:cubicBezTo>
                              <a:pt x="20275" y="3552"/>
                              <a:pt x="19976" y="3194"/>
                              <a:pt x="19677" y="2895"/>
                            </a:cubicBezTo>
                            <a:cubicBezTo>
                              <a:pt x="19318" y="2596"/>
                              <a:pt x="18959" y="2297"/>
                              <a:pt x="18600" y="1997"/>
                            </a:cubicBezTo>
                            <a:cubicBezTo>
                              <a:pt x="18361" y="1818"/>
                              <a:pt x="18062" y="1639"/>
                              <a:pt x="17763" y="1459"/>
                            </a:cubicBezTo>
                            <a:cubicBezTo>
                              <a:pt x="17464" y="1280"/>
                              <a:pt x="17225" y="1160"/>
                              <a:pt x="16926" y="981"/>
                            </a:cubicBezTo>
                            <a:cubicBezTo>
                              <a:pt x="16627" y="861"/>
                              <a:pt x="16328" y="742"/>
                              <a:pt x="16028" y="622"/>
                            </a:cubicBezTo>
                            <a:cubicBezTo>
                              <a:pt x="15729" y="502"/>
                              <a:pt x="15371" y="443"/>
                              <a:pt x="15072" y="323"/>
                            </a:cubicBezTo>
                            <a:cubicBezTo>
                              <a:pt x="13576" y="-36"/>
                              <a:pt x="12081" y="-96"/>
                              <a:pt x="10586" y="143"/>
                            </a:cubicBezTo>
                            <a:cubicBezTo>
                              <a:pt x="9091" y="383"/>
                              <a:pt x="7656" y="861"/>
                              <a:pt x="6340" y="1639"/>
                            </a:cubicBezTo>
                            <a:cubicBezTo>
                              <a:pt x="5024" y="2357"/>
                              <a:pt x="3828" y="3373"/>
                              <a:pt x="2871" y="4510"/>
                            </a:cubicBezTo>
                            <a:cubicBezTo>
                              <a:pt x="1914" y="5646"/>
                              <a:pt x="1076" y="7021"/>
                              <a:pt x="598" y="8517"/>
                            </a:cubicBezTo>
                            <a:cubicBezTo>
                              <a:pt x="180" y="9653"/>
                              <a:pt x="0" y="10849"/>
                              <a:pt x="0" y="11985"/>
                            </a:cubicBezTo>
                            <a:cubicBezTo>
                              <a:pt x="0" y="13122"/>
                              <a:pt x="120" y="14198"/>
                              <a:pt x="479" y="15275"/>
                            </a:cubicBezTo>
                            <a:cubicBezTo>
                              <a:pt x="778" y="16291"/>
                              <a:pt x="1256" y="17249"/>
                              <a:pt x="1914" y="18145"/>
                            </a:cubicBezTo>
                            <a:cubicBezTo>
                              <a:pt x="2333" y="18983"/>
                              <a:pt x="3110" y="19700"/>
                              <a:pt x="3947" y="20358"/>
                            </a:cubicBezTo>
                          </a:path>
                        </a:pathLst>
                      </a:custGeom>
                      <a:noFill/>
                      <a:ln w="6350" cap="flat">
                        <a:solidFill>
                          <a:schemeClr val="bg1">
                            <a:alpha val="40000"/>
                          </a:schemeClr>
                        </a:solidFill>
                        <a:prstDash val="solid"/>
                        <a:miter/>
                      </a:ln>
                    </p:spPr>
                    <p:txBody>
                      <a:bodyPr rtlCol="0" anchor="ctr"/>
                      <a:lstStyle/>
                      <a:p>
                        <a:endParaRPr lang="en-GB"/>
                      </a:p>
                    </p:txBody>
                  </p:sp>
                  <p:sp>
                    <p:nvSpPr>
                      <p:cNvPr id="7501" name="Vrije vorm: vorm 7500">
                        <a:extLst>
                          <a:ext uri="{FF2B5EF4-FFF2-40B4-BE49-F238E27FC236}">
                            <a16:creationId xmlns:a16="http://schemas.microsoft.com/office/drawing/2014/main" id="{80D433FA-9473-4E26-915E-C0C2BC37261B}"/>
                          </a:ext>
                        </a:extLst>
                      </p:cNvPr>
                      <p:cNvSpPr/>
                      <p:nvPr/>
                    </p:nvSpPr>
                    <p:spPr>
                      <a:xfrm>
                        <a:off x="4846198" y="5081799"/>
                        <a:ext cx="17284" cy="17104"/>
                      </a:xfrm>
                      <a:custGeom>
                        <a:avLst/>
                        <a:gdLst>
                          <a:gd name="connsiteX0" fmla="*/ 7476 w 17284"/>
                          <a:gd name="connsiteY0" fmla="*/ 15789 h 17104"/>
                          <a:gd name="connsiteX1" fmla="*/ 7177 w 17284"/>
                          <a:gd name="connsiteY1" fmla="*/ 15789 h 17104"/>
                          <a:gd name="connsiteX2" fmla="*/ 6878 w 17284"/>
                          <a:gd name="connsiteY2" fmla="*/ 15729 h 17104"/>
                          <a:gd name="connsiteX3" fmla="*/ 6579 w 17284"/>
                          <a:gd name="connsiteY3" fmla="*/ 15669 h 17104"/>
                          <a:gd name="connsiteX4" fmla="*/ 6280 w 17284"/>
                          <a:gd name="connsiteY4" fmla="*/ 15610 h 17104"/>
                          <a:gd name="connsiteX5" fmla="*/ 5622 w 17284"/>
                          <a:gd name="connsiteY5" fmla="*/ 15430 h 17104"/>
                          <a:gd name="connsiteX6" fmla="*/ 5024 w 17284"/>
                          <a:gd name="connsiteY6" fmla="*/ 15191 h 17104"/>
                          <a:gd name="connsiteX7" fmla="*/ 4486 w 17284"/>
                          <a:gd name="connsiteY7" fmla="*/ 14892 h 17104"/>
                          <a:gd name="connsiteX8" fmla="*/ 3947 w 17284"/>
                          <a:gd name="connsiteY8" fmla="*/ 14593 h 17104"/>
                          <a:gd name="connsiteX9" fmla="*/ 2452 w 17284"/>
                          <a:gd name="connsiteY9" fmla="*/ 13098 h 17104"/>
                          <a:gd name="connsiteX10" fmla="*/ 1555 w 17284"/>
                          <a:gd name="connsiteY10" fmla="*/ 11244 h 17104"/>
                          <a:gd name="connsiteX11" fmla="*/ 1256 w 17284"/>
                          <a:gd name="connsiteY11" fmla="*/ 9151 h 17104"/>
                          <a:gd name="connsiteX12" fmla="*/ 1615 w 17284"/>
                          <a:gd name="connsiteY12" fmla="*/ 6938 h 17104"/>
                          <a:gd name="connsiteX13" fmla="*/ 2213 w 17284"/>
                          <a:gd name="connsiteY13" fmla="*/ 5562 h 17104"/>
                          <a:gd name="connsiteX14" fmla="*/ 3050 w 17284"/>
                          <a:gd name="connsiteY14" fmla="*/ 4366 h 17104"/>
                          <a:gd name="connsiteX15" fmla="*/ 4067 w 17284"/>
                          <a:gd name="connsiteY15" fmla="*/ 3289 h 17104"/>
                          <a:gd name="connsiteX16" fmla="*/ 5323 w 17284"/>
                          <a:gd name="connsiteY16" fmla="*/ 2452 h 17104"/>
                          <a:gd name="connsiteX17" fmla="*/ 6698 w 17284"/>
                          <a:gd name="connsiteY17" fmla="*/ 1854 h 17104"/>
                          <a:gd name="connsiteX18" fmla="*/ 8134 w 17284"/>
                          <a:gd name="connsiteY18" fmla="*/ 1495 h 17104"/>
                          <a:gd name="connsiteX19" fmla="*/ 9569 w 17284"/>
                          <a:gd name="connsiteY19" fmla="*/ 1435 h 17104"/>
                          <a:gd name="connsiteX20" fmla="*/ 11005 w 17284"/>
                          <a:gd name="connsiteY20" fmla="*/ 1615 h 17104"/>
                          <a:gd name="connsiteX21" fmla="*/ 11603 w 17284"/>
                          <a:gd name="connsiteY21" fmla="*/ 1794 h 17104"/>
                          <a:gd name="connsiteX22" fmla="*/ 12201 w 17284"/>
                          <a:gd name="connsiteY22" fmla="*/ 2034 h 17104"/>
                          <a:gd name="connsiteX23" fmla="*/ 12739 w 17284"/>
                          <a:gd name="connsiteY23" fmla="*/ 2333 h 17104"/>
                          <a:gd name="connsiteX24" fmla="*/ 13277 w 17284"/>
                          <a:gd name="connsiteY24" fmla="*/ 2691 h 17104"/>
                          <a:gd name="connsiteX25" fmla="*/ 13516 w 17284"/>
                          <a:gd name="connsiteY25" fmla="*/ 2871 h 17104"/>
                          <a:gd name="connsiteX26" fmla="*/ 13756 w 17284"/>
                          <a:gd name="connsiteY26" fmla="*/ 3050 h 17104"/>
                          <a:gd name="connsiteX27" fmla="*/ 13995 w 17284"/>
                          <a:gd name="connsiteY27" fmla="*/ 3230 h 17104"/>
                          <a:gd name="connsiteX28" fmla="*/ 14174 w 17284"/>
                          <a:gd name="connsiteY28" fmla="*/ 3409 h 17104"/>
                          <a:gd name="connsiteX29" fmla="*/ 14414 w 17284"/>
                          <a:gd name="connsiteY29" fmla="*/ 3708 h 17104"/>
                          <a:gd name="connsiteX30" fmla="*/ 14653 w 17284"/>
                          <a:gd name="connsiteY30" fmla="*/ 4007 h 17104"/>
                          <a:gd name="connsiteX31" fmla="*/ 14892 w 17284"/>
                          <a:gd name="connsiteY31" fmla="*/ 4366 h 17104"/>
                          <a:gd name="connsiteX32" fmla="*/ 15072 w 17284"/>
                          <a:gd name="connsiteY32" fmla="*/ 4725 h 17104"/>
                          <a:gd name="connsiteX33" fmla="*/ 15072 w 17284"/>
                          <a:gd name="connsiteY33" fmla="*/ 4785 h 17104"/>
                          <a:gd name="connsiteX34" fmla="*/ 15072 w 17284"/>
                          <a:gd name="connsiteY34" fmla="*/ 4844 h 17104"/>
                          <a:gd name="connsiteX35" fmla="*/ 15072 w 17284"/>
                          <a:gd name="connsiteY35" fmla="*/ 4904 h 17104"/>
                          <a:gd name="connsiteX36" fmla="*/ 15072 w 17284"/>
                          <a:gd name="connsiteY36" fmla="*/ 4964 h 17104"/>
                          <a:gd name="connsiteX37" fmla="*/ 15610 w 17284"/>
                          <a:gd name="connsiteY37" fmla="*/ 6280 h 17104"/>
                          <a:gd name="connsiteX38" fmla="*/ 15849 w 17284"/>
                          <a:gd name="connsiteY38" fmla="*/ 7655 h 17104"/>
                          <a:gd name="connsiteX39" fmla="*/ 15789 w 17284"/>
                          <a:gd name="connsiteY39" fmla="*/ 9031 h 17104"/>
                          <a:gd name="connsiteX40" fmla="*/ 15430 w 17284"/>
                          <a:gd name="connsiteY40" fmla="*/ 10406 h 17104"/>
                          <a:gd name="connsiteX41" fmla="*/ 14832 w 17284"/>
                          <a:gd name="connsiteY41" fmla="*/ 11722 h 17104"/>
                          <a:gd name="connsiteX42" fmla="*/ 13995 w 17284"/>
                          <a:gd name="connsiteY42" fmla="*/ 12919 h 17104"/>
                          <a:gd name="connsiteX43" fmla="*/ 12919 w 17284"/>
                          <a:gd name="connsiteY43" fmla="*/ 13935 h 17104"/>
                          <a:gd name="connsiteX44" fmla="*/ 11662 w 17284"/>
                          <a:gd name="connsiteY44" fmla="*/ 14773 h 17104"/>
                          <a:gd name="connsiteX45" fmla="*/ 10885 w 17284"/>
                          <a:gd name="connsiteY45" fmla="*/ 15131 h 17104"/>
                          <a:gd name="connsiteX46" fmla="*/ 10107 w 17284"/>
                          <a:gd name="connsiteY46" fmla="*/ 15430 h 17104"/>
                          <a:gd name="connsiteX47" fmla="*/ 9330 w 17284"/>
                          <a:gd name="connsiteY47" fmla="*/ 15669 h 17104"/>
                          <a:gd name="connsiteX48" fmla="*/ 8493 w 17284"/>
                          <a:gd name="connsiteY48" fmla="*/ 15789 h 17104"/>
                          <a:gd name="connsiteX49" fmla="*/ 8194 w 17284"/>
                          <a:gd name="connsiteY49" fmla="*/ 15789 h 17104"/>
                          <a:gd name="connsiteX50" fmla="*/ 7895 w 17284"/>
                          <a:gd name="connsiteY50" fmla="*/ 15789 h 17104"/>
                          <a:gd name="connsiteX51" fmla="*/ 7596 w 17284"/>
                          <a:gd name="connsiteY51" fmla="*/ 15789 h 17104"/>
                          <a:gd name="connsiteX52" fmla="*/ 7476 w 17284"/>
                          <a:gd name="connsiteY52" fmla="*/ 15789 h 17104"/>
                          <a:gd name="connsiteX53" fmla="*/ 3170 w 17284"/>
                          <a:gd name="connsiteY53" fmla="*/ 15550 h 17104"/>
                          <a:gd name="connsiteX54" fmla="*/ 3768 w 17284"/>
                          <a:gd name="connsiteY54" fmla="*/ 15968 h 17104"/>
                          <a:gd name="connsiteX55" fmla="*/ 4426 w 17284"/>
                          <a:gd name="connsiteY55" fmla="*/ 16328 h 17104"/>
                          <a:gd name="connsiteX56" fmla="*/ 5144 w 17284"/>
                          <a:gd name="connsiteY56" fmla="*/ 16627 h 17104"/>
                          <a:gd name="connsiteX57" fmla="*/ 5921 w 17284"/>
                          <a:gd name="connsiteY57" fmla="*/ 16866 h 17104"/>
                          <a:gd name="connsiteX58" fmla="*/ 6220 w 17284"/>
                          <a:gd name="connsiteY58" fmla="*/ 16926 h 17104"/>
                          <a:gd name="connsiteX59" fmla="*/ 6579 w 17284"/>
                          <a:gd name="connsiteY59" fmla="*/ 16985 h 17104"/>
                          <a:gd name="connsiteX60" fmla="*/ 6938 w 17284"/>
                          <a:gd name="connsiteY60" fmla="*/ 17045 h 17104"/>
                          <a:gd name="connsiteX61" fmla="*/ 7297 w 17284"/>
                          <a:gd name="connsiteY61" fmla="*/ 17105 h 17104"/>
                          <a:gd name="connsiteX62" fmla="*/ 7656 w 17284"/>
                          <a:gd name="connsiteY62" fmla="*/ 17105 h 17104"/>
                          <a:gd name="connsiteX63" fmla="*/ 8014 w 17284"/>
                          <a:gd name="connsiteY63" fmla="*/ 17105 h 17104"/>
                          <a:gd name="connsiteX64" fmla="*/ 8373 w 17284"/>
                          <a:gd name="connsiteY64" fmla="*/ 17105 h 17104"/>
                          <a:gd name="connsiteX65" fmla="*/ 8732 w 17284"/>
                          <a:gd name="connsiteY65" fmla="*/ 17105 h 17104"/>
                          <a:gd name="connsiteX66" fmla="*/ 9689 w 17284"/>
                          <a:gd name="connsiteY66" fmla="*/ 16985 h 17104"/>
                          <a:gd name="connsiteX67" fmla="*/ 10646 w 17284"/>
                          <a:gd name="connsiteY67" fmla="*/ 16746 h 17104"/>
                          <a:gd name="connsiteX68" fmla="*/ 11603 w 17284"/>
                          <a:gd name="connsiteY68" fmla="*/ 16387 h 17104"/>
                          <a:gd name="connsiteX69" fmla="*/ 12500 w 17284"/>
                          <a:gd name="connsiteY69" fmla="*/ 15909 h 17104"/>
                          <a:gd name="connsiteX70" fmla="*/ 13935 w 17284"/>
                          <a:gd name="connsiteY70" fmla="*/ 14892 h 17104"/>
                          <a:gd name="connsiteX71" fmla="*/ 15131 w 17284"/>
                          <a:gd name="connsiteY71" fmla="*/ 13636 h 17104"/>
                          <a:gd name="connsiteX72" fmla="*/ 16088 w 17284"/>
                          <a:gd name="connsiteY72" fmla="*/ 12201 h 17104"/>
                          <a:gd name="connsiteX73" fmla="*/ 16806 w 17284"/>
                          <a:gd name="connsiteY73" fmla="*/ 10646 h 17104"/>
                          <a:gd name="connsiteX74" fmla="*/ 17165 w 17284"/>
                          <a:gd name="connsiteY74" fmla="*/ 9211 h 17104"/>
                          <a:gd name="connsiteX75" fmla="*/ 17284 w 17284"/>
                          <a:gd name="connsiteY75" fmla="*/ 7715 h 17104"/>
                          <a:gd name="connsiteX76" fmla="*/ 17105 w 17284"/>
                          <a:gd name="connsiteY76" fmla="*/ 6280 h 17104"/>
                          <a:gd name="connsiteX77" fmla="*/ 16686 w 17284"/>
                          <a:gd name="connsiteY77" fmla="*/ 4904 h 17104"/>
                          <a:gd name="connsiteX78" fmla="*/ 16627 w 17284"/>
                          <a:gd name="connsiteY78" fmla="*/ 4725 h 17104"/>
                          <a:gd name="connsiteX79" fmla="*/ 16567 w 17284"/>
                          <a:gd name="connsiteY79" fmla="*/ 4545 h 17104"/>
                          <a:gd name="connsiteX80" fmla="*/ 16507 w 17284"/>
                          <a:gd name="connsiteY80" fmla="*/ 4366 h 17104"/>
                          <a:gd name="connsiteX81" fmla="*/ 16447 w 17284"/>
                          <a:gd name="connsiteY81" fmla="*/ 4187 h 17104"/>
                          <a:gd name="connsiteX82" fmla="*/ 16328 w 17284"/>
                          <a:gd name="connsiteY82" fmla="*/ 4007 h 17104"/>
                          <a:gd name="connsiteX83" fmla="*/ 16208 w 17284"/>
                          <a:gd name="connsiteY83" fmla="*/ 3828 h 17104"/>
                          <a:gd name="connsiteX84" fmla="*/ 16088 w 17284"/>
                          <a:gd name="connsiteY84" fmla="*/ 3648 h 17104"/>
                          <a:gd name="connsiteX85" fmla="*/ 15969 w 17284"/>
                          <a:gd name="connsiteY85" fmla="*/ 3469 h 17104"/>
                          <a:gd name="connsiteX86" fmla="*/ 15550 w 17284"/>
                          <a:gd name="connsiteY86" fmla="*/ 2930 h 17104"/>
                          <a:gd name="connsiteX87" fmla="*/ 15131 w 17284"/>
                          <a:gd name="connsiteY87" fmla="*/ 2452 h 17104"/>
                          <a:gd name="connsiteX88" fmla="*/ 14653 w 17284"/>
                          <a:gd name="connsiteY88" fmla="*/ 1974 h 17104"/>
                          <a:gd name="connsiteX89" fmla="*/ 14115 w 17284"/>
                          <a:gd name="connsiteY89" fmla="*/ 1555 h 17104"/>
                          <a:gd name="connsiteX90" fmla="*/ 13516 w 17284"/>
                          <a:gd name="connsiteY90" fmla="*/ 1136 h 17104"/>
                          <a:gd name="connsiteX91" fmla="*/ 12859 w 17284"/>
                          <a:gd name="connsiteY91" fmla="*/ 778 h 17104"/>
                          <a:gd name="connsiteX92" fmla="*/ 12141 w 17284"/>
                          <a:gd name="connsiteY92" fmla="*/ 479 h 17104"/>
                          <a:gd name="connsiteX93" fmla="*/ 11423 w 17284"/>
                          <a:gd name="connsiteY93" fmla="*/ 239 h 17104"/>
                          <a:gd name="connsiteX94" fmla="*/ 9749 w 17284"/>
                          <a:gd name="connsiteY94" fmla="*/ 0 h 17104"/>
                          <a:gd name="connsiteX95" fmla="*/ 8074 w 17284"/>
                          <a:gd name="connsiteY95" fmla="*/ 120 h 17104"/>
                          <a:gd name="connsiteX96" fmla="*/ 6399 w 17284"/>
                          <a:gd name="connsiteY96" fmla="*/ 538 h 17104"/>
                          <a:gd name="connsiteX97" fmla="*/ 4785 w 17284"/>
                          <a:gd name="connsiteY97" fmla="*/ 1256 h 17104"/>
                          <a:gd name="connsiteX98" fmla="*/ 3349 w 17284"/>
                          <a:gd name="connsiteY98" fmla="*/ 2273 h 17104"/>
                          <a:gd name="connsiteX99" fmla="*/ 2093 w 17284"/>
                          <a:gd name="connsiteY99" fmla="*/ 3529 h 17104"/>
                          <a:gd name="connsiteX100" fmla="*/ 1136 w 17284"/>
                          <a:gd name="connsiteY100" fmla="*/ 4964 h 17104"/>
                          <a:gd name="connsiteX101" fmla="*/ 479 w 17284"/>
                          <a:gd name="connsiteY101" fmla="*/ 6519 h 17104"/>
                          <a:gd name="connsiteX102" fmla="*/ 0 w 17284"/>
                          <a:gd name="connsiteY102" fmla="*/ 9151 h 17104"/>
                          <a:gd name="connsiteX103" fmla="*/ 359 w 17284"/>
                          <a:gd name="connsiteY103" fmla="*/ 11603 h 17104"/>
                          <a:gd name="connsiteX104" fmla="*/ 1436 w 17284"/>
                          <a:gd name="connsiteY104" fmla="*/ 13756 h 17104"/>
                          <a:gd name="connsiteX105" fmla="*/ 3170 w 17284"/>
                          <a:gd name="connsiteY105" fmla="*/ 15550 h 1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7284" h="17104">
                            <a:moveTo>
                              <a:pt x="7476" y="15789"/>
                            </a:moveTo>
                            <a:cubicBezTo>
                              <a:pt x="7357" y="15789"/>
                              <a:pt x="7297" y="15789"/>
                              <a:pt x="7177" y="15789"/>
                            </a:cubicBezTo>
                            <a:cubicBezTo>
                              <a:pt x="7058" y="15789"/>
                              <a:pt x="6998" y="15789"/>
                              <a:pt x="6878" y="15729"/>
                            </a:cubicBezTo>
                            <a:cubicBezTo>
                              <a:pt x="6758" y="15729"/>
                              <a:pt x="6698" y="15669"/>
                              <a:pt x="6579" y="15669"/>
                            </a:cubicBezTo>
                            <a:cubicBezTo>
                              <a:pt x="6459" y="15669"/>
                              <a:pt x="6399" y="15610"/>
                              <a:pt x="6280" y="15610"/>
                            </a:cubicBezTo>
                            <a:cubicBezTo>
                              <a:pt x="6041" y="15550"/>
                              <a:pt x="5861" y="15490"/>
                              <a:pt x="5622" y="15430"/>
                            </a:cubicBezTo>
                            <a:cubicBezTo>
                              <a:pt x="5443" y="15370"/>
                              <a:pt x="5203" y="15311"/>
                              <a:pt x="5024" y="15191"/>
                            </a:cubicBezTo>
                            <a:cubicBezTo>
                              <a:pt x="4844" y="15131"/>
                              <a:pt x="4665" y="15012"/>
                              <a:pt x="4486" y="14892"/>
                            </a:cubicBezTo>
                            <a:cubicBezTo>
                              <a:pt x="4306" y="14773"/>
                              <a:pt x="4127" y="14713"/>
                              <a:pt x="3947" y="14593"/>
                            </a:cubicBezTo>
                            <a:cubicBezTo>
                              <a:pt x="3349" y="14174"/>
                              <a:pt x="2871" y="13696"/>
                              <a:pt x="2452" y="13098"/>
                            </a:cubicBezTo>
                            <a:cubicBezTo>
                              <a:pt x="2034" y="12560"/>
                              <a:pt x="1735" y="11902"/>
                              <a:pt x="1555" y="11244"/>
                            </a:cubicBezTo>
                            <a:cubicBezTo>
                              <a:pt x="1376" y="10586"/>
                              <a:pt x="1256" y="9868"/>
                              <a:pt x="1256" y="9151"/>
                            </a:cubicBezTo>
                            <a:cubicBezTo>
                              <a:pt x="1256" y="8433"/>
                              <a:pt x="1376" y="7655"/>
                              <a:pt x="1615" y="6938"/>
                            </a:cubicBezTo>
                            <a:cubicBezTo>
                              <a:pt x="1795" y="6459"/>
                              <a:pt x="1974" y="6041"/>
                              <a:pt x="2213" y="5562"/>
                            </a:cubicBezTo>
                            <a:cubicBezTo>
                              <a:pt x="2452" y="5143"/>
                              <a:pt x="2751" y="4725"/>
                              <a:pt x="3050" y="4366"/>
                            </a:cubicBezTo>
                            <a:cubicBezTo>
                              <a:pt x="3349" y="4007"/>
                              <a:pt x="3708" y="3648"/>
                              <a:pt x="4067" y="3289"/>
                            </a:cubicBezTo>
                            <a:cubicBezTo>
                              <a:pt x="4426" y="2990"/>
                              <a:pt x="4844" y="2691"/>
                              <a:pt x="5323" y="2452"/>
                            </a:cubicBezTo>
                            <a:cubicBezTo>
                              <a:pt x="5801" y="2213"/>
                              <a:pt x="6220" y="1974"/>
                              <a:pt x="6698" y="1854"/>
                            </a:cubicBezTo>
                            <a:cubicBezTo>
                              <a:pt x="7177" y="1675"/>
                              <a:pt x="7656" y="1555"/>
                              <a:pt x="8134" y="1495"/>
                            </a:cubicBezTo>
                            <a:cubicBezTo>
                              <a:pt x="8612" y="1435"/>
                              <a:pt x="9091" y="1376"/>
                              <a:pt x="9569" y="1435"/>
                            </a:cubicBezTo>
                            <a:cubicBezTo>
                              <a:pt x="10048" y="1435"/>
                              <a:pt x="10526" y="1495"/>
                              <a:pt x="11005" y="1615"/>
                            </a:cubicBezTo>
                            <a:cubicBezTo>
                              <a:pt x="11244" y="1675"/>
                              <a:pt x="11423" y="1735"/>
                              <a:pt x="11603" y="1794"/>
                            </a:cubicBezTo>
                            <a:cubicBezTo>
                              <a:pt x="11782" y="1854"/>
                              <a:pt x="12021" y="1974"/>
                              <a:pt x="12201" y="2034"/>
                            </a:cubicBezTo>
                            <a:cubicBezTo>
                              <a:pt x="12380" y="2093"/>
                              <a:pt x="12560" y="2213"/>
                              <a:pt x="12739" y="2333"/>
                            </a:cubicBezTo>
                            <a:cubicBezTo>
                              <a:pt x="12919" y="2452"/>
                              <a:pt x="13098" y="2572"/>
                              <a:pt x="13277" y="2691"/>
                            </a:cubicBezTo>
                            <a:cubicBezTo>
                              <a:pt x="13337" y="2751"/>
                              <a:pt x="13457" y="2811"/>
                              <a:pt x="13516" y="2871"/>
                            </a:cubicBezTo>
                            <a:cubicBezTo>
                              <a:pt x="13576" y="2930"/>
                              <a:pt x="13696" y="2990"/>
                              <a:pt x="13756" y="3050"/>
                            </a:cubicBezTo>
                            <a:cubicBezTo>
                              <a:pt x="13815" y="3110"/>
                              <a:pt x="13875" y="3170"/>
                              <a:pt x="13995" y="3230"/>
                            </a:cubicBezTo>
                            <a:cubicBezTo>
                              <a:pt x="14055" y="3289"/>
                              <a:pt x="14115" y="3349"/>
                              <a:pt x="14174" y="3409"/>
                            </a:cubicBezTo>
                            <a:cubicBezTo>
                              <a:pt x="14294" y="3529"/>
                              <a:pt x="14354" y="3589"/>
                              <a:pt x="14414" y="3708"/>
                            </a:cubicBezTo>
                            <a:cubicBezTo>
                              <a:pt x="14474" y="3828"/>
                              <a:pt x="14593" y="3888"/>
                              <a:pt x="14653" y="4007"/>
                            </a:cubicBezTo>
                            <a:cubicBezTo>
                              <a:pt x="14713" y="4127"/>
                              <a:pt x="14832" y="4246"/>
                              <a:pt x="14892" y="4366"/>
                            </a:cubicBezTo>
                            <a:cubicBezTo>
                              <a:pt x="14952" y="4486"/>
                              <a:pt x="15012" y="4605"/>
                              <a:pt x="15072" y="4725"/>
                            </a:cubicBezTo>
                            <a:cubicBezTo>
                              <a:pt x="15072" y="4725"/>
                              <a:pt x="15072" y="4725"/>
                              <a:pt x="15072" y="4785"/>
                            </a:cubicBezTo>
                            <a:cubicBezTo>
                              <a:pt x="15072" y="4785"/>
                              <a:pt x="15072" y="4785"/>
                              <a:pt x="15072" y="4844"/>
                            </a:cubicBezTo>
                            <a:cubicBezTo>
                              <a:pt x="15072" y="4844"/>
                              <a:pt x="15072" y="4844"/>
                              <a:pt x="15072" y="4904"/>
                            </a:cubicBezTo>
                            <a:cubicBezTo>
                              <a:pt x="15072" y="4904"/>
                              <a:pt x="15072" y="4904"/>
                              <a:pt x="15072" y="4964"/>
                            </a:cubicBezTo>
                            <a:cubicBezTo>
                              <a:pt x="15311" y="5383"/>
                              <a:pt x="15490" y="5801"/>
                              <a:pt x="15610" y="6280"/>
                            </a:cubicBezTo>
                            <a:cubicBezTo>
                              <a:pt x="15729" y="6698"/>
                              <a:pt x="15789" y="7177"/>
                              <a:pt x="15849" y="7655"/>
                            </a:cubicBezTo>
                            <a:cubicBezTo>
                              <a:pt x="15909" y="8134"/>
                              <a:pt x="15849" y="8552"/>
                              <a:pt x="15789" y="9031"/>
                            </a:cubicBezTo>
                            <a:cubicBezTo>
                              <a:pt x="15729" y="9510"/>
                              <a:pt x="15610" y="9988"/>
                              <a:pt x="15430" y="10406"/>
                            </a:cubicBezTo>
                            <a:cubicBezTo>
                              <a:pt x="15251" y="10885"/>
                              <a:pt x="15072" y="11304"/>
                              <a:pt x="14832" y="11722"/>
                            </a:cubicBezTo>
                            <a:cubicBezTo>
                              <a:pt x="14593" y="12141"/>
                              <a:pt x="14294" y="12560"/>
                              <a:pt x="13995" y="12919"/>
                            </a:cubicBezTo>
                            <a:cubicBezTo>
                              <a:pt x="13696" y="13277"/>
                              <a:pt x="13337" y="13636"/>
                              <a:pt x="12919" y="13935"/>
                            </a:cubicBezTo>
                            <a:cubicBezTo>
                              <a:pt x="12560" y="14234"/>
                              <a:pt x="12141" y="14533"/>
                              <a:pt x="11662" y="14773"/>
                            </a:cubicBezTo>
                            <a:cubicBezTo>
                              <a:pt x="11423" y="14892"/>
                              <a:pt x="11184" y="15072"/>
                              <a:pt x="10885" y="15131"/>
                            </a:cubicBezTo>
                            <a:cubicBezTo>
                              <a:pt x="10586" y="15191"/>
                              <a:pt x="10347" y="15370"/>
                              <a:pt x="10107" y="15430"/>
                            </a:cubicBezTo>
                            <a:cubicBezTo>
                              <a:pt x="9868" y="15490"/>
                              <a:pt x="9569" y="15610"/>
                              <a:pt x="9330" y="15669"/>
                            </a:cubicBezTo>
                            <a:cubicBezTo>
                              <a:pt x="9031" y="15729"/>
                              <a:pt x="8792" y="15789"/>
                              <a:pt x="8493" y="15789"/>
                            </a:cubicBezTo>
                            <a:cubicBezTo>
                              <a:pt x="8373" y="15789"/>
                              <a:pt x="8253" y="15789"/>
                              <a:pt x="8194" y="15789"/>
                            </a:cubicBezTo>
                            <a:cubicBezTo>
                              <a:pt x="8074" y="15789"/>
                              <a:pt x="7954" y="15789"/>
                              <a:pt x="7895" y="15789"/>
                            </a:cubicBezTo>
                            <a:cubicBezTo>
                              <a:pt x="7835" y="15789"/>
                              <a:pt x="7656" y="15789"/>
                              <a:pt x="7596" y="15789"/>
                            </a:cubicBezTo>
                            <a:cubicBezTo>
                              <a:pt x="7536" y="15789"/>
                              <a:pt x="7596" y="15789"/>
                              <a:pt x="7476" y="15789"/>
                            </a:cubicBezTo>
                            <a:moveTo>
                              <a:pt x="3170" y="15550"/>
                            </a:moveTo>
                            <a:cubicBezTo>
                              <a:pt x="3349" y="15669"/>
                              <a:pt x="3589" y="15849"/>
                              <a:pt x="3768" y="15968"/>
                            </a:cubicBezTo>
                            <a:cubicBezTo>
                              <a:pt x="4007" y="16088"/>
                              <a:pt x="4187" y="16208"/>
                              <a:pt x="4426" y="16328"/>
                            </a:cubicBezTo>
                            <a:cubicBezTo>
                              <a:pt x="4665" y="16447"/>
                              <a:pt x="4904" y="16507"/>
                              <a:pt x="5144" y="16627"/>
                            </a:cubicBezTo>
                            <a:cubicBezTo>
                              <a:pt x="5383" y="16686"/>
                              <a:pt x="5622" y="16806"/>
                              <a:pt x="5921" y="16866"/>
                            </a:cubicBezTo>
                            <a:cubicBezTo>
                              <a:pt x="6041" y="16866"/>
                              <a:pt x="6160" y="16926"/>
                              <a:pt x="6220" y="16926"/>
                            </a:cubicBezTo>
                            <a:cubicBezTo>
                              <a:pt x="6340" y="16926"/>
                              <a:pt x="6459" y="16985"/>
                              <a:pt x="6579" y="16985"/>
                            </a:cubicBezTo>
                            <a:cubicBezTo>
                              <a:pt x="6698" y="16985"/>
                              <a:pt x="6818" y="17045"/>
                              <a:pt x="6938" y="17045"/>
                            </a:cubicBezTo>
                            <a:cubicBezTo>
                              <a:pt x="7058" y="17045"/>
                              <a:pt x="7177" y="17045"/>
                              <a:pt x="7297" y="17105"/>
                            </a:cubicBezTo>
                            <a:cubicBezTo>
                              <a:pt x="7416" y="17105"/>
                              <a:pt x="7536" y="17105"/>
                              <a:pt x="7656" y="17105"/>
                            </a:cubicBezTo>
                            <a:cubicBezTo>
                              <a:pt x="7775" y="17105"/>
                              <a:pt x="7895" y="17105"/>
                              <a:pt x="8014" y="17105"/>
                            </a:cubicBezTo>
                            <a:cubicBezTo>
                              <a:pt x="8134" y="17105"/>
                              <a:pt x="8253" y="17105"/>
                              <a:pt x="8373" y="17105"/>
                            </a:cubicBezTo>
                            <a:cubicBezTo>
                              <a:pt x="8493" y="17105"/>
                              <a:pt x="8612" y="17105"/>
                              <a:pt x="8732" y="17105"/>
                            </a:cubicBezTo>
                            <a:cubicBezTo>
                              <a:pt x="9031" y="17105"/>
                              <a:pt x="9390" y="17045"/>
                              <a:pt x="9689" y="16985"/>
                            </a:cubicBezTo>
                            <a:cubicBezTo>
                              <a:pt x="9988" y="16926"/>
                              <a:pt x="10347" y="16866"/>
                              <a:pt x="10646" y="16746"/>
                            </a:cubicBezTo>
                            <a:cubicBezTo>
                              <a:pt x="10945" y="16627"/>
                              <a:pt x="11304" y="16507"/>
                              <a:pt x="11603" y="16387"/>
                            </a:cubicBezTo>
                            <a:cubicBezTo>
                              <a:pt x="11902" y="16268"/>
                              <a:pt x="12201" y="16088"/>
                              <a:pt x="12500" y="15909"/>
                            </a:cubicBezTo>
                            <a:cubicBezTo>
                              <a:pt x="13038" y="15610"/>
                              <a:pt x="13516" y="15251"/>
                              <a:pt x="13935" y="14892"/>
                            </a:cubicBezTo>
                            <a:cubicBezTo>
                              <a:pt x="14354" y="14533"/>
                              <a:pt x="14773" y="14114"/>
                              <a:pt x="15131" y="13636"/>
                            </a:cubicBezTo>
                            <a:cubicBezTo>
                              <a:pt x="15490" y="13218"/>
                              <a:pt x="15849" y="12739"/>
                              <a:pt x="16088" y="12201"/>
                            </a:cubicBezTo>
                            <a:cubicBezTo>
                              <a:pt x="16387" y="11722"/>
                              <a:pt x="16627" y="11184"/>
                              <a:pt x="16806" y="10646"/>
                            </a:cubicBezTo>
                            <a:cubicBezTo>
                              <a:pt x="16985" y="10167"/>
                              <a:pt x="17105" y="9689"/>
                              <a:pt x="17165" y="9211"/>
                            </a:cubicBezTo>
                            <a:cubicBezTo>
                              <a:pt x="17225" y="8732"/>
                              <a:pt x="17284" y="8253"/>
                              <a:pt x="17284" y="7715"/>
                            </a:cubicBezTo>
                            <a:cubicBezTo>
                              <a:pt x="17284" y="7177"/>
                              <a:pt x="17225" y="6758"/>
                              <a:pt x="17105" y="6280"/>
                            </a:cubicBezTo>
                            <a:cubicBezTo>
                              <a:pt x="16985" y="5801"/>
                              <a:pt x="16866" y="5323"/>
                              <a:pt x="16686" y="4904"/>
                            </a:cubicBezTo>
                            <a:cubicBezTo>
                              <a:pt x="16686" y="4844"/>
                              <a:pt x="16627" y="4785"/>
                              <a:pt x="16627" y="4725"/>
                            </a:cubicBezTo>
                            <a:cubicBezTo>
                              <a:pt x="16627" y="4665"/>
                              <a:pt x="16567" y="4605"/>
                              <a:pt x="16567" y="4545"/>
                            </a:cubicBezTo>
                            <a:cubicBezTo>
                              <a:pt x="16567" y="4486"/>
                              <a:pt x="16507" y="4426"/>
                              <a:pt x="16507" y="4366"/>
                            </a:cubicBezTo>
                            <a:cubicBezTo>
                              <a:pt x="16507" y="4306"/>
                              <a:pt x="16447" y="4246"/>
                              <a:pt x="16447" y="4187"/>
                            </a:cubicBezTo>
                            <a:cubicBezTo>
                              <a:pt x="16387" y="4127"/>
                              <a:pt x="16387" y="4067"/>
                              <a:pt x="16328" y="4007"/>
                            </a:cubicBezTo>
                            <a:cubicBezTo>
                              <a:pt x="16268" y="3947"/>
                              <a:pt x="16268" y="3888"/>
                              <a:pt x="16208" y="3828"/>
                            </a:cubicBezTo>
                            <a:cubicBezTo>
                              <a:pt x="16148" y="3768"/>
                              <a:pt x="16148" y="3708"/>
                              <a:pt x="16088" y="3648"/>
                            </a:cubicBezTo>
                            <a:cubicBezTo>
                              <a:pt x="16029" y="3589"/>
                              <a:pt x="16029" y="3529"/>
                              <a:pt x="15969" y="3469"/>
                            </a:cubicBezTo>
                            <a:cubicBezTo>
                              <a:pt x="15849" y="3289"/>
                              <a:pt x="15729" y="3110"/>
                              <a:pt x="15550" y="2930"/>
                            </a:cubicBezTo>
                            <a:cubicBezTo>
                              <a:pt x="15371" y="2751"/>
                              <a:pt x="15251" y="2572"/>
                              <a:pt x="15131" y="2452"/>
                            </a:cubicBezTo>
                            <a:cubicBezTo>
                              <a:pt x="14952" y="2273"/>
                              <a:pt x="14832" y="2153"/>
                              <a:pt x="14653" y="1974"/>
                            </a:cubicBezTo>
                            <a:cubicBezTo>
                              <a:pt x="14474" y="1794"/>
                              <a:pt x="14294" y="1675"/>
                              <a:pt x="14115" y="1555"/>
                            </a:cubicBezTo>
                            <a:cubicBezTo>
                              <a:pt x="13935" y="1435"/>
                              <a:pt x="13696" y="1256"/>
                              <a:pt x="13516" y="1136"/>
                            </a:cubicBezTo>
                            <a:cubicBezTo>
                              <a:pt x="13277" y="1017"/>
                              <a:pt x="13098" y="897"/>
                              <a:pt x="12859" y="778"/>
                            </a:cubicBezTo>
                            <a:cubicBezTo>
                              <a:pt x="12620" y="658"/>
                              <a:pt x="12380" y="598"/>
                              <a:pt x="12141" y="479"/>
                            </a:cubicBezTo>
                            <a:cubicBezTo>
                              <a:pt x="11902" y="359"/>
                              <a:pt x="11662" y="299"/>
                              <a:pt x="11423" y="239"/>
                            </a:cubicBezTo>
                            <a:cubicBezTo>
                              <a:pt x="10885" y="120"/>
                              <a:pt x="10347" y="60"/>
                              <a:pt x="9749" y="0"/>
                            </a:cubicBezTo>
                            <a:cubicBezTo>
                              <a:pt x="9211" y="0"/>
                              <a:pt x="8612" y="0"/>
                              <a:pt x="8074" y="120"/>
                            </a:cubicBezTo>
                            <a:cubicBezTo>
                              <a:pt x="7536" y="180"/>
                              <a:pt x="6938" y="359"/>
                              <a:pt x="6399" y="538"/>
                            </a:cubicBezTo>
                            <a:cubicBezTo>
                              <a:pt x="5861" y="718"/>
                              <a:pt x="5323" y="957"/>
                              <a:pt x="4785" y="1256"/>
                            </a:cubicBezTo>
                            <a:cubicBezTo>
                              <a:pt x="4246" y="1555"/>
                              <a:pt x="3768" y="1914"/>
                              <a:pt x="3349" y="2273"/>
                            </a:cubicBezTo>
                            <a:cubicBezTo>
                              <a:pt x="2871" y="2632"/>
                              <a:pt x="2512" y="3050"/>
                              <a:pt x="2093" y="3529"/>
                            </a:cubicBezTo>
                            <a:cubicBezTo>
                              <a:pt x="1735" y="3947"/>
                              <a:pt x="1376" y="4426"/>
                              <a:pt x="1136" y="4964"/>
                            </a:cubicBezTo>
                            <a:cubicBezTo>
                              <a:pt x="897" y="5502"/>
                              <a:pt x="658" y="5981"/>
                              <a:pt x="479" y="6519"/>
                            </a:cubicBezTo>
                            <a:cubicBezTo>
                              <a:pt x="180" y="7416"/>
                              <a:pt x="60" y="8253"/>
                              <a:pt x="0" y="9151"/>
                            </a:cubicBezTo>
                            <a:cubicBezTo>
                              <a:pt x="0" y="9988"/>
                              <a:pt x="120" y="10825"/>
                              <a:pt x="359" y="11603"/>
                            </a:cubicBezTo>
                            <a:cubicBezTo>
                              <a:pt x="598" y="12380"/>
                              <a:pt x="957" y="13098"/>
                              <a:pt x="1436" y="13756"/>
                            </a:cubicBezTo>
                            <a:cubicBezTo>
                              <a:pt x="1974" y="14533"/>
                              <a:pt x="2512" y="15072"/>
                              <a:pt x="3170" y="15550"/>
                            </a:cubicBezTo>
                          </a:path>
                        </a:pathLst>
                      </a:custGeom>
                      <a:noFill/>
                      <a:ln w="6350" cap="flat">
                        <a:solidFill>
                          <a:schemeClr val="bg1">
                            <a:alpha val="40000"/>
                          </a:schemeClr>
                        </a:solidFill>
                        <a:prstDash val="solid"/>
                        <a:miter/>
                      </a:ln>
                    </p:spPr>
                    <p:txBody>
                      <a:bodyPr rtlCol="0" anchor="ctr"/>
                      <a:lstStyle/>
                      <a:p>
                        <a:endParaRPr lang="en-GB"/>
                      </a:p>
                    </p:txBody>
                  </p:sp>
                  <p:sp>
                    <p:nvSpPr>
                      <p:cNvPr id="7502" name="Vrije vorm: vorm 7501">
                        <a:extLst>
                          <a:ext uri="{FF2B5EF4-FFF2-40B4-BE49-F238E27FC236}">
                            <a16:creationId xmlns:a16="http://schemas.microsoft.com/office/drawing/2014/main" id="{80AD85E0-F218-4D75-84CD-ECB633CF9CC4}"/>
                          </a:ext>
                        </a:extLst>
                      </p:cNvPr>
                      <p:cNvSpPr/>
                      <p:nvPr/>
                    </p:nvSpPr>
                    <p:spPr>
                      <a:xfrm>
                        <a:off x="4974605" y="5074563"/>
                        <a:ext cx="48339" cy="49303"/>
                      </a:xfrm>
                      <a:custGeom>
                        <a:avLst/>
                        <a:gdLst>
                          <a:gd name="connsiteX0" fmla="*/ 44855 w 48339"/>
                          <a:gd name="connsiteY0" fmla="*/ 11902 h 49303"/>
                          <a:gd name="connsiteX1" fmla="*/ 46171 w 48339"/>
                          <a:gd name="connsiteY1" fmla="*/ 15191 h 49303"/>
                          <a:gd name="connsiteX2" fmla="*/ 46889 w 48339"/>
                          <a:gd name="connsiteY2" fmla="*/ 18719 h 49303"/>
                          <a:gd name="connsiteX3" fmla="*/ 47068 w 48339"/>
                          <a:gd name="connsiteY3" fmla="*/ 22428 h 49303"/>
                          <a:gd name="connsiteX4" fmla="*/ 46590 w 48339"/>
                          <a:gd name="connsiteY4" fmla="*/ 26255 h 49303"/>
                          <a:gd name="connsiteX5" fmla="*/ 45274 w 48339"/>
                          <a:gd name="connsiteY5" fmla="*/ 30800 h 49303"/>
                          <a:gd name="connsiteX6" fmla="*/ 43181 w 48339"/>
                          <a:gd name="connsiteY6" fmla="*/ 35047 h 49303"/>
                          <a:gd name="connsiteX7" fmla="*/ 40370 w 48339"/>
                          <a:gd name="connsiteY7" fmla="*/ 38875 h 49303"/>
                          <a:gd name="connsiteX8" fmla="*/ 36901 w 48339"/>
                          <a:gd name="connsiteY8" fmla="*/ 42224 h 49303"/>
                          <a:gd name="connsiteX9" fmla="*/ 32954 w 48339"/>
                          <a:gd name="connsiteY9" fmla="*/ 44915 h 49303"/>
                          <a:gd name="connsiteX10" fmla="*/ 28707 w 48339"/>
                          <a:gd name="connsiteY10" fmla="*/ 46829 h 49303"/>
                          <a:gd name="connsiteX11" fmla="*/ 24282 w 48339"/>
                          <a:gd name="connsiteY11" fmla="*/ 47905 h 49303"/>
                          <a:gd name="connsiteX12" fmla="*/ 19796 w 48339"/>
                          <a:gd name="connsiteY12" fmla="*/ 48085 h 49303"/>
                          <a:gd name="connsiteX13" fmla="*/ 16746 w 48339"/>
                          <a:gd name="connsiteY13" fmla="*/ 47726 h 49303"/>
                          <a:gd name="connsiteX14" fmla="*/ 13875 w 48339"/>
                          <a:gd name="connsiteY14" fmla="*/ 46949 h 49303"/>
                          <a:gd name="connsiteX15" fmla="*/ 11244 w 48339"/>
                          <a:gd name="connsiteY15" fmla="*/ 45752 h 49303"/>
                          <a:gd name="connsiteX16" fmla="*/ 8851 w 48339"/>
                          <a:gd name="connsiteY16" fmla="*/ 44257 h 49303"/>
                          <a:gd name="connsiteX17" fmla="*/ 8612 w 48339"/>
                          <a:gd name="connsiteY17" fmla="*/ 44078 h 49303"/>
                          <a:gd name="connsiteX18" fmla="*/ 8373 w 48339"/>
                          <a:gd name="connsiteY18" fmla="*/ 43898 h 49303"/>
                          <a:gd name="connsiteX19" fmla="*/ 8134 w 48339"/>
                          <a:gd name="connsiteY19" fmla="*/ 43719 h 49303"/>
                          <a:gd name="connsiteX20" fmla="*/ 7895 w 48339"/>
                          <a:gd name="connsiteY20" fmla="*/ 43539 h 49303"/>
                          <a:gd name="connsiteX21" fmla="*/ 7536 w 48339"/>
                          <a:gd name="connsiteY21" fmla="*/ 43240 h 49303"/>
                          <a:gd name="connsiteX22" fmla="*/ 7177 w 48339"/>
                          <a:gd name="connsiteY22" fmla="*/ 42942 h 49303"/>
                          <a:gd name="connsiteX23" fmla="*/ 6878 w 48339"/>
                          <a:gd name="connsiteY23" fmla="*/ 42642 h 49303"/>
                          <a:gd name="connsiteX24" fmla="*/ 6579 w 48339"/>
                          <a:gd name="connsiteY24" fmla="*/ 42343 h 49303"/>
                          <a:gd name="connsiteX25" fmla="*/ 4844 w 48339"/>
                          <a:gd name="connsiteY25" fmla="*/ 40310 h 49303"/>
                          <a:gd name="connsiteX26" fmla="*/ 3409 w 48339"/>
                          <a:gd name="connsiteY26" fmla="*/ 38037 h 49303"/>
                          <a:gd name="connsiteX27" fmla="*/ 2273 w 48339"/>
                          <a:gd name="connsiteY27" fmla="*/ 35526 h 49303"/>
                          <a:gd name="connsiteX28" fmla="*/ 1495 w 48339"/>
                          <a:gd name="connsiteY28" fmla="*/ 32834 h 49303"/>
                          <a:gd name="connsiteX29" fmla="*/ 1435 w 48339"/>
                          <a:gd name="connsiteY29" fmla="*/ 32535 h 49303"/>
                          <a:gd name="connsiteX30" fmla="*/ 1375 w 48339"/>
                          <a:gd name="connsiteY30" fmla="*/ 32236 h 49303"/>
                          <a:gd name="connsiteX31" fmla="*/ 1316 w 48339"/>
                          <a:gd name="connsiteY31" fmla="*/ 31937 h 49303"/>
                          <a:gd name="connsiteX32" fmla="*/ 1256 w 48339"/>
                          <a:gd name="connsiteY32" fmla="*/ 31638 h 49303"/>
                          <a:gd name="connsiteX33" fmla="*/ 1017 w 48339"/>
                          <a:gd name="connsiteY33" fmla="*/ 29664 h 49303"/>
                          <a:gd name="connsiteX34" fmla="*/ 957 w 48339"/>
                          <a:gd name="connsiteY34" fmla="*/ 27631 h 49303"/>
                          <a:gd name="connsiteX35" fmla="*/ 1076 w 48339"/>
                          <a:gd name="connsiteY35" fmla="*/ 25537 h 49303"/>
                          <a:gd name="connsiteX36" fmla="*/ 1375 w 48339"/>
                          <a:gd name="connsiteY36" fmla="*/ 23444 h 49303"/>
                          <a:gd name="connsiteX37" fmla="*/ 1555 w 48339"/>
                          <a:gd name="connsiteY37" fmla="*/ 22428 h 49303"/>
                          <a:gd name="connsiteX38" fmla="*/ 1794 w 48339"/>
                          <a:gd name="connsiteY38" fmla="*/ 21411 h 49303"/>
                          <a:gd name="connsiteX39" fmla="*/ 2093 w 48339"/>
                          <a:gd name="connsiteY39" fmla="*/ 20454 h 49303"/>
                          <a:gd name="connsiteX40" fmla="*/ 2392 w 48339"/>
                          <a:gd name="connsiteY40" fmla="*/ 19497 h 49303"/>
                          <a:gd name="connsiteX41" fmla="*/ 2512 w 48339"/>
                          <a:gd name="connsiteY41" fmla="*/ 19198 h 49303"/>
                          <a:gd name="connsiteX42" fmla="*/ 2632 w 48339"/>
                          <a:gd name="connsiteY42" fmla="*/ 18899 h 49303"/>
                          <a:gd name="connsiteX43" fmla="*/ 2751 w 48339"/>
                          <a:gd name="connsiteY43" fmla="*/ 18600 h 49303"/>
                          <a:gd name="connsiteX44" fmla="*/ 2871 w 48339"/>
                          <a:gd name="connsiteY44" fmla="*/ 18301 h 49303"/>
                          <a:gd name="connsiteX45" fmla="*/ 4725 w 48339"/>
                          <a:gd name="connsiteY45" fmla="*/ 14593 h 49303"/>
                          <a:gd name="connsiteX46" fmla="*/ 7117 w 48339"/>
                          <a:gd name="connsiteY46" fmla="*/ 11184 h 49303"/>
                          <a:gd name="connsiteX47" fmla="*/ 9928 w 48339"/>
                          <a:gd name="connsiteY47" fmla="*/ 8194 h 49303"/>
                          <a:gd name="connsiteX48" fmla="*/ 13158 w 48339"/>
                          <a:gd name="connsiteY48" fmla="*/ 5681 h 49303"/>
                          <a:gd name="connsiteX49" fmla="*/ 13576 w 48339"/>
                          <a:gd name="connsiteY49" fmla="*/ 5382 h 49303"/>
                          <a:gd name="connsiteX50" fmla="*/ 13995 w 48339"/>
                          <a:gd name="connsiteY50" fmla="*/ 5083 h 49303"/>
                          <a:gd name="connsiteX51" fmla="*/ 14413 w 48339"/>
                          <a:gd name="connsiteY51" fmla="*/ 4844 h 49303"/>
                          <a:gd name="connsiteX52" fmla="*/ 14832 w 48339"/>
                          <a:gd name="connsiteY52" fmla="*/ 4605 h 49303"/>
                          <a:gd name="connsiteX53" fmla="*/ 15789 w 48339"/>
                          <a:gd name="connsiteY53" fmla="*/ 4067 h 49303"/>
                          <a:gd name="connsiteX54" fmla="*/ 16746 w 48339"/>
                          <a:gd name="connsiteY54" fmla="*/ 3588 h 49303"/>
                          <a:gd name="connsiteX55" fmla="*/ 17703 w 48339"/>
                          <a:gd name="connsiteY55" fmla="*/ 3170 h 49303"/>
                          <a:gd name="connsiteX56" fmla="*/ 18720 w 48339"/>
                          <a:gd name="connsiteY56" fmla="*/ 2751 h 49303"/>
                          <a:gd name="connsiteX57" fmla="*/ 19079 w 48339"/>
                          <a:gd name="connsiteY57" fmla="*/ 2632 h 49303"/>
                          <a:gd name="connsiteX58" fmla="*/ 19437 w 48339"/>
                          <a:gd name="connsiteY58" fmla="*/ 2512 h 49303"/>
                          <a:gd name="connsiteX59" fmla="*/ 19796 w 48339"/>
                          <a:gd name="connsiteY59" fmla="*/ 2392 h 49303"/>
                          <a:gd name="connsiteX60" fmla="*/ 20155 w 48339"/>
                          <a:gd name="connsiteY60" fmla="*/ 2272 h 49303"/>
                          <a:gd name="connsiteX61" fmla="*/ 22189 w 48339"/>
                          <a:gd name="connsiteY61" fmla="*/ 1734 h 49303"/>
                          <a:gd name="connsiteX62" fmla="*/ 24282 w 48339"/>
                          <a:gd name="connsiteY62" fmla="*/ 1375 h 49303"/>
                          <a:gd name="connsiteX63" fmla="*/ 26375 w 48339"/>
                          <a:gd name="connsiteY63" fmla="*/ 1256 h 49303"/>
                          <a:gd name="connsiteX64" fmla="*/ 28468 w 48339"/>
                          <a:gd name="connsiteY64" fmla="*/ 1316 h 49303"/>
                          <a:gd name="connsiteX65" fmla="*/ 28887 w 48339"/>
                          <a:gd name="connsiteY65" fmla="*/ 1375 h 49303"/>
                          <a:gd name="connsiteX66" fmla="*/ 29305 w 48339"/>
                          <a:gd name="connsiteY66" fmla="*/ 1435 h 49303"/>
                          <a:gd name="connsiteX67" fmla="*/ 29724 w 48339"/>
                          <a:gd name="connsiteY67" fmla="*/ 1495 h 49303"/>
                          <a:gd name="connsiteX68" fmla="*/ 30143 w 48339"/>
                          <a:gd name="connsiteY68" fmla="*/ 1555 h 49303"/>
                          <a:gd name="connsiteX69" fmla="*/ 30442 w 48339"/>
                          <a:gd name="connsiteY69" fmla="*/ 1615 h 49303"/>
                          <a:gd name="connsiteX70" fmla="*/ 30741 w 48339"/>
                          <a:gd name="connsiteY70" fmla="*/ 1674 h 49303"/>
                          <a:gd name="connsiteX71" fmla="*/ 31040 w 48339"/>
                          <a:gd name="connsiteY71" fmla="*/ 1734 h 49303"/>
                          <a:gd name="connsiteX72" fmla="*/ 31339 w 48339"/>
                          <a:gd name="connsiteY72" fmla="*/ 1794 h 49303"/>
                          <a:gd name="connsiteX73" fmla="*/ 33313 w 48339"/>
                          <a:gd name="connsiteY73" fmla="*/ 2332 h 49303"/>
                          <a:gd name="connsiteX74" fmla="*/ 35227 w 48339"/>
                          <a:gd name="connsiteY74" fmla="*/ 3050 h 49303"/>
                          <a:gd name="connsiteX75" fmla="*/ 37021 w 48339"/>
                          <a:gd name="connsiteY75" fmla="*/ 3947 h 49303"/>
                          <a:gd name="connsiteX76" fmla="*/ 38695 w 48339"/>
                          <a:gd name="connsiteY76" fmla="*/ 5024 h 49303"/>
                          <a:gd name="connsiteX77" fmla="*/ 38875 w 48339"/>
                          <a:gd name="connsiteY77" fmla="*/ 5143 h 49303"/>
                          <a:gd name="connsiteX78" fmla="*/ 39054 w 48339"/>
                          <a:gd name="connsiteY78" fmla="*/ 5263 h 49303"/>
                          <a:gd name="connsiteX79" fmla="*/ 39234 w 48339"/>
                          <a:gd name="connsiteY79" fmla="*/ 5382 h 49303"/>
                          <a:gd name="connsiteX80" fmla="*/ 39413 w 48339"/>
                          <a:gd name="connsiteY80" fmla="*/ 5502 h 49303"/>
                          <a:gd name="connsiteX81" fmla="*/ 39473 w 48339"/>
                          <a:gd name="connsiteY81" fmla="*/ 5562 h 49303"/>
                          <a:gd name="connsiteX82" fmla="*/ 39532 w 48339"/>
                          <a:gd name="connsiteY82" fmla="*/ 5622 h 49303"/>
                          <a:gd name="connsiteX83" fmla="*/ 39592 w 48339"/>
                          <a:gd name="connsiteY83" fmla="*/ 5681 h 49303"/>
                          <a:gd name="connsiteX84" fmla="*/ 39652 w 48339"/>
                          <a:gd name="connsiteY84" fmla="*/ 5741 h 49303"/>
                          <a:gd name="connsiteX85" fmla="*/ 40609 w 48339"/>
                          <a:gd name="connsiteY85" fmla="*/ 6579 h 49303"/>
                          <a:gd name="connsiteX86" fmla="*/ 41506 w 48339"/>
                          <a:gd name="connsiteY86" fmla="*/ 7476 h 49303"/>
                          <a:gd name="connsiteX87" fmla="*/ 42344 w 48339"/>
                          <a:gd name="connsiteY87" fmla="*/ 8433 h 49303"/>
                          <a:gd name="connsiteX88" fmla="*/ 43121 w 48339"/>
                          <a:gd name="connsiteY88" fmla="*/ 9449 h 49303"/>
                          <a:gd name="connsiteX89" fmla="*/ 43360 w 48339"/>
                          <a:gd name="connsiteY89" fmla="*/ 9808 h 49303"/>
                          <a:gd name="connsiteX90" fmla="*/ 43599 w 48339"/>
                          <a:gd name="connsiteY90" fmla="*/ 10167 h 49303"/>
                          <a:gd name="connsiteX91" fmla="*/ 43839 w 48339"/>
                          <a:gd name="connsiteY91" fmla="*/ 10526 h 49303"/>
                          <a:gd name="connsiteX92" fmla="*/ 44018 w 48339"/>
                          <a:gd name="connsiteY92" fmla="*/ 10885 h 49303"/>
                          <a:gd name="connsiteX93" fmla="*/ 44198 w 48339"/>
                          <a:gd name="connsiteY93" fmla="*/ 11184 h 49303"/>
                          <a:gd name="connsiteX94" fmla="*/ 44377 w 48339"/>
                          <a:gd name="connsiteY94" fmla="*/ 11483 h 49303"/>
                          <a:gd name="connsiteX95" fmla="*/ 44556 w 48339"/>
                          <a:gd name="connsiteY95" fmla="*/ 11782 h 49303"/>
                          <a:gd name="connsiteX96" fmla="*/ 44855 w 48339"/>
                          <a:gd name="connsiteY96" fmla="*/ 11902 h 49303"/>
                          <a:gd name="connsiteX97" fmla="*/ 8373 w 48339"/>
                          <a:gd name="connsiteY97" fmla="*/ 45154 h 49303"/>
                          <a:gd name="connsiteX98" fmla="*/ 10885 w 48339"/>
                          <a:gd name="connsiteY98" fmla="*/ 46769 h 49303"/>
                          <a:gd name="connsiteX99" fmla="*/ 13636 w 48339"/>
                          <a:gd name="connsiteY99" fmla="*/ 48025 h 49303"/>
                          <a:gd name="connsiteX100" fmla="*/ 16626 w 48339"/>
                          <a:gd name="connsiteY100" fmla="*/ 48862 h 49303"/>
                          <a:gd name="connsiteX101" fmla="*/ 19796 w 48339"/>
                          <a:gd name="connsiteY101" fmla="*/ 49281 h 49303"/>
                          <a:gd name="connsiteX102" fmla="*/ 24521 w 48339"/>
                          <a:gd name="connsiteY102" fmla="*/ 49101 h 49303"/>
                          <a:gd name="connsiteX103" fmla="*/ 29126 w 48339"/>
                          <a:gd name="connsiteY103" fmla="*/ 47965 h 49303"/>
                          <a:gd name="connsiteX104" fmla="*/ 33552 w 48339"/>
                          <a:gd name="connsiteY104" fmla="*/ 45992 h 49303"/>
                          <a:gd name="connsiteX105" fmla="*/ 37678 w 48339"/>
                          <a:gd name="connsiteY105" fmla="*/ 43121 h 49303"/>
                          <a:gd name="connsiteX106" fmla="*/ 41327 w 48339"/>
                          <a:gd name="connsiteY106" fmla="*/ 39592 h 49303"/>
                          <a:gd name="connsiteX107" fmla="*/ 44257 w 48339"/>
                          <a:gd name="connsiteY107" fmla="*/ 35585 h 49303"/>
                          <a:gd name="connsiteX108" fmla="*/ 46470 w 48339"/>
                          <a:gd name="connsiteY108" fmla="*/ 31159 h 49303"/>
                          <a:gd name="connsiteX109" fmla="*/ 47846 w 48339"/>
                          <a:gd name="connsiteY109" fmla="*/ 26435 h 49303"/>
                          <a:gd name="connsiteX110" fmla="*/ 48324 w 48339"/>
                          <a:gd name="connsiteY110" fmla="*/ 22188 h 49303"/>
                          <a:gd name="connsiteX111" fmla="*/ 48085 w 48339"/>
                          <a:gd name="connsiteY111" fmla="*/ 18062 h 49303"/>
                          <a:gd name="connsiteX112" fmla="*/ 47188 w 48339"/>
                          <a:gd name="connsiteY112" fmla="*/ 14174 h 49303"/>
                          <a:gd name="connsiteX113" fmla="*/ 45573 w 48339"/>
                          <a:gd name="connsiteY113" fmla="*/ 10526 h 49303"/>
                          <a:gd name="connsiteX114" fmla="*/ 45393 w 48339"/>
                          <a:gd name="connsiteY114" fmla="*/ 10227 h 49303"/>
                          <a:gd name="connsiteX115" fmla="*/ 45214 w 48339"/>
                          <a:gd name="connsiteY115" fmla="*/ 9928 h 49303"/>
                          <a:gd name="connsiteX116" fmla="*/ 45035 w 48339"/>
                          <a:gd name="connsiteY116" fmla="*/ 9629 h 49303"/>
                          <a:gd name="connsiteX117" fmla="*/ 44855 w 48339"/>
                          <a:gd name="connsiteY117" fmla="*/ 9330 h 49303"/>
                          <a:gd name="connsiteX118" fmla="*/ 44736 w 48339"/>
                          <a:gd name="connsiteY118" fmla="*/ 9150 h 49303"/>
                          <a:gd name="connsiteX119" fmla="*/ 44616 w 48339"/>
                          <a:gd name="connsiteY119" fmla="*/ 8971 h 49303"/>
                          <a:gd name="connsiteX120" fmla="*/ 44497 w 48339"/>
                          <a:gd name="connsiteY120" fmla="*/ 8791 h 49303"/>
                          <a:gd name="connsiteX121" fmla="*/ 44377 w 48339"/>
                          <a:gd name="connsiteY121" fmla="*/ 8612 h 49303"/>
                          <a:gd name="connsiteX122" fmla="*/ 43539 w 48339"/>
                          <a:gd name="connsiteY122" fmla="*/ 7476 h 49303"/>
                          <a:gd name="connsiteX123" fmla="*/ 42583 w 48339"/>
                          <a:gd name="connsiteY123" fmla="*/ 6399 h 49303"/>
                          <a:gd name="connsiteX124" fmla="*/ 41566 w 48339"/>
                          <a:gd name="connsiteY124" fmla="*/ 5382 h 49303"/>
                          <a:gd name="connsiteX125" fmla="*/ 40490 w 48339"/>
                          <a:gd name="connsiteY125" fmla="*/ 4486 h 49303"/>
                          <a:gd name="connsiteX126" fmla="*/ 40490 w 48339"/>
                          <a:gd name="connsiteY126" fmla="*/ 4486 h 49303"/>
                          <a:gd name="connsiteX127" fmla="*/ 40490 w 48339"/>
                          <a:gd name="connsiteY127" fmla="*/ 4486 h 49303"/>
                          <a:gd name="connsiteX128" fmla="*/ 40490 w 48339"/>
                          <a:gd name="connsiteY128" fmla="*/ 4486 h 49303"/>
                          <a:gd name="connsiteX129" fmla="*/ 40490 w 48339"/>
                          <a:gd name="connsiteY129" fmla="*/ 4486 h 49303"/>
                          <a:gd name="connsiteX130" fmla="*/ 40250 w 48339"/>
                          <a:gd name="connsiteY130" fmla="*/ 4306 h 49303"/>
                          <a:gd name="connsiteX131" fmla="*/ 40011 w 48339"/>
                          <a:gd name="connsiteY131" fmla="*/ 4127 h 49303"/>
                          <a:gd name="connsiteX132" fmla="*/ 39772 w 48339"/>
                          <a:gd name="connsiteY132" fmla="*/ 3947 h 49303"/>
                          <a:gd name="connsiteX133" fmla="*/ 39532 w 48339"/>
                          <a:gd name="connsiteY133" fmla="*/ 3768 h 49303"/>
                          <a:gd name="connsiteX134" fmla="*/ 37858 w 48339"/>
                          <a:gd name="connsiteY134" fmla="*/ 2691 h 49303"/>
                          <a:gd name="connsiteX135" fmla="*/ 36064 w 48339"/>
                          <a:gd name="connsiteY135" fmla="*/ 1794 h 49303"/>
                          <a:gd name="connsiteX136" fmla="*/ 34150 w 48339"/>
                          <a:gd name="connsiteY136" fmla="*/ 1076 h 49303"/>
                          <a:gd name="connsiteX137" fmla="*/ 32176 w 48339"/>
                          <a:gd name="connsiteY137" fmla="*/ 538 h 49303"/>
                          <a:gd name="connsiteX138" fmla="*/ 31877 w 48339"/>
                          <a:gd name="connsiteY138" fmla="*/ 478 h 49303"/>
                          <a:gd name="connsiteX139" fmla="*/ 31578 w 48339"/>
                          <a:gd name="connsiteY139" fmla="*/ 418 h 49303"/>
                          <a:gd name="connsiteX140" fmla="*/ 31279 w 48339"/>
                          <a:gd name="connsiteY140" fmla="*/ 359 h 49303"/>
                          <a:gd name="connsiteX141" fmla="*/ 30980 w 48339"/>
                          <a:gd name="connsiteY141" fmla="*/ 299 h 49303"/>
                          <a:gd name="connsiteX142" fmla="*/ 30502 w 48339"/>
                          <a:gd name="connsiteY142" fmla="*/ 239 h 49303"/>
                          <a:gd name="connsiteX143" fmla="*/ 30023 w 48339"/>
                          <a:gd name="connsiteY143" fmla="*/ 179 h 49303"/>
                          <a:gd name="connsiteX144" fmla="*/ 29545 w 48339"/>
                          <a:gd name="connsiteY144" fmla="*/ 119 h 49303"/>
                          <a:gd name="connsiteX145" fmla="*/ 29066 w 48339"/>
                          <a:gd name="connsiteY145" fmla="*/ 60 h 49303"/>
                          <a:gd name="connsiteX146" fmla="*/ 27033 w 48339"/>
                          <a:gd name="connsiteY146" fmla="*/ 0 h 49303"/>
                          <a:gd name="connsiteX147" fmla="*/ 25059 w 48339"/>
                          <a:gd name="connsiteY147" fmla="*/ 119 h 49303"/>
                          <a:gd name="connsiteX148" fmla="*/ 23086 w 48339"/>
                          <a:gd name="connsiteY148" fmla="*/ 418 h 49303"/>
                          <a:gd name="connsiteX149" fmla="*/ 21112 w 48339"/>
                          <a:gd name="connsiteY149" fmla="*/ 837 h 49303"/>
                          <a:gd name="connsiteX150" fmla="*/ 20753 w 48339"/>
                          <a:gd name="connsiteY150" fmla="*/ 957 h 49303"/>
                          <a:gd name="connsiteX151" fmla="*/ 20394 w 48339"/>
                          <a:gd name="connsiteY151" fmla="*/ 1076 h 49303"/>
                          <a:gd name="connsiteX152" fmla="*/ 20035 w 48339"/>
                          <a:gd name="connsiteY152" fmla="*/ 1196 h 49303"/>
                          <a:gd name="connsiteX153" fmla="*/ 19676 w 48339"/>
                          <a:gd name="connsiteY153" fmla="*/ 1316 h 49303"/>
                          <a:gd name="connsiteX154" fmla="*/ 18002 w 48339"/>
                          <a:gd name="connsiteY154" fmla="*/ 1914 h 49303"/>
                          <a:gd name="connsiteX155" fmla="*/ 16387 w 48339"/>
                          <a:gd name="connsiteY155" fmla="*/ 2632 h 49303"/>
                          <a:gd name="connsiteX156" fmla="*/ 14772 w 48339"/>
                          <a:gd name="connsiteY156" fmla="*/ 3469 h 49303"/>
                          <a:gd name="connsiteX157" fmla="*/ 13218 w 48339"/>
                          <a:gd name="connsiteY157" fmla="*/ 4426 h 49303"/>
                          <a:gd name="connsiteX158" fmla="*/ 12799 w 48339"/>
                          <a:gd name="connsiteY158" fmla="*/ 4665 h 49303"/>
                          <a:gd name="connsiteX159" fmla="*/ 12380 w 48339"/>
                          <a:gd name="connsiteY159" fmla="*/ 4904 h 49303"/>
                          <a:gd name="connsiteX160" fmla="*/ 12021 w 48339"/>
                          <a:gd name="connsiteY160" fmla="*/ 5203 h 49303"/>
                          <a:gd name="connsiteX161" fmla="*/ 11662 w 48339"/>
                          <a:gd name="connsiteY161" fmla="*/ 5502 h 49303"/>
                          <a:gd name="connsiteX162" fmla="*/ 8612 w 48339"/>
                          <a:gd name="connsiteY162" fmla="*/ 8134 h 49303"/>
                          <a:gd name="connsiteX163" fmla="*/ 5921 w 48339"/>
                          <a:gd name="connsiteY163" fmla="*/ 11184 h 49303"/>
                          <a:gd name="connsiteX164" fmla="*/ 3648 w 48339"/>
                          <a:gd name="connsiteY164" fmla="*/ 14533 h 49303"/>
                          <a:gd name="connsiteX165" fmla="*/ 1914 w 48339"/>
                          <a:gd name="connsiteY165" fmla="*/ 18241 h 49303"/>
                          <a:gd name="connsiteX166" fmla="*/ 1794 w 48339"/>
                          <a:gd name="connsiteY166" fmla="*/ 18540 h 49303"/>
                          <a:gd name="connsiteX167" fmla="*/ 1674 w 48339"/>
                          <a:gd name="connsiteY167" fmla="*/ 18839 h 49303"/>
                          <a:gd name="connsiteX168" fmla="*/ 1555 w 48339"/>
                          <a:gd name="connsiteY168" fmla="*/ 19138 h 49303"/>
                          <a:gd name="connsiteX169" fmla="*/ 1435 w 48339"/>
                          <a:gd name="connsiteY169" fmla="*/ 19437 h 49303"/>
                          <a:gd name="connsiteX170" fmla="*/ 1136 w 48339"/>
                          <a:gd name="connsiteY170" fmla="*/ 20394 h 49303"/>
                          <a:gd name="connsiteX171" fmla="*/ 837 w 48339"/>
                          <a:gd name="connsiteY171" fmla="*/ 21351 h 49303"/>
                          <a:gd name="connsiteX172" fmla="*/ 598 w 48339"/>
                          <a:gd name="connsiteY172" fmla="*/ 22308 h 49303"/>
                          <a:gd name="connsiteX173" fmla="*/ 419 w 48339"/>
                          <a:gd name="connsiteY173" fmla="*/ 23325 h 49303"/>
                          <a:gd name="connsiteX174" fmla="*/ 120 w 48339"/>
                          <a:gd name="connsiteY174" fmla="*/ 25418 h 49303"/>
                          <a:gd name="connsiteX175" fmla="*/ 0 w 48339"/>
                          <a:gd name="connsiteY175" fmla="*/ 27511 h 49303"/>
                          <a:gd name="connsiteX176" fmla="*/ 60 w 48339"/>
                          <a:gd name="connsiteY176" fmla="*/ 29545 h 49303"/>
                          <a:gd name="connsiteX177" fmla="*/ 299 w 48339"/>
                          <a:gd name="connsiteY177" fmla="*/ 31518 h 49303"/>
                          <a:gd name="connsiteX178" fmla="*/ 359 w 48339"/>
                          <a:gd name="connsiteY178" fmla="*/ 31817 h 49303"/>
                          <a:gd name="connsiteX179" fmla="*/ 419 w 48339"/>
                          <a:gd name="connsiteY179" fmla="*/ 32116 h 49303"/>
                          <a:gd name="connsiteX180" fmla="*/ 479 w 48339"/>
                          <a:gd name="connsiteY180" fmla="*/ 32415 h 49303"/>
                          <a:gd name="connsiteX181" fmla="*/ 538 w 48339"/>
                          <a:gd name="connsiteY181" fmla="*/ 32714 h 49303"/>
                          <a:gd name="connsiteX182" fmla="*/ 1256 w 48339"/>
                          <a:gd name="connsiteY182" fmla="*/ 35346 h 49303"/>
                          <a:gd name="connsiteX183" fmla="*/ 2273 w 48339"/>
                          <a:gd name="connsiteY183" fmla="*/ 37798 h 49303"/>
                          <a:gd name="connsiteX184" fmla="*/ 3528 w 48339"/>
                          <a:gd name="connsiteY184" fmla="*/ 40071 h 49303"/>
                          <a:gd name="connsiteX185" fmla="*/ 5083 w 48339"/>
                          <a:gd name="connsiteY185" fmla="*/ 42164 h 49303"/>
                          <a:gd name="connsiteX186" fmla="*/ 5382 w 48339"/>
                          <a:gd name="connsiteY186" fmla="*/ 42463 h 49303"/>
                          <a:gd name="connsiteX187" fmla="*/ 5682 w 48339"/>
                          <a:gd name="connsiteY187" fmla="*/ 42762 h 49303"/>
                          <a:gd name="connsiteX188" fmla="*/ 5981 w 48339"/>
                          <a:gd name="connsiteY188" fmla="*/ 43061 h 49303"/>
                          <a:gd name="connsiteX189" fmla="*/ 6280 w 48339"/>
                          <a:gd name="connsiteY189" fmla="*/ 43360 h 49303"/>
                          <a:gd name="connsiteX190" fmla="*/ 6758 w 48339"/>
                          <a:gd name="connsiteY190" fmla="*/ 43838 h 49303"/>
                          <a:gd name="connsiteX191" fmla="*/ 7237 w 48339"/>
                          <a:gd name="connsiteY191" fmla="*/ 44317 h 49303"/>
                          <a:gd name="connsiteX192" fmla="*/ 7775 w 48339"/>
                          <a:gd name="connsiteY192" fmla="*/ 44736 h 49303"/>
                          <a:gd name="connsiteX193" fmla="*/ 8373 w 48339"/>
                          <a:gd name="connsiteY193" fmla="*/ 45154 h 4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48339" h="49303">
                            <a:moveTo>
                              <a:pt x="44855" y="11902"/>
                            </a:moveTo>
                            <a:cubicBezTo>
                              <a:pt x="45393" y="12978"/>
                              <a:pt x="45812" y="14055"/>
                              <a:pt x="46171" y="15191"/>
                            </a:cubicBezTo>
                            <a:cubicBezTo>
                              <a:pt x="46530" y="16327"/>
                              <a:pt x="46769" y="17523"/>
                              <a:pt x="46889" y="18719"/>
                            </a:cubicBezTo>
                            <a:cubicBezTo>
                              <a:pt x="47068" y="19916"/>
                              <a:pt x="47068" y="21172"/>
                              <a:pt x="47068" y="22428"/>
                            </a:cubicBezTo>
                            <a:cubicBezTo>
                              <a:pt x="47008" y="23683"/>
                              <a:pt x="46889" y="24940"/>
                              <a:pt x="46590" y="26255"/>
                            </a:cubicBezTo>
                            <a:cubicBezTo>
                              <a:pt x="46291" y="27810"/>
                              <a:pt x="45872" y="29305"/>
                              <a:pt x="45274" y="30800"/>
                            </a:cubicBezTo>
                            <a:cubicBezTo>
                              <a:pt x="44736" y="32236"/>
                              <a:pt x="44018" y="33671"/>
                              <a:pt x="43181" y="35047"/>
                            </a:cubicBezTo>
                            <a:cubicBezTo>
                              <a:pt x="42344" y="36422"/>
                              <a:pt x="41446" y="37678"/>
                              <a:pt x="40370" y="38875"/>
                            </a:cubicBezTo>
                            <a:cubicBezTo>
                              <a:pt x="39293" y="40071"/>
                              <a:pt x="38157" y="41207"/>
                              <a:pt x="36901" y="42224"/>
                            </a:cubicBezTo>
                            <a:cubicBezTo>
                              <a:pt x="35645" y="43240"/>
                              <a:pt x="34329" y="44137"/>
                              <a:pt x="32954" y="44915"/>
                            </a:cubicBezTo>
                            <a:cubicBezTo>
                              <a:pt x="31578" y="45692"/>
                              <a:pt x="30203" y="46291"/>
                              <a:pt x="28707" y="46829"/>
                            </a:cubicBezTo>
                            <a:cubicBezTo>
                              <a:pt x="27272" y="47307"/>
                              <a:pt x="25777" y="47666"/>
                              <a:pt x="24282" y="47905"/>
                            </a:cubicBezTo>
                            <a:cubicBezTo>
                              <a:pt x="22787" y="48145"/>
                              <a:pt x="21291" y="48205"/>
                              <a:pt x="19796" y="48085"/>
                            </a:cubicBezTo>
                            <a:cubicBezTo>
                              <a:pt x="18780" y="48025"/>
                              <a:pt x="17763" y="47905"/>
                              <a:pt x="16746" y="47726"/>
                            </a:cubicBezTo>
                            <a:cubicBezTo>
                              <a:pt x="15789" y="47546"/>
                              <a:pt x="14832" y="47247"/>
                              <a:pt x="13875" y="46949"/>
                            </a:cubicBezTo>
                            <a:cubicBezTo>
                              <a:pt x="12978" y="46650"/>
                              <a:pt x="12081" y="46231"/>
                              <a:pt x="11244" y="45752"/>
                            </a:cubicBezTo>
                            <a:cubicBezTo>
                              <a:pt x="10406" y="45274"/>
                              <a:pt x="9629" y="44796"/>
                              <a:pt x="8851" y="44257"/>
                            </a:cubicBezTo>
                            <a:cubicBezTo>
                              <a:pt x="8791" y="44197"/>
                              <a:pt x="8672" y="44137"/>
                              <a:pt x="8612" y="44078"/>
                            </a:cubicBezTo>
                            <a:cubicBezTo>
                              <a:pt x="8552" y="44018"/>
                              <a:pt x="8433" y="43958"/>
                              <a:pt x="8373" y="43898"/>
                            </a:cubicBezTo>
                            <a:cubicBezTo>
                              <a:pt x="8313" y="43838"/>
                              <a:pt x="8194" y="43779"/>
                              <a:pt x="8134" y="43719"/>
                            </a:cubicBezTo>
                            <a:cubicBezTo>
                              <a:pt x="8074" y="43659"/>
                              <a:pt x="8014" y="43599"/>
                              <a:pt x="7895" y="43539"/>
                            </a:cubicBezTo>
                            <a:cubicBezTo>
                              <a:pt x="7775" y="43420"/>
                              <a:pt x="7655" y="43360"/>
                              <a:pt x="7536" y="43240"/>
                            </a:cubicBezTo>
                            <a:cubicBezTo>
                              <a:pt x="7416" y="43121"/>
                              <a:pt x="7296" y="43061"/>
                              <a:pt x="7177" y="42942"/>
                            </a:cubicBezTo>
                            <a:cubicBezTo>
                              <a:pt x="7057" y="42822"/>
                              <a:pt x="6937" y="42762"/>
                              <a:pt x="6878" y="42642"/>
                            </a:cubicBezTo>
                            <a:cubicBezTo>
                              <a:pt x="6758" y="42523"/>
                              <a:pt x="6639" y="42403"/>
                              <a:pt x="6579" y="42343"/>
                            </a:cubicBezTo>
                            <a:cubicBezTo>
                              <a:pt x="5981" y="41685"/>
                              <a:pt x="5382" y="41028"/>
                              <a:pt x="4844" y="40310"/>
                            </a:cubicBezTo>
                            <a:cubicBezTo>
                              <a:pt x="4306" y="39592"/>
                              <a:pt x="3828" y="38815"/>
                              <a:pt x="3409" y="38037"/>
                            </a:cubicBezTo>
                            <a:cubicBezTo>
                              <a:pt x="2990" y="37260"/>
                              <a:pt x="2632" y="36422"/>
                              <a:pt x="2273" y="35526"/>
                            </a:cubicBezTo>
                            <a:cubicBezTo>
                              <a:pt x="1974" y="34688"/>
                              <a:pt x="1674" y="33791"/>
                              <a:pt x="1495" y="32834"/>
                            </a:cubicBezTo>
                            <a:cubicBezTo>
                              <a:pt x="1495" y="32714"/>
                              <a:pt x="1435" y="32655"/>
                              <a:pt x="1435" y="32535"/>
                            </a:cubicBezTo>
                            <a:cubicBezTo>
                              <a:pt x="1435" y="32415"/>
                              <a:pt x="1375" y="32356"/>
                              <a:pt x="1375" y="32236"/>
                            </a:cubicBezTo>
                            <a:cubicBezTo>
                              <a:pt x="1375" y="32116"/>
                              <a:pt x="1316" y="32057"/>
                              <a:pt x="1316" y="31937"/>
                            </a:cubicBezTo>
                            <a:cubicBezTo>
                              <a:pt x="1316" y="31817"/>
                              <a:pt x="1256" y="31758"/>
                              <a:pt x="1256" y="31638"/>
                            </a:cubicBezTo>
                            <a:cubicBezTo>
                              <a:pt x="1136" y="30980"/>
                              <a:pt x="1076" y="30322"/>
                              <a:pt x="1017" y="29664"/>
                            </a:cubicBezTo>
                            <a:cubicBezTo>
                              <a:pt x="957" y="29006"/>
                              <a:pt x="957" y="28349"/>
                              <a:pt x="957" y="27631"/>
                            </a:cubicBezTo>
                            <a:cubicBezTo>
                              <a:pt x="957" y="26973"/>
                              <a:pt x="1017" y="26255"/>
                              <a:pt x="1076" y="25537"/>
                            </a:cubicBezTo>
                            <a:cubicBezTo>
                              <a:pt x="1136" y="24820"/>
                              <a:pt x="1256" y="24162"/>
                              <a:pt x="1375" y="23444"/>
                            </a:cubicBezTo>
                            <a:cubicBezTo>
                              <a:pt x="1435" y="23085"/>
                              <a:pt x="1495" y="22787"/>
                              <a:pt x="1555" y="22428"/>
                            </a:cubicBezTo>
                            <a:cubicBezTo>
                              <a:pt x="1615" y="22069"/>
                              <a:pt x="1734" y="21770"/>
                              <a:pt x="1794" y="21411"/>
                            </a:cubicBezTo>
                            <a:cubicBezTo>
                              <a:pt x="1854" y="21112"/>
                              <a:pt x="1974" y="20753"/>
                              <a:pt x="2093" y="20454"/>
                            </a:cubicBezTo>
                            <a:cubicBezTo>
                              <a:pt x="2213" y="20155"/>
                              <a:pt x="2273" y="19796"/>
                              <a:pt x="2392" y="19497"/>
                            </a:cubicBezTo>
                            <a:cubicBezTo>
                              <a:pt x="2452" y="19377"/>
                              <a:pt x="2452" y="19318"/>
                              <a:pt x="2512" y="19198"/>
                            </a:cubicBezTo>
                            <a:cubicBezTo>
                              <a:pt x="2572" y="19079"/>
                              <a:pt x="2572" y="19019"/>
                              <a:pt x="2632" y="18899"/>
                            </a:cubicBezTo>
                            <a:cubicBezTo>
                              <a:pt x="2691" y="18779"/>
                              <a:pt x="2691" y="18719"/>
                              <a:pt x="2751" y="18600"/>
                            </a:cubicBezTo>
                            <a:cubicBezTo>
                              <a:pt x="2811" y="18480"/>
                              <a:pt x="2811" y="18420"/>
                              <a:pt x="2871" y="18301"/>
                            </a:cubicBezTo>
                            <a:cubicBezTo>
                              <a:pt x="3409" y="16985"/>
                              <a:pt x="4007" y="15729"/>
                              <a:pt x="4725" y="14593"/>
                            </a:cubicBezTo>
                            <a:cubicBezTo>
                              <a:pt x="5442" y="13457"/>
                              <a:pt x="6220" y="12260"/>
                              <a:pt x="7117" y="11184"/>
                            </a:cubicBezTo>
                            <a:cubicBezTo>
                              <a:pt x="8014" y="10107"/>
                              <a:pt x="8911" y="9090"/>
                              <a:pt x="9928" y="8194"/>
                            </a:cubicBezTo>
                            <a:cubicBezTo>
                              <a:pt x="10945" y="7296"/>
                              <a:pt x="12021" y="6399"/>
                              <a:pt x="13158" y="5681"/>
                            </a:cubicBezTo>
                            <a:cubicBezTo>
                              <a:pt x="13277" y="5562"/>
                              <a:pt x="13457" y="5502"/>
                              <a:pt x="13576" y="5382"/>
                            </a:cubicBezTo>
                            <a:cubicBezTo>
                              <a:pt x="13696" y="5263"/>
                              <a:pt x="13875" y="5203"/>
                              <a:pt x="13995" y="5083"/>
                            </a:cubicBezTo>
                            <a:cubicBezTo>
                              <a:pt x="14114" y="4964"/>
                              <a:pt x="14294" y="4904"/>
                              <a:pt x="14413" y="4844"/>
                            </a:cubicBezTo>
                            <a:cubicBezTo>
                              <a:pt x="14533" y="4785"/>
                              <a:pt x="14713" y="4665"/>
                              <a:pt x="14832" y="4605"/>
                            </a:cubicBezTo>
                            <a:cubicBezTo>
                              <a:pt x="15131" y="4426"/>
                              <a:pt x="15490" y="4246"/>
                              <a:pt x="15789" y="4067"/>
                            </a:cubicBezTo>
                            <a:cubicBezTo>
                              <a:pt x="16088" y="3887"/>
                              <a:pt x="16447" y="3768"/>
                              <a:pt x="16746" y="3588"/>
                            </a:cubicBezTo>
                            <a:cubicBezTo>
                              <a:pt x="17045" y="3409"/>
                              <a:pt x="17404" y="3289"/>
                              <a:pt x="17703" y="3170"/>
                            </a:cubicBezTo>
                            <a:cubicBezTo>
                              <a:pt x="18062" y="3050"/>
                              <a:pt x="18361" y="2930"/>
                              <a:pt x="18720" y="2751"/>
                            </a:cubicBezTo>
                            <a:cubicBezTo>
                              <a:pt x="18839" y="2691"/>
                              <a:pt x="18959" y="2691"/>
                              <a:pt x="19079" y="2632"/>
                            </a:cubicBezTo>
                            <a:cubicBezTo>
                              <a:pt x="19198" y="2572"/>
                              <a:pt x="19318" y="2572"/>
                              <a:pt x="19437" y="2512"/>
                            </a:cubicBezTo>
                            <a:cubicBezTo>
                              <a:pt x="19557" y="2452"/>
                              <a:pt x="19676" y="2452"/>
                              <a:pt x="19796" y="2392"/>
                            </a:cubicBezTo>
                            <a:cubicBezTo>
                              <a:pt x="19916" y="2332"/>
                              <a:pt x="20035" y="2332"/>
                              <a:pt x="20155" y="2272"/>
                            </a:cubicBezTo>
                            <a:cubicBezTo>
                              <a:pt x="20813" y="2093"/>
                              <a:pt x="21530" y="1914"/>
                              <a:pt x="22189" y="1734"/>
                            </a:cubicBezTo>
                            <a:cubicBezTo>
                              <a:pt x="22846" y="1615"/>
                              <a:pt x="23564" y="1495"/>
                              <a:pt x="24282" y="1375"/>
                            </a:cubicBezTo>
                            <a:cubicBezTo>
                              <a:pt x="24999" y="1316"/>
                              <a:pt x="25657" y="1256"/>
                              <a:pt x="26375" y="1256"/>
                            </a:cubicBezTo>
                            <a:cubicBezTo>
                              <a:pt x="27092" y="1256"/>
                              <a:pt x="27751" y="1256"/>
                              <a:pt x="28468" y="1316"/>
                            </a:cubicBezTo>
                            <a:cubicBezTo>
                              <a:pt x="28588" y="1316"/>
                              <a:pt x="28767" y="1316"/>
                              <a:pt x="28887" y="1375"/>
                            </a:cubicBezTo>
                            <a:cubicBezTo>
                              <a:pt x="29006" y="1375"/>
                              <a:pt x="29186" y="1375"/>
                              <a:pt x="29305" y="1435"/>
                            </a:cubicBezTo>
                            <a:cubicBezTo>
                              <a:pt x="29425" y="1435"/>
                              <a:pt x="29605" y="1495"/>
                              <a:pt x="29724" y="1495"/>
                            </a:cubicBezTo>
                            <a:cubicBezTo>
                              <a:pt x="29844" y="1495"/>
                              <a:pt x="30023" y="1555"/>
                              <a:pt x="30143" y="1555"/>
                            </a:cubicBezTo>
                            <a:cubicBezTo>
                              <a:pt x="30262" y="1555"/>
                              <a:pt x="30322" y="1555"/>
                              <a:pt x="30442" y="1615"/>
                            </a:cubicBezTo>
                            <a:cubicBezTo>
                              <a:pt x="30561" y="1615"/>
                              <a:pt x="30621" y="1674"/>
                              <a:pt x="30741" y="1674"/>
                            </a:cubicBezTo>
                            <a:cubicBezTo>
                              <a:pt x="30860" y="1674"/>
                              <a:pt x="30920" y="1734"/>
                              <a:pt x="31040" y="1734"/>
                            </a:cubicBezTo>
                            <a:cubicBezTo>
                              <a:pt x="31160" y="1734"/>
                              <a:pt x="31219" y="1794"/>
                              <a:pt x="31339" y="1794"/>
                            </a:cubicBezTo>
                            <a:cubicBezTo>
                              <a:pt x="31997" y="1914"/>
                              <a:pt x="32714" y="2093"/>
                              <a:pt x="33313" y="2332"/>
                            </a:cubicBezTo>
                            <a:cubicBezTo>
                              <a:pt x="33970" y="2512"/>
                              <a:pt x="34568" y="2751"/>
                              <a:pt x="35227" y="3050"/>
                            </a:cubicBezTo>
                            <a:cubicBezTo>
                              <a:pt x="35824" y="3289"/>
                              <a:pt x="36422" y="3648"/>
                              <a:pt x="37021" y="3947"/>
                            </a:cubicBezTo>
                            <a:cubicBezTo>
                              <a:pt x="37619" y="4306"/>
                              <a:pt x="38157" y="4665"/>
                              <a:pt x="38695" y="5024"/>
                            </a:cubicBezTo>
                            <a:cubicBezTo>
                              <a:pt x="38755" y="5083"/>
                              <a:pt x="38815" y="5083"/>
                              <a:pt x="38875" y="5143"/>
                            </a:cubicBezTo>
                            <a:cubicBezTo>
                              <a:pt x="38935" y="5203"/>
                              <a:pt x="38994" y="5203"/>
                              <a:pt x="39054" y="5263"/>
                            </a:cubicBezTo>
                            <a:cubicBezTo>
                              <a:pt x="39114" y="5323"/>
                              <a:pt x="39174" y="5323"/>
                              <a:pt x="39234" y="5382"/>
                            </a:cubicBezTo>
                            <a:cubicBezTo>
                              <a:pt x="39293" y="5442"/>
                              <a:pt x="39353" y="5442"/>
                              <a:pt x="39413" y="5502"/>
                            </a:cubicBezTo>
                            <a:cubicBezTo>
                              <a:pt x="39413" y="5502"/>
                              <a:pt x="39473" y="5562"/>
                              <a:pt x="39473" y="5562"/>
                            </a:cubicBezTo>
                            <a:cubicBezTo>
                              <a:pt x="39473" y="5562"/>
                              <a:pt x="39532" y="5622"/>
                              <a:pt x="39532" y="5622"/>
                            </a:cubicBezTo>
                            <a:cubicBezTo>
                              <a:pt x="39532" y="5622"/>
                              <a:pt x="39592" y="5681"/>
                              <a:pt x="39592" y="5681"/>
                            </a:cubicBezTo>
                            <a:cubicBezTo>
                              <a:pt x="39592" y="5681"/>
                              <a:pt x="39652" y="5741"/>
                              <a:pt x="39652" y="5741"/>
                            </a:cubicBezTo>
                            <a:cubicBezTo>
                              <a:pt x="39951" y="5981"/>
                              <a:pt x="40310" y="6280"/>
                              <a:pt x="40609" y="6579"/>
                            </a:cubicBezTo>
                            <a:cubicBezTo>
                              <a:pt x="40908" y="6878"/>
                              <a:pt x="41207" y="7177"/>
                              <a:pt x="41506" y="7476"/>
                            </a:cubicBezTo>
                            <a:cubicBezTo>
                              <a:pt x="41805" y="7775"/>
                              <a:pt x="42104" y="8134"/>
                              <a:pt x="42344" y="8433"/>
                            </a:cubicBezTo>
                            <a:cubicBezTo>
                              <a:pt x="42583" y="8732"/>
                              <a:pt x="42882" y="9090"/>
                              <a:pt x="43121" y="9449"/>
                            </a:cubicBezTo>
                            <a:cubicBezTo>
                              <a:pt x="43181" y="9569"/>
                              <a:pt x="43300" y="9689"/>
                              <a:pt x="43360" y="9808"/>
                            </a:cubicBezTo>
                            <a:cubicBezTo>
                              <a:pt x="43420" y="9928"/>
                              <a:pt x="43480" y="10048"/>
                              <a:pt x="43599" y="10167"/>
                            </a:cubicBezTo>
                            <a:cubicBezTo>
                              <a:pt x="43659" y="10287"/>
                              <a:pt x="43719" y="10406"/>
                              <a:pt x="43839" y="10526"/>
                            </a:cubicBezTo>
                            <a:cubicBezTo>
                              <a:pt x="43898" y="10645"/>
                              <a:pt x="43958" y="10765"/>
                              <a:pt x="44018" y="10885"/>
                            </a:cubicBezTo>
                            <a:cubicBezTo>
                              <a:pt x="44078" y="11004"/>
                              <a:pt x="44138" y="11064"/>
                              <a:pt x="44198" y="11184"/>
                            </a:cubicBezTo>
                            <a:cubicBezTo>
                              <a:pt x="44257" y="11303"/>
                              <a:pt x="44317" y="11363"/>
                              <a:pt x="44377" y="11483"/>
                            </a:cubicBezTo>
                            <a:cubicBezTo>
                              <a:pt x="44437" y="11603"/>
                              <a:pt x="44497" y="11662"/>
                              <a:pt x="44556" y="11782"/>
                            </a:cubicBezTo>
                            <a:cubicBezTo>
                              <a:pt x="44736" y="11722"/>
                              <a:pt x="44796" y="11782"/>
                              <a:pt x="44855" y="11902"/>
                            </a:cubicBezTo>
                            <a:moveTo>
                              <a:pt x="8373" y="45154"/>
                            </a:moveTo>
                            <a:cubicBezTo>
                              <a:pt x="9150" y="45752"/>
                              <a:pt x="9988" y="46291"/>
                              <a:pt x="10885" y="46769"/>
                            </a:cubicBezTo>
                            <a:cubicBezTo>
                              <a:pt x="11782" y="47247"/>
                              <a:pt x="12679" y="47666"/>
                              <a:pt x="13636" y="48025"/>
                            </a:cubicBezTo>
                            <a:cubicBezTo>
                              <a:pt x="14593" y="48384"/>
                              <a:pt x="15610" y="48623"/>
                              <a:pt x="16626" y="48862"/>
                            </a:cubicBezTo>
                            <a:cubicBezTo>
                              <a:pt x="17643" y="49042"/>
                              <a:pt x="18720" y="49221"/>
                              <a:pt x="19796" y="49281"/>
                            </a:cubicBezTo>
                            <a:cubicBezTo>
                              <a:pt x="21351" y="49341"/>
                              <a:pt x="22966" y="49281"/>
                              <a:pt x="24521" y="49101"/>
                            </a:cubicBezTo>
                            <a:cubicBezTo>
                              <a:pt x="26076" y="48862"/>
                              <a:pt x="27631" y="48504"/>
                              <a:pt x="29126" y="47965"/>
                            </a:cubicBezTo>
                            <a:cubicBezTo>
                              <a:pt x="30621" y="47427"/>
                              <a:pt x="32116" y="46769"/>
                              <a:pt x="33552" y="45992"/>
                            </a:cubicBezTo>
                            <a:cubicBezTo>
                              <a:pt x="34987" y="45154"/>
                              <a:pt x="36363" y="44257"/>
                              <a:pt x="37678" y="43121"/>
                            </a:cubicBezTo>
                            <a:cubicBezTo>
                              <a:pt x="38994" y="42044"/>
                              <a:pt x="40190" y="40848"/>
                              <a:pt x="41327" y="39592"/>
                            </a:cubicBezTo>
                            <a:cubicBezTo>
                              <a:pt x="42403" y="38336"/>
                              <a:pt x="43420" y="36961"/>
                              <a:pt x="44257" y="35585"/>
                            </a:cubicBezTo>
                            <a:cubicBezTo>
                              <a:pt x="45095" y="34150"/>
                              <a:pt x="45872" y="32714"/>
                              <a:pt x="46470" y="31159"/>
                            </a:cubicBezTo>
                            <a:cubicBezTo>
                              <a:pt x="47068" y="29604"/>
                              <a:pt x="47547" y="28050"/>
                              <a:pt x="47846" y="26435"/>
                            </a:cubicBezTo>
                            <a:cubicBezTo>
                              <a:pt x="48145" y="24999"/>
                              <a:pt x="48264" y="23564"/>
                              <a:pt x="48324" y="22188"/>
                            </a:cubicBezTo>
                            <a:cubicBezTo>
                              <a:pt x="48384" y="20813"/>
                              <a:pt x="48264" y="19437"/>
                              <a:pt x="48085" y="18062"/>
                            </a:cubicBezTo>
                            <a:cubicBezTo>
                              <a:pt x="47906" y="16746"/>
                              <a:pt x="47607" y="15430"/>
                              <a:pt x="47188" y="14174"/>
                            </a:cubicBezTo>
                            <a:cubicBezTo>
                              <a:pt x="46769" y="12918"/>
                              <a:pt x="46231" y="11722"/>
                              <a:pt x="45573" y="10526"/>
                            </a:cubicBezTo>
                            <a:cubicBezTo>
                              <a:pt x="45513" y="10406"/>
                              <a:pt x="45453" y="10347"/>
                              <a:pt x="45393" y="10227"/>
                            </a:cubicBezTo>
                            <a:cubicBezTo>
                              <a:pt x="45334" y="10107"/>
                              <a:pt x="45274" y="10048"/>
                              <a:pt x="45214" y="9928"/>
                            </a:cubicBezTo>
                            <a:cubicBezTo>
                              <a:pt x="45154" y="9808"/>
                              <a:pt x="45095" y="9748"/>
                              <a:pt x="45035" y="9629"/>
                            </a:cubicBezTo>
                            <a:cubicBezTo>
                              <a:pt x="44975" y="9509"/>
                              <a:pt x="44915" y="9449"/>
                              <a:pt x="44855" y="9330"/>
                            </a:cubicBezTo>
                            <a:cubicBezTo>
                              <a:pt x="44796" y="9270"/>
                              <a:pt x="44796" y="9210"/>
                              <a:pt x="44736" y="9150"/>
                            </a:cubicBezTo>
                            <a:cubicBezTo>
                              <a:pt x="44676" y="9090"/>
                              <a:pt x="44676" y="9031"/>
                              <a:pt x="44616" y="8971"/>
                            </a:cubicBezTo>
                            <a:cubicBezTo>
                              <a:pt x="44556" y="8911"/>
                              <a:pt x="44556" y="8851"/>
                              <a:pt x="44497" y="8791"/>
                            </a:cubicBezTo>
                            <a:cubicBezTo>
                              <a:pt x="44437" y="8732"/>
                              <a:pt x="44377" y="8672"/>
                              <a:pt x="44377" y="8612"/>
                            </a:cubicBezTo>
                            <a:cubicBezTo>
                              <a:pt x="44078" y="8194"/>
                              <a:pt x="43839" y="7835"/>
                              <a:pt x="43539" y="7476"/>
                            </a:cubicBezTo>
                            <a:cubicBezTo>
                              <a:pt x="43241" y="7117"/>
                              <a:pt x="42942" y="6758"/>
                              <a:pt x="42583" y="6399"/>
                            </a:cubicBezTo>
                            <a:cubicBezTo>
                              <a:pt x="42284" y="6040"/>
                              <a:pt x="41925" y="5741"/>
                              <a:pt x="41566" y="5382"/>
                            </a:cubicBezTo>
                            <a:cubicBezTo>
                              <a:pt x="41207" y="5083"/>
                              <a:pt x="40848" y="4785"/>
                              <a:pt x="40490" y="4486"/>
                            </a:cubicBezTo>
                            <a:cubicBezTo>
                              <a:pt x="40490" y="4486"/>
                              <a:pt x="40490" y="4486"/>
                              <a:pt x="40490" y="4486"/>
                            </a:cubicBezTo>
                            <a:cubicBezTo>
                              <a:pt x="40490" y="4486"/>
                              <a:pt x="40490" y="4486"/>
                              <a:pt x="40490" y="4486"/>
                            </a:cubicBezTo>
                            <a:cubicBezTo>
                              <a:pt x="40490" y="4486"/>
                              <a:pt x="40490" y="4486"/>
                              <a:pt x="40490" y="4486"/>
                            </a:cubicBezTo>
                            <a:cubicBezTo>
                              <a:pt x="40490" y="4486"/>
                              <a:pt x="40490" y="4486"/>
                              <a:pt x="40490" y="4486"/>
                            </a:cubicBezTo>
                            <a:cubicBezTo>
                              <a:pt x="40430" y="4426"/>
                              <a:pt x="40370" y="4366"/>
                              <a:pt x="40250" y="4306"/>
                            </a:cubicBezTo>
                            <a:cubicBezTo>
                              <a:pt x="40131" y="4246"/>
                              <a:pt x="40071" y="4186"/>
                              <a:pt x="40011" y="4127"/>
                            </a:cubicBezTo>
                            <a:cubicBezTo>
                              <a:pt x="39951" y="4067"/>
                              <a:pt x="39831" y="4007"/>
                              <a:pt x="39772" y="3947"/>
                            </a:cubicBezTo>
                            <a:cubicBezTo>
                              <a:pt x="39712" y="3887"/>
                              <a:pt x="39592" y="3827"/>
                              <a:pt x="39532" y="3768"/>
                            </a:cubicBezTo>
                            <a:cubicBezTo>
                              <a:pt x="38994" y="3409"/>
                              <a:pt x="38396" y="3050"/>
                              <a:pt x="37858" y="2691"/>
                            </a:cubicBezTo>
                            <a:cubicBezTo>
                              <a:pt x="37260" y="2392"/>
                              <a:pt x="36662" y="2093"/>
                              <a:pt x="36064" y="1794"/>
                            </a:cubicBezTo>
                            <a:cubicBezTo>
                              <a:pt x="35466" y="1555"/>
                              <a:pt x="34808" y="1316"/>
                              <a:pt x="34150" y="1076"/>
                            </a:cubicBezTo>
                            <a:cubicBezTo>
                              <a:pt x="33492" y="897"/>
                              <a:pt x="32834" y="718"/>
                              <a:pt x="32176" y="538"/>
                            </a:cubicBezTo>
                            <a:cubicBezTo>
                              <a:pt x="32057" y="538"/>
                              <a:pt x="31997" y="478"/>
                              <a:pt x="31877" y="478"/>
                            </a:cubicBezTo>
                            <a:cubicBezTo>
                              <a:pt x="31758" y="478"/>
                              <a:pt x="31698" y="418"/>
                              <a:pt x="31578" y="418"/>
                            </a:cubicBezTo>
                            <a:cubicBezTo>
                              <a:pt x="31459" y="418"/>
                              <a:pt x="31399" y="359"/>
                              <a:pt x="31279" y="359"/>
                            </a:cubicBezTo>
                            <a:cubicBezTo>
                              <a:pt x="31160" y="359"/>
                              <a:pt x="31100" y="299"/>
                              <a:pt x="30980" y="299"/>
                            </a:cubicBezTo>
                            <a:cubicBezTo>
                              <a:pt x="30801" y="299"/>
                              <a:pt x="30681" y="239"/>
                              <a:pt x="30502" y="239"/>
                            </a:cubicBezTo>
                            <a:cubicBezTo>
                              <a:pt x="30322" y="239"/>
                              <a:pt x="30203" y="179"/>
                              <a:pt x="30023" y="179"/>
                            </a:cubicBezTo>
                            <a:cubicBezTo>
                              <a:pt x="29844" y="179"/>
                              <a:pt x="29724" y="119"/>
                              <a:pt x="29545" y="119"/>
                            </a:cubicBezTo>
                            <a:cubicBezTo>
                              <a:pt x="29365" y="119"/>
                              <a:pt x="29246" y="119"/>
                              <a:pt x="29066" y="60"/>
                            </a:cubicBezTo>
                            <a:cubicBezTo>
                              <a:pt x="28408" y="0"/>
                              <a:pt x="27751" y="0"/>
                              <a:pt x="27033" y="0"/>
                            </a:cubicBezTo>
                            <a:cubicBezTo>
                              <a:pt x="26375" y="0"/>
                              <a:pt x="25717" y="60"/>
                              <a:pt x="25059" y="119"/>
                            </a:cubicBezTo>
                            <a:cubicBezTo>
                              <a:pt x="24401" y="179"/>
                              <a:pt x="23743" y="299"/>
                              <a:pt x="23086" y="418"/>
                            </a:cubicBezTo>
                            <a:cubicBezTo>
                              <a:pt x="22428" y="538"/>
                              <a:pt x="21770" y="658"/>
                              <a:pt x="21112" y="837"/>
                            </a:cubicBezTo>
                            <a:cubicBezTo>
                              <a:pt x="20992" y="897"/>
                              <a:pt x="20873" y="897"/>
                              <a:pt x="20753" y="957"/>
                            </a:cubicBezTo>
                            <a:cubicBezTo>
                              <a:pt x="20634" y="1017"/>
                              <a:pt x="20514" y="1017"/>
                              <a:pt x="20394" y="1076"/>
                            </a:cubicBezTo>
                            <a:cubicBezTo>
                              <a:pt x="20275" y="1136"/>
                              <a:pt x="20155" y="1136"/>
                              <a:pt x="20035" y="1196"/>
                            </a:cubicBezTo>
                            <a:cubicBezTo>
                              <a:pt x="19916" y="1256"/>
                              <a:pt x="19796" y="1256"/>
                              <a:pt x="19676" y="1316"/>
                            </a:cubicBezTo>
                            <a:cubicBezTo>
                              <a:pt x="19138" y="1495"/>
                              <a:pt x="18540" y="1734"/>
                              <a:pt x="18002" y="1914"/>
                            </a:cubicBezTo>
                            <a:cubicBezTo>
                              <a:pt x="17464" y="2153"/>
                              <a:pt x="16926" y="2392"/>
                              <a:pt x="16387" y="2632"/>
                            </a:cubicBezTo>
                            <a:cubicBezTo>
                              <a:pt x="15849" y="2871"/>
                              <a:pt x="15311" y="3170"/>
                              <a:pt x="14772" y="3469"/>
                            </a:cubicBezTo>
                            <a:cubicBezTo>
                              <a:pt x="14234" y="3768"/>
                              <a:pt x="13756" y="4067"/>
                              <a:pt x="13218" y="4426"/>
                            </a:cubicBezTo>
                            <a:cubicBezTo>
                              <a:pt x="13098" y="4486"/>
                              <a:pt x="12978" y="4605"/>
                              <a:pt x="12799" y="4665"/>
                            </a:cubicBezTo>
                            <a:cubicBezTo>
                              <a:pt x="12679" y="4725"/>
                              <a:pt x="12559" y="4844"/>
                              <a:pt x="12380" y="4904"/>
                            </a:cubicBezTo>
                            <a:cubicBezTo>
                              <a:pt x="12260" y="5024"/>
                              <a:pt x="12141" y="5083"/>
                              <a:pt x="12021" y="5203"/>
                            </a:cubicBezTo>
                            <a:cubicBezTo>
                              <a:pt x="11902" y="5323"/>
                              <a:pt x="11782" y="5382"/>
                              <a:pt x="11662" y="5502"/>
                            </a:cubicBezTo>
                            <a:cubicBezTo>
                              <a:pt x="10586" y="6280"/>
                              <a:pt x="9569" y="7177"/>
                              <a:pt x="8612" y="8134"/>
                            </a:cubicBezTo>
                            <a:cubicBezTo>
                              <a:pt x="7655" y="9090"/>
                              <a:pt x="6758" y="10107"/>
                              <a:pt x="5921" y="11184"/>
                            </a:cubicBezTo>
                            <a:cubicBezTo>
                              <a:pt x="5083" y="12260"/>
                              <a:pt x="4366" y="13397"/>
                              <a:pt x="3648" y="14533"/>
                            </a:cubicBezTo>
                            <a:cubicBezTo>
                              <a:pt x="2990" y="15729"/>
                              <a:pt x="2392" y="16925"/>
                              <a:pt x="1914" y="18241"/>
                            </a:cubicBezTo>
                            <a:cubicBezTo>
                              <a:pt x="1854" y="18360"/>
                              <a:pt x="1854" y="18420"/>
                              <a:pt x="1794" y="18540"/>
                            </a:cubicBezTo>
                            <a:cubicBezTo>
                              <a:pt x="1734" y="18660"/>
                              <a:pt x="1734" y="18719"/>
                              <a:pt x="1674" y="18839"/>
                            </a:cubicBezTo>
                            <a:cubicBezTo>
                              <a:pt x="1615" y="18959"/>
                              <a:pt x="1615" y="19019"/>
                              <a:pt x="1555" y="19138"/>
                            </a:cubicBezTo>
                            <a:cubicBezTo>
                              <a:pt x="1495" y="19258"/>
                              <a:pt x="1495" y="19318"/>
                              <a:pt x="1435" y="19437"/>
                            </a:cubicBezTo>
                            <a:cubicBezTo>
                              <a:pt x="1316" y="19736"/>
                              <a:pt x="1196" y="20095"/>
                              <a:pt x="1136" y="20394"/>
                            </a:cubicBezTo>
                            <a:cubicBezTo>
                              <a:pt x="1017" y="20693"/>
                              <a:pt x="957" y="21052"/>
                              <a:pt x="837" y="21351"/>
                            </a:cubicBezTo>
                            <a:cubicBezTo>
                              <a:pt x="778" y="21650"/>
                              <a:pt x="658" y="22009"/>
                              <a:pt x="598" y="22308"/>
                            </a:cubicBezTo>
                            <a:cubicBezTo>
                              <a:pt x="538" y="22667"/>
                              <a:pt x="479" y="22966"/>
                              <a:pt x="419" y="23325"/>
                            </a:cubicBezTo>
                            <a:cubicBezTo>
                              <a:pt x="299" y="24042"/>
                              <a:pt x="179" y="24760"/>
                              <a:pt x="120" y="25418"/>
                            </a:cubicBezTo>
                            <a:cubicBezTo>
                              <a:pt x="60" y="26136"/>
                              <a:pt x="0" y="26794"/>
                              <a:pt x="0" y="27511"/>
                            </a:cubicBezTo>
                            <a:cubicBezTo>
                              <a:pt x="0" y="28169"/>
                              <a:pt x="0" y="28887"/>
                              <a:pt x="60" y="29545"/>
                            </a:cubicBezTo>
                            <a:cubicBezTo>
                              <a:pt x="120" y="30203"/>
                              <a:pt x="179" y="30860"/>
                              <a:pt x="299" y="31518"/>
                            </a:cubicBezTo>
                            <a:cubicBezTo>
                              <a:pt x="299" y="31638"/>
                              <a:pt x="359" y="31698"/>
                              <a:pt x="359" y="31817"/>
                            </a:cubicBezTo>
                            <a:cubicBezTo>
                              <a:pt x="359" y="31937"/>
                              <a:pt x="419" y="31997"/>
                              <a:pt x="419" y="32116"/>
                            </a:cubicBezTo>
                            <a:cubicBezTo>
                              <a:pt x="419" y="32236"/>
                              <a:pt x="479" y="32296"/>
                              <a:pt x="479" y="32415"/>
                            </a:cubicBezTo>
                            <a:cubicBezTo>
                              <a:pt x="479" y="32535"/>
                              <a:pt x="538" y="32595"/>
                              <a:pt x="538" y="32714"/>
                            </a:cubicBezTo>
                            <a:cubicBezTo>
                              <a:pt x="718" y="33612"/>
                              <a:pt x="957" y="34509"/>
                              <a:pt x="1256" y="35346"/>
                            </a:cubicBezTo>
                            <a:cubicBezTo>
                              <a:pt x="1555" y="36183"/>
                              <a:pt x="1854" y="37021"/>
                              <a:pt x="2273" y="37798"/>
                            </a:cubicBezTo>
                            <a:cubicBezTo>
                              <a:pt x="2632" y="38575"/>
                              <a:pt x="3110" y="39353"/>
                              <a:pt x="3528" y="40071"/>
                            </a:cubicBezTo>
                            <a:cubicBezTo>
                              <a:pt x="4007" y="40788"/>
                              <a:pt x="4545" y="41506"/>
                              <a:pt x="5083" y="42164"/>
                            </a:cubicBezTo>
                            <a:cubicBezTo>
                              <a:pt x="5203" y="42283"/>
                              <a:pt x="5263" y="42403"/>
                              <a:pt x="5382" y="42463"/>
                            </a:cubicBezTo>
                            <a:cubicBezTo>
                              <a:pt x="5502" y="42583"/>
                              <a:pt x="5562" y="42642"/>
                              <a:pt x="5682" y="42762"/>
                            </a:cubicBezTo>
                            <a:cubicBezTo>
                              <a:pt x="5801" y="42882"/>
                              <a:pt x="5861" y="42942"/>
                              <a:pt x="5981" y="43061"/>
                            </a:cubicBezTo>
                            <a:cubicBezTo>
                              <a:pt x="6100" y="43181"/>
                              <a:pt x="6160" y="43240"/>
                              <a:pt x="6280" y="43360"/>
                            </a:cubicBezTo>
                            <a:cubicBezTo>
                              <a:pt x="6459" y="43539"/>
                              <a:pt x="6579" y="43659"/>
                              <a:pt x="6758" y="43838"/>
                            </a:cubicBezTo>
                            <a:cubicBezTo>
                              <a:pt x="6937" y="44018"/>
                              <a:pt x="7117" y="44137"/>
                              <a:pt x="7237" y="44317"/>
                            </a:cubicBezTo>
                            <a:cubicBezTo>
                              <a:pt x="7416" y="44437"/>
                              <a:pt x="7596" y="44616"/>
                              <a:pt x="7775" y="44736"/>
                            </a:cubicBezTo>
                            <a:cubicBezTo>
                              <a:pt x="7954" y="44855"/>
                              <a:pt x="8194" y="45035"/>
                              <a:pt x="8373" y="45154"/>
                            </a:cubicBezTo>
                          </a:path>
                        </a:pathLst>
                      </a:custGeom>
                      <a:noFill/>
                      <a:ln w="6350" cap="flat">
                        <a:solidFill>
                          <a:schemeClr val="bg1">
                            <a:alpha val="40000"/>
                          </a:schemeClr>
                        </a:solidFill>
                        <a:prstDash val="solid"/>
                        <a:miter/>
                      </a:ln>
                    </p:spPr>
                    <p:txBody>
                      <a:bodyPr rtlCol="0" anchor="ctr"/>
                      <a:lstStyle/>
                      <a:p>
                        <a:endParaRPr lang="en-GB"/>
                      </a:p>
                    </p:txBody>
                  </p:sp>
                  <p:sp>
                    <p:nvSpPr>
                      <p:cNvPr id="7503" name="Vrije vorm: vorm 7502">
                        <a:extLst>
                          <a:ext uri="{FF2B5EF4-FFF2-40B4-BE49-F238E27FC236}">
                            <a16:creationId xmlns:a16="http://schemas.microsoft.com/office/drawing/2014/main" id="{331A64D4-B8BE-4263-AD87-2D69989C13EE}"/>
                          </a:ext>
                        </a:extLst>
                      </p:cNvPr>
                      <p:cNvSpPr/>
                      <p:nvPr/>
                    </p:nvSpPr>
                    <p:spPr>
                      <a:xfrm>
                        <a:off x="4978313" y="5078630"/>
                        <a:ext cx="40873" cy="41588"/>
                      </a:xfrm>
                      <a:custGeom>
                        <a:avLst/>
                        <a:gdLst>
                          <a:gd name="connsiteX0" fmla="*/ 37320 w 40873"/>
                          <a:gd name="connsiteY0" fmla="*/ 9390 h 41588"/>
                          <a:gd name="connsiteX1" fmla="*/ 38576 w 40873"/>
                          <a:gd name="connsiteY1" fmla="*/ 12260 h 41588"/>
                          <a:gd name="connsiteX2" fmla="*/ 39353 w 40873"/>
                          <a:gd name="connsiteY2" fmla="*/ 15370 h 41588"/>
                          <a:gd name="connsiteX3" fmla="*/ 39532 w 40873"/>
                          <a:gd name="connsiteY3" fmla="*/ 18660 h 41588"/>
                          <a:gd name="connsiteX4" fmla="*/ 39174 w 40873"/>
                          <a:gd name="connsiteY4" fmla="*/ 22009 h 41588"/>
                          <a:gd name="connsiteX5" fmla="*/ 38097 w 40873"/>
                          <a:gd name="connsiteY5" fmla="*/ 25777 h 41588"/>
                          <a:gd name="connsiteX6" fmla="*/ 36363 w 40873"/>
                          <a:gd name="connsiteY6" fmla="*/ 29305 h 41588"/>
                          <a:gd name="connsiteX7" fmla="*/ 34030 w 40873"/>
                          <a:gd name="connsiteY7" fmla="*/ 32475 h 41588"/>
                          <a:gd name="connsiteX8" fmla="*/ 31160 w 40873"/>
                          <a:gd name="connsiteY8" fmla="*/ 35226 h 41588"/>
                          <a:gd name="connsiteX9" fmla="*/ 27870 w 40873"/>
                          <a:gd name="connsiteY9" fmla="*/ 37439 h 41588"/>
                          <a:gd name="connsiteX10" fmla="*/ 24342 w 40873"/>
                          <a:gd name="connsiteY10" fmla="*/ 39054 h 41588"/>
                          <a:gd name="connsiteX11" fmla="*/ 20693 w 40873"/>
                          <a:gd name="connsiteY11" fmla="*/ 39951 h 41588"/>
                          <a:gd name="connsiteX12" fmla="*/ 16985 w 40873"/>
                          <a:gd name="connsiteY12" fmla="*/ 40130 h 41588"/>
                          <a:gd name="connsiteX13" fmla="*/ 14533 w 40873"/>
                          <a:gd name="connsiteY13" fmla="*/ 39772 h 41588"/>
                          <a:gd name="connsiteX14" fmla="*/ 12201 w 40873"/>
                          <a:gd name="connsiteY14" fmla="*/ 39114 h 41588"/>
                          <a:gd name="connsiteX15" fmla="*/ 9988 w 40873"/>
                          <a:gd name="connsiteY15" fmla="*/ 38157 h 41588"/>
                          <a:gd name="connsiteX16" fmla="*/ 8014 w 40873"/>
                          <a:gd name="connsiteY16" fmla="*/ 36901 h 41588"/>
                          <a:gd name="connsiteX17" fmla="*/ 7715 w 40873"/>
                          <a:gd name="connsiteY17" fmla="*/ 36662 h 41588"/>
                          <a:gd name="connsiteX18" fmla="*/ 7416 w 40873"/>
                          <a:gd name="connsiteY18" fmla="*/ 36422 h 41588"/>
                          <a:gd name="connsiteX19" fmla="*/ 7117 w 40873"/>
                          <a:gd name="connsiteY19" fmla="*/ 36183 h 41588"/>
                          <a:gd name="connsiteX20" fmla="*/ 6818 w 40873"/>
                          <a:gd name="connsiteY20" fmla="*/ 35944 h 41588"/>
                          <a:gd name="connsiteX21" fmla="*/ 6579 w 40873"/>
                          <a:gd name="connsiteY21" fmla="*/ 35705 h 41588"/>
                          <a:gd name="connsiteX22" fmla="*/ 6340 w 40873"/>
                          <a:gd name="connsiteY22" fmla="*/ 35466 h 41588"/>
                          <a:gd name="connsiteX23" fmla="*/ 6100 w 40873"/>
                          <a:gd name="connsiteY23" fmla="*/ 35226 h 41588"/>
                          <a:gd name="connsiteX24" fmla="*/ 5861 w 40873"/>
                          <a:gd name="connsiteY24" fmla="*/ 34987 h 41588"/>
                          <a:gd name="connsiteX25" fmla="*/ 4785 w 40873"/>
                          <a:gd name="connsiteY25" fmla="*/ 33671 h 41588"/>
                          <a:gd name="connsiteX26" fmla="*/ 3828 w 40873"/>
                          <a:gd name="connsiteY26" fmla="*/ 32236 h 41588"/>
                          <a:gd name="connsiteX27" fmla="*/ 3050 w 40873"/>
                          <a:gd name="connsiteY27" fmla="*/ 30681 h 41588"/>
                          <a:gd name="connsiteX28" fmla="*/ 2452 w 40873"/>
                          <a:gd name="connsiteY28" fmla="*/ 29066 h 41588"/>
                          <a:gd name="connsiteX29" fmla="*/ 2333 w 40873"/>
                          <a:gd name="connsiteY29" fmla="*/ 28767 h 41588"/>
                          <a:gd name="connsiteX30" fmla="*/ 2213 w 40873"/>
                          <a:gd name="connsiteY30" fmla="*/ 28468 h 41588"/>
                          <a:gd name="connsiteX31" fmla="*/ 2153 w 40873"/>
                          <a:gd name="connsiteY31" fmla="*/ 28169 h 41588"/>
                          <a:gd name="connsiteX32" fmla="*/ 2093 w 40873"/>
                          <a:gd name="connsiteY32" fmla="*/ 27870 h 41588"/>
                          <a:gd name="connsiteX33" fmla="*/ 1734 w 40873"/>
                          <a:gd name="connsiteY33" fmla="*/ 25896 h 41588"/>
                          <a:gd name="connsiteX34" fmla="*/ 1555 w 40873"/>
                          <a:gd name="connsiteY34" fmla="*/ 23863 h 41588"/>
                          <a:gd name="connsiteX35" fmla="*/ 1615 w 40873"/>
                          <a:gd name="connsiteY35" fmla="*/ 21770 h 41588"/>
                          <a:gd name="connsiteX36" fmla="*/ 1914 w 40873"/>
                          <a:gd name="connsiteY36" fmla="*/ 19676 h 41588"/>
                          <a:gd name="connsiteX37" fmla="*/ 2153 w 40873"/>
                          <a:gd name="connsiteY37" fmla="*/ 18660 h 41588"/>
                          <a:gd name="connsiteX38" fmla="*/ 2392 w 40873"/>
                          <a:gd name="connsiteY38" fmla="*/ 17643 h 41588"/>
                          <a:gd name="connsiteX39" fmla="*/ 2691 w 40873"/>
                          <a:gd name="connsiteY39" fmla="*/ 16686 h 41588"/>
                          <a:gd name="connsiteX40" fmla="*/ 3050 w 40873"/>
                          <a:gd name="connsiteY40" fmla="*/ 15729 h 41588"/>
                          <a:gd name="connsiteX41" fmla="*/ 3170 w 40873"/>
                          <a:gd name="connsiteY41" fmla="*/ 15430 h 41588"/>
                          <a:gd name="connsiteX42" fmla="*/ 3289 w 40873"/>
                          <a:gd name="connsiteY42" fmla="*/ 15131 h 41588"/>
                          <a:gd name="connsiteX43" fmla="*/ 3409 w 40873"/>
                          <a:gd name="connsiteY43" fmla="*/ 14832 h 41588"/>
                          <a:gd name="connsiteX44" fmla="*/ 3529 w 40873"/>
                          <a:gd name="connsiteY44" fmla="*/ 14533 h 41588"/>
                          <a:gd name="connsiteX45" fmla="*/ 5024 w 40873"/>
                          <a:gd name="connsiteY45" fmla="*/ 11782 h 41588"/>
                          <a:gd name="connsiteX46" fmla="*/ 6878 w 40873"/>
                          <a:gd name="connsiteY46" fmla="*/ 9270 h 41588"/>
                          <a:gd name="connsiteX47" fmla="*/ 9031 w 40873"/>
                          <a:gd name="connsiteY47" fmla="*/ 6997 h 41588"/>
                          <a:gd name="connsiteX48" fmla="*/ 11423 w 40873"/>
                          <a:gd name="connsiteY48" fmla="*/ 5083 h 41588"/>
                          <a:gd name="connsiteX49" fmla="*/ 11782 w 40873"/>
                          <a:gd name="connsiteY49" fmla="*/ 4844 h 41588"/>
                          <a:gd name="connsiteX50" fmla="*/ 12141 w 40873"/>
                          <a:gd name="connsiteY50" fmla="*/ 4605 h 41588"/>
                          <a:gd name="connsiteX51" fmla="*/ 12500 w 40873"/>
                          <a:gd name="connsiteY51" fmla="*/ 4366 h 41588"/>
                          <a:gd name="connsiteX52" fmla="*/ 12859 w 40873"/>
                          <a:gd name="connsiteY52" fmla="*/ 4186 h 41588"/>
                          <a:gd name="connsiteX53" fmla="*/ 13756 w 40873"/>
                          <a:gd name="connsiteY53" fmla="*/ 3648 h 41588"/>
                          <a:gd name="connsiteX54" fmla="*/ 14713 w 40873"/>
                          <a:gd name="connsiteY54" fmla="*/ 3170 h 41588"/>
                          <a:gd name="connsiteX55" fmla="*/ 15669 w 40873"/>
                          <a:gd name="connsiteY55" fmla="*/ 2751 h 41588"/>
                          <a:gd name="connsiteX56" fmla="*/ 16626 w 40873"/>
                          <a:gd name="connsiteY56" fmla="*/ 2392 h 41588"/>
                          <a:gd name="connsiteX57" fmla="*/ 17105 w 40873"/>
                          <a:gd name="connsiteY57" fmla="*/ 2213 h 41588"/>
                          <a:gd name="connsiteX58" fmla="*/ 17583 w 40873"/>
                          <a:gd name="connsiteY58" fmla="*/ 2033 h 41588"/>
                          <a:gd name="connsiteX59" fmla="*/ 18121 w 40873"/>
                          <a:gd name="connsiteY59" fmla="*/ 1914 h 41588"/>
                          <a:gd name="connsiteX60" fmla="*/ 18660 w 40873"/>
                          <a:gd name="connsiteY60" fmla="*/ 1794 h 41588"/>
                          <a:gd name="connsiteX61" fmla="*/ 20095 w 40873"/>
                          <a:gd name="connsiteY61" fmla="*/ 1495 h 41588"/>
                          <a:gd name="connsiteX62" fmla="*/ 21530 w 40873"/>
                          <a:gd name="connsiteY62" fmla="*/ 1316 h 41588"/>
                          <a:gd name="connsiteX63" fmla="*/ 22966 w 40873"/>
                          <a:gd name="connsiteY63" fmla="*/ 1256 h 41588"/>
                          <a:gd name="connsiteX64" fmla="*/ 24401 w 40873"/>
                          <a:gd name="connsiteY64" fmla="*/ 1316 h 41588"/>
                          <a:gd name="connsiteX65" fmla="*/ 24581 w 40873"/>
                          <a:gd name="connsiteY65" fmla="*/ 1316 h 41588"/>
                          <a:gd name="connsiteX66" fmla="*/ 24760 w 40873"/>
                          <a:gd name="connsiteY66" fmla="*/ 1316 h 41588"/>
                          <a:gd name="connsiteX67" fmla="*/ 24940 w 40873"/>
                          <a:gd name="connsiteY67" fmla="*/ 1316 h 41588"/>
                          <a:gd name="connsiteX68" fmla="*/ 25119 w 40873"/>
                          <a:gd name="connsiteY68" fmla="*/ 1316 h 41588"/>
                          <a:gd name="connsiteX69" fmla="*/ 25418 w 40873"/>
                          <a:gd name="connsiteY69" fmla="*/ 1375 h 41588"/>
                          <a:gd name="connsiteX70" fmla="*/ 25717 w 40873"/>
                          <a:gd name="connsiteY70" fmla="*/ 1435 h 41588"/>
                          <a:gd name="connsiteX71" fmla="*/ 26016 w 40873"/>
                          <a:gd name="connsiteY71" fmla="*/ 1495 h 41588"/>
                          <a:gd name="connsiteX72" fmla="*/ 26315 w 40873"/>
                          <a:gd name="connsiteY72" fmla="*/ 1555 h 41588"/>
                          <a:gd name="connsiteX73" fmla="*/ 28229 w 40873"/>
                          <a:gd name="connsiteY73" fmla="*/ 2033 h 41588"/>
                          <a:gd name="connsiteX74" fmla="*/ 30083 w 40873"/>
                          <a:gd name="connsiteY74" fmla="*/ 2751 h 41588"/>
                          <a:gd name="connsiteX75" fmla="*/ 31817 w 40873"/>
                          <a:gd name="connsiteY75" fmla="*/ 3648 h 41588"/>
                          <a:gd name="connsiteX76" fmla="*/ 33432 w 40873"/>
                          <a:gd name="connsiteY76" fmla="*/ 4725 h 41588"/>
                          <a:gd name="connsiteX77" fmla="*/ 33492 w 40873"/>
                          <a:gd name="connsiteY77" fmla="*/ 4785 h 41588"/>
                          <a:gd name="connsiteX78" fmla="*/ 33552 w 40873"/>
                          <a:gd name="connsiteY78" fmla="*/ 4844 h 41588"/>
                          <a:gd name="connsiteX79" fmla="*/ 33612 w 40873"/>
                          <a:gd name="connsiteY79" fmla="*/ 4904 h 41588"/>
                          <a:gd name="connsiteX80" fmla="*/ 33671 w 40873"/>
                          <a:gd name="connsiteY80" fmla="*/ 4964 h 41588"/>
                          <a:gd name="connsiteX81" fmla="*/ 33911 w 40873"/>
                          <a:gd name="connsiteY81" fmla="*/ 5143 h 41588"/>
                          <a:gd name="connsiteX82" fmla="*/ 34150 w 40873"/>
                          <a:gd name="connsiteY82" fmla="*/ 5323 h 41588"/>
                          <a:gd name="connsiteX83" fmla="*/ 34389 w 40873"/>
                          <a:gd name="connsiteY83" fmla="*/ 5502 h 41588"/>
                          <a:gd name="connsiteX84" fmla="*/ 34628 w 40873"/>
                          <a:gd name="connsiteY84" fmla="*/ 5681 h 41588"/>
                          <a:gd name="connsiteX85" fmla="*/ 35167 w 40873"/>
                          <a:gd name="connsiteY85" fmla="*/ 6160 h 41588"/>
                          <a:gd name="connsiteX86" fmla="*/ 35645 w 40873"/>
                          <a:gd name="connsiteY86" fmla="*/ 6698 h 41588"/>
                          <a:gd name="connsiteX87" fmla="*/ 36123 w 40873"/>
                          <a:gd name="connsiteY87" fmla="*/ 7236 h 41588"/>
                          <a:gd name="connsiteX88" fmla="*/ 36542 w 40873"/>
                          <a:gd name="connsiteY88" fmla="*/ 7775 h 41588"/>
                          <a:gd name="connsiteX89" fmla="*/ 36841 w 40873"/>
                          <a:gd name="connsiteY89" fmla="*/ 8134 h 41588"/>
                          <a:gd name="connsiteX90" fmla="*/ 37081 w 40873"/>
                          <a:gd name="connsiteY90" fmla="*/ 8552 h 41588"/>
                          <a:gd name="connsiteX91" fmla="*/ 37320 w 40873"/>
                          <a:gd name="connsiteY91" fmla="*/ 8971 h 41588"/>
                          <a:gd name="connsiteX92" fmla="*/ 37320 w 40873"/>
                          <a:gd name="connsiteY92" fmla="*/ 9390 h 41588"/>
                          <a:gd name="connsiteX93" fmla="*/ 7895 w 40873"/>
                          <a:gd name="connsiteY93" fmla="*/ 36961 h 41588"/>
                          <a:gd name="connsiteX94" fmla="*/ 9928 w 40873"/>
                          <a:gd name="connsiteY94" fmla="*/ 38276 h 41588"/>
                          <a:gd name="connsiteX95" fmla="*/ 12141 w 40873"/>
                          <a:gd name="connsiteY95" fmla="*/ 39234 h 41588"/>
                          <a:gd name="connsiteX96" fmla="*/ 14473 w 40873"/>
                          <a:gd name="connsiteY96" fmla="*/ 39891 h 41588"/>
                          <a:gd name="connsiteX97" fmla="*/ 16985 w 40873"/>
                          <a:gd name="connsiteY97" fmla="*/ 40190 h 41588"/>
                          <a:gd name="connsiteX98" fmla="*/ 20753 w 40873"/>
                          <a:gd name="connsiteY98" fmla="*/ 40011 h 41588"/>
                          <a:gd name="connsiteX99" fmla="*/ 24461 w 40873"/>
                          <a:gd name="connsiteY99" fmla="*/ 39114 h 41588"/>
                          <a:gd name="connsiteX100" fmla="*/ 27990 w 40873"/>
                          <a:gd name="connsiteY100" fmla="*/ 37499 h 41588"/>
                          <a:gd name="connsiteX101" fmla="*/ 31279 w 40873"/>
                          <a:gd name="connsiteY101" fmla="*/ 35226 h 41588"/>
                          <a:gd name="connsiteX102" fmla="*/ 34150 w 40873"/>
                          <a:gd name="connsiteY102" fmla="*/ 32415 h 41588"/>
                          <a:gd name="connsiteX103" fmla="*/ 36482 w 40873"/>
                          <a:gd name="connsiteY103" fmla="*/ 29186 h 41588"/>
                          <a:gd name="connsiteX104" fmla="*/ 38217 w 40873"/>
                          <a:gd name="connsiteY104" fmla="*/ 25657 h 41588"/>
                          <a:gd name="connsiteX105" fmla="*/ 39353 w 40873"/>
                          <a:gd name="connsiteY105" fmla="*/ 21829 h 41588"/>
                          <a:gd name="connsiteX106" fmla="*/ 39712 w 40873"/>
                          <a:gd name="connsiteY106" fmla="*/ 18002 h 41588"/>
                          <a:gd name="connsiteX107" fmla="*/ 39353 w 40873"/>
                          <a:gd name="connsiteY107" fmla="*/ 14294 h 41588"/>
                          <a:gd name="connsiteX108" fmla="*/ 38277 w 40873"/>
                          <a:gd name="connsiteY108" fmla="*/ 10825 h 41588"/>
                          <a:gd name="connsiteX109" fmla="*/ 36482 w 40873"/>
                          <a:gd name="connsiteY109" fmla="*/ 7715 h 41588"/>
                          <a:gd name="connsiteX110" fmla="*/ 35765 w 40873"/>
                          <a:gd name="connsiteY110" fmla="*/ 6818 h 41588"/>
                          <a:gd name="connsiteX111" fmla="*/ 34987 w 40873"/>
                          <a:gd name="connsiteY111" fmla="*/ 5981 h 41588"/>
                          <a:gd name="connsiteX112" fmla="*/ 34150 w 40873"/>
                          <a:gd name="connsiteY112" fmla="*/ 5203 h 41588"/>
                          <a:gd name="connsiteX113" fmla="*/ 33313 w 40873"/>
                          <a:gd name="connsiteY113" fmla="*/ 4486 h 41588"/>
                          <a:gd name="connsiteX114" fmla="*/ 31339 w 40873"/>
                          <a:gd name="connsiteY114" fmla="*/ 3170 h 41588"/>
                          <a:gd name="connsiteX115" fmla="*/ 29186 w 40873"/>
                          <a:gd name="connsiteY115" fmla="*/ 2153 h 41588"/>
                          <a:gd name="connsiteX116" fmla="*/ 26853 w 40873"/>
                          <a:gd name="connsiteY116" fmla="*/ 1495 h 41588"/>
                          <a:gd name="connsiteX117" fmla="*/ 24342 w 40873"/>
                          <a:gd name="connsiteY117" fmla="*/ 1136 h 41588"/>
                          <a:gd name="connsiteX118" fmla="*/ 16686 w 40873"/>
                          <a:gd name="connsiteY118" fmla="*/ 2153 h 41588"/>
                          <a:gd name="connsiteX119" fmla="*/ 9868 w 40873"/>
                          <a:gd name="connsiteY119" fmla="*/ 5981 h 41588"/>
                          <a:gd name="connsiteX120" fmla="*/ 4605 w 40873"/>
                          <a:gd name="connsiteY120" fmla="*/ 11961 h 41588"/>
                          <a:gd name="connsiteX121" fmla="*/ 1674 w 40873"/>
                          <a:gd name="connsiteY121" fmla="*/ 19497 h 41588"/>
                          <a:gd name="connsiteX122" fmla="*/ 1316 w 40873"/>
                          <a:gd name="connsiteY122" fmla="*/ 23384 h 41588"/>
                          <a:gd name="connsiteX123" fmla="*/ 1734 w 40873"/>
                          <a:gd name="connsiteY123" fmla="*/ 27092 h 41588"/>
                          <a:gd name="connsiteX124" fmla="*/ 2871 w 40873"/>
                          <a:gd name="connsiteY124" fmla="*/ 30561 h 41588"/>
                          <a:gd name="connsiteX125" fmla="*/ 4725 w 40873"/>
                          <a:gd name="connsiteY125" fmla="*/ 33671 h 41588"/>
                          <a:gd name="connsiteX126" fmla="*/ 5442 w 40873"/>
                          <a:gd name="connsiteY126" fmla="*/ 34568 h 41588"/>
                          <a:gd name="connsiteX127" fmla="*/ 6220 w 40873"/>
                          <a:gd name="connsiteY127" fmla="*/ 35406 h 41588"/>
                          <a:gd name="connsiteX128" fmla="*/ 7057 w 40873"/>
                          <a:gd name="connsiteY128" fmla="*/ 36183 h 41588"/>
                          <a:gd name="connsiteX129" fmla="*/ 7895 w 40873"/>
                          <a:gd name="connsiteY129" fmla="*/ 36961 h 41588"/>
                          <a:gd name="connsiteX130" fmla="*/ 34150 w 40873"/>
                          <a:gd name="connsiteY130" fmla="*/ 3588 h 41588"/>
                          <a:gd name="connsiteX131" fmla="*/ 35047 w 40873"/>
                          <a:gd name="connsiteY131" fmla="*/ 4366 h 41588"/>
                          <a:gd name="connsiteX132" fmla="*/ 35884 w 40873"/>
                          <a:gd name="connsiteY132" fmla="*/ 5203 h 41588"/>
                          <a:gd name="connsiteX133" fmla="*/ 36722 w 40873"/>
                          <a:gd name="connsiteY133" fmla="*/ 6100 h 41588"/>
                          <a:gd name="connsiteX134" fmla="*/ 37499 w 40873"/>
                          <a:gd name="connsiteY134" fmla="*/ 7057 h 41588"/>
                          <a:gd name="connsiteX135" fmla="*/ 39353 w 40873"/>
                          <a:gd name="connsiteY135" fmla="*/ 10406 h 41588"/>
                          <a:gd name="connsiteX136" fmla="*/ 40490 w 40873"/>
                          <a:gd name="connsiteY136" fmla="*/ 14055 h 41588"/>
                          <a:gd name="connsiteX137" fmla="*/ 40848 w 40873"/>
                          <a:gd name="connsiteY137" fmla="*/ 17942 h 41588"/>
                          <a:gd name="connsiteX138" fmla="*/ 40430 w 40873"/>
                          <a:gd name="connsiteY138" fmla="*/ 22009 h 41588"/>
                          <a:gd name="connsiteX139" fmla="*/ 39293 w 40873"/>
                          <a:gd name="connsiteY139" fmla="*/ 26016 h 41588"/>
                          <a:gd name="connsiteX140" fmla="*/ 37439 w 40873"/>
                          <a:gd name="connsiteY140" fmla="*/ 29784 h 41588"/>
                          <a:gd name="connsiteX141" fmla="*/ 34987 w 40873"/>
                          <a:gd name="connsiteY141" fmla="*/ 33193 h 41588"/>
                          <a:gd name="connsiteX142" fmla="*/ 31937 w 40873"/>
                          <a:gd name="connsiteY142" fmla="*/ 36183 h 41588"/>
                          <a:gd name="connsiteX143" fmla="*/ 28408 w 40873"/>
                          <a:gd name="connsiteY143" fmla="*/ 38575 h 41588"/>
                          <a:gd name="connsiteX144" fmla="*/ 24641 w 40873"/>
                          <a:gd name="connsiteY144" fmla="*/ 40250 h 41588"/>
                          <a:gd name="connsiteX145" fmla="*/ 20753 w 40873"/>
                          <a:gd name="connsiteY145" fmla="*/ 41207 h 41588"/>
                          <a:gd name="connsiteX146" fmla="*/ 16746 w 40873"/>
                          <a:gd name="connsiteY146" fmla="*/ 41386 h 41588"/>
                          <a:gd name="connsiteX147" fmla="*/ 14114 w 40873"/>
                          <a:gd name="connsiteY147" fmla="*/ 41088 h 41588"/>
                          <a:gd name="connsiteX148" fmla="*/ 11603 w 40873"/>
                          <a:gd name="connsiteY148" fmla="*/ 40430 h 41588"/>
                          <a:gd name="connsiteX149" fmla="*/ 9270 w 40873"/>
                          <a:gd name="connsiteY149" fmla="*/ 39413 h 41588"/>
                          <a:gd name="connsiteX150" fmla="*/ 7117 w 40873"/>
                          <a:gd name="connsiteY150" fmla="*/ 38037 h 41588"/>
                          <a:gd name="connsiteX151" fmla="*/ 6220 w 40873"/>
                          <a:gd name="connsiteY151" fmla="*/ 37260 h 41588"/>
                          <a:gd name="connsiteX152" fmla="*/ 5323 w 40873"/>
                          <a:gd name="connsiteY152" fmla="*/ 36422 h 41588"/>
                          <a:gd name="connsiteX153" fmla="*/ 4486 w 40873"/>
                          <a:gd name="connsiteY153" fmla="*/ 35526 h 41588"/>
                          <a:gd name="connsiteX154" fmla="*/ 3708 w 40873"/>
                          <a:gd name="connsiteY154" fmla="*/ 34568 h 41588"/>
                          <a:gd name="connsiteX155" fmla="*/ 1734 w 40873"/>
                          <a:gd name="connsiteY155" fmla="*/ 31279 h 41588"/>
                          <a:gd name="connsiteX156" fmla="*/ 538 w 40873"/>
                          <a:gd name="connsiteY156" fmla="*/ 27631 h 41588"/>
                          <a:gd name="connsiteX157" fmla="*/ 120 w 40873"/>
                          <a:gd name="connsiteY157" fmla="*/ 23683 h 41588"/>
                          <a:gd name="connsiteX158" fmla="*/ 479 w 40873"/>
                          <a:gd name="connsiteY158" fmla="*/ 19557 h 41588"/>
                          <a:gd name="connsiteX159" fmla="*/ 3588 w 40873"/>
                          <a:gd name="connsiteY159" fmla="*/ 11543 h 41588"/>
                          <a:gd name="connsiteX160" fmla="*/ 9150 w 40873"/>
                          <a:gd name="connsiteY160" fmla="*/ 5203 h 41588"/>
                          <a:gd name="connsiteX161" fmla="*/ 16387 w 40873"/>
                          <a:gd name="connsiteY161" fmla="*/ 1196 h 41588"/>
                          <a:gd name="connsiteX162" fmla="*/ 24461 w 40873"/>
                          <a:gd name="connsiteY162" fmla="*/ 119 h 41588"/>
                          <a:gd name="connsiteX163" fmla="*/ 27152 w 40873"/>
                          <a:gd name="connsiteY163" fmla="*/ 478 h 41588"/>
                          <a:gd name="connsiteX164" fmla="*/ 29665 w 40873"/>
                          <a:gd name="connsiteY164" fmla="*/ 1196 h 41588"/>
                          <a:gd name="connsiteX165" fmla="*/ 31997 w 40873"/>
                          <a:gd name="connsiteY165" fmla="*/ 2273 h 41588"/>
                          <a:gd name="connsiteX166" fmla="*/ 34150 w 40873"/>
                          <a:gd name="connsiteY166" fmla="*/ 3588 h 41588"/>
                          <a:gd name="connsiteX167" fmla="*/ 7057 w 40873"/>
                          <a:gd name="connsiteY167" fmla="*/ 38037 h 41588"/>
                          <a:gd name="connsiteX168" fmla="*/ 9210 w 40873"/>
                          <a:gd name="connsiteY168" fmla="*/ 39413 h 41588"/>
                          <a:gd name="connsiteX169" fmla="*/ 11543 w 40873"/>
                          <a:gd name="connsiteY169" fmla="*/ 40489 h 41588"/>
                          <a:gd name="connsiteX170" fmla="*/ 14055 w 40873"/>
                          <a:gd name="connsiteY170" fmla="*/ 41207 h 41588"/>
                          <a:gd name="connsiteX171" fmla="*/ 16686 w 40873"/>
                          <a:gd name="connsiteY171" fmla="*/ 41566 h 41588"/>
                          <a:gd name="connsiteX172" fmla="*/ 20693 w 40873"/>
                          <a:gd name="connsiteY172" fmla="*/ 41386 h 41588"/>
                          <a:gd name="connsiteX173" fmla="*/ 24641 w 40873"/>
                          <a:gd name="connsiteY173" fmla="*/ 40430 h 41588"/>
                          <a:gd name="connsiteX174" fmla="*/ 28408 w 40873"/>
                          <a:gd name="connsiteY174" fmla="*/ 38755 h 41588"/>
                          <a:gd name="connsiteX175" fmla="*/ 31937 w 40873"/>
                          <a:gd name="connsiteY175" fmla="*/ 36363 h 41588"/>
                          <a:gd name="connsiteX176" fmla="*/ 34987 w 40873"/>
                          <a:gd name="connsiteY176" fmla="*/ 33372 h 41588"/>
                          <a:gd name="connsiteX177" fmla="*/ 37499 w 40873"/>
                          <a:gd name="connsiteY177" fmla="*/ 29963 h 41588"/>
                          <a:gd name="connsiteX178" fmla="*/ 39353 w 40873"/>
                          <a:gd name="connsiteY178" fmla="*/ 26196 h 41588"/>
                          <a:gd name="connsiteX179" fmla="*/ 40490 w 40873"/>
                          <a:gd name="connsiteY179" fmla="*/ 22128 h 41588"/>
                          <a:gd name="connsiteX180" fmla="*/ 40848 w 40873"/>
                          <a:gd name="connsiteY180" fmla="*/ 18959 h 41588"/>
                          <a:gd name="connsiteX181" fmla="*/ 40789 w 40873"/>
                          <a:gd name="connsiteY181" fmla="*/ 15909 h 41588"/>
                          <a:gd name="connsiteX182" fmla="*/ 40250 w 40873"/>
                          <a:gd name="connsiteY182" fmla="*/ 12978 h 41588"/>
                          <a:gd name="connsiteX183" fmla="*/ 39293 w 40873"/>
                          <a:gd name="connsiteY183" fmla="*/ 10227 h 41588"/>
                          <a:gd name="connsiteX184" fmla="*/ 39114 w 40873"/>
                          <a:gd name="connsiteY184" fmla="*/ 9868 h 41588"/>
                          <a:gd name="connsiteX185" fmla="*/ 38935 w 40873"/>
                          <a:gd name="connsiteY185" fmla="*/ 9509 h 41588"/>
                          <a:gd name="connsiteX186" fmla="*/ 38755 w 40873"/>
                          <a:gd name="connsiteY186" fmla="*/ 9150 h 41588"/>
                          <a:gd name="connsiteX187" fmla="*/ 38576 w 40873"/>
                          <a:gd name="connsiteY187" fmla="*/ 8791 h 41588"/>
                          <a:gd name="connsiteX188" fmla="*/ 37858 w 40873"/>
                          <a:gd name="connsiteY188" fmla="*/ 7595 h 41588"/>
                          <a:gd name="connsiteX189" fmla="*/ 37021 w 40873"/>
                          <a:gd name="connsiteY189" fmla="*/ 6459 h 41588"/>
                          <a:gd name="connsiteX190" fmla="*/ 36064 w 40873"/>
                          <a:gd name="connsiteY190" fmla="*/ 5382 h 41588"/>
                          <a:gd name="connsiteX191" fmla="*/ 35047 w 40873"/>
                          <a:gd name="connsiteY191" fmla="*/ 4366 h 41588"/>
                          <a:gd name="connsiteX192" fmla="*/ 34868 w 40873"/>
                          <a:gd name="connsiteY192" fmla="*/ 4186 h 41588"/>
                          <a:gd name="connsiteX193" fmla="*/ 34688 w 40873"/>
                          <a:gd name="connsiteY193" fmla="*/ 4007 h 41588"/>
                          <a:gd name="connsiteX194" fmla="*/ 34509 w 40873"/>
                          <a:gd name="connsiteY194" fmla="*/ 3827 h 41588"/>
                          <a:gd name="connsiteX195" fmla="*/ 34329 w 40873"/>
                          <a:gd name="connsiteY195" fmla="*/ 3648 h 41588"/>
                          <a:gd name="connsiteX196" fmla="*/ 34329 w 40873"/>
                          <a:gd name="connsiteY196" fmla="*/ 3648 h 41588"/>
                          <a:gd name="connsiteX197" fmla="*/ 34329 w 40873"/>
                          <a:gd name="connsiteY197" fmla="*/ 3648 h 41588"/>
                          <a:gd name="connsiteX198" fmla="*/ 34329 w 40873"/>
                          <a:gd name="connsiteY198" fmla="*/ 3648 h 41588"/>
                          <a:gd name="connsiteX199" fmla="*/ 34329 w 40873"/>
                          <a:gd name="connsiteY199" fmla="*/ 3648 h 41588"/>
                          <a:gd name="connsiteX200" fmla="*/ 32655 w 40873"/>
                          <a:gd name="connsiteY200" fmla="*/ 2512 h 41588"/>
                          <a:gd name="connsiteX201" fmla="*/ 30860 w 40873"/>
                          <a:gd name="connsiteY201" fmla="*/ 1615 h 41588"/>
                          <a:gd name="connsiteX202" fmla="*/ 28947 w 40873"/>
                          <a:gd name="connsiteY202" fmla="*/ 897 h 41588"/>
                          <a:gd name="connsiteX203" fmla="*/ 26973 w 40873"/>
                          <a:gd name="connsiteY203" fmla="*/ 419 h 41588"/>
                          <a:gd name="connsiteX204" fmla="*/ 26674 w 40873"/>
                          <a:gd name="connsiteY204" fmla="*/ 359 h 41588"/>
                          <a:gd name="connsiteX205" fmla="*/ 26375 w 40873"/>
                          <a:gd name="connsiteY205" fmla="*/ 299 h 41588"/>
                          <a:gd name="connsiteX206" fmla="*/ 26076 w 40873"/>
                          <a:gd name="connsiteY206" fmla="*/ 239 h 41588"/>
                          <a:gd name="connsiteX207" fmla="*/ 25777 w 40873"/>
                          <a:gd name="connsiteY207" fmla="*/ 179 h 41588"/>
                          <a:gd name="connsiteX208" fmla="*/ 25478 w 40873"/>
                          <a:gd name="connsiteY208" fmla="*/ 119 h 41588"/>
                          <a:gd name="connsiteX209" fmla="*/ 25179 w 40873"/>
                          <a:gd name="connsiteY209" fmla="*/ 60 h 41588"/>
                          <a:gd name="connsiteX210" fmla="*/ 24880 w 40873"/>
                          <a:gd name="connsiteY210" fmla="*/ 60 h 41588"/>
                          <a:gd name="connsiteX211" fmla="*/ 24581 w 40873"/>
                          <a:gd name="connsiteY211" fmla="*/ 60 h 41588"/>
                          <a:gd name="connsiteX212" fmla="*/ 22488 w 40873"/>
                          <a:gd name="connsiteY212" fmla="*/ 0 h 41588"/>
                          <a:gd name="connsiteX213" fmla="*/ 20394 w 40873"/>
                          <a:gd name="connsiteY213" fmla="*/ 179 h 41588"/>
                          <a:gd name="connsiteX214" fmla="*/ 18301 w 40873"/>
                          <a:gd name="connsiteY214" fmla="*/ 598 h 41588"/>
                          <a:gd name="connsiteX215" fmla="*/ 16267 w 40873"/>
                          <a:gd name="connsiteY215" fmla="*/ 1196 h 41588"/>
                          <a:gd name="connsiteX216" fmla="*/ 15849 w 40873"/>
                          <a:gd name="connsiteY216" fmla="*/ 1375 h 41588"/>
                          <a:gd name="connsiteX217" fmla="*/ 15430 w 40873"/>
                          <a:gd name="connsiteY217" fmla="*/ 1555 h 41588"/>
                          <a:gd name="connsiteX218" fmla="*/ 15012 w 40873"/>
                          <a:gd name="connsiteY218" fmla="*/ 1734 h 41588"/>
                          <a:gd name="connsiteX219" fmla="*/ 14593 w 40873"/>
                          <a:gd name="connsiteY219" fmla="*/ 1914 h 41588"/>
                          <a:gd name="connsiteX220" fmla="*/ 14234 w 40873"/>
                          <a:gd name="connsiteY220" fmla="*/ 2093 h 41588"/>
                          <a:gd name="connsiteX221" fmla="*/ 13875 w 40873"/>
                          <a:gd name="connsiteY221" fmla="*/ 2273 h 41588"/>
                          <a:gd name="connsiteX222" fmla="*/ 13516 w 40873"/>
                          <a:gd name="connsiteY222" fmla="*/ 2452 h 41588"/>
                          <a:gd name="connsiteX223" fmla="*/ 13158 w 40873"/>
                          <a:gd name="connsiteY223" fmla="*/ 2632 h 41588"/>
                          <a:gd name="connsiteX224" fmla="*/ 12799 w 40873"/>
                          <a:gd name="connsiteY224" fmla="*/ 2811 h 41588"/>
                          <a:gd name="connsiteX225" fmla="*/ 12440 w 40873"/>
                          <a:gd name="connsiteY225" fmla="*/ 2990 h 41588"/>
                          <a:gd name="connsiteX226" fmla="*/ 12081 w 40873"/>
                          <a:gd name="connsiteY226" fmla="*/ 3170 h 41588"/>
                          <a:gd name="connsiteX227" fmla="*/ 11722 w 40873"/>
                          <a:gd name="connsiteY227" fmla="*/ 3349 h 41588"/>
                          <a:gd name="connsiteX228" fmla="*/ 11064 w 40873"/>
                          <a:gd name="connsiteY228" fmla="*/ 3768 h 41588"/>
                          <a:gd name="connsiteX229" fmla="*/ 10406 w 40873"/>
                          <a:gd name="connsiteY229" fmla="*/ 4246 h 41588"/>
                          <a:gd name="connsiteX230" fmla="*/ 9749 w 40873"/>
                          <a:gd name="connsiteY230" fmla="*/ 4725 h 41588"/>
                          <a:gd name="connsiteX231" fmla="*/ 9150 w 40873"/>
                          <a:gd name="connsiteY231" fmla="*/ 5203 h 41588"/>
                          <a:gd name="connsiteX232" fmla="*/ 6937 w 40873"/>
                          <a:gd name="connsiteY232" fmla="*/ 7236 h 41588"/>
                          <a:gd name="connsiteX233" fmla="*/ 4964 w 40873"/>
                          <a:gd name="connsiteY233" fmla="*/ 9509 h 41588"/>
                          <a:gd name="connsiteX234" fmla="*/ 3289 w 40873"/>
                          <a:gd name="connsiteY234" fmla="*/ 11961 h 41588"/>
                          <a:gd name="connsiteX235" fmla="*/ 1974 w 40873"/>
                          <a:gd name="connsiteY235" fmla="*/ 14593 h 41588"/>
                          <a:gd name="connsiteX236" fmla="*/ 1854 w 40873"/>
                          <a:gd name="connsiteY236" fmla="*/ 14892 h 41588"/>
                          <a:gd name="connsiteX237" fmla="*/ 1734 w 40873"/>
                          <a:gd name="connsiteY237" fmla="*/ 15191 h 41588"/>
                          <a:gd name="connsiteX238" fmla="*/ 1615 w 40873"/>
                          <a:gd name="connsiteY238" fmla="*/ 15490 h 41588"/>
                          <a:gd name="connsiteX239" fmla="*/ 1495 w 40873"/>
                          <a:gd name="connsiteY239" fmla="*/ 15789 h 41588"/>
                          <a:gd name="connsiteX240" fmla="*/ 1136 w 40873"/>
                          <a:gd name="connsiteY240" fmla="*/ 16746 h 41588"/>
                          <a:gd name="connsiteX241" fmla="*/ 837 w 40873"/>
                          <a:gd name="connsiteY241" fmla="*/ 17703 h 41588"/>
                          <a:gd name="connsiteX242" fmla="*/ 598 w 40873"/>
                          <a:gd name="connsiteY242" fmla="*/ 18660 h 41588"/>
                          <a:gd name="connsiteX243" fmla="*/ 359 w 40873"/>
                          <a:gd name="connsiteY243" fmla="*/ 19676 h 41588"/>
                          <a:gd name="connsiteX244" fmla="*/ 60 w 40873"/>
                          <a:gd name="connsiteY244" fmla="*/ 21770 h 41588"/>
                          <a:gd name="connsiteX245" fmla="*/ 0 w 40873"/>
                          <a:gd name="connsiteY245" fmla="*/ 23863 h 41588"/>
                          <a:gd name="connsiteX246" fmla="*/ 120 w 40873"/>
                          <a:gd name="connsiteY246" fmla="*/ 25896 h 41588"/>
                          <a:gd name="connsiteX247" fmla="*/ 479 w 40873"/>
                          <a:gd name="connsiteY247" fmla="*/ 27870 h 41588"/>
                          <a:gd name="connsiteX248" fmla="*/ 538 w 40873"/>
                          <a:gd name="connsiteY248" fmla="*/ 28169 h 41588"/>
                          <a:gd name="connsiteX249" fmla="*/ 598 w 40873"/>
                          <a:gd name="connsiteY249" fmla="*/ 28468 h 41588"/>
                          <a:gd name="connsiteX250" fmla="*/ 658 w 40873"/>
                          <a:gd name="connsiteY250" fmla="*/ 28767 h 41588"/>
                          <a:gd name="connsiteX251" fmla="*/ 718 w 40873"/>
                          <a:gd name="connsiteY251" fmla="*/ 29066 h 41588"/>
                          <a:gd name="connsiteX252" fmla="*/ 1495 w 40873"/>
                          <a:gd name="connsiteY252" fmla="*/ 31279 h 41588"/>
                          <a:gd name="connsiteX253" fmla="*/ 2512 w 40873"/>
                          <a:gd name="connsiteY253" fmla="*/ 33313 h 41588"/>
                          <a:gd name="connsiteX254" fmla="*/ 3828 w 40873"/>
                          <a:gd name="connsiteY254" fmla="*/ 35167 h 41588"/>
                          <a:gd name="connsiteX255" fmla="*/ 5383 w 40873"/>
                          <a:gd name="connsiteY255" fmla="*/ 36841 h 41588"/>
                          <a:gd name="connsiteX256" fmla="*/ 5622 w 40873"/>
                          <a:gd name="connsiteY256" fmla="*/ 37080 h 41588"/>
                          <a:gd name="connsiteX257" fmla="*/ 5861 w 40873"/>
                          <a:gd name="connsiteY257" fmla="*/ 37320 h 41588"/>
                          <a:gd name="connsiteX258" fmla="*/ 6100 w 40873"/>
                          <a:gd name="connsiteY258" fmla="*/ 37559 h 41588"/>
                          <a:gd name="connsiteX259" fmla="*/ 6340 w 40873"/>
                          <a:gd name="connsiteY259" fmla="*/ 37738 h 41588"/>
                          <a:gd name="connsiteX260" fmla="*/ 6459 w 40873"/>
                          <a:gd name="connsiteY260" fmla="*/ 37858 h 41588"/>
                          <a:gd name="connsiteX261" fmla="*/ 6579 w 40873"/>
                          <a:gd name="connsiteY261" fmla="*/ 37977 h 41588"/>
                          <a:gd name="connsiteX262" fmla="*/ 6698 w 40873"/>
                          <a:gd name="connsiteY262" fmla="*/ 38097 h 41588"/>
                          <a:gd name="connsiteX263" fmla="*/ 7057 w 40873"/>
                          <a:gd name="connsiteY263" fmla="*/ 38037 h 4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40873" h="41588">
                            <a:moveTo>
                              <a:pt x="37320" y="9390"/>
                            </a:moveTo>
                            <a:cubicBezTo>
                              <a:pt x="37858" y="10287"/>
                              <a:pt x="38277" y="11244"/>
                              <a:pt x="38576" y="12260"/>
                            </a:cubicBezTo>
                            <a:cubicBezTo>
                              <a:pt x="38935" y="13277"/>
                              <a:pt x="39174" y="14294"/>
                              <a:pt x="39353" y="15370"/>
                            </a:cubicBezTo>
                            <a:cubicBezTo>
                              <a:pt x="39532" y="16447"/>
                              <a:pt x="39592" y="17523"/>
                              <a:pt x="39532" y="18660"/>
                            </a:cubicBezTo>
                            <a:cubicBezTo>
                              <a:pt x="39532" y="19796"/>
                              <a:pt x="39413" y="20873"/>
                              <a:pt x="39174" y="22009"/>
                            </a:cubicBezTo>
                            <a:cubicBezTo>
                              <a:pt x="38935" y="23325"/>
                              <a:pt x="38576" y="24581"/>
                              <a:pt x="38097" y="25777"/>
                            </a:cubicBezTo>
                            <a:cubicBezTo>
                              <a:pt x="37619" y="26973"/>
                              <a:pt x="37021" y="28169"/>
                              <a:pt x="36363" y="29305"/>
                            </a:cubicBezTo>
                            <a:cubicBezTo>
                              <a:pt x="35705" y="30442"/>
                              <a:pt x="34928" y="31518"/>
                              <a:pt x="34030" y="32475"/>
                            </a:cubicBezTo>
                            <a:cubicBezTo>
                              <a:pt x="33133" y="33492"/>
                              <a:pt x="32176" y="34389"/>
                              <a:pt x="31160" y="35226"/>
                            </a:cubicBezTo>
                            <a:cubicBezTo>
                              <a:pt x="30143" y="36064"/>
                              <a:pt x="29006" y="36841"/>
                              <a:pt x="27870" y="37439"/>
                            </a:cubicBezTo>
                            <a:cubicBezTo>
                              <a:pt x="26734" y="38097"/>
                              <a:pt x="25538" y="38635"/>
                              <a:pt x="24342" y="39054"/>
                            </a:cubicBezTo>
                            <a:cubicBezTo>
                              <a:pt x="23145" y="39473"/>
                              <a:pt x="21889" y="39772"/>
                              <a:pt x="20693" y="39951"/>
                            </a:cubicBezTo>
                            <a:cubicBezTo>
                              <a:pt x="19437" y="40130"/>
                              <a:pt x="18241" y="40190"/>
                              <a:pt x="16985" y="40130"/>
                            </a:cubicBezTo>
                            <a:cubicBezTo>
                              <a:pt x="16148" y="40071"/>
                              <a:pt x="15311" y="39951"/>
                              <a:pt x="14533" y="39772"/>
                            </a:cubicBezTo>
                            <a:cubicBezTo>
                              <a:pt x="13756" y="39592"/>
                              <a:pt x="12978" y="39413"/>
                              <a:pt x="12201" y="39114"/>
                            </a:cubicBezTo>
                            <a:cubicBezTo>
                              <a:pt x="11423" y="38815"/>
                              <a:pt x="10705" y="38516"/>
                              <a:pt x="9988" y="38157"/>
                            </a:cubicBezTo>
                            <a:cubicBezTo>
                              <a:pt x="9270" y="37798"/>
                              <a:pt x="8612" y="37380"/>
                              <a:pt x="8014" y="36901"/>
                            </a:cubicBezTo>
                            <a:cubicBezTo>
                              <a:pt x="7895" y="36841"/>
                              <a:pt x="7835" y="36721"/>
                              <a:pt x="7715" y="36662"/>
                            </a:cubicBezTo>
                            <a:cubicBezTo>
                              <a:pt x="7596" y="36602"/>
                              <a:pt x="7536" y="36482"/>
                              <a:pt x="7416" y="36422"/>
                            </a:cubicBezTo>
                            <a:cubicBezTo>
                              <a:pt x="7296" y="36363"/>
                              <a:pt x="7237" y="36243"/>
                              <a:pt x="7117" y="36183"/>
                            </a:cubicBezTo>
                            <a:cubicBezTo>
                              <a:pt x="6997" y="36123"/>
                              <a:pt x="6937" y="36004"/>
                              <a:pt x="6818" y="35944"/>
                            </a:cubicBezTo>
                            <a:cubicBezTo>
                              <a:pt x="6758" y="35884"/>
                              <a:pt x="6639" y="35765"/>
                              <a:pt x="6579" y="35705"/>
                            </a:cubicBezTo>
                            <a:cubicBezTo>
                              <a:pt x="6519" y="35645"/>
                              <a:pt x="6399" y="35526"/>
                              <a:pt x="6340" y="35466"/>
                            </a:cubicBezTo>
                            <a:cubicBezTo>
                              <a:pt x="6280" y="35406"/>
                              <a:pt x="6160" y="35286"/>
                              <a:pt x="6100" y="35226"/>
                            </a:cubicBezTo>
                            <a:cubicBezTo>
                              <a:pt x="6041" y="35167"/>
                              <a:pt x="5921" y="35047"/>
                              <a:pt x="5861" y="34987"/>
                            </a:cubicBezTo>
                            <a:cubicBezTo>
                              <a:pt x="5502" y="34568"/>
                              <a:pt x="5143" y="34150"/>
                              <a:pt x="4785" y="33671"/>
                            </a:cubicBezTo>
                            <a:cubicBezTo>
                              <a:pt x="4426" y="33193"/>
                              <a:pt x="4127" y="32714"/>
                              <a:pt x="3828" y="32236"/>
                            </a:cubicBezTo>
                            <a:cubicBezTo>
                              <a:pt x="3529" y="31758"/>
                              <a:pt x="3289" y="31219"/>
                              <a:pt x="3050" y="30681"/>
                            </a:cubicBezTo>
                            <a:cubicBezTo>
                              <a:pt x="2811" y="30143"/>
                              <a:pt x="2632" y="29604"/>
                              <a:pt x="2452" y="29066"/>
                            </a:cubicBezTo>
                            <a:cubicBezTo>
                              <a:pt x="2392" y="28946"/>
                              <a:pt x="2392" y="28887"/>
                              <a:pt x="2333" y="28767"/>
                            </a:cubicBezTo>
                            <a:cubicBezTo>
                              <a:pt x="2273" y="28648"/>
                              <a:pt x="2273" y="28588"/>
                              <a:pt x="2213" y="28468"/>
                            </a:cubicBezTo>
                            <a:cubicBezTo>
                              <a:pt x="2213" y="28349"/>
                              <a:pt x="2153" y="28289"/>
                              <a:pt x="2153" y="28169"/>
                            </a:cubicBezTo>
                            <a:cubicBezTo>
                              <a:pt x="2153" y="28050"/>
                              <a:pt x="2093" y="27990"/>
                              <a:pt x="2093" y="27870"/>
                            </a:cubicBezTo>
                            <a:cubicBezTo>
                              <a:pt x="1914" y="27212"/>
                              <a:pt x="1794" y="26554"/>
                              <a:pt x="1734" y="25896"/>
                            </a:cubicBezTo>
                            <a:cubicBezTo>
                              <a:pt x="1674" y="25238"/>
                              <a:pt x="1615" y="24581"/>
                              <a:pt x="1555" y="23863"/>
                            </a:cubicBezTo>
                            <a:cubicBezTo>
                              <a:pt x="1555" y="23205"/>
                              <a:pt x="1555" y="22488"/>
                              <a:pt x="1615" y="21770"/>
                            </a:cubicBezTo>
                            <a:cubicBezTo>
                              <a:pt x="1674" y="21052"/>
                              <a:pt x="1734" y="20334"/>
                              <a:pt x="1914" y="19676"/>
                            </a:cubicBezTo>
                            <a:cubicBezTo>
                              <a:pt x="1974" y="19318"/>
                              <a:pt x="2034" y="19019"/>
                              <a:pt x="2153" y="18660"/>
                            </a:cubicBezTo>
                            <a:cubicBezTo>
                              <a:pt x="2273" y="18301"/>
                              <a:pt x="2333" y="18002"/>
                              <a:pt x="2392" y="17643"/>
                            </a:cubicBezTo>
                            <a:cubicBezTo>
                              <a:pt x="2452" y="17284"/>
                              <a:pt x="2572" y="16985"/>
                              <a:pt x="2691" y="16686"/>
                            </a:cubicBezTo>
                            <a:cubicBezTo>
                              <a:pt x="2811" y="16387"/>
                              <a:pt x="2930" y="16028"/>
                              <a:pt x="3050" y="15729"/>
                            </a:cubicBezTo>
                            <a:cubicBezTo>
                              <a:pt x="3110" y="15610"/>
                              <a:pt x="3110" y="15550"/>
                              <a:pt x="3170" y="15430"/>
                            </a:cubicBezTo>
                            <a:cubicBezTo>
                              <a:pt x="3229" y="15311"/>
                              <a:pt x="3229" y="15251"/>
                              <a:pt x="3289" y="15131"/>
                            </a:cubicBezTo>
                            <a:cubicBezTo>
                              <a:pt x="3349" y="15012"/>
                              <a:pt x="3349" y="14952"/>
                              <a:pt x="3409" y="14832"/>
                            </a:cubicBezTo>
                            <a:cubicBezTo>
                              <a:pt x="3469" y="14712"/>
                              <a:pt x="3469" y="14652"/>
                              <a:pt x="3529" y="14533"/>
                            </a:cubicBezTo>
                            <a:cubicBezTo>
                              <a:pt x="3947" y="13576"/>
                              <a:pt x="4486" y="12619"/>
                              <a:pt x="5024" y="11782"/>
                            </a:cubicBezTo>
                            <a:cubicBezTo>
                              <a:pt x="5562" y="10885"/>
                              <a:pt x="6220" y="10048"/>
                              <a:pt x="6878" y="9270"/>
                            </a:cubicBezTo>
                            <a:cubicBezTo>
                              <a:pt x="7536" y="8493"/>
                              <a:pt x="8253" y="7715"/>
                              <a:pt x="9031" y="6997"/>
                            </a:cubicBezTo>
                            <a:cubicBezTo>
                              <a:pt x="9808" y="6280"/>
                              <a:pt x="10586" y="5681"/>
                              <a:pt x="11423" y="5083"/>
                            </a:cubicBezTo>
                            <a:cubicBezTo>
                              <a:pt x="11543" y="5024"/>
                              <a:pt x="11662" y="4904"/>
                              <a:pt x="11782" y="4844"/>
                            </a:cubicBezTo>
                            <a:cubicBezTo>
                              <a:pt x="11902" y="4785"/>
                              <a:pt x="12021" y="4725"/>
                              <a:pt x="12141" y="4605"/>
                            </a:cubicBezTo>
                            <a:cubicBezTo>
                              <a:pt x="12260" y="4545"/>
                              <a:pt x="12380" y="4486"/>
                              <a:pt x="12500" y="4366"/>
                            </a:cubicBezTo>
                            <a:cubicBezTo>
                              <a:pt x="12619" y="4306"/>
                              <a:pt x="12739" y="4246"/>
                              <a:pt x="12859" y="4186"/>
                            </a:cubicBezTo>
                            <a:cubicBezTo>
                              <a:pt x="13158" y="4007"/>
                              <a:pt x="13457" y="3827"/>
                              <a:pt x="13756" y="3648"/>
                            </a:cubicBezTo>
                            <a:cubicBezTo>
                              <a:pt x="14055" y="3469"/>
                              <a:pt x="14354" y="3349"/>
                              <a:pt x="14713" y="3170"/>
                            </a:cubicBezTo>
                            <a:cubicBezTo>
                              <a:pt x="15012" y="2990"/>
                              <a:pt x="15371" y="2871"/>
                              <a:pt x="15669" y="2751"/>
                            </a:cubicBezTo>
                            <a:cubicBezTo>
                              <a:pt x="15968" y="2632"/>
                              <a:pt x="16327" y="2512"/>
                              <a:pt x="16626" y="2392"/>
                            </a:cubicBezTo>
                            <a:cubicBezTo>
                              <a:pt x="16806" y="2332"/>
                              <a:pt x="16985" y="2273"/>
                              <a:pt x="17105" y="2213"/>
                            </a:cubicBezTo>
                            <a:cubicBezTo>
                              <a:pt x="17284" y="2153"/>
                              <a:pt x="17464" y="2093"/>
                              <a:pt x="17583" y="2033"/>
                            </a:cubicBezTo>
                            <a:cubicBezTo>
                              <a:pt x="17763" y="1973"/>
                              <a:pt x="17942" y="1914"/>
                              <a:pt x="18121" y="1914"/>
                            </a:cubicBezTo>
                            <a:cubicBezTo>
                              <a:pt x="18301" y="1854"/>
                              <a:pt x="18481" y="1794"/>
                              <a:pt x="18660" y="1794"/>
                            </a:cubicBezTo>
                            <a:cubicBezTo>
                              <a:pt x="19138" y="1674"/>
                              <a:pt x="19617" y="1555"/>
                              <a:pt x="20095" y="1495"/>
                            </a:cubicBezTo>
                            <a:cubicBezTo>
                              <a:pt x="20574" y="1435"/>
                              <a:pt x="21052" y="1375"/>
                              <a:pt x="21530" y="1316"/>
                            </a:cubicBezTo>
                            <a:cubicBezTo>
                              <a:pt x="22009" y="1256"/>
                              <a:pt x="22488" y="1256"/>
                              <a:pt x="22966" y="1256"/>
                            </a:cubicBezTo>
                            <a:cubicBezTo>
                              <a:pt x="23444" y="1256"/>
                              <a:pt x="23923" y="1256"/>
                              <a:pt x="24401" y="1316"/>
                            </a:cubicBezTo>
                            <a:cubicBezTo>
                              <a:pt x="24461" y="1316"/>
                              <a:pt x="24521" y="1316"/>
                              <a:pt x="24581" y="1316"/>
                            </a:cubicBezTo>
                            <a:cubicBezTo>
                              <a:pt x="24641" y="1316"/>
                              <a:pt x="24700" y="1316"/>
                              <a:pt x="24760" y="1316"/>
                            </a:cubicBezTo>
                            <a:cubicBezTo>
                              <a:pt x="24820" y="1316"/>
                              <a:pt x="24880" y="1316"/>
                              <a:pt x="24940" y="1316"/>
                            </a:cubicBezTo>
                            <a:cubicBezTo>
                              <a:pt x="24999" y="1316"/>
                              <a:pt x="25059" y="1316"/>
                              <a:pt x="25119" y="1316"/>
                            </a:cubicBezTo>
                            <a:cubicBezTo>
                              <a:pt x="25238" y="1316"/>
                              <a:pt x="25298" y="1316"/>
                              <a:pt x="25418" y="1375"/>
                            </a:cubicBezTo>
                            <a:cubicBezTo>
                              <a:pt x="25538" y="1375"/>
                              <a:pt x="25597" y="1375"/>
                              <a:pt x="25717" y="1435"/>
                            </a:cubicBezTo>
                            <a:cubicBezTo>
                              <a:pt x="25837" y="1435"/>
                              <a:pt x="25897" y="1435"/>
                              <a:pt x="26016" y="1495"/>
                            </a:cubicBezTo>
                            <a:cubicBezTo>
                              <a:pt x="26136" y="1495"/>
                              <a:pt x="26196" y="1555"/>
                              <a:pt x="26315" y="1555"/>
                            </a:cubicBezTo>
                            <a:cubicBezTo>
                              <a:pt x="26973" y="1674"/>
                              <a:pt x="27631" y="1854"/>
                              <a:pt x="28229" y="2033"/>
                            </a:cubicBezTo>
                            <a:cubicBezTo>
                              <a:pt x="28827" y="2213"/>
                              <a:pt x="29485" y="2452"/>
                              <a:pt x="30083" y="2751"/>
                            </a:cubicBezTo>
                            <a:cubicBezTo>
                              <a:pt x="30681" y="2990"/>
                              <a:pt x="31279" y="3349"/>
                              <a:pt x="31817" y="3648"/>
                            </a:cubicBezTo>
                            <a:cubicBezTo>
                              <a:pt x="32356" y="4007"/>
                              <a:pt x="32894" y="4366"/>
                              <a:pt x="33432" y="4725"/>
                            </a:cubicBezTo>
                            <a:cubicBezTo>
                              <a:pt x="33432" y="4725"/>
                              <a:pt x="33492" y="4725"/>
                              <a:pt x="33492" y="4785"/>
                            </a:cubicBezTo>
                            <a:cubicBezTo>
                              <a:pt x="33492" y="4785"/>
                              <a:pt x="33552" y="4785"/>
                              <a:pt x="33552" y="4844"/>
                            </a:cubicBezTo>
                            <a:cubicBezTo>
                              <a:pt x="33552" y="4844"/>
                              <a:pt x="33612" y="4904"/>
                              <a:pt x="33612" y="4904"/>
                            </a:cubicBezTo>
                            <a:cubicBezTo>
                              <a:pt x="33612" y="4904"/>
                              <a:pt x="33671" y="4904"/>
                              <a:pt x="33671" y="4964"/>
                            </a:cubicBezTo>
                            <a:cubicBezTo>
                              <a:pt x="33731" y="5024"/>
                              <a:pt x="33851" y="5083"/>
                              <a:pt x="33911" y="5143"/>
                            </a:cubicBezTo>
                            <a:cubicBezTo>
                              <a:pt x="33970" y="5203"/>
                              <a:pt x="34030" y="5263"/>
                              <a:pt x="34150" y="5323"/>
                            </a:cubicBezTo>
                            <a:cubicBezTo>
                              <a:pt x="34210" y="5382"/>
                              <a:pt x="34269" y="5442"/>
                              <a:pt x="34389" y="5502"/>
                            </a:cubicBezTo>
                            <a:cubicBezTo>
                              <a:pt x="34449" y="5562"/>
                              <a:pt x="34509" y="5622"/>
                              <a:pt x="34628" y="5681"/>
                            </a:cubicBezTo>
                            <a:cubicBezTo>
                              <a:pt x="34808" y="5861"/>
                              <a:pt x="34987" y="6041"/>
                              <a:pt x="35167" y="6160"/>
                            </a:cubicBezTo>
                            <a:cubicBezTo>
                              <a:pt x="35346" y="6340"/>
                              <a:pt x="35466" y="6519"/>
                              <a:pt x="35645" y="6698"/>
                            </a:cubicBezTo>
                            <a:cubicBezTo>
                              <a:pt x="35824" y="6878"/>
                              <a:pt x="35944" y="7057"/>
                              <a:pt x="36123" y="7236"/>
                            </a:cubicBezTo>
                            <a:cubicBezTo>
                              <a:pt x="36243" y="7416"/>
                              <a:pt x="36423" y="7595"/>
                              <a:pt x="36542" y="7775"/>
                            </a:cubicBezTo>
                            <a:cubicBezTo>
                              <a:pt x="36662" y="7895"/>
                              <a:pt x="36722" y="8014"/>
                              <a:pt x="36841" y="8134"/>
                            </a:cubicBezTo>
                            <a:cubicBezTo>
                              <a:pt x="36901" y="8253"/>
                              <a:pt x="37021" y="8373"/>
                              <a:pt x="37081" y="8552"/>
                            </a:cubicBezTo>
                            <a:cubicBezTo>
                              <a:pt x="37140" y="8732"/>
                              <a:pt x="37260" y="8791"/>
                              <a:pt x="37320" y="8971"/>
                            </a:cubicBezTo>
                            <a:cubicBezTo>
                              <a:pt x="37140" y="9090"/>
                              <a:pt x="37260" y="9270"/>
                              <a:pt x="37320" y="9390"/>
                            </a:cubicBezTo>
                            <a:moveTo>
                              <a:pt x="7895" y="36961"/>
                            </a:moveTo>
                            <a:cubicBezTo>
                              <a:pt x="8552" y="37439"/>
                              <a:pt x="9210" y="37858"/>
                              <a:pt x="9928" y="38276"/>
                            </a:cubicBezTo>
                            <a:cubicBezTo>
                              <a:pt x="10645" y="38635"/>
                              <a:pt x="11364" y="38994"/>
                              <a:pt x="12141" y="39234"/>
                            </a:cubicBezTo>
                            <a:cubicBezTo>
                              <a:pt x="12918" y="39532"/>
                              <a:pt x="13696" y="39712"/>
                              <a:pt x="14473" y="39891"/>
                            </a:cubicBezTo>
                            <a:cubicBezTo>
                              <a:pt x="15311" y="40071"/>
                              <a:pt x="16148" y="40190"/>
                              <a:pt x="16985" y="40190"/>
                            </a:cubicBezTo>
                            <a:cubicBezTo>
                              <a:pt x="18241" y="40250"/>
                              <a:pt x="19497" y="40190"/>
                              <a:pt x="20753" y="40011"/>
                            </a:cubicBezTo>
                            <a:cubicBezTo>
                              <a:pt x="22009" y="39831"/>
                              <a:pt x="23205" y="39532"/>
                              <a:pt x="24461" y="39114"/>
                            </a:cubicBezTo>
                            <a:cubicBezTo>
                              <a:pt x="25657" y="38695"/>
                              <a:pt x="26853" y="38157"/>
                              <a:pt x="27990" y="37499"/>
                            </a:cubicBezTo>
                            <a:cubicBezTo>
                              <a:pt x="29126" y="36841"/>
                              <a:pt x="30262" y="36123"/>
                              <a:pt x="31279" y="35226"/>
                            </a:cubicBezTo>
                            <a:cubicBezTo>
                              <a:pt x="32296" y="34389"/>
                              <a:pt x="33313" y="33432"/>
                              <a:pt x="34150" y="32415"/>
                            </a:cubicBezTo>
                            <a:cubicBezTo>
                              <a:pt x="35047" y="31399"/>
                              <a:pt x="35824" y="30322"/>
                              <a:pt x="36482" y="29186"/>
                            </a:cubicBezTo>
                            <a:cubicBezTo>
                              <a:pt x="37140" y="28050"/>
                              <a:pt x="37738" y="26853"/>
                              <a:pt x="38217" y="25657"/>
                            </a:cubicBezTo>
                            <a:cubicBezTo>
                              <a:pt x="38695" y="24401"/>
                              <a:pt x="39054" y="23145"/>
                              <a:pt x="39353" y="21829"/>
                            </a:cubicBezTo>
                            <a:cubicBezTo>
                              <a:pt x="39592" y="20514"/>
                              <a:pt x="39712" y="19258"/>
                              <a:pt x="39712" y="18002"/>
                            </a:cubicBezTo>
                            <a:cubicBezTo>
                              <a:pt x="39712" y="16746"/>
                              <a:pt x="39592" y="15490"/>
                              <a:pt x="39353" y="14294"/>
                            </a:cubicBezTo>
                            <a:cubicBezTo>
                              <a:pt x="39114" y="13098"/>
                              <a:pt x="38755" y="11961"/>
                              <a:pt x="38277" y="10825"/>
                            </a:cubicBezTo>
                            <a:cubicBezTo>
                              <a:pt x="37798" y="9749"/>
                              <a:pt x="37200" y="8672"/>
                              <a:pt x="36482" y="7715"/>
                            </a:cubicBezTo>
                            <a:cubicBezTo>
                              <a:pt x="36243" y="7416"/>
                              <a:pt x="36004" y="7117"/>
                              <a:pt x="35765" y="6818"/>
                            </a:cubicBezTo>
                            <a:cubicBezTo>
                              <a:pt x="35526" y="6519"/>
                              <a:pt x="35286" y="6220"/>
                              <a:pt x="34987" y="5981"/>
                            </a:cubicBezTo>
                            <a:cubicBezTo>
                              <a:pt x="34748" y="5681"/>
                              <a:pt x="34449" y="5442"/>
                              <a:pt x="34150" y="5203"/>
                            </a:cubicBezTo>
                            <a:cubicBezTo>
                              <a:pt x="33851" y="4964"/>
                              <a:pt x="33612" y="4725"/>
                              <a:pt x="33313" y="4486"/>
                            </a:cubicBezTo>
                            <a:cubicBezTo>
                              <a:pt x="32714" y="4007"/>
                              <a:pt x="31997" y="3528"/>
                              <a:pt x="31339" y="3170"/>
                            </a:cubicBezTo>
                            <a:cubicBezTo>
                              <a:pt x="30621" y="2751"/>
                              <a:pt x="29904" y="2452"/>
                              <a:pt x="29186" y="2153"/>
                            </a:cubicBezTo>
                            <a:cubicBezTo>
                              <a:pt x="28408" y="1854"/>
                              <a:pt x="27631" y="1615"/>
                              <a:pt x="26853" y="1495"/>
                            </a:cubicBezTo>
                            <a:cubicBezTo>
                              <a:pt x="26016" y="1316"/>
                              <a:pt x="25238" y="1196"/>
                              <a:pt x="24342" y="1136"/>
                            </a:cubicBezTo>
                            <a:cubicBezTo>
                              <a:pt x="21770" y="957"/>
                              <a:pt x="19138" y="1316"/>
                              <a:pt x="16686" y="2153"/>
                            </a:cubicBezTo>
                            <a:cubicBezTo>
                              <a:pt x="14234" y="2990"/>
                              <a:pt x="11902" y="4306"/>
                              <a:pt x="9868" y="5981"/>
                            </a:cubicBezTo>
                            <a:cubicBezTo>
                              <a:pt x="7835" y="7655"/>
                              <a:pt x="6041" y="9689"/>
                              <a:pt x="4605" y="11961"/>
                            </a:cubicBezTo>
                            <a:cubicBezTo>
                              <a:pt x="3229" y="14234"/>
                              <a:pt x="2213" y="16806"/>
                              <a:pt x="1674" y="19497"/>
                            </a:cubicBezTo>
                            <a:cubicBezTo>
                              <a:pt x="1435" y="20813"/>
                              <a:pt x="1316" y="22128"/>
                              <a:pt x="1316" y="23384"/>
                            </a:cubicBezTo>
                            <a:cubicBezTo>
                              <a:pt x="1316" y="24641"/>
                              <a:pt x="1435" y="25896"/>
                              <a:pt x="1734" y="27092"/>
                            </a:cubicBezTo>
                            <a:cubicBezTo>
                              <a:pt x="1974" y="28289"/>
                              <a:pt x="2392" y="29425"/>
                              <a:pt x="2871" y="30561"/>
                            </a:cubicBezTo>
                            <a:cubicBezTo>
                              <a:pt x="3349" y="31638"/>
                              <a:pt x="3947" y="32714"/>
                              <a:pt x="4725" y="33671"/>
                            </a:cubicBezTo>
                            <a:cubicBezTo>
                              <a:pt x="4964" y="33970"/>
                              <a:pt x="5203" y="34269"/>
                              <a:pt x="5442" y="34568"/>
                            </a:cubicBezTo>
                            <a:cubicBezTo>
                              <a:pt x="5682" y="34867"/>
                              <a:pt x="5981" y="35167"/>
                              <a:pt x="6220" y="35406"/>
                            </a:cubicBezTo>
                            <a:cubicBezTo>
                              <a:pt x="6459" y="35645"/>
                              <a:pt x="6758" y="35944"/>
                              <a:pt x="7057" y="36183"/>
                            </a:cubicBezTo>
                            <a:cubicBezTo>
                              <a:pt x="7356" y="36482"/>
                              <a:pt x="7596" y="36721"/>
                              <a:pt x="7895" y="36961"/>
                            </a:cubicBezTo>
                            <a:moveTo>
                              <a:pt x="34150" y="3588"/>
                            </a:moveTo>
                            <a:cubicBezTo>
                              <a:pt x="34449" y="3827"/>
                              <a:pt x="34748" y="4067"/>
                              <a:pt x="35047" y="4366"/>
                            </a:cubicBezTo>
                            <a:cubicBezTo>
                              <a:pt x="35346" y="4605"/>
                              <a:pt x="35645" y="4904"/>
                              <a:pt x="35884" y="5203"/>
                            </a:cubicBezTo>
                            <a:cubicBezTo>
                              <a:pt x="36183" y="5502"/>
                              <a:pt x="36423" y="5801"/>
                              <a:pt x="36722" y="6100"/>
                            </a:cubicBezTo>
                            <a:cubicBezTo>
                              <a:pt x="36961" y="6399"/>
                              <a:pt x="37260" y="6698"/>
                              <a:pt x="37499" y="7057"/>
                            </a:cubicBezTo>
                            <a:cubicBezTo>
                              <a:pt x="38217" y="8074"/>
                              <a:pt x="38875" y="9210"/>
                              <a:pt x="39353" y="10406"/>
                            </a:cubicBezTo>
                            <a:cubicBezTo>
                              <a:pt x="39831" y="11603"/>
                              <a:pt x="40250" y="12798"/>
                              <a:pt x="40490" y="14055"/>
                            </a:cubicBezTo>
                            <a:cubicBezTo>
                              <a:pt x="40729" y="15311"/>
                              <a:pt x="40848" y="16626"/>
                              <a:pt x="40848" y="17942"/>
                            </a:cubicBezTo>
                            <a:cubicBezTo>
                              <a:pt x="40848" y="19258"/>
                              <a:pt x="40729" y="20633"/>
                              <a:pt x="40430" y="22009"/>
                            </a:cubicBezTo>
                            <a:cubicBezTo>
                              <a:pt x="40190" y="23384"/>
                              <a:pt x="39772" y="24700"/>
                              <a:pt x="39293" y="26016"/>
                            </a:cubicBezTo>
                            <a:cubicBezTo>
                              <a:pt x="38815" y="27332"/>
                              <a:pt x="38157" y="28588"/>
                              <a:pt x="37439" y="29784"/>
                            </a:cubicBezTo>
                            <a:cubicBezTo>
                              <a:pt x="36722" y="30980"/>
                              <a:pt x="35884" y="32116"/>
                              <a:pt x="34987" y="33193"/>
                            </a:cubicBezTo>
                            <a:cubicBezTo>
                              <a:pt x="34090" y="34269"/>
                              <a:pt x="33014" y="35226"/>
                              <a:pt x="31937" y="36183"/>
                            </a:cubicBezTo>
                            <a:cubicBezTo>
                              <a:pt x="30801" y="37080"/>
                              <a:pt x="29665" y="37918"/>
                              <a:pt x="28408" y="38575"/>
                            </a:cubicBezTo>
                            <a:cubicBezTo>
                              <a:pt x="27212" y="39234"/>
                              <a:pt x="25956" y="39831"/>
                              <a:pt x="24641" y="40250"/>
                            </a:cubicBezTo>
                            <a:cubicBezTo>
                              <a:pt x="23384" y="40669"/>
                              <a:pt x="22069" y="41028"/>
                              <a:pt x="20753" y="41207"/>
                            </a:cubicBezTo>
                            <a:cubicBezTo>
                              <a:pt x="19437" y="41386"/>
                              <a:pt x="18121" y="41446"/>
                              <a:pt x="16746" y="41386"/>
                            </a:cubicBezTo>
                            <a:cubicBezTo>
                              <a:pt x="15849" y="41327"/>
                              <a:pt x="14952" y="41207"/>
                              <a:pt x="14114" y="41088"/>
                            </a:cubicBezTo>
                            <a:cubicBezTo>
                              <a:pt x="13277" y="40908"/>
                              <a:pt x="12440" y="40669"/>
                              <a:pt x="11603" y="40430"/>
                            </a:cubicBezTo>
                            <a:cubicBezTo>
                              <a:pt x="10825" y="40130"/>
                              <a:pt x="10048" y="39772"/>
                              <a:pt x="9270" y="39413"/>
                            </a:cubicBezTo>
                            <a:cubicBezTo>
                              <a:pt x="8552" y="38994"/>
                              <a:pt x="7835" y="38575"/>
                              <a:pt x="7117" y="38037"/>
                            </a:cubicBezTo>
                            <a:cubicBezTo>
                              <a:pt x="6818" y="37798"/>
                              <a:pt x="6519" y="37559"/>
                              <a:pt x="6220" y="37260"/>
                            </a:cubicBezTo>
                            <a:cubicBezTo>
                              <a:pt x="5921" y="37021"/>
                              <a:pt x="5622" y="36721"/>
                              <a:pt x="5323" y="36422"/>
                            </a:cubicBezTo>
                            <a:cubicBezTo>
                              <a:pt x="5024" y="36123"/>
                              <a:pt x="4785" y="35824"/>
                              <a:pt x="4486" y="35526"/>
                            </a:cubicBezTo>
                            <a:cubicBezTo>
                              <a:pt x="4187" y="35226"/>
                              <a:pt x="3947" y="34927"/>
                              <a:pt x="3708" y="34568"/>
                            </a:cubicBezTo>
                            <a:cubicBezTo>
                              <a:pt x="2930" y="33552"/>
                              <a:pt x="2273" y="32415"/>
                              <a:pt x="1734" y="31279"/>
                            </a:cubicBezTo>
                            <a:cubicBezTo>
                              <a:pt x="1196" y="30083"/>
                              <a:pt x="837" y="28887"/>
                              <a:pt x="538" y="27631"/>
                            </a:cubicBezTo>
                            <a:cubicBezTo>
                              <a:pt x="239" y="26375"/>
                              <a:pt x="120" y="25059"/>
                              <a:pt x="120" y="23683"/>
                            </a:cubicBezTo>
                            <a:cubicBezTo>
                              <a:pt x="120" y="22308"/>
                              <a:pt x="239" y="20933"/>
                              <a:pt x="479" y="19557"/>
                            </a:cubicBezTo>
                            <a:cubicBezTo>
                              <a:pt x="1017" y="16686"/>
                              <a:pt x="2093" y="13995"/>
                              <a:pt x="3588" y="11543"/>
                            </a:cubicBezTo>
                            <a:cubicBezTo>
                              <a:pt x="5083" y="9090"/>
                              <a:pt x="6937" y="6937"/>
                              <a:pt x="9150" y="5203"/>
                            </a:cubicBezTo>
                            <a:cubicBezTo>
                              <a:pt x="11304" y="3409"/>
                              <a:pt x="13756" y="2033"/>
                              <a:pt x="16387" y="1196"/>
                            </a:cubicBezTo>
                            <a:cubicBezTo>
                              <a:pt x="18959" y="299"/>
                              <a:pt x="21710" y="-60"/>
                              <a:pt x="24461" y="119"/>
                            </a:cubicBezTo>
                            <a:cubicBezTo>
                              <a:pt x="25358" y="179"/>
                              <a:pt x="26255" y="299"/>
                              <a:pt x="27152" y="478"/>
                            </a:cubicBezTo>
                            <a:cubicBezTo>
                              <a:pt x="27990" y="658"/>
                              <a:pt x="28827" y="897"/>
                              <a:pt x="29665" y="1196"/>
                            </a:cubicBezTo>
                            <a:cubicBezTo>
                              <a:pt x="30442" y="1495"/>
                              <a:pt x="31219" y="1854"/>
                              <a:pt x="31997" y="2273"/>
                            </a:cubicBezTo>
                            <a:cubicBezTo>
                              <a:pt x="32774" y="2632"/>
                              <a:pt x="33492" y="3110"/>
                              <a:pt x="34150" y="3588"/>
                            </a:cubicBezTo>
                            <a:moveTo>
                              <a:pt x="7057" y="38037"/>
                            </a:moveTo>
                            <a:cubicBezTo>
                              <a:pt x="7715" y="38575"/>
                              <a:pt x="8493" y="38994"/>
                              <a:pt x="9210" y="39413"/>
                            </a:cubicBezTo>
                            <a:cubicBezTo>
                              <a:pt x="9988" y="39831"/>
                              <a:pt x="10765" y="40190"/>
                              <a:pt x="11543" y="40489"/>
                            </a:cubicBezTo>
                            <a:cubicBezTo>
                              <a:pt x="12380" y="40789"/>
                              <a:pt x="13218" y="41028"/>
                              <a:pt x="14055" y="41207"/>
                            </a:cubicBezTo>
                            <a:cubicBezTo>
                              <a:pt x="14892" y="41386"/>
                              <a:pt x="15789" y="41506"/>
                              <a:pt x="16686" y="41566"/>
                            </a:cubicBezTo>
                            <a:cubicBezTo>
                              <a:pt x="18002" y="41626"/>
                              <a:pt x="19377" y="41566"/>
                              <a:pt x="20693" y="41386"/>
                            </a:cubicBezTo>
                            <a:cubicBezTo>
                              <a:pt x="22009" y="41207"/>
                              <a:pt x="23325" y="40848"/>
                              <a:pt x="24641" y="40430"/>
                            </a:cubicBezTo>
                            <a:cubicBezTo>
                              <a:pt x="25956" y="40011"/>
                              <a:pt x="27212" y="39413"/>
                              <a:pt x="28408" y="38755"/>
                            </a:cubicBezTo>
                            <a:cubicBezTo>
                              <a:pt x="29605" y="38097"/>
                              <a:pt x="30801" y="37260"/>
                              <a:pt x="31937" y="36363"/>
                            </a:cubicBezTo>
                            <a:cubicBezTo>
                              <a:pt x="33073" y="35466"/>
                              <a:pt x="34090" y="34449"/>
                              <a:pt x="34987" y="33372"/>
                            </a:cubicBezTo>
                            <a:cubicBezTo>
                              <a:pt x="35884" y="32296"/>
                              <a:pt x="36782" y="31159"/>
                              <a:pt x="37499" y="29963"/>
                            </a:cubicBezTo>
                            <a:cubicBezTo>
                              <a:pt x="38217" y="28767"/>
                              <a:pt x="38875" y="27511"/>
                              <a:pt x="39353" y="26196"/>
                            </a:cubicBezTo>
                            <a:cubicBezTo>
                              <a:pt x="39831" y="24880"/>
                              <a:pt x="40250" y="23564"/>
                              <a:pt x="40490" y="22128"/>
                            </a:cubicBezTo>
                            <a:cubicBezTo>
                              <a:pt x="40669" y="21052"/>
                              <a:pt x="40848" y="20035"/>
                              <a:pt x="40848" y="18959"/>
                            </a:cubicBezTo>
                            <a:cubicBezTo>
                              <a:pt x="40908" y="17942"/>
                              <a:pt x="40848" y="16866"/>
                              <a:pt x="40789" y="15909"/>
                            </a:cubicBezTo>
                            <a:cubicBezTo>
                              <a:pt x="40669" y="14892"/>
                              <a:pt x="40490" y="13935"/>
                              <a:pt x="40250" y="12978"/>
                            </a:cubicBezTo>
                            <a:cubicBezTo>
                              <a:pt x="40011" y="12021"/>
                              <a:pt x="39652" y="11064"/>
                              <a:pt x="39293" y="10227"/>
                            </a:cubicBezTo>
                            <a:cubicBezTo>
                              <a:pt x="39234" y="10107"/>
                              <a:pt x="39174" y="9988"/>
                              <a:pt x="39114" y="9868"/>
                            </a:cubicBezTo>
                            <a:cubicBezTo>
                              <a:pt x="39054" y="9749"/>
                              <a:pt x="38994" y="9629"/>
                              <a:pt x="38935" y="9509"/>
                            </a:cubicBezTo>
                            <a:cubicBezTo>
                              <a:pt x="38875" y="9390"/>
                              <a:pt x="38815" y="9270"/>
                              <a:pt x="38755" y="9150"/>
                            </a:cubicBezTo>
                            <a:cubicBezTo>
                              <a:pt x="38695" y="9031"/>
                              <a:pt x="38636" y="8911"/>
                              <a:pt x="38576" y="8791"/>
                            </a:cubicBezTo>
                            <a:cubicBezTo>
                              <a:pt x="38336" y="8373"/>
                              <a:pt x="38097" y="7954"/>
                              <a:pt x="37858" y="7595"/>
                            </a:cubicBezTo>
                            <a:cubicBezTo>
                              <a:pt x="37619" y="7236"/>
                              <a:pt x="37320" y="6818"/>
                              <a:pt x="37021" y="6459"/>
                            </a:cubicBezTo>
                            <a:cubicBezTo>
                              <a:pt x="36722" y="6100"/>
                              <a:pt x="36423" y="5741"/>
                              <a:pt x="36064" y="5382"/>
                            </a:cubicBezTo>
                            <a:cubicBezTo>
                              <a:pt x="35765" y="5024"/>
                              <a:pt x="35406" y="4725"/>
                              <a:pt x="35047" y="4366"/>
                            </a:cubicBezTo>
                            <a:cubicBezTo>
                              <a:pt x="34987" y="4306"/>
                              <a:pt x="34928" y="4246"/>
                              <a:pt x="34868" y="4186"/>
                            </a:cubicBezTo>
                            <a:cubicBezTo>
                              <a:pt x="34808" y="4127"/>
                              <a:pt x="34748" y="4067"/>
                              <a:pt x="34688" y="4007"/>
                            </a:cubicBezTo>
                            <a:cubicBezTo>
                              <a:pt x="34628" y="3947"/>
                              <a:pt x="34568" y="3887"/>
                              <a:pt x="34509" y="3827"/>
                            </a:cubicBezTo>
                            <a:cubicBezTo>
                              <a:pt x="34449" y="3768"/>
                              <a:pt x="34389" y="3708"/>
                              <a:pt x="34329" y="3648"/>
                            </a:cubicBezTo>
                            <a:cubicBezTo>
                              <a:pt x="34329" y="3648"/>
                              <a:pt x="34329" y="3648"/>
                              <a:pt x="34329" y="3648"/>
                            </a:cubicBezTo>
                            <a:cubicBezTo>
                              <a:pt x="34329" y="3648"/>
                              <a:pt x="34329" y="3648"/>
                              <a:pt x="34329" y="3648"/>
                            </a:cubicBezTo>
                            <a:cubicBezTo>
                              <a:pt x="34329" y="3648"/>
                              <a:pt x="34329" y="3648"/>
                              <a:pt x="34329" y="3648"/>
                            </a:cubicBezTo>
                            <a:cubicBezTo>
                              <a:pt x="34329" y="3648"/>
                              <a:pt x="34329" y="3648"/>
                              <a:pt x="34329" y="3648"/>
                            </a:cubicBezTo>
                            <a:cubicBezTo>
                              <a:pt x="33791" y="3229"/>
                              <a:pt x="33253" y="2871"/>
                              <a:pt x="32655" y="2512"/>
                            </a:cubicBezTo>
                            <a:cubicBezTo>
                              <a:pt x="32057" y="2153"/>
                              <a:pt x="31459" y="1854"/>
                              <a:pt x="30860" y="1615"/>
                            </a:cubicBezTo>
                            <a:cubicBezTo>
                              <a:pt x="30262" y="1375"/>
                              <a:pt x="29605" y="1076"/>
                              <a:pt x="28947" y="897"/>
                            </a:cubicBezTo>
                            <a:cubicBezTo>
                              <a:pt x="28289" y="718"/>
                              <a:pt x="27631" y="538"/>
                              <a:pt x="26973" y="419"/>
                            </a:cubicBezTo>
                            <a:cubicBezTo>
                              <a:pt x="26853" y="419"/>
                              <a:pt x="26794" y="359"/>
                              <a:pt x="26674" y="359"/>
                            </a:cubicBezTo>
                            <a:cubicBezTo>
                              <a:pt x="26554" y="359"/>
                              <a:pt x="26495" y="299"/>
                              <a:pt x="26375" y="299"/>
                            </a:cubicBezTo>
                            <a:cubicBezTo>
                              <a:pt x="26255" y="299"/>
                              <a:pt x="26196" y="299"/>
                              <a:pt x="26076" y="239"/>
                            </a:cubicBezTo>
                            <a:cubicBezTo>
                              <a:pt x="25956" y="179"/>
                              <a:pt x="25897" y="239"/>
                              <a:pt x="25777" y="179"/>
                            </a:cubicBezTo>
                            <a:cubicBezTo>
                              <a:pt x="25657" y="179"/>
                              <a:pt x="25597" y="179"/>
                              <a:pt x="25478" y="119"/>
                            </a:cubicBezTo>
                            <a:cubicBezTo>
                              <a:pt x="25358" y="119"/>
                              <a:pt x="25298" y="119"/>
                              <a:pt x="25179" y="60"/>
                            </a:cubicBezTo>
                            <a:cubicBezTo>
                              <a:pt x="25059" y="0"/>
                              <a:pt x="24999" y="60"/>
                              <a:pt x="24880" y="60"/>
                            </a:cubicBezTo>
                            <a:cubicBezTo>
                              <a:pt x="24760" y="60"/>
                              <a:pt x="24700" y="60"/>
                              <a:pt x="24581" y="60"/>
                            </a:cubicBezTo>
                            <a:cubicBezTo>
                              <a:pt x="23863" y="0"/>
                              <a:pt x="23205" y="0"/>
                              <a:pt x="22488" y="0"/>
                            </a:cubicBezTo>
                            <a:cubicBezTo>
                              <a:pt x="21770" y="0"/>
                              <a:pt x="21112" y="60"/>
                              <a:pt x="20394" y="179"/>
                            </a:cubicBezTo>
                            <a:cubicBezTo>
                              <a:pt x="19676" y="299"/>
                              <a:pt x="19019" y="419"/>
                              <a:pt x="18301" y="598"/>
                            </a:cubicBezTo>
                            <a:cubicBezTo>
                              <a:pt x="17583" y="778"/>
                              <a:pt x="16926" y="957"/>
                              <a:pt x="16267" y="1196"/>
                            </a:cubicBezTo>
                            <a:cubicBezTo>
                              <a:pt x="16148" y="1256"/>
                              <a:pt x="15968" y="1316"/>
                              <a:pt x="15849" y="1375"/>
                            </a:cubicBezTo>
                            <a:cubicBezTo>
                              <a:pt x="15729" y="1435"/>
                              <a:pt x="15550" y="1495"/>
                              <a:pt x="15430" y="1555"/>
                            </a:cubicBezTo>
                            <a:cubicBezTo>
                              <a:pt x="15311" y="1615"/>
                              <a:pt x="15131" y="1674"/>
                              <a:pt x="15012" y="1734"/>
                            </a:cubicBezTo>
                            <a:cubicBezTo>
                              <a:pt x="14892" y="1794"/>
                              <a:pt x="14713" y="1854"/>
                              <a:pt x="14593" y="1914"/>
                            </a:cubicBezTo>
                            <a:cubicBezTo>
                              <a:pt x="14473" y="1973"/>
                              <a:pt x="14354" y="2033"/>
                              <a:pt x="14234" y="2093"/>
                            </a:cubicBezTo>
                            <a:cubicBezTo>
                              <a:pt x="14114" y="2153"/>
                              <a:pt x="13995" y="2213"/>
                              <a:pt x="13875" y="2273"/>
                            </a:cubicBezTo>
                            <a:cubicBezTo>
                              <a:pt x="13756" y="2332"/>
                              <a:pt x="13636" y="2392"/>
                              <a:pt x="13516" y="2452"/>
                            </a:cubicBezTo>
                            <a:cubicBezTo>
                              <a:pt x="13397" y="2512"/>
                              <a:pt x="13277" y="2572"/>
                              <a:pt x="13158" y="2632"/>
                            </a:cubicBezTo>
                            <a:cubicBezTo>
                              <a:pt x="13038" y="2691"/>
                              <a:pt x="12918" y="2751"/>
                              <a:pt x="12799" y="2811"/>
                            </a:cubicBezTo>
                            <a:cubicBezTo>
                              <a:pt x="12679" y="2871"/>
                              <a:pt x="12559" y="2930"/>
                              <a:pt x="12440" y="2990"/>
                            </a:cubicBezTo>
                            <a:cubicBezTo>
                              <a:pt x="12320" y="3050"/>
                              <a:pt x="12201" y="3110"/>
                              <a:pt x="12081" y="3170"/>
                            </a:cubicBezTo>
                            <a:cubicBezTo>
                              <a:pt x="11961" y="3229"/>
                              <a:pt x="11842" y="3289"/>
                              <a:pt x="11722" y="3349"/>
                            </a:cubicBezTo>
                            <a:cubicBezTo>
                              <a:pt x="11483" y="3469"/>
                              <a:pt x="11304" y="3648"/>
                              <a:pt x="11064" y="3768"/>
                            </a:cubicBezTo>
                            <a:cubicBezTo>
                              <a:pt x="10825" y="3887"/>
                              <a:pt x="10645" y="4067"/>
                              <a:pt x="10406" y="4246"/>
                            </a:cubicBezTo>
                            <a:cubicBezTo>
                              <a:pt x="10167" y="4426"/>
                              <a:pt x="9988" y="4545"/>
                              <a:pt x="9749" y="4725"/>
                            </a:cubicBezTo>
                            <a:cubicBezTo>
                              <a:pt x="9510" y="4904"/>
                              <a:pt x="9330" y="5024"/>
                              <a:pt x="9150" y="5203"/>
                            </a:cubicBezTo>
                            <a:cubicBezTo>
                              <a:pt x="8373" y="5861"/>
                              <a:pt x="7596" y="6519"/>
                              <a:pt x="6937" y="7236"/>
                            </a:cubicBezTo>
                            <a:cubicBezTo>
                              <a:pt x="6220" y="7954"/>
                              <a:pt x="5562" y="8732"/>
                              <a:pt x="4964" y="9509"/>
                            </a:cubicBezTo>
                            <a:cubicBezTo>
                              <a:pt x="4366" y="10287"/>
                              <a:pt x="3828" y="11124"/>
                              <a:pt x="3289" y="11961"/>
                            </a:cubicBezTo>
                            <a:cubicBezTo>
                              <a:pt x="2811" y="12798"/>
                              <a:pt x="2333" y="13696"/>
                              <a:pt x="1974" y="14593"/>
                            </a:cubicBezTo>
                            <a:cubicBezTo>
                              <a:pt x="1914" y="14712"/>
                              <a:pt x="1914" y="14772"/>
                              <a:pt x="1854" y="14892"/>
                            </a:cubicBezTo>
                            <a:cubicBezTo>
                              <a:pt x="1794" y="15012"/>
                              <a:pt x="1794" y="15071"/>
                              <a:pt x="1734" y="15191"/>
                            </a:cubicBezTo>
                            <a:cubicBezTo>
                              <a:pt x="1674" y="15311"/>
                              <a:pt x="1674" y="15370"/>
                              <a:pt x="1615" y="15490"/>
                            </a:cubicBezTo>
                            <a:cubicBezTo>
                              <a:pt x="1555" y="15610"/>
                              <a:pt x="1555" y="15669"/>
                              <a:pt x="1495" y="15789"/>
                            </a:cubicBezTo>
                            <a:cubicBezTo>
                              <a:pt x="1375" y="16088"/>
                              <a:pt x="1256" y="16447"/>
                              <a:pt x="1136" y="16746"/>
                            </a:cubicBezTo>
                            <a:cubicBezTo>
                              <a:pt x="1017" y="17045"/>
                              <a:pt x="957" y="17404"/>
                              <a:pt x="837" y="17703"/>
                            </a:cubicBezTo>
                            <a:cubicBezTo>
                              <a:pt x="718" y="18002"/>
                              <a:pt x="658" y="18361"/>
                              <a:pt x="598" y="18660"/>
                            </a:cubicBezTo>
                            <a:cubicBezTo>
                              <a:pt x="538" y="18959"/>
                              <a:pt x="479" y="19318"/>
                              <a:pt x="359" y="19676"/>
                            </a:cubicBezTo>
                            <a:cubicBezTo>
                              <a:pt x="239" y="20394"/>
                              <a:pt x="120" y="21112"/>
                              <a:pt x="60" y="21770"/>
                            </a:cubicBezTo>
                            <a:cubicBezTo>
                              <a:pt x="0" y="22488"/>
                              <a:pt x="0" y="23145"/>
                              <a:pt x="0" y="23863"/>
                            </a:cubicBezTo>
                            <a:cubicBezTo>
                              <a:pt x="0" y="24521"/>
                              <a:pt x="60" y="25238"/>
                              <a:pt x="120" y="25896"/>
                            </a:cubicBezTo>
                            <a:cubicBezTo>
                              <a:pt x="179" y="26554"/>
                              <a:pt x="299" y="27212"/>
                              <a:pt x="479" y="27870"/>
                            </a:cubicBezTo>
                            <a:cubicBezTo>
                              <a:pt x="479" y="27990"/>
                              <a:pt x="538" y="28050"/>
                              <a:pt x="538" y="28169"/>
                            </a:cubicBezTo>
                            <a:cubicBezTo>
                              <a:pt x="538" y="28289"/>
                              <a:pt x="598" y="28349"/>
                              <a:pt x="598" y="28468"/>
                            </a:cubicBezTo>
                            <a:cubicBezTo>
                              <a:pt x="598" y="28588"/>
                              <a:pt x="658" y="28648"/>
                              <a:pt x="658" y="28767"/>
                            </a:cubicBezTo>
                            <a:cubicBezTo>
                              <a:pt x="658" y="28887"/>
                              <a:pt x="718" y="28946"/>
                              <a:pt x="718" y="29066"/>
                            </a:cubicBezTo>
                            <a:cubicBezTo>
                              <a:pt x="957" y="29844"/>
                              <a:pt x="1196" y="30561"/>
                              <a:pt x="1495" y="31279"/>
                            </a:cubicBezTo>
                            <a:cubicBezTo>
                              <a:pt x="1794" y="31997"/>
                              <a:pt x="2153" y="32655"/>
                              <a:pt x="2512" y="33313"/>
                            </a:cubicBezTo>
                            <a:cubicBezTo>
                              <a:pt x="2930" y="33970"/>
                              <a:pt x="3349" y="34568"/>
                              <a:pt x="3828" y="35167"/>
                            </a:cubicBezTo>
                            <a:cubicBezTo>
                              <a:pt x="4306" y="35765"/>
                              <a:pt x="4785" y="36303"/>
                              <a:pt x="5383" y="36841"/>
                            </a:cubicBezTo>
                            <a:cubicBezTo>
                              <a:pt x="5442" y="36901"/>
                              <a:pt x="5562" y="36961"/>
                              <a:pt x="5622" y="37080"/>
                            </a:cubicBezTo>
                            <a:cubicBezTo>
                              <a:pt x="5682" y="37140"/>
                              <a:pt x="5801" y="37200"/>
                              <a:pt x="5861" y="37320"/>
                            </a:cubicBezTo>
                            <a:cubicBezTo>
                              <a:pt x="5921" y="37380"/>
                              <a:pt x="6041" y="37439"/>
                              <a:pt x="6100" y="37559"/>
                            </a:cubicBezTo>
                            <a:cubicBezTo>
                              <a:pt x="6160" y="37619"/>
                              <a:pt x="6280" y="37678"/>
                              <a:pt x="6340" y="37738"/>
                            </a:cubicBezTo>
                            <a:cubicBezTo>
                              <a:pt x="6399" y="37798"/>
                              <a:pt x="6459" y="37798"/>
                              <a:pt x="6459" y="37858"/>
                            </a:cubicBezTo>
                            <a:cubicBezTo>
                              <a:pt x="6519" y="37918"/>
                              <a:pt x="6579" y="37918"/>
                              <a:pt x="6579" y="37977"/>
                            </a:cubicBezTo>
                            <a:cubicBezTo>
                              <a:pt x="6639" y="38037"/>
                              <a:pt x="6698" y="38037"/>
                              <a:pt x="6698" y="38097"/>
                            </a:cubicBezTo>
                            <a:cubicBezTo>
                              <a:pt x="6937" y="37977"/>
                              <a:pt x="6997" y="37977"/>
                              <a:pt x="7057" y="38037"/>
                            </a:cubicBezTo>
                          </a:path>
                        </a:pathLst>
                      </a:custGeom>
                      <a:noFill/>
                      <a:ln w="6350" cap="flat">
                        <a:solidFill>
                          <a:schemeClr val="bg1">
                            <a:alpha val="40000"/>
                          </a:schemeClr>
                        </a:solidFill>
                        <a:prstDash val="solid"/>
                        <a:miter/>
                      </a:ln>
                    </p:spPr>
                    <p:txBody>
                      <a:bodyPr rtlCol="0" anchor="ctr"/>
                      <a:lstStyle/>
                      <a:p>
                        <a:endParaRPr lang="en-GB"/>
                      </a:p>
                    </p:txBody>
                  </p:sp>
                  <p:sp>
                    <p:nvSpPr>
                      <p:cNvPr id="7504" name="Vrije vorm: vorm 7503">
                        <a:extLst>
                          <a:ext uri="{FF2B5EF4-FFF2-40B4-BE49-F238E27FC236}">
                            <a16:creationId xmlns:a16="http://schemas.microsoft.com/office/drawing/2014/main" id="{46C19303-089D-46DD-874E-C26E43EB2874}"/>
                          </a:ext>
                        </a:extLst>
                      </p:cNvPr>
                      <p:cNvSpPr/>
                      <p:nvPr/>
                    </p:nvSpPr>
                    <p:spPr>
                      <a:xfrm>
                        <a:off x="4978552" y="5078525"/>
                        <a:ext cx="40669" cy="41453"/>
                      </a:xfrm>
                      <a:custGeom>
                        <a:avLst/>
                        <a:gdLst>
                          <a:gd name="connsiteX0" fmla="*/ 33133 w 40669"/>
                          <a:gd name="connsiteY0" fmla="*/ 4650 h 41453"/>
                          <a:gd name="connsiteX1" fmla="*/ 33970 w 40669"/>
                          <a:gd name="connsiteY1" fmla="*/ 5368 h 41453"/>
                          <a:gd name="connsiteX2" fmla="*/ 34808 w 40669"/>
                          <a:gd name="connsiteY2" fmla="*/ 6145 h 41453"/>
                          <a:gd name="connsiteX3" fmla="*/ 35585 w 40669"/>
                          <a:gd name="connsiteY3" fmla="*/ 6982 h 41453"/>
                          <a:gd name="connsiteX4" fmla="*/ 36303 w 40669"/>
                          <a:gd name="connsiteY4" fmla="*/ 7880 h 41453"/>
                          <a:gd name="connsiteX5" fmla="*/ 38097 w 40669"/>
                          <a:gd name="connsiteY5" fmla="*/ 10990 h 41453"/>
                          <a:gd name="connsiteX6" fmla="*/ 39174 w 40669"/>
                          <a:gd name="connsiteY6" fmla="*/ 14458 h 41453"/>
                          <a:gd name="connsiteX7" fmla="*/ 39533 w 40669"/>
                          <a:gd name="connsiteY7" fmla="*/ 18166 h 41453"/>
                          <a:gd name="connsiteX8" fmla="*/ 39174 w 40669"/>
                          <a:gd name="connsiteY8" fmla="*/ 21994 h 41453"/>
                          <a:gd name="connsiteX9" fmla="*/ 38038 w 40669"/>
                          <a:gd name="connsiteY9" fmla="*/ 25822 h 41453"/>
                          <a:gd name="connsiteX10" fmla="*/ 36303 w 40669"/>
                          <a:gd name="connsiteY10" fmla="*/ 29350 h 41453"/>
                          <a:gd name="connsiteX11" fmla="*/ 33970 w 40669"/>
                          <a:gd name="connsiteY11" fmla="*/ 32580 h 41453"/>
                          <a:gd name="connsiteX12" fmla="*/ 31100 w 40669"/>
                          <a:gd name="connsiteY12" fmla="*/ 35391 h 41453"/>
                          <a:gd name="connsiteX13" fmla="*/ 27811 w 40669"/>
                          <a:gd name="connsiteY13" fmla="*/ 37664 h 41453"/>
                          <a:gd name="connsiteX14" fmla="*/ 24282 w 40669"/>
                          <a:gd name="connsiteY14" fmla="*/ 39278 h 41453"/>
                          <a:gd name="connsiteX15" fmla="*/ 20574 w 40669"/>
                          <a:gd name="connsiteY15" fmla="*/ 40175 h 41453"/>
                          <a:gd name="connsiteX16" fmla="*/ 16806 w 40669"/>
                          <a:gd name="connsiteY16" fmla="*/ 40355 h 41453"/>
                          <a:gd name="connsiteX17" fmla="*/ 14294 w 40669"/>
                          <a:gd name="connsiteY17" fmla="*/ 40056 h 41453"/>
                          <a:gd name="connsiteX18" fmla="*/ 11961 w 40669"/>
                          <a:gd name="connsiteY18" fmla="*/ 39398 h 41453"/>
                          <a:gd name="connsiteX19" fmla="*/ 9749 w 40669"/>
                          <a:gd name="connsiteY19" fmla="*/ 38441 h 41453"/>
                          <a:gd name="connsiteX20" fmla="*/ 7715 w 40669"/>
                          <a:gd name="connsiteY20" fmla="*/ 37125 h 41453"/>
                          <a:gd name="connsiteX21" fmla="*/ 6818 w 40669"/>
                          <a:gd name="connsiteY21" fmla="*/ 36408 h 41453"/>
                          <a:gd name="connsiteX22" fmla="*/ 5981 w 40669"/>
                          <a:gd name="connsiteY22" fmla="*/ 35630 h 41453"/>
                          <a:gd name="connsiteX23" fmla="*/ 5203 w 40669"/>
                          <a:gd name="connsiteY23" fmla="*/ 34793 h 41453"/>
                          <a:gd name="connsiteX24" fmla="*/ 4486 w 40669"/>
                          <a:gd name="connsiteY24" fmla="*/ 33896 h 41453"/>
                          <a:gd name="connsiteX25" fmla="*/ 2632 w 40669"/>
                          <a:gd name="connsiteY25" fmla="*/ 30786 h 41453"/>
                          <a:gd name="connsiteX26" fmla="*/ 1495 w 40669"/>
                          <a:gd name="connsiteY26" fmla="*/ 27317 h 41453"/>
                          <a:gd name="connsiteX27" fmla="*/ 1076 w 40669"/>
                          <a:gd name="connsiteY27" fmla="*/ 23609 h 41453"/>
                          <a:gd name="connsiteX28" fmla="*/ 1435 w 40669"/>
                          <a:gd name="connsiteY28" fmla="*/ 19721 h 41453"/>
                          <a:gd name="connsiteX29" fmla="*/ 4366 w 40669"/>
                          <a:gd name="connsiteY29" fmla="*/ 12186 h 41453"/>
                          <a:gd name="connsiteX30" fmla="*/ 9629 w 40669"/>
                          <a:gd name="connsiteY30" fmla="*/ 6205 h 41453"/>
                          <a:gd name="connsiteX31" fmla="*/ 16447 w 40669"/>
                          <a:gd name="connsiteY31" fmla="*/ 2377 h 41453"/>
                          <a:gd name="connsiteX32" fmla="*/ 24102 w 40669"/>
                          <a:gd name="connsiteY32" fmla="*/ 1361 h 41453"/>
                          <a:gd name="connsiteX33" fmla="*/ 26614 w 40669"/>
                          <a:gd name="connsiteY33" fmla="*/ 1719 h 41453"/>
                          <a:gd name="connsiteX34" fmla="*/ 28947 w 40669"/>
                          <a:gd name="connsiteY34" fmla="*/ 2377 h 41453"/>
                          <a:gd name="connsiteX35" fmla="*/ 31100 w 40669"/>
                          <a:gd name="connsiteY35" fmla="*/ 3394 h 41453"/>
                          <a:gd name="connsiteX36" fmla="*/ 33133 w 40669"/>
                          <a:gd name="connsiteY36" fmla="*/ 4650 h 41453"/>
                          <a:gd name="connsiteX37" fmla="*/ 6938 w 40669"/>
                          <a:gd name="connsiteY37" fmla="*/ 38082 h 41453"/>
                          <a:gd name="connsiteX38" fmla="*/ 9091 w 40669"/>
                          <a:gd name="connsiteY38" fmla="*/ 39458 h 41453"/>
                          <a:gd name="connsiteX39" fmla="*/ 11423 w 40669"/>
                          <a:gd name="connsiteY39" fmla="*/ 40475 h 41453"/>
                          <a:gd name="connsiteX40" fmla="*/ 13935 w 40669"/>
                          <a:gd name="connsiteY40" fmla="*/ 41132 h 41453"/>
                          <a:gd name="connsiteX41" fmla="*/ 16567 w 40669"/>
                          <a:gd name="connsiteY41" fmla="*/ 41431 h 41453"/>
                          <a:gd name="connsiteX42" fmla="*/ 20574 w 40669"/>
                          <a:gd name="connsiteY42" fmla="*/ 41252 h 41453"/>
                          <a:gd name="connsiteX43" fmla="*/ 24461 w 40669"/>
                          <a:gd name="connsiteY43" fmla="*/ 40295 h 41453"/>
                          <a:gd name="connsiteX44" fmla="*/ 28229 w 40669"/>
                          <a:gd name="connsiteY44" fmla="*/ 38621 h 41453"/>
                          <a:gd name="connsiteX45" fmla="*/ 31758 w 40669"/>
                          <a:gd name="connsiteY45" fmla="*/ 36228 h 41453"/>
                          <a:gd name="connsiteX46" fmla="*/ 34808 w 40669"/>
                          <a:gd name="connsiteY46" fmla="*/ 33238 h 41453"/>
                          <a:gd name="connsiteX47" fmla="*/ 37260 w 40669"/>
                          <a:gd name="connsiteY47" fmla="*/ 29829 h 41453"/>
                          <a:gd name="connsiteX48" fmla="*/ 39114 w 40669"/>
                          <a:gd name="connsiteY48" fmla="*/ 26061 h 41453"/>
                          <a:gd name="connsiteX49" fmla="*/ 40251 w 40669"/>
                          <a:gd name="connsiteY49" fmla="*/ 22054 h 41453"/>
                          <a:gd name="connsiteX50" fmla="*/ 40669 w 40669"/>
                          <a:gd name="connsiteY50" fmla="*/ 17987 h 41453"/>
                          <a:gd name="connsiteX51" fmla="*/ 40310 w 40669"/>
                          <a:gd name="connsiteY51" fmla="*/ 14099 h 41453"/>
                          <a:gd name="connsiteX52" fmla="*/ 39174 w 40669"/>
                          <a:gd name="connsiteY52" fmla="*/ 10451 h 41453"/>
                          <a:gd name="connsiteX53" fmla="*/ 37320 w 40669"/>
                          <a:gd name="connsiteY53" fmla="*/ 7102 h 41453"/>
                          <a:gd name="connsiteX54" fmla="*/ 36542 w 40669"/>
                          <a:gd name="connsiteY54" fmla="*/ 6145 h 41453"/>
                          <a:gd name="connsiteX55" fmla="*/ 35705 w 40669"/>
                          <a:gd name="connsiteY55" fmla="*/ 5248 h 41453"/>
                          <a:gd name="connsiteX56" fmla="*/ 34868 w 40669"/>
                          <a:gd name="connsiteY56" fmla="*/ 4411 h 41453"/>
                          <a:gd name="connsiteX57" fmla="*/ 33970 w 40669"/>
                          <a:gd name="connsiteY57" fmla="*/ 3633 h 41453"/>
                          <a:gd name="connsiteX58" fmla="*/ 31877 w 40669"/>
                          <a:gd name="connsiteY58" fmla="*/ 2198 h 41453"/>
                          <a:gd name="connsiteX59" fmla="*/ 29545 w 40669"/>
                          <a:gd name="connsiteY59" fmla="*/ 1121 h 41453"/>
                          <a:gd name="connsiteX60" fmla="*/ 27033 w 40669"/>
                          <a:gd name="connsiteY60" fmla="*/ 404 h 41453"/>
                          <a:gd name="connsiteX61" fmla="*/ 24342 w 40669"/>
                          <a:gd name="connsiteY61" fmla="*/ 45 h 41453"/>
                          <a:gd name="connsiteX62" fmla="*/ 16268 w 40669"/>
                          <a:gd name="connsiteY62" fmla="*/ 1121 h 41453"/>
                          <a:gd name="connsiteX63" fmla="*/ 9031 w 40669"/>
                          <a:gd name="connsiteY63" fmla="*/ 5128 h 41453"/>
                          <a:gd name="connsiteX64" fmla="*/ 3469 w 40669"/>
                          <a:gd name="connsiteY64" fmla="*/ 11468 h 41453"/>
                          <a:gd name="connsiteX65" fmla="*/ 359 w 40669"/>
                          <a:gd name="connsiteY65" fmla="*/ 19482 h 41453"/>
                          <a:gd name="connsiteX66" fmla="*/ 0 w 40669"/>
                          <a:gd name="connsiteY66" fmla="*/ 23609 h 41453"/>
                          <a:gd name="connsiteX67" fmla="*/ 419 w 40669"/>
                          <a:gd name="connsiteY67" fmla="*/ 27556 h 41453"/>
                          <a:gd name="connsiteX68" fmla="*/ 1615 w 40669"/>
                          <a:gd name="connsiteY68" fmla="*/ 31204 h 41453"/>
                          <a:gd name="connsiteX69" fmla="*/ 3589 w 40669"/>
                          <a:gd name="connsiteY69" fmla="*/ 34494 h 41453"/>
                          <a:gd name="connsiteX70" fmla="*/ 4366 w 40669"/>
                          <a:gd name="connsiteY70" fmla="*/ 35451 h 41453"/>
                          <a:gd name="connsiteX71" fmla="*/ 5203 w 40669"/>
                          <a:gd name="connsiteY71" fmla="*/ 36348 h 41453"/>
                          <a:gd name="connsiteX72" fmla="*/ 6100 w 40669"/>
                          <a:gd name="connsiteY72" fmla="*/ 37185 h 41453"/>
                          <a:gd name="connsiteX73" fmla="*/ 6938 w 40669"/>
                          <a:gd name="connsiteY73" fmla="*/ 38082 h 4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0669" h="41453">
                            <a:moveTo>
                              <a:pt x="33133" y="4650"/>
                            </a:moveTo>
                            <a:cubicBezTo>
                              <a:pt x="33432" y="4889"/>
                              <a:pt x="33731" y="5128"/>
                              <a:pt x="33970" y="5368"/>
                            </a:cubicBezTo>
                            <a:cubicBezTo>
                              <a:pt x="34270" y="5607"/>
                              <a:pt x="34509" y="5906"/>
                              <a:pt x="34808" y="6145"/>
                            </a:cubicBezTo>
                            <a:cubicBezTo>
                              <a:pt x="35047" y="6444"/>
                              <a:pt x="35346" y="6683"/>
                              <a:pt x="35585" y="6982"/>
                            </a:cubicBezTo>
                            <a:cubicBezTo>
                              <a:pt x="35824" y="7281"/>
                              <a:pt x="36064" y="7581"/>
                              <a:pt x="36303" y="7880"/>
                            </a:cubicBezTo>
                            <a:cubicBezTo>
                              <a:pt x="37021" y="8836"/>
                              <a:pt x="37619" y="9913"/>
                              <a:pt x="38097" y="10990"/>
                            </a:cubicBezTo>
                            <a:cubicBezTo>
                              <a:pt x="38576" y="12066"/>
                              <a:pt x="38935" y="13262"/>
                              <a:pt x="39174" y="14458"/>
                            </a:cubicBezTo>
                            <a:cubicBezTo>
                              <a:pt x="39413" y="15655"/>
                              <a:pt x="39533" y="16911"/>
                              <a:pt x="39533" y="18166"/>
                            </a:cubicBezTo>
                            <a:cubicBezTo>
                              <a:pt x="39533" y="19422"/>
                              <a:pt x="39413" y="20738"/>
                              <a:pt x="39174" y="21994"/>
                            </a:cubicBezTo>
                            <a:cubicBezTo>
                              <a:pt x="38935" y="23310"/>
                              <a:pt x="38516" y="24566"/>
                              <a:pt x="38038" y="25822"/>
                            </a:cubicBezTo>
                            <a:cubicBezTo>
                              <a:pt x="37559" y="27078"/>
                              <a:pt x="36961" y="28214"/>
                              <a:pt x="36303" y="29350"/>
                            </a:cubicBezTo>
                            <a:cubicBezTo>
                              <a:pt x="35645" y="30487"/>
                              <a:pt x="34808" y="31563"/>
                              <a:pt x="33970" y="32580"/>
                            </a:cubicBezTo>
                            <a:cubicBezTo>
                              <a:pt x="33074" y="33597"/>
                              <a:pt x="32116" y="34554"/>
                              <a:pt x="31100" y="35391"/>
                            </a:cubicBezTo>
                            <a:cubicBezTo>
                              <a:pt x="30023" y="36228"/>
                              <a:pt x="28947" y="37006"/>
                              <a:pt x="27811" y="37664"/>
                            </a:cubicBezTo>
                            <a:cubicBezTo>
                              <a:pt x="26674" y="38321"/>
                              <a:pt x="25478" y="38860"/>
                              <a:pt x="24282" y="39278"/>
                            </a:cubicBezTo>
                            <a:cubicBezTo>
                              <a:pt x="23086" y="39697"/>
                              <a:pt x="21830" y="39996"/>
                              <a:pt x="20574" y="40175"/>
                            </a:cubicBezTo>
                            <a:cubicBezTo>
                              <a:pt x="19318" y="40355"/>
                              <a:pt x="18062" y="40415"/>
                              <a:pt x="16806" y="40355"/>
                            </a:cubicBezTo>
                            <a:cubicBezTo>
                              <a:pt x="15969" y="40295"/>
                              <a:pt x="15131" y="40175"/>
                              <a:pt x="14294" y="40056"/>
                            </a:cubicBezTo>
                            <a:cubicBezTo>
                              <a:pt x="13457" y="39876"/>
                              <a:pt x="12679" y="39697"/>
                              <a:pt x="11961" y="39398"/>
                            </a:cubicBezTo>
                            <a:cubicBezTo>
                              <a:pt x="11184" y="39099"/>
                              <a:pt x="10466" y="38800"/>
                              <a:pt x="9749" y="38441"/>
                            </a:cubicBezTo>
                            <a:cubicBezTo>
                              <a:pt x="9031" y="38082"/>
                              <a:pt x="8373" y="37604"/>
                              <a:pt x="7715" y="37125"/>
                            </a:cubicBezTo>
                            <a:cubicBezTo>
                              <a:pt x="7416" y="36886"/>
                              <a:pt x="7117" y="36647"/>
                              <a:pt x="6818" y="36408"/>
                            </a:cubicBezTo>
                            <a:cubicBezTo>
                              <a:pt x="6519" y="36168"/>
                              <a:pt x="6280" y="35929"/>
                              <a:pt x="5981" y="35630"/>
                            </a:cubicBezTo>
                            <a:cubicBezTo>
                              <a:pt x="5742" y="35391"/>
                              <a:pt x="5443" y="35092"/>
                              <a:pt x="5203" y="34793"/>
                            </a:cubicBezTo>
                            <a:cubicBezTo>
                              <a:pt x="4964" y="34494"/>
                              <a:pt x="4725" y="34195"/>
                              <a:pt x="4486" y="33896"/>
                            </a:cubicBezTo>
                            <a:cubicBezTo>
                              <a:pt x="3768" y="32939"/>
                              <a:pt x="3170" y="31862"/>
                              <a:pt x="2632" y="30786"/>
                            </a:cubicBezTo>
                            <a:cubicBezTo>
                              <a:pt x="2153" y="29709"/>
                              <a:pt x="1735" y="28513"/>
                              <a:pt x="1495" y="27317"/>
                            </a:cubicBezTo>
                            <a:cubicBezTo>
                              <a:pt x="1256" y="26121"/>
                              <a:pt x="1136" y="24865"/>
                              <a:pt x="1076" y="23609"/>
                            </a:cubicBezTo>
                            <a:cubicBezTo>
                              <a:pt x="1076" y="22353"/>
                              <a:pt x="1196" y="21037"/>
                              <a:pt x="1435" y="19721"/>
                            </a:cubicBezTo>
                            <a:cubicBezTo>
                              <a:pt x="1914" y="17030"/>
                              <a:pt x="2930" y="14458"/>
                              <a:pt x="4366" y="12186"/>
                            </a:cubicBezTo>
                            <a:cubicBezTo>
                              <a:pt x="5742" y="9913"/>
                              <a:pt x="7536" y="7880"/>
                              <a:pt x="9629" y="6205"/>
                            </a:cubicBezTo>
                            <a:cubicBezTo>
                              <a:pt x="11662" y="4530"/>
                              <a:pt x="13995" y="3215"/>
                              <a:pt x="16447" y="2377"/>
                            </a:cubicBezTo>
                            <a:cubicBezTo>
                              <a:pt x="18899" y="1540"/>
                              <a:pt x="21471" y="1181"/>
                              <a:pt x="24102" y="1361"/>
                            </a:cubicBezTo>
                            <a:cubicBezTo>
                              <a:pt x="24940" y="1420"/>
                              <a:pt x="25777" y="1540"/>
                              <a:pt x="26614" y="1719"/>
                            </a:cubicBezTo>
                            <a:cubicBezTo>
                              <a:pt x="27452" y="1899"/>
                              <a:pt x="28229" y="2138"/>
                              <a:pt x="28947" y="2377"/>
                            </a:cubicBezTo>
                            <a:cubicBezTo>
                              <a:pt x="29724" y="2676"/>
                              <a:pt x="30442" y="2975"/>
                              <a:pt x="31100" y="3394"/>
                            </a:cubicBezTo>
                            <a:cubicBezTo>
                              <a:pt x="31817" y="3753"/>
                              <a:pt x="32475" y="4172"/>
                              <a:pt x="33133" y="4650"/>
                            </a:cubicBezTo>
                            <a:moveTo>
                              <a:pt x="6938" y="38082"/>
                            </a:moveTo>
                            <a:cubicBezTo>
                              <a:pt x="7596" y="38621"/>
                              <a:pt x="8313" y="39039"/>
                              <a:pt x="9091" y="39458"/>
                            </a:cubicBezTo>
                            <a:cubicBezTo>
                              <a:pt x="9808" y="39876"/>
                              <a:pt x="10586" y="40175"/>
                              <a:pt x="11423" y="40475"/>
                            </a:cubicBezTo>
                            <a:cubicBezTo>
                              <a:pt x="12201" y="40774"/>
                              <a:pt x="13038" y="41013"/>
                              <a:pt x="13935" y="41132"/>
                            </a:cubicBezTo>
                            <a:cubicBezTo>
                              <a:pt x="14773" y="41312"/>
                              <a:pt x="15669" y="41431"/>
                              <a:pt x="16567" y="41431"/>
                            </a:cubicBezTo>
                            <a:cubicBezTo>
                              <a:pt x="17882" y="41491"/>
                              <a:pt x="19198" y="41431"/>
                              <a:pt x="20574" y="41252"/>
                            </a:cubicBezTo>
                            <a:cubicBezTo>
                              <a:pt x="21890" y="41073"/>
                              <a:pt x="23205" y="40774"/>
                              <a:pt x="24461" y="40295"/>
                            </a:cubicBezTo>
                            <a:cubicBezTo>
                              <a:pt x="25717" y="39876"/>
                              <a:pt x="26973" y="39278"/>
                              <a:pt x="28229" y="38621"/>
                            </a:cubicBezTo>
                            <a:cubicBezTo>
                              <a:pt x="29425" y="37962"/>
                              <a:pt x="30621" y="37125"/>
                              <a:pt x="31758" y="36228"/>
                            </a:cubicBezTo>
                            <a:cubicBezTo>
                              <a:pt x="32894" y="35331"/>
                              <a:pt x="33911" y="34314"/>
                              <a:pt x="34808" y="33238"/>
                            </a:cubicBezTo>
                            <a:cubicBezTo>
                              <a:pt x="35705" y="32161"/>
                              <a:pt x="36542" y="31025"/>
                              <a:pt x="37260" y="29829"/>
                            </a:cubicBezTo>
                            <a:cubicBezTo>
                              <a:pt x="37978" y="28633"/>
                              <a:pt x="38576" y="27377"/>
                              <a:pt x="39114" y="26061"/>
                            </a:cubicBezTo>
                            <a:cubicBezTo>
                              <a:pt x="39592" y="24745"/>
                              <a:pt x="40011" y="23429"/>
                              <a:pt x="40251" y="22054"/>
                            </a:cubicBezTo>
                            <a:cubicBezTo>
                              <a:pt x="40490" y="20678"/>
                              <a:pt x="40669" y="19303"/>
                              <a:pt x="40669" y="17987"/>
                            </a:cubicBezTo>
                            <a:cubicBezTo>
                              <a:pt x="40669" y="16671"/>
                              <a:pt x="40549" y="15356"/>
                              <a:pt x="40310" y="14099"/>
                            </a:cubicBezTo>
                            <a:cubicBezTo>
                              <a:pt x="40071" y="12844"/>
                              <a:pt x="39712" y="11588"/>
                              <a:pt x="39174" y="10451"/>
                            </a:cubicBezTo>
                            <a:cubicBezTo>
                              <a:pt x="38695" y="9255"/>
                              <a:pt x="38038" y="8179"/>
                              <a:pt x="37320" y="7102"/>
                            </a:cubicBezTo>
                            <a:cubicBezTo>
                              <a:pt x="37081" y="6803"/>
                              <a:pt x="36841" y="6444"/>
                              <a:pt x="36542" y="6145"/>
                            </a:cubicBezTo>
                            <a:cubicBezTo>
                              <a:pt x="36303" y="5846"/>
                              <a:pt x="36004" y="5547"/>
                              <a:pt x="35705" y="5248"/>
                            </a:cubicBezTo>
                            <a:cubicBezTo>
                              <a:pt x="35406" y="4949"/>
                              <a:pt x="35167" y="4710"/>
                              <a:pt x="34868" y="4411"/>
                            </a:cubicBezTo>
                            <a:cubicBezTo>
                              <a:pt x="34569" y="4172"/>
                              <a:pt x="34270" y="3873"/>
                              <a:pt x="33970" y="3633"/>
                            </a:cubicBezTo>
                            <a:cubicBezTo>
                              <a:pt x="33313" y="3095"/>
                              <a:pt x="32595" y="2617"/>
                              <a:pt x="31877" y="2198"/>
                            </a:cubicBezTo>
                            <a:cubicBezTo>
                              <a:pt x="31160" y="1779"/>
                              <a:pt x="30382" y="1420"/>
                              <a:pt x="29545" y="1121"/>
                            </a:cubicBezTo>
                            <a:cubicBezTo>
                              <a:pt x="28767" y="822"/>
                              <a:pt x="27930" y="583"/>
                              <a:pt x="27033" y="404"/>
                            </a:cubicBezTo>
                            <a:cubicBezTo>
                              <a:pt x="26196" y="224"/>
                              <a:pt x="25299" y="105"/>
                              <a:pt x="24342" y="45"/>
                            </a:cubicBezTo>
                            <a:cubicBezTo>
                              <a:pt x="21591" y="-135"/>
                              <a:pt x="18839" y="224"/>
                              <a:pt x="16268" y="1121"/>
                            </a:cubicBezTo>
                            <a:cubicBezTo>
                              <a:pt x="13696" y="2019"/>
                              <a:pt x="11244" y="3394"/>
                              <a:pt x="9031" y="5128"/>
                            </a:cubicBezTo>
                            <a:cubicBezTo>
                              <a:pt x="6878" y="6923"/>
                              <a:pt x="4964" y="9076"/>
                              <a:pt x="3469" y="11468"/>
                            </a:cubicBezTo>
                            <a:cubicBezTo>
                              <a:pt x="1974" y="13920"/>
                              <a:pt x="897" y="16612"/>
                              <a:pt x="359" y="19482"/>
                            </a:cubicBezTo>
                            <a:cubicBezTo>
                              <a:pt x="120" y="20858"/>
                              <a:pt x="0" y="22233"/>
                              <a:pt x="0" y="23609"/>
                            </a:cubicBezTo>
                            <a:cubicBezTo>
                              <a:pt x="0" y="24984"/>
                              <a:pt x="120" y="26300"/>
                              <a:pt x="419" y="27556"/>
                            </a:cubicBezTo>
                            <a:cubicBezTo>
                              <a:pt x="718" y="28812"/>
                              <a:pt x="1076" y="30068"/>
                              <a:pt x="1615" y="31204"/>
                            </a:cubicBezTo>
                            <a:cubicBezTo>
                              <a:pt x="2153" y="32341"/>
                              <a:pt x="2811" y="33477"/>
                              <a:pt x="3589" y="34494"/>
                            </a:cubicBezTo>
                            <a:cubicBezTo>
                              <a:pt x="3828" y="34853"/>
                              <a:pt x="4067" y="35152"/>
                              <a:pt x="4366" y="35451"/>
                            </a:cubicBezTo>
                            <a:cubicBezTo>
                              <a:pt x="4665" y="35750"/>
                              <a:pt x="4904" y="36049"/>
                              <a:pt x="5203" y="36348"/>
                            </a:cubicBezTo>
                            <a:cubicBezTo>
                              <a:pt x="5503" y="36647"/>
                              <a:pt x="5801" y="36886"/>
                              <a:pt x="6100" y="37185"/>
                            </a:cubicBezTo>
                            <a:cubicBezTo>
                              <a:pt x="6280" y="37544"/>
                              <a:pt x="6579" y="37843"/>
                              <a:pt x="6938" y="38082"/>
                            </a:cubicBezTo>
                          </a:path>
                        </a:pathLst>
                      </a:custGeom>
                      <a:noFill/>
                      <a:ln w="6350" cap="flat">
                        <a:solidFill>
                          <a:schemeClr val="bg1">
                            <a:alpha val="40000"/>
                          </a:schemeClr>
                        </a:solidFill>
                        <a:prstDash val="solid"/>
                        <a:miter/>
                      </a:ln>
                    </p:spPr>
                    <p:txBody>
                      <a:bodyPr rtlCol="0" anchor="ctr"/>
                      <a:lstStyle/>
                      <a:p>
                        <a:endParaRPr lang="en-GB"/>
                      </a:p>
                    </p:txBody>
                  </p:sp>
                  <p:sp>
                    <p:nvSpPr>
                      <p:cNvPr id="7505" name="Vrije vorm: vorm 7504">
                        <a:extLst>
                          <a:ext uri="{FF2B5EF4-FFF2-40B4-BE49-F238E27FC236}">
                            <a16:creationId xmlns:a16="http://schemas.microsoft.com/office/drawing/2014/main" id="{D589E852-BD5F-4395-AA8A-C9FC3F1E94E5}"/>
                          </a:ext>
                        </a:extLst>
                      </p:cNvPr>
                      <p:cNvSpPr/>
                      <p:nvPr/>
                    </p:nvSpPr>
                    <p:spPr>
                      <a:xfrm>
                        <a:off x="4989016" y="5089310"/>
                        <a:ext cx="19715" cy="20191"/>
                      </a:xfrm>
                      <a:custGeom>
                        <a:avLst/>
                        <a:gdLst>
                          <a:gd name="connsiteX0" fmla="*/ 15672 w 19715"/>
                          <a:gd name="connsiteY0" fmla="*/ 2776 h 20191"/>
                          <a:gd name="connsiteX1" fmla="*/ 17108 w 19715"/>
                          <a:gd name="connsiteY1" fmla="*/ 4271 h 20191"/>
                          <a:gd name="connsiteX2" fmla="*/ 18064 w 19715"/>
                          <a:gd name="connsiteY2" fmla="*/ 6125 h 20191"/>
                          <a:gd name="connsiteX3" fmla="*/ 18543 w 19715"/>
                          <a:gd name="connsiteY3" fmla="*/ 8278 h 20191"/>
                          <a:gd name="connsiteX4" fmla="*/ 18423 w 19715"/>
                          <a:gd name="connsiteY4" fmla="*/ 10611 h 20191"/>
                          <a:gd name="connsiteX5" fmla="*/ 17108 w 19715"/>
                          <a:gd name="connsiteY5" fmla="*/ 14020 h 20191"/>
                          <a:gd name="connsiteX6" fmla="*/ 14715 w 19715"/>
                          <a:gd name="connsiteY6" fmla="*/ 16711 h 20191"/>
                          <a:gd name="connsiteX7" fmla="*/ 11665 w 19715"/>
                          <a:gd name="connsiteY7" fmla="*/ 18446 h 20191"/>
                          <a:gd name="connsiteX8" fmla="*/ 8196 w 19715"/>
                          <a:gd name="connsiteY8" fmla="*/ 18924 h 20191"/>
                          <a:gd name="connsiteX9" fmla="*/ 7060 w 19715"/>
                          <a:gd name="connsiteY9" fmla="*/ 18804 h 20191"/>
                          <a:gd name="connsiteX10" fmla="*/ 5983 w 19715"/>
                          <a:gd name="connsiteY10" fmla="*/ 18505 h 20191"/>
                          <a:gd name="connsiteX11" fmla="*/ 4967 w 19715"/>
                          <a:gd name="connsiteY11" fmla="*/ 18027 h 20191"/>
                          <a:gd name="connsiteX12" fmla="*/ 4069 w 19715"/>
                          <a:gd name="connsiteY12" fmla="*/ 17429 h 20191"/>
                          <a:gd name="connsiteX13" fmla="*/ 2634 w 19715"/>
                          <a:gd name="connsiteY13" fmla="*/ 15933 h 20191"/>
                          <a:gd name="connsiteX14" fmla="*/ 1617 w 19715"/>
                          <a:gd name="connsiteY14" fmla="*/ 14079 h 20191"/>
                          <a:gd name="connsiteX15" fmla="*/ 1139 w 19715"/>
                          <a:gd name="connsiteY15" fmla="*/ 11926 h 20191"/>
                          <a:gd name="connsiteX16" fmla="*/ 1259 w 19715"/>
                          <a:gd name="connsiteY16" fmla="*/ 9534 h 20191"/>
                          <a:gd name="connsiteX17" fmla="*/ 1737 w 19715"/>
                          <a:gd name="connsiteY17" fmla="*/ 7800 h 20191"/>
                          <a:gd name="connsiteX18" fmla="*/ 2515 w 19715"/>
                          <a:gd name="connsiteY18" fmla="*/ 6185 h 20191"/>
                          <a:gd name="connsiteX19" fmla="*/ 3591 w 19715"/>
                          <a:gd name="connsiteY19" fmla="*/ 4690 h 20191"/>
                          <a:gd name="connsiteX20" fmla="*/ 4907 w 19715"/>
                          <a:gd name="connsiteY20" fmla="*/ 3374 h 20191"/>
                          <a:gd name="connsiteX21" fmla="*/ 6402 w 19715"/>
                          <a:gd name="connsiteY21" fmla="*/ 2357 h 20191"/>
                          <a:gd name="connsiteX22" fmla="*/ 8017 w 19715"/>
                          <a:gd name="connsiteY22" fmla="*/ 1640 h 20191"/>
                          <a:gd name="connsiteX23" fmla="*/ 9691 w 19715"/>
                          <a:gd name="connsiteY23" fmla="*/ 1221 h 20191"/>
                          <a:gd name="connsiteX24" fmla="*/ 11366 w 19715"/>
                          <a:gd name="connsiteY24" fmla="*/ 1161 h 20191"/>
                          <a:gd name="connsiteX25" fmla="*/ 12502 w 19715"/>
                          <a:gd name="connsiteY25" fmla="*/ 1341 h 20191"/>
                          <a:gd name="connsiteX26" fmla="*/ 13579 w 19715"/>
                          <a:gd name="connsiteY26" fmla="*/ 1640 h 20191"/>
                          <a:gd name="connsiteX27" fmla="*/ 14595 w 19715"/>
                          <a:gd name="connsiteY27" fmla="*/ 2118 h 20191"/>
                          <a:gd name="connsiteX28" fmla="*/ 15672 w 19715"/>
                          <a:gd name="connsiteY28" fmla="*/ 2776 h 20191"/>
                          <a:gd name="connsiteX29" fmla="*/ 3352 w 19715"/>
                          <a:gd name="connsiteY29" fmla="*/ 18446 h 20191"/>
                          <a:gd name="connsiteX30" fmla="*/ 4369 w 19715"/>
                          <a:gd name="connsiteY30" fmla="*/ 19103 h 20191"/>
                          <a:gd name="connsiteX31" fmla="*/ 5505 w 19715"/>
                          <a:gd name="connsiteY31" fmla="*/ 19642 h 20191"/>
                          <a:gd name="connsiteX32" fmla="*/ 6701 w 19715"/>
                          <a:gd name="connsiteY32" fmla="*/ 20001 h 20191"/>
                          <a:gd name="connsiteX33" fmla="*/ 8017 w 19715"/>
                          <a:gd name="connsiteY33" fmla="*/ 20180 h 20191"/>
                          <a:gd name="connsiteX34" fmla="*/ 11904 w 19715"/>
                          <a:gd name="connsiteY34" fmla="*/ 19642 h 20191"/>
                          <a:gd name="connsiteX35" fmla="*/ 15373 w 19715"/>
                          <a:gd name="connsiteY35" fmla="*/ 17668 h 20191"/>
                          <a:gd name="connsiteX36" fmla="*/ 18064 w 19715"/>
                          <a:gd name="connsiteY36" fmla="*/ 14618 h 20191"/>
                          <a:gd name="connsiteX37" fmla="*/ 19560 w 19715"/>
                          <a:gd name="connsiteY37" fmla="*/ 10790 h 20191"/>
                          <a:gd name="connsiteX38" fmla="*/ 19679 w 19715"/>
                          <a:gd name="connsiteY38" fmla="*/ 8099 h 20191"/>
                          <a:gd name="connsiteX39" fmla="*/ 19141 w 19715"/>
                          <a:gd name="connsiteY39" fmla="*/ 5647 h 20191"/>
                          <a:gd name="connsiteX40" fmla="*/ 18064 w 19715"/>
                          <a:gd name="connsiteY40" fmla="*/ 3494 h 20191"/>
                          <a:gd name="connsiteX41" fmla="*/ 16449 w 19715"/>
                          <a:gd name="connsiteY41" fmla="*/ 1759 h 20191"/>
                          <a:gd name="connsiteX42" fmla="*/ 15433 w 19715"/>
                          <a:gd name="connsiteY42" fmla="*/ 1101 h 20191"/>
                          <a:gd name="connsiteX43" fmla="*/ 14296 w 19715"/>
                          <a:gd name="connsiteY43" fmla="*/ 563 h 20191"/>
                          <a:gd name="connsiteX44" fmla="*/ 13100 w 19715"/>
                          <a:gd name="connsiteY44" fmla="*/ 204 h 20191"/>
                          <a:gd name="connsiteX45" fmla="*/ 11785 w 19715"/>
                          <a:gd name="connsiteY45" fmla="*/ 25 h 20191"/>
                          <a:gd name="connsiteX46" fmla="*/ 9871 w 19715"/>
                          <a:gd name="connsiteY46" fmla="*/ 85 h 20191"/>
                          <a:gd name="connsiteX47" fmla="*/ 7957 w 19715"/>
                          <a:gd name="connsiteY47" fmla="*/ 503 h 20191"/>
                          <a:gd name="connsiteX48" fmla="*/ 6103 w 19715"/>
                          <a:gd name="connsiteY48" fmla="*/ 1341 h 20191"/>
                          <a:gd name="connsiteX49" fmla="*/ 4369 w 19715"/>
                          <a:gd name="connsiteY49" fmla="*/ 2477 h 20191"/>
                          <a:gd name="connsiteX50" fmla="*/ 2873 w 19715"/>
                          <a:gd name="connsiteY50" fmla="*/ 3972 h 20191"/>
                          <a:gd name="connsiteX51" fmla="*/ 1677 w 19715"/>
                          <a:gd name="connsiteY51" fmla="*/ 5647 h 20191"/>
                          <a:gd name="connsiteX52" fmla="*/ 780 w 19715"/>
                          <a:gd name="connsiteY52" fmla="*/ 7501 h 20191"/>
                          <a:gd name="connsiteX53" fmla="*/ 182 w 19715"/>
                          <a:gd name="connsiteY53" fmla="*/ 9474 h 20191"/>
                          <a:gd name="connsiteX54" fmla="*/ 62 w 19715"/>
                          <a:gd name="connsiteY54" fmla="*/ 12166 h 20191"/>
                          <a:gd name="connsiteX55" fmla="*/ 601 w 19715"/>
                          <a:gd name="connsiteY55" fmla="*/ 14618 h 20191"/>
                          <a:gd name="connsiteX56" fmla="*/ 1737 w 19715"/>
                          <a:gd name="connsiteY56" fmla="*/ 16711 h 20191"/>
                          <a:gd name="connsiteX57" fmla="*/ 3352 w 19715"/>
                          <a:gd name="connsiteY57" fmla="*/ 18446 h 20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9715" h="20191">
                            <a:moveTo>
                              <a:pt x="15672" y="2776"/>
                            </a:moveTo>
                            <a:cubicBezTo>
                              <a:pt x="16210" y="3195"/>
                              <a:pt x="16689" y="3733"/>
                              <a:pt x="17108" y="4271"/>
                            </a:cubicBezTo>
                            <a:cubicBezTo>
                              <a:pt x="17526" y="4869"/>
                              <a:pt x="17825" y="5467"/>
                              <a:pt x="18064" y="6125"/>
                            </a:cubicBezTo>
                            <a:cubicBezTo>
                              <a:pt x="18303" y="6783"/>
                              <a:pt x="18483" y="7561"/>
                              <a:pt x="18543" y="8278"/>
                            </a:cubicBezTo>
                            <a:cubicBezTo>
                              <a:pt x="18603" y="8996"/>
                              <a:pt x="18543" y="9833"/>
                              <a:pt x="18423" y="10611"/>
                            </a:cubicBezTo>
                            <a:cubicBezTo>
                              <a:pt x="18184" y="11807"/>
                              <a:pt x="17705" y="13003"/>
                              <a:pt x="17108" y="14020"/>
                            </a:cubicBezTo>
                            <a:cubicBezTo>
                              <a:pt x="16449" y="15036"/>
                              <a:pt x="15672" y="15993"/>
                              <a:pt x="14715" y="16711"/>
                            </a:cubicBezTo>
                            <a:cubicBezTo>
                              <a:pt x="13818" y="17488"/>
                              <a:pt x="12741" y="18027"/>
                              <a:pt x="11665" y="18446"/>
                            </a:cubicBezTo>
                            <a:cubicBezTo>
                              <a:pt x="10588" y="18804"/>
                              <a:pt x="9392" y="18984"/>
                              <a:pt x="8196" y="18924"/>
                            </a:cubicBezTo>
                            <a:cubicBezTo>
                              <a:pt x="7778" y="18924"/>
                              <a:pt x="7418" y="18864"/>
                              <a:pt x="7060" y="18804"/>
                            </a:cubicBezTo>
                            <a:cubicBezTo>
                              <a:pt x="6701" y="18744"/>
                              <a:pt x="6342" y="18625"/>
                              <a:pt x="5983" y="18505"/>
                            </a:cubicBezTo>
                            <a:cubicBezTo>
                              <a:pt x="5624" y="18386"/>
                              <a:pt x="5325" y="18206"/>
                              <a:pt x="4967" y="18027"/>
                            </a:cubicBezTo>
                            <a:cubicBezTo>
                              <a:pt x="4668" y="17847"/>
                              <a:pt x="4369" y="17668"/>
                              <a:pt x="4069" y="17429"/>
                            </a:cubicBezTo>
                            <a:cubicBezTo>
                              <a:pt x="3531" y="17010"/>
                              <a:pt x="2993" y="16472"/>
                              <a:pt x="2634" y="15933"/>
                            </a:cubicBezTo>
                            <a:cubicBezTo>
                              <a:pt x="2215" y="15395"/>
                              <a:pt x="1916" y="14738"/>
                              <a:pt x="1617" y="14079"/>
                            </a:cubicBezTo>
                            <a:cubicBezTo>
                              <a:pt x="1378" y="13422"/>
                              <a:pt x="1199" y="12644"/>
                              <a:pt x="1139" y="11926"/>
                            </a:cubicBezTo>
                            <a:cubicBezTo>
                              <a:pt x="1079" y="11149"/>
                              <a:pt x="1139" y="10371"/>
                              <a:pt x="1259" y="9534"/>
                            </a:cubicBezTo>
                            <a:cubicBezTo>
                              <a:pt x="1378" y="8936"/>
                              <a:pt x="1557" y="8338"/>
                              <a:pt x="1737" y="7800"/>
                            </a:cubicBezTo>
                            <a:cubicBezTo>
                              <a:pt x="1916" y="7262"/>
                              <a:pt x="2215" y="6663"/>
                              <a:pt x="2515" y="6185"/>
                            </a:cubicBezTo>
                            <a:cubicBezTo>
                              <a:pt x="2814" y="5647"/>
                              <a:pt x="3172" y="5168"/>
                              <a:pt x="3591" y="4690"/>
                            </a:cubicBezTo>
                            <a:cubicBezTo>
                              <a:pt x="4010" y="4211"/>
                              <a:pt x="4428" y="3793"/>
                              <a:pt x="4907" y="3374"/>
                            </a:cubicBezTo>
                            <a:cubicBezTo>
                              <a:pt x="5385" y="2955"/>
                              <a:pt x="5923" y="2656"/>
                              <a:pt x="6402" y="2357"/>
                            </a:cubicBezTo>
                            <a:cubicBezTo>
                              <a:pt x="6880" y="2058"/>
                              <a:pt x="7478" y="1819"/>
                              <a:pt x="8017" y="1640"/>
                            </a:cubicBezTo>
                            <a:cubicBezTo>
                              <a:pt x="8555" y="1460"/>
                              <a:pt x="9153" y="1341"/>
                              <a:pt x="9691" y="1221"/>
                            </a:cubicBezTo>
                            <a:cubicBezTo>
                              <a:pt x="10230" y="1101"/>
                              <a:pt x="10828" y="1101"/>
                              <a:pt x="11366" y="1161"/>
                            </a:cubicBezTo>
                            <a:cubicBezTo>
                              <a:pt x="11785" y="1161"/>
                              <a:pt x="12143" y="1221"/>
                              <a:pt x="12502" y="1341"/>
                            </a:cubicBezTo>
                            <a:cubicBezTo>
                              <a:pt x="12861" y="1400"/>
                              <a:pt x="13220" y="1520"/>
                              <a:pt x="13579" y="1640"/>
                            </a:cubicBezTo>
                            <a:cubicBezTo>
                              <a:pt x="13938" y="1759"/>
                              <a:pt x="14237" y="1939"/>
                              <a:pt x="14595" y="2118"/>
                            </a:cubicBezTo>
                            <a:cubicBezTo>
                              <a:pt x="15134" y="2357"/>
                              <a:pt x="15433" y="2537"/>
                              <a:pt x="15672" y="2776"/>
                            </a:cubicBezTo>
                            <a:moveTo>
                              <a:pt x="3352" y="18446"/>
                            </a:moveTo>
                            <a:cubicBezTo>
                              <a:pt x="3651" y="18685"/>
                              <a:pt x="4010" y="18924"/>
                              <a:pt x="4369" y="19103"/>
                            </a:cubicBezTo>
                            <a:cubicBezTo>
                              <a:pt x="4727" y="19283"/>
                              <a:pt x="5086" y="19462"/>
                              <a:pt x="5505" y="19642"/>
                            </a:cubicBezTo>
                            <a:cubicBezTo>
                              <a:pt x="5923" y="19761"/>
                              <a:pt x="6282" y="19881"/>
                              <a:pt x="6701" y="20001"/>
                            </a:cubicBezTo>
                            <a:cubicBezTo>
                              <a:pt x="7120" y="20060"/>
                              <a:pt x="7538" y="20120"/>
                              <a:pt x="8017" y="20180"/>
                            </a:cubicBezTo>
                            <a:cubicBezTo>
                              <a:pt x="9332" y="20240"/>
                              <a:pt x="10648" y="20060"/>
                              <a:pt x="11904" y="19642"/>
                            </a:cubicBezTo>
                            <a:cubicBezTo>
                              <a:pt x="13160" y="19223"/>
                              <a:pt x="14356" y="18565"/>
                              <a:pt x="15373" y="17668"/>
                            </a:cubicBezTo>
                            <a:cubicBezTo>
                              <a:pt x="16390" y="16831"/>
                              <a:pt x="17347" y="15754"/>
                              <a:pt x="18064" y="14618"/>
                            </a:cubicBezTo>
                            <a:cubicBezTo>
                              <a:pt x="18782" y="13422"/>
                              <a:pt x="19320" y="12166"/>
                              <a:pt x="19560" y="10790"/>
                            </a:cubicBezTo>
                            <a:cubicBezTo>
                              <a:pt x="19739" y="9893"/>
                              <a:pt x="19739" y="8996"/>
                              <a:pt x="19679" y="8099"/>
                            </a:cubicBezTo>
                            <a:cubicBezTo>
                              <a:pt x="19619" y="7262"/>
                              <a:pt x="19440" y="6424"/>
                              <a:pt x="19141" y="5647"/>
                            </a:cubicBezTo>
                            <a:cubicBezTo>
                              <a:pt x="18842" y="4869"/>
                              <a:pt x="18483" y="4152"/>
                              <a:pt x="18064" y="3494"/>
                            </a:cubicBezTo>
                            <a:cubicBezTo>
                              <a:pt x="17586" y="2836"/>
                              <a:pt x="17048" y="2298"/>
                              <a:pt x="16449" y="1759"/>
                            </a:cubicBezTo>
                            <a:cubicBezTo>
                              <a:pt x="16150" y="1520"/>
                              <a:pt x="15792" y="1281"/>
                              <a:pt x="15433" y="1101"/>
                            </a:cubicBezTo>
                            <a:cubicBezTo>
                              <a:pt x="15074" y="922"/>
                              <a:pt x="14715" y="742"/>
                              <a:pt x="14296" y="563"/>
                            </a:cubicBezTo>
                            <a:cubicBezTo>
                              <a:pt x="13878" y="384"/>
                              <a:pt x="13519" y="324"/>
                              <a:pt x="13100" y="204"/>
                            </a:cubicBezTo>
                            <a:cubicBezTo>
                              <a:pt x="12682" y="145"/>
                              <a:pt x="12263" y="85"/>
                              <a:pt x="11785" y="25"/>
                            </a:cubicBezTo>
                            <a:cubicBezTo>
                              <a:pt x="11127" y="-35"/>
                              <a:pt x="10469" y="25"/>
                              <a:pt x="9871" y="85"/>
                            </a:cubicBezTo>
                            <a:cubicBezTo>
                              <a:pt x="9213" y="145"/>
                              <a:pt x="8555" y="324"/>
                              <a:pt x="7957" y="503"/>
                            </a:cubicBezTo>
                            <a:cubicBezTo>
                              <a:pt x="7359" y="683"/>
                              <a:pt x="6701" y="982"/>
                              <a:pt x="6103" y="1341"/>
                            </a:cubicBezTo>
                            <a:cubicBezTo>
                              <a:pt x="5505" y="1700"/>
                              <a:pt x="4907" y="2058"/>
                              <a:pt x="4369" y="2477"/>
                            </a:cubicBezTo>
                            <a:cubicBezTo>
                              <a:pt x="3830" y="2955"/>
                              <a:pt x="3292" y="3434"/>
                              <a:pt x="2873" y="3972"/>
                            </a:cubicBezTo>
                            <a:cubicBezTo>
                              <a:pt x="2455" y="4510"/>
                              <a:pt x="2036" y="5049"/>
                              <a:pt x="1677" y="5647"/>
                            </a:cubicBezTo>
                            <a:cubicBezTo>
                              <a:pt x="1318" y="6245"/>
                              <a:pt x="1019" y="6843"/>
                              <a:pt x="780" y="7501"/>
                            </a:cubicBezTo>
                            <a:cubicBezTo>
                              <a:pt x="541" y="8158"/>
                              <a:pt x="361" y="8817"/>
                              <a:pt x="182" y="9474"/>
                            </a:cubicBezTo>
                            <a:cubicBezTo>
                              <a:pt x="2" y="10371"/>
                              <a:pt x="-57" y="11269"/>
                              <a:pt x="62" y="12166"/>
                            </a:cubicBezTo>
                            <a:cubicBezTo>
                              <a:pt x="122" y="13003"/>
                              <a:pt x="302" y="13840"/>
                              <a:pt x="601" y="14618"/>
                            </a:cubicBezTo>
                            <a:cubicBezTo>
                              <a:pt x="900" y="15395"/>
                              <a:pt x="1259" y="16113"/>
                              <a:pt x="1737" y="16711"/>
                            </a:cubicBezTo>
                            <a:cubicBezTo>
                              <a:pt x="2156" y="17429"/>
                              <a:pt x="2694" y="17967"/>
                              <a:pt x="3352" y="18446"/>
                            </a:cubicBezTo>
                          </a:path>
                        </a:pathLst>
                      </a:custGeom>
                      <a:noFill/>
                      <a:ln w="6350" cap="flat">
                        <a:solidFill>
                          <a:schemeClr val="bg1">
                            <a:alpha val="40000"/>
                          </a:schemeClr>
                        </a:solidFill>
                        <a:prstDash val="solid"/>
                        <a:miter/>
                      </a:ln>
                    </p:spPr>
                    <p:txBody>
                      <a:bodyPr rtlCol="0" anchor="ctr"/>
                      <a:lstStyle/>
                      <a:p>
                        <a:endParaRPr lang="en-GB"/>
                      </a:p>
                    </p:txBody>
                  </p:sp>
                  <p:sp>
                    <p:nvSpPr>
                      <p:cNvPr id="7506" name="Vrije vorm: vorm 7505">
                        <a:extLst>
                          <a:ext uri="{FF2B5EF4-FFF2-40B4-BE49-F238E27FC236}">
                            <a16:creationId xmlns:a16="http://schemas.microsoft.com/office/drawing/2014/main" id="{3F20FFE1-11B8-4E14-A974-01D4D1F78A0E}"/>
                          </a:ext>
                        </a:extLst>
                      </p:cNvPr>
                      <p:cNvSpPr/>
                      <p:nvPr/>
                    </p:nvSpPr>
                    <p:spPr>
                      <a:xfrm>
                        <a:off x="4992487" y="5092849"/>
                        <a:ext cx="12738" cy="13112"/>
                      </a:xfrm>
                      <a:custGeom>
                        <a:avLst/>
                        <a:gdLst>
                          <a:gd name="connsiteX0" fmla="*/ 9928 w 12738"/>
                          <a:gd name="connsiteY0" fmla="*/ 2168 h 13112"/>
                          <a:gd name="connsiteX1" fmla="*/ 10167 w 12738"/>
                          <a:gd name="connsiteY1" fmla="*/ 2347 h 13112"/>
                          <a:gd name="connsiteX2" fmla="*/ 10406 w 12738"/>
                          <a:gd name="connsiteY2" fmla="*/ 2527 h 13112"/>
                          <a:gd name="connsiteX3" fmla="*/ 10586 w 12738"/>
                          <a:gd name="connsiteY3" fmla="*/ 2766 h 13112"/>
                          <a:gd name="connsiteX4" fmla="*/ 10765 w 12738"/>
                          <a:gd name="connsiteY4" fmla="*/ 3005 h 13112"/>
                          <a:gd name="connsiteX5" fmla="*/ 11244 w 12738"/>
                          <a:gd name="connsiteY5" fmla="*/ 3842 h 13112"/>
                          <a:gd name="connsiteX6" fmla="*/ 11543 w 12738"/>
                          <a:gd name="connsiteY6" fmla="*/ 4799 h 13112"/>
                          <a:gd name="connsiteX7" fmla="*/ 11603 w 12738"/>
                          <a:gd name="connsiteY7" fmla="*/ 5816 h 13112"/>
                          <a:gd name="connsiteX8" fmla="*/ 11483 w 12738"/>
                          <a:gd name="connsiteY8" fmla="*/ 6893 h 13112"/>
                          <a:gd name="connsiteX9" fmla="*/ 11184 w 12738"/>
                          <a:gd name="connsiteY9" fmla="*/ 7909 h 13112"/>
                          <a:gd name="connsiteX10" fmla="*/ 10705 w 12738"/>
                          <a:gd name="connsiteY10" fmla="*/ 8866 h 13112"/>
                          <a:gd name="connsiteX11" fmla="*/ 10048 w 12738"/>
                          <a:gd name="connsiteY11" fmla="*/ 9764 h 13112"/>
                          <a:gd name="connsiteX12" fmla="*/ 9270 w 12738"/>
                          <a:gd name="connsiteY12" fmla="*/ 10481 h 13112"/>
                          <a:gd name="connsiteX13" fmla="*/ 8373 w 12738"/>
                          <a:gd name="connsiteY13" fmla="*/ 11079 h 13112"/>
                          <a:gd name="connsiteX14" fmla="*/ 7416 w 12738"/>
                          <a:gd name="connsiteY14" fmla="*/ 11498 h 13112"/>
                          <a:gd name="connsiteX15" fmla="*/ 6399 w 12738"/>
                          <a:gd name="connsiteY15" fmla="*/ 11737 h 13112"/>
                          <a:gd name="connsiteX16" fmla="*/ 5383 w 12738"/>
                          <a:gd name="connsiteY16" fmla="*/ 11797 h 13112"/>
                          <a:gd name="connsiteX17" fmla="*/ 4725 w 12738"/>
                          <a:gd name="connsiteY17" fmla="*/ 11677 h 13112"/>
                          <a:gd name="connsiteX18" fmla="*/ 4067 w 12738"/>
                          <a:gd name="connsiteY18" fmla="*/ 11498 h 13112"/>
                          <a:gd name="connsiteX19" fmla="*/ 3469 w 12738"/>
                          <a:gd name="connsiteY19" fmla="*/ 11259 h 13112"/>
                          <a:gd name="connsiteX20" fmla="*/ 2930 w 12738"/>
                          <a:gd name="connsiteY20" fmla="*/ 10900 h 13112"/>
                          <a:gd name="connsiteX21" fmla="*/ 2691 w 12738"/>
                          <a:gd name="connsiteY21" fmla="*/ 10720 h 13112"/>
                          <a:gd name="connsiteX22" fmla="*/ 2452 w 12738"/>
                          <a:gd name="connsiteY22" fmla="*/ 10481 h 13112"/>
                          <a:gd name="connsiteX23" fmla="*/ 2213 w 12738"/>
                          <a:gd name="connsiteY23" fmla="*/ 10242 h 13112"/>
                          <a:gd name="connsiteX24" fmla="*/ 2034 w 12738"/>
                          <a:gd name="connsiteY24" fmla="*/ 10003 h 13112"/>
                          <a:gd name="connsiteX25" fmla="*/ 1555 w 12738"/>
                          <a:gd name="connsiteY25" fmla="*/ 9165 h 13112"/>
                          <a:gd name="connsiteX26" fmla="*/ 1256 w 12738"/>
                          <a:gd name="connsiteY26" fmla="*/ 8209 h 13112"/>
                          <a:gd name="connsiteX27" fmla="*/ 1136 w 12738"/>
                          <a:gd name="connsiteY27" fmla="*/ 7192 h 13112"/>
                          <a:gd name="connsiteX28" fmla="*/ 1256 w 12738"/>
                          <a:gd name="connsiteY28" fmla="*/ 6115 h 13112"/>
                          <a:gd name="connsiteX29" fmla="*/ 2034 w 12738"/>
                          <a:gd name="connsiteY29" fmla="*/ 4082 h 13112"/>
                          <a:gd name="connsiteX30" fmla="*/ 3469 w 12738"/>
                          <a:gd name="connsiteY30" fmla="*/ 2467 h 13112"/>
                          <a:gd name="connsiteX31" fmla="*/ 5323 w 12738"/>
                          <a:gd name="connsiteY31" fmla="*/ 1450 h 13112"/>
                          <a:gd name="connsiteX32" fmla="*/ 7416 w 12738"/>
                          <a:gd name="connsiteY32" fmla="*/ 1151 h 13112"/>
                          <a:gd name="connsiteX33" fmla="*/ 8134 w 12738"/>
                          <a:gd name="connsiteY33" fmla="*/ 1211 h 13112"/>
                          <a:gd name="connsiteX34" fmla="*/ 8792 w 12738"/>
                          <a:gd name="connsiteY34" fmla="*/ 1390 h 13112"/>
                          <a:gd name="connsiteX35" fmla="*/ 9390 w 12738"/>
                          <a:gd name="connsiteY35" fmla="*/ 1689 h 13112"/>
                          <a:gd name="connsiteX36" fmla="*/ 9928 w 12738"/>
                          <a:gd name="connsiteY36" fmla="*/ 2168 h 13112"/>
                          <a:gd name="connsiteX37" fmla="*/ 2153 w 12738"/>
                          <a:gd name="connsiteY37" fmla="*/ 11976 h 13112"/>
                          <a:gd name="connsiteX38" fmla="*/ 2811 w 12738"/>
                          <a:gd name="connsiteY38" fmla="*/ 12395 h 13112"/>
                          <a:gd name="connsiteX39" fmla="*/ 3529 w 12738"/>
                          <a:gd name="connsiteY39" fmla="*/ 12754 h 13112"/>
                          <a:gd name="connsiteX40" fmla="*/ 4306 w 12738"/>
                          <a:gd name="connsiteY40" fmla="*/ 12993 h 13112"/>
                          <a:gd name="connsiteX41" fmla="*/ 5143 w 12738"/>
                          <a:gd name="connsiteY41" fmla="*/ 13113 h 13112"/>
                          <a:gd name="connsiteX42" fmla="*/ 6399 w 12738"/>
                          <a:gd name="connsiteY42" fmla="*/ 13053 h 13112"/>
                          <a:gd name="connsiteX43" fmla="*/ 7656 w 12738"/>
                          <a:gd name="connsiteY43" fmla="*/ 12754 h 13112"/>
                          <a:gd name="connsiteX44" fmla="*/ 8851 w 12738"/>
                          <a:gd name="connsiteY44" fmla="*/ 12216 h 13112"/>
                          <a:gd name="connsiteX45" fmla="*/ 9928 w 12738"/>
                          <a:gd name="connsiteY45" fmla="*/ 11438 h 13112"/>
                          <a:gd name="connsiteX46" fmla="*/ 10885 w 12738"/>
                          <a:gd name="connsiteY46" fmla="*/ 10481 h 13112"/>
                          <a:gd name="connsiteX47" fmla="*/ 11662 w 12738"/>
                          <a:gd name="connsiteY47" fmla="*/ 9404 h 13112"/>
                          <a:gd name="connsiteX48" fmla="*/ 12260 w 12738"/>
                          <a:gd name="connsiteY48" fmla="*/ 8209 h 13112"/>
                          <a:gd name="connsiteX49" fmla="*/ 12619 w 12738"/>
                          <a:gd name="connsiteY49" fmla="*/ 6952 h 13112"/>
                          <a:gd name="connsiteX50" fmla="*/ 12739 w 12738"/>
                          <a:gd name="connsiteY50" fmla="*/ 5637 h 13112"/>
                          <a:gd name="connsiteX51" fmla="*/ 12619 w 12738"/>
                          <a:gd name="connsiteY51" fmla="*/ 4381 h 13112"/>
                          <a:gd name="connsiteX52" fmla="*/ 12260 w 12738"/>
                          <a:gd name="connsiteY52" fmla="*/ 3244 h 13112"/>
                          <a:gd name="connsiteX53" fmla="*/ 11662 w 12738"/>
                          <a:gd name="connsiteY53" fmla="*/ 2168 h 13112"/>
                          <a:gd name="connsiteX54" fmla="*/ 11423 w 12738"/>
                          <a:gd name="connsiteY54" fmla="*/ 1869 h 13112"/>
                          <a:gd name="connsiteX55" fmla="*/ 11184 w 12738"/>
                          <a:gd name="connsiteY55" fmla="*/ 1630 h 13112"/>
                          <a:gd name="connsiteX56" fmla="*/ 10885 w 12738"/>
                          <a:gd name="connsiteY56" fmla="*/ 1390 h 13112"/>
                          <a:gd name="connsiteX57" fmla="*/ 10586 w 12738"/>
                          <a:gd name="connsiteY57" fmla="*/ 1151 h 13112"/>
                          <a:gd name="connsiteX58" fmla="*/ 9928 w 12738"/>
                          <a:gd name="connsiteY58" fmla="*/ 733 h 13112"/>
                          <a:gd name="connsiteX59" fmla="*/ 9210 w 12738"/>
                          <a:gd name="connsiteY59" fmla="*/ 374 h 13112"/>
                          <a:gd name="connsiteX60" fmla="*/ 8433 w 12738"/>
                          <a:gd name="connsiteY60" fmla="*/ 134 h 13112"/>
                          <a:gd name="connsiteX61" fmla="*/ 7596 w 12738"/>
                          <a:gd name="connsiteY61" fmla="*/ 15 h 13112"/>
                          <a:gd name="connsiteX62" fmla="*/ 5083 w 12738"/>
                          <a:gd name="connsiteY62" fmla="*/ 374 h 13112"/>
                          <a:gd name="connsiteX63" fmla="*/ 2811 w 12738"/>
                          <a:gd name="connsiteY63" fmla="*/ 1630 h 13112"/>
                          <a:gd name="connsiteX64" fmla="*/ 1076 w 12738"/>
                          <a:gd name="connsiteY64" fmla="*/ 3603 h 13112"/>
                          <a:gd name="connsiteX65" fmla="*/ 120 w 12738"/>
                          <a:gd name="connsiteY65" fmla="*/ 6115 h 13112"/>
                          <a:gd name="connsiteX66" fmla="*/ 0 w 12738"/>
                          <a:gd name="connsiteY66" fmla="*/ 7371 h 13112"/>
                          <a:gd name="connsiteX67" fmla="*/ 120 w 12738"/>
                          <a:gd name="connsiteY67" fmla="*/ 8627 h 13112"/>
                          <a:gd name="connsiteX68" fmla="*/ 479 w 12738"/>
                          <a:gd name="connsiteY68" fmla="*/ 9764 h 13112"/>
                          <a:gd name="connsiteX69" fmla="*/ 1076 w 12738"/>
                          <a:gd name="connsiteY69" fmla="*/ 10840 h 13112"/>
                          <a:gd name="connsiteX70" fmla="*/ 1316 w 12738"/>
                          <a:gd name="connsiteY70" fmla="*/ 11139 h 13112"/>
                          <a:gd name="connsiteX71" fmla="*/ 1555 w 12738"/>
                          <a:gd name="connsiteY71" fmla="*/ 11438 h 13112"/>
                          <a:gd name="connsiteX72" fmla="*/ 1854 w 12738"/>
                          <a:gd name="connsiteY72" fmla="*/ 11677 h 13112"/>
                          <a:gd name="connsiteX73" fmla="*/ 2153 w 12738"/>
                          <a:gd name="connsiteY73" fmla="*/ 11976 h 13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738" h="13112">
                            <a:moveTo>
                              <a:pt x="9928" y="2168"/>
                            </a:moveTo>
                            <a:cubicBezTo>
                              <a:pt x="9988" y="2228"/>
                              <a:pt x="10107" y="2288"/>
                              <a:pt x="10167" y="2347"/>
                            </a:cubicBezTo>
                            <a:cubicBezTo>
                              <a:pt x="10227" y="2407"/>
                              <a:pt x="10287" y="2467"/>
                              <a:pt x="10406" y="2527"/>
                            </a:cubicBezTo>
                            <a:cubicBezTo>
                              <a:pt x="10466" y="2587"/>
                              <a:pt x="10526" y="2647"/>
                              <a:pt x="10586" y="2766"/>
                            </a:cubicBezTo>
                            <a:cubicBezTo>
                              <a:pt x="10646" y="2826"/>
                              <a:pt x="10705" y="2945"/>
                              <a:pt x="10765" y="3005"/>
                            </a:cubicBezTo>
                            <a:cubicBezTo>
                              <a:pt x="10945" y="3244"/>
                              <a:pt x="11124" y="3543"/>
                              <a:pt x="11244" y="3842"/>
                            </a:cubicBezTo>
                            <a:cubicBezTo>
                              <a:pt x="11364" y="4142"/>
                              <a:pt x="11483" y="4441"/>
                              <a:pt x="11543" y="4799"/>
                            </a:cubicBezTo>
                            <a:cubicBezTo>
                              <a:pt x="11603" y="5098"/>
                              <a:pt x="11662" y="5457"/>
                              <a:pt x="11603" y="5816"/>
                            </a:cubicBezTo>
                            <a:cubicBezTo>
                              <a:pt x="11603" y="6175"/>
                              <a:pt x="11543" y="6534"/>
                              <a:pt x="11483" y="6893"/>
                            </a:cubicBezTo>
                            <a:cubicBezTo>
                              <a:pt x="11423" y="7251"/>
                              <a:pt x="11304" y="7610"/>
                              <a:pt x="11184" y="7909"/>
                            </a:cubicBezTo>
                            <a:cubicBezTo>
                              <a:pt x="11064" y="8268"/>
                              <a:pt x="10885" y="8567"/>
                              <a:pt x="10705" y="8866"/>
                            </a:cubicBezTo>
                            <a:cubicBezTo>
                              <a:pt x="10526" y="9165"/>
                              <a:pt x="10287" y="9464"/>
                              <a:pt x="10048" y="9764"/>
                            </a:cubicBezTo>
                            <a:cubicBezTo>
                              <a:pt x="9808" y="10063"/>
                              <a:pt x="9569" y="10302"/>
                              <a:pt x="9270" y="10481"/>
                            </a:cubicBezTo>
                            <a:cubicBezTo>
                              <a:pt x="8971" y="10720"/>
                              <a:pt x="8672" y="10900"/>
                              <a:pt x="8373" y="11079"/>
                            </a:cubicBezTo>
                            <a:cubicBezTo>
                              <a:pt x="8074" y="11259"/>
                              <a:pt x="7715" y="11378"/>
                              <a:pt x="7416" y="11498"/>
                            </a:cubicBezTo>
                            <a:cubicBezTo>
                              <a:pt x="7117" y="11618"/>
                              <a:pt x="6758" y="11677"/>
                              <a:pt x="6399" y="11737"/>
                            </a:cubicBezTo>
                            <a:cubicBezTo>
                              <a:pt x="6041" y="11797"/>
                              <a:pt x="5742" y="11797"/>
                              <a:pt x="5383" y="11797"/>
                            </a:cubicBezTo>
                            <a:cubicBezTo>
                              <a:pt x="5143" y="11797"/>
                              <a:pt x="4904" y="11737"/>
                              <a:pt x="4725" y="11677"/>
                            </a:cubicBezTo>
                            <a:cubicBezTo>
                              <a:pt x="4545" y="11618"/>
                              <a:pt x="4306" y="11558"/>
                              <a:pt x="4067" y="11498"/>
                            </a:cubicBezTo>
                            <a:cubicBezTo>
                              <a:pt x="3888" y="11438"/>
                              <a:pt x="3648" y="11318"/>
                              <a:pt x="3469" y="11259"/>
                            </a:cubicBezTo>
                            <a:cubicBezTo>
                              <a:pt x="3289" y="11139"/>
                              <a:pt x="3110" y="11019"/>
                              <a:pt x="2930" y="10900"/>
                            </a:cubicBezTo>
                            <a:cubicBezTo>
                              <a:pt x="2871" y="10840"/>
                              <a:pt x="2751" y="10780"/>
                              <a:pt x="2691" y="10720"/>
                            </a:cubicBezTo>
                            <a:cubicBezTo>
                              <a:pt x="2632" y="10660"/>
                              <a:pt x="2512" y="10601"/>
                              <a:pt x="2452" y="10481"/>
                            </a:cubicBezTo>
                            <a:cubicBezTo>
                              <a:pt x="2392" y="10421"/>
                              <a:pt x="2333" y="10302"/>
                              <a:pt x="2213" y="10242"/>
                            </a:cubicBezTo>
                            <a:cubicBezTo>
                              <a:pt x="2153" y="10182"/>
                              <a:pt x="2093" y="10063"/>
                              <a:pt x="2034" y="10003"/>
                            </a:cubicBezTo>
                            <a:cubicBezTo>
                              <a:pt x="1854" y="9764"/>
                              <a:pt x="1675" y="9464"/>
                              <a:pt x="1555" y="9165"/>
                            </a:cubicBezTo>
                            <a:cubicBezTo>
                              <a:pt x="1435" y="8866"/>
                              <a:pt x="1316" y="8567"/>
                              <a:pt x="1256" y="8209"/>
                            </a:cubicBezTo>
                            <a:cubicBezTo>
                              <a:pt x="1196" y="7909"/>
                              <a:pt x="1136" y="7550"/>
                              <a:pt x="1136" y="7192"/>
                            </a:cubicBezTo>
                            <a:cubicBezTo>
                              <a:pt x="1136" y="6833"/>
                              <a:pt x="1136" y="6474"/>
                              <a:pt x="1256" y="6115"/>
                            </a:cubicBezTo>
                            <a:cubicBezTo>
                              <a:pt x="1375" y="5397"/>
                              <a:pt x="1675" y="4680"/>
                              <a:pt x="2034" y="4082"/>
                            </a:cubicBezTo>
                            <a:cubicBezTo>
                              <a:pt x="2392" y="3484"/>
                              <a:pt x="2930" y="2886"/>
                              <a:pt x="3469" y="2467"/>
                            </a:cubicBezTo>
                            <a:cubicBezTo>
                              <a:pt x="4007" y="1988"/>
                              <a:pt x="4665" y="1630"/>
                              <a:pt x="5323" y="1450"/>
                            </a:cubicBezTo>
                            <a:cubicBezTo>
                              <a:pt x="5981" y="1211"/>
                              <a:pt x="6698" y="1091"/>
                              <a:pt x="7416" y="1151"/>
                            </a:cubicBezTo>
                            <a:cubicBezTo>
                              <a:pt x="7656" y="1151"/>
                              <a:pt x="7895" y="1211"/>
                              <a:pt x="8134" y="1211"/>
                            </a:cubicBezTo>
                            <a:cubicBezTo>
                              <a:pt x="8373" y="1271"/>
                              <a:pt x="8552" y="1331"/>
                              <a:pt x="8792" y="1390"/>
                            </a:cubicBezTo>
                            <a:cubicBezTo>
                              <a:pt x="9031" y="1450"/>
                              <a:pt x="9210" y="1570"/>
                              <a:pt x="9390" y="1689"/>
                            </a:cubicBezTo>
                            <a:cubicBezTo>
                              <a:pt x="9569" y="1809"/>
                              <a:pt x="9749" y="2048"/>
                              <a:pt x="9928" y="2168"/>
                            </a:cubicBezTo>
                            <a:moveTo>
                              <a:pt x="2153" y="11976"/>
                            </a:moveTo>
                            <a:cubicBezTo>
                              <a:pt x="2392" y="12156"/>
                              <a:pt x="2572" y="12275"/>
                              <a:pt x="2811" y="12395"/>
                            </a:cubicBezTo>
                            <a:cubicBezTo>
                              <a:pt x="3050" y="12514"/>
                              <a:pt x="3289" y="12634"/>
                              <a:pt x="3529" y="12754"/>
                            </a:cubicBezTo>
                            <a:cubicBezTo>
                              <a:pt x="3768" y="12873"/>
                              <a:pt x="4067" y="12933"/>
                              <a:pt x="4306" y="12993"/>
                            </a:cubicBezTo>
                            <a:cubicBezTo>
                              <a:pt x="4545" y="13053"/>
                              <a:pt x="4844" y="13113"/>
                              <a:pt x="5143" y="13113"/>
                            </a:cubicBezTo>
                            <a:cubicBezTo>
                              <a:pt x="5562" y="13113"/>
                              <a:pt x="5981" y="13113"/>
                              <a:pt x="6399" y="13053"/>
                            </a:cubicBezTo>
                            <a:cubicBezTo>
                              <a:pt x="6818" y="12993"/>
                              <a:pt x="7237" y="12873"/>
                              <a:pt x="7656" y="12754"/>
                            </a:cubicBezTo>
                            <a:cubicBezTo>
                              <a:pt x="8074" y="12634"/>
                              <a:pt x="8433" y="12455"/>
                              <a:pt x="8851" y="12216"/>
                            </a:cubicBezTo>
                            <a:cubicBezTo>
                              <a:pt x="9210" y="11976"/>
                              <a:pt x="9569" y="11737"/>
                              <a:pt x="9928" y="11438"/>
                            </a:cubicBezTo>
                            <a:cubicBezTo>
                              <a:pt x="10287" y="11139"/>
                              <a:pt x="10586" y="10840"/>
                              <a:pt x="10885" y="10481"/>
                            </a:cubicBezTo>
                            <a:cubicBezTo>
                              <a:pt x="11184" y="10122"/>
                              <a:pt x="11423" y="9764"/>
                              <a:pt x="11662" y="9404"/>
                            </a:cubicBezTo>
                            <a:cubicBezTo>
                              <a:pt x="11902" y="9046"/>
                              <a:pt x="12081" y="8627"/>
                              <a:pt x="12260" y="8209"/>
                            </a:cubicBezTo>
                            <a:cubicBezTo>
                              <a:pt x="12440" y="7790"/>
                              <a:pt x="12559" y="7371"/>
                              <a:pt x="12619" y="6952"/>
                            </a:cubicBezTo>
                            <a:cubicBezTo>
                              <a:pt x="12739" y="6534"/>
                              <a:pt x="12739" y="6055"/>
                              <a:pt x="12739" y="5637"/>
                            </a:cubicBezTo>
                            <a:cubicBezTo>
                              <a:pt x="12739" y="5218"/>
                              <a:pt x="12679" y="4799"/>
                              <a:pt x="12619" y="4381"/>
                            </a:cubicBezTo>
                            <a:cubicBezTo>
                              <a:pt x="12559" y="3962"/>
                              <a:pt x="12440" y="3603"/>
                              <a:pt x="12260" y="3244"/>
                            </a:cubicBezTo>
                            <a:cubicBezTo>
                              <a:pt x="12081" y="2886"/>
                              <a:pt x="11902" y="2527"/>
                              <a:pt x="11662" y="2168"/>
                            </a:cubicBezTo>
                            <a:cubicBezTo>
                              <a:pt x="11603" y="2048"/>
                              <a:pt x="11483" y="1988"/>
                              <a:pt x="11423" y="1869"/>
                            </a:cubicBezTo>
                            <a:cubicBezTo>
                              <a:pt x="11364" y="1749"/>
                              <a:pt x="11244" y="1689"/>
                              <a:pt x="11184" y="1630"/>
                            </a:cubicBezTo>
                            <a:cubicBezTo>
                              <a:pt x="11124" y="1570"/>
                              <a:pt x="11005" y="1450"/>
                              <a:pt x="10885" y="1390"/>
                            </a:cubicBezTo>
                            <a:cubicBezTo>
                              <a:pt x="10765" y="1331"/>
                              <a:pt x="10705" y="1211"/>
                              <a:pt x="10586" y="1151"/>
                            </a:cubicBezTo>
                            <a:cubicBezTo>
                              <a:pt x="10406" y="972"/>
                              <a:pt x="10167" y="852"/>
                              <a:pt x="9928" y="733"/>
                            </a:cubicBezTo>
                            <a:cubicBezTo>
                              <a:pt x="9689" y="613"/>
                              <a:pt x="9450" y="493"/>
                              <a:pt x="9210" y="374"/>
                            </a:cubicBezTo>
                            <a:cubicBezTo>
                              <a:pt x="8971" y="254"/>
                              <a:pt x="8672" y="194"/>
                              <a:pt x="8433" y="134"/>
                            </a:cubicBezTo>
                            <a:cubicBezTo>
                              <a:pt x="8134" y="74"/>
                              <a:pt x="7895" y="15"/>
                              <a:pt x="7596" y="15"/>
                            </a:cubicBezTo>
                            <a:cubicBezTo>
                              <a:pt x="6758" y="-45"/>
                              <a:pt x="5861" y="74"/>
                              <a:pt x="5083" y="374"/>
                            </a:cubicBezTo>
                            <a:cubicBezTo>
                              <a:pt x="4246" y="673"/>
                              <a:pt x="3529" y="1091"/>
                              <a:pt x="2811" y="1630"/>
                            </a:cubicBezTo>
                            <a:cubicBezTo>
                              <a:pt x="2153" y="2168"/>
                              <a:pt x="1555" y="2886"/>
                              <a:pt x="1076" y="3603"/>
                            </a:cubicBezTo>
                            <a:cubicBezTo>
                              <a:pt x="598" y="4381"/>
                              <a:pt x="299" y="5218"/>
                              <a:pt x="120" y="6115"/>
                            </a:cubicBezTo>
                            <a:cubicBezTo>
                              <a:pt x="60" y="6534"/>
                              <a:pt x="0" y="6952"/>
                              <a:pt x="0" y="7371"/>
                            </a:cubicBezTo>
                            <a:cubicBezTo>
                              <a:pt x="0" y="7790"/>
                              <a:pt x="60" y="8209"/>
                              <a:pt x="120" y="8627"/>
                            </a:cubicBezTo>
                            <a:cubicBezTo>
                              <a:pt x="180" y="9046"/>
                              <a:pt x="359" y="9404"/>
                              <a:pt x="479" y="9764"/>
                            </a:cubicBezTo>
                            <a:cubicBezTo>
                              <a:pt x="658" y="10122"/>
                              <a:pt x="837" y="10481"/>
                              <a:pt x="1076" y="10840"/>
                            </a:cubicBezTo>
                            <a:cubicBezTo>
                              <a:pt x="1136" y="10959"/>
                              <a:pt x="1256" y="11019"/>
                              <a:pt x="1316" y="11139"/>
                            </a:cubicBezTo>
                            <a:cubicBezTo>
                              <a:pt x="1375" y="11259"/>
                              <a:pt x="1495" y="11318"/>
                              <a:pt x="1555" y="11438"/>
                            </a:cubicBezTo>
                            <a:cubicBezTo>
                              <a:pt x="1615" y="11498"/>
                              <a:pt x="1734" y="11618"/>
                              <a:pt x="1854" y="11677"/>
                            </a:cubicBezTo>
                            <a:cubicBezTo>
                              <a:pt x="1974" y="11797"/>
                              <a:pt x="2093" y="11917"/>
                              <a:pt x="2153" y="11976"/>
                            </a:cubicBezTo>
                          </a:path>
                        </a:pathLst>
                      </a:custGeom>
                      <a:noFill/>
                      <a:ln w="6350" cap="flat">
                        <a:solidFill>
                          <a:schemeClr val="bg1">
                            <a:alpha val="40000"/>
                          </a:schemeClr>
                        </a:solidFill>
                        <a:prstDash val="solid"/>
                        <a:miter/>
                      </a:ln>
                    </p:spPr>
                    <p:txBody>
                      <a:bodyPr rtlCol="0" anchor="ctr"/>
                      <a:lstStyle/>
                      <a:p>
                        <a:endParaRPr lang="en-GB"/>
                      </a:p>
                    </p:txBody>
                  </p:sp>
                  <p:sp>
                    <p:nvSpPr>
                      <p:cNvPr id="7507" name="Vrije vorm: vorm 7506">
                        <a:extLst>
                          <a:ext uri="{FF2B5EF4-FFF2-40B4-BE49-F238E27FC236}">
                            <a16:creationId xmlns:a16="http://schemas.microsoft.com/office/drawing/2014/main" id="{280C7E4C-6319-4410-B125-059918C2FAEA}"/>
                          </a:ext>
                        </a:extLst>
                      </p:cNvPr>
                      <p:cNvSpPr/>
                      <p:nvPr/>
                    </p:nvSpPr>
                    <p:spPr>
                      <a:xfrm>
                        <a:off x="4981183" y="5094897"/>
                        <a:ext cx="6937" cy="7176"/>
                      </a:xfrm>
                      <a:custGeom>
                        <a:avLst/>
                        <a:gdLst>
                          <a:gd name="connsiteX0" fmla="*/ 4904 w 6937"/>
                          <a:gd name="connsiteY0" fmla="*/ 1615 h 7176"/>
                          <a:gd name="connsiteX1" fmla="*/ 5323 w 6937"/>
                          <a:gd name="connsiteY1" fmla="*/ 2034 h 7176"/>
                          <a:gd name="connsiteX2" fmla="*/ 5622 w 6937"/>
                          <a:gd name="connsiteY2" fmla="*/ 2512 h 7176"/>
                          <a:gd name="connsiteX3" fmla="*/ 5742 w 6937"/>
                          <a:gd name="connsiteY3" fmla="*/ 3110 h 7176"/>
                          <a:gd name="connsiteX4" fmla="*/ 5682 w 6937"/>
                          <a:gd name="connsiteY4" fmla="*/ 3768 h 7176"/>
                          <a:gd name="connsiteX5" fmla="*/ 5562 w 6937"/>
                          <a:gd name="connsiteY5" fmla="*/ 4246 h 7176"/>
                          <a:gd name="connsiteX6" fmla="*/ 5323 w 6937"/>
                          <a:gd name="connsiteY6" fmla="*/ 4665 h 7176"/>
                          <a:gd name="connsiteX7" fmla="*/ 5024 w 6937"/>
                          <a:gd name="connsiteY7" fmla="*/ 5084 h 7176"/>
                          <a:gd name="connsiteX8" fmla="*/ 4665 w 6937"/>
                          <a:gd name="connsiteY8" fmla="*/ 5443 h 7176"/>
                          <a:gd name="connsiteX9" fmla="*/ 4246 w 6937"/>
                          <a:gd name="connsiteY9" fmla="*/ 5742 h 7176"/>
                          <a:gd name="connsiteX10" fmla="*/ 3828 w 6937"/>
                          <a:gd name="connsiteY10" fmla="*/ 5921 h 7176"/>
                          <a:gd name="connsiteX11" fmla="*/ 3349 w 6937"/>
                          <a:gd name="connsiteY11" fmla="*/ 6041 h 7176"/>
                          <a:gd name="connsiteX12" fmla="*/ 2871 w 6937"/>
                          <a:gd name="connsiteY12" fmla="*/ 6041 h 7176"/>
                          <a:gd name="connsiteX13" fmla="*/ 1735 w 6937"/>
                          <a:gd name="connsiteY13" fmla="*/ 5562 h 7176"/>
                          <a:gd name="connsiteX14" fmla="*/ 1316 w 6937"/>
                          <a:gd name="connsiteY14" fmla="*/ 5203 h 7176"/>
                          <a:gd name="connsiteX15" fmla="*/ 1076 w 6937"/>
                          <a:gd name="connsiteY15" fmla="*/ 4785 h 7176"/>
                          <a:gd name="connsiteX16" fmla="*/ 957 w 6937"/>
                          <a:gd name="connsiteY16" fmla="*/ 4366 h 7176"/>
                          <a:gd name="connsiteX17" fmla="*/ 897 w 6937"/>
                          <a:gd name="connsiteY17" fmla="*/ 3888 h 7176"/>
                          <a:gd name="connsiteX18" fmla="*/ 957 w 6937"/>
                          <a:gd name="connsiteY18" fmla="*/ 3409 h 7176"/>
                          <a:gd name="connsiteX19" fmla="*/ 1076 w 6937"/>
                          <a:gd name="connsiteY19" fmla="*/ 2930 h 7176"/>
                          <a:gd name="connsiteX20" fmla="*/ 1316 w 6937"/>
                          <a:gd name="connsiteY20" fmla="*/ 2512 h 7176"/>
                          <a:gd name="connsiteX21" fmla="*/ 1615 w 6937"/>
                          <a:gd name="connsiteY21" fmla="*/ 2093 h 7176"/>
                          <a:gd name="connsiteX22" fmla="*/ 1974 w 6937"/>
                          <a:gd name="connsiteY22" fmla="*/ 1735 h 7176"/>
                          <a:gd name="connsiteX23" fmla="*/ 2392 w 6937"/>
                          <a:gd name="connsiteY23" fmla="*/ 1435 h 7176"/>
                          <a:gd name="connsiteX24" fmla="*/ 2811 w 6937"/>
                          <a:gd name="connsiteY24" fmla="*/ 1256 h 7176"/>
                          <a:gd name="connsiteX25" fmla="*/ 3289 w 6937"/>
                          <a:gd name="connsiteY25" fmla="*/ 1136 h 7176"/>
                          <a:gd name="connsiteX26" fmla="*/ 3768 w 6937"/>
                          <a:gd name="connsiteY26" fmla="*/ 1136 h 7176"/>
                          <a:gd name="connsiteX27" fmla="*/ 4067 w 6937"/>
                          <a:gd name="connsiteY27" fmla="*/ 1196 h 7176"/>
                          <a:gd name="connsiteX28" fmla="*/ 4366 w 6937"/>
                          <a:gd name="connsiteY28" fmla="*/ 1256 h 7176"/>
                          <a:gd name="connsiteX29" fmla="*/ 4665 w 6937"/>
                          <a:gd name="connsiteY29" fmla="*/ 1375 h 7176"/>
                          <a:gd name="connsiteX30" fmla="*/ 4904 w 6937"/>
                          <a:gd name="connsiteY30" fmla="*/ 1615 h 7176"/>
                          <a:gd name="connsiteX31" fmla="*/ 957 w 6937"/>
                          <a:gd name="connsiteY31" fmla="*/ 6579 h 7176"/>
                          <a:gd name="connsiteX32" fmla="*/ 1316 w 6937"/>
                          <a:gd name="connsiteY32" fmla="*/ 6818 h 7176"/>
                          <a:gd name="connsiteX33" fmla="*/ 1735 w 6937"/>
                          <a:gd name="connsiteY33" fmla="*/ 6997 h 7176"/>
                          <a:gd name="connsiteX34" fmla="*/ 2153 w 6937"/>
                          <a:gd name="connsiteY34" fmla="*/ 7117 h 7176"/>
                          <a:gd name="connsiteX35" fmla="*/ 2632 w 6937"/>
                          <a:gd name="connsiteY35" fmla="*/ 7177 h 7176"/>
                          <a:gd name="connsiteX36" fmla="*/ 3349 w 6937"/>
                          <a:gd name="connsiteY36" fmla="*/ 7117 h 7176"/>
                          <a:gd name="connsiteX37" fmla="*/ 4007 w 6937"/>
                          <a:gd name="connsiteY37" fmla="*/ 6938 h 7176"/>
                          <a:gd name="connsiteX38" fmla="*/ 4665 w 6937"/>
                          <a:gd name="connsiteY38" fmla="*/ 6639 h 7176"/>
                          <a:gd name="connsiteX39" fmla="*/ 5263 w 6937"/>
                          <a:gd name="connsiteY39" fmla="*/ 6280 h 7176"/>
                          <a:gd name="connsiteX40" fmla="*/ 5801 w 6937"/>
                          <a:gd name="connsiteY40" fmla="*/ 5801 h 7176"/>
                          <a:gd name="connsiteX41" fmla="*/ 6280 w 6937"/>
                          <a:gd name="connsiteY41" fmla="*/ 5203 h 7176"/>
                          <a:gd name="connsiteX42" fmla="*/ 6639 w 6937"/>
                          <a:gd name="connsiteY42" fmla="*/ 4545 h 7176"/>
                          <a:gd name="connsiteX43" fmla="*/ 6878 w 6937"/>
                          <a:gd name="connsiteY43" fmla="*/ 3828 h 7176"/>
                          <a:gd name="connsiteX44" fmla="*/ 6938 w 6937"/>
                          <a:gd name="connsiteY44" fmla="*/ 3050 h 7176"/>
                          <a:gd name="connsiteX45" fmla="*/ 6878 w 6937"/>
                          <a:gd name="connsiteY45" fmla="*/ 2333 h 7176"/>
                          <a:gd name="connsiteX46" fmla="*/ 6639 w 6937"/>
                          <a:gd name="connsiteY46" fmla="*/ 1675 h 7176"/>
                          <a:gd name="connsiteX47" fmla="*/ 6280 w 6937"/>
                          <a:gd name="connsiteY47" fmla="*/ 1076 h 7176"/>
                          <a:gd name="connsiteX48" fmla="*/ 6280 w 6937"/>
                          <a:gd name="connsiteY48" fmla="*/ 1076 h 7176"/>
                          <a:gd name="connsiteX49" fmla="*/ 6280 w 6937"/>
                          <a:gd name="connsiteY49" fmla="*/ 1076 h 7176"/>
                          <a:gd name="connsiteX50" fmla="*/ 6280 w 6937"/>
                          <a:gd name="connsiteY50" fmla="*/ 1076 h 7176"/>
                          <a:gd name="connsiteX51" fmla="*/ 6280 w 6937"/>
                          <a:gd name="connsiteY51" fmla="*/ 1076 h 7176"/>
                          <a:gd name="connsiteX52" fmla="*/ 6160 w 6937"/>
                          <a:gd name="connsiteY52" fmla="*/ 957 h 7176"/>
                          <a:gd name="connsiteX53" fmla="*/ 6041 w 6937"/>
                          <a:gd name="connsiteY53" fmla="*/ 837 h 7176"/>
                          <a:gd name="connsiteX54" fmla="*/ 5921 w 6937"/>
                          <a:gd name="connsiteY54" fmla="*/ 718 h 7176"/>
                          <a:gd name="connsiteX55" fmla="*/ 5801 w 6937"/>
                          <a:gd name="connsiteY55" fmla="*/ 598 h 7176"/>
                          <a:gd name="connsiteX56" fmla="*/ 5443 w 6937"/>
                          <a:gd name="connsiteY56" fmla="*/ 359 h 7176"/>
                          <a:gd name="connsiteX57" fmla="*/ 5024 w 6937"/>
                          <a:gd name="connsiteY57" fmla="*/ 180 h 7176"/>
                          <a:gd name="connsiteX58" fmla="*/ 4605 w 6937"/>
                          <a:gd name="connsiteY58" fmla="*/ 60 h 7176"/>
                          <a:gd name="connsiteX59" fmla="*/ 4127 w 6937"/>
                          <a:gd name="connsiteY59" fmla="*/ 0 h 7176"/>
                          <a:gd name="connsiteX60" fmla="*/ 3409 w 6937"/>
                          <a:gd name="connsiteY60" fmla="*/ 0 h 7176"/>
                          <a:gd name="connsiteX61" fmla="*/ 2751 w 6937"/>
                          <a:gd name="connsiteY61" fmla="*/ 180 h 7176"/>
                          <a:gd name="connsiteX62" fmla="*/ 2093 w 6937"/>
                          <a:gd name="connsiteY62" fmla="*/ 479 h 7176"/>
                          <a:gd name="connsiteX63" fmla="*/ 1495 w 6937"/>
                          <a:gd name="connsiteY63" fmla="*/ 897 h 7176"/>
                          <a:gd name="connsiteX64" fmla="*/ 957 w 6937"/>
                          <a:gd name="connsiteY64" fmla="*/ 1435 h 7176"/>
                          <a:gd name="connsiteX65" fmla="*/ 538 w 6937"/>
                          <a:gd name="connsiteY65" fmla="*/ 2034 h 7176"/>
                          <a:gd name="connsiteX66" fmla="*/ 239 w 6937"/>
                          <a:gd name="connsiteY66" fmla="*/ 2691 h 7176"/>
                          <a:gd name="connsiteX67" fmla="*/ 60 w 6937"/>
                          <a:gd name="connsiteY67" fmla="*/ 3409 h 7176"/>
                          <a:gd name="connsiteX68" fmla="*/ 0 w 6937"/>
                          <a:gd name="connsiteY68" fmla="*/ 4127 h 7176"/>
                          <a:gd name="connsiteX69" fmla="*/ 60 w 6937"/>
                          <a:gd name="connsiteY69" fmla="*/ 4785 h 7176"/>
                          <a:gd name="connsiteX70" fmla="*/ 239 w 6937"/>
                          <a:gd name="connsiteY70" fmla="*/ 5443 h 7176"/>
                          <a:gd name="connsiteX71" fmla="*/ 538 w 6937"/>
                          <a:gd name="connsiteY71" fmla="*/ 6041 h 7176"/>
                          <a:gd name="connsiteX72" fmla="*/ 658 w 6937"/>
                          <a:gd name="connsiteY72" fmla="*/ 6220 h 7176"/>
                          <a:gd name="connsiteX73" fmla="*/ 778 w 6937"/>
                          <a:gd name="connsiteY73" fmla="*/ 6399 h 7176"/>
                          <a:gd name="connsiteX74" fmla="*/ 957 w 6937"/>
                          <a:gd name="connsiteY74" fmla="*/ 6519 h 7176"/>
                          <a:gd name="connsiteX75" fmla="*/ 957 w 6937"/>
                          <a:gd name="connsiteY75" fmla="*/ 6579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6937" h="7176">
                            <a:moveTo>
                              <a:pt x="4904" y="1615"/>
                            </a:moveTo>
                            <a:cubicBezTo>
                              <a:pt x="5084" y="1735"/>
                              <a:pt x="5203" y="1854"/>
                              <a:pt x="5323" y="2034"/>
                            </a:cubicBezTo>
                            <a:cubicBezTo>
                              <a:pt x="5443" y="2213"/>
                              <a:pt x="5503" y="2333"/>
                              <a:pt x="5622" y="2512"/>
                            </a:cubicBezTo>
                            <a:cubicBezTo>
                              <a:pt x="5682" y="2691"/>
                              <a:pt x="5742" y="2871"/>
                              <a:pt x="5742" y="3110"/>
                            </a:cubicBezTo>
                            <a:cubicBezTo>
                              <a:pt x="5742" y="3289"/>
                              <a:pt x="5742" y="3529"/>
                              <a:pt x="5682" y="3768"/>
                            </a:cubicBezTo>
                            <a:cubicBezTo>
                              <a:pt x="5682" y="3947"/>
                              <a:pt x="5622" y="4067"/>
                              <a:pt x="5562" y="4246"/>
                            </a:cubicBezTo>
                            <a:cubicBezTo>
                              <a:pt x="5503" y="4426"/>
                              <a:pt x="5443" y="4545"/>
                              <a:pt x="5323" y="4665"/>
                            </a:cubicBezTo>
                            <a:cubicBezTo>
                              <a:pt x="5263" y="4785"/>
                              <a:pt x="5144" y="4964"/>
                              <a:pt x="5024" y="5084"/>
                            </a:cubicBezTo>
                            <a:cubicBezTo>
                              <a:pt x="4904" y="5203"/>
                              <a:pt x="4785" y="5323"/>
                              <a:pt x="4665" y="5443"/>
                            </a:cubicBezTo>
                            <a:cubicBezTo>
                              <a:pt x="4545" y="5562"/>
                              <a:pt x="4426" y="5682"/>
                              <a:pt x="4246" y="5742"/>
                            </a:cubicBezTo>
                            <a:cubicBezTo>
                              <a:pt x="4067" y="5801"/>
                              <a:pt x="3947" y="5921"/>
                              <a:pt x="3828" y="5921"/>
                            </a:cubicBezTo>
                            <a:cubicBezTo>
                              <a:pt x="3649" y="5981"/>
                              <a:pt x="3529" y="6041"/>
                              <a:pt x="3349" y="6041"/>
                            </a:cubicBezTo>
                            <a:cubicBezTo>
                              <a:pt x="3170" y="6041"/>
                              <a:pt x="3050" y="6100"/>
                              <a:pt x="2871" y="6041"/>
                            </a:cubicBezTo>
                            <a:lnTo>
                              <a:pt x="1735" y="5562"/>
                            </a:lnTo>
                            <a:lnTo>
                              <a:pt x="1316" y="5203"/>
                            </a:lnTo>
                            <a:cubicBezTo>
                              <a:pt x="1196" y="5084"/>
                              <a:pt x="1136" y="4964"/>
                              <a:pt x="1076" y="4785"/>
                            </a:cubicBezTo>
                            <a:cubicBezTo>
                              <a:pt x="1017" y="4605"/>
                              <a:pt x="957" y="4486"/>
                              <a:pt x="957" y="4366"/>
                            </a:cubicBezTo>
                            <a:cubicBezTo>
                              <a:pt x="897" y="4187"/>
                              <a:pt x="897" y="4067"/>
                              <a:pt x="897" y="3888"/>
                            </a:cubicBezTo>
                            <a:cubicBezTo>
                              <a:pt x="897" y="3708"/>
                              <a:pt x="897" y="3589"/>
                              <a:pt x="957" y="3409"/>
                            </a:cubicBezTo>
                            <a:cubicBezTo>
                              <a:pt x="957" y="3230"/>
                              <a:pt x="1017" y="3050"/>
                              <a:pt x="1076" y="2930"/>
                            </a:cubicBezTo>
                            <a:cubicBezTo>
                              <a:pt x="1136" y="2751"/>
                              <a:pt x="1196" y="2632"/>
                              <a:pt x="1316" y="2512"/>
                            </a:cubicBezTo>
                            <a:cubicBezTo>
                              <a:pt x="1376" y="2392"/>
                              <a:pt x="1495" y="2213"/>
                              <a:pt x="1615" y="2093"/>
                            </a:cubicBezTo>
                            <a:cubicBezTo>
                              <a:pt x="1735" y="1974"/>
                              <a:pt x="1854" y="1854"/>
                              <a:pt x="1974" y="1735"/>
                            </a:cubicBezTo>
                            <a:cubicBezTo>
                              <a:pt x="2093" y="1615"/>
                              <a:pt x="2213" y="1555"/>
                              <a:pt x="2392" y="1435"/>
                            </a:cubicBezTo>
                            <a:cubicBezTo>
                              <a:pt x="2512" y="1375"/>
                              <a:pt x="2691" y="1316"/>
                              <a:pt x="2811" y="1256"/>
                            </a:cubicBezTo>
                            <a:cubicBezTo>
                              <a:pt x="2990" y="1196"/>
                              <a:pt x="3110" y="1196"/>
                              <a:pt x="3289" y="1136"/>
                            </a:cubicBezTo>
                            <a:cubicBezTo>
                              <a:pt x="3469" y="1076"/>
                              <a:pt x="3589" y="1076"/>
                              <a:pt x="3768" y="1136"/>
                            </a:cubicBezTo>
                            <a:cubicBezTo>
                              <a:pt x="3888" y="1136"/>
                              <a:pt x="4007" y="1136"/>
                              <a:pt x="4067" y="1196"/>
                            </a:cubicBezTo>
                            <a:cubicBezTo>
                              <a:pt x="4187" y="1196"/>
                              <a:pt x="4246" y="1256"/>
                              <a:pt x="4366" y="1256"/>
                            </a:cubicBezTo>
                            <a:cubicBezTo>
                              <a:pt x="4486" y="1316"/>
                              <a:pt x="4545" y="1316"/>
                              <a:pt x="4665" y="1375"/>
                            </a:cubicBezTo>
                            <a:cubicBezTo>
                              <a:pt x="4785" y="1495"/>
                              <a:pt x="4844" y="1555"/>
                              <a:pt x="4904" y="1615"/>
                            </a:cubicBezTo>
                            <a:moveTo>
                              <a:pt x="957" y="6579"/>
                            </a:moveTo>
                            <a:cubicBezTo>
                              <a:pt x="1076" y="6698"/>
                              <a:pt x="1196" y="6758"/>
                              <a:pt x="1316" y="6818"/>
                            </a:cubicBezTo>
                            <a:cubicBezTo>
                              <a:pt x="1435" y="6878"/>
                              <a:pt x="1555" y="6938"/>
                              <a:pt x="1735" y="6997"/>
                            </a:cubicBezTo>
                            <a:cubicBezTo>
                              <a:pt x="1914" y="7057"/>
                              <a:pt x="2034" y="7117"/>
                              <a:pt x="2153" y="7117"/>
                            </a:cubicBezTo>
                            <a:cubicBezTo>
                              <a:pt x="2273" y="7117"/>
                              <a:pt x="2452" y="7177"/>
                              <a:pt x="2632" y="7177"/>
                            </a:cubicBezTo>
                            <a:cubicBezTo>
                              <a:pt x="2871" y="7177"/>
                              <a:pt x="3110" y="7177"/>
                              <a:pt x="3349" y="7117"/>
                            </a:cubicBezTo>
                            <a:cubicBezTo>
                              <a:pt x="3589" y="7057"/>
                              <a:pt x="3828" y="7057"/>
                              <a:pt x="4007" y="6938"/>
                            </a:cubicBezTo>
                            <a:cubicBezTo>
                              <a:pt x="4246" y="6878"/>
                              <a:pt x="4426" y="6758"/>
                              <a:pt x="4665" y="6639"/>
                            </a:cubicBezTo>
                            <a:cubicBezTo>
                              <a:pt x="4844" y="6519"/>
                              <a:pt x="5084" y="6399"/>
                              <a:pt x="5263" y="6280"/>
                            </a:cubicBezTo>
                            <a:cubicBezTo>
                              <a:pt x="5443" y="6100"/>
                              <a:pt x="5622" y="5981"/>
                              <a:pt x="5801" y="5801"/>
                            </a:cubicBezTo>
                            <a:cubicBezTo>
                              <a:pt x="5981" y="5622"/>
                              <a:pt x="6100" y="5443"/>
                              <a:pt x="6280" y="5203"/>
                            </a:cubicBezTo>
                            <a:cubicBezTo>
                              <a:pt x="6399" y="4964"/>
                              <a:pt x="6519" y="4785"/>
                              <a:pt x="6639" y="4545"/>
                            </a:cubicBezTo>
                            <a:cubicBezTo>
                              <a:pt x="6758" y="4306"/>
                              <a:pt x="6818" y="4067"/>
                              <a:pt x="6878" y="3828"/>
                            </a:cubicBezTo>
                            <a:cubicBezTo>
                              <a:pt x="6938" y="3589"/>
                              <a:pt x="6938" y="3349"/>
                              <a:pt x="6938" y="3050"/>
                            </a:cubicBezTo>
                            <a:cubicBezTo>
                              <a:pt x="6938" y="2751"/>
                              <a:pt x="6878" y="2572"/>
                              <a:pt x="6878" y="2333"/>
                            </a:cubicBezTo>
                            <a:cubicBezTo>
                              <a:pt x="6818" y="2093"/>
                              <a:pt x="6758" y="1914"/>
                              <a:pt x="6639" y="1675"/>
                            </a:cubicBezTo>
                            <a:cubicBezTo>
                              <a:pt x="6519" y="1495"/>
                              <a:pt x="6399" y="1256"/>
                              <a:pt x="6280" y="1076"/>
                            </a:cubicBezTo>
                            <a:cubicBezTo>
                              <a:pt x="6280" y="1076"/>
                              <a:pt x="6280" y="1076"/>
                              <a:pt x="6280" y="1076"/>
                            </a:cubicBezTo>
                            <a:cubicBezTo>
                              <a:pt x="6280" y="1076"/>
                              <a:pt x="6280" y="1076"/>
                              <a:pt x="6280" y="1076"/>
                            </a:cubicBezTo>
                            <a:cubicBezTo>
                              <a:pt x="6280" y="1076"/>
                              <a:pt x="6280" y="1076"/>
                              <a:pt x="6280" y="1076"/>
                            </a:cubicBezTo>
                            <a:cubicBezTo>
                              <a:pt x="6280" y="1076"/>
                              <a:pt x="6280" y="1076"/>
                              <a:pt x="6280" y="1076"/>
                            </a:cubicBezTo>
                            <a:cubicBezTo>
                              <a:pt x="6220" y="1017"/>
                              <a:pt x="6220" y="957"/>
                              <a:pt x="6160" y="957"/>
                            </a:cubicBezTo>
                            <a:cubicBezTo>
                              <a:pt x="6100" y="957"/>
                              <a:pt x="6100" y="837"/>
                              <a:pt x="6041" y="837"/>
                            </a:cubicBezTo>
                            <a:cubicBezTo>
                              <a:pt x="5981" y="778"/>
                              <a:pt x="5981" y="778"/>
                              <a:pt x="5921" y="718"/>
                            </a:cubicBezTo>
                            <a:cubicBezTo>
                              <a:pt x="5861" y="658"/>
                              <a:pt x="5801" y="658"/>
                              <a:pt x="5801" y="598"/>
                            </a:cubicBezTo>
                            <a:cubicBezTo>
                              <a:pt x="5682" y="538"/>
                              <a:pt x="5562" y="419"/>
                              <a:pt x="5443" y="359"/>
                            </a:cubicBezTo>
                            <a:cubicBezTo>
                              <a:pt x="5323" y="299"/>
                              <a:pt x="5203" y="239"/>
                              <a:pt x="5024" y="180"/>
                            </a:cubicBezTo>
                            <a:cubicBezTo>
                              <a:pt x="4844" y="120"/>
                              <a:pt x="4725" y="60"/>
                              <a:pt x="4605" y="60"/>
                            </a:cubicBezTo>
                            <a:cubicBezTo>
                              <a:pt x="4426" y="0"/>
                              <a:pt x="4306" y="0"/>
                              <a:pt x="4127" y="0"/>
                            </a:cubicBezTo>
                            <a:cubicBezTo>
                              <a:pt x="3888" y="0"/>
                              <a:pt x="3649" y="0"/>
                              <a:pt x="3409" y="0"/>
                            </a:cubicBezTo>
                            <a:cubicBezTo>
                              <a:pt x="3170" y="0"/>
                              <a:pt x="2930" y="60"/>
                              <a:pt x="2751" y="180"/>
                            </a:cubicBezTo>
                            <a:cubicBezTo>
                              <a:pt x="2572" y="299"/>
                              <a:pt x="2333" y="359"/>
                              <a:pt x="2093" y="479"/>
                            </a:cubicBezTo>
                            <a:cubicBezTo>
                              <a:pt x="1914" y="598"/>
                              <a:pt x="1675" y="718"/>
                              <a:pt x="1495" y="897"/>
                            </a:cubicBezTo>
                            <a:cubicBezTo>
                              <a:pt x="1316" y="1076"/>
                              <a:pt x="1076" y="1256"/>
                              <a:pt x="957" y="1435"/>
                            </a:cubicBezTo>
                            <a:cubicBezTo>
                              <a:pt x="778" y="1615"/>
                              <a:pt x="658" y="1854"/>
                              <a:pt x="538" y="2034"/>
                            </a:cubicBezTo>
                            <a:cubicBezTo>
                              <a:pt x="419" y="2213"/>
                              <a:pt x="299" y="2452"/>
                              <a:pt x="239" y="2691"/>
                            </a:cubicBezTo>
                            <a:cubicBezTo>
                              <a:pt x="180" y="2930"/>
                              <a:pt x="120" y="3170"/>
                              <a:pt x="60" y="3409"/>
                            </a:cubicBezTo>
                            <a:cubicBezTo>
                              <a:pt x="0" y="3648"/>
                              <a:pt x="0" y="3888"/>
                              <a:pt x="0" y="4127"/>
                            </a:cubicBezTo>
                            <a:cubicBezTo>
                              <a:pt x="0" y="4366"/>
                              <a:pt x="0" y="4605"/>
                              <a:pt x="60" y="4785"/>
                            </a:cubicBezTo>
                            <a:cubicBezTo>
                              <a:pt x="120" y="5024"/>
                              <a:pt x="180" y="5203"/>
                              <a:pt x="239" y="5443"/>
                            </a:cubicBezTo>
                            <a:cubicBezTo>
                              <a:pt x="299" y="5622"/>
                              <a:pt x="419" y="5861"/>
                              <a:pt x="538" y="6041"/>
                            </a:cubicBezTo>
                            <a:cubicBezTo>
                              <a:pt x="598" y="6100"/>
                              <a:pt x="598" y="6160"/>
                              <a:pt x="658" y="6220"/>
                            </a:cubicBezTo>
                            <a:cubicBezTo>
                              <a:pt x="718" y="6280"/>
                              <a:pt x="778" y="6340"/>
                              <a:pt x="778" y="6399"/>
                            </a:cubicBezTo>
                            <a:cubicBezTo>
                              <a:pt x="837" y="6459"/>
                              <a:pt x="897" y="6519"/>
                              <a:pt x="957" y="6519"/>
                            </a:cubicBezTo>
                            <a:cubicBezTo>
                              <a:pt x="897" y="6519"/>
                              <a:pt x="957" y="6579"/>
                              <a:pt x="957" y="6579"/>
                            </a:cubicBezTo>
                          </a:path>
                        </a:pathLst>
                      </a:custGeom>
                      <a:noFill/>
                      <a:ln w="6350" cap="flat">
                        <a:solidFill>
                          <a:schemeClr val="bg1">
                            <a:alpha val="40000"/>
                          </a:schemeClr>
                        </a:solidFill>
                        <a:prstDash val="solid"/>
                        <a:miter/>
                      </a:ln>
                    </p:spPr>
                    <p:txBody>
                      <a:bodyPr rtlCol="0" anchor="ctr"/>
                      <a:lstStyle/>
                      <a:p>
                        <a:endParaRPr lang="en-GB"/>
                      </a:p>
                    </p:txBody>
                  </p:sp>
                  <p:sp>
                    <p:nvSpPr>
                      <p:cNvPr id="7508" name="Vrije vorm: vorm 7507">
                        <a:extLst>
                          <a:ext uri="{FF2B5EF4-FFF2-40B4-BE49-F238E27FC236}">
                            <a16:creationId xmlns:a16="http://schemas.microsoft.com/office/drawing/2014/main" id="{8C953EB8-3476-4AD4-9668-D59AC9CFABDF}"/>
                          </a:ext>
                        </a:extLst>
                      </p:cNvPr>
                      <p:cNvSpPr/>
                      <p:nvPr/>
                    </p:nvSpPr>
                    <p:spPr>
                      <a:xfrm>
                        <a:off x="4987194" y="5084404"/>
                        <a:ext cx="7072" cy="7382"/>
                      </a:xfrm>
                      <a:custGeom>
                        <a:avLst/>
                        <a:gdLst>
                          <a:gd name="connsiteX0" fmla="*/ 2422 w 7072"/>
                          <a:gd name="connsiteY0" fmla="*/ 6067 h 7382"/>
                          <a:gd name="connsiteX1" fmla="*/ 2303 w 7072"/>
                          <a:gd name="connsiteY1" fmla="*/ 6007 h 7382"/>
                          <a:gd name="connsiteX2" fmla="*/ 2183 w 7072"/>
                          <a:gd name="connsiteY2" fmla="*/ 5947 h 7382"/>
                          <a:gd name="connsiteX3" fmla="*/ 2064 w 7072"/>
                          <a:gd name="connsiteY3" fmla="*/ 5888 h 7382"/>
                          <a:gd name="connsiteX4" fmla="*/ 1944 w 7072"/>
                          <a:gd name="connsiteY4" fmla="*/ 5828 h 7382"/>
                          <a:gd name="connsiteX5" fmla="*/ 1824 w 7072"/>
                          <a:gd name="connsiteY5" fmla="*/ 5768 h 7382"/>
                          <a:gd name="connsiteX6" fmla="*/ 1705 w 7072"/>
                          <a:gd name="connsiteY6" fmla="*/ 5648 h 7382"/>
                          <a:gd name="connsiteX7" fmla="*/ 1585 w 7072"/>
                          <a:gd name="connsiteY7" fmla="*/ 5529 h 7382"/>
                          <a:gd name="connsiteX8" fmla="*/ 1525 w 7072"/>
                          <a:gd name="connsiteY8" fmla="*/ 5409 h 7382"/>
                          <a:gd name="connsiteX9" fmla="*/ 1465 w 7072"/>
                          <a:gd name="connsiteY9" fmla="*/ 5350 h 7382"/>
                          <a:gd name="connsiteX10" fmla="*/ 1405 w 7072"/>
                          <a:gd name="connsiteY10" fmla="*/ 5290 h 7382"/>
                          <a:gd name="connsiteX11" fmla="*/ 1346 w 7072"/>
                          <a:gd name="connsiteY11" fmla="*/ 5230 h 7382"/>
                          <a:gd name="connsiteX12" fmla="*/ 1286 w 7072"/>
                          <a:gd name="connsiteY12" fmla="*/ 5170 h 7382"/>
                          <a:gd name="connsiteX13" fmla="*/ 1047 w 7072"/>
                          <a:gd name="connsiteY13" fmla="*/ 4452 h 7382"/>
                          <a:gd name="connsiteX14" fmla="*/ 1047 w 7072"/>
                          <a:gd name="connsiteY14" fmla="*/ 3675 h 7382"/>
                          <a:gd name="connsiteX15" fmla="*/ 1286 w 7072"/>
                          <a:gd name="connsiteY15" fmla="*/ 2897 h 7382"/>
                          <a:gd name="connsiteX16" fmla="*/ 1764 w 7072"/>
                          <a:gd name="connsiteY16" fmla="*/ 2239 h 7382"/>
                          <a:gd name="connsiteX17" fmla="*/ 1824 w 7072"/>
                          <a:gd name="connsiteY17" fmla="*/ 2180 h 7382"/>
                          <a:gd name="connsiteX18" fmla="*/ 1884 w 7072"/>
                          <a:gd name="connsiteY18" fmla="*/ 2120 h 7382"/>
                          <a:gd name="connsiteX19" fmla="*/ 1944 w 7072"/>
                          <a:gd name="connsiteY19" fmla="*/ 2060 h 7382"/>
                          <a:gd name="connsiteX20" fmla="*/ 2004 w 7072"/>
                          <a:gd name="connsiteY20" fmla="*/ 2000 h 7382"/>
                          <a:gd name="connsiteX21" fmla="*/ 2243 w 7072"/>
                          <a:gd name="connsiteY21" fmla="*/ 1821 h 7382"/>
                          <a:gd name="connsiteX22" fmla="*/ 2482 w 7072"/>
                          <a:gd name="connsiteY22" fmla="*/ 1642 h 7382"/>
                          <a:gd name="connsiteX23" fmla="*/ 2781 w 7072"/>
                          <a:gd name="connsiteY23" fmla="*/ 1522 h 7382"/>
                          <a:gd name="connsiteX24" fmla="*/ 3080 w 7072"/>
                          <a:gd name="connsiteY24" fmla="*/ 1462 h 7382"/>
                          <a:gd name="connsiteX25" fmla="*/ 3559 w 7072"/>
                          <a:gd name="connsiteY25" fmla="*/ 1402 h 7382"/>
                          <a:gd name="connsiteX26" fmla="*/ 4037 w 7072"/>
                          <a:gd name="connsiteY26" fmla="*/ 1462 h 7382"/>
                          <a:gd name="connsiteX27" fmla="*/ 4515 w 7072"/>
                          <a:gd name="connsiteY27" fmla="*/ 1582 h 7382"/>
                          <a:gd name="connsiteX28" fmla="*/ 4934 w 7072"/>
                          <a:gd name="connsiteY28" fmla="*/ 1821 h 7382"/>
                          <a:gd name="connsiteX29" fmla="*/ 5054 w 7072"/>
                          <a:gd name="connsiteY29" fmla="*/ 1881 h 7382"/>
                          <a:gd name="connsiteX30" fmla="*/ 5173 w 7072"/>
                          <a:gd name="connsiteY30" fmla="*/ 2000 h 7382"/>
                          <a:gd name="connsiteX31" fmla="*/ 5293 w 7072"/>
                          <a:gd name="connsiteY31" fmla="*/ 2120 h 7382"/>
                          <a:gd name="connsiteX32" fmla="*/ 5353 w 7072"/>
                          <a:gd name="connsiteY32" fmla="*/ 2239 h 7382"/>
                          <a:gd name="connsiteX33" fmla="*/ 5712 w 7072"/>
                          <a:gd name="connsiteY33" fmla="*/ 3077 h 7382"/>
                          <a:gd name="connsiteX34" fmla="*/ 5712 w 7072"/>
                          <a:gd name="connsiteY34" fmla="*/ 4034 h 7382"/>
                          <a:gd name="connsiteX35" fmla="*/ 5353 w 7072"/>
                          <a:gd name="connsiteY35" fmla="*/ 4931 h 7382"/>
                          <a:gd name="connsiteX36" fmla="*/ 4695 w 7072"/>
                          <a:gd name="connsiteY36" fmla="*/ 5708 h 7382"/>
                          <a:gd name="connsiteX37" fmla="*/ 4097 w 7072"/>
                          <a:gd name="connsiteY37" fmla="*/ 6067 h 7382"/>
                          <a:gd name="connsiteX38" fmla="*/ 3499 w 7072"/>
                          <a:gd name="connsiteY38" fmla="*/ 6247 h 7382"/>
                          <a:gd name="connsiteX39" fmla="*/ 2841 w 7072"/>
                          <a:gd name="connsiteY39" fmla="*/ 6306 h 7382"/>
                          <a:gd name="connsiteX40" fmla="*/ 2422 w 7072"/>
                          <a:gd name="connsiteY40" fmla="*/ 6067 h 7382"/>
                          <a:gd name="connsiteX41" fmla="*/ 1166 w 7072"/>
                          <a:gd name="connsiteY41" fmla="*/ 6725 h 7382"/>
                          <a:gd name="connsiteX42" fmla="*/ 1405 w 7072"/>
                          <a:gd name="connsiteY42" fmla="*/ 6905 h 7382"/>
                          <a:gd name="connsiteX43" fmla="*/ 1645 w 7072"/>
                          <a:gd name="connsiteY43" fmla="*/ 7024 h 7382"/>
                          <a:gd name="connsiteX44" fmla="*/ 1884 w 7072"/>
                          <a:gd name="connsiteY44" fmla="*/ 7144 h 7382"/>
                          <a:gd name="connsiteX45" fmla="*/ 2183 w 7072"/>
                          <a:gd name="connsiteY45" fmla="*/ 7263 h 7382"/>
                          <a:gd name="connsiteX46" fmla="*/ 3020 w 7072"/>
                          <a:gd name="connsiteY46" fmla="*/ 7383 h 7382"/>
                          <a:gd name="connsiteX47" fmla="*/ 3858 w 7072"/>
                          <a:gd name="connsiteY47" fmla="*/ 7263 h 7382"/>
                          <a:gd name="connsiteX48" fmla="*/ 4695 w 7072"/>
                          <a:gd name="connsiteY48" fmla="*/ 6964 h 7382"/>
                          <a:gd name="connsiteX49" fmla="*/ 5473 w 7072"/>
                          <a:gd name="connsiteY49" fmla="*/ 6426 h 7382"/>
                          <a:gd name="connsiteX50" fmla="*/ 6489 w 7072"/>
                          <a:gd name="connsiteY50" fmla="*/ 5290 h 7382"/>
                          <a:gd name="connsiteX51" fmla="*/ 7027 w 7072"/>
                          <a:gd name="connsiteY51" fmla="*/ 3974 h 7382"/>
                          <a:gd name="connsiteX52" fmla="*/ 7027 w 7072"/>
                          <a:gd name="connsiteY52" fmla="*/ 2598 h 7382"/>
                          <a:gd name="connsiteX53" fmla="*/ 6489 w 7072"/>
                          <a:gd name="connsiteY53" fmla="*/ 1343 h 7382"/>
                          <a:gd name="connsiteX54" fmla="*/ 5891 w 7072"/>
                          <a:gd name="connsiteY54" fmla="*/ 744 h 7382"/>
                          <a:gd name="connsiteX55" fmla="*/ 5353 w 7072"/>
                          <a:gd name="connsiteY55" fmla="*/ 385 h 7382"/>
                          <a:gd name="connsiteX56" fmla="*/ 4755 w 7072"/>
                          <a:gd name="connsiteY56" fmla="*/ 146 h 7382"/>
                          <a:gd name="connsiteX57" fmla="*/ 4157 w 7072"/>
                          <a:gd name="connsiteY57" fmla="*/ 27 h 7382"/>
                          <a:gd name="connsiteX58" fmla="*/ 3499 w 7072"/>
                          <a:gd name="connsiteY58" fmla="*/ 27 h 7382"/>
                          <a:gd name="connsiteX59" fmla="*/ 3200 w 7072"/>
                          <a:gd name="connsiteY59" fmla="*/ 86 h 7382"/>
                          <a:gd name="connsiteX60" fmla="*/ 2901 w 7072"/>
                          <a:gd name="connsiteY60" fmla="*/ 146 h 7382"/>
                          <a:gd name="connsiteX61" fmla="*/ 2602 w 7072"/>
                          <a:gd name="connsiteY61" fmla="*/ 266 h 7382"/>
                          <a:gd name="connsiteX62" fmla="*/ 2303 w 7072"/>
                          <a:gd name="connsiteY62" fmla="*/ 385 h 7382"/>
                          <a:gd name="connsiteX63" fmla="*/ 2123 w 7072"/>
                          <a:gd name="connsiteY63" fmla="*/ 505 h 7382"/>
                          <a:gd name="connsiteX64" fmla="*/ 1944 w 7072"/>
                          <a:gd name="connsiteY64" fmla="*/ 625 h 7382"/>
                          <a:gd name="connsiteX65" fmla="*/ 1764 w 7072"/>
                          <a:gd name="connsiteY65" fmla="*/ 744 h 7382"/>
                          <a:gd name="connsiteX66" fmla="*/ 1585 w 7072"/>
                          <a:gd name="connsiteY66" fmla="*/ 864 h 7382"/>
                          <a:gd name="connsiteX67" fmla="*/ 628 w 7072"/>
                          <a:gd name="connsiteY67" fmla="*/ 2000 h 7382"/>
                          <a:gd name="connsiteX68" fmla="*/ 90 w 7072"/>
                          <a:gd name="connsiteY68" fmla="*/ 3316 h 7382"/>
                          <a:gd name="connsiteX69" fmla="*/ 90 w 7072"/>
                          <a:gd name="connsiteY69" fmla="*/ 4692 h 7382"/>
                          <a:gd name="connsiteX70" fmla="*/ 628 w 7072"/>
                          <a:gd name="connsiteY70" fmla="*/ 5947 h 7382"/>
                          <a:gd name="connsiteX71" fmla="*/ 748 w 7072"/>
                          <a:gd name="connsiteY71" fmla="*/ 6127 h 7382"/>
                          <a:gd name="connsiteX72" fmla="*/ 867 w 7072"/>
                          <a:gd name="connsiteY72" fmla="*/ 6247 h 7382"/>
                          <a:gd name="connsiteX73" fmla="*/ 987 w 7072"/>
                          <a:gd name="connsiteY73" fmla="*/ 6366 h 7382"/>
                          <a:gd name="connsiteX74" fmla="*/ 1166 w 7072"/>
                          <a:gd name="connsiteY74" fmla="*/ 6725 h 7382"/>
                          <a:gd name="connsiteX75" fmla="*/ 1166 w 7072"/>
                          <a:gd name="connsiteY75" fmla="*/ 6725 h 7382"/>
                          <a:gd name="connsiteX76" fmla="*/ 1166 w 7072"/>
                          <a:gd name="connsiteY76" fmla="*/ 6725 h 7382"/>
                          <a:gd name="connsiteX77" fmla="*/ 1166 w 7072"/>
                          <a:gd name="connsiteY77" fmla="*/ 6725 h 7382"/>
                          <a:gd name="connsiteX78" fmla="*/ 1166 w 7072"/>
                          <a:gd name="connsiteY78" fmla="*/ 6725 h 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7072" h="7382">
                            <a:moveTo>
                              <a:pt x="2422" y="6067"/>
                            </a:moveTo>
                            <a:cubicBezTo>
                              <a:pt x="2363" y="6067"/>
                              <a:pt x="2363" y="6007"/>
                              <a:pt x="2303" y="6007"/>
                            </a:cubicBezTo>
                            <a:cubicBezTo>
                              <a:pt x="2243" y="6007"/>
                              <a:pt x="2243" y="5947"/>
                              <a:pt x="2183" y="5947"/>
                            </a:cubicBezTo>
                            <a:cubicBezTo>
                              <a:pt x="2123" y="5947"/>
                              <a:pt x="2123" y="5888"/>
                              <a:pt x="2064" y="5888"/>
                            </a:cubicBezTo>
                            <a:cubicBezTo>
                              <a:pt x="2004" y="5888"/>
                              <a:pt x="2004" y="5828"/>
                              <a:pt x="1944" y="5828"/>
                            </a:cubicBezTo>
                            <a:cubicBezTo>
                              <a:pt x="1884" y="5828"/>
                              <a:pt x="1884" y="5768"/>
                              <a:pt x="1824" y="5768"/>
                            </a:cubicBezTo>
                            <a:cubicBezTo>
                              <a:pt x="1764" y="5708"/>
                              <a:pt x="1764" y="5708"/>
                              <a:pt x="1705" y="5648"/>
                            </a:cubicBezTo>
                            <a:cubicBezTo>
                              <a:pt x="1645" y="5589"/>
                              <a:pt x="1645" y="5589"/>
                              <a:pt x="1585" y="5529"/>
                            </a:cubicBezTo>
                            <a:cubicBezTo>
                              <a:pt x="1525" y="5469"/>
                              <a:pt x="1525" y="5469"/>
                              <a:pt x="1525" y="5409"/>
                            </a:cubicBezTo>
                            <a:cubicBezTo>
                              <a:pt x="1525" y="5409"/>
                              <a:pt x="1525" y="5350"/>
                              <a:pt x="1465" y="5350"/>
                            </a:cubicBezTo>
                            <a:cubicBezTo>
                              <a:pt x="1465" y="5350"/>
                              <a:pt x="1465" y="5290"/>
                              <a:pt x="1405" y="5290"/>
                            </a:cubicBezTo>
                            <a:cubicBezTo>
                              <a:pt x="1405" y="5290"/>
                              <a:pt x="1405" y="5230"/>
                              <a:pt x="1346" y="5230"/>
                            </a:cubicBezTo>
                            <a:cubicBezTo>
                              <a:pt x="1346" y="5230"/>
                              <a:pt x="1346" y="5170"/>
                              <a:pt x="1286" y="5170"/>
                            </a:cubicBezTo>
                            <a:cubicBezTo>
                              <a:pt x="1166" y="4931"/>
                              <a:pt x="1106" y="4692"/>
                              <a:pt x="1047" y="4452"/>
                            </a:cubicBezTo>
                            <a:cubicBezTo>
                              <a:pt x="987" y="4213"/>
                              <a:pt x="1047" y="3914"/>
                              <a:pt x="1047" y="3675"/>
                            </a:cubicBezTo>
                            <a:cubicBezTo>
                              <a:pt x="1106" y="3436"/>
                              <a:pt x="1166" y="3137"/>
                              <a:pt x="1286" y="2897"/>
                            </a:cubicBezTo>
                            <a:cubicBezTo>
                              <a:pt x="1405" y="2658"/>
                              <a:pt x="1585" y="2419"/>
                              <a:pt x="1764" y="2239"/>
                            </a:cubicBezTo>
                            <a:cubicBezTo>
                              <a:pt x="1764" y="2239"/>
                              <a:pt x="1824" y="2180"/>
                              <a:pt x="1824" y="2180"/>
                            </a:cubicBezTo>
                            <a:cubicBezTo>
                              <a:pt x="1824" y="2180"/>
                              <a:pt x="1884" y="2120"/>
                              <a:pt x="1884" y="2120"/>
                            </a:cubicBezTo>
                            <a:cubicBezTo>
                              <a:pt x="1884" y="2120"/>
                              <a:pt x="1944" y="2060"/>
                              <a:pt x="1944" y="2060"/>
                            </a:cubicBezTo>
                            <a:cubicBezTo>
                              <a:pt x="1944" y="2060"/>
                              <a:pt x="2004" y="2000"/>
                              <a:pt x="2004" y="2000"/>
                            </a:cubicBezTo>
                            <a:cubicBezTo>
                              <a:pt x="2064" y="1940"/>
                              <a:pt x="2183" y="1881"/>
                              <a:pt x="2243" y="1821"/>
                            </a:cubicBezTo>
                            <a:cubicBezTo>
                              <a:pt x="2303" y="1761"/>
                              <a:pt x="2422" y="1701"/>
                              <a:pt x="2482" y="1642"/>
                            </a:cubicBezTo>
                            <a:cubicBezTo>
                              <a:pt x="2602" y="1582"/>
                              <a:pt x="2661" y="1582"/>
                              <a:pt x="2781" y="1522"/>
                            </a:cubicBezTo>
                            <a:cubicBezTo>
                              <a:pt x="2901" y="1462"/>
                              <a:pt x="2960" y="1462"/>
                              <a:pt x="3080" y="1462"/>
                            </a:cubicBezTo>
                            <a:cubicBezTo>
                              <a:pt x="3259" y="1402"/>
                              <a:pt x="3439" y="1402"/>
                              <a:pt x="3559" y="1402"/>
                            </a:cubicBezTo>
                            <a:cubicBezTo>
                              <a:pt x="3738" y="1402"/>
                              <a:pt x="3858" y="1402"/>
                              <a:pt x="4037" y="1462"/>
                            </a:cubicBezTo>
                            <a:cubicBezTo>
                              <a:pt x="4217" y="1462"/>
                              <a:pt x="4336" y="1522"/>
                              <a:pt x="4515" y="1582"/>
                            </a:cubicBezTo>
                            <a:cubicBezTo>
                              <a:pt x="4635" y="1642"/>
                              <a:pt x="4814" y="1701"/>
                              <a:pt x="4934" y="1821"/>
                            </a:cubicBezTo>
                            <a:cubicBezTo>
                              <a:pt x="4994" y="1821"/>
                              <a:pt x="4994" y="1881"/>
                              <a:pt x="5054" y="1881"/>
                            </a:cubicBezTo>
                            <a:cubicBezTo>
                              <a:pt x="5114" y="1940"/>
                              <a:pt x="5114" y="1940"/>
                              <a:pt x="5173" y="2000"/>
                            </a:cubicBezTo>
                            <a:cubicBezTo>
                              <a:pt x="5233" y="2060"/>
                              <a:pt x="5233" y="2060"/>
                              <a:pt x="5293" y="2120"/>
                            </a:cubicBezTo>
                            <a:cubicBezTo>
                              <a:pt x="5353" y="2180"/>
                              <a:pt x="5353" y="2180"/>
                              <a:pt x="5353" y="2239"/>
                            </a:cubicBezTo>
                            <a:cubicBezTo>
                              <a:pt x="5532" y="2479"/>
                              <a:pt x="5652" y="2778"/>
                              <a:pt x="5712" y="3077"/>
                            </a:cubicBezTo>
                            <a:cubicBezTo>
                              <a:pt x="5772" y="3376"/>
                              <a:pt x="5772" y="3675"/>
                              <a:pt x="5712" y="4034"/>
                            </a:cubicBezTo>
                            <a:cubicBezTo>
                              <a:pt x="5652" y="4333"/>
                              <a:pt x="5532" y="4632"/>
                              <a:pt x="5353" y="4931"/>
                            </a:cubicBezTo>
                            <a:cubicBezTo>
                              <a:pt x="5173" y="5230"/>
                              <a:pt x="4934" y="5469"/>
                              <a:pt x="4695" y="5708"/>
                            </a:cubicBezTo>
                            <a:cubicBezTo>
                              <a:pt x="4515" y="5888"/>
                              <a:pt x="4336" y="6007"/>
                              <a:pt x="4097" y="6067"/>
                            </a:cubicBezTo>
                            <a:cubicBezTo>
                              <a:pt x="3918" y="6187"/>
                              <a:pt x="3678" y="6247"/>
                              <a:pt x="3499" y="6247"/>
                            </a:cubicBezTo>
                            <a:cubicBezTo>
                              <a:pt x="3259" y="6306"/>
                              <a:pt x="3080" y="6306"/>
                              <a:pt x="2841" y="6306"/>
                            </a:cubicBezTo>
                            <a:cubicBezTo>
                              <a:pt x="2841" y="6187"/>
                              <a:pt x="2602" y="6127"/>
                              <a:pt x="2422" y="6067"/>
                            </a:cubicBezTo>
                            <a:moveTo>
                              <a:pt x="1166" y="6725"/>
                            </a:moveTo>
                            <a:cubicBezTo>
                              <a:pt x="1226" y="6785"/>
                              <a:pt x="1346" y="6845"/>
                              <a:pt x="1405" y="6905"/>
                            </a:cubicBezTo>
                            <a:cubicBezTo>
                              <a:pt x="1465" y="6964"/>
                              <a:pt x="1585" y="7024"/>
                              <a:pt x="1645" y="7024"/>
                            </a:cubicBezTo>
                            <a:cubicBezTo>
                              <a:pt x="1705" y="7024"/>
                              <a:pt x="1824" y="7084"/>
                              <a:pt x="1884" y="7144"/>
                            </a:cubicBezTo>
                            <a:cubicBezTo>
                              <a:pt x="1944" y="7204"/>
                              <a:pt x="2064" y="7204"/>
                              <a:pt x="2183" y="7263"/>
                            </a:cubicBezTo>
                            <a:cubicBezTo>
                              <a:pt x="2422" y="7323"/>
                              <a:pt x="2721" y="7383"/>
                              <a:pt x="3020" y="7383"/>
                            </a:cubicBezTo>
                            <a:cubicBezTo>
                              <a:pt x="3319" y="7383"/>
                              <a:pt x="3619" y="7383"/>
                              <a:pt x="3858" y="7263"/>
                            </a:cubicBezTo>
                            <a:cubicBezTo>
                              <a:pt x="4097" y="7144"/>
                              <a:pt x="4456" y="7084"/>
                              <a:pt x="4695" y="6964"/>
                            </a:cubicBezTo>
                            <a:cubicBezTo>
                              <a:pt x="4994" y="6845"/>
                              <a:pt x="5233" y="6665"/>
                              <a:pt x="5473" y="6426"/>
                            </a:cubicBezTo>
                            <a:cubicBezTo>
                              <a:pt x="5891" y="6127"/>
                              <a:pt x="6190" y="5708"/>
                              <a:pt x="6489" y="5290"/>
                            </a:cubicBezTo>
                            <a:cubicBezTo>
                              <a:pt x="6728" y="4871"/>
                              <a:pt x="6908" y="4392"/>
                              <a:pt x="7027" y="3974"/>
                            </a:cubicBezTo>
                            <a:cubicBezTo>
                              <a:pt x="7087" y="3496"/>
                              <a:pt x="7087" y="3017"/>
                              <a:pt x="7027" y="2598"/>
                            </a:cubicBezTo>
                            <a:cubicBezTo>
                              <a:pt x="6968" y="2180"/>
                              <a:pt x="6788" y="1701"/>
                              <a:pt x="6489" y="1343"/>
                            </a:cubicBezTo>
                            <a:lnTo>
                              <a:pt x="5891" y="744"/>
                            </a:lnTo>
                            <a:cubicBezTo>
                              <a:pt x="5712" y="625"/>
                              <a:pt x="5532" y="505"/>
                              <a:pt x="5353" y="385"/>
                            </a:cubicBezTo>
                            <a:cubicBezTo>
                              <a:pt x="5173" y="266"/>
                              <a:pt x="4994" y="206"/>
                              <a:pt x="4755" y="146"/>
                            </a:cubicBezTo>
                            <a:cubicBezTo>
                              <a:pt x="4575" y="86"/>
                              <a:pt x="4336" y="86"/>
                              <a:pt x="4157" y="27"/>
                            </a:cubicBezTo>
                            <a:cubicBezTo>
                              <a:pt x="3977" y="-33"/>
                              <a:pt x="3738" y="27"/>
                              <a:pt x="3499" y="27"/>
                            </a:cubicBezTo>
                            <a:cubicBezTo>
                              <a:pt x="3379" y="27"/>
                              <a:pt x="3259" y="86"/>
                              <a:pt x="3200" y="86"/>
                            </a:cubicBezTo>
                            <a:cubicBezTo>
                              <a:pt x="3080" y="86"/>
                              <a:pt x="2960" y="146"/>
                              <a:pt x="2901" y="146"/>
                            </a:cubicBezTo>
                            <a:cubicBezTo>
                              <a:pt x="2841" y="146"/>
                              <a:pt x="2661" y="206"/>
                              <a:pt x="2602" y="266"/>
                            </a:cubicBezTo>
                            <a:cubicBezTo>
                              <a:pt x="2482" y="326"/>
                              <a:pt x="2422" y="385"/>
                              <a:pt x="2303" y="385"/>
                            </a:cubicBezTo>
                            <a:cubicBezTo>
                              <a:pt x="2243" y="445"/>
                              <a:pt x="2183" y="445"/>
                              <a:pt x="2123" y="505"/>
                            </a:cubicBezTo>
                            <a:cubicBezTo>
                              <a:pt x="2064" y="565"/>
                              <a:pt x="2004" y="565"/>
                              <a:pt x="1944" y="625"/>
                            </a:cubicBezTo>
                            <a:cubicBezTo>
                              <a:pt x="1884" y="684"/>
                              <a:pt x="1824" y="684"/>
                              <a:pt x="1764" y="744"/>
                            </a:cubicBezTo>
                            <a:cubicBezTo>
                              <a:pt x="1705" y="804"/>
                              <a:pt x="1645" y="804"/>
                              <a:pt x="1585" y="864"/>
                            </a:cubicBezTo>
                            <a:cubicBezTo>
                              <a:pt x="1166" y="1223"/>
                              <a:pt x="867" y="1582"/>
                              <a:pt x="628" y="2000"/>
                            </a:cubicBezTo>
                            <a:cubicBezTo>
                              <a:pt x="389" y="2419"/>
                              <a:pt x="210" y="2897"/>
                              <a:pt x="90" y="3316"/>
                            </a:cubicBezTo>
                            <a:cubicBezTo>
                              <a:pt x="-30" y="3735"/>
                              <a:pt x="-30" y="4213"/>
                              <a:pt x="90" y="4692"/>
                            </a:cubicBezTo>
                            <a:cubicBezTo>
                              <a:pt x="150" y="5110"/>
                              <a:pt x="329" y="5529"/>
                              <a:pt x="628" y="5947"/>
                            </a:cubicBezTo>
                            <a:cubicBezTo>
                              <a:pt x="688" y="6007"/>
                              <a:pt x="688" y="6067"/>
                              <a:pt x="748" y="6127"/>
                            </a:cubicBezTo>
                            <a:cubicBezTo>
                              <a:pt x="807" y="6187"/>
                              <a:pt x="807" y="6247"/>
                              <a:pt x="867" y="6247"/>
                            </a:cubicBezTo>
                            <a:cubicBezTo>
                              <a:pt x="927" y="6247"/>
                              <a:pt x="987" y="6366"/>
                              <a:pt x="987" y="6366"/>
                            </a:cubicBezTo>
                            <a:cubicBezTo>
                              <a:pt x="1047" y="6606"/>
                              <a:pt x="1106" y="6665"/>
                              <a:pt x="1166" y="6725"/>
                            </a:cubicBezTo>
                            <a:cubicBezTo>
                              <a:pt x="1106" y="6725"/>
                              <a:pt x="1166" y="6725"/>
                              <a:pt x="1166" y="6725"/>
                            </a:cubicBezTo>
                            <a:cubicBezTo>
                              <a:pt x="1166" y="6725"/>
                              <a:pt x="1166" y="6725"/>
                              <a:pt x="1166" y="6725"/>
                            </a:cubicBezTo>
                            <a:cubicBezTo>
                              <a:pt x="1166" y="6725"/>
                              <a:pt x="1166" y="6725"/>
                              <a:pt x="1166" y="6725"/>
                            </a:cubicBezTo>
                            <a:cubicBezTo>
                              <a:pt x="1166" y="6725"/>
                              <a:pt x="1166" y="6725"/>
                              <a:pt x="1166" y="6725"/>
                            </a:cubicBezTo>
                          </a:path>
                        </a:pathLst>
                      </a:custGeom>
                      <a:noFill/>
                      <a:ln w="6350" cap="flat">
                        <a:solidFill>
                          <a:schemeClr val="bg1">
                            <a:alpha val="40000"/>
                          </a:schemeClr>
                        </a:solidFill>
                        <a:prstDash val="solid"/>
                        <a:miter/>
                      </a:ln>
                    </p:spPr>
                    <p:txBody>
                      <a:bodyPr rtlCol="0" anchor="ctr"/>
                      <a:lstStyle/>
                      <a:p>
                        <a:endParaRPr lang="en-GB"/>
                      </a:p>
                    </p:txBody>
                  </p:sp>
                  <p:sp>
                    <p:nvSpPr>
                      <p:cNvPr id="7509" name="Vrije vorm: vorm 7508">
                        <a:extLst>
                          <a:ext uri="{FF2B5EF4-FFF2-40B4-BE49-F238E27FC236}">
                            <a16:creationId xmlns:a16="http://schemas.microsoft.com/office/drawing/2014/main" id="{E17F56AC-D0AF-4BE8-B745-35EFB8837F48}"/>
                          </a:ext>
                        </a:extLst>
                      </p:cNvPr>
                      <p:cNvSpPr/>
                      <p:nvPr/>
                    </p:nvSpPr>
                    <p:spPr>
                      <a:xfrm>
                        <a:off x="4998348" y="5080962"/>
                        <a:ext cx="6818" cy="7057"/>
                      </a:xfrm>
                      <a:custGeom>
                        <a:avLst/>
                        <a:gdLst>
                          <a:gd name="connsiteX0" fmla="*/ 5801 w 6818"/>
                          <a:gd name="connsiteY0" fmla="*/ 3170 h 7057"/>
                          <a:gd name="connsiteX1" fmla="*/ 5801 w 6818"/>
                          <a:gd name="connsiteY1" fmla="*/ 3290 h 7057"/>
                          <a:gd name="connsiteX2" fmla="*/ 5801 w 6818"/>
                          <a:gd name="connsiteY2" fmla="*/ 3409 h 7057"/>
                          <a:gd name="connsiteX3" fmla="*/ 5801 w 6818"/>
                          <a:gd name="connsiteY3" fmla="*/ 3529 h 7057"/>
                          <a:gd name="connsiteX4" fmla="*/ 5801 w 6818"/>
                          <a:gd name="connsiteY4" fmla="*/ 3649 h 7057"/>
                          <a:gd name="connsiteX5" fmla="*/ 5682 w 6818"/>
                          <a:gd name="connsiteY5" fmla="*/ 4127 h 7057"/>
                          <a:gd name="connsiteX6" fmla="*/ 5443 w 6818"/>
                          <a:gd name="connsiteY6" fmla="*/ 4545 h 7057"/>
                          <a:gd name="connsiteX7" fmla="*/ 5144 w 6818"/>
                          <a:gd name="connsiteY7" fmla="*/ 4964 h 7057"/>
                          <a:gd name="connsiteX8" fmla="*/ 4785 w 6818"/>
                          <a:gd name="connsiteY8" fmla="*/ 5323 h 7057"/>
                          <a:gd name="connsiteX9" fmla="*/ 4366 w 6818"/>
                          <a:gd name="connsiteY9" fmla="*/ 5622 h 7057"/>
                          <a:gd name="connsiteX10" fmla="*/ 3947 w 6818"/>
                          <a:gd name="connsiteY10" fmla="*/ 5801 h 7057"/>
                          <a:gd name="connsiteX11" fmla="*/ 3469 w 6818"/>
                          <a:gd name="connsiteY11" fmla="*/ 5921 h 7057"/>
                          <a:gd name="connsiteX12" fmla="*/ 2990 w 6818"/>
                          <a:gd name="connsiteY12" fmla="*/ 5921 h 7057"/>
                          <a:gd name="connsiteX13" fmla="*/ 1854 w 6818"/>
                          <a:gd name="connsiteY13" fmla="*/ 5503 h 7057"/>
                          <a:gd name="connsiteX14" fmla="*/ 1436 w 6818"/>
                          <a:gd name="connsiteY14" fmla="*/ 5084 h 7057"/>
                          <a:gd name="connsiteX15" fmla="*/ 1136 w 6818"/>
                          <a:gd name="connsiteY15" fmla="*/ 4545 h 7057"/>
                          <a:gd name="connsiteX16" fmla="*/ 1017 w 6818"/>
                          <a:gd name="connsiteY16" fmla="*/ 3947 h 7057"/>
                          <a:gd name="connsiteX17" fmla="*/ 1076 w 6818"/>
                          <a:gd name="connsiteY17" fmla="*/ 3290 h 7057"/>
                          <a:gd name="connsiteX18" fmla="*/ 1196 w 6818"/>
                          <a:gd name="connsiteY18" fmla="*/ 2871 h 7057"/>
                          <a:gd name="connsiteX19" fmla="*/ 1376 w 6818"/>
                          <a:gd name="connsiteY19" fmla="*/ 2512 h 7057"/>
                          <a:gd name="connsiteX20" fmla="*/ 1615 w 6818"/>
                          <a:gd name="connsiteY20" fmla="*/ 2153 h 7057"/>
                          <a:gd name="connsiteX21" fmla="*/ 1914 w 6818"/>
                          <a:gd name="connsiteY21" fmla="*/ 1854 h 7057"/>
                          <a:gd name="connsiteX22" fmla="*/ 1974 w 6818"/>
                          <a:gd name="connsiteY22" fmla="*/ 1795 h 7057"/>
                          <a:gd name="connsiteX23" fmla="*/ 2034 w 6818"/>
                          <a:gd name="connsiteY23" fmla="*/ 1735 h 7057"/>
                          <a:gd name="connsiteX24" fmla="*/ 2093 w 6818"/>
                          <a:gd name="connsiteY24" fmla="*/ 1675 h 7057"/>
                          <a:gd name="connsiteX25" fmla="*/ 2153 w 6818"/>
                          <a:gd name="connsiteY25" fmla="*/ 1615 h 7057"/>
                          <a:gd name="connsiteX26" fmla="*/ 2452 w 6818"/>
                          <a:gd name="connsiteY26" fmla="*/ 1376 h 7057"/>
                          <a:gd name="connsiteX27" fmla="*/ 2751 w 6818"/>
                          <a:gd name="connsiteY27" fmla="*/ 1196 h 7057"/>
                          <a:gd name="connsiteX28" fmla="*/ 3050 w 6818"/>
                          <a:gd name="connsiteY28" fmla="*/ 1077 h 7057"/>
                          <a:gd name="connsiteX29" fmla="*/ 3349 w 6818"/>
                          <a:gd name="connsiteY29" fmla="*/ 1017 h 7057"/>
                          <a:gd name="connsiteX30" fmla="*/ 3469 w 6818"/>
                          <a:gd name="connsiteY30" fmla="*/ 1017 h 7057"/>
                          <a:gd name="connsiteX31" fmla="*/ 3589 w 6818"/>
                          <a:gd name="connsiteY31" fmla="*/ 1017 h 7057"/>
                          <a:gd name="connsiteX32" fmla="*/ 3708 w 6818"/>
                          <a:gd name="connsiteY32" fmla="*/ 1017 h 7057"/>
                          <a:gd name="connsiteX33" fmla="*/ 3828 w 6818"/>
                          <a:gd name="connsiteY33" fmla="*/ 1017 h 7057"/>
                          <a:gd name="connsiteX34" fmla="*/ 3888 w 6818"/>
                          <a:gd name="connsiteY34" fmla="*/ 1017 h 7057"/>
                          <a:gd name="connsiteX35" fmla="*/ 3947 w 6818"/>
                          <a:gd name="connsiteY35" fmla="*/ 1017 h 7057"/>
                          <a:gd name="connsiteX36" fmla="*/ 4007 w 6818"/>
                          <a:gd name="connsiteY36" fmla="*/ 1017 h 7057"/>
                          <a:gd name="connsiteX37" fmla="*/ 4067 w 6818"/>
                          <a:gd name="connsiteY37" fmla="*/ 1017 h 7057"/>
                          <a:gd name="connsiteX38" fmla="*/ 4306 w 6818"/>
                          <a:gd name="connsiteY38" fmla="*/ 1077 h 7057"/>
                          <a:gd name="connsiteX39" fmla="*/ 4486 w 6818"/>
                          <a:gd name="connsiteY39" fmla="*/ 1136 h 7057"/>
                          <a:gd name="connsiteX40" fmla="*/ 4665 w 6818"/>
                          <a:gd name="connsiteY40" fmla="*/ 1256 h 7057"/>
                          <a:gd name="connsiteX41" fmla="*/ 4844 w 6818"/>
                          <a:gd name="connsiteY41" fmla="*/ 1376 h 7057"/>
                          <a:gd name="connsiteX42" fmla="*/ 4904 w 6818"/>
                          <a:gd name="connsiteY42" fmla="*/ 1436 h 7057"/>
                          <a:gd name="connsiteX43" fmla="*/ 4964 w 6818"/>
                          <a:gd name="connsiteY43" fmla="*/ 1495 h 7057"/>
                          <a:gd name="connsiteX44" fmla="*/ 5024 w 6818"/>
                          <a:gd name="connsiteY44" fmla="*/ 1555 h 7057"/>
                          <a:gd name="connsiteX45" fmla="*/ 5084 w 6818"/>
                          <a:gd name="connsiteY45" fmla="*/ 1615 h 7057"/>
                          <a:gd name="connsiteX46" fmla="*/ 5084 w 6818"/>
                          <a:gd name="connsiteY46" fmla="*/ 1615 h 7057"/>
                          <a:gd name="connsiteX47" fmla="*/ 5084 w 6818"/>
                          <a:gd name="connsiteY47" fmla="*/ 1615 h 7057"/>
                          <a:gd name="connsiteX48" fmla="*/ 5084 w 6818"/>
                          <a:gd name="connsiteY48" fmla="*/ 1615 h 7057"/>
                          <a:gd name="connsiteX49" fmla="*/ 5084 w 6818"/>
                          <a:gd name="connsiteY49" fmla="*/ 1615 h 7057"/>
                          <a:gd name="connsiteX50" fmla="*/ 5144 w 6818"/>
                          <a:gd name="connsiteY50" fmla="*/ 1675 h 7057"/>
                          <a:gd name="connsiteX51" fmla="*/ 5203 w 6818"/>
                          <a:gd name="connsiteY51" fmla="*/ 1735 h 7057"/>
                          <a:gd name="connsiteX52" fmla="*/ 5263 w 6818"/>
                          <a:gd name="connsiteY52" fmla="*/ 1795 h 7057"/>
                          <a:gd name="connsiteX53" fmla="*/ 5323 w 6818"/>
                          <a:gd name="connsiteY53" fmla="*/ 1854 h 7057"/>
                          <a:gd name="connsiteX54" fmla="*/ 5503 w 6818"/>
                          <a:gd name="connsiteY54" fmla="*/ 2153 h 7057"/>
                          <a:gd name="connsiteX55" fmla="*/ 5622 w 6818"/>
                          <a:gd name="connsiteY55" fmla="*/ 2452 h 7057"/>
                          <a:gd name="connsiteX56" fmla="*/ 5682 w 6818"/>
                          <a:gd name="connsiteY56" fmla="*/ 2811 h 7057"/>
                          <a:gd name="connsiteX57" fmla="*/ 5801 w 6818"/>
                          <a:gd name="connsiteY57" fmla="*/ 3170 h 7057"/>
                          <a:gd name="connsiteX58" fmla="*/ 5801 w 6818"/>
                          <a:gd name="connsiteY58" fmla="*/ 3170 h 7057"/>
                          <a:gd name="connsiteX59" fmla="*/ 5801 w 6818"/>
                          <a:gd name="connsiteY59" fmla="*/ 3170 h 7057"/>
                          <a:gd name="connsiteX60" fmla="*/ 5801 w 6818"/>
                          <a:gd name="connsiteY60" fmla="*/ 3170 h 7057"/>
                          <a:gd name="connsiteX61" fmla="*/ 5801 w 6818"/>
                          <a:gd name="connsiteY61" fmla="*/ 3170 h 7057"/>
                          <a:gd name="connsiteX62" fmla="*/ 1076 w 6818"/>
                          <a:gd name="connsiteY62" fmla="*/ 6459 h 7057"/>
                          <a:gd name="connsiteX63" fmla="*/ 1436 w 6818"/>
                          <a:gd name="connsiteY63" fmla="*/ 6699 h 7057"/>
                          <a:gd name="connsiteX64" fmla="*/ 1854 w 6818"/>
                          <a:gd name="connsiteY64" fmla="*/ 6878 h 7057"/>
                          <a:gd name="connsiteX65" fmla="*/ 2273 w 6818"/>
                          <a:gd name="connsiteY65" fmla="*/ 6998 h 7057"/>
                          <a:gd name="connsiteX66" fmla="*/ 2751 w 6818"/>
                          <a:gd name="connsiteY66" fmla="*/ 7058 h 7057"/>
                          <a:gd name="connsiteX67" fmla="*/ 3409 w 6818"/>
                          <a:gd name="connsiteY67" fmla="*/ 7058 h 7057"/>
                          <a:gd name="connsiteX68" fmla="*/ 4067 w 6818"/>
                          <a:gd name="connsiteY68" fmla="*/ 6878 h 7057"/>
                          <a:gd name="connsiteX69" fmla="*/ 4725 w 6818"/>
                          <a:gd name="connsiteY69" fmla="*/ 6579 h 7057"/>
                          <a:gd name="connsiteX70" fmla="*/ 5323 w 6818"/>
                          <a:gd name="connsiteY70" fmla="*/ 6160 h 7057"/>
                          <a:gd name="connsiteX71" fmla="*/ 5861 w 6818"/>
                          <a:gd name="connsiteY71" fmla="*/ 5682 h 7057"/>
                          <a:gd name="connsiteX72" fmla="*/ 6280 w 6818"/>
                          <a:gd name="connsiteY72" fmla="*/ 5084 h 7057"/>
                          <a:gd name="connsiteX73" fmla="*/ 6579 w 6818"/>
                          <a:gd name="connsiteY73" fmla="*/ 4426 h 7057"/>
                          <a:gd name="connsiteX74" fmla="*/ 6758 w 6818"/>
                          <a:gd name="connsiteY74" fmla="*/ 3708 h 7057"/>
                          <a:gd name="connsiteX75" fmla="*/ 6758 w 6818"/>
                          <a:gd name="connsiteY75" fmla="*/ 3649 h 7057"/>
                          <a:gd name="connsiteX76" fmla="*/ 6758 w 6818"/>
                          <a:gd name="connsiteY76" fmla="*/ 3589 h 7057"/>
                          <a:gd name="connsiteX77" fmla="*/ 6758 w 6818"/>
                          <a:gd name="connsiteY77" fmla="*/ 3529 h 7057"/>
                          <a:gd name="connsiteX78" fmla="*/ 6758 w 6818"/>
                          <a:gd name="connsiteY78" fmla="*/ 3469 h 7057"/>
                          <a:gd name="connsiteX79" fmla="*/ 6758 w 6818"/>
                          <a:gd name="connsiteY79" fmla="*/ 3469 h 7057"/>
                          <a:gd name="connsiteX80" fmla="*/ 6758 w 6818"/>
                          <a:gd name="connsiteY80" fmla="*/ 3469 h 7057"/>
                          <a:gd name="connsiteX81" fmla="*/ 6758 w 6818"/>
                          <a:gd name="connsiteY81" fmla="*/ 3469 h 7057"/>
                          <a:gd name="connsiteX82" fmla="*/ 6758 w 6818"/>
                          <a:gd name="connsiteY82" fmla="*/ 3469 h 7057"/>
                          <a:gd name="connsiteX83" fmla="*/ 6818 w 6818"/>
                          <a:gd name="connsiteY83" fmla="*/ 3110 h 7057"/>
                          <a:gd name="connsiteX84" fmla="*/ 6818 w 6818"/>
                          <a:gd name="connsiteY84" fmla="*/ 2751 h 7057"/>
                          <a:gd name="connsiteX85" fmla="*/ 6818 w 6818"/>
                          <a:gd name="connsiteY85" fmla="*/ 2452 h 7057"/>
                          <a:gd name="connsiteX86" fmla="*/ 6758 w 6818"/>
                          <a:gd name="connsiteY86" fmla="*/ 2153 h 7057"/>
                          <a:gd name="connsiteX87" fmla="*/ 6698 w 6818"/>
                          <a:gd name="connsiteY87" fmla="*/ 1854 h 7057"/>
                          <a:gd name="connsiteX88" fmla="*/ 6579 w 6818"/>
                          <a:gd name="connsiteY88" fmla="*/ 1555 h 7057"/>
                          <a:gd name="connsiteX89" fmla="*/ 6459 w 6818"/>
                          <a:gd name="connsiteY89" fmla="*/ 1316 h 7057"/>
                          <a:gd name="connsiteX90" fmla="*/ 6280 w 6818"/>
                          <a:gd name="connsiteY90" fmla="*/ 1077 h 7057"/>
                          <a:gd name="connsiteX91" fmla="*/ 5682 w 6818"/>
                          <a:gd name="connsiteY91" fmla="*/ 419 h 7057"/>
                          <a:gd name="connsiteX92" fmla="*/ 5682 w 6818"/>
                          <a:gd name="connsiteY92" fmla="*/ 419 h 7057"/>
                          <a:gd name="connsiteX93" fmla="*/ 5682 w 6818"/>
                          <a:gd name="connsiteY93" fmla="*/ 419 h 7057"/>
                          <a:gd name="connsiteX94" fmla="*/ 5682 w 6818"/>
                          <a:gd name="connsiteY94" fmla="*/ 419 h 7057"/>
                          <a:gd name="connsiteX95" fmla="*/ 5682 w 6818"/>
                          <a:gd name="connsiteY95" fmla="*/ 419 h 7057"/>
                          <a:gd name="connsiteX96" fmla="*/ 5443 w 6818"/>
                          <a:gd name="connsiteY96" fmla="*/ 299 h 7057"/>
                          <a:gd name="connsiteX97" fmla="*/ 5203 w 6818"/>
                          <a:gd name="connsiteY97" fmla="*/ 180 h 7057"/>
                          <a:gd name="connsiteX98" fmla="*/ 4964 w 6818"/>
                          <a:gd name="connsiteY98" fmla="*/ 60 h 7057"/>
                          <a:gd name="connsiteX99" fmla="*/ 4665 w 6818"/>
                          <a:gd name="connsiteY99" fmla="*/ 0 h 7057"/>
                          <a:gd name="connsiteX100" fmla="*/ 4545 w 6818"/>
                          <a:gd name="connsiteY100" fmla="*/ 0 h 7057"/>
                          <a:gd name="connsiteX101" fmla="*/ 4426 w 6818"/>
                          <a:gd name="connsiteY101" fmla="*/ 0 h 7057"/>
                          <a:gd name="connsiteX102" fmla="*/ 4306 w 6818"/>
                          <a:gd name="connsiteY102" fmla="*/ 0 h 7057"/>
                          <a:gd name="connsiteX103" fmla="*/ 4187 w 6818"/>
                          <a:gd name="connsiteY103" fmla="*/ 0 h 7057"/>
                          <a:gd name="connsiteX104" fmla="*/ 3589 w 6818"/>
                          <a:gd name="connsiteY104" fmla="*/ 0 h 7057"/>
                          <a:gd name="connsiteX105" fmla="*/ 2990 w 6818"/>
                          <a:gd name="connsiteY105" fmla="*/ 120 h 7057"/>
                          <a:gd name="connsiteX106" fmla="*/ 2392 w 6818"/>
                          <a:gd name="connsiteY106" fmla="*/ 359 h 7057"/>
                          <a:gd name="connsiteX107" fmla="*/ 1854 w 6818"/>
                          <a:gd name="connsiteY107" fmla="*/ 658 h 7057"/>
                          <a:gd name="connsiteX108" fmla="*/ 1795 w 6818"/>
                          <a:gd name="connsiteY108" fmla="*/ 718 h 7057"/>
                          <a:gd name="connsiteX109" fmla="*/ 1735 w 6818"/>
                          <a:gd name="connsiteY109" fmla="*/ 778 h 7057"/>
                          <a:gd name="connsiteX110" fmla="*/ 1675 w 6818"/>
                          <a:gd name="connsiteY110" fmla="*/ 837 h 7057"/>
                          <a:gd name="connsiteX111" fmla="*/ 1615 w 6818"/>
                          <a:gd name="connsiteY111" fmla="*/ 897 h 7057"/>
                          <a:gd name="connsiteX112" fmla="*/ 1436 w 6818"/>
                          <a:gd name="connsiteY112" fmla="*/ 1077 h 7057"/>
                          <a:gd name="connsiteX113" fmla="*/ 1256 w 6818"/>
                          <a:gd name="connsiteY113" fmla="*/ 1256 h 7057"/>
                          <a:gd name="connsiteX114" fmla="*/ 1076 w 6818"/>
                          <a:gd name="connsiteY114" fmla="*/ 1436 h 7057"/>
                          <a:gd name="connsiteX115" fmla="*/ 897 w 6818"/>
                          <a:gd name="connsiteY115" fmla="*/ 1615 h 7057"/>
                          <a:gd name="connsiteX116" fmla="*/ 598 w 6818"/>
                          <a:gd name="connsiteY116" fmla="*/ 2034 h 7057"/>
                          <a:gd name="connsiteX117" fmla="*/ 359 w 6818"/>
                          <a:gd name="connsiteY117" fmla="*/ 2452 h 7057"/>
                          <a:gd name="connsiteX118" fmla="*/ 180 w 6818"/>
                          <a:gd name="connsiteY118" fmla="*/ 2931 h 7057"/>
                          <a:gd name="connsiteX119" fmla="*/ 60 w 6818"/>
                          <a:gd name="connsiteY119" fmla="*/ 3409 h 7057"/>
                          <a:gd name="connsiteX120" fmla="*/ 0 w 6818"/>
                          <a:gd name="connsiteY120" fmla="*/ 4366 h 7057"/>
                          <a:gd name="connsiteX121" fmla="*/ 180 w 6818"/>
                          <a:gd name="connsiteY121" fmla="*/ 5263 h 7057"/>
                          <a:gd name="connsiteX122" fmla="*/ 598 w 6818"/>
                          <a:gd name="connsiteY122" fmla="*/ 6041 h 7057"/>
                          <a:gd name="connsiteX123" fmla="*/ 1076 w 6818"/>
                          <a:gd name="connsiteY123" fmla="*/ 6459 h 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6818" h="7057">
                            <a:moveTo>
                              <a:pt x="5801" y="3170"/>
                            </a:moveTo>
                            <a:cubicBezTo>
                              <a:pt x="5801" y="3230"/>
                              <a:pt x="5801" y="3230"/>
                              <a:pt x="5801" y="3290"/>
                            </a:cubicBezTo>
                            <a:cubicBezTo>
                              <a:pt x="5801" y="3349"/>
                              <a:pt x="5801" y="3349"/>
                              <a:pt x="5801" y="3409"/>
                            </a:cubicBezTo>
                            <a:cubicBezTo>
                              <a:pt x="5801" y="3469"/>
                              <a:pt x="5801" y="3469"/>
                              <a:pt x="5801" y="3529"/>
                            </a:cubicBezTo>
                            <a:cubicBezTo>
                              <a:pt x="5801" y="3589"/>
                              <a:pt x="5801" y="3589"/>
                              <a:pt x="5801" y="3649"/>
                            </a:cubicBezTo>
                            <a:cubicBezTo>
                              <a:pt x="5801" y="3828"/>
                              <a:pt x="5742" y="3947"/>
                              <a:pt x="5682" y="4127"/>
                            </a:cubicBezTo>
                            <a:cubicBezTo>
                              <a:pt x="5622" y="4306"/>
                              <a:pt x="5562" y="4426"/>
                              <a:pt x="5443" y="4545"/>
                            </a:cubicBezTo>
                            <a:cubicBezTo>
                              <a:pt x="5383" y="4665"/>
                              <a:pt x="5263" y="4844"/>
                              <a:pt x="5144" y="4964"/>
                            </a:cubicBezTo>
                            <a:cubicBezTo>
                              <a:pt x="5024" y="5084"/>
                              <a:pt x="4904" y="5204"/>
                              <a:pt x="4785" y="5323"/>
                            </a:cubicBezTo>
                            <a:cubicBezTo>
                              <a:pt x="4665" y="5443"/>
                              <a:pt x="4545" y="5562"/>
                              <a:pt x="4366" y="5622"/>
                            </a:cubicBezTo>
                            <a:cubicBezTo>
                              <a:pt x="4246" y="5682"/>
                              <a:pt x="4067" y="5801"/>
                              <a:pt x="3947" y="5801"/>
                            </a:cubicBezTo>
                            <a:cubicBezTo>
                              <a:pt x="3828" y="5861"/>
                              <a:pt x="3649" y="5861"/>
                              <a:pt x="3469" y="5921"/>
                            </a:cubicBezTo>
                            <a:cubicBezTo>
                              <a:pt x="3290" y="5921"/>
                              <a:pt x="3170" y="5921"/>
                              <a:pt x="2990" y="5921"/>
                            </a:cubicBezTo>
                            <a:lnTo>
                              <a:pt x="1854" y="5503"/>
                            </a:lnTo>
                            <a:cubicBezTo>
                              <a:pt x="1675" y="5383"/>
                              <a:pt x="1555" y="5263"/>
                              <a:pt x="1436" y="5084"/>
                            </a:cubicBezTo>
                            <a:cubicBezTo>
                              <a:pt x="1316" y="4904"/>
                              <a:pt x="1256" y="4725"/>
                              <a:pt x="1136" y="4545"/>
                            </a:cubicBezTo>
                            <a:cubicBezTo>
                              <a:pt x="1076" y="4366"/>
                              <a:pt x="1017" y="4187"/>
                              <a:pt x="1017" y="3947"/>
                            </a:cubicBezTo>
                            <a:cubicBezTo>
                              <a:pt x="1017" y="3768"/>
                              <a:pt x="1017" y="3529"/>
                              <a:pt x="1076" y="3290"/>
                            </a:cubicBezTo>
                            <a:cubicBezTo>
                              <a:pt x="1076" y="3170"/>
                              <a:pt x="1136" y="2990"/>
                              <a:pt x="1196" y="2871"/>
                            </a:cubicBezTo>
                            <a:cubicBezTo>
                              <a:pt x="1256" y="2751"/>
                              <a:pt x="1316" y="2632"/>
                              <a:pt x="1376" y="2512"/>
                            </a:cubicBezTo>
                            <a:cubicBezTo>
                              <a:pt x="1436" y="2392"/>
                              <a:pt x="1495" y="2273"/>
                              <a:pt x="1615" y="2153"/>
                            </a:cubicBezTo>
                            <a:cubicBezTo>
                              <a:pt x="1675" y="2034"/>
                              <a:pt x="1795" y="1914"/>
                              <a:pt x="1914" y="1854"/>
                            </a:cubicBezTo>
                            <a:cubicBezTo>
                              <a:pt x="1914" y="1854"/>
                              <a:pt x="1974" y="1795"/>
                              <a:pt x="1974" y="1795"/>
                            </a:cubicBezTo>
                            <a:cubicBezTo>
                              <a:pt x="1974" y="1795"/>
                              <a:pt x="2034" y="1735"/>
                              <a:pt x="2034" y="1735"/>
                            </a:cubicBezTo>
                            <a:cubicBezTo>
                              <a:pt x="2034" y="1735"/>
                              <a:pt x="2093" y="1675"/>
                              <a:pt x="2093" y="1675"/>
                            </a:cubicBezTo>
                            <a:cubicBezTo>
                              <a:pt x="2093" y="1675"/>
                              <a:pt x="2153" y="1615"/>
                              <a:pt x="2153" y="1615"/>
                            </a:cubicBezTo>
                            <a:cubicBezTo>
                              <a:pt x="2273" y="1555"/>
                              <a:pt x="2333" y="1436"/>
                              <a:pt x="2452" y="1376"/>
                            </a:cubicBezTo>
                            <a:cubicBezTo>
                              <a:pt x="2572" y="1316"/>
                              <a:pt x="2632" y="1256"/>
                              <a:pt x="2751" y="1196"/>
                            </a:cubicBezTo>
                            <a:cubicBezTo>
                              <a:pt x="2871" y="1136"/>
                              <a:pt x="2990" y="1077"/>
                              <a:pt x="3050" y="1077"/>
                            </a:cubicBezTo>
                            <a:cubicBezTo>
                              <a:pt x="3110" y="1077"/>
                              <a:pt x="3290" y="1017"/>
                              <a:pt x="3349" y="1017"/>
                            </a:cubicBezTo>
                            <a:cubicBezTo>
                              <a:pt x="3409" y="1017"/>
                              <a:pt x="3409" y="1017"/>
                              <a:pt x="3469" y="1017"/>
                            </a:cubicBezTo>
                            <a:cubicBezTo>
                              <a:pt x="3529" y="1017"/>
                              <a:pt x="3529" y="1017"/>
                              <a:pt x="3589" y="1017"/>
                            </a:cubicBezTo>
                            <a:cubicBezTo>
                              <a:pt x="3649" y="1017"/>
                              <a:pt x="3649" y="1017"/>
                              <a:pt x="3708" y="1017"/>
                            </a:cubicBezTo>
                            <a:cubicBezTo>
                              <a:pt x="3768" y="1017"/>
                              <a:pt x="3768" y="1017"/>
                              <a:pt x="3828" y="1017"/>
                            </a:cubicBezTo>
                            <a:cubicBezTo>
                              <a:pt x="3828" y="1017"/>
                              <a:pt x="3888" y="1017"/>
                              <a:pt x="3888" y="1017"/>
                            </a:cubicBezTo>
                            <a:cubicBezTo>
                              <a:pt x="3888" y="1017"/>
                              <a:pt x="3947" y="1017"/>
                              <a:pt x="3947" y="1017"/>
                            </a:cubicBezTo>
                            <a:cubicBezTo>
                              <a:pt x="3947" y="1017"/>
                              <a:pt x="4007" y="1017"/>
                              <a:pt x="4007" y="1017"/>
                            </a:cubicBezTo>
                            <a:cubicBezTo>
                              <a:pt x="4007" y="1017"/>
                              <a:pt x="4067" y="1017"/>
                              <a:pt x="4067" y="1017"/>
                            </a:cubicBezTo>
                            <a:cubicBezTo>
                              <a:pt x="4127" y="1017"/>
                              <a:pt x="4187" y="1077"/>
                              <a:pt x="4306" y="1077"/>
                            </a:cubicBezTo>
                            <a:cubicBezTo>
                              <a:pt x="4366" y="1077"/>
                              <a:pt x="4426" y="1136"/>
                              <a:pt x="4486" y="1136"/>
                            </a:cubicBezTo>
                            <a:cubicBezTo>
                              <a:pt x="4545" y="1196"/>
                              <a:pt x="4605" y="1196"/>
                              <a:pt x="4665" y="1256"/>
                            </a:cubicBezTo>
                            <a:cubicBezTo>
                              <a:pt x="4725" y="1316"/>
                              <a:pt x="4785" y="1316"/>
                              <a:pt x="4844" y="1376"/>
                            </a:cubicBezTo>
                            <a:cubicBezTo>
                              <a:pt x="4844" y="1376"/>
                              <a:pt x="4904" y="1376"/>
                              <a:pt x="4904" y="1436"/>
                            </a:cubicBezTo>
                            <a:cubicBezTo>
                              <a:pt x="4904" y="1436"/>
                              <a:pt x="4964" y="1436"/>
                              <a:pt x="4964" y="1495"/>
                            </a:cubicBezTo>
                            <a:cubicBezTo>
                              <a:pt x="4964" y="1555"/>
                              <a:pt x="4964" y="1495"/>
                              <a:pt x="5024" y="1555"/>
                            </a:cubicBezTo>
                            <a:cubicBezTo>
                              <a:pt x="5084" y="1615"/>
                              <a:pt x="5024" y="1555"/>
                              <a:pt x="5084" y="1615"/>
                            </a:cubicBezTo>
                            <a:cubicBezTo>
                              <a:pt x="5084" y="1615"/>
                              <a:pt x="5084" y="1615"/>
                              <a:pt x="5084" y="1615"/>
                            </a:cubicBezTo>
                            <a:cubicBezTo>
                              <a:pt x="5084" y="1615"/>
                              <a:pt x="5084" y="1615"/>
                              <a:pt x="5084" y="1615"/>
                            </a:cubicBezTo>
                            <a:cubicBezTo>
                              <a:pt x="5084" y="1615"/>
                              <a:pt x="5084" y="1615"/>
                              <a:pt x="5084" y="1615"/>
                            </a:cubicBezTo>
                            <a:cubicBezTo>
                              <a:pt x="5084" y="1615"/>
                              <a:pt x="5084" y="1615"/>
                              <a:pt x="5084" y="1615"/>
                            </a:cubicBezTo>
                            <a:cubicBezTo>
                              <a:pt x="5084" y="1615"/>
                              <a:pt x="5144" y="1675"/>
                              <a:pt x="5144" y="1675"/>
                            </a:cubicBezTo>
                            <a:cubicBezTo>
                              <a:pt x="5144" y="1675"/>
                              <a:pt x="5144" y="1735"/>
                              <a:pt x="5203" y="1735"/>
                            </a:cubicBezTo>
                            <a:cubicBezTo>
                              <a:pt x="5263" y="1735"/>
                              <a:pt x="5203" y="1795"/>
                              <a:pt x="5263" y="1795"/>
                            </a:cubicBezTo>
                            <a:cubicBezTo>
                              <a:pt x="5263" y="1795"/>
                              <a:pt x="5263" y="1854"/>
                              <a:pt x="5323" y="1854"/>
                            </a:cubicBezTo>
                            <a:cubicBezTo>
                              <a:pt x="5383" y="1974"/>
                              <a:pt x="5443" y="2034"/>
                              <a:pt x="5503" y="2153"/>
                            </a:cubicBezTo>
                            <a:cubicBezTo>
                              <a:pt x="5562" y="2273"/>
                              <a:pt x="5622" y="2333"/>
                              <a:pt x="5622" y="2452"/>
                            </a:cubicBezTo>
                            <a:cubicBezTo>
                              <a:pt x="5682" y="2572"/>
                              <a:pt x="5682" y="2691"/>
                              <a:pt x="5682" y="2811"/>
                            </a:cubicBezTo>
                            <a:cubicBezTo>
                              <a:pt x="5682" y="2931"/>
                              <a:pt x="5801" y="3050"/>
                              <a:pt x="5801" y="3170"/>
                            </a:cubicBezTo>
                            <a:cubicBezTo>
                              <a:pt x="5801" y="3170"/>
                              <a:pt x="5801" y="3170"/>
                              <a:pt x="5801" y="3170"/>
                            </a:cubicBezTo>
                            <a:cubicBezTo>
                              <a:pt x="5801" y="3170"/>
                              <a:pt x="5801" y="3170"/>
                              <a:pt x="5801" y="3170"/>
                            </a:cubicBezTo>
                            <a:lnTo>
                              <a:pt x="5801" y="3170"/>
                            </a:lnTo>
                            <a:cubicBezTo>
                              <a:pt x="5801" y="3170"/>
                              <a:pt x="5801" y="3170"/>
                              <a:pt x="5801" y="3170"/>
                            </a:cubicBezTo>
                            <a:moveTo>
                              <a:pt x="1076" y="6459"/>
                            </a:moveTo>
                            <a:cubicBezTo>
                              <a:pt x="1196" y="6579"/>
                              <a:pt x="1316" y="6639"/>
                              <a:pt x="1436" y="6699"/>
                            </a:cubicBezTo>
                            <a:cubicBezTo>
                              <a:pt x="1555" y="6758"/>
                              <a:pt x="1675" y="6818"/>
                              <a:pt x="1854" y="6878"/>
                            </a:cubicBezTo>
                            <a:cubicBezTo>
                              <a:pt x="1974" y="6938"/>
                              <a:pt x="2153" y="6998"/>
                              <a:pt x="2273" y="6998"/>
                            </a:cubicBezTo>
                            <a:cubicBezTo>
                              <a:pt x="2452" y="7058"/>
                              <a:pt x="2572" y="7058"/>
                              <a:pt x="2751" y="7058"/>
                            </a:cubicBezTo>
                            <a:cubicBezTo>
                              <a:pt x="2990" y="7058"/>
                              <a:pt x="3230" y="7058"/>
                              <a:pt x="3409" y="7058"/>
                            </a:cubicBezTo>
                            <a:cubicBezTo>
                              <a:pt x="3649" y="6998"/>
                              <a:pt x="3888" y="6998"/>
                              <a:pt x="4067" y="6878"/>
                            </a:cubicBezTo>
                            <a:cubicBezTo>
                              <a:pt x="4306" y="6818"/>
                              <a:pt x="4486" y="6699"/>
                              <a:pt x="4725" y="6579"/>
                            </a:cubicBezTo>
                            <a:cubicBezTo>
                              <a:pt x="4964" y="6459"/>
                              <a:pt x="5144" y="6340"/>
                              <a:pt x="5323" y="6160"/>
                            </a:cubicBezTo>
                            <a:cubicBezTo>
                              <a:pt x="5503" y="5981"/>
                              <a:pt x="5682" y="5861"/>
                              <a:pt x="5861" y="5682"/>
                            </a:cubicBezTo>
                            <a:cubicBezTo>
                              <a:pt x="6041" y="5503"/>
                              <a:pt x="6160" y="5323"/>
                              <a:pt x="6280" y="5084"/>
                            </a:cubicBezTo>
                            <a:cubicBezTo>
                              <a:pt x="6399" y="4844"/>
                              <a:pt x="6519" y="4665"/>
                              <a:pt x="6579" y="4426"/>
                            </a:cubicBezTo>
                            <a:cubicBezTo>
                              <a:pt x="6639" y="4187"/>
                              <a:pt x="6698" y="3947"/>
                              <a:pt x="6758" y="3708"/>
                            </a:cubicBezTo>
                            <a:cubicBezTo>
                              <a:pt x="6758" y="3708"/>
                              <a:pt x="6758" y="3649"/>
                              <a:pt x="6758" y="3649"/>
                            </a:cubicBezTo>
                            <a:cubicBezTo>
                              <a:pt x="6758" y="3649"/>
                              <a:pt x="6758" y="3589"/>
                              <a:pt x="6758" y="3589"/>
                            </a:cubicBezTo>
                            <a:cubicBezTo>
                              <a:pt x="6758" y="3589"/>
                              <a:pt x="6758" y="3529"/>
                              <a:pt x="6758" y="3529"/>
                            </a:cubicBezTo>
                            <a:cubicBezTo>
                              <a:pt x="6758" y="3529"/>
                              <a:pt x="6758" y="3469"/>
                              <a:pt x="6758" y="3469"/>
                            </a:cubicBezTo>
                            <a:lnTo>
                              <a:pt x="6758" y="3469"/>
                            </a:lnTo>
                            <a:lnTo>
                              <a:pt x="6758" y="3469"/>
                            </a:lnTo>
                            <a:cubicBezTo>
                              <a:pt x="6758" y="3469"/>
                              <a:pt x="6758" y="3469"/>
                              <a:pt x="6758" y="3469"/>
                            </a:cubicBezTo>
                            <a:lnTo>
                              <a:pt x="6758" y="3469"/>
                            </a:lnTo>
                            <a:cubicBezTo>
                              <a:pt x="6758" y="3349"/>
                              <a:pt x="6758" y="3230"/>
                              <a:pt x="6818" y="3110"/>
                            </a:cubicBezTo>
                            <a:cubicBezTo>
                              <a:pt x="6818" y="2990"/>
                              <a:pt x="6818" y="2871"/>
                              <a:pt x="6818" y="2751"/>
                            </a:cubicBezTo>
                            <a:cubicBezTo>
                              <a:pt x="6818" y="2632"/>
                              <a:pt x="6818" y="2512"/>
                              <a:pt x="6818" y="2452"/>
                            </a:cubicBezTo>
                            <a:cubicBezTo>
                              <a:pt x="6818" y="2333"/>
                              <a:pt x="6758" y="2213"/>
                              <a:pt x="6758" y="2153"/>
                            </a:cubicBezTo>
                            <a:cubicBezTo>
                              <a:pt x="6758" y="2034"/>
                              <a:pt x="6698" y="1974"/>
                              <a:pt x="6698" y="1854"/>
                            </a:cubicBezTo>
                            <a:cubicBezTo>
                              <a:pt x="6639" y="1735"/>
                              <a:pt x="6639" y="1675"/>
                              <a:pt x="6579" y="1555"/>
                            </a:cubicBezTo>
                            <a:cubicBezTo>
                              <a:pt x="6519" y="1436"/>
                              <a:pt x="6519" y="1376"/>
                              <a:pt x="6459" y="1316"/>
                            </a:cubicBezTo>
                            <a:cubicBezTo>
                              <a:pt x="6399" y="1256"/>
                              <a:pt x="6340" y="1136"/>
                              <a:pt x="6280" y="1077"/>
                            </a:cubicBezTo>
                            <a:lnTo>
                              <a:pt x="5682" y="419"/>
                            </a:lnTo>
                            <a:cubicBezTo>
                              <a:pt x="5682" y="419"/>
                              <a:pt x="5682" y="419"/>
                              <a:pt x="5682" y="419"/>
                            </a:cubicBezTo>
                            <a:cubicBezTo>
                              <a:pt x="5682" y="419"/>
                              <a:pt x="5682" y="419"/>
                              <a:pt x="5682" y="419"/>
                            </a:cubicBezTo>
                            <a:cubicBezTo>
                              <a:pt x="5682" y="419"/>
                              <a:pt x="5682" y="419"/>
                              <a:pt x="5682" y="419"/>
                            </a:cubicBezTo>
                            <a:cubicBezTo>
                              <a:pt x="5682" y="419"/>
                              <a:pt x="5682" y="419"/>
                              <a:pt x="5682" y="419"/>
                            </a:cubicBezTo>
                            <a:cubicBezTo>
                              <a:pt x="5622" y="359"/>
                              <a:pt x="5503" y="299"/>
                              <a:pt x="5443" y="299"/>
                            </a:cubicBezTo>
                            <a:cubicBezTo>
                              <a:pt x="5383" y="299"/>
                              <a:pt x="5263" y="239"/>
                              <a:pt x="5203" y="180"/>
                            </a:cubicBezTo>
                            <a:cubicBezTo>
                              <a:pt x="5144" y="120"/>
                              <a:pt x="5024" y="120"/>
                              <a:pt x="4964" y="60"/>
                            </a:cubicBezTo>
                            <a:cubicBezTo>
                              <a:pt x="4904" y="0"/>
                              <a:pt x="4785" y="0"/>
                              <a:pt x="4665" y="0"/>
                            </a:cubicBezTo>
                            <a:cubicBezTo>
                              <a:pt x="4605" y="0"/>
                              <a:pt x="4545" y="0"/>
                              <a:pt x="4545" y="0"/>
                            </a:cubicBezTo>
                            <a:cubicBezTo>
                              <a:pt x="4486" y="0"/>
                              <a:pt x="4426" y="0"/>
                              <a:pt x="4426" y="0"/>
                            </a:cubicBezTo>
                            <a:cubicBezTo>
                              <a:pt x="4366" y="0"/>
                              <a:pt x="4306" y="0"/>
                              <a:pt x="4306" y="0"/>
                            </a:cubicBezTo>
                            <a:cubicBezTo>
                              <a:pt x="4306" y="0"/>
                              <a:pt x="4187" y="0"/>
                              <a:pt x="4187" y="0"/>
                            </a:cubicBezTo>
                            <a:cubicBezTo>
                              <a:pt x="4007" y="0"/>
                              <a:pt x="3768" y="0"/>
                              <a:pt x="3589" y="0"/>
                            </a:cubicBezTo>
                            <a:cubicBezTo>
                              <a:pt x="3409" y="0"/>
                              <a:pt x="3170" y="60"/>
                              <a:pt x="2990" y="120"/>
                            </a:cubicBezTo>
                            <a:cubicBezTo>
                              <a:pt x="2811" y="180"/>
                              <a:pt x="2572" y="239"/>
                              <a:pt x="2392" y="359"/>
                            </a:cubicBezTo>
                            <a:cubicBezTo>
                              <a:pt x="2213" y="419"/>
                              <a:pt x="2034" y="538"/>
                              <a:pt x="1854" y="658"/>
                            </a:cubicBezTo>
                            <a:cubicBezTo>
                              <a:pt x="1854" y="658"/>
                              <a:pt x="1795" y="718"/>
                              <a:pt x="1795" y="718"/>
                            </a:cubicBezTo>
                            <a:cubicBezTo>
                              <a:pt x="1795" y="718"/>
                              <a:pt x="1735" y="778"/>
                              <a:pt x="1735" y="778"/>
                            </a:cubicBezTo>
                            <a:cubicBezTo>
                              <a:pt x="1735" y="778"/>
                              <a:pt x="1675" y="837"/>
                              <a:pt x="1675" y="837"/>
                            </a:cubicBezTo>
                            <a:cubicBezTo>
                              <a:pt x="1675" y="837"/>
                              <a:pt x="1615" y="897"/>
                              <a:pt x="1615" y="897"/>
                            </a:cubicBezTo>
                            <a:cubicBezTo>
                              <a:pt x="1555" y="957"/>
                              <a:pt x="1495" y="1017"/>
                              <a:pt x="1436" y="1077"/>
                            </a:cubicBezTo>
                            <a:cubicBezTo>
                              <a:pt x="1376" y="1136"/>
                              <a:pt x="1316" y="1196"/>
                              <a:pt x="1256" y="1256"/>
                            </a:cubicBezTo>
                            <a:cubicBezTo>
                              <a:pt x="1196" y="1316"/>
                              <a:pt x="1136" y="1376"/>
                              <a:pt x="1076" y="1436"/>
                            </a:cubicBezTo>
                            <a:cubicBezTo>
                              <a:pt x="1017" y="1495"/>
                              <a:pt x="957" y="1555"/>
                              <a:pt x="897" y="1615"/>
                            </a:cubicBezTo>
                            <a:cubicBezTo>
                              <a:pt x="778" y="1735"/>
                              <a:pt x="718" y="1914"/>
                              <a:pt x="598" y="2034"/>
                            </a:cubicBezTo>
                            <a:cubicBezTo>
                              <a:pt x="538" y="2153"/>
                              <a:pt x="419" y="2333"/>
                              <a:pt x="359" y="2452"/>
                            </a:cubicBezTo>
                            <a:cubicBezTo>
                              <a:pt x="299" y="2632"/>
                              <a:pt x="239" y="2751"/>
                              <a:pt x="180" y="2931"/>
                            </a:cubicBezTo>
                            <a:cubicBezTo>
                              <a:pt x="120" y="3110"/>
                              <a:pt x="60" y="3230"/>
                              <a:pt x="60" y="3409"/>
                            </a:cubicBezTo>
                            <a:cubicBezTo>
                              <a:pt x="0" y="3708"/>
                              <a:pt x="0" y="4067"/>
                              <a:pt x="0" y="4366"/>
                            </a:cubicBezTo>
                            <a:cubicBezTo>
                              <a:pt x="0" y="4665"/>
                              <a:pt x="60" y="4964"/>
                              <a:pt x="180" y="5263"/>
                            </a:cubicBezTo>
                            <a:cubicBezTo>
                              <a:pt x="299" y="5562"/>
                              <a:pt x="419" y="5801"/>
                              <a:pt x="598" y="6041"/>
                            </a:cubicBezTo>
                            <a:cubicBezTo>
                              <a:pt x="658" y="6100"/>
                              <a:pt x="837" y="6280"/>
                              <a:pt x="1076" y="6459"/>
                            </a:cubicBezTo>
                          </a:path>
                        </a:pathLst>
                      </a:custGeom>
                      <a:noFill/>
                      <a:ln w="6350" cap="flat">
                        <a:solidFill>
                          <a:schemeClr val="bg1">
                            <a:alpha val="40000"/>
                          </a:schemeClr>
                        </a:solidFill>
                        <a:prstDash val="solid"/>
                        <a:miter/>
                      </a:ln>
                    </p:spPr>
                    <p:txBody>
                      <a:bodyPr rtlCol="0" anchor="ctr"/>
                      <a:lstStyle/>
                      <a:p>
                        <a:endParaRPr lang="en-GB"/>
                      </a:p>
                    </p:txBody>
                  </p:sp>
                  <p:sp>
                    <p:nvSpPr>
                      <p:cNvPr id="7510" name="Vrije vorm: vorm 7509">
                        <a:extLst>
                          <a:ext uri="{FF2B5EF4-FFF2-40B4-BE49-F238E27FC236}">
                            <a16:creationId xmlns:a16="http://schemas.microsoft.com/office/drawing/2014/main" id="{AF151A84-3A87-4548-9D50-EAC72CA08D87}"/>
                          </a:ext>
                        </a:extLst>
                      </p:cNvPr>
                      <p:cNvSpPr/>
                      <p:nvPr/>
                    </p:nvSpPr>
                    <p:spPr>
                      <a:xfrm>
                        <a:off x="5007499" y="5085926"/>
                        <a:ext cx="6997" cy="7176"/>
                      </a:xfrm>
                      <a:custGeom>
                        <a:avLst/>
                        <a:gdLst>
                          <a:gd name="connsiteX0" fmla="*/ 5143 w 6997"/>
                          <a:gd name="connsiteY0" fmla="*/ 1615 h 7176"/>
                          <a:gd name="connsiteX1" fmla="*/ 5263 w 6997"/>
                          <a:gd name="connsiteY1" fmla="*/ 1675 h 7176"/>
                          <a:gd name="connsiteX2" fmla="*/ 5382 w 6997"/>
                          <a:gd name="connsiteY2" fmla="*/ 1735 h 7176"/>
                          <a:gd name="connsiteX3" fmla="*/ 5442 w 6997"/>
                          <a:gd name="connsiteY3" fmla="*/ 1854 h 7176"/>
                          <a:gd name="connsiteX4" fmla="*/ 5502 w 6997"/>
                          <a:gd name="connsiteY4" fmla="*/ 1974 h 7176"/>
                          <a:gd name="connsiteX5" fmla="*/ 5861 w 6997"/>
                          <a:gd name="connsiteY5" fmla="*/ 2811 h 7176"/>
                          <a:gd name="connsiteX6" fmla="*/ 5861 w 6997"/>
                          <a:gd name="connsiteY6" fmla="*/ 3708 h 7176"/>
                          <a:gd name="connsiteX7" fmla="*/ 5502 w 6997"/>
                          <a:gd name="connsiteY7" fmla="*/ 4605 h 7176"/>
                          <a:gd name="connsiteX8" fmla="*/ 4844 w 6997"/>
                          <a:gd name="connsiteY8" fmla="*/ 5383 h 7176"/>
                          <a:gd name="connsiteX9" fmla="*/ 4426 w 6997"/>
                          <a:gd name="connsiteY9" fmla="*/ 5622 h 7176"/>
                          <a:gd name="connsiteX10" fmla="*/ 4007 w 6997"/>
                          <a:gd name="connsiteY10" fmla="*/ 5801 h 7176"/>
                          <a:gd name="connsiteX11" fmla="*/ 3528 w 6997"/>
                          <a:gd name="connsiteY11" fmla="*/ 5921 h 7176"/>
                          <a:gd name="connsiteX12" fmla="*/ 3050 w 6997"/>
                          <a:gd name="connsiteY12" fmla="*/ 5981 h 7176"/>
                          <a:gd name="connsiteX13" fmla="*/ 2751 w 6997"/>
                          <a:gd name="connsiteY13" fmla="*/ 5921 h 7176"/>
                          <a:gd name="connsiteX14" fmla="*/ 2452 w 6997"/>
                          <a:gd name="connsiteY14" fmla="*/ 5801 h 7176"/>
                          <a:gd name="connsiteX15" fmla="*/ 2153 w 6997"/>
                          <a:gd name="connsiteY15" fmla="*/ 5682 h 7176"/>
                          <a:gd name="connsiteX16" fmla="*/ 1914 w 6997"/>
                          <a:gd name="connsiteY16" fmla="*/ 5502 h 7176"/>
                          <a:gd name="connsiteX17" fmla="*/ 1794 w 6997"/>
                          <a:gd name="connsiteY17" fmla="*/ 5443 h 7176"/>
                          <a:gd name="connsiteX18" fmla="*/ 1674 w 6997"/>
                          <a:gd name="connsiteY18" fmla="*/ 5383 h 7176"/>
                          <a:gd name="connsiteX19" fmla="*/ 1615 w 6997"/>
                          <a:gd name="connsiteY19" fmla="*/ 5263 h 7176"/>
                          <a:gd name="connsiteX20" fmla="*/ 1555 w 6997"/>
                          <a:gd name="connsiteY20" fmla="*/ 5143 h 7176"/>
                          <a:gd name="connsiteX21" fmla="*/ 1316 w 6997"/>
                          <a:gd name="connsiteY21" fmla="*/ 4725 h 7176"/>
                          <a:gd name="connsiteX22" fmla="*/ 1196 w 6997"/>
                          <a:gd name="connsiteY22" fmla="*/ 4306 h 7176"/>
                          <a:gd name="connsiteX23" fmla="*/ 1136 w 6997"/>
                          <a:gd name="connsiteY23" fmla="*/ 3828 h 7176"/>
                          <a:gd name="connsiteX24" fmla="*/ 1196 w 6997"/>
                          <a:gd name="connsiteY24" fmla="*/ 3349 h 7176"/>
                          <a:gd name="connsiteX25" fmla="*/ 1316 w 6997"/>
                          <a:gd name="connsiteY25" fmla="*/ 2871 h 7176"/>
                          <a:gd name="connsiteX26" fmla="*/ 1555 w 6997"/>
                          <a:gd name="connsiteY26" fmla="*/ 2452 h 7176"/>
                          <a:gd name="connsiteX27" fmla="*/ 1854 w 6997"/>
                          <a:gd name="connsiteY27" fmla="*/ 2034 h 7176"/>
                          <a:gd name="connsiteX28" fmla="*/ 2213 w 6997"/>
                          <a:gd name="connsiteY28" fmla="*/ 1675 h 7176"/>
                          <a:gd name="connsiteX29" fmla="*/ 2632 w 6997"/>
                          <a:gd name="connsiteY29" fmla="*/ 1375 h 7176"/>
                          <a:gd name="connsiteX30" fmla="*/ 3050 w 6997"/>
                          <a:gd name="connsiteY30" fmla="*/ 1196 h 7176"/>
                          <a:gd name="connsiteX31" fmla="*/ 3528 w 6997"/>
                          <a:gd name="connsiteY31" fmla="*/ 1076 h 7176"/>
                          <a:gd name="connsiteX32" fmla="*/ 4007 w 6997"/>
                          <a:gd name="connsiteY32" fmla="*/ 1076 h 7176"/>
                          <a:gd name="connsiteX33" fmla="*/ 4306 w 6997"/>
                          <a:gd name="connsiteY33" fmla="*/ 1136 h 7176"/>
                          <a:gd name="connsiteX34" fmla="*/ 4605 w 6997"/>
                          <a:gd name="connsiteY34" fmla="*/ 1256 h 7176"/>
                          <a:gd name="connsiteX35" fmla="*/ 4904 w 6997"/>
                          <a:gd name="connsiteY35" fmla="*/ 1375 h 7176"/>
                          <a:gd name="connsiteX36" fmla="*/ 5143 w 6997"/>
                          <a:gd name="connsiteY36" fmla="*/ 1615 h 7176"/>
                          <a:gd name="connsiteX37" fmla="*/ 1196 w 6997"/>
                          <a:gd name="connsiteY37" fmla="*/ 6579 h 7176"/>
                          <a:gd name="connsiteX38" fmla="*/ 1555 w 6997"/>
                          <a:gd name="connsiteY38" fmla="*/ 6818 h 7176"/>
                          <a:gd name="connsiteX39" fmla="*/ 1974 w 6997"/>
                          <a:gd name="connsiteY39" fmla="*/ 6997 h 7176"/>
                          <a:gd name="connsiteX40" fmla="*/ 2392 w 6997"/>
                          <a:gd name="connsiteY40" fmla="*/ 7117 h 7176"/>
                          <a:gd name="connsiteX41" fmla="*/ 2871 w 6997"/>
                          <a:gd name="connsiteY41" fmla="*/ 7177 h 7176"/>
                          <a:gd name="connsiteX42" fmla="*/ 3528 w 6997"/>
                          <a:gd name="connsiteY42" fmla="*/ 7177 h 7176"/>
                          <a:gd name="connsiteX43" fmla="*/ 4187 w 6997"/>
                          <a:gd name="connsiteY43" fmla="*/ 6997 h 7176"/>
                          <a:gd name="connsiteX44" fmla="*/ 4844 w 6997"/>
                          <a:gd name="connsiteY44" fmla="*/ 6698 h 7176"/>
                          <a:gd name="connsiteX45" fmla="*/ 5442 w 6997"/>
                          <a:gd name="connsiteY45" fmla="*/ 6280 h 7176"/>
                          <a:gd name="connsiteX46" fmla="*/ 6340 w 6997"/>
                          <a:gd name="connsiteY46" fmla="*/ 5263 h 7176"/>
                          <a:gd name="connsiteX47" fmla="*/ 6878 w 6997"/>
                          <a:gd name="connsiteY47" fmla="*/ 4067 h 7176"/>
                          <a:gd name="connsiteX48" fmla="*/ 6997 w 6997"/>
                          <a:gd name="connsiteY48" fmla="*/ 2811 h 7176"/>
                          <a:gd name="connsiteX49" fmla="*/ 6639 w 6997"/>
                          <a:gd name="connsiteY49" fmla="*/ 1615 h 7176"/>
                          <a:gd name="connsiteX50" fmla="*/ 6579 w 6997"/>
                          <a:gd name="connsiteY50" fmla="*/ 1495 h 7176"/>
                          <a:gd name="connsiteX51" fmla="*/ 6519 w 6997"/>
                          <a:gd name="connsiteY51" fmla="*/ 1375 h 7176"/>
                          <a:gd name="connsiteX52" fmla="*/ 6459 w 6997"/>
                          <a:gd name="connsiteY52" fmla="*/ 1256 h 7176"/>
                          <a:gd name="connsiteX53" fmla="*/ 6399 w 6997"/>
                          <a:gd name="connsiteY53" fmla="*/ 1136 h 7176"/>
                          <a:gd name="connsiteX54" fmla="*/ 5801 w 6997"/>
                          <a:gd name="connsiteY54" fmla="*/ 538 h 7176"/>
                          <a:gd name="connsiteX55" fmla="*/ 5502 w 6997"/>
                          <a:gd name="connsiteY55" fmla="*/ 359 h 7176"/>
                          <a:gd name="connsiteX56" fmla="*/ 5143 w 6997"/>
                          <a:gd name="connsiteY56" fmla="*/ 180 h 7176"/>
                          <a:gd name="connsiteX57" fmla="*/ 4785 w 6997"/>
                          <a:gd name="connsiteY57" fmla="*/ 60 h 7176"/>
                          <a:gd name="connsiteX58" fmla="*/ 4426 w 6997"/>
                          <a:gd name="connsiteY58" fmla="*/ 0 h 7176"/>
                          <a:gd name="connsiteX59" fmla="*/ 4366 w 6997"/>
                          <a:gd name="connsiteY59" fmla="*/ 0 h 7176"/>
                          <a:gd name="connsiteX60" fmla="*/ 4306 w 6997"/>
                          <a:gd name="connsiteY60" fmla="*/ 0 h 7176"/>
                          <a:gd name="connsiteX61" fmla="*/ 4246 w 6997"/>
                          <a:gd name="connsiteY61" fmla="*/ 0 h 7176"/>
                          <a:gd name="connsiteX62" fmla="*/ 4187 w 6997"/>
                          <a:gd name="connsiteY62" fmla="*/ 0 h 7176"/>
                          <a:gd name="connsiteX63" fmla="*/ 3768 w 6997"/>
                          <a:gd name="connsiteY63" fmla="*/ 0 h 7176"/>
                          <a:gd name="connsiteX64" fmla="*/ 3349 w 6997"/>
                          <a:gd name="connsiteY64" fmla="*/ 60 h 7176"/>
                          <a:gd name="connsiteX65" fmla="*/ 2930 w 6997"/>
                          <a:gd name="connsiteY65" fmla="*/ 180 h 7176"/>
                          <a:gd name="connsiteX66" fmla="*/ 2572 w 6997"/>
                          <a:gd name="connsiteY66" fmla="*/ 299 h 7176"/>
                          <a:gd name="connsiteX67" fmla="*/ 2273 w 6997"/>
                          <a:gd name="connsiteY67" fmla="*/ 419 h 7176"/>
                          <a:gd name="connsiteX68" fmla="*/ 1974 w 6997"/>
                          <a:gd name="connsiteY68" fmla="*/ 538 h 7176"/>
                          <a:gd name="connsiteX69" fmla="*/ 1734 w 6997"/>
                          <a:gd name="connsiteY69" fmla="*/ 718 h 7176"/>
                          <a:gd name="connsiteX70" fmla="*/ 1495 w 6997"/>
                          <a:gd name="connsiteY70" fmla="*/ 897 h 7176"/>
                          <a:gd name="connsiteX71" fmla="*/ 957 w 6997"/>
                          <a:gd name="connsiteY71" fmla="*/ 1435 h 7176"/>
                          <a:gd name="connsiteX72" fmla="*/ 538 w 6997"/>
                          <a:gd name="connsiteY72" fmla="*/ 2034 h 7176"/>
                          <a:gd name="connsiteX73" fmla="*/ 239 w 6997"/>
                          <a:gd name="connsiteY73" fmla="*/ 2691 h 7176"/>
                          <a:gd name="connsiteX74" fmla="*/ 60 w 6997"/>
                          <a:gd name="connsiteY74" fmla="*/ 3409 h 7176"/>
                          <a:gd name="connsiteX75" fmla="*/ 0 w 6997"/>
                          <a:gd name="connsiteY75" fmla="*/ 4127 h 7176"/>
                          <a:gd name="connsiteX76" fmla="*/ 60 w 6997"/>
                          <a:gd name="connsiteY76" fmla="*/ 4785 h 7176"/>
                          <a:gd name="connsiteX77" fmla="*/ 239 w 6997"/>
                          <a:gd name="connsiteY77" fmla="*/ 5443 h 7176"/>
                          <a:gd name="connsiteX78" fmla="*/ 538 w 6997"/>
                          <a:gd name="connsiteY78" fmla="*/ 6041 h 7176"/>
                          <a:gd name="connsiteX79" fmla="*/ 658 w 6997"/>
                          <a:gd name="connsiteY79" fmla="*/ 6220 h 7176"/>
                          <a:gd name="connsiteX80" fmla="*/ 778 w 6997"/>
                          <a:gd name="connsiteY80" fmla="*/ 6340 h 7176"/>
                          <a:gd name="connsiteX81" fmla="*/ 897 w 6997"/>
                          <a:gd name="connsiteY81" fmla="*/ 6459 h 7176"/>
                          <a:gd name="connsiteX82" fmla="*/ 1196 w 6997"/>
                          <a:gd name="connsiteY82" fmla="*/ 6579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997" h="7176">
                            <a:moveTo>
                              <a:pt x="5143" y="1615"/>
                            </a:moveTo>
                            <a:cubicBezTo>
                              <a:pt x="5203" y="1615"/>
                              <a:pt x="5203" y="1675"/>
                              <a:pt x="5263" y="1675"/>
                            </a:cubicBezTo>
                            <a:cubicBezTo>
                              <a:pt x="5323" y="1675"/>
                              <a:pt x="5323" y="1735"/>
                              <a:pt x="5382" y="1735"/>
                            </a:cubicBezTo>
                            <a:cubicBezTo>
                              <a:pt x="5442" y="1735"/>
                              <a:pt x="5442" y="1794"/>
                              <a:pt x="5442" y="1854"/>
                            </a:cubicBezTo>
                            <a:cubicBezTo>
                              <a:pt x="5442" y="1914"/>
                              <a:pt x="5502" y="1914"/>
                              <a:pt x="5502" y="1974"/>
                            </a:cubicBezTo>
                            <a:cubicBezTo>
                              <a:pt x="5682" y="2213"/>
                              <a:pt x="5801" y="2512"/>
                              <a:pt x="5861" y="2811"/>
                            </a:cubicBezTo>
                            <a:cubicBezTo>
                              <a:pt x="5921" y="3110"/>
                              <a:pt x="5921" y="3409"/>
                              <a:pt x="5861" y="3708"/>
                            </a:cubicBezTo>
                            <a:cubicBezTo>
                              <a:pt x="5801" y="4007"/>
                              <a:pt x="5682" y="4306"/>
                              <a:pt x="5502" y="4605"/>
                            </a:cubicBezTo>
                            <a:cubicBezTo>
                              <a:pt x="5323" y="4904"/>
                              <a:pt x="5083" y="5143"/>
                              <a:pt x="4844" y="5383"/>
                            </a:cubicBezTo>
                            <a:cubicBezTo>
                              <a:pt x="4725" y="5502"/>
                              <a:pt x="4605" y="5562"/>
                              <a:pt x="4426" y="5622"/>
                            </a:cubicBezTo>
                            <a:cubicBezTo>
                              <a:pt x="4306" y="5682"/>
                              <a:pt x="4127" y="5742"/>
                              <a:pt x="4007" y="5801"/>
                            </a:cubicBezTo>
                            <a:cubicBezTo>
                              <a:pt x="3887" y="5861"/>
                              <a:pt x="3708" y="5861"/>
                              <a:pt x="3528" y="5921"/>
                            </a:cubicBezTo>
                            <a:cubicBezTo>
                              <a:pt x="3349" y="5921"/>
                              <a:pt x="3229" y="5981"/>
                              <a:pt x="3050" y="5981"/>
                            </a:cubicBezTo>
                            <a:cubicBezTo>
                              <a:pt x="2930" y="5981"/>
                              <a:pt x="2811" y="5921"/>
                              <a:pt x="2751" y="5921"/>
                            </a:cubicBezTo>
                            <a:cubicBezTo>
                              <a:pt x="2691" y="5921"/>
                              <a:pt x="2572" y="5861"/>
                              <a:pt x="2452" y="5801"/>
                            </a:cubicBezTo>
                            <a:cubicBezTo>
                              <a:pt x="2333" y="5742"/>
                              <a:pt x="2273" y="5742"/>
                              <a:pt x="2153" y="5682"/>
                            </a:cubicBezTo>
                            <a:cubicBezTo>
                              <a:pt x="2093" y="5622"/>
                              <a:pt x="1974" y="5562"/>
                              <a:pt x="1914" y="5502"/>
                            </a:cubicBezTo>
                            <a:cubicBezTo>
                              <a:pt x="1854" y="5502"/>
                              <a:pt x="1854" y="5443"/>
                              <a:pt x="1794" y="5443"/>
                            </a:cubicBezTo>
                            <a:cubicBezTo>
                              <a:pt x="1734" y="5443"/>
                              <a:pt x="1734" y="5383"/>
                              <a:pt x="1674" y="5383"/>
                            </a:cubicBezTo>
                            <a:cubicBezTo>
                              <a:pt x="1615" y="5383"/>
                              <a:pt x="1615" y="5323"/>
                              <a:pt x="1615" y="5263"/>
                            </a:cubicBezTo>
                            <a:cubicBezTo>
                              <a:pt x="1615" y="5203"/>
                              <a:pt x="1555" y="5203"/>
                              <a:pt x="1555" y="5143"/>
                            </a:cubicBezTo>
                            <a:cubicBezTo>
                              <a:pt x="1435" y="5024"/>
                              <a:pt x="1375" y="4904"/>
                              <a:pt x="1316" y="4725"/>
                            </a:cubicBezTo>
                            <a:cubicBezTo>
                              <a:pt x="1256" y="4605"/>
                              <a:pt x="1196" y="4426"/>
                              <a:pt x="1196" y="4306"/>
                            </a:cubicBezTo>
                            <a:cubicBezTo>
                              <a:pt x="1196" y="4187"/>
                              <a:pt x="1136" y="4007"/>
                              <a:pt x="1136" y="3828"/>
                            </a:cubicBezTo>
                            <a:cubicBezTo>
                              <a:pt x="1136" y="3648"/>
                              <a:pt x="1136" y="3529"/>
                              <a:pt x="1196" y="3349"/>
                            </a:cubicBezTo>
                            <a:cubicBezTo>
                              <a:pt x="1196" y="3170"/>
                              <a:pt x="1256" y="3050"/>
                              <a:pt x="1316" y="2871"/>
                            </a:cubicBezTo>
                            <a:cubicBezTo>
                              <a:pt x="1375" y="2691"/>
                              <a:pt x="1435" y="2572"/>
                              <a:pt x="1555" y="2452"/>
                            </a:cubicBezTo>
                            <a:cubicBezTo>
                              <a:pt x="1674" y="2333"/>
                              <a:pt x="1734" y="2153"/>
                              <a:pt x="1854" y="2034"/>
                            </a:cubicBezTo>
                            <a:cubicBezTo>
                              <a:pt x="1974" y="1914"/>
                              <a:pt x="2093" y="1794"/>
                              <a:pt x="2213" y="1675"/>
                            </a:cubicBezTo>
                            <a:cubicBezTo>
                              <a:pt x="2333" y="1555"/>
                              <a:pt x="2452" y="1495"/>
                              <a:pt x="2632" y="1375"/>
                            </a:cubicBezTo>
                            <a:cubicBezTo>
                              <a:pt x="2811" y="1256"/>
                              <a:pt x="2930" y="1256"/>
                              <a:pt x="3050" y="1196"/>
                            </a:cubicBezTo>
                            <a:cubicBezTo>
                              <a:pt x="3170" y="1136"/>
                              <a:pt x="3349" y="1136"/>
                              <a:pt x="3528" y="1076"/>
                            </a:cubicBezTo>
                            <a:cubicBezTo>
                              <a:pt x="3708" y="1076"/>
                              <a:pt x="3828" y="1076"/>
                              <a:pt x="4007" y="1076"/>
                            </a:cubicBezTo>
                            <a:cubicBezTo>
                              <a:pt x="4127" y="1076"/>
                              <a:pt x="4246" y="1136"/>
                              <a:pt x="4306" y="1136"/>
                            </a:cubicBezTo>
                            <a:cubicBezTo>
                              <a:pt x="4426" y="1136"/>
                              <a:pt x="4486" y="1196"/>
                              <a:pt x="4605" y="1256"/>
                            </a:cubicBezTo>
                            <a:cubicBezTo>
                              <a:pt x="4725" y="1316"/>
                              <a:pt x="4785" y="1316"/>
                              <a:pt x="4904" y="1375"/>
                            </a:cubicBezTo>
                            <a:cubicBezTo>
                              <a:pt x="4964" y="1495"/>
                              <a:pt x="5083" y="1555"/>
                              <a:pt x="5143" y="1615"/>
                            </a:cubicBezTo>
                            <a:moveTo>
                              <a:pt x="1196" y="6579"/>
                            </a:moveTo>
                            <a:cubicBezTo>
                              <a:pt x="1316" y="6639"/>
                              <a:pt x="1435" y="6758"/>
                              <a:pt x="1555" y="6818"/>
                            </a:cubicBezTo>
                            <a:cubicBezTo>
                              <a:pt x="1674" y="6878"/>
                              <a:pt x="1794" y="6938"/>
                              <a:pt x="1974" y="6997"/>
                            </a:cubicBezTo>
                            <a:cubicBezTo>
                              <a:pt x="2093" y="7057"/>
                              <a:pt x="2273" y="7117"/>
                              <a:pt x="2392" y="7117"/>
                            </a:cubicBezTo>
                            <a:cubicBezTo>
                              <a:pt x="2512" y="7177"/>
                              <a:pt x="2691" y="7177"/>
                              <a:pt x="2871" y="7177"/>
                            </a:cubicBezTo>
                            <a:cubicBezTo>
                              <a:pt x="3110" y="7177"/>
                              <a:pt x="3349" y="7177"/>
                              <a:pt x="3528" y="7177"/>
                            </a:cubicBezTo>
                            <a:cubicBezTo>
                              <a:pt x="3708" y="7177"/>
                              <a:pt x="4007" y="7117"/>
                              <a:pt x="4187" y="6997"/>
                            </a:cubicBezTo>
                            <a:cubicBezTo>
                              <a:pt x="4426" y="6938"/>
                              <a:pt x="4605" y="6818"/>
                              <a:pt x="4844" y="6698"/>
                            </a:cubicBezTo>
                            <a:cubicBezTo>
                              <a:pt x="5083" y="6579"/>
                              <a:pt x="5263" y="6459"/>
                              <a:pt x="5442" y="6280"/>
                            </a:cubicBezTo>
                            <a:cubicBezTo>
                              <a:pt x="5801" y="5981"/>
                              <a:pt x="6100" y="5622"/>
                              <a:pt x="6340" y="5263"/>
                            </a:cubicBezTo>
                            <a:cubicBezTo>
                              <a:pt x="6579" y="4904"/>
                              <a:pt x="6758" y="4486"/>
                              <a:pt x="6878" y="4067"/>
                            </a:cubicBezTo>
                            <a:cubicBezTo>
                              <a:pt x="6997" y="3648"/>
                              <a:pt x="6997" y="3230"/>
                              <a:pt x="6997" y="2811"/>
                            </a:cubicBezTo>
                            <a:cubicBezTo>
                              <a:pt x="6937" y="2392"/>
                              <a:pt x="6878" y="1974"/>
                              <a:pt x="6639" y="1615"/>
                            </a:cubicBezTo>
                            <a:cubicBezTo>
                              <a:pt x="6639" y="1555"/>
                              <a:pt x="6579" y="1555"/>
                              <a:pt x="6579" y="1495"/>
                            </a:cubicBezTo>
                            <a:cubicBezTo>
                              <a:pt x="6579" y="1435"/>
                              <a:pt x="6519" y="1435"/>
                              <a:pt x="6519" y="1375"/>
                            </a:cubicBezTo>
                            <a:cubicBezTo>
                              <a:pt x="6519" y="1316"/>
                              <a:pt x="6459" y="1316"/>
                              <a:pt x="6459" y="1256"/>
                            </a:cubicBezTo>
                            <a:cubicBezTo>
                              <a:pt x="6459" y="1196"/>
                              <a:pt x="6399" y="1196"/>
                              <a:pt x="6399" y="1136"/>
                            </a:cubicBezTo>
                            <a:lnTo>
                              <a:pt x="5801" y="538"/>
                            </a:lnTo>
                            <a:cubicBezTo>
                              <a:pt x="5682" y="479"/>
                              <a:pt x="5622" y="419"/>
                              <a:pt x="5502" y="359"/>
                            </a:cubicBezTo>
                            <a:cubicBezTo>
                              <a:pt x="5382" y="299"/>
                              <a:pt x="5263" y="239"/>
                              <a:pt x="5143" y="180"/>
                            </a:cubicBezTo>
                            <a:cubicBezTo>
                              <a:pt x="5024" y="120"/>
                              <a:pt x="4904" y="60"/>
                              <a:pt x="4785" y="60"/>
                            </a:cubicBezTo>
                            <a:cubicBezTo>
                              <a:pt x="4665" y="60"/>
                              <a:pt x="4545" y="0"/>
                              <a:pt x="4426" y="0"/>
                            </a:cubicBezTo>
                            <a:cubicBezTo>
                              <a:pt x="4426" y="0"/>
                              <a:pt x="4366" y="0"/>
                              <a:pt x="4366" y="0"/>
                            </a:cubicBezTo>
                            <a:cubicBezTo>
                              <a:pt x="4366" y="0"/>
                              <a:pt x="4306" y="0"/>
                              <a:pt x="4306" y="0"/>
                            </a:cubicBezTo>
                            <a:cubicBezTo>
                              <a:pt x="4306" y="0"/>
                              <a:pt x="4246" y="0"/>
                              <a:pt x="4246" y="0"/>
                            </a:cubicBezTo>
                            <a:cubicBezTo>
                              <a:pt x="4246" y="0"/>
                              <a:pt x="4187" y="0"/>
                              <a:pt x="4187" y="0"/>
                            </a:cubicBezTo>
                            <a:cubicBezTo>
                              <a:pt x="4067" y="0"/>
                              <a:pt x="3947" y="0"/>
                              <a:pt x="3768" y="0"/>
                            </a:cubicBezTo>
                            <a:cubicBezTo>
                              <a:pt x="3648" y="0"/>
                              <a:pt x="3528" y="0"/>
                              <a:pt x="3349" y="60"/>
                            </a:cubicBezTo>
                            <a:cubicBezTo>
                              <a:pt x="3229" y="60"/>
                              <a:pt x="3110" y="120"/>
                              <a:pt x="2930" y="180"/>
                            </a:cubicBezTo>
                            <a:cubicBezTo>
                              <a:pt x="2811" y="239"/>
                              <a:pt x="2691" y="239"/>
                              <a:pt x="2572" y="299"/>
                            </a:cubicBezTo>
                            <a:cubicBezTo>
                              <a:pt x="2452" y="359"/>
                              <a:pt x="2392" y="359"/>
                              <a:pt x="2273" y="419"/>
                            </a:cubicBezTo>
                            <a:cubicBezTo>
                              <a:pt x="2153" y="479"/>
                              <a:pt x="2093" y="538"/>
                              <a:pt x="1974" y="538"/>
                            </a:cubicBezTo>
                            <a:cubicBezTo>
                              <a:pt x="1854" y="538"/>
                              <a:pt x="1794" y="658"/>
                              <a:pt x="1734" y="718"/>
                            </a:cubicBezTo>
                            <a:cubicBezTo>
                              <a:pt x="1674" y="778"/>
                              <a:pt x="1555" y="837"/>
                              <a:pt x="1495" y="897"/>
                            </a:cubicBezTo>
                            <a:cubicBezTo>
                              <a:pt x="1316" y="1076"/>
                              <a:pt x="1136" y="1256"/>
                              <a:pt x="957" y="1435"/>
                            </a:cubicBezTo>
                            <a:cubicBezTo>
                              <a:pt x="778" y="1615"/>
                              <a:pt x="658" y="1794"/>
                              <a:pt x="538" y="2034"/>
                            </a:cubicBezTo>
                            <a:cubicBezTo>
                              <a:pt x="419" y="2213"/>
                              <a:pt x="299" y="2452"/>
                              <a:pt x="239" y="2691"/>
                            </a:cubicBezTo>
                            <a:cubicBezTo>
                              <a:pt x="179" y="2930"/>
                              <a:pt x="120" y="3170"/>
                              <a:pt x="60" y="3409"/>
                            </a:cubicBezTo>
                            <a:cubicBezTo>
                              <a:pt x="0" y="3648"/>
                              <a:pt x="0" y="3888"/>
                              <a:pt x="0" y="4127"/>
                            </a:cubicBezTo>
                            <a:cubicBezTo>
                              <a:pt x="0" y="4366"/>
                              <a:pt x="0" y="4605"/>
                              <a:pt x="60" y="4785"/>
                            </a:cubicBezTo>
                            <a:cubicBezTo>
                              <a:pt x="120" y="5024"/>
                              <a:pt x="179" y="5203"/>
                              <a:pt x="239" y="5443"/>
                            </a:cubicBezTo>
                            <a:cubicBezTo>
                              <a:pt x="299" y="5622"/>
                              <a:pt x="419" y="5861"/>
                              <a:pt x="538" y="6041"/>
                            </a:cubicBezTo>
                            <a:cubicBezTo>
                              <a:pt x="598" y="6100"/>
                              <a:pt x="598" y="6160"/>
                              <a:pt x="658" y="6220"/>
                            </a:cubicBezTo>
                            <a:cubicBezTo>
                              <a:pt x="718" y="6280"/>
                              <a:pt x="718" y="6340"/>
                              <a:pt x="778" y="6340"/>
                            </a:cubicBezTo>
                            <a:cubicBezTo>
                              <a:pt x="837" y="6340"/>
                              <a:pt x="897" y="6459"/>
                              <a:pt x="897" y="6459"/>
                            </a:cubicBezTo>
                            <a:cubicBezTo>
                              <a:pt x="1076" y="6459"/>
                              <a:pt x="1136" y="6519"/>
                              <a:pt x="1196" y="6579"/>
                            </a:cubicBezTo>
                          </a:path>
                        </a:pathLst>
                      </a:custGeom>
                      <a:noFill/>
                      <a:ln w="6350" cap="flat">
                        <a:solidFill>
                          <a:schemeClr val="bg1">
                            <a:alpha val="40000"/>
                          </a:schemeClr>
                        </a:solidFill>
                        <a:prstDash val="solid"/>
                        <a:miter/>
                      </a:ln>
                    </p:spPr>
                    <p:txBody>
                      <a:bodyPr rtlCol="0" anchor="ctr"/>
                      <a:lstStyle/>
                      <a:p>
                        <a:endParaRPr lang="en-GB"/>
                      </a:p>
                    </p:txBody>
                  </p:sp>
                  <p:sp>
                    <p:nvSpPr>
                      <p:cNvPr id="7511" name="Vrije vorm: vorm 7510">
                        <a:extLst>
                          <a:ext uri="{FF2B5EF4-FFF2-40B4-BE49-F238E27FC236}">
                            <a16:creationId xmlns:a16="http://schemas.microsoft.com/office/drawing/2014/main" id="{CD81BD90-8FB1-48BF-8981-03CD942D2C59}"/>
                          </a:ext>
                        </a:extLst>
                      </p:cNvPr>
                      <p:cNvSpPr/>
                      <p:nvPr/>
                    </p:nvSpPr>
                    <p:spPr>
                      <a:xfrm>
                        <a:off x="5009950" y="5096751"/>
                        <a:ext cx="6818" cy="7117"/>
                      </a:xfrm>
                      <a:custGeom>
                        <a:avLst/>
                        <a:gdLst>
                          <a:gd name="connsiteX0" fmla="*/ 4844 w 6818"/>
                          <a:gd name="connsiteY0" fmla="*/ 1615 h 7117"/>
                          <a:gd name="connsiteX1" fmla="*/ 4964 w 6818"/>
                          <a:gd name="connsiteY1" fmla="*/ 1675 h 7117"/>
                          <a:gd name="connsiteX2" fmla="*/ 5084 w 6818"/>
                          <a:gd name="connsiteY2" fmla="*/ 1735 h 7117"/>
                          <a:gd name="connsiteX3" fmla="*/ 5144 w 6818"/>
                          <a:gd name="connsiteY3" fmla="*/ 1854 h 7117"/>
                          <a:gd name="connsiteX4" fmla="*/ 5203 w 6818"/>
                          <a:gd name="connsiteY4" fmla="*/ 1974 h 7117"/>
                          <a:gd name="connsiteX5" fmla="*/ 5443 w 6818"/>
                          <a:gd name="connsiteY5" fmla="*/ 2392 h 7117"/>
                          <a:gd name="connsiteX6" fmla="*/ 5562 w 6818"/>
                          <a:gd name="connsiteY6" fmla="*/ 2811 h 7117"/>
                          <a:gd name="connsiteX7" fmla="*/ 5622 w 6818"/>
                          <a:gd name="connsiteY7" fmla="*/ 3289 h 7117"/>
                          <a:gd name="connsiteX8" fmla="*/ 5562 w 6818"/>
                          <a:gd name="connsiteY8" fmla="*/ 3768 h 7117"/>
                          <a:gd name="connsiteX9" fmla="*/ 5203 w 6818"/>
                          <a:gd name="connsiteY9" fmla="*/ 4665 h 7117"/>
                          <a:gd name="connsiteX10" fmla="*/ 4545 w 6818"/>
                          <a:gd name="connsiteY10" fmla="*/ 5383 h 7117"/>
                          <a:gd name="connsiteX11" fmla="*/ 3708 w 6818"/>
                          <a:gd name="connsiteY11" fmla="*/ 5861 h 7117"/>
                          <a:gd name="connsiteX12" fmla="*/ 2751 w 6818"/>
                          <a:gd name="connsiteY12" fmla="*/ 5981 h 7117"/>
                          <a:gd name="connsiteX13" fmla="*/ 2452 w 6818"/>
                          <a:gd name="connsiteY13" fmla="*/ 5921 h 7117"/>
                          <a:gd name="connsiteX14" fmla="*/ 2153 w 6818"/>
                          <a:gd name="connsiteY14" fmla="*/ 5861 h 7117"/>
                          <a:gd name="connsiteX15" fmla="*/ 1914 w 6818"/>
                          <a:gd name="connsiteY15" fmla="*/ 5742 h 7117"/>
                          <a:gd name="connsiteX16" fmla="*/ 1675 w 6818"/>
                          <a:gd name="connsiteY16" fmla="*/ 5562 h 7117"/>
                          <a:gd name="connsiteX17" fmla="*/ 1316 w 6818"/>
                          <a:gd name="connsiteY17" fmla="*/ 5143 h 7117"/>
                          <a:gd name="connsiteX18" fmla="*/ 1076 w 6818"/>
                          <a:gd name="connsiteY18" fmla="*/ 4665 h 7117"/>
                          <a:gd name="connsiteX19" fmla="*/ 957 w 6818"/>
                          <a:gd name="connsiteY19" fmla="*/ 4067 h 7117"/>
                          <a:gd name="connsiteX20" fmla="*/ 1017 w 6818"/>
                          <a:gd name="connsiteY20" fmla="*/ 3409 h 7117"/>
                          <a:gd name="connsiteX21" fmla="*/ 1136 w 6818"/>
                          <a:gd name="connsiteY21" fmla="*/ 2930 h 7117"/>
                          <a:gd name="connsiteX22" fmla="*/ 1376 w 6818"/>
                          <a:gd name="connsiteY22" fmla="*/ 2512 h 7117"/>
                          <a:gd name="connsiteX23" fmla="*/ 1675 w 6818"/>
                          <a:gd name="connsiteY23" fmla="*/ 2093 h 7117"/>
                          <a:gd name="connsiteX24" fmla="*/ 2034 w 6818"/>
                          <a:gd name="connsiteY24" fmla="*/ 1735 h 7117"/>
                          <a:gd name="connsiteX25" fmla="*/ 2452 w 6818"/>
                          <a:gd name="connsiteY25" fmla="*/ 1495 h 7117"/>
                          <a:gd name="connsiteX26" fmla="*/ 2871 w 6818"/>
                          <a:gd name="connsiteY26" fmla="*/ 1316 h 7117"/>
                          <a:gd name="connsiteX27" fmla="*/ 3349 w 6818"/>
                          <a:gd name="connsiteY27" fmla="*/ 1196 h 7117"/>
                          <a:gd name="connsiteX28" fmla="*/ 3828 w 6818"/>
                          <a:gd name="connsiteY28" fmla="*/ 1136 h 7117"/>
                          <a:gd name="connsiteX29" fmla="*/ 4127 w 6818"/>
                          <a:gd name="connsiteY29" fmla="*/ 1196 h 7117"/>
                          <a:gd name="connsiteX30" fmla="*/ 4426 w 6818"/>
                          <a:gd name="connsiteY30" fmla="*/ 1316 h 7117"/>
                          <a:gd name="connsiteX31" fmla="*/ 4725 w 6818"/>
                          <a:gd name="connsiteY31" fmla="*/ 1435 h 7117"/>
                          <a:gd name="connsiteX32" fmla="*/ 4844 w 6818"/>
                          <a:gd name="connsiteY32" fmla="*/ 1615 h 7117"/>
                          <a:gd name="connsiteX33" fmla="*/ 957 w 6818"/>
                          <a:gd name="connsiteY33" fmla="*/ 6519 h 7117"/>
                          <a:gd name="connsiteX34" fmla="*/ 1316 w 6818"/>
                          <a:gd name="connsiteY34" fmla="*/ 6758 h 7117"/>
                          <a:gd name="connsiteX35" fmla="*/ 1735 w 6818"/>
                          <a:gd name="connsiteY35" fmla="*/ 6938 h 7117"/>
                          <a:gd name="connsiteX36" fmla="*/ 2153 w 6818"/>
                          <a:gd name="connsiteY36" fmla="*/ 7057 h 7117"/>
                          <a:gd name="connsiteX37" fmla="*/ 2632 w 6818"/>
                          <a:gd name="connsiteY37" fmla="*/ 7117 h 7117"/>
                          <a:gd name="connsiteX38" fmla="*/ 4007 w 6818"/>
                          <a:gd name="connsiteY38" fmla="*/ 6878 h 7117"/>
                          <a:gd name="connsiteX39" fmla="*/ 5263 w 6818"/>
                          <a:gd name="connsiteY39" fmla="*/ 6160 h 7117"/>
                          <a:gd name="connsiteX40" fmla="*/ 6220 w 6818"/>
                          <a:gd name="connsiteY40" fmla="*/ 5084 h 7117"/>
                          <a:gd name="connsiteX41" fmla="*/ 6758 w 6818"/>
                          <a:gd name="connsiteY41" fmla="*/ 3708 h 7117"/>
                          <a:gd name="connsiteX42" fmla="*/ 6818 w 6818"/>
                          <a:gd name="connsiteY42" fmla="*/ 2751 h 7117"/>
                          <a:gd name="connsiteX43" fmla="*/ 6639 w 6818"/>
                          <a:gd name="connsiteY43" fmla="*/ 1914 h 7117"/>
                          <a:gd name="connsiteX44" fmla="*/ 6280 w 6818"/>
                          <a:gd name="connsiteY44" fmla="*/ 1196 h 7117"/>
                          <a:gd name="connsiteX45" fmla="*/ 5682 w 6818"/>
                          <a:gd name="connsiteY45" fmla="*/ 598 h 7117"/>
                          <a:gd name="connsiteX46" fmla="*/ 5323 w 6818"/>
                          <a:gd name="connsiteY46" fmla="*/ 359 h 7117"/>
                          <a:gd name="connsiteX47" fmla="*/ 4964 w 6818"/>
                          <a:gd name="connsiteY47" fmla="*/ 180 h 7117"/>
                          <a:gd name="connsiteX48" fmla="*/ 4545 w 6818"/>
                          <a:gd name="connsiteY48" fmla="*/ 60 h 7117"/>
                          <a:gd name="connsiteX49" fmla="*/ 4067 w 6818"/>
                          <a:gd name="connsiteY49" fmla="*/ 0 h 7117"/>
                          <a:gd name="connsiteX50" fmla="*/ 3409 w 6818"/>
                          <a:gd name="connsiteY50" fmla="*/ 0 h 7117"/>
                          <a:gd name="connsiteX51" fmla="*/ 2751 w 6818"/>
                          <a:gd name="connsiteY51" fmla="*/ 180 h 7117"/>
                          <a:gd name="connsiteX52" fmla="*/ 2093 w 6818"/>
                          <a:gd name="connsiteY52" fmla="*/ 479 h 7117"/>
                          <a:gd name="connsiteX53" fmla="*/ 1495 w 6818"/>
                          <a:gd name="connsiteY53" fmla="*/ 897 h 7117"/>
                          <a:gd name="connsiteX54" fmla="*/ 957 w 6818"/>
                          <a:gd name="connsiteY54" fmla="*/ 1376 h 7117"/>
                          <a:gd name="connsiteX55" fmla="*/ 538 w 6818"/>
                          <a:gd name="connsiteY55" fmla="*/ 1974 h 7117"/>
                          <a:gd name="connsiteX56" fmla="*/ 239 w 6818"/>
                          <a:gd name="connsiteY56" fmla="*/ 2632 h 7117"/>
                          <a:gd name="connsiteX57" fmla="*/ 60 w 6818"/>
                          <a:gd name="connsiteY57" fmla="*/ 3349 h 7117"/>
                          <a:gd name="connsiteX58" fmla="*/ 0 w 6818"/>
                          <a:gd name="connsiteY58" fmla="*/ 4306 h 7117"/>
                          <a:gd name="connsiteX59" fmla="*/ 180 w 6818"/>
                          <a:gd name="connsiteY59" fmla="*/ 5203 h 7117"/>
                          <a:gd name="connsiteX60" fmla="*/ 598 w 6818"/>
                          <a:gd name="connsiteY60" fmla="*/ 5981 h 7117"/>
                          <a:gd name="connsiteX61" fmla="*/ 957 w 6818"/>
                          <a:gd name="connsiteY61" fmla="*/ 6519 h 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6818" h="7117">
                            <a:moveTo>
                              <a:pt x="4844" y="1615"/>
                            </a:moveTo>
                            <a:cubicBezTo>
                              <a:pt x="4904" y="1615"/>
                              <a:pt x="4904" y="1675"/>
                              <a:pt x="4964" y="1675"/>
                            </a:cubicBezTo>
                            <a:cubicBezTo>
                              <a:pt x="5024" y="1675"/>
                              <a:pt x="5024" y="1735"/>
                              <a:pt x="5084" y="1735"/>
                            </a:cubicBezTo>
                            <a:cubicBezTo>
                              <a:pt x="5144" y="1794"/>
                              <a:pt x="5144" y="1794"/>
                              <a:pt x="5144" y="1854"/>
                            </a:cubicBezTo>
                            <a:cubicBezTo>
                              <a:pt x="5144" y="1914"/>
                              <a:pt x="5203" y="1914"/>
                              <a:pt x="5203" y="1974"/>
                            </a:cubicBezTo>
                            <a:cubicBezTo>
                              <a:pt x="5263" y="2093"/>
                              <a:pt x="5383" y="2213"/>
                              <a:pt x="5443" y="2392"/>
                            </a:cubicBezTo>
                            <a:cubicBezTo>
                              <a:pt x="5503" y="2572"/>
                              <a:pt x="5562" y="2691"/>
                              <a:pt x="5562" y="2811"/>
                            </a:cubicBezTo>
                            <a:cubicBezTo>
                              <a:pt x="5562" y="2930"/>
                              <a:pt x="5622" y="3110"/>
                              <a:pt x="5622" y="3289"/>
                            </a:cubicBezTo>
                            <a:cubicBezTo>
                              <a:pt x="5622" y="3469"/>
                              <a:pt x="5622" y="3589"/>
                              <a:pt x="5562" y="3768"/>
                            </a:cubicBezTo>
                            <a:cubicBezTo>
                              <a:pt x="5503" y="4127"/>
                              <a:pt x="5383" y="4426"/>
                              <a:pt x="5203" y="4665"/>
                            </a:cubicBezTo>
                            <a:cubicBezTo>
                              <a:pt x="5024" y="4964"/>
                              <a:pt x="4844" y="5203"/>
                              <a:pt x="4545" y="5383"/>
                            </a:cubicBezTo>
                            <a:cubicBezTo>
                              <a:pt x="4306" y="5562"/>
                              <a:pt x="4007" y="5742"/>
                              <a:pt x="3708" y="5861"/>
                            </a:cubicBezTo>
                            <a:cubicBezTo>
                              <a:pt x="3409" y="5981"/>
                              <a:pt x="3110" y="6041"/>
                              <a:pt x="2751" y="5981"/>
                            </a:cubicBezTo>
                            <a:cubicBezTo>
                              <a:pt x="2632" y="5981"/>
                              <a:pt x="2572" y="5981"/>
                              <a:pt x="2452" y="5921"/>
                            </a:cubicBezTo>
                            <a:cubicBezTo>
                              <a:pt x="2333" y="5861"/>
                              <a:pt x="2273" y="5861"/>
                              <a:pt x="2153" y="5861"/>
                            </a:cubicBezTo>
                            <a:cubicBezTo>
                              <a:pt x="2034" y="5801"/>
                              <a:pt x="1974" y="5801"/>
                              <a:pt x="1914" y="5742"/>
                            </a:cubicBezTo>
                            <a:cubicBezTo>
                              <a:pt x="1854" y="5682"/>
                              <a:pt x="1735" y="5622"/>
                              <a:pt x="1675" y="5562"/>
                            </a:cubicBezTo>
                            <a:cubicBezTo>
                              <a:pt x="1555" y="5443"/>
                              <a:pt x="1376" y="5323"/>
                              <a:pt x="1316" y="5143"/>
                            </a:cubicBezTo>
                            <a:cubicBezTo>
                              <a:pt x="1256" y="4964"/>
                              <a:pt x="1136" y="4844"/>
                              <a:pt x="1076" y="4665"/>
                            </a:cubicBezTo>
                            <a:cubicBezTo>
                              <a:pt x="1017" y="4486"/>
                              <a:pt x="957" y="4306"/>
                              <a:pt x="957" y="4067"/>
                            </a:cubicBezTo>
                            <a:cubicBezTo>
                              <a:pt x="957" y="3888"/>
                              <a:pt x="957" y="3648"/>
                              <a:pt x="1017" y="3409"/>
                            </a:cubicBezTo>
                            <a:cubicBezTo>
                              <a:pt x="1017" y="3230"/>
                              <a:pt x="1076" y="3110"/>
                              <a:pt x="1136" y="2930"/>
                            </a:cubicBezTo>
                            <a:cubicBezTo>
                              <a:pt x="1196" y="2751"/>
                              <a:pt x="1256" y="2632"/>
                              <a:pt x="1376" y="2512"/>
                            </a:cubicBezTo>
                            <a:cubicBezTo>
                              <a:pt x="1495" y="2392"/>
                              <a:pt x="1555" y="2213"/>
                              <a:pt x="1675" y="2093"/>
                            </a:cubicBezTo>
                            <a:cubicBezTo>
                              <a:pt x="1795" y="1974"/>
                              <a:pt x="1914" y="1854"/>
                              <a:pt x="2034" y="1735"/>
                            </a:cubicBezTo>
                            <a:cubicBezTo>
                              <a:pt x="2153" y="1615"/>
                              <a:pt x="2273" y="1555"/>
                              <a:pt x="2452" y="1495"/>
                            </a:cubicBezTo>
                            <a:cubicBezTo>
                              <a:pt x="2572" y="1435"/>
                              <a:pt x="2751" y="1376"/>
                              <a:pt x="2871" y="1316"/>
                            </a:cubicBezTo>
                            <a:cubicBezTo>
                              <a:pt x="2990" y="1256"/>
                              <a:pt x="3170" y="1256"/>
                              <a:pt x="3349" y="1196"/>
                            </a:cubicBezTo>
                            <a:cubicBezTo>
                              <a:pt x="3529" y="1196"/>
                              <a:pt x="3649" y="1136"/>
                              <a:pt x="3828" y="1136"/>
                            </a:cubicBezTo>
                            <a:cubicBezTo>
                              <a:pt x="3947" y="1136"/>
                              <a:pt x="4067" y="1196"/>
                              <a:pt x="4127" y="1196"/>
                            </a:cubicBezTo>
                            <a:cubicBezTo>
                              <a:pt x="4246" y="1196"/>
                              <a:pt x="4306" y="1256"/>
                              <a:pt x="4426" y="1316"/>
                            </a:cubicBezTo>
                            <a:cubicBezTo>
                              <a:pt x="4545" y="1376"/>
                              <a:pt x="4605" y="1376"/>
                              <a:pt x="4725" y="1435"/>
                            </a:cubicBezTo>
                            <a:cubicBezTo>
                              <a:pt x="4844" y="1495"/>
                              <a:pt x="4785" y="1555"/>
                              <a:pt x="4844" y="1615"/>
                            </a:cubicBezTo>
                            <a:moveTo>
                              <a:pt x="957" y="6519"/>
                            </a:moveTo>
                            <a:cubicBezTo>
                              <a:pt x="1076" y="6579"/>
                              <a:pt x="1196" y="6698"/>
                              <a:pt x="1316" y="6758"/>
                            </a:cubicBezTo>
                            <a:cubicBezTo>
                              <a:pt x="1435" y="6818"/>
                              <a:pt x="1555" y="6878"/>
                              <a:pt x="1735" y="6938"/>
                            </a:cubicBezTo>
                            <a:cubicBezTo>
                              <a:pt x="1914" y="6997"/>
                              <a:pt x="2034" y="7057"/>
                              <a:pt x="2153" y="7057"/>
                            </a:cubicBezTo>
                            <a:cubicBezTo>
                              <a:pt x="2273" y="7057"/>
                              <a:pt x="2452" y="7117"/>
                              <a:pt x="2632" y="7117"/>
                            </a:cubicBezTo>
                            <a:cubicBezTo>
                              <a:pt x="3110" y="7117"/>
                              <a:pt x="3589" y="7057"/>
                              <a:pt x="4007" y="6878"/>
                            </a:cubicBezTo>
                            <a:cubicBezTo>
                              <a:pt x="4426" y="6698"/>
                              <a:pt x="4844" y="6459"/>
                              <a:pt x="5263" y="6160"/>
                            </a:cubicBezTo>
                            <a:cubicBezTo>
                              <a:pt x="5622" y="5861"/>
                              <a:pt x="5921" y="5502"/>
                              <a:pt x="6220" y="5084"/>
                            </a:cubicBezTo>
                            <a:cubicBezTo>
                              <a:pt x="6519" y="4665"/>
                              <a:pt x="6639" y="4187"/>
                              <a:pt x="6758" y="3708"/>
                            </a:cubicBezTo>
                            <a:cubicBezTo>
                              <a:pt x="6818" y="3409"/>
                              <a:pt x="6818" y="3050"/>
                              <a:pt x="6818" y="2751"/>
                            </a:cubicBezTo>
                            <a:cubicBezTo>
                              <a:pt x="6818" y="2452"/>
                              <a:pt x="6758" y="2153"/>
                              <a:pt x="6639" y="1914"/>
                            </a:cubicBezTo>
                            <a:cubicBezTo>
                              <a:pt x="6519" y="1675"/>
                              <a:pt x="6399" y="1376"/>
                              <a:pt x="6280" y="1196"/>
                            </a:cubicBezTo>
                            <a:cubicBezTo>
                              <a:pt x="6160" y="1017"/>
                              <a:pt x="5921" y="778"/>
                              <a:pt x="5682" y="598"/>
                            </a:cubicBezTo>
                            <a:cubicBezTo>
                              <a:pt x="5562" y="479"/>
                              <a:pt x="5443" y="419"/>
                              <a:pt x="5323" y="359"/>
                            </a:cubicBezTo>
                            <a:cubicBezTo>
                              <a:pt x="5203" y="299"/>
                              <a:pt x="5084" y="239"/>
                              <a:pt x="4964" y="180"/>
                            </a:cubicBezTo>
                            <a:cubicBezTo>
                              <a:pt x="4844" y="120"/>
                              <a:pt x="4665" y="60"/>
                              <a:pt x="4545" y="60"/>
                            </a:cubicBezTo>
                            <a:cubicBezTo>
                              <a:pt x="4426" y="0"/>
                              <a:pt x="4246" y="0"/>
                              <a:pt x="4067" y="0"/>
                            </a:cubicBezTo>
                            <a:cubicBezTo>
                              <a:pt x="3828" y="0"/>
                              <a:pt x="3589" y="0"/>
                              <a:pt x="3409" y="0"/>
                            </a:cubicBezTo>
                            <a:cubicBezTo>
                              <a:pt x="3170" y="0"/>
                              <a:pt x="2930" y="60"/>
                              <a:pt x="2751" y="180"/>
                            </a:cubicBezTo>
                            <a:cubicBezTo>
                              <a:pt x="2512" y="239"/>
                              <a:pt x="2333" y="359"/>
                              <a:pt x="2093" y="479"/>
                            </a:cubicBezTo>
                            <a:cubicBezTo>
                              <a:pt x="1854" y="598"/>
                              <a:pt x="1675" y="718"/>
                              <a:pt x="1495" y="897"/>
                            </a:cubicBezTo>
                            <a:cubicBezTo>
                              <a:pt x="1316" y="1076"/>
                              <a:pt x="1136" y="1196"/>
                              <a:pt x="957" y="1376"/>
                            </a:cubicBezTo>
                            <a:cubicBezTo>
                              <a:pt x="778" y="1555"/>
                              <a:pt x="658" y="1735"/>
                              <a:pt x="538" y="1974"/>
                            </a:cubicBezTo>
                            <a:cubicBezTo>
                              <a:pt x="419" y="2213"/>
                              <a:pt x="299" y="2392"/>
                              <a:pt x="239" y="2632"/>
                            </a:cubicBezTo>
                            <a:cubicBezTo>
                              <a:pt x="180" y="2871"/>
                              <a:pt x="60" y="3110"/>
                              <a:pt x="60" y="3349"/>
                            </a:cubicBezTo>
                            <a:cubicBezTo>
                              <a:pt x="0" y="3648"/>
                              <a:pt x="0" y="4007"/>
                              <a:pt x="0" y="4306"/>
                            </a:cubicBezTo>
                            <a:cubicBezTo>
                              <a:pt x="0" y="4605"/>
                              <a:pt x="60" y="4904"/>
                              <a:pt x="180" y="5203"/>
                            </a:cubicBezTo>
                            <a:cubicBezTo>
                              <a:pt x="299" y="5502"/>
                              <a:pt x="419" y="5742"/>
                              <a:pt x="598" y="5981"/>
                            </a:cubicBezTo>
                            <a:cubicBezTo>
                              <a:pt x="538" y="6160"/>
                              <a:pt x="718" y="6340"/>
                              <a:pt x="957" y="6519"/>
                            </a:cubicBezTo>
                          </a:path>
                        </a:pathLst>
                      </a:custGeom>
                      <a:noFill/>
                      <a:ln w="6350" cap="flat">
                        <a:solidFill>
                          <a:schemeClr val="bg1">
                            <a:alpha val="40000"/>
                          </a:schemeClr>
                        </a:solidFill>
                        <a:prstDash val="solid"/>
                        <a:miter/>
                      </a:ln>
                    </p:spPr>
                    <p:txBody>
                      <a:bodyPr rtlCol="0" anchor="ctr"/>
                      <a:lstStyle/>
                      <a:p>
                        <a:endParaRPr lang="en-GB"/>
                      </a:p>
                    </p:txBody>
                  </p:sp>
                  <p:sp>
                    <p:nvSpPr>
                      <p:cNvPr id="7512" name="Vrije vorm: vorm 7511">
                        <a:extLst>
                          <a:ext uri="{FF2B5EF4-FFF2-40B4-BE49-F238E27FC236}">
                            <a16:creationId xmlns:a16="http://schemas.microsoft.com/office/drawing/2014/main" id="{C551C2AB-8109-4CB8-9990-7430B1D272AF}"/>
                          </a:ext>
                        </a:extLst>
                      </p:cNvPr>
                      <p:cNvSpPr/>
                      <p:nvPr/>
                    </p:nvSpPr>
                    <p:spPr>
                      <a:xfrm>
                        <a:off x="5003611" y="5107038"/>
                        <a:ext cx="6947" cy="7057"/>
                      </a:xfrm>
                      <a:custGeom>
                        <a:avLst/>
                        <a:gdLst>
                          <a:gd name="connsiteX0" fmla="*/ 4964 w 6947"/>
                          <a:gd name="connsiteY0" fmla="*/ 1495 h 7057"/>
                          <a:gd name="connsiteX1" fmla="*/ 5084 w 6947"/>
                          <a:gd name="connsiteY1" fmla="*/ 1615 h 7057"/>
                          <a:gd name="connsiteX2" fmla="*/ 5203 w 6947"/>
                          <a:gd name="connsiteY2" fmla="*/ 1734 h 7057"/>
                          <a:gd name="connsiteX3" fmla="*/ 5323 w 6947"/>
                          <a:gd name="connsiteY3" fmla="*/ 1854 h 7057"/>
                          <a:gd name="connsiteX4" fmla="*/ 5383 w 6947"/>
                          <a:gd name="connsiteY4" fmla="*/ 1973 h 7057"/>
                          <a:gd name="connsiteX5" fmla="*/ 5742 w 6947"/>
                          <a:gd name="connsiteY5" fmla="*/ 2811 h 7057"/>
                          <a:gd name="connsiteX6" fmla="*/ 5742 w 6947"/>
                          <a:gd name="connsiteY6" fmla="*/ 3708 h 7057"/>
                          <a:gd name="connsiteX7" fmla="*/ 5383 w 6947"/>
                          <a:gd name="connsiteY7" fmla="*/ 4605 h 7057"/>
                          <a:gd name="connsiteX8" fmla="*/ 4725 w 6947"/>
                          <a:gd name="connsiteY8" fmla="*/ 5323 h 7057"/>
                          <a:gd name="connsiteX9" fmla="*/ 4007 w 6947"/>
                          <a:gd name="connsiteY9" fmla="*/ 5741 h 7057"/>
                          <a:gd name="connsiteX10" fmla="*/ 3230 w 6947"/>
                          <a:gd name="connsiteY10" fmla="*/ 5921 h 7057"/>
                          <a:gd name="connsiteX11" fmla="*/ 2512 w 6947"/>
                          <a:gd name="connsiteY11" fmla="*/ 5861 h 7057"/>
                          <a:gd name="connsiteX12" fmla="*/ 1854 w 6947"/>
                          <a:gd name="connsiteY12" fmla="*/ 5562 h 7057"/>
                          <a:gd name="connsiteX13" fmla="*/ 1495 w 6947"/>
                          <a:gd name="connsiteY13" fmla="*/ 5203 h 7057"/>
                          <a:gd name="connsiteX14" fmla="*/ 1256 w 6947"/>
                          <a:gd name="connsiteY14" fmla="*/ 4844 h 7057"/>
                          <a:gd name="connsiteX15" fmla="*/ 1136 w 6947"/>
                          <a:gd name="connsiteY15" fmla="*/ 4426 h 7057"/>
                          <a:gd name="connsiteX16" fmla="*/ 1076 w 6947"/>
                          <a:gd name="connsiteY16" fmla="*/ 3947 h 7057"/>
                          <a:gd name="connsiteX17" fmla="*/ 1136 w 6947"/>
                          <a:gd name="connsiteY17" fmla="*/ 3469 h 7057"/>
                          <a:gd name="connsiteX18" fmla="*/ 1256 w 6947"/>
                          <a:gd name="connsiteY18" fmla="*/ 2990 h 7057"/>
                          <a:gd name="connsiteX19" fmla="*/ 1495 w 6947"/>
                          <a:gd name="connsiteY19" fmla="*/ 2572 h 7057"/>
                          <a:gd name="connsiteX20" fmla="*/ 1794 w 6947"/>
                          <a:gd name="connsiteY20" fmla="*/ 2153 h 7057"/>
                          <a:gd name="connsiteX21" fmla="*/ 2153 w 6947"/>
                          <a:gd name="connsiteY21" fmla="*/ 1794 h 7057"/>
                          <a:gd name="connsiteX22" fmla="*/ 2572 w 6947"/>
                          <a:gd name="connsiteY22" fmla="*/ 1495 h 7057"/>
                          <a:gd name="connsiteX23" fmla="*/ 2990 w 6947"/>
                          <a:gd name="connsiteY23" fmla="*/ 1316 h 7057"/>
                          <a:gd name="connsiteX24" fmla="*/ 3469 w 6947"/>
                          <a:gd name="connsiteY24" fmla="*/ 1196 h 7057"/>
                          <a:gd name="connsiteX25" fmla="*/ 3947 w 6947"/>
                          <a:gd name="connsiteY25" fmla="*/ 1196 h 7057"/>
                          <a:gd name="connsiteX26" fmla="*/ 4246 w 6947"/>
                          <a:gd name="connsiteY26" fmla="*/ 1256 h 7057"/>
                          <a:gd name="connsiteX27" fmla="*/ 4545 w 6947"/>
                          <a:gd name="connsiteY27" fmla="*/ 1316 h 7057"/>
                          <a:gd name="connsiteX28" fmla="*/ 4785 w 6947"/>
                          <a:gd name="connsiteY28" fmla="*/ 1435 h 7057"/>
                          <a:gd name="connsiteX29" fmla="*/ 4964 w 6947"/>
                          <a:gd name="connsiteY29" fmla="*/ 1495 h 7057"/>
                          <a:gd name="connsiteX30" fmla="*/ 1136 w 6947"/>
                          <a:gd name="connsiteY30" fmla="*/ 6459 h 7057"/>
                          <a:gd name="connsiteX31" fmla="*/ 2093 w 6947"/>
                          <a:gd name="connsiteY31" fmla="*/ 6937 h 7057"/>
                          <a:gd name="connsiteX32" fmla="*/ 3170 w 6947"/>
                          <a:gd name="connsiteY32" fmla="*/ 7057 h 7057"/>
                          <a:gd name="connsiteX33" fmla="*/ 4306 w 6947"/>
                          <a:gd name="connsiteY33" fmla="*/ 6818 h 7057"/>
                          <a:gd name="connsiteX34" fmla="*/ 5383 w 6947"/>
                          <a:gd name="connsiteY34" fmla="*/ 6160 h 7057"/>
                          <a:gd name="connsiteX35" fmla="*/ 6340 w 6947"/>
                          <a:gd name="connsiteY35" fmla="*/ 5024 h 7057"/>
                          <a:gd name="connsiteX36" fmla="*/ 6878 w 6947"/>
                          <a:gd name="connsiteY36" fmla="*/ 3708 h 7057"/>
                          <a:gd name="connsiteX37" fmla="*/ 6878 w 6947"/>
                          <a:gd name="connsiteY37" fmla="*/ 2392 h 7057"/>
                          <a:gd name="connsiteX38" fmla="*/ 6340 w 6947"/>
                          <a:gd name="connsiteY38" fmla="*/ 1196 h 7057"/>
                          <a:gd name="connsiteX39" fmla="*/ 5742 w 6947"/>
                          <a:gd name="connsiteY39" fmla="*/ 598 h 7057"/>
                          <a:gd name="connsiteX40" fmla="*/ 5383 w 6947"/>
                          <a:gd name="connsiteY40" fmla="*/ 359 h 7057"/>
                          <a:gd name="connsiteX41" fmla="*/ 4964 w 6947"/>
                          <a:gd name="connsiteY41" fmla="*/ 179 h 7057"/>
                          <a:gd name="connsiteX42" fmla="*/ 4545 w 6947"/>
                          <a:gd name="connsiteY42" fmla="*/ 60 h 7057"/>
                          <a:gd name="connsiteX43" fmla="*/ 4067 w 6947"/>
                          <a:gd name="connsiteY43" fmla="*/ 0 h 7057"/>
                          <a:gd name="connsiteX44" fmla="*/ 3409 w 6947"/>
                          <a:gd name="connsiteY44" fmla="*/ 0 h 7057"/>
                          <a:gd name="connsiteX45" fmla="*/ 2751 w 6947"/>
                          <a:gd name="connsiteY45" fmla="*/ 179 h 7057"/>
                          <a:gd name="connsiteX46" fmla="*/ 2093 w 6947"/>
                          <a:gd name="connsiteY46" fmla="*/ 478 h 7057"/>
                          <a:gd name="connsiteX47" fmla="*/ 1495 w 6947"/>
                          <a:gd name="connsiteY47" fmla="*/ 897 h 7057"/>
                          <a:gd name="connsiteX48" fmla="*/ 957 w 6947"/>
                          <a:gd name="connsiteY48" fmla="*/ 1435 h 7057"/>
                          <a:gd name="connsiteX49" fmla="*/ 538 w 6947"/>
                          <a:gd name="connsiteY49" fmla="*/ 2033 h 7057"/>
                          <a:gd name="connsiteX50" fmla="*/ 239 w 6947"/>
                          <a:gd name="connsiteY50" fmla="*/ 2691 h 7057"/>
                          <a:gd name="connsiteX51" fmla="*/ 60 w 6947"/>
                          <a:gd name="connsiteY51" fmla="*/ 3409 h 7057"/>
                          <a:gd name="connsiteX52" fmla="*/ 0 w 6947"/>
                          <a:gd name="connsiteY52" fmla="*/ 4127 h 7057"/>
                          <a:gd name="connsiteX53" fmla="*/ 60 w 6947"/>
                          <a:gd name="connsiteY53" fmla="*/ 4785 h 7057"/>
                          <a:gd name="connsiteX54" fmla="*/ 239 w 6947"/>
                          <a:gd name="connsiteY54" fmla="*/ 5382 h 7057"/>
                          <a:gd name="connsiteX55" fmla="*/ 538 w 6947"/>
                          <a:gd name="connsiteY55" fmla="*/ 5921 h 7057"/>
                          <a:gd name="connsiteX56" fmla="*/ 658 w 6947"/>
                          <a:gd name="connsiteY56" fmla="*/ 6100 h 7057"/>
                          <a:gd name="connsiteX57" fmla="*/ 778 w 6947"/>
                          <a:gd name="connsiteY57" fmla="*/ 6280 h 7057"/>
                          <a:gd name="connsiteX58" fmla="*/ 957 w 6947"/>
                          <a:gd name="connsiteY58" fmla="*/ 6399 h 7057"/>
                          <a:gd name="connsiteX59" fmla="*/ 1136 w 6947"/>
                          <a:gd name="connsiteY59" fmla="*/ 6459 h 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947" h="7057">
                            <a:moveTo>
                              <a:pt x="4964" y="1495"/>
                            </a:moveTo>
                            <a:cubicBezTo>
                              <a:pt x="5024" y="1495"/>
                              <a:pt x="5024" y="1555"/>
                              <a:pt x="5084" y="1615"/>
                            </a:cubicBezTo>
                            <a:cubicBezTo>
                              <a:pt x="5144" y="1674"/>
                              <a:pt x="5144" y="1674"/>
                              <a:pt x="5203" y="1734"/>
                            </a:cubicBezTo>
                            <a:cubicBezTo>
                              <a:pt x="5263" y="1794"/>
                              <a:pt x="5263" y="1794"/>
                              <a:pt x="5323" y="1854"/>
                            </a:cubicBezTo>
                            <a:cubicBezTo>
                              <a:pt x="5383" y="1914"/>
                              <a:pt x="5383" y="1914"/>
                              <a:pt x="5383" y="1973"/>
                            </a:cubicBezTo>
                            <a:cubicBezTo>
                              <a:pt x="5562" y="2213"/>
                              <a:pt x="5682" y="2512"/>
                              <a:pt x="5742" y="2811"/>
                            </a:cubicBezTo>
                            <a:cubicBezTo>
                              <a:pt x="5801" y="3110"/>
                              <a:pt x="5801" y="3409"/>
                              <a:pt x="5742" y="3708"/>
                            </a:cubicBezTo>
                            <a:cubicBezTo>
                              <a:pt x="5682" y="4007"/>
                              <a:pt x="5562" y="4306"/>
                              <a:pt x="5383" y="4605"/>
                            </a:cubicBezTo>
                            <a:cubicBezTo>
                              <a:pt x="5203" y="4904"/>
                              <a:pt x="5024" y="5143"/>
                              <a:pt x="4725" y="5323"/>
                            </a:cubicBezTo>
                            <a:cubicBezTo>
                              <a:pt x="4486" y="5502"/>
                              <a:pt x="4246" y="5681"/>
                              <a:pt x="4007" y="5741"/>
                            </a:cubicBezTo>
                            <a:cubicBezTo>
                              <a:pt x="3768" y="5861"/>
                              <a:pt x="3469" y="5921"/>
                              <a:pt x="3230" y="5921"/>
                            </a:cubicBezTo>
                            <a:cubicBezTo>
                              <a:pt x="2990" y="5921"/>
                              <a:pt x="2751" y="5921"/>
                              <a:pt x="2512" y="5861"/>
                            </a:cubicBezTo>
                            <a:cubicBezTo>
                              <a:pt x="2273" y="5801"/>
                              <a:pt x="2034" y="5681"/>
                              <a:pt x="1854" y="5562"/>
                            </a:cubicBezTo>
                            <a:lnTo>
                              <a:pt x="1495" y="5203"/>
                            </a:lnTo>
                            <a:cubicBezTo>
                              <a:pt x="1376" y="5083"/>
                              <a:pt x="1316" y="4964"/>
                              <a:pt x="1256" y="4844"/>
                            </a:cubicBezTo>
                            <a:cubicBezTo>
                              <a:pt x="1196" y="4725"/>
                              <a:pt x="1136" y="4545"/>
                              <a:pt x="1136" y="4426"/>
                            </a:cubicBezTo>
                            <a:cubicBezTo>
                              <a:pt x="1076" y="4306"/>
                              <a:pt x="1076" y="4127"/>
                              <a:pt x="1076" y="3947"/>
                            </a:cubicBezTo>
                            <a:cubicBezTo>
                              <a:pt x="1076" y="3768"/>
                              <a:pt x="1076" y="3648"/>
                              <a:pt x="1136" y="3469"/>
                            </a:cubicBezTo>
                            <a:cubicBezTo>
                              <a:pt x="1136" y="3289"/>
                              <a:pt x="1196" y="3170"/>
                              <a:pt x="1256" y="2990"/>
                            </a:cubicBezTo>
                            <a:cubicBezTo>
                              <a:pt x="1316" y="2811"/>
                              <a:pt x="1376" y="2691"/>
                              <a:pt x="1495" y="2572"/>
                            </a:cubicBezTo>
                            <a:cubicBezTo>
                              <a:pt x="1555" y="2452"/>
                              <a:pt x="1675" y="2273"/>
                              <a:pt x="1794" y="2153"/>
                            </a:cubicBezTo>
                            <a:cubicBezTo>
                              <a:pt x="1914" y="2033"/>
                              <a:pt x="2034" y="1914"/>
                              <a:pt x="2153" y="1794"/>
                            </a:cubicBezTo>
                            <a:cubicBezTo>
                              <a:pt x="2273" y="1674"/>
                              <a:pt x="2392" y="1615"/>
                              <a:pt x="2572" y="1495"/>
                            </a:cubicBezTo>
                            <a:cubicBezTo>
                              <a:pt x="2751" y="1375"/>
                              <a:pt x="2871" y="1316"/>
                              <a:pt x="2990" y="1316"/>
                            </a:cubicBezTo>
                            <a:cubicBezTo>
                              <a:pt x="3170" y="1256"/>
                              <a:pt x="3289" y="1196"/>
                              <a:pt x="3469" y="1196"/>
                            </a:cubicBezTo>
                            <a:cubicBezTo>
                              <a:pt x="3649" y="1196"/>
                              <a:pt x="3768" y="1196"/>
                              <a:pt x="3947" y="1196"/>
                            </a:cubicBezTo>
                            <a:cubicBezTo>
                              <a:pt x="4067" y="1196"/>
                              <a:pt x="4127" y="1196"/>
                              <a:pt x="4246" y="1256"/>
                            </a:cubicBezTo>
                            <a:cubicBezTo>
                              <a:pt x="4366" y="1316"/>
                              <a:pt x="4426" y="1316"/>
                              <a:pt x="4545" y="1316"/>
                            </a:cubicBezTo>
                            <a:cubicBezTo>
                              <a:pt x="4665" y="1375"/>
                              <a:pt x="4725" y="1375"/>
                              <a:pt x="4785" y="1435"/>
                            </a:cubicBezTo>
                            <a:cubicBezTo>
                              <a:pt x="4844" y="1375"/>
                              <a:pt x="4904" y="1435"/>
                              <a:pt x="4964" y="1495"/>
                            </a:cubicBezTo>
                            <a:moveTo>
                              <a:pt x="1136" y="6459"/>
                            </a:moveTo>
                            <a:cubicBezTo>
                              <a:pt x="1435" y="6698"/>
                              <a:pt x="1735" y="6818"/>
                              <a:pt x="2093" y="6937"/>
                            </a:cubicBezTo>
                            <a:cubicBezTo>
                              <a:pt x="2452" y="7057"/>
                              <a:pt x="2811" y="7057"/>
                              <a:pt x="3170" y="7057"/>
                            </a:cubicBezTo>
                            <a:cubicBezTo>
                              <a:pt x="3529" y="7057"/>
                              <a:pt x="3888" y="6937"/>
                              <a:pt x="4306" y="6818"/>
                            </a:cubicBezTo>
                            <a:cubicBezTo>
                              <a:pt x="4725" y="6698"/>
                              <a:pt x="5024" y="6459"/>
                              <a:pt x="5383" y="6160"/>
                            </a:cubicBezTo>
                            <a:cubicBezTo>
                              <a:pt x="5801" y="5861"/>
                              <a:pt x="6100" y="5442"/>
                              <a:pt x="6340" y="5024"/>
                            </a:cubicBezTo>
                            <a:cubicBezTo>
                              <a:pt x="6579" y="4605"/>
                              <a:pt x="6758" y="4186"/>
                              <a:pt x="6878" y="3708"/>
                            </a:cubicBezTo>
                            <a:cubicBezTo>
                              <a:pt x="6938" y="3229"/>
                              <a:pt x="6998" y="2811"/>
                              <a:pt x="6878" y="2392"/>
                            </a:cubicBezTo>
                            <a:cubicBezTo>
                              <a:pt x="6758" y="1973"/>
                              <a:pt x="6639" y="1555"/>
                              <a:pt x="6340" y="1196"/>
                            </a:cubicBezTo>
                            <a:lnTo>
                              <a:pt x="5742" y="598"/>
                            </a:lnTo>
                            <a:cubicBezTo>
                              <a:pt x="5622" y="538"/>
                              <a:pt x="5503" y="419"/>
                              <a:pt x="5383" y="359"/>
                            </a:cubicBezTo>
                            <a:cubicBezTo>
                              <a:pt x="5263" y="299"/>
                              <a:pt x="5144" y="239"/>
                              <a:pt x="4964" y="179"/>
                            </a:cubicBezTo>
                            <a:cubicBezTo>
                              <a:pt x="4844" y="119"/>
                              <a:pt x="4665" y="60"/>
                              <a:pt x="4545" y="60"/>
                            </a:cubicBezTo>
                            <a:cubicBezTo>
                              <a:pt x="4426" y="60"/>
                              <a:pt x="4246" y="0"/>
                              <a:pt x="4067" y="0"/>
                            </a:cubicBezTo>
                            <a:cubicBezTo>
                              <a:pt x="3828" y="0"/>
                              <a:pt x="3589" y="0"/>
                              <a:pt x="3409" y="0"/>
                            </a:cubicBezTo>
                            <a:cubicBezTo>
                              <a:pt x="3170" y="60"/>
                              <a:pt x="2930" y="60"/>
                              <a:pt x="2751" y="179"/>
                            </a:cubicBezTo>
                            <a:cubicBezTo>
                              <a:pt x="2512" y="239"/>
                              <a:pt x="2333" y="359"/>
                              <a:pt x="2093" y="478"/>
                            </a:cubicBezTo>
                            <a:cubicBezTo>
                              <a:pt x="1854" y="598"/>
                              <a:pt x="1675" y="718"/>
                              <a:pt x="1495" y="897"/>
                            </a:cubicBezTo>
                            <a:cubicBezTo>
                              <a:pt x="1316" y="1076"/>
                              <a:pt x="1136" y="1256"/>
                              <a:pt x="957" y="1435"/>
                            </a:cubicBezTo>
                            <a:cubicBezTo>
                              <a:pt x="778" y="1615"/>
                              <a:pt x="658" y="1794"/>
                              <a:pt x="538" y="2033"/>
                            </a:cubicBezTo>
                            <a:cubicBezTo>
                              <a:pt x="419" y="2213"/>
                              <a:pt x="299" y="2452"/>
                              <a:pt x="239" y="2691"/>
                            </a:cubicBezTo>
                            <a:cubicBezTo>
                              <a:pt x="180" y="2930"/>
                              <a:pt x="120" y="3170"/>
                              <a:pt x="60" y="3409"/>
                            </a:cubicBezTo>
                            <a:cubicBezTo>
                              <a:pt x="0" y="3648"/>
                              <a:pt x="0" y="3887"/>
                              <a:pt x="0" y="4127"/>
                            </a:cubicBezTo>
                            <a:cubicBezTo>
                              <a:pt x="0" y="4366"/>
                              <a:pt x="0" y="4605"/>
                              <a:pt x="60" y="4785"/>
                            </a:cubicBezTo>
                            <a:cubicBezTo>
                              <a:pt x="120" y="5024"/>
                              <a:pt x="180" y="5203"/>
                              <a:pt x="239" y="5382"/>
                            </a:cubicBezTo>
                            <a:cubicBezTo>
                              <a:pt x="299" y="5562"/>
                              <a:pt x="419" y="5741"/>
                              <a:pt x="538" y="5921"/>
                            </a:cubicBezTo>
                            <a:cubicBezTo>
                              <a:pt x="598" y="5981"/>
                              <a:pt x="598" y="6041"/>
                              <a:pt x="658" y="6100"/>
                            </a:cubicBezTo>
                            <a:cubicBezTo>
                              <a:pt x="718" y="6160"/>
                              <a:pt x="778" y="6220"/>
                              <a:pt x="778" y="6280"/>
                            </a:cubicBezTo>
                            <a:cubicBezTo>
                              <a:pt x="778" y="6340"/>
                              <a:pt x="897" y="6399"/>
                              <a:pt x="957" y="6399"/>
                            </a:cubicBezTo>
                            <a:cubicBezTo>
                              <a:pt x="1017" y="6399"/>
                              <a:pt x="1076" y="6399"/>
                              <a:pt x="1136" y="6459"/>
                            </a:cubicBezTo>
                          </a:path>
                        </a:pathLst>
                      </a:custGeom>
                      <a:noFill/>
                      <a:ln w="6350" cap="flat">
                        <a:solidFill>
                          <a:schemeClr val="bg1">
                            <a:alpha val="40000"/>
                          </a:schemeClr>
                        </a:solidFill>
                        <a:prstDash val="solid"/>
                        <a:miter/>
                      </a:ln>
                    </p:spPr>
                    <p:txBody>
                      <a:bodyPr rtlCol="0" anchor="ctr"/>
                      <a:lstStyle/>
                      <a:p>
                        <a:endParaRPr lang="en-GB"/>
                      </a:p>
                    </p:txBody>
                  </p:sp>
                  <p:sp>
                    <p:nvSpPr>
                      <p:cNvPr id="7513" name="Vrije vorm: vorm 7512">
                        <a:extLst>
                          <a:ext uri="{FF2B5EF4-FFF2-40B4-BE49-F238E27FC236}">
                            <a16:creationId xmlns:a16="http://schemas.microsoft.com/office/drawing/2014/main" id="{E2DCF2CB-7A07-4008-9B97-30D7A9460233}"/>
                          </a:ext>
                        </a:extLst>
                      </p:cNvPr>
                      <p:cNvSpPr/>
                      <p:nvPr/>
                    </p:nvSpPr>
                    <p:spPr>
                      <a:xfrm>
                        <a:off x="4992846" y="5110746"/>
                        <a:ext cx="6877" cy="7117"/>
                      </a:xfrm>
                      <a:custGeom>
                        <a:avLst/>
                        <a:gdLst>
                          <a:gd name="connsiteX0" fmla="*/ 4844 w 6877"/>
                          <a:gd name="connsiteY0" fmla="*/ 1555 h 7117"/>
                          <a:gd name="connsiteX1" fmla="*/ 5263 w 6877"/>
                          <a:gd name="connsiteY1" fmla="*/ 1973 h 7117"/>
                          <a:gd name="connsiteX2" fmla="*/ 5562 w 6877"/>
                          <a:gd name="connsiteY2" fmla="*/ 2452 h 7117"/>
                          <a:gd name="connsiteX3" fmla="*/ 5682 w 6877"/>
                          <a:gd name="connsiteY3" fmla="*/ 3050 h 7117"/>
                          <a:gd name="connsiteX4" fmla="*/ 5622 w 6877"/>
                          <a:gd name="connsiteY4" fmla="*/ 3708 h 7117"/>
                          <a:gd name="connsiteX5" fmla="*/ 5263 w 6877"/>
                          <a:gd name="connsiteY5" fmla="*/ 4605 h 7117"/>
                          <a:gd name="connsiteX6" fmla="*/ 4605 w 6877"/>
                          <a:gd name="connsiteY6" fmla="*/ 5323 h 7117"/>
                          <a:gd name="connsiteX7" fmla="*/ 3768 w 6877"/>
                          <a:gd name="connsiteY7" fmla="*/ 5801 h 7117"/>
                          <a:gd name="connsiteX8" fmla="*/ 2811 w 6877"/>
                          <a:gd name="connsiteY8" fmla="*/ 5921 h 7117"/>
                          <a:gd name="connsiteX9" fmla="*/ 1734 w 6877"/>
                          <a:gd name="connsiteY9" fmla="*/ 5502 h 7117"/>
                          <a:gd name="connsiteX10" fmla="*/ 1316 w 6877"/>
                          <a:gd name="connsiteY10" fmla="*/ 5083 h 7117"/>
                          <a:gd name="connsiteX11" fmla="*/ 1017 w 6877"/>
                          <a:gd name="connsiteY11" fmla="*/ 4605 h 7117"/>
                          <a:gd name="connsiteX12" fmla="*/ 897 w 6877"/>
                          <a:gd name="connsiteY12" fmla="*/ 4007 h 7117"/>
                          <a:gd name="connsiteX13" fmla="*/ 957 w 6877"/>
                          <a:gd name="connsiteY13" fmla="*/ 3349 h 7117"/>
                          <a:gd name="connsiteX14" fmla="*/ 1076 w 6877"/>
                          <a:gd name="connsiteY14" fmla="*/ 2871 h 7117"/>
                          <a:gd name="connsiteX15" fmla="*/ 1316 w 6877"/>
                          <a:gd name="connsiteY15" fmla="*/ 2452 h 7117"/>
                          <a:gd name="connsiteX16" fmla="*/ 1615 w 6877"/>
                          <a:gd name="connsiteY16" fmla="*/ 2033 h 7117"/>
                          <a:gd name="connsiteX17" fmla="*/ 1974 w 6877"/>
                          <a:gd name="connsiteY17" fmla="*/ 1674 h 7117"/>
                          <a:gd name="connsiteX18" fmla="*/ 2392 w 6877"/>
                          <a:gd name="connsiteY18" fmla="*/ 1375 h 7117"/>
                          <a:gd name="connsiteX19" fmla="*/ 2811 w 6877"/>
                          <a:gd name="connsiteY19" fmla="*/ 1196 h 7117"/>
                          <a:gd name="connsiteX20" fmla="*/ 3289 w 6877"/>
                          <a:gd name="connsiteY20" fmla="*/ 1076 h 7117"/>
                          <a:gd name="connsiteX21" fmla="*/ 3768 w 6877"/>
                          <a:gd name="connsiteY21" fmla="*/ 1076 h 7117"/>
                          <a:gd name="connsiteX22" fmla="*/ 4067 w 6877"/>
                          <a:gd name="connsiteY22" fmla="*/ 1136 h 7117"/>
                          <a:gd name="connsiteX23" fmla="*/ 4366 w 6877"/>
                          <a:gd name="connsiteY23" fmla="*/ 1196 h 7117"/>
                          <a:gd name="connsiteX24" fmla="*/ 4605 w 6877"/>
                          <a:gd name="connsiteY24" fmla="*/ 1316 h 7117"/>
                          <a:gd name="connsiteX25" fmla="*/ 4844 w 6877"/>
                          <a:gd name="connsiteY25" fmla="*/ 1555 h 7117"/>
                          <a:gd name="connsiteX26" fmla="*/ 1017 w 6877"/>
                          <a:gd name="connsiteY26" fmla="*/ 6519 h 7117"/>
                          <a:gd name="connsiteX27" fmla="*/ 1375 w 6877"/>
                          <a:gd name="connsiteY27" fmla="*/ 6758 h 7117"/>
                          <a:gd name="connsiteX28" fmla="*/ 1794 w 6877"/>
                          <a:gd name="connsiteY28" fmla="*/ 6937 h 7117"/>
                          <a:gd name="connsiteX29" fmla="*/ 2213 w 6877"/>
                          <a:gd name="connsiteY29" fmla="*/ 7057 h 7117"/>
                          <a:gd name="connsiteX30" fmla="*/ 2691 w 6877"/>
                          <a:gd name="connsiteY30" fmla="*/ 7117 h 7117"/>
                          <a:gd name="connsiteX31" fmla="*/ 4067 w 6877"/>
                          <a:gd name="connsiteY31" fmla="*/ 6937 h 7117"/>
                          <a:gd name="connsiteX32" fmla="*/ 5323 w 6877"/>
                          <a:gd name="connsiteY32" fmla="*/ 6220 h 7117"/>
                          <a:gd name="connsiteX33" fmla="*/ 6280 w 6877"/>
                          <a:gd name="connsiteY33" fmla="*/ 5143 h 7117"/>
                          <a:gd name="connsiteX34" fmla="*/ 6818 w 6877"/>
                          <a:gd name="connsiteY34" fmla="*/ 3768 h 7117"/>
                          <a:gd name="connsiteX35" fmla="*/ 6878 w 6877"/>
                          <a:gd name="connsiteY35" fmla="*/ 2811 h 7117"/>
                          <a:gd name="connsiteX36" fmla="*/ 6698 w 6877"/>
                          <a:gd name="connsiteY36" fmla="*/ 1973 h 7117"/>
                          <a:gd name="connsiteX37" fmla="*/ 6280 w 6877"/>
                          <a:gd name="connsiteY37" fmla="*/ 1196 h 7117"/>
                          <a:gd name="connsiteX38" fmla="*/ 5682 w 6877"/>
                          <a:gd name="connsiteY38" fmla="*/ 598 h 7117"/>
                          <a:gd name="connsiteX39" fmla="*/ 5323 w 6877"/>
                          <a:gd name="connsiteY39" fmla="*/ 359 h 7117"/>
                          <a:gd name="connsiteX40" fmla="*/ 4964 w 6877"/>
                          <a:gd name="connsiteY40" fmla="*/ 179 h 7117"/>
                          <a:gd name="connsiteX41" fmla="*/ 4545 w 6877"/>
                          <a:gd name="connsiteY41" fmla="*/ 60 h 7117"/>
                          <a:gd name="connsiteX42" fmla="*/ 4067 w 6877"/>
                          <a:gd name="connsiteY42" fmla="*/ 0 h 7117"/>
                          <a:gd name="connsiteX43" fmla="*/ 3409 w 6877"/>
                          <a:gd name="connsiteY43" fmla="*/ 0 h 7117"/>
                          <a:gd name="connsiteX44" fmla="*/ 2751 w 6877"/>
                          <a:gd name="connsiteY44" fmla="*/ 179 h 7117"/>
                          <a:gd name="connsiteX45" fmla="*/ 2093 w 6877"/>
                          <a:gd name="connsiteY45" fmla="*/ 478 h 7117"/>
                          <a:gd name="connsiteX46" fmla="*/ 1495 w 6877"/>
                          <a:gd name="connsiteY46" fmla="*/ 897 h 7117"/>
                          <a:gd name="connsiteX47" fmla="*/ 957 w 6877"/>
                          <a:gd name="connsiteY47" fmla="*/ 1375 h 7117"/>
                          <a:gd name="connsiteX48" fmla="*/ 538 w 6877"/>
                          <a:gd name="connsiteY48" fmla="*/ 1973 h 7117"/>
                          <a:gd name="connsiteX49" fmla="*/ 239 w 6877"/>
                          <a:gd name="connsiteY49" fmla="*/ 2632 h 7117"/>
                          <a:gd name="connsiteX50" fmla="*/ 60 w 6877"/>
                          <a:gd name="connsiteY50" fmla="*/ 3349 h 7117"/>
                          <a:gd name="connsiteX51" fmla="*/ 0 w 6877"/>
                          <a:gd name="connsiteY51" fmla="*/ 4306 h 7117"/>
                          <a:gd name="connsiteX52" fmla="*/ 180 w 6877"/>
                          <a:gd name="connsiteY52" fmla="*/ 5203 h 7117"/>
                          <a:gd name="connsiteX53" fmla="*/ 598 w 6877"/>
                          <a:gd name="connsiteY53" fmla="*/ 5981 h 7117"/>
                          <a:gd name="connsiteX54" fmla="*/ 1017 w 6877"/>
                          <a:gd name="connsiteY54" fmla="*/ 6519 h 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877" h="7117">
                            <a:moveTo>
                              <a:pt x="4844" y="1555"/>
                            </a:moveTo>
                            <a:cubicBezTo>
                              <a:pt x="5024" y="1674"/>
                              <a:pt x="5143" y="1794"/>
                              <a:pt x="5263" y="1973"/>
                            </a:cubicBezTo>
                            <a:cubicBezTo>
                              <a:pt x="5383" y="2153"/>
                              <a:pt x="5443" y="2273"/>
                              <a:pt x="5562" y="2452"/>
                            </a:cubicBezTo>
                            <a:cubicBezTo>
                              <a:pt x="5622" y="2632"/>
                              <a:pt x="5682" y="2811"/>
                              <a:pt x="5682" y="3050"/>
                            </a:cubicBezTo>
                            <a:cubicBezTo>
                              <a:pt x="5682" y="3229"/>
                              <a:pt x="5682" y="3469"/>
                              <a:pt x="5622" y="3708"/>
                            </a:cubicBezTo>
                            <a:cubicBezTo>
                              <a:pt x="5562" y="4067"/>
                              <a:pt x="5443" y="4366"/>
                              <a:pt x="5263" y="4605"/>
                            </a:cubicBezTo>
                            <a:cubicBezTo>
                              <a:pt x="5083" y="4844"/>
                              <a:pt x="4904" y="5143"/>
                              <a:pt x="4605" y="5323"/>
                            </a:cubicBezTo>
                            <a:cubicBezTo>
                              <a:pt x="4366" y="5502"/>
                              <a:pt x="4067" y="5682"/>
                              <a:pt x="3768" y="5801"/>
                            </a:cubicBezTo>
                            <a:cubicBezTo>
                              <a:pt x="3469" y="5921"/>
                              <a:pt x="3170" y="5981"/>
                              <a:pt x="2811" y="5921"/>
                            </a:cubicBezTo>
                            <a:lnTo>
                              <a:pt x="1734" y="5502"/>
                            </a:lnTo>
                            <a:cubicBezTo>
                              <a:pt x="1555" y="5382"/>
                              <a:pt x="1435" y="5263"/>
                              <a:pt x="1316" y="5083"/>
                            </a:cubicBezTo>
                            <a:cubicBezTo>
                              <a:pt x="1196" y="4904"/>
                              <a:pt x="1136" y="4785"/>
                              <a:pt x="1017" y="4605"/>
                            </a:cubicBezTo>
                            <a:cubicBezTo>
                              <a:pt x="957" y="4426"/>
                              <a:pt x="897" y="4246"/>
                              <a:pt x="897" y="4007"/>
                            </a:cubicBezTo>
                            <a:cubicBezTo>
                              <a:pt x="897" y="3768"/>
                              <a:pt x="897" y="3588"/>
                              <a:pt x="957" y="3349"/>
                            </a:cubicBezTo>
                            <a:cubicBezTo>
                              <a:pt x="957" y="3170"/>
                              <a:pt x="1017" y="3050"/>
                              <a:pt x="1076" y="2871"/>
                            </a:cubicBezTo>
                            <a:cubicBezTo>
                              <a:pt x="1136" y="2691"/>
                              <a:pt x="1196" y="2572"/>
                              <a:pt x="1316" y="2452"/>
                            </a:cubicBezTo>
                            <a:cubicBezTo>
                              <a:pt x="1375" y="2333"/>
                              <a:pt x="1495" y="2153"/>
                              <a:pt x="1615" y="2033"/>
                            </a:cubicBezTo>
                            <a:cubicBezTo>
                              <a:pt x="1734" y="1914"/>
                              <a:pt x="1854" y="1794"/>
                              <a:pt x="1974" y="1674"/>
                            </a:cubicBezTo>
                            <a:cubicBezTo>
                              <a:pt x="2093" y="1555"/>
                              <a:pt x="2213" y="1495"/>
                              <a:pt x="2392" y="1375"/>
                            </a:cubicBezTo>
                            <a:cubicBezTo>
                              <a:pt x="2512" y="1316"/>
                              <a:pt x="2691" y="1256"/>
                              <a:pt x="2811" y="1196"/>
                            </a:cubicBezTo>
                            <a:cubicBezTo>
                              <a:pt x="2930" y="1136"/>
                              <a:pt x="3110" y="1136"/>
                              <a:pt x="3289" y="1076"/>
                            </a:cubicBezTo>
                            <a:cubicBezTo>
                              <a:pt x="3469" y="1076"/>
                              <a:pt x="3588" y="1017"/>
                              <a:pt x="3768" y="1076"/>
                            </a:cubicBezTo>
                            <a:cubicBezTo>
                              <a:pt x="3888" y="1076"/>
                              <a:pt x="3947" y="1076"/>
                              <a:pt x="4067" y="1136"/>
                            </a:cubicBezTo>
                            <a:cubicBezTo>
                              <a:pt x="4187" y="1136"/>
                              <a:pt x="4246" y="1196"/>
                              <a:pt x="4366" y="1196"/>
                            </a:cubicBezTo>
                            <a:cubicBezTo>
                              <a:pt x="4486" y="1256"/>
                              <a:pt x="4545" y="1256"/>
                              <a:pt x="4605" y="1316"/>
                            </a:cubicBezTo>
                            <a:cubicBezTo>
                              <a:pt x="4725" y="1435"/>
                              <a:pt x="4785" y="1495"/>
                              <a:pt x="4844" y="1555"/>
                            </a:cubicBezTo>
                            <a:moveTo>
                              <a:pt x="1017" y="6519"/>
                            </a:moveTo>
                            <a:cubicBezTo>
                              <a:pt x="1136" y="6579"/>
                              <a:pt x="1256" y="6698"/>
                              <a:pt x="1375" y="6758"/>
                            </a:cubicBezTo>
                            <a:cubicBezTo>
                              <a:pt x="1495" y="6818"/>
                              <a:pt x="1615" y="6878"/>
                              <a:pt x="1794" y="6937"/>
                            </a:cubicBezTo>
                            <a:cubicBezTo>
                              <a:pt x="1974" y="6997"/>
                              <a:pt x="2093" y="7057"/>
                              <a:pt x="2213" y="7057"/>
                            </a:cubicBezTo>
                            <a:cubicBezTo>
                              <a:pt x="2333" y="7117"/>
                              <a:pt x="2512" y="7117"/>
                              <a:pt x="2691" y="7117"/>
                            </a:cubicBezTo>
                            <a:cubicBezTo>
                              <a:pt x="3170" y="7117"/>
                              <a:pt x="3648" y="7057"/>
                              <a:pt x="4067" y="6937"/>
                            </a:cubicBezTo>
                            <a:cubicBezTo>
                              <a:pt x="4486" y="6758"/>
                              <a:pt x="4904" y="6519"/>
                              <a:pt x="5323" y="6220"/>
                            </a:cubicBezTo>
                            <a:cubicBezTo>
                              <a:pt x="5682" y="5921"/>
                              <a:pt x="6041" y="5562"/>
                              <a:pt x="6280" y="5143"/>
                            </a:cubicBezTo>
                            <a:cubicBezTo>
                              <a:pt x="6519" y="4725"/>
                              <a:pt x="6698" y="4246"/>
                              <a:pt x="6818" y="3768"/>
                            </a:cubicBezTo>
                            <a:cubicBezTo>
                              <a:pt x="6878" y="3469"/>
                              <a:pt x="6878" y="3110"/>
                              <a:pt x="6878" y="2811"/>
                            </a:cubicBezTo>
                            <a:cubicBezTo>
                              <a:pt x="6878" y="2512"/>
                              <a:pt x="6818" y="2213"/>
                              <a:pt x="6698" y="1973"/>
                            </a:cubicBezTo>
                            <a:cubicBezTo>
                              <a:pt x="6579" y="1674"/>
                              <a:pt x="6459" y="1435"/>
                              <a:pt x="6280" y="1196"/>
                            </a:cubicBezTo>
                            <a:cubicBezTo>
                              <a:pt x="6100" y="957"/>
                              <a:pt x="5921" y="778"/>
                              <a:pt x="5682" y="598"/>
                            </a:cubicBezTo>
                            <a:cubicBezTo>
                              <a:pt x="5562" y="538"/>
                              <a:pt x="5443" y="419"/>
                              <a:pt x="5323" y="359"/>
                            </a:cubicBezTo>
                            <a:cubicBezTo>
                              <a:pt x="5203" y="299"/>
                              <a:pt x="5083" y="239"/>
                              <a:pt x="4964" y="179"/>
                            </a:cubicBezTo>
                            <a:cubicBezTo>
                              <a:pt x="4844" y="119"/>
                              <a:pt x="4665" y="60"/>
                              <a:pt x="4545" y="60"/>
                            </a:cubicBezTo>
                            <a:cubicBezTo>
                              <a:pt x="4426" y="60"/>
                              <a:pt x="4246" y="0"/>
                              <a:pt x="4067" y="0"/>
                            </a:cubicBezTo>
                            <a:cubicBezTo>
                              <a:pt x="3828" y="0"/>
                              <a:pt x="3588" y="0"/>
                              <a:pt x="3409" y="0"/>
                            </a:cubicBezTo>
                            <a:cubicBezTo>
                              <a:pt x="3229" y="0"/>
                              <a:pt x="2930" y="60"/>
                              <a:pt x="2751" y="179"/>
                            </a:cubicBezTo>
                            <a:cubicBezTo>
                              <a:pt x="2512" y="239"/>
                              <a:pt x="2333" y="359"/>
                              <a:pt x="2093" y="478"/>
                            </a:cubicBezTo>
                            <a:cubicBezTo>
                              <a:pt x="1854" y="598"/>
                              <a:pt x="1675" y="778"/>
                              <a:pt x="1495" y="897"/>
                            </a:cubicBezTo>
                            <a:cubicBezTo>
                              <a:pt x="1316" y="1076"/>
                              <a:pt x="1136" y="1196"/>
                              <a:pt x="957" y="1375"/>
                            </a:cubicBezTo>
                            <a:cubicBezTo>
                              <a:pt x="778" y="1555"/>
                              <a:pt x="658" y="1734"/>
                              <a:pt x="538" y="1973"/>
                            </a:cubicBezTo>
                            <a:cubicBezTo>
                              <a:pt x="419" y="2153"/>
                              <a:pt x="299" y="2392"/>
                              <a:pt x="239" y="2632"/>
                            </a:cubicBezTo>
                            <a:cubicBezTo>
                              <a:pt x="180" y="2871"/>
                              <a:pt x="120" y="3110"/>
                              <a:pt x="60" y="3349"/>
                            </a:cubicBezTo>
                            <a:cubicBezTo>
                              <a:pt x="0" y="3648"/>
                              <a:pt x="0" y="4007"/>
                              <a:pt x="0" y="4306"/>
                            </a:cubicBezTo>
                            <a:cubicBezTo>
                              <a:pt x="0" y="4605"/>
                              <a:pt x="60" y="4904"/>
                              <a:pt x="180" y="5203"/>
                            </a:cubicBezTo>
                            <a:cubicBezTo>
                              <a:pt x="299" y="5502"/>
                              <a:pt x="419" y="5741"/>
                              <a:pt x="598" y="5981"/>
                            </a:cubicBezTo>
                            <a:cubicBezTo>
                              <a:pt x="598" y="6100"/>
                              <a:pt x="778" y="6340"/>
                              <a:pt x="1017" y="6519"/>
                            </a:cubicBezTo>
                          </a:path>
                        </a:pathLst>
                      </a:custGeom>
                      <a:noFill/>
                      <a:ln w="6350" cap="flat">
                        <a:solidFill>
                          <a:schemeClr val="bg1">
                            <a:alpha val="40000"/>
                          </a:schemeClr>
                        </a:solidFill>
                        <a:prstDash val="solid"/>
                        <a:miter/>
                      </a:ln>
                    </p:spPr>
                    <p:txBody>
                      <a:bodyPr rtlCol="0" anchor="ctr"/>
                      <a:lstStyle/>
                      <a:p>
                        <a:endParaRPr lang="en-GB"/>
                      </a:p>
                    </p:txBody>
                  </p:sp>
                  <p:sp>
                    <p:nvSpPr>
                      <p:cNvPr id="7514" name="Vrije vorm: vorm 7513">
                        <a:extLst>
                          <a:ext uri="{FF2B5EF4-FFF2-40B4-BE49-F238E27FC236}">
                            <a16:creationId xmlns:a16="http://schemas.microsoft.com/office/drawing/2014/main" id="{314DE699-884D-4163-A9F2-9D11FAFAF155}"/>
                          </a:ext>
                        </a:extLst>
                      </p:cNvPr>
                      <p:cNvSpPr/>
                      <p:nvPr/>
                    </p:nvSpPr>
                    <p:spPr>
                      <a:xfrm>
                        <a:off x="4983217" y="5105782"/>
                        <a:ext cx="6982" cy="7117"/>
                      </a:xfrm>
                      <a:custGeom>
                        <a:avLst/>
                        <a:gdLst>
                          <a:gd name="connsiteX0" fmla="*/ 2452 w 6982"/>
                          <a:gd name="connsiteY0" fmla="*/ 5801 h 7117"/>
                          <a:gd name="connsiteX1" fmla="*/ 2333 w 6982"/>
                          <a:gd name="connsiteY1" fmla="*/ 5742 h 7117"/>
                          <a:gd name="connsiteX2" fmla="*/ 2213 w 6982"/>
                          <a:gd name="connsiteY2" fmla="*/ 5682 h 7117"/>
                          <a:gd name="connsiteX3" fmla="*/ 2093 w 6982"/>
                          <a:gd name="connsiteY3" fmla="*/ 5622 h 7117"/>
                          <a:gd name="connsiteX4" fmla="*/ 1974 w 6982"/>
                          <a:gd name="connsiteY4" fmla="*/ 5562 h 7117"/>
                          <a:gd name="connsiteX5" fmla="*/ 1555 w 6982"/>
                          <a:gd name="connsiteY5" fmla="*/ 5143 h 7117"/>
                          <a:gd name="connsiteX6" fmla="*/ 1495 w 6982"/>
                          <a:gd name="connsiteY6" fmla="*/ 5083 h 7117"/>
                          <a:gd name="connsiteX7" fmla="*/ 1435 w 6982"/>
                          <a:gd name="connsiteY7" fmla="*/ 5024 h 7117"/>
                          <a:gd name="connsiteX8" fmla="*/ 1375 w 6982"/>
                          <a:gd name="connsiteY8" fmla="*/ 4964 h 7117"/>
                          <a:gd name="connsiteX9" fmla="*/ 1316 w 6982"/>
                          <a:gd name="connsiteY9" fmla="*/ 4904 h 7117"/>
                          <a:gd name="connsiteX10" fmla="*/ 1076 w 6982"/>
                          <a:gd name="connsiteY10" fmla="*/ 4246 h 7117"/>
                          <a:gd name="connsiteX11" fmla="*/ 1076 w 6982"/>
                          <a:gd name="connsiteY11" fmla="*/ 3529 h 7117"/>
                          <a:gd name="connsiteX12" fmla="*/ 1316 w 6982"/>
                          <a:gd name="connsiteY12" fmla="*/ 2811 h 7117"/>
                          <a:gd name="connsiteX13" fmla="*/ 1734 w 6982"/>
                          <a:gd name="connsiteY13" fmla="*/ 2153 h 7117"/>
                          <a:gd name="connsiteX14" fmla="*/ 1794 w 6982"/>
                          <a:gd name="connsiteY14" fmla="*/ 2034 h 7117"/>
                          <a:gd name="connsiteX15" fmla="*/ 1914 w 6982"/>
                          <a:gd name="connsiteY15" fmla="*/ 1914 h 7117"/>
                          <a:gd name="connsiteX16" fmla="*/ 2033 w 6982"/>
                          <a:gd name="connsiteY16" fmla="*/ 1854 h 7117"/>
                          <a:gd name="connsiteX17" fmla="*/ 2153 w 6982"/>
                          <a:gd name="connsiteY17" fmla="*/ 1794 h 7117"/>
                          <a:gd name="connsiteX18" fmla="*/ 2392 w 6982"/>
                          <a:gd name="connsiteY18" fmla="*/ 1615 h 7117"/>
                          <a:gd name="connsiteX19" fmla="*/ 2632 w 6982"/>
                          <a:gd name="connsiteY19" fmla="*/ 1435 h 7117"/>
                          <a:gd name="connsiteX20" fmla="*/ 2871 w 6982"/>
                          <a:gd name="connsiteY20" fmla="*/ 1316 h 7117"/>
                          <a:gd name="connsiteX21" fmla="*/ 3110 w 6982"/>
                          <a:gd name="connsiteY21" fmla="*/ 1256 h 7117"/>
                          <a:gd name="connsiteX22" fmla="*/ 3110 w 6982"/>
                          <a:gd name="connsiteY22" fmla="*/ 1256 h 7117"/>
                          <a:gd name="connsiteX23" fmla="*/ 3110 w 6982"/>
                          <a:gd name="connsiteY23" fmla="*/ 1256 h 7117"/>
                          <a:gd name="connsiteX24" fmla="*/ 3110 w 6982"/>
                          <a:gd name="connsiteY24" fmla="*/ 1256 h 7117"/>
                          <a:gd name="connsiteX25" fmla="*/ 3110 w 6982"/>
                          <a:gd name="connsiteY25" fmla="*/ 1256 h 7117"/>
                          <a:gd name="connsiteX26" fmla="*/ 3588 w 6982"/>
                          <a:gd name="connsiteY26" fmla="*/ 1196 h 7117"/>
                          <a:gd name="connsiteX27" fmla="*/ 4067 w 6982"/>
                          <a:gd name="connsiteY27" fmla="*/ 1196 h 7117"/>
                          <a:gd name="connsiteX28" fmla="*/ 4545 w 6982"/>
                          <a:gd name="connsiteY28" fmla="*/ 1316 h 7117"/>
                          <a:gd name="connsiteX29" fmla="*/ 4964 w 6982"/>
                          <a:gd name="connsiteY29" fmla="*/ 1555 h 7117"/>
                          <a:gd name="connsiteX30" fmla="*/ 5083 w 6982"/>
                          <a:gd name="connsiteY30" fmla="*/ 1615 h 7117"/>
                          <a:gd name="connsiteX31" fmla="*/ 5203 w 6982"/>
                          <a:gd name="connsiteY31" fmla="*/ 1734 h 7117"/>
                          <a:gd name="connsiteX32" fmla="*/ 5323 w 6982"/>
                          <a:gd name="connsiteY32" fmla="*/ 1854 h 7117"/>
                          <a:gd name="connsiteX33" fmla="*/ 5382 w 6982"/>
                          <a:gd name="connsiteY33" fmla="*/ 1974 h 7117"/>
                          <a:gd name="connsiteX34" fmla="*/ 5741 w 6982"/>
                          <a:gd name="connsiteY34" fmla="*/ 2811 h 7117"/>
                          <a:gd name="connsiteX35" fmla="*/ 5741 w 6982"/>
                          <a:gd name="connsiteY35" fmla="*/ 3708 h 7117"/>
                          <a:gd name="connsiteX36" fmla="*/ 5382 w 6982"/>
                          <a:gd name="connsiteY36" fmla="*/ 4605 h 7117"/>
                          <a:gd name="connsiteX37" fmla="*/ 4725 w 6982"/>
                          <a:gd name="connsiteY37" fmla="*/ 5383 h 7117"/>
                          <a:gd name="connsiteX38" fmla="*/ 4127 w 6982"/>
                          <a:gd name="connsiteY38" fmla="*/ 5742 h 7117"/>
                          <a:gd name="connsiteX39" fmla="*/ 3469 w 6982"/>
                          <a:gd name="connsiteY39" fmla="*/ 5921 h 7117"/>
                          <a:gd name="connsiteX40" fmla="*/ 2811 w 6982"/>
                          <a:gd name="connsiteY40" fmla="*/ 5921 h 7117"/>
                          <a:gd name="connsiteX41" fmla="*/ 2452 w 6982"/>
                          <a:gd name="connsiteY41" fmla="*/ 5801 h 7117"/>
                          <a:gd name="connsiteX42" fmla="*/ 1196 w 6982"/>
                          <a:gd name="connsiteY42" fmla="*/ 6519 h 7117"/>
                          <a:gd name="connsiteX43" fmla="*/ 1435 w 6982"/>
                          <a:gd name="connsiteY43" fmla="*/ 6698 h 7117"/>
                          <a:gd name="connsiteX44" fmla="*/ 1674 w 6982"/>
                          <a:gd name="connsiteY44" fmla="*/ 6818 h 7117"/>
                          <a:gd name="connsiteX45" fmla="*/ 1914 w 6982"/>
                          <a:gd name="connsiteY45" fmla="*/ 6937 h 7117"/>
                          <a:gd name="connsiteX46" fmla="*/ 2153 w 6982"/>
                          <a:gd name="connsiteY46" fmla="*/ 6997 h 7117"/>
                          <a:gd name="connsiteX47" fmla="*/ 2990 w 6982"/>
                          <a:gd name="connsiteY47" fmla="*/ 7117 h 7117"/>
                          <a:gd name="connsiteX48" fmla="*/ 3828 w 6982"/>
                          <a:gd name="connsiteY48" fmla="*/ 6997 h 7117"/>
                          <a:gd name="connsiteX49" fmla="*/ 4665 w 6982"/>
                          <a:gd name="connsiteY49" fmla="*/ 6698 h 7117"/>
                          <a:gd name="connsiteX50" fmla="*/ 5502 w 6982"/>
                          <a:gd name="connsiteY50" fmla="*/ 6160 h 7117"/>
                          <a:gd name="connsiteX51" fmla="*/ 6459 w 6982"/>
                          <a:gd name="connsiteY51" fmla="*/ 5024 h 7117"/>
                          <a:gd name="connsiteX52" fmla="*/ 6937 w 6982"/>
                          <a:gd name="connsiteY52" fmla="*/ 3708 h 7117"/>
                          <a:gd name="connsiteX53" fmla="*/ 6937 w 6982"/>
                          <a:gd name="connsiteY53" fmla="*/ 2333 h 7117"/>
                          <a:gd name="connsiteX54" fmla="*/ 6399 w 6982"/>
                          <a:gd name="connsiteY54" fmla="*/ 1136 h 7117"/>
                          <a:gd name="connsiteX55" fmla="*/ 5861 w 6982"/>
                          <a:gd name="connsiteY55" fmla="*/ 538 h 7117"/>
                          <a:gd name="connsiteX56" fmla="*/ 5323 w 6982"/>
                          <a:gd name="connsiteY56" fmla="*/ 239 h 7117"/>
                          <a:gd name="connsiteX57" fmla="*/ 4725 w 6982"/>
                          <a:gd name="connsiteY57" fmla="*/ 60 h 7117"/>
                          <a:gd name="connsiteX58" fmla="*/ 4067 w 6982"/>
                          <a:gd name="connsiteY58" fmla="*/ 0 h 7117"/>
                          <a:gd name="connsiteX59" fmla="*/ 3409 w 6982"/>
                          <a:gd name="connsiteY59" fmla="*/ 60 h 7117"/>
                          <a:gd name="connsiteX60" fmla="*/ 3409 w 6982"/>
                          <a:gd name="connsiteY60" fmla="*/ 60 h 7117"/>
                          <a:gd name="connsiteX61" fmla="*/ 3409 w 6982"/>
                          <a:gd name="connsiteY61" fmla="*/ 60 h 7117"/>
                          <a:gd name="connsiteX62" fmla="*/ 3409 w 6982"/>
                          <a:gd name="connsiteY62" fmla="*/ 60 h 7117"/>
                          <a:gd name="connsiteX63" fmla="*/ 3409 w 6982"/>
                          <a:gd name="connsiteY63" fmla="*/ 60 h 7117"/>
                          <a:gd name="connsiteX64" fmla="*/ 3110 w 6982"/>
                          <a:gd name="connsiteY64" fmla="*/ 120 h 7117"/>
                          <a:gd name="connsiteX65" fmla="*/ 2811 w 6982"/>
                          <a:gd name="connsiteY65" fmla="*/ 239 h 7117"/>
                          <a:gd name="connsiteX66" fmla="*/ 2512 w 6982"/>
                          <a:gd name="connsiteY66" fmla="*/ 359 h 7117"/>
                          <a:gd name="connsiteX67" fmla="*/ 2213 w 6982"/>
                          <a:gd name="connsiteY67" fmla="*/ 479 h 7117"/>
                          <a:gd name="connsiteX68" fmla="*/ 2033 w 6982"/>
                          <a:gd name="connsiteY68" fmla="*/ 598 h 7117"/>
                          <a:gd name="connsiteX69" fmla="*/ 1854 w 6982"/>
                          <a:gd name="connsiteY69" fmla="*/ 718 h 7117"/>
                          <a:gd name="connsiteX70" fmla="*/ 1674 w 6982"/>
                          <a:gd name="connsiteY70" fmla="*/ 837 h 7117"/>
                          <a:gd name="connsiteX71" fmla="*/ 1495 w 6982"/>
                          <a:gd name="connsiteY71" fmla="*/ 957 h 7117"/>
                          <a:gd name="connsiteX72" fmla="*/ 1495 w 6982"/>
                          <a:gd name="connsiteY72" fmla="*/ 957 h 7117"/>
                          <a:gd name="connsiteX73" fmla="*/ 1495 w 6982"/>
                          <a:gd name="connsiteY73" fmla="*/ 957 h 7117"/>
                          <a:gd name="connsiteX74" fmla="*/ 1495 w 6982"/>
                          <a:gd name="connsiteY74" fmla="*/ 957 h 7117"/>
                          <a:gd name="connsiteX75" fmla="*/ 1495 w 6982"/>
                          <a:gd name="connsiteY75" fmla="*/ 957 h 7117"/>
                          <a:gd name="connsiteX76" fmla="*/ 1196 w 6982"/>
                          <a:gd name="connsiteY76" fmla="*/ 1196 h 7117"/>
                          <a:gd name="connsiteX77" fmla="*/ 957 w 6982"/>
                          <a:gd name="connsiteY77" fmla="*/ 1495 h 7117"/>
                          <a:gd name="connsiteX78" fmla="*/ 718 w 6982"/>
                          <a:gd name="connsiteY78" fmla="*/ 1794 h 7117"/>
                          <a:gd name="connsiteX79" fmla="*/ 538 w 6982"/>
                          <a:gd name="connsiteY79" fmla="*/ 2093 h 7117"/>
                          <a:gd name="connsiteX80" fmla="*/ 359 w 6982"/>
                          <a:gd name="connsiteY80" fmla="*/ 2392 h 7117"/>
                          <a:gd name="connsiteX81" fmla="*/ 239 w 6982"/>
                          <a:gd name="connsiteY81" fmla="*/ 2691 h 7117"/>
                          <a:gd name="connsiteX82" fmla="*/ 120 w 6982"/>
                          <a:gd name="connsiteY82" fmla="*/ 3050 h 7117"/>
                          <a:gd name="connsiteX83" fmla="*/ 60 w 6982"/>
                          <a:gd name="connsiteY83" fmla="*/ 3409 h 7117"/>
                          <a:gd name="connsiteX84" fmla="*/ 0 w 6982"/>
                          <a:gd name="connsiteY84" fmla="*/ 4127 h 7117"/>
                          <a:gd name="connsiteX85" fmla="*/ 60 w 6982"/>
                          <a:gd name="connsiteY85" fmla="*/ 4785 h 7117"/>
                          <a:gd name="connsiteX86" fmla="*/ 239 w 6982"/>
                          <a:gd name="connsiteY86" fmla="*/ 5442 h 7117"/>
                          <a:gd name="connsiteX87" fmla="*/ 538 w 6982"/>
                          <a:gd name="connsiteY87" fmla="*/ 6041 h 7117"/>
                          <a:gd name="connsiteX88" fmla="*/ 658 w 6982"/>
                          <a:gd name="connsiteY88" fmla="*/ 6220 h 7117"/>
                          <a:gd name="connsiteX89" fmla="*/ 778 w 6982"/>
                          <a:gd name="connsiteY89" fmla="*/ 6340 h 7117"/>
                          <a:gd name="connsiteX90" fmla="*/ 897 w 6982"/>
                          <a:gd name="connsiteY90" fmla="*/ 6459 h 7117"/>
                          <a:gd name="connsiteX91" fmla="*/ 1196 w 6982"/>
                          <a:gd name="connsiteY91" fmla="*/ 6519 h 7117"/>
                          <a:gd name="connsiteX92" fmla="*/ 1196 w 6982"/>
                          <a:gd name="connsiteY92" fmla="*/ 6519 h 7117"/>
                          <a:gd name="connsiteX93" fmla="*/ 1196 w 6982"/>
                          <a:gd name="connsiteY93" fmla="*/ 6519 h 7117"/>
                          <a:gd name="connsiteX94" fmla="*/ 1196 w 6982"/>
                          <a:gd name="connsiteY94" fmla="*/ 6519 h 7117"/>
                          <a:gd name="connsiteX95" fmla="*/ 1196 w 6982"/>
                          <a:gd name="connsiteY95" fmla="*/ 6519 h 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6982" h="7117">
                            <a:moveTo>
                              <a:pt x="2452" y="5801"/>
                            </a:moveTo>
                            <a:cubicBezTo>
                              <a:pt x="2392" y="5801"/>
                              <a:pt x="2392" y="5742"/>
                              <a:pt x="2333" y="5742"/>
                            </a:cubicBezTo>
                            <a:cubicBezTo>
                              <a:pt x="2273" y="5742"/>
                              <a:pt x="2273" y="5682"/>
                              <a:pt x="2213" y="5682"/>
                            </a:cubicBezTo>
                            <a:cubicBezTo>
                              <a:pt x="2153" y="5682"/>
                              <a:pt x="2153" y="5622"/>
                              <a:pt x="2093" y="5622"/>
                            </a:cubicBezTo>
                            <a:cubicBezTo>
                              <a:pt x="2033" y="5622"/>
                              <a:pt x="2033" y="5562"/>
                              <a:pt x="1974" y="5562"/>
                            </a:cubicBezTo>
                            <a:lnTo>
                              <a:pt x="1555" y="5143"/>
                            </a:lnTo>
                            <a:cubicBezTo>
                              <a:pt x="1555" y="5143"/>
                              <a:pt x="1555" y="5083"/>
                              <a:pt x="1495" y="5083"/>
                            </a:cubicBezTo>
                            <a:cubicBezTo>
                              <a:pt x="1435" y="5083"/>
                              <a:pt x="1495" y="5024"/>
                              <a:pt x="1435" y="5024"/>
                            </a:cubicBezTo>
                            <a:cubicBezTo>
                              <a:pt x="1435" y="5024"/>
                              <a:pt x="1435" y="4964"/>
                              <a:pt x="1375" y="4964"/>
                            </a:cubicBezTo>
                            <a:cubicBezTo>
                              <a:pt x="1316" y="4964"/>
                              <a:pt x="1375" y="4904"/>
                              <a:pt x="1316" y="4904"/>
                            </a:cubicBezTo>
                            <a:cubicBezTo>
                              <a:pt x="1196" y="4665"/>
                              <a:pt x="1136" y="4486"/>
                              <a:pt x="1076" y="4246"/>
                            </a:cubicBezTo>
                            <a:cubicBezTo>
                              <a:pt x="1017" y="4007"/>
                              <a:pt x="1017" y="3768"/>
                              <a:pt x="1076" y="3529"/>
                            </a:cubicBezTo>
                            <a:cubicBezTo>
                              <a:pt x="1136" y="3289"/>
                              <a:pt x="1196" y="3050"/>
                              <a:pt x="1316" y="2811"/>
                            </a:cubicBezTo>
                            <a:cubicBezTo>
                              <a:pt x="1435" y="2572"/>
                              <a:pt x="1555" y="2333"/>
                              <a:pt x="1734" y="2153"/>
                            </a:cubicBezTo>
                            <a:cubicBezTo>
                              <a:pt x="1734" y="2093"/>
                              <a:pt x="1794" y="2093"/>
                              <a:pt x="1794" y="2034"/>
                            </a:cubicBezTo>
                            <a:cubicBezTo>
                              <a:pt x="1794" y="1974"/>
                              <a:pt x="1854" y="1974"/>
                              <a:pt x="1914" y="1914"/>
                            </a:cubicBezTo>
                            <a:cubicBezTo>
                              <a:pt x="1974" y="1854"/>
                              <a:pt x="1974" y="1854"/>
                              <a:pt x="2033" y="1854"/>
                            </a:cubicBezTo>
                            <a:cubicBezTo>
                              <a:pt x="2093" y="1854"/>
                              <a:pt x="2093" y="1794"/>
                              <a:pt x="2153" y="1794"/>
                            </a:cubicBezTo>
                            <a:cubicBezTo>
                              <a:pt x="2213" y="1734"/>
                              <a:pt x="2333" y="1675"/>
                              <a:pt x="2392" y="1615"/>
                            </a:cubicBezTo>
                            <a:cubicBezTo>
                              <a:pt x="2452" y="1555"/>
                              <a:pt x="2572" y="1495"/>
                              <a:pt x="2632" y="1435"/>
                            </a:cubicBezTo>
                            <a:cubicBezTo>
                              <a:pt x="2691" y="1375"/>
                              <a:pt x="2811" y="1375"/>
                              <a:pt x="2871" y="1316"/>
                            </a:cubicBezTo>
                            <a:cubicBezTo>
                              <a:pt x="2930" y="1256"/>
                              <a:pt x="3050" y="1256"/>
                              <a:pt x="3110" y="1256"/>
                            </a:cubicBezTo>
                            <a:cubicBezTo>
                              <a:pt x="3110" y="1256"/>
                              <a:pt x="3110" y="1256"/>
                              <a:pt x="3110" y="1256"/>
                            </a:cubicBezTo>
                            <a:cubicBezTo>
                              <a:pt x="3110" y="1256"/>
                              <a:pt x="3110" y="1256"/>
                              <a:pt x="3110" y="1256"/>
                            </a:cubicBezTo>
                            <a:cubicBezTo>
                              <a:pt x="3110" y="1256"/>
                              <a:pt x="3110" y="1256"/>
                              <a:pt x="3110" y="1256"/>
                            </a:cubicBezTo>
                            <a:cubicBezTo>
                              <a:pt x="3110" y="1256"/>
                              <a:pt x="3110" y="1256"/>
                              <a:pt x="3110" y="1256"/>
                            </a:cubicBezTo>
                            <a:cubicBezTo>
                              <a:pt x="3289" y="1196"/>
                              <a:pt x="3469" y="1196"/>
                              <a:pt x="3588" y="1196"/>
                            </a:cubicBezTo>
                            <a:cubicBezTo>
                              <a:pt x="3768" y="1196"/>
                              <a:pt x="3887" y="1196"/>
                              <a:pt x="4067" y="1196"/>
                            </a:cubicBezTo>
                            <a:cubicBezTo>
                              <a:pt x="4246" y="1196"/>
                              <a:pt x="4366" y="1256"/>
                              <a:pt x="4545" y="1316"/>
                            </a:cubicBezTo>
                            <a:cubicBezTo>
                              <a:pt x="4665" y="1375"/>
                              <a:pt x="4844" y="1435"/>
                              <a:pt x="4964" y="1555"/>
                            </a:cubicBezTo>
                            <a:cubicBezTo>
                              <a:pt x="5024" y="1555"/>
                              <a:pt x="5024" y="1615"/>
                              <a:pt x="5083" y="1615"/>
                            </a:cubicBezTo>
                            <a:cubicBezTo>
                              <a:pt x="5143" y="1675"/>
                              <a:pt x="5143" y="1675"/>
                              <a:pt x="5203" y="1734"/>
                            </a:cubicBezTo>
                            <a:cubicBezTo>
                              <a:pt x="5263" y="1794"/>
                              <a:pt x="5263" y="1794"/>
                              <a:pt x="5323" y="1854"/>
                            </a:cubicBezTo>
                            <a:cubicBezTo>
                              <a:pt x="5382" y="1914"/>
                              <a:pt x="5382" y="1914"/>
                              <a:pt x="5382" y="1974"/>
                            </a:cubicBezTo>
                            <a:cubicBezTo>
                              <a:pt x="5562" y="2213"/>
                              <a:pt x="5682" y="2512"/>
                              <a:pt x="5741" y="2811"/>
                            </a:cubicBezTo>
                            <a:cubicBezTo>
                              <a:pt x="5801" y="3110"/>
                              <a:pt x="5801" y="3409"/>
                              <a:pt x="5741" y="3708"/>
                            </a:cubicBezTo>
                            <a:cubicBezTo>
                              <a:pt x="5682" y="4007"/>
                              <a:pt x="5562" y="4306"/>
                              <a:pt x="5382" y="4605"/>
                            </a:cubicBezTo>
                            <a:cubicBezTo>
                              <a:pt x="5203" y="4904"/>
                              <a:pt x="5024" y="5143"/>
                              <a:pt x="4725" y="5383"/>
                            </a:cubicBezTo>
                            <a:cubicBezTo>
                              <a:pt x="4545" y="5562"/>
                              <a:pt x="4306" y="5682"/>
                              <a:pt x="4127" y="5742"/>
                            </a:cubicBezTo>
                            <a:cubicBezTo>
                              <a:pt x="3947" y="5801"/>
                              <a:pt x="3708" y="5921"/>
                              <a:pt x="3469" y="5921"/>
                            </a:cubicBezTo>
                            <a:cubicBezTo>
                              <a:pt x="3229" y="5921"/>
                              <a:pt x="3050" y="5981"/>
                              <a:pt x="2811" y="5921"/>
                            </a:cubicBezTo>
                            <a:cubicBezTo>
                              <a:pt x="2811" y="5921"/>
                              <a:pt x="2632" y="5861"/>
                              <a:pt x="2452" y="5801"/>
                            </a:cubicBezTo>
                            <a:moveTo>
                              <a:pt x="1196" y="6519"/>
                            </a:moveTo>
                            <a:cubicBezTo>
                              <a:pt x="1256" y="6579"/>
                              <a:pt x="1375" y="6639"/>
                              <a:pt x="1435" y="6698"/>
                            </a:cubicBezTo>
                            <a:cubicBezTo>
                              <a:pt x="1495" y="6758"/>
                              <a:pt x="1615" y="6818"/>
                              <a:pt x="1674" y="6818"/>
                            </a:cubicBezTo>
                            <a:cubicBezTo>
                              <a:pt x="1734" y="6878"/>
                              <a:pt x="1854" y="6878"/>
                              <a:pt x="1914" y="6937"/>
                            </a:cubicBezTo>
                            <a:cubicBezTo>
                              <a:pt x="1974" y="6997"/>
                              <a:pt x="2093" y="6997"/>
                              <a:pt x="2153" y="6997"/>
                            </a:cubicBezTo>
                            <a:cubicBezTo>
                              <a:pt x="2392" y="7057"/>
                              <a:pt x="2691" y="7117"/>
                              <a:pt x="2990" y="7117"/>
                            </a:cubicBezTo>
                            <a:cubicBezTo>
                              <a:pt x="3289" y="7117"/>
                              <a:pt x="3588" y="7117"/>
                              <a:pt x="3828" y="6997"/>
                            </a:cubicBezTo>
                            <a:cubicBezTo>
                              <a:pt x="4127" y="6937"/>
                              <a:pt x="4426" y="6818"/>
                              <a:pt x="4665" y="6698"/>
                            </a:cubicBezTo>
                            <a:cubicBezTo>
                              <a:pt x="4964" y="6579"/>
                              <a:pt x="5203" y="6399"/>
                              <a:pt x="5502" y="6160"/>
                            </a:cubicBezTo>
                            <a:cubicBezTo>
                              <a:pt x="5921" y="5801"/>
                              <a:pt x="6220" y="5442"/>
                              <a:pt x="6459" y="5024"/>
                            </a:cubicBezTo>
                            <a:cubicBezTo>
                              <a:pt x="6698" y="4605"/>
                              <a:pt x="6878" y="4127"/>
                              <a:pt x="6937" y="3708"/>
                            </a:cubicBezTo>
                            <a:cubicBezTo>
                              <a:pt x="6997" y="3229"/>
                              <a:pt x="6997" y="2811"/>
                              <a:pt x="6937" y="2333"/>
                            </a:cubicBezTo>
                            <a:cubicBezTo>
                              <a:pt x="6878" y="1914"/>
                              <a:pt x="6698" y="1495"/>
                              <a:pt x="6399" y="1136"/>
                            </a:cubicBezTo>
                            <a:lnTo>
                              <a:pt x="5861" y="538"/>
                            </a:lnTo>
                            <a:cubicBezTo>
                              <a:pt x="5682" y="419"/>
                              <a:pt x="5502" y="299"/>
                              <a:pt x="5323" y="239"/>
                            </a:cubicBezTo>
                            <a:cubicBezTo>
                              <a:pt x="5143" y="180"/>
                              <a:pt x="4904" y="60"/>
                              <a:pt x="4725" y="60"/>
                            </a:cubicBezTo>
                            <a:cubicBezTo>
                              <a:pt x="4545" y="60"/>
                              <a:pt x="4306" y="0"/>
                              <a:pt x="4067" y="0"/>
                            </a:cubicBezTo>
                            <a:cubicBezTo>
                              <a:pt x="3828" y="0"/>
                              <a:pt x="3648" y="0"/>
                              <a:pt x="3409" y="60"/>
                            </a:cubicBezTo>
                            <a:cubicBezTo>
                              <a:pt x="3409" y="60"/>
                              <a:pt x="3409" y="60"/>
                              <a:pt x="3409" y="60"/>
                            </a:cubicBezTo>
                            <a:cubicBezTo>
                              <a:pt x="3409" y="60"/>
                              <a:pt x="3409" y="60"/>
                              <a:pt x="3409" y="60"/>
                            </a:cubicBezTo>
                            <a:cubicBezTo>
                              <a:pt x="3409" y="60"/>
                              <a:pt x="3409" y="60"/>
                              <a:pt x="3409" y="60"/>
                            </a:cubicBezTo>
                            <a:cubicBezTo>
                              <a:pt x="3409" y="60"/>
                              <a:pt x="3409" y="60"/>
                              <a:pt x="3409" y="60"/>
                            </a:cubicBezTo>
                            <a:cubicBezTo>
                              <a:pt x="3289" y="60"/>
                              <a:pt x="3229" y="120"/>
                              <a:pt x="3110" y="120"/>
                            </a:cubicBezTo>
                            <a:cubicBezTo>
                              <a:pt x="2990" y="120"/>
                              <a:pt x="2930" y="180"/>
                              <a:pt x="2811" y="239"/>
                            </a:cubicBezTo>
                            <a:cubicBezTo>
                              <a:pt x="2691" y="299"/>
                              <a:pt x="2632" y="299"/>
                              <a:pt x="2512" y="359"/>
                            </a:cubicBezTo>
                            <a:cubicBezTo>
                              <a:pt x="2392" y="419"/>
                              <a:pt x="2333" y="479"/>
                              <a:pt x="2213" y="479"/>
                            </a:cubicBezTo>
                            <a:cubicBezTo>
                              <a:pt x="2153" y="538"/>
                              <a:pt x="2093" y="538"/>
                              <a:pt x="2033" y="598"/>
                            </a:cubicBezTo>
                            <a:cubicBezTo>
                              <a:pt x="1974" y="658"/>
                              <a:pt x="1914" y="658"/>
                              <a:pt x="1854" y="718"/>
                            </a:cubicBezTo>
                            <a:cubicBezTo>
                              <a:pt x="1794" y="778"/>
                              <a:pt x="1734" y="778"/>
                              <a:pt x="1674" y="837"/>
                            </a:cubicBezTo>
                            <a:cubicBezTo>
                              <a:pt x="1615" y="897"/>
                              <a:pt x="1555" y="897"/>
                              <a:pt x="1495" y="957"/>
                            </a:cubicBezTo>
                            <a:cubicBezTo>
                              <a:pt x="1495" y="957"/>
                              <a:pt x="1495" y="957"/>
                              <a:pt x="1495" y="957"/>
                            </a:cubicBezTo>
                            <a:cubicBezTo>
                              <a:pt x="1495" y="957"/>
                              <a:pt x="1495" y="957"/>
                              <a:pt x="1495" y="957"/>
                            </a:cubicBezTo>
                            <a:cubicBezTo>
                              <a:pt x="1495" y="957"/>
                              <a:pt x="1495" y="957"/>
                              <a:pt x="1495" y="957"/>
                            </a:cubicBezTo>
                            <a:cubicBezTo>
                              <a:pt x="1495" y="957"/>
                              <a:pt x="1495" y="957"/>
                              <a:pt x="1495" y="957"/>
                            </a:cubicBezTo>
                            <a:cubicBezTo>
                              <a:pt x="1375" y="1017"/>
                              <a:pt x="1316" y="1136"/>
                              <a:pt x="1196" y="1196"/>
                            </a:cubicBezTo>
                            <a:cubicBezTo>
                              <a:pt x="1076" y="1256"/>
                              <a:pt x="1017" y="1375"/>
                              <a:pt x="957" y="1495"/>
                            </a:cubicBezTo>
                            <a:cubicBezTo>
                              <a:pt x="897" y="1615"/>
                              <a:pt x="778" y="1675"/>
                              <a:pt x="718" y="1794"/>
                            </a:cubicBezTo>
                            <a:cubicBezTo>
                              <a:pt x="658" y="1914"/>
                              <a:pt x="598" y="1974"/>
                              <a:pt x="538" y="2093"/>
                            </a:cubicBezTo>
                            <a:cubicBezTo>
                              <a:pt x="479" y="2213"/>
                              <a:pt x="419" y="2273"/>
                              <a:pt x="359" y="2392"/>
                            </a:cubicBezTo>
                            <a:cubicBezTo>
                              <a:pt x="299" y="2512"/>
                              <a:pt x="239" y="2632"/>
                              <a:pt x="239" y="2691"/>
                            </a:cubicBezTo>
                            <a:cubicBezTo>
                              <a:pt x="179" y="2811"/>
                              <a:pt x="179" y="2930"/>
                              <a:pt x="120" y="3050"/>
                            </a:cubicBezTo>
                            <a:cubicBezTo>
                              <a:pt x="60" y="3170"/>
                              <a:pt x="60" y="3289"/>
                              <a:pt x="60" y="3409"/>
                            </a:cubicBezTo>
                            <a:cubicBezTo>
                              <a:pt x="0" y="3648"/>
                              <a:pt x="0" y="3888"/>
                              <a:pt x="0" y="4127"/>
                            </a:cubicBezTo>
                            <a:cubicBezTo>
                              <a:pt x="0" y="4366"/>
                              <a:pt x="0" y="4605"/>
                              <a:pt x="60" y="4785"/>
                            </a:cubicBezTo>
                            <a:cubicBezTo>
                              <a:pt x="120" y="5024"/>
                              <a:pt x="179" y="5203"/>
                              <a:pt x="239" y="5442"/>
                            </a:cubicBezTo>
                            <a:cubicBezTo>
                              <a:pt x="299" y="5622"/>
                              <a:pt x="419" y="5861"/>
                              <a:pt x="538" y="6041"/>
                            </a:cubicBezTo>
                            <a:cubicBezTo>
                              <a:pt x="598" y="6100"/>
                              <a:pt x="598" y="6160"/>
                              <a:pt x="658" y="6220"/>
                            </a:cubicBezTo>
                            <a:cubicBezTo>
                              <a:pt x="718" y="6280"/>
                              <a:pt x="718" y="6340"/>
                              <a:pt x="778" y="6340"/>
                            </a:cubicBezTo>
                            <a:cubicBezTo>
                              <a:pt x="837" y="6399"/>
                              <a:pt x="897" y="6399"/>
                              <a:pt x="897" y="6459"/>
                            </a:cubicBezTo>
                            <a:cubicBezTo>
                              <a:pt x="1076" y="6399"/>
                              <a:pt x="1136" y="6459"/>
                              <a:pt x="1196" y="6519"/>
                            </a:cubicBezTo>
                            <a:cubicBezTo>
                              <a:pt x="1196" y="6519"/>
                              <a:pt x="1196" y="6519"/>
                              <a:pt x="1196" y="6519"/>
                            </a:cubicBezTo>
                            <a:cubicBezTo>
                              <a:pt x="1196" y="6519"/>
                              <a:pt x="1196" y="6519"/>
                              <a:pt x="1196" y="6519"/>
                            </a:cubicBezTo>
                            <a:cubicBezTo>
                              <a:pt x="1196" y="6519"/>
                              <a:pt x="1196" y="6519"/>
                              <a:pt x="1196" y="6519"/>
                            </a:cubicBezTo>
                            <a:cubicBezTo>
                              <a:pt x="1196" y="6519"/>
                              <a:pt x="1196" y="6519"/>
                              <a:pt x="1196" y="6519"/>
                            </a:cubicBezTo>
                          </a:path>
                        </a:pathLst>
                      </a:custGeom>
                      <a:noFill/>
                      <a:ln w="6350" cap="flat">
                        <a:solidFill>
                          <a:schemeClr val="bg1">
                            <a:alpha val="40000"/>
                          </a:schemeClr>
                        </a:solidFill>
                        <a:prstDash val="solid"/>
                        <a:miter/>
                      </a:ln>
                    </p:spPr>
                    <p:txBody>
                      <a:bodyPr rtlCol="0" anchor="ctr"/>
                      <a:lstStyle/>
                      <a:p>
                        <a:endParaRPr lang="en-GB"/>
                      </a:p>
                    </p:txBody>
                  </p:sp>
                  <p:sp>
                    <p:nvSpPr>
                      <p:cNvPr id="7515" name="Vrije vorm: vorm 7514">
                        <a:extLst>
                          <a:ext uri="{FF2B5EF4-FFF2-40B4-BE49-F238E27FC236}">
                            <a16:creationId xmlns:a16="http://schemas.microsoft.com/office/drawing/2014/main" id="{D013545D-CECB-436A-BB38-DB72B43FC2AF}"/>
                          </a:ext>
                        </a:extLst>
                      </p:cNvPr>
                      <p:cNvSpPr/>
                      <p:nvPr/>
                    </p:nvSpPr>
                    <p:spPr>
                      <a:xfrm>
                        <a:off x="5370588" y="5033834"/>
                        <a:ext cx="34089" cy="42462"/>
                      </a:xfrm>
                      <a:custGeom>
                        <a:avLst/>
                        <a:gdLst>
                          <a:gd name="connsiteX0" fmla="*/ 5861 w 34089"/>
                          <a:gd name="connsiteY0" fmla="*/ 31937 h 42462"/>
                          <a:gd name="connsiteX1" fmla="*/ 6399 w 34089"/>
                          <a:gd name="connsiteY1" fmla="*/ 32475 h 42462"/>
                          <a:gd name="connsiteX2" fmla="*/ 29604 w 34089"/>
                          <a:gd name="connsiteY2" fmla="*/ 3110 h 42462"/>
                          <a:gd name="connsiteX3" fmla="*/ 32953 w 34089"/>
                          <a:gd name="connsiteY3" fmla="*/ 60 h 42462"/>
                          <a:gd name="connsiteX4" fmla="*/ 34030 w 34089"/>
                          <a:gd name="connsiteY4" fmla="*/ 1136 h 42462"/>
                          <a:gd name="connsiteX5" fmla="*/ 32774 w 34089"/>
                          <a:gd name="connsiteY5" fmla="*/ 2213 h 42462"/>
                          <a:gd name="connsiteX6" fmla="*/ 31578 w 34089"/>
                          <a:gd name="connsiteY6" fmla="*/ 5263 h 42462"/>
                          <a:gd name="connsiteX7" fmla="*/ 8493 w 34089"/>
                          <a:gd name="connsiteY7" fmla="*/ 34509 h 42462"/>
                          <a:gd name="connsiteX8" fmla="*/ 9090 w 34089"/>
                          <a:gd name="connsiteY8" fmla="*/ 35107 h 42462"/>
                          <a:gd name="connsiteX9" fmla="*/ 32236 w 34089"/>
                          <a:gd name="connsiteY9" fmla="*/ 5801 h 42462"/>
                          <a:gd name="connsiteX10" fmla="*/ 34090 w 34089"/>
                          <a:gd name="connsiteY10" fmla="*/ 1196 h 42462"/>
                          <a:gd name="connsiteX11" fmla="*/ 32953 w 34089"/>
                          <a:gd name="connsiteY11" fmla="*/ 0 h 42462"/>
                          <a:gd name="connsiteX12" fmla="*/ 29305 w 34089"/>
                          <a:gd name="connsiteY12" fmla="*/ 2392 h 42462"/>
                          <a:gd name="connsiteX13" fmla="*/ 5861 w 34089"/>
                          <a:gd name="connsiteY13" fmla="*/ 31937 h 42462"/>
                          <a:gd name="connsiteX14" fmla="*/ 3528 w 34089"/>
                          <a:gd name="connsiteY14" fmla="*/ 34867 h 42462"/>
                          <a:gd name="connsiteX15" fmla="*/ 4067 w 34089"/>
                          <a:gd name="connsiteY15" fmla="*/ 34509 h 42462"/>
                          <a:gd name="connsiteX16" fmla="*/ 3947 w 34089"/>
                          <a:gd name="connsiteY16" fmla="*/ 34389 h 42462"/>
                          <a:gd name="connsiteX17" fmla="*/ 3528 w 34089"/>
                          <a:gd name="connsiteY17" fmla="*/ 34867 h 42462"/>
                          <a:gd name="connsiteX18" fmla="*/ 1555 w 34089"/>
                          <a:gd name="connsiteY18" fmla="*/ 40848 h 42462"/>
                          <a:gd name="connsiteX19" fmla="*/ 3170 w 34089"/>
                          <a:gd name="connsiteY19" fmla="*/ 42463 h 42462"/>
                          <a:gd name="connsiteX20" fmla="*/ 7057 w 34089"/>
                          <a:gd name="connsiteY20" fmla="*/ 37499 h 42462"/>
                          <a:gd name="connsiteX21" fmla="*/ 6459 w 34089"/>
                          <a:gd name="connsiteY21" fmla="*/ 36901 h 42462"/>
                          <a:gd name="connsiteX22" fmla="*/ 3229 w 34089"/>
                          <a:gd name="connsiteY22" fmla="*/ 41028 h 42462"/>
                          <a:gd name="connsiteX23" fmla="*/ 2213 w 34089"/>
                          <a:gd name="connsiteY23" fmla="*/ 40011 h 42462"/>
                          <a:gd name="connsiteX24" fmla="*/ 1555 w 34089"/>
                          <a:gd name="connsiteY24" fmla="*/ 40848 h 42462"/>
                          <a:gd name="connsiteX25" fmla="*/ 0 w 34089"/>
                          <a:gd name="connsiteY25" fmla="*/ 39293 h 42462"/>
                          <a:gd name="connsiteX26" fmla="*/ 359 w 34089"/>
                          <a:gd name="connsiteY26" fmla="*/ 39652 h 42462"/>
                          <a:gd name="connsiteX27" fmla="*/ 1435 w 34089"/>
                          <a:gd name="connsiteY27" fmla="*/ 38695 h 42462"/>
                          <a:gd name="connsiteX28" fmla="*/ 3768 w 34089"/>
                          <a:gd name="connsiteY28" fmla="*/ 35765 h 42462"/>
                          <a:gd name="connsiteX29" fmla="*/ 1615 w 34089"/>
                          <a:gd name="connsiteY29" fmla="*/ 37320 h 42462"/>
                          <a:gd name="connsiteX30" fmla="*/ 0 w 34089"/>
                          <a:gd name="connsiteY30" fmla="*/ 39293 h 4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089" h="42462">
                            <a:moveTo>
                              <a:pt x="5861" y="31937"/>
                            </a:moveTo>
                            <a:lnTo>
                              <a:pt x="6399" y="32475"/>
                            </a:lnTo>
                            <a:lnTo>
                              <a:pt x="29604" y="3110"/>
                            </a:lnTo>
                            <a:lnTo>
                              <a:pt x="32953" y="60"/>
                            </a:lnTo>
                            <a:lnTo>
                              <a:pt x="34030" y="1136"/>
                            </a:lnTo>
                            <a:lnTo>
                              <a:pt x="32774" y="2213"/>
                            </a:lnTo>
                            <a:lnTo>
                              <a:pt x="31578" y="5263"/>
                            </a:lnTo>
                            <a:lnTo>
                              <a:pt x="8493" y="34509"/>
                            </a:lnTo>
                            <a:lnTo>
                              <a:pt x="9090" y="35107"/>
                            </a:lnTo>
                            <a:lnTo>
                              <a:pt x="32236" y="5801"/>
                            </a:lnTo>
                            <a:lnTo>
                              <a:pt x="34090" y="1196"/>
                            </a:lnTo>
                            <a:lnTo>
                              <a:pt x="32953" y="0"/>
                            </a:lnTo>
                            <a:lnTo>
                              <a:pt x="29305" y="2392"/>
                            </a:lnTo>
                            <a:lnTo>
                              <a:pt x="5861" y="31937"/>
                            </a:lnTo>
                            <a:moveTo>
                              <a:pt x="3528" y="34867"/>
                            </a:moveTo>
                            <a:lnTo>
                              <a:pt x="4067" y="34509"/>
                            </a:lnTo>
                            <a:lnTo>
                              <a:pt x="3947" y="34389"/>
                            </a:lnTo>
                            <a:lnTo>
                              <a:pt x="3528" y="34867"/>
                            </a:lnTo>
                            <a:moveTo>
                              <a:pt x="1555" y="40848"/>
                            </a:moveTo>
                            <a:lnTo>
                              <a:pt x="3170" y="42463"/>
                            </a:lnTo>
                            <a:lnTo>
                              <a:pt x="7057" y="37499"/>
                            </a:lnTo>
                            <a:lnTo>
                              <a:pt x="6459" y="36901"/>
                            </a:lnTo>
                            <a:lnTo>
                              <a:pt x="3229" y="41028"/>
                            </a:lnTo>
                            <a:lnTo>
                              <a:pt x="2213" y="40011"/>
                            </a:lnTo>
                            <a:lnTo>
                              <a:pt x="1555" y="40848"/>
                            </a:lnTo>
                            <a:moveTo>
                              <a:pt x="0" y="39293"/>
                            </a:moveTo>
                            <a:lnTo>
                              <a:pt x="359" y="39652"/>
                            </a:lnTo>
                            <a:lnTo>
                              <a:pt x="1435" y="38695"/>
                            </a:lnTo>
                            <a:lnTo>
                              <a:pt x="3768" y="35765"/>
                            </a:lnTo>
                            <a:lnTo>
                              <a:pt x="1615" y="37320"/>
                            </a:lnTo>
                            <a:lnTo>
                              <a:pt x="0" y="39293"/>
                            </a:lnTo>
                          </a:path>
                        </a:pathLst>
                      </a:custGeom>
                      <a:noFill/>
                      <a:ln w="6350" cap="flat">
                        <a:solidFill>
                          <a:schemeClr val="bg1">
                            <a:alpha val="40000"/>
                          </a:schemeClr>
                        </a:solidFill>
                        <a:prstDash val="solid"/>
                        <a:miter/>
                      </a:ln>
                    </p:spPr>
                    <p:txBody>
                      <a:bodyPr rtlCol="0" anchor="ctr"/>
                      <a:lstStyle/>
                      <a:p>
                        <a:endParaRPr lang="en-GB"/>
                      </a:p>
                    </p:txBody>
                  </p:sp>
                  <p:sp>
                    <p:nvSpPr>
                      <p:cNvPr id="7516" name="Vrije vorm: vorm 7515">
                        <a:extLst>
                          <a:ext uri="{FF2B5EF4-FFF2-40B4-BE49-F238E27FC236}">
                            <a16:creationId xmlns:a16="http://schemas.microsoft.com/office/drawing/2014/main" id="{5035E014-C098-4D00-9B7A-43AA44A1A32F}"/>
                          </a:ext>
                        </a:extLst>
                      </p:cNvPr>
                      <p:cNvSpPr/>
                      <p:nvPr/>
                    </p:nvSpPr>
                    <p:spPr>
                      <a:xfrm>
                        <a:off x="5371545" y="5033894"/>
                        <a:ext cx="33013" cy="40788"/>
                      </a:xfrm>
                      <a:custGeom>
                        <a:avLst/>
                        <a:gdLst>
                          <a:gd name="connsiteX0" fmla="*/ 5442 w 33013"/>
                          <a:gd name="connsiteY0" fmla="*/ 32356 h 40788"/>
                          <a:gd name="connsiteX1" fmla="*/ 6459 w 33013"/>
                          <a:gd name="connsiteY1" fmla="*/ 33373 h 40788"/>
                          <a:gd name="connsiteX2" fmla="*/ 29545 w 33013"/>
                          <a:gd name="connsiteY2" fmla="*/ 4127 h 40788"/>
                          <a:gd name="connsiteX3" fmla="*/ 31758 w 33013"/>
                          <a:gd name="connsiteY3" fmla="*/ 2153 h 40788"/>
                          <a:gd name="connsiteX4" fmla="*/ 33014 w 33013"/>
                          <a:gd name="connsiteY4" fmla="*/ 1076 h 40788"/>
                          <a:gd name="connsiteX5" fmla="*/ 31937 w 33013"/>
                          <a:gd name="connsiteY5" fmla="*/ 0 h 40788"/>
                          <a:gd name="connsiteX6" fmla="*/ 28588 w 33013"/>
                          <a:gd name="connsiteY6" fmla="*/ 3050 h 40788"/>
                          <a:gd name="connsiteX7" fmla="*/ 5442 w 33013"/>
                          <a:gd name="connsiteY7" fmla="*/ 32356 h 40788"/>
                          <a:gd name="connsiteX8" fmla="*/ 479 w 33013"/>
                          <a:gd name="connsiteY8" fmla="*/ 38636 h 40788"/>
                          <a:gd name="connsiteX9" fmla="*/ 4127 w 33013"/>
                          <a:gd name="connsiteY9" fmla="*/ 35406 h 40788"/>
                          <a:gd name="connsiteX10" fmla="*/ 3708 w 33013"/>
                          <a:gd name="connsiteY10" fmla="*/ 34987 h 40788"/>
                          <a:gd name="connsiteX11" fmla="*/ 2811 w 33013"/>
                          <a:gd name="connsiteY11" fmla="*/ 35645 h 40788"/>
                          <a:gd name="connsiteX12" fmla="*/ 479 w 33013"/>
                          <a:gd name="connsiteY12" fmla="*/ 38636 h 40788"/>
                          <a:gd name="connsiteX13" fmla="*/ 0 w 33013"/>
                          <a:gd name="connsiteY13" fmla="*/ 40191 h 40788"/>
                          <a:gd name="connsiteX14" fmla="*/ 598 w 33013"/>
                          <a:gd name="connsiteY14" fmla="*/ 40789 h 40788"/>
                          <a:gd name="connsiteX15" fmla="*/ 1256 w 33013"/>
                          <a:gd name="connsiteY15" fmla="*/ 39951 h 40788"/>
                          <a:gd name="connsiteX16" fmla="*/ 3529 w 33013"/>
                          <a:gd name="connsiteY16" fmla="*/ 37021 h 40788"/>
                          <a:gd name="connsiteX17" fmla="*/ 0 w 33013"/>
                          <a:gd name="connsiteY17" fmla="*/ 40191 h 40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013" h="40788">
                            <a:moveTo>
                              <a:pt x="5442" y="32356"/>
                            </a:moveTo>
                            <a:lnTo>
                              <a:pt x="6459" y="33373"/>
                            </a:lnTo>
                            <a:lnTo>
                              <a:pt x="29545" y="4127"/>
                            </a:lnTo>
                            <a:lnTo>
                              <a:pt x="31758" y="2153"/>
                            </a:lnTo>
                            <a:lnTo>
                              <a:pt x="33014" y="1076"/>
                            </a:lnTo>
                            <a:lnTo>
                              <a:pt x="31937" y="0"/>
                            </a:lnTo>
                            <a:lnTo>
                              <a:pt x="28588" y="3050"/>
                            </a:lnTo>
                            <a:lnTo>
                              <a:pt x="5442" y="32356"/>
                            </a:lnTo>
                            <a:moveTo>
                              <a:pt x="479" y="38636"/>
                            </a:moveTo>
                            <a:lnTo>
                              <a:pt x="4127" y="35406"/>
                            </a:lnTo>
                            <a:lnTo>
                              <a:pt x="3708" y="34987"/>
                            </a:lnTo>
                            <a:lnTo>
                              <a:pt x="2811" y="35645"/>
                            </a:lnTo>
                            <a:lnTo>
                              <a:pt x="479" y="38636"/>
                            </a:lnTo>
                            <a:moveTo>
                              <a:pt x="0" y="40191"/>
                            </a:moveTo>
                            <a:lnTo>
                              <a:pt x="598" y="40789"/>
                            </a:lnTo>
                            <a:lnTo>
                              <a:pt x="1256" y="39951"/>
                            </a:lnTo>
                            <a:lnTo>
                              <a:pt x="3529" y="37021"/>
                            </a:lnTo>
                            <a:lnTo>
                              <a:pt x="0" y="40191"/>
                            </a:lnTo>
                          </a:path>
                        </a:pathLst>
                      </a:custGeom>
                      <a:noFill/>
                      <a:ln w="6350" cap="flat">
                        <a:solidFill>
                          <a:schemeClr val="bg1">
                            <a:alpha val="40000"/>
                          </a:schemeClr>
                        </a:solidFill>
                        <a:prstDash val="solid"/>
                        <a:miter/>
                      </a:ln>
                    </p:spPr>
                    <p:txBody>
                      <a:bodyPr rtlCol="0" anchor="ctr"/>
                      <a:lstStyle/>
                      <a:p>
                        <a:endParaRPr lang="en-GB"/>
                      </a:p>
                    </p:txBody>
                  </p:sp>
                  <p:sp>
                    <p:nvSpPr>
                      <p:cNvPr id="7517" name="Vrije vorm: vorm 7516">
                        <a:extLst>
                          <a:ext uri="{FF2B5EF4-FFF2-40B4-BE49-F238E27FC236}">
                            <a16:creationId xmlns:a16="http://schemas.microsoft.com/office/drawing/2014/main" id="{C0FFA9AE-9DC9-4F96-B0B4-0C642C903040}"/>
                          </a:ext>
                        </a:extLst>
                      </p:cNvPr>
                      <p:cNvSpPr/>
                      <p:nvPr/>
                    </p:nvSpPr>
                    <p:spPr>
                      <a:xfrm>
                        <a:off x="5347144" y="5066429"/>
                        <a:ext cx="31997" cy="38455"/>
                      </a:xfrm>
                      <a:custGeom>
                        <a:avLst/>
                        <a:gdLst>
                          <a:gd name="connsiteX0" fmla="*/ 29963 w 31997"/>
                          <a:gd name="connsiteY0" fmla="*/ 2811 h 38455"/>
                          <a:gd name="connsiteX1" fmla="*/ 31578 w 31997"/>
                          <a:gd name="connsiteY1" fmla="*/ 4426 h 38455"/>
                          <a:gd name="connsiteX2" fmla="*/ 31877 w 31997"/>
                          <a:gd name="connsiteY2" fmla="*/ 4007 h 38455"/>
                          <a:gd name="connsiteX3" fmla="*/ 31997 w 31997"/>
                          <a:gd name="connsiteY3" fmla="*/ 3589 h 38455"/>
                          <a:gd name="connsiteX4" fmla="*/ 30621 w 31997"/>
                          <a:gd name="connsiteY4" fmla="*/ 2213 h 38455"/>
                          <a:gd name="connsiteX5" fmla="*/ 29963 w 31997"/>
                          <a:gd name="connsiteY5" fmla="*/ 2811 h 38455"/>
                          <a:gd name="connsiteX6" fmla="*/ 27811 w 31997"/>
                          <a:gd name="connsiteY6" fmla="*/ 658 h 38455"/>
                          <a:gd name="connsiteX7" fmla="*/ 28408 w 31997"/>
                          <a:gd name="connsiteY7" fmla="*/ 1256 h 38455"/>
                          <a:gd name="connsiteX8" fmla="*/ 29186 w 31997"/>
                          <a:gd name="connsiteY8" fmla="*/ 718 h 38455"/>
                          <a:gd name="connsiteX9" fmla="*/ 28468 w 31997"/>
                          <a:gd name="connsiteY9" fmla="*/ 0 h 38455"/>
                          <a:gd name="connsiteX10" fmla="*/ 28229 w 31997"/>
                          <a:gd name="connsiteY10" fmla="*/ 120 h 38455"/>
                          <a:gd name="connsiteX11" fmla="*/ 27811 w 31997"/>
                          <a:gd name="connsiteY11" fmla="*/ 658 h 38455"/>
                          <a:gd name="connsiteX12" fmla="*/ 11603 w 31997"/>
                          <a:gd name="connsiteY12" fmla="*/ 35705 h 38455"/>
                          <a:gd name="connsiteX13" fmla="*/ 12201 w 31997"/>
                          <a:gd name="connsiteY13" fmla="*/ 36303 h 38455"/>
                          <a:gd name="connsiteX14" fmla="*/ 27691 w 31997"/>
                          <a:gd name="connsiteY14" fmla="*/ 16686 h 38455"/>
                          <a:gd name="connsiteX15" fmla="*/ 31279 w 31997"/>
                          <a:gd name="connsiteY15" fmla="*/ 5742 h 38455"/>
                          <a:gd name="connsiteX16" fmla="*/ 30621 w 31997"/>
                          <a:gd name="connsiteY16" fmla="*/ 5084 h 38455"/>
                          <a:gd name="connsiteX17" fmla="*/ 27033 w 31997"/>
                          <a:gd name="connsiteY17" fmla="*/ 16148 h 38455"/>
                          <a:gd name="connsiteX18" fmla="*/ 11603 w 31997"/>
                          <a:gd name="connsiteY18" fmla="*/ 35705 h 38455"/>
                          <a:gd name="connsiteX19" fmla="*/ 1735 w 31997"/>
                          <a:gd name="connsiteY19" fmla="*/ 26196 h 38455"/>
                          <a:gd name="connsiteX20" fmla="*/ 2333 w 31997"/>
                          <a:gd name="connsiteY20" fmla="*/ 26734 h 38455"/>
                          <a:gd name="connsiteX21" fmla="*/ 17882 w 31997"/>
                          <a:gd name="connsiteY21" fmla="*/ 7057 h 38455"/>
                          <a:gd name="connsiteX22" fmla="*/ 27332 w 31997"/>
                          <a:gd name="connsiteY22" fmla="*/ 1675 h 38455"/>
                          <a:gd name="connsiteX23" fmla="*/ 26674 w 31997"/>
                          <a:gd name="connsiteY23" fmla="*/ 1017 h 38455"/>
                          <a:gd name="connsiteX24" fmla="*/ 17583 w 31997"/>
                          <a:gd name="connsiteY24" fmla="*/ 6220 h 38455"/>
                          <a:gd name="connsiteX25" fmla="*/ 1735 w 31997"/>
                          <a:gd name="connsiteY25" fmla="*/ 26196 h 38455"/>
                          <a:gd name="connsiteX26" fmla="*/ 2930 w 31997"/>
                          <a:gd name="connsiteY26" fmla="*/ 29724 h 38455"/>
                          <a:gd name="connsiteX27" fmla="*/ 4127 w 31997"/>
                          <a:gd name="connsiteY27" fmla="*/ 30861 h 38455"/>
                          <a:gd name="connsiteX28" fmla="*/ 4127 w 31997"/>
                          <a:gd name="connsiteY28" fmla="*/ 30801 h 38455"/>
                          <a:gd name="connsiteX29" fmla="*/ 2930 w 31997"/>
                          <a:gd name="connsiteY29" fmla="*/ 29724 h 38455"/>
                          <a:gd name="connsiteX30" fmla="*/ 2930 w 31997"/>
                          <a:gd name="connsiteY30" fmla="*/ 29724 h 38455"/>
                          <a:gd name="connsiteX31" fmla="*/ 4306 w 31997"/>
                          <a:gd name="connsiteY31" fmla="*/ 32535 h 38455"/>
                          <a:gd name="connsiteX32" fmla="*/ 10466 w 31997"/>
                          <a:gd name="connsiteY32" fmla="*/ 38456 h 38455"/>
                          <a:gd name="connsiteX33" fmla="*/ 11483 w 31997"/>
                          <a:gd name="connsiteY33" fmla="*/ 37140 h 38455"/>
                          <a:gd name="connsiteX34" fmla="*/ 10885 w 31997"/>
                          <a:gd name="connsiteY34" fmla="*/ 36542 h 38455"/>
                          <a:gd name="connsiteX35" fmla="*/ 10526 w 31997"/>
                          <a:gd name="connsiteY35" fmla="*/ 37021 h 38455"/>
                          <a:gd name="connsiteX36" fmla="*/ 4964 w 31997"/>
                          <a:gd name="connsiteY36" fmla="*/ 31638 h 38455"/>
                          <a:gd name="connsiteX37" fmla="*/ 4306 w 31997"/>
                          <a:gd name="connsiteY37" fmla="*/ 32535 h 38455"/>
                          <a:gd name="connsiteX38" fmla="*/ 0 w 31997"/>
                          <a:gd name="connsiteY38" fmla="*/ 28408 h 38455"/>
                          <a:gd name="connsiteX39" fmla="*/ 1615 w 31997"/>
                          <a:gd name="connsiteY39" fmla="*/ 29963 h 38455"/>
                          <a:gd name="connsiteX40" fmla="*/ 2273 w 31997"/>
                          <a:gd name="connsiteY40" fmla="*/ 29126 h 38455"/>
                          <a:gd name="connsiteX41" fmla="*/ 1196 w 31997"/>
                          <a:gd name="connsiteY41" fmla="*/ 28109 h 38455"/>
                          <a:gd name="connsiteX42" fmla="*/ 1555 w 31997"/>
                          <a:gd name="connsiteY42" fmla="*/ 27631 h 38455"/>
                          <a:gd name="connsiteX43" fmla="*/ 957 w 31997"/>
                          <a:gd name="connsiteY43" fmla="*/ 27093 h 38455"/>
                          <a:gd name="connsiteX44" fmla="*/ 0 w 31997"/>
                          <a:gd name="connsiteY44" fmla="*/ 28408 h 3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1997" h="38455">
                            <a:moveTo>
                              <a:pt x="29963" y="2811"/>
                            </a:moveTo>
                            <a:lnTo>
                              <a:pt x="31578" y="4426"/>
                            </a:lnTo>
                            <a:lnTo>
                              <a:pt x="31877" y="4007"/>
                            </a:lnTo>
                            <a:lnTo>
                              <a:pt x="31997" y="3589"/>
                            </a:lnTo>
                            <a:lnTo>
                              <a:pt x="30621" y="2213"/>
                            </a:lnTo>
                            <a:lnTo>
                              <a:pt x="29963" y="2811"/>
                            </a:lnTo>
                            <a:moveTo>
                              <a:pt x="27811" y="658"/>
                            </a:moveTo>
                            <a:lnTo>
                              <a:pt x="28408" y="1256"/>
                            </a:lnTo>
                            <a:lnTo>
                              <a:pt x="29186" y="718"/>
                            </a:lnTo>
                            <a:lnTo>
                              <a:pt x="28468" y="0"/>
                            </a:lnTo>
                            <a:lnTo>
                              <a:pt x="28229" y="120"/>
                            </a:lnTo>
                            <a:lnTo>
                              <a:pt x="27811" y="658"/>
                            </a:lnTo>
                            <a:moveTo>
                              <a:pt x="11603" y="35705"/>
                            </a:moveTo>
                            <a:lnTo>
                              <a:pt x="12201" y="36303"/>
                            </a:lnTo>
                            <a:lnTo>
                              <a:pt x="27691" y="16686"/>
                            </a:lnTo>
                            <a:lnTo>
                              <a:pt x="31279" y="5742"/>
                            </a:lnTo>
                            <a:lnTo>
                              <a:pt x="30621" y="5084"/>
                            </a:lnTo>
                            <a:lnTo>
                              <a:pt x="27033" y="16148"/>
                            </a:lnTo>
                            <a:lnTo>
                              <a:pt x="11603" y="35705"/>
                            </a:lnTo>
                            <a:moveTo>
                              <a:pt x="1735" y="26196"/>
                            </a:moveTo>
                            <a:lnTo>
                              <a:pt x="2333" y="26734"/>
                            </a:lnTo>
                            <a:lnTo>
                              <a:pt x="17882" y="7057"/>
                            </a:lnTo>
                            <a:lnTo>
                              <a:pt x="27332" y="1675"/>
                            </a:lnTo>
                            <a:lnTo>
                              <a:pt x="26674" y="1017"/>
                            </a:lnTo>
                            <a:lnTo>
                              <a:pt x="17583" y="6220"/>
                            </a:lnTo>
                            <a:lnTo>
                              <a:pt x="1735" y="26196"/>
                            </a:lnTo>
                            <a:moveTo>
                              <a:pt x="2930" y="29724"/>
                            </a:moveTo>
                            <a:lnTo>
                              <a:pt x="4127" y="30861"/>
                            </a:lnTo>
                            <a:lnTo>
                              <a:pt x="4127" y="30801"/>
                            </a:lnTo>
                            <a:lnTo>
                              <a:pt x="2930" y="29724"/>
                            </a:lnTo>
                            <a:lnTo>
                              <a:pt x="2930" y="29724"/>
                            </a:lnTo>
                            <a:moveTo>
                              <a:pt x="4306" y="32535"/>
                            </a:moveTo>
                            <a:lnTo>
                              <a:pt x="10466" y="38456"/>
                            </a:lnTo>
                            <a:lnTo>
                              <a:pt x="11483" y="37140"/>
                            </a:lnTo>
                            <a:lnTo>
                              <a:pt x="10885" y="36542"/>
                            </a:lnTo>
                            <a:lnTo>
                              <a:pt x="10526" y="37021"/>
                            </a:lnTo>
                            <a:lnTo>
                              <a:pt x="4964" y="31638"/>
                            </a:lnTo>
                            <a:lnTo>
                              <a:pt x="4306" y="32535"/>
                            </a:lnTo>
                            <a:moveTo>
                              <a:pt x="0" y="28408"/>
                            </a:moveTo>
                            <a:lnTo>
                              <a:pt x="1615" y="29963"/>
                            </a:lnTo>
                            <a:lnTo>
                              <a:pt x="2273" y="29126"/>
                            </a:lnTo>
                            <a:lnTo>
                              <a:pt x="1196" y="28109"/>
                            </a:lnTo>
                            <a:lnTo>
                              <a:pt x="1555" y="27631"/>
                            </a:lnTo>
                            <a:lnTo>
                              <a:pt x="957" y="27093"/>
                            </a:lnTo>
                            <a:lnTo>
                              <a:pt x="0" y="28408"/>
                            </a:lnTo>
                          </a:path>
                        </a:pathLst>
                      </a:custGeom>
                      <a:noFill/>
                      <a:ln w="6350" cap="flat">
                        <a:solidFill>
                          <a:schemeClr val="bg1">
                            <a:alpha val="40000"/>
                          </a:schemeClr>
                        </a:solidFill>
                        <a:prstDash val="solid"/>
                        <a:miter/>
                      </a:ln>
                    </p:spPr>
                    <p:txBody>
                      <a:bodyPr rtlCol="0" anchor="ctr"/>
                      <a:lstStyle/>
                      <a:p>
                        <a:endParaRPr lang="en-GB"/>
                      </a:p>
                    </p:txBody>
                  </p:sp>
                  <p:sp>
                    <p:nvSpPr>
                      <p:cNvPr id="7518" name="Vrije vorm: vorm 7517">
                        <a:extLst>
                          <a:ext uri="{FF2B5EF4-FFF2-40B4-BE49-F238E27FC236}">
                            <a16:creationId xmlns:a16="http://schemas.microsoft.com/office/drawing/2014/main" id="{2066F06C-204A-4CD5-A3AC-C06B2EC6CA34}"/>
                          </a:ext>
                        </a:extLst>
                      </p:cNvPr>
                      <p:cNvSpPr/>
                      <p:nvPr/>
                    </p:nvSpPr>
                    <p:spPr>
                      <a:xfrm>
                        <a:off x="5348818" y="5067146"/>
                        <a:ext cx="29006" cy="31219"/>
                      </a:xfrm>
                      <a:custGeom>
                        <a:avLst/>
                        <a:gdLst>
                          <a:gd name="connsiteX0" fmla="*/ 26734 w 29006"/>
                          <a:gd name="connsiteY0" fmla="*/ 538 h 31219"/>
                          <a:gd name="connsiteX1" fmla="*/ 28289 w 29006"/>
                          <a:gd name="connsiteY1" fmla="*/ 2093 h 31219"/>
                          <a:gd name="connsiteX2" fmla="*/ 29006 w 29006"/>
                          <a:gd name="connsiteY2" fmla="*/ 1495 h 31219"/>
                          <a:gd name="connsiteX3" fmla="*/ 27511 w 29006"/>
                          <a:gd name="connsiteY3" fmla="*/ 0 h 31219"/>
                          <a:gd name="connsiteX4" fmla="*/ 26734 w 29006"/>
                          <a:gd name="connsiteY4" fmla="*/ 538 h 31219"/>
                          <a:gd name="connsiteX5" fmla="*/ 3469 w 29006"/>
                          <a:gd name="connsiteY5" fmla="*/ 28767 h 31219"/>
                          <a:gd name="connsiteX6" fmla="*/ 4067 w 29006"/>
                          <a:gd name="connsiteY6" fmla="*/ 29366 h 31219"/>
                          <a:gd name="connsiteX7" fmla="*/ 19557 w 29006"/>
                          <a:gd name="connsiteY7" fmla="*/ 9749 h 31219"/>
                          <a:gd name="connsiteX8" fmla="*/ 22667 w 29006"/>
                          <a:gd name="connsiteY8" fmla="*/ 6998 h 31219"/>
                          <a:gd name="connsiteX9" fmla="*/ 26255 w 29006"/>
                          <a:gd name="connsiteY9" fmla="*/ 3828 h 31219"/>
                          <a:gd name="connsiteX10" fmla="*/ 27391 w 29006"/>
                          <a:gd name="connsiteY10" fmla="*/ 2811 h 31219"/>
                          <a:gd name="connsiteX11" fmla="*/ 26794 w 29006"/>
                          <a:gd name="connsiteY11" fmla="*/ 2213 h 31219"/>
                          <a:gd name="connsiteX12" fmla="*/ 23145 w 29006"/>
                          <a:gd name="connsiteY12" fmla="*/ 5443 h 31219"/>
                          <a:gd name="connsiteX13" fmla="*/ 22069 w 29006"/>
                          <a:gd name="connsiteY13" fmla="*/ 6399 h 31219"/>
                          <a:gd name="connsiteX14" fmla="*/ 19019 w 29006"/>
                          <a:gd name="connsiteY14" fmla="*/ 9091 h 31219"/>
                          <a:gd name="connsiteX15" fmla="*/ 3469 w 29006"/>
                          <a:gd name="connsiteY15" fmla="*/ 28767 h 31219"/>
                          <a:gd name="connsiteX16" fmla="*/ 1734 w 29006"/>
                          <a:gd name="connsiteY16" fmla="*/ 27033 h 31219"/>
                          <a:gd name="connsiteX17" fmla="*/ 2333 w 29006"/>
                          <a:gd name="connsiteY17" fmla="*/ 27631 h 31219"/>
                          <a:gd name="connsiteX18" fmla="*/ 17882 w 29006"/>
                          <a:gd name="connsiteY18" fmla="*/ 7954 h 31219"/>
                          <a:gd name="connsiteX19" fmla="*/ 23384 w 29006"/>
                          <a:gd name="connsiteY19" fmla="*/ 4007 h 31219"/>
                          <a:gd name="connsiteX20" fmla="*/ 25537 w 29006"/>
                          <a:gd name="connsiteY20" fmla="*/ 2452 h 31219"/>
                          <a:gd name="connsiteX21" fmla="*/ 26435 w 29006"/>
                          <a:gd name="connsiteY21" fmla="*/ 1795 h 31219"/>
                          <a:gd name="connsiteX22" fmla="*/ 25837 w 29006"/>
                          <a:gd name="connsiteY22" fmla="*/ 1196 h 31219"/>
                          <a:gd name="connsiteX23" fmla="*/ 25298 w 29006"/>
                          <a:gd name="connsiteY23" fmla="*/ 1555 h 31219"/>
                          <a:gd name="connsiteX24" fmla="*/ 17464 w 29006"/>
                          <a:gd name="connsiteY24" fmla="*/ 7177 h 31219"/>
                          <a:gd name="connsiteX25" fmla="*/ 1734 w 29006"/>
                          <a:gd name="connsiteY25" fmla="*/ 27033 h 31219"/>
                          <a:gd name="connsiteX26" fmla="*/ 0 w 29006"/>
                          <a:gd name="connsiteY26" fmla="*/ 29246 h 31219"/>
                          <a:gd name="connsiteX27" fmla="*/ 2033 w 29006"/>
                          <a:gd name="connsiteY27" fmla="*/ 31220 h 31219"/>
                          <a:gd name="connsiteX28" fmla="*/ 3110 w 29006"/>
                          <a:gd name="connsiteY28" fmla="*/ 29904 h 31219"/>
                          <a:gd name="connsiteX29" fmla="*/ 2871 w 29006"/>
                          <a:gd name="connsiteY29" fmla="*/ 29665 h 31219"/>
                          <a:gd name="connsiteX30" fmla="*/ 2512 w 29006"/>
                          <a:gd name="connsiteY30" fmla="*/ 30143 h 31219"/>
                          <a:gd name="connsiteX31" fmla="*/ 2512 w 29006"/>
                          <a:gd name="connsiteY31" fmla="*/ 30203 h 31219"/>
                          <a:gd name="connsiteX32" fmla="*/ 1316 w 29006"/>
                          <a:gd name="connsiteY32" fmla="*/ 29067 h 31219"/>
                          <a:gd name="connsiteX33" fmla="*/ 1316 w 29006"/>
                          <a:gd name="connsiteY33" fmla="*/ 29007 h 31219"/>
                          <a:gd name="connsiteX34" fmla="*/ 1674 w 29006"/>
                          <a:gd name="connsiteY34" fmla="*/ 28528 h 31219"/>
                          <a:gd name="connsiteX35" fmla="*/ 1076 w 29006"/>
                          <a:gd name="connsiteY35" fmla="*/ 27930 h 31219"/>
                          <a:gd name="connsiteX36" fmla="*/ 718 w 29006"/>
                          <a:gd name="connsiteY36" fmla="*/ 28408 h 31219"/>
                          <a:gd name="connsiteX37" fmla="*/ 0 w 29006"/>
                          <a:gd name="connsiteY37" fmla="*/ 29246 h 3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9006" h="31219">
                            <a:moveTo>
                              <a:pt x="26734" y="538"/>
                            </a:moveTo>
                            <a:lnTo>
                              <a:pt x="28289" y="2093"/>
                            </a:lnTo>
                            <a:lnTo>
                              <a:pt x="29006" y="1495"/>
                            </a:lnTo>
                            <a:lnTo>
                              <a:pt x="27511" y="0"/>
                            </a:lnTo>
                            <a:lnTo>
                              <a:pt x="26734" y="538"/>
                            </a:lnTo>
                            <a:moveTo>
                              <a:pt x="3469" y="28767"/>
                            </a:moveTo>
                            <a:lnTo>
                              <a:pt x="4067" y="29366"/>
                            </a:lnTo>
                            <a:lnTo>
                              <a:pt x="19557" y="9749"/>
                            </a:lnTo>
                            <a:lnTo>
                              <a:pt x="22667" y="6998"/>
                            </a:lnTo>
                            <a:lnTo>
                              <a:pt x="26255" y="3828"/>
                            </a:lnTo>
                            <a:lnTo>
                              <a:pt x="27391" y="2811"/>
                            </a:lnTo>
                            <a:lnTo>
                              <a:pt x="26794" y="2213"/>
                            </a:lnTo>
                            <a:lnTo>
                              <a:pt x="23145" y="5443"/>
                            </a:lnTo>
                            <a:lnTo>
                              <a:pt x="22069" y="6399"/>
                            </a:lnTo>
                            <a:lnTo>
                              <a:pt x="19019" y="9091"/>
                            </a:lnTo>
                            <a:lnTo>
                              <a:pt x="3469" y="28767"/>
                            </a:lnTo>
                            <a:moveTo>
                              <a:pt x="1734" y="27033"/>
                            </a:moveTo>
                            <a:lnTo>
                              <a:pt x="2333" y="27631"/>
                            </a:lnTo>
                            <a:lnTo>
                              <a:pt x="17882" y="7954"/>
                            </a:lnTo>
                            <a:lnTo>
                              <a:pt x="23384" y="4007"/>
                            </a:lnTo>
                            <a:lnTo>
                              <a:pt x="25537" y="2452"/>
                            </a:lnTo>
                            <a:lnTo>
                              <a:pt x="26435" y="1795"/>
                            </a:lnTo>
                            <a:lnTo>
                              <a:pt x="25837" y="1196"/>
                            </a:lnTo>
                            <a:lnTo>
                              <a:pt x="25298" y="1555"/>
                            </a:lnTo>
                            <a:lnTo>
                              <a:pt x="17464" y="7177"/>
                            </a:lnTo>
                            <a:lnTo>
                              <a:pt x="1734" y="27033"/>
                            </a:lnTo>
                            <a:moveTo>
                              <a:pt x="0" y="29246"/>
                            </a:moveTo>
                            <a:lnTo>
                              <a:pt x="2033" y="31220"/>
                            </a:lnTo>
                            <a:lnTo>
                              <a:pt x="3110" y="29904"/>
                            </a:lnTo>
                            <a:lnTo>
                              <a:pt x="2871" y="29665"/>
                            </a:lnTo>
                            <a:lnTo>
                              <a:pt x="2512" y="30143"/>
                            </a:lnTo>
                            <a:lnTo>
                              <a:pt x="2512" y="30203"/>
                            </a:lnTo>
                            <a:lnTo>
                              <a:pt x="1316" y="29067"/>
                            </a:lnTo>
                            <a:lnTo>
                              <a:pt x="1316" y="29007"/>
                            </a:lnTo>
                            <a:lnTo>
                              <a:pt x="1674" y="28528"/>
                            </a:lnTo>
                            <a:lnTo>
                              <a:pt x="1076" y="27930"/>
                            </a:lnTo>
                            <a:lnTo>
                              <a:pt x="718" y="28408"/>
                            </a:lnTo>
                            <a:lnTo>
                              <a:pt x="0" y="29246"/>
                            </a:lnTo>
                          </a:path>
                        </a:pathLst>
                      </a:custGeom>
                      <a:noFill/>
                      <a:ln w="6350" cap="flat">
                        <a:solidFill>
                          <a:schemeClr val="bg1">
                            <a:alpha val="40000"/>
                          </a:schemeClr>
                        </a:solidFill>
                        <a:prstDash val="solid"/>
                        <a:miter/>
                      </a:ln>
                    </p:spPr>
                    <p:txBody>
                      <a:bodyPr rtlCol="0" anchor="ctr"/>
                      <a:lstStyle/>
                      <a:p>
                        <a:endParaRPr lang="en-GB"/>
                      </a:p>
                    </p:txBody>
                  </p:sp>
                  <p:sp>
                    <p:nvSpPr>
                      <p:cNvPr id="7519" name="Vrije vorm: vorm 7518">
                        <a:extLst>
                          <a:ext uri="{FF2B5EF4-FFF2-40B4-BE49-F238E27FC236}">
                            <a16:creationId xmlns:a16="http://schemas.microsoft.com/office/drawing/2014/main" id="{1F9BAA8F-CBAB-4324-B84C-A7C30C8FF35B}"/>
                          </a:ext>
                        </a:extLst>
                      </p:cNvPr>
                      <p:cNvSpPr/>
                      <p:nvPr/>
                    </p:nvSpPr>
                    <p:spPr>
                      <a:xfrm>
                        <a:off x="5373698" y="5064993"/>
                        <a:ext cx="6877" cy="7356"/>
                      </a:xfrm>
                      <a:custGeom>
                        <a:avLst/>
                        <a:gdLst>
                          <a:gd name="connsiteX0" fmla="*/ 1854 w 6877"/>
                          <a:gd name="connsiteY0" fmla="*/ 2691 h 7356"/>
                          <a:gd name="connsiteX1" fmla="*/ 1256 w 6877"/>
                          <a:gd name="connsiteY1" fmla="*/ 2093 h 7356"/>
                          <a:gd name="connsiteX2" fmla="*/ 1675 w 6877"/>
                          <a:gd name="connsiteY2" fmla="*/ 1555 h 7356"/>
                          <a:gd name="connsiteX3" fmla="*/ 1794 w 6877"/>
                          <a:gd name="connsiteY3" fmla="*/ 1375 h 7356"/>
                          <a:gd name="connsiteX4" fmla="*/ 1854 w 6877"/>
                          <a:gd name="connsiteY4" fmla="*/ 1435 h 7356"/>
                          <a:gd name="connsiteX5" fmla="*/ 2572 w 6877"/>
                          <a:gd name="connsiteY5" fmla="*/ 2153 h 7356"/>
                          <a:gd name="connsiteX6" fmla="*/ 4067 w 6877"/>
                          <a:gd name="connsiteY6" fmla="*/ 3648 h 7356"/>
                          <a:gd name="connsiteX7" fmla="*/ 5443 w 6877"/>
                          <a:gd name="connsiteY7" fmla="*/ 5024 h 7356"/>
                          <a:gd name="connsiteX8" fmla="*/ 5562 w 6877"/>
                          <a:gd name="connsiteY8" fmla="*/ 5143 h 7356"/>
                          <a:gd name="connsiteX9" fmla="*/ 5323 w 6877"/>
                          <a:gd name="connsiteY9" fmla="*/ 5443 h 7356"/>
                          <a:gd name="connsiteX10" fmla="*/ 5024 w 6877"/>
                          <a:gd name="connsiteY10" fmla="*/ 5861 h 7356"/>
                          <a:gd name="connsiteX11" fmla="*/ 3409 w 6877"/>
                          <a:gd name="connsiteY11" fmla="*/ 4246 h 7356"/>
                          <a:gd name="connsiteX12" fmla="*/ 1854 w 6877"/>
                          <a:gd name="connsiteY12" fmla="*/ 2691 h 7356"/>
                          <a:gd name="connsiteX13" fmla="*/ 0 w 6877"/>
                          <a:gd name="connsiteY13" fmla="*/ 2392 h 7356"/>
                          <a:gd name="connsiteX14" fmla="*/ 120 w 6877"/>
                          <a:gd name="connsiteY14" fmla="*/ 2512 h 7356"/>
                          <a:gd name="connsiteX15" fmla="*/ 778 w 6877"/>
                          <a:gd name="connsiteY15" fmla="*/ 3170 h 7356"/>
                          <a:gd name="connsiteX16" fmla="*/ 837 w 6877"/>
                          <a:gd name="connsiteY16" fmla="*/ 3230 h 7356"/>
                          <a:gd name="connsiteX17" fmla="*/ 957 w 6877"/>
                          <a:gd name="connsiteY17" fmla="*/ 3349 h 7356"/>
                          <a:gd name="connsiteX18" fmla="*/ 1555 w 6877"/>
                          <a:gd name="connsiteY18" fmla="*/ 3947 h 7356"/>
                          <a:gd name="connsiteX19" fmla="*/ 1974 w 6877"/>
                          <a:gd name="connsiteY19" fmla="*/ 4366 h 7356"/>
                          <a:gd name="connsiteX20" fmla="*/ 2572 w 6877"/>
                          <a:gd name="connsiteY20" fmla="*/ 4964 h 7356"/>
                          <a:gd name="connsiteX21" fmla="*/ 3409 w 6877"/>
                          <a:gd name="connsiteY21" fmla="*/ 5801 h 7356"/>
                          <a:gd name="connsiteX22" fmla="*/ 4007 w 6877"/>
                          <a:gd name="connsiteY22" fmla="*/ 6399 h 7356"/>
                          <a:gd name="connsiteX23" fmla="*/ 4127 w 6877"/>
                          <a:gd name="connsiteY23" fmla="*/ 6519 h 7356"/>
                          <a:gd name="connsiteX24" fmla="*/ 4785 w 6877"/>
                          <a:gd name="connsiteY24" fmla="*/ 7177 h 7356"/>
                          <a:gd name="connsiteX25" fmla="*/ 4964 w 6877"/>
                          <a:gd name="connsiteY25" fmla="*/ 7356 h 7356"/>
                          <a:gd name="connsiteX26" fmla="*/ 6878 w 6877"/>
                          <a:gd name="connsiteY26" fmla="*/ 4904 h 7356"/>
                          <a:gd name="connsiteX27" fmla="*/ 5981 w 6877"/>
                          <a:gd name="connsiteY27" fmla="*/ 4007 h 7356"/>
                          <a:gd name="connsiteX28" fmla="*/ 5383 w 6877"/>
                          <a:gd name="connsiteY28" fmla="*/ 3409 h 7356"/>
                          <a:gd name="connsiteX29" fmla="*/ 4366 w 6877"/>
                          <a:gd name="connsiteY29" fmla="*/ 2392 h 7356"/>
                          <a:gd name="connsiteX30" fmla="*/ 3349 w 6877"/>
                          <a:gd name="connsiteY30" fmla="*/ 1375 h 7356"/>
                          <a:gd name="connsiteX31" fmla="*/ 2811 w 6877"/>
                          <a:gd name="connsiteY31" fmla="*/ 837 h 7356"/>
                          <a:gd name="connsiteX32" fmla="*/ 1974 w 6877"/>
                          <a:gd name="connsiteY32" fmla="*/ 0 h 7356"/>
                          <a:gd name="connsiteX33" fmla="*/ 0 w 6877"/>
                          <a:gd name="connsiteY33" fmla="*/ 2392 h 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877" h="7356">
                            <a:moveTo>
                              <a:pt x="1854" y="2691"/>
                            </a:moveTo>
                            <a:lnTo>
                              <a:pt x="1256" y="2093"/>
                            </a:lnTo>
                            <a:lnTo>
                              <a:pt x="1675" y="1555"/>
                            </a:lnTo>
                            <a:lnTo>
                              <a:pt x="1794" y="1375"/>
                            </a:lnTo>
                            <a:lnTo>
                              <a:pt x="1854" y="1435"/>
                            </a:lnTo>
                            <a:lnTo>
                              <a:pt x="2572" y="2153"/>
                            </a:lnTo>
                            <a:lnTo>
                              <a:pt x="4067" y="3648"/>
                            </a:lnTo>
                            <a:lnTo>
                              <a:pt x="5443" y="5024"/>
                            </a:lnTo>
                            <a:lnTo>
                              <a:pt x="5562" y="5143"/>
                            </a:lnTo>
                            <a:lnTo>
                              <a:pt x="5323" y="5443"/>
                            </a:lnTo>
                            <a:lnTo>
                              <a:pt x="5024" y="5861"/>
                            </a:lnTo>
                            <a:lnTo>
                              <a:pt x="3409" y="4246"/>
                            </a:lnTo>
                            <a:lnTo>
                              <a:pt x="1854" y="2691"/>
                            </a:lnTo>
                            <a:moveTo>
                              <a:pt x="0" y="2392"/>
                            </a:moveTo>
                            <a:lnTo>
                              <a:pt x="120" y="2512"/>
                            </a:lnTo>
                            <a:lnTo>
                              <a:pt x="778" y="3170"/>
                            </a:lnTo>
                            <a:lnTo>
                              <a:pt x="837" y="3230"/>
                            </a:lnTo>
                            <a:lnTo>
                              <a:pt x="957" y="3349"/>
                            </a:lnTo>
                            <a:lnTo>
                              <a:pt x="1555" y="3947"/>
                            </a:lnTo>
                            <a:lnTo>
                              <a:pt x="1974" y="4366"/>
                            </a:lnTo>
                            <a:lnTo>
                              <a:pt x="2572" y="4964"/>
                            </a:lnTo>
                            <a:lnTo>
                              <a:pt x="3409" y="5801"/>
                            </a:lnTo>
                            <a:lnTo>
                              <a:pt x="4007" y="6399"/>
                            </a:lnTo>
                            <a:lnTo>
                              <a:pt x="4127" y="6519"/>
                            </a:lnTo>
                            <a:lnTo>
                              <a:pt x="4785" y="7177"/>
                            </a:lnTo>
                            <a:lnTo>
                              <a:pt x="4964" y="7356"/>
                            </a:lnTo>
                            <a:lnTo>
                              <a:pt x="6878" y="4904"/>
                            </a:lnTo>
                            <a:lnTo>
                              <a:pt x="5981" y="4007"/>
                            </a:lnTo>
                            <a:lnTo>
                              <a:pt x="5383" y="3409"/>
                            </a:lnTo>
                            <a:lnTo>
                              <a:pt x="4366" y="2392"/>
                            </a:lnTo>
                            <a:lnTo>
                              <a:pt x="3349" y="1375"/>
                            </a:lnTo>
                            <a:lnTo>
                              <a:pt x="2811" y="837"/>
                            </a:lnTo>
                            <a:lnTo>
                              <a:pt x="1974" y="0"/>
                            </a:lnTo>
                            <a:lnTo>
                              <a:pt x="0" y="2392"/>
                            </a:lnTo>
                          </a:path>
                        </a:pathLst>
                      </a:custGeom>
                      <a:noFill/>
                      <a:ln w="6350" cap="flat">
                        <a:solidFill>
                          <a:schemeClr val="bg1">
                            <a:alpha val="40000"/>
                          </a:schemeClr>
                        </a:solidFill>
                        <a:prstDash val="solid"/>
                        <a:miter/>
                      </a:ln>
                    </p:spPr>
                    <p:txBody>
                      <a:bodyPr rtlCol="0" anchor="ctr"/>
                      <a:lstStyle/>
                      <a:p>
                        <a:endParaRPr lang="en-GB"/>
                      </a:p>
                    </p:txBody>
                  </p:sp>
                  <p:sp>
                    <p:nvSpPr>
                      <p:cNvPr id="7520" name="Vrije vorm: vorm 7519">
                        <a:extLst>
                          <a:ext uri="{FF2B5EF4-FFF2-40B4-BE49-F238E27FC236}">
                            <a16:creationId xmlns:a16="http://schemas.microsoft.com/office/drawing/2014/main" id="{1420808D-7342-4DED-8984-A763A832DE0D}"/>
                          </a:ext>
                        </a:extLst>
                      </p:cNvPr>
                      <p:cNvSpPr/>
                      <p:nvPr/>
                    </p:nvSpPr>
                    <p:spPr>
                      <a:xfrm>
                        <a:off x="5323101" y="5095615"/>
                        <a:ext cx="34329" cy="39293"/>
                      </a:xfrm>
                      <a:custGeom>
                        <a:avLst/>
                        <a:gdLst>
                          <a:gd name="connsiteX0" fmla="*/ 26734 w 34329"/>
                          <a:gd name="connsiteY0" fmla="*/ 19916 h 39293"/>
                          <a:gd name="connsiteX1" fmla="*/ 27332 w 34329"/>
                          <a:gd name="connsiteY1" fmla="*/ 20514 h 39293"/>
                          <a:gd name="connsiteX2" fmla="*/ 34329 w 34329"/>
                          <a:gd name="connsiteY2" fmla="*/ 11662 h 39293"/>
                          <a:gd name="connsiteX3" fmla="*/ 27212 w 34329"/>
                          <a:gd name="connsiteY3" fmla="*/ 4844 h 39293"/>
                          <a:gd name="connsiteX4" fmla="*/ 29006 w 34329"/>
                          <a:gd name="connsiteY4" fmla="*/ 6579 h 39293"/>
                          <a:gd name="connsiteX5" fmla="*/ 28349 w 34329"/>
                          <a:gd name="connsiteY5" fmla="*/ 7416 h 39293"/>
                          <a:gd name="connsiteX6" fmla="*/ 33073 w 34329"/>
                          <a:gd name="connsiteY6" fmla="*/ 11961 h 39293"/>
                          <a:gd name="connsiteX7" fmla="*/ 26734 w 34329"/>
                          <a:gd name="connsiteY7" fmla="*/ 19916 h 39293"/>
                          <a:gd name="connsiteX8" fmla="*/ 15011 w 34329"/>
                          <a:gd name="connsiteY8" fmla="*/ 8852 h 39293"/>
                          <a:gd name="connsiteX9" fmla="*/ 15610 w 34329"/>
                          <a:gd name="connsiteY9" fmla="*/ 9450 h 39293"/>
                          <a:gd name="connsiteX10" fmla="*/ 21949 w 34329"/>
                          <a:gd name="connsiteY10" fmla="*/ 1376 h 39293"/>
                          <a:gd name="connsiteX11" fmla="*/ 24521 w 34329"/>
                          <a:gd name="connsiteY11" fmla="*/ 3828 h 39293"/>
                          <a:gd name="connsiteX12" fmla="*/ 25179 w 34329"/>
                          <a:gd name="connsiteY12" fmla="*/ 2990 h 39293"/>
                          <a:gd name="connsiteX13" fmla="*/ 26554 w 34329"/>
                          <a:gd name="connsiteY13" fmla="*/ 4306 h 39293"/>
                          <a:gd name="connsiteX14" fmla="*/ 22009 w 34329"/>
                          <a:gd name="connsiteY14" fmla="*/ 0 h 39293"/>
                          <a:gd name="connsiteX15" fmla="*/ 15011 w 34329"/>
                          <a:gd name="connsiteY15" fmla="*/ 8852 h 39293"/>
                          <a:gd name="connsiteX16" fmla="*/ 18959 w 34329"/>
                          <a:gd name="connsiteY16" fmla="*/ 31040 h 39293"/>
                          <a:gd name="connsiteX17" fmla="*/ 26614 w 34329"/>
                          <a:gd name="connsiteY17" fmla="*/ 21351 h 39293"/>
                          <a:gd name="connsiteX18" fmla="*/ 26016 w 34329"/>
                          <a:gd name="connsiteY18" fmla="*/ 20753 h 39293"/>
                          <a:gd name="connsiteX19" fmla="*/ 18719 w 34329"/>
                          <a:gd name="connsiteY19" fmla="*/ 30023 h 39293"/>
                          <a:gd name="connsiteX20" fmla="*/ 18779 w 34329"/>
                          <a:gd name="connsiteY20" fmla="*/ 30262 h 39293"/>
                          <a:gd name="connsiteX21" fmla="*/ 18839 w 34329"/>
                          <a:gd name="connsiteY21" fmla="*/ 30502 h 39293"/>
                          <a:gd name="connsiteX22" fmla="*/ 18899 w 34329"/>
                          <a:gd name="connsiteY22" fmla="*/ 30741 h 39293"/>
                          <a:gd name="connsiteX23" fmla="*/ 18959 w 34329"/>
                          <a:gd name="connsiteY23" fmla="*/ 31040 h 39293"/>
                          <a:gd name="connsiteX24" fmla="*/ 6459 w 34329"/>
                          <a:gd name="connsiteY24" fmla="*/ 19677 h 39293"/>
                          <a:gd name="connsiteX25" fmla="*/ 6698 w 34329"/>
                          <a:gd name="connsiteY25" fmla="*/ 19677 h 39293"/>
                          <a:gd name="connsiteX26" fmla="*/ 6937 w 34329"/>
                          <a:gd name="connsiteY26" fmla="*/ 19677 h 39293"/>
                          <a:gd name="connsiteX27" fmla="*/ 7177 w 34329"/>
                          <a:gd name="connsiteY27" fmla="*/ 19736 h 39293"/>
                          <a:gd name="connsiteX28" fmla="*/ 7416 w 34329"/>
                          <a:gd name="connsiteY28" fmla="*/ 19796 h 39293"/>
                          <a:gd name="connsiteX29" fmla="*/ 14892 w 34329"/>
                          <a:gd name="connsiteY29" fmla="*/ 10287 h 39293"/>
                          <a:gd name="connsiteX30" fmla="*/ 14294 w 34329"/>
                          <a:gd name="connsiteY30" fmla="*/ 9689 h 39293"/>
                          <a:gd name="connsiteX31" fmla="*/ 6459 w 34329"/>
                          <a:gd name="connsiteY31" fmla="*/ 19677 h 39293"/>
                          <a:gd name="connsiteX32" fmla="*/ 16506 w 34329"/>
                          <a:gd name="connsiteY32" fmla="*/ 34210 h 39293"/>
                          <a:gd name="connsiteX33" fmla="*/ 18181 w 34329"/>
                          <a:gd name="connsiteY33" fmla="*/ 32057 h 39293"/>
                          <a:gd name="connsiteX34" fmla="*/ 18121 w 34329"/>
                          <a:gd name="connsiteY34" fmla="*/ 31817 h 39293"/>
                          <a:gd name="connsiteX35" fmla="*/ 18062 w 34329"/>
                          <a:gd name="connsiteY35" fmla="*/ 31578 h 39293"/>
                          <a:gd name="connsiteX36" fmla="*/ 18002 w 34329"/>
                          <a:gd name="connsiteY36" fmla="*/ 31339 h 39293"/>
                          <a:gd name="connsiteX37" fmla="*/ 17942 w 34329"/>
                          <a:gd name="connsiteY37" fmla="*/ 31100 h 39293"/>
                          <a:gd name="connsiteX38" fmla="*/ 16327 w 34329"/>
                          <a:gd name="connsiteY38" fmla="*/ 33193 h 39293"/>
                          <a:gd name="connsiteX39" fmla="*/ 16387 w 34329"/>
                          <a:gd name="connsiteY39" fmla="*/ 33492 h 39293"/>
                          <a:gd name="connsiteX40" fmla="*/ 16447 w 34329"/>
                          <a:gd name="connsiteY40" fmla="*/ 33791 h 39293"/>
                          <a:gd name="connsiteX41" fmla="*/ 16506 w 34329"/>
                          <a:gd name="connsiteY41" fmla="*/ 34090 h 39293"/>
                          <a:gd name="connsiteX42" fmla="*/ 16506 w 34329"/>
                          <a:gd name="connsiteY42" fmla="*/ 34210 h 39293"/>
                          <a:gd name="connsiteX43" fmla="*/ 3947 w 34329"/>
                          <a:gd name="connsiteY43" fmla="*/ 22846 h 39293"/>
                          <a:gd name="connsiteX44" fmla="*/ 4186 w 34329"/>
                          <a:gd name="connsiteY44" fmla="*/ 22846 h 39293"/>
                          <a:gd name="connsiteX45" fmla="*/ 4426 w 34329"/>
                          <a:gd name="connsiteY45" fmla="*/ 22846 h 39293"/>
                          <a:gd name="connsiteX46" fmla="*/ 4665 w 34329"/>
                          <a:gd name="connsiteY46" fmla="*/ 22846 h 39293"/>
                          <a:gd name="connsiteX47" fmla="*/ 4904 w 34329"/>
                          <a:gd name="connsiteY47" fmla="*/ 22846 h 39293"/>
                          <a:gd name="connsiteX48" fmla="*/ 6579 w 34329"/>
                          <a:gd name="connsiteY48" fmla="*/ 20753 h 39293"/>
                          <a:gd name="connsiteX49" fmla="*/ 6340 w 34329"/>
                          <a:gd name="connsiteY49" fmla="*/ 20753 h 39293"/>
                          <a:gd name="connsiteX50" fmla="*/ 6100 w 34329"/>
                          <a:gd name="connsiteY50" fmla="*/ 20753 h 39293"/>
                          <a:gd name="connsiteX51" fmla="*/ 5861 w 34329"/>
                          <a:gd name="connsiteY51" fmla="*/ 20753 h 39293"/>
                          <a:gd name="connsiteX52" fmla="*/ 5622 w 34329"/>
                          <a:gd name="connsiteY52" fmla="*/ 20753 h 39293"/>
                          <a:gd name="connsiteX53" fmla="*/ 3947 w 34329"/>
                          <a:gd name="connsiteY53" fmla="*/ 22846 h 39293"/>
                          <a:gd name="connsiteX54" fmla="*/ 10048 w 34329"/>
                          <a:gd name="connsiteY54" fmla="*/ 35765 h 39293"/>
                          <a:gd name="connsiteX55" fmla="*/ 10107 w 34329"/>
                          <a:gd name="connsiteY55" fmla="*/ 35824 h 39293"/>
                          <a:gd name="connsiteX56" fmla="*/ 10227 w 34329"/>
                          <a:gd name="connsiteY56" fmla="*/ 35884 h 39293"/>
                          <a:gd name="connsiteX57" fmla="*/ 10347 w 34329"/>
                          <a:gd name="connsiteY57" fmla="*/ 35944 h 39293"/>
                          <a:gd name="connsiteX58" fmla="*/ 10466 w 34329"/>
                          <a:gd name="connsiteY58" fmla="*/ 36004 h 39293"/>
                          <a:gd name="connsiteX59" fmla="*/ 9928 w 34329"/>
                          <a:gd name="connsiteY59" fmla="*/ 35526 h 39293"/>
                          <a:gd name="connsiteX60" fmla="*/ 10048 w 34329"/>
                          <a:gd name="connsiteY60" fmla="*/ 35765 h 39293"/>
                          <a:gd name="connsiteX61" fmla="*/ 9808 w 34329"/>
                          <a:gd name="connsiteY61" fmla="*/ 36841 h 39293"/>
                          <a:gd name="connsiteX62" fmla="*/ 12440 w 34329"/>
                          <a:gd name="connsiteY62" fmla="*/ 39293 h 39293"/>
                          <a:gd name="connsiteX63" fmla="*/ 15490 w 34329"/>
                          <a:gd name="connsiteY63" fmla="*/ 35466 h 39293"/>
                          <a:gd name="connsiteX64" fmla="*/ 15490 w 34329"/>
                          <a:gd name="connsiteY64" fmla="*/ 35167 h 39293"/>
                          <a:gd name="connsiteX65" fmla="*/ 15430 w 34329"/>
                          <a:gd name="connsiteY65" fmla="*/ 34868 h 39293"/>
                          <a:gd name="connsiteX66" fmla="*/ 15370 w 34329"/>
                          <a:gd name="connsiteY66" fmla="*/ 34569 h 39293"/>
                          <a:gd name="connsiteX67" fmla="*/ 15311 w 34329"/>
                          <a:gd name="connsiteY67" fmla="*/ 34270 h 39293"/>
                          <a:gd name="connsiteX68" fmla="*/ 12500 w 34329"/>
                          <a:gd name="connsiteY68" fmla="*/ 37858 h 39293"/>
                          <a:gd name="connsiteX69" fmla="*/ 11543 w 34329"/>
                          <a:gd name="connsiteY69" fmla="*/ 36961 h 39293"/>
                          <a:gd name="connsiteX70" fmla="*/ 11064 w 34329"/>
                          <a:gd name="connsiteY70" fmla="*/ 37081 h 39293"/>
                          <a:gd name="connsiteX71" fmla="*/ 10586 w 34329"/>
                          <a:gd name="connsiteY71" fmla="*/ 37081 h 39293"/>
                          <a:gd name="connsiteX72" fmla="*/ 10167 w 34329"/>
                          <a:gd name="connsiteY72" fmla="*/ 37021 h 39293"/>
                          <a:gd name="connsiteX73" fmla="*/ 9808 w 34329"/>
                          <a:gd name="connsiteY73" fmla="*/ 36841 h 39293"/>
                          <a:gd name="connsiteX74" fmla="*/ 7057 w 34329"/>
                          <a:gd name="connsiteY74" fmla="*/ 34329 h 39293"/>
                          <a:gd name="connsiteX75" fmla="*/ 9090 w 34329"/>
                          <a:gd name="connsiteY75" fmla="*/ 36183 h 39293"/>
                          <a:gd name="connsiteX76" fmla="*/ 9031 w 34329"/>
                          <a:gd name="connsiteY76" fmla="*/ 36064 h 39293"/>
                          <a:gd name="connsiteX77" fmla="*/ 8971 w 34329"/>
                          <a:gd name="connsiteY77" fmla="*/ 35944 h 39293"/>
                          <a:gd name="connsiteX78" fmla="*/ 8911 w 34329"/>
                          <a:gd name="connsiteY78" fmla="*/ 35824 h 39293"/>
                          <a:gd name="connsiteX79" fmla="*/ 8851 w 34329"/>
                          <a:gd name="connsiteY79" fmla="*/ 35705 h 39293"/>
                          <a:gd name="connsiteX80" fmla="*/ 8791 w 34329"/>
                          <a:gd name="connsiteY80" fmla="*/ 35406 h 39293"/>
                          <a:gd name="connsiteX81" fmla="*/ 8732 w 34329"/>
                          <a:gd name="connsiteY81" fmla="*/ 35107 h 39293"/>
                          <a:gd name="connsiteX82" fmla="*/ 8732 w 34329"/>
                          <a:gd name="connsiteY82" fmla="*/ 34748 h 39293"/>
                          <a:gd name="connsiteX83" fmla="*/ 8732 w 34329"/>
                          <a:gd name="connsiteY83" fmla="*/ 34389 h 39293"/>
                          <a:gd name="connsiteX84" fmla="*/ 7715 w 34329"/>
                          <a:gd name="connsiteY84" fmla="*/ 33492 h 39293"/>
                          <a:gd name="connsiteX85" fmla="*/ 7057 w 34329"/>
                          <a:gd name="connsiteY85" fmla="*/ 34329 h 39293"/>
                          <a:gd name="connsiteX86" fmla="*/ 0 w 34329"/>
                          <a:gd name="connsiteY86" fmla="*/ 27811 h 39293"/>
                          <a:gd name="connsiteX87" fmla="*/ 3229 w 34329"/>
                          <a:gd name="connsiteY87" fmla="*/ 30801 h 39293"/>
                          <a:gd name="connsiteX88" fmla="*/ 3289 w 34329"/>
                          <a:gd name="connsiteY88" fmla="*/ 30681 h 39293"/>
                          <a:gd name="connsiteX89" fmla="*/ 3050 w 34329"/>
                          <a:gd name="connsiteY89" fmla="*/ 30322 h 39293"/>
                          <a:gd name="connsiteX90" fmla="*/ 2871 w 34329"/>
                          <a:gd name="connsiteY90" fmla="*/ 29904 h 39293"/>
                          <a:gd name="connsiteX91" fmla="*/ 2751 w 34329"/>
                          <a:gd name="connsiteY91" fmla="*/ 29425 h 39293"/>
                          <a:gd name="connsiteX92" fmla="*/ 2751 w 34329"/>
                          <a:gd name="connsiteY92" fmla="*/ 28947 h 39293"/>
                          <a:gd name="connsiteX93" fmla="*/ 1256 w 34329"/>
                          <a:gd name="connsiteY93" fmla="*/ 27571 h 39293"/>
                          <a:gd name="connsiteX94" fmla="*/ 3947 w 34329"/>
                          <a:gd name="connsiteY94" fmla="*/ 24162 h 39293"/>
                          <a:gd name="connsiteX95" fmla="*/ 3648 w 34329"/>
                          <a:gd name="connsiteY95" fmla="*/ 24162 h 39293"/>
                          <a:gd name="connsiteX96" fmla="*/ 3349 w 34329"/>
                          <a:gd name="connsiteY96" fmla="*/ 24162 h 39293"/>
                          <a:gd name="connsiteX97" fmla="*/ 3050 w 34329"/>
                          <a:gd name="connsiteY97" fmla="*/ 24162 h 39293"/>
                          <a:gd name="connsiteX98" fmla="*/ 2751 w 34329"/>
                          <a:gd name="connsiteY98" fmla="*/ 24162 h 39293"/>
                          <a:gd name="connsiteX99" fmla="*/ 0 w 34329"/>
                          <a:gd name="connsiteY99" fmla="*/ 27811 h 3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34329" h="39293">
                            <a:moveTo>
                              <a:pt x="26734" y="19916"/>
                            </a:moveTo>
                            <a:lnTo>
                              <a:pt x="27332" y="20514"/>
                            </a:lnTo>
                            <a:lnTo>
                              <a:pt x="34329" y="11662"/>
                            </a:lnTo>
                            <a:lnTo>
                              <a:pt x="27212" y="4844"/>
                            </a:lnTo>
                            <a:lnTo>
                              <a:pt x="29006" y="6579"/>
                            </a:lnTo>
                            <a:lnTo>
                              <a:pt x="28349" y="7416"/>
                            </a:lnTo>
                            <a:lnTo>
                              <a:pt x="33073" y="11961"/>
                            </a:lnTo>
                            <a:lnTo>
                              <a:pt x="26734" y="19916"/>
                            </a:lnTo>
                            <a:moveTo>
                              <a:pt x="15011" y="8852"/>
                            </a:moveTo>
                            <a:lnTo>
                              <a:pt x="15610" y="9450"/>
                            </a:lnTo>
                            <a:lnTo>
                              <a:pt x="21949" y="1376"/>
                            </a:lnTo>
                            <a:lnTo>
                              <a:pt x="24521" y="3828"/>
                            </a:lnTo>
                            <a:lnTo>
                              <a:pt x="25179" y="2990"/>
                            </a:lnTo>
                            <a:lnTo>
                              <a:pt x="26554" y="4306"/>
                            </a:lnTo>
                            <a:lnTo>
                              <a:pt x="22009" y="0"/>
                            </a:lnTo>
                            <a:lnTo>
                              <a:pt x="15011" y="8852"/>
                            </a:lnTo>
                            <a:moveTo>
                              <a:pt x="18959" y="31040"/>
                            </a:moveTo>
                            <a:lnTo>
                              <a:pt x="26614" y="21351"/>
                            </a:lnTo>
                            <a:lnTo>
                              <a:pt x="26016" y="20753"/>
                            </a:lnTo>
                            <a:lnTo>
                              <a:pt x="18719" y="30023"/>
                            </a:lnTo>
                            <a:cubicBezTo>
                              <a:pt x="18719" y="30083"/>
                              <a:pt x="18779" y="30203"/>
                              <a:pt x="18779" y="30262"/>
                            </a:cubicBezTo>
                            <a:cubicBezTo>
                              <a:pt x="18779" y="30322"/>
                              <a:pt x="18839" y="30442"/>
                              <a:pt x="18839" y="30502"/>
                            </a:cubicBezTo>
                            <a:cubicBezTo>
                              <a:pt x="18839" y="30561"/>
                              <a:pt x="18899" y="30681"/>
                              <a:pt x="18899" y="30741"/>
                            </a:cubicBezTo>
                            <a:cubicBezTo>
                              <a:pt x="18959" y="30861"/>
                              <a:pt x="18959" y="30980"/>
                              <a:pt x="18959" y="31040"/>
                            </a:cubicBezTo>
                            <a:moveTo>
                              <a:pt x="6459" y="19677"/>
                            </a:moveTo>
                            <a:cubicBezTo>
                              <a:pt x="6519" y="19677"/>
                              <a:pt x="6639" y="19677"/>
                              <a:pt x="6698" y="19677"/>
                            </a:cubicBezTo>
                            <a:cubicBezTo>
                              <a:pt x="6758" y="19677"/>
                              <a:pt x="6878" y="19677"/>
                              <a:pt x="6937" y="19677"/>
                            </a:cubicBezTo>
                            <a:cubicBezTo>
                              <a:pt x="6997" y="19677"/>
                              <a:pt x="7117" y="19677"/>
                              <a:pt x="7177" y="19736"/>
                            </a:cubicBezTo>
                            <a:cubicBezTo>
                              <a:pt x="7236" y="19736"/>
                              <a:pt x="7356" y="19736"/>
                              <a:pt x="7416" y="19796"/>
                            </a:cubicBezTo>
                            <a:lnTo>
                              <a:pt x="14892" y="10287"/>
                            </a:lnTo>
                            <a:lnTo>
                              <a:pt x="14294" y="9689"/>
                            </a:lnTo>
                            <a:lnTo>
                              <a:pt x="6459" y="19677"/>
                            </a:lnTo>
                            <a:moveTo>
                              <a:pt x="16506" y="34210"/>
                            </a:moveTo>
                            <a:lnTo>
                              <a:pt x="18181" y="32057"/>
                            </a:lnTo>
                            <a:cubicBezTo>
                              <a:pt x="18181" y="31997"/>
                              <a:pt x="18121" y="31877"/>
                              <a:pt x="18121" y="31817"/>
                            </a:cubicBezTo>
                            <a:cubicBezTo>
                              <a:pt x="18121" y="31758"/>
                              <a:pt x="18062" y="31638"/>
                              <a:pt x="18062" y="31578"/>
                            </a:cubicBezTo>
                            <a:cubicBezTo>
                              <a:pt x="18062" y="31519"/>
                              <a:pt x="18002" y="31399"/>
                              <a:pt x="18002" y="31339"/>
                            </a:cubicBezTo>
                            <a:cubicBezTo>
                              <a:pt x="18002" y="31279"/>
                              <a:pt x="17942" y="31160"/>
                              <a:pt x="17942" y="31100"/>
                            </a:cubicBezTo>
                            <a:lnTo>
                              <a:pt x="16327" y="33193"/>
                            </a:lnTo>
                            <a:cubicBezTo>
                              <a:pt x="16327" y="33313"/>
                              <a:pt x="16387" y="33373"/>
                              <a:pt x="16387" y="33492"/>
                            </a:cubicBezTo>
                            <a:cubicBezTo>
                              <a:pt x="16387" y="33612"/>
                              <a:pt x="16447" y="33671"/>
                              <a:pt x="16447" y="33791"/>
                            </a:cubicBezTo>
                            <a:cubicBezTo>
                              <a:pt x="16447" y="33911"/>
                              <a:pt x="16506" y="33970"/>
                              <a:pt x="16506" y="34090"/>
                            </a:cubicBezTo>
                            <a:cubicBezTo>
                              <a:pt x="16506" y="33970"/>
                              <a:pt x="16506" y="34090"/>
                              <a:pt x="16506" y="34210"/>
                            </a:cubicBezTo>
                            <a:moveTo>
                              <a:pt x="3947" y="22846"/>
                            </a:moveTo>
                            <a:cubicBezTo>
                              <a:pt x="4007" y="22846"/>
                              <a:pt x="4127" y="22846"/>
                              <a:pt x="4186" y="22846"/>
                            </a:cubicBezTo>
                            <a:cubicBezTo>
                              <a:pt x="4246" y="22846"/>
                              <a:pt x="4366" y="22846"/>
                              <a:pt x="4426" y="22846"/>
                            </a:cubicBezTo>
                            <a:cubicBezTo>
                              <a:pt x="4486" y="22846"/>
                              <a:pt x="4605" y="22846"/>
                              <a:pt x="4665" y="22846"/>
                            </a:cubicBezTo>
                            <a:cubicBezTo>
                              <a:pt x="4725" y="22846"/>
                              <a:pt x="4844" y="22846"/>
                              <a:pt x="4904" y="22846"/>
                            </a:cubicBezTo>
                            <a:lnTo>
                              <a:pt x="6579" y="20753"/>
                            </a:lnTo>
                            <a:cubicBezTo>
                              <a:pt x="6519" y="20753"/>
                              <a:pt x="6399" y="20753"/>
                              <a:pt x="6340" y="20753"/>
                            </a:cubicBezTo>
                            <a:cubicBezTo>
                              <a:pt x="6280" y="20753"/>
                              <a:pt x="6160" y="20753"/>
                              <a:pt x="6100" y="20753"/>
                            </a:cubicBezTo>
                            <a:cubicBezTo>
                              <a:pt x="6040" y="20753"/>
                              <a:pt x="5921" y="20753"/>
                              <a:pt x="5861" y="20753"/>
                            </a:cubicBezTo>
                            <a:cubicBezTo>
                              <a:pt x="5801" y="20753"/>
                              <a:pt x="5681" y="20753"/>
                              <a:pt x="5622" y="20753"/>
                            </a:cubicBezTo>
                            <a:lnTo>
                              <a:pt x="3947" y="22846"/>
                            </a:lnTo>
                            <a:moveTo>
                              <a:pt x="10048" y="35765"/>
                            </a:moveTo>
                            <a:cubicBezTo>
                              <a:pt x="10048" y="35765"/>
                              <a:pt x="10107" y="35824"/>
                              <a:pt x="10107" y="35824"/>
                            </a:cubicBezTo>
                            <a:cubicBezTo>
                              <a:pt x="10107" y="35824"/>
                              <a:pt x="10167" y="35884"/>
                              <a:pt x="10227" y="35884"/>
                            </a:cubicBezTo>
                            <a:cubicBezTo>
                              <a:pt x="10287" y="35884"/>
                              <a:pt x="10287" y="35944"/>
                              <a:pt x="10347" y="35944"/>
                            </a:cubicBezTo>
                            <a:cubicBezTo>
                              <a:pt x="10406" y="35944"/>
                              <a:pt x="10406" y="36004"/>
                              <a:pt x="10466" y="36004"/>
                            </a:cubicBezTo>
                            <a:lnTo>
                              <a:pt x="9928" y="35526"/>
                            </a:lnTo>
                            <a:lnTo>
                              <a:pt x="10048" y="35765"/>
                            </a:lnTo>
                            <a:moveTo>
                              <a:pt x="9808" y="36841"/>
                            </a:moveTo>
                            <a:lnTo>
                              <a:pt x="12440" y="39293"/>
                            </a:lnTo>
                            <a:lnTo>
                              <a:pt x="15490" y="35466"/>
                            </a:lnTo>
                            <a:cubicBezTo>
                              <a:pt x="15490" y="35346"/>
                              <a:pt x="15490" y="35286"/>
                              <a:pt x="15490" y="35167"/>
                            </a:cubicBezTo>
                            <a:cubicBezTo>
                              <a:pt x="15490" y="35047"/>
                              <a:pt x="15490" y="34987"/>
                              <a:pt x="15430" y="34868"/>
                            </a:cubicBezTo>
                            <a:cubicBezTo>
                              <a:pt x="15430" y="34748"/>
                              <a:pt x="15430" y="34688"/>
                              <a:pt x="15370" y="34569"/>
                            </a:cubicBezTo>
                            <a:cubicBezTo>
                              <a:pt x="15370" y="34449"/>
                              <a:pt x="15370" y="34389"/>
                              <a:pt x="15311" y="34270"/>
                            </a:cubicBezTo>
                            <a:lnTo>
                              <a:pt x="12500" y="37858"/>
                            </a:lnTo>
                            <a:lnTo>
                              <a:pt x="11543" y="36961"/>
                            </a:lnTo>
                            <a:cubicBezTo>
                              <a:pt x="11363" y="37021"/>
                              <a:pt x="11243" y="37021"/>
                              <a:pt x="11064" y="37081"/>
                            </a:cubicBezTo>
                            <a:cubicBezTo>
                              <a:pt x="10885" y="37081"/>
                              <a:pt x="10765" y="37081"/>
                              <a:pt x="10586" y="37081"/>
                            </a:cubicBezTo>
                            <a:cubicBezTo>
                              <a:pt x="10466" y="37081"/>
                              <a:pt x="10287" y="37021"/>
                              <a:pt x="10167" y="37021"/>
                            </a:cubicBezTo>
                            <a:cubicBezTo>
                              <a:pt x="10048" y="37021"/>
                              <a:pt x="9928" y="36961"/>
                              <a:pt x="9808" y="36841"/>
                            </a:cubicBezTo>
                            <a:moveTo>
                              <a:pt x="7057" y="34329"/>
                            </a:moveTo>
                            <a:lnTo>
                              <a:pt x="9090" y="36183"/>
                            </a:lnTo>
                            <a:cubicBezTo>
                              <a:pt x="9090" y="36124"/>
                              <a:pt x="9031" y="36124"/>
                              <a:pt x="9031" y="36064"/>
                            </a:cubicBezTo>
                            <a:cubicBezTo>
                              <a:pt x="9031" y="36004"/>
                              <a:pt x="8971" y="36004"/>
                              <a:pt x="8971" y="35944"/>
                            </a:cubicBezTo>
                            <a:cubicBezTo>
                              <a:pt x="8971" y="35884"/>
                              <a:pt x="8911" y="35884"/>
                              <a:pt x="8911" y="35824"/>
                            </a:cubicBezTo>
                            <a:cubicBezTo>
                              <a:pt x="8911" y="35765"/>
                              <a:pt x="8851" y="35765"/>
                              <a:pt x="8851" y="35705"/>
                            </a:cubicBezTo>
                            <a:cubicBezTo>
                              <a:pt x="8791" y="35585"/>
                              <a:pt x="8791" y="35526"/>
                              <a:pt x="8791" y="35406"/>
                            </a:cubicBezTo>
                            <a:cubicBezTo>
                              <a:pt x="8791" y="35286"/>
                              <a:pt x="8732" y="35167"/>
                              <a:pt x="8732" y="35107"/>
                            </a:cubicBezTo>
                            <a:cubicBezTo>
                              <a:pt x="8732" y="35047"/>
                              <a:pt x="8732" y="34868"/>
                              <a:pt x="8732" y="34748"/>
                            </a:cubicBezTo>
                            <a:cubicBezTo>
                              <a:pt x="8732" y="34629"/>
                              <a:pt x="8732" y="34509"/>
                              <a:pt x="8732" y="34389"/>
                            </a:cubicBezTo>
                            <a:lnTo>
                              <a:pt x="7715" y="33492"/>
                            </a:lnTo>
                            <a:lnTo>
                              <a:pt x="7057" y="34329"/>
                            </a:lnTo>
                            <a:moveTo>
                              <a:pt x="0" y="27811"/>
                            </a:moveTo>
                            <a:lnTo>
                              <a:pt x="3229" y="30801"/>
                            </a:lnTo>
                            <a:lnTo>
                              <a:pt x="3289" y="30681"/>
                            </a:lnTo>
                            <a:cubicBezTo>
                              <a:pt x="3229" y="30561"/>
                              <a:pt x="3110" y="30442"/>
                              <a:pt x="3050" y="30322"/>
                            </a:cubicBezTo>
                            <a:cubicBezTo>
                              <a:pt x="2990" y="30203"/>
                              <a:pt x="2930" y="30023"/>
                              <a:pt x="2871" y="29904"/>
                            </a:cubicBezTo>
                            <a:cubicBezTo>
                              <a:pt x="2811" y="29784"/>
                              <a:pt x="2811" y="29605"/>
                              <a:pt x="2751" y="29425"/>
                            </a:cubicBezTo>
                            <a:cubicBezTo>
                              <a:pt x="2691" y="29246"/>
                              <a:pt x="2751" y="29066"/>
                              <a:pt x="2751" y="28947"/>
                            </a:cubicBezTo>
                            <a:lnTo>
                              <a:pt x="1256" y="27571"/>
                            </a:lnTo>
                            <a:lnTo>
                              <a:pt x="3947" y="24162"/>
                            </a:lnTo>
                            <a:cubicBezTo>
                              <a:pt x="3827" y="24162"/>
                              <a:pt x="3768" y="24162"/>
                              <a:pt x="3648" y="24162"/>
                            </a:cubicBezTo>
                            <a:cubicBezTo>
                              <a:pt x="3528" y="24162"/>
                              <a:pt x="3469" y="24162"/>
                              <a:pt x="3349" y="24162"/>
                            </a:cubicBezTo>
                            <a:cubicBezTo>
                              <a:pt x="3229" y="24162"/>
                              <a:pt x="3170" y="24162"/>
                              <a:pt x="3050" y="24162"/>
                            </a:cubicBezTo>
                            <a:cubicBezTo>
                              <a:pt x="2930" y="24162"/>
                              <a:pt x="2871" y="24162"/>
                              <a:pt x="2751" y="24162"/>
                            </a:cubicBezTo>
                            <a:lnTo>
                              <a:pt x="0" y="27811"/>
                            </a:lnTo>
                          </a:path>
                        </a:pathLst>
                      </a:custGeom>
                      <a:noFill/>
                      <a:ln w="6350" cap="flat">
                        <a:solidFill>
                          <a:schemeClr val="bg1">
                            <a:alpha val="40000"/>
                          </a:schemeClr>
                        </a:solidFill>
                        <a:prstDash val="solid"/>
                        <a:miter/>
                      </a:ln>
                    </p:spPr>
                    <p:txBody>
                      <a:bodyPr rtlCol="0" anchor="ctr"/>
                      <a:lstStyle/>
                      <a:p>
                        <a:endParaRPr lang="en-GB"/>
                      </a:p>
                    </p:txBody>
                  </p:sp>
                  <p:sp>
                    <p:nvSpPr>
                      <p:cNvPr id="7521" name="Vrije vorm: vorm 7520">
                        <a:extLst>
                          <a:ext uri="{FF2B5EF4-FFF2-40B4-BE49-F238E27FC236}">
                            <a16:creationId xmlns:a16="http://schemas.microsoft.com/office/drawing/2014/main" id="{610A7C77-0550-43CF-B6EA-9C8090C75BBA}"/>
                          </a:ext>
                        </a:extLst>
                      </p:cNvPr>
                      <p:cNvSpPr/>
                      <p:nvPr/>
                    </p:nvSpPr>
                    <p:spPr>
                      <a:xfrm>
                        <a:off x="5326331" y="5098605"/>
                        <a:ext cx="25717" cy="31338"/>
                      </a:xfrm>
                      <a:custGeom>
                        <a:avLst/>
                        <a:gdLst>
                          <a:gd name="connsiteX0" fmla="*/ 18121 w 25717"/>
                          <a:gd name="connsiteY0" fmla="*/ 11902 h 31338"/>
                          <a:gd name="connsiteX1" fmla="*/ 18720 w 25717"/>
                          <a:gd name="connsiteY1" fmla="*/ 12440 h 31338"/>
                          <a:gd name="connsiteX2" fmla="*/ 25059 w 25717"/>
                          <a:gd name="connsiteY2" fmla="*/ 4426 h 31338"/>
                          <a:gd name="connsiteX3" fmla="*/ 25717 w 25717"/>
                          <a:gd name="connsiteY3" fmla="*/ 3589 h 31338"/>
                          <a:gd name="connsiteX4" fmla="*/ 23923 w 25717"/>
                          <a:gd name="connsiteY4" fmla="*/ 1854 h 31338"/>
                          <a:gd name="connsiteX5" fmla="*/ 23265 w 25717"/>
                          <a:gd name="connsiteY5" fmla="*/ 2691 h 31338"/>
                          <a:gd name="connsiteX6" fmla="*/ 24461 w 25717"/>
                          <a:gd name="connsiteY6" fmla="*/ 3828 h 31338"/>
                          <a:gd name="connsiteX7" fmla="*/ 18121 w 25717"/>
                          <a:gd name="connsiteY7" fmla="*/ 11902 h 31338"/>
                          <a:gd name="connsiteX8" fmla="*/ 14952 w 25717"/>
                          <a:gd name="connsiteY8" fmla="*/ 8852 h 31338"/>
                          <a:gd name="connsiteX9" fmla="*/ 15550 w 25717"/>
                          <a:gd name="connsiteY9" fmla="*/ 9450 h 31338"/>
                          <a:gd name="connsiteX10" fmla="*/ 21889 w 25717"/>
                          <a:gd name="connsiteY10" fmla="*/ 1435 h 31338"/>
                          <a:gd name="connsiteX11" fmla="*/ 22607 w 25717"/>
                          <a:gd name="connsiteY11" fmla="*/ 2153 h 31338"/>
                          <a:gd name="connsiteX12" fmla="*/ 23265 w 25717"/>
                          <a:gd name="connsiteY12" fmla="*/ 1316 h 31338"/>
                          <a:gd name="connsiteX13" fmla="*/ 21889 w 25717"/>
                          <a:gd name="connsiteY13" fmla="*/ 0 h 31338"/>
                          <a:gd name="connsiteX14" fmla="*/ 21231 w 25717"/>
                          <a:gd name="connsiteY14" fmla="*/ 837 h 31338"/>
                          <a:gd name="connsiteX15" fmla="*/ 14952 w 25717"/>
                          <a:gd name="connsiteY15" fmla="*/ 8852 h 31338"/>
                          <a:gd name="connsiteX16" fmla="*/ 12021 w 25717"/>
                          <a:gd name="connsiteY16" fmla="*/ 20873 h 31338"/>
                          <a:gd name="connsiteX17" fmla="*/ 18002 w 25717"/>
                          <a:gd name="connsiteY17" fmla="*/ 13277 h 31338"/>
                          <a:gd name="connsiteX18" fmla="*/ 17404 w 25717"/>
                          <a:gd name="connsiteY18" fmla="*/ 12739 h 31338"/>
                          <a:gd name="connsiteX19" fmla="*/ 11423 w 25717"/>
                          <a:gd name="connsiteY19" fmla="*/ 20335 h 31338"/>
                          <a:gd name="connsiteX20" fmla="*/ 11543 w 25717"/>
                          <a:gd name="connsiteY20" fmla="*/ 20454 h 31338"/>
                          <a:gd name="connsiteX21" fmla="*/ 11662 w 25717"/>
                          <a:gd name="connsiteY21" fmla="*/ 20574 h 31338"/>
                          <a:gd name="connsiteX22" fmla="*/ 11782 w 25717"/>
                          <a:gd name="connsiteY22" fmla="*/ 20693 h 31338"/>
                          <a:gd name="connsiteX23" fmla="*/ 12021 w 25717"/>
                          <a:gd name="connsiteY23" fmla="*/ 20873 h 31338"/>
                          <a:gd name="connsiteX24" fmla="*/ 7835 w 25717"/>
                          <a:gd name="connsiteY24" fmla="*/ 17882 h 31338"/>
                          <a:gd name="connsiteX25" fmla="*/ 8014 w 25717"/>
                          <a:gd name="connsiteY25" fmla="*/ 18002 h 31338"/>
                          <a:gd name="connsiteX26" fmla="*/ 8194 w 25717"/>
                          <a:gd name="connsiteY26" fmla="*/ 18122 h 31338"/>
                          <a:gd name="connsiteX27" fmla="*/ 8373 w 25717"/>
                          <a:gd name="connsiteY27" fmla="*/ 18241 h 31338"/>
                          <a:gd name="connsiteX28" fmla="*/ 8552 w 25717"/>
                          <a:gd name="connsiteY28" fmla="*/ 18361 h 31338"/>
                          <a:gd name="connsiteX29" fmla="*/ 14832 w 25717"/>
                          <a:gd name="connsiteY29" fmla="*/ 10406 h 31338"/>
                          <a:gd name="connsiteX30" fmla="*/ 14234 w 25717"/>
                          <a:gd name="connsiteY30" fmla="*/ 9808 h 31338"/>
                          <a:gd name="connsiteX31" fmla="*/ 7835 w 25717"/>
                          <a:gd name="connsiteY31" fmla="*/ 17882 h 31338"/>
                          <a:gd name="connsiteX32" fmla="*/ 9928 w 25717"/>
                          <a:gd name="connsiteY32" fmla="*/ 23564 h 31338"/>
                          <a:gd name="connsiteX33" fmla="*/ 11364 w 25717"/>
                          <a:gd name="connsiteY33" fmla="*/ 21710 h 31338"/>
                          <a:gd name="connsiteX34" fmla="*/ 11244 w 25717"/>
                          <a:gd name="connsiteY34" fmla="*/ 21590 h 31338"/>
                          <a:gd name="connsiteX35" fmla="*/ 11124 w 25717"/>
                          <a:gd name="connsiteY35" fmla="*/ 21471 h 31338"/>
                          <a:gd name="connsiteX36" fmla="*/ 11004 w 25717"/>
                          <a:gd name="connsiteY36" fmla="*/ 21351 h 31338"/>
                          <a:gd name="connsiteX37" fmla="*/ 10885 w 25717"/>
                          <a:gd name="connsiteY37" fmla="*/ 21231 h 31338"/>
                          <a:gd name="connsiteX38" fmla="*/ 9450 w 25717"/>
                          <a:gd name="connsiteY38" fmla="*/ 23085 h 31338"/>
                          <a:gd name="connsiteX39" fmla="*/ 9569 w 25717"/>
                          <a:gd name="connsiteY39" fmla="*/ 23205 h 31338"/>
                          <a:gd name="connsiteX40" fmla="*/ 9689 w 25717"/>
                          <a:gd name="connsiteY40" fmla="*/ 23325 h 31338"/>
                          <a:gd name="connsiteX41" fmla="*/ 9808 w 25717"/>
                          <a:gd name="connsiteY41" fmla="*/ 23445 h 31338"/>
                          <a:gd name="connsiteX42" fmla="*/ 9928 w 25717"/>
                          <a:gd name="connsiteY42" fmla="*/ 23564 h 31338"/>
                          <a:gd name="connsiteX43" fmla="*/ 5682 w 25717"/>
                          <a:gd name="connsiteY43" fmla="*/ 20634 h 31338"/>
                          <a:gd name="connsiteX44" fmla="*/ 5861 w 25717"/>
                          <a:gd name="connsiteY44" fmla="*/ 20693 h 31338"/>
                          <a:gd name="connsiteX45" fmla="*/ 6041 w 25717"/>
                          <a:gd name="connsiteY45" fmla="*/ 20753 h 31338"/>
                          <a:gd name="connsiteX46" fmla="*/ 6220 w 25717"/>
                          <a:gd name="connsiteY46" fmla="*/ 20813 h 31338"/>
                          <a:gd name="connsiteX47" fmla="*/ 6399 w 25717"/>
                          <a:gd name="connsiteY47" fmla="*/ 20933 h 31338"/>
                          <a:gd name="connsiteX48" fmla="*/ 7895 w 25717"/>
                          <a:gd name="connsiteY48" fmla="*/ 19079 h 31338"/>
                          <a:gd name="connsiteX49" fmla="*/ 7715 w 25717"/>
                          <a:gd name="connsiteY49" fmla="*/ 18959 h 31338"/>
                          <a:gd name="connsiteX50" fmla="*/ 7536 w 25717"/>
                          <a:gd name="connsiteY50" fmla="*/ 18839 h 31338"/>
                          <a:gd name="connsiteX51" fmla="*/ 7356 w 25717"/>
                          <a:gd name="connsiteY51" fmla="*/ 18720 h 31338"/>
                          <a:gd name="connsiteX52" fmla="*/ 7177 w 25717"/>
                          <a:gd name="connsiteY52" fmla="*/ 18660 h 31338"/>
                          <a:gd name="connsiteX53" fmla="*/ 5682 w 25717"/>
                          <a:gd name="connsiteY53" fmla="*/ 20634 h 31338"/>
                          <a:gd name="connsiteX54" fmla="*/ 4785 w 25717"/>
                          <a:gd name="connsiteY54" fmla="*/ 23145 h 31338"/>
                          <a:gd name="connsiteX55" fmla="*/ 5622 w 25717"/>
                          <a:gd name="connsiteY55" fmla="*/ 22129 h 31338"/>
                          <a:gd name="connsiteX56" fmla="*/ 5442 w 25717"/>
                          <a:gd name="connsiteY56" fmla="*/ 22069 h 31338"/>
                          <a:gd name="connsiteX57" fmla="*/ 5263 w 25717"/>
                          <a:gd name="connsiteY57" fmla="*/ 22009 h 31338"/>
                          <a:gd name="connsiteX58" fmla="*/ 5083 w 25717"/>
                          <a:gd name="connsiteY58" fmla="*/ 21950 h 31338"/>
                          <a:gd name="connsiteX59" fmla="*/ 4904 w 25717"/>
                          <a:gd name="connsiteY59" fmla="*/ 21890 h 31338"/>
                          <a:gd name="connsiteX60" fmla="*/ 4306 w 25717"/>
                          <a:gd name="connsiteY60" fmla="*/ 22667 h 31338"/>
                          <a:gd name="connsiteX61" fmla="*/ 4366 w 25717"/>
                          <a:gd name="connsiteY61" fmla="*/ 22727 h 31338"/>
                          <a:gd name="connsiteX62" fmla="*/ 4426 w 25717"/>
                          <a:gd name="connsiteY62" fmla="*/ 22787 h 31338"/>
                          <a:gd name="connsiteX63" fmla="*/ 4486 w 25717"/>
                          <a:gd name="connsiteY63" fmla="*/ 22846 h 31338"/>
                          <a:gd name="connsiteX64" fmla="*/ 4545 w 25717"/>
                          <a:gd name="connsiteY64" fmla="*/ 22906 h 31338"/>
                          <a:gd name="connsiteX65" fmla="*/ 4665 w 25717"/>
                          <a:gd name="connsiteY65" fmla="*/ 23026 h 31338"/>
                          <a:gd name="connsiteX66" fmla="*/ 4725 w 25717"/>
                          <a:gd name="connsiteY66" fmla="*/ 23145 h 31338"/>
                          <a:gd name="connsiteX67" fmla="*/ 4785 w 25717"/>
                          <a:gd name="connsiteY67" fmla="*/ 23265 h 31338"/>
                          <a:gd name="connsiteX68" fmla="*/ 4785 w 25717"/>
                          <a:gd name="connsiteY68" fmla="*/ 23145 h 31338"/>
                          <a:gd name="connsiteX69" fmla="*/ 1017 w 25717"/>
                          <a:gd name="connsiteY69" fmla="*/ 27093 h 31338"/>
                          <a:gd name="connsiteX70" fmla="*/ 1435 w 25717"/>
                          <a:gd name="connsiteY70" fmla="*/ 27332 h 31338"/>
                          <a:gd name="connsiteX71" fmla="*/ 4067 w 25717"/>
                          <a:gd name="connsiteY71" fmla="*/ 23983 h 31338"/>
                          <a:gd name="connsiteX72" fmla="*/ 4007 w 25717"/>
                          <a:gd name="connsiteY72" fmla="*/ 23863 h 31338"/>
                          <a:gd name="connsiteX73" fmla="*/ 3947 w 25717"/>
                          <a:gd name="connsiteY73" fmla="*/ 23744 h 31338"/>
                          <a:gd name="connsiteX74" fmla="*/ 3888 w 25717"/>
                          <a:gd name="connsiteY74" fmla="*/ 23624 h 31338"/>
                          <a:gd name="connsiteX75" fmla="*/ 3768 w 25717"/>
                          <a:gd name="connsiteY75" fmla="*/ 23504 h 31338"/>
                          <a:gd name="connsiteX76" fmla="*/ 3708 w 25717"/>
                          <a:gd name="connsiteY76" fmla="*/ 23445 h 31338"/>
                          <a:gd name="connsiteX77" fmla="*/ 3648 w 25717"/>
                          <a:gd name="connsiteY77" fmla="*/ 23385 h 31338"/>
                          <a:gd name="connsiteX78" fmla="*/ 3588 w 25717"/>
                          <a:gd name="connsiteY78" fmla="*/ 23325 h 31338"/>
                          <a:gd name="connsiteX79" fmla="*/ 3528 w 25717"/>
                          <a:gd name="connsiteY79" fmla="*/ 23265 h 31338"/>
                          <a:gd name="connsiteX80" fmla="*/ 778 w 25717"/>
                          <a:gd name="connsiteY80" fmla="*/ 26734 h 31338"/>
                          <a:gd name="connsiteX81" fmla="*/ 837 w 25717"/>
                          <a:gd name="connsiteY81" fmla="*/ 26794 h 31338"/>
                          <a:gd name="connsiteX82" fmla="*/ 897 w 25717"/>
                          <a:gd name="connsiteY82" fmla="*/ 26853 h 31338"/>
                          <a:gd name="connsiteX83" fmla="*/ 957 w 25717"/>
                          <a:gd name="connsiteY83" fmla="*/ 26913 h 31338"/>
                          <a:gd name="connsiteX84" fmla="*/ 1017 w 25717"/>
                          <a:gd name="connsiteY84" fmla="*/ 27093 h 31338"/>
                          <a:gd name="connsiteX85" fmla="*/ 0 w 25717"/>
                          <a:gd name="connsiteY85" fmla="*/ 27811 h 31338"/>
                          <a:gd name="connsiteX86" fmla="*/ 3828 w 25717"/>
                          <a:gd name="connsiteY86" fmla="*/ 31339 h 31338"/>
                          <a:gd name="connsiteX87" fmla="*/ 4486 w 25717"/>
                          <a:gd name="connsiteY87" fmla="*/ 30502 h 31338"/>
                          <a:gd name="connsiteX88" fmla="*/ 9091 w 25717"/>
                          <a:gd name="connsiteY88" fmla="*/ 24700 h 31338"/>
                          <a:gd name="connsiteX89" fmla="*/ 8971 w 25717"/>
                          <a:gd name="connsiteY89" fmla="*/ 24581 h 31338"/>
                          <a:gd name="connsiteX90" fmla="*/ 8851 w 25717"/>
                          <a:gd name="connsiteY90" fmla="*/ 24461 h 31338"/>
                          <a:gd name="connsiteX91" fmla="*/ 8732 w 25717"/>
                          <a:gd name="connsiteY91" fmla="*/ 24342 h 31338"/>
                          <a:gd name="connsiteX92" fmla="*/ 8612 w 25717"/>
                          <a:gd name="connsiteY92" fmla="*/ 24222 h 31338"/>
                          <a:gd name="connsiteX93" fmla="*/ 4007 w 25717"/>
                          <a:gd name="connsiteY93" fmla="*/ 30083 h 31338"/>
                          <a:gd name="connsiteX94" fmla="*/ 2392 w 25717"/>
                          <a:gd name="connsiteY94" fmla="*/ 28588 h 31338"/>
                          <a:gd name="connsiteX95" fmla="*/ 2093 w 25717"/>
                          <a:gd name="connsiteY95" fmla="*/ 28648 h 31338"/>
                          <a:gd name="connsiteX96" fmla="*/ 1794 w 25717"/>
                          <a:gd name="connsiteY96" fmla="*/ 28648 h 31338"/>
                          <a:gd name="connsiteX97" fmla="*/ 1495 w 25717"/>
                          <a:gd name="connsiteY97" fmla="*/ 28648 h 31338"/>
                          <a:gd name="connsiteX98" fmla="*/ 1196 w 25717"/>
                          <a:gd name="connsiteY98" fmla="*/ 28588 h 31338"/>
                          <a:gd name="connsiteX99" fmla="*/ 957 w 25717"/>
                          <a:gd name="connsiteY99" fmla="*/ 28528 h 31338"/>
                          <a:gd name="connsiteX100" fmla="*/ 718 w 25717"/>
                          <a:gd name="connsiteY100" fmla="*/ 28408 h 31338"/>
                          <a:gd name="connsiteX101" fmla="*/ 538 w 25717"/>
                          <a:gd name="connsiteY101" fmla="*/ 28289 h 31338"/>
                          <a:gd name="connsiteX102" fmla="*/ 359 w 25717"/>
                          <a:gd name="connsiteY102" fmla="*/ 28169 h 31338"/>
                          <a:gd name="connsiteX103" fmla="*/ 299 w 25717"/>
                          <a:gd name="connsiteY103" fmla="*/ 28109 h 31338"/>
                          <a:gd name="connsiteX104" fmla="*/ 239 w 25717"/>
                          <a:gd name="connsiteY104" fmla="*/ 28050 h 31338"/>
                          <a:gd name="connsiteX105" fmla="*/ 179 w 25717"/>
                          <a:gd name="connsiteY105" fmla="*/ 27990 h 31338"/>
                          <a:gd name="connsiteX106" fmla="*/ 120 w 25717"/>
                          <a:gd name="connsiteY106" fmla="*/ 27930 h 31338"/>
                          <a:gd name="connsiteX107" fmla="*/ 0 w 25717"/>
                          <a:gd name="connsiteY107" fmla="*/ 27811 h 3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5717" h="31338">
                            <a:moveTo>
                              <a:pt x="18121" y="11902"/>
                            </a:moveTo>
                            <a:lnTo>
                              <a:pt x="18720" y="12440"/>
                            </a:lnTo>
                            <a:lnTo>
                              <a:pt x="25059" y="4426"/>
                            </a:lnTo>
                            <a:lnTo>
                              <a:pt x="25717" y="3589"/>
                            </a:lnTo>
                            <a:lnTo>
                              <a:pt x="23923" y="1854"/>
                            </a:lnTo>
                            <a:lnTo>
                              <a:pt x="23265" y="2691"/>
                            </a:lnTo>
                            <a:lnTo>
                              <a:pt x="24461" y="3828"/>
                            </a:lnTo>
                            <a:lnTo>
                              <a:pt x="18121" y="11902"/>
                            </a:lnTo>
                            <a:moveTo>
                              <a:pt x="14952" y="8852"/>
                            </a:moveTo>
                            <a:lnTo>
                              <a:pt x="15550" y="9450"/>
                            </a:lnTo>
                            <a:lnTo>
                              <a:pt x="21889" y="1435"/>
                            </a:lnTo>
                            <a:lnTo>
                              <a:pt x="22607" y="2153"/>
                            </a:lnTo>
                            <a:lnTo>
                              <a:pt x="23265" y="1316"/>
                            </a:lnTo>
                            <a:lnTo>
                              <a:pt x="21889" y="0"/>
                            </a:lnTo>
                            <a:lnTo>
                              <a:pt x="21231" y="837"/>
                            </a:lnTo>
                            <a:lnTo>
                              <a:pt x="14952" y="8852"/>
                            </a:lnTo>
                            <a:moveTo>
                              <a:pt x="12021" y="20873"/>
                            </a:moveTo>
                            <a:lnTo>
                              <a:pt x="18002" y="13277"/>
                            </a:lnTo>
                            <a:lnTo>
                              <a:pt x="17404" y="12739"/>
                            </a:lnTo>
                            <a:lnTo>
                              <a:pt x="11423" y="20335"/>
                            </a:lnTo>
                            <a:cubicBezTo>
                              <a:pt x="11483" y="20394"/>
                              <a:pt x="11543" y="20454"/>
                              <a:pt x="11543" y="20454"/>
                            </a:cubicBezTo>
                            <a:cubicBezTo>
                              <a:pt x="11603" y="20514"/>
                              <a:pt x="11662" y="20574"/>
                              <a:pt x="11662" y="20574"/>
                            </a:cubicBezTo>
                            <a:cubicBezTo>
                              <a:pt x="11722" y="20634"/>
                              <a:pt x="11782" y="20693"/>
                              <a:pt x="11782" y="20693"/>
                            </a:cubicBezTo>
                            <a:cubicBezTo>
                              <a:pt x="11961" y="20813"/>
                              <a:pt x="12021" y="20873"/>
                              <a:pt x="12021" y="20873"/>
                            </a:cubicBezTo>
                            <a:moveTo>
                              <a:pt x="7835" y="17882"/>
                            </a:moveTo>
                            <a:cubicBezTo>
                              <a:pt x="7895" y="17882"/>
                              <a:pt x="7954" y="17942"/>
                              <a:pt x="8014" y="18002"/>
                            </a:cubicBezTo>
                            <a:cubicBezTo>
                              <a:pt x="8074" y="18062"/>
                              <a:pt x="8134" y="18062"/>
                              <a:pt x="8194" y="18122"/>
                            </a:cubicBezTo>
                            <a:cubicBezTo>
                              <a:pt x="8253" y="18182"/>
                              <a:pt x="8313" y="18182"/>
                              <a:pt x="8373" y="18241"/>
                            </a:cubicBezTo>
                            <a:cubicBezTo>
                              <a:pt x="8433" y="18301"/>
                              <a:pt x="8493" y="18301"/>
                              <a:pt x="8552" y="18361"/>
                            </a:cubicBezTo>
                            <a:lnTo>
                              <a:pt x="14832" y="10406"/>
                            </a:lnTo>
                            <a:lnTo>
                              <a:pt x="14234" y="9808"/>
                            </a:lnTo>
                            <a:lnTo>
                              <a:pt x="7835" y="17882"/>
                            </a:lnTo>
                            <a:moveTo>
                              <a:pt x="9928" y="23564"/>
                            </a:moveTo>
                            <a:lnTo>
                              <a:pt x="11364" y="21710"/>
                            </a:lnTo>
                            <a:cubicBezTo>
                              <a:pt x="11304" y="21650"/>
                              <a:pt x="11244" y="21590"/>
                              <a:pt x="11244" y="21590"/>
                            </a:cubicBezTo>
                            <a:cubicBezTo>
                              <a:pt x="11184" y="21531"/>
                              <a:pt x="11124" y="21471"/>
                              <a:pt x="11124" y="21471"/>
                            </a:cubicBezTo>
                            <a:cubicBezTo>
                              <a:pt x="11064" y="21411"/>
                              <a:pt x="11004" y="21351"/>
                              <a:pt x="11004" y="21351"/>
                            </a:cubicBezTo>
                            <a:cubicBezTo>
                              <a:pt x="10945" y="21291"/>
                              <a:pt x="10885" y="21231"/>
                              <a:pt x="10885" y="21231"/>
                            </a:cubicBezTo>
                            <a:lnTo>
                              <a:pt x="9450" y="23085"/>
                            </a:lnTo>
                            <a:cubicBezTo>
                              <a:pt x="9509" y="23145"/>
                              <a:pt x="9569" y="23205"/>
                              <a:pt x="9569" y="23205"/>
                            </a:cubicBezTo>
                            <a:cubicBezTo>
                              <a:pt x="9629" y="23265"/>
                              <a:pt x="9689" y="23325"/>
                              <a:pt x="9689" y="23325"/>
                            </a:cubicBezTo>
                            <a:cubicBezTo>
                              <a:pt x="9749" y="23385"/>
                              <a:pt x="9808" y="23445"/>
                              <a:pt x="9808" y="23445"/>
                            </a:cubicBezTo>
                            <a:cubicBezTo>
                              <a:pt x="9808" y="23445"/>
                              <a:pt x="9868" y="23504"/>
                              <a:pt x="9928" y="23564"/>
                            </a:cubicBezTo>
                            <a:moveTo>
                              <a:pt x="5682" y="20634"/>
                            </a:moveTo>
                            <a:cubicBezTo>
                              <a:pt x="5742" y="20634"/>
                              <a:pt x="5801" y="20693"/>
                              <a:pt x="5861" y="20693"/>
                            </a:cubicBezTo>
                            <a:cubicBezTo>
                              <a:pt x="5921" y="20693"/>
                              <a:pt x="5981" y="20753"/>
                              <a:pt x="6041" y="20753"/>
                            </a:cubicBezTo>
                            <a:cubicBezTo>
                              <a:pt x="6100" y="20753"/>
                              <a:pt x="6160" y="20813"/>
                              <a:pt x="6220" y="20813"/>
                            </a:cubicBezTo>
                            <a:cubicBezTo>
                              <a:pt x="6280" y="20873"/>
                              <a:pt x="6340" y="20873"/>
                              <a:pt x="6399" y="20933"/>
                            </a:cubicBezTo>
                            <a:lnTo>
                              <a:pt x="7895" y="19079"/>
                            </a:lnTo>
                            <a:cubicBezTo>
                              <a:pt x="7835" y="19019"/>
                              <a:pt x="7775" y="19019"/>
                              <a:pt x="7715" y="18959"/>
                            </a:cubicBezTo>
                            <a:cubicBezTo>
                              <a:pt x="7655" y="18899"/>
                              <a:pt x="7596" y="18899"/>
                              <a:pt x="7536" y="18839"/>
                            </a:cubicBezTo>
                            <a:cubicBezTo>
                              <a:pt x="7476" y="18780"/>
                              <a:pt x="7416" y="18780"/>
                              <a:pt x="7356" y="18720"/>
                            </a:cubicBezTo>
                            <a:cubicBezTo>
                              <a:pt x="7296" y="18720"/>
                              <a:pt x="7237" y="18660"/>
                              <a:pt x="7177" y="18660"/>
                            </a:cubicBezTo>
                            <a:lnTo>
                              <a:pt x="5682" y="20634"/>
                            </a:lnTo>
                            <a:moveTo>
                              <a:pt x="4785" y="23145"/>
                            </a:moveTo>
                            <a:lnTo>
                              <a:pt x="5622" y="22129"/>
                            </a:lnTo>
                            <a:cubicBezTo>
                              <a:pt x="5562" y="22069"/>
                              <a:pt x="5502" y="22069"/>
                              <a:pt x="5442" y="22069"/>
                            </a:cubicBezTo>
                            <a:cubicBezTo>
                              <a:pt x="5383" y="22069"/>
                              <a:pt x="5323" y="22009"/>
                              <a:pt x="5263" y="22009"/>
                            </a:cubicBezTo>
                            <a:cubicBezTo>
                              <a:pt x="5203" y="22009"/>
                              <a:pt x="5143" y="21950"/>
                              <a:pt x="5083" y="21950"/>
                            </a:cubicBezTo>
                            <a:cubicBezTo>
                              <a:pt x="5024" y="21950"/>
                              <a:pt x="4964" y="21890"/>
                              <a:pt x="4904" y="21890"/>
                            </a:cubicBezTo>
                            <a:lnTo>
                              <a:pt x="4306" y="22667"/>
                            </a:lnTo>
                            <a:cubicBezTo>
                              <a:pt x="4306" y="22667"/>
                              <a:pt x="4366" y="22667"/>
                              <a:pt x="4366" y="22727"/>
                            </a:cubicBezTo>
                            <a:cubicBezTo>
                              <a:pt x="4366" y="22727"/>
                              <a:pt x="4426" y="22787"/>
                              <a:pt x="4426" y="22787"/>
                            </a:cubicBezTo>
                            <a:cubicBezTo>
                              <a:pt x="4426" y="22787"/>
                              <a:pt x="4486" y="22846"/>
                              <a:pt x="4486" y="22846"/>
                            </a:cubicBezTo>
                            <a:cubicBezTo>
                              <a:pt x="4486" y="22846"/>
                              <a:pt x="4545" y="22906"/>
                              <a:pt x="4545" y="22906"/>
                            </a:cubicBezTo>
                            <a:cubicBezTo>
                              <a:pt x="4605" y="22966"/>
                              <a:pt x="4605" y="22966"/>
                              <a:pt x="4665" y="23026"/>
                            </a:cubicBezTo>
                            <a:cubicBezTo>
                              <a:pt x="4725" y="23085"/>
                              <a:pt x="4725" y="23085"/>
                              <a:pt x="4725" y="23145"/>
                            </a:cubicBezTo>
                            <a:cubicBezTo>
                              <a:pt x="4725" y="23205"/>
                              <a:pt x="4785" y="23205"/>
                              <a:pt x="4785" y="23265"/>
                            </a:cubicBezTo>
                            <a:cubicBezTo>
                              <a:pt x="4785" y="23325"/>
                              <a:pt x="4725" y="23085"/>
                              <a:pt x="4785" y="23145"/>
                            </a:cubicBezTo>
                            <a:moveTo>
                              <a:pt x="1017" y="27093"/>
                            </a:moveTo>
                            <a:lnTo>
                              <a:pt x="1435" y="27332"/>
                            </a:lnTo>
                            <a:lnTo>
                              <a:pt x="4067" y="23983"/>
                            </a:lnTo>
                            <a:cubicBezTo>
                              <a:pt x="4067" y="23923"/>
                              <a:pt x="4007" y="23923"/>
                              <a:pt x="4007" y="23863"/>
                            </a:cubicBezTo>
                            <a:cubicBezTo>
                              <a:pt x="4007" y="23804"/>
                              <a:pt x="3947" y="23804"/>
                              <a:pt x="3947" y="23744"/>
                            </a:cubicBezTo>
                            <a:cubicBezTo>
                              <a:pt x="3947" y="23684"/>
                              <a:pt x="3888" y="23684"/>
                              <a:pt x="3888" y="23624"/>
                            </a:cubicBezTo>
                            <a:cubicBezTo>
                              <a:pt x="3888" y="23564"/>
                              <a:pt x="3828" y="23564"/>
                              <a:pt x="3768" y="23504"/>
                            </a:cubicBezTo>
                            <a:cubicBezTo>
                              <a:pt x="3768" y="23504"/>
                              <a:pt x="3708" y="23445"/>
                              <a:pt x="3708" y="23445"/>
                            </a:cubicBezTo>
                            <a:cubicBezTo>
                              <a:pt x="3708" y="23445"/>
                              <a:pt x="3648" y="23385"/>
                              <a:pt x="3648" y="23385"/>
                            </a:cubicBezTo>
                            <a:cubicBezTo>
                              <a:pt x="3648" y="23385"/>
                              <a:pt x="3588" y="23325"/>
                              <a:pt x="3588" y="23325"/>
                            </a:cubicBezTo>
                            <a:cubicBezTo>
                              <a:pt x="3588" y="23325"/>
                              <a:pt x="3528" y="23325"/>
                              <a:pt x="3528" y="23265"/>
                            </a:cubicBezTo>
                            <a:lnTo>
                              <a:pt x="778" y="26734"/>
                            </a:lnTo>
                            <a:cubicBezTo>
                              <a:pt x="778" y="26734"/>
                              <a:pt x="837" y="26794"/>
                              <a:pt x="837" y="26794"/>
                            </a:cubicBezTo>
                            <a:cubicBezTo>
                              <a:pt x="837" y="26794"/>
                              <a:pt x="897" y="26853"/>
                              <a:pt x="897" y="26853"/>
                            </a:cubicBezTo>
                            <a:cubicBezTo>
                              <a:pt x="897" y="26853"/>
                              <a:pt x="957" y="26913"/>
                              <a:pt x="957" y="26913"/>
                            </a:cubicBezTo>
                            <a:cubicBezTo>
                              <a:pt x="957" y="27093"/>
                              <a:pt x="957" y="27093"/>
                              <a:pt x="1017" y="27093"/>
                            </a:cubicBezTo>
                            <a:moveTo>
                              <a:pt x="0" y="27811"/>
                            </a:moveTo>
                            <a:lnTo>
                              <a:pt x="3828" y="31339"/>
                            </a:lnTo>
                            <a:lnTo>
                              <a:pt x="4486" y="30502"/>
                            </a:lnTo>
                            <a:lnTo>
                              <a:pt x="9091" y="24700"/>
                            </a:lnTo>
                            <a:cubicBezTo>
                              <a:pt x="9031" y="24641"/>
                              <a:pt x="8971" y="24581"/>
                              <a:pt x="8971" y="24581"/>
                            </a:cubicBezTo>
                            <a:cubicBezTo>
                              <a:pt x="8911" y="24521"/>
                              <a:pt x="8851" y="24461"/>
                              <a:pt x="8851" y="24461"/>
                            </a:cubicBezTo>
                            <a:cubicBezTo>
                              <a:pt x="8851" y="24461"/>
                              <a:pt x="8732" y="24342"/>
                              <a:pt x="8732" y="24342"/>
                            </a:cubicBezTo>
                            <a:cubicBezTo>
                              <a:pt x="8672" y="24282"/>
                              <a:pt x="8612" y="24222"/>
                              <a:pt x="8612" y="24222"/>
                            </a:cubicBezTo>
                            <a:lnTo>
                              <a:pt x="4007" y="30083"/>
                            </a:lnTo>
                            <a:lnTo>
                              <a:pt x="2392" y="28588"/>
                            </a:lnTo>
                            <a:cubicBezTo>
                              <a:pt x="2273" y="28588"/>
                              <a:pt x="2213" y="28648"/>
                              <a:pt x="2093" y="28648"/>
                            </a:cubicBezTo>
                            <a:cubicBezTo>
                              <a:pt x="1974" y="28648"/>
                              <a:pt x="1914" y="28648"/>
                              <a:pt x="1794" y="28648"/>
                            </a:cubicBezTo>
                            <a:cubicBezTo>
                              <a:pt x="1674" y="28648"/>
                              <a:pt x="1615" y="28648"/>
                              <a:pt x="1495" y="28648"/>
                            </a:cubicBezTo>
                            <a:cubicBezTo>
                              <a:pt x="1375" y="28648"/>
                              <a:pt x="1316" y="28588"/>
                              <a:pt x="1196" y="28588"/>
                            </a:cubicBezTo>
                            <a:cubicBezTo>
                              <a:pt x="1136" y="28588"/>
                              <a:pt x="1017" y="28528"/>
                              <a:pt x="957" y="28528"/>
                            </a:cubicBezTo>
                            <a:cubicBezTo>
                              <a:pt x="897" y="28528"/>
                              <a:pt x="837" y="28468"/>
                              <a:pt x="718" y="28408"/>
                            </a:cubicBezTo>
                            <a:cubicBezTo>
                              <a:pt x="658" y="28349"/>
                              <a:pt x="598" y="28349"/>
                              <a:pt x="538" y="28289"/>
                            </a:cubicBezTo>
                            <a:cubicBezTo>
                              <a:pt x="479" y="28229"/>
                              <a:pt x="419" y="28169"/>
                              <a:pt x="359" y="28169"/>
                            </a:cubicBezTo>
                            <a:cubicBezTo>
                              <a:pt x="359" y="28169"/>
                              <a:pt x="299" y="28109"/>
                              <a:pt x="299" y="28109"/>
                            </a:cubicBezTo>
                            <a:cubicBezTo>
                              <a:pt x="299" y="28109"/>
                              <a:pt x="239" y="28050"/>
                              <a:pt x="239" y="28050"/>
                            </a:cubicBezTo>
                            <a:cubicBezTo>
                              <a:pt x="239" y="28050"/>
                              <a:pt x="179" y="27990"/>
                              <a:pt x="179" y="27990"/>
                            </a:cubicBezTo>
                            <a:cubicBezTo>
                              <a:pt x="179" y="27990"/>
                              <a:pt x="120" y="27930"/>
                              <a:pt x="120" y="27930"/>
                            </a:cubicBezTo>
                            <a:lnTo>
                              <a:pt x="0" y="27811"/>
                            </a:lnTo>
                          </a:path>
                        </a:pathLst>
                      </a:custGeom>
                      <a:noFill/>
                      <a:ln w="6350" cap="flat">
                        <a:solidFill>
                          <a:schemeClr val="bg1">
                            <a:alpha val="40000"/>
                          </a:schemeClr>
                        </a:solidFill>
                        <a:prstDash val="solid"/>
                        <a:miter/>
                      </a:ln>
                    </p:spPr>
                    <p:txBody>
                      <a:bodyPr rtlCol="0" anchor="ctr"/>
                      <a:lstStyle/>
                      <a:p>
                        <a:endParaRPr lang="en-GB"/>
                      </a:p>
                    </p:txBody>
                  </p:sp>
                  <p:sp>
                    <p:nvSpPr>
                      <p:cNvPr id="7522" name="Vrije vorm: vorm 7521">
                        <a:extLst>
                          <a:ext uri="{FF2B5EF4-FFF2-40B4-BE49-F238E27FC236}">
                            <a16:creationId xmlns:a16="http://schemas.microsoft.com/office/drawing/2014/main" id="{5005288A-DE78-4D15-B572-63A7C739695D}"/>
                          </a:ext>
                        </a:extLst>
                      </p:cNvPr>
                      <p:cNvSpPr/>
                      <p:nvPr/>
                    </p:nvSpPr>
                    <p:spPr>
                      <a:xfrm>
                        <a:off x="5333687" y="5088258"/>
                        <a:ext cx="30143" cy="32056"/>
                      </a:xfrm>
                      <a:custGeom>
                        <a:avLst/>
                        <a:gdLst>
                          <a:gd name="connsiteX0" fmla="*/ 0 w 30143"/>
                          <a:gd name="connsiteY0" fmla="*/ 13516 h 32056"/>
                          <a:gd name="connsiteX1" fmla="*/ 3050 w 30143"/>
                          <a:gd name="connsiteY1" fmla="*/ 16387 h 32056"/>
                          <a:gd name="connsiteX2" fmla="*/ 3708 w 30143"/>
                          <a:gd name="connsiteY2" fmla="*/ 15550 h 32056"/>
                          <a:gd name="connsiteX3" fmla="*/ 1316 w 30143"/>
                          <a:gd name="connsiteY3" fmla="*/ 13277 h 32056"/>
                          <a:gd name="connsiteX4" fmla="*/ 10646 w 30143"/>
                          <a:gd name="connsiteY4" fmla="*/ 1495 h 32056"/>
                          <a:gd name="connsiteX5" fmla="*/ 13038 w 30143"/>
                          <a:gd name="connsiteY5" fmla="*/ 3768 h 32056"/>
                          <a:gd name="connsiteX6" fmla="*/ 13696 w 30143"/>
                          <a:gd name="connsiteY6" fmla="*/ 2930 h 32056"/>
                          <a:gd name="connsiteX7" fmla="*/ 19497 w 30143"/>
                          <a:gd name="connsiteY7" fmla="*/ 8493 h 32056"/>
                          <a:gd name="connsiteX8" fmla="*/ 18839 w 30143"/>
                          <a:gd name="connsiteY8" fmla="*/ 9330 h 32056"/>
                          <a:gd name="connsiteX9" fmla="*/ 24401 w 30143"/>
                          <a:gd name="connsiteY9" fmla="*/ 14713 h 32056"/>
                          <a:gd name="connsiteX10" fmla="*/ 24999 w 30143"/>
                          <a:gd name="connsiteY10" fmla="*/ 15311 h 32056"/>
                          <a:gd name="connsiteX11" fmla="*/ 28827 w 30143"/>
                          <a:gd name="connsiteY11" fmla="*/ 18959 h 32056"/>
                          <a:gd name="connsiteX12" fmla="*/ 19677 w 30143"/>
                          <a:gd name="connsiteY12" fmla="*/ 30621 h 32056"/>
                          <a:gd name="connsiteX13" fmla="*/ 16746 w 30143"/>
                          <a:gd name="connsiteY13" fmla="*/ 27870 h 32056"/>
                          <a:gd name="connsiteX14" fmla="*/ 16148 w 30143"/>
                          <a:gd name="connsiteY14" fmla="*/ 27272 h 32056"/>
                          <a:gd name="connsiteX15" fmla="*/ 11364 w 30143"/>
                          <a:gd name="connsiteY15" fmla="*/ 22787 h 32056"/>
                          <a:gd name="connsiteX16" fmla="*/ 10765 w 30143"/>
                          <a:gd name="connsiteY16" fmla="*/ 22248 h 32056"/>
                          <a:gd name="connsiteX17" fmla="*/ 9569 w 30143"/>
                          <a:gd name="connsiteY17" fmla="*/ 21052 h 32056"/>
                          <a:gd name="connsiteX18" fmla="*/ 8911 w 30143"/>
                          <a:gd name="connsiteY18" fmla="*/ 21949 h 32056"/>
                          <a:gd name="connsiteX19" fmla="*/ 10107 w 30143"/>
                          <a:gd name="connsiteY19" fmla="*/ 23085 h 32056"/>
                          <a:gd name="connsiteX20" fmla="*/ 10706 w 30143"/>
                          <a:gd name="connsiteY20" fmla="*/ 23624 h 32056"/>
                          <a:gd name="connsiteX21" fmla="*/ 15430 w 30143"/>
                          <a:gd name="connsiteY21" fmla="*/ 28109 h 32056"/>
                          <a:gd name="connsiteX22" fmla="*/ 16028 w 30143"/>
                          <a:gd name="connsiteY22" fmla="*/ 28707 h 32056"/>
                          <a:gd name="connsiteX23" fmla="*/ 19617 w 30143"/>
                          <a:gd name="connsiteY23" fmla="*/ 32057 h 32056"/>
                          <a:gd name="connsiteX24" fmla="*/ 30143 w 30143"/>
                          <a:gd name="connsiteY24" fmla="*/ 18720 h 32056"/>
                          <a:gd name="connsiteX25" fmla="*/ 25658 w 30143"/>
                          <a:gd name="connsiteY25" fmla="*/ 14413 h 32056"/>
                          <a:gd name="connsiteX26" fmla="*/ 25059 w 30143"/>
                          <a:gd name="connsiteY26" fmla="*/ 13875 h 32056"/>
                          <a:gd name="connsiteX27" fmla="*/ 19258 w 30143"/>
                          <a:gd name="connsiteY27" fmla="*/ 8253 h 32056"/>
                          <a:gd name="connsiteX28" fmla="*/ 18600 w 30143"/>
                          <a:gd name="connsiteY28" fmla="*/ 7655 h 32056"/>
                          <a:gd name="connsiteX29" fmla="*/ 17464 w 30143"/>
                          <a:gd name="connsiteY29" fmla="*/ 6519 h 32056"/>
                          <a:gd name="connsiteX30" fmla="*/ 16866 w 30143"/>
                          <a:gd name="connsiteY30" fmla="*/ 5921 h 32056"/>
                          <a:gd name="connsiteX31" fmla="*/ 15789 w 30143"/>
                          <a:gd name="connsiteY31" fmla="*/ 4904 h 32056"/>
                          <a:gd name="connsiteX32" fmla="*/ 15191 w 30143"/>
                          <a:gd name="connsiteY32" fmla="*/ 4366 h 32056"/>
                          <a:gd name="connsiteX33" fmla="*/ 10706 w 30143"/>
                          <a:gd name="connsiteY33" fmla="*/ 0 h 32056"/>
                          <a:gd name="connsiteX34" fmla="*/ 0 w 30143"/>
                          <a:gd name="connsiteY34" fmla="*/ 13516 h 3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143" h="32056">
                            <a:moveTo>
                              <a:pt x="0" y="13516"/>
                            </a:moveTo>
                            <a:lnTo>
                              <a:pt x="3050" y="16387"/>
                            </a:lnTo>
                            <a:lnTo>
                              <a:pt x="3708" y="15550"/>
                            </a:lnTo>
                            <a:lnTo>
                              <a:pt x="1316" y="13277"/>
                            </a:lnTo>
                            <a:lnTo>
                              <a:pt x="10646" y="1495"/>
                            </a:lnTo>
                            <a:lnTo>
                              <a:pt x="13038" y="3768"/>
                            </a:lnTo>
                            <a:lnTo>
                              <a:pt x="13696" y="2930"/>
                            </a:lnTo>
                            <a:lnTo>
                              <a:pt x="19497" y="8493"/>
                            </a:lnTo>
                            <a:lnTo>
                              <a:pt x="18839" y="9330"/>
                            </a:lnTo>
                            <a:lnTo>
                              <a:pt x="24401" y="14713"/>
                            </a:lnTo>
                            <a:lnTo>
                              <a:pt x="24999" y="15311"/>
                            </a:lnTo>
                            <a:lnTo>
                              <a:pt x="28827" y="18959"/>
                            </a:lnTo>
                            <a:lnTo>
                              <a:pt x="19677" y="30621"/>
                            </a:lnTo>
                            <a:lnTo>
                              <a:pt x="16746" y="27870"/>
                            </a:lnTo>
                            <a:lnTo>
                              <a:pt x="16148" y="27272"/>
                            </a:lnTo>
                            <a:lnTo>
                              <a:pt x="11364" y="22787"/>
                            </a:lnTo>
                            <a:lnTo>
                              <a:pt x="10765" y="22248"/>
                            </a:lnTo>
                            <a:lnTo>
                              <a:pt x="9569" y="21052"/>
                            </a:lnTo>
                            <a:lnTo>
                              <a:pt x="8911" y="21949"/>
                            </a:lnTo>
                            <a:lnTo>
                              <a:pt x="10107" y="23085"/>
                            </a:lnTo>
                            <a:lnTo>
                              <a:pt x="10706" y="23624"/>
                            </a:lnTo>
                            <a:lnTo>
                              <a:pt x="15430" y="28109"/>
                            </a:lnTo>
                            <a:lnTo>
                              <a:pt x="16028" y="28707"/>
                            </a:lnTo>
                            <a:lnTo>
                              <a:pt x="19617" y="32057"/>
                            </a:lnTo>
                            <a:lnTo>
                              <a:pt x="30143" y="18720"/>
                            </a:lnTo>
                            <a:lnTo>
                              <a:pt x="25658" y="14413"/>
                            </a:lnTo>
                            <a:lnTo>
                              <a:pt x="25059" y="13875"/>
                            </a:lnTo>
                            <a:lnTo>
                              <a:pt x="19258" y="8253"/>
                            </a:lnTo>
                            <a:lnTo>
                              <a:pt x="18600" y="7655"/>
                            </a:lnTo>
                            <a:lnTo>
                              <a:pt x="17464" y="6519"/>
                            </a:lnTo>
                            <a:lnTo>
                              <a:pt x="16866" y="5921"/>
                            </a:lnTo>
                            <a:lnTo>
                              <a:pt x="15789" y="4904"/>
                            </a:lnTo>
                            <a:lnTo>
                              <a:pt x="15191" y="4366"/>
                            </a:lnTo>
                            <a:lnTo>
                              <a:pt x="10706" y="0"/>
                            </a:lnTo>
                            <a:lnTo>
                              <a:pt x="0" y="13516"/>
                            </a:lnTo>
                          </a:path>
                        </a:pathLst>
                      </a:custGeom>
                      <a:noFill/>
                      <a:ln w="6350" cap="flat">
                        <a:solidFill>
                          <a:schemeClr val="bg1">
                            <a:alpha val="40000"/>
                          </a:schemeClr>
                        </a:solidFill>
                        <a:prstDash val="solid"/>
                        <a:miter/>
                      </a:ln>
                    </p:spPr>
                    <p:txBody>
                      <a:bodyPr rtlCol="0" anchor="ctr"/>
                      <a:lstStyle/>
                      <a:p>
                        <a:endParaRPr lang="en-GB"/>
                      </a:p>
                    </p:txBody>
                  </p:sp>
                  <p:sp>
                    <p:nvSpPr>
                      <p:cNvPr id="7523" name="Vrije vorm: vorm 7522">
                        <a:extLst>
                          <a:ext uri="{FF2B5EF4-FFF2-40B4-BE49-F238E27FC236}">
                            <a16:creationId xmlns:a16="http://schemas.microsoft.com/office/drawing/2014/main" id="{5B5DC216-76DD-48D9-92CA-8EA4058716B3}"/>
                          </a:ext>
                        </a:extLst>
                      </p:cNvPr>
                      <p:cNvSpPr/>
                      <p:nvPr/>
                    </p:nvSpPr>
                    <p:spPr>
                      <a:xfrm>
                        <a:off x="5336737" y="5091309"/>
                        <a:ext cx="16327" cy="18898"/>
                      </a:xfrm>
                      <a:custGeom>
                        <a:avLst/>
                        <a:gdLst>
                          <a:gd name="connsiteX0" fmla="*/ 12260 w 16327"/>
                          <a:gd name="connsiteY0" fmla="*/ 9390 h 18898"/>
                          <a:gd name="connsiteX1" fmla="*/ 5921 w 16327"/>
                          <a:gd name="connsiteY1" fmla="*/ 17404 h 18898"/>
                          <a:gd name="connsiteX2" fmla="*/ 1316 w 16327"/>
                          <a:gd name="connsiteY2" fmla="*/ 13038 h 18898"/>
                          <a:gd name="connsiteX3" fmla="*/ 10586 w 16327"/>
                          <a:gd name="connsiteY3" fmla="*/ 1256 h 18898"/>
                          <a:gd name="connsiteX4" fmla="*/ 11483 w 16327"/>
                          <a:gd name="connsiteY4" fmla="*/ 2153 h 18898"/>
                          <a:gd name="connsiteX5" fmla="*/ 12081 w 16327"/>
                          <a:gd name="connsiteY5" fmla="*/ 2691 h 18898"/>
                          <a:gd name="connsiteX6" fmla="*/ 13158 w 16327"/>
                          <a:gd name="connsiteY6" fmla="*/ 3708 h 18898"/>
                          <a:gd name="connsiteX7" fmla="*/ 13756 w 16327"/>
                          <a:gd name="connsiteY7" fmla="*/ 4306 h 18898"/>
                          <a:gd name="connsiteX8" fmla="*/ 14952 w 16327"/>
                          <a:gd name="connsiteY8" fmla="*/ 5442 h 18898"/>
                          <a:gd name="connsiteX9" fmla="*/ 15191 w 16327"/>
                          <a:gd name="connsiteY9" fmla="*/ 5682 h 18898"/>
                          <a:gd name="connsiteX10" fmla="*/ 14114 w 16327"/>
                          <a:gd name="connsiteY10" fmla="*/ 6997 h 18898"/>
                          <a:gd name="connsiteX11" fmla="*/ 12919 w 16327"/>
                          <a:gd name="connsiteY11" fmla="*/ 8493 h 18898"/>
                          <a:gd name="connsiteX12" fmla="*/ 12260 w 16327"/>
                          <a:gd name="connsiteY12" fmla="*/ 9390 h 18898"/>
                          <a:gd name="connsiteX13" fmla="*/ 0 w 16327"/>
                          <a:gd name="connsiteY13" fmla="*/ 13337 h 18898"/>
                          <a:gd name="connsiteX14" fmla="*/ 658 w 16327"/>
                          <a:gd name="connsiteY14" fmla="*/ 13995 h 18898"/>
                          <a:gd name="connsiteX15" fmla="*/ 1256 w 16327"/>
                          <a:gd name="connsiteY15" fmla="*/ 14593 h 18898"/>
                          <a:gd name="connsiteX16" fmla="*/ 3828 w 16327"/>
                          <a:gd name="connsiteY16" fmla="*/ 17045 h 18898"/>
                          <a:gd name="connsiteX17" fmla="*/ 4426 w 16327"/>
                          <a:gd name="connsiteY17" fmla="*/ 17643 h 18898"/>
                          <a:gd name="connsiteX18" fmla="*/ 5801 w 16327"/>
                          <a:gd name="connsiteY18" fmla="*/ 18899 h 18898"/>
                          <a:gd name="connsiteX19" fmla="*/ 6459 w 16327"/>
                          <a:gd name="connsiteY19" fmla="*/ 18062 h 18898"/>
                          <a:gd name="connsiteX20" fmla="*/ 12799 w 16327"/>
                          <a:gd name="connsiteY20" fmla="*/ 10048 h 18898"/>
                          <a:gd name="connsiteX21" fmla="*/ 13457 w 16327"/>
                          <a:gd name="connsiteY21" fmla="*/ 9210 h 18898"/>
                          <a:gd name="connsiteX22" fmla="*/ 14653 w 16327"/>
                          <a:gd name="connsiteY22" fmla="*/ 7715 h 18898"/>
                          <a:gd name="connsiteX23" fmla="*/ 15311 w 16327"/>
                          <a:gd name="connsiteY23" fmla="*/ 6878 h 18898"/>
                          <a:gd name="connsiteX24" fmla="*/ 15669 w 16327"/>
                          <a:gd name="connsiteY24" fmla="*/ 6399 h 18898"/>
                          <a:gd name="connsiteX25" fmla="*/ 16327 w 16327"/>
                          <a:gd name="connsiteY25" fmla="*/ 5562 h 18898"/>
                          <a:gd name="connsiteX26" fmla="*/ 10526 w 16327"/>
                          <a:gd name="connsiteY26" fmla="*/ 0 h 18898"/>
                          <a:gd name="connsiteX27" fmla="*/ 9868 w 16327"/>
                          <a:gd name="connsiteY27" fmla="*/ 837 h 18898"/>
                          <a:gd name="connsiteX28" fmla="*/ 598 w 16327"/>
                          <a:gd name="connsiteY28" fmla="*/ 12619 h 18898"/>
                          <a:gd name="connsiteX29" fmla="*/ 0 w 16327"/>
                          <a:gd name="connsiteY29" fmla="*/ 13337 h 1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327" h="18898">
                            <a:moveTo>
                              <a:pt x="12260" y="9390"/>
                            </a:moveTo>
                            <a:lnTo>
                              <a:pt x="5921" y="17404"/>
                            </a:lnTo>
                            <a:lnTo>
                              <a:pt x="1316" y="13038"/>
                            </a:lnTo>
                            <a:lnTo>
                              <a:pt x="10586" y="1256"/>
                            </a:lnTo>
                            <a:lnTo>
                              <a:pt x="11483" y="2153"/>
                            </a:lnTo>
                            <a:lnTo>
                              <a:pt x="12081" y="2691"/>
                            </a:lnTo>
                            <a:lnTo>
                              <a:pt x="13158" y="3708"/>
                            </a:lnTo>
                            <a:lnTo>
                              <a:pt x="13756" y="4306"/>
                            </a:lnTo>
                            <a:lnTo>
                              <a:pt x="14952" y="5442"/>
                            </a:lnTo>
                            <a:lnTo>
                              <a:pt x="15191" y="5682"/>
                            </a:lnTo>
                            <a:lnTo>
                              <a:pt x="14114" y="6997"/>
                            </a:lnTo>
                            <a:lnTo>
                              <a:pt x="12919" y="8493"/>
                            </a:lnTo>
                            <a:lnTo>
                              <a:pt x="12260" y="9390"/>
                            </a:lnTo>
                            <a:moveTo>
                              <a:pt x="0" y="13337"/>
                            </a:moveTo>
                            <a:lnTo>
                              <a:pt x="658" y="13995"/>
                            </a:lnTo>
                            <a:lnTo>
                              <a:pt x="1256" y="14593"/>
                            </a:lnTo>
                            <a:lnTo>
                              <a:pt x="3828" y="17045"/>
                            </a:lnTo>
                            <a:lnTo>
                              <a:pt x="4426" y="17643"/>
                            </a:lnTo>
                            <a:lnTo>
                              <a:pt x="5801" y="18899"/>
                            </a:lnTo>
                            <a:lnTo>
                              <a:pt x="6459" y="18062"/>
                            </a:lnTo>
                            <a:lnTo>
                              <a:pt x="12799" y="10048"/>
                            </a:lnTo>
                            <a:lnTo>
                              <a:pt x="13457" y="9210"/>
                            </a:lnTo>
                            <a:lnTo>
                              <a:pt x="14653" y="7715"/>
                            </a:lnTo>
                            <a:lnTo>
                              <a:pt x="15311" y="6878"/>
                            </a:lnTo>
                            <a:lnTo>
                              <a:pt x="15669" y="6399"/>
                            </a:lnTo>
                            <a:lnTo>
                              <a:pt x="16327" y="5562"/>
                            </a:lnTo>
                            <a:lnTo>
                              <a:pt x="10526" y="0"/>
                            </a:lnTo>
                            <a:lnTo>
                              <a:pt x="9868" y="837"/>
                            </a:lnTo>
                            <a:lnTo>
                              <a:pt x="598" y="12619"/>
                            </a:lnTo>
                            <a:lnTo>
                              <a:pt x="0" y="13337"/>
                            </a:lnTo>
                          </a:path>
                        </a:pathLst>
                      </a:custGeom>
                      <a:noFill/>
                      <a:ln w="6350" cap="flat">
                        <a:solidFill>
                          <a:schemeClr val="bg1">
                            <a:alpha val="40000"/>
                          </a:schemeClr>
                        </a:solidFill>
                        <a:prstDash val="solid"/>
                        <a:miter/>
                      </a:ln>
                    </p:spPr>
                    <p:txBody>
                      <a:bodyPr rtlCol="0" anchor="ctr"/>
                      <a:lstStyle/>
                      <a:p>
                        <a:endParaRPr lang="en-GB"/>
                      </a:p>
                    </p:txBody>
                  </p:sp>
                  <p:sp>
                    <p:nvSpPr>
                      <p:cNvPr id="7524" name="Vrije vorm: vorm 7523">
                        <a:extLst>
                          <a:ext uri="{FF2B5EF4-FFF2-40B4-BE49-F238E27FC236}">
                            <a16:creationId xmlns:a16="http://schemas.microsoft.com/office/drawing/2014/main" id="{18C86E80-4F3C-4595-B4F4-5E19090B61FC}"/>
                          </a:ext>
                        </a:extLst>
                      </p:cNvPr>
                      <p:cNvSpPr/>
                      <p:nvPr/>
                    </p:nvSpPr>
                    <p:spPr>
                      <a:xfrm>
                        <a:off x="5062820" y="5305897"/>
                        <a:ext cx="31398" cy="64531"/>
                      </a:xfrm>
                      <a:custGeom>
                        <a:avLst/>
                        <a:gdLst>
                          <a:gd name="connsiteX0" fmla="*/ 20634 w 31398"/>
                          <a:gd name="connsiteY0" fmla="*/ 7715 h 64531"/>
                          <a:gd name="connsiteX1" fmla="*/ 21351 w 31398"/>
                          <a:gd name="connsiteY1" fmla="*/ 6818 h 64531"/>
                          <a:gd name="connsiteX2" fmla="*/ 20095 w 31398"/>
                          <a:gd name="connsiteY2" fmla="*/ 5741 h 64531"/>
                          <a:gd name="connsiteX3" fmla="*/ 18780 w 31398"/>
                          <a:gd name="connsiteY3" fmla="*/ 4665 h 64531"/>
                          <a:gd name="connsiteX4" fmla="*/ 17344 w 31398"/>
                          <a:gd name="connsiteY4" fmla="*/ 3588 h 64531"/>
                          <a:gd name="connsiteX5" fmla="*/ 15849 w 31398"/>
                          <a:gd name="connsiteY5" fmla="*/ 2512 h 64531"/>
                          <a:gd name="connsiteX6" fmla="*/ 16746 w 31398"/>
                          <a:gd name="connsiteY6" fmla="*/ 1375 h 64531"/>
                          <a:gd name="connsiteX7" fmla="*/ 18241 w 31398"/>
                          <a:gd name="connsiteY7" fmla="*/ 2452 h 64531"/>
                          <a:gd name="connsiteX8" fmla="*/ 19676 w 31398"/>
                          <a:gd name="connsiteY8" fmla="*/ 3528 h 64531"/>
                          <a:gd name="connsiteX9" fmla="*/ 20992 w 31398"/>
                          <a:gd name="connsiteY9" fmla="*/ 4605 h 64531"/>
                          <a:gd name="connsiteX10" fmla="*/ 22248 w 31398"/>
                          <a:gd name="connsiteY10" fmla="*/ 5681 h 64531"/>
                          <a:gd name="connsiteX11" fmla="*/ 22966 w 31398"/>
                          <a:gd name="connsiteY11" fmla="*/ 4785 h 64531"/>
                          <a:gd name="connsiteX12" fmla="*/ 21650 w 31398"/>
                          <a:gd name="connsiteY12" fmla="*/ 3648 h 64531"/>
                          <a:gd name="connsiteX13" fmla="*/ 20215 w 31398"/>
                          <a:gd name="connsiteY13" fmla="*/ 2512 h 64531"/>
                          <a:gd name="connsiteX14" fmla="*/ 18720 w 31398"/>
                          <a:gd name="connsiteY14" fmla="*/ 1375 h 64531"/>
                          <a:gd name="connsiteX15" fmla="*/ 17105 w 31398"/>
                          <a:gd name="connsiteY15" fmla="*/ 239 h 64531"/>
                          <a:gd name="connsiteX16" fmla="*/ 16686 w 31398"/>
                          <a:gd name="connsiteY16" fmla="*/ 0 h 64531"/>
                          <a:gd name="connsiteX17" fmla="*/ 14354 w 31398"/>
                          <a:gd name="connsiteY17" fmla="*/ 2930 h 64531"/>
                          <a:gd name="connsiteX18" fmla="*/ 14772 w 31398"/>
                          <a:gd name="connsiteY18" fmla="*/ 3170 h 64531"/>
                          <a:gd name="connsiteX19" fmla="*/ 16387 w 31398"/>
                          <a:gd name="connsiteY19" fmla="*/ 4306 h 64531"/>
                          <a:gd name="connsiteX20" fmla="*/ 17882 w 31398"/>
                          <a:gd name="connsiteY20" fmla="*/ 5442 h 64531"/>
                          <a:gd name="connsiteX21" fmla="*/ 19318 w 31398"/>
                          <a:gd name="connsiteY21" fmla="*/ 6579 h 64531"/>
                          <a:gd name="connsiteX22" fmla="*/ 20634 w 31398"/>
                          <a:gd name="connsiteY22" fmla="*/ 7715 h 64531"/>
                          <a:gd name="connsiteX23" fmla="*/ 28349 w 31398"/>
                          <a:gd name="connsiteY23" fmla="*/ 17105 h 64531"/>
                          <a:gd name="connsiteX24" fmla="*/ 28229 w 31398"/>
                          <a:gd name="connsiteY24" fmla="*/ 16686 h 64531"/>
                          <a:gd name="connsiteX25" fmla="*/ 28050 w 31398"/>
                          <a:gd name="connsiteY25" fmla="*/ 16267 h 64531"/>
                          <a:gd name="connsiteX26" fmla="*/ 27870 w 31398"/>
                          <a:gd name="connsiteY26" fmla="*/ 15849 h 64531"/>
                          <a:gd name="connsiteX27" fmla="*/ 27691 w 31398"/>
                          <a:gd name="connsiteY27" fmla="*/ 15430 h 64531"/>
                          <a:gd name="connsiteX28" fmla="*/ 27451 w 31398"/>
                          <a:gd name="connsiteY28" fmla="*/ 14892 h 64531"/>
                          <a:gd name="connsiteX29" fmla="*/ 27212 w 31398"/>
                          <a:gd name="connsiteY29" fmla="*/ 14354 h 64531"/>
                          <a:gd name="connsiteX30" fmla="*/ 26913 w 31398"/>
                          <a:gd name="connsiteY30" fmla="*/ 13815 h 64531"/>
                          <a:gd name="connsiteX31" fmla="*/ 26614 w 31398"/>
                          <a:gd name="connsiteY31" fmla="*/ 13277 h 64531"/>
                          <a:gd name="connsiteX32" fmla="*/ 25657 w 31398"/>
                          <a:gd name="connsiteY32" fmla="*/ 11782 h 64531"/>
                          <a:gd name="connsiteX33" fmla="*/ 24581 w 31398"/>
                          <a:gd name="connsiteY33" fmla="*/ 10287 h 64531"/>
                          <a:gd name="connsiteX34" fmla="*/ 23325 w 31398"/>
                          <a:gd name="connsiteY34" fmla="*/ 8851 h 64531"/>
                          <a:gd name="connsiteX35" fmla="*/ 21889 w 31398"/>
                          <a:gd name="connsiteY35" fmla="*/ 7416 h 64531"/>
                          <a:gd name="connsiteX36" fmla="*/ 21172 w 31398"/>
                          <a:gd name="connsiteY36" fmla="*/ 8313 h 64531"/>
                          <a:gd name="connsiteX37" fmla="*/ 22009 w 31398"/>
                          <a:gd name="connsiteY37" fmla="*/ 9150 h 64531"/>
                          <a:gd name="connsiteX38" fmla="*/ 22787 w 31398"/>
                          <a:gd name="connsiteY38" fmla="*/ 9988 h 64531"/>
                          <a:gd name="connsiteX39" fmla="*/ 23504 w 31398"/>
                          <a:gd name="connsiteY39" fmla="*/ 10825 h 64531"/>
                          <a:gd name="connsiteX40" fmla="*/ 24162 w 31398"/>
                          <a:gd name="connsiteY40" fmla="*/ 11662 h 64531"/>
                          <a:gd name="connsiteX41" fmla="*/ 24641 w 31398"/>
                          <a:gd name="connsiteY41" fmla="*/ 12260 h 64531"/>
                          <a:gd name="connsiteX42" fmla="*/ 25059 w 31398"/>
                          <a:gd name="connsiteY42" fmla="*/ 12858 h 64531"/>
                          <a:gd name="connsiteX43" fmla="*/ 25478 w 31398"/>
                          <a:gd name="connsiteY43" fmla="*/ 13457 h 64531"/>
                          <a:gd name="connsiteX44" fmla="*/ 25837 w 31398"/>
                          <a:gd name="connsiteY44" fmla="*/ 14055 h 64531"/>
                          <a:gd name="connsiteX45" fmla="*/ 25956 w 31398"/>
                          <a:gd name="connsiteY45" fmla="*/ 14294 h 64531"/>
                          <a:gd name="connsiteX46" fmla="*/ 26076 w 31398"/>
                          <a:gd name="connsiteY46" fmla="*/ 14533 h 64531"/>
                          <a:gd name="connsiteX47" fmla="*/ 26196 w 31398"/>
                          <a:gd name="connsiteY47" fmla="*/ 14772 h 64531"/>
                          <a:gd name="connsiteX48" fmla="*/ 26315 w 31398"/>
                          <a:gd name="connsiteY48" fmla="*/ 15012 h 64531"/>
                          <a:gd name="connsiteX49" fmla="*/ 26853 w 31398"/>
                          <a:gd name="connsiteY49" fmla="*/ 15550 h 64531"/>
                          <a:gd name="connsiteX50" fmla="*/ 27332 w 31398"/>
                          <a:gd name="connsiteY50" fmla="*/ 16088 h 64531"/>
                          <a:gd name="connsiteX51" fmla="*/ 27810 w 31398"/>
                          <a:gd name="connsiteY51" fmla="*/ 16626 h 64531"/>
                          <a:gd name="connsiteX52" fmla="*/ 28349 w 31398"/>
                          <a:gd name="connsiteY52" fmla="*/ 17105 h 64531"/>
                          <a:gd name="connsiteX53" fmla="*/ 31399 w 31398"/>
                          <a:gd name="connsiteY53" fmla="*/ 20753 h 64531"/>
                          <a:gd name="connsiteX54" fmla="*/ 31339 w 31398"/>
                          <a:gd name="connsiteY54" fmla="*/ 19975 h 64531"/>
                          <a:gd name="connsiteX55" fmla="*/ 31279 w 31398"/>
                          <a:gd name="connsiteY55" fmla="*/ 19198 h 64531"/>
                          <a:gd name="connsiteX56" fmla="*/ 31160 w 31398"/>
                          <a:gd name="connsiteY56" fmla="*/ 18420 h 64531"/>
                          <a:gd name="connsiteX57" fmla="*/ 31040 w 31398"/>
                          <a:gd name="connsiteY57" fmla="*/ 17643 h 64531"/>
                          <a:gd name="connsiteX58" fmla="*/ 30920 w 31398"/>
                          <a:gd name="connsiteY58" fmla="*/ 17225 h 64531"/>
                          <a:gd name="connsiteX59" fmla="*/ 30801 w 31398"/>
                          <a:gd name="connsiteY59" fmla="*/ 16806 h 64531"/>
                          <a:gd name="connsiteX60" fmla="*/ 30681 w 31398"/>
                          <a:gd name="connsiteY60" fmla="*/ 16387 h 64531"/>
                          <a:gd name="connsiteX61" fmla="*/ 30561 w 31398"/>
                          <a:gd name="connsiteY61" fmla="*/ 15968 h 64531"/>
                          <a:gd name="connsiteX62" fmla="*/ 29485 w 31398"/>
                          <a:gd name="connsiteY62" fmla="*/ 13217 h 64531"/>
                          <a:gd name="connsiteX63" fmla="*/ 27930 w 31398"/>
                          <a:gd name="connsiteY63" fmla="*/ 10526 h 64531"/>
                          <a:gd name="connsiteX64" fmla="*/ 25956 w 31398"/>
                          <a:gd name="connsiteY64" fmla="*/ 7895 h 64531"/>
                          <a:gd name="connsiteX65" fmla="*/ 23504 w 31398"/>
                          <a:gd name="connsiteY65" fmla="*/ 5323 h 64531"/>
                          <a:gd name="connsiteX66" fmla="*/ 22787 w 31398"/>
                          <a:gd name="connsiteY66" fmla="*/ 6220 h 64531"/>
                          <a:gd name="connsiteX67" fmla="*/ 24820 w 31398"/>
                          <a:gd name="connsiteY67" fmla="*/ 8373 h 64531"/>
                          <a:gd name="connsiteX68" fmla="*/ 26554 w 31398"/>
                          <a:gd name="connsiteY68" fmla="*/ 10526 h 64531"/>
                          <a:gd name="connsiteX69" fmla="*/ 27930 w 31398"/>
                          <a:gd name="connsiteY69" fmla="*/ 12739 h 64531"/>
                          <a:gd name="connsiteX70" fmla="*/ 29006 w 31398"/>
                          <a:gd name="connsiteY70" fmla="*/ 14952 h 64531"/>
                          <a:gd name="connsiteX71" fmla="*/ 29186 w 31398"/>
                          <a:gd name="connsiteY71" fmla="*/ 15370 h 64531"/>
                          <a:gd name="connsiteX72" fmla="*/ 29365 w 31398"/>
                          <a:gd name="connsiteY72" fmla="*/ 15789 h 64531"/>
                          <a:gd name="connsiteX73" fmla="*/ 29545 w 31398"/>
                          <a:gd name="connsiteY73" fmla="*/ 16267 h 64531"/>
                          <a:gd name="connsiteX74" fmla="*/ 29665 w 31398"/>
                          <a:gd name="connsiteY74" fmla="*/ 16746 h 64531"/>
                          <a:gd name="connsiteX75" fmla="*/ 29844 w 31398"/>
                          <a:gd name="connsiteY75" fmla="*/ 17344 h 64531"/>
                          <a:gd name="connsiteX76" fmla="*/ 30023 w 31398"/>
                          <a:gd name="connsiteY76" fmla="*/ 18002 h 64531"/>
                          <a:gd name="connsiteX77" fmla="*/ 30143 w 31398"/>
                          <a:gd name="connsiteY77" fmla="*/ 18660 h 64531"/>
                          <a:gd name="connsiteX78" fmla="*/ 30262 w 31398"/>
                          <a:gd name="connsiteY78" fmla="*/ 19318 h 64531"/>
                          <a:gd name="connsiteX79" fmla="*/ 30561 w 31398"/>
                          <a:gd name="connsiteY79" fmla="*/ 19676 h 64531"/>
                          <a:gd name="connsiteX80" fmla="*/ 30860 w 31398"/>
                          <a:gd name="connsiteY80" fmla="*/ 20035 h 64531"/>
                          <a:gd name="connsiteX81" fmla="*/ 31160 w 31398"/>
                          <a:gd name="connsiteY81" fmla="*/ 20394 h 64531"/>
                          <a:gd name="connsiteX82" fmla="*/ 31399 w 31398"/>
                          <a:gd name="connsiteY82" fmla="*/ 20753 h 64531"/>
                          <a:gd name="connsiteX83" fmla="*/ 29126 w 31398"/>
                          <a:gd name="connsiteY83" fmla="*/ 21949 h 64531"/>
                          <a:gd name="connsiteX84" fmla="*/ 29126 w 31398"/>
                          <a:gd name="connsiteY84" fmla="*/ 21291 h 64531"/>
                          <a:gd name="connsiteX85" fmla="*/ 29066 w 31398"/>
                          <a:gd name="connsiteY85" fmla="*/ 20633 h 64531"/>
                          <a:gd name="connsiteX86" fmla="*/ 29006 w 31398"/>
                          <a:gd name="connsiteY86" fmla="*/ 19975 h 64531"/>
                          <a:gd name="connsiteX87" fmla="*/ 28887 w 31398"/>
                          <a:gd name="connsiteY87" fmla="*/ 19318 h 64531"/>
                          <a:gd name="connsiteX88" fmla="*/ 28528 w 31398"/>
                          <a:gd name="connsiteY88" fmla="*/ 18899 h 64531"/>
                          <a:gd name="connsiteX89" fmla="*/ 28169 w 31398"/>
                          <a:gd name="connsiteY89" fmla="*/ 18480 h 64531"/>
                          <a:gd name="connsiteX90" fmla="*/ 27810 w 31398"/>
                          <a:gd name="connsiteY90" fmla="*/ 18062 h 64531"/>
                          <a:gd name="connsiteX91" fmla="*/ 27451 w 31398"/>
                          <a:gd name="connsiteY91" fmla="*/ 17643 h 64531"/>
                          <a:gd name="connsiteX92" fmla="*/ 27631 w 31398"/>
                          <a:gd name="connsiteY92" fmla="*/ 18361 h 64531"/>
                          <a:gd name="connsiteX93" fmla="*/ 27810 w 31398"/>
                          <a:gd name="connsiteY93" fmla="*/ 19079 h 64531"/>
                          <a:gd name="connsiteX94" fmla="*/ 27930 w 31398"/>
                          <a:gd name="connsiteY94" fmla="*/ 19796 h 64531"/>
                          <a:gd name="connsiteX95" fmla="*/ 28050 w 31398"/>
                          <a:gd name="connsiteY95" fmla="*/ 20514 h 64531"/>
                          <a:gd name="connsiteX96" fmla="*/ 28349 w 31398"/>
                          <a:gd name="connsiteY96" fmla="*/ 20873 h 64531"/>
                          <a:gd name="connsiteX97" fmla="*/ 28648 w 31398"/>
                          <a:gd name="connsiteY97" fmla="*/ 21231 h 64531"/>
                          <a:gd name="connsiteX98" fmla="*/ 28946 w 31398"/>
                          <a:gd name="connsiteY98" fmla="*/ 21590 h 64531"/>
                          <a:gd name="connsiteX99" fmla="*/ 29126 w 31398"/>
                          <a:gd name="connsiteY99" fmla="*/ 21949 h 64531"/>
                          <a:gd name="connsiteX100" fmla="*/ 31160 w 31398"/>
                          <a:gd name="connsiteY100" fmla="*/ 24880 h 64531"/>
                          <a:gd name="connsiteX101" fmla="*/ 31219 w 31398"/>
                          <a:gd name="connsiteY101" fmla="*/ 24342 h 64531"/>
                          <a:gd name="connsiteX102" fmla="*/ 31279 w 31398"/>
                          <a:gd name="connsiteY102" fmla="*/ 23803 h 64531"/>
                          <a:gd name="connsiteX103" fmla="*/ 31339 w 31398"/>
                          <a:gd name="connsiteY103" fmla="*/ 23265 h 64531"/>
                          <a:gd name="connsiteX104" fmla="*/ 31399 w 31398"/>
                          <a:gd name="connsiteY104" fmla="*/ 22727 h 64531"/>
                          <a:gd name="connsiteX105" fmla="*/ 31160 w 31398"/>
                          <a:gd name="connsiteY105" fmla="*/ 22368 h 64531"/>
                          <a:gd name="connsiteX106" fmla="*/ 30920 w 31398"/>
                          <a:gd name="connsiteY106" fmla="*/ 22009 h 64531"/>
                          <a:gd name="connsiteX107" fmla="*/ 30681 w 31398"/>
                          <a:gd name="connsiteY107" fmla="*/ 21650 h 64531"/>
                          <a:gd name="connsiteX108" fmla="*/ 30442 w 31398"/>
                          <a:gd name="connsiteY108" fmla="*/ 21291 h 64531"/>
                          <a:gd name="connsiteX109" fmla="*/ 30442 w 31398"/>
                          <a:gd name="connsiteY109" fmla="*/ 21530 h 64531"/>
                          <a:gd name="connsiteX110" fmla="*/ 30442 w 31398"/>
                          <a:gd name="connsiteY110" fmla="*/ 21770 h 64531"/>
                          <a:gd name="connsiteX111" fmla="*/ 30442 w 31398"/>
                          <a:gd name="connsiteY111" fmla="*/ 22009 h 64531"/>
                          <a:gd name="connsiteX112" fmla="*/ 30442 w 31398"/>
                          <a:gd name="connsiteY112" fmla="*/ 22248 h 64531"/>
                          <a:gd name="connsiteX113" fmla="*/ 30442 w 31398"/>
                          <a:gd name="connsiteY113" fmla="*/ 22607 h 64531"/>
                          <a:gd name="connsiteX114" fmla="*/ 30442 w 31398"/>
                          <a:gd name="connsiteY114" fmla="*/ 22966 h 64531"/>
                          <a:gd name="connsiteX115" fmla="*/ 30442 w 31398"/>
                          <a:gd name="connsiteY115" fmla="*/ 23325 h 64531"/>
                          <a:gd name="connsiteX116" fmla="*/ 30442 w 31398"/>
                          <a:gd name="connsiteY116" fmla="*/ 23683 h 64531"/>
                          <a:gd name="connsiteX117" fmla="*/ 30681 w 31398"/>
                          <a:gd name="connsiteY117" fmla="*/ 23983 h 64531"/>
                          <a:gd name="connsiteX118" fmla="*/ 30860 w 31398"/>
                          <a:gd name="connsiteY118" fmla="*/ 24282 h 64531"/>
                          <a:gd name="connsiteX119" fmla="*/ 31040 w 31398"/>
                          <a:gd name="connsiteY119" fmla="*/ 24581 h 64531"/>
                          <a:gd name="connsiteX120" fmla="*/ 31160 w 31398"/>
                          <a:gd name="connsiteY120" fmla="*/ 24880 h 64531"/>
                          <a:gd name="connsiteX121" fmla="*/ 14354 w 31398"/>
                          <a:gd name="connsiteY121" fmla="*/ 49939 h 64531"/>
                          <a:gd name="connsiteX122" fmla="*/ 15131 w 31398"/>
                          <a:gd name="connsiteY122" fmla="*/ 50417 h 64531"/>
                          <a:gd name="connsiteX123" fmla="*/ 16926 w 31398"/>
                          <a:gd name="connsiteY123" fmla="*/ 48444 h 64531"/>
                          <a:gd name="connsiteX124" fmla="*/ 18660 w 31398"/>
                          <a:gd name="connsiteY124" fmla="*/ 46470 h 64531"/>
                          <a:gd name="connsiteX125" fmla="*/ 20394 w 31398"/>
                          <a:gd name="connsiteY125" fmla="*/ 44497 h 64531"/>
                          <a:gd name="connsiteX126" fmla="*/ 22009 w 31398"/>
                          <a:gd name="connsiteY126" fmla="*/ 42523 h 64531"/>
                          <a:gd name="connsiteX127" fmla="*/ 22189 w 31398"/>
                          <a:gd name="connsiteY127" fmla="*/ 42284 h 64531"/>
                          <a:gd name="connsiteX128" fmla="*/ 22368 w 31398"/>
                          <a:gd name="connsiteY128" fmla="*/ 42044 h 64531"/>
                          <a:gd name="connsiteX129" fmla="*/ 22547 w 31398"/>
                          <a:gd name="connsiteY129" fmla="*/ 41805 h 64531"/>
                          <a:gd name="connsiteX130" fmla="*/ 22727 w 31398"/>
                          <a:gd name="connsiteY130" fmla="*/ 41566 h 64531"/>
                          <a:gd name="connsiteX131" fmla="*/ 23624 w 31398"/>
                          <a:gd name="connsiteY131" fmla="*/ 40430 h 64531"/>
                          <a:gd name="connsiteX132" fmla="*/ 24461 w 31398"/>
                          <a:gd name="connsiteY132" fmla="*/ 39293 h 64531"/>
                          <a:gd name="connsiteX133" fmla="*/ 25298 w 31398"/>
                          <a:gd name="connsiteY133" fmla="*/ 38157 h 64531"/>
                          <a:gd name="connsiteX134" fmla="*/ 26076 w 31398"/>
                          <a:gd name="connsiteY134" fmla="*/ 36961 h 64531"/>
                          <a:gd name="connsiteX135" fmla="*/ 26255 w 31398"/>
                          <a:gd name="connsiteY135" fmla="*/ 36721 h 64531"/>
                          <a:gd name="connsiteX136" fmla="*/ 26435 w 31398"/>
                          <a:gd name="connsiteY136" fmla="*/ 36482 h 64531"/>
                          <a:gd name="connsiteX137" fmla="*/ 26554 w 31398"/>
                          <a:gd name="connsiteY137" fmla="*/ 36243 h 64531"/>
                          <a:gd name="connsiteX138" fmla="*/ 26674 w 31398"/>
                          <a:gd name="connsiteY138" fmla="*/ 36004 h 64531"/>
                          <a:gd name="connsiteX139" fmla="*/ 26853 w 31398"/>
                          <a:gd name="connsiteY139" fmla="*/ 35705 h 64531"/>
                          <a:gd name="connsiteX140" fmla="*/ 27033 w 31398"/>
                          <a:gd name="connsiteY140" fmla="*/ 35406 h 64531"/>
                          <a:gd name="connsiteX141" fmla="*/ 27212 w 31398"/>
                          <a:gd name="connsiteY141" fmla="*/ 35107 h 64531"/>
                          <a:gd name="connsiteX142" fmla="*/ 27392 w 31398"/>
                          <a:gd name="connsiteY142" fmla="*/ 34808 h 64531"/>
                          <a:gd name="connsiteX143" fmla="*/ 27511 w 31398"/>
                          <a:gd name="connsiteY143" fmla="*/ 34568 h 64531"/>
                          <a:gd name="connsiteX144" fmla="*/ 27631 w 31398"/>
                          <a:gd name="connsiteY144" fmla="*/ 34329 h 64531"/>
                          <a:gd name="connsiteX145" fmla="*/ 27751 w 31398"/>
                          <a:gd name="connsiteY145" fmla="*/ 34090 h 64531"/>
                          <a:gd name="connsiteX146" fmla="*/ 27870 w 31398"/>
                          <a:gd name="connsiteY146" fmla="*/ 33851 h 64531"/>
                          <a:gd name="connsiteX147" fmla="*/ 28289 w 31398"/>
                          <a:gd name="connsiteY147" fmla="*/ 33073 h 64531"/>
                          <a:gd name="connsiteX148" fmla="*/ 28648 w 31398"/>
                          <a:gd name="connsiteY148" fmla="*/ 32296 h 64531"/>
                          <a:gd name="connsiteX149" fmla="*/ 29006 w 31398"/>
                          <a:gd name="connsiteY149" fmla="*/ 31518 h 64531"/>
                          <a:gd name="connsiteX150" fmla="*/ 29365 w 31398"/>
                          <a:gd name="connsiteY150" fmla="*/ 30741 h 64531"/>
                          <a:gd name="connsiteX151" fmla="*/ 29485 w 31398"/>
                          <a:gd name="connsiteY151" fmla="*/ 30502 h 64531"/>
                          <a:gd name="connsiteX152" fmla="*/ 29605 w 31398"/>
                          <a:gd name="connsiteY152" fmla="*/ 30262 h 64531"/>
                          <a:gd name="connsiteX153" fmla="*/ 29724 w 31398"/>
                          <a:gd name="connsiteY153" fmla="*/ 30023 h 64531"/>
                          <a:gd name="connsiteX154" fmla="*/ 29844 w 31398"/>
                          <a:gd name="connsiteY154" fmla="*/ 29784 h 64531"/>
                          <a:gd name="connsiteX155" fmla="*/ 30143 w 31398"/>
                          <a:gd name="connsiteY155" fmla="*/ 29066 h 64531"/>
                          <a:gd name="connsiteX156" fmla="*/ 30382 w 31398"/>
                          <a:gd name="connsiteY156" fmla="*/ 28289 h 64531"/>
                          <a:gd name="connsiteX157" fmla="*/ 30621 w 31398"/>
                          <a:gd name="connsiteY157" fmla="*/ 27511 h 64531"/>
                          <a:gd name="connsiteX158" fmla="*/ 30801 w 31398"/>
                          <a:gd name="connsiteY158" fmla="*/ 26734 h 64531"/>
                          <a:gd name="connsiteX159" fmla="*/ 30801 w 31398"/>
                          <a:gd name="connsiteY159" fmla="*/ 26674 h 64531"/>
                          <a:gd name="connsiteX160" fmla="*/ 30801 w 31398"/>
                          <a:gd name="connsiteY160" fmla="*/ 26614 h 64531"/>
                          <a:gd name="connsiteX161" fmla="*/ 30801 w 31398"/>
                          <a:gd name="connsiteY161" fmla="*/ 26554 h 64531"/>
                          <a:gd name="connsiteX162" fmla="*/ 30801 w 31398"/>
                          <a:gd name="connsiteY162" fmla="*/ 26495 h 64531"/>
                          <a:gd name="connsiteX163" fmla="*/ 30621 w 31398"/>
                          <a:gd name="connsiteY163" fmla="*/ 26196 h 64531"/>
                          <a:gd name="connsiteX164" fmla="*/ 30442 w 31398"/>
                          <a:gd name="connsiteY164" fmla="*/ 25896 h 64531"/>
                          <a:gd name="connsiteX165" fmla="*/ 30262 w 31398"/>
                          <a:gd name="connsiteY165" fmla="*/ 25597 h 64531"/>
                          <a:gd name="connsiteX166" fmla="*/ 30083 w 31398"/>
                          <a:gd name="connsiteY166" fmla="*/ 25298 h 64531"/>
                          <a:gd name="connsiteX167" fmla="*/ 30023 w 31398"/>
                          <a:gd name="connsiteY167" fmla="*/ 25537 h 64531"/>
                          <a:gd name="connsiteX168" fmla="*/ 29963 w 31398"/>
                          <a:gd name="connsiteY168" fmla="*/ 25777 h 64531"/>
                          <a:gd name="connsiteX169" fmla="*/ 29904 w 31398"/>
                          <a:gd name="connsiteY169" fmla="*/ 26016 h 64531"/>
                          <a:gd name="connsiteX170" fmla="*/ 29844 w 31398"/>
                          <a:gd name="connsiteY170" fmla="*/ 26255 h 64531"/>
                          <a:gd name="connsiteX171" fmla="*/ 29665 w 31398"/>
                          <a:gd name="connsiteY171" fmla="*/ 27033 h 64531"/>
                          <a:gd name="connsiteX172" fmla="*/ 29425 w 31398"/>
                          <a:gd name="connsiteY172" fmla="*/ 27810 h 64531"/>
                          <a:gd name="connsiteX173" fmla="*/ 29186 w 31398"/>
                          <a:gd name="connsiteY173" fmla="*/ 28588 h 64531"/>
                          <a:gd name="connsiteX174" fmla="*/ 28946 w 31398"/>
                          <a:gd name="connsiteY174" fmla="*/ 29365 h 64531"/>
                          <a:gd name="connsiteX175" fmla="*/ 28827 w 31398"/>
                          <a:gd name="connsiteY175" fmla="*/ 29604 h 64531"/>
                          <a:gd name="connsiteX176" fmla="*/ 28707 w 31398"/>
                          <a:gd name="connsiteY176" fmla="*/ 29844 h 64531"/>
                          <a:gd name="connsiteX177" fmla="*/ 28588 w 31398"/>
                          <a:gd name="connsiteY177" fmla="*/ 30083 h 64531"/>
                          <a:gd name="connsiteX178" fmla="*/ 28468 w 31398"/>
                          <a:gd name="connsiteY178" fmla="*/ 30322 h 64531"/>
                          <a:gd name="connsiteX179" fmla="*/ 28169 w 31398"/>
                          <a:gd name="connsiteY179" fmla="*/ 31099 h 64531"/>
                          <a:gd name="connsiteX180" fmla="*/ 27810 w 31398"/>
                          <a:gd name="connsiteY180" fmla="*/ 31877 h 64531"/>
                          <a:gd name="connsiteX181" fmla="*/ 27451 w 31398"/>
                          <a:gd name="connsiteY181" fmla="*/ 32655 h 64531"/>
                          <a:gd name="connsiteX182" fmla="*/ 27033 w 31398"/>
                          <a:gd name="connsiteY182" fmla="*/ 33432 h 64531"/>
                          <a:gd name="connsiteX183" fmla="*/ 26913 w 31398"/>
                          <a:gd name="connsiteY183" fmla="*/ 33671 h 64531"/>
                          <a:gd name="connsiteX184" fmla="*/ 26794 w 31398"/>
                          <a:gd name="connsiteY184" fmla="*/ 33911 h 64531"/>
                          <a:gd name="connsiteX185" fmla="*/ 26674 w 31398"/>
                          <a:gd name="connsiteY185" fmla="*/ 34150 h 64531"/>
                          <a:gd name="connsiteX186" fmla="*/ 26554 w 31398"/>
                          <a:gd name="connsiteY186" fmla="*/ 34389 h 64531"/>
                          <a:gd name="connsiteX187" fmla="*/ 26375 w 31398"/>
                          <a:gd name="connsiteY187" fmla="*/ 34748 h 64531"/>
                          <a:gd name="connsiteX188" fmla="*/ 26196 w 31398"/>
                          <a:gd name="connsiteY188" fmla="*/ 35047 h 64531"/>
                          <a:gd name="connsiteX189" fmla="*/ 26016 w 31398"/>
                          <a:gd name="connsiteY189" fmla="*/ 35346 h 64531"/>
                          <a:gd name="connsiteX190" fmla="*/ 25837 w 31398"/>
                          <a:gd name="connsiteY190" fmla="*/ 35645 h 64531"/>
                          <a:gd name="connsiteX191" fmla="*/ 25717 w 31398"/>
                          <a:gd name="connsiteY191" fmla="*/ 35884 h 64531"/>
                          <a:gd name="connsiteX192" fmla="*/ 25597 w 31398"/>
                          <a:gd name="connsiteY192" fmla="*/ 36123 h 64531"/>
                          <a:gd name="connsiteX193" fmla="*/ 25418 w 31398"/>
                          <a:gd name="connsiteY193" fmla="*/ 36363 h 64531"/>
                          <a:gd name="connsiteX194" fmla="*/ 25238 w 31398"/>
                          <a:gd name="connsiteY194" fmla="*/ 36602 h 64531"/>
                          <a:gd name="connsiteX195" fmla="*/ 24461 w 31398"/>
                          <a:gd name="connsiteY195" fmla="*/ 37798 h 64531"/>
                          <a:gd name="connsiteX196" fmla="*/ 23624 w 31398"/>
                          <a:gd name="connsiteY196" fmla="*/ 38994 h 64531"/>
                          <a:gd name="connsiteX197" fmla="*/ 22787 w 31398"/>
                          <a:gd name="connsiteY197" fmla="*/ 40130 h 64531"/>
                          <a:gd name="connsiteX198" fmla="*/ 21889 w 31398"/>
                          <a:gd name="connsiteY198" fmla="*/ 41267 h 64531"/>
                          <a:gd name="connsiteX199" fmla="*/ 21710 w 31398"/>
                          <a:gd name="connsiteY199" fmla="*/ 41506 h 64531"/>
                          <a:gd name="connsiteX200" fmla="*/ 21530 w 31398"/>
                          <a:gd name="connsiteY200" fmla="*/ 41745 h 64531"/>
                          <a:gd name="connsiteX201" fmla="*/ 21351 w 31398"/>
                          <a:gd name="connsiteY201" fmla="*/ 41984 h 64531"/>
                          <a:gd name="connsiteX202" fmla="*/ 21172 w 31398"/>
                          <a:gd name="connsiteY202" fmla="*/ 42224 h 64531"/>
                          <a:gd name="connsiteX203" fmla="*/ 19557 w 31398"/>
                          <a:gd name="connsiteY203" fmla="*/ 44197 h 64531"/>
                          <a:gd name="connsiteX204" fmla="*/ 17822 w 31398"/>
                          <a:gd name="connsiteY204" fmla="*/ 46171 h 64531"/>
                          <a:gd name="connsiteX205" fmla="*/ 16088 w 31398"/>
                          <a:gd name="connsiteY205" fmla="*/ 48145 h 64531"/>
                          <a:gd name="connsiteX206" fmla="*/ 14354 w 31398"/>
                          <a:gd name="connsiteY206" fmla="*/ 49939 h 64531"/>
                          <a:gd name="connsiteX207" fmla="*/ 12619 w 31398"/>
                          <a:gd name="connsiteY207" fmla="*/ 48803 h 64531"/>
                          <a:gd name="connsiteX208" fmla="*/ 13397 w 31398"/>
                          <a:gd name="connsiteY208" fmla="*/ 49281 h 64531"/>
                          <a:gd name="connsiteX209" fmla="*/ 15191 w 31398"/>
                          <a:gd name="connsiteY209" fmla="*/ 47307 h 64531"/>
                          <a:gd name="connsiteX210" fmla="*/ 16926 w 31398"/>
                          <a:gd name="connsiteY210" fmla="*/ 45334 h 64531"/>
                          <a:gd name="connsiteX211" fmla="*/ 18660 w 31398"/>
                          <a:gd name="connsiteY211" fmla="*/ 43360 h 64531"/>
                          <a:gd name="connsiteX212" fmla="*/ 20275 w 31398"/>
                          <a:gd name="connsiteY212" fmla="*/ 41386 h 64531"/>
                          <a:gd name="connsiteX213" fmla="*/ 20454 w 31398"/>
                          <a:gd name="connsiteY213" fmla="*/ 41147 h 64531"/>
                          <a:gd name="connsiteX214" fmla="*/ 20634 w 31398"/>
                          <a:gd name="connsiteY214" fmla="*/ 40908 h 64531"/>
                          <a:gd name="connsiteX215" fmla="*/ 20813 w 31398"/>
                          <a:gd name="connsiteY215" fmla="*/ 40669 h 64531"/>
                          <a:gd name="connsiteX216" fmla="*/ 20992 w 31398"/>
                          <a:gd name="connsiteY216" fmla="*/ 40430 h 64531"/>
                          <a:gd name="connsiteX217" fmla="*/ 21889 w 31398"/>
                          <a:gd name="connsiteY217" fmla="*/ 39293 h 64531"/>
                          <a:gd name="connsiteX218" fmla="*/ 22727 w 31398"/>
                          <a:gd name="connsiteY218" fmla="*/ 38097 h 64531"/>
                          <a:gd name="connsiteX219" fmla="*/ 23564 w 31398"/>
                          <a:gd name="connsiteY219" fmla="*/ 36901 h 64531"/>
                          <a:gd name="connsiteX220" fmla="*/ 24342 w 31398"/>
                          <a:gd name="connsiteY220" fmla="*/ 35705 h 64531"/>
                          <a:gd name="connsiteX221" fmla="*/ 24521 w 31398"/>
                          <a:gd name="connsiteY221" fmla="*/ 35466 h 64531"/>
                          <a:gd name="connsiteX222" fmla="*/ 24641 w 31398"/>
                          <a:gd name="connsiteY222" fmla="*/ 35226 h 64531"/>
                          <a:gd name="connsiteX223" fmla="*/ 24760 w 31398"/>
                          <a:gd name="connsiteY223" fmla="*/ 34987 h 64531"/>
                          <a:gd name="connsiteX224" fmla="*/ 24880 w 31398"/>
                          <a:gd name="connsiteY224" fmla="*/ 34748 h 64531"/>
                          <a:gd name="connsiteX225" fmla="*/ 25059 w 31398"/>
                          <a:gd name="connsiteY225" fmla="*/ 34389 h 64531"/>
                          <a:gd name="connsiteX226" fmla="*/ 25238 w 31398"/>
                          <a:gd name="connsiteY226" fmla="*/ 34030 h 64531"/>
                          <a:gd name="connsiteX227" fmla="*/ 25418 w 31398"/>
                          <a:gd name="connsiteY227" fmla="*/ 33671 h 64531"/>
                          <a:gd name="connsiteX228" fmla="*/ 25597 w 31398"/>
                          <a:gd name="connsiteY228" fmla="*/ 33313 h 64531"/>
                          <a:gd name="connsiteX229" fmla="*/ 25717 w 31398"/>
                          <a:gd name="connsiteY229" fmla="*/ 33073 h 64531"/>
                          <a:gd name="connsiteX230" fmla="*/ 25837 w 31398"/>
                          <a:gd name="connsiteY230" fmla="*/ 32834 h 64531"/>
                          <a:gd name="connsiteX231" fmla="*/ 25956 w 31398"/>
                          <a:gd name="connsiteY231" fmla="*/ 32595 h 64531"/>
                          <a:gd name="connsiteX232" fmla="*/ 26076 w 31398"/>
                          <a:gd name="connsiteY232" fmla="*/ 32356 h 64531"/>
                          <a:gd name="connsiteX233" fmla="*/ 26435 w 31398"/>
                          <a:gd name="connsiteY233" fmla="*/ 31578 h 64531"/>
                          <a:gd name="connsiteX234" fmla="*/ 26794 w 31398"/>
                          <a:gd name="connsiteY234" fmla="*/ 30800 h 64531"/>
                          <a:gd name="connsiteX235" fmla="*/ 27152 w 31398"/>
                          <a:gd name="connsiteY235" fmla="*/ 30023 h 64531"/>
                          <a:gd name="connsiteX236" fmla="*/ 27451 w 31398"/>
                          <a:gd name="connsiteY236" fmla="*/ 29245 h 64531"/>
                          <a:gd name="connsiteX237" fmla="*/ 27571 w 31398"/>
                          <a:gd name="connsiteY237" fmla="*/ 29006 h 64531"/>
                          <a:gd name="connsiteX238" fmla="*/ 27691 w 31398"/>
                          <a:gd name="connsiteY238" fmla="*/ 28767 h 64531"/>
                          <a:gd name="connsiteX239" fmla="*/ 27810 w 31398"/>
                          <a:gd name="connsiteY239" fmla="*/ 28528 h 64531"/>
                          <a:gd name="connsiteX240" fmla="*/ 27930 w 31398"/>
                          <a:gd name="connsiteY240" fmla="*/ 28289 h 64531"/>
                          <a:gd name="connsiteX241" fmla="*/ 28169 w 31398"/>
                          <a:gd name="connsiteY241" fmla="*/ 27511 h 64531"/>
                          <a:gd name="connsiteX242" fmla="*/ 28408 w 31398"/>
                          <a:gd name="connsiteY242" fmla="*/ 26734 h 64531"/>
                          <a:gd name="connsiteX243" fmla="*/ 28588 w 31398"/>
                          <a:gd name="connsiteY243" fmla="*/ 25956 h 64531"/>
                          <a:gd name="connsiteX244" fmla="*/ 28767 w 31398"/>
                          <a:gd name="connsiteY244" fmla="*/ 25179 h 64531"/>
                          <a:gd name="connsiteX245" fmla="*/ 28827 w 31398"/>
                          <a:gd name="connsiteY245" fmla="*/ 24880 h 64531"/>
                          <a:gd name="connsiteX246" fmla="*/ 28887 w 31398"/>
                          <a:gd name="connsiteY246" fmla="*/ 24581 h 64531"/>
                          <a:gd name="connsiteX247" fmla="*/ 28946 w 31398"/>
                          <a:gd name="connsiteY247" fmla="*/ 24282 h 64531"/>
                          <a:gd name="connsiteX248" fmla="*/ 29006 w 31398"/>
                          <a:gd name="connsiteY248" fmla="*/ 23983 h 64531"/>
                          <a:gd name="connsiteX249" fmla="*/ 29006 w 31398"/>
                          <a:gd name="connsiteY249" fmla="*/ 23863 h 64531"/>
                          <a:gd name="connsiteX250" fmla="*/ 29006 w 31398"/>
                          <a:gd name="connsiteY250" fmla="*/ 23743 h 64531"/>
                          <a:gd name="connsiteX251" fmla="*/ 29006 w 31398"/>
                          <a:gd name="connsiteY251" fmla="*/ 23624 h 64531"/>
                          <a:gd name="connsiteX252" fmla="*/ 29006 w 31398"/>
                          <a:gd name="connsiteY252" fmla="*/ 23504 h 64531"/>
                          <a:gd name="connsiteX253" fmla="*/ 28767 w 31398"/>
                          <a:gd name="connsiteY253" fmla="*/ 23205 h 64531"/>
                          <a:gd name="connsiteX254" fmla="*/ 28528 w 31398"/>
                          <a:gd name="connsiteY254" fmla="*/ 22906 h 64531"/>
                          <a:gd name="connsiteX255" fmla="*/ 28289 w 31398"/>
                          <a:gd name="connsiteY255" fmla="*/ 22607 h 64531"/>
                          <a:gd name="connsiteX256" fmla="*/ 28050 w 31398"/>
                          <a:gd name="connsiteY256" fmla="*/ 22308 h 64531"/>
                          <a:gd name="connsiteX257" fmla="*/ 28050 w 31398"/>
                          <a:gd name="connsiteY257" fmla="*/ 22368 h 64531"/>
                          <a:gd name="connsiteX258" fmla="*/ 28050 w 31398"/>
                          <a:gd name="connsiteY258" fmla="*/ 22428 h 64531"/>
                          <a:gd name="connsiteX259" fmla="*/ 28050 w 31398"/>
                          <a:gd name="connsiteY259" fmla="*/ 22488 h 64531"/>
                          <a:gd name="connsiteX260" fmla="*/ 28050 w 31398"/>
                          <a:gd name="connsiteY260" fmla="*/ 22547 h 64531"/>
                          <a:gd name="connsiteX261" fmla="*/ 28050 w 31398"/>
                          <a:gd name="connsiteY261" fmla="*/ 22727 h 64531"/>
                          <a:gd name="connsiteX262" fmla="*/ 28050 w 31398"/>
                          <a:gd name="connsiteY262" fmla="*/ 22906 h 64531"/>
                          <a:gd name="connsiteX263" fmla="*/ 28050 w 31398"/>
                          <a:gd name="connsiteY263" fmla="*/ 23085 h 64531"/>
                          <a:gd name="connsiteX264" fmla="*/ 28050 w 31398"/>
                          <a:gd name="connsiteY264" fmla="*/ 23265 h 64531"/>
                          <a:gd name="connsiteX265" fmla="*/ 28050 w 31398"/>
                          <a:gd name="connsiteY265" fmla="*/ 23564 h 64531"/>
                          <a:gd name="connsiteX266" fmla="*/ 27990 w 31398"/>
                          <a:gd name="connsiteY266" fmla="*/ 23863 h 64531"/>
                          <a:gd name="connsiteX267" fmla="*/ 27930 w 31398"/>
                          <a:gd name="connsiteY267" fmla="*/ 24162 h 64531"/>
                          <a:gd name="connsiteX268" fmla="*/ 27870 w 31398"/>
                          <a:gd name="connsiteY268" fmla="*/ 24461 h 64531"/>
                          <a:gd name="connsiteX269" fmla="*/ 27751 w 31398"/>
                          <a:gd name="connsiteY269" fmla="*/ 25238 h 64531"/>
                          <a:gd name="connsiteX270" fmla="*/ 27571 w 31398"/>
                          <a:gd name="connsiteY270" fmla="*/ 26016 h 64531"/>
                          <a:gd name="connsiteX271" fmla="*/ 27392 w 31398"/>
                          <a:gd name="connsiteY271" fmla="*/ 26794 h 64531"/>
                          <a:gd name="connsiteX272" fmla="*/ 27152 w 31398"/>
                          <a:gd name="connsiteY272" fmla="*/ 27571 h 64531"/>
                          <a:gd name="connsiteX273" fmla="*/ 27092 w 31398"/>
                          <a:gd name="connsiteY273" fmla="*/ 27810 h 64531"/>
                          <a:gd name="connsiteX274" fmla="*/ 27033 w 31398"/>
                          <a:gd name="connsiteY274" fmla="*/ 28050 h 64531"/>
                          <a:gd name="connsiteX275" fmla="*/ 26913 w 31398"/>
                          <a:gd name="connsiteY275" fmla="*/ 28289 h 64531"/>
                          <a:gd name="connsiteX276" fmla="*/ 26794 w 31398"/>
                          <a:gd name="connsiteY276" fmla="*/ 28528 h 64531"/>
                          <a:gd name="connsiteX277" fmla="*/ 26495 w 31398"/>
                          <a:gd name="connsiteY277" fmla="*/ 29305 h 64531"/>
                          <a:gd name="connsiteX278" fmla="*/ 26196 w 31398"/>
                          <a:gd name="connsiteY278" fmla="*/ 30083 h 64531"/>
                          <a:gd name="connsiteX279" fmla="*/ 25837 w 31398"/>
                          <a:gd name="connsiteY279" fmla="*/ 30860 h 64531"/>
                          <a:gd name="connsiteX280" fmla="*/ 25478 w 31398"/>
                          <a:gd name="connsiteY280" fmla="*/ 31638 h 64531"/>
                          <a:gd name="connsiteX281" fmla="*/ 25358 w 31398"/>
                          <a:gd name="connsiteY281" fmla="*/ 31877 h 64531"/>
                          <a:gd name="connsiteX282" fmla="*/ 25238 w 31398"/>
                          <a:gd name="connsiteY282" fmla="*/ 32116 h 64531"/>
                          <a:gd name="connsiteX283" fmla="*/ 25119 w 31398"/>
                          <a:gd name="connsiteY283" fmla="*/ 32356 h 64531"/>
                          <a:gd name="connsiteX284" fmla="*/ 24999 w 31398"/>
                          <a:gd name="connsiteY284" fmla="*/ 32595 h 64531"/>
                          <a:gd name="connsiteX285" fmla="*/ 24820 w 31398"/>
                          <a:gd name="connsiteY285" fmla="*/ 32954 h 64531"/>
                          <a:gd name="connsiteX286" fmla="*/ 24641 w 31398"/>
                          <a:gd name="connsiteY286" fmla="*/ 33313 h 64531"/>
                          <a:gd name="connsiteX287" fmla="*/ 24461 w 31398"/>
                          <a:gd name="connsiteY287" fmla="*/ 33671 h 64531"/>
                          <a:gd name="connsiteX288" fmla="*/ 24282 w 31398"/>
                          <a:gd name="connsiteY288" fmla="*/ 34030 h 64531"/>
                          <a:gd name="connsiteX289" fmla="*/ 24162 w 31398"/>
                          <a:gd name="connsiteY289" fmla="*/ 34269 h 64531"/>
                          <a:gd name="connsiteX290" fmla="*/ 24043 w 31398"/>
                          <a:gd name="connsiteY290" fmla="*/ 34509 h 64531"/>
                          <a:gd name="connsiteX291" fmla="*/ 23923 w 31398"/>
                          <a:gd name="connsiteY291" fmla="*/ 34748 h 64531"/>
                          <a:gd name="connsiteX292" fmla="*/ 23743 w 31398"/>
                          <a:gd name="connsiteY292" fmla="*/ 34987 h 64531"/>
                          <a:gd name="connsiteX293" fmla="*/ 22966 w 31398"/>
                          <a:gd name="connsiteY293" fmla="*/ 36183 h 64531"/>
                          <a:gd name="connsiteX294" fmla="*/ 22129 w 31398"/>
                          <a:gd name="connsiteY294" fmla="*/ 37380 h 64531"/>
                          <a:gd name="connsiteX295" fmla="*/ 21291 w 31398"/>
                          <a:gd name="connsiteY295" fmla="*/ 38575 h 64531"/>
                          <a:gd name="connsiteX296" fmla="*/ 20394 w 31398"/>
                          <a:gd name="connsiteY296" fmla="*/ 39772 h 64531"/>
                          <a:gd name="connsiteX297" fmla="*/ 20215 w 31398"/>
                          <a:gd name="connsiteY297" fmla="*/ 40011 h 64531"/>
                          <a:gd name="connsiteX298" fmla="*/ 20035 w 31398"/>
                          <a:gd name="connsiteY298" fmla="*/ 40250 h 64531"/>
                          <a:gd name="connsiteX299" fmla="*/ 19856 w 31398"/>
                          <a:gd name="connsiteY299" fmla="*/ 40489 h 64531"/>
                          <a:gd name="connsiteX300" fmla="*/ 19676 w 31398"/>
                          <a:gd name="connsiteY300" fmla="*/ 40729 h 64531"/>
                          <a:gd name="connsiteX301" fmla="*/ 18062 w 31398"/>
                          <a:gd name="connsiteY301" fmla="*/ 42702 h 64531"/>
                          <a:gd name="connsiteX302" fmla="*/ 16327 w 31398"/>
                          <a:gd name="connsiteY302" fmla="*/ 44676 h 64531"/>
                          <a:gd name="connsiteX303" fmla="*/ 14533 w 31398"/>
                          <a:gd name="connsiteY303" fmla="*/ 46650 h 64531"/>
                          <a:gd name="connsiteX304" fmla="*/ 12619 w 31398"/>
                          <a:gd name="connsiteY304" fmla="*/ 48803 h 64531"/>
                          <a:gd name="connsiteX305" fmla="*/ 12260 w 31398"/>
                          <a:gd name="connsiteY305" fmla="*/ 52212 h 64531"/>
                          <a:gd name="connsiteX306" fmla="*/ 13038 w 31398"/>
                          <a:gd name="connsiteY306" fmla="*/ 52690 h 64531"/>
                          <a:gd name="connsiteX307" fmla="*/ 13397 w 31398"/>
                          <a:gd name="connsiteY307" fmla="*/ 52331 h 64531"/>
                          <a:gd name="connsiteX308" fmla="*/ 13756 w 31398"/>
                          <a:gd name="connsiteY308" fmla="*/ 51972 h 64531"/>
                          <a:gd name="connsiteX309" fmla="*/ 14114 w 31398"/>
                          <a:gd name="connsiteY309" fmla="*/ 51614 h 64531"/>
                          <a:gd name="connsiteX310" fmla="*/ 14473 w 31398"/>
                          <a:gd name="connsiteY310" fmla="*/ 51255 h 64531"/>
                          <a:gd name="connsiteX311" fmla="*/ 13696 w 31398"/>
                          <a:gd name="connsiteY311" fmla="*/ 50776 h 64531"/>
                          <a:gd name="connsiteX312" fmla="*/ 13337 w 31398"/>
                          <a:gd name="connsiteY312" fmla="*/ 51135 h 64531"/>
                          <a:gd name="connsiteX313" fmla="*/ 12978 w 31398"/>
                          <a:gd name="connsiteY313" fmla="*/ 51494 h 64531"/>
                          <a:gd name="connsiteX314" fmla="*/ 12619 w 31398"/>
                          <a:gd name="connsiteY314" fmla="*/ 51853 h 64531"/>
                          <a:gd name="connsiteX315" fmla="*/ 12260 w 31398"/>
                          <a:gd name="connsiteY315" fmla="*/ 52212 h 64531"/>
                          <a:gd name="connsiteX316" fmla="*/ 10526 w 31398"/>
                          <a:gd name="connsiteY316" fmla="*/ 51075 h 64531"/>
                          <a:gd name="connsiteX317" fmla="*/ 11304 w 31398"/>
                          <a:gd name="connsiteY317" fmla="*/ 51554 h 64531"/>
                          <a:gd name="connsiteX318" fmla="*/ 11662 w 31398"/>
                          <a:gd name="connsiteY318" fmla="*/ 51195 h 64531"/>
                          <a:gd name="connsiteX319" fmla="*/ 12021 w 31398"/>
                          <a:gd name="connsiteY319" fmla="*/ 50836 h 64531"/>
                          <a:gd name="connsiteX320" fmla="*/ 12380 w 31398"/>
                          <a:gd name="connsiteY320" fmla="*/ 50477 h 64531"/>
                          <a:gd name="connsiteX321" fmla="*/ 12739 w 31398"/>
                          <a:gd name="connsiteY321" fmla="*/ 50118 h 64531"/>
                          <a:gd name="connsiteX322" fmla="*/ 11961 w 31398"/>
                          <a:gd name="connsiteY322" fmla="*/ 49640 h 64531"/>
                          <a:gd name="connsiteX323" fmla="*/ 11603 w 31398"/>
                          <a:gd name="connsiteY323" fmla="*/ 49999 h 64531"/>
                          <a:gd name="connsiteX324" fmla="*/ 11244 w 31398"/>
                          <a:gd name="connsiteY324" fmla="*/ 50358 h 64531"/>
                          <a:gd name="connsiteX325" fmla="*/ 10885 w 31398"/>
                          <a:gd name="connsiteY325" fmla="*/ 50716 h 64531"/>
                          <a:gd name="connsiteX326" fmla="*/ 10526 w 31398"/>
                          <a:gd name="connsiteY326" fmla="*/ 51075 h 64531"/>
                          <a:gd name="connsiteX327" fmla="*/ 10287 w 31398"/>
                          <a:gd name="connsiteY327" fmla="*/ 54305 h 64531"/>
                          <a:gd name="connsiteX328" fmla="*/ 11064 w 31398"/>
                          <a:gd name="connsiteY328" fmla="*/ 54783 h 64531"/>
                          <a:gd name="connsiteX329" fmla="*/ 11304 w 31398"/>
                          <a:gd name="connsiteY329" fmla="*/ 54544 h 64531"/>
                          <a:gd name="connsiteX330" fmla="*/ 11543 w 31398"/>
                          <a:gd name="connsiteY330" fmla="*/ 54305 h 64531"/>
                          <a:gd name="connsiteX331" fmla="*/ 11782 w 31398"/>
                          <a:gd name="connsiteY331" fmla="*/ 54066 h 64531"/>
                          <a:gd name="connsiteX332" fmla="*/ 12021 w 31398"/>
                          <a:gd name="connsiteY332" fmla="*/ 53826 h 64531"/>
                          <a:gd name="connsiteX333" fmla="*/ 12081 w 31398"/>
                          <a:gd name="connsiteY333" fmla="*/ 53767 h 64531"/>
                          <a:gd name="connsiteX334" fmla="*/ 12141 w 31398"/>
                          <a:gd name="connsiteY334" fmla="*/ 53707 h 64531"/>
                          <a:gd name="connsiteX335" fmla="*/ 12201 w 31398"/>
                          <a:gd name="connsiteY335" fmla="*/ 53647 h 64531"/>
                          <a:gd name="connsiteX336" fmla="*/ 12260 w 31398"/>
                          <a:gd name="connsiteY336" fmla="*/ 53587 h 64531"/>
                          <a:gd name="connsiteX337" fmla="*/ 11483 w 31398"/>
                          <a:gd name="connsiteY337" fmla="*/ 53109 h 64531"/>
                          <a:gd name="connsiteX338" fmla="*/ 11483 w 31398"/>
                          <a:gd name="connsiteY338" fmla="*/ 53109 h 64531"/>
                          <a:gd name="connsiteX339" fmla="*/ 11483 w 31398"/>
                          <a:gd name="connsiteY339" fmla="*/ 53109 h 64531"/>
                          <a:gd name="connsiteX340" fmla="*/ 11483 w 31398"/>
                          <a:gd name="connsiteY340" fmla="*/ 53109 h 64531"/>
                          <a:gd name="connsiteX341" fmla="*/ 11483 w 31398"/>
                          <a:gd name="connsiteY341" fmla="*/ 53109 h 64531"/>
                          <a:gd name="connsiteX342" fmla="*/ 11184 w 31398"/>
                          <a:gd name="connsiteY342" fmla="*/ 53408 h 64531"/>
                          <a:gd name="connsiteX343" fmla="*/ 10885 w 31398"/>
                          <a:gd name="connsiteY343" fmla="*/ 53707 h 64531"/>
                          <a:gd name="connsiteX344" fmla="*/ 10586 w 31398"/>
                          <a:gd name="connsiteY344" fmla="*/ 54006 h 64531"/>
                          <a:gd name="connsiteX345" fmla="*/ 10287 w 31398"/>
                          <a:gd name="connsiteY345" fmla="*/ 54305 h 64531"/>
                          <a:gd name="connsiteX346" fmla="*/ 8612 w 31398"/>
                          <a:gd name="connsiteY346" fmla="*/ 53168 h 64531"/>
                          <a:gd name="connsiteX347" fmla="*/ 9390 w 31398"/>
                          <a:gd name="connsiteY347" fmla="*/ 53647 h 64531"/>
                          <a:gd name="connsiteX348" fmla="*/ 9689 w 31398"/>
                          <a:gd name="connsiteY348" fmla="*/ 53348 h 64531"/>
                          <a:gd name="connsiteX349" fmla="*/ 9988 w 31398"/>
                          <a:gd name="connsiteY349" fmla="*/ 53049 h 64531"/>
                          <a:gd name="connsiteX350" fmla="*/ 10287 w 31398"/>
                          <a:gd name="connsiteY350" fmla="*/ 52750 h 64531"/>
                          <a:gd name="connsiteX351" fmla="*/ 10586 w 31398"/>
                          <a:gd name="connsiteY351" fmla="*/ 52451 h 64531"/>
                          <a:gd name="connsiteX352" fmla="*/ 9808 w 31398"/>
                          <a:gd name="connsiteY352" fmla="*/ 51972 h 64531"/>
                          <a:gd name="connsiteX353" fmla="*/ 9509 w 31398"/>
                          <a:gd name="connsiteY353" fmla="*/ 52271 h 64531"/>
                          <a:gd name="connsiteX354" fmla="*/ 9210 w 31398"/>
                          <a:gd name="connsiteY354" fmla="*/ 52570 h 64531"/>
                          <a:gd name="connsiteX355" fmla="*/ 8911 w 31398"/>
                          <a:gd name="connsiteY355" fmla="*/ 52869 h 64531"/>
                          <a:gd name="connsiteX356" fmla="*/ 8612 w 31398"/>
                          <a:gd name="connsiteY356" fmla="*/ 53168 h 64531"/>
                          <a:gd name="connsiteX357" fmla="*/ 0 w 31398"/>
                          <a:gd name="connsiteY357" fmla="*/ 62917 h 64531"/>
                          <a:gd name="connsiteX358" fmla="*/ 2452 w 31398"/>
                          <a:gd name="connsiteY358" fmla="*/ 64532 h 64531"/>
                          <a:gd name="connsiteX359" fmla="*/ 2811 w 31398"/>
                          <a:gd name="connsiteY359" fmla="*/ 64113 h 64531"/>
                          <a:gd name="connsiteX360" fmla="*/ 3409 w 31398"/>
                          <a:gd name="connsiteY360" fmla="*/ 63396 h 64531"/>
                          <a:gd name="connsiteX361" fmla="*/ 4007 w 31398"/>
                          <a:gd name="connsiteY361" fmla="*/ 62678 h 64531"/>
                          <a:gd name="connsiteX362" fmla="*/ 4605 w 31398"/>
                          <a:gd name="connsiteY362" fmla="*/ 61960 h 64531"/>
                          <a:gd name="connsiteX363" fmla="*/ 5203 w 31398"/>
                          <a:gd name="connsiteY363" fmla="*/ 61243 h 64531"/>
                          <a:gd name="connsiteX364" fmla="*/ 5382 w 31398"/>
                          <a:gd name="connsiteY364" fmla="*/ 61003 h 64531"/>
                          <a:gd name="connsiteX365" fmla="*/ 5562 w 31398"/>
                          <a:gd name="connsiteY365" fmla="*/ 60764 h 64531"/>
                          <a:gd name="connsiteX366" fmla="*/ 5742 w 31398"/>
                          <a:gd name="connsiteY366" fmla="*/ 60525 h 64531"/>
                          <a:gd name="connsiteX367" fmla="*/ 5921 w 31398"/>
                          <a:gd name="connsiteY367" fmla="*/ 60285 h 64531"/>
                          <a:gd name="connsiteX368" fmla="*/ 6937 w 31398"/>
                          <a:gd name="connsiteY368" fmla="*/ 59090 h 64531"/>
                          <a:gd name="connsiteX369" fmla="*/ 8014 w 31398"/>
                          <a:gd name="connsiteY369" fmla="*/ 57893 h 64531"/>
                          <a:gd name="connsiteX370" fmla="*/ 9091 w 31398"/>
                          <a:gd name="connsiteY370" fmla="*/ 56697 h 64531"/>
                          <a:gd name="connsiteX371" fmla="*/ 10227 w 31398"/>
                          <a:gd name="connsiteY371" fmla="*/ 55501 h 64531"/>
                          <a:gd name="connsiteX372" fmla="*/ 9509 w 31398"/>
                          <a:gd name="connsiteY372" fmla="*/ 55022 h 64531"/>
                          <a:gd name="connsiteX373" fmla="*/ 8373 w 31398"/>
                          <a:gd name="connsiteY373" fmla="*/ 56219 h 64531"/>
                          <a:gd name="connsiteX374" fmla="*/ 7296 w 31398"/>
                          <a:gd name="connsiteY374" fmla="*/ 57415 h 64531"/>
                          <a:gd name="connsiteX375" fmla="*/ 6220 w 31398"/>
                          <a:gd name="connsiteY375" fmla="*/ 58611 h 64531"/>
                          <a:gd name="connsiteX376" fmla="*/ 5203 w 31398"/>
                          <a:gd name="connsiteY376" fmla="*/ 59807 h 64531"/>
                          <a:gd name="connsiteX377" fmla="*/ 5024 w 31398"/>
                          <a:gd name="connsiteY377" fmla="*/ 60046 h 64531"/>
                          <a:gd name="connsiteX378" fmla="*/ 4844 w 31398"/>
                          <a:gd name="connsiteY378" fmla="*/ 60285 h 64531"/>
                          <a:gd name="connsiteX379" fmla="*/ 4665 w 31398"/>
                          <a:gd name="connsiteY379" fmla="*/ 60525 h 64531"/>
                          <a:gd name="connsiteX380" fmla="*/ 4486 w 31398"/>
                          <a:gd name="connsiteY380" fmla="*/ 60764 h 64531"/>
                          <a:gd name="connsiteX381" fmla="*/ 3947 w 31398"/>
                          <a:gd name="connsiteY381" fmla="*/ 61362 h 64531"/>
                          <a:gd name="connsiteX382" fmla="*/ 3409 w 31398"/>
                          <a:gd name="connsiteY382" fmla="*/ 61960 h 64531"/>
                          <a:gd name="connsiteX383" fmla="*/ 2930 w 31398"/>
                          <a:gd name="connsiteY383" fmla="*/ 62558 h 64531"/>
                          <a:gd name="connsiteX384" fmla="*/ 2452 w 31398"/>
                          <a:gd name="connsiteY384" fmla="*/ 63156 h 64531"/>
                          <a:gd name="connsiteX385" fmla="*/ 1495 w 31398"/>
                          <a:gd name="connsiteY385" fmla="*/ 62558 h 64531"/>
                          <a:gd name="connsiteX386" fmla="*/ 1974 w 31398"/>
                          <a:gd name="connsiteY386" fmla="*/ 61960 h 64531"/>
                          <a:gd name="connsiteX387" fmla="*/ 2452 w 31398"/>
                          <a:gd name="connsiteY387" fmla="*/ 61362 h 64531"/>
                          <a:gd name="connsiteX388" fmla="*/ 2990 w 31398"/>
                          <a:gd name="connsiteY388" fmla="*/ 60764 h 64531"/>
                          <a:gd name="connsiteX389" fmla="*/ 3528 w 31398"/>
                          <a:gd name="connsiteY389" fmla="*/ 60166 h 64531"/>
                          <a:gd name="connsiteX390" fmla="*/ 3708 w 31398"/>
                          <a:gd name="connsiteY390" fmla="*/ 59927 h 64531"/>
                          <a:gd name="connsiteX391" fmla="*/ 3887 w 31398"/>
                          <a:gd name="connsiteY391" fmla="*/ 59687 h 64531"/>
                          <a:gd name="connsiteX392" fmla="*/ 4067 w 31398"/>
                          <a:gd name="connsiteY392" fmla="*/ 59448 h 64531"/>
                          <a:gd name="connsiteX393" fmla="*/ 4246 w 31398"/>
                          <a:gd name="connsiteY393" fmla="*/ 59209 h 64531"/>
                          <a:gd name="connsiteX394" fmla="*/ 5263 w 31398"/>
                          <a:gd name="connsiteY394" fmla="*/ 58013 h 64531"/>
                          <a:gd name="connsiteX395" fmla="*/ 6340 w 31398"/>
                          <a:gd name="connsiteY395" fmla="*/ 56817 h 64531"/>
                          <a:gd name="connsiteX396" fmla="*/ 7416 w 31398"/>
                          <a:gd name="connsiteY396" fmla="*/ 55621 h 64531"/>
                          <a:gd name="connsiteX397" fmla="*/ 8552 w 31398"/>
                          <a:gd name="connsiteY397" fmla="*/ 54424 h 64531"/>
                          <a:gd name="connsiteX398" fmla="*/ 7775 w 31398"/>
                          <a:gd name="connsiteY398" fmla="*/ 53946 h 64531"/>
                          <a:gd name="connsiteX399" fmla="*/ 6639 w 31398"/>
                          <a:gd name="connsiteY399" fmla="*/ 55142 h 64531"/>
                          <a:gd name="connsiteX400" fmla="*/ 5562 w 31398"/>
                          <a:gd name="connsiteY400" fmla="*/ 56338 h 64531"/>
                          <a:gd name="connsiteX401" fmla="*/ 4486 w 31398"/>
                          <a:gd name="connsiteY401" fmla="*/ 57535 h 64531"/>
                          <a:gd name="connsiteX402" fmla="*/ 3469 w 31398"/>
                          <a:gd name="connsiteY402" fmla="*/ 58731 h 64531"/>
                          <a:gd name="connsiteX403" fmla="*/ 3289 w 31398"/>
                          <a:gd name="connsiteY403" fmla="*/ 58970 h 64531"/>
                          <a:gd name="connsiteX404" fmla="*/ 3110 w 31398"/>
                          <a:gd name="connsiteY404" fmla="*/ 59209 h 64531"/>
                          <a:gd name="connsiteX405" fmla="*/ 2930 w 31398"/>
                          <a:gd name="connsiteY405" fmla="*/ 59448 h 64531"/>
                          <a:gd name="connsiteX406" fmla="*/ 2751 w 31398"/>
                          <a:gd name="connsiteY406" fmla="*/ 59687 h 64531"/>
                          <a:gd name="connsiteX407" fmla="*/ 2153 w 31398"/>
                          <a:gd name="connsiteY407" fmla="*/ 60405 h 64531"/>
                          <a:gd name="connsiteX408" fmla="*/ 1555 w 31398"/>
                          <a:gd name="connsiteY408" fmla="*/ 61123 h 64531"/>
                          <a:gd name="connsiteX409" fmla="*/ 957 w 31398"/>
                          <a:gd name="connsiteY409" fmla="*/ 61840 h 64531"/>
                          <a:gd name="connsiteX410" fmla="*/ 359 w 31398"/>
                          <a:gd name="connsiteY410" fmla="*/ 62558 h 64531"/>
                          <a:gd name="connsiteX411" fmla="*/ 0 w 31398"/>
                          <a:gd name="connsiteY411" fmla="*/ 62917 h 6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Lst>
                        <a:rect l="l" t="t" r="r" b="b"/>
                        <a:pathLst>
                          <a:path w="31398" h="64531">
                            <a:moveTo>
                              <a:pt x="20634" y="7715"/>
                            </a:moveTo>
                            <a:lnTo>
                              <a:pt x="21351" y="6818"/>
                            </a:lnTo>
                            <a:cubicBezTo>
                              <a:pt x="20933" y="6459"/>
                              <a:pt x="20514" y="6100"/>
                              <a:pt x="20095" y="5741"/>
                            </a:cubicBezTo>
                            <a:cubicBezTo>
                              <a:pt x="19676" y="5382"/>
                              <a:pt x="19198" y="5024"/>
                              <a:pt x="18780" y="4665"/>
                            </a:cubicBezTo>
                            <a:cubicBezTo>
                              <a:pt x="18301" y="4306"/>
                              <a:pt x="17822" y="3947"/>
                              <a:pt x="17344" y="3588"/>
                            </a:cubicBezTo>
                            <a:cubicBezTo>
                              <a:pt x="16866" y="3229"/>
                              <a:pt x="16327" y="2871"/>
                              <a:pt x="15849" y="2512"/>
                            </a:cubicBezTo>
                            <a:lnTo>
                              <a:pt x="16746" y="1375"/>
                            </a:lnTo>
                            <a:cubicBezTo>
                              <a:pt x="17284" y="1734"/>
                              <a:pt x="17763" y="2093"/>
                              <a:pt x="18241" y="2452"/>
                            </a:cubicBezTo>
                            <a:cubicBezTo>
                              <a:pt x="18720" y="2811"/>
                              <a:pt x="19198" y="3170"/>
                              <a:pt x="19676" y="3528"/>
                            </a:cubicBezTo>
                            <a:cubicBezTo>
                              <a:pt x="20155" y="3887"/>
                              <a:pt x="20574" y="4246"/>
                              <a:pt x="20992" y="4605"/>
                            </a:cubicBezTo>
                            <a:cubicBezTo>
                              <a:pt x="21411" y="4964"/>
                              <a:pt x="21829" y="5323"/>
                              <a:pt x="22248" y="5681"/>
                            </a:cubicBezTo>
                            <a:lnTo>
                              <a:pt x="22966" y="4785"/>
                            </a:lnTo>
                            <a:cubicBezTo>
                              <a:pt x="22547" y="4366"/>
                              <a:pt x="22129" y="4007"/>
                              <a:pt x="21650" y="3648"/>
                            </a:cubicBezTo>
                            <a:cubicBezTo>
                              <a:pt x="21172" y="3289"/>
                              <a:pt x="20693" y="2871"/>
                              <a:pt x="20215" y="2512"/>
                            </a:cubicBezTo>
                            <a:cubicBezTo>
                              <a:pt x="19736" y="2153"/>
                              <a:pt x="19198" y="1734"/>
                              <a:pt x="18720" y="1375"/>
                            </a:cubicBezTo>
                            <a:cubicBezTo>
                              <a:pt x="18181" y="1017"/>
                              <a:pt x="17643" y="598"/>
                              <a:pt x="17105" y="239"/>
                            </a:cubicBezTo>
                            <a:lnTo>
                              <a:pt x="16686" y="0"/>
                            </a:lnTo>
                            <a:lnTo>
                              <a:pt x="14354" y="2930"/>
                            </a:lnTo>
                            <a:lnTo>
                              <a:pt x="14772" y="3170"/>
                            </a:lnTo>
                            <a:cubicBezTo>
                              <a:pt x="15311" y="3528"/>
                              <a:pt x="15849" y="3947"/>
                              <a:pt x="16387" y="4306"/>
                            </a:cubicBezTo>
                            <a:cubicBezTo>
                              <a:pt x="16926" y="4665"/>
                              <a:pt x="17404" y="5083"/>
                              <a:pt x="17882" y="5442"/>
                            </a:cubicBezTo>
                            <a:cubicBezTo>
                              <a:pt x="18361" y="5801"/>
                              <a:pt x="18839" y="6220"/>
                              <a:pt x="19318" y="6579"/>
                            </a:cubicBezTo>
                            <a:cubicBezTo>
                              <a:pt x="19736" y="6937"/>
                              <a:pt x="20215" y="7296"/>
                              <a:pt x="20634" y="7715"/>
                            </a:cubicBezTo>
                            <a:moveTo>
                              <a:pt x="28349" y="17105"/>
                            </a:moveTo>
                            <a:cubicBezTo>
                              <a:pt x="28289" y="16985"/>
                              <a:pt x="28229" y="16806"/>
                              <a:pt x="28229" y="16686"/>
                            </a:cubicBezTo>
                            <a:cubicBezTo>
                              <a:pt x="28169" y="16566"/>
                              <a:pt x="28109" y="16387"/>
                              <a:pt x="28050" y="16267"/>
                            </a:cubicBezTo>
                            <a:cubicBezTo>
                              <a:pt x="27990" y="16148"/>
                              <a:pt x="27930" y="15968"/>
                              <a:pt x="27870" y="15849"/>
                            </a:cubicBezTo>
                            <a:cubicBezTo>
                              <a:pt x="27810" y="15729"/>
                              <a:pt x="27751" y="15550"/>
                              <a:pt x="27691" y="15430"/>
                            </a:cubicBezTo>
                            <a:cubicBezTo>
                              <a:pt x="27631" y="15251"/>
                              <a:pt x="27511" y="15071"/>
                              <a:pt x="27451" y="14892"/>
                            </a:cubicBezTo>
                            <a:cubicBezTo>
                              <a:pt x="27392" y="14712"/>
                              <a:pt x="27272" y="14533"/>
                              <a:pt x="27212" y="14354"/>
                            </a:cubicBezTo>
                            <a:cubicBezTo>
                              <a:pt x="27152" y="14174"/>
                              <a:pt x="27033" y="13995"/>
                              <a:pt x="26913" y="13815"/>
                            </a:cubicBezTo>
                            <a:cubicBezTo>
                              <a:pt x="26794" y="13636"/>
                              <a:pt x="26734" y="13457"/>
                              <a:pt x="26614" y="13277"/>
                            </a:cubicBezTo>
                            <a:cubicBezTo>
                              <a:pt x="26315" y="12798"/>
                              <a:pt x="26016" y="12260"/>
                              <a:pt x="25657" y="11782"/>
                            </a:cubicBezTo>
                            <a:cubicBezTo>
                              <a:pt x="25298" y="11303"/>
                              <a:pt x="24940" y="10825"/>
                              <a:pt x="24581" y="10287"/>
                            </a:cubicBezTo>
                            <a:cubicBezTo>
                              <a:pt x="24162" y="9808"/>
                              <a:pt x="23743" y="9330"/>
                              <a:pt x="23325" y="8851"/>
                            </a:cubicBezTo>
                            <a:cubicBezTo>
                              <a:pt x="22906" y="8373"/>
                              <a:pt x="22428" y="7895"/>
                              <a:pt x="21889" y="7416"/>
                            </a:cubicBezTo>
                            <a:lnTo>
                              <a:pt x="21172" y="8313"/>
                            </a:lnTo>
                            <a:cubicBezTo>
                              <a:pt x="21471" y="8612"/>
                              <a:pt x="21710" y="8851"/>
                              <a:pt x="22009" y="9150"/>
                            </a:cubicBezTo>
                            <a:cubicBezTo>
                              <a:pt x="22248" y="9449"/>
                              <a:pt x="22547" y="9689"/>
                              <a:pt x="22787" y="9988"/>
                            </a:cubicBezTo>
                            <a:cubicBezTo>
                              <a:pt x="23026" y="10287"/>
                              <a:pt x="23265" y="10526"/>
                              <a:pt x="23504" y="10825"/>
                            </a:cubicBezTo>
                            <a:cubicBezTo>
                              <a:pt x="23743" y="11124"/>
                              <a:pt x="23923" y="11363"/>
                              <a:pt x="24162" y="11662"/>
                            </a:cubicBezTo>
                            <a:cubicBezTo>
                              <a:pt x="24342" y="11842"/>
                              <a:pt x="24461" y="12081"/>
                              <a:pt x="24641" y="12260"/>
                            </a:cubicBezTo>
                            <a:cubicBezTo>
                              <a:pt x="24760" y="12440"/>
                              <a:pt x="24940" y="12679"/>
                              <a:pt x="25059" y="12858"/>
                            </a:cubicBezTo>
                            <a:cubicBezTo>
                              <a:pt x="25179" y="13038"/>
                              <a:pt x="25358" y="13277"/>
                              <a:pt x="25478" y="13457"/>
                            </a:cubicBezTo>
                            <a:cubicBezTo>
                              <a:pt x="25597" y="13636"/>
                              <a:pt x="25717" y="13875"/>
                              <a:pt x="25837" y="14055"/>
                            </a:cubicBezTo>
                            <a:cubicBezTo>
                              <a:pt x="25897" y="14114"/>
                              <a:pt x="25897" y="14234"/>
                              <a:pt x="25956" y="14294"/>
                            </a:cubicBezTo>
                            <a:cubicBezTo>
                              <a:pt x="26016" y="14354"/>
                              <a:pt x="26016" y="14473"/>
                              <a:pt x="26076" y="14533"/>
                            </a:cubicBezTo>
                            <a:cubicBezTo>
                              <a:pt x="26136" y="14593"/>
                              <a:pt x="26136" y="14712"/>
                              <a:pt x="26196" y="14772"/>
                            </a:cubicBezTo>
                            <a:cubicBezTo>
                              <a:pt x="26255" y="14832"/>
                              <a:pt x="26255" y="14952"/>
                              <a:pt x="26315" y="15012"/>
                            </a:cubicBezTo>
                            <a:cubicBezTo>
                              <a:pt x="26495" y="15191"/>
                              <a:pt x="26674" y="15370"/>
                              <a:pt x="26853" y="15550"/>
                            </a:cubicBezTo>
                            <a:cubicBezTo>
                              <a:pt x="27033" y="15729"/>
                              <a:pt x="27212" y="15909"/>
                              <a:pt x="27332" y="16088"/>
                            </a:cubicBezTo>
                            <a:cubicBezTo>
                              <a:pt x="27511" y="16267"/>
                              <a:pt x="27691" y="16447"/>
                              <a:pt x="27810" y="16626"/>
                            </a:cubicBezTo>
                            <a:cubicBezTo>
                              <a:pt x="28050" y="16746"/>
                              <a:pt x="28169" y="16925"/>
                              <a:pt x="28349" y="17105"/>
                            </a:cubicBezTo>
                            <a:moveTo>
                              <a:pt x="31399" y="20753"/>
                            </a:moveTo>
                            <a:cubicBezTo>
                              <a:pt x="31399" y="20514"/>
                              <a:pt x="31399" y="20215"/>
                              <a:pt x="31339" y="19975"/>
                            </a:cubicBezTo>
                            <a:cubicBezTo>
                              <a:pt x="31339" y="19736"/>
                              <a:pt x="31279" y="19437"/>
                              <a:pt x="31279" y="19198"/>
                            </a:cubicBezTo>
                            <a:cubicBezTo>
                              <a:pt x="31279" y="18959"/>
                              <a:pt x="31219" y="18660"/>
                              <a:pt x="31160" y="18420"/>
                            </a:cubicBezTo>
                            <a:cubicBezTo>
                              <a:pt x="31100" y="18181"/>
                              <a:pt x="31040" y="17882"/>
                              <a:pt x="31040" y="17643"/>
                            </a:cubicBezTo>
                            <a:cubicBezTo>
                              <a:pt x="31040" y="17523"/>
                              <a:pt x="30980" y="17344"/>
                              <a:pt x="30920" y="17225"/>
                            </a:cubicBezTo>
                            <a:cubicBezTo>
                              <a:pt x="30860" y="17105"/>
                              <a:pt x="30860" y="16925"/>
                              <a:pt x="30801" y="16806"/>
                            </a:cubicBezTo>
                            <a:cubicBezTo>
                              <a:pt x="30741" y="16686"/>
                              <a:pt x="30741" y="16507"/>
                              <a:pt x="30681" y="16387"/>
                            </a:cubicBezTo>
                            <a:cubicBezTo>
                              <a:pt x="30621" y="16267"/>
                              <a:pt x="30621" y="16088"/>
                              <a:pt x="30561" y="15968"/>
                            </a:cubicBezTo>
                            <a:cubicBezTo>
                              <a:pt x="30262" y="15071"/>
                              <a:pt x="29904" y="14114"/>
                              <a:pt x="29485" y="13217"/>
                            </a:cubicBezTo>
                            <a:cubicBezTo>
                              <a:pt x="29066" y="12320"/>
                              <a:pt x="28528" y="11423"/>
                              <a:pt x="27930" y="10526"/>
                            </a:cubicBezTo>
                            <a:cubicBezTo>
                              <a:pt x="27332" y="9629"/>
                              <a:pt x="26674" y="8791"/>
                              <a:pt x="25956" y="7895"/>
                            </a:cubicBezTo>
                            <a:cubicBezTo>
                              <a:pt x="25238" y="6997"/>
                              <a:pt x="24401" y="6160"/>
                              <a:pt x="23504" y="5323"/>
                            </a:cubicBezTo>
                            <a:lnTo>
                              <a:pt x="22787" y="6220"/>
                            </a:lnTo>
                            <a:cubicBezTo>
                              <a:pt x="23504" y="6937"/>
                              <a:pt x="24222" y="7655"/>
                              <a:pt x="24820" y="8373"/>
                            </a:cubicBezTo>
                            <a:cubicBezTo>
                              <a:pt x="25418" y="9090"/>
                              <a:pt x="26016" y="9808"/>
                              <a:pt x="26554" y="10526"/>
                            </a:cubicBezTo>
                            <a:cubicBezTo>
                              <a:pt x="27092" y="11244"/>
                              <a:pt x="27511" y="11961"/>
                              <a:pt x="27930" y="12739"/>
                            </a:cubicBezTo>
                            <a:cubicBezTo>
                              <a:pt x="28349" y="13457"/>
                              <a:pt x="28707" y="14234"/>
                              <a:pt x="29006" y="14952"/>
                            </a:cubicBezTo>
                            <a:cubicBezTo>
                              <a:pt x="29066" y="15071"/>
                              <a:pt x="29126" y="15251"/>
                              <a:pt x="29186" y="15370"/>
                            </a:cubicBezTo>
                            <a:cubicBezTo>
                              <a:pt x="29246" y="15490"/>
                              <a:pt x="29305" y="15669"/>
                              <a:pt x="29365" y="15789"/>
                            </a:cubicBezTo>
                            <a:cubicBezTo>
                              <a:pt x="29425" y="15909"/>
                              <a:pt x="29485" y="16088"/>
                              <a:pt x="29545" y="16267"/>
                            </a:cubicBezTo>
                            <a:cubicBezTo>
                              <a:pt x="29605" y="16447"/>
                              <a:pt x="29665" y="16566"/>
                              <a:pt x="29665" y="16746"/>
                            </a:cubicBezTo>
                            <a:cubicBezTo>
                              <a:pt x="29724" y="16925"/>
                              <a:pt x="29784" y="17165"/>
                              <a:pt x="29844" y="17344"/>
                            </a:cubicBezTo>
                            <a:cubicBezTo>
                              <a:pt x="29904" y="17583"/>
                              <a:pt x="29963" y="17763"/>
                              <a:pt x="30023" y="18002"/>
                            </a:cubicBezTo>
                            <a:cubicBezTo>
                              <a:pt x="30083" y="18241"/>
                              <a:pt x="30083" y="18420"/>
                              <a:pt x="30143" y="18660"/>
                            </a:cubicBezTo>
                            <a:cubicBezTo>
                              <a:pt x="30203" y="18899"/>
                              <a:pt x="30203" y="19079"/>
                              <a:pt x="30262" y="19318"/>
                            </a:cubicBezTo>
                            <a:cubicBezTo>
                              <a:pt x="30382" y="19437"/>
                              <a:pt x="30442" y="19557"/>
                              <a:pt x="30561" y="19676"/>
                            </a:cubicBezTo>
                            <a:cubicBezTo>
                              <a:pt x="30681" y="19796"/>
                              <a:pt x="30741" y="19916"/>
                              <a:pt x="30860" y="20035"/>
                            </a:cubicBezTo>
                            <a:cubicBezTo>
                              <a:pt x="30980" y="20155"/>
                              <a:pt x="31040" y="20274"/>
                              <a:pt x="31160" y="20394"/>
                            </a:cubicBezTo>
                            <a:cubicBezTo>
                              <a:pt x="31219" y="20514"/>
                              <a:pt x="31339" y="20633"/>
                              <a:pt x="31399" y="20753"/>
                            </a:cubicBezTo>
                            <a:moveTo>
                              <a:pt x="29126" y="21949"/>
                            </a:moveTo>
                            <a:cubicBezTo>
                              <a:pt x="29126" y="21710"/>
                              <a:pt x="29126" y="21530"/>
                              <a:pt x="29126" y="21291"/>
                            </a:cubicBezTo>
                            <a:cubicBezTo>
                              <a:pt x="29126" y="21052"/>
                              <a:pt x="29126" y="20873"/>
                              <a:pt x="29066" y="20633"/>
                            </a:cubicBezTo>
                            <a:cubicBezTo>
                              <a:pt x="29066" y="20394"/>
                              <a:pt x="29006" y="20215"/>
                              <a:pt x="29006" y="19975"/>
                            </a:cubicBezTo>
                            <a:cubicBezTo>
                              <a:pt x="29006" y="19736"/>
                              <a:pt x="28946" y="19557"/>
                              <a:pt x="28887" y="19318"/>
                            </a:cubicBezTo>
                            <a:cubicBezTo>
                              <a:pt x="28767" y="19198"/>
                              <a:pt x="28648" y="19019"/>
                              <a:pt x="28528" y="18899"/>
                            </a:cubicBezTo>
                            <a:cubicBezTo>
                              <a:pt x="28408" y="18779"/>
                              <a:pt x="28289" y="18600"/>
                              <a:pt x="28169" y="18480"/>
                            </a:cubicBezTo>
                            <a:cubicBezTo>
                              <a:pt x="28050" y="18361"/>
                              <a:pt x="27930" y="18181"/>
                              <a:pt x="27810" y="18062"/>
                            </a:cubicBezTo>
                            <a:cubicBezTo>
                              <a:pt x="27691" y="17942"/>
                              <a:pt x="27571" y="17763"/>
                              <a:pt x="27451" y="17643"/>
                            </a:cubicBezTo>
                            <a:cubicBezTo>
                              <a:pt x="27511" y="17882"/>
                              <a:pt x="27571" y="18121"/>
                              <a:pt x="27631" y="18361"/>
                            </a:cubicBezTo>
                            <a:cubicBezTo>
                              <a:pt x="27691" y="18600"/>
                              <a:pt x="27751" y="18839"/>
                              <a:pt x="27810" y="19079"/>
                            </a:cubicBezTo>
                            <a:cubicBezTo>
                              <a:pt x="27870" y="19318"/>
                              <a:pt x="27930" y="19557"/>
                              <a:pt x="27930" y="19796"/>
                            </a:cubicBezTo>
                            <a:cubicBezTo>
                              <a:pt x="27990" y="20035"/>
                              <a:pt x="27990" y="20274"/>
                              <a:pt x="28050" y="20514"/>
                            </a:cubicBezTo>
                            <a:cubicBezTo>
                              <a:pt x="28169" y="20633"/>
                              <a:pt x="28229" y="20753"/>
                              <a:pt x="28349" y="20873"/>
                            </a:cubicBezTo>
                            <a:cubicBezTo>
                              <a:pt x="28468" y="20992"/>
                              <a:pt x="28528" y="21112"/>
                              <a:pt x="28648" y="21231"/>
                            </a:cubicBezTo>
                            <a:cubicBezTo>
                              <a:pt x="28767" y="21351"/>
                              <a:pt x="28827" y="21471"/>
                              <a:pt x="28946" y="21590"/>
                            </a:cubicBezTo>
                            <a:cubicBezTo>
                              <a:pt x="29066" y="21710"/>
                              <a:pt x="29066" y="21829"/>
                              <a:pt x="29126" y="21949"/>
                            </a:cubicBezTo>
                            <a:moveTo>
                              <a:pt x="31160" y="24880"/>
                            </a:moveTo>
                            <a:cubicBezTo>
                              <a:pt x="31219" y="24700"/>
                              <a:pt x="31219" y="24521"/>
                              <a:pt x="31219" y="24342"/>
                            </a:cubicBezTo>
                            <a:cubicBezTo>
                              <a:pt x="31219" y="24162"/>
                              <a:pt x="31279" y="23983"/>
                              <a:pt x="31279" y="23803"/>
                            </a:cubicBezTo>
                            <a:cubicBezTo>
                              <a:pt x="31279" y="23624"/>
                              <a:pt x="31339" y="23444"/>
                              <a:pt x="31339" y="23265"/>
                            </a:cubicBezTo>
                            <a:cubicBezTo>
                              <a:pt x="31339" y="23085"/>
                              <a:pt x="31339" y="22906"/>
                              <a:pt x="31399" y="22727"/>
                            </a:cubicBezTo>
                            <a:cubicBezTo>
                              <a:pt x="31339" y="22607"/>
                              <a:pt x="31219" y="22488"/>
                              <a:pt x="31160" y="22368"/>
                            </a:cubicBezTo>
                            <a:cubicBezTo>
                              <a:pt x="31100" y="22248"/>
                              <a:pt x="30980" y="22128"/>
                              <a:pt x="30920" y="22009"/>
                            </a:cubicBezTo>
                            <a:cubicBezTo>
                              <a:pt x="30860" y="21889"/>
                              <a:pt x="30741" y="21770"/>
                              <a:pt x="30681" y="21650"/>
                            </a:cubicBezTo>
                            <a:cubicBezTo>
                              <a:pt x="30621" y="21530"/>
                              <a:pt x="30502" y="21411"/>
                              <a:pt x="30442" y="21291"/>
                            </a:cubicBezTo>
                            <a:cubicBezTo>
                              <a:pt x="30442" y="21351"/>
                              <a:pt x="30442" y="21471"/>
                              <a:pt x="30442" y="21530"/>
                            </a:cubicBezTo>
                            <a:cubicBezTo>
                              <a:pt x="30442" y="21590"/>
                              <a:pt x="30442" y="21710"/>
                              <a:pt x="30442" y="21770"/>
                            </a:cubicBezTo>
                            <a:cubicBezTo>
                              <a:pt x="30442" y="21829"/>
                              <a:pt x="30442" y="21949"/>
                              <a:pt x="30442" y="22009"/>
                            </a:cubicBezTo>
                            <a:cubicBezTo>
                              <a:pt x="30442" y="22069"/>
                              <a:pt x="30442" y="22188"/>
                              <a:pt x="30442" y="22248"/>
                            </a:cubicBezTo>
                            <a:cubicBezTo>
                              <a:pt x="30442" y="22368"/>
                              <a:pt x="30442" y="22488"/>
                              <a:pt x="30442" y="22607"/>
                            </a:cubicBezTo>
                            <a:cubicBezTo>
                              <a:pt x="30442" y="22727"/>
                              <a:pt x="30442" y="22846"/>
                              <a:pt x="30442" y="22966"/>
                            </a:cubicBezTo>
                            <a:cubicBezTo>
                              <a:pt x="30442" y="23085"/>
                              <a:pt x="30442" y="23205"/>
                              <a:pt x="30442" y="23325"/>
                            </a:cubicBezTo>
                            <a:cubicBezTo>
                              <a:pt x="30442" y="23444"/>
                              <a:pt x="30442" y="23564"/>
                              <a:pt x="30442" y="23683"/>
                            </a:cubicBezTo>
                            <a:cubicBezTo>
                              <a:pt x="30502" y="23803"/>
                              <a:pt x="30561" y="23923"/>
                              <a:pt x="30681" y="23983"/>
                            </a:cubicBezTo>
                            <a:cubicBezTo>
                              <a:pt x="30801" y="24042"/>
                              <a:pt x="30801" y="24222"/>
                              <a:pt x="30860" y="24282"/>
                            </a:cubicBezTo>
                            <a:cubicBezTo>
                              <a:pt x="30920" y="24401"/>
                              <a:pt x="30980" y="24521"/>
                              <a:pt x="31040" y="24581"/>
                            </a:cubicBezTo>
                            <a:cubicBezTo>
                              <a:pt x="31040" y="24700"/>
                              <a:pt x="31100" y="24760"/>
                              <a:pt x="31160" y="24880"/>
                            </a:cubicBezTo>
                            <a:moveTo>
                              <a:pt x="14354" y="49939"/>
                            </a:moveTo>
                            <a:lnTo>
                              <a:pt x="15131" y="50417"/>
                            </a:lnTo>
                            <a:cubicBezTo>
                              <a:pt x="15729" y="49760"/>
                              <a:pt x="16327" y="49101"/>
                              <a:pt x="16926" y="48444"/>
                            </a:cubicBezTo>
                            <a:cubicBezTo>
                              <a:pt x="17523" y="47786"/>
                              <a:pt x="18121" y="47128"/>
                              <a:pt x="18660" y="46470"/>
                            </a:cubicBezTo>
                            <a:cubicBezTo>
                              <a:pt x="19258" y="45812"/>
                              <a:pt x="19796" y="45154"/>
                              <a:pt x="20394" y="44497"/>
                            </a:cubicBezTo>
                            <a:cubicBezTo>
                              <a:pt x="20933" y="43838"/>
                              <a:pt x="21471" y="43181"/>
                              <a:pt x="22009" y="42523"/>
                            </a:cubicBezTo>
                            <a:cubicBezTo>
                              <a:pt x="22069" y="42463"/>
                              <a:pt x="22129" y="42403"/>
                              <a:pt x="22189" y="42284"/>
                            </a:cubicBezTo>
                            <a:cubicBezTo>
                              <a:pt x="22248" y="42224"/>
                              <a:pt x="22308" y="42164"/>
                              <a:pt x="22368" y="42044"/>
                            </a:cubicBezTo>
                            <a:cubicBezTo>
                              <a:pt x="22428" y="41925"/>
                              <a:pt x="22488" y="41925"/>
                              <a:pt x="22547" y="41805"/>
                            </a:cubicBezTo>
                            <a:cubicBezTo>
                              <a:pt x="22607" y="41745"/>
                              <a:pt x="22667" y="41685"/>
                              <a:pt x="22727" y="41566"/>
                            </a:cubicBezTo>
                            <a:cubicBezTo>
                              <a:pt x="23026" y="41207"/>
                              <a:pt x="23325" y="40789"/>
                              <a:pt x="23624" y="40430"/>
                            </a:cubicBezTo>
                            <a:cubicBezTo>
                              <a:pt x="23923" y="40071"/>
                              <a:pt x="24222" y="39652"/>
                              <a:pt x="24461" y="39293"/>
                            </a:cubicBezTo>
                            <a:cubicBezTo>
                              <a:pt x="24760" y="38935"/>
                              <a:pt x="24999" y="38516"/>
                              <a:pt x="25298" y="38157"/>
                            </a:cubicBezTo>
                            <a:cubicBezTo>
                              <a:pt x="25538" y="37738"/>
                              <a:pt x="25837" y="37380"/>
                              <a:pt x="26076" y="36961"/>
                            </a:cubicBezTo>
                            <a:cubicBezTo>
                              <a:pt x="26136" y="36901"/>
                              <a:pt x="26196" y="36781"/>
                              <a:pt x="26255" y="36721"/>
                            </a:cubicBezTo>
                            <a:cubicBezTo>
                              <a:pt x="26315" y="36662"/>
                              <a:pt x="26375" y="36542"/>
                              <a:pt x="26435" y="36482"/>
                            </a:cubicBezTo>
                            <a:cubicBezTo>
                              <a:pt x="26495" y="36422"/>
                              <a:pt x="26554" y="36303"/>
                              <a:pt x="26554" y="36243"/>
                            </a:cubicBezTo>
                            <a:cubicBezTo>
                              <a:pt x="26554" y="36183"/>
                              <a:pt x="26674" y="36064"/>
                              <a:pt x="26674" y="36004"/>
                            </a:cubicBezTo>
                            <a:cubicBezTo>
                              <a:pt x="26734" y="35884"/>
                              <a:pt x="26794" y="35765"/>
                              <a:pt x="26853" y="35705"/>
                            </a:cubicBezTo>
                            <a:cubicBezTo>
                              <a:pt x="26913" y="35585"/>
                              <a:pt x="26973" y="35466"/>
                              <a:pt x="27033" y="35406"/>
                            </a:cubicBezTo>
                            <a:cubicBezTo>
                              <a:pt x="27092" y="35346"/>
                              <a:pt x="27152" y="35167"/>
                              <a:pt x="27212" y="35107"/>
                            </a:cubicBezTo>
                            <a:cubicBezTo>
                              <a:pt x="27272" y="34987"/>
                              <a:pt x="27332" y="34867"/>
                              <a:pt x="27392" y="34808"/>
                            </a:cubicBezTo>
                            <a:cubicBezTo>
                              <a:pt x="27451" y="34748"/>
                              <a:pt x="27511" y="34628"/>
                              <a:pt x="27511" y="34568"/>
                            </a:cubicBezTo>
                            <a:cubicBezTo>
                              <a:pt x="27511" y="34509"/>
                              <a:pt x="27631" y="34389"/>
                              <a:pt x="27631" y="34329"/>
                            </a:cubicBezTo>
                            <a:cubicBezTo>
                              <a:pt x="27691" y="34269"/>
                              <a:pt x="27751" y="34150"/>
                              <a:pt x="27751" y="34090"/>
                            </a:cubicBezTo>
                            <a:cubicBezTo>
                              <a:pt x="27810" y="34030"/>
                              <a:pt x="27810" y="33911"/>
                              <a:pt x="27870" y="33851"/>
                            </a:cubicBezTo>
                            <a:cubicBezTo>
                              <a:pt x="27990" y="33612"/>
                              <a:pt x="28109" y="33372"/>
                              <a:pt x="28289" y="33073"/>
                            </a:cubicBezTo>
                            <a:cubicBezTo>
                              <a:pt x="28408" y="32834"/>
                              <a:pt x="28528" y="32595"/>
                              <a:pt x="28648" y="32296"/>
                            </a:cubicBezTo>
                            <a:cubicBezTo>
                              <a:pt x="28767" y="32057"/>
                              <a:pt x="28887" y="31817"/>
                              <a:pt x="29006" y="31518"/>
                            </a:cubicBezTo>
                            <a:cubicBezTo>
                              <a:pt x="29126" y="31279"/>
                              <a:pt x="29246" y="31040"/>
                              <a:pt x="29365" y="30741"/>
                            </a:cubicBezTo>
                            <a:cubicBezTo>
                              <a:pt x="29425" y="30681"/>
                              <a:pt x="29425" y="30561"/>
                              <a:pt x="29485" y="30502"/>
                            </a:cubicBezTo>
                            <a:cubicBezTo>
                              <a:pt x="29545" y="30442"/>
                              <a:pt x="29545" y="30322"/>
                              <a:pt x="29605" y="30262"/>
                            </a:cubicBezTo>
                            <a:cubicBezTo>
                              <a:pt x="29665" y="30203"/>
                              <a:pt x="29665" y="30083"/>
                              <a:pt x="29724" y="30023"/>
                            </a:cubicBezTo>
                            <a:cubicBezTo>
                              <a:pt x="29784" y="29963"/>
                              <a:pt x="29784" y="29844"/>
                              <a:pt x="29844" y="29784"/>
                            </a:cubicBezTo>
                            <a:cubicBezTo>
                              <a:pt x="29963" y="29545"/>
                              <a:pt x="30023" y="29305"/>
                              <a:pt x="30143" y="29066"/>
                            </a:cubicBezTo>
                            <a:cubicBezTo>
                              <a:pt x="30262" y="28827"/>
                              <a:pt x="30322" y="28588"/>
                              <a:pt x="30382" y="28289"/>
                            </a:cubicBezTo>
                            <a:cubicBezTo>
                              <a:pt x="30442" y="28050"/>
                              <a:pt x="30561" y="27810"/>
                              <a:pt x="30621" y="27511"/>
                            </a:cubicBezTo>
                            <a:cubicBezTo>
                              <a:pt x="30681" y="27272"/>
                              <a:pt x="30741" y="27033"/>
                              <a:pt x="30801" y="26734"/>
                            </a:cubicBezTo>
                            <a:cubicBezTo>
                              <a:pt x="30801" y="26734"/>
                              <a:pt x="30801" y="26674"/>
                              <a:pt x="30801" y="26674"/>
                            </a:cubicBezTo>
                            <a:cubicBezTo>
                              <a:pt x="30801" y="26674"/>
                              <a:pt x="30801" y="26614"/>
                              <a:pt x="30801" y="26614"/>
                            </a:cubicBezTo>
                            <a:cubicBezTo>
                              <a:pt x="30801" y="26614"/>
                              <a:pt x="30801" y="26554"/>
                              <a:pt x="30801" y="26554"/>
                            </a:cubicBezTo>
                            <a:cubicBezTo>
                              <a:pt x="30801" y="26554"/>
                              <a:pt x="30801" y="26495"/>
                              <a:pt x="30801" y="26495"/>
                            </a:cubicBezTo>
                            <a:cubicBezTo>
                              <a:pt x="30741" y="26375"/>
                              <a:pt x="30681" y="26315"/>
                              <a:pt x="30621" y="26196"/>
                            </a:cubicBezTo>
                            <a:cubicBezTo>
                              <a:pt x="30561" y="26076"/>
                              <a:pt x="30502" y="26016"/>
                              <a:pt x="30442" y="25896"/>
                            </a:cubicBezTo>
                            <a:cubicBezTo>
                              <a:pt x="30382" y="25777"/>
                              <a:pt x="30322" y="25717"/>
                              <a:pt x="30262" y="25597"/>
                            </a:cubicBezTo>
                            <a:cubicBezTo>
                              <a:pt x="30203" y="25478"/>
                              <a:pt x="30143" y="25418"/>
                              <a:pt x="30083" y="25298"/>
                            </a:cubicBezTo>
                            <a:cubicBezTo>
                              <a:pt x="30083" y="25358"/>
                              <a:pt x="30083" y="25478"/>
                              <a:pt x="30023" y="25537"/>
                            </a:cubicBezTo>
                            <a:cubicBezTo>
                              <a:pt x="30023" y="25597"/>
                              <a:pt x="30023" y="25717"/>
                              <a:pt x="29963" y="25777"/>
                            </a:cubicBezTo>
                            <a:cubicBezTo>
                              <a:pt x="29963" y="25837"/>
                              <a:pt x="29904" y="25956"/>
                              <a:pt x="29904" y="26016"/>
                            </a:cubicBezTo>
                            <a:cubicBezTo>
                              <a:pt x="29904" y="26076"/>
                              <a:pt x="29844" y="26196"/>
                              <a:pt x="29844" y="26255"/>
                            </a:cubicBezTo>
                            <a:cubicBezTo>
                              <a:pt x="29784" y="26495"/>
                              <a:pt x="29724" y="26734"/>
                              <a:pt x="29665" y="27033"/>
                            </a:cubicBezTo>
                            <a:cubicBezTo>
                              <a:pt x="29605" y="27272"/>
                              <a:pt x="29545" y="27511"/>
                              <a:pt x="29425" y="27810"/>
                            </a:cubicBezTo>
                            <a:cubicBezTo>
                              <a:pt x="29305" y="28109"/>
                              <a:pt x="29246" y="28289"/>
                              <a:pt x="29186" y="28588"/>
                            </a:cubicBezTo>
                            <a:cubicBezTo>
                              <a:pt x="29126" y="28827"/>
                              <a:pt x="29006" y="29066"/>
                              <a:pt x="28946" y="29365"/>
                            </a:cubicBezTo>
                            <a:cubicBezTo>
                              <a:pt x="28887" y="29425"/>
                              <a:pt x="28887" y="29545"/>
                              <a:pt x="28827" y="29604"/>
                            </a:cubicBezTo>
                            <a:cubicBezTo>
                              <a:pt x="28767" y="29664"/>
                              <a:pt x="28767" y="29784"/>
                              <a:pt x="28707" y="29844"/>
                            </a:cubicBezTo>
                            <a:cubicBezTo>
                              <a:pt x="28648" y="29904"/>
                              <a:pt x="28648" y="30023"/>
                              <a:pt x="28588" y="30083"/>
                            </a:cubicBezTo>
                            <a:cubicBezTo>
                              <a:pt x="28528" y="30143"/>
                              <a:pt x="28528" y="30262"/>
                              <a:pt x="28468" y="30322"/>
                            </a:cubicBezTo>
                            <a:cubicBezTo>
                              <a:pt x="28349" y="30561"/>
                              <a:pt x="28229" y="30800"/>
                              <a:pt x="28169" y="31099"/>
                            </a:cubicBezTo>
                            <a:cubicBezTo>
                              <a:pt x="28050" y="31339"/>
                              <a:pt x="27930" y="31578"/>
                              <a:pt x="27810" y="31877"/>
                            </a:cubicBezTo>
                            <a:cubicBezTo>
                              <a:pt x="27691" y="32116"/>
                              <a:pt x="27571" y="32356"/>
                              <a:pt x="27451" y="32655"/>
                            </a:cubicBezTo>
                            <a:cubicBezTo>
                              <a:pt x="27332" y="32894"/>
                              <a:pt x="27212" y="33133"/>
                              <a:pt x="27033" y="33432"/>
                            </a:cubicBezTo>
                            <a:cubicBezTo>
                              <a:pt x="26973" y="33492"/>
                              <a:pt x="26973" y="33612"/>
                              <a:pt x="26913" y="33671"/>
                            </a:cubicBezTo>
                            <a:cubicBezTo>
                              <a:pt x="26853" y="33731"/>
                              <a:pt x="26853" y="33851"/>
                              <a:pt x="26794" y="33911"/>
                            </a:cubicBezTo>
                            <a:cubicBezTo>
                              <a:pt x="26734" y="33970"/>
                              <a:pt x="26674" y="34090"/>
                              <a:pt x="26674" y="34150"/>
                            </a:cubicBezTo>
                            <a:cubicBezTo>
                              <a:pt x="26614" y="34210"/>
                              <a:pt x="26554" y="34329"/>
                              <a:pt x="26554" y="34389"/>
                            </a:cubicBezTo>
                            <a:cubicBezTo>
                              <a:pt x="26495" y="34509"/>
                              <a:pt x="26435" y="34628"/>
                              <a:pt x="26375" y="34748"/>
                            </a:cubicBezTo>
                            <a:cubicBezTo>
                              <a:pt x="26315" y="34867"/>
                              <a:pt x="26255" y="34987"/>
                              <a:pt x="26196" y="35047"/>
                            </a:cubicBezTo>
                            <a:cubicBezTo>
                              <a:pt x="26136" y="35107"/>
                              <a:pt x="26076" y="35286"/>
                              <a:pt x="26016" y="35346"/>
                            </a:cubicBezTo>
                            <a:cubicBezTo>
                              <a:pt x="25956" y="35406"/>
                              <a:pt x="25897" y="35585"/>
                              <a:pt x="25837" y="35645"/>
                            </a:cubicBezTo>
                            <a:cubicBezTo>
                              <a:pt x="25777" y="35705"/>
                              <a:pt x="25717" y="35824"/>
                              <a:pt x="25717" y="35884"/>
                            </a:cubicBezTo>
                            <a:cubicBezTo>
                              <a:pt x="25657" y="35944"/>
                              <a:pt x="25597" y="36064"/>
                              <a:pt x="25597" y="36123"/>
                            </a:cubicBezTo>
                            <a:cubicBezTo>
                              <a:pt x="25538" y="36183"/>
                              <a:pt x="25478" y="36303"/>
                              <a:pt x="25418" y="36363"/>
                            </a:cubicBezTo>
                            <a:cubicBezTo>
                              <a:pt x="25358" y="36422"/>
                              <a:pt x="25298" y="36542"/>
                              <a:pt x="25238" y="36602"/>
                            </a:cubicBezTo>
                            <a:cubicBezTo>
                              <a:pt x="24999" y="37021"/>
                              <a:pt x="24700" y="37380"/>
                              <a:pt x="24461" y="37798"/>
                            </a:cubicBezTo>
                            <a:cubicBezTo>
                              <a:pt x="24222" y="38217"/>
                              <a:pt x="23923" y="38575"/>
                              <a:pt x="23624" y="38994"/>
                            </a:cubicBezTo>
                            <a:cubicBezTo>
                              <a:pt x="23325" y="39353"/>
                              <a:pt x="23086" y="39772"/>
                              <a:pt x="22787" y="40130"/>
                            </a:cubicBezTo>
                            <a:cubicBezTo>
                              <a:pt x="22488" y="40489"/>
                              <a:pt x="22189" y="40908"/>
                              <a:pt x="21889" y="41267"/>
                            </a:cubicBezTo>
                            <a:cubicBezTo>
                              <a:pt x="21829" y="41327"/>
                              <a:pt x="21770" y="41386"/>
                              <a:pt x="21710" y="41506"/>
                            </a:cubicBezTo>
                            <a:cubicBezTo>
                              <a:pt x="21650" y="41566"/>
                              <a:pt x="21590" y="41626"/>
                              <a:pt x="21530" y="41745"/>
                            </a:cubicBezTo>
                            <a:cubicBezTo>
                              <a:pt x="21471" y="41805"/>
                              <a:pt x="21411" y="41865"/>
                              <a:pt x="21351" y="41984"/>
                            </a:cubicBezTo>
                            <a:cubicBezTo>
                              <a:pt x="21291" y="42044"/>
                              <a:pt x="21231" y="42104"/>
                              <a:pt x="21172" y="42224"/>
                            </a:cubicBezTo>
                            <a:cubicBezTo>
                              <a:pt x="20634" y="42882"/>
                              <a:pt x="20095" y="43539"/>
                              <a:pt x="19557" y="44197"/>
                            </a:cubicBezTo>
                            <a:cubicBezTo>
                              <a:pt x="19019" y="44855"/>
                              <a:pt x="18421" y="45513"/>
                              <a:pt x="17822" y="46171"/>
                            </a:cubicBezTo>
                            <a:cubicBezTo>
                              <a:pt x="17225" y="46829"/>
                              <a:pt x="16686" y="47487"/>
                              <a:pt x="16088" y="48145"/>
                            </a:cubicBezTo>
                            <a:cubicBezTo>
                              <a:pt x="15490" y="48803"/>
                              <a:pt x="14952" y="49281"/>
                              <a:pt x="14354" y="49939"/>
                            </a:cubicBezTo>
                            <a:moveTo>
                              <a:pt x="12619" y="48803"/>
                            </a:moveTo>
                            <a:lnTo>
                              <a:pt x="13397" y="49281"/>
                            </a:lnTo>
                            <a:cubicBezTo>
                              <a:pt x="13995" y="48623"/>
                              <a:pt x="14593" y="47965"/>
                              <a:pt x="15191" y="47307"/>
                            </a:cubicBezTo>
                            <a:cubicBezTo>
                              <a:pt x="15789" y="46650"/>
                              <a:pt x="16387" y="45992"/>
                              <a:pt x="16926" y="45334"/>
                            </a:cubicBezTo>
                            <a:cubicBezTo>
                              <a:pt x="17523" y="44676"/>
                              <a:pt x="18062" y="44018"/>
                              <a:pt x="18660" y="43360"/>
                            </a:cubicBezTo>
                            <a:cubicBezTo>
                              <a:pt x="19198" y="42702"/>
                              <a:pt x="19736" y="42044"/>
                              <a:pt x="20275" y="41386"/>
                            </a:cubicBezTo>
                            <a:cubicBezTo>
                              <a:pt x="20334" y="41327"/>
                              <a:pt x="20394" y="41267"/>
                              <a:pt x="20454" y="41147"/>
                            </a:cubicBezTo>
                            <a:cubicBezTo>
                              <a:pt x="20514" y="41088"/>
                              <a:pt x="20574" y="41028"/>
                              <a:pt x="20634" y="40908"/>
                            </a:cubicBezTo>
                            <a:cubicBezTo>
                              <a:pt x="20693" y="40789"/>
                              <a:pt x="20753" y="40789"/>
                              <a:pt x="20813" y="40669"/>
                            </a:cubicBezTo>
                            <a:cubicBezTo>
                              <a:pt x="20873" y="40609"/>
                              <a:pt x="20933" y="40549"/>
                              <a:pt x="20992" y="40430"/>
                            </a:cubicBezTo>
                            <a:cubicBezTo>
                              <a:pt x="21291" y="40071"/>
                              <a:pt x="21590" y="39652"/>
                              <a:pt x="21889" y="39293"/>
                            </a:cubicBezTo>
                            <a:cubicBezTo>
                              <a:pt x="22189" y="38935"/>
                              <a:pt x="22488" y="38516"/>
                              <a:pt x="22727" y="38097"/>
                            </a:cubicBezTo>
                            <a:cubicBezTo>
                              <a:pt x="22966" y="37678"/>
                              <a:pt x="23265" y="37320"/>
                              <a:pt x="23564" y="36901"/>
                            </a:cubicBezTo>
                            <a:cubicBezTo>
                              <a:pt x="23803" y="36482"/>
                              <a:pt x="24102" y="36123"/>
                              <a:pt x="24342" y="35705"/>
                            </a:cubicBezTo>
                            <a:cubicBezTo>
                              <a:pt x="24401" y="35645"/>
                              <a:pt x="24461" y="35526"/>
                              <a:pt x="24521" y="35466"/>
                            </a:cubicBezTo>
                            <a:cubicBezTo>
                              <a:pt x="24581" y="35406"/>
                              <a:pt x="24641" y="35286"/>
                              <a:pt x="24641" y="35226"/>
                            </a:cubicBezTo>
                            <a:cubicBezTo>
                              <a:pt x="24641" y="35167"/>
                              <a:pt x="24760" y="35047"/>
                              <a:pt x="24760" y="34987"/>
                            </a:cubicBezTo>
                            <a:cubicBezTo>
                              <a:pt x="24820" y="34927"/>
                              <a:pt x="24880" y="34808"/>
                              <a:pt x="24880" y="34748"/>
                            </a:cubicBezTo>
                            <a:cubicBezTo>
                              <a:pt x="24940" y="34628"/>
                              <a:pt x="24999" y="34509"/>
                              <a:pt x="25059" y="34389"/>
                            </a:cubicBezTo>
                            <a:cubicBezTo>
                              <a:pt x="25119" y="34269"/>
                              <a:pt x="25179" y="34150"/>
                              <a:pt x="25238" y="34030"/>
                            </a:cubicBezTo>
                            <a:cubicBezTo>
                              <a:pt x="25298" y="33911"/>
                              <a:pt x="25358" y="33791"/>
                              <a:pt x="25418" y="33671"/>
                            </a:cubicBezTo>
                            <a:cubicBezTo>
                              <a:pt x="25478" y="33552"/>
                              <a:pt x="25538" y="33432"/>
                              <a:pt x="25597" y="33313"/>
                            </a:cubicBezTo>
                            <a:cubicBezTo>
                              <a:pt x="25657" y="33253"/>
                              <a:pt x="25717" y="33133"/>
                              <a:pt x="25717" y="33073"/>
                            </a:cubicBezTo>
                            <a:cubicBezTo>
                              <a:pt x="25777" y="33013"/>
                              <a:pt x="25837" y="32894"/>
                              <a:pt x="25837" y="32834"/>
                            </a:cubicBezTo>
                            <a:cubicBezTo>
                              <a:pt x="25897" y="32774"/>
                              <a:pt x="25897" y="32655"/>
                              <a:pt x="25956" y="32595"/>
                            </a:cubicBezTo>
                            <a:cubicBezTo>
                              <a:pt x="26016" y="32535"/>
                              <a:pt x="26016" y="32415"/>
                              <a:pt x="26076" y="32356"/>
                            </a:cubicBezTo>
                            <a:cubicBezTo>
                              <a:pt x="26196" y="32116"/>
                              <a:pt x="26315" y="31877"/>
                              <a:pt x="26435" y="31578"/>
                            </a:cubicBezTo>
                            <a:cubicBezTo>
                              <a:pt x="26554" y="31339"/>
                              <a:pt x="26674" y="31099"/>
                              <a:pt x="26794" y="30800"/>
                            </a:cubicBezTo>
                            <a:cubicBezTo>
                              <a:pt x="26913" y="30561"/>
                              <a:pt x="27033" y="30322"/>
                              <a:pt x="27152" y="30023"/>
                            </a:cubicBezTo>
                            <a:cubicBezTo>
                              <a:pt x="27272" y="29784"/>
                              <a:pt x="27392" y="29485"/>
                              <a:pt x="27451" y="29245"/>
                            </a:cubicBezTo>
                            <a:cubicBezTo>
                              <a:pt x="27511" y="29186"/>
                              <a:pt x="27511" y="29066"/>
                              <a:pt x="27571" y="29006"/>
                            </a:cubicBezTo>
                            <a:cubicBezTo>
                              <a:pt x="27631" y="28946"/>
                              <a:pt x="27631" y="28827"/>
                              <a:pt x="27691" y="28767"/>
                            </a:cubicBezTo>
                            <a:cubicBezTo>
                              <a:pt x="27751" y="28707"/>
                              <a:pt x="27751" y="28588"/>
                              <a:pt x="27810" y="28528"/>
                            </a:cubicBezTo>
                            <a:cubicBezTo>
                              <a:pt x="27870" y="28468"/>
                              <a:pt x="27870" y="28349"/>
                              <a:pt x="27930" y="28289"/>
                            </a:cubicBezTo>
                            <a:cubicBezTo>
                              <a:pt x="27990" y="28050"/>
                              <a:pt x="28109" y="27750"/>
                              <a:pt x="28169" y="27511"/>
                            </a:cubicBezTo>
                            <a:cubicBezTo>
                              <a:pt x="28229" y="27272"/>
                              <a:pt x="28349" y="26973"/>
                              <a:pt x="28408" y="26734"/>
                            </a:cubicBezTo>
                            <a:cubicBezTo>
                              <a:pt x="28468" y="26495"/>
                              <a:pt x="28528" y="26196"/>
                              <a:pt x="28588" y="25956"/>
                            </a:cubicBezTo>
                            <a:cubicBezTo>
                              <a:pt x="28648" y="25717"/>
                              <a:pt x="28707" y="25418"/>
                              <a:pt x="28767" y="25179"/>
                            </a:cubicBezTo>
                            <a:cubicBezTo>
                              <a:pt x="28767" y="25059"/>
                              <a:pt x="28827" y="24999"/>
                              <a:pt x="28827" y="24880"/>
                            </a:cubicBezTo>
                            <a:cubicBezTo>
                              <a:pt x="28827" y="24760"/>
                              <a:pt x="28887" y="24700"/>
                              <a:pt x="28887" y="24581"/>
                            </a:cubicBezTo>
                            <a:cubicBezTo>
                              <a:pt x="28887" y="24461"/>
                              <a:pt x="28946" y="24401"/>
                              <a:pt x="28946" y="24282"/>
                            </a:cubicBezTo>
                            <a:cubicBezTo>
                              <a:pt x="28946" y="24162"/>
                              <a:pt x="28946" y="24102"/>
                              <a:pt x="29006" y="23983"/>
                            </a:cubicBezTo>
                            <a:cubicBezTo>
                              <a:pt x="29006" y="23923"/>
                              <a:pt x="29006" y="23923"/>
                              <a:pt x="29006" y="23863"/>
                            </a:cubicBezTo>
                            <a:cubicBezTo>
                              <a:pt x="29006" y="23803"/>
                              <a:pt x="29006" y="23803"/>
                              <a:pt x="29006" y="23743"/>
                            </a:cubicBezTo>
                            <a:cubicBezTo>
                              <a:pt x="29006" y="23683"/>
                              <a:pt x="29006" y="23683"/>
                              <a:pt x="29006" y="23624"/>
                            </a:cubicBezTo>
                            <a:cubicBezTo>
                              <a:pt x="29006" y="23564"/>
                              <a:pt x="29006" y="23564"/>
                              <a:pt x="29006" y="23504"/>
                            </a:cubicBezTo>
                            <a:cubicBezTo>
                              <a:pt x="28946" y="23384"/>
                              <a:pt x="28887" y="23325"/>
                              <a:pt x="28767" y="23205"/>
                            </a:cubicBezTo>
                            <a:cubicBezTo>
                              <a:pt x="28707" y="23085"/>
                              <a:pt x="28588" y="23026"/>
                              <a:pt x="28528" y="22906"/>
                            </a:cubicBezTo>
                            <a:cubicBezTo>
                              <a:pt x="28468" y="22787"/>
                              <a:pt x="28349" y="22727"/>
                              <a:pt x="28289" y="22607"/>
                            </a:cubicBezTo>
                            <a:cubicBezTo>
                              <a:pt x="28229" y="22488"/>
                              <a:pt x="28109" y="22428"/>
                              <a:pt x="28050" y="22308"/>
                            </a:cubicBezTo>
                            <a:cubicBezTo>
                              <a:pt x="28050" y="22308"/>
                              <a:pt x="28050" y="22368"/>
                              <a:pt x="28050" y="22368"/>
                            </a:cubicBezTo>
                            <a:cubicBezTo>
                              <a:pt x="28050" y="22368"/>
                              <a:pt x="28050" y="22428"/>
                              <a:pt x="28050" y="22428"/>
                            </a:cubicBezTo>
                            <a:cubicBezTo>
                              <a:pt x="28050" y="22428"/>
                              <a:pt x="28050" y="22488"/>
                              <a:pt x="28050" y="22488"/>
                            </a:cubicBezTo>
                            <a:cubicBezTo>
                              <a:pt x="28050" y="22488"/>
                              <a:pt x="28050" y="22547"/>
                              <a:pt x="28050" y="22547"/>
                            </a:cubicBezTo>
                            <a:cubicBezTo>
                              <a:pt x="28050" y="22607"/>
                              <a:pt x="28050" y="22667"/>
                              <a:pt x="28050" y="22727"/>
                            </a:cubicBezTo>
                            <a:cubicBezTo>
                              <a:pt x="28050" y="22787"/>
                              <a:pt x="28050" y="22846"/>
                              <a:pt x="28050" y="22906"/>
                            </a:cubicBezTo>
                            <a:cubicBezTo>
                              <a:pt x="28050" y="22966"/>
                              <a:pt x="28050" y="23026"/>
                              <a:pt x="28050" y="23085"/>
                            </a:cubicBezTo>
                            <a:cubicBezTo>
                              <a:pt x="28050" y="23145"/>
                              <a:pt x="28050" y="23205"/>
                              <a:pt x="28050" y="23265"/>
                            </a:cubicBezTo>
                            <a:cubicBezTo>
                              <a:pt x="28050" y="23384"/>
                              <a:pt x="28050" y="23444"/>
                              <a:pt x="28050" y="23564"/>
                            </a:cubicBezTo>
                            <a:cubicBezTo>
                              <a:pt x="28050" y="23683"/>
                              <a:pt x="28050" y="23743"/>
                              <a:pt x="27990" y="23863"/>
                            </a:cubicBezTo>
                            <a:cubicBezTo>
                              <a:pt x="27990" y="23983"/>
                              <a:pt x="27990" y="24042"/>
                              <a:pt x="27930" y="24162"/>
                            </a:cubicBezTo>
                            <a:cubicBezTo>
                              <a:pt x="27870" y="24282"/>
                              <a:pt x="27930" y="24342"/>
                              <a:pt x="27870" y="24461"/>
                            </a:cubicBezTo>
                            <a:cubicBezTo>
                              <a:pt x="27810" y="24700"/>
                              <a:pt x="27810" y="24999"/>
                              <a:pt x="27751" y="25238"/>
                            </a:cubicBezTo>
                            <a:cubicBezTo>
                              <a:pt x="27691" y="25478"/>
                              <a:pt x="27631" y="25777"/>
                              <a:pt x="27571" y="26016"/>
                            </a:cubicBezTo>
                            <a:cubicBezTo>
                              <a:pt x="27511" y="26255"/>
                              <a:pt x="27451" y="26554"/>
                              <a:pt x="27392" y="26794"/>
                            </a:cubicBezTo>
                            <a:cubicBezTo>
                              <a:pt x="27332" y="27033"/>
                              <a:pt x="27212" y="27332"/>
                              <a:pt x="27152" y="27571"/>
                            </a:cubicBezTo>
                            <a:cubicBezTo>
                              <a:pt x="27152" y="27631"/>
                              <a:pt x="27092" y="27750"/>
                              <a:pt x="27092" y="27810"/>
                            </a:cubicBezTo>
                            <a:cubicBezTo>
                              <a:pt x="27092" y="27870"/>
                              <a:pt x="27033" y="27990"/>
                              <a:pt x="27033" y="28050"/>
                            </a:cubicBezTo>
                            <a:cubicBezTo>
                              <a:pt x="26973" y="28109"/>
                              <a:pt x="26973" y="28229"/>
                              <a:pt x="26913" y="28289"/>
                            </a:cubicBezTo>
                            <a:cubicBezTo>
                              <a:pt x="26853" y="28349"/>
                              <a:pt x="26853" y="28468"/>
                              <a:pt x="26794" y="28528"/>
                            </a:cubicBezTo>
                            <a:cubicBezTo>
                              <a:pt x="26674" y="28767"/>
                              <a:pt x="26614" y="29066"/>
                              <a:pt x="26495" y="29305"/>
                            </a:cubicBezTo>
                            <a:cubicBezTo>
                              <a:pt x="26375" y="29545"/>
                              <a:pt x="26255" y="29844"/>
                              <a:pt x="26196" y="30083"/>
                            </a:cubicBezTo>
                            <a:cubicBezTo>
                              <a:pt x="26076" y="30322"/>
                              <a:pt x="25956" y="30621"/>
                              <a:pt x="25837" y="30860"/>
                            </a:cubicBezTo>
                            <a:cubicBezTo>
                              <a:pt x="25717" y="31099"/>
                              <a:pt x="25597" y="31399"/>
                              <a:pt x="25478" y="31638"/>
                            </a:cubicBezTo>
                            <a:cubicBezTo>
                              <a:pt x="25418" y="31698"/>
                              <a:pt x="25418" y="31817"/>
                              <a:pt x="25358" y="31877"/>
                            </a:cubicBezTo>
                            <a:cubicBezTo>
                              <a:pt x="25298" y="31937"/>
                              <a:pt x="25298" y="32057"/>
                              <a:pt x="25238" y="32116"/>
                            </a:cubicBezTo>
                            <a:cubicBezTo>
                              <a:pt x="25179" y="32176"/>
                              <a:pt x="25179" y="32296"/>
                              <a:pt x="25119" y="32356"/>
                            </a:cubicBezTo>
                            <a:cubicBezTo>
                              <a:pt x="25059" y="32415"/>
                              <a:pt x="24999" y="32535"/>
                              <a:pt x="24999" y="32595"/>
                            </a:cubicBezTo>
                            <a:cubicBezTo>
                              <a:pt x="24940" y="32714"/>
                              <a:pt x="24880" y="32834"/>
                              <a:pt x="24820" y="32954"/>
                            </a:cubicBezTo>
                            <a:cubicBezTo>
                              <a:pt x="24760" y="33073"/>
                              <a:pt x="24700" y="33193"/>
                              <a:pt x="24641" y="33313"/>
                            </a:cubicBezTo>
                            <a:cubicBezTo>
                              <a:pt x="24581" y="33432"/>
                              <a:pt x="24521" y="33552"/>
                              <a:pt x="24461" y="33671"/>
                            </a:cubicBezTo>
                            <a:cubicBezTo>
                              <a:pt x="24401" y="33791"/>
                              <a:pt x="24342" y="33911"/>
                              <a:pt x="24282" y="34030"/>
                            </a:cubicBezTo>
                            <a:cubicBezTo>
                              <a:pt x="24222" y="34090"/>
                              <a:pt x="24162" y="34210"/>
                              <a:pt x="24162" y="34269"/>
                            </a:cubicBezTo>
                            <a:cubicBezTo>
                              <a:pt x="24102" y="34329"/>
                              <a:pt x="24043" y="34449"/>
                              <a:pt x="24043" y="34509"/>
                            </a:cubicBezTo>
                            <a:cubicBezTo>
                              <a:pt x="23983" y="34568"/>
                              <a:pt x="23923" y="34688"/>
                              <a:pt x="23923" y="34748"/>
                            </a:cubicBezTo>
                            <a:cubicBezTo>
                              <a:pt x="23863" y="34808"/>
                              <a:pt x="23803" y="34927"/>
                              <a:pt x="23743" y="34987"/>
                            </a:cubicBezTo>
                            <a:cubicBezTo>
                              <a:pt x="23504" y="35406"/>
                              <a:pt x="23265" y="35765"/>
                              <a:pt x="22966" y="36183"/>
                            </a:cubicBezTo>
                            <a:cubicBezTo>
                              <a:pt x="22727" y="36602"/>
                              <a:pt x="22428" y="36961"/>
                              <a:pt x="22129" y="37380"/>
                            </a:cubicBezTo>
                            <a:cubicBezTo>
                              <a:pt x="21829" y="37798"/>
                              <a:pt x="21590" y="38157"/>
                              <a:pt x="21291" y="38575"/>
                            </a:cubicBezTo>
                            <a:cubicBezTo>
                              <a:pt x="20992" y="38994"/>
                              <a:pt x="20693" y="39353"/>
                              <a:pt x="20394" y="39772"/>
                            </a:cubicBezTo>
                            <a:cubicBezTo>
                              <a:pt x="20334" y="39831"/>
                              <a:pt x="20275" y="39891"/>
                              <a:pt x="20215" y="40011"/>
                            </a:cubicBezTo>
                            <a:cubicBezTo>
                              <a:pt x="20155" y="40130"/>
                              <a:pt x="20095" y="40130"/>
                              <a:pt x="20035" y="40250"/>
                            </a:cubicBezTo>
                            <a:cubicBezTo>
                              <a:pt x="19975" y="40310"/>
                              <a:pt x="19916" y="40370"/>
                              <a:pt x="19856" y="40489"/>
                            </a:cubicBezTo>
                            <a:cubicBezTo>
                              <a:pt x="19796" y="40609"/>
                              <a:pt x="19736" y="40609"/>
                              <a:pt x="19676" y="40729"/>
                            </a:cubicBezTo>
                            <a:cubicBezTo>
                              <a:pt x="19138" y="41386"/>
                              <a:pt x="18600" y="42044"/>
                              <a:pt x="18062" y="42702"/>
                            </a:cubicBezTo>
                            <a:cubicBezTo>
                              <a:pt x="17523" y="43360"/>
                              <a:pt x="16926" y="44018"/>
                              <a:pt x="16327" y="44676"/>
                            </a:cubicBezTo>
                            <a:cubicBezTo>
                              <a:pt x="15729" y="45334"/>
                              <a:pt x="15131" y="45992"/>
                              <a:pt x="14533" y="46650"/>
                            </a:cubicBezTo>
                            <a:cubicBezTo>
                              <a:pt x="13935" y="47307"/>
                              <a:pt x="13277" y="48145"/>
                              <a:pt x="12619" y="48803"/>
                            </a:cubicBezTo>
                            <a:moveTo>
                              <a:pt x="12260" y="52212"/>
                            </a:moveTo>
                            <a:lnTo>
                              <a:pt x="13038" y="52690"/>
                            </a:lnTo>
                            <a:cubicBezTo>
                              <a:pt x="13158" y="52570"/>
                              <a:pt x="13277" y="52451"/>
                              <a:pt x="13397" y="52331"/>
                            </a:cubicBezTo>
                            <a:cubicBezTo>
                              <a:pt x="13516" y="52212"/>
                              <a:pt x="13636" y="52092"/>
                              <a:pt x="13756" y="51972"/>
                            </a:cubicBezTo>
                            <a:cubicBezTo>
                              <a:pt x="13875" y="51853"/>
                              <a:pt x="13995" y="51733"/>
                              <a:pt x="14114" y="51614"/>
                            </a:cubicBezTo>
                            <a:cubicBezTo>
                              <a:pt x="14234" y="51494"/>
                              <a:pt x="14354" y="51374"/>
                              <a:pt x="14473" y="51255"/>
                            </a:cubicBezTo>
                            <a:lnTo>
                              <a:pt x="13696" y="50776"/>
                            </a:lnTo>
                            <a:cubicBezTo>
                              <a:pt x="13576" y="50896"/>
                              <a:pt x="13457" y="51015"/>
                              <a:pt x="13337" y="51135"/>
                            </a:cubicBezTo>
                            <a:cubicBezTo>
                              <a:pt x="13218" y="51255"/>
                              <a:pt x="13098" y="51374"/>
                              <a:pt x="12978" y="51494"/>
                            </a:cubicBezTo>
                            <a:cubicBezTo>
                              <a:pt x="12858" y="51614"/>
                              <a:pt x="12739" y="51733"/>
                              <a:pt x="12619" y="51853"/>
                            </a:cubicBezTo>
                            <a:cubicBezTo>
                              <a:pt x="12500" y="51972"/>
                              <a:pt x="12380" y="52092"/>
                              <a:pt x="12260" y="52212"/>
                            </a:cubicBezTo>
                            <a:moveTo>
                              <a:pt x="10526" y="51075"/>
                            </a:moveTo>
                            <a:lnTo>
                              <a:pt x="11304" y="51554"/>
                            </a:lnTo>
                            <a:cubicBezTo>
                              <a:pt x="11423" y="51434"/>
                              <a:pt x="11543" y="51314"/>
                              <a:pt x="11662" y="51195"/>
                            </a:cubicBezTo>
                            <a:cubicBezTo>
                              <a:pt x="11782" y="51075"/>
                              <a:pt x="11902" y="50955"/>
                              <a:pt x="12021" y="50836"/>
                            </a:cubicBezTo>
                            <a:cubicBezTo>
                              <a:pt x="12141" y="50716"/>
                              <a:pt x="12260" y="50597"/>
                              <a:pt x="12380" y="50477"/>
                            </a:cubicBezTo>
                            <a:cubicBezTo>
                              <a:pt x="12500" y="50358"/>
                              <a:pt x="12619" y="50238"/>
                              <a:pt x="12739" y="50118"/>
                            </a:cubicBezTo>
                            <a:lnTo>
                              <a:pt x="11961" y="49640"/>
                            </a:lnTo>
                            <a:cubicBezTo>
                              <a:pt x="11842" y="49760"/>
                              <a:pt x="11722" y="49879"/>
                              <a:pt x="11603" y="49999"/>
                            </a:cubicBezTo>
                            <a:cubicBezTo>
                              <a:pt x="11483" y="50118"/>
                              <a:pt x="11363" y="50238"/>
                              <a:pt x="11244" y="50358"/>
                            </a:cubicBezTo>
                            <a:cubicBezTo>
                              <a:pt x="11124" y="50477"/>
                              <a:pt x="11004" y="50597"/>
                              <a:pt x="10885" y="50716"/>
                            </a:cubicBezTo>
                            <a:cubicBezTo>
                              <a:pt x="10765" y="50836"/>
                              <a:pt x="10645" y="50955"/>
                              <a:pt x="10526" y="51075"/>
                            </a:cubicBezTo>
                            <a:moveTo>
                              <a:pt x="10287" y="54305"/>
                            </a:moveTo>
                            <a:lnTo>
                              <a:pt x="11064" y="54783"/>
                            </a:lnTo>
                            <a:cubicBezTo>
                              <a:pt x="11124" y="54723"/>
                              <a:pt x="11244" y="54604"/>
                              <a:pt x="11304" y="54544"/>
                            </a:cubicBezTo>
                            <a:cubicBezTo>
                              <a:pt x="11363" y="54484"/>
                              <a:pt x="11483" y="54365"/>
                              <a:pt x="11543" y="54305"/>
                            </a:cubicBezTo>
                            <a:cubicBezTo>
                              <a:pt x="11603" y="54245"/>
                              <a:pt x="11722" y="54125"/>
                              <a:pt x="11782" y="54066"/>
                            </a:cubicBezTo>
                            <a:cubicBezTo>
                              <a:pt x="11842" y="54006"/>
                              <a:pt x="11961" y="53886"/>
                              <a:pt x="12021" y="53826"/>
                            </a:cubicBezTo>
                            <a:cubicBezTo>
                              <a:pt x="12021" y="53826"/>
                              <a:pt x="12021" y="53767"/>
                              <a:pt x="12081" y="53767"/>
                            </a:cubicBezTo>
                            <a:cubicBezTo>
                              <a:pt x="12141" y="53767"/>
                              <a:pt x="12081" y="53707"/>
                              <a:pt x="12141" y="53707"/>
                            </a:cubicBezTo>
                            <a:cubicBezTo>
                              <a:pt x="12141" y="53707"/>
                              <a:pt x="12141" y="53647"/>
                              <a:pt x="12201" y="53647"/>
                            </a:cubicBezTo>
                            <a:cubicBezTo>
                              <a:pt x="12260" y="53647"/>
                              <a:pt x="12201" y="53587"/>
                              <a:pt x="12260" y="53587"/>
                            </a:cubicBezTo>
                            <a:lnTo>
                              <a:pt x="11483" y="53109"/>
                            </a:lnTo>
                            <a:cubicBezTo>
                              <a:pt x="11483" y="53109"/>
                              <a:pt x="11483" y="53109"/>
                              <a:pt x="11483" y="53109"/>
                            </a:cubicBezTo>
                            <a:cubicBezTo>
                              <a:pt x="11483" y="53109"/>
                              <a:pt x="11483" y="53109"/>
                              <a:pt x="11483" y="53109"/>
                            </a:cubicBezTo>
                            <a:cubicBezTo>
                              <a:pt x="11483" y="53109"/>
                              <a:pt x="11483" y="53109"/>
                              <a:pt x="11483" y="53109"/>
                            </a:cubicBezTo>
                            <a:cubicBezTo>
                              <a:pt x="11483" y="53109"/>
                              <a:pt x="11483" y="53109"/>
                              <a:pt x="11483" y="53109"/>
                            </a:cubicBezTo>
                            <a:cubicBezTo>
                              <a:pt x="11363" y="53228"/>
                              <a:pt x="11304" y="53288"/>
                              <a:pt x="11184" y="53408"/>
                            </a:cubicBezTo>
                            <a:cubicBezTo>
                              <a:pt x="11064" y="53527"/>
                              <a:pt x="11004" y="53587"/>
                              <a:pt x="10885" y="53707"/>
                            </a:cubicBezTo>
                            <a:cubicBezTo>
                              <a:pt x="10765" y="53826"/>
                              <a:pt x="10705" y="53886"/>
                              <a:pt x="10586" y="54006"/>
                            </a:cubicBezTo>
                            <a:cubicBezTo>
                              <a:pt x="10466" y="54125"/>
                              <a:pt x="10406" y="54185"/>
                              <a:pt x="10287" y="54305"/>
                            </a:cubicBezTo>
                            <a:moveTo>
                              <a:pt x="8612" y="53168"/>
                            </a:moveTo>
                            <a:lnTo>
                              <a:pt x="9390" y="53647"/>
                            </a:lnTo>
                            <a:cubicBezTo>
                              <a:pt x="9509" y="53527"/>
                              <a:pt x="9569" y="53468"/>
                              <a:pt x="9689" y="53348"/>
                            </a:cubicBezTo>
                            <a:cubicBezTo>
                              <a:pt x="9808" y="53228"/>
                              <a:pt x="9868" y="53168"/>
                              <a:pt x="9988" y="53049"/>
                            </a:cubicBezTo>
                            <a:cubicBezTo>
                              <a:pt x="10107" y="52929"/>
                              <a:pt x="10167" y="52810"/>
                              <a:pt x="10287" y="52750"/>
                            </a:cubicBezTo>
                            <a:cubicBezTo>
                              <a:pt x="10406" y="52690"/>
                              <a:pt x="10466" y="52511"/>
                              <a:pt x="10586" y="52451"/>
                            </a:cubicBezTo>
                            <a:lnTo>
                              <a:pt x="9808" y="51972"/>
                            </a:lnTo>
                            <a:cubicBezTo>
                              <a:pt x="9689" y="52092"/>
                              <a:pt x="9629" y="52212"/>
                              <a:pt x="9509" y="52271"/>
                            </a:cubicBezTo>
                            <a:cubicBezTo>
                              <a:pt x="9390" y="52391"/>
                              <a:pt x="9330" y="52511"/>
                              <a:pt x="9210" y="52570"/>
                            </a:cubicBezTo>
                            <a:cubicBezTo>
                              <a:pt x="9091" y="52630"/>
                              <a:pt x="9031" y="52750"/>
                              <a:pt x="8911" y="52869"/>
                            </a:cubicBezTo>
                            <a:cubicBezTo>
                              <a:pt x="8791" y="52989"/>
                              <a:pt x="8672" y="53049"/>
                              <a:pt x="8612" y="53168"/>
                            </a:cubicBezTo>
                            <a:moveTo>
                              <a:pt x="0" y="62917"/>
                            </a:moveTo>
                            <a:lnTo>
                              <a:pt x="2452" y="64532"/>
                            </a:lnTo>
                            <a:lnTo>
                              <a:pt x="2811" y="64113"/>
                            </a:lnTo>
                            <a:cubicBezTo>
                              <a:pt x="2990" y="63874"/>
                              <a:pt x="3170" y="63635"/>
                              <a:pt x="3409" y="63396"/>
                            </a:cubicBezTo>
                            <a:cubicBezTo>
                              <a:pt x="3588" y="63156"/>
                              <a:pt x="3828" y="62917"/>
                              <a:pt x="4007" y="62678"/>
                            </a:cubicBezTo>
                            <a:cubicBezTo>
                              <a:pt x="4187" y="62439"/>
                              <a:pt x="4426" y="62199"/>
                              <a:pt x="4605" y="61960"/>
                            </a:cubicBezTo>
                            <a:cubicBezTo>
                              <a:pt x="4785" y="61721"/>
                              <a:pt x="5024" y="61482"/>
                              <a:pt x="5203" y="61243"/>
                            </a:cubicBezTo>
                            <a:cubicBezTo>
                              <a:pt x="5263" y="61183"/>
                              <a:pt x="5323" y="61123"/>
                              <a:pt x="5382" y="61003"/>
                            </a:cubicBezTo>
                            <a:cubicBezTo>
                              <a:pt x="5442" y="60944"/>
                              <a:pt x="5502" y="60884"/>
                              <a:pt x="5562" y="60764"/>
                            </a:cubicBezTo>
                            <a:cubicBezTo>
                              <a:pt x="5622" y="60704"/>
                              <a:pt x="5682" y="60644"/>
                              <a:pt x="5742" y="60525"/>
                            </a:cubicBezTo>
                            <a:cubicBezTo>
                              <a:pt x="5801" y="60405"/>
                              <a:pt x="5861" y="60405"/>
                              <a:pt x="5921" y="60285"/>
                            </a:cubicBezTo>
                            <a:cubicBezTo>
                              <a:pt x="6280" y="59867"/>
                              <a:pt x="6639" y="59508"/>
                              <a:pt x="6937" y="59090"/>
                            </a:cubicBezTo>
                            <a:cubicBezTo>
                              <a:pt x="7296" y="58671"/>
                              <a:pt x="7655" y="58312"/>
                              <a:pt x="8014" y="57893"/>
                            </a:cubicBezTo>
                            <a:cubicBezTo>
                              <a:pt x="8373" y="57475"/>
                              <a:pt x="8732" y="57116"/>
                              <a:pt x="9091" y="56697"/>
                            </a:cubicBezTo>
                            <a:cubicBezTo>
                              <a:pt x="9450" y="56278"/>
                              <a:pt x="9808" y="55920"/>
                              <a:pt x="10227" y="55501"/>
                            </a:cubicBezTo>
                            <a:lnTo>
                              <a:pt x="9509" y="55022"/>
                            </a:lnTo>
                            <a:cubicBezTo>
                              <a:pt x="9150" y="55441"/>
                              <a:pt x="8732" y="55800"/>
                              <a:pt x="8373" y="56219"/>
                            </a:cubicBezTo>
                            <a:cubicBezTo>
                              <a:pt x="8014" y="56637"/>
                              <a:pt x="7655" y="56996"/>
                              <a:pt x="7296" y="57415"/>
                            </a:cubicBezTo>
                            <a:cubicBezTo>
                              <a:pt x="6937" y="57833"/>
                              <a:pt x="6579" y="58192"/>
                              <a:pt x="6220" y="58611"/>
                            </a:cubicBezTo>
                            <a:cubicBezTo>
                              <a:pt x="5861" y="59030"/>
                              <a:pt x="5502" y="59389"/>
                              <a:pt x="5203" y="59807"/>
                            </a:cubicBezTo>
                            <a:cubicBezTo>
                              <a:pt x="5143" y="59867"/>
                              <a:pt x="5083" y="59927"/>
                              <a:pt x="5024" y="60046"/>
                            </a:cubicBezTo>
                            <a:cubicBezTo>
                              <a:pt x="4964" y="60166"/>
                              <a:pt x="4904" y="60166"/>
                              <a:pt x="4844" y="60285"/>
                            </a:cubicBezTo>
                            <a:cubicBezTo>
                              <a:pt x="4785" y="60345"/>
                              <a:pt x="4725" y="60405"/>
                              <a:pt x="4665" y="60525"/>
                            </a:cubicBezTo>
                            <a:cubicBezTo>
                              <a:pt x="4605" y="60585"/>
                              <a:pt x="4545" y="60644"/>
                              <a:pt x="4486" y="60764"/>
                            </a:cubicBezTo>
                            <a:cubicBezTo>
                              <a:pt x="4306" y="60944"/>
                              <a:pt x="4127" y="61183"/>
                              <a:pt x="3947" y="61362"/>
                            </a:cubicBezTo>
                            <a:cubicBezTo>
                              <a:pt x="3768" y="61541"/>
                              <a:pt x="3588" y="61781"/>
                              <a:pt x="3409" y="61960"/>
                            </a:cubicBezTo>
                            <a:cubicBezTo>
                              <a:pt x="3229" y="62139"/>
                              <a:pt x="3050" y="62379"/>
                              <a:pt x="2930" y="62558"/>
                            </a:cubicBezTo>
                            <a:cubicBezTo>
                              <a:pt x="2751" y="62738"/>
                              <a:pt x="2572" y="62977"/>
                              <a:pt x="2452" y="63156"/>
                            </a:cubicBezTo>
                            <a:lnTo>
                              <a:pt x="1495" y="62558"/>
                            </a:lnTo>
                            <a:cubicBezTo>
                              <a:pt x="1674" y="62379"/>
                              <a:pt x="1854" y="62139"/>
                              <a:pt x="1974" y="61960"/>
                            </a:cubicBezTo>
                            <a:cubicBezTo>
                              <a:pt x="2153" y="61781"/>
                              <a:pt x="2333" y="61541"/>
                              <a:pt x="2452" y="61362"/>
                            </a:cubicBezTo>
                            <a:cubicBezTo>
                              <a:pt x="2572" y="61183"/>
                              <a:pt x="2811" y="60944"/>
                              <a:pt x="2990" y="60764"/>
                            </a:cubicBezTo>
                            <a:cubicBezTo>
                              <a:pt x="3170" y="60585"/>
                              <a:pt x="3349" y="60345"/>
                              <a:pt x="3528" y="60166"/>
                            </a:cubicBezTo>
                            <a:cubicBezTo>
                              <a:pt x="3588" y="60106"/>
                              <a:pt x="3648" y="60046"/>
                              <a:pt x="3708" y="59927"/>
                            </a:cubicBezTo>
                            <a:cubicBezTo>
                              <a:pt x="3768" y="59867"/>
                              <a:pt x="3828" y="59807"/>
                              <a:pt x="3887" y="59687"/>
                            </a:cubicBezTo>
                            <a:cubicBezTo>
                              <a:pt x="3947" y="59568"/>
                              <a:pt x="4007" y="59568"/>
                              <a:pt x="4067" y="59448"/>
                            </a:cubicBezTo>
                            <a:cubicBezTo>
                              <a:pt x="4127" y="59329"/>
                              <a:pt x="4187" y="59329"/>
                              <a:pt x="4246" y="59209"/>
                            </a:cubicBezTo>
                            <a:cubicBezTo>
                              <a:pt x="4605" y="58790"/>
                              <a:pt x="4964" y="58431"/>
                              <a:pt x="5263" y="58013"/>
                            </a:cubicBezTo>
                            <a:cubicBezTo>
                              <a:pt x="5622" y="57594"/>
                              <a:pt x="5981" y="57236"/>
                              <a:pt x="6340" y="56817"/>
                            </a:cubicBezTo>
                            <a:cubicBezTo>
                              <a:pt x="6698" y="56398"/>
                              <a:pt x="7057" y="56039"/>
                              <a:pt x="7416" y="55621"/>
                            </a:cubicBezTo>
                            <a:cubicBezTo>
                              <a:pt x="7775" y="55202"/>
                              <a:pt x="8134" y="54843"/>
                              <a:pt x="8552" y="54424"/>
                            </a:cubicBezTo>
                            <a:lnTo>
                              <a:pt x="7775" y="53946"/>
                            </a:lnTo>
                            <a:cubicBezTo>
                              <a:pt x="7416" y="54365"/>
                              <a:pt x="6997" y="54723"/>
                              <a:pt x="6639" y="55142"/>
                            </a:cubicBezTo>
                            <a:cubicBezTo>
                              <a:pt x="6280" y="55561"/>
                              <a:pt x="5921" y="55920"/>
                              <a:pt x="5562" y="56338"/>
                            </a:cubicBezTo>
                            <a:cubicBezTo>
                              <a:pt x="5203" y="56757"/>
                              <a:pt x="4844" y="57116"/>
                              <a:pt x="4486" y="57535"/>
                            </a:cubicBezTo>
                            <a:cubicBezTo>
                              <a:pt x="4127" y="57953"/>
                              <a:pt x="3768" y="58312"/>
                              <a:pt x="3469" y="58731"/>
                            </a:cubicBezTo>
                            <a:cubicBezTo>
                              <a:pt x="3409" y="58790"/>
                              <a:pt x="3349" y="58850"/>
                              <a:pt x="3289" y="58970"/>
                            </a:cubicBezTo>
                            <a:cubicBezTo>
                              <a:pt x="3229" y="59030"/>
                              <a:pt x="3170" y="59090"/>
                              <a:pt x="3110" y="59209"/>
                            </a:cubicBezTo>
                            <a:cubicBezTo>
                              <a:pt x="3050" y="59269"/>
                              <a:pt x="2990" y="59329"/>
                              <a:pt x="2930" y="59448"/>
                            </a:cubicBezTo>
                            <a:cubicBezTo>
                              <a:pt x="2871" y="59508"/>
                              <a:pt x="2811" y="59568"/>
                              <a:pt x="2751" y="59687"/>
                            </a:cubicBezTo>
                            <a:cubicBezTo>
                              <a:pt x="2572" y="59927"/>
                              <a:pt x="2333" y="60166"/>
                              <a:pt x="2153" y="60405"/>
                            </a:cubicBezTo>
                            <a:cubicBezTo>
                              <a:pt x="1974" y="60644"/>
                              <a:pt x="1734" y="60884"/>
                              <a:pt x="1555" y="61123"/>
                            </a:cubicBezTo>
                            <a:cubicBezTo>
                              <a:pt x="1375" y="61362"/>
                              <a:pt x="1136" y="61601"/>
                              <a:pt x="957" y="61840"/>
                            </a:cubicBezTo>
                            <a:cubicBezTo>
                              <a:pt x="778" y="62080"/>
                              <a:pt x="538" y="62319"/>
                              <a:pt x="359" y="62558"/>
                            </a:cubicBezTo>
                            <a:lnTo>
                              <a:pt x="0" y="62917"/>
                            </a:lnTo>
                          </a:path>
                        </a:pathLst>
                      </a:custGeom>
                      <a:noFill/>
                      <a:ln w="6350" cap="flat">
                        <a:solidFill>
                          <a:schemeClr val="bg1">
                            <a:alpha val="40000"/>
                          </a:schemeClr>
                        </a:solidFill>
                        <a:prstDash val="solid"/>
                        <a:miter/>
                      </a:ln>
                    </p:spPr>
                    <p:txBody>
                      <a:bodyPr rtlCol="0" anchor="ctr"/>
                      <a:lstStyle/>
                      <a:p>
                        <a:endParaRPr lang="en-GB"/>
                      </a:p>
                    </p:txBody>
                  </p:sp>
                  <p:sp>
                    <p:nvSpPr>
                      <p:cNvPr id="7525" name="Vrije vorm: vorm 7524">
                        <a:extLst>
                          <a:ext uri="{FF2B5EF4-FFF2-40B4-BE49-F238E27FC236}">
                            <a16:creationId xmlns:a16="http://schemas.microsoft.com/office/drawing/2014/main" id="{EC327130-33B7-4457-B49A-F5EE9F90F92E}"/>
                          </a:ext>
                        </a:extLst>
                      </p:cNvPr>
                      <p:cNvSpPr/>
                      <p:nvPr/>
                    </p:nvSpPr>
                    <p:spPr>
                      <a:xfrm>
                        <a:off x="5069100" y="5301172"/>
                        <a:ext cx="31039" cy="73263"/>
                      </a:xfrm>
                      <a:custGeom>
                        <a:avLst/>
                        <a:gdLst>
                          <a:gd name="connsiteX0" fmla="*/ 18122 w 31039"/>
                          <a:gd name="connsiteY0" fmla="*/ 7596 h 73263"/>
                          <a:gd name="connsiteX1" fmla="*/ 18301 w 31039"/>
                          <a:gd name="connsiteY1" fmla="*/ 7357 h 73263"/>
                          <a:gd name="connsiteX2" fmla="*/ 18481 w 31039"/>
                          <a:gd name="connsiteY2" fmla="*/ 7117 h 73263"/>
                          <a:gd name="connsiteX3" fmla="*/ 18660 w 31039"/>
                          <a:gd name="connsiteY3" fmla="*/ 6878 h 73263"/>
                          <a:gd name="connsiteX4" fmla="*/ 18839 w 31039"/>
                          <a:gd name="connsiteY4" fmla="*/ 6639 h 73263"/>
                          <a:gd name="connsiteX5" fmla="*/ 17643 w 31039"/>
                          <a:gd name="connsiteY5" fmla="*/ 5622 h 73263"/>
                          <a:gd name="connsiteX6" fmla="*/ 16387 w 31039"/>
                          <a:gd name="connsiteY6" fmla="*/ 4605 h 73263"/>
                          <a:gd name="connsiteX7" fmla="*/ 15012 w 31039"/>
                          <a:gd name="connsiteY7" fmla="*/ 3589 h 73263"/>
                          <a:gd name="connsiteX8" fmla="*/ 13576 w 31039"/>
                          <a:gd name="connsiteY8" fmla="*/ 2572 h 73263"/>
                          <a:gd name="connsiteX9" fmla="*/ 14533 w 31039"/>
                          <a:gd name="connsiteY9" fmla="*/ 1376 h 73263"/>
                          <a:gd name="connsiteX10" fmla="*/ 15909 w 31039"/>
                          <a:gd name="connsiteY10" fmla="*/ 2392 h 73263"/>
                          <a:gd name="connsiteX11" fmla="*/ 17225 w 31039"/>
                          <a:gd name="connsiteY11" fmla="*/ 3409 h 73263"/>
                          <a:gd name="connsiteX12" fmla="*/ 18481 w 31039"/>
                          <a:gd name="connsiteY12" fmla="*/ 4426 h 73263"/>
                          <a:gd name="connsiteX13" fmla="*/ 19676 w 31039"/>
                          <a:gd name="connsiteY13" fmla="*/ 5443 h 73263"/>
                          <a:gd name="connsiteX14" fmla="*/ 19856 w 31039"/>
                          <a:gd name="connsiteY14" fmla="*/ 5203 h 73263"/>
                          <a:gd name="connsiteX15" fmla="*/ 19976 w 31039"/>
                          <a:gd name="connsiteY15" fmla="*/ 4964 h 73263"/>
                          <a:gd name="connsiteX16" fmla="*/ 20095 w 31039"/>
                          <a:gd name="connsiteY16" fmla="*/ 4725 h 73263"/>
                          <a:gd name="connsiteX17" fmla="*/ 20215 w 31039"/>
                          <a:gd name="connsiteY17" fmla="*/ 4486 h 73263"/>
                          <a:gd name="connsiteX18" fmla="*/ 18959 w 31039"/>
                          <a:gd name="connsiteY18" fmla="*/ 3409 h 73263"/>
                          <a:gd name="connsiteX19" fmla="*/ 17643 w 31039"/>
                          <a:gd name="connsiteY19" fmla="*/ 2333 h 73263"/>
                          <a:gd name="connsiteX20" fmla="*/ 16268 w 31039"/>
                          <a:gd name="connsiteY20" fmla="*/ 1256 h 73263"/>
                          <a:gd name="connsiteX21" fmla="*/ 14773 w 31039"/>
                          <a:gd name="connsiteY21" fmla="*/ 239 h 73263"/>
                          <a:gd name="connsiteX22" fmla="*/ 14414 w 31039"/>
                          <a:gd name="connsiteY22" fmla="*/ 0 h 73263"/>
                          <a:gd name="connsiteX23" fmla="*/ 12081 w 31039"/>
                          <a:gd name="connsiteY23" fmla="*/ 2930 h 73263"/>
                          <a:gd name="connsiteX24" fmla="*/ 12440 w 31039"/>
                          <a:gd name="connsiteY24" fmla="*/ 3170 h 73263"/>
                          <a:gd name="connsiteX25" fmla="*/ 13995 w 31039"/>
                          <a:gd name="connsiteY25" fmla="*/ 4246 h 73263"/>
                          <a:gd name="connsiteX26" fmla="*/ 15430 w 31039"/>
                          <a:gd name="connsiteY26" fmla="*/ 5323 h 73263"/>
                          <a:gd name="connsiteX27" fmla="*/ 16806 w 31039"/>
                          <a:gd name="connsiteY27" fmla="*/ 6459 h 73263"/>
                          <a:gd name="connsiteX28" fmla="*/ 18122 w 31039"/>
                          <a:gd name="connsiteY28" fmla="*/ 7596 h 73263"/>
                          <a:gd name="connsiteX29" fmla="*/ 28289 w 31039"/>
                          <a:gd name="connsiteY29" fmla="*/ 30621 h 73263"/>
                          <a:gd name="connsiteX30" fmla="*/ 28468 w 31039"/>
                          <a:gd name="connsiteY30" fmla="*/ 29425 h 73263"/>
                          <a:gd name="connsiteX31" fmla="*/ 28588 w 31039"/>
                          <a:gd name="connsiteY31" fmla="*/ 28229 h 73263"/>
                          <a:gd name="connsiteX32" fmla="*/ 28648 w 31039"/>
                          <a:gd name="connsiteY32" fmla="*/ 27033 h 73263"/>
                          <a:gd name="connsiteX33" fmla="*/ 28648 w 31039"/>
                          <a:gd name="connsiteY33" fmla="*/ 25837 h 73263"/>
                          <a:gd name="connsiteX34" fmla="*/ 28648 w 31039"/>
                          <a:gd name="connsiteY34" fmla="*/ 25598 h 73263"/>
                          <a:gd name="connsiteX35" fmla="*/ 28648 w 31039"/>
                          <a:gd name="connsiteY35" fmla="*/ 25358 h 73263"/>
                          <a:gd name="connsiteX36" fmla="*/ 28648 w 31039"/>
                          <a:gd name="connsiteY36" fmla="*/ 25119 h 73263"/>
                          <a:gd name="connsiteX37" fmla="*/ 28648 w 31039"/>
                          <a:gd name="connsiteY37" fmla="*/ 24880 h 73263"/>
                          <a:gd name="connsiteX38" fmla="*/ 28648 w 31039"/>
                          <a:gd name="connsiteY38" fmla="*/ 24521 h 73263"/>
                          <a:gd name="connsiteX39" fmla="*/ 28648 w 31039"/>
                          <a:gd name="connsiteY39" fmla="*/ 24162 h 73263"/>
                          <a:gd name="connsiteX40" fmla="*/ 28588 w 31039"/>
                          <a:gd name="connsiteY40" fmla="*/ 23804 h 73263"/>
                          <a:gd name="connsiteX41" fmla="*/ 28528 w 31039"/>
                          <a:gd name="connsiteY41" fmla="*/ 23445 h 73263"/>
                          <a:gd name="connsiteX42" fmla="*/ 27571 w 31039"/>
                          <a:gd name="connsiteY42" fmla="*/ 19138 h 73263"/>
                          <a:gd name="connsiteX43" fmla="*/ 25717 w 31039"/>
                          <a:gd name="connsiteY43" fmla="*/ 15012 h 73263"/>
                          <a:gd name="connsiteX44" fmla="*/ 22966 w 31039"/>
                          <a:gd name="connsiteY44" fmla="*/ 11005 h 73263"/>
                          <a:gd name="connsiteX45" fmla="*/ 19318 w 31039"/>
                          <a:gd name="connsiteY45" fmla="*/ 7117 h 73263"/>
                          <a:gd name="connsiteX46" fmla="*/ 19138 w 31039"/>
                          <a:gd name="connsiteY46" fmla="*/ 7357 h 73263"/>
                          <a:gd name="connsiteX47" fmla="*/ 18959 w 31039"/>
                          <a:gd name="connsiteY47" fmla="*/ 7596 h 73263"/>
                          <a:gd name="connsiteX48" fmla="*/ 18780 w 31039"/>
                          <a:gd name="connsiteY48" fmla="*/ 7835 h 73263"/>
                          <a:gd name="connsiteX49" fmla="*/ 18600 w 31039"/>
                          <a:gd name="connsiteY49" fmla="*/ 8074 h 73263"/>
                          <a:gd name="connsiteX50" fmla="*/ 21890 w 31039"/>
                          <a:gd name="connsiteY50" fmla="*/ 11603 h 73263"/>
                          <a:gd name="connsiteX51" fmla="*/ 24401 w 31039"/>
                          <a:gd name="connsiteY51" fmla="*/ 15191 h 73263"/>
                          <a:gd name="connsiteX52" fmla="*/ 26196 w 31039"/>
                          <a:gd name="connsiteY52" fmla="*/ 18899 h 73263"/>
                          <a:gd name="connsiteX53" fmla="*/ 27212 w 31039"/>
                          <a:gd name="connsiteY53" fmla="*/ 22727 h 73263"/>
                          <a:gd name="connsiteX54" fmla="*/ 27272 w 31039"/>
                          <a:gd name="connsiteY54" fmla="*/ 23086 h 73263"/>
                          <a:gd name="connsiteX55" fmla="*/ 27332 w 31039"/>
                          <a:gd name="connsiteY55" fmla="*/ 23445 h 73263"/>
                          <a:gd name="connsiteX56" fmla="*/ 27392 w 31039"/>
                          <a:gd name="connsiteY56" fmla="*/ 23804 h 73263"/>
                          <a:gd name="connsiteX57" fmla="*/ 27452 w 31039"/>
                          <a:gd name="connsiteY57" fmla="*/ 24162 h 73263"/>
                          <a:gd name="connsiteX58" fmla="*/ 27511 w 31039"/>
                          <a:gd name="connsiteY58" fmla="*/ 24641 h 73263"/>
                          <a:gd name="connsiteX59" fmla="*/ 27571 w 31039"/>
                          <a:gd name="connsiteY59" fmla="*/ 25119 h 73263"/>
                          <a:gd name="connsiteX60" fmla="*/ 27571 w 31039"/>
                          <a:gd name="connsiteY60" fmla="*/ 25598 h 73263"/>
                          <a:gd name="connsiteX61" fmla="*/ 27571 w 31039"/>
                          <a:gd name="connsiteY61" fmla="*/ 26076 h 73263"/>
                          <a:gd name="connsiteX62" fmla="*/ 27571 w 31039"/>
                          <a:gd name="connsiteY62" fmla="*/ 26794 h 73263"/>
                          <a:gd name="connsiteX63" fmla="*/ 27511 w 31039"/>
                          <a:gd name="connsiteY63" fmla="*/ 27512 h 73263"/>
                          <a:gd name="connsiteX64" fmla="*/ 27452 w 31039"/>
                          <a:gd name="connsiteY64" fmla="*/ 28229 h 73263"/>
                          <a:gd name="connsiteX65" fmla="*/ 27392 w 31039"/>
                          <a:gd name="connsiteY65" fmla="*/ 28947 h 73263"/>
                          <a:gd name="connsiteX66" fmla="*/ 27571 w 31039"/>
                          <a:gd name="connsiteY66" fmla="*/ 29306 h 73263"/>
                          <a:gd name="connsiteX67" fmla="*/ 27751 w 31039"/>
                          <a:gd name="connsiteY67" fmla="*/ 29665 h 73263"/>
                          <a:gd name="connsiteX68" fmla="*/ 27930 w 31039"/>
                          <a:gd name="connsiteY68" fmla="*/ 30023 h 73263"/>
                          <a:gd name="connsiteX69" fmla="*/ 28289 w 31039"/>
                          <a:gd name="connsiteY69" fmla="*/ 30621 h 73263"/>
                          <a:gd name="connsiteX70" fmla="*/ 29605 w 31039"/>
                          <a:gd name="connsiteY70" fmla="*/ 34150 h 73263"/>
                          <a:gd name="connsiteX71" fmla="*/ 29665 w 31039"/>
                          <a:gd name="connsiteY71" fmla="*/ 34030 h 73263"/>
                          <a:gd name="connsiteX72" fmla="*/ 29724 w 31039"/>
                          <a:gd name="connsiteY72" fmla="*/ 33911 h 73263"/>
                          <a:gd name="connsiteX73" fmla="*/ 29784 w 31039"/>
                          <a:gd name="connsiteY73" fmla="*/ 33791 h 73263"/>
                          <a:gd name="connsiteX74" fmla="*/ 29844 w 31039"/>
                          <a:gd name="connsiteY74" fmla="*/ 33671 h 73263"/>
                          <a:gd name="connsiteX75" fmla="*/ 30322 w 31039"/>
                          <a:gd name="connsiteY75" fmla="*/ 31937 h 73263"/>
                          <a:gd name="connsiteX76" fmla="*/ 30681 w 31039"/>
                          <a:gd name="connsiteY76" fmla="*/ 30143 h 73263"/>
                          <a:gd name="connsiteX77" fmla="*/ 30920 w 31039"/>
                          <a:gd name="connsiteY77" fmla="*/ 28349 h 73263"/>
                          <a:gd name="connsiteX78" fmla="*/ 31040 w 31039"/>
                          <a:gd name="connsiteY78" fmla="*/ 26554 h 73263"/>
                          <a:gd name="connsiteX79" fmla="*/ 31040 w 31039"/>
                          <a:gd name="connsiteY79" fmla="*/ 26255 h 73263"/>
                          <a:gd name="connsiteX80" fmla="*/ 31040 w 31039"/>
                          <a:gd name="connsiteY80" fmla="*/ 25956 h 73263"/>
                          <a:gd name="connsiteX81" fmla="*/ 31040 w 31039"/>
                          <a:gd name="connsiteY81" fmla="*/ 25658 h 73263"/>
                          <a:gd name="connsiteX82" fmla="*/ 31040 w 31039"/>
                          <a:gd name="connsiteY82" fmla="*/ 25358 h 73263"/>
                          <a:gd name="connsiteX83" fmla="*/ 31040 w 31039"/>
                          <a:gd name="connsiteY83" fmla="*/ 25358 h 73263"/>
                          <a:gd name="connsiteX84" fmla="*/ 31040 w 31039"/>
                          <a:gd name="connsiteY84" fmla="*/ 25358 h 73263"/>
                          <a:gd name="connsiteX85" fmla="*/ 31040 w 31039"/>
                          <a:gd name="connsiteY85" fmla="*/ 25358 h 73263"/>
                          <a:gd name="connsiteX86" fmla="*/ 31040 w 31039"/>
                          <a:gd name="connsiteY86" fmla="*/ 25358 h 73263"/>
                          <a:gd name="connsiteX87" fmla="*/ 30382 w 31039"/>
                          <a:gd name="connsiteY87" fmla="*/ 19976 h 73263"/>
                          <a:gd name="connsiteX88" fmla="*/ 28468 w 31039"/>
                          <a:gd name="connsiteY88" fmla="*/ 14832 h 73263"/>
                          <a:gd name="connsiteX89" fmla="*/ 25298 w 31039"/>
                          <a:gd name="connsiteY89" fmla="*/ 9868 h 73263"/>
                          <a:gd name="connsiteX90" fmla="*/ 20873 w 31039"/>
                          <a:gd name="connsiteY90" fmla="*/ 5084 h 73263"/>
                          <a:gd name="connsiteX91" fmla="*/ 20753 w 31039"/>
                          <a:gd name="connsiteY91" fmla="*/ 5323 h 73263"/>
                          <a:gd name="connsiteX92" fmla="*/ 20634 w 31039"/>
                          <a:gd name="connsiteY92" fmla="*/ 5562 h 73263"/>
                          <a:gd name="connsiteX93" fmla="*/ 20454 w 31039"/>
                          <a:gd name="connsiteY93" fmla="*/ 5801 h 73263"/>
                          <a:gd name="connsiteX94" fmla="*/ 20275 w 31039"/>
                          <a:gd name="connsiteY94" fmla="*/ 6041 h 73263"/>
                          <a:gd name="connsiteX95" fmla="*/ 24401 w 31039"/>
                          <a:gd name="connsiteY95" fmla="*/ 10406 h 73263"/>
                          <a:gd name="connsiteX96" fmla="*/ 27392 w 31039"/>
                          <a:gd name="connsiteY96" fmla="*/ 14952 h 73263"/>
                          <a:gd name="connsiteX97" fmla="*/ 29246 w 31039"/>
                          <a:gd name="connsiteY97" fmla="*/ 19677 h 73263"/>
                          <a:gd name="connsiteX98" fmla="*/ 30023 w 31039"/>
                          <a:gd name="connsiteY98" fmla="*/ 24581 h 73263"/>
                          <a:gd name="connsiteX99" fmla="*/ 30023 w 31039"/>
                          <a:gd name="connsiteY99" fmla="*/ 24820 h 73263"/>
                          <a:gd name="connsiteX100" fmla="*/ 30023 w 31039"/>
                          <a:gd name="connsiteY100" fmla="*/ 25059 h 73263"/>
                          <a:gd name="connsiteX101" fmla="*/ 30023 w 31039"/>
                          <a:gd name="connsiteY101" fmla="*/ 25299 h 73263"/>
                          <a:gd name="connsiteX102" fmla="*/ 30023 w 31039"/>
                          <a:gd name="connsiteY102" fmla="*/ 25538 h 73263"/>
                          <a:gd name="connsiteX103" fmla="*/ 30023 w 31039"/>
                          <a:gd name="connsiteY103" fmla="*/ 25598 h 73263"/>
                          <a:gd name="connsiteX104" fmla="*/ 30023 w 31039"/>
                          <a:gd name="connsiteY104" fmla="*/ 25658 h 73263"/>
                          <a:gd name="connsiteX105" fmla="*/ 30023 w 31039"/>
                          <a:gd name="connsiteY105" fmla="*/ 25717 h 73263"/>
                          <a:gd name="connsiteX106" fmla="*/ 30023 w 31039"/>
                          <a:gd name="connsiteY106" fmla="*/ 25777 h 73263"/>
                          <a:gd name="connsiteX107" fmla="*/ 29963 w 31039"/>
                          <a:gd name="connsiteY107" fmla="*/ 27452 h 73263"/>
                          <a:gd name="connsiteX108" fmla="*/ 29784 w 31039"/>
                          <a:gd name="connsiteY108" fmla="*/ 29126 h 73263"/>
                          <a:gd name="connsiteX109" fmla="*/ 29485 w 31039"/>
                          <a:gd name="connsiteY109" fmla="*/ 30801 h 73263"/>
                          <a:gd name="connsiteX110" fmla="*/ 29126 w 31039"/>
                          <a:gd name="connsiteY110" fmla="*/ 32475 h 73263"/>
                          <a:gd name="connsiteX111" fmla="*/ 29246 w 31039"/>
                          <a:gd name="connsiteY111" fmla="*/ 32894 h 73263"/>
                          <a:gd name="connsiteX112" fmla="*/ 29366 w 31039"/>
                          <a:gd name="connsiteY112" fmla="*/ 33313 h 73263"/>
                          <a:gd name="connsiteX113" fmla="*/ 29485 w 31039"/>
                          <a:gd name="connsiteY113" fmla="*/ 33731 h 73263"/>
                          <a:gd name="connsiteX114" fmla="*/ 29605 w 31039"/>
                          <a:gd name="connsiteY114" fmla="*/ 34150 h 73263"/>
                          <a:gd name="connsiteX115" fmla="*/ 27212 w 31039"/>
                          <a:gd name="connsiteY115" fmla="*/ 34688 h 73263"/>
                          <a:gd name="connsiteX116" fmla="*/ 27332 w 31039"/>
                          <a:gd name="connsiteY116" fmla="*/ 34389 h 73263"/>
                          <a:gd name="connsiteX117" fmla="*/ 27392 w 31039"/>
                          <a:gd name="connsiteY117" fmla="*/ 34090 h 73263"/>
                          <a:gd name="connsiteX118" fmla="*/ 27452 w 31039"/>
                          <a:gd name="connsiteY118" fmla="*/ 33791 h 73263"/>
                          <a:gd name="connsiteX119" fmla="*/ 27511 w 31039"/>
                          <a:gd name="connsiteY119" fmla="*/ 33492 h 73263"/>
                          <a:gd name="connsiteX120" fmla="*/ 27571 w 31039"/>
                          <a:gd name="connsiteY120" fmla="*/ 33193 h 73263"/>
                          <a:gd name="connsiteX121" fmla="*/ 27631 w 31039"/>
                          <a:gd name="connsiteY121" fmla="*/ 32894 h 73263"/>
                          <a:gd name="connsiteX122" fmla="*/ 27691 w 31039"/>
                          <a:gd name="connsiteY122" fmla="*/ 32595 h 73263"/>
                          <a:gd name="connsiteX123" fmla="*/ 27751 w 31039"/>
                          <a:gd name="connsiteY123" fmla="*/ 32296 h 73263"/>
                          <a:gd name="connsiteX124" fmla="*/ 27751 w 31039"/>
                          <a:gd name="connsiteY124" fmla="*/ 32296 h 73263"/>
                          <a:gd name="connsiteX125" fmla="*/ 27751 w 31039"/>
                          <a:gd name="connsiteY125" fmla="*/ 32296 h 73263"/>
                          <a:gd name="connsiteX126" fmla="*/ 27751 w 31039"/>
                          <a:gd name="connsiteY126" fmla="*/ 32296 h 73263"/>
                          <a:gd name="connsiteX127" fmla="*/ 27751 w 31039"/>
                          <a:gd name="connsiteY127" fmla="*/ 32296 h 73263"/>
                          <a:gd name="connsiteX128" fmla="*/ 27571 w 31039"/>
                          <a:gd name="connsiteY128" fmla="*/ 31937 h 73263"/>
                          <a:gd name="connsiteX129" fmla="*/ 27392 w 31039"/>
                          <a:gd name="connsiteY129" fmla="*/ 31578 h 73263"/>
                          <a:gd name="connsiteX130" fmla="*/ 27212 w 31039"/>
                          <a:gd name="connsiteY130" fmla="*/ 31220 h 73263"/>
                          <a:gd name="connsiteX131" fmla="*/ 27033 w 31039"/>
                          <a:gd name="connsiteY131" fmla="*/ 30861 h 73263"/>
                          <a:gd name="connsiteX132" fmla="*/ 26973 w 31039"/>
                          <a:gd name="connsiteY132" fmla="*/ 31100 h 73263"/>
                          <a:gd name="connsiteX133" fmla="*/ 26913 w 31039"/>
                          <a:gd name="connsiteY133" fmla="*/ 31339 h 73263"/>
                          <a:gd name="connsiteX134" fmla="*/ 26853 w 31039"/>
                          <a:gd name="connsiteY134" fmla="*/ 31578 h 73263"/>
                          <a:gd name="connsiteX135" fmla="*/ 26794 w 31039"/>
                          <a:gd name="connsiteY135" fmla="*/ 31817 h 73263"/>
                          <a:gd name="connsiteX136" fmla="*/ 26734 w 31039"/>
                          <a:gd name="connsiteY136" fmla="*/ 32116 h 73263"/>
                          <a:gd name="connsiteX137" fmla="*/ 26674 w 31039"/>
                          <a:gd name="connsiteY137" fmla="*/ 32416 h 73263"/>
                          <a:gd name="connsiteX138" fmla="*/ 26614 w 31039"/>
                          <a:gd name="connsiteY138" fmla="*/ 32715 h 73263"/>
                          <a:gd name="connsiteX139" fmla="*/ 26554 w 31039"/>
                          <a:gd name="connsiteY139" fmla="*/ 33014 h 73263"/>
                          <a:gd name="connsiteX140" fmla="*/ 26554 w 31039"/>
                          <a:gd name="connsiteY140" fmla="*/ 33074 h 73263"/>
                          <a:gd name="connsiteX141" fmla="*/ 26554 w 31039"/>
                          <a:gd name="connsiteY141" fmla="*/ 33133 h 73263"/>
                          <a:gd name="connsiteX142" fmla="*/ 26554 w 31039"/>
                          <a:gd name="connsiteY142" fmla="*/ 33193 h 73263"/>
                          <a:gd name="connsiteX143" fmla="*/ 26554 w 31039"/>
                          <a:gd name="connsiteY143" fmla="*/ 33253 h 73263"/>
                          <a:gd name="connsiteX144" fmla="*/ 26674 w 31039"/>
                          <a:gd name="connsiteY144" fmla="*/ 33612 h 73263"/>
                          <a:gd name="connsiteX145" fmla="*/ 26794 w 31039"/>
                          <a:gd name="connsiteY145" fmla="*/ 33970 h 73263"/>
                          <a:gd name="connsiteX146" fmla="*/ 26913 w 31039"/>
                          <a:gd name="connsiteY146" fmla="*/ 34329 h 73263"/>
                          <a:gd name="connsiteX147" fmla="*/ 27212 w 31039"/>
                          <a:gd name="connsiteY147" fmla="*/ 34688 h 73263"/>
                          <a:gd name="connsiteX148" fmla="*/ 27990 w 31039"/>
                          <a:gd name="connsiteY148" fmla="*/ 38516 h 73263"/>
                          <a:gd name="connsiteX149" fmla="*/ 28050 w 31039"/>
                          <a:gd name="connsiteY149" fmla="*/ 38337 h 73263"/>
                          <a:gd name="connsiteX150" fmla="*/ 28109 w 31039"/>
                          <a:gd name="connsiteY150" fmla="*/ 38157 h 73263"/>
                          <a:gd name="connsiteX151" fmla="*/ 28169 w 31039"/>
                          <a:gd name="connsiteY151" fmla="*/ 37978 h 73263"/>
                          <a:gd name="connsiteX152" fmla="*/ 28229 w 31039"/>
                          <a:gd name="connsiteY152" fmla="*/ 37798 h 73263"/>
                          <a:gd name="connsiteX153" fmla="*/ 28408 w 31039"/>
                          <a:gd name="connsiteY153" fmla="*/ 37380 h 73263"/>
                          <a:gd name="connsiteX154" fmla="*/ 28588 w 31039"/>
                          <a:gd name="connsiteY154" fmla="*/ 36961 h 73263"/>
                          <a:gd name="connsiteX155" fmla="*/ 28767 w 31039"/>
                          <a:gd name="connsiteY155" fmla="*/ 36542 h 73263"/>
                          <a:gd name="connsiteX156" fmla="*/ 28947 w 31039"/>
                          <a:gd name="connsiteY156" fmla="*/ 36124 h 73263"/>
                          <a:gd name="connsiteX157" fmla="*/ 28887 w 31039"/>
                          <a:gd name="connsiteY157" fmla="*/ 35705 h 73263"/>
                          <a:gd name="connsiteX158" fmla="*/ 28767 w 31039"/>
                          <a:gd name="connsiteY158" fmla="*/ 35286 h 73263"/>
                          <a:gd name="connsiteX159" fmla="*/ 28648 w 31039"/>
                          <a:gd name="connsiteY159" fmla="*/ 34868 h 73263"/>
                          <a:gd name="connsiteX160" fmla="*/ 28528 w 31039"/>
                          <a:gd name="connsiteY160" fmla="*/ 34449 h 73263"/>
                          <a:gd name="connsiteX161" fmla="*/ 28349 w 31039"/>
                          <a:gd name="connsiteY161" fmla="*/ 35047 h 73263"/>
                          <a:gd name="connsiteX162" fmla="*/ 28169 w 31039"/>
                          <a:gd name="connsiteY162" fmla="*/ 35645 h 73263"/>
                          <a:gd name="connsiteX163" fmla="*/ 27930 w 31039"/>
                          <a:gd name="connsiteY163" fmla="*/ 36243 h 73263"/>
                          <a:gd name="connsiteX164" fmla="*/ 27691 w 31039"/>
                          <a:gd name="connsiteY164" fmla="*/ 36841 h 73263"/>
                          <a:gd name="connsiteX165" fmla="*/ 27751 w 31039"/>
                          <a:gd name="connsiteY165" fmla="*/ 37260 h 73263"/>
                          <a:gd name="connsiteX166" fmla="*/ 27811 w 31039"/>
                          <a:gd name="connsiteY166" fmla="*/ 37679 h 73263"/>
                          <a:gd name="connsiteX167" fmla="*/ 27870 w 31039"/>
                          <a:gd name="connsiteY167" fmla="*/ 38097 h 73263"/>
                          <a:gd name="connsiteX168" fmla="*/ 27990 w 31039"/>
                          <a:gd name="connsiteY168" fmla="*/ 38516 h 73263"/>
                          <a:gd name="connsiteX169" fmla="*/ 13696 w 31039"/>
                          <a:gd name="connsiteY169" fmla="*/ 58372 h 73263"/>
                          <a:gd name="connsiteX170" fmla="*/ 14414 w 31039"/>
                          <a:gd name="connsiteY170" fmla="*/ 58850 h 73263"/>
                          <a:gd name="connsiteX171" fmla="*/ 16028 w 31039"/>
                          <a:gd name="connsiteY171" fmla="*/ 56817 h 73263"/>
                          <a:gd name="connsiteX172" fmla="*/ 17643 w 31039"/>
                          <a:gd name="connsiteY172" fmla="*/ 54784 h 73263"/>
                          <a:gd name="connsiteX173" fmla="*/ 19198 w 31039"/>
                          <a:gd name="connsiteY173" fmla="*/ 52690 h 73263"/>
                          <a:gd name="connsiteX174" fmla="*/ 20753 w 31039"/>
                          <a:gd name="connsiteY174" fmla="*/ 50597 h 73263"/>
                          <a:gd name="connsiteX175" fmla="*/ 20933 w 31039"/>
                          <a:gd name="connsiteY175" fmla="*/ 50358 h 73263"/>
                          <a:gd name="connsiteX176" fmla="*/ 21112 w 31039"/>
                          <a:gd name="connsiteY176" fmla="*/ 50118 h 73263"/>
                          <a:gd name="connsiteX177" fmla="*/ 21291 w 31039"/>
                          <a:gd name="connsiteY177" fmla="*/ 49879 h 73263"/>
                          <a:gd name="connsiteX178" fmla="*/ 21471 w 31039"/>
                          <a:gd name="connsiteY178" fmla="*/ 49640 h 73263"/>
                          <a:gd name="connsiteX179" fmla="*/ 22308 w 31039"/>
                          <a:gd name="connsiteY179" fmla="*/ 48444 h 73263"/>
                          <a:gd name="connsiteX180" fmla="*/ 23086 w 31039"/>
                          <a:gd name="connsiteY180" fmla="*/ 47248 h 73263"/>
                          <a:gd name="connsiteX181" fmla="*/ 23863 w 31039"/>
                          <a:gd name="connsiteY181" fmla="*/ 46052 h 73263"/>
                          <a:gd name="connsiteX182" fmla="*/ 24581 w 31039"/>
                          <a:gd name="connsiteY182" fmla="*/ 44855 h 73263"/>
                          <a:gd name="connsiteX183" fmla="*/ 24700 w 31039"/>
                          <a:gd name="connsiteY183" fmla="*/ 44616 h 73263"/>
                          <a:gd name="connsiteX184" fmla="*/ 24820 w 31039"/>
                          <a:gd name="connsiteY184" fmla="*/ 44377 h 73263"/>
                          <a:gd name="connsiteX185" fmla="*/ 24940 w 31039"/>
                          <a:gd name="connsiteY185" fmla="*/ 44138 h 73263"/>
                          <a:gd name="connsiteX186" fmla="*/ 25059 w 31039"/>
                          <a:gd name="connsiteY186" fmla="*/ 43899 h 73263"/>
                          <a:gd name="connsiteX187" fmla="*/ 25239 w 31039"/>
                          <a:gd name="connsiteY187" fmla="*/ 43540 h 73263"/>
                          <a:gd name="connsiteX188" fmla="*/ 25418 w 31039"/>
                          <a:gd name="connsiteY188" fmla="*/ 43181 h 73263"/>
                          <a:gd name="connsiteX189" fmla="*/ 25598 w 31039"/>
                          <a:gd name="connsiteY189" fmla="*/ 42822 h 73263"/>
                          <a:gd name="connsiteX190" fmla="*/ 25777 w 31039"/>
                          <a:gd name="connsiteY190" fmla="*/ 42463 h 73263"/>
                          <a:gd name="connsiteX191" fmla="*/ 25897 w 31039"/>
                          <a:gd name="connsiteY191" fmla="*/ 42224 h 73263"/>
                          <a:gd name="connsiteX192" fmla="*/ 26016 w 31039"/>
                          <a:gd name="connsiteY192" fmla="*/ 41985 h 73263"/>
                          <a:gd name="connsiteX193" fmla="*/ 26136 w 31039"/>
                          <a:gd name="connsiteY193" fmla="*/ 41746 h 73263"/>
                          <a:gd name="connsiteX194" fmla="*/ 26255 w 31039"/>
                          <a:gd name="connsiteY194" fmla="*/ 41506 h 73263"/>
                          <a:gd name="connsiteX195" fmla="*/ 26435 w 31039"/>
                          <a:gd name="connsiteY195" fmla="*/ 41207 h 73263"/>
                          <a:gd name="connsiteX196" fmla="*/ 26614 w 31039"/>
                          <a:gd name="connsiteY196" fmla="*/ 40908 h 73263"/>
                          <a:gd name="connsiteX197" fmla="*/ 26794 w 31039"/>
                          <a:gd name="connsiteY197" fmla="*/ 40609 h 73263"/>
                          <a:gd name="connsiteX198" fmla="*/ 26973 w 31039"/>
                          <a:gd name="connsiteY198" fmla="*/ 40310 h 73263"/>
                          <a:gd name="connsiteX199" fmla="*/ 26973 w 31039"/>
                          <a:gd name="connsiteY199" fmla="*/ 40131 h 73263"/>
                          <a:gd name="connsiteX200" fmla="*/ 26973 w 31039"/>
                          <a:gd name="connsiteY200" fmla="*/ 39951 h 73263"/>
                          <a:gd name="connsiteX201" fmla="*/ 26973 w 31039"/>
                          <a:gd name="connsiteY201" fmla="*/ 39772 h 73263"/>
                          <a:gd name="connsiteX202" fmla="*/ 26973 w 31039"/>
                          <a:gd name="connsiteY202" fmla="*/ 39592 h 73263"/>
                          <a:gd name="connsiteX203" fmla="*/ 26973 w 31039"/>
                          <a:gd name="connsiteY203" fmla="*/ 39293 h 73263"/>
                          <a:gd name="connsiteX204" fmla="*/ 26973 w 31039"/>
                          <a:gd name="connsiteY204" fmla="*/ 38994 h 73263"/>
                          <a:gd name="connsiteX205" fmla="*/ 26973 w 31039"/>
                          <a:gd name="connsiteY205" fmla="*/ 38695 h 73263"/>
                          <a:gd name="connsiteX206" fmla="*/ 26973 w 31039"/>
                          <a:gd name="connsiteY206" fmla="*/ 38396 h 73263"/>
                          <a:gd name="connsiteX207" fmla="*/ 26674 w 31039"/>
                          <a:gd name="connsiteY207" fmla="*/ 39054 h 73263"/>
                          <a:gd name="connsiteX208" fmla="*/ 26375 w 31039"/>
                          <a:gd name="connsiteY208" fmla="*/ 39712 h 73263"/>
                          <a:gd name="connsiteX209" fmla="*/ 26016 w 31039"/>
                          <a:gd name="connsiteY209" fmla="*/ 40370 h 73263"/>
                          <a:gd name="connsiteX210" fmla="*/ 25657 w 31039"/>
                          <a:gd name="connsiteY210" fmla="*/ 41028 h 73263"/>
                          <a:gd name="connsiteX211" fmla="*/ 25538 w 31039"/>
                          <a:gd name="connsiteY211" fmla="*/ 41267 h 73263"/>
                          <a:gd name="connsiteX212" fmla="*/ 25418 w 31039"/>
                          <a:gd name="connsiteY212" fmla="*/ 41506 h 73263"/>
                          <a:gd name="connsiteX213" fmla="*/ 25298 w 31039"/>
                          <a:gd name="connsiteY213" fmla="*/ 41746 h 73263"/>
                          <a:gd name="connsiteX214" fmla="*/ 25179 w 31039"/>
                          <a:gd name="connsiteY214" fmla="*/ 41985 h 73263"/>
                          <a:gd name="connsiteX215" fmla="*/ 24999 w 31039"/>
                          <a:gd name="connsiteY215" fmla="*/ 42344 h 73263"/>
                          <a:gd name="connsiteX216" fmla="*/ 24820 w 31039"/>
                          <a:gd name="connsiteY216" fmla="*/ 42702 h 73263"/>
                          <a:gd name="connsiteX217" fmla="*/ 24641 w 31039"/>
                          <a:gd name="connsiteY217" fmla="*/ 43061 h 73263"/>
                          <a:gd name="connsiteX218" fmla="*/ 24461 w 31039"/>
                          <a:gd name="connsiteY218" fmla="*/ 43420 h 73263"/>
                          <a:gd name="connsiteX219" fmla="*/ 24342 w 31039"/>
                          <a:gd name="connsiteY219" fmla="*/ 43660 h 73263"/>
                          <a:gd name="connsiteX220" fmla="*/ 24222 w 31039"/>
                          <a:gd name="connsiteY220" fmla="*/ 43899 h 73263"/>
                          <a:gd name="connsiteX221" fmla="*/ 24102 w 31039"/>
                          <a:gd name="connsiteY221" fmla="*/ 44138 h 73263"/>
                          <a:gd name="connsiteX222" fmla="*/ 23983 w 31039"/>
                          <a:gd name="connsiteY222" fmla="*/ 44377 h 73263"/>
                          <a:gd name="connsiteX223" fmla="*/ 23265 w 31039"/>
                          <a:gd name="connsiteY223" fmla="*/ 45573 h 73263"/>
                          <a:gd name="connsiteX224" fmla="*/ 22488 w 31039"/>
                          <a:gd name="connsiteY224" fmla="*/ 46769 h 73263"/>
                          <a:gd name="connsiteX225" fmla="*/ 21710 w 31039"/>
                          <a:gd name="connsiteY225" fmla="*/ 47966 h 73263"/>
                          <a:gd name="connsiteX226" fmla="*/ 20873 w 31039"/>
                          <a:gd name="connsiteY226" fmla="*/ 49162 h 73263"/>
                          <a:gd name="connsiteX227" fmla="*/ 20693 w 31039"/>
                          <a:gd name="connsiteY227" fmla="*/ 49401 h 73263"/>
                          <a:gd name="connsiteX228" fmla="*/ 20514 w 31039"/>
                          <a:gd name="connsiteY228" fmla="*/ 49640 h 73263"/>
                          <a:gd name="connsiteX229" fmla="*/ 20335 w 31039"/>
                          <a:gd name="connsiteY229" fmla="*/ 49879 h 73263"/>
                          <a:gd name="connsiteX230" fmla="*/ 20155 w 31039"/>
                          <a:gd name="connsiteY230" fmla="*/ 50118 h 73263"/>
                          <a:gd name="connsiteX231" fmla="*/ 18600 w 31039"/>
                          <a:gd name="connsiteY231" fmla="*/ 52212 h 73263"/>
                          <a:gd name="connsiteX232" fmla="*/ 17045 w 31039"/>
                          <a:gd name="connsiteY232" fmla="*/ 54305 h 73263"/>
                          <a:gd name="connsiteX233" fmla="*/ 15430 w 31039"/>
                          <a:gd name="connsiteY233" fmla="*/ 56339 h 73263"/>
                          <a:gd name="connsiteX234" fmla="*/ 13696 w 31039"/>
                          <a:gd name="connsiteY234" fmla="*/ 58372 h 73263"/>
                          <a:gd name="connsiteX235" fmla="*/ 12021 w 31039"/>
                          <a:gd name="connsiteY235" fmla="*/ 57236 h 73263"/>
                          <a:gd name="connsiteX236" fmla="*/ 12739 w 31039"/>
                          <a:gd name="connsiteY236" fmla="*/ 57714 h 73263"/>
                          <a:gd name="connsiteX237" fmla="*/ 14354 w 31039"/>
                          <a:gd name="connsiteY237" fmla="*/ 55681 h 73263"/>
                          <a:gd name="connsiteX238" fmla="*/ 15968 w 31039"/>
                          <a:gd name="connsiteY238" fmla="*/ 53647 h 73263"/>
                          <a:gd name="connsiteX239" fmla="*/ 17523 w 31039"/>
                          <a:gd name="connsiteY239" fmla="*/ 51554 h 73263"/>
                          <a:gd name="connsiteX240" fmla="*/ 19079 w 31039"/>
                          <a:gd name="connsiteY240" fmla="*/ 49461 h 73263"/>
                          <a:gd name="connsiteX241" fmla="*/ 19258 w 31039"/>
                          <a:gd name="connsiteY241" fmla="*/ 49222 h 73263"/>
                          <a:gd name="connsiteX242" fmla="*/ 19437 w 31039"/>
                          <a:gd name="connsiteY242" fmla="*/ 48982 h 73263"/>
                          <a:gd name="connsiteX243" fmla="*/ 19617 w 31039"/>
                          <a:gd name="connsiteY243" fmla="*/ 48743 h 73263"/>
                          <a:gd name="connsiteX244" fmla="*/ 19796 w 31039"/>
                          <a:gd name="connsiteY244" fmla="*/ 48504 h 73263"/>
                          <a:gd name="connsiteX245" fmla="*/ 20634 w 31039"/>
                          <a:gd name="connsiteY245" fmla="*/ 47308 h 73263"/>
                          <a:gd name="connsiteX246" fmla="*/ 21411 w 31039"/>
                          <a:gd name="connsiteY246" fmla="*/ 46111 h 73263"/>
                          <a:gd name="connsiteX247" fmla="*/ 22189 w 31039"/>
                          <a:gd name="connsiteY247" fmla="*/ 44915 h 73263"/>
                          <a:gd name="connsiteX248" fmla="*/ 22906 w 31039"/>
                          <a:gd name="connsiteY248" fmla="*/ 43719 h 73263"/>
                          <a:gd name="connsiteX249" fmla="*/ 23026 w 31039"/>
                          <a:gd name="connsiteY249" fmla="*/ 43480 h 73263"/>
                          <a:gd name="connsiteX250" fmla="*/ 23145 w 31039"/>
                          <a:gd name="connsiteY250" fmla="*/ 43241 h 73263"/>
                          <a:gd name="connsiteX251" fmla="*/ 23265 w 31039"/>
                          <a:gd name="connsiteY251" fmla="*/ 43001 h 73263"/>
                          <a:gd name="connsiteX252" fmla="*/ 23385 w 31039"/>
                          <a:gd name="connsiteY252" fmla="*/ 42762 h 73263"/>
                          <a:gd name="connsiteX253" fmla="*/ 23564 w 31039"/>
                          <a:gd name="connsiteY253" fmla="*/ 42403 h 73263"/>
                          <a:gd name="connsiteX254" fmla="*/ 23744 w 31039"/>
                          <a:gd name="connsiteY254" fmla="*/ 42045 h 73263"/>
                          <a:gd name="connsiteX255" fmla="*/ 23923 w 31039"/>
                          <a:gd name="connsiteY255" fmla="*/ 41686 h 73263"/>
                          <a:gd name="connsiteX256" fmla="*/ 24102 w 31039"/>
                          <a:gd name="connsiteY256" fmla="*/ 41327 h 73263"/>
                          <a:gd name="connsiteX257" fmla="*/ 24222 w 31039"/>
                          <a:gd name="connsiteY257" fmla="*/ 41088 h 73263"/>
                          <a:gd name="connsiteX258" fmla="*/ 24342 w 31039"/>
                          <a:gd name="connsiteY258" fmla="*/ 40848 h 73263"/>
                          <a:gd name="connsiteX259" fmla="*/ 24461 w 31039"/>
                          <a:gd name="connsiteY259" fmla="*/ 40609 h 73263"/>
                          <a:gd name="connsiteX260" fmla="*/ 24581 w 31039"/>
                          <a:gd name="connsiteY260" fmla="*/ 40370 h 73263"/>
                          <a:gd name="connsiteX261" fmla="*/ 24940 w 31039"/>
                          <a:gd name="connsiteY261" fmla="*/ 39592 h 73263"/>
                          <a:gd name="connsiteX262" fmla="*/ 25298 w 31039"/>
                          <a:gd name="connsiteY262" fmla="*/ 38815 h 73263"/>
                          <a:gd name="connsiteX263" fmla="*/ 25657 w 31039"/>
                          <a:gd name="connsiteY263" fmla="*/ 38038 h 73263"/>
                          <a:gd name="connsiteX264" fmla="*/ 26016 w 31039"/>
                          <a:gd name="connsiteY264" fmla="*/ 37260 h 73263"/>
                          <a:gd name="connsiteX265" fmla="*/ 26136 w 31039"/>
                          <a:gd name="connsiteY265" fmla="*/ 37021 h 73263"/>
                          <a:gd name="connsiteX266" fmla="*/ 26255 w 31039"/>
                          <a:gd name="connsiteY266" fmla="*/ 36782 h 73263"/>
                          <a:gd name="connsiteX267" fmla="*/ 26375 w 31039"/>
                          <a:gd name="connsiteY267" fmla="*/ 36542 h 73263"/>
                          <a:gd name="connsiteX268" fmla="*/ 26495 w 31039"/>
                          <a:gd name="connsiteY268" fmla="*/ 36303 h 73263"/>
                          <a:gd name="connsiteX269" fmla="*/ 26495 w 31039"/>
                          <a:gd name="connsiteY269" fmla="*/ 36243 h 73263"/>
                          <a:gd name="connsiteX270" fmla="*/ 26495 w 31039"/>
                          <a:gd name="connsiteY270" fmla="*/ 36184 h 73263"/>
                          <a:gd name="connsiteX271" fmla="*/ 26495 w 31039"/>
                          <a:gd name="connsiteY271" fmla="*/ 36124 h 73263"/>
                          <a:gd name="connsiteX272" fmla="*/ 26495 w 31039"/>
                          <a:gd name="connsiteY272" fmla="*/ 36064 h 73263"/>
                          <a:gd name="connsiteX273" fmla="*/ 26375 w 31039"/>
                          <a:gd name="connsiteY273" fmla="*/ 35705 h 73263"/>
                          <a:gd name="connsiteX274" fmla="*/ 26255 w 31039"/>
                          <a:gd name="connsiteY274" fmla="*/ 35346 h 73263"/>
                          <a:gd name="connsiteX275" fmla="*/ 26136 w 31039"/>
                          <a:gd name="connsiteY275" fmla="*/ 34987 h 73263"/>
                          <a:gd name="connsiteX276" fmla="*/ 26016 w 31039"/>
                          <a:gd name="connsiteY276" fmla="*/ 34629 h 73263"/>
                          <a:gd name="connsiteX277" fmla="*/ 25897 w 31039"/>
                          <a:gd name="connsiteY277" fmla="*/ 34928 h 73263"/>
                          <a:gd name="connsiteX278" fmla="*/ 25777 w 31039"/>
                          <a:gd name="connsiteY278" fmla="*/ 35227 h 73263"/>
                          <a:gd name="connsiteX279" fmla="*/ 25657 w 31039"/>
                          <a:gd name="connsiteY279" fmla="*/ 35526 h 73263"/>
                          <a:gd name="connsiteX280" fmla="*/ 25538 w 31039"/>
                          <a:gd name="connsiteY280" fmla="*/ 35824 h 73263"/>
                          <a:gd name="connsiteX281" fmla="*/ 25418 w 31039"/>
                          <a:gd name="connsiteY281" fmla="*/ 36064 h 73263"/>
                          <a:gd name="connsiteX282" fmla="*/ 25298 w 31039"/>
                          <a:gd name="connsiteY282" fmla="*/ 36303 h 73263"/>
                          <a:gd name="connsiteX283" fmla="*/ 25179 w 31039"/>
                          <a:gd name="connsiteY283" fmla="*/ 36542 h 73263"/>
                          <a:gd name="connsiteX284" fmla="*/ 25059 w 31039"/>
                          <a:gd name="connsiteY284" fmla="*/ 36782 h 73263"/>
                          <a:gd name="connsiteX285" fmla="*/ 24760 w 31039"/>
                          <a:gd name="connsiteY285" fmla="*/ 37559 h 73263"/>
                          <a:gd name="connsiteX286" fmla="*/ 24401 w 31039"/>
                          <a:gd name="connsiteY286" fmla="*/ 38337 h 73263"/>
                          <a:gd name="connsiteX287" fmla="*/ 24043 w 31039"/>
                          <a:gd name="connsiteY287" fmla="*/ 39114 h 73263"/>
                          <a:gd name="connsiteX288" fmla="*/ 23684 w 31039"/>
                          <a:gd name="connsiteY288" fmla="*/ 39892 h 73263"/>
                          <a:gd name="connsiteX289" fmla="*/ 23564 w 31039"/>
                          <a:gd name="connsiteY289" fmla="*/ 40131 h 73263"/>
                          <a:gd name="connsiteX290" fmla="*/ 23444 w 31039"/>
                          <a:gd name="connsiteY290" fmla="*/ 40370 h 73263"/>
                          <a:gd name="connsiteX291" fmla="*/ 23325 w 31039"/>
                          <a:gd name="connsiteY291" fmla="*/ 40609 h 73263"/>
                          <a:gd name="connsiteX292" fmla="*/ 23205 w 31039"/>
                          <a:gd name="connsiteY292" fmla="*/ 40848 h 73263"/>
                          <a:gd name="connsiteX293" fmla="*/ 23026 w 31039"/>
                          <a:gd name="connsiteY293" fmla="*/ 41207 h 73263"/>
                          <a:gd name="connsiteX294" fmla="*/ 22846 w 31039"/>
                          <a:gd name="connsiteY294" fmla="*/ 41566 h 73263"/>
                          <a:gd name="connsiteX295" fmla="*/ 22667 w 31039"/>
                          <a:gd name="connsiteY295" fmla="*/ 41925 h 73263"/>
                          <a:gd name="connsiteX296" fmla="*/ 22488 w 31039"/>
                          <a:gd name="connsiteY296" fmla="*/ 42284 h 73263"/>
                          <a:gd name="connsiteX297" fmla="*/ 22368 w 31039"/>
                          <a:gd name="connsiteY297" fmla="*/ 42523 h 73263"/>
                          <a:gd name="connsiteX298" fmla="*/ 22248 w 31039"/>
                          <a:gd name="connsiteY298" fmla="*/ 42762 h 73263"/>
                          <a:gd name="connsiteX299" fmla="*/ 22129 w 31039"/>
                          <a:gd name="connsiteY299" fmla="*/ 43001 h 73263"/>
                          <a:gd name="connsiteX300" fmla="*/ 22009 w 31039"/>
                          <a:gd name="connsiteY300" fmla="*/ 43241 h 73263"/>
                          <a:gd name="connsiteX301" fmla="*/ 21291 w 31039"/>
                          <a:gd name="connsiteY301" fmla="*/ 44437 h 73263"/>
                          <a:gd name="connsiteX302" fmla="*/ 20514 w 31039"/>
                          <a:gd name="connsiteY302" fmla="*/ 45633 h 73263"/>
                          <a:gd name="connsiteX303" fmla="*/ 19736 w 31039"/>
                          <a:gd name="connsiteY303" fmla="*/ 46829 h 73263"/>
                          <a:gd name="connsiteX304" fmla="*/ 18899 w 31039"/>
                          <a:gd name="connsiteY304" fmla="*/ 48025 h 73263"/>
                          <a:gd name="connsiteX305" fmla="*/ 18720 w 31039"/>
                          <a:gd name="connsiteY305" fmla="*/ 48264 h 73263"/>
                          <a:gd name="connsiteX306" fmla="*/ 18540 w 31039"/>
                          <a:gd name="connsiteY306" fmla="*/ 48504 h 73263"/>
                          <a:gd name="connsiteX307" fmla="*/ 18361 w 31039"/>
                          <a:gd name="connsiteY307" fmla="*/ 48743 h 73263"/>
                          <a:gd name="connsiteX308" fmla="*/ 18181 w 31039"/>
                          <a:gd name="connsiteY308" fmla="*/ 48982 h 73263"/>
                          <a:gd name="connsiteX309" fmla="*/ 16686 w 31039"/>
                          <a:gd name="connsiteY309" fmla="*/ 51076 h 73263"/>
                          <a:gd name="connsiteX310" fmla="*/ 15131 w 31039"/>
                          <a:gd name="connsiteY310" fmla="*/ 53169 h 73263"/>
                          <a:gd name="connsiteX311" fmla="*/ 13516 w 31039"/>
                          <a:gd name="connsiteY311" fmla="*/ 55202 h 73263"/>
                          <a:gd name="connsiteX312" fmla="*/ 12021 w 31039"/>
                          <a:gd name="connsiteY312" fmla="*/ 57236 h 73263"/>
                          <a:gd name="connsiteX313" fmla="*/ 11782 w 31039"/>
                          <a:gd name="connsiteY313" fmla="*/ 60704 h 73263"/>
                          <a:gd name="connsiteX314" fmla="*/ 12500 w 31039"/>
                          <a:gd name="connsiteY314" fmla="*/ 61183 h 73263"/>
                          <a:gd name="connsiteX315" fmla="*/ 12799 w 31039"/>
                          <a:gd name="connsiteY315" fmla="*/ 60824 h 73263"/>
                          <a:gd name="connsiteX316" fmla="*/ 13098 w 31039"/>
                          <a:gd name="connsiteY316" fmla="*/ 60465 h 73263"/>
                          <a:gd name="connsiteX317" fmla="*/ 13397 w 31039"/>
                          <a:gd name="connsiteY317" fmla="*/ 60107 h 73263"/>
                          <a:gd name="connsiteX318" fmla="*/ 13696 w 31039"/>
                          <a:gd name="connsiteY318" fmla="*/ 59747 h 73263"/>
                          <a:gd name="connsiteX319" fmla="*/ 12978 w 31039"/>
                          <a:gd name="connsiteY319" fmla="*/ 59269 h 73263"/>
                          <a:gd name="connsiteX320" fmla="*/ 12679 w 31039"/>
                          <a:gd name="connsiteY320" fmla="*/ 59628 h 73263"/>
                          <a:gd name="connsiteX321" fmla="*/ 12380 w 31039"/>
                          <a:gd name="connsiteY321" fmla="*/ 59987 h 73263"/>
                          <a:gd name="connsiteX322" fmla="*/ 12081 w 31039"/>
                          <a:gd name="connsiteY322" fmla="*/ 60346 h 73263"/>
                          <a:gd name="connsiteX323" fmla="*/ 11782 w 31039"/>
                          <a:gd name="connsiteY323" fmla="*/ 60704 h 73263"/>
                          <a:gd name="connsiteX324" fmla="*/ 10048 w 31039"/>
                          <a:gd name="connsiteY324" fmla="*/ 59568 h 73263"/>
                          <a:gd name="connsiteX325" fmla="*/ 10765 w 31039"/>
                          <a:gd name="connsiteY325" fmla="*/ 60047 h 73263"/>
                          <a:gd name="connsiteX326" fmla="*/ 11064 w 31039"/>
                          <a:gd name="connsiteY326" fmla="*/ 59688 h 73263"/>
                          <a:gd name="connsiteX327" fmla="*/ 11364 w 31039"/>
                          <a:gd name="connsiteY327" fmla="*/ 59329 h 73263"/>
                          <a:gd name="connsiteX328" fmla="*/ 11662 w 31039"/>
                          <a:gd name="connsiteY328" fmla="*/ 58970 h 73263"/>
                          <a:gd name="connsiteX329" fmla="*/ 11961 w 31039"/>
                          <a:gd name="connsiteY329" fmla="*/ 58611 h 73263"/>
                          <a:gd name="connsiteX330" fmla="*/ 11244 w 31039"/>
                          <a:gd name="connsiteY330" fmla="*/ 58133 h 73263"/>
                          <a:gd name="connsiteX331" fmla="*/ 10945 w 31039"/>
                          <a:gd name="connsiteY331" fmla="*/ 58492 h 73263"/>
                          <a:gd name="connsiteX332" fmla="*/ 10646 w 31039"/>
                          <a:gd name="connsiteY332" fmla="*/ 58850 h 73263"/>
                          <a:gd name="connsiteX333" fmla="*/ 10347 w 31039"/>
                          <a:gd name="connsiteY333" fmla="*/ 59209 h 73263"/>
                          <a:gd name="connsiteX334" fmla="*/ 10048 w 31039"/>
                          <a:gd name="connsiteY334" fmla="*/ 59568 h 73263"/>
                          <a:gd name="connsiteX335" fmla="*/ 9928 w 31039"/>
                          <a:gd name="connsiteY335" fmla="*/ 62857 h 73263"/>
                          <a:gd name="connsiteX336" fmla="*/ 10646 w 31039"/>
                          <a:gd name="connsiteY336" fmla="*/ 63336 h 73263"/>
                          <a:gd name="connsiteX337" fmla="*/ 10945 w 31039"/>
                          <a:gd name="connsiteY337" fmla="*/ 63037 h 73263"/>
                          <a:gd name="connsiteX338" fmla="*/ 11244 w 31039"/>
                          <a:gd name="connsiteY338" fmla="*/ 62738 h 73263"/>
                          <a:gd name="connsiteX339" fmla="*/ 11543 w 31039"/>
                          <a:gd name="connsiteY339" fmla="*/ 62439 h 73263"/>
                          <a:gd name="connsiteX340" fmla="*/ 11842 w 31039"/>
                          <a:gd name="connsiteY340" fmla="*/ 62140 h 73263"/>
                          <a:gd name="connsiteX341" fmla="*/ 11124 w 31039"/>
                          <a:gd name="connsiteY341" fmla="*/ 61661 h 73263"/>
                          <a:gd name="connsiteX342" fmla="*/ 10825 w 31039"/>
                          <a:gd name="connsiteY342" fmla="*/ 61961 h 73263"/>
                          <a:gd name="connsiteX343" fmla="*/ 10526 w 31039"/>
                          <a:gd name="connsiteY343" fmla="*/ 62260 h 73263"/>
                          <a:gd name="connsiteX344" fmla="*/ 10227 w 31039"/>
                          <a:gd name="connsiteY344" fmla="*/ 62558 h 73263"/>
                          <a:gd name="connsiteX345" fmla="*/ 9928 w 31039"/>
                          <a:gd name="connsiteY345" fmla="*/ 62857 h 73263"/>
                          <a:gd name="connsiteX346" fmla="*/ 8253 w 31039"/>
                          <a:gd name="connsiteY346" fmla="*/ 61781 h 73263"/>
                          <a:gd name="connsiteX347" fmla="*/ 8971 w 31039"/>
                          <a:gd name="connsiteY347" fmla="*/ 62260 h 73263"/>
                          <a:gd name="connsiteX348" fmla="*/ 9270 w 31039"/>
                          <a:gd name="connsiteY348" fmla="*/ 61961 h 73263"/>
                          <a:gd name="connsiteX349" fmla="*/ 9569 w 31039"/>
                          <a:gd name="connsiteY349" fmla="*/ 61661 h 73263"/>
                          <a:gd name="connsiteX350" fmla="*/ 9868 w 31039"/>
                          <a:gd name="connsiteY350" fmla="*/ 61362 h 73263"/>
                          <a:gd name="connsiteX351" fmla="*/ 10167 w 31039"/>
                          <a:gd name="connsiteY351" fmla="*/ 61063 h 73263"/>
                          <a:gd name="connsiteX352" fmla="*/ 9450 w 31039"/>
                          <a:gd name="connsiteY352" fmla="*/ 60585 h 73263"/>
                          <a:gd name="connsiteX353" fmla="*/ 9151 w 31039"/>
                          <a:gd name="connsiteY353" fmla="*/ 60884 h 73263"/>
                          <a:gd name="connsiteX354" fmla="*/ 8851 w 31039"/>
                          <a:gd name="connsiteY354" fmla="*/ 61183 h 73263"/>
                          <a:gd name="connsiteX355" fmla="*/ 8552 w 31039"/>
                          <a:gd name="connsiteY355" fmla="*/ 61482 h 73263"/>
                          <a:gd name="connsiteX356" fmla="*/ 8253 w 31039"/>
                          <a:gd name="connsiteY356" fmla="*/ 61781 h 73263"/>
                          <a:gd name="connsiteX357" fmla="*/ 0 w 31039"/>
                          <a:gd name="connsiteY357" fmla="*/ 71709 h 73263"/>
                          <a:gd name="connsiteX358" fmla="*/ 2452 w 31039"/>
                          <a:gd name="connsiteY358" fmla="*/ 73264 h 73263"/>
                          <a:gd name="connsiteX359" fmla="*/ 2811 w 31039"/>
                          <a:gd name="connsiteY359" fmla="*/ 72845 h 73263"/>
                          <a:gd name="connsiteX360" fmla="*/ 3409 w 31039"/>
                          <a:gd name="connsiteY360" fmla="*/ 72127 h 73263"/>
                          <a:gd name="connsiteX361" fmla="*/ 4007 w 31039"/>
                          <a:gd name="connsiteY361" fmla="*/ 71410 h 73263"/>
                          <a:gd name="connsiteX362" fmla="*/ 4605 w 31039"/>
                          <a:gd name="connsiteY362" fmla="*/ 70692 h 73263"/>
                          <a:gd name="connsiteX363" fmla="*/ 5203 w 31039"/>
                          <a:gd name="connsiteY363" fmla="*/ 69975 h 73263"/>
                          <a:gd name="connsiteX364" fmla="*/ 5383 w 31039"/>
                          <a:gd name="connsiteY364" fmla="*/ 69735 h 73263"/>
                          <a:gd name="connsiteX365" fmla="*/ 5562 w 31039"/>
                          <a:gd name="connsiteY365" fmla="*/ 69496 h 73263"/>
                          <a:gd name="connsiteX366" fmla="*/ 5742 w 31039"/>
                          <a:gd name="connsiteY366" fmla="*/ 69257 h 73263"/>
                          <a:gd name="connsiteX367" fmla="*/ 5921 w 31039"/>
                          <a:gd name="connsiteY367" fmla="*/ 69018 h 73263"/>
                          <a:gd name="connsiteX368" fmla="*/ 6818 w 31039"/>
                          <a:gd name="connsiteY368" fmla="*/ 67941 h 73263"/>
                          <a:gd name="connsiteX369" fmla="*/ 7715 w 31039"/>
                          <a:gd name="connsiteY369" fmla="*/ 66864 h 73263"/>
                          <a:gd name="connsiteX370" fmla="*/ 8612 w 31039"/>
                          <a:gd name="connsiteY370" fmla="*/ 65788 h 73263"/>
                          <a:gd name="connsiteX371" fmla="*/ 9510 w 31039"/>
                          <a:gd name="connsiteY371" fmla="*/ 64711 h 73263"/>
                          <a:gd name="connsiteX372" fmla="*/ 9629 w 31039"/>
                          <a:gd name="connsiteY372" fmla="*/ 64592 h 73263"/>
                          <a:gd name="connsiteX373" fmla="*/ 9749 w 31039"/>
                          <a:gd name="connsiteY373" fmla="*/ 64472 h 73263"/>
                          <a:gd name="connsiteX374" fmla="*/ 9868 w 31039"/>
                          <a:gd name="connsiteY374" fmla="*/ 64353 h 73263"/>
                          <a:gd name="connsiteX375" fmla="*/ 9988 w 31039"/>
                          <a:gd name="connsiteY375" fmla="*/ 64233 h 73263"/>
                          <a:gd name="connsiteX376" fmla="*/ 9270 w 31039"/>
                          <a:gd name="connsiteY376" fmla="*/ 63755 h 73263"/>
                          <a:gd name="connsiteX377" fmla="*/ 9151 w 31039"/>
                          <a:gd name="connsiteY377" fmla="*/ 63874 h 73263"/>
                          <a:gd name="connsiteX378" fmla="*/ 9031 w 31039"/>
                          <a:gd name="connsiteY378" fmla="*/ 63994 h 73263"/>
                          <a:gd name="connsiteX379" fmla="*/ 8911 w 31039"/>
                          <a:gd name="connsiteY379" fmla="*/ 64114 h 73263"/>
                          <a:gd name="connsiteX380" fmla="*/ 8792 w 31039"/>
                          <a:gd name="connsiteY380" fmla="*/ 64233 h 73263"/>
                          <a:gd name="connsiteX381" fmla="*/ 7895 w 31039"/>
                          <a:gd name="connsiteY381" fmla="*/ 65310 h 73263"/>
                          <a:gd name="connsiteX382" fmla="*/ 6997 w 31039"/>
                          <a:gd name="connsiteY382" fmla="*/ 66386 h 73263"/>
                          <a:gd name="connsiteX383" fmla="*/ 6100 w 31039"/>
                          <a:gd name="connsiteY383" fmla="*/ 67463 h 73263"/>
                          <a:gd name="connsiteX384" fmla="*/ 5203 w 31039"/>
                          <a:gd name="connsiteY384" fmla="*/ 68539 h 73263"/>
                          <a:gd name="connsiteX385" fmla="*/ 5024 w 31039"/>
                          <a:gd name="connsiteY385" fmla="*/ 68778 h 73263"/>
                          <a:gd name="connsiteX386" fmla="*/ 4844 w 31039"/>
                          <a:gd name="connsiteY386" fmla="*/ 69018 h 73263"/>
                          <a:gd name="connsiteX387" fmla="*/ 4665 w 31039"/>
                          <a:gd name="connsiteY387" fmla="*/ 69257 h 73263"/>
                          <a:gd name="connsiteX388" fmla="*/ 4486 w 31039"/>
                          <a:gd name="connsiteY388" fmla="*/ 69496 h 73263"/>
                          <a:gd name="connsiteX389" fmla="*/ 3947 w 31039"/>
                          <a:gd name="connsiteY389" fmla="*/ 70094 h 73263"/>
                          <a:gd name="connsiteX390" fmla="*/ 3469 w 31039"/>
                          <a:gd name="connsiteY390" fmla="*/ 70692 h 73263"/>
                          <a:gd name="connsiteX391" fmla="*/ 2990 w 31039"/>
                          <a:gd name="connsiteY391" fmla="*/ 71290 h 73263"/>
                          <a:gd name="connsiteX392" fmla="*/ 2512 w 31039"/>
                          <a:gd name="connsiteY392" fmla="*/ 71888 h 73263"/>
                          <a:gd name="connsiteX393" fmla="*/ 1555 w 31039"/>
                          <a:gd name="connsiteY393" fmla="*/ 71290 h 73263"/>
                          <a:gd name="connsiteX394" fmla="*/ 2034 w 31039"/>
                          <a:gd name="connsiteY394" fmla="*/ 70692 h 73263"/>
                          <a:gd name="connsiteX395" fmla="*/ 2512 w 31039"/>
                          <a:gd name="connsiteY395" fmla="*/ 70094 h 73263"/>
                          <a:gd name="connsiteX396" fmla="*/ 2990 w 31039"/>
                          <a:gd name="connsiteY396" fmla="*/ 69496 h 73263"/>
                          <a:gd name="connsiteX397" fmla="*/ 3529 w 31039"/>
                          <a:gd name="connsiteY397" fmla="*/ 68898 h 73263"/>
                          <a:gd name="connsiteX398" fmla="*/ 3708 w 31039"/>
                          <a:gd name="connsiteY398" fmla="*/ 68659 h 73263"/>
                          <a:gd name="connsiteX399" fmla="*/ 3888 w 31039"/>
                          <a:gd name="connsiteY399" fmla="*/ 68419 h 73263"/>
                          <a:gd name="connsiteX400" fmla="*/ 4067 w 31039"/>
                          <a:gd name="connsiteY400" fmla="*/ 68180 h 73263"/>
                          <a:gd name="connsiteX401" fmla="*/ 4246 w 31039"/>
                          <a:gd name="connsiteY401" fmla="*/ 67941 h 73263"/>
                          <a:gd name="connsiteX402" fmla="*/ 5143 w 31039"/>
                          <a:gd name="connsiteY402" fmla="*/ 66864 h 73263"/>
                          <a:gd name="connsiteX403" fmla="*/ 6100 w 31039"/>
                          <a:gd name="connsiteY403" fmla="*/ 65788 h 73263"/>
                          <a:gd name="connsiteX404" fmla="*/ 7057 w 31039"/>
                          <a:gd name="connsiteY404" fmla="*/ 64652 h 73263"/>
                          <a:gd name="connsiteX405" fmla="*/ 8014 w 31039"/>
                          <a:gd name="connsiteY405" fmla="*/ 63515 h 73263"/>
                          <a:gd name="connsiteX406" fmla="*/ 8134 w 31039"/>
                          <a:gd name="connsiteY406" fmla="*/ 63396 h 73263"/>
                          <a:gd name="connsiteX407" fmla="*/ 8253 w 31039"/>
                          <a:gd name="connsiteY407" fmla="*/ 63276 h 73263"/>
                          <a:gd name="connsiteX408" fmla="*/ 8373 w 31039"/>
                          <a:gd name="connsiteY408" fmla="*/ 63156 h 73263"/>
                          <a:gd name="connsiteX409" fmla="*/ 8493 w 31039"/>
                          <a:gd name="connsiteY409" fmla="*/ 63037 h 73263"/>
                          <a:gd name="connsiteX410" fmla="*/ 7775 w 31039"/>
                          <a:gd name="connsiteY410" fmla="*/ 62558 h 73263"/>
                          <a:gd name="connsiteX411" fmla="*/ 7715 w 31039"/>
                          <a:gd name="connsiteY411" fmla="*/ 62678 h 73263"/>
                          <a:gd name="connsiteX412" fmla="*/ 7656 w 31039"/>
                          <a:gd name="connsiteY412" fmla="*/ 62798 h 73263"/>
                          <a:gd name="connsiteX413" fmla="*/ 7596 w 31039"/>
                          <a:gd name="connsiteY413" fmla="*/ 62917 h 73263"/>
                          <a:gd name="connsiteX414" fmla="*/ 7536 w 31039"/>
                          <a:gd name="connsiteY414" fmla="*/ 63037 h 73263"/>
                          <a:gd name="connsiteX415" fmla="*/ 6579 w 31039"/>
                          <a:gd name="connsiteY415" fmla="*/ 64173 h 73263"/>
                          <a:gd name="connsiteX416" fmla="*/ 5622 w 31039"/>
                          <a:gd name="connsiteY416" fmla="*/ 65310 h 73263"/>
                          <a:gd name="connsiteX417" fmla="*/ 4665 w 31039"/>
                          <a:gd name="connsiteY417" fmla="*/ 66446 h 73263"/>
                          <a:gd name="connsiteX418" fmla="*/ 3768 w 31039"/>
                          <a:gd name="connsiteY418" fmla="*/ 67523 h 73263"/>
                          <a:gd name="connsiteX419" fmla="*/ 3588 w 31039"/>
                          <a:gd name="connsiteY419" fmla="*/ 67762 h 73263"/>
                          <a:gd name="connsiteX420" fmla="*/ 3409 w 31039"/>
                          <a:gd name="connsiteY420" fmla="*/ 68001 h 73263"/>
                          <a:gd name="connsiteX421" fmla="*/ 3229 w 31039"/>
                          <a:gd name="connsiteY421" fmla="*/ 68240 h 73263"/>
                          <a:gd name="connsiteX422" fmla="*/ 3050 w 31039"/>
                          <a:gd name="connsiteY422" fmla="*/ 68479 h 73263"/>
                          <a:gd name="connsiteX423" fmla="*/ 2452 w 31039"/>
                          <a:gd name="connsiteY423" fmla="*/ 69197 h 73263"/>
                          <a:gd name="connsiteX424" fmla="*/ 1854 w 31039"/>
                          <a:gd name="connsiteY424" fmla="*/ 69915 h 73263"/>
                          <a:gd name="connsiteX425" fmla="*/ 1256 w 31039"/>
                          <a:gd name="connsiteY425" fmla="*/ 70632 h 73263"/>
                          <a:gd name="connsiteX426" fmla="*/ 658 w 31039"/>
                          <a:gd name="connsiteY426" fmla="*/ 71350 h 73263"/>
                          <a:gd name="connsiteX427" fmla="*/ 0 w 31039"/>
                          <a:gd name="connsiteY427" fmla="*/ 71709 h 7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Lst>
                        <a:rect l="l" t="t" r="r" b="b"/>
                        <a:pathLst>
                          <a:path w="31039" h="73263">
                            <a:moveTo>
                              <a:pt x="18122" y="7596"/>
                            </a:moveTo>
                            <a:cubicBezTo>
                              <a:pt x="18181" y="7536"/>
                              <a:pt x="18241" y="7416"/>
                              <a:pt x="18301" y="7357"/>
                            </a:cubicBezTo>
                            <a:cubicBezTo>
                              <a:pt x="18361" y="7297"/>
                              <a:pt x="18421" y="7237"/>
                              <a:pt x="18481" y="7117"/>
                            </a:cubicBezTo>
                            <a:cubicBezTo>
                              <a:pt x="18540" y="7057"/>
                              <a:pt x="18600" y="6998"/>
                              <a:pt x="18660" y="6878"/>
                            </a:cubicBezTo>
                            <a:cubicBezTo>
                              <a:pt x="18720" y="6818"/>
                              <a:pt x="18780" y="6758"/>
                              <a:pt x="18839" y="6639"/>
                            </a:cubicBezTo>
                            <a:cubicBezTo>
                              <a:pt x="18421" y="6280"/>
                              <a:pt x="18062" y="5921"/>
                              <a:pt x="17643" y="5622"/>
                            </a:cubicBezTo>
                            <a:cubicBezTo>
                              <a:pt x="17225" y="5263"/>
                              <a:pt x="16806" y="4904"/>
                              <a:pt x="16387" y="4605"/>
                            </a:cubicBezTo>
                            <a:cubicBezTo>
                              <a:pt x="15968" y="4246"/>
                              <a:pt x="15490" y="3947"/>
                              <a:pt x="15012" y="3589"/>
                            </a:cubicBezTo>
                            <a:cubicBezTo>
                              <a:pt x="14533" y="3230"/>
                              <a:pt x="14055" y="2930"/>
                              <a:pt x="13576" y="2572"/>
                            </a:cubicBezTo>
                            <a:lnTo>
                              <a:pt x="14533" y="1376"/>
                            </a:lnTo>
                            <a:cubicBezTo>
                              <a:pt x="15012" y="1735"/>
                              <a:pt x="15490" y="2034"/>
                              <a:pt x="15909" y="2392"/>
                            </a:cubicBezTo>
                            <a:cubicBezTo>
                              <a:pt x="16387" y="2751"/>
                              <a:pt x="16806" y="3050"/>
                              <a:pt x="17225" y="3409"/>
                            </a:cubicBezTo>
                            <a:cubicBezTo>
                              <a:pt x="17643" y="3768"/>
                              <a:pt x="18062" y="4067"/>
                              <a:pt x="18481" y="4426"/>
                            </a:cubicBezTo>
                            <a:cubicBezTo>
                              <a:pt x="18899" y="4785"/>
                              <a:pt x="19258" y="5084"/>
                              <a:pt x="19676" y="5443"/>
                            </a:cubicBezTo>
                            <a:cubicBezTo>
                              <a:pt x="19736" y="5383"/>
                              <a:pt x="19796" y="5263"/>
                              <a:pt x="19856" y="5203"/>
                            </a:cubicBezTo>
                            <a:cubicBezTo>
                              <a:pt x="19916" y="5144"/>
                              <a:pt x="19976" y="5024"/>
                              <a:pt x="19976" y="4964"/>
                            </a:cubicBezTo>
                            <a:cubicBezTo>
                              <a:pt x="20035" y="4904"/>
                              <a:pt x="20095" y="4785"/>
                              <a:pt x="20095" y="4725"/>
                            </a:cubicBezTo>
                            <a:cubicBezTo>
                              <a:pt x="20155" y="4665"/>
                              <a:pt x="20215" y="4545"/>
                              <a:pt x="20215" y="4486"/>
                            </a:cubicBezTo>
                            <a:cubicBezTo>
                              <a:pt x="19796" y="4127"/>
                              <a:pt x="19377" y="3768"/>
                              <a:pt x="18959" y="3409"/>
                            </a:cubicBezTo>
                            <a:cubicBezTo>
                              <a:pt x="18540" y="3050"/>
                              <a:pt x="18062" y="2691"/>
                              <a:pt x="17643" y="2333"/>
                            </a:cubicBezTo>
                            <a:cubicBezTo>
                              <a:pt x="17165" y="1974"/>
                              <a:pt x="16746" y="1615"/>
                              <a:pt x="16268" y="1256"/>
                            </a:cubicBezTo>
                            <a:cubicBezTo>
                              <a:pt x="15789" y="897"/>
                              <a:pt x="15311" y="538"/>
                              <a:pt x="14773" y="239"/>
                            </a:cubicBezTo>
                            <a:lnTo>
                              <a:pt x="14414" y="0"/>
                            </a:lnTo>
                            <a:lnTo>
                              <a:pt x="12081" y="2930"/>
                            </a:lnTo>
                            <a:lnTo>
                              <a:pt x="12440" y="3170"/>
                            </a:lnTo>
                            <a:cubicBezTo>
                              <a:pt x="12978" y="3529"/>
                              <a:pt x="13457" y="3888"/>
                              <a:pt x="13995" y="4246"/>
                            </a:cubicBezTo>
                            <a:cubicBezTo>
                              <a:pt x="14473" y="4605"/>
                              <a:pt x="14952" y="4964"/>
                              <a:pt x="15430" y="5323"/>
                            </a:cubicBezTo>
                            <a:cubicBezTo>
                              <a:pt x="15909" y="5682"/>
                              <a:pt x="16387" y="6041"/>
                              <a:pt x="16806" y="6459"/>
                            </a:cubicBezTo>
                            <a:cubicBezTo>
                              <a:pt x="17225" y="6878"/>
                              <a:pt x="17703" y="7237"/>
                              <a:pt x="18122" y="7596"/>
                            </a:cubicBezTo>
                            <a:moveTo>
                              <a:pt x="28289" y="30621"/>
                            </a:moveTo>
                            <a:cubicBezTo>
                              <a:pt x="28349" y="30203"/>
                              <a:pt x="28408" y="29844"/>
                              <a:pt x="28468" y="29425"/>
                            </a:cubicBezTo>
                            <a:cubicBezTo>
                              <a:pt x="28528" y="29007"/>
                              <a:pt x="28588" y="28648"/>
                              <a:pt x="28588" y="28229"/>
                            </a:cubicBezTo>
                            <a:cubicBezTo>
                              <a:pt x="28648" y="27811"/>
                              <a:pt x="28648" y="27452"/>
                              <a:pt x="28648" y="27033"/>
                            </a:cubicBezTo>
                            <a:cubicBezTo>
                              <a:pt x="28648" y="26614"/>
                              <a:pt x="28648" y="26255"/>
                              <a:pt x="28648" y="25837"/>
                            </a:cubicBezTo>
                            <a:cubicBezTo>
                              <a:pt x="28648" y="25777"/>
                              <a:pt x="28648" y="25717"/>
                              <a:pt x="28648" y="25598"/>
                            </a:cubicBezTo>
                            <a:cubicBezTo>
                              <a:pt x="28648" y="25538"/>
                              <a:pt x="28648" y="25478"/>
                              <a:pt x="28648" y="25358"/>
                            </a:cubicBezTo>
                            <a:cubicBezTo>
                              <a:pt x="28648" y="25299"/>
                              <a:pt x="28648" y="25239"/>
                              <a:pt x="28648" y="25119"/>
                            </a:cubicBezTo>
                            <a:cubicBezTo>
                              <a:pt x="28648" y="25059"/>
                              <a:pt x="28648" y="24999"/>
                              <a:pt x="28648" y="24880"/>
                            </a:cubicBezTo>
                            <a:cubicBezTo>
                              <a:pt x="28648" y="24760"/>
                              <a:pt x="28648" y="24641"/>
                              <a:pt x="28648" y="24521"/>
                            </a:cubicBezTo>
                            <a:cubicBezTo>
                              <a:pt x="28648" y="24401"/>
                              <a:pt x="28648" y="24282"/>
                              <a:pt x="28648" y="24162"/>
                            </a:cubicBezTo>
                            <a:cubicBezTo>
                              <a:pt x="28648" y="24043"/>
                              <a:pt x="28648" y="23923"/>
                              <a:pt x="28588" y="23804"/>
                            </a:cubicBezTo>
                            <a:cubicBezTo>
                              <a:pt x="28588" y="23684"/>
                              <a:pt x="28588" y="23564"/>
                              <a:pt x="28528" y="23445"/>
                            </a:cubicBezTo>
                            <a:cubicBezTo>
                              <a:pt x="28349" y="22009"/>
                              <a:pt x="28050" y="20574"/>
                              <a:pt x="27571" y="19138"/>
                            </a:cubicBezTo>
                            <a:cubicBezTo>
                              <a:pt x="27093" y="17763"/>
                              <a:pt x="26495" y="16328"/>
                              <a:pt x="25717" y="15012"/>
                            </a:cubicBezTo>
                            <a:cubicBezTo>
                              <a:pt x="24940" y="13636"/>
                              <a:pt x="24043" y="12320"/>
                              <a:pt x="22966" y="11005"/>
                            </a:cubicBezTo>
                            <a:cubicBezTo>
                              <a:pt x="21890" y="9689"/>
                              <a:pt x="20693" y="8373"/>
                              <a:pt x="19318" y="7117"/>
                            </a:cubicBezTo>
                            <a:cubicBezTo>
                              <a:pt x="19258" y="7177"/>
                              <a:pt x="19198" y="7237"/>
                              <a:pt x="19138" y="7357"/>
                            </a:cubicBezTo>
                            <a:cubicBezTo>
                              <a:pt x="19079" y="7416"/>
                              <a:pt x="19019" y="7476"/>
                              <a:pt x="18959" y="7596"/>
                            </a:cubicBezTo>
                            <a:cubicBezTo>
                              <a:pt x="18899" y="7715"/>
                              <a:pt x="18839" y="7715"/>
                              <a:pt x="18780" y="7835"/>
                            </a:cubicBezTo>
                            <a:cubicBezTo>
                              <a:pt x="18720" y="7895"/>
                              <a:pt x="18660" y="7954"/>
                              <a:pt x="18600" y="8074"/>
                            </a:cubicBezTo>
                            <a:cubicBezTo>
                              <a:pt x="19856" y="9211"/>
                              <a:pt x="20933" y="10406"/>
                              <a:pt x="21890" y="11603"/>
                            </a:cubicBezTo>
                            <a:cubicBezTo>
                              <a:pt x="22846" y="12799"/>
                              <a:pt x="23684" y="13995"/>
                              <a:pt x="24401" y="15191"/>
                            </a:cubicBezTo>
                            <a:cubicBezTo>
                              <a:pt x="25119" y="16387"/>
                              <a:pt x="25717" y="17643"/>
                              <a:pt x="26196" y="18899"/>
                            </a:cubicBezTo>
                            <a:cubicBezTo>
                              <a:pt x="26674" y="20155"/>
                              <a:pt x="27033" y="21411"/>
                              <a:pt x="27212" y="22727"/>
                            </a:cubicBezTo>
                            <a:cubicBezTo>
                              <a:pt x="27212" y="22846"/>
                              <a:pt x="27272" y="22966"/>
                              <a:pt x="27272" y="23086"/>
                            </a:cubicBezTo>
                            <a:cubicBezTo>
                              <a:pt x="27272" y="23205"/>
                              <a:pt x="27332" y="23325"/>
                              <a:pt x="27332" y="23445"/>
                            </a:cubicBezTo>
                            <a:cubicBezTo>
                              <a:pt x="27332" y="23564"/>
                              <a:pt x="27392" y="23684"/>
                              <a:pt x="27392" y="23804"/>
                            </a:cubicBezTo>
                            <a:cubicBezTo>
                              <a:pt x="27392" y="23923"/>
                              <a:pt x="27392" y="24043"/>
                              <a:pt x="27452" y="24162"/>
                            </a:cubicBezTo>
                            <a:cubicBezTo>
                              <a:pt x="27452" y="24342"/>
                              <a:pt x="27452" y="24461"/>
                              <a:pt x="27511" y="24641"/>
                            </a:cubicBezTo>
                            <a:cubicBezTo>
                              <a:pt x="27511" y="24820"/>
                              <a:pt x="27511" y="24940"/>
                              <a:pt x="27571" y="25119"/>
                            </a:cubicBezTo>
                            <a:cubicBezTo>
                              <a:pt x="27571" y="25299"/>
                              <a:pt x="27571" y="25418"/>
                              <a:pt x="27571" y="25598"/>
                            </a:cubicBezTo>
                            <a:cubicBezTo>
                              <a:pt x="27571" y="25777"/>
                              <a:pt x="27571" y="25897"/>
                              <a:pt x="27571" y="26076"/>
                            </a:cubicBezTo>
                            <a:cubicBezTo>
                              <a:pt x="27571" y="26315"/>
                              <a:pt x="27571" y="26554"/>
                              <a:pt x="27571" y="26794"/>
                            </a:cubicBezTo>
                            <a:cubicBezTo>
                              <a:pt x="27571" y="27033"/>
                              <a:pt x="27571" y="27272"/>
                              <a:pt x="27511" y="27512"/>
                            </a:cubicBezTo>
                            <a:cubicBezTo>
                              <a:pt x="27511" y="27751"/>
                              <a:pt x="27452" y="27990"/>
                              <a:pt x="27452" y="28229"/>
                            </a:cubicBezTo>
                            <a:cubicBezTo>
                              <a:pt x="27452" y="28468"/>
                              <a:pt x="27392" y="28708"/>
                              <a:pt x="27392" y="28947"/>
                            </a:cubicBezTo>
                            <a:cubicBezTo>
                              <a:pt x="27452" y="29067"/>
                              <a:pt x="27511" y="29186"/>
                              <a:pt x="27571" y="29306"/>
                            </a:cubicBezTo>
                            <a:cubicBezTo>
                              <a:pt x="27631" y="29425"/>
                              <a:pt x="27691" y="29545"/>
                              <a:pt x="27751" y="29665"/>
                            </a:cubicBezTo>
                            <a:cubicBezTo>
                              <a:pt x="27811" y="29784"/>
                              <a:pt x="27870" y="29904"/>
                              <a:pt x="27930" y="30023"/>
                            </a:cubicBezTo>
                            <a:cubicBezTo>
                              <a:pt x="27990" y="30143"/>
                              <a:pt x="28229" y="30502"/>
                              <a:pt x="28289" y="30621"/>
                            </a:cubicBezTo>
                            <a:moveTo>
                              <a:pt x="29605" y="34150"/>
                            </a:moveTo>
                            <a:cubicBezTo>
                              <a:pt x="29605" y="34090"/>
                              <a:pt x="29605" y="34090"/>
                              <a:pt x="29665" y="34030"/>
                            </a:cubicBezTo>
                            <a:cubicBezTo>
                              <a:pt x="29665" y="33970"/>
                              <a:pt x="29665" y="33970"/>
                              <a:pt x="29724" y="33911"/>
                            </a:cubicBezTo>
                            <a:cubicBezTo>
                              <a:pt x="29724" y="33851"/>
                              <a:pt x="29724" y="33851"/>
                              <a:pt x="29784" y="33791"/>
                            </a:cubicBezTo>
                            <a:cubicBezTo>
                              <a:pt x="29784" y="33731"/>
                              <a:pt x="29784" y="33731"/>
                              <a:pt x="29844" y="33671"/>
                            </a:cubicBezTo>
                            <a:cubicBezTo>
                              <a:pt x="30023" y="33074"/>
                              <a:pt x="30203" y="32475"/>
                              <a:pt x="30322" y="31937"/>
                            </a:cubicBezTo>
                            <a:cubicBezTo>
                              <a:pt x="30442" y="31339"/>
                              <a:pt x="30561" y="30741"/>
                              <a:pt x="30681" y="30143"/>
                            </a:cubicBezTo>
                            <a:cubicBezTo>
                              <a:pt x="30801" y="29545"/>
                              <a:pt x="30861" y="28947"/>
                              <a:pt x="30920" y="28349"/>
                            </a:cubicBezTo>
                            <a:cubicBezTo>
                              <a:pt x="30980" y="27751"/>
                              <a:pt x="31040" y="27153"/>
                              <a:pt x="31040" y="26554"/>
                            </a:cubicBezTo>
                            <a:cubicBezTo>
                              <a:pt x="31040" y="26435"/>
                              <a:pt x="31040" y="26315"/>
                              <a:pt x="31040" y="26255"/>
                            </a:cubicBezTo>
                            <a:cubicBezTo>
                              <a:pt x="31040" y="26136"/>
                              <a:pt x="31040" y="26016"/>
                              <a:pt x="31040" y="25956"/>
                            </a:cubicBezTo>
                            <a:cubicBezTo>
                              <a:pt x="31040" y="25897"/>
                              <a:pt x="31040" y="25717"/>
                              <a:pt x="31040" y="25658"/>
                            </a:cubicBezTo>
                            <a:cubicBezTo>
                              <a:pt x="31040" y="25538"/>
                              <a:pt x="31040" y="25418"/>
                              <a:pt x="31040" y="25358"/>
                            </a:cubicBezTo>
                            <a:cubicBezTo>
                              <a:pt x="31040" y="25358"/>
                              <a:pt x="31040" y="25358"/>
                              <a:pt x="31040" y="25358"/>
                            </a:cubicBezTo>
                            <a:cubicBezTo>
                              <a:pt x="31040" y="25358"/>
                              <a:pt x="31040" y="25358"/>
                              <a:pt x="31040" y="25358"/>
                            </a:cubicBezTo>
                            <a:cubicBezTo>
                              <a:pt x="31040" y="25358"/>
                              <a:pt x="31040" y="25358"/>
                              <a:pt x="31040" y="25358"/>
                            </a:cubicBezTo>
                            <a:cubicBezTo>
                              <a:pt x="31040" y="25358"/>
                              <a:pt x="31040" y="25358"/>
                              <a:pt x="31040" y="25358"/>
                            </a:cubicBezTo>
                            <a:cubicBezTo>
                              <a:pt x="31040" y="23504"/>
                              <a:pt x="30801" y="21710"/>
                              <a:pt x="30382" y="19976"/>
                            </a:cubicBezTo>
                            <a:cubicBezTo>
                              <a:pt x="29963" y="18241"/>
                              <a:pt x="29306" y="16507"/>
                              <a:pt x="28468" y="14832"/>
                            </a:cubicBezTo>
                            <a:cubicBezTo>
                              <a:pt x="27631" y="13158"/>
                              <a:pt x="26554" y="11483"/>
                              <a:pt x="25298" y="9868"/>
                            </a:cubicBezTo>
                            <a:cubicBezTo>
                              <a:pt x="24043" y="8253"/>
                              <a:pt x="22547" y="6639"/>
                              <a:pt x="20873" y="5084"/>
                            </a:cubicBezTo>
                            <a:cubicBezTo>
                              <a:pt x="20813" y="5144"/>
                              <a:pt x="20753" y="5263"/>
                              <a:pt x="20753" y="5323"/>
                            </a:cubicBezTo>
                            <a:cubicBezTo>
                              <a:pt x="20753" y="5383"/>
                              <a:pt x="20634" y="5503"/>
                              <a:pt x="20634" y="5562"/>
                            </a:cubicBezTo>
                            <a:cubicBezTo>
                              <a:pt x="20634" y="5622"/>
                              <a:pt x="20514" y="5742"/>
                              <a:pt x="20454" y="5801"/>
                            </a:cubicBezTo>
                            <a:cubicBezTo>
                              <a:pt x="20394" y="5861"/>
                              <a:pt x="20335" y="5981"/>
                              <a:pt x="20275" y="6041"/>
                            </a:cubicBezTo>
                            <a:cubicBezTo>
                              <a:pt x="21830" y="7476"/>
                              <a:pt x="23205" y="8911"/>
                              <a:pt x="24401" y="10406"/>
                            </a:cubicBezTo>
                            <a:cubicBezTo>
                              <a:pt x="25598" y="11902"/>
                              <a:pt x="26554" y="13397"/>
                              <a:pt x="27392" y="14952"/>
                            </a:cubicBezTo>
                            <a:cubicBezTo>
                              <a:pt x="28169" y="16507"/>
                              <a:pt x="28827" y="18062"/>
                              <a:pt x="29246" y="19677"/>
                            </a:cubicBezTo>
                            <a:cubicBezTo>
                              <a:pt x="29665" y="21291"/>
                              <a:pt x="29963" y="22906"/>
                              <a:pt x="30023" y="24581"/>
                            </a:cubicBezTo>
                            <a:cubicBezTo>
                              <a:pt x="30023" y="24641"/>
                              <a:pt x="30023" y="24760"/>
                              <a:pt x="30023" y="24820"/>
                            </a:cubicBezTo>
                            <a:cubicBezTo>
                              <a:pt x="30023" y="24880"/>
                              <a:pt x="30023" y="24999"/>
                              <a:pt x="30023" y="25059"/>
                            </a:cubicBezTo>
                            <a:cubicBezTo>
                              <a:pt x="30023" y="25119"/>
                              <a:pt x="30023" y="25239"/>
                              <a:pt x="30023" y="25299"/>
                            </a:cubicBezTo>
                            <a:cubicBezTo>
                              <a:pt x="30023" y="25358"/>
                              <a:pt x="30023" y="25478"/>
                              <a:pt x="30023" y="25538"/>
                            </a:cubicBezTo>
                            <a:cubicBezTo>
                              <a:pt x="30023" y="25538"/>
                              <a:pt x="30023" y="25598"/>
                              <a:pt x="30023" y="25598"/>
                            </a:cubicBezTo>
                            <a:cubicBezTo>
                              <a:pt x="30023" y="25598"/>
                              <a:pt x="30023" y="25658"/>
                              <a:pt x="30023" y="25658"/>
                            </a:cubicBezTo>
                            <a:cubicBezTo>
                              <a:pt x="30023" y="25658"/>
                              <a:pt x="30023" y="25717"/>
                              <a:pt x="30023" y="25717"/>
                            </a:cubicBezTo>
                            <a:cubicBezTo>
                              <a:pt x="30023" y="25717"/>
                              <a:pt x="30023" y="25777"/>
                              <a:pt x="30023" y="25777"/>
                            </a:cubicBezTo>
                            <a:cubicBezTo>
                              <a:pt x="30023" y="26315"/>
                              <a:pt x="30023" y="26853"/>
                              <a:pt x="29963" y="27452"/>
                            </a:cubicBezTo>
                            <a:cubicBezTo>
                              <a:pt x="29904" y="27990"/>
                              <a:pt x="29844" y="28528"/>
                              <a:pt x="29784" y="29126"/>
                            </a:cubicBezTo>
                            <a:cubicBezTo>
                              <a:pt x="29724" y="29665"/>
                              <a:pt x="29605" y="30203"/>
                              <a:pt x="29485" y="30801"/>
                            </a:cubicBezTo>
                            <a:cubicBezTo>
                              <a:pt x="29366" y="31339"/>
                              <a:pt x="29246" y="31877"/>
                              <a:pt x="29126" y="32475"/>
                            </a:cubicBezTo>
                            <a:cubicBezTo>
                              <a:pt x="29186" y="32595"/>
                              <a:pt x="29246" y="32715"/>
                              <a:pt x="29246" y="32894"/>
                            </a:cubicBezTo>
                            <a:cubicBezTo>
                              <a:pt x="29246" y="33074"/>
                              <a:pt x="29306" y="33133"/>
                              <a:pt x="29366" y="33313"/>
                            </a:cubicBezTo>
                            <a:cubicBezTo>
                              <a:pt x="29425" y="33492"/>
                              <a:pt x="29425" y="33552"/>
                              <a:pt x="29485" y="33731"/>
                            </a:cubicBezTo>
                            <a:cubicBezTo>
                              <a:pt x="29545" y="33911"/>
                              <a:pt x="29605" y="34030"/>
                              <a:pt x="29605" y="34150"/>
                            </a:cubicBezTo>
                            <a:moveTo>
                              <a:pt x="27212" y="34688"/>
                            </a:moveTo>
                            <a:cubicBezTo>
                              <a:pt x="27272" y="34569"/>
                              <a:pt x="27272" y="34509"/>
                              <a:pt x="27332" y="34389"/>
                            </a:cubicBezTo>
                            <a:cubicBezTo>
                              <a:pt x="27332" y="34270"/>
                              <a:pt x="27392" y="34210"/>
                              <a:pt x="27392" y="34090"/>
                            </a:cubicBezTo>
                            <a:cubicBezTo>
                              <a:pt x="27392" y="33970"/>
                              <a:pt x="27452" y="33911"/>
                              <a:pt x="27452" y="33791"/>
                            </a:cubicBezTo>
                            <a:cubicBezTo>
                              <a:pt x="27452" y="33671"/>
                              <a:pt x="27511" y="33612"/>
                              <a:pt x="27511" y="33492"/>
                            </a:cubicBezTo>
                            <a:cubicBezTo>
                              <a:pt x="27511" y="33373"/>
                              <a:pt x="27571" y="33313"/>
                              <a:pt x="27571" y="33193"/>
                            </a:cubicBezTo>
                            <a:cubicBezTo>
                              <a:pt x="27571" y="33074"/>
                              <a:pt x="27631" y="33014"/>
                              <a:pt x="27631" y="32894"/>
                            </a:cubicBezTo>
                            <a:cubicBezTo>
                              <a:pt x="27631" y="32775"/>
                              <a:pt x="27691" y="32715"/>
                              <a:pt x="27691" y="32595"/>
                            </a:cubicBezTo>
                            <a:cubicBezTo>
                              <a:pt x="27691" y="32475"/>
                              <a:pt x="27751" y="32416"/>
                              <a:pt x="27751" y="32296"/>
                            </a:cubicBezTo>
                            <a:cubicBezTo>
                              <a:pt x="27751" y="32296"/>
                              <a:pt x="27751" y="32296"/>
                              <a:pt x="27751" y="32296"/>
                            </a:cubicBezTo>
                            <a:cubicBezTo>
                              <a:pt x="27751" y="32296"/>
                              <a:pt x="27751" y="32296"/>
                              <a:pt x="27751" y="32296"/>
                            </a:cubicBezTo>
                            <a:cubicBezTo>
                              <a:pt x="27751" y="32296"/>
                              <a:pt x="27751" y="32296"/>
                              <a:pt x="27751" y="32296"/>
                            </a:cubicBezTo>
                            <a:cubicBezTo>
                              <a:pt x="27751" y="32296"/>
                              <a:pt x="27751" y="32296"/>
                              <a:pt x="27751" y="32296"/>
                            </a:cubicBezTo>
                            <a:cubicBezTo>
                              <a:pt x="27691" y="32176"/>
                              <a:pt x="27631" y="32057"/>
                              <a:pt x="27571" y="31937"/>
                            </a:cubicBezTo>
                            <a:cubicBezTo>
                              <a:pt x="27511" y="31817"/>
                              <a:pt x="27452" y="31698"/>
                              <a:pt x="27392" y="31578"/>
                            </a:cubicBezTo>
                            <a:cubicBezTo>
                              <a:pt x="27332" y="31459"/>
                              <a:pt x="27272" y="31339"/>
                              <a:pt x="27212" y="31220"/>
                            </a:cubicBezTo>
                            <a:cubicBezTo>
                              <a:pt x="27152" y="31100"/>
                              <a:pt x="27093" y="30980"/>
                              <a:pt x="27033" y="30861"/>
                            </a:cubicBezTo>
                            <a:cubicBezTo>
                              <a:pt x="27033" y="30921"/>
                              <a:pt x="26973" y="31040"/>
                              <a:pt x="26973" y="31100"/>
                            </a:cubicBezTo>
                            <a:cubicBezTo>
                              <a:pt x="26973" y="31160"/>
                              <a:pt x="26913" y="31279"/>
                              <a:pt x="26913" y="31339"/>
                            </a:cubicBezTo>
                            <a:cubicBezTo>
                              <a:pt x="26913" y="31399"/>
                              <a:pt x="26853" y="31519"/>
                              <a:pt x="26853" y="31578"/>
                            </a:cubicBezTo>
                            <a:cubicBezTo>
                              <a:pt x="26853" y="31638"/>
                              <a:pt x="26794" y="31758"/>
                              <a:pt x="26794" y="31817"/>
                            </a:cubicBezTo>
                            <a:cubicBezTo>
                              <a:pt x="26794" y="31937"/>
                              <a:pt x="26734" y="31997"/>
                              <a:pt x="26734" y="32116"/>
                            </a:cubicBezTo>
                            <a:cubicBezTo>
                              <a:pt x="26734" y="32236"/>
                              <a:pt x="26674" y="32296"/>
                              <a:pt x="26674" y="32416"/>
                            </a:cubicBezTo>
                            <a:cubicBezTo>
                              <a:pt x="26674" y="32535"/>
                              <a:pt x="26614" y="32595"/>
                              <a:pt x="26614" y="32715"/>
                            </a:cubicBezTo>
                            <a:cubicBezTo>
                              <a:pt x="26614" y="32834"/>
                              <a:pt x="26554" y="32894"/>
                              <a:pt x="26554" y="33014"/>
                            </a:cubicBezTo>
                            <a:cubicBezTo>
                              <a:pt x="26554" y="33014"/>
                              <a:pt x="26554" y="33014"/>
                              <a:pt x="26554" y="33074"/>
                            </a:cubicBezTo>
                            <a:cubicBezTo>
                              <a:pt x="26554" y="33074"/>
                              <a:pt x="26554" y="33074"/>
                              <a:pt x="26554" y="33133"/>
                            </a:cubicBezTo>
                            <a:cubicBezTo>
                              <a:pt x="26554" y="33133"/>
                              <a:pt x="26554" y="33133"/>
                              <a:pt x="26554" y="33193"/>
                            </a:cubicBezTo>
                            <a:cubicBezTo>
                              <a:pt x="26554" y="33193"/>
                              <a:pt x="26554" y="33193"/>
                              <a:pt x="26554" y="33253"/>
                            </a:cubicBezTo>
                            <a:cubicBezTo>
                              <a:pt x="26614" y="33373"/>
                              <a:pt x="26674" y="33492"/>
                              <a:pt x="26674" y="33612"/>
                            </a:cubicBezTo>
                            <a:cubicBezTo>
                              <a:pt x="26674" y="33731"/>
                              <a:pt x="26794" y="33851"/>
                              <a:pt x="26794" y="33970"/>
                            </a:cubicBezTo>
                            <a:cubicBezTo>
                              <a:pt x="26853" y="34090"/>
                              <a:pt x="26853" y="34210"/>
                              <a:pt x="26913" y="34329"/>
                            </a:cubicBezTo>
                            <a:cubicBezTo>
                              <a:pt x="26973" y="34449"/>
                              <a:pt x="27212" y="34509"/>
                              <a:pt x="27212" y="34688"/>
                            </a:cubicBezTo>
                            <a:moveTo>
                              <a:pt x="27990" y="38516"/>
                            </a:moveTo>
                            <a:cubicBezTo>
                              <a:pt x="27990" y="38456"/>
                              <a:pt x="28050" y="38396"/>
                              <a:pt x="28050" y="38337"/>
                            </a:cubicBezTo>
                            <a:cubicBezTo>
                              <a:pt x="28050" y="38277"/>
                              <a:pt x="28109" y="38217"/>
                              <a:pt x="28109" y="38157"/>
                            </a:cubicBezTo>
                            <a:cubicBezTo>
                              <a:pt x="28109" y="38097"/>
                              <a:pt x="28169" y="38038"/>
                              <a:pt x="28169" y="37978"/>
                            </a:cubicBezTo>
                            <a:cubicBezTo>
                              <a:pt x="28169" y="37918"/>
                              <a:pt x="28229" y="37858"/>
                              <a:pt x="28229" y="37798"/>
                            </a:cubicBezTo>
                            <a:cubicBezTo>
                              <a:pt x="28289" y="37679"/>
                              <a:pt x="28349" y="37499"/>
                              <a:pt x="28408" y="37380"/>
                            </a:cubicBezTo>
                            <a:cubicBezTo>
                              <a:pt x="28468" y="37260"/>
                              <a:pt x="28528" y="37081"/>
                              <a:pt x="28588" y="36961"/>
                            </a:cubicBezTo>
                            <a:cubicBezTo>
                              <a:pt x="28648" y="36841"/>
                              <a:pt x="28707" y="36662"/>
                              <a:pt x="28767" y="36542"/>
                            </a:cubicBezTo>
                            <a:cubicBezTo>
                              <a:pt x="28827" y="36423"/>
                              <a:pt x="28887" y="36243"/>
                              <a:pt x="28947" y="36124"/>
                            </a:cubicBezTo>
                            <a:cubicBezTo>
                              <a:pt x="28947" y="36004"/>
                              <a:pt x="28887" y="35824"/>
                              <a:pt x="28887" y="35705"/>
                            </a:cubicBezTo>
                            <a:cubicBezTo>
                              <a:pt x="28827" y="35585"/>
                              <a:pt x="28827" y="35406"/>
                              <a:pt x="28767" y="35286"/>
                            </a:cubicBezTo>
                            <a:cubicBezTo>
                              <a:pt x="28707" y="35167"/>
                              <a:pt x="28707" y="34987"/>
                              <a:pt x="28648" y="34868"/>
                            </a:cubicBezTo>
                            <a:cubicBezTo>
                              <a:pt x="28588" y="34748"/>
                              <a:pt x="28588" y="34569"/>
                              <a:pt x="28528" y="34449"/>
                            </a:cubicBezTo>
                            <a:cubicBezTo>
                              <a:pt x="28468" y="34629"/>
                              <a:pt x="28408" y="34808"/>
                              <a:pt x="28349" y="35047"/>
                            </a:cubicBezTo>
                            <a:cubicBezTo>
                              <a:pt x="28289" y="35227"/>
                              <a:pt x="28229" y="35406"/>
                              <a:pt x="28169" y="35645"/>
                            </a:cubicBezTo>
                            <a:cubicBezTo>
                              <a:pt x="28109" y="35884"/>
                              <a:pt x="28050" y="36004"/>
                              <a:pt x="27930" y="36243"/>
                            </a:cubicBezTo>
                            <a:cubicBezTo>
                              <a:pt x="27811" y="36483"/>
                              <a:pt x="27811" y="36602"/>
                              <a:pt x="27691" y="36841"/>
                            </a:cubicBezTo>
                            <a:cubicBezTo>
                              <a:pt x="27691" y="36961"/>
                              <a:pt x="27751" y="37140"/>
                              <a:pt x="27751" y="37260"/>
                            </a:cubicBezTo>
                            <a:cubicBezTo>
                              <a:pt x="27751" y="37380"/>
                              <a:pt x="27811" y="37559"/>
                              <a:pt x="27811" y="37679"/>
                            </a:cubicBezTo>
                            <a:cubicBezTo>
                              <a:pt x="27811" y="37798"/>
                              <a:pt x="27870" y="37978"/>
                              <a:pt x="27870" y="38097"/>
                            </a:cubicBezTo>
                            <a:cubicBezTo>
                              <a:pt x="27990" y="38217"/>
                              <a:pt x="27990" y="38337"/>
                              <a:pt x="27990" y="38516"/>
                            </a:cubicBezTo>
                            <a:moveTo>
                              <a:pt x="13696" y="58372"/>
                            </a:moveTo>
                            <a:lnTo>
                              <a:pt x="14414" y="58850"/>
                            </a:lnTo>
                            <a:cubicBezTo>
                              <a:pt x="14952" y="58193"/>
                              <a:pt x="15490" y="57535"/>
                              <a:pt x="16028" y="56817"/>
                            </a:cubicBezTo>
                            <a:cubicBezTo>
                              <a:pt x="16567" y="56099"/>
                              <a:pt x="17105" y="55441"/>
                              <a:pt x="17643" y="54784"/>
                            </a:cubicBezTo>
                            <a:cubicBezTo>
                              <a:pt x="18181" y="54126"/>
                              <a:pt x="18720" y="53408"/>
                              <a:pt x="19198" y="52690"/>
                            </a:cubicBezTo>
                            <a:cubicBezTo>
                              <a:pt x="19736" y="51972"/>
                              <a:pt x="20215" y="51315"/>
                              <a:pt x="20753" y="50597"/>
                            </a:cubicBezTo>
                            <a:cubicBezTo>
                              <a:pt x="20813" y="50537"/>
                              <a:pt x="20873" y="50477"/>
                              <a:pt x="20933" y="50358"/>
                            </a:cubicBezTo>
                            <a:cubicBezTo>
                              <a:pt x="20992" y="50238"/>
                              <a:pt x="21052" y="50238"/>
                              <a:pt x="21112" y="50118"/>
                            </a:cubicBezTo>
                            <a:cubicBezTo>
                              <a:pt x="21172" y="50059"/>
                              <a:pt x="21231" y="49999"/>
                              <a:pt x="21291" y="49879"/>
                            </a:cubicBezTo>
                            <a:cubicBezTo>
                              <a:pt x="21351" y="49820"/>
                              <a:pt x="21411" y="49760"/>
                              <a:pt x="21471" y="49640"/>
                            </a:cubicBezTo>
                            <a:cubicBezTo>
                              <a:pt x="21770" y="49222"/>
                              <a:pt x="22009" y="48863"/>
                              <a:pt x="22308" y="48444"/>
                            </a:cubicBezTo>
                            <a:cubicBezTo>
                              <a:pt x="22607" y="48025"/>
                              <a:pt x="22846" y="47667"/>
                              <a:pt x="23086" y="47248"/>
                            </a:cubicBezTo>
                            <a:cubicBezTo>
                              <a:pt x="23325" y="46829"/>
                              <a:pt x="23624" y="46470"/>
                              <a:pt x="23863" y="46052"/>
                            </a:cubicBezTo>
                            <a:cubicBezTo>
                              <a:pt x="24102" y="45633"/>
                              <a:pt x="24342" y="45274"/>
                              <a:pt x="24581" y="44855"/>
                            </a:cubicBezTo>
                            <a:cubicBezTo>
                              <a:pt x="24641" y="44796"/>
                              <a:pt x="24700" y="44676"/>
                              <a:pt x="24700" y="44616"/>
                            </a:cubicBezTo>
                            <a:cubicBezTo>
                              <a:pt x="24700" y="44556"/>
                              <a:pt x="24820" y="44437"/>
                              <a:pt x="24820" y="44377"/>
                            </a:cubicBezTo>
                            <a:cubicBezTo>
                              <a:pt x="24880" y="44317"/>
                              <a:pt x="24940" y="44198"/>
                              <a:pt x="24940" y="44138"/>
                            </a:cubicBezTo>
                            <a:cubicBezTo>
                              <a:pt x="24999" y="44078"/>
                              <a:pt x="25059" y="43959"/>
                              <a:pt x="25059" y="43899"/>
                            </a:cubicBezTo>
                            <a:cubicBezTo>
                              <a:pt x="25119" y="43779"/>
                              <a:pt x="25179" y="43660"/>
                              <a:pt x="25239" y="43540"/>
                            </a:cubicBezTo>
                            <a:cubicBezTo>
                              <a:pt x="25298" y="43420"/>
                              <a:pt x="25358" y="43300"/>
                              <a:pt x="25418" y="43181"/>
                            </a:cubicBezTo>
                            <a:cubicBezTo>
                              <a:pt x="25478" y="43061"/>
                              <a:pt x="25538" y="42942"/>
                              <a:pt x="25598" y="42822"/>
                            </a:cubicBezTo>
                            <a:cubicBezTo>
                              <a:pt x="25657" y="42702"/>
                              <a:pt x="25717" y="42583"/>
                              <a:pt x="25777" y="42463"/>
                            </a:cubicBezTo>
                            <a:cubicBezTo>
                              <a:pt x="25837" y="42403"/>
                              <a:pt x="25897" y="42284"/>
                              <a:pt x="25897" y="42224"/>
                            </a:cubicBezTo>
                            <a:cubicBezTo>
                              <a:pt x="25897" y="42164"/>
                              <a:pt x="25956" y="42045"/>
                              <a:pt x="26016" y="41985"/>
                            </a:cubicBezTo>
                            <a:cubicBezTo>
                              <a:pt x="26076" y="41925"/>
                              <a:pt x="26076" y="41805"/>
                              <a:pt x="26136" y="41746"/>
                            </a:cubicBezTo>
                            <a:cubicBezTo>
                              <a:pt x="26196" y="41686"/>
                              <a:pt x="26196" y="41566"/>
                              <a:pt x="26255" y="41506"/>
                            </a:cubicBezTo>
                            <a:cubicBezTo>
                              <a:pt x="26315" y="41387"/>
                              <a:pt x="26375" y="41327"/>
                              <a:pt x="26435" y="41207"/>
                            </a:cubicBezTo>
                            <a:cubicBezTo>
                              <a:pt x="26495" y="41088"/>
                              <a:pt x="26554" y="41028"/>
                              <a:pt x="26614" y="40908"/>
                            </a:cubicBezTo>
                            <a:cubicBezTo>
                              <a:pt x="26674" y="40789"/>
                              <a:pt x="26734" y="40729"/>
                              <a:pt x="26794" y="40609"/>
                            </a:cubicBezTo>
                            <a:cubicBezTo>
                              <a:pt x="26853" y="40490"/>
                              <a:pt x="26913" y="40430"/>
                              <a:pt x="26973" y="40310"/>
                            </a:cubicBezTo>
                            <a:cubicBezTo>
                              <a:pt x="26973" y="40251"/>
                              <a:pt x="26973" y="40191"/>
                              <a:pt x="26973" y="40131"/>
                            </a:cubicBezTo>
                            <a:cubicBezTo>
                              <a:pt x="26973" y="40071"/>
                              <a:pt x="26973" y="40011"/>
                              <a:pt x="26973" y="39951"/>
                            </a:cubicBezTo>
                            <a:cubicBezTo>
                              <a:pt x="26973" y="39892"/>
                              <a:pt x="26973" y="39832"/>
                              <a:pt x="26973" y="39772"/>
                            </a:cubicBezTo>
                            <a:cubicBezTo>
                              <a:pt x="26973" y="39712"/>
                              <a:pt x="26973" y="39652"/>
                              <a:pt x="26973" y="39592"/>
                            </a:cubicBezTo>
                            <a:cubicBezTo>
                              <a:pt x="26973" y="39473"/>
                              <a:pt x="26973" y="39413"/>
                              <a:pt x="26973" y="39293"/>
                            </a:cubicBezTo>
                            <a:cubicBezTo>
                              <a:pt x="26973" y="39174"/>
                              <a:pt x="26973" y="39114"/>
                              <a:pt x="26973" y="38994"/>
                            </a:cubicBezTo>
                            <a:cubicBezTo>
                              <a:pt x="26973" y="38875"/>
                              <a:pt x="26973" y="38815"/>
                              <a:pt x="26973" y="38695"/>
                            </a:cubicBezTo>
                            <a:cubicBezTo>
                              <a:pt x="26973" y="38576"/>
                              <a:pt x="26973" y="38516"/>
                              <a:pt x="26973" y="38396"/>
                            </a:cubicBezTo>
                            <a:cubicBezTo>
                              <a:pt x="26853" y="38636"/>
                              <a:pt x="26794" y="38815"/>
                              <a:pt x="26674" y="39054"/>
                            </a:cubicBezTo>
                            <a:cubicBezTo>
                              <a:pt x="26554" y="39293"/>
                              <a:pt x="26435" y="39473"/>
                              <a:pt x="26375" y="39712"/>
                            </a:cubicBezTo>
                            <a:cubicBezTo>
                              <a:pt x="26255" y="39951"/>
                              <a:pt x="26136" y="40131"/>
                              <a:pt x="26016" y="40370"/>
                            </a:cubicBezTo>
                            <a:cubicBezTo>
                              <a:pt x="25897" y="40609"/>
                              <a:pt x="25777" y="40789"/>
                              <a:pt x="25657" y="41028"/>
                            </a:cubicBezTo>
                            <a:cubicBezTo>
                              <a:pt x="25598" y="41088"/>
                              <a:pt x="25598" y="41207"/>
                              <a:pt x="25538" y="41267"/>
                            </a:cubicBezTo>
                            <a:cubicBezTo>
                              <a:pt x="25478" y="41327"/>
                              <a:pt x="25478" y="41446"/>
                              <a:pt x="25418" y="41506"/>
                            </a:cubicBezTo>
                            <a:cubicBezTo>
                              <a:pt x="25358" y="41566"/>
                              <a:pt x="25358" y="41686"/>
                              <a:pt x="25298" y="41746"/>
                            </a:cubicBezTo>
                            <a:cubicBezTo>
                              <a:pt x="25239" y="41805"/>
                              <a:pt x="25239" y="41925"/>
                              <a:pt x="25179" y="41985"/>
                            </a:cubicBezTo>
                            <a:cubicBezTo>
                              <a:pt x="25119" y="42105"/>
                              <a:pt x="25059" y="42224"/>
                              <a:pt x="24999" y="42344"/>
                            </a:cubicBezTo>
                            <a:cubicBezTo>
                              <a:pt x="24940" y="42463"/>
                              <a:pt x="24880" y="42583"/>
                              <a:pt x="24820" y="42702"/>
                            </a:cubicBezTo>
                            <a:cubicBezTo>
                              <a:pt x="24760" y="42822"/>
                              <a:pt x="24700" y="42942"/>
                              <a:pt x="24641" y="43061"/>
                            </a:cubicBezTo>
                            <a:cubicBezTo>
                              <a:pt x="24581" y="43181"/>
                              <a:pt x="24521" y="43300"/>
                              <a:pt x="24461" y="43420"/>
                            </a:cubicBezTo>
                            <a:cubicBezTo>
                              <a:pt x="24401" y="43480"/>
                              <a:pt x="24342" y="43600"/>
                              <a:pt x="24342" y="43660"/>
                            </a:cubicBezTo>
                            <a:cubicBezTo>
                              <a:pt x="24282" y="43719"/>
                              <a:pt x="24222" y="43839"/>
                              <a:pt x="24222" y="43899"/>
                            </a:cubicBezTo>
                            <a:cubicBezTo>
                              <a:pt x="24162" y="43959"/>
                              <a:pt x="24102" y="44078"/>
                              <a:pt x="24102" y="44138"/>
                            </a:cubicBezTo>
                            <a:cubicBezTo>
                              <a:pt x="24043" y="44198"/>
                              <a:pt x="23983" y="44317"/>
                              <a:pt x="23983" y="44377"/>
                            </a:cubicBezTo>
                            <a:cubicBezTo>
                              <a:pt x="23744" y="44796"/>
                              <a:pt x="23504" y="45155"/>
                              <a:pt x="23265" y="45573"/>
                            </a:cubicBezTo>
                            <a:cubicBezTo>
                              <a:pt x="23026" y="45992"/>
                              <a:pt x="22727" y="46351"/>
                              <a:pt x="22488" y="46769"/>
                            </a:cubicBezTo>
                            <a:cubicBezTo>
                              <a:pt x="22248" y="47188"/>
                              <a:pt x="21949" y="47547"/>
                              <a:pt x="21710" y="47966"/>
                            </a:cubicBezTo>
                            <a:cubicBezTo>
                              <a:pt x="21411" y="48384"/>
                              <a:pt x="21172" y="48743"/>
                              <a:pt x="20873" y="49162"/>
                            </a:cubicBezTo>
                            <a:cubicBezTo>
                              <a:pt x="20813" y="49222"/>
                              <a:pt x="20753" y="49281"/>
                              <a:pt x="20693" y="49401"/>
                            </a:cubicBezTo>
                            <a:cubicBezTo>
                              <a:pt x="20634" y="49461"/>
                              <a:pt x="20574" y="49521"/>
                              <a:pt x="20514" y="49640"/>
                            </a:cubicBezTo>
                            <a:cubicBezTo>
                              <a:pt x="20454" y="49700"/>
                              <a:pt x="20394" y="49760"/>
                              <a:pt x="20335" y="49879"/>
                            </a:cubicBezTo>
                            <a:cubicBezTo>
                              <a:pt x="20275" y="49939"/>
                              <a:pt x="20215" y="49999"/>
                              <a:pt x="20155" y="50118"/>
                            </a:cubicBezTo>
                            <a:cubicBezTo>
                              <a:pt x="19676" y="50836"/>
                              <a:pt x="19138" y="51494"/>
                              <a:pt x="18600" y="52212"/>
                            </a:cubicBezTo>
                            <a:cubicBezTo>
                              <a:pt x="18062" y="52930"/>
                              <a:pt x="17583" y="53587"/>
                              <a:pt x="17045" y="54305"/>
                            </a:cubicBezTo>
                            <a:cubicBezTo>
                              <a:pt x="16507" y="54963"/>
                              <a:pt x="15968" y="55681"/>
                              <a:pt x="15430" y="56339"/>
                            </a:cubicBezTo>
                            <a:cubicBezTo>
                              <a:pt x="14832" y="56996"/>
                              <a:pt x="14234" y="57654"/>
                              <a:pt x="13696" y="58372"/>
                            </a:cubicBezTo>
                            <a:moveTo>
                              <a:pt x="12021" y="57236"/>
                            </a:moveTo>
                            <a:lnTo>
                              <a:pt x="12739" y="57714"/>
                            </a:lnTo>
                            <a:cubicBezTo>
                              <a:pt x="13277" y="57056"/>
                              <a:pt x="13815" y="56339"/>
                              <a:pt x="14354" y="55681"/>
                            </a:cubicBezTo>
                            <a:cubicBezTo>
                              <a:pt x="14892" y="55023"/>
                              <a:pt x="15430" y="54305"/>
                              <a:pt x="15968" y="53647"/>
                            </a:cubicBezTo>
                            <a:cubicBezTo>
                              <a:pt x="16507" y="52989"/>
                              <a:pt x="17045" y="52271"/>
                              <a:pt x="17523" y="51554"/>
                            </a:cubicBezTo>
                            <a:cubicBezTo>
                              <a:pt x="18002" y="50836"/>
                              <a:pt x="18540" y="50178"/>
                              <a:pt x="19079" y="49461"/>
                            </a:cubicBezTo>
                            <a:cubicBezTo>
                              <a:pt x="19138" y="49401"/>
                              <a:pt x="19198" y="49341"/>
                              <a:pt x="19258" y="49222"/>
                            </a:cubicBezTo>
                            <a:cubicBezTo>
                              <a:pt x="19318" y="49102"/>
                              <a:pt x="19377" y="49102"/>
                              <a:pt x="19437" y="48982"/>
                            </a:cubicBezTo>
                            <a:cubicBezTo>
                              <a:pt x="19497" y="48922"/>
                              <a:pt x="19557" y="48863"/>
                              <a:pt x="19617" y="48743"/>
                            </a:cubicBezTo>
                            <a:cubicBezTo>
                              <a:pt x="19676" y="48683"/>
                              <a:pt x="19736" y="48623"/>
                              <a:pt x="19796" y="48504"/>
                            </a:cubicBezTo>
                            <a:cubicBezTo>
                              <a:pt x="20095" y="48085"/>
                              <a:pt x="20335" y="47726"/>
                              <a:pt x="20634" y="47308"/>
                            </a:cubicBezTo>
                            <a:cubicBezTo>
                              <a:pt x="20933" y="46889"/>
                              <a:pt x="21172" y="46530"/>
                              <a:pt x="21411" y="46111"/>
                            </a:cubicBezTo>
                            <a:cubicBezTo>
                              <a:pt x="21650" y="45693"/>
                              <a:pt x="21949" y="45334"/>
                              <a:pt x="22189" y="44915"/>
                            </a:cubicBezTo>
                            <a:cubicBezTo>
                              <a:pt x="22428" y="44497"/>
                              <a:pt x="22667" y="44138"/>
                              <a:pt x="22906" y="43719"/>
                            </a:cubicBezTo>
                            <a:cubicBezTo>
                              <a:pt x="22966" y="43660"/>
                              <a:pt x="23026" y="43540"/>
                              <a:pt x="23026" y="43480"/>
                            </a:cubicBezTo>
                            <a:cubicBezTo>
                              <a:pt x="23026" y="43420"/>
                              <a:pt x="23145" y="43300"/>
                              <a:pt x="23145" y="43241"/>
                            </a:cubicBezTo>
                            <a:cubicBezTo>
                              <a:pt x="23145" y="43181"/>
                              <a:pt x="23265" y="43061"/>
                              <a:pt x="23265" y="43001"/>
                            </a:cubicBezTo>
                            <a:cubicBezTo>
                              <a:pt x="23265" y="42942"/>
                              <a:pt x="23385" y="42822"/>
                              <a:pt x="23385" y="42762"/>
                            </a:cubicBezTo>
                            <a:cubicBezTo>
                              <a:pt x="23444" y="42643"/>
                              <a:pt x="23504" y="42523"/>
                              <a:pt x="23564" y="42403"/>
                            </a:cubicBezTo>
                            <a:cubicBezTo>
                              <a:pt x="23624" y="42284"/>
                              <a:pt x="23684" y="42164"/>
                              <a:pt x="23744" y="42045"/>
                            </a:cubicBezTo>
                            <a:cubicBezTo>
                              <a:pt x="23803" y="41925"/>
                              <a:pt x="23863" y="41805"/>
                              <a:pt x="23923" y="41686"/>
                            </a:cubicBezTo>
                            <a:cubicBezTo>
                              <a:pt x="23983" y="41566"/>
                              <a:pt x="24043" y="41446"/>
                              <a:pt x="24102" y="41327"/>
                            </a:cubicBezTo>
                            <a:cubicBezTo>
                              <a:pt x="24162" y="41267"/>
                              <a:pt x="24162" y="41147"/>
                              <a:pt x="24222" y="41088"/>
                            </a:cubicBezTo>
                            <a:cubicBezTo>
                              <a:pt x="24282" y="41028"/>
                              <a:pt x="24282" y="40908"/>
                              <a:pt x="24342" y="40848"/>
                            </a:cubicBezTo>
                            <a:cubicBezTo>
                              <a:pt x="24401" y="40789"/>
                              <a:pt x="24401" y="40669"/>
                              <a:pt x="24461" y="40609"/>
                            </a:cubicBezTo>
                            <a:cubicBezTo>
                              <a:pt x="24521" y="40549"/>
                              <a:pt x="24521" y="40430"/>
                              <a:pt x="24581" y="40370"/>
                            </a:cubicBezTo>
                            <a:cubicBezTo>
                              <a:pt x="24700" y="40131"/>
                              <a:pt x="24820" y="39892"/>
                              <a:pt x="24940" y="39592"/>
                            </a:cubicBezTo>
                            <a:cubicBezTo>
                              <a:pt x="25059" y="39293"/>
                              <a:pt x="25179" y="39114"/>
                              <a:pt x="25298" y="38815"/>
                            </a:cubicBezTo>
                            <a:cubicBezTo>
                              <a:pt x="25418" y="38576"/>
                              <a:pt x="25538" y="38337"/>
                              <a:pt x="25657" y="38038"/>
                            </a:cubicBezTo>
                            <a:cubicBezTo>
                              <a:pt x="25777" y="37798"/>
                              <a:pt x="25897" y="37559"/>
                              <a:pt x="26016" y="37260"/>
                            </a:cubicBezTo>
                            <a:cubicBezTo>
                              <a:pt x="26076" y="37200"/>
                              <a:pt x="26076" y="37081"/>
                              <a:pt x="26136" y="37021"/>
                            </a:cubicBezTo>
                            <a:cubicBezTo>
                              <a:pt x="26196" y="36961"/>
                              <a:pt x="26196" y="36841"/>
                              <a:pt x="26255" y="36782"/>
                            </a:cubicBezTo>
                            <a:cubicBezTo>
                              <a:pt x="26315" y="36722"/>
                              <a:pt x="26315" y="36602"/>
                              <a:pt x="26375" y="36542"/>
                            </a:cubicBezTo>
                            <a:cubicBezTo>
                              <a:pt x="26435" y="36483"/>
                              <a:pt x="26435" y="36363"/>
                              <a:pt x="26495" y="36303"/>
                            </a:cubicBezTo>
                            <a:cubicBezTo>
                              <a:pt x="26495" y="36303"/>
                              <a:pt x="26495" y="36303"/>
                              <a:pt x="26495" y="36243"/>
                            </a:cubicBezTo>
                            <a:cubicBezTo>
                              <a:pt x="26495" y="36243"/>
                              <a:pt x="26495" y="36243"/>
                              <a:pt x="26495" y="36184"/>
                            </a:cubicBezTo>
                            <a:cubicBezTo>
                              <a:pt x="26495" y="36184"/>
                              <a:pt x="26495" y="36184"/>
                              <a:pt x="26495" y="36124"/>
                            </a:cubicBezTo>
                            <a:cubicBezTo>
                              <a:pt x="26495" y="36124"/>
                              <a:pt x="26495" y="36124"/>
                              <a:pt x="26495" y="36064"/>
                            </a:cubicBezTo>
                            <a:cubicBezTo>
                              <a:pt x="26435" y="35944"/>
                              <a:pt x="26435" y="35824"/>
                              <a:pt x="26375" y="35705"/>
                            </a:cubicBezTo>
                            <a:cubicBezTo>
                              <a:pt x="26315" y="35585"/>
                              <a:pt x="26315" y="35466"/>
                              <a:pt x="26255" y="35346"/>
                            </a:cubicBezTo>
                            <a:cubicBezTo>
                              <a:pt x="26196" y="35227"/>
                              <a:pt x="26196" y="35107"/>
                              <a:pt x="26136" y="34987"/>
                            </a:cubicBezTo>
                            <a:cubicBezTo>
                              <a:pt x="26076" y="34868"/>
                              <a:pt x="26076" y="34748"/>
                              <a:pt x="26016" y="34629"/>
                            </a:cubicBezTo>
                            <a:cubicBezTo>
                              <a:pt x="25956" y="34748"/>
                              <a:pt x="25956" y="34808"/>
                              <a:pt x="25897" y="34928"/>
                            </a:cubicBezTo>
                            <a:cubicBezTo>
                              <a:pt x="25837" y="35047"/>
                              <a:pt x="25837" y="35107"/>
                              <a:pt x="25777" y="35227"/>
                            </a:cubicBezTo>
                            <a:cubicBezTo>
                              <a:pt x="25717" y="35346"/>
                              <a:pt x="25717" y="35406"/>
                              <a:pt x="25657" y="35526"/>
                            </a:cubicBezTo>
                            <a:cubicBezTo>
                              <a:pt x="25598" y="35645"/>
                              <a:pt x="25598" y="35705"/>
                              <a:pt x="25538" y="35824"/>
                            </a:cubicBezTo>
                            <a:cubicBezTo>
                              <a:pt x="25478" y="35884"/>
                              <a:pt x="25478" y="36004"/>
                              <a:pt x="25418" y="36064"/>
                            </a:cubicBezTo>
                            <a:cubicBezTo>
                              <a:pt x="25358" y="36124"/>
                              <a:pt x="25358" y="36243"/>
                              <a:pt x="25298" y="36303"/>
                            </a:cubicBezTo>
                            <a:cubicBezTo>
                              <a:pt x="25239" y="36363"/>
                              <a:pt x="25239" y="36483"/>
                              <a:pt x="25179" y="36542"/>
                            </a:cubicBezTo>
                            <a:cubicBezTo>
                              <a:pt x="25119" y="36602"/>
                              <a:pt x="25119" y="36722"/>
                              <a:pt x="25059" y="36782"/>
                            </a:cubicBezTo>
                            <a:cubicBezTo>
                              <a:pt x="24940" y="37021"/>
                              <a:pt x="24820" y="37260"/>
                              <a:pt x="24760" y="37559"/>
                            </a:cubicBezTo>
                            <a:cubicBezTo>
                              <a:pt x="24641" y="37798"/>
                              <a:pt x="24521" y="38038"/>
                              <a:pt x="24401" y="38337"/>
                            </a:cubicBezTo>
                            <a:cubicBezTo>
                              <a:pt x="24282" y="38576"/>
                              <a:pt x="24162" y="38815"/>
                              <a:pt x="24043" y="39114"/>
                            </a:cubicBezTo>
                            <a:cubicBezTo>
                              <a:pt x="23923" y="39353"/>
                              <a:pt x="23803" y="39592"/>
                              <a:pt x="23684" y="39892"/>
                            </a:cubicBezTo>
                            <a:cubicBezTo>
                              <a:pt x="23624" y="39951"/>
                              <a:pt x="23624" y="40071"/>
                              <a:pt x="23564" y="40131"/>
                            </a:cubicBezTo>
                            <a:cubicBezTo>
                              <a:pt x="23504" y="40191"/>
                              <a:pt x="23504" y="40310"/>
                              <a:pt x="23444" y="40370"/>
                            </a:cubicBezTo>
                            <a:cubicBezTo>
                              <a:pt x="23385" y="40430"/>
                              <a:pt x="23385" y="40549"/>
                              <a:pt x="23325" y="40609"/>
                            </a:cubicBezTo>
                            <a:cubicBezTo>
                              <a:pt x="23265" y="40669"/>
                              <a:pt x="23265" y="40789"/>
                              <a:pt x="23205" y="40848"/>
                            </a:cubicBezTo>
                            <a:cubicBezTo>
                              <a:pt x="23145" y="40968"/>
                              <a:pt x="23086" y="41088"/>
                              <a:pt x="23026" y="41207"/>
                            </a:cubicBezTo>
                            <a:cubicBezTo>
                              <a:pt x="22966" y="41327"/>
                              <a:pt x="22906" y="41446"/>
                              <a:pt x="22846" y="41566"/>
                            </a:cubicBezTo>
                            <a:cubicBezTo>
                              <a:pt x="22787" y="41686"/>
                              <a:pt x="22727" y="41805"/>
                              <a:pt x="22667" y="41925"/>
                            </a:cubicBezTo>
                            <a:cubicBezTo>
                              <a:pt x="22607" y="42045"/>
                              <a:pt x="22547" y="42164"/>
                              <a:pt x="22488" y="42284"/>
                            </a:cubicBezTo>
                            <a:cubicBezTo>
                              <a:pt x="22428" y="42344"/>
                              <a:pt x="22368" y="42463"/>
                              <a:pt x="22368" y="42523"/>
                            </a:cubicBezTo>
                            <a:cubicBezTo>
                              <a:pt x="22308" y="42583"/>
                              <a:pt x="22248" y="42702"/>
                              <a:pt x="22248" y="42762"/>
                            </a:cubicBezTo>
                            <a:cubicBezTo>
                              <a:pt x="22248" y="42822"/>
                              <a:pt x="22129" y="42942"/>
                              <a:pt x="22129" y="43001"/>
                            </a:cubicBezTo>
                            <a:cubicBezTo>
                              <a:pt x="22069" y="43061"/>
                              <a:pt x="22009" y="43181"/>
                              <a:pt x="22009" y="43241"/>
                            </a:cubicBezTo>
                            <a:cubicBezTo>
                              <a:pt x="21770" y="43660"/>
                              <a:pt x="21530" y="44018"/>
                              <a:pt x="21291" y="44437"/>
                            </a:cubicBezTo>
                            <a:cubicBezTo>
                              <a:pt x="21052" y="44855"/>
                              <a:pt x="20813" y="45214"/>
                              <a:pt x="20514" y="45633"/>
                            </a:cubicBezTo>
                            <a:cubicBezTo>
                              <a:pt x="20275" y="46052"/>
                              <a:pt x="19976" y="46410"/>
                              <a:pt x="19736" y="46829"/>
                            </a:cubicBezTo>
                            <a:cubicBezTo>
                              <a:pt x="19437" y="47248"/>
                              <a:pt x="19198" y="47607"/>
                              <a:pt x="18899" y="48025"/>
                            </a:cubicBezTo>
                            <a:cubicBezTo>
                              <a:pt x="18839" y="48085"/>
                              <a:pt x="18780" y="48145"/>
                              <a:pt x="18720" y="48264"/>
                            </a:cubicBezTo>
                            <a:cubicBezTo>
                              <a:pt x="18660" y="48384"/>
                              <a:pt x="18600" y="48384"/>
                              <a:pt x="18540" y="48504"/>
                            </a:cubicBezTo>
                            <a:cubicBezTo>
                              <a:pt x="18481" y="48563"/>
                              <a:pt x="18421" y="48623"/>
                              <a:pt x="18361" y="48743"/>
                            </a:cubicBezTo>
                            <a:cubicBezTo>
                              <a:pt x="18301" y="48803"/>
                              <a:pt x="18241" y="48863"/>
                              <a:pt x="18181" y="48982"/>
                            </a:cubicBezTo>
                            <a:cubicBezTo>
                              <a:pt x="17703" y="49700"/>
                              <a:pt x="17165" y="50358"/>
                              <a:pt x="16686" y="51076"/>
                            </a:cubicBezTo>
                            <a:cubicBezTo>
                              <a:pt x="16148" y="51793"/>
                              <a:pt x="15669" y="52451"/>
                              <a:pt x="15131" y="53169"/>
                            </a:cubicBezTo>
                            <a:cubicBezTo>
                              <a:pt x="14593" y="53886"/>
                              <a:pt x="14055" y="54544"/>
                              <a:pt x="13516" y="55202"/>
                            </a:cubicBezTo>
                            <a:cubicBezTo>
                              <a:pt x="13098" y="55860"/>
                              <a:pt x="12559" y="56578"/>
                              <a:pt x="12021" y="57236"/>
                            </a:cubicBezTo>
                            <a:moveTo>
                              <a:pt x="11782" y="60704"/>
                            </a:moveTo>
                            <a:lnTo>
                              <a:pt x="12500" y="61183"/>
                            </a:lnTo>
                            <a:cubicBezTo>
                              <a:pt x="12619" y="61063"/>
                              <a:pt x="12679" y="60944"/>
                              <a:pt x="12799" y="60824"/>
                            </a:cubicBezTo>
                            <a:cubicBezTo>
                              <a:pt x="12919" y="60704"/>
                              <a:pt x="12978" y="60585"/>
                              <a:pt x="13098" y="60465"/>
                            </a:cubicBezTo>
                            <a:cubicBezTo>
                              <a:pt x="13218" y="60346"/>
                              <a:pt x="13277" y="60226"/>
                              <a:pt x="13397" y="60107"/>
                            </a:cubicBezTo>
                            <a:cubicBezTo>
                              <a:pt x="13516" y="59987"/>
                              <a:pt x="13576" y="59867"/>
                              <a:pt x="13696" y="59747"/>
                            </a:cubicBezTo>
                            <a:lnTo>
                              <a:pt x="12978" y="59269"/>
                            </a:lnTo>
                            <a:cubicBezTo>
                              <a:pt x="12859" y="59389"/>
                              <a:pt x="12799" y="59508"/>
                              <a:pt x="12679" y="59628"/>
                            </a:cubicBezTo>
                            <a:cubicBezTo>
                              <a:pt x="12559" y="59747"/>
                              <a:pt x="12500" y="59867"/>
                              <a:pt x="12380" y="59987"/>
                            </a:cubicBezTo>
                            <a:cubicBezTo>
                              <a:pt x="12260" y="60107"/>
                              <a:pt x="12201" y="60226"/>
                              <a:pt x="12081" y="60346"/>
                            </a:cubicBezTo>
                            <a:cubicBezTo>
                              <a:pt x="11961" y="60465"/>
                              <a:pt x="11842" y="60585"/>
                              <a:pt x="11782" y="60704"/>
                            </a:cubicBezTo>
                            <a:moveTo>
                              <a:pt x="10048" y="59568"/>
                            </a:moveTo>
                            <a:lnTo>
                              <a:pt x="10765" y="60047"/>
                            </a:lnTo>
                            <a:cubicBezTo>
                              <a:pt x="10885" y="59927"/>
                              <a:pt x="10945" y="59807"/>
                              <a:pt x="11064" y="59688"/>
                            </a:cubicBezTo>
                            <a:cubicBezTo>
                              <a:pt x="11184" y="59568"/>
                              <a:pt x="11244" y="59448"/>
                              <a:pt x="11364" y="59329"/>
                            </a:cubicBezTo>
                            <a:cubicBezTo>
                              <a:pt x="11483" y="59209"/>
                              <a:pt x="11543" y="59090"/>
                              <a:pt x="11662" y="58970"/>
                            </a:cubicBezTo>
                            <a:cubicBezTo>
                              <a:pt x="11782" y="58850"/>
                              <a:pt x="11842" y="58731"/>
                              <a:pt x="11961" y="58611"/>
                            </a:cubicBezTo>
                            <a:lnTo>
                              <a:pt x="11244" y="58133"/>
                            </a:lnTo>
                            <a:cubicBezTo>
                              <a:pt x="11124" y="58252"/>
                              <a:pt x="11064" y="58372"/>
                              <a:pt x="10945" y="58492"/>
                            </a:cubicBezTo>
                            <a:cubicBezTo>
                              <a:pt x="10825" y="58611"/>
                              <a:pt x="10765" y="58731"/>
                              <a:pt x="10646" y="58850"/>
                            </a:cubicBezTo>
                            <a:cubicBezTo>
                              <a:pt x="10526" y="58970"/>
                              <a:pt x="10466" y="59090"/>
                              <a:pt x="10347" y="59209"/>
                            </a:cubicBezTo>
                            <a:cubicBezTo>
                              <a:pt x="10227" y="59329"/>
                              <a:pt x="10167" y="59448"/>
                              <a:pt x="10048" y="59568"/>
                            </a:cubicBezTo>
                            <a:moveTo>
                              <a:pt x="9928" y="62857"/>
                            </a:moveTo>
                            <a:lnTo>
                              <a:pt x="10646" y="63336"/>
                            </a:lnTo>
                            <a:cubicBezTo>
                              <a:pt x="10765" y="63216"/>
                              <a:pt x="10825" y="63097"/>
                              <a:pt x="10945" y="63037"/>
                            </a:cubicBezTo>
                            <a:cubicBezTo>
                              <a:pt x="11064" y="62917"/>
                              <a:pt x="11124" y="62798"/>
                              <a:pt x="11244" y="62738"/>
                            </a:cubicBezTo>
                            <a:cubicBezTo>
                              <a:pt x="11364" y="62678"/>
                              <a:pt x="11423" y="62499"/>
                              <a:pt x="11543" y="62439"/>
                            </a:cubicBezTo>
                            <a:cubicBezTo>
                              <a:pt x="11662" y="62319"/>
                              <a:pt x="11722" y="62200"/>
                              <a:pt x="11842" y="62140"/>
                            </a:cubicBezTo>
                            <a:lnTo>
                              <a:pt x="11124" y="61661"/>
                            </a:lnTo>
                            <a:cubicBezTo>
                              <a:pt x="11005" y="61781"/>
                              <a:pt x="10945" y="61901"/>
                              <a:pt x="10825" y="61961"/>
                            </a:cubicBezTo>
                            <a:cubicBezTo>
                              <a:pt x="10705" y="62080"/>
                              <a:pt x="10646" y="62200"/>
                              <a:pt x="10526" y="62260"/>
                            </a:cubicBezTo>
                            <a:cubicBezTo>
                              <a:pt x="10406" y="62379"/>
                              <a:pt x="10347" y="62499"/>
                              <a:pt x="10227" y="62558"/>
                            </a:cubicBezTo>
                            <a:cubicBezTo>
                              <a:pt x="10107" y="62678"/>
                              <a:pt x="10048" y="62738"/>
                              <a:pt x="9928" y="62857"/>
                            </a:cubicBezTo>
                            <a:moveTo>
                              <a:pt x="8253" y="61781"/>
                            </a:moveTo>
                            <a:lnTo>
                              <a:pt x="8971" y="62260"/>
                            </a:lnTo>
                            <a:cubicBezTo>
                              <a:pt x="9091" y="62140"/>
                              <a:pt x="9151" y="62020"/>
                              <a:pt x="9270" y="61961"/>
                            </a:cubicBezTo>
                            <a:cubicBezTo>
                              <a:pt x="9390" y="61901"/>
                              <a:pt x="9450" y="61721"/>
                              <a:pt x="9569" y="61661"/>
                            </a:cubicBezTo>
                            <a:cubicBezTo>
                              <a:pt x="9689" y="61542"/>
                              <a:pt x="9749" y="61422"/>
                              <a:pt x="9868" y="61362"/>
                            </a:cubicBezTo>
                            <a:cubicBezTo>
                              <a:pt x="9988" y="61243"/>
                              <a:pt x="10048" y="61123"/>
                              <a:pt x="10167" y="61063"/>
                            </a:cubicBezTo>
                            <a:lnTo>
                              <a:pt x="9450" y="60585"/>
                            </a:lnTo>
                            <a:cubicBezTo>
                              <a:pt x="9330" y="60704"/>
                              <a:pt x="9270" y="60824"/>
                              <a:pt x="9151" y="60884"/>
                            </a:cubicBezTo>
                            <a:cubicBezTo>
                              <a:pt x="9031" y="61003"/>
                              <a:pt x="8971" y="61123"/>
                              <a:pt x="8851" y="61183"/>
                            </a:cubicBezTo>
                            <a:cubicBezTo>
                              <a:pt x="8732" y="61302"/>
                              <a:pt x="8672" y="61422"/>
                              <a:pt x="8552" y="61482"/>
                            </a:cubicBezTo>
                            <a:cubicBezTo>
                              <a:pt x="8433" y="61542"/>
                              <a:pt x="8313" y="61661"/>
                              <a:pt x="8253" y="61781"/>
                            </a:cubicBezTo>
                            <a:moveTo>
                              <a:pt x="0" y="71709"/>
                            </a:moveTo>
                            <a:lnTo>
                              <a:pt x="2452" y="73264"/>
                            </a:lnTo>
                            <a:lnTo>
                              <a:pt x="2811" y="72845"/>
                            </a:lnTo>
                            <a:cubicBezTo>
                              <a:pt x="2990" y="72606"/>
                              <a:pt x="3170" y="72367"/>
                              <a:pt x="3409" y="72127"/>
                            </a:cubicBezTo>
                            <a:cubicBezTo>
                              <a:pt x="3648" y="71888"/>
                              <a:pt x="3828" y="71649"/>
                              <a:pt x="4007" y="71410"/>
                            </a:cubicBezTo>
                            <a:cubicBezTo>
                              <a:pt x="4187" y="71171"/>
                              <a:pt x="4426" y="70932"/>
                              <a:pt x="4605" y="70692"/>
                            </a:cubicBezTo>
                            <a:cubicBezTo>
                              <a:pt x="4785" y="70453"/>
                              <a:pt x="5024" y="70214"/>
                              <a:pt x="5203" y="69975"/>
                            </a:cubicBezTo>
                            <a:cubicBezTo>
                              <a:pt x="5263" y="69915"/>
                              <a:pt x="5323" y="69855"/>
                              <a:pt x="5383" y="69735"/>
                            </a:cubicBezTo>
                            <a:cubicBezTo>
                              <a:pt x="5443" y="69676"/>
                              <a:pt x="5502" y="69616"/>
                              <a:pt x="5562" y="69496"/>
                            </a:cubicBezTo>
                            <a:cubicBezTo>
                              <a:pt x="5622" y="69436"/>
                              <a:pt x="5682" y="69377"/>
                              <a:pt x="5742" y="69257"/>
                            </a:cubicBezTo>
                            <a:cubicBezTo>
                              <a:pt x="5801" y="69197"/>
                              <a:pt x="5861" y="69137"/>
                              <a:pt x="5921" y="69018"/>
                            </a:cubicBezTo>
                            <a:cubicBezTo>
                              <a:pt x="6220" y="68659"/>
                              <a:pt x="6519" y="68300"/>
                              <a:pt x="6818" y="67941"/>
                            </a:cubicBezTo>
                            <a:cubicBezTo>
                              <a:pt x="7117" y="67582"/>
                              <a:pt x="7416" y="67223"/>
                              <a:pt x="7715" y="66864"/>
                            </a:cubicBezTo>
                            <a:cubicBezTo>
                              <a:pt x="8014" y="66506"/>
                              <a:pt x="8313" y="66147"/>
                              <a:pt x="8612" y="65788"/>
                            </a:cubicBezTo>
                            <a:cubicBezTo>
                              <a:pt x="8911" y="65429"/>
                              <a:pt x="9210" y="65070"/>
                              <a:pt x="9510" y="64711"/>
                            </a:cubicBezTo>
                            <a:cubicBezTo>
                              <a:pt x="9569" y="64652"/>
                              <a:pt x="9569" y="64652"/>
                              <a:pt x="9629" y="64592"/>
                            </a:cubicBezTo>
                            <a:cubicBezTo>
                              <a:pt x="9689" y="64532"/>
                              <a:pt x="9689" y="64532"/>
                              <a:pt x="9749" y="64472"/>
                            </a:cubicBezTo>
                            <a:cubicBezTo>
                              <a:pt x="9808" y="64412"/>
                              <a:pt x="9808" y="64353"/>
                              <a:pt x="9868" y="64353"/>
                            </a:cubicBezTo>
                            <a:cubicBezTo>
                              <a:pt x="9928" y="64353"/>
                              <a:pt x="9928" y="64293"/>
                              <a:pt x="9988" y="64233"/>
                            </a:cubicBezTo>
                            <a:lnTo>
                              <a:pt x="9270" y="63755"/>
                            </a:lnTo>
                            <a:cubicBezTo>
                              <a:pt x="9210" y="63815"/>
                              <a:pt x="9210" y="63815"/>
                              <a:pt x="9151" y="63874"/>
                            </a:cubicBezTo>
                            <a:cubicBezTo>
                              <a:pt x="9091" y="63934"/>
                              <a:pt x="9091" y="63934"/>
                              <a:pt x="9031" y="63994"/>
                            </a:cubicBezTo>
                            <a:cubicBezTo>
                              <a:pt x="8971" y="64054"/>
                              <a:pt x="8971" y="64054"/>
                              <a:pt x="8911" y="64114"/>
                            </a:cubicBezTo>
                            <a:cubicBezTo>
                              <a:pt x="8851" y="64173"/>
                              <a:pt x="8851" y="64173"/>
                              <a:pt x="8792" y="64233"/>
                            </a:cubicBezTo>
                            <a:cubicBezTo>
                              <a:pt x="8493" y="64592"/>
                              <a:pt x="8194" y="64951"/>
                              <a:pt x="7895" y="65310"/>
                            </a:cubicBezTo>
                            <a:cubicBezTo>
                              <a:pt x="7596" y="65669"/>
                              <a:pt x="7297" y="66027"/>
                              <a:pt x="6997" y="66386"/>
                            </a:cubicBezTo>
                            <a:cubicBezTo>
                              <a:pt x="6698" y="66745"/>
                              <a:pt x="6399" y="67104"/>
                              <a:pt x="6100" y="67463"/>
                            </a:cubicBezTo>
                            <a:cubicBezTo>
                              <a:pt x="5801" y="67822"/>
                              <a:pt x="5502" y="68180"/>
                              <a:pt x="5203" y="68539"/>
                            </a:cubicBezTo>
                            <a:cubicBezTo>
                              <a:pt x="5143" y="68599"/>
                              <a:pt x="5083" y="68659"/>
                              <a:pt x="5024" y="68778"/>
                            </a:cubicBezTo>
                            <a:cubicBezTo>
                              <a:pt x="4964" y="68838"/>
                              <a:pt x="4904" y="68898"/>
                              <a:pt x="4844" y="69018"/>
                            </a:cubicBezTo>
                            <a:cubicBezTo>
                              <a:pt x="4785" y="69078"/>
                              <a:pt x="4725" y="69137"/>
                              <a:pt x="4665" y="69257"/>
                            </a:cubicBezTo>
                            <a:cubicBezTo>
                              <a:pt x="4605" y="69317"/>
                              <a:pt x="4545" y="69377"/>
                              <a:pt x="4486" y="69496"/>
                            </a:cubicBezTo>
                            <a:cubicBezTo>
                              <a:pt x="4306" y="69676"/>
                              <a:pt x="4127" y="69915"/>
                              <a:pt x="3947" y="70094"/>
                            </a:cubicBezTo>
                            <a:cubicBezTo>
                              <a:pt x="3768" y="70273"/>
                              <a:pt x="3588" y="70513"/>
                              <a:pt x="3469" y="70692"/>
                            </a:cubicBezTo>
                            <a:cubicBezTo>
                              <a:pt x="3349" y="70872"/>
                              <a:pt x="3110" y="71111"/>
                              <a:pt x="2990" y="71290"/>
                            </a:cubicBezTo>
                            <a:cubicBezTo>
                              <a:pt x="2811" y="71470"/>
                              <a:pt x="2632" y="71709"/>
                              <a:pt x="2512" y="71888"/>
                            </a:cubicBezTo>
                            <a:lnTo>
                              <a:pt x="1555" y="71290"/>
                            </a:lnTo>
                            <a:cubicBezTo>
                              <a:pt x="1734" y="71111"/>
                              <a:pt x="1854" y="70872"/>
                              <a:pt x="2034" y="70692"/>
                            </a:cubicBezTo>
                            <a:cubicBezTo>
                              <a:pt x="2213" y="70513"/>
                              <a:pt x="2392" y="70273"/>
                              <a:pt x="2512" y="70094"/>
                            </a:cubicBezTo>
                            <a:cubicBezTo>
                              <a:pt x="2632" y="69915"/>
                              <a:pt x="2871" y="69676"/>
                              <a:pt x="2990" y="69496"/>
                            </a:cubicBezTo>
                            <a:cubicBezTo>
                              <a:pt x="3110" y="69317"/>
                              <a:pt x="3349" y="69078"/>
                              <a:pt x="3529" y="68898"/>
                            </a:cubicBezTo>
                            <a:cubicBezTo>
                              <a:pt x="3588" y="68838"/>
                              <a:pt x="3648" y="68778"/>
                              <a:pt x="3708" y="68659"/>
                            </a:cubicBezTo>
                            <a:cubicBezTo>
                              <a:pt x="3768" y="68599"/>
                              <a:pt x="3828" y="68539"/>
                              <a:pt x="3888" y="68419"/>
                            </a:cubicBezTo>
                            <a:cubicBezTo>
                              <a:pt x="3947" y="68360"/>
                              <a:pt x="4007" y="68300"/>
                              <a:pt x="4067" y="68180"/>
                            </a:cubicBezTo>
                            <a:cubicBezTo>
                              <a:pt x="4127" y="68121"/>
                              <a:pt x="4187" y="68061"/>
                              <a:pt x="4246" y="67941"/>
                            </a:cubicBezTo>
                            <a:cubicBezTo>
                              <a:pt x="4545" y="67582"/>
                              <a:pt x="4844" y="67223"/>
                              <a:pt x="5143" y="66864"/>
                            </a:cubicBezTo>
                            <a:cubicBezTo>
                              <a:pt x="5443" y="66506"/>
                              <a:pt x="5742" y="66147"/>
                              <a:pt x="6100" y="65788"/>
                            </a:cubicBezTo>
                            <a:cubicBezTo>
                              <a:pt x="6399" y="65429"/>
                              <a:pt x="6698" y="65070"/>
                              <a:pt x="7057" y="64652"/>
                            </a:cubicBezTo>
                            <a:cubicBezTo>
                              <a:pt x="7416" y="64233"/>
                              <a:pt x="7715" y="63874"/>
                              <a:pt x="8014" y="63515"/>
                            </a:cubicBezTo>
                            <a:cubicBezTo>
                              <a:pt x="8074" y="63456"/>
                              <a:pt x="8074" y="63456"/>
                              <a:pt x="8134" y="63396"/>
                            </a:cubicBezTo>
                            <a:cubicBezTo>
                              <a:pt x="8194" y="63336"/>
                              <a:pt x="8194" y="63336"/>
                              <a:pt x="8253" y="63276"/>
                            </a:cubicBezTo>
                            <a:cubicBezTo>
                              <a:pt x="8313" y="63216"/>
                              <a:pt x="8313" y="63216"/>
                              <a:pt x="8373" y="63156"/>
                            </a:cubicBezTo>
                            <a:cubicBezTo>
                              <a:pt x="8433" y="63097"/>
                              <a:pt x="8433" y="63097"/>
                              <a:pt x="8493" y="63037"/>
                            </a:cubicBezTo>
                            <a:lnTo>
                              <a:pt x="7775" y="62558"/>
                            </a:lnTo>
                            <a:cubicBezTo>
                              <a:pt x="7775" y="62618"/>
                              <a:pt x="7715" y="62618"/>
                              <a:pt x="7715" y="62678"/>
                            </a:cubicBezTo>
                            <a:cubicBezTo>
                              <a:pt x="7715" y="62738"/>
                              <a:pt x="7656" y="62738"/>
                              <a:pt x="7656" y="62798"/>
                            </a:cubicBezTo>
                            <a:cubicBezTo>
                              <a:pt x="7656" y="62857"/>
                              <a:pt x="7596" y="62857"/>
                              <a:pt x="7596" y="62917"/>
                            </a:cubicBezTo>
                            <a:cubicBezTo>
                              <a:pt x="7596" y="62977"/>
                              <a:pt x="7536" y="62977"/>
                              <a:pt x="7536" y="63037"/>
                            </a:cubicBezTo>
                            <a:cubicBezTo>
                              <a:pt x="7237" y="63396"/>
                              <a:pt x="6878" y="63815"/>
                              <a:pt x="6579" y="64173"/>
                            </a:cubicBezTo>
                            <a:cubicBezTo>
                              <a:pt x="6280" y="64532"/>
                              <a:pt x="5921" y="64951"/>
                              <a:pt x="5622" y="65310"/>
                            </a:cubicBezTo>
                            <a:cubicBezTo>
                              <a:pt x="5323" y="65669"/>
                              <a:pt x="5024" y="66027"/>
                              <a:pt x="4665" y="66446"/>
                            </a:cubicBezTo>
                            <a:cubicBezTo>
                              <a:pt x="4366" y="66805"/>
                              <a:pt x="4067" y="67164"/>
                              <a:pt x="3768" y="67523"/>
                            </a:cubicBezTo>
                            <a:cubicBezTo>
                              <a:pt x="3708" y="67582"/>
                              <a:pt x="3648" y="67642"/>
                              <a:pt x="3588" y="67762"/>
                            </a:cubicBezTo>
                            <a:cubicBezTo>
                              <a:pt x="3529" y="67822"/>
                              <a:pt x="3469" y="67881"/>
                              <a:pt x="3409" y="68001"/>
                            </a:cubicBezTo>
                            <a:cubicBezTo>
                              <a:pt x="3349" y="68061"/>
                              <a:pt x="3289" y="68121"/>
                              <a:pt x="3229" y="68240"/>
                            </a:cubicBezTo>
                            <a:cubicBezTo>
                              <a:pt x="3170" y="68300"/>
                              <a:pt x="3110" y="68360"/>
                              <a:pt x="3050" y="68479"/>
                            </a:cubicBezTo>
                            <a:cubicBezTo>
                              <a:pt x="2871" y="68718"/>
                              <a:pt x="2632" y="68958"/>
                              <a:pt x="2452" y="69197"/>
                            </a:cubicBezTo>
                            <a:cubicBezTo>
                              <a:pt x="2273" y="69436"/>
                              <a:pt x="2034" y="69676"/>
                              <a:pt x="1854" y="69915"/>
                            </a:cubicBezTo>
                            <a:cubicBezTo>
                              <a:pt x="1675" y="70154"/>
                              <a:pt x="1435" y="70393"/>
                              <a:pt x="1256" y="70632"/>
                            </a:cubicBezTo>
                            <a:cubicBezTo>
                              <a:pt x="1076" y="70872"/>
                              <a:pt x="897" y="71111"/>
                              <a:pt x="658" y="71350"/>
                            </a:cubicBezTo>
                            <a:lnTo>
                              <a:pt x="0" y="71709"/>
                            </a:lnTo>
                          </a:path>
                        </a:pathLst>
                      </a:custGeom>
                      <a:noFill/>
                      <a:ln w="6350" cap="flat">
                        <a:solidFill>
                          <a:schemeClr val="bg1">
                            <a:alpha val="40000"/>
                          </a:schemeClr>
                        </a:solidFill>
                        <a:prstDash val="solid"/>
                        <a:miter/>
                      </a:ln>
                    </p:spPr>
                    <p:txBody>
                      <a:bodyPr rtlCol="0" anchor="ctr"/>
                      <a:lstStyle/>
                      <a:p>
                        <a:endParaRPr lang="en-GB"/>
                      </a:p>
                    </p:txBody>
                  </p:sp>
                  <p:sp>
                    <p:nvSpPr>
                      <p:cNvPr id="7526" name="Vrije vorm: vorm 7525">
                        <a:extLst>
                          <a:ext uri="{FF2B5EF4-FFF2-40B4-BE49-F238E27FC236}">
                            <a16:creationId xmlns:a16="http://schemas.microsoft.com/office/drawing/2014/main" id="{596CA407-DF35-4C5B-93EC-332D453BD486}"/>
                          </a:ext>
                        </a:extLst>
                      </p:cNvPr>
                      <p:cNvSpPr/>
                      <p:nvPr/>
                    </p:nvSpPr>
                    <p:spPr>
                      <a:xfrm>
                        <a:off x="5071492" y="5308827"/>
                        <a:ext cx="27870" cy="71589"/>
                      </a:xfrm>
                      <a:custGeom>
                        <a:avLst/>
                        <a:gdLst>
                          <a:gd name="connsiteX0" fmla="*/ 8552 w 27870"/>
                          <a:gd name="connsiteY0" fmla="*/ 9091 h 71589"/>
                          <a:gd name="connsiteX1" fmla="*/ 9270 w 27870"/>
                          <a:gd name="connsiteY1" fmla="*/ 8194 h 71589"/>
                          <a:gd name="connsiteX2" fmla="*/ 7476 w 27870"/>
                          <a:gd name="connsiteY2" fmla="*/ 6818 h 71589"/>
                          <a:gd name="connsiteX3" fmla="*/ 5562 w 27870"/>
                          <a:gd name="connsiteY3" fmla="*/ 5442 h 71589"/>
                          <a:gd name="connsiteX4" fmla="*/ 3588 w 27870"/>
                          <a:gd name="connsiteY4" fmla="*/ 4007 h 71589"/>
                          <a:gd name="connsiteX5" fmla="*/ 1495 w 27870"/>
                          <a:gd name="connsiteY5" fmla="*/ 2572 h 71589"/>
                          <a:gd name="connsiteX6" fmla="*/ 2392 w 27870"/>
                          <a:gd name="connsiteY6" fmla="*/ 1435 h 71589"/>
                          <a:gd name="connsiteX7" fmla="*/ 4486 w 27870"/>
                          <a:gd name="connsiteY7" fmla="*/ 2871 h 71589"/>
                          <a:gd name="connsiteX8" fmla="*/ 6459 w 27870"/>
                          <a:gd name="connsiteY8" fmla="*/ 4306 h 71589"/>
                          <a:gd name="connsiteX9" fmla="*/ 8373 w 27870"/>
                          <a:gd name="connsiteY9" fmla="*/ 5682 h 71589"/>
                          <a:gd name="connsiteX10" fmla="*/ 10167 w 27870"/>
                          <a:gd name="connsiteY10" fmla="*/ 7057 h 71589"/>
                          <a:gd name="connsiteX11" fmla="*/ 10885 w 27870"/>
                          <a:gd name="connsiteY11" fmla="*/ 6160 h 71589"/>
                          <a:gd name="connsiteX12" fmla="*/ 9031 w 27870"/>
                          <a:gd name="connsiteY12" fmla="*/ 4725 h 71589"/>
                          <a:gd name="connsiteX13" fmla="*/ 7057 w 27870"/>
                          <a:gd name="connsiteY13" fmla="*/ 3229 h 71589"/>
                          <a:gd name="connsiteX14" fmla="*/ 4964 w 27870"/>
                          <a:gd name="connsiteY14" fmla="*/ 1734 h 71589"/>
                          <a:gd name="connsiteX15" fmla="*/ 2751 w 27870"/>
                          <a:gd name="connsiteY15" fmla="*/ 239 h 71589"/>
                          <a:gd name="connsiteX16" fmla="*/ 2332 w 27870"/>
                          <a:gd name="connsiteY16" fmla="*/ 0 h 71589"/>
                          <a:gd name="connsiteX17" fmla="*/ 1794 w 27870"/>
                          <a:gd name="connsiteY17" fmla="*/ 718 h 71589"/>
                          <a:gd name="connsiteX18" fmla="*/ 0 w 27870"/>
                          <a:gd name="connsiteY18" fmla="*/ 2990 h 71589"/>
                          <a:gd name="connsiteX19" fmla="*/ 419 w 27870"/>
                          <a:gd name="connsiteY19" fmla="*/ 3229 h 71589"/>
                          <a:gd name="connsiteX20" fmla="*/ 2632 w 27870"/>
                          <a:gd name="connsiteY20" fmla="*/ 4725 h 71589"/>
                          <a:gd name="connsiteX21" fmla="*/ 4725 w 27870"/>
                          <a:gd name="connsiteY21" fmla="*/ 6220 h 71589"/>
                          <a:gd name="connsiteX22" fmla="*/ 6698 w 27870"/>
                          <a:gd name="connsiteY22" fmla="*/ 7655 h 71589"/>
                          <a:gd name="connsiteX23" fmla="*/ 8552 w 27870"/>
                          <a:gd name="connsiteY23" fmla="*/ 9091 h 71589"/>
                          <a:gd name="connsiteX24" fmla="*/ 16507 w 27870"/>
                          <a:gd name="connsiteY24" fmla="*/ 54125 h 71589"/>
                          <a:gd name="connsiteX25" fmla="*/ 17225 w 27870"/>
                          <a:gd name="connsiteY25" fmla="*/ 54604 h 71589"/>
                          <a:gd name="connsiteX26" fmla="*/ 18839 w 27870"/>
                          <a:gd name="connsiteY26" fmla="*/ 52451 h 71589"/>
                          <a:gd name="connsiteX27" fmla="*/ 20394 w 27870"/>
                          <a:gd name="connsiteY27" fmla="*/ 50298 h 71589"/>
                          <a:gd name="connsiteX28" fmla="*/ 21829 w 27870"/>
                          <a:gd name="connsiteY28" fmla="*/ 48205 h 71589"/>
                          <a:gd name="connsiteX29" fmla="*/ 23145 w 27870"/>
                          <a:gd name="connsiteY29" fmla="*/ 46111 h 71589"/>
                          <a:gd name="connsiteX30" fmla="*/ 23265 w 27870"/>
                          <a:gd name="connsiteY30" fmla="*/ 45872 h 71589"/>
                          <a:gd name="connsiteX31" fmla="*/ 23384 w 27870"/>
                          <a:gd name="connsiteY31" fmla="*/ 45633 h 71589"/>
                          <a:gd name="connsiteX32" fmla="*/ 23504 w 27870"/>
                          <a:gd name="connsiteY32" fmla="*/ 45393 h 71589"/>
                          <a:gd name="connsiteX33" fmla="*/ 23624 w 27870"/>
                          <a:gd name="connsiteY33" fmla="*/ 45154 h 71589"/>
                          <a:gd name="connsiteX34" fmla="*/ 24342 w 27870"/>
                          <a:gd name="connsiteY34" fmla="*/ 43839 h 71589"/>
                          <a:gd name="connsiteX35" fmla="*/ 24999 w 27870"/>
                          <a:gd name="connsiteY35" fmla="*/ 42523 h 71589"/>
                          <a:gd name="connsiteX36" fmla="*/ 25597 w 27870"/>
                          <a:gd name="connsiteY36" fmla="*/ 41207 h 71589"/>
                          <a:gd name="connsiteX37" fmla="*/ 26136 w 27870"/>
                          <a:gd name="connsiteY37" fmla="*/ 39951 h 71589"/>
                          <a:gd name="connsiteX38" fmla="*/ 26255 w 27870"/>
                          <a:gd name="connsiteY38" fmla="*/ 39712 h 71589"/>
                          <a:gd name="connsiteX39" fmla="*/ 26375 w 27870"/>
                          <a:gd name="connsiteY39" fmla="*/ 39473 h 71589"/>
                          <a:gd name="connsiteX40" fmla="*/ 26495 w 27870"/>
                          <a:gd name="connsiteY40" fmla="*/ 39234 h 71589"/>
                          <a:gd name="connsiteX41" fmla="*/ 26614 w 27870"/>
                          <a:gd name="connsiteY41" fmla="*/ 38994 h 71589"/>
                          <a:gd name="connsiteX42" fmla="*/ 26734 w 27870"/>
                          <a:gd name="connsiteY42" fmla="*/ 38635 h 71589"/>
                          <a:gd name="connsiteX43" fmla="*/ 26853 w 27870"/>
                          <a:gd name="connsiteY43" fmla="*/ 38276 h 71589"/>
                          <a:gd name="connsiteX44" fmla="*/ 26973 w 27870"/>
                          <a:gd name="connsiteY44" fmla="*/ 37918 h 71589"/>
                          <a:gd name="connsiteX45" fmla="*/ 27092 w 27870"/>
                          <a:gd name="connsiteY45" fmla="*/ 37559 h 71589"/>
                          <a:gd name="connsiteX46" fmla="*/ 27152 w 27870"/>
                          <a:gd name="connsiteY46" fmla="*/ 37260 h 71589"/>
                          <a:gd name="connsiteX47" fmla="*/ 27212 w 27870"/>
                          <a:gd name="connsiteY47" fmla="*/ 36961 h 71589"/>
                          <a:gd name="connsiteX48" fmla="*/ 27272 w 27870"/>
                          <a:gd name="connsiteY48" fmla="*/ 36662 h 71589"/>
                          <a:gd name="connsiteX49" fmla="*/ 27332 w 27870"/>
                          <a:gd name="connsiteY49" fmla="*/ 36363 h 71589"/>
                          <a:gd name="connsiteX50" fmla="*/ 27511 w 27870"/>
                          <a:gd name="connsiteY50" fmla="*/ 35466 h 71589"/>
                          <a:gd name="connsiteX51" fmla="*/ 27691 w 27870"/>
                          <a:gd name="connsiteY51" fmla="*/ 34568 h 71589"/>
                          <a:gd name="connsiteX52" fmla="*/ 27810 w 27870"/>
                          <a:gd name="connsiteY52" fmla="*/ 33671 h 71589"/>
                          <a:gd name="connsiteX53" fmla="*/ 27870 w 27870"/>
                          <a:gd name="connsiteY53" fmla="*/ 32774 h 71589"/>
                          <a:gd name="connsiteX54" fmla="*/ 27870 w 27870"/>
                          <a:gd name="connsiteY54" fmla="*/ 32475 h 71589"/>
                          <a:gd name="connsiteX55" fmla="*/ 27870 w 27870"/>
                          <a:gd name="connsiteY55" fmla="*/ 32176 h 71589"/>
                          <a:gd name="connsiteX56" fmla="*/ 27870 w 27870"/>
                          <a:gd name="connsiteY56" fmla="*/ 31877 h 71589"/>
                          <a:gd name="connsiteX57" fmla="*/ 27870 w 27870"/>
                          <a:gd name="connsiteY57" fmla="*/ 31578 h 71589"/>
                          <a:gd name="connsiteX58" fmla="*/ 27870 w 27870"/>
                          <a:gd name="connsiteY58" fmla="*/ 31519 h 71589"/>
                          <a:gd name="connsiteX59" fmla="*/ 27870 w 27870"/>
                          <a:gd name="connsiteY59" fmla="*/ 31459 h 71589"/>
                          <a:gd name="connsiteX60" fmla="*/ 27870 w 27870"/>
                          <a:gd name="connsiteY60" fmla="*/ 31399 h 71589"/>
                          <a:gd name="connsiteX61" fmla="*/ 27870 w 27870"/>
                          <a:gd name="connsiteY61" fmla="*/ 31339 h 71589"/>
                          <a:gd name="connsiteX62" fmla="*/ 27810 w 27870"/>
                          <a:gd name="connsiteY62" fmla="*/ 30382 h 71589"/>
                          <a:gd name="connsiteX63" fmla="*/ 27750 w 27870"/>
                          <a:gd name="connsiteY63" fmla="*/ 29425 h 71589"/>
                          <a:gd name="connsiteX64" fmla="*/ 27631 w 27870"/>
                          <a:gd name="connsiteY64" fmla="*/ 28468 h 71589"/>
                          <a:gd name="connsiteX65" fmla="*/ 27451 w 27870"/>
                          <a:gd name="connsiteY65" fmla="*/ 27511 h 71589"/>
                          <a:gd name="connsiteX66" fmla="*/ 27391 w 27870"/>
                          <a:gd name="connsiteY66" fmla="*/ 27272 h 71589"/>
                          <a:gd name="connsiteX67" fmla="*/ 27332 w 27870"/>
                          <a:gd name="connsiteY67" fmla="*/ 27033 h 71589"/>
                          <a:gd name="connsiteX68" fmla="*/ 27272 w 27870"/>
                          <a:gd name="connsiteY68" fmla="*/ 26794 h 71589"/>
                          <a:gd name="connsiteX69" fmla="*/ 27212 w 27870"/>
                          <a:gd name="connsiteY69" fmla="*/ 26554 h 71589"/>
                          <a:gd name="connsiteX70" fmla="*/ 27092 w 27870"/>
                          <a:gd name="connsiteY70" fmla="*/ 26136 h 71589"/>
                          <a:gd name="connsiteX71" fmla="*/ 26973 w 27870"/>
                          <a:gd name="connsiteY71" fmla="*/ 25717 h 71589"/>
                          <a:gd name="connsiteX72" fmla="*/ 26853 w 27870"/>
                          <a:gd name="connsiteY72" fmla="*/ 25298 h 71589"/>
                          <a:gd name="connsiteX73" fmla="*/ 26734 w 27870"/>
                          <a:gd name="connsiteY73" fmla="*/ 24880 h 71589"/>
                          <a:gd name="connsiteX74" fmla="*/ 26554 w 27870"/>
                          <a:gd name="connsiteY74" fmla="*/ 24401 h 71589"/>
                          <a:gd name="connsiteX75" fmla="*/ 26375 w 27870"/>
                          <a:gd name="connsiteY75" fmla="*/ 23923 h 71589"/>
                          <a:gd name="connsiteX76" fmla="*/ 26136 w 27870"/>
                          <a:gd name="connsiteY76" fmla="*/ 23444 h 71589"/>
                          <a:gd name="connsiteX77" fmla="*/ 25896 w 27870"/>
                          <a:gd name="connsiteY77" fmla="*/ 22966 h 71589"/>
                          <a:gd name="connsiteX78" fmla="*/ 25717 w 27870"/>
                          <a:gd name="connsiteY78" fmla="*/ 22607 h 71589"/>
                          <a:gd name="connsiteX79" fmla="*/ 25537 w 27870"/>
                          <a:gd name="connsiteY79" fmla="*/ 22248 h 71589"/>
                          <a:gd name="connsiteX80" fmla="*/ 25358 w 27870"/>
                          <a:gd name="connsiteY80" fmla="*/ 21889 h 71589"/>
                          <a:gd name="connsiteX81" fmla="*/ 25179 w 27870"/>
                          <a:gd name="connsiteY81" fmla="*/ 21530 h 71589"/>
                          <a:gd name="connsiteX82" fmla="*/ 24641 w 27870"/>
                          <a:gd name="connsiteY82" fmla="*/ 20634 h 71589"/>
                          <a:gd name="connsiteX83" fmla="*/ 24042 w 27870"/>
                          <a:gd name="connsiteY83" fmla="*/ 19736 h 71589"/>
                          <a:gd name="connsiteX84" fmla="*/ 23444 w 27870"/>
                          <a:gd name="connsiteY84" fmla="*/ 18839 h 71589"/>
                          <a:gd name="connsiteX85" fmla="*/ 22787 w 27870"/>
                          <a:gd name="connsiteY85" fmla="*/ 17942 h 71589"/>
                          <a:gd name="connsiteX86" fmla="*/ 22488 w 27870"/>
                          <a:gd name="connsiteY86" fmla="*/ 17583 h 71589"/>
                          <a:gd name="connsiteX87" fmla="*/ 22188 w 27870"/>
                          <a:gd name="connsiteY87" fmla="*/ 17225 h 71589"/>
                          <a:gd name="connsiteX88" fmla="*/ 21889 w 27870"/>
                          <a:gd name="connsiteY88" fmla="*/ 16866 h 71589"/>
                          <a:gd name="connsiteX89" fmla="*/ 21590 w 27870"/>
                          <a:gd name="connsiteY89" fmla="*/ 16507 h 71589"/>
                          <a:gd name="connsiteX90" fmla="*/ 21112 w 27870"/>
                          <a:gd name="connsiteY90" fmla="*/ 15968 h 71589"/>
                          <a:gd name="connsiteX91" fmla="*/ 20633 w 27870"/>
                          <a:gd name="connsiteY91" fmla="*/ 15430 h 71589"/>
                          <a:gd name="connsiteX92" fmla="*/ 20155 w 27870"/>
                          <a:gd name="connsiteY92" fmla="*/ 14892 h 71589"/>
                          <a:gd name="connsiteX93" fmla="*/ 19676 w 27870"/>
                          <a:gd name="connsiteY93" fmla="*/ 14354 h 71589"/>
                          <a:gd name="connsiteX94" fmla="*/ 19198 w 27870"/>
                          <a:gd name="connsiteY94" fmla="*/ 13815 h 71589"/>
                          <a:gd name="connsiteX95" fmla="*/ 18720 w 27870"/>
                          <a:gd name="connsiteY95" fmla="*/ 13277 h 71589"/>
                          <a:gd name="connsiteX96" fmla="*/ 18241 w 27870"/>
                          <a:gd name="connsiteY96" fmla="*/ 12739 h 71589"/>
                          <a:gd name="connsiteX97" fmla="*/ 17703 w 27870"/>
                          <a:gd name="connsiteY97" fmla="*/ 12201 h 71589"/>
                          <a:gd name="connsiteX98" fmla="*/ 17105 w 27870"/>
                          <a:gd name="connsiteY98" fmla="*/ 11662 h 71589"/>
                          <a:gd name="connsiteX99" fmla="*/ 16507 w 27870"/>
                          <a:gd name="connsiteY99" fmla="*/ 11124 h 71589"/>
                          <a:gd name="connsiteX100" fmla="*/ 15909 w 27870"/>
                          <a:gd name="connsiteY100" fmla="*/ 10586 h 71589"/>
                          <a:gd name="connsiteX101" fmla="*/ 15251 w 27870"/>
                          <a:gd name="connsiteY101" fmla="*/ 10048 h 71589"/>
                          <a:gd name="connsiteX102" fmla="*/ 14354 w 27870"/>
                          <a:gd name="connsiteY102" fmla="*/ 9270 h 71589"/>
                          <a:gd name="connsiteX103" fmla="*/ 13457 w 27870"/>
                          <a:gd name="connsiteY103" fmla="*/ 8493 h 71589"/>
                          <a:gd name="connsiteX104" fmla="*/ 12500 w 27870"/>
                          <a:gd name="connsiteY104" fmla="*/ 7715 h 71589"/>
                          <a:gd name="connsiteX105" fmla="*/ 11543 w 27870"/>
                          <a:gd name="connsiteY105" fmla="*/ 6937 h 71589"/>
                          <a:gd name="connsiteX106" fmla="*/ 10825 w 27870"/>
                          <a:gd name="connsiteY106" fmla="*/ 7835 h 71589"/>
                          <a:gd name="connsiteX107" fmla="*/ 13098 w 27870"/>
                          <a:gd name="connsiteY107" fmla="*/ 9689 h 71589"/>
                          <a:gd name="connsiteX108" fmla="*/ 15191 w 27870"/>
                          <a:gd name="connsiteY108" fmla="*/ 11543 h 71589"/>
                          <a:gd name="connsiteX109" fmla="*/ 17105 w 27870"/>
                          <a:gd name="connsiteY109" fmla="*/ 13337 h 71589"/>
                          <a:gd name="connsiteX110" fmla="*/ 18839 w 27870"/>
                          <a:gd name="connsiteY110" fmla="*/ 15072 h 71589"/>
                          <a:gd name="connsiteX111" fmla="*/ 19198 w 27870"/>
                          <a:gd name="connsiteY111" fmla="*/ 15490 h 71589"/>
                          <a:gd name="connsiteX112" fmla="*/ 19557 w 27870"/>
                          <a:gd name="connsiteY112" fmla="*/ 15909 h 71589"/>
                          <a:gd name="connsiteX113" fmla="*/ 19916 w 27870"/>
                          <a:gd name="connsiteY113" fmla="*/ 16327 h 71589"/>
                          <a:gd name="connsiteX114" fmla="*/ 20274 w 27870"/>
                          <a:gd name="connsiteY114" fmla="*/ 16746 h 71589"/>
                          <a:gd name="connsiteX115" fmla="*/ 20693 w 27870"/>
                          <a:gd name="connsiteY115" fmla="*/ 17225 h 71589"/>
                          <a:gd name="connsiteX116" fmla="*/ 21052 w 27870"/>
                          <a:gd name="connsiteY116" fmla="*/ 17703 h 71589"/>
                          <a:gd name="connsiteX117" fmla="*/ 21411 w 27870"/>
                          <a:gd name="connsiteY117" fmla="*/ 18181 h 71589"/>
                          <a:gd name="connsiteX118" fmla="*/ 21770 w 27870"/>
                          <a:gd name="connsiteY118" fmla="*/ 18660 h 71589"/>
                          <a:gd name="connsiteX119" fmla="*/ 22009 w 27870"/>
                          <a:gd name="connsiteY119" fmla="*/ 19019 h 71589"/>
                          <a:gd name="connsiteX120" fmla="*/ 22248 w 27870"/>
                          <a:gd name="connsiteY120" fmla="*/ 19377 h 71589"/>
                          <a:gd name="connsiteX121" fmla="*/ 22488 w 27870"/>
                          <a:gd name="connsiteY121" fmla="*/ 19736 h 71589"/>
                          <a:gd name="connsiteX122" fmla="*/ 22727 w 27870"/>
                          <a:gd name="connsiteY122" fmla="*/ 20095 h 71589"/>
                          <a:gd name="connsiteX123" fmla="*/ 23325 w 27870"/>
                          <a:gd name="connsiteY123" fmla="*/ 20992 h 71589"/>
                          <a:gd name="connsiteX124" fmla="*/ 23863 w 27870"/>
                          <a:gd name="connsiteY124" fmla="*/ 21889 h 71589"/>
                          <a:gd name="connsiteX125" fmla="*/ 24342 w 27870"/>
                          <a:gd name="connsiteY125" fmla="*/ 22787 h 71589"/>
                          <a:gd name="connsiteX126" fmla="*/ 24820 w 27870"/>
                          <a:gd name="connsiteY126" fmla="*/ 23683 h 71589"/>
                          <a:gd name="connsiteX127" fmla="*/ 24999 w 27870"/>
                          <a:gd name="connsiteY127" fmla="*/ 24043 h 71589"/>
                          <a:gd name="connsiteX128" fmla="*/ 25179 w 27870"/>
                          <a:gd name="connsiteY128" fmla="*/ 24401 h 71589"/>
                          <a:gd name="connsiteX129" fmla="*/ 25358 w 27870"/>
                          <a:gd name="connsiteY129" fmla="*/ 24760 h 71589"/>
                          <a:gd name="connsiteX130" fmla="*/ 25537 w 27870"/>
                          <a:gd name="connsiteY130" fmla="*/ 25119 h 71589"/>
                          <a:gd name="connsiteX131" fmla="*/ 25537 w 27870"/>
                          <a:gd name="connsiteY131" fmla="*/ 25119 h 71589"/>
                          <a:gd name="connsiteX132" fmla="*/ 25537 w 27870"/>
                          <a:gd name="connsiteY132" fmla="*/ 25119 h 71589"/>
                          <a:gd name="connsiteX133" fmla="*/ 25537 w 27870"/>
                          <a:gd name="connsiteY133" fmla="*/ 25119 h 71589"/>
                          <a:gd name="connsiteX134" fmla="*/ 25537 w 27870"/>
                          <a:gd name="connsiteY134" fmla="*/ 25119 h 71589"/>
                          <a:gd name="connsiteX135" fmla="*/ 25717 w 27870"/>
                          <a:gd name="connsiteY135" fmla="*/ 25538 h 71589"/>
                          <a:gd name="connsiteX136" fmla="*/ 25896 w 27870"/>
                          <a:gd name="connsiteY136" fmla="*/ 25956 h 71589"/>
                          <a:gd name="connsiteX137" fmla="*/ 26076 w 27870"/>
                          <a:gd name="connsiteY137" fmla="*/ 26375 h 71589"/>
                          <a:gd name="connsiteX138" fmla="*/ 26196 w 27870"/>
                          <a:gd name="connsiteY138" fmla="*/ 26794 h 71589"/>
                          <a:gd name="connsiteX139" fmla="*/ 26196 w 27870"/>
                          <a:gd name="connsiteY139" fmla="*/ 26853 h 71589"/>
                          <a:gd name="connsiteX140" fmla="*/ 26196 w 27870"/>
                          <a:gd name="connsiteY140" fmla="*/ 26913 h 71589"/>
                          <a:gd name="connsiteX141" fmla="*/ 26196 w 27870"/>
                          <a:gd name="connsiteY141" fmla="*/ 26973 h 71589"/>
                          <a:gd name="connsiteX142" fmla="*/ 26196 w 27870"/>
                          <a:gd name="connsiteY142" fmla="*/ 27033 h 71589"/>
                          <a:gd name="connsiteX143" fmla="*/ 26315 w 27870"/>
                          <a:gd name="connsiteY143" fmla="*/ 27451 h 71589"/>
                          <a:gd name="connsiteX144" fmla="*/ 26435 w 27870"/>
                          <a:gd name="connsiteY144" fmla="*/ 27870 h 71589"/>
                          <a:gd name="connsiteX145" fmla="*/ 26554 w 27870"/>
                          <a:gd name="connsiteY145" fmla="*/ 28289 h 71589"/>
                          <a:gd name="connsiteX146" fmla="*/ 26614 w 27870"/>
                          <a:gd name="connsiteY146" fmla="*/ 28707 h 71589"/>
                          <a:gd name="connsiteX147" fmla="*/ 26734 w 27870"/>
                          <a:gd name="connsiteY147" fmla="*/ 29305 h 71589"/>
                          <a:gd name="connsiteX148" fmla="*/ 26794 w 27870"/>
                          <a:gd name="connsiteY148" fmla="*/ 29904 h 71589"/>
                          <a:gd name="connsiteX149" fmla="*/ 26853 w 27870"/>
                          <a:gd name="connsiteY149" fmla="*/ 30502 h 71589"/>
                          <a:gd name="connsiteX150" fmla="*/ 26913 w 27870"/>
                          <a:gd name="connsiteY150" fmla="*/ 31100 h 71589"/>
                          <a:gd name="connsiteX151" fmla="*/ 26913 w 27870"/>
                          <a:gd name="connsiteY151" fmla="*/ 31279 h 71589"/>
                          <a:gd name="connsiteX152" fmla="*/ 26913 w 27870"/>
                          <a:gd name="connsiteY152" fmla="*/ 31459 h 71589"/>
                          <a:gd name="connsiteX153" fmla="*/ 26913 w 27870"/>
                          <a:gd name="connsiteY153" fmla="*/ 31638 h 71589"/>
                          <a:gd name="connsiteX154" fmla="*/ 26913 w 27870"/>
                          <a:gd name="connsiteY154" fmla="*/ 31817 h 71589"/>
                          <a:gd name="connsiteX155" fmla="*/ 26913 w 27870"/>
                          <a:gd name="connsiteY155" fmla="*/ 31937 h 71589"/>
                          <a:gd name="connsiteX156" fmla="*/ 26913 w 27870"/>
                          <a:gd name="connsiteY156" fmla="*/ 32057 h 71589"/>
                          <a:gd name="connsiteX157" fmla="*/ 26913 w 27870"/>
                          <a:gd name="connsiteY157" fmla="*/ 32176 h 71589"/>
                          <a:gd name="connsiteX158" fmla="*/ 26913 w 27870"/>
                          <a:gd name="connsiteY158" fmla="*/ 32296 h 71589"/>
                          <a:gd name="connsiteX159" fmla="*/ 26853 w 27870"/>
                          <a:gd name="connsiteY159" fmla="*/ 33193 h 71589"/>
                          <a:gd name="connsiteX160" fmla="*/ 26794 w 27870"/>
                          <a:gd name="connsiteY160" fmla="*/ 34090 h 71589"/>
                          <a:gd name="connsiteX161" fmla="*/ 26674 w 27870"/>
                          <a:gd name="connsiteY161" fmla="*/ 34987 h 71589"/>
                          <a:gd name="connsiteX162" fmla="*/ 26495 w 27870"/>
                          <a:gd name="connsiteY162" fmla="*/ 35884 h 71589"/>
                          <a:gd name="connsiteX163" fmla="*/ 26435 w 27870"/>
                          <a:gd name="connsiteY163" fmla="*/ 36183 h 71589"/>
                          <a:gd name="connsiteX164" fmla="*/ 26375 w 27870"/>
                          <a:gd name="connsiteY164" fmla="*/ 36482 h 71589"/>
                          <a:gd name="connsiteX165" fmla="*/ 26315 w 27870"/>
                          <a:gd name="connsiteY165" fmla="*/ 36781 h 71589"/>
                          <a:gd name="connsiteX166" fmla="*/ 26255 w 27870"/>
                          <a:gd name="connsiteY166" fmla="*/ 37081 h 71589"/>
                          <a:gd name="connsiteX167" fmla="*/ 26136 w 27870"/>
                          <a:gd name="connsiteY167" fmla="*/ 37439 h 71589"/>
                          <a:gd name="connsiteX168" fmla="*/ 26016 w 27870"/>
                          <a:gd name="connsiteY168" fmla="*/ 37798 h 71589"/>
                          <a:gd name="connsiteX169" fmla="*/ 25896 w 27870"/>
                          <a:gd name="connsiteY169" fmla="*/ 38157 h 71589"/>
                          <a:gd name="connsiteX170" fmla="*/ 25777 w 27870"/>
                          <a:gd name="connsiteY170" fmla="*/ 38516 h 71589"/>
                          <a:gd name="connsiteX171" fmla="*/ 25657 w 27870"/>
                          <a:gd name="connsiteY171" fmla="*/ 38755 h 71589"/>
                          <a:gd name="connsiteX172" fmla="*/ 25537 w 27870"/>
                          <a:gd name="connsiteY172" fmla="*/ 39054 h 71589"/>
                          <a:gd name="connsiteX173" fmla="*/ 25418 w 27870"/>
                          <a:gd name="connsiteY173" fmla="*/ 39353 h 71589"/>
                          <a:gd name="connsiteX174" fmla="*/ 25298 w 27870"/>
                          <a:gd name="connsiteY174" fmla="*/ 39652 h 71589"/>
                          <a:gd name="connsiteX175" fmla="*/ 24760 w 27870"/>
                          <a:gd name="connsiteY175" fmla="*/ 40968 h 71589"/>
                          <a:gd name="connsiteX176" fmla="*/ 24162 w 27870"/>
                          <a:gd name="connsiteY176" fmla="*/ 42284 h 71589"/>
                          <a:gd name="connsiteX177" fmla="*/ 23504 w 27870"/>
                          <a:gd name="connsiteY177" fmla="*/ 43599 h 71589"/>
                          <a:gd name="connsiteX178" fmla="*/ 22787 w 27870"/>
                          <a:gd name="connsiteY178" fmla="*/ 44915 h 71589"/>
                          <a:gd name="connsiteX179" fmla="*/ 22667 w 27870"/>
                          <a:gd name="connsiteY179" fmla="*/ 45154 h 71589"/>
                          <a:gd name="connsiteX180" fmla="*/ 22547 w 27870"/>
                          <a:gd name="connsiteY180" fmla="*/ 45393 h 71589"/>
                          <a:gd name="connsiteX181" fmla="*/ 22428 w 27870"/>
                          <a:gd name="connsiteY181" fmla="*/ 45633 h 71589"/>
                          <a:gd name="connsiteX182" fmla="*/ 22308 w 27870"/>
                          <a:gd name="connsiteY182" fmla="*/ 45872 h 71589"/>
                          <a:gd name="connsiteX183" fmla="*/ 20992 w 27870"/>
                          <a:gd name="connsiteY183" fmla="*/ 47966 h 71589"/>
                          <a:gd name="connsiteX184" fmla="*/ 19557 w 27870"/>
                          <a:gd name="connsiteY184" fmla="*/ 50059 h 71589"/>
                          <a:gd name="connsiteX185" fmla="*/ 18002 w 27870"/>
                          <a:gd name="connsiteY185" fmla="*/ 52212 h 71589"/>
                          <a:gd name="connsiteX186" fmla="*/ 16507 w 27870"/>
                          <a:gd name="connsiteY186" fmla="*/ 54125 h 71589"/>
                          <a:gd name="connsiteX187" fmla="*/ 14832 w 27870"/>
                          <a:gd name="connsiteY187" fmla="*/ 53049 h 71589"/>
                          <a:gd name="connsiteX188" fmla="*/ 15550 w 27870"/>
                          <a:gd name="connsiteY188" fmla="*/ 53528 h 71589"/>
                          <a:gd name="connsiteX189" fmla="*/ 17225 w 27870"/>
                          <a:gd name="connsiteY189" fmla="*/ 51315 h 71589"/>
                          <a:gd name="connsiteX190" fmla="*/ 18779 w 27870"/>
                          <a:gd name="connsiteY190" fmla="*/ 49161 h 71589"/>
                          <a:gd name="connsiteX191" fmla="*/ 20215 w 27870"/>
                          <a:gd name="connsiteY191" fmla="*/ 47068 h 71589"/>
                          <a:gd name="connsiteX192" fmla="*/ 21471 w 27870"/>
                          <a:gd name="connsiteY192" fmla="*/ 45035 h 71589"/>
                          <a:gd name="connsiteX193" fmla="*/ 21590 w 27870"/>
                          <a:gd name="connsiteY193" fmla="*/ 44796 h 71589"/>
                          <a:gd name="connsiteX194" fmla="*/ 21710 w 27870"/>
                          <a:gd name="connsiteY194" fmla="*/ 44556 h 71589"/>
                          <a:gd name="connsiteX195" fmla="*/ 21829 w 27870"/>
                          <a:gd name="connsiteY195" fmla="*/ 44317 h 71589"/>
                          <a:gd name="connsiteX196" fmla="*/ 21949 w 27870"/>
                          <a:gd name="connsiteY196" fmla="*/ 44078 h 71589"/>
                          <a:gd name="connsiteX197" fmla="*/ 22667 w 27870"/>
                          <a:gd name="connsiteY197" fmla="*/ 42762 h 71589"/>
                          <a:gd name="connsiteX198" fmla="*/ 23325 w 27870"/>
                          <a:gd name="connsiteY198" fmla="*/ 41446 h 71589"/>
                          <a:gd name="connsiteX199" fmla="*/ 23923 w 27870"/>
                          <a:gd name="connsiteY199" fmla="*/ 40130 h 71589"/>
                          <a:gd name="connsiteX200" fmla="*/ 24401 w 27870"/>
                          <a:gd name="connsiteY200" fmla="*/ 38815 h 71589"/>
                          <a:gd name="connsiteX201" fmla="*/ 24521 w 27870"/>
                          <a:gd name="connsiteY201" fmla="*/ 38516 h 71589"/>
                          <a:gd name="connsiteX202" fmla="*/ 24641 w 27870"/>
                          <a:gd name="connsiteY202" fmla="*/ 38217 h 71589"/>
                          <a:gd name="connsiteX203" fmla="*/ 24700 w 27870"/>
                          <a:gd name="connsiteY203" fmla="*/ 37918 h 71589"/>
                          <a:gd name="connsiteX204" fmla="*/ 24760 w 27870"/>
                          <a:gd name="connsiteY204" fmla="*/ 37619 h 71589"/>
                          <a:gd name="connsiteX205" fmla="*/ 24880 w 27870"/>
                          <a:gd name="connsiteY205" fmla="*/ 37200 h 71589"/>
                          <a:gd name="connsiteX206" fmla="*/ 24999 w 27870"/>
                          <a:gd name="connsiteY206" fmla="*/ 36781 h 71589"/>
                          <a:gd name="connsiteX207" fmla="*/ 25119 w 27870"/>
                          <a:gd name="connsiteY207" fmla="*/ 36363 h 71589"/>
                          <a:gd name="connsiteX208" fmla="*/ 25238 w 27870"/>
                          <a:gd name="connsiteY208" fmla="*/ 35944 h 71589"/>
                          <a:gd name="connsiteX209" fmla="*/ 25298 w 27870"/>
                          <a:gd name="connsiteY209" fmla="*/ 35645 h 71589"/>
                          <a:gd name="connsiteX210" fmla="*/ 25358 w 27870"/>
                          <a:gd name="connsiteY210" fmla="*/ 35346 h 71589"/>
                          <a:gd name="connsiteX211" fmla="*/ 25418 w 27870"/>
                          <a:gd name="connsiteY211" fmla="*/ 35047 h 71589"/>
                          <a:gd name="connsiteX212" fmla="*/ 25478 w 27870"/>
                          <a:gd name="connsiteY212" fmla="*/ 34748 h 71589"/>
                          <a:gd name="connsiteX213" fmla="*/ 25597 w 27870"/>
                          <a:gd name="connsiteY213" fmla="*/ 33970 h 71589"/>
                          <a:gd name="connsiteX214" fmla="*/ 25657 w 27870"/>
                          <a:gd name="connsiteY214" fmla="*/ 33193 h 71589"/>
                          <a:gd name="connsiteX215" fmla="*/ 25717 w 27870"/>
                          <a:gd name="connsiteY215" fmla="*/ 32415 h 71589"/>
                          <a:gd name="connsiteX216" fmla="*/ 25717 w 27870"/>
                          <a:gd name="connsiteY216" fmla="*/ 31638 h 71589"/>
                          <a:gd name="connsiteX217" fmla="*/ 25717 w 27870"/>
                          <a:gd name="connsiteY217" fmla="*/ 31459 h 71589"/>
                          <a:gd name="connsiteX218" fmla="*/ 25717 w 27870"/>
                          <a:gd name="connsiteY218" fmla="*/ 31279 h 71589"/>
                          <a:gd name="connsiteX219" fmla="*/ 25717 w 27870"/>
                          <a:gd name="connsiteY219" fmla="*/ 31100 h 71589"/>
                          <a:gd name="connsiteX220" fmla="*/ 25717 w 27870"/>
                          <a:gd name="connsiteY220" fmla="*/ 30920 h 71589"/>
                          <a:gd name="connsiteX221" fmla="*/ 25717 w 27870"/>
                          <a:gd name="connsiteY221" fmla="*/ 30860 h 71589"/>
                          <a:gd name="connsiteX222" fmla="*/ 25717 w 27870"/>
                          <a:gd name="connsiteY222" fmla="*/ 30800 h 71589"/>
                          <a:gd name="connsiteX223" fmla="*/ 25717 w 27870"/>
                          <a:gd name="connsiteY223" fmla="*/ 30741 h 71589"/>
                          <a:gd name="connsiteX224" fmla="*/ 25717 w 27870"/>
                          <a:gd name="connsiteY224" fmla="*/ 30681 h 71589"/>
                          <a:gd name="connsiteX225" fmla="*/ 25657 w 27870"/>
                          <a:gd name="connsiteY225" fmla="*/ 30262 h 71589"/>
                          <a:gd name="connsiteX226" fmla="*/ 25597 w 27870"/>
                          <a:gd name="connsiteY226" fmla="*/ 29844 h 71589"/>
                          <a:gd name="connsiteX227" fmla="*/ 25537 w 27870"/>
                          <a:gd name="connsiteY227" fmla="*/ 29425 h 71589"/>
                          <a:gd name="connsiteX228" fmla="*/ 25478 w 27870"/>
                          <a:gd name="connsiteY228" fmla="*/ 29006 h 71589"/>
                          <a:gd name="connsiteX229" fmla="*/ 25358 w 27870"/>
                          <a:gd name="connsiteY229" fmla="*/ 28468 h 71589"/>
                          <a:gd name="connsiteX230" fmla="*/ 25238 w 27870"/>
                          <a:gd name="connsiteY230" fmla="*/ 27930 h 71589"/>
                          <a:gd name="connsiteX231" fmla="*/ 25119 w 27870"/>
                          <a:gd name="connsiteY231" fmla="*/ 27392 h 71589"/>
                          <a:gd name="connsiteX232" fmla="*/ 24940 w 27870"/>
                          <a:gd name="connsiteY232" fmla="*/ 26853 h 71589"/>
                          <a:gd name="connsiteX233" fmla="*/ 24820 w 27870"/>
                          <a:gd name="connsiteY233" fmla="*/ 26495 h 71589"/>
                          <a:gd name="connsiteX234" fmla="*/ 24700 w 27870"/>
                          <a:gd name="connsiteY234" fmla="*/ 26136 h 71589"/>
                          <a:gd name="connsiteX235" fmla="*/ 24581 w 27870"/>
                          <a:gd name="connsiteY235" fmla="*/ 25777 h 71589"/>
                          <a:gd name="connsiteX236" fmla="*/ 24461 w 27870"/>
                          <a:gd name="connsiteY236" fmla="*/ 25418 h 71589"/>
                          <a:gd name="connsiteX237" fmla="*/ 24461 w 27870"/>
                          <a:gd name="connsiteY237" fmla="*/ 25358 h 71589"/>
                          <a:gd name="connsiteX238" fmla="*/ 24461 w 27870"/>
                          <a:gd name="connsiteY238" fmla="*/ 25298 h 71589"/>
                          <a:gd name="connsiteX239" fmla="*/ 24461 w 27870"/>
                          <a:gd name="connsiteY239" fmla="*/ 25238 h 71589"/>
                          <a:gd name="connsiteX240" fmla="*/ 24461 w 27870"/>
                          <a:gd name="connsiteY240" fmla="*/ 25179 h 71589"/>
                          <a:gd name="connsiteX241" fmla="*/ 24222 w 27870"/>
                          <a:gd name="connsiteY241" fmla="*/ 24700 h 71589"/>
                          <a:gd name="connsiteX242" fmla="*/ 23983 w 27870"/>
                          <a:gd name="connsiteY242" fmla="*/ 24222 h 71589"/>
                          <a:gd name="connsiteX243" fmla="*/ 23743 w 27870"/>
                          <a:gd name="connsiteY243" fmla="*/ 23743 h 71589"/>
                          <a:gd name="connsiteX244" fmla="*/ 23504 w 27870"/>
                          <a:gd name="connsiteY244" fmla="*/ 23265 h 71589"/>
                          <a:gd name="connsiteX245" fmla="*/ 23325 w 27870"/>
                          <a:gd name="connsiteY245" fmla="*/ 22966 h 71589"/>
                          <a:gd name="connsiteX246" fmla="*/ 23145 w 27870"/>
                          <a:gd name="connsiteY246" fmla="*/ 22667 h 71589"/>
                          <a:gd name="connsiteX247" fmla="*/ 22966 w 27870"/>
                          <a:gd name="connsiteY247" fmla="*/ 22368 h 71589"/>
                          <a:gd name="connsiteX248" fmla="*/ 22787 w 27870"/>
                          <a:gd name="connsiteY248" fmla="*/ 22069 h 71589"/>
                          <a:gd name="connsiteX249" fmla="*/ 22607 w 27870"/>
                          <a:gd name="connsiteY249" fmla="*/ 21770 h 71589"/>
                          <a:gd name="connsiteX250" fmla="*/ 22428 w 27870"/>
                          <a:gd name="connsiteY250" fmla="*/ 21471 h 71589"/>
                          <a:gd name="connsiteX251" fmla="*/ 22248 w 27870"/>
                          <a:gd name="connsiteY251" fmla="*/ 21172 h 71589"/>
                          <a:gd name="connsiteX252" fmla="*/ 22009 w 27870"/>
                          <a:gd name="connsiteY252" fmla="*/ 20873 h 71589"/>
                          <a:gd name="connsiteX253" fmla="*/ 21710 w 27870"/>
                          <a:gd name="connsiteY253" fmla="*/ 20454 h 71589"/>
                          <a:gd name="connsiteX254" fmla="*/ 21411 w 27870"/>
                          <a:gd name="connsiteY254" fmla="*/ 20035 h 71589"/>
                          <a:gd name="connsiteX255" fmla="*/ 21112 w 27870"/>
                          <a:gd name="connsiteY255" fmla="*/ 19617 h 71589"/>
                          <a:gd name="connsiteX256" fmla="*/ 20813 w 27870"/>
                          <a:gd name="connsiteY256" fmla="*/ 19198 h 71589"/>
                          <a:gd name="connsiteX257" fmla="*/ 20574 w 27870"/>
                          <a:gd name="connsiteY257" fmla="*/ 18839 h 71589"/>
                          <a:gd name="connsiteX258" fmla="*/ 20274 w 27870"/>
                          <a:gd name="connsiteY258" fmla="*/ 18480 h 71589"/>
                          <a:gd name="connsiteX259" fmla="*/ 19975 w 27870"/>
                          <a:gd name="connsiteY259" fmla="*/ 18121 h 71589"/>
                          <a:gd name="connsiteX260" fmla="*/ 19676 w 27870"/>
                          <a:gd name="connsiteY260" fmla="*/ 17763 h 71589"/>
                          <a:gd name="connsiteX261" fmla="*/ 17763 w 27870"/>
                          <a:gd name="connsiteY261" fmla="*/ 15610 h 71589"/>
                          <a:gd name="connsiteX262" fmla="*/ 15550 w 27870"/>
                          <a:gd name="connsiteY262" fmla="*/ 13397 h 71589"/>
                          <a:gd name="connsiteX263" fmla="*/ 13038 w 27870"/>
                          <a:gd name="connsiteY263" fmla="*/ 11124 h 71589"/>
                          <a:gd name="connsiteX264" fmla="*/ 10227 w 27870"/>
                          <a:gd name="connsiteY264" fmla="*/ 8791 h 71589"/>
                          <a:gd name="connsiteX265" fmla="*/ 9509 w 27870"/>
                          <a:gd name="connsiteY265" fmla="*/ 9689 h 71589"/>
                          <a:gd name="connsiteX266" fmla="*/ 12619 w 27870"/>
                          <a:gd name="connsiteY266" fmla="*/ 12260 h 71589"/>
                          <a:gd name="connsiteX267" fmla="*/ 15371 w 27870"/>
                          <a:gd name="connsiteY267" fmla="*/ 14772 h 71589"/>
                          <a:gd name="connsiteX268" fmla="*/ 17763 w 27870"/>
                          <a:gd name="connsiteY268" fmla="*/ 17225 h 71589"/>
                          <a:gd name="connsiteX269" fmla="*/ 19796 w 27870"/>
                          <a:gd name="connsiteY269" fmla="*/ 19617 h 71589"/>
                          <a:gd name="connsiteX270" fmla="*/ 20035 w 27870"/>
                          <a:gd name="connsiteY270" fmla="*/ 19916 h 71589"/>
                          <a:gd name="connsiteX271" fmla="*/ 20274 w 27870"/>
                          <a:gd name="connsiteY271" fmla="*/ 20215 h 71589"/>
                          <a:gd name="connsiteX272" fmla="*/ 20514 w 27870"/>
                          <a:gd name="connsiteY272" fmla="*/ 20514 h 71589"/>
                          <a:gd name="connsiteX273" fmla="*/ 20753 w 27870"/>
                          <a:gd name="connsiteY273" fmla="*/ 20813 h 71589"/>
                          <a:gd name="connsiteX274" fmla="*/ 20933 w 27870"/>
                          <a:gd name="connsiteY274" fmla="*/ 21052 h 71589"/>
                          <a:gd name="connsiteX275" fmla="*/ 21112 w 27870"/>
                          <a:gd name="connsiteY275" fmla="*/ 21291 h 71589"/>
                          <a:gd name="connsiteX276" fmla="*/ 21291 w 27870"/>
                          <a:gd name="connsiteY276" fmla="*/ 21530 h 71589"/>
                          <a:gd name="connsiteX277" fmla="*/ 21471 w 27870"/>
                          <a:gd name="connsiteY277" fmla="*/ 21770 h 71589"/>
                          <a:gd name="connsiteX278" fmla="*/ 21530 w 27870"/>
                          <a:gd name="connsiteY278" fmla="*/ 21889 h 71589"/>
                          <a:gd name="connsiteX279" fmla="*/ 21590 w 27870"/>
                          <a:gd name="connsiteY279" fmla="*/ 22009 h 71589"/>
                          <a:gd name="connsiteX280" fmla="*/ 21650 w 27870"/>
                          <a:gd name="connsiteY280" fmla="*/ 22129 h 71589"/>
                          <a:gd name="connsiteX281" fmla="*/ 21710 w 27870"/>
                          <a:gd name="connsiteY281" fmla="*/ 22248 h 71589"/>
                          <a:gd name="connsiteX282" fmla="*/ 21889 w 27870"/>
                          <a:gd name="connsiteY282" fmla="*/ 22547 h 71589"/>
                          <a:gd name="connsiteX283" fmla="*/ 22069 w 27870"/>
                          <a:gd name="connsiteY283" fmla="*/ 22846 h 71589"/>
                          <a:gd name="connsiteX284" fmla="*/ 22248 w 27870"/>
                          <a:gd name="connsiteY284" fmla="*/ 23145 h 71589"/>
                          <a:gd name="connsiteX285" fmla="*/ 22428 w 27870"/>
                          <a:gd name="connsiteY285" fmla="*/ 23444 h 71589"/>
                          <a:gd name="connsiteX286" fmla="*/ 22488 w 27870"/>
                          <a:gd name="connsiteY286" fmla="*/ 23564 h 71589"/>
                          <a:gd name="connsiteX287" fmla="*/ 22547 w 27870"/>
                          <a:gd name="connsiteY287" fmla="*/ 23683 h 71589"/>
                          <a:gd name="connsiteX288" fmla="*/ 22607 w 27870"/>
                          <a:gd name="connsiteY288" fmla="*/ 23803 h 71589"/>
                          <a:gd name="connsiteX289" fmla="*/ 22667 w 27870"/>
                          <a:gd name="connsiteY289" fmla="*/ 23923 h 71589"/>
                          <a:gd name="connsiteX290" fmla="*/ 23086 w 27870"/>
                          <a:gd name="connsiteY290" fmla="*/ 24700 h 71589"/>
                          <a:gd name="connsiteX291" fmla="*/ 23444 w 27870"/>
                          <a:gd name="connsiteY291" fmla="*/ 25478 h 71589"/>
                          <a:gd name="connsiteX292" fmla="*/ 23743 w 27870"/>
                          <a:gd name="connsiteY292" fmla="*/ 26255 h 71589"/>
                          <a:gd name="connsiteX293" fmla="*/ 24042 w 27870"/>
                          <a:gd name="connsiteY293" fmla="*/ 27033 h 71589"/>
                          <a:gd name="connsiteX294" fmla="*/ 24162 w 27870"/>
                          <a:gd name="connsiteY294" fmla="*/ 27392 h 71589"/>
                          <a:gd name="connsiteX295" fmla="*/ 24282 w 27870"/>
                          <a:gd name="connsiteY295" fmla="*/ 27751 h 71589"/>
                          <a:gd name="connsiteX296" fmla="*/ 24401 w 27870"/>
                          <a:gd name="connsiteY296" fmla="*/ 28109 h 71589"/>
                          <a:gd name="connsiteX297" fmla="*/ 24521 w 27870"/>
                          <a:gd name="connsiteY297" fmla="*/ 28468 h 71589"/>
                          <a:gd name="connsiteX298" fmla="*/ 24521 w 27870"/>
                          <a:gd name="connsiteY298" fmla="*/ 28528 h 71589"/>
                          <a:gd name="connsiteX299" fmla="*/ 24521 w 27870"/>
                          <a:gd name="connsiteY299" fmla="*/ 28588 h 71589"/>
                          <a:gd name="connsiteX300" fmla="*/ 24521 w 27870"/>
                          <a:gd name="connsiteY300" fmla="*/ 28648 h 71589"/>
                          <a:gd name="connsiteX301" fmla="*/ 24521 w 27870"/>
                          <a:gd name="connsiteY301" fmla="*/ 28707 h 71589"/>
                          <a:gd name="connsiteX302" fmla="*/ 24581 w 27870"/>
                          <a:gd name="connsiteY302" fmla="*/ 29066 h 71589"/>
                          <a:gd name="connsiteX303" fmla="*/ 24641 w 27870"/>
                          <a:gd name="connsiteY303" fmla="*/ 29425 h 71589"/>
                          <a:gd name="connsiteX304" fmla="*/ 24700 w 27870"/>
                          <a:gd name="connsiteY304" fmla="*/ 29784 h 71589"/>
                          <a:gd name="connsiteX305" fmla="*/ 24760 w 27870"/>
                          <a:gd name="connsiteY305" fmla="*/ 30143 h 71589"/>
                          <a:gd name="connsiteX306" fmla="*/ 24760 w 27870"/>
                          <a:gd name="connsiteY306" fmla="*/ 30262 h 71589"/>
                          <a:gd name="connsiteX307" fmla="*/ 24760 w 27870"/>
                          <a:gd name="connsiteY307" fmla="*/ 30382 h 71589"/>
                          <a:gd name="connsiteX308" fmla="*/ 24760 w 27870"/>
                          <a:gd name="connsiteY308" fmla="*/ 30502 h 71589"/>
                          <a:gd name="connsiteX309" fmla="*/ 24760 w 27870"/>
                          <a:gd name="connsiteY309" fmla="*/ 30621 h 71589"/>
                          <a:gd name="connsiteX310" fmla="*/ 24760 w 27870"/>
                          <a:gd name="connsiteY310" fmla="*/ 30920 h 71589"/>
                          <a:gd name="connsiteX311" fmla="*/ 24760 w 27870"/>
                          <a:gd name="connsiteY311" fmla="*/ 31219 h 71589"/>
                          <a:gd name="connsiteX312" fmla="*/ 24760 w 27870"/>
                          <a:gd name="connsiteY312" fmla="*/ 31519 h 71589"/>
                          <a:gd name="connsiteX313" fmla="*/ 24760 w 27870"/>
                          <a:gd name="connsiteY313" fmla="*/ 31817 h 71589"/>
                          <a:gd name="connsiteX314" fmla="*/ 24760 w 27870"/>
                          <a:gd name="connsiteY314" fmla="*/ 31997 h 71589"/>
                          <a:gd name="connsiteX315" fmla="*/ 24760 w 27870"/>
                          <a:gd name="connsiteY315" fmla="*/ 32176 h 71589"/>
                          <a:gd name="connsiteX316" fmla="*/ 24760 w 27870"/>
                          <a:gd name="connsiteY316" fmla="*/ 32356 h 71589"/>
                          <a:gd name="connsiteX317" fmla="*/ 24760 w 27870"/>
                          <a:gd name="connsiteY317" fmla="*/ 32535 h 71589"/>
                          <a:gd name="connsiteX318" fmla="*/ 24760 w 27870"/>
                          <a:gd name="connsiteY318" fmla="*/ 32894 h 71589"/>
                          <a:gd name="connsiteX319" fmla="*/ 24760 w 27870"/>
                          <a:gd name="connsiteY319" fmla="*/ 33253 h 71589"/>
                          <a:gd name="connsiteX320" fmla="*/ 24700 w 27870"/>
                          <a:gd name="connsiteY320" fmla="*/ 33612 h 71589"/>
                          <a:gd name="connsiteX321" fmla="*/ 24641 w 27870"/>
                          <a:gd name="connsiteY321" fmla="*/ 33970 h 71589"/>
                          <a:gd name="connsiteX322" fmla="*/ 24581 w 27870"/>
                          <a:gd name="connsiteY322" fmla="*/ 34269 h 71589"/>
                          <a:gd name="connsiteX323" fmla="*/ 24521 w 27870"/>
                          <a:gd name="connsiteY323" fmla="*/ 34568 h 71589"/>
                          <a:gd name="connsiteX324" fmla="*/ 24461 w 27870"/>
                          <a:gd name="connsiteY324" fmla="*/ 34868 h 71589"/>
                          <a:gd name="connsiteX325" fmla="*/ 24401 w 27870"/>
                          <a:gd name="connsiteY325" fmla="*/ 35167 h 71589"/>
                          <a:gd name="connsiteX326" fmla="*/ 24342 w 27870"/>
                          <a:gd name="connsiteY326" fmla="*/ 35585 h 71589"/>
                          <a:gd name="connsiteX327" fmla="*/ 24282 w 27870"/>
                          <a:gd name="connsiteY327" fmla="*/ 36004 h 71589"/>
                          <a:gd name="connsiteX328" fmla="*/ 24162 w 27870"/>
                          <a:gd name="connsiteY328" fmla="*/ 36422 h 71589"/>
                          <a:gd name="connsiteX329" fmla="*/ 24042 w 27870"/>
                          <a:gd name="connsiteY329" fmla="*/ 36841 h 71589"/>
                          <a:gd name="connsiteX330" fmla="*/ 23983 w 27870"/>
                          <a:gd name="connsiteY330" fmla="*/ 37140 h 71589"/>
                          <a:gd name="connsiteX331" fmla="*/ 23923 w 27870"/>
                          <a:gd name="connsiteY331" fmla="*/ 37439 h 71589"/>
                          <a:gd name="connsiteX332" fmla="*/ 23863 w 27870"/>
                          <a:gd name="connsiteY332" fmla="*/ 37738 h 71589"/>
                          <a:gd name="connsiteX333" fmla="*/ 23743 w 27870"/>
                          <a:gd name="connsiteY333" fmla="*/ 38037 h 71589"/>
                          <a:gd name="connsiteX334" fmla="*/ 23265 w 27870"/>
                          <a:gd name="connsiteY334" fmla="*/ 39353 h 71589"/>
                          <a:gd name="connsiteX335" fmla="*/ 22727 w 27870"/>
                          <a:gd name="connsiteY335" fmla="*/ 40669 h 71589"/>
                          <a:gd name="connsiteX336" fmla="*/ 22069 w 27870"/>
                          <a:gd name="connsiteY336" fmla="*/ 41985 h 71589"/>
                          <a:gd name="connsiteX337" fmla="*/ 21351 w 27870"/>
                          <a:gd name="connsiteY337" fmla="*/ 43300 h 71589"/>
                          <a:gd name="connsiteX338" fmla="*/ 21231 w 27870"/>
                          <a:gd name="connsiteY338" fmla="*/ 43539 h 71589"/>
                          <a:gd name="connsiteX339" fmla="*/ 21112 w 27870"/>
                          <a:gd name="connsiteY339" fmla="*/ 43779 h 71589"/>
                          <a:gd name="connsiteX340" fmla="*/ 20992 w 27870"/>
                          <a:gd name="connsiteY340" fmla="*/ 44018 h 71589"/>
                          <a:gd name="connsiteX341" fmla="*/ 20873 w 27870"/>
                          <a:gd name="connsiteY341" fmla="*/ 44257 h 71589"/>
                          <a:gd name="connsiteX342" fmla="*/ 19617 w 27870"/>
                          <a:gd name="connsiteY342" fmla="*/ 46291 h 71589"/>
                          <a:gd name="connsiteX343" fmla="*/ 18241 w 27870"/>
                          <a:gd name="connsiteY343" fmla="*/ 48384 h 71589"/>
                          <a:gd name="connsiteX344" fmla="*/ 16686 w 27870"/>
                          <a:gd name="connsiteY344" fmla="*/ 50537 h 71589"/>
                          <a:gd name="connsiteX345" fmla="*/ 14832 w 27870"/>
                          <a:gd name="connsiteY345" fmla="*/ 53049 h 71589"/>
                          <a:gd name="connsiteX346" fmla="*/ 14652 w 27870"/>
                          <a:gd name="connsiteY346" fmla="*/ 56518 h 71589"/>
                          <a:gd name="connsiteX347" fmla="*/ 15371 w 27870"/>
                          <a:gd name="connsiteY347" fmla="*/ 56996 h 71589"/>
                          <a:gd name="connsiteX348" fmla="*/ 15669 w 27870"/>
                          <a:gd name="connsiteY348" fmla="*/ 56637 h 71589"/>
                          <a:gd name="connsiteX349" fmla="*/ 15968 w 27870"/>
                          <a:gd name="connsiteY349" fmla="*/ 56278 h 71589"/>
                          <a:gd name="connsiteX350" fmla="*/ 16267 w 27870"/>
                          <a:gd name="connsiteY350" fmla="*/ 55920 h 71589"/>
                          <a:gd name="connsiteX351" fmla="*/ 16566 w 27870"/>
                          <a:gd name="connsiteY351" fmla="*/ 55561 h 71589"/>
                          <a:gd name="connsiteX352" fmla="*/ 15849 w 27870"/>
                          <a:gd name="connsiteY352" fmla="*/ 55082 h 71589"/>
                          <a:gd name="connsiteX353" fmla="*/ 15550 w 27870"/>
                          <a:gd name="connsiteY353" fmla="*/ 55441 h 71589"/>
                          <a:gd name="connsiteX354" fmla="*/ 15251 w 27870"/>
                          <a:gd name="connsiteY354" fmla="*/ 55800 h 71589"/>
                          <a:gd name="connsiteX355" fmla="*/ 14952 w 27870"/>
                          <a:gd name="connsiteY355" fmla="*/ 56159 h 71589"/>
                          <a:gd name="connsiteX356" fmla="*/ 14652 w 27870"/>
                          <a:gd name="connsiteY356" fmla="*/ 56518 h 71589"/>
                          <a:gd name="connsiteX357" fmla="*/ 12978 w 27870"/>
                          <a:gd name="connsiteY357" fmla="*/ 55441 h 71589"/>
                          <a:gd name="connsiteX358" fmla="*/ 13696 w 27870"/>
                          <a:gd name="connsiteY358" fmla="*/ 55920 h 71589"/>
                          <a:gd name="connsiteX359" fmla="*/ 13995 w 27870"/>
                          <a:gd name="connsiteY359" fmla="*/ 55561 h 71589"/>
                          <a:gd name="connsiteX360" fmla="*/ 14294 w 27870"/>
                          <a:gd name="connsiteY360" fmla="*/ 55202 h 71589"/>
                          <a:gd name="connsiteX361" fmla="*/ 14593 w 27870"/>
                          <a:gd name="connsiteY361" fmla="*/ 54843 h 71589"/>
                          <a:gd name="connsiteX362" fmla="*/ 14892 w 27870"/>
                          <a:gd name="connsiteY362" fmla="*/ 54484 h 71589"/>
                          <a:gd name="connsiteX363" fmla="*/ 14174 w 27870"/>
                          <a:gd name="connsiteY363" fmla="*/ 54006 h 71589"/>
                          <a:gd name="connsiteX364" fmla="*/ 13875 w 27870"/>
                          <a:gd name="connsiteY364" fmla="*/ 54365 h 71589"/>
                          <a:gd name="connsiteX365" fmla="*/ 13576 w 27870"/>
                          <a:gd name="connsiteY365" fmla="*/ 54723 h 71589"/>
                          <a:gd name="connsiteX366" fmla="*/ 13277 w 27870"/>
                          <a:gd name="connsiteY366" fmla="*/ 55082 h 71589"/>
                          <a:gd name="connsiteX367" fmla="*/ 12978 w 27870"/>
                          <a:gd name="connsiteY367" fmla="*/ 55441 h 71589"/>
                          <a:gd name="connsiteX368" fmla="*/ 12918 w 27870"/>
                          <a:gd name="connsiteY368" fmla="*/ 58731 h 71589"/>
                          <a:gd name="connsiteX369" fmla="*/ 13636 w 27870"/>
                          <a:gd name="connsiteY369" fmla="*/ 59209 h 71589"/>
                          <a:gd name="connsiteX370" fmla="*/ 13875 w 27870"/>
                          <a:gd name="connsiteY370" fmla="*/ 58850 h 71589"/>
                          <a:gd name="connsiteX371" fmla="*/ 14114 w 27870"/>
                          <a:gd name="connsiteY371" fmla="*/ 58491 h 71589"/>
                          <a:gd name="connsiteX372" fmla="*/ 14354 w 27870"/>
                          <a:gd name="connsiteY372" fmla="*/ 58192 h 71589"/>
                          <a:gd name="connsiteX373" fmla="*/ 14593 w 27870"/>
                          <a:gd name="connsiteY373" fmla="*/ 57893 h 71589"/>
                          <a:gd name="connsiteX374" fmla="*/ 13875 w 27870"/>
                          <a:gd name="connsiteY374" fmla="*/ 57415 h 71589"/>
                          <a:gd name="connsiteX375" fmla="*/ 13636 w 27870"/>
                          <a:gd name="connsiteY375" fmla="*/ 57714 h 71589"/>
                          <a:gd name="connsiteX376" fmla="*/ 13397 w 27870"/>
                          <a:gd name="connsiteY376" fmla="*/ 58013 h 71589"/>
                          <a:gd name="connsiteX377" fmla="*/ 13157 w 27870"/>
                          <a:gd name="connsiteY377" fmla="*/ 58372 h 71589"/>
                          <a:gd name="connsiteX378" fmla="*/ 12918 w 27870"/>
                          <a:gd name="connsiteY378" fmla="*/ 58731 h 71589"/>
                          <a:gd name="connsiteX379" fmla="*/ 11244 w 27870"/>
                          <a:gd name="connsiteY379" fmla="*/ 57594 h 71589"/>
                          <a:gd name="connsiteX380" fmla="*/ 11961 w 27870"/>
                          <a:gd name="connsiteY380" fmla="*/ 58073 h 71589"/>
                          <a:gd name="connsiteX381" fmla="*/ 12201 w 27870"/>
                          <a:gd name="connsiteY381" fmla="*/ 57714 h 71589"/>
                          <a:gd name="connsiteX382" fmla="*/ 12440 w 27870"/>
                          <a:gd name="connsiteY382" fmla="*/ 57355 h 71589"/>
                          <a:gd name="connsiteX383" fmla="*/ 12679 w 27870"/>
                          <a:gd name="connsiteY383" fmla="*/ 57056 h 71589"/>
                          <a:gd name="connsiteX384" fmla="*/ 12918 w 27870"/>
                          <a:gd name="connsiteY384" fmla="*/ 56757 h 71589"/>
                          <a:gd name="connsiteX385" fmla="*/ 12201 w 27870"/>
                          <a:gd name="connsiteY385" fmla="*/ 56278 h 71589"/>
                          <a:gd name="connsiteX386" fmla="*/ 11961 w 27870"/>
                          <a:gd name="connsiteY386" fmla="*/ 56577 h 71589"/>
                          <a:gd name="connsiteX387" fmla="*/ 11722 w 27870"/>
                          <a:gd name="connsiteY387" fmla="*/ 56937 h 71589"/>
                          <a:gd name="connsiteX388" fmla="*/ 11483 w 27870"/>
                          <a:gd name="connsiteY388" fmla="*/ 57295 h 71589"/>
                          <a:gd name="connsiteX389" fmla="*/ 11244 w 27870"/>
                          <a:gd name="connsiteY389" fmla="*/ 57594 h 71589"/>
                          <a:gd name="connsiteX390" fmla="*/ 1196 w 27870"/>
                          <a:gd name="connsiteY390" fmla="*/ 70034 h 71589"/>
                          <a:gd name="connsiteX391" fmla="*/ 3648 w 27870"/>
                          <a:gd name="connsiteY391" fmla="*/ 71589 h 71589"/>
                          <a:gd name="connsiteX392" fmla="*/ 3708 w 27870"/>
                          <a:gd name="connsiteY392" fmla="*/ 71470 h 71589"/>
                          <a:gd name="connsiteX393" fmla="*/ 4844 w 27870"/>
                          <a:gd name="connsiteY393" fmla="*/ 70034 h 71589"/>
                          <a:gd name="connsiteX394" fmla="*/ 5981 w 27870"/>
                          <a:gd name="connsiteY394" fmla="*/ 68599 h 71589"/>
                          <a:gd name="connsiteX395" fmla="*/ 7117 w 27870"/>
                          <a:gd name="connsiteY395" fmla="*/ 67223 h 71589"/>
                          <a:gd name="connsiteX396" fmla="*/ 8253 w 27870"/>
                          <a:gd name="connsiteY396" fmla="*/ 65848 h 71589"/>
                          <a:gd name="connsiteX397" fmla="*/ 8433 w 27870"/>
                          <a:gd name="connsiteY397" fmla="*/ 65608 h 71589"/>
                          <a:gd name="connsiteX398" fmla="*/ 8612 w 27870"/>
                          <a:gd name="connsiteY398" fmla="*/ 65369 h 71589"/>
                          <a:gd name="connsiteX399" fmla="*/ 8791 w 27870"/>
                          <a:gd name="connsiteY399" fmla="*/ 65130 h 71589"/>
                          <a:gd name="connsiteX400" fmla="*/ 8971 w 27870"/>
                          <a:gd name="connsiteY400" fmla="*/ 64891 h 71589"/>
                          <a:gd name="connsiteX401" fmla="*/ 9270 w 27870"/>
                          <a:gd name="connsiteY401" fmla="*/ 64532 h 71589"/>
                          <a:gd name="connsiteX402" fmla="*/ 9569 w 27870"/>
                          <a:gd name="connsiteY402" fmla="*/ 64173 h 71589"/>
                          <a:gd name="connsiteX403" fmla="*/ 9868 w 27870"/>
                          <a:gd name="connsiteY403" fmla="*/ 63814 h 71589"/>
                          <a:gd name="connsiteX404" fmla="*/ 10167 w 27870"/>
                          <a:gd name="connsiteY404" fmla="*/ 63455 h 71589"/>
                          <a:gd name="connsiteX405" fmla="*/ 10885 w 27870"/>
                          <a:gd name="connsiteY405" fmla="*/ 62558 h 71589"/>
                          <a:gd name="connsiteX406" fmla="*/ 11603 w 27870"/>
                          <a:gd name="connsiteY406" fmla="*/ 61661 h 71589"/>
                          <a:gd name="connsiteX407" fmla="*/ 12320 w 27870"/>
                          <a:gd name="connsiteY407" fmla="*/ 60764 h 71589"/>
                          <a:gd name="connsiteX408" fmla="*/ 13038 w 27870"/>
                          <a:gd name="connsiteY408" fmla="*/ 59927 h 71589"/>
                          <a:gd name="connsiteX409" fmla="*/ 12320 w 27870"/>
                          <a:gd name="connsiteY409" fmla="*/ 59448 h 71589"/>
                          <a:gd name="connsiteX410" fmla="*/ 11603 w 27870"/>
                          <a:gd name="connsiteY410" fmla="*/ 60286 h 71589"/>
                          <a:gd name="connsiteX411" fmla="*/ 10885 w 27870"/>
                          <a:gd name="connsiteY411" fmla="*/ 61183 h 71589"/>
                          <a:gd name="connsiteX412" fmla="*/ 10167 w 27870"/>
                          <a:gd name="connsiteY412" fmla="*/ 62080 h 71589"/>
                          <a:gd name="connsiteX413" fmla="*/ 9449 w 27870"/>
                          <a:gd name="connsiteY413" fmla="*/ 62977 h 71589"/>
                          <a:gd name="connsiteX414" fmla="*/ 9150 w 27870"/>
                          <a:gd name="connsiteY414" fmla="*/ 63336 h 71589"/>
                          <a:gd name="connsiteX415" fmla="*/ 8851 w 27870"/>
                          <a:gd name="connsiteY415" fmla="*/ 63694 h 71589"/>
                          <a:gd name="connsiteX416" fmla="*/ 8552 w 27870"/>
                          <a:gd name="connsiteY416" fmla="*/ 64053 h 71589"/>
                          <a:gd name="connsiteX417" fmla="*/ 8253 w 27870"/>
                          <a:gd name="connsiteY417" fmla="*/ 64412 h 71589"/>
                          <a:gd name="connsiteX418" fmla="*/ 8074 w 27870"/>
                          <a:gd name="connsiteY418" fmla="*/ 64652 h 71589"/>
                          <a:gd name="connsiteX419" fmla="*/ 7895 w 27870"/>
                          <a:gd name="connsiteY419" fmla="*/ 64891 h 71589"/>
                          <a:gd name="connsiteX420" fmla="*/ 7715 w 27870"/>
                          <a:gd name="connsiteY420" fmla="*/ 65130 h 71589"/>
                          <a:gd name="connsiteX421" fmla="*/ 7536 w 27870"/>
                          <a:gd name="connsiteY421" fmla="*/ 65369 h 71589"/>
                          <a:gd name="connsiteX422" fmla="*/ 6519 w 27870"/>
                          <a:gd name="connsiteY422" fmla="*/ 66625 h 71589"/>
                          <a:gd name="connsiteX423" fmla="*/ 5502 w 27870"/>
                          <a:gd name="connsiteY423" fmla="*/ 67941 h 71589"/>
                          <a:gd name="connsiteX424" fmla="*/ 4426 w 27870"/>
                          <a:gd name="connsiteY424" fmla="*/ 69257 h 71589"/>
                          <a:gd name="connsiteX425" fmla="*/ 3349 w 27870"/>
                          <a:gd name="connsiteY425" fmla="*/ 70572 h 71589"/>
                          <a:gd name="connsiteX426" fmla="*/ 2392 w 27870"/>
                          <a:gd name="connsiteY426" fmla="*/ 69975 h 71589"/>
                          <a:gd name="connsiteX427" fmla="*/ 3469 w 27870"/>
                          <a:gd name="connsiteY427" fmla="*/ 68599 h 71589"/>
                          <a:gd name="connsiteX428" fmla="*/ 4545 w 27870"/>
                          <a:gd name="connsiteY428" fmla="*/ 67283 h 71589"/>
                          <a:gd name="connsiteX429" fmla="*/ 5562 w 27870"/>
                          <a:gd name="connsiteY429" fmla="*/ 65967 h 71589"/>
                          <a:gd name="connsiteX430" fmla="*/ 6579 w 27870"/>
                          <a:gd name="connsiteY430" fmla="*/ 64711 h 71589"/>
                          <a:gd name="connsiteX431" fmla="*/ 6758 w 27870"/>
                          <a:gd name="connsiteY431" fmla="*/ 64472 h 71589"/>
                          <a:gd name="connsiteX432" fmla="*/ 6937 w 27870"/>
                          <a:gd name="connsiteY432" fmla="*/ 64233 h 71589"/>
                          <a:gd name="connsiteX433" fmla="*/ 7117 w 27870"/>
                          <a:gd name="connsiteY433" fmla="*/ 63994 h 71589"/>
                          <a:gd name="connsiteX434" fmla="*/ 7296 w 27870"/>
                          <a:gd name="connsiteY434" fmla="*/ 63754 h 71589"/>
                          <a:gd name="connsiteX435" fmla="*/ 7595 w 27870"/>
                          <a:gd name="connsiteY435" fmla="*/ 63396 h 71589"/>
                          <a:gd name="connsiteX436" fmla="*/ 7895 w 27870"/>
                          <a:gd name="connsiteY436" fmla="*/ 63037 h 71589"/>
                          <a:gd name="connsiteX437" fmla="*/ 8194 w 27870"/>
                          <a:gd name="connsiteY437" fmla="*/ 62678 h 71589"/>
                          <a:gd name="connsiteX438" fmla="*/ 8493 w 27870"/>
                          <a:gd name="connsiteY438" fmla="*/ 62319 h 71589"/>
                          <a:gd name="connsiteX439" fmla="*/ 9210 w 27870"/>
                          <a:gd name="connsiteY439" fmla="*/ 61422 h 71589"/>
                          <a:gd name="connsiteX440" fmla="*/ 9928 w 27870"/>
                          <a:gd name="connsiteY440" fmla="*/ 60525 h 71589"/>
                          <a:gd name="connsiteX441" fmla="*/ 10645 w 27870"/>
                          <a:gd name="connsiteY441" fmla="*/ 59687 h 71589"/>
                          <a:gd name="connsiteX442" fmla="*/ 11303 w 27870"/>
                          <a:gd name="connsiteY442" fmla="*/ 58850 h 71589"/>
                          <a:gd name="connsiteX443" fmla="*/ 10586 w 27870"/>
                          <a:gd name="connsiteY443" fmla="*/ 58372 h 71589"/>
                          <a:gd name="connsiteX444" fmla="*/ 9928 w 27870"/>
                          <a:gd name="connsiteY444" fmla="*/ 59209 h 71589"/>
                          <a:gd name="connsiteX445" fmla="*/ 9210 w 27870"/>
                          <a:gd name="connsiteY445" fmla="*/ 60046 h 71589"/>
                          <a:gd name="connsiteX446" fmla="*/ 8493 w 27870"/>
                          <a:gd name="connsiteY446" fmla="*/ 60944 h 71589"/>
                          <a:gd name="connsiteX447" fmla="*/ 7775 w 27870"/>
                          <a:gd name="connsiteY447" fmla="*/ 61840 h 71589"/>
                          <a:gd name="connsiteX448" fmla="*/ 7476 w 27870"/>
                          <a:gd name="connsiteY448" fmla="*/ 62199 h 71589"/>
                          <a:gd name="connsiteX449" fmla="*/ 7177 w 27870"/>
                          <a:gd name="connsiteY449" fmla="*/ 62558 h 71589"/>
                          <a:gd name="connsiteX450" fmla="*/ 6878 w 27870"/>
                          <a:gd name="connsiteY450" fmla="*/ 62917 h 71589"/>
                          <a:gd name="connsiteX451" fmla="*/ 6579 w 27870"/>
                          <a:gd name="connsiteY451" fmla="*/ 63276 h 71589"/>
                          <a:gd name="connsiteX452" fmla="*/ 6399 w 27870"/>
                          <a:gd name="connsiteY452" fmla="*/ 63515 h 71589"/>
                          <a:gd name="connsiteX453" fmla="*/ 6220 w 27870"/>
                          <a:gd name="connsiteY453" fmla="*/ 63754 h 71589"/>
                          <a:gd name="connsiteX454" fmla="*/ 6041 w 27870"/>
                          <a:gd name="connsiteY454" fmla="*/ 63994 h 71589"/>
                          <a:gd name="connsiteX455" fmla="*/ 5861 w 27870"/>
                          <a:gd name="connsiteY455" fmla="*/ 64233 h 71589"/>
                          <a:gd name="connsiteX456" fmla="*/ 4785 w 27870"/>
                          <a:gd name="connsiteY456" fmla="*/ 65548 h 71589"/>
                          <a:gd name="connsiteX457" fmla="*/ 3648 w 27870"/>
                          <a:gd name="connsiteY457" fmla="*/ 66924 h 71589"/>
                          <a:gd name="connsiteX458" fmla="*/ 2512 w 27870"/>
                          <a:gd name="connsiteY458" fmla="*/ 68360 h 71589"/>
                          <a:gd name="connsiteX459" fmla="*/ 1316 w 27870"/>
                          <a:gd name="connsiteY459" fmla="*/ 69855 h 71589"/>
                          <a:gd name="connsiteX460" fmla="*/ 1196 w 27870"/>
                          <a:gd name="connsiteY460" fmla="*/ 70034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7870" h="71589">
                            <a:moveTo>
                              <a:pt x="8552" y="9091"/>
                            </a:moveTo>
                            <a:lnTo>
                              <a:pt x="9270" y="8194"/>
                            </a:lnTo>
                            <a:cubicBezTo>
                              <a:pt x="8672" y="7715"/>
                              <a:pt x="8074" y="7296"/>
                              <a:pt x="7476" y="6818"/>
                            </a:cubicBezTo>
                            <a:cubicBezTo>
                              <a:pt x="6878" y="6340"/>
                              <a:pt x="6220" y="5861"/>
                              <a:pt x="5562" y="5442"/>
                            </a:cubicBezTo>
                            <a:cubicBezTo>
                              <a:pt x="4904" y="4964"/>
                              <a:pt x="4246" y="4486"/>
                              <a:pt x="3588" y="4007"/>
                            </a:cubicBezTo>
                            <a:cubicBezTo>
                              <a:pt x="2930" y="3528"/>
                              <a:pt x="2213" y="3050"/>
                              <a:pt x="1495" y="2572"/>
                            </a:cubicBezTo>
                            <a:lnTo>
                              <a:pt x="2392" y="1435"/>
                            </a:lnTo>
                            <a:cubicBezTo>
                              <a:pt x="3110" y="1914"/>
                              <a:pt x="3827" y="2392"/>
                              <a:pt x="4486" y="2871"/>
                            </a:cubicBezTo>
                            <a:cubicBezTo>
                              <a:pt x="5143" y="3349"/>
                              <a:pt x="5801" y="3828"/>
                              <a:pt x="6459" y="4306"/>
                            </a:cubicBezTo>
                            <a:cubicBezTo>
                              <a:pt x="7117" y="4785"/>
                              <a:pt x="7715" y="5263"/>
                              <a:pt x="8373" y="5682"/>
                            </a:cubicBezTo>
                            <a:cubicBezTo>
                              <a:pt x="8971" y="6160"/>
                              <a:pt x="9569" y="6579"/>
                              <a:pt x="10167" y="7057"/>
                            </a:cubicBezTo>
                            <a:lnTo>
                              <a:pt x="10885" y="6160"/>
                            </a:lnTo>
                            <a:cubicBezTo>
                              <a:pt x="10287" y="5682"/>
                              <a:pt x="9629" y="5203"/>
                              <a:pt x="9031" y="4725"/>
                            </a:cubicBezTo>
                            <a:cubicBezTo>
                              <a:pt x="8373" y="4246"/>
                              <a:pt x="7715" y="3768"/>
                              <a:pt x="7057" y="3229"/>
                            </a:cubicBezTo>
                            <a:cubicBezTo>
                              <a:pt x="6399" y="2751"/>
                              <a:pt x="5681" y="2213"/>
                              <a:pt x="4964" y="1734"/>
                            </a:cubicBezTo>
                            <a:cubicBezTo>
                              <a:pt x="4246" y="1256"/>
                              <a:pt x="3528" y="718"/>
                              <a:pt x="2751" y="239"/>
                            </a:cubicBezTo>
                            <a:lnTo>
                              <a:pt x="2332" y="0"/>
                            </a:lnTo>
                            <a:lnTo>
                              <a:pt x="1794" y="718"/>
                            </a:lnTo>
                            <a:lnTo>
                              <a:pt x="0" y="2990"/>
                            </a:lnTo>
                            <a:lnTo>
                              <a:pt x="419" y="3229"/>
                            </a:lnTo>
                            <a:cubicBezTo>
                              <a:pt x="1196" y="3768"/>
                              <a:pt x="1914" y="4246"/>
                              <a:pt x="2632" y="4725"/>
                            </a:cubicBezTo>
                            <a:cubicBezTo>
                              <a:pt x="3349" y="5203"/>
                              <a:pt x="4067" y="5741"/>
                              <a:pt x="4725" y="6220"/>
                            </a:cubicBezTo>
                            <a:cubicBezTo>
                              <a:pt x="5382" y="6698"/>
                              <a:pt x="6041" y="7177"/>
                              <a:pt x="6698" y="7655"/>
                            </a:cubicBezTo>
                            <a:cubicBezTo>
                              <a:pt x="7296" y="8134"/>
                              <a:pt x="7954" y="8612"/>
                              <a:pt x="8552" y="9091"/>
                            </a:cubicBezTo>
                            <a:moveTo>
                              <a:pt x="16507" y="54125"/>
                            </a:moveTo>
                            <a:lnTo>
                              <a:pt x="17225" y="54604"/>
                            </a:lnTo>
                            <a:cubicBezTo>
                              <a:pt x="17763" y="53886"/>
                              <a:pt x="18361" y="53169"/>
                              <a:pt x="18839" y="52451"/>
                            </a:cubicBezTo>
                            <a:cubicBezTo>
                              <a:pt x="19377" y="51733"/>
                              <a:pt x="19856" y="51015"/>
                              <a:pt x="20394" y="50298"/>
                            </a:cubicBezTo>
                            <a:cubicBezTo>
                              <a:pt x="20873" y="49580"/>
                              <a:pt x="21351" y="48862"/>
                              <a:pt x="21829" y="48205"/>
                            </a:cubicBezTo>
                            <a:cubicBezTo>
                              <a:pt x="22308" y="47487"/>
                              <a:pt x="22727" y="46829"/>
                              <a:pt x="23145" y="46111"/>
                            </a:cubicBezTo>
                            <a:cubicBezTo>
                              <a:pt x="23205" y="46052"/>
                              <a:pt x="23265" y="45932"/>
                              <a:pt x="23265" y="45872"/>
                            </a:cubicBezTo>
                            <a:cubicBezTo>
                              <a:pt x="23325" y="45812"/>
                              <a:pt x="23384" y="45693"/>
                              <a:pt x="23384" y="45633"/>
                            </a:cubicBezTo>
                            <a:cubicBezTo>
                              <a:pt x="23444" y="45573"/>
                              <a:pt x="23504" y="45453"/>
                              <a:pt x="23504" y="45393"/>
                            </a:cubicBezTo>
                            <a:cubicBezTo>
                              <a:pt x="23564" y="45334"/>
                              <a:pt x="23564" y="45214"/>
                              <a:pt x="23624" y="45154"/>
                            </a:cubicBezTo>
                            <a:cubicBezTo>
                              <a:pt x="23863" y="44736"/>
                              <a:pt x="24102" y="44257"/>
                              <a:pt x="24342" y="43839"/>
                            </a:cubicBezTo>
                            <a:cubicBezTo>
                              <a:pt x="24581" y="43420"/>
                              <a:pt x="24820" y="43001"/>
                              <a:pt x="24999" y="42523"/>
                            </a:cubicBezTo>
                            <a:cubicBezTo>
                              <a:pt x="25238" y="42104"/>
                              <a:pt x="25418" y="41685"/>
                              <a:pt x="25597" y="41207"/>
                            </a:cubicBezTo>
                            <a:cubicBezTo>
                              <a:pt x="25777" y="40729"/>
                              <a:pt x="25956" y="40370"/>
                              <a:pt x="26136" y="39951"/>
                            </a:cubicBezTo>
                            <a:cubicBezTo>
                              <a:pt x="26196" y="39891"/>
                              <a:pt x="26196" y="39772"/>
                              <a:pt x="26255" y="39712"/>
                            </a:cubicBezTo>
                            <a:cubicBezTo>
                              <a:pt x="26315" y="39652"/>
                              <a:pt x="26315" y="39532"/>
                              <a:pt x="26375" y="39473"/>
                            </a:cubicBezTo>
                            <a:cubicBezTo>
                              <a:pt x="26435" y="39413"/>
                              <a:pt x="26435" y="39293"/>
                              <a:pt x="26495" y="39234"/>
                            </a:cubicBezTo>
                            <a:cubicBezTo>
                              <a:pt x="26554" y="39174"/>
                              <a:pt x="26554" y="39054"/>
                              <a:pt x="26614" y="38994"/>
                            </a:cubicBezTo>
                            <a:cubicBezTo>
                              <a:pt x="26674" y="38875"/>
                              <a:pt x="26674" y="38755"/>
                              <a:pt x="26734" y="38635"/>
                            </a:cubicBezTo>
                            <a:cubicBezTo>
                              <a:pt x="26794" y="38516"/>
                              <a:pt x="26794" y="38396"/>
                              <a:pt x="26853" y="38276"/>
                            </a:cubicBezTo>
                            <a:cubicBezTo>
                              <a:pt x="26913" y="38157"/>
                              <a:pt x="26913" y="38037"/>
                              <a:pt x="26973" y="37918"/>
                            </a:cubicBezTo>
                            <a:cubicBezTo>
                              <a:pt x="27033" y="37798"/>
                              <a:pt x="27033" y="37678"/>
                              <a:pt x="27092" y="37559"/>
                            </a:cubicBezTo>
                            <a:cubicBezTo>
                              <a:pt x="27092" y="37439"/>
                              <a:pt x="27152" y="37380"/>
                              <a:pt x="27152" y="37260"/>
                            </a:cubicBezTo>
                            <a:cubicBezTo>
                              <a:pt x="27152" y="37140"/>
                              <a:pt x="27212" y="37081"/>
                              <a:pt x="27212" y="36961"/>
                            </a:cubicBezTo>
                            <a:cubicBezTo>
                              <a:pt x="27212" y="36841"/>
                              <a:pt x="27272" y="36781"/>
                              <a:pt x="27272" y="36662"/>
                            </a:cubicBezTo>
                            <a:cubicBezTo>
                              <a:pt x="27272" y="36542"/>
                              <a:pt x="27332" y="36482"/>
                              <a:pt x="27332" y="36363"/>
                            </a:cubicBezTo>
                            <a:cubicBezTo>
                              <a:pt x="27391" y="36064"/>
                              <a:pt x="27451" y="35765"/>
                              <a:pt x="27511" y="35466"/>
                            </a:cubicBezTo>
                            <a:cubicBezTo>
                              <a:pt x="27571" y="35167"/>
                              <a:pt x="27631" y="34868"/>
                              <a:pt x="27691" y="34568"/>
                            </a:cubicBezTo>
                            <a:cubicBezTo>
                              <a:pt x="27750" y="34269"/>
                              <a:pt x="27750" y="33970"/>
                              <a:pt x="27810" y="33671"/>
                            </a:cubicBezTo>
                            <a:cubicBezTo>
                              <a:pt x="27870" y="33373"/>
                              <a:pt x="27870" y="33073"/>
                              <a:pt x="27870" y="32774"/>
                            </a:cubicBezTo>
                            <a:cubicBezTo>
                              <a:pt x="27870" y="32655"/>
                              <a:pt x="27870" y="32535"/>
                              <a:pt x="27870" y="32475"/>
                            </a:cubicBezTo>
                            <a:cubicBezTo>
                              <a:pt x="27870" y="32356"/>
                              <a:pt x="27870" y="32236"/>
                              <a:pt x="27870" y="32176"/>
                            </a:cubicBezTo>
                            <a:cubicBezTo>
                              <a:pt x="27870" y="32057"/>
                              <a:pt x="27870" y="31937"/>
                              <a:pt x="27870" y="31877"/>
                            </a:cubicBezTo>
                            <a:cubicBezTo>
                              <a:pt x="27870" y="31817"/>
                              <a:pt x="27870" y="31638"/>
                              <a:pt x="27870" y="31578"/>
                            </a:cubicBezTo>
                            <a:cubicBezTo>
                              <a:pt x="27870" y="31578"/>
                              <a:pt x="27870" y="31578"/>
                              <a:pt x="27870" y="31519"/>
                            </a:cubicBezTo>
                            <a:cubicBezTo>
                              <a:pt x="27870" y="31519"/>
                              <a:pt x="27870" y="31519"/>
                              <a:pt x="27870" y="31459"/>
                            </a:cubicBezTo>
                            <a:cubicBezTo>
                              <a:pt x="27870" y="31399"/>
                              <a:pt x="27870" y="31459"/>
                              <a:pt x="27870" y="31399"/>
                            </a:cubicBezTo>
                            <a:cubicBezTo>
                              <a:pt x="27870" y="31399"/>
                              <a:pt x="27870" y="31399"/>
                              <a:pt x="27870" y="31339"/>
                            </a:cubicBezTo>
                            <a:cubicBezTo>
                              <a:pt x="27870" y="31040"/>
                              <a:pt x="27870" y="30681"/>
                              <a:pt x="27810" y="30382"/>
                            </a:cubicBezTo>
                            <a:cubicBezTo>
                              <a:pt x="27810" y="30083"/>
                              <a:pt x="27750" y="29724"/>
                              <a:pt x="27750" y="29425"/>
                            </a:cubicBezTo>
                            <a:cubicBezTo>
                              <a:pt x="27691" y="29126"/>
                              <a:pt x="27691" y="28767"/>
                              <a:pt x="27631" y="28468"/>
                            </a:cubicBezTo>
                            <a:cubicBezTo>
                              <a:pt x="27571" y="28169"/>
                              <a:pt x="27511" y="27810"/>
                              <a:pt x="27451" y="27511"/>
                            </a:cubicBezTo>
                            <a:cubicBezTo>
                              <a:pt x="27451" y="27451"/>
                              <a:pt x="27391" y="27332"/>
                              <a:pt x="27391" y="27272"/>
                            </a:cubicBezTo>
                            <a:cubicBezTo>
                              <a:pt x="27391" y="27212"/>
                              <a:pt x="27332" y="27092"/>
                              <a:pt x="27332" y="27033"/>
                            </a:cubicBezTo>
                            <a:cubicBezTo>
                              <a:pt x="27332" y="26973"/>
                              <a:pt x="27272" y="26853"/>
                              <a:pt x="27272" y="26794"/>
                            </a:cubicBezTo>
                            <a:cubicBezTo>
                              <a:pt x="27272" y="26734"/>
                              <a:pt x="27212" y="26614"/>
                              <a:pt x="27212" y="26554"/>
                            </a:cubicBezTo>
                            <a:cubicBezTo>
                              <a:pt x="27152" y="26435"/>
                              <a:pt x="27152" y="26315"/>
                              <a:pt x="27092" y="26136"/>
                            </a:cubicBezTo>
                            <a:cubicBezTo>
                              <a:pt x="27033" y="26016"/>
                              <a:pt x="27033" y="25897"/>
                              <a:pt x="26973" y="25717"/>
                            </a:cubicBezTo>
                            <a:cubicBezTo>
                              <a:pt x="26913" y="25538"/>
                              <a:pt x="26913" y="25478"/>
                              <a:pt x="26853" y="25298"/>
                            </a:cubicBezTo>
                            <a:cubicBezTo>
                              <a:pt x="26794" y="25119"/>
                              <a:pt x="26734" y="25059"/>
                              <a:pt x="26734" y="24880"/>
                            </a:cubicBezTo>
                            <a:cubicBezTo>
                              <a:pt x="26674" y="24700"/>
                              <a:pt x="26614" y="24581"/>
                              <a:pt x="26554" y="24401"/>
                            </a:cubicBezTo>
                            <a:cubicBezTo>
                              <a:pt x="26495" y="24222"/>
                              <a:pt x="26435" y="24102"/>
                              <a:pt x="26375" y="23923"/>
                            </a:cubicBezTo>
                            <a:cubicBezTo>
                              <a:pt x="26315" y="23743"/>
                              <a:pt x="26255" y="23624"/>
                              <a:pt x="26136" y="23444"/>
                            </a:cubicBezTo>
                            <a:cubicBezTo>
                              <a:pt x="26076" y="23265"/>
                              <a:pt x="26016" y="23145"/>
                              <a:pt x="25896" y="22966"/>
                            </a:cubicBezTo>
                            <a:cubicBezTo>
                              <a:pt x="25837" y="22846"/>
                              <a:pt x="25777" y="22727"/>
                              <a:pt x="25717" y="22607"/>
                            </a:cubicBezTo>
                            <a:cubicBezTo>
                              <a:pt x="25657" y="22488"/>
                              <a:pt x="25597" y="22368"/>
                              <a:pt x="25537" y="22248"/>
                            </a:cubicBezTo>
                            <a:cubicBezTo>
                              <a:pt x="25478" y="22129"/>
                              <a:pt x="25418" y="22009"/>
                              <a:pt x="25358" y="21889"/>
                            </a:cubicBezTo>
                            <a:cubicBezTo>
                              <a:pt x="25298" y="21770"/>
                              <a:pt x="25238" y="21650"/>
                              <a:pt x="25179" y="21530"/>
                            </a:cubicBezTo>
                            <a:cubicBezTo>
                              <a:pt x="24999" y="21231"/>
                              <a:pt x="24820" y="20933"/>
                              <a:pt x="24641" y="20634"/>
                            </a:cubicBezTo>
                            <a:cubicBezTo>
                              <a:pt x="24461" y="20334"/>
                              <a:pt x="24282" y="20035"/>
                              <a:pt x="24042" y="19736"/>
                            </a:cubicBezTo>
                            <a:cubicBezTo>
                              <a:pt x="23863" y="19437"/>
                              <a:pt x="23624" y="19138"/>
                              <a:pt x="23444" y="18839"/>
                            </a:cubicBezTo>
                            <a:cubicBezTo>
                              <a:pt x="23205" y="18540"/>
                              <a:pt x="23026" y="18241"/>
                              <a:pt x="22787" y="17942"/>
                            </a:cubicBezTo>
                            <a:cubicBezTo>
                              <a:pt x="22667" y="17822"/>
                              <a:pt x="22607" y="17703"/>
                              <a:pt x="22488" y="17583"/>
                            </a:cubicBezTo>
                            <a:cubicBezTo>
                              <a:pt x="22368" y="17464"/>
                              <a:pt x="22308" y="17344"/>
                              <a:pt x="22188" y="17225"/>
                            </a:cubicBezTo>
                            <a:cubicBezTo>
                              <a:pt x="22069" y="17105"/>
                              <a:pt x="22009" y="16985"/>
                              <a:pt x="21889" y="16866"/>
                            </a:cubicBezTo>
                            <a:cubicBezTo>
                              <a:pt x="21770" y="16746"/>
                              <a:pt x="21710" y="16626"/>
                              <a:pt x="21590" y="16507"/>
                            </a:cubicBezTo>
                            <a:cubicBezTo>
                              <a:pt x="21471" y="16327"/>
                              <a:pt x="21291" y="16148"/>
                              <a:pt x="21112" y="15968"/>
                            </a:cubicBezTo>
                            <a:cubicBezTo>
                              <a:pt x="20933" y="15789"/>
                              <a:pt x="20813" y="15610"/>
                              <a:pt x="20633" y="15430"/>
                            </a:cubicBezTo>
                            <a:cubicBezTo>
                              <a:pt x="20454" y="15251"/>
                              <a:pt x="20334" y="15072"/>
                              <a:pt x="20155" y="14892"/>
                            </a:cubicBezTo>
                            <a:cubicBezTo>
                              <a:pt x="19975" y="14712"/>
                              <a:pt x="19796" y="14533"/>
                              <a:pt x="19676" y="14354"/>
                            </a:cubicBezTo>
                            <a:cubicBezTo>
                              <a:pt x="19497" y="14174"/>
                              <a:pt x="19377" y="13995"/>
                              <a:pt x="19198" y="13815"/>
                            </a:cubicBezTo>
                            <a:cubicBezTo>
                              <a:pt x="19019" y="13636"/>
                              <a:pt x="18899" y="13457"/>
                              <a:pt x="18720" y="13277"/>
                            </a:cubicBezTo>
                            <a:cubicBezTo>
                              <a:pt x="18540" y="13098"/>
                              <a:pt x="18361" y="12918"/>
                              <a:pt x="18241" y="12739"/>
                            </a:cubicBezTo>
                            <a:cubicBezTo>
                              <a:pt x="18062" y="12559"/>
                              <a:pt x="17882" y="12380"/>
                              <a:pt x="17703" y="12201"/>
                            </a:cubicBezTo>
                            <a:cubicBezTo>
                              <a:pt x="17523" y="12021"/>
                              <a:pt x="17344" y="11842"/>
                              <a:pt x="17105" y="11662"/>
                            </a:cubicBezTo>
                            <a:cubicBezTo>
                              <a:pt x="16925" y="11483"/>
                              <a:pt x="16686" y="11304"/>
                              <a:pt x="16507" y="11124"/>
                            </a:cubicBezTo>
                            <a:cubicBezTo>
                              <a:pt x="16327" y="10945"/>
                              <a:pt x="16088" y="10765"/>
                              <a:pt x="15909" y="10586"/>
                            </a:cubicBezTo>
                            <a:cubicBezTo>
                              <a:pt x="15729" y="10406"/>
                              <a:pt x="15490" y="10227"/>
                              <a:pt x="15251" y="10048"/>
                            </a:cubicBezTo>
                            <a:cubicBezTo>
                              <a:pt x="14952" y="9808"/>
                              <a:pt x="14652" y="9509"/>
                              <a:pt x="14354" y="9270"/>
                            </a:cubicBezTo>
                            <a:cubicBezTo>
                              <a:pt x="14055" y="9031"/>
                              <a:pt x="13756" y="8732"/>
                              <a:pt x="13457" y="8493"/>
                            </a:cubicBezTo>
                            <a:cubicBezTo>
                              <a:pt x="13157" y="8253"/>
                              <a:pt x="12798" y="7954"/>
                              <a:pt x="12500" y="7715"/>
                            </a:cubicBezTo>
                            <a:cubicBezTo>
                              <a:pt x="12201" y="7476"/>
                              <a:pt x="11842" y="7177"/>
                              <a:pt x="11543" y="6937"/>
                            </a:cubicBezTo>
                            <a:lnTo>
                              <a:pt x="10825" y="7835"/>
                            </a:lnTo>
                            <a:cubicBezTo>
                              <a:pt x="11603" y="8433"/>
                              <a:pt x="12380" y="9091"/>
                              <a:pt x="13098" y="9689"/>
                            </a:cubicBezTo>
                            <a:cubicBezTo>
                              <a:pt x="13815" y="10287"/>
                              <a:pt x="14533" y="10885"/>
                              <a:pt x="15191" y="11543"/>
                            </a:cubicBezTo>
                            <a:cubicBezTo>
                              <a:pt x="15849" y="12141"/>
                              <a:pt x="16507" y="12739"/>
                              <a:pt x="17105" y="13337"/>
                            </a:cubicBezTo>
                            <a:cubicBezTo>
                              <a:pt x="17703" y="13935"/>
                              <a:pt x="18301" y="14533"/>
                              <a:pt x="18839" y="15072"/>
                            </a:cubicBezTo>
                            <a:cubicBezTo>
                              <a:pt x="18959" y="15191"/>
                              <a:pt x="19079" y="15370"/>
                              <a:pt x="19198" y="15490"/>
                            </a:cubicBezTo>
                            <a:cubicBezTo>
                              <a:pt x="19318" y="15610"/>
                              <a:pt x="19437" y="15789"/>
                              <a:pt x="19557" y="15909"/>
                            </a:cubicBezTo>
                            <a:cubicBezTo>
                              <a:pt x="19676" y="16028"/>
                              <a:pt x="19796" y="16208"/>
                              <a:pt x="19916" y="16327"/>
                            </a:cubicBezTo>
                            <a:cubicBezTo>
                              <a:pt x="20035" y="16447"/>
                              <a:pt x="20155" y="16626"/>
                              <a:pt x="20274" y="16746"/>
                            </a:cubicBezTo>
                            <a:cubicBezTo>
                              <a:pt x="20394" y="16926"/>
                              <a:pt x="20514" y="17045"/>
                              <a:pt x="20693" y="17225"/>
                            </a:cubicBezTo>
                            <a:cubicBezTo>
                              <a:pt x="20813" y="17404"/>
                              <a:pt x="20933" y="17523"/>
                              <a:pt x="21052" y="17703"/>
                            </a:cubicBezTo>
                            <a:cubicBezTo>
                              <a:pt x="21172" y="17882"/>
                              <a:pt x="21291" y="18002"/>
                              <a:pt x="21411" y="18181"/>
                            </a:cubicBezTo>
                            <a:cubicBezTo>
                              <a:pt x="21530" y="18361"/>
                              <a:pt x="21650" y="18480"/>
                              <a:pt x="21770" y="18660"/>
                            </a:cubicBezTo>
                            <a:cubicBezTo>
                              <a:pt x="21829" y="18780"/>
                              <a:pt x="21949" y="18899"/>
                              <a:pt x="22009" y="19019"/>
                            </a:cubicBezTo>
                            <a:cubicBezTo>
                              <a:pt x="22069" y="19138"/>
                              <a:pt x="22188" y="19258"/>
                              <a:pt x="22248" y="19377"/>
                            </a:cubicBezTo>
                            <a:cubicBezTo>
                              <a:pt x="22308" y="19497"/>
                              <a:pt x="22428" y="19617"/>
                              <a:pt x="22488" y="19736"/>
                            </a:cubicBezTo>
                            <a:cubicBezTo>
                              <a:pt x="22547" y="19856"/>
                              <a:pt x="22667" y="19975"/>
                              <a:pt x="22727" y="20095"/>
                            </a:cubicBezTo>
                            <a:cubicBezTo>
                              <a:pt x="22906" y="20394"/>
                              <a:pt x="23145" y="20693"/>
                              <a:pt x="23325" y="20992"/>
                            </a:cubicBezTo>
                            <a:cubicBezTo>
                              <a:pt x="23504" y="21291"/>
                              <a:pt x="23683" y="21590"/>
                              <a:pt x="23863" y="21889"/>
                            </a:cubicBezTo>
                            <a:cubicBezTo>
                              <a:pt x="24042" y="22188"/>
                              <a:pt x="24222" y="22488"/>
                              <a:pt x="24342" y="22787"/>
                            </a:cubicBezTo>
                            <a:cubicBezTo>
                              <a:pt x="24521" y="23085"/>
                              <a:pt x="24641" y="23384"/>
                              <a:pt x="24820" y="23683"/>
                            </a:cubicBezTo>
                            <a:cubicBezTo>
                              <a:pt x="24880" y="23803"/>
                              <a:pt x="24940" y="23923"/>
                              <a:pt x="24999" y="24043"/>
                            </a:cubicBezTo>
                            <a:cubicBezTo>
                              <a:pt x="25059" y="24162"/>
                              <a:pt x="25119" y="24282"/>
                              <a:pt x="25179" y="24401"/>
                            </a:cubicBezTo>
                            <a:cubicBezTo>
                              <a:pt x="25238" y="24521"/>
                              <a:pt x="25298" y="24641"/>
                              <a:pt x="25358" y="24760"/>
                            </a:cubicBezTo>
                            <a:cubicBezTo>
                              <a:pt x="25418" y="24880"/>
                              <a:pt x="25478" y="24999"/>
                              <a:pt x="25537" y="25119"/>
                            </a:cubicBezTo>
                            <a:cubicBezTo>
                              <a:pt x="25537" y="25119"/>
                              <a:pt x="25537" y="25119"/>
                              <a:pt x="25537" y="25119"/>
                            </a:cubicBezTo>
                            <a:cubicBezTo>
                              <a:pt x="25537" y="25119"/>
                              <a:pt x="25537" y="25119"/>
                              <a:pt x="25537" y="25119"/>
                            </a:cubicBezTo>
                            <a:cubicBezTo>
                              <a:pt x="25537" y="25119"/>
                              <a:pt x="25537" y="25119"/>
                              <a:pt x="25537" y="25119"/>
                            </a:cubicBezTo>
                            <a:cubicBezTo>
                              <a:pt x="25537" y="25119"/>
                              <a:pt x="25537" y="25119"/>
                              <a:pt x="25537" y="25119"/>
                            </a:cubicBezTo>
                            <a:cubicBezTo>
                              <a:pt x="25597" y="25238"/>
                              <a:pt x="25657" y="25418"/>
                              <a:pt x="25717" y="25538"/>
                            </a:cubicBezTo>
                            <a:cubicBezTo>
                              <a:pt x="25777" y="25657"/>
                              <a:pt x="25837" y="25837"/>
                              <a:pt x="25896" y="25956"/>
                            </a:cubicBezTo>
                            <a:cubicBezTo>
                              <a:pt x="25956" y="26076"/>
                              <a:pt x="26016" y="26255"/>
                              <a:pt x="26076" y="26375"/>
                            </a:cubicBezTo>
                            <a:cubicBezTo>
                              <a:pt x="26136" y="26495"/>
                              <a:pt x="26196" y="26674"/>
                              <a:pt x="26196" y="26794"/>
                            </a:cubicBezTo>
                            <a:cubicBezTo>
                              <a:pt x="26196" y="26794"/>
                              <a:pt x="26196" y="26794"/>
                              <a:pt x="26196" y="26853"/>
                            </a:cubicBezTo>
                            <a:cubicBezTo>
                              <a:pt x="26196" y="26853"/>
                              <a:pt x="26196" y="26853"/>
                              <a:pt x="26196" y="26913"/>
                            </a:cubicBezTo>
                            <a:cubicBezTo>
                              <a:pt x="26196" y="26913"/>
                              <a:pt x="26196" y="26913"/>
                              <a:pt x="26196" y="26973"/>
                            </a:cubicBezTo>
                            <a:cubicBezTo>
                              <a:pt x="26196" y="26973"/>
                              <a:pt x="26196" y="26973"/>
                              <a:pt x="26196" y="27033"/>
                            </a:cubicBezTo>
                            <a:cubicBezTo>
                              <a:pt x="26255" y="27152"/>
                              <a:pt x="26255" y="27332"/>
                              <a:pt x="26315" y="27451"/>
                            </a:cubicBezTo>
                            <a:cubicBezTo>
                              <a:pt x="26375" y="27571"/>
                              <a:pt x="26375" y="27751"/>
                              <a:pt x="26435" y="27870"/>
                            </a:cubicBezTo>
                            <a:cubicBezTo>
                              <a:pt x="26495" y="27990"/>
                              <a:pt x="26495" y="28169"/>
                              <a:pt x="26554" y="28289"/>
                            </a:cubicBezTo>
                            <a:cubicBezTo>
                              <a:pt x="26614" y="28408"/>
                              <a:pt x="26614" y="28588"/>
                              <a:pt x="26614" y="28707"/>
                            </a:cubicBezTo>
                            <a:cubicBezTo>
                              <a:pt x="26674" y="28887"/>
                              <a:pt x="26674" y="29126"/>
                              <a:pt x="26734" y="29305"/>
                            </a:cubicBezTo>
                            <a:cubicBezTo>
                              <a:pt x="26794" y="29485"/>
                              <a:pt x="26794" y="29724"/>
                              <a:pt x="26794" y="29904"/>
                            </a:cubicBezTo>
                            <a:cubicBezTo>
                              <a:pt x="26794" y="30083"/>
                              <a:pt x="26853" y="30322"/>
                              <a:pt x="26853" y="30502"/>
                            </a:cubicBezTo>
                            <a:cubicBezTo>
                              <a:pt x="26853" y="30681"/>
                              <a:pt x="26913" y="30920"/>
                              <a:pt x="26913" y="31100"/>
                            </a:cubicBezTo>
                            <a:cubicBezTo>
                              <a:pt x="26913" y="31159"/>
                              <a:pt x="26913" y="31219"/>
                              <a:pt x="26913" y="31279"/>
                            </a:cubicBezTo>
                            <a:cubicBezTo>
                              <a:pt x="26913" y="31339"/>
                              <a:pt x="26913" y="31399"/>
                              <a:pt x="26913" y="31459"/>
                            </a:cubicBezTo>
                            <a:cubicBezTo>
                              <a:pt x="26913" y="31519"/>
                              <a:pt x="26913" y="31578"/>
                              <a:pt x="26913" y="31638"/>
                            </a:cubicBezTo>
                            <a:cubicBezTo>
                              <a:pt x="26913" y="31698"/>
                              <a:pt x="26913" y="31758"/>
                              <a:pt x="26913" y="31817"/>
                            </a:cubicBezTo>
                            <a:cubicBezTo>
                              <a:pt x="26913" y="31877"/>
                              <a:pt x="26913" y="31877"/>
                              <a:pt x="26913" y="31937"/>
                            </a:cubicBezTo>
                            <a:cubicBezTo>
                              <a:pt x="26913" y="31997"/>
                              <a:pt x="26913" y="31997"/>
                              <a:pt x="26913" y="32057"/>
                            </a:cubicBezTo>
                            <a:cubicBezTo>
                              <a:pt x="26913" y="32116"/>
                              <a:pt x="26913" y="32116"/>
                              <a:pt x="26913" y="32176"/>
                            </a:cubicBezTo>
                            <a:cubicBezTo>
                              <a:pt x="26913" y="32236"/>
                              <a:pt x="26913" y="32236"/>
                              <a:pt x="26913" y="32296"/>
                            </a:cubicBezTo>
                            <a:cubicBezTo>
                              <a:pt x="26913" y="32595"/>
                              <a:pt x="26913" y="32894"/>
                              <a:pt x="26853" y="33193"/>
                            </a:cubicBezTo>
                            <a:cubicBezTo>
                              <a:pt x="26794" y="33492"/>
                              <a:pt x="26794" y="33791"/>
                              <a:pt x="26794" y="34090"/>
                            </a:cubicBezTo>
                            <a:cubicBezTo>
                              <a:pt x="26734" y="34389"/>
                              <a:pt x="26734" y="34688"/>
                              <a:pt x="26674" y="34987"/>
                            </a:cubicBezTo>
                            <a:cubicBezTo>
                              <a:pt x="26614" y="35286"/>
                              <a:pt x="26554" y="35585"/>
                              <a:pt x="26495" y="35884"/>
                            </a:cubicBezTo>
                            <a:cubicBezTo>
                              <a:pt x="26495" y="36004"/>
                              <a:pt x="26435" y="36064"/>
                              <a:pt x="26435" y="36183"/>
                            </a:cubicBezTo>
                            <a:cubicBezTo>
                              <a:pt x="26435" y="36303"/>
                              <a:pt x="26375" y="36363"/>
                              <a:pt x="26375" y="36482"/>
                            </a:cubicBezTo>
                            <a:cubicBezTo>
                              <a:pt x="26375" y="36602"/>
                              <a:pt x="26315" y="36662"/>
                              <a:pt x="26315" y="36781"/>
                            </a:cubicBezTo>
                            <a:cubicBezTo>
                              <a:pt x="26315" y="36901"/>
                              <a:pt x="26255" y="36961"/>
                              <a:pt x="26255" y="37081"/>
                            </a:cubicBezTo>
                            <a:cubicBezTo>
                              <a:pt x="26196" y="37200"/>
                              <a:pt x="26196" y="37320"/>
                              <a:pt x="26136" y="37439"/>
                            </a:cubicBezTo>
                            <a:cubicBezTo>
                              <a:pt x="26076" y="37559"/>
                              <a:pt x="26076" y="37678"/>
                              <a:pt x="26016" y="37798"/>
                            </a:cubicBezTo>
                            <a:cubicBezTo>
                              <a:pt x="25956" y="37918"/>
                              <a:pt x="25956" y="38037"/>
                              <a:pt x="25896" y="38157"/>
                            </a:cubicBezTo>
                            <a:cubicBezTo>
                              <a:pt x="25837" y="38276"/>
                              <a:pt x="25837" y="38396"/>
                              <a:pt x="25777" y="38516"/>
                            </a:cubicBezTo>
                            <a:cubicBezTo>
                              <a:pt x="25777" y="38576"/>
                              <a:pt x="25717" y="38695"/>
                              <a:pt x="25657" y="38755"/>
                            </a:cubicBezTo>
                            <a:cubicBezTo>
                              <a:pt x="25597" y="38815"/>
                              <a:pt x="25597" y="38935"/>
                              <a:pt x="25537" y="39054"/>
                            </a:cubicBezTo>
                            <a:cubicBezTo>
                              <a:pt x="25478" y="39174"/>
                              <a:pt x="25478" y="39234"/>
                              <a:pt x="25418" y="39353"/>
                            </a:cubicBezTo>
                            <a:cubicBezTo>
                              <a:pt x="25358" y="39473"/>
                              <a:pt x="25358" y="39532"/>
                              <a:pt x="25298" y="39652"/>
                            </a:cubicBezTo>
                            <a:cubicBezTo>
                              <a:pt x="25119" y="40071"/>
                              <a:pt x="24940" y="40490"/>
                              <a:pt x="24760" y="40968"/>
                            </a:cubicBezTo>
                            <a:cubicBezTo>
                              <a:pt x="24581" y="41386"/>
                              <a:pt x="24401" y="41805"/>
                              <a:pt x="24162" y="42284"/>
                            </a:cubicBezTo>
                            <a:cubicBezTo>
                              <a:pt x="23983" y="42702"/>
                              <a:pt x="23743" y="43181"/>
                              <a:pt x="23504" y="43599"/>
                            </a:cubicBezTo>
                            <a:cubicBezTo>
                              <a:pt x="23265" y="44018"/>
                              <a:pt x="23026" y="44497"/>
                              <a:pt x="22787" y="44915"/>
                            </a:cubicBezTo>
                            <a:cubicBezTo>
                              <a:pt x="22727" y="44975"/>
                              <a:pt x="22727" y="45095"/>
                              <a:pt x="22667" y="45154"/>
                            </a:cubicBezTo>
                            <a:cubicBezTo>
                              <a:pt x="22607" y="45214"/>
                              <a:pt x="22607" y="45334"/>
                              <a:pt x="22547" y="45393"/>
                            </a:cubicBezTo>
                            <a:cubicBezTo>
                              <a:pt x="22488" y="45453"/>
                              <a:pt x="22428" y="45573"/>
                              <a:pt x="22428" y="45633"/>
                            </a:cubicBezTo>
                            <a:cubicBezTo>
                              <a:pt x="22368" y="45693"/>
                              <a:pt x="22308" y="45812"/>
                              <a:pt x="22308" y="45872"/>
                            </a:cubicBezTo>
                            <a:cubicBezTo>
                              <a:pt x="21889" y="46530"/>
                              <a:pt x="21471" y="47247"/>
                              <a:pt x="20992" y="47966"/>
                            </a:cubicBezTo>
                            <a:cubicBezTo>
                              <a:pt x="20514" y="48683"/>
                              <a:pt x="20095" y="49341"/>
                              <a:pt x="19557" y="50059"/>
                            </a:cubicBezTo>
                            <a:cubicBezTo>
                              <a:pt x="19079" y="50776"/>
                              <a:pt x="18540" y="51494"/>
                              <a:pt x="18002" y="52212"/>
                            </a:cubicBezTo>
                            <a:cubicBezTo>
                              <a:pt x="17643" y="52630"/>
                              <a:pt x="17105" y="53408"/>
                              <a:pt x="16507" y="54125"/>
                            </a:cubicBezTo>
                            <a:moveTo>
                              <a:pt x="14832" y="53049"/>
                            </a:moveTo>
                            <a:lnTo>
                              <a:pt x="15550" y="53528"/>
                            </a:lnTo>
                            <a:cubicBezTo>
                              <a:pt x="16148" y="52750"/>
                              <a:pt x="16686" y="52032"/>
                              <a:pt x="17225" y="51315"/>
                            </a:cubicBezTo>
                            <a:cubicBezTo>
                              <a:pt x="17763" y="50597"/>
                              <a:pt x="18301" y="49879"/>
                              <a:pt x="18779" y="49161"/>
                            </a:cubicBezTo>
                            <a:cubicBezTo>
                              <a:pt x="19258" y="48444"/>
                              <a:pt x="19736" y="47786"/>
                              <a:pt x="20215" y="47068"/>
                            </a:cubicBezTo>
                            <a:cubicBezTo>
                              <a:pt x="20633" y="46351"/>
                              <a:pt x="21112" y="45693"/>
                              <a:pt x="21471" y="45035"/>
                            </a:cubicBezTo>
                            <a:cubicBezTo>
                              <a:pt x="21530" y="44975"/>
                              <a:pt x="21590" y="44855"/>
                              <a:pt x="21590" y="44796"/>
                            </a:cubicBezTo>
                            <a:cubicBezTo>
                              <a:pt x="21650" y="44736"/>
                              <a:pt x="21710" y="44616"/>
                              <a:pt x="21710" y="44556"/>
                            </a:cubicBezTo>
                            <a:cubicBezTo>
                              <a:pt x="21710" y="44497"/>
                              <a:pt x="21770" y="44377"/>
                              <a:pt x="21829" y="44317"/>
                            </a:cubicBezTo>
                            <a:cubicBezTo>
                              <a:pt x="21889" y="44257"/>
                              <a:pt x="21889" y="44138"/>
                              <a:pt x="21949" y="44078"/>
                            </a:cubicBezTo>
                            <a:cubicBezTo>
                              <a:pt x="22188" y="43659"/>
                              <a:pt x="22428" y="43181"/>
                              <a:pt x="22667" y="42762"/>
                            </a:cubicBezTo>
                            <a:cubicBezTo>
                              <a:pt x="22906" y="42344"/>
                              <a:pt x="23086" y="41865"/>
                              <a:pt x="23325" y="41446"/>
                            </a:cubicBezTo>
                            <a:cubicBezTo>
                              <a:pt x="23504" y="41028"/>
                              <a:pt x="23743" y="40549"/>
                              <a:pt x="23923" y="40130"/>
                            </a:cubicBezTo>
                            <a:cubicBezTo>
                              <a:pt x="24102" y="39712"/>
                              <a:pt x="24282" y="39293"/>
                              <a:pt x="24401" y="38815"/>
                            </a:cubicBezTo>
                            <a:cubicBezTo>
                              <a:pt x="24461" y="38695"/>
                              <a:pt x="24461" y="38635"/>
                              <a:pt x="24521" y="38516"/>
                            </a:cubicBezTo>
                            <a:cubicBezTo>
                              <a:pt x="24581" y="38396"/>
                              <a:pt x="24581" y="38336"/>
                              <a:pt x="24641" y="38217"/>
                            </a:cubicBezTo>
                            <a:cubicBezTo>
                              <a:pt x="24641" y="38097"/>
                              <a:pt x="24700" y="38037"/>
                              <a:pt x="24700" y="37918"/>
                            </a:cubicBezTo>
                            <a:cubicBezTo>
                              <a:pt x="24700" y="37798"/>
                              <a:pt x="24760" y="37738"/>
                              <a:pt x="24760" y="37619"/>
                            </a:cubicBezTo>
                            <a:cubicBezTo>
                              <a:pt x="24820" y="37499"/>
                              <a:pt x="24820" y="37380"/>
                              <a:pt x="24880" y="37200"/>
                            </a:cubicBezTo>
                            <a:cubicBezTo>
                              <a:pt x="24940" y="37081"/>
                              <a:pt x="24940" y="36961"/>
                              <a:pt x="24999" y="36781"/>
                            </a:cubicBezTo>
                            <a:cubicBezTo>
                              <a:pt x="25059" y="36662"/>
                              <a:pt x="25059" y="36542"/>
                              <a:pt x="25119" y="36363"/>
                            </a:cubicBezTo>
                            <a:cubicBezTo>
                              <a:pt x="25179" y="36243"/>
                              <a:pt x="25179" y="36123"/>
                              <a:pt x="25238" y="35944"/>
                            </a:cubicBezTo>
                            <a:cubicBezTo>
                              <a:pt x="25238" y="35824"/>
                              <a:pt x="25298" y="35765"/>
                              <a:pt x="25298" y="35645"/>
                            </a:cubicBezTo>
                            <a:cubicBezTo>
                              <a:pt x="25298" y="35526"/>
                              <a:pt x="25358" y="35466"/>
                              <a:pt x="25358" y="35346"/>
                            </a:cubicBezTo>
                            <a:cubicBezTo>
                              <a:pt x="25358" y="35227"/>
                              <a:pt x="25418" y="35167"/>
                              <a:pt x="25418" y="35047"/>
                            </a:cubicBezTo>
                            <a:cubicBezTo>
                              <a:pt x="25418" y="34927"/>
                              <a:pt x="25478" y="34868"/>
                              <a:pt x="25478" y="34748"/>
                            </a:cubicBezTo>
                            <a:cubicBezTo>
                              <a:pt x="25537" y="34509"/>
                              <a:pt x="25537" y="34210"/>
                              <a:pt x="25597" y="33970"/>
                            </a:cubicBezTo>
                            <a:cubicBezTo>
                              <a:pt x="25657" y="33731"/>
                              <a:pt x="25657" y="33432"/>
                              <a:pt x="25657" y="33193"/>
                            </a:cubicBezTo>
                            <a:cubicBezTo>
                              <a:pt x="25657" y="32954"/>
                              <a:pt x="25717" y="32655"/>
                              <a:pt x="25717" y="32415"/>
                            </a:cubicBezTo>
                            <a:cubicBezTo>
                              <a:pt x="25717" y="32176"/>
                              <a:pt x="25717" y="31877"/>
                              <a:pt x="25717" y="31638"/>
                            </a:cubicBezTo>
                            <a:cubicBezTo>
                              <a:pt x="25717" y="31578"/>
                              <a:pt x="25717" y="31519"/>
                              <a:pt x="25717" y="31459"/>
                            </a:cubicBezTo>
                            <a:cubicBezTo>
                              <a:pt x="25717" y="31399"/>
                              <a:pt x="25717" y="31339"/>
                              <a:pt x="25717" y="31279"/>
                            </a:cubicBezTo>
                            <a:cubicBezTo>
                              <a:pt x="25717" y="31219"/>
                              <a:pt x="25717" y="31159"/>
                              <a:pt x="25717" y="31100"/>
                            </a:cubicBezTo>
                            <a:cubicBezTo>
                              <a:pt x="25717" y="31040"/>
                              <a:pt x="25717" y="30980"/>
                              <a:pt x="25717" y="30920"/>
                            </a:cubicBezTo>
                            <a:cubicBezTo>
                              <a:pt x="25717" y="30920"/>
                              <a:pt x="25717" y="30860"/>
                              <a:pt x="25717" y="30860"/>
                            </a:cubicBezTo>
                            <a:cubicBezTo>
                              <a:pt x="25717" y="30860"/>
                              <a:pt x="25717" y="30800"/>
                              <a:pt x="25717" y="30800"/>
                            </a:cubicBezTo>
                            <a:cubicBezTo>
                              <a:pt x="25717" y="30800"/>
                              <a:pt x="25717" y="30741"/>
                              <a:pt x="25717" y="30741"/>
                            </a:cubicBezTo>
                            <a:cubicBezTo>
                              <a:pt x="25717" y="30741"/>
                              <a:pt x="25717" y="30681"/>
                              <a:pt x="25717" y="30681"/>
                            </a:cubicBezTo>
                            <a:cubicBezTo>
                              <a:pt x="25717" y="30561"/>
                              <a:pt x="25717" y="30382"/>
                              <a:pt x="25657" y="30262"/>
                            </a:cubicBezTo>
                            <a:cubicBezTo>
                              <a:pt x="25657" y="30143"/>
                              <a:pt x="25597" y="29963"/>
                              <a:pt x="25597" y="29844"/>
                            </a:cubicBezTo>
                            <a:cubicBezTo>
                              <a:pt x="25597" y="29724"/>
                              <a:pt x="25537" y="29545"/>
                              <a:pt x="25537" y="29425"/>
                            </a:cubicBezTo>
                            <a:cubicBezTo>
                              <a:pt x="25537" y="29305"/>
                              <a:pt x="25478" y="29126"/>
                              <a:pt x="25478" y="29006"/>
                            </a:cubicBezTo>
                            <a:cubicBezTo>
                              <a:pt x="25418" y="28827"/>
                              <a:pt x="25418" y="28648"/>
                              <a:pt x="25358" y="28468"/>
                            </a:cubicBezTo>
                            <a:cubicBezTo>
                              <a:pt x="25298" y="28289"/>
                              <a:pt x="25298" y="28109"/>
                              <a:pt x="25238" y="27930"/>
                            </a:cubicBezTo>
                            <a:cubicBezTo>
                              <a:pt x="25179" y="27751"/>
                              <a:pt x="25179" y="27571"/>
                              <a:pt x="25119" y="27392"/>
                            </a:cubicBezTo>
                            <a:cubicBezTo>
                              <a:pt x="25059" y="27212"/>
                              <a:pt x="24999" y="27033"/>
                              <a:pt x="24940" y="26853"/>
                            </a:cubicBezTo>
                            <a:cubicBezTo>
                              <a:pt x="24880" y="26734"/>
                              <a:pt x="24880" y="26614"/>
                              <a:pt x="24820" y="26495"/>
                            </a:cubicBezTo>
                            <a:cubicBezTo>
                              <a:pt x="24760" y="26375"/>
                              <a:pt x="24760" y="26255"/>
                              <a:pt x="24700" y="26136"/>
                            </a:cubicBezTo>
                            <a:cubicBezTo>
                              <a:pt x="24641" y="26016"/>
                              <a:pt x="24641" y="25897"/>
                              <a:pt x="24581" y="25777"/>
                            </a:cubicBezTo>
                            <a:cubicBezTo>
                              <a:pt x="24521" y="25657"/>
                              <a:pt x="24461" y="25538"/>
                              <a:pt x="24461" y="25418"/>
                            </a:cubicBezTo>
                            <a:cubicBezTo>
                              <a:pt x="24461" y="25418"/>
                              <a:pt x="24461" y="25358"/>
                              <a:pt x="24461" y="25358"/>
                            </a:cubicBezTo>
                            <a:cubicBezTo>
                              <a:pt x="24461" y="25358"/>
                              <a:pt x="24461" y="25298"/>
                              <a:pt x="24461" y="25298"/>
                            </a:cubicBezTo>
                            <a:cubicBezTo>
                              <a:pt x="24461" y="25298"/>
                              <a:pt x="24461" y="25238"/>
                              <a:pt x="24461" y="25238"/>
                            </a:cubicBezTo>
                            <a:cubicBezTo>
                              <a:pt x="24461" y="25238"/>
                              <a:pt x="24461" y="25179"/>
                              <a:pt x="24461" y="25179"/>
                            </a:cubicBezTo>
                            <a:cubicBezTo>
                              <a:pt x="24401" y="24999"/>
                              <a:pt x="24342" y="24820"/>
                              <a:pt x="24222" y="24700"/>
                            </a:cubicBezTo>
                            <a:cubicBezTo>
                              <a:pt x="24162" y="24521"/>
                              <a:pt x="24042" y="24342"/>
                              <a:pt x="23983" y="24222"/>
                            </a:cubicBezTo>
                            <a:cubicBezTo>
                              <a:pt x="23923" y="24043"/>
                              <a:pt x="23803" y="23863"/>
                              <a:pt x="23743" y="23743"/>
                            </a:cubicBezTo>
                            <a:cubicBezTo>
                              <a:pt x="23683" y="23564"/>
                              <a:pt x="23564" y="23384"/>
                              <a:pt x="23504" y="23265"/>
                            </a:cubicBezTo>
                            <a:cubicBezTo>
                              <a:pt x="23444" y="23145"/>
                              <a:pt x="23384" y="23026"/>
                              <a:pt x="23325" y="22966"/>
                            </a:cubicBezTo>
                            <a:cubicBezTo>
                              <a:pt x="23265" y="22846"/>
                              <a:pt x="23205" y="22727"/>
                              <a:pt x="23145" y="22667"/>
                            </a:cubicBezTo>
                            <a:cubicBezTo>
                              <a:pt x="23086" y="22547"/>
                              <a:pt x="23026" y="22428"/>
                              <a:pt x="22966" y="22368"/>
                            </a:cubicBezTo>
                            <a:cubicBezTo>
                              <a:pt x="22906" y="22248"/>
                              <a:pt x="22846" y="22129"/>
                              <a:pt x="22787" y="22069"/>
                            </a:cubicBezTo>
                            <a:cubicBezTo>
                              <a:pt x="22727" y="21949"/>
                              <a:pt x="22667" y="21829"/>
                              <a:pt x="22607" y="21770"/>
                            </a:cubicBezTo>
                            <a:cubicBezTo>
                              <a:pt x="22547" y="21650"/>
                              <a:pt x="22488" y="21530"/>
                              <a:pt x="22428" y="21471"/>
                            </a:cubicBezTo>
                            <a:cubicBezTo>
                              <a:pt x="22368" y="21351"/>
                              <a:pt x="22308" y="21231"/>
                              <a:pt x="22248" y="21172"/>
                            </a:cubicBezTo>
                            <a:cubicBezTo>
                              <a:pt x="22188" y="21112"/>
                              <a:pt x="22128" y="20933"/>
                              <a:pt x="22009" y="20873"/>
                            </a:cubicBezTo>
                            <a:cubicBezTo>
                              <a:pt x="21889" y="20753"/>
                              <a:pt x="21829" y="20574"/>
                              <a:pt x="21710" y="20454"/>
                            </a:cubicBezTo>
                            <a:cubicBezTo>
                              <a:pt x="21590" y="20334"/>
                              <a:pt x="21530" y="20155"/>
                              <a:pt x="21411" y="20035"/>
                            </a:cubicBezTo>
                            <a:cubicBezTo>
                              <a:pt x="21291" y="19916"/>
                              <a:pt x="21231" y="19736"/>
                              <a:pt x="21112" y="19617"/>
                            </a:cubicBezTo>
                            <a:cubicBezTo>
                              <a:pt x="20992" y="19497"/>
                              <a:pt x="20873" y="19318"/>
                              <a:pt x="20813" y="19198"/>
                            </a:cubicBezTo>
                            <a:cubicBezTo>
                              <a:pt x="20753" y="19079"/>
                              <a:pt x="20633" y="18959"/>
                              <a:pt x="20574" y="18839"/>
                            </a:cubicBezTo>
                            <a:cubicBezTo>
                              <a:pt x="20514" y="18720"/>
                              <a:pt x="20394" y="18600"/>
                              <a:pt x="20274" y="18480"/>
                            </a:cubicBezTo>
                            <a:cubicBezTo>
                              <a:pt x="20155" y="18361"/>
                              <a:pt x="20095" y="18241"/>
                              <a:pt x="19975" y="18121"/>
                            </a:cubicBezTo>
                            <a:cubicBezTo>
                              <a:pt x="19856" y="18002"/>
                              <a:pt x="19796" y="17882"/>
                              <a:pt x="19676" y="17763"/>
                            </a:cubicBezTo>
                            <a:cubicBezTo>
                              <a:pt x="19079" y="17045"/>
                              <a:pt x="18420" y="16327"/>
                              <a:pt x="17763" y="15610"/>
                            </a:cubicBezTo>
                            <a:cubicBezTo>
                              <a:pt x="17045" y="14892"/>
                              <a:pt x="16327" y="14174"/>
                              <a:pt x="15550" y="13397"/>
                            </a:cubicBezTo>
                            <a:cubicBezTo>
                              <a:pt x="14772" y="12679"/>
                              <a:pt x="13935" y="11902"/>
                              <a:pt x="13038" y="11124"/>
                            </a:cubicBezTo>
                            <a:cubicBezTo>
                              <a:pt x="12141" y="10347"/>
                              <a:pt x="11244" y="9569"/>
                              <a:pt x="10227" y="8791"/>
                            </a:cubicBezTo>
                            <a:lnTo>
                              <a:pt x="9509" y="9689"/>
                            </a:lnTo>
                            <a:cubicBezTo>
                              <a:pt x="10586" y="10586"/>
                              <a:pt x="11662" y="11423"/>
                              <a:pt x="12619" y="12260"/>
                            </a:cubicBezTo>
                            <a:cubicBezTo>
                              <a:pt x="13576" y="13098"/>
                              <a:pt x="14533" y="13935"/>
                              <a:pt x="15371" y="14772"/>
                            </a:cubicBezTo>
                            <a:cubicBezTo>
                              <a:pt x="16208" y="15610"/>
                              <a:pt x="16985" y="16387"/>
                              <a:pt x="17763" y="17225"/>
                            </a:cubicBezTo>
                            <a:cubicBezTo>
                              <a:pt x="18480" y="18002"/>
                              <a:pt x="19198" y="18839"/>
                              <a:pt x="19796" y="19617"/>
                            </a:cubicBezTo>
                            <a:cubicBezTo>
                              <a:pt x="19856" y="19736"/>
                              <a:pt x="19975" y="19796"/>
                              <a:pt x="20035" y="19916"/>
                            </a:cubicBezTo>
                            <a:cubicBezTo>
                              <a:pt x="20095" y="20035"/>
                              <a:pt x="20215" y="20095"/>
                              <a:pt x="20274" y="20215"/>
                            </a:cubicBezTo>
                            <a:cubicBezTo>
                              <a:pt x="20334" y="20334"/>
                              <a:pt x="20454" y="20394"/>
                              <a:pt x="20514" y="20514"/>
                            </a:cubicBezTo>
                            <a:cubicBezTo>
                              <a:pt x="20574" y="20634"/>
                              <a:pt x="20693" y="20693"/>
                              <a:pt x="20753" y="20813"/>
                            </a:cubicBezTo>
                            <a:cubicBezTo>
                              <a:pt x="20813" y="20873"/>
                              <a:pt x="20873" y="20992"/>
                              <a:pt x="20933" y="21052"/>
                            </a:cubicBezTo>
                            <a:cubicBezTo>
                              <a:pt x="20992" y="21112"/>
                              <a:pt x="21052" y="21231"/>
                              <a:pt x="21112" y="21291"/>
                            </a:cubicBezTo>
                            <a:cubicBezTo>
                              <a:pt x="21172" y="21351"/>
                              <a:pt x="21231" y="21471"/>
                              <a:pt x="21291" y="21530"/>
                            </a:cubicBezTo>
                            <a:cubicBezTo>
                              <a:pt x="21351" y="21590"/>
                              <a:pt x="21411" y="21710"/>
                              <a:pt x="21471" y="21770"/>
                            </a:cubicBezTo>
                            <a:cubicBezTo>
                              <a:pt x="21471" y="21829"/>
                              <a:pt x="21530" y="21889"/>
                              <a:pt x="21530" y="21889"/>
                            </a:cubicBezTo>
                            <a:cubicBezTo>
                              <a:pt x="21530" y="21949"/>
                              <a:pt x="21590" y="22009"/>
                              <a:pt x="21590" y="22009"/>
                            </a:cubicBezTo>
                            <a:cubicBezTo>
                              <a:pt x="21590" y="22069"/>
                              <a:pt x="21650" y="22129"/>
                              <a:pt x="21650" y="22129"/>
                            </a:cubicBezTo>
                            <a:cubicBezTo>
                              <a:pt x="21650" y="22188"/>
                              <a:pt x="21710" y="22248"/>
                              <a:pt x="21710" y="22248"/>
                            </a:cubicBezTo>
                            <a:cubicBezTo>
                              <a:pt x="21770" y="22368"/>
                              <a:pt x="21829" y="22428"/>
                              <a:pt x="21889" y="22547"/>
                            </a:cubicBezTo>
                            <a:cubicBezTo>
                              <a:pt x="21949" y="22667"/>
                              <a:pt x="22009" y="22727"/>
                              <a:pt x="22069" y="22846"/>
                            </a:cubicBezTo>
                            <a:cubicBezTo>
                              <a:pt x="22128" y="22966"/>
                              <a:pt x="22188" y="23026"/>
                              <a:pt x="22248" y="23145"/>
                            </a:cubicBezTo>
                            <a:cubicBezTo>
                              <a:pt x="22308" y="23265"/>
                              <a:pt x="22368" y="23325"/>
                              <a:pt x="22428" y="23444"/>
                            </a:cubicBezTo>
                            <a:cubicBezTo>
                              <a:pt x="22428" y="23504"/>
                              <a:pt x="22488" y="23504"/>
                              <a:pt x="22488" y="23564"/>
                            </a:cubicBezTo>
                            <a:cubicBezTo>
                              <a:pt x="22488" y="23624"/>
                              <a:pt x="22547" y="23624"/>
                              <a:pt x="22547" y="23683"/>
                            </a:cubicBezTo>
                            <a:cubicBezTo>
                              <a:pt x="22547" y="23743"/>
                              <a:pt x="22607" y="23743"/>
                              <a:pt x="22607" y="23803"/>
                            </a:cubicBezTo>
                            <a:cubicBezTo>
                              <a:pt x="22607" y="23863"/>
                              <a:pt x="22667" y="23863"/>
                              <a:pt x="22667" y="23923"/>
                            </a:cubicBezTo>
                            <a:cubicBezTo>
                              <a:pt x="22787" y="24162"/>
                              <a:pt x="22966" y="24461"/>
                              <a:pt x="23086" y="24700"/>
                            </a:cubicBezTo>
                            <a:cubicBezTo>
                              <a:pt x="23205" y="24940"/>
                              <a:pt x="23325" y="25238"/>
                              <a:pt x="23444" y="25478"/>
                            </a:cubicBezTo>
                            <a:cubicBezTo>
                              <a:pt x="23564" y="25717"/>
                              <a:pt x="23683" y="26016"/>
                              <a:pt x="23743" y="26255"/>
                            </a:cubicBezTo>
                            <a:cubicBezTo>
                              <a:pt x="23863" y="26495"/>
                              <a:pt x="23923" y="26794"/>
                              <a:pt x="24042" y="27033"/>
                            </a:cubicBezTo>
                            <a:cubicBezTo>
                              <a:pt x="24102" y="27152"/>
                              <a:pt x="24102" y="27272"/>
                              <a:pt x="24162" y="27392"/>
                            </a:cubicBezTo>
                            <a:cubicBezTo>
                              <a:pt x="24222" y="27511"/>
                              <a:pt x="24222" y="27631"/>
                              <a:pt x="24282" y="27751"/>
                            </a:cubicBezTo>
                            <a:cubicBezTo>
                              <a:pt x="24342" y="27870"/>
                              <a:pt x="24342" y="27990"/>
                              <a:pt x="24401" y="28109"/>
                            </a:cubicBezTo>
                            <a:cubicBezTo>
                              <a:pt x="24461" y="28229"/>
                              <a:pt x="24461" y="28349"/>
                              <a:pt x="24521" y="28468"/>
                            </a:cubicBezTo>
                            <a:cubicBezTo>
                              <a:pt x="24521" y="28468"/>
                              <a:pt x="24521" y="28528"/>
                              <a:pt x="24521" y="28528"/>
                            </a:cubicBezTo>
                            <a:cubicBezTo>
                              <a:pt x="24521" y="28528"/>
                              <a:pt x="24521" y="28588"/>
                              <a:pt x="24521" y="28588"/>
                            </a:cubicBezTo>
                            <a:cubicBezTo>
                              <a:pt x="24521" y="28588"/>
                              <a:pt x="24521" y="28648"/>
                              <a:pt x="24521" y="28648"/>
                            </a:cubicBezTo>
                            <a:cubicBezTo>
                              <a:pt x="24521" y="28648"/>
                              <a:pt x="24521" y="28707"/>
                              <a:pt x="24521" y="28707"/>
                            </a:cubicBezTo>
                            <a:cubicBezTo>
                              <a:pt x="24521" y="28827"/>
                              <a:pt x="24581" y="28946"/>
                              <a:pt x="24581" y="29066"/>
                            </a:cubicBezTo>
                            <a:cubicBezTo>
                              <a:pt x="24581" y="29186"/>
                              <a:pt x="24641" y="29305"/>
                              <a:pt x="24641" y="29425"/>
                            </a:cubicBezTo>
                            <a:cubicBezTo>
                              <a:pt x="24641" y="29545"/>
                              <a:pt x="24700" y="29664"/>
                              <a:pt x="24700" y="29784"/>
                            </a:cubicBezTo>
                            <a:cubicBezTo>
                              <a:pt x="24700" y="29904"/>
                              <a:pt x="24760" y="30023"/>
                              <a:pt x="24760" y="30143"/>
                            </a:cubicBezTo>
                            <a:cubicBezTo>
                              <a:pt x="24760" y="30203"/>
                              <a:pt x="24760" y="30203"/>
                              <a:pt x="24760" y="30262"/>
                            </a:cubicBezTo>
                            <a:cubicBezTo>
                              <a:pt x="24760" y="30322"/>
                              <a:pt x="24760" y="30322"/>
                              <a:pt x="24760" y="30382"/>
                            </a:cubicBezTo>
                            <a:cubicBezTo>
                              <a:pt x="24760" y="30442"/>
                              <a:pt x="24760" y="30442"/>
                              <a:pt x="24760" y="30502"/>
                            </a:cubicBezTo>
                            <a:cubicBezTo>
                              <a:pt x="24760" y="30561"/>
                              <a:pt x="24760" y="30561"/>
                              <a:pt x="24760" y="30621"/>
                            </a:cubicBezTo>
                            <a:cubicBezTo>
                              <a:pt x="24760" y="30741"/>
                              <a:pt x="24760" y="30800"/>
                              <a:pt x="24760" y="30920"/>
                            </a:cubicBezTo>
                            <a:cubicBezTo>
                              <a:pt x="24760" y="31040"/>
                              <a:pt x="24760" y="31100"/>
                              <a:pt x="24760" y="31219"/>
                            </a:cubicBezTo>
                            <a:cubicBezTo>
                              <a:pt x="24760" y="31339"/>
                              <a:pt x="24760" y="31399"/>
                              <a:pt x="24760" y="31519"/>
                            </a:cubicBezTo>
                            <a:cubicBezTo>
                              <a:pt x="24760" y="31638"/>
                              <a:pt x="24760" y="31698"/>
                              <a:pt x="24760" y="31817"/>
                            </a:cubicBezTo>
                            <a:cubicBezTo>
                              <a:pt x="24760" y="31877"/>
                              <a:pt x="24760" y="31937"/>
                              <a:pt x="24760" y="31997"/>
                            </a:cubicBezTo>
                            <a:cubicBezTo>
                              <a:pt x="24760" y="32057"/>
                              <a:pt x="24760" y="32116"/>
                              <a:pt x="24760" y="32176"/>
                            </a:cubicBezTo>
                            <a:cubicBezTo>
                              <a:pt x="24760" y="32236"/>
                              <a:pt x="24760" y="32296"/>
                              <a:pt x="24760" y="32356"/>
                            </a:cubicBezTo>
                            <a:cubicBezTo>
                              <a:pt x="24760" y="32415"/>
                              <a:pt x="24760" y="32475"/>
                              <a:pt x="24760" y="32535"/>
                            </a:cubicBezTo>
                            <a:cubicBezTo>
                              <a:pt x="24760" y="32655"/>
                              <a:pt x="24760" y="32774"/>
                              <a:pt x="24760" y="32894"/>
                            </a:cubicBezTo>
                            <a:cubicBezTo>
                              <a:pt x="24760" y="33014"/>
                              <a:pt x="24760" y="33133"/>
                              <a:pt x="24760" y="33253"/>
                            </a:cubicBezTo>
                            <a:cubicBezTo>
                              <a:pt x="24760" y="33373"/>
                              <a:pt x="24760" y="33492"/>
                              <a:pt x="24700" y="33612"/>
                            </a:cubicBezTo>
                            <a:cubicBezTo>
                              <a:pt x="24641" y="33731"/>
                              <a:pt x="24700" y="33851"/>
                              <a:pt x="24641" y="33970"/>
                            </a:cubicBezTo>
                            <a:cubicBezTo>
                              <a:pt x="24641" y="34090"/>
                              <a:pt x="24641" y="34150"/>
                              <a:pt x="24581" y="34269"/>
                            </a:cubicBezTo>
                            <a:cubicBezTo>
                              <a:pt x="24581" y="34389"/>
                              <a:pt x="24581" y="34449"/>
                              <a:pt x="24521" y="34568"/>
                            </a:cubicBezTo>
                            <a:cubicBezTo>
                              <a:pt x="24521" y="34688"/>
                              <a:pt x="24461" y="34748"/>
                              <a:pt x="24461" y="34868"/>
                            </a:cubicBezTo>
                            <a:cubicBezTo>
                              <a:pt x="24461" y="34987"/>
                              <a:pt x="24401" y="35047"/>
                              <a:pt x="24401" y="35167"/>
                            </a:cubicBezTo>
                            <a:cubicBezTo>
                              <a:pt x="24401" y="35286"/>
                              <a:pt x="24342" y="35406"/>
                              <a:pt x="24342" y="35585"/>
                            </a:cubicBezTo>
                            <a:cubicBezTo>
                              <a:pt x="24342" y="35705"/>
                              <a:pt x="24282" y="35824"/>
                              <a:pt x="24282" y="36004"/>
                            </a:cubicBezTo>
                            <a:cubicBezTo>
                              <a:pt x="24222" y="36123"/>
                              <a:pt x="24222" y="36243"/>
                              <a:pt x="24162" y="36422"/>
                            </a:cubicBezTo>
                            <a:cubicBezTo>
                              <a:pt x="24102" y="36542"/>
                              <a:pt x="24102" y="36662"/>
                              <a:pt x="24042" y="36841"/>
                            </a:cubicBezTo>
                            <a:cubicBezTo>
                              <a:pt x="24042" y="36961"/>
                              <a:pt x="23983" y="37021"/>
                              <a:pt x="23983" y="37140"/>
                            </a:cubicBezTo>
                            <a:cubicBezTo>
                              <a:pt x="23983" y="37260"/>
                              <a:pt x="23923" y="37320"/>
                              <a:pt x="23923" y="37439"/>
                            </a:cubicBezTo>
                            <a:cubicBezTo>
                              <a:pt x="23923" y="37559"/>
                              <a:pt x="23863" y="37619"/>
                              <a:pt x="23863" y="37738"/>
                            </a:cubicBezTo>
                            <a:cubicBezTo>
                              <a:pt x="23863" y="37858"/>
                              <a:pt x="23803" y="37918"/>
                              <a:pt x="23743" y="38037"/>
                            </a:cubicBezTo>
                            <a:cubicBezTo>
                              <a:pt x="23624" y="38456"/>
                              <a:pt x="23444" y="38875"/>
                              <a:pt x="23265" y="39353"/>
                            </a:cubicBezTo>
                            <a:cubicBezTo>
                              <a:pt x="23086" y="39772"/>
                              <a:pt x="22906" y="40250"/>
                              <a:pt x="22727" y="40669"/>
                            </a:cubicBezTo>
                            <a:cubicBezTo>
                              <a:pt x="22547" y="41088"/>
                              <a:pt x="22308" y="41566"/>
                              <a:pt x="22069" y="41985"/>
                            </a:cubicBezTo>
                            <a:cubicBezTo>
                              <a:pt x="21829" y="42403"/>
                              <a:pt x="21590" y="42882"/>
                              <a:pt x="21351" y="43300"/>
                            </a:cubicBezTo>
                            <a:cubicBezTo>
                              <a:pt x="21291" y="43360"/>
                              <a:pt x="21291" y="43480"/>
                              <a:pt x="21231" y="43539"/>
                            </a:cubicBezTo>
                            <a:cubicBezTo>
                              <a:pt x="21172" y="43599"/>
                              <a:pt x="21172" y="43719"/>
                              <a:pt x="21112" y="43779"/>
                            </a:cubicBezTo>
                            <a:cubicBezTo>
                              <a:pt x="21052" y="43839"/>
                              <a:pt x="21052" y="43958"/>
                              <a:pt x="20992" y="44018"/>
                            </a:cubicBezTo>
                            <a:cubicBezTo>
                              <a:pt x="20933" y="44078"/>
                              <a:pt x="20873" y="44198"/>
                              <a:pt x="20873" y="44257"/>
                            </a:cubicBezTo>
                            <a:cubicBezTo>
                              <a:pt x="20454" y="44915"/>
                              <a:pt x="20035" y="45633"/>
                              <a:pt x="19617" y="46291"/>
                            </a:cubicBezTo>
                            <a:cubicBezTo>
                              <a:pt x="19198" y="47008"/>
                              <a:pt x="18720" y="47666"/>
                              <a:pt x="18241" y="48384"/>
                            </a:cubicBezTo>
                            <a:cubicBezTo>
                              <a:pt x="17763" y="49101"/>
                              <a:pt x="17225" y="49820"/>
                              <a:pt x="16686" y="50537"/>
                            </a:cubicBezTo>
                            <a:cubicBezTo>
                              <a:pt x="15968" y="51554"/>
                              <a:pt x="15430" y="52271"/>
                              <a:pt x="14832" y="53049"/>
                            </a:cubicBezTo>
                            <a:moveTo>
                              <a:pt x="14652" y="56518"/>
                            </a:moveTo>
                            <a:lnTo>
                              <a:pt x="15371" y="56996"/>
                            </a:lnTo>
                            <a:cubicBezTo>
                              <a:pt x="15490" y="56877"/>
                              <a:pt x="15550" y="56757"/>
                              <a:pt x="15669" y="56637"/>
                            </a:cubicBezTo>
                            <a:cubicBezTo>
                              <a:pt x="15789" y="56518"/>
                              <a:pt x="15849" y="56398"/>
                              <a:pt x="15968" y="56278"/>
                            </a:cubicBezTo>
                            <a:cubicBezTo>
                              <a:pt x="16088" y="56159"/>
                              <a:pt x="16148" y="56039"/>
                              <a:pt x="16267" y="55920"/>
                            </a:cubicBezTo>
                            <a:cubicBezTo>
                              <a:pt x="16387" y="55800"/>
                              <a:pt x="16447" y="55681"/>
                              <a:pt x="16566" y="55561"/>
                            </a:cubicBezTo>
                            <a:lnTo>
                              <a:pt x="15849" y="55082"/>
                            </a:lnTo>
                            <a:cubicBezTo>
                              <a:pt x="15729" y="55202"/>
                              <a:pt x="15669" y="55322"/>
                              <a:pt x="15550" y="55441"/>
                            </a:cubicBezTo>
                            <a:cubicBezTo>
                              <a:pt x="15430" y="55561"/>
                              <a:pt x="15371" y="55681"/>
                              <a:pt x="15251" y="55800"/>
                            </a:cubicBezTo>
                            <a:cubicBezTo>
                              <a:pt x="15131" y="55920"/>
                              <a:pt x="15071" y="56039"/>
                              <a:pt x="14952" y="56159"/>
                            </a:cubicBezTo>
                            <a:cubicBezTo>
                              <a:pt x="14832" y="56278"/>
                              <a:pt x="14772" y="56398"/>
                              <a:pt x="14652" y="56518"/>
                            </a:cubicBezTo>
                            <a:moveTo>
                              <a:pt x="12978" y="55441"/>
                            </a:moveTo>
                            <a:lnTo>
                              <a:pt x="13696" y="55920"/>
                            </a:lnTo>
                            <a:cubicBezTo>
                              <a:pt x="13815" y="55800"/>
                              <a:pt x="13875" y="55681"/>
                              <a:pt x="13995" y="55561"/>
                            </a:cubicBezTo>
                            <a:cubicBezTo>
                              <a:pt x="14114" y="55441"/>
                              <a:pt x="14174" y="55322"/>
                              <a:pt x="14294" y="55202"/>
                            </a:cubicBezTo>
                            <a:cubicBezTo>
                              <a:pt x="14413" y="55082"/>
                              <a:pt x="14473" y="54963"/>
                              <a:pt x="14593" y="54843"/>
                            </a:cubicBezTo>
                            <a:cubicBezTo>
                              <a:pt x="14712" y="54723"/>
                              <a:pt x="14772" y="54604"/>
                              <a:pt x="14892" y="54484"/>
                            </a:cubicBezTo>
                            <a:lnTo>
                              <a:pt x="14174" y="54006"/>
                            </a:lnTo>
                            <a:cubicBezTo>
                              <a:pt x="14055" y="54125"/>
                              <a:pt x="13995" y="54245"/>
                              <a:pt x="13875" y="54365"/>
                            </a:cubicBezTo>
                            <a:cubicBezTo>
                              <a:pt x="13756" y="54484"/>
                              <a:pt x="13696" y="54604"/>
                              <a:pt x="13576" y="54723"/>
                            </a:cubicBezTo>
                            <a:cubicBezTo>
                              <a:pt x="13457" y="54843"/>
                              <a:pt x="13397" y="54963"/>
                              <a:pt x="13277" y="55082"/>
                            </a:cubicBezTo>
                            <a:cubicBezTo>
                              <a:pt x="13217" y="55142"/>
                              <a:pt x="13098" y="55322"/>
                              <a:pt x="12978" y="55441"/>
                            </a:cubicBezTo>
                            <a:moveTo>
                              <a:pt x="12918" y="58731"/>
                            </a:moveTo>
                            <a:lnTo>
                              <a:pt x="13636" y="59209"/>
                            </a:lnTo>
                            <a:cubicBezTo>
                              <a:pt x="13696" y="59090"/>
                              <a:pt x="13815" y="58970"/>
                              <a:pt x="13875" y="58850"/>
                            </a:cubicBezTo>
                            <a:cubicBezTo>
                              <a:pt x="13935" y="58731"/>
                              <a:pt x="14055" y="58611"/>
                              <a:pt x="14114" y="58491"/>
                            </a:cubicBezTo>
                            <a:cubicBezTo>
                              <a:pt x="14174" y="58372"/>
                              <a:pt x="14294" y="58252"/>
                              <a:pt x="14354" y="58192"/>
                            </a:cubicBezTo>
                            <a:cubicBezTo>
                              <a:pt x="14413" y="58132"/>
                              <a:pt x="14533" y="57953"/>
                              <a:pt x="14593" y="57893"/>
                            </a:cubicBezTo>
                            <a:lnTo>
                              <a:pt x="13875" y="57415"/>
                            </a:lnTo>
                            <a:cubicBezTo>
                              <a:pt x="13815" y="57535"/>
                              <a:pt x="13696" y="57654"/>
                              <a:pt x="13636" y="57714"/>
                            </a:cubicBezTo>
                            <a:cubicBezTo>
                              <a:pt x="13576" y="57774"/>
                              <a:pt x="13457" y="57953"/>
                              <a:pt x="13397" y="58013"/>
                            </a:cubicBezTo>
                            <a:cubicBezTo>
                              <a:pt x="13337" y="58132"/>
                              <a:pt x="13217" y="58252"/>
                              <a:pt x="13157" y="58372"/>
                            </a:cubicBezTo>
                            <a:cubicBezTo>
                              <a:pt x="13098" y="58491"/>
                              <a:pt x="13038" y="58611"/>
                              <a:pt x="12918" y="58731"/>
                            </a:cubicBezTo>
                            <a:moveTo>
                              <a:pt x="11244" y="57594"/>
                            </a:moveTo>
                            <a:lnTo>
                              <a:pt x="11961" y="58073"/>
                            </a:lnTo>
                            <a:cubicBezTo>
                              <a:pt x="12021" y="57953"/>
                              <a:pt x="12141" y="57833"/>
                              <a:pt x="12201" y="57714"/>
                            </a:cubicBezTo>
                            <a:cubicBezTo>
                              <a:pt x="12260" y="57594"/>
                              <a:pt x="12380" y="57475"/>
                              <a:pt x="12440" y="57355"/>
                            </a:cubicBezTo>
                            <a:cubicBezTo>
                              <a:pt x="12500" y="57236"/>
                              <a:pt x="12619" y="57116"/>
                              <a:pt x="12679" y="57056"/>
                            </a:cubicBezTo>
                            <a:cubicBezTo>
                              <a:pt x="12739" y="56937"/>
                              <a:pt x="12858" y="56817"/>
                              <a:pt x="12918" y="56757"/>
                            </a:cubicBezTo>
                            <a:lnTo>
                              <a:pt x="12201" y="56278"/>
                            </a:lnTo>
                            <a:cubicBezTo>
                              <a:pt x="12141" y="56398"/>
                              <a:pt x="12021" y="56518"/>
                              <a:pt x="11961" y="56577"/>
                            </a:cubicBezTo>
                            <a:cubicBezTo>
                              <a:pt x="11902" y="56697"/>
                              <a:pt x="11782" y="56817"/>
                              <a:pt x="11722" y="56937"/>
                            </a:cubicBezTo>
                            <a:cubicBezTo>
                              <a:pt x="11662" y="57056"/>
                              <a:pt x="11543" y="57176"/>
                              <a:pt x="11483" y="57295"/>
                            </a:cubicBezTo>
                            <a:cubicBezTo>
                              <a:pt x="11423" y="57415"/>
                              <a:pt x="11303" y="57535"/>
                              <a:pt x="11244" y="57594"/>
                            </a:cubicBezTo>
                            <a:moveTo>
                              <a:pt x="1196" y="70034"/>
                            </a:moveTo>
                            <a:lnTo>
                              <a:pt x="3648" y="71589"/>
                            </a:lnTo>
                            <a:lnTo>
                              <a:pt x="3708" y="71470"/>
                            </a:lnTo>
                            <a:cubicBezTo>
                              <a:pt x="4067" y="70991"/>
                              <a:pt x="4486" y="70513"/>
                              <a:pt x="4844" y="70034"/>
                            </a:cubicBezTo>
                            <a:cubicBezTo>
                              <a:pt x="5203" y="69556"/>
                              <a:pt x="5622" y="69077"/>
                              <a:pt x="5981" y="68599"/>
                            </a:cubicBezTo>
                            <a:cubicBezTo>
                              <a:pt x="6340" y="68121"/>
                              <a:pt x="6758" y="67642"/>
                              <a:pt x="7117" y="67223"/>
                            </a:cubicBezTo>
                            <a:cubicBezTo>
                              <a:pt x="7476" y="66745"/>
                              <a:pt x="7835" y="66326"/>
                              <a:pt x="8253" y="65848"/>
                            </a:cubicBezTo>
                            <a:cubicBezTo>
                              <a:pt x="8313" y="65788"/>
                              <a:pt x="8373" y="65728"/>
                              <a:pt x="8433" y="65608"/>
                            </a:cubicBezTo>
                            <a:cubicBezTo>
                              <a:pt x="8493" y="65548"/>
                              <a:pt x="8552" y="65489"/>
                              <a:pt x="8612" y="65369"/>
                            </a:cubicBezTo>
                            <a:cubicBezTo>
                              <a:pt x="8672" y="65250"/>
                              <a:pt x="8732" y="65250"/>
                              <a:pt x="8791" y="65130"/>
                            </a:cubicBezTo>
                            <a:cubicBezTo>
                              <a:pt x="8851" y="65070"/>
                              <a:pt x="8911" y="65010"/>
                              <a:pt x="8971" y="64891"/>
                            </a:cubicBezTo>
                            <a:cubicBezTo>
                              <a:pt x="9090" y="64771"/>
                              <a:pt x="9150" y="64652"/>
                              <a:pt x="9270" y="64532"/>
                            </a:cubicBezTo>
                            <a:cubicBezTo>
                              <a:pt x="9390" y="64412"/>
                              <a:pt x="9449" y="64293"/>
                              <a:pt x="9569" y="64173"/>
                            </a:cubicBezTo>
                            <a:cubicBezTo>
                              <a:pt x="9689" y="64053"/>
                              <a:pt x="9749" y="63934"/>
                              <a:pt x="9868" y="63814"/>
                            </a:cubicBezTo>
                            <a:cubicBezTo>
                              <a:pt x="9988" y="63694"/>
                              <a:pt x="10048" y="63575"/>
                              <a:pt x="10167" y="63455"/>
                            </a:cubicBezTo>
                            <a:cubicBezTo>
                              <a:pt x="10406" y="63156"/>
                              <a:pt x="10645" y="62857"/>
                              <a:pt x="10885" y="62558"/>
                            </a:cubicBezTo>
                            <a:cubicBezTo>
                              <a:pt x="11124" y="62259"/>
                              <a:pt x="11363" y="61960"/>
                              <a:pt x="11603" y="61661"/>
                            </a:cubicBezTo>
                            <a:cubicBezTo>
                              <a:pt x="11842" y="61362"/>
                              <a:pt x="12081" y="61063"/>
                              <a:pt x="12320" y="60764"/>
                            </a:cubicBezTo>
                            <a:cubicBezTo>
                              <a:pt x="12559" y="60465"/>
                              <a:pt x="12798" y="60166"/>
                              <a:pt x="13038" y="59927"/>
                            </a:cubicBezTo>
                            <a:lnTo>
                              <a:pt x="12320" y="59448"/>
                            </a:lnTo>
                            <a:cubicBezTo>
                              <a:pt x="12081" y="59747"/>
                              <a:pt x="11842" y="60046"/>
                              <a:pt x="11603" y="60286"/>
                            </a:cubicBezTo>
                            <a:cubicBezTo>
                              <a:pt x="11363" y="60585"/>
                              <a:pt x="11124" y="60884"/>
                              <a:pt x="10885" y="61183"/>
                            </a:cubicBezTo>
                            <a:cubicBezTo>
                              <a:pt x="10645" y="61482"/>
                              <a:pt x="10406" y="61781"/>
                              <a:pt x="10167" y="62080"/>
                            </a:cubicBezTo>
                            <a:cubicBezTo>
                              <a:pt x="9928" y="62379"/>
                              <a:pt x="9689" y="62678"/>
                              <a:pt x="9449" y="62977"/>
                            </a:cubicBezTo>
                            <a:cubicBezTo>
                              <a:pt x="9330" y="63097"/>
                              <a:pt x="9270" y="63216"/>
                              <a:pt x="9150" y="63336"/>
                            </a:cubicBezTo>
                            <a:cubicBezTo>
                              <a:pt x="9031" y="63455"/>
                              <a:pt x="8971" y="63575"/>
                              <a:pt x="8851" y="63694"/>
                            </a:cubicBezTo>
                            <a:cubicBezTo>
                              <a:pt x="8732" y="63814"/>
                              <a:pt x="8672" y="63934"/>
                              <a:pt x="8552" y="64053"/>
                            </a:cubicBezTo>
                            <a:cubicBezTo>
                              <a:pt x="8433" y="64173"/>
                              <a:pt x="8373" y="64293"/>
                              <a:pt x="8253" y="64412"/>
                            </a:cubicBezTo>
                            <a:cubicBezTo>
                              <a:pt x="8194" y="64472"/>
                              <a:pt x="8134" y="64532"/>
                              <a:pt x="8074" y="64652"/>
                            </a:cubicBezTo>
                            <a:cubicBezTo>
                              <a:pt x="8014" y="64711"/>
                              <a:pt x="7954" y="64771"/>
                              <a:pt x="7895" y="64891"/>
                            </a:cubicBezTo>
                            <a:cubicBezTo>
                              <a:pt x="7835" y="65010"/>
                              <a:pt x="7775" y="65010"/>
                              <a:pt x="7715" y="65130"/>
                            </a:cubicBezTo>
                            <a:cubicBezTo>
                              <a:pt x="7655" y="65190"/>
                              <a:pt x="7595" y="65250"/>
                              <a:pt x="7536" y="65369"/>
                            </a:cubicBezTo>
                            <a:cubicBezTo>
                              <a:pt x="7177" y="65788"/>
                              <a:pt x="6878" y="66207"/>
                              <a:pt x="6519" y="66625"/>
                            </a:cubicBezTo>
                            <a:cubicBezTo>
                              <a:pt x="6160" y="67044"/>
                              <a:pt x="5801" y="67462"/>
                              <a:pt x="5502" y="67941"/>
                            </a:cubicBezTo>
                            <a:cubicBezTo>
                              <a:pt x="5203" y="68419"/>
                              <a:pt x="4785" y="68838"/>
                              <a:pt x="4426" y="69257"/>
                            </a:cubicBezTo>
                            <a:cubicBezTo>
                              <a:pt x="4067" y="69675"/>
                              <a:pt x="3708" y="70154"/>
                              <a:pt x="3349" y="70572"/>
                            </a:cubicBezTo>
                            <a:lnTo>
                              <a:pt x="2392" y="69975"/>
                            </a:lnTo>
                            <a:cubicBezTo>
                              <a:pt x="2751" y="69496"/>
                              <a:pt x="3110" y="69077"/>
                              <a:pt x="3469" y="68599"/>
                            </a:cubicBezTo>
                            <a:cubicBezTo>
                              <a:pt x="3827" y="68180"/>
                              <a:pt x="4186" y="67702"/>
                              <a:pt x="4545" y="67283"/>
                            </a:cubicBezTo>
                            <a:cubicBezTo>
                              <a:pt x="4904" y="66864"/>
                              <a:pt x="5263" y="66446"/>
                              <a:pt x="5562" y="65967"/>
                            </a:cubicBezTo>
                            <a:cubicBezTo>
                              <a:pt x="5921" y="65548"/>
                              <a:pt x="6220" y="65130"/>
                              <a:pt x="6579" y="64711"/>
                            </a:cubicBezTo>
                            <a:cubicBezTo>
                              <a:pt x="6639" y="64652"/>
                              <a:pt x="6698" y="64592"/>
                              <a:pt x="6758" y="64472"/>
                            </a:cubicBezTo>
                            <a:cubicBezTo>
                              <a:pt x="6818" y="64353"/>
                              <a:pt x="6878" y="64353"/>
                              <a:pt x="6937" y="64233"/>
                            </a:cubicBezTo>
                            <a:cubicBezTo>
                              <a:pt x="6997" y="64173"/>
                              <a:pt x="7057" y="64113"/>
                              <a:pt x="7117" y="63994"/>
                            </a:cubicBezTo>
                            <a:cubicBezTo>
                              <a:pt x="7177" y="63874"/>
                              <a:pt x="7236" y="63874"/>
                              <a:pt x="7296" y="63754"/>
                            </a:cubicBezTo>
                            <a:cubicBezTo>
                              <a:pt x="7416" y="63635"/>
                              <a:pt x="7476" y="63515"/>
                              <a:pt x="7595" y="63396"/>
                            </a:cubicBezTo>
                            <a:cubicBezTo>
                              <a:pt x="7715" y="63276"/>
                              <a:pt x="7775" y="63156"/>
                              <a:pt x="7895" y="63037"/>
                            </a:cubicBezTo>
                            <a:cubicBezTo>
                              <a:pt x="8014" y="62917"/>
                              <a:pt x="8074" y="62798"/>
                              <a:pt x="8194" y="62678"/>
                            </a:cubicBezTo>
                            <a:cubicBezTo>
                              <a:pt x="8313" y="62558"/>
                              <a:pt x="8373" y="62439"/>
                              <a:pt x="8493" y="62319"/>
                            </a:cubicBezTo>
                            <a:cubicBezTo>
                              <a:pt x="8732" y="62020"/>
                              <a:pt x="8971" y="61721"/>
                              <a:pt x="9210" y="61422"/>
                            </a:cubicBezTo>
                            <a:cubicBezTo>
                              <a:pt x="9449" y="61123"/>
                              <a:pt x="9689" y="60824"/>
                              <a:pt x="9928" y="60525"/>
                            </a:cubicBezTo>
                            <a:cubicBezTo>
                              <a:pt x="10167" y="60226"/>
                              <a:pt x="10406" y="59927"/>
                              <a:pt x="10645" y="59687"/>
                            </a:cubicBezTo>
                            <a:cubicBezTo>
                              <a:pt x="10885" y="59389"/>
                              <a:pt x="11124" y="59149"/>
                              <a:pt x="11303" y="58850"/>
                            </a:cubicBezTo>
                            <a:lnTo>
                              <a:pt x="10586" y="58372"/>
                            </a:lnTo>
                            <a:cubicBezTo>
                              <a:pt x="10347" y="58671"/>
                              <a:pt x="10107" y="58910"/>
                              <a:pt x="9928" y="59209"/>
                            </a:cubicBezTo>
                            <a:cubicBezTo>
                              <a:pt x="9689" y="59508"/>
                              <a:pt x="9449" y="59807"/>
                              <a:pt x="9210" y="60046"/>
                            </a:cubicBezTo>
                            <a:cubicBezTo>
                              <a:pt x="8971" y="60345"/>
                              <a:pt x="8732" y="60645"/>
                              <a:pt x="8493" y="60944"/>
                            </a:cubicBezTo>
                            <a:cubicBezTo>
                              <a:pt x="8253" y="61243"/>
                              <a:pt x="8014" y="61541"/>
                              <a:pt x="7775" y="61840"/>
                            </a:cubicBezTo>
                            <a:cubicBezTo>
                              <a:pt x="7655" y="61960"/>
                              <a:pt x="7595" y="62080"/>
                              <a:pt x="7476" y="62199"/>
                            </a:cubicBezTo>
                            <a:cubicBezTo>
                              <a:pt x="7356" y="62319"/>
                              <a:pt x="7296" y="62439"/>
                              <a:pt x="7177" y="62558"/>
                            </a:cubicBezTo>
                            <a:cubicBezTo>
                              <a:pt x="7057" y="62678"/>
                              <a:pt x="6997" y="62798"/>
                              <a:pt x="6878" y="62917"/>
                            </a:cubicBezTo>
                            <a:cubicBezTo>
                              <a:pt x="6758" y="63037"/>
                              <a:pt x="6698" y="63156"/>
                              <a:pt x="6579" y="63276"/>
                            </a:cubicBezTo>
                            <a:cubicBezTo>
                              <a:pt x="6519" y="63336"/>
                              <a:pt x="6459" y="63396"/>
                              <a:pt x="6399" y="63515"/>
                            </a:cubicBezTo>
                            <a:cubicBezTo>
                              <a:pt x="6340" y="63575"/>
                              <a:pt x="6280" y="63635"/>
                              <a:pt x="6220" y="63754"/>
                            </a:cubicBezTo>
                            <a:cubicBezTo>
                              <a:pt x="6160" y="63814"/>
                              <a:pt x="6100" y="63874"/>
                              <a:pt x="6041" y="63994"/>
                            </a:cubicBezTo>
                            <a:cubicBezTo>
                              <a:pt x="5981" y="64053"/>
                              <a:pt x="5921" y="64113"/>
                              <a:pt x="5861" y="64233"/>
                            </a:cubicBezTo>
                            <a:cubicBezTo>
                              <a:pt x="5502" y="64652"/>
                              <a:pt x="5143" y="65130"/>
                              <a:pt x="4785" y="65548"/>
                            </a:cubicBezTo>
                            <a:cubicBezTo>
                              <a:pt x="4426" y="66027"/>
                              <a:pt x="4067" y="66446"/>
                              <a:pt x="3648" y="66924"/>
                            </a:cubicBezTo>
                            <a:cubicBezTo>
                              <a:pt x="3289" y="67403"/>
                              <a:pt x="2871" y="67881"/>
                              <a:pt x="2512" y="68360"/>
                            </a:cubicBezTo>
                            <a:cubicBezTo>
                              <a:pt x="2153" y="68838"/>
                              <a:pt x="1734" y="69316"/>
                              <a:pt x="1316" y="69855"/>
                            </a:cubicBezTo>
                            <a:lnTo>
                              <a:pt x="1196" y="70034"/>
                            </a:lnTo>
                          </a:path>
                        </a:pathLst>
                      </a:custGeom>
                      <a:noFill/>
                      <a:ln w="6350" cap="flat">
                        <a:solidFill>
                          <a:schemeClr val="bg1">
                            <a:alpha val="40000"/>
                          </a:schemeClr>
                        </a:solidFill>
                        <a:prstDash val="solid"/>
                        <a:miter/>
                      </a:ln>
                    </p:spPr>
                    <p:txBody>
                      <a:bodyPr rtlCol="0" anchor="ctr"/>
                      <a:lstStyle/>
                      <a:p>
                        <a:endParaRPr lang="en-GB"/>
                      </a:p>
                    </p:txBody>
                  </p:sp>
                  <p:sp>
                    <p:nvSpPr>
                      <p:cNvPr id="7527" name="Vrije vorm: vorm 7526">
                        <a:extLst>
                          <a:ext uri="{FF2B5EF4-FFF2-40B4-BE49-F238E27FC236}">
                            <a16:creationId xmlns:a16="http://schemas.microsoft.com/office/drawing/2014/main" id="{6315CA72-D85E-4C2C-9777-0E44A3E4E98E}"/>
                          </a:ext>
                        </a:extLst>
                      </p:cNvPr>
                      <p:cNvSpPr/>
                      <p:nvPr/>
                    </p:nvSpPr>
                    <p:spPr>
                      <a:xfrm>
                        <a:off x="5039615" y="5318995"/>
                        <a:ext cx="23788" cy="23564"/>
                      </a:xfrm>
                      <a:custGeom>
                        <a:avLst/>
                        <a:gdLst>
                          <a:gd name="connsiteX0" fmla="*/ 3529 w 23788"/>
                          <a:gd name="connsiteY0" fmla="*/ 5562 h 23564"/>
                          <a:gd name="connsiteX1" fmla="*/ 4246 w 23788"/>
                          <a:gd name="connsiteY1" fmla="*/ 6040 h 23564"/>
                          <a:gd name="connsiteX2" fmla="*/ 4785 w 23788"/>
                          <a:gd name="connsiteY2" fmla="*/ 5442 h 23564"/>
                          <a:gd name="connsiteX3" fmla="*/ 5383 w 23788"/>
                          <a:gd name="connsiteY3" fmla="*/ 4844 h 23564"/>
                          <a:gd name="connsiteX4" fmla="*/ 5981 w 23788"/>
                          <a:gd name="connsiteY4" fmla="*/ 4306 h 23564"/>
                          <a:gd name="connsiteX5" fmla="*/ 6579 w 23788"/>
                          <a:gd name="connsiteY5" fmla="*/ 3827 h 23564"/>
                          <a:gd name="connsiteX6" fmla="*/ 6818 w 23788"/>
                          <a:gd name="connsiteY6" fmla="*/ 3648 h 23564"/>
                          <a:gd name="connsiteX7" fmla="*/ 7057 w 23788"/>
                          <a:gd name="connsiteY7" fmla="*/ 3469 h 23564"/>
                          <a:gd name="connsiteX8" fmla="*/ 7296 w 23788"/>
                          <a:gd name="connsiteY8" fmla="*/ 3289 h 23564"/>
                          <a:gd name="connsiteX9" fmla="*/ 7536 w 23788"/>
                          <a:gd name="connsiteY9" fmla="*/ 3110 h 23564"/>
                          <a:gd name="connsiteX10" fmla="*/ 9330 w 23788"/>
                          <a:gd name="connsiteY10" fmla="*/ 2153 h 23564"/>
                          <a:gd name="connsiteX11" fmla="*/ 11184 w 23788"/>
                          <a:gd name="connsiteY11" fmla="*/ 1495 h 23564"/>
                          <a:gd name="connsiteX12" fmla="*/ 13038 w 23788"/>
                          <a:gd name="connsiteY12" fmla="*/ 1136 h 23564"/>
                          <a:gd name="connsiteX13" fmla="*/ 14892 w 23788"/>
                          <a:gd name="connsiteY13" fmla="*/ 1076 h 23564"/>
                          <a:gd name="connsiteX14" fmla="*/ 15669 w 23788"/>
                          <a:gd name="connsiteY14" fmla="*/ 1136 h 23564"/>
                          <a:gd name="connsiteX15" fmla="*/ 16447 w 23788"/>
                          <a:gd name="connsiteY15" fmla="*/ 1256 h 23564"/>
                          <a:gd name="connsiteX16" fmla="*/ 17165 w 23788"/>
                          <a:gd name="connsiteY16" fmla="*/ 1435 h 23564"/>
                          <a:gd name="connsiteX17" fmla="*/ 17882 w 23788"/>
                          <a:gd name="connsiteY17" fmla="*/ 1674 h 23564"/>
                          <a:gd name="connsiteX18" fmla="*/ 18241 w 23788"/>
                          <a:gd name="connsiteY18" fmla="*/ 1854 h 23564"/>
                          <a:gd name="connsiteX19" fmla="*/ 18600 w 23788"/>
                          <a:gd name="connsiteY19" fmla="*/ 2033 h 23564"/>
                          <a:gd name="connsiteX20" fmla="*/ 18959 w 23788"/>
                          <a:gd name="connsiteY20" fmla="*/ 2213 h 23564"/>
                          <a:gd name="connsiteX21" fmla="*/ 19318 w 23788"/>
                          <a:gd name="connsiteY21" fmla="*/ 2452 h 23564"/>
                          <a:gd name="connsiteX22" fmla="*/ 19676 w 23788"/>
                          <a:gd name="connsiteY22" fmla="*/ 2691 h 23564"/>
                          <a:gd name="connsiteX23" fmla="*/ 19976 w 23788"/>
                          <a:gd name="connsiteY23" fmla="*/ 2930 h 23564"/>
                          <a:gd name="connsiteX24" fmla="*/ 20275 w 23788"/>
                          <a:gd name="connsiteY24" fmla="*/ 3170 h 23564"/>
                          <a:gd name="connsiteX25" fmla="*/ 20574 w 23788"/>
                          <a:gd name="connsiteY25" fmla="*/ 3469 h 23564"/>
                          <a:gd name="connsiteX26" fmla="*/ 21052 w 23788"/>
                          <a:gd name="connsiteY26" fmla="*/ 4007 h 23564"/>
                          <a:gd name="connsiteX27" fmla="*/ 21471 w 23788"/>
                          <a:gd name="connsiteY27" fmla="*/ 4605 h 23564"/>
                          <a:gd name="connsiteX28" fmla="*/ 21830 w 23788"/>
                          <a:gd name="connsiteY28" fmla="*/ 5203 h 23564"/>
                          <a:gd name="connsiteX29" fmla="*/ 22129 w 23788"/>
                          <a:gd name="connsiteY29" fmla="*/ 5861 h 23564"/>
                          <a:gd name="connsiteX30" fmla="*/ 22607 w 23788"/>
                          <a:gd name="connsiteY30" fmla="*/ 7476 h 23564"/>
                          <a:gd name="connsiteX31" fmla="*/ 22787 w 23788"/>
                          <a:gd name="connsiteY31" fmla="*/ 9210 h 23564"/>
                          <a:gd name="connsiteX32" fmla="*/ 22667 w 23788"/>
                          <a:gd name="connsiteY32" fmla="*/ 11004 h 23564"/>
                          <a:gd name="connsiteX33" fmla="*/ 22189 w 23788"/>
                          <a:gd name="connsiteY33" fmla="*/ 12858 h 23564"/>
                          <a:gd name="connsiteX34" fmla="*/ 22069 w 23788"/>
                          <a:gd name="connsiteY34" fmla="*/ 13098 h 23564"/>
                          <a:gd name="connsiteX35" fmla="*/ 21949 w 23788"/>
                          <a:gd name="connsiteY35" fmla="*/ 13337 h 23564"/>
                          <a:gd name="connsiteX36" fmla="*/ 21830 w 23788"/>
                          <a:gd name="connsiteY36" fmla="*/ 13576 h 23564"/>
                          <a:gd name="connsiteX37" fmla="*/ 21710 w 23788"/>
                          <a:gd name="connsiteY37" fmla="*/ 13815 h 23564"/>
                          <a:gd name="connsiteX38" fmla="*/ 21411 w 23788"/>
                          <a:gd name="connsiteY38" fmla="*/ 14533 h 23564"/>
                          <a:gd name="connsiteX39" fmla="*/ 21052 w 23788"/>
                          <a:gd name="connsiteY39" fmla="*/ 15191 h 23564"/>
                          <a:gd name="connsiteX40" fmla="*/ 20634 w 23788"/>
                          <a:gd name="connsiteY40" fmla="*/ 15849 h 23564"/>
                          <a:gd name="connsiteX41" fmla="*/ 20155 w 23788"/>
                          <a:gd name="connsiteY41" fmla="*/ 16506 h 23564"/>
                          <a:gd name="connsiteX42" fmla="*/ 20933 w 23788"/>
                          <a:gd name="connsiteY42" fmla="*/ 16985 h 23564"/>
                          <a:gd name="connsiteX43" fmla="*/ 21411 w 23788"/>
                          <a:gd name="connsiteY43" fmla="*/ 16327 h 23564"/>
                          <a:gd name="connsiteX44" fmla="*/ 21830 w 23788"/>
                          <a:gd name="connsiteY44" fmla="*/ 15669 h 23564"/>
                          <a:gd name="connsiteX45" fmla="*/ 22189 w 23788"/>
                          <a:gd name="connsiteY45" fmla="*/ 15011 h 23564"/>
                          <a:gd name="connsiteX46" fmla="*/ 22547 w 23788"/>
                          <a:gd name="connsiteY46" fmla="*/ 14354 h 23564"/>
                          <a:gd name="connsiteX47" fmla="*/ 22667 w 23788"/>
                          <a:gd name="connsiteY47" fmla="*/ 14114 h 23564"/>
                          <a:gd name="connsiteX48" fmla="*/ 22787 w 23788"/>
                          <a:gd name="connsiteY48" fmla="*/ 13875 h 23564"/>
                          <a:gd name="connsiteX49" fmla="*/ 22906 w 23788"/>
                          <a:gd name="connsiteY49" fmla="*/ 13636 h 23564"/>
                          <a:gd name="connsiteX50" fmla="*/ 23026 w 23788"/>
                          <a:gd name="connsiteY50" fmla="*/ 13397 h 23564"/>
                          <a:gd name="connsiteX51" fmla="*/ 23504 w 23788"/>
                          <a:gd name="connsiteY51" fmla="*/ 11722 h 23564"/>
                          <a:gd name="connsiteX52" fmla="*/ 23743 w 23788"/>
                          <a:gd name="connsiteY52" fmla="*/ 10048 h 23564"/>
                          <a:gd name="connsiteX53" fmla="*/ 23743 w 23788"/>
                          <a:gd name="connsiteY53" fmla="*/ 8373 h 23564"/>
                          <a:gd name="connsiteX54" fmla="*/ 23504 w 23788"/>
                          <a:gd name="connsiteY54" fmla="*/ 6818 h 23564"/>
                          <a:gd name="connsiteX55" fmla="*/ 23384 w 23788"/>
                          <a:gd name="connsiteY55" fmla="*/ 6340 h 23564"/>
                          <a:gd name="connsiteX56" fmla="*/ 23265 w 23788"/>
                          <a:gd name="connsiteY56" fmla="*/ 5921 h 23564"/>
                          <a:gd name="connsiteX57" fmla="*/ 23086 w 23788"/>
                          <a:gd name="connsiteY57" fmla="*/ 5502 h 23564"/>
                          <a:gd name="connsiteX58" fmla="*/ 22906 w 23788"/>
                          <a:gd name="connsiteY58" fmla="*/ 5083 h 23564"/>
                          <a:gd name="connsiteX59" fmla="*/ 22368 w 23788"/>
                          <a:gd name="connsiteY59" fmla="*/ 4067 h 23564"/>
                          <a:gd name="connsiteX60" fmla="*/ 21710 w 23788"/>
                          <a:gd name="connsiteY60" fmla="*/ 3110 h 23564"/>
                          <a:gd name="connsiteX61" fmla="*/ 20873 w 23788"/>
                          <a:gd name="connsiteY61" fmla="*/ 2273 h 23564"/>
                          <a:gd name="connsiteX62" fmla="*/ 19916 w 23788"/>
                          <a:gd name="connsiteY62" fmla="*/ 1555 h 23564"/>
                          <a:gd name="connsiteX63" fmla="*/ 18839 w 23788"/>
                          <a:gd name="connsiteY63" fmla="*/ 957 h 23564"/>
                          <a:gd name="connsiteX64" fmla="*/ 17703 w 23788"/>
                          <a:gd name="connsiteY64" fmla="*/ 478 h 23564"/>
                          <a:gd name="connsiteX65" fmla="*/ 16507 w 23788"/>
                          <a:gd name="connsiteY65" fmla="*/ 179 h 23564"/>
                          <a:gd name="connsiteX66" fmla="*/ 15251 w 23788"/>
                          <a:gd name="connsiteY66" fmla="*/ 0 h 23564"/>
                          <a:gd name="connsiteX67" fmla="*/ 14772 w 23788"/>
                          <a:gd name="connsiteY67" fmla="*/ 0 h 23564"/>
                          <a:gd name="connsiteX68" fmla="*/ 14294 w 23788"/>
                          <a:gd name="connsiteY68" fmla="*/ 0 h 23564"/>
                          <a:gd name="connsiteX69" fmla="*/ 13815 w 23788"/>
                          <a:gd name="connsiteY69" fmla="*/ 0 h 23564"/>
                          <a:gd name="connsiteX70" fmla="*/ 13337 w 23788"/>
                          <a:gd name="connsiteY70" fmla="*/ 60 h 23564"/>
                          <a:gd name="connsiteX71" fmla="*/ 11603 w 23788"/>
                          <a:gd name="connsiteY71" fmla="*/ 359 h 23564"/>
                          <a:gd name="connsiteX72" fmla="*/ 9868 w 23788"/>
                          <a:gd name="connsiteY72" fmla="*/ 897 h 23564"/>
                          <a:gd name="connsiteX73" fmla="*/ 8194 w 23788"/>
                          <a:gd name="connsiteY73" fmla="*/ 1674 h 23564"/>
                          <a:gd name="connsiteX74" fmla="*/ 6579 w 23788"/>
                          <a:gd name="connsiteY74" fmla="*/ 2632 h 23564"/>
                          <a:gd name="connsiteX75" fmla="*/ 6340 w 23788"/>
                          <a:gd name="connsiteY75" fmla="*/ 2811 h 23564"/>
                          <a:gd name="connsiteX76" fmla="*/ 6100 w 23788"/>
                          <a:gd name="connsiteY76" fmla="*/ 2990 h 23564"/>
                          <a:gd name="connsiteX77" fmla="*/ 5861 w 23788"/>
                          <a:gd name="connsiteY77" fmla="*/ 3170 h 23564"/>
                          <a:gd name="connsiteX78" fmla="*/ 5622 w 23788"/>
                          <a:gd name="connsiteY78" fmla="*/ 3349 h 23564"/>
                          <a:gd name="connsiteX79" fmla="*/ 5024 w 23788"/>
                          <a:gd name="connsiteY79" fmla="*/ 3887 h 23564"/>
                          <a:gd name="connsiteX80" fmla="*/ 4426 w 23788"/>
                          <a:gd name="connsiteY80" fmla="*/ 4426 h 23564"/>
                          <a:gd name="connsiteX81" fmla="*/ 3828 w 23788"/>
                          <a:gd name="connsiteY81" fmla="*/ 5024 h 23564"/>
                          <a:gd name="connsiteX82" fmla="*/ 3529 w 23788"/>
                          <a:gd name="connsiteY82" fmla="*/ 5562 h 23564"/>
                          <a:gd name="connsiteX83" fmla="*/ 14294 w 23788"/>
                          <a:gd name="connsiteY83" fmla="*/ 21530 h 23564"/>
                          <a:gd name="connsiteX84" fmla="*/ 15191 w 23788"/>
                          <a:gd name="connsiteY84" fmla="*/ 22128 h 23564"/>
                          <a:gd name="connsiteX85" fmla="*/ 16626 w 23788"/>
                          <a:gd name="connsiteY85" fmla="*/ 21351 h 23564"/>
                          <a:gd name="connsiteX86" fmla="*/ 18002 w 23788"/>
                          <a:gd name="connsiteY86" fmla="*/ 20394 h 23564"/>
                          <a:gd name="connsiteX87" fmla="*/ 19258 w 23788"/>
                          <a:gd name="connsiteY87" fmla="*/ 19318 h 23564"/>
                          <a:gd name="connsiteX88" fmla="*/ 20454 w 23788"/>
                          <a:gd name="connsiteY88" fmla="*/ 18062 h 23564"/>
                          <a:gd name="connsiteX89" fmla="*/ 19676 w 23788"/>
                          <a:gd name="connsiteY89" fmla="*/ 17583 h 23564"/>
                          <a:gd name="connsiteX90" fmla="*/ 18481 w 23788"/>
                          <a:gd name="connsiteY90" fmla="*/ 18839 h 23564"/>
                          <a:gd name="connsiteX91" fmla="*/ 17165 w 23788"/>
                          <a:gd name="connsiteY91" fmla="*/ 19916 h 23564"/>
                          <a:gd name="connsiteX92" fmla="*/ 15789 w 23788"/>
                          <a:gd name="connsiteY92" fmla="*/ 20813 h 23564"/>
                          <a:gd name="connsiteX93" fmla="*/ 14294 w 23788"/>
                          <a:gd name="connsiteY93" fmla="*/ 21530 h 23564"/>
                          <a:gd name="connsiteX94" fmla="*/ 239 w 23788"/>
                          <a:gd name="connsiteY94" fmla="*/ 12320 h 23564"/>
                          <a:gd name="connsiteX95" fmla="*/ 1136 w 23788"/>
                          <a:gd name="connsiteY95" fmla="*/ 12918 h 23564"/>
                          <a:gd name="connsiteX96" fmla="*/ 1435 w 23788"/>
                          <a:gd name="connsiteY96" fmla="*/ 11423 h 23564"/>
                          <a:gd name="connsiteX97" fmla="*/ 1914 w 23788"/>
                          <a:gd name="connsiteY97" fmla="*/ 9928 h 23564"/>
                          <a:gd name="connsiteX98" fmla="*/ 2632 w 23788"/>
                          <a:gd name="connsiteY98" fmla="*/ 8433 h 23564"/>
                          <a:gd name="connsiteX99" fmla="*/ 3588 w 23788"/>
                          <a:gd name="connsiteY99" fmla="*/ 6997 h 23564"/>
                          <a:gd name="connsiteX100" fmla="*/ 2871 w 23788"/>
                          <a:gd name="connsiteY100" fmla="*/ 6519 h 23564"/>
                          <a:gd name="connsiteX101" fmla="*/ 1914 w 23788"/>
                          <a:gd name="connsiteY101" fmla="*/ 7954 h 23564"/>
                          <a:gd name="connsiteX102" fmla="*/ 1196 w 23788"/>
                          <a:gd name="connsiteY102" fmla="*/ 9449 h 23564"/>
                          <a:gd name="connsiteX103" fmla="*/ 658 w 23788"/>
                          <a:gd name="connsiteY103" fmla="*/ 10944 h 23564"/>
                          <a:gd name="connsiteX104" fmla="*/ 239 w 23788"/>
                          <a:gd name="connsiteY104" fmla="*/ 12320 h 23564"/>
                          <a:gd name="connsiteX105" fmla="*/ 10167 w 23788"/>
                          <a:gd name="connsiteY105" fmla="*/ 22547 h 23564"/>
                          <a:gd name="connsiteX106" fmla="*/ 11423 w 23788"/>
                          <a:gd name="connsiteY106" fmla="*/ 23384 h 23564"/>
                          <a:gd name="connsiteX107" fmla="*/ 12081 w 23788"/>
                          <a:gd name="connsiteY107" fmla="*/ 23265 h 23564"/>
                          <a:gd name="connsiteX108" fmla="*/ 12739 w 23788"/>
                          <a:gd name="connsiteY108" fmla="*/ 23085 h 23564"/>
                          <a:gd name="connsiteX109" fmla="*/ 13337 w 23788"/>
                          <a:gd name="connsiteY109" fmla="*/ 22906 h 23564"/>
                          <a:gd name="connsiteX110" fmla="*/ 13935 w 23788"/>
                          <a:gd name="connsiteY110" fmla="*/ 22667 h 23564"/>
                          <a:gd name="connsiteX111" fmla="*/ 12918 w 23788"/>
                          <a:gd name="connsiteY111" fmla="*/ 22009 h 23564"/>
                          <a:gd name="connsiteX112" fmla="*/ 12201 w 23788"/>
                          <a:gd name="connsiteY112" fmla="*/ 22188 h 23564"/>
                          <a:gd name="connsiteX113" fmla="*/ 11483 w 23788"/>
                          <a:gd name="connsiteY113" fmla="*/ 22368 h 23564"/>
                          <a:gd name="connsiteX114" fmla="*/ 10765 w 23788"/>
                          <a:gd name="connsiteY114" fmla="*/ 22487 h 23564"/>
                          <a:gd name="connsiteX115" fmla="*/ 10167 w 23788"/>
                          <a:gd name="connsiteY115" fmla="*/ 22547 h 23564"/>
                          <a:gd name="connsiteX116" fmla="*/ 120 w 23788"/>
                          <a:gd name="connsiteY116" fmla="*/ 15968 h 23564"/>
                          <a:gd name="connsiteX117" fmla="*/ 1435 w 23788"/>
                          <a:gd name="connsiteY117" fmla="*/ 16806 h 23564"/>
                          <a:gd name="connsiteX118" fmla="*/ 1256 w 23788"/>
                          <a:gd name="connsiteY118" fmla="*/ 16148 h 23564"/>
                          <a:gd name="connsiteX119" fmla="*/ 1136 w 23788"/>
                          <a:gd name="connsiteY119" fmla="*/ 15490 h 23564"/>
                          <a:gd name="connsiteX120" fmla="*/ 1076 w 23788"/>
                          <a:gd name="connsiteY120" fmla="*/ 14832 h 23564"/>
                          <a:gd name="connsiteX121" fmla="*/ 1076 w 23788"/>
                          <a:gd name="connsiteY121" fmla="*/ 14174 h 23564"/>
                          <a:gd name="connsiteX122" fmla="*/ 60 w 23788"/>
                          <a:gd name="connsiteY122" fmla="*/ 13516 h 23564"/>
                          <a:gd name="connsiteX123" fmla="*/ 0 w 23788"/>
                          <a:gd name="connsiteY123" fmla="*/ 14114 h 23564"/>
                          <a:gd name="connsiteX124" fmla="*/ 0 w 23788"/>
                          <a:gd name="connsiteY124" fmla="*/ 14712 h 23564"/>
                          <a:gd name="connsiteX125" fmla="*/ 60 w 23788"/>
                          <a:gd name="connsiteY125" fmla="*/ 15311 h 23564"/>
                          <a:gd name="connsiteX126" fmla="*/ 120 w 23788"/>
                          <a:gd name="connsiteY126" fmla="*/ 15968 h 23564"/>
                          <a:gd name="connsiteX127" fmla="*/ 2632 w 23788"/>
                          <a:gd name="connsiteY127" fmla="*/ 20992 h 23564"/>
                          <a:gd name="connsiteX128" fmla="*/ 5442 w 23788"/>
                          <a:gd name="connsiteY128" fmla="*/ 22846 h 23564"/>
                          <a:gd name="connsiteX129" fmla="*/ 6459 w 23788"/>
                          <a:gd name="connsiteY129" fmla="*/ 23205 h 23564"/>
                          <a:gd name="connsiteX130" fmla="*/ 7476 w 23788"/>
                          <a:gd name="connsiteY130" fmla="*/ 23444 h 23564"/>
                          <a:gd name="connsiteX131" fmla="*/ 8552 w 23788"/>
                          <a:gd name="connsiteY131" fmla="*/ 23564 h 23564"/>
                          <a:gd name="connsiteX132" fmla="*/ 9629 w 23788"/>
                          <a:gd name="connsiteY132" fmla="*/ 23564 h 23564"/>
                          <a:gd name="connsiteX133" fmla="*/ 7895 w 23788"/>
                          <a:gd name="connsiteY133" fmla="*/ 22428 h 23564"/>
                          <a:gd name="connsiteX134" fmla="*/ 6997 w 23788"/>
                          <a:gd name="connsiteY134" fmla="*/ 22248 h 23564"/>
                          <a:gd name="connsiteX135" fmla="*/ 6160 w 23788"/>
                          <a:gd name="connsiteY135" fmla="*/ 21949 h 23564"/>
                          <a:gd name="connsiteX136" fmla="*/ 5323 w 23788"/>
                          <a:gd name="connsiteY136" fmla="*/ 21590 h 23564"/>
                          <a:gd name="connsiteX137" fmla="*/ 4545 w 23788"/>
                          <a:gd name="connsiteY137" fmla="*/ 21172 h 23564"/>
                          <a:gd name="connsiteX138" fmla="*/ 3828 w 23788"/>
                          <a:gd name="connsiteY138" fmla="*/ 20633 h 23564"/>
                          <a:gd name="connsiteX139" fmla="*/ 3229 w 23788"/>
                          <a:gd name="connsiteY139" fmla="*/ 20035 h 23564"/>
                          <a:gd name="connsiteX140" fmla="*/ 2691 w 23788"/>
                          <a:gd name="connsiteY140" fmla="*/ 19377 h 23564"/>
                          <a:gd name="connsiteX141" fmla="*/ 2213 w 23788"/>
                          <a:gd name="connsiteY141" fmla="*/ 18660 h 23564"/>
                          <a:gd name="connsiteX142" fmla="*/ 479 w 23788"/>
                          <a:gd name="connsiteY142" fmla="*/ 17523 h 23564"/>
                          <a:gd name="connsiteX143" fmla="*/ 837 w 23788"/>
                          <a:gd name="connsiteY143" fmla="*/ 18480 h 23564"/>
                          <a:gd name="connsiteX144" fmla="*/ 1316 w 23788"/>
                          <a:gd name="connsiteY144" fmla="*/ 19377 h 23564"/>
                          <a:gd name="connsiteX145" fmla="*/ 1914 w 23788"/>
                          <a:gd name="connsiteY145" fmla="*/ 20215 h 23564"/>
                          <a:gd name="connsiteX146" fmla="*/ 2632 w 23788"/>
                          <a:gd name="connsiteY146" fmla="*/ 20992 h 2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23788" h="23564">
                            <a:moveTo>
                              <a:pt x="3529" y="5562"/>
                            </a:moveTo>
                            <a:lnTo>
                              <a:pt x="4246" y="6040"/>
                            </a:lnTo>
                            <a:cubicBezTo>
                              <a:pt x="4426" y="5801"/>
                              <a:pt x="4605" y="5622"/>
                              <a:pt x="4785" y="5442"/>
                            </a:cubicBezTo>
                            <a:cubicBezTo>
                              <a:pt x="4964" y="5263"/>
                              <a:pt x="5143" y="5024"/>
                              <a:pt x="5383" y="4844"/>
                            </a:cubicBezTo>
                            <a:cubicBezTo>
                              <a:pt x="5562" y="4665"/>
                              <a:pt x="5801" y="4486"/>
                              <a:pt x="5981" y="4306"/>
                            </a:cubicBezTo>
                            <a:cubicBezTo>
                              <a:pt x="6160" y="4127"/>
                              <a:pt x="6399" y="3947"/>
                              <a:pt x="6579" y="3827"/>
                            </a:cubicBezTo>
                            <a:cubicBezTo>
                              <a:pt x="6639" y="3768"/>
                              <a:pt x="6758" y="3708"/>
                              <a:pt x="6818" y="3648"/>
                            </a:cubicBezTo>
                            <a:cubicBezTo>
                              <a:pt x="6878" y="3588"/>
                              <a:pt x="6997" y="3528"/>
                              <a:pt x="7057" y="3469"/>
                            </a:cubicBezTo>
                            <a:cubicBezTo>
                              <a:pt x="7117" y="3409"/>
                              <a:pt x="7237" y="3349"/>
                              <a:pt x="7296" y="3289"/>
                            </a:cubicBezTo>
                            <a:cubicBezTo>
                              <a:pt x="7356" y="3229"/>
                              <a:pt x="7476" y="3170"/>
                              <a:pt x="7536" y="3110"/>
                            </a:cubicBezTo>
                            <a:cubicBezTo>
                              <a:pt x="8134" y="2751"/>
                              <a:pt x="8732" y="2392"/>
                              <a:pt x="9330" y="2153"/>
                            </a:cubicBezTo>
                            <a:cubicBezTo>
                              <a:pt x="9928" y="1854"/>
                              <a:pt x="10586" y="1674"/>
                              <a:pt x="11184" y="1495"/>
                            </a:cubicBezTo>
                            <a:cubicBezTo>
                              <a:pt x="11782" y="1316"/>
                              <a:pt x="12440" y="1196"/>
                              <a:pt x="13038" y="1136"/>
                            </a:cubicBezTo>
                            <a:cubicBezTo>
                              <a:pt x="13636" y="1076"/>
                              <a:pt x="14294" y="1017"/>
                              <a:pt x="14892" y="1076"/>
                            </a:cubicBezTo>
                            <a:cubicBezTo>
                              <a:pt x="15131" y="1076"/>
                              <a:pt x="15430" y="1136"/>
                              <a:pt x="15669" y="1136"/>
                            </a:cubicBezTo>
                            <a:cubicBezTo>
                              <a:pt x="15909" y="1136"/>
                              <a:pt x="16208" y="1196"/>
                              <a:pt x="16447" y="1256"/>
                            </a:cubicBezTo>
                            <a:cubicBezTo>
                              <a:pt x="16686" y="1316"/>
                              <a:pt x="16926" y="1375"/>
                              <a:pt x="17165" y="1435"/>
                            </a:cubicBezTo>
                            <a:cubicBezTo>
                              <a:pt x="17404" y="1495"/>
                              <a:pt x="17643" y="1615"/>
                              <a:pt x="17882" y="1674"/>
                            </a:cubicBezTo>
                            <a:cubicBezTo>
                              <a:pt x="18002" y="1734"/>
                              <a:pt x="18121" y="1794"/>
                              <a:pt x="18241" y="1854"/>
                            </a:cubicBezTo>
                            <a:cubicBezTo>
                              <a:pt x="18361" y="1914"/>
                              <a:pt x="18481" y="1973"/>
                              <a:pt x="18600" y="2033"/>
                            </a:cubicBezTo>
                            <a:cubicBezTo>
                              <a:pt x="18720" y="2093"/>
                              <a:pt x="18839" y="2153"/>
                              <a:pt x="18959" y="2213"/>
                            </a:cubicBezTo>
                            <a:cubicBezTo>
                              <a:pt x="19079" y="2273"/>
                              <a:pt x="19198" y="2332"/>
                              <a:pt x="19318" y="2452"/>
                            </a:cubicBezTo>
                            <a:cubicBezTo>
                              <a:pt x="19437" y="2512"/>
                              <a:pt x="19557" y="2632"/>
                              <a:pt x="19676" y="2691"/>
                            </a:cubicBezTo>
                            <a:cubicBezTo>
                              <a:pt x="19796" y="2751"/>
                              <a:pt x="19916" y="2871"/>
                              <a:pt x="19976" y="2930"/>
                            </a:cubicBezTo>
                            <a:cubicBezTo>
                              <a:pt x="20095" y="2990"/>
                              <a:pt x="20155" y="3110"/>
                              <a:pt x="20275" y="3170"/>
                            </a:cubicBezTo>
                            <a:cubicBezTo>
                              <a:pt x="20394" y="3289"/>
                              <a:pt x="20454" y="3349"/>
                              <a:pt x="20574" y="3469"/>
                            </a:cubicBezTo>
                            <a:cubicBezTo>
                              <a:pt x="20753" y="3648"/>
                              <a:pt x="20933" y="3827"/>
                              <a:pt x="21052" y="4007"/>
                            </a:cubicBezTo>
                            <a:cubicBezTo>
                              <a:pt x="21231" y="4186"/>
                              <a:pt x="21351" y="4366"/>
                              <a:pt x="21471" y="4605"/>
                            </a:cubicBezTo>
                            <a:cubicBezTo>
                              <a:pt x="21590" y="4785"/>
                              <a:pt x="21710" y="5024"/>
                              <a:pt x="21830" y="5203"/>
                            </a:cubicBezTo>
                            <a:cubicBezTo>
                              <a:pt x="21949" y="5442"/>
                              <a:pt x="22069" y="5622"/>
                              <a:pt x="22129" y="5861"/>
                            </a:cubicBezTo>
                            <a:cubicBezTo>
                              <a:pt x="22368" y="6399"/>
                              <a:pt x="22488" y="6937"/>
                              <a:pt x="22607" y="7476"/>
                            </a:cubicBezTo>
                            <a:cubicBezTo>
                              <a:pt x="22727" y="8014"/>
                              <a:pt x="22787" y="8612"/>
                              <a:pt x="22787" y="9210"/>
                            </a:cubicBezTo>
                            <a:cubicBezTo>
                              <a:pt x="22787" y="9808"/>
                              <a:pt x="22727" y="10406"/>
                              <a:pt x="22667" y="11004"/>
                            </a:cubicBezTo>
                            <a:cubicBezTo>
                              <a:pt x="22547" y="11603"/>
                              <a:pt x="22428" y="12260"/>
                              <a:pt x="22189" y="12858"/>
                            </a:cubicBezTo>
                            <a:cubicBezTo>
                              <a:pt x="22189" y="12918"/>
                              <a:pt x="22129" y="13038"/>
                              <a:pt x="22069" y="13098"/>
                            </a:cubicBezTo>
                            <a:cubicBezTo>
                              <a:pt x="22009" y="13157"/>
                              <a:pt x="22009" y="13277"/>
                              <a:pt x="21949" y="13337"/>
                            </a:cubicBezTo>
                            <a:cubicBezTo>
                              <a:pt x="21889" y="13397"/>
                              <a:pt x="21889" y="13516"/>
                              <a:pt x="21830" y="13576"/>
                            </a:cubicBezTo>
                            <a:cubicBezTo>
                              <a:pt x="21770" y="13636"/>
                              <a:pt x="21770" y="13756"/>
                              <a:pt x="21710" y="13815"/>
                            </a:cubicBezTo>
                            <a:cubicBezTo>
                              <a:pt x="21590" y="14055"/>
                              <a:pt x="21530" y="14294"/>
                              <a:pt x="21411" y="14533"/>
                            </a:cubicBezTo>
                            <a:cubicBezTo>
                              <a:pt x="21291" y="14772"/>
                              <a:pt x="21172" y="15011"/>
                              <a:pt x="21052" y="15191"/>
                            </a:cubicBezTo>
                            <a:cubicBezTo>
                              <a:pt x="20933" y="15430"/>
                              <a:pt x="20813" y="15669"/>
                              <a:pt x="20634" y="15849"/>
                            </a:cubicBezTo>
                            <a:cubicBezTo>
                              <a:pt x="20514" y="16088"/>
                              <a:pt x="20335" y="16267"/>
                              <a:pt x="20155" y="16506"/>
                            </a:cubicBezTo>
                            <a:lnTo>
                              <a:pt x="20933" y="16985"/>
                            </a:lnTo>
                            <a:cubicBezTo>
                              <a:pt x="21112" y="16746"/>
                              <a:pt x="21231" y="16566"/>
                              <a:pt x="21411" y="16327"/>
                            </a:cubicBezTo>
                            <a:cubicBezTo>
                              <a:pt x="21530" y="16088"/>
                              <a:pt x="21710" y="15909"/>
                              <a:pt x="21830" y="15669"/>
                            </a:cubicBezTo>
                            <a:cubicBezTo>
                              <a:pt x="21949" y="15430"/>
                              <a:pt x="22069" y="15191"/>
                              <a:pt x="22189" y="15011"/>
                            </a:cubicBezTo>
                            <a:cubicBezTo>
                              <a:pt x="22308" y="14772"/>
                              <a:pt x="22428" y="14533"/>
                              <a:pt x="22547" y="14354"/>
                            </a:cubicBezTo>
                            <a:cubicBezTo>
                              <a:pt x="22607" y="14294"/>
                              <a:pt x="22607" y="14174"/>
                              <a:pt x="22667" y="14114"/>
                            </a:cubicBezTo>
                            <a:cubicBezTo>
                              <a:pt x="22727" y="14055"/>
                              <a:pt x="22727" y="13935"/>
                              <a:pt x="22787" y="13875"/>
                            </a:cubicBezTo>
                            <a:cubicBezTo>
                              <a:pt x="22846" y="13815"/>
                              <a:pt x="22846" y="13696"/>
                              <a:pt x="22906" y="13636"/>
                            </a:cubicBezTo>
                            <a:cubicBezTo>
                              <a:pt x="22966" y="13576"/>
                              <a:pt x="22966" y="13457"/>
                              <a:pt x="23026" y="13397"/>
                            </a:cubicBezTo>
                            <a:cubicBezTo>
                              <a:pt x="23265" y="12858"/>
                              <a:pt x="23384" y="12260"/>
                              <a:pt x="23504" y="11722"/>
                            </a:cubicBezTo>
                            <a:cubicBezTo>
                              <a:pt x="23624" y="11184"/>
                              <a:pt x="23743" y="10586"/>
                              <a:pt x="23743" y="10048"/>
                            </a:cubicBezTo>
                            <a:cubicBezTo>
                              <a:pt x="23803" y="9509"/>
                              <a:pt x="23803" y="8911"/>
                              <a:pt x="23743" y="8373"/>
                            </a:cubicBezTo>
                            <a:cubicBezTo>
                              <a:pt x="23684" y="7835"/>
                              <a:pt x="23624" y="7296"/>
                              <a:pt x="23504" y="6818"/>
                            </a:cubicBezTo>
                            <a:cubicBezTo>
                              <a:pt x="23444" y="6639"/>
                              <a:pt x="23444" y="6519"/>
                              <a:pt x="23384" y="6340"/>
                            </a:cubicBezTo>
                            <a:cubicBezTo>
                              <a:pt x="23325" y="6220"/>
                              <a:pt x="23325" y="6040"/>
                              <a:pt x="23265" y="5921"/>
                            </a:cubicBezTo>
                            <a:cubicBezTo>
                              <a:pt x="23205" y="5801"/>
                              <a:pt x="23145" y="5622"/>
                              <a:pt x="23086" y="5502"/>
                            </a:cubicBezTo>
                            <a:cubicBezTo>
                              <a:pt x="23026" y="5382"/>
                              <a:pt x="22966" y="5203"/>
                              <a:pt x="22906" y="5083"/>
                            </a:cubicBezTo>
                            <a:cubicBezTo>
                              <a:pt x="22727" y="4725"/>
                              <a:pt x="22547" y="4366"/>
                              <a:pt x="22368" y="4067"/>
                            </a:cubicBezTo>
                            <a:cubicBezTo>
                              <a:pt x="22189" y="3708"/>
                              <a:pt x="21949" y="3409"/>
                              <a:pt x="21710" y="3110"/>
                            </a:cubicBezTo>
                            <a:cubicBezTo>
                              <a:pt x="21471" y="2811"/>
                              <a:pt x="21172" y="2512"/>
                              <a:pt x="20873" y="2273"/>
                            </a:cubicBezTo>
                            <a:cubicBezTo>
                              <a:pt x="20574" y="2033"/>
                              <a:pt x="20275" y="1734"/>
                              <a:pt x="19916" y="1555"/>
                            </a:cubicBezTo>
                            <a:cubicBezTo>
                              <a:pt x="19557" y="1316"/>
                              <a:pt x="19198" y="1136"/>
                              <a:pt x="18839" y="957"/>
                            </a:cubicBezTo>
                            <a:cubicBezTo>
                              <a:pt x="18481" y="778"/>
                              <a:pt x="18121" y="658"/>
                              <a:pt x="17703" y="478"/>
                            </a:cubicBezTo>
                            <a:cubicBezTo>
                              <a:pt x="17344" y="359"/>
                              <a:pt x="16926" y="239"/>
                              <a:pt x="16507" y="179"/>
                            </a:cubicBezTo>
                            <a:cubicBezTo>
                              <a:pt x="16088" y="119"/>
                              <a:pt x="15669" y="60"/>
                              <a:pt x="15251" y="0"/>
                            </a:cubicBezTo>
                            <a:cubicBezTo>
                              <a:pt x="15072" y="0"/>
                              <a:pt x="14952" y="0"/>
                              <a:pt x="14772" y="0"/>
                            </a:cubicBezTo>
                            <a:cubicBezTo>
                              <a:pt x="14593" y="0"/>
                              <a:pt x="14413" y="0"/>
                              <a:pt x="14294" y="0"/>
                            </a:cubicBezTo>
                            <a:cubicBezTo>
                              <a:pt x="14114" y="0"/>
                              <a:pt x="13935" y="0"/>
                              <a:pt x="13815" y="0"/>
                            </a:cubicBezTo>
                            <a:cubicBezTo>
                              <a:pt x="13636" y="0"/>
                              <a:pt x="13457" y="0"/>
                              <a:pt x="13337" y="60"/>
                            </a:cubicBezTo>
                            <a:cubicBezTo>
                              <a:pt x="12739" y="119"/>
                              <a:pt x="12201" y="239"/>
                              <a:pt x="11603" y="359"/>
                            </a:cubicBezTo>
                            <a:cubicBezTo>
                              <a:pt x="11005" y="478"/>
                              <a:pt x="10466" y="658"/>
                              <a:pt x="9868" y="897"/>
                            </a:cubicBezTo>
                            <a:cubicBezTo>
                              <a:pt x="9330" y="1136"/>
                              <a:pt x="8732" y="1375"/>
                              <a:pt x="8194" y="1674"/>
                            </a:cubicBezTo>
                            <a:cubicBezTo>
                              <a:pt x="7655" y="1973"/>
                              <a:pt x="7117" y="2273"/>
                              <a:pt x="6579" y="2632"/>
                            </a:cubicBezTo>
                            <a:cubicBezTo>
                              <a:pt x="6519" y="2691"/>
                              <a:pt x="6399" y="2751"/>
                              <a:pt x="6340" y="2811"/>
                            </a:cubicBezTo>
                            <a:cubicBezTo>
                              <a:pt x="6280" y="2871"/>
                              <a:pt x="6160" y="2930"/>
                              <a:pt x="6100" y="2990"/>
                            </a:cubicBezTo>
                            <a:cubicBezTo>
                              <a:pt x="6041" y="3050"/>
                              <a:pt x="5921" y="3110"/>
                              <a:pt x="5861" y="3170"/>
                            </a:cubicBezTo>
                            <a:cubicBezTo>
                              <a:pt x="5801" y="3229"/>
                              <a:pt x="5682" y="3289"/>
                              <a:pt x="5622" y="3349"/>
                            </a:cubicBezTo>
                            <a:cubicBezTo>
                              <a:pt x="5442" y="3528"/>
                              <a:pt x="5203" y="3708"/>
                              <a:pt x="5024" y="3887"/>
                            </a:cubicBezTo>
                            <a:cubicBezTo>
                              <a:pt x="4844" y="4067"/>
                              <a:pt x="4605" y="4246"/>
                              <a:pt x="4426" y="4426"/>
                            </a:cubicBezTo>
                            <a:cubicBezTo>
                              <a:pt x="4246" y="4605"/>
                              <a:pt x="4067" y="4785"/>
                              <a:pt x="3828" y="5024"/>
                            </a:cubicBezTo>
                            <a:cubicBezTo>
                              <a:pt x="3888" y="5143"/>
                              <a:pt x="3708" y="5323"/>
                              <a:pt x="3529" y="5562"/>
                            </a:cubicBezTo>
                            <a:moveTo>
                              <a:pt x="14294" y="21530"/>
                            </a:moveTo>
                            <a:lnTo>
                              <a:pt x="15191" y="22128"/>
                            </a:lnTo>
                            <a:cubicBezTo>
                              <a:pt x="15669" y="21889"/>
                              <a:pt x="16148" y="21650"/>
                              <a:pt x="16626" y="21351"/>
                            </a:cubicBezTo>
                            <a:cubicBezTo>
                              <a:pt x="17105" y="21052"/>
                              <a:pt x="17523" y="20753"/>
                              <a:pt x="18002" y="20394"/>
                            </a:cubicBezTo>
                            <a:cubicBezTo>
                              <a:pt x="18421" y="20035"/>
                              <a:pt x="18839" y="19676"/>
                              <a:pt x="19258" y="19318"/>
                            </a:cubicBezTo>
                            <a:cubicBezTo>
                              <a:pt x="19676" y="18899"/>
                              <a:pt x="20035" y="18540"/>
                              <a:pt x="20454" y="18062"/>
                            </a:cubicBezTo>
                            <a:lnTo>
                              <a:pt x="19676" y="17583"/>
                            </a:lnTo>
                            <a:cubicBezTo>
                              <a:pt x="19318" y="18002"/>
                              <a:pt x="18899" y="18420"/>
                              <a:pt x="18481" y="18839"/>
                            </a:cubicBezTo>
                            <a:cubicBezTo>
                              <a:pt x="18062" y="19258"/>
                              <a:pt x="17643" y="19617"/>
                              <a:pt x="17165" y="19916"/>
                            </a:cubicBezTo>
                            <a:cubicBezTo>
                              <a:pt x="16686" y="20274"/>
                              <a:pt x="16267" y="20574"/>
                              <a:pt x="15789" y="20813"/>
                            </a:cubicBezTo>
                            <a:cubicBezTo>
                              <a:pt x="15251" y="21052"/>
                              <a:pt x="14772" y="21291"/>
                              <a:pt x="14294" y="21530"/>
                            </a:cubicBezTo>
                            <a:moveTo>
                              <a:pt x="239" y="12320"/>
                            </a:moveTo>
                            <a:lnTo>
                              <a:pt x="1136" y="12918"/>
                            </a:lnTo>
                            <a:cubicBezTo>
                              <a:pt x="1196" y="12440"/>
                              <a:pt x="1316" y="11902"/>
                              <a:pt x="1435" y="11423"/>
                            </a:cubicBezTo>
                            <a:cubicBezTo>
                              <a:pt x="1555" y="10944"/>
                              <a:pt x="1734" y="10406"/>
                              <a:pt x="1914" y="9928"/>
                            </a:cubicBezTo>
                            <a:cubicBezTo>
                              <a:pt x="2093" y="9449"/>
                              <a:pt x="2333" y="8911"/>
                              <a:pt x="2632" y="8433"/>
                            </a:cubicBezTo>
                            <a:cubicBezTo>
                              <a:pt x="2930" y="7954"/>
                              <a:pt x="3229" y="7476"/>
                              <a:pt x="3588" y="6997"/>
                            </a:cubicBezTo>
                            <a:lnTo>
                              <a:pt x="2871" y="6519"/>
                            </a:lnTo>
                            <a:cubicBezTo>
                              <a:pt x="2512" y="6997"/>
                              <a:pt x="2213" y="7476"/>
                              <a:pt x="1914" y="7954"/>
                            </a:cubicBezTo>
                            <a:cubicBezTo>
                              <a:pt x="1615" y="8433"/>
                              <a:pt x="1375" y="8911"/>
                              <a:pt x="1196" y="9449"/>
                            </a:cubicBezTo>
                            <a:cubicBezTo>
                              <a:pt x="957" y="9928"/>
                              <a:pt x="778" y="10466"/>
                              <a:pt x="658" y="10944"/>
                            </a:cubicBezTo>
                            <a:cubicBezTo>
                              <a:pt x="479" y="11303"/>
                              <a:pt x="359" y="11782"/>
                              <a:pt x="239" y="12320"/>
                            </a:cubicBezTo>
                            <a:moveTo>
                              <a:pt x="10167" y="22547"/>
                            </a:moveTo>
                            <a:lnTo>
                              <a:pt x="11423" y="23384"/>
                            </a:lnTo>
                            <a:cubicBezTo>
                              <a:pt x="11662" y="23325"/>
                              <a:pt x="11842" y="23325"/>
                              <a:pt x="12081" y="23265"/>
                            </a:cubicBezTo>
                            <a:cubicBezTo>
                              <a:pt x="12320" y="23205"/>
                              <a:pt x="12500" y="23145"/>
                              <a:pt x="12739" y="23085"/>
                            </a:cubicBezTo>
                            <a:cubicBezTo>
                              <a:pt x="12978" y="23026"/>
                              <a:pt x="13158" y="22966"/>
                              <a:pt x="13337" y="22906"/>
                            </a:cubicBezTo>
                            <a:cubicBezTo>
                              <a:pt x="13516" y="22846"/>
                              <a:pt x="13756" y="22787"/>
                              <a:pt x="13935" y="22667"/>
                            </a:cubicBezTo>
                            <a:lnTo>
                              <a:pt x="12918" y="22009"/>
                            </a:lnTo>
                            <a:cubicBezTo>
                              <a:pt x="12679" y="22069"/>
                              <a:pt x="12440" y="22128"/>
                              <a:pt x="12201" y="22188"/>
                            </a:cubicBezTo>
                            <a:cubicBezTo>
                              <a:pt x="11961" y="22248"/>
                              <a:pt x="11722" y="22308"/>
                              <a:pt x="11483" y="22368"/>
                            </a:cubicBezTo>
                            <a:cubicBezTo>
                              <a:pt x="11244" y="22428"/>
                              <a:pt x="11005" y="22428"/>
                              <a:pt x="10765" y="22487"/>
                            </a:cubicBezTo>
                            <a:cubicBezTo>
                              <a:pt x="10586" y="22487"/>
                              <a:pt x="10406" y="22487"/>
                              <a:pt x="10167" y="22547"/>
                            </a:cubicBezTo>
                            <a:moveTo>
                              <a:pt x="120" y="15968"/>
                            </a:moveTo>
                            <a:lnTo>
                              <a:pt x="1435" y="16806"/>
                            </a:lnTo>
                            <a:cubicBezTo>
                              <a:pt x="1375" y="16626"/>
                              <a:pt x="1316" y="16387"/>
                              <a:pt x="1256" y="16148"/>
                            </a:cubicBezTo>
                            <a:cubicBezTo>
                              <a:pt x="1196" y="15909"/>
                              <a:pt x="1196" y="15729"/>
                              <a:pt x="1136" y="15490"/>
                            </a:cubicBezTo>
                            <a:cubicBezTo>
                              <a:pt x="1076" y="15251"/>
                              <a:pt x="1076" y="15071"/>
                              <a:pt x="1076" y="14832"/>
                            </a:cubicBezTo>
                            <a:cubicBezTo>
                              <a:pt x="1076" y="14593"/>
                              <a:pt x="1076" y="14413"/>
                              <a:pt x="1076" y="14174"/>
                            </a:cubicBezTo>
                            <a:lnTo>
                              <a:pt x="60" y="13516"/>
                            </a:lnTo>
                            <a:cubicBezTo>
                              <a:pt x="60" y="13696"/>
                              <a:pt x="60" y="13935"/>
                              <a:pt x="0" y="14114"/>
                            </a:cubicBezTo>
                            <a:cubicBezTo>
                              <a:pt x="0" y="14294"/>
                              <a:pt x="0" y="14533"/>
                              <a:pt x="0" y="14712"/>
                            </a:cubicBezTo>
                            <a:cubicBezTo>
                              <a:pt x="0" y="14892"/>
                              <a:pt x="0" y="15131"/>
                              <a:pt x="60" y="15311"/>
                            </a:cubicBezTo>
                            <a:cubicBezTo>
                              <a:pt x="120" y="15550"/>
                              <a:pt x="120" y="15789"/>
                              <a:pt x="120" y="15968"/>
                            </a:cubicBezTo>
                            <a:moveTo>
                              <a:pt x="2632" y="20992"/>
                            </a:moveTo>
                            <a:lnTo>
                              <a:pt x="5442" y="22846"/>
                            </a:lnTo>
                            <a:cubicBezTo>
                              <a:pt x="5742" y="22966"/>
                              <a:pt x="6100" y="23085"/>
                              <a:pt x="6459" y="23205"/>
                            </a:cubicBezTo>
                            <a:cubicBezTo>
                              <a:pt x="6818" y="23325"/>
                              <a:pt x="7177" y="23384"/>
                              <a:pt x="7476" y="23444"/>
                            </a:cubicBezTo>
                            <a:cubicBezTo>
                              <a:pt x="7775" y="23504"/>
                              <a:pt x="8194" y="23564"/>
                              <a:pt x="8552" y="23564"/>
                            </a:cubicBezTo>
                            <a:cubicBezTo>
                              <a:pt x="8911" y="23564"/>
                              <a:pt x="9270" y="23564"/>
                              <a:pt x="9629" y="23564"/>
                            </a:cubicBezTo>
                            <a:lnTo>
                              <a:pt x="7895" y="22428"/>
                            </a:lnTo>
                            <a:cubicBezTo>
                              <a:pt x="7596" y="22368"/>
                              <a:pt x="7296" y="22308"/>
                              <a:pt x="6997" y="22248"/>
                            </a:cubicBezTo>
                            <a:cubicBezTo>
                              <a:pt x="6698" y="22188"/>
                              <a:pt x="6399" y="22069"/>
                              <a:pt x="6160" y="21949"/>
                            </a:cubicBezTo>
                            <a:cubicBezTo>
                              <a:pt x="5861" y="21829"/>
                              <a:pt x="5622" y="21710"/>
                              <a:pt x="5323" y="21590"/>
                            </a:cubicBezTo>
                            <a:cubicBezTo>
                              <a:pt x="5083" y="21471"/>
                              <a:pt x="4785" y="21291"/>
                              <a:pt x="4545" y="21172"/>
                            </a:cubicBezTo>
                            <a:cubicBezTo>
                              <a:pt x="4306" y="20992"/>
                              <a:pt x="4067" y="20813"/>
                              <a:pt x="3828" y="20633"/>
                            </a:cubicBezTo>
                            <a:cubicBezTo>
                              <a:pt x="3588" y="20454"/>
                              <a:pt x="3409" y="20274"/>
                              <a:pt x="3229" y="20035"/>
                            </a:cubicBezTo>
                            <a:cubicBezTo>
                              <a:pt x="3050" y="19856"/>
                              <a:pt x="2871" y="19617"/>
                              <a:pt x="2691" y="19377"/>
                            </a:cubicBezTo>
                            <a:cubicBezTo>
                              <a:pt x="2512" y="19138"/>
                              <a:pt x="2392" y="18899"/>
                              <a:pt x="2213" y="18660"/>
                            </a:cubicBezTo>
                            <a:lnTo>
                              <a:pt x="479" y="17523"/>
                            </a:lnTo>
                            <a:cubicBezTo>
                              <a:pt x="598" y="17822"/>
                              <a:pt x="718" y="18181"/>
                              <a:pt x="837" y="18480"/>
                            </a:cubicBezTo>
                            <a:cubicBezTo>
                              <a:pt x="957" y="18779"/>
                              <a:pt x="1136" y="19079"/>
                              <a:pt x="1316" y="19377"/>
                            </a:cubicBezTo>
                            <a:cubicBezTo>
                              <a:pt x="1495" y="19676"/>
                              <a:pt x="1674" y="19916"/>
                              <a:pt x="1914" y="20215"/>
                            </a:cubicBezTo>
                            <a:cubicBezTo>
                              <a:pt x="2153" y="20514"/>
                              <a:pt x="2392" y="20753"/>
                              <a:pt x="2632" y="20992"/>
                            </a:cubicBezTo>
                          </a:path>
                        </a:pathLst>
                      </a:custGeom>
                      <a:noFill/>
                      <a:ln w="6350" cap="flat">
                        <a:solidFill>
                          <a:schemeClr val="bg1">
                            <a:alpha val="40000"/>
                          </a:schemeClr>
                        </a:solidFill>
                        <a:prstDash val="solid"/>
                        <a:miter/>
                      </a:ln>
                    </p:spPr>
                    <p:txBody>
                      <a:bodyPr rtlCol="0" anchor="ctr"/>
                      <a:lstStyle/>
                      <a:p>
                        <a:endParaRPr lang="en-GB"/>
                      </a:p>
                    </p:txBody>
                  </p:sp>
                  <p:sp>
                    <p:nvSpPr>
                      <p:cNvPr id="7528" name="Vrije vorm: vorm 7527">
                        <a:extLst>
                          <a:ext uri="{FF2B5EF4-FFF2-40B4-BE49-F238E27FC236}">
                            <a16:creationId xmlns:a16="http://schemas.microsoft.com/office/drawing/2014/main" id="{0A05CC9B-968D-4F08-BF7F-82F7F98A7E56}"/>
                          </a:ext>
                        </a:extLst>
                      </p:cNvPr>
                      <p:cNvSpPr/>
                      <p:nvPr/>
                    </p:nvSpPr>
                    <p:spPr>
                      <a:xfrm>
                        <a:off x="5045237" y="5324691"/>
                        <a:ext cx="13037" cy="12544"/>
                      </a:xfrm>
                      <a:custGeom>
                        <a:avLst/>
                        <a:gdLst>
                          <a:gd name="connsiteX0" fmla="*/ 2033 w 13037"/>
                          <a:gd name="connsiteY0" fmla="*/ 2557 h 12544"/>
                          <a:gd name="connsiteX1" fmla="*/ 2811 w 13037"/>
                          <a:gd name="connsiteY1" fmla="*/ 3095 h 12544"/>
                          <a:gd name="connsiteX2" fmla="*/ 3469 w 13037"/>
                          <a:gd name="connsiteY2" fmla="*/ 2497 h 12544"/>
                          <a:gd name="connsiteX3" fmla="*/ 4187 w 13037"/>
                          <a:gd name="connsiteY3" fmla="*/ 1959 h 12544"/>
                          <a:gd name="connsiteX4" fmla="*/ 4904 w 13037"/>
                          <a:gd name="connsiteY4" fmla="*/ 1540 h 12544"/>
                          <a:gd name="connsiteX5" fmla="*/ 5682 w 13037"/>
                          <a:gd name="connsiteY5" fmla="*/ 1181 h 12544"/>
                          <a:gd name="connsiteX6" fmla="*/ 6041 w 13037"/>
                          <a:gd name="connsiteY6" fmla="*/ 1062 h 12544"/>
                          <a:gd name="connsiteX7" fmla="*/ 6399 w 13037"/>
                          <a:gd name="connsiteY7" fmla="*/ 942 h 12544"/>
                          <a:gd name="connsiteX8" fmla="*/ 6758 w 13037"/>
                          <a:gd name="connsiteY8" fmla="*/ 882 h 12544"/>
                          <a:gd name="connsiteX9" fmla="*/ 7117 w 13037"/>
                          <a:gd name="connsiteY9" fmla="*/ 822 h 12544"/>
                          <a:gd name="connsiteX10" fmla="*/ 7954 w 13037"/>
                          <a:gd name="connsiteY10" fmla="*/ 822 h 12544"/>
                          <a:gd name="connsiteX11" fmla="*/ 8732 w 13037"/>
                          <a:gd name="connsiteY11" fmla="*/ 942 h 12544"/>
                          <a:gd name="connsiteX12" fmla="*/ 9509 w 13037"/>
                          <a:gd name="connsiteY12" fmla="*/ 1181 h 12544"/>
                          <a:gd name="connsiteX13" fmla="*/ 10227 w 13037"/>
                          <a:gd name="connsiteY13" fmla="*/ 1540 h 12544"/>
                          <a:gd name="connsiteX14" fmla="*/ 10825 w 13037"/>
                          <a:gd name="connsiteY14" fmla="*/ 2019 h 12544"/>
                          <a:gd name="connsiteX15" fmla="*/ 11304 w 13037"/>
                          <a:gd name="connsiteY15" fmla="*/ 2617 h 12544"/>
                          <a:gd name="connsiteX16" fmla="*/ 11662 w 13037"/>
                          <a:gd name="connsiteY16" fmla="*/ 3275 h 12544"/>
                          <a:gd name="connsiteX17" fmla="*/ 11902 w 13037"/>
                          <a:gd name="connsiteY17" fmla="*/ 3992 h 12544"/>
                          <a:gd name="connsiteX18" fmla="*/ 11961 w 13037"/>
                          <a:gd name="connsiteY18" fmla="*/ 4351 h 12544"/>
                          <a:gd name="connsiteX19" fmla="*/ 12021 w 13037"/>
                          <a:gd name="connsiteY19" fmla="*/ 4710 h 12544"/>
                          <a:gd name="connsiteX20" fmla="*/ 12021 w 13037"/>
                          <a:gd name="connsiteY20" fmla="*/ 5069 h 12544"/>
                          <a:gd name="connsiteX21" fmla="*/ 12021 w 13037"/>
                          <a:gd name="connsiteY21" fmla="*/ 5428 h 12544"/>
                          <a:gd name="connsiteX22" fmla="*/ 11902 w 13037"/>
                          <a:gd name="connsiteY22" fmla="*/ 6205 h 12544"/>
                          <a:gd name="connsiteX23" fmla="*/ 11662 w 13037"/>
                          <a:gd name="connsiteY23" fmla="*/ 6983 h 12544"/>
                          <a:gd name="connsiteX24" fmla="*/ 11304 w 13037"/>
                          <a:gd name="connsiteY24" fmla="*/ 7760 h 12544"/>
                          <a:gd name="connsiteX25" fmla="*/ 10885 w 13037"/>
                          <a:gd name="connsiteY25" fmla="*/ 8478 h 12544"/>
                          <a:gd name="connsiteX26" fmla="*/ 11662 w 13037"/>
                          <a:gd name="connsiteY26" fmla="*/ 8956 h 12544"/>
                          <a:gd name="connsiteX27" fmla="*/ 12081 w 13037"/>
                          <a:gd name="connsiteY27" fmla="*/ 8238 h 12544"/>
                          <a:gd name="connsiteX28" fmla="*/ 12440 w 13037"/>
                          <a:gd name="connsiteY28" fmla="*/ 7521 h 12544"/>
                          <a:gd name="connsiteX29" fmla="*/ 12739 w 13037"/>
                          <a:gd name="connsiteY29" fmla="*/ 6803 h 12544"/>
                          <a:gd name="connsiteX30" fmla="*/ 12918 w 13037"/>
                          <a:gd name="connsiteY30" fmla="*/ 6085 h 12544"/>
                          <a:gd name="connsiteX31" fmla="*/ 12978 w 13037"/>
                          <a:gd name="connsiteY31" fmla="*/ 5787 h 12544"/>
                          <a:gd name="connsiteX32" fmla="*/ 13038 w 13037"/>
                          <a:gd name="connsiteY32" fmla="*/ 5488 h 12544"/>
                          <a:gd name="connsiteX33" fmla="*/ 13038 w 13037"/>
                          <a:gd name="connsiteY33" fmla="*/ 5189 h 12544"/>
                          <a:gd name="connsiteX34" fmla="*/ 13038 w 13037"/>
                          <a:gd name="connsiteY34" fmla="*/ 4889 h 12544"/>
                          <a:gd name="connsiteX35" fmla="*/ 12918 w 13037"/>
                          <a:gd name="connsiteY35" fmla="*/ 3693 h 12544"/>
                          <a:gd name="connsiteX36" fmla="*/ 12500 w 13037"/>
                          <a:gd name="connsiteY36" fmla="*/ 2557 h 12544"/>
                          <a:gd name="connsiteX37" fmla="*/ 11842 w 13037"/>
                          <a:gd name="connsiteY37" fmla="*/ 1600 h 12544"/>
                          <a:gd name="connsiteX38" fmla="*/ 10945 w 13037"/>
                          <a:gd name="connsiteY38" fmla="*/ 822 h 12544"/>
                          <a:gd name="connsiteX39" fmla="*/ 9868 w 13037"/>
                          <a:gd name="connsiteY39" fmla="*/ 284 h 12544"/>
                          <a:gd name="connsiteX40" fmla="*/ 8672 w 13037"/>
                          <a:gd name="connsiteY40" fmla="*/ 45 h 12544"/>
                          <a:gd name="connsiteX41" fmla="*/ 7356 w 13037"/>
                          <a:gd name="connsiteY41" fmla="*/ 45 h 12544"/>
                          <a:gd name="connsiteX42" fmla="*/ 6041 w 13037"/>
                          <a:gd name="connsiteY42" fmla="*/ 284 h 12544"/>
                          <a:gd name="connsiteX43" fmla="*/ 5742 w 13037"/>
                          <a:gd name="connsiteY43" fmla="*/ 404 h 12544"/>
                          <a:gd name="connsiteX44" fmla="*/ 5442 w 13037"/>
                          <a:gd name="connsiteY44" fmla="*/ 523 h 12544"/>
                          <a:gd name="connsiteX45" fmla="*/ 5143 w 13037"/>
                          <a:gd name="connsiteY45" fmla="*/ 643 h 12544"/>
                          <a:gd name="connsiteX46" fmla="*/ 4844 w 13037"/>
                          <a:gd name="connsiteY46" fmla="*/ 763 h 12544"/>
                          <a:gd name="connsiteX47" fmla="*/ 4127 w 13037"/>
                          <a:gd name="connsiteY47" fmla="*/ 1181 h 12544"/>
                          <a:gd name="connsiteX48" fmla="*/ 3469 w 13037"/>
                          <a:gd name="connsiteY48" fmla="*/ 1660 h 12544"/>
                          <a:gd name="connsiteX49" fmla="*/ 2811 w 13037"/>
                          <a:gd name="connsiteY49" fmla="*/ 2198 h 12544"/>
                          <a:gd name="connsiteX50" fmla="*/ 2033 w 13037"/>
                          <a:gd name="connsiteY50" fmla="*/ 2557 h 12544"/>
                          <a:gd name="connsiteX51" fmla="*/ 1136 w 13037"/>
                          <a:gd name="connsiteY51" fmla="*/ 10870 h 12544"/>
                          <a:gd name="connsiteX52" fmla="*/ 3229 w 13037"/>
                          <a:gd name="connsiteY52" fmla="*/ 12246 h 12544"/>
                          <a:gd name="connsiteX53" fmla="*/ 5143 w 13037"/>
                          <a:gd name="connsiteY53" fmla="*/ 12545 h 12544"/>
                          <a:gd name="connsiteX54" fmla="*/ 7177 w 13037"/>
                          <a:gd name="connsiteY54" fmla="*/ 12186 h 12544"/>
                          <a:gd name="connsiteX55" fmla="*/ 9150 w 13037"/>
                          <a:gd name="connsiteY55" fmla="*/ 11229 h 12544"/>
                          <a:gd name="connsiteX56" fmla="*/ 10885 w 13037"/>
                          <a:gd name="connsiteY56" fmla="*/ 9734 h 12544"/>
                          <a:gd name="connsiteX57" fmla="*/ 10107 w 13037"/>
                          <a:gd name="connsiteY57" fmla="*/ 9255 h 12544"/>
                          <a:gd name="connsiteX58" fmla="*/ 8373 w 13037"/>
                          <a:gd name="connsiteY58" fmla="*/ 10631 h 12544"/>
                          <a:gd name="connsiteX59" fmla="*/ 6459 w 13037"/>
                          <a:gd name="connsiteY59" fmla="*/ 11408 h 12544"/>
                          <a:gd name="connsiteX60" fmla="*/ 4545 w 13037"/>
                          <a:gd name="connsiteY60" fmla="*/ 11468 h 12544"/>
                          <a:gd name="connsiteX61" fmla="*/ 2811 w 13037"/>
                          <a:gd name="connsiteY61" fmla="*/ 10810 h 12544"/>
                          <a:gd name="connsiteX62" fmla="*/ 1615 w 13037"/>
                          <a:gd name="connsiteY62" fmla="*/ 9495 h 12544"/>
                          <a:gd name="connsiteX63" fmla="*/ 1076 w 13037"/>
                          <a:gd name="connsiteY63" fmla="*/ 7760 h 12544"/>
                          <a:gd name="connsiteX64" fmla="*/ 1256 w 13037"/>
                          <a:gd name="connsiteY64" fmla="*/ 5846 h 12544"/>
                          <a:gd name="connsiteX65" fmla="*/ 2153 w 13037"/>
                          <a:gd name="connsiteY65" fmla="*/ 3933 h 12544"/>
                          <a:gd name="connsiteX66" fmla="*/ 1375 w 13037"/>
                          <a:gd name="connsiteY66" fmla="*/ 3394 h 12544"/>
                          <a:gd name="connsiteX67" fmla="*/ 359 w 13037"/>
                          <a:gd name="connsiteY67" fmla="*/ 5368 h 12544"/>
                          <a:gd name="connsiteX68" fmla="*/ 0 w 13037"/>
                          <a:gd name="connsiteY68" fmla="*/ 7401 h 12544"/>
                          <a:gd name="connsiteX69" fmla="*/ 299 w 13037"/>
                          <a:gd name="connsiteY69" fmla="*/ 9255 h 12544"/>
                          <a:gd name="connsiteX70" fmla="*/ 1136 w 13037"/>
                          <a:gd name="connsiteY70" fmla="*/ 10870 h 1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3037" h="12544">
                            <a:moveTo>
                              <a:pt x="2033" y="2557"/>
                            </a:moveTo>
                            <a:lnTo>
                              <a:pt x="2811" y="3095"/>
                            </a:lnTo>
                            <a:cubicBezTo>
                              <a:pt x="2990" y="2856"/>
                              <a:pt x="3229" y="2676"/>
                              <a:pt x="3469" y="2497"/>
                            </a:cubicBezTo>
                            <a:cubicBezTo>
                              <a:pt x="3708" y="2318"/>
                              <a:pt x="3947" y="2138"/>
                              <a:pt x="4187" y="1959"/>
                            </a:cubicBezTo>
                            <a:cubicBezTo>
                              <a:pt x="4426" y="1780"/>
                              <a:pt x="4665" y="1660"/>
                              <a:pt x="4904" y="1540"/>
                            </a:cubicBezTo>
                            <a:cubicBezTo>
                              <a:pt x="5143" y="1421"/>
                              <a:pt x="5383" y="1301"/>
                              <a:pt x="5682" y="1181"/>
                            </a:cubicBezTo>
                            <a:cubicBezTo>
                              <a:pt x="5801" y="1121"/>
                              <a:pt x="5921" y="1121"/>
                              <a:pt x="6041" y="1062"/>
                            </a:cubicBezTo>
                            <a:cubicBezTo>
                              <a:pt x="6160" y="1002"/>
                              <a:pt x="6280" y="1002"/>
                              <a:pt x="6399" y="942"/>
                            </a:cubicBezTo>
                            <a:cubicBezTo>
                              <a:pt x="6519" y="942"/>
                              <a:pt x="6639" y="882"/>
                              <a:pt x="6758" y="882"/>
                            </a:cubicBezTo>
                            <a:cubicBezTo>
                              <a:pt x="6878" y="882"/>
                              <a:pt x="6997" y="822"/>
                              <a:pt x="7117" y="822"/>
                            </a:cubicBezTo>
                            <a:cubicBezTo>
                              <a:pt x="7416" y="763"/>
                              <a:pt x="7655" y="763"/>
                              <a:pt x="7954" y="822"/>
                            </a:cubicBezTo>
                            <a:cubicBezTo>
                              <a:pt x="8253" y="882"/>
                              <a:pt x="8493" y="882"/>
                              <a:pt x="8732" y="942"/>
                            </a:cubicBezTo>
                            <a:cubicBezTo>
                              <a:pt x="8971" y="1002"/>
                              <a:pt x="9270" y="1062"/>
                              <a:pt x="9509" y="1181"/>
                            </a:cubicBezTo>
                            <a:cubicBezTo>
                              <a:pt x="9749" y="1301"/>
                              <a:pt x="9988" y="1421"/>
                              <a:pt x="10227" y="1540"/>
                            </a:cubicBezTo>
                            <a:cubicBezTo>
                              <a:pt x="10466" y="1660"/>
                              <a:pt x="10645" y="1839"/>
                              <a:pt x="10825" y="2019"/>
                            </a:cubicBezTo>
                            <a:cubicBezTo>
                              <a:pt x="11004" y="2198"/>
                              <a:pt x="11184" y="2377"/>
                              <a:pt x="11304" y="2617"/>
                            </a:cubicBezTo>
                            <a:cubicBezTo>
                              <a:pt x="11423" y="2796"/>
                              <a:pt x="11543" y="3035"/>
                              <a:pt x="11662" y="3275"/>
                            </a:cubicBezTo>
                            <a:cubicBezTo>
                              <a:pt x="11782" y="3514"/>
                              <a:pt x="11842" y="3753"/>
                              <a:pt x="11902" y="3992"/>
                            </a:cubicBezTo>
                            <a:cubicBezTo>
                              <a:pt x="11902" y="4112"/>
                              <a:pt x="11961" y="4231"/>
                              <a:pt x="11961" y="4351"/>
                            </a:cubicBezTo>
                            <a:cubicBezTo>
                              <a:pt x="11961" y="4471"/>
                              <a:pt x="11961" y="4590"/>
                              <a:pt x="12021" y="4710"/>
                            </a:cubicBezTo>
                            <a:cubicBezTo>
                              <a:pt x="12081" y="4829"/>
                              <a:pt x="12021" y="4949"/>
                              <a:pt x="12021" y="5069"/>
                            </a:cubicBezTo>
                            <a:cubicBezTo>
                              <a:pt x="12021" y="5189"/>
                              <a:pt x="12021" y="5308"/>
                              <a:pt x="12021" y="5428"/>
                            </a:cubicBezTo>
                            <a:cubicBezTo>
                              <a:pt x="12021" y="5667"/>
                              <a:pt x="11961" y="5906"/>
                              <a:pt x="11902" y="6205"/>
                            </a:cubicBezTo>
                            <a:cubicBezTo>
                              <a:pt x="11842" y="6444"/>
                              <a:pt x="11782" y="6743"/>
                              <a:pt x="11662" y="6983"/>
                            </a:cubicBezTo>
                            <a:cubicBezTo>
                              <a:pt x="11543" y="7222"/>
                              <a:pt x="11483" y="7521"/>
                              <a:pt x="11304" y="7760"/>
                            </a:cubicBezTo>
                            <a:cubicBezTo>
                              <a:pt x="11184" y="7999"/>
                              <a:pt x="11004" y="8238"/>
                              <a:pt x="10885" y="8478"/>
                            </a:cubicBezTo>
                            <a:lnTo>
                              <a:pt x="11662" y="8956"/>
                            </a:lnTo>
                            <a:cubicBezTo>
                              <a:pt x="11842" y="8717"/>
                              <a:pt x="11961" y="8478"/>
                              <a:pt x="12081" y="8238"/>
                            </a:cubicBezTo>
                            <a:cubicBezTo>
                              <a:pt x="12201" y="7999"/>
                              <a:pt x="12320" y="7760"/>
                              <a:pt x="12440" y="7521"/>
                            </a:cubicBezTo>
                            <a:cubicBezTo>
                              <a:pt x="12559" y="7282"/>
                              <a:pt x="12619" y="7043"/>
                              <a:pt x="12739" y="6803"/>
                            </a:cubicBezTo>
                            <a:cubicBezTo>
                              <a:pt x="12799" y="6564"/>
                              <a:pt x="12859" y="6325"/>
                              <a:pt x="12918" y="6085"/>
                            </a:cubicBezTo>
                            <a:cubicBezTo>
                              <a:pt x="12918" y="5966"/>
                              <a:pt x="12978" y="5906"/>
                              <a:pt x="12978" y="5787"/>
                            </a:cubicBezTo>
                            <a:cubicBezTo>
                              <a:pt x="12978" y="5667"/>
                              <a:pt x="12978" y="5607"/>
                              <a:pt x="13038" y="5488"/>
                            </a:cubicBezTo>
                            <a:cubicBezTo>
                              <a:pt x="13038" y="5368"/>
                              <a:pt x="13038" y="5308"/>
                              <a:pt x="13038" y="5189"/>
                            </a:cubicBezTo>
                            <a:cubicBezTo>
                              <a:pt x="13038" y="5069"/>
                              <a:pt x="13038" y="5009"/>
                              <a:pt x="13038" y="4889"/>
                            </a:cubicBezTo>
                            <a:cubicBezTo>
                              <a:pt x="13038" y="4471"/>
                              <a:pt x="12978" y="4052"/>
                              <a:pt x="12918" y="3693"/>
                            </a:cubicBezTo>
                            <a:cubicBezTo>
                              <a:pt x="12859" y="3334"/>
                              <a:pt x="12679" y="2916"/>
                              <a:pt x="12500" y="2557"/>
                            </a:cubicBezTo>
                            <a:cubicBezTo>
                              <a:pt x="12320" y="2198"/>
                              <a:pt x="12081" y="1899"/>
                              <a:pt x="11842" y="1600"/>
                            </a:cubicBezTo>
                            <a:cubicBezTo>
                              <a:pt x="11603" y="1301"/>
                              <a:pt x="11304" y="1062"/>
                              <a:pt x="10945" y="822"/>
                            </a:cubicBezTo>
                            <a:cubicBezTo>
                              <a:pt x="10586" y="583"/>
                              <a:pt x="10227" y="404"/>
                              <a:pt x="9868" y="284"/>
                            </a:cubicBezTo>
                            <a:cubicBezTo>
                              <a:pt x="9450" y="165"/>
                              <a:pt x="9091" y="45"/>
                              <a:pt x="8672" y="45"/>
                            </a:cubicBezTo>
                            <a:cubicBezTo>
                              <a:pt x="8253" y="-15"/>
                              <a:pt x="7835" y="-15"/>
                              <a:pt x="7356" y="45"/>
                            </a:cubicBezTo>
                            <a:cubicBezTo>
                              <a:pt x="6937" y="105"/>
                              <a:pt x="6459" y="165"/>
                              <a:pt x="6041" y="284"/>
                            </a:cubicBezTo>
                            <a:cubicBezTo>
                              <a:pt x="5921" y="344"/>
                              <a:pt x="5801" y="344"/>
                              <a:pt x="5742" y="404"/>
                            </a:cubicBezTo>
                            <a:cubicBezTo>
                              <a:pt x="5622" y="464"/>
                              <a:pt x="5562" y="464"/>
                              <a:pt x="5442" y="523"/>
                            </a:cubicBezTo>
                            <a:cubicBezTo>
                              <a:pt x="5323" y="583"/>
                              <a:pt x="5263" y="583"/>
                              <a:pt x="5143" y="643"/>
                            </a:cubicBezTo>
                            <a:cubicBezTo>
                              <a:pt x="5024" y="703"/>
                              <a:pt x="4964" y="763"/>
                              <a:pt x="4844" y="763"/>
                            </a:cubicBezTo>
                            <a:cubicBezTo>
                              <a:pt x="4605" y="882"/>
                              <a:pt x="4366" y="1002"/>
                              <a:pt x="4127" y="1181"/>
                            </a:cubicBezTo>
                            <a:cubicBezTo>
                              <a:pt x="3888" y="1361"/>
                              <a:pt x="3648" y="1480"/>
                              <a:pt x="3469" y="1660"/>
                            </a:cubicBezTo>
                            <a:cubicBezTo>
                              <a:pt x="3229" y="1839"/>
                              <a:pt x="3050" y="2019"/>
                              <a:pt x="2811" y="2198"/>
                            </a:cubicBezTo>
                            <a:cubicBezTo>
                              <a:pt x="2392" y="2138"/>
                              <a:pt x="2213" y="2318"/>
                              <a:pt x="2033" y="2557"/>
                            </a:cubicBezTo>
                            <a:moveTo>
                              <a:pt x="1136" y="10870"/>
                            </a:moveTo>
                            <a:lnTo>
                              <a:pt x="3229" y="12246"/>
                            </a:lnTo>
                            <a:cubicBezTo>
                              <a:pt x="3828" y="12425"/>
                              <a:pt x="4486" y="12545"/>
                              <a:pt x="5143" y="12545"/>
                            </a:cubicBezTo>
                            <a:cubicBezTo>
                              <a:pt x="5801" y="12545"/>
                              <a:pt x="6459" y="12425"/>
                              <a:pt x="7177" y="12186"/>
                            </a:cubicBezTo>
                            <a:cubicBezTo>
                              <a:pt x="7835" y="11946"/>
                              <a:pt x="8493" y="11648"/>
                              <a:pt x="9150" y="11229"/>
                            </a:cubicBezTo>
                            <a:cubicBezTo>
                              <a:pt x="9808" y="10810"/>
                              <a:pt x="10347" y="10332"/>
                              <a:pt x="10885" y="9734"/>
                            </a:cubicBezTo>
                            <a:lnTo>
                              <a:pt x="10107" y="9255"/>
                            </a:lnTo>
                            <a:cubicBezTo>
                              <a:pt x="9569" y="9794"/>
                              <a:pt x="9031" y="10272"/>
                              <a:pt x="8373" y="10631"/>
                            </a:cubicBezTo>
                            <a:cubicBezTo>
                              <a:pt x="7775" y="10990"/>
                              <a:pt x="7117" y="11229"/>
                              <a:pt x="6459" y="11408"/>
                            </a:cubicBezTo>
                            <a:cubicBezTo>
                              <a:pt x="5801" y="11528"/>
                              <a:pt x="5143" y="11588"/>
                              <a:pt x="4545" y="11468"/>
                            </a:cubicBezTo>
                            <a:cubicBezTo>
                              <a:pt x="3947" y="11349"/>
                              <a:pt x="3349" y="11169"/>
                              <a:pt x="2811" y="10810"/>
                            </a:cubicBezTo>
                            <a:cubicBezTo>
                              <a:pt x="2273" y="10451"/>
                              <a:pt x="1854" y="10033"/>
                              <a:pt x="1615" y="9495"/>
                            </a:cubicBezTo>
                            <a:cubicBezTo>
                              <a:pt x="1316" y="8956"/>
                              <a:pt x="1136" y="8418"/>
                              <a:pt x="1076" y="7760"/>
                            </a:cubicBezTo>
                            <a:cubicBezTo>
                              <a:pt x="1017" y="7102"/>
                              <a:pt x="1076" y="6504"/>
                              <a:pt x="1256" y="5846"/>
                            </a:cubicBezTo>
                            <a:cubicBezTo>
                              <a:pt x="1435" y="5189"/>
                              <a:pt x="1734" y="4530"/>
                              <a:pt x="2153" y="3933"/>
                            </a:cubicBezTo>
                            <a:lnTo>
                              <a:pt x="1375" y="3394"/>
                            </a:lnTo>
                            <a:cubicBezTo>
                              <a:pt x="957" y="4052"/>
                              <a:pt x="598" y="4710"/>
                              <a:pt x="359" y="5368"/>
                            </a:cubicBezTo>
                            <a:cubicBezTo>
                              <a:pt x="120" y="6026"/>
                              <a:pt x="0" y="6743"/>
                              <a:pt x="0" y="7401"/>
                            </a:cubicBezTo>
                            <a:cubicBezTo>
                              <a:pt x="0" y="8059"/>
                              <a:pt x="60" y="8657"/>
                              <a:pt x="299" y="9255"/>
                            </a:cubicBezTo>
                            <a:cubicBezTo>
                              <a:pt x="419" y="9853"/>
                              <a:pt x="718" y="10392"/>
                              <a:pt x="1136" y="10870"/>
                            </a:cubicBezTo>
                          </a:path>
                        </a:pathLst>
                      </a:custGeom>
                      <a:noFill/>
                      <a:ln w="6350" cap="flat">
                        <a:solidFill>
                          <a:schemeClr val="bg1">
                            <a:alpha val="40000"/>
                          </a:schemeClr>
                        </a:solidFill>
                        <a:prstDash val="solid"/>
                        <a:miter/>
                      </a:ln>
                    </p:spPr>
                    <p:txBody>
                      <a:bodyPr rtlCol="0" anchor="ctr"/>
                      <a:lstStyle/>
                      <a:p>
                        <a:endParaRPr lang="en-GB"/>
                      </a:p>
                    </p:txBody>
                  </p:sp>
                  <p:sp>
                    <p:nvSpPr>
                      <p:cNvPr id="7529" name="Vrije vorm: vorm 7528">
                        <a:extLst>
                          <a:ext uri="{FF2B5EF4-FFF2-40B4-BE49-F238E27FC236}">
                            <a16:creationId xmlns:a16="http://schemas.microsoft.com/office/drawing/2014/main" id="{667C9C47-374F-44E1-A79F-2DC6F910DAB8}"/>
                          </a:ext>
                        </a:extLst>
                      </p:cNvPr>
                      <p:cNvSpPr/>
                      <p:nvPr/>
                    </p:nvSpPr>
                    <p:spPr>
                      <a:xfrm>
                        <a:off x="4995118" y="5289390"/>
                        <a:ext cx="24745" cy="24248"/>
                      </a:xfrm>
                      <a:custGeom>
                        <a:avLst/>
                        <a:gdLst>
                          <a:gd name="connsiteX0" fmla="*/ 21112 w 24745"/>
                          <a:gd name="connsiteY0" fmla="*/ 17284 h 24248"/>
                          <a:gd name="connsiteX1" fmla="*/ 21889 w 24745"/>
                          <a:gd name="connsiteY1" fmla="*/ 17822 h 24248"/>
                          <a:gd name="connsiteX2" fmla="*/ 22368 w 24745"/>
                          <a:gd name="connsiteY2" fmla="*/ 17165 h 24248"/>
                          <a:gd name="connsiteX3" fmla="*/ 22787 w 24745"/>
                          <a:gd name="connsiteY3" fmla="*/ 16447 h 24248"/>
                          <a:gd name="connsiteX4" fmla="*/ 23145 w 24745"/>
                          <a:gd name="connsiteY4" fmla="*/ 15729 h 24248"/>
                          <a:gd name="connsiteX5" fmla="*/ 23504 w 24745"/>
                          <a:gd name="connsiteY5" fmla="*/ 15012 h 24248"/>
                          <a:gd name="connsiteX6" fmla="*/ 23624 w 24745"/>
                          <a:gd name="connsiteY6" fmla="*/ 14772 h 24248"/>
                          <a:gd name="connsiteX7" fmla="*/ 23743 w 24745"/>
                          <a:gd name="connsiteY7" fmla="*/ 14533 h 24248"/>
                          <a:gd name="connsiteX8" fmla="*/ 23863 w 24745"/>
                          <a:gd name="connsiteY8" fmla="*/ 14294 h 24248"/>
                          <a:gd name="connsiteX9" fmla="*/ 23983 w 24745"/>
                          <a:gd name="connsiteY9" fmla="*/ 14055 h 24248"/>
                          <a:gd name="connsiteX10" fmla="*/ 24461 w 24745"/>
                          <a:gd name="connsiteY10" fmla="*/ 12320 h 24248"/>
                          <a:gd name="connsiteX11" fmla="*/ 24700 w 24745"/>
                          <a:gd name="connsiteY11" fmla="*/ 10586 h 24248"/>
                          <a:gd name="connsiteX12" fmla="*/ 24700 w 24745"/>
                          <a:gd name="connsiteY12" fmla="*/ 8911 h 24248"/>
                          <a:gd name="connsiteX13" fmla="*/ 24461 w 24745"/>
                          <a:gd name="connsiteY13" fmla="*/ 7296 h 24248"/>
                          <a:gd name="connsiteX14" fmla="*/ 24342 w 24745"/>
                          <a:gd name="connsiteY14" fmla="*/ 6818 h 24248"/>
                          <a:gd name="connsiteX15" fmla="*/ 24222 w 24745"/>
                          <a:gd name="connsiteY15" fmla="*/ 6340 h 24248"/>
                          <a:gd name="connsiteX16" fmla="*/ 24043 w 24745"/>
                          <a:gd name="connsiteY16" fmla="*/ 5921 h 24248"/>
                          <a:gd name="connsiteX17" fmla="*/ 23863 w 24745"/>
                          <a:gd name="connsiteY17" fmla="*/ 5502 h 24248"/>
                          <a:gd name="connsiteX18" fmla="*/ 23265 w 24745"/>
                          <a:gd name="connsiteY18" fmla="*/ 4426 h 24248"/>
                          <a:gd name="connsiteX19" fmla="*/ 22547 w 24745"/>
                          <a:gd name="connsiteY19" fmla="*/ 3409 h 24248"/>
                          <a:gd name="connsiteX20" fmla="*/ 21710 w 24745"/>
                          <a:gd name="connsiteY20" fmla="*/ 2512 h 24248"/>
                          <a:gd name="connsiteX21" fmla="*/ 20693 w 24745"/>
                          <a:gd name="connsiteY21" fmla="*/ 1734 h 24248"/>
                          <a:gd name="connsiteX22" fmla="*/ 20275 w 24745"/>
                          <a:gd name="connsiteY22" fmla="*/ 1495 h 24248"/>
                          <a:gd name="connsiteX23" fmla="*/ 19856 w 24745"/>
                          <a:gd name="connsiteY23" fmla="*/ 1256 h 24248"/>
                          <a:gd name="connsiteX24" fmla="*/ 19437 w 24745"/>
                          <a:gd name="connsiteY24" fmla="*/ 1017 h 24248"/>
                          <a:gd name="connsiteX25" fmla="*/ 19019 w 24745"/>
                          <a:gd name="connsiteY25" fmla="*/ 837 h 24248"/>
                          <a:gd name="connsiteX26" fmla="*/ 18301 w 24745"/>
                          <a:gd name="connsiteY26" fmla="*/ 1794 h 24248"/>
                          <a:gd name="connsiteX27" fmla="*/ 18361 w 24745"/>
                          <a:gd name="connsiteY27" fmla="*/ 1794 h 24248"/>
                          <a:gd name="connsiteX28" fmla="*/ 18421 w 24745"/>
                          <a:gd name="connsiteY28" fmla="*/ 1794 h 24248"/>
                          <a:gd name="connsiteX29" fmla="*/ 18481 w 24745"/>
                          <a:gd name="connsiteY29" fmla="*/ 1794 h 24248"/>
                          <a:gd name="connsiteX30" fmla="*/ 18540 w 24745"/>
                          <a:gd name="connsiteY30" fmla="*/ 1794 h 24248"/>
                          <a:gd name="connsiteX31" fmla="*/ 18959 w 24745"/>
                          <a:gd name="connsiteY31" fmla="*/ 1974 h 24248"/>
                          <a:gd name="connsiteX32" fmla="*/ 19318 w 24745"/>
                          <a:gd name="connsiteY32" fmla="*/ 2153 h 24248"/>
                          <a:gd name="connsiteX33" fmla="*/ 19676 w 24745"/>
                          <a:gd name="connsiteY33" fmla="*/ 2333 h 24248"/>
                          <a:gd name="connsiteX34" fmla="*/ 20035 w 24745"/>
                          <a:gd name="connsiteY34" fmla="*/ 2572 h 24248"/>
                          <a:gd name="connsiteX35" fmla="*/ 20394 w 24745"/>
                          <a:gd name="connsiteY35" fmla="*/ 2811 h 24248"/>
                          <a:gd name="connsiteX36" fmla="*/ 20753 w 24745"/>
                          <a:gd name="connsiteY36" fmla="*/ 3050 h 24248"/>
                          <a:gd name="connsiteX37" fmla="*/ 21052 w 24745"/>
                          <a:gd name="connsiteY37" fmla="*/ 3349 h 24248"/>
                          <a:gd name="connsiteX38" fmla="*/ 21351 w 24745"/>
                          <a:gd name="connsiteY38" fmla="*/ 3648 h 24248"/>
                          <a:gd name="connsiteX39" fmla="*/ 21889 w 24745"/>
                          <a:gd name="connsiteY39" fmla="*/ 4246 h 24248"/>
                          <a:gd name="connsiteX40" fmla="*/ 22368 w 24745"/>
                          <a:gd name="connsiteY40" fmla="*/ 4844 h 24248"/>
                          <a:gd name="connsiteX41" fmla="*/ 22787 w 24745"/>
                          <a:gd name="connsiteY41" fmla="*/ 5502 h 24248"/>
                          <a:gd name="connsiteX42" fmla="*/ 23145 w 24745"/>
                          <a:gd name="connsiteY42" fmla="*/ 6160 h 24248"/>
                          <a:gd name="connsiteX43" fmla="*/ 23684 w 24745"/>
                          <a:gd name="connsiteY43" fmla="*/ 7835 h 24248"/>
                          <a:gd name="connsiteX44" fmla="*/ 23863 w 24745"/>
                          <a:gd name="connsiteY44" fmla="*/ 9629 h 24248"/>
                          <a:gd name="connsiteX45" fmla="*/ 23743 w 24745"/>
                          <a:gd name="connsiteY45" fmla="*/ 11483 h 24248"/>
                          <a:gd name="connsiteX46" fmla="*/ 23265 w 24745"/>
                          <a:gd name="connsiteY46" fmla="*/ 13397 h 24248"/>
                          <a:gd name="connsiteX47" fmla="*/ 23145 w 24745"/>
                          <a:gd name="connsiteY47" fmla="*/ 13636 h 24248"/>
                          <a:gd name="connsiteX48" fmla="*/ 23026 w 24745"/>
                          <a:gd name="connsiteY48" fmla="*/ 13875 h 24248"/>
                          <a:gd name="connsiteX49" fmla="*/ 22906 w 24745"/>
                          <a:gd name="connsiteY49" fmla="*/ 14114 h 24248"/>
                          <a:gd name="connsiteX50" fmla="*/ 22787 w 24745"/>
                          <a:gd name="connsiteY50" fmla="*/ 14354 h 24248"/>
                          <a:gd name="connsiteX51" fmla="*/ 22488 w 24745"/>
                          <a:gd name="connsiteY51" fmla="*/ 15072 h 24248"/>
                          <a:gd name="connsiteX52" fmla="*/ 22129 w 24745"/>
                          <a:gd name="connsiteY52" fmla="*/ 15789 h 24248"/>
                          <a:gd name="connsiteX53" fmla="*/ 21710 w 24745"/>
                          <a:gd name="connsiteY53" fmla="*/ 16507 h 24248"/>
                          <a:gd name="connsiteX54" fmla="*/ 21112 w 24745"/>
                          <a:gd name="connsiteY54" fmla="*/ 17284 h 24248"/>
                          <a:gd name="connsiteX55" fmla="*/ 3469 w 24745"/>
                          <a:gd name="connsiteY55" fmla="*/ 5622 h 24248"/>
                          <a:gd name="connsiteX56" fmla="*/ 4246 w 24745"/>
                          <a:gd name="connsiteY56" fmla="*/ 6160 h 24248"/>
                          <a:gd name="connsiteX57" fmla="*/ 4785 w 24745"/>
                          <a:gd name="connsiteY57" fmla="*/ 5502 h 24248"/>
                          <a:gd name="connsiteX58" fmla="*/ 5383 w 24745"/>
                          <a:gd name="connsiteY58" fmla="*/ 4904 h 24248"/>
                          <a:gd name="connsiteX59" fmla="*/ 5981 w 24745"/>
                          <a:gd name="connsiteY59" fmla="*/ 4366 h 24248"/>
                          <a:gd name="connsiteX60" fmla="*/ 6639 w 24745"/>
                          <a:gd name="connsiteY60" fmla="*/ 3828 h 24248"/>
                          <a:gd name="connsiteX61" fmla="*/ 6878 w 24745"/>
                          <a:gd name="connsiteY61" fmla="*/ 3648 h 24248"/>
                          <a:gd name="connsiteX62" fmla="*/ 7117 w 24745"/>
                          <a:gd name="connsiteY62" fmla="*/ 3469 h 24248"/>
                          <a:gd name="connsiteX63" fmla="*/ 7356 w 24745"/>
                          <a:gd name="connsiteY63" fmla="*/ 3289 h 24248"/>
                          <a:gd name="connsiteX64" fmla="*/ 7596 w 24745"/>
                          <a:gd name="connsiteY64" fmla="*/ 3110 h 24248"/>
                          <a:gd name="connsiteX65" fmla="*/ 9450 w 24745"/>
                          <a:gd name="connsiteY65" fmla="*/ 2093 h 24248"/>
                          <a:gd name="connsiteX66" fmla="*/ 11364 w 24745"/>
                          <a:gd name="connsiteY66" fmla="*/ 1375 h 24248"/>
                          <a:gd name="connsiteX67" fmla="*/ 13337 w 24745"/>
                          <a:gd name="connsiteY67" fmla="*/ 1017 h 24248"/>
                          <a:gd name="connsiteX68" fmla="*/ 15251 w 24745"/>
                          <a:gd name="connsiteY68" fmla="*/ 957 h 24248"/>
                          <a:gd name="connsiteX69" fmla="*/ 15789 w 24745"/>
                          <a:gd name="connsiteY69" fmla="*/ 1017 h 24248"/>
                          <a:gd name="connsiteX70" fmla="*/ 16267 w 24745"/>
                          <a:gd name="connsiteY70" fmla="*/ 1076 h 24248"/>
                          <a:gd name="connsiteX71" fmla="*/ 16746 w 24745"/>
                          <a:gd name="connsiteY71" fmla="*/ 1196 h 24248"/>
                          <a:gd name="connsiteX72" fmla="*/ 17225 w 24745"/>
                          <a:gd name="connsiteY72" fmla="*/ 1316 h 24248"/>
                          <a:gd name="connsiteX73" fmla="*/ 18002 w 24745"/>
                          <a:gd name="connsiteY73" fmla="*/ 359 h 24248"/>
                          <a:gd name="connsiteX74" fmla="*/ 17464 w 24745"/>
                          <a:gd name="connsiteY74" fmla="*/ 239 h 24248"/>
                          <a:gd name="connsiteX75" fmla="*/ 16926 w 24745"/>
                          <a:gd name="connsiteY75" fmla="*/ 120 h 24248"/>
                          <a:gd name="connsiteX76" fmla="*/ 16387 w 24745"/>
                          <a:gd name="connsiteY76" fmla="*/ 60 h 24248"/>
                          <a:gd name="connsiteX77" fmla="*/ 15849 w 24745"/>
                          <a:gd name="connsiteY77" fmla="*/ 0 h 24248"/>
                          <a:gd name="connsiteX78" fmla="*/ 15311 w 24745"/>
                          <a:gd name="connsiteY78" fmla="*/ 0 h 24248"/>
                          <a:gd name="connsiteX79" fmla="*/ 14772 w 24745"/>
                          <a:gd name="connsiteY79" fmla="*/ 0 h 24248"/>
                          <a:gd name="connsiteX80" fmla="*/ 14234 w 24745"/>
                          <a:gd name="connsiteY80" fmla="*/ 0 h 24248"/>
                          <a:gd name="connsiteX81" fmla="*/ 13696 w 24745"/>
                          <a:gd name="connsiteY81" fmla="*/ 60 h 24248"/>
                          <a:gd name="connsiteX82" fmla="*/ 11902 w 24745"/>
                          <a:gd name="connsiteY82" fmla="*/ 359 h 24248"/>
                          <a:gd name="connsiteX83" fmla="*/ 10107 w 24745"/>
                          <a:gd name="connsiteY83" fmla="*/ 897 h 24248"/>
                          <a:gd name="connsiteX84" fmla="*/ 8373 w 24745"/>
                          <a:gd name="connsiteY84" fmla="*/ 1674 h 24248"/>
                          <a:gd name="connsiteX85" fmla="*/ 6698 w 24745"/>
                          <a:gd name="connsiteY85" fmla="*/ 2691 h 24248"/>
                          <a:gd name="connsiteX86" fmla="*/ 6459 w 24745"/>
                          <a:gd name="connsiteY86" fmla="*/ 2871 h 24248"/>
                          <a:gd name="connsiteX87" fmla="*/ 6220 w 24745"/>
                          <a:gd name="connsiteY87" fmla="*/ 3050 h 24248"/>
                          <a:gd name="connsiteX88" fmla="*/ 5981 w 24745"/>
                          <a:gd name="connsiteY88" fmla="*/ 3229 h 24248"/>
                          <a:gd name="connsiteX89" fmla="*/ 5742 w 24745"/>
                          <a:gd name="connsiteY89" fmla="*/ 3409 h 24248"/>
                          <a:gd name="connsiteX90" fmla="*/ 5083 w 24745"/>
                          <a:gd name="connsiteY90" fmla="*/ 3947 h 24248"/>
                          <a:gd name="connsiteX91" fmla="*/ 4486 w 24745"/>
                          <a:gd name="connsiteY91" fmla="*/ 4486 h 24248"/>
                          <a:gd name="connsiteX92" fmla="*/ 3888 w 24745"/>
                          <a:gd name="connsiteY92" fmla="*/ 5083 h 24248"/>
                          <a:gd name="connsiteX93" fmla="*/ 3469 w 24745"/>
                          <a:gd name="connsiteY93" fmla="*/ 5622 h 24248"/>
                          <a:gd name="connsiteX94" fmla="*/ 14832 w 24745"/>
                          <a:gd name="connsiteY94" fmla="*/ 22248 h 24248"/>
                          <a:gd name="connsiteX95" fmla="*/ 15789 w 24745"/>
                          <a:gd name="connsiteY95" fmla="*/ 22906 h 24248"/>
                          <a:gd name="connsiteX96" fmla="*/ 17225 w 24745"/>
                          <a:gd name="connsiteY96" fmla="*/ 22129 h 24248"/>
                          <a:gd name="connsiteX97" fmla="*/ 18600 w 24745"/>
                          <a:gd name="connsiteY97" fmla="*/ 21172 h 24248"/>
                          <a:gd name="connsiteX98" fmla="*/ 19916 w 24745"/>
                          <a:gd name="connsiteY98" fmla="*/ 20035 h 24248"/>
                          <a:gd name="connsiteX99" fmla="*/ 21112 w 24745"/>
                          <a:gd name="connsiteY99" fmla="*/ 18780 h 24248"/>
                          <a:gd name="connsiteX100" fmla="*/ 20335 w 24745"/>
                          <a:gd name="connsiteY100" fmla="*/ 18241 h 24248"/>
                          <a:gd name="connsiteX101" fmla="*/ 19079 w 24745"/>
                          <a:gd name="connsiteY101" fmla="*/ 19497 h 24248"/>
                          <a:gd name="connsiteX102" fmla="*/ 17703 w 24745"/>
                          <a:gd name="connsiteY102" fmla="*/ 20574 h 24248"/>
                          <a:gd name="connsiteX103" fmla="*/ 16267 w 24745"/>
                          <a:gd name="connsiteY103" fmla="*/ 21471 h 24248"/>
                          <a:gd name="connsiteX104" fmla="*/ 14832 w 24745"/>
                          <a:gd name="connsiteY104" fmla="*/ 22248 h 24248"/>
                          <a:gd name="connsiteX105" fmla="*/ 120 w 24745"/>
                          <a:gd name="connsiteY105" fmla="*/ 12559 h 24248"/>
                          <a:gd name="connsiteX106" fmla="*/ 1076 w 24745"/>
                          <a:gd name="connsiteY106" fmla="*/ 13217 h 24248"/>
                          <a:gd name="connsiteX107" fmla="*/ 1375 w 24745"/>
                          <a:gd name="connsiteY107" fmla="*/ 11662 h 24248"/>
                          <a:gd name="connsiteX108" fmla="*/ 1854 w 24745"/>
                          <a:gd name="connsiteY108" fmla="*/ 10107 h 24248"/>
                          <a:gd name="connsiteX109" fmla="*/ 2572 w 24745"/>
                          <a:gd name="connsiteY109" fmla="*/ 8552 h 24248"/>
                          <a:gd name="connsiteX110" fmla="*/ 3529 w 24745"/>
                          <a:gd name="connsiteY110" fmla="*/ 7057 h 24248"/>
                          <a:gd name="connsiteX111" fmla="*/ 2751 w 24745"/>
                          <a:gd name="connsiteY111" fmla="*/ 6519 h 24248"/>
                          <a:gd name="connsiteX112" fmla="*/ 1794 w 24745"/>
                          <a:gd name="connsiteY112" fmla="*/ 8014 h 24248"/>
                          <a:gd name="connsiteX113" fmla="*/ 1017 w 24745"/>
                          <a:gd name="connsiteY113" fmla="*/ 9509 h 24248"/>
                          <a:gd name="connsiteX114" fmla="*/ 479 w 24745"/>
                          <a:gd name="connsiteY114" fmla="*/ 11064 h 24248"/>
                          <a:gd name="connsiteX115" fmla="*/ 120 w 24745"/>
                          <a:gd name="connsiteY115" fmla="*/ 12559 h 24248"/>
                          <a:gd name="connsiteX116" fmla="*/ 10586 w 24745"/>
                          <a:gd name="connsiteY116" fmla="*/ 23265 h 24248"/>
                          <a:gd name="connsiteX117" fmla="*/ 11961 w 24745"/>
                          <a:gd name="connsiteY117" fmla="*/ 24162 h 24248"/>
                          <a:gd name="connsiteX118" fmla="*/ 12619 w 24745"/>
                          <a:gd name="connsiteY118" fmla="*/ 24043 h 24248"/>
                          <a:gd name="connsiteX119" fmla="*/ 13277 w 24745"/>
                          <a:gd name="connsiteY119" fmla="*/ 23863 h 24248"/>
                          <a:gd name="connsiteX120" fmla="*/ 13935 w 24745"/>
                          <a:gd name="connsiteY120" fmla="*/ 23683 h 24248"/>
                          <a:gd name="connsiteX121" fmla="*/ 14593 w 24745"/>
                          <a:gd name="connsiteY121" fmla="*/ 23444 h 24248"/>
                          <a:gd name="connsiteX122" fmla="*/ 13516 w 24745"/>
                          <a:gd name="connsiteY122" fmla="*/ 22727 h 24248"/>
                          <a:gd name="connsiteX123" fmla="*/ 12799 w 24745"/>
                          <a:gd name="connsiteY123" fmla="*/ 22906 h 24248"/>
                          <a:gd name="connsiteX124" fmla="*/ 12081 w 24745"/>
                          <a:gd name="connsiteY124" fmla="*/ 23026 h 24248"/>
                          <a:gd name="connsiteX125" fmla="*/ 11364 w 24745"/>
                          <a:gd name="connsiteY125" fmla="*/ 23145 h 24248"/>
                          <a:gd name="connsiteX126" fmla="*/ 10586 w 24745"/>
                          <a:gd name="connsiteY126" fmla="*/ 23265 h 24248"/>
                          <a:gd name="connsiteX127" fmla="*/ 60 w 24745"/>
                          <a:gd name="connsiteY127" fmla="*/ 16387 h 24248"/>
                          <a:gd name="connsiteX128" fmla="*/ 1435 w 24745"/>
                          <a:gd name="connsiteY128" fmla="*/ 17284 h 24248"/>
                          <a:gd name="connsiteX129" fmla="*/ 1256 w 24745"/>
                          <a:gd name="connsiteY129" fmla="*/ 16626 h 24248"/>
                          <a:gd name="connsiteX130" fmla="*/ 1136 w 24745"/>
                          <a:gd name="connsiteY130" fmla="*/ 15968 h 24248"/>
                          <a:gd name="connsiteX131" fmla="*/ 1076 w 24745"/>
                          <a:gd name="connsiteY131" fmla="*/ 15311 h 24248"/>
                          <a:gd name="connsiteX132" fmla="*/ 1017 w 24745"/>
                          <a:gd name="connsiteY132" fmla="*/ 14593 h 24248"/>
                          <a:gd name="connsiteX133" fmla="*/ 0 w 24745"/>
                          <a:gd name="connsiteY133" fmla="*/ 13935 h 24248"/>
                          <a:gd name="connsiteX134" fmla="*/ 0 w 24745"/>
                          <a:gd name="connsiteY134" fmla="*/ 14593 h 24248"/>
                          <a:gd name="connsiteX135" fmla="*/ 0 w 24745"/>
                          <a:gd name="connsiteY135" fmla="*/ 15251 h 24248"/>
                          <a:gd name="connsiteX136" fmla="*/ 60 w 24745"/>
                          <a:gd name="connsiteY136" fmla="*/ 15849 h 24248"/>
                          <a:gd name="connsiteX137" fmla="*/ 60 w 24745"/>
                          <a:gd name="connsiteY137" fmla="*/ 16387 h 24248"/>
                          <a:gd name="connsiteX138" fmla="*/ 2691 w 24745"/>
                          <a:gd name="connsiteY138" fmla="*/ 21590 h 24248"/>
                          <a:gd name="connsiteX139" fmla="*/ 5682 w 24745"/>
                          <a:gd name="connsiteY139" fmla="*/ 23504 h 24248"/>
                          <a:gd name="connsiteX140" fmla="*/ 6758 w 24745"/>
                          <a:gd name="connsiteY140" fmla="*/ 23863 h 24248"/>
                          <a:gd name="connsiteX141" fmla="*/ 7835 w 24745"/>
                          <a:gd name="connsiteY141" fmla="*/ 24102 h 24248"/>
                          <a:gd name="connsiteX142" fmla="*/ 8971 w 24745"/>
                          <a:gd name="connsiteY142" fmla="*/ 24222 h 24248"/>
                          <a:gd name="connsiteX143" fmla="*/ 10107 w 24745"/>
                          <a:gd name="connsiteY143" fmla="*/ 24222 h 24248"/>
                          <a:gd name="connsiteX144" fmla="*/ 8253 w 24745"/>
                          <a:gd name="connsiteY144" fmla="*/ 23026 h 24248"/>
                          <a:gd name="connsiteX145" fmla="*/ 7356 w 24745"/>
                          <a:gd name="connsiteY145" fmla="*/ 22846 h 24248"/>
                          <a:gd name="connsiteX146" fmla="*/ 6459 w 24745"/>
                          <a:gd name="connsiteY146" fmla="*/ 22547 h 24248"/>
                          <a:gd name="connsiteX147" fmla="*/ 5622 w 24745"/>
                          <a:gd name="connsiteY147" fmla="*/ 22188 h 24248"/>
                          <a:gd name="connsiteX148" fmla="*/ 4785 w 24745"/>
                          <a:gd name="connsiteY148" fmla="*/ 21710 h 24248"/>
                          <a:gd name="connsiteX149" fmla="*/ 4067 w 24745"/>
                          <a:gd name="connsiteY149" fmla="*/ 21172 h 24248"/>
                          <a:gd name="connsiteX150" fmla="*/ 3409 w 24745"/>
                          <a:gd name="connsiteY150" fmla="*/ 20574 h 24248"/>
                          <a:gd name="connsiteX151" fmla="*/ 2811 w 24745"/>
                          <a:gd name="connsiteY151" fmla="*/ 19916 h 24248"/>
                          <a:gd name="connsiteX152" fmla="*/ 2333 w 24745"/>
                          <a:gd name="connsiteY152" fmla="*/ 19198 h 24248"/>
                          <a:gd name="connsiteX153" fmla="*/ 479 w 24745"/>
                          <a:gd name="connsiteY153" fmla="*/ 18002 h 24248"/>
                          <a:gd name="connsiteX154" fmla="*/ 897 w 24745"/>
                          <a:gd name="connsiteY154" fmla="*/ 18959 h 24248"/>
                          <a:gd name="connsiteX155" fmla="*/ 1375 w 24745"/>
                          <a:gd name="connsiteY155" fmla="*/ 19916 h 24248"/>
                          <a:gd name="connsiteX156" fmla="*/ 1974 w 24745"/>
                          <a:gd name="connsiteY156" fmla="*/ 20753 h 24248"/>
                          <a:gd name="connsiteX157" fmla="*/ 2691 w 24745"/>
                          <a:gd name="connsiteY157" fmla="*/ 21590 h 2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24745" h="24248">
                            <a:moveTo>
                              <a:pt x="21112" y="17284"/>
                            </a:moveTo>
                            <a:lnTo>
                              <a:pt x="21889" y="17822"/>
                            </a:lnTo>
                            <a:cubicBezTo>
                              <a:pt x="22069" y="17583"/>
                              <a:pt x="22189" y="17344"/>
                              <a:pt x="22368" y="17165"/>
                            </a:cubicBezTo>
                            <a:cubicBezTo>
                              <a:pt x="22547" y="16985"/>
                              <a:pt x="22667" y="16686"/>
                              <a:pt x="22787" y="16447"/>
                            </a:cubicBezTo>
                            <a:cubicBezTo>
                              <a:pt x="22906" y="16208"/>
                              <a:pt x="23026" y="15968"/>
                              <a:pt x="23145" y="15729"/>
                            </a:cubicBezTo>
                            <a:cubicBezTo>
                              <a:pt x="23265" y="15490"/>
                              <a:pt x="23384" y="15251"/>
                              <a:pt x="23504" y="15012"/>
                            </a:cubicBezTo>
                            <a:cubicBezTo>
                              <a:pt x="23564" y="14952"/>
                              <a:pt x="23564" y="14832"/>
                              <a:pt x="23624" y="14772"/>
                            </a:cubicBezTo>
                            <a:cubicBezTo>
                              <a:pt x="23684" y="14712"/>
                              <a:pt x="23684" y="14593"/>
                              <a:pt x="23743" y="14533"/>
                            </a:cubicBezTo>
                            <a:cubicBezTo>
                              <a:pt x="23803" y="14473"/>
                              <a:pt x="23803" y="14354"/>
                              <a:pt x="23863" y="14294"/>
                            </a:cubicBezTo>
                            <a:cubicBezTo>
                              <a:pt x="23923" y="14234"/>
                              <a:pt x="23923" y="14114"/>
                              <a:pt x="23983" y="14055"/>
                            </a:cubicBezTo>
                            <a:cubicBezTo>
                              <a:pt x="24222" y="13457"/>
                              <a:pt x="24342" y="12858"/>
                              <a:pt x="24461" y="12320"/>
                            </a:cubicBezTo>
                            <a:cubicBezTo>
                              <a:pt x="24581" y="11722"/>
                              <a:pt x="24700" y="11184"/>
                              <a:pt x="24700" y="10586"/>
                            </a:cubicBezTo>
                            <a:cubicBezTo>
                              <a:pt x="24760" y="9988"/>
                              <a:pt x="24760" y="9450"/>
                              <a:pt x="24700" y="8911"/>
                            </a:cubicBezTo>
                            <a:cubicBezTo>
                              <a:pt x="24641" y="8373"/>
                              <a:pt x="24581" y="7835"/>
                              <a:pt x="24461" y="7296"/>
                            </a:cubicBezTo>
                            <a:cubicBezTo>
                              <a:pt x="24401" y="7117"/>
                              <a:pt x="24401" y="6997"/>
                              <a:pt x="24342" y="6818"/>
                            </a:cubicBezTo>
                            <a:cubicBezTo>
                              <a:pt x="24282" y="6639"/>
                              <a:pt x="24222" y="6519"/>
                              <a:pt x="24222" y="6340"/>
                            </a:cubicBezTo>
                            <a:cubicBezTo>
                              <a:pt x="24222" y="6160"/>
                              <a:pt x="24102" y="6041"/>
                              <a:pt x="24043" y="5921"/>
                            </a:cubicBezTo>
                            <a:cubicBezTo>
                              <a:pt x="23983" y="5801"/>
                              <a:pt x="23923" y="5622"/>
                              <a:pt x="23863" y="5502"/>
                            </a:cubicBezTo>
                            <a:cubicBezTo>
                              <a:pt x="23684" y="5143"/>
                              <a:pt x="23504" y="4785"/>
                              <a:pt x="23265" y="4426"/>
                            </a:cubicBezTo>
                            <a:cubicBezTo>
                              <a:pt x="23026" y="4067"/>
                              <a:pt x="22787" y="3768"/>
                              <a:pt x="22547" y="3409"/>
                            </a:cubicBezTo>
                            <a:cubicBezTo>
                              <a:pt x="22308" y="3110"/>
                              <a:pt x="22009" y="2811"/>
                              <a:pt x="21710" y="2512"/>
                            </a:cubicBezTo>
                            <a:cubicBezTo>
                              <a:pt x="21411" y="2213"/>
                              <a:pt x="21052" y="1974"/>
                              <a:pt x="20693" y="1734"/>
                            </a:cubicBezTo>
                            <a:cubicBezTo>
                              <a:pt x="20574" y="1674"/>
                              <a:pt x="20454" y="1555"/>
                              <a:pt x="20275" y="1495"/>
                            </a:cubicBezTo>
                            <a:cubicBezTo>
                              <a:pt x="20155" y="1435"/>
                              <a:pt x="19976" y="1316"/>
                              <a:pt x="19856" y="1256"/>
                            </a:cubicBezTo>
                            <a:cubicBezTo>
                              <a:pt x="19736" y="1196"/>
                              <a:pt x="19557" y="1136"/>
                              <a:pt x="19437" y="1017"/>
                            </a:cubicBezTo>
                            <a:cubicBezTo>
                              <a:pt x="19318" y="957"/>
                              <a:pt x="19138" y="897"/>
                              <a:pt x="19019" y="837"/>
                            </a:cubicBezTo>
                            <a:lnTo>
                              <a:pt x="18301" y="1794"/>
                            </a:lnTo>
                            <a:cubicBezTo>
                              <a:pt x="18301" y="1794"/>
                              <a:pt x="18301" y="1794"/>
                              <a:pt x="18361" y="1794"/>
                            </a:cubicBezTo>
                            <a:cubicBezTo>
                              <a:pt x="18361" y="1794"/>
                              <a:pt x="18361" y="1794"/>
                              <a:pt x="18421" y="1794"/>
                            </a:cubicBezTo>
                            <a:cubicBezTo>
                              <a:pt x="18421" y="1794"/>
                              <a:pt x="18421" y="1794"/>
                              <a:pt x="18481" y="1794"/>
                            </a:cubicBezTo>
                            <a:cubicBezTo>
                              <a:pt x="18481" y="1794"/>
                              <a:pt x="18481" y="1794"/>
                              <a:pt x="18540" y="1794"/>
                            </a:cubicBezTo>
                            <a:cubicBezTo>
                              <a:pt x="18660" y="1854"/>
                              <a:pt x="18780" y="1914"/>
                              <a:pt x="18959" y="1974"/>
                            </a:cubicBezTo>
                            <a:cubicBezTo>
                              <a:pt x="19079" y="2033"/>
                              <a:pt x="19198" y="2093"/>
                              <a:pt x="19318" y="2153"/>
                            </a:cubicBezTo>
                            <a:cubicBezTo>
                              <a:pt x="19437" y="2213"/>
                              <a:pt x="19557" y="2273"/>
                              <a:pt x="19676" y="2333"/>
                            </a:cubicBezTo>
                            <a:cubicBezTo>
                              <a:pt x="19796" y="2392"/>
                              <a:pt x="19916" y="2452"/>
                              <a:pt x="20035" y="2572"/>
                            </a:cubicBezTo>
                            <a:cubicBezTo>
                              <a:pt x="20155" y="2632"/>
                              <a:pt x="20275" y="2751"/>
                              <a:pt x="20394" y="2811"/>
                            </a:cubicBezTo>
                            <a:cubicBezTo>
                              <a:pt x="20514" y="2871"/>
                              <a:pt x="20634" y="2990"/>
                              <a:pt x="20753" y="3050"/>
                            </a:cubicBezTo>
                            <a:cubicBezTo>
                              <a:pt x="20873" y="3170"/>
                              <a:pt x="20992" y="3229"/>
                              <a:pt x="21052" y="3349"/>
                            </a:cubicBezTo>
                            <a:cubicBezTo>
                              <a:pt x="21112" y="3469"/>
                              <a:pt x="21231" y="3528"/>
                              <a:pt x="21351" y="3648"/>
                            </a:cubicBezTo>
                            <a:cubicBezTo>
                              <a:pt x="21530" y="3828"/>
                              <a:pt x="21710" y="4007"/>
                              <a:pt x="21889" y="4246"/>
                            </a:cubicBezTo>
                            <a:cubicBezTo>
                              <a:pt x="22069" y="4426"/>
                              <a:pt x="22189" y="4665"/>
                              <a:pt x="22368" y="4844"/>
                            </a:cubicBezTo>
                            <a:cubicBezTo>
                              <a:pt x="22488" y="5083"/>
                              <a:pt x="22667" y="5263"/>
                              <a:pt x="22787" y="5502"/>
                            </a:cubicBezTo>
                            <a:cubicBezTo>
                              <a:pt x="22906" y="5741"/>
                              <a:pt x="23026" y="5981"/>
                              <a:pt x="23145" y="6160"/>
                            </a:cubicBezTo>
                            <a:cubicBezTo>
                              <a:pt x="23384" y="6698"/>
                              <a:pt x="23564" y="7236"/>
                              <a:pt x="23684" y="7835"/>
                            </a:cubicBezTo>
                            <a:cubicBezTo>
                              <a:pt x="23803" y="8433"/>
                              <a:pt x="23863" y="9031"/>
                              <a:pt x="23863" y="9629"/>
                            </a:cubicBezTo>
                            <a:cubicBezTo>
                              <a:pt x="23863" y="10227"/>
                              <a:pt x="23863" y="10885"/>
                              <a:pt x="23743" y="11483"/>
                            </a:cubicBezTo>
                            <a:cubicBezTo>
                              <a:pt x="23624" y="12141"/>
                              <a:pt x="23504" y="12739"/>
                              <a:pt x="23265" y="13397"/>
                            </a:cubicBezTo>
                            <a:cubicBezTo>
                              <a:pt x="23265" y="13516"/>
                              <a:pt x="23205" y="13576"/>
                              <a:pt x="23145" y="13636"/>
                            </a:cubicBezTo>
                            <a:cubicBezTo>
                              <a:pt x="23086" y="13696"/>
                              <a:pt x="23086" y="13815"/>
                              <a:pt x="23026" y="13875"/>
                            </a:cubicBezTo>
                            <a:cubicBezTo>
                              <a:pt x="22966" y="13935"/>
                              <a:pt x="22966" y="14055"/>
                              <a:pt x="22906" y="14114"/>
                            </a:cubicBezTo>
                            <a:cubicBezTo>
                              <a:pt x="22846" y="14174"/>
                              <a:pt x="22846" y="14294"/>
                              <a:pt x="22787" y="14354"/>
                            </a:cubicBezTo>
                            <a:cubicBezTo>
                              <a:pt x="22667" y="14593"/>
                              <a:pt x="22547" y="14832"/>
                              <a:pt x="22488" y="15072"/>
                            </a:cubicBezTo>
                            <a:cubicBezTo>
                              <a:pt x="22368" y="15311"/>
                              <a:pt x="22248" y="15550"/>
                              <a:pt x="22129" y="15789"/>
                            </a:cubicBezTo>
                            <a:cubicBezTo>
                              <a:pt x="22009" y="16028"/>
                              <a:pt x="21830" y="16267"/>
                              <a:pt x="21710" y="16507"/>
                            </a:cubicBezTo>
                            <a:cubicBezTo>
                              <a:pt x="21590" y="16746"/>
                              <a:pt x="21291" y="17105"/>
                              <a:pt x="21112" y="17284"/>
                            </a:cubicBezTo>
                            <a:moveTo>
                              <a:pt x="3469" y="5622"/>
                            </a:moveTo>
                            <a:lnTo>
                              <a:pt x="4246" y="6160"/>
                            </a:lnTo>
                            <a:cubicBezTo>
                              <a:pt x="4426" y="5921"/>
                              <a:pt x="4605" y="5741"/>
                              <a:pt x="4785" y="5502"/>
                            </a:cubicBezTo>
                            <a:cubicBezTo>
                              <a:pt x="4964" y="5323"/>
                              <a:pt x="5203" y="5083"/>
                              <a:pt x="5383" y="4904"/>
                            </a:cubicBezTo>
                            <a:cubicBezTo>
                              <a:pt x="5562" y="4725"/>
                              <a:pt x="5801" y="4545"/>
                              <a:pt x="5981" y="4366"/>
                            </a:cubicBezTo>
                            <a:cubicBezTo>
                              <a:pt x="6160" y="4187"/>
                              <a:pt x="6399" y="4007"/>
                              <a:pt x="6639" y="3828"/>
                            </a:cubicBezTo>
                            <a:cubicBezTo>
                              <a:pt x="6698" y="3768"/>
                              <a:pt x="6818" y="3708"/>
                              <a:pt x="6878" y="3648"/>
                            </a:cubicBezTo>
                            <a:cubicBezTo>
                              <a:pt x="6937" y="3588"/>
                              <a:pt x="7057" y="3528"/>
                              <a:pt x="7117" y="3469"/>
                            </a:cubicBezTo>
                            <a:cubicBezTo>
                              <a:pt x="7177" y="3409"/>
                              <a:pt x="7296" y="3349"/>
                              <a:pt x="7356" y="3289"/>
                            </a:cubicBezTo>
                            <a:cubicBezTo>
                              <a:pt x="7416" y="3229"/>
                              <a:pt x="7536" y="3170"/>
                              <a:pt x="7596" y="3110"/>
                            </a:cubicBezTo>
                            <a:cubicBezTo>
                              <a:pt x="8194" y="2751"/>
                              <a:pt x="8791" y="2392"/>
                              <a:pt x="9450" y="2093"/>
                            </a:cubicBezTo>
                            <a:cubicBezTo>
                              <a:pt x="10107" y="1794"/>
                              <a:pt x="10705" y="1555"/>
                              <a:pt x="11364" y="1375"/>
                            </a:cubicBezTo>
                            <a:cubicBezTo>
                              <a:pt x="12021" y="1196"/>
                              <a:pt x="12679" y="1076"/>
                              <a:pt x="13337" y="1017"/>
                            </a:cubicBezTo>
                            <a:cubicBezTo>
                              <a:pt x="13995" y="957"/>
                              <a:pt x="14653" y="897"/>
                              <a:pt x="15251" y="957"/>
                            </a:cubicBezTo>
                            <a:cubicBezTo>
                              <a:pt x="15430" y="957"/>
                              <a:pt x="15610" y="957"/>
                              <a:pt x="15789" y="1017"/>
                            </a:cubicBezTo>
                            <a:cubicBezTo>
                              <a:pt x="15968" y="1076"/>
                              <a:pt x="16148" y="1076"/>
                              <a:pt x="16267" y="1076"/>
                            </a:cubicBezTo>
                            <a:cubicBezTo>
                              <a:pt x="16447" y="1076"/>
                              <a:pt x="16627" y="1136"/>
                              <a:pt x="16746" y="1196"/>
                            </a:cubicBezTo>
                            <a:cubicBezTo>
                              <a:pt x="16926" y="1256"/>
                              <a:pt x="17045" y="1256"/>
                              <a:pt x="17225" y="1316"/>
                            </a:cubicBezTo>
                            <a:lnTo>
                              <a:pt x="18002" y="359"/>
                            </a:lnTo>
                            <a:cubicBezTo>
                              <a:pt x="17822" y="299"/>
                              <a:pt x="17643" y="239"/>
                              <a:pt x="17464" y="239"/>
                            </a:cubicBezTo>
                            <a:cubicBezTo>
                              <a:pt x="17284" y="239"/>
                              <a:pt x="17105" y="179"/>
                              <a:pt x="16926" y="120"/>
                            </a:cubicBezTo>
                            <a:cubicBezTo>
                              <a:pt x="16746" y="60"/>
                              <a:pt x="16567" y="60"/>
                              <a:pt x="16387" y="60"/>
                            </a:cubicBezTo>
                            <a:cubicBezTo>
                              <a:pt x="16208" y="60"/>
                              <a:pt x="16028" y="0"/>
                              <a:pt x="15849" y="0"/>
                            </a:cubicBezTo>
                            <a:cubicBezTo>
                              <a:pt x="15669" y="0"/>
                              <a:pt x="15490" y="0"/>
                              <a:pt x="15311" y="0"/>
                            </a:cubicBezTo>
                            <a:cubicBezTo>
                              <a:pt x="15131" y="0"/>
                              <a:pt x="14952" y="0"/>
                              <a:pt x="14772" y="0"/>
                            </a:cubicBezTo>
                            <a:cubicBezTo>
                              <a:pt x="14593" y="0"/>
                              <a:pt x="14413" y="0"/>
                              <a:pt x="14234" y="0"/>
                            </a:cubicBezTo>
                            <a:cubicBezTo>
                              <a:pt x="14055" y="0"/>
                              <a:pt x="13875" y="0"/>
                              <a:pt x="13696" y="60"/>
                            </a:cubicBezTo>
                            <a:cubicBezTo>
                              <a:pt x="13098" y="120"/>
                              <a:pt x="12500" y="179"/>
                              <a:pt x="11902" y="359"/>
                            </a:cubicBezTo>
                            <a:cubicBezTo>
                              <a:pt x="11304" y="479"/>
                              <a:pt x="10705" y="658"/>
                              <a:pt x="10107" y="897"/>
                            </a:cubicBezTo>
                            <a:cubicBezTo>
                              <a:pt x="9510" y="1136"/>
                              <a:pt x="8911" y="1375"/>
                              <a:pt x="8373" y="1674"/>
                            </a:cubicBezTo>
                            <a:cubicBezTo>
                              <a:pt x="7775" y="1974"/>
                              <a:pt x="7237" y="2273"/>
                              <a:pt x="6698" y="2691"/>
                            </a:cubicBezTo>
                            <a:cubicBezTo>
                              <a:pt x="6639" y="2751"/>
                              <a:pt x="6519" y="2811"/>
                              <a:pt x="6459" y="2871"/>
                            </a:cubicBezTo>
                            <a:cubicBezTo>
                              <a:pt x="6399" y="2930"/>
                              <a:pt x="6280" y="2990"/>
                              <a:pt x="6220" y="3050"/>
                            </a:cubicBezTo>
                            <a:cubicBezTo>
                              <a:pt x="6160" y="3110"/>
                              <a:pt x="6041" y="3170"/>
                              <a:pt x="5981" y="3229"/>
                            </a:cubicBezTo>
                            <a:cubicBezTo>
                              <a:pt x="5921" y="3289"/>
                              <a:pt x="5801" y="3349"/>
                              <a:pt x="5742" y="3409"/>
                            </a:cubicBezTo>
                            <a:cubicBezTo>
                              <a:pt x="5502" y="3588"/>
                              <a:pt x="5323" y="3768"/>
                              <a:pt x="5083" y="3947"/>
                            </a:cubicBezTo>
                            <a:cubicBezTo>
                              <a:pt x="4904" y="4127"/>
                              <a:pt x="4665" y="4306"/>
                              <a:pt x="4486" y="4486"/>
                            </a:cubicBezTo>
                            <a:cubicBezTo>
                              <a:pt x="4306" y="4665"/>
                              <a:pt x="4067" y="4904"/>
                              <a:pt x="3888" y="5083"/>
                            </a:cubicBezTo>
                            <a:cubicBezTo>
                              <a:pt x="3828" y="5203"/>
                              <a:pt x="3648" y="5382"/>
                              <a:pt x="3469" y="5622"/>
                            </a:cubicBezTo>
                            <a:moveTo>
                              <a:pt x="14832" y="22248"/>
                            </a:moveTo>
                            <a:lnTo>
                              <a:pt x="15789" y="22906"/>
                            </a:lnTo>
                            <a:cubicBezTo>
                              <a:pt x="16267" y="22667"/>
                              <a:pt x="16746" y="22428"/>
                              <a:pt x="17225" y="22129"/>
                            </a:cubicBezTo>
                            <a:cubicBezTo>
                              <a:pt x="17703" y="21829"/>
                              <a:pt x="18181" y="21530"/>
                              <a:pt x="18600" y="21172"/>
                            </a:cubicBezTo>
                            <a:cubicBezTo>
                              <a:pt x="19079" y="20813"/>
                              <a:pt x="19497" y="20454"/>
                              <a:pt x="19916" y="20035"/>
                            </a:cubicBezTo>
                            <a:cubicBezTo>
                              <a:pt x="20335" y="19617"/>
                              <a:pt x="20753" y="19198"/>
                              <a:pt x="21112" y="18780"/>
                            </a:cubicBezTo>
                            <a:lnTo>
                              <a:pt x="20335" y="18241"/>
                            </a:lnTo>
                            <a:cubicBezTo>
                              <a:pt x="19916" y="18720"/>
                              <a:pt x="19557" y="19138"/>
                              <a:pt x="19079" y="19497"/>
                            </a:cubicBezTo>
                            <a:cubicBezTo>
                              <a:pt x="18660" y="19916"/>
                              <a:pt x="18181" y="20275"/>
                              <a:pt x="17703" y="20574"/>
                            </a:cubicBezTo>
                            <a:cubicBezTo>
                              <a:pt x="17225" y="20933"/>
                              <a:pt x="16746" y="21231"/>
                              <a:pt x="16267" y="21471"/>
                            </a:cubicBezTo>
                            <a:cubicBezTo>
                              <a:pt x="15789" y="21710"/>
                              <a:pt x="15371" y="22069"/>
                              <a:pt x="14832" y="22248"/>
                            </a:cubicBezTo>
                            <a:moveTo>
                              <a:pt x="120" y="12559"/>
                            </a:moveTo>
                            <a:lnTo>
                              <a:pt x="1076" y="13217"/>
                            </a:lnTo>
                            <a:cubicBezTo>
                              <a:pt x="1136" y="12679"/>
                              <a:pt x="1196" y="12201"/>
                              <a:pt x="1375" y="11662"/>
                            </a:cubicBezTo>
                            <a:cubicBezTo>
                              <a:pt x="1555" y="11124"/>
                              <a:pt x="1675" y="10645"/>
                              <a:pt x="1854" y="10107"/>
                            </a:cubicBezTo>
                            <a:cubicBezTo>
                              <a:pt x="2034" y="9569"/>
                              <a:pt x="2273" y="9091"/>
                              <a:pt x="2572" y="8552"/>
                            </a:cubicBezTo>
                            <a:cubicBezTo>
                              <a:pt x="2871" y="8014"/>
                              <a:pt x="3170" y="7536"/>
                              <a:pt x="3529" y="7057"/>
                            </a:cubicBezTo>
                            <a:lnTo>
                              <a:pt x="2751" y="6519"/>
                            </a:lnTo>
                            <a:cubicBezTo>
                              <a:pt x="2392" y="6997"/>
                              <a:pt x="2093" y="7476"/>
                              <a:pt x="1794" y="8014"/>
                            </a:cubicBezTo>
                            <a:cubicBezTo>
                              <a:pt x="1495" y="8493"/>
                              <a:pt x="1256" y="9031"/>
                              <a:pt x="1017" y="9509"/>
                            </a:cubicBezTo>
                            <a:cubicBezTo>
                              <a:pt x="778" y="9988"/>
                              <a:pt x="598" y="10526"/>
                              <a:pt x="479" y="11064"/>
                            </a:cubicBezTo>
                            <a:cubicBezTo>
                              <a:pt x="359" y="11603"/>
                              <a:pt x="180" y="12081"/>
                              <a:pt x="120" y="12559"/>
                            </a:cubicBezTo>
                            <a:moveTo>
                              <a:pt x="10586" y="23265"/>
                            </a:moveTo>
                            <a:lnTo>
                              <a:pt x="11961" y="24162"/>
                            </a:lnTo>
                            <a:cubicBezTo>
                              <a:pt x="12201" y="24102"/>
                              <a:pt x="12380" y="24102"/>
                              <a:pt x="12619" y="24043"/>
                            </a:cubicBezTo>
                            <a:cubicBezTo>
                              <a:pt x="12859" y="23983"/>
                              <a:pt x="13038" y="23923"/>
                              <a:pt x="13277" y="23863"/>
                            </a:cubicBezTo>
                            <a:cubicBezTo>
                              <a:pt x="13516" y="23803"/>
                              <a:pt x="13696" y="23743"/>
                              <a:pt x="13935" y="23683"/>
                            </a:cubicBezTo>
                            <a:cubicBezTo>
                              <a:pt x="14174" y="23624"/>
                              <a:pt x="14354" y="23564"/>
                              <a:pt x="14593" y="23444"/>
                            </a:cubicBezTo>
                            <a:lnTo>
                              <a:pt x="13516" y="22727"/>
                            </a:lnTo>
                            <a:cubicBezTo>
                              <a:pt x="13277" y="22787"/>
                              <a:pt x="13038" y="22846"/>
                              <a:pt x="12799" y="22906"/>
                            </a:cubicBezTo>
                            <a:cubicBezTo>
                              <a:pt x="12559" y="22966"/>
                              <a:pt x="12320" y="23026"/>
                              <a:pt x="12081" y="23026"/>
                            </a:cubicBezTo>
                            <a:cubicBezTo>
                              <a:pt x="11842" y="23085"/>
                              <a:pt x="11603" y="23085"/>
                              <a:pt x="11364" y="23145"/>
                            </a:cubicBezTo>
                            <a:cubicBezTo>
                              <a:pt x="11064" y="23205"/>
                              <a:pt x="10825" y="23265"/>
                              <a:pt x="10586" y="23265"/>
                            </a:cubicBezTo>
                            <a:moveTo>
                              <a:pt x="60" y="16387"/>
                            </a:moveTo>
                            <a:lnTo>
                              <a:pt x="1435" y="17284"/>
                            </a:lnTo>
                            <a:cubicBezTo>
                              <a:pt x="1375" y="17045"/>
                              <a:pt x="1316" y="16866"/>
                              <a:pt x="1256" y="16626"/>
                            </a:cubicBezTo>
                            <a:cubicBezTo>
                              <a:pt x="1196" y="16387"/>
                              <a:pt x="1136" y="16208"/>
                              <a:pt x="1136" y="15968"/>
                            </a:cubicBezTo>
                            <a:cubicBezTo>
                              <a:pt x="1076" y="15729"/>
                              <a:pt x="1076" y="15490"/>
                              <a:pt x="1076" y="15311"/>
                            </a:cubicBezTo>
                            <a:cubicBezTo>
                              <a:pt x="1076" y="15072"/>
                              <a:pt x="1017" y="14832"/>
                              <a:pt x="1017" y="14593"/>
                            </a:cubicBezTo>
                            <a:lnTo>
                              <a:pt x="0" y="13935"/>
                            </a:lnTo>
                            <a:cubicBezTo>
                              <a:pt x="0" y="14174"/>
                              <a:pt x="0" y="14354"/>
                              <a:pt x="0" y="14593"/>
                            </a:cubicBezTo>
                            <a:cubicBezTo>
                              <a:pt x="0" y="14832"/>
                              <a:pt x="0" y="15012"/>
                              <a:pt x="0" y="15251"/>
                            </a:cubicBezTo>
                            <a:cubicBezTo>
                              <a:pt x="0" y="15430"/>
                              <a:pt x="0" y="15669"/>
                              <a:pt x="60" y="15849"/>
                            </a:cubicBezTo>
                            <a:cubicBezTo>
                              <a:pt x="120" y="16028"/>
                              <a:pt x="0" y="16148"/>
                              <a:pt x="60" y="16387"/>
                            </a:cubicBezTo>
                            <a:moveTo>
                              <a:pt x="2691" y="21590"/>
                            </a:moveTo>
                            <a:lnTo>
                              <a:pt x="5682" y="23504"/>
                            </a:lnTo>
                            <a:cubicBezTo>
                              <a:pt x="6041" y="23624"/>
                              <a:pt x="6399" y="23743"/>
                              <a:pt x="6758" y="23863"/>
                            </a:cubicBezTo>
                            <a:cubicBezTo>
                              <a:pt x="7117" y="23983"/>
                              <a:pt x="7476" y="24043"/>
                              <a:pt x="7835" y="24102"/>
                            </a:cubicBezTo>
                            <a:cubicBezTo>
                              <a:pt x="8194" y="24162"/>
                              <a:pt x="8552" y="24222"/>
                              <a:pt x="8971" y="24222"/>
                            </a:cubicBezTo>
                            <a:cubicBezTo>
                              <a:pt x="9330" y="24222"/>
                              <a:pt x="9749" y="24282"/>
                              <a:pt x="10107" y="24222"/>
                            </a:cubicBezTo>
                            <a:lnTo>
                              <a:pt x="8253" y="23026"/>
                            </a:lnTo>
                            <a:cubicBezTo>
                              <a:pt x="7954" y="22966"/>
                              <a:pt x="7656" y="22906"/>
                              <a:pt x="7356" y="22846"/>
                            </a:cubicBezTo>
                            <a:cubicBezTo>
                              <a:pt x="7057" y="22787"/>
                              <a:pt x="6758" y="22667"/>
                              <a:pt x="6459" y="22547"/>
                            </a:cubicBezTo>
                            <a:cubicBezTo>
                              <a:pt x="6160" y="22428"/>
                              <a:pt x="5861" y="22308"/>
                              <a:pt x="5622" y="22188"/>
                            </a:cubicBezTo>
                            <a:cubicBezTo>
                              <a:pt x="5383" y="22069"/>
                              <a:pt x="5083" y="21889"/>
                              <a:pt x="4785" y="21710"/>
                            </a:cubicBezTo>
                            <a:cubicBezTo>
                              <a:pt x="4545" y="21530"/>
                              <a:pt x="4306" y="21351"/>
                              <a:pt x="4067" y="21172"/>
                            </a:cubicBezTo>
                            <a:cubicBezTo>
                              <a:pt x="3828" y="20992"/>
                              <a:pt x="3588" y="20753"/>
                              <a:pt x="3409" y="20574"/>
                            </a:cubicBezTo>
                            <a:cubicBezTo>
                              <a:pt x="3229" y="20334"/>
                              <a:pt x="2990" y="20155"/>
                              <a:pt x="2811" y="19916"/>
                            </a:cubicBezTo>
                            <a:cubicBezTo>
                              <a:pt x="2632" y="19676"/>
                              <a:pt x="2452" y="19437"/>
                              <a:pt x="2333" y="19198"/>
                            </a:cubicBezTo>
                            <a:lnTo>
                              <a:pt x="479" y="18002"/>
                            </a:lnTo>
                            <a:cubicBezTo>
                              <a:pt x="598" y="18361"/>
                              <a:pt x="718" y="18660"/>
                              <a:pt x="897" y="18959"/>
                            </a:cubicBezTo>
                            <a:cubicBezTo>
                              <a:pt x="1076" y="19258"/>
                              <a:pt x="1196" y="19617"/>
                              <a:pt x="1375" y="19916"/>
                            </a:cubicBezTo>
                            <a:cubicBezTo>
                              <a:pt x="1555" y="20215"/>
                              <a:pt x="1794" y="20514"/>
                              <a:pt x="1974" y="20753"/>
                            </a:cubicBezTo>
                            <a:cubicBezTo>
                              <a:pt x="2213" y="21052"/>
                              <a:pt x="2452" y="21351"/>
                              <a:pt x="2691" y="21590"/>
                            </a:cubicBezTo>
                          </a:path>
                        </a:pathLst>
                      </a:custGeom>
                      <a:noFill/>
                      <a:ln w="6350" cap="flat">
                        <a:solidFill>
                          <a:schemeClr val="bg1">
                            <a:alpha val="40000"/>
                          </a:schemeClr>
                        </a:solidFill>
                        <a:prstDash val="solid"/>
                        <a:miter/>
                      </a:ln>
                    </p:spPr>
                    <p:txBody>
                      <a:bodyPr rtlCol="0" anchor="ctr"/>
                      <a:lstStyle/>
                      <a:p>
                        <a:endParaRPr lang="en-GB"/>
                      </a:p>
                    </p:txBody>
                  </p:sp>
                  <p:sp>
                    <p:nvSpPr>
                      <p:cNvPr id="7530" name="Vrije vorm: vorm 7529">
                        <a:extLst>
                          <a:ext uri="{FF2B5EF4-FFF2-40B4-BE49-F238E27FC236}">
                            <a16:creationId xmlns:a16="http://schemas.microsoft.com/office/drawing/2014/main" id="{06BFAAC5-8A14-4C45-920E-4CAB7B9C3D00}"/>
                          </a:ext>
                        </a:extLst>
                      </p:cNvPr>
                      <p:cNvSpPr/>
                      <p:nvPr/>
                    </p:nvSpPr>
                    <p:spPr>
                      <a:xfrm>
                        <a:off x="5000800" y="5295012"/>
                        <a:ext cx="13456" cy="13157"/>
                      </a:xfrm>
                      <a:custGeom>
                        <a:avLst/>
                        <a:gdLst>
                          <a:gd name="connsiteX0" fmla="*/ 11244 w 13456"/>
                          <a:gd name="connsiteY0" fmla="*/ 8911 h 13157"/>
                          <a:gd name="connsiteX1" fmla="*/ 12021 w 13456"/>
                          <a:gd name="connsiteY1" fmla="*/ 9450 h 13157"/>
                          <a:gd name="connsiteX2" fmla="*/ 12500 w 13456"/>
                          <a:gd name="connsiteY2" fmla="*/ 8732 h 13157"/>
                          <a:gd name="connsiteX3" fmla="*/ 12858 w 13456"/>
                          <a:gd name="connsiteY3" fmla="*/ 7954 h 13157"/>
                          <a:gd name="connsiteX4" fmla="*/ 13158 w 13456"/>
                          <a:gd name="connsiteY4" fmla="*/ 7177 h 13157"/>
                          <a:gd name="connsiteX5" fmla="*/ 13337 w 13456"/>
                          <a:gd name="connsiteY5" fmla="*/ 6399 h 13157"/>
                          <a:gd name="connsiteX6" fmla="*/ 13397 w 13456"/>
                          <a:gd name="connsiteY6" fmla="*/ 6100 h 13157"/>
                          <a:gd name="connsiteX7" fmla="*/ 13457 w 13456"/>
                          <a:gd name="connsiteY7" fmla="*/ 5801 h 13157"/>
                          <a:gd name="connsiteX8" fmla="*/ 13457 w 13456"/>
                          <a:gd name="connsiteY8" fmla="*/ 5502 h 13157"/>
                          <a:gd name="connsiteX9" fmla="*/ 13457 w 13456"/>
                          <a:gd name="connsiteY9" fmla="*/ 5203 h 13157"/>
                          <a:gd name="connsiteX10" fmla="*/ 13277 w 13456"/>
                          <a:gd name="connsiteY10" fmla="*/ 3947 h 13157"/>
                          <a:gd name="connsiteX11" fmla="*/ 12858 w 13456"/>
                          <a:gd name="connsiteY11" fmla="*/ 2811 h 13157"/>
                          <a:gd name="connsiteX12" fmla="*/ 12141 w 13456"/>
                          <a:gd name="connsiteY12" fmla="*/ 1794 h 13157"/>
                          <a:gd name="connsiteX13" fmla="*/ 11184 w 13456"/>
                          <a:gd name="connsiteY13" fmla="*/ 957 h 13157"/>
                          <a:gd name="connsiteX14" fmla="*/ 10765 w 13456"/>
                          <a:gd name="connsiteY14" fmla="*/ 718 h 13157"/>
                          <a:gd name="connsiteX15" fmla="*/ 10287 w 13456"/>
                          <a:gd name="connsiteY15" fmla="*/ 479 h 13157"/>
                          <a:gd name="connsiteX16" fmla="*/ 9808 w 13456"/>
                          <a:gd name="connsiteY16" fmla="*/ 299 h 13157"/>
                          <a:gd name="connsiteX17" fmla="*/ 9330 w 13456"/>
                          <a:gd name="connsiteY17" fmla="*/ 179 h 13157"/>
                          <a:gd name="connsiteX18" fmla="*/ 8552 w 13456"/>
                          <a:gd name="connsiteY18" fmla="*/ 1136 h 13157"/>
                          <a:gd name="connsiteX19" fmla="*/ 9031 w 13456"/>
                          <a:gd name="connsiteY19" fmla="*/ 1256 h 13157"/>
                          <a:gd name="connsiteX20" fmla="*/ 9509 w 13456"/>
                          <a:gd name="connsiteY20" fmla="*/ 1435 h 13157"/>
                          <a:gd name="connsiteX21" fmla="*/ 9988 w 13456"/>
                          <a:gd name="connsiteY21" fmla="*/ 1615 h 13157"/>
                          <a:gd name="connsiteX22" fmla="*/ 10406 w 13456"/>
                          <a:gd name="connsiteY22" fmla="*/ 1854 h 13157"/>
                          <a:gd name="connsiteX23" fmla="*/ 11004 w 13456"/>
                          <a:gd name="connsiteY23" fmla="*/ 2392 h 13157"/>
                          <a:gd name="connsiteX24" fmla="*/ 11483 w 13456"/>
                          <a:gd name="connsiteY24" fmla="*/ 2990 h 13157"/>
                          <a:gd name="connsiteX25" fmla="*/ 11842 w 13456"/>
                          <a:gd name="connsiteY25" fmla="*/ 3648 h 13157"/>
                          <a:gd name="connsiteX26" fmla="*/ 12081 w 13456"/>
                          <a:gd name="connsiteY26" fmla="*/ 4426 h 13157"/>
                          <a:gd name="connsiteX27" fmla="*/ 12141 w 13456"/>
                          <a:gd name="connsiteY27" fmla="*/ 4785 h 13157"/>
                          <a:gd name="connsiteX28" fmla="*/ 12201 w 13456"/>
                          <a:gd name="connsiteY28" fmla="*/ 5143 h 13157"/>
                          <a:gd name="connsiteX29" fmla="*/ 12201 w 13456"/>
                          <a:gd name="connsiteY29" fmla="*/ 5502 h 13157"/>
                          <a:gd name="connsiteX30" fmla="*/ 12201 w 13456"/>
                          <a:gd name="connsiteY30" fmla="*/ 5861 h 13157"/>
                          <a:gd name="connsiteX31" fmla="*/ 12081 w 13456"/>
                          <a:gd name="connsiteY31" fmla="*/ 6639 h 13157"/>
                          <a:gd name="connsiteX32" fmla="*/ 11842 w 13456"/>
                          <a:gd name="connsiteY32" fmla="*/ 7416 h 13157"/>
                          <a:gd name="connsiteX33" fmla="*/ 11483 w 13456"/>
                          <a:gd name="connsiteY33" fmla="*/ 8194 h 13157"/>
                          <a:gd name="connsiteX34" fmla="*/ 11244 w 13456"/>
                          <a:gd name="connsiteY34" fmla="*/ 8911 h 13157"/>
                          <a:gd name="connsiteX35" fmla="*/ 2093 w 13456"/>
                          <a:gd name="connsiteY35" fmla="*/ 2871 h 13157"/>
                          <a:gd name="connsiteX36" fmla="*/ 2871 w 13456"/>
                          <a:gd name="connsiteY36" fmla="*/ 3409 h 13157"/>
                          <a:gd name="connsiteX37" fmla="*/ 3528 w 13456"/>
                          <a:gd name="connsiteY37" fmla="*/ 2751 h 13157"/>
                          <a:gd name="connsiteX38" fmla="*/ 4246 w 13456"/>
                          <a:gd name="connsiteY38" fmla="*/ 2213 h 13157"/>
                          <a:gd name="connsiteX39" fmla="*/ 5024 w 13456"/>
                          <a:gd name="connsiteY39" fmla="*/ 1794 h 13157"/>
                          <a:gd name="connsiteX40" fmla="*/ 5801 w 13456"/>
                          <a:gd name="connsiteY40" fmla="*/ 1435 h 13157"/>
                          <a:gd name="connsiteX41" fmla="*/ 6160 w 13456"/>
                          <a:gd name="connsiteY41" fmla="*/ 1316 h 13157"/>
                          <a:gd name="connsiteX42" fmla="*/ 6519 w 13456"/>
                          <a:gd name="connsiteY42" fmla="*/ 1196 h 13157"/>
                          <a:gd name="connsiteX43" fmla="*/ 6878 w 13456"/>
                          <a:gd name="connsiteY43" fmla="*/ 1136 h 13157"/>
                          <a:gd name="connsiteX44" fmla="*/ 7236 w 13456"/>
                          <a:gd name="connsiteY44" fmla="*/ 1076 h 13157"/>
                          <a:gd name="connsiteX45" fmla="*/ 7236 w 13456"/>
                          <a:gd name="connsiteY45" fmla="*/ 1076 h 13157"/>
                          <a:gd name="connsiteX46" fmla="*/ 7236 w 13456"/>
                          <a:gd name="connsiteY46" fmla="*/ 1076 h 13157"/>
                          <a:gd name="connsiteX47" fmla="*/ 7236 w 13456"/>
                          <a:gd name="connsiteY47" fmla="*/ 1076 h 13157"/>
                          <a:gd name="connsiteX48" fmla="*/ 7236 w 13456"/>
                          <a:gd name="connsiteY48" fmla="*/ 1076 h 13157"/>
                          <a:gd name="connsiteX49" fmla="*/ 8074 w 13456"/>
                          <a:gd name="connsiteY49" fmla="*/ 0 h 13157"/>
                          <a:gd name="connsiteX50" fmla="*/ 7536 w 13456"/>
                          <a:gd name="connsiteY50" fmla="*/ 0 h 13157"/>
                          <a:gd name="connsiteX51" fmla="*/ 6997 w 13456"/>
                          <a:gd name="connsiteY51" fmla="*/ 60 h 13157"/>
                          <a:gd name="connsiteX52" fmla="*/ 6459 w 13456"/>
                          <a:gd name="connsiteY52" fmla="*/ 179 h 13157"/>
                          <a:gd name="connsiteX53" fmla="*/ 5921 w 13456"/>
                          <a:gd name="connsiteY53" fmla="*/ 299 h 13157"/>
                          <a:gd name="connsiteX54" fmla="*/ 5622 w 13456"/>
                          <a:gd name="connsiteY54" fmla="*/ 419 h 13157"/>
                          <a:gd name="connsiteX55" fmla="*/ 5323 w 13456"/>
                          <a:gd name="connsiteY55" fmla="*/ 538 h 13157"/>
                          <a:gd name="connsiteX56" fmla="*/ 5024 w 13456"/>
                          <a:gd name="connsiteY56" fmla="*/ 658 h 13157"/>
                          <a:gd name="connsiteX57" fmla="*/ 4725 w 13456"/>
                          <a:gd name="connsiteY57" fmla="*/ 778 h 13157"/>
                          <a:gd name="connsiteX58" fmla="*/ 4007 w 13456"/>
                          <a:gd name="connsiteY58" fmla="*/ 1196 h 13157"/>
                          <a:gd name="connsiteX59" fmla="*/ 3289 w 13456"/>
                          <a:gd name="connsiteY59" fmla="*/ 1674 h 13157"/>
                          <a:gd name="connsiteX60" fmla="*/ 2632 w 13456"/>
                          <a:gd name="connsiteY60" fmla="*/ 2213 h 13157"/>
                          <a:gd name="connsiteX61" fmla="*/ 2093 w 13456"/>
                          <a:gd name="connsiteY61" fmla="*/ 2871 h 13157"/>
                          <a:gd name="connsiteX62" fmla="*/ 1256 w 13456"/>
                          <a:gd name="connsiteY62" fmla="*/ 11423 h 13157"/>
                          <a:gd name="connsiteX63" fmla="*/ 3409 w 13456"/>
                          <a:gd name="connsiteY63" fmla="*/ 12858 h 13157"/>
                          <a:gd name="connsiteX64" fmla="*/ 5382 w 13456"/>
                          <a:gd name="connsiteY64" fmla="*/ 13158 h 13157"/>
                          <a:gd name="connsiteX65" fmla="*/ 7476 w 13456"/>
                          <a:gd name="connsiteY65" fmla="*/ 12799 h 13157"/>
                          <a:gd name="connsiteX66" fmla="*/ 9509 w 13456"/>
                          <a:gd name="connsiteY66" fmla="*/ 11842 h 13157"/>
                          <a:gd name="connsiteX67" fmla="*/ 11304 w 13456"/>
                          <a:gd name="connsiteY67" fmla="*/ 10347 h 13157"/>
                          <a:gd name="connsiteX68" fmla="*/ 10526 w 13456"/>
                          <a:gd name="connsiteY68" fmla="*/ 9808 h 13157"/>
                          <a:gd name="connsiteX69" fmla="*/ 8732 w 13456"/>
                          <a:gd name="connsiteY69" fmla="*/ 11184 h 13157"/>
                          <a:gd name="connsiteX70" fmla="*/ 6758 w 13456"/>
                          <a:gd name="connsiteY70" fmla="*/ 11961 h 13157"/>
                          <a:gd name="connsiteX71" fmla="*/ 4785 w 13456"/>
                          <a:gd name="connsiteY71" fmla="*/ 12021 h 13157"/>
                          <a:gd name="connsiteX72" fmla="*/ 2990 w 13456"/>
                          <a:gd name="connsiteY72" fmla="*/ 11363 h 13157"/>
                          <a:gd name="connsiteX73" fmla="*/ 1674 w 13456"/>
                          <a:gd name="connsiteY73" fmla="*/ 9988 h 13157"/>
                          <a:gd name="connsiteX74" fmla="*/ 1076 w 13456"/>
                          <a:gd name="connsiteY74" fmla="*/ 8194 h 13157"/>
                          <a:gd name="connsiteX75" fmla="*/ 1256 w 13456"/>
                          <a:gd name="connsiteY75" fmla="*/ 6220 h 13157"/>
                          <a:gd name="connsiteX76" fmla="*/ 2153 w 13456"/>
                          <a:gd name="connsiteY76" fmla="*/ 4246 h 13157"/>
                          <a:gd name="connsiteX77" fmla="*/ 1375 w 13456"/>
                          <a:gd name="connsiteY77" fmla="*/ 3708 h 13157"/>
                          <a:gd name="connsiteX78" fmla="*/ 359 w 13456"/>
                          <a:gd name="connsiteY78" fmla="*/ 5741 h 13157"/>
                          <a:gd name="connsiteX79" fmla="*/ 0 w 13456"/>
                          <a:gd name="connsiteY79" fmla="*/ 7835 h 13157"/>
                          <a:gd name="connsiteX80" fmla="*/ 299 w 13456"/>
                          <a:gd name="connsiteY80" fmla="*/ 9749 h 13157"/>
                          <a:gd name="connsiteX81" fmla="*/ 1256 w 13456"/>
                          <a:gd name="connsiteY81" fmla="*/ 11423 h 1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3456" h="13157">
                            <a:moveTo>
                              <a:pt x="11244" y="8911"/>
                            </a:moveTo>
                            <a:lnTo>
                              <a:pt x="12021" y="9450"/>
                            </a:lnTo>
                            <a:cubicBezTo>
                              <a:pt x="12201" y="9210"/>
                              <a:pt x="12320" y="8971"/>
                              <a:pt x="12500" y="8732"/>
                            </a:cubicBezTo>
                            <a:cubicBezTo>
                              <a:pt x="12619" y="8493"/>
                              <a:pt x="12739" y="8253"/>
                              <a:pt x="12858" y="7954"/>
                            </a:cubicBezTo>
                            <a:cubicBezTo>
                              <a:pt x="12978" y="7655"/>
                              <a:pt x="13038" y="7476"/>
                              <a:pt x="13158" y="7177"/>
                            </a:cubicBezTo>
                            <a:cubicBezTo>
                              <a:pt x="13277" y="6878"/>
                              <a:pt x="13277" y="6639"/>
                              <a:pt x="13337" y="6399"/>
                            </a:cubicBezTo>
                            <a:cubicBezTo>
                              <a:pt x="13337" y="6280"/>
                              <a:pt x="13397" y="6160"/>
                              <a:pt x="13397" y="6100"/>
                            </a:cubicBezTo>
                            <a:cubicBezTo>
                              <a:pt x="13397" y="5981"/>
                              <a:pt x="13397" y="5861"/>
                              <a:pt x="13457" y="5801"/>
                            </a:cubicBezTo>
                            <a:cubicBezTo>
                              <a:pt x="13457" y="5682"/>
                              <a:pt x="13457" y="5562"/>
                              <a:pt x="13457" y="5502"/>
                            </a:cubicBezTo>
                            <a:cubicBezTo>
                              <a:pt x="13457" y="5382"/>
                              <a:pt x="13457" y="5323"/>
                              <a:pt x="13457" y="5203"/>
                            </a:cubicBezTo>
                            <a:cubicBezTo>
                              <a:pt x="13457" y="4785"/>
                              <a:pt x="13397" y="4366"/>
                              <a:pt x="13277" y="3947"/>
                            </a:cubicBezTo>
                            <a:cubicBezTo>
                              <a:pt x="13158" y="3528"/>
                              <a:pt x="13038" y="3170"/>
                              <a:pt x="12858" y="2811"/>
                            </a:cubicBezTo>
                            <a:cubicBezTo>
                              <a:pt x="12679" y="2452"/>
                              <a:pt x="12440" y="2093"/>
                              <a:pt x="12141" y="1794"/>
                            </a:cubicBezTo>
                            <a:cubicBezTo>
                              <a:pt x="11842" y="1495"/>
                              <a:pt x="11543" y="1196"/>
                              <a:pt x="11184" y="957"/>
                            </a:cubicBezTo>
                            <a:cubicBezTo>
                              <a:pt x="11064" y="837"/>
                              <a:pt x="10885" y="778"/>
                              <a:pt x="10765" y="718"/>
                            </a:cubicBezTo>
                            <a:cubicBezTo>
                              <a:pt x="10645" y="658"/>
                              <a:pt x="10466" y="538"/>
                              <a:pt x="10287" y="479"/>
                            </a:cubicBezTo>
                            <a:cubicBezTo>
                              <a:pt x="10107" y="419"/>
                              <a:pt x="9988" y="359"/>
                              <a:pt x="9808" y="299"/>
                            </a:cubicBezTo>
                            <a:cubicBezTo>
                              <a:pt x="9629" y="239"/>
                              <a:pt x="9509" y="179"/>
                              <a:pt x="9330" y="179"/>
                            </a:cubicBezTo>
                            <a:lnTo>
                              <a:pt x="8552" y="1136"/>
                            </a:lnTo>
                            <a:cubicBezTo>
                              <a:pt x="8732" y="1136"/>
                              <a:pt x="8911" y="1196"/>
                              <a:pt x="9031" y="1256"/>
                            </a:cubicBezTo>
                            <a:cubicBezTo>
                              <a:pt x="9210" y="1316"/>
                              <a:pt x="9330" y="1375"/>
                              <a:pt x="9509" y="1435"/>
                            </a:cubicBezTo>
                            <a:cubicBezTo>
                              <a:pt x="9689" y="1495"/>
                              <a:pt x="9808" y="1555"/>
                              <a:pt x="9988" y="1615"/>
                            </a:cubicBezTo>
                            <a:cubicBezTo>
                              <a:pt x="10167" y="1674"/>
                              <a:pt x="10287" y="1794"/>
                              <a:pt x="10406" y="1854"/>
                            </a:cubicBezTo>
                            <a:cubicBezTo>
                              <a:pt x="10645" y="2033"/>
                              <a:pt x="10825" y="2153"/>
                              <a:pt x="11004" y="2392"/>
                            </a:cubicBezTo>
                            <a:cubicBezTo>
                              <a:pt x="11184" y="2632"/>
                              <a:pt x="11363" y="2811"/>
                              <a:pt x="11483" y="2990"/>
                            </a:cubicBezTo>
                            <a:cubicBezTo>
                              <a:pt x="11603" y="3229"/>
                              <a:pt x="11722" y="3409"/>
                              <a:pt x="11842" y="3648"/>
                            </a:cubicBezTo>
                            <a:cubicBezTo>
                              <a:pt x="11961" y="3887"/>
                              <a:pt x="12021" y="4127"/>
                              <a:pt x="12081" y="4426"/>
                            </a:cubicBezTo>
                            <a:cubicBezTo>
                              <a:pt x="12081" y="4545"/>
                              <a:pt x="12141" y="4665"/>
                              <a:pt x="12141" y="4785"/>
                            </a:cubicBezTo>
                            <a:cubicBezTo>
                              <a:pt x="12141" y="4904"/>
                              <a:pt x="12201" y="5024"/>
                              <a:pt x="12201" y="5143"/>
                            </a:cubicBezTo>
                            <a:cubicBezTo>
                              <a:pt x="12201" y="5263"/>
                              <a:pt x="12201" y="5382"/>
                              <a:pt x="12201" y="5502"/>
                            </a:cubicBezTo>
                            <a:cubicBezTo>
                              <a:pt x="12201" y="5622"/>
                              <a:pt x="12201" y="5741"/>
                              <a:pt x="12201" y="5861"/>
                            </a:cubicBezTo>
                            <a:cubicBezTo>
                              <a:pt x="12201" y="6100"/>
                              <a:pt x="12141" y="6399"/>
                              <a:pt x="12081" y="6639"/>
                            </a:cubicBezTo>
                            <a:cubicBezTo>
                              <a:pt x="12021" y="6878"/>
                              <a:pt x="11961" y="7177"/>
                              <a:pt x="11842" y="7416"/>
                            </a:cubicBezTo>
                            <a:cubicBezTo>
                              <a:pt x="11722" y="7655"/>
                              <a:pt x="11662" y="7954"/>
                              <a:pt x="11483" y="8194"/>
                            </a:cubicBezTo>
                            <a:cubicBezTo>
                              <a:pt x="11603" y="8433"/>
                              <a:pt x="11423" y="8672"/>
                              <a:pt x="11244" y="8911"/>
                            </a:cubicBezTo>
                            <a:moveTo>
                              <a:pt x="2093" y="2871"/>
                            </a:moveTo>
                            <a:lnTo>
                              <a:pt x="2871" y="3409"/>
                            </a:lnTo>
                            <a:cubicBezTo>
                              <a:pt x="3050" y="3170"/>
                              <a:pt x="3289" y="2990"/>
                              <a:pt x="3528" y="2751"/>
                            </a:cubicBezTo>
                            <a:cubicBezTo>
                              <a:pt x="3768" y="2512"/>
                              <a:pt x="4007" y="2392"/>
                              <a:pt x="4246" y="2213"/>
                            </a:cubicBezTo>
                            <a:cubicBezTo>
                              <a:pt x="4486" y="2033"/>
                              <a:pt x="4725" y="1914"/>
                              <a:pt x="5024" y="1794"/>
                            </a:cubicBezTo>
                            <a:cubicBezTo>
                              <a:pt x="5263" y="1674"/>
                              <a:pt x="5562" y="1555"/>
                              <a:pt x="5801" y="1435"/>
                            </a:cubicBezTo>
                            <a:cubicBezTo>
                              <a:pt x="5921" y="1375"/>
                              <a:pt x="6041" y="1375"/>
                              <a:pt x="6160" y="1316"/>
                            </a:cubicBezTo>
                            <a:cubicBezTo>
                              <a:pt x="6280" y="1256"/>
                              <a:pt x="6399" y="1256"/>
                              <a:pt x="6519" y="1196"/>
                            </a:cubicBezTo>
                            <a:cubicBezTo>
                              <a:pt x="6639" y="1196"/>
                              <a:pt x="6758" y="1136"/>
                              <a:pt x="6878" y="1136"/>
                            </a:cubicBezTo>
                            <a:cubicBezTo>
                              <a:pt x="6997" y="1136"/>
                              <a:pt x="7117" y="1076"/>
                              <a:pt x="7236" y="1076"/>
                            </a:cubicBezTo>
                            <a:cubicBezTo>
                              <a:pt x="7236" y="1076"/>
                              <a:pt x="7236" y="1076"/>
                              <a:pt x="7236" y="1076"/>
                            </a:cubicBezTo>
                            <a:cubicBezTo>
                              <a:pt x="7236" y="1076"/>
                              <a:pt x="7236" y="1076"/>
                              <a:pt x="7236" y="1076"/>
                            </a:cubicBezTo>
                            <a:cubicBezTo>
                              <a:pt x="7236" y="1076"/>
                              <a:pt x="7236" y="1076"/>
                              <a:pt x="7236" y="1076"/>
                            </a:cubicBezTo>
                            <a:cubicBezTo>
                              <a:pt x="7236" y="1076"/>
                              <a:pt x="7236" y="1076"/>
                              <a:pt x="7236" y="1076"/>
                            </a:cubicBezTo>
                            <a:lnTo>
                              <a:pt x="8074" y="0"/>
                            </a:lnTo>
                            <a:cubicBezTo>
                              <a:pt x="7895" y="0"/>
                              <a:pt x="7715" y="0"/>
                              <a:pt x="7536" y="0"/>
                            </a:cubicBezTo>
                            <a:cubicBezTo>
                              <a:pt x="7356" y="0"/>
                              <a:pt x="7177" y="0"/>
                              <a:pt x="6997" y="60"/>
                            </a:cubicBezTo>
                            <a:cubicBezTo>
                              <a:pt x="6818" y="60"/>
                              <a:pt x="6639" y="119"/>
                              <a:pt x="6459" y="179"/>
                            </a:cubicBezTo>
                            <a:cubicBezTo>
                              <a:pt x="6280" y="239"/>
                              <a:pt x="6100" y="239"/>
                              <a:pt x="5921" y="299"/>
                            </a:cubicBezTo>
                            <a:cubicBezTo>
                              <a:pt x="5801" y="359"/>
                              <a:pt x="5682" y="359"/>
                              <a:pt x="5622" y="419"/>
                            </a:cubicBezTo>
                            <a:cubicBezTo>
                              <a:pt x="5502" y="479"/>
                              <a:pt x="5382" y="479"/>
                              <a:pt x="5323" y="538"/>
                            </a:cubicBezTo>
                            <a:cubicBezTo>
                              <a:pt x="5203" y="598"/>
                              <a:pt x="5083" y="598"/>
                              <a:pt x="5024" y="658"/>
                            </a:cubicBezTo>
                            <a:cubicBezTo>
                              <a:pt x="4904" y="718"/>
                              <a:pt x="4785" y="778"/>
                              <a:pt x="4725" y="778"/>
                            </a:cubicBezTo>
                            <a:cubicBezTo>
                              <a:pt x="4486" y="897"/>
                              <a:pt x="4246" y="1017"/>
                              <a:pt x="4007" y="1196"/>
                            </a:cubicBezTo>
                            <a:cubicBezTo>
                              <a:pt x="3768" y="1316"/>
                              <a:pt x="3528" y="1495"/>
                              <a:pt x="3289" y="1674"/>
                            </a:cubicBezTo>
                            <a:cubicBezTo>
                              <a:pt x="3050" y="1854"/>
                              <a:pt x="2811" y="2033"/>
                              <a:pt x="2632" y="2213"/>
                            </a:cubicBezTo>
                            <a:cubicBezTo>
                              <a:pt x="2512" y="2392"/>
                              <a:pt x="2273" y="2632"/>
                              <a:pt x="2093" y="2871"/>
                            </a:cubicBezTo>
                            <a:moveTo>
                              <a:pt x="1256" y="11423"/>
                            </a:moveTo>
                            <a:lnTo>
                              <a:pt x="3409" y="12858"/>
                            </a:lnTo>
                            <a:cubicBezTo>
                              <a:pt x="4067" y="13098"/>
                              <a:pt x="4725" y="13158"/>
                              <a:pt x="5382" y="13158"/>
                            </a:cubicBezTo>
                            <a:cubicBezTo>
                              <a:pt x="6100" y="13158"/>
                              <a:pt x="6758" y="13038"/>
                              <a:pt x="7476" y="12799"/>
                            </a:cubicBezTo>
                            <a:cubicBezTo>
                              <a:pt x="8194" y="12559"/>
                              <a:pt x="8851" y="12260"/>
                              <a:pt x="9509" y="11842"/>
                            </a:cubicBezTo>
                            <a:cubicBezTo>
                              <a:pt x="10167" y="11423"/>
                              <a:pt x="10765" y="10945"/>
                              <a:pt x="11304" y="10347"/>
                            </a:cubicBezTo>
                            <a:lnTo>
                              <a:pt x="10526" y="9808"/>
                            </a:lnTo>
                            <a:cubicBezTo>
                              <a:pt x="9988" y="10406"/>
                              <a:pt x="9390" y="10825"/>
                              <a:pt x="8732" y="11184"/>
                            </a:cubicBezTo>
                            <a:cubicBezTo>
                              <a:pt x="8074" y="11543"/>
                              <a:pt x="7416" y="11782"/>
                              <a:pt x="6758" y="11961"/>
                            </a:cubicBezTo>
                            <a:cubicBezTo>
                              <a:pt x="6100" y="12081"/>
                              <a:pt x="5382" y="12141"/>
                              <a:pt x="4785" y="12021"/>
                            </a:cubicBezTo>
                            <a:cubicBezTo>
                              <a:pt x="4127" y="11902"/>
                              <a:pt x="3528" y="11722"/>
                              <a:pt x="2990" y="11363"/>
                            </a:cubicBezTo>
                            <a:cubicBezTo>
                              <a:pt x="2452" y="11004"/>
                              <a:pt x="2033" y="10526"/>
                              <a:pt x="1674" y="9988"/>
                            </a:cubicBezTo>
                            <a:cubicBezTo>
                              <a:pt x="1375" y="9450"/>
                              <a:pt x="1196" y="8851"/>
                              <a:pt x="1076" y="8194"/>
                            </a:cubicBezTo>
                            <a:cubicBezTo>
                              <a:pt x="957" y="7536"/>
                              <a:pt x="1076" y="6878"/>
                              <a:pt x="1256" y="6220"/>
                            </a:cubicBezTo>
                            <a:cubicBezTo>
                              <a:pt x="1435" y="5562"/>
                              <a:pt x="1734" y="4844"/>
                              <a:pt x="2153" y="4246"/>
                            </a:cubicBezTo>
                            <a:lnTo>
                              <a:pt x="1375" y="3708"/>
                            </a:lnTo>
                            <a:cubicBezTo>
                              <a:pt x="897" y="4366"/>
                              <a:pt x="598" y="5083"/>
                              <a:pt x="359" y="5741"/>
                            </a:cubicBezTo>
                            <a:cubicBezTo>
                              <a:pt x="119" y="6459"/>
                              <a:pt x="0" y="7117"/>
                              <a:pt x="0" y="7835"/>
                            </a:cubicBezTo>
                            <a:cubicBezTo>
                              <a:pt x="0" y="8493"/>
                              <a:pt x="119" y="9150"/>
                              <a:pt x="299" y="9749"/>
                            </a:cubicBezTo>
                            <a:cubicBezTo>
                              <a:pt x="538" y="10406"/>
                              <a:pt x="837" y="10945"/>
                              <a:pt x="1256" y="11423"/>
                            </a:cubicBezTo>
                          </a:path>
                        </a:pathLst>
                      </a:custGeom>
                      <a:noFill/>
                      <a:ln w="6350" cap="flat">
                        <a:solidFill>
                          <a:schemeClr val="bg1">
                            <a:alpha val="40000"/>
                          </a:schemeClr>
                        </a:solidFill>
                        <a:prstDash val="solid"/>
                        <a:miter/>
                      </a:ln>
                    </p:spPr>
                    <p:txBody>
                      <a:bodyPr rtlCol="0" anchor="ctr"/>
                      <a:lstStyle/>
                      <a:p>
                        <a:endParaRPr lang="en-GB"/>
                      </a:p>
                    </p:txBody>
                  </p:sp>
                  <p:sp>
                    <p:nvSpPr>
                      <p:cNvPr id="7531" name="Vrije vorm: vorm 7530">
                        <a:extLst>
                          <a:ext uri="{FF2B5EF4-FFF2-40B4-BE49-F238E27FC236}">
                            <a16:creationId xmlns:a16="http://schemas.microsoft.com/office/drawing/2014/main" id="{C484F279-3BDE-44BF-A536-F2FDC03993DE}"/>
                          </a:ext>
                        </a:extLst>
                      </p:cNvPr>
                      <p:cNvSpPr/>
                      <p:nvPr/>
                    </p:nvSpPr>
                    <p:spPr>
                      <a:xfrm>
                        <a:off x="5004568" y="5304820"/>
                        <a:ext cx="38037" cy="39472"/>
                      </a:xfrm>
                      <a:custGeom>
                        <a:avLst/>
                        <a:gdLst>
                          <a:gd name="connsiteX0" fmla="*/ 18720 w 38037"/>
                          <a:gd name="connsiteY0" fmla="*/ 6519 h 39472"/>
                          <a:gd name="connsiteX1" fmla="*/ 19497 w 38037"/>
                          <a:gd name="connsiteY1" fmla="*/ 7057 h 39472"/>
                          <a:gd name="connsiteX2" fmla="*/ 21471 w 38037"/>
                          <a:gd name="connsiteY2" fmla="*/ 4545 h 39472"/>
                          <a:gd name="connsiteX3" fmla="*/ 22188 w 38037"/>
                          <a:gd name="connsiteY3" fmla="*/ 3648 h 39472"/>
                          <a:gd name="connsiteX4" fmla="*/ 23983 w 38037"/>
                          <a:gd name="connsiteY4" fmla="*/ 1375 h 39472"/>
                          <a:gd name="connsiteX5" fmla="*/ 36542 w 38037"/>
                          <a:gd name="connsiteY5" fmla="*/ 9748 h 39472"/>
                          <a:gd name="connsiteX6" fmla="*/ 34748 w 38037"/>
                          <a:gd name="connsiteY6" fmla="*/ 12021 h 39472"/>
                          <a:gd name="connsiteX7" fmla="*/ 34090 w 38037"/>
                          <a:gd name="connsiteY7" fmla="*/ 12918 h 39472"/>
                          <a:gd name="connsiteX8" fmla="*/ 32116 w 38037"/>
                          <a:gd name="connsiteY8" fmla="*/ 15430 h 39472"/>
                          <a:gd name="connsiteX9" fmla="*/ 32894 w 38037"/>
                          <a:gd name="connsiteY9" fmla="*/ 15968 h 39472"/>
                          <a:gd name="connsiteX10" fmla="*/ 34867 w 38037"/>
                          <a:gd name="connsiteY10" fmla="*/ 13457 h 39472"/>
                          <a:gd name="connsiteX11" fmla="*/ 35526 w 38037"/>
                          <a:gd name="connsiteY11" fmla="*/ 12619 h 39472"/>
                          <a:gd name="connsiteX12" fmla="*/ 38037 w 38037"/>
                          <a:gd name="connsiteY12" fmla="*/ 9449 h 39472"/>
                          <a:gd name="connsiteX13" fmla="*/ 23923 w 38037"/>
                          <a:gd name="connsiteY13" fmla="*/ 0 h 39472"/>
                          <a:gd name="connsiteX14" fmla="*/ 21411 w 38037"/>
                          <a:gd name="connsiteY14" fmla="*/ 3170 h 39472"/>
                          <a:gd name="connsiteX15" fmla="*/ 20693 w 38037"/>
                          <a:gd name="connsiteY15" fmla="*/ 4067 h 39472"/>
                          <a:gd name="connsiteX16" fmla="*/ 18720 w 38037"/>
                          <a:gd name="connsiteY16" fmla="*/ 6519 h 39472"/>
                          <a:gd name="connsiteX17" fmla="*/ 27451 w 38037"/>
                          <a:gd name="connsiteY17" fmla="*/ 21351 h 39472"/>
                          <a:gd name="connsiteX18" fmla="*/ 28229 w 38037"/>
                          <a:gd name="connsiteY18" fmla="*/ 21889 h 39472"/>
                          <a:gd name="connsiteX19" fmla="*/ 32176 w 38037"/>
                          <a:gd name="connsiteY19" fmla="*/ 16865 h 39472"/>
                          <a:gd name="connsiteX20" fmla="*/ 31399 w 38037"/>
                          <a:gd name="connsiteY20" fmla="*/ 16327 h 39472"/>
                          <a:gd name="connsiteX21" fmla="*/ 27451 w 38037"/>
                          <a:gd name="connsiteY21" fmla="*/ 21351 h 39472"/>
                          <a:gd name="connsiteX22" fmla="*/ 13995 w 38037"/>
                          <a:gd name="connsiteY22" fmla="*/ 12500 h 39472"/>
                          <a:gd name="connsiteX23" fmla="*/ 14772 w 38037"/>
                          <a:gd name="connsiteY23" fmla="*/ 13038 h 39472"/>
                          <a:gd name="connsiteX24" fmla="*/ 18720 w 38037"/>
                          <a:gd name="connsiteY24" fmla="*/ 8014 h 39472"/>
                          <a:gd name="connsiteX25" fmla="*/ 17942 w 38037"/>
                          <a:gd name="connsiteY25" fmla="*/ 7476 h 39472"/>
                          <a:gd name="connsiteX26" fmla="*/ 13995 w 38037"/>
                          <a:gd name="connsiteY26" fmla="*/ 12500 h 39472"/>
                          <a:gd name="connsiteX27" fmla="*/ 25537 w 38037"/>
                          <a:gd name="connsiteY27" fmla="*/ 23803 h 39472"/>
                          <a:gd name="connsiteX28" fmla="*/ 26315 w 38037"/>
                          <a:gd name="connsiteY28" fmla="*/ 24341 h 39472"/>
                          <a:gd name="connsiteX29" fmla="*/ 27571 w 38037"/>
                          <a:gd name="connsiteY29" fmla="*/ 22787 h 39472"/>
                          <a:gd name="connsiteX30" fmla="*/ 26794 w 38037"/>
                          <a:gd name="connsiteY30" fmla="*/ 22248 h 39472"/>
                          <a:gd name="connsiteX31" fmla="*/ 25537 w 38037"/>
                          <a:gd name="connsiteY31" fmla="*/ 23803 h 39472"/>
                          <a:gd name="connsiteX32" fmla="*/ 12081 w 38037"/>
                          <a:gd name="connsiteY32" fmla="*/ 15011 h 39472"/>
                          <a:gd name="connsiteX33" fmla="*/ 12858 w 38037"/>
                          <a:gd name="connsiteY33" fmla="*/ 15550 h 39472"/>
                          <a:gd name="connsiteX34" fmla="*/ 14114 w 38037"/>
                          <a:gd name="connsiteY34" fmla="*/ 13995 h 39472"/>
                          <a:gd name="connsiteX35" fmla="*/ 13337 w 38037"/>
                          <a:gd name="connsiteY35" fmla="*/ 13457 h 39472"/>
                          <a:gd name="connsiteX36" fmla="*/ 12081 w 38037"/>
                          <a:gd name="connsiteY36" fmla="*/ 15011 h 39472"/>
                          <a:gd name="connsiteX37" fmla="*/ 23743 w 38037"/>
                          <a:gd name="connsiteY37" fmla="*/ 26076 h 39472"/>
                          <a:gd name="connsiteX38" fmla="*/ 24521 w 38037"/>
                          <a:gd name="connsiteY38" fmla="*/ 26614 h 39472"/>
                          <a:gd name="connsiteX39" fmla="*/ 25597 w 38037"/>
                          <a:gd name="connsiteY39" fmla="*/ 25238 h 39472"/>
                          <a:gd name="connsiteX40" fmla="*/ 24820 w 38037"/>
                          <a:gd name="connsiteY40" fmla="*/ 24700 h 39472"/>
                          <a:gd name="connsiteX41" fmla="*/ 23743 w 38037"/>
                          <a:gd name="connsiteY41" fmla="*/ 26076 h 39472"/>
                          <a:gd name="connsiteX42" fmla="*/ 10227 w 38037"/>
                          <a:gd name="connsiteY42" fmla="*/ 17284 h 39472"/>
                          <a:gd name="connsiteX43" fmla="*/ 11004 w 38037"/>
                          <a:gd name="connsiteY43" fmla="*/ 17822 h 39472"/>
                          <a:gd name="connsiteX44" fmla="*/ 12081 w 38037"/>
                          <a:gd name="connsiteY44" fmla="*/ 16447 h 39472"/>
                          <a:gd name="connsiteX45" fmla="*/ 11303 w 38037"/>
                          <a:gd name="connsiteY45" fmla="*/ 15909 h 39472"/>
                          <a:gd name="connsiteX46" fmla="*/ 10227 w 38037"/>
                          <a:gd name="connsiteY46" fmla="*/ 17284 h 39472"/>
                          <a:gd name="connsiteX47" fmla="*/ 0 w 38037"/>
                          <a:gd name="connsiteY47" fmla="*/ 30262 h 39472"/>
                          <a:gd name="connsiteX48" fmla="*/ 14354 w 38037"/>
                          <a:gd name="connsiteY48" fmla="*/ 39473 h 39472"/>
                          <a:gd name="connsiteX49" fmla="*/ 20813 w 38037"/>
                          <a:gd name="connsiteY49" fmla="*/ 31279 h 39472"/>
                          <a:gd name="connsiteX50" fmla="*/ 21530 w 38037"/>
                          <a:gd name="connsiteY50" fmla="*/ 30382 h 39472"/>
                          <a:gd name="connsiteX51" fmla="*/ 23803 w 38037"/>
                          <a:gd name="connsiteY51" fmla="*/ 27451 h 39472"/>
                          <a:gd name="connsiteX52" fmla="*/ 23026 w 38037"/>
                          <a:gd name="connsiteY52" fmla="*/ 26913 h 39472"/>
                          <a:gd name="connsiteX53" fmla="*/ 20753 w 38037"/>
                          <a:gd name="connsiteY53" fmla="*/ 29844 h 39472"/>
                          <a:gd name="connsiteX54" fmla="*/ 20035 w 38037"/>
                          <a:gd name="connsiteY54" fmla="*/ 30741 h 39472"/>
                          <a:gd name="connsiteX55" fmla="*/ 14234 w 38037"/>
                          <a:gd name="connsiteY55" fmla="*/ 38097 h 39472"/>
                          <a:gd name="connsiteX56" fmla="*/ 1495 w 38037"/>
                          <a:gd name="connsiteY56" fmla="*/ 29904 h 39472"/>
                          <a:gd name="connsiteX57" fmla="*/ 7356 w 38037"/>
                          <a:gd name="connsiteY57" fmla="*/ 22487 h 39472"/>
                          <a:gd name="connsiteX58" fmla="*/ 8074 w 38037"/>
                          <a:gd name="connsiteY58" fmla="*/ 21590 h 39472"/>
                          <a:gd name="connsiteX59" fmla="*/ 10406 w 38037"/>
                          <a:gd name="connsiteY59" fmla="*/ 18660 h 39472"/>
                          <a:gd name="connsiteX60" fmla="*/ 9629 w 38037"/>
                          <a:gd name="connsiteY60" fmla="*/ 18121 h 39472"/>
                          <a:gd name="connsiteX61" fmla="*/ 7296 w 38037"/>
                          <a:gd name="connsiteY61" fmla="*/ 21052 h 39472"/>
                          <a:gd name="connsiteX62" fmla="*/ 6579 w 38037"/>
                          <a:gd name="connsiteY62" fmla="*/ 21949 h 39472"/>
                          <a:gd name="connsiteX63" fmla="*/ 0 w 38037"/>
                          <a:gd name="connsiteY63" fmla="*/ 30262 h 39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037" h="39472">
                            <a:moveTo>
                              <a:pt x="18720" y="6519"/>
                            </a:moveTo>
                            <a:lnTo>
                              <a:pt x="19497" y="7057"/>
                            </a:lnTo>
                            <a:lnTo>
                              <a:pt x="21471" y="4545"/>
                            </a:lnTo>
                            <a:lnTo>
                              <a:pt x="22188" y="3648"/>
                            </a:lnTo>
                            <a:lnTo>
                              <a:pt x="23983" y="1375"/>
                            </a:lnTo>
                            <a:lnTo>
                              <a:pt x="36542" y="9748"/>
                            </a:lnTo>
                            <a:lnTo>
                              <a:pt x="34748" y="12021"/>
                            </a:lnTo>
                            <a:lnTo>
                              <a:pt x="34090" y="12918"/>
                            </a:lnTo>
                            <a:lnTo>
                              <a:pt x="32116" y="15430"/>
                            </a:lnTo>
                            <a:lnTo>
                              <a:pt x="32894" y="15968"/>
                            </a:lnTo>
                            <a:lnTo>
                              <a:pt x="34867" y="13457"/>
                            </a:lnTo>
                            <a:lnTo>
                              <a:pt x="35526" y="12619"/>
                            </a:lnTo>
                            <a:lnTo>
                              <a:pt x="38037" y="9449"/>
                            </a:lnTo>
                            <a:lnTo>
                              <a:pt x="23923" y="0"/>
                            </a:lnTo>
                            <a:lnTo>
                              <a:pt x="21411" y="3170"/>
                            </a:lnTo>
                            <a:lnTo>
                              <a:pt x="20693" y="4067"/>
                            </a:lnTo>
                            <a:lnTo>
                              <a:pt x="18720" y="6519"/>
                            </a:lnTo>
                            <a:moveTo>
                              <a:pt x="27451" y="21351"/>
                            </a:moveTo>
                            <a:lnTo>
                              <a:pt x="28229" y="21889"/>
                            </a:lnTo>
                            <a:lnTo>
                              <a:pt x="32176" y="16865"/>
                            </a:lnTo>
                            <a:lnTo>
                              <a:pt x="31399" y="16327"/>
                            </a:lnTo>
                            <a:lnTo>
                              <a:pt x="27451" y="21351"/>
                            </a:lnTo>
                            <a:moveTo>
                              <a:pt x="13995" y="12500"/>
                            </a:moveTo>
                            <a:lnTo>
                              <a:pt x="14772" y="13038"/>
                            </a:lnTo>
                            <a:lnTo>
                              <a:pt x="18720" y="8014"/>
                            </a:lnTo>
                            <a:lnTo>
                              <a:pt x="17942" y="7476"/>
                            </a:lnTo>
                            <a:lnTo>
                              <a:pt x="13995" y="12500"/>
                            </a:lnTo>
                            <a:moveTo>
                              <a:pt x="25537" y="23803"/>
                            </a:moveTo>
                            <a:lnTo>
                              <a:pt x="26315" y="24341"/>
                            </a:lnTo>
                            <a:lnTo>
                              <a:pt x="27571" y="22787"/>
                            </a:lnTo>
                            <a:lnTo>
                              <a:pt x="26794" y="22248"/>
                            </a:lnTo>
                            <a:lnTo>
                              <a:pt x="25537" y="23803"/>
                            </a:lnTo>
                            <a:moveTo>
                              <a:pt x="12081" y="15011"/>
                            </a:moveTo>
                            <a:lnTo>
                              <a:pt x="12858" y="15550"/>
                            </a:lnTo>
                            <a:lnTo>
                              <a:pt x="14114" y="13995"/>
                            </a:lnTo>
                            <a:lnTo>
                              <a:pt x="13337" y="13457"/>
                            </a:lnTo>
                            <a:lnTo>
                              <a:pt x="12081" y="15011"/>
                            </a:lnTo>
                            <a:moveTo>
                              <a:pt x="23743" y="26076"/>
                            </a:moveTo>
                            <a:lnTo>
                              <a:pt x="24521" y="26614"/>
                            </a:lnTo>
                            <a:lnTo>
                              <a:pt x="25597" y="25238"/>
                            </a:lnTo>
                            <a:lnTo>
                              <a:pt x="24820" y="24700"/>
                            </a:lnTo>
                            <a:lnTo>
                              <a:pt x="23743" y="26076"/>
                            </a:lnTo>
                            <a:moveTo>
                              <a:pt x="10227" y="17284"/>
                            </a:moveTo>
                            <a:lnTo>
                              <a:pt x="11004" y="17822"/>
                            </a:lnTo>
                            <a:lnTo>
                              <a:pt x="12081" y="16447"/>
                            </a:lnTo>
                            <a:lnTo>
                              <a:pt x="11303" y="15909"/>
                            </a:lnTo>
                            <a:lnTo>
                              <a:pt x="10227" y="17284"/>
                            </a:lnTo>
                            <a:moveTo>
                              <a:pt x="0" y="30262"/>
                            </a:moveTo>
                            <a:lnTo>
                              <a:pt x="14354" y="39473"/>
                            </a:lnTo>
                            <a:lnTo>
                              <a:pt x="20813" y="31279"/>
                            </a:lnTo>
                            <a:lnTo>
                              <a:pt x="21530" y="30382"/>
                            </a:lnTo>
                            <a:lnTo>
                              <a:pt x="23803" y="27451"/>
                            </a:lnTo>
                            <a:lnTo>
                              <a:pt x="23026" y="26913"/>
                            </a:lnTo>
                            <a:lnTo>
                              <a:pt x="20753" y="29844"/>
                            </a:lnTo>
                            <a:lnTo>
                              <a:pt x="20035" y="30741"/>
                            </a:lnTo>
                            <a:lnTo>
                              <a:pt x="14234" y="38097"/>
                            </a:lnTo>
                            <a:lnTo>
                              <a:pt x="1495" y="29904"/>
                            </a:lnTo>
                            <a:lnTo>
                              <a:pt x="7356" y="22487"/>
                            </a:lnTo>
                            <a:lnTo>
                              <a:pt x="8074" y="21590"/>
                            </a:lnTo>
                            <a:lnTo>
                              <a:pt x="10406" y="18660"/>
                            </a:lnTo>
                            <a:lnTo>
                              <a:pt x="9629" y="18121"/>
                            </a:lnTo>
                            <a:lnTo>
                              <a:pt x="7296" y="21052"/>
                            </a:lnTo>
                            <a:lnTo>
                              <a:pt x="6579" y="21949"/>
                            </a:lnTo>
                            <a:lnTo>
                              <a:pt x="0" y="30262"/>
                            </a:lnTo>
                          </a:path>
                        </a:pathLst>
                      </a:custGeom>
                      <a:noFill/>
                      <a:ln w="6350" cap="flat">
                        <a:solidFill>
                          <a:schemeClr val="bg1">
                            <a:alpha val="40000"/>
                          </a:schemeClr>
                        </a:solidFill>
                        <a:prstDash val="solid"/>
                        <a:miter/>
                      </a:ln>
                    </p:spPr>
                    <p:txBody>
                      <a:bodyPr rtlCol="0" anchor="ctr"/>
                      <a:lstStyle/>
                      <a:p>
                        <a:endParaRPr lang="en-GB"/>
                      </a:p>
                    </p:txBody>
                  </p:sp>
                  <p:sp>
                    <p:nvSpPr>
                      <p:cNvPr id="7532" name="Vrije vorm: vorm 7531">
                        <a:extLst>
                          <a:ext uri="{FF2B5EF4-FFF2-40B4-BE49-F238E27FC236}">
                            <a16:creationId xmlns:a16="http://schemas.microsoft.com/office/drawing/2014/main" id="{A4A0D233-E648-4FCE-B171-690903D75F13}"/>
                          </a:ext>
                        </a:extLst>
                      </p:cNvPr>
                      <p:cNvSpPr/>
                      <p:nvPr/>
                    </p:nvSpPr>
                    <p:spPr>
                      <a:xfrm>
                        <a:off x="5224898" y="5126296"/>
                        <a:ext cx="104243" cy="91146"/>
                      </a:xfrm>
                      <a:custGeom>
                        <a:avLst/>
                        <a:gdLst>
                          <a:gd name="connsiteX0" fmla="*/ 93539 w 104243"/>
                          <a:gd name="connsiteY0" fmla="*/ 1256 h 91146"/>
                          <a:gd name="connsiteX1" fmla="*/ 93718 w 104243"/>
                          <a:gd name="connsiteY1" fmla="*/ 1375 h 91146"/>
                          <a:gd name="connsiteX2" fmla="*/ 93897 w 104243"/>
                          <a:gd name="connsiteY2" fmla="*/ 1495 h 91146"/>
                          <a:gd name="connsiteX3" fmla="*/ 94077 w 104243"/>
                          <a:gd name="connsiteY3" fmla="*/ 1555 h 91146"/>
                          <a:gd name="connsiteX4" fmla="*/ 94256 w 104243"/>
                          <a:gd name="connsiteY4" fmla="*/ 1615 h 91146"/>
                          <a:gd name="connsiteX5" fmla="*/ 94675 w 104243"/>
                          <a:gd name="connsiteY5" fmla="*/ 1316 h 91146"/>
                          <a:gd name="connsiteX6" fmla="*/ 94795 w 104243"/>
                          <a:gd name="connsiteY6" fmla="*/ 1615 h 91146"/>
                          <a:gd name="connsiteX7" fmla="*/ 94974 w 104243"/>
                          <a:gd name="connsiteY7" fmla="*/ 1555 h 91146"/>
                          <a:gd name="connsiteX8" fmla="*/ 95154 w 104243"/>
                          <a:gd name="connsiteY8" fmla="*/ 1495 h 91146"/>
                          <a:gd name="connsiteX9" fmla="*/ 95333 w 104243"/>
                          <a:gd name="connsiteY9" fmla="*/ 1435 h 91146"/>
                          <a:gd name="connsiteX10" fmla="*/ 95512 w 104243"/>
                          <a:gd name="connsiteY10" fmla="*/ 1316 h 91146"/>
                          <a:gd name="connsiteX11" fmla="*/ 95572 w 104243"/>
                          <a:gd name="connsiteY11" fmla="*/ 1316 h 91146"/>
                          <a:gd name="connsiteX12" fmla="*/ 95632 w 104243"/>
                          <a:gd name="connsiteY12" fmla="*/ 1316 h 91146"/>
                          <a:gd name="connsiteX13" fmla="*/ 95692 w 104243"/>
                          <a:gd name="connsiteY13" fmla="*/ 1316 h 91146"/>
                          <a:gd name="connsiteX14" fmla="*/ 95751 w 104243"/>
                          <a:gd name="connsiteY14" fmla="*/ 1316 h 91146"/>
                          <a:gd name="connsiteX15" fmla="*/ 95154 w 104243"/>
                          <a:gd name="connsiteY15" fmla="*/ 0 h 91146"/>
                          <a:gd name="connsiteX16" fmla="*/ 93479 w 104243"/>
                          <a:gd name="connsiteY16" fmla="*/ 1256 h 91146"/>
                          <a:gd name="connsiteX17" fmla="*/ 93539 w 104243"/>
                          <a:gd name="connsiteY17" fmla="*/ 1256 h 91146"/>
                          <a:gd name="connsiteX18" fmla="*/ 95572 w 104243"/>
                          <a:gd name="connsiteY18" fmla="*/ 3349 h 91146"/>
                          <a:gd name="connsiteX19" fmla="*/ 95692 w 104243"/>
                          <a:gd name="connsiteY19" fmla="*/ 3230 h 91146"/>
                          <a:gd name="connsiteX20" fmla="*/ 95811 w 104243"/>
                          <a:gd name="connsiteY20" fmla="*/ 3170 h 91146"/>
                          <a:gd name="connsiteX21" fmla="*/ 95931 w 104243"/>
                          <a:gd name="connsiteY21" fmla="*/ 3110 h 91146"/>
                          <a:gd name="connsiteX22" fmla="*/ 96050 w 104243"/>
                          <a:gd name="connsiteY22" fmla="*/ 3050 h 91146"/>
                          <a:gd name="connsiteX23" fmla="*/ 96170 w 104243"/>
                          <a:gd name="connsiteY23" fmla="*/ 2990 h 91146"/>
                          <a:gd name="connsiteX24" fmla="*/ 96290 w 104243"/>
                          <a:gd name="connsiteY24" fmla="*/ 2930 h 91146"/>
                          <a:gd name="connsiteX25" fmla="*/ 96409 w 104243"/>
                          <a:gd name="connsiteY25" fmla="*/ 2871 h 91146"/>
                          <a:gd name="connsiteX26" fmla="*/ 96529 w 104243"/>
                          <a:gd name="connsiteY26" fmla="*/ 2811 h 91146"/>
                          <a:gd name="connsiteX27" fmla="*/ 96170 w 104243"/>
                          <a:gd name="connsiteY27" fmla="*/ 1974 h 91146"/>
                          <a:gd name="connsiteX28" fmla="*/ 96110 w 104243"/>
                          <a:gd name="connsiteY28" fmla="*/ 2034 h 91146"/>
                          <a:gd name="connsiteX29" fmla="*/ 96050 w 104243"/>
                          <a:gd name="connsiteY29" fmla="*/ 2093 h 91146"/>
                          <a:gd name="connsiteX30" fmla="*/ 95991 w 104243"/>
                          <a:gd name="connsiteY30" fmla="*/ 2153 h 91146"/>
                          <a:gd name="connsiteX31" fmla="*/ 95931 w 104243"/>
                          <a:gd name="connsiteY31" fmla="*/ 2213 h 91146"/>
                          <a:gd name="connsiteX32" fmla="*/ 95751 w 104243"/>
                          <a:gd name="connsiteY32" fmla="*/ 2333 h 91146"/>
                          <a:gd name="connsiteX33" fmla="*/ 95572 w 104243"/>
                          <a:gd name="connsiteY33" fmla="*/ 2452 h 91146"/>
                          <a:gd name="connsiteX34" fmla="*/ 95393 w 104243"/>
                          <a:gd name="connsiteY34" fmla="*/ 2512 h 91146"/>
                          <a:gd name="connsiteX35" fmla="*/ 95213 w 104243"/>
                          <a:gd name="connsiteY35" fmla="*/ 2572 h 91146"/>
                          <a:gd name="connsiteX36" fmla="*/ 95572 w 104243"/>
                          <a:gd name="connsiteY36" fmla="*/ 3349 h 91146"/>
                          <a:gd name="connsiteX37" fmla="*/ 96709 w 104243"/>
                          <a:gd name="connsiteY37" fmla="*/ 5742 h 91146"/>
                          <a:gd name="connsiteX38" fmla="*/ 97546 w 104243"/>
                          <a:gd name="connsiteY38" fmla="*/ 5143 h 91146"/>
                          <a:gd name="connsiteX39" fmla="*/ 97605 w 104243"/>
                          <a:gd name="connsiteY39" fmla="*/ 5263 h 91146"/>
                          <a:gd name="connsiteX40" fmla="*/ 97605 w 104243"/>
                          <a:gd name="connsiteY40" fmla="*/ 5263 h 91146"/>
                          <a:gd name="connsiteX41" fmla="*/ 97605 w 104243"/>
                          <a:gd name="connsiteY41" fmla="*/ 5263 h 91146"/>
                          <a:gd name="connsiteX42" fmla="*/ 97605 w 104243"/>
                          <a:gd name="connsiteY42" fmla="*/ 5263 h 91146"/>
                          <a:gd name="connsiteX43" fmla="*/ 97605 w 104243"/>
                          <a:gd name="connsiteY43" fmla="*/ 5263 h 91146"/>
                          <a:gd name="connsiteX44" fmla="*/ 96948 w 104243"/>
                          <a:gd name="connsiteY44" fmla="*/ 3768 h 91146"/>
                          <a:gd name="connsiteX45" fmla="*/ 96828 w 104243"/>
                          <a:gd name="connsiteY45" fmla="*/ 3828 h 91146"/>
                          <a:gd name="connsiteX46" fmla="*/ 96709 w 104243"/>
                          <a:gd name="connsiteY46" fmla="*/ 3888 h 91146"/>
                          <a:gd name="connsiteX47" fmla="*/ 96589 w 104243"/>
                          <a:gd name="connsiteY47" fmla="*/ 3947 h 91146"/>
                          <a:gd name="connsiteX48" fmla="*/ 96469 w 104243"/>
                          <a:gd name="connsiteY48" fmla="*/ 4007 h 91146"/>
                          <a:gd name="connsiteX49" fmla="*/ 96350 w 104243"/>
                          <a:gd name="connsiteY49" fmla="*/ 4067 h 91146"/>
                          <a:gd name="connsiteX50" fmla="*/ 96230 w 104243"/>
                          <a:gd name="connsiteY50" fmla="*/ 4127 h 91146"/>
                          <a:gd name="connsiteX51" fmla="*/ 96110 w 104243"/>
                          <a:gd name="connsiteY51" fmla="*/ 4187 h 91146"/>
                          <a:gd name="connsiteX52" fmla="*/ 95991 w 104243"/>
                          <a:gd name="connsiteY52" fmla="*/ 4246 h 91146"/>
                          <a:gd name="connsiteX53" fmla="*/ 96709 w 104243"/>
                          <a:gd name="connsiteY53" fmla="*/ 5742 h 91146"/>
                          <a:gd name="connsiteX54" fmla="*/ 99818 w 104243"/>
                          <a:gd name="connsiteY54" fmla="*/ 12440 h 91146"/>
                          <a:gd name="connsiteX55" fmla="*/ 97247 w 104243"/>
                          <a:gd name="connsiteY55" fmla="*/ 6758 h 91146"/>
                          <a:gd name="connsiteX56" fmla="*/ 97247 w 104243"/>
                          <a:gd name="connsiteY56" fmla="*/ 6758 h 91146"/>
                          <a:gd name="connsiteX57" fmla="*/ 97247 w 104243"/>
                          <a:gd name="connsiteY57" fmla="*/ 6758 h 91146"/>
                          <a:gd name="connsiteX58" fmla="*/ 97247 w 104243"/>
                          <a:gd name="connsiteY58" fmla="*/ 6758 h 91146"/>
                          <a:gd name="connsiteX59" fmla="*/ 97247 w 104243"/>
                          <a:gd name="connsiteY59" fmla="*/ 6758 h 91146"/>
                          <a:gd name="connsiteX60" fmla="*/ 99818 w 104243"/>
                          <a:gd name="connsiteY60" fmla="*/ 12440 h 91146"/>
                          <a:gd name="connsiteX61" fmla="*/ 100476 w 104243"/>
                          <a:gd name="connsiteY61" fmla="*/ 13935 h 91146"/>
                          <a:gd name="connsiteX62" fmla="*/ 100656 w 104243"/>
                          <a:gd name="connsiteY62" fmla="*/ 13756 h 91146"/>
                          <a:gd name="connsiteX63" fmla="*/ 100835 w 104243"/>
                          <a:gd name="connsiteY63" fmla="*/ 13576 h 91146"/>
                          <a:gd name="connsiteX64" fmla="*/ 101014 w 104243"/>
                          <a:gd name="connsiteY64" fmla="*/ 13397 h 91146"/>
                          <a:gd name="connsiteX65" fmla="*/ 101194 w 104243"/>
                          <a:gd name="connsiteY65" fmla="*/ 13218 h 91146"/>
                          <a:gd name="connsiteX66" fmla="*/ 98024 w 104243"/>
                          <a:gd name="connsiteY66" fmla="*/ 6340 h 91146"/>
                          <a:gd name="connsiteX67" fmla="*/ 98024 w 104243"/>
                          <a:gd name="connsiteY67" fmla="*/ 6340 h 91146"/>
                          <a:gd name="connsiteX68" fmla="*/ 98024 w 104243"/>
                          <a:gd name="connsiteY68" fmla="*/ 6340 h 91146"/>
                          <a:gd name="connsiteX69" fmla="*/ 98024 w 104243"/>
                          <a:gd name="connsiteY69" fmla="*/ 6340 h 91146"/>
                          <a:gd name="connsiteX70" fmla="*/ 98024 w 104243"/>
                          <a:gd name="connsiteY70" fmla="*/ 6340 h 91146"/>
                          <a:gd name="connsiteX71" fmla="*/ 100955 w 104243"/>
                          <a:gd name="connsiteY71" fmla="*/ 12679 h 91146"/>
                          <a:gd name="connsiteX72" fmla="*/ 100117 w 104243"/>
                          <a:gd name="connsiteY72" fmla="*/ 13277 h 91146"/>
                          <a:gd name="connsiteX73" fmla="*/ 100476 w 104243"/>
                          <a:gd name="connsiteY73" fmla="*/ 13935 h 91146"/>
                          <a:gd name="connsiteX74" fmla="*/ 88814 w 104243"/>
                          <a:gd name="connsiteY74" fmla="*/ 4605 h 91146"/>
                          <a:gd name="connsiteX75" fmla="*/ 88993 w 104243"/>
                          <a:gd name="connsiteY75" fmla="*/ 4605 h 91146"/>
                          <a:gd name="connsiteX76" fmla="*/ 89173 w 104243"/>
                          <a:gd name="connsiteY76" fmla="*/ 4605 h 91146"/>
                          <a:gd name="connsiteX77" fmla="*/ 89352 w 104243"/>
                          <a:gd name="connsiteY77" fmla="*/ 4605 h 91146"/>
                          <a:gd name="connsiteX78" fmla="*/ 89532 w 104243"/>
                          <a:gd name="connsiteY78" fmla="*/ 4665 h 91146"/>
                          <a:gd name="connsiteX79" fmla="*/ 89651 w 104243"/>
                          <a:gd name="connsiteY79" fmla="*/ 4725 h 91146"/>
                          <a:gd name="connsiteX80" fmla="*/ 89771 w 104243"/>
                          <a:gd name="connsiteY80" fmla="*/ 4785 h 91146"/>
                          <a:gd name="connsiteX81" fmla="*/ 89890 w 104243"/>
                          <a:gd name="connsiteY81" fmla="*/ 4844 h 91146"/>
                          <a:gd name="connsiteX82" fmla="*/ 90010 w 104243"/>
                          <a:gd name="connsiteY82" fmla="*/ 4904 h 91146"/>
                          <a:gd name="connsiteX83" fmla="*/ 93299 w 104243"/>
                          <a:gd name="connsiteY83" fmla="*/ 2452 h 91146"/>
                          <a:gd name="connsiteX84" fmla="*/ 93180 w 104243"/>
                          <a:gd name="connsiteY84" fmla="*/ 2392 h 91146"/>
                          <a:gd name="connsiteX85" fmla="*/ 93120 w 104243"/>
                          <a:gd name="connsiteY85" fmla="*/ 2333 h 91146"/>
                          <a:gd name="connsiteX86" fmla="*/ 93060 w 104243"/>
                          <a:gd name="connsiteY86" fmla="*/ 2273 h 91146"/>
                          <a:gd name="connsiteX87" fmla="*/ 93000 w 104243"/>
                          <a:gd name="connsiteY87" fmla="*/ 2213 h 91146"/>
                          <a:gd name="connsiteX88" fmla="*/ 92941 w 104243"/>
                          <a:gd name="connsiteY88" fmla="*/ 2153 h 91146"/>
                          <a:gd name="connsiteX89" fmla="*/ 92881 w 104243"/>
                          <a:gd name="connsiteY89" fmla="*/ 2093 h 91146"/>
                          <a:gd name="connsiteX90" fmla="*/ 92821 w 104243"/>
                          <a:gd name="connsiteY90" fmla="*/ 1974 h 91146"/>
                          <a:gd name="connsiteX91" fmla="*/ 92761 w 104243"/>
                          <a:gd name="connsiteY91" fmla="*/ 1854 h 91146"/>
                          <a:gd name="connsiteX92" fmla="*/ 88814 w 104243"/>
                          <a:gd name="connsiteY92" fmla="*/ 4605 h 91146"/>
                          <a:gd name="connsiteX93" fmla="*/ 101612 w 104243"/>
                          <a:gd name="connsiteY93" fmla="*/ 16327 h 91146"/>
                          <a:gd name="connsiteX94" fmla="*/ 101792 w 104243"/>
                          <a:gd name="connsiteY94" fmla="*/ 16148 h 91146"/>
                          <a:gd name="connsiteX95" fmla="*/ 101971 w 104243"/>
                          <a:gd name="connsiteY95" fmla="*/ 15968 h 91146"/>
                          <a:gd name="connsiteX96" fmla="*/ 102151 w 104243"/>
                          <a:gd name="connsiteY96" fmla="*/ 15789 h 91146"/>
                          <a:gd name="connsiteX97" fmla="*/ 102330 w 104243"/>
                          <a:gd name="connsiteY97" fmla="*/ 15610 h 91146"/>
                          <a:gd name="connsiteX98" fmla="*/ 101672 w 104243"/>
                          <a:gd name="connsiteY98" fmla="*/ 14174 h 91146"/>
                          <a:gd name="connsiteX99" fmla="*/ 101493 w 104243"/>
                          <a:gd name="connsiteY99" fmla="*/ 14354 h 91146"/>
                          <a:gd name="connsiteX100" fmla="*/ 101313 w 104243"/>
                          <a:gd name="connsiteY100" fmla="*/ 14533 h 91146"/>
                          <a:gd name="connsiteX101" fmla="*/ 101134 w 104243"/>
                          <a:gd name="connsiteY101" fmla="*/ 14713 h 91146"/>
                          <a:gd name="connsiteX102" fmla="*/ 100955 w 104243"/>
                          <a:gd name="connsiteY102" fmla="*/ 14892 h 91146"/>
                          <a:gd name="connsiteX103" fmla="*/ 101612 w 104243"/>
                          <a:gd name="connsiteY103" fmla="*/ 16327 h 91146"/>
                          <a:gd name="connsiteX104" fmla="*/ 102450 w 104243"/>
                          <a:gd name="connsiteY104" fmla="*/ 18241 h 91146"/>
                          <a:gd name="connsiteX105" fmla="*/ 102749 w 104243"/>
                          <a:gd name="connsiteY105" fmla="*/ 18182 h 91146"/>
                          <a:gd name="connsiteX106" fmla="*/ 103048 w 104243"/>
                          <a:gd name="connsiteY106" fmla="*/ 18122 h 91146"/>
                          <a:gd name="connsiteX107" fmla="*/ 103287 w 104243"/>
                          <a:gd name="connsiteY107" fmla="*/ 18122 h 91146"/>
                          <a:gd name="connsiteX108" fmla="*/ 103526 w 104243"/>
                          <a:gd name="connsiteY108" fmla="*/ 18122 h 91146"/>
                          <a:gd name="connsiteX109" fmla="*/ 102869 w 104243"/>
                          <a:gd name="connsiteY109" fmla="*/ 16627 h 91146"/>
                          <a:gd name="connsiteX110" fmla="*/ 102689 w 104243"/>
                          <a:gd name="connsiteY110" fmla="*/ 16806 h 91146"/>
                          <a:gd name="connsiteX111" fmla="*/ 102510 w 104243"/>
                          <a:gd name="connsiteY111" fmla="*/ 16985 h 91146"/>
                          <a:gd name="connsiteX112" fmla="*/ 102330 w 104243"/>
                          <a:gd name="connsiteY112" fmla="*/ 17165 h 91146"/>
                          <a:gd name="connsiteX113" fmla="*/ 102151 w 104243"/>
                          <a:gd name="connsiteY113" fmla="*/ 17344 h 91146"/>
                          <a:gd name="connsiteX114" fmla="*/ 102450 w 104243"/>
                          <a:gd name="connsiteY114" fmla="*/ 18241 h 91146"/>
                          <a:gd name="connsiteX115" fmla="*/ 86541 w 104243"/>
                          <a:gd name="connsiteY115" fmla="*/ 7416 h 91146"/>
                          <a:gd name="connsiteX116" fmla="*/ 88933 w 104243"/>
                          <a:gd name="connsiteY116" fmla="*/ 5622 h 91146"/>
                          <a:gd name="connsiteX117" fmla="*/ 88276 w 104243"/>
                          <a:gd name="connsiteY117" fmla="*/ 5682 h 91146"/>
                          <a:gd name="connsiteX118" fmla="*/ 87618 w 104243"/>
                          <a:gd name="connsiteY118" fmla="*/ 6041 h 91146"/>
                          <a:gd name="connsiteX119" fmla="*/ 87079 w 104243"/>
                          <a:gd name="connsiteY119" fmla="*/ 6579 h 91146"/>
                          <a:gd name="connsiteX120" fmla="*/ 86661 w 104243"/>
                          <a:gd name="connsiteY120" fmla="*/ 7297 h 91146"/>
                          <a:gd name="connsiteX121" fmla="*/ 86661 w 104243"/>
                          <a:gd name="connsiteY121" fmla="*/ 7356 h 91146"/>
                          <a:gd name="connsiteX122" fmla="*/ 86661 w 104243"/>
                          <a:gd name="connsiteY122" fmla="*/ 7416 h 91146"/>
                          <a:gd name="connsiteX123" fmla="*/ 86541 w 104243"/>
                          <a:gd name="connsiteY123" fmla="*/ 7416 h 91146"/>
                          <a:gd name="connsiteX124" fmla="*/ 86541 w 104243"/>
                          <a:gd name="connsiteY124" fmla="*/ 7416 h 91146"/>
                          <a:gd name="connsiteX125" fmla="*/ 100835 w 104243"/>
                          <a:gd name="connsiteY125" fmla="*/ 22488 h 91146"/>
                          <a:gd name="connsiteX126" fmla="*/ 104244 w 104243"/>
                          <a:gd name="connsiteY126" fmla="*/ 19916 h 91146"/>
                          <a:gd name="connsiteX127" fmla="*/ 104184 w 104243"/>
                          <a:gd name="connsiteY127" fmla="*/ 19796 h 91146"/>
                          <a:gd name="connsiteX128" fmla="*/ 104125 w 104243"/>
                          <a:gd name="connsiteY128" fmla="*/ 19677 h 91146"/>
                          <a:gd name="connsiteX129" fmla="*/ 104065 w 104243"/>
                          <a:gd name="connsiteY129" fmla="*/ 19557 h 91146"/>
                          <a:gd name="connsiteX130" fmla="*/ 103945 w 104243"/>
                          <a:gd name="connsiteY130" fmla="*/ 19437 h 91146"/>
                          <a:gd name="connsiteX131" fmla="*/ 103826 w 104243"/>
                          <a:gd name="connsiteY131" fmla="*/ 19318 h 91146"/>
                          <a:gd name="connsiteX132" fmla="*/ 103706 w 104243"/>
                          <a:gd name="connsiteY132" fmla="*/ 19258 h 91146"/>
                          <a:gd name="connsiteX133" fmla="*/ 103586 w 104243"/>
                          <a:gd name="connsiteY133" fmla="*/ 19198 h 91146"/>
                          <a:gd name="connsiteX134" fmla="*/ 103407 w 104243"/>
                          <a:gd name="connsiteY134" fmla="*/ 19138 h 91146"/>
                          <a:gd name="connsiteX135" fmla="*/ 103287 w 104243"/>
                          <a:gd name="connsiteY135" fmla="*/ 19138 h 91146"/>
                          <a:gd name="connsiteX136" fmla="*/ 103167 w 104243"/>
                          <a:gd name="connsiteY136" fmla="*/ 19138 h 91146"/>
                          <a:gd name="connsiteX137" fmla="*/ 103048 w 104243"/>
                          <a:gd name="connsiteY137" fmla="*/ 19138 h 91146"/>
                          <a:gd name="connsiteX138" fmla="*/ 102928 w 104243"/>
                          <a:gd name="connsiteY138" fmla="*/ 19138 h 91146"/>
                          <a:gd name="connsiteX139" fmla="*/ 103167 w 104243"/>
                          <a:gd name="connsiteY139" fmla="*/ 19677 h 91146"/>
                          <a:gd name="connsiteX140" fmla="*/ 100716 w 104243"/>
                          <a:gd name="connsiteY140" fmla="*/ 21531 h 91146"/>
                          <a:gd name="connsiteX141" fmla="*/ 100716 w 104243"/>
                          <a:gd name="connsiteY141" fmla="*/ 21770 h 91146"/>
                          <a:gd name="connsiteX142" fmla="*/ 100716 w 104243"/>
                          <a:gd name="connsiteY142" fmla="*/ 22009 h 91146"/>
                          <a:gd name="connsiteX143" fmla="*/ 100775 w 104243"/>
                          <a:gd name="connsiteY143" fmla="*/ 22248 h 91146"/>
                          <a:gd name="connsiteX144" fmla="*/ 100835 w 104243"/>
                          <a:gd name="connsiteY144" fmla="*/ 22428 h 91146"/>
                          <a:gd name="connsiteX145" fmla="*/ 100835 w 104243"/>
                          <a:gd name="connsiteY145" fmla="*/ 22488 h 91146"/>
                          <a:gd name="connsiteX146" fmla="*/ 84388 w 104243"/>
                          <a:gd name="connsiteY146" fmla="*/ 9031 h 91146"/>
                          <a:gd name="connsiteX147" fmla="*/ 85465 w 104243"/>
                          <a:gd name="connsiteY147" fmla="*/ 8194 h 91146"/>
                          <a:gd name="connsiteX148" fmla="*/ 85524 w 104243"/>
                          <a:gd name="connsiteY148" fmla="*/ 7895 h 91146"/>
                          <a:gd name="connsiteX149" fmla="*/ 85584 w 104243"/>
                          <a:gd name="connsiteY149" fmla="*/ 7596 h 91146"/>
                          <a:gd name="connsiteX150" fmla="*/ 85644 w 104243"/>
                          <a:gd name="connsiteY150" fmla="*/ 7297 h 91146"/>
                          <a:gd name="connsiteX151" fmla="*/ 85764 w 104243"/>
                          <a:gd name="connsiteY151" fmla="*/ 6997 h 91146"/>
                          <a:gd name="connsiteX152" fmla="*/ 85764 w 104243"/>
                          <a:gd name="connsiteY152" fmla="*/ 6938 h 91146"/>
                          <a:gd name="connsiteX153" fmla="*/ 85764 w 104243"/>
                          <a:gd name="connsiteY153" fmla="*/ 6878 h 91146"/>
                          <a:gd name="connsiteX154" fmla="*/ 85764 w 104243"/>
                          <a:gd name="connsiteY154" fmla="*/ 6818 h 91146"/>
                          <a:gd name="connsiteX155" fmla="*/ 85764 w 104243"/>
                          <a:gd name="connsiteY155" fmla="*/ 6758 h 91146"/>
                          <a:gd name="connsiteX156" fmla="*/ 84747 w 104243"/>
                          <a:gd name="connsiteY156" fmla="*/ 7536 h 91146"/>
                          <a:gd name="connsiteX157" fmla="*/ 84627 w 104243"/>
                          <a:gd name="connsiteY157" fmla="*/ 7895 h 91146"/>
                          <a:gd name="connsiteX158" fmla="*/ 84508 w 104243"/>
                          <a:gd name="connsiteY158" fmla="*/ 8253 h 91146"/>
                          <a:gd name="connsiteX159" fmla="*/ 84388 w 104243"/>
                          <a:gd name="connsiteY159" fmla="*/ 8612 h 91146"/>
                          <a:gd name="connsiteX160" fmla="*/ 84388 w 104243"/>
                          <a:gd name="connsiteY160" fmla="*/ 9031 h 91146"/>
                          <a:gd name="connsiteX161" fmla="*/ 80740 w 104243"/>
                          <a:gd name="connsiteY161" fmla="*/ 11782 h 91146"/>
                          <a:gd name="connsiteX162" fmla="*/ 83012 w 104243"/>
                          <a:gd name="connsiteY162" fmla="*/ 10048 h 91146"/>
                          <a:gd name="connsiteX163" fmla="*/ 83072 w 104243"/>
                          <a:gd name="connsiteY163" fmla="*/ 9689 h 91146"/>
                          <a:gd name="connsiteX164" fmla="*/ 83132 w 104243"/>
                          <a:gd name="connsiteY164" fmla="*/ 9330 h 91146"/>
                          <a:gd name="connsiteX165" fmla="*/ 83252 w 104243"/>
                          <a:gd name="connsiteY165" fmla="*/ 8971 h 91146"/>
                          <a:gd name="connsiteX166" fmla="*/ 83371 w 104243"/>
                          <a:gd name="connsiteY166" fmla="*/ 8612 h 91146"/>
                          <a:gd name="connsiteX167" fmla="*/ 80979 w 104243"/>
                          <a:gd name="connsiteY167" fmla="*/ 10406 h 91146"/>
                          <a:gd name="connsiteX168" fmla="*/ 80919 w 104243"/>
                          <a:gd name="connsiteY168" fmla="*/ 10706 h 91146"/>
                          <a:gd name="connsiteX169" fmla="*/ 80859 w 104243"/>
                          <a:gd name="connsiteY169" fmla="*/ 11005 h 91146"/>
                          <a:gd name="connsiteX170" fmla="*/ 80800 w 104243"/>
                          <a:gd name="connsiteY170" fmla="*/ 11304 h 91146"/>
                          <a:gd name="connsiteX171" fmla="*/ 80740 w 104243"/>
                          <a:gd name="connsiteY171" fmla="*/ 11782 h 91146"/>
                          <a:gd name="connsiteX172" fmla="*/ 93299 w 104243"/>
                          <a:gd name="connsiteY172" fmla="*/ 27093 h 91146"/>
                          <a:gd name="connsiteX173" fmla="*/ 93598 w 104243"/>
                          <a:gd name="connsiteY173" fmla="*/ 27153 h 91146"/>
                          <a:gd name="connsiteX174" fmla="*/ 93897 w 104243"/>
                          <a:gd name="connsiteY174" fmla="*/ 27212 h 91146"/>
                          <a:gd name="connsiteX175" fmla="*/ 94196 w 104243"/>
                          <a:gd name="connsiteY175" fmla="*/ 27212 h 91146"/>
                          <a:gd name="connsiteX176" fmla="*/ 94495 w 104243"/>
                          <a:gd name="connsiteY176" fmla="*/ 27212 h 91146"/>
                          <a:gd name="connsiteX177" fmla="*/ 99938 w 104243"/>
                          <a:gd name="connsiteY177" fmla="*/ 23085 h 91146"/>
                          <a:gd name="connsiteX178" fmla="*/ 99938 w 104243"/>
                          <a:gd name="connsiteY178" fmla="*/ 23026 h 91146"/>
                          <a:gd name="connsiteX179" fmla="*/ 99938 w 104243"/>
                          <a:gd name="connsiteY179" fmla="*/ 22966 h 91146"/>
                          <a:gd name="connsiteX180" fmla="*/ 99938 w 104243"/>
                          <a:gd name="connsiteY180" fmla="*/ 22906 h 91146"/>
                          <a:gd name="connsiteX181" fmla="*/ 99938 w 104243"/>
                          <a:gd name="connsiteY181" fmla="*/ 22846 h 91146"/>
                          <a:gd name="connsiteX182" fmla="*/ 99878 w 104243"/>
                          <a:gd name="connsiteY182" fmla="*/ 22667 h 91146"/>
                          <a:gd name="connsiteX183" fmla="*/ 99818 w 104243"/>
                          <a:gd name="connsiteY183" fmla="*/ 22488 h 91146"/>
                          <a:gd name="connsiteX184" fmla="*/ 99758 w 104243"/>
                          <a:gd name="connsiteY184" fmla="*/ 22308 h 91146"/>
                          <a:gd name="connsiteX185" fmla="*/ 99758 w 104243"/>
                          <a:gd name="connsiteY185" fmla="*/ 22129 h 91146"/>
                          <a:gd name="connsiteX186" fmla="*/ 93299 w 104243"/>
                          <a:gd name="connsiteY186" fmla="*/ 27093 h 91146"/>
                          <a:gd name="connsiteX187" fmla="*/ 89651 w 104243"/>
                          <a:gd name="connsiteY187" fmla="*/ 29904 h 91146"/>
                          <a:gd name="connsiteX188" fmla="*/ 89890 w 104243"/>
                          <a:gd name="connsiteY188" fmla="*/ 29963 h 91146"/>
                          <a:gd name="connsiteX189" fmla="*/ 90130 w 104243"/>
                          <a:gd name="connsiteY189" fmla="*/ 30023 h 91146"/>
                          <a:gd name="connsiteX190" fmla="*/ 90369 w 104243"/>
                          <a:gd name="connsiteY190" fmla="*/ 30083 h 91146"/>
                          <a:gd name="connsiteX191" fmla="*/ 90608 w 104243"/>
                          <a:gd name="connsiteY191" fmla="*/ 30143 h 91146"/>
                          <a:gd name="connsiteX192" fmla="*/ 93000 w 104243"/>
                          <a:gd name="connsiteY192" fmla="*/ 28289 h 91146"/>
                          <a:gd name="connsiteX193" fmla="*/ 92701 w 104243"/>
                          <a:gd name="connsiteY193" fmla="*/ 28229 h 91146"/>
                          <a:gd name="connsiteX194" fmla="*/ 92402 w 104243"/>
                          <a:gd name="connsiteY194" fmla="*/ 28169 h 91146"/>
                          <a:gd name="connsiteX195" fmla="*/ 92103 w 104243"/>
                          <a:gd name="connsiteY195" fmla="*/ 28109 h 91146"/>
                          <a:gd name="connsiteX196" fmla="*/ 91804 w 104243"/>
                          <a:gd name="connsiteY196" fmla="*/ 28050 h 91146"/>
                          <a:gd name="connsiteX197" fmla="*/ 89651 w 104243"/>
                          <a:gd name="connsiteY197" fmla="*/ 29904 h 91146"/>
                          <a:gd name="connsiteX198" fmla="*/ 2034 w 104243"/>
                          <a:gd name="connsiteY198" fmla="*/ 70094 h 91146"/>
                          <a:gd name="connsiteX199" fmla="*/ 2333 w 104243"/>
                          <a:gd name="connsiteY199" fmla="*/ 70154 h 91146"/>
                          <a:gd name="connsiteX200" fmla="*/ 2632 w 104243"/>
                          <a:gd name="connsiteY200" fmla="*/ 70214 h 91146"/>
                          <a:gd name="connsiteX201" fmla="*/ 2930 w 104243"/>
                          <a:gd name="connsiteY201" fmla="*/ 70273 h 91146"/>
                          <a:gd name="connsiteX202" fmla="*/ 3170 w 104243"/>
                          <a:gd name="connsiteY202" fmla="*/ 70333 h 91146"/>
                          <a:gd name="connsiteX203" fmla="*/ 79783 w 104243"/>
                          <a:gd name="connsiteY203" fmla="*/ 12500 h 91146"/>
                          <a:gd name="connsiteX204" fmla="*/ 79843 w 104243"/>
                          <a:gd name="connsiteY204" fmla="*/ 12201 h 91146"/>
                          <a:gd name="connsiteX205" fmla="*/ 79903 w 104243"/>
                          <a:gd name="connsiteY205" fmla="*/ 11902 h 91146"/>
                          <a:gd name="connsiteX206" fmla="*/ 79962 w 104243"/>
                          <a:gd name="connsiteY206" fmla="*/ 11603 h 91146"/>
                          <a:gd name="connsiteX207" fmla="*/ 80022 w 104243"/>
                          <a:gd name="connsiteY207" fmla="*/ 11304 h 91146"/>
                          <a:gd name="connsiteX208" fmla="*/ 2034 w 104243"/>
                          <a:gd name="connsiteY208" fmla="*/ 70094 h 91146"/>
                          <a:gd name="connsiteX209" fmla="*/ 957 w 104243"/>
                          <a:gd name="connsiteY209" fmla="*/ 73264 h 91146"/>
                          <a:gd name="connsiteX210" fmla="*/ 1316 w 104243"/>
                          <a:gd name="connsiteY210" fmla="*/ 73384 h 91146"/>
                          <a:gd name="connsiteX211" fmla="*/ 1675 w 104243"/>
                          <a:gd name="connsiteY211" fmla="*/ 73503 h 91146"/>
                          <a:gd name="connsiteX212" fmla="*/ 2034 w 104243"/>
                          <a:gd name="connsiteY212" fmla="*/ 73623 h 91146"/>
                          <a:gd name="connsiteX213" fmla="*/ 2392 w 104243"/>
                          <a:gd name="connsiteY213" fmla="*/ 73742 h 91146"/>
                          <a:gd name="connsiteX214" fmla="*/ 1316 w 104243"/>
                          <a:gd name="connsiteY214" fmla="*/ 71769 h 91146"/>
                          <a:gd name="connsiteX215" fmla="*/ 2034 w 104243"/>
                          <a:gd name="connsiteY215" fmla="*/ 71231 h 91146"/>
                          <a:gd name="connsiteX216" fmla="*/ 1735 w 104243"/>
                          <a:gd name="connsiteY216" fmla="*/ 71171 h 91146"/>
                          <a:gd name="connsiteX217" fmla="*/ 1435 w 104243"/>
                          <a:gd name="connsiteY217" fmla="*/ 71111 h 91146"/>
                          <a:gd name="connsiteX218" fmla="*/ 1136 w 104243"/>
                          <a:gd name="connsiteY218" fmla="*/ 71051 h 91146"/>
                          <a:gd name="connsiteX219" fmla="*/ 837 w 104243"/>
                          <a:gd name="connsiteY219" fmla="*/ 70991 h 91146"/>
                          <a:gd name="connsiteX220" fmla="*/ 0 w 104243"/>
                          <a:gd name="connsiteY220" fmla="*/ 71649 h 91146"/>
                          <a:gd name="connsiteX221" fmla="*/ 957 w 104243"/>
                          <a:gd name="connsiteY221" fmla="*/ 73264 h 91146"/>
                          <a:gd name="connsiteX222" fmla="*/ 3529 w 104243"/>
                          <a:gd name="connsiteY222" fmla="*/ 78168 h 91146"/>
                          <a:gd name="connsiteX223" fmla="*/ 3529 w 104243"/>
                          <a:gd name="connsiteY223" fmla="*/ 78168 h 91146"/>
                          <a:gd name="connsiteX224" fmla="*/ 3529 w 104243"/>
                          <a:gd name="connsiteY224" fmla="*/ 78168 h 91146"/>
                          <a:gd name="connsiteX225" fmla="*/ 3529 w 104243"/>
                          <a:gd name="connsiteY225" fmla="*/ 78168 h 91146"/>
                          <a:gd name="connsiteX226" fmla="*/ 3529 w 104243"/>
                          <a:gd name="connsiteY226" fmla="*/ 78168 h 91146"/>
                          <a:gd name="connsiteX227" fmla="*/ 2751 w 104243"/>
                          <a:gd name="connsiteY227" fmla="*/ 76673 h 91146"/>
                          <a:gd name="connsiteX228" fmla="*/ 3589 w 104243"/>
                          <a:gd name="connsiteY228" fmla="*/ 76015 h 91146"/>
                          <a:gd name="connsiteX229" fmla="*/ 3349 w 104243"/>
                          <a:gd name="connsiteY229" fmla="*/ 75596 h 91146"/>
                          <a:gd name="connsiteX230" fmla="*/ 2990 w 104243"/>
                          <a:gd name="connsiteY230" fmla="*/ 75417 h 91146"/>
                          <a:gd name="connsiteX231" fmla="*/ 2572 w 104243"/>
                          <a:gd name="connsiteY231" fmla="*/ 75238 h 91146"/>
                          <a:gd name="connsiteX232" fmla="*/ 2153 w 104243"/>
                          <a:gd name="connsiteY232" fmla="*/ 75058 h 91146"/>
                          <a:gd name="connsiteX233" fmla="*/ 1735 w 104243"/>
                          <a:gd name="connsiteY233" fmla="*/ 74879 h 91146"/>
                          <a:gd name="connsiteX234" fmla="*/ 3529 w 104243"/>
                          <a:gd name="connsiteY234" fmla="*/ 78168 h 91146"/>
                          <a:gd name="connsiteX235" fmla="*/ 7057 w 104243"/>
                          <a:gd name="connsiteY235" fmla="*/ 82654 h 91146"/>
                          <a:gd name="connsiteX236" fmla="*/ 7057 w 104243"/>
                          <a:gd name="connsiteY236" fmla="*/ 82654 h 91146"/>
                          <a:gd name="connsiteX237" fmla="*/ 6340 w 104243"/>
                          <a:gd name="connsiteY237" fmla="*/ 81338 h 91146"/>
                          <a:gd name="connsiteX238" fmla="*/ 6340 w 104243"/>
                          <a:gd name="connsiteY238" fmla="*/ 81338 h 91146"/>
                          <a:gd name="connsiteX239" fmla="*/ 6340 w 104243"/>
                          <a:gd name="connsiteY239" fmla="*/ 81338 h 91146"/>
                          <a:gd name="connsiteX240" fmla="*/ 6340 w 104243"/>
                          <a:gd name="connsiteY240" fmla="*/ 81338 h 91146"/>
                          <a:gd name="connsiteX241" fmla="*/ 6340 w 104243"/>
                          <a:gd name="connsiteY241" fmla="*/ 81338 h 91146"/>
                          <a:gd name="connsiteX242" fmla="*/ 7057 w 104243"/>
                          <a:gd name="connsiteY242" fmla="*/ 82654 h 91146"/>
                          <a:gd name="connsiteX243" fmla="*/ 5323 w 104243"/>
                          <a:gd name="connsiteY243" fmla="*/ 81637 h 91146"/>
                          <a:gd name="connsiteX244" fmla="*/ 5323 w 104243"/>
                          <a:gd name="connsiteY244" fmla="*/ 81637 h 91146"/>
                          <a:gd name="connsiteX245" fmla="*/ 5323 w 104243"/>
                          <a:gd name="connsiteY245" fmla="*/ 81637 h 91146"/>
                          <a:gd name="connsiteX246" fmla="*/ 5323 w 104243"/>
                          <a:gd name="connsiteY246" fmla="*/ 81637 h 91146"/>
                          <a:gd name="connsiteX247" fmla="*/ 5323 w 104243"/>
                          <a:gd name="connsiteY247" fmla="*/ 81637 h 91146"/>
                          <a:gd name="connsiteX248" fmla="*/ 4007 w 104243"/>
                          <a:gd name="connsiteY248" fmla="*/ 79125 h 91146"/>
                          <a:gd name="connsiteX249" fmla="*/ 4007 w 104243"/>
                          <a:gd name="connsiteY249" fmla="*/ 79125 h 91146"/>
                          <a:gd name="connsiteX250" fmla="*/ 4007 w 104243"/>
                          <a:gd name="connsiteY250" fmla="*/ 79125 h 91146"/>
                          <a:gd name="connsiteX251" fmla="*/ 4007 w 104243"/>
                          <a:gd name="connsiteY251" fmla="*/ 79125 h 91146"/>
                          <a:gd name="connsiteX252" fmla="*/ 4007 w 104243"/>
                          <a:gd name="connsiteY252" fmla="*/ 79125 h 91146"/>
                          <a:gd name="connsiteX253" fmla="*/ 5323 w 104243"/>
                          <a:gd name="connsiteY253" fmla="*/ 81637 h 91146"/>
                          <a:gd name="connsiteX254" fmla="*/ 13516 w 104243"/>
                          <a:gd name="connsiteY254" fmla="*/ 88694 h 91146"/>
                          <a:gd name="connsiteX255" fmla="*/ 89591 w 104243"/>
                          <a:gd name="connsiteY255" fmla="*/ 30980 h 91146"/>
                          <a:gd name="connsiteX256" fmla="*/ 89352 w 104243"/>
                          <a:gd name="connsiteY256" fmla="*/ 30920 h 91146"/>
                          <a:gd name="connsiteX257" fmla="*/ 89113 w 104243"/>
                          <a:gd name="connsiteY257" fmla="*/ 30861 h 91146"/>
                          <a:gd name="connsiteX258" fmla="*/ 88874 w 104243"/>
                          <a:gd name="connsiteY258" fmla="*/ 30801 h 91146"/>
                          <a:gd name="connsiteX259" fmla="*/ 88634 w 104243"/>
                          <a:gd name="connsiteY259" fmla="*/ 30681 h 91146"/>
                          <a:gd name="connsiteX260" fmla="*/ 13636 w 104243"/>
                          <a:gd name="connsiteY260" fmla="*/ 87558 h 91146"/>
                          <a:gd name="connsiteX261" fmla="*/ 13636 w 104243"/>
                          <a:gd name="connsiteY261" fmla="*/ 87857 h 91146"/>
                          <a:gd name="connsiteX262" fmla="*/ 13636 w 104243"/>
                          <a:gd name="connsiteY262" fmla="*/ 88156 h 91146"/>
                          <a:gd name="connsiteX263" fmla="*/ 13576 w 104243"/>
                          <a:gd name="connsiteY263" fmla="*/ 88455 h 91146"/>
                          <a:gd name="connsiteX264" fmla="*/ 13516 w 104243"/>
                          <a:gd name="connsiteY264" fmla="*/ 88694 h 91146"/>
                          <a:gd name="connsiteX265" fmla="*/ 9390 w 104243"/>
                          <a:gd name="connsiteY265" fmla="*/ 89292 h 91146"/>
                          <a:gd name="connsiteX266" fmla="*/ 9450 w 104243"/>
                          <a:gd name="connsiteY266" fmla="*/ 88814 h 91146"/>
                          <a:gd name="connsiteX267" fmla="*/ 9510 w 104243"/>
                          <a:gd name="connsiteY267" fmla="*/ 88335 h 91146"/>
                          <a:gd name="connsiteX268" fmla="*/ 9510 w 104243"/>
                          <a:gd name="connsiteY268" fmla="*/ 87857 h 91146"/>
                          <a:gd name="connsiteX269" fmla="*/ 9510 w 104243"/>
                          <a:gd name="connsiteY269" fmla="*/ 87378 h 91146"/>
                          <a:gd name="connsiteX270" fmla="*/ 7476 w 104243"/>
                          <a:gd name="connsiteY270" fmla="*/ 83491 h 91146"/>
                          <a:gd name="connsiteX271" fmla="*/ 6639 w 104243"/>
                          <a:gd name="connsiteY271" fmla="*/ 84149 h 91146"/>
                          <a:gd name="connsiteX272" fmla="*/ 9390 w 104243"/>
                          <a:gd name="connsiteY272" fmla="*/ 89292 h 91146"/>
                          <a:gd name="connsiteX273" fmla="*/ 10347 w 104243"/>
                          <a:gd name="connsiteY273" fmla="*/ 91146 h 91146"/>
                          <a:gd name="connsiteX274" fmla="*/ 12500 w 104243"/>
                          <a:gd name="connsiteY274" fmla="*/ 89532 h 91146"/>
                          <a:gd name="connsiteX275" fmla="*/ 12500 w 104243"/>
                          <a:gd name="connsiteY275" fmla="*/ 89472 h 91146"/>
                          <a:gd name="connsiteX276" fmla="*/ 12500 w 104243"/>
                          <a:gd name="connsiteY276" fmla="*/ 89412 h 91146"/>
                          <a:gd name="connsiteX277" fmla="*/ 12500 w 104243"/>
                          <a:gd name="connsiteY277" fmla="*/ 89352 h 91146"/>
                          <a:gd name="connsiteX278" fmla="*/ 12500 w 104243"/>
                          <a:gd name="connsiteY278" fmla="*/ 89292 h 91146"/>
                          <a:gd name="connsiteX279" fmla="*/ 12560 w 104243"/>
                          <a:gd name="connsiteY279" fmla="*/ 89053 h 91146"/>
                          <a:gd name="connsiteX280" fmla="*/ 12620 w 104243"/>
                          <a:gd name="connsiteY280" fmla="*/ 88814 h 91146"/>
                          <a:gd name="connsiteX281" fmla="*/ 12679 w 104243"/>
                          <a:gd name="connsiteY281" fmla="*/ 88574 h 91146"/>
                          <a:gd name="connsiteX282" fmla="*/ 12679 w 104243"/>
                          <a:gd name="connsiteY282" fmla="*/ 88335 h 91146"/>
                          <a:gd name="connsiteX283" fmla="*/ 10825 w 104243"/>
                          <a:gd name="connsiteY283" fmla="*/ 89711 h 91146"/>
                          <a:gd name="connsiteX284" fmla="*/ 10586 w 104243"/>
                          <a:gd name="connsiteY284" fmla="*/ 89232 h 91146"/>
                          <a:gd name="connsiteX285" fmla="*/ 10586 w 104243"/>
                          <a:gd name="connsiteY285" fmla="*/ 89292 h 91146"/>
                          <a:gd name="connsiteX286" fmla="*/ 10586 w 104243"/>
                          <a:gd name="connsiteY286" fmla="*/ 89352 h 91146"/>
                          <a:gd name="connsiteX287" fmla="*/ 10586 w 104243"/>
                          <a:gd name="connsiteY287" fmla="*/ 89412 h 91146"/>
                          <a:gd name="connsiteX288" fmla="*/ 10586 w 104243"/>
                          <a:gd name="connsiteY288" fmla="*/ 89472 h 91146"/>
                          <a:gd name="connsiteX289" fmla="*/ 10526 w 104243"/>
                          <a:gd name="connsiteY289" fmla="*/ 89831 h 91146"/>
                          <a:gd name="connsiteX290" fmla="*/ 10466 w 104243"/>
                          <a:gd name="connsiteY290" fmla="*/ 90189 h 91146"/>
                          <a:gd name="connsiteX291" fmla="*/ 10406 w 104243"/>
                          <a:gd name="connsiteY291" fmla="*/ 90548 h 91146"/>
                          <a:gd name="connsiteX292" fmla="*/ 10347 w 104243"/>
                          <a:gd name="connsiteY292" fmla="*/ 90907 h 91146"/>
                          <a:gd name="connsiteX293" fmla="*/ 10347 w 104243"/>
                          <a:gd name="connsiteY293" fmla="*/ 91146 h 9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04243" h="91146">
                            <a:moveTo>
                              <a:pt x="93539" y="1256"/>
                            </a:moveTo>
                            <a:cubicBezTo>
                              <a:pt x="93598" y="1316"/>
                              <a:pt x="93658" y="1316"/>
                              <a:pt x="93718" y="1375"/>
                            </a:cubicBezTo>
                            <a:cubicBezTo>
                              <a:pt x="93778" y="1435"/>
                              <a:pt x="93838" y="1435"/>
                              <a:pt x="93897" y="1495"/>
                            </a:cubicBezTo>
                            <a:cubicBezTo>
                              <a:pt x="93957" y="1495"/>
                              <a:pt x="94017" y="1555"/>
                              <a:pt x="94077" y="1555"/>
                            </a:cubicBezTo>
                            <a:cubicBezTo>
                              <a:pt x="94137" y="1555"/>
                              <a:pt x="94196" y="1615"/>
                              <a:pt x="94256" y="1615"/>
                            </a:cubicBezTo>
                            <a:lnTo>
                              <a:pt x="94675" y="1316"/>
                            </a:lnTo>
                            <a:lnTo>
                              <a:pt x="94795" y="1615"/>
                            </a:lnTo>
                            <a:cubicBezTo>
                              <a:pt x="94855" y="1615"/>
                              <a:pt x="94914" y="1615"/>
                              <a:pt x="94974" y="1555"/>
                            </a:cubicBezTo>
                            <a:cubicBezTo>
                              <a:pt x="95034" y="1555"/>
                              <a:pt x="95094" y="1495"/>
                              <a:pt x="95154" y="1495"/>
                            </a:cubicBezTo>
                            <a:cubicBezTo>
                              <a:pt x="95213" y="1495"/>
                              <a:pt x="95273" y="1435"/>
                              <a:pt x="95333" y="1435"/>
                            </a:cubicBezTo>
                            <a:cubicBezTo>
                              <a:pt x="95393" y="1375"/>
                              <a:pt x="95452" y="1375"/>
                              <a:pt x="95512" y="1316"/>
                            </a:cubicBezTo>
                            <a:cubicBezTo>
                              <a:pt x="95512" y="1316"/>
                              <a:pt x="95512" y="1316"/>
                              <a:pt x="95572" y="1316"/>
                            </a:cubicBezTo>
                            <a:cubicBezTo>
                              <a:pt x="95572" y="1316"/>
                              <a:pt x="95572" y="1316"/>
                              <a:pt x="95632" y="1316"/>
                            </a:cubicBezTo>
                            <a:cubicBezTo>
                              <a:pt x="95632" y="1316"/>
                              <a:pt x="95632" y="1316"/>
                              <a:pt x="95692" y="1316"/>
                            </a:cubicBezTo>
                            <a:cubicBezTo>
                              <a:pt x="95692" y="1316"/>
                              <a:pt x="95692" y="1316"/>
                              <a:pt x="95751" y="1316"/>
                            </a:cubicBezTo>
                            <a:lnTo>
                              <a:pt x="95154" y="0"/>
                            </a:lnTo>
                            <a:lnTo>
                              <a:pt x="93479" y="1256"/>
                            </a:lnTo>
                            <a:lnTo>
                              <a:pt x="93539" y="1256"/>
                            </a:lnTo>
                            <a:moveTo>
                              <a:pt x="95572" y="3349"/>
                            </a:moveTo>
                            <a:cubicBezTo>
                              <a:pt x="95632" y="3289"/>
                              <a:pt x="95632" y="3289"/>
                              <a:pt x="95692" y="3230"/>
                            </a:cubicBezTo>
                            <a:cubicBezTo>
                              <a:pt x="95751" y="3170"/>
                              <a:pt x="95751" y="3170"/>
                              <a:pt x="95811" y="3170"/>
                            </a:cubicBezTo>
                            <a:cubicBezTo>
                              <a:pt x="95871" y="3170"/>
                              <a:pt x="95871" y="3110"/>
                              <a:pt x="95931" y="3110"/>
                            </a:cubicBezTo>
                            <a:cubicBezTo>
                              <a:pt x="95991" y="3110"/>
                              <a:pt x="95991" y="3050"/>
                              <a:pt x="96050" y="3050"/>
                            </a:cubicBezTo>
                            <a:cubicBezTo>
                              <a:pt x="96110" y="3050"/>
                              <a:pt x="96110" y="2990"/>
                              <a:pt x="96170" y="2990"/>
                            </a:cubicBezTo>
                            <a:cubicBezTo>
                              <a:pt x="96230" y="2990"/>
                              <a:pt x="96230" y="2930"/>
                              <a:pt x="96290" y="2930"/>
                            </a:cubicBezTo>
                            <a:cubicBezTo>
                              <a:pt x="96350" y="2930"/>
                              <a:pt x="96350" y="2871"/>
                              <a:pt x="96409" y="2871"/>
                            </a:cubicBezTo>
                            <a:cubicBezTo>
                              <a:pt x="96469" y="2871"/>
                              <a:pt x="96469" y="2811"/>
                              <a:pt x="96529" y="2811"/>
                            </a:cubicBezTo>
                            <a:lnTo>
                              <a:pt x="96170" y="1974"/>
                            </a:lnTo>
                            <a:cubicBezTo>
                              <a:pt x="96170" y="1974"/>
                              <a:pt x="96110" y="1974"/>
                              <a:pt x="96110" y="2034"/>
                            </a:cubicBezTo>
                            <a:cubicBezTo>
                              <a:pt x="96110" y="2034"/>
                              <a:pt x="96050" y="2034"/>
                              <a:pt x="96050" y="2093"/>
                            </a:cubicBezTo>
                            <a:cubicBezTo>
                              <a:pt x="96050" y="2093"/>
                              <a:pt x="95991" y="2093"/>
                              <a:pt x="95991" y="2153"/>
                            </a:cubicBezTo>
                            <a:cubicBezTo>
                              <a:pt x="95991" y="2213"/>
                              <a:pt x="95931" y="2153"/>
                              <a:pt x="95931" y="2213"/>
                            </a:cubicBezTo>
                            <a:cubicBezTo>
                              <a:pt x="95871" y="2273"/>
                              <a:pt x="95811" y="2273"/>
                              <a:pt x="95751" y="2333"/>
                            </a:cubicBezTo>
                            <a:cubicBezTo>
                              <a:pt x="95692" y="2392"/>
                              <a:pt x="95632" y="2392"/>
                              <a:pt x="95572" y="2452"/>
                            </a:cubicBezTo>
                            <a:cubicBezTo>
                              <a:pt x="95512" y="2452"/>
                              <a:pt x="95452" y="2512"/>
                              <a:pt x="95393" y="2512"/>
                            </a:cubicBezTo>
                            <a:cubicBezTo>
                              <a:pt x="95333" y="2512"/>
                              <a:pt x="95273" y="2572"/>
                              <a:pt x="95213" y="2572"/>
                            </a:cubicBezTo>
                            <a:lnTo>
                              <a:pt x="95572" y="3349"/>
                            </a:lnTo>
                            <a:moveTo>
                              <a:pt x="96709" y="5742"/>
                            </a:moveTo>
                            <a:lnTo>
                              <a:pt x="97546" y="5143"/>
                            </a:lnTo>
                            <a:lnTo>
                              <a:pt x="97605" y="5263"/>
                            </a:lnTo>
                            <a:cubicBezTo>
                              <a:pt x="97605" y="5263"/>
                              <a:pt x="97605" y="5263"/>
                              <a:pt x="97605" y="5263"/>
                            </a:cubicBezTo>
                            <a:cubicBezTo>
                              <a:pt x="97605" y="5263"/>
                              <a:pt x="97605" y="5263"/>
                              <a:pt x="97605" y="5263"/>
                            </a:cubicBezTo>
                            <a:cubicBezTo>
                              <a:pt x="97605" y="5263"/>
                              <a:pt x="97605" y="5263"/>
                              <a:pt x="97605" y="5263"/>
                            </a:cubicBezTo>
                            <a:cubicBezTo>
                              <a:pt x="97605" y="5263"/>
                              <a:pt x="97605" y="5263"/>
                              <a:pt x="97605" y="5263"/>
                            </a:cubicBezTo>
                            <a:lnTo>
                              <a:pt x="96948" y="3768"/>
                            </a:lnTo>
                            <a:cubicBezTo>
                              <a:pt x="96888" y="3768"/>
                              <a:pt x="96888" y="3828"/>
                              <a:pt x="96828" y="3828"/>
                            </a:cubicBezTo>
                            <a:cubicBezTo>
                              <a:pt x="96768" y="3828"/>
                              <a:pt x="96768" y="3888"/>
                              <a:pt x="96709" y="3888"/>
                            </a:cubicBezTo>
                            <a:cubicBezTo>
                              <a:pt x="96649" y="3888"/>
                              <a:pt x="96649" y="3947"/>
                              <a:pt x="96589" y="3947"/>
                            </a:cubicBezTo>
                            <a:cubicBezTo>
                              <a:pt x="96529" y="3947"/>
                              <a:pt x="96529" y="4007"/>
                              <a:pt x="96469" y="4007"/>
                            </a:cubicBezTo>
                            <a:cubicBezTo>
                              <a:pt x="96409" y="4007"/>
                              <a:pt x="96409" y="4067"/>
                              <a:pt x="96350" y="4067"/>
                            </a:cubicBezTo>
                            <a:cubicBezTo>
                              <a:pt x="96290" y="4067"/>
                              <a:pt x="96290" y="4127"/>
                              <a:pt x="96230" y="4127"/>
                            </a:cubicBezTo>
                            <a:cubicBezTo>
                              <a:pt x="96170" y="4127"/>
                              <a:pt x="96170" y="4187"/>
                              <a:pt x="96110" y="4187"/>
                            </a:cubicBezTo>
                            <a:cubicBezTo>
                              <a:pt x="96050" y="4187"/>
                              <a:pt x="96050" y="4246"/>
                              <a:pt x="95991" y="4246"/>
                            </a:cubicBezTo>
                            <a:lnTo>
                              <a:pt x="96709" y="5742"/>
                            </a:lnTo>
                            <a:moveTo>
                              <a:pt x="99818" y="12440"/>
                            </a:moveTo>
                            <a:lnTo>
                              <a:pt x="97247" y="6758"/>
                            </a:lnTo>
                            <a:cubicBezTo>
                              <a:pt x="97247" y="6758"/>
                              <a:pt x="97247" y="6758"/>
                              <a:pt x="97247" y="6758"/>
                            </a:cubicBezTo>
                            <a:cubicBezTo>
                              <a:pt x="97247" y="6758"/>
                              <a:pt x="97247" y="6758"/>
                              <a:pt x="97247" y="6758"/>
                            </a:cubicBezTo>
                            <a:cubicBezTo>
                              <a:pt x="97247" y="6758"/>
                              <a:pt x="97247" y="6758"/>
                              <a:pt x="97247" y="6758"/>
                            </a:cubicBezTo>
                            <a:cubicBezTo>
                              <a:pt x="97247" y="6758"/>
                              <a:pt x="97247" y="6758"/>
                              <a:pt x="97247" y="6758"/>
                            </a:cubicBezTo>
                            <a:lnTo>
                              <a:pt x="99818" y="12440"/>
                            </a:lnTo>
                            <a:moveTo>
                              <a:pt x="100476" y="13935"/>
                            </a:moveTo>
                            <a:cubicBezTo>
                              <a:pt x="100536" y="13875"/>
                              <a:pt x="100596" y="13815"/>
                              <a:pt x="100656" y="13756"/>
                            </a:cubicBezTo>
                            <a:cubicBezTo>
                              <a:pt x="100716" y="13696"/>
                              <a:pt x="100775" y="13636"/>
                              <a:pt x="100835" y="13576"/>
                            </a:cubicBezTo>
                            <a:cubicBezTo>
                              <a:pt x="100895" y="13516"/>
                              <a:pt x="100955" y="13457"/>
                              <a:pt x="101014" y="13397"/>
                            </a:cubicBezTo>
                            <a:cubicBezTo>
                              <a:pt x="101074" y="13337"/>
                              <a:pt x="101134" y="13277"/>
                              <a:pt x="101194" y="13218"/>
                            </a:cubicBezTo>
                            <a:lnTo>
                              <a:pt x="98024" y="6340"/>
                            </a:lnTo>
                            <a:cubicBezTo>
                              <a:pt x="98024" y="6340"/>
                              <a:pt x="98024" y="6340"/>
                              <a:pt x="98024" y="6340"/>
                            </a:cubicBezTo>
                            <a:cubicBezTo>
                              <a:pt x="98024" y="6340"/>
                              <a:pt x="98024" y="6340"/>
                              <a:pt x="98024" y="6340"/>
                            </a:cubicBezTo>
                            <a:cubicBezTo>
                              <a:pt x="98024" y="6340"/>
                              <a:pt x="98024" y="6340"/>
                              <a:pt x="98024" y="6340"/>
                            </a:cubicBezTo>
                            <a:cubicBezTo>
                              <a:pt x="98024" y="6340"/>
                              <a:pt x="98024" y="6340"/>
                              <a:pt x="98024" y="6340"/>
                            </a:cubicBezTo>
                            <a:lnTo>
                              <a:pt x="100955" y="12679"/>
                            </a:lnTo>
                            <a:lnTo>
                              <a:pt x="100117" y="13277"/>
                            </a:lnTo>
                            <a:lnTo>
                              <a:pt x="100476" y="13935"/>
                            </a:lnTo>
                            <a:moveTo>
                              <a:pt x="88814" y="4605"/>
                            </a:moveTo>
                            <a:cubicBezTo>
                              <a:pt x="88874" y="4605"/>
                              <a:pt x="88933" y="4605"/>
                              <a:pt x="88993" y="4605"/>
                            </a:cubicBezTo>
                            <a:cubicBezTo>
                              <a:pt x="89053" y="4605"/>
                              <a:pt x="89113" y="4605"/>
                              <a:pt x="89173" y="4605"/>
                            </a:cubicBezTo>
                            <a:cubicBezTo>
                              <a:pt x="89233" y="4605"/>
                              <a:pt x="89292" y="4605"/>
                              <a:pt x="89352" y="4605"/>
                            </a:cubicBezTo>
                            <a:cubicBezTo>
                              <a:pt x="89412" y="4605"/>
                              <a:pt x="89472" y="4605"/>
                              <a:pt x="89532" y="4665"/>
                            </a:cubicBezTo>
                            <a:cubicBezTo>
                              <a:pt x="89591" y="4665"/>
                              <a:pt x="89591" y="4665"/>
                              <a:pt x="89651" y="4725"/>
                            </a:cubicBezTo>
                            <a:cubicBezTo>
                              <a:pt x="89711" y="4725"/>
                              <a:pt x="89711" y="4725"/>
                              <a:pt x="89771" y="4785"/>
                            </a:cubicBezTo>
                            <a:cubicBezTo>
                              <a:pt x="89831" y="4785"/>
                              <a:pt x="89831" y="4844"/>
                              <a:pt x="89890" y="4844"/>
                            </a:cubicBezTo>
                            <a:cubicBezTo>
                              <a:pt x="89950" y="4844"/>
                              <a:pt x="89950" y="4904"/>
                              <a:pt x="90010" y="4904"/>
                            </a:cubicBezTo>
                            <a:lnTo>
                              <a:pt x="93299" y="2452"/>
                            </a:lnTo>
                            <a:cubicBezTo>
                              <a:pt x="93240" y="2452"/>
                              <a:pt x="93240" y="2392"/>
                              <a:pt x="93180" y="2392"/>
                            </a:cubicBezTo>
                            <a:cubicBezTo>
                              <a:pt x="93120" y="2392"/>
                              <a:pt x="93120" y="2333"/>
                              <a:pt x="93120" y="2333"/>
                            </a:cubicBezTo>
                            <a:cubicBezTo>
                              <a:pt x="93120" y="2333"/>
                              <a:pt x="93060" y="2273"/>
                              <a:pt x="93060" y="2273"/>
                            </a:cubicBezTo>
                            <a:cubicBezTo>
                              <a:pt x="93060" y="2273"/>
                              <a:pt x="93000" y="2213"/>
                              <a:pt x="93000" y="2213"/>
                            </a:cubicBezTo>
                            <a:cubicBezTo>
                              <a:pt x="93000" y="2213"/>
                              <a:pt x="92941" y="2153"/>
                              <a:pt x="92941" y="2153"/>
                            </a:cubicBezTo>
                            <a:cubicBezTo>
                              <a:pt x="92941" y="2153"/>
                              <a:pt x="92881" y="2093"/>
                              <a:pt x="92881" y="2093"/>
                            </a:cubicBezTo>
                            <a:cubicBezTo>
                              <a:pt x="92881" y="2093"/>
                              <a:pt x="92821" y="2034"/>
                              <a:pt x="92821" y="1974"/>
                            </a:cubicBezTo>
                            <a:cubicBezTo>
                              <a:pt x="92821" y="1914"/>
                              <a:pt x="92761" y="1914"/>
                              <a:pt x="92761" y="1854"/>
                            </a:cubicBezTo>
                            <a:lnTo>
                              <a:pt x="88814" y="4605"/>
                            </a:lnTo>
                            <a:moveTo>
                              <a:pt x="101612" y="16327"/>
                            </a:moveTo>
                            <a:cubicBezTo>
                              <a:pt x="101672" y="16268"/>
                              <a:pt x="101732" y="16208"/>
                              <a:pt x="101792" y="16148"/>
                            </a:cubicBezTo>
                            <a:cubicBezTo>
                              <a:pt x="101852" y="16088"/>
                              <a:pt x="101912" y="16028"/>
                              <a:pt x="101971" y="15968"/>
                            </a:cubicBezTo>
                            <a:cubicBezTo>
                              <a:pt x="102031" y="15909"/>
                              <a:pt x="102091" y="15849"/>
                              <a:pt x="102151" y="15789"/>
                            </a:cubicBezTo>
                            <a:cubicBezTo>
                              <a:pt x="102211" y="15729"/>
                              <a:pt x="102271" y="15669"/>
                              <a:pt x="102330" y="15610"/>
                            </a:cubicBezTo>
                            <a:lnTo>
                              <a:pt x="101672" y="14174"/>
                            </a:lnTo>
                            <a:cubicBezTo>
                              <a:pt x="101612" y="14234"/>
                              <a:pt x="101553" y="14294"/>
                              <a:pt x="101493" y="14354"/>
                            </a:cubicBezTo>
                            <a:cubicBezTo>
                              <a:pt x="101433" y="14414"/>
                              <a:pt x="101373" y="14473"/>
                              <a:pt x="101313" y="14533"/>
                            </a:cubicBezTo>
                            <a:cubicBezTo>
                              <a:pt x="101254" y="14593"/>
                              <a:pt x="101194" y="14653"/>
                              <a:pt x="101134" y="14713"/>
                            </a:cubicBezTo>
                            <a:cubicBezTo>
                              <a:pt x="101074" y="14773"/>
                              <a:pt x="101014" y="14832"/>
                              <a:pt x="100955" y="14892"/>
                            </a:cubicBezTo>
                            <a:lnTo>
                              <a:pt x="101612" y="16327"/>
                            </a:lnTo>
                            <a:moveTo>
                              <a:pt x="102450" y="18241"/>
                            </a:moveTo>
                            <a:cubicBezTo>
                              <a:pt x="102570" y="18241"/>
                              <a:pt x="102629" y="18182"/>
                              <a:pt x="102749" y="18182"/>
                            </a:cubicBezTo>
                            <a:cubicBezTo>
                              <a:pt x="102869" y="18182"/>
                              <a:pt x="102928" y="18122"/>
                              <a:pt x="103048" y="18122"/>
                            </a:cubicBezTo>
                            <a:cubicBezTo>
                              <a:pt x="103108" y="18122"/>
                              <a:pt x="103227" y="18122"/>
                              <a:pt x="103287" y="18122"/>
                            </a:cubicBezTo>
                            <a:cubicBezTo>
                              <a:pt x="103347" y="18122"/>
                              <a:pt x="103466" y="18122"/>
                              <a:pt x="103526" y="18122"/>
                            </a:cubicBezTo>
                            <a:lnTo>
                              <a:pt x="102869" y="16627"/>
                            </a:lnTo>
                            <a:cubicBezTo>
                              <a:pt x="102809" y="16686"/>
                              <a:pt x="102749" y="16746"/>
                              <a:pt x="102689" y="16806"/>
                            </a:cubicBezTo>
                            <a:cubicBezTo>
                              <a:pt x="102629" y="16866"/>
                              <a:pt x="102570" y="16926"/>
                              <a:pt x="102510" y="16985"/>
                            </a:cubicBezTo>
                            <a:cubicBezTo>
                              <a:pt x="102450" y="17045"/>
                              <a:pt x="102390" y="17105"/>
                              <a:pt x="102330" y="17165"/>
                            </a:cubicBezTo>
                            <a:cubicBezTo>
                              <a:pt x="102271" y="17225"/>
                              <a:pt x="102211" y="17284"/>
                              <a:pt x="102151" y="17344"/>
                            </a:cubicBezTo>
                            <a:lnTo>
                              <a:pt x="102450" y="18241"/>
                            </a:lnTo>
                            <a:moveTo>
                              <a:pt x="86541" y="7416"/>
                            </a:moveTo>
                            <a:lnTo>
                              <a:pt x="88933" y="5622"/>
                            </a:lnTo>
                            <a:cubicBezTo>
                              <a:pt x="88694" y="5622"/>
                              <a:pt x="88455" y="5622"/>
                              <a:pt x="88276" y="5682"/>
                            </a:cubicBezTo>
                            <a:cubicBezTo>
                              <a:pt x="88096" y="5742"/>
                              <a:pt x="87797" y="5861"/>
                              <a:pt x="87618" y="6041"/>
                            </a:cubicBezTo>
                            <a:cubicBezTo>
                              <a:pt x="87438" y="6160"/>
                              <a:pt x="87199" y="6399"/>
                              <a:pt x="87079" y="6579"/>
                            </a:cubicBezTo>
                            <a:cubicBezTo>
                              <a:pt x="86900" y="6818"/>
                              <a:pt x="86780" y="7057"/>
                              <a:pt x="86661" y="7297"/>
                            </a:cubicBezTo>
                            <a:cubicBezTo>
                              <a:pt x="86661" y="7297"/>
                              <a:pt x="86661" y="7297"/>
                              <a:pt x="86661" y="7356"/>
                            </a:cubicBezTo>
                            <a:cubicBezTo>
                              <a:pt x="86661" y="7416"/>
                              <a:pt x="86661" y="7356"/>
                              <a:pt x="86661" y="7416"/>
                            </a:cubicBezTo>
                            <a:cubicBezTo>
                              <a:pt x="86541" y="7356"/>
                              <a:pt x="86541" y="7356"/>
                              <a:pt x="86541" y="7416"/>
                            </a:cubicBezTo>
                            <a:cubicBezTo>
                              <a:pt x="86541" y="7416"/>
                              <a:pt x="86541" y="7416"/>
                              <a:pt x="86541" y="7416"/>
                            </a:cubicBezTo>
                            <a:moveTo>
                              <a:pt x="100835" y="22488"/>
                            </a:moveTo>
                            <a:lnTo>
                              <a:pt x="104244" y="19916"/>
                            </a:lnTo>
                            <a:cubicBezTo>
                              <a:pt x="104244" y="19856"/>
                              <a:pt x="104184" y="19856"/>
                              <a:pt x="104184" y="19796"/>
                            </a:cubicBezTo>
                            <a:cubicBezTo>
                              <a:pt x="104184" y="19736"/>
                              <a:pt x="104125" y="19736"/>
                              <a:pt x="104125" y="19677"/>
                            </a:cubicBezTo>
                            <a:cubicBezTo>
                              <a:pt x="104125" y="19617"/>
                              <a:pt x="104065" y="19617"/>
                              <a:pt x="104065" y="19557"/>
                            </a:cubicBezTo>
                            <a:cubicBezTo>
                              <a:pt x="104065" y="19497"/>
                              <a:pt x="104005" y="19497"/>
                              <a:pt x="103945" y="19437"/>
                            </a:cubicBezTo>
                            <a:cubicBezTo>
                              <a:pt x="103885" y="19377"/>
                              <a:pt x="103885" y="19377"/>
                              <a:pt x="103826" y="19318"/>
                            </a:cubicBezTo>
                            <a:cubicBezTo>
                              <a:pt x="103766" y="19258"/>
                              <a:pt x="103766" y="19258"/>
                              <a:pt x="103706" y="19258"/>
                            </a:cubicBezTo>
                            <a:cubicBezTo>
                              <a:pt x="103646" y="19258"/>
                              <a:pt x="103586" y="19198"/>
                              <a:pt x="103586" y="19198"/>
                            </a:cubicBezTo>
                            <a:cubicBezTo>
                              <a:pt x="103586" y="19198"/>
                              <a:pt x="103466" y="19138"/>
                              <a:pt x="103407" y="19138"/>
                            </a:cubicBezTo>
                            <a:cubicBezTo>
                              <a:pt x="103347" y="19138"/>
                              <a:pt x="103347" y="19138"/>
                              <a:pt x="103287" y="19138"/>
                            </a:cubicBezTo>
                            <a:cubicBezTo>
                              <a:pt x="103227" y="19138"/>
                              <a:pt x="103227" y="19138"/>
                              <a:pt x="103167" y="19138"/>
                            </a:cubicBezTo>
                            <a:cubicBezTo>
                              <a:pt x="103108" y="19138"/>
                              <a:pt x="103108" y="19138"/>
                              <a:pt x="103048" y="19138"/>
                            </a:cubicBezTo>
                            <a:cubicBezTo>
                              <a:pt x="102988" y="19138"/>
                              <a:pt x="102988" y="19138"/>
                              <a:pt x="102928" y="19138"/>
                            </a:cubicBezTo>
                            <a:lnTo>
                              <a:pt x="103167" y="19677"/>
                            </a:lnTo>
                            <a:lnTo>
                              <a:pt x="100716" y="21531"/>
                            </a:lnTo>
                            <a:cubicBezTo>
                              <a:pt x="100716" y="21590"/>
                              <a:pt x="100716" y="21710"/>
                              <a:pt x="100716" y="21770"/>
                            </a:cubicBezTo>
                            <a:cubicBezTo>
                              <a:pt x="100716" y="21830"/>
                              <a:pt x="100716" y="21890"/>
                              <a:pt x="100716" y="22009"/>
                            </a:cubicBezTo>
                            <a:cubicBezTo>
                              <a:pt x="100716" y="22069"/>
                              <a:pt x="100716" y="22129"/>
                              <a:pt x="100775" y="22248"/>
                            </a:cubicBezTo>
                            <a:cubicBezTo>
                              <a:pt x="100775" y="22308"/>
                              <a:pt x="100835" y="22368"/>
                              <a:pt x="100835" y="22428"/>
                            </a:cubicBezTo>
                            <a:lnTo>
                              <a:pt x="100835" y="22488"/>
                            </a:lnTo>
                            <a:moveTo>
                              <a:pt x="84388" y="9031"/>
                            </a:moveTo>
                            <a:lnTo>
                              <a:pt x="85465" y="8194"/>
                            </a:lnTo>
                            <a:cubicBezTo>
                              <a:pt x="85465" y="8074"/>
                              <a:pt x="85465" y="8014"/>
                              <a:pt x="85524" y="7895"/>
                            </a:cubicBezTo>
                            <a:cubicBezTo>
                              <a:pt x="85584" y="7775"/>
                              <a:pt x="85584" y="7715"/>
                              <a:pt x="85584" y="7596"/>
                            </a:cubicBezTo>
                            <a:cubicBezTo>
                              <a:pt x="85584" y="7476"/>
                              <a:pt x="85644" y="7416"/>
                              <a:pt x="85644" y="7297"/>
                            </a:cubicBezTo>
                            <a:cubicBezTo>
                              <a:pt x="85704" y="7177"/>
                              <a:pt x="85704" y="7117"/>
                              <a:pt x="85764" y="6997"/>
                            </a:cubicBezTo>
                            <a:cubicBezTo>
                              <a:pt x="85764" y="6997"/>
                              <a:pt x="85764" y="6938"/>
                              <a:pt x="85764" y="6938"/>
                            </a:cubicBezTo>
                            <a:cubicBezTo>
                              <a:pt x="85764" y="6938"/>
                              <a:pt x="85764" y="6878"/>
                              <a:pt x="85764" y="6878"/>
                            </a:cubicBezTo>
                            <a:cubicBezTo>
                              <a:pt x="85764" y="6878"/>
                              <a:pt x="85764" y="6818"/>
                              <a:pt x="85764" y="6818"/>
                            </a:cubicBezTo>
                            <a:cubicBezTo>
                              <a:pt x="85764" y="6818"/>
                              <a:pt x="85764" y="6758"/>
                              <a:pt x="85764" y="6758"/>
                            </a:cubicBezTo>
                            <a:lnTo>
                              <a:pt x="84747" y="7536"/>
                            </a:lnTo>
                            <a:cubicBezTo>
                              <a:pt x="84687" y="7655"/>
                              <a:pt x="84687" y="7775"/>
                              <a:pt x="84627" y="7895"/>
                            </a:cubicBezTo>
                            <a:cubicBezTo>
                              <a:pt x="84568" y="8014"/>
                              <a:pt x="84568" y="8134"/>
                              <a:pt x="84508" y="8253"/>
                            </a:cubicBezTo>
                            <a:cubicBezTo>
                              <a:pt x="84448" y="8373"/>
                              <a:pt x="84448" y="8493"/>
                              <a:pt x="84388" y="8612"/>
                            </a:cubicBezTo>
                            <a:cubicBezTo>
                              <a:pt x="84448" y="8792"/>
                              <a:pt x="84388" y="8911"/>
                              <a:pt x="84388" y="9031"/>
                            </a:cubicBezTo>
                            <a:moveTo>
                              <a:pt x="80740" y="11782"/>
                            </a:moveTo>
                            <a:lnTo>
                              <a:pt x="83012" y="10048"/>
                            </a:lnTo>
                            <a:cubicBezTo>
                              <a:pt x="83012" y="9928"/>
                              <a:pt x="83072" y="9808"/>
                              <a:pt x="83072" y="9689"/>
                            </a:cubicBezTo>
                            <a:cubicBezTo>
                              <a:pt x="83072" y="9569"/>
                              <a:pt x="83132" y="9450"/>
                              <a:pt x="83132" y="9330"/>
                            </a:cubicBezTo>
                            <a:cubicBezTo>
                              <a:pt x="83192" y="9211"/>
                              <a:pt x="83192" y="9091"/>
                              <a:pt x="83252" y="8971"/>
                            </a:cubicBezTo>
                            <a:cubicBezTo>
                              <a:pt x="83311" y="8851"/>
                              <a:pt x="83311" y="8732"/>
                              <a:pt x="83371" y="8612"/>
                            </a:cubicBezTo>
                            <a:lnTo>
                              <a:pt x="80979" y="10406"/>
                            </a:lnTo>
                            <a:cubicBezTo>
                              <a:pt x="80979" y="10526"/>
                              <a:pt x="80919" y="10646"/>
                              <a:pt x="80919" y="10706"/>
                            </a:cubicBezTo>
                            <a:cubicBezTo>
                              <a:pt x="80919" y="10825"/>
                              <a:pt x="80859" y="10945"/>
                              <a:pt x="80859" y="11005"/>
                            </a:cubicBezTo>
                            <a:cubicBezTo>
                              <a:pt x="80859" y="11124"/>
                              <a:pt x="80800" y="11244"/>
                              <a:pt x="80800" y="11304"/>
                            </a:cubicBezTo>
                            <a:cubicBezTo>
                              <a:pt x="80740" y="11543"/>
                              <a:pt x="80740" y="11662"/>
                              <a:pt x="80740" y="11782"/>
                            </a:cubicBezTo>
                            <a:moveTo>
                              <a:pt x="93299" y="27093"/>
                            </a:moveTo>
                            <a:cubicBezTo>
                              <a:pt x="93419" y="27093"/>
                              <a:pt x="93479" y="27093"/>
                              <a:pt x="93598" y="27153"/>
                            </a:cubicBezTo>
                            <a:cubicBezTo>
                              <a:pt x="93718" y="27153"/>
                              <a:pt x="93838" y="27153"/>
                              <a:pt x="93897" y="27212"/>
                            </a:cubicBezTo>
                            <a:cubicBezTo>
                              <a:pt x="94017" y="27212"/>
                              <a:pt x="94137" y="27212"/>
                              <a:pt x="94196" y="27212"/>
                            </a:cubicBezTo>
                            <a:cubicBezTo>
                              <a:pt x="94256" y="27212"/>
                              <a:pt x="94436" y="27212"/>
                              <a:pt x="94495" y="27212"/>
                            </a:cubicBezTo>
                            <a:lnTo>
                              <a:pt x="99938" y="23085"/>
                            </a:lnTo>
                            <a:cubicBezTo>
                              <a:pt x="99938" y="23085"/>
                              <a:pt x="99938" y="23026"/>
                              <a:pt x="99938" y="23026"/>
                            </a:cubicBezTo>
                            <a:cubicBezTo>
                              <a:pt x="99938" y="23026"/>
                              <a:pt x="99938" y="22966"/>
                              <a:pt x="99938" y="22966"/>
                            </a:cubicBezTo>
                            <a:cubicBezTo>
                              <a:pt x="99938" y="22966"/>
                              <a:pt x="99938" y="22906"/>
                              <a:pt x="99938" y="22906"/>
                            </a:cubicBezTo>
                            <a:cubicBezTo>
                              <a:pt x="99938" y="22906"/>
                              <a:pt x="99938" y="22846"/>
                              <a:pt x="99938" y="22846"/>
                            </a:cubicBezTo>
                            <a:cubicBezTo>
                              <a:pt x="99938" y="22787"/>
                              <a:pt x="99878" y="22727"/>
                              <a:pt x="99878" y="22667"/>
                            </a:cubicBezTo>
                            <a:cubicBezTo>
                              <a:pt x="99878" y="22607"/>
                              <a:pt x="99818" y="22547"/>
                              <a:pt x="99818" y="22488"/>
                            </a:cubicBezTo>
                            <a:cubicBezTo>
                              <a:pt x="99818" y="22428"/>
                              <a:pt x="99818" y="22368"/>
                              <a:pt x="99758" y="22308"/>
                            </a:cubicBezTo>
                            <a:cubicBezTo>
                              <a:pt x="99758" y="22248"/>
                              <a:pt x="99758" y="22189"/>
                              <a:pt x="99758" y="22129"/>
                            </a:cubicBezTo>
                            <a:lnTo>
                              <a:pt x="93299" y="27093"/>
                            </a:lnTo>
                            <a:moveTo>
                              <a:pt x="89651" y="29904"/>
                            </a:moveTo>
                            <a:cubicBezTo>
                              <a:pt x="89711" y="29904"/>
                              <a:pt x="89831" y="29963"/>
                              <a:pt x="89890" y="29963"/>
                            </a:cubicBezTo>
                            <a:cubicBezTo>
                              <a:pt x="89950" y="29963"/>
                              <a:pt x="90070" y="30023"/>
                              <a:pt x="90130" y="30023"/>
                            </a:cubicBezTo>
                            <a:cubicBezTo>
                              <a:pt x="90189" y="30023"/>
                              <a:pt x="90309" y="30083"/>
                              <a:pt x="90369" y="30083"/>
                            </a:cubicBezTo>
                            <a:cubicBezTo>
                              <a:pt x="90428" y="30083"/>
                              <a:pt x="90548" y="30143"/>
                              <a:pt x="90608" y="30143"/>
                            </a:cubicBezTo>
                            <a:lnTo>
                              <a:pt x="93000" y="28289"/>
                            </a:lnTo>
                            <a:cubicBezTo>
                              <a:pt x="92881" y="28289"/>
                              <a:pt x="92821" y="28289"/>
                              <a:pt x="92701" y="28229"/>
                            </a:cubicBezTo>
                            <a:cubicBezTo>
                              <a:pt x="92582" y="28229"/>
                              <a:pt x="92522" y="28169"/>
                              <a:pt x="92402" y="28169"/>
                            </a:cubicBezTo>
                            <a:cubicBezTo>
                              <a:pt x="92283" y="28169"/>
                              <a:pt x="92223" y="28109"/>
                              <a:pt x="92103" y="28109"/>
                            </a:cubicBezTo>
                            <a:cubicBezTo>
                              <a:pt x="91984" y="28109"/>
                              <a:pt x="91924" y="28050"/>
                              <a:pt x="91804" y="28050"/>
                            </a:cubicBezTo>
                            <a:lnTo>
                              <a:pt x="89651" y="29904"/>
                            </a:lnTo>
                            <a:moveTo>
                              <a:pt x="2034" y="70094"/>
                            </a:moveTo>
                            <a:cubicBezTo>
                              <a:pt x="2153" y="70094"/>
                              <a:pt x="2213" y="70154"/>
                              <a:pt x="2333" y="70154"/>
                            </a:cubicBezTo>
                            <a:cubicBezTo>
                              <a:pt x="2452" y="70154"/>
                              <a:pt x="2512" y="70214"/>
                              <a:pt x="2632" y="70214"/>
                            </a:cubicBezTo>
                            <a:cubicBezTo>
                              <a:pt x="2751" y="70214"/>
                              <a:pt x="2811" y="70273"/>
                              <a:pt x="2930" y="70273"/>
                            </a:cubicBezTo>
                            <a:cubicBezTo>
                              <a:pt x="3050" y="70273"/>
                              <a:pt x="3110" y="70333"/>
                              <a:pt x="3170" y="70333"/>
                            </a:cubicBezTo>
                            <a:lnTo>
                              <a:pt x="79783" y="12500"/>
                            </a:lnTo>
                            <a:cubicBezTo>
                              <a:pt x="79783" y="12380"/>
                              <a:pt x="79783" y="12320"/>
                              <a:pt x="79843" y="12201"/>
                            </a:cubicBezTo>
                            <a:cubicBezTo>
                              <a:pt x="79843" y="12081"/>
                              <a:pt x="79843" y="12021"/>
                              <a:pt x="79903" y="11902"/>
                            </a:cubicBezTo>
                            <a:cubicBezTo>
                              <a:pt x="79903" y="11782"/>
                              <a:pt x="79962" y="11722"/>
                              <a:pt x="79962" y="11603"/>
                            </a:cubicBezTo>
                            <a:cubicBezTo>
                              <a:pt x="79962" y="11483"/>
                              <a:pt x="80022" y="11423"/>
                              <a:pt x="80022" y="11304"/>
                            </a:cubicBezTo>
                            <a:lnTo>
                              <a:pt x="2034" y="70094"/>
                            </a:lnTo>
                            <a:moveTo>
                              <a:pt x="957" y="73264"/>
                            </a:moveTo>
                            <a:cubicBezTo>
                              <a:pt x="1076" y="73264"/>
                              <a:pt x="1196" y="73324"/>
                              <a:pt x="1316" y="73384"/>
                            </a:cubicBezTo>
                            <a:cubicBezTo>
                              <a:pt x="1435" y="73443"/>
                              <a:pt x="1555" y="73443"/>
                              <a:pt x="1675" y="73503"/>
                            </a:cubicBezTo>
                            <a:cubicBezTo>
                              <a:pt x="1794" y="73563"/>
                              <a:pt x="1914" y="73563"/>
                              <a:pt x="2034" y="73623"/>
                            </a:cubicBezTo>
                            <a:cubicBezTo>
                              <a:pt x="2153" y="73683"/>
                              <a:pt x="2273" y="73683"/>
                              <a:pt x="2392" y="73742"/>
                            </a:cubicBezTo>
                            <a:lnTo>
                              <a:pt x="1316" y="71769"/>
                            </a:lnTo>
                            <a:lnTo>
                              <a:pt x="2034" y="71231"/>
                            </a:lnTo>
                            <a:cubicBezTo>
                              <a:pt x="1914" y="71231"/>
                              <a:pt x="1854" y="71171"/>
                              <a:pt x="1735" y="71171"/>
                            </a:cubicBezTo>
                            <a:cubicBezTo>
                              <a:pt x="1615" y="71171"/>
                              <a:pt x="1555" y="71111"/>
                              <a:pt x="1435" y="71111"/>
                            </a:cubicBezTo>
                            <a:cubicBezTo>
                              <a:pt x="1316" y="71111"/>
                              <a:pt x="1256" y="71051"/>
                              <a:pt x="1136" y="71051"/>
                            </a:cubicBezTo>
                            <a:cubicBezTo>
                              <a:pt x="1017" y="71051"/>
                              <a:pt x="957" y="70991"/>
                              <a:pt x="837" y="70991"/>
                            </a:cubicBezTo>
                            <a:lnTo>
                              <a:pt x="0" y="71649"/>
                            </a:lnTo>
                            <a:lnTo>
                              <a:pt x="957" y="73264"/>
                            </a:lnTo>
                            <a:moveTo>
                              <a:pt x="3529" y="78168"/>
                            </a:moveTo>
                            <a:cubicBezTo>
                              <a:pt x="3529" y="78168"/>
                              <a:pt x="3529" y="78168"/>
                              <a:pt x="3529" y="78168"/>
                            </a:cubicBezTo>
                            <a:cubicBezTo>
                              <a:pt x="3529" y="78168"/>
                              <a:pt x="3529" y="78168"/>
                              <a:pt x="3529" y="78168"/>
                            </a:cubicBezTo>
                            <a:cubicBezTo>
                              <a:pt x="3529" y="78168"/>
                              <a:pt x="3529" y="78168"/>
                              <a:pt x="3529" y="78168"/>
                            </a:cubicBezTo>
                            <a:cubicBezTo>
                              <a:pt x="3529" y="78168"/>
                              <a:pt x="3529" y="78168"/>
                              <a:pt x="3529" y="78168"/>
                            </a:cubicBezTo>
                            <a:lnTo>
                              <a:pt x="2751" y="76673"/>
                            </a:lnTo>
                            <a:lnTo>
                              <a:pt x="3589" y="76015"/>
                            </a:lnTo>
                            <a:lnTo>
                              <a:pt x="3349" y="75596"/>
                            </a:lnTo>
                            <a:cubicBezTo>
                              <a:pt x="3230" y="75537"/>
                              <a:pt x="3110" y="75477"/>
                              <a:pt x="2990" y="75417"/>
                            </a:cubicBezTo>
                            <a:cubicBezTo>
                              <a:pt x="2871" y="75357"/>
                              <a:pt x="2751" y="75297"/>
                              <a:pt x="2572" y="75238"/>
                            </a:cubicBezTo>
                            <a:cubicBezTo>
                              <a:pt x="2452" y="75178"/>
                              <a:pt x="2333" y="75118"/>
                              <a:pt x="2153" y="75058"/>
                            </a:cubicBezTo>
                            <a:cubicBezTo>
                              <a:pt x="2034" y="74998"/>
                              <a:pt x="1854" y="74939"/>
                              <a:pt x="1735" y="74879"/>
                            </a:cubicBezTo>
                            <a:lnTo>
                              <a:pt x="3529" y="78168"/>
                            </a:lnTo>
                            <a:moveTo>
                              <a:pt x="7057" y="82654"/>
                            </a:moveTo>
                            <a:lnTo>
                              <a:pt x="7057" y="82654"/>
                            </a:lnTo>
                            <a:lnTo>
                              <a:pt x="6340" y="81338"/>
                            </a:lnTo>
                            <a:lnTo>
                              <a:pt x="6340" y="81338"/>
                            </a:lnTo>
                            <a:lnTo>
                              <a:pt x="6340" y="81338"/>
                            </a:lnTo>
                            <a:lnTo>
                              <a:pt x="6340" y="81338"/>
                            </a:lnTo>
                            <a:lnTo>
                              <a:pt x="6340" y="81338"/>
                            </a:lnTo>
                            <a:lnTo>
                              <a:pt x="7057" y="82654"/>
                            </a:lnTo>
                            <a:moveTo>
                              <a:pt x="5323" y="81637"/>
                            </a:moveTo>
                            <a:cubicBezTo>
                              <a:pt x="5323" y="81637"/>
                              <a:pt x="5323" y="81577"/>
                              <a:pt x="5323" y="81637"/>
                            </a:cubicBezTo>
                            <a:cubicBezTo>
                              <a:pt x="5323" y="81577"/>
                              <a:pt x="5323" y="81577"/>
                              <a:pt x="5323" y="81637"/>
                            </a:cubicBezTo>
                            <a:cubicBezTo>
                              <a:pt x="5323" y="81577"/>
                              <a:pt x="5323" y="81577"/>
                              <a:pt x="5323" y="81637"/>
                            </a:cubicBezTo>
                            <a:cubicBezTo>
                              <a:pt x="5323" y="81577"/>
                              <a:pt x="5323" y="81577"/>
                              <a:pt x="5323" y="81637"/>
                            </a:cubicBezTo>
                            <a:lnTo>
                              <a:pt x="4007" y="79125"/>
                            </a:lnTo>
                            <a:cubicBezTo>
                              <a:pt x="4007" y="79125"/>
                              <a:pt x="4007" y="79125"/>
                              <a:pt x="4007" y="79125"/>
                            </a:cubicBezTo>
                            <a:cubicBezTo>
                              <a:pt x="4007" y="79125"/>
                              <a:pt x="4007" y="79125"/>
                              <a:pt x="4007" y="79125"/>
                            </a:cubicBezTo>
                            <a:cubicBezTo>
                              <a:pt x="4007" y="79125"/>
                              <a:pt x="4007" y="79125"/>
                              <a:pt x="4007" y="79125"/>
                            </a:cubicBezTo>
                            <a:cubicBezTo>
                              <a:pt x="4007" y="79125"/>
                              <a:pt x="4007" y="79125"/>
                              <a:pt x="4007" y="79125"/>
                            </a:cubicBezTo>
                            <a:lnTo>
                              <a:pt x="5323" y="81637"/>
                            </a:lnTo>
                            <a:moveTo>
                              <a:pt x="13516" y="88694"/>
                            </a:moveTo>
                            <a:lnTo>
                              <a:pt x="89591" y="30980"/>
                            </a:lnTo>
                            <a:cubicBezTo>
                              <a:pt x="89532" y="30980"/>
                              <a:pt x="89412" y="30920"/>
                              <a:pt x="89352" y="30920"/>
                            </a:cubicBezTo>
                            <a:cubicBezTo>
                              <a:pt x="89292" y="30920"/>
                              <a:pt x="89173" y="30861"/>
                              <a:pt x="89113" y="30861"/>
                            </a:cubicBezTo>
                            <a:cubicBezTo>
                              <a:pt x="89053" y="30861"/>
                              <a:pt x="88933" y="30801"/>
                              <a:pt x="88874" y="30801"/>
                            </a:cubicBezTo>
                            <a:cubicBezTo>
                              <a:pt x="88814" y="30741"/>
                              <a:pt x="88694" y="30741"/>
                              <a:pt x="88634" y="30681"/>
                            </a:cubicBezTo>
                            <a:lnTo>
                              <a:pt x="13636" y="87558"/>
                            </a:lnTo>
                            <a:cubicBezTo>
                              <a:pt x="13636" y="87678"/>
                              <a:pt x="13636" y="87737"/>
                              <a:pt x="13636" y="87857"/>
                            </a:cubicBezTo>
                            <a:cubicBezTo>
                              <a:pt x="13636" y="87977"/>
                              <a:pt x="13636" y="88036"/>
                              <a:pt x="13636" y="88156"/>
                            </a:cubicBezTo>
                            <a:cubicBezTo>
                              <a:pt x="13636" y="88276"/>
                              <a:pt x="13636" y="88335"/>
                              <a:pt x="13576" y="88455"/>
                            </a:cubicBezTo>
                            <a:cubicBezTo>
                              <a:pt x="13516" y="88515"/>
                              <a:pt x="13516" y="88634"/>
                              <a:pt x="13516" y="88694"/>
                            </a:cubicBezTo>
                            <a:moveTo>
                              <a:pt x="9390" y="89292"/>
                            </a:moveTo>
                            <a:cubicBezTo>
                              <a:pt x="9390" y="89113"/>
                              <a:pt x="9450" y="88933"/>
                              <a:pt x="9450" y="88814"/>
                            </a:cubicBezTo>
                            <a:cubicBezTo>
                              <a:pt x="9450" y="88694"/>
                              <a:pt x="9510" y="88455"/>
                              <a:pt x="9510" y="88335"/>
                            </a:cubicBezTo>
                            <a:cubicBezTo>
                              <a:pt x="9510" y="88156"/>
                              <a:pt x="9510" y="87977"/>
                              <a:pt x="9510" y="87857"/>
                            </a:cubicBezTo>
                            <a:cubicBezTo>
                              <a:pt x="9510" y="87678"/>
                              <a:pt x="9510" y="87558"/>
                              <a:pt x="9510" y="87378"/>
                            </a:cubicBezTo>
                            <a:lnTo>
                              <a:pt x="7476" y="83491"/>
                            </a:lnTo>
                            <a:lnTo>
                              <a:pt x="6639" y="84149"/>
                            </a:lnTo>
                            <a:lnTo>
                              <a:pt x="9390" y="89292"/>
                            </a:lnTo>
                            <a:moveTo>
                              <a:pt x="10347" y="91146"/>
                            </a:moveTo>
                            <a:lnTo>
                              <a:pt x="12500" y="89532"/>
                            </a:lnTo>
                            <a:cubicBezTo>
                              <a:pt x="12500" y="89532"/>
                              <a:pt x="12500" y="89532"/>
                              <a:pt x="12500" y="89472"/>
                            </a:cubicBezTo>
                            <a:cubicBezTo>
                              <a:pt x="12500" y="89472"/>
                              <a:pt x="12500" y="89472"/>
                              <a:pt x="12500" y="89412"/>
                            </a:cubicBezTo>
                            <a:cubicBezTo>
                              <a:pt x="12500" y="89412"/>
                              <a:pt x="12500" y="89412"/>
                              <a:pt x="12500" y="89352"/>
                            </a:cubicBezTo>
                            <a:cubicBezTo>
                              <a:pt x="12500" y="89352"/>
                              <a:pt x="12500" y="89352"/>
                              <a:pt x="12500" y="89292"/>
                            </a:cubicBezTo>
                            <a:cubicBezTo>
                              <a:pt x="12500" y="89232"/>
                              <a:pt x="12500" y="89113"/>
                              <a:pt x="12560" y="89053"/>
                            </a:cubicBezTo>
                            <a:cubicBezTo>
                              <a:pt x="12560" y="88993"/>
                              <a:pt x="12560" y="88873"/>
                              <a:pt x="12620" y="88814"/>
                            </a:cubicBezTo>
                            <a:cubicBezTo>
                              <a:pt x="12620" y="88754"/>
                              <a:pt x="12620" y="88634"/>
                              <a:pt x="12679" y="88574"/>
                            </a:cubicBezTo>
                            <a:cubicBezTo>
                              <a:pt x="12679" y="88515"/>
                              <a:pt x="12679" y="88395"/>
                              <a:pt x="12679" y="88335"/>
                            </a:cubicBezTo>
                            <a:lnTo>
                              <a:pt x="10825" y="89711"/>
                            </a:lnTo>
                            <a:lnTo>
                              <a:pt x="10586" y="89232"/>
                            </a:lnTo>
                            <a:cubicBezTo>
                              <a:pt x="10586" y="89232"/>
                              <a:pt x="10586" y="89292"/>
                              <a:pt x="10586" y="89292"/>
                            </a:cubicBezTo>
                            <a:cubicBezTo>
                              <a:pt x="10586" y="89292"/>
                              <a:pt x="10586" y="89352"/>
                              <a:pt x="10586" y="89352"/>
                            </a:cubicBezTo>
                            <a:cubicBezTo>
                              <a:pt x="10586" y="89352"/>
                              <a:pt x="10586" y="89412"/>
                              <a:pt x="10586" y="89412"/>
                            </a:cubicBezTo>
                            <a:cubicBezTo>
                              <a:pt x="10586" y="89412"/>
                              <a:pt x="10586" y="89472"/>
                              <a:pt x="10586" y="89472"/>
                            </a:cubicBezTo>
                            <a:cubicBezTo>
                              <a:pt x="10586" y="89591"/>
                              <a:pt x="10526" y="89711"/>
                              <a:pt x="10526" y="89831"/>
                            </a:cubicBezTo>
                            <a:cubicBezTo>
                              <a:pt x="10526" y="89950"/>
                              <a:pt x="10466" y="90070"/>
                              <a:pt x="10466" y="90189"/>
                            </a:cubicBezTo>
                            <a:cubicBezTo>
                              <a:pt x="10466" y="90309"/>
                              <a:pt x="10406" y="90428"/>
                              <a:pt x="10406" y="90548"/>
                            </a:cubicBezTo>
                            <a:cubicBezTo>
                              <a:pt x="10406" y="90668"/>
                              <a:pt x="10347" y="90787"/>
                              <a:pt x="10347" y="90907"/>
                            </a:cubicBezTo>
                            <a:lnTo>
                              <a:pt x="10347" y="91146"/>
                            </a:lnTo>
                          </a:path>
                        </a:pathLst>
                      </a:custGeom>
                      <a:noFill/>
                      <a:ln w="6350" cap="flat">
                        <a:solidFill>
                          <a:schemeClr val="bg1">
                            <a:alpha val="40000"/>
                          </a:schemeClr>
                        </a:solidFill>
                        <a:prstDash val="solid"/>
                        <a:miter/>
                      </a:ln>
                    </p:spPr>
                    <p:txBody>
                      <a:bodyPr rtlCol="0" anchor="ctr"/>
                      <a:lstStyle/>
                      <a:p>
                        <a:endParaRPr lang="en-GB"/>
                      </a:p>
                    </p:txBody>
                  </p:sp>
                  <p:sp>
                    <p:nvSpPr>
                      <p:cNvPr id="7533" name="Vrije vorm: vorm 7532">
                        <a:extLst>
                          <a:ext uri="{FF2B5EF4-FFF2-40B4-BE49-F238E27FC236}">
                            <a16:creationId xmlns:a16="http://schemas.microsoft.com/office/drawing/2014/main" id="{81D7C1EB-FDFD-4E0C-A7D4-0DAA5F340E76}"/>
                          </a:ext>
                        </a:extLst>
                      </p:cNvPr>
                      <p:cNvSpPr/>
                      <p:nvPr/>
                    </p:nvSpPr>
                    <p:spPr>
                      <a:xfrm>
                        <a:off x="5227709" y="5131619"/>
                        <a:ext cx="98203" cy="78706"/>
                      </a:xfrm>
                      <a:custGeom>
                        <a:avLst/>
                        <a:gdLst>
                          <a:gd name="connsiteX0" fmla="*/ 89352 w 98203"/>
                          <a:gd name="connsiteY0" fmla="*/ 4964 h 78706"/>
                          <a:gd name="connsiteX1" fmla="*/ 91565 w 98203"/>
                          <a:gd name="connsiteY1" fmla="*/ 3289 h 78706"/>
                          <a:gd name="connsiteX2" fmla="*/ 92043 w 98203"/>
                          <a:gd name="connsiteY2" fmla="*/ 2452 h 78706"/>
                          <a:gd name="connsiteX3" fmla="*/ 92641 w 98203"/>
                          <a:gd name="connsiteY3" fmla="*/ 1674 h 78706"/>
                          <a:gd name="connsiteX4" fmla="*/ 93359 w 98203"/>
                          <a:gd name="connsiteY4" fmla="*/ 957 h 78706"/>
                          <a:gd name="connsiteX5" fmla="*/ 94196 w 98203"/>
                          <a:gd name="connsiteY5" fmla="*/ 359 h 78706"/>
                          <a:gd name="connsiteX6" fmla="*/ 94316 w 98203"/>
                          <a:gd name="connsiteY6" fmla="*/ 299 h 78706"/>
                          <a:gd name="connsiteX7" fmla="*/ 94435 w 98203"/>
                          <a:gd name="connsiteY7" fmla="*/ 239 h 78706"/>
                          <a:gd name="connsiteX8" fmla="*/ 94555 w 98203"/>
                          <a:gd name="connsiteY8" fmla="*/ 179 h 78706"/>
                          <a:gd name="connsiteX9" fmla="*/ 94675 w 98203"/>
                          <a:gd name="connsiteY9" fmla="*/ 120 h 78706"/>
                          <a:gd name="connsiteX10" fmla="*/ 94615 w 98203"/>
                          <a:gd name="connsiteY10" fmla="*/ 0 h 78706"/>
                          <a:gd name="connsiteX11" fmla="*/ 93778 w 98203"/>
                          <a:gd name="connsiteY11" fmla="*/ 598 h 78706"/>
                          <a:gd name="connsiteX12" fmla="*/ 89651 w 98203"/>
                          <a:gd name="connsiteY12" fmla="*/ 3708 h 78706"/>
                          <a:gd name="connsiteX13" fmla="*/ 89651 w 98203"/>
                          <a:gd name="connsiteY13" fmla="*/ 3708 h 78706"/>
                          <a:gd name="connsiteX14" fmla="*/ 89651 w 98203"/>
                          <a:gd name="connsiteY14" fmla="*/ 3708 h 78706"/>
                          <a:gd name="connsiteX15" fmla="*/ 89651 w 98203"/>
                          <a:gd name="connsiteY15" fmla="*/ 3708 h 78706"/>
                          <a:gd name="connsiteX16" fmla="*/ 89651 w 98203"/>
                          <a:gd name="connsiteY16" fmla="*/ 3708 h 78706"/>
                          <a:gd name="connsiteX17" fmla="*/ 89531 w 98203"/>
                          <a:gd name="connsiteY17" fmla="*/ 4067 h 78706"/>
                          <a:gd name="connsiteX18" fmla="*/ 89412 w 98203"/>
                          <a:gd name="connsiteY18" fmla="*/ 4426 h 78706"/>
                          <a:gd name="connsiteX19" fmla="*/ 89292 w 98203"/>
                          <a:gd name="connsiteY19" fmla="*/ 4785 h 78706"/>
                          <a:gd name="connsiteX20" fmla="*/ 89352 w 98203"/>
                          <a:gd name="connsiteY20" fmla="*/ 4964 h 78706"/>
                          <a:gd name="connsiteX21" fmla="*/ 93897 w 98203"/>
                          <a:gd name="connsiteY21" fmla="*/ 9450 h 78706"/>
                          <a:gd name="connsiteX22" fmla="*/ 94196 w 98203"/>
                          <a:gd name="connsiteY22" fmla="*/ 9509 h 78706"/>
                          <a:gd name="connsiteX23" fmla="*/ 94495 w 98203"/>
                          <a:gd name="connsiteY23" fmla="*/ 9569 h 78706"/>
                          <a:gd name="connsiteX24" fmla="*/ 94794 w 98203"/>
                          <a:gd name="connsiteY24" fmla="*/ 9629 h 78706"/>
                          <a:gd name="connsiteX25" fmla="*/ 95093 w 98203"/>
                          <a:gd name="connsiteY25" fmla="*/ 9629 h 78706"/>
                          <a:gd name="connsiteX26" fmla="*/ 97366 w 98203"/>
                          <a:gd name="connsiteY26" fmla="*/ 7895 h 78706"/>
                          <a:gd name="connsiteX27" fmla="*/ 98203 w 98203"/>
                          <a:gd name="connsiteY27" fmla="*/ 7296 h 78706"/>
                          <a:gd name="connsiteX28" fmla="*/ 95273 w 98203"/>
                          <a:gd name="connsiteY28" fmla="*/ 957 h 78706"/>
                          <a:gd name="connsiteX29" fmla="*/ 95093 w 98203"/>
                          <a:gd name="connsiteY29" fmla="*/ 1017 h 78706"/>
                          <a:gd name="connsiteX30" fmla="*/ 94914 w 98203"/>
                          <a:gd name="connsiteY30" fmla="*/ 1076 h 78706"/>
                          <a:gd name="connsiteX31" fmla="*/ 94734 w 98203"/>
                          <a:gd name="connsiteY31" fmla="*/ 1196 h 78706"/>
                          <a:gd name="connsiteX32" fmla="*/ 94555 w 98203"/>
                          <a:gd name="connsiteY32" fmla="*/ 1316 h 78706"/>
                          <a:gd name="connsiteX33" fmla="*/ 94495 w 98203"/>
                          <a:gd name="connsiteY33" fmla="*/ 1375 h 78706"/>
                          <a:gd name="connsiteX34" fmla="*/ 94435 w 98203"/>
                          <a:gd name="connsiteY34" fmla="*/ 1435 h 78706"/>
                          <a:gd name="connsiteX35" fmla="*/ 94376 w 98203"/>
                          <a:gd name="connsiteY35" fmla="*/ 1495 h 78706"/>
                          <a:gd name="connsiteX36" fmla="*/ 94316 w 98203"/>
                          <a:gd name="connsiteY36" fmla="*/ 1555 h 78706"/>
                          <a:gd name="connsiteX37" fmla="*/ 96888 w 98203"/>
                          <a:gd name="connsiteY37" fmla="*/ 7237 h 78706"/>
                          <a:gd name="connsiteX38" fmla="*/ 93897 w 98203"/>
                          <a:gd name="connsiteY38" fmla="*/ 9450 h 78706"/>
                          <a:gd name="connsiteX39" fmla="*/ 91086 w 98203"/>
                          <a:gd name="connsiteY39" fmla="*/ 11603 h 78706"/>
                          <a:gd name="connsiteX40" fmla="*/ 91266 w 98203"/>
                          <a:gd name="connsiteY40" fmla="*/ 11722 h 78706"/>
                          <a:gd name="connsiteX41" fmla="*/ 91445 w 98203"/>
                          <a:gd name="connsiteY41" fmla="*/ 11842 h 78706"/>
                          <a:gd name="connsiteX42" fmla="*/ 91625 w 98203"/>
                          <a:gd name="connsiteY42" fmla="*/ 11961 h 78706"/>
                          <a:gd name="connsiteX43" fmla="*/ 91804 w 98203"/>
                          <a:gd name="connsiteY43" fmla="*/ 12081 h 78706"/>
                          <a:gd name="connsiteX44" fmla="*/ 93598 w 98203"/>
                          <a:gd name="connsiteY44" fmla="*/ 10705 h 78706"/>
                          <a:gd name="connsiteX45" fmla="*/ 93359 w 98203"/>
                          <a:gd name="connsiteY45" fmla="*/ 10645 h 78706"/>
                          <a:gd name="connsiteX46" fmla="*/ 93120 w 98203"/>
                          <a:gd name="connsiteY46" fmla="*/ 10586 h 78706"/>
                          <a:gd name="connsiteX47" fmla="*/ 92880 w 98203"/>
                          <a:gd name="connsiteY47" fmla="*/ 10466 h 78706"/>
                          <a:gd name="connsiteX48" fmla="*/ 92641 w 98203"/>
                          <a:gd name="connsiteY48" fmla="*/ 10347 h 78706"/>
                          <a:gd name="connsiteX49" fmla="*/ 91086 w 98203"/>
                          <a:gd name="connsiteY49" fmla="*/ 11603 h 78706"/>
                          <a:gd name="connsiteX50" fmla="*/ 80919 w 98203"/>
                          <a:gd name="connsiteY50" fmla="*/ 11304 h 78706"/>
                          <a:gd name="connsiteX51" fmla="*/ 88036 w 98203"/>
                          <a:gd name="connsiteY51" fmla="*/ 5921 h 78706"/>
                          <a:gd name="connsiteX52" fmla="*/ 88096 w 98203"/>
                          <a:gd name="connsiteY52" fmla="*/ 5622 h 78706"/>
                          <a:gd name="connsiteX53" fmla="*/ 88156 w 98203"/>
                          <a:gd name="connsiteY53" fmla="*/ 5323 h 78706"/>
                          <a:gd name="connsiteX54" fmla="*/ 88216 w 98203"/>
                          <a:gd name="connsiteY54" fmla="*/ 5024 h 78706"/>
                          <a:gd name="connsiteX55" fmla="*/ 88276 w 98203"/>
                          <a:gd name="connsiteY55" fmla="*/ 4725 h 78706"/>
                          <a:gd name="connsiteX56" fmla="*/ 80800 w 98203"/>
                          <a:gd name="connsiteY56" fmla="*/ 10406 h 78706"/>
                          <a:gd name="connsiteX57" fmla="*/ 80800 w 98203"/>
                          <a:gd name="connsiteY57" fmla="*/ 10645 h 78706"/>
                          <a:gd name="connsiteX58" fmla="*/ 80800 w 98203"/>
                          <a:gd name="connsiteY58" fmla="*/ 10885 h 78706"/>
                          <a:gd name="connsiteX59" fmla="*/ 80800 w 98203"/>
                          <a:gd name="connsiteY59" fmla="*/ 11124 h 78706"/>
                          <a:gd name="connsiteX60" fmla="*/ 80919 w 98203"/>
                          <a:gd name="connsiteY60" fmla="*/ 11304 h 78706"/>
                          <a:gd name="connsiteX61" fmla="*/ 83849 w 98203"/>
                          <a:gd name="connsiteY61" fmla="*/ 18181 h 78706"/>
                          <a:gd name="connsiteX62" fmla="*/ 90668 w 98203"/>
                          <a:gd name="connsiteY62" fmla="*/ 13038 h 78706"/>
                          <a:gd name="connsiteX63" fmla="*/ 90548 w 98203"/>
                          <a:gd name="connsiteY63" fmla="*/ 12918 h 78706"/>
                          <a:gd name="connsiteX64" fmla="*/ 90428 w 98203"/>
                          <a:gd name="connsiteY64" fmla="*/ 12799 h 78706"/>
                          <a:gd name="connsiteX65" fmla="*/ 90309 w 98203"/>
                          <a:gd name="connsiteY65" fmla="*/ 12679 h 78706"/>
                          <a:gd name="connsiteX66" fmla="*/ 90189 w 98203"/>
                          <a:gd name="connsiteY66" fmla="*/ 12559 h 78706"/>
                          <a:gd name="connsiteX67" fmla="*/ 90189 w 98203"/>
                          <a:gd name="connsiteY67" fmla="*/ 12559 h 78706"/>
                          <a:gd name="connsiteX68" fmla="*/ 90189 w 98203"/>
                          <a:gd name="connsiteY68" fmla="*/ 12559 h 78706"/>
                          <a:gd name="connsiteX69" fmla="*/ 90189 w 98203"/>
                          <a:gd name="connsiteY69" fmla="*/ 12559 h 78706"/>
                          <a:gd name="connsiteX70" fmla="*/ 90189 w 98203"/>
                          <a:gd name="connsiteY70" fmla="*/ 12559 h 78706"/>
                          <a:gd name="connsiteX71" fmla="*/ 83551 w 98203"/>
                          <a:gd name="connsiteY71" fmla="*/ 17583 h 78706"/>
                          <a:gd name="connsiteX72" fmla="*/ 83670 w 98203"/>
                          <a:gd name="connsiteY72" fmla="*/ 17763 h 78706"/>
                          <a:gd name="connsiteX73" fmla="*/ 83790 w 98203"/>
                          <a:gd name="connsiteY73" fmla="*/ 17942 h 78706"/>
                          <a:gd name="connsiteX74" fmla="*/ 83909 w 98203"/>
                          <a:gd name="connsiteY74" fmla="*/ 18121 h 78706"/>
                          <a:gd name="connsiteX75" fmla="*/ 83849 w 98203"/>
                          <a:gd name="connsiteY75" fmla="*/ 18181 h 78706"/>
                          <a:gd name="connsiteX76" fmla="*/ 77988 w 98203"/>
                          <a:gd name="connsiteY76" fmla="*/ 13516 h 78706"/>
                          <a:gd name="connsiteX77" fmla="*/ 79843 w 98203"/>
                          <a:gd name="connsiteY77" fmla="*/ 12081 h 78706"/>
                          <a:gd name="connsiteX78" fmla="*/ 79783 w 98203"/>
                          <a:gd name="connsiteY78" fmla="*/ 11842 h 78706"/>
                          <a:gd name="connsiteX79" fmla="*/ 79723 w 98203"/>
                          <a:gd name="connsiteY79" fmla="*/ 11603 h 78706"/>
                          <a:gd name="connsiteX80" fmla="*/ 79723 w 98203"/>
                          <a:gd name="connsiteY80" fmla="*/ 11364 h 78706"/>
                          <a:gd name="connsiteX81" fmla="*/ 79723 w 98203"/>
                          <a:gd name="connsiteY81" fmla="*/ 11124 h 78706"/>
                          <a:gd name="connsiteX82" fmla="*/ 77809 w 98203"/>
                          <a:gd name="connsiteY82" fmla="*/ 12559 h 78706"/>
                          <a:gd name="connsiteX83" fmla="*/ 77869 w 98203"/>
                          <a:gd name="connsiteY83" fmla="*/ 12799 h 78706"/>
                          <a:gd name="connsiteX84" fmla="*/ 77929 w 98203"/>
                          <a:gd name="connsiteY84" fmla="*/ 13038 h 78706"/>
                          <a:gd name="connsiteX85" fmla="*/ 77988 w 98203"/>
                          <a:gd name="connsiteY85" fmla="*/ 13277 h 78706"/>
                          <a:gd name="connsiteX86" fmla="*/ 77988 w 98203"/>
                          <a:gd name="connsiteY86" fmla="*/ 13516 h 78706"/>
                          <a:gd name="connsiteX87" fmla="*/ 80919 w 98203"/>
                          <a:gd name="connsiteY87" fmla="*/ 20335 h 78706"/>
                          <a:gd name="connsiteX88" fmla="*/ 82773 w 98203"/>
                          <a:gd name="connsiteY88" fmla="*/ 18959 h 78706"/>
                          <a:gd name="connsiteX89" fmla="*/ 82654 w 98203"/>
                          <a:gd name="connsiteY89" fmla="*/ 18780 h 78706"/>
                          <a:gd name="connsiteX90" fmla="*/ 82534 w 98203"/>
                          <a:gd name="connsiteY90" fmla="*/ 18600 h 78706"/>
                          <a:gd name="connsiteX91" fmla="*/ 82414 w 98203"/>
                          <a:gd name="connsiteY91" fmla="*/ 18421 h 78706"/>
                          <a:gd name="connsiteX92" fmla="*/ 82295 w 98203"/>
                          <a:gd name="connsiteY92" fmla="*/ 18241 h 78706"/>
                          <a:gd name="connsiteX93" fmla="*/ 80441 w 98203"/>
                          <a:gd name="connsiteY93" fmla="*/ 19617 h 78706"/>
                          <a:gd name="connsiteX94" fmla="*/ 80560 w 98203"/>
                          <a:gd name="connsiteY94" fmla="*/ 19796 h 78706"/>
                          <a:gd name="connsiteX95" fmla="*/ 80680 w 98203"/>
                          <a:gd name="connsiteY95" fmla="*/ 19975 h 78706"/>
                          <a:gd name="connsiteX96" fmla="*/ 80800 w 98203"/>
                          <a:gd name="connsiteY96" fmla="*/ 20155 h 78706"/>
                          <a:gd name="connsiteX97" fmla="*/ 80919 w 98203"/>
                          <a:gd name="connsiteY97" fmla="*/ 20335 h 78706"/>
                          <a:gd name="connsiteX98" fmla="*/ 5741 w 98203"/>
                          <a:gd name="connsiteY98" fmla="*/ 68121 h 78706"/>
                          <a:gd name="connsiteX99" fmla="*/ 77092 w 98203"/>
                          <a:gd name="connsiteY99" fmla="*/ 14234 h 78706"/>
                          <a:gd name="connsiteX100" fmla="*/ 77032 w 98203"/>
                          <a:gd name="connsiteY100" fmla="*/ 13995 h 78706"/>
                          <a:gd name="connsiteX101" fmla="*/ 76972 w 98203"/>
                          <a:gd name="connsiteY101" fmla="*/ 13756 h 78706"/>
                          <a:gd name="connsiteX102" fmla="*/ 76912 w 98203"/>
                          <a:gd name="connsiteY102" fmla="*/ 13516 h 78706"/>
                          <a:gd name="connsiteX103" fmla="*/ 76852 w 98203"/>
                          <a:gd name="connsiteY103" fmla="*/ 13277 h 78706"/>
                          <a:gd name="connsiteX104" fmla="*/ 4964 w 98203"/>
                          <a:gd name="connsiteY104" fmla="*/ 67582 h 78706"/>
                          <a:gd name="connsiteX105" fmla="*/ 5024 w 98203"/>
                          <a:gd name="connsiteY105" fmla="*/ 67642 h 78706"/>
                          <a:gd name="connsiteX106" fmla="*/ 5083 w 98203"/>
                          <a:gd name="connsiteY106" fmla="*/ 67702 h 78706"/>
                          <a:gd name="connsiteX107" fmla="*/ 5143 w 98203"/>
                          <a:gd name="connsiteY107" fmla="*/ 67762 h 78706"/>
                          <a:gd name="connsiteX108" fmla="*/ 5203 w 98203"/>
                          <a:gd name="connsiteY108" fmla="*/ 67821 h 78706"/>
                          <a:gd name="connsiteX109" fmla="*/ 5323 w 98203"/>
                          <a:gd name="connsiteY109" fmla="*/ 67941 h 78706"/>
                          <a:gd name="connsiteX110" fmla="*/ 5442 w 98203"/>
                          <a:gd name="connsiteY110" fmla="*/ 68061 h 78706"/>
                          <a:gd name="connsiteX111" fmla="*/ 5562 w 98203"/>
                          <a:gd name="connsiteY111" fmla="*/ 68180 h 78706"/>
                          <a:gd name="connsiteX112" fmla="*/ 5741 w 98203"/>
                          <a:gd name="connsiteY112" fmla="*/ 68121 h 78706"/>
                          <a:gd name="connsiteX113" fmla="*/ 9808 w 98203"/>
                          <a:gd name="connsiteY113" fmla="*/ 74221 h 78706"/>
                          <a:gd name="connsiteX114" fmla="*/ 80082 w 98203"/>
                          <a:gd name="connsiteY114" fmla="*/ 20992 h 78706"/>
                          <a:gd name="connsiteX115" fmla="*/ 79962 w 98203"/>
                          <a:gd name="connsiteY115" fmla="*/ 20813 h 78706"/>
                          <a:gd name="connsiteX116" fmla="*/ 79843 w 98203"/>
                          <a:gd name="connsiteY116" fmla="*/ 20634 h 78706"/>
                          <a:gd name="connsiteX117" fmla="*/ 79723 w 98203"/>
                          <a:gd name="connsiteY117" fmla="*/ 20454 h 78706"/>
                          <a:gd name="connsiteX118" fmla="*/ 79603 w 98203"/>
                          <a:gd name="connsiteY118" fmla="*/ 20275 h 78706"/>
                          <a:gd name="connsiteX119" fmla="*/ 9449 w 98203"/>
                          <a:gd name="connsiteY119" fmla="*/ 73324 h 78706"/>
                          <a:gd name="connsiteX120" fmla="*/ 9509 w 98203"/>
                          <a:gd name="connsiteY120" fmla="*/ 73503 h 78706"/>
                          <a:gd name="connsiteX121" fmla="*/ 9569 w 98203"/>
                          <a:gd name="connsiteY121" fmla="*/ 73742 h 78706"/>
                          <a:gd name="connsiteX122" fmla="*/ 9629 w 98203"/>
                          <a:gd name="connsiteY122" fmla="*/ 73981 h 78706"/>
                          <a:gd name="connsiteX123" fmla="*/ 9808 w 98203"/>
                          <a:gd name="connsiteY123" fmla="*/ 74221 h 78706"/>
                          <a:gd name="connsiteX124" fmla="*/ 2153 w 98203"/>
                          <a:gd name="connsiteY124" fmla="*/ 69735 h 78706"/>
                          <a:gd name="connsiteX125" fmla="*/ 2333 w 98203"/>
                          <a:gd name="connsiteY125" fmla="*/ 69855 h 78706"/>
                          <a:gd name="connsiteX126" fmla="*/ 2512 w 98203"/>
                          <a:gd name="connsiteY126" fmla="*/ 69975 h 78706"/>
                          <a:gd name="connsiteX127" fmla="*/ 2691 w 98203"/>
                          <a:gd name="connsiteY127" fmla="*/ 70094 h 78706"/>
                          <a:gd name="connsiteX128" fmla="*/ 2871 w 98203"/>
                          <a:gd name="connsiteY128" fmla="*/ 70214 h 78706"/>
                          <a:gd name="connsiteX129" fmla="*/ 4844 w 98203"/>
                          <a:gd name="connsiteY129" fmla="*/ 68718 h 78706"/>
                          <a:gd name="connsiteX130" fmla="*/ 4785 w 98203"/>
                          <a:gd name="connsiteY130" fmla="*/ 68659 h 78706"/>
                          <a:gd name="connsiteX131" fmla="*/ 4725 w 98203"/>
                          <a:gd name="connsiteY131" fmla="*/ 68599 h 78706"/>
                          <a:gd name="connsiteX132" fmla="*/ 4665 w 98203"/>
                          <a:gd name="connsiteY132" fmla="*/ 68539 h 78706"/>
                          <a:gd name="connsiteX133" fmla="*/ 4605 w 98203"/>
                          <a:gd name="connsiteY133" fmla="*/ 68479 h 78706"/>
                          <a:gd name="connsiteX134" fmla="*/ 4486 w 98203"/>
                          <a:gd name="connsiteY134" fmla="*/ 68419 h 78706"/>
                          <a:gd name="connsiteX135" fmla="*/ 4366 w 98203"/>
                          <a:gd name="connsiteY135" fmla="*/ 68360 h 78706"/>
                          <a:gd name="connsiteX136" fmla="*/ 4246 w 98203"/>
                          <a:gd name="connsiteY136" fmla="*/ 68300 h 78706"/>
                          <a:gd name="connsiteX137" fmla="*/ 4127 w 98203"/>
                          <a:gd name="connsiteY137" fmla="*/ 68240 h 78706"/>
                          <a:gd name="connsiteX138" fmla="*/ 2153 w 98203"/>
                          <a:gd name="connsiteY138" fmla="*/ 69735 h 78706"/>
                          <a:gd name="connsiteX139" fmla="*/ 7057 w 98203"/>
                          <a:gd name="connsiteY139" fmla="*/ 76254 h 78706"/>
                          <a:gd name="connsiteX140" fmla="*/ 8911 w 98203"/>
                          <a:gd name="connsiteY140" fmla="*/ 74879 h 78706"/>
                          <a:gd name="connsiteX141" fmla="*/ 8851 w 98203"/>
                          <a:gd name="connsiteY141" fmla="*/ 74639 h 78706"/>
                          <a:gd name="connsiteX142" fmla="*/ 8791 w 98203"/>
                          <a:gd name="connsiteY142" fmla="*/ 74400 h 78706"/>
                          <a:gd name="connsiteX143" fmla="*/ 8732 w 98203"/>
                          <a:gd name="connsiteY143" fmla="*/ 74161 h 78706"/>
                          <a:gd name="connsiteX144" fmla="*/ 8672 w 98203"/>
                          <a:gd name="connsiteY144" fmla="*/ 73981 h 78706"/>
                          <a:gd name="connsiteX145" fmla="*/ 6818 w 98203"/>
                          <a:gd name="connsiteY145" fmla="*/ 75357 h 78706"/>
                          <a:gd name="connsiteX146" fmla="*/ 6878 w 98203"/>
                          <a:gd name="connsiteY146" fmla="*/ 75596 h 78706"/>
                          <a:gd name="connsiteX147" fmla="*/ 6937 w 98203"/>
                          <a:gd name="connsiteY147" fmla="*/ 75836 h 78706"/>
                          <a:gd name="connsiteX148" fmla="*/ 6997 w 98203"/>
                          <a:gd name="connsiteY148" fmla="*/ 76075 h 78706"/>
                          <a:gd name="connsiteX149" fmla="*/ 7057 w 98203"/>
                          <a:gd name="connsiteY149" fmla="*/ 76254 h 78706"/>
                          <a:gd name="connsiteX150" fmla="*/ 718 w 98203"/>
                          <a:gd name="connsiteY150" fmla="*/ 72845 h 78706"/>
                          <a:gd name="connsiteX151" fmla="*/ 1017 w 98203"/>
                          <a:gd name="connsiteY151" fmla="*/ 72785 h 78706"/>
                          <a:gd name="connsiteX152" fmla="*/ 1316 w 98203"/>
                          <a:gd name="connsiteY152" fmla="*/ 72785 h 78706"/>
                          <a:gd name="connsiteX153" fmla="*/ 1615 w 98203"/>
                          <a:gd name="connsiteY153" fmla="*/ 72785 h 78706"/>
                          <a:gd name="connsiteX154" fmla="*/ 1914 w 98203"/>
                          <a:gd name="connsiteY154" fmla="*/ 72845 h 78706"/>
                          <a:gd name="connsiteX155" fmla="*/ 1256 w 98203"/>
                          <a:gd name="connsiteY155" fmla="*/ 71530 h 78706"/>
                          <a:gd name="connsiteX156" fmla="*/ 1794 w 98203"/>
                          <a:gd name="connsiteY156" fmla="*/ 71111 h 78706"/>
                          <a:gd name="connsiteX157" fmla="*/ 1615 w 98203"/>
                          <a:gd name="connsiteY157" fmla="*/ 70991 h 78706"/>
                          <a:gd name="connsiteX158" fmla="*/ 1435 w 98203"/>
                          <a:gd name="connsiteY158" fmla="*/ 70871 h 78706"/>
                          <a:gd name="connsiteX159" fmla="*/ 1256 w 98203"/>
                          <a:gd name="connsiteY159" fmla="*/ 70752 h 78706"/>
                          <a:gd name="connsiteX160" fmla="*/ 1076 w 98203"/>
                          <a:gd name="connsiteY160" fmla="*/ 70632 h 78706"/>
                          <a:gd name="connsiteX161" fmla="*/ 837 w 98203"/>
                          <a:gd name="connsiteY161" fmla="*/ 70812 h 78706"/>
                          <a:gd name="connsiteX162" fmla="*/ 0 w 98203"/>
                          <a:gd name="connsiteY162" fmla="*/ 71470 h 78706"/>
                          <a:gd name="connsiteX163" fmla="*/ 718 w 98203"/>
                          <a:gd name="connsiteY163" fmla="*/ 72845 h 78706"/>
                          <a:gd name="connsiteX164" fmla="*/ 2512 w 98203"/>
                          <a:gd name="connsiteY164" fmla="*/ 76254 h 78706"/>
                          <a:gd name="connsiteX165" fmla="*/ 2572 w 98203"/>
                          <a:gd name="connsiteY165" fmla="*/ 76134 h 78706"/>
                          <a:gd name="connsiteX166" fmla="*/ 2632 w 98203"/>
                          <a:gd name="connsiteY166" fmla="*/ 76015 h 78706"/>
                          <a:gd name="connsiteX167" fmla="*/ 2691 w 98203"/>
                          <a:gd name="connsiteY167" fmla="*/ 75895 h 78706"/>
                          <a:gd name="connsiteX168" fmla="*/ 2691 w 98203"/>
                          <a:gd name="connsiteY168" fmla="*/ 75776 h 78706"/>
                          <a:gd name="connsiteX169" fmla="*/ 2691 w 98203"/>
                          <a:gd name="connsiteY169" fmla="*/ 75357 h 78706"/>
                          <a:gd name="connsiteX170" fmla="*/ 2632 w 98203"/>
                          <a:gd name="connsiteY170" fmla="*/ 74998 h 78706"/>
                          <a:gd name="connsiteX171" fmla="*/ 2512 w 98203"/>
                          <a:gd name="connsiteY171" fmla="*/ 74639 h 78706"/>
                          <a:gd name="connsiteX172" fmla="*/ 2333 w 98203"/>
                          <a:gd name="connsiteY172" fmla="*/ 74340 h 78706"/>
                          <a:gd name="connsiteX173" fmla="*/ 2273 w 98203"/>
                          <a:gd name="connsiteY173" fmla="*/ 74280 h 78706"/>
                          <a:gd name="connsiteX174" fmla="*/ 2213 w 98203"/>
                          <a:gd name="connsiteY174" fmla="*/ 74221 h 78706"/>
                          <a:gd name="connsiteX175" fmla="*/ 2153 w 98203"/>
                          <a:gd name="connsiteY175" fmla="*/ 74161 h 78706"/>
                          <a:gd name="connsiteX176" fmla="*/ 2093 w 98203"/>
                          <a:gd name="connsiteY176" fmla="*/ 74101 h 78706"/>
                          <a:gd name="connsiteX177" fmla="*/ 1854 w 98203"/>
                          <a:gd name="connsiteY177" fmla="*/ 73981 h 78706"/>
                          <a:gd name="connsiteX178" fmla="*/ 1615 w 98203"/>
                          <a:gd name="connsiteY178" fmla="*/ 73862 h 78706"/>
                          <a:gd name="connsiteX179" fmla="*/ 1375 w 98203"/>
                          <a:gd name="connsiteY179" fmla="*/ 73802 h 78706"/>
                          <a:gd name="connsiteX180" fmla="*/ 1136 w 98203"/>
                          <a:gd name="connsiteY180" fmla="*/ 73802 h 78706"/>
                          <a:gd name="connsiteX181" fmla="*/ 2512 w 98203"/>
                          <a:gd name="connsiteY181" fmla="*/ 76254 h 78706"/>
                          <a:gd name="connsiteX182" fmla="*/ 3828 w 98203"/>
                          <a:gd name="connsiteY182" fmla="*/ 78706 h 78706"/>
                          <a:gd name="connsiteX183" fmla="*/ 3828 w 98203"/>
                          <a:gd name="connsiteY183" fmla="*/ 78706 h 78706"/>
                          <a:gd name="connsiteX184" fmla="*/ 4665 w 98203"/>
                          <a:gd name="connsiteY184" fmla="*/ 78048 h 78706"/>
                          <a:gd name="connsiteX185" fmla="*/ 5981 w 98203"/>
                          <a:gd name="connsiteY185" fmla="*/ 77032 h 78706"/>
                          <a:gd name="connsiteX186" fmla="*/ 5921 w 98203"/>
                          <a:gd name="connsiteY186" fmla="*/ 76792 h 78706"/>
                          <a:gd name="connsiteX187" fmla="*/ 5861 w 98203"/>
                          <a:gd name="connsiteY187" fmla="*/ 76553 h 78706"/>
                          <a:gd name="connsiteX188" fmla="*/ 5801 w 98203"/>
                          <a:gd name="connsiteY188" fmla="*/ 76314 h 78706"/>
                          <a:gd name="connsiteX189" fmla="*/ 5741 w 98203"/>
                          <a:gd name="connsiteY189" fmla="*/ 76075 h 78706"/>
                          <a:gd name="connsiteX190" fmla="*/ 4306 w 98203"/>
                          <a:gd name="connsiteY190" fmla="*/ 77151 h 78706"/>
                          <a:gd name="connsiteX191" fmla="*/ 4306 w 98203"/>
                          <a:gd name="connsiteY191" fmla="*/ 77151 h 78706"/>
                          <a:gd name="connsiteX192" fmla="*/ 3588 w 98203"/>
                          <a:gd name="connsiteY192" fmla="*/ 75836 h 78706"/>
                          <a:gd name="connsiteX193" fmla="*/ 3469 w 98203"/>
                          <a:gd name="connsiteY193" fmla="*/ 76134 h 78706"/>
                          <a:gd name="connsiteX194" fmla="*/ 3349 w 98203"/>
                          <a:gd name="connsiteY194" fmla="*/ 76433 h 78706"/>
                          <a:gd name="connsiteX195" fmla="*/ 3170 w 98203"/>
                          <a:gd name="connsiteY195" fmla="*/ 76733 h 78706"/>
                          <a:gd name="connsiteX196" fmla="*/ 2990 w 98203"/>
                          <a:gd name="connsiteY196" fmla="*/ 77032 h 78706"/>
                          <a:gd name="connsiteX197" fmla="*/ 3828 w 98203"/>
                          <a:gd name="connsiteY197" fmla="*/ 78706 h 7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98203" h="78706">
                            <a:moveTo>
                              <a:pt x="89352" y="4964"/>
                            </a:moveTo>
                            <a:lnTo>
                              <a:pt x="91565" y="3289"/>
                            </a:lnTo>
                            <a:cubicBezTo>
                              <a:pt x="91744" y="2990"/>
                              <a:pt x="91864" y="2691"/>
                              <a:pt x="92043" y="2452"/>
                            </a:cubicBezTo>
                            <a:cubicBezTo>
                              <a:pt x="92223" y="2213"/>
                              <a:pt x="92462" y="1914"/>
                              <a:pt x="92641" y="1674"/>
                            </a:cubicBezTo>
                            <a:cubicBezTo>
                              <a:pt x="92880" y="1435"/>
                              <a:pt x="93120" y="1196"/>
                              <a:pt x="93359" y="957"/>
                            </a:cubicBezTo>
                            <a:cubicBezTo>
                              <a:pt x="93598" y="718"/>
                              <a:pt x="93897" y="538"/>
                              <a:pt x="94196" y="359"/>
                            </a:cubicBezTo>
                            <a:cubicBezTo>
                              <a:pt x="94256" y="299"/>
                              <a:pt x="94316" y="299"/>
                              <a:pt x="94316" y="299"/>
                            </a:cubicBezTo>
                            <a:cubicBezTo>
                              <a:pt x="94376" y="299"/>
                              <a:pt x="94435" y="239"/>
                              <a:pt x="94435" y="239"/>
                            </a:cubicBezTo>
                            <a:cubicBezTo>
                              <a:pt x="94495" y="239"/>
                              <a:pt x="94555" y="179"/>
                              <a:pt x="94555" y="179"/>
                            </a:cubicBezTo>
                            <a:cubicBezTo>
                              <a:pt x="94615" y="179"/>
                              <a:pt x="94675" y="120"/>
                              <a:pt x="94675" y="120"/>
                            </a:cubicBezTo>
                            <a:lnTo>
                              <a:pt x="94615" y="0"/>
                            </a:lnTo>
                            <a:lnTo>
                              <a:pt x="93778" y="598"/>
                            </a:lnTo>
                            <a:lnTo>
                              <a:pt x="89651" y="3708"/>
                            </a:lnTo>
                            <a:cubicBezTo>
                              <a:pt x="89651" y="3708"/>
                              <a:pt x="89651" y="3708"/>
                              <a:pt x="89651" y="3708"/>
                            </a:cubicBezTo>
                            <a:cubicBezTo>
                              <a:pt x="89651" y="3708"/>
                              <a:pt x="89651" y="3708"/>
                              <a:pt x="89651" y="3708"/>
                            </a:cubicBezTo>
                            <a:cubicBezTo>
                              <a:pt x="89651" y="3708"/>
                              <a:pt x="89651" y="3708"/>
                              <a:pt x="89651" y="3708"/>
                            </a:cubicBezTo>
                            <a:cubicBezTo>
                              <a:pt x="89651" y="3708"/>
                              <a:pt x="89651" y="3708"/>
                              <a:pt x="89651" y="3708"/>
                            </a:cubicBezTo>
                            <a:cubicBezTo>
                              <a:pt x="89591" y="3828"/>
                              <a:pt x="89591" y="3947"/>
                              <a:pt x="89531" y="4067"/>
                            </a:cubicBezTo>
                            <a:cubicBezTo>
                              <a:pt x="89471" y="4187"/>
                              <a:pt x="89471" y="4306"/>
                              <a:pt x="89412" y="4426"/>
                            </a:cubicBezTo>
                            <a:cubicBezTo>
                              <a:pt x="89352" y="4545"/>
                              <a:pt x="89352" y="4665"/>
                              <a:pt x="89292" y="4785"/>
                            </a:cubicBezTo>
                            <a:cubicBezTo>
                              <a:pt x="89232" y="4904"/>
                              <a:pt x="89352" y="4844"/>
                              <a:pt x="89352" y="4964"/>
                            </a:cubicBezTo>
                            <a:moveTo>
                              <a:pt x="93897" y="9450"/>
                            </a:moveTo>
                            <a:cubicBezTo>
                              <a:pt x="94017" y="9509"/>
                              <a:pt x="94077" y="9509"/>
                              <a:pt x="94196" y="9509"/>
                            </a:cubicBezTo>
                            <a:cubicBezTo>
                              <a:pt x="94316" y="9509"/>
                              <a:pt x="94376" y="9569"/>
                              <a:pt x="94495" y="9569"/>
                            </a:cubicBezTo>
                            <a:cubicBezTo>
                              <a:pt x="94615" y="9569"/>
                              <a:pt x="94675" y="9569"/>
                              <a:pt x="94794" y="9629"/>
                            </a:cubicBezTo>
                            <a:cubicBezTo>
                              <a:pt x="94914" y="9629"/>
                              <a:pt x="94974" y="9629"/>
                              <a:pt x="95093" y="9629"/>
                            </a:cubicBezTo>
                            <a:lnTo>
                              <a:pt x="97366" y="7895"/>
                            </a:lnTo>
                            <a:lnTo>
                              <a:pt x="98203" y="7296"/>
                            </a:lnTo>
                            <a:lnTo>
                              <a:pt x="95273" y="957"/>
                            </a:lnTo>
                            <a:cubicBezTo>
                              <a:pt x="95213" y="957"/>
                              <a:pt x="95153" y="1017"/>
                              <a:pt x="95093" y="1017"/>
                            </a:cubicBezTo>
                            <a:cubicBezTo>
                              <a:pt x="95034" y="1017"/>
                              <a:pt x="94974" y="1076"/>
                              <a:pt x="94914" y="1076"/>
                            </a:cubicBezTo>
                            <a:cubicBezTo>
                              <a:pt x="94854" y="1136"/>
                              <a:pt x="94794" y="1136"/>
                              <a:pt x="94734" y="1196"/>
                            </a:cubicBezTo>
                            <a:cubicBezTo>
                              <a:pt x="94675" y="1256"/>
                              <a:pt x="94615" y="1256"/>
                              <a:pt x="94555" y="1316"/>
                            </a:cubicBezTo>
                            <a:cubicBezTo>
                              <a:pt x="94555" y="1316"/>
                              <a:pt x="94495" y="1316"/>
                              <a:pt x="94495" y="1375"/>
                            </a:cubicBezTo>
                            <a:cubicBezTo>
                              <a:pt x="94495" y="1375"/>
                              <a:pt x="94435" y="1375"/>
                              <a:pt x="94435" y="1435"/>
                            </a:cubicBezTo>
                            <a:cubicBezTo>
                              <a:pt x="94435" y="1435"/>
                              <a:pt x="94376" y="1435"/>
                              <a:pt x="94376" y="1495"/>
                            </a:cubicBezTo>
                            <a:cubicBezTo>
                              <a:pt x="94376" y="1495"/>
                              <a:pt x="94316" y="1495"/>
                              <a:pt x="94316" y="1555"/>
                            </a:cubicBezTo>
                            <a:lnTo>
                              <a:pt x="96888" y="7237"/>
                            </a:lnTo>
                            <a:lnTo>
                              <a:pt x="93897" y="9450"/>
                            </a:lnTo>
                            <a:moveTo>
                              <a:pt x="91086" y="11603"/>
                            </a:moveTo>
                            <a:cubicBezTo>
                              <a:pt x="91146" y="11662"/>
                              <a:pt x="91206" y="11722"/>
                              <a:pt x="91266" y="11722"/>
                            </a:cubicBezTo>
                            <a:cubicBezTo>
                              <a:pt x="91325" y="11722"/>
                              <a:pt x="91385" y="11842"/>
                              <a:pt x="91445" y="11842"/>
                            </a:cubicBezTo>
                            <a:cubicBezTo>
                              <a:pt x="91505" y="11902"/>
                              <a:pt x="91565" y="11902"/>
                              <a:pt x="91625" y="11961"/>
                            </a:cubicBezTo>
                            <a:cubicBezTo>
                              <a:pt x="91684" y="12021"/>
                              <a:pt x="91744" y="12021"/>
                              <a:pt x="91804" y="12081"/>
                            </a:cubicBezTo>
                            <a:lnTo>
                              <a:pt x="93598" y="10705"/>
                            </a:lnTo>
                            <a:cubicBezTo>
                              <a:pt x="93539" y="10705"/>
                              <a:pt x="93419" y="10645"/>
                              <a:pt x="93359" y="10645"/>
                            </a:cubicBezTo>
                            <a:cubicBezTo>
                              <a:pt x="93299" y="10645"/>
                              <a:pt x="93179" y="10586"/>
                              <a:pt x="93120" y="10586"/>
                            </a:cubicBezTo>
                            <a:cubicBezTo>
                              <a:pt x="93060" y="10586"/>
                              <a:pt x="92940" y="10526"/>
                              <a:pt x="92880" y="10466"/>
                            </a:cubicBezTo>
                            <a:cubicBezTo>
                              <a:pt x="92821" y="10406"/>
                              <a:pt x="92761" y="10406"/>
                              <a:pt x="92641" y="10347"/>
                            </a:cubicBezTo>
                            <a:lnTo>
                              <a:pt x="91086" y="11603"/>
                            </a:lnTo>
                            <a:moveTo>
                              <a:pt x="80919" y="11304"/>
                            </a:moveTo>
                            <a:lnTo>
                              <a:pt x="88036" y="5921"/>
                            </a:lnTo>
                            <a:cubicBezTo>
                              <a:pt x="88036" y="5801"/>
                              <a:pt x="88096" y="5682"/>
                              <a:pt x="88096" y="5622"/>
                            </a:cubicBezTo>
                            <a:cubicBezTo>
                              <a:pt x="88096" y="5562"/>
                              <a:pt x="88156" y="5383"/>
                              <a:pt x="88156" y="5323"/>
                            </a:cubicBezTo>
                            <a:cubicBezTo>
                              <a:pt x="88156" y="5263"/>
                              <a:pt x="88216" y="5083"/>
                              <a:pt x="88216" y="5024"/>
                            </a:cubicBezTo>
                            <a:cubicBezTo>
                              <a:pt x="88216" y="4964"/>
                              <a:pt x="88276" y="4785"/>
                              <a:pt x="88276" y="4725"/>
                            </a:cubicBezTo>
                            <a:lnTo>
                              <a:pt x="80800" y="10406"/>
                            </a:lnTo>
                            <a:cubicBezTo>
                              <a:pt x="80800" y="10466"/>
                              <a:pt x="80800" y="10586"/>
                              <a:pt x="80800" y="10645"/>
                            </a:cubicBezTo>
                            <a:cubicBezTo>
                              <a:pt x="80800" y="10705"/>
                              <a:pt x="80800" y="10825"/>
                              <a:pt x="80800" y="10885"/>
                            </a:cubicBezTo>
                            <a:cubicBezTo>
                              <a:pt x="80800" y="10945"/>
                              <a:pt x="80800" y="11064"/>
                              <a:pt x="80800" y="11124"/>
                            </a:cubicBezTo>
                            <a:cubicBezTo>
                              <a:pt x="80800" y="11184"/>
                              <a:pt x="80919" y="11244"/>
                              <a:pt x="80919" y="11304"/>
                            </a:cubicBezTo>
                            <a:moveTo>
                              <a:pt x="83849" y="18181"/>
                            </a:moveTo>
                            <a:lnTo>
                              <a:pt x="90668" y="13038"/>
                            </a:lnTo>
                            <a:cubicBezTo>
                              <a:pt x="90608" y="12978"/>
                              <a:pt x="90548" y="12978"/>
                              <a:pt x="90548" y="12918"/>
                            </a:cubicBezTo>
                            <a:cubicBezTo>
                              <a:pt x="90488" y="12859"/>
                              <a:pt x="90428" y="12859"/>
                              <a:pt x="90428" y="12799"/>
                            </a:cubicBezTo>
                            <a:cubicBezTo>
                              <a:pt x="90428" y="12739"/>
                              <a:pt x="90309" y="12739"/>
                              <a:pt x="90309" y="12679"/>
                            </a:cubicBezTo>
                            <a:cubicBezTo>
                              <a:pt x="90309" y="12619"/>
                              <a:pt x="90189" y="12619"/>
                              <a:pt x="90189" y="12559"/>
                            </a:cubicBezTo>
                            <a:cubicBezTo>
                              <a:pt x="90189" y="12559"/>
                              <a:pt x="90189" y="12559"/>
                              <a:pt x="90189" y="12559"/>
                            </a:cubicBezTo>
                            <a:cubicBezTo>
                              <a:pt x="90189" y="12559"/>
                              <a:pt x="90189" y="12559"/>
                              <a:pt x="90189" y="12559"/>
                            </a:cubicBezTo>
                            <a:cubicBezTo>
                              <a:pt x="90189" y="12559"/>
                              <a:pt x="90189" y="12559"/>
                              <a:pt x="90189" y="12559"/>
                            </a:cubicBezTo>
                            <a:cubicBezTo>
                              <a:pt x="90189" y="12559"/>
                              <a:pt x="90189" y="12559"/>
                              <a:pt x="90189" y="12559"/>
                            </a:cubicBezTo>
                            <a:lnTo>
                              <a:pt x="83551" y="17583"/>
                            </a:lnTo>
                            <a:cubicBezTo>
                              <a:pt x="83610" y="17643"/>
                              <a:pt x="83610" y="17703"/>
                              <a:pt x="83670" y="17763"/>
                            </a:cubicBezTo>
                            <a:cubicBezTo>
                              <a:pt x="83730" y="17822"/>
                              <a:pt x="83730" y="17882"/>
                              <a:pt x="83790" y="17942"/>
                            </a:cubicBezTo>
                            <a:cubicBezTo>
                              <a:pt x="83849" y="18002"/>
                              <a:pt x="83909" y="18062"/>
                              <a:pt x="83909" y="18121"/>
                            </a:cubicBezTo>
                            <a:cubicBezTo>
                              <a:pt x="83909" y="18181"/>
                              <a:pt x="83790" y="18121"/>
                              <a:pt x="83849" y="18181"/>
                            </a:cubicBezTo>
                            <a:moveTo>
                              <a:pt x="77988" y="13516"/>
                            </a:moveTo>
                            <a:lnTo>
                              <a:pt x="79843" y="12081"/>
                            </a:lnTo>
                            <a:cubicBezTo>
                              <a:pt x="79843" y="12021"/>
                              <a:pt x="79843" y="11902"/>
                              <a:pt x="79783" y="11842"/>
                            </a:cubicBezTo>
                            <a:cubicBezTo>
                              <a:pt x="79783" y="11782"/>
                              <a:pt x="79783" y="11662"/>
                              <a:pt x="79723" y="11603"/>
                            </a:cubicBezTo>
                            <a:cubicBezTo>
                              <a:pt x="79723" y="11543"/>
                              <a:pt x="79723" y="11423"/>
                              <a:pt x="79723" y="11364"/>
                            </a:cubicBezTo>
                            <a:cubicBezTo>
                              <a:pt x="79723" y="11304"/>
                              <a:pt x="79723" y="11184"/>
                              <a:pt x="79723" y="11124"/>
                            </a:cubicBezTo>
                            <a:lnTo>
                              <a:pt x="77809" y="12559"/>
                            </a:lnTo>
                            <a:cubicBezTo>
                              <a:pt x="77809" y="12619"/>
                              <a:pt x="77809" y="12739"/>
                              <a:pt x="77869" y="12799"/>
                            </a:cubicBezTo>
                            <a:cubicBezTo>
                              <a:pt x="77869" y="12859"/>
                              <a:pt x="77869" y="12978"/>
                              <a:pt x="77929" y="13038"/>
                            </a:cubicBezTo>
                            <a:cubicBezTo>
                              <a:pt x="77988" y="13098"/>
                              <a:pt x="77929" y="13218"/>
                              <a:pt x="77988" y="13277"/>
                            </a:cubicBezTo>
                            <a:cubicBezTo>
                              <a:pt x="77929" y="13397"/>
                              <a:pt x="77988" y="13457"/>
                              <a:pt x="77988" y="13516"/>
                            </a:cubicBezTo>
                            <a:moveTo>
                              <a:pt x="80919" y="20335"/>
                            </a:moveTo>
                            <a:lnTo>
                              <a:pt x="82773" y="18959"/>
                            </a:lnTo>
                            <a:cubicBezTo>
                              <a:pt x="82713" y="18899"/>
                              <a:pt x="82654" y="18839"/>
                              <a:pt x="82654" y="18780"/>
                            </a:cubicBezTo>
                            <a:cubicBezTo>
                              <a:pt x="82594" y="18720"/>
                              <a:pt x="82594" y="18660"/>
                              <a:pt x="82534" y="18600"/>
                            </a:cubicBezTo>
                            <a:cubicBezTo>
                              <a:pt x="82474" y="18540"/>
                              <a:pt x="82474" y="18480"/>
                              <a:pt x="82414" y="18421"/>
                            </a:cubicBezTo>
                            <a:cubicBezTo>
                              <a:pt x="82354" y="18361"/>
                              <a:pt x="82354" y="18301"/>
                              <a:pt x="82295" y="18241"/>
                            </a:cubicBezTo>
                            <a:lnTo>
                              <a:pt x="80441" y="19617"/>
                            </a:lnTo>
                            <a:cubicBezTo>
                              <a:pt x="80500" y="19676"/>
                              <a:pt x="80500" y="19736"/>
                              <a:pt x="80560" y="19796"/>
                            </a:cubicBezTo>
                            <a:cubicBezTo>
                              <a:pt x="80620" y="19856"/>
                              <a:pt x="80620" y="19916"/>
                              <a:pt x="80680" y="19975"/>
                            </a:cubicBezTo>
                            <a:cubicBezTo>
                              <a:pt x="80740" y="20035"/>
                              <a:pt x="80740" y="20095"/>
                              <a:pt x="80800" y="20155"/>
                            </a:cubicBezTo>
                            <a:cubicBezTo>
                              <a:pt x="80859" y="20215"/>
                              <a:pt x="80859" y="20275"/>
                              <a:pt x="80919" y="20335"/>
                            </a:cubicBezTo>
                            <a:moveTo>
                              <a:pt x="5741" y="68121"/>
                            </a:moveTo>
                            <a:lnTo>
                              <a:pt x="77092" y="14234"/>
                            </a:lnTo>
                            <a:cubicBezTo>
                              <a:pt x="77092" y="14174"/>
                              <a:pt x="77032" y="14055"/>
                              <a:pt x="77032" y="13995"/>
                            </a:cubicBezTo>
                            <a:cubicBezTo>
                              <a:pt x="77032" y="13935"/>
                              <a:pt x="77032" y="13815"/>
                              <a:pt x="76972" y="13756"/>
                            </a:cubicBezTo>
                            <a:cubicBezTo>
                              <a:pt x="76972" y="13696"/>
                              <a:pt x="76972" y="13576"/>
                              <a:pt x="76912" y="13516"/>
                            </a:cubicBezTo>
                            <a:cubicBezTo>
                              <a:pt x="76912" y="13457"/>
                              <a:pt x="76912" y="13337"/>
                              <a:pt x="76852" y="13277"/>
                            </a:cubicBezTo>
                            <a:lnTo>
                              <a:pt x="4964" y="67582"/>
                            </a:lnTo>
                            <a:cubicBezTo>
                              <a:pt x="4964" y="67582"/>
                              <a:pt x="4964" y="67582"/>
                              <a:pt x="5024" y="67642"/>
                            </a:cubicBezTo>
                            <a:cubicBezTo>
                              <a:pt x="5083" y="67702"/>
                              <a:pt x="5024" y="67642"/>
                              <a:pt x="5083" y="67702"/>
                            </a:cubicBezTo>
                            <a:cubicBezTo>
                              <a:pt x="5083" y="67702"/>
                              <a:pt x="5083" y="67702"/>
                              <a:pt x="5143" y="67762"/>
                            </a:cubicBezTo>
                            <a:cubicBezTo>
                              <a:pt x="5203" y="67821"/>
                              <a:pt x="5143" y="67762"/>
                              <a:pt x="5203" y="67821"/>
                            </a:cubicBezTo>
                            <a:cubicBezTo>
                              <a:pt x="5263" y="67881"/>
                              <a:pt x="5263" y="67881"/>
                              <a:pt x="5323" y="67941"/>
                            </a:cubicBezTo>
                            <a:cubicBezTo>
                              <a:pt x="5382" y="68001"/>
                              <a:pt x="5382" y="68001"/>
                              <a:pt x="5442" y="68061"/>
                            </a:cubicBezTo>
                            <a:cubicBezTo>
                              <a:pt x="5502" y="68121"/>
                              <a:pt x="5502" y="68121"/>
                              <a:pt x="5562" y="68180"/>
                            </a:cubicBezTo>
                            <a:cubicBezTo>
                              <a:pt x="5682" y="68001"/>
                              <a:pt x="5682" y="68061"/>
                              <a:pt x="5741" y="68121"/>
                            </a:cubicBezTo>
                            <a:moveTo>
                              <a:pt x="9808" y="74221"/>
                            </a:moveTo>
                            <a:lnTo>
                              <a:pt x="80082" y="20992"/>
                            </a:lnTo>
                            <a:cubicBezTo>
                              <a:pt x="80022" y="20933"/>
                              <a:pt x="80022" y="20873"/>
                              <a:pt x="79962" y="20813"/>
                            </a:cubicBezTo>
                            <a:cubicBezTo>
                              <a:pt x="79902" y="20753"/>
                              <a:pt x="79902" y="20693"/>
                              <a:pt x="79843" y="20634"/>
                            </a:cubicBezTo>
                            <a:cubicBezTo>
                              <a:pt x="79783" y="20574"/>
                              <a:pt x="79783" y="20514"/>
                              <a:pt x="79723" y="20454"/>
                            </a:cubicBezTo>
                            <a:cubicBezTo>
                              <a:pt x="79663" y="20394"/>
                              <a:pt x="79663" y="20335"/>
                              <a:pt x="79603" y="20275"/>
                            </a:cubicBezTo>
                            <a:lnTo>
                              <a:pt x="9449" y="73324"/>
                            </a:lnTo>
                            <a:cubicBezTo>
                              <a:pt x="9449" y="73384"/>
                              <a:pt x="9509" y="73443"/>
                              <a:pt x="9509" y="73503"/>
                            </a:cubicBezTo>
                            <a:cubicBezTo>
                              <a:pt x="9509" y="73563"/>
                              <a:pt x="9569" y="73623"/>
                              <a:pt x="9569" y="73742"/>
                            </a:cubicBezTo>
                            <a:cubicBezTo>
                              <a:pt x="9569" y="73802"/>
                              <a:pt x="9629" y="73862"/>
                              <a:pt x="9629" y="73981"/>
                            </a:cubicBezTo>
                            <a:cubicBezTo>
                              <a:pt x="9629" y="74101"/>
                              <a:pt x="9749" y="74161"/>
                              <a:pt x="9808" y="74221"/>
                            </a:cubicBezTo>
                            <a:moveTo>
                              <a:pt x="2153" y="69735"/>
                            </a:moveTo>
                            <a:cubicBezTo>
                              <a:pt x="2213" y="69795"/>
                              <a:pt x="2273" y="69795"/>
                              <a:pt x="2333" y="69855"/>
                            </a:cubicBezTo>
                            <a:cubicBezTo>
                              <a:pt x="2392" y="69915"/>
                              <a:pt x="2452" y="69915"/>
                              <a:pt x="2512" y="69975"/>
                            </a:cubicBezTo>
                            <a:cubicBezTo>
                              <a:pt x="2572" y="70034"/>
                              <a:pt x="2632" y="70094"/>
                              <a:pt x="2691" y="70094"/>
                            </a:cubicBezTo>
                            <a:cubicBezTo>
                              <a:pt x="2751" y="70154"/>
                              <a:pt x="2811" y="70214"/>
                              <a:pt x="2871" y="70214"/>
                            </a:cubicBezTo>
                            <a:lnTo>
                              <a:pt x="4844" y="68718"/>
                            </a:lnTo>
                            <a:cubicBezTo>
                              <a:pt x="4844" y="68718"/>
                              <a:pt x="4785" y="68659"/>
                              <a:pt x="4785" y="68659"/>
                            </a:cubicBezTo>
                            <a:cubicBezTo>
                              <a:pt x="4785" y="68659"/>
                              <a:pt x="4725" y="68599"/>
                              <a:pt x="4725" y="68599"/>
                            </a:cubicBezTo>
                            <a:cubicBezTo>
                              <a:pt x="4725" y="68599"/>
                              <a:pt x="4665" y="68539"/>
                              <a:pt x="4665" y="68539"/>
                            </a:cubicBezTo>
                            <a:cubicBezTo>
                              <a:pt x="4665" y="68539"/>
                              <a:pt x="4605" y="68479"/>
                              <a:pt x="4605" y="68479"/>
                            </a:cubicBezTo>
                            <a:cubicBezTo>
                              <a:pt x="4545" y="68479"/>
                              <a:pt x="4545" y="68419"/>
                              <a:pt x="4486" y="68419"/>
                            </a:cubicBezTo>
                            <a:cubicBezTo>
                              <a:pt x="4426" y="68419"/>
                              <a:pt x="4426" y="68360"/>
                              <a:pt x="4366" y="68360"/>
                            </a:cubicBezTo>
                            <a:cubicBezTo>
                              <a:pt x="4306" y="68360"/>
                              <a:pt x="4306" y="68300"/>
                              <a:pt x="4246" y="68300"/>
                            </a:cubicBezTo>
                            <a:cubicBezTo>
                              <a:pt x="4187" y="68300"/>
                              <a:pt x="4187" y="68240"/>
                              <a:pt x="4127" y="68240"/>
                            </a:cubicBezTo>
                            <a:lnTo>
                              <a:pt x="2153" y="69735"/>
                            </a:lnTo>
                            <a:moveTo>
                              <a:pt x="7057" y="76254"/>
                            </a:moveTo>
                            <a:lnTo>
                              <a:pt x="8911" y="74879"/>
                            </a:lnTo>
                            <a:cubicBezTo>
                              <a:pt x="8911" y="74819"/>
                              <a:pt x="8851" y="74759"/>
                              <a:pt x="8851" y="74639"/>
                            </a:cubicBezTo>
                            <a:cubicBezTo>
                              <a:pt x="8851" y="74579"/>
                              <a:pt x="8791" y="74520"/>
                              <a:pt x="8791" y="74400"/>
                            </a:cubicBezTo>
                            <a:cubicBezTo>
                              <a:pt x="8791" y="74340"/>
                              <a:pt x="8732" y="74280"/>
                              <a:pt x="8732" y="74161"/>
                            </a:cubicBezTo>
                            <a:cubicBezTo>
                              <a:pt x="8732" y="74041"/>
                              <a:pt x="8672" y="74041"/>
                              <a:pt x="8672" y="73981"/>
                            </a:cubicBezTo>
                            <a:lnTo>
                              <a:pt x="6818" y="75357"/>
                            </a:lnTo>
                            <a:cubicBezTo>
                              <a:pt x="6818" y="75417"/>
                              <a:pt x="6878" y="75477"/>
                              <a:pt x="6878" y="75596"/>
                            </a:cubicBezTo>
                            <a:cubicBezTo>
                              <a:pt x="6878" y="75656"/>
                              <a:pt x="6937" y="75716"/>
                              <a:pt x="6937" y="75836"/>
                            </a:cubicBezTo>
                            <a:cubicBezTo>
                              <a:pt x="6937" y="75955"/>
                              <a:pt x="6997" y="75955"/>
                              <a:pt x="6997" y="76075"/>
                            </a:cubicBezTo>
                            <a:cubicBezTo>
                              <a:pt x="6997" y="76134"/>
                              <a:pt x="7057" y="76194"/>
                              <a:pt x="7057" y="76254"/>
                            </a:cubicBezTo>
                            <a:moveTo>
                              <a:pt x="718" y="72845"/>
                            </a:moveTo>
                            <a:cubicBezTo>
                              <a:pt x="837" y="72845"/>
                              <a:pt x="897" y="72785"/>
                              <a:pt x="1017" y="72785"/>
                            </a:cubicBezTo>
                            <a:cubicBezTo>
                              <a:pt x="1136" y="72785"/>
                              <a:pt x="1196" y="72785"/>
                              <a:pt x="1316" y="72785"/>
                            </a:cubicBezTo>
                            <a:cubicBezTo>
                              <a:pt x="1435" y="72785"/>
                              <a:pt x="1495" y="72785"/>
                              <a:pt x="1615" y="72785"/>
                            </a:cubicBezTo>
                            <a:cubicBezTo>
                              <a:pt x="1734" y="72785"/>
                              <a:pt x="1794" y="72785"/>
                              <a:pt x="1914" y="72845"/>
                            </a:cubicBezTo>
                            <a:lnTo>
                              <a:pt x="1256" y="71530"/>
                            </a:lnTo>
                            <a:lnTo>
                              <a:pt x="1794" y="71111"/>
                            </a:lnTo>
                            <a:cubicBezTo>
                              <a:pt x="1734" y="71051"/>
                              <a:pt x="1674" y="70991"/>
                              <a:pt x="1615" y="70991"/>
                            </a:cubicBezTo>
                            <a:cubicBezTo>
                              <a:pt x="1555" y="70931"/>
                              <a:pt x="1495" y="70931"/>
                              <a:pt x="1435" y="70871"/>
                            </a:cubicBezTo>
                            <a:cubicBezTo>
                              <a:pt x="1375" y="70812"/>
                              <a:pt x="1316" y="70812"/>
                              <a:pt x="1256" y="70752"/>
                            </a:cubicBezTo>
                            <a:cubicBezTo>
                              <a:pt x="1196" y="70692"/>
                              <a:pt x="1136" y="70692"/>
                              <a:pt x="1076" y="70632"/>
                            </a:cubicBezTo>
                            <a:lnTo>
                              <a:pt x="837" y="70812"/>
                            </a:lnTo>
                            <a:lnTo>
                              <a:pt x="0" y="71470"/>
                            </a:lnTo>
                            <a:lnTo>
                              <a:pt x="718" y="72845"/>
                            </a:lnTo>
                            <a:moveTo>
                              <a:pt x="2512" y="76254"/>
                            </a:moveTo>
                            <a:cubicBezTo>
                              <a:pt x="2512" y="76194"/>
                              <a:pt x="2572" y="76134"/>
                              <a:pt x="2572" y="76134"/>
                            </a:cubicBezTo>
                            <a:cubicBezTo>
                              <a:pt x="2572" y="76075"/>
                              <a:pt x="2572" y="76015"/>
                              <a:pt x="2632" y="76015"/>
                            </a:cubicBezTo>
                            <a:cubicBezTo>
                              <a:pt x="2632" y="75955"/>
                              <a:pt x="2632" y="75895"/>
                              <a:pt x="2691" y="75895"/>
                            </a:cubicBezTo>
                            <a:cubicBezTo>
                              <a:pt x="2691" y="75836"/>
                              <a:pt x="2691" y="75776"/>
                              <a:pt x="2691" y="75776"/>
                            </a:cubicBezTo>
                            <a:cubicBezTo>
                              <a:pt x="2691" y="75656"/>
                              <a:pt x="2691" y="75477"/>
                              <a:pt x="2691" y="75357"/>
                            </a:cubicBezTo>
                            <a:cubicBezTo>
                              <a:pt x="2691" y="75238"/>
                              <a:pt x="2691" y="75118"/>
                              <a:pt x="2632" y="74998"/>
                            </a:cubicBezTo>
                            <a:cubicBezTo>
                              <a:pt x="2632" y="74879"/>
                              <a:pt x="2572" y="74759"/>
                              <a:pt x="2512" y="74639"/>
                            </a:cubicBezTo>
                            <a:cubicBezTo>
                              <a:pt x="2452" y="74520"/>
                              <a:pt x="2392" y="74460"/>
                              <a:pt x="2333" y="74340"/>
                            </a:cubicBezTo>
                            <a:cubicBezTo>
                              <a:pt x="2333" y="74340"/>
                              <a:pt x="2333" y="74340"/>
                              <a:pt x="2273" y="74280"/>
                            </a:cubicBezTo>
                            <a:cubicBezTo>
                              <a:pt x="2273" y="74280"/>
                              <a:pt x="2273" y="74280"/>
                              <a:pt x="2213" y="74221"/>
                            </a:cubicBezTo>
                            <a:cubicBezTo>
                              <a:pt x="2213" y="74221"/>
                              <a:pt x="2213" y="74221"/>
                              <a:pt x="2153" y="74161"/>
                            </a:cubicBezTo>
                            <a:cubicBezTo>
                              <a:pt x="2153" y="74161"/>
                              <a:pt x="2153" y="74161"/>
                              <a:pt x="2093" y="74101"/>
                            </a:cubicBezTo>
                            <a:cubicBezTo>
                              <a:pt x="2033" y="74041"/>
                              <a:pt x="1973" y="73981"/>
                              <a:pt x="1854" y="73981"/>
                            </a:cubicBezTo>
                            <a:cubicBezTo>
                              <a:pt x="1794" y="73922"/>
                              <a:pt x="1674" y="73922"/>
                              <a:pt x="1615" y="73862"/>
                            </a:cubicBezTo>
                            <a:cubicBezTo>
                              <a:pt x="1555" y="73862"/>
                              <a:pt x="1435" y="73802"/>
                              <a:pt x="1375" y="73802"/>
                            </a:cubicBezTo>
                            <a:cubicBezTo>
                              <a:pt x="1316" y="73802"/>
                              <a:pt x="1196" y="73802"/>
                              <a:pt x="1136" y="73802"/>
                            </a:cubicBezTo>
                            <a:lnTo>
                              <a:pt x="2512" y="76254"/>
                            </a:lnTo>
                            <a:moveTo>
                              <a:pt x="3828" y="78706"/>
                            </a:moveTo>
                            <a:lnTo>
                              <a:pt x="3828" y="78706"/>
                            </a:lnTo>
                            <a:lnTo>
                              <a:pt x="4665" y="78048"/>
                            </a:lnTo>
                            <a:lnTo>
                              <a:pt x="5981" y="77032"/>
                            </a:lnTo>
                            <a:cubicBezTo>
                              <a:pt x="5981" y="76972"/>
                              <a:pt x="5921" y="76912"/>
                              <a:pt x="5921" y="76792"/>
                            </a:cubicBezTo>
                            <a:cubicBezTo>
                              <a:pt x="5921" y="76733"/>
                              <a:pt x="5861" y="76673"/>
                              <a:pt x="5861" y="76553"/>
                            </a:cubicBezTo>
                            <a:cubicBezTo>
                              <a:pt x="5861" y="76493"/>
                              <a:pt x="5801" y="76433"/>
                              <a:pt x="5801" y="76314"/>
                            </a:cubicBezTo>
                            <a:cubicBezTo>
                              <a:pt x="5801" y="76254"/>
                              <a:pt x="5741" y="76194"/>
                              <a:pt x="5741" y="76075"/>
                            </a:cubicBezTo>
                            <a:lnTo>
                              <a:pt x="4306" y="77151"/>
                            </a:lnTo>
                            <a:lnTo>
                              <a:pt x="4306" y="77151"/>
                            </a:lnTo>
                            <a:lnTo>
                              <a:pt x="3588" y="75836"/>
                            </a:lnTo>
                            <a:cubicBezTo>
                              <a:pt x="3588" y="75955"/>
                              <a:pt x="3528" y="76075"/>
                              <a:pt x="3469" y="76134"/>
                            </a:cubicBezTo>
                            <a:cubicBezTo>
                              <a:pt x="3409" y="76194"/>
                              <a:pt x="3409" y="76314"/>
                              <a:pt x="3349" y="76433"/>
                            </a:cubicBezTo>
                            <a:cubicBezTo>
                              <a:pt x="3289" y="76553"/>
                              <a:pt x="3229" y="76613"/>
                              <a:pt x="3170" y="76733"/>
                            </a:cubicBezTo>
                            <a:cubicBezTo>
                              <a:pt x="3110" y="76852"/>
                              <a:pt x="3050" y="76912"/>
                              <a:pt x="2990" y="77032"/>
                            </a:cubicBezTo>
                            <a:lnTo>
                              <a:pt x="3828" y="78706"/>
                            </a:lnTo>
                          </a:path>
                        </a:pathLst>
                      </a:custGeom>
                      <a:noFill/>
                      <a:ln w="6350" cap="flat">
                        <a:solidFill>
                          <a:schemeClr val="bg1">
                            <a:alpha val="40000"/>
                          </a:schemeClr>
                        </a:solidFill>
                        <a:prstDash val="solid"/>
                        <a:miter/>
                      </a:ln>
                    </p:spPr>
                    <p:txBody>
                      <a:bodyPr rtlCol="0" anchor="ctr"/>
                      <a:lstStyle/>
                      <a:p>
                        <a:endParaRPr lang="en-GB"/>
                      </a:p>
                    </p:txBody>
                  </p:sp>
                  <p:sp>
                    <p:nvSpPr>
                      <p:cNvPr id="7534" name="Vrije vorm: vorm 7533">
                        <a:extLst>
                          <a:ext uri="{FF2B5EF4-FFF2-40B4-BE49-F238E27FC236}">
                            <a16:creationId xmlns:a16="http://schemas.microsoft.com/office/drawing/2014/main" id="{58DC10BD-EBAF-46B6-B7FA-CAD1BE026E37}"/>
                          </a:ext>
                        </a:extLst>
                      </p:cNvPr>
                      <p:cNvSpPr/>
                      <p:nvPr/>
                    </p:nvSpPr>
                    <p:spPr>
                      <a:xfrm>
                        <a:off x="5304920" y="5115222"/>
                        <a:ext cx="37837" cy="42711"/>
                      </a:xfrm>
                      <a:custGeom>
                        <a:avLst/>
                        <a:gdLst>
                          <a:gd name="connsiteX0" fmla="*/ 9629 w 37837"/>
                          <a:gd name="connsiteY0" fmla="*/ 40977 h 42711"/>
                          <a:gd name="connsiteX1" fmla="*/ 8433 w 37837"/>
                          <a:gd name="connsiteY1" fmla="*/ 40498 h 42711"/>
                          <a:gd name="connsiteX2" fmla="*/ 7297 w 37837"/>
                          <a:gd name="connsiteY2" fmla="*/ 39901 h 42711"/>
                          <a:gd name="connsiteX3" fmla="*/ 6280 w 37837"/>
                          <a:gd name="connsiteY3" fmla="*/ 39243 h 42711"/>
                          <a:gd name="connsiteX4" fmla="*/ 5323 w 37837"/>
                          <a:gd name="connsiteY4" fmla="*/ 38465 h 42711"/>
                          <a:gd name="connsiteX5" fmla="*/ 4904 w 37837"/>
                          <a:gd name="connsiteY5" fmla="*/ 38047 h 42711"/>
                          <a:gd name="connsiteX6" fmla="*/ 4486 w 37837"/>
                          <a:gd name="connsiteY6" fmla="*/ 37628 h 42711"/>
                          <a:gd name="connsiteX7" fmla="*/ 4127 w 37837"/>
                          <a:gd name="connsiteY7" fmla="*/ 37209 h 42711"/>
                          <a:gd name="connsiteX8" fmla="*/ 3768 w 37837"/>
                          <a:gd name="connsiteY8" fmla="*/ 36731 h 42711"/>
                          <a:gd name="connsiteX9" fmla="*/ 3648 w 37837"/>
                          <a:gd name="connsiteY9" fmla="*/ 36551 h 42711"/>
                          <a:gd name="connsiteX10" fmla="*/ 3529 w 37837"/>
                          <a:gd name="connsiteY10" fmla="*/ 36372 h 42711"/>
                          <a:gd name="connsiteX11" fmla="*/ 3409 w 37837"/>
                          <a:gd name="connsiteY11" fmla="*/ 36193 h 42711"/>
                          <a:gd name="connsiteX12" fmla="*/ 3289 w 37837"/>
                          <a:gd name="connsiteY12" fmla="*/ 36013 h 42711"/>
                          <a:gd name="connsiteX13" fmla="*/ 2811 w 37837"/>
                          <a:gd name="connsiteY13" fmla="*/ 35236 h 42711"/>
                          <a:gd name="connsiteX14" fmla="*/ 2333 w 37837"/>
                          <a:gd name="connsiteY14" fmla="*/ 34398 h 42711"/>
                          <a:gd name="connsiteX15" fmla="*/ 1914 w 37837"/>
                          <a:gd name="connsiteY15" fmla="*/ 33561 h 42711"/>
                          <a:gd name="connsiteX16" fmla="*/ 1555 w 37837"/>
                          <a:gd name="connsiteY16" fmla="*/ 32664 h 42711"/>
                          <a:gd name="connsiteX17" fmla="*/ 1316 w 37837"/>
                          <a:gd name="connsiteY17" fmla="*/ 32006 h 42711"/>
                          <a:gd name="connsiteX18" fmla="*/ 1136 w 37837"/>
                          <a:gd name="connsiteY18" fmla="*/ 31348 h 42711"/>
                          <a:gd name="connsiteX19" fmla="*/ 957 w 37837"/>
                          <a:gd name="connsiteY19" fmla="*/ 30631 h 42711"/>
                          <a:gd name="connsiteX20" fmla="*/ 837 w 37837"/>
                          <a:gd name="connsiteY20" fmla="*/ 29913 h 42711"/>
                          <a:gd name="connsiteX21" fmla="*/ 778 w 37837"/>
                          <a:gd name="connsiteY21" fmla="*/ 29673 h 42711"/>
                          <a:gd name="connsiteX22" fmla="*/ 718 w 37837"/>
                          <a:gd name="connsiteY22" fmla="*/ 29434 h 42711"/>
                          <a:gd name="connsiteX23" fmla="*/ 658 w 37837"/>
                          <a:gd name="connsiteY23" fmla="*/ 29195 h 42711"/>
                          <a:gd name="connsiteX24" fmla="*/ 598 w 37837"/>
                          <a:gd name="connsiteY24" fmla="*/ 28956 h 42711"/>
                          <a:gd name="connsiteX25" fmla="*/ 479 w 37837"/>
                          <a:gd name="connsiteY25" fmla="*/ 27461 h 42711"/>
                          <a:gd name="connsiteX26" fmla="*/ 419 w 37837"/>
                          <a:gd name="connsiteY26" fmla="*/ 25965 h 42711"/>
                          <a:gd name="connsiteX27" fmla="*/ 479 w 37837"/>
                          <a:gd name="connsiteY27" fmla="*/ 24410 h 42711"/>
                          <a:gd name="connsiteX28" fmla="*/ 658 w 37837"/>
                          <a:gd name="connsiteY28" fmla="*/ 22856 h 42711"/>
                          <a:gd name="connsiteX29" fmla="*/ 718 w 37837"/>
                          <a:gd name="connsiteY29" fmla="*/ 22556 h 42711"/>
                          <a:gd name="connsiteX30" fmla="*/ 778 w 37837"/>
                          <a:gd name="connsiteY30" fmla="*/ 22257 h 42711"/>
                          <a:gd name="connsiteX31" fmla="*/ 837 w 37837"/>
                          <a:gd name="connsiteY31" fmla="*/ 21958 h 42711"/>
                          <a:gd name="connsiteX32" fmla="*/ 897 w 37837"/>
                          <a:gd name="connsiteY32" fmla="*/ 21659 h 42711"/>
                          <a:gd name="connsiteX33" fmla="*/ 1136 w 37837"/>
                          <a:gd name="connsiteY33" fmla="*/ 20583 h 42711"/>
                          <a:gd name="connsiteX34" fmla="*/ 1435 w 37837"/>
                          <a:gd name="connsiteY34" fmla="*/ 19506 h 42711"/>
                          <a:gd name="connsiteX35" fmla="*/ 1794 w 37837"/>
                          <a:gd name="connsiteY35" fmla="*/ 18430 h 42711"/>
                          <a:gd name="connsiteX36" fmla="*/ 2213 w 37837"/>
                          <a:gd name="connsiteY36" fmla="*/ 17353 h 42711"/>
                          <a:gd name="connsiteX37" fmla="*/ 4067 w 37837"/>
                          <a:gd name="connsiteY37" fmla="*/ 13466 h 42711"/>
                          <a:gd name="connsiteX38" fmla="*/ 6459 w 37837"/>
                          <a:gd name="connsiteY38" fmla="*/ 9937 h 42711"/>
                          <a:gd name="connsiteX39" fmla="*/ 9330 w 37837"/>
                          <a:gd name="connsiteY39" fmla="*/ 6887 h 42711"/>
                          <a:gd name="connsiteX40" fmla="*/ 12619 w 37837"/>
                          <a:gd name="connsiteY40" fmla="*/ 4315 h 42711"/>
                          <a:gd name="connsiteX41" fmla="*/ 15430 w 37837"/>
                          <a:gd name="connsiteY41" fmla="*/ 2760 h 42711"/>
                          <a:gd name="connsiteX42" fmla="*/ 18241 w 37837"/>
                          <a:gd name="connsiteY42" fmla="*/ 1684 h 42711"/>
                          <a:gd name="connsiteX43" fmla="*/ 21052 w 37837"/>
                          <a:gd name="connsiteY43" fmla="*/ 1086 h 42711"/>
                          <a:gd name="connsiteX44" fmla="*/ 23804 w 37837"/>
                          <a:gd name="connsiteY44" fmla="*/ 1026 h 42711"/>
                          <a:gd name="connsiteX45" fmla="*/ 24043 w 37837"/>
                          <a:gd name="connsiteY45" fmla="*/ 1026 h 42711"/>
                          <a:gd name="connsiteX46" fmla="*/ 24282 w 37837"/>
                          <a:gd name="connsiteY46" fmla="*/ 1026 h 42711"/>
                          <a:gd name="connsiteX47" fmla="*/ 24521 w 37837"/>
                          <a:gd name="connsiteY47" fmla="*/ 1026 h 42711"/>
                          <a:gd name="connsiteX48" fmla="*/ 24760 w 37837"/>
                          <a:gd name="connsiteY48" fmla="*/ 1026 h 42711"/>
                          <a:gd name="connsiteX49" fmla="*/ 25239 w 37837"/>
                          <a:gd name="connsiteY49" fmla="*/ 1086 h 42711"/>
                          <a:gd name="connsiteX50" fmla="*/ 25658 w 37837"/>
                          <a:gd name="connsiteY50" fmla="*/ 1146 h 42711"/>
                          <a:gd name="connsiteX51" fmla="*/ 26076 w 37837"/>
                          <a:gd name="connsiteY51" fmla="*/ 1265 h 42711"/>
                          <a:gd name="connsiteX52" fmla="*/ 26495 w 37837"/>
                          <a:gd name="connsiteY52" fmla="*/ 1385 h 42711"/>
                          <a:gd name="connsiteX53" fmla="*/ 26973 w 37837"/>
                          <a:gd name="connsiteY53" fmla="*/ 1504 h 42711"/>
                          <a:gd name="connsiteX54" fmla="*/ 27452 w 37837"/>
                          <a:gd name="connsiteY54" fmla="*/ 1684 h 42711"/>
                          <a:gd name="connsiteX55" fmla="*/ 27930 w 37837"/>
                          <a:gd name="connsiteY55" fmla="*/ 1863 h 42711"/>
                          <a:gd name="connsiteX56" fmla="*/ 28408 w 37837"/>
                          <a:gd name="connsiteY56" fmla="*/ 2043 h 42711"/>
                          <a:gd name="connsiteX57" fmla="*/ 28588 w 37837"/>
                          <a:gd name="connsiteY57" fmla="*/ 2102 h 42711"/>
                          <a:gd name="connsiteX58" fmla="*/ 28767 w 37837"/>
                          <a:gd name="connsiteY58" fmla="*/ 2222 h 42711"/>
                          <a:gd name="connsiteX59" fmla="*/ 28947 w 37837"/>
                          <a:gd name="connsiteY59" fmla="*/ 2342 h 42711"/>
                          <a:gd name="connsiteX60" fmla="*/ 29126 w 37837"/>
                          <a:gd name="connsiteY60" fmla="*/ 2461 h 42711"/>
                          <a:gd name="connsiteX61" fmla="*/ 29904 w 37837"/>
                          <a:gd name="connsiteY61" fmla="*/ 2880 h 42711"/>
                          <a:gd name="connsiteX62" fmla="*/ 30621 w 37837"/>
                          <a:gd name="connsiteY62" fmla="*/ 3358 h 42711"/>
                          <a:gd name="connsiteX63" fmla="*/ 31279 w 37837"/>
                          <a:gd name="connsiteY63" fmla="*/ 3897 h 42711"/>
                          <a:gd name="connsiteX64" fmla="*/ 31937 w 37837"/>
                          <a:gd name="connsiteY64" fmla="*/ 4435 h 42711"/>
                          <a:gd name="connsiteX65" fmla="*/ 31937 w 37837"/>
                          <a:gd name="connsiteY65" fmla="*/ 4435 h 42711"/>
                          <a:gd name="connsiteX66" fmla="*/ 31937 w 37837"/>
                          <a:gd name="connsiteY66" fmla="*/ 4435 h 42711"/>
                          <a:gd name="connsiteX67" fmla="*/ 31937 w 37837"/>
                          <a:gd name="connsiteY67" fmla="*/ 4435 h 42711"/>
                          <a:gd name="connsiteX68" fmla="*/ 31937 w 37837"/>
                          <a:gd name="connsiteY68" fmla="*/ 4435 h 42711"/>
                          <a:gd name="connsiteX69" fmla="*/ 32057 w 37837"/>
                          <a:gd name="connsiteY69" fmla="*/ 4555 h 42711"/>
                          <a:gd name="connsiteX70" fmla="*/ 32176 w 37837"/>
                          <a:gd name="connsiteY70" fmla="*/ 4674 h 42711"/>
                          <a:gd name="connsiteX71" fmla="*/ 32296 w 37837"/>
                          <a:gd name="connsiteY71" fmla="*/ 4794 h 42711"/>
                          <a:gd name="connsiteX72" fmla="*/ 32415 w 37837"/>
                          <a:gd name="connsiteY72" fmla="*/ 4913 h 42711"/>
                          <a:gd name="connsiteX73" fmla="*/ 33373 w 37837"/>
                          <a:gd name="connsiteY73" fmla="*/ 6050 h 42711"/>
                          <a:gd name="connsiteX74" fmla="*/ 34210 w 37837"/>
                          <a:gd name="connsiteY74" fmla="*/ 7306 h 42711"/>
                          <a:gd name="connsiteX75" fmla="*/ 34928 w 37837"/>
                          <a:gd name="connsiteY75" fmla="*/ 8681 h 42711"/>
                          <a:gd name="connsiteX76" fmla="*/ 35526 w 37837"/>
                          <a:gd name="connsiteY76" fmla="*/ 10177 h 42711"/>
                          <a:gd name="connsiteX77" fmla="*/ 35585 w 37837"/>
                          <a:gd name="connsiteY77" fmla="*/ 10416 h 42711"/>
                          <a:gd name="connsiteX78" fmla="*/ 35645 w 37837"/>
                          <a:gd name="connsiteY78" fmla="*/ 10655 h 42711"/>
                          <a:gd name="connsiteX79" fmla="*/ 35705 w 37837"/>
                          <a:gd name="connsiteY79" fmla="*/ 10894 h 42711"/>
                          <a:gd name="connsiteX80" fmla="*/ 35765 w 37837"/>
                          <a:gd name="connsiteY80" fmla="*/ 11193 h 42711"/>
                          <a:gd name="connsiteX81" fmla="*/ 35824 w 37837"/>
                          <a:gd name="connsiteY81" fmla="*/ 11432 h 42711"/>
                          <a:gd name="connsiteX82" fmla="*/ 35884 w 37837"/>
                          <a:gd name="connsiteY82" fmla="*/ 11672 h 42711"/>
                          <a:gd name="connsiteX83" fmla="*/ 35944 w 37837"/>
                          <a:gd name="connsiteY83" fmla="*/ 11911 h 42711"/>
                          <a:gd name="connsiteX84" fmla="*/ 36004 w 37837"/>
                          <a:gd name="connsiteY84" fmla="*/ 12150 h 42711"/>
                          <a:gd name="connsiteX85" fmla="*/ 36423 w 37837"/>
                          <a:gd name="connsiteY85" fmla="*/ 15320 h 42711"/>
                          <a:gd name="connsiteX86" fmla="*/ 36303 w 37837"/>
                          <a:gd name="connsiteY86" fmla="*/ 18609 h 42711"/>
                          <a:gd name="connsiteX87" fmla="*/ 35705 w 37837"/>
                          <a:gd name="connsiteY87" fmla="*/ 21958 h 42711"/>
                          <a:gd name="connsiteX88" fmla="*/ 34629 w 37837"/>
                          <a:gd name="connsiteY88" fmla="*/ 25367 h 42711"/>
                          <a:gd name="connsiteX89" fmla="*/ 32775 w 37837"/>
                          <a:gd name="connsiteY89" fmla="*/ 29135 h 42711"/>
                          <a:gd name="connsiteX90" fmla="*/ 30382 w 37837"/>
                          <a:gd name="connsiteY90" fmla="*/ 32604 h 42711"/>
                          <a:gd name="connsiteX91" fmla="*/ 27571 w 37837"/>
                          <a:gd name="connsiteY91" fmla="*/ 35595 h 42711"/>
                          <a:gd name="connsiteX92" fmla="*/ 24342 w 37837"/>
                          <a:gd name="connsiteY92" fmla="*/ 38106 h 42711"/>
                          <a:gd name="connsiteX93" fmla="*/ 20873 w 37837"/>
                          <a:gd name="connsiteY93" fmla="*/ 39960 h 42711"/>
                          <a:gd name="connsiteX94" fmla="*/ 17344 w 37837"/>
                          <a:gd name="connsiteY94" fmla="*/ 41097 h 42711"/>
                          <a:gd name="connsiteX95" fmla="*/ 13875 w 37837"/>
                          <a:gd name="connsiteY95" fmla="*/ 41456 h 42711"/>
                          <a:gd name="connsiteX96" fmla="*/ 10526 w 37837"/>
                          <a:gd name="connsiteY96" fmla="*/ 41037 h 42711"/>
                          <a:gd name="connsiteX97" fmla="*/ 10466 w 37837"/>
                          <a:gd name="connsiteY97" fmla="*/ 41037 h 42711"/>
                          <a:gd name="connsiteX98" fmla="*/ 10406 w 37837"/>
                          <a:gd name="connsiteY98" fmla="*/ 41037 h 42711"/>
                          <a:gd name="connsiteX99" fmla="*/ 10347 w 37837"/>
                          <a:gd name="connsiteY99" fmla="*/ 41037 h 42711"/>
                          <a:gd name="connsiteX100" fmla="*/ 10287 w 37837"/>
                          <a:gd name="connsiteY100" fmla="*/ 41037 h 42711"/>
                          <a:gd name="connsiteX101" fmla="*/ 10048 w 37837"/>
                          <a:gd name="connsiteY101" fmla="*/ 40977 h 42711"/>
                          <a:gd name="connsiteX102" fmla="*/ 9808 w 37837"/>
                          <a:gd name="connsiteY102" fmla="*/ 40917 h 42711"/>
                          <a:gd name="connsiteX103" fmla="*/ 9569 w 37837"/>
                          <a:gd name="connsiteY103" fmla="*/ 40857 h 42711"/>
                          <a:gd name="connsiteX104" fmla="*/ 9629 w 37837"/>
                          <a:gd name="connsiteY104" fmla="*/ 40977 h 42711"/>
                          <a:gd name="connsiteX105" fmla="*/ 4605 w 37837"/>
                          <a:gd name="connsiteY105" fmla="*/ 39303 h 42711"/>
                          <a:gd name="connsiteX106" fmla="*/ 5502 w 37837"/>
                          <a:gd name="connsiteY106" fmla="*/ 40020 h 42711"/>
                          <a:gd name="connsiteX107" fmla="*/ 6459 w 37837"/>
                          <a:gd name="connsiteY107" fmla="*/ 40678 h 42711"/>
                          <a:gd name="connsiteX108" fmla="*/ 7476 w 37837"/>
                          <a:gd name="connsiteY108" fmla="*/ 41276 h 42711"/>
                          <a:gd name="connsiteX109" fmla="*/ 8552 w 37837"/>
                          <a:gd name="connsiteY109" fmla="*/ 41755 h 42711"/>
                          <a:gd name="connsiteX110" fmla="*/ 8792 w 37837"/>
                          <a:gd name="connsiteY110" fmla="*/ 41874 h 42711"/>
                          <a:gd name="connsiteX111" fmla="*/ 9031 w 37837"/>
                          <a:gd name="connsiteY111" fmla="*/ 41934 h 42711"/>
                          <a:gd name="connsiteX112" fmla="*/ 9270 w 37837"/>
                          <a:gd name="connsiteY112" fmla="*/ 41994 h 42711"/>
                          <a:gd name="connsiteX113" fmla="*/ 9510 w 37837"/>
                          <a:gd name="connsiteY113" fmla="*/ 42054 h 42711"/>
                          <a:gd name="connsiteX114" fmla="*/ 9749 w 37837"/>
                          <a:gd name="connsiteY114" fmla="*/ 42113 h 42711"/>
                          <a:gd name="connsiteX115" fmla="*/ 9988 w 37837"/>
                          <a:gd name="connsiteY115" fmla="*/ 42173 h 42711"/>
                          <a:gd name="connsiteX116" fmla="*/ 10227 w 37837"/>
                          <a:gd name="connsiteY116" fmla="*/ 42233 h 42711"/>
                          <a:gd name="connsiteX117" fmla="*/ 10466 w 37837"/>
                          <a:gd name="connsiteY117" fmla="*/ 42293 h 42711"/>
                          <a:gd name="connsiteX118" fmla="*/ 13995 w 37837"/>
                          <a:gd name="connsiteY118" fmla="*/ 42712 h 42711"/>
                          <a:gd name="connsiteX119" fmla="*/ 17643 w 37837"/>
                          <a:gd name="connsiteY119" fmla="*/ 42293 h 42711"/>
                          <a:gd name="connsiteX120" fmla="*/ 21351 w 37837"/>
                          <a:gd name="connsiteY120" fmla="*/ 41097 h 42711"/>
                          <a:gd name="connsiteX121" fmla="*/ 24999 w 37837"/>
                          <a:gd name="connsiteY121" fmla="*/ 39123 h 42711"/>
                          <a:gd name="connsiteX122" fmla="*/ 28408 w 37837"/>
                          <a:gd name="connsiteY122" fmla="*/ 36492 h 42711"/>
                          <a:gd name="connsiteX123" fmla="*/ 31399 w 37837"/>
                          <a:gd name="connsiteY123" fmla="*/ 33322 h 42711"/>
                          <a:gd name="connsiteX124" fmla="*/ 33911 w 37837"/>
                          <a:gd name="connsiteY124" fmla="*/ 29673 h 42711"/>
                          <a:gd name="connsiteX125" fmla="*/ 35884 w 37837"/>
                          <a:gd name="connsiteY125" fmla="*/ 25666 h 42711"/>
                          <a:gd name="connsiteX126" fmla="*/ 37081 w 37837"/>
                          <a:gd name="connsiteY126" fmla="*/ 21958 h 42711"/>
                          <a:gd name="connsiteX127" fmla="*/ 37738 w 37837"/>
                          <a:gd name="connsiteY127" fmla="*/ 18310 h 42711"/>
                          <a:gd name="connsiteX128" fmla="*/ 37798 w 37837"/>
                          <a:gd name="connsiteY128" fmla="*/ 14722 h 42711"/>
                          <a:gd name="connsiteX129" fmla="*/ 37320 w 37837"/>
                          <a:gd name="connsiteY129" fmla="*/ 11313 h 42711"/>
                          <a:gd name="connsiteX130" fmla="*/ 37260 w 37837"/>
                          <a:gd name="connsiteY130" fmla="*/ 11073 h 42711"/>
                          <a:gd name="connsiteX131" fmla="*/ 37200 w 37837"/>
                          <a:gd name="connsiteY131" fmla="*/ 10834 h 42711"/>
                          <a:gd name="connsiteX132" fmla="*/ 37140 w 37837"/>
                          <a:gd name="connsiteY132" fmla="*/ 10595 h 42711"/>
                          <a:gd name="connsiteX133" fmla="*/ 37081 w 37837"/>
                          <a:gd name="connsiteY133" fmla="*/ 10356 h 42711"/>
                          <a:gd name="connsiteX134" fmla="*/ 37021 w 37837"/>
                          <a:gd name="connsiteY134" fmla="*/ 10177 h 42711"/>
                          <a:gd name="connsiteX135" fmla="*/ 36961 w 37837"/>
                          <a:gd name="connsiteY135" fmla="*/ 9997 h 42711"/>
                          <a:gd name="connsiteX136" fmla="*/ 36901 w 37837"/>
                          <a:gd name="connsiteY136" fmla="*/ 9818 h 42711"/>
                          <a:gd name="connsiteX137" fmla="*/ 36841 w 37837"/>
                          <a:gd name="connsiteY137" fmla="*/ 9638 h 42711"/>
                          <a:gd name="connsiteX138" fmla="*/ 36243 w 37837"/>
                          <a:gd name="connsiteY138" fmla="*/ 8083 h 42711"/>
                          <a:gd name="connsiteX139" fmla="*/ 35526 w 37837"/>
                          <a:gd name="connsiteY139" fmla="*/ 6648 h 42711"/>
                          <a:gd name="connsiteX140" fmla="*/ 34688 w 37837"/>
                          <a:gd name="connsiteY140" fmla="*/ 5332 h 42711"/>
                          <a:gd name="connsiteX141" fmla="*/ 33731 w 37837"/>
                          <a:gd name="connsiteY141" fmla="*/ 4136 h 42711"/>
                          <a:gd name="connsiteX142" fmla="*/ 33612 w 37837"/>
                          <a:gd name="connsiteY142" fmla="*/ 4016 h 42711"/>
                          <a:gd name="connsiteX143" fmla="*/ 33492 w 37837"/>
                          <a:gd name="connsiteY143" fmla="*/ 3897 h 42711"/>
                          <a:gd name="connsiteX144" fmla="*/ 33373 w 37837"/>
                          <a:gd name="connsiteY144" fmla="*/ 3777 h 42711"/>
                          <a:gd name="connsiteX145" fmla="*/ 33253 w 37837"/>
                          <a:gd name="connsiteY145" fmla="*/ 3657 h 42711"/>
                          <a:gd name="connsiteX146" fmla="*/ 33253 w 37837"/>
                          <a:gd name="connsiteY146" fmla="*/ 3657 h 42711"/>
                          <a:gd name="connsiteX147" fmla="*/ 33253 w 37837"/>
                          <a:gd name="connsiteY147" fmla="*/ 3657 h 42711"/>
                          <a:gd name="connsiteX148" fmla="*/ 33253 w 37837"/>
                          <a:gd name="connsiteY148" fmla="*/ 3657 h 42711"/>
                          <a:gd name="connsiteX149" fmla="*/ 33253 w 37837"/>
                          <a:gd name="connsiteY149" fmla="*/ 3657 h 42711"/>
                          <a:gd name="connsiteX150" fmla="*/ 32595 w 37837"/>
                          <a:gd name="connsiteY150" fmla="*/ 3119 h 42711"/>
                          <a:gd name="connsiteX151" fmla="*/ 31937 w 37837"/>
                          <a:gd name="connsiteY151" fmla="*/ 2581 h 42711"/>
                          <a:gd name="connsiteX152" fmla="*/ 31220 w 37837"/>
                          <a:gd name="connsiteY152" fmla="*/ 2102 h 42711"/>
                          <a:gd name="connsiteX153" fmla="*/ 30502 w 37837"/>
                          <a:gd name="connsiteY153" fmla="*/ 1684 h 42711"/>
                          <a:gd name="connsiteX154" fmla="*/ 30322 w 37837"/>
                          <a:gd name="connsiteY154" fmla="*/ 1564 h 42711"/>
                          <a:gd name="connsiteX155" fmla="*/ 30143 w 37837"/>
                          <a:gd name="connsiteY155" fmla="*/ 1445 h 42711"/>
                          <a:gd name="connsiteX156" fmla="*/ 29963 w 37837"/>
                          <a:gd name="connsiteY156" fmla="*/ 1325 h 42711"/>
                          <a:gd name="connsiteX157" fmla="*/ 29784 w 37837"/>
                          <a:gd name="connsiteY157" fmla="*/ 1205 h 42711"/>
                          <a:gd name="connsiteX158" fmla="*/ 29246 w 37837"/>
                          <a:gd name="connsiteY158" fmla="*/ 966 h 42711"/>
                          <a:gd name="connsiteX159" fmla="*/ 28707 w 37837"/>
                          <a:gd name="connsiteY159" fmla="*/ 787 h 42711"/>
                          <a:gd name="connsiteX160" fmla="*/ 28169 w 37837"/>
                          <a:gd name="connsiteY160" fmla="*/ 607 h 42711"/>
                          <a:gd name="connsiteX161" fmla="*/ 27571 w 37837"/>
                          <a:gd name="connsiteY161" fmla="*/ 428 h 42711"/>
                          <a:gd name="connsiteX162" fmla="*/ 27212 w 37837"/>
                          <a:gd name="connsiteY162" fmla="*/ 368 h 42711"/>
                          <a:gd name="connsiteX163" fmla="*/ 26853 w 37837"/>
                          <a:gd name="connsiteY163" fmla="*/ 308 h 42711"/>
                          <a:gd name="connsiteX164" fmla="*/ 26495 w 37837"/>
                          <a:gd name="connsiteY164" fmla="*/ 248 h 42711"/>
                          <a:gd name="connsiteX165" fmla="*/ 26136 w 37837"/>
                          <a:gd name="connsiteY165" fmla="*/ 188 h 42711"/>
                          <a:gd name="connsiteX166" fmla="*/ 25897 w 37837"/>
                          <a:gd name="connsiteY166" fmla="*/ 129 h 42711"/>
                          <a:gd name="connsiteX167" fmla="*/ 25658 w 37837"/>
                          <a:gd name="connsiteY167" fmla="*/ 69 h 42711"/>
                          <a:gd name="connsiteX168" fmla="*/ 25418 w 37837"/>
                          <a:gd name="connsiteY168" fmla="*/ 69 h 42711"/>
                          <a:gd name="connsiteX169" fmla="*/ 25179 w 37837"/>
                          <a:gd name="connsiteY169" fmla="*/ 69 h 42711"/>
                          <a:gd name="connsiteX170" fmla="*/ 22189 w 37837"/>
                          <a:gd name="connsiteY170" fmla="*/ 69 h 42711"/>
                          <a:gd name="connsiteX171" fmla="*/ 19079 w 37837"/>
                          <a:gd name="connsiteY171" fmla="*/ 667 h 42711"/>
                          <a:gd name="connsiteX172" fmla="*/ 15968 w 37837"/>
                          <a:gd name="connsiteY172" fmla="*/ 1803 h 42711"/>
                          <a:gd name="connsiteX173" fmla="*/ 12919 w 37837"/>
                          <a:gd name="connsiteY173" fmla="*/ 3478 h 42711"/>
                          <a:gd name="connsiteX174" fmla="*/ 8373 w 37837"/>
                          <a:gd name="connsiteY174" fmla="*/ 7186 h 42711"/>
                          <a:gd name="connsiteX175" fmla="*/ 4665 w 37837"/>
                          <a:gd name="connsiteY175" fmla="*/ 11791 h 42711"/>
                          <a:gd name="connsiteX176" fmla="*/ 1974 w 37837"/>
                          <a:gd name="connsiteY176" fmla="*/ 16934 h 42711"/>
                          <a:gd name="connsiteX177" fmla="*/ 419 w 37837"/>
                          <a:gd name="connsiteY177" fmla="*/ 22377 h 42711"/>
                          <a:gd name="connsiteX178" fmla="*/ 359 w 37837"/>
                          <a:gd name="connsiteY178" fmla="*/ 22676 h 42711"/>
                          <a:gd name="connsiteX179" fmla="*/ 299 w 37837"/>
                          <a:gd name="connsiteY179" fmla="*/ 22975 h 42711"/>
                          <a:gd name="connsiteX180" fmla="*/ 239 w 37837"/>
                          <a:gd name="connsiteY180" fmla="*/ 23274 h 42711"/>
                          <a:gd name="connsiteX181" fmla="*/ 180 w 37837"/>
                          <a:gd name="connsiteY181" fmla="*/ 23573 h 42711"/>
                          <a:gd name="connsiteX182" fmla="*/ 60 w 37837"/>
                          <a:gd name="connsiteY182" fmla="*/ 25128 h 42711"/>
                          <a:gd name="connsiteX183" fmla="*/ 0 w 37837"/>
                          <a:gd name="connsiteY183" fmla="*/ 26624 h 42711"/>
                          <a:gd name="connsiteX184" fmla="*/ 60 w 37837"/>
                          <a:gd name="connsiteY184" fmla="*/ 28119 h 42711"/>
                          <a:gd name="connsiteX185" fmla="*/ 239 w 37837"/>
                          <a:gd name="connsiteY185" fmla="*/ 29614 h 42711"/>
                          <a:gd name="connsiteX186" fmla="*/ 299 w 37837"/>
                          <a:gd name="connsiteY186" fmla="*/ 29853 h 42711"/>
                          <a:gd name="connsiteX187" fmla="*/ 359 w 37837"/>
                          <a:gd name="connsiteY187" fmla="*/ 30092 h 42711"/>
                          <a:gd name="connsiteX188" fmla="*/ 419 w 37837"/>
                          <a:gd name="connsiteY188" fmla="*/ 30332 h 42711"/>
                          <a:gd name="connsiteX189" fmla="*/ 479 w 37837"/>
                          <a:gd name="connsiteY189" fmla="*/ 30571 h 42711"/>
                          <a:gd name="connsiteX190" fmla="*/ 598 w 37837"/>
                          <a:gd name="connsiteY190" fmla="*/ 31228 h 42711"/>
                          <a:gd name="connsiteX191" fmla="*/ 778 w 37837"/>
                          <a:gd name="connsiteY191" fmla="*/ 31886 h 42711"/>
                          <a:gd name="connsiteX192" fmla="*/ 957 w 37837"/>
                          <a:gd name="connsiteY192" fmla="*/ 32544 h 42711"/>
                          <a:gd name="connsiteX193" fmla="*/ 1196 w 37837"/>
                          <a:gd name="connsiteY193" fmla="*/ 33202 h 42711"/>
                          <a:gd name="connsiteX194" fmla="*/ 1555 w 37837"/>
                          <a:gd name="connsiteY194" fmla="*/ 34099 h 42711"/>
                          <a:gd name="connsiteX195" fmla="*/ 1974 w 37837"/>
                          <a:gd name="connsiteY195" fmla="*/ 34996 h 42711"/>
                          <a:gd name="connsiteX196" fmla="*/ 2452 w 37837"/>
                          <a:gd name="connsiteY196" fmla="*/ 35834 h 42711"/>
                          <a:gd name="connsiteX197" fmla="*/ 2930 w 37837"/>
                          <a:gd name="connsiteY197" fmla="*/ 36611 h 42711"/>
                          <a:gd name="connsiteX198" fmla="*/ 3050 w 37837"/>
                          <a:gd name="connsiteY198" fmla="*/ 36790 h 42711"/>
                          <a:gd name="connsiteX199" fmla="*/ 3170 w 37837"/>
                          <a:gd name="connsiteY199" fmla="*/ 36970 h 42711"/>
                          <a:gd name="connsiteX200" fmla="*/ 3289 w 37837"/>
                          <a:gd name="connsiteY200" fmla="*/ 37149 h 42711"/>
                          <a:gd name="connsiteX201" fmla="*/ 3409 w 37837"/>
                          <a:gd name="connsiteY201" fmla="*/ 37329 h 42711"/>
                          <a:gd name="connsiteX202" fmla="*/ 3828 w 37837"/>
                          <a:gd name="connsiteY202" fmla="*/ 37867 h 42711"/>
                          <a:gd name="connsiteX203" fmla="*/ 4246 w 37837"/>
                          <a:gd name="connsiteY203" fmla="*/ 38346 h 42711"/>
                          <a:gd name="connsiteX204" fmla="*/ 4725 w 37837"/>
                          <a:gd name="connsiteY204" fmla="*/ 38824 h 42711"/>
                          <a:gd name="connsiteX205" fmla="*/ 4605 w 37837"/>
                          <a:gd name="connsiteY205" fmla="*/ 39303 h 4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37837" h="42711">
                            <a:moveTo>
                              <a:pt x="9629" y="40977"/>
                            </a:moveTo>
                            <a:cubicBezTo>
                              <a:pt x="9211" y="40857"/>
                              <a:pt x="8852" y="40678"/>
                              <a:pt x="8433" y="40498"/>
                            </a:cubicBezTo>
                            <a:cubicBezTo>
                              <a:pt x="8014" y="40319"/>
                              <a:pt x="7656" y="40140"/>
                              <a:pt x="7297" y="39901"/>
                            </a:cubicBezTo>
                            <a:cubicBezTo>
                              <a:pt x="6938" y="39661"/>
                              <a:pt x="6579" y="39482"/>
                              <a:pt x="6280" y="39243"/>
                            </a:cubicBezTo>
                            <a:cubicBezTo>
                              <a:pt x="5921" y="39003"/>
                              <a:pt x="5622" y="38704"/>
                              <a:pt x="5323" y="38465"/>
                            </a:cubicBezTo>
                            <a:cubicBezTo>
                              <a:pt x="5203" y="38346"/>
                              <a:pt x="5024" y="38226"/>
                              <a:pt x="4904" y="38047"/>
                            </a:cubicBezTo>
                            <a:cubicBezTo>
                              <a:pt x="4785" y="37927"/>
                              <a:pt x="4605" y="37748"/>
                              <a:pt x="4486" y="37628"/>
                            </a:cubicBezTo>
                            <a:cubicBezTo>
                              <a:pt x="4366" y="37508"/>
                              <a:pt x="4246" y="37329"/>
                              <a:pt x="4127" y="37209"/>
                            </a:cubicBezTo>
                            <a:cubicBezTo>
                              <a:pt x="4007" y="37090"/>
                              <a:pt x="3888" y="36910"/>
                              <a:pt x="3768" y="36731"/>
                            </a:cubicBezTo>
                            <a:cubicBezTo>
                              <a:pt x="3708" y="36671"/>
                              <a:pt x="3708" y="36611"/>
                              <a:pt x="3648" y="36551"/>
                            </a:cubicBezTo>
                            <a:cubicBezTo>
                              <a:pt x="3589" y="36492"/>
                              <a:pt x="3589" y="36432"/>
                              <a:pt x="3529" y="36372"/>
                            </a:cubicBezTo>
                            <a:cubicBezTo>
                              <a:pt x="3469" y="36312"/>
                              <a:pt x="3469" y="36252"/>
                              <a:pt x="3409" y="36193"/>
                            </a:cubicBezTo>
                            <a:cubicBezTo>
                              <a:pt x="3349" y="36133"/>
                              <a:pt x="3349" y="36073"/>
                              <a:pt x="3289" y="36013"/>
                            </a:cubicBezTo>
                            <a:cubicBezTo>
                              <a:pt x="3110" y="35774"/>
                              <a:pt x="2930" y="35475"/>
                              <a:pt x="2811" y="35236"/>
                            </a:cubicBezTo>
                            <a:cubicBezTo>
                              <a:pt x="2632" y="34996"/>
                              <a:pt x="2512" y="34697"/>
                              <a:pt x="2333" y="34398"/>
                            </a:cubicBezTo>
                            <a:cubicBezTo>
                              <a:pt x="2213" y="34099"/>
                              <a:pt x="2034" y="33800"/>
                              <a:pt x="1914" y="33561"/>
                            </a:cubicBezTo>
                            <a:cubicBezTo>
                              <a:pt x="1794" y="33262"/>
                              <a:pt x="1675" y="32963"/>
                              <a:pt x="1555" y="32664"/>
                            </a:cubicBezTo>
                            <a:cubicBezTo>
                              <a:pt x="1495" y="32425"/>
                              <a:pt x="1376" y="32245"/>
                              <a:pt x="1316" y="32006"/>
                            </a:cubicBezTo>
                            <a:cubicBezTo>
                              <a:pt x="1256" y="31767"/>
                              <a:pt x="1196" y="31527"/>
                              <a:pt x="1136" y="31348"/>
                            </a:cubicBezTo>
                            <a:cubicBezTo>
                              <a:pt x="1076" y="31109"/>
                              <a:pt x="1017" y="30870"/>
                              <a:pt x="957" y="30631"/>
                            </a:cubicBezTo>
                            <a:cubicBezTo>
                              <a:pt x="897" y="30391"/>
                              <a:pt x="837" y="30152"/>
                              <a:pt x="837" y="29913"/>
                            </a:cubicBezTo>
                            <a:cubicBezTo>
                              <a:pt x="837" y="29853"/>
                              <a:pt x="837" y="29733"/>
                              <a:pt x="778" y="29673"/>
                            </a:cubicBezTo>
                            <a:cubicBezTo>
                              <a:pt x="778" y="29614"/>
                              <a:pt x="778" y="29494"/>
                              <a:pt x="718" y="29434"/>
                            </a:cubicBezTo>
                            <a:cubicBezTo>
                              <a:pt x="658" y="29374"/>
                              <a:pt x="718" y="29255"/>
                              <a:pt x="658" y="29195"/>
                            </a:cubicBezTo>
                            <a:cubicBezTo>
                              <a:pt x="658" y="29135"/>
                              <a:pt x="658" y="29016"/>
                              <a:pt x="598" y="28956"/>
                            </a:cubicBezTo>
                            <a:cubicBezTo>
                              <a:pt x="538" y="28478"/>
                              <a:pt x="479" y="27999"/>
                              <a:pt x="479" y="27461"/>
                            </a:cubicBezTo>
                            <a:cubicBezTo>
                              <a:pt x="479" y="26982"/>
                              <a:pt x="419" y="26444"/>
                              <a:pt x="419" y="25965"/>
                            </a:cubicBezTo>
                            <a:cubicBezTo>
                              <a:pt x="419" y="25487"/>
                              <a:pt x="479" y="24949"/>
                              <a:pt x="479" y="24410"/>
                            </a:cubicBezTo>
                            <a:cubicBezTo>
                              <a:pt x="538" y="23872"/>
                              <a:pt x="598" y="23394"/>
                              <a:pt x="658" y="22856"/>
                            </a:cubicBezTo>
                            <a:cubicBezTo>
                              <a:pt x="658" y="22736"/>
                              <a:pt x="718" y="22616"/>
                              <a:pt x="718" y="22556"/>
                            </a:cubicBezTo>
                            <a:cubicBezTo>
                              <a:pt x="718" y="22437"/>
                              <a:pt x="778" y="22317"/>
                              <a:pt x="778" y="22257"/>
                            </a:cubicBezTo>
                            <a:cubicBezTo>
                              <a:pt x="778" y="22138"/>
                              <a:pt x="837" y="22018"/>
                              <a:pt x="837" y="21958"/>
                            </a:cubicBezTo>
                            <a:cubicBezTo>
                              <a:pt x="837" y="21839"/>
                              <a:pt x="897" y="21719"/>
                              <a:pt x="897" y="21659"/>
                            </a:cubicBezTo>
                            <a:cubicBezTo>
                              <a:pt x="957" y="21301"/>
                              <a:pt x="1076" y="20942"/>
                              <a:pt x="1136" y="20583"/>
                            </a:cubicBezTo>
                            <a:cubicBezTo>
                              <a:pt x="1196" y="20224"/>
                              <a:pt x="1316" y="19865"/>
                              <a:pt x="1435" y="19506"/>
                            </a:cubicBezTo>
                            <a:cubicBezTo>
                              <a:pt x="1555" y="19148"/>
                              <a:pt x="1675" y="18789"/>
                              <a:pt x="1794" y="18430"/>
                            </a:cubicBezTo>
                            <a:cubicBezTo>
                              <a:pt x="1914" y="18071"/>
                              <a:pt x="2034" y="17712"/>
                              <a:pt x="2213" y="17353"/>
                            </a:cubicBezTo>
                            <a:cubicBezTo>
                              <a:pt x="2751" y="16038"/>
                              <a:pt x="3349" y="14722"/>
                              <a:pt x="4067" y="13466"/>
                            </a:cubicBezTo>
                            <a:cubicBezTo>
                              <a:pt x="4785" y="12210"/>
                              <a:pt x="5562" y="11073"/>
                              <a:pt x="6459" y="9937"/>
                            </a:cubicBezTo>
                            <a:cubicBezTo>
                              <a:pt x="7357" y="8861"/>
                              <a:pt x="8313" y="7784"/>
                              <a:pt x="9330" y="6887"/>
                            </a:cubicBezTo>
                            <a:cubicBezTo>
                              <a:pt x="10347" y="5930"/>
                              <a:pt x="11483" y="5093"/>
                              <a:pt x="12619" y="4315"/>
                            </a:cubicBezTo>
                            <a:cubicBezTo>
                              <a:pt x="13516" y="3717"/>
                              <a:pt x="14473" y="3239"/>
                              <a:pt x="15430" y="2760"/>
                            </a:cubicBezTo>
                            <a:cubicBezTo>
                              <a:pt x="16387" y="2342"/>
                              <a:pt x="17284" y="1983"/>
                              <a:pt x="18241" y="1684"/>
                            </a:cubicBezTo>
                            <a:cubicBezTo>
                              <a:pt x="19198" y="1385"/>
                              <a:pt x="20095" y="1205"/>
                              <a:pt x="21052" y="1086"/>
                            </a:cubicBezTo>
                            <a:cubicBezTo>
                              <a:pt x="22009" y="966"/>
                              <a:pt x="22906" y="966"/>
                              <a:pt x="23804" y="1026"/>
                            </a:cubicBezTo>
                            <a:cubicBezTo>
                              <a:pt x="23863" y="1026"/>
                              <a:pt x="23983" y="1026"/>
                              <a:pt x="24043" y="1026"/>
                            </a:cubicBezTo>
                            <a:cubicBezTo>
                              <a:pt x="24102" y="1026"/>
                              <a:pt x="24222" y="1026"/>
                              <a:pt x="24282" y="1026"/>
                            </a:cubicBezTo>
                            <a:cubicBezTo>
                              <a:pt x="24342" y="1026"/>
                              <a:pt x="24461" y="1026"/>
                              <a:pt x="24521" y="1026"/>
                            </a:cubicBezTo>
                            <a:cubicBezTo>
                              <a:pt x="24581" y="1026"/>
                              <a:pt x="24700" y="1026"/>
                              <a:pt x="24760" y="1026"/>
                            </a:cubicBezTo>
                            <a:cubicBezTo>
                              <a:pt x="24940" y="1026"/>
                              <a:pt x="25059" y="1086"/>
                              <a:pt x="25239" y="1086"/>
                            </a:cubicBezTo>
                            <a:cubicBezTo>
                              <a:pt x="25418" y="1086"/>
                              <a:pt x="25538" y="1146"/>
                              <a:pt x="25658" y="1146"/>
                            </a:cubicBezTo>
                            <a:cubicBezTo>
                              <a:pt x="25777" y="1146"/>
                              <a:pt x="25956" y="1205"/>
                              <a:pt x="26076" y="1265"/>
                            </a:cubicBezTo>
                            <a:cubicBezTo>
                              <a:pt x="26196" y="1325"/>
                              <a:pt x="26375" y="1325"/>
                              <a:pt x="26495" y="1385"/>
                            </a:cubicBezTo>
                            <a:cubicBezTo>
                              <a:pt x="26674" y="1445"/>
                              <a:pt x="26853" y="1445"/>
                              <a:pt x="26973" y="1504"/>
                            </a:cubicBezTo>
                            <a:cubicBezTo>
                              <a:pt x="27153" y="1564"/>
                              <a:pt x="27272" y="1624"/>
                              <a:pt x="27452" y="1684"/>
                            </a:cubicBezTo>
                            <a:cubicBezTo>
                              <a:pt x="27631" y="1744"/>
                              <a:pt x="27751" y="1803"/>
                              <a:pt x="27930" y="1863"/>
                            </a:cubicBezTo>
                            <a:cubicBezTo>
                              <a:pt x="28109" y="1923"/>
                              <a:pt x="28229" y="1983"/>
                              <a:pt x="28408" y="2043"/>
                            </a:cubicBezTo>
                            <a:cubicBezTo>
                              <a:pt x="28468" y="2043"/>
                              <a:pt x="28528" y="2102"/>
                              <a:pt x="28588" y="2102"/>
                            </a:cubicBezTo>
                            <a:cubicBezTo>
                              <a:pt x="28648" y="2102"/>
                              <a:pt x="28707" y="2162"/>
                              <a:pt x="28767" y="2222"/>
                            </a:cubicBezTo>
                            <a:cubicBezTo>
                              <a:pt x="28827" y="2282"/>
                              <a:pt x="28887" y="2282"/>
                              <a:pt x="28947" y="2342"/>
                            </a:cubicBezTo>
                            <a:cubicBezTo>
                              <a:pt x="29007" y="2401"/>
                              <a:pt x="29066" y="2401"/>
                              <a:pt x="29126" y="2461"/>
                            </a:cubicBezTo>
                            <a:cubicBezTo>
                              <a:pt x="29366" y="2581"/>
                              <a:pt x="29605" y="2760"/>
                              <a:pt x="29904" y="2880"/>
                            </a:cubicBezTo>
                            <a:cubicBezTo>
                              <a:pt x="30143" y="3000"/>
                              <a:pt x="30382" y="3179"/>
                              <a:pt x="30621" y="3358"/>
                            </a:cubicBezTo>
                            <a:cubicBezTo>
                              <a:pt x="30861" y="3538"/>
                              <a:pt x="31100" y="3717"/>
                              <a:pt x="31279" y="3897"/>
                            </a:cubicBezTo>
                            <a:cubicBezTo>
                              <a:pt x="31459" y="4076"/>
                              <a:pt x="31698" y="4255"/>
                              <a:pt x="31937" y="4435"/>
                            </a:cubicBezTo>
                            <a:cubicBezTo>
                              <a:pt x="31937" y="4435"/>
                              <a:pt x="31937" y="4435"/>
                              <a:pt x="31937" y="4435"/>
                            </a:cubicBezTo>
                            <a:cubicBezTo>
                              <a:pt x="31937" y="4435"/>
                              <a:pt x="31937" y="4435"/>
                              <a:pt x="31937" y="4435"/>
                            </a:cubicBezTo>
                            <a:cubicBezTo>
                              <a:pt x="31937" y="4435"/>
                              <a:pt x="31937" y="4435"/>
                              <a:pt x="31937" y="4435"/>
                            </a:cubicBezTo>
                            <a:cubicBezTo>
                              <a:pt x="31937" y="4435"/>
                              <a:pt x="31937" y="4435"/>
                              <a:pt x="31937" y="4435"/>
                            </a:cubicBezTo>
                            <a:cubicBezTo>
                              <a:pt x="31997" y="4495"/>
                              <a:pt x="32057" y="4555"/>
                              <a:pt x="32057" y="4555"/>
                            </a:cubicBezTo>
                            <a:cubicBezTo>
                              <a:pt x="32116" y="4614"/>
                              <a:pt x="32176" y="4674"/>
                              <a:pt x="32176" y="4674"/>
                            </a:cubicBezTo>
                            <a:cubicBezTo>
                              <a:pt x="32236" y="4734"/>
                              <a:pt x="32296" y="4794"/>
                              <a:pt x="32296" y="4794"/>
                            </a:cubicBezTo>
                            <a:cubicBezTo>
                              <a:pt x="32356" y="4854"/>
                              <a:pt x="32415" y="4913"/>
                              <a:pt x="32415" y="4913"/>
                            </a:cubicBezTo>
                            <a:cubicBezTo>
                              <a:pt x="32715" y="5272"/>
                              <a:pt x="33074" y="5631"/>
                              <a:pt x="33373" y="6050"/>
                            </a:cubicBezTo>
                            <a:cubicBezTo>
                              <a:pt x="33671" y="6468"/>
                              <a:pt x="33911" y="6887"/>
                              <a:pt x="34210" y="7306"/>
                            </a:cubicBezTo>
                            <a:cubicBezTo>
                              <a:pt x="34449" y="7724"/>
                              <a:pt x="34688" y="8203"/>
                              <a:pt x="34928" y="8681"/>
                            </a:cubicBezTo>
                            <a:cubicBezTo>
                              <a:pt x="35167" y="9160"/>
                              <a:pt x="35346" y="9638"/>
                              <a:pt x="35526" y="10177"/>
                            </a:cubicBezTo>
                            <a:cubicBezTo>
                              <a:pt x="35585" y="10236"/>
                              <a:pt x="35585" y="10356"/>
                              <a:pt x="35585" y="10416"/>
                            </a:cubicBezTo>
                            <a:cubicBezTo>
                              <a:pt x="35585" y="10476"/>
                              <a:pt x="35645" y="10595"/>
                              <a:pt x="35645" y="10655"/>
                            </a:cubicBezTo>
                            <a:cubicBezTo>
                              <a:pt x="35645" y="10715"/>
                              <a:pt x="35705" y="10834"/>
                              <a:pt x="35705" y="10894"/>
                            </a:cubicBezTo>
                            <a:cubicBezTo>
                              <a:pt x="35705" y="11014"/>
                              <a:pt x="35765" y="11073"/>
                              <a:pt x="35765" y="11193"/>
                            </a:cubicBezTo>
                            <a:cubicBezTo>
                              <a:pt x="35765" y="11253"/>
                              <a:pt x="35824" y="11372"/>
                              <a:pt x="35824" y="11432"/>
                            </a:cubicBezTo>
                            <a:cubicBezTo>
                              <a:pt x="35824" y="11492"/>
                              <a:pt x="35884" y="11612"/>
                              <a:pt x="35884" y="11672"/>
                            </a:cubicBezTo>
                            <a:cubicBezTo>
                              <a:pt x="35884" y="11731"/>
                              <a:pt x="35944" y="11851"/>
                              <a:pt x="35944" y="11911"/>
                            </a:cubicBezTo>
                            <a:cubicBezTo>
                              <a:pt x="35944" y="11971"/>
                              <a:pt x="36004" y="12090"/>
                              <a:pt x="36004" y="12150"/>
                            </a:cubicBezTo>
                            <a:cubicBezTo>
                              <a:pt x="36243" y="13167"/>
                              <a:pt x="36363" y="14243"/>
                              <a:pt x="36423" y="15320"/>
                            </a:cubicBezTo>
                            <a:cubicBezTo>
                              <a:pt x="36483" y="16396"/>
                              <a:pt x="36423" y="17473"/>
                              <a:pt x="36303" y="18609"/>
                            </a:cubicBezTo>
                            <a:cubicBezTo>
                              <a:pt x="36183" y="19746"/>
                              <a:pt x="36004" y="20822"/>
                              <a:pt x="35705" y="21958"/>
                            </a:cubicBezTo>
                            <a:cubicBezTo>
                              <a:pt x="35406" y="23095"/>
                              <a:pt x="35047" y="24231"/>
                              <a:pt x="34629" y="25367"/>
                            </a:cubicBezTo>
                            <a:cubicBezTo>
                              <a:pt x="34090" y="26683"/>
                              <a:pt x="33492" y="27939"/>
                              <a:pt x="32775" y="29135"/>
                            </a:cubicBezTo>
                            <a:cubicBezTo>
                              <a:pt x="32057" y="30332"/>
                              <a:pt x="31279" y="31527"/>
                              <a:pt x="30382" y="32604"/>
                            </a:cubicBezTo>
                            <a:cubicBezTo>
                              <a:pt x="29485" y="33681"/>
                              <a:pt x="28588" y="34697"/>
                              <a:pt x="27571" y="35595"/>
                            </a:cubicBezTo>
                            <a:cubicBezTo>
                              <a:pt x="26554" y="36492"/>
                              <a:pt x="25478" y="37389"/>
                              <a:pt x="24342" y="38106"/>
                            </a:cubicBezTo>
                            <a:cubicBezTo>
                              <a:pt x="23205" y="38824"/>
                              <a:pt x="22069" y="39482"/>
                              <a:pt x="20873" y="39960"/>
                            </a:cubicBezTo>
                            <a:cubicBezTo>
                              <a:pt x="19677" y="40439"/>
                              <a:pt x="18540" y="40857"/>
                              <a:pt x="17344" y="41097"/>
                            </a:cubicBezTo>
                            <a:cubicBezTo>
                              <a:pt x="16148" y="41336"/>
                              <a:pt x="15012" y="41456"/>
                              <a:pt x="13875" y="41456"/>
                            </a:cubicBezTo>
                            <a:cubicBezTo>
                              <a:pt x="12739" y="41456"/>
                              <a:pt x="11603" y="41336"/>
                              <a:pt x="10526" y="41037"/>
                            </a:cubicBezTo>
                            <a:cubicBezTo>
                              <a:pt x="10526" y="41037"/>
                              <a:pt x="10466" y="41037"/>
                              <a:pt x="10466" y="41037"/>
                            </a:cubicBezTo>
                            <a:cubicBezTo>
                              <a:pt x="10466" y="41037"/>
                              <a:pt x="10406" y="41037"/>
                              <a:pt x="10406" y="41037"/>
                            </a:cubicBezTo>
                            <a:cubicBezTo>
                              <a:pt x="10406" y="41037"/>
                              <a:pt x="10347" y="41037"/>
                              <a:pt x="10347" y="41037"/>
                            </a:cubicBezTo>
                            <a:cubicBezTo>
                              <a:pt x="10347" y="41037"/>
                              <a:pt x="10287" y="41037"/>
                              <a:pt x="10287" y="41037"/>
                            </a:cubicBezTo>
                            <a:cubicBezTo>
                              <a:pt x="10227" y="41037"/>
                              <a:pt x="10107" y="40977"/>
                              <a:pt x="10048" y="40977"/>
                            </a:cubicBezTo>
                            <a:cubicBezTo>
                              <a:pt x="9988" y="40977"/>
                              <a:pt x="9868" y="40917"/>
                              <a:pt x="9808" y="40917"/>
                            </a:cubicBezTo>
                            <a:cubicBezTo>
                              <a:pt x="9749" y="40917"/>
                              <a:pt x="9629" y="40857"/>
                              <a:pt x="9569" y="40857"/>
                            </a:cubicBezTo>
                            <a:cubicBezTo>
                              <a:pt x="9749" y="41037"/>
                              <a:pt x="9689" y="40977"/>
                              <a:pt x="9629" y="40977"/>
                            </a:cubicBezTo>
                            <a:moveTo>
                              <a:pt x="4605" y="39303"/>
                            </a:moveTo>
                            <a:cubicBezTo>
                              <a:pt x="4904" y="39542"/>
                              <a:pt x="5203" y="39781"/>
                              <a:pt x="5502" y="40020"/>
                            </a:cubicBezTo>
                            <a:cubicBezTo>
                              <a:pt x="5801" y="40259"/>
                              <a:pt x="6160" y="40498"/>
                              <a:pt x="6459" y="40678"/>
                            </a:cubicBezTo>
                            <a:cubicBezTo>
                              <a:pt x="6818" y="40857"/>
                              <a:pt x="7117" y="41097"/>
                              <a:pt x="7476" y="41276"/>
                            </a:cubicBezTo>
                            <a:cubicBezTo>
                              <a:pt x="7835" y="41456"/>
                              <a:pt x="8194" y="41635"/>
                              <a:pt x="8552" y="41755"/>
                            </a:cubicBezTo>
                            <a:cubicBezTo>
                              <a:pt x="8612" y="41814"/>
                              <a:pt x="8732" y="41814"/>
                              <a:pt x="8792" y="41874"/>
                            </a:cubicBezTo>
                            <a:cubicBezTo>
                              <a:pt x="8852" y="41934"/>
                              <a:pt x="8971" y="41934"/>
                              <a:pt x="9031" y="41934"/>
                            </a:cubicBezTo>
                            <a:cubicBezTo>
                              <a:pt x="9091" y="41934"/>
                              <a:pt x="9211" y="41994"/>
                              <a:pt x="9270" y="41994"/>
                            </a:cubicBezTo>
                            <a:cubicBezTo>
                              <a:pt x="9330" y="41994"/>
                              <a:pt x="9450" y="42054"/>
                              <a:pt x="9510" y="42054"/>
                            </a:cubicBezTo>
                            <a:cubicBezTo>
                              <a:pt x="9569" y="42054"/>
                              <a:pt x="9629" y="42113"/>
                              <a:pt x="9749" y="42113"/>
                            </a:cubicBezTo>
                            <a:cubicBezTo>
                              <a:pt x="9808" y="42113"/>
                              <a:pt x="9868" y="42173"/>
                              <a:pt x="9988" y="42173"/>
                            </a:cubicBezTo>
                            <a:cubicBezTo>
                              <a:pt x="10107" y="42173"/>
                              <a:pt x="10107" y="42233"/>
                              <a:pt x="10227" y="42233"/>
                            </a:cubicBezTo>
                            <a:cubicBezTo>
                              <a:pt x="10287" y="42233"/>
                              <a:pt x="10347" y="42293"/>
                              <a:pt x="10466" y="42293"/>
                            </a:cubicBezTo>
                            <a:cubicBezTo>
                              <a:pt x="11603" y="42592"/>
                              <a:pt x="12799" y="42712"/>
                              <a:pt x="13995" y="42712"/>
                            </a:cubicBezTo>
                            <a:cubicBezTo>
                              <a:pt x="15191" y="42712"/>
                              <a:pt x="16447" y="42592"/>
                              <a:pt x="17643" y="42293"/>
                            </a:cubicBezTo>
                            <a:cubicBezTo>
                              <a:pt x="18899" y="42054"/>
                              <a:pt x="20095" y="41635"/>
                              <a:pt x="21351" y="41097"/>
                            </a:cubicBezTo>
                            <a:cubicBezTo>
                              <a:pt x="22547" y="40558"/>
                              <a:pt x="23804" y="39901"/>
                              <a:pt x="24999" y="39123"/>
                            </a:cubicBezTo>
                            <a:cubicBezTo>
                              <a:pt x="26196" y="38346"/>
                              <a:pt x="27332" y="37449"/>
                              <a:pt x="28408" y="36492"/>
                            </a:cubicBezTo>
                            <a:cubicBezTo>
                              <a:pt x="29485" y="35535"/>
                              <a:pt x="30442" y="34458"/>
                              <a:pt x="31399" y="33322"/>
                            </a:cubicBezTo>
                            <a:cubicBezTo>
                              <a:pt x="32296" y="32186"/>
                              <a:pt x="33133" y="30989"/>
                              <a:pt x="33911" y="29673"/>
                            </a:cubicBezTo>
                            <a:cubicBezTo>
                              <a:pt x="34629" y="28418"/>
                              <a:pt x="35286" y="27042"/>
                              <a:pt x="35884" y="25666"/>
                            </a:cubicBezTo>
                            <a:cubicBezTo>
                              <a:pt x="36363" y="24470"/>
                              <a:pt x="36782" y="23214"/>
                              <a:pt x="37081" y="21958"/>
                            </a:cubicBezTo>
                            <a:cubicBezTo>
                              <a:pt x="37380" y="20702"/>
                              <a:pt x="37619" y="19506"/>
                              <a:pt x="37738" y="18310"/>
                            </a:cubicBezTo>
                            <a:cubicBezTo>
                              <a:pt x="37858" y="17114"/>
                              <a:pt x="37858" y="15918"/>
                              <a:pt x="37798" y="14722"/>
                            </a:cubicBezTo>
                            <a:cubicBezTo>
                              <a:pt x="37738" y="13526"/>
                              <a:pt x="37559" y="12389"/>
                              <a:pt x="37320" y="11313"/>
                            </a:cubicBezTo>
                            <a:cubicBezTo>
                              <a:pt x="37320" y="11253"/>
                              <a:pt x="37260" y="11133"/>
                              <a:pt x="37260" y="11073"/>
                            </a:cubicBezTo>
                            <a:cubicBezTo>
                              <a:pt x="37260" y="11014"/>
                              <a:pt x="37200" y="10894"/>
                              <a:pt x="37200" y="10834"/>
                            </a:cubicBezTo>
                            <a:cubicBezTo>
                              <a:pt x="37200" y="10774"/>
                              <a:pt x="37140" y="10655"/>
                              <a:pt x="37140" y="10595"/>
                            </a:cubicBezTo>
                            <a:cubicBezTo>
                              <a:pt x="37140" y="10535"/>
                              <a:pt x="37081" y="10416"/>
                              <a:pt x="37081" y="10356"/>
                            </a:cubicBezTo>
                            <a:cubicBezTo>
                              <a:pt x="37081" y="10296"/>
                              <a:pt x="37021" y="10236"/>
                              <a:pt x="37021" y="10177"/>
                            </a:cubicBezTo>
                            <a:cubicBezTo>
                              <a:pt x="37021" y="10117"/>
                              <a:pt x="36961" y="10057"/>
                              <a:pt x="36961" y="9997"/>
                            </a:cubicBezTo>
                            <a:cubicBezTo>
                              <a:pt x="36961" y="9937"/>
                              <a:pt x="36901" y="9877"/>
                              <a:pt x="36901" y="9818"/>
                            </a:cubicBezTo>
                            <a:cubicBezTo>
                              <a:pt x="36901" y="9758"/>
                              <a:pt x="36841" y="9698"/>
                              <a:pt x="36841" y="9638"/>
                            </a:cubicBezTo>
                            <a:cubicBezTo>
                              <a:pt x="36662" y="9100"/>
                              <a:pt x="36423" y="8562"/>
                              <a:pt x="36243" y="8083"/>
                            </a:cubicBezTo>
                            <a:cubicBezTo>
                              <a:pt x="36004" y="7605"/>
                              <a:pt x="35765" y="7126"/>
                              <a:pt x="35526" y="6648"/>
                            </a:cubicBezTo>
                            <a:cubicBezTo>
                              <a:pt x="35286" y="6169"/>
                              <a:pt x="34987" y="5751"/>
                              <a:pt x="34688" y="5332"/>
                            </a:cubicBezTo>
                            <a:cubicBezTo>
                              <a:pt x="34389" y="4913"/>
                              <a:pt x="34030" y="4495"/>
                              <a:pt x="33731" y="4136"/>
                            </a:cubicBezTo>
                            <a:cubicBezTo>
                              <a:pt x="33671" y="4076"/>
                              <a:pt x="33612" y="4016"/>
                              <a:pt x="33612" y="4016"/>
                            </a:cubicBezTo>
                            <a:cubicBezTo>
                              <a:pt x="33552" y="3956"/>
                              <a:pt x="33492" y="3897"/>
                              <a:pt x="33492" y="3897"/>
                            </a:cubicBezTo>
                            <a:cubicBezTo>
                              <a:pt x="33432" y="3837"/>
                              <a:pt x="33373" y="3777"/>
                              <a:pt x="33373" y="3777"/>
                            </a:cubicBezTo>
                            <a:cubicBezTo>
                              <a:pt x="33313" y="3717"/>
                              <a:pt x="33253" y="3657"/>
                              <a:pt x="33253" y="3657"/>
                            </a:cubicBezTo>
                            <a:cubicBezTo>
                              <a:pt x="33253" y="3657"/>
                              <a:pt x="33253" y="3657"/>
                              <a:pt x="33253" y="3657"/>
                            </a:cubicBezTo>
                            <a:cubicBezTo>
                              <a:pt x="33253" y="3657"/>
                              <a:pt x="33253" y="3657"/>
                              <a:pt x="33253" y="3657"/>
                            </a:cubicBezTo>
                            <a:cubicBezTo>
                              <a:pt x="33253" y="3657"/>
                              <a:pt x="33253" y="3657"/>
                              <a:pt x="33253" y="3657"/>
                            </a:cubicBezTo>
                            <a:cubicBezTo>
                              <a:pt x="33253" y="3657"/>
                              <a:pt x="33253" y="3657"/>
                              <a:pt x="33253" y="3657"/>
                            </a:cubicBezTo>
                            <a:cubicBezTo>
                              <a:pt x="33074" y="3478"/>
                              <a:pt x="32834" y="3299"/>
                              <a:pt x="32595" y="3119"/>
                            </a:cubicBezTo>
                            <a:cubicBezTo>
                              <a:pt x="32356" y="2940"/>
                              <a:pt x="32176" y="2760"/>
                              <a:pt x="31937" y="2581"/>
                            </a:cubicBezTo>
                            <a:cubicBezTo>
                              <a:pt x="31698" y="2401"/>
                              <a:pt x="31459" y="2282"/>
                              <a:pt x="31220" y="2102"/>
                            </a:cubicBezTo>
                            <a:cubicBezTo>
                              <a:pt x="30980" y="1923"/>
                              <a:pt x="30741" y="1803"/>
                              <a:pt x="30502" y="1684"/>
                            </a:cubicBezTo>
                            <a:cubicBezTo>
                              <a:pt x="30442" y="1624"/>
                              <a:pt x="30382" y="1624"/>
                              <a:pt x="30322" y="1564"/>
                            </a:cubicBezTo>
                            <a:cubicBezTo>
                              <a:pt x="30262" y="1504"/>
                              <a:pt x="30203" y="1504"/>
                              <a:pt x="30143" y="1445"/>
                            </a:cubicBezTo>
                            <a:cubicBezTo>
                              <a:pt x="30083" y="1385"/>
                              <a:pt x="30023" y="1385"/>
                              <a:pt x="29963" y="1325"/>
                            </a:cubicBezTo>
                            <a:cubicBezTo>
                              <a:pt x="29904" y="1265"/>
                              <a:pt x="29844" y="1265"/>
                              <a:pt x="29784" y="1205"/>
                            </a:cubicBezTo>
                            <a:cubicBezTo>
                              <a:pt x="29605" y="1146"/>
                              <a:pt x="29425" y="1026"/>
                              <a:pt x="29246" y="966"/>
                            </a:cubicBezTo>
                            <a:cubicBezTo>
                              <a:pt x="29066" y="906"/>
                              <a:pt x="28887" y="847"/>
                              <a:pt x="28707" y="787"/>
                            </a:cubicBezTo>
                            <a:cubicBezTo>
                              <a:pt x="28528" y="727"/>
                              <a:pt x="28349" y="667"/>
                              <a:pt x="28169" y="607"/>
                            </a:cubicBezTo>
                            <a:cubicBezTo>
                              <a:pt x="27990" y="547"/>
                              <a:pt x="27811" y="487"/>
                              <a:pt x="27571" y="428"/>
                            </a:cubicBezTo>
                            <a:cubicBezTo>
                              <a:pt x="27452" y="368"/>
                              <a:pt x="27332" y="368"/>
                              <a:pt x="27212" y="368"/>
                            </a:cubicBezTo>
                            <a:cubicBezTo>
                              <a:pt x="27093" y="368"/>
                              <a:pt x="26973" y="308"/>
                              <a:pt x="26853" y="308"/>
                            </a:cubicBezTo>
                            <a:cubicBezTo>
                              <a:pt x="26734" y="308"/>
                              <a:pt x="26614" y="248"/>
                              <a:pt x="26495" y="248"/>
                            </a:cubicBezTo>
                            <a:cubicBezTo>
                              <a:pt x="26375" y="248"/>
                              <a:pt x="26255" y="188"/>
                              <a:pt x="26136" y="188"/>
                            </a:cubicBezTo>
                            <a:cubicBezTo>
                              <a:pt x="26076" y="188"/>
                              <a:pt x="25956" y="188"/>
                              <a:pt x="25897" y="129"/>
                            </a:cubicBezTo>
                            <a:cubicBezTo>
                              <a:pt x="25837" y="129"/>
                              <a:pt x="25717" y="129"/>
                              <a:pt x="25658" y="69"/>
                            </a:cubicBezTo>
                            <a:cubicBezTo>
                              <a:pt x="25598" y="69"/>
                              <a:pt x="25478" y="69"/>
                              <a:pt x="25418" y="69"/>
                            </a:cubicBezTo>
                            <a:cubicBezTo>
                              <a:pt x="25358" y="69"/>
                              <a:pt x="25239" y="69"/>
                              <a:pt x="25179" y="69"/>
                            </a:cubicBezTo>
                            <a:cubicBezTo>
                              <a:pt x="24162" y="-51"/>
                              <a:pt x="23205" y="9"/>
                              <a:pt x="22189" y="69"/>
                            </a:cubicBezTo>
                            <a:cubicBezTo>
                              <a:pt x="21172" y="188"/>
                              <a:pt x="20155" y="368"/>
                              <a:pt x="19079" y="667"/>
                            </a:cubicBezTo>
                            <a:cubicBezTo>
                              <a:pt x="18062" y="966"/>
                              <a:pt x="16985" y="1325"/>
                              <a:pt x="15968" y="1803"/>
                            </a:cubicBezTo>
                            <a:cubicBezTo>
                              <a:pt x="14952" y="2282"/>
                              <a:pt x="13935" y="2820"/>
                              <a:pt x="12919" y="3478"/>
                            </a:cubicBezTo>
                            <a:cubicBezTo>
                              <a:pt x="11244" y="4555"/>
                              <a:pt x="9749" y="5810"/>
                              <a:pt x="8373" y="7186"/>
                            </a:cubicBezTo>
                            <a:cubicBezTo>
                              <a:pt x="6997" y="8562"/>
                              <a:pt x="5742" y="10117"/>
                              <a:pt x="4665" y="11791"/>
                            </a:cubicBezTo>
                            <a:cubicBezTo>
                              <a:pt x="3589" y="13466"/>
                              <a:pt x="2691" y="15140"/>
                              <a:pt x="1974" y="16934"/>
                            </a:cubicBezTo>
                            <a:cubicBezTo>
                              <a:pt x="1256" y="18729"/>
                              <a:pt x="718" y="20523"/>
                              <a:pt x="419" y="22377"/>
                            </a:cubicBezTo>
                            <a:cubicBezTo>
                              <a:pt x="419" y="22497"/>
                              <a:pt x="359" y="22556"/>
                              <a:pt x="359" y="22676"/>
                            </a:cubicBezTo>
                            <a:cubicBezTo>
                              <a:pt x="359" y="22796"/>
                              <a:pt x="299" y="22856"/>
                              <a:pt x="299" y="22975"/>
                            </a:cubicBezTo>
                            <a:cubicBezTo>
                              <a:pt x="299" y="23095"/>
                              <a:pt x="239" y="23155"/>
                              <a:pt x="239" y="23274"/>
                            </a:cubicBezTo>
                            <a:cubicBezTo>
                              <a:pt x="239" y="23394"/>
                              <a:pt x="239" y="23454"/>
                              <a:pt x="180" y="23573"/>
                            </a:cubicBezTo>
                            <a:cubicBezTo>
                              <a:pt x="120" y="24111"/>
                              <a:pt x="60" y="24590"/>
                              <a:pt x="60" y="25128"/>
                            </a:cubicBezTo>
                            <a:cubicBezTo>
                              <a:pt x="0" y="25666"/>
                              <a:pt x="0" y="26145"/>
                              <a:pt x="0" y="26624"/>
                            </a:cubicBezTo>
                            <a:cubicBezTo>
                              <a:pt x="0" y="27102"/>
                              <a:pt x="0" y="27640"/>
                              <a:pt x="60" y="28119"/>
                            </a:cubicBezTo>
                            <a:cubicBezTo>
                              <a:pt x="120" y="28597"/>
                              <a:pt x="120" y="29135"/>
                              <a:pt x="239" y="29614"/>
                            </a:cubicBezTo>
                            <a:cubicBezTo>
                              <a:pt x="239" y="29673"/>
                              <a:pt x="239" y="29793"/>
                              <a:pt x="299" y="29853"/>
                            </a:cubicBezTo>
                            <a:cubicBezTo>
                              <a:pt x="299" y="29913"/>
                              <a:pt x="299" y="30032"/>
                              <a:pt x="359" y="30092"/>
                            </a:cubicBezTo>
                            <a:cubicBezTo>
                              <a:pt x="359" y="30152"/>
                              <a:pt x="359" y="30272"/>
                              <a:pt x="419" y="30332"/>
                            </a:cubicBezTo>
                            <a:cubicBezTo>
                              <a:pt x="479" y="30391"/>
                              <a:pt x="419" y="30511"/>
                              <a:pt x="479" y="30571"/>
                            </a:cubicBezTo>
                            <a:cubicBezTo>
                              <a:pt x="538" y="30810"/>
                              <a:pt x="598" y="31049"/>
                              <a:pt x="598" y="31228"/>
                            </a:cubicBezTo>
                            <a:cubicBezTo>
                              <a:pt x="658" y="31468"/>
                              <a:pt x="718" y="31647"/>
                              <a:pt x="778" y="31886"/>
                            </a:cubicBezTo>
                            <a:cubicBezTo>
                              <a:pt x="837" y="32126"/>
                              <a:pt x="897" y="32305"/>
                              <a:pt x="957" y="32544"/>
                            </a:cubicBezTo>
                            <a:cubicBezTo>
                              <a:pt x="1017" y="32783"/>
                              <a:pt x="1076" y="32963"/>
                              <a:pt x="1196" y="33202"/>
                            </a:cubicBezTo>
                            <a:cubicBezTo>
                              <a:pt x="1316" y="33501"/>
                              <a:pt x="1435" y="33800"/>
                              <a:pt x="1555" y="34099"/>
                            </a:cubicBezTo>
                            <a:cubicBezTo>
                              <a:pt x="1675" y="34398"/>
                              <a:pt x="1794" y="34697"/>
                              <a:pt x="1974" y="34996"/>
                            </a:cubicBezTo>
                            <a:cubicBezTo>
                              <a:pt x="2093" y="35295"/>
                              <a:pt x="2273" y="35535"/>
                              <a:pt x="2452" y="35834"/>
                            </a:cubicBezTo>
                            <a:cubicBezTo>
                              <a:pt x="2632" y="36133"/>
                              <a:pt x="2751" y="36372"/>
                              <a:pt x="2930" y="36611"/>
                            </a:cubicBezTo>
                            <a:cubicBezTo>
                              <a:pt x="2990" y="36671"/>
                              <a:pt x="2990" y="36731"/>
                              <a:pt x="3050" y="36790"/>
                            </a:cubicBezTo>
                            <a:cubicBezTo>
                              <a:pt x="3110" y="36850"/>
                              <a:pt x="3110" y="36910"/>
                              <a:pt x="3170" y="36970"/>
                            </a:cubicBezTo>
                            <a:cubicBezTo>
                              <a:pt x="3230" y="37030"/>
                              <a:pt x="3230" y="37090"/>
                              <a:pt x="3289" y="37149"/>
                            </a:cubicBezTo>
                            <a:cubicBezTo>
                              <a:pt x="3349" y="37209"/>
                              <a:pt x="3349" y="37269"/>
                              <a:pt x="3409" y="37329"/>
                            </a:cubicBezTo>
                            <a:cubicBezTo>
                              <a:pt x="3529" y="37508"/>
                              <a:pt x="3648" y="37688"/>
                              <a:pt x="3828" y="37867"/>
                            </a:cubicBezTo>
                            <a:cubicBezTo>
                              <a:pt x="3947" y="38047"/>
                              <a:pt x="4127" y="38166"/>
                              <a:pt x="4246" y="38346"/>
                            </a:cubicBezTo>
                            <a:cubicBezTo>
                              <a:pt x="4366" y="38525"/>
                              <a:pt x="4545" y="38644"/>
                              <a:pt x="4725" y="38824"/>
                            </a:cubicBezTo>
                            <a:cubicBezTo>
                              <a:pt x="4306" y="39003"/>
                              <a:pt x="4486" y="39123"/>
                              <a:pt x="4605" y="39303"/>
                            </a:cubicBezTo>
                          </a:path>
                        </a:pathLst>
                      </a:custGeom>
                      <a:noFill/>
                      <a:ln w="6350" cap="flat">
                        <a:solidFill>
                          <a:schemeClr val="bg1">
                            <a:alpha val="40000"/>
                          </a:schemeClr>
                        </a:solidFill>
                        <a:prstDash val="solid"/>
                        <a:miter/>
                      </a:ln>
                    </p:spPr>
                    <p:txBody>
                      <a:bodyPr rtlCol="0" anchor="ctr"/>
                      <a:lstStyle/>
                      <a:p>
                        <a:endParaRPr lang="en-GB"/>
                      </a:p>
                    </p:txBody>
                  </p:sp>
                  <p:sp>
                    <p:nvSpPr>
                      <p:cNvPr id="7535" name="Vrije vorm: vorm 7534">
                        <a:extLst>
                          <a:ext uri="{FF2B5EF4-FFF2-40B4-BE49-F238E27FC236}">
                            <a16:creationId xmlns:a16="http://schemas.microsoft.com/office/drawing/2014/main" id="{5AB9BC6E-7A3A-4F7C-A99E-1E70BECEFDD4}"/>
                          </a:ext>
                        </a:extLst>
                      </p:cNvPr>
                      <p:cNvSpPr/>
                      <p:nvPr/>
                    </p:nvSpPr>
                    <p:spPr>
                      <a:xfrm>
                        <a:off x="5307551" y="5118641"/>
                        <a:ext cx="32226" cy="36162"/>
                      </a:xfrm>
                      <a:custGeom>
                        <a:avLst/>
                        <a:gdLst>
                          <a:gd name="connsiteX0" fmla="*/ 10646 w 32226"/>
                          <a:gd name="connsiteY0" fmla="*/ 34748 h 36162"/>
                          <a:gd name="connsiteX1" fmla="*/ 9091 w 32226"/>
                          <a:gd name="connsiteY1" fmla="*/ 34389 h 36162"/>
                          <a:gd name="connsiteX2" fmla="*/ 7596 w 32226"/>
                          <a:gd name="connsiteY2" fmla="*/ 33851 h 36162"/>
                          <a:gd name="connsiteX3" fmla="*/ 6220 w 32226"/>
                          <a:gd name="connsiteY3" fmla="*/ 33073 h 36162"/>
                          <a:gd name="connsiteX4" fmla="*/ 4964 w 32226"/>
                          <a:gd name="connsiteY4" fmla="*/ 32116 h 36162"/>
                          <a:gd name="connsiteX5" fmla="*/ 4725 w 32226"/>
                          <a:gd name="connsiteY5" fmla="*/ 31877 h 36162"/>
                          <a:gd name="connsiteX6" fmla="*/ 4486 w 32226"/>
                          <a:gd name="connsiteY6" fmla="*/ 31638 h 36162"/>
                          <a:gd name="connsiteX7" fmla="*/ 4246 w 32226"/>
                          <a:gd name="connsiteY7" fmla="*/ 31399 h 36162"/>
                          <a:gd name="connsiteX8" fmla="*/ 4007 w 32226"/>
                          <a:gd name="connsiteY8" fmla="*/ 31159 h 36162"/>
                          <a:gd name="connsiteX9" fmla="*/ 3888 w 32226"/>
                          <a:gd name="connsiteY9" fmla="*/ 30980 h 36162"/>
                          <a:gd name="connsiteX10" fmla="*/ 3768 w 32226"/>
                          <a:gd name="connsiteY10" fmla="*/ 30800 h 36162"/>
                          <a:gd name="connsiteX11" fmla="*/ 3648 w 32226"/>
                          <a:gd name="connsiteY11" fmla="*/ 30621 h 36162"/>
                          <a:gd name="connsiteX12" fmla="*/ 3529 w 32226"/>
                          <a:gd name="connsiteY12" fmla="*/ 30442 h 36162"/>
                          <a:gd name="connsiteX13" fmla="*/ 3050 w 32226"/>
                          <a:gd name="connsiteY13" fmla="*/ 29724 h 36162"/>
                          <a:gd name="connsiteX14" fmla="*/ 2632 w 32226"/>
                          <a:gd name="connsiteY14" fmla="*/ 28946 h 36162"/>
                          <a:gd name="connsiteX15" fmla="*/ 2273 w 32226"/>
                          <a:gd name="connsiteY15" fmla="*/ 28169 h 36162"/>
                          <a:gd name="connsiteX16" fmla="*/ 1914 w 32226"/>
                          <a:gd name="connsiteY16" fmla="*/ 27332 h 36162"/>
                          <a:gd name="connsiteX17" fmla="*/ 1675 w 32226"/>
                          <a:gd name="connsiteY17" fmla="*/ 26614 h 36162"/>
                          <a:gd name="connsiteX18" fmla="*/ 1495 w 32226"/>
                          <a:gd name="connsiteY18" fmla="*/ 25837 h 36162"/>
                          <a:gd name="connsiteX19" fmla="*/ 1316 w 32226"/>
                          <a:gd name="connsiteY19" fmla="*/ 25059 h 36162"/>
                          <a:gd name="connsiteX20" fmla="*/ 1196 w 32226"/>
                          <a:gd name="connsiteY20" fmla="*/ 24282 h 36162"/>
                          <a:gd name="connsiteX21" fmla="*/ 1136 w 32226"/>
                          <a:gd name="connsiteY21" fmla="*/ 24042 h 36162"/>
                          <a:gd name="connsiteX22" fmla="*/ 1136 w 32226"/>
                          <a:gd name="connsiteY22" fmla="*/ 23803 h 36162"/>
                          <a:gd name="connsiteX23" fmla="*/ 1136 w 32226"/>
                          <a:gd name="connsiteY23" fmla="*/ 23564 h 36162"/>
                          <a:gd name="connsiteX24" fmla="*/ 1136 w 32226"/>
                          <a:gd name="connsiteY24" fmla="*/ 23325 h 36162"/>
                          <a:gd name="connsiteX25" fmla="*/ 1076 w 32226"/>
                          <a:gd name="connsiteY25" fmla="*/ 21710 h 36162"/>
                          <a:gd name="connsiteX26" fmla="*/ 1196 w 32226"/>
                          <a:gd name="connsiteY26" fmla="*/ 20035 h 36162"/>
                          <a:gd name="connsiteX27" fmla="*/ 1435 w 32226"/>
                          <a:gd name="connsiteY27" fmla="*/ 18361 h 36162"/>
                          <a:gd name="connsiteX28" fmla="*/ 1854 w 32226"/>
                          <a:gd name="connsiteY28" fmla="*/ 16686 h 36162"/>
                          <a:gd name="connsiteX29" fmla="*/ 1974 w 32226"/>
                          <a:gd name="connsiteY29" fmla="*/ 16327 h 36162"/>
                          <a:gd name="connsiteX30" fmla="*/ 2093 w 32226"/>
                          <a:gd name="connsiteY30" fmla="*/ 15968 h 36162"/>
                          <a:gd name="connsiteX31" fmla="*/ 2213 w 32226"/>
                          <a:gd name="connsiteY31" fmla="*/ 15610 h 36162"/>
                          <a:gd name="connsiteX32" fmla="*/ 2333 w 32226"/>
                          <a:gd name="connsiteY32" fmla="*/ 15251 h 36162"/>
                          <a:gd name="connsiteX33" fmla="*/ 2392 w 32226"/>
                          <a:gd name="connsiteY33" fmla="*/ 15071 h 36162"/>
                          <a:gd name="connsiteX34" fmla="*/ 2452 w 32226"/>
                          <a:gd name="connsiteY34" fmla="*/ 14892 h 36162"/>
                          <a:gd name="connsiteX35" fmla="*/ 2512 w 32226"/>
                          <a:gd name="connsiteY35" fmla="*/ 14712 h 36162"/>
                          <a:gd name="connsiteX36" fmla="*/ 2572 w 32226"/>
                          <a:gd name="connsiteY36" fmla="*/ 14533 h 36162"/>
                          <a:gd name="connsiteX37" fmla="*/ 4127 w 32226"/>
                          <a:gd name="connsiteY37" fmla="*/ 11303 h 36162"/>
                          <a:gd name="connsiteX38" fmla="*/ 6100 w 32226"/>
                          <a:gd name="connsiteY38" fmla="*/ 8373 h 36162"/>
                          <a:gd name="connsiteX39" fmla="*/ 8493 w 32226"/>
                          <a:gd name="connsiteY39" fmla="*/ 5801 h 36162"/>
                          <a:gd name="connsiteX40" fmla="*/ 11184 w 32226"/>
                          <a:gd name="connsiteY40" fmla="*/ 3708 h 36162"/>
                          <a:gd name="connsiteX41" fmla="*/ 13038 w 32226"/>
                          <a:gd name="connsiteY41" fmla="*/ 2691 h 36162"/>
                          <a:gd name="connsiteX42" fmla="*/ 14892 w 32226"/>
                          <a:gd name="connsiteY42" fmla="*/ 1914 h 36162"/>
                          <a:gd name="connsiteX43" fmla="*/ 16746 w 32226"/>
                          <a:gd name="connsiteY43" fmla="*/ 1375 h 36162"/>
                          <a:gd name="connsiteX44" fmla="*/ 18600 w 32226"/>
                          <a:gd name="connsiteY44" fmla="*/ 1076 h 36162"/>
                          <a:gd name="connsiteX45" fmla="*/ 18899 w 32226"/>
                          <a:gd name="connsiteY45" fmla="*/ 1076 h 36162"/>
                          <a:gd name="connsiteX46" fmla="*/ 19198 w 32226"/>
                          <a:gd name="connsiteY46" fmla="*/ 1076 h 36162"/>
                          <a:gd name="connsiteX47" fmla="*/ 19497 w 32226"/>
                          <a:gd name="connsiteY47" fmla="*/ 1076 h 36162"/>
                          <a:gd name="connsiteX48" fmla="*/ 19796 w 32226"/>
                          <a:gd name="connsiteY48" fmla="*/ 1076 h 36162"/>
                          <a:gd name="connsiteX49" fmla="*/ 20813 w 32226"/>
                          <a:gd name="connsiteY49" fmla="*/ 1136 h 36162"/>
                          <a:gd name="connsiteX50" fmla="*/ 21830 w 32226"/>
                          <a:gd name="connsiteY50" fmla="*/ 1256 h 36162"/>
                          <a:gd name="connsiteX51" fmla="*/ 22846 w 32226"/>
                          <a:gd name="connsiteY51" fmla="*/ 1435 h 36162"/>
                          <a:gd name="connsiteX52" fmla="*/ 23803 w 32226"/>
                          <a:gd name="connsiteY52" fmla="*/ 1734 h 36162"/>
                          <a:gd name="connsiteX53" fmla="*/ 23983 w 32226"/>
                          <a:gd name="connsiteY53" fmla="*/ 1794 h 36162"/>
                          <a:gd name="connsiteX54" fmla="*/ 24162 w 32226"/>
                          <a:gd name="connsiteY54" fmla="*/ 1854 h 36162"/>
                          <a:gd name="connsiteX55" fmla="*/ 24342 w 32226"/>
                          <a:gd name="connsiteY55" fmla="*/ 1914 h 36162"/>
                          <a:gd name="connsiteX56" fmla="*/ 24521 w 32226"/>
                          <a:gd name="connsiteY56" fmla="*/ 1973 h 36162"/>
                          <a:gd name="connsiteX57" fmla="*/ 25298 w 32226"/>
                          <a:gd name="connsiteY57" fmla="*/ 2332 h 36162"/>
                          <a:gd name="connsiteX58" fmla="*/ 26016 w 32226"/>
                          <a:gd name="connsiteY58" fmla="*/ 2751 h 36162"/>
                          <a:gd name="connsiteX59" fmla="*/ 26734 w 32226"/>
                          <a:gd name="connsiteY59" fmla="*/ 3229 h 36162"/>
                          <a:gd name="connsiteX60" fmla="*/ 27392 w 32226"/>
                          <a:gd name="connsiteY60" fmla="*/ 3768 h 36162"/>
                          <a:gd name="connsiteX61" fmla="*/ 27392 w 32226"/>
                          <a:gd name="connsiteY61" fmla="*/ 3768 h 36162"/>
                          <a:gd name="connsiteX62" fmla="*/ 27392 w 32226"/>
                          <a:gd name="connsiteY62" fmla="*/ 3768 h 36162"/>
                          <a:gd name="connsiteX63" fmla="*/ 27392 w 32226"/>
                          <a:gd name="connsiteY63" fmla="*/ 3768 h 36162"/>
                          <a:gd name="connsiteX64" fmla="*/ 27392 w 32226"/>
                          <a:gd name="connsiteY64" fmla="*/ 3768 h 36162"/>
                          <a:gd name="connsiteX65" fmla="*/ 27512 w 32226"/>
                          <a:gd name="connsiteY65" fmla="*/ 3887 h 36162"/>
                          <a:gd name="connsiteX66" fmla="*/ 27631 w 32226"/>
                          <a:gd name="connsiteY66" fmla="*/ 4007 h 36162"/>
                          <a:gd name="connsiteX67" fmla="*/ 27751 w 32226"/>
                          <a:gd name="connsiteY67" fmla="*/ 4127 h 36162"/>
                          <a:gd name="connsiteX68" fmla="*/ 27870 w 32226"/>
                          <a:gd name="connsiteY68" fmla="*/ 4246 h 36162"/>
                          <a:gd name="connsiteX69" fmla="*/ 28648 w 32226"/>
                          <a:gd name="connsiteY69" fmla="*/ 5143 h 36162"/>
                          <a:gd name="connsiteX70" fmla="*/ 29306 w 32226"/>
                          <a:gd name="connsiteY70" fmla="*/ 6160 h 36162"/>
                          <a:gd name="connsiteX71" fmla="*/ 29844 w 32226"/>
                          <a:gd name="connsiteY71" fmla="*/ 7236 h 36162"/>
                          <a:gd name="connsiteX72" fmla="*/ 30322 w 32226"/>
                          <a:gd name="connsiteY72" fmla="*/ 8433 h 36162"/>
                          <a:gd name="connsiteX73" fmla="*/ 30502 w 32226"/>
                          <a:gd name="connsiteY73" fmla="*/ 9031 h 36162"/>
                          <a:gd name="connsiteX74" fmla="*/ 30681 w 32226"/>
                          <a:gd name="connsiteY74" fmla="*/ 9629 h 36162"/>
                          <a:gd name="connsiteX75" fmla="*/ 30801 w 32226"/>
                          <a:gd name="connsiteY75" fmla="*/ 10227 h 36162"/>
                          <a:gd name="connsiteX76" fmla="*/ 30920 w 32226"/>
                          <a:gd name="connsiteY76" fmla="*/ 10885 h 36162"/>
                          <a:gd name="connsiteX77" fmla="*/ 30980 w 32226"/>
                          <a:gd name="connsiteY77" fmla="*/ 11184 h 36162"/>
                          <a:gd name="connsiteX78" fmla="*/ 31040 w 32226"/>
                          <a:gd name="connsiteY78" fmla="*/ 11483 h 36162"/>
                          <a:gd name="connsiteX79" fmla="*/ 31100 w 32226"/>
                          <a:gd name="connsiteY79" fmla="*/ 11782 h 36162"/>
                          <a:gd name="connsiteX80" fmla="*/ 31100 w 32226"/>
                          <a:gd name="connsiteY80" fmla="*/ 12081 h 36162"/>
                          <a:gd name="connsiteX81" fmla="*/ 31160 w 32226"/>
                          <a:gd name="connsiteY81" fmla="*/ 14294 h 36162"/>
                          <a:gd name="connsiteX82" fmla="*/ 30920 w 32226"/>
                          <a:gd name="connsiteY82" fmla="*/ 16566 h 36162"/>
                          <a:gd name="connsiteX83" fmla="*/ 30382 w 32226"/>
                          <a:gd name="connsiteY83" fmla="*/ 18839 h 36162"/>
                          <a:gd name="connsiteX84" fmla="*/ 29605 w 32226"/>
                          <a:gd name="connsiteY84" fmla="*/ 21112 h 36162"/>
                          <a:gd name="connsiteX85" fmla="*/ 28050 w 32226"/>
                          <a:gd name="connsiteY85" fmla="*/ 24282 h 36162"/>
                          <a:gd name="connsiteX86" fmla="*/ 26076 w 32226"/>
                          <a:gd name="connsiteY86" fmla="*/ 27152 h 36162"/>
                          <a:gd name="connsiteX87" fmla="*/ 23744 w 32226"/>
                          <a:gd name="connsiteY87" fmla="*/ 29664 h 36162"/>
                          <a:gd name="connsiteX88" fmla="*/ 21052 w 32226"/>
                          <a:gd name="connsiteY88" fmla="*/ 31758 h 36162"/>
                          <a:gd name="connsiteX89" fmla="*/ 18780 w 32226"/>
                          <a:gd name="connsiteY89" fmla="*/ 33013 h 36162"/>
                          <a:gd name="connsiteX90" fmla="*/ 16447 w 32226"/>
                          <a:gd name="connsiteY90" fmla="*/ 33911 h 36162"/>
                          <a:gd name="connsiteX91" fmla="*/ 14174 w 32226"/>
                          <a:gd name="connsiteY91" fmla="*/ 34389 h 36162"/>
                          <a:gd name="connsiteX92" fmla="*/ 11902 w 32226"/>
                          <a:gd name="connsiteY92" fmla="*/ 34509 h 36162"/>
                          <a:gd name="connsiteX93" fmla="*/ 11603 w 32226"/>
                          <a:gd name="connsiteY93" fmla="*/ 34509 h 36162"/>
                          <a:gd name="connsiteX94" fmla="*/ 11304 w 32226"/>
                          <a:gd name="connsiteY94" fmla="*/ 34509 h 36162"/>
                          <a:gd name="connsiteX95" fmla="*/ 11005 w 32226"/>
                          <a:gd name="connsiteY95" fmla="*/ 34449 h 36162"/>
                          <a:gd name="connsiteX96" fmla="*/ 10646 w 32226"/>
                          <a:gd name="connsiteY96" fmla="*/ 34748 h 36162"/>
                          <a:gd name="connsiteX97" fmla="*/ 4904 w 32226"/>
                          <a:gd name="connsiteY97" fmla="*/ 32236 h 36162"/>
                          <a:gd name="connsiteX98" fmla="*/ 5921 w 32226"/>
                          <a:gd name="connsiteY98" fmla="*/ 33073 h 36162"/>
                          <a:gd name="connsiteX99" fmla="*/ 7057 w 32226"/>
                          <a:gd name="connsiteY99" fmla="*/ 33731 h 36162"/>
                          <a:gd name="connsiteX100" fmla="*/ 8253 w 32226"/>
                          <a:gd name="connsiteY100" fmla="*/ 34269 h 36162"/>
                          <a:gd name="connsiteX101" fmla="*/ 9569 w 32226"/>
                          <a:gd name="connsiteY101" fmla="*/ 34688 h 36162"/>
                          <a:gd name="connsiteX102" fmla="*/ 12380 w 32226"/>
                          <a:gd name="connsiteY102" fmla="*/ 35047 h 36162"/>
                          <a:gd name="connsiteX103" fmla="*/ 15311 w 32226"/>
                          <a:gd name="connsiteY103" fmla="*/ 34748 h 36162"/>
                          <a:gd name="connsiteX104" fmla="*/ 18241 w 32226"/>
                          <a:gd name="connsiteY104" fmla="*/ 33791 h 36162"/>
                          <a:gd name="connsiteX105" fmla="*/ 21112 w 32226"/>
                          <a:gd name="connsiteY105" fmla="*/ 32236 h 36162"/>
                          <a:gd name="connsiteX106" fmla="*/ 26255 w 32226"/>
                          <a:gd name="connsiteY106" fmla="*/ 27511 h 36162"/>
                          <a:gd name="connsiteX107" fmla="*/ 29724 w 32226"/>
                          <a:gd name="connsiteY107" fmla="*/ 21530 h 36162"/>
                          <a:gd name="connsiteX108" fmla="*/ 31220 w 32226"/>
                          <a:gd name="connsiteY108" fmla="*/ 15011 h 36162"/>
                          <a:gd name="connsiteX109" fmla="*/ 30442 w 32226"/>
                          <a:gd name="connsiteY109" fmla="*/ 8732 h 36162"/>
                          <a:gd name="connsiteX110" fmla="*/ 29844 w 32226"/>
                          <a:gd name="connsiteY110" fmla="*/ 7296 h 36162"/>
                          <a:gd name="connsiteX111" fmla="*/ 29126 w 32226"/>
                          <a:gd name="connsiteY111" fmla="*/ 5981 h 36162"/>
                          <a:gd name="connsiteX112" fmla="*/ 28289 w 32226"/>
                          <a:gd name="connsiteY112" fmla="*/ 4844 h 36162"/>
                          <a:gd name="connsiteX113" fmla="*/ 27332 w 32226"/>
                          <a:gd name="connsiteY113" fmla="*/ 3827 h 36162"/>
                          <a:gd name="connsiteX114" fmla="*/ 23983 w 32226"/>
                          <a:gd name="connsiteY114" fmla="*/ 1734 h 36162"/>
                          <a:gd name="connsiteX115" fmla="*/ 19976 w 32226"/>
                          <a:gd name="connsiteY115" fmla="*/ 957 h 36162"/>
                          <a:gd name="connsiteX116" fmla="*/ 15610 w 32226"/>
                          <a:gd name="connsiteY116" fmla="*/ 1615 h 36162"/>
                          <a:gd name="connsiteX117" fmla="*/ 11124 w 32226"/>
                          <a:gd name="connsiteY117" fmla="*/ 3708 h 36162"/>
                          <a:gd name="connsiteX118" fmla="*/ 5921 w 32226"/>
                          <a:gd name="connsiteY118" fmla="*/ 8493 h 36162"/>
                          <a:gd name="connsiteX119" fmla="*/ 2392 w 32226"/>
                          <a:gd name="connsiteY119" fmla="*/ 14593 h 36162"/>
                          <a:gd name="connsiteX120" fmla="*/ 897 w 32226"/>
                          <a:gd name="connsiteY120" fmla="*/ 21172 h 36162"/>
                          <a:gd name="connsiteX121" fmla="*/ 1735 w 32226"/>
                          <a:gd name="connsiteY121" fmla="*/ 27451 h 36162"/>
                          <a:gd name="connsiteX122" fmla="*/ 2333 w 32226"/>
                          <a:gd name="connsiteY122" fmla="*/ 28827 h 36162"/>
                          <a:gd name="connsiteX123" fmla="*/ 3050 w 32226"/>
                          <a:gd name="connsiteY123" fmla="*/ 30083 h 36162"/>
                          <a:gd name="connsiteX124" fmla="*/ 3888 w 32226"/>
                          <a:gd name="connsiteY124" fmla="*/ 31219 h 36162"/>
                          <a:gd name="connsiteX125" fmla="*/ 4904 w 32226"/>
                          <a:gd name="connsiteY125" fmla="*/ 32236 h 36162"/>
                          <a:gd name="connsiteX126" fmla="*/ 27990 w 32226"/>
                          <a:gd name="connsiteY126" fmla="*/ 3050 h 36162"/>
                          <a:gd name="connsiteX127" fmla="*/ 29007 w 32226"/>
                          <a:gd name="connsiteY127" fmla="*/ 4127 h 36162"/>
                          <a:gd name="connsiteX128" fmla="*/ 29904 w 32226"/>
                          <a:gd name="connsiteY128" fmla="*/ 5323 h 36162"/>
                          <a:gd name="connsiteX129" fmla="*/ 30681 w 32226"/>
                          <a:gd name="connsiteY129" fmla="*/ 6698 h 36162"/>
                          <a:gd name="connsiteX130" fmla="*/ 31279 w 32226"/>
                          <a:gd name="connsiteY130" fmla="*/ 8194 h 36162"/>
                          <a:gd name="connsiteX131" fmla="*/ 32116 w 32226"/>
                          <a:gd name="connsiteY131" fmla="*/ 14832 h 36162"/>
                          <a:gd name="connsiteX132" fmla="*/ 30502 w 32226"/>
                          <a:gd name="connsiteY132" fmla="*/ 21710 h 36162"/>
                          <a:gd name="connsiteX133" fmla="*/ 26853 w 32226"/>
                          <a:gd name="connsiteY133" fmla="*/ 28050 h 36162"/>
                          <a:gd name="connsiteX134" fmla="*/ 21411 w 32226"/>
                          <a:gd name="connsiteY134" fmla="*/ 33073 h 36162"/>
                          <a:gd name="connsiteX135" fmla="*/ 18361 w 32226"/>
                          <a:gd name="connsiteY135" fmla="*/ 34748 h 36162"/>
                          <a:gd name="connsiteX136" fmla="*/ 15251 w 32226"/>
                          <a:gd name="connsiteY136" fmla="*/ 35765 h 36162"/>
                          <a:gd name="connsiteX137" fmla="*/ 12201 w 32226"/>
                          <a:gd name="connsiteY137" fmla="*/ 36123 h 36162"/>
                          <a:gd name="connsiteX138" fmla="*/ 9211 w 32226"/>
                          <a:gd name="connsiteY138" fmla="*/ 35765 h 36162"/>
                          <a:gd name="connsiteX139" fmla="*/ 7835 w 32226"/>
                          <a:gd name="connsiteY139" fmla="*/ 35346 h 36162"/>
                          <a:gd name="connsiteX140" fmla="*/ 6579 w 32226"/>
                          <a:gd name="connsiteY140" fmla="*/ 34748 h 36162"/>
                          <a:gd name="connsiteX141" fmla="*/ 5383 w 32226"/>
                          <a:gd name="connsiteY141" fmla="*/ 34030 h 36162"/>
                          <a:gd name="connsiteX142" fmla="*/ 4306 w 32226"/>
                          <a:gd name="connsiteY142" fmla="*/ 33193 h 36162"/>
                          <a:gd name="connsiteX143" fmla="*/ 3289 w 32226"/>
                          <a:gd name="connsiteY143" fmla="*/ 32116 h 36162"/>
                          <a:gd name="connsiteX144" fmla="*/ 2392 w 32226"/>
                          <a:gd name="connsiteY144" fmla="*/ 30920 h 36162"/>
                          <a:gd name="connsiteX145" fmla="*/ 1615 w 32226"/>
                          <a:gd name="connsiteY145" fmla="*/ 29545 h 36162"/>
                          <a:gd name="connsiteX146" fmla="*/ 957 w 32226"/>
                          <a:gd name="connsiteY146" fmla="*/ 28050 h 36162"/>
                          <a:gd name="connsiteX147" fmla="*/ 60 w 32226"/>
                          <a:gd name="connsiteY147" fmla="*/ 21411 h 36162"/>
                          <a:gd name="connsiteX148" fmla="*/ 1615 w 32226"/>
                          <a:gd name="connsiteY148" fmla="*/ 14473 h 36162"/>
                          <a:gd name="connsiteX149" fmla="*/ 5323 w 32226"/>
                          <a:gd name="connsiteY149" fmla="*/ 8074 h 36162"/>
                          <a:gd name="connsiteX150" fmla="*/ 10885 w 32226"/>
                          <a:gd name="connsiteY150" fmla="*/ 2990 h 36162"/>
                          <a:gd name="connsiteX151" fmla="*/ 15669 w 32226"/>
                          <a:gd name="connsiteY151" fmla="*/ 718 h 36162"/>
                          <a:gd name="connsiteX152" fmla="*/ 20335 w 32226"/>
                          <a:gd name="connsiteY152" fmla="*/ 60 h 36162"/>
                          <a:gd name="connsiteX153" fmla="*/ 24581 w 32226"/>
                          <a:gd name="connsiteY153" fmla="*/ 897 h 36162"/>
                          <a:gd name="connsiteX154" fmla="*/ 27990 w 32226"/>
                          <a:gd name="connsiteY154" fmla="*/ 3050 h 36162"/>
                          <a:gd name="connsiteX155" fmla="*/ 4127 w 32226"/>
                          <a:gd name="connsiteY155" fmla="*/ 33193 h 36162"/>
                          <a:gd name="connsiteX156" fmla="*/ 5263 w 32226"/>
                          <a:gd name="connsiteY156" fmla="*/ 34090 h 36162"/>
                          <a:gd name="connsiteX157" fmla="*/ 6519 w 32226"/>
                          <a:gd name="connsiteY157" fmla="*/ 34808 h 36162"/>
                          <a:gd name="connsiteX158" fmla="*/ 7835 w 32226"/>
                          <a:gd name="connsiteY158" fmla="*/ 35406 h 36162"/>
                          <a:gd name="connsiteX159" fmla="*/ 9211 w 32226"/>
                          <a:gd name="connsiteY159" fmla="*/ 35824 h 36162"/>
                          <a:gd name="connsiteX160" fmla="*/ 9510 w 32226"/>
                          <a:gd name="connsiteY160" fmla="*/ 35884 h 36162"/>
                          <a:gd name="connsiteX161" fmla="*/ 9808 w 32226"/>
                          <a:gd name="connsiteY161" fmla="*/ 35944 h 36162"/>
                          <a:gd name="connsiteX162" fmla="*/ 10107 w 32226"/>
                          <a:gd name="connsiteY162" fmla="*/ 36004 h 36162"/>
                          <a:gd name="connsiteX163" fmla="*/ 10406 w 32226"/>
                          <a:gd name="connsiteY163" fmla="*/ 36064 h 36162"/>
                          <a:gd name="connsiteX164" fmla="*/ 13098 w 32226"/>
                          <a:gd name="connsiteY164" fmla="*/ 36123 h 36162"/>
                          <a:gd name="connsiteX165" fmla="*/ 15849 w 32226"/>
                          <a:gd name="connsiteY165" fmla="*/ 35645 h 36162"/>
                          <a:gd name="connsiteX166" fmla="*/ 18660 w 32226"/>
                          <a:gd name="connsiteY166" fmla="*/ 34688 h 36162"/>
                          <a:gd name="connsiteX167" fmla="*/ 21411 w 32226"/>
                          <a:gd name="connsiteY167" fmla="*/ 33193 h 36162"/>
                          <a:gd name="connsiteX168" fmla="*/ 26315 w 32226"/>
                          <a:gd name="connsiteY168" fmla="*/ 28827 h 36162"/>
                          <a:gd name="connsiteX169" fmla="*/ 29904 w 32226"/>
                          <a:gd name="connsiteY169" fmla="*/ 23325 h 36162"/>
                          <a:gd name="connsiteX170" fmla="*/ 31877 w 32226"/>
                          <a:gd name="connsiteY170" fmla="*/ 17284 h 36162"/>
                          <a:gd name="connsiteX171" fmla="*/ 32057 w 32226"/>
                          <a:gd name="connsiteY171" fmla="*/ 11184 h 36162"/>
                          <a:gd name="connsiteX172" fmla="*/ 31997 w 32226"/>
                          <a:gd name="connsiteY172" fmla="*/ 10885 h 36162"/>
                          <a:gd name="connsiteX173" fmla="*/ 31937 w 32226"/>
                          <a:gd name="connsiteY173" fmla="*/ 10586 h 36162"/>
                          <a:gd name="connsiteX174" fmla="*/ 31877 w 32226"/>
                          <a:gd name="connsiteY174" fmla="*/ 10287 h 36162"/>
                          <a:gd name="connsiteX175" fmla="*/ 31817 w 32226"/>
                          <a:gd name="connsiteY175" fmla="*/ 9988 h 36162"/>
                          <a:gd name="connsiteX176" fmla="*/ 31698 w 32226"/>
                          <a:gd name="connsiteY176" fmla="*/ 9509 h 36162"/>
                          <a:gd name="connsiteX177" fmla="*/ 31578 w 32226"/>
                          <a:gd name="connsiteY177" fmla="*/ 9031 h 36162"/>
                          <a:gd name="connsiteX178" fmla="*/ 31459 w 32226"/>
                          <a:gd name="connsiteY178" fmla="*/ 8552 h 36162"/>
                          <a:gd name="connsiteX179" fmla="*/ 31279 w 32226"/>
                          <a:gd name="connsiteY179" fmla="*/ 8074 h 36162"/>
                          <a:gd name="connsiteX180" fmla="*/ 30801 w 32226"/>
                          <a:gd name="connsiteY180" fmla="*/ 6818 h 36162"/>
                          <a:gd name="connsiteX181" fmla="*/ 30203 w 32226"/>
                          <a:gd name="connsiteY181" fmla="*/ 5622 h 36162"/>
                          <a:gd name="connsiteX182" fmla="*/ 29485 w 32226"/>
                          <a:gd name="connsiteY182" fmla="*/ 4545 h 36162"/>
                          <a:gd name="connsiteX183" fmla="*/ 28648 w 32226"/>
                          <a:gd name="connsiteY183" fmla="*/ 3528 h 36162"/>
                          <a:gd name="connsiteX184" fmla="*/ 28528 w 32226"/>
                          <a:gd name="connsiteY184" fmla="*/ 3409 h 36162"/>
                          <a:gd name="connsiteX185" fmla="*/ 28408 w 32226"/>
                          <a:gd name="connsiteY185" fmla="*/ 3289 h 36162"/>
                          <a:gd name="connsiteX186" fmla="*/ 28289 w 32226"/>
                          <a:gd name="connsiteY186" fmla="*/ 3170 h 36162"/>
                          <a:gd name="connsiteX187" fmla="*/ 28169 w 32226"/>
                          <a:gd name="connsiteY187" fmla="*/ 3050 h 36162"/>
                          <a:gd name="connsiteX188" fmla="*/ 28169 w 32226"/>
                          <a:gd name="connsiteY188" fmla="*/ 3050 h 36162"/>
                          <a:gd name="connsiteX189" fmla="*/ 28169 w 32226"/>
                          <a:gd name="connsiteY189" fmla="*/ 3050 h 36162"/>
                          <a:gd name="connsiteX190" fmla="*/ 28169 w 32226"/>
                          <a:gd name="connsiteY190" fmla="*/ 3050 h 36162"/>
                          <a:gd name="connsiteX191" fmla="*/ 28169 w 32226"/>
                          <a:gd name="connsiteY191" fmla="*/ 3050 h 36162"/>
                          <a:gd name="connsiteX192" fmla="*/ 27512 w 32226"/>
                          <a:gd name="connsiteY192" fmla="*/ 2512 h 36162"/>
                          <a:gd name="connsiteX193" fmla="*/ 26794 w 32226"/>
                          <a:gd name="connsiteY193" fmla="*/ 1973 h 36162"/>
                          <a:gd name="connsiteX194" fmla="*/ 26076 w 32226"/>
                          <a:gd name="connsiteY194" fmla="*/ 1495 h 36162"/>
                          <a:gd name="connsiteX195" fmla="*/ 25298 w 32226"/>
                          <a:gd name="connsiteY195" fmla="*/ 1076 h 36162"/>
                          <a:gd name="connsiteX196" fmla="*/ 25119 w 32226"/>
                          <a:gd name="connsiteY196" fmla="*/ 957 h 36162"/>
                          <a:gd name="connsiteX197" fmla="*/ 24940 w 32226"/>
                          <a:gd name="connsiteY197" fmla="*/ 897 h 36162"/>
                          <a:gd name="connsiteX198" fmla="*/ 24760 w 32226"/>
                          <a:gd name="connsiteY198" fmla="*/ 837 h 36162"/>
                          <a:gd name="connsiteX199" fmla="*/ 24581 w 32226"/>
                          <a:gd name="connsiteY199" fmla="*/ 778 h 36162"/>
                          <a:gd name="connsiteX200" fmla="*/ 23624 w 32226"/>
                          <a:gd name="connsiteY200" fmla="*/ 478 h 36162"/>
                          <a:gd name="connsiteX201" fmla="*/ 22667 w 32226"/>
                          <a:gd name="connsiteY201" fmla="*/ 239 h 36162"/>
                          <a:gd name="connsiteX202" fmla="*/ 21710 w 32226"/>
                          <a:gd name="connsiteY202" fmla="*/ 60 h 36162"/>
                          <a:gd name="connsiteX203" fmla="*/ 20693 w 32226"/>
                          <a:gd name="connsiteY203" fmla="*/ 0 h 36162"/>
                          <a:gd name="connsiteX204" fmla="*/ 20454 w 32226"/>
                          <a:gd name="connsiteY204" fmla="*/ 0 h 36162"/>
                          <a:gd name="connsiteX205" fmla="*/ 20215 w 32226"/>
                          <a:gd name="connsiteY205" fmla="*/ 0 h 36162"/>
                          <a:gd name="connsiteX206" fmla="*/ 19976 w 32226"/>
                          <a:gd name="connsiteY206" fmla="*/ 0 h 36162"/>
                          <a:gd name="connsiteX207" fmla="*/ 19736 w 32226"/>
                          <a:gd name="connsiteY207" fmla="*/ 0 h 36162"/>
                          <a:gd name="connsiteX208" fmla="*/ 17583 w 32226"/>
                          <a:gd name="connsiteY208" fmla="*/ 239 h 36162"/>
                          <a:gd name="connsiteX209" fmla="*/ 15371 w 32226"/>
                          <a:gd name="connsiteY209" fmla="*/ 837 h 36162"/>
                          <a:gd name="connsiteX210" fmla="*/ 13158 w 32226"/>
                          <a:gd name="connsiteY210" fmla="*/ 1734 h 36162"/>
                          <a:gd name="connsiteX211" fmla="*/ 10945 w 32226"/>
                          <a:gd name="connsiteY211" fmla="*/ 2990 h 36162"/>
                          <a:gd name="connsiteX212" fmla="*/ 8014 w 32226"/>
                          <a:gd name="connsiteY212" fmla="*/ 5263 h 36162"/>
                          <a:gd name="connsiteX213" fmla="*/ 5443 w 32226"/>
                          <a:gd name="connsiteY213" fmla="*/ 8014 h 36162"/>
                          <a:gd name="connsiteX214" fmla="*/ 3289 w 32226"/>
                          <a:gd name="connsiteY214" fmla="*/ 11124 h 36162"/>
                          <a:gd name="connsiteX215" fmla="*/ 1615 w 32226"/>
                          <a:gd name="connsiteY215" fmla="*/ 14593 h 36162"/>
                          <a:gd name="connsiteX216" fmla="*/ 1435 w 32226"/>
                          <a:gd name="connsiteY216" fmla="*/ 15131 h 36162"/>
                          <a:gd name="connsiteX217" fmla="*/ 1256 w 32226"/>
                          <a:gd name="connsiteY217" fmla="*/ 15669 h 36162"/>
                          <a:gd name="connsiteX218" fmla="*/ 1076 w 32226"/>
                          <a:gd name="connsiteY218" fmla="*/ 16208 h 36162"/>
                          <a:gd name="connsiteX219" fmla="*/ 897 w 32226"/>
                          <a:gd name="connsiteY219" fmla="*/ 16746 h 36162"/>
                          <a:gd name="connsiteX220" fmla="*/ 778 w 32226"/>
                          <a:gd name="connsiteY220" fmla="*/ 17105 h 36162"/>
                          <a:gd name="connsiteX221" fmla="*/ 658 w 32226"/>
                          <a:gd name="connsiteY221" fmla="*/ 17464 h 36162"/>
                          <a:gd name="connsiteX222" fmla="*/ 598 w 32226"/>
                          <a:gd name="connsiteY222" fmla="*/ 17822 h 36162"/>
                          <a:gd name="connsiteX223" fmla="*/ 538 w 32226"/>
                          <a:gd name="connsiteY223" fmla="*/ 18181 h 36162"/>
                          <a:gd name="connsiteX224" fmla="*/ 239 w 32226"/>
                          <a:gd name="connsiteY224" fmla="*/ 19796 h 36162"/>
                          <a:gd name="connsiteX225" fmla="*/ 60 w 32226"/>
                          <a:gd name="connsiteY225" fmla="*/ 21411 h 36162"/>
                          <a:gd name="connsiteX226" fmla="*/ 0 w 32226"/>
                          <a:gd name="connsiteY226" fmla="*/ 23026 h 36162"/>
                          <a:gd name="connsiteX227" fmla="*/ 60 w 32226"/>
                          <a:gd name="connsiteY227" fmla="*/ 24581 h 36162"/>
                          <a:gd name="connsiteX228" fmla="*/ 60 w 32226"/>
                          <a:gd name="connsiteY228" fmla="*/ 24820 h 36162"/>
                          <a:gd name="connsiteX229" fmla="*/ 60 w 32226"/>
                          <a:gd name="connsiteY229" fmla="*/ 25059 h 36162"/>
                          <a:gd name="connsiteX230" fmla="*/ 120 w 32226"/>
                          <a:gd name="connsiteY230" fmla="*/ 25298 h 36162"/>
                          <a:gd name="connsiteX231" fmla="*/ 180 w 32226"/>
                          <a:gd name="connsiteY231" fmla="*/ 25537 h 36162"/>
                          <a:gd name="connsiteX232" fmla="*/ 299 w 32226"/>
                          <a:gd name="connsiteY232" fmla="*/ 26315 h 36162"/>
                          <a:gd name="connsiteX233" fmla="*/ 479 w 32226"/>
                          <a:gd name="connsiteY233" fmla="*/ 27033 h 36162"/>
                          <a:gd name="connsiteX234" fmla="*/ 658 w 32226"/>
                          <a:gd name="connsiteY234" fmla="*/ 27750 h 36162"/>
                          <a:gd name="connsiteX235" fmla="*/ 897 w 32226"/>
                          <a:gd name="connsiteY235" fmla="*/ 28468 h 36162"/>
                          <a:gd name="connsiteX236" fmla="*/ 1256 w 32226"/>
                          <a:gd name="connsiteY236" fmla="*/ 29365 h 36162"/>
                          <a:gd name="connsiteX237" fmla="*/ 1675 w 32226"/>
                          <a:gd name="connsiteY237" fmla="*/ 30203 h 36162"/>
                          <a:gd name="connsiteX238" fmla="*/ 2093 w 32226"/>
                          <a:gd name="connsiteY238" fmla="*/ 30980 h 36162"/>
                          <a:gd name="connsiteX239" fmla="*/ 2572 w 32226"/>
                          <a:gd name="connsiteY239" fmla="*/ 31698 h 36162"/>
                          <a:gd name="connsiteX240" fmla="*/ 2691 w 32226"/>
                          <a:gd name="connsiteY240" fmla="*/ 31877 h 36162"/>
                          <a:gd name="connsiteX241" fmla="*/ 2811 w 32226"/>
                          <a:gd name="connsiteY241" fmla="*/ 32057 h 36162"/>
                          <a:gd name="connsiteX242" fmla="*/ 2930 w 32226"/>
                          <a:gd name="connsiteY242" fmla="*/ 32236 h 36162"/>
                          <a:gd name="connsiteX243" fmla="*/ 3050 w 32226"/>
                          <a:gd name="connsiteY243" fmla="*/ 32415 h 36162"/>
                          <a:gd name="connsiteX244" fmla="*/ 3349 w 32226"/>
                          <a:gd name="connsiteY244" fmla="*/ 32774 h 36162"/>
                          <a:gd name="connsiteX245" fmla="*/ 3648 w 32226"/>
                          <a:gd name="connsiteY245" fmla="*/ 33073 h 36162"/>
                          <a:gd name="connsiteX246" fmla="*/ 3947 w 32226"/>
                          <a:gd name="connsiteY246" fmla="*/ 33372 h 36162"/>
                          <a:gd name="connsiteX247" fmla="*/ 4127 w 32226"/>
                          <a:gd name="connsiteY247" fmla="*/ 33193 h 3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32226" h="36162">
                            <a:moveTo>
                              <a:pt x="10646" y="34748"/>
                            </a:moveTo>
                            <a:cubicBezTo>
                              <a:pt x="10107" y="34688"/>
                              <a:pt x="9569" y="34568"/>
                              <a:pt x="9091" y="34389"/>
                            </a:cubicBezTo>
                            <a:cubicBezTo>
                              <a:pt x="8612" y="34269"/>
                              <a:pt x="8074" y="34030"/>
                              <a:pt x="7596" y="33851"/>
                            </a:cubicBezTo>
                            <a:cubicBezTo>
                              <a:pt x="7117" y="33612"/>
                              <a:pt x="6639" y="33372"/>
                              <a:pt x="6220" y="33073"/>
                            </a:cubicBezTo>
                            <a:cubicBezTo>
                              <a:pt x="5801" y="32774"/>
                              <a:pt x="5323" y="32475"/>
                              <a:pt x="4964" y="32116"/>
                            </a:cubicBezTo>
                            <a:cubicBezTo>
                              <a:pt x="4904" y="32057"/>
                              <a:pt x="4785" y="31937"/>
                              <a:pt x="4725" y="31877"/>
                            </a:cubicBezTo>
                            <a:cubicBezTo>
                              <a:pt x="4665" y="31817"/>
                              <a:pt x="4545" y="31698"/>
                              <a:pt x="4486" y="31638"/>
                            </a:cubicBezTo>
                            <a:cubicBezTo>
                              <a:pt x="4426" y="31578"/>
                              <a:pt x="4306" y="31458"/>
                              <a:pt x="4246" y="31399"/>
                            </a:cubicBezTo>
                            <a:cubicBezTo>
                              <a:pt x="4187" y="31339"/>
                              <a:pt x="4067" y="31219"/>
                              <a:pt x="4007" y="31159"/>
                            </a:cubicBezTo>
                            <a:cubicBezTo>
                              <a:pt x="3947" y="31099"/>
                              <a:pt x="3888" y="31040"/>
                              <a:pt x="3888" y="30980"/>
                            </a:cubicBezTo>
                            <a:cubicBezTo>
                              <a:pt x="3888" y="30920"/>
                              <a:pt x="3768" y="30860"/>
                              <a:pt x="3768" y="30800"/>
                            </a:cubicBezTo>
                            <a:cubicBezTo>
                              <a:pt x="3768" y="30741"/>
                              <a:pt x="3708" y="30681"/>
                              <a:pt x="3648" y="30621"/>
                            </a:cubicBezTo>
                            <a:cubicBezTo>
                              <a:pt x="3589" y="30561"/>
                              <a:pt x="3589" y="30502"/>
                              <a:pt x="3529" y="30442"/>
                            </a:cubicBezTo>
                            <a:cubicBezTo>
                              <a:pt x="3349" y="30203"/>
                              <a:pt x="3170" y="29963"/>
                              <a:pt x="3050" y="29724"/>
                            </a:cubicBezTo>
                            <a:cubicBezTo>
                              <a:pt x="2930" y="29485"/>
                              <a:pt x="2751" y="29245"/>
                              <a:pt x="2632" y="28946"/>
                            </a:cubicBezTo>
                            <a:cubicBezTo>
                              <a:pt x="2512" y="28707"/>
                              <a:pt x="2392" y="28408"/>
                              <a:pt x="2273" y="28169"/>
                            </a:cubicBezTo>
                            <a:cubicBezTo>
                              <a:pt x="2153" y="27870"/>
                              <a:pt x="2034" y="27631"/>
                              <a:pt x="1914" y="27332"/>
                            </a:cubicBezTo>
                            <a:cubicBezTo>
                              <a:pt x="1854" y="27092"/>
                              <a:pt x="1735" y="26853"/>
                              <a:pt x="1675" y="26614"/>
                            </a:cubicBezTo>
                            <a:cubicBezTo>
                              <a:pt x="1615" y="26375"/>
                              <a:pt x="1555" y="26136"/>
                              <a:pt x="1495" y="25837"/>
                            </a:cubicBezTo>
                            <a:cubicBezTo>
                              <a:pt x="1435" y="25597"/>
                              <a:pt x="1375" y="25298"/>
                              <a:pt x="1316" y="25059"/>
                            </a:cubicBezTo>
                            <a:cubicBezTo>
                              <a:pt x="1256" y="24820"/>
                              <a:pt x="1256" y="24521"/>
                              <a:pt x="1196" y="24282"/>
                            </a:cubicBezTo>
                            <a:cubicBezTo>
                              <a:pt x="1196" y="24222"/>
                              <a:pt x="1196" y="24102"/>
                              <a:pt x="1136" y="24042"/>
                            </a:cubicBezTo>
                            <a:cubicBezTo>
                              <a:pt x="1076" y="23982"/>
                              <a:pt x="1136" y="23863"/>
                              <a:pt x="1136" y="23803"/>
                            </a:cubicBezTo>
                            <a:cubicBezTo>
                              <a:pt x="1136" y="23743"/>
                              <a:pt x="1136" y="23624"/>
                              <a:pt x="1136" y="23564"/>
                            </a:cubicBezTo>
                            <a:cubicBezTo>
                              <a:pt x="1136" y="23504"/>
                              <a:pt x="1136" y="23384"/>
                              <a:pt x="1136" y="23325"/>
                            </a:cubicBezTo>
                            <a:cubicBezTo>
                              <a:pt x="1076" y="22787"/>
                              <a:pt x="1076" y="22248"/>
                              <a:pt x="1076" y="21710"/>
                            </a:cubicBezTo>
                            <a:cubicBezTo>
                              <a:pt x="1076" y="21172"/>
                              <a:pt x="1136" y="20633"/>
                              <a:pt x="1196" y="20035"/>
                            </a:cubicBezTo>
                            <a:cubicBezTo>
                              <a:pt x="1256" y="19497"/>
                              <a:pt x="1316" y="18899"/>
                              <a:pt x="1435" y="18361"/>
                            </a:cubicBezTo>
                            <a:cubicBezTo>
                              <a:pt x="1555" y="17822"/>
                              <a:pt x="1675" y="17225"/>
                              <a:pt x="1854" y="16686"/>
                            </a:cubicBezTo>
                            <a:cubicBezTo>
                              <a:pt x="1914" y="16566"/>
                              <a:pt x="1914" y="16447"/>
                              <a:pt x="1974" y="16327"/>
                            </a:cubicBezTo>
                            <a:cubicBezTo>
                              <a:pt x="2034" y="16208"/>
                              <a:pt x="2034" y="16088"/>
                              <a:pt x="2093" y="15968"/>
                            </a:cubicBezTo>
                            <a:cubicBezTo>
                              <a:pt x="2153" y="15849"/>
                              <a:pt x="2153" y="15729"/>
                              <a:pt x="2213" y="15610"/>
                            </a:cubicBezTo>
                            <a:cubicBezTo>
                              <a:pt x="2273" y="15490"/>
                              <a:pt x="2273" y="15370"/>
                              <a:pt x="2333" y="15251"/>
                            </a:cubicBezTo>
                            <a:cubicBezTo>
                              <a:pt x="2333" y="15191"/>
                              <a:pt x="2392" y="15131"/>
                              <a:pt x="2392" y="15071"/>
                            </a:cubicBezTo>
                            <a:cubicBezTo>
                              <a:pt x="2392" y="15011"/>
                              <a:pt x="2452" y="14952"/>
                              <a:pt x="2452" y="14892"/>
                            </a:cubicBezTo>
                            <a:cubicBezTo>
                              <a:pt x="2452" y="14832"/>
                              <a:pt x="2512" y="14772"/>
                              <a:pt x="2512" y="14712"/>
                            </a:cubicBezTo>
                            <a:cubicBezTo>
                              <a:pt x="2512" y="14652"/>
                              <a:pt x="2572" y="14593"/>
                              <a:pt x="2572" y="14533"/>
                            </a:cubicBezTo>
                            <a:cubicBezTo>
                              <a:pt x="2990" y="13397"/>
                              <a:pt x="3529" y="12380"/>
                              <a:pt x="4127" y="11303"/>
                            </a:cubicBezTo>
                            <a:cubicBezTo>
                              <a:pt x="4725" y="10287"/>
                              <a:pt x="5383" y="9330"/>
                              <a:pt x="6100" y="8373"/>
                            </a:cubicBezTo>
                            <a:cubicBezTo>
                              <a:pt x="6818" y="7476"/>
                              <a:pt x="7656" y="6579"/>
                              <a:pt x="8493" y="5801"/>
                            </a:cubicBezTo>
                            <a:cubicBezTo>
                              <a:pt x="9330" y="5024"/>
                              <a:pt x="10227" y="4306"/>
                              <a:pt x="11184" y="3708"/>
                            </a:cubicBezTo>
                            <a:cubicBezTo>
                              <a:pt x="11782" y="3289"/>
                              <a:pt x="12380" y="2990"/>
                              <a:pt x="13038" y="2691"/>
                            </a:cubicBezTo>
                            <a:cubicBezTo>
                              <a:pt x="13636" y="2392"/>
                              <a:pt x="14294" y="2093"/>
                              <a:pt x="14892" y="1914"/>
                            </a:cubicBezTo>
                            <a:cubicBezTo>
                              <a:pt x="15490" y="1734"/>
                              <a:pt x="16148" y="1495"/>
                              <a:pt x="16746" y="1375"/>
                            </a:cubicBezTo>
                            <a:cubicBezTo>
                              <a:pt x="17344" y="1256"/>
                              <a:pt x="17942" y="1136"/>
                              <a:pt x="18600" y="1076"/>
                            </a:cubicBezTo>
                            <a:cubicBezTo>
                              <a:pt x="18720" y="1076"/>
                              <a:pt x="18780" y="1076"/>
                              <a:pt x="18899" y="1076"/>
                            </a:cubicBezTo>
                            <a:cubicBezTo>
                              <a:pt x="19019" y="1076"/>
                              <a:pt x="19079" y="1076"/>
                              <a:pt x="19198" y="1076"/>
                            </a:cubicBezTo>
                            <a:cubicBezTo>
                              <a:pt x="19318" y="1076"/>
                              <a:pt x="19377" y="1076"/>
                              <a:pt x="19497" y="1076"/>
                            </a:cubicBezTo>
                            <a:cubicBezTo>
                              <a:pt x="19617" y="1076"/>
                              <a:pt x="19677" y="1076"/>
                              <a:pt x="19796" y="1076"/>
                            </a:cubicBezTo>
                            <a:cubicBezTo>
                              <a:pt x="20155" y="1076"/>
                              <a:pt x="20514" y="1076"/>
                              <a:pt x="20813" y="1136"/>
                            </a:cubicBezTo>
                            <a:cubicBezTo>
                              <a:pt x="21172" y="1136"/>
                              <a:pt x="21471" y="1196"/>
                              <a:pt x="21830" y="1256"/>
                            </a:cubicBezTo>
                            <a:cubicBezTo>
                              <a:pt x="22189" y="1316"/>
                              <a:pt x="22488" y="1375"/>
                              <a:pt x="22846" y="1435"/>
                            </a:cubicBezTo>
                            <a:cubicBezTo>
                              <a:pt x="23205" y="1495"/>
                              <a:pt x="23504" y="1615"/>
                              <a:pt x="23803" y="1734"/>
                            </a:cubicBezTo>
                            <a:cubicBezTo>
                              <a:pt x="23863" y="1734"/>
                              <a:pt x="23923" y="1794"/>
                              <a:pt x="23983" y="1794"/>
                            </a:cubicBezTo>
                            <a:cubicBezTo>
                              <a:pt x="24043" y="1794"/>
                              <a:pt x="24102" y="1854"/>
                              <a:pt x="24162" y="1854"/>
                            </a:cubicBezTo>
                            <a:cubicBezTo>
                              <a:pt x="24222" y="1854"/>
                              <a:pt x="24282" y="1914"/>
                              <a:pt x="24342" y="1914"/>
                            </a:cubicBezTo>
                            <a:cubicBezTo>
                              <a:pt x="24401" y="1914"/>
                              <a:pt x="24461" y="1973"/>
                              <a:pt x="24521" y="1973"/>
                            </a:cubicBezTo>
                            <a:cubicBezTo>
                              <a:pt x="24760" y="2093"/>
                              <a:pt x="25059" y="2213"/>
                              <a:pt x="25298" y="2332"/>
                            </a:cubicBezTo>
                            <a:cubicBezTo>
                              <a:pt x="25538" y="2452"/>
                              <a:pt x="25777" y="2632"/>
                              <a:pt x="26016" y="2751"/>
                            </a:cubicBezTo>
                            <a:cubicBezTo>
                              <a:pt x="26255" y="2930"/>
                              <a:pt x="26495" y="3050"/>
                              <a:pt x="26734" y="3229"/>
                            </a:cubicBezTo>
                            <a:cubicBezTo>
                              <a:pt x="26973" y="3409"/>
                              <a:pt x="27153" y="3588"/>
                              <a:pt x="27392" y="3768"/>
                            </a:cubicBezTo>
                            <a:cubicBezTo>
                              <a:pt x="27392" y="3768"/>
                              <a:pt x="27392" y="3768"/>
                              <a:pt x="27392" y="3768"/>
                            </a:cubicBezTo>
                            <a:cubicBezTo>
                              <a:pt x="27392" y="3768"/>
                              <a:pt x="27392" y="3768"/>
                              <a:pt x="27392" y="3768"/>
                            </a:cubicBezTo>
                            <a:cubicBezTo>
                              <a:pt x="27392" y="3768"/>
                              <a:pt x="27392" y="3768"/>
                              <a:pt x="27392" y="3768"/>
                            </a:cubicBezTo>
                            <a:cubicBezTo>
                              <a:pt x="27392" y="3768"/>
                              <a:pt x="27392" y="3768"/>
                              <a:pt x="27392" y="3768"/>
                            </a:cubicBezTo>
                            <a:cubicBezTo>
                              <a:pt x="27452" y="3827"/>
                              <a:pt x="27512" y="3887"/>
                              <a:pt x="27512" y="3887"/>
                            </a:cubicBezTo>
                            <a:cubicBezTo>
                              <a:pt x="27571" y="3947"/>
                              <a:pt x="27631" y="4007"/>
                              <a:pt x="27631" y="4007"/>
                            </a:cubicBezTo>
                            <a:cubicBezTo>
                              <a:pt x="27631" y="4007"/>
                              <a:pt x="27751" y="4127"/>
                              <a:pt x="27751" y="4127"/>
                            </a:cubicBezTo>
                            <a:cubicBezTo>
                              <a:pt x="27811" y="4186"/>
                              <a:pt x="27870" y="4246"/>
                              <a:pt x="27870" y="4246"/>
                            </a:cubicBezTo>
                            <a:cubicBezTo>
                              <a:pt x="28109" y="4545"/>
                              <a:pt x="28408" y="4844"/>
                              <a:pt x="28648" y="5143"/>
                            </a:cubicBezTo>
                            <a:cubicBezTo>
                              <a:pt x="28887" y="5442"/>
                              <a:pt x="29126" y="5801"/>
                              <a:pt x="29306" y="6160"/>
                            </a:cubicBezTo>
                            <a:cubicBezTo>
                              <a:pt x="29485" y="6519"/>
                              <a:pt x="29724" y="6878"/>
                              <a:pt x="29844" y="7236"/>
                            </a:cubicBezTo>
                            <a:cubicBezTo>
                              <a:pt x="30023" y="7595"/>
                              <a:pt x="30143" y="8014"/>
                              <a:pt x="30322" y="8433"/>
                            </a:cubicBezTo>
                            <a:cubicBezTo>
                              <a:pt x="30382" y="8612"/>
                              <a:pt x="30442" y="8851"/>
                              <a:pt x="30502" y="9031"/>
                            </a:cubicBezTo>
                            <a:cubicBezTo>
                              <a:pt x="30561" y="9210"/>
                              <a:pt x="30621" y="9449"/>
                              <a:pt x="30681" y="9629"/>
                            </a:cubicBezTo>
                            <a:cubicBezTo>
                              <a:pt x="30741" y="9808"/>
                              <a:pt x="30801" y="10048"/>
                              <a:pt x="30801" y="10227"/>
                            </a:cubicBezTo>
                            <a:cubicBezTo>
                              <a:pt x="30861" y="10466"/>
                              <a:pt x="30861" y="10645"/>
                              <a:pt x="30920" y="10885"/>
                            </a:cubicBezTo>
                            <a:cubicBezTo>
                              <a:pt x="30920" y="11004"/>
                              <a:pt x="30980" y="11064"/>
                              <a:pt x="30980" y="11184"/>
                            </a:cubicBezTo>
                            <a:cubicBezTo>
                              <a:pt x="30980" y="11303"/>
                              <a:pt x="30980" y="11363"/>
                              <a:pt x="31040" y="11483"/>
                            </a:cubicBezTo>
                            <a:cubicBezTo>
                              <a:pt x="31040" y="11603"/>
                              <a:pt x="31040" y="11662"/>
                              <a:pt x="31100" y="11782"/>
                            </a:cubicBezTo>
                            <a:cubicBezTo>
                              <a:pt x="31100" y="11902"/>
                              <a:pt x="31100" y="11961"/>
                              <a:pt x="31100" y="12081"/>
                            </a:cubicBezTo>
                            <a:cubicBezTo>
                              <a:pt x="31160" y="12798"/>
                              <a:pt x="31160" y="13516"/>
                              <a:pt x="31160" y="14294"/>
                            </a:cubicBezTo>
                            <a:cubicBezTo>
                              <a:pt x="31100" y="15011"/>
                              <a:pt x="31040" y="15789"/>
                              <a:pt x="30920" y="16566"/>
                            </a:cubicBezTo>
                            <a:cubicBezTo>
                              <a:pt x="30801" y="17344"/>
                              <a:pt x="30621" y="18062"/>
                              <a:pt x="30382" y="18839"/>
                            </a:cubicBezTo>
                            <a:cubicBezTo>
                              <a:pt x="30143" y="19617"/>
                              <a:pt x="29904" y="20394"/>
                              <a:pt x="29605" y="21112"/>
                            </a:cubicBezTo>
                            <a:cubicBezTo>
                              <a:pt x="29186" y="22188"/>
                              <a:pt x="28648" y="23265"/>
                              <a:pt x="28050" y="24282"/>
                            </a:cubicBezTo>
                            <a:cubicBezTo>
                              <a:pt x="27452" y="25298"/>
                              <a:pt x="26794" y="26255"/>
                              <a:pt x="26076" y="27152"/>
                            </a:cubicBezTo>
                            <a:cubicBezTo>
                              <a:pt x="25358" y="28050"/>
                              <a:pt x="24581" y="28887"/>
                              <a:pt x="23744" y="29664"/>
                            </a:cubicBezTo>
                            <a:cubicBezTo>
                              <a:pt x="22906" y="30442"/>
                              <a:pt x="22009" y="31159"/>
                              <a:pt x="21052" y="31758"/>
                            </a:cubicBezTo>
                            <a:cubicBezTo>
                              <a:pt x="20275" y="32236"/>
                              <a:pt x="19557" y="32655"/>
                              <a:pt x="18780" y="33013"/>
                            </a:cubicBezTo>
                            <a:cubicBezTo>
                              <a:pt x="18002" y="33372"/>
                              <a:pt x="17225" y="33671"/>
                              <a:pt x="16447" y="33911"/>
                            </a:cubicBezTo>
                            <a:cubicBezTo>
                              <a:pt x="15669" y="34150"/>
                              <a:pt x="14892" y="34329"/>
                              <a:pt x="14174" y="34389"/>
                            </a:cubicBezTo>
                            <a:cubicBezTo>
                              <a:pt x="13397" y="34509"/>
                              <a:pt x="12679" y="34509"/>
                              <a:pt x="11902" y="34509"/>
                            </a:cubicBezTo>
                            <a:cubicBezTo>
                              <a:pt x="11782" y="34509"/>
                              <a:pt x="11662" y="34509"/>
                              <a:pt x="11603" y="34509"/>
                            </a:cubicBezTo>
                            <a:cubicBezTo>
                              <a:pt x="11543" y="34509"/>
                              <a:pt x="11364" y="34509"/>
                              <a:pt x="11304" y="34509"/>
                            </a:cubicBezTo>
                            <a:cubicBezTo>
                              <a:pt x="11184" y="34509"/>
                              <a:pt x="11065" y="34509"/>
                              <a:pt x="11005" y="34449"/>
                            </a:cubicBezTo>
                            <a:cubicBezTo>
                              <a:pt x="10885" y="34808"/>
                              <a:pt x="10765" y="34808"/>
                              <a:pt x="10646" y="34748"/>
                            </a:cubicBezTo>
                            <a:moveTo>
                              <a:pt x="4904" y="32236"/>
                            </a:moveTo>
                            <a:cubicBezTo>
                              <a:pt x="5203" y="32535"/>
                              <a:pt x="5562" y="32774"/>
                              <a:pt x="5921" y="33073"/>
                            </a:cubicBezTo>
                            <a:cubicBezTo>
                              <a:pt x="6280" y="33313"/>
                              <a:pt x="6639" y="33552"/>
                              <a:pt x="7057" y="33731"/>
                            </a:cubicBezTo>
                            <a:cubicBezTo>
                              <a:pt x="7476" y="33911"/>
                              <a:pt x="7835" y="34090"/>
                              <a:pt x="8253" y="34269"/>
                            </a:cubicBezTo>
                            <a:cubicBezTo>
                              <a:pt x="8672" y="34449"/>
                              <a:pt x="9091" y="34568"/>
                              <a:pt x="9569" y="34688"/>
                            </a:cubicBezTo>
                            <a:cubicBezTo>
                              <a:pt x="10466" y="34927"/>
                              <a:pt x="11423" y="35047"/>
                              <a:pt x="12380" y="35047"/>
                            </a:cubicBezTo>
                            <a:cubicBezTo>
                              <a:pt x="13337" y="35047"/>
                              <a:pt x="14294" y="34927"/>
                              <a:pt x="15311" y="34748"/>
                            </a:cubicBezTo>
                            <a:cubicBezTo>
                              <a:pt x="16268" y="34509"/>
                              <a:pt x="17284" y="34210"/>
                              <a:pt x="18241" y="33791"/>
                            </a:cubicBezTo>
                            <a:cubicBezTo>
                              <a:pt x="19198" y="33372"/>
                              <a:pt x="20215" y="32834"/>
                              <a:pt x="21112" y="32236"/>
                            </a:cubicBezTo>
                            <a:cubicBezTo>
                              <a:pt x="23086" y="30980"/>
                              <a:pt x="24820" y="29305"/>
                              <a:pt x="26255" y="27511"/>
                            </a:cubicBezTo>
                            <a:cubicBezTo>
                              <a:pt x="27691" y="25657"/>
                              <a:pt x="28887" y="23624"/>
                              <a:pt x="29724" y="21530"/>
                            </a:cubicBezTo>
                            <a:cubicBezTo>
                              <a:pt x="30561" y="19437"/>
                              <a:pt x="31100" y="17225"/>
                              <a:pt x="31220" y="15011"/>
                            </a:cubicBezTo>
                            <a:cubicBezTo>
                              <a:pt x="31339" y="12858"/>
                              <a:pt x="31100" y="10705"/>
                              <a:pt x="30442" y="8732"/>
                            </a:cubicBezTo>
                            <a:cubicBezTo>
                              <a:pt x="30262" y="8253"/>
                              <a:pt x="30083" y="7775"/>
                              <a:pt x="29844" y="7296"/>
                            </a:cubicBezTo>
                            <a:cubicBezTo>
                              <a:pt x="29605" y="6818"/>
                              <a:pt x="29366" y="6399"/>
                              <a:pt x="29126" y="5981"/>
                            </a:cubicBezTo>
                            <a:cubicBezTo>
                              <a:pt x="28887" y="5562"/>
                              <a:pt x="28588" y="5203"/>
                              <a:pt x="28289" y="4844"/>
                            </a:cubicBezTo>
                            <a:cubicBezTo>
                              <a:pt x="27990" y="4486"/>
                              <a:pt x="27691" y="4127"/>
                              <a:pt x="27332" y="3827"/>
                            </a:cubicBezTo>
                            <a:cubicBezTo>
                              <a:pt x="26375" y="2930"/>
                              <a:pt x="25239" y="2213"/>
                              <a:pt x="23983" y="1734"/>
                            </a:cubicBezTo>
                            <a:cubicBezTo>
                              <a:pt x="22727" y="1256"/>
                              <a:pt x="21411" y="957"/>
                              <a:pt x="19976" y="957"/>
                            </a:cubicBezTo>
                            <a:cubicBezTo>
                              <a:pt x="18540" y="957"/>
                              <a:pt x="17105" y="1136"/>
                              <a:pt x="15610" y="1615"/>
                            </a:cubicBezTo>
                            <a:cubicBezTo>
                              <a:pt x="14114" y="2093"/>
                              <a:pt x="12619" y="2751"/>
                              <a:pt x="11124" y="3708"/>
                            </a:cubicBezTo>
                            <a:cubicBezTo>
                              <a:pt x="9151" y="5024"/>
                              <a:pt x="7356" y="6639"/>
                              <a:pt x="5921" y="8493"/>
                            </a:cubicBezTo>
                            <a:cubicBezTo>
                              <a:pt x="4426" y="10347"/>
                              <a:pt x="3289" y="12440"/>
                              <a:pt x="2392" y="14593"/>
                            </a:cubicBezTo>
                            <a:cubicBezTo>
                              <a:pt x="1555" y="16746"/>
                              <a:pt x="1017" y="18959"/>
                              <a:pt x="897" y="21172"/>
                            </a:cubicBezTo>
                            <a:cubicBezTo>
                              <a:pt x="778" y="23384"/>
                              <a:pt x="1017" y="25478"/>
                              <a:pt x="1735" y="27451"/>
                            </a:cubicBezTo>
                            <a:cubicBezTo>
                              <a:pt x="1914" y="27930"/>
                              <a:pt x="2093" y="28408"/>
                              <a:pt x="2333" y="28827"/>
                            </a:cubicBezTo>
                            <a:cubicBezTo>
                              <a:pt x="2572" y="29245"/>
                              <a:pt x="2811" y="29724"/>
                              <a:pt x="3050" y="30083"/>
                            </a:cubicBezTo>
                            <a:cubicBezTo>
                              <a:pt x="3289" y="30442"/>
                              <a:pt x="3589" y="30860"/>
                              <a:pt x="3888" y="31219"/>
                            </a:cubicBezTo>
                            <a:cubicBezTo>
                              <a:pt x="4187" y="31578"/>
                              <a:pt x="4545" y="31937"/>
                              <a:pt x="4904" y="32236"/>
                            </a:cubicBezTo>
                            <a:moveTo>
                              <a:pt x="27990" y="3050"/>
                            </a:moveTo>
                            <a:cubicBezTo>
                              <a:pt x="28349" y="3349"/>
                              <a:pt x="28648" y="3708"/>
                              <a:pt x="29007" y="4127"/>
                            </a:cubicBezTo>
                            <a:cubicBezTo>
                              <a:pt x="29306" y="4486"/>
                              <a:pt x="29605" y="4904"/>
                              <a:pt x="29904" y="5323"/>
                            </a:cubicBezTo>
                            <a:cubicBezTo>
                              <a:pt x="30203" y="5741"/>
                              <a:pt x="30442" y="6220"/>
                              <a:pt x="30681" y="6698"/>
                            </a:cubicBezTo>
                            <a:cubicBezTo>
                              <a:pt x="30920" y="7177"/>
                              <a:pt x="31100" y="7655"/>
                              <a:pt x="31279" y="8194"/>
                            </a:cubicBezTo>
                            <a:cubicBezTo>
                              <a:pt x="31997" y="10287"/>
                              <a:pt x="32236" y="12559"/>
                              <a:pt x="32116" y="14832"/>
                            </a:cubicBezTo>
                            <a:cubicBezTo>
                              <a:pt x="31997" y="17105"/>
                              <a:pt x="31399" y="19437"/>
                              <a:pt x="30502" y="21710"/>
                            </a:cubicBezTo>
                            <a:cubicBezTo>
                              <a:pt x="29605" y="23982"/>
                              <a:pt x="28349" y="26136"/>
                              <a:pt x="26853" y="28050"/>
                            </a:cubicBezTo>
                            <a:cubicBezTo>
                              <a:pt x="25298" y="29963"/>
                              <a:pt x="23504" y="31698"/>
                              <a:pt x="21411" y="33073"/>
                            </a:cubicBezTo>
                            <a:cubicBezTo>
                              <a:pt x="20394" y="33731"/>
                              <a:pt x="19377" y="34269"/>
                              <a:pt x="18361" y="34748"/>
                            </a:cubicBezTo>
                            <a:cubicBezTo>
                              <a:pt x="17344" y="35167"/>
                              <a:pt x="16268" y="35526"/>
                              <a:pt x="15251" y="35765"/>
                            </a:cubicBezTo>
                            <a:cubicBezTo>
                              <a:pt x="14234" y="36004"/>
                              <a:pt x="13158" y="36123"/>
                              <a:pt x="12201" y="36123"/>
                            </a:cubicBezTo>
                            <a:cubicBezTo>
                              <a:pt x="11184" y="36123"/>
                              <a:pt x="10167" y="36004"/>
                              <a:pt x="9211" y="35765"/>
                            </a:cubicBezTo>
                            <a:cubicBezTo>
                              <a:pt x="8732" y="35645"/>
                              <a:pt x="8313" y="35526"/>
                              <a:pt x="7835" y="35346"/>
                            </a:cubicBezTo>
                            <a:cubicBezTo>
                              <a:pt x="7416" y="35167"/>
                              <a:pt x="6938" y="34987"/>
                              <a:pt x="6579" y="34748"/>
                            </a:cubicBezTo>
                            <a:cubicBezTo>
                              <a:pt x="6160" y="34509"/>
                              <a:pt x="5742" y="34269"/>
                              <a:pt x="5383" y="34030"/>
                            </a:cubicBezTo>
                            <a:cubicBezTo>
                              <a:pt x="5024" y="33791"/>
                              <a:pt x="4665" y="33492"/>
                              <a:pt x="4306" y="33193"/>
                            </a:cubicBezTo>
                            <a:cubicBezTo>
                              <a:pt x="3947" y="32834"/>
                              <a:pt x="3589" y="32535"/>
                              <a:pt x="3289" y="32116"/>
                            </a:cubicBezTo>
                            <a:cubicBezTo>
                              <a:pt x="2990" y="31758"/>
                              <a:pt x="2632" y="31339"/>
                              <a:pt x="2392" y="30920"/>
                            </a:cubicBezTo>
                            <a:cubicBezTo>
                              <a:pt x="2093" y="30502"/>
                              <a:pt x="1854" y="30023"/>
                              <a:pt x="1615" y="29545"/>
                            </a:cubicBezTo>
                            <a:cubicBezTo>
                              <a:pt x="1375" y="29066"/>
                              <a:pt x="1196" y="28588"/>
                              <a:pt x="957" y="28050"/>
                            </a:cubicBezTo>
                            <a:cubicBezTo>
                              <a:pt x="180" y="25956"/>
                              <a:pt x="-60" y="23743"/>
                              <a:pt x="60" y="21411"/>
                            </a:cubicBezTo>
                            <a:cubicBezTo>
                              <a:pt x="180" y="19079"/>
                              <a:pt x="718" y="16746"/>
                              <a:pt x="1615" y="14473"/>
                            </a:cubicBezTo>
                            <a:cubicBezTo>
                              <a:pt x="2512" y="12201"/>
                              <a:pt x="3768" y="9988"/>
                              <a:pt x="5323" y="8074"/>
                            </a:cubicBezTo>
                            <a:cubicBezTo>
                              <a:pt x="6878" y="6100"/>
                              <a:pt x="8732" y="4366"/>
                              <a:pt x="10885" y="2990"/>
                            </a:cubicBezTo>
                            <a:cubicBezTo>
                              <a:pt x="12440" y="1973"/>
                              <a:pt x="14055" y="1196"/>
                              <a:pt x="15669" y="718"/>
                            </a:cubicBezTo>
                            <a:cubicBezTo>
                              <a:pt x="17225" y="239"/>
                              <a:pt x="18839" y="0"/>
                              <a:pt x="20335" y="60"/>
                            </a:cubicBezTo>
                            <a:cubicBezTo>
                              <a:pt x="21830" y="119"/>
                              <a:pt x="23265" y="359"/>
                              <a:pt x="24581" y="897"/>
                            </a:cubicBezTo>
                            <a:cubicBezTo>
                              <a:pt x="25717" y="1316"/>
                              <a:pt x="26913" y="2033"/>
                              <a:pt x="27990" y="3050"/>
                            </a:cubicBezTo>
                            <a:moveTo>
                              <a:pt x="4127" y="33193"/>
                            </a:moveTo>
                            <a:cubicBezTo>
                              <a:pt x="4486" y="33552"/>
                              <a:pt x="4904" y="33851"/>
                              <a:pt x="5263" y="34090"/>
                            </a:cubicBezTo>
                            <a:cubicBezTo>
                              <a:pt x="5682" y="34389"/>
                              <a:pt x="6100" y="34628"/>
                              <a:pt x="6519" y="34808"/>
                            </a:cubicBezTo>
                            <a:cubicBezTo>
                              <a:pt x="6938" y="35047"/>
                              <a:pt x="7416" y="35226"/>
                              <a:pt x="7835" y="35406"/>
                            </a:cubicBezTo>
                            <a:cubicBezTo>
                              <a:pt x="8313" y="35585"/>
                              <a:pt x="8732" y="35705"/>
                              <a:pt x="9211" y="35824"/>
                            </a:cubicBezTo>
                            <a:cubicBezTo>
                              <a:pt x="9330" y="35824"/>
                              <a:pt x="9390" y="35884"/>
                              <a:pt x="9510" y="35884"/>
                            </a:cubicBezTo>
                            <a:cubicBezTo>
                              <a:pt x="9629" y="35884"/>
                              <a:pt x="9689" y="35944"/>
                              <a:pt x="9808" y="35944"/>
                            </a:cubicBezTo>
                            <a:cubicBezTo>
                              <a:pt x="9928" y="35944"/>
                              <a:pt x="9988" y="36004"/>
                              <a:pt x="10107" y="36004"/>
                            </a:cubicBezTo>
                            <a:cubicBezTo>
                              <a:pt x="10227" y="36004"/>
                              <a:pt x="10287" y="36004"/>
                              <a:pt x="10406" y="36064"/>
                            </a:cubicBezTo>
                            <a:cubicBezTo>
                              <a:pt x="11304" y="36183"/>
                              <a:pt x="12201" y="36183"/>
                              <a:pt x="13098" y="36123"/>
                            </a:cubicBezTo>
                            <a:cubicBezTo>
                              <a:pt x="13995" y="36064"/>
                              <a:pt x="14952" y="35884"/>
                              <a:pt x="15849" y="35645"/>
                            </a:cubicBezTo>
                            <a:cubicBezTo>
                              <a:pt x="16806" y="35406"/>
                              <a:pt x="17703" y="35047"/>
                              <a:pt x="18660" y="34688"/>
                            </a:cubicBezTo>
                            <a:cubicBezTo>
                              <a:pt x="19617" y="34269"/>
                              <a:pt x="20514" y="33791"/>
                              <a:pt x="21411" y="33193"/>
                            </a:cubicBezTo>
                            <a:cubicBezTo>
                              <a:pt x="23265" y="31997"/>
                              <a:pt x="24940" y="30502"/>
                              <a:pt x="26315" y="28827"/>
                            </a:cubicBezTo>
                            <a:cubicBezTo>
                              <a:pt x="27691" y="27152"/>
                              <a:pt x="28947" y="25298"/>
                              <a:pt x="29904" y="23325"/>
                            </a:cubicBezTo>
                            <a:cubicBezTo>
                              <a:pt x="30861" y="21351"/>
                              <a:pt x="31519" y="19318"/>
                              <a:pt x="31877" y="17284"/>
                            </a:cubicBezTo>
                            <a:cubicBezTo>
                              <a:pt x="32236" y="15251"/>
                              <a:pt x="32356" y="13157"/>
                              <a:pt x="32057" y="11184"/>
                            </a:cubicBezTo>
                            <a:cubicBezTo>
                              <a:pt x="32057" y="11064"/>
                              <a:pt x="32057" y="11004"/>
                              <a:pt x="31997" y="10885"/>
                            </a:cubicBezTo>
                            <a:cubicBezTo>
                              <a:pt x="31997" y="10765"/>
                              <a:pt x="31997" y="10705"/>
                              <a:pt x="31937" y="10586"/>
                            </a:cubicBezTo>
                            <a:cubicBezTo>
                              <a:pt x="31937" y="10466"/>
                              <a:pt x="31877" y="10406"/>
                              <a:pt x="31877" y="10287"/>
                            </a:cubicBezTo>
                            <a:cubicBezTo>
                              <a:pt x="31877" y="10167"/>
                              <a:pt x="31817" y="10107"/>
                              <a:pt x="31817" y="9988"/>
                            </a:cubicBezTo>
                            <a:cubicBezTo>
                              <a:pt x="31758" y="9808"/>
                              <a:pt x="31758" y="9629"/>
                              <a:pt x="31698" y="9509"/>
                            </a:cubicBezTo>
                            <a:cubicBezTo>
                              <a:pt x="31638" y="9330"/>
                              <a:pt x="31638" y="9150"/>
                              <a:pt x="31578" y="9031"/>
                            </a:cubicBezTo>
                            <a:cubicBezTo>
                              <a:pt x="31519" y="8911"/>
                              <a:pt x="31459" y="8732"/>
                              <a:pt x="31459" y="8552"/>
                            </a:cubicBezTo>
                            <a:cubicBezTo>
                              <a:pt x="31399" y="8373"/>
                              <a:pt x="31339" y="8253"/>
                              <a:pt x="31279" y="8074"/>
                            </a:cubicBezTo>
                            <a:cubicBezTo>
                              <a:pt x="31160" y="7655"/>
                              <a:pt x="30980" y="7236"/>
                              <a:pt x="30801" y="6818"/>
                            </a:cubicBezTo>
                            <a:cubicBezTo>
                              <a:pt x="30621" y="6399"/>
                              <a:pt x="30442" y="6040"/>
                              <a:pt x="30203" y="5622"/>
                            </a:cubicBezTo>
                            <a:cubicBezTo>
                              <a:pt x="29963" y="5263"/>
                              <a:pt x="29724" y="4904"/>
                              <a:pt x="29485" y="4545"/>
                            </a:cubicBezTo>
                            <a:cubicBezTo>
                              <a:pt x="29246" y="4186"/>
                              <a:pt x="28947" y="3887"/>
                              <a:pt x="28648" y="3528"/>
                            </a:cubicBezTo>
                            <a:cubicBezTo>
                              <a:pt x="28588" y="3469"/>
                              <a:pt x="28528" y="3409"/>
                              <a:pt x="28528" y="3409"/>
                            </a:cubicBezTo>
                            <a:cubicBezTo>
                              <a:pt x="28528" y="3409"/>
                              <a:pt x="28408" y="3289"/>
                              <a:pt x="28408" y="3289"/>
                            </a:cubicBezTo>
                            <a:cubicBezTo>
                              <a:pt x="28349" y="3229"/>
                              <a:pt x="28289" y="3170"/>
                              <a:pt x="28289" y="3170"/>
                            </a:cubicBezTo>
                            <a:cubicBezTo>
                              <a:pt x="28229" y="3110"/>
                              <a:pt x="28169" y="3050"/>
                              <a:pt x="28169" y="3050"/>
                            </a:cubicBezTo>
                            <a:cubicBezTo>
                              <a:pt x="28169" y="3050"/>
                              <a:pt x="28169" y="3050"/>
                              <a:pt x="28169" y="3050"/>
                            </a:cubicBezTo>
                            <a:cubicBezTo>
                              <a:pt x="28169" y="3050"/>
                              <a:pt x="28169" y="3050"/>
                              <a:pt x="28169" y="3050"/>
                            </a:cubicBezTo>
                            <a:cubicBezTo>
                              <a:pt x="28169" y="3050"/>
                              <a:pt x="28169" y="3050"/>
                              <a:pt x="28169" y="3050"/>
                            </a:cubicBezTo>
                            <a:cubicBezTo>
                              <a:pt x="28169" y="3050"/>
                              <a:pt x="28169" y="3050"/>
                              <a:pt x="28169" y="3050"/>
                            </a:cubicBezTo>
                            <a:cubicBezTo>
                              <a:pt x="27930" y="2871"/>
                              <a:pt x="27751" y="2691"/>
                              <a:pt x="27512" y="2512"/>
                            </a:cubicBezTo>
                            <a:cubicBezTo>
                              <a:pt x="27272" y="2332"/>
                              <a:pt x="27033" y="2153"/>
                              <a:pt x="26794" y="1973"/>
                            </a:cubicBezTo>
                            <a:cubicBezTo>
                              <a:pt x="26554" y="1794"/>
                              <a:pt x="26315" y="1674"/>
                              <a:pt x="26076" y="1495"/>
                            </a:cubicBezTo>
                            <a:cubicBezTo>
                              <a:pt x="25837" y="1375"/>
                              <a:pt x="25598" y="1196"/>
                              <a:pt x="25298" y="1076"/>
                            </a:cubicBezTo>
                            <a:cubicBezTo>
                              <a:pt x="25239" y="1017"/>
                              <a:pt x="25179" y="1017"/>
                              <a:pt x="25119" y="957"/>
                            </a:cubicBezTo>
                            <a:cubicBezTo>
                              <a:pt x="25059" y="897"/>
                              <a:pt x="24999" y="897"/>
                              <a:pt x="24940" y="897"/>
                            </a:cubicBezTo>
                            <a:cubicBezTo>
                              <a:pt x="24880" y="897"/>
                              <a:pt x="24820" y="837"/>
                              <a:pt x="24760" y="837"/>
                            </a:cubicBezTo>
                            <a:cubicBezTo>
                              <a:pt x="24700" y="837"/>
                              <a:pt x="24641" y="778"/>
                              <a:pt x="24581" y="778"/>
                            </a:cubicBezTo>
                            <a:cubicBezTo>
                              <a:pt x="24282" y="658"/>
                              <a:pt x="23983" y="538"/>
                              <a:pt x="23624" y="478"/>
                            </a:cubicBezTo>
                            <a:cubicBezTo>
                              <a:pt x="23325" y="359"/>
                              <a:pt x="22966" y="299"/>
                              <a:pt x="22667" y="239"/>
                            </a:cubicBezTo>
                            <a:cubicBezTo>
                              <a:pt x="22368" y="179"/>
                              <a:pt x="22009" y="119"/>
                              <a:pt x="21710" y="60"/>
                            </a:cubicBezTo>
                            <a:cubicBezTo>
                              <a:pt x="21351" y="0"/>
                              <a:pt x="21052" y="0"/>
                              <a:pt x="20693" y="0"/>
                            </a:cubicBezTo>
                            <a:cubicBezTo>
                              <a:pt x="20634" y="0"/>
                              <a:pt x="20514" y="0"/>
                              <a:pt x="20454" y="0"/>
                            </a:cubicBezTo>
                            <a:cubicBezTo>
                              <a:pt x="20394" y="0"/>
                              <a:pt x="20275" y="0"/>
                              <a:pt x="20215" y="0"/>
                            </a:cubicBezTo>
                            <a:cubicBezTo>
                              <a:pt x="20155" y="0"/>
                              <a:pt x="20036" y="0"/>
                              <a:pt x="19976" y="0"/>
                            </a:cubicBezTo>
                            <a:cubicBezTo>
                              <a:pt x="19916" y="0"/>
                              <a:pt x="19796" y="0"/>
                              <a:pt x="19736" y="0"/>
                            </a:cubicBezTo>
                            <a:cubicBezTo>
                              <a:pt x="19019" y="0"/>
                              <a:pt x="18301" y="119"/>
                              <a:pt x="17583" y="239"/>
                            </a:cubicBezTo>
                            <a:cubicBezTo>
                              <a:pt x="16866" y="359"/>
                              <a:pt x="16088" y="538"/>
                              <a:pt x="15371" y="837"/>
                            </a:cubicBezTo>
                            <a:cubicBezTo>
                              <a:pt x="14653" y="1076"/>
                              <a:pt x="13875" y="1375"/>
                              <a:pt x="13158" y="1734"/>
                            </a:cubicBezTo>
                            <a:cubicBezTo>
                              <a:pt x="12440" y="2093"/>
                              <a:pt x="11662" y="2512"/>
                              <a:pt x="10945" y="2990"/>
                            </a:cubicBezTo>
                            <a:cubicBezTo>
                              <a:pt x="9928" y="3648"/>
                              <a:pt x="8911" y="4426"/>
                              <a:pt x="8014" y="5263"/>
                            </a:cubicBezTo>
                            <a:cubicBezTo>
                              <a:pt x="7117" y="6100"/>
                              <a:pt x="6220" y="6997"/>
                              <a:pt x="5443" y="8014"/>
                            </a:cubicBezTo>
                            <a:cubicBezTo>
                              <a:pt x="4665" y="8971"/>
                              <a:pt x="3947" y="10048"/>
                              <a:pt x="3289" y="11124"/>
                            </a:cubicBezTo>
                            <a:cubicBezTo>
                              <a:pt x="2632" y="12201"/>
                              <a:pt x="2093" y="13397"/>
                              <a:pt x="1615" y="14593"/>
                            </a:cubicBezTo>
                            <a:cubicBezTo>
                              <a:pt x="1555" y="14772"/>
                              <a:pt x="1495" y="14952"/>
                              <a:pt x="1435" y="15131"/>
                            </a:cubicBezTo>
                            <a:cubicBezTo>
                              <a:pt x="1375" y="15311"/>
                              <a:pt x="1316" y="15490"/>
                              <a:pt x="1256" y="15669"/>
                            </a:cubicBezTo>
                            <a:cubicBezTo>
                              <a:pt x="1196" y="15849"/>
                              <a:pt x="1136" y="16028"/>
                              <a:pt x="1076" y="16208"/>
                            </a:cubicBezTo>
                            <a:cubicBezTo>
                              <a:pt x="1017" y="16387"/>
                              <a:pt x="957" y="16566"/>
                              <a:pt x="897" y="16746"/>
                            </a:cubicBezTo>
                            <a:cubicBezTo>
                              <a:pt x="837" y="16866"/>
                              <a:pt x="837" y="16985"/>
                              <a:pt x="778" y="17105"/>
                            </a:cubicBezTo>
                            <a:cubicBezTo>
                              <a:pt x="718" y="17225"/>
                              <a:pt x="718" y="17344"/>
                              <a:pt x="658" y="17464"/>
                            </a:cubicBezTo>
                            <a:cubicBezTo>
                              <a:pt x="598" y="17583"/>
                              <a:pt x="598" y="17703"/>
                              <a:pt x="598" y="17822"/>
                            </a:cubicBezTo>
                            <a:cubicBezTo>
                              <a:pt x="598" y="17942"/>
                              <a:pt x="538" y="18062"/>
                              <a:pt x="538" y="18181"/>
                            </a:cubicBezTo>
                            <a:cubicBezTo>
                              <a:pt x="419" y="18720"/>
                              <a:pt x="299" y="19258"/>
                              <a:pt x="239" y="19796"/>
                            </a:cubicBezTo>
                            <a:cubicBezTo>
                              <a:pt x="180" y="20334"/>
                              <a:pt x="120" y="20873"/>
                              <a:pt x="60" y="21411"/>
                            </a:cubicBezTo>
                            <a:cubicBezTo>
                              <a:pt x="0" y="21949"/>
                              <a:pt x="0" y="22487"/>
                              <a:pt x="0" y="23026"/>
                            </a:cubicBezTo>
                            <a:cubicBezTo>
                              <a:pt x="0" y="23564"/>
                              <a:pt x="60" y="24042"/>
                              <a:pt x="60" y="24581"/>
                            </a:cubicBezTo>
                            <a:cubicBezTo>
                              <a:pt x="60" y="24641"/>
                              <a:pt x="60" y="24760"/>
                              <a:pt x="60" y="24820"/>
                            </a:cubicBezTo>
                            <a:cubicBezTo>
                              <a:pt x="60" y="24880"/>
                              <a:pt x="60" y="24999"/>
                              <a:pt x="60" y="25059"/>
                            </a:cubicBezTo>
                            <a:cubicBezTo>
                              <a:pt x="60" y="25119"/>
                              <a:pt x="60" y="25238"/>
                              <a:pt x="120" y="25298"/>
                            </a:cubicBezTo>
                            <a:cubicBezTo>
                              <a:pt x="120" y="25358"/>
                              <a:pt x="120" y="25478"/>
                              <a:pt x="180" y="25537"/>
                            </a:cubicBezTo>
                            <a:cubicBezTo>
                              <a:pt x="239" y="25777"/>
                              <a:pt x="239" y="26016"/>
                              <a:pt x="299" y="26315"/>
                            </a:cubicBezTo>
                            <a:cubicBezTo>
                              <a:pt x="359" y="26554"/>
                              <a:pt x="419" y="26794"/>
                              <a:pt x="479" y="27033"/>
                            </a:cubicBezTo>
                            <a:cubicBezTo>
                              <a:pt x="538" y="27272"/>
                              <a:pt x="598" y="27511"/>
                              <a:pt x="658" y="27750"/>
                            </a:cubicBezTo>
                            <a:cubicBezTo>
                              <a:pt x="718" y="27990"/>
                              <a:pt x="837" y="28229"/>
                              <a:pt x="897" y="28468"/>
                            </a:cubicBezTo>
                            <a:cubicBezTo>
                              <a:pt x="1017" y="28767"/>
                              <a:pt x="1136" y="29066"/>
                              <a:pt x="1256" y="29365"/>
                            </a:cubicBezTo>
                            <a:cubicBezTo>
                              <a:pt x="1375" y="29664"/>
                              <a:pt x="1495" y="29904"/>
                              <a:pt x="1675" y="30203"/>
                            </a:cubicBezTo>
                            <a:cubicBezTo>
                              <a:pt x="1854" y="30502"/>
                              <a:pt x="1974" y="30741"/>
                              <a:pt x="2093" y="30980"/>
                            </a:cubicBezTo>
                            <a:cubicBezTo>
                              <a:pt x="2273" y="31219"/>
                              <a:pt x="2392" y="31458"/>
                              <a:pt x="2572" y="31698"/>
                            </a:cubicBezTo>
                            <a:cubicBezTo>
                              <a:pt x="2632" y="31758"/>
                              <a:pt x="2632" y="31817"/>
                              <a:pt x="2691" y="31877"/>
                            </a:cubicBezTo>
                            <a:cubicBezTo>
                              <a:pt x="2751" y="31937"/>
                              <a:pt x="2751" y="31997"/>
                              <a:pt x="2811" y="32057"/>
                            </a:cubicBezTo>
                            <a:cubicBezTo>
                              <a:pt x="2871" y="32116"/>
                              <a:pt x="2871" y="32176"/>
                              <a:pt x="2930" y="32236"/>
                            </a:cubicBezTo>
                            <a:cubicBezTo>
                              <a:pt x="2990" y="32296"/>
                              <a:pt x="3050" y="32356"/>
                              <a:pt x="3050" y="32415"/>
                            </a:cubicBezTo>
                            <a:cubicBezTo>
                              <a:pt x="3170" y="32535"/>
                              <a:pt x="3230" y="32655"/>
                              <a:pt x="3349" y="32774"/>
                            </a:cubicBezTo>
                            <a:cubicBezTo>
                              <a:pt x="3469" y="32894"/>
                              <a:pt x="3529" y="33013"/>
                              <a:pt x="3648" y="33073"/>
                            </a:cubicBezTo>
                            <a:cubicBezTo>
                              <a:pt x="3768" y="33193"/>
                              <a:pt x="3828" y="33253"/>
                              <a:pt x="3947" y="33372"/>
                            </a:cubicBezTo>
                            <a:cubicBezTo>
                              <a:pt x="3947" y="33013"/>
                              <a:pt x="4007" y="33073"/>
                              <a:pt x="4127" y="33193"/>
                            </a:cubicBezTo>
                          </a:path>
                        </a:pathLst>
                      </a:custGeom>
                      <a:noFill/>
                      <a:ln w="6350" cap="flat">
                        <a:solidFill>
                          <a:schemeClr val="bg1">
                            <a:alpha val="40000"/>
                          </a:schemeClr>
                        </a:solidFill>
                        <a:prstDash val="solid"/>
                        <a:miter/>
                      </a:ln>
                    </p:spPr>
                    <p:txBody>
                      <a:bodyPr rtlCol="0" anchor="ctr"/>
                      <a:lstStyle/>
                      <a:p>
                        <a:endParaRPr lang="en-GB"/>
                      </a:p>
                    </p:txBody>
                  </p:sp>
                  <p:sp>
                    <p:nvSpPr>
                      <p:cNvPr id="7536" name="Vrije vorm: vorm 7535">
                        <a:extLst>
                          <a:ext uri="{FF2B5EF4-FFF2-40B4-BE49-F238E27FC236}">
                            <a16:creationId xmlns:a16="http://schemas.microsoft.com/office/drawing/2014/main" id="{34680802-6CB2-4405-BCCF-95FFD193AD32}"/>
                          </a:ext>
                        </a:extLst>
                      </p:cNvPr>
                      <p:cNvSpPr/>
                      <p:nvPr/>
                    </p:nvSpPr>
                    <p:spPr>
                      <a:xfrm>
                        <a:off x="5307286" y="5118452"/>
                        <a:ext cx="32291" cy="36192"/>
                      </a:xfrm>
                      <a:custGeom>
                        <a:avLst/>
                        <a:gdLst>
                          <a:gd name="connsiteX0" fmla="*/ 27597 w 32291"/>
                          <a:gd name="connsiteY0" fmla="*/ 4076 h 36192"/>
                          <a:gd name="connsiteX1" fmla="*/ 28553 w 32291"/>
                          <a:gd name="connsiteY1" fmla="*/ 5093 h 36192"/>
                          <a:gd name="connsiteX2" fmla="*/ 29391 w 32291"/>
                          <a:gd name="connsiteY2" fmla="*/ 6229 h 36192"/>
                          <a:gd name="connsiteX3" fmla="*/ 30109 w 32291"/>
                          <a:gd name="connsiteY3" fmla="*/ 7545 h 36192"/>
                          <a:gd name="connsiteX4" fmla="*/ 30707 w 32291"/>
                          <a:gd name="connsiteY4" fmla="*/ 8980 h 36192"/>
                          <a:gd name="connsiteX5" fmla="*/ 31484 w 32291"/>
                          <a:gd name="connsiteY5" fmla="*/ 15260 h 36192"/>
                          <a:gd name="connsiteX6" fmla="*/ 29989 w 32291"/>
                          <a:gd name="connsiteY6" fmla="*/ 21779 h 36192"/>
                          <a:gd name="connsiteX7" fmla="*/ 26520 w 32291"/>
                          <a:gd name="connsiteY7" fmla="*/ 27760 h 36192"/>
                          <a:gd name="connsiteX8" fmla="*/ 21377 w 32291"/>
                          <a:gd name="connsiteY8" fmla="*/ 32484 h 36192"/>
                          <a:gd name="connsiteX9" fmla="*/ 18506 w 32291"/>
                          <a:gd name="connsiteY9" fmla="*/ 34039 h 36192"/>
                          <a:gd name="connsiteX10" fmla="*/ 15575 w 32291"/>
                          <a:gd name="connsiteY10" fmla="*/ 34996 h 36192"/>
                          <a:gd name="connsiteX11" fmla="*/ 12645 w 32291"/>
                          <a:gd name="connsiteY11" fmla="*/ 35295 h 36192"/>
                          <a:gd name="connsiteX12" fmla="*/ 9834 w 32291"/>
                          <a:gd name="connsiteY12" fmla="*/ 34937 h 36192"/>
                          <a:gd name="connsiteX13" fmla="*/ 8518 w 32291"/>
                          <a:gd name="connsiteY13" fmla="*/ 34518 h 36192"/>
                          <a:gd name="connsiteX14" fmla="*/ 7322 w 32291"/>
                          <a:gd name="connsiteY14" fmla="*/ 33979 h 36192"/>
                          <a:gd name="connsiteX15" fmla="*/ 6186 w 32291"/>
                          <a:gd name="connsiteY15" fmla="*/ 33322 h 36192"/>
                          <a:gd name="connsiteX16" fmla="*/ 5169 w 32291"/>
                          <a:gd name="connsiteY16" fmla="*/ 32484 h 36192"/>
                          <a:gd name="connsiteX17" fmla="*/ 4212 w 32291"/>
                          <a:gd name="connsiteY17" fmla="*/ 31468 h 36192"/>
                          <a:gd name="connsiteX18" fmla="*/ 3375 w 32291"/>
                          <a:gd name="connsiteY18" fmla="*/ 30331 h 36192"/>
                          <a:gd name="connsiteX19" fmla="*/ 2657 w 32291"/>
                          <a:gd name="connsiteY19" fmla="*/ 29075 h 36192"/>
                          <a:gd name="connsiteX20" fmla="*/ 2059 w 32291"/>
                          <a:gd name="connsiteY20" fmla="*/ 27700 h 36192"/>
                          <a:gd name="connsiteX21" fmla="*/ 1222 w 32291"/>
                          <a:gd name="connsiteY21" fmla="*/ 21420 h 36192"/>
                          <a:gd name="connsiteX22" fmla="*/ 2717 w 32291"/>
                          <a:gd name="connsiteY22" fmla="*/ 14841 h 36192"/>
                          <a:gd name="connsiteX23" fmla="*/ 6245 w 32291"/>
                          <a:gd name="connsiteY23" fmla="*/ 8741 h 36192"/>
                          <a:gd name="connsiteX24" fmla="*/ 11449 w 32291"/>
                          <a:gd name="connsiteY24" fmla="*/ 3957 h 36192"/>
                          <a:gd name="connsiteX25" fmla="*/ 15934 w 32291"/>
                          <a:gd name="connsiteY25" fmla="*/ 1863 h 36192"/>
                          <a:gd name="connsiteX26" fmla="*/ 20300 w 32291"/>
                          <a:gd name="connsiteY26" fmla="*/ 1205 h 36192"/>
                          <a:gd name="connsiteX27" fmla="*/ 24307 w 32291"/>
                          <a:gd name="connsiteY27" fmla="*/ 1983 h 36192"/>
                          <a:gd name="connsiteX28" fmla="*/ 27597 w 32291"/>
                          <a:gd name="connsiteY28" fmla="*/ 4076 h 36192"/>
                          <a:gd name="connsiteX29" fmla="*/ 4451 w 32291"/>
                          <a:gd name="connsiteY29" fmla="*/ 33262 h 36192"/>
                          <a:gd name="connsiteX30" fmla="*/ 5528 w 32291"/>
                          <a:gd name="connsiteY30" fmla="*/ 34099 h 36192"/>
                          <a:gd name="connsiteX31" fmla="*/ 6724 w 32291"/>
                          <a:gd name="connsiteY31" fmla="*/ 34817 h 36192"/>
                          <a:gd name="connsiteX32" fmla="*/ 7980 w 32291"/>
                          <a:gd name="connsiteY32" fmla="*/ 35415 h 36192"/>
                          <a:gd name="connsiteX33" fmla="*/ 9356 w 32291"/>
                          <a:gd name="connsiteY33" fmla="*/ 35834 h 36192"/>
                          <a:gd name="connsiteX34" fmla="*/ 12346 w 32291"/>
                          <a:gd name="connsiteY34" fmla="*/ 36192 h 36192"/>
                          <a:gd name="connsiteX35" fmla="*/ 15396 w 32291"/>
                          <a:gd name="connsiteY35" fmla="*/ 35834 h 36192"/>
                          <a:gd name="connsiteX36" fmla="*/ 18506 w 32291"/>
                          <a:gd name="connsiteY36" fmla="*/ 34817 h 36192"/>
                          <a:gd name="connsiteX37" fmla="*/ 21556 w 32291"/>
                          <a:gd name="connsiteY37" fmla="*/ 33142 h 36192"/>
                          <a:gd name="connsiteX38" fmla="*/ 26999 w 32291"/>
                          <a:gd name="connsiteY38" fmla="*/ 28119 h 36192"/>
                          <a:gd name="connsiteX39" fmla="*/ 30647 w 32291"/>
                          <a:gd name="connsiteY39" fmla="*/ 21779 h 36192"/>
                          <a:gd name="connsiteX40" fmla="*/ 32262 w 32291"/>
                          <a:gd name="connsiteY40" fmla="*/ 14901 h 36192"/>
                          <a:gd name="connsiteX41" fmla="*/ 31424 w 32291"/>
                          <a:gd name="connsiteY41" fmla="*/ 8262 h 36192"/>
                          <a:gd name="connsiteX42" fmla="*/ 30826 w 32291"/>
                          <a:gd name="connsiteY42" fmla="*/ 6767 h 36192"/>
                          <a:gd name="connsiteX43" fmla="*/ 30049 w 32291"/>
                          <a:gd name="connsiteY43" fmla="*/ 5392 h 36192"/>
                          <a:gd name="connsiteX44" fmla="*/ 29152 w 32291"/>
                          <a:gd name="connsiteY44" fmla="*/ 4196 h 36192"/>
                          <a:gd name="connsiteX45" fmla="*/ 28135 w 32291"/>
                          <a:gd name="connsiteY45" fmla="*/ 3119 h 36192"/>
                          <a:gd name="connsiteX46" fmla="*/ 24546 w 32291"/>
                          <a:gd name="connsiteY46" fmla="*/ 846 h 36192"/>
                          <a:gd name="connsiteX47" fmla="*/ 20300 w 32291"/>
                          <a:gd name="connsiteY47" fmla="*/ 9 h 36192"/>
                          <a:gd name="connsiteX48" fmla="*/ 15635 w 32291"/>
                          <a:gd name="connsiteY48" fmla="*/ 667 h 36192"/>
                          <a:gd name="connsiteX49" fmla="*/ 10851 w 32291"/>
                          <a:gd name="connsiteY49" fmla="*/ 2940 h 36192"/>
                          <a:gd name="connsiteX50" fmla="*/ 5289 w 32291"/>
                          <a:gd name="connsiteY50" fmla="*/ 8023 h 36192"/>
                          <a:gd name="connsiteX51" fmla="*/ 1581 w 32291"/>
                          <a:gd name="connsiteY51" fmla="*/ 14423 h 36192"/>
                          <a:gd name="connsiteX52" fmla="*/ 26 w 32291"/>
                          <a:gd name="connsiteY52" fmla="*/ 21360 h 36192"/>
                          <a:gd name="connsiteX53" fmla="*/ 923 w 32291"/>
                          <a:gd name="connsiteY53" fmla="*/ 27999 h 36192"/>
                          <a:gd name="connsiteX54" fmla="*/ 1581 w 32291"/>
                          <a:gd name="connsiteY54" fmla="*/ 29494 h 36192"/>
                          <a:gd name="connsiteX55" fmla="*/ 2358 w 32291"/>
                          <a:gd name="connsiteY55" fmla="*/ 30870 h 36192"/>
                          <a:gd name="connsiteX56" fmla="*/ 3255 w 32291"/>
                          <a:gd name="connsiteY56" fmla="*/ 32066 h 36192"/>
                          <a:gd name="connsiteX57" fmla="*/ 4451 w 32291"/>
                          <a:gd name="connsiteY57" fmla="*/ 33262 h 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291" h="36192">
                            <a:moveTo>
                              <a:pt x="27597" y="4076"/>
                            </a:moveTo>
                            <a:cubicBezTo>
                              <a:pt x="27956" y="4375"/>
                              <a:pt x="28255" y="4734"/>
                              <a:pt x="28553" y="5093"/>
                            </a:cubicBezTo>
                            <a:cubicBezTo>
                              <a:pt x="28853" y="5452"/>
                              <a:pt x="29152" y="5811"/>
                              <a:pt x="29391" y="6229"/>
                            </a:cubicBezTo>
                            <a:cubicBezTo>
                              <a:pt x="29630" y="6648"/>
                              <a:pt x="29869" y="7066"/>
                              <a:pt x="30109" y="7545"/>
                            </a:cubicBezTo>
                            <a:cubicBezTo>
                              <a:pt x="30348" y="8023"/>
                              <a:pt x="30527" y="8502"/>
                              <a:pt x="30707" y="8980"/>
                            </a:cubicBezTo>
                            <a:cubicBezTo>
                              <a:pt x="31365" y="10954"/>
                              <a:pt x="31604" y="13047"/>
                              <a:pt x="31484" y="15260"/>
                            </a:cubicBezTo>
                            <a:cubicBezTo>
                              <a:pt x="31365" y="17413"/>
                              <a:pt x="30826" y="19626"/>
                              <a:pt x="29989" y="21779"/>
                            </a:cubicBezTo>
                            <a:cubicBezTo>
                              <a:pt x="29152" y="23872"/>
                              <a:pt x="27956" y="25906"/>
                              <a:pt x="26520" y="27760"/>
                            </a:cubicBezTo>
                            <a:cubicBezTo>
                              <a:pt x="25085" y="29614"/>
                              <a:pt x="23350" y="31229"/>
                              <a:pt x="21377" y="32484"/>
                            </a:cubicBezTo>
                            <a:cubicBezTo>
                              <a:pt x="20420" y="33083"/>
                              <a:pt x="19463" y="33621"/>
                              <a:pt x="18506" y="34039"/>
                            </a:cubicBezTo>
                            <a:cubicBezTo>
                              <a:pt x="17549" y="34458"/>
                              <a:pt x="16533" y="34757"/>
                              <a:pt x="15575" y="34996"/>
                            </a:cubicBezTo>
                            <a:cubicBezTo>
                              <a:pt x="14619" y="35236"/>
                              <a:pt x="13602" y="35295"/>
                              <a:pt x="12645" y="35295"/>
                            </a:cubicBezTo>
                            <a:cubicBezTo>
                              <a:pt x="11688" y="35295"/>
                              <a:pt x="10731" y="35176"/>
                              <a:pt x="9834" y="34937"/>
                            </a:cubicBezTo>
                            <a:cubicBezTo>
                              <a:pt x="9415" y="34817"/>
                              <a:pt x="8937" y="34697"/>
                              <a:pt x="8518" y="34518"/>
                            </a:cubicBezTo>
                            <a:cubicBezTo>
                              <a:pt x="8100" y="34338"/>
                              <a:pt x="7681" y="34159"/>
                              <a:pt x="7322" y="33979"/>
                            </a:cubicBezTo>
                            <a:cubicBezTo>
                              <a:pt x="6963" y="33800"/>
                              <a:pt x="6544" y="33561"/>
                              <a:pt x="6186" y="33322"/>
                            </a:cubicBezTo>
                            <a:cubicBezTo>
                              <a:pt x="5827" y="33083"/>
                              <a:pt x="5468" y="32783"/>
                              <a:pt x="5169" y="32484"/>
                            </a:cubicBezTo>
                            <a:cubicBezTo>
                              <a:pt x="4810" y="32185"/>
                              <a:pt x="4511" y="31827"/>
                              <a:pt x="4212" y="31468"/>
                            </a:cubicBezTo>
                            <a:cubicBezTo>
                              <a:pt x="3913" y="31109"/>
                              <a:pt x="3614" y="30750"/>
                              <a:pt x="3375" y="30331"/>
                            </a:cubicBezTo>
                            <a:cubicBezTo>
                              <a:pt x="3135" y="29913"/>
                              <a:pt x="2836" y="29494"/>
                              <a:pt x="2657" y="29075"/>
                            </a:cubicBezTo>
                            <a:cubicBezTo>
                              <a:pt x="2418" y="28657"/>
                              <a:pt x="2239" y="28178"/>
                              <a:pt x="2059" y="27700"/>
                            </a:cubicBezTo>
                            <a:cubicBezTo>
                              <a:pt x="1341" y="25726"/>
                              <a:pt x="1102" y="23573"/>
                              <a:pt x="1222" y="21420"/>
                            </a:cubicBezTo>
                            <a:cubicBezTo>
                              <a:pt x="1341" y="19207"/>
                              <a:pt x="1880" y="16994"/>
                              <a:pt x="2717" y="14841"/>
                            </a:cubicBezTo>
                            <a:cubicBezTo>
                              <a:pt x="3554" y="12688"/>
                              <a:pt x="4750" y="10595"/>
                              <a:pt x="6245" y="8741"/>
                            </a:cubicBezTo>
                            <a:cubicBezTo>
                              <a:pt x="7741" y="6887"/>
                              <a:pt x="9475" y="5272"/>
                              <a:pt x="11449" y="3957"/>
                            </a:cubicBezTo>
                            <a:cubicBezTo>
                              <a:pt x="12944" y="2999"/>
                              <a:pt x="14439" y="2282"/>
                              <a:pt x="15934" y="1863"/>
                            </a:cubicBezTo>
                            <a:cubicBezTo>
                              <a:pt x="17429" y="1384"/>
                              <a:pt x="18925" y="1205"/>
                              <a:pt x="20300" y="1205"/>
                            </a:cubicBezTo>
                            <a:cubicBezTo>
                              <a:pt x="21736" y="1205"/>
                              <a:pt x="23051" y="1504"/>
                              <a:pt x="24307" y="1983"/>
                            </a:cubicBezTo>
                            <a:cubicBezTo>
                              <a:pt x="25444" y="2401"/>
                              <a:pt x="26580" y="3119"/>
                              <a:pt x="27597" y="4076"/>
                            </a:cubicBezTo>
                            <a:moveTo>
                              <a:pt x="4451" y="33262"/>
                            </a:moveTo>
                            <a:cubicBezTo>
                              <a:pt x="4810" y="33561"/>
                              <a:pt x="5169" y="33860"/>
                              <a:pt x="5528" y="34099"/>
                            </a:cubicBezTo>
                            <a:cubicBezTo>
                              <a:pt x="5887" y="34338"/>
                              <a:pt x="6305" y="34578"/>
                              <a:pt x="6724" y="34817"/>
                            </a:cubicBezTo>
                            <a:cubicBezTo>
                              <a:pt x="7143" y="35056"/>
                              <a:pt x="7561" y="35236"/>
                              <a:pt x="7980" y="35415"/>
                            </a:cubicBezTo>
                            <a:cubicBezTo>
                              <a:pt x="8398" y="35594"/>
                              <a:pt x="8877" y="35714"/>
                              <a:pt x="9356" y="35834"/>
                            </a:cubicBezTo>
                            <a:cubicBezTo>
                              <a:pt x="10312" y="36073"/>
                              <a:pt x="11329" y="36192"/>
                              <a:pt x="12346" y="36192"/>
                            </a:cubicBezTo>
                            <a:cubicBezTo>
                              <a:pt x="13363" y="36192"/>
                              <a:pt x="14379" y="36073"/>
                              <a:pt x="15396" y="35834"/>
                            </a:cubicBezTo>
                            <a:cubicBezTo>
                              <a:pt x="16413" y="35594"/>
                              <a:pt x="17489" y="35295"/>
                              <a:pt x="18506" y="34817"/>
                            </a:cubicBezTo>
                            <a:cubicBezTo>
                              <a:pt x="19523" y="34398"/>
                              <a:pt x="20599" y="33800"/>
                              <a:pt x="21556" y="33142"/>
                            </a:cubicBezTo>
                            <a:cubicBezTo>
                              <a:pt x="23650" y="31767"/>
                              <a:pt x="25444" y="30092"/>
                              <a:pt x="26999" y="28119"/>
                            </a:cubicBezTo>
                            <a:cubicBezTo>
                              <a:pt x="28553" y="26205"/>
                              <a:pt x="29750" y="24052"/>
                              <a:pt x="30647" y="21779"/>
                            </a:cubicBezTo>
                            <a:cubicBezTo>
                              <a:pt x="31544" y="19506"/>
                              <a:pt x="32082" y="17174"/>
                              <a:pt x="32262" y="14901"/>
                            </a:cubicBezTo>
                            <a:cubicBezTo>
                              <a:pt x="32381" y="12628"/>
                              <a:pt x="32142" y="10356"/>
                              <a:pt x="31424" y="8262"/>
                            </a:cubicBezTo>
                            <a:cubicBezTo>
                              <a:pt x="31245" y="7724"/>
                              <a:pt x="31006" y="7246"/>
                              <a:pt x="30826" y="6767"/>
                            </a:cubicBezTo>
                            <a:cubicBezTo>
                              <a:pt x="30587" y="6289"/>
                              <a:pt x="30348" y="5811"/>
                              <a:pt x="30049" y="5392"/>
                            </a:cubicBezTo>
                            <a:cubicBezTo>
                              <a:pt x="29750" y="4973"/>
                              <a:pt x="29451" y="4554"/>
                              <a:pt x="29152" y="4196"/>
                            </a:cubicBezTo>
                            <a:cubicBezTo>
                              <a:pt x="28853" y="3837"/>
                              <a:pt x="28494" y="3478"/>
                              <a:pt x="28135" y="3119"/>
                            </a:cubicBezTo>
                            <a:cubicBezTo>
                              <a:pt x="27058" y="2162"/>
                              <a:pt x="25862" y="1384"/>
                              <a:pt x="24546" y="846"/>
                            </a:cubicBezTo>
                            <a:cubicBezTo>
                              <a:pt x="23231" y="308"/>
                              <a:pt x="21796" y="69"/>
                              <a:pt x="20300" y="9"/>
                            </a:cubicBezTo>
                            <a:cubicBezTo>
                              <a:pt x="18805" y="-51"/>
                              <a:pt x="17250" y="189"/>
                              <a:pt x="15635" y="667"/>
                            </a:cubicBezTo>
                            <a:cubicBezTo>
                              <a:pt x="14080" y="1145"/>
                              <a:pt x="12466" y="1923"/>
                              <a:pt x="10851" y="2940"/>
                            </a:cubicBezTo>
                            <a:cubicBezTo>
                              <a:pt x="8757" y="4315"/>
                              <a:pt x="6844" y="6050"/>
                              <a:pt x="5289" y="8023"/>
                            </a:cubicBezTo>
                            <a:cubicBezTo>
                              <a:pt x="3734" y="9997"/>
                              <a:pt x="2478" y="12150"/>
                              <a:pt x="1581" y="14423"/>
                            </a:cubicBezTo>
                            <a:cubicBezTo>
                              <a:pt x="683" y="16695"/>
                              <a:pt x="145" y="19088"/>
                              <a:pt x="26" y="21360"/>
                            </a:cubicBezTo>
                            <a:cubicBezTo>
                              <a:pt x="-94" y="23693"/>
                              <a:pt x="205" y="25906"/>
                              <a:pt x="923" y="27999"/>
                            </a:cubicBezTo>
                            <a:cubicBezTo>
                              <a:pt x="1102" y="28537"/>
                              <a:pt x="1341" y="29016"/>
                              <a:pt x="1581" y="29494"/>
                            </a:cubicBezTo>
                            <a:cubicBezTo>
                              <a:pt x="1820" y="29973"/>
                              <a:pt x="2059" y="30451"/>
                              <a:pt x="2358" y="30870"/>
                            </a:cubicBezTo>
                            <a:cubicBezTo>
                              <a:pt x="2657" y="31288"/>
                              <a:pt x="2956" y="31707"/>
                              <a:pt x="3255" y="32066"/>
                            </a:cubicBezTo>
                            <a:cubicBezTo>
                              <a:pt x="3734" y="32604"/>
                              <a:pt x="4093" y="32963"/>
                              <a:pt x="4451" y="33262"/>
                            </a:cubicBezTo>
                          </a:path>
                        </a:pathLst>
                      </a:custGeom>
                      <a:noFill/>
                      <a:ln w="6350" cap="flat">
                        <a:solidFill>
                          <a:schemeClr val="bg1">
                            <a:alpha val="40000"/>
                          </a:schemeClr>
                        </a:solidFill>
                        <a:prstDash val="solid"/>
                        <a:miter/>
                      </a:ln>
                    </p:spPr>
                    <p:txBody>
                      <a:bodyPr rtlCol="0" anchor="ctr"/>
                      <a:lstStyle/>
                      <a:p>
                        <a:endParaRPr lang="en-GB"/>
                      </a:p>
                    </p:txBody>
                  </p:sp>
                  <p:sp>
                    <p:nvSpPr>
                      <p:cNvPr id="7537" name="Vrije vorm: vorm 7536">
                        <a:extLst>
                          <a:ext uri="{FF2B5EF4-FFF2-40B4-BE49-F238E27FC236}">
                            <a16:creationId xmlns:a16="http://schemas.microsoft.com/office/drawing/2014/main" id="{4FECFD88-789C-47FE-8B77-8347D2CBCFA1}"/>
                          </a:ext>
                        </a:extLst>
                      </p:cNvPr>
                      <p:cNvSpPr/>
                      <p:nvPr/>
                    </p:nvSpPr>
                    <p:spPr>
                      <a:xfrm>
                        <a:off x="5324597" y="5144417"/>
                        <a:ext cx="5502" cy="6159"/>
                      </a:xfrm>
                      <a:custGeom>
                        <a:avLst/>
                        <a:gdLst>
                          <a:gd name="connsiteX0" fmla="*/ 4545 w 5502"/>
                          <a:gd name="connsiteY0" fmla="*/ 1794 h 6159"/>
                          <a:gd name="connsiteX1" fmla="*/ 4545 w 5502"/>
                          <a:gd name="connsiteY1" fmla="*/ 1794 h 6159"/>
                          <a:gd name="connsiteX2" fmla="*/ 4605 w 5502"/>
                          <a:gd name="connsiteY2" fmla="*/ 1854 h 6159"/>
                          <a:gd name="connsiteX3" fmla="*/ 4605 w 5502"/>
                          <a:gd name="connsiteY3" fmla="*/ 1914 h 6159"/>
                          <a:gd name="connsiteX4" fmla="*/ 4605 w 5502"/>
                          <a:gd name="connsiteY4" fmla="*/ 1973 h 6159"/>
                          <a:gd name="connsiteX5" fmla="*/ 4725 w 5502"/>
                          <a:gd name="connsiteY5" fmla="*/ 2332 h 6159"/>
                          <a:gd name="connsiteX6" fmla="*/ 4725 w 5502"/>
                          <a:gd name="connsiteY6" fmla="*/ 2691 h 6159"/>
                          <a:gd name="connsiteX7" fmla="*/ 4665 w 5502"/>
                          <a:gd name="connsiteY7" fmla="*/ 3110 h 6159"/>
                          <a:gd name="connsiteX8" fmla="*/ 4545 w 5502"/>
                          <a:gd name="connsiteY8" fmla="*/ 3528 h 6159"/>
                          <a:gd name="connsiteX9" fmla="*/ 4366 w 5502"/>
                          <a:gd name="connsiteY9" fmla="*/ 3947 h 6159"/>
                          <a:gd name="connsiteX10" fmla="*/ 4127 w 5502"/>
                          <a:gd name="connsiteY10" fmla="*/ 4306 h 6159"/>
                          <a:gd name="connsiteX11" fmla="*/ 3827 w 5502"/>
                          <a:gd name="connsiteY11" fmla="*/ 4605 h 6159"/>
                          <a:gd name="connsiteX12" fmla="*/ 3469 w 5502"/>
                          <a:gd name="connsiteY12" fmla="*/ 4844 h 6159"/>
                          <a:gd name="connsiteX13" fmla="*/ 3110 w 5502"/>
                          <a:gd name="connsiteY13" fmla="*/ 5024 h 6159"/>
                          <a:gd name="connsiteX14" fmla="*/ 2751 w 5502"/>
                          <a:gd name="connsiteY14" fmla="*/ 5143 h 6159"/>
                          <a:gd name="connsiteX15" fmla="*/ 2392 w 5502"/>
                          <a:gd name="connsiteY15" fmla="*/ 5203 h 6159"/>
                          <a:gd name="connsiteX16" fmla="*/ 2033 w 5502"/>
                          <a:gd name="connsiteY16" fmla="*/ 5143 h 6159"/>
                          <a:gd name="connsiteX17" fmla="*/ 1435 w 5502"/>
                          <a:gd name="connsiteY17" fmla="*/ 4844 h 6159"/>
                          <a:gd name="connsiteX18" fmla="*/ 1136 w 5502"/>
                          <a:gd name="connsiteY18" fmla="*/ 4366 h 6159"/>
                          <a:gd name="connsiteX19" fmla="*/ 1076 w 5502"/>
                          <a:gd name="connsiteY19" fmla="*/ 4246 h 6159"/>
                          <a:gd name="connsiteX20" fmla="*/ 1017 w 5502"/>
                          <a:gd name="connsiteY20" fmla="*/ 4067 h 6159"/>
                          <a:gd name="connsiteX21" fmla="*/ 957 w 5502"/>
                          <a:gd name="connsiteY21" fmla="*/ 3827 h 6159"/>
                          <a:gd name="connsiteX22" fmla="*/ 957 w 5502"/>
                          <a:gd name="connsiteY22" fmla="*/ 3588 h 6159"/>
                          <a:gd name="connsiteX23" fmla="*/ 957 w 5502"/>
                          <a:gd name="connsiteY23" fmla="*/ 3349 h 6159"/>
                          <a:gd name="connsiteX24" fmla="*/ 957 w 5502"/>
                          <a:gd name="connsiteY24" fmla="*/ 3170 h 6159"/>
                          <a:gd name="connsiteX25" fmla="*/ 1017 w 5502"/>
                          <a:gd name="connsiteY25" fmla="*/ 2990 h 6159"/>
                          <a:gd name="connsiteX26" fmla="*/ 1076 w 5502"/>
                          <a:gd name="connsiteY26" fmla="*/ 2811 h 6159"/>
                          <a:gd name="connsiteX27" fmla="*/ 1136 w 5502"/>
                          <a:gd name="connsiteY27" fmla="*/ 2632 h 6159"/>
                          <a:gd name="connsiteX28" fmla="*/ 1316 w 5502"/>
                          <a:gd name="connsiteY28" fmla="*/ 2213 h 6159"/>
                          <a:gd name="connsiteX29" fmla="*/ 1555 w 5502"/>
                          <a:gd name="connsiteY29" fmla="*/ 1854 h 6159"/>
                          <a:gd name="connsiteX30" fmla="*/ 1854 w 5502"/>
                          <a:gd name="connsiteY30" fmla="*/ 1555 h 6159"/>
                          <a:gd name="connsiteX31" fmla="*/ 2213 w 5502"/>
                          <a:gd name="connsiteY31" fmla="*/ 1316 h 6159"/>
                          <a:gd name="connsiteX32" fmla="*/ 2452 w 5502"/>
                          <a:gd name="connsiteY32" fmla="*/ 1196 h 6159"/>
                          <a:gd name="connsiteX33" fmla="*/ 2691 w 5502"/>
                          <a:gd name="connsiteY33" fmla="*/ 1076 h 6159"/>
                          <a:gd name="connsiteX34" fmla="*/ 2930 w 5502"/>
                          <a:gd name="connsiteY34" fmla="*/ 1017 h 6159"/>
                          <a:gd name="connsiteX35" fmla="*/ 3170 w 5502"/>
                          <a:gd name="connsiteY35" fmla="*/ 957 h 6159"/>
                          <a:gd name="connsiteX36" fmla="*/ 3289 w 5502"/>
                          <a:gd name="connsiteY36" fmla="*/ 957 h 6159"/>
                          <a:gd name="connsiteX37" fmla="*/ 3409 w 5502"/>
                          <a:gd name="connsiteY37" fmla="*/ 957 h 6159"/>
                          <a:gd name="connsiteX38" fmla="*/ 3528 w 5502"/>
                          <a:gd name="connsiteY38" fmla="*/ 957 h 6159"/>
                          <a:gd name="connsiteX39" fmla="*/ 3648 w 5502"/>
                          <a:gd name="connsiteY39" fmla="*/ 957 h 6159"/>
                          <a:gd name="connsiteX40" fmla="*/ 3827 w 5502"/>
                          <a:gd name="connsiteY40" fmla="*/ 1017 h 6159"/>
                          <a:gd name="connsiteX41" fmla="*/ 3947 w 5502"/>
                          <a:gd name="connsiteY41" fmla="*/ 1076 h 6159"/>
                          <a:gd name="connsiteX42" fmla="*/ 4067 w 5502"/>
                          <a:gd name="connsiteY42" fmla="*/ 1136 h 6159"/>
                          <a:gd name="connsiteX43" fmla="*/ 4186 w 5502"/>
                          <a:gd name="connsiteY43" fmla="*/ 1256 h 6159"/>
                          <a:gd name="connsiteX44" fmla="*/ 4306 w 5502"/>
                          <a:gd name="connsiteY44" fmla="*/ 1375 h 6159"/>
                          <a:gd name="connsiteX45" fmla="*/ 4366 w 5502"/>
                          <a:gd name="connsiteY45" fmla="*/ 1495 h 6159"/>
                          <a:gd name="connsiteX46" fmla="*/ 4426 w 5502"/>
                          <a:gd name="connsiteY46" fmla="*/ 1615 h 6159"/>
                          <a:gd name="connsiteX47" fmla="*/ 4545 w 5502"/>
                          <a:gd name="connsiteY47" fmla="*/ 1794 h 6159"/>
                          <a:gd name="connsiteX48" fmla="*/ 777 w 5502"/>
                          <a:gd name="connsiteY48" fmla="*/ 5681 h 6159"/>
                          <a:gd name="connsiteX49" fmla="*/ 957 w 5502"/>
                          <a:gd name="connsiteY49" fmla="*/ 5801 h 6159"/>
                          <a:gd name="connsiteX50" fmla="*/ 1136 w 5502"/>
                          <a:gd name="connsiteY50" fmla="*/ 5921 h 6159"/>
                          <a:gd name="connsiteX51" fmla="*/ 1375 w 5502"/>
                          <a:gd name="connsiteY51" fmla="*/ 6041 h 6159"/>
                          <a:gd name="connsiteX52" fmla="*/ 1615 w 5502"/>
                          <a:gd name="connsiteY52" fmla="*/ 6100 h 6159"/>
                          <a:gd name="connsiteX53" fmla="*/ 2093 w 5502"/>
                          <a:gd name="connsiteY53" fmla="*/ 6160 h 6159"/>
                          <a:gd name="connsiteX54" fmla="*/ 2632 w 5502"/>
                          <a:gd name="connsiteY54" fmla="*/ 6100 h 6159"/>
                          <a:gd name="connsiteX55" fmla="*/ 3170 w 5502"/>
                          <a:gd name="connsiteY55" fmla="*/ 5921 h 6159"/>
                          <a:gd name="connsiteX56" fmla="*/ 3708 w 5502"/>
                          <a:gd name="connsiteY56" fmla="*/ 5622 h 6159"/>
                          <a:gd name="connsiteX57" fmla="*/ 4186 w 5502"/>
                          <a:gd name="connsiteY57" fmla="*/ 5263 h 6159"/>
                          <a:gd name="connsiteX58" fmla="*/ 4605 w 5502"/>
                          <a:gd name="connsiteY58" fmla="*/ 4785 h 6159"/>
                          <a:gd name="connsiteX59" fmla="*/ 4964 w 5502"/>
                          <a:gd name="connsiteY59" fmla="*/ 4246 h 6159"/>
                          <a:gd name="connsiteX60" fmla="*/ 5263 w 5502"/>
                          <a:gd name="connsiteY60" fmla="*/ 3648 h 6159"/>
                          <a:gd name="connsiteX61" fmla="*/ 5442 w 5502"/>
                          <a:gd name="connsiteY61" fmla="*/ 3050 h 6159"/>
                          <a:gd name="connsiteX62" fmla="*/ 5502 w 5502"/>
                          <a:gd name="connsiteY62" fmla="*/ 2452 h 6159"/>
                          <a:gd name="connsiteX63" fmla="*/ 5502 w 5502"/>
                          <a:gd name="connsiteY63" fmla="*/ 1854 h 6159"/>
                          <a:gd name="connsiteX64" fmla="*/ 5382 w 5502"/>
                          <a:gd name="connsiteY64" fmla="*/ 1316 h 6159"/>
                          <a:gd name="connsiteX65" fmla="*/ 5263 w 5502"/>
                          <a:gd name="connsiteY65" fmla="*/ 1076 h 6159"/>
                          <a:gd name="connsiteX66" fmla="*/ 5143 w 5502"/>
                          <a:gd name="connsiteY66" fmla="*/ 837 h 6159"/>
                          <a:gd name="connsiteX67" fmla="*/ 4964 w 5502"/>
                          <a:gd name="connsiteY67" fmla="*/ 598 h 6159"/>
                          <a:gd name="connsiteX68" fmla="*/ 4785 w 5502"/>
                          <a:gd name="connsiteY68" fmla="*/ 419 h 6159"/>
                          <a:gd name="connsiteX69" fmla="*/ 4605 w 5502"/>
                          <a:gd name="connsiteY69" fmla="*/ 299 h 6159"/>
                          <a:gd name="connsiteX70" fmla="*/ 4426 w 5502"/>
                          <a:gd name="connsiteY70" fmla="*/ 179 h 6159"/>
                          <a:gd name="connsiteX71" fmla="*/ 4186 w 5502"/>
                          <a:gd name="connsiteY71" fmla="*/ 60 h 6159"/>
                          <a:gd name="connsiteX72" fmla="*/ 3947 w 5502"/>
                          <a:gd name="connsiteY72" fmla="*/ 0 h 6159"/>
                          <a:gd name="connsiteX73" fmla="*/ 3887 w 5502"/>
                          <a:gd name="connsiteY73" fmla="*/ 0 h 6159"/>
                          <a:gd name="connsiteX74" fmla="*/ 3827 w 5502"/>
                          <a:gd name="connsiteY74" fmla="*/ 0 h 6159"/>
                          <a:gd name="connsiteX75" fmla="*/ 3768 w 5502"/>
                          <a:gd name="connsiteY75" fmla="*/ 0 h 6159"/>
                          <a:gd name="connsiteX76" fmla="*/ 3708 w 5502"/>
                          <a:gd name="connsiteY76" fmla="*/ 0 h 6159"/>
                          <a:gd name="connsiteX77" fmla="*/ 3469 w 5502"/>
                          <a:gd name="connsiteY77" fmla="*/ 0 h 6159"/>
                          <a:gd name="connsiteX78" fmla="*/ 3229 w 5502"/>
                          <a:gd name="connsiteY78" fmla="*/ 0 h 6159"/>
                          <a:gd name="connsiteX79" fmla="*/ 2930 w 5502"/>
                          <a:gd name="connsiteY79" fmla="*/ 60 h 6159"/>
                          <a:gd name="connsiteX80" fmla="*/ 2632 w 5502"/>
                          <a:gd name="connsiteY80" fmla="*/ 119 h 6159"/>
                          <a:gd name="connsiteX81" fmla="*/ 2392 w 5502"/>
                          <a:gd name="connsiteY81" fmla="*/ 179 h 6159"/>
                          <a:gd name="connsiteX82" fmla="*/ 2213 w 5502"/>
                          <a:gd name="connsiteY82" fmla="*/ 299 h 6159"/>
                          <a:gd name="connsiteX83" fmla="*/ 2033 w 5502"/>
                          <a:gd name="connsiteY83" fmla="*/ 419 h 6159"/>
                          <a:gd name="connsiteX84" fmla="*/ 1854 w 5502"/>
                          <a:gd name="connsiteY84" fmla="*/ 538 h 6159"/>
                          <a:gd name="connsiteX85" fmla="*/ 1375 w 5502"/>
                          <a:gd name="connsiteY85" fmla="*/ 897 h 6159"/>
                          <a:gd name="connsiteX86" fmla="*/ 957 w 5502"/>
                          <a:gd name="connsiteY86" fmla="*/ 1375 h 6159"/>
                          <a:gd name="connsiteX87" fmla="*/ 598 w 5502"/>
                          <a:gd name="connsiteY87" fmla="*/ 1914 h 6159"/>
                          <a:gd name="connsiteX88" fmla="*/ 299 w 5502"/>
                          <a:gd name="connsiteY88" fmla="*/ 2512 h 6159"/>
                          <a:gd name="connsiteX89" fmla="*/ 179 w 5502"/>
                          <a:gd name="connsiteY89" fmla="*/ 2930 h 6159"/>
                          <a:gd name="connsiteX90" fmla="*/ 60 w 5502"/>
                          <a:gd name="connsiteY90" fmla="*/ 3349 h 6159"/>
                          <a:gd name="connsiteX91" fmla="*/ 0 w 5502"/>
                          <a:gd name="connsiteY91" fmla="*/ 3768 h 6159"/>
                          <a:gd name="connsiteX92" fmla="*/ 0 w 5502"/>
                          <a:gd name="connsiteY92" fmla="*/ 4127 h 6159"/>
                          <a:gd name="connsiteX93" fmla="*/ 0 w 5502"/>
                          <a:gd name="connsiteY93" fmla="*/ 4306 h 6159"/>
                          <a:gd name="connsiteX94" fmla="*/ 60 w 5502"/>
                          <a:gd name="connsiteY94" fmla="*/ 4486 h 6159"/>
                          <a:gd name="connsiteX95" fmla="*/ 119 w 5502"/>
                          <a:gd name="connsiteY95" fmla="*/ 4665 h 6159"/>
                          <a:gd name="connsiteX96" fmla="*/ 179 w 5502"/>
                          <a:gd name="connsiteY96" fmla="*/ 4844 h 6159"/>
                          <a:gd name="connsiteX97" fmla="*/ 179 w 5502"/>
                          <a:gd name="connsiteY97" fmla="*/ 4904 h 6159"/>
                          <a:gd name="connsiteX98" fmla="*/ 179 w 5502"/>
                          <a:gd name="connsiteY98" fmla="*/ 4964 h 6159"/>
                          <a:gd name="connsiteX99" fmla="*/ 179 w 5502"/>
                          <a:gd name="connsiteY99" fmla="*/ 5024 h 6159"/>
                          <a:gd name="connsiteX100" fmla="*/ 179 w 5502"/>
                          <a:gd name="connsiteY100" fmla="*/ 5083 h 6159"/>
                          <a:gd name="connsiteX101" fmla="*/ 299 w 5502"/>
                          <a:gd name="connsiteY101" fmla="*/ 5263 h 6159"/>
                          <a:gd name="connsiteX102" fmla="*/ 418 w 5502"/>
                          <a:gd name="connsiteY102" fmla="*/ 5442 h 6159"/>
                          <a:gd name="connsiteX103" fmla="*/ 538 w 5502"/>
                          <a:gd name="connsiteY103" fmla="*/ 5622 h 6159"/>
                          <a:gd name="connsiteX104" fmla="*/ 777 w 5502"/>
                          <a:gd name="connsiteY104" fmla="*/ 5681 h 6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502" h="6159">
                            <a:moveTo>
                              <a:pt x="4545" y="1794"/>
                            </a:moveTo>
                            <a:cubicBezTo>
                              <a:pt x="4545" y="1794"/>
                              <a:pt x="4545" y="1794"/>
                              <a:pt x="4545" y="1794"/>
                            </a:cubicBezTo>
                            <a:cubicBezTo>
                              <a:pt x="4545" y="1854"/>
                              <a:pt x="4545" y="1854"/>
                              <a:pt x="4605" y="1854"/>
                            </a:cubicBezTo>
                            <a:cubicBezTo>
                              <a:pt x="4605" y="1854"/>
                              <a:pt x="4605" y="1854"/>
                              <a:pt x="4605" y="1914"/>
                            </a:cubicBezTo>
                            <a:cubicBezTo>
                              <a:pt x="4605" y="1914"/>
                              <a:pt x="4605" y="1914"/>
                              <a:pt x="4605" y="1973"/>
                            </a:cubicBezTo>
                            <a:cubicBezTo>
                              <a:pt x="4665" y="2093"/>
                              <a:pt x="4665" y="2213"/>
                              <a:pt x="4725" y="2332"/>
                            </a:cubicBezTo>
                            <a:cubicBezTo>
                              <a:pt x="4725" y="2452"/>
                              <a:pt x="4725" y="2572"/>
                              <a:pt x="4725" y="2691"/>
                            </a:cubicBezTo>
                            <a:cubicBezTo>
                              <a:pt x="4725" y="2811"/>
                              <a:pt x="4725" y="2930"/>
                              <a:pt x="4665" y="3110"/>
                            </a:cubicBezTo>
                            <a:cubicBezTo>
                              <a:pt x="4665" y="3229"/>
                              <a:pt x="4605" y="3409"/>
                              <a:pt x="4545" y="3528"/>
                            </a:cubicBezTo>
                            <a:cubicBezTo>
                              <a:pt x="4486" y="3648"/>
                              <a:pt x="4426" y="3768"/>
                              <a:pt x="4366" y="3947"/>
                            </a:cubicBezTo>
                            <a:cubicBezTo>
                              <a:pt x="4306" y="4067"/>
                              <a:pt x="4186" y="4186"/>
                              <a:pt x="4127" y="4306"/>
                            </a:cubicBezTo>
                            <a:cubicBezTo>
                              <a:pt x="4067" y="4426"/>
                              <a:pt x="3947" y="4545"/>
                              <a:pt x="3827" y="4605"/>
                            </a:cubicBezTo>
                            <a:cubicBezTo>
                              <a:pt x="3708" y="4725"/>
                              <a:pt x="3588" y="4785"/>
                              <a:pt x="3469" y="4844"/>
                            </a:cubicBezTo>
                            <a:cubicBezTo>
                              <a:pt x="3349" y="4904"/>
                              <a:pt x="3229" y="4964"/>
                              <a:pt x="3110" y="5024"/>
                            </a:cubicBezTo>
                            <a:cubicBezTo>
                              <a:pt x="2990" y="5083"/>
                              <a:pt x="2871" y="5143"/>
                              <a:pt x="2751" y="5143"/>
                            </a:cubicBezTo>
                            <a:cubicBezTo>
                              <a:pt x="2632" y="5143"/>
                              <a:pt x="2512" y="5203"/>
                              <a:pt x="2392" y="5203"/>
                            </a:cubicBezTo>
                            <a:cubicBezTo>
                              <a:pt x="2272" y="5203"/>
                              <a:pt x="2153" y="5203"/>
                              <a:pt x="2033" y="5143"/>
                            </a:cubicBezTo>
                            <a:lnTo>
                              <a:pt x="1435" y="4844"/>
                            </a:lnTo>
                            <a:lnTo>
                              <a:pt x="1136" y="4366"/>
                            </a:lnTo>
                            <a:lnTo>
                              <a:pt x="1076" y="4246"/>
                            </a:lnTo>
                            <a:cubicBezTo>
                              <a:pt x="1076" y="4186"/>
                              <a:pt x="1017" y="4127"/>
                              <a:pt x="1017" y="4067"/>
                            </a:cubicBezTo>
                            <a:cubicBezTo>
                              <a:pt x="1017" y="4007"/>
                              <a:pt x="1017" y="3947"/>
                              <a:pt x="957" y="3827"/>
                            </a:cubicBezTo>
                            <a:cubicBezTo>
                              <a:pt x="957" y="3768"/>
                              <a:pt x="957" y="3708"/>
                              <a:pt x="957" y="3588"/>
                            </a:cubicBezTo>
                            <a:cubicBezTo>
                              <a:pt x="957" y="3528"/>
                              <a:pt x="957" y="3469"/>
                              <a:pt x="957" y="3349"/>
                            </a:cubicBezTo>
                            <a:cubicBezTo>
                              <a:pt x="957" y="3289"/>
                              <a:pt x="957" y="3229"/>
                              <a:pt x="957" y="3170"/>
                            </a:cubicBezTo>
                            <a:cubicBezTo>
                              <a:pt x="957" y="3110"/>
                              <a:pt x="957" y="3050"/>
                              <a:pt x="1017" y="2990"/>
                            </a:cubicBezTo>
                            <a:cubicBezTo>
                              <a:pt x="1017" y="2930"/>
                              <a:pt x="1076" y="2871"/>
                              <a:pt x="1076" y="2811"/>
                            </a:cubicBezTo>
                            <a:cubicBezTo>
                              <a:pt x="1076" y="2751"/>
                              <a:pt x="1136" y="2691"/>
                              <a:pt x="1136" y="2632"/>
                            </a:cubicBezTo>
                            <a:cubicBezTo>
                              <a:pt x="1196" y="2512"/>
                              <a:pt x="1256" y="2392"/>
                              <a:pt x="1316" y="2213"/>
                            </a:cubicBezTo>
                            <a:cubicBezTo>
                              <a:pt x="1375" y="2093"/>
                              <a:pt x="1495" y="1973"/>
                              <a:pt x="1555" y="1854"/>
                            </a:cubicBezTo>
                            <a:cubicBezTo>
                              <a:pt x="1674" y="1734"/>
                              <a:pt x="1734" y="1615"/>
                              <a:pt x="1854" y="1555"/>
                            </a:cubicBezTo>
                            <a:cubicBezTo>
                              <a:pt x="1973" y="1435"/>
                              <a:pt x="2093" y="1375"/>
                              <a:pt x="2213" y="1316"/>
                            </a:cubicBezTo>
                            <a:cubicBezTo>
                              <a:pt x="2272" y="1256"/>
                              <a:pt x="2392" y="1196"/>
                              <a:pt x="2452" y="1196"/>
                            </a:cubicBezTo>
                            <a:cubicBezTo>
                              <a:pt x="2512" y="1136"/>
                              <a:pt x="2632" y="1136"/>
                              <a:pt x="2691" y="1076"/>
                            </a:cubicBezTo>
                            <a:cubicBezTo>
                              <a:pt x="2751" y="1076"/>
                              <a:pt x="2871" y="1017"/>
                              <a:pt x="2930" y="1017"/>
                            </a:cubicBezTo>
                            <a:cubicBezTo>
                              <a:pt x="2990" y="1017"/>
                              <a:pt x="3110" y="1017"/>
                              <a:pt x="3170" y="957"/>
                            </a:cubicBezTo>
                            <a:cubicBezTo>
                              <a:pt x="3229" y="957"/>
                              <a:pt x="3229" y="957"/>
                              <a:pt x="3289" y="957"/>
                            </a:cubicBezTo>
                            <a:cubicBezTo>
                              <a:pt x="3349" y="957"/>
                              <a:pt x="3349" y="957"/>
                              <a:pt x="3409" y="957"/>
                            </a:cubicBezTo>
                            <a:cubicBezTo>
                              <a:pt x="3469" y="957"/>
                              <a:pt x="3469" y="957"/>
                              <a:pt x="3528" y="957"/>
                            </a:cubicBezTo>
                            <a:cubicBezTo>
                              <a:pt x="3588" y="957"/>
                              <a:pt x="3588" y="957"/>
                              <a:pt x="3648" y="957"/>
                            </a:cubicBezTo>
                            <a:cubicBezTo>
                              <a:pt x="3708" y="957"/>
                              <a:pt x="3768" y="1017"/>
                              <a:pt x="3827" y="1017"/>
                            </a:cubicBezTo>
                            <a:cubicBezTo>
                              <a:pt x="3887" y="1017"/>
                              <a:pt x="3947" y="1076"/>
                              <a:pt x="3947" y="1076"/>
                            </a:cubicBezTo>
                            <a:cubicBezTo>
                              <a:pt x="4007" y="1076"/>
                              <a:pt x="4067" y="1136"/>
                              <a:pt x="4067" y="1136"/>
                            </a:cubicBezTo>
                            <a:cubicBezTo>
                              <a:pt x="4127" y="1196"/>
                              <a:pt x="4127" y="1196"/>
                              <a:pt x="4186" y="1256"/>
                            </a:cubicBezTo>
                            <a:cubicBezTo>
                              <a:pt x="4246" y="1256"/>
                              <a:pt x="4246" y="1316"/>
                              <a:pt x="4306" y="1375"/>
                            </a:cubicBezTo>
                            <a:cubicBezTo>
                              <a:pt x="4306" y="1435"/>
                              <a:pt x="4366" y="1435"/>
                              <a:pt x="4366" y="1495"/>
                            </a:cubicBezTo>
                            <a:cubicBezTo>
                              <a:pt x="4366" y="1555"/>
                              <a:pt x="4426" y="1555"/>
                              <a:pt x="4426" y="1615"/>
                            </a:cubicBezTo>
                            <a:cubicBezTo>
                              <a:pt x="4426" y="1674"/>
                              <a:pt x="4486" y="1734"/>
                              <a:pt x="4545" y="1794"/>
                            </a:cubicBezTo>
                            <a:moveTo>
                              <a:pt x="777" y="5681"/>
                            </a:moveTo>
                            <a:cubicBezTo>
                              <a:pt x="837" y="5741"/>
                              <a:pt x="897" y="5801"/>
                              <a:pt x="957" y="5801"/>
                            </a:cubicBezTo>
                            <a:cubicBezTo>
                              <a:pt x="1017" y="5801"/>
                              <a:pt x="1076" y="5861"/>
                              <a:pt x="1136" y="5921"/>
                            </a:cubicBezTo>
                            <a:cubicBezTo>
                              <a:pt x="1196" y="5981"/>
                              <a:pt x="1256" y="5981"/>
                              <a:pt x="1375" y="6041"/>
                            </a:cubicBezTo>
                            <a:cubicBezTo>
                              <a:pt x="1435" y="6041"/>
                              <a:pt x="1555" y="6100"/>
                              <a:pt x="1615" y="6100"/>
                            </a:cubicBezTo>
                            <a:cubicBezTo>
                              <a:pt x="1794" y="6160"/>
                              <a:pt x="1973" y="6160"/>
                              <a:pt x="2093" y="6160"/>
                            </a:cubicBezTo>
                            <a:cubicBezTo>
                              <a:pt x="2272" y="6160"/>
                              <a:pt x="2452" y="6160"/>
                              <a:pt x="2632" y="6100"/>
                            </a:cubicBezTo>
                            <a:cubicBezTo>
                              <a:pt x="2811" y="6041"/>
                              <a:pt x="2990" y="5981"/>
                              <a:pt x="3170" y="5921"/>
                            </a:cubicBezTo>
                            <a:cubicBezTo>
                              <a:pt x="3349" y="5861"/>
                              <a:pt x="3528" y="5741"/>
                              <a:pt x="3708" y="5622"/>
                            </a:cubicBezTo>
                            <a:cubicBezTo>
                              <a:pt x="3887" y="5502"/>
                              <a:pt x="4067" y="5382"/>
                              <a:pt x="4186" y="5263"/>
                            </a:cubicBezTo>
                            <a:cubicBezTo>
                              <a:pt x="4306" y="5143"/>
                              <a:pt x="4486" y="4964"/>
                              <a:pt x="4605" y="4785"/>
                            </a:cubicBezTo>
                            <a:cubicBezTo>
                              <a:pt x="4725" y="4605"/>
                              <a:pt x="4844" y="4426"/>
                              <a:pt x="4964" y="4246"/>
                            </a:cubicBezTo>
                            <a:cubicBezTo>
                              <a:pt x="5083" y="4067"/>
                              <a:pt x="5143" y="3887"/>
                              <a:pt x="5263" y="3648"/>
                            </a:cubicBezTo>
                            <a:cubicBezTo>
                              <a:pt x="5323" y="3469"/>
                              <a:pt x="5382" y="3229"/>
                              <a:pt x="5442" y="3050"/>
                            </a:cubicBezTo>
                            <a:cubicBezTo>
                              <a:pt x="5502" y="2871"/>
                              <a:pt x="5502" y="2632"/>
                              <a:pt x="5502" y="2452"/>
                            </a:cubicBezTo>
                            <a:cubicBezTo>
                              <a:pt x="5502" y="2273"/>
                              <a:pt x="5502" y="2033"/>
                              <a:pt x="5502" y="1854"/>
                            </a:cubicBezTo>
                            <a:cubicBezTo>
                              <a:pt x="5502" y="1674"/>
                              <a:pt x="5442" y="1495"/>
                              <a:pt x="5382" y="1316"/>
                            </a:cubicBezTo>
                            <a:cubicBezTo>
                              <a:pt x="5323" y="1256"/>
                              <a:pt x="5323" y="1136"/>
                              <a:pt x="5263" y="1076"/>
                            </a:cubicBezTo>
                            <a:cubicBezTo>
                              <a:pt x="5203" y="1017"/>
                              <a:pt x="5203" y="897"/>
                              <a:pt x="5143" y="837"/>
                            </a:cubicBezTo>
                            <a:cubicBezTo>
                              <a:pt x="5083" y="778"/>
                              <a:pt x="5024" y="718"/>
                              <a:pt x="4964" y="598"/>
                            </a:cubicBezTo>
                            <a:cubicBezTo>
                              <a:pt x="4904" y="478"/>
                              <a:pt x="4844" y="478"/>
                              <a:pt x="4785" y="419"/>
                            </a:cubicBezTo>
                            <a:cubicBezTo>
                              <a:pt x="4725" y="359"/>
                              <a:pt x="4665" y="299"/>
                              <a:pt x="4605" y="299"/>
                            </a:cubicBezTo>
                            <a:cubicBezTo>
                              <a:pt x="4545" y="299"/>
                              <a:pt x="4486" y="239"/>
                              <a:pt x="4426" y="179"/>
                            </a:cubicBezTo>
                            <a:cubicBezTo>
                              <a:pt x="4366" y="119"/>
                              <a:pt x="4306" y="119"/>
                              <a:pt x="4186" y="60"/>
                            </a:cubicBezTo>
                            <a:cubicBezTo>
                              <a:pt x="4067" y="0"/>
                              <a:pt x="4007" y="0"/>
                              <a:pt x="3947" y="0"/>
                            </a:cubicBezTo>
                            <a:cubicBezTo>
                              <a:pt x="3947" y="0"/>
                              <a:pt x="3887" y="0"/>
                              <a:pt x="3887" y="0"/>
                            </a:cubicBezTo>
                            <a:cubicBezTo>
                              <a:pt x="3887" y="0"/>
                              <a:pt x="3827" y="0"/>
                              <a:pt x="3827" y="0"/>
                            </a:cubicBezTo>
                            <a:cubicBezTo>
                              <a:pt x="3827" y="0"/>
                              <a:pt x="3768" y="0"/>
                              <a:pt x="3768" y="0"/>
                            </a:cubicBezTo>
                            <a:cubicBezTo>
                              <a:pt x="3768" y="0"/>
                              <a:pt x="3708" y="0"/>
                              <a:pt x="3708" y="0"/>
                            </a:cubicBezTo>
                            <a:cubicBezTo>
                              <a:pt x="3648" y="0"/>
                              <a:pt x="3528" y="0"/>
                              <a:pt x="3469" y="0"/>
                            </a:cubicBezTo>
                            <a:cubicBezTo>
                              <a:pt x="3409" y="0"/>
                              <a:pt x="3289" y="0"/>
                              <a:pt x="3229" y="0"/>
                            </a:cubicBezTo>
                            <a:cubicBezTo>
                              <a:pt x="3110" y="0"/>
                              <a:pt x="3050" y="0"/>
                              <a:pt x="2930" y="60"/>
                            </a:cubicBezTo>
                            <a:cubicBezTo>
                              <a:pt x="2811" y="119"/>
                              <a:pt x="2751" y="119"/>
                              <a:pt x="2632" y="119"/>
                            </a:cubicBezTo>
                            <a:cubicBezTo>
                              <a:pt x="2572" y="119"/>
                              <a:pt x="2512" y="179"/>
                              <a:pt x="2392" y="179"/>
                            </a:cubicBezTo>
                            <a:cubicBezTo>
                              <a:pt x="2272" y="179"/>
                              <a:pt x="2272" y="239"/>
                              <a:pt x="2213" y="299"/>
                            </a:cubicBezTo>
                            <a:cubicBezTo>
                              <a:pt x="2153" y="359"/>
                              <a:pt x="2093" y="359"/>
                              <a:pt x="2033" y="419"/>
                            </a:cubicBezTo>
                            <a:cubicBezTo>
                              <a:pt x="1973" y="478"/>
                              <a:pt x="1914" y="478"/>
                              <a:pt x="1854" y="538"/>
                            </a:cubicBezTo>
                            <a:cubicBezTo>
                              <a:pt x="1674" y="658"/>
                              <a:pt x="1495" y="778"/>
                              <a:pt x="1375" y="897"/>
                            </a:cubicBezTo>
                            <a:cubicBezTo>
                              <a:pt x="1196" y="1017"/>
                              <a:pt x="1076" y="1196"/>
                              <a:pt x="957" y="1375"/>
                            </a:cubicBezTo>
                            <a:cubicBezTo>
                              <a:pt x="837" y="1555"/>
                              <a:pt x="718" y="1734"/>
                              <a:pt x="598" y="1914"/>
                            </a:cubicBezTo>
                            <a:cubicBezTo>
                              <a:pt x="478" y="2093"/>
                              <a:pt x="418" y="2273"/>
                              <a:pt x="299" y="2512"/>
                            </a:cubicBezTo>
                            <a:cubicBezTo>
                              <a:pt x="239" y="2632"/>
                              <a:pt x="179" y="2811"/>
                              <a:pt x="179" y="2930"/>
                            </a:cubicBezTo>
                            <a:cubicBezTo>
                              <a:pt x="179" y="3050"/>
                              <a:pt x="119" y="3229"/>
                              <a:pt x="60" y="3349"/>
                            </a:cubicBezTo>
                            <a:cubicBezTo>
                              <a:pt x="0" y="3469"/>
                              <a:pt x="0" y="3588"/>
                              <a:pt x="0" y="3768"/>
                            </a:cubicBezTo>
                            <a:cubicBezTo>
                              <a:pt x="0" y="3887"/>
                              <a:pt x="0" y="4007"/>
                              <a:pt x="0" y="4127"/>
                            </a:cubicBezTo>
                            <a:cubicBezTo>
                              <a:pt x="0" y="4186"/>
                              <a:pt x="0" y="4246"/>
                              <a:pt x="0" y="4306"/>
                            </a:cubicBezTo>
                            <a:cubicBezTo>
                              <a:pt x="0" y="4366"/>
                              <a:pt x="0" y="4426"/>
                              <a:pt x="60" y="4486"/>
                            </a:cubicBezTo>
                            <a:cubicBezTo>
                              <a:pt x="60" y="4545"/>
                              <a:pt x="60" y="4605"/>
                              <a:pt x="119" y="4665"/>
                            </a:cubicBezTo>
                            <a:cubicBezTo>
                              <a:pt x="119" y="4725"/>
                              <a:pt x="179" y="4785"/>
                              <a:pt x="179" y="4844"/>
                            </a:cubicBezTo>
                            <a:cubicBezTo>
                              <a:pt x="179" y="4844"/>
                              <a:pt x="179" y="4904"/>
                              <a:pt x="179" y="4904"/>
                            </a:cubicBezTo>
                            <a:cubicBezTo>
                              <a:pt x="179" y="4904"/>
                              <a:pt x="179" y="4964"/>
                              <a:pt x="179" y="4964"/>
                            </a:cubicBezTo>
                            <a:cubicBezTo>
                              <a:pt x="179" y="4964"/>
                              <a:pt x="179" y="5024"/>
                              <a:pt x="179" y="5024"/>
                            </a:cubicBezTo>
                            <a:cubicBezTo>
                              <a:pt x="179" y="5024"/>
                              <a:pt x="179" y="5083"/>
                              <a:pt x="179" y="5083"/>
                            </a:cubicBezTo>
                            <a:cubicBezTo>
                              <a:pt x="239" y="5143"/>
                              <a:pt x="239" y="5203"/>
                              <a:pt x="299" y="5263"/>
                            </a:cubicBezTo>
                            <a:cubicBezTo>
                              <a:pt x="359" y="5323"/>
                              <a:pt x="359" y="5382"/>
                              <a:pt x="418" y="5442"/>
                            </a:cubicBezTo>
                            <a:cubicBezTo>
                              <a:pt x="478" y="5502"/>
                              <a:pt x="478" y="5562"/>
                              <a:pt x="538" y="5622"/>
                            </a:cubicBezTo>
                            <a:cubicBezTo>
                              <a:pt x="718" y="5562"/>
                              <a:pt x="777" y="5622"/>
                              <a:pt x="777" y="5681"/>
                            </a:cubicBezTo>
                          </a:path>
                        </a:pathLst>
                      </a:custGeom>
                      <a:noFill/>
                      <a:ln w="6350" cap="flat">
                        <a:solidFill>
                          <a:schemeClr val="bg1">
                            <a:alpha val="40000"/>
                          </a:schemeClr>
                        </a:solidFill>
                        <a:prstDash val="solid"/>
                        <a:miter/>
                      </a:ln>
                    </p:spPr>
                    <p:txBody>
                      <a:bodyPr rtlCol="0" anchor="ctr"/>
                      <a:lstStyle/>
                      <a:p>
                        <a:endParaRPr lang="en-GB"/>
                      </a:p>
                    </p:txBody>
                  </p:sp>
                  <p:sp>
                    <p:nvSpPr>
                      <p:cNvPr id="7538" name="Vrije vorm: vorm 7537">
                        <a:extLst>
                          <a:ext uri="{FF2B5EF4-FFF2-40B4-BE49-F238E27FC236}">
                            <a16:creationId xmlns:a16="http://schemas.microsoft.com/office/drawing/2014/main" id="{0499AFBC-ED0D-409F-8530-4107339FBE24}"/>
                          </a:ext>
                        </a:extLst>
                      </p:cNvPr>
                      <p:cNvSpPr/>
                      <p:nvPr/>
                    </p:nvSpPr>
                    <p:spPr>
                      <a:xfrm>
                        <a:off x="5331235" y="5136224"/>
                        <a:ext cx="5487" cy="6279"/>
                      </a:xfrm>
                      <a:custGeom>
                        <a:avLst/>
                        <a:gdLst>
                          <a:gd name="connsiteX0" fmla="*/ 4187 w 5487"/>
                          <a:gd name="connsiteY0" fmla="*/ 1375 h 6279"/>
                          <a:gd name="connsiteX1" fmla="*/ 4486 w 5487"/>
                          <a:gd name="connsiteY1" fmla="*/ 1794 h 6279"/>
                          <a:gd name="connsiteX2" fmla="*/ 4665 w 5487"/>
                          <a:gd name="connsiteY2" fmla="*/ 2332 h 6279"/>
                          <a:gd name="connsiteX3" fmla="*/ 4665 w 5487"/>
                          <a:gd name="connsiteY3" fmla="*/ 2930 h 6279"/>
                          <a:gd name="connsiteX4" fmla="*/ 4486 w 5487"/>
                          <a:gd name="connsiteY4" fmla="*/ 3588 h 6279"/>
                          <a:gd name="connsiteX5" fmla="*/ 4007 w 5487"/>
                          <a:gd name="connsiteY5" fmla="*/ 4366 h 6279"/>
                          <a:gd name="connsiteX6" fmla="*/ 3409 w 5487"/>
                          <a:gd name="connsiteY6" fmla="*/ 4904 h 6279"/>
                          <a:gd name="connsiteX7" fmla="*/ 2691 w 5487"/>
                          <a:gd name="connsiteY7" fmla="*/ 5203 h 6279"/>
                          <a:gd name="connsiteX8" fmla="*/ 1974 w 5487"/>
                          <a:gd name="connsiteY8" fmla="*/ 5203 h 6279"/>
                          <a:gd name="connsiteX9" fmla="*/ 1375 w 5487"/>
                          <a:gd name="connsiteY9" fmla="*/ 4904 h 6279"/>
                          <a:gd name="connsiteX10" fmla="*/ 1076 w 5487"/>
                          <a:gd name="connsiteY10" fmla="*/ 4486 h 6279"/>
                          <a:gd name="connsiteX11" fmla="*/ 897 w 5487"/>
                          <a:gd name="connsiteY11" fmla="*/ 3947 h 6279"/>
                          <a:gd name="connsiteX12" fmla="*/ 897 w 5487"/>
                          <a:gd name="connsiteY12" fmla="*/ 3349 h 6279"/>
                          <a:gd name="connsiteX13" fmla="*/ 1076 w 5487"/>
                          <a:gd name="connsiteY13" fmla="*/ 2691 h 6279"/>
                          <a:gd name="connsiteX14" fmla="*/ 1256 w 5487"/>
                          <a:gd name="connsiteY14" fmla="*/ 2273 h 6279"/>
                          <a:gd name="connsiteX15" fmla="*/ 1495 w 5487"/>
                          <a:gd name="connsiteY15" fmla="*/ 1914 h 6279"/>
                          <a:gd name="connsiteX16" fmla="*/ 1794 w 5487"/>
                          <a:gd name="connsiteY16" fmla="*/ 1615 h 6279"/>
                          <a:gd name="connsiteX17" fmla="*/ 2153 w 5487"/>
                          <a:gd name="connsiteY17" fmla="*/ 1375 h 6279"/>
                          <a:gd name="connsiteX18" fmla="*/ 2512 w 5487"/>
                          <a:gd name="connsiteY18" fmla="*/ 1196 h 6279"/>
                          <a:gd name="connsiteX19" fmla="*/ 2871 w 5487"/>
                          <a:gd name="connsiteY19" fmla="*/ 1076 h 6279"/>
                          <a:gd name="connsiteX20" fmla="*/ 3229 w 5487"/>
                          <a:gd name="connsiteY20" fmla="*/ 1017 h 6279"/>
                          <a:gd name="connsiteX21" fmla="*/ 3588 w 5487"/>
                          <a:gd name="connsiteY21" fmla="*/ 1076 h 6279"/>
                          <a:gd name="connsiteX22" fmla="*/ 3768 w 5487"/>
                          <a:gd name="connsiteY22" fmla="*/ 1136 h 6279"/>
                          <a:gd name="connsiteX23" fmla="*/ 3947 w 5487"/>
                          <a:gd name="connsiteY23" fmla="*/ 1196 h 6279"/>
                          <a:gd name="connsiteX24" fmla="*/ 4067 w 5487"/>
                          <a:gd name="connsiteY24" fmla="*/ 1256 h 6279"/>
                          <a:gd name="connsiteX25" fmla="*/ 4187 w 5487"/>
                          <a:gd name="connsiteY25" fmla="*/ 1375 h 6279"/>
                          <a:gd name="connsiteX26" fmla="*/ 718 w 5487"/>
                          <a:gd name="connsiteY26" fmla="*/ 5741 h 6279"/>
                          <a:gd name="connsiteX27" fmla="*/ 897 w 5487"/>
                          <a:gd name="connsiteY27" fmla="*/ 5921 h 6279"/>
                          <a:gd name="connsiteX28" fmla="*/ 1076 w 5487"/>
                          <a:gd name="connsiteY28" fmla="*/ 6040 h 6279"/>
                          <a:gd name="connsiteX29" fmla="*/ 1316 w 5487"/>
                          <a:gd name="connsiteY29" fmla="*/ 6160 h 6279"/>
                          <a:gd name="connsiteX30" fmla="*/ 1555 w 5487"/>
                          <a:gd name="connsiteY30" fmla="*/ 6220 h 6279"/>
                          <a:gd name="connsiteX31" fmla="*/ 2033 w 5487"/>
                          <a:gd name="connsiteY31" fmla="*/ 6280 h 6279"/>
                          <a:gd name="connsiteX32" fmla="*/ 2572 w 5487"/>
                          <a:gd name="connsiteY32" fmla="*/ 6220 h 6279"/>
                          <a:gd name="connsiteX33" fmla="*/ 3110 w 5487"/>
                          <a:gd name="connsiteY33" fmla="*/ 6040 h 6279"/>
                          <a:gd name="connsiteX34" fmla="*/ 3648 w 5487"/>
                          <a:gd name="connsiteY34" fmla="*/ 5741 h 6279"/>
                          <a:gd name="connsiteX35" fmla="*/ 4127 w 5487"/>
                          <a:gd name="connsiteY35" fmla="*/ 5323 h 6279"/>
                          <a:gd name="connsiteX36" fmla="*/ 4545 w 5487"/>
                          <a:gd name="connsiteY36" fmla="*/ 4844 h 6279"/>
                          <a:gd name="connsiteX37" fmla="*/ 4904 w 5487"/>
                          <a:gd name="connsiteY37" fmla="*/ 4306 h 6279"/>
                          <a:gd name="connsiteX38" fmla="*/ 5203 w 5487"/>
                          <a:gd name="connsiteY38" fmla="*/ 3708 h 6279"/>
                          <a:gd name="connsiteX39" fmla="*/ 5442 w 5487"/>
                          <a:gd name="connsiteY39" fmla="*/ 2751 h 6279"/>
                          <a:gd name="connsiteX40" fmla="*/ 5442 w 5487"/>
                          <a:gd name="connsiteY40" fmla="*/ 1854 h 6279"/>
                          <a:gd name="connsiteX41" fmla="*/ 5203 w 5487"/>
                          <a:gd name="connsiteY41" fmla="*/ 1076 h 6279"/>
                          <a:gd name="connsiteX42" fmla="*/ 4725 w 5487"/>
                          <a:gd name="connsiteY42" fmla="*/ 478 h 6279"/>
                          <a:gd name="connsiteX43" fmla="*/ 4545 w 5487"/>
                          <a:gd name="connsiteY43" fmla="*/ 359 h 6279"/>
                          <a:gd name="connsiteX44" fmla="*/ 4366 w 5487"/>
                          <a:gd name="connsiteY44" fmla="*/ 239 h 6279"/>
                          <a:gd name="connsiteX45" fmla="*/ 4127 w 5487"/>
                          <a:gd name="connsiteY45" fmla="*/ 119 h 6279"/>
                          <a:gd name="connsiteX46" fmla="*/ 3887 w 5487"/>
                          <a:gd name="connsiteY46" fmla="*/ 60 h 6279"/>
                          <a:gd name="connsiteX47" fmla="*/ 3409 w 5487"/>
                          <a:gd name="connsiteY47" fmla="*/ 0 h 6279"/>
                          <a:gd name="connsiteX48" fmla="*/ 2871 w 5487"/>
                          <a:gd name="connsiteY48" fmla="*/ 60 h 6279"/>
                          <a:gd name="connsiteX49" fmla="*/ 2333 w 5487"/>
                          <a:gd name="connsiteY49" fmla="*/ 239 h 6279"/>
                          <a:gd name="connsiteX50" fmla="*/ 1794 w 5487"/>
                          <a:gd name="connsiteY50" fmla="*/ 538 h 6279"/>
                          <a:gd name="connsiteX51" fmla="*/ 1316 w 5487"/>
                          <a:gd name="connsiteY51" fmla="*/ 897 h 6279"/>
                          <a:gd name="connsiteX52" fmla="*/ 897 w 5487"/>
                          <a:gd name="connsiteY52" fmla="*/ 1375 h 6279"/>
                          <a:gd name="connsiteX53" fmla="*/ 538 w 5487"/>
                          <a:gd name="connsiteY53" fmla="*/ 1914 h 6279"/>
                          <a:gd name="connsiteX54" fmla="*/ 239 w 5487"/>
                          <a:gd name="connsiteY54" fmla="*/ 2512 h 6279"/>
                          <a:gd name="connsiteX55" fmla="*/ 60 w 5487"/>
                          <a:gd name="connsiteY55" fmla="*/ 3110 h 6279"/>
                          <a:gd name="connsiteX56" fmla="*/ 0 w 5487"/>
                          <a:gd name="connsiteY56" fmla="*/ 3708 h 6279"/>
                          <a:gd name="connsiteX57" fmla="*/ 0 w 5487"/>
                          <a:gd name="connsiteY57" fmla="*/ 4306 h 6279"/>
                          <a:gd name="connsiteX58" fmla="*/ 119 w 5487"/>
                          <a:gd name="connsiteY58" fmla="*/ 4844 h 6279"/>
                          <a:gd name="connsiteX59" fmla="*/ 239 w 5487"/>
                          <a:gd name="connsiteY59" fmla="*/ 5083 h 6279"/>
                          <a:gd name="connsiteX60" fmla="*/ 359 w 5487"/>
                          <a:gd name="connsiteY60" fmla="*/ 5323 h 6279"/>
                          <a:gd name="connsiteX61" fmla="*/ 538 w 5487"/>
                          <a:gd name="connsiteY61" fmla="*/ 5562 h 6279"/>
                          <a:gd name="connsiteX62" fmla="*/ 718 w 5487"/>
                          <a:gd name="connsiteY62" fmla="*/ 574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487" h="6279">
                            <a:moveTo>
                              <a:pt x="4187" y="1375"/>
                            </a:moveTo>
                            <a:cubicBezTo>
                              <a:pt x="4306" y="1495"/>
                              <a:pt x="4426" y="1615"/>
                              <a:pt x="4486" y="1794"/>
                            </a:cubicBezTo>
                            <a:cubicBezTo>
                              <a:pt x="4545" y="1973"/>
                              <a:pt x="4605" y="2153"/>
                              <a:pt x="4665" y="2332"/>
                            </a:cubicBezTo>
                            <a:cubicBezTo>
                              <a:pt x="4665" y="2512"/>
                              <a:pt x="4665" y="2751"/>
                              <a:pt x="4665" y="2930"/>
                            </a:cubicBezTo>
                            <a:cubicBezTo>
                              <a:pt x="4665" y="3110"/>
                              <a:pt x="4605" y="3349"/>
                              <a:pt x="4486" y="3588"/>
                            </a:cubicBezTo>
                            <a:cubicBezTo>
                              <a:pt x="4366" y="3887"/>
                              <a:pt x="4246" y="4127"/>
                              <a:pt x="4007" y="4366"/>
                            </a:cubicBezTo>
                            <a:cubicBezTo>
                              <a:pt x="3828" y="4605"/>
                              <a:pt x="3588" y="4785"/>
                              <a:pt x="3409" y="4904"/>
                            </a:cubicBezTo>
                            <a:cubicBezTo>
                              <a:pt x="3170" y="5024"/>
                              <a:pt x="2930" y="5143"/>
                              <a:pt x="2691" y="5203"/>
                            </a:cubicBezTo>
                            <a:cubicBezTo>
                              <a:pt x="2452" y="5263"/>
                              <a:pt x="2213" y="5263"/>
                              <a:pt x="1974" y="5203"/>
                            </a:cubicBezTo>
                            <a:lnTo>
                              <a:pt x="1375" y="4904"/>
                            </a:lnTo>
                            <a:cubicBezTo>
                              <a:pt x="1256" y="4785"/>
                              <a:pt x="1136" y="4665"/>
                              <a:pt x="1076" y="4486"/>
                            </a:cubicBezTo>
                            <a:cubicBezTo>
                              <a:pt x="1017" y="4306"/>
                              <a:pt x="957" y="4127"/>
                              <a:pt x="897" y="3947"/>
                            </a:cubicBezTo>
                            <a:cubicBezTo>
                              <a:pt x="897" y="3768"/>
                              <a:pt x="837" y="3528"/>
                              <a:pt x="897" y="3349"/>
                            </a:cubicBezTo>
                            <a:cubicBezTo>
                              <a:pt x="897" y="3110"/>
                              <a:pt x="957" y="2930"/>
                              <a:pt x="1076" y="2691"/>
                            </a:cubicBezTo>
                            <a:cubicBezTo>
                              <a:pt x="1136" y="2572"/>
                              <a:pt x="1196" y="2452"/>
                              <a:pt x="1256" y="2273"/>
                            </a:cubicBezTo>
                            <a:cubicBezTo>
                              <a:pt x="1316" y="2153"/>
                              <a:pt x="1435" y="2033"/>
                              <a:pt x="1495" y="1914"/>
                            </a:cubicBezTo>
                            <a:cubicBezTo>
                              <a:pt x="1615" y="1794"/>
                              <a:pt x="1674" y="1674"/>
                              <a:pt x="1794" y="1615"/>
                            </a:cubicBezTo>
                            <a:cubicBezTo>
                              <a:pt x="1914" y="1555"/>
                              <a:pt x="2033" y="1435"/>
                              <a:pt x="2153" y="1375"/>
                            </a:cubicBezTo>
                            <a:cubicBezTo>
                              <a:pt x="2273" y="1316"/>
                              <a:pt x="2392" y="1256"/>
                              <a:pt x="2512" y="1196"/>
                            </a:cubicBezTo>
                            <a:cubicBezTo>
                              <a:pt x="2632" y="1136"/>
                              <a:pt x="2751" y="1136"/>
                              <a:pt x="2871" y="1076"/>
                            </a:cubicBezTo>
                            <a:cubicBezTo>
                              <a:pt x="2990" y="1076"/>
                              <a:pt x="3110" y="1017"/>
                              <a:pt x="3229" y="1017"/>
                            </a:cubicBezTo>
                            <a:cubicBezTo>
                              <a:pt x="3349" y="1017"/>
                              <a:pt x="3469" y="1017"/>
                              <a:pt x="3588" y="1076"/>
                            </a:cubicBezTo>
                            <a:cubicBezTo>
                              <a:pt x="3648" y="1076"/>
                              <a:pt x="3708" y="1136"/>
                              <a:pt x="3768" y="1136"/>
                            </a:cubicBezTo>
                            <a:cubicBezTo>
                              <a:pt x="3828" y="1136"/>
                              <a:pt x="3887" y="1196"/>
                              <a:pt x="3947" y="1196"/>
                            </a:cubicBezTo>
                            <a:cubicBezTo>
                              <a:pt x="4007" y="1196"/>
                              <a:pt x="4067" y="1256"/>
                              <a:pt x="4067" y="1256"/>
                            </a:cubicBezTo>
                            <a:cubicBezTo>
                              <a:pt x="4127" y="1316"/>
                              <a:pt x="4127" y="1316"/>
                              <a:pt x="4187" y="1375"/>
                            </a:cubicBezTo>
                            <a:moveTo>
                              <a:pt x="718" y="5741"/>
                            </a:moveTo>
                            <a:cubicBezTo>
                              <a:pt x="778" y="5801"/>
                              <a:pt x="837" y="5861"/>
                              <a:pt x="897" y="5921"/>
                            </a:cubicBezTo>
                            <a:cubicBezTo>
                              <a:pt x="957" y="5981"/>
                              <a:pt x="1017" y="5981"/>
                              <a:pt x="1076" y="6040"/>
                            </a:cubicBezTo>
                            <a:cubicBezTo>
                              <a:pt x="1136" y="6100"/>
                              <a:pt x="1196" y="6100"/>
                              <a:pt x="1316" y="6160"/>
                            </a:cubicBezTo>
                            <a:cubicBezTo>
                              <a:pt x="1375" y="6220"/>
                              <a:pt x="1495" y="6220"/>
                              <a:pt x="1555" y="6220"/>
                            </a:cubicBezTo>
                            <a:cubicBezTo>
                              <a:pt x="1734" y="6280"/>
                              <a:pt x="1914" y="6280"/>
                              <a:pt x="2033" y="6280"/>
                            </a:cubicBezTo>
                            <a:cubicBezTo>
                              <a:pt x="2153" y="6280"/>
                              <a:pt x="2392" y="6280"/>
                              <a:pt x="2572" y="6220"/>
                            </a:cubicBezTo>
                            <a:cubicBezTo>
                              <a:pt x="2751" y="6160"/>
                              <a:pt x="2930" y="6100"/>
                              <a:pt x="3110" y="6040"/>
                            </a:cubicBezTo>
                            <a:cubicBezTo>
                              <a:pt x="3289" y="5981"/>
                              <a:pt x="3469" y="5861"/>
                              <a:pt x="3648" y="5741"/>
                            </a:cubicBezTo>
                            <a:cubicBezTo>
                              <a:pt x="3828" y="5622"/>
                              <a:pt x="4007" y="5502"/>
                              <a:pt x="4127" y="5323"/>
                            </a:cubicBezTo>
                            <a:cubicBezTo>
                              <a:pt x="4246" y="5143"/>
                              <a:pt x="4426" y="5024"/>
                              <a:pt x="4545" y="4844"/>
                            </a:cubicBezTo>
                            <a:cubicBezTo>
                              <a:pt x="4665" y="4665"/>
                              <a:pt x="4785" y="4486"/>
                              <a:pt x="4904" y="4306"/>
                            </a:cubicBezTo>
                            <a:cubicBezTo>
                              <a:pt x="5024" y="4127"/>
                              <a:pt x="5083" y="3947"/>
                              <a:pt x="5203" y="3708"/>
                            </a:cubicBezTo>
                            <a:cubicBezTo>
                              <a:pt x="5323" y="3409"/>
                              <a:pt x="5382" y="3050"/>
                              <a:pt x="5442" y="2751"/>
                            </a:cubicBezTo>
                            <a:cubicBezTo>
                              <a:pt x="5502" y="2452"/>
                              <a:pt x="5502" y="2153"/>
                              <a:pt x="5442" y="1854"/>
                            </a:cubicBezTo>
                            <a:cubicBezTo>
                              <a:pt x="5382" y="1555"/>
                              <a:pt x="5323" y="1316"/>
                              <a:pt x="5203" y="1076"/>
                            </a:cubicBezTo>
                            <a:cubicBezTo>
                              <a:pt x="5083" y="837"/>
                              <a:pt x="4964" y="658"/>
                              <a:pt x="4725" y="478"/>
                            </a:cubicBezTo>
                            <a:cubicBezTo>
                              <a:pt x="4665" y="418"/>
                              <a:pt x="4605" y="359"/>
                              <a:pt x="4545" y="359"/>
                            </a:cubicBezTo>
                            <a:cubicBezTo>
                              <a:pt x="4486" y="299"/>
                              <a:pt x="4426" y="299"/>
                              <a:pt x="4366" y="239"/>
                            </a:cubicBezTo>
                            <a:cubicBezTo>
                              <a:pt x="4306" y="179"/>
                              <a:pt x="4246" y="179"/>
                              <a:pt x="4127" y="119"/>
                            </a:cubicBezTo>
                            <a:cubicBezTo>
                              <a:pt x="4007" y="60"/>
                              <a:pt x="3947" y="60"/>
                              <a:pt x="3887" y="60"/>
                            </a:cubicBezTo>
                            <a:cubicBezTo>
                              <a:pt x="3708" y="0"/>
                              <a:pt x="3528" y="0"/>
                              <a:pt x="3409" y="0"/>
                            </a:cubicBezTo>
                            <a:cubicBezTo>
                              <a:pt x="3289" y="0"/>
                              <a:pt x="3050" y="0"/>
                              <a:pt x="2871" y="60"/>
                            </a:cubicBezTo>
                            <a:cubicBezTo>
                              <a:pt x="2691" y="119"/>
                              <a:pt x="2512" y="179"/>
                              <a:pt x="2333" y="239"/>
                            </a:cubicBezTo>
                            <a:cubicBezTo>
                              <a:pt x="2153" y="299"/>
                              <a:pt x="1974" y="418"/>
                              <a:pt x="1794" y="538"/>
                            </a:cubicBezTo>
                            <a:cubicBezTo>
                              <a:pt x="1615" y="658"/>
                              <a:pt x="1435" y="778"/>
                              <a:pt x="1316" y="897"/>
                            </a:cubicBezTo>
                            <a:cubicBezTo>
                              <a:pt x="1136" y="1017"/>
                              <a:pt x="1017" y="1196"/>
                              <a:pt x="897" y="1375"/>
                            </a:cubicBezTo>
                            <a:cubicBezTo>
                              <a:pt x="778" y="1555"/>
                              <a:pt x="658" y="1734"/>
                              <a:pt x="538" y="1914"/>
                            </a:cubicBezTo>
                            <a:cubicBezTo>
                              <a:pt x="419" y="2093"/>
                              <a:pt x="299" y="2273"/>
                              <a:pt x="239" y="2512"/>
                            </a:cubicBezTo>
                            <a:cubicBezTo>
                              <a:pt x="179" y="2691"/>
                              <a:pt x="119" y="2930"/>
                              <a:pt x="60" y="3110"/>
                            </a:cubicBezTo>
                            <a:cubicBezTo>
                              <a:pt x="0" y="3289"/>
                              <a:pt x="0" y="3528"/>
                              <a:pt x="0" y="3708"/>
                            </a:cubicBezTo>
                            <a:cubicBezTo>
                              <a:pt x="0" y="3887"/>
                              <a:pt x="0" y="4127"/>
                              <a:pt x="0" y="4306"/>
                            </a:cubicBezTo>
                            <a:cubicBezTo>
                              <a:pt x="0" y="4486"/>
                              <a:pt x="60" y="4665"/>
                              <a:pt x="119" y="4844"/>
                            </a:cubicBezTo>
                            <a:cubicBezTo>
                              <a:pt x="179" y="4964"/>
                              <a:pt x="179" y="5024"/>
                              <a:pt x="239" y="5083"/>
                            </a:cubicBezTo>
                            <a:cubicBezTo>
                              <a:pt x="299" y="5143"/>
                              <a:pt x="299" y="5263"/>
                              <a:pt x="359" y="5323"/>
                            </a:cubicBezTo>
                            <a:cubicBezTo>
                              <a:pt x="419" y="5382"/>
                              <a:pt x="479" y="5442"/>
                              <a:pt x="538" y="5562"/>
                            </a:cubicBezTo>
                            <a:cubicBezTo>
                              <a:pt x="598" y="5622"/>
                              <a:pt x="658" y="5681"/>
                              <a:pt x="718" y="5741"/>
                            </a:cubicBezTo>
                          </a:path>
                        </a:pathLst>
                      </a:custGeom>
                      <a:noFill/>
                      <a:ln w="6350" cap="flat">
                        <a:solidFill>
                          <a:schemeClr val="bg1">
                            <a:alpha val="40000"/>
                          </a:schemeClr>
                        </a:solidFill>
                        <a:prstDash val="solid"/>
                        <a:miter/>
                      </a:ln>
                    </p:spPr>
                    <p:txBody>
                      <a:bodyPr rtlCol="0" anchor="ctr"/>
                      <a:lstStyle/>
                      <a:p>
                        <a:endParaRPr lang="en-GB"/>
                      </a:p>
                    </p:txBody>
                  </p:sp>
                  <p:sp>
                    <p:nvSpPr>
                      <p:cNvPr id="7539" name="Vrije vorm: vorm 7538">
                        <a:extLst>
                          <a:ext uri="{FF2B5EF4-FFF2-40B4-BE49-F238E27FC236}">
                            <a16:creationId xmlns:a16="http://schemas.microsoft.com/office/drawing/2014/main" id="{8376BE39-F7EE-4260-9FF7-B9C4A890AEA7}"/>
                          </a:ext>
                        </a:extLst>
                      </p:cNvPr>
                      <p:cNvSpPr/>
                      <p:nvPr/>
                    </p:nvSpPr>
                    <p:spPr>
                      <a:xfrm>
                        <a:off x="5331953" y="5126535"/>
                        <a:ext cx="5442" cy="6159"/>
                      </a:xfrm>
                      <a:custGeom>
                        <a:avLst/>
                        <a:gdLst>
                          <a:gd name="connsiteX0" fmla="*/ 1615 w 5442"/>
                          <a:gd name="connsiteY0" fmla="*/ 5083 h 6159"/>
                          <a:gd name="connsiteX1" fmla="*/ 1495 w 5442"/>
                          <a:gd name="connsiteY1" fmla="*/ 5024 h 6159"/>
                          <a:gd name="connsiteX2" fmla="*/ 1375 w 5442"/>
                          <a:gd name="connsiteY2" fmla="*/ 4964 h 6159"/>
                          <a:gd name="connsiteX3" fmla="*/ 1256 w 5442"/>
                          <a:gd name="connsiteY3" fmla="*/ 4904 h 6159"/>
                          <a:gd name="connsiteX4" fmla="*/ 1196 w 5442"/>
                          <a:gd name="connsiteY4" fmla="*/ 4844 h 6159"/>
                          <a:gd name="connsiteX5" fmla="*/ 1076 w 5442"/>
                          <a:gd name="connsiteY5" fmla="*/ 4605 h 6159"/>
                          <a:gd name="connsiteX6" fmla="*/ 837 w 5442"/>
                          <a:gd name="connsiteY6" fmla="*/ 4246 h 6159"/>
                          <a:gd name="connsiteX7" fmla="*/ 718 w 5442"/>
                          <a:gd name="connsiteY7" fmla="*/ 3469 h 6159"/>
                          <a:gd name="connsiteX8" fmla="*/ 897 w 5442"/>
                          <a:gd name="connsiteY8" fmla="*/ 2631 h 6159"/>
                          <a:gd name="connsiteX9" fmla="*/ 1316 w 5442"/>
                          <a:gd name="connsiteY9" fmla="*/ 1914 h 6159"/>
                          <a:gd name="connsiteX10" fmla="*/ 1974 w 5442"/>
                          <a:gd name="connsiteY10" fmla="*/ 1316 h 6159"/>
                          <a:gd name="connsiteX11" fmla="*/ 2512 w 5442"/>
                          <a:gd name="connsiteY11" fmla="*/ 1076 h 6159"/>
                          <a:gd name="connsiteX12" fmla="*/ 3050 w 5442"/>
                          <a:gd name="connsiteY12" fmla="*/ 1017 h 6159"/>
                          <a:gd name="connsiteX13" fmla="*/ 3528 w 5442"/>
                          <a:gd name="connsiteY13" fmla="*/ 1136 h 6159"/>
                          <a:gd name="connsiteX14" fmla="*/ 3947 w 5442"/>
                          <a:gd name="connsiteY14" fmla="*/ 1375 h 6159"/>
                          <a:gd name="connsiteX15" fmla="*/ 4067 w 5442"/>
                          <a:gd name="connsiteY15" fmla="*/ 1495 h 6159"/>
                          <a:gd name="connsiteX16" fmla="*/ 4187 w 5442"/>
                          <a:gd name="connsiteY16" fmla="*/ 1615 h 6159"/>
                          <a:gd name="connsiteX17" fmla="*/ 4246 w 5442"/>
                          <a:gd name="connsiteY17" fmla="*/ 1794 h 6159"/>
                          <a:gd name="connsiteX18" fmla="*/ 4306 w 5442"/>
                          <a:gd name="connsiteY18" fmla="*/ 1973 h 6159"/>
                          <a:gd name="connsiteX19" fmla="*/ 4426 w 5442"/>
                          <a:gd name="connsiteY19" fmla="*/ 2751 h 6159"/>
                          <a:gd name="connsiteX20" fmla="*/ 4246 w 5442"/>
                          <a:gd name="connsiteY20" fmla="*/ 3528 h 6159"/>
                          <a:gd name="connsiteX21" fmla="*/ 3828 w 5442"/>
                          <a:gd name="connsiteY21" fmla="*/ 4246 h 6159"/>
                          <a:gd name="connsiteX22" fmla="*/ 3170 w 5442"/>
                          <a:gd name="connsiteY22" fmla="*/ 4844 h 6159"/>
                          <a:gd name="connsiteX23" fmla="*/ 2751 w 5442"/>
                          <a:gd name="connsiteY23" fmla="*/ 5083 h 6159"/>
                          <a:gd name="connsiteX24" fmla="*/ 2333 w 5442"/>
                          <a:gd name="connsiteY24" fmla="*/ 5203 h 6159"/>
                          <a:gd name="connsiteX25" fmla="*/ 1914 w 5442"/>
                          <a:gd name="connsiteY25" fmla="*/ 5203 h 6159"/>
                          <a:gd name="connsiteX26" fmla="*/ 1615 w 5442"/>
                          <a:gd name="connsiteY26" fmla="*/ 5083 h 6159"/>
                          <a:gd name="connsiteX27" fmla="*/ 538 w 5442"/>
                          <a:gd name="connsiteY27" fmla="*/ 5681 h 6159"/>
                          <a:gd name="connsiteX28" fmla="*/ 658 w 5442"/>
                          <a:gd name="connsiteY28" fmla="*/ 5741 h 6159"/>
                          <a:gd name="connsiteX29" fmla="*/ 778 w 5442"/>
                          <a:gd name="connsiteY29" fmla="*/ 5801 h 6159"/>
                          <a:gd name="connsiteX30" fmla="*/ 897 w 5442"/>
                          <a:gd name="connsiteY30" fmla="*/ 5861 h 6159"/>
                          <a:gd name="connsiteX31" fmla="*/ 1017 w 5442"/>
                          <a:gd name="connsiteY31" fmla="*/ 5921 h 6159"/>
                          <a:gd name="connsiteX32" fmla="*/ 1435 w 5442"/>
                          <a:gd name="connsiteY32" fmla="*/ 6100 h 6159"/>
                          <a:gd name="connsiteX33" fmla="*/ 1854 w 5442"/>
                          <a:gd name="connsiteY33" fmla="*/ 6160 h 6159"/>
                          <a:gd name="connsiteX34" fmla="*/ 2333 w 5442"/>
                          <a:gd name="connsiteY34" fmla="*/ 6160 h 6159"/>
                          <a:gd name="connsiteX35" fmla="*/ 2811 w 5442"/>
                          <a:gd name="connsiteY35" fmla="*/ 6040 h 6159"/>
                          <a:gd name="connsiteX36" fmla="*/ 2990 w 5442"/>
                          <a:gd name="connsiteY36" fmla="*/ 5981 h 6159"/>
                          <a:gd name="connsiteX37" fmla="*/ 3170 w 5442"/>
                          <a:gd name="connsiteY37" fmla="*/ 5921 h 6159"/>
                          <a:gd name="connsiteX38" fmla="*/ 3349 w 5442"/>
                          <a:gd name="connsiteY38" fmla="*/ 5801 h 6159"/>
                          <a:gd name="connsiteX39" fmla="*/ 3528 w 5442"/>
                          <a:gd name="connsiteY39" fmla="*/ 5681 h 6159"/>
                          <a:gd name="connsiteX40" fmla="*/ 4486 w 5442"/>
                          <a:gd name="connsiteY40" fmla="*/ 4785 h 6159"/>
                          <a:gd name="connsiteX41" fmla="*/ 5143 w 5442"/>
                          <a:gd name="connsiteY41" fmla="*/ 3648 h 6159"/>
                          <a:gd name="connsiteX42" fmla="*/ 5442 w 5442"/>
                          <a:gd name="connsiteY42" fmla="*/ 2452 h 6159"/>
                          <a:gd name="connsiteX43" fmla="*/ 5323 w 5442"/>
                          <a:gd name="connsiteY43" fmla="*/ 1316 h 6159"/>
                          <a:gd name="connsiteX44" fmla="*/ 5203 w 5442"/>
                          <a:gd name="connsiteY44" fmla="*/ 1076 h 6159"/>
                          <a:gd name="connsiteX45" fmla="*/ 5083 w 5442"/>
                          <a:gd name="connsiteY45" fmla="*/ 837 h 6159"/>
                          <a:gd name="connsiteX46" fmla="*/ 4904 w 5442"/>
                          <a:gd name="connsiteY46" fmla="*/ 658 h 6159"/>
                          <a:gd name="connsiteX47" fmla="*/ 4725 w 5442"/>
                          <a:gd name="connsiteY47" fmla="*/ 478 h 6159"/>
                          <a:gd name="connsiteX48" fmla="*/ 4127 w 5442"/>
                          <a:gd name="connsiteY48" fmla="*/ 119 h 6159"/>
                          <a:gd name="connsiteX49" fmla="*/ 3409 w 5442"/>
                          <a:gd name="connsiteY49" fmla="*/ 0 h 6159"/>
                          <a:gd name="connsiteX50" fmla="*/ 2632 w 5442"/>
                          <a:gd name="connsiteY50" fmla="*/ 119 h 6159"/>
                          <a:gd name="connsiteX51" fmla="*/ 1794 w 5442"/>
                          <a:gd name="connsiteY51" fmla="*/ 538 h 6159"/>
                          <a:gd name="connsiteX52" fmla="*/ 1076 w 5442"/>
                          <a:gd name="connsiteY52" fmla="*/ 1136 h 6159"/>
                          <a:gd name="connsiteX53" fmla="*/ 538 w 5442"/>
                          <a:gd name="connsiteY53" fmla="*/ 1854 h 6159"/>
                          <a:gd name="connsiteX54" fmla="*/ 179 w 5442"/>
                          <a:gd name="connsiteY54" fmla="*/ 2691 h 6159"/>
                          <a:gd name="connsiteX55" fmla="*/ 0 w 5442"/>
                          <a:gd name="connsiteY55" fmla="*/ 3528 h 6159"/>
                          <a:gd name="connsiteX56" fmla="*/ 0 w 5442"/>
                          <a:gd name="connsiteY56" fmla="*/ 3887 h 6159"/>
                          <a:gd name="connsiteX57" fmla="*/ 0 w 5442"/>
                          <a:gd name="connsiteY57" fmla="*/ 4246 h 6159"/>
                          <a:gd name="connsiteX58" fmla="*/ 60 w 5442"/>
                          <a:gd name="connsiteY58" fmla="*/ 4545 h 6159"/>
                          <a:gd name="connsiteX59" fmla="*/ 120 w 5442"/>
                          <a:gd name="connsiteY59" fmla="*/ 4844 h 6159"/>
                          <a:gd name="connsiteX60" fmla="*/ 179 w 5442"/>
                          <a:gd name="connsiteY60" fmla="*/ 4964 h 6159"/>
                          <a:gd name="connsiteX61" fmla="*/ 239 w 5442"/>
                          <a:gd name="connsiteY61" fmla="*/ 5083 h 6159"/>
                          <a:gd name="connsiteX62" fmla="*/ 299 w 5442"/>
                          <a:gd name="connsiteY62" fmla="*/ 5203 h 6159"/>
                          <a:gd name="connsiteX63" fmla="*/ 359 w 5442"/>
                          <a:gd name="connsiteY63" fmla="*/ 5323 h 6159"/>
                          <a:gd name="connsiteX64" fmla="*/ 419 w 5442"/>
                          <a:gd name="connsiteY64" fmla="*/ 5442 h 6159"/>
                          <a:gd name="connsiteX65" fmla="*/ 479 w 5442"/>
                          <a:gd name="connsiteY65" fmla="*/ 5562 h 6159"/>
                          <a:gd name="connsiteX66" fmla="*/ 538 w 5442"/>
                          <a:gd name="connsiteY66" fmla="*/ 5681 h 6159"/>
                          <a:gd name="connsiteX67" fmla="*/ 538 w 5442"/>
                          <a:gd name="connsiteY67" fmla="*/ 5681 h 6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442" h="6159">
                            <a:moveTo>
                              <a:pt x="1615" y="5083"/>
                            </a:moveTo>
                            <a:cubicBezTo>
                              <a:pt x="1555" y="5083"/>
                              <a:pt x="1555" y="5083"/>
                              <a:pt x="1495" y="5024"/>
                            </a:cubicBezTo>
                            <a:cubicBezTo>
                              <a:pt x="1435" y="4964"/>
                              <a:pt x="1435" y="4964"/>
                              <a:pt x="1375" y="4964"/>
                            </a:cubicBezTo>
                            <a:cubicBezTo>
                              <a:pt x="1316" y="4964"/>
                              <a:pt x="1316" y="4904"/>
                              <a:pt x="1256" y="4904"/>
                            </a:cubicBezTo>
                            <a:cubicBezTo>
                              <a:pt x="1256" y="4904"/>
                              <a:pt x="1196" y="4844"/>
                              <a:pt x="1196" y="4844"/>
                            </a:cubicBezTo>
                            <a:lnTo>
                              <a:pt x="1076" y="4605"/>
                            </a:lnTo>
                            <a:lnTo>
                              <a:pt x="837" y="4246"/>
                            </a:lnTo>
                            <a:cubicBezTo>
                              <a:pt x="778" y="4007"/>
                              <a:pt x="718" y="3768"/>
                              <a:pt x="718" y="3469"/>
                            </a:cubicBezTo>
                            <a:cubicBezTo>
                              <a:pt x="718" y="3229"/>
                              <a:pt x="778" y="2930"/>
                              <a:pt x="897" y="2631"/>
                            </a:cubicBezTo>
                            <a:cubicBezTo>
                              <a:pt x="1017" y="2392"/>
                              <a:pt x="1136" y="2093"/>
                              <a:pt x="1316" y="1914"/>
                            </a:cubicBezTo>
                            <a:cubicBezTo>
                              <a:pt x="1495" y="1674"/>
                              <a:pt x="1734" y="1495"/>
                              <a:pt x="1974" y="1316"/>
                            </a:cubicBezTo>
                            <a:cubicBezTo>
                              <a:pt x="2153" y="1196"/>
                              <a:pt x="2333" y="1136"/>
                              <a:pt x="2512" y="1076"/>
                            </a:cubicBezTo>
                            <a:cubicBezTo>
                              <a:pt x="2691" y="1017"/>
                              <a:pt x="2871" y="1017"/>
                              <a:pt x="3050" y="1017"/>
                            </a:cubicBezTo>
                            <a:cubicBezTo>
                              <a:pt x="3229" y="1017"/>
                              <a:pt x="3409" y="1076"/>
                              <a:pt x="3528" y="1136"/>
                            </a:cubicBezTo>
                            <a:cubicBezTo>
                              <a:pt x="3708" y="1196"/>
                              <a:pt x="3828" y="1256"/>
                              <a:pt x="3947" y="1375"/>
                            </a:cubicBezTo>
                            <a:cubicBezTo>
                              <a:pt x="4007" y="1435"/>
                              <a:pt x="4007" y="1435"/>
                              <a:pt x="4067" y="1495"/>
                            </a:cubicBezTo>
                            <a:cubicBezTo>
                              <a:pt x="4127" y="1555"/>
                              <a:pt x="4127" y="1615"/>
                              <a:pt x="4187" y="1615"/>
                            </a:cubicBezTo>
                            <a:cubicBezTo>
                              <a:pt x="4246" y="1674"/>
                              <a:pt x="4246" y="1734"/>
                              <a:pt x="4246" y="1794"/>
                            </a:cubicBezTo>
                            <a:cubicBezTo>
                              <a:pt x="4246" y="1854"/>
                              <a:pt x="4306" y="1914"/>
                              <a:pt x="4306" y="1973"/>
                            </a:cubicBezTo>
                            <a:cubicBezTo>
                              <a:pt x="4366" y="2213"/>
                              <a:pt x="4426" y="2452"/>
                              <a:pt x="4426" y="2751"/>
                            </a:cubicBezTo>
                            <a:cubicBezTo>
                              <a:pt x="4426" y="2990"/>
                              <a:pt x="4366" y="3289"/>
                              <a:pt x="4246" y="3528"/>
                            </a:cubicBezTo>
                            <a:cubicBezTo>
                              <a:pt x="4127" y="3768"/>
                              <a:pt x="4007" y="4067"/>
                              <a:pt x="3828" y="4246"/>
                            </a:cubicBezTo>
                            <a:cubicBezTo>
                              <a:pt x="3648" y="4486"/>
                              <a:pt x="3409" y="4665"/>
                              <a:pt x="3170" y="4844"/>
                            </a:cubicBezTo>
                            <a:cubicBezTo>
                              <a:pt x="3050" y="4964"/>
                              <a:pt x="2871" y="5024"/>
                              <a:pt x="2751" y="5083"/>
                            </a:cubicBezTo>
                            <a:cubicBezTo>
                              <a:pt x="2632" y="5143"/>
                              <a:pt x="2452" y="5203"/>
                              <a:pt x="2333" y="5203"/>
                            </a:cubicBezTo>
                            <a:cubicBezTo>
                              <a:pt x="2213" y="5203"/>
                              <a:pt x="2033" y="5203"/>
                              <a:pt x="1914" y="5203"/>
                            </a:cubicBezTo>
                            <a:cubicBezTo>
                              <a:pt x="1854" y="5143"/>
                              <a:pt x="1734" y="5083"/>
                              <a:pt x="1615" y="5083"/>
                            </a:cubicBezTo>
                            <a:moveTo>
                              <a:pt x="538" y="5681"/>
                            </a:moveTo>
                            <a:cubicBezTo>
                              <a:pt x="598" y="5681"/>
                              <a:pt x="598" y="5741"/>
                              <a:pt x="658" y="5741"/>
                            </a:cubicBezTo>
                            <a:cubicBezTo>
                              <a:pt x="718" y="5741"/>
                              <a:pt x="718" y="5801"/>
                              <a:pt x="778" y="5801"/>
                            </a:cubicBezTo>
                            <a:cubicBezTo>
                              <a:pt x="837" y="5801"/>
                              <a:pt x="837" y="5861"/>
                              <a:pt x="897" y="5861"/>
                            </a:cubicBezTo>
                            <a:cubicBezTo>
                              <a:pt x="957" y="5861"/>
                              <a:pt x="957" y="5921"/>
                              <a:pt x="1017" y="5921"/>
                            </a:cubicBezTo>
                            <a:cubicBezTo>
                              <a:pt x="1136" y="5981"/>
                              <a:pt x="1256" y="6040"/>
                              <a:pt x="1435" y="6100"/>
                            </a:cubicBezTo>
                            <a:cubicBezTo>
                              <a:pt x="1615" y="6160"/>
                              <a:pt x="1734" y="6160"/>
                              <a:pt x="1854" y="6160"/>
                            </a:cubicBezTo>
                            <a:cubicBezTo>
                              <a:pt x="1974" y="6160"/>
                              <a:pt x="2153" y="6160"/>
                              <a:pt x="2333" y="6160"/>
                            </a:cubicBezTo>
                            <a:cubicBezTo>
                              <a:pt x="2512" y="6160"/>
                              <a:pt x="2632" y="6100"/>
                              <a:pt x="2811" y="6040"/>
                            </a:cubicBezTo>
                            <a:cubicBezTo>
                              <a:pt x="2871" y="6040"/>
                              <a:pt x="2930" y="5981"/>
                              <a:pt x="2990" y="5981"/>
                            </a:cubicBezTo>
                            <a:cubicBezTo>
                              <a:pt x="3050" y="5981"/>
                              <a:pt x="3110" y="5921"/>
                              <a:pt x="3170" y="5921"/>
                            </a:cubicBezTo>
                            <a:cubicBezTo>
                              <a:pt x="3229" y="5921"/>
                              <a:pt x="3289" y="5861"/>
                              <a:pt x="3349" y="5801"/>
                            </a:cubicBezTo>
                            <a:cubicBezTo>
                              <a:pt x="3409" y="5741"/>
                              <a:pt x="3469" y="5741"/>
                              <a:pt x="3528" y="5681"/>
                            </a:cubicBezTo>
                            <a:cubicBezTo>
                              <a:pt x="3887" y="5442"/>
                              <a:pt x="4187" y="5143"/>
                              <a:pt x="4486" y="4785"/>
                            </a:cubicBezTo>
                            <a:cubicBezTo>
                              <a:pt x="4785" y="4426"/>
                              <a:pt x="4964" y="4067"/>
                              <a:pt x="5143" y="3648"/>
                            </a:cubicBezTo>
                            <a:cubicBezTo>
                              <a:pt x="5323" y="3229"/>
                              <a:pt x="5382" y="2871"/>
                              <a:pt x="5442" y="2452"/>
                            </a:cubicBezTo>
                            <a:cubicBezTo>
                              <a:pt x="5442" y="2033"/>
                              <a:pt x="5442" y="1674"/>
                              <a:pt x="5323" y="1316"/>
                            </a:cubicBezTo>
                            <a:cubicBezTo>
                              <a:pt x="5263" y="1256"/>
                              <a:pt x="5263" y="1136"/>
                              <a:pt x="5203" y="1076"/>
                            </a:cubicBezTo>
                            <a:cubicBezTo>
                              <a:pt x="5143" y="1017"/>
                              <a:pt x="5083" y="897"/>
                              <a:pt x="5083" y="837"/>
                            </a:cubicBezTo>
                            <a:cubicBezTo>
                              <a:pt x="5024" y="777"/>
                              <a:pt x="4964" y="718"/>
                              <a:pt x="4904" y="658"/>
                            </a:cubicBezTo>
                            <a:cubicBezTo>
                              <a:pt x="4844" y="598"/>
                              <a:pt x="4785" y="538"/>
                              <a:pt x="4725" y="478"/>
                            </a:cubicBezTo>
                            <a:cubicBezTo>
                              <a:pt x="4545" y="299"/>
                              <a:pt x="4366" y="179"/>
                              <a:pt x="4127" y="119"/>
                            </a:cubicBezTo>
                            <a:cubicBezTo>
                              <a:pt x="3887" y="60"/>
                              <a:pt x="3648" y="0"/>
                              <a:pt x="3409" y="0"/>
                            </a:cubicBezTo>
                            <a:cubicBezTo>
                              <a:pt x="3170" y="0"/>
                              <a:pt x="2871" y="60"/>
                              <a:pt x="2632" y="119"/>
                            </a:cubicBezTo>
                            <a:cubicBezTo>
                              <a:pt x="2333" y="179"/>
                              <a:pt x="2093" y="359"/>
                              <a:pt x="1794" y="538"/>
                            </a:cubicBezTo>
                            <a:cubicBezTo>
                              <a:pt x="1555" y="718"/>
                              <a:pt x="1316" y="897"/>
                              <a:pt x="1076" y="1136"/>
                            </a:cubicBezTo>
                            <a:cubicBezTo>
                              <a:pt x="837" y="1375"/>
                              <a:pt x="658" y="1615"/>
                              <a:pt x="538" y="1854"/>
                            </a:cubicBezTo>
                            <a:cubicBezTo>
                              <a:pt x="419" y="2093"/>
                              <a:pt x="239" y="2392"/>
                              <a:pt x="179" y="2691"/>
                            </a:cubicBezTo>
                            <a:cubicBezTo>
                              <a:pt x="120" y="2990"/>
                              <a:pt x="0" y="3289"/>
                              <a:pt x="0" y="3528"/>
                            </a:cubicBezTo>
                            <a:cubicBezTo>
                              <a:pt x="0" y="3648"/>
                              <a:pt x="0" y="3768"/>
                              <a:pt x="0" y="3887"/>
                            </a:cubicBezTo>
                            <a:cubicBezTo>
                              <a:pt x="0" y="4007"/>
                              <a:pt x="0" y="4126"/>
                              <a:pt x="0" y="4246"/>
                            </a:cubicBezTo>
                            <a:cubicBezTo>
                              <a:pt x="0" y="4366"/>
                              <a:pt x="0" y="4486"/>
                              <a:pt x="60" y="4545"/>
                            </a:cubicBezTo>
                            <a:cubicBezTo>
                              <a:pt x="60" y="4665"/>
                              <a:pt x="120" y="4785"/>
                              <a:pt x="120" y="4844"/>
                            </a:cubicBezTo>
                            <a:cubicBezTo>
                              <a:pt x="120" y="4904"/>
                              <a:pt x="179" y="4904"/>
                              <a:pt x="179" y="4964"/>
                            </a:cubicBezTo>
                            <a:cubicBezTo>
                              <a:pt x="179" y="5024"/>
                              <a:pt x="239" y="5024"/>
                              <a:pt x="239" y="5083"/>
                            </a:cubicBezTo>
                            <a:cubicBezTo>
                              <a:pt x="239" y="5143"/>
                              <a:pt x="299" y="5143"/>
                              <a:pt x="299" y="5203"/>
                            </a:cubicBezTo>
                            <a:cubicBezTo>
                              <a:pt x="299" y="5263"/>
                              <a:pt x="359" y="5263"/>
                              <a:pt x="359" y="5323"/>
                            </a:cubicBezTo>
                            <a:cubicBezTo>
                              <a:pt x="359" y="5382"/>
                              <a:pt x="419" y="5382"/>
                              <a:pt x="419" y="5442"/>
                            </a:cubicBezTo>
                            <a:cubicBezTo>
                              <a:pt x="419" y="5502"/>
                              <a:pt x="479" y="5502"/>
                              <a:pt x="479" y="5562"/>
                            </a:cubicBezTo>
                            <a:cubicBezTo>
                              <a:pt x="479" y="5622"/>
                              <a:pt x="538" y="5622"/>
                              <a:pt x="538" y="5681"/>
                            </a:cubicBezTo>
                            <a:cubicBezTo>
                              <a:pt x="479" y="5622"/>
                              <a:pt x="538" y="5622"/>
                              <a:pt x="538" y="5681"/>
                            </a:cubicBezTo>
                          </a:path>
                        </a:pathLst>
                      </a:custGeom>
                      <a:noFill/>
                      <a:ln w="6350" cap="flat">
                        <a:solidFill>
                          <a:schemeClr val="bg1">
                            <a:alpha val="40000"/>
                          </a:schemeClr>
                        </a:solidFill>
                        <a:prstDash val="solid"/>
                        <a:miter/>
                      </a:ln>
                    </p:spPr>
                    <p:txBody>
                      <a:bodyPr rtlCol="0" anchor="ctr"/>
                      <a:lstStyle/>
                      <a:p>
                        <a:endParaRPr lang="en-GB"/>
                      </a:p>
                    </p:txBody>
                  </p:sp>
                  <p:sp>
                    <p:nvSpPr>
                      <p:cNvPr id="7540" name="Vrije vorm: vorm 7539">
                        <a:extLst>
                          <a:ext uri="{FF2B5EF4-FFF2-40B4-BE49-F238E27FC236}">
                            <a16:creationId xmlns:a16="http://schemas.microsoft.com/office/drawing/2014/main" id="{327A0278-ED3D-4836-B6A5-437C4C2D1EED}"/>
                          </a:ext>
                        </a:extLst>
                      </p:cNvPr>
                      <p:cNvSpPr/>
                      <p:nvPr/>
                    </p:nvSpPr>
                    <p:spPr>
                      <a:xfrm>
                        <a:off x="5326032" y="5120674"/>
                        <a:ext cx="5502" cy="6399"/>
                      </a:xfrm>
                      <a:custGeom>
                        <a:avLst/>
                        <a:gdLst>
                          <a:gd name="connsiteX0" fmla="*/ 1734 w 5502"/>
                          <a:gd name="connsiteY0" fmla="*/ 5263 h 6399"/>
                          <a:gd name="connsiteX1" fmla="*/ 1316 w 5502"/>
                          <a:gd name="connsiteY1" fmla="*/ 5024 h 6399"/>
                          <a:gd name="connsiteX2" fmla="*/ 1256 w 5502"/>
                          <a:gd name="connsiteY2" fmla="*/ 4964 h 6399"/>
                          <a:gd name="connsiteX3" fmla="*/ 1196 w 5502"/>
                          <a:gd name="connsiteY3" fmla="*/ 4904 h 6399"/>
                          <a:gd name="connsiteX4" fmla="*/ 1136 w 5502"/>
                          <a:gd name="connsiteY4" fmla="*/ 4844 h 6399"/>
                          <a:gd name="connsiteX5" fmla="*/ 1076 w 5502"/>
                          <a:gd name="connsiteY5" fmla="*/ 4785 h 6399"/>
                          <a:gd name="connsiteX6" fmla="*/ 897 w 5502"/>
                          <a:gd name="connsiteY6" fmla="*/ 4366 h 6399"/>
                          <a:gd name="connsiteX7" fmla="*/ 837 w 5502"/>
                          <a:gd name="connsiteY7" fmla="*/ 3888 h 6399"/>
                          <a:gd name="connsiteX8" fmla="*/ 897 w 5502"/>
                          <a:gd name="connsiteY8" fmla="*/ 3349 h 6399"/>
                          <a:gd name="connsiteX9" fmla="*/ 1076 w 5502"/>
                          <a:gd name="connsiteY9" fmla="*/ 2811 h 6399"/>
                          <a:gd name="connsiteX10" fmla="*/ 1555 w 5502"/>
                          <a:gd name="connsiteY10" fmla="*/ 2034 h 6399"/>
                          <a:gd name="connsiteX11" fmla="*/ 2153 w 5502"/>
                          <a:gd name="connsiteY11" fmla="*/ 1495 h 6399"/>
                          <a:gd name="connsiteX12" fmla="*/ 2871 w 5502"/>
                          <a:gd name="connsiteY12" fmla="*/ 1196 h 6399"/>
                          <a:gd name="connsiteX13" fmla="*/ 3588 w 5502"/>
                          <a:gd name="connsiteY13" fmla="*/ 1196 h 6399"/>
                          <a:gd name="connsiteX14" fmla="*/ 3648 w 5502"/>
                          <a:gd name="connsiteY14" fmla="*/ 1196 h 6399"/>
                          <a:gd name="connsiteX15" fmla="*/ 3708 w 5502"/>
                          <a:gd name="connsiteY15" fmla="*/ 1196 h 6399"/>
                          <a:gd name="connsiteX16" fmla="*/ 3768 w 5502"/>
                          <a:gd name="connsiteY16" fmla="*/ 1256 h 6399"/>
                          <a:gd name="connsiteX17" fmla="*/ 3827 w 5502"/>
                          <a:gd name="connsiteY17" fmla="*/ 1316 h 6399"/>
                          <a:gd name="connsiteX18" fmla="*/ 3887 w 5502"/>
                          <a:gd name="connsiteY18" fmla="*/ 1376 h 6399"/>
                          <a:gd name="connsiteX19" fmla="*/ 3947 w 5502"/>
                          <a:gd name="connsiteY19" fmla="*/ 1435 h 6399"/>
                          <a:gd name="connsiteX20" fmla="*/ 4007 w 5502"/>
                          <a:gd name="connsiteY20" fmla="*/ 1495 h 6399"/>
                          <a:gd name="connsiteX21" fmla="*/ 4067 w 5502"/>
                          <a:gd name="connsiteY21" fmla="*/ 1555 h 6399"/>
                          <a:gd name="connsiteX22" fmla="*/ 4187 w 5502"/>
                          <a:gd name="connsiteY22" fmla="*/ 1675 h 6399"/>
                          <a:gd name="connsiteX23" fmla="*/ 4246 w 5502"/>
                          <a:gd name="connsiteY23" fmla="*/ 1794 h 6399"/>
                          <a:gd name="connsiteX24" fmla="*/ 4306 w 5502"/>
                          <a:gd name="connsiteY24" fmla="*/ 1914 h 6399"/>
                          <a:gd name="connsiteX25" fmla="*/ 4366 w 5502"/>
                          <a:gd name="connsiteY25" fmla="*/ 2034 h 6399"/>
                          <a:gd name="connsiteX26" fmla="*/ 4486 w 5502"/>
                          <a:gd name="connsiteY26" fmla="*/ 2452 h 6399"/>
                          <a:gd name="connsiteX27" fmla="*/ 4545 w 5502"/>
                          <a:gd name="connsiteY27" fmla="*/ 2871 h 6399"/>
                          <a:gd name="connsiteX28" fmla="*/ 4486 w 5502"/>
                          <a:gd name="connsiteY28" fmla="*/ 3349 h 6399"/>
                          <a:gd name="connsiteX29" fmla="*/ 4366 w 5502"/>
                          <a:gd name="connsiteY29" fmla="*/ 3828 h 6399"/>
                          <a:gd name="connsiteX30" fmla="*/ 4187 w 5502"/>
                          <a:gd name="connsiteY30" fmla="*/ 4246 h 6399"/>
                          <a:gd name="connsiteX31" fmla="*/ 3947 w 5502"/>
                          <a:gd name="connsiteY31" fmla="*/ 4605 h 6399"/>
                          <a:gd name="connsiteX32" fmla="*/ 3648 w 5502"/>
                          <a:gd name="connsiteY32" fmla="*/ 4904 h 6399"/>
                          <a:gd name="connsiteX33" fmla="*/ 3349 w 5502"/>
                          <a:gd name="connsiteY33" fmla="*/ 5143 h 6399"/>
                          <a:gd name="connsiteX34" fmla="*/ 2990 w 5502"/>
                          <a:gd name="connsiteY34" fmla="*/ 5323 h 6399"/>
                          <a:gd name="connsiteX35" fmla="*/ 2632 w 5502"/>
                          <a:gd name="connsiteY35" fmla="*/ 5443 h 6399"/>
                          <a:gd name="connsiteX36" fmla="*/ 2273 w 5502"/>
                          <a:gd name="connsiteY36" fmla="*/ 5502 h 6399"/>
                          <a:gd name="connsiteX37" fmla="*/ 1914 w 5502"/>
                          <a:gd name="connsiteY37" fmla="*/ 5443 h 6399"/>
                          <a:gd name="connsiteX38" fmla="*/ 1734 w 5502"/>
                          <a:gd name="connsiteY38" fmla="*/ 5263 h 6399"/>
                          <a:gd name="connsiteX39" fmla="*/ 658 w 5502"/>
                          <a:gd name="connsiteY39" fmla="*/ 5921 h 6399"/>
                          <a:gd name="connsiteX40" fmla="*/ 837 w 5502"/>
                          <a:gd name="connsiteY40" fmla="*/ 6041 h 6399"/>
                          <a:gd name="connsiteX41" fmla="*/ 1017 w 5502"/>
                          <a:gd name="connsiteY41" fmla="*/ 6160 h 6399"/>
                          <a:gd name="connsiteX42" fmla="*/ 1256 w 5502"/>
                          <a:gd name="connsiteY42" fmla="*/ 6280 h 6399"/>
                          <a:gd name="connsiteX43" fmla="*/ 1495 w 5502"/>
                          <a:gd name="connsiteY43" fmla="*/ 6340 h 6399"/>
                          <a:gd name="connsiteX44" fmla="*/ 1794 w 5502"/>
                          <a:gd name="connsiteY44" fmla="*/ 6399 h 6399"/>
                          <a:gd name="connsiteX45" fmla="*/ 2093 w 5502"/>
                          <a:gd name="connsiteY45" fmla="*/ 6399 h 6399"/>
                          <a:gd name="connsiteX46" fmla="*/ 2392 w 5502"/>
                          <a:gd name="connsiteY46" fmla="*/ 6399 h 6399"/>
                          <a:gd name="connsiteX47" fmla="*/ 2691 w 5502"/>
                          <a:gd name="connsiteY47" fmla="*/ 6340 h 6399"/>
                          <a:gd name="connsiteX48" fmla="*/ 2930 w 5502"/>
                          <a:gd name="connsiteY48" fmla="*/ 6280 h 6399"/>
                          <a:gd name="connsiteX49" fmla="*/ 3170 w 5502"/>
                          <a:gd name="connsiteY49" fmla="*/ 6160 h 6399"/>
                          <a:gd name="connsiteX50" fmla="*/ 3409 w 5502"/>
                          <a:gd name="connsiteY50" fmla="*/ 6041 h 6399"/>
                          <a:gd name="connsiteX51" fmla="*/ 3648 w 5502"/>
                          <a:gd name="connsiteY51" fmla="*/ 5861 h 6399"/>
                          <a:gd name="connsiteX52" fmla="*/ 4127 w 5502"/>
                          <a:gd name="connsiteY52" fmla="*/ 5502 h 6399"/>
                          <a:gd name="connsiteX53" fmla="*/ 4545 w 5502"/>
                          <a:gd name="connsiteY53" fmla="*/ 5024 h 6399"/>
                          <a:gd name="connsiteX54" fmla="*/ 4904 w 5502"/>
                          <a:gd name="connsiteY54" fmla="*/ 4486 h 6399"/>
                          <a:gd name="connsiteX55" fmla="*/ 5203 w 5502"/>
                          <a:gd name="connsiteY55" fmla="*/ 3888 h 6399"/>
                          <a:gd name="connsiteX56" fmla="*/ 5442 w 5502"/>
                          <a:gd name="connsiteY56" fmla="*/ 3110 h 6399"/>
                          <a:gd name="connsiteX57" fmla="*/ 5502 w 5502"/>
                          <a:gd name="connsiteY57" fmla="*/ 2333 h 6399"/>
                          <a:gd name="connsiteX58" fmla="*/ 5382 w 5502"/>
                          <a:gd name="connsiteY58" fmla="*/ 1615 h 6399"/>
                          <a:gd name="connsiteX59" fmla="*/ 5083 w 5502"/>
                          <a:gd name="connsiteY59" fmla="*/ 1017 h 6399"/>
                          <a:gd name="connsiteX60" fmla="*/ 5024 w 5502"/>
                          <a:gd name="connsiteY60" fmla="*/ 897 h 6399"/>
                          <a:gd name="connsiteX61" fmla="*/ 4964 w 5502"/>
                          <a:gd name="connsiteY61" fmla="*/ 778 h 6399"/>
                          <a:gd name="connsiteX62" fmla="*/ 4904 w 5502"/>
                          <a:gd name="connsiteY62" fmla="*/ 658 h 6399"/>
                          <a:gd name="connsiteX63" fmla="*/ 4785 w 5502"/>
                          <a:gd name="connsiteY63" fmla="*/ 538 h 6399"/>
                          <a:gd name="connsiteX64" fmla="*/ 4725 w 5502"/>
                          <a:gd name="connsiteY64" fmla="*/ 479 h 6399"/>
                          <a:gd name="connsiteX65" fmla="*/ 4665 w 5502"/>
                          <a:gd name="connsiteY65" fmla="*/ 419 h 6399"/>
                          <a:gd name="connsiteX66" fmla="*/ 4605 w 5502"/>
                          <a:gd name="connsiteY66" fmla="*/ 359 h 6399"/>
                          <a:gd name="connsiteX67" fmla="*/ 4545 w 5502"/>
                          <a:gd name="connsiteY67" fmla="*/ 299 h 6399"/>
                          <a:gd name="connsiteX68" fmla="*/ 4426 w 5502"/>
                          <a:gd name="connsiteY68" fmla="*/ 239 h 6399"/>
                          <a:gd name="connsiteX69" fmla="*/ 4306 w 5502"/>
                          <a:gd name="connsiteY69" fmla="*/ 180 h 6399"/>
                          <a:gd name="connsiteX70" fmla="*/ 4127 w 5502"/>
                          <a:gd name="connsiteY70" fmla="*/ 120 h 6399"/>
                          <a:gd name="connsiteX71" fmla="*/ 3947 w 5502"/>
                          <a:gd name="connsiteY71" fmla="*/ 60 h 6399"/>
                          <a:gd name="connsiteX72" fmla="*/ 3409 w 5502"/>
                          <a:gd name="connsiteY72" fmla="*/ 0 h 6399"/>
                          <a:gd name="connsiteX73" fmla="*/ 2871 w 5502"/>
                          <a:gd name="connsiteY73" fmla="*/ 60 h 6399"/>
                          <a:gd name="connsiteX74" fmla="*/ 2332 w 5502"/>
                          <a:gd name="connsiteY74" fmla="*/ 239 h 6399"/>
                          <a:gd name="connsiteX75" fmla="*/ 1794 w 5502"/>
                          <a:gd name="connsiteY75" fmla="*/ 538 h 6399"/>
                          <a:gd name="connsiteX76" fmla="*/ 1316 w 5502"/>
                          <a:gd name="connsiteY76" fmla="*/ 897 h 6399"/>
                          <a:gd name="connsiteX77" fmla="*/ 897 w 5502"/>
                          <a:gd name="connsiteY77" fmla="*/ 1376 h 6399"/>
                          <a:gd name="connsiteX78" fmla="*/ 538 w 5502"/>
                          <a:gd name="connsiteY78" fmla="*/ 1914 h 6399"/>
                          <a:gd name="connsiteX79" fmla="*/ 239 w 5502"/>
                          <a:gd name="connsiteY79" fmla="*/ 2512 h 6399"/>
                          <a:gd name="connsiteX80" fmla="*/ 119 w 5502"/>
                          <a:gd name="connsiteY80" fmla="*/ 2811 h 6399"/>
                          <a:gd name="connsiteX81" fmla="*/ 60 w 5502"/>
                          <a:gd name="connsiteY81" fmla="*/ 3110 h 6399"/>
                          <a:gd name="connsiteX82" fmla="*/ 0 w 5502"/>
                          <a:gd name="connsiteY82" fmla="*/ 3409 h 6399"/>
                          <a:gd name="connsiteX83" fmla="*/ 0 w 5502"/>
                          <a:gd name="connsiteY83" fmla="*/ 3708 h 6399"/>
                          <a:gd name="connsiteX84" fmla="*/ 0 w 5502"/>
                          <a:gd name="connsiteY84" fmla="*/ 4187 h 6399"/>
                          <a:gd name="connsiteX85" fmla="*/ 119 w 5502"/>
                          <a:gd name="connsiteY85" fmla="*/ 4665 h 6399"/>
                          <a:gd name="connsiteX86" fmla="*/ 299 w 5502"/>
                          <a:gd name="connsiteY86" fmla="*/ 5084 h 6399"/>
                          <a:gd name="connsiteX87" fmla="*/ 538 w 5502"/>
                          <a:gd name="connsiteY87" fmla="*/ 5443 h 6399"/>
                          <a:gd name="connsiteX88" fmla="*/ 598 w 5502"/>
                          <a:gd name="connsiteY88" fmla="*/ 5502 h 6399"/>
                          <a:gd name="connsiteX89" fmla="*/ 658 w 5502"/>
                          <a:gd name="connsiteY89" fmla="*/ 5562 h 6399"/>
                          <a:gd name="connsiteX90" fmla="*/ 718 w 5502"/>
                          <a:gd name="connsiteY90" fmla="*/ 5622 h 6399"/>
                          <a:gd name="connsiteX91" fmla="*/ 658 w 5502"/>
                          <a:gd name="connsiteY91" fmla="*/ 5921 h 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502" h="6399">
                            <a:moveTo>
                              <a:pt x="1734" y="5263"/>
                            </a:moveTo>
                            <a:lnTo>
                              <a:pt x="1316" y="5024"/>
                            </a:lnTo>
                            <a:cubicBezTo>
                              <a:pt x="1316" y="5024"/>
                              <a:pt x="1256" y="4964"/>
                              <a:pt x="1256" y="4964"/>
                            </a:cubicBezTo>
                            <a:cubicBezTo>
                              <a:pt x="1256" y="4964"/>
                              <a:pt x="1196" y="4904"/>
                              <a:pt x="1196" y="4904"/>
                            </a:cubicBezTo>
                            <a:cubicBezTo>
                              <a:pt x="1196" y="4904"/>
                              <a:pt x="1136" y="4844"/>
                              <a:pt x="1136" y="4844"/>
                            </a:cubicBezTo>
                            <a:cubicBezTo>
                              <a:pt x="1136" y="4844"/>
                              <a:pt x="1076" y="4785"/>
                              <a:pt x="1076" y="4785"/>
                            </a:cubicBezTo>
                            <a:cubicBezTo>
                              <a:pt x="1017" y="4665"/>
                              <a:pt x="957" y="4545"/>
                              <a:pt x="897" y="4366"/>
                            </a:cubicBezTo>
                            <a:cubicBezTo>
                              <a:pt x="837" y="4246"/>
                              <a:pt x="837" y="4067"/>
                              <a:pt x="837" y="3888"/>
                            </a:cubicBezTo>
                            <a:cubicBezTo>
                              <a:pt x="837" y="3708"/>
                              <a:pt x="837" y="3529"/>
                              <a:pt x="897" y="3349"/>
                            </a:cubicBezTo>
                            <a:cubicBezTo>
                              <a:pt x="957" y="3170"/>
                              <a:pt x="957" y="2990"/>
                              <a:pt x="1076" y="2811"/>
                            </a:cubicBezTo>
                            <a:cubicBezTo>
                              <a:pt x="1196" y="2512"/>
                              <a:pt x="1316" y="2273"/>
                              <a:pt x="1555" y="2034"/>
                            </a:cubicBezTo>
                            <a:cubicBezTo>
                              <a:pt x="1734" y="1794"/>
                              <a:pt x="1973" y="1615"/>
                              <a:pt x="2153" y="1495"/>
                            </a:cubicBezTo>
                            <a:cubicBezTo>
                              <a:pt x="2392" y="1376"/>
                              <a:pt x="2632" y="1256"/>
                              <a:pt x="2871" y="1196"/>
                            </a:cubicBezTo>
                            <a:cubicBezTo>
                              <a:pt x="3110" y="1136"/>
                              <a:pt x="3349" y="1136"/>
                              <a:pt x="3588" y="1196"/>
                            </a:cubicBezTo>
                            <a:cubicBezTo>
                              <a:pt x="3588" y="1196"/>
                              <a:pt x="3648" y="1196"/>
                              <a:pt x="3648" y="1196"/>
                            </a:cubicBezTo>
                            <a:cubicBezTo>
                              <a:pt x="3648" y="1196"/>
                              <a:pt x="3708" y="1196"/>
                              <a:pt x="3708" y="1196"/>
                            </a:cubicBezTo>
                            <a:cubicBezTo>
                              <a:pt x="3708" y="1196"/>
                              <a:pt x="3768" y="1196"/>
                              <a:pt x="3768" y="1256"/>
                            </a:cubicBezTo>
                            <a:cubicBezTo>
                              <a:pt x="3768" y="1316"/>
                              <a:pt x="3827" y="1256"/>
                              <a:pt x="3827" y="1316"/>
                            </a:cubicBezTo>
                            <a:cubicBezTo>
                              <a:pt x="3827" y="1316"/>
                              <a:pt x="3887" y="1316"/>
                              <a:pt x="3887" y="1376"/>
                            </a:cubicBezTo>
                            <a:cubicBezTo>
                              <a:pt x="3887" y="1376"/>
                              <a:pt x="3947" y="1376"/>
                              <a:pt x="3947" y="1435"/>
                            </a:cubicBezTo>
                            <a:cubicBezTo>
                              <a:pt x="3947" y="1435"/>
                              <a:pt x="4007" y="1495"/>
                              <a:pt x="4007" y="1495"/>
                            </a:cubicBezTo>
                            <a:cubicBezTo>
                              <a:pt x="4007" y="1495"/>
                              <a:pt x="4067" y="1555"/>
                              <a:pt x="4067" y="1555"/>
                            </a:cubicBezTo>
                            <a:cubicBezTo>
                              <a:pt x="4127" y="1615"/>
                              <a:pt x="4127" y="1615"/>
                              <a:pt x="4187" y="1675"/>
                            </a:cubicBezTo>
                            <a:cubicBezTo>
                              <a:pt x="4187" y="1735"/>
                              <a:pt x="4246" y="1735"/>
                              <a:pt x="4246" y="1794"/>
                            </a:cubicBezTo>
                            <a:cubicBezTo>
                              <a:pt x="4246" y="1854"/>
                              <a:pt x="4306" y="1854"/>
                              <a:pt x="4306" y="1914"/>
                            </a:cubicBezTo>
                            <a:cubicBezTo>
                              <a:pt x="4306" y="1974"/>
                              <a:pt x="4366" y="1974"/>
                              <a:pt x="4366" y="2034"/>
                            </a:cubicBezTo>
                            <a:cubicBezTo>
                              <a:pt x="4426" y="2153"/>
                              <a:pt x="4486" y="2273"/>
                              <a:pt x="4486" y="2452"/>
                            </a:cubicBezTo>
                            <a:cubicBezTo>
                              <a:pt x="4486" y="2572"/>
                              <a:pt x="4545" y="2751"/>
                              <a:pt x="4545" y="2871"/>
                            </a:cubicBezTo>
                            <a:cubicBezTo>
                              <a:pt x="4545" y="3050"/>
                              <a:pt x="4545" y="3170"/>
                              <a:pt x="4486" y="3349"/>
                            </a:cubicBezTo>
                            <a:cubicBezTo>
                              <a:pt x="4426" y="3529"/>
                              <a:pt x="4426" y="3648"/>
                              <a:pt x="4366" y="3828"/>
                            </a:cubicBezTo>
                            <a:cubicBezTo>
                              <a:pt x="4306" y="3947"/>
                              <a:pt x="4246" y="4127"/>
                              <a:pt x="4187" y="4246"/>
                            </a:cubicBezTo>
                            <a:cubicBezTo>
                              <a:pt x="4127" y="4366"/>
                              <a:pt x="4007" y="4486"/>
                              <a:pt x="3947" y="4605"/>
                            </a:cubicBezTo>
                            <a:cubicBezTo>
                              <a:pt x="3887" y="4725"/>
                              <a:pt x="3768" y="4844"/>
                              <a:pt x="3648" y="4904"/>
                            </a:cubicBezTo>
                            <a:cubicBezTo>
                              <a:pt x="3528" y="5024"/>
                              <a:pt x="3409" y="5084"/>
                              <a:pt x="3349" y="5143"/>
                            </a:cubicBezTo>
                            <a:cubicBezTo>
                              <a:pt x="3229" y="5203"/>
                              <a:pt x="3110" y="5263"/>
                              <a:pt x="2990" y="5323"/>
                            </a:cubicBezTo>
                            <a:cubicBezTo>
                              <a:pt x="2871" y="5383"/>
                              <a:pt x="2751" y="5383"/>
                              <a:pt x="2632" y="5443"/>
                            </a:cubicBezTo>
                            <a:cubicBezTo>
                              <a:pt x="2512" y="5502"/>
                              <a:pt x="2392" y="5502"/>
                              <a:pt x="2273" y="5502"/>
                            </a:cubicBezTo>
                            <a:cubicBezTo>
                              <a:pt x="2153" y="5502"/>
                              <a:pt x="2033" y="5502"/>
                              <a:pt x="1914" y="5443"/>
                            </a:cubicBezTo>
                            <a:lnTo>
                              <a:pt x="1734" y="5263"/>
                            </a:lnTo>
                            <a:moveTo>
                              <a:pt x="658" y="5921"/>
                            </a:moveTo>
                            <a:cubicBezTo>
                              <a:pt x="718" y="5981"/>
                              <a:pt x="778" y="6041"/>
                              <a:pt x="837" y="6041"/>
                            </a:cubicBezTo>
                            <a:cubicBezTo>
                              <a:pt x="897" y="6100"/>
                              <a:pt x="957" y="6100"/>
                              <a:pt x="1017" y="6160"/>
                            </a:cubicBezTo>
                            <a:cubicBezTo>
                              <a:pt x="1076" y="6220"/>
                              <a:pt x="1136" y="6220"/>
                              <a:pt x="1256" y="6280"/>
                            </a:cubicBezTo>
                            <a:cubicBezTo>
                              <a:pt x="1375" y="6340"/>
                              <a:pt x="1435" y="6340"/>
                              <a:pt x="1495" y="6340"/>
                            </a:cubicBezTo>
                            <a:cubicBezTo>
                              <a:pt x="1615" y="6340"/>
                              <a:pt x="1674" y="6399"/>
                              <a:pt x="1794" y="6399"/>
                            </a:cubicBezTo>
                            <a:cubicBezTo>
                              <a:pt x="1914" y="6399"/>
                              <a:pt x="1973" y="6399"/>
                              <a:pt x="2093" y="6399"/>
                            </a:cubicBezTo>
                            <a:cubicBezTo>
                              <a:pt x="2213" y="6399"/>
                              <a:pt x="2273" y="6399"/>
                              <a:pt x="2392" y="6399"/>
                            </a:cubicBezTo>
                            <a:cubicBezTo>
                              <a:pt x="2512" y="6399"/>
                              <a:pt x="2572" y="6399"/>
                              <a:pt x="2691" y="6340"/>
                            </a:cubicBezTo>
                            <a:cubicBezTo>
                              <a:pt x="2751" y="6340"/>
                              <a:pt x="2871" y="6280"/>
                              <a:pt x="2930" y="6280"/>
                            </a:cubicBezTo>
                            <a:cubicBezTo>
                              <a:pt x="2990" y="6280"/>
                              <a:pt x="3110" y="6220"/>
                              <a:pt x="3170" y="6160"/>
                            </a:cubicBezTo>
                            <a:cubicBezTo>
                              <a:pt x="3229" y="6100"/>
                              <a:pt x="3349" y="6100"/>
                              <a:pt x="3409" y="6041"/>
                            </a:cubicBezTo>
                            <a:cubicBezTo>
                              <a:pt x="3469" y="5981"/>
                              <a:pt x="3588" y="5921"/>
                              <a:pt x="3648" y="5861"/>
                            </a:cubicBezTo>
                            <a:cubicBezTo>
                              <a:pt x="3827" y="5742"/>
                              <a:pt x="4007" y="5622"/>
                              <a:pt x="4127" y="5502"/>
                            </a:cubicBezTo>
                            <a:cubicBezTo>
                              <a:pt x="4306" y="5383"/>
                              <a:pt x="4426" y="5203"/>
                              <a:pt x="4545" y="5024"/>
                            </a:cubicBezTo>
                            <a:cubicBezTo>
                              <a:pt x="4665" y="4844"/>
                              <a:pt x="4785" y="4665"/>
                              <a:pt x="4904" y="4486"/>
                            </a:cubicBezTo>
                            <a:cubicBezTo>
                              <a:pt x="5024" y="4306"/>
                              <a:pt x="5083" y="4127"/>
                              <a:pt x="5203" y="3888"/>
                            </a:cubicBezTo>
                            <a:cubicBezTo>
                              <a:pt x="5323" y="3648"/>
                              <a:pt x="5382" y="3349"/>
                              <a:pt x="5442" y="3110"/>
                            </a:cubicBezTo>
                            <a:cubicBezTo>
                              <a:pt x="5502" y="2871"/>
                              <a:pt x="5502" y="2572"/>
                              <a:pt x="5502" y="2333"/>
                            </a:cubicBezTo>
                            <a:cubicBezTo>
                              <a:pt x="5502" y="2093"/>
                              <a:pt x="5442" y="1854"/>
                              <a:pt x="5382" y="1615"/>
                            </a:cubicBezTo>
                            <a:cubicBezTo>
                              <a:pt x="5323" y="1376"/>
                              <a:pt x="5203" y="1196"/>
                              <a:pt x="5083" y="1017"/>
                            </a:cubicBezTo>
                            <a:cubicBezTo>
                              <a:pt x="5083" y="957"/>
                              <a:pt x="5024" y="957"/>
                              <a:pt x="5024" y="897"/>
                            </a:cubicBezTo>
                            <a:cubicBezTo>
                              <a:pt x="5024" y="837"/>
                              <a:pt x="4964" y="837"/>
                              <a:pt x="4964" y="778"/>
                            </a:cubicBezTo>
                            <a:cubicBezTo>
                              <a:pt x="4964" y="718"/>
                              <a:pt x="4904" y="718"/>
                              <a:pt x="4904" y="658"/>
                            </a:cubicBezTo>
                            <a:cubicBezTo>
                              <a:pt x="4844" y="598"/>
                              <a:pt x="4844" y="598"/>
                              <a:pt x="4785" y="538"/>
                            </a:cubicBezTo>
                            <a:cubicBezTo>
                              <a:pt x="4785" y="538"/>
                              <a:pt x="4725" y="479"/>
                              <a:pt x="4725" y="479"/>
                            </a:cubicBezTo>
                            <a:cubicBezTo>
                              <a:pt x="4725" y="479"/>
                              <a:pt x="4665" y="419"/>
                              <a:pt x="4665" y="419"/>
                            </a:cubicBezTo>
                            <a:cubicBezTo>
                              <a:pt x="4665" y="419"/>
                              <a:pt x="4605" y="359"/>
                              <a:pt x="4605" y="359"/>
                            </a:cubicBezTo>
                            <a:cubicBezTo>
                              <a:pt x="4605" y="359"/>
                              <a:pt x="4545" y="359"/>
                              <a:pt x="4545" y="299"/>
                            </a:cubicBezTo>
                            <a:cubicBezTo>
                              <a:pt x="4486" y="299"/>
                              <a:pt x="4486" y="239"/>
                              <a:pt x="4426" y="239"/>
                            </a:cubicBezTo>
                            <a:cubicBezTo>
                              <a:pt x="4366" y="239"/>
                              <a:pt x="4306" y="180"/>
                              <a:pt x="4306" y="180"/>
                            </a:cubicBezTo>
                            <a:cubicBezTo>
                              <a:pt x="4246" y="180"/>
                              <a:pt x="4187" y="120"/>
                              <a:pt x="4127" y="120"/>
                            </a:cubicBezTo>
                            <a:cubicBezTo>
                              <a:pt x="4067" y="120"/>
                              <a:pt x="4007" y="60"/>
                              <a:pt x="3947" y="60"/>
                            </a:cubicBezTo>
                            <a:cubicBezTo>
                              <a:pt x="3768" y="0"/>
                              <a:pt x="3588" y="0"/>
                              <a:pt x="3409" y="0"/>
                            </a:cubicBezTo>
                            <a:cubicBezTo>
                              <a:pt x="3229" y="0"/>
                              <a:pt x="3050" y="0"/>
                              <a:pt x="2871" y="60"/>
                            </a:cubicBezTo>
                            <a:cubicBezTo>
                              <a:pt x="2691" y="120"/>
                              <a:pt x="2512" y="180"/>
                              <a:pt x="2332" y="239"/>
                            </a:cubicBezTo>
                            <a:cubicBezTo>
                              <a:pt x="2153" y="299"/>
                              <a:pt x="1973" y="419"/>
                              <a:pt x="1794" y="538"/>
                            </a:cubicBezTo>
                            <a:cubicBezTo>
                              <a:pt x="1615" y="658"/>
                              <a:pt x="1435" y="778"/>
                              <a:pt x="1316" y="897"/>
                            </a:cubicBezTo>
                            <a:cubicBezTo>
                              <a:pt x="1136" y="1017"/>
                              <a:pt x="1017" y="1196"/>
                              <a:pt x="897" y="1376"/>
                            </a:cubicBezTo>
                            <a:cubicBezTo>
                              <a:pt x="778" y="1555"/>
                              <a:pt x="658" y="1735"/>
                              <a:pt x="538" y="1914"/>
                            </a:cubicBezTo>
                            <a:cubicBezTo>
                              <a:pt x="419" y="2093"/>
                              <a:pt x="359" y="2273"/>
                              <a:pt x="239" y="2512"/>
                            </a:cubicBezTo>
                            <a:cubicBezTo>
                              <a:pt x="179" y="2632"/>
                              <a:pt x="179" y="2751"/>
                              <a:pt x="119" y="2811"/>
                            </a:cubicBezTo>
                            <a:cubicBezTo>
                              <a:pt x="60" y="2930"/>
                              <a:pt x="60" y="2990"/>
                              <a:pt x="60" y="3110"/>
                            </a:cubicBezTo>
                            <a:cubicBezTo>
                              <a:pt x="60" y="3230"/>
                              <a:pt x="0" y="3289"/>
                              <a:pt x="0" y="3409"/>
                            </a:cubicBezTo>
                            <a:cubicBezTo>
                              <a:pt x="0" y="3529"/>
                              <a:pt x="0" y="3589"/>
                              <a:pt x="0" y="3708"/>
                            </a:cubicBezTo>
                            <a:cubicBezTo>
                              <a:pt x="0" y="3888"/>
                              <a:pt x="0" y="4067"/>
                              <a:pt x="0" y="4187"/>
                            </a:cubicBezTo>
                            <a:cubicBezTo>
                              <a:pt x="0" y="4306"/>
                              <a:pt x="60" y="4486"/>
                              <a:pt x="119" y="4665"/>
                            </a:cubicBezTo>
                            <a:cubicBezTo>
                              <a:pt x="179" y="4844"/>
                              <a:pt x="239" y="4964"/>
                              <a:pt x="299" y="5084"/>
                            </a:cubicBezTo>
                            <a:cubicBezTo>
                              <a:pt x="359" y="5203"/>
                              <a:pt x="419" y="5323"/>
                              <a:pt x="538" y="5443"/>
                            </a:cubicBezTo>
                            <a:cubicBezTo>
                              <a:pt x="538" y="5443"/>
                              <a:pt x="598" y="5502"/>
                              <a:pt x="598" y="5502"/>
                            </a:cubicBezTo>
                            <a:cubicBezTo>
                              <a:pt x="598" y="5502"/>
                              <a:pt x="658" y="5562"/>
                              <a:pt x="658" y="5562"/>
                            </a:cubicBezTo>
                            <a:cubicBezTo>
                              <a:pt x="658" y="5562"/>
                              <a:pt x="718" y="5622"/>
                              <a:pt x="718" y="5622"/>
                            </a:cubicBezTo>
                            <a:cubicBezTo>
                              <a:pt x="718" y="5622"/>
                              <a:pt x="598" y="5861"/>
                              <a:pt x="658" y="5921"/>
                            </a:cubicBezTo>
                          </a:path>
                        </a:pathLst>
                      </a:custGeom>
                      <a:noFill/>
                      <a:ln w="6350" cap="flat">
                        <a:solidFill>
                          <a:schemeClr val="bg1">
                            <a:alpha val="40000"/>
                          </a:schemeClr>
                        </a:solidFill>
                        <a:prstDash val="solid"/>
                        <a:miter/>
                      </a:ln>
                    </p:spPr>
                    <p:txBody>
                      <a:bodyPr rtlCol="0" anchor="ctr"/>
                      <a:lstStyle/>
                      <a:p>
                        <a:endParaRPr lang="en-GB"/>
                      </a:p>
                    </p:txBody>
                  </p:sp>
                  <p:sp>
                    <p:nvSpPr>
                      <p:cNvPr id="7541" name="Vrije vorm: vorm 7540">
                        <a:extLst>
                          <a:ext uri="{FF2B5EF4-FFF2-40B4-BE49-F238E27FC236}">
                            <a16:creationId xmlns:a16="http://schemas.microsoft.com/office/drawing/2014/main" id="{F714BA7C-94C7-4F62-BCDE-C9B650861417}"/>
                          </a:ext>
                        </a:extLst>
                      </p:cNvPr>
                      <p:cNvSpPr/>
                      <p:nvPr/>
                    </p:nvSpPr>
                    <p:spPr>
                      <a:xfrm>
                        <a:off x="5316941" y="5122528"/>
                        <a:ext cx="5681" cy="6339"/>
                      </a:xfrm>
                      <a:custGeom>
                        <a:avLst/>
                        <a:gdLst>
                          <a:gd name="connsiteX0" fmla="*/ 2213 w 5681"/>
                          <a:gd name="connsiteY0" fmla="*/ 5323 h 6339"/>
                          <a:gd name="connsiteX1" fmla="*/ 2034 w 5681"/>
                          <a:gd name="connsiteY1" fmla="*/ 5263 h 6339"/>
                          <a:gd name="connsiteX2" fmla="*/ 1854 w 5681"/>
                          <a:gd name="connsiteY2" fmla="*/ 5203 h 6339"/>
                          <a:gd name="connsiteX3" fmla="*/ 1675 w 5681"/>
                          <a:gd name="connsiteY3" fmla="*/ 5084 h 6339"/>
                          <a:gd name="connsiteX4" fmla="*/ 1495 w 5681"/>
                          <a:gd name="connsiteY4" fmla="*/ 4964 h 6339"/>
                          <a:gd name="connsiteX5" fmla="*/ 1435 w 5681"/>
                          <a:gd name="connsiteY5" fmla="*/ 4844 h 6339"/>
                          <a:gd name="connsiteX6" fmla="*/ 1136 w 5681"/>
                          <a:gd name="connsiteY6" fmla="*/ 4426 h 6339"/>
                          <a:gd name="connsiteX7" fmla="*/ 1017 w 5681"/>
                          <a:gd name="connsiteY7" fmla="*/ 3648 h 6339"/>
                          <a:gd name="connsiteX8" fmla="*/ 1196 w 5681"/>
                          <a:gd name="connsiteY8" fmla="*/ 2811 h 6339"/>
                          <a:gd name="connsiteX9" fmla="*/ 1615 w 5681"/>
                          <a:gd name="connsiteY9" fmla="*/ 2093 h 6339"/>
                          <a:gd name="connsiteX10" fmla="*/ 2273 w 5681"/>
                          <a:gd name="connsiteY10" fmla="*/ 1495 h 6339"/>
                          <a:gd name="connsiteX11" fmla="*/ 2871 w 5681"/>
                          <a:gd name="connsiteY11" fmla="*/ 1256 h 6339"/>
                          <a:gd name="connsiteX12" fmla="*/ 3409 w 5681"/>
                          <a:gd name="connsiteY12" fmla="*/ 1196 h 6339"/>
                          <a:gd name="connsiteX13" fmla="*/ 3888 w 5681"/>
                          <a:gd name="connsiteY13" fmla="*/ 1316 h 6339"/>
                          <a:gd name="connsiteX14" fmla="*/ 4306 w 5681"/>
                          <a:gd name="connsiteY14" fmla="*/ 1555 h 6339"/>
                          <a:gd name="connsiteX15" fmla="*/ 4426 w 5681"/>
                          <a:gd name="connsiteY15" fmla="*/ 1675 h 6339"/>
                          <a:gd name="connsiteX16" fmla="*/ 4545 w 5681"/>
                          <a:gd name="connsiteY16" fmla="*/ 1794 h 6339"/>
                          <a:gd name="connsiteX17" fmla="*/ 4605 w 5681"/>
                          <a:gd name="connsiteY17" fmla="*/ 1974 h 6339"/>
                          <a:gd name="connsiteX18" fmla="*/ 4665 w 5681"/>
                          <a:gd name="connsiteY18" fmla="*/ 2153 h 6339"/>
                          <a:gd name="connsiteX19" fmla="*/ 4785 w 5681"/>
                          <a:gd name="connsiteY19" fmla="*/ 2871 h 6339"/>
                          <a:gd name="connsiteX20" fmla="*/ 4605 w 5681"/>
                          <a:gd name="connsiteY20" fmla="*/ 3648 h 6339"/>
                          <a:gd name="connsiteX21" fmla="*/ 4246 w 5681"/>
                          <a:gd name="connsiteY21" fmla="*/ 4366 h 6339"/>
                          <a:gd name="connsiteX22" fmla="*/ 3648 w 5681"/>
                          <a:gd name="connsiteY22" fmla="*/ 4964 h 6339"/>
                          <a:gd name="connsiteX23" fmla="*/ 3588 w 5681"/>
                          <a:gd name="connsiteY23" fmla="*/ 4964 h 6339"/>
                          <a:gd name="connsiteX24" fmla="*/ 3529 w 5681"/>
                          <a:gd name="connsiteY24" fmla="*/ 4964 h 6339"/>
                          <a:gd name="connsiteX25" fmla="*/ 3469 w 5681"/>
                          <a:gd name="connsiteY25" fmla="*/ 4964 h 6339"/>
                          <a:gd name="connsiteX26" fmla="*/ 3409 w 5681"/>
                          <a:gd name="connsiteY26" fmla="*/ 4964 h 6339"/>
                          <a:gd name="connsiteX27" fmla="*/ 3229 w 5681"/>
                          <a:gd name="connsiteY27" fmla="*/ 5084 h 6339"/>
                          <a:gd name="connsiteX28" fmla="*/ 3050 w 5681"/>
                          <a:gd name="connsiteY28" fmla="*/ 5143 h 6339"/>
                          <a:gd name="connsiteX29" fmla="*/ 2871 w 5681"/>
                          <a:gd name="connsiteY29" fmla="*/ 5203 h 6339"/>
                          <a:gd name="connsiteX30" fmla="*/ 2691 w 5681"/>
                          <a:gd name="connsiteY30" fmla="*/ 5263 h 6339"/>
                          <a:gd name="connsiteX31" fmla="*/ 2572 w 5681"/>
                          <a:gd name="connsiteY31" fmla="*/ 5263 h 6339"/>
                          <a:gd name="connsiteX32" fmla="*/ 2452 w 5681"/>
                          <a:gd name="connsiteY32" fmla="*/ 5263 h 6339"/>
                          <a:gd name="connsiteX33" fmla="*/ 2333 w 5681"/>
                          <a:gd name="connsiteY33" fmla="*/ 5263 h 6339"/>
                          <a:gd name="connsiteX34" fmla="*/ 2213 w 5681"/>
                          <a:gd name="connsiteY34" fmla="*/ 5323 h 6339"/>
                          <a:gd name="connsiteX35" fmla="*/ 837 w 5681"/>
                          <a:gd name="connsiteY35" fmla="*/ 5861 h 6339"/>
                          <a:gd name="connsiteX36" fmla="*/ 897 w 5681"/>
                          <a:gd name="connsiteY36" fmla="*/ 5921 h 6339"/>
                          <a:gd name="connsiteX37" fmla="*/ 957 w 5681"/>
                          <a:gd name="connsiteY37" fmla="*/ 5981 h 6339"/>
                          <a:gd name="connsiteX38" fmla="*/ 1017 w 5681"/>
                          <a:gd name="connsiteY38" fmla="*/ 6041 h 6339"/>
                          <a:gd name="connsiteX39" fmla="*/ 1136 w 5681"/>
                          <a:gd name="connsiteY39" fmla="*/ 6100 h 6339"/>
                          <a:gd name="connsiteX40" fmla="*/ 1555 w 5681"/>
                          <a:gd name="connsiteY40" fmla="*/ 6280 h 6339"/>
                          <a:gd name="connsiteX41" fmla="*/ 2034 w 5681"/>
                          <a:gd name="connsiteY41" fmla="*/ 6340 h 6339"/>
                          <a:gd name="connsiteX42" fmla="*/ 2572 w 5681"/>
                          <a:gd name="connsiteY42" fmla="*/ 6340 h 6339"/>
                          <a:gd name="connsiteX43" fmla="*/ 3110 w 5681"/>
                          <a:gd name="connsiteY43" fmla="*/ 6220 h 6339"/>
                          <a:gd name="connsiteX44" fmla="*/ 3289 w 5681"/>
                          <a:gd name="connsiteY44" fmla="*/ 6160 h 6339"/>
                          <a:gd name="connsiteX45" fmla="*/ 3469 w 5681"/>
                          <a:gd name="connsiteY45" fmla="*/ 6100 h 6339"/>
                          <a:gd name="connsiteX46" fmla="*/ 3648 w 5681"/>
                          <a:gd name="connsiteY46" fmla="*/ 5981 h 6339"/>
                          <a:gd name="connsiteX47" fmla="*/ 3828 w 5681"/>
                          <a:gd name="connsiteY47" fmla="*/ 5861 h 6339"/>
                          <a:gd name="connsiteX48" fmla="*/ 3888 w 5681"/>
                          <a:gd name="connsiteY48" fmla="*/ 5801 h 6339"/>
                          <a:gd name="connsiteX49" fmla="*/ 3947 w 5681"/>
                          <a:gd name="connsiteY49" fmla="*/ 5742 h 6339"/>
                          <a:gd name="connsiteX50" fmla="*/ 4007 w 5681"/>
                          <a:gd name="connsiteY50" fmla="*/ 5682 h 6339"/>
                          <a:gd name="connsiteX51" fmla="*/ 4067 w 5681"/>
                          <a:gd name="connsiteY51" fmla="*/ 5622 h 6339"/>
                          <a:gd name="connsiteX52" fmla="*/ 4904 w 5681"/>
                          <a:gd name="connsiteY52" fmla="*/ 4725 h 6339"/>
                          <a:gd name="connsiteX53" fmla="*/ 5442 w 5681"/>
                          <a:gd name="connsiteY53" fmla="*/ 3648 h 6339"/>
                          <a:gd name="connsiteX54" fmla="*/ 5682 w 5681"/>
                          <a:gd name="connsiteY54" fmla="*/ 2512 h 6339"/>
                          <a:gd name="connsiteX55" fmla="*/ 5502 w 5681"/>
                          <a:gd name="connsiteY55" fmla="*/ 1435 h 6339"/>
                          <a:gd name="connsiteX56" fmla="*/ 5383 w 5681"/>
                          <a:gd name="connsiteY56" fmla="*/ 1136 h 6339"/>
                          <a:gd name="connsiteX57" fmla="*/ 5263 w 5681"/>
                          <a:gd name="connsiteY57" fmla="*/ 897 h 6339"/>
                          <a:gd name="connsiteX58" fmla="*/ 5083 w 5681"/>
                          <a:gd name="connsiteY58" fmla="*/ 718 h 6339"/>
                          <a:gd name="connsiteX59" fmla="*/ 4904 w 5681"/>
                          <a:gd name="connsiteY59" fmla="*/ 538 h 6339"/>
                          <a:gd name="connsiteX60" fmla="*/ 4306 w 5681"/>
                          <a:gd name="connsiteY60" fmla="*/ 120 h 6339"/>
                          <a:gd name="connsiteX61" fmla="*/ 3588 w 5681"/>
                          <a:gd name="connsiteY61" fmla="*/ 0 h 6339"/>
                          <a:gd name="connsiteX62" fmla="*/ 2751 w 5681"/>
                          <a:gd name="connsiteY62" fmla="*/ 120 h 6339"/>
                          <a:gd name="connsiteX63" fmla="*/ 1914 w 5681"/>
                          <a:gd name="connsiteY63" fmla="*/ 538 h 6339"/>
                          <a:gd name="connsiteX64" fmla="*/ 957 w 5681"/>
                          <a:gd name="connsiteY64" fmla="*/ 1435 h 6339"/>
                          <a:gd name="connsiteX65" fmla="*/ 299 w 5681"/>
                          <a:gd name="connsiteY65" fmla="*/ 2512 h 6339"/>
                          <a:gd name="connsiteX66" fmla="*/ 0 w 5681"/>
                          <a:gd name="connsiteY66" fmla="*/ 3708 h 6339"/>
                          <a:gd name="connsiteX67" fmla="*/ 180 w 5681"/>
                          <a:gd name="connsiteY67" fmla="*/ 4844 h 6339"/>
                          <a:gd name="connsiteX68" fmla="*/ 239 w 5681"/>
                          <a:gd name="connsiteY68" fmla="*/ 5024 h 6339"/>
                          <a:gd name="connsiteX69" fmla="*/ 299 w 5681"/>
                          <a:gd name="connsiteY69" fmla="*/ 5143 h 6339"/>
                          <a:gd name="connsiteX70" fmla="*/ 359 w 5681"/>
                          <a:gd name="connsiteY70" fmla="*/ 5263 h 6339"/>
                          <a:gd name="connsiteX71" fmla="*/ 419 w 5681"/>
                          <a:gd name="connsiteY71" fmla="*/ 5383 h 6339"/>
                          <a:gd name="connsiteX72" fmla="*/ 479 w 5681"/>
                          <a:gd name="connsiteY72" fmla="*/ 5503 h 6339"/>
                          <a:gd name="connsiteX73" fmla="*/ 538 w 5681"/>
                          <a:gd name="connsiteY73" fmla="*/ 5622 h 6339"/>
                          <a:gd name="connsiteX74" fmla="*/ 598 w 5681"/>
                          <a:gd name="connsiteY74" fmla="*/ 5682 h 6339"/>
                          <a:gd name="connsiteX75" fmla="*/ 837 w 5681"/>
                          <a:gd name="connsiteY75" fmla="*/ 5861 h 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681" h="6339">
                            <a:moveTo>
                              <a:pt x="2213" y="5323"/>
                            </a:moveTo>
                            <a:cubicBezTo>
                              <a:pt x="2153" y="5323"/>
                              <a:pt x="2093" y="5323"/>
                              <a:pt x="2034" y="5263"/>
                            </a:cubicBezTo>
                            <a:cubicBezTo>
                              <a:pt x="1974" y="5203"/>
                              <a:pt x="1914" y="5203"/>
                              <a:pt x="1854" y="5203"/>
                            </a:cubicBezTo>
                            <a:cubicBezTo>
                              <a:pt x="1794" y="5203"/>
                              <a:pt x="1734" y="5143"/>
                              <a:pt x="1675" y="5084"/>
                            </a:cubicBezTo>
                            <a:cubicBezTo>
                              <a:pt x="1615" y="5024"/>
                              <a:pt x="1555" y="5024"/>
                              <a:pt x="1495" y="4964"/>
                            </a:cubicBezTo>
                            <a:lnTo>
                              <a:pt x="1435" y="4844"/>
                            </a:lnTo>
                            <a:lnTo>
                              <a:pt x="1136" y="4426"/>
                            </a:lnTo>
                            <a:cubicBezTo>
                              <a:pt x="1017" y="4187"/>
                              <a:pt x="1017" y="3888"/>
                              <a:pt x="1017" y="3648"/>
                            </a:cubicBezTo>
                            <a:cubicBezTo>
                              <a:pt x="1017" y="3349"/>
                              <a:pt x="1076" y="3110"/>
                              <a:pt x="1196" y="2811"/>
                            </a:cubicBezTo>
                            <a:cubicBezTo>
                              <a:pt x="1316" y="2572"/>
                              <a:pt x="1435" y="2273"/>
                              <a:pt x="1615" y="2093"/>
                            </a:cubicBezTo>
                            <a:cubicBezTo>
                              <a:pt x="1794" y="1854"/>
                              <a:pt x="2034" y="1675"/>
                              <a:pt x="2273" y="1495"/>
                            </a:cubicBezTo>
                            <a:cubicBezTo>
                              <a:pt x="2452" y="1376"/>
                              <a:pt x="2632" y="1256"/>
                              <a:pt x="2871" y="1256"/>
                            </a:cubicBezTo>
                            <a:cubicBezTo>
                              <a:pt x="3050" y="1196"/>
                              <a:pt x="3229" y="1196"/>
                              <a:pt x="3409" y="1196"/>
                            </a:cubicBezTo>
                            <a:cubicBezTo>
                              <a:pt x="3588" y="1196"/>
                              <a:pt x="3768" y="1256"/>
                              <a:pt x="3888" y="1316"/>
                            </a:cubicBezTo>
                            <a:cubicBezTo>
                              <a:pt x="4067" y="1376"/>
                              <a:pt x="4187" y="1435"/>
                              <a:pt x="4306" y="1555"/>
                            </a:cubicBezTo>
                            <a:cubicBezTo>
                              <a:pt x="4366" y="1615"/>
                              <a:pt x="4366" y="1615"/>
                              <a:pt x="4426" y="1675"/>
                            </a:cubicBezTo>
                            <a:cubicBezTo>
                              <a:pt x="4486" y="1735"/>
                              <a:pt x="4486" y="1794"/>
                              <a:pt x="4545" y="1794"/>
                            </a:cubicBezTo>
                            <a:cubicBezTo>
                              <a:pt x="4605" y="1854"/>
                              <a:pt x="4605" y="1914"/>
                              <a:pt x="4605" y="1974"/>
                            </a:cubicBezTo>
                            <a:cubicBezTo>
                              <a:pt x="4605" y="2034"/>
                              <a:pt x="4665" y="2093"/>
                              <a:pt x="4665" y="2153"/>
                            </a:cubicBezTo>
                            <a:cubicBezTo>
                              <a:pt x="4725" y="2392"/>
                              <a:pt x="4785" y="2632"/>
                              <a:pt x="4785" y="2871"/>
                            </a:cubicBezTo>
                            <a:cubicBezTo>
                              <a:pt x="4785" y="3110"/>
                              <a:pt x="4725" y="3409"/>
                              <a:pt x="4605" y="3648"/>
                            </a:cubicBezTo>
                            <a:cubicBezTo>
                              <a:pt x="4486" y="3888"/>
                              <a:pt x="4366" y="4127"/>
                              <a:pt x="4246" y="4366"/>
                            </a:cubicBezTo>
                            <a:cubicBezTo>
                              <a:pt x="4067" y="4605"/>
                              <a:pt x="3888" y="4785"/>
                              <a:pt x="3648" y="4964"/>
                            </a:cubicBezTo>
                            <a:cubicBezTo>
                              <a:pt x="3648" y="4964"/>
                              <a:pt x="3648" y="4964"/>
                              <a:pt x="3588" y="4964"/>
                            </a:cubicBezTo>
                            <a:cubicBezTo>
                              <a:pt x="3588" y="4964"/>
                              <a:pt x="3588" y="4964"/>
                              <a:pt x="3529" y="4964"/>
                            </a:cubicBezTo>
                            <a:cubicBezTo>
                              <a:pt x="3529" y="4964"/>
                              <a:pt x="3529" y="4964"/>
                              <a:pt x="3469" y="4964"/>
                            </a:cubicBezTo>
                            <a:cubicBezTo>
                              <a:pt x="3469" y="4964"/>
                              <a:pt x="3469" y="4964"/>
                              <a:pt x="3409" y="4964"/>
                            </a:cubicBezTo>
                            <a:cubicBezTo>
                              <a:pt x="3349" y="5024"/>
                              <a:pt x="3289" y="5024"/>
                              <a:pt x="3229" y="5084"/>
                            </a:cubicBezTo>
                            <a:cubicBezTo>
                              <a:pt x="3170" y="5143"/>
                              <a:pt x="3110" y="5143"/>
                              <a:pt x="3050" y="5143"/>
                            </a:cubicBezTo>
                            <a:cubicBezTo>
                              <a:pt x="2990" y="5143"/>
                              <a:pt x="2930" y="5203"/>
                              <a:pt x="2871" y="5203"/>
                            </a:cubicBezTo>
                            <a:cubicBezTo>
                              <a:pt x="2811" y="5203"/>
                              <a:pt x="2751" y="5263"/>
                              <a:pt x="2691" y="5263"/>
                            </a:cubicBezTo>
                            <a:cubicBezTo>
                              <a:pt x="2632" y="5263"/>
                              <a:pt x="2572" y="5263"/>
                              <a:pt x="2572" y="5263"/>
                            </a:cubicBezTo>
                            <a:cubicBezTo>
                              <a:pt x="2512" y="5263"/>
                              <a:pt x="2512" y="5263"/>
                              <a:pt x="2452" y="5263"/>
                            </a:cubicBezTo>
                            <a:cubicBezTo>
                              <a:pt x="2392" y="5263"/>
                              <a:pt x="2392" y="5263"/>
                              <a:pt x="2333" y="5263"/>
                            </a:cubicBezTo>
                            <a:cubicBezTo>
                              <a:pt x="2273" y="5383"/>
                              <a:pt x="2213" y="5323"/>
                              <a:pt x="2213" y="5323"/>
                            </a:cubicBezTo>
                            <a:moveTo>
                              <a:pt x="837" y="5861"/>
                            </a:moveTo>
                            <a:cubicBezTo>
                              <a:pt x="837" y="5861"/>
                              <a:pt x="897" y="5921"/>
                              <a:pt x="897" y="5921"/>
                            </a:cubicBezTo>
                            <a:cubicBezTo>
                              <a:pt x="897" y="5921"/>
                              <a:pt x="957" y="5981"/>
                              <a:pt x="957" y="5981"/>
                            </a:cubicBezTo>
                            <a:cubicBezTo>
                              <a:pt x="957" y="5981"/>
                              <a:pt x="1017" y="6041"/>
                              <a:pt x="1017" y="6041"/>
                            </a:cubicBezTo>
                            <a:cubicBezTo>
                              <a:pt x="1076" y="6041"/>
                              <a:pt x="1076" y="6100"/>
                              <a:pt x="1136" y="6100"/>
                            </a:cubicBezTo>
                            <a:cubicBezTo>
                              <a:pt x="1256" y="6160"/>
                              <a:pt x="1435" y="6220"/>
                              <a:pt x="1555" y="6280"/>
                            </a:cubicBezTo>
                            <a:cubicBezTo>
                              <a:pt x="1734" y="6340"/>
                              <a:pt x="1854" y="6340"/>
                              <a:pt x="2034" y="6340"/>
                            </a:cubicBezTo>
                            <a:cubicBezTo>
                              <a:pt x="2213" y="6340"/>
                              <a:pt x="2392" y="6340"/>
                              <a:pt x="2572" y="6340"/>
                            </a:cubicBezTo>
                            <a:cubicBezTo>
                              <a:pt x="2751" y="6340"/>
                              <a:pt x="2930" y="6280"/>
                              <a:pt x="3110" y="6220"/>
                            </a:cubicBezTo>
                            <a:cubicBezTo>
                              <a:pt x="3170" y="6220"/>
                              <a:pt x="3229" y="6160"/>
                              <a:pt x="3289" y="6160"/>
                            </a:cubicBezTo>
                            <a:cubicBezTo>
                              <a:pt x="3349" y="6160"/>
                              <a:pt x="3409" y="6100"/>
                              <a:pt x="3469" y="6100"/>
                            </a:cubicBezTo>
                            <a:cubicBezTo>
                              <a:pt x="3529" y="6100"/>
                              <a:pt x="3588" y="6041"/>
                              <a:pt x="3648" y="5981"/>
                            </a:cubicBezTo>
                            <a:cubicBezTo>
                              <a:pt x="3708" y="5921"/>
                              <a:pt x="3768" y="5921"/>
                              <a:pt x="3828" y="5861"/>
                            </a:cubicBezTo>
                            <a:cubicBezTo>
                              <a:pt x="3828" y="5861"/>
                              <a:pt x="3888" y="5861"/>
                              <a:pt x="3888" y="5801"/>
                            </a:cubicBezTo>
                            <a:cubicBezTo>
                              <a:pt x="3888" y="5742"/>
                              <a:pt x="3947" y="5801"/>
                              <a:pt x="3947" y="5742"/>
                            </a:cubicBezTo>
                            <a:cubicBezTo>
                              <a:pt x="3947" y="5742"/>
                              <a:pt x="4007" y="5742"/>
                              <a:pt x="4007" y="5682"/>
                            </a:cubicBezTo>
                            <a:cubicBezTo>
                              <a:pt x="4007" y="5682"/>
                              <a:pt x="4067" y="5682"/>
                              <a:pt x="4067" y="5622"/>
                            </a:cubicBezTo>
                            <a:cubicBezTo>
                              <a:pt x="4366" y="5383"/>
                              <a:pt x="4665" y="5084"/>
                              <a:pt x="4904" y="4725"/>
                            </a:cubicBezTo>
                            <a:cubicBezTo>
                              <a:pt x="5143" y="4366"/>
                              <a:pt x="5323" y="4007"/>
                              <a:pt x="5442" y="3648"/>
                            </a:cubicBezTo>
                            <a:cubicBezTo>
                              <a:pt x="5562" y="3289"/>
                              <a:pt x="5682" y="2871"/>
                              <a:pt x="5682" y="2512"/>
                            </a:cubicBezTo>
                            <a:cubicBezTo>
                              <a:pt x="5682" y="2153"/>
                              <a:pt x="5622" y="1735"/>
                              <a:pt x="5502" y="1435"/>
                            </a:cubicBezTo>
                            <a:cubicBezTo>
                              <a:pt x="5442" y="1316"/>
                              <a:pt x="5442" y="1256"/>
                              <a:pt x="5383" y="1136"/>
                            </a:cubicBezTo>
                            <a:cubicBezTo>
                              <a:pt x="5323" y="1076"/>
                              <a:pt x="5323" y="957"/>
                              <a:pt x="5263" y="897"/>
                            </a:cubicBezTo>
                            <a:cubicBezTo>
                              <a:pt x="5203" y="837"/>
                              <a:pt x="5143" y="778"/>
                              <a:pt x="5083" y="718"/>
                            </a:cubicBezTo>
                            <a:cubicBezTo>
                              <a:pt x="5024" y="658"/>
                              <a:pt x="4964" y="598"/>
                              <a:pt x="4904" y="538"/>
                            </a:cubicBezTo>
                            <a:cubicBezTo>
                              <a:pt x="4725" y="359"/>
                              <a:pt x="4486" y="239"/>
                              <a:pt x="4306" y="120"/>
                            </a:cubicBezTo>
                            <a:cubicBezTo>
                              <a:pt x="4067" y="60"/>
                              <a:pt x="3828" y="0"/>
                              <a:pt x="3588" y="0"/>
                            </a:cubicBezTo>
                            <a:cubicBezTo>
                              <a:pt x="3349" y="0"/>
                              <a:pt x="3050" y="60"/>
                              <a:pt x="2751" y="120"/>
                            </a:cubicBezTo>
                            <a:cubicBezTo>
                              <a:pt x="2452" y="180"/>
                              <a:pt x="2213" y="359"/>
                              <a:pt x="1914" y="538"/>
                            </a:cubicBezTo>
                            <a:cubicBezTo>
                              <a:pt x="1555" y="778"/>
                              <a:pt x="1196" y="1076"/>
                              <a:pt x="957" y="1435"/>
                            </a:cubicBezTo>
                            <a:cubicBezTo>
                              <a:pt x="658" y="1794"/>
                              <a:pt x="479" y="2153"/>
                              <a:pt x="299" y="2512"/>
                            </a:cubicBezTo>
                            <a:cubicBezTo>
                              <a:pt x="120" y="2871"/>
                              <a:pt x="60" y="3289"/>
                              <a:pt x="0" y="3708"/>
                            </a:cubicBezTo>
                            <a:cubicBezTo>
                              <a:pt x="0" y="4127"/>
                              <a:pt x="0" y="4486"/>
                              <a:pt x="180" y="4844"/>
                            </a:cubicBezTo>
                            <a:cubicBezTo>
                              <a:pt x="180" y="4904"/>
                              <a:pt x="239" y="4964"/>
                              <a:pt x="239" y="5024"/>
                            </a:cubicBezTo>
                            <a:cubicBezTo>
                              <a:pt x="239" y="5084"/>
                              <a:pt x="299" y="5143"/>
                              <a:pt x="299" y="5143"/>
                            </a:cubicBezTo>
                            <a:cubicBezTo>
                              <a:pt x="299" y="5203"/>
                              <a:pt x="359" y="5263"/>
                              <a:pt x="359" y="5263"/>
                            </a:cubicBezTo>
                            <a:cubicBezTo>
                              <a:pt x="359" y="5323"/>
                              <a:pt x="419" y="5323"/>
                              <a:pt x="419" y="5383"/>
                            </a:cubicBezTo>
                            <a:cubicBezTo>
                              <a:pt x="419" y="5443"/>
                              <a:pt x="479" y="5443"/>
                              <a:pt x="479" y="5503"/>
                            </a:cubicBezTo>
                            <a:cubicBezTo>
                              <a:pt x="479" y="5562"/>
                              <a:pt x="538" y="5562"/>
                              <a:pt x="538" y="5622"/>
                            </a:cubicBezTo>
                            <a:cubicBezTo>
                              <a:pt x="538" y="5622"/>
                              <a:pt x="598" y="5682"/>
                              <a:pt x="598" y="5682"/>
                            </a:cubicBezTo>
                            <a:cubicBezTo>
                              <a:pt x="778" y="5801"/>
                              <a:pt x="778" y="5861"/>
                              <a:pt x="837" y="5861"/>
                            </a:cubicBezTo>
                          </a:path>
                        </a:pathLst>
                      </a:custGeom>
                      <a:noFill/>
                      <a:ln w="6350" cap="flat">
                        <a:solidFill>
                          <a:schemeClr val="bg1">
                            <a:alpha val="40000"/>
                          </a:schemeClr>
                        </a:solidFill>
                        <a:prstDash val="solid"/>
                        <a:miter/>
                      </a:ln>
                    </p:spPr>
                    <p:txBody>
                      <a:bodyPr rtlCol="0" anchor="ctr"/>
                      <a:lstStyle/>
                      <a:p>
                        <a:endParaRPr lang="en-GB"/>
                      </a:p>
                    </p:txBody>
                  </p:sp>
                  <p:sp>
                    <p:nvSpPr>
                      <p:cNvPr id="7542" name="Vrije vorm: vorm 7541">
                        <a:extLst>
                          <a:ext uri="{FF2B5EF4-FFF2-40B4-BE49-F238E27FC236}">
                            <a16:creationId xmlns:a16="http://schemas.microsoft.com/office/drawing/2014/main" id="{CB248C76-4FE5-464F-9384-846F1C526341}"/>
                          </a:ext>
                        </a:extLst>
                      </p:cNvPr>
                      <p:cNvSpPr/>
                      <p:nvPr/>
                    </p:nvSpPr>
                    <p:spPr>
                      <a:xfrm>
                        <a:off x="5310183" y="5130901"/>
                        <a:ext cx="5726" cy="6279"/>
                      </a:xfrm>
                      <a:custGeom>
                        <a:avLst/>
                        <a:gdLst>
                          <a:gd name="connsiteX0" fmla="*/ 4366 w 5726"/>
                          <a:gd name="connsiteY0" fmla="*/ 1375 h 6279"/>
                          <a:gd name="connsiteX1" fmla="*/ 4665 w 5726"/>
                          <a:gd name="connsiteY1" fmla="*/ 1794 h 6279"/>
                          <a:gd name="connsiteX2" fmla="*/ 4844 w 5726"/>
                          <a:gd name="connsiteY2" fmla="*/ 2333 h 6279"/>
                          <a:gd name="connsiteX3" fmla="*/ 4844 w 5726"/>
                          <a:gd name="connsiteY3" fmla="*/ 2930 h 6279"/>
                          <a:gd name="connsiteX4" fmla="*/ 4665 w 5726"/>
                          <a:gd name="connsiteY4" fmla="*/ 3588 h 6279"/>
                          <a:gd name="connsiteX5" fmla="*/ 4187 w 5726"/>
                          <a:gd name="connsiteY5" fmla="*/ 4366 h 6279"/>
                          <a:gd name="connsiteX6" fmla="*/ 3589 w 5726"/>
                          <a:gd name="connsiteY6" fmla="*/ 4904 h 6279"/>
                          <a:gd name="connsiteX7" fmla="*/ 2871 w 5726"/>
                          <a:gd name="connsiteY7" fmla="*/ 5203 h 6279"/>
                          <a:gd name="connsiteX8" fmla="*/ 2153 w 5726"/>
                          <a:gd name="connsiteY8" fmla="*/ 5203 h 6279"/>
                          <a:gd name="connsiteX9" fmla="*/ 1615 w 5726"/>
                          <a:gd name="connsiteY9" fmla="*/ 4904 h 6279"/>
                          <a:gd name="connsiteX10" fmla="*/ 1316 w 5726"/>
                          <a:gd name="connsiteY10" fmla="*/ 4486 h 6279"/>
                          <a:gd name="connsiteX11" fmla="*/ 1136 w 5726"/>
                          <a:gd name="connsiteY11" fmla="*/ 4007 h 6279"/>
                          <a:gd name="connsiteX12" fmla="*/ 1136 w 5726"/>
                          <a:gd name="connsiteY12" fmla="*/ 3409 h 6279"/>
                          <a:gd name="connsiteX13" fmla="*/ 1256 w 5726"/>
                          <a:gd name="connsiteY13" fmla="*/ 2811 h 6279"/>
                          <a:gd name="connsiteX14" fmla="*/ 1256 w 5726"/>
                          <a:gd name="connsiteY14" fmla="*/ 2751 h 6279"/>
                          <a:gd name="connsiteX15" fmla="*/ 1256 w 5726"/>
                          <a:gd name="connsiteY15" fmla="*/ 2691 h 6279"/>
                          <a:gd name="connsiteX16" fmla="*/ 1256 w 5726"/>
                          <a:gd name="connsiteY16" fmla="*/ 2632 h 6279"/>
                          <a:gd name="connsiteX17" fmla="*/ 1256 w 5726"/>
                          <a:gd name="connsiteY17" fmla="*/ 2572 h 6279"/>
                          <a:gd name="connsiteX18" fmla="*/ 1675 w 5726"/>
                          <a:gd name="connsiteY18" fmla="*/ 1854 h 6279"/>
                          <a:gd name="connsiteX19" fmla="*/ 2213 w 5726"/>
                          <a:gd name="connsiteY19" fmla="*/ 1316 h 6279"/>
                          <a:gd name="connsiteX20" fmla="*/ 2871 w 5726"/>
                          <a:gd name="connsiteY20" fmla="*/ 957 h 6279"/>
                          <a:gd name="connsiteX21" fmla="*/ 3529 w 5726"/>
                          <a:gd name="connsiteY21" fmla="*/ 897 h 6279"/>
                          <a:gd name="connsiteX22" fmla="*/ 3589 w 5726"/>
                          <a:gd name="connsiteY22" fmla="*/ 897 h 6279"/>
                          <a:gd name="connsiteX23" fmla="*/ 3648 w 5726"/>
                          <a:gd name="connsiteY23" fmla="*/ 897 h 6279"/>
                          <a:gd name="connsiteX24" fmla="*/ 3708 w 5726"/>
                          <a:gd name="connsiteY24" fmla="*/ 897 h 6279"/>
                          <a:gd name="connsiteX25" fmla="*/ 3768 w 5726"/>
                          <a:gd name="connsiteY25" fmla="*/ 897 h 6279"/>
                          <a:gd name="connsiteX26" fmla="*/ 3947 w 5726"/>
                          <a:gd name="connsiteY26" fmla="*/ 957 h 6279"/>
                          <a:gd name="connsiteX27" fmla="*/ 4067 w 5726"/>
                          <a:gd name="connsiteY27" fmla="*/ 1017 h 6279"/>
                          <a:gd name="connsiteX28" fmla="*/ 4187 w 5726"/>
                          <a:gd name="connsiteY28" fmla="*/ 1076 h 6279"/>
                          <a:gd name="connsiteX29" fmla="*/ 4366 w 5726"/>
                          <a:gd name="connsiteY29" fmla="*/ 1375 h 6279"/>
                          <a:gd name="connsiteX30" fmla="*/ 897 w 5726"/>
                          <a:gd name="connsiteY30" fmla="*/ 5741 h 6279"/>
                          <a:gd name="connsiteX31" fmla="*/ 1076 w 5726"/>
                          <a:gd name="connsiteY31" fmla="*/ 5921 h 6279"/>
                          <a:gd name="connsiteX32" fmla="*/ 1256 w 5726"/>
                          <a:gd name="connsiteY32" fmla="*/ 6041 h 6279"/>
                          <a:gd name="connsiteX33" fmla="*/ 1495 w 5726"/>
                          <a:gd name="connsiteY33" fmla="*/ 6160 h 6279"/>
                          <a:gd name="connsiteX34" fmla="*/ 1734 w 5726"/>
                          <a:gd name="connsiteY34" fmla="*/ 6220 h 6279"/>
                          <a:gd name="connsiteX35" fmla="*/ 2273 w 5726"/>
                          <a:gd name="connsiteY35" fmla="*/ 6280 h 6279"/>
                          <a:gd name="connsiteX36" fmla="*/ 2811 w 5726"/>
                          <a:gd name="connsiteY36" fmla="*/ 6220 h 6279"/>
                          <a:gd name="connsiteX37" fmla="*/ 3349 w 5726"/>
                          <a:gd name="connsiteY37" fmla="*/ 6041 h 6279"/>
                          <a:gd name="connsiteX38" fmla="*/ 3888 w 5726"/>
                          <a:gd name="connsiteY38" fmla="*/ 5741 h 6279"/>
                          <a:gd name="connsiteX39" fmla="*/ 4366 w 5726"/>
                          <a:gd name="connsiteY39" fmla="*/ 5382 h 6279"/>
                          <a:gd name="connsiteX40" fmla="*/ 4785 w 5726"/>
                          <a:gd name="connsiteY40" fmla="*/ 4904 h 6279"/>
                          <a:gd name="connsiteX41" fmla="*/ 5143 w 5726"/>
                          <a:gd name="connsiteY41" fmla="*/ 4366 h 6279"/>
                          <a:gd name="connsiteX42" fmla="*/ 5443 w 5726"/>
                          <a:gd name="connsiteY42" fmla="*/ 3768 h 6279"/>
                          <a:gd name="connsiteX43" fmla="*/ 5682 w 5726"/>
                          <a:gd name="connsiteY43" fmla="*/ 2811 h 6279"/>
                          <a:gd name="connsiteX44" fmla="*/ 5682 w 5726"/>
                          <a:gd name="connsiteY44" fmla="*/ 1914 h 6279"/>
                          <a:gd name="connsiteX45" fmla="*/ 5443 w 5726"/>
                          <a:gd name="connsiteY45" fmla="*/ 1136 h 6279"/>
                          <a:gd name="connsiteX46" fmla="*/ 4964 w 5726"/>
                          <a:gd name="connsiteY46" fmla="*/ 538 h 6279"/>
                          <a:gd name="connsiteX47" fmla="*/ 4844 w 5726"/>
                          <a:gd name="connsiteY47" fmla="*/ 479 h 6279"/>
                          <a:gd name="connsiteX48" fmla="*/ 4725 w 5726"/>
                          <a:gd name="connsiteY48" fmla="*/ 419 h 6279"/>
                          <a:gd name="connsiteX49" fmla="*/ 4605 w 5726"/>
                          <a:gd name="connsiteY49" fmla="*/ 359 h 6279"/>
                          <a:gd name="connsiteX50" fmla="*/ 4486 w 5726"/>
                          <a:gd name="connsiteY50" fmla="*/ 299 h 6279"/>
                          <a:gd name="connsiteX51" fmla="*/ 4366 w 5726"/>
                          <a:gd name="connsiteY51" fmla="*/ 239 h 6279"/>
                          <a:gd name="connsiteX52" fmla="*/ 4246 w 5726"/>
                          <a:gd name="connsiteY52" fmla="*/ 179 h 6279"/>
                          <a:gd name="connsiteX53" fmla="*/ 4127 w 5726"/>
                          <a:gd name="connsiteY53" fmla="*/ 120 h 6279"/>
                          <a:gd name="connsiteX54" fmla="*/ 4007 w 5726"/>
                          <a:gd name="connsiteY54" fmla="*/ 60 h 6279"/>
                          <a:gd name="connsiteX55" fmla="*/ 3828 w 5726"/>
                          <a:gd name="connsiteY55" fmla="*/ 0 h 6279"/>
                          <a:gd name="connsiteX56" fmla="*/ 3648 w 5726"/>
                          <a:gd name="connsiteY56" fmla="*/ 0 h 6279"/>
                          <a:gd name="connsiteX57" fmla="*/ 3469 w 5726"/>
                          <a:gd name="connsiteY57" fmla="*/ 0 h 6279"/>
                          <a:gd name="connsiteX58" fmla="*/ 3289 w 5726"/>
                          <a:gd name="connsiteY58" fmla="*/ 0 h 6279"/>
                          <a:gd name="connsiteX59" fmla="*/ 2930 w 5726"/>
                          <a:gd name="connsiteY59" fmla="*/ 60 h 6279"/>
                          <a:gd name="connsiteX60" fmla="*/ 2572 w 5726"/>
                          <a:gd name="connsiteY60" fmla="*/ 179 h 6279"/>
                          <a:gd name="connsiteX61" fmla="*/ 2213 w 5726"/>
                          <a:gd name="connsiteY61" fmla="*/ 359 h 6279"/>
                          <a:gd name="connsiteX62" fmla="*/ 1854 w 5726"/>
                          <a:gd name="connsiteY62" fmla="*/ 538 h 6279"/>
                          <a:gd name="connsiteX63" fmla="*/ 1375 w 5726"/>
                          <a:gd name="connsiteY63" fmla="*/ 897 h 6279"/>
                          <a:gd name="connsiteX64" fmla="*/ 957 w 5726"/>
                          <a:gd name="connsiteY64" fmla="*/ 1316 h 6279"/>
                          <a:gd name="connsiteX65" fmla="*/ 598 w 5726"/>
                          <a:gd name="connsiteY65" fmla="*/ 1794 h 6279"/>
                          <a:gd name="connsiteX66" fmla="*/ 299 w 5726"/>
                          <a:gd name="connsiteY66" fmla="*/ 2273 h 6279"/>
                          <a:gd name="connsiteX67" fmla="*/ 299 w 5726"/>
                          <a:gd name="connsiteY67" fmla="*/ 2333 h 6279"/>
                          <a:gd name="connsiteX68" fmla="*/ 299 w 5726"/>
                          <a:gd name="connsiteY68" fmla="*/ 2392 h 6279"/>
                          <a:gd name="connsiteX69" fmla="*/ 299 w 5726"/>
                          <a:gd name="connsiteY69" fmla="*/ 2452 h 6279"/>
                          <a:gd name="connsiteX70" fmla="*/ 299 w 5726"/>
                          <a:gd name="connsiteY70" fmla="*/ 2512 h 6279"/>
                          <a:gd name="connsiteX71" fmla="*/ 180 w 5726"/>
                          <a:gd name="connsiteY71" fmla="*/ 2811 h 6279"/>
                          <a:gd name="connsiteX72" fmla="*/ 120 w 5726"/>
                          <a:gd name="connsiteY72" fmla="*/ 3110 h 6279"/>
                          <a:gd name="connsiteX73" fmla="*/ 60 w 5726"/>
                          <a:gd name="connsiteY73" fmla="*/ 3409 h 6279"/>
                          <a:gd name="connsiteX74" fmla="*/ 0 w 5726"/>
                          <a:gd name="connsiteY74" fmla="*/ 3708 h 6279"/>
                          <a:gd name="connsiteX75" fmla="*/ 0 w 5726"/>
                          <a:gd name="connsiteY75" fmla="*/ 4366 h 6279"/>
                          <a:gd name="connsiteX76" fmla="*/ 120 w 5726"/>
                          <a:gd name="connsiteY76" fmla="*/ 4964 h 6279"/>
                          <a:gd name="connsiteX77" fmla="*/ 359 w 5726"/>
                          <a:gd name="connsiteY77" fmla="*/ 5442 h 6279"/>
                          <a:gd name="connsiteX78" fmla="*/ 897 w 5726"/>
                          <a:gd name="connsiteY78" fmla="*/ 574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726" h="6279">
                            <a:moveTo>
                              <a:pt x="4366" y="1375"/>
                            </a:moveTo>
                            <a:cubicBezTo>
                              <a:pt x="4486" y="1495"/>
                              <a:pt x="4605" y="1615"/>
                              <a:pt x="4665" y="1794"/>
                            </a:cubicBezTo>
                            <a:cubicBezTo>
                              <a:pt x="4725" y="1974"/>
                              <a:pt x="4785" y="2153"/>
                              <a:pt x="4844" y="2333"/>
                            </a:cubicBezTo>
                            <a:cubicBezTo>
                              <a:pt x="4904" y="2512"/>
                              <a:pt x="4904" y="2751"/>
                              <a:pt x="4844" y="2930"/>
                            </a:cubicBezTo>
                            <a:cubicBezTo>
                              <a:pt x="4785" y="3110"/>
                              <a:pt x="4785" y="3349"/>
                              <a:pt x="4665" y="3588"/>
                            </a:cubicBezTo>
                            <a:cubicBezTo>
                              <a:pt x="4545" y="3887"/>
                              <a:pt x="4426" y="4127"/>
                              <a:pt x="4187" y="4366"/>
                            </a:cubicBezTo>
                            <a:cubicBezTo>
                              <a:pt x="4007" y="4605"/>
                              <a:pt x="3768" y="4785"/>
                              <a:pt x="3589" y="4904"/>
                            </a:cubicBezTo>
                            <a:cubicBezTo>
                              <a:pt x="3349" y="5024"/>
                              <a:pt x="3110" y="5143"/>
                              <a:pt x="2871" y="5203"/>
                            </a:cubicBezTo>
                            <a:cubicBezTo>
                              <a:pt x="2632" y="5263"/>
                              <a:pt x="2392" y="5263"/>
                              <a:pt x="2153" y="5203"/>
                            </a:cubicBezTo>
                            <a:lnTo>
                              <a:pt x="1615" y="4904"/>
                            </a:lnTo>
                            <a:cubicBezTo>
                              <a:pt x="1495" y="4785"/>
                              <a:pt x="1375" y="4665"/>
                              <a:pt x="1316" y="4486"/>
                            </a:cubicBezTo>
                            <a:cubicBezTo>
                              <a:pt x="1256" y="4306"/>
                              <a:pt x="1196" y="4187"/>
                              <a:pt x="1136" y="4007"/>
                            </a:cubicBezTo>
                            <a:cubicBezTo>
                              <a:pt x="1076" y="3828"/>
                              <a:pt x="1076" y="3648"/>
                              <a:pt x="1136" y="3409"/>
                            </a:cubicBezTo>
                            <a:cubicBezTo>
                              <a:pt x="1136" y="3229"/>
                              <a:pt x="1196" y="2990"/>
                              <a:pt x="1256" y="2811"/>
                            </a:cubicBezTo>
                            <a:cubicBezTo>
                              <a:pt x="1256" y="2811"/>
                              <a:pt x="1256" y="2811"/>
                              <a:pt x="1256" y="2751"/>
                            </a:cubicBezTo>
                            <a:cubicBezTo>
                              <a:pt x="1256" y="2751"/>
                              <a:pt x="1256" y="2751"/>
                              <a:pt x="1256" y="2691"/>
                            </a:cubicBezTo>
                            <a:cubicBezTo>
                              <a:pt x="1256" y="2691"/>
                              <a:pt x="1256" y="2691"/>
                              <a:pt x="1256" y="2632"/>
                            </a:cubicBezTo>
                            <a:cubicBezTo>
                              <a:pt x="1256" y="2572"/>
                              <a:pt x="1256" y="2632"/>
                              <a:pt x="1256" y="2572"/>
                            </a:cubicBezTo>
                            <a:cubicBezTo>
                              <a:pt x="1375" y="2333"/>
                              <a:pt x="1495" y="2093"/>
                              <a:pt x="1675" y="1854"/>
                            </a:cubicBezTo>
                            <a:cubicBezTo>
                              <a:pt x="1854" y="1615"/>
                              <a:pt x="2034" y="1435"/>
                              <a:pt x="2213" y="1316"/>
                            </a:cubicBezTo>
                            <a:cubicBezTo>
                              <a:pt x="2392" y="1196"/>
                              <a:pt x="2632" y="1076"/>
                              <a:pt x="2871" y="957"/>
                            </a:cubicBezTo>
                            <a:cubicBezTo>
                              <a:pt x="3110" y="837"/>
                              <a:pt x="3349" y="837"/>
                              <a:pt x="3529" y="897"/>
                            </a:cubicBezTo>
                            <a:cubicBezTo>
                              <a:pt x="3529" y="897"/>
                              <a:pt x="3589" y="897"/>
                              <a:pt x="3589" y="897"/>
                            </a:cubicBezTo>
                            <a:cubicBezTo>
                              <a:pt x="3589" y="897"/>
                              <a:pt x="3648" y="897"/>
                              <a:pt x="3648" y="897"/>
                            </a:cubicBezTo>
                            <a:cubicBezTo>
                              <a:pt x="3648" y="897"/>
                              <a:pt x="3708" y="897"/>
                              <a:pt x="3708" y="897"/>
                            </a:cubicBezTo>
                            <a:cubicBezTo>
                              <a:pt x="3708" y="897"/>
                              <a:pt x="3768" y="897"/>
                              <a:pt x="3768" y="897"/>
                            </a:cubicBezTo>
                            <a:cubicBezTo>
                              <a:pt x="3828" y="897"/>
                              <a:pt x="3888" y="957"/>
                              <a:pt x="3947" y="957"/>
                            </a:cubicBezTo>
                            <a:cubicBezTo>
                              <a:pt x="4007" y="957"/>
                              <a:pt x="4067" y="1017"/>
                              <a:pt x="4067" y="1017"/>
                            </a:cubicBezTo>
                            <a:cubicBezTo>
                              <a:pt x="4127" y="1017"/>
                              <a:pt x="4187" y="1076"/>
                              <a:pt x="4187" y="1076"/>
                            </a:cubicBezTo>
                            <a:cubicBezTo>
                              <a:pt x="4246" y="1256"/>
                              <a:pt x="4306" y="1316"/>
                              <a:pt x="4366" y="1375"/>
                            </a:cubicBezTo>
                            <a:moveTo>
                              <a:pt x="897" y="5741"/>
                            </a:moveTo>
                            <a:cubicBezTo>
                              <a:pt x="957" y="5801"/>
                              <a:pt x="1017" y="5861"/>
                              <a:pt x="1076" y="5921"/>
                            </a:cubicBezTo>
                            <a:cubicBezTo>
                              <a:pt x="1136" y="5981"/>
                              <a:pt x="1196" y="5981"/>
                              <a:pt x="1256" y="6041"/>
                            </a:cubicBezTo>
                            <a:cubicBezTo>
                              <a:pt x="1316" y="6100"/>
                              <a:pt x="1375" y="6100"/>
                              <a:pt x="1495" y="6160"/>
                            </a:cubicBezTo>
                            <a:cubicBezTo>
                              <a:pt x="1555" y="6160"/>
                              <a:pt x="1675" y="6220"/>
                              <a:pt x="1734" y="6220"/>
                            </a:cubicBezTo>
                            <a:cubicBezTo>
                              <a:pt x="1914" y="6280"/>
                              <a:pt x="2093" y="6280"/>
                              <a:pt x="2273" y="6280"/>
                            </a:cubicBezTo>
                            <a:cubicBezTo>
                              <a:pt x="2452" y="6280"/>
                              <a:pt x="2632" y="6280"/>
                              <a:pt x="2811" y="6220"/>
                            </a:cubicBezTo>
                            <a:cubicBezTo>
                              <a:pt x="2990" y="6160"/>
                              <a:pt x="3170" y="6100"/>
                              <a:pt x="3349" y="6041"/>
                            </a:cubicBezTo>
                            <a:cubicBezTo>
                              <a:pt x="3529" y="5981"/>
                              <a:pt x="3708" y="5861"/>
                              <a:pt x="3888" y="5741"/>
                            </a:cubicBezTo>
                            <a:cubicBezTo>
                              <a:pt x="4067" y="5622"/>
                              <a:pt x="4246" y="5502"/>
                              <a:pt x="4366" y="5382"/>
                            </a:cubicBezTo>
                            <a:cubicBezTo>
                              <a:pt x="4545" y="5263"/>
                              <a:pt x="4665" y="5083"/>
                              <a:pt x="4785" y="4904"/>
                            </a:cubicBezTo>
                            <a:cubicBezTo>
                              <a:pt x="4904" y="4725"/>
                              <a:pt x="5024" y="4545"/>
                              <a:pt x="5143" y="4366"/>
                            </a:cubicBezTo>
                            <a:cubicBezTo>
                              <a:pt x="5263" y="4187"/>
                              <a:pt x="5323" y="3947"/>
                              <a:pt x="5443" y="3768"/>
                            </a:cubicBezTo>
                            <a:cubicBezTo>
                              <a:pt x="5562" y="3469"/>
                              <a:pt x="5622" y="3110"/>
                              <a:pt x="5682" y="2811"/>
                            </a:cubicBezTo>
                            <a:cubicBezTo>
                              <a:pt x="5742" y="2512"/>
                              <a:pt x="5742" y="2213"/>
                              <a:pt x="5682" y="1914"/>
                            </a:cubicBezTo>
                            <a:cubicBezTo>
                              <a:pt x="5622" y="1615"/>
                              <a:pt x="5562" y="1375"/>
                              <a:pt x="5443" y="1136"/>
                            </a:cubicBezTo>
                            <a:cubicBezTo>
                              <a:pt x="5323" y="897"/>
                              <a:pt x="5203" y="718"/>
                              <a:pt x="4964" y="538"/>
                            </a:cubicBezTo>
                            <a:cubicBezTo>
                              <a:pt x="4964" y="538"/>
                              <a:pt x="4904" y="479"/>
                              <a:pt x="4844" y="479"/>
                            </a:cubicBezTo>
                            <a:cubicBezTo>
                              <a:pt x="4785" y="479"/>
                              <a:pt x="4785" y="419"/>
                              <a:pt x="4725" y="419"/>
                            </a:cubicBezTo>
                            <a:cubicBezTo>
                              <a:pt x="4665" y="419"/>
                              <a:pt x="4665" y="359"/>
                              <a:pt x="4605" y="359"/>
                            </a:cubicBezTo>
                            <a:cubicBezTo>
                              <a:pt x="4545" y="359"/>
                              <a:pt x="4545" y="299"/>
                              <a:pt x="4486" y="299"/>
                            </a:cubicBezTo>
                            <a:cubicBezTo>
                              <a:pt x="4426" y="299"/>
                              <a:pt x="4426" y="239"/>
                              <a:pt x="4366" y="239"/>
                            </a:cubicBezTo>
                            <a:cubicBezTo>
                              <a:pt x="4306" y="239"/>
                              <a:pt x="4306" y="179"/>
                              <a:pt x="4246" y="179"/>
                            </a:cubicBezTo>
                            <a:cubicBezTo>
                              <a:pt x="4187" y="179"/>
                              <a:pt x="4187" y="179"/>
                              <a:pt x="4127" y="120"/>
                            </a:cubicBezTo>
                            <a:cubicBezTo>
                              <a:pt x="4067" y="120"/>
                              <a:pt x="4067" y="120"/>
                              <a:pt x="4007" y="60"/>
                            </a:cubicBezTo>
                            <a:cubicBezTo>
                              <a:pt x="3947" y="60"/>
                              <a:pt x="3888" y="60"/>
                              <a:pt x="3828" y="0"/>
                            </a:cubicBezTo>
                            <a:cubicBezTo>
                              <a:pt x="3768" y="0"/>
                              <a:pt x="3708" y="0"/>
                              <a:pt x="3648" y="0"/>
                            </a:cubicBezTo>
                            <a:cubicBezTo>
                              <a:pt x="3589" y="0"/>
                              <a:pt x="3529" y="0"/>
                              <a:pt x="3469" y="0"/>
                            </a:cubicBezTo>
                            <a:cubicBezTo>
                              <a:pt x="3409" y="0"/>
                              <a:pt x="3349" y="0"/>
                              <a:pt x="3289" y="0"/>
                            </a:cubicBezTo>
                            <a:cubicBezTo>
                              <a:pt x="3170" y="0"/>
                              <a:pt x="3050" y="0"/>
                              <a:pt x="2930" y="60"/>
                            </a:cubicBezTo>
                            <a:cubicBezTo>
                              <a:pt x="2811" y="60"/>
                              <a:pt x="2691" y="120"/>
                              <a:pt x="2572" y="179"/>
                            </a:cubicBezTo>
                            <a:cubicBezTo>
                              <a:pt x="2452" y="239"/>
                              <a:pt x="2333" y="299"/>
                              <a:pt x="2213" y="359"/>
                            </a:cubicBezTo>
                            <a:cubicBezTo>
                              <a:pt x="2093" y="419"/>
                              <a:pt x="1974" y="479"/>
                              <a:pt x="1854" y="538"/>
                            </a:cubicBezTo>
                            <a:cubicBezTo>
                              <a:pt x="1675" y="658"/>
                              <a:pt x="1555" y="778"/>
                              <a:pt x="1375" y="897"/>
                            </a:cubicBezTo>
                            <a:cubicBezTo>
                              <a:pt x="1196" y="1017"/>
                              <a:pt x="1076" y="1136"/>
                              <a:pt x="957" y="1316"/>
                            </a:cubicBezTo>
                            <a:cubicBezTo>
                              <a:pt x="837" y="1435"/>
                              <a:pt x="718" y="1615"/>
                              <a:pt x="598" y="1794"/>
                            </a:cubicBezTo>
                            <a:cubicBezTo>
                              <a:pt x="479" y="1974"/>
                              <a:pt x="419" y="2153"/>
                              <a:pt x="299" y="2273"/>
                            </a:cubicBezTo>
                            <a:cubicBezTo>
                              <a:pt x="299" y="2273"/>
                              <a:pt x="299" y="2333"/>
                              <a:pt x="299" y="2333"/>
                            </a:cubicBezTo>
                            <a:cubicBezTo>
                              <a:pt x="299" y="2333"/>
                              <a:pt x="299" y="2392"/>
                              <a:pt x="299" y="2392"/>
                            </a:cubicBezTo>
                            <a:cubicBezTo>
                              <a:pt x="299" y="2392"/>
                              <a:pt x="299" y="2452"/>
                              <a:pt x="299" y="2452"/>
                            </a:cubicBezTo>
                            <a:cubicBezTo>
                              <a:pt x="299" y="2452"/>
                              <a:pt x="299" y="2512"/>
                              <a:pt x="299" y="2512"/>
                            </a:cubicBezTo>
                            <a:cubicBezTo>
                              <a:pt x="239" y="2632"/>
                              <a:pt x="239" y="2691"/>
                              <a:pt x="180" y="2811"/>
                            </a:cubicBezTo>
                            <a:cubicBezTo>
                              <a:pt x="120" y="2930"/>
                              <a:pt x="120" y="2990"/>
                              <a:pt x="120" y="3110"/>
                            </a:cubicBezTo>
                            <a:cubicBezTo>
                              <a:pt x="120" y="3229"/>
                              <a:pt x="60" y="3289"/>
                              <a:pt x="60" y="3409"/>
                            </a:cubicBezTo>
                            <a:cubicBezTo>
                              <a:pt x="60" y="3528"/>
                              <a:pt x="60" y="3588"/>
                              <a:pt x="0" y="3708"/>
                            </a:cubicBezTo>
                            <a:cubicBezTo>
                              <a:pt x="0" y="3947"/>
                              <a:pt x="0" y="4127"/>
                              <a:pt x="0" y="4366"/>
                            </a:cubicBezTo>
                            <a:cubicBezTo>
                              <a:pt x="0" y="4545"/>
                              <a:pt x="60" y="4785"/>
                              <a:pt x="120" y="4964"/>
                            </a:cubicBezTo>
                            <a:cubicBezTo>
                              <a:pt x="180" y="5143"/>
                              <a:pt x="239" y="5323"/>
                              <a:pt x="359" y="5442"/>
                            </a:cubicBezTo>
                            <a:cubicBezTo>
                              <a:pt x="658" y="5442"/>
                              <a:pt x="778" y="5622"/>
                              <a:pt x="897" y="5741"/>
                            </a:cubicBezTo>
                          </a:path>
                        </a:pathLst>
                      </a:custGeom>
                      <a:noFill/>
                      <a:ln w="6350" cap="flat">
                        <a:solidFill>
                          <a:schemeClr val="bg1">
                            <a:alpha val="40000"/>
                          </a:schemeClr>
                        </a:solidFill>
                        <a:prstDash val="solid"/>
                        <a:miter/>
                      </a:ln>
                    </p:spPr>
                    <p:txBody>
                      <a:bodyPr rtlCol="0" anchor="ctr"/>
                      <a:lstStyle/>
                      <a:p>
                        <a:endParaRPr lang="en-GB"/>
                      </a:p>
                    </p:txBody>
                  </p:sp>
                  <p:sp>
                    <p:nvSpPr>
                      <p:cNvPr id="7543" name="Vrije vorm: vorm 7542">
                        <a:extLst>
                          <a:ext uri="{FF2B5EF4-FFF2-40B4-BE49-F238E27FC236}">
                            <a16:creationId xmlns:a16="http://schemas.microsoft.com/office/drawing/2014/main" id="{DD9CE31E-EADD-4CE1-83B4-7A44D1AF7F58}"/>
                          </a:ext>
                        </a:extLst>
                      </p:cNvPr>
                      <p:cNvSpPr/>
                      <p:nvPr/>
                    </p:nvSpPr>
                    <p:spPr>
                      <a:xfrm>
                        <a:off x="5309884" y="5140650"/>
                        <a:ext cx="5562" cy="6279"/>
                      </a:xfrm>
                      <a:custGeom>
                        <a:avLst/>
                        <a:gdLst>
                          <a:gd name="connsiteX0" fmla="*/ 4187 w 5562"/>
                          <a:gd name="connsiteY0" fmla="*/ 1435 h 6279"/>
                          <a:gd name="connsiteX1" fmla="*/ 4306 w 5562"/>
                          <a:gd name="connsiteY1" fmla="*/ 1555 h 6279"/>
                          <a:gd name="connsiteX2" fmla="*/ 4426 w 5562"/>
                          <a:gd name="connsiteY2" fmla="*/ 1674 h 6279"/>
                          <a:gd name="connsiteX3" fmla="*/ 4545 w 5562"/>
                          <a:gd name="connsiteY3" fmla="*/ 1854 h 6279"/>
                          <a:gd name="connsiteX4" fmla="*/ 4605 w 5562"/>
                          <a:gd name="connsiteY4" fmla="*/ 2033 h 6279"/>
                          <a:gd name="connsiteX5" fmla="*/ 4665 w 5562"/>
                          <a:gd name="connsiteY5" fmla="*/ 2392 h 6279"/>
                          <a:gd name="connsiteX6" fmla="*/ 4665 w 5562"/>
                          <a:gd name="connsiteY6" fmla="*/ 2811 h 6279"/>
                          <a:gd name="connsiteX7" fmla="*/ 4605 w 5562"/>
                          <a:gd name="connsiteY7" fmla="*/ 3229 h 6279"/>
                          <a:gd name="connsiteX8" fmla="*/ 4486 w 5562"/>
                          <a:gd name="connsiteY8" fmla="*/ 3648 h 6279"/>
                          <a:gd name="connsiteX9" fmla="*/ 4306 w 5562"/>
                          <a:gd name="connsiteY9" fmla="*/ 4067 h 6279"/>
                          <a:gd name="connsiteX10" fmla="*/ 4067 w 5562"/>
                          <a:gd name="connsiteY10" fmla="*/ 4426 h 6279"/>
                          <a:gd name="connsiteX11" fmla="*/ 3768 w 5562"/>
                          <a:gd name="connsiteY11" fmla="*/ 4725 h 6279"/>
                          <a:gd name="connsiteX12" fmla="*/ 3409 w 5562"/>
                          <a:gd name="connsiteY12" fmla="*/ 4964 h 6279"/>
                          <a:gd name="connsiteX13" fmla="*/ 3050 w 5562"/>
                          <a:gd name="connsiteY13" fmla="*/ 5143 h 6279"/>
                          <a:gd name="connsiteX14" fmla="*/ 2691 w 5562"/>
                          <a:gd name="connsiteY14" fmla="*/ 5263 h 6279"/>
                          <a:gd name="connsiteX15" fmla="*/ 2333 w 5562"/>
                          <a:gd name="connsiteY15" fmla="*/ 5323 h 6279"/>
                          <a:gd name="connsiteX16" fmla="*/ 1974 w 5562"/>
                          <a:gd name="connsiteY16" fmla="*/ 5263 h 6279"/>
                          <a:gd name="connsiteX17" fmla="*/ 1435 w 5562"/>
                          <a:gd name="connsiteY17" fmla="*/ 4964 h 6279"/>
                          <a:gd name="connsiteX18" fmla="*/ 1076 w 5562"/>
                          <a:gd name="connsiteY18" fmla="*/ 4366 h 6279"/>
                          <a:gd name="connsiteX19" fmla="*/ 957 w 5562"/>
                          <a:gd name="connsiteY19" fmla="*/ 4007 h 6279"/>
                          <a:gd name="connsiteX20" fmla="*/ 957 w 5562"/>
                          <a:gd name="connsiteY20" fmla="*/ 3588 h 6279"/>
                          <a:gd name="connsiteX21" fmla="*/ 1017 w 5562"/>
                          <a:gd name="connsiteY21" fmla="*/ 3170 h 6279"/>
                          <a:gd name="connsiteX22" fmla="*/ 1136 w 5562"/>
                          <a:gd name="connsiteY22" fmla="*/ 2751 h 6279"/>
                          <a:gd name="connsiteX23" fmla="*/ 1316 w 5562"/>
                          <a:gd name="connsiteY23" fmla="*/ 2333 h 6279"/>
                          <a:gd name="connsiteX24" fmla="*/ 1555 w 5562"/>
                          <a:gd name="connsiteY24" fmla="*/ 1973 h 6279"/>
                          <a:gd name="connsiteX25" fmla="*/ 1854 w 5562"/>
                          <a:gd name="connsiteY25" fmla="*/ 1674 h 6279"/>
                          <a:gd name="connsiteX26" fmla="*/ 2213 w 5562"/>
                          <a:gd name="connsiteY26" fmla="*/ 1435 h 6279"/>
                          <a:gd name="connsiteX27" fmla="*/ 2572 w 5562"/>
                          <a:gd name="connsiteY27" fmla="*/ 1256 h 6279"/>
                          <a:gd name="connsiteX28" fmla="*/ 2930 w 5562"/>
                          <a:gd name="connsiteY28" fmla="*/ 1136 h 6279"/>
                          <a:gd name="connsiteX29" fmla="*/ 3289 w 5562"/>
                          <a:gd name="connsiteY29" fmla="*/ 1076 h 6279"/>
                          <a:gd name="connsiteX30" fmla="*/ 3648 w 5562"/>
                          <a:gd name="connsiteY30" fmla="*/ 1136 h 6279"/>
                          <a:gd name="connsiteX31" fmla="*/ 3828 w 5562"/>
                          <a:gd name="connsiteY31" fmla="*/ 1196 h 6279"/>
                          <a:gd name="connsiteX32" fmla="*/ 3947 w 5562"/>
                          <a:gd name="connsiteY32" fmla="*/ 1256 h 6279"/>
                          <a:gd name="connsiteX33" fmla="*/ 4067 w 5562"/>
                          <a:gd name="connsiteY33" fmla="*/ 1316 h 6279"/>
                          <a:gd name="connsiteX34" fmla="*/ 4187 w 5562"/>
                          <a:gd name="connsiteY34" fmla="*/ 1435 h 6279"/>
                          <a:gd name="connsiteX35" fmla="*/ 778 w 5562"/>
                          <a:gd name="connsiteY35" fmla="*/ 5801 h 6279"/>
                          <a:gd name="connsiteX36" fmla="*/ 957 w 5562"/>
                          <a:gd name="connsiteY36" fmla="*/ 5921 h 6279"/>
                          <a:gd name="connsiteX37" fmla="*/ 1136 w 5562"/>
                          <a:gd name="connsiteY37" fmla="*/ 6041 h 6279"/>
                          <a:gd name="connsiteX38" fmla="*/ 1375 w 5562"/>
                          <a:gd name="connsiteY38" fmla="*/ 6160 h 6279"/>
                          <a:gd name="connsiteX39" fmla="*/ 1615 w 5562"/>
                          <a:gd name="connsiteY39" fmla="*/ 6220 h 6279"/>
                          <a:gd name="connsiteX40" fmla="*/ 2153 w 5562"/>
                          <a:gd name="connsiteY40" fmla="*/ 6280 h 6279"/>
                          <a:gd name="connsiteX41" fmla="*/ 2691 w 5562"/>
                          <a:gd name="connsiteY41" fmla="*/ 6220 h 6279"/>
                          <a:gd name="connsiteX42" fmla="*/ 3229 w 5562"/>
                          <a:gd name="connsiteY42" fmla="*/ 6041 h 6279"/>
                          <a:gd name="connsiteX43" fmla="*/ 3768 w 5562"/>
                          <a:gd name="connsiteY43" fmla="*/ 5741 h 6279"/>
                          <a:gd name="connsiteX44" fmla="*/ 4246 w 5562"/>
                          <a:gd name="connsiteY44" fmla="*/ 5382 h 6279"/>
                          <a:gd name="connsiteX45" fmla="*/ 4665 w 5562"/>
                          <a:gd name="connsiteY45" fmla="*/ 4904 h 6279"/>
                          <a:gd name="connsiteX46" fmla="*/ 5024 w 5562"/>
                          <a:gd name="connsiteY46" fmla="*/ 4366 h 6279"/>
                          <a:gd name="connsiteX47" fmla="*/ 5323 w 5562"/>
                          <a:gd name="connsiteY47" fmla="*/ 3768 h 6279"/>
                          <a:gd name="connsiteX48" fmla="*/ 5502 w 5562"/>
                          <a:gd name="connsiteY48" fmla="*/ 3170 h 6279"/>
                          <a:gd name="connsiteX49" fmla="*/ 5562 w 5562"/>
                          <a:gd name="connsiteY49" fmla="*/ 2572 h 6279"/>
                          <a:gd name="connsiteX50" fmla="*/ 5562 w 5562"/>
                          <a:gd name="connsiteY50" fmla="*/ 1973 h 6279"/>
                          <a:gd name="connsiteX51" fmla="*/ 5442 w 5562"/>
                          <a:gd name="connsiteY51" fmla="*/ 1435 h 6279"/>
                          <a:gd name="connsiteX52" fmla="*/ 5323 w 5562"/>
                          <a:gd name="connsiteY52" fmla="*/ 1196 h 6279"/>
                          <a:gd name="connsiteX53" fmla="*/ 5203 w 5562"/>
                          <a:gd name="connsiteY53" fmla="*/ 957 h 6279"/>
                          <a:gd name="connsiteX54" fmla="*/ 5024 w 5562"/>
                          <a:gd name="connsiteY54" fmla="*/ 778 h 6279"/>
                          <a:gd name="connsiteX55" fmla="*/ 4844 w 5562"/>
                          <a:gd name="connsiteY55" fmla="*/ 598 h 6279"/>
                          <a:gd name="connsiteX56" fmla="*/ 4665 w 5562"/>
                          <a:gd name="connsiteY56" fmla="*/ 419 h 6279"/>
                          <a:gd name="connsiteX57" fmla="*/ 4486 w 5562"/>
                          <a:gd name="connsiteY57" fmla="*/ 299 h 6279"/>
                          <a:gd name="connsiteX58" fmla="*/ 4246 w 5562"/>
                          <a:gd name="connsiteY58" fmla="*/ 179 h 6279"/>
                          <a:gd name="connsiteX59" fmla="*/ 4007 w 5562"/>
                          <a:gd name="connsiteY59" fmla="*/ 60 h 6279"/>
                          <a:gd name="connsiteX60" fmla="*/ 3469 w 5562"/>
                          <a:gd name="connsiteY60" fmla="*/ 0 h 6279"/>
                          <a:gd name="connsiteX61" fmla="*/ 2930 w 5562"/>
                          <a:gd name="connsiteY61" fmla="*/ 60 h 6279"/>
                          <a:gd name="connsiteX62" fmla="*/ 2392 w 5562"/>
                          <a:gd name="connsiteY62" fmla="*/ 239 h 6279"/>
                          <a:gd name="connsiteX63" fmla="*/ 1854 w 5562"/>
                          <a:gd name="connsiteY63" fmla="*/ 538 h 6279"/>
                          <a:gd name="connsiteX64" fmla="*/ 1316 w 5562"/>
                          <a:gd name="connsiteY64" fmla="*/ 957 h 6279"/>
                          <a:gd name="connsiteX65" fmla="*/ 897 w 5562"/>
                          <a:gd name="connsiteY65" fmla="*/ 1435 h 6279"/>
                          <a:gd name="connsiteX66" fmla="*/ 538 w 5562"/>
                          <a:gd name="connsiteY66" fmla="*/ 1973 h 6279"/>
                          <a:gd name="connsiteX67" fmla="*/ 239 w 5562"/>
                          <a:gd name="connsiteY67" fmla="*/ 2572 h 6279"/>
                          <a:gd name="connsiteX68" fmla="*/ 60 w 5562"/>
                          <a:gd name="connsiteY68" fmla="*/ 3170 h 6279"/>
                          <a:gd name="connsiteX69" fmla="*/ 0 w 5562"/>
                          <a:gd name="connsiteY69" fmla="*/ 3768 h 6279"/>
                          <a:gd name="connsiteX70" fmla="*/ 0 w 5562"/>
                          <a:gd name="connsiteY70" fmla="*/ 4366 h 6279"/>
                          <a:gd name="connsiteX71" fmla="*/ 120 w 5562"/>
                          <a:gd name="connsiteY71" fmla="*/ 4904 h 6279"/>
                          <a:gd name="connsiteX72" fmla="*/ 239 w 5562"/>
                          <a:gd name="connsiteY72" fmla="*/ 5143 h 6279"/>
                          <a:gd name="connsiteX73" fmla="*/ 359 w 5562"/>
                          <a:gd name="connsiteY73" fmla="*/ 5382 h 6279"/>
                          <a:gd name="connsiteX74" fmla="*/ 538 w 5562"/>
                          <a:gd name="connsiteY74" fmla="*/ 5622 h 6279"/>
                          <a:gd name="connsiteX75" fmla="*/ 778 w 5562"/>
                          <a:gd name="connsiteY75" fmla="*/ 580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562" h="6279">
                            <a:moveTo>
                              <a:pt x="4187" y="1435"/>
                            </a:moveTo>
                            <a:cubicBezTo>
                              <a:pt x="4246" y="1495"/>
                              <a:pt x="4246" y="1495"/>
                              <a:pt x="4306" y="1555"/>
                            </a:cubicBezTo>
                            <a:cubicBezTo>
                              <a:pt x="4366" y="1615"/>
                              <a:pt x="4366" y="1674"/>
                              <a:pt x="4426" y="1674"/>
                            </a:cubicBezTo>
                            <a:cubicBezTo>
                              <a:pt x="4486" y="1734"/>
                              <a:pt x="4486" y="1794"/>
                              <a:pt x="4545" y="1854"/>
                            </a:cubicBezTo>
                            <a:cubicBezTo>
                              <a:pt x="4545" y="1914"/>
                              <a:pt x="4605" y="1973"/>
                              <a:pt x="4605" y="2033"/>
                            </a:cubicBezTo>
                            <a:cubicBezTo>
                              <a:pt x="4665" y="2153"/>
                              <a:pt x="4665" y="2273"/>
                              <a:pt x="4665" y="2392"/>
                            </a:cubicBezTo>
                            <a:cubicBezTo>
                              <a:pt x="4665" y="2512"/>
                              <a:pt x="4665" y="2632"/>
                              <a:pt x="4665" y="2811"/>
                            </a:cubicBezTo>
                            <a:cubicBezTo>
                              <a:pt x="4665" y="2930"/>
                              <a:pt x="4665" y="3050"/>
                              <a:pt x="4605" y="3229"/>
                            </a:cubicBezTo>
                            <a:cubicBezTo>
                              <a:pt x="4605" y="3349"/>
                              <a:pt x="4545" y="3469"/>
                              <a:pt x="4486" y="3648"/>
                            </a:cubicBezTo>
                            <a:cubicBezTo>
                              <a:pt x="4426" y="3768"/>
                              <a:pt x="4366" y="3947"/>
                              <a:pt x="4306" y="4067"/>
                            </a:cubicBezTo>
                            <a:cubicBezTo>
                              <a:pt x="4246" y="4187"/>
                              <a:pt x="4127" y="4306"/>
                              <a:pt x="4067" y="4426"/>
                            </a:cubicBezTo>
                            <a:cubicBezTo>
                              <a:pt x="4007" y="4545"/>
                              <a:pt x="3888" y="4665"/>
                              <a:pt x="3768" y="4725"/>
                            </a:cubicBezTo>
                            <a:cubicBezTo>
                              <a:pt x="3648" y="4844"/>
                              <a:pt x="3528" y="4904"/>
                              <a:pt x="3409" y="4964"/>
                            </a:cubicBezTo>
                            <a:cubicBezTo>
                              <a:pt x="3289" y="5024"/>
                              <a:pt x="3170" y="5083"/>
                              <a:pt x="3050" y="5143"/>
                            </a:cubicBezTo>
                            <a:cubicBezTo>
                              <a:pt x="2930" y="5203"/>
                              <a:pt x="2811" y="5203"/>
                              <a:pt x="2691" y="5263"/>
                            </a:cubicBezTo>
                            <a:cubicBezTo>
                              <a:pt x="2572" y="5263"/>
                              <a:pt x="2452" y="5323"/>
                              <a:pt x="2333" y="5323"/>
                            </a:cubicBezTo>
                            <a:cubicBezTo>
                              <a:pt x="2213" y="5323"/>
                              <a:pt x="2093" y="5323"/>
                              <a:pt x="1974" y="5263"/>
                            </a:cubicBezTo>
                            <a:lnTo>
                              <a:pt x="1435" y="4964"/>
                            </a:lnTo>
                            <a:lnTo>
                              <a:pt x="1076" y="4366"/>
                            </a:lnTo>
                            <a:cubicBezTo>
                              <a:pt x="1017" y="4246"/>
                              <a:pt x="1017" y="4127"/>
                              <a:pt x="957" y="4007"/>
                            </a:cubicBezTo>
                            <a:cubicBezTo>
                              <a:pt x="957" y="3887"/>
                              <a:pt x="957" y="3768"/>
                              <a:pt x="957" y="3588"/>
                            </a:cubicBezTo>
                            <a:cubicBezTo>
                              <a:pt x="957" y="3409"/>
                              <a:pt x="957" y="3349"/>
                              <a:pt x="1017" y="3170"/>
                            </a:cubicBezTo>
                            <a:cubicBezTo>
                              <a:pt x="1017" y="3050"/>
                              <a:pt x="1076" y="2871"/>
                              <a:pt x="1136" y="2751"/>
                            </a:cubicBezTo>
                            <a:cubicBezTo>
                              <a:pt x="1196" y="2632"/>
                              <a:pt x="1256" y="2452"/>
                              <a:pt x="1316" y="2333"/>
                            </a:cubicBezTo>
                            <a:cubicBezTo>
                              <a:pt x="1375" y="2213"/>
                              <a:pt x="1495" y="2093"/>
                              <a:pt x="1555" y="1973"/>
                            </a:cubicBezTo>
                            <a:cubicBezTo>
                              <a:pt x="1674" y="1854"/>
                              <a:pt x="1734" y="1734"/>
                              <a:pt x="1854" y="1674"/>
                            </a:cubicBezTo>
                            <a:cubicBezTo>
                              <a:pt x="1974" y="1555"/>
                              <a:pt x="2093" y="1495"/>
                              <a:pt x="2213" y="1435"/>
                            </a:cubicBezTo>
                            <a:cubicBezTo>
                              <a:pt x="2333" y="1375"/>
                              <a:pt x="2452" y="1316"/>
                              <a:pt x="2572" y="1256"/>
                            </a:cubicBezTo>
                            <a:cubicBezTo>
                              <a:pt x="2691" y="1196"/>
                              <a:pt x="2811" y="1136"/>
                              <a:pt x="2930" y="1136"/>
                            </a:cubicBezTo>
                            <a:cubicBezTo>
                              <a:pt x="3050" y="1136"/>
                              <a:pt x="3170" y="1076"/>
                              <a:pt x="3289" y="1076"/>
                            </a:cubicBezTo>
                            <a:cubicBezTo>
                              <a:pt x="3409" y="1076"/>
                              <a:pt x="3528" y="1076"/>
                              <a:pt x="3648" y="1136"/>
                            </a:cubicBezTo>
                            <a:cubicBezTo>
                              <a:pt x="3708" y="1136"/>
                              <a:pt x="3768" y="1196"/>
                              <a:pt x="3828" y="1196"/>
                            </a:cubicBezTo>
                            <a:cubicBezTo>
                              <a:pt x="3888" y="1196"/>
                              <a:pt x="3947" y="1256"/>
                              <a:pt x="3947" y="1256"/>
                            </a:cubicBezTo>
                            <a:cubicBezTo>
                              <a:pt x="4007" y="1256"/>
                              <a:pt x="4067" y="1316"/>
                              <a:pt x="4067" y="1316"/>
                            </a:cubicBezTo>
                            <a:cubicBezTo>
                              <a:pt x="4067" y="1316"/>
                              <a:pt x="4127" y="1375"/>
                              <a:pt x="4187" y="1435"/>
                            </a:cubicBezTo>
                            <a:moveTo>
                              <a:pt x="778" y="5801"/>
                            </a:moveTo>
                            <a:cubicBezTo>
                              <a:pt x="837" y="5861"/>
                              <a:pt x="897" y="5921"/>
                              <a:pt x="957" y="5921"/>
                            </a:cubicBezTo>
                            <a:cubicBezTo>
                              <a:pt x="1017" y="5921"/>
                              <a:pt x="1076" y="5981"/>
                              <a:pt x="1136" y="6041"/>
                            </a:cubicBezTo>
                            <a:cubicBezTo>
                              <a:pt x="1196" y="6100"/>
                              <a:pt x="1256" y="6100"/>
                              <a:pt x="1375" y="6160"/>
                            </a:cubicBezTo>
                            <a:cubicBezTo>
                              <a:pt x="1435" y="6160"/>
                              <a:pt x="1495" y="6220"/>
                              <a:pt x="1615" y="6220"/>
                            </a:cubicBezTo>
                            <a:cubicBezTo>
                              <a:pt x="1794" y="6280"/>
                              <a:pt x="1974" y="6280"/>
                              <a:pt x="2153" y="6280"/>
                            </a:cubicBezTo>
                            <a:cubicBezTo>
                              <a:pt x="2333" y="6280"/>
                              <a:pt x="2512" y="6280"/>
                              <a:pt x="2691" y="6220"/>
                            </a:cubicBezTo>
                            <a:cubicBezTo>
                              <a:pt x="2871" y="6160"/>
                              <a:pt x="3050" y="6100"/>
                              <a:pt x="3229" y="6041"/>
                            </a:cubicBezTo>
                            <a:cubicBezTo>
                              <a:pt x="3409" y="5981"/>
                              <a:pt x="3588" y="5861"/>
                              <a:pt x="3768" y="5741"/>
                            </a:cubicBezTo>
                            <a:cubicBezTo>
                              <a:pt x="3947" y="5622"/>
                              <a:pt x="4127" y="5502"/>
                              <a:pt x="4246" y="5382"/>
                            </a:cubicBezTo>
                            <a:cubicBezTo>
                              <a:pt x="4366" y="5263"/>
                              <a:pt x="4545" y="5083"/>
                              <a:pt x="4665" y="4904"/>
                            </a:cubicBezTo>
                            <a:cubicBezTo>
                              <a:pt x="4785" y="4725"/>
                              <a:pt x="4904" y="4545"/>
                              <a:pt x="5024" y="4366"/>
                            </a:cubicBezTo>
                            <a:cubicBezTo>
                              <a:pt x="5143" y="4187"/>
                              <a:pt x="5203" y="4007"/>
                              <a:pt x="5323" y="3768"/>
                            </a:cubicBezTo>
                            <a:cubicBezTo>
                              <a:pt x="5383" y="3588"/>
                              <a:pt x="5442" y="3349"/>
                              <a:pt x="5502" y="3170"/>
                            </a:cubicBezTo>
                            <a:cubicBezTo>
                              <a:pt x="5562" y="2990"/>
                              <a:pt x="5562" y="2751"/>
                              <a:pt x="5562" y="2572"/>
                            </a:cubicBezTo>
                            <a:cubicBezTo>
                              <a:pt x="5562" y="2392"/>
                              <a:pt x="5562" y="2153"/>
                              <a:pt x="5562" y="1973"/>
                            </a:cubicBezTo>
                            <a:cubicBezTo>
                              <a:pt x="5562" y="1794"/>
                              <a:pt x="5502" y="1615"/>
                              <a:pt x="5442" y="1435"/>
                            </a:cubicBezTo>
                            <a:cubicBezTo>
                              <a:pt x="5383" y="1375"/>
                              <a:pt x="5383" y="1256"/>
                              <a:pt x="5323" y="1196"/>
                            </a:cubicBezTo>
                            <a:cubicBezTo>
                              <a:pt x="5263" y="1136"/>
                              <a:pt x="5263" y="1017"/>
                              <a:pt x="5203" y="957"/>
                            </a:cubicBezTo>
                            <a:cubicBezTo>
                              <a:pt x="5143" y="897"/>
                              <a:pt x="5083" y="837"/>
                              <a:pt x="5024" y="778"/>
                            </a:cubicBezTo>
                            <a:cubicBezTo>
                              <a:pt x="4964" y="718"/>
                              <a:pt x="4904" y="658"/>
                              <a:pt x="4844" y="598"/>
                            </a:cubicBezTo>
                            <a:cubicBezTo>
                              <a:pt x="4785" y="538"/>
                              <a:pt x="4725" y="478"/>
                              <a:pt x="4665" y="419"/>
                            </a:cubicBezTo>
                            <a:cubicBezTo>
                              <a:pt x="4605" y="359"/>
                              <a:pt x="4545" y="299"/>
                              <a:pt x="4486" y="299"/>
                            </a:cubicBezTo>
                            <a:cubicBezTo>
                              <a:pt x="4426" y="239"/>
                              <a:pt x="4366" y="239"/>
                              <a:pt x="4246" y="179"/>
                            </a:cubicBezTo>
                            <a:cubicBezTo>
                              <a:pt x="4187" y="119"/>
                              <a:pt x="4127" y="119"/>
                              <a:pt x="4007" y="60"/>
                            </a:cubicBezTo>
                            <a:cubicBezTo>
                              <a:pt x="3828" y="0"/>
                              <a:pt x="3648" y="0"/>
                              <a:pt x="3469" y="0"/>
                            </a:cubicBezTo>
                            <a:cubicBezTo>
                              <a:pt x="3289" y="0"/>
                              <a:pt x="3110" y="0"/>
                              <a:pt x="2930" y="60"/>
                            </a:cubicBezTo>
                            <a:cubicBezTo>
                              <a:pt x="2751" y="119"/>
                              <a:pt x="2572" y="179"/>
                              <a:pt x="2392" y="239"/>
                            </a:cubicBezTo>
                            <a:cubicBezTo>
                              <a:pt x="2213" y="299"/>
                              <a:pt x="2033" y="419"/>
                              <a:pt x="1854" y="538"/>
                            </a:cubicBezTo>
                            <a:cubicBezTo>
                              <a:pt x="1674" y="658"/>
                              <a:pt x="1495" y="778"/>
                              <a:pt x="1316" y="957"/>
                            </a:cubicBezTo>
                            <a:cubicBezTo>
                              <a:pt x="1136" y="1076"/>
                              <a:pt x="1017" y="1256"/>
                              <a:pt x="897" y="1435"/>
                            </a:cubicBezTo>
                            <a:cubicBezTo>
                              <a:pt x="778" y="1615"/>
                              <a:pt x="658" y="1794"/>
                              <a:pt x="538" y="1973"/>
                            </a:cubicBezTo>
                            <a:cubicBezTo>
                              <a:pt x="419" y="2153"/>
                              <a:pt x="359" y="2392"/>
                              <a:pt x="239" y="2572"/>
                            </a:cubicBezTo>
                            <a:cubicBezTo>
                              <a:pt x="179" y="2751"/>
                              <a:pt x="120" y="2990"/>
                              <a:pt x="60" y="3170"/>
                            </a:cubicBezTo>
                            <a:cubicBezTo>
                              <a:pt x="0" y="3349"/>
                              <a:pt x="0" y="3588"/>
                              <a:pt x="0" y="3768"/>
                            </a:cubicBezTo>
                            <a:cubicBezTo>
                              <a:pt x="0" y="3947"/>
                              <a:pt x="0" y="4187"/>
                              <a:pt x="0" y="4366"/>
                            </a:cubicBezTo>
                            <a:cubicBezTo>
                              <a:pt x="0" y="4545"/>
                              <a:pt x="60" y="4725"/>
                              <a:pt x="120" y="4904"/>
                            </a:cubicBezTo>
                            <a:cubicBezTo>
                              <a:pt x="179" y="5024"/>
                              <a:pt x="179" y="5083"/>
                              <a:pt x="239" y="5143"/>
                            </a:cubicBezTo>
                            <a:cubicBezTo>
                              <a:pt x="299" y="5203"/>
                              <a:pt x="359" y="5323"/>
                              <a:pt x="359" y="5382"/>
                            </a:cubicBezTo>
                            <a:cubicBezTo>
                              <a:pt x="419" y="5442"/>
                              <a:pt x="479" y="5502"/>
                              <a:pt x="538" y="5622"/>
                            </a:cubicBezTo>
                            <a:cubicBezTo>
                              <a:pt x="598" y="5682"/>
                              <a:pt x="658" y="5741"/>
                              <a:pt x="778" y="5801"/>
                            </a:cubicBezTo>
                          </a:path>
                        </a:pathLst>
                      </a:custGeom>
                      <a:noFill/>
                      <a:ln w="6350" cap="flat">
                        <a:solidFill>
                          <a:schemeClr val="bg1">
                            <a:alpha val="40000"/>
                          </a:schemeClr>
                        </a:solidFill>
                        <a:prstDash val="solid"/>
                        <a:miter/>
                      </a:ln>
                    </p:spPr>
                    <p:txBody>
                      <a:bodyPr rtlCol="0" anchor="ctr"/>
                      <a:lstStyle/>
                      <a:p>
                        <a:endParaRPr lang="en-GB"/>
                      </a:p>
                    </p:txBody>
                  </p:sp>
                  <p:sp>
                    <p:nvSpPr>
                      <p:cNvPr id="7544" name="Vrije vorm: vorm 7543">
                        <a:extLst>
                          <a:ext uri="{FF2B5EF4-FFF2-40B4-BE49-F238E27FC236}">
                            <a16:creationId xmlns:a16="http://schemas.microsoft.com/office/drawing/2014/main" id="{A5F2575E-DED2-4890-9F26-00F742E4E35F}"/>
                          </a:ext>
                        </a:extLst>
                      </p:cNvPr>
                      <p:cNvSpPr/>
                      <p:nvPr/>
                    </p:nvSpPr>
                    <p:spPr>
                      <a:xfrm>
                        <a:off x="5315865" y="5146212"/>
                        <a:ext cx="5502" cy="6219"/>
                      </a:xfrm>
                      <a:custGeom>
                        <a:avLst/>
                        <a:gdLst>
                          <a:gd name="connsiteX0" fmla="*/ 4127 w 5502"/>
                          <a:gd name="connsiteY0" fmla="*/ 1435 h 6219"/>
                          <a:gd name="connsiteX1" fmla="*/ 4426 w 5502"/>
                          <a:gd name="connsiteY1" fmla="*/ 1854 h 6219"/>
                          <a:gd name="connsiteX2" fmla="*/ 4605 w 5502"/>
                          <a:gd name="connsiteY2" fmla="*/ 2392 h 6219"/>
                          <a:gd name="connsiteX3" fmla="*/ 4605 w 5502"/>
                          <a:gd name="connsiteY3" fmla="*/ 2990 h 6219"/>
                          <a:gd name="connsiteX4" fmla="*/ 4426 w 5502"/>
                          <a:gd name="connsiteY4" fmla="*/ 3648 h 6219"/>
                          <a:gd name="connsiteX5" fmla="*/ 3947 w 5502"/>
                          <a:gd name="connsiteY5" fmla="*/ 4426 h 6219"/>
                          <a:gd name="connsiteX6" fmla="*/ 3349 w 5502"/>
                          <a:gd name="connsiteY6" fmla="*/ 4964 h 6219"/>
                          <a:gd name="connsiteX7" fmla="*/ 2632 w 5502"/>
                          <a:gd name="connsiteY7" fmla="*/ 5263 h 6219"/>
                          <a:gd name="connsiteX8" fmla="*/ 1914 w 5502"/>
                          <a:gd name="connsiteY8" fmla="*/ 5263 h 6219"/>
                          <a:gd name="connsiteX9" fmla="*/ 1316 w 5502"/>
                          <a:gd name="connsiteY9" fmla="*/ 4964 h 6219"/>
                          <a:gd name="connsiteX10" fmla="*/ 897 w 5502"/>
                          <a:gd name="connsiteY10" fmla="*/ 4366 h 6219"/>
                          <a:gd name="connsiteX11" fmla="*/ 837 w 5502"/>
                          <a:gd name="connsiteY11" fmla="*/ 4007 h 6219"/>
                          <a:gd name="connsiteX12" fmla="*/ 837 w 5502"/>
                          <a:gd name="connsiteY12" fmla="*/ 3588 h 6219"/>
                          <a:gd name="connsiteX13" fmla="*/ 897 w 5502"/>
                          <a:gd name="connsiteY13" fmla="*/ 3170 h 6219"/>
                          <a:gd name="connsiteX14" fmla="*/ 1017 w 5502"/>
                          <a:gd name="connsiteY14" fmla="*/ 2751 h 6219"/>
                          <a:gd name="connsiteX15" fmla="*/ 1435 w 5502"/>
                          <a:gd name="connsiteY15" fmla="*/ 1974 h 6219"/>
                          <a:gd name="connsiteX16" fmla="*/ 2033 w 5502"/>
                          <a:gd name="connsiteY16" fmla="*/ 1435 h 6219"/>
                          <a:gd name="connsiteX17" fmla="*/ 2751 w 5502"/>
                          <a:gd name="connsiteY17" fmla="*/ 1136 h 6219"/>
                          <a:gd name="connsiteX18" fmla="*/ 3469 w 5502"/>
                          <a:gd name="connsiteY18" fmla="*/ 1136 h 6219"/>
                          <a:gd name="connsiteX19" fmla="*/ 3648 w 5502"/>
                          <a:gd name="connsiteY19" fmla="*/ 1196 h 6219"/>
                          <a:gd name="connsiteX20" fmla="*/ 3768 w 5502"/>
                          <a:gd name="connsiteY20" fmla="*/ 1256 h 6219"/>
                          <a:gd name="connsiteX21" fmla="*/ 3888 w 5502"/>
                          <a:gd name="connsiteY21" fmla="*/ 1316 h 6219"/>
                          <a:gd name="connsiteX22" fmla="*/ 4127 w 5502"/>
                          <a:gd name="connsiteY22" fmla="*/ 1435 h 6219"/>
                          <a:gd name="connsiteX23" fmla="*/ 718 w 5502"/>
                          <a:gd name="connsiteY23" fmla="*/ 5742 h 6219"/>
                          <a:gd name="connsiteX24" fmla="*/ 897 w 5502"/>
                          <a:gd name="connsiteY24" fmla="*/ 5861 h 6219"/>
                          <a:gd name="connsiteX25" fmla="*/ 1076 w 5502"/>
                          <a:gd name="connsiteY25" fmla="*/ 5981 h 6219"/>
                          <a:gd name="connsiteX26" fmla="*/ 1316 w 5502"/>
                          <a:gd name="connsiteY26" fmla="*/ 6100 h 6219"/>
                          <a:gd name="connsiteX27" fmla="*/ 1555 w 5502"/>
                          <a:gd name="connsiteY27" fmla="*/ 6160 h 6219"/>
                          <a:gd name="connsiteX28" fmla="*/ 2093 w 5502"/>
                          <a:gd name="connsiteY28" fmla="*/ 6220 h 6219"/>
                          <a:gd name="connsiteX29" fmla="*/ 2632 w 5502"/>
                          <a:gd name="connsiteY29" fmla="*/ 6160 h 6219"/>
                          <a:gd name="connsiteX30" fmla="*/ 3170 w 5502"/>
                          <a:gd name="connsiteY30" fmla="*/ 5981 h 6219"/>
                          <a:gd name="connsiteX31" fmla="*/ 3708 w 5502"/>
                          <a:gd name="connsiteY31" fmla="*/ 5682 h 6219"/>
                          <a:gd name="connsiteX32" fmla="*/ 4187 w 5502"/>
                          <a:gd name="connsiteY32" fmla="*/ 5323 h 6219"/>
                          <a:gd name="connsiteX33" fmla="*/ 4605 w 5502"/>
                          <a:gd name="connsiteY33" fmla="*/ 4844 h 6219"/>
                          <a:gd name="connsiteX34" fmla="*/ 4964 w 5502"/>
                          <a:gd name="connsiteY34" fmla="*/ 4306 h 6219"/>
                          <a:gd name="connsiteX35" fmla="*/ 5263 w 5502"/>
                          <a:gd name="connsiteY35" fmla="*/ 3708 h 6219"/>
                          <a:gd name="connsiteX36" fmla="*/ 5442 w 5502"/>
                          <a:gd name="connsiteY36" fmla="*/ 3110 h 6219"/>
                          <a:gd name="connsiteX37" fmla="*/ 5502 w 5502"/>
                          <a:gd name="connsiteY37" fmla="*/ 2512 h 6219"/>
                          <a:gd name="connsiteX38" fmla="*/ 5502 w 5502"/>
                          <a:gd name="connsiteY38" fmla="*/ 1914 h 6219"/>
                          <a:gd name="connsiteX39" fmla="*/ 5383 w 5502"/>
                          <a:gd name="connsiteY39" fmla="*/ 1375 h 6219"/>
                          <a:gd name="connsiteX40" fmla="*/ 5263 w 5502"/>
                          <a:gd name="connsiteY40" fmla="*/ 1136 h 6219"/>
                          <a:gd name="connsiteX41" fmla="*/ 5143 w 5502"/>
                          <a:gd name="connsiteY41" fmla="*/ 897 h 6219"/>
                          <a:gd name="connsiteX42" fmla="*/ 4964 w 5502"/>
                          <a:gd name="connsiteY42" fmla="*/ 658 h 6219"/>
                          <a:gd name="connsiteX43" fmla="*/ 4785 w 5502"/>
                          <a:gd name="connsiteY43" fmla="*/ 479 h 6219"/>
                          <a:gd name="connsiteX44" fmla="*/ 4605 w 5502"/>
                          <a:gd name="connsiteY44" fmla="*/ 359 h 6219"/>
                          <a:gd name="connsiteX45" fmla="*/ 4426 w 5502"/>
                          <a:gd name="connsiteY45" fmla="*/ 239 h 6219"/>
                          <a:gd name="connsiteX46" fmla="*/ 4187 w 5502"/>
                          <a:gd name="connsiteY46" fmla="*/ 120 h 6219"/>
                          <a:gd name="connsiteX47" fmla="*/ 3947 w 5502"/>
                          <a:gd name="connsiteY47" fmla="*/ 60 h 6219"/>
                          <a:gd name="connsiteX48" fmla="*/ 3409 w 5502"/>
                          <a:gd name="connsiteY48" fmla="*/ 0 h 6219"/>
                          <a:gd name="connsiteX49" fmla="*/ 2871 w 5502"/>
                          <a:gd name="connsiteY49" fmla="*/ 60 h 6219"/>
                          <a:gd name="connsiteX50" fmla="*/ 2333 w 5502"/>
                          <a:gd name="connsiteY50" fmla="*/ 239 h 6219"/>
                          <a:gd name="connsiteX51" fmla="*/ 1794 w 5502"/>
                          <a:gd name="connsiteY51" fmla="*/ 538 h 6219"/>
                          <a:gd name="connsiteX52" fmla="*/ 1316 w 5502"/>
                          <a:gd name="connsiteY52" fmla="*/ 957 h 6219"/>
                          <a:gd name="connsiteX53" fmla="*/ 897 w 5502"/>
                          <a:gd name="connsiteY53" fmla="*/ 1435 h 6219"/>
                          <a:gd name="connsiteX54" fmla="*/ 538 w 5502"/>
                          <a:gd name="connsiteY54" fmla="*/ 1974 h 6219"/>
                          <a:gd name="connsiteX55" fmla="*/ 239 w 5502"/>
                          <a:gd name="connsiteY55" fmla="*/ 2572 h 6219"/>
                          <a:gd name="connsiteX56" fmla="*/ 60 w 5502"/>
                          <a:gd name="connsiteY56" fmla="*/ 3170 h 6219"/>
                          <a:gd name="connsiteX57" fmla="*/ 0 w 5502"/>
                          <a:gd name="connsiteY57" fmla="*/ 3768 h 6219"/>
                          <a:gd name="connsiteX58" fmla="*/ 0 w 5502"/>
                          <a:gd name="connsiteY58" fmla="*/ 4366 h 6219"/>
                          <a:gd name="connsiteX59" fmla="*/ 120 w 5502"/>
                          <a:gd name="connsiteY59" fmla="*/ 4904 h 6219"/>
                          <a:gd name="connsiteX60" fmla="*/ 239 w 5502"/>
                          <a:gd name="connsiteY60" fmla="*/ 5143 h 6219"/>
                          <a:gd name="connsiteX61" fmla="*/ 359 w 5502"/>
                          <a:gd name="connsiteY61" fmla="*/ 5382 h 6219"/>
                          <a:gd name="connsiteX62" fmla="*/ 538 w 5502"/>
                          <a:gd name="connsiteY62" fmla="*/ 5562 h 6219"/>
                          <a:gd name="connsiteX63" fmla="*/ 718 w 5502"/>
                          <a:gd name="connsiteY63" fmla="*/ 5742 h 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502" h="6219">
                            <a:moveTo>
                              <a:pt x="4127" y="1435"/>
                            </a:moveTo>
                            <a:cubicBezTo>
                              <a:pt x="4246" y="1555"/>
                              <a:pt x="4366" y="1674"/>
                              <a:pt x="4426" y="1854"/>
                            </a:cubicBezTo>
                            <a:cubicBezTo>
                              <a:pt x="4486" y="2033"/>
                              <a:pt x="4545" y="2213"/>
                              <a:pt x="4605" y="2392"/>
                            </a:cubicBezTo>
                            <a:cubicBezTo>
                              <a:pt x="4605" y="2572"/>
                              <a:pt x="4665" y="2811"/>
                              <a:pt x="4605" y="2990"/>
                            </a:cubicBezTo>
                            <a:cubicBezTo>
                              <a:pt x="4545" y="3170"/>
                              <a:pt x="4545" y="3409"/>
                              <a:pt x="4426" y="3648"/>
                            </a:cubicBezTo>
                            <a:cubicBezTo>
                              <a:pt x="4306" y="3947"/>
                              <a:pt x="4127" y="4187"/>
                              <a:pt x="3947" y="4426"/>
                            </a:cubicBezTo>
                            <a:cubicBezTo>
                              <a:pt x="3768" y="4665"/>
                              <a:pt x="3528" y="4844"/>
                              <a:pt x="3349" y="4964"/>
                            </a:cubicBezTo>
                            <a:cubicBezTo>
                              <a:pt x="3110" y="5083"/>
                              <a:pt x="2871" y="5203"/>
                              <a:pt x="2632" y="5263"/>
                            </a:cubicBezTo>
                            <a:cubicBezTo>
                              <a:pt x="2392" y="5323"/>
                              <a:pt x="2153" y="5323"/>
                              <a:pt x="1914" y="5263"/>
                            </a:cubicBezTo>
                            <a:lnTo>
                              <a:pt x="1316" y="4964"/>
                            </a:lnTo>
                            <a:lnTo>
                              <a:pt x="897" y="4366"/>
                            </a:lnTo>
                            <a:cubicBezTo>
                              <a:pt x="837" y="4246"/>
                              <a:pt x="837" y="4127"/>
                              <a:pt x="837" y="4007"/>
                            </a:cubicBezTo>
                            <a:cubicBezTo>
                              <a:pt x="837" y="3887"/>
                              <a:pt x="837" y="3768"/>
                              <a:pt x="837" y="3588"/>
                            </a:cubicBezTo>
                            <a:cubicBezTo>
                              <a:pt x="837" y="3469"/>
                              <a:pt x="837" y="3289"/>
                              <a:pt x="897" y="3170"/>
                            </a:cubicBezTo>
                            <a:cubicBezTo>
                              <a:pt x="957" y="3050"/>
                              <a:pt x="957" y="2871"/>
                              <a:pt x="1017" y="2751"/>
                            </a:cubicBezTo>
                            <a:cubicBezTo>
                              <a:pt x="1136" y="2452"/>
                              <a:pt x="1256" y="2213"/>
                              <a:pt x="1435" y="1974"/>
                            </a:cubicBezTo>
                            <a:cubicBezTo>
                              <a:pt x="1615" y="1734"/>
                              <a:pt x="1854" y="1555"/>
                              <a:pt x="2033" y="1435"/>
                            </a:cubicBezTo>
                            <a:cubicBezTo>
                              <a:pt x="2213" y="1316"/>
                              <a:pt x="2512" y="1196"/>
                              <a:pt x="2751" y="1136"/>
                            </a:cubicBezTo>
                            <a:cubicBezTo>
                              <a:pt x="2990" y="1076"/>
                              <a:pt x="3229" y="1076"/>
                              <a:pt x="3469" y="1136"/>
                            </a:cubicBezTo>
                            <a:cubicBezTo>
                              <a:pt x="3528" y="1136"/>
                              <a:pt x="3588" y="1196"/>
                              <a:pt x="3648" y="1196"/>
                            </a:cubicBezTo>
                            <a:cubicBezTo>
                              <a:pt x="3708" y="1196"/>
                              <a:pt x="3768" y="1256"/>
                              <a:pt x="3768" y="1256"/>
                            </a:cubicBezTo>
                            <a:cubicBezTo>
                              <a:pt x="3768" y="1256"/>
                              <a:pt x="3828" y="1316"/>
                              <a:pt x="3888" y="1316"/>
                            </a:cubicBezTo>
                            <a:cubicBezTo>
                              <a:pt x="4007" y="1375"/>
                              <a:pt x="4067" y="1375"/>
                              <a:pt x="4127" y="1435"/>
                            </a:cubicBezTo>
                            <a:moveTo>
                              <a:pt x="718" y="5742"/>
                            </a:moveTo>
                            <a:cubicBezTo>
                              <a:pt x="778" y="5801"/>
                              <a:pt x="837" y="5861"/>
                              <a:pt x="897" y="5861"/>
                            </a:cubicBezTo>
                            <a:cubicBezTo>
                              <a:pt x="957" y="5861"/>
                              <a:pt x="1017" y="5921"/>
                              <a:pt x="1076" y="5981"/>
                            </a:cubicBezTo>
                            <a:cubicBezTo>
                              <a:pt x="1136" y="6041"/>
                              <a:pt x="1196" y="6041"/>
                              <a:pt x="1316" y="6100"/>
                            </a:cubicBezTo>
                            <a:cubicBezTo>
                              <a:pt x="1435" y="6160"/>
                              <a:pt x="1495" y="6160"/>
                              <a:pt x="1555" y="6160"/>
                            </a:cubicBezTo>
                            <a:cubicBezTo>
                              <a:pt x="1734" y="6220"/>
                              <a:pt x="1914" y="6220"/>
                              <a:pt x="2093" y="6220"/>
                            </a:cubicBezTo>
                            <a:cubicBezTo>
                              <a:pt x="2273" y="6220"/>
                              <a:pt x="2452" y="6220"/>
                              <a:pt x="2632" y="6160"/>
                            </a:cubicBezTo>
                            <a:cubicBezTo>
                              <a:pt x="2811" y="6100"/>
                              <a:pt x="2990" y="6041"/>
                              <a:pt x="3170" y="5981"/>
                            </a:cubicBezTo>
                            <a:cubicBezTo>
                              <a:pt x="3349" y="5921"/>
                              <a:pt x="3528" y="5801"/>
                              <a:pt x="3708" y="5682"/>
                            </a:cubicBezTo>
                            <a:cubicBezTo>
                              <a:pt x="3888" y="5562"/>
                              <a:pt x="4067" y="5442"/>
                              <a:pt x="4187" y="5323"/>
                            </a:cubicBezTo>
                            <a:cubicBezTo>
                              <a:pt x="4366" y="5203"/>
                              <a:pt x="4486" y="5024"/>
                              <a:pt x="4605" y="4844"/>
                            </a:cubicBezTo>
                            <a:cubicBezTo>
                              <a:pt x="4725" y="4665"/>
                              <a:pt x="4844" y="4486"/>
                              <a:pt x="4964" y="4306"/>
                            </a:cubicBezTo>
                            <a:cubicBezTo>
                              <a:pt x="5083" y="4127"/>
                              <a:pt x="5143" y="3947"/>
                              <a:pt x="5263" y="3708"/>
                            </a:cubicBezTo>
                            <a:cubicBezTo>
                              <a:pt x="5323" y="3528"/>
                              <a:pt x="5383" y="3289"/>
                              <a:pt x="5442" y="3110"/>
                            </a:cubicBezTo>
                            <a:cubicBezTo>
                              <a:pt x="5502" y="2930"/>
                              <a:pt x="5502" y="2691"/>
                              <a:pt x="5502" y="2512"/>
                            </a:cubicBezTo>
                            <a:cubicBezTo>
                              <a:pt x="5502" y="2333"/>
                              <a:pt x="5502" y="2093"/>
                              <a:pt x="5502" y="1914"/>
                            </a:cubicBezTo>
                            <a:cubicBezTo>
                              <a:pt x="5502" y="1734"/>
                              <a:pt x="5442" y="1555"/>
                              <a:pt x="5383" y="1375"/>
                            </a:cubicBezTo>
                            <a:cubicBezTo>
                              <a:pt x="5323" y="1316"/>
                              <a:pt x="5323" y="1196"/>
                              <a:pt x="5263" y="1136"/>
                            </a:cubicBezTo>
                            <a:cubicBezTo>
                              <a:pt x="5203" y="1076"/>
                              <a:pt x="5203" y="957"/>
                              <a:pt x="5143" y="897"/>
                            </a:cubicBezTo>
                            <a:cubicBezTo>
                              <a:pt x="5083" y="837"/>
                              <a:pt x="5024" y="778"/>
                              <a:pt x="4964" y="658"/>
                            </a:cubicBezTo>
                            <a:cubicBezTo>
                              <a:pt x="4904" y="598"/>
                              <a:pt x="4844" y="538"/>
                              <a:pt x="4785" y="479"/>
                            </a:cubicBezTo>
                            <a:cubicBezTo>
                              <a:pt x="4725" y="419"/>
                              <a:pt x="4665" y="359"/>
                              <a:pt x="4605" y="359"/>
                            </a:cubicBezTo>
                            <a:cubicBezTo>
                              <a:pt x="4545" y="359"/>
                              <a:pt x="4486" y="299"/>
                              <a:pt x="4426" y="239"/>
                            </a:cubicBezTo>
                            <a:cubicBezTo>
                              <a:pt x="4366" y="179"/>
                              <a:pt x="4306" y="179"/>
                              <a:pt x="4187" y="120"/>
                            </a:cubicBezTo>
                            <a:cubicBezTo>
                              <a:pt x="4127" y="120"/>
                              <a:pt x="4007" y="60"/>
                              <a:pt x="3947" y="60"/>
                            </a:cubicBezTo>
                            <a:cubicBezTo>
                              <a:pt x="3768" y="0"/>
                              <a:pt x="3588" y="0"/>
                              <a:pt x="3409" y="0"/>
                            </a:cubicBezTo>
                            <a:cubicBezTo>
                              <a:pt x="3229" y="0"/>
                              <a:pt x="3050" y="0"/>
                              <a:pt x="2871" y="60"/>
                            </a:cubicBezTo>
                            <a:cubicBezTo>
                              <a:pt x="2691" y="120"/>
                              <a:pt x="2512" y="179"/>
                              <a:pt x="2333" y="239"/>
                            </a:cubicBezTo>
                            <a:cubicBezTo>
                              <a:pt x="2153" y="299"/>
                              <a:pt x="1974" y="419"/>
                              <a:pt x="1794" y="538"/>
                            </a:cubicBezTo>
                            <a:cubicBezTo>
                              <a:pt x="1615" y="658"/>
                              <a:pt x="1435" y="778"/>
                              <a:pt x="1316" y="957"/>
                            </a:cubicBezTo>
                            <a:cubicBezTo>
                              <a:pt x="1196" y="1136"/>
                              <a:pt x="1017" y="1256"/>
                              <a:pt x="897" y="1435"/>
                            </a:cubicBezTo>
                            <a:cubicBezTo>
                              <a:pt x="778" y="1615"/>
                              <a:pt x="658" y="1794"/>
                              <a:pt x="538" y="1974"/>
                            </a:cubicBezTo>
                            <a:cubicBezTo>
                              <a:pt x="419" y="2153"/>
                              <a:pt x="359" y="2333"/>
                              <a:pt x="239" y="2572"/>
                            </a:cubicBezTo>
                            <a:cubicBezTo>
                              <a:pt x="179" y="2751"/>
                              <a:pt x="60" y="2990"/>
                              <a:pt x="60" y="3170"/>
                            </a:cubicBezTo>
                            <a:cubicBezTo>
                              <a:pt x="60" y="3349"/>
                              <a:pt x="0" y="3588"/>
                              <a:pt x="0" y="3768"/>
                            </a:cubicBezTo>
                            <a:cubicBezTo>
                              <a:pt x="0" y="3947"/>
                              <a:pt x="0" y="4187"/>
                              <a:pt x="0" y="4366"/>
                            </a:cubicBezTo>
                            <a:cubicBezTo>
                              <a:pt x="0" y="4545"/>
                              <a:pt x="60" y="4725"/>
                              <a:pt x="120" y="4904"/>
                            </a:cubicBezTo>
                            <a:cubicBezTo>
                              <a:pt x="179" y="5024"/>
                              <a:pt x="179" y="5083"/>
                              <a:pt x="239" y="5143"/>
                            </a:cubicBezTo>
                            <a:cubicBezTo>
                              <a:pt x="299" y="5203"/>
                              <a:pt x="299" y="5323"/>
                              <a:pt x="359" y="5382"/>
                            </a:cubicBezTo>
                            <a:cubicBezTo>
                              <a:pt x="419" y="5442"/>
                              <a:pt x="479" y="5502"/>
                              <a:pt x="538" y="5562"/>
                            </a:cubicBezTo>
                            <a:cubicBezTo>
                              <a:pt x="598" y="5622"/>
                              <a:pt x="658" y="5742"/>
                              <a:pt x="718" y="5742"/>
                            </a:cubicBezTo>
                          </a:path>
                        </a:pathLst>
                      </a:custGeom>
                      <a:noFill/>
                      <a:ln w="6350" cap="flat">
                        <a:solidFill>
                          <a:schemeClr val="bg1">
                            <a:alpha val="40000"/>
                          </a:schemeClr>
                        </a:solidFill>
                        <a:prstDash val="solid"/>
                        <a:miter/>
                      </a:ln>
                    </p:spPr>
                    <p:txBody>
                      <a:bodyPr rtlCol="0" anchor="ctr"/>
                      <a:lstStyle/>
                      <a:p>
                        <a:endParaRPr lang="en-GB"/>
                      </a:p>
                    </p:txBody>
                  </p:sp>
                  <p:sp>
                    <p:nvSpPr>
                      <p:cNvPr id="7545" name="Vrije vorm: vorm 7544">
                        <a:extLst>
                          <a:ext uri="{FF2B5EF4-FFF2-40B4-BE49-F238E27FC236}">
                            <a16:creationId xmlns:a16="http://schemas.microsoft.com/office/drawing/2014/main" id="{3D2801C2-E32B-4BC5-9721-CE03D41B1BEB}"/>
                          </a:ext>
                        </a:extLst>
                      </p:cNvPr>
                      <p:cNvSpPr/>
                      <p:nvPr/>
                    </p:nvSpPr>
                    <p:spPr>
                      <a:xfrm>
                        <a:off x="5315419" y="5127851"/>
                        <a:ext cx="16019" cy="17778"/>
                      </a:xfrm>
                      <a:custGeom>
                        <a:avLst/>
                        <a:gdLst>
                          <a:gd name="connsiteX0" fmla="*/ 3376 w 16019"/>
                          <a:gd name="connsiteY0" fmla="*/ 15370 h 17778"/>
                          <a:gd name="connsiteX1" fmla="*/ 3376 w 16019"/>
                          <a:gd name="connsiteY1" fmla="*/ 15370 h 17778"/>
                          <a:gd name="connsiteX2" fmla="*/ 3316 w 16019"/>
                          <a:gd name="connsiteY2" fmla="*/ 15311 h 17778"/>
                          <a:gd name="connsiteX3" fmla="*/ 3256 w 16019"/>
                          <a:gd name="connsiteY3" fmla="*/ 15251 h 17778"/>
                          <a:gd name="connsiteX4" fmla="*/ 3197 w 16019"/>
                          <a:gd name="connsiteY4" fmla="*/ 15191 h 17778"/>
                          <a:gd name="connsiteX5" fmla="*/ 2718 w 16019"/>
                          <a:gd name="connsiteY5" fmla="*/ 14713 h 17778"/>
                          <a:gd name="connsiteX6" fmla="*/ 2359 w 16019"/>
                          <a:gd name="connsiteY6" fmla="*/ 14174 h 17778"/>
                          <a:gd name="connsiteX7" fmla="*/ 2060 w 16019"/>
                          <a:gd name="connsiteY7" fmla="*/ 13576 h 17778"/>
                          <a:gd name="connsiteX8" fmla="*/ 1761 w 16019"/>
                          <a:gd name="connsiteY8" fmla="*/ 12918 h 17778"/>
                          <a:gd name="connsiteX9" fmla="*/ 1522 w 16019"/>
                          <a:gd name="connsiteY9" fmla="*/ 11902 h 17778"/>
                          <a:gd name="connsiteX10" fmla="*/ 1402 w 16019"/>
                          <a:gd name="connsiteY10" fmla="*/ 10825 h 17778"/>
                          <a:gd name="connsiteX11" fmla="*/ 1462 w 16019"/>
                          <a:gd name="connsiteY11" fmla="*/ 9689 h 17778"/>
                          <a:gd name="connsiteX12" fmla="*/ 1642 w 16019"/>
                          <a:gd name="connsiteY12" fmla="*/ 8552 h 17778"/>
                          <a:gd name="connsiteX13" fmla="*/ 1701 w 16019"/>
                          <a:gd name="connsiteY13" fmla="*/ 8194 h 17778"/>
                          <a:gd name="connsiteX14" fmla="*/ 1821 w 16019"/>
                          <a:gd name="connsiteY14" fmla="*/ 7835 h 17778"/>
                          <a:gd name="connsiteX15" fmla="*/ 1940 w 16019"/>
                          <a:gd name="connsiteY15" fmla="*/ 7476 h 17778"/>
                          <a:gd name="connsiteX16" fmla="*/ 2060 w 16019"/>
                          <a:gd name="connsiteY16" fmla="*/ 7117 h 17778"/>
                          <a:gd name="connsiteX17" fmla="*/ 2060 w 16019"/>
                          <a:gd name="connsiteY17" fmla="*/ 7117 h 17778"/>
                          <a:gd name="connsiteX18" fmla="*/ 2060 w 16019"/>
                          <a:gd name="connsiteY18" fmla="*/ 7117 h 17778"/>
                          <a:gd name="connsiteX19" fmla="*/ 2060 w 16019"/>
                          <a:gd name="connsiteY19" fmla="*/ 7117 h 17778"/>
                          <a:gd name="connsiteX20" fmla="*/ 2060 w 16019"/>
                          <a:gd name="connsiteY20" fmla="*/ 7117 h 17778"/>
                          <a:gd name="connsiteX21" fmla="*/ 2718 w 16019"/>
                          <a:gd name="connsiteY21" fmla="*/ 5801 h 17778"/>
                          <a:gd name="connsiteX22" fmla="*/ 3496 w 16019"/>
                          <a:gd name="connsiteY22" fmla="*/ 4605 h 17778"/>
                          <a:gd name="connsiteX23" fmla="*/ 4452 w 16019"/>
                          <a:gd name="connsiteY23" fmla="*/ 3529 h 17778"/>
                          <a:gd name="connsiteX24" fmla="*/ 5529 w 16019"/>
                          <a:gd name="connsiteY24" fmla="*/ 2632 h 17778"/>
                          <a:gd name="connsiteX25" fmla="*/ 5649 w 16019"/>
                          <a:gd name="connsiteY25" fmla="*/ 2572 h 17778"/>
                          <a:gd name="connsiteX26" fmla="*/ 5768 w 16019"/>
                          <a:gd name="connsiteY26" fmla="*/ 2512 h 17778"/>
                          <a:gd name="connsiteX27" fmla="*/ 5888 w 16019"/>
                          <a:gd name="connsiteY27" fmla="*/ 2452 h 17778"/>
                          <a:gd name="connsiteX28" fmla="*/ 6007 w 16019"/>
                          <a:gd name="connsiteY28" fmla="*/ 2392 h 17778"/>
                          <a:gd name="connsiteX29" fmla="*/ 6127 w 16019"/>
                          <a:gd name="connsiteY29" fmla="*/ 2333 h 17778"/>
                          <a:gd name="connsiteX30" fmla="*/ 6246 w 16019"/>
                          <a:gd name="connsiteY30" fmla="*/ 2273 h 17778"/>
                          <a:gd name="connsiteX31" fmla="*/ 6366 w 16019"/>
                          <a:gd name="connsiteY31" fmla="*/ 2213 h 17778"/>
                          <a:gd name="connsiteX32" fmla="*/ 6486 w 16019"/>
                          <a:gd name="connsiteY32" fmla="*/ 2153 h 17778"/>
                          <a:gd name="connsiteX33" fmla="*/ 8340 w 16019"/>
                          <a:gd name="connsiteY33" fmla="*/ 1375 h 17778"/>
                          <a:gd name="connsiteX34" fmla="*/ 10194 w 16019"/>
                          <a:gd name="connsiteY34" fmla="*/ 1196 h 17778"/>
                          <a:gd name="connsiteX35" fmla="*/ 11868 w 16019"/>
                          <a:gd name="connsiteY35" fmla="*/ 1555 h 17778"/>
                          <a:gd name="connsiteX36" fmla="*/ 13304 w 16019"/>
                          <a:gd name="connsiteY36" fmla="*/ 2452 h 17778"/>
                          <a:gd name="connsiteX37" fmla="*/ 13722 w 16019"/>
                          <a:gd name="connsiteY37" fmla="*/ 2930 h 17778"/>
                          <a:gd name="connsiteX38" fmla="*/ 14081 w 16019"/>
                          <a:gd name="connsiteY38" fmla="*/ 3469 h 17778"/>
                          <a:gd name="connsiteX39" fmla="*/ 14380 w 16019"/>
                          <a:gd name="connsiteY39" fmla="*/ 4067 h 17778"/>
                          <a:gd name="connsiteX40" fmla="*/ 14620 w 16019"/>
                          <a:gd name="connsiteY40" fmla="*/ 4665 h 17778"/>
                          <a:gd name="connsiteX41" fmla="*/ 14978 w 16019"/>
                          <a:gd name="connsiteY41" fmla="*/ 7057 h 17778"/>
                          <a:gd name="connsiteX42" fmla="*/ 14560 w 16019"/>
                          <a:gd name="connsiteY42" fmla="*/ 9569 h 17778"/>
                          <a:gd name="connsiteX43" fmla="*/ 13483 w 16019"/>
                          <a:gd name="connsiteY43" fmla="*/ 11961 h 17778"/>
                          <a:gd name="connsiteX44" fmla="*/ 11809 w 16019"/>
                          <a:gd name="connsiteY44" fmla="*/ 14055 h 17778"/>
                          <a:gd name="connsiteX45" fmla="*/ 11629 w 16019"/>
                          <a:gd name="connsiteY45" fmla="*/ 14234 h 17778"/>
                          <a:gd name="connsiteX46" fmla="*/ 11450 w 16019"/>
                          <a:gd name="connsiteY46" fmla="*/ 14413 h 17778"/>
                          <a:gd name="connsiteX47" fmla="*/ 11270 w 16019"/>
                          <a:gd name="connsiteY47" fmla="*/ 14593 h 17778"/>
                          <a:gd name="connsiteX48" fmla="*/ 11091 w 16019"/>
                          <a:gd name="connsiteY48" fmla="*/ 14772 h 17778"/>
                          <a:gd name="connsiteX49" fmla="*/ 10912 w 16019"/>
                          <a:gd name="connsiteY49" fmla="*/ 14892 h 17778"/>
                          <a:gd name="connsiteX50" fmla="*/ 10732 w 16019"/>
                          <a:gd name="connsiteY50" fmla="*/ 15012 h 17778"/>
                          <a:gd name="connsiteX51" fmla="*/ 10553 w 16019"/>
                          <a:gd name="connsiteY51" fmla="*/ 15131 h 17778"/>
                          <a:gd name="connsiteX52" fmla="*/ 10373 w 16019"/>
                          <a:gd name="connsiteY52" fmla="*/ 15251 h 17778"/>
                          <a:gd name="connsiteX53" fmla="*/ 8699 w 16019"/>
                          <a:gd name="connsiteY53" fmla="*/ 16088 h 17778"/>
                          <a:gd name="connsiteX54" fmla="*/ 7024 w 16019"/>
                          <a:gd name="connsiteY54" fmla="*/ 16447 h 17778"/>
                          <a:gd name="connsiteX55" fmla="*/ 5469 w 16019"/>
                          <a:gd name="connsiteY55" fmla="*/ 16387 h 17778"/>
                          <a:gd name="connsiteX56" fmla="*/ 4034 w 16019"/>
                          <a:gd name="connsiteY56" fmla="*/ 15849 h 17778"/>
                          <a:gd name="connsiteX57" fmla="*/ 3854 w 16019"/>
                          <a:gd name="connsiteY57" fmla="*/ 15729 h 17778"/>
                          <a:gd name="connsiteX58" fmla="*/ 3675 w 16019"/>
                          <a:gd name="connsiteY58" fmla="*/ 15610 h 17778"/>
                          <a:gd name="connsiteX59" fmla="*/ 3496 w 16019"/>
                          <a:gd name="connsiteY59" fmla="*/ 15490 h 17778"/>
                          <a:gd name="connsiteX60" fmla="*/ 3376 w 16019"/>
                          <a:gd name="connsiteY60" fmla="*/ 15370 h 17778"/>
                          <a:gd name="connsiteX61" fmla="*/ 3077 w 16019"/>
                          <a:gd name="connsiteY61" fmla="*/ 15370 h 17778"/>
                          <a:gd name="connsiteX62" fmla="*/ 3555 w 16019"/>
                          <a:gd name="connsiteY62" fmla="*/ 15729 h 17778"/>
                          <a:gd name="connsiteX63" fmla="*/ 4034 w 16019"/>
                          <a:gd name="connsiteY63" fmla="*/ 16028 h 17778"/>
                          <a:gd name="connsiteX64" fmla="*/ 4572 w 16019"/>
                          <a:gd name="connsiteY64" fmla="*/ 16267 h 17778"/>
                          <a:gd name="connsiteX65" fmla="*/ 5170 w 16019"/>
                          <a:gd name="connsiteY65" fmla="*/ 16447 h 17778"/>
                          <a:gd name="connsiteX66" fmla="*/ 6426 w 16019"/>
                          <a:gd name="connsiteY66" fmla="*/ 16627 h 17778"/>
                          <a:gd name="connsiteX67" fmla="*/ 7742 w 16019"/>
                          <a:gd name="connsiteY67" fmla="*/ 16507 h 17778"/>
                          <a:gd name="connsiteX68" fmla="*/ 9117 w 16019"/>
                          <a:gd name="connsiteY68" fmla="*/ 16088 h 17778"/>
                          <a:gd name="connsiteX69" fmla="*/ 10433 w 16019"/>
                          <a:gd name="connsiteY69" fmla="*/ 15370 h 17778"/>
                          <a:gd name="connsiteX70" fmla="*/ 11689 w 16019"/>
                          <a:gd name="connsiteY70" fmla="*/ 14413 h 17778"/>
                          <a:gd name="connsiteX71" fmla="*/ 12766 w 16019"/>
                          <a:gd name="connsiteY71" fmla="*/ 13277 h 17778"/>
                          <a:gd name="connsiteX72" fmla="*/ 13663 w 16019"/>
                          <a:gd name="connsiteY72" fmla="*/ 11961 h 17778"/>
                          <a:gd name="connsiteX73" fmla="*/ 14380 w 16019"/>
                          <a:gd name="connsiteY73" fmla="*/ 10526 h 17778"/>
                          <a:gd name="connsiteX74" fmla="*/ 14859 w 16019"/>
                          <a:gd name="connsiteY74" fmla="*/ 8971 h 17778"/>
                          <a:gd name="connsiteX75" fmla="*/ 15098 w 16019"/>
                          <a:gd name="connsiteY75" fmla="*/ 7476 h 17778"/>
                          <a:gd name="connsiteX76" fmla="*/ 15038 w 16019"/>
                          <a:gd name="connsiteY76" fmla="*/ 6041 h 17778"/>
                          <a:gd name="connsiteX77" fmla="*/ 14679 w 16019"/>
                          <a:gd name="connsiteY77" fmla="*/ 4665 h 17778"/>
                          <a:gd name="connsiteX78" fmla="*/ 14440 w 16019"/>
                          <a:gd name="connsiteY78" fmla="*/ 4007 h 17778"/>
                          <a:gd name="connsiteX79" fmla="*/ 14141 w 16019"/>
                          <a:gd name="connsiteY79" fmla="*/ 3409 h 17778"/>
                          <a:gd name="connsiteX80" fmla="*/ 13782 w 16019"/>
                          <a:gd name="connsiteY80" fmla="*/ 2871 h 17778"/>
                          <a:gd name="connsiteX81" fmla="*/ 13364 w 16019"/>
                          <a:gd name="connsiteY81" fmla="*/ 2392 h 17778"/>
                          <a:gd name="connsiteX82" fmla="*/ 12885 w 16019"/>
                          <a:gd name="connsiteY82" fmla="*/ 2034 h 17778"/>
                          <a:gd name="connsiteX83" fmla="*/ 12407 w 16019"/>
                          <a:gd name="connsiteY83" fmla="*/ 1734 h 17778"/>
                          <a:gd name="connsiteX84" fmla="*/ 11868 w 16019"/>
                          <a:gd name="connsiteY84" fmla="*/ 1495 h 17778"/>
                          <a:gd name="connsiteX85" fmla="*/ 11270 w 16019"/>
                          <a:gd name="connsiteY85" fmla="*/ 1316 h 17778"/>
                          <a:gd name="connsiteX86" fmla="*/ 9954 w 16019"/>
                          <a:gd name="connsiteY86" fmla="*/ 1136 h 17778"/>
                          <a:gd name="connsiteX87" fmla="*/ 8639 w 16019"/>
                          <a:gd name="connsiteY87" fmla="*/ 1256 h 17778"/>
                          <a:gd name="connsiteX88" fmla="*/ 7263 w 16019"/>
                          <a:gd name="connsiteY88" fmla="*/ 1675 h 17778"/>
                          <a:gd name="connsiteX89" fmla="*/ 5947 w 16019"/>
                          <a:gd name="connsiteY89" fmla="*/ 2392 h 17778"/>
                          <a:gd name="connsiteX90" fmla="*/ 4692 w 16019"/>
                          <a:gd name="connsiteY90" fmla="*/ 3349 h 17778"/>
                          <a:gd name="connsiteX91" fmla="*/ 3615 w 16019"/>
                          <a:gd name="connsiteY91" fmla="*/ 4486 h 17778"/>
                          <a:gd name="connsiteX92" fmla="*/ 2718 w 16019"/>
                          <a:gd name="connsiteY92" fmla="*/ 5801 h 17778"/>
                          <a:gd name="connsiteX93" fmla="*/ 2000 w 16019"/>
                          <a:gd name="connsiteY93" fmla="*/ 7296 h 17778"/>
                          <a:gd name="connsiteX94" fmla="*/ 1522 w 16019"/>
                          <a:gd name="connsiteY94" fmla="*/ 8851 h 17778"/>
                          <a:gd name="connsiteX95" fmla="*/ 1343 w 16019"/>
                          <a:gd name="connsiteY95" fmla="*/ 10347 h 17778"/>
                          <a:gd name="connsiteX96" fmla="*/ 1402 w 16019"/>
                          <a:gd name="connsiteY96" fmla="*/ 11782 h 17778"/>
                          <a:gd name="connsiteX97" fmla="*/ 1701 w 16019"/>
                          <a:gd name="connsiteY97" fmla="*/ 13158 h 17778"/>
                          <a:gd name="connsiteX98" fmla="*/ 2000 w 16019"/>
                          <a:gd name="connsiteY98" fmla="*/ 13815 h 17778"/>
                          <a:gd name="connsiteX99" fmla="*/ 2299 w 16019"/>
                          <a:gd name="connsiteY99" fmla="*/ 14413 h 17778"/>
                          <a:gd name="connsiteX100" fmla="*/ 2658 w 16019"/>
                          <a:gd name="connsiteY100" fmla="*/ 14952 h 17778"/>
                          <a:gd name="connsiteX101" fmla="*/ 3077 w 16019"/>
                          <a:gd name="connsiteY101" fmla="*/ 15370 h 17778"/>
                          <a:gd name="connsiteX102" fmla="*/ 13962 w 16019"/>
                          <a:gd name="connsiteY102" fmla="*/ 1615 h 17778"/>
                          <a:gd name="connsiteX103" fmla="*/ 14440 w 16019"/>
                          <a:gd name="connsiteY103" fmla="*/ 2153 h 17778"/>
                          <a:gd name="connsiteX104" fmla="*/ 14859 w 16019"/>
                          <a:gd name="connsiteY104" fmla="*/ 2751 h 17778"/>
                          <a:gd name="connsiteX105" fmla="*/ 15218 w 16019"/>
                          <a:gd name="connsiteY105" fmla="*/ 3409 h 17778"/>
                          <a:gd name="connsiteX106" fmla="*/ 15517 w 16019"/>
                          <a:gd name="connsiteY106" fmla="*/ 4127 h 17778"/>
                          <a:gd name="connsiteX107" fmla="*/ 15876 w 16019"/>
                          <a:gd name="connsiteY107" fmla="*/ 5682 h 17778"/>
                          <a:gd name="connsiteX108" fmla="*/ 15935 w 16019"/>
                          <a:gd name="connsiteY108" fmla="*/ 7296 h 17778"/>
                          <a:gd name="connsiteX109" fmla="*/ 15696 w 16019"/>
                          <a:gd name="connsiteY109" fmla="*/ 8971 h 17778"/>
                          <a:gd name="connsiteX110" fmla="*/ 15158 w 16019"/>
                          <a:gd name="connsiteY110" fmla="*/ 10705 h 17778"/>
                          <a:gd name="connsiteX111" fmla="*/ 14380 w 16019"/>
                          <a:gd name="connsiteY111" fmla="*/ 12320 h 17778"/>
                          <a:gd name="connsiteX112" fmla="*/ 13364 w 16019"/>
                          <a:gd name="connsiteY112" fmla="*/ 13815 h 17778"/>
                          <a:gd name="connsiteX113" fmla="*/ 12168 w 16019"/>
                          <a:gd name="connsiteY113" fmla="*/ 15131 h 17778"/>
                          <a:gd name="connsiteX114" fmla="*/ 10792 w 16019"/>
                          <a:gd name="connsiteY114" fmla="*/ 16208 h 17778"/>
                          <a:gd name="connsiteX115" fmla="*/ 9297 w 16019"/>
                          <a:gd name="connsiteY115" fmla="*/ 16985 h 17778"/>
                          <a:gd name="connsiteX116" fmla="*/ 7801 w 16019"/>
                          <a:gd name="connsiteY116" fmla="*/ 17464 h 17778"/>
                          <a:gd name="connsiteX117" fmla="*/ 6306 w 16019"/>
                          <a:gd name="connsiteY117" fmla="*/ 17643 h 17778"/>
                          <a:gd name="connsiteX118" fmla="*/ 4871 w 16019"/>
                          <a:gd name="connsiteY118" fmla="*/ 17464 h 17778"/>
                          <a:gd name="connsiteX119" fmla="*/ 4213 w 16019"/>
                          <a:gd name="connsiteY119" fmla="*/ 17284 h 17778"/>
                          <a:gd name="connsiteX120" fmla="*/ 3615 w 16019"/>
                          <a:gd name="connsiteY120" fmla="*/ 16985 h 17778"/>
                          <a:gd name="connsiteX121" fmla="*/ 3017 w 16019"/>
                          <a:gd name="connsiteY121" fmla="*/ 16627 h 17778"/>
                          <a:gd name="connsiteX122" fmla="*/ 2479 w 16019"/>
                          <a:gd name="connsiteY122" fmla="*/ 16208 h 17778"/>
                          <a:gd name="connsiteX123" fmla="*/ 2000 w 16019"/>
                          <a:gd name="connsiteY123" fmla="*/ 15669 h 17778"/>
                          <a:gd name="connsiteX124" fmla="*/ 1582 w 16019"/>
                          <a:gd name="connsiteY124" fmla="*/ 15072 h 17778"/>
                          <a:gd name="connsiteX125" fmla="*/ 1223 w 16019"/>
                          <a:gd name="connsiteY125" fmla="*/ 14413 h 17778"/>
                          <a:gd name="connsiteX126" fmla="*/ 924 w 16019"/>
                          <a:gd name="connsiteY126" fmla="*/ 13696 h 17778"/>
                          <a:gd name="connsiteX127" fmla="*/ 565 w 16019"/>
                          <a:gd name="connsiteY127" fmla="*/ 12141 h 17778"/>
                          <a:gd name="connsiteX128" fmla="*/ 505 w 16019"/>
                          <a:gd name="connsiteY128" fmla="*/ 10526 h 17778"/>
                          <a:gd name="connsiteX129" fmla="*/ 744 w 16019"/>
                          <a:gd name="connsiteY129" fmla="*/ 8851 h 17778"/>
                          <a:gd name="connsiteX130" fmla="*/ 1283 w 16019"/>
                          <a:gd name="connsiteY130" fmla="*/ 7117 h 17778"/>
                          <a:gd name="connsiteX131" fmla="*/ 2060 w 16019"/>
                          <a:gd name="connsiteY131" fmla="*/ 5442 h 17778"/>
                          <a:gd name="connsiteX132" fmla="*/ 3077 w 16019"/>
                          <a:gd name="connsiteY132" fmla="*/ 3947 h 17778"/>
                          <a:gd name="connsiteX133" fmla="*/ 4333 w 16019"/>
                          <a:gd name="connsiteY133" fmla="*/ 2632 h 17778"/>
                          <a:gd name="connsiteX134" fmla="*/ 5768 w 16019"/>
                          <a:gd name="connsiteY134" fmla="*/ 1555 h 17778"/>
                          <a:gd name="connsiteX135" fmla="*/ 7263 w 16019"/>
                          <a:gd name="connsiteY135" fmla="*/ 778 h 17778"/>
                          <a:gd name="connsiteX136" fmla="*/ 8818 w 16019"/>
                          <a:gd name="connsiteY136" fmla="*/ 299 h 17778"/>
                          <a:gd name="connsiteX137" fmla="*/ 10314 w 16019"/>
                          <a:gd name="connsiteY137" fmla="*/ 180 h 17778"/>
                          <a:gd name="connsiteX138" fmla="*/ 11749 w 16019"/>
                          <a:gd name="connsiteY138" fmla="*/ 359 h 17778"/>
                          <a:gd name="connsiteX139" fmla="*/ 12407 w 16019"/>
                          <a:gd name="connsiteY139" fmla="*/ 538 h 17778"/>
                          <a:gd name="connsiteX140" fmla="*/ 13005 w 16019"/>
                          <a:gd name="connsiteY140" fmla="*/ 837 h 17778"/>
                          <a:gd name="connsiteX141" fmla="*/ 13603 w 16019"/>
                          <a:gd name="connsiteY141" fmla="*/ 1196 h 17778"/>
                          <a:gd name="connsiteX142" fmla="*/ 13962 w 16019"/>
                          <a:gd name="connsiteY142" fmla="*/ 1615 h 17778"/>
                          <a:gd name="connsiteX143" fmla="*/ 2359 w 16019"/>
                          <a:gd name="connsiteY143" fmla="*/ 16327 h 17778"/>
                          <a:gd name="connsiteX144" fmla="*/ 2479 w 16019"/>
                          <a:gd name="connsiteY144" fmla="*/ 16447 h 17778"/>
                          <a:gd name="connsiteX145" fmla="*/ 2598 w 16019"/>
                          <a:gd name="connsiteY145" fmla="*/ 16567 h 17778"/>
                          <a:gd name="connsiteX146" fmla="*/ 2718 w 16019"/>
                          <a:gd name="connsiteY146" fmla="*/ 16686 h 17778"/>
                          <a:gd name="connsiteX147" fmla="*/ 2838 w 16019"/>
                          <a:gd name="connsiteY147" fmla="*/ 16806 h 17778"/>
                          <a:gd name="connsiteX148" fmla="*/ 4572 w 16019"/>
                          <a:gd name="connsiteY148" fmla="*/ 17583 h 17778"/>
                          <a:gd name="connsiteX149" fmla="*/ 6546 w 16019"/>
                          <a:gd name="connsiteY149" fmla="*/ 17763 h 17778"/>
                          <a:gd name="connsiteX150" fmla="*/ 8639 w 16019"/>
                          <a:gd name="connsiteY150" fmla="*/ 17344 h 17778"/>
                          <a:gd name="connsiteX151" fmla="*/ 10732 w 16019"/>
                          <a:gd name="connsiteY151" fmla="*/ 16327 h 17778"/>
                          <a:gd name="connsiteX152" fmla="*/ 10912 w 16019"/>
                          <a:gd name="connsiteY152" fmla="*/ 16208 h 17778"/>
                          <a:gd name="connsiteX153" fmla="*/ 11091 w 16019"/>
                          <a:gd name="connsiteY153" fmla="*/ 16088 h 17778"/>
                          <a:gd name="connsiteX154" fmla="*/ 11270 w 16019"/>
                          <a:gd name="connsiteY154" fmla="*/ 15968 h 17778"/>
                          <a:gd name="connsiteX155" fmla="*/ 11450 w 16019"/>
                          <a:gd name="connsiteY155" fmla="*/ 15849 h 17778"/>
                          <a:gd name="connsiteX156" fmla="*/ 11629 w 16019"/>
                          <a:gd name="connsiteY156" fmla="*/ 15669 h 17778"/>
                          <a:gd name="connsiteX157" fmla="*/ 11809 w 16019"/>
                          <a:gd name="connsiteY157" fmla="*/ 15490 h 17778"/>
                          <a:gd name="connsiteX158" fmla="*/ 11988 w 16019"/>
                          <a:gd name="connsiteY158" fmla="*/ 15311 h 17778"/>
                          <a:gd name="connsiteX159" fmla="*/ 12168 w 16019"/>
                          <a:gd name="connsiteY159" fmla="*/ 15131 h 17778"/>
                          <a:gd name="connsiteX160" fmla="*/ 13065 w 16019"/>
                          <a:gd name="connsiteY160" fmla="*/ 14174 h 17778"/>
                          <a:gd name="connsiteX161" fmla="*/ 13902 w 16019"/>
                          <a:gd name="connsiteY161" fmla="*/ 13098 h 17778"/>
                          <a:gd name="connsiteX162" fmla="*/ 14620 w 16019"/>
                          <a:gd name="connsiteY162" fmla="*/ 11961 h 17778"/>
                          <a:gd name="connsiteX163" fmla="*/ 15218 w 16019"/>
                          <a:gd name="connsiteY163" fmla="*/ 10705 h 17778"/>
                          <a:gd name="connsiteX164" fmla="*/ 15756 w 16019"/>
                          <a:gd name="connsiteY164" fmla="*/ 8971 h 17778"/>
                          <a:gd name="connsiteX165" fmla="*/ 15995 w 16019"/>
                          <a:gd name="connsiteY165" fmla="*/ 7237 h 17778"/>
                          <a:gd name="connsiteX166" fmla="*/ 15935 w 16019"/>
                          <a:gd name="connsiteY166" fmla="*/ 5562 h 17778"/>
                          <a:gd name="connsiteX167" fmla="*/ 15576 w 16019"/>
                          <a:gd name="connsiteY167" fmla="*/ 4007 h 17778"/>
                          <a:gd name="connsiteX168" fmla="*/ 15277 w 16019"/>
                          <a:gd name="connsiteY168" fmla="*/ 3289 h 17778"/>
                          <a:gd name="connsiteX169" fmla="*/ 14919 w 16019"/>
                          <a:gd name="connsiteY169" fmla="*/ 2632 h 17778"/>
                          <a:gd name="connsiteX170" fmla="*/ 14500 w 16019"/>
                          <a:gd name="connsiteY170" fmla="*/ 2034 h 17778"/>
                          <a:gd name="connsiteX171" fmla="*/ 13962 w 16019"/>
                          <a:gd name="connsiteY171" fmla="*/ 1495 h 17778"/>
                          <a:gd name="connsiteX172" fmla="*/ 12227 w 16019"/>
                          <a:gd name="connsiteY172" fmla="*/ 419 h 17778"/>
                          <a:gd name="connsiteX173" fmla="*/ 10194 w 16019"/>
                          <a:gd name="connsiteY173" fmla="*/ 0 h 17778"/>
                          <a:gd name="connsiteX174" fmla="*/ 8041 w 16019"/>
                          <a:gd name="connsiteY174" fmla="*/ 239 h 17778"/>
                          <a:gd name="connsiteX175" fmla="*/ 5828 w 16019"/>
                          <a:gd name="connsiteY175" fmla="*/ 1196 h 17778"/>
                          <a:gd name="connsiteX176" fmla="*/ 5708 w 16019"/>
                          <a:gd name="connsiteY176" fmla="*/ 1256 h 17778"/>
                          <a:gd name="connsiteX177" fmla="*/ 5589 w 16019"/>
                          <a:gd name="connsiteY177" fmla="*/ 1316 h 17778"/>
                          <a:gd name="connsiteX178" fmla="*/ 5469 w 16019"/>
                          <a:gd name="connsiteY178" fmla="*/ 1375 h 17778"/>
                          <a:gd name="connsiteX179" fmla="*/ 5350 w 16019"/>
                          <a:gd name="connsiteY179" fmla="*/ 1435 h 17778"/>
                          <a:gd name="connsiteX180" fmla="*/ 5230 w 16019"/>
                          <a:gd name="connsiteY180" fmla="*/ 1495 h 17778"/>
                          <a:gd name="connsiteX181" fmla="*/ 5110 w 16019"/>
                          <a:gd name="connsiteY181" fmla="*/ 1555 h 17778"/>
                          <a:gd name="connsiteX182" fmla="*/ 4991 w 16019"/>
                          <a:gd name="connsiteY182" fmla="*/ 1615 h 17778"/>
                          <a:gd name="connsiteX183" fmla="*/ 4871 w 16019"/>
                          <a:gd name="connsiteY183" fmla="*/ 1734 h 17778"/>
                          <a:gd name="connsiteX184" fmla="*/ 3615 w 16019"/>
                          <a:gd name="connsiteY184" fmla="*/ 2811 h 17778"/>
                          <a:gd name="connsiteX185" fmla="*/ 2538 w 16019"/>
                          <a:gd name="connsiteY185" fmla="*/ 4067 h 17778"/>
                          <a:gd name="connsiteX186" fmla="*/ 1582 w 16019"/>
                          <a:gd name="connsiteY186" fmla="*/ 5502 h 17778"/>
                          <a:gd name="connsiteX187" fmla="*/ 864 w 16019"/>
                          <a:gd name="connsiteY187" fmla="*/ 7057 h 17778"/>
                          <a:gd name="connsiteX188" fmla="*/ 744 w 16019"/>
                          <a:gd name="connsiteY188" fmla="*/ 7416 h 17778"/>
                          <a:gd name="connsiteX189" fmla="*/ 625 w 16019"/>
                          <a:gd name="connsiteY189" fmla="*/ 7775 h 17778"/>
                          <a:gd name="connsiteX190" fmla="*/ 505 w 16019"/>
                          <a:gd name="connsiteY190" fmla="*/ 8134 h 17778"/>
                          <a:gd name="connsiteX191" fmla="*/ 385 w 16019"/>
                          <a:gd name="connsiteY191" fmla="*/ 8493 h 17778"/>
                          <a:gd name="connsiteX192" fmla="*/ 326 w 16019"/>
                          <a:gd name="connsiteY192" fmla="*/ 8791 h 17778"/>
                          <a:gd name="connsiteX193" fmla="*/ 266 w 16019"/>
                          <a:gd name="connsiteY193" fmla="*/ 9091 h 17778"/>
                          <a:gd name="connsiteX194" fmla="*/ 206 w 16019"/>
                          <a:gd name="connsiteY194" fmla="*/ 9390 h 17778"/>
                          <a:gd name="connsiteX195" fmla="*/ 146 w 16019"/>
                          <a:gd name="connsiteY195" fmla="*/ 9689 h 17778"/>
                          <a:gd name="connsiteX196" fmla="*/ 27 w 16019"/>
                          <a:gd name="connsiteY196" fmla="*/ 10765 h 17778"/>
                          <a:gd name="connsiteX197" fmla="*/ 27 w 16019"/>
                          <a:gd name="connsiteY197" fmla="*/ 11842 h 17778"/>
                          <a:gd name="connsiteX198" fmla="*/ 146 w 16019"/>
                          <a:gd name="connsiteY198" fmla="*/ 12859 h 17778"/>
                          <a:gd name="connsiteX199" fmla="*/ 385 w 16019"/>
                          <a:gd name="connsiteY199" fmla="*/ 13815 h 17778"/>
                          <a:gd name="connsiteX200" fmla="*/ 684 w 16019"/>
                          <a:gd name="connsiteY200" fmla="*/ 14533 h 17778"/>
                          <a:gd name="connsiteX201" fmla="*/ 1043 w 16019"/>
                          <a:gd name="connsiteY201" fmla="*/ 15191 h 17778"/>
                          <a:gd name="connsiteX202" fmla="*/ 1462 w 16019"/>
                          <a:gd name="connsiteY202" fmla="*/ 15789 h 17778"/>
                          <a:gd name="connsiteX203" fmla="*/ 1940 w 16019"/>
                          <a:gd name="connsiteY203" fmla="*/ 16327 h 17778"/>
                          <a:gd name="connsiteX204" fmla="*/ 1940 w 16019"/>
                          <a:gd name="connsiteY204" fmla="*/ 16327 h 17778"/>
                          <a:gd name="connsiteX205" fmla="*/ 2359 w 16019"/>
                          <a:gd name="connsiteY205" fmla="*/ 16327 h 17778"/>
                          <a:gd name="connsiteX206" fmla="*/ 2359 w 16019"/>
                          <a:gd name="connsiteY206" fmla="*/ 16327 h 17778"/>
                          <a:gd name="connsiteX207" fmla="*/ 2359 w 16019"/>
                          <a:gd name="connsiteY207" fmla="*/ 16327 h 1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16019" h="17778">
                            <a:moveTo>
                              <a:pt x="3376" y="15370"/>
                            </a:moveTo>
                            <a:cubicBezTo>
                              <a:pt x="3316" y="15370"/>
                              <a:pt x="3316" y="15370"/>
                              <a:pt x="3376" y="15370"/>
                            </a:cubicBezTo>
                            <a:cubicBezTo>
                              <a:pt x="3316" y="15311"/>
                              <a:pt x="3316" y="15311"/>
                              <a:pt x="3316" y="15311"/>
                            </a:cubicBezTo>
                            <a:cubicBezTo>
                              <a:pt x="3316" y="15311"/>
                              <a:pt x="3316" y="15311"/>
                              <a:pt x="3256" y="15251"/>
                            </a:cubicBezTo>
                            <a:cubicBezTo>
                              <a:pt x="3256" y="15251"/>
                              <a:pt x="3256" y="15251"/>
                              <a:pt x="3197" y="15191"/>
                            </a:cubicBezTo>
                            <a:cubicBezTo>
                              <a:pt x="3017" y="15072"/>
                              <a:pt x="2897" y="14892"/>
                              <a:pt x="2718" y="14713"/>
                            </a:cubicBezTo>
                            <a:cubicBezTo>
                              <a:pt x="2598" y="14533"/>
                              <a:pt x="2479" y="14354"/>
                              <a:pt x="2359" y="14174"/>
                            </a:cubicBezTo>
                            <a:cubicBezTo>
                              <a:pt x="2239" y="13995"/>
                              <a:pt x="2120" y="13815"/>
                              <a:pt x="2060" y="13576"/>
                            </a:cubicBezTo>
                            <a:cubicBezTo>
                              <a:pt x="1940" y="13397"/>
                              <a:pt x="1881" y="13158"/>
                              <a:pt x="1761" y="12918"/>
                            </a:cubicBezTo>
                            <a:cubicBezTo>
                              <a:pt x="1642" y="12619"/>
                              <a:pt x="1582" y="12260"/>
                              <a:pt x="1522" y="11902"/>
                            </a:cubicBezTo>
                            <a:cubicBezTo>
                              <a:pt x="1462" y="11543"/>
                              <a:pt x="1402" y="11184"/>
                              <a:pt x="1402" y="10825"/>
                            </a:cubicBezTo>
                            <a:cubicBezTo>
                              <a:pt x="1402" y="10466"/>
                              <a:pt x="1402" y="10107"/>
                              <a:pt x="1462" y="9689"/>
                            </a:cubicBezTo>
                            <a:cubicBezTo>
                              <a:pt x="1522" y="9270"/>
                              <a:pt x="1582" y="8911"/>
                              <a:pt x="1642" y="8552"/>
                            </a:cubicBezTo>
                            <a:cubicBezTo>
                              <a:pt x="1642" y="8433"/>
                              <a:pt x="1701" y="8313"/>
                              <a:pt x="1701" y="8194"/>
                            </a:cubicBezTo>
                            <a:cubicBezTo>
                              <a:pt x="1701" y="8074"/>
                              <a:pt x="1761" y="7954"/>
                              <a:pt x="1821" y="7835"/>
                            </a:cubicBezTo>
                            <a:cubicBezTo>
                              <a:pt x="1881" y="7715"/>
                              <a:pt x="1881" y="7596"/>
                              <a:pt x="1940" y="7476"/>
                            </a:cubicBezTo>
                            <a:cubicBezTo>
                              <a:pt x="2000" y="7356"/>
                              <a:pt x="2000" y="7237"/>
                              <a:pt x="2060" y="7117"/>
                            </a:cubicBezTo>
                            <a:cubicBezTo>
                              <a:pt x="2060" y="7117"/>
                              <a:pt x="2060" y="7117"/>
                              <a:pt x="2060" y="7117"/>
                            </a:cubicBezTo>
                            <a:cubicBezTo>
                              <a:pt x="2060" y="7117"/>
                              <a:pt x="2060" y="7117"/>
                              <a:pt x="2060" y="7117"/>
                            </a:cubicBezTo>
                            <a:cubicBezTo>
                              <a:pt x="2060" y="7117"/>
                              <a:pt x="2060" y="7117"/>
                              <a:pt x="2060" y="7117"/>
                            </a:cubicBezTo>
                            <a:cubicBezTo>
                              <a:pt x="2060" y="7117"/>
                              <a:pt x="2060" y="7117"/>
                              <a:pt x="2060" y="7117"/>
                            </a:cubicBezTo>
                            <a:cubicBezTo>
                              <a:pt x="2239" y="6639"/>
                              <a:pt x="2479" y="6220"/>
                              <a:pt x="2718" y="5801"/>
                            </a:cubicBezTo>
                            <a:cubicBezTo>
                              <a:pt x="2957" y="5383"/>
                              <a:pt x="3256" y="4964"/>
                              <a:pt x="3496" y="4605"/>
                            </a:cubicBezTo>
                            <a:cubicBezTo>
                              <a:pt x="3794" y="4246"/>
                              <a:pt x="4093" y="3888"/>
                              <a:pt x="4452" y="3529"/>
                            </a:cubicBezTo>
                            <a:cubicBezTo>
                              <a:pt x="4811" y="3170"/>
                              <a:pt x="5170" y="2871"/>
                              <a:pt x="5529" y="2632"/>
                            </a:cubicBezTo>
                            <a:cubicBezTo>
                              <a:pt x="5589" y="2632"/>
                              <a:pt x="5589" y="2572"/>
                              <a:pt x="5649" y="2572"/>
                            </a:cubicBezTo>
                            <a:cubicBezTo>
                              <a:pt x="5708" y="2572"/>
                              <a:pt x="5708" y="2512"/>
                              <a:pt x="5768" y="2512"/>
                            </a:cubicBezTo>
                            <a:cubicBezTo>
                              <a:pt x="5828" y="2512"/>
                              <a:pt x="5828" y="2452"/>
                              <a:pt x="5888" y="2452"/>
                            </a:cubicBezTo>
                            <a:cubicBezTo>
                              <a:pt x="5947" y="2452"/>
                              <a:pt x="5947" y="2392"/>
                              <a:pt x="6007" y="2392"/>
                            </a:cubicBezTo>
                            <a:cubicBezTo>
                              <a:pt x="6067" y="2392"/>
                              <a:pt x="6067" y="2333"/>
                              <a:pt x="6127" y="2333"/>
                            </a:cubicBezTo>
                            <a:cubicBezTo>
                              <a:pt x="6187" y="2333"/>
                              <a:pt x="6187" y="2273"/>
                              <a:pt x="6246" y="2273"/>
                            </a:cubicBezTo>
                            <a:cubicBezTo>
                              <a:pt x="6306" y="2273"/>
                              <a:pt x="6306" y="2213"/>
                              <a:pt x="6366" y="2213"/>
                            </a:cubicBezTo>
                            <a:cubicBezTo>
                              <a:pt x="6426" y="2213"/>
                              <a:pt x="6426" y="2153"/>
                              <a:pt x="6486" y="2153"/>
                            </a:cubicBezTo>
                            <a:cubicBezTo>
                              <a:pt x="7084" y="1794"/>
                              <a:pt x="7742" y="1555"/>
                              <a:pt x="8340" y="1375"/>
                            </a:cubicBezTo>
                            <a:cubicBezTo>
                              <a:pt x="8938" y="1196"/>
                              <a:pt x="9596" y="1136"/>
                              <a:pt x="10194" y="1196"/>
                            </a:cubicBezTo>
                            <a:cubicBezTo>
                              <a:pt x="10792" y="1196"/>
                              <a:pt x="11330" y="1316"/>
                              <a:pt x="11868" y="1555"/>
                            </a:cubicBezTo>
                            <a:cubicBezTo>
                              <a:pt x="12407" y="1794"/>
                              <a:pt x="12885" y="2093"/>
                              <a:pt x="13304" y="2452"/>
                            </a:cubicBezTo>
                            <a:cubicBezTo>
                              <a:pt x="13483" y="2572"/>
                              <a:pt x="13603" y="2751"/>
                              <a:pt x="13722" y="2930"/>
                            </a:cubicBezTo>
                            <a:cubicBezTo>
                              <a:pt x="13842" y="3110"/>
                              <a:pt x="13962" y="3289"/>
                              <a:pt x="14081" y="3469"/>
                            </a:cubicBezTo>
                            <a:cubicBezTo>
                              <a:pt x="14201" y="3648"/>
                              <a:pt x="14321" y="3828"/>
                              <a:pt x="14380" y="4067"/>
                            </a:cubicBezTo>
                            <a:cubicBezTo>
                              <a:pt x="14500" y="4246"/>
                              <a:pt x="14560" y="4486"/>
                              <a:pt x="14620" y="4665"/>
                            </a:cubicBezTo>
                            <a:cubicBezTo>
                              <a:pt x="14859" y="5442"/>
                              <a:pt x="14978" y="6220"/>
                              <a:pt x="14978" y="7057"/>
                            </a:cubicBezTo>
                            <a:cubicBezTo>
                              <a:pt x="14978" y="7895"/>
                              <a:pt x="14859" y="8732"/>
                              <a:pt x="14560" y="9569"/>
                            </a:cubicBezTo>
                            <a:cubicBezTo>
                              <a:pt x="14321" y="10406"/>
                              <a:pt x="13962" y="11184"/>
                              <a:pt x="13483" y="11961"/>
                            </a:cubicBezTo>
                            <a:cubicBezTo>
                              <a:pt x="13005" y="12739"/>
                              <a:pt x="12467" y="13457"/>
                              <a:pt x="11809" y="14055"/>
                            </a:cubicBezTo>
                            <a:cubicBezTo>
                              <a:pt x="11749" y="14114"/>
                              <a:pt x="11689" y="14174"/>
                              <a:pt x="11629" y="14234"/>
                            </a:cubicBezTo>
                            <a:cubicBezTo>
                              <a:pt x="11569" y="14294"/>
                              <a:pt x="11509" y="14354"/>
                              <a:pt x="11450" y="14413"/>
                            </a:cubicBezTo>
                            <a:cubicBezTo>
                              <a:pt x="11390" y="14473"/>
                              <a:pt x="11330" y="14533"/>
                              <a:pt x="11270" y="14593"/>
                            </a:cubicBezTo>
                            <a:cubicBezTo>
                              <a:pt x="11211" y="14653"/>
                              <a:pt x="11151" y="14713"/>
                              <a:pt x="11091" y="14772"/>
                            </a:cubicBezTo>
                            <a:cubicBezTo>
                              <a:pt x="11031" y="14832"/>
                              <a:pt x="10971" y="14832"/>
                              <a:pt x="10912" y="14892"/>
                            </a:cubicBezTo>
                            <a:cubicBezTo>
                              <a:pt x="10852" y="14952"/>
                              <a:pt x="10792" y="14952"/>
                              <a:pt x="10732" y="15012"/>
                            </a:cubicBezTo>
                            <a:cubicBezTo>
                              <a:pt x="10672" y="15072"/>
                              <a:pt x="10613" y="15072"/>
                              <a:pt x="10553" y="15131"/>
                            </a:cubicBezTo>
                            <a:cubicBezTo>
                              <a:pt x="10493" y="15191"/>
                              <a:pt x="10433" y="15191"/>
                              <a:pt x="10373" y="15251"/>
                            </a:cubicBezTo>
                            <a:cubicBezTo>
                              <a:pt x="9835" y="15610"/>
                              <a:pt x="9297" y="15909"/>
                              <a:pt x="8699" y="16088"/>
                            </a:cubicBezTo>
                            <a:cubicBezTo>
                              <a:pt x="8160" y="16267"/>
                              <a:pt x="7562" y="16447"/>
                              <a:pt x="7024" y="16447"/>
                            </a:cubicBezTo>
                            <a:cubicBezTo>
                              <a:pt x="6486" y="16507"/>
                              <a:pt x="5947" y="16447"/>
                              <a:pt x="5469" y="16387"/>
                            </a:cubicBezTo>
                            <a:cubicBezTo>
                              <a:pt x="4991" y="16267"/>
                              <a:pt x="4452" y="16088"/>
                              <a:pt x="4034" y="15849"/>
                            </a:cubicBezTo>
                            <a:cubicBezTo>
                              <a:pt x="3974" y="15789"/>
                              <a:pt x="3914" y="15789"/>
                              <a:pt x="3854" y="15729"/>
                            </a:cubicBezTo>
                            <a:cubicBezTo>
                              <a:pt x="3794" y="15669"/>
                              <a:pt x="3735" y="15669"/>
                              <a:pt x="3675" y="15610"/>
                            </a:cubicBezTo>
                            <a:cubicBezTo>
                              <a:pt x="3615" y="15550"/>
                              <a:pt x="3555" y="15550"/>
                              <a:pt x="3496" y="15490"/>
                            </a:cubicBezTo>
                            <a:cubicBezTo>
                              <a:pt x="3436" y="15430"/>
                              <a:pt x="3436" y="15430"/>
                              <a:pt x="3376" y="15370"/>
                            </a:cubicBezTo>
                            <a:moveTo>
                              <a:pt x="3077" y="15370"/>
                            </a:moveTo>
                            <a:cubicBezTo>
                              <a:pt x="3197" y="15490"/>
                              <a:pt x="3376" y="15610"/>
                              <a:pt x="3555" y="15729"/>
                            </a:cubicBezTo>
                            <a:cubicBezTo>
                              <a:pt x="3735" y="15849"/>
                              <a:pt x="3854" y="15968"/>
                              <a:pt x="4034" y="16028"/>
                            </a:cubicBezTo>
                            <a:cubicBezTo>
                              <a:pt x="4213" y="16088"/>
                              <a:pt x="4392" y="16208"/>
                              <a:pt x="4572" y="16267"/>
                            </a:cubicBezTo>
                            <a:cubicBezTo>
                              <a:pt x="4751" y="16327"/>
                              <a:pt x="4931" y="16387"/>
                              <a:pt x="5170" y="16447"/>
                            </a:cubicBezTo>
                            <a:cubicBezTo>
                              <a:pt x="5589" y="16567"/>
                              <a:pt x="6007" y="16627"/>
                              <a:pt x="6426" y="16627"/>
                            </a:cubicBezTo>
                            <a:cubicBezTo>
                              <a:pt x="6845" y="16627"/>
                              <a:pt x="7323" y="16567"/>
                              <a:pt x="7742" y="16507"/>
                            </a:cubicBezTo>
                            <a:cubicBezTo>
                              <a:pt x="8160" y="16387"/>
                              <a:pt x="8639" y="16267"/>
                              <a:pt x="9117" y="16088"/>
                            </a:cubicBezTo>
                            <a:cubicBezTo>
                              <a:pt x="9536" y="15909"/>
                              <a:pt x="10014" y="15669"/>
                              <a:pt x="10433" y="15370"/>
                            </a:cubicBezTo>
                            <a:cubicBezTo>
                              <a:pt x="10852" y="15072"/>
                              <a:pt x="11270" y="14772"/>
                              <a:pt x="11689" y="14413"/>
                            </a:cubicBezTo>
                            <a:cubicBezTo>
                              <a:pt x="12048" y="14055"/>
                              <a:pt x="12467" y="13696"/>
                              <a:pt x="12766" y="13277"/>
                            </a:cubicBezTo>
                            <a:cubicBezTo>
                              <a:pt x="13124" y="12859"/>
                              <a:pt x="13423" y="12440"/>
                              <a:pt x="13663" y="11961"/>
                            </a:cubicBezTo>
                            <a:cubicBezTo>
                              <a:pt x="13962" y="11483"/>
                              <a:pt x="14141" y="11005"/>
                              <a:pt x="14380" y="10526"/>
                            </a:cubicBezTo>
                            <a:cubicBezTo>
                              <a:pt x="14560" y="9988"/>
                              <a:pt x="14739" y="9510"/>
                              <a:pt x="14859" y="8971"/>
                            </a:cubicBezTo>
                            <a:cubicBezTo>
                              <a:pt x="14978" y="8493"/>
                              <a:pt x="15038" y="7954"/>
                              <a:pt x="15098" y="7476"/>
                            </a:cubicBezTo>
                            <a:cubicBezTo>
                              <a:pt x="15098" y="6997"/>
                              <a:pt x="15098" y="6519"/>
                              <a:pt x="15038" y="6041"/>
                            </a:cubicBezTo>
                            <a:cubicBezTo>
                              <a:pt x="14978" y="5562"/>
                              <a:pt x="14859" y="5143"/>
                              <a:pt x="14679" y="4665"/>
                            </a:cubicBezTo>
                            <a:cubicBezTo>
                              <a:pt x="14620" y="4426"/>
                              <a:pt x="14500" y="4246"/>
                              <a:pt x="14440" y="4007"/>
                            </a:cubicBezTo>
                            <a:cubicBezTo>
                              <a:pt x="14321" y="3828"/>
                              <a:pt x="14261" y="3588"/>
                              <a:pt x="14141" y="3409"/>
                            </a:cubicBezTo>
                            <a:cubicBezTo>
                              <a:pt x="14022" y="3229"/>
                              <a:pt x="13902" y="3050"/>
                              <a:pt x="13782" y="2871"/>
                            </a:cubicBezTo>
                            <a:cubicBezTo>
                              <a:pt x="13663" y="2691"/>
                              <a:pt x="13483" y="2572"/>
                              <a:pt x="13364" y="2392"/>
                            </a:cubicBezTo>
                            <a:cubicBezTo>
                              <a:pt x="13244" y="2273"/>
                              <a:pt x="13065" y="2153"/>
                              <a:pt x="12885" y="2034"/>
                            </a:cubicBezTo>
                            <a:cubicBezTo>
                              <a:pt x="12706" y="1914"/>
                              <a:pt x="12586" y="1794"/>
                              <a:pt x="12407" y="1734"/>
                            </a:cubicBezTo>
                            <a:cubicBezTo>
                              <a:pt x="12227" y="1615"/>
                              <a:pt x="12048" y="1555"/>
                              <a:pt x="11868" y="1495"/>
                            </a:cubicBezTo>
                            <a:cubicBezTo>
                              <a:pt x="11689" y="1435"/>
                              <a:pt x="11509" y="1375"/>
                              <a:pt x="11270" y="1316"/>
                            </a:cubicBezTo>
                            <a:cubicBezTo>
                              <a:pt x="10852" y="1196"/>
                              <a:pt x="10433" y="1136"/>
                              <a:pt x="9954" y="1136"/>
                            </a:cubicBezTo>
                            <a:cubicBezTo>
                              <a:pt x="9476" y="1136"/>
                              <a:pt x="9058" y="1196"/>
                              <a:pt x="8639" y="1256"/>
                            </a:cubicBezTo>
                            <a:cubicBezTo>
                              <a:pt x="8160" y="1375"/>
                              <a:pt x="7742" y="1495"/>
                              <a:pt x="7263" y="1675"/>
                            </a:cubicBezTo>
                            <a:cubicBezTo>
                              <a:pt x="6785" y="1854"/>
                              <a:pt x="6366" y="2093"/>
                              <a:pt x="5947" y="2392"/>
                            </a:cubicBezTo>
                            <a:cubicBezTo>
                              <a:pt x="5529" y="2691"/>
                              <a:pt x="5110" y="2990"/>
                              <a:pt x="4692" y="3349"/>
                            </a:cubicBezTo>
                            <a:cubicBezTo>
                              <a:pt x="4273" y="3708"/>
                              <a:pt x="3914" y="4067"/>
                              <a:pt x="3615" y="4486"/>
                            </a:cubicBezTo>
                            <a:cubicBezTo>
                              <a:pt x="3256" y="4904"/>
                              <a:pt x="2957" y="5323"/>
                              <a:pt x="2718" y="5801"/>
                            </a:cubicBezTo>
                            <a:cubicBezTo>
                              <a:pt x="2419" y="6280"/>
                              <a:pt x="2180" y="6758"/>
                              <a:pt x="2000" y="7296"/>
                            </a:cubicBezTo>
                            <a:cubicBezTo>
                              <a:pt x="1821" y="7835"/>
                              <a:pt x="1642" y="8313"/>
                              <a:pt x="1522" y="8851"/>
                            </a:cubicBezTo>
                            <a:cubicBezTo>
                              <a:pt x="1402" y="9330"/>
                              <a:pt x="1343" y="9868"/>
                              <a:pt x="1343" y="10347"/>
                            </a:cubicBezTo>
                            <a:cubicBezTo>
                              <a:pt x="1343" y="10825"/>
                              <a:pt x="1343" y="11304"/>
                              <a:pt x="1402" y="11782"/>
                            </a:cubicBezTo>
                            <a:cubicBezTo>
                              <a:pt x="1462" y="12260"/>
                              <a:pt x="1582" y="12679"/>
                              <a:pt x="1701" y="13158"/>
                            </a:cubicBezTo>
                            <a:cubicBezTo>
                              <a:pt x="1761" y="13397"/>
                              <a:pt x="1881" y="13576"/>
                              <a:pt x="2000" y="13815"/>
                            </a:cubicBezTo>
                            <a:cubicBezTo>
                              <a:pt x="2120" y="14055"/>
                              <a:pt x="2180" y="14234"/>
                              <a:pt x="2299" y="14413"/>
                            </a:cubicBezTo>
                            <a:cubicBezTo>
                              <a:pt x="2419" y="14593"/>
                              <a:pt x="2538" y="14772"/>
                              <a:pt x="2658" y="14952"/>
                            </a:cubicBezTo>
                            <a:cubicBezTo>
                              <a:pt x="2778" y="15072"/>
                              <a:pt x="2957" y="15251"/>
                              <a:pt x="3077" y="15370"/>
                            </a:cubicBezTo>
                            <a:moveTo>
                              <a:pt x="13962" y="1615"/>
                            </a:moveTo>
                            <a:cubicBezTo>
                              <a:pt x="14141" y="1794"/>
                              <a:pt x="14321" y="1974"/>
                              <a:pt x="14440" y="2153"/>
                            </a:cubicBezTo>
                            <a:cubicBezTo>
                              <a:pt x="14620" y="2333"/>
                              <a:pt x="14739" y="2512"/>
                              <a:pt x="14859" y="2751"/>
                            </a:cubicBezTo>
                            <a:cubicBezTo>
                              <a:pt x="14978" y="2930"/>
                              <a:pt x="15098" y="3170"/>
                              <a:pt x="15218" y="3409"/>
                            </a:cubicBezTo>
                            <a:cubicBezTo>
                              <a:pt x="15337" y="3648"/>
                              <a:pt x="15397" y="3888"/>
                              <a:pt x="15517" y="4127"/>
                            </a:cubicBezTo>
                            <a:cubicBezTo>
                              <a:pt x="15696" y="4605"/>
                              <a:pt x="15816" y="5143"/>
                              <a:pt x="15876" y="5682"/>
                            </a:cubicBezTo>
                            <a:cubicBezTo>
                              <a:pt x="15935" y="6220"/>
                              <a:pt x="15995" y="6758"/>
                              <a:pt x="15935" y="7296"/>
                            </a:cubicBezTo>
                            <a:cubicBezTo>
                              <a:pt x="15876" y="7835"/>
                              <a:pt x="15816" y="8433"/>
                              <a:pt x="15696" y="8971"/>
                            </a:cubicBezTo>
                            <a:cubicBezTo>
                              <a:pt x="15576" y="9569"/>
                              <a:pt x="15397" y="10107"/>
                              <a:pt x="15158" y="10705"/>
                            </a:cubicBezTo>
                            <a:cubicBezTo>
                              <a:pt x="14919" y="11304"/>
                              <a:pt x="14679" y="11842"/>
                              <a:pt x="14380" y="12320"/>
                            </a:cubicBezTo>
                            <a:cubicBezTo>
                              <a:pt x="14081" y="12859"/>
                              <a:pt x="13722" y="13337"/>
                              <a:pt x="13364" y="13815"/>
                            </a:cubicBezTo>
                            <a:cubicBezTo>
                              <a:pt x="13005" y="14294"/>
                              <a:pt x="12586" y="14713"/>
                              <a:pt x="12168" y="15131"/>
                            </a:cubicBezTo>
                            <a:cubicBezTo>
                              <a:pt x="11749" y="15550"/>
                              <a:pt x="11270" y="15909"/>
                              <a:pt x="10792" y="16208"/>
                            </a:cubicBezTo>
                            <a:cubicBezTo>
                              <a:pt x="10314" y="16507"/>
                              <a:pt x="9835" y="16806"/>
                              <a:pt x="9297" y="16985"/>
                            </a:cubicBezTo>
                            <a:cubicBezTo>
                              <a:pt x="8818" y="17225"/>
                              <a:pt x="8280" y="17344"/>
                              <a:pt x="7801" y="17464"/>
                            </a:cubicBezTo>
                            <a:cubicBezTo>
                              <a:pt x="7323" y="17583"/>
                              <a:pt x="6785" y="17643"/>
                              <a:pt x="6306" y="17643"/>
                            </a:cubicBezTo>
                            <a:cubicBezTo>
                              <a:pt x="5828" y="17643"/>
                              <a:pt x="5350" y="17583"/>
                              <a:pt x="4871" y="17464"/>
                            </a:cubicBezTo>
                            <a:cubicBezTo>
                              <a:pt x="4632" y="17404"/>
                              <a:pt x="4452" y="17344"/>
                              <a:pt x="4213" y="17284"/>
                            </a:cubicBezTo>
                            <a:cubicBezTo>
                              <a:pt x="3974" y="17225"/>
                              <a:pt x="3794" y="17105"/>
                              <a:pt x="3615" y="16985"/>
                            </a:cubicBezTo>
                            <a:cubicBezTo>
                              <a:pt x="3436" y="16866"/>
                              <a:pt x="3197" y="16746"/>
                              <a:pt x="3017" y="16627"/>
                            </a:cubicBezTo>
                            <a:cubicBezTo>
                              <a:pt x="2838" y="16507"/>
                              <a:pt x="2658" y="16387"/>
                              <a:pt x="2479" y="16208"/>
                            </a:cubicBezTo>
                            <a:cubicBezTo>
                              <a:pt x="2299" y="16028"/>
                              <a:pt x="2120" y="15849"/>
                              <a:pt x="2000" y="15669"/>
                            </a:cubicBezTo>
                            <a:cubicBezTo>
                              <a:pt x="1821" y="15490"/>
                              <a:pt x="1701" y="15311"/>
                              <a:pt x="1582" y="15072"/>
                            </a:cubicBezTo>
                            <a:cubicBezTo>
                              <a:pt x="1462" y="14892"/>
                              <a:pt x="1343" y="14653"/>
                              <a:pt x="1223" y="14413"/>
                            </a:cubicBezTo>
                            <a:cubicBezTo>
                              <a:pt x="1103" y="14174"/>
                              <a:pt x="983" y="13935"/>
                              <a:pt x="924" y="13696"/>
                            </a:cubicBezTo>
                            <a:cubicBezTo>
                              <a:pt x="744" y="13218"/>
                              <a:pt x="625" y="12679"/>
                              <a:pt x="565" y="12141"/>
                            </a:cubicBezTo>
                            <a:cubicBezTo>
                              <a:pt x="505" y="11603"/>
                              <a:pt x="505" y="11064"/>
                              <a:pt x="505" y="10526"/>
                            </a:cubicBezTo>
                            <a:cubicBezTo>
                              <a:pt x="505" y="9988"/>
                              <a:pt x="625" y="9390"/>
                              <a:pt x="744" y="8851"/>
                            </a:cubicBezTo>
                            <a:cubicBezTo>
                              <a:pt x="864" y="8313"/>
                              <a:pt x="1043" y="7715"/>
                              <a:pt x="1283" y="7117"/>
                            </a:cubicBezTo>
                            <a:cubicBezTo>
                              <a:pt x="1522" y="6519"/>
                              <a:pt x="1761" y="5981"/>
                              <a:pt x="2060" y="5442"/>
                            </a:cubicBezTo>
                            <a:cubicBezTo>
                              <a:pt x="2359" y="4904"/>
                              <a:pt x="2718" y="4426"/>
                              <a:pt x="3077" y="3947"/>
                            </a:cubicBezTo>
                            <a:cubicBezTo>
                              <a:pt x="3436" y="3469"/>
                              <a:pt x="3854" y="3050"/>
                              <a:pt x="4333" y="2632"/>
                            </a:cubicBezTo>
                            <a:cubicBezTo>
                              <a:pt x="4751" y="2213"/>
                              <a:pt x="5230" y="1854"/>
                              <a:pt x="5768" y="1555"/>
                            </a:cubicBezTo>
                            <a:cubicBezTo>
                              <a:pt x="6246" y="1256"/>
                              <a:pt x="6785" y="957"/>
                              <a:pt x="7263" y="778"/>
                            </a:cubicBezTo>
                            <a:cubicBezTo>
                              <a:pt x="7801" y="538"/>
                              <a:pt x="8280" y="419"/>
                              <a:pt x="8818" y="299"/>
                            </a:cubicBezTo>
                            <a:cubicBezTo>
                              <a:pt x="9297" y="180"/>
                              <a:pt x="9835" y="120"/>
                              <a:pt x="10314" y="180"/>
                            </a:cubicBezTo>
                            <a:cubicBezTo>
                              <a:pt x="10792" y="180"/>
                              <a:pt x="11270" y="239"/>
                              <a:pt x="11749" y="359"/>
                            </a:cubicBezTo>
                            <a:cubicBezTo>
                              <a:pt x="11988" y="419"/>
                              <a:pt x="12227" y="479"/>
                              <a:pt x="12407" y="538"/>
                            </a:cubicBezTo>
                            <a:cubicBezTo>
                              <a:pt x="12646" y="598"/>
                              <a:pt x="12825" y="718"/>
                              <a:pt x="13005" y="837"/>
                            </a:cubicBezTo>
                            <a:cubicBezTo>
                              <a:pt x="13184" y="957"/>
                              <a:pt x="13364" y="1076"/>
                              <a:pt x="13603" y="1196"/>
                            </a:cubicBezTo>
                            <a:cubicBezTo>
                              <a:pt x="13842" y="1316"/>
                              <a:pt x="13782" y="1435"/>
                              <a:pt x="13962" y="1615"/>
                            </a:cubicBezTo>
                            <a:moveTo>
                              <a:pt x="2359" y="16327"/>
                            </a:moveTo>
                            <a:cubicBezTo>
                              <a:pt x="2419" y="16387"/>
                              <a:pt x="2479" y="16387"/>
                              <a:pt x="2479" y="16447"/>
                            </a:cubicBezTo>
                            <a:cubicBezTo>
                              <a:pt x="2479" y="16507"/>
                              <a:pt x="2598" y="16507"/>
                              <a:pt x="2598" y="16567"/>
                            </a:cubicBezTo>
                            <a:cubicBezTo>
                              <a:pt x="2598" y="16627"/>
                              <a:pt x="2718" y="16627"/>
                              <a:pt x="2718" y="16686"/>
                            </a:cubicBezTo>
                            <a:cubicBezTo>
                              <a:pt x="2778" y="16746"/>
                              <a:pt x="2838" y="16746"/>
                              <a:pt x="2838" y="16806"/>
                            </a:cubicBezTo>
                            <a:cubicBezTo>
                              <a:pt x="3376" y="17165"/>
                              <a:pt x="3974" y="17464"/>
                              <a:pt x="4572" y="17583"/>
                            </a:cubicBezTo>
                            <a:cubicBezTo>
                              <a:pt x="5170" y="17703"/>
                              <a:pt x="5888" y="17822"/>
                              <a:pt x="6546" y="17763"/>
                            </a:cubicBezTo>
                            <a:cubicBezTo>
                              <a:pt x="7204" y="17703"/>
                              <a:pt x="7921" y="17583"/>
                              <a:pt x="8639" y="17344"/>
                            </a:cubicBezTo>
                            <a:cubicBezTo>
                              <a:pt x="9357" y="17105"/>
                              <a:pt x="10014" y="16746"/>
                              <a:pt x="10732" y="16327"/>
                            </a:cubicBezTo>
                            <a:cubicBezTo>
                              <a:pt x="10792" y="16267"/>
                              <a:pt x="10852" y="16267"/>
                              <a:pt x="10912" y="16208"/>
                            </a:cubicBezTo>
                            <a:cubicBezTo>
                              <a:pt x="10971" y="16148"/>
                              <a:pt x="11031" y="16148"/>
                              <a:pt x="11091" y="16088"/>
                            </a:cubicBezTo>
                            <a:cubicBezTo>
                              <a:pt x="11151" y="16028"/>
                              <a:pt x="11211" y="16028"/>
                              <a:pt x="11270" y="15968"/>
                            </a:cubicBezTo>
                            <a:cubicBezTo>
                              <a:pt x="11330" y="15909"/>
                              <a:pt x="11390" y="15849"/>
                              <a:pt x="11450" y="15849"/>
                            </a:cubicBezTo>
                            <a:cubicBezTo>
                              <a:pt x="11509" y="15789"/>
                              <a:pt x="11569" y="15729"/>
                              <a:pt x="11629" y="15669"/>
                            </a:cubicBezTo>
                            <a:cubicBezTo>
                              <a:pt x="11689" y="15610"/>
                              <a:pt x="11749" y="15550"/>
                              <a:pt x="11809" y="15490"/>
                            </a:cubicBezTo>
                            <a:cubicBezTo>
                              <a:pt x="11868" y="15430"/>
                              <a:pt x="11928" y="15370"/>
                              <a:pt x="11988" y="15311"/>
                            </a:cubicBezTo>
                            <a:cubicBezTo>
                              <a:pt x="12048" y="15251"/>
                              <a:pt x="12108" y="15191"/>
                              <a:pt x="12168" y="15131"/>
                            </a:cubicBezTo>
                            <a:cubicBezTo>
                              <a:pt x="12467" y="14832"/>
                              <a:pt x="12766" y="14533"/>
                              <a:pt x="13065" y="14174"/>
                            </a:cubicBezTo>
                            <a:cubicBezTo>
                              <a:pt x="13364" y="13815"/>
                              <a:pt x="13603" y="13457"/>
                              <a:pt x="13902" y="13098"/>
                            </a:cubicBezTo>
                            <a:cubicBezTo>
                              <a:pt x="14141" y="12739"/>
                              <a:pt x="14380" y="12320"/>
                              <a:pt x="14620" y="11961"/>
                            </a:cubicBezTo>
                            <a:cubicBezTo>
                              <a:pt x="14859" y="11543"/>
                              <a:pt x="15038" y="11124"/>
                              <a:pt x="15218" y="10705"/>
                            </a:cubicBezTo>
                            <a:cubicBezTo>
                              <a:pt x="15457" y="10107"/>
                              <a:pt x="15636" y="9569"/>
                              <a:pt x="15756" y="8971"/>
                            </a:cubicBezTo>
                            <a:cubicBezTo>
                              <a:pt x="15876" y="8373"/>
                              <a:pt x="15995" y="7835"/>
                              <a:pt x="15995" y="7237"/>
                            </a:cubicBezTo>
                            <a:cubicBezTo>
                              <a:pt x="16055" y="6698"/>
                              <a:pt x="15995" y="6100"/>
                              <a:pt x="15935" y="5562"/>
                            </a:cubicBezTo>
                            <a:cubicBezTo>
                              <a:pt x="15876" y="5024"/>
                              <a:pt x="15756" y="4486"/>
                              <a:pt x="15576" y="4007"/>
                            </a:cubicBezTo>
                            <a:cubicBezTo>
                              <a:pt x="15517" y="3768"/>
                              <a:pt x="15397" y="3529"/>
                              <a:pt x="15277" y="3289"/>
                            </a:cubicBezTo>
                            <a:cubicBezTo>
                              <a:pt x="15158" y="3050"/>
                              <a:pt x="15038" y="2811"/>
                              <a:pt x="14919" y="2632"/>
                            </a:cubicBezTo>
                            <a:cubicBezTo>
                              <a:pt x="14799" y="2392"/>
                              <a:pt x="14620" y="2213"/>
                              <a:pt x="14500" y="2034"/>
                            </a:cubicBezTo>
                            <a:cubicBezTo>
                              <a:pt x="14321" y="1854"/>
                              <a:pt x="14141" y="1675"/>
                              <a:pt x="13962" y="1495"/>
                            </a:cubicBezTo>
                            <a:cubicBezTo>
                              <a:pt x="13423" y="1017"/>
                              <a:pt x="12885" y="658"/>
                              <a:pt x="12227" y="419"/>
                            </a:cubicBezTo>
                            <a:cubicBezTo>
                              <a:pt x="11569" y="180"/>
                              <a:pt x="10912" y="0"/>
                              <a:pt x="10194" y="0"/>
                            </a:cubicBezTo>
                            <a:cubicBezTo>
                              <a:pt x="9476" y="0"/>
                              <a:pt x="8759" y="60"/>
                              <a:pt x="8041" y="239"/>
                            </a:cubicBezTo>
                            <a:cubicBezTo>
                              <a:pt x="7323" y="419"/>
                              <a:pt x="6546" y="778"/>
                              <a:pt x="5828" y="1196"/>
                            </a:cubicBezTo>
                            <a:cubicBezTo>
                              <a:pt x="5768" y="1196"/>
                              <a:pt x="5768" y="1256"/>
                              <a:pt x="5708" y="1256"/>
                            </a:cubicBezTo>
                            <a:cubicBezTo>
                              <a:pt x="5649" y="1256"/>
                              <a:pt x="5649" y="1316"/>
                              <a:pt x="5589" y="1316"/>
                            </a:cubicBezTo>
                            <a:cubicBezTo>
                              <a:pt x="5529" y="1316"/>
                              <a:pt x="5529" y="1375"/>
                              <a:pt x="5469" y="1375"/>
                            </a:cubicBezTo>
                            <a:cubicBezTo>
                              <a:pt x="5409" y="1375"/>
                              <a:pt x="5409" y="1435"/>
                              <a:pt x="5350" y="1435"/>
                            </a:cubicBezTo>
                            <a:cubicBezTo>
                              <a:pt x="5290" y="1435"/>
                              <a:pt x="5290" y="1495"/>
                              <a:pt x="5230" y="1495"/>
                            </a:cubicBezTo>
                            <a:cubicBezTo>
                              <a:pt x="5170" y="1495"/>
                              <a:pt x="5170" y="1555"/>
                              <a:pt x="5110" y="1555"/>
                            </a:cubicBezTo>
                            <a:cubicBezTo>
                              <a:pt x="5051" y="1555"/>
                              <a:pt x="5051" y="1615"/>
                              <a:pt x="4991" y="1615"/>
                            </a:cubicBezTo>
                            <a:cubicBezTo>
                              <a:pt x="4931" y="1615"/>
                              <a:pt x="4931" y="1675"/>
                              <a:pt x="4871" y="1734"/>
                            </a:cubicBezTo>
                            <a:cubicBezTo>
                              <a:pt x="4452" y="2034"/>
                              <a:pt x="4034" y="2392"/>
                              <a:pt x="3615" y="2811"/>
                            </a:cubicBezTo>
                            <a:cubicBezTo>
                              <a:pt x="3197" y="3229"/>
                              <a:pt x="2838" y="3648"/>
                              <a:pt x="2538" y="4067"/>
                            </a:cubicBezTo>
                            <a:cubicBezTo>
                              <a:pt x="2180" y="4486"/>
                              <a:pt x="1881" y="4964"/>
                              <a:pt x="1582" y="5502"/>
                            </a:cubicBezTo>
                            <a:cubicBezTo>
                              <a:pt x="1283" y="5981"/>
                              <a:pt x="1043" y="6519"/>
                              <a:pt x="864" y="7057"/>
                            </a:cubicBezTo>
                            <a:cubicBezTo>
                              <a:pt x="804" y="7177"/>
                              <a:pt x="804" y="7296"/>
                              <a:pt x="744" y="7416"/>
                            </a:cubicBezTo>
                            <a:cubicBezTo>
                              <a:pt x="684" y="7536"/>
                              <a:pt x="684" y="7655"/>
                              <a:pt x="625" y="7775"/>
                            </a:cubicBezTo>
                            <a:cubicBezTo>
                              <a:pt x="565" y="7895"/>
                              <a:pt x="565" y="8014"/>
                              <a:pt x="505" y="8134"/>
                            </a:cubicBezTo>
                            <a:cubicBezTo>
                              <a:pt x="445" y="8253"/>
                              <a:pt x="445" y="8373"/>
                              <a:pt x="385" y="8493"/>
                            </a:cubicBezTo>
                            <a:cubicBezTo>
                              <a:pt x="385" y="8612"/>
                              <a:pt x="326" y="8732"/>
                              <a:pt x="326" y="8791"/>
                            </a:cubicBezTo>
                            <a:cubicBezTo>
                              <a:pt x="326" y="8851"/>
                              <a:pt x="266" y="9031"/>
                              <a:pt x="266" y="9091"/>
                            </a:cubicBezTo>
                            <a:cubicBezTo>
                              <a:pt x="266" y="9151"/>
                              <a:pt x="206" y="9330"/>
                              <a:pt x="206" y="9390"/>
                            </a:cubicBezTo>
                            <a:cubicBezTo>
                              <a:pt x="206" y="9450"/>
                              <a:pt x="146" y="9629"/>
                              <a:pt x="146" y="9689"/>
                            </a:cubicBezTo>
                            <a:cubicBezTo>
                              <a:pt x="86" y="10048"/>
                              <a:pt x="86" y="10406"/>
                              <a:pt x="27" y="10765"/>
                            </a:cubicBezTo>
                            <a:cubicBezTo>
                              <a:pt x="-33" y="11124"/>
                              <a:pt x="27" y="11483"/>
                              <a:pt x="27" y="11842"/>
                            </a:cubicBezTo>
                            <a:cubicBezTo>
                              <a:pt x="27" y="12201"/>
                              <a:pt x="86" y="12500"/>
                              <a:pt x="146" y="12859"/>
                            </a:cubicBezTo>
                            <a:cubicBezTo>
                              <a:pt x="206" y="13158"/>
                              <a:pt x="326" y="13516"/>
                              <a:pt x="385" y="13815"/>
                            </a:cubicBezTo>
                            <a:cubicBezTo>
                              <a:pt x="505" y="14055"/>
                              <a:pt x="565" y="14294"/>
                              <a:pt x="684" y="14533"/>
                            </a:cubicBezTo>
                            <a:cubicBezTo>
                              <a:pt x="804" y="14772"/>
                              <a:pt x="924" y="14952"/>
                              <a:pt x="1043" y="15191"/>
                            </a:cubicBezTo>
                            <a:cubicBezTo>
                              <a:pt x="1163" y="15370"/>
                              <a:pt x="1283" y="15610"/>
                              <a:pt x="1462" y="15789"/>
                            </a:cubicBezTo>
                            <a:cubicBezTo>
                              <a:pt x="1582" y="15968"/>
                              <a:pt x="1761" y="16148"/>
                              <a:pt x="1940" y="16327"/>
                            </a:cubicBezTo>
                            <a:cubicBezTo>
                              <a:pt x="1940" y="16327"/>
                              <a:pt x="1940" y="16327"/>
                              <a:pt x="1940" y="16327"/>
                            </a:cubicBezTo>
                            <a:cubicBezTo>
                              <a:pt x="2299" y="16267"/>
                              <a:pt x="2299" y="16267"/>
                              <a:pt x="2359" y="16327"/>
                            </a:cubicBezTo>
                            <a:cubicBezTo>
                              <a:pt x="2299" y="16267"/>
                              <a:pt x="2299" y="16267"/>
                              <a:pt x="2359" y="16327"/>
                            </a:cubicBezTo>
                            <a:cubicBezTo>
                              <a:pt x="2359" y="16327"/>
                              <a:pt x="2359" y="16327"/>
                              <a:pt x="2359" y="16327"/>
                            </a:cubicBezTo>
                          </a:path>
                        </a:pathLst>
                      </a:custGeom>
                      <a:noFill/>
                      <a:ln w="6350" cap="flat">
                        <a:solidFill>
                          <a:schemeClr val="bg1">
                            <a:alpha val="40000"/>
                          </a:schemeClr>
                        </a:solidFill>
                        <a:prstDash val="solid"/>
                        <a:miter/>
                      </a:ln>
                    </p:spPr>
                    <p:txBody>
                      <a:bodyPr rtlCol="0" anchor="ctr"/>
                      <a:lstStyle/>
                      <a:p>
                        <a:endParaRPr lang="en-GB"/>
                      </a:p>
                    </p:txBody>
                  </p:sp>
                  <p:sp>
                    <p:nvSpPr>
                      <p:cNvPr id="7546" name="Vrije vorm: vorm 7545">
                        <a:extLst>
                          <a:ext uri="{FF2B5EF4-FFF2-40B4-BE49-F238E27FC236}">
                            <a16:creationId xmlns:a16="http://schemas.microsoft.com/office/drawing/2014/main" id="{87A5BDF4-E327-45C8-A3BD-AC13CD2D66E2}"/>
                          </a:ext>
                        </a:extLst>
                      </p:cNvPr>
                      <p:cNvSpPr/>
                      <p:nvPr/>
                    </p:nvSpPr>
                    <p:spPr>
                      <a:xfrm>
                        <a:off x="5315685" y="5128030"/>
                        <a:ext cx="15609" cy="17463"/>
                      </a:xfrm>
                      <a:custGeom>
                        <a:avLst/>
                        <a:gdLst>
                          <a:gd name="connsiteX0" fmla="*/ 13038 w 15609"/>
                          <a:gd name="connsiteY0" fmla="*/ 2213 h 17463"/>
                          <a:gd name="connsiteX1" fmla="*/ 13457 w 15609"/>
                          <a:gd name="connsiteY1" fmla="*/ 2691 h 17463"/>
                          <a:gd name="connsiteX2" fmla="*/ 13815 w 15609"/>
                          <a:gd name="connsiteY2" fmla="*/ 3229 h 17463"/>
                          <a:gd name="connsiteX3" fmla="*/ 14115 w 15609"/>
                          <a:gd name="connsiteY3" fmla="*/ 3827 h 17463"/>
                          <a:gd name="connsiteX4" fmla="*/ 14354 w 15609"/>
                          <a:gd name="connsiteY4" fmla="*/ 4486 h 17463"/>
                          <a:gd name="connsiteX5" fmla="*/ 14713 w 15609"/>
                          <a:gd name="connsiteY5" fmla="*/ 5861 h 17463"/>
                          <a:gd name="connsiteX6" fmla="*/ 14773 w 15609"/>
                          <a:gd name="connsiteY6" fmla="*/ 7296 h 17463"/>
                          <a:gd name="connsiteX7" fmla="*/ 14533 w 15609"/>
                          <a:gd name="connsiteY7" fmla="*/ 8791 h 17463"/>
                          <a:gd name="connsiteX8" fmla="*/ 14055 w 15609"/>
                          <a:gd name="connsiteY8" fmla="*/ 10347 h 17463"/>
                          <a:gd name="connsiteX9" fmla="*/ 13337 w 15609"/>
                          <a:gd name="connsiteY9" fmla="*/ 11782 h 17463"/>
                          <a:gd name="connsiteX10" fmla="*/ 12440 w 15609"/>
                          <a:gd name="connsiteY10" fmla="*/ 13097 h 17463"/>
                          <a:gd name="connsiteX11" fmla="*/ 11364 w 15609"/>
                          <a:gd name="connsiteY11" fmla="*/ 14234 h 17463"/>
                          <a:gd name="connsiteX12" fmla="*/ 10107 w 15609"/>
                          <a:gd name="connsiteY12" fmla="*/ 15191 h 17463"/>
                          <a:gd name="connsiteX13" fmla="*/ 8792 w 15609"/>
                          <a:gd name="connsiteY13" fmla="*/ 15909 h 17463"/>
                          <a:gd name="connsiteX14" fmla="*/ 7416 w 15609"/>
                          <a:gd name="connsiteY14" fmla="*/ 16327 h 17463"/>
                          <a:gd name="connsiteX15" fmla="*/ 6100 w 15609"/>
                          <a:gd name="connsiteY15" fmla="*/ 16447 h 17463"/>
                          <a:gd name="connsiteX16" fmla="*/ 4844 w 15609"/>
                          <a:gd name="connsiteY16" fmla="*/ 16267 h 17463"/>
                          <a:gd name="connsiteX17" fmla="*/ 4246 w 15609"/>
                          <a:gd name="connsiteY17" fmla="*/ 16088 h 17463"/>
                          <a:gd name="connsiteX18" fmla="*/ 3708 w 15609"/>
                          <a:gd name="connsiteY18" fmla="*/ 15849 h 17463"/>
                          <a:gd name="connsiteX19" fmla="*/ 3230 w 15609"/>
                          <a:gd name="connsiteY19" fmla="*/ 15550 h 17463"/>
                          <a:gd name="connsiteX20" fmla="*/ 2751 w 15609"/>
                          <a:gd name="connsiteY20" fmla="*/ 15191 h 17463"/>
                          <a:gd name="connsiteX21" fmla="*/ 2273 w 15609"/>
                          <a:gd name="connsiteY21" fmla="*/ 14712 h 17463"/>
                          <a:gd name="connsiteX22" fmla="*/ 1914 w 15609"/>
                          <a:gd name="connsiteY22" fmla="*/ 14174 h 17463"/>
                          <a:gd name="connsiteX23" fmla="*/ 1615 w 15609"/>
                          <a:gd name="connsiteY23" fmla="*/ 13576 h 17463"/>
                          <a:gd name="connsiteX24" fmla="*/ 1316 w 15609"/>
                          <a:gd name="connsiteY24" fmla="*/ 12918 h 17463"/>
                          <a:gd name="connsiteX25" fmla="*/ 1017 w 15609"/>
                          <a:gd name="connsiteY25" fmla="*/ 11543 h 17463"/>
                          <a:gd name="connsiteX26" fmla="*/ 957 w 15609"/>
                          <a:gd name="connsiteY26" fmla="*/ 10107 h 17463"/>
                          <a:gd name="connsiteX27" fmla="*/ 1136 w 15609"/>
                          <a:gd name="connsiteY27" fmla="*/ 8612 h 17463"/>
                          <a:gd name="connsiteX28" fmla="*/ 1615 w 15609"/>
                          <a:gd name="connsiteY28" fmla="*/ 7057 h 17463"/>
                          <a:gd name="connsiteX29" fmla="*/ 2333 w 15609"/>
                          <a:gd name="connsiteY29" fmla="*/ 5562 h 17463"/>
                          <a:gd name="connsiteX30" fmla="*/ 3230 w 15609"/>
                          <a:gd name="connsiteY30" fmla="*/ 4246 h 17463"/>
                          <a:gd name="connsiteX31" fmla="*/ 4306 w 15609"/>
                          <a:gd name="connsiteY31" fmla="*/ 3110 h 17463"/>
                          <a:gd name="connsiteX32" fmla="*/ 5562 w 15609"/>
                          <a:gd name="connsiteY32" fmla="*/ 2153 h 17463"/>
                          <a:gd name="connsiteX33" fmla="*/ 6878 w 15609"/>
                          <a:gd name="connsiteY33" fmla="*/ 1435 h 17463"/>
                          <a:gd name="connsiteX34" fmla="*/ 8253 w 15609"/>
                          <a:gd name="connsiteY34" fmla="*/ 1017 h 17463"/>
                          <a:gd name="connsiteX35" fmla="*/ 9569 w 15609"/>
                          <a:gd name="connsiteY35" fmla="*/ 897 h 17463"/>
                          <a:gd name="connsiteX36" fmla="*/ 10885 w 15609"/>
                          <a:gd name="connsiteY36" fmla="*/ 1076 h 17463"/>
                          <a:gd name="connsiteX37" fmla="*/ 11483 w 15609"/>
                          <a:gd name="connsiteY37" fmla="*/ 1256 h 17463"/>
                          <a:gd name="connsiteX38" fmla="*/ 12021 w 15609"/>
                          <a:gd name="connsiteY38" fmla="*/ 1495 h 17463"/>
                          <a:gd name="connsiteX39" fmla="*/ 12500 w 15609"/>
                          <a:gd name="connsiteY39" fmla="*/ 1794 h 17463"/>
                          <a:gd name="connsiteX40" fmla="*/ 13038 w 15609"/>
                          <a:gd name="connsiteY40" fmla="*/ 2213 h 17463"/>
                          <a:gd name="connsiteX41" fmla="*/ 2153 w 15609"/>
                          <a:gd name="connsiteY41" fmla="*/ 16028 h 17463"/>
                          <a:gd name="connsiteX42" fmla="*/ 2691 w 15609"/>
                          <a:gd name="connsiteY42" fmla="*/ 16447 h 17463"/>
                          <a:gd name="connsiteX43" fmla="*/ 3290 w 15609"/>
                          <a:gd name="connsiteY43" fmla="*/ 16806 h 17463"/>
                          <a:gd name="connsiteX44" fmla="*/ 3888 w 15609"/>
                          <a:gd name="connsiteY44" fmla="*/ 17105 h 17463"/>
                          <a:gd name="connsiteX45" fmla="*/ 4545 w 15609"/>
                          <a:gd name="connsiteY45" fmla="*/ 17284 h 17463"/>
                          <a:gd name="connsiteX46" fmla="*/ 5981 w 15609"/>
                          <a:gd name="connsiteY46" fmla="*/ 17464 h 17463"/>
                          <a:gd name="connsiteX47" fmla="*/ 7476 w 15609"/>
                          <a:gd name="connsiteY47" fmla="*/ 17284 h 17463"/>
                          <a:gd name="connsiteX48" fmla="*/ 8971 w 15609"/>
                          <a:gd name="connsiteY48" fmla="*/ 16806 h 17463"/>
                          <a:gd name="connsiteX49" fmla="*/ 10466 w 15609"/>
                          <a:gd name="connsiteY49" fmla="*/ 16028 h 17463"/>
                          <a:gd name="connsiteX50" fmla="*/ 11842 w 15609"/>
                          <a:gd name="connsiteY50" fmla="*/ 14952 h 17463"/>
                          <a:gd name="connsiteX51" fmla="*/ 13038 w 15609"/>
                          <a:gd name="connsiteY51" fmla="*/ 13636 h 17463"/>
                          <a:gd name="connsiteX52" fmla="*/ 14055 w 15609"/>
                          <a:gd name="connsiteY52" fmla="*/ 12141 h 17463"/>
                          <a:gd name="connsiteX53" fmla="*/ 14832 w 15609"/>
                          <a:gd name="connsiteY53" fmla="*/ 10526 h 17463"/>
                          <a:gd name="connsiteX54" fmla="*/ 15371 w 15609"/>
                          <a:gd name="connsiteY54" fmla="*/ 8791 h 17463"/>
                          <a:gd name="connsiteX55" fmla="*/ 15610 w 15609"/>
                          <a:gd name="connsiteY55" fmla="*/ 7117 h 17463"/>
                          <a:gd name="connsiteX56" fmla="*/ 15550 w 15609"/>
                          <a:gd name="connsiteY56" fmla="*/ 5502 h 17463"/>
                          <a:gd name="connsiteX57" fmla="*/ 15191 w 15609"/>
                          <a:gd name="connsiteY57" fmla="*/ 3947 h 17463"/>
                          <a:gd name="connsiteX58" fmla="*/ 14892 w 15609"/>
                          <a:gd name="connsiteY58" fmla="*/ 3229 h 17463"/>
                          <a:gd name="connsiteX59" fmla="*/ 14533 w 15609"/>
                          <a:gd name="connsiteY59" fmla="*/ 2572 h 17463"/>
                          <a:gd name="connsiteX60" fmla="*/ 14115 w 15609"/>
                          <a:gd name="connsiteY60" fmla="*/ 1973 h 17463"/>
                          <a:gd name="connsiteX61" fmla="*/ 13636 w 15609"/>
                          <a:gd name="connsiteY61" fmla="*/ 1435 h 17463"/>
                          <a:gd name="connsiteX62" fmla="*/ 13098 w 15609"/>
                          <a:gd name="connsiteY62" fmla="*/ 1017 h 17463"/>
                          <a:gd name="connsiteX63" fmla="*/ 12500 w 15609"/>
                          <a:gd name="connsiteY63" fmla="*/ 658 h 17463"/>
                          <a:gd name="connsiteX64" fmla="*/ 11902 w 15609"/>
                          <a:gd name="connsiteY64" fmla="*/ 359 h 17463"/>
                          <a:gd name="connsiteX65" fmla="*/ 11244 w 15609"/>
                          <a:gd name="connsiteY65" fmla="*/ 179 h 17463"/>
                          <a:gd name="connsiteX66" fmla="*/ 9808 w 15609"/>
                          <a:gd name="connsiteY66" fmla="*/ 0 h 17463"/>
                          <a:gd name="connsiteX67" fmla="*/ 8313 w 15609"/>
                          <a:gd name="connsiteY67" fmla="*/ 119 h 17463"/>
                          <a:gd name="connsiteX68" fmla="*/ 6758 w 15609"/>
                          <a:gd name="connsiteY68" fmla="*/ 598 h 17463"/>
                          <a:gd name="connsiteX69" fmla="*/ 5263 w 15609"/>
                          <a:gd name="connsiteY69" fmla="*/ 1375 h 17463"/>
                          <a:gd name="connsiteX70" fmla="*/ 3828 w 15609"/>
                          <a:gd name="connsiteY70" fmla="*/ 2452 h 17463"/>
                          <a:gd name="connsiteX71" fmla="*/ 2572 w 15609"/>
                          <a:gd name="connsiteY71" fmla="*/ 3768 h 17463"/>
                          <a:gd name="connsiteX72" fmla="*/ 1555 w 15609"/>
                          <a:gd name="connsiteY72" fmla="*/ 5263 h 17463"/>
                          <a:gd name="connsiteX73" fmla="*/ 778 w 15609"/>
                          <a:gd name="connsiteY73" fmla="*/ 6937 h 17463"/>
                          <a:gd name="connsiteX74" fmla="*/ 239 w 15609"/>
                          <a:gd name="connsiteY74" fmla="*/ 8672 h 17463"/>
                          <a:gd name="connsiteX75" fmla="*/ 0 w 15609"/>
                          <a:gd name="connsiteY75" fmla="*/ 10347 h 17463"/>
                          <a:gd name="connsiteX76" fmla="*/ 60 w 15609"/>
                          <a:gd name="connsiteY76" fmla="*/ 11961 h 17463"/>
                          <a:gd name="connsiteX77" fmla="*/ 419 w 15609"/>
                          <a:gd name="connsiteY77" fmla="*/ 13516 h 17463"/>
                          <a:gd name="connsiteX78" fmla="*/ 718 w 15609"/>
                          <a:gd name="connsiteY78" fmla="*/ 14234 h 17463"/>
                          <a:gd name="connsiteX79" fmla="*/ 1077 w 15609"/>
                          <a:gd name="connsiteY79" fmla="*/ 14892 h 17463"/>
                          <a:gd name="connsiteX80" fmla="*/ 1495 w 15609"/>
                          <a:gd name="connsiteY80" fmla="*/ 15490 h 17463"/>
                          <a:gd name="connsiteX81" fmla="*/ 2153 w 15609"/>
                          <a:gd name="connsiteY81" fmla="*/ 16028 h 17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5609" h="17463">
                            <a:moveTo>
                              <a:pt x="13038" y="2213"/>
                            </a:moveTo>
                            <a:cubicBezTo>
                              <a:pt x="13218" y="2332"/>
                              <a:pt x="13337" y="2512"/>
                              <a:pt x="13457" y="2691"/>
                            </a:cubicBezTo>
                            <a:cubicBezTo>
                              <a:pt x="13576" y="2871"/>
                              <a:pt x="13696" y="3050"/>
                              <a:pt x="13815" y="3229"/>
                            </a:cubicBezTo>
                            <a:cubicBezTo>
                              <a:pt x="13935" y="3409"/>
                              <a:pt x="14055" y="3588"/>
                              <a:pt x="14115" y="3827"/>
                            </a:cubicBezTo>
                            <a:cubicBezTo>
                              <a:pt x="14234" y="4007"/>
                              <a:pt x="14294" y="4246"/>
                              <a:pt x="14354" y="4486"/>
                            </a:cubicBezTo>
                            <a:cubicBezTo>
                              <a:pt x="14533" y="4904"/>
                              <a:pt x="14593" y="5382"/>
                              <a:pt x="14713" y="5861"/>
                            </a:cubicBezTo>
                            <a:cubicBezTo>
                              <a:pt x="14773" y="6340"/>
                              <a:pt x="14773" y="6818"/>
                              <a:pt x="14773" y="7296"/>
                            </a:cubicBezTo>
                            <a:cubicBezTo>
                              <a:pt x="14773" y="7775"/>
                              <a:pt x="14653" y="8313"/>
                              <a:pt x="14533" y="8791"/>
                            </a:cubicBezTo>
                            <a:cubicBezTo>
                              <a:pt x="14414" y="9270"/>
                              <a:pt x="14234" y="9808"/>
                              <a:pt x="14055" y="10347"/>
                            </a:cubicBezTo>
                            <a:cubicBezTo>
                              <a:pt x="13875" y="10825"/>
                              <a:pt x="13636" y="11303"/>
                              <a:pt x="13337" y="11782"/>
                            </a:cubicBezTo>
                            <a:cubicBezTo>
                              <a:pt x="13038" y="12260"/>
                              <a:pt x="12739" y="12679"/>
                              <a:pt x="12440" y="13097"/>
                            </a:cubicBezTo>
                            <a:cubicBezTo>
                              <a:pt x="12081" y="13516"/>
                              <a:pt x="11722" y="13875"/>
                              <a:pt x="11364" y="14234"/>
                            </a:cubicBezTo>
                            <a:cubicBezTo>
                              <a:pt x="11005" y="14593"/>
                              <a:pt x="10586" y="14892"/>
                              <a:pt x="10107" y="15191"/>
                            </a:cubicBezTo>
                            <a:cubicBezTo>
                              <a:pt x="9689" y="15490"/>
                              <a:pt x="9211" y="15729"/>
                              <a:pt x="8792" y="15909"/>
                            </a:cubicBezTo>
                            <a:cubicBezTo>
                              <a:pt x="8373" y="16088"/>
                              <a:pt x="7895" y="16267"/>
                              <a:pt x="7416" y="16327"/>
                            </a:cubicBezTo>
                            <a:cubicBezTo>
                              <a:pt x="6998" y="16447"/>
                              <a:pt x="6519" y="16447"/>
                              <a:pt x="6100" y="16447"/>
                            </a:cubicBezTo>
                            <a:cubicBezTo>
                              <a:pt x="5682" y="16447"/>
                              <a:pt x="5203" y="16387"/>
                              <a:pt x="4844" y="16267"/>
                            </a:cubicBezTo>
                            <a:cubicBezTo>
                              <a:pt x="4665" y="16208"/>
                              <a:pt x="4426" y="16148"/>
                              <a:pt x="4246" y="16088"/>
                            </a:cubicBezTo>
                            <a:cubicBezTo>
                              <a:pt x="4067" y="16028"/>
                              <a:pt x="3888" y="15909"/>
                              <a:pt x="3708" y="15849"/>
                            </a:cubicBezTo>
                            <a:cubicBezTo>
                              <a:pt x="3529" y="15789"/>
                              <a:pt x="3349" y="15669"/>
                              <a:pt x="3230" y="15550"/>
                            </a:cubicBezTo>
                            <a:cubicBezTo>
                              <a:pt x="3050" y="15430"/>
                              <a:pt x="2931" y="15311"/>
                              <a:pt x="2751" y="15191"/>
                            </a:cubicBezTo>
                            <a:cubicBezTo>
                              <a:pt x="2572" y="15071"/>
                              <a:pt x="2452" y="14892"/>
                              <a:pt x="2273" y="14712"/>
                            </a:cubicBezTo>
                            <a:cubicBezTo>
                              <a:pt x="2153" y="14533"/>
                              <a:pt x="2034" y="14354"/>
                              <a:pt x="1914" y="14174"/>
                            </a:cubicBezTo>
                            <a:cubicBezTo>
                              <a:pt x="1795" y="13995"/>
                              <a:pt x="1675" y="13815"/>
                              <a:pt x="1615" y="13576"/>
                            </a:cubicBezTo>
                            <a:cubicBezTo>
                              <a:pt x="1555" y="13337"/>
                              <a:pt x="1436" y="13157"/>
                              <a:pt x="1316" y="12918"/>
                            </a:cubicBezTo>
                            <a:cubicBezTo>
                              <a:pt x="1136" y="12500"/>
                              <a:pt x="1077" y="12021"/>
                              <a:pt x="1017" y="11543"/>
                            </a:cubicBezTo>
                            <a:cubicBezTo>
                              <a:pt x="957" y="11064"/>
                              <a:pt x="957" y="10586"/>
                              <a:pt x="957" y="10107"/>
                            </a:cubicBezTo>
                            <a:cubicBezTo>
                              <a:pt x="957" y="9629"/>
                              <a:pt x="1077" y="9090"/>
                              <a:pt x="1136" y="8612"/>
                            </a:cubicBezTo>
                            <a:cubicBezTo>
                              <a:pt x="1256" y="8134"/>
                              <a:pt x="1436" y="7595"/>
                              <a:pt x="1615" y="7057"/>
                            </a:cubicBezTo>
                            <a:cubicBezTo>
                              <a:pt x="1795" y="6519"/>
                              <a:pt x="2034" y="6040"/>
                              <a:pt x="2333" y="5562"/>
                            </a:cubicBezTo>
                            <a:cubicBezTo>
                              <a:pt x="2632" y="5083"/>
                              <a:pt x="2931" y="4665"/>
                              <a:pt x="3230" y="4246"/>
                            </a:cubicBezTo>
                            <a:cubicBezTo>
                              <a:pt x="3589" y="3827"/>
                              <a:pt x="3947" y="3469"/>
                              <a:pt x="4306" y="3110"/>
                            </a:cubicBezTo>
                            <a:cubicBezTo>
                              <a:pt x="4665" y="2751"/>
                              <a:pt x="5084" y="2452"/>
                              <a:pt x="5562" y="2153"/>
                            </a:cubicBezTo>
                            <a:cubicBezTo>
                              <a:pt x="5981" y="1854"/>
                              <a:pt x="6459" y="1615"/>
                              <a:pt x="6878" y="1435"/>
                            </a:cubicBezTo>
                            <a:cubicBezTo>
                              <a:pt x="7297" y="1256"/>
                              <a:pt x="7775" y="1076"/>
                              <a:pt x="8253" y="1017"/>
                            </a:cubicBezTo>
                            <a:cubicBezTo>
                              <a:pt x="8672" y="897"/>
                              <a:pt x="9151" y="897"/>
                              <a:pt x="9569" y="897"/>
                            </a:cubicBezTo>
                            <a:cubicBezTo>
                              <a:pt x="9988" y="897"/>
                              <a:pt x="10466" y="957"/>
                              <a:pt x="10885" y="1076"/>
                            </a:cubicBezTo>
                            <a:cubicBezTo>
                              <a:pt x="11065" y="1136"/>
                              <a:pt x="11304" y="1196"/>
                              <a:pt x="11483" y="1256"/>
                            </a:cubicBezTo>
                            <a:cubicBezTo>
                              <a:pt x="11662" y="1316"/>
                              <a:pt x="11842" y="1435"/>
                              <a:pt x="12021" y="1495"/>
                            </a:cubicBezTo>
                            <a:cubicBezTo>
                              <a:pt x="12201" y="1615"/>
                              <a:pt x="12380" y="1674"/>
                              <a:pt x="12500" y="1794"/>
                            </a:cubicBezTo>
                            <a:cubicBezTo>
                              <a:pt x="12620" y="1914"/>
                              <a:pt x="12859" y="2093"/>
                              <a:pt x="13038" y="2213"/>
                            </a:cubicBezTo>
                            <a:moveTo>
                              <a:pt x="2153" y="16028"/>
                            </a:moveTo>
                            <a:cubicBezTo>
                              <a:pt x="2333" y="16208"/>
                              <a:pt x="2512" y="16327"/>
                              <a:pt x="2691" y="16447"/>
                            </a:cubicBezTo>
                            <a:cubicBezTo>
                              <a:pt x="2871" y="16566"/>
                              <a:pt x="3050" y="16686"/>
                              <a:pt x="3290" y="16806"/>
                            </a:cubicBezTo>
                            <a:cubicBezTo>
                              <a:pt x="3469" y="16925"/>
                              <a:pt x="3708" y="16985"/>
                              <a:pt x="3888" y="17105"/>
                            </a:cubicBezTo>
                            <a:cubicBezTo>
                              <a:pt x="4067" y="17224"/>
                              <a:pt x="4306" y="17224"/>
                              <a:pt x="4545" y="17284"/>
                            </a:cubicBezTo>
                            <a:cubicBezTo>
                              <a:pt x="5024" y="17404"/>
                              <a:pt x="5503" y="17464"/>
                              <a:pt x="5981" y="17464"/>
                            </a:cubicBezTo>
                            <a:cubicBezTo>
                              <a:pt x="6459" y="17464"/>
                              <a:pt x="6998" y="17404"/>
                              <a:pt x="7476" y="17284"/>
                            </a:cubicBezTo>
                            <a:cubicBezTo>
                              <a:pt x="7954" y="17165"/>
                              <a:pt x="8493" y="17045"/>
                              <a:pt x="8971" y="16806"/>
                            </a:cubicBezTo>
                            <a:cubicBezTo>
                              <a:pt x="9450" y="16566"/>
                              <a:pt x="9988" y="16327"/>
                              <a:pt x="10466" y="16028"/>
                            </a:cubicBezTo>
                            <a:cubicBezTo>
                              <a:pt x="10945" y="15729"/>
                              <a:pt x="11423" y="15370"/>
                              <a:pt x="11842" y="14952"/>
                            </a:cubicBezTo>
                            <a:cubicBezTo>
                              <a:pt x="12261" y="14533"/>
                              <a:pt x="12679" y="14114"/>
                              <a:pt x="13038" y="13636"/>
                            </a:cubicBezTo>
                            <a:cubicBezTo>
                              <a:pt x="13397" y="13157"/>
                              <a:pt x="13756" y="12679"/>
                              <a:pt x="14055" y="12141"/>
                            </a:cubicBezTo>
                            <a:cubicBezTo>
                              <a:pt x="14354" y="11602"/>
                              <a:pt x="14653" y="11064"/>
                              <a:pt x="14832" y="10526"/>
                            </a:cubicBezTo>
                            <a:cubicBezTo>
                              <a:pt x="15072" y="9928"/>
                              <a:pt x="15251" y="9389"/>
                              <a:pt x="15371" y="8791"/>
                            </a:cubicBezTo>
                            <a:cubicBezTo>
                              <a:pt x="15490" y="8194"/>
                              <a:pt x="15610" y="7655"/>
                              <a:pt x="15610" y="7117"/>
                            </a:cubicBezTo>
                            <a:cubicBezTo>
                              <a:pt x="15610" y="6579"/>
                              <a:pt x="15610" y="6040"/>
                              <a:pt x="15550" y="5502"/>
                            </a:cubicBezTo>
                            <a:cubicBezTo>
                              <a:pt x="15490" y="4964"/>
                              <a:pt x="15371" y="4486"/>
                              <a:pt x="15191" y="3947"/>
                            </a:cubicBezTo>
                            <a:cubicBezTo>
                              <a:pt x="15131" y="3708"/>
                              <a:pt x="15012" y="3469"/>
                              <a:pt x="14892" y="3229"/>
                            </a:cubicBezTo>
                            <a:cubicBezTo>
                              <a:pt x="14773" y="2990"/>
                              <a:pt x="14653" y="2751"/>
                              <a:pt x="14533" y="2572"/>
                            </a:cubicBezTo>
                            <a:cubicBezTo>
                              <a:pt x="14414" y="2332"/>
                              <a:pt x="14234" y="2153"/>
                              <a:pt x="14115" y="1973"/>
                            </a:cubicBezTo>
                            <a:cubicBezTo>
                              <a:pt x="13935" y="1794"/>
                              <a:pt x="13815" y="1615"/>
                              <a:pt x="13636" y="1435"/>
                            </a:cubicBezTo>
                            <a:cubicBezTo>
                              <a:pt x="13457" y="1256"/>
                              <a:pt x="13277" y="1136"/>
                              <a:pt x="13098" y="1017"/>
                            </a:cubicBezTo>
                            <a:cubicBezTo>
                              <a:pt x="12919" y="897"/>
                              <a:pt x="12739" y="777"/>
                              <a:pt x="12500" y="658"/>
                            </a:cubicBezTo>
                            <a:cubicBezTo>
                              <a:pt x="12320" y="538"/>
                              <a:pt x="12081" y="478"/>
                              <a:pt x="11902" y="359"/>
                            </a:cubicBezTo>
                            <a:cubicBezTo>
                              <a:pt x="11662" y="299"/>
                              <a:pt x="11483" y="239"/>
                              <a:pt x="11244" y="179"/>
                            </a:cubicBezTo>
                            <a:cubicBezTo>
                              <a:pt x="10766" y="60"/>
                              <a:pt x="10287" y="0"/>
                              <a:pt x="9808" y="0"/>
                            </a:cubicBezTo>
                            <a:cubicBezTo>
                              <a:pt x="9330" y="0"/>
                              <a:pt x="8792" y="60"/>
                              <a:pt x="8313" y="119"/>
                            </a:cubicBezTo>
                            <a:cubicBezTo>
                              <a:pt x="7835" y="239"/>
                              <a:pt x="7297" y="359"/>
                              <a:pt x="6758" y="598"/>
                            </a:cubicBezTo>
                            <a:cubicBezTo>
                              <a:pt x="6220" y="837"/>
                              <a:pt x="5742" y="1076"/>
                              <a:pt x="5263" y="1375"/>
                            </a:cubicBezTo>
                            <a:cubicBezTo>
                              <a:pt x="4785" y="1674"/>
                              <a:pt x="4306" y="2093"/>
                              <a:pt x="3828" y="2452"/>
                            </a:cubicBezTo>
                            <a:cubicBezTo>
                              <a:pt x="3409" y="2871"/>
                              <a:pt x="2990" y="3289"/>
                              <a:pt x="2572" y="3768"/>
                            </a:cubicBezTo>
                            <a:cubicBezTo>
                              <a:pt x="2153" y="4246"/>
                              <a:pt x="1854" y="4725"/>
                              <a:pt x="1555" y="5263"/>
                            </a:cubicBezTo>
                            <a:cubicBezTo>
                              <a:pt x="1256" y="5801"/>
                              <a:pt x="957" y="6340"/>
                              <a:pt x="778" y="6937"/>
                            </a:cubicBezTo>
                            <a:cubicBezTo>
                              <a:pt x="598" y="7535"/>
                              <a:pt x="359" y="8074"/>
                              <a:pt x="239" y="8672"/>
                            </a:cubicBezTo>
                            <a:cubicBezTo>
                              <a:pt x="120" y="9270"/>
                              <a:pt x="60" y="9808"/>
                              <a:pt x="0" y="10347"/>
                            </a:cubicBezTo>
                            <a:cubicBezTo>
                              <a:pt x="0" y="10885"/>
                              <a:pt x="0" y="11483"/>
                              <a:pt x="60" y="11961"/>
                            </a:cubicBezTo>
                            <a:cubicBezTo>
                              <a:pt x="120" y="12500"/>
                              <a:pt x="239" y="12978"/>
                              <a:pt x="419" y="13516"/>
                            </a:cubicBezTo>
                            <a:cubicBezTo>
                              <a:pt x="538" y="13756"/>
                              <a:pt x="598" y="13995"/>
                              <a:pt x="718" y="14234"/>
                            </a:cubicBezTo>
                            <a:cubicBezTo>
                              <a:pt x="837" y="14473"/>
                              <a:pt x="957" y="14712"/>
                              <a:pt x="1077" y="14892"/>
                            </a:cubicBezTo>
                            <a:cubicBezTo>
                              <a:pt x="1196" y="15071"/>
                              <a:pt x="1376" y="15311"/>
                              <a:pt x="1495" y="15490"/>
                            </a:cubicBezTo>
                            <a:cubicBezTo>
                              <a:pt x="1795" y="15669"/>
                              <a:pt x="1974" y="15849"/>
                              <a:pt x="2153" y="16028"/>
                            </a:cubicBezTo>
                          </a:path>
                        </a:pathLst>
                      </a:custGeom>
                      <a:noFill/>
                      <a:ln w="6350" cap="flat">
                        <a:solidFill>
                          <a:schemeClr val="bg1">
                            <a:alpha val="40000"/>
                          </a:schemeClr>
                        </a:solidFill>
                        <a:prstDash val="solid"/>
                        <a:miter/>
                      </a:ln>
                    </p:spPr>
                    <p:txBody>
                      <a:bodyPr rtlCol="0" anchor="ctr"/>
                      <a:lstStyle/>
                      <a:p>
                        <a:endParaRPr lang="en-GB"/>
                      </a:p>
                    </p:txBody>
                  </p:sp>
                  <p:sp>
                    <p:nvSpPr>
                      <p:cNvPr id="7547" name="Vrije vorm: vorm 7546">
                        <a:extLst>
                          <a:ext uri="{FF2B5EF4-FFF2-40B4-BE49-F238E27FC236}">
                            <a16:creationId xmlns:a16="http://schemas.microsoft.com/office/drawing/2014/main" id="{60466F32-6B89-4C1F-BED9-25E1B8336EB3}"/>
                          </a:ext>
                        </a:extLst>
                      </p:cNvPr>
                      <p:cNvSpPr/>
                      <p:nvPr/>
                    </p:nvSpPr>
                    <p:spPr>
                      <a:xfrm>
                        <a:off x="5318451" y="5130878"/>
                        <a:ext cx="10212" cy="11626"/>
                      </a:xfrm>
                      <a:custGeom>
                        <a:avLst/>
                        <a:gdLst>
                          <a:gd name="connsiteX0" fmla="*/ 3155 w 10212"/>
                          <a:gd name="connsiteY0" fmla="*/ 10191 h 11626"/>
                          <a:gd name="connsiteX1" fmla="*/ 2916 w 10212"/>
                          <a:gd name="connsiteY1" fmla="*/ 10071 h 11626"/>
                          <a:gd name="connsiteX2" fmla="*/ 2676 w 10212"/>
                          <a:gd name="connsiteY2" fmla="*/ 9951 h 11626"/>
                          <a:gd name="connsiteX3" fmla="*/ 2437 w 10212"/>
                          <a:gd name="connsiteY3" fmla="*/ 9772 h 11626"/>
                          <a:gd name="connsiteX4" fmla="*/ 2198 w 10212"/>
                          <a:gd name="connsiteY4" fmla="*/ 9592 h 11626"/>
                          <a:gd name="connsiteX5" fmla="*/ 1959 w 10212"/>
                          <a:gd name="connsiteY5" fmla="*/ 9353 h 11626"/>
                          <a:gd name="connsiteX6" fmla="*/ 1719 w 10212"/>
                          <a:gd name="connsiteY6" fmla="*/ 9054 h 11626"/>
                          <a:gd name="connsiteX7" fmla="*/ 1540 w 10212"/>
                          <a:gd name="connsiteY7" fmla="*/ 8696 h 11626"/>
                          <a:gd name="connsiteX8" fmla="*/ 1360 w 10212"/>
                          <a:gd name="connsiteY8" fmla="*/ 8337 h 11626"/>
                          <a:gd name="connsiteX9" fmla="*/ 1181 w 10212"/>
                          <a:gd name="connsiteY9" fmla="*/ 7559 h 11626"/>
                          <a:gd name="connsiteX10" fmla="*/ 1121 w 10212"/>
                          <a:gd name="connsiteY10" fmla="*/ 6722 h 11626"/>
                          <a:gd name="connsiteX11" fmla="*/ 1241 w 10212"/>
                          <a:gd name="connsiteY11" fmla="*/ 5825 h 11626"/>
                          <a:gd name="connsiteX12" fmla="*/ 1540 w 10212"/>
                          <a:gd name="connsiteY12" fmla="*/ 4928 h 11626"/>
                          <a:gd name="connsiteX13" fmla="*/ 1899 w 10212"/>
                          <a:gd name="connsiteY13" fmla="*/ 4150 h 11626"/>
                          <a:gd name="connsiteX14" fmla="*/ 2377 w 10212"/>
                          <a:gd name="connsiteY14" fmla="*/ 3433 h 11626"/>
                          <a:gd name="connsiteX15" fmla="*/ 2975 w 10212"/>
                          <a:gd name="connsiteY15" fmla="*/ 2774 h 11626"/>
                          <a:gd name="connsiteX16" fmla="*/ 3633 w 10212"/>
                          <a:gd name="connsiteY16" fmla="*/ 2236 h 11626"/>
                          <a:gd name="connsiteX17" fmla="*/ 3633 w 10212"/>
                          <a:gd name="connsiteY17" fmla="*/ 2236 h 11626"/>
                          <a:gd name="connsiteX18" fmla="*/ 3633 w 10212"/>
                          <a:gd name="connsiteY18" fmla="*/ 2236 h 11626"/>
                          <a:gd name="connsiteX19" fmla="*/ 3633 w 10212"/>
                          <a:gd name="connsiteY19" fmla="*/ 2236 h 11626"/>
                          <a:gd name="connsiteX20" fmla="*/ 3633 w 10212"/>
                          <a:gd name="connsiteY20" fmla="*/ 2236 h 11626"/>
                          <a:gd name="connsiteX21" fmla="*/ 3693 w 10212"/>
                          <a:gd name="connsiteY21" fmla="*/ 2176 h 11626"/>
                          <a:gd name="connsiteX22" fmla="*/ 3753 w 10212"/>
                          <a:gd name="connsiteY22" fmla="*/ 2117 h 11626"/>
                          <a:gd name="connsiteX23" fmla="*/ 3813 w 10212"/>
                          <a:gd name="connsiteY23" fmla="*/ 2057 h 11626"/>
                          <a:gd name="connsiteX24" fmla="*/ 3873 w 10212"/>
                          <a:gd name="connsiteY24" fmla="*/ 1997 h 11626"/>
                          <a:gd name="connsiteX25" fmla="*/ 4052 w 10212"/>
                          <a:gd name="connsiteY25" fmla="*/ 1877 h 11626"/>
                          <a:gd name="connsiteX26" fmla="*/ 4231 w 10212"/>
                          <a:gd name="connsiteY26" fmla="*/ 1758 h 11626"/>
                          <a:gd name="connsiteX27" fmla="*/ 4411 w 10212"/>
                          <a:gd name="connsiteY27" fmla="*/ 1698 h 11626"/>
                          <a:gd name="connsiteX28" fmla="*/ 4590 w 10212"/>
                          <a:gd name="connsiteY28" fmla="*/ 1638 h 11626"/>
                          <a:gd name="connsiteX29" fmla="*/ 4590 w 10212"/>
                          <a:gd name="connsiteY29" fmla="*/ 1638 h 11626"/>
                          <a:gd name="connsiteX30" fmla="*/ 4590 w 10212"/>
                          <a:gd name="connsiteY30" fmla="*/ 1638 h 11626"/>
                          <a:gd name="connsiteX31" fmla="*/ 4590 w 10212"/>
                          <a:gd name="connsiteY31" fmla="*/ 1638 h 11626"/>
                          <a:gd name="connsiteX32" fmla="*/ 4590 w 10212"/>
                          <a:gd name="connsiteY32" fmla="*/ 1638 h 11626"/>
                          <a:gd name="connsiteX33" fmla="*/ 5607 w 10212"/>
                          <a:gd name="connsiteY33" fmla="*/ 1339 h 11626"/>
                          <a:gd name="connsiteX34" fmla="*/ 6564 w 10212"/>
                          <a:gd name="connsiteY34" fmla="*/ 1279 h 11626"/>
                          <a:gd name="connsiteX35" fmla="*/ 7461 w 10212"/>
                          <a:gd name="connsiteY35" fmla="*/ 1519 h 11626"/>
                          <a:gd name="connsiteX36" fmla="*/ 8238 w 10212"/>
                          <a:gd name="connsiteY36" fmla="*/ 2057 h 11626"/>
                          <a:gd name="connsiteX37" fmla="*/ 8478 w 10212"/>
                          <a:gd name="connsiteY37" fmla="*/ 2296 h 11626"/>
                          <a:gd name="connsiteX38" fmla="*/ 8717 w 10212"/>
                          <a:gd name="connsiteY38" fmla="*/ 2595 h 11626"/>
                          <a:gd name="connsiteX39" fmla="*/ 8896 w 10212"/>
                          <a:gd name="connsiteY39" fmla="*/ 2954 h 11626"/>
                          <a:gd name="connsiteX40" fmla="*/ 9076 w 10212"/>
                          <a:gd name="connsiteY40" fmla="*/ 3313 h 11626"/>
                          <a:gd name="connsiteX41" fmla="*/ 9255 w 10212"/>
                          <a:gd name="connsiteY41" fmla="*/ 4090 h 11626"/>
                          <a:gd name="connsiteX42" fmla="*/ 9315 w 10212"/>
                          <a:gd name="connsiteY42" fmla="*/ 4928 h 11626"/>
                          <a:gd name="connsiteX43" fmla="*/ 9195 w 10212"/>
                          <a:gd name="connsiteY43" fmla="*/ 5825 h 11626"/>
                          <a:gd name="connsiteX44" fmla="*/ 8896 w 10212"/>
                          <a:gd name="connsiteY44" fmla="*/ 6722 h 11626"/>
                          <a:gd name="connsiteX45" fmla="*/ 8657 w 10212"/>
                          <a:gd name="connsiteY45" fmla="*/ 7200 h 11626"/>
                          <a:gd name="connsiteX46" fmla="*/ 8418 w 10212"/>
                          <a:gd name="connsiteY46" fmla="*/ 7679 h 11626"/>
                          <a:gd name="connsiteX47" fmla="*/ 8119 w 10212"/>
                          <a:gd name="connsiteY47" fmla="*/ 8097 h 11626"/>
                          <a:gd name="connsiteX48" fmla="*/ 7760 w 10212"/>
                          <a:gd name="connsiteY48" fmla="*/ 8516 h 11626"/>
                          <a:gd name="connsiteX49" fmla="*/ 7581 w 10212"/>
                          <a:gd name="connsiteY49" fmla="*/ 8696 h 11626"/>
                          <a:gd name="connsiteX50" fmla="*/ 7401 w 10212"/>
                          <a:gd name="connsiteY50" fmla="*/ 8875 h 11626"/>
                          <a:gd name="connsiteX51" fmla="*/ 7222 w 10212"/>
                          <a:gd name="connsiteY51" fmla="*/ 9054 h 11626"/>
                          <a:gd name="connsiteX52" fmla="*/ 7042 w 10212"/>
                          <a:gd name="connsiteY52" fmla="*/ 9234 h 11626"/>
                          <a:gd name="connsiteX53" fmla="*/ 6923 w 10212"/>
                          <a:gd name="connsiteY53" fmla="*/ 9294 h 11626"/>
                          <a:gd name="connsiteX54" fmla="*/ 6803 w 10212"/>
                          <a:gd name="connsiteY54" fmla="*/ 9353 h 11626"/>
                          <a:gd name="connsiteX55" fmla="*/ 6683 w 10212"/>
                          <a:gd name="connsiteY55" fmla="*/ 9413 h 11626"/>
                          <a:gd name="connsiteX56" fmla="*/ 6564 w 10212"/>
                          <a:gd name="connsiteY56" fmla="*/ 9473 h 11626"/>
                          <a:gd name="connsiteX57" fmla="*/ 6026 w 10212"/>
                          <a:gd name="connsiteY57" fmla="*/ 9772 h 11626"/>
                          <a:gd name="connsiteX58" fmla="*/ 5487 w 10212"/>
                          <a:gd name="connsiteY58" fmla="*/ 10011 h 11626"/>
                          <a:gd name="connsiteX59" fmla="*/ 4949 w 10212"/>
                          <a:gd name="connsiteY59" fmla="*/ 10131 h 11626"/>
                          <a:gd name="connsiteX60" fmla="*/ 4411 w 10212"/>
                          <a:gd name="connsiteY60" fmla="*/ 10191 h 11626"/>
                          <a:gd name="connsiteX61" fmla="*/ 4112 w 10212"/>
                          <a:gd name="connsiteY61" fmla="*/ 10191 h 11626"/>
                          <a:gd name="connsiteX62" fmla="*/ 3813 w 10212"/>
                          <a:gd name="connsiteY62" fmla="*/ 10131 h 11626"/>
                          <a:gd name="connsiteX63" fmla="*/ 3514 w 10212"/>
                          <a:gd name="connsiteY63" fmla="*/ 10071 h 11626"/>
                          <a:gd name="connsiteX64" fmla="*/ 3155 w 10212"/>
                          <a:gd name="connsiteY64" fmla="*/ 10191 h 11626"/>
                          <a:gd name="connsiteX65" fmla="*/ 2138 w 10212"/>
                          <a:gd name="connsiteY65" fmla="*/ 9772 h 11626"/>
                          <a:gd name="connsiteX66" fmla="*/ 3035 w 10212"/>
                          <a:gd name="connsiteY66" fmla="*/ 10310 h 11626"/>
                          <a:gd name="connsiteX67" fmla="*/ 4112 w 10212"/>
                          <a:gd name="connsiteY67" fmla="*/ 10490 h 11626"/>
                          <a:gd name="connsiteX68" fmla="*/ 5308 w 10212"/>
                          <a:gd name="connsiteY68" fmla="*/ 10310 h 11626"/>
                          <a:gd name="connsiteX69" fmla="*/ 6564 w 10212"/>
                          <a:gd name="connsiteY69" fmla="*/ 9712 h 11626"/>
                          <a:gd name="connsiteX70" fmla="*/ 7282 w 10212"/>
                          <a:gd name="connsiteY70" fmla="*/ 9114 h 11626"/>
                          <a:gd name="connsiteX71" fmla="*/ 7939 w 10212"/>
                          <a:gd name="connsiteY71" fmla="*/ 8396 h 11626"/>
                          <a:gd name="connsiteX72" fmla="*/ 8478 w 10212"/>
                          <a:gd name="connsiteY72" fmla="*/ 7619 h 11626"/>
                          <a:gd name="connsiteX73" fmla="*/ 8896 w 10212"/>
                          <a:gd name="connsiteY73" fmla="*/ 6722 h 11626"/>
                          <a:gd name="connsiteX74" fmla="*/ 9195 w 10212"/>
                          <a:gd name="connsiteY74" fmla="*/ 5825 h 11626"/>
                          <a:gd name="connsiteX75" fmla="*/ 9315 w 10212"/>
                          <a:gd name="connsiteY75" fmla="*/ 4928 h 11626"/>
                          <a:gd name="connsiteX76" fmla="*/ 9255 w 10212"/>
                          <a:gd name="connsiteY76" fmla="*/ 4030 h 11626"/>
                          <a:gd name="connsiteX77" fmla="*/ 9076 w 10212"/>
                          <a:gd name="connsiteY77" fmla="*/ 3193 h 11626"/>
                          <a:gd name="connsiteX78" fmla="*/ 8896 w 10212"/>
                          <a:gd name="connsiteY78" fmla="*/ 2834 h 11626"/>
                          <a:gd name="connsiteX79" fmla="*/ 8717 w 10212"/>
                          <a:gd name="connsiteY79" fmla="*/ 2475 h 11626"/>
                          <a:gd name="connsiteX80" fmla="*/ 8478 w 10212"/>
                          <a:gd name="connsiteY80" fmla="*/ 2176 h 11626"/>
                          <a:gd name="connsiteX81" fmla="*/ 8238 w 10212"/>
                          <a:gd name="connsiteY81" fmla="*/ 1877 h 11626"/>
                          <a:gd name="connsiteX82" fmla="*/ 7939 w 10212"/>
                          <a:gd name="connsiteY82" fmla="*/ 1638 h 11626"/>
                          <a:gd name="connsiteX83" fmla="*/ 7641 w 10212"/>
                          <a:gd name="connsiteY83" fmla="*/ 1459 h 11626"/>
                          <a:gd name="connsiteX84" fmla="*/ 7341 w 10212"/>
                          <a:gd name="connsiteY84" fmla="*/ 1279 h 11626"/>
                          <a:gd name="connsiteX85" fmla="*/ 6982 w 10212"/>
                          <a:gd name="connsiteY85" fmla="*/ 1160 h 11626"/>
                          <a:gd name="connsiteX86" fmla="*/ 6205 w 10212"/>
                          <a:gd name="connsiteY86" fmla="*/ 1040 h 11626"/>
                          <a:gd name="connsiteX87" fmla="*/ 5427 w 10212"/>
                          <a:gd name="connsiteY87" fmla="*/ 1100 h 11626"/>
                          <a:gd name="connsiteX88" fmla="*/ 4590 w 10212"/>
                          <a:gd name="connsiteY88" fmla="*/ 1339 h 11626"/>
                          <a:gd name="connsiteX89" fmla="*/ 3753 w 10212"/>
                          <a:gd name="connsiteY89" fmla="*/ 1758 h 11626"/>
                          <a:gd name="connsiteX90" fmla="*/ 3035 w 10212"/>
                          <a:gd name="connsiteY90" fmla="*/ 2356 h 11626"/>
                          <a:gd name="connsiteX91" fmla="*/ 2377 w 10212"/>
                          <a:gd name="connsiteY91" fmla="*/ 3074 h 11626"/>
                          <a:gd name="connsiteX92" fmla="*/ 1839 w 10212"/>
                          <a:gd name="connsiteY92" fmla="*/ 3851 h 11626"/>
                          <a:gd name="connsiteX93" fmla="*/ 1420 w 10212"/>
                          <a:gd name="connsiteY93" fmla="*/ 4748 h 11626"/>
                          <a:gd name="connsiteX94" fmla="*/ 1121 w 10212"/>
                          <a:gd name="connsiteY94" fmla="*/ 5645 h 11626"/>
                          <a:gd name="connsiteX95" fmla="*/ 1002 w 10212"/>
                          <a:gd name="connsiteY95" fmla="*/ 6542 h 11626"/>
                          <a:gd name="connsiteX96" fmla="*/ 1062 w 10212"/>
                          <a:gd name="connsiteY96" fmla="*/ 7440 h 11626"/>
                          <a:gd name="connsiteX97" fmla="*/ 1241 w 10212"/>
                          <a:gd name="connsiteY97" fmla="*/ 8277 h 11626"/>
                          <a:gd name="connsiteX98" fmla="*/ 1420 w 10212"/>
                          <a:gd name="connsiteY98" fmla="*/ 8636 h 11626"/>
                          <a:gd name="connsiteX99" fmla="*/ 1600 w 10212"/>
                          <a:gd name="connsiteY99" fmla="*/ 8995 h 11626"/>
                          <a:gd name="connsiteX100" fmla="*/ 1839 w 10212"/>
                          <a:gd name="connsiteY100" fmla="*/ 9294 h 11626"/>
                          <a:gd name="connsiteX101" fmla="*/ 2138 w 10212"/>
                          <a:gd name="connsiteY101" fmla="*/ 9772 h 11626"/>
                          <a:gd name="connsiteX102" fmla="*/ 8896 w 10212"/>
                          <a:gd name="connsiteY102" fmla="*/ 1100 h 11626"/>
                          <a:gd name="connsiteX103" fmla="*/ 9195 w 10212"/>
                          <a:gd name="connsiteY103" fmla="*/ 1459 h 11626"/>
                          <a:gd name="connsiteX104" fmla="*/ 9495 w 10212"/>
                          <a:gd name="connsiteY104" fmla="*/ 1818 h 11626"/>
                          <a:gd name="connsiteX105" fmla="*/ 9734 w 10212"/>
                          <a:gd name="connsiteY105" fmla="*/ 2236 h 11626"/>
                          <a:gd name="connsiteX106" fmla="*/ 9913 w 10212"/>
                          <a:gd name="connsiteY106" fmla="*/ 2715 h 11626"/>
                          <a:gd name="connsiteX107" fmla="*/ 10152 w 10212"/>
                          <a:gd name="connsiteY107" fmla="*/ 3672 h 11626"/>
                          <a:gd name="connsiteX108" fmla="*/ 10212 w 10212"/>
                          <a:gd name="connsiteY108" fmla="*/ 4748 h 11626"/>
                          <a:gd name="connsiteX109" fmla="*/ 10033 w 10212"/>
                          <a:gd name="connsiteY109" fmla="*/ 5825 h 11626"/>
                          <a:gd name="connsiteX110" fmla="*/ 9674 w 10212"/>
                          <a:gd name="connsiteY110" fmla="*/ 6961 h 11626"/>
                          <a:gd name="connsiteX111" fmla="*/ 9136 w 10212"/>
                          <a:gd name="connsiteY111" fmla="*/ 8037 h 11626"/>
                          <a:gd name="connsiteX112" fmla="*/ 8478 w 10212"/>
                          <a:gd name="connsiteY112" fmla="*/ 8995 h 11626"/>
                          <a:gd name="connsiteX113" fmla="*/ 7700 w 10212"/>
                          <a:gd name="connsiteY113" fmla="*/ 9832 h 11626"/>
                          <a:gd name="connsiteX114" fmla="*/ 6803 w 10212"/>
                          <a:gd name="connsiteY114" fmla="*/ 10550 h 11626"/>
                          <a:gd name="connsiteX115" fmla="*/ 5308 w 10212"/>
                          <a:gd name="connsiteY115" fmla="*/ 11267 h 11626"/>
                          <a:gd name="connsiteX116" fmla="*/ 3873 w 10212"/>
                          <a:gd name="connsiteY116" fmla="*/ 11506 h 11626"/>
                          <a:gd name="connsiteX117" fmla="*/ 2557 w 10212"/>
                          <a:gd name="connsiteY117" fmla="*/ 11267 h 11626"/>
                          <a:gd name="connsiteX118" fmla="*/ 1420 w 10212"/>
                          <a:gd name="connsiteY118" fmla="*/ 10609 h 11626"/>
                          <a:gd name="connsiteX119" fmla="*/ 1121 w 10212"/>
                          <a:gd name="connsiteY119" fmla="*/ 10250 h 11626"/>
                          <a:gd name="connsiteX120" fmla="*/ 822 w 10212"/>
                          <a:gd name="connsiteY120" fmla="*/ 9891 h 11626"/>
                          <a:gd name="connsiteX121" fmla="*/ 583 w 10212"/>
                          <a:gd name="connsiteY121" fmla="*/ 9473 h 11626"/>
                          <a:gd name="connsiteX122" fmla="*/ 404 w 10212"/>
                          <a:gd name="connsiteY122" fmla="*/ 8995 h 11626"/>
                          <a:gd name="connsiteX123" fmla="*/ 165 w 10212"/>
                          <a:gd name="connsiteY123" fmla="*/ 8037 h 11626"/>
                          <a:gd name="connsiteX124" fmla="*/ 105 w 10212"/>
                          <a:gd name="connsiteY124" fmla="*/ 6961 h 11626"/>
                          <a:gd name="connsiteX125" fmla="*/ 284 w 10212"/>
                          <a:gd name="connsiteY125" fmla="*/ 5884 h 11626"/>
                          <a:gd name="connsiteX126" fmla="*/ 643 w 10212"/>
                          <a:gd name="connsiteY126" fmla="*/ 4748 h 11626"/>
                          <a:gd name="connsiteX127" fmla="*/ 1181 w 10212"/>
                          <a:gd name="connsiteY127" fmla="*/ 3672 h 11626"/>
                          <a:gd name="connsiteX128" fmla="*/ 1839 w 10212"/>
                          <a:gd name="connsiteY128" fmla="*/ 2715 h 11626"/>
                          <a:gd name="connsiteX129" fmla="*/ 2617 w 10212"/>
                          <a:gd name="connsiteY129" fmla="*/ 1877 h 11626"/>
                          <a:gd name="connsiteX130" fmla="*/ 3514 w 10212"/>
                          <a:gd name="connsiteY130" fmla="*/ 1160 h 11626"/>
                          <a:gd name="connsiteX131" fmla="*/ 4471 w 10212"/>
                          <a:gd name="connsiteY131" fmla="*/ 621 h 11626"/>
                          <a:gd name="connsiteX132" fmla="*/ 5427 w 10212"/>
                          <a:gd name="connsiteY132" fmla="*/ 322 h 11626"/>
                          <a:gd name="connsiteX133" fmla="*/ 6384 w 10212"/>
                          <a:gd name="connsiteY133" fmla="*/ 203 h 11626"/>
                          <a:gd name="connsiteX134" fmla="*/ 7341 w 10212"/>
                          <a:gd name="connsiteY134" fmla="*/ 322 h 11626"/>
                          <a:gd name="connsiteX135" fmla="*/ 7760 w 10212"/>
                          <a:gd name="connsiteY135" fmla="*/ 442 h 11626"/>
                          <a:gd name="connsiteX136" fmla="*/ 8179 w 10212"/>
                          <a:gd name="connsiteY136" fmla="*/ 621 h 11626"/>
                          <a:gd name="connsiteX137" fmla="*/ 8537 w 10212"/>
                          <a:gd name="connsiteY137" fmla="*/ 861 h 11626"/>
                          <a:gd name="connsiteX138" fmla="*/ 8896 w 10212"/>
                          <a:gd name="connsiteY138" fmla="*/ 1100 h 11626"/>
                          <a:gd name="connsiteX139" fmla="*/ 1360 w 10212"/>
                          <a:gd name="connsiteY139" fmla="*/ 10669 h 11626"/>
                          <a:gd name="connsiteX140" fmla="*/ 1480 w 10212"/>
                          <a:gd name="connsiteY140" fmla="*/ 10789 h 11626"/>
                          <a:gd name="connsiteX141" fmla="*/ 1600 w 10212"/>
                          <a:gd name="connsiteY141" fmla="*/ 10908 h 11626"/>
                          <a:gd name="connsiteX142" fmla="*/ 1719 w 10212"/>
                          <a:gd name="connsiteY142" fmla="*/ 11028 h 11626"/>
                          <a:gd name="connsiteX143" fmla="*/ 1839 w 10212"/>
                          <a:gd name="connsiteY143" fmla="*/ 11148 h 11626"/>
                          <a:gd name="connsiteX144" fmla="*/ 2078 w 10212"/>
                          <a:gd name="connsiteY144" fmla="*/ 11267 h 11626"/>
                          <a:gd name="connsiteX145" fmla="*/ 2318 w 10212"/>
                          <a:gd name="connsiteY145" fmla="*/ 11387 h 11626"/>
                          <a:gd name="connsiteX146" fmla="*/ 2557 w 10212"/>
                          <a:gd name="connsiteY146" fmla="*/ 11447 h 11626"/>
                          <a:gd name="connsiteX147" fmla="*/ 2796 w 10212"/>
                          <a:gd name="connsiteY147" fmla="*/ 11506 h 11626"/>
                          <a:gd name="connsiteX148" fmla="*/ 3753 w 10212"/>
                          <a:gd name="connsiteY148" fmla="*/ 11626 h 11626"/>
                          <a:gd name="connsiteX149" fmla="*/ 4770 w 10212"/>
                          <a:gd name="connsiteY149" fmla="*/ 11506 h 11626"/>
                          <a:gd name="connsiteX150" fmla="*/ 5787 w 10212"/>
                          <a:gd name="connsiteY150" fmla="*/ 11207 h 11626"/>
                          <a:gd name="connsiteX151" fmla="*/ 6803 w 10212"/>
                          <a:gd name="connsiteY151" fmla="*/ 10669 h 11626"/>
                          <a:gd name="connsiteX152" fmla="*/ 6923 w 10212"/>
                          <a:gd name="connsiteY152" fmla="*/ 10609 h 11626"/>
                          <a:gd name="connsiteX153" fmla="*/ 7042 w 10212"/>
                          <a:gd name="connsiteY153" fmla="*/ 10550 h 11626"/>
                          <a:gd name="connsiteX154" fmla="*/ 7162 w 10212"/>
                          <a:gd name="connsiteY154" fmla="*/ 10430 h 11626"/>
                          <a:gd name="connsiteX155" fmla="*/ 7282 w 10212"/>
                          <a:gd name="connsiteY155" fmla="*/ 10310 h 11626"/>
                          <a:gd name="connsiteX156" fmla="*/ 7461 w 10212"/>
                          <a:gd name="connsiteY156" fmla="*/ 10131 h 11626"/>
                          <a:gd name="connsiteX157" fmla="*/ 7641 w 10212"/>
                          <a:gd name="connsiteY157" fmla="*/ 9951 h 11626"/>
                          <a:gd name="connsiteX158" fmla="*/ 7820 w 10212"/>
                          <a:gd name="connsiteY158" fmla="*/ 9772 h 11626"/>
                          <a:gd name="connsiteX159" fmla="*/ 7999 w 10212"/>
                          <a:gd name="connsiteY159" fmla="*/ 9592 h 11626"/>
                          <a:gd name="connsiteX160" fmla="*/ 8478 w 10212"/>
                          <a:gd name="connsiteY160" fmla="*/ 8995 h 11626"/>
                          <a:gd name="connsiteX161" fmla="*/ 8956 w 10212"/>
                          <a:gd name="connsiteY161" fmla="*/ 8396 h 11626"/>
                          <a:gd name="connsiteX162" fmla="*/ 9375 w 10212"/>
                          <a:gd name="connsiteY162" fmla="*/ 7738 h 11626"/>
                          <a:gd name="connsiteX163" fmla="*/ 9674 w 10212"/>
                          <a:gd name="connsiteY163" fmla="*/ 7021 h 11626"/>
                          <a:gd name="connsiteX164" fmla="*/ 10033 w 10212"/>
                          <a:gd name="connsiteY164" fmla="*/ 5884 h 11626"/>
                          <a:gd name="connsiteX165" fmla="*/ 10212 w 10212"/>
                          <a:gd name="connsiteY165" fmla="*/ 4748 h 11626"/>
                          <a:gd name="connsiteX166" fmla="*/ 10152 w 10212"/>
                          <a:gd name="connsiteY166" fmla="*/ 3672 h 11626"/>
                          <a:gd name="connsiteX167" fmla="*/ 9913 w 10212"/>
                          <a:gd name="connsiteY167" fmla="*/ 2655 h 11626"/>
                          <a:gd name="connsiteX168" fmla="*/ 9734 w 10212"/>
                          <a:gd name="connsiteY168" fmla="*/ 2176 h 11626"/>
                          <a:gd name="connsiteX169" fmla="*/ 9495 w 10212"/>
                          <a:gd name="connsiteY169" fmla="*/ 1758 h 11626"/>
                          <a:gd name="connsiteX170" fmla="*/ 9195 w 10212"/>
                          <a:gd name="connsiteY170" fmla="*/ 1339 h 11626"/>
                          <a:gd name="connsiteX171" fmla="*/ 8836 w 10212"/>
                          <a:gd name="connsiteY171" fmla="*/ 980 h 11626"/>
                          <a:gd name="connsiteX172" fmla="*/ 7760 w 10212"/>
                          <a:gd name="connsiteY172" fmla="*/ 322 h 11626"/>
                          <a:gd name="connsiteX173" fmla="*/ 6564 w 10212"/>
                          <a:gd name="connsiteY173" fmla="*/ 23 h 11626"/>
                          <a:gd name="connsiteX174" fmla="*/ 5248 w 10212"/>
                          <a:gd name="connsiteY174" fmla="*/ 143 h 11626"/>
                          <a:gd name="connsiteX175" fmla="*/ 3873 w 10212"/>
                          <a:gd name="connsiteY175" fmla="*/ 681 h 11626"/>
                          <a:gd name="connsiteX176" fmla="*/ 3873 w 10212"/>
                          <a:gd name="connsiteY176" fmla="*/ 681 h 11626"/>
                          <a:gd name="connsiteX177" fmla="*/ 3873 w 10212"/>
                          <a:gd name="connsiteY177" fmla="*/ 681 h 11626"/>
                          <a:gd name="connsiteX178" fmla="*/ 3873 w 10212"/>
                          <a:gd name="connsiteY178" fmla="*/ 681 h 11626"/>
                          <a:gd name="connsiteX179" fmla="*/ 3873 w 10212"/>
                          <a:gd name="connsiteY179" fmla="*/ 681 h 11626"/>
                          <a:gd name="connsiteX180" fmla="*/ 3753 w 10212"/>
                          <a:gd name="connsiteY180" fmla="*/ 741 h 11626"/>
                          <a:gd name="connsiteX181" fmla="*/ 3633 w 10212"/>
                          <a:gd name="connsiteY181" fmla="*/ 801 h 11626"/>
                          <a:gd name="connsiteX182" fmla="*/ 3514 w 10212"/>
                          <a:gd name="connsiteY182" fmla="*/ 861 h 11626"/>
                          <a:gd name="connsiteX183" fmla="*/ 3394 w 10212"/>
                          <a:gd name="connsiteY183" fmla="*/ 920 h 11626"/>
                          <a:gd name="connsiteX184" fmla="*/ 2557 w 10212"/>
                          <a:gd name="connsiteY184" fmla="*/ 1519 h 11626"/>
                          <a:gd name="connsiteX185" fmla="*/ 1839 w 10212"/>
                          <a:gd name="connsiteY185" fmla="*/ 2236 h 11626"/>
                          <a:gd name="connsiteX186" fmla="*/ 1241 w 10212"/>
                          <a:gd name="connsiteY186" fmla="*/ 3014 h 11626"/>
                          <a:gd name="connsiteX187" fmla="*/ 763 w 10212"/>
                          <a:gd name="connsiteY187" fmla="*/ 3851 h 11626"/>
                          <a:gd name="connsiteX188" fmla="*/ 284 w 10212"/>
                          <a:gd name="connsiteY188" fmla="*/ 5107 h 11626"/>
                          <a:gd name="connsiteX189" fmla="*/ 45 w 10212"/>
                          <a:gd name="connsiteY189" fmla="*/ 6423 h 11626"/>
                          <a:gd name="connsiteX190" fmla="*/ 45 w 10212"/>
                          <a:gd name="connsiteY190" fmla="*/ 7679 h 11626"/>
                          <a:gd name="connsiteX191" fmla="*/ 344 w 10212"/>
                          <a:gd name="connsiteY191" fmla="*/ 8875 h 11626"/>
                          <a:gd name="connsiteX192" fmla="*/ 523 w 10212"/>
                          <a:gd name="connsiteY192" fmla="*/ 9353 h 11626"/>
                          <a:gd name="connsiteX193" fmla="*/ 763 w 10212"/>
                          <a:gd name="connsiteY193" fmla="*/ 9772 h 11626"/>
                          <a:gd name="connsiteX194" fmla="*/ 1062 w 10212"/>
                          <a:gd name="connsiteY194" fmla="*/ 10191 h 11626"/>
                          <a:gd name="connsiteX195" fmla="*/ 1360 w 10212"/>
                          <a:gd name="connsiteY195" fmla="*/ 10669 h 11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0212" h="11626">
                            <a:moveTo>
                              <a:pt x="3155" y="10191"/>
                            </a:moveTo>
                            <a:cubicBezTo>
                              <a:pt x="3095" y="10131"/>
                              <a:pt x="2975" y="10131"/>
                              <a:pt x="2916" y="10071"/>
                            </a:cubicBezTo>
                            <a:cubicBezTo>
                              <a:pt x="2856" y="10011"/>
                              <a:pt x="2736" y="10011"/>
                              <a:pt x="2676" y="9951"/>
                            </a:cubicBezTo>
                            <a:cubicBezTo>
                              <a:pt x="2617" y="9891"/>
                              <a:pt x="2497" y="9832"/>
                              <a:pt x="2437" y="9772"/>
                            </a:cubicBezTo>
                            <a:cubicBezTo>
                              <a:pt x="2377" y="9712"/>
                              <a:pt x="2318" y="9652"/>
                              <a:pt x="2198" y="9592"/>
                            </a:cubicBezTo>
                            <a:cubicBezTo>
                              <a:pt x="2078" y="9533"/>
                              <a:pt x="2019" y="9413"/>
                              <a:pt x="1959" y="9353"/>
                            </a:cubicBezTo>
                            <a:cubicBezTo>
                              <a:pt x="1899" y="9234"/>
                              <a:pt x="1779" y="9174"/>
                              <a:pt x="1719" y="9054"/>
                            </a:cubicBezTo>
                            <a:cubicBezTo>
                              <a:pt x="1660" y="8935"/>
                              <a:pt x="1600" y="8815"/>
                              <a:pt x="1540" y="8696"/>
                            </a:cubicBezTo>
                            <a:cubicBezTo>
                              <a:pt x="1480" y="8576"/>
                              <a:pt x="1420" y="8456"/>
                              <a:pt x="1360" y="8337"/>
                            </a:cubicBezTo>
                            <a:cubicBezTo>
                              <a:pt x="1301" y="8097"/>
                              <a:pt x="1241" y="7798"/>
                              <a:pt x="1181" y="7559"/>
                            </a:cubicBezTo>
                            <a:cubicBezTo>
                              <a:pt x="1121" y="7260"/>
                              <a:pt x="1121" y="7021"/>
                              <a:pt x="1121" y="6722"/>
                            </a:cubicBezTo>
                            <a:cubicBezTo>
                              <a:pt x="1121" y="6423"/>
                              <a:pt x="1181" y="6124"/>
                              <a:pt x="1241" y="5825"/>
                            </a:cubicBezTo>
                            <a:cubicBezTo>
                              <a:pt x="1301" y="5526"/>
                              <a:pt x="1420" y="5227"/>
                              <a:pt x="1540" y="4928"/>
                            </a:cubicBezTo>
                            <a:cubicBezTo>
                              <a:pt x="1660" y="4629"/>
                              <a:pt x="1779" y="4389"/>
                              <a:pt x="1899" y="4150"/>
                            </a:cubicBezTo>
                            <a:cubicBezTo>
                              <a:pt x="2019" y="3911"/>
                              <a:pt x="2198" y="3672"/>
                              <a:pt x="2377" y="3433"/>
                            </a:cubicBezTo>
                            <a:cubicBezTo>
                              <a:pt x="2557" y="3193"/>
                              <a:pt x="2736" y="3014"/>
                              <a:pt x="2975" y="2774"/>
                            </a:cubicBezTo>
                            <a:cubicBezTo>
                              <a:pt x="3155" y="2595"/>
                              <a:pt x="3394" y="2416"/>
                              <a:pt x="3633" y="2236"/>
                            </a:cubicBezTo>
                            <a:cubicBezTo>
                              <a:pt x="3633" y="2236"/>
                              <a:pt x="3633" y="2236"/>
                              <a:pt x="3633" y="2236"/>
                            </a:cubicBezTo>
                            <a:cubicBezTo>
                              <a:pt x="3633" y="2236"/>
                              <a:pt x="3633" y="2236"/>
                              <a:pt x="3633" y="2236"/>
                            </a:cubicBezTo>
                            <a:cubicBezTo>
                              <a:pt x="3633" y="2236"/>
                              <a:pt x="3633" y="2236"/>
                              <a:pt x="3633" y="2236"/>
                            </a:cubicBezTo>
                            <a:cubicBezTo>
                              <a:pt x="3633" y="2236"/>
                              <a:pt x="3633" y="2236"/>
                              <a:pt x="3633" y="2236"/>
                            </a:cubicBezTo>
                            <a:cubicBezTo>
                              <a:pt x="3633" y="2236"/>
                              <a:pt x="3693" y="2236"/>
                              <a:pt x="3693" y="2176"/>
                            </a:cubicBezTo>
                            <a:cubicBezTo>
                              <a:pt x="3693" y="2176"/>
                              <a:pt x="3753" y="2176"/>
                              <a:pt x="3753" y="2117"/>
                            </a:cubicBezTo>
                            <a:cubicBezTo>
                              <a:pt x="3753" y="2117"/>
                              <a:pt x="3813" y="2117"/>
                              <a:pt x="3813" y="2057"/>
                            </a:cubicBezTo>
                            <a:cubicBezTo>
                              <a:pt x="3813" y="2057"/>
                              <a:pt x="3873" y="2057"/>
                              <a:pt x="3873" y="1997"/>
                            </a:cubicBezTo>
                            <a:cubicBezTo>
                              <a:pt x="3932" y="1937"/>
                              <a:pt x="3992" y="1937"/>
                              <a:pt x="4052" y="1877"/>
                            </a:cubicBezTo>
                            <a:cubicBezTo>
                              <a:pt x="4112" y="1818"/>
                              <a:pt x="4172" y="1818"/>
                              <a:pt x="4231" y="1758"/>
                            </a:cubicBezTo>
                            <a:cubicBezTo>
                              <a:pt x="4291" y="1698"/>
                              <a:pt x="4351" y="1698"/>
                              <a:pt x="4411" y="1698"/>
                            </a:cubicBezTo>
                            <a:cubicBezTo>
                              <a:pt x="4471" y="1698"/>
                              <a:pt x="4530" y="1638"/>
                              <a:pt x="4590" y="1638"/>
                            </a:cubicBezTo>
                            <a:cubicBezTo>
                              <a:pt x="4590" y="1638"/>
                              <a:pt x="4590" y="1638"/>
                              <a:pt x="4590" y="1638"/>
                            </a:cubicBezTo>
                            <a:cubicBezTo>
                              <a:pt x="4590" y="1638"/>
                              <a:pt x="4590" y="1638"/>
                              <a:pt x="4590" y="1638"/>
                            </a:cubicBezTo>
                            <a:cubicBezTo>
                              <a:pt x="4590" y="1638"/>
                              <a:pt x="4590" y="1638"/>
                              <a:pt x="4590" y="1638"/>
                            </a:cubicBezTo>
                            <a:cubicBezTo>
                              <a:pt x="4590" y="1638"/>
                              <a:pt x="4590" y="1638"/>
                              <a:pt x="4590" y="1638"/>
                            </a:cubicBezTo>
                            <a:cubicBezTo>
                              <a:pt x="4949" y="1459"/>
                              <a:pt x="5248" y="1399"/>
                              <a:pt x="5607" y="1339"/>
                            </a:cubicBezTo>
                            <a:cubicBezTo>
                              <a:pt x="5966" y="1279"/>
                              <a:pt x="6265" y="1279"/>
                              <a:pt x="6564" y="1279"/>
                            </a:cubicBezTo>
                            <a:cubicBezTo>
                              <a:pt x="6863" y="1339"/>
                              <a:pt x="7162" y="1399"/>
                              <a:pt x="7461" y="1519"/>
                            </a:cubicBezTo>
                            <a:cubicBezTo>
                              <a:pt x="7760" y="1638"/>
                              <a:pt x="7999" y="1818"/>
                              <a:pt x="8238" y="2057"/>
                            </a:cubicBezTo>
                            <a:cubicBezTo>
                              <a:pt x="8358" y="2117"/>
                              <a:pt x="8418" y="2236"/>
                              <a:pt x="8478" y="2296"/>
                            </a:cubicBezTo>
                            <a:cubicBezTo>
                              <a:pt x="8537" y="2416"/>
                              <a:pt x="8657" y="2475"/>
                              <a:pt x="8717" y="2595"/>
                            </a:cubicBezTo>
                            <a:cubicBezTo>
                              <a:pt x="8777" y="2715"/>
                              <a:pt x="8836" y="2834"/>
                              <a:pt x="8896" y="2954"/>
                            </a:cubicBezTo>
                            <a:cubicBezTo>
                              <a:pt x="8956" y="3074"/>
                              <a:pt x="9016" y="3193"/>
                              <a:pt x="9076" y="3313"/>
                            </a:cubicBezTo>
                            <a:cubicBezTo>
                              <a:pt x="9136" y="3552"/>
                              <a:pt x="9195" y="3851"/>
                              <a:pt x="9255" y="4090"/>
                            </a:cubicBezTo>
                            <a:cubicBezTo>
                              <a:pt x="9315" y="4389"/>
                              <a:pt x="9315" y="4629"/>
                              <a:pt x="9315" y="4928"/>
                            </a:cubicBezTo>
                            <a:cubicBezTo>
                              <a:pt x="9315" y="5227"/>
                              <a:pt x="9255" y="5526"/>
                              <a:pt x="9195" y="5825"/>
                            </a:cubicBezTo>
                            <a:cubicBezTo>
                              <a:pt x="9136" y="6124"/>
                              <a:pt x="9016" y="6423"/>
                              <a:pt x="8896" y="6722"/>
                            </a:cubicBezTo>
                            <a:cubicBezTo>
                              <a:pt x="8836" y="6901"/>
                              <a:pt x="8777" y="7081"/>
                              <a:pt x="8657" y="7200"/>
                            </a:cubicBezTo>
                            <a:cubicBezTo>
                              <a:pt x="8597" y="7380"/>
                              <a:pt x="8478" y="7499"/>
                              <a:pt x="8418" y="7679"/>
                            </a:cubicBezTo>
                            <a:cubicBezTo>
                              <a:pt x="8358" y="7858"/>
                              <a:pt x="8238" y="7978"/>
                              <a:pt x="8119" y="8097"/>
                            </a:cubicBezTo>
                            <a:cubicBezTo>
                              <a:pt x="7999" y="8217"/>
                              <a:pt x="7880" y="8396"/>
                              <a:pt x="7760" y="8516"/>
                            </a:cubicBezTo>
                            <a:cubicBezTo>
                              <a:pt x="7700" y="8576"/>
                              <a:pt x="7641" y="8636"/>
                              <a:pt x="7581" y="8696"/>
                            </a:cubicBezTo>
                            <a:cubicBezTo>
                              <a:pt x="7521" y="8755"/>
                              <a:pt x="7461" y="8815"/>
                              <a:pt x="7401" y="8875"/>
                            </a:cubicBezTo>
                            <a:cubicBezTo>
                              <a:pt x="7341" y="8935"/>
                              <a:pt x="7282" y="8995"/>
                              <a:pt x="7222" y="9054"/>
                            </a:cubicBezTo>
                            <a:cubicBezTo>
                              <a:pt x="7162" y="9114"/>
                              <a:pt x="7102" y="9174"/>
                              <a:pt x="7042" y="9234"/>
                            </a:cubicBezTo>
                            <a:cubicBezTo>
                              <a:pt x="6982" y="9234"/>
                              <a:pt x="6982" y="9294"/>
                              <a:pt x="6923" y="9294"/>
                            </a:cubicBezTo>
                            <a:cubicBezTo>
                              <a:pt x="6863" y="9294"/>
                              <a:pt x="6863" y="9353"/>
                              <a:pt x="6803" y="9353"/>
                            </a:cubicBezTo>
                            <a:cubicBezTo>
                              <a:pt x="6743" y="9353"/>
                              <a:pt x="6743" y="9413"/>
                              <a:pt x="6683" y="9413"/>
                            </a:cubicBezTo>
                            <a:cubicBezTo>
                              <a:pt x="6624" y="9413"/>
                              <a:pt x="6624" y="9473"/>
                              <a:pt x="6564" y="9473"/>
                            </a:cubicBezTo>
                            <a:cubicBezTo>
                              <a:pt x="6384" y="9592"/>
                              <a:pt x="6205" y="9712"/>
                              <a:pt x="6026" y="9772"/>
                            </a:cubicBezTo>
                            <a:cubicBezTo>
                              <a:pt x="5846" y="9832"/>
                              <a:pt x="5667" y="9951"/>
                              <a:pt x="5487" y="10011"/>
                            </a:cubicBezTo>
                            <a:cubicBezTo>
                              <a:pt x="5308" y="10071"/>
                              <a:pt x="5128" y="10131"/>
                              <a:pt x="4949" y="10131"/>
                            </a:cubicBezTo>
                            <a:cubicBezTo>
                              <a:pt x="4770" y="10191"/>
                              <a:pt x="4590" y="10191"/>
                              <a:pt x="4411" y="10191"/>
                            </a:cubicBezTo>
                            <a:cubicBezTo>
                              <a:pt x="4291" y="10191"/>
                              <a:pt x="4231" y="10191"/>
                              <a:pt x="4112" y="10191"/>
                            </a:cubicBezTo>
                            <a:cubicBezTo>
                              <a:pt x="3992" y="10191"/>
                              <a:pt x="3932" y="10191"/>
                              <a:pt x="3813" y="10131"/>
                            </a:cubicBezTo>
                            <a:cubicBezTo>
                              <a:pt x="3693" y="10071"/>
                              <a:pt x="3633" y="10071"/>
                              <a:pt x="3514" y="10071"/>
                            </a:cubicBezTo>
                            <a:cubicBezTo>
                              <a:pt x="3334" y="10250"/>
                              <a:pt x="3274" y="10250"/>
                              <a:pt x="3155" y="10191"/>
                            </a:cubicBezTo>
                            <a:moveTo>
                              <a:pt x="2138" y="9772"/>
                            </a:moveTo>
                            <a:cubicBezTo>
                              <a:pt x="2377" y="10011"/>
                              <a:pt x="2736" y="10191"/>
                              <a:pt x="3035" y="10310"/>
                            </a:cubicBezTo>
                            <a:cubicBezTo>
                              <a:pt x="3394" y="10430"/>
                              <a:pt x="3753" y="10490"/>
                              <a:pt x="4112" y="10490"/>
                            </a:cubicBezTo>
                            <a:cubicBezTo>
                              <a:pt x="4471" y="10490"/>
                              <a:pt x="4889" y="10430"/>
                              <a:pt x="5308" y="10310"/>
                            </a:cubicBezTo>
                            <a:cubicBezTo>
                              <a:pt x="5727" y="10191"/>
                              <a:pt x="6145" y="10011"/>
                              <a:pt x="6564" y="9712"/>
                            </a:cubicBezTo>
                            <a:cubicBezTo>
                              <a:pt x="6803" y="9533"/>
                              <a:pt x="7042" y="9353"/>
                              <a:pt x="7282" y="9114"/>
                            </a:cubicBezTo>
                            <a:cubicBezTo>
                              <a:pt x="7521" y="8875"/>
                              <a:pt x="7700" y="8696"/>
                              <a:pt x="7939" y="8396"/>
                            </a:cubicBezTo>
                            <a:cubicBezTo>
                              <a:pt x="8179" y="8097"/>
                              <a:pt x="8298" y="7858"/>
                              <a:pt x="8478" y="7619"/>
                            </a:cubicBezTo>
                            <a:cubicBezTo>
                              <a:pt x="8657" y="7320"/>
                              <a:pt x="8777" y="7021"/>
                              <a:pt x="8896" y="6722"/>
                            </a:cubicBezTo>
                            <a:cubicBezTo>
                              <a:pt x="9016" y="6423"/>
                              <a:pt x="9136" y="6124"/>
                              <a:pt x="9195" y="5825"/>
                            </a:cubicBezTo>
                            <a:cubicBezTo>
                              <a:pt x="9255" y="5526"/>
                              <a:pt x="9315" y="5227"/>
                              <a:pt x="9315" y="4928"/>
                            </a:cubicBezTo>
                            <a:cubicBezTo>
                              <a:pt x="9315" y="4629"/>
                              <a:pt x="9315" y="4329"/>
                              <a:pt x="9255" y="4030"/>
                            </a:cubicBezTo>
                            <a:cubicBezTo>
                              <a:pt x="9195" y="3732"/>
                              <a:pt x="9136" y="3492"/>
                              <a:pt x="9076" y="3193"/>
                            </a:cubicBezTo>
                            <a:cubicBezTo>
                              <a:pt x="9016" y="3074"/>
                              <a:pt x="8956" y="2954"/>
                              <a:pt x="8896" y="2834"/>
                            </a:cubicBezTo>
                            <a:cubicBezTo>
                              <a:pt x="8836" y="2715"/>
                              <a:pt x="8777" y="2595"/>
                              <a:pt x="8717" y="2475"/>
                            </a:cubicBezTo>
                            <a:cubicBezTo>
                              <a:pt x="8657" y="2356"/>
                              <a:pt x="8597" y="2236"/>
                              <a:pt x="8478" y="2176"/>
                            </a:cubicBezTo>
                            <a:cubicBezTo>
                              <a:pt x="8358" y="2117"/>
                              <a:pt x="8298" y="1997"/>
                              <a:pt x="8238" y="1877"/>
                            </a:cubicBezTo>
                            <a:cubicBezTo>
                              <a:pt x="8179" y="1818"/>
                              <a:pt x="8059" y="1698"/>
                              <a:pt x="7939" y="1638"/>
                            </a:cubicBezTo>
                            <a:cubicBezTo>
                              <a:pt x="7820" y="1579"/>
                              <a:pt x="7760" y="1519"/>
                              <a:pt x="7641" y="1459"/>
                            </a:cubicBezTo>
                            <a:cubicBezTo>
                              <a:pt x="7521" y="1399"/>
                              <a:pt x="7401" y="1339"/>
                              <a:pt x="7341" y="1279"/>
                            </a:cubicBezTo>
                            <a:cubicBezTo>
                              <a:pt x="7282" y="1220"/>
                              <a:pt x="7102" y="1220"/>
                              <a:pt x="6982" y="1160"/>
                            </a:cubicBezTo>
                            <a:cubicBezTo>
                              <a:pt x="6743" y="1100"/>
                              <a:pt x="6444" y="1040"/>
                              <a:pt x="6205" y="1040"/>
                            </a:cubicBezTo>
                            <a:cubicBezTo>
                              <a:pt x="5966" y="1040"/>
                              <a:pt x="5667" y="1040"/>
                              <a:pt x="5427" y="1100"/>
                            </a:cubicBezTo>
                            <a:cubicBezTo>
                              <a:pt x="5128" y="1160"/>
                              <a:pt x="4889" y="1220"/>
                              <a:pt x="4590" y="1339"/>
                            </a:cubicBezTo>
                            <a:cubicBezTo>
                              <a:pt x="4291" y="1459"/>
                              <a:pt x="4052" y="1579"/>
                              <a:pt x="3753" y="1758"/>
                            </a:cubicBezTo>
                            <a:cubicBezTo>
                              <a:pt x="3514" y="1937"/>
                              <a:pt x="3214" y="2117"/>
                              <a:pt x="3035" y="2356"/>
                            </a:cubicBezTo>
                            <a:cubicBezTo>
                              <a:pt x="2796" y="2595"/>
                              <a:pt x="2617" y="2774"/>
                              <a:pt x="2377" y="3074"/>
                            </a:cubicBezTo>
                            <a:cubicBezTo>
                              <a:pt x="2198" y="3313"/>
                              <a:pt x="2019" y="3612"/>
                              <a:pt x="1839" y="3851"/>
                            </a:cubicBezTo>
                            <a:cubicBezTo>
                              <a:pt x="1660" y="4150"/>
                              <a:pt x="1540" y="4389"/>
                              <a:pt x="1420" y="4748"/>
                            </a:cubicBezTo>
                            <a:cubicBezTo>
                              <a:pt x="1301" y="5047"/>
                              <a:pt x="1181" y="5346"/>
                              <a:pt x="1121" y="5645"/>
                            </a:cubicBezTo>
                            <a:cubicBezTo>
                              <a:pt x="1062" y="5944"/>
                              <a:pt x="1002" y="6243"/>
                              <a:pt x="1002" y="6542"/>
                            </a:cubicBezTo>
                            <a:cubicBezTo>
                              <a:pt x="1002" y="6842"/>
                              <a:pt x="1002" y="7141"/>
                              <a:pt x="1062" y="7440"/>
                            </a:cubicBezTo>
                            <a:cubicBezTo>
                              <a:pt x="1121" y="7738"/>
                              <a:pt x="1181" y="7978"/>
                              <a:pt x="1241" y="8277"/>
                            </a:cubicBezTo>
                            <a:cubicBezTo>
                              <a:pt x="1301" y="8396"/>
                              <a:pt x="1360" y="8516"/>
                              <a:pt x="1420" y="8636"/>
                            </a:cubicBezTo>
                            <a:cubicBezTo>
                              <a:pt x="1480" y="8755"/>
                              <a:pt x="1540" y="8875"/>
                              <a:pt x="1600" y="8995"/>
                            </a:cubicBezTo>
                            <a:cubicBezTo>
                              <a:pt x="1660" y="9114"/>
                              <a:pt x="1719" y="9234"/>
                              <a:pt x="1839" y="9294"/>
                            </a:cubicBezTo>
                            <a:cubicBezTo>
                              <a:pt x="1959" y="9592"/>
                              <a:pt x="2019" y="9652"/>
                              <a:pt x="2138" y="9772"/>
                            </a:cubicBezTo>
                            <a:moveTo>
                              <a:pt x="8896" y="1100"/>
                            </a:moveTo>
                            <a:cubicBezTo>
                              <a:pt x="9016" y="1220"/>
                              <a:pt x="9136" y="1339"/>
                              <a:pt x="9195" y="1459"/>
                            </a:cubicBezTo>
                            <a:cubicBezTo>
                              <a:pt x="9315" y="1579"/>
                              <a:pt x="9375" y="1698"/>
                              <a:pt x="9495" y="1818"/>
                            </a:cubicBezTo>
                            <a:cubicBezTo>
                              <a:pt x="9554" y="1937"/>
                              <a:pt x="9674" y="2117"/>
                              <a:pt x="9734" y="2236"/>
                            </a:cubicBezTo>
                            <a:cubicBezTo>
                              <a:pt x="9794" y="2416"/>
                              <a:pt x="9853" y="2535"/>
                              <a:pt x="9913" y="2715"/>
                            </a:cubicBezTo>
                            <a:cubicBezTo>
                              <a:pt x="10033" y="3014"/>
                              <a:pt x="10092" y="3373"/>
                              <a:pt x="10152" y="3672"/>
                            </a:cubicBezTo>
                            <a:cubicBezTo>
                              <a:pt x="10212" y="4030"/>
                              <a:pt x="10212" y="4389"/>
                              <a:pt x="10212" y="4748"/>
                            </a:cubicBezTo>
                            <a:cubicBezTo>
                              <a:pt x="10212" y="5107"/>
                              <a:pt x="10152" y="5466"/>
                              <a:pt x="10033" y="5825"/>
                            </a:cubicBezTo>
                            <a:cubicBezTo>
                              <a:pt x="9973" y="6183"/>
                              <a:pt x="9853" y="6602"/>
                              <a:pt x="9674" y="6961"/>
                            </a:cubicBezTo>
                            <a:cubicBezTo>
                              <a:pt x="9554" y="7320"/>
                              <a:pt x="9375" y="7679"/>
                              <a:pt x="9136" y="8037"/>
                            </a:cubicBezTo>
                            <a:cubicBezTo>
                              <a:pt x="8956" y="8396"/>
                              <a:pt x="8717" y="8696"/>
                              <a:pt x="8478" y="8995"/>
                            </a:cubicBezTo>
                            <a:cubicBezTo>
                              <a:pt x="8238" y="9294"/>
                              <a:pt x="7939" y="9592"/>
                              <a:pt x="7700" y="9832"/>
                            </a:cubicBezTo>
                            <a:cubicBezTo>
                              <a:pt x="7401" y="10071"/>
                              <a:pt x="7102" y="10310"/>
                              <a:pt x="6803" y="10550"/>
                            </a:cubicBezTo>
                            <a:cubicBezTo>
                              <a:pt x="6325" y="10849"/>
                              <a:pt x="5846" y="11088"/>
                              <a:pt x="5308" y="11267"/>
                            </a:cubicBezTo>
                            <a:cubicBezTo>
                              <a:pt x="4829" y="11447"/>
                              <a:pt x="4351" y="11506"/>
                              <a:pt x="3873" y="11506"/>
                            </a:cubicBezTo>
                            <a:cubicBezTo>
                              <a:pt x="3394" y="11506"/>
                              <a:pt x="2975" y="11447"/>
                              <a:pt x="2557" y="11267"/>
                            </a:cubicBezTo>
                            <a:cubicBezTo>
                              <a:pt x="2138" y="11088"/>
                              <a:pt x="1779" y="10908"/>
                              <a:pt x="1420" y="10609"/>
                            </a:cubicBezTo>
                            <a:cubicBezTo>
                              <a:pt x="1301" y="10490"/>
                              <a:pt x="1181" y="10370"/>
                              <a:pt x="1121" y="10250"/>
                            </a:cubicBezTo>
                            <a:cubicBezTo>
                              <a:pt x="1002" y="10131"/>
                              <a:pt x="942" y="10011"/>
                              <a:pt x="822" y="9891"/>
                            </a:cubicBezTo>
                            <a:cubicBezTo>
                              <a:pt x="763" y="9772"/>
                              <a:pt x="643" y="9592"/>
                              <a:pt x="583" y="9473"/>
                            </a:cubicBezTo>
                            <a:cubicBezTo>
                              <a:pt x="523" y="9294"/>
                              <a:pt x="464" y="9174"/>
                              <a:pt x="404" y="8995"/>
                            </a:cubicBezTo>
                            <a:cubicBezTo>
                              <a:pt x="284" y="8696"/>
                              <a:pt x="224" y="8337"/>
                              <a:pt x="165" y="8037"/>
                            </a:cubicBezTo>
                            <a:cubicBezTo>
                              <a:pt x="105" y="7679"/>
                              <a:pt x="105" y="7320"/>
                              <a:pt x="105" y="6961"/>
                            </a:cubicBezTo>
                            <a:cubicBezTo>
                              <a:pt x="105" y="6602"/>
                              <a:pt x="165" y="6243"/>
                              <a:pt x="284" y="5884"/>
                            </a:cubicBezTo>
                            <a:cubicBezTo>
                              <a:pt x="344" y="5526"/>
                              <a:pt x="464" y="5167"/>
                              <a:pt x="643" y="4748"/>
                            </a:cubicBezTo>
                            <a:cubicBezTo>
                              <a:pt x="763" y="4389"/>
                              <a:pt x="942" y="4030"/>
                              <a:pt x="1181" y="3672"/>
                            </a:cubicBezTo>
                            <a:cubicBezTo>
                              <a:pt x="1360" y="3313"/>
                              <a:pt x="1600" y="3014"/>
                              <a:pt x="1839" y="2715"/>
                            </a:cubicBezTo>
                            <a:cubicBezTo>
                              <a:pt x="2078" y="2416"/>
                              <a:pt x="2377" y="2117"/>
                              <a:pt x="2617" y="1877"/>
                            </a:cubicBezTo>
                            <a:cubicBezTo>
                              <a:pt x="2916" y="1638"/>
                              <a:pt x="3214" y="1399"/>
                              <a:pt x="3514" y="1160"/>
                            </a:cubicBezTo>
                            <a:cubicBezTo>
                              <a:pt x="3813" y="920"/>
                              <a:pt x="4172" y="741"/>
                              <a:pt x="4471" y="621"/>
                            </a:cubicBezTo>
                            <a:cubicBezTo>
                              <a:pt x="4770" y="502"/>
                              <a:pt x="5128" y="382"/>
                              <a:pt x="5427" y="322"/>
                            </a:cubicBezTo>
                            <a:cubicBezTo>
                              <a:pt x="5727" y="263"/>
                              <a:pt x="6085" y="203"/>
                              <a:pt x="6384" y="203"/>
                            </a:cubicBezTo>
                            <a:cubicBezTo>
                              <a:pt x="6683" y="203"/>
                              <a:pt x="7042" y="263"/>
                              <a:pt x="7341" y="322"/>
                            </a:cubicBezTo>
                            <a:cubicBezTo>
                              <a:pt x="7461" y="382"/>
                              <a:pt x="7641" y="382"/>
                              <a:pt x="7760" y="442"/>
                            </a:cubicBezTo>
                            <a:cubicBezTo>
                              <a:pt x="7880" y="502"/>
                              <a:pt x="7999" y="562"/>
                              <a:pt x="8179" y="621"/>
                            </a:cubicBezTo>
                            <a:cubicBezTo>
                              <a:pt x="8358" y="681"/>
                              <a:pt x="8418" y="741"/>
                              <a:pt x="8537" y="861"/>
                            </a:cubicBezTo>
                            <a:cubicBezTo>
                              <a:pt x="8717" y="920"/>
                              <a:pt x="8836" y="1040"/>
                              <a:pt x="8896" y="1100"/>
                            </a:cubicBezTo>
                            <a:moveTo>
                              <a:pt x="1360" y="10669"/>
                            </a:moveTo>
                            <a:cubicBezTo>
                              <a:pt x="1420" y="10729"/>
                              <a:pt x="1420" y="10729"/>
                              <a:pt x="1480" y="10789"/>
                            </a:cubicBezTo>
                            <a:cubicBezTo>
                              <a:pt x="1540" y="10849"/>
                              <a:pt x="1600" y="10849"/>
                              <a:pt x="1600" y="10908"/>
                            </a:cubicBezTo>
                            <a:cubicBezTo>
                              <a:pt x="1600" y="10968"/>
                              <a:pt x="1719" y="10968"/>
                              <a:pt x="1719" y="11028"/>
                            </a:cubicBezTo>
                            <a:cubicBezTo>
                              <a:pt x="1779" y="11088"/>
                              <a:pt x="1839" y="11088"/>
                              <a:pt x="1839" y="11148"/>
                            </a:cubicBezTo>
                            <a:cubicBezTo>
                              <a:pt x="1899" y="11207"/>
                              <a:pt x="1959" y="11207"/>
                              <a:pt x="2078" y="11267"/>
                            </a:cubicBezTo>
                            <a:cubicBezTo>
                              <a:pt x="2138" y="11327"/>
                              <a:pt x="2258" y="11327"/>
                              <a:pt x="2318" y="11387"/>
                            </a:cubicBezTo>
                            <a:cubicBezTo>
                              <a:pt x="2377" y="11447"/>
                              <a:pt x="2497" y="11447"/>
                              <a:pt x="2557" y="11447"/>
                            </a:cubicBezTo>
                            <a:cubicBezTo>
                              <a:pt x="2617" y="11447"/>
                              <a:pt x="2736" y="11506"/>
                              <a:pt x="2796" y="11506"/>
                            </a:cubicBezTo>
                            <a:cubicBezTo>
                              <a:pt x="3095" y="11566"/>
                              <a:pt x="3454" y="11626"/>
                              <a:pt x="3753" y="11626"/>
                            </a:cubicBezTo>
                            <a:cubicBezTo>
                              <a:pt x="4052" y="11626"/>
                              <a:pt x="4411" y="11626"/>
                              <a:pt x="4770" y="11506"/>
                            </a:cubicBezTo>
                            <a:cubicBezTo>
                              <a:pt x="5128" y="11447"/>
                              <a:pt x="5487" y="11327"/>
                              <a:pt x="5787" y="11207"/>
                            </a:cubicBezTo>
                            <a:cubicBezTo>
                              <a:pt x="6145" y="11088"/>
                              <a:pt x="6444" y="10908"/>
                              <a:pt x="6803" y="10669"/>
                            </a:cubicBezTo>
                            <a:cubicBezTo>
                              <a:pt x="6863" y="10669"/>
                              <a:pt x="6863" y="10609"/>
                              <a:pt x="6923" y="10609"/>
                            </a:cubicBezTo>
                            <a:cubicBezTo>
                              <a:pt x="6982" y="10609"/>
                              <a:pt x="6982" y="10550"/>
                              <a:pt x="7042" y="10550"/>
                            </a:cubicBezTo>
                            <a:cubicBezTo>
                              <a:pt x="7102" y="10550"/>
                              <a:pt x="7102" y="10490"/>
                              <a:pt x="7162" y="10430"/>
                            </a:cubicBezTo>
                            <a:cubicBezTo>
                              <a:pt x="7222" y="10370"/>
                              <a:pt x="7222" y="10370"/>
                              <a:pt x="7282" y="10310"/>
                            </a:cubicBezTo>
                            <a:cubicBezTo>
                              <a:pt x="7341" y="10250"/>
                              <a:pt x="7401" y="10191"/>
                              <a:pt x="7461" y="10131"/>
                            </a:cubicBezTo>
                            <a:cubicBezTo>
                              <a:pt x="7521" y="10071"/>
                              <a:pt x="7581" y="10011"/>
                              <a:pt x="7641" y="9951"/>
                            </a:cubicBezTo>
                            <a:cubicBezTo>
                              <a:pt x="7700" y="9891"/>
                              <a:pt x="7760" y="9832"/>
                              <a:pt x="7820" y="9772"/>
                            </a:cubicBezTo>
                            <a:cubicBezTo>
                              <a:pt x="7880" y="9712"/>
                              <a:pt x="7939" y="9652"/>
                              <a:pt x="7999" y="9592"/>
                            </a:cubicBezTo>
                            <a:cubicBezTo>
                              <a:pt x="8179" y="9413"/>
                              <a:pt x="8358" y="9234"/>
                              <a:pt x="8478" y="8995"/>
                            </a:cubicBezTo>
                            <a:cubicBezTo>
                              <a:pt x="8657" y="8815"/>
                              <a:pt x="8777" y="8576"/>
                              <a:pt x="8956" y="8396"/>
                            </a:cubicBezTo>
                            <a:cubicBezTo>
                              <a:pt x="9076" y="8157"/>
                              <a:pt x="9255" y="7978"/>
                              <a:pt x="9375" y="7738"/>
                            </a:cubicBezTo>
                            <a:cubicBezTo>
                              <a:pt x="9495" y="7499"/>
                              <a:pt x="9614" y="7260"/>
                              <a:pt x="9674" y="7021"/>
                            </a:cubicBezTo>
                            <a:cubicBezTo>
                              <a:pt x="9794" y="6662"/>
                              <a:pt x="9913" y="6303"/>
                              <a:pt x="10033" y="5884"/>
                            </a:cubicBezTo>
                            <a:cubicBezTo>
                              <a:pt x="10152" y="5466"/>
                              <a:pt x="10152" y="5167"/>
                              <a:pt x="10212" y="4748"/>
                            </a:cubicBezTo>
                            <a:cubicBezTo>
                              <a:pt x="10212" y="4389"/>
                              <a:pt x="10212" y="4030"/>
                              <a:pt x="10152" y="3672"/>
                            </a:cubicBezTo>
                            <a:cubicBezTo>
                              <a:pt x="10092" y="3313"/>
                              <a:pt x="10033" y="2954"/>
                              <a:pt x="9913" y="2655"/>
                            </a:cubicBezTo>
                            <a:cubicBezTo>
                              <a:pt x="9853" y="2475"/>
                              <a:pt x="9794" y="2296"/>
                              <a:pt x="9734" y="2176"/>
                            </a:cubicBezTo>
                            <a:cubicBezTo>
                              <a:pt x="9674" y="1997"/>
                              <a:pt x="9614" y="1877"/>
                              <a:pt x="9495" y="1758"/>
                            </a:cubicBezTo>
                            <a:cubicBezTo>
                              <a:pt x="9435" y="1638"/>
                              <a:pt x="9315" y="1459"/>
                              <a:pt x="9195" y="1339"/>
                            </a:cubicBezTo>
                            <a:cubicBezTo>
                              <a:pt x="9076" y="1220"/>
                              <a:pt x="8956" y="1100"/>
                              <a:pt x="8836" y="980"/>
                            </a:cubicBezTo>
                            <a:cubicBezTo>
                              <a:pt x="8537" y="681"/>
                              <a:pt x="8179" y="442"/>
                              <a:pt x="7760" y="322"/>
                            </a:cubicBezTo>
                            <a:cubicBezTo>
                              <a:pt x="7401" y="143"/>
                              <a:pt x="6982" y="83"/>
                              <a:pt x="6564" y="23"/>
                            </a:cubicBezTo>
                            <a:cubicBezTo>
                              <a:pt x="6145" y="-36"/>
                              <a:pt x="5667" y="23"/>
                              <a:pt x="5248" y="143"/>
                            </a:cubicBezTo>
                            <a:cubicBezTo>
                              <a:pt x="4829" y="263"/>
                              <a:pt x="4351" y="442"/>
                              <a:pt x="3873" y="681"/>
                            </a:cubicBezTo>
                            <a:cubicBezTo>
                              <a:pt x="3873" y="681"/>
                              <a:pt x="3873" y="681"/>
                              <a:pt x="3873" y="681"/>
                            </a:cubicBezTo>
                            <a:cubicBezTo>
                              <a:pt x="3873" y="681"/>
                              <a:pt x="3873" y="681"/>
                              <a:pt x="3873" y="681"/>
                            </a:cubicBezTo>
                            <a:cubicBezTo>
                              <a:pt x="3873" y="681"/>
                              <a:pt x="3873" y="681"/>
                              <a:pt x="3873" y="681"/>
                            </a:cubicBezTo>
                            <a:cubicBezTo>
                              <a:pt x="3873" y="681"/>
                              <a:pt x="3873" y="681"/>
                              <a:pt x="3873" y="681"/>
                            </a:cubicBezTo>
                            <a:cubicBezTo>
                              <a:pt x="3813" y="681"/>
                              <a:pt x="3753" y="741"/>
                              <a:pt x="3753" y="741"/>
                            </a:cubicBezTo>
                            <a:cubicBezTo>
                              <a:pt x="3693" y="741"/>
                              <a:pt x="3633" y="801"/>
                              <a:pt x="3633" y="801"/>
                            </a:cubicBezTo>
                            <a:cubicBezTo>
                              <a:pt x="3573" y="801"/>
                              <a:pt x="3514" y="861"/>
                              <a:pt x="3514" y="861"/>
                            </a:cubicBezTo>
                            <a:cubicBezTo>
                              <a:pt x="3454" y="861"/>
                              <a:pt x="3394" y="920"/>
                              <a:pt x="3394" y="920"/>
                            </a:cubicBezTo>
                            <a:cubicBezTo>
                              <a:pt x="3095" y="1100"/>
                              <a:pt x="2856" y="1279"/>
                              <a:pt x="2557" y="1519"/>
                            </a:cubicBezTo>
                            <a:cubicBezTo>
                              <a:pt x="2318" y="1758"/>
                              <a:pt x="2078" y="1997"/>
                              <a:pt x="1839" y="2236"/>
                            </a:cubicBezTo>
                            <a:cubicBezTo>
                              <a:pt x="1600" y="2475"/>
                              <a:pt x="1420" y="2774"/>
                              <a:pt x="1241" y="3014"/>
                            </a:cubicBezTo>
                            <a:cubicBezTo>
                              <a:pt x="1062" y="3253"/>
                              <a:pt x="882" y="3552"/>
                              <a:pt x="763" y="3851"/>
                            </a:cubicBezTo>
                            <a:cubicBezTo>
                              <a:pt x="583" y="4270"/>
                              <a:pt x="404" y="4688"/>
                              <a:pt x="284" y="5107"/>
                            </a:cubicBezTo>
                            <a:cubicBezTo>
                              <a:pt x="165" y="5526"/>
                              <a:pt x="45" y="5944"/>
                              <a:pt x="45" y="6423"/>
                            </a:cubicBezTo>
                            <a:cubicBezTo>
                              <a:pt x="-15" y="6842"/>
                              <a:pt x="-15" y="7260"/>
                              <a:pt x="45" y="7679"/>
                            </a:cubicBezTo>
                            <a:cubicBezTo>
                              <a:pt x="105" y="8097"/>
                              <a:pt x="165" y="8516"/>
                              <a:pt x="344" y="8875"/>
                            </a:cubicBezTo>
                            <a:cubicBezTo>
                              <a:pt x="404" y="9054"/>
                              <a:pt x="464" y="9174"/>
                              <a:pt x="523" y="9353"/>
                            </a:cubicBezTo>
                            <a:cubicBezTo>
                              <a:pt x="583" y="9533"/>
                              <a:pt x="703" y="9652"/>
                              <a:pt x="763" y="9772"/>
                            </a:cubicBezTo>
                            <a:cubicBezTo>
                              <a:pt x="822" y="9891"/>
                              <a:pt x="942" y="10071"/>
                              <a:pt x="1062" y="10191"/>
                            </a:cubicBezTo>
                            <a:cubicBezTo>
                              <a:pt x="1181" y="10310"/>
                              <a:pt x="1241" y="10609"/>
                              <a:pt x="1360" y="10669"/>
                            </a:cubicBezTo>
                          </a:path>
                        </a:pathLst>
                      </a:custGeom>
                      <a:noFill/>
                      <a:ln w="6350" cap="flat">
                        <a:solidFill>
                          <a:schemeClr val="bg1">
                            <a:alpha val="40000"/>
                          </a:schemeClr>
                        </a:solidFill>
                        <a:prstDash val="solid"/>
                        <a:miter/>
                      </a:ln>
                    </p:spPr>
                    <p:txBody>
                      <a:bodyPr rtlCol="0" anchor="ctr"/>
                      <a:lstStyle/>
                      <a:p>
                        <a:endParaRPr lang="en-GB"/>
                      </a:p>
                    </p:txBody>
                  </p:sp>
                  <p:sp>
                    <p:nvSpPr>
                      <p:cNvPr id="7548" name="Vrije vorm: vorm 7547">
                        <a:extLst>
                          <a:ext uri="{FF2B5EF4-FFF2-40B4-BE49-F238E27FC236}">
                            <a16:creationId xmlns:a16="http://schemas.microsoft.com/office/drawing/2014/main" id="{D8F0E5E2-A3AA-4475-97BC-44EF52A13A12}"/>
                          </a:ext>
                        </a:extLst>
                      </p:cNvPr>
                      <p:cNvSpPr/>
                      <p:nvPr/>
                    </p:nvSpPr>
                    <p:spPr>
                      <a:xfrm>
                        <a:off x="5318616" y="5131021"/>
                        <a:ext cx="10107" cy="11363"/>
                      </a:xfrm>
                      <a:custGeom>
                        <a:avLst/>
                        <a:gdLst>
                          <a:gd name="connsiteX0" fmla="*/ 8074 w 10107"/>
                          <a:gd name="connsiteY0" fmla="*/ 1854 h 11363"/>
                          <a:gd name="connsiteX1" fmla="*/ 8313 w 10107"/>
                          <a:gd name="connsiteY1" fmla="*/ 2153 h 11363"/>
                          <a:gd name="connsiteX2" fmla="*/ 8552 w 10107"/>
                          <a:gd name="connsiteY2" fmla="*/ 2452 h 11363"/>
                          <a:gd name="connsiteX3" fmla="*/ 8732 w 10107"/>
                          <a:gd name="connsiteY3" fmla="*/ 2811 h 11363"/>
                          <a:gd name="connsiteX4" fmla="*/ 8911 w 10107"/>
                          <a:gd name="connsiteY4" fmla="*/ 3170 h 11363"/>
                          <a:gd name="connsiteX5" fmla="*/ 9090 w 10107"/>
                          <a:gd name="connsiteY5" fmla="*/ 4007 h 11363"/>
                          <a:gd name="connsiteX6" fmla="*/ 9150 w 10107"/>
                          <a:gd name="connsiteY6" fmla="*/ 4904 h 11363"/>
                          <a:gd name="connsiteX7" fmla="*/ 9031 w 10107"/>
                          <a:gd name="connsiteY7" fmla="*/ 5801 h 11363"/>
                          <a:gd name="connsiteX8" fmla="*/ 8732 w 10107"/>
                          <a:gd name="connsiteY8" fmla="*/ 6698 h 11363"/>
                          <a:gd name="connsiteX9" fmla="*/ 8313 w 10107"/>
                          <a:gd name="connsiteY9" fmla="*/ 7595 h 11363"/>
                          <a:gd name="connsiteX10" fmla="*/ 7775 w 10107"/>
                          <a:gd name="connsiteY10" fmla="*/ 8373 h 11363"/>
                          <a:gd name="connsiteX11" fmla="*/ 7117 w 10107"/>
                          <a:gd name="connsiteY11" fmla="*/ 9090 h 11363"/>
                          <a:gd name="connsiteX12" fmla="*/ 6399 w 10107"/>
                          <a:gd name="connsiteY12" fmla="*/ 9689 h 11363"/>
                          <a:gd name="connsiteX13" fmla="*/ 5143 w 10107"/>
                          <a:gd name="connsiteY13" fmla="*/ 10287 h 11363"/>
                          <a:gd name="connsiteX14" fmla="*/ 3947 w 10107"/>
                          <a:gd name="connsiteY14" fmla="*/ 10466 h 11363"/>
                          <a:gd name="connsiteX15" fmla="*/ 2871 w 10107"/>
                          <a:gd name="connsiteY15" fmla="*/ 10287 h 11363"/>
                          <a:gd name="connsiteX16" fmla="*/ 1973 w 10107"/>
                          <a:gd name="connsiteY16" fmla="*/ 9748 h 11363"/>
                          <a:gd name="connsiteX17" fmla="*/ 1734 w 10107"/>
                          <a:gd name="connsiteY17" fmla="*/ 9449 h 11363"/>
                          <a:gd name="connsiteX18" fmla="*/ 1495 w 10107"/>
                          <a:gd name="connsiteY18" fmla="*/ 9150 h 11363"/>
                          <a:gd name="connsiteX19" fmla="*/ 1316 w 10107"/>
                          <a:gd name="connsiteY19" fmla="*/ 8791 h 11363"/>
                          <a:gd name="connsiteX20" fmla="*/ 1136 w 10107"/>
                          <a:gd name="connsiteY20" fmla="*/ 8433 h 11363"/>
                          <a:gd name="connsiteX21" fmla="*/ 957 w 10107"/>
                          <a:gd name="connsiteY21" fmla="*/ 7595 h 11363"/>
                          <a:gd name="connsiteX22" fmla="*/ 897 w 10107"/>
                          <a:gd name="connsiteY22" fmla="*/ 6698 h 11363"/>
                          <a:gd name="connsiteX23" fmla="*/ 1017 w 10107"/>
                          <a:gd name="connsiteY23" fmla="*/ 5801 h 11363"/>
                          <a:gd name="connsiteX24" fmla="*/ 1316 w 10107"/>
                          <a:gd name="connsiteY24" fmla="*/ 4904 h 11363"/>
                          <a:gd name="connsiteX25" fmla="*/ 1734 w 10107"/>
                          <a:gd name="connsiteY25" fmla="*/ 4007 h 11363"/>
                          <a:gd name="connsiteX26" fmla="*/ 2272 w 10107"/>
                          <a:gd name="connsiteY26" fmla="*/ 3229 h 11363"/>
                          <a:gd name="connsiteX27" fmla="*/ 2930 w 10107"/>
                          <a:gd name="connsiteY27" fmla="*/ 2512 h 11363"/>
                          <a:gd name="connsiteX28" fmla="*/ 3648 w 10107"/>
                          <a:gd name="connsiteY28" fmla="*/ 1914 h 11363"/>
                          <a:gd name="connsiteX29" fmla="*/ 4486 w 10107"/>
                          <a:gd name="connsiteY29" fmla="*/ 1495 h 11363"/>
                          <a:gd name="connsiteX30" fmla="*/ 5323 w 10107"/>
                          <a:gd name="connsiteY30" fmla="*/ 1256 h 11363"/>
                          <a:gd name="connsiteX31" fmla="*/ 6100 w 10107"/>
                          <a:gd name="connsiteY31" fmla="*/ 1196 h 11363"/>
                          <a:gd name="connsiteX32" fmla="*/ 6878 w 10107"/>
                          <a:gd name="connsiteY32" fmla="*/ 1316 h 11363"/>
                          <a:gd name="connsiteX33" fmla="*/ 7236 w 10107"/>
                          <a:gd name="connsiteY33" fmla="*/ 1435 h 11363"/>
                          <a:gd name="connsiteX34" fmla="*/ 7535 w 10107"/>
                          <a:gd name="connsiteY34" fmla="*/ 1615 h 11363"/>
                          <a:gd name="connsiteX35" fmla="*/ 7835 w 10107"/>
                          <a:gd name="connsiteY35" fmla="*/ 1794 h 11363"/>
                          <a:gd name="connsiteX36" fmla="*/ 8074 w 10107"/>
                          <a:gd name="connsiteY36" fmla="*/ 1854 h 11363"/>
                          <a:gd name="connsiteX37" fmla="*/ 1316 w 10107"/>
                          <a:gd name="connsiteY37" fmla="*/ 10466 h 11363"/>
                          <a:gd name="connsiteX38" fmla="*/ 2452 w 10107"/>
                          <a:gd name="connsiteY38" fmla="*/ 11124 h 11363"/>
                          <a:gd name="connsiteX39" fmla="*/ 3768 w 10107"/>
                          <a:gd name="connsiteY39" fmla="*/ 11363 h 11363"/>
                          <a:gd name="connsiteX40" fmla="*/ 5203 w 10107"/>
                          <a:gd name="connsiteY40" fmla="*/ 11124 h 11363"/>
                          <a:gd name="connsiteX41" fmla="*/ 6698 w 10107"/>
                          <a:gd name="connsiteY41" fmla="*/ 10406 h 11363"/>
                          <a:gd name="connsiteX42" fmla="*/ 7595 w 10107"/>
                          <a:gd name="connsiteY42" fmla="*/ 9689 h 11363"/>
                          <a:gd name="connsiteX43" fmla="*/ 8373 w 10107"/>
                          <a:gd name="connsiteY43" fmla="*/ 8851 h 11363"/>
                          <a:gd name="connsiteX44" fmla="*/ 9031 w 10107"/>
                          <a:gd name="connsiteY44" fmla="*/ 7894 h 11363"/>
                          <a:gd name="connsiteX45" fmla="*/ 9569 w 10107"/>
                          <a:gd name="connsiteY45" fmla="*/ 6818 h 11363"/>
                          <a:gd name="connsiteX46" fmla="*/ 9928 w 10107"/>
                          <a:gd name="connsiteY46" fmla="*/ 5681 h 11363"/>
                          <a:gd name="connsiteX47" fmla="*/ 10107 w 10107"/>
                          <a:gd name="connsiteY47" fmla="*/ 4605 h 11363"/>
                          <a:gd name="connsiteX48" fmla="*/ 10048 w 10107"/>
                          <a:gd name="connsiteY48" fmla="*/ 3528 h 11363"/>
                          <a:gd name="connsiteX49" fmla="*/ 9808 w 10107"/>
                          <a:gd name="connsiteY49" fmla="*/ 2572 h 11363"/>
                          <a:gd name="connsiteX50" fmla="*/ 9629 w 10107"/>
                          <a:gd name="connsiteY50" fmla="*/ 2093 h 11363"/>
                          <a:gd name="connsiteX51" fmla="*/ 9389 w 10107"/>
                          <a:gd name="connsiteY51" fmla="*/ 1674 h 11363"/>
                          <a:gd name="connsiteX52" fmla="*/ 9090 w 10107"/>
                          <a:gd name="connsiteY52" fmla="*/ 1316 h 11363"/>
                          <a:gd name="connsiteX53" fmla="*/ 8791 w 10107"/>
                          <a:gd name="connsiteY53" fmla="*/ 957 h 11363"/>
                          <a:gd name="connsiteX54" fmla="*/ 8433 w 10107"/>
                          <a:gd name="connsiteY54" fmla="*/ 658 h 11363"/>
                          <a:gd name="connsiteX55" fmla="*/ 8074 w 10107"/>
                          <a:gd name="connsiteY55" fmla="*/ 418 h 11363"/>
                          <a:gd name="connsiteX56" fmla="*/ 7655 w 10107"/>
                          <a:gd name="connsiteY56" fmla="*/ 239 h 11363"/>
                          <a:gd name="connsiteX57" fmla="*/ 7236 w 10107"/>
                          <a:gd name="connsiteY57" fmla="*/ 119 h 11363"/>
                          <a:gd name="connsiteX58" fmla="*/ 6280 w 10107"/>
                          <a:gd name="connsiteY58" fmla="*/ 0 h 11363"/>
                          <a:gd name="connsiteX59" fmla="*/ 5323 w 10107"/>
                          <a:gd name="connsiteY59" fmla="*/ 119 h 11363"/>
                          <a:gd name="connsiteX60" fmla="*/ 4366 w 10107"/>
                          <a:gd name="connsiteY60" fmla="*/ 418 h 11363"/>
                          <a:gd name="connsiteX61" fmla="*/ 3409 w 10107"/>
                          <a:gd name="connsiteY61" fmla="*/ 957 h 11363"/>
                          <a:gd name="connsiteX62" fmla="*/ 2512 w 10107"/>
                          <a:gd name="connsiteY62" fmla="*/ 1674 h 11363"/>
                          <a:gd name="connsiteX63" fmla="*/ 1734 w 10107"/>
                          <a:gd name="connsiteY63" fmla="*/ 2512 h 11363"/>
                          <a:gd name="connsiteX64" fmla="*/ 1076 w 10107"/>
                          <a:gd name="connsiteY64" fmla="*/ 3469 h 11363"/>
                          <a:gd name="connsiteX65" fmla="*/ 538 w 10107"/>
                          <a:gd name="connsiteY65" fmla="*/ 4545 h 11363"/>
                          <a:gd name="connsiteX66" fmla="*/ 179 w 10107"/>
                          <a:gd name="connsiteY66" fmla="*/ 5681 h 11363"/>
                          <a:gd name="connsiteX67" fmla="*/ 0 w 10107"/>
                          <a:gd name="connsiteY67" fmla="*/ 6758 h 11363"/>
                          <a:gd name="connsiteX68" fmla="*/ 60 w 10107"/>
                          <a:gd name="connsiteY68" fmla="*/ 7835 h 11363"/>
                          <a:gd name="connsiteX69" fmla="*/ 299 w 10107"/>
                          <a:gd name="connsiteY69" fmla="*/ 8791 h 11363"/>
                          <a:gd name="connsiteX70" fmla="*/ 478 w 10107"/>
                          <a:gd name="connsiteY70" fmla="*/ 9270 h 11363"/>
                          <a:gd name="connsiteX71" fmla="*/ 718 w 10107"/>
                          <a:gd name="connsiteY71" fmla="*/ 9689 h 11363"/>
                          <a:gd name="connsiteX72" fmla="*/ 1017 w 10107"/>
                          <a:gd name="connsiteY72" fmla="*/ 10048 h 11363"/>
                          <a:gd name="connsiteX73" fmla="*/ 1316 w 10107"/>
                          <a:gd name="connsiteY73" fmla="*/ 10466 h 1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107" h="11363">
                            <a:moveTo>
                              <a:pt x="8074" y="1854"/>
                            </a:moveTo>
                            <a:cubicBezTo>
                              <a:pt x="8194" y="1914"/>
                              <a:pt x="8253" y="2033"/>
                              <a:pt x="8313" y="2153"/>
                            </a:cubicBezTo>
                            <a:cubicBezTo>
                              <a:pt x="8373" y="2272"/>
                              <a:pt x="8493" y="2332"/>
                              <a:pt x="8552" y="2452"/>
                            </a:cubicBezTo>
                            <a:cubicBezTo>
                              <a:pt x="8612" y="2572"/>
                              <a:pt x="8672" y="2691"/>
                              <a:pt x="8732" y="2811"/>
                            </a:cubicBezTo>
                            <a:cubicBezTo>
                              <a:pt x="8791" y="2930"/>
                              <a:pt x="8851" y="3050"/>
                              <a:pt x="8911" y="3170"/>
                            </a:cubicBezTo>
                            <a:cubicBezTo>
                              <a:pt x="9031" y="3409"/>
                              <a:pt x="9090" y="3708"/>
                              <a:pt x="9090" y="4007"/>
                            </a:cubicBezTo>
                            <a:cubicBezTo>
                              <a:pt x="9150" y="4306"/>
                              <a:pt x="9150" y="4605"/>
                              <a:pt x="9150" y="4904"/>
                            </a:cubicBezTo>
                            <a:cubicBezTo>
                              <a:pt x="9150" y="5203"/>
                              <a:pt x="9090" y="5502"/>
                              <a:pt x="9031" y="5801"/>
                            </a:cubicBezTo>
                            <a:cubicBezTo>
                              <a:pt x="8971" y="6100"/>
                              <a:pt x="8851" y="6399"/>
                              <a:pt x="8732" y="6698"/>
                            </a:cubicBezTo>
                            <a:cubicBezTo>
                              <a:pt x="8612" y="6997"/>
                              <a:pt x="8433" y="7296"/>
                              <a:pt x="8313" y="7595"/>
                            </a:cubicBezTo>
                            <a:cubicBezTo>
                              <a:pt x="8134" y="7894"/>
                              <a:pt x="7954" y="8134"/>
                              <a:pt x="7775" y="8373"/>
                            </a:cubicBezTo>
                            <a:cubicBezTo>
                              <a:pt x="7595" y="8612"/>
                              <a:pt x="7356" y="8851"/>
                              <a:pt x="7117" y="9090"/>
                            </a:cubicBezTo>
                            <a:cubicBezTo>
                              <a:pt x="6878" y="9330"/>
                              <a:pt x="6639" y="9509"/>
                              <a:pt x="6399" y="9689"/>
                            </a:cubicBezTo>
                            <a:cubicBezTo>
                              <a:pt x="5981" y="9928"/>
                              <a:pt x="5562" y="10167"/>
                              <a:pt x="5143" y="10287"/>
                            </a:cubicBezTo>
                            <a:cubicBezTo>
                              <a:pt x="4725" y="10406"/>
                              <a:pt x="4306" y="10466"/>
                              <a:pt x="3947" y="10466"/>
                            </a:cubicBezTo>
                            <a:cubicBezTo>
                              <a:pt x="3588" y="10466"/>
                              <a:pt x="3170" y="10406"/>
                              <a:pt x="2871" y="10287"/>
                            </a:cubicBezTo>
                            <a:cubicBezTo>
                              <a:pt x="2512" y="10167"/>
                              <a:pt x="2213" y="9988"/>
                              <a:pt x="1973" y="9748"/>
                            </a:cubicBezTo>
                            <a:cubicBezTo>
                              <a:pt x="1854" y="9689"/>
                              <a:pt x="1794" y="9569"/>
                              <a:pt x="1734" y="9449"/>
                            </a:cubicBezTo>
                            <a:cubicBezTo>
                              <a:pt x="1674" y="9330"/>
                              <a:pt x="1555" y="9270"/>
                              <a:pt x="1495" y="9150"/>
                            </a:cubicBezTo>
                            <a:cubicBezTo>
                              <a:pt x="1435" y="9031"/>
                              <a:pt x="1375" y="8911"/>
                              <a:pt x="1316" y="8791"/>
                            </a:cubicBezTo>
                            <a:cubicBezTo>
                              <a:pt x="1256" y="8672"/>
                              <a:pt x="1196" y="8552"/>
                              <a:pt x="1136" y="8433"/>
                            </a:cubicBezTo>
                            <a:cubicBezTo>
                              <a:pt x="1017" y="8194"/>
                              <a:pt x="957" y="7894"/>
                              <a:pt x="957" y="7595"/>
                            </a:cubicBezTo>
                            <a:cubicBezTo>
                              <a:pt x="957" y="7296"/>
                              <a:pt x="897" y="6997"/>
                              <a:pt x="897" y="6698"/>
                            </a:cubicBezTo>
                            <a:cubicBezTo>
                              <a:pt x="897" y="6399"/>
                              <a:pt x="957" y="6100"/>
                              <a:pt x="1017" y="5801"/>
                            </a:cubicBezTo>
                            <a:cubicBezTo>
                              <a:pt x="1076" y="5502"/>
                              <a:pt x="1196" y="5203"/>
                              <a:pt x="1316" y="4904"/>
                            </a:cubicBezTo>
                            <a:cubicBezTo>
                              <a:pt x="1435" y="4605"/>
                              <a:pt x="1555" y="4306"/>
                              <a:pt x="1734" y="4007"/>
                            </a:cubicBezTo>
                            <a:cubicBezTo>
                              <a:pt x="1914" y="3708"/>
                              <a:pt x="2093" y="3469"/>
                              <a:pt x="2272" y="3229"/>
                            </a:cubicBezTo>
                            <a:cubicBezTo>
                              <a:pt x="2452" y="2990"/>
                              <a:pt x="2691" y="2751"/>
                              <a:pt x="2930" y="2512"/>
                            </a:cubicBezTo>
                            <a:cubicBezTo>
                              <a:pt x="3170" y="2272"/>
                              <a:pt x="3409" y="2093"/>
                              <a:pt x="3648" y="1914"/>
                            </a:cubicBezTo>
                            <a:cubicBezTo>
                              <a:pt x="3887" y="1734"/>
                              <a:pt x="4186" y="1615"/>
                              <a:pt x="4486" y="1495"/>
                            </a:cubicBezTo>
                            <a:cubicBezTo>
                              <a:pt x="4785" y="1375"/>
                              <a:pt x="5024" y="1316"/>
                              <a:pt x="5323" y="1256"/>
                            </a:cubicBezTo>
                            <a:cubicBezTo>
                              <a:pt x="5622" y="1196"/>
                              <a:pt x="5861" y="1196"/>
                              <a:pt x="6100" y="1196"/>
                            </a:cubicBezTo>
                            <a:cubicBezTo>
                              <a:pt x="6340" y="1196"/>
                              <a:pt x="6639" y="1256"/>
                              <a:pt x="6878" y="1316"/>
                            </a:cubicBezTo>
                            <a:cubicBezTo>
                              <a:pt x="6997" y="1375"/>
                              <a:pt x="7117" y="1375"/>
                              <a:pt x="7236" y="1435"/>
                            </a:cubicBezTo>
                            <a:cubicBezTo>
                              <a:pt x="7356" y="1495"/>
                              <a:pt x="7476" y="1555"/>
                              <a:pt x="7535" y="1615"/>
                            </a:cubicBezTo>
                            <a:cubicBezTo>
                              <a:pt x="7655" y="1674"/>
                              <a:pt x="7715" y="1734"/>
                              <a:pt x="7835" y="1794"/>
                            </a:cubicBezTo>
                            <a:cubicBezTo>
                              <a:pt x="7894" y="1674"/>
                              <a:pt x="8014" y="1794"/>
                              <a:pt x="8074" y="1854"/>
                            </a:cubicBezTo>
                            <a:moveTo>
                              <a:pt x="1316" y="10466"/>
                            </a:moveTo>
                            <a:cubicBezTo>
                              <a:pt x="1674" y="10765"/>
                              <a:pt x="2033" y="11004"/>
                              <a:pt x="2452" y="11124"/>
                            </a:cubicBezTo>
                            <a:cubicBezTo>
                              <a:pt x="2871" y="11303"/>
                              <a:pt x="3289" y="11363"/>
                              <a:pt x="3768" y="11363"/>
                            </a:cubicBezTo>
                            <a:cubicBezTo>
                              <a:pt x="4246" y="11363"/>
                              <a:pt x="4725" y="11303"/>
                              <a:pt x="5203" y="11124"/>
                            </a:cubicBezTo>
                            <a:cubicBezTo>
                              <a:pt x="5681" y="10944"/>
                              <a:pt x="6220" y="10705"/>
                              <a:pt x="6698" y="10406"/>
                            </a:cubicBezTo>
                            <a:cubicBezTo>
                              <a:pt x="6997" y="10227"/>
                              <a:pt x="7296" y="9988"/>
                              <a:pt x="7595" y="9689"/>
                            </a:cubicBezTo>
                            <a:cubicBezTo>
                              <a:pt x="7894" y="9449"/>
                              <a:pt x="8134" y="9150"/>
                              <a:pt x="8373" y="8851"/>
                            </a:cubicBezTo>
                            <a:cubicBezTo>
                              <a:pt x="8612" y="8552"/>
                              <a:pt x="8851" y="8253"/>
                              <a:pt x="9031" y="7894"/>
                            </a:cubicBezTo>
                            <a:cubicBezTo>
                              <a:pt x="9210" y="7535"/>
                              <a:pt x="9389" y="7177"/>
                              <a:pt x="9569" y="6818"/>
                            </a:cubicBezTo>
                            <a:cubicBezTo>
                              <a:pt x="9748" y="6459"/>
                              <a:pt x="9868" y="6040"/>
                              <a:pt x="9928" y="5681"/>
                            </a:cubicBezTo>
                            <a:cubicBezTo>
                              <a:pt x="9988" y="5323"/>
                              <a:pt x="10048" y="4964"/>
                              <a:pt x="10107" y="4605"/>
                            </a:cubicBezTo>
                            <a:cubicBezTo>
                              <a:pt x="10107" y="4246"/>
                              <a:pt x="10107" y="3887"/>
                              <a:pt x="10048" y="3528"/>
                            </a:cubicBezTo>
                            <a:cubicBezTo>
                              <a:pt x="9988" y="3170"/>
                              <a:pt x="9928" y="2871"/>
                              <a:pt x="9808" y="2572"/>
                            </a:cubicBezTo>
                            <a:cubicBezTo>
                              <a:pt x="9748" y="2392"/>
                              <a:pt x="9689" y="2213"/>
                              <a:pt x="9629" y="2093"/>
                            </a:cubicBezTo>
                            <a:cubicBezTo>
                              <a:pt x="9569" y="1914"/>
                              <a:pt x="9509" y="1794"/>
                              <a:pt x="9389" y="1674"/>
                            </a:cubicBezTo>
                            <a:cubicBezTo>
                              <a:pt x="9330" y="1555"/>
                              <a:pt x="9210" y="1435"/>
                              <a:pt x="9090" y="1316"/>
                            </a:cubicBezTo>
                            <a:cubicBezTo>
                              <a:pt x="8971" y="1196"/>
                              <a:pt x="8911" y="1076"/>
                              <a:pt x="8791" y="957"/>
                            </a:cubicBezTo>
                            <a:cubicBezTo>
                              <a:pt x="8672" y="837"/>
                              <a:pt x="8552" y="777"/>
                              <a:pt x="8433" y="658"/>
                            </a:cubicBezTo>
                            <a:cubicBezTo>
                              <a:pt x="8313" y="598"/>
                              <a:pt x="8194" y="478"/>
                              <a:pt x="8074" y="418"/>
                            </a:cubicBezTo>
                            <a:cubicBezTo>
                              <a:pt x="7954" y="359"/>
                              <a:pt x="7835" y="299"/>
                              <a:pt x="7655" y="239"/>
                            </a:cubicBezTo>
                            <a:cubicBezTo>
                              <a:pt x="7476" y="179"/>
                              <a:pt x="7356" y="119"/>
                              <a:pt x="7236" y="119"/>
                            </a:cubicBezTo>
                            <a:cubicBezTo>
                              <a:pt x="6937" y="60"/>
                              <a:pt x="6639" y="0"/>
                              <a:pt x="6280" y="0"/>
                            </a:cubicBezTo>
                            <a:cubicBezTo>
                              <a:pt x="5981" y="0"/>
                              <a:pt x="5622" y="0"/>
                              <a:pt x="5323" y="119"/>
                            </a:cubicBezTo>
                            <a:cubicBezTo>
                              <a:pt x="5024" y="239"/>
                              <a:pt x="4665" y="299"/>
                              <a:pt x="4366" y="418"/>
                            </a:cubicBezTo>
                            <a:cubicBezTo>
                              <a:pt x="4067" y="538"/>
                              <a:pt x="3708" y="718"/>
                              <a:pt x="3409" y="957"/>
                            </a:cubicBezTo>
                            <a:cubicBezTo>
                              <a:pt x="3110" y="1136"/>
                              <a:pt x="2751" y="1375"/>
                              <a:pt x="2512" y="1674"/>
                            </a:cubicBezTo>
                            <a:cubicBezTo>
                              <a:pt x="2213" y="1914"/>
                              <a:pt x="1973" y="2213"/>
                              <a:pt x="1734" y="2512"/>
                            </a:cubicBezTo>
                            <a:cubicBezTo>
                              <a:pt x="1495" y="2811"/>
                              <a:pt x="1256" y="3110"/>
                              <a:pt x="1076" y="3469"/>
                            </a:cubicBezTo>
                            <a:cubicBezTo>
                              <a:pt x="897" y="3827"/>
                              <a:pt x="718" y="4186"/>
                              <a:pt x="538" y="4545"/>
                            </a:cubicBezTo>
                            <a:cubicBezTo>
                              <a:pt x="418" y="4904"/>
                              <a:pt x="299" y="5263"/>
                              <a:pt x="179" y="5681"/>
                            </a:cubicBezTo>
                            <a:cubicBezTo>
                              <a:pt x="119" y="6040"/>
                              <a:pt x="60" y="6399"/>
                              <a:pt x="0" y="6758"/>
                            </a:cubicBezTo>
                            <a:cubicBezTo>
                              <a:pt x="0" y="7117"/>
                              <a:pt x="0" y="7476"/>
                              <a:pt x="60" y="7835"/>
                            </a:cubicBezTo>
                            <a:cubicBezTo>
                              <a:pt x="119" y="8194"/>
                              <a:pt x="179" y="8493"/>
                              <a:pt x="299" y="8791"/>
                            </a:cubicBezTo>
                            <a:cubicBezTo>
                              <a:pt x="359" y="8971"/>
                              <a:pt x="418" y="9090"/>
                              <a:pt x="478" y="9270"/>
                            </a:cubicBezTo>
                            <a:cubicBezTo>
                              <a:pt x="538" y="9449"/>
                              <a:pt x="658" y="9569"/>
                              <a:pt x="718" y="9689"/>
                            </a:cubicBezTo>
                            <a:cubicBezTo>
                              <a:pt x="777" y="9808"/>
                              <a:pt x="897" y="9928"/>
                              <a:pt x="1017" y="10048"/>
                            </a:cubicBezTo>
                            <a:cubicBezTo>
                              <a:pt x="1076" y="10227"/>
                              <a:pt x="1196" y="10347"/>
                              <a:pt x="1316" y="10466"/>
                            </a:cubicBezTo>
                          </a:path>
                        </a:pathLst>
                      </a:custGeom>
                      <a:noFill/>
                      <a:ln w="6350" cap="flat">
                        <a:solidFill>
                          <a:schemeClr val="bg1">
                            <a:alpha val="40000"/>
                          </a:schemeClr>
                        </a:solidFill>
                        <a:prstDash val="solid"/>
                        <a:miter/>
                      </a:ln>
                    </p:spPr>
                    <p:txBody>
                      <a:bodyPr rtlCol="0" anchor="ctr"/>
                      <a:lstStyle/>
                      <a:p>
                        <a:endParaRPr lang="en-GB"/>
                      </a:p>
                    </p:txBody>
                  </p:sp>
                  <p:sp>
                    <p:nvSpPr>
                      <p:cNvPr id="7549" name="Vrije vorm: vorm 7548">
                        <a:extLst>
                          <a:ext uri="{FF2B5EF4-FFF2-40B4-BE49-F238E27FC236}">
                            <a16:creationId xmlns:a16="http://schemas.microsoft.com/office/drawing/2014/main" id="{6B4FB3A5-7427-401C-8D67-A3AEB525396D}"/>
                          </a:ext>
                        </a:extLst>
                      </p:cNvPr>
                      <p:cNvSpPr/>
                      <p:nvPr/>
                    </p:nvSpPr>
                    <p:spPr>
                      <a:xfrm>
                        <a:off x="5042844" y="5203531"/>
                        <a:ext cx="80859" cy="86038"/>
                      </a:xfrm>
                      <a:custGeom>
                        <a:avLst/>
                        <a:gdLst>
                          <a:gd name="connsiteX0" fmla="*/ 79125 w 80859"/>
                          <a:gd name="connsiteY0" fmla="*/ 14628 h 86038"/>
                          <a:gd name="connsiteX1" fmla="*/ 80202 w 80859"/>
                          <a:gd name="connsiteY1" fmla="*/ 14509 h 86038"/>
                          <a:gd name="connsiteX2" fmla="*/ 79603 w 80859"/>
                          <a:gd name="connsiteY2" fmla="*/ 12415 h 86038"/>
                          <a:gd name="connsiteX3" fmla="*/ 78766 w 80859"/>
                          <a:gd name="connsiteY3" fmla="*/ 10442 h 86038"/>
                          <a:gd name="connsiteX4" fmla="*/ 77690 w 80859"/>
                          <a:gd name="connsiteY4" fmla="*/ 8588 h 86038"/>
                          <a:gd name="connsiteX5" fmla="*/ 76434 w 80859"/>
                          <a:gd name="connsiteY5" fmla="*/ 6853 h 86038"/>
                          <a:gd name="connsiteX6" fmla="*/ 75058 w 80859"/>
                          <a:gd name="connsiteY6" fmla="*/ 6973 h 86038"/>
                          <a:gd name="connsiteX7" fmla="*/ 76434 w 80859"/>
                          <a:gd name="connsiteY7" fmla="*/ 8707 h 86038"/>
                          <a:gd name="connsiteX8" fmla="*/ 77570 w 80859"/>
                          <a:gd name="connsiteY8" fmla="*/ 10561 h 86038"/>
                          <a:gd name="connsiteX9" fmla="*/ 78467 w 80859"/>
                          <a:gd name="connsiteY9" fmla="*/ 12535 h 86038"/>
                          <a:gd name="connsiteX10" fmla="*/ 79125 w 80859"/>
                          <a:gd name="connsiteY10" fmla="*/ 14628 h 86038"/>
                          <a:gd name="connsiteX11" fmla="*/ 79125 w 80859"/>
                          <a:gd name="connsiteY11" fmla="*/ 26291 h 86038"/>
                          <a:gd name="connsiteX12" fmla="*/ 80142 w 80859"/>
                          <a:gd name="connsiteY12" fmla="*/ 26171 h 86038"/>
                          <a:gd name="connsiteX13" fmla="*/ 80620 w 80859"/>
                          <a:gd name="connsiteY13" fmla="*/ 23480 h 86038"/>
                          <a:gd name="connsiteX14" fmla="*/ 80859 w 80859"/>
                          <a:gd name="connsiteY14" fmla="*/ 20789 h 86038"/>
                          <a:gd name="connsiteX15" fmla="*/ 80800 w 80859"/>
                          <a:gd name="connsiteY15" fmla="*/ 18157 h 86038"/>
                          <a:gd name="connsiteX16" fmla="*/ 80441 w 80859"/>
                          <a:gd name="connsiteY16" fmla="*/ 15585 h 86038"/>
                          <a:gd name="connsiteX17" fmla="*/ 79364 w 80859"/>
                          <a:gd name="connsiteY17" fmla="*/ 15705 h 86038"/>
                          <a:gd name="connsiteX18" fmla="*/ 79723 w 80859"/>
                          <a:gd name="connsiteY18" fmla="*/ 18277 h 86038"/>
                          <a:gd name="connsiteX19" fmla="*/ 79783 w 80859"/>
                          <a:gd name="connsiteY19" fmla="*/ 20908 h 86038"/>
                          <a:gd name="connsiteX20" fmla="*/ 79544 w 80859"/>
                          <a:gd name="connsiteY20" fmla="*/ 23599 h 86038"/>
                          <a:gd name="connsiteX21" fmla="*/ 79125 w 80859"/>
                          <a:gd name="connsiteY21" fmla="*/ 26291 h 86038"/>
                          <a:gd name="connsiteX22" fmla="*/ 72187 w 80859"/>
                          <a:gd name="connsiteY22" fmla="*/ 39448 h 86038"/>
                          <a:gd name="connsiteX23" fmla="*/ 73443 w 80859"/>
                          <a:gd name="connsiteY23" fmla="*/ 39329 h 86038"/>
                          <a:gd name="connsiteX24" fmla="*/ 74101 w 80859"/>
                          <a:gd name="connsiteY24" fmla="*/ 38551 h 86038"/>
                          <a:gd name="connsiteX25" fmla="*/ 76015 w 80859"/>
                          <a:gd name="connsiteY25" fmla="*/ 35860 h 86038"/>
                          <a:gd name="connsiteX26" fmla="*/ 77630 w 80859"/>
                          <a:gd name="connsiteY26" fmla="*/ 33049 h 86038"/>
                          <a:gd name="connsiteX27" fmla="*/ 78886 w 80859"/>
                          <a:gd name="connsiteY27" fmla="*/ 30178 h 86038"/>
                          <a:gd name="connsiteX28" fmla="*/ 79843 w 80859"/>
                          <a:gd name="connsiteY28" fmla="*/ 27248 h 86038"/>
                          <a:gd name="connsiteX29" fmla="*/ 78826 w 80859"/>
                          <a:gd name="connsiteY29" fmla="*/ 27367 h 86038"/>
                          <a:gd name="connsiteX30" fmla="*/ 77929 w 80859"/>
                          <a:gd name="connsiteY30" fmla="*/ 30118 h 86038"/>
                          <a:gd name="connsiteX31" fmla="*/ 76733 w 80859"/>
                          <a:gd name="connsiteY31" fmla="*/ 32810 h 86038"/>
                          <a:gd name="connsiteX32" fmla="*/ 75238 w 80859"/>
                          <a:gd name="connsiteY32" fmla="*/ 35441 h 86038"/>
                          <a:gd name="connsiteX33" fmla="*/ 73384 w 80859"/>
                          <a:gd name="connsiteY33" fmla="*/ 38013 h 86038"/>
                          <a:gd name="connsiteX34" fmla="*/ 72187 w 80859"/>
                          <a:gd name="connsiteY34" fmla="*/ 39448 h 86038"/>
                          <a:gd name="connsiteX35" fmla="*/ 37439 w 80859"/>
                          <a:gd name="connsiteY35" fmla="*/ 83466 h 86038"/>
                          <a:gd name="connsiteX36" fmla="*/ 38217 w 80859"/>
                          <a:gd name="connsiteY36" fmla="*/ 84005 h 86038"/>
                          <a:gd name="connsiteX37" fmla="*/ 72606 w 80859"/>
                          <a:gd name="connsiteY37" fmla="*/ 40405 h 86038"/>
                          <a:gd name="connsiteX38" fmla="*/ 71350 w 80859"/>
                          <a:gd name="connsiteY38" fmla="*/ 40525 h 86038"/>
                          <a:gd name="connsiteX39" fmla="*/ 37439 w 80859"/>
                          <a:gd name="connsiteY39" fmla="*/ 83466 h 86038"/>
                          <a:gd name="connsiteX40" fmla="*/ 1675 w 80859"/>
                          <a:gd name="connsiteY40" fmla="*/ 58467 h 86038"/>
                          <a:gd name="connsiteX41" fmla="*/ 2452 w 80859"/>
                          <a:gd name="connsiteY41" fmla="*/ 59005 h 86038"/>
                          <a:gd name="connsiteX42" fmla="*/ 38994 w 80859"/>
                          <a:gd name="connsiteY42" fmla="*/ 12715 h 86038"/>
                          <a:gd name="connsiteX43" fmla="*/ 39114 w 80859"/>
                          <a:gd name="connsiteY43" fmla="*/ 12595 h 86038"/>
                          <a:gd name="connsiteX44" fmla="*/ 46889 w 80859"/>
                          <a:gd name="connsiteY44" fmla="*/ 5538 h 86038"/>
                          <a:gd name="connsiteX45" fmla="*/ 55800 w 80859"/>
                          <a:gd name="connsiteY45" fmla="*/ 1710 h 86038"/>
                          <a:gd name="connsiteX46" fmla="*/ 64771 w 80859"/>
                          <a:gd name="connsiteY46" fmla="*/ 1411 h 86038"/>
                          <a:gd name="connsiteX47" fmla="*/ 72726 w 80859"/>
                          <a:gd name="connsiteY47" fmla="*/ 4820 h 86038"/>
                          <a:gd name="connsiteX48" fmla="*/ 73085 w 80859"/>
                          <a:gd name="connsiteY48" fmla="*/ 5119 h 86038"/>
                          <a:gd name="connsiteX49" fmla="*/ 73443 w 80859"/>
                          <a:gd name="connsiteY49" fmla="*/ 5418 h 86038"/>
                          <a:gd name="connsiteX50" fmla="*/ 73802 w 80859"/>
                          <a:gd name="connsiteY50" fmla="*/ 5717 h 86038"/>
                          <a:gd name="connsiteX51" fmla="*/ 74161 w 80859"/>
                          <a:gd name="connsiteY51" fmla="*/ 6016 h 86038"/>
                          <a:gd name="connsiteX52" fmla="*/ 75656 w 80859"/>
                          <a:gd name="connsiteY52" fmla="*/ 5897 h 86038"/>
                          <a:gd name="connsiteX53" fmla="*/ 75118 w 80859"/>
                          <a:gd name="connsiteY53" fmla="*/ 5358 h 86038"/>
                          <a:gd name="connsiteX54" fmla="*/ 74580 w 80859"/>
                          <a:gd name="connsiteY54" fmla="*/ 4880 h 86038"/>
                          <a:gd name="connsiteX55" fmla="*/ 74041 w 80859"/>
                          <a:gd name="connsiteY55" fmla="*/ 4401 h 86038"/>
                          <a:gd name="connsiteX56" fmla="*/ 73443 w 80859"/>
                          <a:gd name="connsiteY56" fmla="*/ 3923 h 86038"/>
                          <a:gd name="connsiteX57" fmla="*/ 65190 w 80859"/>
                          <a:gd name="connsiteY57" fmla="*/ 335 h 86038"/>
                          <a:gd name="connsiteX58" fmla="*/ 55800 w 80859"/>
                          <a:gd name="connsiteY58" fmla="*/ 634 h 86038"/>
                          <a:gd name="connsiteX59" fmla="*/ 46470 w 80859"/>
                          <a:gd name="connsiteY59" fmla="*/ 4581 h 86038"/>
                          <a:gd name="connsiteX60" fmla="*/ 38337 w 80859"/>
                          <a:gd name="connsiteY60" fmla="*/ 11997 h 86038"/>
                          <a:gd name="connsiteX61" fmla="*/ 1675 w 80859"/>
                          <a:gd name="connsiteY61" fmla="*/ 58467 h 86038"/>
                          <a:gd name="connsiteX62" fmla="*/ 11662 w 80859"/>
                          <a:gd name="connsiteY62" fmla="*/ 68694 h 86038"/>
                          <a:gd name="connsiteX63" fmla="*/ 36602 w 80859"/>
                          <a:gd name="connsiteY63" fmla="*/ 86038 h 86038"/>
                          <a:gd name="connsiteX64" fmla="*/ 37559 w 80859"/>
                          <a:gd name="connsiteY64" fmla="*/ 84842 h 86038"/>
                          <a:gd name="connsiteX65" fmla="*/ 36782 w 80859"/>
                          <a:gd name="connsiteY65" fmla="*/ 84304 h 86038"/>
                          <a:gd name="connsiteX66" fmla="*/ 36542 w 80859"/>
                          <a:gd name="connsiteY66" fmla="*/ 84603 h 86038"/>
                          <a:gd name="connsiteX67" fmla="*/ 14474 w 80859"/>
                          <a:gd name="connsiteY67" fmla="*/ 69232 h 86038"/>
                          <a:gd name="connsiteX68" fmla="*/ 13756 w 80859"/>
                          <a:gd name="connsiteY68" fmla="*/ 68993 h 86038"/>
                          <a:gd name="connsiteX69" fmla="*/ 13038 w 80859"/>
                          <a:gd name="connsiteY69" fmla="*/ 68814 h 86038"/>
                          <a:gd name="connsiteX70" fmla="*/ 12320 w 80859"/>
                          <a:gd name="connsiteY70" fmla="*/ 68694 h 86038"/>
                          <a:gd name="connsiteX71" fmla="*/ 11662 w 80859"/>
                          <a:gd name="connsiteY71" fmla="*/ 68694 h 86038"/>
                          <a:gd name="connsiteX72" fmla="*/ 0 w 80859"/>
                          <a:gd name="connsiteY72" fmla="*/ 60620 h 86038"/>
                          <a:gd name="connsiteX73" fmla="*/ 10287 w 80859"/>
                          <a:gd name="connsiteY73" fmla="*/ 67797 h 86038"/>
                          <a:gd name="connsiteX74" fmla="*/ 10766 w 80859"/>
                          <a:gd name="connsiteY74" fmla="*/ 67737 h 86038"/>
                          <a:gd name="connsiteX75" fmla="*/ 11244 w 80859"/>
                          <a:gd name="connsiteY75" fmla="*/ 67677 h 86038"/>
                          <a:gd name="connsiteX76" fmla="*/ 11722 w 80859"/>
                          <a:gd name="connsiteY76" fmla="*/ 67677 h 86038"/>
                          <a:gd name="connsiteX77" fmla="*/ 12201 w 80859"/>
                          <a:gd name="connsiteY77" fmla="*/ 67677 h 86038"/>
                          <a:gd name="connsiteX78" fmla="*/ 1495 w 80859"/>
                          <a:gd name="connsiteY78" fmla="*/ 60201 h 86038"/>
                          <a:gd name="connsiteX79" fmla="*/ 1495 w 80859"/>
                          <a:gd name="connsiteY79" fmla="*/ 60142 h 86038"/>
                          <a:gd name="connsiteX80" fmla="*/ 1256 w 80859"/>
                          <a:gd name="connsiteY80" fmla="*/ 60082 h 86038"/>
                          <a:gd name="connsiteX81" fmla="*/ 1017 w 80859"/>
                          <a:gd name="connsiteY81" fmla="*/ 60022 h 86038"/>
                          <a:gd name="connsiteX82" fmla="*/ 778 w 80859"/>
                          <a:gd name="connsiteY82" fmla="*/ 59962 h 86038"/>
                          <a:gd name="connsiteX83" fmla="*/ 538 w 80859"/>
                          <a:gd name="connsiteY83" fmla="*/ 59902 h 86038"/>
                          <a:gd name="connsiteX84" fmla="*/ 0 w 80859"/>
                          <a:gd name="connsiteY84" fmla="*/ 60620 h 86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80859" h="86038">
                            <a:moveTo>
                              <a:pt x="79125" y="14628"/>
                            </a:moveTo>
                            <a:lnTo>
                              <a:pt x="80202" y="14509"/>
                            </a:lnTo>
                            <a:cubicBezTo>
                              <a:pt x="80022" y="13791"/>
                              <a:pt x="79843" y="13074"/>
                              <a:pt x="79603" y="12415"/>
                            </a:cubicBezTo>
                            <a:cubicBezTo>
                              <a:pt x="79364" y="11758"/>
                              <a:pt x="79065" y="11040"/>
                              <a:pt x="78766" y="10442"/>
                            </a:cubicBezTo>
                            <a:cubicBezTo>
                              <a:pt x="78467" y="9784"/>
                              <a:pt x="78108" y="9186"/>
                              <a:pt x="77690" y="8588"/>
                            </a:cubicBezTo>
                            <a:cubicBezTo>
                              <a:pt x="77331" y="7990"/>
                              <a:pt x="76912" y="7392"/>
                              <a:pt x="76434" y="6853"/>
                            </a:cubicBezTo>
                            <a:lnTo>
                              <a:pt x="75058" y="6973"/>
                            </a:lnTo>
                            <a:cubicBezTo>
                              <a:pt x="75537" y="7511"/>
                              <a:pt x="76015" y="8109"/>
                              <a:pt x="76434" y="8707"/>
                            </a:cubicBezTo>
                            <a:cubicBezTo>
                              <a:pt x="76853" y="9306"/>
                              <a:pt x="77211" y="9904"/>
                              <a:pt x="77570" y="10561"/>
                            </a:cubicBezTo>
                            <a:cubicBezTo>
                              <a:pt x="77929" y="11220"/>
                              <a:pt x="78228" y="11877"/>
                              <a:pt x="78467" y="12535"/>
                            </a:cubicBezTo>
                            <a:cubicBezTo>
                              <a:pt x="78707" y="13253"/>
                              <a:pt x="78946" y="13911"/>
                              <a:pt x="79125" y="14628"/>
                            </a:cubicBezTo>
                            <a:moveTo>
                              <a:pt x="79125" y="26291"/>
                            </a:moveTo>
                            <a:lnTo>
                              <a:pt x="80142" y="26171"/>
                            </a:lnTo>
                            <a:cubicBezTo>
                              <a:pt x="80381" y="25274"/>
                              <a:pt x="80501" y="24377"/>
                              <a:pt x="80620" y="23480"/>
                            </a:cubicBezTo>
                            <a:cubicBezTo>
                              <a:pt x="80740" y="22583"/>
                              <a:pt x="80800" y="21686"/>
                              <a:pt x="80859" y="20789"/>
                            </a:cubicBezTo>
                            <a:cubicBezTo>
                              <a:pt x="80859" y="19891"/>
                              <a:pt x="80859" y="18994"/>
                              <a:pt x="80800" y="18157"/>
                            </a:cubicBezTo>
                            <a:cubicBezTo>
                              <a:pt x="80740" y="17260"/>
                              <a:pt x="80620" y="16423"/>
                              <a:pt x="80441" y="15585"/>
                            </a:cubicBezTo>
                            <a:lnTo>
                              <a:pt x="79364" y="15705"/>
                            </a:lnTo>
                            <a:cubicBezTo>
                              <a:pt x="79544" y="16542"/>
                              <a:pt x="79663" y="17380"/>
                              <a:pt x="79723" y="18277"/>
                            </a:cubicBezTo>
                            <a:cubicBezTo>
                              <a:pt x="79783" y="19114"/>
                              <a:pt x="79843" y="20011"/>
                              <a:pt x="79783" y="20908"/>
                            </a:cubicBezTo>
                            <a:cubicBezTo>
                              <a:pt x="79783" y="21805"/>
                              <a:pt x="79663" y="22702"/>
                              <a:pt x="79544" y="23599"/>
                            </a:cubicBezTo>
                            <a:cubicBezTo>
                              <a:pt x="79544" y="24497"/>
                              <a:pt x="79364" y="25394"/>
                              <a:pt x="79125" y="26291"/>
                            </a:cubicBezTo>
                            <a:moveTo>
                              <a:pt x="72187" y="39448"/>
                            </a:moveTo>
                            <a:lnTo>
                              <a:pt x="73443" y="39329"/>
                            </a:lnTo>
                            <a:lnTo>
                              <a:pt x="74101" y="38551"/>
                            </a:lnTo>
                            <a:cubicBezTo>
                              <a:pt x="74819" y="37654"/>
                              <a:pt x="75417" y="36757"/>
                              <a:pt x="76015" y="35860"/>
                            </a:cubicBezTo>
                            <a:cubicBezTo>
                              <a:pt x="76613" y="34963"/>
                              <a:pt x="77151" y="34006"/>
                              <a:pt x="77630" y="33049"/>
                            </a:cubicBezTo>
                            <a:cubicBezTo>
                              <a:pt x="78108" y="32092"/>
                              <a:pt x="78527" y="31135"/>
                              <a:pt x="78886" y="30178"/>
                            </a:cubicBezTo>
                            <a:cubicBezTo>
                              <a:pt x="79245" y="29221"/>
                              <a:pt x="79603" y="28264"/>
                              <a:pt x="79843" y="27248"/>
                            </a:cubicBezTo>
                            <a:lnTo>
                              <a:pt x="78826" y="27367"/>
                            </a:lnTo>
                            <a:cubicBezTo>
                              <a:pt x="78587" y="28264"/>
                              <a:pt x="78288" y="29221"/>
                              <a:pt x="77929" y="30118"/>
                            </a:cubicBezTo>
                            <a:cubicBezTo>
                              <a:pt x="77570" y="31016"/>
                              <a:pt x="77151" y="31913"/>
                              <a:pt x="76733" y="32810"/>
                            </a:cubicBezTo>
                            <a:cubicBezTo>
                              <a:pt x="76254" y="33707"/>
                              <a:pt x="75776" y="34604"/>
                              <a:pt x="75238" y="35441"/>
                            </a:cubicBezTo>
                            <a:cubicBezTo>
                              <a:pt x="74699" y="36338"/>
                              <a:pt x="74041" y="37176"/>
                              <a:pt x="73384" y="38013"/>
                            </a:cubicBezTo>
                            <a:lnTo>
                              <a:pt x="72187" y="39448"/>
                            </a:lnTo>
                            <a:moveTo>
                              <a:pt x="37439" y="83466"/>
                            </a:moveTo>
                            <a:lnTo>
                              <a:pt x="38217" y="84005"/>
                            </a:lnTo>
                            <a:lnTo>
                              <a:pt x="72606" y="40405"/>
                            </a:lnTo>
                            <a:lnTo>
                              <a:pt x="71350" y="40525"/>
                            </a:lnTo>
                            <a:lnTo>
                              <a:pt x="37439" y="83466"/>
                            </a:lnTo>
                            <a:moveTo>
                              <a:pt x="1675" y="58467"/>
                            </a:moveTo>
                            <a:lnTo>
                              <a:pt x="2452" y="59005"/>
                            </a:lnTo>
                            <a:lnTo>
                              <a:pt x="38994" y="12715"/>
                            </a:lnTo>
                            <a:lnTo>
                              <a:pt x="39114" y="12595"/>
                            </a:lnTo>
                            <a:cubicBezTo>
                              <a:pt x="41387" y="9724"/>
                              <a:pt x="44018" y="7332"/>
                              <a:pt x="46889" y="5538"/>
                            </a:cubicBezTo>
                            <a:cubicBezTo>
                              <a:pt x="49760" y="3684"/>
                              <a:pt x="52750" y="2428"/>
                              <a:pt x="55800" y="1710"/>
                            </a:cubicBezTo>
                            <a:cubicBezTo>
                              <a:pt x="58850" y="992"/>
                              <a:pt x="61901" y="873"/>
                              <a:pt x="64771" y="1411"/>
                            </a:cubicBezTo>
                            <a:cubicBezTo>
                              <a:pt x="67642" y="1889"/>
                              <a:pt x="70333" y="3026"/>
                              <a:pt x="72726" y="4820"/>
                            </a:cubicBezTo>
                            <a:cubicBezTo>
                              <a:pt x="72845" y="4940"/>
                              <a:pt x="72965" y="4999"/>
                              <a:pt x="73085" y="5119"/>
                            </a:cubicBezTo>
                            <a:cubicBezTo>
                              <a:pt x="73204" y="5239"/>
                              <a:pt x="73324" y="5298"/>
                              <a:pt x="73443" y="5418"/>
                            </a:cubicBezTo>
                            <a:cubicBezTo>
                              <a:pt x="73563" y="5538"/>
                              <a:pt x="73683" y="5598"/>
                              <a:pt x="73802" y="5717"/>
                            </a:cubicBezTo>
                            <a:cubicBezTo>
                              <a:pt x="73922" y="5837"/>
                              <a:pt x="74041" y="5897"/>
                              <a:pt x="74161" y="6016"/>
                            </a:cubicBezTo>
                            <a:lnTo>
                              <a:pt x="75656" y="5897"/>
                            </a:lnTo>
                            <a:cubicBezTo>
                              <a:pt x="75477" y="5717"/>
                              <a:pt x="75297" y="5538"/>
                              <a:pt x="75118" y="5358"/>
                            </a:cubicBezTo>
                            <a:cubicBezTo>
                              <a:pt x="74939" y="5179"/>
                              <a:pt x="74759" y="4999"/>
                              <a:pt x="74580" y="4880"/>
                            </a:cubicBezTo>
                            <a:cubicBezTo>
                              <a:pt x="74400" y="4700"/>
                              <a:pt x="74221" y="4581"/>
                              <a:pt x="74041" y="4401"/>
                            </a:cubicBezTo>
                            <a:cubicBezTo>
                              <a:pt x="73862" y="4222"/>
                              <a:pt x="73683" y="4102"/>
                              <a:pt x="73443" y="3923"/>
                            </a:cubicBezTo>
                            <a:cubicBezTo>
                              <a:pt x="70991" y="2069"/>
                              <a:pt x="68180" y="873"/>
                              <a:pt x="65190" y="335"/>
                            </a:cubicBezTo>
                            <a:cubicBezTo>
                              <a:pt x="62200" y="-204"/>
                              <a:pt x="58970" y="-84"/>
                              <a:pt x="55800" y="634"/>
                            </a:cubicBezTo>
                            <a:cubicBezTo>
                              <a:pt x="52631" y="1351"/>
                              <a:pt x="49461" y="2727"/>
                              <a:pt x="46470" y="4581"/>
                            </a:cubicBezTo>
                            <a:cubicBezTo>
                              <a:pt x="43480" y="6495"/>
                              <a:pt x="40729" y="8947"/>
                              <a:pt x="38337" y="11997"/>
                            </a:cubicBezTo>
                            <a:lnTo>
                              <a:pt x="1675" y="58467"/>
                            </a:lnTo>
                            <a:moveTo>
                              <a:pt x="11662" y="68694"/>
                            </a:moveTo>
                            <a:lnTo>
                              <a:pt x="36602" y="86038"/>
                            </a:lnTo>
                            <a:lnTo>
                              <a:pt x="37559" y="84842"/>
                            </a:lnTo>
                            <a:lnTo>
                              <a:pt x="36782" y="84304"/>
                            </a:lnTo>
                            <a:lnTo>
                              <a:pt x="36542" y="84603"/>
                            </a:lnTo>
                            <a:lnTo>
                              <a:pt x="14474" y="69232"/>
                            </a:lnTo>
                            <a:cubicBezTo>
                              <a:pt x="14234" y="69172"/>
                              <a:pt x="13995" y="69053"/>
                              <a:pt x="13756" y="68993"/>
                            </a:cubicBezTo>
                            <a:cubicBezTo>
                              <a:pt x="13516" y="68933"/>
                              <a:pt x="13277" y="68873"/>
                              <a:pt x="13038" y="68814"/>
                            </a:cubicBezTo>
                            <a:cubicBezTo>
                              <a:pt x="12799" y="68754"/>
                              <a:pt x="12560" y="68754"/>
                              <a:pt x="12320" y="68694"/>
                            </a:cubicBezTo>
                            <a:cubicBezTo>
                              <a:pt x="12081" y="68634"/>
                              <a:pt x="11842" y="68754"/>
                              <a:pt x="11662" y="68694"/>
                            </a:cubicBezTo>
                            <a:moveTo>
                              <a:pt x="0" y="60620"/>
                            </a:moveTo>
                            <a:lnTo>
                              <a:pt x="10287" y="67797"/>
                            </a:lnTo>
                            <a:cubicBezTo>
                              <a:pt x="10466" y="67797"/>
                              <a:pt x="10586" y="67737"/>
                              <a:pt x="10766" y="67737"/>
                            </a:cubicBezTo>
                            <a:cubicBezTo>
                              <a:pt x="10945" y="67737"/>
                              <a:pt x="11065" y="67737"/>
                              <a:pt x="11244" y="67677"/>
                            </a:cubicBezTo>
                            <a:cubicBezTo>
                              <a:pt x="11423" y="67677"/>
                              <a:pt x="11543" y="67677"/>
                              <a:pt x="11722" y="67677"/>
                            </a:cubicBezTo>
                            <a:cubicBezTo>
                              <a:pt x="11902" y="67677"/>
                              <a:pt x="12021" y="67677"/>
                              <a:pt x="12201" y="67677"/>
                            </a:cubicBezTo>
                            <a:lnTo>
                              <a:pt x="1495" y="60201"/>
                            </a:lnTo>
                            <a:lnTo>
                              <a:pt x="1495" y="60142"/>
                            </a:lnTo>
                            <a:cubicBezTo>
                              <a:pt x="1435" y="60082"/>
                              <a:pt x="1316" y="60082"/>
                              <a:pt x="1256" y="60082"/>
                            </a:cubicBezTo>
                            <a:cubicBezTo>
                              <a:pt x="1196" y="60082"/>
                              <a:pt x="1076" y="60022"/>
                              <a:pt x="1017" y="60022"/>
                            </a:cubicBezTo>
                            <a:cubicBezTo>
                              <a:pt x="957" y="60022"/>
                              <a:pt x="837" y="59962"/>
                              <a:pt x="778" y="59962"/>
                            </a:cubicBezTo>
                            <a:cubicBezTo>
                              <a:pt x="718" y="59962"/>
                              <a:pt x="598" y="59902"/>
                              <a:pt x="538" y="59902"/>
                            </a:cubicBezTo>
                            <a:lnTo>
                              <a:pt x="0" y="60620"/>
                            </a:lnTo>
                          </a:path>
                        </a:pathLst>
                      </a:custGeom>
                      <a:noFill/>
                      <a:ln w="6350" cap="flat">
                        <a:solidFill>
                          <a:schemeClr val="bg1">
                            <a:alpha val="40000"/>
                          </a:schemeClr>
                        </a:solidFill>
                        <a:prstDash val="solid"/>
                        <a:miter/>
                      </a:ln>
                    </p:spPr>
                    <p:txBody>
                      <a:bodyPr rtlCol="0" anchor="ctr"/>
                      <a:lstStyle/>
                      <a:p>
                        <a:endParaRPr lang="en-GB"/>
                      </a:p>
                    </p:txBody>
                  </p:sp>
                  <p:sp>
                    <p:nvSpPr>
                      <p:cNvPr id="7550" name="Vrije vorm: vorm 7549">
                        <a:extLst>
                          <a:ext uri="{FF2B5EF4-FFF2-40B4-BE49-F238E27FC236}">
                            <a16:creationId xmlns:a16="http://schemas.microsoft.com/office/drawing/2014/main" id="{0B868E5F-9995-415D-9CEC-D6F70B0E7022}"/>
                          </a:ext>
                        </a:extLst>
                      </p:cNvPr>
                      <p:cNvSpPr/>
                      <p:nvPr/>
                    </p:nvSpPr>
                    <p:spPr>
                      <a:xfrm>
                        <a:off x="5078065" y="5207075"/>
                        <a:ext cx="42050" cy="43184"/>
                      </a:xfrm>
                      <a:custGeom>
                        <a:avLst/>
                        <a:gdLst>
                          <a:gd name="connsiteX0" fmla="*/ 40077 w 42050"/>
                          <a:gd name="connsiteY0" fmla="*/ 11444 h 43184"/>
                          <a:gd name="connsiteX1" fmla="*/ 41213 w 42050"/>
                          <a:gd name="connsiteY1" fmla="*/ 11324 h 43184"/>
                          <a:gd name="connsiteX2" fmla="*/ 40375 w 42050"/>
                          <a:gd name="connsiteY2" fmla="*/ 9171 h 43184"/>
                          <a:gd name="connsiteX3" fmla="*/ 39239 w 42050"/>
                          <a:gd name="connsiteY3" fmla="*/ 7138 h 43184"/>
                          <a:gd name="connsiteX4" fmla="*/ 37804 w 42050"/>
                          <a:gd name="connsiteY4" fmla="*/ 5344 h 43184"/>
                          <a:gd name="connsiteX5" fmla="*/ 36070 w 42050"/>
                          <a:gd name="connsiteY5" fmla="*/ 3729 h 43184"/>
                          <a:gd name="connsiteX6" fmla="*/ 34335 w 42050"/>
                          <a:gd name="connsiteY6" fmla="*/ 3908 h 43184"/>
                          <a:gd name="connsiteX7" fmla="*/ 34514 w 42050"/>
                          <a:gd name="connsiteY7" fmla="*/ 4028 h 43184"/>
                          <a:gd name="connsiteX8" fmla="*/ 34694 w 42050"/>
                          <a:gd name="connsiteY8" fmla="*/ 4147 h 43184"/>
                          <a:gd name="connsiteX9" fmla="*/ 34873 w 42050"/>
                          <a:gd name="connsiteY9" fmla="*/ 4267 h 43184"/>
                          <a:gd name="connsiteX10" fmla="*/ 35053 w 42050"/>
                          <a:gd name="connsiteY10" fmla="*/ 4386 h 43184"/>
                          <a:gd name="connsiteX11" fmla="*/ 36727 w 42050"/>
                          <a:gd name="connsiteY11" fmla="*/ 5882 h 43184"/>
                          <a:gd name="connsiteX12" fmla="*/ 38163 w 42050"/>
                          <a:gd name="connsiteY12" fmla="*/ 7556 h 43184"/>
                          <a:gd name="connsiteX13" fmla="*/ 39299 w 42050"/>
                          <a:gd name="connsiteY13" fmla="*/ 9410 h 43184"/>
                          <a:gd name="connsiteX14" fmla="*/ 40077 w 42050"/>
                          <a:gd name="connsiteY14" fmla="*/ 11444 h 43184"/>
                          <a:gd name="connsiteX15" fmla="*/ 40316 w 42050"/>
                          <a:gd name="connsiteY15" fmla="*/ 23106 h 43184"/>
                          <a:gd name="connsiteX16" fmla="*/ 41333 w 42050"/>
                          <a:gd name="connsiteY16" fmla="*/ 22987 h 43184"/>
                          <a:gd name="connsiteX17" fmla="*/ 41871 w 42050"/>
                          <a:gd name="connsiteY17" fmla="*/ 20235 h 43184"/>
                          <a:gd name="connsiteX18" fmla="*/ 42050 w 42050"/>
                          <a:gd name="connsiteY18" fmla="*/ 17544 h 43184"/>
                          <a:gd name="connsiteX19" fmla="*/ 41931 w 42050"/>
                          <a:gd name="connsiteY19" fmla="*/ 14913 h 43184"/>
                          <a:gd name="connsiteX20" fmla="*/ 41452 w 42050"/>
                          <a:gd name="connsiteY20" fmla="*/ 12401 h 43184"/>
                          <a:gd name="connsiteX21" fmla="*/ 40375 w 42050"/>
                          <a:gd name="connsiteY21" fmla="*/ 12520 h 43184"/>
                          <a:gd name="connsiteX22" fmla="*/ 40914 w 42050"/>
                          <a:gd name="connsiteY22" fmla="*/ 15032 h 43184"/>
                          <a:gd name="connsiteX23" fmla="*/ 41093 w 42050"/>
                          <a:gd name="connsiteY23" fmla="*/ 17664 h 43184"/>
                          <a:gd name="connsiteX24" fmla="*/ 40914 w 42050"/>
                          <a:gd name="connsiteY24" fmla="*/ 20355 h 43184"/>
                          <a:gd name="connsiteX25" fmla="*/ 40316 w 42050"/>
                          <a:gd name="connsiteY25" fmla="*/ 23106 h 43184"/>
                          <a:gd name="connsiteX26" fmla="*/ 31763 w 42050"/>
                          <a:gd name="connsiteY26" fmla="*/ 36383 h 43184"/>
                          <a:gd name="connsiteX27" fmla="*/ 33318 w 42050"/>
                          <a:gd name="connsiteY27" fmla="*/ 36204 h 43184"/>
                          <a:gd name="connsiteX28" fmla="*/ 34096 w 42050"/>
                          <a:gd name="connsiteY28" fmla="*/ 35426 h 43184"/>
                          <a:gd name="connsiteX29" fmla="*/ 34873 w 42050"/>
                          <a:gd name="connsiteY29" fmla="*/ 34649 h 43184"/>
                          <a:gd name="connsiteX30" fmla="*/ 35591 w 42050"/>
                          <a:gd name="connsiteY30" fmla="*/ 33812 h 43184"/>
                          <a:gd name="connsiteX31" fmla="*/ 36309 w 42050"/>
                          <a:gd name="connsiteY31" fmla="*/ 32974 h 43184"/>
                          <a:gd name="connsiteX32" fmla="*/ 37864 w 42050"/>
                          <a:gd name="connsiteY32" fmla="*/ 30821 h 43184"/>
                          <a:gd name="connsiteX33" fmla="*/ 39179 w 42050"/>
                          <a:gd name="connsiteY33" fmla="*/ 28609 h 43184"/>
                          <a:gd name="connsiteX34" fmla="*/ 40256 w 42050"/>
                          <a:gd name="connsiteY34" fmla="*/ 26336 h 43184"/>
                          <a:gd name="connsiteX35" fmla="*/ 41093 w 42050"/>
                          <a:gd name="connsiteY35" fmla="*/ 24003 h 43184"/>
                          <a:gd name="connsiteX36" fmla="*/ 40077 w 42050"/>
                          <a:gd name="connsiteY36" fmla="*/ 24123 h 43184"/>
                          <a:gd name="connsiteX37" fmla="*/ 39299 w 42050"/>
                          <a:gd name="connsiteY37" fmla="*/ 26276 h 43184"/>
                          <a:gd name="connsiteX38" fmla="*/ 38282 w 42050"/>
                          <a:gd name="connsiteY38" fmla="*/ 28369 h 43184"/>
                          <a:gd name="connsiteX39" fmla="*/ 37086 w 42050"/>
                          <a:gd name="connsiteY39" fmla="*/ 30463 h 43184"/>
                          <a:gd name="connsiteX40" fmla="*/ 35651 w 42050"/>
                          <a:gd name="connsiteY40" fmla="*/ 32496 h 43184"/>
                          <a:gd name="connsiteX41" fmla="*/ 34754 w 42050"/>
                          <a:gd name="connsiteY41" fmla="*/ 33572 h 43184"/>
                          <a:gd name="connsiteX42" fmla="*/ 33797 w 42050"/>
                          <a:gd name="connsiteY42" fmla="*/ 34589 h 43184"/>
                          <a:gd name="connsiteX43" fmla="*/ 32840 w 42050"/>
                          <a:gd name="connsiteY43" fmla="*/ 35546 h 43184"/>
                          <a:gd name="connsiteX44" fmla="*/ 31763 w 42050"/>
                          <a:gd name="connsiteY44" fmla="*/ 36383 h 43184"/>
                          <a:gd name="connsiteX45" fmla="*/ 6704 w 42050"/>
                          <a:gd name="connsiteY45" fmla="*/ 40092 h 43184"/>
                          <a:gd name="connsiteX46" fmla="*/ 12565 w 42050"/>
                          <a:gd name="connsiteY46" fmla="*/ 42723 h 43184"/>
                          <a:gd name="connsiteX47" fmla="*/ 19084 w 42050"/>
                          <a:gd name="connsiteY47" fmla="*/ 43022 h 43184"/>
                          <a:gd name="connsiteX48" fmla="*/ 25723 w 42050"/>
                          <a:gd name="connsiteY48" fmla="*/ 41168 h 43184"/>
                          <a:gd name="connsiteX49" fmla="*/ 32002 w 42050"/>
                          <a:gd name="connsiteY49" fmla="*/ 37340 h 43184"/>
                          <a:gd name="connsiteX50" fmla="*/ 30268 w 42050"/>
                          <a:gd name="connsiteY50" fmla="*/ 37520 h 43184"/>
                          <a:gd name="connsiteX51" fmla="*/ 24526 w 42050"/>
                          <a:gd name="connsiteY51" fmla="*/ 40630 h 43184"/>
                          <a:gd name="connsiteX52" fmla="*/ 18486 w 42050"/>
                          <a:gd name="connsiteY52" fmla="*/ 42005 h 43184"/>
                          <a:gd name="connsiteX53" fmla="*/ 12625 w 42050"/>
                          <a:gd name="connsiteY53" fmla="*/ 41527 h 43184"/>
                          <a:gd name="connsiteX54" fmla="*/ 7362 w 42050"/>
                          <a:gd name="connsiteY54" fmla="*/ 39075 h 43184"/>
                          <a:gd name="connsiteX55" fmla="*/ 2757 w 42050"/>
                          <a:gd name="connsiteY55" fmla="*/ 33572 h 43184"/>
                          <a:gd name="connsiteX56" fmla="*/ 1022 w 42050"/>
                          <a:gd name="connsiteY56" fmla="*/ 26395 h 43184"/>
                          <a:gd name="connsiteX57" fmla="*/ 2218 w 42050"/>
                          <a:gd name="connsiteY57" fmla="*/ 18501 h 43184"/>
                          <a:gd name="connsiteX58" fmla="*/ 6465 w 42050"/>
                          <a:gd name="connsiteY58" fmla="*/ 10786 h 43184"/>
                          <a:gd name="connsiteX59" fmla="*/ 12386 w 42050"/>
                          <a:gd name="connsiteY59" fmla="*/ 5224 h 43184"/>
                          <a:gd name="connsiteX60" fmla="*/ 19204 w 42050"/>
                          <a:gd name="connsiteY60" fmla="*/ 1934 h 43184"/>
                          <a:gd name="connsiteX61" fmla="*/ 26201 w 42050"/>
                          <a:gd name="connsiteY61" fmla="*/ 1097 h 43184"/>
                          <a:gd name="connsiteX62" fmla="*/ 32660 w 42050"/>
                          <a:gd name="connsiteY62" fmla="*/ 2831 h 43184"/>
                          <a:gd name="connsiteX63" fmla="*/ 34634 w 42050"/>
                          <a:gd name="connsiteY63" fmla="*/ 2652 h 43184"/>
                          <a:gd name="connsiteX64" fmla="*/ 27696 w 42050"/>
                          <a:gd name="connsiteY64" fmla="*/ 140 h 43184"/>
                          <a:gd name="connsiteX65" fmla="*/ 19981 w 42050"/>
                          <a:gd name="connsiteY65" fmla="*/ 678 h 43184"/>
                          <a:gd name="connsiteX66" fmla="*/ 12386 w 42050"/>
                          <a:gd name="connsiteY66" fmla="*/ 4087 h 43184"/>
                          <a:gd name="connsiteX67" fmla="*/ 5747 w 42050"/>
                          <a:gd name="connsiteY67" fmla="*/ 10188 h 43184"/>
                          <a:gd name="connsiteX68" fmla="*/ 1322 w 42050"/>
                          <a:gd name="connsiteY68" fmla="*/ 18262 h 43184"/>
                          <a:gd name="connsiteX69" fmla="*/ 6 w 42050"/>
                          <a:gd name="connsiteY69" fmla="*/ 26575 h 43184"/>
                          <a:gd name="connsiteX70" fmla="*/ 1800 w 42050"/>
                          <a:gd name="connsiteY70" fmla="*/ 34111 h 43184"/>
                          <a:gd name="connsiteX71" fmla="*/ 6704 w 42050"/>
                          <a:gd name="connsiteY71" fmla="*/ 40092 h 4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2050" h="43184">
                            <a:moveTo>
                              <a:pt x="40077" y="11444"/>
                            </a:moveTo>
                            <a:lnTo>
                              <a:pt x="41213" y="11324"/>
                            </a:lnTo>
                            <a:cubicBezTo>
                              <a:pt x="40973" y="10607"/>
                              <a:pt x="40674" y="9889"/>
                              <a:pt x="40375" y="9171"/>
                            </a:cubicBezTo>
                            <a:cubicBezTo>
                              <a:pt x="40017" y="8453"/>
                              <a:pt x="39658" y="7795"/>
                              <a:pt x="39239" y="7138"/>
                            </a:cubicBezTo>
                            <a:cubicBezTo>
                              <a:pt x="38820" y="6480"/>
                              <a:pt x="38342" y="5882"/>
                              <a:pt x="37804" y="5344"/>
                            </a:cubicBezTo>
                            <a:cubicBezTo>
                              <a:pt x="37265" y="4745"/>
                              <a:pt x="36727" y="4207"/>
                              <a:pt x="36070" y="3729"/>
                            </a:cubicBezTo>
                            <a:lnTo>
                              <a:pt x="34335" y="3908"/>
                            </a:lnTo>
                            <a:cubicBezTo>
                              <a:pt x="34395" y="3968"/>
                              <a:pt x="34455" y="3968"/>
                              <a:pt x="34514" y="4028"/>
                            </a:cubicBezTo>
                            <a:cubicBezTo>
                              <a:pt x="34574" y="4087"/>
                              <a:pt x="34634" y="4087"/>
                              <a:pt x="34694" y="4147"/>
                            </a:cubicBezTo>
                            <a:cubicBezTo>
                              <a:pt x="34754" y="4207"/>
                              <a:pt x="34813" y="4207"/>
                              <a:pt x="34873" y="4267"/>
                            </a:cubicBezTo>
                            <a:cubicBezTo>
                              <a:pt x="34933" y="4327"/>
                              <a:pt x="34993" y="4327"/>
                              <a:pt x="35053" y="4386"/>
                            </a:cubicBezTo>
                            <a:cubicBezTo>
                              <a:pt x="35651" y="4865"/>
                              <a:pt x="36249" y="5344"/>
                              <a:pt x="36727" y="5882"/>
                            </a:cubicBezTo>
                            <a:cubicBezTo>
                              <a:pt x="37265" y="6420"/>
                              <a:pt x="37744" y="6958"/>
                              <a:pt x="38163" y="7556"/>
                            </a:cubicBezTo>
                            <a:cubicBezTo>
                              <a:pt x="38581" y="8154"/>
                              <a:pt x="38940" y="8753"/>
                              <a:pt x="39299" y="9410"/>
                            </a:cubicBezTo>
                            <a:cubicBezTo>
                              <a:pt x="39538" y="10068"/>
                              <a:pt x="39837" y="10726"/>
                              <a:pt x="40077" y="11444"/>
                            </a:cubicBezTo>
                            <a:moveTo>
                              <a:pt x="40316" y="23106"/>
                            </a:moveTo>
                            <a:lnTo>
                              <a:pt x="41333" y="22987"/>
                            </a:lnTo>
                            <a:cubicBezTo>
                              <a:pt x="41572" y="22089"/>
                              <a:pt x="41751" y="21133"/>
                              <a:pt x="41871" y="20235"/>
                            </a:cubicBezTo>
                            <a:cubicBezTo>
                              <a:pt x="41990" y="19338"/>
                              <a:pt x="42050" y="18441"/>
                              <a:pt x="42050" y="17544"/>
                            </a:cubicBezTo>
                            <a:cubicBezTo>
                              <a:pt x="42050" y="16647"/>
                              <a:pt x="41990" y="15750"/>
                              <a:pt x="41931" y="14913"/>
                            </a:cubicBezTo>
                            <a:cubicBezTo>
                              <a:pt x="41811" y="14075"/>
                              <a:pt x="41691" y="13178"/>
                              <a:pt x="41452" y="12401"/>
                            </a:cubicBezTo>
                            <a:lnTo>
                              <a:pt x="40375" y="12520"/>
                            </a:lnTo>
                            <a:cubicBezTo>
                              <a:pt x="40615" y="13357"/>
                              <a:pt x="40794" y="14195"/>
                              <a:pt x="40914" y="15032"/>
                            </a:cubicBezTo>
                            <a:cubicBezTo>
                              <a:pt x="41033" y="15870"/>
                              <a:pt x="41093" y="16767"/>
                              <a:pt x="41093" y="17664"/>
                            </a:cubicBezTo>
                            <a:cubicBezTo>
                              <a:pt x="41093" y="18561"/>
                              <a:pt x="41033" y="19458"/>
                              <a:pt x="40914" y="20355"/>
                            </a:cubicBezTo>
                            <a:cubicBezTo>
                              <a:pt x="40734" y="21252"/>
                              <a:pt x="40555" y="22149"/>
                              <a:pt x="40316" y="23106"/>
                            </a:cubicBezTo>
                            <a:moveTo>
                              <a:pt x="31763" y="36383"/>
                            </a:moveTo>
                            <a:lnTo>
                              <a:pt x="33318" y="36204"/>
                            </a:lnTo>
                            <a:cubicBezTo>
                              <a:pt x="33557" y="35965"/>
                              <a:pt x="33857" y="35725"/>
                              <a:pt x="34096" y="35426"/>
                            </a:cubicBezTo>
                            <a:cubicBezTo>
                              <a:pt x="34335" y="35187"/>
                              <a:pt x="34634" y="34888"/>
                              <a:pt x="34873" y="34649"/>
                            </a:cubicBezTo>
                            <a:cubicBezTo>
                              <a:pt x="35112" y="34350"/>
                              <a:pt x="35352" y="34111"/>
                              <a:pt x="35591" y="33812"/>
                            </a:cubicBezTo>
                            <a:cubicBezTo>
                              <a:pt x="35830" y="33512"/>
                              <a:pt x="36070" y="33214"/>
                              <a:pt x="36309" y="32974"/>
                            </a:cubicBezTo>
                            <a:cubicBezTo>
                              <a:pt x="36847" y="32257"/>
                              <a:pt x="37385" y="31539"/>
                              <a:pt x="37864" y="30821"/>
                            </a:cubicBezTo>
                            <a:cubicBezTo>
                              <a:pt x="38342" y="30104"/>
                              <a:pt x="38761" y="29326"/>
                              <a:pt x="39179" y="28609"/>
                            </a:cubicBezTo>
                            <a:cubicBezTo>
                              <a:pt x="39598" y="27831"/>
                              <a:pt x="39957" y="27113"/>
                              <a:pt x="40256" y="26336"/>
                            </a:cubicBezTo>
                            <a:cubicBezTo>
                              <a:pt x="40555" y="25558"/>
                              <a:pt x="40854" y="24781"/>
                              <a:pt x="41093" y="24003"/>
                            </a:cubicBezTo>
                            <a:lnTo>
                              <a:pt x="40077" y="24123"/>
                            </a:lnTo>
                            <a:cubicBezTo>
                              <a:pt x="39837" y="24841"/>
                              <a:pt x="39598" y="25558"/>
                              <a:pt x="39299" y="26276"/>
                            </a:cubicBezTo>
                            <a:cubicBezTo>
                              <a:pt x="39000" y="26994"/>
                              <a:pt x="38641" y="27711"/>
                              <a:pt x="38282" y="28369"/>
                            </a:cubicBezTo>
                            <a:cubicBezTo>
                              <a:pt x="37924" y="29027"/>
                              <a:pt x="37505" y="29745"/>
                              <a:pt x="37086" y="30463"/>
                            </a:cubicBezTo>
                            <a:cubicBezTo>
                              <a:pt x="36667" y="31120"/>
                              <a:pt x="36189" y="31838"/>
                              <a:pt x="35651" y="32496"/>
                            </a:cubicBezTo>
                            <a:cubicBezTo>
                              <a:pt x="35352" y="32855"/>
                              <a:pt x="35053" y="33214"/>
                              <a:pt x="34754" y="33572"/>
                            </a:cubicBezTo>
                            <a:cubicBezTo>
                              <a:pt x="34455" y="33931"/>
                              <a:pt x="34156" y="34290"/>
                              <a:pt x="33797" y="34589"/>
                            </a:cubicBezTo>
                            <a:cubicBezTo>
                              <a:pt x="33498" y="34948"/>
                              <a:pt x="33139" y="35247"/>
                              <a:pt x="32840" y="35546"/>
                            </a:cubicBezTo>
                            <a:cubicBezTo>
                              <a:pt x="32421" y="35845"/>
                              <a:pt x="32122" y="36144"/>
                              <a:pt x="31763" y="36383"/>
                            </a:cubicBezTo>
                            <a:moveTo>
                              <a:pt x="6704" y="40092"/>
                            </a:moveTo>
                            <a:cubicBezTo>
                              <a:pt x="8498" y="41347"/>
                              <a:pt x="10472" y="42244"/>
                              <a:pt x="12565" y="42723"/>
                            </a:cubicBezTo>
                            <a:cubicBezTo>
                              <a:pt x="14658" y="43201"/>
                              <a:pt x="16871" y="43321"/>
                              <a:pt x="19084" y="43022"/>
                            </a:cubicBezTo>
                            <a:cubicBezTo>
                              <a:pt x="21297" y="42783"/>
                              <a:pt x="23570" y="42125"/>
                              <a:pt x="25723" y="41168"/>
                            </a:cubicBezTo>
                            <a:cubicBezTo>
                              <a:pt x="27876" y="40211"/>
                              <a:pt x="30029" y="38895"/>
                              <a:pt x="32002" y="37340"/>
                            </a:cubicBezTo>
                            <a:lnTo>
                              <a:pt x="30268" y="37520"/>
                            </a:lnTo>
                            <a:cubicBezTo>
                              <a:pt x="28474" y="38835"/>
                              <a:pt x="26500" y="39912"/>
                              <a:pt x="24526" y="40630"/>
                            </a:cubicBezTo>
                            <a:cubicBezTo>
                              <a:pt x="22553" y="41407"/>
                              <a:pt x="20519" y="41886"/>
                              <a:pt x="18486" y="42005"/>
                            </a:cubicBezTo>
                            <a:cubicBezTo>
                              <a:pt x="16453" y="42185"/>
                              <a:pt x="14479" y="42005"/>
                              <a:pt x="12625" y="41527"/>
                            </a:cubicBezTo>
                            <a:cubicBezTo>
                              <a:pt x="10771" y="41048"/>
                              <a:pt x="8977" y="40271"/>
                              <a:pt x="7362" y="39075"/>
                            </a:cubicBezTo>
                            <a:cubicBezTo>
                              <a:pt x="5329" y="37639"/>
                              <a:pt x="3773" y="35725"/>
                              <a:pt x="2757" y="33572"/>
                            </a:cubicBezTo>
                            <a:cubicBezTo>
                              <a:pt x="1680" y="31419"/>
                              <a:pt x="1142" y="28967"/>
                              <a:pt x="1022" y="26395"/>
                            </a:cubicBezTo>
                            <a:cubicBezTo>
                              <a:pt x="963" y="23824"/>
                              <a:pt x="1322" y="21133"/>
                              <a:pt x="2218" y="18501"/>
                            </a:cubicBezTo>
                            <a:cubicBezTo>
                              <a:pt x="3116" y="15870"/>
                              <a:pt x="4551" y="13238"/>
                              <a:pt x="6465" y="10786"/>
                            </a:cubicBezTo>
                            <a:cubicBezTo>
                              <a:pt x="8199" y="8573"/>
                              <a:pt x="10233" y="6719"/>
                              <a:pt x="12386" y="5224"/>
                            </a:cubicBezTo>
                            <a:cubicBezTo>
                              <a:pt x="14539" y="3729"/>
                              <a:pt x="16871" y="2652"/>
                              <a:pt x="19204" y="1934"/>
                            </a:cubicBezTo>
                            <a:cubicBezTo>
                              <a:pt x="21536" y="1217"/>
                              <a:pt x="23928" y="918"/>
                              <a:pt x="26201" y="1097"/>
                            </a:cubicBezTo>
                            <a:cubicBezTo>
                              <a:pt x="28474" y="1217"/>
                              <a:pt x="30687" y="1815"/>
                              <a:pt x="32660" y="2831"/>
                            </a:cubicBezTo>
                            <a:lnTo>
                              <a:pt x="34634" y="2652"/>
                            </a:lnTo>
                            <a:cubicBezTo>
                              <a:pt x="32541" y="1277"/>
                              <a:pt x="30148" y="439"/>
                              <a:pt x="27696" y="140"/>
                            </a:cubicBezTo>
                            <a:cubicBezTo>
                              <a:pt x="25185" y="-159"/>
                              <a:pt x="22553" y="21"/>
                              <a:pt x="19981" y="678"/>
                            </a:cubicBezTo>
                            <a:cubicBezTo>
                              <a:pt x="17350" y="1336"/>
                              <a:pt x="14778" y="2532"/>
                              <a:pt x="12386" y="4087"/>
                            </a:cubicBezTo>
                            <a:cubicBezTo>
                              <a:pt x="9934" y="5702"/>
                              <a:pt x="7721" y="7736"/>
                              <a:pt x="5747" y="10188"/>
                            </a:cubicBezTo>
                            <a:cubicBezTo>
                              <a:pt x="3714" y="12760"/>
                              <a:pt x="2278" y="15511"/>
                              <a:pt x="1322" y="18262"/>
                            </a:cubicBezTo>
                            <a:cubicBezTo>
                              <a:pt x="364" y="21073"/>
                              <a:pt x="-54" y="23884"/>
                              <a:pt x="6" y="26575"/>
                            </a:cubicBezTo>
                            <a:cubicBezTo>
                              <a:pt x="125" y="29266"/>
                              <a:pt x="723" y="31838"/>
                              <a:pt x="1800" y="34111"/>
                            </a:cubicBezTo>
                            <a:cubicBezTo>
                              <a:pt x="2996" y="36623"/>
                              <a:pt x="4611" y="38596"/>
                              <a:pt x="6704" y="40092"/>
                            </a:cubicBezTo>
                          </a:path>
                        </a:pathLst>
                      </a:custGeom>
                      <a:noFill/>
                      <a:ln w="6350" cap="flat">
                        <a:solidFill>
                          <a:schemeClr val="bg1">
                            <a:alpha val="40000"/>
                          </a:schemeClr>
                        </a:solidFill>
                        <a:prstDash val="solid"/>
                        <a:miter/>
                      </a:ln>
                    </p:spPr>
                    <p:txBody>
                      <a:bodyPr rtlCol="0" anchor="ctr"/>
                      <a:lstStyle/>
                      <a:p>
                        <a:endParaRPr lang="en-GB"/>
                      </a:p>
                    </p:txBody>
                  </p:sp>
                  <p:sp>
                    <p:nvSpPr>
                      <p:cNvPr id="7551" name="Vrije vorm: vorm 7550">
                        <a:extLst>
                          <a:ext uri="{FF2B5EF4-FFF2-40B4-BE49-F238E27FC236}">
                            <a16:creationId xmlns:a16="http://schemas.microsoft.com/office/drawing/2014/main" id="{C71979EE-59CC-4E88-8A82-3D889947F54E}"/>
                          </a:ext>
                        </a:extLst>
                      </p:cNvPr>
                      <p:cNvSpPr/>
                      <p:nvPr/>
                    </p:nvSpPr>
                    <p:spPr>
                      <a:xfrm>
                        <a:off x="4994341" y="5255113"/>
                        <a:ext cx="97882" cy="84634"/>
                      </a:xfrm>
                      <a:custGeom>
                        <a:avLst/>
                        <a:gdLst>
                          <a:gd name="connsiteX0" fmla="*/ 0 w 97882"/>
                          <a:gd name="connsiteY0" fmla="*/ 38464 h 84634"/>
                          <a:gd name="connsiteX1" fmla="*/ 3529 w 97882"/>
                          <a:gd name="connsiteY1" fmla="*/ 40796 h 84634"/>
                          <a:gd name="connsiteX2" fmla="*/ 4306 w 97882"/>
                          <a:gd name="connsiteY2" fmla="*/ 41334 h 84634"/>
                          <a:gd name="connsiteX3" fmla="*/ 7835 w 97882"/>
                          <a:gd name="connsiteY3" fmla="*/ 43667 h 84634"/>
                          <a:gd name="connsiteX4" fmla="*/ 8612 w 97882"/>
                          <a:gd name="connsiteY4" fmla="*/ 44205 h 84634"/>
                          <a:gd name="connsiteX5" fmla="*/ 10406 w 97882"/>
                          <a:gd name="connsiteY5" fmla="*/ 45401 h 84634"/>
                          <a:gd name="connsiteX6" fmla="*/ 11124 w 97882"/>
                          <a:gd name="connsiteY6" fmla="*/ 44504 h 84634"/>
                          <a:gd name="connsiteX7" fmla="*/ 9330 w 97882"/>
                          <a:gd name="connsiteY7" fmla="*/ 43308 h 84634"/>
                          <a:gd name="connsiteX8" fmla="*/ 8552 w 97882"/>
                          <a:gd name="connsiteY8" fmla="*/ 42770 h 84634"/>
                          <a:gd name="connsiteX9" fmla="*/ 5024 w 97882"/>
                          <a:gd name="connsiteY9" fmla="*/ 40437 h 84634"/>
                          <a:gd name="connsiteX10" fmla="*/ 4246 w 97882"/>
                          <a:gd name="connsiteY10" fmla="*/ 39899 h 84634"/>
                          <a:gd name="connsiteX11" fmla="*/ 1495 w 97882"/>
                          <a:gd name="connsiteY11" fmla="*/ 38105 h 84634"/>
                          <a:gd name="connsiteX12" fmla="*/ 3529 w 97882"/>
                          <a:gd name="connsiteY12" fmla="*/ 35533 h 84634"/>
                          <a:gd name="connsiteX13" fmla="*/ 4246 w 97882"/>
                          <a:gd name="connsiteY13" fmla="*/ 34636 h 84634"/>
                          <a:gd name="connsiteX14" fmla="*/ 8014 w 97882"/>
                          <a:gd name="connsiteY14" fmla="*/ 29911 h 84634"/>
                          <a:gd name="connsiteX15" fmla="*/ 8732 w 97882"/>
                          <a:gd name="connsiteY15" fmla="*/ 29014 h 84634"/>
                          <a:gd name="connsiteX16" fmla="*/ 9749 w 97882"/>
                          <a:gd name="connsiteY16" fmla="*/ 27758 h 84634"/>
                          <a:gd name="connsiteX17" fmla="*/ 10466 w 97882"/>
                          <a:gd name="connsiteY17" fmla="*/ 26861 h 84634"/>
                          <a:gd name="connsiteX18" fmla="*/ 12619 w 97882"/>
                          <a:gd name="connsiteY18" fmla="*/ 24110 h 84634"/>
                          <a:gd name="connsiteX19" fmla="*/ 13337 w 97882"/>
                          <a:gd name="connsiteY19" fmla="*/ 23212 h 84634"/>
                          <a:gd name="connsiteX20" fmla="*/ 15311 w 97882"/>
                          <a:gd name="connsiteY20" fmla="*/ 20701 h 84634"/>
                          <a:gd name="connsiteX21" fmla="*/ 16028 w 97882"/>
                          <a:gd name="connsiteY21" fmla="*/ 19804 h 84634"/>
                          <a:gd name="connsiteX22" fmla="*/ 20335 w 97882"/>
                          <a:gd name="connsiteY22" fmla="*/ 14361 h 84634"/>
                          <a:gd name="connsiteX23" fmla="*/ 21052 w 97882"/>
                          <a:gd name="connsiteY23" fmla="*/ 13464 h 84634"/>
                          <a:gd name="connsiteX24" fmla="*/ 25358 w 97882"/>
                          <a:gd name="connsiteY24" fmla="*/ 8022 h 84634"/>
                          <a:gd name="connsiteX25" fmla="*/ 29724 w 97882"/>
                          <a:gd name="connsiteY25" fmla="*/ 3536 h 84634"/>
                          <a:gd name="connsiteX26" fmla="*/ 34030 w 97882"/>
                          <a:gd name="connsiteY26" fmla="*/ 1203 h 84634"/>
                          <a:gd name="connsiteX27" fmla="*/ 38337 w 97882"/>
                          <a:gd name="connsiteY27" fmla="*/ 1024 h 84634"/>
                          <a:gd name="connsiteX28" fmla="*/ 42643 w 97882"/>
                          <a:gd name="connsiteY28" fmla="*/ 2998 h 84634"/>
                          <a:gd name="connsiteX29" fmla="*/ 48384 w 97882"/>
                          <a:gd name="connsiteY29" fmla="*/ 7005 h 84634"/>
                          <a:gd name="connsiteX30" fmla="*/ 49700 w 97882"/>
                          <a:gd name="connsiteY30" fmla="*/ 7304 h 84634"/>
                          <a:gd name="connsiteX31" fmla="*/ 51016 w 97882"/>
                          <a:gd name="connsiteY31" fmla="*/ 7782 h 84634"/>
                          <a:gd name="connsiteX32" fmla="*/ 52271 w 97882"/>
                          <a:gd name="connsiteY32" fmla="*/ 8440 h 84634"/>
                          <a:gd name="connsiteX33" fmla="*/ 53528 w 97882"/>
                          <a:gd name="connsiteY33" fmla="*/ 9218 h 84634"/>
                          <a:gd name="connsiteX34" fmla="*/ 66565 w 97882"/>
                          <a:gd name="connsiteY34" fmla="*/ 18309 h 84634"/>
                          <a:gd name="connsiteX35" fmla="*/ 65848 w 97882"/>
                          <a:gd name="connsiteY35" fmla="*/ 19205 h 84634"/>
                          <a:gd name="connsiteX36" fmla="*/ 85345 w 97882"/>
                          <a:gd name="connsiteY36" fmla="*/ 32842 h 84634"/>
                          <a:gd name="connsiteX37" fmla="*/ 86123 w 97882"/>
                          <a:gd name="connsiteY37" fmla="*/ 33380 h 84634"/>
                          <a:gd name="connsiteX38" fmla="*/ 92821 w 97882"/>
                          <a:gd name="connsiteY38" fmla="*/ 38045 h 84634"/>
                          <a:gd name="connsiteX39" fmla="*/ 95452 w 97882"/>
                          <a:gd name="connsiteY39" fmla="*/ 40557 h 84634"/>
                          <a:gd name="connsiteX40" fmla="*/ 96708 w 97882"/>
                          <a:gd name="connsiteY40" fmla="*/ 43487 h 84634"/>
                          <a:gd name="connsiteX41" fmla="*/ 96589 w 97882"/>
                          <a:gd name="connsiteY41" fmla="*/ 46836 h 84634"/>
                          <a:gd name="connsiteX42" fmla="*/ 95034 w 97882"/>
                          <a:gd name="connsiteY42" fmla="*/ 50604 h 84634"/>
                          <a:gd name="connsiteX43" fmla="*/ 94914 w 97882"/>
                          <a:gd name="connsiteY43" fmla="*/ 50844 h 84634"/>
                          <a:gd name="connsiteX44" fmla="*/ 94794 w 97882"/>
                          <a:gd name="connsiteY44" fmla="*/ 51083 h 84634"/>
                          <a:gd name="connsiteX45" fmla="*/ 94675 w 97882"/>
                          <a:gd name="connsiteY45" fmla="*/ 51322 h 84634"/>
                          <a:gd name="connsiteX46" fmla="*/ 94495 w 97882"/>
                          <a:gd name="connsiteY46" fmla="*/ 51561 h 84634"/>
                          <a:gd name="connsiteX47" fmla="*/ 94316 w 97882"/>
                          <a:gd name="connsiteY47" fmla="*/ 51860 h 84634"/>
                          <a:gd name="connsiteX48" fmla="*/ 94137 w 97882"/>
                          <a:gd name="connsiteY48" fmla="*/ 52159 h 84634"/>
                          <a:gd name="connsiteX49" fmla="*/ 93897 w 97882"/>
                          <a:gd name="connsiteY49" fmla="*/ 52458 h 84634"/>
                          <a:gd name="connsiteX50" fmla="*/ 93658 w 97882"/>
                          <a:gd name="connsiteY50" fmla="*/ 52757 h 84634"/>
                          <a:gd name="connsiteX51" fmla="*/ 93479 w 97882"/>
                          <a:gd name="connsiteY51" fmla="*/ 52997 h 84634"/>
                          <a:gd name="connsiteX52" fmla="*/ 93299 w 97882"/>
                          <a:gd name="connsiteY52" fmla="*/ 53236 h 84634"/>
                          <a:gd name="connsiteX53" fmla="*/ 93120 w 97882"/>
                          <a:gd name="connsiteY53" fmla="*/ 53475 h 84634"/>
                          <a:gd name="connsiteX54" fmla="*/ 92940 w 97882"/>
                          <a:gd name="connsiteY54" fmla="*/ 53714 h 84634"/>
                          <a:gd name="connsiteX55" fmla="*/ 92821 w 97882"/>
                          <a:gd name="connsiteY55" fmla="*/ 53834 h 84634"/>
                          <a:gd name="connsiteX56" fmla="*/ 92701 w 97882"/>
                          <a:gd name="connsiteY56" fmla="*/ 53953 h 84634"/>
                          <a:gd name="connsiteX57" fmla="*/ 92581 w 97882"/>
                          <a:gd name="connsiteY57" fmla="*/ 54073 h 84634"/>
                          <a:gd name="connsiteX58" fmla="*/ 92462 w 97882"/>
                          <a:gd name="connsiteY58" fmla="*/ 54193 h 84634"/>
                          <a:gd name="connsiteX59" fmla="*/ 91386 w 97882"/>
                          <a:gd name="connsiteY59" fmla="*/ 55508 h 84634"/>
                          <a:gd name="connsiteX60" fmla="*/ 90668 w 97882"/>
                          <a:gd name="connsiteY60" fmla="*/ 56406 h 84634"/>
                          <a:gd name="connsiteX61" fmla="*/ 89771 w 97882"/>
                          <a:gd name="connsiteY61" fmla="*/ 57542 h 84634"/>
                          <a:gd name="connsiteX62" fmla="*/ 89053 w 97882"/>
                          <a:gd name="connsiteY62" fmla="*/ 58439 h 84634"/>
                          <a:gd name="connsiteX63" fmla="*/ 88276 w 97882"/>
                          <a:gd name="connsiteY63" fmla="*/ 59396 h 84634"/>
                          <a:gd name="connsiteX64" fmla="*/ 87917 w 97882"/>
                          <a:gd name="connsiteY64" fmla="*/ 59815 h 84634"/>
                          <a:gd name="connsiteX65" fmla="*/ 87199 w 97882"/>
                          <a:gd name="connsiteY65" fmla="*/ 60712 h 84634"/>
                          <a:gd name="connsiteX66" fmla="*/ 86302 w 97882"/>
                          <a:gd name="connsiteY66" fmla="*/ 61848 h 84634"/>
                          <a:gd name="connsiteX67" fmla="*/ 85584 w 97882"/>
                          <a:gd name="connsiteY67" fmla="*/ 62745 h 84634"/>
                          <a:gd name="connsiteX68" fmla="*/ 83431 w 97882"/>
                          <a:gd name="connsiteY68" fmla="*/ 65496 h 84634"/>
                          <a:gd name="connsiteX69" fmla="*/ 82713 w 97882"/>
                          <a:gd name="connsiteY69" fmla="*/ 66393 h 84634"/>
                          <a:gd name="connsiteX70" fmla="*/ 80800 w 97882"/>
                          <a:gd name="connsiteY70" fmla="*/ 68786 h 84634"/>
                          <a:gd name="connsiteX71" fmla="*/ 80142 w 97882"/>
                          <a:gd name="connsiteY71" fmla="*/ 69623 h 84634"/>
                          <a:gd name="connsiteX72" fmla="*/ 78048 w 97882"/>
                          <a:gd name="connsiteY72" fmla="*/ 72254 h 84634"/>
                          <a:gd name="connsiteX73" fmla="*/ 77331 w 97882"/>
                          <a:gd name="connsiteY73" fmla="*/ 73152 h 84634"/>
                          <a:gd name="connsiteX74" fmla="*/ 76374 w 97882"/>
                          <a:gd name="connsiteY74" fmla="*/ 74348 h 84634"/>
                          <a:gd name="connsiteX75" fmla="*/ 75656 w 97882"/>
                          <a:gd name="connsiteY75" fmla="*/ 75245 h 84634"/>
                          <a:gd name="connsiteX76" fmla="*/ 72068 w 97882"/>
                          <a:gd name="connsiteY76" fmla="*/ 79790 h 84634"/>
                          <a:gd name="connsiteX77" fmla="*/ 71410 w 97882"/>
                          <a:gd name="connsiteY77" fmla="*/ 80628 h 84634"/>
                          <a:gd name="connsiteX78" fmla="*/ 69436 w 97882"/>
                          <a:gd name="connsiteY78" fmla="*/ 83080 h 84634"/>
                          <a:gd name="connsiteX79" fmla="*/ 66207 w 97882"/>
                          <a:gd name="connsiteY79" fmla="*/ 80927 h 84634"/>
                          <a:gd name="connsiteX80" fmla="*/ 65429 w 97882"/>
                          <a:gd name="connsiteY80" fmla="*/ 80448 h 84634"/>
                          <a:gd name="connsiteX81" fmla="*/ 62200 w 97882"/>
                          <a:gd name="connsiteY81" fmla="*/ 78295 h 84634"/>
                          <a:gd name="connsiteX82" fmla="*/ 61422 w 97882"/>
                          <a:gd name="connsiteY82" fmla="*/ 77816 h 84634"/>
                          <a:gd name="connsiteX83" fmla="*/ 53468 w 97882"/>
                          <a:gd name="connsiteY83" fmla="*/ 72553 h 84634"/>
                          <a:gd name="connsiteX84" fmla="*/ 52690 w 97882"/>
                          <a:gd name="connsiteY84" fmla="*/ 72015 h 84634"/>
                          <a:gd name="connsiteX85" fmla="*/ 49341 w 97882"/>
                          <a:gd name="connsiteY85" fmla="*/ 69803 h 84634"/>
                          <a:gd name="connsiteX86" fmla="*/ 48623 w 97882"/>
                          <a:gd name="connsiteY86" fmla="*/ 69324 h 84634"/>
                          <a:gd name="connsiteX87" fmla="*/ 42942 w 97882"/>
                          <a:gd name="connsiteY87" fmla="*/ 65556 h 84634"/>
                          <a:gd name="connsiteX88" fmla="*/ 42164 w 97882"/>
                          <a:gd name="connsiteY88" fmla="*/ 65018 h 84634"/>
                          <a:gd name="connsiteX89" fmla="*/ 29545 w 97882"/>
                          <a:gd name="connsiteY89" fmla="*/ 56645 h 84634"/>
                          <a:gd name="connsiteX90" fmla="*/ 28767 w 97882"/>
                          <a:gd name="connsiteY90" fmla="*/ 56106 h 84634"/>
                          <a:gd name="connsiteX91" fmla="*/ 25239 w 97882"/>
                          <a:gd name="connsiteY91" fmla="*/ 53774 h 84634"/>
                          <a:gd name="connsiteX92" fmla="*/ 24700 w 97882"/>
                          <a:gd name="connsiteY92" fmla="*/ 54851 h 84634"/>
                          <a:gd name="connsiteX93" fmla="*/ 28229 w 97882"/>
                          <a:gd name="connsiteY93" fmla="*/ 57183 h 84634"/>
                          <a:gd name="connsiteX94" fmla="*/ 29006 w 97882"/>
                          <a:gd name="connsiteY94" fmla="*/ 57721 h 84634"/>
                          <a:gd name="connsiteX95" fmla="*/ 41626 w 97882"/>
                          <a:gd name="connsiteY95" fmla="*/ 66094 h 84634"/>
                          <a:gd name="connsiteX96" fmla="*/ 42403 w 97882"/>
                          <a:gd name="connsiteY96" fmla="*/ 66633 h 84634"/>
                          <a:gd name="connsiteX97" fmla="*/ 48085 w 97882"/>
                          <a:gd name="connsiteY97" fmla="*/ 70400 h 84634"/>
                          <a:gd name="connsiteX98" fmla="*/ 48803 w 97882"/>
                          <a:gd name="connsiteY98" fmla="*/ 70879 h 84634"/>
                          <a:gd name="connsiteX99" fmla="*/ 52152 w 97882"/>
                          <a:gd name="connsiteY99" fmla="*/ 73092 h 84634"/>
                          <a:gd name="connsiteX100" fmla="*/ 52929 w 97882"/>
                          <a:gd name="connsiteY100" fmla="*/ 73630 h 84634"/>
                          <a:gd name="connsiteX101" fmla="*/ 60884 w 97882"/>
                          <a:gd name="connsiteY101" fmla="*/ 78893 h 84634"/>
                          <a:gd name="connsiteX102" fmla="*/ 61661 w 97882"/>
                          <a:gd name="connsiteY102" fmla="*/ 79372 h 84634"/>
                          <a:gd name="connsiteX103" fmla="*/ 64891 w 97882"/>
                          <a:gd name="connsiteY103" fmla="*/ 81524 h 84634"/>
                          <a:gd name="connsiteX104" fmla="*/ 65668 w 97882"/>
                          <a:gd name="connsiteY104" fmla="*/ 82003 h 84634"/>
                          <a:gd name="connsiteX105" fmla="*/ 69616 w 97882"/>
                          <a:gd name="connsiteY105" fmla="*/ 84635 h 84634"/>
                          <a:gd name="connsiteX106" fmla="*/ 72247 w 97882"/>
                          <a:gd name="connsiteY106" fmla="*/ 81285 h 84634"/>
                          <a:gd name="connsiteX107" fmla="*/ 72905 w 97882"/>
                          <a:gd name="connsiteY107" fmla="*/ 80448 h 84634"/>
                          <a:gd name="connsiteX108" fmla="*/ 76493 w 97882"/>
                          <a:gd name="connsiteY108" fmla="*/ 75903 h 84634"/>
                          <a:gd name="connsiteX109" fmla="*/ 77211 w 97882"/>
                          <a:gd name="connsiteY109" fmla="*/ 75006 h 84634"/>
                          <a:gd name="connsiteX110" fmla="*/ 78168 w 97882"/>
                          <a:gd name="connsiteY110" fmla="*/ 73809 h 84634"/>
                          <a:gd name="connsiteX111" fmla="*/ 78886 w 97882"/>
                          <a:gd name="connsiteY111" fmla="*/ 72912 h 84634"/>
                          <a:gd name="connsiteX112" fmla="*/ 80979 w 97882"/>
                          <a:gd name="connsiteY112" fmla="*/ 70281 h 84634"/>
                          <a:gd name="connsiteX113" fmla="*/ 81637 w 97882"/>
                          <a:gd name="connsiteY113" fmla="*/ 69444 h 84634"/>
                          <a:gd name="connsiteX114" fmla="*/ 83551 w 97882"/>
                          <a:gd name="connsiteY114" fmla="*/ 67051 h 84634"/>
                          <a:gd name="connsiteX115" fmla="*/ 84269 w 97882"/>
                          <a:gd name="connsiteY115" fmla="*/ 66154 h 84634"/>
                          <a:gd name="connsiteX116" fmla="*/ 86422 w 97882"/>
                          <a:gd name="connsiteY116" fmla="*/ 63463 h 84634"/>
                          <a:gd name="connsiteX117" fmla="*/ 87139 w 97882"/>
                          <a:gd name="connsiteY117" fmla="*/ 62566 h 84634"/>
                          <a:gd name="connsiteX118" fmla="*/ 88036 w 97882"/>
                          <a:gd name="connsiteY118" fmla="*/ 61429 h 84634"/>
                          <a:gd name="connsiteX119" fmla="*/ 88754 w 97882"/>
                          <a:gd name="connsiteY119" fmla="*/ 60532 h 84634"/>
                          <a:gd name="connsiteX120" fmla="*/ 89173 w 97882"/>
                          <a:gd name="connsiteY120" fmla="*/ 60054 h 84634"/>
                          <a:gd name="connsiteX121" fmla="*/ 89831 w 97882"/>
                          <a:gd name="connsiteY121" fmla="*/ 59217 h 84634"/>
                          <a:gd name="connsiteX122" fmla="*/ 90548 w 97882"/>
                          <a:gd name="connsiteY122" fmla="*/ 58320 h 84634"/>
                          <a:gd name="connsiteX123" fmla="*/ 91445 w 97882"/>
                          <a:gd name="connsiteY123" fmla="*/ 57183 h 84634"/>
                          <a:gd name="connsiteX124" fmla="*/ 92163 w 97882"/>
                          <a:gd name="connsiteY124" fmla="*/ 56286 h 84634"/>
                          <a:gd name="connsiteX125" fmla="*/ 93299 w 97882"/>
                          <a:gd name="connsiteY125" fmla="*/ 54851 h 84634"/>
                          <a:gd name="connsiteX126" fmla="*/ 93359 w 97882"/>
                          <a:gd name="connsiteY126" fmla="*/ 54731 h 84634"/>
                          <a:gd name="connsiteX127" fmla="*/ 93419 w 97882"/>
                          <a:gd name="connsiteY127" fmla="*/ 54611 h 84634"/>
                          <a:gd name="connsiteX128" fmla="*/ 93479 w 97882"/>
                          <a:gd name="connsiteY128" fmla="*/ 54492 h 84634"/>
                          <a:gd name="connsiteX129" fmla="*/ 93539 w 97882"/>
                          <a:gd name="connsiteY129" fmla="*/ 54372 h 84634"/>
                          <a:gd name="connsiteX130" fmla="*/ 93718 w 97882"/>
                          <a:gd name="connsiteY130" fmla="*/ 54133 h 84634"/>
                          <a:gd name="connsiteX131" fmla="*/ 93897 w 97882"/>
                          <a:gd name="connsiteY131" fmla="*/ 53894 h 84634"/>
                          <a:gd name="connsiteX132" fmla="*/ 94077 w 97882"/>
                          <a:gd name="connsiteY132" fmla="*/ 53654 h 84634"/>
                          <a:gd name="connsiteX133" fmla="*/ 94256 w 97882"/>
                          <a:gd name="connsiteY133" fmla="*/ 53415 h 84634"/>
                          <a:gd name="connsiteX134" fmla="*/ 94495 w 97882"/>
                          <a:gd name="connsiteY134" fmla="*/ 53116 h 84634"/>
                          <a:gd name="connsiteX135" fmla="*/ 94735 w 97882"/>
                          <a:gd name="connsiteY135" fmla="*/ 52817 h 84634"/>
                          <a:gd name="connsiteX136" fmla="*/ 94974 w 97882"/>
                          <a:gd name="connsiteY136" fmla="*/ 52518 h 84634"/>
                          <a:gd name="connsiteX137" fmla="*/ 95154 w 97882"/>
                          <a:gd name="connsiteY137" fmla="*/ 52219 h 84634"/>
                          <a:gd name="connsiteX138" fmla="*/ 95333 w 97882"/>
                          <a:gd name="connsiteY138" fmla="*/ 51980 h 84634"/>
                          <a:gd name="connsiteX139" fmla="*/ 95512 w 97882"/>
                          <a:gd name="connsiteY139" fmla="*/ 51741 h 84634"/>
                          <a:gd name="connsiteX140" fmla="*/ 95632 w 97882"/>
                          <a:gd name="connsiteY140" fmla="*/ 51502 h 84634"/>
                          <a:gd name="connsiteX141" fmla="*/ 95751 w 97882"/>
                          <a:gd name="connsiteY141" fmla="*/ 51262 h 84634"/>
                          <a:gd name="connsiteX142" fmla="*/ 97546 w 97882"/>
                          <a:gd name="connsiteY142" fmla="*/ 47076 h 84634"/>
                          <a:gd name="connsiteX143" fmla="*/ 97785 w 97882"/>
                          <a:gd name="connsiteY143" fmla="*/ 43368 h 84634"/>
                          <a:gd name="connsiteX144" fmla="*/ 96469 w 97882"/>
                          <a:gd name="connsiteY144" fmla="*/ 40078 h 84634"/>
                          <a:gd name="connsiteX145" fmla="*/ 93598 w 97882"/>
                          <a:gd name="connsiteY145" fmla="*/ 37267 h 84634"/>
                          <a:gd name="connsiteX146" fmla="*/ 86900 w 97882"/>
                          <a:gd name="connsiteY146" fmla="*/ 32602 h 84634"/>
                          <a:gd name="connsiteX147" fmla="*/ 86123 w 97882"/>
                          <a:gd name="connsiteY147" fmla="*/ 32064 h 84634"/>
                          <a:gd name="connsiteX148" fmla="*/ 51075 w 97882"/>
                          <a:gd name="connsiteY148" fmla="*/ 7603 h 84634"/>
                          <a:gd name="connsiteX149" fmla="*/ 50298 w 97882"/>
                          <a:gd name="connsiteY149" fmla="*/ 7065 h 84634"/>
                          <a:gd name="connsiteX150" fmla="*/ 43420 w 97882"/>
                          <a:gd name="connsiteY150" fmla="*/ 2280 h 84634"/>
                          <a:gd name="connsiteX151" fmla="*/ 38755 w 97882"/>
                          <a:gd name="connsiteY151" fmla="*/ 187 h 84634"/>
                          <a:gd name="connsiteX152" fmla="*/ 34030 w 97882"/>
                          <a:gd name="connsiteY152" fmla="*/ 366 h 84634"/>
                          <a:gd name="connsiteX153" fmla="*/ 29306 w 97882"/>
                          <a:gd name="connsiteY153" fmla="*/ 2878 h 84634"/>
                          <a:gd name="connsiteX154" fmla="*/ 24581 w 97882"/>
                          <a:gd name="connsiteY154" fmla="*/ 7663 h 84634"/>
                          <a:gd name="connsiteX155" fmla="*/ 20275 w 97882"/>
                          <a:gd name="connsiteY155" fmla="*/ 13105 h 84634"/>
                          <a:gd name="connsiteX156" fmla="*/ 19557 w 97882"/>
                          <a:gd name="connsiteY156" fmla="*/ 14002 h 84634"/>
                          <a:gd name="connsiteX157" fmla="*/ 15251 w 97882"/>
                          <a:gd name="connsiteY157" fmla="*/ 19445 h 84634"/>
                          <a:gd name="connsiteX158" fmla="*/ 14533 w 97882"/>
                          <a:gd name="connsiteY158" fmla="*/ 20342 h 84634"/>
                          <a:gd name="connsiteX159" fmla="*/ 12559 w 97882"/>
                          <a:gd name="connsiteY159" fmla="*/ 22854 h 84634"/>
                          <a:gd name="connsiteX160" fmla="*/ 11842 w 97882"/>
                          <a:gd name="connsiteY160" fmla="*/ 23751 h 84634"/>
                          <a:gd name="connsiteX161" fmla="*/ 9689 w 97882"/>
                          <a:gd name="connsiteY161" fmla="*/ 26502 h 84634"/>
                          <a:gd name="connsiteX162" fmla="*/ 8971 w 97882"/>
                          <a:gd name="connsiteY162" fmla="*/ 27399 h 84634"/>
                          <a:gd name="connsiteX163" fmla="*/ 7954 w 97882"/>
                          <a:gd name="connsiteY163" fmla="*/ 28655 h 84634"/>
                          <a:gd name="connsiteX164" fmla="*/ 7237 w 97882"/>
                          <a:gd name="connsiteY164" fmla="*/ 29552 h 84634"/>
                          <a:gd name="connsiteX165" fmla="*/ 3469 w 97882"/>
                          <a:gd name="connsiteY165" fmla="*/ 34277 h 84634"/>
                          <a:gd name="connsiteX166" fmla="*/ 2751 w 97882"/>
                          <a:gd name="connsiteY166" fmla="*/ 35174 h 84634"/>
                          <a:gd name="connsiteX167" fmla="*/ 0 w 97882"/>
                          <a:gd name="connsiteY167" fmla="*/ 38464 h 8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97882" h="84634">
                            <a:moveTo>
                              <a:pt x="0" y="38464"/>
                            </a:moveTo>
                            <a:lnTo>
                              <a:pt x="3529" y="40796"/>
                            </a:lnTo>
                            <a:lnTo>
                              <a:pt x="4306" y="41334"/>
                            </a:lnTo>
                            <a:lnTo>
                              <a:pt x="7835" y="43667"/>
                            </a:lnTo>
                            <a:lnTo>
                              <a:pt x="8612" y="44205"/>
                            </a:lnTo>
                            <a:lnTo>
                              <a:pt x="10406" y="45401"/>
                            </a:lnTo>
                            <a:lnTo>
                              <a:pt x="11124" y="44504"/>
                            </a:lnTo>
                            <a:lnTo>
                              <a:pt x="9330" y="43308"/>
                            </a:lnTo>
                            <a:lnTo>
                              <a:pt x="8552" y="42770"/>
                            </a:lnTo>
                            <a:lnTo>
                              <a:pt x="5024" y="40437"/>
                            </a:lnTo>
                            <a:lnTo>
                              <a:pt x="4246" y="39899"/>
                            </a:lnTo>
                            <a:lnTo>
                              <a:pt x="1495" y="38105"/>
                            </a:lnTo>
                            <a:lnTo>
                              <a:pt x="3529" y="35533"/>
                            </a:lnTo>
                            <a:lnTo>
                              <a:pt x="4246" y="34636"/>
                            </a:lnTo>
                            <a:lnTo>
                              <a:pt x="8014" y="29911"/>
                            </a:lnTo>
                            <a:lnTo>
                              <a:pt x="8732" y="29014"/>
                            </a:lnTo>
                            <a:lnTo>
                              <a:pt x="9749" y="27758"/>
                            </a:lnTo>
                            <a:lnTo>
                              <a:pt x="10466" y="26861"/>
                            </a:lnTo>
                            <a:lnTo>
                              <a:pt x="12619" y="24110"/>
                            </a:lnTo>
                            <a:lnTo>
                              <a:pt x="13337" y="23212"/>
                            </a:lnTo>
                            <a:lnTo>
                              <a:pt x="15311" y="20701"/>
                            </a:lnTo>
                            <a:lnTo>
                              <a:pt x="16028" y="19804"/>
                            </a:lnTo>
                            <a:lnTo>
                              <a:pt x="20335" y="14361"/>
                            </a:lnTo>
                            <a:lnTo>
                              <a:pt x="21052" y="13464"/>
                            </a:lnTo>
                            <a:lnTo>
                              <a:pt x="25358" y="8022"/>
                            </a:lnTo>
                            <a:cubicBezTo>
                              <a:pt x="26794" y="6168"/>
                              <a:pt x="28289" y="4672"/>
                              <a:pt x="29724" y="3536"/>
                            </a:cubicBezTo>
                            <a:cubicBezTo>
                              <a:pt x="31160" y="2400"/>
                              <a:pt x="32595" y="1622"/>
                              <a:pt x="34030" y="1203"/>
                            </a:cubicBezTo>
                            <a:cubicBezTo>
                              <a:pt x="35466" y="785"/>
                              <a:pt x="36901" y="725"/>
                              <a:pt x="38337" y="1024"/>
                            </a:cubicBezTo>
                            <a:cubicBezTo>
                              <a:pt x="39772" y="1323"/>
                              <a:pt x="41207" y="1981"/>
                              <a:pt x="42643" y="2998"/>
                            </a:cubicBezTo>
                            <a:lnTo>
                              <a:pt x="48384" y="7005"/>
                            </a:lnTo>
                            <a:cubicBezTo>
                              <a:pt x="48803" y="7065"/>
                              <a:pt x="49221" y="7184"/>
                              <a:pt x="49700" y="7304"/>
                            </a:cubicBezTo>
                            <a:cubicBezTo>
                              <a:pt x="50178" y="7424"/>
                              <a:pt x="50537" y="7603"/>
                              <a:pt x="51016" y="7782"/>
                            </a:cubicBezTo>
                            <a:cubicBezTo>
                              <a:pt x="51434" y="7962"/>
                              <a:pt x="51853" y="8201"/>
                              <a:pt x="52271" y="8440"/>
                            </a:cubicBezTo>
                            <a:cubicBezTo>
                              <a:pt x="52690" y="8679"/>
                              <a:pt x="53109" y="8919"/>
                              <a:pt x="53528" y="9218"/>
                            </a:cubicBezTo>
                            <a:lnTo>
                              <a:pt x="66565" y="18309"/>
                            </a:lnTo>
                            <a:lnTo>
                              <a:pt x="65848" y="19205"/>
                            </a:lnTo>
                            <a:lnTo>
                              <a:pt x="85345" y="32842"/>
                            </a:lnTo>
                            <a:lnTo>
                              <a:pt x="86123" y="33380"/>
                            </a:lnTo>
                            <a:lnTo>
                              <a:pt x="92821" y="38045"/>
                            </a:lnTo>
                            <a:cubicBezTo>
                              <a:pt x="93957" y="38822"/>
                              <a:pt x="94794" y="39659"/>
                              <a:pt x="95452" y="40557"/>
                            </a:cubicBezTo>
                            <a:cubicBezTo>
                              <a:pt x="96110" y="41454"/>
                              <a:pt x="96529" y="42411"/>
                              <a:pt x="96708" y="43487"/>
                            </a:cubicBezTo>
                            <a:cubicBezTo>
                              <a:pt x="96888" y="44504"/>
                              <a:pt x="96828" y="45640"/>
                              <a:pt x="96589" y="46836"/>
                            </a:cubicBezTo>
                            <a:cubicBezTo>
                              <a:pt x="96289" y="48033"/>
                              <a:pt x="95811" y="49289"/>
                              <a:pt x="95034" y="50604"/>
                            </a:cubicBezTo>
                            <a:cubicBezTo>
                              <a:pt x="94974" y="50664"/>
                              <a:pt x="94914" y="50784"/>
                              <a:pt x="94914" y="50844"/>
                            </a:cubicBezTo>
                            <a:cubicBezTo>
                              <a:pt x="94854" y="50903"/>
                              <a:pt x="94794" y="51023"/>
                              <a:pt x="94794" y="51083"/>
                            </a:cubicBezTo>
                            <a:cubicBezTo>
                              <a:pt x="94735" y="51143"/>
                              <a:pt x="94675" y="51262"/>
                              <a:pt x="94675" y="51322"/>
                            </a:cubicBezTo>
                            <a:cubicBezTo>
                              <a:pt x="94675" y="51382"/>
                              <a:pt x="94555" y="51502"/>
                              <a:pt x="94495" y="51561"/>
                            </a:cubicBezTo>
                            <a:cubicBezTo>
                              <a:pt x="94435" y="51681"/>
                              <a:pt x="94376" y="51741"/>
                              <a:pt x="94316" y="51860"/>
                            </a:cubicBezTo>
                            <a:cubicBezTo>
                              <a:pt x="94256" y="51980"/>
                              <a:pt x="94196" y="52099"/>
                              <a:pt x="94137" y="52159"/>
                            </a:cubicBezTo>
                            <a:cubicBezTo>
                              <a:pt x="94077" y="52279"/>
                              <a:pt x="94017" y="52398"/>
                              <a:pt x="93897" y="52458"/>
                            </a:cubicBezTo>
                            <a:cubicBezTo>
                              <a:pt x="93838" y="52578"/>
                              <a:pt x="93778" y="52698"/>
                              <a:pt x="93658" y="52757"/>
                            </a:cubicBezTo>
                            <a:cubicBezTo>
                              <a:pt x="93598" y="52817"/>
                              <a:pt x="93539" y="52877"/>
                              <a:pt x="93479" y="52997"/>
                            </a:cubicBezTo>
                            <a:cubicBezTo>
                              <a:pt x="93419" y="53057"/>
                              <a:pt x="93359" y="53116"/>
                              <a:pt x="93299" y="53236"/>
                            </a:cubicBezTo>
                            <a:cubicBezTo>
                              <a:pt x="93240" y="53296"/>
                              <a:pt x="93180" y="53356"/>
                              <a:pt x="93120" y="53475"/>
                            </a:cubicBezTo>
                            <a:cubicBezTo>
                              <a:pt x="93060" y="53535"/>
                              <a:pt x="93000" y="53595"/>
                              <a:pt x="92940" y="53714"/>
                            </a:cubicBezTo>
                            <a:cubicBezTo>
                              <a:pt x="92881" y="53774"/>
                              <a:pt x="92881" y="53834"/>
                              <a:pt x="92821" y="53834"/>
                            </a:cubicBezTo>
                            <a:cubicBezTo>
                              <a:pt x="92761" y="53894"/>
                              <a:pt x="92761" y="53953"/>
                              <a:pt x="92701" y="53953"/>
                            </a:cubicBezTo>
                            <a:cubicBezTo>
                              <a:pt x="92641" y="54013"/>
                              <a:pt x="92641" y="54073"/>
                              <a:pt x="92581" y="54073"/>
                            </a:cubicBezTo>
                            <a:cubicBezTo>
                              <a:pt x="92522" y="54133"/>
                              <a:pt x="92522" y="54193"/>
                              <a:pt x="92462" y="54193"/>
                            </a:cubicBezTo>
                            <a:lnTo>
                              <a:pt x="91386" y="55508"/>
                            </a:lnTo>
                            <a:lnTo>
                              <a:pt x="90668" y="56406"/>
                            </a:lnTo>
                            <a:lnTo>
                              <a:pt x="89771" y="57542"/>
                            </a:lnTo>
                            <a:lnTo>
                              <a:pt x="89053" y="58439"/>
                            </a:lnTo>
                            <a:lnTo>
                              <a:pt x="88276" y="59396"/>
                            </a:lnTo>
                            <a:lnTo>
                              <a:pt x="87917" y="59815"/>
                            </a:lnTo>
                            <a:lnTo>
                              <a:pt x="87199" y="60712"/>
                            </a:lnTo>
                            <a:lnTo>
                              <a:pt x="86302" y="61848"/>
                            </a:lnTo>
                            <a:lnTo>
                              <a:pt x="85584" y="62745"/>
                            </a:lnTo>
                            <a:lnTo>
                              <a:pt x="83431" y="65496"/>
                            </a:lnTo>
                            <a:lnTo>
                              <a:pt x="82713" y="66393"/>
                            </a:lnTo>
                            <a:lnTo>
                              <a:pt x="80800" y="68786"/>
                            </a:lnTo>
                            <a:lnTo>
                              <a:pt x="80142" y="69623"/>
                            </a:lnTo>
                            <a:lnTo>
                              <a:pt x="78048" y="72254"/>
                            </a:lnTo>
                            <a:lnTo>
                              <a:pt x="77331" y="73152"/>
                            </a:lnTo>
                            <a:lnTo>
                              <a:pt x="76374" y="74348"/>
                            </a:lnTo>
                            <a:lnTo>
                              <a:pt x="75656" y="75245"/>
                            </a:lnTo>
                            <a:lnTo>
                              <a:pt x="72068" y="79790"/>
                            </a:lnTo>
                            <a:lnTo>
                              <a:pt x="71410" y="80628"/>
                            </a:lnTo>
                            <a:lnTo>
                              <a:pt x="69436" y="83080"/>
                            </a:lnTo>
                            <a:lnTo>
                              <a:pt x="66207" y="80927"/>
                            </a:lnTo>
                            <a:lnTo>
                              <a:pt x="65429" y="80448"/>
                            </a:lnTo>
                            <a:lnTo>
                              <a:pt x="62200" y="78295"/>
                            </a:lnTo>
                            <a:lnTo>
                              <a:pt x="61422" y="77816"/>
                            </a:lnTo>
                            <a:lnTo>
                              <a:pt x="53468" y="72553"/>
                            </a:lnTo>
                            <a:lnTo>
                              <a:pt x="52690" y="72015"/>
                            </a:lnTo>
                            <a:lnTo>
                              <a:pt x="49341" y="69803"/>
                            </a:lnTo>
                            <a:lnTo>
                              <a:pt x="48623" y="69324"/>
                            </a:lnTo>
                            <a:lnTo>
                              <a:pt x="42942" y="65556"/>
                            </a:lnTo>
                            <a:lnTo>
                              <a:pt x="42164" y="65018"/>
                            </a:lnTo>
                            <a:lnTo>
                              <a:pt x="29545" y="56645"/>
                            </a:lnTo>
                            <a:lnTo>
                              <a:pt x="28767" y="56106"/>
                            </a:lnTo>
                            <a:lnTo>
                              <a:pt x="25239" y="53774"/>
                            </a:lnTo>
                            <a:lnTo>
                              <a:pt x="24700" y="54851"/>
                            </a:lnTo>
                            <a:lnTo>
                              <a:pt x="28229" y="57183"/>
                            </a:lnTo>
                            <a:lnTo>
                              <a:pt x="29006" y="57721"/>
                            </a:lnTo>
                            <a:lnTo>
                              <a:pt x="41626" y="66094"/>
                            </a:lnTo>
                            <a:lnTo>
                              <a:pt x="42403" y="66633"/>
                            </a:lnTo>
                            <a:lnTo>
                              <a:pt x="48085" y="70400"/>
                            </a:lnTo>
                            <a:lnTo>
                              <a:pt x="48803" y="70879"/>
                            </a:lnTo>
                            <a:lnTo>
                              <a:pt x="52152" y="73092"/>
                            </a:lnTo>
                            <a:lnTo>
                              <a:pt x="52929" y="73630"/>
                            </a:lnTo>
                            <a:lnTo>
                              <a:pt x="60884" y="78893"/>
                            </a:lnTo>
                            <a:lnTo>
                              <a:pt x="61661" y="79372"/>
                            </a:lnTo>
                            <a:lnTo>
                              <a:pt x="64891" y="81524"/>
                            </a:lnTo>
                            <a:lnTo>
                              <a:pt x="65668" y="82003"/>
                            </a:lnTo>
                            <a:lnTo>
                              <a:pt x="69616" y="84635"/>
                            </a:lnTo>
                            <a:lnTo>
                              <a:pt x="72247" y="81285"/>
                            </a:lnTo>
                            <a:lnTo>
                              <a:pt x="72905" y="80448"/>
                            </a:lnTo>
                            <a:lnTo>
                              <a:pt x="76493" y="75903"/>
                            </a:lnTo>
                            <a:lnTo>
                              <a:pt x="77211" y="75006"/>
                            </a:lnTo>
                            <a:lnTo>
                              <a:pt x="78168" y="73809"/>
                            </a:lnTo>
                            <a:lnTo>
                              <a:pt x="78886" y="72912"/>
                            </a:lnTo>
                            <a:lnTo>
                              <a:pt x="80979" y="70281"/>
                            </a:lnTo>
                            <a:lnTo>
                              <a:pt x="81637" y="69444"/>
                            </a:lnTo>
                            <a:lnTo>
                              <a:pt x="83551" y="67051"/>
                            </a:lnTo>
                            <a:lnTo>
                              <a:pt x="84269" y="66154"/>
                            </a:lnTo>
                            <a:lnTo>
                              <a:pt x="86422" y="63463"/>
                            </a:lnTo>
                            <a:lnTo>
                              <a:pt x="87139" y="62566"/>
                            </a:lnTo>
                            <a:lnTo>
                              <a:pt x="88036" y="61429"/>
                            </a:lnTo>
                            <a:lnTo>
                              <a:pt x="88754" y="60532"/>
                            </a:lnTo>
                            <a:lnTo>
                              <a:pt x="89173" y="60054"/>
                            </a:lnTo>
                            <a:lnTo>
                              <a:pt x="89831" y="59217"/>
                            </a:lnTo>
                            <a:lnTo>
                              <a:pt x="90548" y="58320"/>
                            </a:lnTo>
                            <a:lnTo>
                              <a:pt x="91445" y="57183"/>
                            </a:lnTo>
                            <a:lnTo>
                              <a:pt x="92163" y="56286"/>
                            </a:lnTo>
                            <a:lnTo>
                              <a:pt x="93299" y="54851"/>
                            </a:lnTo>
                            <a:cubicBezTo>
                              <a:pt x="93359" y="54791"/>
                              <a:pt x="93359" y="54791"/>
                              <a:pt x="93359" y="54731"/>
                            </a:cubicBezTo>
                            <a:cubicBezTo>
                              <a:pt x="93359" y="54671"/>
                              <a:pt x="93419" y="54671"/>
                              <a:pt x="93419" y="54611"/>
                            </a:cubicBezTo>
                            <a:cubicBezTo>
                              <a:pt x="93419" y="54552"/>
                              <a:pt x="93479" y="54552"/>
                              <a:pt x="93479" y="54492"/>
                            </a:cubicBezTo>
                            <a:cubicBezTo>
                              <a:pt x="93479" y="54432"/>
                              <a:pt x="93539" y="54432"/>
                              <a:pt x="93539" y="54372"/>
                            </a:cubicBezTo>
                            <a:cubicBezTo>
                              <a:pt x="93598" y="54312"/>
                              <a:pt x="93658" y="54252"/>
                              <a:pt x="93718" y="54133"/>
                            </a:cubicBezTo>
                            <a:cubicBezTo>
                              <a:pt x="93778" y="54073"/>
                              <a:pt x="93838" y="54013"/>
                              <a:pt x="93897" y="53894"/>
                            </a:cubicBezTo>
                            <a:cubicBezTo>
                              <a:pt x="93957" y="53774"/>
                              <a:pt x="94017" y="53774"/>
                              <a:pt x="94077" y="53654"/>
                            </a:cubicBezTo>
                            <a:cubicBezTo>
                              <a:pt x="94137" y="53595"/>
                              <a:pt x="94196" y="53535"/>
                              <a:pt x="94256" y="53415"/>
                            </a:cubicBezTo>
                            <a:cubicBezTo>
                              <a:pt x="94316" y="53296"/>
                              <a:pt x="94435" y="53176"/>
                              <a:pt x="94495" y="53116"/>
                            </a:cubicBezTo>
                            <a:cubicBezTo>
                              <a:pt x="94555" y="52997"/>
                              <a:pt x="94615" y="52877"/>
                              <a:pt x="94735" y="52817"/>
                            </a:cubicBezTo>
                            <a:cubicBezTo>
                              <a:pt x="94854" y="52757"/>
                              <a:pt x="94854" y="52578"/>
                              <a:pt x="94974" y="52518"/>
                            </a:cubicBezTo>
                            <a:cubicBezTo>
                              <a:pt x="95034" y="52398"/>
                              <a:pt x="95094" y="52339"/>
                              <a:pt x="95154" y="52219"/>
                            </a:cubicBezTo>
                            <a:cubicBezTo>
                              <a:pt x="95213" y="52159"/>
                              <a:pt x="95273" y="52040"/>
                              <a:pt x="95333" y="51980"/>
                            </a:cubicBezTo>
                            <a:cubicBezTo>
                              <a:pt x="95393" y="51920"/>
                              <a:pt x="95452" y="51800"/>
                              <a:pt x="95512" y="51741"/>
                            </a:cubicBezTo>
                            <a:cubicBezTo>
                              <a:pt x="95572" y="51681"/>
                              <a:pt x="95632" y="51561"/>
                              <a:pt x="95632" y="51502"/>
                            </a:cubicBezTo>
                            <a:cubicBezTo>
                              <a:pt x="95632" y="51442"/>
                              <a:pt x="95751" y="51322"/>
                              <a:pt x="95751" y="51262"/>
                            </a:cubicBezTo>
                            <a:cubicBezTo>
                              <a:pt x="96589" y="49767"/>
                              <a:pt x="97187" y="48391"/>
                              <a:pt x="97546" y="47076"/>
                            </a:cubicBezTo>
                            <a:cubicBezTo>
                              <a:pt x="97904" y="45760"/>
                              <a:pt x="97964" y="44504"/>
                              <a:pt x="97785" y="43368"/>
                            </a:cubicBezTo>
                            <a:cubicBezTo>
                              <a:pt x="97605" y="42172"/>
                              <a:pt x="97187" y="41095"/>
                              <a:pt x="96469" y="40078"/>
                            </a:cubicBezTo>
                            <a:cubicBezTo>
                              <a:pt x="95751" y="39062"/>
                              <a:pt x="94794" y="38105"/>
                              <a:pt x="93598" y="37267"/>
                            </a:cubicBezTo>
                            <a:lnTo>
                              <a:pt x="86900" y="32602"/>
                            </a:lnTo>
                            <a:lnTo>
                              <a:pt x="86123" y="32064"/>
                            </a:lnTo>
                            <a:lnTo>
                              <a:pt x="51075" y="7603"/>
                            </a:lnTo>
                            <a:lnTo>
                              <a:pt x="50298" y="7065"/>
                            </a:lnTo>
                            <a:lnTo>
                              <a:pt x="43420" y="2280"/>
                            </a:lnTo>
                            <a:cubicBezTo>
                              <a:pt x="41865" y="1203"/>
                              <a:pt x="40310" y="486"/>
                              <a:pt x="38755" y="187"/>
                            </a:cubicBezTo>
                            <a:cubicBezTo>
                              <a:pt x="37200" y="-112"/>
                              <a:pt x="35645" y="-52"/>
                              <a:pt x="34030" y="366"/>
                            </a:cubicBezTo>
                            <a:cubicBezTo>
                              <a:pt x="32475" y="785"/>
                              <a:pt x="30861" y="1622"/>
                              <a:pt x="29306" y="2878"/>
                            </a:cubicBezTo>
                            <a:cubicBezTo>
                              <a:pt x="27751" y="4074"/>
                              <a:pt x="26196" y="5689"/>
                              <a:pt x="24581" y="7663"/>
                            </a:cubicBezTo>
                            <a:lnTo>
                              <a:pt x="20275" y="13105"/>
                            </a:lnTo>
                            <a:lnTo>
                              <a:pt x="19557" y="14002"/>
                            </a:lnTo>
                            <a:lnTo>
                              <a:pt x="15251" y="19445"/>
                            </a:lnTo>
                            <a:lnTo>
                              <a:pt x="14533" y="20342"/>
                            </a:lnTo>
                            <a:lnTo>
                              <a:pt x="12559" y="22854"/>
                            </a:lnTo>
                            <a:lnTo>
                              <a:pt x="11842" y="23751"/>
                            </a:lnTo>
                            <a:lnTo>
                              <a:pt x="9689" y="26502"/>
                            </a:lnTo>
                            <a:lnTo>
                              <a:pt x="8971" y="27399"/>
                            </a:lnTo>
                            <a:lnTo>
                              <a:pt x="7954" y="28655"/>
                            </a:lnTo>
                            <a:lnTo>
                              <a:pt x="7237" y="29552"/>
                            </a:lnTo>
                            <a:lnTo>
                              <a:pt x="3469" y="34277"/>
                            </a:lnTo>
                            <a:lnTo>
                              <a:pt x="2751" y="35174"/>
                            </a:lnTo>
                            <a:lnTo>
                              <a:pt x="0" y="38464"/>
                            </a:lnTo>
                          </a:path>
                        </a:pathLst>
                      </a:custGeom>
                      <a:noFill/>
                      <a:ln w="6350" cap="flat">
                        <a:solidFill>
                          <a:schemeClr val="bg1">
                            <a:alpha val="40000"/>
                          </a:schemeClr>
                        </a:solidFill>
                        <a:prstDash val="solid"/>
                        <a:miter/>
                      </a:ln>
                    </p:spPr>
                    <p:txBody>
                      <a:bodyPr rtlCol="0" anchor="ctr"/>
                      <a:lstStyle/>
                      <a:p>
                        <a:endParaRPr lang="en-GB"/>
                      </a:p>
                    </p:txBody>
                  </p:sp>
                  <p:sp>
                    <p:nvSpPr>
                      <p:cNvPr id="7552" name="Vrije vorm: vorm 7551">
                        <a:extLst>
                          <a:ext uri="{FF2B5EF4-FFF2-40B4-BE49-F238E27FC236}">
                            <a16:creationId xmlns:a16="http://schemas.microsoft.com/office/drawing/2014/main" id="{7A54F500-CAB4-4632-9F48-58F426D00833}"/>
                          </a:ext>
                        </a:extLst>
                      </p:cNvPr>
                      <p:cNvSpPr/>
                      <p:nvPr/>
                    </p:nvSpPr>
                    <p:spPr>
                      <a:xfrm>
                        <a:off x="5004747" y="5262253"/>
                        <a:ext cx="56159" cy="47710"/>
                      </a:xfrm>
                      <a:custGeom>
                        <a:avLst/>
                        <a:gdLst>
                          <a:gd name="connsiteX0" fmla="*/ 16208 w 56159"/>
                          <a:gd name="connsiteY0" fmla="*/ 43763 h 47710"/>
                          <a:gd name="connsiteX1" fmla="*/ 14234 w 56159"/>
                          <a:gd name="connsiteY1" fmla="*/ 46276 h 47710"/>
                          <a:gd name="connsiteX2" fmla="*/ 1555 w 56159"/>
                          <a:gd name="connsiteY2" fmla="*/ 37843 h 47710"/>
                          <a:gd name="connsiteX3" fmla="*/ 3589 w 56159"/>
                          <a:gd name="connsiteY3" fmla="*/ 35271 h 47710"/>
                          <a:gd name="connsiteX4" fmla="*/ 4306 w 56159"/>
                          <a:gd name="connsiteY4" fmla="*/ 34374 h 47710"/>
                          <a:gd name="connsiteX5" fmla="*/ 4725 w 56159"/>
                          <a:gd name="connsiteY5" fmla="*/ 33836 h 47710"/>
                          <a:gd name="connsiteX6" fmla="*/ 5503 w 56159"/>
                          <a:gd name="connsiteY6" fmla="*/ 32879 h 47710"/>
                          <a:gd name="connsiteX7" fmla="*/ 8014 w 56159"/>
                          <a:gd name="connsiteY7" fmla="*/ 29709 h 47710"/>
                          <a:gd name="connsiteX8" fmla="*/ 8732 w 56159"/>
                          <a:gd name="connsiteY8" fmla="*/ 28812 h 47710"/>
                          <a:gd name="connsiteX9" fmla="*/ 9450 w 56159"/>
                          <a:gd name="connsiteY9" fmla="*/ 27855 h 47710"/>
                          <a:gd name="connsiteX10" fmla="*/ 9749 w 56159"/>
                          <a:gd name="connsiteY10" fmla="*/ 27496 h 47710"/>
                          <a:gd name="connsiteX11" fmla="*/ 10466 w 56159"/>
                          <a:gd name="connsiteY11" fmla="*/ 26599 h 47710"/>
                          <a:gd name="connsiteX12" fmla="*/ 12619 w 56159"/>
                          <a:gd name="connsiteY12" fmla="*/ 23907 h 47710"/>
                          <a:gd name="connsiteX13" fmla="*/ 13337 w 56159"/>
                          <a:gd name="connsiteY13" fmla="*/ 23011 h 47710"/>
                          <a:gd name="connsiteX14" fmla="*/ 15311 w 56159"/>
                          <a:gd name="connsiteY14" fmla="*/ 20558 h 47710"/>
                          <a:gd name="connsiteX15" fmla="*/ 16028 w 56159"/>
                          <a:gd name="connsiteY15" fmla="*/ 19661 h 47710"/>
                          <a:gd name="connsiteX16" fmla="*/ 20275 w 56159"/>
                          <a:gd name="connsiteY16" fmla="*/ 14279 h 47710"/>
                          <a:gd name="connsiteX17" fmla="*/ 20992 w 56159"/>
                          <a:gd name="connsiteY17" fmla="*/ 13382 h 47710"/>
                          <a:gd name="connsiteX18" fmla="*/ 25239 w 56159"/>
                          <a:gd name="connsiteY18" fmla="*/ 7999 h 47710"/>
                          <a:gd name="connsiteX19" fmla="*/ 28648 w 56159"/>
                          <a:gd name="connsiteY19" fmla="*/ 4291 h 47710"/>
                          <a:gd name="connsiteX20" fmla="*/ 31997 w 56159"/>
                          <a:gd name="connsiteY20" fmla="*/ 1958 h 47710"/>
                          <a:gd name="connsiteX21" fmla="*/ 35346 w 56159"/>
                          <a:gd name="connsiteY21" fmla="*/ 942 h 47710"/>
                          <a:gd name="connsiteX22" fmla="*/ 38695 w 56159"/>
                          <a:gd name="connsiteY22" fmla="*/ 1241 h 47710"/>
                          <a:gd name="connsiteX23" fmla="*/ 38935 w 56159"/>
                          <a:gd name="connsiteY23" fmla="*/ 1300 h 47710"/>
                          <a:gd name="connsiteX24" fmla="*/ 39174 w 56159"/>
                          <a:gd name="connsiteY24" fmla="*/ 1360 h 47710"/>
                          <a:gd name="connsiteX25" fmla="*/ 39413 w 56159"/>
                          <a:gd name="connsiteY25" fmla="*/ 1420 h 47710"/>
                          <a:gd name="connsiteX26" fmla="*/ 39652 w 56159"/>
                          <a:gd name="connsiteY26" fmla="*/ 1480 h 47710"/>
                          <a:gd name="connsiteX27" fmla="*/ 40310 w 56159"/>
                          <a:gd name="connsiteY27" fmla="*/ 1779 h 47710"/>
                          <a:gd name="connsiteX28" fmla="*/ 40968 w 56159"/>
                          <a:gd name="connsiteY28" fmla="*/ 2138 h 47710"/>
                          <a:gd name="connsiteX29" fmla="*/ 41626 w 56159"/>
                          <a:gd name="connsiteY29" fmla="*/ 2557 h 47710"/>
                          <a:gd name="connsiteX30" fmla="*/ 42284 w 56159"/>
                          <a:gd name="connsiteY30" fmla="*/ 2975 h 47710"/>
                          <a:gd name="connsiteX31" fmla="*/ 51076 w 56159"/>
                          <a:gd name="connsiteY31" fmla="*/ 9075 h 47710"/>
                          <a:gd name="connsiteX32" fmla="*/ 50896 w 56159"/>
                          <a:gd name="connsiteY32" fmla="*/ 9075 h 47710"/>
                          <a:gd name="connsiteX33" fmla="*/ 50717 w 56159"/>
                          <a:gd name="connsiteY33" fmla="*/ 9075 h 47710"/>
                          <a:gd name="connsiteX34" fmla="*/ 50537 w 56159"/>
                          <a:gd name="connsiteY34" fmla="*/ 9075 h 47710"/>
                          <a:gd name="connsiteX35" fmla="*/ 50358 w 56159"/>
                          <a:gd name="connsiteY35" fmla="*/ 9075 h 47710"/>
                          <a:gd name="connsiteX36" fmla="*/ 49879 w 56159"/>
                          <a:gd name="connsiteY36" fmla="*/ 9075 h 47710"/>
                          <a:gd name="connsiteX37" fmla="*/ 49401 w 56159"/>
                          <a:gd name="connsiteY37" fmla="*/ 9075 h 47710"/>
                          <a:gd name="connsiteX38" fmla="*/ 48922 w 56159"/>
                          <a:gd name="connsiteY38" fmla="*/ 9135 h 47710"/>
                          <a:gd name="connsiteX39" fmla="*/ 48444 w 56159"/>
                          <a:gd name="connsiteY39" fmla="*/ 9195 h 47710"/>
                          <a:gd name="connsiteX40" fmla="*/ 45813 w 56159"/>
                          <a:gd name="connsiteY40" fmla="*/ 9973 h 47710"/>
                          <a:gd name="connsiteX41" fmla="*/ 43181 w 56159"/>
                          <a:gd name="connsiteY41" fmla="*/ 11468 h 47710"/>
                          <a:gd name="connsiteX42" fmla="*/ 40490 w 56159"/>
                          <a:gd name="connsiteY42" fmla="*/ 13740 h 47710"/>
                          <a:gd name="connsiteX43" fmla="*/ 37798 w 56159"/>
                          <a:gd name="connsiteY43" fmla="*/ 16731 h 47710"/>
                          <a:gd name="connsiteX44" fmla="*/ 33552 w 56159"/>
                          <a:gd name="connsiteY44" fmla="*/ 22113 h 47710"/>
                          <a:gd name="connsiteX45" fmla="*/ 32834 w 56159"/>
                          <a:gd name="connsiteY45" fmla="*/ 23011 h 47710"/>
                          <a:gd name="connsiteX46" fmla="*/ 28588 w 56159"/>
                          <a:gd name="connsiteY46" fmla="*/ 28393 h 47710"/>
                          <a:gd name="connsiteX47" fmla="*/ 27870 w 56159"/>
                          <a:gd name="connsiteY47" fmla="*/ 29290 h 47710"/>
                          <a:gd name="connsiteX48" fmla="*/ 25956 w 56159"/>
                          <a:gd name="connsiteY48" fmla="*/ 31743 h 47710"/>
                          <a:gd name="connsiteX49" fmla="*/ 25239 w 56159"/>
                          <a:gd name="connsiteY49" fmla="*/ 32639 h 47710"/>
                          <a:gd name="connsiteX50" fmla="*/ 23086 w 56159"/>
                          <a:gd name="connsiteY50" fmla="*/ 35331 h 47710"/>
                          <a:gd name="connsiteX51" fmla="*/ 22368 w 56159"/>
                          <a:gd name="connsiteY51" fmla="*/ 36228 h 47710"/>
                          <a:gd name="connsiteX52" fmla="*/ 21411 w 56159"/>
                          <a:gd name="connsiteY52" fmla="*/ 37484 h 47710"/>
                          <a:gd name="connsiteX53" fmla="*/ 20693 w 56159"/>
                          <a:gd name="connsiteY53" fmla="*/ 38381 h 47710"/>
                          <a:gd name="connsiteX54" fmla="*/ 16985 w 56159"/>
                          <a:gd name="connsiteY54" fmla="*/ 43046 h 47710"/>
                          <a:gd name="connsiteX55" fmla="*/ 16208 w 56159"/>
                          <a:gd name="connsiteY55" fmla="*/ 43763 h 47710"/>
                          <a:gd name="connsiteX56" fmla="*/ 0 w 56159"/>
                          <a:gd name="connsiteY56" fmla="*/ 38261 h 47710"/>
                          <a:gd name="connsiteX57" fmla="*/ 6579 w 56159"/>
                          <a:gd name="connsiteY57" fmla="*/ 42627 h 47710"/>
                          <a:gd name="connsiteX58" fmla="*/ 7357 w 56159"/>
                          <a:gd name="connsiteY58" fmla="*/ 43166 h 47710"/>
                          <a:gd name="connsiteX59" fmla="*/ 10706 w 56159"/>
                          <a:gd name="connsiteY59" fmla="*/ 45378 h 47710"/>
                          <a:gd name="connsiteX60" fmla="*/ 11483 w 56159"/>
                          <a:gd name="connsiteY60" fmla="*/ 45917 h 47710"/>
                          <a:gd name="connsiteX61" fmla="*/ 14234 w 56159"/>
                          <a:gd name="connsiteY61" fmla="*/ 47711 h 47710"/>
                          <a:gd name="connsiteX62" fmla="*/ 14952 w 56159"/>
                          <a:gd name="connsiteY62" fmla="*/ 46814 h 47710"/>
                          <a:gd name="connsiteX63" fmla="*/ 16926 w 56159"/>
                          <a:gd name="connsiteY63" fmla="*/ 44302 h 47710"/>
                          <a:gd name="connsiteX64" fmla="*/ 17643 w 56159"/>
                          <a:gd name="connsiteY64" fmla="*/ 43405 h 47710"/>
                          <a:gd name="connsiteX65" fmla="*/ 21351 w 56159"/>
                          <a:gd name="connsiteY65" fmla="*/ 38740 h 47710"/>
                          <a:gd name="connsiteX66" fmla="*/ 22069 w 56159"/>
                          <a:gd name="connsiteY66" fmla="*/ 37843 h 47710"/>
                          <a:gd name="connsiteX67" fmla="*/ 23026 w 56159"/>
                          <a:gd name="connsiteY67" fmla="*/ 36587 h 47710"/>
                          <a:gd name="connsiteX68" fmla="*/ 23744 w 56159"/>
                          <a:gd name="connsiteY68" fmla="*/ 35690 h 47710"/>
                          <a:gd name="connsiteX69" fmla="*/ 25897 w 56159"/>
                          <a:gd name="connsiteY69" fmla="*/ 32998 h 47710"/>
                          <a:gd name="connsiteX70" fmla="*/ 26614 w 56159"/>
                          <a:gd name="connsiteY70" fmla="*/ 32101 h 47710"/>
                          <a:gd name="connsiteX71" fmla="*/ 28528 w 56159"/>
                          <a:gd name="connsiteY71" fmla="*/ 29649 h 47710"/>
                          <a:gd name="connsiteX72" fmla="*/ 29246 w 56159"/>
                          <a:gd name="connsiteY72" fmla="*/ 28752 h 47710"/>
                          <a:gd name="connsiteX73" fmla="*/ 33492 w 56159"/>
                          <a:gd name="connsiteY73" fmla="*/ 23429 h 47710"/>
                          <a:gd name="connsiteX74" fmla="*/ 34210 w 56159"/>
                          <a:gd name="connsiteY74" fmla="*/ 22532 h 47710"/>
                          <a:gd name="connsiteX75" fmla="*/ 38456 w 56159"/>
                          <a:gd name="connsiteY75" fmla="*/ 17209 h 47710"/>
                          <a:gd name="connsiteX76" fmla="*/ 41327 w 56159"/>
                          <a:gd name="connsiteY76" fmla="*/ 14039 h 47710"/>
                          <a:gd name="connsiteX77" fmla="*/ 44138 w 56159"/>
                          <a:gd name="connsiteY77" fmla="*/ 11827 h 47710"/>
                          <a:gd name="connsiteX78" fmla="*/ 46949 w 56159"/>
                          <a:gd name="connsiteY78" fmla="*/ 10511 h 47710"/>
                          <a:gd name="connsiteX79" fmla="*/ 49700 w 56159"/>
                          <a:gd name="connsiteY79" fmla="*/ 10152 h 47710"/>
                          <a:gd name="connsiteX80" fmla="*/ 50417 w 56159"/>
                          <a:gd name="connsiteY80" fmla="*/ 10212 h 47710"/>
                          <a:gd name="connsiteX81" fmla="*/ 51135 w 56159"/>
                          <a:gd name="connsiteY81" fmla="*/ 10331 h 47710"/>
                          <a:gd name="connsiteX82" fmla="*/ 51853 w 56159"/>
                          <a:gd name="connsiteY82" fmla="*/ 10511 h 47710"/>
                          <a:gd name="connsiteX83" fmla="*/ 52571 w 56159"/>
                          <a:gd name="connsiteY83" fmla="*/ 10750 h 47710"/>
                          <a:gd name="connsiteX84" fmla="*/ 53288 w 56159"/>
                          <a:gd name="connsiteY84" fmla="*/ 11049 h 47710"/>
                          <a:gd name="connsiteX85" fmla="*/ 54006 w 56159"/>
                          <a:gd name="connsiteY85" fmla="*/ 11408 h 47710"/>
                          <a:gd name="connsiteX86" fmla="*/ 54724 w 56159"/>
                          <a:gd name="connsiteY86" fmla="*/ 11827 h 47710"/>
                          <a:gd name="connsiteX87" fmla="*/ 55441 w 56159"/>
                          <a:gd name="connsiteY87" fmla="*/ 12305 h 47710"/>
                          <a:gd name="connsiteX88" fmla="*/ 56159 w 56159"/>
                          <a:gd name="connsiteY88" fmla="*/ 11408 h 47710"/>
                          <a:gd name="connsiteX89" fmla="*/ 43121 w 56159"/>
                          <a:gd name="connsiteY89" fmla="*/ 2317 h 47710"/>
                          <a:gd name="connsiteX90" fmla="*/ 41865 w 56159"/>
                          <a:gd name="connsiteY90" fmla="*/ 1540 h 47710"/>
                          <a:gd name="connsiteX91" fmla="*/ 40609 w 56159"/>
                          <a:gd name="connsiteY91" fmla="*/ 882 h 47710"/>
                          <a:gd name="connsiteX92" fmla="*/ 39293 w 56159"/>
                          <a:gd name="connsiteY92" fmla="*/ 403 h 47710"/>
                          <a:gd name="connsiteX93" fmla="*/ 37978 w 56159"/>
                          <a:gd name="connsiteY93" fmla="*/ 104 h 47710"/>
                          <a:gd name="connsiteX94" fmla="*/ 34629 w 56159"/>
                          <a:gd name="connsiteY94" fmla="*/ 224 h 47710"/>
                          <a:gd name="connsiteX95" fmla="*/ 31279 w 56159"/>
                          <a:gd name="connsiteY95" fmla="*/ 1480 h 47710"/>
                          <a:gd name="connsiteX96" fmla="*/ 27870 w 56159"/>
                          <a:gd name="connsiteY96" fmla="*/ 3932 h 47710"/>
                          <a:gd name="connsiteX97" fmla="*/ 24521 w 56159"/>
                          <a:gd name="connsiteY97" fmla="*/ 7580 h 47710"/>
                          <a:gd name="connsiteX98" fmla="*/ 20275 w 56159"/>
                          <a:gd name="connsiteY98" fmla="*/ 12963 h 47710"/>
                          <a:gd name="connsiteX99" fmla="*/ 19557 w 56159"/>
                          <a:gd name="connsiteY99" fmla="*/ 13860 h 47710"/>
                          <a:gd name="connsiteX100" fmla="*/ 15311 w 56159"/>
                          <a:gd name="connsiteY100" fmla="*/ 19243 h 47710"/>
                          <a:gd name="connsiteX101" fmla="*/ 14593 w 56159"/>
                          <a:gd name="connsiteY101" fmla="*/ 20140 h 47710"/>
                          <a:gd name="connsiteX102" fmla="*/ 12619 w 56159"/>
                          <a:gd name="connsiteY102" fmla="*/ 22592 h 47710"/>
                          <a:gd name="connsiteX103" fmla="*/ 11902 w 56159"/>
                          <a:gd name="connsiteY103" fmla="*/ 23489 h 47710"/>
                          <a:gd name="connsiteX104" fmla="*/ 9749 w 56159"/>
                          <a:gd name="connsiteY104" fmla="*/ 26180 h 47710"/>
                          <a:gd name="connsiteX105" fmla="*/ 9031 w 56159"/>
                          <a:gd name="connsiteY105" fmla="*/ 27077 h 47710"/>
                          <a:gd name="connsiteX106" fmla="*/ 8612 w 56159"/>
                          <a:gd name="connsiteY106" fmla="*/ 27616 h 47710"/>
                          <a:gd name="connsiteX107" fmla="*/ 7835 w 56159"/>
                          <a:gd name="connsiteY107" fmla="*/ 28573 h 47710"/>
                          <a:gd name="connsiteX108" fmla="*/ 7297 w 56159"/>
                          <a:gd name="connsiteY108" fmla="*/ 29230 h 47710"/>
                          <a:gd name="connsiteX109" fmla="*/ 4486 w 56159"/>
                          <a:gd name="connsiteY109" fmla="*/ 32819 h 47710"/>
                          <a:gd name="connsiteX110" fmla="*/ 3648 w 56159"/>
                          <a:gd name="connsiteY110" fmla="*/ 33895 h 47710"/>
                          <a:gd name="connsiteX111" fmla="*/ 3589 w 56159"/>
                          <a:gd name="connsiteY111" fmla="*/ 33955 h 47710"/>
                          <a:gd name="connsiteX112" fmla="*/ 2871 w 56159"/>
                          <a:gd name="connsiteY112" fmla="*/ 34852 h 47710"/>
                          <a:gd name="connsiteX113" fmla="*/ 837 w 56159"/>
                          <a:gd name="connsiteY113" fmla="*/ 37424 h 47710"/>
                          <a:gd name="connsiteX114" fmla="*/ 0 w 56159"/>
                          <a:gd name="connsiteY114" fmla="*/ 38261 h 47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6159" h="47710">
                            <a:moveTo>
                              <a:pt x="16208" y="43763"/>
                            </a:moveTo>
                            <a:lnTo>
                              <a:pt x="14234" y="46276"/>
                            </a:lnTo>
                            <a:lnTo>
                              <a:pt x="1555" y="37843"/>
                            </a:lnTo>
                            <a:lnTo>
                              <a:pt x="3589" y="35271"/>
                            </a:lnTo>
                            <a:lnTo>
                              <a:pt x="4306" y="34374"/>
                            </a:lnTo>
                            <a:lnTo>
                              <a:pt x="4725" y="33836"/>
                            </a:lnTo>
                            <a:lnTo>
                              <a:pt x="5503" y="32879"/>
                            </a:lnTo>
                            <a:lnTo>
                              <a:pt x="8014" y="29709"/>
                            </a:lnTo>
                            <a:lnTo>
                              <a:pt x="8732" y="28812"/>
                            </a:lnTo>
                            <a:lnTo>
                              <a:pt x="9450" y="27855"/>
                            </a:lnTo>
                            <a:lnTo>
                              <a:pt x="9749" y="27496"/>
                            </a:lnTo>
                            <a:lnTo>
                              <a:pt x="10466" y="26599"/>
                            </a:lnTo>
                            <a:lnTo>
                              <a:pt x="12619" y="23907"/>
                            </a:lnTo>
                            <a:lnTo>
                              <a:pt x="13337" y="23011"/>
                            </a:lnTo>
                            <a:lnTo>
                              <a:pt x="15311" y="20558"/>
                            </a:lnTo>
                            <a:lnTo>
                              <a:pt x="16028" y="19661"/>
                            </a:lnTo>
                            <a:lnTo>
                              <a:pt x="20275" y="14279"/>
                            </a:lnTo>
                            <a:lnTo>
                              <a:pt x="20992" y="13382"/>
                            </a:lnTo>
                            <a:lnTo>
                              <a:pt x="25239" y="7999"/>
                            </a:lnTo>
                            <a:cubicBezTo>
                              <a:pt x="26375" y="6564"/>
                              <a:pt x="27512" y="5307"/>
                              <a:pt x="28648" y="4291"/>
                            </a:cubicBezTo>
                            <a:cubicBezTo>
                              <a:pt x="29784" y="3274"/>
                              <a:pt x="30921" y="2497"/>
                              <a:pt x="31997" y="1958"/>
                            </a:cubicBezTo>
                            <a:cubicBezTo>
                              <a:pt x="33133" y="1420"/>
                              <a:pt x="34210" y="1061"/>
                              <a:pt x="35346" y="942"/>
                            </a:cubicBezTo>
                            <a:cubicBezTo>
                              <a:pt x="36483" y="822"/>
                              <a:pt x="37559" y="942"/>
                              <a:pt x="38695" y="1241"/>
                            </a:cubicBezTo>
                            <a:cubicBezTo>
                              <a:pt x="38755" y="1241"/>
                              <a:pt x="38875" y="1300"/>
                              <a:pt x="38935" y="1300"/>
                            </a:cubicBezTo>
                            <a:cubicBezTo>
                              <a:pt x="38994" y="1300"/>
                              <a:pt x="39114" y="1360"/>
                              <a:pt x="39174" y="1360"/>
                            </a:cubicBezTo>
                            <a:cubicBezTo>
                              <a:pt x="39234" y="1360"/>
                              <a:pt x="39353" y="1420"/>
                              <a:pt x="39413" y="1420"/>
                            </a:cubicBezTo>
                            <a:cubicBezTo>
                              <a:pt x="39473" y="1420"/>
                              <a:pt x="39592" y="1480"/>
                              <a:pt x="39652" y="1480"/>
                            </a:cubicBezTo>
                            <a:cubicBezTo>
                              <a:pt x="39892" y="1540"/>
                              <a:pt x="40131" y="1659"/>
                              <a:pt x="40310" y="1779"/>
                            </a:cubicBezTo>
                            <a:cubicBezTo>
                              <a:pt x="40549" y="1898"/>
                              <a:pt x="40789" y="2018"/>
                              <a:pt x="40968" y="2138"/>
                            </a:cubicBezTo>
                            <a:cubicBezTo>
                              <a:pt x="41207" y="2257"/>
                              <a:pt x="41446" y="2377"/>
                              <a:pt x="41626" y="2557"/>
                            </a:cubicBezTo>
                            <a:cubicBezTo>
                              <a:pt x="41805" y="2736"/>
                              <a:pt x="42105" y="2856"/>
                              <a:pt x="42284" y="2975"/>
                            </a:cubicBezTo>
                            <a:lnTo>
                              <a:pt x="51076" y="9075"/>
                            </a:lnTo>
                            <a:cubicBezTo>
                              <a:pt x="51016" y="9075"/>
                              <a:pt x="50956" y="9075"/>
                              <a:pt x="50896" y="9075"/>
                            </a:cubicBezTo>
                            <a:cubicBezTo>
                              <a:pt x="50836" y="9075"/>
                              <a:pt x="50776" y="9075"/>
                              <a:pt x="50717" y="9075"/>
                            </a:cubicBezTo>
                            <a:cubicBezTo>
                              <a:pt x="50657" y="9075"/>
                              <a:pt x="50597" y="9075"/>
                              <a:pt x="50537" y="9075"/>
                            </a:cubicBezTo>
                            <a:cubicBezTo>
                              <a:pt x="50477" y="9075"/>
                              <a:pt x="50417" y="9075"/>
                              <a:pt x="50358" y="9075"/>
                            </a:cubicBezTo>
                            <a:cubicBezTo>
                              <a:pt x="50178" y="9075"/>
                              <a:pt x="50059" y="9075"/>
                              <a:pt x="49879" y="9075"/>
                            </a:cubicBezTo>
                            <a:cubicBezTo>
                              <a:pt x="49700" y="9075"/>
                              <a:pt x="49580" y="9075"/>
                              <a:pt x="49401" y="9075"/>
                            </a:cubicBezTo>
                            <a:cubicBezTo>
                              <a:pt x="49222" y="9075"/>
                              <a:pt x="49102" y="9075"/>
                              <a:pt x="48922" y="9135"/>
                            </a:cubicBezTo>
                            <a:cubicBezTo>
                              <a:pt x="48743" y="9195"/>
                              <a:pt x="48623" y="9195"/>
                              <a:pt x="48444" y="9195"/>
                            </a:cubicBezTo>
                            <a:cubicBezTo>
                              <a:pt x="47547" y="9315"/>
                              <a:pt x="46650" y="9554"/>
                              <a:pt x="45813" y="9973"/>
                            </a:cubicBezTo>
                            <a:cubicBezTo>
                              <a:pt x="44915" y="10331"/>
                              <a:pt x="44018" y="10869"/>
                              <a:pt x="43181" y="11468"/>
                            </a:cubicBezTo>
                            <a:cubicBezTo>
                              <a:pt x="42284" y="12066"/>
                              <a:pt x="41387" y="12843"/>
                              <a:pt x="40490" y="13740"/>
                            </a:cubicBezTo>
                            <a:cubicBezTo>
                              <a:pt x="39592" y="14637"/>
                              <a:pt x="38695" y="15594"/>
                              <a:pt x="37798" y="16731"/>
                            </a:cubicBezTo>
                            <a:lnTo>
                              <a:pt x="33552" y="22113"/>
                            </a:lnTo>
                            <a:lnTo>
                              <a:pt x="32834" y="23011"/>
                            </a:lnTo>
                            <a:lnTo>
                              <a:pt x="28588" y="28393"/>
                            </a:lnTo>
                            <a:lnTo>
                              <a:pt x="27870" y="29290"/>
                            </a:lnTo>
                            <a:lnTo>
                              <a:pt x="25956" y="31743"/>
                            </a:lnTo>
                            <a:lnTo>
                              <a:pt x="25239" y="32639"/>
                            </a:lnTo>
                            <a:lnTo>
                              <a:pt x="23086" y="35331"/>
                            </a:lnTo>
                            <a:lnTo>
                              <a:pt x="22368" y="36228"/>
                            </a:lnTo>
                            <a:lnTo>
                              <a:pt x="21411" y="37484"/>
                            </a:lnTo>
                            <a:lnTo>
                              <a:pt x="20693" y="38381"/>
                            </a:lnTo>
                            <a:lnTo>
                              <a:pt x="16985" y="43046"/>
                            </a:lnTo>
                            <a:lnTo>
                              <a:pt x="16208" y="43763"/>
                            </a:lnTo>
                            <a:moveTo>
                              <a:pt x="0" y="38261"/>
                            </a:moveTo>
                            <a:lnTo>
                              <a:pt x="6579" y="42627"/>
                            </a:lnTo>
                            <a:lnTo>
                              <a:pt x="7357" y="43166"/>
                            </a:lnTo>
                            <a:lnTo>
                              <a:pt x="10706" y="45378"/>
                            </a:lnTo>
                            <a:lnTo>
                              <a:pt x="11483" y="45917"/>
                            </a:lnTo>
                            <a:lnTo>
                              <a:pt x="14234" y="47711"/>
                            </a:lnTo>
                            <a:lnTo>
                              <a:pt x="14952" y="46814"/>
                            </a:lnTo>
                            <a:lnTo>
                              <a:pt x="16926" y="44302"/>
                            </a:lnTo>
                            <a:lnTo>
                              <a:pt x="17643" y="43405"/>
                            </a:lnTo>
                            <a:lnTo>
                              <a:pt x="21351" y="38740"/>
                            </a:lnTo>
                            <a:lnTo>
                              <a:pt x="22069" y="37843"/>
                            </a:lnTo>
                            <a:lnTo>
                              <a:pt x="23026" y="36587"/>
                            </a:lnTo>
                            <a:lnTo>
                              <a:pt x="23744" y="35690"/>
                            </a:lnTo>
                            <a:lnTo>
                              <a:pt x="25897" y="32998"/>
                            </a:lnTo>
                            <a:lnTo>
                              <a:pt x="26614" y="32101"/>
                            </a:lnTo>
                            <a:lnTo>
                              <a:pt x="28528" y="29649"/>
                            </a:lnTo>
                            <a:lnTo>
                              <a:pt x="29246" y="28752"/>
                            </a:lnTo>
                            <a:lnTo>
                              <a:pt x="33492" y="23429"/>
                            </a:lnTo>
                            <a:lnTo>
                              <a:pt x="34210" y="22532"/>
                            </a:lnTo>
                            <a:lnTo>
                              <a:pt x="38456" y="17209"/>
                            </a:lnTo>
                            <a:cubicBezTo>
                              <a:pt x="39413" y="16013"/>
                              <a:pt x="40370" y="14936"/>
                              <a:pt x="41327" y="14039"/>
                            </a:cubicBezTo>
                            <a:cubicBezTo>
                              <a:pt x="42284" y="13142"/>
                              <a:pt x="43181" y="12365"/>
                              <a:pt x="44138" y="11827"/>
                            </a:cubicBezTo>
                            <a:cubicBezTo>
                              <a:pt x="45095" y="11228"/>
                              <a:pt x="45992" y="10810"/>
                              <a:pt x="46949" y="10511"/>
                            </a:cubicBezTo>
                            <a:cubicBezTo>
                              <a:pt x="47906" y="10212"/>
                              <a:pt x="48803" y="10092"/>
                              <a:pt x="49700" y="10152"/>
                            </a:cubicBezTo>
                            <a:cubicBezTo>
                              <a:pt x="49939" y="10152"/>
                              <a:pt x="50178" y="10152"/>
                              <a:pt x="50417" y="10212"/>
                            </a:cubicBezTo>
                            <a:cubicBezTo>
                              <a:pt x="50657" y="10272"/>
                              <a:pt x="50896" y="10272"/>
                              <a:pt x="51135" y="10331"/>
                            </a:cubicBezTo>
                            <a:cubicBezTo>
                              <a:pt x="51375" y="10391"/>
                              <a:pt x="51614" y="10451"/>
                              <a:pt x="51853" y="10511"/>
                            </a:cubicBezTo>
                            <a:cubicBezTo>
                              <a:pt x="52092" y="10571"/>
                              <a:pt x="52331" y="10630"/>
                              <a:pt x="52571" y="10750"/>
                            </a:cubicBezTo>
                            <a:cubicBezTo>
                              <a:pt x="52810" y="10810"/>
                              <a:pt x="53049" y="10929"/>
                              <a:pt x="53288" y="11049"/>
                            </a:cubicBezTo>
                            <a:cubicBezTo>
                              <a:pt x="53528" y="11169"/>
                              <a:pt x="53767" y="11288"/>
                              <a:pt x="54006" y="11408"/>
                            </a:cubicBezTo>
                            <a:cubicBezTo>
                              <a:pt x="54245" y="11528"/>
                              <a:pt x="54484" y="11647"/>
                              <a:pt x="54724" y="11827"/>
                            </a:cubicBezTo>
                            <a:cubicBezTo>
                              <a:pt x="54963" y="12006"/>
                              <a:pt x="55202" y="12126"/>
                              <a:pt x="55441" y="12305"/>
                            </a:cubicBezTo>
                            <a:lnTo>
                              <a:pt x="56159" y="11408"/>
                            </a:lnTo>
                            <a:lnTo>
                              <a:pt x="43121" y="2317"/>
                            </a:lnTo>
                            <a:cubicBezTo>
                              <a:pt x="42702" y="2018"/>
                              <a:pt x="42284" y="1779"/>
                              <a:pt x="41865" y="1540"/>
                            </a:cubicBezTo>
                            <a:cubicBezTo>
                              <a:pt x="41446" y="1300"/>
                              <a:pt x="41028" y="1061"/>
                              <a:pt x="40609" y="882"/>
                            </a:cubicBezTo>
                            <a:cubicBezTo>
                              <a:pt x="40191" y="703"/>
                              <a:pt x="39772" y="523"/>
                              <a:pt x="39293" y="403"/>
                            </a:cubicBezTo>
                            <a:cubicBezTo>
                              <a:pt x="38815" y="284"/>
                              <a:pt x="38456" y="164"/>
                              <a:pt x="37978" y="104"/>
                            </a:cubicBezTo>
                            <a:cubicBezTo>
                              <a:pt x="36841" y="-75"/>
                              <a:pt x="35705" y="-15"/>
                              <a:pt x="34629" y="224"/>
                            </a:cubicBezTo>
                            <a:cubicBezTo>
                              <a:pt x="33492" y="463"/>
                              <a:pt x="32356" y="882"/>
                              <a:pt x="31279" y="1480"/>
                            </a:cubicBezTo>
                            <a:cubicBezTo>
                              <a:pt x="30143" y="2078"/>
                              <a:pt x="29007" y="2915"/>
                              <a:pt x="27870" y="3932"/>
                            </a:cubicBezTo>
                            <a:cubicBezTo>
                              <a:pt x="26734" y="4949"/>
                              <a:pt x="25598" y="6205"/>
                              <a:pt x="24521" y="7580"/>
                            </a:cubicBezTo>
                            <a:lnTo>
                              <a:pt x="20275" y="12963"/>
                            </a:lnTo>
                            <a:lnTo>
                              <a:pt x="19557" y="13860"/>
                            </a:lnTo>
                            <a:lnTo>
                              <a:pt x="15311" y="19243"/>
                            </a:lnTo>
                            <a:lnTo>
                              <a:pt x="14593" y="20140"/>
                            </a:lnTo>
                            <a:lnTo>
                              <a:pt x="12619" y="22592"/>
                            </a:lnTo>
                            <a:lnTo>
                              <a:pt x="11902" y="23489"/>
                            </a:lnTo>
                            <a:lnTo>
                              <a:pt x="9749" y="26180"/>
                            </a:lnTo>
                            <a:lnTo>
                              <a:pt x="9031" y="27077"/>
                            </a:lnTo>
                            <a:lnTo>
                              <a:pt x="8612" y="27616"/>
                            </a:lnTo>
                            <a:lnTo>
                              <a:pt x="7835" y="28573"/>
                            </a:lnTo>
                            <a:lnTo>
                              <a:pt x="7297" y="29230"/>
                            </a:lnTo>
                            <a:lnTo>
                              <a:pt x="4486" y="32819"/>
                            </a:lnTo>
                            <a:lnTo>
                              <a:pt x="3648" y="33895"/>
                            </a:lnTo>
                            <a:lnTo>
                              <a:pt x="3589" y="33955"/>
                            </a:lnTo>
                            <a:lnTo>
                              <a:pt x="2871" y="34852"/>
                            </a:lnTo>
                            <a:lnTo>
                              <a:pt x="837" y="37424"/>
                            </a:lnTo>
                            <a:lnTo>
                              <a:pt x="0" y="38261"/>
                            </a:lnTo>
                          </a:path>
                        </a:pathLst>
                      </a:custGeom>
                      <a:noFill/>
                      <a:ln w="6350" cap="flat">
                        <a:solidFill>
                          <a:schemeClr val="bg1">
                            <a:alpha val="40000"/>
                          </a:schemeClr>
                        </a:solidFill>
                        <a:prstDash val="solid"/>
                        <a:miter/>
                      </a:ln>
                    </p:spPr>
                    <p:txBody>
                      <a:bodyPr rtlCol="0" anchor="ctr"/>
                      <a:lstStyle/>
                      <a:p>
                        <a:endParaRPr lang="en-GB"/>
                      </a:p>
                    </p:txBody>
                  </p:sp>
                  <p:sp>
                    <p:nvSpPr>
                      <p:cNvPr id="7553" name="Vrije vorm: vorm 7552">
                        <a:extLst>
                          <a:ext uri="{FF2B5EF4-FFF2-40B4-BE49-F238E27FC236}">
                            <a16:creationId xmlns:a16="http://schemas.microsoft.com/office/drawing/2014/main" id="{AAC96E5A-85AE-4E8D-89E4-E6E9DCA18B63}"/>
                          </a:ext>
                        </a:extLst>
                      </p:cNvPr>
                      <p:cNvSpPr/>
                      <p:nvPr/>
                    </p:nvSpPr>
                    <p:spPr>
                      <a:xfrm>
                        <a:off x="5081730" y="5201234"/>
                        <a:ext cx="130189" cy="44595"/>
                      </a:xfrm>
                      <a:custGeom>
                        <a:avLst/>
                        <a:gdLst>
                          <a:gd name="connsiteX0" fmla="*/ 128874 w 130189"/>
                          <a:gd name="connsiteY0" fmla="*/ 2512 h 44595"/>
                          <a:gd name="connsiteX1" fmla="*/ 129113 w 130189"/>
                          <a:gd name="connsiteY1" fmla="*/ 2273 h 44595"/>
                          <a:gd name="connsiteX2" fmla="*/ 129352 w 130189"/>
                          <a:gd name="connsiteY2" fmla="*/ 2093 h 44595"/>
                          <a:gd name="connsiteX3" fmla="*/ 129651 w 130189"/>
                          <a:gd name="connsiteY3" fmla="*/ 1914 h 44595"/>
                          <a:gd name="connsiteX4" fmla="*/ 129950 w 130189"/>
                          <a:gd name="connsiteY4" fmla="*/ 1734 h 44595"/>
                          <a:gd name="connsiteX5" fmla="*/ 130189 w 130189"/>
                          <a:gd name="connsiteY5" fmla="*/ 60 h 44595"/>
                          <a:gd name="connsiteX6" fmla="*/ 128814 w 130189"/>
                          <a:gd name="connsiteY6" fmla="*/ 179 h 44595"/>
                          <a:gd name="connsiteX7" fmla="*/ 128455 w 130189"/>
                          <a:gd name="connsiteY7" fmla="*/ 478 h 44595"/>
                          <a:gd name="connsiteX8" fmla="*/ 128096 w 130189"/>
                          <a:gd name="connsiteY8" fmla="*/ 778 h 44595"/>
                          <a:gd name="connsiteX9" fmla="*/ 127737 w 130189"/>
                          <a:gd name="connsiteY9" fmla="*/ 1076 h 44595"/>
                          <a:gd name="connsiteX10" fmla="*/ 127378 w 130189"/>
                          <a:gd name="connsiteY10" fmla="*/ 1375 h 44595"/>
                          <a:gd name="connsiteX11" fmla="*/ 129053 w 130189"/>
                          <a:gd name="connsiteY11" fmla="*/ 1256 h 44595"/>
                          <a:gd name="connsiteX12" fmla="*/ 128874 w 130189"/>
                          <a:gd name="connsiteY12" fmla="*/ 2512 h 44595"/>
                          <a:gd name="connsiteX13" fmla="*/ 128455 w 130189"/>
                          <a:gd name="connsiteY13" fmla="*/ 5263 h 44595"/>
                          <a:gd name="connsiteX14" fmla="*/ 128694 w 130189"/>
                          <a:gd name="connsiteY14" fmla="*/ 5083 h 44595"/>
                          <a:gd name="connsiteX15" fmla="*/ 128933 w 130189"/>
                          <a:gd name="connsiteY15" fmla="*/ 4964 h 44595"/>
                          <a:gd name="connsiteX16" fmla="*/ 129173 w 130189"/>
                          <a:gd name="connsiteY16" fmla="*/ 4844 h 44595"/>
                          <a:gd name="connsiteX17" fmla="*/ 129412 w 130189"/>
                          <a:gd name="connsiteY17" fmla="*/ 4725 h 44595"/>
                          <a:gd name="connsiteX18" fmla="*/ 129651 w 130189"/>
                          <a:gd name="connsiteY18" fmla="*/ 3229 h 44595"/>
                          <a:gd name="connsiteX19" fmla="*/ 129352 w 130189"/>
                          <a:gd name="connsiteY19" fmla="*/ 3469 h 44595"/>
                          <a:gd name="connsiteX20" fmla="*/ 129053 w 130189"/>
                          <a:gd name="connsiteY20" fmla="*/ 3708 h 44595"/>
                          <a:gd name="connsiteX21" fmla="*/ 128754 w 130189"/>
                          <a:gd name="connsiteY21" fmla="*/ 3947 h 44595"/>
                          <a:gd name="connsiteX22" fmla="*/ 128514 w 130189"/>
                          <a:gd name="connsiteY22" fmla="*/ 4186 h 44595"/>
                          <a:gd name="connsiteX23" fmla="*/ 128455 w 130189"/>
                          <a:gd name="connsiteY23" fmla="*/ 5263 h 44595"/>
                          <a:gd name="connsiteX24" fmla="*/ 128814 w 130189"/>
                          <a:gd name="connsiteY24" fmla="*/ 9808 h 44595"/>
                          <a:gd name="connsiteX25" fmla="*/ 128814 w 130189"/>
                          <a:gd name="connsiteY25" fmla="*/ 9808 h 44595"/>
                          <a:gd name="connsiteX26" fmla="*/ 128814 w 130189"/>
                          <a:gd name="connsiteY26" fmla="*/ 9808 h 44595"/>
                          <a:gd name="connsiteX27" fmla="*/ 128814 w 130189"/>
                          <a:gd name="connsiteY27" fmla="*/ 9808 h 44595"/>
                          <a:gd name="connsiteX28" fmla="*/ 128814 w 130189"/>
                          <a:gd name="connsiteY28" fmla="*/ 9808 h 44595"/>
                          <a:gd name="connsiteX29" fmla="*/ 129412 w 130189"/>
                          <a:gd name="connsiteY29" fmla="*/ 5801 h 44595"/>
                          <a:gd name="connsiteX30" fmla="*/ 129173 w 130189"/>
                          <a:gd name="connsiteY30" fmla="*/ 5921 h 44595"/>
                          <a:gd name="connsiteX31" fmla="*/ 128933 w 130189"/>
                          <a:gd name="connsiteY31" fmla="*/ 6041 h 44595"/>
                          <a:gd name="connsiteX32" fmla="*/ 128694 w 130189"/>
                          <a:gd name="connsiteY32" fmla="*/ 6220 h 44595"/>
                          <a:gd name="connsiteX33" fmla="*/ 128514 w 130189"/>
                          <a:gd name="connsiteY33" fmla="*/ 6399 h 44595"/>
                          <a:gd name="connsiteX34" fmla="*/ 128455 w 130189"/>
                          <a:gd name="connsiteY34" fmla="*/ 6459 h 44595"/>
                          <a:gd name="connsiteX35" fmla="*/ 128395 w 130189"/>
                          <a:gd name="connsiteY35" fmla="*/ 6519 h 44595"/>
                          <a:gd name="connsiteX36" fmla="*/ 128335 w 130189"/>
                          <a:gd name="connsiteY36" fmla="*/ 6579 h 44595"/>
                          <a:gd name="connsiteX37" fmla="*/ 128275 w 130189"/>
                          <a:gd name="connsiteY37" fmla="*/ 6639 h 44595"/>
                          <a:gd name="connsiteX38" fmla="*/ 127916 w 130189"/>
                          <a:gd name="connsiteY38" fmla="*/ 9090 h 44595"/>
                          <a:gd name="connsiteX39" fmla="*/ 128874 w 130189"/>
                          <a:gd name="connsiteY39" fmla="*/ 9031 h 44595"/>
                          <a:gd name="connsiteX40" fmla="*/ 128814 w 130189"/>
                          <a:gd name="connsiteY40" fmla="*/ 9808 h 44595"/>
                          <a:gd name="connsiteX41" fmla="*/ 128455 w 130189"/>
                          <a:gd name="connsiteY41" fmla="*/ 12141 h 44595"/>
                          <a:gd name="connsiteX42" fmla="*/ 128634 w 130189"/>
                          <a:gd name="connsiteY42" fmla="*/ 10885 h 44595"/>
                          <a:gd name="connsiteX43" fmla="*/ 128634 w 130189"/>
                          <a:gd name="connsiteY43" fmla="*/ 10885 h 44595"/>
                          <a:gd name="connsiteX44" fmla="*/ 128634 w 130189"/>
                          <a:gd name="connsiteY44" fmla="*/ 10885 h 44595"/>
                          <a:gd name="connsiteX45" fmla="*/ 128634 w 130189"/>
                          <a:gd name="connsiteY45" fmla="*/ 10885 h 44595"/>
                          <a:gd name="connsiteX46" fmla="*/ 128634 w 130189"/>
                          <a:gd name="connsiteY46" fmla="*/ 10885 h 44595"/>
                          <a:gd name="connsiteX47" fmla="*/ 128455 w 130189"/>
                          <a:gd name="connsiteY47" fmla="*/ 12141 h 44595"/>
                          <a:gd name="connsiteX48" fmla="*/ 125943 w 130189"/>
                          <a:gd name="connsiteY48" fmla="*/ 23624 h 44595"/>
                          <a:gd name="connsiteX49" fmla="*/ 126182 w 130189"/>
                          <a:gd name="connsiteY49" fmla="*/ 23444 h 44595"/>
                          <a:gd name="connsiteX50" fmla="*/ 126421 w 130189"/>
                          <a:gd name="connsiteY50" fmla="*/ 23325 h 44595"/>
                          <a:gd name="connsiteX51" fmla="*/ 126660 w 130189"/>
                          <a:gd name="connsiteY51" fmla="*/ 23205 h 44595"/>
                          <a:gd name="connsiteX52" fmla="*/ 126900 w 130189"/>
                          <a:gd name="connsiteY52" fmla="*/ 23085 h 44595"/>
                          <a:gd name="connsiteX53" fmla="*/ 127139 w 130189"/>
                          <a:gd name="connsiteY53" fmla="*/ 21411 h 44595"/>
                          <a:gd name="connsiteX54" fmla="*/ 126660 w 130189"/>
                          <a:gd name="connsiteY54" fmla="*/ 21471 h 44595"/>
                          <a:gd name="connsiteX55" fmla="*/ 126182 w 130189"/>
                          <a:gd name="connsiteY55" fmla="*/ 21530 h 44595"/>
                          <a:gd name="connsiteX56" fmla="*/ 125943 w 130189"/>
                          <a:gd name="connsiteY56" fmla="*/ 23624 h 44595"/>
                          <a:gd name="connsiteX57" fmla="*/ 125644 w 130189"/>
                          <a:gd name="connsiteY57" fmla="*/ 27870 h 44595"/>
                          <a:gd name="connsiteX58" fmla="*/ 125763 w 130189"/>
                          <a:gd name="connsiteY58" fmla="*/ 27930 h 44595"/>
                          <a:gd name="connsiteX59" fmla="*/ 125883 w 130189"/>
                          <a:gd name="connsiteY59" fmla="*/ 27990 h 44595"/>
                          <a:gd name="connsiteX60" fmla="*/ 126003 w 130189"/>
                          <a:gd name="connsiteY60" fmla="*/ 28050 h 44595"/>
                          <a:gd name="connsiteX61" fmla="*/ 126182 w 130189"/>
                          <a:gd name="connsiteY61" fmla="*/ 28109 h 44595"/>
                          <a:gd name="connsiteX62" fmla="*/ 126720 w 130189"/>
                          <a:gd name="connsiteY62" fmla="*/ 24102 h 44595"/>
                          <a:gd name="connsiteX63" fmla="*/ 126481 w 130189"/>
                          <a:gd name="connsiteY63" fmla="*/ 24222 h 44595"/>
                          <a:gd name="connsiteX64" fmla="*/ 126242 w 130189"/>
                          <a:gd name="connsiteY64" fmla="*/ 24342 h 44595"/>
                          <a:gd name="connsiteX65" fmla="*/ 126003 w 130189"/>
                          <a:gd name="connsiteY65" fmla="*/ 24521 h 44595"/>
                          <a:gd name="connsiteX66" fmla="*/ 125823 w 130189"/>
                          <a:gd name="connsiteY66" fmla="*/ 24700 h 44595"/>
                          <a:gd name="connsiteX67" fmla="*/ 125763 w 130189"/>
                          <a:gd name="connsiteY67" fmla="*/ 24760 h 44595"/>
                          <a:gd name="connsiteX68" fmla="*/ 125704 w 130189"/>
                          <a:gd name="connsiteY68" fmla="*/ 24820 h 44595"/>
                          <a:gd name="connsiteX69" fmla="*/ 125644 w 130189"/>
                          <a:gd name="connsiteY69" fmla="*/ 24880 h 44595"/>
                          <a:gd name="connsiteX70" fmla="*/ 125584 w 130189"/>
                          <a:gd name="connsiteY70" fmla="*/ 24940 h 44595"/>
                          <a:gd name="connsiteX71" fmla="*/ 125225 w 130189"/>
                          <a:gd name="connsiteY71" fmla="*/ 27571 h 44595"/>
                          <a:gd name="connsiteX72" fmla="*/ 125225 w 130189"/>
                          <a:gd name="connsiteY72" fmla="*/ 27631 h 44595"/>
                          <a:gd name="connsiteX73" fmla="*/ 125225 w 130189"/>
                          <a:gd name="connsiteY73" fmla="*/ 27691 h 44595"/>
                          <a:gd name="connsiteX74" fmla="*/ 125225 w 130189"/>
                          <a:gd name="connsiteY74" fmla="*/ 27750 h 44595"/>
                          <a:gd name="connsiteX75" fmla="*/ 125225 w 130189"/>
                          <a:gd name="connsiteY75" fmla="*/ 27810 h 44595"/>
                          <a:gd name="connsiteX76" fmla="*/ 125644 w 130189"/>
                          <a:gd name="connsiteY76" fmla="*/ 27870 h 44595"/>
                          <a:gd name="connsiteX77" fmla="*/ 125584 w 130189"/>
                          <a:gd name="connsiteY77" fmla="*/ 30502 h 44595"/>
                          <a:gd name="connsiteX78" fmla="*/ 125584 w 130189"/>
                          <a:gd name="connsiteY78" fmla="*/ 30502 h 44595"/>
                          <a:gd name="connsiteX79" fmla="*/ 125704 w 130189"/>
                          <a:gd name="connsiteY79" fmla="*/ 30561 h 44595"/>
                          <a:gd name="connsiteX80" fmla="*/ 125763 w 130189"/>
                          <a:gd name="connsiteY80" fmla="*/ 30621 h 44595"/>
                          <a:gd name="connsiteX81" fmla="*/ 125823 w 130189"/>
                          <a:gd name="connsiteY81" fmla="*/ 30681 h 44595"/>
                          <a:gd name="connsiteX82" fmla="*/ 126062 w 130189"/>
                          <a:gd name="connsiteY82" fmla="*/ 29186 h 44595"/>
                          <a:gd name="connsiteX83" fmla="*/ 125823 w 130189"/>
                          <a:gd name="connsiteY83" fmla="*/ 29126 h 44595"/>
                          <a:gd name="connsiteX84" fmla="*/ 125584 w 130189"/>
                          <a:gd name="connsiteY84" fmla="*/ 29066 h 44595"/>
                          <a:gd name="connsiteX85" fmla="*/ 125345 w 130189"/>
                          <a:gd name="connsiteY85" fmla="*/ 29006 h 44595"/>
                          <a:gd name="connsiteX86" fmla="*/ 125165 w 130189"/>
                          <a:gd name="connsiteY86" fmla="*/ 28887 h 44595"/>
                          <a:gd name="connsiteX87" fmla="*/ 124986 w 130189"/>
                          <a:gd name="connsiteY87" fmla="*/ 30023 h 44595"/>
                          <a:gd name="connsiteX88" fmla="*/ 125106 w 130189"/>
                          <a:gd name="connsiteY88" fmla="*/ 30143 h 44595"/>
                          <a:gd name="connsiteX89" fmla="*/ 125225 w 130189"/>
                          <a:gd name="connsiteY89" fmla="*/ 30262 h 44595"/>
                          <a:gd name="connsiteX90" fmla="*/ 125345 w 130189"/>
                          <a:gd name="connsiteY90" fmla="*/ 30382 h 44595"/>
                          <a:gd name="connsiteX91" fmla="*/ 125584 w 130189"/>
                          <a:gd name="connsiteY91" fmla="*/ 30502 h 44595"/>
                          <a:gd name="connsiteX92" fmla="*/ 123311 w 130189"/>
                          <a:gd name="connsiteY92" fmla="*/ 33432 h 44595"/>
                          <a:gd name="connsiteX93" fmla="*/ 123431 w 130189"/>
                          <a:gd name="connsiteY93" fmla="*/ 33552 h 44595"/>
                          <a:gd name="connsiteX94" fmla="*/ 123551 w 130189"/>
                          <a:gd name="connsiteY94" fmla="*/ 33671 h 44595"/>
                          <a:gd name="connsiteX95" fmla="*/ 123670 w 130189"/>
                          <a:gd name="connsiteY95" fmla="*/ 33791 h 44595"/>
                          <a:gd name="connsiteX96" fmla="*/ 123790 w 130189"/>
                          <a:gd name="connsiteY96" fmla="*/ 33911 h 44595"/>
                          <a:gd name="connsiteX97" fmla="*/ 124866 w 130189"/>
                          <a:gd name="connsiteY97" fmla="*/ 33791 h 44595"/>
                          <a:gd name="connsiteX98" fmla="*/ 125345 w 130189"/>
                          <a:gd name="connsiteY98" fmla="*/ 33731 h 44595"/>
                          <a:gd name="connsiteX99" fmla="*/ 125584 w 130189"/>
                          <a:gd name="connsiteY99" fmla="*/ 32236 h 44595"/>
                          <a:gd name="connsiteX100" fmla="*/ 125345 w 130189"/>
                          <a:gd name="connsiteY100" fmla="*/ 32116 h 44595"/>
                          <a:gd name="connsiteX101" fmla="*/ 125165 w 130189"/>
                          <a:gd name="connsiteY101" fmla="*/ 31997 h 44595"/>
                          <a:gd name="connsiteX102" fmla="*/ 124986 w 130189"/>
                          <a:gd name="connsiteY102" fmla="*/ 31877 h 44595"/>
                          <a:gd name="connsiteX103" fmla="*/ 124806 w 130189"/>
                          <a:gd name="connsiteY103" fmla="*/ 31698 h 44595"/>
                          <a:gd name="connsiteX104" fmla="*/ 124627 w 130189"/>
                          <a:gd name="connsiteY104" fmla="*/ 32894 h 44595"/>
                          <a:gd name="connsiteX105" fmla="*/ 122713 w 130189"/>
                          <a:gd name="connsiteY105" fmla="*/ 33073 h 44595"/>
                          <a:gd name="connsiteX106" fmla="*/ 122833 w 130189"/>
                          <a:gd name="connsiteY106" fmla="*/ 33193 h 44595"/>
                          <a:gd name="connsiteX107" fmla="*/ 122952 w 130189"/>
                          <a:gd name="connsiteY107" fmla="*/ 33313 h 44595"/>
                          <a:gd name="connsiteX108" fmla="*/ 123072 w 130189"/>
                          <a:gd name="connsiteY108" fmla="*/ 33432 h 44595"/>
                          <a:gd name="connsiteX109" fmla="*/ 123311 w 130189"/>
                          <a:gd name="connsiteY109" fmla="*/ 33432 h 44595"/>
                          <a:gd name="connsiteX110" fmla="*/ 5491 w 130189"/>
                          <a:gd name="connsiteY110" fmla="*/ 42044 h 44595"/>
                          <a:gd name="connsiteX111" fmla="*/ 7584 w 130189"/>
                          <a:gd name="connsiteY111" fmla="*/ 43300 h 44595"/>
                          <a:gd name="connsiteX112" fmla="*/ 9917 w 130189"/>
                          <a:gd name="connsiteY112" fmla="*/ 44138 h 44595"/>
                          <a:gd name="connsiteX113" fmla="*/ 12489 w 130189"/>
                          <a:gd name="connsiteY113" fmla="*/ 44556 h 44595"/>
                          <a:gd name="connsiteX114" fmla="*/ 15240 w 130189"/>
                          <a:gd name="connsiteY114" fmla="*/ 44497 h 44595"/>
                          <a:gd name="connsiteX115" fmla="*/ 26603 w 130189"/>
                          <a:gd name="connsiteY115" fmla="*/ 43360 h 44595"/>
                          <a:gd name="connsiteX116" fmla="*/ 28337 w 130189"/>
                          <a:gd name="connsiteY116" fmla="*/ 43181 h 44595"/>
                          <a:gd name="connsiteX117" fmla="*/ 32464 w 130189"/>
                          <a:gd name="connsiteY117" fmla="*/ 42762 h 44595"/>
                          <a:gd name="connsiteX118" fmla="*/ 33720 w 130189"/>
                          <a:gd name="connsiteY118" fmla="*/ 42643 h 44595"/>
                          <a:gd name="connsiteX119" fmla="*/ 122235 w 130189"/>
                          <a:gd name="connsiteY119" fmla="*/ 33911 h 44595"/>
                          <a:gd name="connsiteX120" fmla="*/ 121996 w 130189"/>
                          <a:gd name="connsiteY120" fmla="*/ 33671 h 44595"/>
                          <a:gd name="connsiteX121" fmla="*/ 121756 w 130189"/>
                          <a:gd name="connsiteY121" fmla="*/ 33432 h 44595"/>
                          <a:gd name="connsiteX122" fmla="*/ 121517 w 130189"/>
                          <a:gd name="connsiteY122" fmla="*/ 33193 h 44595"/>
                          <a:gd name="connsiteX123" fmla="*/ 121278 w 130189"/>
                          <a:gd name="connsiteY123" fmla="*/ 32954 h 44595"/>
                          <a:gd name="connsiteX124" fmla="*/ 34557 w 130189"/>
                          <a:gd name="connsiteY124" fmla="*/ 41446 h 44595"/>
                          <a:gd name="connsiteX125" fmla="*/ 33301 w 130189"/>
                          <a:gd name="connsiteY125" fmla="*/ 41566 h 44595"/>
                          <a:gd name="connsiteX126" fmla="*/ 29653 w 130189"/>
                          <a:gd name="connsiteY126" fmla="*/ 41925 h 44595"/>
                          <a:gd name="connsiteX127" fmla="*/ 28098 w 130189"/>
                          <a:gd name="connsiteY127" fmla="*/ 42104 h 44595"/>
                          <a:gd name="connsiteX128" fmla="*/ 15359 w 130189"/>
                          <a:gd name="connsiteY128" fmla="*/ 43360 h 44595"/>
                          <a:gd name="connsiteX129" fmla="*/ 12788 w 130189"/>
                          <a:gd name="connsiteY129" fmla="*/ 43420 h 44595"/>
                          <a:gd name="connsiteX130" fmla="*/ 10395 w 130189"/>
                          <a:gd name="connsiteY130" fmla="*/ 43001 h 44595"/>
                          <a:gd name="connsiteX131" fmla="*/ 8182 w 130189"/>
                          <a:gd name="connsiteY131" fmla="*/ 42224 h 44595"/>
                          <a:gd name="connsiteX132" fmla="*/ 6209 w 130189"/>
                          <a:gd name="connsiteY132" fmla="*/ 41088 h 44595"/>
                          <a:gd name="connsiteX133" fmla="*/ 3816 w 130189"/>
                          <a:gd name="connsiteY133" fmla="*/ 38815 h 44595"/>
                          <a:gd name="connsiteX134" fmla="*/ 2142 w 130189"/>
                          <a:gd name="connsiteY134" fmla="*/ 35884 h 44595"/>
                          <a:gd name="connsiteX135" fmla="*/ 1245 w 130189"/>
                          <a:gd name="connsiteY135" fmla="*/ 32415 h 44595"/>
                          <a:gd name="connsiteX136" fmla="*/ 1245 w 130189"/>
                          <a:gd name="connsiteY136" fmla="*/ 28528 h 44595"/>
                          <a:gd name="connsiteX137" fmla="*/ 1903 w 130189"/>
                          <a:gd name="connsiteY137" fmla="*/ 25238 h 44595"/>
                          <a:gd name="connsiteX138" fmla="*/ 3159 w 130189"/>
                          <a:gd name="connsiteY138" fmla="*/ 22069 h 44595"/>
                          <a:gd name="connsiteX139" fmla="*/ 4953 w 130189"/>
                          <a:gd name="connsiteY139" fmla="*/ 19079 h 44595"/>
                          <a:gd name="connsiteX140" fmla="*/ 7226 w 130189"/>
                          <a:gd name="connsiteY140" fmla="*/ 16387 h 44595"/>
                          <a:gd name="connsiteX141" fmla="*/ 9917 w 130189"/>
                          <a:gd name="connsiteY141" fmla="*/ 14114 h 44595"/>
                          <a:gd name="connsiteX142" fmla="*/ 12847 w 130189"/>
                          <a:gd name="connsiteY142" fmla="*/ 12380 h 44595"/>
                          <a:gd name="connsiteX143" fmla="*/ 15958 w 130189"/>
                          <a:gd name="connsiteY143" fmla="*/ 11184 h 44595"/>
                          <a:gd name="connsiteX144" fmla="*/ 19127 w 130189"/>
                          <a:gd name="connsiteY144" fmla="*/ 10586 h 44595"/>
                          <a:gd name="connsiteX145" fmla="*/ 30670 w 130189"/>
                          <a:gd name="connsiteY145" fmla="*/ 9569 h 44595"/>
                          <a:gd name="connsiteX146" fmla="*/ 32404 w 130189"/>
                          <a:gd name="connsiteY146" fmla="*/ 9390 h 44595"/>
                          <a:gd name="connsiteX147" fmla="*/ 36232 w 130189"/>
                          <a:gd name="connsiteY147" fmla="*/ 9031 h 44595"/>
                          <a:gd name="connsiteX148" fmla="*/ 37608 w 130189"/>
                          <a:gd name="connsiteY148" fmla="*/ 8911 h 44595"/>
                          <a:gd name="connsiteX149" fmla="*/ 125883 w 130189"/>
                          <a:gd name="connsiteY149" fmla="*/ 1196 h 44595"/>
                          <a:gd name="connsiteX150" fmla="*/ 126182 w 130189"/>
                          <a:gd name="connsiteY150" fmla="*/ 897 h 44595"/>
                          <a:gd name="connsiteX151" fmla="*/ 126481 w 130189"/>
                          <a:gd name="connsiteY151" fmla="*/ 598 h 44595"/>
                          <a:gd name="connsiteX152" fmla="*/ 126780 w 130189"/>
                          <a:gd name="connsiteY152" fmla="*/ 299 h 44595"/>
                          <a:gd name="connsiteX153" fmla="*/ 127079 w 130189"/>
                          <a:gd name="connsiteY153" fmla="*/ 0 h 44595"/>
                          <a:gd name="connsiteX154" fmla="*/ 36651 w 130189"/>
                          <a:gd name="connsiteY154" fmla="*/ 7835 h 44595"/>
                          <a:gd name="connsiteX155" fmla="*/ 35155 w 130189"/>
                          <a:gd name="connsiteY155" fmla="*/ 7954 h 44595"/>
                          <a:gd name="connsiteX156" fmla="*/ 31029 w 130189"/>
                          <a:gd name="connsiteY156" fmla="*/ 8313 h 44595"/>
                          <a:gd name="connsiteX157" fmla="*/ 29055 w 130189"/>
                          <a:gd name="connsiteY157" fmla="*/ 8493 h 44595"/>
                          <a:gd name="connsiteX158" fmla="*/ 19187 w 130189"/>
                          <a:gd name="connsiteY158" fmla="*/ 9330 h 44595"/>
                          <a:gd name="connsiteX159" fmla="*/ 15778 w 130189"/>
                          <a:gd name="connsiteY159" fmla="*/ 9928 h 44595"/>
                          <a:gd name="connsiteX160" fmla="*/ 12489 w 130189"/>
                          <a:gd name="connsiteY160" fmla="*/ 11184 h 44595"/>
                          <a:gd name="connsiteX161" fmla="*/ 9378 w 130189"/>
                          <a:gd name="connsiteY161" fmla="*/ 13038 h 44595"/>
                          <a:gd name="connsiteX162" fmla="*/ 6508 w 130189"/>
                          <a:gd name="connsiteY162" fmla="*/ 15490 h 44595"/>
                          <a:gd name="connsiteX163" fmla="*/ 4056 w 130189"/>
                          <a:gd name="connsiteY163" fmla="*/ 18361 h 44595"/>
                          <a:gd name="connsiteX164" fmla="*/ 2142 w 130189"/>
                          <a:gd name="connsiteY164" fmla="*/ 21530 h 44595"/>
                          <a:gd name="connsiteX165" fmla="*/ 826 w 130189"/>
                          <a:gd name="connsiteY165" fmla="*/ 24880 h 44595"/>
                          <a:gd name="connsiteX166" fmla="*/ 108 w 130189"/>
                          <a:gd name="connsiteY166" fmla="*/ 28349 h 44595"/>
                          <a:gd name="connsiteX167" fmla="*/ 168 w 130189"/>
                          <a:gd name="connsiteY167" fmla="*/ 32475 h 44595"/>
                          <a:gd name="connsiteX168" fmla="*/ 1125 w 130189"/>
                          <a:gd name="connsiteY168" fmla="*/ 36123 h 44595"/>
                          <a:gd name="connsiteX169" fmla="*/ 2919 w 130189"/>
                          <a:gd name="connsiteY169" fmla="*/ 39234 h 44595"/>
                          <a:gd name="connsiteX170" fmla="*/ 5491 w 130189"/>
                          <a:gd name="connsiteY170" fmla="*/ 42044 h 44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30189" h="44595">
                            <a:moveTo>
                              <a:pt x="128874" y="2512"/>
                            </a:moveTo>
                            <a:cubicBezTo>
                              <a:pt x="128933" y="2452"/>
                              <a:pt x="129053" y="2392"/>
                              <a:pt x="129113" y="2273"/>
                            </a:cubicBezTo>
                            <a:cubicBezTo>
                              <a:pt x="129173" y="2153"/>
                              <a:pt x="129292" y="2153"/>
                              <a:pt x="129352" y="2093"/>
                            </a:cubicBezTo>
                            <a:cubicBezTo>
                              <a:pt x="129471" y="2033"/>
                              <a:pt x="129531" y="1973"/>
                              <a:pt x="129651" y="1914"/>
                            </a:cubicBezTo>
                            <a:cubicBezTo>
                              <a:pt x="129770" y="1854"/>
                              <a:pt x="129830" y="1794"/>
                              <a:pt x="129950" y="1734"/>
                            </a:cubicBezTo>
                            <a:lnTo>
                              <a:pt x="130189" y="60"/>
                            </a:lnTo>
                            <a:lnTo>
                              <a:pt x="128814" y="179"/>
                            </a:lnTo>
                            <a:cubicBezTo>
                              <a:pt x="128694" y="299"/>
                              <a:pt x="128574" y="359"/>
                              <a:pt x="128455" y="478"/>
                            </a:cubicBezTo>
                            <a:cubicBezTo>
                              <a:pt x="128335" y="598"/>
                              <a:pt x="128215" y="658"/>
                              <a:pt x="128096" y="778"/>
                            </a:cubicBezTo>
                            <a:cubicBezTo>
                              <a:pt x="127976" y="897"/>
                              <a:pt x="127857" y="957"/>
                              <a:pt x="127737" y="1076"/>
                            </a:cubicBezTo>
                            <a:cubicBezTo>
                              <a:pt x="127617" y="1196"/>
                              <a:pt x="127498" y="1256"/>
                              <a:pt x="127378" y="1375"/>
                            </a:cubicBezTo>
                            <a:lnTo>
                              <a:pt x="129053" y="1256"/>
                            </a:lnTo>
                            <a:lnTo>
                              <a:pt x="128874" y="2512"/>
                            </a:lnTo>
                            <a:moveTo>
                              <a:pt x="128455" y="5263"/>
                            </a:moveTo>
                            <a:cubicBezTo>
                              <a:pt x="128514" y="5203"/>
                              <a:pt x="128634" y="5143"/>
                              <a:pt x="128694" y="5083"/>
                            </a:cubicBezTo>
                            <a:cubicBezTo>
                              <a:pt x="128754" y="5024"/>
                              <a:pt x="128874" y="4964"/>
                              <a:pt x="128933" y="4964"/>
                            </a:cubicBezTo>
                            <a:cubicBezTo>
                              <a:pt x="128993" y="4904"/>
                              <a:pt x="129113" y="4904"/>
                              <a:pt x="129173" y="4844"/>
                            </a:cubicBezTo>
                            <a:cubicBezTo>
                              <a:pt x="129232" y="4785"/>
                              <a:pt x="129352" y="4785"/>
                              <a:pt x="129412" y="4725"/>
                            </a:cubicBezTo>
                            <a:lnTo>
                              <a:pt x="129651" y="3229"/>
                            </a:lnTo>
                            <a:cubicBezTo>
                              <a:pt x="129531" y="3289"/>
                              <a:pt x="129471" y="3349"/>
                              <a:pt x="129352" y="3469"/>
                            </a:cubicBezTo>
                            <a:cubicBezTo>
                              <a:pt x="129232" y="3588"/>
                              <a:pt x="129173" y="3588"/>
                              <a:pt x="129053" y="3708"/>
                            </a:cubicBezTo>
                            <a:cubicBezTo>
                              <a:pt x="128933" y="3768"/>
                              <a:pt x="128874" y="3887"/>
                              <a:pt x="128754" y="3947"/>
                            </a:cubicBezTo>
                            <a:cubicBezTo>
                              <a:pt x="128694" y="4007"/>
                              <a:pt x="128574" y="4127"/>
                              <a:pt x="128514" y="4186"/>
                            </a:cubicBezTo>
                            <a:lnTo>
                              <a:pt x="128455" y="5263"/>
                            </a:lnTo>
                            <a:moveTo>
                              <a:pt x="128814" y="9808"/>
                            </a:moveTo>
                            <a:cubicBezTo>
                              <a:pt x="128814" y="9808"/>
                              <a:pt x="128814" y="9808"/>
                              <a:pt x="128814" y="9808"/>
                            </a:cubicBezTo>
                            <a:cubicBezTo>
                              <a:pt x="128814" y="9808"/>
                              <a:pt x="128814" y="9808"/>
                              <a:pt x="128814" y="9808"/>
                            </a:cubicBezTo>
                            <a:cubicBezTo>
                              <a:pt x="128814" y="9808"/>
                              <a:pt x="128814" y="9808"/>
                              <a:pt x="128814" y="9808"/>
                            </a:cubicBezTo>
                            <a:cubicBezTo>
                              <a:pt x="128814" y="9808"/>
                              <a:pt x="128814" y="9808"/>
                              <a:pt x="128814" y="9808"/>
                            </a:cubicBezTo>
                            <a:lnTo>
                              <a:pt x="129412" y="5801"/>
                            </a:lnTo>
                            <a:cubicBezTo>
                              <a:pt x="129352" y="5861"/>
                              <a:pt x="129232" y="5861"/>
                              <a:pt x="129173" y="5921"/>
                            </a:cubicBezTo>
                            <a:cubicBezTo>
                              <a:pt x="129113" y="5981"/>
                              <a:pt x="129053" y="5981"/>
                              <a:pt x="128933" y="6041"/>
                            </a:cubicBezTo>
                            <a:cubicBezTo>
                              <a:pt x="128814" y="6100"/>
                              <a:pt x="128814" y="6160"/>
                              <a:pt x="128694" y="6220"/>
                            </a:cubicBezTo>
                            <a:cubicBezTo>
                              <a:pt x="128634" y="6280"/>
                              <a:pt x="128574" y="6340"/>
                              <a:pt x="128514" y="6399"/>
                            </a:cubicBezTo>
                            <a:cubicBezTo>
                              <a:pt x="128514" y="6399"/>
                              <a:pt x="128455" y="6459"/>
                              <a:pt x="128455" y="6459"/>
                            </a:cubicBezTo>
                            <a:cubicBezTo>
                              <a:pt x="128455" y="6459"/>
                              <a:pt x="128395" y="6519"/>
                              <a:pt x="128395" y="6519"/>
                            </a:cubicBezTo>
                            <a:cubicBezTo>
                              <a:pt x="128395" y="6519"/>
                              <a:pt x="128335" y="6579"/>
                              <a:pt x="128335" y="6579"/>
                            </a:cubicBezTo>
                            <a:cubicBezTo>
                              <a:pt x="128335" y="6579"/>
                              <a:pt x="128275" y="6639"/>
                              <a:pt x="128275" y="6639"/>
                            </a:cubicBezTo>
                            <a:lnTo>
                              <a:pt x="127916" y="9090"/>
                            </a:lnTo>
                            <a:lnTo>
                              <a:pt x="128874" y="9031"/>
                            </a:lnTo>
                            <a:lnTo>
                              <a:pt x="128814" y="9808"/>
                            </a:lnTo>
                            <a:moveTo>
                              <a:pt x="128455" y="12141"/>
                            </a:moveTo>
                            <a:lnTo>
                              <a:pt x="128634" y="10885"/>
                            </a:lnTo>
                            <a:cubicBezTo>
                              <a:pt x="128634" y="10885"/>
                              <a:pt x="128634" y="10885"/>
                              <a:pt x="128634" y="10885"/>
                            </a:cubicBezTo>
                            <a:cubicBezTo>
                              <a:pt x="128634" y="10885"/>
                              <a:pt x="128634" y="10885"/>
                              <a:pt x="128634" y="10885"/>
                            </a:cubicBezTo>
                            <a:cubicBezTo>
                              <a:pt x="128634" y="10885"/>
                              <a:pt x="128634" y="10885"/>
                              <a:pt x="128634" y="10885"/>
                            </a:cubicBezTo>
                            <a:cubicBezTo>
                              <a:pt x="128634" y="10885"/>
                              <a:pt x="128634" y="10885"/>
                              <a:pt x="128634" y="10885"/>
                            </a:cubicBezTo>
                            <a:lnTo>
                              <a:pt x="128455" y="12141"/>
                            </a:lnTo>
                            <a:moveTo>
                              <a:pt x="125943" y="23624"/>
                            </a:moveTo>
                            <a:cubicBezTo>
                              <a:pt x="126003" y="23564"/>
                              <a:pt x="126122" y="23504"/>
                              <a:pt x="126182" y="23444"/>
                            </a:cubicBezTo>
                            <a:cubicBezTo>
                              <a:pt x="126242" y="23384"/>
                              <a:pt x="126361" y="23325"/>
                              <a:pt x="126421" y="23325"/>
                            </a:cubicBezTo>
                            <a:cubicBezTo>
                              <a:pt x="126481" y="23325"/>
                              <a:pt x="126601" y="23265"/>
                              <a:pt x="126660" y="23205"/>
                            </a:cubicBezTo>
                            <a:cubicBezTo>
                              <a:pt x="126720" y="23145"/>
                              <a:pt x="126840" y="23145"/>
                              <a:pt x="126900" y="23085"/>
                            </a:cubicBezTo>
                            <a:lnTo>
                              <a:pt x="127139" y="21411"/>
                            </a:lnTo>
                            <a:lnTo>
                              <a:pt x="126660" y="21471"/>
                            </a:lnTo>
                            <a:lnTo>
                              <a:pt x="126182" y="21530"/>
                            </a:lnTo>
                            <a:lnTo>
                              <a:pt x="125943" y="23624"/>
                            </a:lnTo>
                            <a:moveTo>
                              <a:pt x="125644" y="27870"/>
                            </a:moveTo>
                            <a:cubicBezTo>
                              <a:pt x="125704" y="27930"/>
                              <a:pt x="125704" y="27930"/>
                              <a:pt x="125763" y="27930"/>
                            </a:cubicBezTo>
                            <a:cubicBezTo>
                              <a:pt x="125823" y="27930"/>
                              <a:pt x="125823" y="27990"/>
                              <a:pt x="125883" y="27990"/>
                            </a:cubicBezTo>
                            <a:cubicBezTo>
                              <a:pt x="125943" y="27990"/>
                              <a:pt x="126003" y="28050"/>
                              <a:pt x="126003" y="28050"/>
                            </a:cubicBezTo>
                            <a:cubicBezTo>
                              <a:pt x="126062" y="28050"/>
                              <a:pt x="126122" y="28109"/>
                              <a:pt x="126182" y="28109"/>
                            </a:cubicBezTo>
                            <a:lnTo>
                              <a:pt x="126720" y="24102"/>
                            </a:lnTo>
                            <a:cubicBezTo>
                              <a:pt x="126660" y="24162"/>
                              <a:pt x="126541" y="24162"/>
                              <a:pt x="126481" y="24222"/>
                            </a:cubicBezTo>
                            <a:cubicBezTo>
                              <a:pt x="126421" y="24282"/>
                              <a:pt x="126302" y="24282"/>
                              <a:pt x="126242" y="24342"/>
                            </a:cubicBezTo>
                            <a:cubicBezTo>
                              <a:pt x="126182" y="24401"/>
                              <a:pt x="126122" y="24461"/>
                              <a:pt x="126003" y="24521"/>
                            </a:cubicBezTo>
                            <a:cubicBezTo>
                              <a:pt x="125883" y="24581"/>
                              <a:pt x="125883" y="24641"/>
                              <a:pt x="125823" y="24700"/>
                            </a:cubicBezTo>
                            <a:cubicBezTo>
                              <a:pt x="125823" y="24700"/>
                              <a:pt x="125823" y="24700"/>
                              <a:pt x="125763" y="24760"/>
                            </a:cubicBezTo>
                            <a:cubicBezTo>
                              <a:pt x="125763" y="24760"/>
                              <a:pt x="125763" y="24760"/>
                              <a:pt x="125704" y="24820"/>
                            </a:cubicBezTo>
                            <a:cubicBezTo>
                              <a:pt x="125704" y="24820"/>
                              <a:pt x="125704" y="24820"/>
                              <a:pt x="125644" y="24880"/>
                            </a:cubicBezTo>
                            <a:cubicBezTo>
                              <a:pt x="125644" y="24880"/>
                              <a:pt x="125644" y="24940"/>
                              <a:pt x="125584" y="24940"/>
                            </a:cubicBezTo>
                            <a:lnTo>
                              <a:pt x="125225" y="27571"/>
                            </a:lnTo>
                            <a:cubicBezTo>
                              <a:pt x="125225" y="27571"/>
                              <a:pt x="125225" y="27571"/>
                              <a:pt x="125225" y="27631"/>
                            </a:cubicBezTo>
                            <a:cubicBezTo>
                              <a:pt x="125225" y="27631"/>
                              <a:pt x="125225" y="27631"/>
                              <a:pt x="125225" y="27691"/>
                            </a:cubicBezTo>
                            <a:cubicBezTo>
                              <a:pt x="125225" y="27691"/>
                              <a:pt x="125225" y="27691"/>
                              <a:pt x="125225" y="27750"/>
                            </a:cubicBezTo>
                            <a:cubicBezTo>
                              <a:pt x="125225" y="27750"/>
                              <a:pt x="125225" y="27750"/>
                              <a:pt x="125225" y="27810"/>
                            </a:cubicBezTo>
                            <a:lnTo>
                              <a:pt x="125644" y="27870"/>
                            </a:lnTo>
                            <a:moveTo>
                              <a:pt x="125584" y="30502"/>
                            </a:moveTo>
                            <a:cubicBezTo>
                              <a:pt x="125644" y="30502"/>
                              <a:pt x="125644" y="30561"/>
                              <a:pt x="125584" y="30502"/>
                            </a:cubicBezTo>
                            <a:cubicBezTo>
                              <a:pt x="125644" y="30561"/>
                              <a:pt x="125704" y="30561"/>
                              <a:pt x="125704" y="30561"/>
                            </a:cubicBezTo>
                            <a:cubicBezTo>
                              <a:pt x="125704" y="30561"/>
                              <a:pt x="125763" y="30561"/>
                              <a:pt x="125763" y="30621"/>
                            </a:cubicBezTo>
                            <a:cubicBezTo>
                              <a:pt x="125763" y="30681"/>
                              <a:pt x="125823" y="30621"/>
                              <a:pt x="125823" y="30681"/>
                            </a:cubicBezTo>
                            <a:lnTo>
                              <a:pt x="126062" y="29186"/>
                            </a:lnTo>
                            <a:cubicBezTo>
                              <a:pt x="126003" y="29186"/>
                              <a:pt x="125883" y="29186"/>
                              <a:pt x="125823" y="29126"/>
                            </a:cubicBezTo>
                            <a:cubicBezTo>
                              <a:pt x="125763" y="29126"/>
                              <a:pt x="125644" y="29066"/>
                              <a:pt x="125584" y="29066"/>
                            </a:cubicBezTo>
                            <a:cubicBezTo>
                              <a:pt x="125524" y="29066"/>
                              <a:pt x="125465" y="29006"/>
                              <a:pt x="125345" y="29006"/>
                            </a:cubicBezTo>
                            <a:cubicBezTo>
                              <a:pt x="125225" y="29006"/>
                              <a:pt x="125225" y="28946"/>
                              <a:pt x="125165" y="28887"/>
                            </a:cubicBezTo>
                            <a:lnTo>
                              <a:pt x="124986" y="30023"/>
                            </a:lnTo>
                            <a:cubicBezTo>
                              <a:pt x="125046" y="30083"/>
                              <a:pt x="125106" y="30083"/>
                              <a:pt x="125106" y="30143"/>
                            </a:cubicBezTo>
                            <a:cubicBezTo>
                              <a:pt x="125165" y="30203"/>
                              <a:pt x="125225" y="30203"/>
                              <a:pt x="125225" y="30262"/>
                            </a:cubicBezTo>
                            <a:cubicBezTo>
                              <a:pt x="125285" y="30322"/>
                              <a:pt x="125345" y="30322"/>
                              <a:pt x="125345" y="30382"/>
                            </a:cubicBezTo>
                            <a:cubicBezTo>
                              <a:pt x="125345" y="30442"/>
                              <a:pt x="125584" y="30502"/>
                              <a:pt x="125584" y="30502"/>
                            </a:cubicBezTo>
                            <a:moveTo>
                              <a:pt x="123311" y="33432"/>
                            </a:moveTo>
                            <a:cubicBezTo>
                              <a:pt x="123371" y="33492"/>
                              <a:pt x="123371" y="33492"/>
                              <a:pt x="123431" y="33552"/>
                            </a:cubicBezTo>
                            <a:cubicBezTo>
                              <a:pt x="123491" y="33612"/>
                              <a:pt x="123491" y="33612"/>
                              <a:pt x="123551" y="33671"/>
                            </a:cubicBezTo>
                            <a:cubicBezTo>
                              <a:pt x="123611" y="33731"/>
                              <a:pt x="123670" y="33731"/>
                              <a:pt x="123670" y="33791"/>
                            </a:cubicBezTo>
                            <a:cubicBezTo>
                              <a:pt x="123730" y="33851"/>
                              <a:pt x="123790" y="33851"/>
                              <a:pt x="123790" y="33911"/>
                            </a:cubicBezTo>
                            <a:lnTo>
                              <a:pt x="124866" y="33791"/>
                            </a:lnTo>
                            <a:lnTo>
                              <a:pt x="125345" y="33731"/>
                            </a:lnTo>
                            <a:lnTo>
                              <a:pt x="125584" y="32236"/>
                            </a:lnTo>
                            <a:cubicBezTo>
                              <a:pt x="125524" y="32176"/>
                              <a:pt x="125465" y="32116"/>
                              <a:pt x="125345" y="32116"/>
                            </a:cubicBezTo>
                            <a:cubicBezTo>
                              <a:pt x="125285" y="32057"/>
                              <a:pt x="125225" y="31997"/>
                              <a:pt x="125165" y="31997"/>
                            </a:cubicBezTo>
                            <a:cubicBezTo>
                              <a:pt x="125106" y="31997"/>
                              <a:pt x="125046" y="31877"/>
                              <a:pt x="124986" y="31877"/>
                            </a:cubicBezTo>
                            <a:cubicBezTo>
                              <a:pt x="124926" y="31817"/>
                              <a:pt x="124866" y="31758"/>
                              <a:pt x="124806" y="31698"/>
                            </a:cubicBezTo>
                            <a:lnTo>
                              <a:pt x="124627" y="32894"/>
                            </a:lnTo>
                            <a:lnTo>
                              <a:pt x="122713" y="33073"/>
                            </a:lnTo>
                            <a:cubicBezTo>
                              <a:pt x="122773" y="33133"/>
                              <a:pt x="122833" y="33133"/>
                              <a:pt x="122833" y="33193"/>
                            </a:cubicBezTo>
                            <a:cubicBezTo>
                              <a:pt x="122833" y="33253"/>
                              <a:pt x="122952" y="33253"/>
                              <a:pt x="122952" y="33313"/>
                            </a:cubicBezTo>
                            <a:cubicBezTo>
                              <a:pt x="123012" y="33372"/>
                              <a:pt x="123072" y="33372"/>
                              <a:pt x="123072" y="33432"/>
                            </a:cubicBezTo>
                            <a:cubicBezTo>
                              <a:pt x="123192" y="33372"/>
                              <a:pt x="123252" y="33372"/>
                              <a:pt x="123311" y="33432"/>
                            </a:cubicBezTo>
                            <a:moveTo>
                              <a:pt x="5491" y="42044"/>
                            </a:moveTo>
                            <a:cubicBezTo>
                              <a:pt x="6149" y="42523"/>
                              <a:pt x="6867" y="42942"/>
                              <a:pt x="7584" y="43300"/>
                            </a:cubicBezTo>
                            <a:cubicBezTo>
                              <a:pt x="8302" y="43659"/>
                              <a:pt x="9139" y="43958"/>
                              <a:pt x="9917" y="44138"/>
                            </a:cubicBezTo>
                            <a:cubicBezTo>
                              <a:pt x="10754" y="44377"/>
                              <a:pt x="11591" y="44497"/>
                              <a:pt x="12489" y="44556"/>
                            </a:cubicBezTo>
                            <a:cubicBezTo>
                              <a:pt x="13385" y="44616"/>
                              <a:pt x="14283" y="44616"/>
                              <a:pt x="15240" y="44497"/>
                            </a:cubicBezTo>
                            <a:lnTo>
                              <a:pt x="26603" y="43360"/>
                            </a:lnTo>
                            <a:lnTo>
                              <a:pt x="28337" y="43181"/>
                            </a:lnTo>
                            <a:lnTo>
                              <a:pt x="32464" y="42762"/>
                            </a:lnTo>
                            <a:lnTo>
                              <a:pt x="33720" y="42643"/>
                            </a:lnTo>
                            <a:lnTo>
                              <a:pt x="122235" y="33911"/>
                            </a:lnTo>
                            <a:cubicBezTo>
                              <a:pt x="122175" y="33851"/>
                              <a:pt x="122055" y="33791"/>
                              <a:pt x="121996" y="33671"/>
                            </a:cubicBezTo>
                            <a:cubicBezTo>
                              <a:pt x="121936" y="33552"/>
                              <a:pt x="121816" y="33552"/>
                              <a:pt x="121756" y="33432"/>
                            </a:cubicBezTo>
                            <a:cubicBezTo>
                              <a:pt x="121697" y="33372"/>
                              <a:pt x="121577" y="33253"/>
                              <a:pt x="121517" y="33193"/>
                            </a:cubicBezTo>
                            <a:cubicBezTo>
                              <a:pt x="121457" y="33133"/>
                              <a:pt x="121338" y="33013"/>
                              <a:pt x="121278" y="32954"/>
                            </a:cubicBezTo>
                            <a:lnTo>
                              <a:pt x="34557" y="41446"/>
                            </a:lnTo>
                            <a:lnTo>
                              <a:pt x="33301" y="41566"/>
                            </a:lnTo>
                            <a:lnTo>
                              <a:pt x="29653" y="41925"/>
                            </a:lnTo>
                            <a:lnTo>
                              <a:pt x="28098" y="42104"/>
                            </a:lnTo>
                            <a:lnTo>
                              <a:pt x="15359" y="43360"/>
                            </a:lnTo>
                            <a:cubicBezTo>
                              <a:pt x="14462" y="43420"/>
                              <a:pt x="13625" y="43480"/>
                              <a:pt x="12788" y="43420"/>
                            </a:cubicBezTo>
                            <a:cubicBezTo>
                              <a:pt x="11950" y="43360"/>
                              <a:pt x="11173" y="43240"/>
                              <a:pt x="10395" y="43001"/>
                            </a:cubicBezTo>
                            <a:cubicBezTo>
                              <a:pt x="9618" y="42822"/>
                              <a:pt x="8900" y="42523"/>
                              <a:pt x="8182" y="42224"/>
                            </a:cubicBezTo>
                            <a:cubicBezTo>
                              <a:pt x="7465" y="41925"/>
                              <a:pt x="6807" y="41506"/>
                              <a:pt x="6209" y="41088"/>
                            </a:cubicBezTo>
                            <a:cubicBezTo>
                              <a:pt x="5312" y="40430"/>
                              <a:pt x="4534" y="39652"/>
                              <a:pt x="3816" y="38815"/>
                            </a:cubicBezTo>
                            <a:cubicBezTo>
                              <a:pt x="3159" y="37918"/>
                              <a:pt x="2560" y="36961"/>
                              <a:pt x="2142" y="35884"/>
                            </a:cubicBezTo>
                            <a:cubicBezTo>
                              <a:pt x="1723" y="34808"/>
                              <a:pt x="1365" y="33671"/>
                              <a:pt x="1245" y="32415"/>
                            </a:cubicBezTo>
                            <a:cubicBezTo>
                              <a:pt x="1065" y="31219"/>
                              <a:pt x="1065" y="29904"/>
                              <a:pt x="1245" y="28528"/>
                            </a:cubicBezTo>
                            <a:cubicBezTo>
                              <a:pt x="1365" y="27451"/>
                              <a:pt x="1604" y="26315"/>
                              <a:pt x="1903" y="25238"/>
                            </a:cubicBezTo>
                            <a:cubicBezTo>
                              <a:pt x="2202" y="24162"/>
                              <a:pt x="2620" y="23085"/>
                              <a:pt x="3159" y="22069"/>
                            </a:cubicBezTo>
                            <a:cubicBezTo>
                              <a:pt x="3697" y="21052"/>
                              <a:pt x="4295" y="20035"/>
                              <a:pt x="4953" y="19079"/>
                            </a:cubicBezTo>
                            <a:cubicBezTo>
                              <a:pt x="5611" y="18121"/>
                              <a:pt x="6388" y="17225"/>
                              <a:pt x="7226" y="16387"/>
                            </a:cubicBezTo>
                            <a:cubicBezTo>
                              <a:pt x="8063" y="15550"/>
                              <a:pt x="8960" y="14772"/>
                              <a:pt x="9917" y="14114"/>
                            </a:cubicBezTo>
                            <a:cubicBezTo>
                              <a:pt x="10874" y="13457"/>
                              <a:pt x="11831" y="12858"/>
                              <a:pt x="12847" y="12380"/>
                            </a:cubicBezTo>
                            <a:cubicBezTo>
                              <a:pt x="13864" y="11902"/>
                              <a:pt x="14881" y="11483"/>
                              <a:pt x="15958" y="11184"/>
                            </a:cubicBezTo>
                            <a:cubicBezTo>
                              <a:pt x="17034" y="10885"/>
                              <a:pt x="18051" y="10705"/>
                              <a:pt x="19127" y="10586"/>
                            </a:cubicBezTo>
                            <a:lnTo>
                              <a:pt x="30670" y="9569"/>
                            </a:lnTo>
                            <a:lnTo>
                              <a:pt x="32404" y="9390"/>
                            </a:lnTo>
                            <a:lnTo>
                              <a:pt x="36232" y="9031"/>
                            </a:lnTo>
                            <a:lnTo>
                              <a:pt x="37608" y="8911"/>
                            </a:lnTo>
                            <a:lnTo>
                              <a:pt x="125883" y="1196"/>
                            </a:lnTo>
                            <a:cubicBezTo>
                              <a:pt x="126003" y="1076"/>
                              <a:pt x="126122" y="1017"/>
                              <a:pt x="126182" y="897"/>
                            </a:cubicBezTo>
                            <a:cubicBezTo>
                              <a:pt x="126242" y="778"/>
                              <a:pt x="126421" y="718"/>
                              <a:pt x="126481" y="598"/>
                            </a:cubicBezTo>
                            <a:cubicBezTo>
                              <a:pt x="126601" y="478"/>
                              <a:pt x="126720" y="419"/>
                              <a:pt x="126780" y="299"/>
                            </a:cubicBezTo>
                            <a:cubicBezTo>
                              <a:pt x="126900" y="179"/>
                              <a:pt x="127019" y="119"/>
                              <a:pt x="127079" y="0"/>
                            </a:cubicBezTo>
                            <a:lnTo>
                              <a:pt x="36651" y="7835"/>
                            </a:lnTo>
                            <a:lnTo>
                              <a:pt x="35155" y="7954"/>
                            </a:lnTo>
                            <a:lnTo>
                              <a:pt x="31029" y="8313"/>
                            </a:lnTo>
                            <a:lnTo>
                              <a:pt x="29055" y="8493"/>
                            </a:lnTo>
                            <a:lnTo>
                              <a:pt x="19187" y="9330"/>
                            </a:lnTo>
                            <a:cubicBezTo>
                              <a:pt x="18051" y="9449"/>
                              <a:pt x="16914" y="9629"/>
                              <a:pt x="15778" y="9928"/>
                            </a:cubicBezTo>
                            <a:cubicBezTo>
                              <a:pt x="14642" y="10227"/>
                              <a:pt x="13565" y="10645"/>
                              <a:pt x="12489" y="11184"/>
                            </a:cubicBezTo>
                            <a:cubicBezTo>
                              <a:pt x="11412" y="11722"/>
                              <a:pt x="10395" y="12320"/>
                              <a:pt x="9378" y="13038"/>
                            </a:cubicBezTo>
                            <a:cubicBezTo>
                              <a:pt x="8362" y="13756"/>
                              <a:pt x="7405" y="14593"/>
                              <a:pt x="6508" y="15490"/>
                            </a:cubicBezTo>
                            <a:cubicBezTo>
                              <a:pt x="5611" y="16387"/>
                              <a:pt x="4774" y="17344"/>
                              <a:pt x="4056" y="18361"/>
                            </a:cubicBezTo>
                            <a:cubicBezTo>
                              <a:pt x="3338" y="19377"/>
                              <a:pt x="2680" y="20454"/>
                              <a:pt x="2142" y="21530"/>
                            </a:cubicBezTo>
                            <a:cubicBezTo>
                              <a:pt x="1604" y="22607"/>
                              <a:pt x="1185" y="23743"/>
                              <a:pt x="826" y="24880"/>
                            </a:cubicBezTo>
                            <a:cubicBezTo>
                              <a:pt x="467" y="26016"/>
                              <a:pt x="228" y="27212"/>
                              <a:pt x="108" y="28349"/>
                            </a:cubicBezTo>
                            <a:cubicBezTo>
                              <a:pt x="-71" y="29784"/>
                              <a:pt x="-11" y="31159"/>
                              <a:pt x="168" y="32475"/>
                            </a:cubicBezTo>
                            <a:cubicBezTo>
                              <a:pt x="348" y="33791"/>
                              <a:pt x="647" y="34987"/>
                              <a:pt x="1125" y="36123"/>
                            </a:cubicBezTo>
                            <a:cubicBezTo>
                              <a:pt x="1604" y="37260"/>
                              <a:pt x="2202" y="38276"/>
                              <a:pt x="2919" y="39234"/>
                            </a:cubicBezTo>
                            <a:cubicBezTo>
                              <a:pt x="3697" y="40549"/>
                              <a:pt x="4534" y="41386"/>
                              <a:pt x="5491" y="42044"/>
                            </a:cubicBezTo>
                          </a:path>
                        </a:pathLst>
                      </a:custGeom>
                      <a:noFill/>
                      <a:ln w="6350" cap="flat">
                        <a:solidFill>
                          <a:schemeClr val="bg1">
                            <a:alpha val="40000"/>
                          </a:schemeClr>
                        </a:solidFill>
                        <a:prstDash val="solid"/>
                        <a:miter/>
                      </a:ln>
                    </p:spPr>
                    <p:txBody>
                      <a:bodyPr rtlCol="0" anchor="ctr"/>
                      <a:lstStyle/>
                      <a:p>
                        <a:endParaRPr lang="en-GB"/>
                      </a:p>
                    </p:txBody>
                  </p:sp>
                  <p:sp>
                    <p:nvSpPr>
                      <p:cNvPr id="7554" name="Vrije vorm: vorm 7553">
                        <a:extLst>
                          <a:ext uri="{FF2B5EF4-FFF2-40B4-BE49-F238E27FC236}">
                            <a16:creationId xmlns:a16="http://schemas.microsoft.com/office/drawing/2014/main" id="{FBE0E7AE-8DD5-4D65-85D1-4DB03C9E48D9}"/>
                          </a:ext>
                        </a:extLst>
                      </p:cNvPr>
                      <p:cNvSpPr/>
                      <p:nvPr/>
                    </p:nvSpPr>
                    <p:spPr>
                      <a:xfrm>
                        <a:off x="5098226" y="5210265"/>
                        <a:ext cx="112378" cy="22786"/>
                      </a:xfrm>
                      <a:custGeom>
                        <a:avLst/>
                        <a:gdLst>
                          <a:gd name="connsiteX0" fmla="*/ 111780 w 112378"/>
                          <a:gd name="connsiteY0" fmla="*/ 538 h 22786"/>
                          <a:gd name="connsiteX1" fmla="*/ 111899 w 112378"/>
                          <a:gd name="connsiteY1" fmla="*/ 598 h 22786"/>
                          <a:gd name="connsiteX2" fmla="*/ 112019 w 112378"/>
                          <a:gd name="connsiteY2" fmla="*/ 658 h 22786"/>
                          <a:gd name="connsiteX3" fmla="*/ 112139 w 112378"/>
                          <a:gd name="connsiteY3" fmla="*/ 718 h 22786"/>
                          <a:gd name="connsiteX4" fmla="*/ 112258 w 112378"/>
                          <a:gd name="connsiteY4" fmla="*/ 777 h 22786"/>
                          <a:gd name="connsiteX5" fmla="*/ 112378 w 112378"/>
                          <a:gd name="connsiteY5" fmla="*/ 0 h 22786"/>
                          <a:gd name="connsiteX6" fmla="*/ 111421 w 112378"/>
                          <a:gd name="connsiteY6" fmla="*/ 60 h 22786"/>
                          <a:gd name="connsiteX7" fmla="*/ 111361 w 112378"/>
                          <a:gd name="connsiteY7" fmla="*/ 60 h 22786"/>
                          <a:gd name="connsiteX8" fmla="*/ 111421 w 112378"/>
                          <a:gd name="connsiteY8" fmla="*/ 119 h 22786"/>
                          <a:gd name="connsiteX9" fmla="*/ 111481 w 112378"/>
                          <a:gd name="connsiteY9" fmla="*/ 179 h 22786"/>
                          <a:gd name="connsiteX10" fmla="*/ 111541 w 112378"/>
                          <a:gd name="connsiteY10" fmla="*/ 239 h 22786"/>
                          <a:gd name="connsiteX11" fmla="*/ 111600 w 112378"/>
                          <a:gd name="connsiteY11" fmla="*/ 299 h 22786"/>
                          <a:gd name="connsiteX12" fmla="*/ 111780 w 112378"/>
                          <a:gd name="connsiteY12" fmla="*/ 538 h 22786"/>
                          <a:gd name="connsiteX13" fmla="*/ 107055 w 112378"/>
                          <a:gd name="connsiteY13" fmla="*/ 1435 h 22786"/>
                          <a:gd name="connsiteX14" fmla="*/ 110763 w 112378"/>
                          <a:gd name="connsiteY14" fmla="*/ 1076 h 22786"/>
                          <a:gd name="connsiteX15" fmla="*/ 110584 w 112378"/>
                          <a:gd name="connsiteY15" fmla="*/ 897 h 22786"/>
                          <a:gd name="connsiteX16" fmla="*/ 110464 w 112378"/>
                          <a:gd name="connsiteY16" fmla="*/ 658 h 22786"/>
                          <a:gd name="connsiteX17" fmla="*/ 110344 w 112378"/>
                          <a:gd name="connsiteY17" fmla="*/ 418 h 22786"/>
                          <a:gd name="connsiteX18" fmla="*/ 110285 w 112378"/>
                          <a:gd name="connsiteY18" fmla="*/ 179 h 22786"/>
                          <a:gd name="connsiteX19" fmla="*/ 107653 w 112378"/>
                          <a:gd name="connsiteY19" fmla="*/ 418 h 22786"/>
                          <a:gd name="connsiteX20" fmla="*/ 107474 w 112378"/>
                          <a:gd name="connsiteY20" fmla="*/ 658 h 22786"/>
                          <a:gd name="connsiteX21" fmla="*/ 107294 w 112378"/>
                          <a:gd name="connsiteY21" fmla="*/ 897 h 22786"/>
                          <a:gd name="connsiteX22" fmla="*/ 107174 w 112378"/>
                          <a:gd name="connsiteY22" fmla="*/ 1136 h 22786"/>
                          <a:gd name="connsiteX23" fmla="*/ 107055 w 112378"/>
                          <a:gd name="connsiteY23" fmla="*/ 1435 h 22786"/>
                          <a:gd name="connsiteX24" fmla="*/ 103586 w 112378"/>
                          <a:gd name="connsiteY24" fmla="*/ 1734 h 22786"/>
                          <a:gd name="connsiteX25" fmla="*/ 105799 w 112378"/>
                          <a:gd name="connsiteY25" fmla="*/ 1555 h 22786"/>
                          <a:gd name="connsiteX26" fmla="*/ 105919 w 112378"/>
                          <a:gd name="connsiteY26" fmla="*/ 1316 h 22786"/>
                          <a:gd name="connsiteX27" fmla="*/ 106038 w 112378"/>
                          <a:gd name="connsiteY27" fmla="*/ 1076 h 22786"/>
                          <a:gd name="connsiteX28" fmla="*/ 106158 w 112378"/>
                          <a:gd name="connsiteY28" fmla="*/ 837 h 22786"/>
                          <a:gd name="connsiteX29" fmla="*/ 106278 w 112378"/>
                          <a:gd name="connsiteY29" fmla="*/ 598 h 22786"/>
                          <a:gd name="connsiteX30" fmla="*/ 104005 w 112378"/>
                          <a:gd name="connsiteY30" fmla="*/ 777 h 22786"/>
                          <a:gd name="connsiteX31" fmla="*/ 103885 w 112378"/>
                          <a:gd name="connsiteY31" fmla="*/ 1017 h 22786"/>
                          <a:gd name="connsiteX32" fmla="*/ 103766 w 112378"/>
                          <a:gd name="connsiteY32" fmla="*/ 1256 h 22786"/>
                          <a:gd name="connsiteX33" fmla="*/ 103646 w 112378"/>
                          <a:gd name="connsiteY33" fmla="*/ 1495 h 22786"/>
                          <a:gd name="connsiteX34" fmla="*/ 103586 w 112378"/>
                          <a:gd name="connsiteY34" fmla="*/ 1734 h 22786"/>
                          <a:gd name="connsiteX35" fmla="*/ 104603 w 112378"/>
                          <a:gd name="connsiteY35" fmla="*/ 12918 h 22786"/>
                          <a:gd name="connsiteX36" fmla="*/ 109746 w 112378"/>
                          <a:gd name="connsiteY36" fmla="*/ 12440 h 22786"/>
                          <a:gd name="connsiteX37" fmla="*/ 110225 w 112378"/>
                          <a:gd name="connsiteY37" fmla="*/ 12380 h 22786"/>
                          <a:gd name="connsiteX38" fmla="*/ 110703 w 112378"/>
                          <a:gd name="connsiteY38" fmla="*/ 12320 h 22786"/>
                          <a:gd name="connsiteX39" fmla="*/ 110703 w 112378"/>
                          <a:gd name="connsiteY39" fmla="*/ 12320 h 22786"/>
                          <a:gd name="connsiteX40" fmla="*/ 112019 w 112378"/>
                          <a:gd name="connsiteY40" fmla="*/ 3050 h 22786"/>
                          <a:gd name="connsiteX41" fmla="*/ 112198 w 112378"/>
                          <a:gd name="connsiteY41" fmla="*/ 1794 h 22786"/>
                          <a:gd name="connsiteX42" fmla="*/ 111959 w 112378"/>
                          <a:gd name="connsiteY42" fmla="*/ 1734 h 22786"/>
                          <a:gd name="connsiteX43" fmla="*/ 111720 w 112378"/>
                          <a:gd name="connsiteY43" fmla="*/ 1674 h 22786"/>
                          <a:gd name="connsiteX44" fmla="*/ 111481 w 112378"/>
                          <a:gd name="connsiteY44" fmla="*/ 1555 h 22786"/>
                          <a:gd name="connsiteX45" fmla="*/ 111301 w 112378"/>
                          <a:gd name="connsiteY45" fmla="*/ 1435 h 22786"/>
                          <a:gd name="connsiteX46" fmla="*/ 110703 w 112378"/>
                          <a:gd name="connsiteY46" fmla="*/ 5681 h 22786"/>
                          <a:gd name="connsiteX47" fmla="*/ 111002 w 112378"/>
                          <a:gd name="connsiteY47" fmla="*/ 6100 h 22786"/>
                          <a:gd name="connsiteX48" fmla="*/ 111242 w 112378"/>
                          <a:gd name="connsiteY48" fmla="*/ 6639 h 22786"/>
                          <a:gd name="connsiteX49" fmla="*/ 111361 w 112378"/>
                          <a:gd name="connsiteY49" fmla="*/ 7236 h 22786"/>
                          <a:gd name="connsiteX50" fmla="*/ 111361 w 112378"/>
                          <a:gd name="connsiteY50" fmla="*/ 7894 h 22786"/>
                          <a:gd name="connsiteX51" fmla="*/ 111182 w 112378"/>
                          <a:gd name="connsiteY51" fmla="*/ 8552 h 22786"/>
                          <a:gd name="connsiteX52" fmla="*/ 110883 w 112378"/>
                          <a:gd name="connsiteY52" fmla="*/ 9150 h 22786"/>
                          <a:gd name="connsiteX53" fmla="*/ 110524 w 112378"/>
                          <a:gd name="connsiteY53" fmla="*/ 9689 h 22786"/>
                          <a:gd name="connsiteX54" fmla="*/ 110105 w 112378"/>
                          <a:gd name="connsiteY54" fmla="*/ 10167 h 22786"/>
                          <a:gd name="connsiteX55" fmla="*/ 109926 w 112378"/>
                          <a:gd name="connsiteY55" fmla="*/ 11303 h 22786"/>
                          <a:gd name="connsiteX56" fmla="*/ 104603 w 112378"/>
                          <a:gd name="connsiteY56" fmla="*/ 11782 h 22786"/>
                          <a:gd name="connsiteX57" fmla="*/ 104603 w 112378"/>
                          <a:gd name="connsiteY57" fmla="*/ 12021 h 22786"/>
                          <a:gd name="connsiteX58" fmla="*/ 104603 w 112378"/>
                          <a:gd name="connsiteY58" fmla="*/ 12260 h 22786"/>
                          <a:gd name="connsiteX59" fmla="*/ 104603 w 112378"/>
                          <a:gd name="connsiteY59" fmla="*/ 12500 h 22786"/>
                          <a:gd name="connsiteX60" fmla="*/ 104603 w 112378"/>
                          <a:gd name="connsiteY60" fmla="*/ 12918 h 22786"/>
                          <a:gd name="connsiteX61" fmla="*/ 101254 w 112378"/>
                          <a:gd name="connsiteY61" fmla="*/ 13277 h 22786"/>
                          <a:gd name="connsiteX62" fmla="*/ 103347 w 112378"/>
                          <a:gd name="connsiteY62" fmla="*/ 13097 h 22786"/>
                          <a:gd name="connsiteX63" fmla="*/ 103347 w 112378"/>
                          <a:gd name="connsiteY63" fmla="*/ 12858 h 22786"/>
                          <a:gd name="connsiteX64" fmla="*/ 103347 w 112378"/>
                          <a:gd name="connsiteY64" fmla="*/ 12619 h 22786"/>
                          <a:gd name="connsiteX65" fmla="*/ 103347 w 112378"/>
                          <a:gd name="connsiteY65" fmla="*/ 12380 h 22786"/>
                          <a:gd name="connsiteX66" fmla="*/ 103347 w 112378"/>
                          <a:gd name="connsiteY66" fmla="*/ 12141 h 22786"/>
                          <a:gd name="connsiteX67" fmla="*/ 101254 w 112378"/>
                          <a:gd name="connsiteY67" fmla="*/ 12320 h 22786"/>
                          <a:gd name="connsiteX68" fmla="*/ 101254 w 112378"/>
                          <a:gd name="connsiteY68" fmla="*/ 12559 h 22786"/>
                          <a:gd name="connsiteX69" fmla="*/ 101254 w 112378"/>
                          <a:gd name="connsiteY69" fmla="*/ 12798 h 22786"/>
                          <a:gd name="connsiteX70" fmla="*/ 101254 w 112378"/>
                          <a:gd name="connsiteY70" fmla="*/ 13038 h 22786"/>
                          <a:gd name="connsiteX71" fmla="*/ 101254 w 112378"/>
                          <a:gd name="connsiteY71" fmla="*/ 13277 h 22786"/>
                          <a:gd name="connsiteX72" fmla="*/ 6280 w 112378"/>
                          <a:gd name="connsiteY72" fmla="*/ 9509 h 22786"/>
                          <a:gd name="connsiteX73" fmla="*/ 6519 w 112378"/>
                          <a:gd name="connsiteY73" fmla="*/ 9629 h 22786"/>
                          <a:gd name="connsiteX74" fmla="*/ 6758 w 112378"/>
                          <a:gd name="connsiteY74" fmla="*/ 9748 h 22786"/>
                          <a:gd name="connsiteX75" fmla="*/ 6997 w 112378"/>
                          <a:gd name="connsiteY75" fmla="*/ 9868 h 22786"/>
                          <a:gd name="connsiteX76" fmla="*/ 7237 w 112378"/>
                          <a:gd name="connsiteY76" fmla="*/ 10048 h 22786"/>
                          <a:gd name="connsiteX77" fmla="*/ 7356 w 112378"/>
                          <a:gd name="connsiteY77" fmla="*/ 10167 h 22786"/>
                          <a:gd name="connsiteX78" fmla="*/ 7476 w 112378"/>
                          <a:gd name="connsiteY78" fmla="*/ 10287 h 22786"/>
                          <a:gd name="connsiteX79" fmla="*/ 7596 w 112378"/>
                          <a:gd name="connsiteY79" fmla="*/ 10406 h 22786"/>
                          <a:gd name="connsiteX80" fmla="*/ 7715 w 112378"/>
                          <a:gd name="connsiteY80" fmla="*/ 10526 h 22786"/>
                          <a:gd name="connsiteX81" fmla="*/ 20335 w 112378"/>
                          <a:gd name="connsiteY81" fmla="*/ 9389 h 22786"/>
                          <a:gd name="connsiteX82" fmla="*/ 21411 w 112378"/>
                          <a:gd name="connsiteY82" fmla="*/ 9270 h 22786"/>
                          <a:gd name="connsiteX83" fmla="*/ 24102 w 112378"/>
                          <a:gd name="connsiteY83" fmla="*/ 9031 h 22786"/>
                          <a:gd name="connsiteX84" fmla="*/ 25179 w 112378"/>
                          <a:gd name="connsiteY84" fmla="*/ 8911 h 22786"/>
                          <a:gd name="connsiteX85" fmla="*/ 102629 w 112378"/>
                          <a:gd name="connsiteY85" fmla="*/ 1914 h 22786"/>
                          <a:gd name="connsiteX86" fmla="*/ 102749 w 112378"/>
                          <a:gd name="connsiteY86" fmla="*/ 1674 h 22786"/>
                          <a:gd name="connsiteX87" fmla="*/ 102869 w 112378"/>
                          <a:gd name="connsiteY87" fmla="*/ 1435 h 22786"/>
                          <a:gd name="connsiteX88" fmla="*/ 102988 w 112378"/>
                          <a:gd name="connsiteY88" fmla="*/ 1196 h 22786"/>
                          <a:gd name="connsiteX89" fmla="*/ 103108 w 112378"/>
                          <a:gd name="connsiteY89" fmla="*/ 957 h 22786"/>
                          <a:gd name="connsiteX90" fmla="*/ 24940 w 112378"/>
                          <a:gd name="connsiteY90" fmla="*/ 7954 h 22786"/>
                          <a:gd name="connsiteX91" fmla="*/ 23863 w 112378"/>
                          <a:gd name="connsiteY91" fmla="*/ 8074 h 22786"/>
                          <a:gd name="connsiteX92" fmla="*/ 21112 w 112378"/>
                          <a:gd name="connsiteY92" fmla="*/ 8313 h 22786"/>
                          <a:gd name="connsiteX93" fmla="*/ 19976 w 112378"/>
                          <a:gd name="connsiteY93" fmla="*/ 8433 h 22786"/>
                          <a:gd name="connsiteX94" fmla="*/ 6280 w 112378"/>
                          <a:gd name="connsiteY94" fmla="*/ 9509 h 22786"/>
                          <a:gd name="connsiteX95" fmla="*/ 1375 w 112378"/>
                          <a:gd name="connsiteY95" fmla="*/ 11064 h 22786"/>
                          <a:gd name="connsiteX96" fmla="*/ 1375 w 112378"/>
                          <a:gd name="connsiteY96" fmla="*/ 11064 h 22786"/>
                          <a:gd name="connsiteX97" fmla="*/ 1495 w 112378"/>
                          <a:gd name="connsiteY97" fmla="*/ 11064 h 22786"/>
                          <a:gd name="connsiteX98" fmla="*/ 1555 w 112378"/>
                          <a:gd name="connsiteY98" fmla="*/ 11064 h 22786"/>
                          <a:gd name="connsiteX99" fmla="*/ 1615 w 112378"/>
                          <a:gd name="connsiteY99" fmla="*/ 11064 h 22786"/>
                          <a:gd name="connsiteX100" fmla="*/ 1794 w 112378"/>
                          <a:gd name="connsiteY100" fmla="*/ 11064 h 22786"/>
                          <a:gd name="connsiteX101" fmla="*/ 1974 w 112378"/>
                          <a:gd name="connsiteY101" fmla="*/ 11064 h 22786"/>
                          <a:gd name="connsiteX102" fmla="*/ 2153 w 112378"/>
                          <a:gd name="connsiteY102" fmla="*/ 11064 h 22786"/>
                          <a:gd name="connsiteX103" fmla="*/ 2333 w 112378"/>
                          <a:gd name="connsiteY103" fmla="*/ 11064 h 22786"/>
                          <a:gd name="connsiteX104" fmla="*/ 2333 w 112378"/>
                          <a:gd name="connsiteY104" fmla="*/ 10944 h 22786"/>
                          <a:gd name="connsiteX105" fmla="*/ 5861 w 112378"/>
                          <a:gd name="connsiteY105" fmla="*/ 10645 h 22786"/>
                          <a:gd name="connsiteX106" fmla="*/ 5263 w 112378"/>
                          <a:gd name="connsiteY106" fmla="*/ 10347 h 22786"/>
                          <a:gd name="connsiteX107" fmla="*/ 4665 w 112378"/>
                          <a:gd name="connsiteY107" fmla="*/ 10107 h 22786"/>
                          <a:gd name="connsiteX108" fmla="*/ 4007 w 112378"/>
                          <a:gd name="connsiteY108" fmla="*/ 9928 h 22786"/>
                          <a:gd name="connsiteX109" fmla="*/ 3349 w 112378"/>
                          <a:gd name="connsiteY109" fmla="*/ 9808 h 22786"/>
                          <a:gd name="connsiteX110" fmla="*/ 1974 w 112378"/>
                          <a:gd name="connsiteY110" fmla="*/ 9928 h 22786"/>
                          <a:gd name="connsiteX111" fmla="*/ 1495 w 112378"/>
                          <a:gd name="connsiteY111" fmla="*/ 9988 h 22786"/>
                          <a:gd name="connsiteX112" fmla="*/ 1375 w 112378"/>
                          <a:gd name="connsiteY112" fmla="*/ 11064 h 22786"/>
                          <a:gd name="connsiteX113" fmla="*/ 8373 w 112378"/>
                          <a:gd name="connsiteY113" fmla="*/ 22009 h 22786"/>
                          <a:gd name="connsiteX114" fmla="*/ 19916 w 112378"/>
                          <a:gd name="connsiteY114" fmla="*/ 20933 h 22786"/>
                          <a:gd name="connsiteX115" fmla="*/ 20933 w 112378"/>
                          <a:gd name="connsiteY115" fmla="*/ 20813 h 22786"/>
                          <a:gd name="connsiteX116" fmla="*/ 23504 w 112378"/>
                          <a:gd name="connsiteY116" fmla="*/ 20573 h 22786"/>
                          <a:gd name="connsiteX117" fmla="*/ 24521 w 112378"/>
                          <a:gd name="connsiteY117" fmla="*/ 20454 h 22786"/>
                          <a:gd name="connsiteX118" fmla="*/ 100297 w 112378"/>
                          <a:gd name="connsiteY118" fmla="*/ 13337 h 22786"/>
                          <a:gd name="connsiteX119" fmla="*/ 100297 w 112378"/>
                          <a:gd name="connsiteY119" fmla="*/ 13097 h 22786"/>
                          <a:gd name="connsiteX120" fmla="*/ 100297 w 112378"/>
                          <a:gd name="connsiteY120" fmla="*/ 12858 h 22786"/>
                          <a:gd name="connsiteX121" fmla="*/ 100297 w 112378"/>
                          <a:gd name="connsiteY121" fmla="*/ 12619 h 22786"/>
                          <a:gd name="connsiteX122" fmla="*/ 100297 w 112378"/>
                          <a:gd name="connsiteY122" fmla="*/ 12380 h 22786"/>
                          <a:gd name="connsiteX123" fmla="*/ 24820 w 112378"/>
                          <a:gd name="connsiteY123" fmla="*/ 19497 h 22786"/>
                          <a:gd name="connsiteX124" fmla="*/ 23803 w 112378"/>
                          <a:gd name="connsiteY124" fmla="*/ 19617 h 22786"/>
                          <a:gd name="connsiteX125" fmla="*/ 21231 w 112378"/>
                          <a:gd name="connsiteY125" fmla="*/ 19856 h 22786"/>
                          <a:gd name="connsiteX126" fmla="*/ 20215 w 112378"/>
                          <a:gd name="connsiteY126" fmla="*/ 19975 h 22786"/>
                          <a:gd name="connsiteX127" fmla="*/ 8971 w 112378"/>
                          <a:gd name="connsiteY127" fmla="*/ 21052 h 22786"/>
                          <a:gd name="connsiteX128" fmla="*/ 8851 w 112378"/>
                          <a:gd name="connsiteY128" fmla="*/ 21351 h 22786"/>
                          <a:gd name="connsiteX129" fmla="*/ 8732 w 112378"/>
                          <a:gd name="connsiteY129" fmla="*/ 21590 h 22786"/>
                          <a:gd name="connsiteX130" fmla="*/ 8612 w 112378"/>
                          <a:gd name="connsiteY130" fmla="*/ 21829 h 22786"/>
                          <a:gd name="connsiteX131" fmla="*/ 8373 w 112378"/>
                          <a:gd name="connsiteY131" fmla="*/ 22009 h 22786"/>
                          <a:gd name="connsiteX132" fmla="*/ 5682 w 112378"/>
                          <a:gd name="connsiteY132" fmla="*/ 22248 h 22786"/>
                          <a:gd name="connsiteX133" fmla="*/ 7177 w 112378"/>
                          <a:gd name="connsiteY133" fmla="*/ 22128 h 22786"/>
                          <a:gd name="connsiteX134" fmla="*/ 7356 w 112378"/>
                          <a:gd name="connsiteY134" fmla="*/ 21889 h 22786"/>
                          <a:gd name="connsiteX135" fmla="*/ 7536 w 112378"/>
                          <a:gd name="connsiteY135" fmla="*/ 21650 h 22786"/>
                          <a:gd name="connsiteX136" fmla="*/ 7715 w 112378"/>
                          <a:gd name="connsiteY136" fmla="*/ 21411 h 22786"/>
                          <a:gd name="connsiteX137" fmla="*/ 7895 w 112378"/>
                          <a:gd name="connsiteY137" fmla="*/ 21112 h 22786"/>
                          <a:gd name="connsiteX138" fmla="*/ 6519 w 112378"/>
                          <a:gd name="connsiteY138" fmla="*/ 21231 h 22786"/>
                          <a:gd name="connsiteX139" fmla="*/ 6340 w 112378"/>
                          <a:gd name="connsiteY139" fmla="*/ 21530 h 22786"/>
                          <a:gd name="connsiteX140" fmla="*/ 6160 w 112378"/>
                          <a:gd name="connsiteY140" fmla="*/ 21829 h 22786"/>
                          <a:gd name="connsiteX141" fmla="*/ 5981 w 112378"/>
                          <a:gd name="connsiteY141" fmla="*/ 22069 h 22786"/>
                          <a:gd name="connsiteX142" fmla="*/ 5682 w 112378"/>
                          <a:gd name="connsiteY142" fmla="*/ 22248 h 22786"/>
                          <a:gd name="connsiteX143" fmla="*/ 0 w 112378"/>
                          <a:gd name="connsiteY143" fmla="*/ 22787 h 22786"/>
                          <a:gd name="connsiteX144" fmla="*/ 4246 w 112378"/>
                          <a:gd name="connsiteY144" fmla="*/ 22368 h 22786"/>
                          <a:gd name="connsiteX145" fmla="*/ 4306 w 112378"/>
                          <a:gd name="connsiteY145" fmla="*/ 22308 h 22786"/>
                          <a:gd name="connsiteX146" fmla="*/ 4366 w 112378"/>
                          <a:gd name="connsiteY146" fmla="*/ 22248 h 22786"/>
                          <a:gd name="connsiteX147" fmla="*/ 4426 w 112378"/>
                          <a:gd name="connsiteY147" fmla="*/ 22188 h 22786"/>
                          <a:gd name="connsiteX148" fmla="*/ 4486 w 112378"/>
                          <a:gd name="connsiteY148" fmla="*/ 22128 h 22786"/>
                          <a:gd name="connsiteX149" fmla="*/ 4665 w 112378"/>
                          <a:gd name="connsiteY149" fmla="*/ 21889 h 22786"/>
                          <a:gd name="connsiteX150" fmla="*/ 4844 w 112378"/>
                          <a:gd name="connsiteY150" fmla="*/ 21650 h 22786"/>
                          <a:gd name="connsiteX151" fmla="*/ 5024 w 112378"/>
                          <a:gd name="connsiteY151" fmla="*/ 21411 h 22786"/>
                          <a:gd name="connsiteX152" fmla="*/ 5203 w 112378"/>
                          <a:gd name="connsiteY152" fmla="*/ 21172 h 22786"/>
                          <a:gd name="connsiteX153" fmla="*/ 1076 w 112378"/>
                          <a:gd name="connsiteY153" fmla="*/ 21530 h 22786"/>
                          <a:gd name="connsiteX154" fmla="*/ 2153 w 112378"/>
                          <a:gd name="connsiteY154" fmla="*/ 11902 h 22786"/>
                          <a:gd name="connsiteX155" fmla="*/ 1974 w 112378"/>
                          <a:gd name="connsiteY155" fmla="*/ 11902 h 22786"/>
                          <a:gd name="connsiteX156" fmla="*/ 1794 w 112378"/>
                          <a:gd name="connsiteY156" fmla="*/ 11902 h 22786"/>
                          <a:gd name="connsiteX157" fmla="*/ 1615 w 112378"/>
                          <a:gd name="connsiteY157" fmla="*/ 11902 h 22786"/>
                          <a:gd name="connsiteX158" fmla="*/ 1435 w 112378"/>
                          <a:gd name="connsiteY158" fmla="*/ 11902 h 22786"/>
                          <a:gd name="connsiteX159" fmla="*/ 1375 w 112378"/>
                          <a:gd name="connsiteY159" fmla="*/ 11902 h 22786"/>
                          <a:gd name="connsiteX160" fmla="*/ 1316 w 112378"/>
                          <a:gd name="connsiteY160" fmla="*/ 11902 h 22786"/>
                          <a:gd name="connsiteX161" fmla="*/ 1256 w 112378"/>
                          <a:gd name="connsiteY161" fmla="*/ 11902 h 22786"/>
                          <a:gd name="connsiteX162" fmla="*/ 1196 w 112378"/>
                          <a:gd name="connsiteY162" fmla="*/ 11902 h 22786"/>
                          <a:gd name="connsiteX163" fmla="*/ 0 w 112378"/>
                          <a:gd name="connsiteY163" fmla="*/ 22787 h 2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2378" h="22786">
                            <a:moveTo>
                              <a:pt x="111780" y="538"/>
                            </a:moveTo>
                            <a:cubicBezTo>
                              <a:pt x="111840" y="598"/>
                              <a:pt x="111840" y="598"/>
                              <a:pt x="111899" y="598"/>
                            </a:cubicBezTo>
                            <a:cubicBezTo>
                              <a:pt x="111959" y="598"/>
                              <a:pt x="111959" y="658"/>
                              <a:pt x="112019" y="658"/>
                            </a:cubicBezTo>
                            <a:cubicBezTo>
                              <a:pt x="112079" y="658"/>
                              <a:pt x="112079" y="718"/>
                              <a:pt x="112139" y="718"/>
                            </a:cubicBezTo>
                            <a:cubicBezTo>
                              <a:pt x="112198" y="718"/>
                              <a:pt x="112258" y="777"/>
                              <a:pt x="112258" y="777"/>
                            </a:cubicBezTo>
                            <a:lnTo>
                              <a:pt x="112378" y="0"/>
                            </a:lnTo>
                            <a:lnTo>
                              <a:pt x="111421" y="60"/>
                            </a:lnTo>
                            <a:lnTo>
                              <a:pt x="111361" y="60"/>
                            </a:lnTo>
                            <a:cubicBezTo>
                              <a:pt x="111361" y="60"/>
                              <a:pt x="111361" y="119"/>
                              <a:pt x="111421" y="119"/>
                            </a:cubicBezTo>
                            <a:cubicBezTo>
                              <a:pt x="111421" y="119"/>
                              <a:pt x="111421" y="179"/>
                              <a:pt x="111481" y="179"/>
                            </a:cubicBezTo>
                            <a:cubicBezTo>
                              <a:pt x="111541" y="179"/>
                              <a:pt x="111541" y="239"/>
                              <a:pt x="111541" y="239"/>
                            </a:cubicBezTo>
                            <a:cubicBezTo>
                              <a:pt x="111541" y="239"/>
                              <a:pt x="111600" y="299"/>
                              <a:pt x="111600" y="299"/>
                            </a:cubicBezTo>
                            <a:lnTo>
                              <a:pt x="111780" y="538"/>
                            </a:lnTo>
                            <a:moveTo>
                              <a:pt x="107055" y="1435"/>
                            </a:moveTo>
                            <a:lnTo>
                              <a:pt x="110763" y="1076"/>
                            </a:lnTo>
                            <a:cubicBezTo>
                              <a:pt x="110703" y="1017"/>
                              <a:pt x="110643" y="957"/>
                              <a:pt x="110584" y="897"/>
                            </a:cubicBezTo>
                            <a:cubicBezTo>
                              <a:pt x="110524" y="837"/>
                              <a:pt x="110464" y="777"/>
                              <a:pt x="110464" y="658"/>
                            </a:cubicBezTo>
                            <a:cubicBezTo>
                              <a:pt x="110404" y="598"/>
                              <a:pt x="110404" y="478"/>
                              <a:pt x="110344" y="418"/>
                            </a:cubicBezTo>
                            <a:cubicBezTo>
                              <a:pt x="110285" y="359"/>
                              <a:pt x="110285" y="239"/>
                              <a:pt x="110285" y="179"/>
                            </a:cubicBezTo>
                            <a:lnTo>
                              <a:pt x="107653" y="418"/>
                            </a:lnTo>
                            <a:cubicBezTo>
                              <a:pt x="107593" y="478"/>
                              <a:pt x="107533" y="598"/>
                              <a:pt x="107474" y="658"/>
                            </a:cubicBezTo>
                            <a:cubicBezTo>
                              <a:pt x="107414" y="718"/>
                              <a:pt x="107354" y="837"/>
                              <a:pt x="107294" y="897"/>
                            </a:cubicBezTo>
                            <a:cubicBezTo>
                              <a:pt x="107234" y="957"/>
                              <a:pt x="107174" y="1076"/>
                              <a:pt x="107174" y="1136"/>
                            </a:cubicBezTo>
                            <a:cubicBezTo>
                              <a:pt x="107174" y="1256"/>
                              <a:pt x="107115" y="1375"/>
                              <a:pt x="107055" y="1435"/>
                            </a:cubicBezTo>
                            <a:moveTo>
                              <a:pt x="103586" y="1734"/>
                            </a:moveTo>
                            <a:lnTo>
                              <a:pt x="105799" y="1555"/>
                            </a:lnTo>
                            <a:cubicBezTo>
                              <a:pt x="105859" y="1495"/>
                              <a:pt x="105859" y="1375"/>
                              <a:pt x="105919" y="1316"/>
                            </a:cubicBezTo>
                            <a:cubicBezTo>
                              <a:pt x="105979" y="1256"/>
                              <a:pt x="106038" y="1136"/>
                              <a:pt x="106038" y="1076"/>
                            </a:cubicBezTo>
                            <a:cubicBezTo>
                              <a:pt x="106038" y="1017"/>
                              <a:pt x="106158" y="897"/>
                              <a:pt x="106158" y="837"/>
                            </a:cubicBezTo>
                            <a:cubicBezTo>
                              <a:pt x="106158" y="777"/>
                              <a:pt x="106278" y="658"/>
                              <a:pt x="106278" y="598"/>
                            </a:cubicBezTo>
                            <a:lnTo>
                              <a:pt x="104005" y="777"/>
                            </a:lnTo>
                            <a:cubicBezTo>
                              <a:pt x="103945" y="837"/>
                              <a:pt x="103945" y="957"/>
                              <a:pt x="103885" y="1017"/>
                            </a:cubicBezTo>
                            <a:cubicBezTo>
                              <a:pt x="103825" y="1076"/>
                              <a:pt x="103825" y="1196"/>
                              <a:pt x="103766" y="1256"/>
                            </a:cubicBezTo>
                            <a:cubicBezTo>
                              <a:pt x="103706" y="1316"/>
                              <a:pt x="103706" y="1435"/>
                              <a:pt x="103646" y="1495"/>
                            </a:cubicBezTo>
                            <a:cubicBezTo>
                              <a:pt x="103586" y="1555"/>
                              <a:pt x="103646" y="1674"/>
                              <a:pt x="103586" y="1734"/>
                            </a:cubicBezTo>
                            <a:moveTo>
                              <a:pt x="104603" y="12918"/>
                            </a:moveTo>
                            <a:lnTo>
                              <a:pt x="109746" y="12440"/>
                            </a:lnTo>
                            <a:lnTo>
                              <a:pt x="110225" y="12380"/>
                            </a:lnTo>
                            <a:lnTo>
                              <a:pt x="110703" y="12320"/>
                            </a:lnTo>
                            <a:lnTo>
                              <a:pt x="110703" y="12320"/>
                            </a:lnTo>
                            <a:lnTo>
                              <a:pt x="112019" y="3050"/>
                            </a:lnTo>
                            <a:lnTo>
                              <a:pt x="112198" y="1794"/>
                            </a:lnTo>
                            <a:cubicBezTo>
                              <a:pt x="112139" y="1794"/>
                              <a:pt x="112019" y="1794"/>
                              <a:pt x="111959" y="1734"/>
                            </a:cubicBezTo>
                            <a:cubicBezTo>
                              <a:pt x="111899" y="1674"/>
                              <a:pt x="111780" y="1674"/>
                              <a:pt x="111720" y="1674"/>
                            </a:cubicBezTo>
                            <a:cubicBezTo>
                              <a:pt x="111660" y="1674"/>
                              <a:pt x="111600" y="1615"/>
                              <a:pt x="111481" y="1555"/>
                            </a:cubicBezTo>
                            <a:cubicBezTo>
                              <a:pt x="111361" y="1495"/>
                              <a:pt x="111361" y="1495"/>
                              <a:pt x="111301" y="1435"/>
                            </a:cubicBezTo>
                            <a:lnTo>
                              <a:pt x="110703" y="5681"/>
                            </a:lnTo>
                            <a:cubicBezTo>
                              <a:pt x="110823" y="5801"/>
                              <a:pt x="110942" y="5981"/>
                              <a:pt x="111002" y="6100"/>
                            </a:cubicBezTo>
                            <a:cubicBezTo>
                              <a:pt x="111122" y="6280"/>
                              <a:pt x="111182" y="6459"/>
                              <a:pt x="111242" y="6639"/>
                            </a:cubicBezTo>
                            <a:cubicBezTo>
                              <a:pt x="111301" y="6818"/>
                              <a:pt x="111301" y="6997"/>
                              <a:pt x="111361" y="7236"/>
                            </a:cubicBezTo>
                            <a:cubicBezTo>
                              <a:pt x="111361" y="7416"/>
                              <a:pt x="111361" y="7655"/>
                              <a:pt x="111361" y="7894"/>
                            </a:cubicBezTo>
                            <a:cubicBezTo>
                              <a:pt x="111301" y="8134"/>
                              <a:pt x="111301" y="8313"/>
                              <a:pt x="111182" y="8552"/>
                            </a:cubicBezTo>
                            <a:cubicBezTo>
                              <a:pt x="111122" y="8791"/>
                              <a:pt x="111002" y="8971"/>
                              <a:pt x="110883" y="9150"/>
                            </a:cubicBezTo>
                            <a:cubicBezTo>
                              <a:pt x="110763" y="9330"/>
                              <a:pt x="110643" y="9569"/>
                              <a:pt x="110524" y="9689"/>
                            </a:cubicBezTo>
                            <a:cubicBezTo>
                              <a:pt x="110404" y="9808"/>
                              <a:pt x="110225" y="10048"/>
                              <a:pt x="110105" y="10167"/>
                            </a:cubicBezTo>
                            <a:lnTo>
                              <a:pt x="109926" y="11303"/>
                            </a:lnTo>
                            <a:lnTo>
                              <a:pt x="104603" y="11782"/>
                            </a:lnTo>
                            <a:cubicBezTo>
                              <a:pt x="104603" y="11842"/>
                              <a:pt x="104603" y="11961"/>
                              <a:pt x="104603" y="12021"/>
                            </a:cubicBezTo>
                            <a:cubicBezTo>
                              <a:pt x="104603" y="12081"/>
                              <a:pt x="104603" y="12201"/>
                              <a:pt x="104603" y="12260"/>
                            </a:cubicBezTo>
                            <a:cubicBezTo>
                              <a:pt x="104603" y="12320"/>
                              <a:pt x="104603" y="12440"/>
                              <a:pt x="104603" y="12500"/>
                            </a:cubicBezTo>
                            <a:cubicBezTo>
                              <a:pt x="104603" y="12559"/>
                              <a:pt x="104603" y="12858"/>
                              <a:pt x="104603" y="12918"/>
                            </a:cubicBezTo>
                            <a:moveTo>
                              <a:pt x="101254" y="13277"/>
                            </a:moveTo>
                            <a:lnTo>
                              <a:pt x="103347" y="13097"/>
                            </a:lnTo>
                            <a:cubicBezTo>
                              <a:pt x="103347" y="13038"/>
                              <a:pt x="103347" y="12918"/>
                              <a:pt x="103347" y="12858"/>
                            </a:cubicBezTo>
                            <a:cubicBezTo>
                              <a:pt x="103347" y="12798"/>
                              <a:pt x="103347" y="12679"/>
                              <a:pt x="103347" y="12619"/>
                            </a:cubicBezTo>
                            <a:cubicBezTo>
                              <a:pt x="103347" y="12559"/>
                              <a:pt x="103347" y="12440"/>
                              <a:pt x="103347" y="12380"/>
                            </a:cubicBezTo>
                            <a:cubicBezTo>
                              <a:pt x="103347" y="12320"/>
                              <a:pt x="103347" y="12201"/>
                              <a:pt x="103347" y="12141"/>
                            </a:cubicBezTo>
                            <a:lnTo>
                              <a:pt x="101254" y="12320"/>
                            </a:lnTo>
                            <a:cubicBezTo>
                              <a:pt x="101254" y="12380"/>
                              <a:pt x="101254" y="12500"/>
                              <a:pt x="101254" y="12559"/>
                            </a:cubicBezTo>
                            <a:cubicBezTo>
                              <a:pt x="101254" y="12619"/>
                              <a:pt x="101254" y="12739"/>
                              <a:pt x="101254" y="12798"/>
                            </a:cubicBezTo>
                            <a:cubicBezTo>
                              <a:pt x="101254" y="12858"/>
                              <a:pt x="101254" y="12978"/>
                              <a:pt x="101254" y="13038"/>
                            </a:cubicBezTo>
                            <a:cubicBezTo>
                              <a:pt x="101254" y="13097"/>
                              <a:pt x="101254" y="13157"/>
                              <a:pt x="101254" y="13277"/>
                            </a:cubicBezTo>
                            <a:moveTo>
                              <a:pt x="6280" y="9509"/>
                            </a:moveTo>
                            <a:cubicBezTo>
                              <a:pt x="6340" y="9569"/>
                              <a:pt x="6459" y="9569"/>
                              <a:pt x="6519" y="9629"/>
                            </a:cubicBezTo>
                            <a:cubicBezTo>
                              <a:pt x="6579" y="9689"/>
                              <a:pt x="6698" y="9748"/>
                              <a:pt x="6758" y="9748"/>
                            </a:cubicBezTo>
                            <a:cubicBezTo>
                              <a:pt x="6818" y="9748"/>
                              <a:pt x="6878" y="9868"/>
                              <a:pt x="6997" y="9868"/>
                            </a:cubicBezTo>
                            <a:cubicBezTo>
                              <a:pt x="7057" y="9928"/>
                              <a:pt x="7117" y="9988"/>
                              <a:pt x="7237" y="10048"/>
                            </a:cubicBezTo>
                            <a:cubicBezTo>
                              <a:pt x="7297" y="10048"/>
                              <a:pt x="7297" y="10107"/>
                              <a:pt x="7356" y="10167"/>
                            </a:cubicBezTo>
                            <a:cubicBezTo>
                              <a:pt x="7416" y="10227"/>
                              <a:pt x="7416" y="10227"/>
                              <a:pt x="7476" y="10287"/>
                            </a:cubicBezTo>
                            <a:cubicBezTo>
                              <a:pt x="7536" y="10347"/>
                              <a:pt x="7536" y="10347"/>
                              <a:pt x="7596" y="10406"/>
                            </a:cubicBezTo>
                            <a:cubicBezTo>
                              <a:pt x="7656" y="10466"/>
                              <a:pt x="7656" y="10466"/>
                              <a:pt x="7715" y="10526"/>
                            </a:cubicBezTo>
                            <a:lnTo>
                              <a:pt x="20335" y="9389"/>
                            </a:lnTo>
                            <a:lnTo>
                              <a:pt x="21411" y="9270"/>
                            </a:lnTo>
                            <a:lnTo>
                              <a:pt x="24102" y="9031"/>
                            </a:lnTo>
                            <a:lnTo>
                              <a:pt x="25179" y="8911"/>
                            </a:lnTo>
                            <a:lnTo>
                              <a:pt x="102629" y="1914"/>
                            </a:lnTo>
                            <a:cubicBezTo>
                              <a:pt x="102689" y="1854"/>
                              <a:pt x="102689" y="1734"/>
                              <a:pt x="102749" y="1674"/>
                            </a:cubicBezTo>
                            <a:cubicBezTo>
                              <a:pt x="102809" y="1615"/>
                              <a:pt x="102809" y="1495"/>
                              <a:pt x="102869" y="1435"/>
                            </a:cubicBezTo>
                            <a:cubicBezTo>
                              <a:pt x="102928" y="1375"/>
                              <a:pt x="102928" y="1256"/>
                              <a:pt x="102988" y="1196"/>
                            </a:cubicBezTo>
                            <a:cubicBezTo>
                              <a:pt x="103048" y="1136"/>
                              <a:pt x="103048" y="1017"/>
                              <a:pt x="103108" y="957"/>
                            </a:cubicBezTo>
                            <a:lnTo>
                              <a:pt x="24940" y="7954"/>
                            </a:lnTo>
                            <a:lnTo>
                              <a:pt x="23863" y="8074"/>
                            </a:lnTo>
                            <a:lnTo>
                              <a:pt x="21112" y="8313"/>
                            </a:lnTo>
                            <a:lnTo>
                              <a:pt x="19976" y="8433"/>
                            </a:lnTo>
                            <a:lnTo>
                              <a:pt x="6280" y="9509"/>
                            </a:lnTo>
                            <a:moveTo>
                              <a:pt x="1375" y="11064"/>
                            </a:moveTo>
                            <a:cubicBezTo>
                              <a:pt x="1375" y="11064"/>
                              <a:pt x="1375" y="11064"/>
                              <a:pt x="1375" y="11064"/>
                            </a:cubicBezTo>
                            <a:cubicBezTo>
                              <a:pt x="1435" y="11064"/>
                              <a:pt x="1435" y="11064"/>
                              <a:pt x="1495" y="11064"/>
                            </a:cubicBezTo>
                            <a:cubicBezTo>
                              <a:pt x="1495" y="11064"/>
                              <a:pt x="1555" y="11064"/>
                              <a:pt x="1555" y="11064"/>
                            </a:cubicBezTo>
                            <a:cubicBezTo>
                              <a:pt x="1555" y="11064"/>
                              <a:pt x="1615" y="11064"/>
                              <a:pt x="1615" y="11064"/>
                            </a:cubicBezTo>
                            <a:cubicBezTo>
                              <a:pt x="1675" y="11064"/>
                              <a:pt x="1735" y="11064"/>
                              <a:pt x="1794" y="11064"/>
                            </a:cubicBezTo>
                            <a:cubicBezTo>
                              <a:pt x="1854" y="11064"/>
                              <a:pt x="1914" y="11064"/>
                              <a:pt x="1974" y="11064"/>
                            </a:cubicBezTo>
                            <a:cubicBezTo>
                              <a:pt x="2034" y="11064"/>
                              <a:pt x="2093" y="11064"/>
                              <a:pt x="2153" y="11064"/>
                            </a:cubicBezTo>
                            <a:cubicBezTo>
                              <a:pt x="2213" y="11064"/>
                              <a:pt x="2273" y="11064"/>
                              <a:pt x="2333" y="11064"/>
                            </a:cubicBezTo>
                            <a:lnTo>
                              <a:pt x="2333" y="10944"/>
                            </a:lnTo>
                            <a:lnTo>
                              <a:pt x="5861" y="10645"/>
                            </a:lnTo>
                            <a:cubicBezTo>
                              <a:pt x="5682" y="10526"/>
                              <a:pt x="5502" y="10466"/>
                              <a:pt x="5263" y="10347"/>
                            </a:cubicBezTo>
                            <a:cubicBezTo>
                              <a:pt x="5084" y="10227"/>
                              <a:pt x="4844" y="10167"/>
                              <a:pt x="4665" y="10107"/>
                            </a:cubicBezTo>
                            <a:cubicBezTo>
                              <a:pt x="4486" y="10048"/>
                              <a:pt x="4246" y="9988"/>
                              <a:pt x="4007" y="9928"/>
                            </a:cubicBezTo>
                            <a:cubicBezTo>
                              <a:pt x="3768" y="9868"/>
                              <a:pt x="3589" y="9808"/>
                              <a:pt x="3349" y="9808"/>
                            </a:cubicBezTo>
                            <a:lnTo>
                              <a:pt x="1974" y="9928"/>
                            </a:lnTo>
                            <a:lnTo>
                              <a:pt x="1495" y="9988"/>
                            </a:lnTo>
                            <a:lnTo>
                              <a:pt x="1375" y="11064"/>
                            </a:lnTo>
                            <a:moveTo>
                              <a:pt x="8373" y="22009"/>
                            </a:moveTo>
                            <a:lnTo>
                              <a:pt x="19916" y="20933"/>
                            </a:lnTo>
                            <a:lnTo>
                              <a:pt x="20933" y="20813"/>
                            </a:lnTo>
                            <a:lnTo>
                              <a:pt x="23504" y="20573"/>
                            </a:lnTo>
                            <a:lnTo>
                              <a:pt x="24521" y="20454"/>
                            </a:lnTo>
                            <a:lnTo>
                              <a:pt x="100297" y="13337"/>
                            </a:lnTo>
                            <a:cubicBezTo>
                              <a:pt x="100297" y="13277"/>
                              <a:pt x="100297" y="13157"/>
                              <a:pt x="100297" y="13097"/>
                            </a:cubicBezTo>
                            <a:cubicBezTo>
                              <a:pt x="100297" y="13038"/>
                              <a:pt x="100297" y="12918"/>
                              <a:pt x="100297" y="12858"/>
                            </a:cubicBezTo>
                            <a:cubicBezTo>
                              <a:pt x="100297" y="12798"/>
                              <a:pt x="100297" y="12679"/>
                              <a:pt x="100297" y="12619"/>
                            </a:cubicBezTo>
                            <a:cubicBezTo>
                              <a:pt x="100297" y="12559"/>
                              <a:pt x="100297" y="12440"/>
                              <a:pt x="100297" y="12380"/>
                            </a:cubicBezTo>
                            <a:lnTo>
                              <a:pt x="24820" y="19497"/>
                            </a:lnTo>
                            <a:lnTo>
                              <a:pt x="23803" y="19617"/>
                            </a:lnTo>
                            <a:lnTo>
                              <a:pt x="21231" y="19856"/>
                            </a:lnTo>
                            <a:lnTo>
                              <a:pt x="20215" y="19975"/>
                            </a:lnTo>
                            <a:lnTo>
                              <a:pt x="8971" y="21052"/>
                            </a:lnTo>
                            <a:cubicBezTo>
                              <a:pt x="8911" y="21172"/>
                              <a:pt x="8911" y="21231"/>
                              <a:pt x="8851" y="21351"/>
                            </a:cubicBezTo>
                            <a:cubicBezTo>
                              <a:pt x="8792" y="21411"/>
                              <a:pt x="8732" y="21530"/>
                              <a:pt x="8732" y="21590"/>
                            </a:cubicBezTo>
                            <a:cubicBezTo>
                              <a:pt x="8732" y="21650"/>
                              <a:pt x="8612" y="21770"/>
                              <a:pt x="8612" y="21829"/>
                            </a:cubicBezTo>
                            <a:cubicBezTo>
                              <a:pt x="8433" y="21829"/>
                              <a:pt x="8373" y="21949"/>
                              <a:pt x="8373" y="22009"/>
                            </a:cubicBezTo>
                            <a:moveTo>
                              <a:pt x="5682" y="22248"/>
                            </a:moveTo>
                            <a:lnTo>
                              <a:pt x="7177" y="22128"/>
                            </a:lnTo>
                            <a:cubicBezTo>
                              <a:pt x="7237" y="22069"/>
                              <a:pt x="7297" y="21949"/>
                              <a:pt x="7356" y="21889"/>
                            </a:cubicBezTo>
                            <a:cubicBezTo>
                              <a:pt x="7416" y="21829"/>
                              <a:pt x="7476" y="21710"/>
                              <a:pt x="7536" y="21650"/>
                            </a:cubicBezTo>
                            <a:cubicBezTo>
                              <a:pt x="7596" y="21590"/>
                              <a:pt x="7656" y="21471"/>
                              <a:pt x="7715" y="21411"/>
                            </a:cubicBezTo>
                            <a:cubicBezTo>
                              <a:pt x="7775" y="21291"/>
                              <a:pt x="7835" y="21231"/>
                              <a:pt x="7895" y="21112"/>
                            </a:cubicBezTo>
                            <a:lnTo>
                              <a:pt x="6519" y="21231"/>
                            </a:lnTo>
                            <a:cubicBezTo>
                              <a:pt x="6459" y="21351"/>
                              <a:pt x="6399" y="21411"/>
                              <a:pt x="6340" y="21530"/>
                            </a:cubicBezTo>
                            <a:cubicBezTo>
                              <a:pt x="6280" y="21650"/>
                              <a:pt x="6220" y="21710"/>
                              <a:pt x="6160" y="21829"/>
                            </a:cubicBezTo>
                            <a:cubicBezTo>
                              <a:pt x="6100" y="21949"/>
                              <a:pt x="6041" y="22009"/>
                              <a:pt x="5981" y="22069"/>
                            </a:cubicBezTo>
                            <a:cubicBezTo>
                              <a:pt x="5921" y="22128"/>
                              <a:pt x="5742" y="22188"/>
                              <a:pt x="5682" y="22248"/>
                            </a:cubicBezTo>
                            <a:moveTo>
                              <a:pt x="0" y="22787"/>
                            </a:moveTo>
                            <a:lnTo>
                              <a:pt x="4246" y="22368"/>
                            </a:lnTo>
                            <a:cubicBezTo>
                              <a:pt x="4246" y="22368"/>
                              <a:pt x="4306" y="22308"/>
                              <a:pt x="4306" y="22308"/>
                            </a:cubicBezTo>
                            <a:cubicBezTo>
                              <a:pt x="4306" y="22308"/>
                              <a:pt x="4366" y="22248"/>
                              <a:pt x="4366" y="22248"/>
                            </a:cubicBezTo>
                            <a:cubicBezTo>
                              <a:pt x="4366" y="22248"/>
                              <a:pt x="4426" y="22188"/>
                              <a:pt x="4426" y="22188"/>
                            </a:cubicBezTo>
                            <a:cubicBezTo>
                              <a:pt x="4426" y="22188"/>
                              <a:pt x="4486" y="22128"/>
                              <a:pt x="4486" y="22128"/>
                            </a:cubicBezTo>
                            <a:cubicBezTo>
                              <a:pt x="4545" y="22069"/>
                              <a:pt x="4605" y="22009"/>
                              <a:pt x="4665" y="21889"/>
                            </a:cubicBezTo>
                            <a:cubicBezTo>
                              <a:pt x="4725" y="21829"/>
                              <a:pt x="4785" y="21770"/>
                              <a:pt x="4844" y="21650"/>
                            </a:cubicBezTo>
                            <a:cubicBezTo>
                              <a:pt x="4904" y="21530"/>
                              <a:pt x="4964" y="21471"/>
                              <a:pt x="5024" y="21411"/>
                            </a:cubicBezTo>
                            <a:cubicBezTo>
                              <a:pt x="5084" y="21351"/>
                              <a:pt x="5143" y="21231"/>
                              <a:pt x="5203" y="21172"/>
                            </a:cubicBezTo>
                            <a:lnTo>
                              <a:pt x="1076" y="21530"/>
                            </a:lnTo>
                            <a:lnTo>
                              <a:pt x="2153" y="11902"/>
                            </a:lnTo>
                            <a:cubicBezTo>
                              <a:pt x="2093" y="11902"/>
                              <a:pt x="2034" y="11902"/>
                              <a:pt x="1974" y="11902"/>
                            </a:cubicBezTo>
                            <a:cubicBezTo>
                              <a:pt x="1914" y="11902"/>
                              <a:pt x="1854" y="11902"/>
                              <a:pt x="1794" y="11902"/>
                            </a:cubicBezTo>
                            <a:cubicBezTo>
                              <a:pt x="1735" y="11902"/>
                              <a:pt x="1675" y="11902"/>
                              <a:pt x="1615" y="11902"/>
                            </a:cubicBezTo>
                            <a:cubicBezTo>
                              <a:pt x="1555" y="11902"/>
                              <a:pt x="1495" y="11902"/>
                              <a:pt x="1435" y="11902"/>
                            </a:cubicBezTo>
                            <a:cubicBezTo>
                              <a:pt x="1435" y="11902"/>
                              <a:pt x="1375" y="11902"/>
                              <a:pt x="1375" y="11902"/>
                            </a:cubicBezTo>
                            <a:cubicBezTo>
                              <a:pt x="1375" y="11902"/>
                              <a:pt x="1316" y="11902"/>
                              <a:pt x="1316" y="11902"/>
                            </a:cubicBezTo>
                            <a:cubicBezTo>
                              <a:pt x="1316" y="11902"/>
                              <a:pt x="1256" y="11902"/>
                              <a:pt x="1256" y="11902"/>
                            </a:cubicBezTo>
                            <a:cubicBezTo>
                              <a:pt x="1256" y="11902"/>
                              <a:pt x="1196" y="11902"/>
                              <a:pt x="1196" y="11902"/>
                            </a:cubicBezTo>
                            <a:lnTo>
                              <a:pt x="0" y="22787"/>
                            </a:lnTo>
                          </a:path>
                        </a:pathLst>
                      </a:custGeom>
                      <a:noFill/>
                      <a:ln w="6350" cap="flat">
                        <a:solidFill>
                          <a:schemeClr val="bg1">
                            <a:alpha val="40000"/>
                          </a:schemeClr>
                        </a:solidFill>
                        <a:prstDash val="solid"/>
                        <a:miter/>
                      </a:ln>
                    </p:spPr>
                    <p:txBody>
                      <a:bodyPr rtlCol="0" anchor="ctr"/>
                      <a:lstStyle/>
                      <a:p>
                        <a:endParaRPr lang="en-GB"/>
                      </a:p>
                    </p:txBody>
                  </p:sp>
                  <p:sp>
                    <p:nvSpPr>
                      <p:cNvPr id="7555" name="Vrije vorm: vorm 7554">
                        <a:extLst>
                          <a:ext uri="{FF2B5EF4-FFF2-40B4-BE49-F238E27FC236}">
                            <a16:creationId xmlns:a16="http://schemas.microsoft.com/office/drawing/2014/main" id="{EE592610-97F3-440C-BAC1-66A14C4ABE45}"/>
                          </a:ext>
                        </a:extLst>
                      </p:cNvPr>
                      <p:cNvSpPr/>
                      <p:nvPr/>
                    </p:nvSpPr>
                    <p:spPr>
                      <a:xfrm>
                        <a:off x="5089509" y="5218937"/>
                        <a:ext cx="18729" cy="19164"/>
                      </a:xfrm>
                      <a:custGeom>
                        <a:avLst/>
                        <a:gdLst>
                          <a:gd name="connsiteX0" fmla="*/ 15894 w 18729"/>
                          <a:gd name="connsiteY0" fmla="*/ 13457 h 19164"/>
                          <a:gd name="connsiteX1" fmla="*/ 15595 w 18729"/>
                          <a:gd name="connsiteY1" fmla="*/ 13875 h 19164"/>
                          <a:gd name="connsiteX2" fmla="*/ 15296 w 18729"/>
                          <a:gd name="connsiteY2" fmla="*/ 14234 h 19164"/>
                          <a:gd name="connsiteX3" fmla="*/ 14996 w 18729"/>
                          <a:gd name="connsiteY3" fmla="*/ 14593 h 19164"/>
                          <a:gd name="connsiteX4" fmla="*/ 14638 w 18729"/>
                          <a:gd name="connsiteY4" fmla="*/ 14952 h 19164"/>
                          <a:gd name="connsiteX5" fmla="*/ 13262 w 18729"/>
                          <a:gd name="connsiteY5" fmla="*/ 16148 h 19164"/>
                          <a:gd name="connsiteX6" fmla="*/ 11767 w 18729"/>
                          <a:gd name="connsiteY6" fmla="*/ 17045 h 19164"/>
                          <a:gd name="connsiteX7" fmla="*/ 10152 w 18729"/>
                          <a:gd name="connsiteY7" fmla="*/ 17643 h 19164"/>
                          <a:gd name="connsiteX8" fmla="*/ 8538 w 18729"/>
                          <a:gd name="connsiteY8" fmla="*/ 17942 h 19164"/>
                          <a:gd name="connsiteX9" fmla="*/ 7222 w 18729"/>
                          <a:gd name="connsiteY9" fmla="*/ 17942 h 19164"/>
                          <a:gd name="connsiteX10" fmla="*/ 5966 w 18729"/>
                          <a:gd name="connsiteY10" fmla="*/ 17763 h 19164"/>
                          <a:gd name="connsiteX11" fmla="*/ 4829 w 18729"/>
                          <a:gd name="connsiteY11" fmla="*/ 17344 h 19164"/>
                          <a:gd name="connsiteX12" fmla="*/ 3813 w 18729"/>
                          <a:gd name="connsiteY12" fmla="*/ 16746 h 19164"/>
                          <a:gd name="connsiteX13" fmla="*/ 2616 w 18729"/>
                          <a:gd name="connsiteY13" fmla="*/ 15550 h 19164"/>
                          <a:gd name="connsiteX14" fmla="*/ 1719 w 18729"/>
                          <a:gd name="connsiteY14" fmla="*/ 14055 h 19164"/>
                          <a:gd name="connsiteX15" fmla="*/ 1241 w 18729"/>
                          <a:gd name="connsiteY15" fmla="*/ 12261 h 19164"/>
                          <a:gd name="connsiteX16" fmla="*/ 1241 w 18729"/>
                          <a:gd name="connsiteY16" fmla="*/ 10287 h 19164"/>
                          <a:gd name="connsiteX17" fmla="*/ 2257 w 18729"/>
                          <a:gd name="connsiteY17" fmla="*/ 6938 h 19164"/>
                          <a:gd name="connsiteX18" fmla="*/ 4351 w 18729"/>
                          <a:gd name="connsiteY18" fmla="*/ 4067 h 19164"/>
                          <a:gd name="connsiteX19" fmla="*/ 7162 w 18729"/>
                          <a:gd name="connsiteY19" fmla="*/ 1974 h 19164"/>
                          <a:gd name="connsiteX20" fmla="*/ 10451 w 18729"/>
                          <a:gd name="connsiteY20" fmla="*/ 1017 h 19164"/>
                          <a:gd name="connsiteX21" fmla="*/ 10870 w 18729"/>
                          <a:gd name="connsiteY21" fmla="*/ 1017 h 19164"/>
                          <a:gd name="connsiteX22" fmla="*/ 11288 w 18729"/>
                          <a:gd name="connsiteY22" fmla="*/ 1017 h 19164"/>
                          <a:gd name="connsiteX23" fmla="*/ 11707 w 18729"/>
                          <a:gd name="connsiteY23" fmla="*/ 1017 h 19164"/>
                          <a:gd name="connsiteX24" fmla="*/ 12126 w 18729"/>
                          <a:gd name="connsiteY24" fmla="*/ 1076 h 19164"/>
                          <a:gd name="connsiteX25" fmla="*/ 12784 w 18729"/>
                          <a:gd name="connsiteY25" fmla="*/ 1196 h 19164"/>
                          <a:gd name="connsiteX26" fmla="*/ 13442 w 18729"/>
                          <a:gd name="connsiteY26" fmla="*/ 1376 h 19164"/>
                          <a:gd name="connsiteX27" fmla="*/ 14040 w 18729"/>
                          <a:gd name="connsiteY27" fmla="*/ 1615 h 19164"/>
                          <a:gd name="connsiteX28" fmla="*/ 14638 w 18729"/>
                          <a:gd name="connsiteY28" fmla="*/ 1914 h 19164"/>
                          <a:gd name="connsiteX29" fmla="*/ 14817 w 18729"/>
                          <a:gd name="connsiteY29" fmla="*/ 2034 h 19164"/>
                          <a:gd name="connsiteX30" fmla="*/ 14937 w 18729"/>
                          <a:gd name="connsiteY30" fmla="*/ 2153 h 19164"/>
                          <a:gd name="connsiteX31" fmla="*/ 15056 w 18729"/>
                          <a:gd name="connsiteY31" fmla="*/ 2273 h 19164"/>
                          <a:gd name="connsiteX32" fmla="*/ 15176 w 18729"/>
                          <a:gd name="connsiteY32" fmla="*/ 2392 h 19164"/>
                          <a:gd name="connsiteX33" fmla="*/ 15415 w 18729"/>
                          <a:gd name="connsiteY33" fmla="*/ 2572 h 19164"/>
                          <a:gd name="connsiteX34" fmla="*/ 15595 w 18729"/>
                          <a:gd name="connsiteY34" fmla="*/ 2751 h 19164"/>
                          <a:gd name="connsiteX35" fmla="*/ 15774 w 18729"/>
                          <a:gd name="connsiteY35" fmla="*/ 2930 h 19164"/>
                          <a:gd name="connsiteX36" fmla="*/ 15954 w 18729"/>
                          <a:gd name="connsiteY36" fmla="*/ 3110 h 19164"/>
                          <a:gd name="connsiteX37" fmla="*/ 16850 w 18729"/>
                          <a:gd name="connsiteY37" fmla="*/ 4306 h 19164"/>
                          <a:gd name="connsiteX38" fmla="*/ 17449 w 18729"/>
                          <a:gd name="connsiteY38" fmla="*/ 5682 h 19164"/>
                          <a:gd name="connsiteX39" fmla="*/ 17748 w 18729"/>
                          <a:gd name="connsiteY39" fmla="*/ 7237 h 19164"/>
                          <a:gd name="connsiteX40" fmla="*/ 17688 w 18729"/>
                          <a:gd name="connsiteY40" fmla="*/ 8911 h 19164"/>
                          <a:gd name="connsiteX41" fmla="*/ 17568 w 18729"/>
                          <a:gd name="connsiteY41" fmla="*/ 9808 h 19164"/>
                          <a:gd name="connsiteX42" fmla="*/ 17329 w 18729"/>
                          <a:gd name="connsiteY42" fmla="*/ 10706 h 19164"/>
                          <a:gd name="connsiteX43" fmla="*/ 16970 w 18729"/>
                          <a:gd name="connsiteY43" fmla="*/ 11603 h 19164"/>
                          <a:gd name="connsiteX44" fmla="*/ 16551 w 18729"/>
                          <a:gd name="connsiteY44" fmla="*/ 12440 h 19164"/>
                          <a:gd name="connsiteX45" fmla="*/ 16372 w 18729"/>
                          <a:gd name="connsiteY45" fmla="*/ 12739 h 19164"/>
                          <a:gd name="connsiteX46" fmla="*/ 16193 w 18729"/>
                          <a:gd name="connsiteY46" fmla="*/ 12978 h 19164"/>
                          <a:gd name="connsiteX47" fmla="*/ 16013 w 18729"/>
                          <a:gd name="connsiteY47" fmla="*/ 13218 h 19164"/>
                          <a:gd name="connsiteX48" fmla="*/ 15894 w 18729"/>
                          <a:gd name="connsiteY48" fmla="*/ 13457 h 19164"/>
                          <a:gd name="connsiteX49" fmla="*/ 3035 w 18729"/>
                          <a:gd name="connsiteY49" fmla="*/ 17703 h 19164"/>
                          <a:gd name="connsiteX50" fmla="*/ 4171 w 18729"/>
                          <a:gd name="connsiteY50" fmla="*/ 18421 h 19164"/>
                          <a:gd name="connsiteX51" fmla="*/ 5487 w 18729"/>
                          <a:gd name="connsiteY51" fmla="*/ 18899 h 19164"/>
                          <a:gd name="connsiteX52" fmla="*/ 6863 w 18729"/>
                          <a:gd name="connsiteY52" fmla="*/ 19138 h 19164"/>
                          <a:gd name="connsiteX53" fmla="*/ 8358 w 18729"/>
                          <a:gd name="connsiteY53" fmla="*/ 19138 h 19164"/>
                          <a:gd name="connsiteX54" fmla="*/ 10212 w 18729"/>
                          <a:gd name="connsiteY54" fmla="*/ 18780 h 19164"/>
                          <a:gd name="connsiteX55" fmla="*/ 12006 w 18729"/>
                          <a:gd name="connsiteY55" fmla="*/ 18062 h 19164"/>
                          <a:gd name="connsiteX56" fmla="*/ 13681 w 18729"/>
                          <a:gd name="connsiteY56" fmla="*/ 17045 h 19164"/>
                          <a:gd name="connsiteX57" fmla="*/ 15236 w 18729"/>
                          <a:gd name="connsiteY57" fmla="*/ 15729 h 19164"/>
                          <a:gd name="connsiteX58" fmla="*/ 15774 w 18729"/>
                          <a:gd name="connsiteY58" fmla="*/ 15191 h 19164"/>
                          <a:gd name="connsiteX59" fmla="*/ 16253 w 18729"/>
                          <a:gd name="connsiteY59" fmla="*/ 14653 h 19164"/>
                          <a:gd name="connsiteX60" fmla="*/ 16671 w 18729"/>
                          <a:gd name="connsiteY60" fmla="*/ 14055 h 19164"/>
                          <a:gd name="connsiteX61" fmla="*/ 17090 w 18729"/>
                          <a:gd name="connsiteY61" fmla="*/ 13457 h 19164"/>
                          <a:gd name="connsiteX62" fmla="*/ 17269 w 18729"/>
                          <a:gd name="connsiteY62" fmla="*/ 13218 h 19164"/>
                          <a:gd name="connsiteX63" fmla="*/ 17389 w 18729"/>
                          <a:gd name="connsiteY63" fmla="*/ 12978 h 19164"/>
                          <a:gd name="connsiteX64" fmla="*/ 17509 w 18729"/>
                          <a:gd name="connsiteY64" fmla="*/ 12739 h 19164"/>
                          <a:gd name="connsiteX65" fmla="*/ 17628 w 18729"/>
                          <a:gd name="connsiteY65" fmla="*/ 12440 h 19164"/>
                          <a:gd name="connsiteX66" fmla="*/ 17987 w 18729"/>
                          <a:gd name="connsiteY66" fmla="*/ 11543 h 19164"/>
                          <a:gd name="connsiteX67" fmla="*/ 18286 w 18729"/>
                          <a:gd name="connsiteY67" fmla="*/ 10646 h 19164"/>
                          <a:gd name="connsiteX68" fmla="*/ 18525 w 18729"/>
                          <a:gd name="connsiteY68" fmla="*/ 9749 h 19164"/>
                          <a:gd name="connsiteX69" fmla="*/ 18645 w 18729"/>
                          <a:gd name="connsiteY69" fmla="*/ 8852 h 19164"/>
                          <a:gd name="connsiteX70" fmla="*/ 18704 w 18729"/>
                          <a:gd name="connsiteY70" fmla="*/ 6998 h 19164"/>
                          <a:gd name="connsiteX71" fmla="*/ 18405 w 18729"/>
                          <a:gd name="connsiteY71" fmla="*/ 5263 h 19164"/>
                          <a:gd name="connsiteX72" fmla="*/ 17748 w 18729"/>
                          <a:gd name="connsiteY72" fmla="*/ 3708 h 19164"/>
                          <a:gd name="connsiteX73" fmla="*/ 16731 w 18729"/>
                          <a:gd name="connsiteY73" fmla="*/ 2333 h 19164"/>
                          <a:gd name="connsiteX74" fmla="*/ 16611 w 18729"/>
                          <a:gd name="connsiteY74" fmla="*/ 2213 h 19164"/>
                          <a:gd name="connsiteX75" fmla="*/ 16492 w 18729"/>
                          <a:gd name="connsiteY75" fmla="*/ 2093 h 19164"/>
                          <a:gd name="connsiteX76" fmla="*/ 16372 w 18729"/>
                          <a:gd name="connsiteY76" fmla="*/ 1974 h 19164"/>
                          <a:gd name="connsiteX77" fmla="*/ 16253 w 18729"/>
                          <a:gd name="connsiteY77" fmla="*/ 1854 h 19164"/>
                          <a:gd name="connsiteX78" fmla="*/ 16133 w 18729"/>
                          <a:gd name="connsiteY78" fmla="*/ 1735 h 19164"/>
                          <a:gd name="connsiteX79" fmla="*/ 16013 w 18729"/>
                          <a:gd name="connsiteY79" fmla="*/ 1615 h 19164"/>
                          <a:gd name="connsiteX80" fmla="*/ 15894 w 18729"/>
                          <a:gd name="connsiteY80" fmla="*/ 1495 h 19164"/>
                          <a:gd name="connsiteX81" fmla="*/ 15774 w 18729"/>
                          <a:gd name="connsiteY81" fmla="*/ 1376 h 19164"/>
                          <a:gd name="connsiteX82" fmla="*/ 15535 w 18729"/>
                          <a:gd name="connsiteY82" fmla="*/ 1196 h 19164"/>
                          <a:gd name="connsiteX83" fmla="*/ 15296 w 18729"/>
                          <a:gd name="connsiteY83" fmla="*/ 1076 h 19164"/>
                          <a:gd name="connsiteX84" fmla="*/ 15056 w 18729"/>
                          <a:gd name="connsiteY84" fmla="*/ 957 h 19164"/>
                          <a:gd name="connsiteX85" fmla="*/ 14817 w 18729"/>
                          <a:gd name="connsiteY85" fmla="*/ 837 h 19164"/>
                          <a:gd name="connsiteX86" fmla="*/ 13801 w 18729"/>
                          <a:gd name="connsiteY86" fmla="*/ 419 h 19164"/>
                          <a:gd name="connsiteX87" fmla="*/ 12724 w 18729"/>
                          <a:gd name="connsiteY87" fmla="*/ 120 h 19164"/>
                          <a:gd name="connsiteX88" fmla="*/ 11587 w 18729"/>
                          <a:gd name="connsiteY88" fmla="*/ 0 h 19164"/>
                          <a:gd name="connsiteX89" fmla="*/ 10392 w 18729"/>
                          <a:gd name="connsiteY89" fmla="*/ 0 h 19164"/>
                          <a:gd name="connsiteX90" fmla="*/ 6684 w 18729"/>
                          <a:gd name="connsiteY90" fmla="*/ 1076 h 19164"/>
                          <a:gd name="connsiteX91" fmla="*/ 3514 w 18729"/>
                          <a:gd name="connsiteY91" fmla="*/ 3409 h 19164"/>
                          <a:gd name="connsiteX92" fmla="*/ 1181 w 18729"/>
                          <a:gd name="connsiteY92" fmla="*/ 6639 h 19164"/>
                          <a:gd name="connsiteX93" fmla="*/ 45 w 18729"/>
                          <a:gd name="connsiteY93" fmla="*/ 10406 h 19164"/>
                          <a:gd name="connsiteX94" fmla="*/ 45 w 18729"/>
                          <a:gd name="connsiteY94" fmla="*/ 12261 h 19164"/>
                          <a:gd name="connsiteX95" fmla="*/ 403 w 18729"/>
                          <a:gd name="connsiteY95" fmla="*/ 13995 h 19164"/>
                          <a:gd name="connsiteX96" fmla="*/ 1062 w 18729"/>
                          <a:gd name="connsiteY96" fmla="*/ 15550 h 19164"/>
                          <a:gd name="connsiteX97" fmla="*/ 2078 w 18729"/>
                          <a:gd name="connsiteY97" fmla="*/ 16926 h 19164"/>
                          <a:gd name="connsiteX98" fmla="*/ 2317 w 18729"/>
                          <a:gd name="connsiteY98" fmla="*/ 17165 h 19164"/>
                          <a:gd name="connsiteX99" fmla="*/ 2557 w 18729"/>
                          <a:gd name="connsiteY99" fmla="*/ 17344 h 19164"/>
                          <a:gd name="connsiteX100" fmla="*/ 2796 w 18729"/>
                          <a:gd name="connsiteY100" fmla="*/ 17523 h 19164"/>
                          <a:gd name="connsiteX101" fmla="*/ 3035 w 18729"/>
                          <a:gd name="connsiteY101" fmla="*/ 17703 h 1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8729" h="19164">
                            <a:moveTo>
                              <a:pt x="15894" y="13457"/>
                            </a:moveTo>
                            <a:cubicBezTo>
                              <a:pt x="15774" y="13576"/>
                              <a:pt x="15714" y="13696"/>
                              <a:pt x="15595" y="13875"/>
                            </a:cubicBezTo>
                            <a:cubicBezTo>
                              <a:pt x="15475" y="13995"/>
                              <a:pt x="15415" y="14115"/>
                              <a:pt x="15296" y="14234"/>
                            </a:cubicBezTo>
                            <a:cubicBezTo>
                              <a:pt x="15176" y="14354"/>
                              <a:pt x="15056" y="14474"/>
                              <a:pt x="14996" y="14593"/>
                            </a:cubicBezTo>
                            <a:cubicBezTo>
                              <a:pt x="14877" y="14713"/>
                              <a:pt x="14757" y="14832"/>
                              <a:pt x="14638" y="14952"/>
                            </a:cubicBezTo>
                            <a:cubicBezTo>
                              <a:pt x="14219" y="15370"/>
                              <a:pt x="13741" y="15789"/>
                              <a:pt x="13262" y="16148"/>
                            </a:cubicBezTo>
                            <a:cubicBezTo>
                              <a:pt x="12784" y="16507"/>
                              <a:pt x="12305" y="16806"/>
                              <a:pt x="11767" y="17045"/>
                            </a:cubicBezTo>
                            <a:cubicBezTo>
                              <a:pt x="11229" y="17284"/>
                              <a:pt x="10690" y="17523"/>
                              <a:pt x="10152" y="17643"/>
                            </a:cubicBezTo>
                            <a:cubicBezTo>
                              <a:pt x="9614" y="17823"/>
                              <a:pt x="9076" y="17882"/>
                              <a:pt x="8538" y="17942"/>
                            </a:cubicBezTo>
                            <a:cubicBezTo>
                              <a:pt x="8059" y="18002"/>
                              <a:pt x="7640" y="18002"/>
                              <a:pt x="7222" y="17942"/>
                            </a:cubicBezTo>
                            <a:cubicBezTo>
                              <a:pt x="6803" y="17882"/>
                              <a:pt x="6384" y="17823"/>
                              <a:pt x="5966" y="17763"/>
                            </a:cubicBezTo>
                            <a:cubicBezTo>
                              <a:pt x="5547" y="17643"/>
                              <a:pt x="5188" y="17523"/>
                              <a:pt x="4829" y="17344"/>
                            </a:cubicBezTo>
                            <a:cubicBezTo>
                              <a:pt x="4471" y="17165"/>
                              <a:pt x="4111" y="16985"/>
                              <a:pt x="3813" y="16746"/>
                            </a:cubicBezTo>
                            <a:cubicBezTo>
                              <a:pt x="3334" y="16387"/>
                              <a:pt x="2916" y="16028"/>
                              <a:pt x="2616" y="15550"/>
                            </a:cubicBezTo>
                            <a:cubicBezTo>
                              <a:pt x="2257" y="15072"/>
                              <a:pt x="1959" y="14593"/>
                              <a:pt x="1719" y="14055"/>
                            </a:cubicBezTo>
                            <a:cubicBezTo>
                              <a:pt x="1480" y="13516"/>
                              <a:pt x="1361" y="12919"/>
                              <a:pt x="1241" y="12261"/>
                            </a:cubicBezTo>
                            <a:cubicBezTo>
                              <a:pt x="1121" y="11603"/>
                              <a:pt x="1121" y="10945"/>
                              <a:pt x="1241" y="10287"/>
                            </a:cubicBezTo>
                            <a:cubicBezTo>
                              <a:pt x="1361" y="9091"/>
                              <a:pt x="1719" y="7954"/>
                              <a:pt x="2257" y="6938"/>
                            </a:cubicBezTo>
                            <a:cubicBezTo>
                              <a:pt x="2796" y="5861"/>
                              <a:pt x="3514" y="4904"/>
                              <a:pt x="4351" y="4067"/>
                            </a:cubicBezTo>
                            <a:cubicBezTo>
                              <a:pt x="5188" y="3230"/>
                              <a:pt x="6145" y="2512"/>
                              <a:pt x="7162" y="1974"/>
                            </a:cubicBezTo>
                            <a:cubicBezTo>
                              <a:pt x="8179" y="1435"/>
                              <a:pt x="9315" y="1136"/>
                              <a:pt x="10451" y="1017"/>
                            </a:cubicBezTo>
                            <a:cubicBezTo>
                              <a:pt x="10571" y="1017"/>
                              <a:pt x="10750" y="1017"/>
                              <a:pt x="10870" y="1017"/>
                            </a:cubicBezTo>
                            <a:cubicBezTo>
                              <a:pt x="10989" y="1017"/>
                              <a:pt x="11169" y="1017"/>
                              <a:pt x="11288" y="1017"/>
                            </a:cubicBezTo>
                            <a:cubicBezTo>
                              <a:pt x="11408" y="1017"/>
                              <a:pt x="11587" y="1017"/>
                              <a:pt x="11707" y="1017"/>
                            </a:cubicBezTo>
                            <a:cubicBezTo>
                              <a:pt x="11827" y="1017"/>
                              <a:pt x="12006" y="1017"/>
                              <a:pt x="12126" y="1076"/>
                            </a:cubicBezTo>
                            <a:cubicBezTo>
                              <a:pt x="12365" y="1076"/>
                              <a:pt x="12604" y="1136"/>
                              <a:pt x="12784" y="1196"/>
                            </a:cubicBezTo>
                            <a:cubicBezTo>
                              <a:pt x="13023" y="1256"/>
                              <a:pt x="13202" y="1316"/>
                              <a:pt x="13442" y="1376"/>
                            </a:cubicBezTo>
                            <a:cubicBezTo>
                              <a:pt x="13621" y="1435"/>
                              <a:pt x="13860" y="1555"/>
                              <a:pt x="14040" y="1615"/>
                            </a:cubicBezTo>
                            <a:cubicBezTo>
                              <a:pt x="14219" y="1735"/>
                              <a:pt x="14458" y="1795"/>
                              <a:pt x="14638" y="1914"/>
                            </a:cubicBezTo>
                            <a:cubicBezTo>
                              <a:pt x="14697" y="1914"/>
                              <a:pt x="14757" y="1974"/>
                              <a:pt x="14817" y="2034"/>
                            </a:cubicBezTo>
                            <a:cubicBezTo>
                              <a:pt x="14877" y="2093"/>
                              <a:pt x="14937" y="2093"/>
                              <a:pt x="14937" y="2153"/>
                            </a:cubicBezTo>
                            <a:cubicBezTo>
                              <a:pt x="14996" y="2213"/>
                              <a:pt x="15056" y="2213"/>
                              <a:pt x="15056" y="2273"/>
                            </a:cubicBezTo>
                            <a:cubicBezTo>
                              <a:pt x="15116" y="2333"/>
                              <a:pt x="15176" y="2333"/>
                              <a:pt x="15176" y="2392"/>
                            </a:cubicBezTo>
                            <a:cubicBezTo>
                              <a:pt x="15236" y="2452"/>
                              <a:pt x="15296" y="2512"/>
                              <a:pt x="15415" y="2572"/>
                            </a:cubicBezTo>
                            <a:cubicBezTo>
                              <a:pt x="15535" y="2632"/>
                              <a:pt x="15535" y="2691"/>
                              <a:pt x="15595" y="2751"/>
                            </a:cubicBezTo>
                            <a:cubicBezTo>
                              <a:pt x="15655" y="2811"/>
                              <a:pt x="15714" y="2871"/>
                              <a:pt x="15774" y="2930"/>
                            </a:cubicBezTo>
                            <a:cubicBezTo>
                              <a:pt x="15834" y="2990"/>
                              <a:pt x="15894" y="3050"/>
                              <a:pt x="15954" y="3110"/>
                            </a:cubicBezTo>
                            <a:cubicBezTo>
                              <a:pt x="16312" y="3469"/>
                              <a:pt x="16611" y="3888"/>
                              <a:pt x="16850" y="4306"/>
                            </a:cubicBezTo>
                            <a:cubicBezTo>
                              <a:pt x="17090" y="4725"/>
                              <a:pt x="17269" y="5203"/>
                              <a:pt x="17449" y="5682"/>
                            </a:cubicBezTo>
                            <a:cubicBezTo>
                              <a:pt x="17568" y="6160"/>
                              <a:pt x="17688" y="6698"/>
                              <a:pt x="17748" y="7237"/>
                            </a:cubicBezTo>
                            <a:cubicBezTo>
                              <a:pt x="17808" y="7775"/>
                              <a:pt x="17748" y="8313"/>
                              <a:pt x="17688" y="8911"/>
                            </a:cubicBezTo>
                            <a:cubicBezTo>
                              <a:pt x="17628" y="9211"/>
                              <a:pt x="17628" y="9510"/>
                              <a:pt x="17568" y="9808"/>
                            </a:cubicBezTo>
                            <a:cubicBezTo>
                              <a:pt x="17509" y="10107"/>
                              <a:pt x="17449" y="10406"/>
                              <a:pt x="17329" y="10706"/>
                            </a:cubicBezTo>
                            <a:cubicBezTo>
                              <a:pt x="17209" y="11005"/>
                              <a:pt x="17150" y="11304"/>
                              <a:pt x="16970" y="11603"/>
                            </a:cubicBezTo>
                            <a:cubicBezTo>
                              <a:pt x="16850" y="11902"/>
                              <a:pt x="16731" y="12201"/>
                              <a:pt x="16551" y="12440"/>
                            </a:cubicBezTo>
                            <a:cubicBezTo>
                              <a:pt x="16492" y="12560"/>
                              <a:pt x="16432" y="12620"/>
                              <a:pt x="16372" y="12739"/>
                            </a:cubicBezTo>
                            <a:cubicBezTo>
                              <a:pt x="16312" y="12859"/>
                              <a:pt x="16253" y="12919"/>
                              <a:pt x="16193" y="12978"/>
                            </a:cubicBezTo>
                            <a:cubicBezTo>
                              <a:pt x="16133" y="13038"/>
                              <a:pt x="16073" y="13158"/>
                              <a:pt x="16013" y="13218"/>
                            </a:cubicBezTo>
                            <a:cubicBezTo>
                              <a:pt x="16013" y="13277"/>
                              <a:pt x="15954" y="13337"/>
                              <a:pt x="15894" y="13457"/>
                            </a:cubicBezTo>
                            <a:moveTo>
                              <a:pt x="3035" y="17703"/>
                            </a:moveTo>
                            <a:cubicBezTo>
                              <a:pt x="3394" y="17942"/>
                              <a:pt x="3813" y="18182"/>
                              <a:pt x="4171" y="18421"/>
                            </a:cubicBezTo>
                            <a:cubicBezTo>
                              <a:pt x="4530" y="18660"/>
                              <a:pt x="5009" y="18780"/>
                              <a:pt x="5487" y="18899"/>
                            </a:cubicBezTo>
                            <a:cubicBezTo>
                              <a:pt x="5966" y="19019"/>
                              <a:pt x="6384" y="19079"/>
                              <a:pt x="6863" y="19138"/>
                            </a:cubicBezTo>
                            <a:cubicBezTo>
                              <a:pt x="7341" y="19198"/>
                              <a:pt x="7820" y="19138"/>
                              <a:pt x="8358" y="19138"/>
                            </a:cubicBezTo>
                            <a:cubicBezTo>
                              <a:pt x="8956" y="19079"/>
                              <a:pt x="9614" y="18959"/>
                              <a:pt x="10212" y="18780"/>
                            </a:cubicBezTo>
                            <a:cubicBezTo>
                              <a:pt x="10810" y="18600"/>
                              <a:pt x="11408" y="18361"/>
                              <a:pt x="12006" y="18062"/>
                            </a:cubicBezTo>
                            <a:cubicBezTo>
                              <a:pt x="12604" y="17763"/>
                              <a:pt x="13142" y="17404"/>
                              <a:pt x="13681" y="17045"/>
                            </a:cubicBezTo>
                            <a:cubicBezTo>
                              <a:pt x="14219" y="16627"/>
                              <a:pt x="14757" y="16208"/>
                              <a:pt x="15236" y="15729"/>
                            </a:cubicBezTo>
                            <a:cubicBezTo>
                              <a:pt x="15415" y="15550"/>
                              <a:pt x="15595" y="15370"/>
                              <a:pt x="15774" y="15191"/>
                            </a:cubicBezTo>
                            <a:cubicBezTo>
                              <a:pt x="15954" y="15012"/>
                              <a:pt x="16073" y="14832"/>
                              <a:pt x="16253" y="14653"/>
                            </a:cubicBezTo>
                            <a:cubicBezTo>
                              <a:pt x="16432" y="14474"/>
                              <a:pt x="16551" y="14294"/>
                              <a:pt x="16671" y="14055"/>
                            </a:cubicBezTo>
                            <a:cubicBezTo>
                              <a:pt x="16791" y="13875"/>
                              <a:pt x="16970" y="13636"/>
                              <a:pt x="17090" y="13457"/>
                            </a:cubicBezTo>
                            <a:cubicBezTo>
                              <a:pt x="17150" y="13397"/>
                              <a:pt x="17209" y="13277"/>
                              <a:pt x="17269" y="13218"/>
                            </a:cubicBezTo>
                            <a:cubicBezTo>
                              <a:pt x="17329" y="13158"/>
                              <a:pt x="17389" y="13038"/>
                              <a:pt x="17389" y="12978"/>
                            </a:cubicBezTo>
                            <a:cubicBezTo>
                              <a:pt x="17389" y="12919"/>
                              <a:pt x="17509" y="12799"/>
                              <a:pt x="17509" y="12739"/>
                            </a:cubicBezTo>
                            <a:cubicBezTo>
                              <a:pt x="17568" y="12679"/>
                              <a:pt x="17628" y="12560"/>
                              <a:pt x="17628" y="12440"/>
                            </a:cubicBezTo>
                            <a:cubicBezTo>
                              <a:pt x="17748" y="12141"/>
                              <a:pt x="17867" y="11842"/>
                              <a:pt x="17987" y="11543"/>
                            </a:cubicBezTo>
                            <a:cubicBezTo>
                              <a:pt x="18107" y="11244"/>
                              <a:pt x="18226" y="10945"/>
                              <a:pt x="18286" y="10646"/>
                            </a:cubicBezTo>
                            <a:cubicBezTo>
                              <a:pt x="18346" y="10347"/>
                              <a:pt x="18465" y="10048"/>
                              <a:pt x="18525" y="9749"/>
                            </a:cubicBezTo>
                            <a:cubicBezTo>
                              <a:pt x="18585" y="9450"/>
                              <a:pt x="18645" y="9151"/>
                              <a:pt x="18645" y="8852"/>
                            </a:cubicBezTo>
                            <a:cubicBezTo>
                              <a:pt x="18704" y="8194"/>
                              <a:pt x="18764" y="7596"/>
                              <a:pt x="18704" y="6998"/>
                            </a:cubicBezTo>
                            <a:cubicBezTo>
                              <a:pt x="18645" y="6399"/>
                              <a:pt x="18585" y="5801"/>
                              <a:pt x="18405" y="5263"/>
                            </a:cubicBezTo>
                            <a:cubicBezTo>
                              <a:pt x="18226" y="4725"/>
                              <a:pt x="18047" y="4187"/>
                              <a:pt x="17748" y="3708"/>
                            </a:cubicBezTo>
                            <a:cubicBezTo>
                              <a:pt x="17449" y="3230"/>
                              <a:pt x="17150" y="2751"/>
                              <a:pt x="16731" y="2333"/>
                            </a:cubicBezTo>
                            <a:cubicBezTo>
                              <a:pt x="16671" y="2273"/>
                              <a:pt x="16671" y="2273"/>
                              <a:pt x="16611" y="2213"/>
                            </a:cubicBezTo>
                            <a:cubicBezTo>
                              <a:pt x="16551" y="2153"/>
                              <a:pt x="16551" y="2153"/>
                              <a:pt x="16492" y="2093"/>
                            </a:cubicBezTo>
                            <a:cubicBezTo>
                              <a:pt x="16432" y="2034"/>
                              <a:pt x="16432" y="2034"/>
                              <a:pt x="16372" y="1974"/>
                            </a:cubicBezTo>
                            <a:cubicBezTo>
                              <a:pt x="16312" y="1914"/>
                              <a:pt x="16312" y="1914"/>
                              <a:pt x="16253" y="1854"/>
                            </a:cubicBezTo>
                            <a:cubicBezTo>
                              <a:pt x="16193" y="1795"/>
                              <a:pt x="16193" y="1795"/>
                              <a:pt x="16133" y="1735"/>
                            </a:cubicBezTo>
                            <a:cubicBezTo>
                              <a:pt x="16073" y="1675"/>
                              <a:pt x="16073" y="1675"/>
                              <a:pt x="16013" y="1615"/>
                            </a:cubicBezTo>
                            <a:cubicBezTo>
                              <a:pt x="15954" y="1555"/>
                              <a:pt x="15954" y="1555"/>
                              <a:pt x="15894" y="1495"/>
                            </a:cubicBezTo>
                            <a:cubicBezTo>
                              <a:pt x="15834" y="1435"/>
                              <a:pt x="15834" y="1435"/>
                              <a:pt x="15774" y="1376"/>
                            </a:cubicBezTo>
                            <a:cubicBezTo>
                              <a:pt x="15714" y="1316"/>
                              <a:pt x="15655" y="1256"/>
                              <a:pt x="15535" y="1196"/>
                            </a:cubicBezTo>
                            <a:cubicBezTo>
                              <a:pt x="15475" y="1136"/>
                              <a:pt x="15415" y="1076"/>
                              <a:pt x="15296" y="1076"/>
                            </a:cubicBezTo>
                            <a:cubicBezTo>
                              <a:pt x="15176" y="1076"/>
                              <a:pt x="15116" y="957"/>
                              <a:pt x="15056" y="957"/>
                            </a:cubicBezTo>
                            <a:cubicBezTo>
                              <a:pt x="14996" y="957"/>
                              <a:pt x="14877" y="897"/>
                              <a:pt x="14817" y="837"/>
                            </a:cubicBezTo>
                            <a:cubicBezTo>
                              <a:pt x="14518" y="658"/>
                              <a:pt x="14159" y="538"/>
                              <a:pt x="13801" y="419"/>
                            </a:cubicBezTo>
                            <a:cubicBezTo>
                              <a:pt x="13442" y="299"/>
                              <a:pt x="13083" y="180"/>
                              <a:pt x="12724" y="120"/>
                            </a:cubicBezTo>
                            <a:cubicBezTo>
                              <a:pt x="12365" y="60"/>
                              <a:pt x="11947" y="0"/>
                              <a:pt x="11587" y="0"/>
                            </a:cubicBezTo>
                            <a:cubicBezTo>
                              <a:pt x="11169" y="0"/>
                              <a:pt x="10810" y="0"/>
                              <a:pt x="10392" y="0"/>
                            </a:cubicBezTo>
                            <a:cubicBezTo>
                              <a:pt x="9135" y="120"/>
                              <a:pt x="7879" y="479"/>
                              <a:pt x="6684" y="1076"/>
                            </a:cubicBezTo>
                            <a:cubicBezTo>
                              <a:pt x="5547" y="1675"/>
                              <a:pt x="4411" y="2452"/>
                              <a:pt x="3514" y="3409"/>
                            </a:cubicBezTo>
                            <a:cubicBezTo>
                              <a:pt x="2557" y="4366"/>
                              <a:pt x="1779" y="5443"/>
                              <a:pt x="1181" y="6639"/>
                            </a:cubicBezTo>
                            <a:cubicBezTo>
                              <a:pt x="583" y="7835"/>
                              <a:pt x="164" y="9091"/>
                              <a:pt x="45" y="10406"/>
                            </a:cubicBezTo>
                            <a:cubicBezTo>
                              <a:pt x="-15" y="11065"/>
                              <a:pt x="-15" y="11662"/>
                              <a:pt x="45" y="12261"/>
                            </a:cubicBezTo>
                            <a:cubicBezTo>
                              <a:pt x="104" y="12859"/>
                              <a:pt x="224" y="13457"/>
                              <a:pt x="403" y="13995"/>
                            </a:cubicBezTo>
                            <a:cubicBezTo>
                              <a:pt x="583" y="14533"/>
                              <a:pt x="822" y="15072"/>
                              <a:pt x="1062" y="15550"/>
                            </a:cubicBezTo>
                            <a:cubicBezTo>
                              <a:pt x="1361" y="16028"/>
                              <a:pt x="1660" y="16507"/>
                              <a:pt x="2078" y="16926"/>
                            </a:cubicBezTo>
                            <a:cubicBezTo>
                              <a:pt x="2138" y="16985"/>
                              <a:pt x="2198" y="17045"/>
                              <a:pt x="2317" y="17165"/>
                            </a:cubicBezTo>
                            <a:cubicBezTo>
                              <a:pt x="2377" y="17225"/>
                              <a:pt x="2437" y="17284"/>
                              <a:pt x="2557" y="17344"/>
                            </a:cubicBezTo>
                            <a:cubicBezTo>
                              <a:pt x="2616" y="17404"/>
                              <a:pt x="2736" y="17464"/>
                              <a:pt x="2796" y="17523"/>
                            </a:cubicBezTo>
                            <a:cubicBezTo>
                              <a:pt x="2856" y="17583"/>
                              <a:pt x="2975" y="17643"/>
                              <a:pt x="3035" y="17703"/>
                            </a:cubicBezTo>
                          </a:path>
                        </a:pathLst>
                      </a:custGeom>
                      <a:noFill/>
                      <a:ln w="6350" cap="flat">
                        <a:solidFill>
                          <a:schemeClr val="bg1">
                            <a:alpha val="40000"/>
                          </a:schemeClr>
                        </a:solidFill>
                        <a:prstDash val="solid"/>
                        <a:miter/>
                      </a:ln>
                    </p:spPr>
                    <p:txBody>
                      <a:bodyPr rtlCol="0" anchor="ctr"/>
                      <a:lstStyle/>
                      <a:p>
                        <a:endParaRPr lang="en-GB"/>
                      </a:p>
                    </p:txBody>
                  </p:sp>
                  <p:sp>
                    <p:nvSpPr>
                      <p:cNvPr id="7556" name="Vrije vorm: vorm 7555">
                        <a:extLst>
                          <a:ext uri="{FF2B5EF4-FFF2-40B4-BE49-F238E27FC236}">
                            <a16:creationId xmlns:a16="http://schemas.microsoft.com/office/drawing/2014/main" id="{A86528B1-FAAC-4BC4-BF01-7E3849679173}"/>
                          </a:ext>
                        </a:extLst>
                      </p:cNvPr>
                      <p:cNvSpPr/>
                      <p:nvPr/>
                    </p:nvSpPr>
                    <p:spPr>
                      <a:xfrm>
                        <a:off x="5091842" y="5221270"/>
                        <a:ext cx="13965" cy="14518"/>
                      </a:xfrm>
                      <a:custGeom>
                        <a:avLst/>
                        <a:gdLst>
                          <a:gd name="connsiteX0" fmla="*/ 10691 w 13965"/>
                          <a:gd name="connsiteY0" fmla="*/ 11364 h 14518"/>
                          <a:gd name="connsiteX1" fmla="*/ 9734 w 13965"/>
                          <a:gd name="connsiteY1" fmla="*/ 12141 h 14518"/>
                          <a:gd name="connsiteX2" fmla="*/ 8717 w 13965"/>
                          <a:gd name="connsiteY2" fmla="*/ 12739 h 14518"/>
                          <a:gd name="connsiteX3" fmla="*/ 7641 w 13965"/>
                          <a:gd name="connsiteY3" fmla="*/ 13158 h 14518"/>
                          <a:gd name="connsiteX4" fmla="*/ 6504 w 13965"/>
                          <a:gd name="connsiteY4" fmla="*/ 13337 h 14518"/>
                          <a:gd name="connsiteX5" fmla="*/ 5547 w 13965"/>
                          <a:gd name="connsiteY5" fmla="*/ 13337 h 14518"/>
                          <a:gd name="connsiteX6" fmla="*/ 4650 w 13965"/>
                          <a:gd name="connsiteY6" fmla="*/ 13218 h 14518"/>
                          <a:gd name="connsiteX7" fmla="*/ 3813 w 13965"/>
                          <a:gd name="connsiteY7" fmla="*/ 12919 h 14518"/>
                          <a:gd name="connsiteX8" fmla="*/ 3035 w 13965"/>
                          <a:gd name="connsiteY8" fmla="*/ 12500 h 14518"/>
                          <a:gd name="connsiteX9" fmla="*/ 2856 w 13965"/>
                          <a:gd name="connsiteY9" fmla="*/ 12380 h 14518"/>
                          <a:gd name="connsiteX10" fmla="*/ 2736 w 13965"/>
                          <a:gd name="connsiteY10" fmla="*/ 12260 h 14518"/>
                          <a:gd name="connsiteX11" fmla="*/ 2617 w 13965"/>
                          <a:gd name="connsiteY11" fmla="*/ 12141 h 14518"/>
                          <a:gd name="connsiteX12" fmla="*/ 2497 w 13965"/>
                          <a:gd name="connsiteY12" fmla="*/ 12021 h 14518"/>
                          <a:gd name="connsiteX13" fmla="*/ 1839 w 13965"/>
                          <a:gd name="connsiteY13" fmla="*/ 11184 h 14518"/>
                          <a:gd name="connsiteX14" fmla="*/ 1420 w 13965"/>
                          <a:gd name="connsiteY14" fmla="*/ 10167 h 14518"/>
                          <a:gd name="connsiteX15" fmla="*/ 1181 w 13965"/>
                          <a:gd name="connsiteY15" fmla="*/ 9031 h 14518"/>
                          <a:gd name="connsiteX16" fmla="*/ 1181 w 13965"/>
                          <a:gd name="connsiteY16" fmla="*/ 7835 h 14518"/>
                          <a:gd name="connsiteX17" fmla="*/ 1420 w 13965"/>
                          <a:gd name="connsiteY17" fmla="*/ 6579 h 14518"/>
                          <a:gd name="connsiteX18" fmla="*/ 1899 w 13965"/>
                          <a:gd name="connsiteY18" fmla="*/ 5383 h 14518"/>
                          <a:gd name="connsiteX19" fmla="*/ 2557 w 13965"/>
                          <a:gd name="connsiteY19" fmla="*/ 4246 h 14518"/>
                          <a:gd name="connsiteX20" fmla="*/ 3394 w 13965"/>
                          <a:gd name="connsiteY20" fmla="*/ 3229 h 14518"/>
                          <a:gd name="connsiteX21" fmla="*/ 4351 w 13965"/>
                          <a:gd name="connsiteY21" fmla="*/ 2392 h 14518"/>
                          <a:gd name="connsiteX22" fmla="*/ 5368 w 13965"/>
                          <a:gd name="connsiteY22" fmla="*/ 1734 h 14518"/>
                          <a:gd name="connsiteX23" fmla="*/ 6444 w 13965"/>
                          <a:gd name="connsiteY23" fmla="*/ 1256 h 14518"/>
                          <a:gd name="connsiteX24" fmla="*/ 7581 w 13965"/>
                          <a:gd name="connsiteY24" fmla="*/ 1017 h 14518"/>
                          <a:gd name="connsiteX25" fmla="*/ 7641 w 13965"/>
                          <a:gd name="connsiteY25" fmla="*/ 1017 h 14518"/>
                          <a:gd name="connsiteX26" fmla="*/ 7700 w 13965"/>
                          <a:gd name="connsiteY26" fmla="*/ 1017 h 14518"/>
                          <a:gd name="connsiteX27" fmla="*/ 7760 w 13965"/>
                          <a:gd name="connsiteY27" fmla="*/ 1017 h 14518"/>
                          <a:gd name="connsiteX28" fmla="*/ 7820 w 13965"/>
                          <a:gd name="connsiteY28" fmla="*/ 1017 h 14518"/>
                          <a:gd name="connsiteX29" fmla="*/ 7999 w 13965"/>
                          <a:gd name="connsiteY29" fmla="*/ 1017 h 14518"/>
                          <a:gd name="connsiteX30" fmla="*/ 8179 w 13965"/>
                          <a:gd name="connsiteY30" fmla="*/ 1017 h 14518"/>
                          <a:gd name="connsiteX31" fmla="*/ 8358 w 13965"/>
                          <a:gd name="connsiteY31" fmla="*/ 1017 h 14518"/>
                          <a:gd name="connsiteX32" fmla="*/ 8537 w 13965"/>
                          <a:gd name="connsiteY32" fmla="*/ 1017 h 14518"/>
                          <a:gd name="connsiteX33" fmla="*/ 9255 w 13965"/>
                          <a:gd name="connsiteY33" fmla="*/ 1076 h 14518"/>
                          <a:gd name="connsiteX34" fmla="*/ 9973 w 13965"/>
                          <a:gd name="connsiteY34" fmla="*/ 1256 h 14518"/>
                          <a:gd name="connsiteX35" fmla="*/ 10631 w 13965"/>
                          <a:gd name="connsiteY35" fmla="*/ 1555 h 14518"/>
                          <a:gd name="connsiteX36" fmla="*/ 11229 w 13965"/>
                          <a:gd name="connsiteY36" fmla="*/ 1914 h 14518"/>
                          <a:gd name="connsiteX37" fmla="*/ 11408 w 13965"/>
                          <a:gd name="connsiteY37" fmla="*/ 2034 h 14518"/>
                          <a:gd name="connsiteX38" fmla="*/ 11528 w 13965"/>
                          <a:gd name="connsiteY38" fmla="*/ 2153 h 14518"/>
                          <a:gd name="connsiteX39" fmla="*/ 11648 w 13965"/>
                          <a:gd name="connsiteY39" fmla="*/ 2273 h 14518"/>
                          <a:gd name="connsiteX40" fmla="*/ 11767 w 13965"/>
                          <a:gd name="connsiteY40" fmla="*/ 2392 h 14518"/>
                          <a:gd name="connsiteX41" fmla="*/ 12425 w 13965"/>
                          <a:gd name="connsiteY41" fmla="*/ 3289 h 14518"/>
                          <a:gd name="connsiteX42" fmla="*/ 12844 w 13965"/>
                          <a:gd name="connsiteY42" fmla="*/ 4306 h 14518"/>
                          <a:gd name="connsiteX43" fmla="*/ 13023 w 13965"/>
                          <a:gd name="connsiteY43" fmla="*/ 5443 h 14518"/>
                          <a:gd name="connsiteX44" fmla="*/ 12963 w 13965"/>
                          <a:gd name="connsiteY44" fmla="*/ 6639 h 14518"/>
                          <a:gd name="connsiteX45" fmla="*/ 12784 w 13965"/>
                          <a:gd name="connsiteY45" fmla="*/ 7596 h 14518"/>
                          <a:gd name="connsiteX46" fmla="*/ 12485 w 13965"/>
                          <a:gd name="connsiteY46" fmla="*/ 8493 h 14518"/>
                          <a:gd name="connsiteX47" fmla="*/ 12066 w 13965"/>
                          <a:gd name="connsiteY47" fmla="*/ 9390 h 14518"/>
                          <a:gd name="connsiteX48" fmla="*/ 11528 w 13965"/>
                          <a:gd name="connsiteY48" fmla="*/ 10227 h 14518"/>
                          <a:gd name="connsiteX49" fmla="*/ 11349 w 13965"/>
                          <a:gd name="connsiteY49" fmla="*/ 10466 h 14518"/>
                          <a:gd name="connsiteX50" fmla="*/ 11169 w 13965"/>
                          <a:gd name="connsiteY50" fmla="*/ 10705 h 14518"/>
                          <a:gd name="connsiteX51" fmla="*/ 10990 w 13965"/>
                          <a:gd name="connsiteY51" fmla="*/ 10945 h 14518"/>
                          <a:gd name="connsiteX52" fmla="*/ 10810 w 13965"/>
                          <a:gd name="connsiteY52" fmla="*/ 11184 h 14518"/>
                          <a:gd name="connsiteX53" fmla="*/ 10750 w 13965"/>
                          <a:gd name="connsiteY53" fmla="*/ 11244 h 14518"/>
                          <a:gd name="connsiteX54" fmla="*/ 10691 w 13965"/>
                          <a:gd name="connsiteY54" fmla="*/ 11304 h 14518"/>
                          <a:gd name="connsiteX55" fmla="*/ 10691 w 13965"/>
                          <a:gd name="connsiteY55" fmla="*/ 11364 h 14518"/>
                          <a:gd name="connsiteX56" fmla="*/ 10691 w 13965"/>
                          <a:gd name="connsiteY56" fmla="*/ 11364 h 14518"/>
                          <a:gd name="connsiteX57" fmla="*/ 2318 w 13965"/>
                          <a:gd name="connsiteY57" fmla="*/ 13397 h 14518"/>
                          <a:gd name="connsiteX58" fmla="*/ 3155 w 13965"/>
                          <a:gd name="connsiteY58" fmla="*/ 13935 h 14518"/>
                          <a:gd name="connsiteX59" fmla="*/ 4112 w 13965"/>
                          <a:gd name="connsiteY59" fmla="*/ 14294 h 14518"/>
                          <a:gd name="connsiteX60" fmla="*/ 5188 w 13965"/>
                          <a:gd name="connsiteY60" fmla="*/ 14473 h 14518"/>
                          <a:gd name="connsiteX61" fmla="*/ 6325 w 13965"/>
                          <a:gd name="connsiteY61" fmla="*/ 14473 h 14518"/>
                          <a:gd name="connsiteX62" fmla="*/ 7700 w 13965"/>
                          <a:gd name="connsiteY62" fmla="*/ 14174 h 14518"/>
                          <a:gd name="connsiteX63" fmla="*/ 9016 w 13965"/>
                          <a:gd name="connsiteY63" fmla="*/ 13636 h 14518"/>
                          <a:gd name="connsiteX64" fmla="*/ 10272 w 13965"/>
                          <a:gd name="connsiteY64" fmla="*/ 12859 h 14518"/>
                          <a:gd name="connsiteX65" fmla="*/ 11408 w 13965"/>
                          <a:gd name="connsiteY65" fmla="*/ 11842 h 14518"/>
                          <a:gd name="connsiteX66" fmla="*/ 11528 w 13965"/>
                          <a:gd name="connsiteY66" fmla="*/ 11722 h 14518"/>
                          <a:gd name="connsiteX67" fmla="*/ 11648 w 13965"/>
                          <a:gd name="connsiteY67" fmla="*/ 11603 h 14518"/>
                          <a:gd name="connsiteX68" fmla="*/ 11767 w 13965"/>
                          <a:gd name="connsiteY68" fmla="*/ 11423 h 14518"/>
                          <a:gd name="connsiteX69" fmla="*/ 11887 w 13965"/>
                          <a:gd name="connsiteY69" fmla="*/ 11244 h 14518"/>
                          <a:gd name="connsiteX70" fmla="*/ 12126 w 13965"/>
                          <a:gd name="connsiteY70" fmla="*/ 11005 h 14518"/>
                          <a:gd name="connsiteX71" fmla="*/ 12305 w 13965"/>
                          <a:gd name="connsiteY71" fmla="*/ 10765 h 14518"/>
                          <a:gd name="connsiteX72" fmla="*/ 12485 w 13965"/>
                          <a:gd name="connsiteY72" fmla="*/ 10466 h 14518"/>
                          <a:gd name="connsiteX73" fmla="*/ 12664 w 13965"/>
                          <a:gd name="connsiteY73" fmla="*/ 10167 h 14518"/>
                          <a:gd name="connsiteX74" fmla="*/ 13143 w 13965"/>
                          <a:gd name="connsiteY74" fmla="*/ 9330 h 14518"/>
                          <a:gd name="connsiteX75" fmla="*/ 13502 w 13965"/>
                          <a:gd name="connsiteY75" fmla="*/ 8433 h 14518"/>
                          <a:gd name="connsiteX76" fmla="*/ 13741 w 13965"/>
                          <a:gd name="connsiteY76" fmla="*/ 7536 h 14518"/>
                          <a:gd name="connsiteX77" fmla="*/ 13920 w 13965"/>
                          <a:gd name="connsiteY77" fmla="*/ 6579 h 14518"/>
                          <a:gd name="connsiteX78" fmla="*/ 13920 w 13965"/>
                          <a:gd name="connsiteY78" fmla="*/ 4904 h 14518"/>
                          <a:gd name="connsiteX79" fmla="*/ 13561 w 13965"/>
                          <a:gd name="connsiteY79" fmla="*/ 3409 h 14518"/>
                          <a:gd name="connsiteX80" fmla="*/ 12844 w 13965"/>
                          <a:gd name="connsiteY80" fmla="*/ 2093 h 14518"/>
                          <a:gd name="connsiteX81" fmla="*/ 11827 w 13965"/>
                          <a:gd name="connsiteY81" fmla="*/ 1076 h 14518"/>
                          <a:gd name="connsiteX82" fmla="*/ 11109 w 13965"/>
                          <a:gd name="connsiteY82" fmla="*/ 658 h 14518"/>
                          <a:gd name="connsiteX83" fmla="*/ 10332 w 13965"/>
                          <a:gd name="connsiteY83" fmla="*/ 299 h 14518"/>
                          <a:gd name="connsiteX84" fmla="*/ 9495 w 13965"/>
                          <a:gd name="connsiteY84" fmla="*/ 60 h 14518"/>
                          <a:gd name="connsiteX85" fmla="*/ 8597 w 13965"/>
                          <a:gd name="connsiteY85" fmla="*/ 0 h 14518"/>
                          <a:gd name="connsiteX86" fmla="*/ 8418 w 13965"/>
                          <a:gd name="connsiteY86" fmla="*/ 0 h 14518"/>
                          <a:gd name="connsiteX87" fmla="*/ 8238 w 13965"/>
                          <a:gd name="connsiteY87" fmla="*/ 0 h 14518"/>
                          <a:gd name="connsiteX88" fmla="*/ 8059 w 13965"/>
                          <a:gd name="connsiteY88" fmla="*/ 0 h 14518"/>
                          <a:gd name="connsiteX89" fmla="*/ 7880 w 13965"/>
                          <a:gd name="connsiteY89" fmla="*/ 0 h 14518"/>
                          <a:gd name="connsiteX90" fmla="*/ 7820 w 13965"/>
                          <a:gd name="connsiteY90" fmla="*/ 0 h 14518"/>
                          <a:gd name="connsiteX91" fmla="*/ 7760 w 13965"/>
                          <a:gd name="connsiteY91" fmla="*/ 0 h 14518"/>
                          <a:gd name="connsiteX92" fmla="*/ 7700 w 13965"/>
                          <a:gd name="connsiteY92" fmla="*/ 0 h 14518"/>
                          <a:gd name="connsiteX93" fmla="*/ 7641 w 13965"/>
                          <a:gd name="connsiteY93" fmla="*/ 0 h 14518"/>
                          <a:gd name="connsiteX94" fmla="*/ 6325 w 13965"/>
                          <a:gd name="connsiteY94" fmla="*/ 299 h 14518"/>
                          <a:gd name="connsiteX95" fmla="*/ 5009 w 13965"/>
                          <a:gd name="connsiteY95" fmla="*/ 837 h 14518"/>
                          <a:gd name="connsiteX96" fmla="*/ 3813 w 13965"/>
                          <a:gd name="connsiteY96" fmla="*/ 1615 h 14518"/>
                          <a:gd name="connsiteX97" fmla="*/ 2676 w 13965"/>
                          <a:gd name="connsiteY97" fmla="*/ 2572 h 14518"/>
                          <a:gd name="connsiteX98" fmla="*/ 1660 w 13965"/>
                          <a:gd name="connsiteY98" fmla="*/ 3768 h 14518"/>
                          <a:gd name="connsiteX99" fmla="*/ 882 w 13965"/>
                          <a:gd name="connsiteY99" fmla="*/ 5083 h 14518"/>
                          <a:gd name="connsiteX100" fmla="*/ 344 w 13965"/>
                          <a:gd name="connsiteY100" fmla="*/ 6459 h 14518"/>
                          <a:gd name="connsiteX101" fmla="*/ 45 w 13965"/>
                          <a:gd name="connsiteY101" fmla="*/ 7895 h 14518"/>
                          <a:gd name="connsiteX102" fmla="*/ 45 w 13965"/>
                          <a:gd name="connsiteY102" fmla="*/ 9569 h 14518"/>
                          <a:gd name="connsiteX103" fmla="*/ 464 w 13965"/>
                          <a:gd name="connsiteY103" fmla="*/ 11064 h 14518"/>
                          <a:gd name="connsiteX104" fmla="*/ 1181 w 13965"/>
                          <a:gd name="connsiteY104" fmla="*/ 12320 h 14518"/>
                          <a:gd name="connsiteX105" fmla="*/ 2318 w 13965"/>
                          <a:gd name="connsiteY105" fmla="*/ 13397 h 1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965" h="14518">
                            <a:moveTo>
                              <a:pt x="10691" y="11364"/>
                            </a:moveTo>
                            <a:cubicBezTo>
                              <a:pt x="10391" y="11662"/>
                              <a:pt x="10092" y="11902"/>
                              <a:pt x="9734" y="12141"/>
                            </a:cubicBezTo>
                            <a:cubicBezTo>
                              <a:pt x="9375" y="12380"/>
                              <a:pt x="9076" y="12559"/>
                              <a:pt x="8717" y="12739"/>
                            </a:cubicBezTo>
                            <a:cubicBezTo>
                              <a:pt x="8358" y="12919"/>
                              <a:pt x="7999" y="13038"/>
                              <a:pt x="7641" y="13158"/>
                            </a:cubicBezTo>
                            <a:cubicBezTo>
                              <a:pt x="7282" y="13277"/>
                              <a:pt x="6863" y="13337"/>
                              <a:pt x="6504" y="13337"/>
                            </a:cubicBezTo>
                            <a:cubicBezTo>
                              <a:pt x="6205" y="13397"/>
                              <a:pt x="5846" y="13397"/>
                              <a:pt x="5547" y="13337"/>
                            </a:cubicBezTo>
                            <a:cubicBezTo>
                              <a:pt x="5248" y="13337"/>
                              <a:pt x="4949" y="13277"/>
                              <a:pt x="4650" y="13218"/>
                            </a:cubicBezTo>
                            <a:cubicBezTo>
                              <a:pt x="4351" y="13158"/>
                              <a:pt x="4052" y="13038"/>
                              <a:pt x="3813" y="12919"/>
                            </a:cubicBezTo>
                            <a:cubicBezTo>
                              <a:pt x="3574" y="12799"/>
                              <a:pt x="3274" y="12619"/>
                              <a:pt x="3035" y="12500"/>
                            </a:cubicBezTo>
                            <a:cubicBezTo>
                              <a:pt x="2975" y="12440"/>
                              <a:pt x="2916" y="12440"/>
                              <a:pt x="2856" y="12380"/>
                            </a:cubicBezTo>
                            <a:cubicBezTo>
                              <a:pt x="2796" y="12320"/>
                              <a:pt x="2736" y="12320"/>
                              <a:pt x="2736" y="12260"/>
                            </a:cubicBezTo>
                            <a:cubicBezTo>
                              <a:pt x="2676" y="12201"/>
                              <a:pt x="2617" y="12201"/>
                              <a:pt x="2617" y="12141"/>
                            </a:cubicBezTo>
                            <a:cubicBezTo>
                              <a:pt x="2557" y="12081"/>
                              <a:pt x="2497" y="12021"/>
                              <a:pt x="2497" y="12021"/>
                            </a:cubicBezTo>
                            <a:cubicBezTo>
                              <a:pt x="2258" y="11782"/>
                              <a:pt x="2019" y="11483"/>
                              <a:pt x="1839" y="11184"/>
                            </a:cubicBezTo>
                            <a:cubicBezTo>
                              <a:pt x="1660" y="10885"/>
                              <a:pt x="1540" y="10526"/>
                              <a:pt x="1420" y="10167"/>
                            </a:cubicBezTo>
                            <a:cubicBezTo>
                              <a:pt x="1301" y="9808"/>
                              <a:pt x="1241" y="9450"/>
                              <a:pt x="1181" y="9031"/>
                            </a:cubicBezTo>
                            <a:cubicBezTo>
                              <a:pt x="1121" y="8672"/>
                              <a:pt x="1121" y="8253"/>
                              <a:pt x="1181" y="7835"/>
                            </a:cubicBezTo>
                            <a:cubicBezTo>
                              <a:pt x="1241" y="7416"/>
                              <a:pt x="1301" y="6997"/>
                              <a:pt x="1420" y="6579"/>
                            </a:cubicBezTo>
                            <a:cubicBezTo>
                              <a:pt x="1540" y="6160"/>
                              <a:pt x="1720" y="5801"/>
                              <a:pt x="1899" y="5383"/>
                            </a:cubicBezTo>
                            <a:cubicBezTo>
                              <a:pt x="2079" y="5024"/>
                              <a:pt x="2318" y="4605"/>
                              <a:pt x="2557" y="4246"/>
                            </a:cubicBezTo>
                            <a:cubicBezTo>
                              <a:pt x="2796" y="3888"/>
                              <a:pt x="3095" y="3529"/>
                              <a:pt x="3394" y="3229"/>
                            </a:cubicBezTo>
                            <a:cubicBezTo>
                              <a:pt x="3693" y="2930"/>
                              <a:pt x="3992" y="2632"/>
                              <a:pt x="4351" y="2392"/>
                            </a:cubicBezTo>
                            <a:cubicBezTo>
                              <a:pt x="4710" y="2153"/>
                              <a:pt x="5009" y="1914"/>
                              <a:pt x="5368" y="1734"/>
                            </a:cubicBezTo>
                            <a:cubicBezTo>
                              <a:pt x="5727" y="1555"/>
                              <a:pt x="6085" y="1375"/>
                              <a:pt x="6444" y="1256"/>
                            </a:cubicBezTo>
                            <a:cubicBezTo>
                              <a:pt x="6803" y="1136"/>
                              <a:pt x="7222" y="1076"/>
                              <a:pt x="7581" y="1017"/>
                            </a:cubicBezTo>
                            <a:cubicBezTo>
                              <a:pt x="7581" y="1017"/>
                              <a:pt x="7641" y="1017"/>
                              <a:pt x="7641" y="1017"/>
                            </a:cubicBezTo>
                            <a:cubicBezTo>
                              <a:pt x="7641" y="1017"/>
                              <a:pt x="7700" y="1017"/>
                              <a:pt x="7700" y="1017"/>
                            </a:cubicBezTo>
                            <a:cubicBezTo>
                              <a:pt x="7700" y="1017"/>
                              <a:pt x="7760" y="1017"/>
                              <a:pt x="7760" y="1017"/>
                            </a:cubicBezTo>
                            <a:cubicBezTo>
                              <a:pt x="7760" y="1017"/>
                              <a:pt x="7820" y="1017"/>
                              <a:pt x="7820" y="1017"/>
                            </a:cubicBezTo>
                            <a:cubicBezTo>
                              <a:pt x="7880" y="1017"/>
                              <a:pt x="7939" y="1017"/>
                              <a:pt x="7999" y="1017"/>
                            </a:cubicBezTo>
                            <a:cubicBezTo>
                              <a:pt x="8059" y="1017"/>
                              <a:pt x="8119" y="1017"/>
                              <a:pt x="8179" y="1017"/>
                            </a:cubicBezTo>
                            <a:cubicBezTo>
                              <a:pt x="8238" y="1017"/>
                              <a:pt x="8298" y="1017"/>
                              <a:pt x="8358" y="1017"/>
                            </a:cubicBezTo>
                            <a:cubicBezTo>
                              <a:pt x="8418" y="1017"/>
                              <a:pt x="8478" y="1017"/>
                              <a:pt x="8537" y="1017"/>
                            </a:cubicBezTo>
                            <a:cubicBezTo>
                              <a:pt x="8777" y="1017"/>
                              <a:pt x="9016" y="1076"/>
                              <a:pt x="9255" y="1076"/>
                            </a:cubicBezTo>
                            <a:cubicBezTo>
                              <a:pt x="9495" y="1076"/>
                              <a:pt x="9734" y="1196"/>
                              <a:pt x="9973" y="1256"/>
                            </a:cubicBezTo>
                            <a:cubicBezTo>
                              <a:pt x="10212" y="1316"/>
                              <a:pt x="10391" y="1435"/>
                              <a:pt x="10631" y="1555"/>
                            </a:cubicBezTo>
                            <a:cubicBezTo>
                              <a:pt x="10870" y="1675"/>
                              <a:pt x="11050" y="1794"/>
                              <a:pt x="11229" y="1914"/>
                            </a:cubicBezTo>
                            <a:cubicBezTo>
                              <a:pt x="11289" y="1974"/>
                              <a:pt x="11349" y="1974"/>
                              <a:pt x="11408" y="2034"/>
                            </a:cubicBezTo>
                            <a:cubicBezTo>
                              <a:pt x="11468" y="2093"/>
                              <a:pt x="11528" y="2093"/>
                              <a:pt x="11528" y="2153"/>
                            </a:cubicBezTo>
                            <a:cubicBezTo>
                              <a:pt x="11588" y="2213"/>
                              <a:pt x="11648" y="2213"/>
                              <a:pt x="11648" y="2273"/>
                            </a:cubicBezTo>
                            <a:cubicBezTo>
                              <a:pt x="11707" y="2333"/>
                              <a:pt x="11767" y="2392"/>
                              <a:pt x="11767" y="2392"/>
                            </a:cubicBezTo>
                            <a:cubicBezTo>
                              <a:pt x="12006" y="2632"/>
                              <a:pt x="12245" y="2930"/>
                              <a:pt x="12425" y="3289"/>
                            </a:cubicBezTo>
                            <a:cubicBezTo>
                              <a:pt x="12605" y="3588"/>
                              <a:pt x="12724" y="3947"/>
                              <a:pt x="12844" y="4306"/>
                            </a:cubicBezTo>
                            <a:cubicBezTo>
                              <a:pt x="12963" y="4665"/>
                              <a:pt x="13023" y="5024"/>
                              <a:pt x="13023" y="5443"/>
                            </a:cubicBezTo>
                            <a:cubicBezTo>
                              <a:pt x="13023" y="5861"/>
                              <a:pt x="13023" y="6220"/>
                              <a:pt x="12963" y="6639"/>
                            </a:cubicBezTo>
                            <a:cubicBezTo>
                              <a:pt x="12904" y="6938"/>
                              <a:pt x="12844" y="7237"/>
                              <a:pt x="12784" y="7596"/>
                            </a:cubicBezTo>
                            <a:cubicBezTo>
                              <a:pt x="12724" y="7954"/>
                              <a:pt x="12605" y="8194"/>
                              <a:pt x="12485" y="8493"/>
                            </a:cubicBezTo>
                            <a:cubicBezTo>
                              <a:pt x="12365" y="8792"/>
                              <a:pt x="12245" y="9091"/>
                              <a:pt x="12066" y="9390"/>
                            </a:cubicBezTo>
                            <a:cubicBezTo>
                              <a:pt x="11887" y="9689"/>
                              <a:pt x="11707" y="9988"/>
                              <a:pt x="11528" y="10227"/>
                            </a:cubicBezTo>
                            <a:cubicBezTo>
                              <a:pt x="11468" y="10287"/>
                              <a:pt x="11408" y="10406"/>
                              <a:pt x="11349" y="10466"/>
                            </a:cubicBezTo>
                            <a:cubicBezTo>
                              <a:pt x="11289" y="10526"/>
                              <a:pt x="11229" y="10646"/>
                              <a:pt x="11169" y="10705"/>
                            </a:cubicBezTo>
                            <a:cubicBezTo>
                              <a:pt x="11109" y="10765"/>
                              <a:pt x="11050" y="10825"/>
                              <a:pt x="10990" y="10945"/>
                            </a:cubicBezTo>
                            <a:cubicBezTo>
                              <a:pt x="10930" y="11005"/>
                              <a:pt x="10870" y="11064"/>
                              <a:pt x="10810" y="11184"/>
                            </a:cubicBezTo>
                            <a:cubicBezTo>
                              <a:pt x="10810" y="11184"/>
                              <a:pt x="10750" y="11244"/>
                              <a:pt x="10750" y="11244"/>
                            </a:cubicBezTo>
                            <a:cubicBezTo>
                              <a:pt x="10750" y="11244"/>
                              <a:pt x="10691" y="11304"/>
                              <a:pt x="10691" y="11304"/>
                            </a:cubicBezTo>
                            <a:cubicBezTo>
                              <a:pt x="10691" y="11304"/>
                              <a:pt x="10750" y="11304"/>
                              <a:pt x="10691" y="11364"/>
                            </a:cubicBezTo>
                            <a:cubicBezTo>
                              <a:pt x="10691" y="11364"/>
                              <a:pt x="10691" y="11364"/>
                              <a:pt x="10691" y="11364"/>
                            </a:cubicBezTo>
                            <a:moveTo>
                              <a:pt x="2318" y="13397"/>
                            </a:moveTo>
                            <a:cubicBezTo>
                              <a:pt x="2557" y="13576"/>
                              <a:pt x="2856" y="13756"/>
                              <a:pt x="3155" y="13935"/>
                            </a:cubicBezTo>
                            <a:cubicBezTo>
                              <a:pt x="3454" y="14055"/>
                              <a:pt x="3813" y="14174"/>
                              <a:pt x="4112" y="14294"/>
                            </a:cubicBezTo>
                            <a:cubicBezTo>
                              <a:pt x="4471" y="14414"/>
                              <a:pt x="4829" y="14473"/>
                              <a:pt x="5188" y="14473"/>
                            </a:cubicBezTo>
                            <a:cubicBezTo>
                              <a:pt x="5547" y="14533"/>
                              <a:pt x="5966" y="14533"/>
                              <a:pt x="6325" y="14473"/>
                            </a:cubicBezTo>
                            <a:cubicBezTo>
                              <a:pt x="6803" y="14414"/>
                              <a:pt x="7282" y="14354"/>
                              <a:pt x="7700" y="14174"/>
                            </a:cubicBezTo>
                            <a:cubicBezTo>
                              <a:pt x="8119" y="13995"/>
                              <a:pt x="8597" y="13875"/>
                              <a:pt x="9016" y="13636"/>
                            </a:cubicBezTo>
                            <a:cubicBezTo>
                              <a:pt x="9435" y="13397"/>
                              <a:pt x="9853" y="13158"/>
                              <a:pt x="10272" y="12859"/>
                            </a:cubicBezTo>
                            <a:cubicBezTo>
                              <a:pt x="10691" y="12559"/>
                              <a:pt x="11050" y="12260"/>
                              <a:pt x="11408" y="11842"/>
                            </a:cubicBezTo>
                            <a:cubicBezTo>
                              <a:pt x="11468" y="11782"/>
                              <a:pt x="11528" y="11722"/>
                              <a:pt x="11528" y="11722"/>
                            </a:cubicBezTo>
                            <a:cubicBezTo>
                              <a:pt x="11588" y="11662"/>
                              <a:pt x="11648" y="11603"/>
                              <a:pt x="11648" y="11603"/>
                            </a:cubicBezTo>
                            <a:cubicBezTo>
                              <a:pt x="11648" y="11603"/>
                              <a:pt x="11767" y="11483"/>
                              <a:pt x="11767" y="11423"/>
                            </a:cubicBezTo>
                            <a:cubicBezTo>
                              <a:pt x="11827" y="11364"/>
                              <a:pt x="11827" y="11304"/>
                              <a:pt x="11887" y="11244"/>
                            </a:cubicBezTo>
                            <a:cubicBezTo>
                              <a:pt x="11946" y="11184"/>
                              <a:pt x="12006" y="11064"/>
                              <a:pt x="12126" y="11005"/>
                            </a:cubicBezTo>
                            <a:cubicBezTo>
                              <a:pt x="12245" y="10945"/>
                              <a:pt x="12245" y="10825"/>
                              <a:pt x="12305" y="10765"/>
                            </a:cubicBezTo>
                            <a:cubicBezTo>
                              <a:pt x="12365" y="10705"/>
                              <a:pt x="12425" y="10586"/>
                              <a:pt x="12485" y="10466"/>
                            </a:cubicBezTo>
                            <a:cubicBezTo>
                              <a:pt x="12545" y="10347"/>
                              <a:pt x="12605" y="10287"/>
                              <a:pt x="12664" y="10167"/>
                            </a:cubicBezTo>
                            <a:cubicBezTo>
                              <a:pt x="12844" y="9868"/>
                              <a:pt x="13023" y="9629"/>
                              <a:pt x="13143" y="9330"/>
                            </a:cubicBezTo>
                            <a:cubicBezTo>
                              <a:pt x="13262" y="9031"/>
                              <a:pt x="13382" y="8732"/>
                              <a:pt x="13502" y="8433"/>
                            </a:cubicBezTo>
                            <a:cubicBezTo>
                              <a:pt x="13621" y="8134"/>
                              <a:pt x="13681" y="7835"/>
                              <a:pt x="13741" y="7536"/>
                            </a:cubicBezTo>
                            <a:cubicBezTo>
                              <a:pt x="13800" y="7237"/>
                              <a:pt x="13860" y="6938"/>
                              <a:pt x="13920" y="6579"/>
                            </a:cubicBezTo>
                            <a:cubicBezTo>
                              <a:pt x="13980" y="5981"/>
                              <a:pt x="13980" y="5443"/>
                              <a:pt x="13920" y="4904"/>
                            </a:cubicBezTo>
                            <a:cubicBezTo>
                              <a:pt x="13860" y="4366"/>
                              <a:pt x="13741" y="3888"/>
                              <a:pt x="13561" y="3409"/>
                            </a:cubicBezTo>
                            <a:cubicBezTo>
                              <a:pt x="13382" y="2930"/>
                              <a:pt x="13143" y="2512"/>
                              <a:pt x="12844" y="2093"/>
                            </a:cubicBezTo>
                            <a:cubicBezTo>
                              <a:pt x="12545" y="1675"/>
                              <a:pt x="12186" y="1375"/>
                              <a:pt x="11827" y="1076"/>
                            </a:cubicBezTo>
                            <a:cubicBezTo>
                              <a:pt x="11588" y="897"/>
                              <a:pt x="11349" y="778"/>
                              <a:pt x="11109" y="658"/>
                            </a:cubicBezTo>
                            <a:cubicBezTo>
                              <a:pt x="10870" y="538"/>
                              <a:pt x="10631" y="419"/>
                              <a:pt x="10332" y="299"/>
                            </a:cubicBezTo>
                            <a:cubicBezTo>
                              <a:pt x="10033" y="180"/>
                              <a:pt x="9794" y="120"/>
                              <a:pt x="9495" y="60"/>
                            </a:cubicBezTo>
                            <a:cubicBezTo>
                              <a:pt x="9196" y="0"/>
                              <a:pt x="8896" y="0"/>
                              <a:pt x="8597" y="0"/>
                            </a:cubicBezTo>
                            <a:cubicBezTo>
                              <a:pt x="8537" y="0"/>
                              <a:pt x="8478" y="0"/>
                              <a:pt x="8418" y="0"/>
                            </a:cubicBezTo>
                            <a:cubicBezTo>
                              <a:pt x="8358" y="0"/>
                              <a:pt x="8298" y="0"/>
                              <a:pt x="8238" y="0"/>
                            </a:cubicBezTo>
                            <a:cubicBezTo>
                              <a:pt x="8179" y="0"/>
                              <a:pt x="8119" y="0"/>
                              <a:pt x="8059" y="0"/>
                            </a:cubicBezTo>
                            <a:cubicBezTo>
                              <a:pt x="7999" y="0"/>
                              <a:pt x="7939" y="0"/>
                              <a:pt x="7880" y="0"/>
                            </a:cubicBezTo>
                            <a:cubicBezTo>
                              <a:pt x="7880" y="0"/>
                              <a:pt x="7820" y="0"/>
                              <a:pt x="7820" y="0"/>
                            </a:cubicBezTo>
                            <a:cubicBezTo>
                              <a:pt x="7820" y="0"/>
                              <a:pt x="7760" y="0"/>
                              <a:pt x="7760" y="0"/>
                            </a:cubicBezTo>
                            <a:cubicBezTo>
                              <a:pt x="7760" y="0"/>
                              <a:pt x="7700" y="0"/>
                              <a:pt x="7700" y="0"/>
                            </a:cubicBezTo>
                            <a:cubicBezTo>
                              <a:pt x="7700" y="0"/>
                              <a:pt x="7641" y="0"/>
                              <a:pt x="7641" y="0"/>
                            </a:cubicBezTo>
                            <a:cubicBezTo>
                              <a:pt x="7222" y="60"/>
                              <a:pt x="6743" y="120"/>
                              <a:pt x="6325" y="299"/>
                            </a:cubicBezTo>
                            <a:cubicBezTo>
                              <a:pt x="5906" y="479"/>
                              <a:pt x="5428" y="598"/>
                              <a:pt x="5009" y="837"/>
                            </a:cubicBezTo>
                            <a:cubicBezTo>
                              <a:pt x="4590" y="1076"/>
                              <a:pt x="4172" y="1316"/>
                              <a:pt x="3813" y="1615"/>
                            </a:cubicBezTo>
                            <a:cubicBezTo>
                              <a:pt x="3454" y="1914"/>
                              <a:pt x="3035" y="2213"/>
                              <a:pt x="2676" y="2572"/>
                            </a:cubicBezTo>
                            <a:cubicBezTo>
                              <a:pt x="2318" y="2930"/>
                              <a:pt x="1959" y="3349"/>
                              <a:pt x="1660" y="3768"/>
                            </a:cubicBezTo>
                            <a:cubicBezTo>
                              <a:pt x="1361" y="4187"/>
                              <a:pt x="1121" y="4605"/>
                              <a:pt x="882" y="5083"/>
                            </a:cubicBezTo>
                            <a:cubicBezTo>
                              <a:pt x="643" y="5502"/>
                              <a:pt x="464" y="5981"/>
                              <a:pt x="344" y="6459"/>
                            </a:cubicBezTo>
                            <a:cubicBezTo>
                              <a:pt x="224" y="6938"/>
                              <a:pt x="105" y="7416"/>
                              <a:pt x="45" y="7895"/>
                            </a:cubicBezTo>
                            <a:cubicBezTo>
                              <a:pt x="-15" y="8493"/>
                              <a:pt x="-15" y="9031"/>
                              <a:pt x="45" y="9569"/>
                            </a:cubicBezTo>
                            <a:cubicBezTo>
                              <a:pt x="105" y="10107"/>
                              <a:pt x="224" y="10586"/>
                              <a:pt x="464" y="11064"/>
                            </a:cubicBezTo>
                            <a:cubicBezTo>
                              <a:pt x="643" y="11543"/>
                              <a:pt x="882" y="11961"/>
                              <a:pt x="1181" y="12320"/>
                            </a:cubicBezTo>
                            <a:cubicBezTo>
                              <a:pt x="1540" y="12739"/>
                              <a:pt x="1899" y="13098"/>
                              <a:pt x="2318" y="13397"/>
                            </a:cubicBezTo>
                          </a:path>
                        </a:pathLst>
                      </a:custGeom>
                      <a:noFill/>
                      <a:ln w="6350" cap="flat">
                        <a:solidFill>
                          <a:schemeClr val="bg1">
                            <a:alpha val="40000"/>
                          </a:schemeClr>
                        </a:solidFill>
                        <a:prstDash val="solid"/>
                        <a:miter/>
                      </a:ln>
                    </p:spPr>
                    <p:txBody>
                      <a:bodyPr rtlCol="0" anchor="ctr"/>
                      <a:lstStyle/>
                      <a:p>
                        <a:endParaRPr lang="en-GB"/>
                      </a:p>
                    </p:txBody>
                  </p:sp>
                  <p:sp>
                    <p:nvSpPr>
                      <p:cNvPr id="7557" name="Vrije vorm: vorm 7556">
                        <a:extLst>
                          <a:ext uri="{FF2B5EF4-FFF2-40B4-BE49-F238E27FC236}">
                            <a16:creationId xmlns:a16="http://schemas.microsoft.com/office/drawing/2014/main" id="{700B7DB4-F72F-427C-85C6-696A574C6317}"/>
                          </a:ext>
                        </a:extLst>
                      </p:cNvPr>
                      <p:cNvSpPr/>
                      <p:nvPr/>
                    </p:nvSpPr>
                    <p:spPr>
                      <a:xfrm>
                        <a:off x="5198463" y="5195911"/>
                        <a:ext cx="40070" cy="42741"/>
                      </a:xfrm>
                      <a:custGeom>
                        <a:avLst/>
                        <a:gdLst>
                          <a:gd name="connsiteX0" fmla="*/ 7117 w 40070"/>
                          <a:gd name="connsiteY0" fmla="*/ 39174 h 42741"/>
                          <a:gd name="connsiteX1" fmla="*/ 6997 w 40070"/>
                          <a:gd name="connsiteY1" fmla="*/ 39054 h 42741"/>
                          <a:gd name="connsiteX2" fmla="*/ 6878 w 40070"/>
                          <a:gd name="connsiteY2" fmla="*/ 38935 h 42741"/>
                          <a:gd name="connsiteX3" fmla="*/ 6758 w 40070"/>
                          <a:gd name="connsiteY3" fmla="*/ 38815 h 42741"/>
                          <a:gd name="connsiteX4" fmla="*/ 6639 w 40070"/>
                          <a:gd name="connsiteY4" fmla="*/ 38695 h 42741"/>
                          <a:gd name="connsiteX5" fmla="*/ 6519 w 40070"/>
                          <a:gd name="connsiteY5" fmla="*/ 38576 h 42741"/>
                          <a:gd name="connsiteX6" fmla="*/ 6399 w 40070"/>
                          <a:gd name="connsiteY6" fmla="*/ 38456 h 42741"/>
                          <a:gd name="connsiteX7" fmla="*/ 6280 w 40070"/>
                          <a:gd name="connsiteY7" fmla="*/ 38336 h 42741"/>
                          <a:gd name="connsiteX8" fmla="*/ 6160 w 40070"/>
                          <a:gd name="connsiteY8" fmla="*/ 38217 h 42741"/>
                          <a:gd name="connsiteX9" fmla="*/ 4246 w 40070"/>
                          <a:gd name="connsiteY9" fmla="*/ 36123 h 42741"/>
                          <a:gd name="connsiteX10" fmla="*/ 2751 w 40070"/>
                          <a:gd name="connsiteY10" fmla="*/ 33612 h 42741"/>
                          <a:gd name="connsiteX11" fmla="*/ 1734 w 40070"/>
                          <a:gd name="connsiteY11" fmla="*/ 30741 h 42741"/>
                          <a:gd name="connsiteX12" fmla="*/ 1196 w 40070"/>
                          <a:gd name="connsiteY12" fmla="*/ 27571 h 42741"/>
                          <a:gd name="connsiteX13" fmla="*/ 1196 w 40070"/>
                          <a:gd name="connsiteY13" fmla="*/ 27332 h 42741"/>
                          <a:gd name="connsiteX14" fmla="*/ 1196 w 40070"/>
                          <a:gd name="connsiteY14" fmla="*/ 27092 h 42741"/>
                          <a:gd name="connsiteX15" fmla="*/ 1196 w 40070"/>
                          <a:gd name="connsiteY15" fmla="*/ 26853 h 42741"/>
                          <a:gd name="connsiteX16" fmla="*/ 1196 w 40070"/>
                          <a:gd name="connsiteY16" fmla="*/ 26614 h 42741"/>
                          <a:gd name="connsiteX17" fmla="*/ 1196 w 40070"/>
                          <a:gd name="connsiteY17" fmla="*/ 25777 h 42741"/>
                          <a:gd name="connsiteX18" fmla="*/ 1256 w 40070"/>
                          <a:gd name="connsiteY18" fmla="*/ 24940 h 42741"/>
                          <a:gd name="connsiteX19" fmla="*/ 1316 w 40070"/>
                          <a:gd name="connsiteY19" fmla="*/ 24102 h 42741"/>
                          <a:gd name="connsiteX20" fmla="*/ 1435 w 40070"/>
                          <a:gd name="connsiteY20" fmla="*/ 23265 h 42741"/>
                          <a:gd name="connsiteX21" fmla="*/ 1794 w 40070"/>
                          <a:gd name="connsiteY21" fmla="*/ 21411 h 42741"/>
                          <a:gd name="connsiteX22" fmla="*/ 2273 w 40070"/>
                          <a:gd name="connsiteY22" fmla="*/ 19617 h 42741"/>
                          <a:gd name="connsiteX23" fmla="*/ 2871 w 40070"/>
                          <a:gd name="connsiteY23" fmla="*/ 17822 h 42741"/>
                          <a:gd name="connsiteX24" fmla="*/ 3588 w 40070"/>
                          <a:gd name="connsiteY24" fmla="*/ 16088 h 42741"/>
                          <a:gd name="connsiteX25" fmla="*/ 3708 w 40070"/>
                          <a:gd name="connsiteY25" fmla="*/ 15849 h 42741"/>
                          <a:gd name="connsiteX26" fmla="*/ 3828 w 40070"/>
                          <a:gd name="connsiteY26" fmla="*/ 15610 h 42741"/>
                          <a:gd name="connsiteX27" fmla="*/ 3947 w 40070"/>
                          <a:gd name="connsiteY27" fmla="*/ 15370 h 42741"/>
                          <a:gd name="connsiteX28" fmla="*/ 4067 w 40070"/>
                          <a:gd name="connsiteY28" fmla="*/ 15131 h 42741"/>
                          <a:gd name="connsiteX29" fmla="*/ 5442 w 40070"/>
                          <a:gd name="connsiteY29" fmla="*/ 12739 h 42741"/>
                          <a:gd name="connsiteX30" fmla="*/ 7057 w 40070"/>
                          <a:gd name="connsiteY30" fmla="*/ 10526 h 42741"/>
                          <a:gd name="connsiteX31" fmla="*/ 8851 w 40070"/>
                          <a:gd name="connsiteY31" fmla="*/ 8493 h 42741"/>
                          <a:gd name="connsiteX32" fmla="*/ 10825 w 40070"/>
                          <a:gd name="connsiteY32" fmla="*/ 6639 h 42741"/>
                          <a:gd name="connsiteX33" fmla="*/ 11184 w 40070"/>
                          <a:gd name="connsiteY33" fmla="*/ 6340 h 42741"/>
                          <a:gd name="connsiteX34" fmla="*/ 11543 w 40070"/>
                          <a:gd name="connsiteY34" fmla="*/ 6041 h 42741"/>
                          <a:gd name="connsiteX35" fmla="*/ 11902 w 40070"/>
                          <a:gd name="connsiteY35" fmla="*/ 5742 h 42741"/>
                          <a:gd name="connsiteX36" fmla="*/ 12260 w 40070"/>
                          <a:gd name="connsiteY36" fmla="*/ 5442 h 42741"/>
                          <a:gd name="connsiteX37" fmla="*/ 14832 w 40070"/>
                          <a:gd name="connsiteY37" fmla="*/ 3768 h 42741"/>
                          <a:gd name="connsiteX38" fmla="*/ 17583 w 40070"/>
                          <a:gd name="connsiteY38" fmla="*/ 2452 h 42741"/>
                          <a:gd name="connsiteX39" fmla="*/ 20394 w 40070"/>
                          <a:gd name="connsiteY39" fmla="*/ 1555 h 42741"/>
                          <a:gd name="connsiteX40" fmla="*/ 23265 w 40070"/>
                          <a:gd name="connsiteY40" fmla="*/ 1076 h 42741"/>
                          <a:gd name="connsiteX41" fmla="*/ 24342 w 40070"/>
                          <a:gd name="connsiteY41" fmla="*/ 1017 h 42741"/>
                          <a:gd name="connsiteX42" fmla="*/ 25418 w 40070"/>
                          <a:gd name="connsiteY42" fmla="*/ 1017 h 42741"/>
                          <a:gd name="connsiteX43" fmla="*/ 26435 w 40070"/>
                          <a:gd name="connsiteY43" fmla="*/ 1076 h 42741"/>
                          <a:gd name="connsiteX44" fmla="*/ 27452 w 40070"/>
                          <a:gd name="connsiteY44" fmla="*/ 1196 h 42741"/>
                          <a:gd name="connsiteX45" fmla="*/ 27751 w 40070"/>
                          <a:gd name="connsiteY45" fmla="*/ 1256 h 42741"/>
                          <a:gd name="connsiteX46" fmla="*/ 28050 w 40070"/>
                          <a:gd name="connsiteY46" fmla="*/ 1316 h 42741"/>
                          <a:gd name="connsiteX47" fmla="*/ 28349 w 40070"/>
                          <a:gd name="connsiteY47" fmla="*/ 1375 h 42741"/>
                          <a:gd name="connsiteX48" fmla="*/ 28648 w 40070"/>
                          <a:gd name="connsiteY48" fmla="*/ 1435 h 42741"/>
                          <a:gd name="connsiteX49" fmla="*/ 29963 w 40070"/>
                          <a:gd name="connsiteY49" fmla="*/ 1854 h 42741"/>
                          <a:gd name="connsiteX50" fmla="*/ 31219 w 40070"/>
                          <a:gd name="connsiteY50" fmla="*/ 2392 h 42741"/>
                          <a:gd name="connsiteX51" fmla="*/ 32415 w 40070"/>
                          <a:gd name="connsiteY51" fmla="*/ 3050 h 42741"/>
                          <a:gd name="connsiteX52" fmla="*/ 33552 w 40070"/>
                          <a:gd name="connsiteY52" fmla="*/ 3828 h 42741"/>
                          <a:gd name="connsiteX53" fmla="*/ 33671 w 40070"/>
                          <a:gd name="connsiteY53" fmla="*/ 3888 h 42741"/>
                          <a:gd name="connsiteX54" fmla="*/ 33791 w 40070"/>
                          <a:gd name="connsiteY54" fmla="*/ 3947 h 42741"/>
                          <a:gd name="connsiteX55" fmla="*/ 33911 w 40070"/>
                          <a:gd name="connsiteY55" fmla="*/ 4007 h 42741"/>
                          <a:gd name="connsiteX56" fmla="*/ 34030 w 40070"/>
                          <a:gd name="connsiteY56" fmla="*/ 4067 h 42741"/>
                          <a:gd name="connsiteX57" fmla="*/ 34090 w 40070"/>
                          <a:gd name="connsiteY57" fmla="*/ 4127 h 42741"/>
                          <a:gd name="connsiteX58" fmla="*/ 34150 w 40070"/>
                          <a:gd name="connsiteY58" fmla="*/ 4187 h 42741"/>
                          <a:gd name="connsiteX59" fmla="*/ 34210 w 40070"/>
                          <a:gd name="connsiteY59" fmla="*/ 4246 h 42741"/>
                          <a:gd name="connsiteX60" fmla="*/ 34269 w 40070"/>
                          <a:gd name="connsiteY60" fmla="*/ 4306 h 42741"/>
                          <a:gd name="connsiteX61" fmla="*/ 35406 w 40070"/>
                          <a:gd name="connsiteY61" fmla="*/ 5442 h 42741"/>
                          <a:gd name="connsiteX62" fmla="*/ 36423 w 40070"/>
                          <a:gd name="connsiteY62" fmla="*/ 6698 h 42741"/>
                          <a:gd name="connsiteX63" fmla="*/ 37320 w 40070"/>
                          <a:gd name="connsiteY63" fmla="*/ 8074 h 42741"/>
                          <a:gd name="connsiteX64" fmla="*/ 38037 w 40070"/>
                          <a:gd name="connsiteY64" fmla="*/ 9569 h 42741"/>
                          <a:gd name="connsiteX65" fmla="*/ 38097 w 40070"/>
                          <a:gd name="connsiteY65" fmla="*/ 9749 h 42741"/>
                          <a:gd name="connsiteX66" fmla="*/ 38157 w 40070"/>
                          <a:gd name="connsiteY66" fmla="*/ 9988 h 42741"/>
                          <a:gd name="connsiteX67" fmla="*/ 38217 w 40070"/>
                          <a:gd name="connsiteY67" fmla="*/ 10227 h 42741"/>
                          <a:gd name="connsiteX68" fmla="*/ 38277 w 40070"/>
                          <a:gd name="connsiteY68" fmla="*/ 10466 h 42741"/>
                          <a:gd name="connsiteX69" fmla="*/ 38815 w 40070"/>
                          <a:gd name="connsiteY69" fmla="*/ 12320 h 42741"/>
                          <a:gd name="connsiteX70" fmla="*/ 39174 w 40070"/>
                          <a:gd name="connsiteY70" fmla="*/ 14294 h 42741"/>
                          <a:gd name="connsiteX71" fmla="*/ 39293 w 40070"/>
                          <a:gd name="connsiteY71" fmla="*/ 16387 h 42741"/>
                          <a:gd name="connsiteX72" fmla="*/ 39174 w 40070"/>
                          <a:gd name="connsiteY72" fmla="*/ 18540 h 42741"/>
                          <a:gd name="connsiteX73" fmla="*/ 39174 w 40070"/>
                          <a:gd name="connsiteY73" fmla="*/ 18780 h 42741"/>
                          <a:gd name="connsiteX74" fmla="*/ 39114 w 40070"/>
                          <a:gd name="connsiteY74" fmla="*/ 19019 h 42741"/>
                          <a:gd name="connsiteX75" fmla="*/ 39054 w 40070"/>
                          <a:gd name="connsiteY75" fmla="*/ 19258 h 42741"/>
                          <a:gd name="connsiteX76" fmla="*/ 38994 w 40070"/>
                          <a:gd name="connsiteY76" fmla="*/ 19497 h 42741"/>
                          <a:gd name="connsiteX77" fmla="*/ 38994 w 40070"/>
                          <a:gd name="connsiteY77" fmla="*/ 19557 h 42741"/>
                          <a:gd name="connsiteX78" fmla="*/ 38994 w 40070"/>
                          <a:gd name="connsiteY78" fmla="*/ 19617 h 42741"/>
                          <a:gd name="connsiteX79" fmla="*/ 38994 w 40070"/>
                          <a:gd name="connsiteY79" fmla="*/ 19676 h 42741"/>
                          <a:gd name="connsiteX80" fmla="*/ 38994 w 40070"/>
                          <a:gd name="connsiteY80" fmla="*/ 19736 h 42741"/>
                          <a:gd name="connsiteX81" fmla="*/ 38037 w 40070"/>
                          <a:gd name="connsiteY81" fmla="*/ 23684 h 42741"/>
                          <a:gd name="connsiteX82" fmla="*/ 36423 w 40070"/>
                          <a:gd name="connsiteY82" fmla="*/ 27511 h 42741"/>
                          <a:gd name="connsiteX83" fmla="*/ 34210 w 40070"/>
                          <a:gd name="connsiteY83" fmla="*/ 31100 h 42741"/>
                          <a:gd name="connsiteX84" fmla="*/ 31459 w 40070"/>
                          <a:gd name="connsiteY84" fmla="*/ 34329 h 42741"/>
                          <a:gd name="connsiteX85" fmla="*/ 28229 w 40070"/>
                          <a:gd name="connsiteY85" fmla="*/ 37140 h 42741"/>
                          <a:gd name="connsiteX86" fmla="*/ 24760 w 40070"/>
                          <a:gd name="connsiteY86" fmla="*/ 39293 h 42741"/>
                          <a:gd name="connsiteX87" fmla="*/ 21112 w 40070"/>
                          <a:gd name="connsiteY87" fmla="*/ 40789 h 42741"/>
                          <a:gd name="connsiteX88" fmla="*/ 17344 w 40070"/>
                          <a:gd name="connsiteY88" fmla="*/ 41566 h 42741"/>
                          <a:gd name="connsiteX89" fmla="*/ 14473 w 40070"/>
                          <a:gd name="connsiteY89" fmla="*/ 41626 h 42741"/>
                          <a:gd name="connsiteX90" fmla="*/ 11782 w 40070"/>
                          <a:gd name="connsiteY90" fmla="*/ 41207 h 42741"/>
                          <a:gd name="connsiteX91" fmla="*/ 9330 w 40070"/>
                          <a:gd name="connsiteY91" fmla="*/ 40370 h 42741"/>
                          <a:gd name="connsiteX92" fmla="*/ 7117 w 40070"/>
                          <a:gd name="connsiteY92" fmla="*/ 39174 h 42741"/>
                          <a:gd name="connsiteX93" fmla="*/ 5921 w 40070"/>
                          <a:gd name="connsiteY93" fmla="*/ 39652 h 42741"/>
                          <a:gd name="connsiteX94" fmla="*/ 8373 w 40070"/>
                          <a:gd name="connsiteY94" fmla="*/ 41207 h 42741"/>
                          <a:gd name="connsiteX95" fmla="*/ 11064 w 40070"/>
                          <a:gd name="connsiteY95" fmla="*/ 42224 h 42741"/>
                          <a:gd name="connsiteX96" fmla="*/ 13995 w 40070"/>
                          <a:gd name="connsiteY96" fmla="*/ 42702 h 42741"/>
                          <a:gd name="connsiteX97" fmla="*/ 17165 w 40070"/>
                          <a:gd name="connsiteY97" fmla="*/ 42643 h 42741"/>
                          <a:gd name="connsiteX98" fmla="*/ 21112 w 40070"/>
                          <a:gd name="connsiteY98" fmla="*/ 41865 h 42741"/>
                          <a:gd name="connsiteX99" fmla="*/ 24940 w 40070"/>
                          <a:gd name="connsiteY99" fmla="*/ 40310 h 42741"/>
                          <a:gd name="connsiteX100" fmla="*/ 28588 w 40070"/>
                          <a:gd name="connsiteY100" fmla="*/ 38037 h 42741"/>
                          <a:gd name="connsiteX101" fmla="*/ 31937 w 40070"/>
                          <a:gd name="connsiteY101" fmla="*/ 35107 h 42741"/>
                          <a:gd name="connsiteX102" fmla="*/ 34868 w 40070"/>
                          <a:gd name="connsiteY102" fmla="*/ 31698 h 42741"/>
                          <a:gd name="connsiteX103" fmla="*/ 37200 w 40070"/>
                          <a:gd name="connsiteY103" fmla="*/ 27930 h 42741"/>
                          <a:gd name="connsiteX104" fmla="*/ 38875 w 40070"/>
                          <a:gd name="connsiteY104" fmla="*/ 23923 h 42741"/>
                          <a:gd name="connsiteX105" fmla="*/ 39891 w 40070"/>
                          <a:gd name="connsiteY105" fmla="*/ 19736 h 42741"/>
                          <a:gd name="connsiteX106" fmla="*/ 39891 w 40070"/>
                          <a:gd name="connsiteY106" fmla="*/ 19617 h 42741"/>
                          <a:gd name="connsiteX107" fmla="*/ 39891 w 40070"/>
                          <a:gd name="connsiteY107" fmla="*/ 19497 h 42741"/>
                          <a:gd name="connsiteX108" fmla="*/ 39891 w 40070"/>
                          <a:gd name="connsiteY108" fmla="*/ 19377 h 42741"/>
                          <a:gd name="connsiteX109" fmla="*/ 39891 w 40070"/>
                          <a:gd name="connsiteY109" fmla="*/ 19258 h 42741"/>
                          <a:gd name="connsiteX110" fmla="*/ 39951 w 40070"/>
                          <a:gd name="connsiteY110" fmla="*/ 18959 h 42741"/>
                          <a:gd name="connsiteX111" fmla="*/ 40011 w 40070"/>
                          <a:gd name="connsiteY111" fmla="*/ 18660 h 42741"/>
                          <a:gd name="connsiteX112" fmla="*/ 40011 w 40070"/>
                          <a:gd name="connsiteY112" fmla="*/ 18361 h 42741"/>
                          <a:gd name="connsiteX113" fmla="*/ 40011 w 40070"/>
                          <a:gd name="connsiteY113" fmla="*/ 18062 h 42741"/>
                          <a:gd name="connsiteX114" fmla="*/ 40071 w 40070"/>
                          <a:gd name="connsiteY114" fmla="*/ 15909 h 42741"/>
                          <a:gd name="connsiteX115" fmla="*/ 39891 w 40070"/>
                          <a:gd name="connsiteY115" fmla="*/ 13875 h 42741"/>
                          <a:gd name="connsiteX116" fmla="*/ 39532 w 40070"/>
                          <a:gd name="connsiteY116" fmla="*/ 11902 h 42741"/>
                          <a:gd name="connsiteX117" fmla="*/ 38994 w 40070"/>
                          <a:gd name="connsiteY117" fmla="*/ 10048 h 42741"/>
                          <a:gd name="connsiteX118" fmla="*/ 38935 w 40070"/>
                          <a:gd name="connsiteY118" fmla="*/ 9808 h 42741"/>
                          <a:gd name="connsiteX119" fmla="*/ 38875 w 40070"/>
                          <a:gd name="connsiteY119" fmla="*/ 9569 h 42741"/>
                          <a:gd name="connsiteX120" fmla="*/ 38815 w 40070"/>
                          <a:gd name="connsiteY120" fmla="*/ 9330 h 42741"/>
                          <a:gd name="connsiteX121" fmla="*/ 38755 w 40070"/>
                          <a:gd name="connsiteY121" fmla="*/ 9150 h 42741"/>
                          <a:gd name="connsiteX122" fmla="*/ 38037 w 40070"/>
                          <a:gd name="connsiteY122" fmla="*/ 7655 h 42741"/>
                          <a:gd name="connsiteX123" fmla="*/ 37200 w 40070"/>
                          <a:gd name="connsiteY123" fmla="*/ 6280 h 42741"/>
                          <a:gd name="connsiteX124" fmla="*/ 36183 w 40070"/>
                          <a:gd name="connsiteY124" fmla="*/ 5024 h 42741"/>
                          <a:gd name="connsiteX125" fmla="*/ 35047 w 40070"/>
                          <a:gd name="connsiteY125" fmla="*/ 3888 h 42741"/>
                          <a:gd name="connsiteX126" fmla="*/ 34928 w 40070"/>
                          <a:gd name="connsiteY126" fmla="*/ 3768 h 42741"/>
                          <a:gd name="connsiteX127" fmla="*/ 34808 w 40070"/>
                          <a:gd name="connsiteY127" fmla="*/ 3648 h 42741"/>
                          <a:gd name="connsiteX128" fmla="*/ 34688 w 40070"/>
                          <a:gd name="connsiteY128" fmla="*/ 3528 h 42741"/>
                          <a:gd name="connsiteX129" fmla="*/ 34569 w 40070"/>
                          <a:gd name="connsiteY129" fmla="*/ 3409 h 42741"/>
                          <a:gd name="connsiteX130" fmla="*/ 34509 w 40070"/>
                          <a:gd name="connsiteY130" fmla="*/ 3349 h 42741"/>
                          <a:gd name="connsiteX131" fmla="*/ 34449 w 40070"/>
                          <a:gd name="connsiteY131" fmla="*/ 3289 h 42741"/>
                          <a:gd name="connsiteX132" fmla="*/ 34389 w 40070"/>
                          <a:gd name="connsiteY132" fmla="*/ 3229 h 42741"/>
                          <a:gd name="connsiteX133" fmla="*/ 34329 w 40070"/>
                          <a:gd name="connsiteY133" fmla="*/ 3170 h 42741"/>
                          <a:gd name="connsiteX134" fmla="*/ 33253 w 40070"/>
                          <a:gd name="connsiteY134" fmla="*/ 2392 h 42741"/>
                          <a:gd name="connsiteX135" fmla="*/ 32116 w 40070"/>
                          <a:gd name="connsiteY135" fmla="*/ 1734 h 42741"/>
                          <a:gd name="connsiteX136" fmla="*/ 30860 w 40070"/>
                          <a:gd name="connsiteY136" fmla="*/ 1136 h 42741"/>
                          <a:gd name="connsiteX137" fmla="*/ 29545 w 40070"/>
                          <a:gd name="connsiteY137" fmla="*/ 658 h 42741"/>
                          <a:gd name="connsiteX138" fmla="*/ 29306 w 40070"/>
                          <a:gd name="connsiteY138" fmla="*/ 598 h 42741"/>
                          <a:gd name="connsiteX139" fmla="*/ 29006 w 40070"/>
                          <a:gd name="connsiteY139" fmla="*/ 538 h 42741"/>
                          <a:gd name="connsiteX140" fmla="*/ 28707 w 40070"/>
                          <a:gd name="connsiteY140" fmla="*/ 479 h 42741"/>
                          <a:gd name="connsiteX141" fmla="*/ 28408 w 40070"/>
                          <a:gd name="connsiteY141" fmla="*/ 419 h 42741"/>
                          <a:gd name="connsiteX142" fmla="*/ 27152 w 40070"/>
                          <a:gd name="connsiteY142" fmla="*/ 179 h 42741"/>
                          <a:gd name="connsiteX143" fmla="*/ 25837 w 40070"/>
                          <a:gd name="connsiteY143" fmla="*/ 60 h 42741"/>
                          <a:gd name="connsiteX144" fmla="*/ 24521 w 40070"/>
                          <a:gd name="connsiteY144" fmla="*/ 0 h 42741"/>
                          <a:gd name="connsiteX145" fmla="*/ 23145 w 40070"/>
                          <a:gd name="connsiteY145" fmla="*/ 60 h 42741"/>
                          <a:gd name="connsiteX146" fmla="*/ 19736 w 40070"/>
                          <a:gd name="connsiteY146" fmla="*/ 658 h 42741"/>
                          <a:gd name="connsiteX147" fmla="*/ 16447 w 40070"/>
                          <a:gd name="connsiteY147" fmla="*/ 1794 h 42741"/>
                          <a:gd name="connsiteX148" fmla="*/ 13277 w 40070"/>
                          <a:gd name="connsiteY148" fmla="*/ 3469 h 42741"/>
                          <a:gd name="connsiteX149" fmla="*/ 10347 w 40070"/>
                          <a:gd name="connsiteY149" fmla="*/ 5562 h 42741"/>
                          <a:gd name="connsiteX150" fmla="*/ 10048 w 40070"/>
                          <a:gd name="connsiteY150" fmla="*/ 5861 h 42741"/>
                          <a:gd name="connsiteX151" fmla="*/ 9749 w 40070"/>
                          <a:gd name="connsiteY151" fmla="*/ 6160 h 42741"/>
                          <a:gd name="connsiteX152" fmla="*/ 9450 w 40070"/>
                          <a:gd name="connsiteY152" fmla="*/ 6459 h 42741"/>
                          <a:gd name="connsiteX153" fmla="*/ 9151 w 40070"/>
                          <a:gd name="connsiteY153" fmla="*/ 6758 h 42741"/>
                          <a:gd name="connsiteX154" fmla="*/ 7296 w 40070"/>
                          <a:gd name="connsiteY154" fmla="*/ 8612 h 42741"/>
                          <a:gd name="connsiteX155" fmla="*/ 5622 w 40070"/>
                          <a:gd name="connsiteY155" fmla="*/ 10645 h 42741"/>
                          <a:gd name="connsiteX156" fmla="*/ 4127 w 40070"/>
                          <a:gd name="connsiteY156" fmla="*/ 12859 h 42741"/>
                          <a:gd name="connsiteX157" fmla="*/ 2811 w 40070"/>
                          <a:gd name="connsiteY157" fmla="*/ 15191 h 42741"/>
                          <a:gd name="connsiteX158" fmla="*/ 2691 w 40070"/>
                          <a:gd name="connsiteY158" fmla="*/ 15430 h 42741"/>
                          <a:gd name="connsiteX159" fmla="*/ 2572 w 40070"/>
                          <a:gd name="connsiteY159" fmla="*/ 15669 h 42741"/>
                          <a:gd name="connsiteX160" fmla="*/ 2452 w 40070"/>
                          <a:gd name="connsiteY160" fmla="*/ 15909 h 42741"/>
                          <a:gd name="connsiteX161" fmla="*/ 2333 w 40070"/>
                          <a:gd name="connsiteY161" fmla="*/ 16148 h 42741"/>
                          <a:gd name="connsiteX162" fmla="*/ 1615 w 40070"/>
                          <a:gd name="connsiteY162" fmla="*/ 17882 h 42741"/>
                          <a:gd name="connsiteX163" fmla="*/ 1017 w 40070"/>
                          <a:gd name="connsiteY163" fmla="*/ 19676 h 42741"/>
                          <a:gd name="connsiteX164" fmla="*/ 538 w 40070"/>
                          <a:gd name="connsiteY164" fmla="*/ 21471 h 42741"/>
                          <a:gd name="connsiteX165" fmla="*/ 239 w 40070"/>
                          <a:gd name="connsiteY165" fmla="*/ 23325 h 42741"/>
                          <a:gd name="connsiteX166" fmla="*/ 120 w 40070"/>
                          <a:gd name="connsiteY166" fmla="*/ 24162 h 42741"/>
                          <a:gd name="connsiteX167" fmla="*/ 60 w 40070"/>
                          <a:gd name="connsiteY167" fmla="*/ 24999 h 42741"/>
                          <a:gd name="connsiteX168" fmla="*/ 0 w 40070"/>
                          <a:gd name="connsiteY168" fmla="*/ 25837 h 42741"/>
                          <a:gd name="connsiteX169" fmla="*/ 0 w 40070"/>
                          <a:gd name="connsiteY169" fmla="*/ 26674 h 42741"/>
                          <a:gd name="connsiteX170" fmla="*/ 0 w 40070"/>
                          <a:gd name="connsiteY170" fmla="*/ 26913 h 42741"/>
                          <a:gd name="connsiteX171" fmla="*/ 0 w 40070"/>
                          <a:gd name="connsiteY171" fmla="*/ 27152 h 42741"/>
                          <a:gd name="connsiteX172" fmla="*/ 0 w 40070"/>
                          <a:gd name="connsiteY172" fmla="*/ 27392 h 42741"/>
                          <a:gd name="connsiteX173" fmla="*/ 0 w 40070"/>
                          <a:gd name="connsiteY173" fmla="*/ 27631 h 42741"/>
                          <a:gd name="connsiteX174" fmla="*/ 359 w 40070"/>
                          <a:gd name="connsiteY174" fmla="*/ 30502 h 42741"/>
                          <a:gd name="connsiteX175" fmla="*/ 1136 w 40070"/>
                          <a:gd name="connsiteY175" fmla="*/ 33193 h 42741"/>
                          <a:gd name="connsiteX176" fmla="*/ 2333 w 40070"/>
                          <a:gd name="connsiteY176" fmla="*/ 35645 h 42741"/>
                          <a:gd name="connsiteX177" fmla="*/ 3888 w 40070"/>
                          <a:gd name="connsiteY177" fmla="*/ 37798 h 42741"/>
                          <a:gd name="connsiteX178" fmla="*/ 4007 w 40070"/>
                          <a:gd name="connsiteY178" fmla="*/ 37977 h 42741"/>
                          <a:gd name="connsiteX179" fmla="*/ 4127 w 40070"/>
                          <a:gd name="connsiteY179" fmla="*/ 38097 h 42741"/>
                          <a:gd name="connsiteX180" fmla="*/ 4246 w 40070"/>
                          <a:gd name="connsiteY180" fmla="*/ 38217 h 42741"/>
                          <a:gd name="connsiteX181" fmla="*/ 4366 w 40070"/>
                          <a:gd name="connsiteY181" fmla="*/ 38336 h 42741"/>
                          <a:gd name="connsiteX182" fmla="*/ 4605 w 40070"/>
                          <a:gd name="connsiteY182" fmla="*/ 38576 h 42741"/>
                          <a:gd name="connsiteX183" fmla="*/ 4844 w 40070"/>
                          <a:gd name="connsiteY183" fmla="*/ 38815 h 42741"/>
                          <a:gd name="connsiteX184" fmla="*/ 5083 w 40070"/>
                          <a:gd name="connsiteY184" fmla="*/ 39054 h 42741"/>
                          <a:gd name="connsiteX185" fmla="*/ 5323 w 40070"/>
                          <a:gd name="connsiteY185" fmla="*/ 39293 h 42741"/>
                          <a:gd name="connsiteX186" fmla="*/ 5442 w 40070"/>
                          <a:gd name="connsiteY186" fmla="*/ 39353 h 42741"/>
                          <a:gd name="connsiteX187" fmla="*/ 5562 w 40070"/>
                          <a:gd name="connsiteY187" fmla="*/ 39413 h 42741"/>
                          <a:gd name="connsiteX188" fmla="*/ 5682 w 40070"/>
                          <a:gd name="connsiteY188" fmla="*/ 39473 h 42741"/>
                          <a:gd name="connsiteX189" fmla="*/ 5921 w 40070"/>
                          <a:gd name="connsiteY189" fmla="*/ 39652 h 4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40070" h="42741">
                            <a:moveTo>
                              <a:pt x="7117" y="39174"/>
                            </a:moveTo>
                            <a:cubicBezTo>
                              <a:pt x="7057" y="39114"/>
                              <a:pt x="6997" y="39114"/>
                              <a:pt x="6997" y="39054"/>
                            </a:cubicBezTo>
                            <a:cubicBezTo>
                              <a:pt x="6937" y="38994"/>
                              <a:pt x="6878" y="38994"/>
                              <a:pt x="6878" y="38935"/>
                            </a:cubicBezTo>
                            <a:cubicBezTo>
                              <a:pt x="6878" y="38875"/>
                              <a:pt x="6758" y="38875"/>
                              <a:pt x="6758" y="38815"/>
                            </a:cubicBezTo>
                            <a:cubicBezTo>
                              <a:pt x="6698" y="38755"/>
                              <a:pt x="6698" y="38755"/>
                              <a:pt x="6639" y="38695"/>
                            </a:cubicBezTo>
                            <a:cubicBezTo>
                              <a:pt x="6579" y="38636"/>
                              <a:pt x="6519" y="38636"/>
                              <a:pt x="6519" y="38576"/>
                            </a:cubicBezTo>
                            <a:cubicBezTo>
                              <a:pt x="6459" y="38516"/>
                              <a:pt x="6399" y="38516"/>
                              <a:pt x="6399" y="38456"/>
                            </a:cubicBezTo>
                            <a:cubicBezTo>
                              <a:pt x="6340" y="38396"/>
                              <a:pt x="6280" y="38396"/>
                              <a:pt x="6280" y="38336"/>
                            </a:cubicBezTo>
                            <a:cubicBezTo>
                              <a:pt x="6280" y="38277"/>
                              <a:pt x="6160" y="38277"/>
                              <a:pt x="6160" y="38217"/>
                            </a:cubicBezTo>
                            <a:cubicBezTo>
                              <a:pt x="5442" y="37619"/>
                              <a:pt x="4785" y="36901"/>
                              <a:pt x="4246" y="36123"/>
                            </a:cubicBezTo>
                            <a:cubicBezTo>
                              <a:pt x="3648" y="35346"/>
                              <a:pt x="3170" y="34509"/>
                              <a:pt x="2751" y="33612"/>
                            </a:cubicBezTo>
                            <a:cubicBezTo>
                              <a:pt x="2333" y="32714"/>
                              <a:pt x="1974" y="31758"/>
                              <a:pt x="1734" y="30741"/>
                            </a:cubicBezTo>
                            <a:cubicBezTo>
                              <a:pt x="1495" y="29724"/>
                              <a:pt x="1316" y="28648"/>
                              <a:pt x="1196" y="27571"/>
                            </a:cubicBezTo>
                            <a:cubicBezTo>
                              <a:pt x="1196" y="27511"/>
                              <a:pt x="1196" y="27392"/>
                              <a:pt x="1196" y="27332"/>
                            </a:cubicBezTo>
                            <a:cubicBezTo>
                              <a:pt x="1196" y="27272"/>
                              <a:pt x="1196" y="27152"/>
                              <a:pt x="1196" y="27092"/>
                            </a:cubicBezTo>
                            <a:cubicBezTo>
                              <a:pt x="1196" y="27033"/>
                              <a:pt x="1196" y="26913"/>
                              <a:pt x="1196" y="26853"/>
                            </a:cubicBezTo>
                            <a:cubicBezTo>
                              <a:pt x="1196" y="26794"/>
                              <a:pt x="1196" y="26674"/>
                              <a:pt x="1196" y="26614"/>
                            </a:cubicBezTo>
                            <a:cubicBezTo>
                              <a:pt x="1196" y="26315"/>
                              <a:pt x="1196" y="26076"/>
                              <a:pt x="1196" y="25777"/>
                            </a:cubicBezTo>
                            <a:cubicBezTo>
                              <a:pt x="1196" y="25478"/>
                              <a:pt x="1196" y="25238"/>
                              <a:pt x="1256" y="24940"/>
                            </a:cubicBezTo>
                            <a:cubicBezTo>
                              <a:pt x="1316" y="24641"/>
                              <a:pt x="1316" y="24401"/>
                              <a:pt x="1316" y="24102"/>
                            </a:cubicBezTo>
                            <a:cubicBezTo>
                              <a:pt x="1316" y="23803"/>
                              <a:pt x="1375" y="23504"/>
                              <a:pt x="1435" y="23265"/>
                            </a:cubicBezTo>
                            <a:cubicBezTo>
                              <a:pt x="1495" y="22667"/>
                              <a:pt x="1615" y="22009"/>
                              <a:pt x="1794" y="21411"/>
                            </a:cubicBezTo>
                            <a:cubicBezTo>
                              <a:pt x="1974" y="20813"/>
                              <a:pt x="2093" y="20215"/>
                              <a:pt x="2273" y="19617"/>
                            </a:cubicBezTo>
                            <a:cubicBezTo>
                              <a:pt x="2452" y="19019"/>
                              <a:pt x="2632" y="18421"/>
                              <a:pt x="2871" y="17822"/>
                            </a:cubicBezTo>
                            <a:cubicBezTo>
                              <a:pt x="3110" y="17225"/>
                              <a:pt x="3349" y="16686"/>
                              <a:pt x="3588" y="16088"/>
                            </a:cubicBezTo>
                            <a:cubicBezTo>
                              <a:pt x="3648" y="16028"/>
                              <a:pt x="3648" y="15909"/>
                              <a:pt x="3708" y="15849"/>
                            </a:cubicBezTo>
                            <a:cubicBezTo>
                              <a:pt x="3768" y="15789"/>
                              <a:pt x="3768" y="15669"/>
                              <a:pt x="3828" y="15610"/>
                            </a:cubicBezTo>
                            <a:cubicBezTo>
                              <a:pt x="3888" y="15550"/>
                              <a:pt x="3888" y="15430"/>
                              <a:pt x="3947" y="15370"/>
                            </a:cubicBezTo>
                            <a:cubicBezTo>
                              <a:pt x="4007" y="15311"/>
                              <a:pt x="4007" y="15191"/>
                              <a:pt x="4067" y="15131"/>
                            </a:cubicBezTo>
                            <a:cubicBezTo>
                              <a:pt x="4486" y="14294"/>
                              <a:pt x="4964" y="13516"/>
                              <a:pt x="5442" y="12739"/>
                            </a:cubicBezTo>
                            <a:cubicBezTo>
                              <a:pt x="5921" y="11961"/>
                              <a:pt x="6459" y="11244"/>
                              <a:pt x="7057" y="10526"/>
                            </a:cubicBezTo>
                            <a:cubicBezTo>
                              <a:pt x="7656" y="9808"/>
                              <a:pt x="8253" y="9150"/>
                              <a:pt x="8851" y="8493"/>
                            </a:cubicBezTo>
                            <a:cubicBezTo>
                              <a:pt x="9450" y="7835"/>
                              <a:pt x="10167" y="7237"/>
                              <a:pt x="10825" y="6639"/>
                            </a:cubicBezTo>
                            <a:cubicBezTo>
                              <a:pt x="10945" y="6519"/>
                              <a:pt x="11064" y="6459"/>
                              <a:pt x="11184" y="6340"/>
                            </a:cubicBezTo>
                            <a:cubicBezTo>
                              <a:pt x="11304" y="6220"/>
                              <a:pt x="11423" y="6160"/>
                              <a:pt x="11543" y="6041"/>
                            </a:cubicBezTo>
                            <a:cubicBezTo>
                              <a:pt x="11662" y="5921"/>
                              <a:pt x="11782" y="5861"/>
                              <a:pt x="11902" y="5742"/>
                            </a:cubicBezTo>
                            <a:cubicBezTo>
                              <a:pt x="12021" y="5622"/>
                              <a:pt x="12141" y="5562"/>
                              <a:pt x="12260" y="5442"/>
                            </a:cubicBezTo>
                            <a:cubicBezTo>
                              <a:pt x="13098" y="4844"/>
                              <a:pt x="13935" y="4306"/>
                              <a:pt x="14832" y="3768"/>
                            </a:cubicBezTo>
                            <a:cubicBezTo>
                              <a:pt x="15729" y="3289"/>
                              <a:pt x="16627" y="2811"/>
                              <a:pt x="17583" y="2452"/>
                            </a:cubicBezTo>
                            <a:cubicBezTo>
                              <a:pt x="18540" y="2093"/>
                              <a:pt x="19437" y="1794"/>
                              <a:pt x="20394" y="1555"/>
                            </a:cubicBezTo>
                            <a:cubicBezTo>
                              <a:pt x="21351" y="1316"/>
                              <a:pt x="22308" y="1136"/>
                              <a:pt x="23265" y="1076"/>
                            </a:cubicBezTo>
                            <a:cubicBezTo>
                              <a:pt x="23624" y="1017"/>
                              <a:pt x="23983" y="1017"/>
                              <a:pt x="24342" y="1017"/>
                            </a:cubicBezTo>
                            <a:cubicBezTo>
                              <a:pt x="24700" y="1017"/>
                              <a:pt x="25059" y="1017"/>
                              <a:pt x="25418" y="1017"/>
                            </a:cubicBezTo>
                            <a:cubicBezTo>
                              <a:pt x="25777" y="1017"/>
                              <a:pt x="26136" y="1076"/>
                              <a:pt x="26435" y="1076"/>
                            </a:cubicBezTo>
                            <a:cubicBezTo>
                              <a:pt x="26794" y="1136"/>
                              <a:pt x="27093" y="1136"/>
                              <a:pt x="27452" y="1196"/>
                            </a:cubicBezTo>
                            <a:cubicBezTo>
                              <a:pt x="27571" y="1196"/>
                              <a:pt x="27631" y="1256"/>
                              <a:pt x="27751" y="1256"/>
                            </a:cubicBezTo>
                            <a:cubicBezTo>
                              <a:pt x="27870" y="1256"/>
                              <a:pt x="27930" y="1316"/>
                              <a:pt x="28050" y="1316"/>
                            </a:cubicBezTo>
                            <a:cubicBezTo>
                              <a:pt x="28169" y="1316"/>
                              <a:pt x="28229" y="1375"/>
                              <a:pt x="28349" y="1375"/>
                            </a:cubicBezTo>
                            <a:cubicBezTo>
                              <a:pt x="28468" y="1375"/>
                              <a:pt x="28528" y="1435"/>
                              <a:pt x="28648" y="1435"/>
                            </a:cubicBezTo>
                            <a:cubicBezTo>
                              <a:pt x="29126" y="1555"/>
                              <a:pt x="29545" y="1674"/>
                              <a:pt x="29963" y="1854"/>
                            </a:cubicBezTo>
                            <a:cubicBezTo>
                              <a:pt x="30382" y="2033"/>
                              <a:pt x="30801" y="2213"/>
                              <a:pt x="31219" y="2392"/>
                            </a:cubicBezTo>
                            <a:cubicBezTo>
                              <a:pt x="31638" y="2572"/>
                              <a:pt x="32057" y="2811"/>
                              <a:pt x="32415" y="3050"/>
                            </a:cubicBezTo>
                            <a:cubicBezTo>
                              <a:pt x="32774" y="3289"/>
                              <a:pt x="33193" y="3528"/>
                              <a:pt x="33552" y="3828"/>
                            </a:cubicBezTo>
                            <a:cubicBezTo>
                              <a:pt x="33612" y="3828"/>
                              <a:pt x="33612" y="3888"/>
                              <a:pt x="33671" y="3888"/>
                            </a:cubicBezTo>
                            <a:cubicBezTo>
                              <a:pt x="33731" y="3888"/>
                              <a:pt x="33731" y="3947"/>
                              <a:pt x="33791" y="3947"/>
                            </a:cubicBezTo>
                            <a:cubicBezTo>
                              <a:pt x="33851" y="3947"/>
                              <a:pt x="33851" y="4007"/>
                              <a:pt x="33911" y="4007"/>
                            </a:cubicBezTo>
                            <a:cubicBezTo>
                              <a:pt x="33970" y="4007"/>
                              <a:pt x="33970" y="4067"/>
                              <a:pt x="34030" y="4067"/>
                            </a:cubicBezTo>
                            <a:cubicBezTo>
                              <a:pt x="34030" y="4067"/>
                              <a:pt x="34090" y="4127"/>
                              <a:pt x="34090" y="4127"/>
                            </a:cubicBezTo>
                            <a:cubicBezTo>
                              <a:pt x="34090" y="4127"/>
                              <a:pt x="34150" y="4187"/>
                              <a:pt x="34150" y="4187"/>
                            </a:cubicBezTo>
                            <a:cubicBezTo>
                              <a:pt x="34150" y="4187"/>
                              <a:pt x="34210" y="4246"/>
                              <a:pt x="34210" y="4246"/>
                            </a:cubicBezTo>
                            <a:cubicBezTo>
                              <a:pt x="34210" y="4246"/>
                              <a:pt x="34269" y="4306"/>
                              <a:pt x="34269" y="4306"/>
                            </a:cubicBezTo>
                            <a:cubicBezTo>
                              <a:pt x="34688" y="4665"/>
                              <a:pt x="35047" y="5024"/>
                              <a:pt x="35406" y="5442"/>
                            </a:cubicBezTo>
                            <a:cubicBezTo>
                              <a:pt x="35765" y="5861"/>
                              <a:pt x="36123" y="6280"/>
                              <a:pt x="36423" y="6698"/>
                            </a:cubicBezTo>
                            <a:cubicBezTo>
                              <a:pt x="36722" y="7117"/>
                              <a:pt x="37021" y="7596"/>
                              <a:pt x="37320" y="8074"/>
                            </a:cubicBezTo>
                            <a:cubicBezTo>
                              <a:pt x="37559" y="8552"/>
                              <a:pt x="37798" y="9031"/>
                              <a:pt x="38037" y="9569"/>
                            </a:cubicBezTo>
                            <a:cubicBezTo>
                              <a:pt x="38037" y="9629"/>
                              <a:pt x="38097" y="9689"/>
                              <a:pt x="38097" y="9749"/>
                            </a:cubicBezTo>
                            <a:cubicBezTo>
                              <a:pt x="38097" y="9808"/>
                              <a:pt x="38157" y="9868"/>
                              <a:pt x="38157" y="9988"/>
                            </a:cubicBezTo>
                            <a:cubicBezTo>
                              <a:pt x="38157" y="10048"/>
                              <a:pt x="38217" y="10107"/>
                              <a:pt x="38217" y="10227"/>
                            </a:cubicBezTo>
                            <a:cubicBezTo>
                              <a:pt x="38217" y="10287"/>
                              <a:pt x="38277" y="10347"/>
                              <a:pt x="38277" y="10466"/>
                            </a:cubicBezTo>
                            <a:cubicBezTo>
                              <a:pt x="38516" y="11064"/>
                              <a:pt x="38695" y="11662"/>
                              <a:pt x="38815" y="12320"/>
                            </a:cubicBezTo>
                            <a:cubicBezTo>
                              <a:pt x="38935" y="12978"/>
                              <a:pt x="39054" y="13636"/>
                              <a:pt x="39174" y="14294"/>
                            </a:cubicBezTo>
                            <a:cubicBezTo>
                              <a:pt x="39234" y="14952"/>
                              <a:pt x="39293" y="15669"/>
                              <a:pt x="39293" y="16387"/>
                            </a:cubicBezTo>
                            <a:cubicBezTo>
                              <a:pt x="39293" y="17105"/>
                              <a:pt x="39234" y="17822"/>
                              <a:pt x="39174" y="18540"/>
                            </a:cubicBezTo>
                            <a:cubicBezTo>
                              <a:pt x="39174" y="18600"/>
                              <a:pt x="39174" y="18720"/>
                              <a:pt x="39174" y="18780"/>
                            </a:cubicBezTo>
                            <a:cubicBezTo>
                              <a:pt x="39174" y="18839"/>
                              <a:pt x="39174" y="18959"/>
                              <a:pt x="39114" y="19019"/>
                            </a:cubicBezTo>
                            <a:cubicBezTo>
                              <a:pt x="39114" y="19079"/>
                              <a:pt x="39114" y="19198"/>
                              <a:pt x="39054" y="19258"/>
                            </a:cubicBezTo>
                            <a:cubicBezTo>
                              <a:pt x="39054" y="19318"/>
                              <a:pt x="39054" y="19437"/>
                              <a:pt x="38994" y="19497"/>
                            </a:cubicBezTo>
                            <a:cubicBezTo>
                              <a:pt x="38994" y="19497"/>
                              <a:pt x="38994" y="19497"/>
                              <a:pt x="38994" y="19557"/>
                            </a:cubicBezTo>
                            <a:cubicBezTo>
                              <a:pt x="38994" y="19557"/>
                              <a:pt x="38994" y="19557"/>
                              <a:pt x="38994" y="19617"/>
                            </a:cubicBezTo>
                            <a:cubicBezTo>
                              <a:pt x="38994" y="19617"/>
                              <a:pt x="38994" y="19617"/>
                              <a:pt x="38994" y="19676"/>
                            </a:cubicBezTo>
                            <a:cubicBezTo>
                              <a:pt x="38994" y="19676"/>
                              <a:pt x="38994" y="19676"/>
                              <a:pt x="38994" y="19736"/>
                            </a:cubicBezTo>
                            <a:cubicBezTo>
                              <a:pt x="38815" y="21052"/>
                              <a:pt x="38456" y="22368"/>
                              <a:pt x="38037" y="23684"/>
                            </a:cubicBezTo>
                            <a:cubicBezTo>
                              <a:pt x="37619" y="24999"/>
                              <a:pt x="37081" y="26255"/>
                              <a:pt x="36423" y="27511"/>
                            </a:cubicBezTo>
                            <a:cubicBezTo>
                              <a:pt x="35765" y="28767"/>
                              <a:pt x="35047" y="29963"/>
                              <a:pt x="34210" y="31100"/>
                            </a:cubicBezTo>
                            <a:cubicBezTo>
                              <a:pt x="33373" y="32236"/>
                              <a:pt x="32475" y="33313"/>
                              <a:pt x="31459" y="34329"/>
                            </a:cubicBezTo>
                            <a:cubicBezTo>
                              <a:pt x="30442" y="35346"/>
                              <a:pt x="29365" y="36303"/>
                              <a:pt x="28229" y="37140"/>
                            </a:cubicBezTo>
                            <a:cubicBezTo>
                              <a:pt x="27093" y="37977"/>
                              <a:pt x="25956" y="38695"/>
                              <a:pt x="24760" y="39293"/>
                            </a:cubicBezTo>
                            <a:cubicBezTo>
                              <a:pt x="23564" y="39891"/>
                              <a:pt x="22368" y="40370"/>
                              <a:pt x="21112" y="40789"/>
                            </a:cubicBezTo>
                            <a:cubicBezTo>
                              <a:pt x="19856" y="41147"/>
                              <a:pt x="18600" y="41446"/>
                              <a:pt x="17344" y="41566"/>
                            </a:cubicBezTo>
                            <a:cubicBezTo>
                              <a:pt x="16327" y="41685"/>
                              <a:pt x="15371" y="41685"/>
                              <a:pt x="14473" y="41626"/>
                            </a:cubicBezTo>
                            <a:cubicBezTo>
                              <a:pt x="13516" y="41566"/>
                              <a:pt x="12679" y="41446"/>
                              <a:pt x="11782" y="41207"/>
                            </a:cubicBezTo>
                            <a:cubicBezTo>
                              <a:pt x="10945" y="40968"/>
                              <a:pt x="10107" y="40729"/>
                              <a:pt x="9330" y="40370"/>
                            </a:cubicBezTo>
                            <a:cubicBezTo>
                              <a:pt x="8552" y="40071"/>
                              <a:pt x="7775" y="39652"/>
                              <a:pt x="7117" y="39174"/>
                            </a:cubicBezTo>
                            <a:moveTo>
                              <a:pt x="5921" y="39652"/>
                            </a:moveTo>
                            <a:cubicBezTo>
                              <a:pt x="6698" y="40250"/>
                              <a:pt x="7476" y="40729"/>
                              <a:pt x="8373" y="41207"/>
                            </a:cubicBezTo>
                            <a:cubicBezTo>
                              <a:pt x="9210" y="41626"/>
                              <a:pt x="10107" y="41985"/>
                              <a:pt x="11064" y="42224"/>
                            </a:cubicBezTo>
                            <a:cubicBezTo>
                              <a:pt x="12021" y="42463"/>
                              <a:pt x="12978" y="42643"/>
                              <a:pt x="13995" y="42702"/>
                            </a:cubicBezTo>
                            <a:cubicBezTo>
                              <a:pt x="15012" y="42762"/>
                              <a:pt x="16088" y="42762"/>
                              <a:pt x="17165" y="42643"/>
                            </a:cubicBezTo>
                            <a:cubicBezTo>
                              <a:pt x="18481" y="42523"/>
                              <a:pt x="19796" y="42224"/>
                              <a:pt x="21112" y="41865"/>
                            </a:cubicBezTo>
                            <a:cubicBezTo>
                              <a:pt x="22428" y="41446"/>
                              <a:pt x="23684" y="40968"/>
                              <a:pt x="24940" y="40310"/>
                            </a:cubicBezTo>
                            <a:cubicBezTo>
                              <a:pt x="26196" y="39652"/>
                              <a:pt x="27392" y="38935"/>
                              <a:pt x="28588" y="38037"/>
                            </a:cubicBezTo>
                            <a:cubicBezTo>
                              <a:pt x="29784" y="37140"/>
                              <a:pt x="30860" y="36183"/>
                              <a:pt x="31937" y="35107"/>
                            </a:cubicBezTo>
                            <a:cubicBezTo>
                              <a:pt x="33014" y="34030"/>
                              <a:pt x="33970" y="32894"/>
                              <a:pt x="34868" y="31698"/>
                            </a:cubicBezTo>
                            <a:cubicBezTo>
                              <a:pt x="35765" y="30502"/>
                              <a:pt x="36542" y="29246"/>
                              <a:pt x="37200" y="27930"/>
                            </a:cubicBezTo>
                            <a:cubicBezTo>
                              <a:pt x="37858" y="26614"/>
                              <a:pt x="38456" y="25298"/>
                              <a:pt x="38875" y="23923"/>
                            </a:cubicBezTo>
                            <a:cubicBezTo>
                              <a:pt x="39353" y="22547"/>
                              <a:pt x="39652" y="21172"/>
                              <a:pt x="39891" y="19736"/>
                            </a:cubicBezTo>
                            <a:cubicBezTo>
                              <a:pt x="39891" y="19676"/>
                              <a:pt x="39891" y="19617"/>
                              <a:pt x="39891" y="19617"/>
                            </a:cubicBezTo>
                            <a:cubicBezTo>
                              <a:pt x="39891" y="19617"/>
                              <a:pt x="39891" y="19497"/>
                              <a:pt x="39891" y="19497"/>
                            </a:cubicBezTo>
                            <a:cubicBezTo>
                              <a:pt x="39891" y="19497"/>
                              <a:pt x="39891" y="19377"/>
                              <a:pt x="39891" y="19377"/>
                            </a:cubicBezTo>
                            <a:cubicBezTo>
                              <a:pt x="39891" y="19318"/>
                              <a:pt x="39891" y="19258"/>
                              <a:pt x="39891" y="19258"/>
                            </a:cubicBezTo>
                            <a:cubicBezTo>
                              <a:pt x="39891" y="19138"/>
                              <a:pt x="39891" y="19079"/>
                              <a:pt x="39951" y="18959"/>
                            </a:cubicBezTo>
                            <a:cubicBezTo>
                              <a:pt x="39951" y="18839"/>
                              <a:pt x="39951" y="18780"/>
                              <a:pt x="40011" y="18660"/>
                            </a:cubicBezTo>
                            <a:cubicBezTo>
                              <a:pt x="40071" y="18540"/>
                              <a:pt x="40011" y="18480"/>
                              <a:pt x="40011" y="18361"/>
                            </a:cubicBezTo>
                            <a:cubicBezTo>
                              <a:pt x="40011" y="18241"/>
                              <a:pt x="40011" y="18181"/>
                              <a:pt x="40011" y="18062"/>
                            </a:cubicBezTo>
                            <a:cubicBezTo>
                              <a:pt x="40071" y="17344"/>
                              <a:pt x="40071" y="16626"/>
                              <a:pt x="40071" y="15909"/>
                            </a:cubicBezTo>
                            <a:cubicBezTo>
                              <a:pt x="40071" y="15191"/>
                              <a:pt x="40011" y="14533"/>
                              <a:pt x="39891" y="13875"/>
                            </a:cubicBezTo>
                            <a:cubicBezTo>
                              <a:pt x="39831" y="13218"/>
                              <a:pt x="39712" y="12559"/>
                              <a:pt x="39532" y="11902"/>
                            </a:cubicBezTo>
                            <a:cubicBezTo>
                              <a:pt x="39353" y="11244"/>
                              <a:pt x="39174" y="10645"/>
                              <a:pt x="38994" y="10048"/>
                            </a:cubicBezTo>
                            <a:cubicBezTo>
                              <a:pt x="38994" y="9988"/>
                              <a:pt x="38935" y="9928"/>
                              <a:pt x="38935" y="9808"/>
                            </a:cubicBezTo>
                            <a:cubicBezTo>
                              <a:pt x="38935" y="9689"/>
                              <a:pt x="38875" y="9689"/>
                              <a:pt x="38875" y="9569"/>
                            </a:cubicBezTo>
                            <a:cubicBezTo>
                              <a:pt x="38875" y="9509"/>
                              <a:pt x="38815" y="9450"/>
                              <a:pt x="38815" y="9330"/>
                            </a:cubicBezTo>
                            <a:cubicBezTo>
                              <a:pt x="38815" y="9210"/>
                              <a:pt x="38755" y="9210"/>
                              <a:pt x="38755" y="9150"/>
                            </a:cubicBezTo>
                            <a:cubicBezTo>
                              <a:pt x="38516" y="8612"/>
                              <a:pt x="38277" y="8134"/>
                              <a:pt x="38037" y="7655"/>
                            </a:cubicBezTo>
                            <a:cubicBezTo>
                              <a:pt x="37798" y="7177"/>
                              <a:pt x="37499" y="6698"/>
                              <a:pt x="37200" y="6280"/>
                            </a:cubicBezTo>
                            <a:cubicBezTo>
                              <a:pt x="36901" y="5861"/>
                              <a:pt x="36542" y="5442"/>
                              <a:pt x="36183" y="5024"/>
                            </a:cubicBezTo>
                            <a:cubicBezTo>
                              <a:pt x="35824" y="4605"/>
                              <a:pt x="35466" y="4246"/>
                              <a:pt x="35047" y="3888"/>
                            </a:cubicBezTo>
                            <a:cubicBezTo>
                              <a:pt x="34987" y="3828"/>
                              <a:pt x="34987" y="3828"/>
                              <a:pt x="34928" y="3768"/>
                            </a:cubicBezTo>
                            <a:cubicBezTo>
                              <a:pt x="34868" y="3708"/>
                              <a:pt x="34868" y="3708"/>
                              <a:pt x="34808" y="3648"/>
                            </a:cubicBezTo>
                            <a:cubicBezTo>
                              <a:pt x="34748" y="3588"/>
                              <a:pt x="34748" y="3588"/>
                              <a:pt x="34688" y="3528"/>
                            </a:cubicBezTo>
                            <a:cubicBezTo>
                              <a:pt x="34628" y="3469"/>
                              <a:pt x="34628" y="3469"/>
                              <a:pt x="34569" y="3409"/>
                            </a:cubicBezTo>
                            <a:cubicBezTo>
                              <a:pt x="34569" y="3409"/>
                              <a:pt x="34569" y="3409"/>
                              <a:pt x="34509" y="3349"/>
                            </a:cubicBezTo>
                            <a:cubicBezTo>
                              <a:pt x="34449" y="3289"/>
                              <a:pt x="34509" y="3349"/>
                              <a:pt x="34449" y="3289"/>
                            </a:cubicBezTo>
                            <a:cubicBezTo>
                              <a:pt x="34449" y="3289"/>
                              <a:pt x="34449" y="3289"/>
                              <a:pt x="34389" y="3229"/>
                            </a:cubicBezTo>
                            <a:cubicBezTo>
                              <a:pt x="34329" y="3170"/>
                              <a:pt x="34389" y="3229"/>
                              <a:pt x="34329" y="3170"/>
                            </a:cubicBezTo>
                            <a:cubicBezTo>
                              <a:pt x="33970" y="2871"/>
                              <a:pt x="33612" y="2632"/>
                              <a:pt x="33253" y="2392"/>
                            </a:cubicBezTo>
                            <a:cubicBezTo>
                              <a:pt x="32894" y="2153"/>
                              <a:pt x="32475" y="1914"/>
                              <a:pt x="32116" y="1734"/>
                            </a:cubicBezTo>
                            <a:cubicBezTo>
                              <a:pt x="31698" y="1555"/>
                              <a:pt x="31339" y="1316"/>
                              <a:pt x="30860" y="1136"/>
                            </a:cubicBezTo>
                            <a:cubicBezTo>
                              <a:pt x="30442" y="957"/>
                              <a:pt x="30023" y="837"/>
                              <a:pt x="29545" y="658"/>
                            </a:cubicBezTo>
                            <a:cubicBezTo>
                              <a:pt x="29485" y="658"/>
                              <a:pt x="29365" y="598"/>
                              <a:pt x="29306" y="598"/>
                            </a:cubicBezTo>
                            <a:cubicBezTo>
                              <a:pt x="29186" y="598"/>
                              <a:pt x="29126" y="538"/>
                              <a:pt x="29006" y="538"/>
                            </a:cubicBezTo>
                            <a:cubicBezTo>
                              <a:pt x="28887" y="538"/>
                              <a:pt x="28827" y="479"/>
                              <a:pt x="28707" y="479"/>
                            </a:cubicBezTo>
                            <a:cubicBezTo>
                              <a:pt x="28588" y="479"/>
                              <a:pt x="28528" y="419"/>
                              <a:pt x="28408" y="419"/>
                            </a:cubicBezTo>
                            <a:cubicBezTo>
                              <a:pt x="27990" y="299"/>
                              <a:pt x="27571" y="239"/>
                              <a:pt x="27152" y="179"/>
                            </a:cubicBezTo>
                            <a:cubicBezTo>
                              <a:pt x="26734" y="120"/>
                              <a:pt x="26315" y="60"/>
                              <a:pt x="25837" y="60"/>
                            </a:cubicBezTo>
                            <a:cubicBezTo>
                              <a:pt x="25418" y="60"/>
                              <a:pt x="24940" y="0"/>
                              <a:pt x="24521" y="0"/>
                            </a:cubicBezTo>
                            <a:cubicBezTo>
                              <a:pt x="24102" y="0"/>
                              <a:pt x="23624" y="0"/>
                              <a:pt x="23145" y="60"/>
                            </a:cubicBezTo>
                            <a:cubicBezTo>
                              <a:pt x="22009" y="179"/>
                              <a:pt x="20873" y="359"/>
                              <a:pt x="19736" y="658"/>
                            </a:cubicBezTo>
                            <a:cubicBezTo>
                              <a:pt x="18600" y="957"/>
                              <a:pt x="17523" y="1316"/>
                              <a:pt x="16447" y="1794"/>
                            </a:cubicBezTo>
                            <a:cubicBezTo>
                              <a:pt x="15371" y="2273"/>
                              <a:pt x="14294" y="2811"/>
                              <a:pt x="13277" y="3469"/>
                            </a:cubicBezTo>
                            <a:cubicBezTo>
                              <a:pt x="12260" y="4127"/>
                              <a:pt x="11244" y="4785"/>
                              <a:pt x="10347" y="5562"/>
                            </a:cubicBezTo>
                            <a:cubicBezTo>
                              <a:pt x="10227" y="5682"/>
                              <a:pt x="10107" y="5742"/>
                              <a:pt x="10048" y="5861"/>
                            </a:cubicBezTo>
                            <a:cubicBezTo>
                              <a:pt x="9928" y="5981"/>
                              <a:pt x="9808" y="6041"/>
                              <a:pt x="9749" y="6160"/>
                            </a:cubicBezTo>
                            <a:cubicBezTo>
                              <a:pt x="9629" y="6280"/>
                              <a:pt x="9510" y="6340"/>
                              <a:pt x="9450" y="6459"/>
                            </a:cubicBezTo>
                            <a:cubicBezTo>
                              <a:pt x="9390" y="6579"/>
                              <a:pt x="9210" y="6639"/>
                              <a:pt x="9151" y="6758"/>
                            </a:cubicBezTo>
                            <a:cubicBezTo>
                              <a:pt x="8493" y="7356"/>
                              <a:pt x="7895" y="7954"/>
                              <a:pt x="7296" y="8612"/>
                            </a:cubicBezTo>
                            <a:cubicBezTo>
                              <a:pt x="6698" y="9270"/>
                              <a:pt x="6160" y="9928"/>
                              <a:pt x="5622" y="10645"/>
                            </a:cubicBezTo>
                            <a:cubicBezTo>
                              <a:pt x="5083" y="11364"/>
                              <a:pt x="4605" y="12081"/>
                              <a:pt x="4127" y="12859"/>
                            </a:cubicBezTo>
                            <a:cubicBezTo>
                              <a:pt x="3648" y="13636"/>
                              <a:pt x="3229" y="14413"/>
                              <a:pt x="2811" y="15191"/>
                            </a:cubicBezTo>
                            <a:cubicBezTo>
                              <a:pt x="2751" y="15251"/>
                              <a:pt x="2751" y="15370"/>
                              <a:pt x="2691" y="15430"/>
                            </a:cubicBezTo>
                            <a:cubicBezTo>
                              <a:pt x="2632" y="15490"/>
                              <a:pt x="2632" y="15610"/>
                              <a:pt x="2572" y="15669"/>
                            </a:cubicBezTo>
                            <a:cubicBezTo>
                              <a:pt x="2512" y="15729"/>
                              <a:pt x="2512" y="15849"/>
                              <a:pt x="2452" y="15909"/>
                            </a:cubicBezTo>
                            <a:cubicBezTo>
                              <a:pt x="2392" y="15968"/>
                              <a:pt x="2392" y="16088"/>
                              <a:pt x="2333" y="16148"/>
                            </a:cubicBezTo>
                            <a:cubicBezTo>
                              <a:pt x="2093" y="16746"/>
                              <a:pt x="1854" y="17284"/>
                              <a:pt x="1615" y="17882"/>
                            </a:cubicBezTo>
                            <a:cubicBezTo>
                              <a:pt x="1375" y="18480"/>
                              <a:pt x="1196" y="19079"/>
                              <a:pt x="1017" y="19676"/>
                            </a:cubicBezTo>
                            <a:cubicBezTo>
                              <a:pt x="837" y="20275"/>
                              <a:pt x="718" y="20873"/>
                              <a:pt x="538" y="21471"/>
                            </a:cubicBezTo>
                            <a:cubicBezTo>
                              <a:pt x="419" y="22069"/>
                              <a:pt x="299" y="22667"/>
                              <a:pt x="239" y="23325"/>
                            </a:cubicBezTo>
                            <a:cubicBezTo>
                              <a:pt x="180" y="23624"/>
                              <a:pt x="180" y="23923"/>
                              <a:pt x="120" y="24162"/>
                            </a:cubicBezTo>
                            <a:cubicBezTo>
                              <a:pt x="120" y="24461"/>
                              <a:pt x="60" y="24700"/>
                              <a:pt x="60" y="24999"/>
                            </a:cubicBezTo>
                            <a:cubicBezTo>
                              <a:pt x="60" y="25298"/>
                              <a:pt x="0" y="25538"/>
                              <a:pt x="0" y="25837"/>
                            </a:cubicBezTo>
                            <a:cubicBezTo>
                              <a:pt x="0" y="26136"/>
                              <a:pt x="0" y="26375"/>
                              <a:pt x="0" y="26674"/>
                            </a:cubicBezTo>
                            <a:cubicBezTo>
                              <a:pt x="0" y="26734"/>
                              <a:pt x="0" y="26853"/>
                              <a:pt x="0" y="26913"/>
                            </a:cubicBezTo>
                            <a:cubicBezTo>
                              <a:pt x="0" y="26973"/>
                              <a:pt x="0" y="27092"/>
                              <a:pt x="0" y="27152"/>
                            </a:cubicBezTo>
                            <a:cubicBezTo>
                              <a:pt x="0" y="27212"/>
                              <a:pt x="0" y="27332"/>
                              <a:pt x="0" y="27392"/>
                            </a:cubicBezTo>
                            <a:cubicBezTo>
                              <a:pt x="0" y="27451"/>
                              <a:pt x="0" y="27571"/>
                              <a:pt x="0" y="27631"/>
                            </a:cubicBezTo>
                            <a:cubicBezTo>
                              <a:pt x="60" y="28588"/>
                              <a:pt x="180" y="29605"/>
                              <a:pt x="359" y="30502"/>
                            </a:cubicBezTo>
                            <a:cubicBezTo>
                              <a:pt x="538" y="31399"/>
                              <a:pt x="837" y="32296"/>
                              <a:pt x="1136" y="33193"/>
                            </a:cubicBezTo>
                            <a:cubicBezTo>
                              <a:pt x="1495" y="34030"/>
                              <a:pt x="1854" y="34868"/>
                              <a:pt x="2333" y="35645"/>
                            </a:cubicBezTo>
                            <a:cubicBezTo>
                              <a:pt x="2811" y="36422"/>
                              <a:pt x="3349" y="37140"/>
                              <a:pt x="3888" y="37798"/>
                            </a:cubicBezTo>
                            <a:cubicBezTo>
                              <a:pt x="3947" y="37858"/>
                              <a:pt x="3947" y="37918"/>
                              <a:pt x="4007" y="37977"/>
                            </a:cubicBezTo>
                            <a:cubicBezTo>
                              <a:pt x="4067" y="38037"/>
                              <a:pt x="4127" y="38097"/>
                              <a:pt x="4127" y="38097"/>
                            </a:cubicBezTo>
                            <a:cubicBezTo>
                              <a:pt x="4127" y="38097"/>
                              <a:pt x="4246" y="38217"/>
                              <a:pt x="4246" y="38217"/>
                            </a:cubicBezTo>
                            <a:cubicBezTo>
                              <a:pt x="4306" y="38277"/>
                              <a:pt x="4366" y="38336"/>
                              <a:pt x="4366" y="38336"/>
                            </a:cubicBezTo>
                            <a:cubicBezTo>
                              <a:pt x="4426" y="38396"/>
                              <a:pt x="4545" y="38516"/>
                              <a:pt x="4605" y="38576"/>
                            </a:cubicBezTo>
                            <a:cubicBezTo>
                              <a:pt x="4665" y="38636"/>
                              <a:pt x="4785" y="38755"/>
                              <a:pt x="4844" y="38815"/>
                            </a:cubicBezTo>
                            <a:cubicBezTo>
                              <a:pt x="4904" y="38875"/>
                              <a:pt x="5024" y="38935"/>
                              <a:pt x="5083" y="39054"/>
                            </a:cubicBezTo>
                            <a:cubicBezTo>
                              <a:pt x="5143" y="39174"/>
                              <a:pt x="5263" y="39174"/>
                              <a:pt x="5323" y="39293"/>
                            </a:cubicBezTo>
                            <a:cubicBezTo>
                              <a:pt x="5383" y="39293"/>
                              <a:pt x="5383" y="39353"/>
                              <a:pt x="5442" y="39353"/>
                            </a:cubicBezTo>
                            <a:cubicBezTo>
                              <a:pt x="5502" y="39353"/>
                              <a:pt x="5502" y="39413"/>
                              <a:pt x="5562" y="39413"/>
                            </a:cubicBezTo>
                            <a:cubicBezTo>
                              <a:pt x="5622" y="39413"/>
                              <a:pt x="5622" y="39473"/>
                              <a:pt x="5682" y="39473"/>
                            </a:cubicBezTo>
                            <a:cubicBezTo>
                              <a:pt x="5861" y="39592"/>
                              <a:pt x="5921" y="39652"/>
                              <a:pt x="5921" y="39652"/>
                            </a:cubicBezTo>
                          </a:path>
                        </a:pathLst>
                      </a:custGeom>
                      <a:noFill/>
                      <a:ln w="6350" cap="flat">
                        <a:solidFill>
                          <a:schemeClr val="bg1">
                            <a:alpha val="40000"/>
                          </a:schemeClr>
                        </a:solidFill>
                        <a:prstDash val="solid"/>
                        <a:miter/>
                      </a:ln>
                    </p:spPr>
                    <p:txBody>
                      <a:bodyPr rtlCol="0" anchor="ctr"/>
                      <a:lstStyle/>
                      <a:p>
                        <a:endParaRPr lang="en-GB"/>
                      </a:p>
                    </p:txBody>
                  </p:sp>
                  <p:sp>
                    <p:nvSpPr>
                      <p:cNvPr id="7558" name="Vrije vorm: vorm 7557">
                        <a:extLst>
                          <a:ext uri="{FF2B5EF4-FFF2-40B4-BE49-F238E27FC236}">
                            <a16:creationId xmlns:a16="http://schemas.microsoft.com/office/drawing/2014/main" id="{8CE77BAE-3CDB-40A1-9C64-6ED37C4EAA10}"/>
                          </a:ext>
                        </a:extLst>
                      </p:cNvPr>
                      <p:cNvSpPr/>
                      <p:nvPr/>
                    </p:nvSpPr>
                    <p:spPr>
                      <a:xfrm>
                        <a:off x="5201494" y="5198815"/>
                        <a:ext cx="33951" cy="36533"/>
                      </a:xfrm>
                      <a:custGeom>
                        <a:avLst/>
                        <a:gdLst>
                          <a:gd name="connsiteX0" fmla="*/ 6059 w 33951"/>
                          <a:gd name="connsiteY0" fmla="*/ 33100 h 36533"/>
                          <a:gd name="connsiteX1" fmla="*/ 6059 w 33951"/>
                          <a:gd name="connsiteY1" fmla="*/ 33100 h 36533"/>
                          <a:gd name="connsiteX2" fmla="*/ 5940 w 33951"/>
                          <a:gd name="connsiteY2" fmla="*/ 33040 h 36533"/>
                          <a:gd name="connsiteX3" fmla="*/ 5880 w 33951"/>
                          <a:gd name="connsiteY3" fmla="*/ 32980 h 36533"/>
                          <a:gd name="connsiteX4" fmla="*/ 5820 w 33951"/>
                          <a:gd name="connsiteY4" fmla="*/ 32921 h 36533"/>
                          <a:gd name="connsiteX5" fmla="*/ 5641 w 33951"/>
                          <a:gd name="connsiteY5" fmla="*/ 32801 h 36533"/>
                          <a:gd name="connsiteX6" fmla="*/ 5521 w 33951"/>
                          <a:gd name="connsiteY6" fmla="*/ 32681 h 36533"/>
                          <a:gd name="connsiteX7" fmla="*/ 5401 w 33951"/>
                          <a:gd name="connsiteY7" fmla="*/ 32562 h 36533"/>
                          <a:gd name="connsiteX8" fmla="*/ 5282 w 33951"/>
                          <a:gd name="connsiteY8" fmla="*/ 32442 h 36533"/>
                          <a:gd name="connsiteX9" fmla="*/ 3787 w 33951"/>
                          <a:gd name="connsiteY9" fmla="*/ 30827 h 36533"/>
                          <a:gd name="connsiteX10" fmla="*/ 2650 w 33951"/>
                          <a:gd name="connsiteY10" fmla="*/ 28914 h 36533"/>
                          <a:gd name="connsiteX11" fmla="*/ 1813 w 33951"/>
                          <a:gd name="connsiteY11" fmla="*/ 26761 h 36533"/>
                          <a:gd name="connsiteX12" fmla="*/ 1334 w 33951"/>
                          <a:gd name="connsiteY12" fmla="*/ 24428 h 36533"/>
                          <a:gd name="connsiteX13" fmla="*/ 1334 w 33951"/>
                          <a:gd name="connsiteY13" fmla="*/ 24189 h 36533"/>
                          <a:gd name="connsiteX14" fmla="*/ 1334 w 33951"/>
                          <a:gd name="connsiteY14" fmla="*/ 23949 h 36533"/>
                          <a:gd name="connsiteX15" fmla="*/ 1334 w 33951"/>
                          <a:gd name="connsiteY15" fmla="*/ 23710 h 36533"/>
                          <a:gd name="connsiteX16" fmla="*/ 1334 w 33951"/>
                          <a:gd name="connsiteY16" fmla="*/ 23471 h 36533"/>
                          <a:gd name="connsiteX17" fmla="*/ 1334 w 33951"/>
                          <a:gd name="connsiteY17" fmla="*/ 22634 h 36533"/>
                          <a:gd name="connsiteX18" fmla="*/ 1334 w 33951"/>
                          <a:gd name="connsiteY18" fmla="*/ 21797 h 36533"/>
                          <a:gd name="connsiteX19" fmla="*/ 1394 w 33951"/>
                          <a:gd name="connsiteY19" fmla="*/ 20959 h 36533"/>
                          <a:gd name="connsiteX20" fmla="*/ 1514 w 33951"/>
                          <a:gd name="connsiteY20" fmla="*/ 20122 h 36533"/>
                          <a:gd name="connsiteX21" fmla="*/ 1873 w 33951"/>
                          <a:gd name="connsiteY21" fmla="*/ 18268 h 36533"/>
                          <a:gd name="connsiteX22" fmla="*/ 2411 w 33951"/>
                          <a:gd name="connsiteY22" fmla="*/ 16474 h 36533"/>
                          <a:gd name="connsiteX23" fmla="*/ 3069 w 33951"/>
                          <a:gd name="connsiteY23" fmla="*/ 14679 h 36533"/>
                          <a:gd name="connsiteX24" fmla="*/ 3906 w 33951"/>
                          <a:gd name="connsiteY24" fmla="*/ 12945 h 36533"/>
                          <a:gd name="connsiteX25" fmla="*/ 4026 w 33951"/>
                          <a:gd name="connsiteY25" fmla="*/ 12706 h 36533"/>
                          <a:gd name="connsiteX26" fmla="*/ 4146 w 33951"/>
                          <a:gd name="connsiteY26" fmla="*/ 12467 h 36533"/>
                          <a:gd name="connsiteX27" fmla="*/ 4325 w 33951"/>
                          <a:gd name="connsiteY27" fmla="*/ 12227 h 36533"/>
                          <a:gd name="connsiteX28" fmla="*/ 4504 w 33951"/>
                          <a:gd name="connsiteY28" fmla="*/ 11988 h 36533"/>
                          <a:gd name="connsiteX29" fmla="*/ 5222 w 33951"/>
                          <a:gd name="connsiteY29" fmla="*/ 10852 h 36533"/>
                          <a:gd name="connsiteX30" fmla="*/ 6000 w 33951"/>
                          <a:gd name="connsiteY30" fmla="*/ 9775 h 36533"/>
                          <a:gd name="connsiteX31" fmla="*/ 6837 w 33951"/>
                          <a:gd name="connsiteY31" fmla="*/ 8759 h 36533"/>
                          <a:gd name="connsiteX32" fmla="*/ 7734 w 33951"/>
                          <a:gd name="connsiteY32" fmla="*/ 7742 h 36533"/>
                          <a:gd name="connsiteX33" fmla="*/ 8033 w 33951"/>
                          <a:gd name="connsiteY33" fmla="*/ 7443 h 36533"/>
                          <a:gd name="connsiteX34" fmla="*/ 8332 w 33951"/>
                          <a:gd name="connsiteY34" fmla="*/ 7144 h 36533"/>
                          <a:gd name="connsiteX35" fmla="*/ 8631 w 33951"/>
                          <a:gd name="connsiteY35" fmla="*/ 6905 h 36533"/>
                          <a:gd name="connsiteX36" fmla="*/ 8930 w 33951"/>
                          <a:gd name="connsiteY36" fmla="*/ 6665 h 36533"/>
                          <a:gd name="connsiteX37" fmla="*/ 9169 w 33951"/>
                          <a:gd name="connsiteY37" fmla="*/ 6426 h 36533"/>
                          <a:gd name="connsiteX38" fmla="*/ 9468 w 33951"/>
                          <a:gd name="connsiteY38" fmla="*/ 6187 h 36533"/>
                          <a:gd name="connsiteX39" fmla="*/ 9767 w 33951"/>
                          <a:gd name="connsiteY39" fmla="*/ 5947 h 36533"/>
                          <a:gd name="connsiteX40" fmla="*/ 10066 w 33951"/>
                          <a:gd name="connsiteY40" fmla="*/ 5708 h 36533"/>
                          <a:gd name="connsiteX41" fmla="*/ 12339 w 33951"/>
                          <a:gd name="connsiteY41" fmla="*/ 4153 h 36533"/>
                          <a:gd name="connsiteX42" fmla="*/ 14731 w 33951"/>
                          <a:gd name="connsiteY42" fmla="*/ 2957 h 36533"/>
                          <a:gd name="connsiteX43" fmla="*/ 17183 w 33951"/>
                          <a:gd name="connsiteY43" fmla="*/ 2120 h 36533"/>
                          <a:gd name="connsiteX44" fmla="*/ 19695 w 33951"/>
                          <a:gd name="connsiteY44" fmla="*/ 1701 h 36533"/>
                          <a:gd name="connsiteX45" fmla="*/ 21190 w 33951"/>
                          <a:gd name="connsiteY45" fmla="*/ 1642 h 36533"/>
                          <a:gd name="connsiteX46" fmla="*/ 22626 w 33951"/>
                          <a:gd name="connsiteY46" fmla="*/ 1761 h 36533"/>
                          <a:gd name="connsiteX47" fmla="*/ 24002 w 33951"/>
                          <a:gd name="connsiteY47" fmla="*/ 2000 h 36533"/>
                          <a:gd name="connsiteX48" fmla="*/ 25317 w 33951"/>
                          <a:gd name="connsiteY48" fmla="*/ 2419 h 36533"/>
                          <a:gd name="connsiteX49" fmla="*/ 25736 w 33951"/>
                          <a:gd name="connsiteY49" fmla="*/ 2598 h 36533"/>
                          <a:gd name="connsiteX50" fmla="*/ 26155 w 33951"/>
                          <a:gd name="connsiteY50" fmla="*/ 2778 h 36533"/>
                          <a:gd name="connsiteX51" fmla="*/ 26573 w 33951"/>
                          <a:gd name="connsiteY51" fmla="*/ 2957 h 36533"/>
                          <a:gd name="connsiteX52" fmla="*/ 26932 w 33951"/>
                          <a:gd name="connsiteY52" fmla="*/ 3137 h 36533"/>
                          <a:gd name="connsiteX53" fmla="*/ 27052 w 33951"/>
                          <a:gd name="connsiteY53" fmla="*/ 3197 h 36533"/>
                          <a:gd name="connsiteX54" fmla="*/ 27171 w 33951"/>
                          <a:gd name="connsiteY54" fmla="*/ 3256 h 36533"/>
                          <a:gd name="connsiteX55" fmla="*/ 27291 w 33951"/>
                          <a:gd name="connsiteY55" fmla="*/ 3316 h 36533"/>
                          <a:gd name="connsiteX56" fmla="*/ 27411 w 33951"/>
                          <a:gd name="connsiteY56" fmla="*/ 3376 h 36533"/>
                          <a:gd name="connsiteX57" fmla="*/ 27590 w 33951"/>
                          <a:gd name="connsiteY57" fmla="*/ 3496 h 36533"/>
                          <a:gd name="connsiteX58" fmla="*/ 27769 w 33951"/>
                          <a:gd name="connsiteY58" fmla="*/ 3615 h 36533"/>
                          <a:gd name="connsiteX59" fmla="*/ 27949 w 33951"/>
                          <a:gd name="connsiteY59" fmla="*/ 3735 h 36533"/>
                          <a:gd name="connsiteX60" fmla="*/ 28128 w 33951"/>
                          <a:gd name="connsiteY60" fmla="*/ 3854 h 36533"/>
                          <a:gd name="connsiteX61" fmla="*/ 28248 w 33951"/>
                          <a:gd name="connsiteY61" fmla="*/ 3914 h 36533"/>
                          <a:gd name="connsiteX62" fmla="*/ 28367 w 33951"/>
                          <a:gd name="connsiteY62" fmla="*/ 3974 h 36533"/>
                          <a:gd name="connsiteX63" fmla="*/ 28487 w 33951"/>
                          <a:gd name="connsiteY63" fmla="*/ 4034 h 36533"/>
                          <a:gd name="connsiteX64" fmla="*/ 28606 w 33951"/>
                          <a:gd name="connsiteY64" fmla="*/ 4093 h 36533"/>
                          <a:gd name="connsiteX65" fmla="*/ 29683 w 33951"/>
                          <a:gd name="connsiteY65" fmla="*/ 5110 h 36533"/>
                          <a:gd name="connsiteX66" fmla="*/ 30640 w 33951"/>
                          <a:gd name="connsiteY66" fmla="*/ 6246 h 36533"/>
                          <a:gd name="connsiteX67" fmla="*/ 31418 w 33951"/>
                          <a:gd name="connsiteY67" fmla="*/ 7503 h 36533"/>
                          <a:gd name="connsiteX68" fmla="*/ 32075 w 33951"/>
                          <a:gd name="connsiteY68" fmla="*/ 8878 h 36533"/>
                          <a:gd name="connsiteX69" fmla="*/ 32135 w 33951"/>
                          <a:gd name="connsiteY69" fmla="*/ 9117 h 36533"/>
                          <a:gd name="connsiteX70" fmla="*/ 32195 w 33951"/>
                          <a:gd name="connsiteY70" fmla="*/ 9357 h 36533"/>
                          <a:gd name="connsiteX71" fmla="*/ 32255 w 33951"/>
                          <a:gd name="connsiteY71" fmla="*/ 9596 h 36533"/>
                          <a:gd name="connsiteX72" fmla="*/ 32314 w 33951"/>
                          <a:gd name="connsiteY72" fmla="*/ 9835 h 36533"/>
                          <a:gd name="connsiteX73" fmla="*/ 32614 w 33951"/>
                          <a:gd name="connsiteY73" fmla="*/ 10971 h 36533"/>
                          <a:gd name="connsiteX74" fmla="*/ 32853 w 33951"/>
                          <a:gd name="connsiteY74" fmla="*/ 12168 h 36533"/>
                          <a:gd name="connsiteX75" fmla="*/ 32973 w 33951"/>
                          <a:gd name="connsiteY75" fmla="*/ 13423 h 36533"/>
                          <a:gd name="connsiteX76" fmla="*/ 32973 w 33951"/>
                          <a:gd name="connsiteY76" fmla="*/ 14679 h 36533"/>
                          <a:gd name="connsiteX77" fmla="*/ 32973 w 33951"/>
                          <a:gd name="connsiteY77" fmla="*/ 15158 h 36533"/>
                          <a:gd name="connsiteX78" fmla="*/ 32973 w 33951"/>
                          <a:gd name="connsiteY78" fmla="*/ 15636 h 36533"/>
                          <a:gd name="connsiteX79" fmla="*/ 32913 w 33951"/>
                          <a:gd name="connsiteY79" fmla="*/ 16115 h 36533"/>
                          <a:gd name="connsiteX80" fmla="*/ 32853 w 33951"/>
                          <a:gd name="connsiteY80" fmla="*/ 16593 h 36533"/>
                          <a:gd name="connsiteX81" fmla="*/ 32853 w 33951"/>
                          <a:gd name="connsiteY81" fmla="*/ 16713 h 36533"/>
                          <a:gd name="connsiteX82" fmla="*/ 32853 w 33951"/>
                          <a:gd name="connsiteY82" fmla="*/ 16832 h 36533"/>
                          <a:gd name="connsiteX83" fmla="*/ 32853 w 33951"/>
                          <a:gd name="connsiteY83" fmla="*/ 16952 h 36533"/>
                          <a:gd name="connsiteX84" fmla="*/ 32853 w 33951"/>
                          <a:gd name="connsiteY84" fmla="*/ 17072 h 36533"/>
                          <a:gd name="connsiteX85" fmla="*/ 30700 w 33951"/>
                          <a:gd name="connsiteY85" fmla="*/ 23651 h 36533"/>
                          <a:gd name="connsiteX86" fmla="*/ 26633 w 33951"/>
                          <a:gd name="connsiteY86" fmla="*/ 29272 h 36533"/>
                          <a:gd name="connsiteX87" fmla="*/ 21190 w 33951"/>
                          <a:gd name="connsiteY87" fmla="*/ 33339 h 36533"/>
                          <a:gd name="connsiteX88" fmla="*/ 14971 w 33951"/>
                          <a:gd name="connsiteY88" fmla="*/ 35253 h 36533"/>
                          <a:gd name="connsiteX89" fmla="*/ 12578 w 33951"/>
                          <a:gd name="connsiteY89" fmla="*/ 35313 h 36533"/>
                          <a:gd name="connsiteX90" fmla="*/ 10305 w 33951"/>
                          <a:gd name="connsiteY90" fmla="*/ 34954 h 36533"/>
                          <a:gd name="connsiteX91" fmla="*/ 8212 w 33951"/>
                          <a:gd name="connsiteY91" fmla="*/ 34177 h 36533"/>
                          <a:gd name="connsiteX92" fmla="*/ 6059 w 33951"/>
                          <a:gd name="connsiteY92" fmla="*/ 33100 h 36533"/>
                          <a:gd name="connsiteX93" fmla="*/ 5760 w 33951"/>
                          <a:gd name="connsiteY93" fmla="*/ 33040 h 36533"/>
                          <a:gd name="connsiteX94" fmla="*/ 7674 w 33951"/>
                          <a:gd name="connsiteY94" fmla="*/ 34237 h 36533"/>
                          <a:gd name="connsiteX95" fmla="*/ 9827 w 33951"/>
                          <a:gd name="connsiteY95" fmla="*/ 35074 h 36533"/>
                          <a:gd name="connsiteX96" fmla="*/ 12219 w 33951"/>
                          <a:gd name="connsiteY96" fmla="*/ 35492 h 36533"/>
                          <a:gd name="connsiteX97" fmla="*/ 14791 w 33951"/>
                          <a:gd name="connsiteY97" fmla="*/ 35432 h 36533"/>
                          <a:gd name="connsiteX98" fmla="*/ 17901 w 33951"/>
                          <a:gd name="connsiteY98" fmla="*/ 34834 h 36533"/>
                          <a:gd name="connsiteX99" fmla="*/ 20951 w 33951"/>
                          <a:gd name="connsiteY99" fmla="*/ 33578 h 36533"/>
                          <a:gd name="connsiteX100" fmla="*/ 23882 w 33951"/>
                          <a:gd name="connsiteY100" fmla="*/ 31784 h 36533"/>
                          <a:gd name="connsiteX101" fmla="*/ 26573 w 33951"/>
                          <a:gd name="connsiteY101" fmla="*/ 29452 h 36533"/>
                          <a:gd name="connsiteX102" fmla="*/ 28906 w 33951"/>
                          <a:gd name="connsiteY102" fmla="*/ 26701 h 36533"/>
                          <a:gd name="connsiteX103" fmla="*/ 30760 w 33951"/>
                          <a:gd name="connsiteY103" fmla="*/ 23651 h 36533"/>
                          <a:gd name="connsiteX104" fmla="*/ 32075 w 33951"/>
                          <a:gd name="connsiteY104" fmla="*/ 20421 h 36533"/>
                          <a:gd name="connsiteX105" fmla="*/ 32853 w 33951"/>
                          <a:gd name="connsiteY105" fmla="*/ 17072 h 36533"/>
                          <a:gd name="connsiteX106" fmla="*/ 33033 w 33951"/>
                          <a:gd name="connsiteY106" fmla="*/ 13782 h 36533"/>
                          <a:gd name="connsiteX107" fmla="*/ 32614 w 33951"/>
                          <a:gd name="connsiteY107" fmla="*/ 10732 h 36533"/>
                          <a:gd name="connsiteX108" fmla="*/ 31597 w 33951"/>
                          <a:gd name="connsiteY108" fmla="*/ 7981 h 36533"/>
                          <a:gd name="connsiteX109" fmla="*/ 29982 w 33951"/>
                          <a:gd name="connsiteY109" fmla="*/ 5589 h 36533"/>
                          <a:gd name="connsiteX110" fmla="*/ 29623 w 33951"/>
                          <a:gd name="connsiteY110" fmla="*/ 5170 h 36533"/>
                          <a:gd name="connsiteX111" fmla="*/ 29265 w 33951"/>
                          <a:gd name="connsiteY111" fmla="*/ 4811 h 36533"/>
                          <a:gd name="connsiteX112" fmla="*/ 28906 w 33951"/>
                          <a:gd name="connsiteY112" fmla="*/ 4452 h 36533"/>
                          <a:gd name="connsiteX113" fmla="*/ 28487 w 33951"/>
                          <a:gd name="connsiteY113" fmla="*/ 4093 h 36533"/>
                          <a:gd name="connsiteX114" fmla="*/ 26573 w 33951"/>
                          <a:gd name="connsiteY114" fmla="*/ 2838 h 36533"/>
                          <a:gd name="connsiteX115" fmla="*/ 24420 w 33951"/>
                          <a:gd name="connsiteY115" fmla="*/ 2000 h 36533"/>
                          <a:gd name="connsiteX116" fmla="*/ 22088 w 33951"/>
                          <a:gd name="connsiteY116" fmla="*/ 1582 h 36533"/>
                          <a:gd name="connsiteX117" fmla="*/ 19576 w 33951"/>
                          <a:gd name="connsiteY117" fmla="*/ 1582 h 36533"/>
                          <a:gd name="connsiteX118" fmla="*/ 16406 w 33951"/>
                          <a:gd name="connsiteY118" fmla="*/ 2180 h 36533"/>
                          <a:gd name="connsiteX119" fmla="*/ 13296 w 33951"/>
                          <a:gd name="connsiteY119" fmla="*/ 3376 h 36533"/>
                          <a:gd name="connsiteX120" fmla="*/ 10365 w 33951"/>
                          <a:gd name="connsiteY120" fmla="*/ 5170 h 36533"/>
                          <a:gd name="connsiteX121" fmla="*/ 7614 w 33951"/>
                          <a:gd name="connsiteY121" fmla="*/ 7562 h 36533"/>
                          <a:gd name="connsiteX122" fmla="*/ 5282 w 33951"/>
                          <a:gd name="connsiteY122" fmla="*/ 10314 h 36533"/>
                          <a:gd name="connsiteX123" fmla="*/ 3428 w 33951"/>
                          <a:gd name="connsiteY123" fmla="*/ 13363 h 36533"/>
                          <a:gd name="connsiteX124" fmla="*/ 2052 w 33951"/>
                          <a:gd name="connsiteY124" fmla="*/ 16653 h 36533"/>
                          <a:gd name="connsiteX125" fmla="*/ 1275 w 33951"/>
                          <a:gd name="connsiteY125" fmla="*/ 20002 h 36533"/>
                          <a:gd name="connsiteX126" fmla="*/ 1155 w 33951"/>
                          <a:gd name="connsiteY126" fmla="*/ 24009 h 36533"/>
                          <a:gd name="connsiteX127" fmla="*/ 1933 w 33951"/>
                          <a:gd name="connsiteY127" fmla="*/ 27598 h 36533"/>
                          <a:gd name="connsiteX128" fmla="*/ 3488 w 33951"/>
                          <a:gd name="connsiteY128" fmla="*/ 30648 h 36533"/>
                          <a:gd name="connsiteX129" fmla="*/ 5760 w 33951"/>
                          <a:gd name="connsiteY129" fmla="*/ 33040 h 36533"/>
                          <a:gd name="connsiteX130" fmla="*/ 29205 w 33951"/>
                          <a:gd name="connsiteY130" fmla="*/ 3256 h 36533"/>
                          <a:gd name="connsiteX131" fmla="*/ 29623 w 33951"/>
                          <a:gd name="connsiteY131" fmla="*/ 3615 h 36533"/>
                          <a:gd name="connsiteX132" fmla="*/ 30042 w 33951"/>
                          <a:gd name="connsiteY132" fmla="*/ 3974 h 36533"/>
                          <a:gd name="connsiteX133" fmla="*/ 30401 w 33951"/>
                          <a:gd name="connsiteY133" fmla="*/ 4392 h 36533"/>
                          <a:gd name="connsiteX134" fmla="*/ 30760 w 33951"/>
                          <a:gd name="connsiteY134" fmla="*/ 4811 h 36533"/>
                          <a:gd name="connsiteX135" fmla="*/ 32434 w 33951"/>
                          <a:gd name="connsiteY135" fmla="*/ 7383 h 36533"/>
                          <a:gd name="connsiteX136" fmla="*/ 33511 w 33951"/>
                          <a:gd name="connsiteY136" fmla="*/ 10314 h 36533"/>
                          <a:gd name="connsiteX137" fmla="*/ 33929 w 33951"/>
                          <a:gd name="connsiteY137" fmla="*/ 13543 h 36533"/>
                          <a:gd name="connsiteX138" fmla="*/ 33750 w 33951"/>
                          <a:gd name="connsiteY138" fmla="*/ 17012 h 36533"/>
                          <a:gd name="connsiteX139" fmla="*/ 32913 w 33951"/>
                          <a:gd name="connsiteY139" fmla="*/ 20540 h 36533"/>
                          <a:gd name="connsiteX140" fmla="*/ 31477 w 33951"/>
                          <a:gd name="connsiteY140" fmla="*/ 23949 h 36533"/>
                          <a:gd name="connsiteX141" fmla="*/ 29504 w 33951"/>
                          <a:gd name="connsiteY141" fmla="*/ 27119 h 36533"/>
                          <a:gd name="connsiteX142" fmla="*/ 27052 w 33951"/>
                          <a:gd name="connsiteY142" fmla="*/ 30050 h 36533"/>
                          <a:gd name="connsiteX143" fmla="*/ 24181 w 33951"/>
                          <a:gd name="connsiteY143" fmla="*/ 32502 h 36533"/>
                          <a:gd name="connsiteX144" fmla="*/ 21071 w 33951"/>
                          <a:gd name="connsiteY144" fmla="*/ 34416 h 36533"/>
                          <a:gd name="connsiteX145" fmla="*/ 17841 w 33951"/>
                          <a:gd name="connsiteY145" fmla="*/ 35732 h 36533"/>
                          <a:gd name="connsiteX146" fmla="*/ 14492 w 33951"/>
                          <a:gd name="connsiteY146" fmla="*/ 36389 h 36533"/>
                          <a:gd name="connsiteX147" fmla="*/ 11801 w 33951"/>
                          <a:gd name="connsiteY147" fmla="*/ 36389 h 36533"/>
                          <a:gd name="connsiteX148" fmla="*/ 9289 w 33951"/>
                          <a:gd name="connsiteY148" fmla="*/ 35971 h 36533"/>
                          <a:gd name="connsiteX149" fmla="*/ 7016 w 33951"/>
                          <a:gd name="connsiteY149" fmla="*/ 35074 h 36533"/>
                          <a:gd name="connsiteX150" fmla="*/ 4983 w 33951"/>
                          <a:gd name="connsiteY150" fmla="*/ 33818 h 36533"/>
                          <a:gd name="connsiteX151" fmla="*/ 2590 w 33951"/>
                          <a:gd name="connsiteY151" fmla="*/ 31306 h 36533"/>
                          <a:gd name="connsiteX152" fmla="*/ 916 w 33951"/>
                          <a:gd name="connsiteY152" fmla="*/ 28076 h 36533"/>
                          <a:gd name="connsiteX153" fmla="*/ 79 w 33951"/>
                          <a:gd name="connsiteY153" fmla="*/ 24308 h 36533"/>
                          <a:gd name="connsiteX154" fmla="*/ 198 w 33951"/>
                          <a:gd name="connsiteY154" fmla="*/ 20062 h 36533"/>
                          <a:gd name="connsiteX155" fmla="*/ 1035 w 33951"/>
                          <a:gd name="connsiteY155" fmla="*/ 16474 h 36533"/>
                          <a:gd name="connsiteX156" fmla="*/ 2471 w 33951"/>
                          <a:gd name="connsiteY156" fmla="*/ 13005 h 36533"/>
                          <a:gd name="connsiteX157" fmla="*/ 4444 w 33951"/>
                          <a:gd name="connsiteY157" fmla="*/ 9775 h 36533"/>
                          <a:gd name="connsiteX158" fmla="*/ 6956 w 33951"/>
                          <a:gd name="connsiteY158" fmla="*/ 6845 h 36533"/>
                          <a:gd name="connsiteX159" fmla="*/ 9827 w 33951"/>
                          <a:gd name="connsiteY159" fmla="*/ 4333 h 36533"/>
                          <a:gd name="connsiteX160" fmla="*/ 12937 w 33951"/>
                          <a:gd name="connsiteY160" fmla="*/ 2419 h 36533"/>
                          <a:gd name="connsiteX161" fmla="*/ 16226 w 33951"/>
                          <a:gd name="connsiteY161" fmla="*/ 1103 h 36533"/>
                          <a:gd name="connsiteX162" fmla="*/ 19576 w 33951"/>
                          <a:gd name="connsiteY162" fmla="*/ 445 h 36533"/>
                          <a:gd name="connsiteX163" fmla="*/ 22267 w 33951"/>
                          <a:gd name="connsiteY163" fmla="*/ 445 h 36533"/>
                          <a:gd name="connsiteX164" fmla="*/ 24779 w 33951"/>
                          <a:gd name="connsiteY164" fmla="*/ 924 h 36533"/>
                          <a:gd name="connsiteX165" fmla="*/ 27052 w 33951"/>
                          <a:gd name="connsiteY165" fmla="*/ 1821 h 36533"/>
                          <a:gd name="connsiteX166" fmla="*/ 29205 w 33951"/>
                          <a:gd name="connsiteY166" fmla="*/ 3256 h 36533"/>
                          <a:gd name="connsiteX167" fmla="*/ 4983 w 33951"/>
                          <a:gd name="connsiteY167" fmla="*/ 33997 h 36533"/>
                          <a:gd name="connsiteX168" fmla="*/ 4983 w 33951"/>
                          <a:gd name="connsiteY168" fmla="*/ 33997 h 36533"/>
                          <a:gd name="connsiteX169" fmla="*/ 4983 w 33951"/>
                          <a:gd name="connsiteY169" fmla="*/ 33997 h 36533"/>
                          <a:gd name="connsiteX170" fmla="*/ 4983 w 33951"/>
                          <a:gd name="connsiteY170" fmla="*/ 33997 h 36533"/>
                          <a:gd name="connsiteX171" fmla="*/ 4983 w 33951"/>
                          <a:gd name="connsiteY171" fmla="*/ 33997 h 36533"/>
                          <a:gd name="connsiteX172" fmla="*/ 5222 w 33951"/>
                          <a:gd name="connsiteY172" fmla="*/ 34177 h 36533"/>
                          <a:gd name="connsiteX173" fmla="*/ 5401 w 33951"/>
                          <a:gd name="connsiteY173" fmla="*/ 34296 h 36533"/>
                          <a:gd name="connsiteX174" fmla="*/ 5581 w 33951"/>
                          <a:gd name="connsiteY174" fmla="*/ 34416 h 36533"/>
                          <a:gd name="connsiteX175" fmla="*/ 5820 w 33951"/>
                          <a:gd name="connsiteY175" fmla="*/ 34535 h 36533"/>
                          <a:gd name="connsiteX176" fmla="*/ 7734 w 33951"/>
                          <a:gd name="connsiteY176" fmla="*/ 35552 h 36533"/>
                          <a:gd name="connsiteX177" fmla="*/ 9827 w 33951"/>
                          <a:gd name="connsiteY177" fmla="*/ 36210 h 36533"/>
                          <a:gd name="connsiteX178" fmla="*/ 12100 w 33951"/>
                          <a:gd name="connsiteY178" fmla="*/ 36509 h 36533"/>
                          <a:gd name="connsiteX179" fmla="*/ 14492 w 33951"/>
                          <a:gd name="connsiteY179" fmla="*/ 36449 h 36533"/>
                          <a:gd name="connsiteX180" fmla="*/ 20891 w 33951"/>
                          <a:gd name="connsiteY180" fmla="*/ 34535 h 36533"/>
                          <a:gd name="connsiteX181" fmla="*/ 26573 w 33951"/>
                          <a:gd name="connsiteY181" fmla="*/ 30528 h 36533"/>
                          <a:gd name="connsiteX182" fmla="*/ 30939 w 33951"/>
                          <a:gd name="connsiteY182" fmla="*/ 24907 h 36533"/>
                          <a:gd name="connsiteX183" fmla="*/ 33511 w 33951"/>
                          <a:gd name="connsiteY183" fmla="*/ 18268 h 36533"/>
                          <a:gd name="connsiteX184" fmla="*/ 33571 w 33951"/>
                          <a:gd name="connsiteY184" fmla="*/ 17909 h 36533"/>
                          <a:gd name="connsiteX185" fmla="*/ 33630 w 33951"/>
                          <a:gd name="connsiteY185" fmla="*/ 17550 h 36533"/>
                          <a:gd name="connsiteX186" fmla="*/ 33690 w 33951"/>
                          <a:gd name="connsiteY186" fmla="*/ 17191 h 36533"/>
                          <a:gd name="connsiteX187" fmla="*/ 33750 w 33951"/>
                          <a:gd name="connsiteY187" fmla="*/ 16832 h 36533"/>
                          <a:gd name="connsiteX188" fmla="*/ 33750 w 33951"/>
                          <a:gd name="connsiteY188" fmla="*/ 16773 h 36533"/>
                          <a:gd name="connsiteX189" fmla="*/ 33750 w 33951"/>
                          <a:gd name="connsiteY189" fmla="*/ 16713 h 36533"/>
                          <a:gd name="connsiteX190" fmla="*/ 33750 w 33951"/>
                          <a:gd name="connsiteY190" fmla="*/ 16653 h 36533"/>
                          <a:gd name="connsiteX191" fmla="*/ 33750 w 33951"/>
                          <a:gd name="connsiteY191" fmla="*/ 16593 h 36533"/>
                          <a:gd name="connsiteX192" fmla="*/ 33929 w 33951"/>
                          <a:gd name="connsiteY192" fmla="*/ 14560 h 36533"/>
                          <a:gd name="connsiteX193" fmla="*/ 33870 w 33951"/>
                          <a:gd name="connsiteY193" fmla="*/ 12586 h 36533"/>
                          <a:gd name="connsiteX194" fmla="*/ 33630 w 33951"/>
                          <a:gd name="connsiteY194" fmla="*/ 10732 h 36533"/>
                          <a:gd name="connsiteX195" fmla="*/ 33152 w 33951"/>
                          <a:gd name="connsiteY195" fmla="*/ 8938 h 36533"/>
                          <a:gd name="connsiteX196" fmla="*/ 33092 w 33951"/>
                          <a:gd name="connsiteY196" fmla="*/ 8699 h 36533"/>
                          <a:gd name="connsiteX197" fmla="*/ 33033 w 33951"/>
                          <a:gd name="connsiteY197" fmla="*/ 8460 h 36533"/>
                          <a:gd name="connsiteX198" fmla="*/ 32973 w 33951"/>
                          <a:gd name="connsiteY198" fmla="*/ 8220 h 36533"/>
                          <a:gd name="connsiteX199" fmla="*/ 32913 w 33951"/>
                          <a:gd name="connsiteY199" fmla="*/ 7981 h 36533"/>
                          <a:gd name="connsiteX200" fmla="*/ 32255 w 33951"/>
                          <a:gd name="connsiteY200" fmla="*/ 6546 h 36533"/>
                          <a:gd name="connsiteX201" fmla="*/ 31418 w 33951"/>
                          <a:gd name="connsiteY201" fmla="*/ 5230 h 36533"/>
                          <a:gd name="connsiteX202" fmla="*/ 30401 w 33951"/>
                          <a:gd name="connsiteY202" fmla="*/ 4034 h 36533"/>
                          <a:gd name="connsiteX203" fmla="*/ 29265 w 33951"/>
                          <a:gd name="connsiteY203" fmla="*/ 2957 h 36533"/>
                          <a:gd name="connsiteX204" fmla="*/ 29205 w 33951"/>
                          <a:gd name="connsiteY204" fmla="*/ 2897 h 36533"/>
                          <a:gd name="connsiteX205" fmla="*/ 29145 w 33951"/>
                          <a:gd name="connsiteY205" fmla="*/ 2838 h 36533"/>
                          <a:gd name="connsiteX206" fmla="*/ 29085 w 33951"/>
                          <a:gd name="connsiteY206" fmla="*/ 2778 h 36533"/>
                          <a:gd name="connsiteX207" fmla="*/ 29025 w 33951"/>
                          <a:gd name="connsiteY207" fmla="*/ 2718 h 36533"/>
                          <a:gd name="connsiteX208" fmla="*/ 28846 w 33951"/>
                          <a:gd name="connsiteY208" fmla="*/ 2598 h 36533"/>
                          <a:gd name="connsiteX209" fmla="*/ 28666 w 33951"/>
                          <a:gd name="connsiteY209" fmla="*/ 2479 h 36533"/>
                          <a:gd name="connsiteX210" fmla="*/ 28487 w 33951"/>
                          <a:gd name="connsiteY210" fmla="*/ 2359 h 36533"/>
                          <a:gd name="connsiteX211" fmla="*/ 28308 w 33951"/>
                          <a:gd name="connsiteY211" fmla="*/ 2239 h 36533"/>
                          <a:gd name="connsiteX212" fmla="*/ 27710 w 33951"/>
                          <a:gd name="connsiteY212" fmla="*/ 1821 h 36533"/>
                          <a:gd name="connsiteX213" fmla="*/ 27052 w 33951"/>
                          <a:gd name="connsiteY213" fmla="*/ 1462 h 36533"/>
                          <a:gd name="connsiteX214" fmla="*/ 26394 w 33951"/>
                          <a:gd name="connsiteY214" fmla="*/ 1163 h 36533"/>
                          <a:gd name="connsiteX215" fmla="*/ 25736 w 33951"/>
                          <a:gd name="connsiteY215" fmla="*/ 864 h 36533"/>
                          <a:gd name="connsiteX216" fmla="*/ 25377 w 33951"/>
                          <a:gd name="connsiteY216" fmla="*/ 744 h 36533"/>
                          <a:gd name="connsiteX217" fmla="*/ 25018 w 33951"/>
                          <a:gd name="connsiteY217" fmla="*/ 625 h 36533"/>
                          <a:gd name="connsiteX218" fmla="*/ 24659 w 33951"/>
                          <a:gd name="connsiteY218" fmla="*/ 505 h 36533"/>
                          <a:gd name="connsiteX219" fmla="*/ 24301 w 33951"/>
                          <a:gd name="connsiteY219" fmla="*/ 385 h 36533"/>
                          <a:gd name="connsiteX220" fmla="*/ 23224 w 33951"/>
                          <a:gd name="connsiteY220" fmla="*/ 146 h 36533"/>
                          <a:gd name="connsiteX221" fmla="*/ 22088 w 33951"/>
                          <a:gd name="connsiteY221" fmla="*/ 27 h 36533"/>
                          <a:gd name="connsiteX222" fmla="*/ 20891 w 33951"/>
                          <a:gd name="connsiteY222" fmla="*/ 27 h 36533"/>
                          <a:gd name="connsiteX223" fmla="*/ 19695 w 33951"/>
                          <a:gd name="connsiteY223" fmla="*/ 86 h 36533"/>
                          <a:gd name="connsiteX224" fmla="*/ 17243 w 33951"/>
                          <a:gd name="connsiteY224" fmla="*/ 445 h 36533"/>
                          <a:gd name="connsiteX225" fmla="*/ 14791 w 33951"/>
                          <a:gd name="connsiteY225" fmla="*/ 1223 h 36533"/>
                          <a:gd name="connsiteX226" fmla="*/ 12399 w 33951"/>
                          <a:gd name="connsiteY226" fmla="*/ 2299 h 36533"/>
                          <a:gd name="connsiteX227" fmla="*/ 10126 w 33951"/>
                          <a:gd name="connsiteY227" fmla="*/ 3735 h 36533"/>
                          <a:gd name="connsiteX228" fmla="*/ 9827 w 33951"/>
                          <a:gd name="connsiteY228" fmla="*/ 3914 h 36533"/>
                          <a:gd name="connsiteX229" fmla="*/ 9528 w 33951"/>
                          <a:gd name="connsiteY229" fmla="*/ 4093 h 36533"/>
                          <a:gd name="connsiteX230" fmla="*/ 9289 w 33951"/>
                          <a:gd name="connsiteY230" fmla="*/ 4273 h 36533"/>
                          <a:gd name="connsiteX231" fmla="*/ 9050 w 33951"/>
                          <a:gd name="connsiteY231" fmla="*/ 4512 h 36533"/>
                          <a:gd name="connsiteX232" fmla="*/ 8511 w 33951"/>
                          <a:gd name="connsiteY232" fmla="*/ 4931 h 36533"/>
                          <a:gd name="connsiteX233" fmla="*/ 7973 w 33951"/>
                          <a:gd name="connsiteY233" fmla="*/ 5409 h 36533"/>
                          <a:gd name="connsiteX234" fmla="*/ 7435 w 33951"/>
                          <a:gd name="connsiteY234" fmla="*/ 5888 h 36533"/>
                          <a:gd name="connsiteX235" fmla="*/ 6956 w 33951"/>
                          <a:gd name="connsiteY235" fmla="*/ 6366 h 36533"/>
                          <a:gd name="connsiteX236" fmla="*/ 5820 w 33951"/>
                          <a:gd name="connsiteY236" fmla="*/ 7562 h 36533"/>
                          <a:gd name="connsiteX237" fmla="*/ 4803 w 33951"/>
                          <a:gd name="connsiteY237" fmla="*/ 8818 h 36533"/>
                          <a:gd name="connsiteX238" fmla="*/ 3847 w 33951"/>
                          <a:gd name="connsiteY238" fmla="*/ 10134 h 36533"/>
                          <a:gd name="connsiteX239" fmla="*/ 3009 w 33951"/>
                          <a:gd name="connsiteY239" fmla="*/ 11509 h 36533"/>
                          <a:gd name="connsiteX240" fmla="*/ 2889 w 33951"/>
                          <a:gd name="connsiteY240" fmla="*/ 11749 h 36533"/>
                          <a:gd name="connsiteX241" fmla="*/ 2770 w 33951"/>
                          <a:gd name="connsiteY241" fmla="*/ 11988 h 36533"/>
                          <a:gd name="connsiteX242" fmla="*/ 2650 w 33951"/>
                          <a:gd name="connsiteY242" fmla="*/ 12227 h 36533"/>
                          <a:gd name="connsiteX243" fmla="*/ 2531 w 33951"/>
                          <a:gd name="connsiteY243" fmla="*/ 12467 h 36533"/>
                          <a:gd name="connsiteX244" fmla="*/ 1753 w 33951"/>
                          <a:gd name="connsiteY244" fmla="*/ 14201 h 36533"/>
                          <a:gd name="connsiteX245" fmla="*/ 1095 w 33951"/>
                          <a:gd name="connsiteY245" fmla="*/ 15995 h 36533"/>
                          <a:gd name="connsiteX246" fmla="*/ 617 w 33951"/>
                          <a:gd name="connsiteY246" fmla="*/ 17790 h 36533"/>
                          <a:gd name="connsiteX247" fmla="*/ 258 w 33951"/>
                          <a:gd name="connsiteY247" fmla="*/ 19644 h 36533"/>
                          <a:gd name="connsiteX248" fmla="*/ 139 w 33951"/>
                          <a:gd name="connsiteY248" fmla="*/ 20481 h 36533"/>
                          <a:gd name="connsiteX249" fmla="*/ 79 w 33951"/>
                          <a:gd name="connsiteY249" fmla="*/ 21318 h 36533"/>
                          <a:gd name="connsiteX250" fmla="*/ 79 w 33951"/>
                          <a:gd name="connsiteY250" fmla="*/ 22155 h 36533"/>
                          <a:gd name="connsiteX251" fmla="*/ 79 w 33951"/>
                          <a:gd name="connsiteY251" fmla="*/ 22993 h 36533"/>
                          <a:gd name="connsiteX252" fmla="*/ 79 w 33951"/>
                          <a:gd name="connsiteY252" fmla="*/ 23232 h 36533"/>
                          <a:gd name="connsiteX253" fmla="*/ 79 w 33951"/>
                          <a:gd name="connsiteY253" fmla="*/ 23471 h 36533"/>
                          <a:gd name="connsiteX254" fmla="*/ 79 w 33951"/>
                          <a:gd name="connsiteY254" fmla="*/ 23710 h 36533"/>
                          <a:gd name="connsiteX255" fmla="*/ 79 w 33951"/>
                          <a:gd name="connsiteY255" fmla="*/ 23949 h 36533"/>
                          <a:gd name="connsiteX256" fmla="*/ 617 w 33951"/>
                          <a:gd name="connsiteY256" fmla="*/ 26761 h 36533"/>
                          <a:gd name="connsiteX257" fmla="*/ 1634 w 33951"/>
                          <a:gd name="connsiteY257" fmla="*/ 29332 h 36533"/>
                          <a:gd name="connsiteX258" fmla="*/ 3069 w 33951"/>
                          <a:gd name="connsiteY258" fmla="*/ 31545 h 36533"/>
                          <a:gd name="connsiteX259" fmla="*/ 4983 w 33951"/>
                          <a:gd name="connsiteY259" fmla="*/ 33997 h 3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33951" h="36533">
                            <a:moveTo>
                              <a:pt x="6059" y="33100"/>
                            </a:moveTo>
                            <a:cubicBezTo>
                              <a:pt x="6059" y="33100"/>
                              <a:pt x="6059" y="33100"/>
                              <a:pt x="6059" y="33100"/>
                            </a:cubicBezTo>
                            <a:cubicBezTo>
                              <a:pt x="6000" y="33040"/>
                              <a:pt x="5940" y="33040"/>
                              <a:pt x="5940" y="33040"/>
                            </a:cubicBezTo>
                            <a:cubicBezTo>
                              <a:pt x="5940" y="33040"/>
                              <a:pt x="5880" y="33040"/>
                              <a:pt x="5880" y="32980"/>
                            </a:cubicBezTo>
                            <a:cubicBezTo>
                              <a:pt x="5880" y="32980"/>
                              <a:pt x="5820" y="32980"/>
                              <a:pt x="5820" y="32921"/>
                            </a:cubicBezTo>
                            <a:cubicBezTo>
                              <a:pt x="5760" y="32861"/>
                              <a:pt x="5701" y="32861"/>
                              <a:pt x="5641" y="32801"/>
                            </a:cubicBezTo>
                            <a:cubicBezTo>
                              <a:pt x="5581" y="32741"/>
                              <a:pt x="5521" y="32741"/>
                              <a:pt x="5521" y="32681"/>
                            </a:cubicBezTo>
                            <a:cubicBezTo>
                              <a:pt x="5461" y="32622"/>
                              <a:pt x="5401" y="32622"/>
                              <a:pt x="5401" y="32562"/>
                            </a:cubicBezTo>
                            <a:cubicBezTo>
                              <a:pt x="5342" y="32502"/>
                              <a:pt x="5282" y="32502"/>
                              <a:pt x="5282" y="32442"/>
                            </a:cubicBezTo>
                            <a:cubicBezTo>
                              <a:pt x="4743" y="31964"/>
                              <a:pt x="4205" y="31366"/>
                              <a:pt x="3787" y="30827"/>
                            </a:cubicBezTo>
                            <a:cubicBezTo>
                              <a:pt x="3368" y="30229"/>
                              <a:pt x="2949" y="29571"/>
                              <a:pt x="2650" y="28914"/>
                            </a:cubicBezTo>
                            <a:cubicBezTo>
                              <a:pt x="2292" y="28256"/>
                              <a:pt x="2052" y="27538"/>
                              <a:pt x="1813" y="26761"/>
                            </a:cubicBezTo>
                            <a:cubicBezTo>
                              <a:pt x="1574" y="25983"/>
                              <a:pt x="1454" y="25206"/>
                              <a:pt x="1334" y="24428"/>
                            </a:cubicBezTo>
                            <a:cubicBezTo>
                              <a:pt x="1334" y="24368"/>
                              <a:pt x="1334" y="24248"/>
                              <a:pt x="1334" y="24189"/>
                            </a:cubicBezTo>
                            <a:cubicBezTo>
                              <a:pt x="1334" y="24129"/>
                              <a:pt x="1334" y="24009"/>
                              <a:pt x="1334" y="23949"/>
                            </a:cubicBezTo>
                            <a:cubicBezTo>
                              <a:pt x="1334" y="23890"/>
                              <a:pt x="1334" y="23770"/>
                              <a:pt x="1334" y="23710"/>
                            </a:cubicBezTo>
                            <a:cubicBezTo>
                              <a:pt x="1334" y="23651"/>
                              <a:pt x="1334" y="23531"/>
                              <a:pt x="1334" y="23471"/>
                            </a:cubicBezTo>
                            <a:cubicBezTo>
                              <a:pt x="1334" y="23232"/>
                              <a:pt x="1334" y="22933"/>
                              <a:pt x="1334" y="22634"/>
                            </a:cubicBezTo>
                            <a:cubicBezTo>
                              <a:pt x="1334" y="22335"/>
                              <a:pt x="1334" y="22095"/>
                              <a:pt x="1334" y="21797"/>
                            </a:cubicBezTo>
                            <a:cubicBezTo>
                              <a:pt x="1334" y="21498"/>
                              <a:pt x="1394" y="21258"/>
                              <a:pt x="1394" y="20959"/>
                            </a:cubicBezTo>
                            <a:cubicBezTo>
                              <a:pt x="1394" y="20660"/>
                              <a:pt x="1454" y="20361"/>
                              <a:pt x="1514" y="20122"/>
                            </a:cubicBezTo>
                            <a:cubicBezTo>
                              <a:pt x="1574" y="19524"/>
                              <a:pt x="1693" y="18866"/>
                              <a:pt x="1873" y="18268"/>
                            </a:cubicBezTo>
                            <a:cubicBezTo>
                              <a:pt x="1993" y="17670"/>
                              <a:pt x="2172" y="17072"/>
                              <a:pt x="2411" y="16474"/>
                            </a:cubicBezTo>
                            <a:cubicBezTo>
                              <a:pt x="2650" y="15876"/>
                              <a:pt x="2830" y="15277"/>
                              <a:pt x="3069" y="14679"/>
                            </a:cubicBezTo>
                            <a:cubicBezTo>
                              <a:pt x="3308" y="14081"/>
                              <a:pt x="3607" y="13543"/>
                              <a:pt x="3906" y="12945"/>
                            </a:cubicBezTo>
                            <a:cubicBezTo>
                              <a:pt x="3966" y="12885"/>
                              <a:pt x="4026" y="12766"/>
                              <a:pt x="4026" y="12706"/>
                            </a:cubicBezTo>
                            <a:cubicBezTo>
                              <a:pt x="4086" y="12646"/>
                              <a:pt x="4146" y="12526"/>
                              <a:pt x="4146" y="12467"/>
                            </a:cubicBezTo>
                            <a:cubicBezTo>
                              <a:pt x="4205" y="12407"/>
                              <a:pt x="4265" y="12287"/>
                              <a:pt x="4325" y="12227"/>
                            </a:cubicBezTo>
                            <a:cubicBezTo>
                              <a:pt x="4385" y="12168"/>
                              <a:pt x="4444" y="12048"/>
                              <a:pt x="4504" y="11988"/>
                            </a:cubicBezTo>
                            <a:cubicBezTo>
                              <a:pt x="4743" y="11629"/>
                              <a:pt x="4983" y="11270"/>
                              <a:pt x="5222" y="10852"/>
                            </a:cubicBezTo>
                            <a:cubicBezTo>
                              <a:pt x="5461" y="10493"/>
                              <a:pt x="5760" y="10134"/>
                              <a:pt x="6000" y="9775"/>
                            </a:cubicBezTo>
                            <a:cubicBezTo>
                              <a:pt x="6298" y="9416"/>
                              <a:pt x="6538" y="9058"/>
                              <a:pt x="6837" y="8759"/>
                            </a:cubicBezTo>
                            <a:cubicBezTo>
                              <a:pt x="7136" y="8400"/>
                              <a:pt x="7435" y="8100"/>
                              <a:pt x="7734" y="7742"/>
                            </a:cubicBezTo>
                            <a:cubicBezTo>
                              <a:pt x="7854" y="7622"/>
                              <a:pt x="7913" y="7562"/>
                              <a:pt x="8033" y="7443"/>
                            </a:cubicBezTo>
                            <a:cubicBezTo>
                              <a:pt x="8153" y="7323"/>
                              <a:pt x="8212" y="7263"/>
                              <a:pt x="8332" y="7144"/>
                            </a:cubicBezTo>
                            <a:cubicBezTo>
                              <a:pt x="8451" y="7024"/>
                              <a:pt x="8511" y="6964"/>
                              <a:pt x="8631" y="6905"/>
                            </a:cubicBezTo>
                            <a:cubicBezTo>
                              <a:pt x="8750" y="6845"/>
                              <a:pt x="8810" y="6725"/>
                              <a:pt x="8930" y="6665"/>
                            </a:cubicBezTo>
                            <a:cubicBezTo>
                              <a:pt x="8990" y="6605"/>
                              <a:pt x="9110" y="6486"/>
                              <a:pt x="9169" y="6426"/>
                            </a:cubicBezTo>
                            <a:cubicBezTo>
                              <a:pt x="9289" y="6366"/>
                              <a:pt x="9349" y="6246"/>
                              <a:pt x="9468" y="6187"/>
                            </a:cubicBezTo>
                            <a:cubicBezTo>
                              <a:pt x="9588" y="6127"/>
                              <a:pt x="9648" y="6067"/>
                              <a:pt x="9767" y="5947"/>
                            </a:cubicBezTo>
                            <a:cubicBezTo>
                              <a:pt x="9887" y="5828"/>
                              <a:pt x="9947" y="5828"/>
                              <a:pt x="10066" y="5708"/>
                            </a:cubicBezTo>
                            <a:cubicBezTo>
                              <a:pt x="10784" y="5110"/>
                              <a:pt x="11562" y="4632"/>
                              <a:pt x="12339" y="4153"/>
                            </a:cubicBezTo>
                            <a:cubicBezTo>
                              <a:pt x="13117" y="3675"/>
                              <a:pt x="13894" y="3316"/>
                              <a:pt x="14731" y="2957"/>
                            </a:cubicBezTo>
                            <a:cubicBezTo>
                              <a:pt x="15569" y="2598"/>
                              <a:pt x="16346" y="2359"/>
                              <a:pt x="17183" y="2120"/>
                            </a:cubicBezTo>
                            <a:cubicBezTo>
                              <a:pt x="18021" y="1940"/>
                              <a:pt x="18858" y="1761"/>
                              <a:pt x="19695" y="1701"/>
                            </a:cubicBezTo>
                            <a:cubicBezTo>
                              <a:pt x="20174" y="1642"/>
                              <a:pt x="20712" y="1642"/>
                              <a:pt x="21190" y="1642"/>
                            </a:cubicBezTo>
                            <a:cubicBezTo>
                              <a:pt x="21669" y="1642"/>
                              <a:pt x="22148" y="1701"/>
                              <a:pt x="22626" y="1761"/>
                            </a:cubicBezTo>
                            <a:cubicBezTo>
                              <a:pt x="23104" y="1821"/>
                              <a:pt x="23583" y="1881"/>
                              <a:pt x="24002" y="2000"/>
                            </a:cubicBezTo>
                            <a:cubicBezTo>
                              <a:pt x="24480" y="2120"/>
                              <a:pt x="24898" y="2239"/>
                              <a:pt x="25317" y="2419"/>
                            </a:cubicBezTo>
                            <a:cubicBezTo>
                              <a:pt x="25437" y="2479"/>
                              <a:pt x="25616" y="2538"/>
                              <a:pt x="25736" y="2598"/>
                            </a:cubicBezTo>
                            <a:cubicBezTo>
                              <a:pt x="25856" y="2658"/>
                              <a:pt x="25975" y="2718"/>
                              <a:pt x="26155" y="2778"/>
                            </a:cubicBezTo>
                            <a:cubicBezTo>
                              <a:pt x="26274" y="2838"/>
                              <a:pt x="26394" y="2897"/>
                              <a:pt x="26573" y="2957"/>
                            </a:cubicBezTo>
                            <a:cubicBezTo>
                              <a:pt x="26752" y="3017"/>
                              <a:pt x="26812" y="3077"/>
                              <a:pt x="26932" y="3137"/>
                            </a:cubicBezTo>
                            <a:cubicBezTo>
                              <a:pt x="26992" y="3137"/>
                              <a:pt x="26992" y="3197"/>
                              <a:pt x="27052" y="3197"/>
                            </a:cubicBezTo>
                            <a:cubicBezTo>
                              <a:pt x="27111" y="3197"/>
                              <a:pt x="27111" y="3256"/>
                              <a:pt x="27171" y="3256"/>
                            </a:cubicBezTo>
                            <a:cubicBezTo>
                              <a:pt x="27231" y="3256"/>
                              <a:pt x="27231" y="3316"/>
                              <a:pt x="27291" y="3316"/>
                            </a:cubicBezTo>
                            <a:cubicBezTo>
                              <a:pt x="27351" y="3316"/>
                              <a:pt x="27351" y="3376"/>
                              <a:pt x="27411" y="3376"/>
                            </a:cubicBezTo>
                            <a:cubicBezTo>
                              <a:pt x="27470" y="3436"/>
                              <a:pt x="27530" y="3436"/>
                              <a:pt x="27590" y="3496"/>
                            </a:cubicBezTo>
                            <a:cubicBezTo>
                              <a:pt x="27650" y="3555"/>
                              <a:pt x="27710" y="3555"/>
                              <a:pt x="27769" y="3615"/>
                            </a:cubicBezTo>
                            <a:cubicBezTo>
                              <a:pt x="27829" y="3675"/>
                              <a:pt x="27889" y="3675"/>
                              <a:pt x="27949" y="3735"/>
                            </a:cubicBezTo>
                            <a:cubicBezTo>
                              <a:pt x="28009" y="3794"/>
                              <a:pt x="28068" y="3794"/>
                              <a:pt x="28128" y="3854"/>
                            </a:cubicBezTo>
                            <a:cubicBezTo>
                              <a:pt x="28188" y="3854"/>
                              <a:pt x="28188" y="3914"/>
                              <a:pt x="28248" y="3914"/>
                            </a:cubicBezTo>
                            <a:cubicBezTo>
                              <a:pt x="28308" y="3914"/>
                              <a:pt x="28308" y="3974"/>
                              <a:pt x="28367" y="3974"/>
                            </a:cubicBezTo>
                            <a:cubicBezTo>
                              <a:pt x="28427" y="3974"/>
                              <a:pt x="28427" y="4034"/>
                              <a:pt x="28487" y="4034"/>
                            </a:cubicBezTo>
                            <a:cubicBezTo>
                              <a:pt x="28547" y="4034"/>
                              <a:pt x="28547" y="4093"/>
                              <a:pt x="28606" y="4093"/>
                            </a:cubicBezTo>
                            <a:cubicBezTo>
                              <a:pt x="28965" y="4392"/>
                              <a:pt x="29384" y="4751"/>
                              <a:pt x="29683" y="5110"/>
                            </a:cubicBezTo>
                            <a:cubicBezTo>
                              <a:pt x="29982" y="5469"/>
                              <a:pt x="30341" y="5828"/>
                              <a:pt x="30640" y="6246"/>
                            </a:cubicBezTo>
                            <a:cubicBezTo>
                              <a:pt x="30939" y="6665"/>
                              <a:pt x="31178" y="7084"/>
                              <a:pt x="31418" y="7503"/>
                            </a:cubicBezTo>
                            <a:cubicBezTo>
                              <a:pt x="31657" y="7921"/>
                              <a:pt x="31896" y="8400"/>
                              <a:pt x="32075" y="8878"/>
                            </a:cubicBezTo>
                            <a:cubicBezTo>
                              <a:pt x="32075" y="8938"/>
                              <a:pt x="32135" y="8998"/>
                              <a:pt x="32135" y="9117"/>
                            </a:cubicBezTo>
                            <a:cubicBezTo>
                              <a:pt x="32135" y="9177"/>
                              <a:pt x="32195" y="9237"/>
                              <a:pt x="32195" y="9357"/>
                            </a:cubicBezTo>
                            <a:cubicBezTo>
                              <a:pt x="32195" y="9416"/>
                              <a:pt x="32255" y="9476"/>
                              <a:pt x="32255" y="9596"/>
                            </a:cubicBezTo>
                            <a:cubicBezTo>
                              <a:pt x="32255" y="9655"/>
                              <a:pt x="32314" y="9715"/>
                              <a:pt x="32314" y="9835"/>
                            </a:cubicBezTo>
                            <a:cubicBezTo>
                              <a:pt x="32434" y="10194"/>
                              <a:pt x="32554" y="10613"/>
                              <a:pt x="32614" y="10971"/>
                            </a:cubicBezTo>
                            <a:cubicBezTo>
                              <a:pt x="32673" y="11330"/>
                              <a:pt x="32793" y="11749"/>
                              <a:pt x="32853" y="12168"/>
                            </a:cubicBezTo>
                            <a:cubicBezTo>
                              <a:pt x="32913" y="12586"/>
                              <a:pt x="32973" y="13005"/>
                              <a:pt x="32973" y="13423"/>
                            </a:cubicBezTo>
                            <a:cubicBezTo>
                              <a:pt x="32973" y="13842"/>
                              <a:pt x="33033" y="14261"/>
                              <a:pt x="32973" y="14679"/>
                            </a:cubicBezTo>
                            <a:cubicBezTo>
                              <a:pt x="32973" y="14859"/>
                              <a:pt x="32973" y="14978"/>
                              <a:pt x="32973" y="15158"/>
                            </a:cubicBezTo>
                            <a:cubicBezTo>
                              <a:pt x="32973" y="15337"/>
                              <a:pt x="32973" y="15517"/>
                              <a:pt x="32973" y="15636"/>
                            </a:cubicBezTo>
                            <a:cubicBezTo>
                              <a:pt x="32973" y="15816"/>
                              <a:pt x="32973" y="15995"/>
                              <a:pt x="32913" y="16115"/>
                            </a:cubicBezTo>
                            <a:cubicBezTo>
                              <a:pt x="32853" y="16234"/>
                              <a:pt x="32853" y="16474"/>
                              <a:pt x="32853" y="16593"/>
                            </a:cubicBezTo>
                            <a:cubicBezTo>
                              <a:pt x="32853" y="16653"/>
                              <a:pt x="32853" y="16653"/>
                              <a:pt x="32853" y="16713"/>
                            </a:cubicBezTo>
                            <a:cubicBezTo>
                              <a:pt x="32853" y="16773"/>
                              <a:pt x="32853" y="16773"/>
                              <a:pt x="32853" y="16832"/>
                            </a:cubicBezTo>
                            <a:cubicBezTo>
                              <a:pt x="32853" y="16892"/>
                              <a:pt x="32853" y="16892"/>
                              <a:pt x="32853" y="16952"/>
                            </a:cubicBezTo>
                            <a:cubicBezTo>
                              <a:pt x="32853" y="17012"/>
                              <a:pt x="32853" y="17012"/>
                              <a:pt x="32853" y="17072"/>
                            </a:cubicBezTo>
                            <a:cubicBezTo>
                              <a:pt x="32494" y="19344"/>
                              <a:pt x="31776" y="21617"/>
                              <a:pt x="30700" y="23651"/>
                            </a:cubicBezTo>
                            <a:cubicBezTo>
                              <a:pt x="29623" y="25744"/>
                              <a:pt x="28248" y="27598"/>
                              <a:pt x="26633" y="29272"/>
                            </a:cubicBezTo>
                            <a:cubicBezTo>
                              <a:pt x="25018" y="30887"/>
                              <a:pt x="23164" y="32323"/>
                              <a:pt x="21190" y="33339"/>
                            </a:cubicBezTo>
                            <a:cubicBezTo>
                              <a:pt x="19217" y="34356"/>
                              <a:pt x="17124" y="35014"/>
                              <a:pt x="14971" y="35253"/>
                            </a:cubicBezTo>
                            <a:cubicBezTo>
                              <a:pt x="14133" y="35313"/>
                              <a:pt x="13356" y="35373"/>
                              <a:pt x="12578" y="35313"/>
                            </a:cubicBezTo>
                            <a:cubicBezTo>
                              <a:pt x="11801" y="35253"/>
                              <a:pt x="11023" y="35133"/>
                              <a:pt x="10305" y="34954"/>
                            </a:cubicBezTo>
                            <a:cubicBezTo>
                              <a:pt x="9588" y="34775"/>
                              <a:pt x="8870" y="34535"/>
                              <a:pt x="8212" y="34177"/>
                            </a:cubicBezTo>
                            <a:cubicBezTo>
                              <a:pt x="7315" y="33937"/>
                              <a:pt x="6657" y="33578"/>
                              <a:pt x="6059" y="33100"/>
                            </a:cubicBezTo>
                            <a:moveTo>
                              <a:pt x="5760" y="33040"/>
                            </a:moveTo>
                            <a:cubicBezTo>
                              <a:pt x="6358" y="33519"/>
                              <a:pt x="6956" y="33937"/>
                              <a:pt x="7674" y="34237"/>
                            </a:cubicBezTo>
                            <a:cubicBezTo>
                              <a:pt x="8332" y="34595"/>
                              <a:pt x="9050" y="34834"/>
                              <a:pt x="9827" y="35074"/>
                            </a:cubicBezTo>
                            <a:cubicBezTo>
                              <a:pt x="10605" y="35253"/>
                              <a:pt x="11382" y="35432"/>
                              <a:pt x="12219" y="35492"/>
                            </a:cubicBezTo>
                            <a:cubicBezTo>
                              <a:pt x="13057" y="35552"/>
                              <a:pt x="13894" y="35552"/>
                              <a:pt x="14791" y="35432"/>
                            </a:cubicBezTo>
                            <a:cubicBezTo>
                              <a:pt x="15868" y="35313"/>
                              <a:pt x="16884" y="35133"/>
                              <a:pt x="17901" y="34834"/>
                            </a:cubicBezTo>
                            <a:cubicBezTo>
                              <a:pt x="18918" y="34535"/>
                              <a:pt x="19935" y="34117"/>
                              <a:pt x="20951" y="33578"/>
                            </a:cubicBezTo>
                            <a:cubicBezTo>
                              <a:pt x="21968" y="33100"/>
                              <a:pt x="22925" y="32502"/>
                              <a:pt x="23882" y="31784"/>
                            </a:cubicBezTo>
                            <a:cubicBezTo>
                              <a:pt x="24839" y="31126"/>
                              <a:pt x="25736" y="30349"/>
                              <a:pt x="26573" y="29452"/>
                            </a:cubicBezTo>
                            <a:cubicBezTo>
                              <a:pt x="27411" y="28615"/>
                              <a:pt x="28188" y="27658"/>
                              <a:pt x="28906" y="26701"/>
                            </a:cubicBezTo>
                            <a:cubicBezTo>
                              <a:pt x="29623" y="25744"/>
                              <a:pt x="30221" y="24727"/>
                              <a:pt x="30760" y="23651"/>
                            </a:cubicBezTo>
                            <a:cubicBezTo>
                              <a:pt x="31298" y="22634"/>
                              <a:pt x="31717" y="21498"/>
                              <a:pt x="32075" y="20421"/>
                            </a:cubicBezTo>
                            <a:cubicBezTo>
                              <a:pt x="32434" y="19344"/>
                              <a:pt x="32673" y="18208"/>
                              <a:pt x="32853" y="17072"/>
                            </a:cubicBezTo>
                            <a:cubicBezTo>
                              <a:pt x="33033" y="15936"/>
                              <a:pt x="33092" y="14859"/>
                              <a:pt x="33033" y="13782"/>
                            </a:cubicBezTo>
                            <a:cubicBezTo>
                              <a:pt x="32973" y="12706"/>
                              <a:pt x="32853" y="11689"/>
                              <a:pt x="32614" y="10732"/>
                            </a:cubicBezTo>
                            <a:cubicBezTo>
                              <a:pt x="32374" y="9775"/>
                              <a:pt x="32016" y="8818"/>
                              <a:pt x="31597" y="7981"/>
                            </a:cubicBezTo>
                            <a:cubicBezTo>
                              <a:pt x="31178" y="7084"/>
                              <a:pt x="30640" y="6306"/>
                              <a:pt x="29982" y="5589"/>
                            </a:cubicBezTo>
                            <a:cubicBezTo>
                              <a:pt x="29863" y="5469"/>
                              <a:pt x="29743" y="5350"/>
                              <a:pt x="29623" y="5170"/>
                            </a:cubicBezTo>
                            <a:cubicBezTo>
                              <a:pt x="29504" y="5051"/>
                              <a:pt x="29384" y="4931"/>
                              <a:pt x="29265" y="4811"/>
                            </a:cubicBezTo>
                            <a:cubicBezTo>
                              <a:pt x="29145" y="4692"/>
                              <a:pt x="29025" y="4572"/>
                              <a:pt x="28906" y="4452"/>
                            </a:cubicBezTo>
                            <a:cubicBezTo>
                              <a:pt x="28786" y="4333"/>
                              <a:pt x="28666" y="4213"/>
                              <a:pt x="28487" y="4093"/>
                            </a:cubicBezTo>
                            <a:cubicBezTo>
                              <a:pt x="27889" y="3615"/>
                              <a:pt x="27231" y="3197"/>
                              <a:pt x="26573" y="2838"/>
                            </a:cubicBezTo>
                            <a:cubicBezTo>
                              <a:pt x="25915" y="2479"/>
                              <a:pt x="25197" y="2180"/>
                              <a:pt x="24420" y="2000"/>
                            </a:cubicBezTo>
                            <a:cubicBezTo>
                              <a:pt x="23643" y="1761"/>
                              <a:pt x="22865" y="1642"/>
                              <a:pt x="22088" y="1582"/>
                            </a:cubicBezTo>
                            <a:cubicBezTo>
                              <a:pt x="21250" y="1522"/>
                              <a:pt x="20413" y="1522"/>
                              <a:pt x="19576" y="1582"/>
                            </a:cubicBezTo>
                            <a:cubicBezTo>
                              <a:pt x="18499" y="1642"/>
                              <a:pt x="17423" y="1881"/>
                              <a:pt x="16406" y="2180"/>
                            </a:cubicBezTo>
                            <a:cubicBezTo>
                              <a:pt x="15329" y="2479"/>
                              <a:pt x="14313" y="2897"/>
                              <a:pt x="13296" y="3376"/>
                            </a:cubicBezTo>
                            <a:cubicBezTo>
                              <a:pt x="12279" y="3854"/>
                              <a:pt x="11322" y="4512"/>
                              <a:pt x="10365" y="5170"/>
                            </a:cubicBezTo>
                            <a:cubicBezTo>
                              <a:pt x="9409" y="5888"/>
                              <a:pt x="8511" y="6665"/>
                              <a:pt x="7614" y="7562"/>
                            </a:cubicBezTo>
                            <a:cubicBezTo>
                              <a:pt x="6777" y="8460"/>
                              <a:pt x="5940" y="9357"/>
                              <a:pt x="5282" y="10314"/>
                            </a:cubicBezTo>
                            <a:cubicBezTo>
                              <a:pt x="4624" y="11270"/>
                              <a:pt x="3966" y="12287"/>
                              <a:pt x="3428" y="13363"/>
                            </a:cubicBezTo>
                            <a:cubicBezTo>
                              <a:pt x="2889" y="14440"/>
                              <a:pt x="2411" y="15517"/>
                              <a:pt x="2052" y="16653"/>
                            </a:cubicBezTo>
                            <a:cubicBezTo>
                              <a:pt x="1693" y="17790"/>
                              <a:pt x="1454" y="18866"/>
                              <a:pt x="1275" y="20002"/>
                            </a:cubicBezTo>
                            <a:cubicBezTo>
                              <a:pt x="1095" y="21378"/>
                              <a:pt x="1035" y="22693"/>
                              <a:pt x="1155" y="24009"/>
                            </a:cubicBezTo>
                            <a:cubicBezTo>
                              <a:pt x="1275" y="25265"/>
                              <a:pt x="1514" y="26461"/>
                              <a:pt x="1933" y="27598"/>
                            </a:cubicBezTo>
                            <a:cubicBezTo>
                              <a:pt x="2351" y="28674"/>
                              <a:pt x="2830" y="29691"/>
                              <a:pt x="3488" y="30648"/>
                            </a:cubicBezTo>
                            <a:cubicBezTo>
                              <a:pt x="4146" y="31545"/>
                              <a:pt x="4923" y="32323"/>
                              <a:pt x="5760" y="33040"/>
                            </a:cubicBezTo>
                            <a:moveTo>
                              <a:pt x="29205" y="3256"/>
                            </a:moveTo>
                            <a:cubicBezTo>
                              <a:pt x="29324" y="3376"/>
                              <a:pt x="29504" y="3496"/>
                              <a:pt x="29623" y="3615"/>
                            </a:cubicBezTo>
                            <a:cubicBezTo>
                              <a:pt x="29743" y="3735"/>
                              <a:pt x="29863" y="3854"/>
                              <a:pt x="30042" y="3974"/>
                            </a:cubicBezTo>
                            <a:cubicBezTo>
                              <a:pt x="30162" y="4093"/>
                              <a:pt x="30281" y="4213"/>
                              <a:pt x="30401" y="4392"/>
                            </a:cubicBezTo>
                            <a:cubicBezTo>
                              <a:pt x="30520" y="4512"/>
                              <a:pt x="30640" y="4692"/>
                              <a:pt x="30760" y="4811"/>
                            </a:cubicBezTo>
                            <a:cubicBezTo>
                              <a:pt x="31418" y="5589"/>
                              <a:pt x="31956" y="6426"/>
                              <a:pt x="32434" y="7383"/>
                            </a:cubicBezTo>
                            <a:cubicBezTo>
                              <a:pt x="32913" y="8280"/>
                              <a:pt x="33272" y="9297"/>
                              <a:pt x="33511" y="10314"/>
                            </a:cubicBezTo>
                            <a:cubicBezTo>
                              <a:pt x="33750" y="11330"/>
                              <a:pt x="33929" y="12407"/>
                              <a:pt x="33929" y="13543"/>
                            </a:cubicBezTo>
                            <a:cubicBezTo>
                              <a:pt x="33989" y="14679"/>
                              <a:pt x="33929" y="15816"/>
                              <a:pt x="33750" y="17012"/>
                            </a:cubicBezTo>
                            <a:cubicBezTo>
                              <a:pt x="33571" y="18208"/>
                              <a:pt x="33272" y="19404"/>
                              <a:pt x="32913" y="20540"/>
                            </a:cubicBezTo>
                            <a:cubicBezTo>
                              <a:pt x="32554" y="21677"/>
                              <a:pt x="32075" y="22813"/>
                              <a:pt x="31477" y="23949"/>
                            </a:cubicBezTo>
                            <a:cubicBezTo>
                              <a:pt x="30939" y="25026"/>
                              <a:pt x="30281" y="26102"/>
                              <a:pt x="29504" y="27119"/>
                            </a:cubicBezTo>
                            <a:cubicBezTo>
                              <a:pt x="28786" y="28136"/>
                              <a:pt x="27949" y="29093"/>
                              <a:pt x="27052" y="30050"/>
                            </a:cubicBezTo>
                            <a:cubicBezTo>
                              <a:pt x="26155" y="30947"/>
                              <a:pt x="25197" y="31784"/>
                              <a:pt x="24181" y="32502"/>
                            </a:cubicBezTo>
                            <a:cubicBezTo>
                              <a:pt x="23164" y="33220"/>
                              <a:pt x="22148" y="33878"/>
                              <a:pt x="21071" y="34416"/>
                            </a:cubicBezTo>
                            <a:cubicBezTo>
                              <a:pt x="19994" y="34954"/>
                              <a:pt x="18918" y="35373"/>
                              <a:pt x="17841" y="35732"/>
                            </a:cubicBezTo>
                            <a:cubicBezTo>
                              <a:pt x="16765" y="36091"/>
                              <a:pt x="15628" y="36270"/>
                              <a:pt x="14492" y="36389"/>
                            </a:cubicBezTo>
                            <a:cubicBezTo>
                              <a:pt x="13535" y="36509"/>
                              <a:pt x="12638" y="36509"/>
                              <a:pt x="11801" y="36389"/>
                            </a:cubicBezTo>
                            <a:cubicBezTo>
                              <a:pt x="10904" y="36330"/>
                              <a:pt x="10126" y="36150"/>
                              <a:pt x="9289" y="35971"/>
                            </a:cubicBezTo>
                            <a:cubicBezTo>
                              <a:pt x="8511" y="35732"/>
                              <a:pt x="7734" y="35432"/>
                              <a:pt x="7016" y="35074"/>
                            </a:cubicBezTo>
                            <a:cubicBezTo>
                              <a:pt x="6298" y="34715"/>
                              <a:pt x="5641" y="34296"/>
                              <a:pt x="4983" y="33818"/>
                            </a:cubicBezTo>
                            <a:cubicBezTo>
                              <a:pt x="4086" y="33100"/>
                              <a:pt x="3248" y="32263"/>
                              <a:pt x="2590" y="31306"/>
                            </a:cubicBezTo>
                            <a:cubicBezTo>
                              <a:pt x="1933" y="30349"/>
                              <a:pt x="1334" y="29272"/>
                              <a:pt x="916" y="28076"/>
                            </a:cubicBezTo>
                            <a:cubicBezTo>
                              <a:pt x="497" y="26880"/>
                              <a:pt x="198" y="25624"/>
                              <a:pt x="79" y="24308"/>
                            </a:cubicBezTo>
                            <a:cubicBezTo>
                              <a:pt x="-41" y="22993"/>
                              <a:pt x="-41" y="21557"/>
                              <a:pt x="198" y="20062"/>
                            </a:cubicBezTo>
                            <a:cubicBezTo>
                              <a:pt x="378" y="18866"/>
                              <a:pt x="617" y="17670"/>
                              <a:pt x="1035" y="16474"/>
                            </a:cubicBezTo>
                            <a:cubicBezTo>
                              <a:pt x="1394" y="15277"/>
                              <a:pt x="1873" y="14141"/>
                              <a:pt x="2471" y="13005"/>
                            </a:cubicBezTo>
                            <a:cubicBezTo>
                              <a:pt x="3069" y="11868"/>
                              <a:pt x="3727" y="10792"/>
                              <a:pt x="4444" y="9775"/>
                            </a:cubicBezTo>
                            <a:cubicBezTo>
                              <a:pt x="5222" y="8759"/>
                              <a:pt x="6059" y="7742"/>
                              <a:pt x="6956" y="6845"/>
                            </a:cubicBezTo>
                            <a:cubicBezTo>
                              <a:pt x="7854" y="5888"/>
                              <a:pt x="8870" y="5110"/>
                              <a:pt x="9827" y="4333"/>
                            </a:cubicBezTo>
                            <a:cubicBezTo>
                              <a:pt x="10844" y="3615"/>
                              <a:pt x="11861" y="2957"/>
                              <a:pt x="12937" y="2419"/>
                            </a:cubicBezTo>
                            <a:cubicBezTo>
                              <a:pt x="14013" y="1881"/>
                              <a:pt x="15090" y="1462"/>
                              <a:pt x="16226" y="1103"/>
                            </a:cubicBezTo>
                            <a:cubicBezTo>
                              <a:pt x="17363" y="804"/>
                              <a:pt x="18440" y="565"/>
                              <a:pt x="19576" y="445"/>
                            </a:cubicBezTo>
                            <a:cubicBezTo>
                              <a:pt x="20473" y="385"/>
                              <a:pt x="21370" y="385"/>
                              <a:pt x="22267" y="445"/>
                            </a:cubicBezTo>
                            <a:cubicBezTo>
                              <a:pt x="23104" y="505"/>
                              <a:pt x="23942" y="684"/>
                              <a:pt x="24779" y="924"/>
                            </a:cubicBezTo>
                            <a:cubicBezTo>
                              <a:pt x="25557" y="1163"/>
                              <a:pt x="26334" y="1462"/>
                              <a:pt x="27052" y="1821"/>
                            </a:cubicBezTo>
                            <a:cubicBezTo>
                              <a:pt x="27889" y="2299"/>
                              <a:pt x="28606" y="2778"/>
                              <a:pt x="29205" y="3256"/>
                            </a:cubicBezTo>
                            <a:moveTo>
                              <a:pt x="4983" y="33997"/>
                            </a:moveTo>
                            <a:cubicBezTo>
                              <a:pt x="5042" y="33997"/>
                              <a:pt x="5042" y="33997"/>
                              <a:pt x="4983" y="33997"/>
                            </a:cubicBezTo>
                            <a:cubicBezTo>
                              <a:pt x="5042" y="33997"/>
                              <a:pt x="5042" y="33997"/>
                              <a:pt x="4983" y="33997"/>
                            </a:cubicBezTo>
                            <a:cubicBezTo>
                              <a:pt x="5042" y="33997"/>
                              <a:pt x="5042" y="33997"/>
                              <a:pt x="4983" y="33997"/>
                            </a:cubicBezTo>
                            <a:cubicBezTo>
                              <a:pt x="5042" y="33997"/>
                              <a:pt x="5042" y="33997"/>
                              <a:pt x="4983" y="33997"/>
                            </a:cubicBezTo>
                            <a:cubicBezTo>
                              <a:pt x="5102" y="34057"/>
                              <a:pt x="5162" y="34117"/>
                              <a:pt x="5222" y="34177"/>
                            </a:cubicBezTo>
                            <a:cubicBezTo>
                              <a:pt x="5282" y="34237"/>
                              <a:pt x="5342" y="34296"/>
                              <a:pt x="5401" y="34296"/>
                            </a:cubicBezTo>
                            <a:cubicBezTo>
                              <a:pt x="5461" y="34296"/>
                              <a:pt x="5521" y="34416"/>
                              <a:pt x="5581" y="34416"/>
                            </a:cubicBezTo>
                            <a:cubicBezTo>
                              <a:pt x="5641" y="34476"/>
                              <a:pt x="5701" y="34535"/>
                              <a:pt x="5820" y="34535"/>
                            </a:cubicBezTo>
                            <a:cubicBezTo>
                              <a:pt x="6418" y="34954"/>
                              <a:pt x="7076" y="35313"/>
                              <a:pt x="7734" y="35552"/>
                            </a:cubicBezTo>
                            <a:cubicBezTo>
                              <a:pt x="8392" y="35851"/>
                              <a:pt x="9110" y="36091"/>
                              <a:pt x="9827" y="36210"/>
                            </a:cubicBezTo>
                            <a:cubicBezTo>
                              <a:pt x="10545" y="36389"/>
                              <a:pt x="11322" y="36509"/>
                              <a:pt x="12100" y="36509"/>
                            </a:cubicBezTo>
                            <a:cubicBezTo>
                              <a:pt x="12877" y="36569"/>
                              <a:pt x="13655" y="36509"/>
                              <a:pt x="14492" y="36449"/>
                            </a:cubicBezTo>
                            <a:cubicBezTo>
                              <a:pt x="16705" y="36210"/>
                              <a:pt x="18858" y="35552"/>
                              <a:pt x="20891" y="34535"/>
                            </a:cubicBezTo>
                            <a:cubicBezTo>
                              <a:pt x="22925" y="33519"/>
                              <a:pt x="24839" y="32143"/>
                              <a:pt x="26573" y="30528"/>
                            </a:cubicBezTo>
                            <a:cubicBezTo>
                              <a:pt x="28248" y="28914"/>
                              <a:pt x="29743" y="27000"/>
                              <a:pt x="30939" y="24907"/>
                            </a:cubicBezTo>
                            <a:cubicBezTo>
                              <a:pt x="32135" y="22813"/>
                              <a:pt x="33033" y="20600"/>
                              <a:pt x="33511" y="18268"/>
                            </a:cubicBezTo>
                            <a:cubicBezTo>
                              <a:pt x="33511" y="18148"/>
                              <a:pt x="33571" y="18029"/>
                              <a:pt x="33571" y="17909"/>
                            </a:cubicBezTo>
                            <a:cubicBezTo>
                              <a:pt x="33571" y="17790"/>
                              <a:pt x="33630" y="17670"/>
                              <a:pt x="33630" y="17550"/>
                            </a:cubicBezTo>
                            <a:cubicBezTo>
                              <a:pt x="33630" y="17431"/>
                              <a:pt x="33690" y="17311"/>
                              <a:pt x="33690" y="17191"/>
                            </a:cubicBezTo>
                            <a:cubicBezTo>
                              <a:pt x="33690" y="17072"/>
                              <a:pt x="33750" y="16952"/>
                              <a:pt x="33750" y="16832"/>
                            </a:cubicBezTo>
                            <a:cubicBezTo>
                              <a:pt x="33750" y="16832"/>
                              <a:pt x="33750" y="16773"/>
                              <a:pt x="33750" y="16773"/>
                            </a:cubicBezTo>
                            <a:cubicBezTo>
                              <a:pt x="33750" y="16773"/>
                              <a:pt x="33750" y="16713"/>
                              <a:pt x="33750" y="16713"/>
                            </a:cubicBezTo>
                            <a:cubicBezTo>
                              <a:pt x="33750" y="16713"/>
                              <a:pt x="33750" y="16653"/>
                              <a:pt x="33750" y="16653"/>
                            </a:cubicBezTo>
                            <a:cubicBezTo>
                              <a:pt x="33750" y="16653"/>
                              <a:pt x="33750" y="16593"/>
                              <a:pt x="33750" y="16593"/>
                            </a:cubicBezTo>
                            <a:cubicBezTo>
                              <a:pt x="33810" y="15876"/>
                              <a:pt x="33870" y="15218"/>
                              <a:pt x="33929" y="14560"/>
                            </a:cubicBezTo>
                            <a:cubicBezTo>
                              <a:pt x="33929" y="13902"/>
                              <a:pt x="33929" y="13244"/>
                              <a:pt x="33870" y="12586"/>
                            </a:cubicBezTo>
                            <a:cubicBezTo>
                              <a:pt x="33810" y="11928"/>
                              <a:pt x="33750" y="11330"/>
                              <a:pt x="33630" y="10732"/>
                            </a:cubicBezTo>
                            <a:cubicBezTo>
                              <a:pt x="33511" y="10134"/>
                              <a:pt x="33331" y="9536"/>
                              <a:pt x="33152" y="8938"/>
                            </a:cubicBezTo>
                            <a:cubicBezTo>
                              <a:pt x="33152" y="8878"/>
                              <a:pt x="33092" y="8818"/>
                              <a:pt x="33092" y="8699"/>
                            </a:cubicBezTo>
                            <a:cubicBezTo>
                              <a:pt x="33092" y="8639"/>
                              <a:pt x="33033" y="8579"/>
                              <a:pt x="33033" y="8460"/>
                            </a:cubicBezTo>
                            <a:cubicBezTo>
                              <a:pt x="33033" y="8340"/>
                              <a:pt x="32973" y="8340"/>
                              <a:pt x="32973" y="8220"/>
                            </a:cubicBezTo>
                            <a:cubicBezTo>
                              <a:pt x="32973" y="8160"/>
                              <a:pt x="32913" y="8100"/>
                              <a:pt x="32913" y="7981"/>
                            </a:cubicBezTo>
                            <a:cubicBezTo>
                              <a:pt x="32733" y="7503"/>
                              <a:pt x="32494" y="7024"/>
                              <a:pt x="32255" y="6546"/>
                            </a:cubicBezTo>
                            <a:cubicBezTo>
                              <a:pt x="32016" y="6067"/>
                              <a:pt x="31717" y="5648"/>
                              <a:pt x="31418" y="5230"/>
                            </a:cubicBezTo>
                            <a:cubicBezTo>
                              <a:pt x="31119" y="4811"/>
                              <a:pt x="30760" y="4392"/>
                              <a:pt x="30401" y="4034"/>
                            </a:cubicBezTo>
                            <a:cubicBezTo>
                              <a:pt x="30042" y="3675"/>
                              <a:pt x="29683" y="3316"/>
                              <a:pt x="29265" y="2957"/>
                            </a:cubicBezTo>
                            <a:cubicBezTo>
                              <a:pt x="29265" y="2957"/>
                              <a:pt x="29265" y="2957"/>
                              <a:pt x="29205" y="2897"/>
                            </a:cubicBezTo>
                            <a:cubicBezTo>
                              <a:pt x="29205" y="2897"/>
                              <a:pt x="29205" y="2897"/>
                              <a:pt x="29145" y="2838"/>
                            </a:cubicBezTo>
                            <a:cubicBezTo>
                              <a:pt x="29085" y="2778"/>
                              <a:pt x="29145" y="2838"/>
                              <a:pt x="29085" y="2778"/>
                            </a:cubicBezTo>
                            <a:cubicBezTo>
                              <a:pt x="29025" y="2718"/>
                              <a:pt x="29085" y="2778"/>
                              <a:pt x="29025" y="2718"/>
                            </a:cubicBezTo>
                            <a:cubicBezTo>
                              <a:pt x="28965" y="2658"/>
                              <a:pt x="28906" y="2598"/>
                              <a:pt x="28846" y="2598"/>
                            </a:cubicBezTo>
                            <a:cubicBezTo>
                              <a:pt x="28786" y="2538"/>
                              <a:pt x="28726" y="2479"/>
                              <a:pt x="28666" y="2479"/>
                            </a:cubicBezTo>
                            <a:cubicBezTo>
                              <a:pt x="28606" y="2419"/>
                              <a:pt x="28547" y="2359"/>
                              <a:pt x="28487" y="2359"/>
                            </a:cubicBezTo>
                            <a:cubicBezTo>
                              <a:pt x="28427" y="2299"/>
                              <a:pt x="28367" y="2299"/>
                              <a:pt x="28308" y="2239"/>
                            </a:cubicBezTo>
                            <a:cubicBezTo>
                              <a:pt x="28128" y="2120"/>
                              <a:pt x="27889" y="2000"/>
                              <a:pt x="27710" y="1821"/>
                            </a:cubicBezTo>
                            <a:cubicBezTo>
                              <a:pt x="27530" y="1642"/>
                              <a:pt x="27291" y="1582"/>
                              <a:pt x="27052" y="1462"/>
                            </a:cubicBezTo>
                            <a:cubicBezTo>
                              <a:pt x="26812" y="1343"/>
                              <a:pt x="26633" y="1223"/>
                              <a:pt x="26394" y="1163"/>
                            </a:cubicBezTo>
                            <a:cubicBezTo>
                              <a:pt x="26155" y="1043"/>
                              <a:pt x="25915" y="984"/>
                              <a:pt x="25736" y="864"/>
                            </a:cubicBezTo>
                            <a:cubicBezTo>
                              <a:pt x="25616" y="804"/>
                              <a:pt x="25497" y="804"/>
                              <a:pt x="25377" y="744"/>
                            </a:cubicBezTo>
                            <a:cubicBezTo>
                              <a:pt x="25257" y="684"/>
                              <a:pt x="25138" y="684"/>
                              <a:pt x="25018" y="625"/>
                            </a:cubicBezTo>
                            <a:cubicBezTo>
                              <a:pt x="24898" y="565"/>
                              <a:pt x="24779" y="565"/>
                              <a:pt x="24659" y="505"/>
                            </a:cubicBezTo>
                            <a:cubicBezTo>
                              <a:pt x="24540" y="445"/>
                              <a:pt x="24420" y="445"/>
                              <a:pt x="24301" y="385"/>
                            </a:cubicBezTo>
                            <a:cubicBezTo>
                              <a:pt x="23942" y="326"/>
                              <a:pt x="23583" y="206"/>
                              <a:pt x="23224" y="146"/>
                            </a:cubicBezTo>
                            <a:cubicBezTo>
                              <a:pt x="22865" y="86"/>
                              <a:pt x="22447" y="27"/>
                              <a:pt x="22088" y="27"/>
                            </a:cubicBezTo>
                            <a:cubicBezTo>
                              <a:pt x="21729" y="27"/>
                              <a:pt x="21310" y="-33"/>
                              <a:pt x="20891" y="27"/>
                            </a:cubicBezTo>
                            <a:cubicBezTo>
                              <a:pt x="20473" y="27"/>
                              <a:pt x="20114" y="27"/>
                              <a:pt x="19695" y="86"/>
                            </a:cubicBezTo>
                            <a:cubicBezTo>
                              <a:pt x="18858" y="146"/>
                              <a:pt x="18021" y="266"/>
                              <a:pt x="17243" y="445"/>
                            </a:cubicBezTo>
                            <a:cubicBezTo>
                              <a:pt x="16406" y="625"/>
                              <a:pt x="15628" y="864"/>
                              <a:pt x="14791" y="1223"/>
                            </a:cubicBezTo>
                            <a:cubicBezTo>
                              <a:pt x="14013" y="1522"/>
                              <a:pt x="13176" y="1881"/>
                              <a:pt x="12399" y="2299"/>
                            </a:cubicBezTo>
                            <a:cubicBezTo>
                              <a:pt x="11621" y="2718"/>
                              <a:pt x="10844" y="3197"/>
                              <a:pt x="10126" y="3735"/>
                            </a:cubicBezTo>
                            <a:cubicBezTo>
                              <a:pt x="10007" y="3794"/>
                              <a:pt x="9947" y="3854"/>
                              <a:pt x="9827" y="3914"/>
                            </a:cubicBezTo>
                            <a:cubicBezTo>
                              <a:pt x="9708" y="3974"/>
                              <a:pt x="9648" y="4034"/>
                              <a:pt x="9528" y="4093"/>
                            </a:cubicBezTo>
                            <a:cubicBezTo>
                              <a:pt x="9468" y="4153"/>
                              <a:pt x="9349" y="4213"/>
                              <a:pt x="9289" y="4273"/>
                            </a:cubicBezTo>
                            <a:cubicBezTo>
                              <a:pt x="9229" y="4333"/>
                              <a:pt x="9110" y="4392"/>
                              <a:pt x="9050" y="4512"/>
                            </a:cubicBezTo>
                            <a:cubicBezTo>
                              <a:pt x="8870" y="4632"/>
                              <a:pt x="8691" y="4811"/>
                              <a:pt x="8511" y="4931"/>
                            </a:cubicBezTo>
                            <a:cubicBezTo>
                              <a:pt x="8332" y="5051"/>
                              <a:pt x="8153" y="5230"/>
                              <a:pt x="7973" y="5409"/>
                            </a:cubicBezTo>
                            <a:cubicBezTo>
                              <a:pt x="7794" y="5589"/>
                              <a:pt x="7614" y="5708"/>
                              <a:pt x="7435" y="5888"/>
                            </a:cubicBezTo>
                            <a:cubicBezTo>
                              <a:pt x="7255" y="6067"/>
                              <a:pt x="7076" y="6187"/>
                              <a:pt x="6956" y="6366"/>
                            </a:cubicBezTo>
                            <a:cubicBezTo>
                              <a:pt x="6597" y="6785"/>
                              <a:pt x="6179" y="7144"/>
                              <a:pt x="5820" y="7562"/>
                            </a:cubicBezTo>
                            <a:cubicBezTo>
                              <a:pt x="5461" y="7981"/>
                              <a:pt x="5102" y="8400"/>
                              <a:pt x="4803" y="8818"/>
                            </a:cubicBezTo>
                            <a:cubicBezTo>
                              <a:pt x="4504" y="9237"/>
                              <a:pt x="4146" y="9715"/>
                              <a:pt x="3847" y="10134"/>
                            </a:cubicBezTo>
                            <a:cubicBezTo>
                              <a:pt x="3547" y="10553"/>
                              <a:pt x="3248" y="11031"/>
                              <a:pt x="3009" y="11509"/>
                            </a:cubicBezTo>
                            <a:cubicBezTo>
                              <a:pt x="2949" y="11569"/>
                              <a:pt x="2889" y="11689"/>
                              <a:pt x="2889" y="11749"/>
                            </a:cubicBezTo>
                            <a:cubicBezTo>
                              <a:pt x="2889" y="11809"/>
                              <a:pt x="2770" y="11928"/>
                              <a:pt x="2770" y="11988"/>
                            </a:cubicBezTo>
                            <a:cubicBezTo>
                              <a:pt x="2770" y="12048"/>
                              <a:pt x="2650" y="12168"/>
                              <a:pt x="2650" y="12227"/>
                            </a:cubicBezTo>
                            <a:cubicBezTo>
                              <a:pt x="2590" y="12287"/>
                              <a:pt x="2531" y="12407"/>
                              <a:pt x="2531" y="12467"/>
                            </a:cubicBezTo>
                            <a:cubicBezTo>
                              <a:pt x="2232" y="13065"/>
                              <a:pt x="1993" y="13603"/>
                              <a:pt x="1753" y="14201"/>
                            </a:cubicBezTo>
                            <a:cubicBezTo>
                              <a:pt x="1514" y="14799"/>
                              <a:pt x="1275" y="15397"/>
                              <a:pt x="1095" y="15995"/>
                            </a:cubicBezTo>
                            <a:cubicBezTo>
                              <a:pt x="916" y="16593"/>
                              <a:pt x="736" y="17191"/>
                              <a:pt x="617" y="17790"/>
                            </a:cubicBezTo>
                            <a:cubicBezTo>
                              <a:pt x="497" y="18387"/>
                              <a:pt x="378" y="18985"/>
                              <a:pt x="258" y="19644"/>
                            </a:cubicBezTo>
                            <a:cubicBezTo>
                              <a:pt x="198" y="19943"/>
                              <a:pt x="198" y="20241"/>
                              <a:pt x="139" y="20481"/>
                            </a:cubicBezTo>
                            <a:cubicBezTo>
                              <a:pt x="139" y="20780"/>
                              <a:pt x="79" y="21019"/>
                              <a:pt x="79" y="21318"/>
                            </a:cubicBezTo>
                            <a:cubicBezTo>
                              <a:pt x="79" y="21617"/>
                              <a:pt x="79" y="21856"/>
                              <a:pt x="79" y="22155"/>
                            </a:cubicBezTo>
                            <a:cubicBezTo>
                              <a:pt x="79" y="22454"/>
                              <a:pt x="79" y="22693"/>
                              <a:pt x="79" y="22993"/>
                            </a:cubicBezTo>
                            <a:cubicBezTo>
                              <a:pt x="79" y="23052"/>
                              <a:pt x="79" y="23172"/>
                              <a:pt x="79" y="23232"/>
                            </a:cubicBezTo>
                            <a:cubicBezTo>
                              <a:pt x="79" y="23292"/>
                              <a:pt x="79" y="23411"/>
                              <a:pt x="79" y="23471"/>
                            </a:cubicBezTo>
                            <a:cubicBezTo>
                              <a:pt x="79" y="23531"/>
                              <a:pt x="79" y="23651"/>
                              <a:pt x="79" y="23710"/>
                            </a:cubicBezTo>
                            <a:cubicBezTo>
                              <a:pt x="79" y="23770"/>
                              <a:pt x="79" y="23890"/>
                              <a:pt x="79" y="23949"/>
                            </a:cubicBezTo>
                            <a:cubicBezTo>
                              <a:pt x="198" y="24907"/>
                              <a:pt x="318" y="25863"/>
                              <a:pt x="617" y="26761"/>
                            </a:cubicBezTo>
                            <a:cubicBezTo>
                              <a:pt x="856" y="27658"/>
                              <a:pt x="1215" y="28495"/>
                              <a:pt x="1634" y="29332"/>
                            </a:cubicBezTo>
                            <a:cubicBezTo>
                              <a:pt x="2052" y="30110"/>
                              <a:pt x="2531" y="30887"/>
                              <a:pt x="3069" y="31545"/>
                            </a:cubicBezTo>
                            <a:cubicBezTo>
                              <a:pt x="3667" y="32801"/>
                              <a:pt x="4325" y="33459"/>
                              <a:pt x="4983" y="33997"/>
                            </a:cubicBezTo>
                          </a:path>
                        </a:pathLst>
                      </a:custGeom>
                      <a:noFill/>
                      <a:ln w="6350" cap="flat">
                        <a:solidFill>
                          <a:schemeClr val="bg1">
                            <a:alpha val="40000"/>
                          </a:schemeClr>
                        </a:solidFill>
                        <a:prstDash val="solid"/>
                        <a:miter/>
                      </a:ln>
                    </p:spPr>
                    <p:txBody>
                      <a:bodyPr rtlCol="0" anchor="ctr"/>
                      <a:lstStyle/>
                      <a:p>
                        <a:endParaRPr lang="en-GB"/>
                      </a:p>
                    </p:txBody>
                  </p:sp>
                  <p:sp>
                    <p:nvSpPr>
                      <p:cNvPr id="7559" name="Vrije vorm: vorm 7558">
                        <a:extLst>
                          <a:ext uri="{FF2B5EF4-FFF2-40B4-BE49-F238E27FC236}">
                            <a16:creationId xmlns:a16="http://schemas.microsoft.com/office/drawing/2014/main" id="{7BEB911D-DECD-4EDC-ACFF-36F172C8D2FE}"/>
                          </a:ext>
                        </a:extLst>
                      </p:cNvPr>
                      <p:cNvSpPr/>
                      <p:nvPr/>
                    </p:nvSpPr>
                    <p:spPr>
                      <a:xfrm>
                        <a:off x="5201750" y="5199395"/>
                        <a:ext cx="33816" cy="35914"/>
                      </a:xfrm>
                      <a:custGeom>
                        <a:avLst/>
                        <a:gdLst>
                          <a:gd name="connsiteX0" fmla="*/ 28291 w 33816"/>
                          <a:gd name="connsiteY0" fmla="*/ 3573 h 35914"/>
                          <a:gd name="connsiteX1" fmla="*/ 28710 w 33816"/>
                          <a:gd name="connsiteY1" fmla="*/ 3932 h 35914"/>
                          <a:gd name="connsiteX2" fmla="*/ 29069 w 33816"/>
                          <a:gd name="connsiteY2" fmla="*/ 4291 h 35914"/>
                          <a:gd name="connsiteX3" fmla="*/ 29427 w 33816"/>
                          <a:gd name="connsiteY3" fmla="*/ 4650 h 35914"/>
                          <a:gd name="connsiteX4" fmla="*/ 29787 w 33816"/>
                          <a:gd name="connsiteY4" fmla="*/ 5069 h 35914"/>
                          <a:gd name="connsiteX5" fmla="*/ 31401 w 33816"/>
                          <a:gd name="connsiteY5" fmla="*/ 7461 h 35914"/>
                          <a:gd name="connsiteX6" fmla="*/ 32418 w 33816"/>
                          <a:gd name="connsiteY6" fmla="*/ 10212 h 35914"/>
                          <a:gd name="connsiteX7" fmla="*/ 32837 w 33816"/>
                          <a:gd name="connsiteY7" fmla="*/ 13262 h 35914"/>
                          <a:gd name="connsiteX8" fmla="*/ 32657 w 33816"/>
                          <a:gd name="connsiteY8" fmla="*/ 16551 h 35914"/>
                          <a:gd name="connsiteX9" fmla="*/ 31880 w 33816"/>
                          <a:gd name="connsiteY9" fmla="*/ 19901 h 35914"/>
                          <a:gd name="connsiteX10" fmla="*/ 30564 w 33816"/>
                          <a:gd name="connsiteY10" fmla="*/ 23130 h 35914"/>
                          <a:gd name="connsiteX11" fmla="*/ 28710 w 33816"/>
                          <a:gd name="connsiteY11" fmla="*/ 26181 h 35914"/>
                          <a:gd name="connsiteX12" fmla="*/ 26378 w 33816"/>
                          <a:gd name="connsiteY12" fmla="*/ 28932 h 35914"/>
                          <a:gd name="connsiteX13" fmla="*/ 23686 w 33816"/>
                          <a:gd name="connsiteY13" fmla="*/ 31264 h 35914"/>
                          <a:gd name="connsiteX14" fmla="*/ 20756 w 33816"/>
                          <a:gd name="connsiteY14" fmla="*/ 33058 h 35914"/>
                          <a:gd name="connsiteX15" fmla="*/ 17705 w 33816"/>
                          <a:gd name="connsiteY15" fmla="*/ 34314 h 35914"/>
                          <a:gd name="connsiteX16" fmla="*/ 14595 w 33816"/>
                          <a:gd name="connsiteY16" fmla="*/ 34912 h 35914"/>
                          <a:gd name="connsiteX17" fmla="*/ 12024 w 33816"/>
                          <a:gd name="connsiteY17" fmla="*/ 34972 h 35914"/>
                          <a:gd name="connsiteX18" fmla="*/ 9631 w 33816"/>
                          <a:gd name="connsiteY18" fmla="*/ 34554 h 35914"/>
                          <a:gd name="connsiteX19" fmla="*/ 7478 w 33816"/>
                          <a:gd name="connsiteY19" fmla="*/ 33716 h 35914"/>
                          <a:gd name="connsiteX20" fmla="*/ 5564 w 33816"/>
                          <a:gd name="connsiteY20" fmla="*/ 32520 h 35914"/>
                          <a:gd name="connsiteX21" fmla="*/ 3292 w 33816"/>
                          <a:gd name="connsiteY21" fmla="*/ 30128 h 35914"/>
                          <a:gd name="connsiteX22" fmla="*/ 1737 w 33816"/>
                          <a:gd name="connsiteY22" fmla="*/ 27078 h 35914"/>
                          <a:gd name="connsiteX23" fmla="*/ 960 w 33816"/>
                          <a:gd name="connsiteY23" fmla="*/ 23489 h 35914"/>
                          <a:gd name="connsiteX24" fmla="*/ 1079 w 33816"/>
                          <a:gd name="connsiteY24" fmla="*/ 19482 h 35914"/>
                          <a:gd name="connsiteX25" fmla="*/ 1856 w 33816"/>
                          <a:gd name="connsiteY25" fmla="*/ 16133 h 35914"/>
                          <a:gd name="connsiteX26" fmla="*/ 3232 w 33816"/>
                          <a:gd name="connsiteY26" fmla="*/ 12843 h 35914"/>
                          <a:gd name="connsiteX27" fmla="*/ 5086 w 33816"/>
                          <a:gd name="connsiteY27" fmla="*/ 9793 h 35914"/>
                          <a:gd name="connsiteX28" fmla="*/ 7418 w 33816"/>
                          <a:gd name="connsiteY28" fmla="*/ 7042 h 35914"/>
                          <a:gd name="connsiteX29" fmla="*/ 10170 w 33816"/>
                          <a:gd name="connsiteY29" fmla="*/ 4650 h 35914"/>
                          <a:gd name="connsiteX30" fmla="*/ 13100 w 33816"/>
                          <a:gd name="connsiteY30" fmla="*/ 2856 h 35914"/>
                          <a:gd name="connsiteX31" fmla="*/ 16210 w 33816"/>
                          <a:gd name="connsiteY31" fmla="*/ 1660 h 35914"/>
                          <a:gd name="connsiteX32" fmla="*/ 19380 w 33816"/>
                          <a:gd name="connsiteY32" fmla="*/ 1062 h 35914"/>
                          <a:gd name="connsiteX33" fmla="*/ 21892 w 33816"/>
                          <a:gd name="connsiteY33" fmla="*/ 1062 h 35914"/>
                          <a:gd name="connsiteX34" fmla="*/ 24224 w 33816"/>
                          <a:gd name="connsiteY34" fmla="*/ 1480 h 35914"/>
                          <a:gd name="connsiteX35" fmla="*/ 26378 w 33816"/>
                          <a:gd name="connsiteY35" fmla="*/ 2317 h 35914"/>
                          <a:gd name="connsiteX36" fmla="*/ 28291 w 33816"/>
                          <a:gd name="connsiteY36" fmla="*/ 3573 h 35914"/>
                          <a:gd name="connsiteX37" fmla="*/ 4847 w 33816"/>
                          <a:gd name="connsiteY37" fmla="*/ 33298 h 35914"/>
                          <a:gd name="connsiteX38" fmla="*/ 6880 w 33816"/>
                          <a:gd name="connsiteY38" fmla="*/ 34554 h 35914"/>
                          <a:gd name="connsiteX39" fmla="*/ 9153 w 33816"/>
                          <a:gd name="connsiteY39" fmla="*/ 35451 h 35914"/>
                          <a:gd name="connsiteX40" fmla="*/ 11665 w 33816"/>
                          <a:gd name="connsiteY40" fmla="*/ 35869 h 35914"/>
                          <a:gd name="connsiteX41" fmla="*/ 14356 w 33816"/>
                          <a:gd name="connsiteY41" fmla="*/ 35869 h 35914"/>
                          <a:gd name="connsiteX42" fmla="*/ 17705 w 33816"/>
                          <a:gd name="connsiteY42" fmla="*/ 35211 h 35914"/>
                          <a:gd name="connsiteX43" fmla="*/ 20935 w 33816"/>
                          <a:gd name="connsiteY43" fmla="*/ 33896 h 35914"/>
                          <a:gd name="connsiteX44" fmla="*/ 24045 w 33816"/>
                          <a:gd name="connsiteY44" fmla="*/ 31982 h 35914"/>
                          <a:gd name="connsiteX45" fmla="*/ 26916 w 33816"/>
                          <a:gd name="connsiteY45" fmla="*/ 29530 h 35914"/>
                          <a:gd name="connsiteX46" fmla="*/ 29368 w 33816"/>
                          <a:gd name="connsiteY46" fmla="*/ 26599 h 35914"/>
                          <a:gd name="connsiteX47" fmla="*/ 31341 w 33816"/>
                          <a:gd name="connsiteY47" fmla="*/ 23429 h 35914"/>
                          <a:gd name="connsiteX48" fmla="*/ 32777 w 33816"/>
                          <a:gd name="connsiteY48" fmla="*/ 20020 h 35914"/>
                          <a:gd name="connsiteX49" fmla="*/ 33614 w 33816"/>
                          <a:gd name="connsiteY49" fmla="*/ 16492 h 35914"/>
                          <a:gd name="connsiteX50" fmla="*/ 33794 w 33816"/>
                          <a:gd name="connsiteY50" fmla="*/ 13023 h 35914"/>
                          <a:gd name="connsiteX51" fmla="*/ 33375 w 33816"/>
                          <a:gd name="connsiteY51" fmla="*/ 9793 h 35914"/>
                          <a:gd name="connsiteX52" fmla="*/ 32298 w 33816"/>
                          <a:gd name="connsiteY52" fmla="*/ 6863 h 35914"/>
                          <a:gd name="connsiteX53" fmla="*/ 30624 w 33816"/>
                          <a:gd name="connsiteY53" fmla="*/ 4291 h 35914"/>
                          <a:gd name="connsiteX54" fmla="*/ 30265 w 33816"/>
                          <a:gd name="connsiteY54" fmla="*/ 3872 h 35914"/>
                          <a:gd name="connsiteX55" fmla="*/ 29906 w 33816"/>
                          <a:gd name="connsiteY55" fmla="*/ 3454 h 35914"/>
                          <a:gd name="connsiteX56" fmla="*/ 29487 w 33816"/>
                          <a:gd name="connsiteY56" fmla="*/ 3095 h 35914"/>
                          <a:gd name="connsiteX57" fmla="*/ 29069 w 33816"/>
                          <a:gd name="connsiteY57" fmla="*/ 2736 h 35914"/>
                          <a:gd name="connsiteX58" fmla="*/ 27035 w 33816"/>
                          <a:gd name="connsiteY58" fmla="*/ 1420 h 35914"/>
                          <a:gd name="connsiteX59" fmla="*/ 24763 w 33816"/>
                          <a:gd name="connsiteY59" fmla="*/ 523 h 35914"/>
                          <a:gd name="connsiteX60" fmla="*/ 22251 w 33816"/>
                          <a:gd name="connsiteY60" fmla="*/ 45 h 35914"/>
                          <a:gd name="connsiteX61" fmla="*/ 19560 w 33816"/>
                          <a:gd name="connsiteY61" fmla="*/ 45 h 35914"/>
                          <a:gd name="connsiteX62" fmla="*/ 16210 w 33816"/>
                          <a:gd name="connsiteY62" fmla="*/ 703 h 35914"/>
                          <a:gd name="connsiteX63" fmla="*/ 12921 w 33816"/>
                          <a:gd name="connsiteY63" fmla="*/ 2018 h 35914"/>
                          <a:gd name="connsiteX64" fmla="*/ 9811 w 33816"/>
                          <a:gd name="connsiteY64" fmla="*/ 3932 h 35914"/>
                          <a:gd name="connsiteX65" fmla="*/ 6940 w 33816"/>
                          <a:gd name="connsiteY65" fmla="*/ 6444 h 35914"/>
                          <a:gd name="connsiteX66" fmla="*/ 4428 w 33816"/>
                          <a:gd name="connsiteY66" fmla="*/ 9375 h 35914"/>
                          <a:gd name="connsiteX67" fmla="*/ 2455 w 33816"/>
                          <a:gd name="connsiteY67" fmla="*/ 12604 h 35914"/>
                          <a:gd name="connsiteX68" fmla="*/ 1019 w 33816"/>
                          <a:gd name="connsiteY68" fmla="*/ 16073 h 35914"/>
                          <a:gd name="connsiteX69" fmla="*/ 182 w 33816"/>
                          <a:gd name="connsiteY69" fmla="*/ 19662 h 35914"/>
                          <a:gd name="connsiteX70" fmla="*/ 62 w 33816"/>
                          <a:gd name="connsiteY70" fmla="*/ 23908 h 35914"/>
                          <a:gd name="connsiteX71" fmla="*/ 900 w 33816"/>
                          <a:gd name="connsiteY71" fmla="*/ 27676 h 35914"/>
                          <a:gd name="connsiteX72" fmla="*/ 2574 w 33816"/>
                          <a:gd name="connsiteY72" fmla="*/ 30905 h 35914"/>
                          <a:gd name="connsiteX73" fmla="*/ 4847 w 33816"/>
                          <a:gd name="connsiteY73" fmla="*/ 33298 h 3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3816" h="35914">
                            <a:moveTo>
                              <a:pt x="28291" y="3573"/>
                            </a:moveTo>
                            <a:cubicBezTo>
                              <a:pt x="28411" y="3693"/>
                              <a:pt x="28531" y="3813"/>
                              <a:pt x="28710" y="3932"/>
                            </a:cubicBezTo>
                            <a:cubicBezTo>
                              <a:pt x="28889" y="4052"/>
                              <a:pt x="28949" y="4171"/>
                              <a:pt x="29069" y="4291"/>
                            </a:cubicBezTo>
                            <a:cubicBezTo>
                              <a:pt x="29188" y="4411"/>
                              <a:pt x="29308" y="4530"/>
                              <a:pt x="29427" y="4650"/>
                            </a:cubicBezTo>
                            <a:cubicBezTo>
                              <a:pt x="29547" y="4770"/>
                              <a:pt x="29667" y="4889"/>
                              <a:pt x="29787" y="5069"/>
                            </a:cubicBezTo>
                            <a:cubicBezTo>
                              <a:pt x="30385" y="5786"/>
                              <a:pt x="30923" y="6624"/>
                              <a:pt x="31401" y="7461"/>
                            </a:cubicBezTo>
                            <a:cubicBezTo>
                              <a:pt x="31820" y="8298"/>
                              <a:pt x="32179" y="9255"/>
                              <a:pt x="32418" y="10212"/>
                            </a:cubicBezTo>
                            <a:cubicBezTo>
                              <a:pt x="32657" y="11169"/>
                              <a:pt x="32777" y="12186"/>
                              <a:pt x="32837" y="13262"/>
                            </a:cubicBezTo>
                            <a:cubicBezTo>
                              <a:pt x="32896" y="14339"/>
                              <a:pt x="32837" y="15415"/>
                              <a:pt x="32657" y="16551"/>
                            </a:cubicBezTo>
                            <a:cubicBezTo>
                              <a:pt x="32478" y="17688"/>
                              <a:pt x="32239" y="18764"/>
                              <a:pt x="31880" y="19901"/>
                            </a:cubicBezTo>
                            <a:cubicBezTo>
                              <a:pt x="31521" y="21037"/>
                              <a:pt x="31042" y="22054"/>
                              <a:pt x="30564" y="23130"/>
                            </a:cubicBezTo>
                            <a:cubicBezTo>
                              <a:pt x="30026" y="24147"/>
                              <a:pt x="29427" y="25164"/>
                              <a:pt x="28710" y="26181"/>
                            </a:cubicBezTo>
                            <a:cubicBezTo>
                              <a:pt x="27992" y="27197"/>
                              <a:pt x="27215" y="28094"/>
                              <a:pt x="26378" y="28932"/>
                            </a:cubicBezTo>
                            <a:cubicBezTo>
                              <a:pt x="25540" y="29769"/>
                              <a:pt x="24643" y="30547"/>
                              <a:pt x="23686" y="31264"/>
                            </a:cubicBezTo>
                            <a:cubicBezTo>
                              <a:pt x="22729" y="31922"/>
                              <a:pt x="21772" y="32520"/>
                              <a:pt x="20756" y="33058"/>
                            </a:cubicBezTo>
                            <a:cubicBezTo>
                              <a:pt x="19739" y="33537"/>
                              <a:pt x="18722" y="33956"/>
                              <a:pt x="17705" y="34314"/>
                            </a:cubicBezTo>
                            <a:cubicBezTo>
                              <a:pt x="16689" y="34613"/>
                              <a:pt x="15612" y="34852"/>
                              <a:pt x="14595" y="34912"/>
                            </a:cubicBezTo>
                            <a:cubicBezTo>
                              <a:pt x="13699" y="35032"/>
                              <a:pt x="12861" y="35032"/>
                              <a:pt x="12024" y="34972"/>
                            </a:cubicBezTo>
                            <a:cubicBezTo>
                              <a:pt x="11186" y="34912"/>
                              <a:pt x="10409" y="34793"/>
                              <a:pt x="9631" y="34554"/>
                            </a:cubicBezTo>
                            <a:cubicBezTo>
                              <a:pt x="8854" y="34374"/>
                              <a:pt x="8136" y="34075"/>
                              <a:pt x="7478" y="33716"/>
                            </a:cubicBezTo>
                            <a:cubicBezTo>
                              <a:pt x="6821" y="33357"/>
                              <a:pt x="6163" y="32998"/>
                              <a:pt x="5564" y="32520"/>
                            </a:cubicBezTo>
                            <a:cubicBezTo>
                              <a:pt x="4727" y="31862"/>
                              <a:pt x="3950" y="31025"/>
                              <a:pt x="3292" y="30128"/>
                            </a:cubicBezTo>
                            <a:cubicBezTo>
                              <a:pt x="2634" y="29231"/>
                              <a:pt x="2155" y="28214"/>
                              <a:pt x="1737" y="27078"/>
                            </a:cubicBezTo>
                            <a:cubicBezTo>
                              <a:pt x="1318" y="26001"/>
                              <a:pt x="1079" y="24805"/>
                              <a:pt x="960" y="23489"/>
                            </a:cubicBezTo>
                            <a:cubicBezTo>
                              <a:pt x="840" y="22233"/>
                              <a:pt x="900" y="20918"/>
                              <a:pt x="1079" y="19482"/>
                            </a:cubicBezTo>
                            <a:cubicBezTo>
                              <a:pt x="1259" y="18346"/>
                              <a:pt x="1498" y="17210"/>
                              <a:pt x="1856" y="16133"/>
                            </a:cubicBezTo>
                            <a:cubicBezTo>
                              <a:pt x="2215" y="14996"/>
                              <a:pt x="2634" y="13920"/>
                              <a:pt x="3232" y="12843"/>
                            </a:cubicBezTo>
                            <a:cubicBezTo>
                              <a:pt x="3770" y="11767"/>
                              <a:pt x="4428" y="10750"/>
                              <a:pt x="5086" y="9793"/>
                            </a:cubicBezTo>
                            <a:cubicBezTo>
                              <a:pt x="5744" y="8836"/>
                              <a:pt x="6581" y="7880"/>
                              <a:pt x="7418" y="7042"/>
                            </a:cubicBezTo>
                            <a:cubicBezTo>
                              <a:pt x="8256" y="6145"/>
                              <a:pt x="9213" y="5368"/>
                              <a:pt x="10170" y="4650"/>
                            </a:cubicBezTo>
                            <a:cubicBezTo>
                              <a:pt x="11126" y="3932"/>
                              <a:pt x="12084" y="3334"/>
                              <a:pt x="13100" y="2856"/>
                            </a:cubicBezTo>
                            <a:cubicBezTo>
                              <a:pt x="14117" y="2377"/>
                              <a:pt x="15134" y="1959"/>
                              <a:pt x="16210" y="1660"/>
                            </a:cubicBezTo>
                            <a:cubicBezTo>
                              <a:pt x="17287" y="1361"/>
                              <a:pt x="18303" y="1181"/>
                              <a:pt x="19380" y="1062"/>
                            </a:cubicBezTo>
                            <a:cubicBezTo>
                              <a:pt x="20217" y="1002"/>
                              <a:pt x="21055" y="1002"/>
                              <a:pt x="21892" y="1062"/>
                            </a:cubicBezTo>
                            <a:cubicBezTo>
                              <a:pt x="22729" y="1121"/>
                              <a:pt x="23507" y="1301"/>
                              <a:pt x="24224" y="1480"/>
                            </a:cubicBezTo>
                            <a:cubicBezTo>
                              <a:pt x="25002" y="1719"/>
                              <a:pt x="25719" y="1959"/>
                              <a:pt x="26378" y="2317"/>
                            </a:cubicBezTo>
                            <a:cubicBezTo>
                              <a:pt x="27035" y="2676"/>
                              <a:pt x="27693" y="3095"/>
                              <a:pt x="28291" y="3573"/>
                            </a:cubicBezTo>
                            <a:moveTo>
                              <a:pt x="4847" y="33298"/>
                            </a:moveTo>
                            <a:cubicBezTo>
                              <a:pt x="5445" y="33776"/>
                              <a:pt x="6163" y="34195"/>
                              <a:pt x="6880" y="34554"/>
                            </a:cubicBezTo>
                            <a:cubicBezTo>
                              <a:pt x="7598" y="34912"/>
                              <a:pt x="8376" y="35211"/>
                              <a:pt x="9153" y="35451"/>
                            </a:cubicBezTo>
                            <a:cubicBezTo>
                              <a:pt x="9931" y="35690"/>
                              <a:pt x="10768" y="35810"/>
                              <a:pt x="11665" y="35869"/>
                            </a:cubicBezTo>
                            <a:cubicBezTo>
                              <a:pt x="12562" y="35929"/>
                              <a:pt x="13459" y="35929"/>
                              <a:pt x="14356" y="35869"/>
                            </a:cubicBezTo>
                            <a:cubicBezTo>
                              <a:pt x="15493" y="35750"/>
                              <a:pt x="16569" y="35511"/>
                              <a:pt x="17705" y="35211"/>
                            </a:cubicBezTo>
                            <a:cubicBezTo>
                              <a:pt x="18782" y="34852"/>
                              <a:pt x="19858" y="34434"/>
                              <a:pt x="20935" y="33896"/>
                            </a:cubicBezTo>
                            <a:cubicBezTo>
                              <a:pt x="22011" y="33357"/>
                              <a:pt x="23028" y="32699"/>
                              <a:pt x="24045" y="31982"/>
                            </a:cubicBezTo>
                            <a:cubicBezTo>
                              <a:pt x="25062" y="31264"/>
                              <a:pt x="26019" y="30427"/>
                              <a:pt x="26916" y="29530"/>
                            </a:cubicBezTo>
                            <a:cubicBezTo>
                              <a:pt x="27813" y="28633"/>
                              <a:pt x="28650" y="27616"/>
                              <a:pt x="29368" y="26599"/>
                            </a:cubicBezTo>
                            <a:cubicBezTo>
                              <a:pt x="30086" y="25582"/>
                              <a:pt x="30743" y="24506"/>
                              <a:pt x="31341" y="23429"/>
                            </a:cubicBezTo>
                            <a:cubicBezTo>
                              <a:pt x="31880" y="22353"/>
                              <a:pt x="32358" y="21217"/>
                              <a:pt x="32777" y="20020"/>
                            </a:cubicBezTo>
                            <a:cubicBezTo>
                              <a:pt x="33136" y="18884"/>
                              <a:pt x="33435" y="17688"/>
                              <a:pt x="33614" y="16492"/>
                            </a:cubicBezTo>
                            <a:cubicBezTo>
                              <a:pt x="33794" y="15296"/>
                              <a:pt x="33854" y="14159"/>
                              <a:pt x="33794" y="13023"/>
                            </a:cubicBezTo>
                            <a:cubicBezTo>
                              <a:pt x="33734" y="11887"/>
                              <a:pt x="33614" y="10810"/>
                              <a:pt x="33375" y="9793"/>
                            </a:cubicBezTo>
                            <a:cubicBezTo>
                              <a:pt x="33136" y="8777"/>
                              <a:pt x="32777" y="7760"/>
                              <a:pt x="32298" y="6863"/>
                            </a:cubicBezTo>
                            <a:cubicBezTo>
                              <a:pt x="31820" y="5966"/>
                              <a:pt x="31282" y="5069"/>
                              <a:pt x="30624" y="4291"/>
                            </a:cubicBezTo>
                            <a:cubicBezTo>
                              <a:pt x="30504" y="4171"/>
                              <a:pt x="30385" y="3992"/>
                              <a:pt x="30265" y="3872"/>
                            </a:cubicBezTo>
                            <a:cubicBezTo>
                              <a:pt x="30146" y="3753"/>
                              <a:pt x="30026" y="3633"/>
                              <a:pt x="29906" y="3454"/>
                            </a:cubicBezTo>
                            <a:cubicBezTo>
                              <a:pt x="29787" y="3334"/>
                              <a:pt x="29667" y="3215"/>
                              <a:pt x="29487" y="3095"/>
                            </a:cubicBezTo>
                            <a:cubicBezTo>
                              <a:pt x="29308" y="2975"/>
                              <a:pt x="29188" y="2856"/>
                              <a:pt x="29069" y="2736"/>
                            </a:cubicBezTo>
                            <a:cubicBezTo>
                              <a:pt x="28411" y="2198"/>
                              <a:pt x="27753" y="1779"/>
                              <a:pt x="27035" y="1420"/>
                            </a:cubicBezTo>
                            <a:cubicBezTo>
                              <a:pt x="26318" y="1062"/>
                              <a:pt x="25540" y="763"/>
                              <a:pt x="24763" y="523"/>
                            </a:cubicBezTo>
                            <a:cubicBezTo>
                              <a:pt x="23985" y="284"/>
                              <a:pt x="23148" y="164"/>
                              <a:pt x="22251" y="45"/>
                            </a:cubicBezTo>
                            <a:cubicBezTo>
                              <a:pt x="21414" y="-15"/>
                              <a:pt x="20516" y="-15"/>
                              <a:pt x="19560" y="45"/>
                            </a:cubicBezTo>
                            <a:cubicBezTo>
                              <a:pt x="18423" y="164"/>
                              <a:pt x="17287" y="344"/>
                              <a:pt x="16210" y="703"/>
                            </a:cubicBezTo>
                            <a:cubicBezTo>
                              <a:pt x="15074" y="1002"/>
                              <a:pt x="13997" y="1480"/>
                              <a:pt x="12921" y="2018"/>
                            </a:cubicBezTo>
                            <a:cubicBezTo>
                              <a:pt x="11845" y="2557"/>
                              <a:pt x="10828" y="3215"/>
                              <a:pt x="9811" y="3932"/>
                            </a:cubicBezTo>
                            <a:cubicBezTo>
                              <a:pt x="8794" y="4650"/>
                              <a:pt x="7837" y="5487"/>
                              <a:pt x="6940" y="6444"/>
                            </a:cubicBezTo>
                            <a:cubicBezTo>
                              <a:pt x="6043" y="7341"/>
                              <a:pt x="5146" y="8358"/>
                              <a:pt x="4428" y="9375"/>
                            </a:cubicBezTo>
                            <a:cubicBezTo>
                              <a:pt x="3651" y="10392"/>
                              <a:pt x="2993" y="11468"/>
                              <a:pt x="2455" y="12604"/>
                            </a:cubicBezTo>
                            <a:cubicBezTo>
                              <a:pt x="1856" y="13741"/>
                              <a:pt x="1438" y="14877"/>
                              <a:pt x="1019" y="16073"/>
                            </a:cubicBezTo>
                            <a:cubicBezTo>
                              <a:pt x="660" y="17269"/>
                              <a:pt x="361" y="18465"/>
                              <a:pt x="182" y="19662"/>
                            </a:cubicBezTo>
                            <a:cubicBezTo>
                              <a:pt x="2" y="21157"/>
                              <a:pt x="-57" y="22532"/>
                              <a:pt x="62" y="23908"/>
                            </a:cubicBezTo>
                            <a:cubicBezTo>
                              <a:pt x="182" y="25224"/>
                              <a:pt x="481" y="26540"/>
                              <a:pt x="900" y="27676"/>
                            </a:cubicBezTo>
                            <a:cubicBezTo>
                              <a:pt x="1318" y="28872"/>
                              <a:pt x="1856" y="29889"/>
                              <a:pt x="2574" y="30905"/>
                            </a:cubicBezTo>
                            <a:cubicBezTo>
                              <a:pt x="3172" y="31743"/>
                              <a:pt x="3950" y="32580"/>
                              <a:pt x="4847" y="33298"/>
                            </a:cubicBezTo>
                          </a:path>
                        </a:pathLst>
                      </a:custGeom>
                      <a:noFill/>
                      <a:ln w="6350" cap="flat">
                        <a:solidFill>
                          <a:schemeClr val="bg1">
                            <a:alpha val="40000"/>
                          </a:schemeClr>
                        </a:solidFill>
                        <a:prstDash val="solid"/>
                        <a:miter/>
                      </a:ln>
                    </p:spPr>
                    <p:txBody>
                      <a:bodyPr rtlCol="0" anchor="ctr"/>
                      <a:lstStyle/>
                      <a:p>
                        <a:endParaRPr lang="en-GB"/>
                      </a:p>
                    </p:txBody>
                  </p:sp>
                  <p:sp>
                    <p:nvSpPr>
                      <p:cNvPr id="7560" name="Vrije vorm: vorm 7559">
                        <a:extLst>
                          <a:ext uri="{FF2B5EF4-FFF2-40B4-BE49-F238E27FC236}">
                            <a16:creationId xmlns:a16="http://schemas.microsoft.com/office/drawing/2014/main" id="{436283F8-AA73-4F72-B1E0-ACE83E6E79D2}"/>
                          </a:ext>
                        </a:extLst>
                      </p:cNvPr>
                      <p:cNvSpPr/>
                      <p:nvPr/>
                    </p:nvSpPr>
                    <p:spPr>
                      <a:xfrm>
                        <a:off x="5210400" y="5208665"/>
                        <a:ext cx="16411" cy="17493"/>
                      </a:xfrm>
                      <a:custGeom>
                        <a:avLst/>
                        <a:gdLst>
                          <a:gd name="connsiteX0" fmla="*/ 13362 w 16411"/>
                          <a:gd name="connsiteY0" fmla="*/ 2138 h 17493"/>
                          <a:gd name="connsiteX1" fmla="*/ 13541 w 16411"/>
                          <a:gd name="connsiteY1" fmla="*/ 2318 h 17493"/>
                          <a:gd name="connsiteX2" fmla="*/ 13721 w 16411"/>
                          <a:gd name="connsiteY2" fmla="*/ 2497 h 17493"/>
                          <a:gd name="connsiteX3" fmla="*/ 13900 w 16411"/>
                          <a:gd name="connsiteY3" fmla="*/ 2676 h 17493"/>
                          <a:gd name="connsiteX4" fmla="*/ 14079 w 16411"/>
                          <a:gd name="connsiteY4" fmla="*/ 2856 h 17493"/>
                          <a:gd name="connsiteX5" fmla="*/ 14797 w 16411"/>
                          <a:gd name="connsiteY5" fmla="*/ 3932 h 17493"/>
                          <a:gd name="connsiteX6" fmla="*/ 15276 w 16411"/>
                          <a:gd name="connsiteY6" fmla="*/ 5188 h 17493"/>
                          <a:gd name="connsiteX7" fmla="*/ 15455 w 16411"/>
                          <a:gd name="connsiteY7" fmla="*/ 6564 h 17493"/>
                          <a:gd name="connsiteX8" fmla="*/ 15395 w 16411"/>
                          <a:gd name="connsiteY8" fmla="*/ 8059 h 17493"/>
                          <a:gd name="connsiteX9" fmla="*/ 15036 w 16411"/>
                          <a:gd name="connsiteY9" fmla="*/ 9614 h 17493"/>
                          <a:gd name="connsiteX10" fmla="*/ 14438 w 16411"/>
                          <a:gd name="connsiteY10" fmla="*/ 11049 h 17493"/>
                          <a:gd name="connsiteX11" fmla="*/ 13601 w 16411"/>
                          <a:gd name="connsiteY11" fmla="*/ 12425 h 17493"/>
                          <a:gd name="connsiteX12" fmla="*/ 12525 w 16411"/>
                          <a:gd name="connsiteY12" fmla="*/ 13681 h 17493"/>
                          <a:gd name="connsiteX13" fmla="*/ 11269 w 16411"/>
                          <a:gd name="connsiteY13" fmla="*/ 14757 h 17493"/>
                          <a:gd name="connsiteX14" fmla="*/ 9953 w 16411"/>
                          <a:gd name="connsiteY14" fmla="*/ 15595 h 17493"/>
                          <a:gd name="connsiteX15" fmla="*/ 8577 w 16411"/>
                          <a:gd name="connsiteY15" fmla="*/ 16133 h 17493"/>
                          <a:gd name="connsiteX16" fmla="*/ 7142 w 16411"/>
                          <a:gd name="connsiteY16" fmla="*/ 16432 h 17493"/>
                          <a:gd name="connsiteX17" fmla="*/ 6006 w 16411"/>
                          <a:gd name="connsiteY17" fmla="*/ 16432 h 17493"/>
                          <a:gd name="connsiteX18" fmla="*/ 4929 w 16411"/>
                          <a:gd name="connsiteY18" fmla="*/ 16252 h 17493"/>
                          <a:gd name="connsiteX19" fmla="*/ 3972 w 16411"/>
                          <a:gd name="connsiteY19" fmla="*/ 15894 h 17493"/>
                          <a:gd name="connsiteX20" fmla="*/ 3075 w 16411"/>
                          <a:gd name="connsiteY20" fmla="*/ 15356 h 17493"/>
                          <a:gd name="connsiteX21" fmla="*/ 2357 w 16411"/>
                          <a:gd name="connsiteY21" fmla="*/ 14697 h 17493"/>
                          <a:gd name="connsiteX22" fmla="*/ 1640 w 16411"/>
                          <a:gd name="connsiteY22" fmla="*/ 13621 h 17493"/>
                          <a:gd name="connsiteX23" fmla="*/ 1161 w 16411"/>
                          <a:gd name="connsiteY23" fmla="*/ 12365 h 17493"/>
                          <a:gd name="connsiteX24" fmla="*/ 982 w 16411"/>
                          <a:gd name="connsiteY24" fmla="*/ 10989 h 17493"/>
                          <a:gd name="connsiteX25" fmla="*/ 1041 w 16411"/>
                          <a:gd name="connsiteY25" fmla="*/ 9494 h 17493"/>
                          <a:gd name="connsiteX26" fmla="*/ 1400 w 16411"/>
                          <a:gd name="connsiteY26" fmla="*/ 7939 h 17493"/>
                          <a:gd name="connsiteX27" fmla="*/ 1999 w 16411"/>
                          <a:gd name="connsiteY27" fmla="*/ 6444 h 17493"/>
                          <a:gd name="connsiteX28" fmla="*/ 2836 w 16411"/>
                          <a:gd name="connsiteY28" fmla="*/ 5069 h 17493"/>
                          <a:gd name="connsiteX29" fmla="*/ 3912 w 16411"/>
                          <a:gd name="connsiteY29" fmla="*/ 3813 h 17493"/>
                          <a:gd name="connsiteX30" fmla="*/ 5168 w 16411"/>
                          <a:gd name="connsiteY30" fmla="*/ 2736 h 17493"/>
                          <a:gd name="connsiteX31" fmla="*/ 6484 w 16411"/>
                          <a:gd name="connsiteY31" fmla="*/ 1899 h 17493"/>
                          <a:gd name="connsiteX32" fmla="*/ 7860 w 16411"/>
                          <a:gd name="connsiteY32" fmla="*/ 1360 h 17493"/>
                          <a:gd name="connsiteX33" fmla="*/ 9295 w 16411"/>
                          <a:gd name="connsiteY33" fmla="*/ 1121 h 17493"/>
                          <a:gd name="connsiteX34" fmla="*/ 10431 w 16411"/>
                          <a:gd name="connsiteY34" fmla="*/ 1121 h 17493"/>
                          <a:gd name="connsiteX35" fmla="*/ 11508 w 16411"/>
                          <a:gd name="connsiteY35" fmla="*/ 1301 h 17493"/>
                          <a:gd name="connsiteX36" fmla="*/ 12465 w 16411"/>
                          <a:gd name="connsiteY36" fmla="*/ 1659 h 17493"/>
                          <a:gd name="connsiteX37" fmla="*/ 13362 w 16411"/>
                          <a:gd name="connsiteY37" fmla="*/ 2138 h 17493"/>
                          <a:gd name="connsiteX38" fmla="*/ 2357 w 16411"/>
                          <a:gd name="connsiteY38" fmla="*/ 16133 h 17493"/>
                          <a:gd name="connsiteX39" fmla="*/ 3374 w 16411"/>
                          <a:gd name="connsiteY39" fmla="*/ 16791 h 17493"/>
                          <a:gd name="connsiteX40" fmla="*/ 4510 w 16411"/>
                          <a:gd name="connsiteY40" fmla="*/ 17210 h 17493"/>
                          <a:gd name="connsiteX41" fmla="*/ 5707 w 16411"/>
                          <a:gd name="connsiteY41" fmla="*/ 17449 h 17493"/>
                          <a:gd name="connsiteX42" fmla="*/ 7022 w 16411"/>
                          <a:gd name="connsiteY42" fmla="*/ 17449 h 17493"/>
                          <a:gd name="connsiteX43" fmla="*/ 8637 w 16411"/>
                          <a:gd name="connsiteY43" fmla="*/ 17150 h 17493"/>
                          <a:gd name="connsiteX44" fmla="*/ 10192 w 16411"/>
                          <a:gd name="connsiteY44" fmla="*/ 16492 h 17493"/>
                          <a:gd name="connsiteX45" fmla="*/ 11687 w 16411"/>
                          <a:gd name="connsiteY45" fmla="*/ 15595 h 17493"/>
                          <a:gd name="connsiteX46" fmla="*/ 13063 w 16411"/>
                          <a:gd name="connsiteY46" fmla="*/ 14398 h 17493"/>
                          <a:gd name="connsiteX47" fmla="*/ 14259 w 16411"/>
                          <a:gd name="connsiteY47" fmla="*/ 12963 h 17493"/>
                          <a:gd name="connsiteX48" fmla="*/ 15216 w 16411"/>
                          <a:gd name="connsiteY48" fmla="*/ 11408 h 17493"/>
                          <a:gd name="connsiteX49" fmla="*/ 15874 w 16411"/>
                          <a:gd name="connsiteY49" fmla="*/ 9734 h 17493"/>
                          <a:gd name="connsiteX50" fmla="*/ 16292 w 16411"/>
                          <a:gd name="connsiteY50" fmla="*/ 7999 h 17493"/>
                          <a:gd name="connsiteX51" fmla="*/ 16412 w 16411"/>
                          <a:gd name="connsiteY51" fmla="*/ 6325 h 17493"/>
                          <a:gd name="connsiteX52" fmla="*/ 16173 w 16411"/>
                          <a:gd name="connsiteY52" fmla="*/ 4770 h 17493"/>
                          <a:gd name="connsiteX53" fmla="*/ 15634 w 16411"/>
                          <a:gd name="connsiteY53" fmla="*/ 3334 h 17493"/>
                          <a:gd name="connsiteX54" fmla="*/ 14797 w 16411"/>
                          <a:gd name="connsiteY54" fmla="*/ 2078 h 17493"/>
                          <a:gd name="connsiteX55" fmla="*/ 14618 w 16411"/>
                          <a:gd name="connsiteY55" fmla="*/ 1899 h 17493"/>
                          <a:gd name="connsiteX56" fmla="*/ 14438 w 16411"/>
                          <a:gd name="connsiteY56" fmla="*/ 1719 h 17493"/>
                          <a:gd name="connsiteX57" fmla="*/ 14259 w 16411"/>
                          <a:gd name="connsiteY57" fmla="*/ 1540 h 17493"/>
                          <a:gd name="connsiteX58" fmla="*/ 14079 w 16411"/>
                          <a:gd name="connsiteY58" fmla="*/ 1360 h 17493"/>
                          <a:gd name="connsiteX59" fmla="*/ 13063 w 16411"/>
                          <a:gd name="connsiteY59" fmla="*/ 703 h 17493"/>
                          <a:gd name="connsiteX60" fmla="*/ 11926 w 16411"/>
                          <a:gd name="connsiteY60" fmla="*/ 284 h 17493"/>
                          <a:gd name="connsiteX61" fmla="*/ 10730 w 16411"/>
                          <a:gd name="connsiteY61" fmla="*/ 45 h 17493"/>
                          <a:gd name="connsiteX62" fmla="*/ 9474 w 16411"/>
                          <a:gd name="connsiteY62" fmla="*/ 45 h 17493"/>
                          <a:gd name="connsiteX63" fmla="*/ 7860 w 16411"/>
                          <a:gd name="connsiteY63" fmla="*/ 344 h 17493"/>
                          <a:gd name="connsiteX64" fmla="*/ 6245 w 16411"/>
                          <a:gd name="connsiteY64" fmla="*/ 942 h 17493"/>
                          <a:gd name="connsiteX65" fmla="*/ 4749 w 16411"/>
                          <a:gd name="connsiteY65" fmla="*/ 1839 h 17493"/>
                          <a:gd name="connsiteX66" fmla="*/ 3374 w 16411"/>
                          <a:gd name="connsiteY66" fmla="*/ 3035 h 17493"/>
                          <a:gd name="connsiteX67" fmla="*/ 2178 w 16411"/>
                          <a:gd name="connsiteY67" fmla="*/ 4471 h 17493"/>
                          <a:gd name="connsiteX68" fmla="*/ 1221 w 16411"/>
                          <a:gd name="connsiteY68" fmla="*/ 6026 h 17493"/>
                          <a:gd name="connsiteX69" fmla="*/ 503 w 16411"/>
                          <a:gd name="connsiteY69" fmla="*/ 7700 h 17493"/>
                          <a:gd name="connsiteX70" fmla="*/ 85 w 16411"/>
                          <a:gd name="connsiteY70" fmla="*/ 9435 h 17493"/>
                          <a:gd name="connsiteX71" fmla="*/ 25 w 16411"/>
                          <a:gd name="connsiteY71" fmla="*/ 11109 h 17493"/>
                          <a:gd name="connsiteX72" fmla="*/ 264 w 16411"/>
                          <a:gd name="connsiteY72" fmla="*/ 12664 h 17493"/>
                          <a:gd name="connsiteX73" fmla="*/ 802 w 16411"/>
                          <a:gd name="connsiteY73" fmla="*/ 14099 h 17493"/>
                          <a:gd name="connsiteX74" fmla="*/ 1640 w 16411"/>
                          <a:gd name="connsiteY74" fmla="*/ 15356 h 17493"/>
                          <a:gd name="connsiteX75" fmla="*/ 1819 w 16411"/>
                          <a:gd name="connsiteY75" fmla="*/ 15535 h 17493"/>
                          <a:gd name="connsiteX76" fmla="*/ 1999 w 16411"/>
                          <a:gd name="connsiteY76" fmla="*/ 15714 h 17493"/>
                          <a:gd name="connsiteX77" fmla="*/ 2178 w 16411"/>
                          <a:gd name="connsiteY77" fmla="*/ 15894 h 17493"/>
                          <a:gd name="connsiteX78" fmla="*/ 2357 w 16411"/>
                          <a:gd name="connsiteY78" fmla="*/ 16133 h 1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6411" h="17493">
                            <a:moveTo>
                              <a:pt x="13362" y="2138"/>
                            </a:moveTo>
                            <a:cubicBezTo>
                              <a:pt x="13422" y="2198"/>
                              <a:pt x="13481" y="2258"/>
                              <a:pt x="13541" y="2318"/>
                            </a:cubicBezTo>
                            <a:cubicBezTo>
                              <a:pt x="13601" y="2377"/>
                              <a:pt x="13661" y="2437"/>
                              <a:pt x="13721" y="2497"/>
                            </a:cubicBezTo>
                            <a:cubicBezTo>
                              <a:pt x="13780" y="2557"/>
                              <a:pt x="13840" y="2617"/>
                              <a:pt x="13900" y="2676"/>
                            </a:cubicBezTo>
                            <a:cubicBezTo>
                              <a:pt x="13960" y="2736"/>
                              <a:pt x="14020" y="2796"/>
                              <a:pt x="14079" y="2856"/>
                            </a:cubicBezTo>
                            <a:cubicBezTo>
                              <a:pt x="14379" y="3214"/>
                              <a:pt x="14618" y="3573"/>
                              <a:pt x="14797" y="3932"/>
                            </a:cubicBezTo>
                            <a:cubicBezTo>
                              <a:pt x="14977" y="4351"/>
                              <a:pt x="15156" y="4770"/>
                              <a:pt x="15276" y="5188"/>
                            </a:cubicBezTo>
                            <a:cubicBezTo>
                              <a:pt x="15395" y="5607"/>
                              <a:pt x="15455" y="6085"/>
                              <a:pt x="15455" y="6564"/>
                            </a:cubicBezTo>
                            <a:cubicBezTo>
                              <a:pt x="15455" y="7042"/>
                              <a:pt x="15455" y="7581"/>
                              <a:pt x="15395" y="8059"/>
                            </a:cubicBezTo>
                            <a:cubicBezTo>
                              <a:pt x="15335" y="8597"/>
                              <a:pt x="15216" y="9076"/>
                              <a:pt x="15036" y="9614"/>
                            </a:cubicBezTo>
                            <a:cubicBezTo>
                              <a:pt x="14857" y="10152"/>
                              <a:pt x="14678" y="10571"/>
                              <a:pt x="14438" y="11049"/>
                            </a:cubicBezTo>
                            <a:cubicBezTo>
                              <a:pt x="14199" y="11528"/>
                              <a:pt x="13900" y="12006"/>
                              <a:pt x="13601" y="12425"/>
                            </a:cubicBezTo>
                            <a:cubicBezTo>
                              <a:pt x="13302" y="12843"/>
                              <a:pt x="12943" y="13262"/>
                              <a:pt x="12525" y="13681"/>
                            </a:cubicBezTo>
                            <a:cubicBezTo>
                              <a:pt x="12106" y="14099"/>
                              <a:pt x="11747" y="14398"/>
                              <a:pt x="11269" y="14757"/>
                            </a:cubicBezTo>
                            <a:cubicBezTo>
                              <a:pt x="10850" y="15057"/>
                              <a:pt x="10371" y="15356"/>
                              <a:pt x="9953" y="15595"/>
                            </a:cubicBezTo>
                            <a:cubicBezTo>
                              <a:pt x="9474" y="15834"/>
                              <a:pt x="9056" y="16013"/>
                              <a:pt x="8577" y="16133"/>
                            </a:cubicBezTo>
                            <a:cubicBezTo>
                              <a:pt x="8099" y="16252"/>
                              <a:pt x="7620" y="16372"/>
                              <a:pt x="7142" y="16432"/>
                            </a:cubicBezTo>
                            <a:cubicBezTo>
                              <a:pt x="6723" y="16492"/>
                              <a:pt x="6364" y="16492"/>
                              <a:pt x="6006" y="16432"/>
                            </a:cubicBezTo>
                            <a:cubicBezTo>
                              <a:pt x="5647" y="16432"/>
                              <a:pt x="5288" y="16372"/>
                              <a:pt x="4929" y="16252"/>
                            </a:cubicBezTo>
                            <a:cubicBezTo>
                              <a:pt x="4570" y="16133"/>
                              <a:pt x="4271" y="16013"/>
                              <a:pt x="3972" y="15894"/>
                            </a:cubicBezTo>
                            <a:cubicBezTo>
                              <a:pt x="3673" y="15714"/>
                              <a:pt x="3374" y="15535"/>
                              <a:pt x="3075" y="15356"/>
                            </a:cubicBezTo>
                            <a:lnTo>
                              <a:pt x="2357" y="14697"/>
                            </a:lnTo>
                            <a:cubicBezTo>
                              <a:pt x="2058" y="14339"/>
                              <a:pt x="1819" y="13980"/>
                              <a:pt x="1640" y="13621"/>
                            </a:cubicBezTo>
                            <a:cubicBezTo>
                              <a:pt x="1460" y="13262"/>
                              <a:pt x="1281" y="12784"/>
                              <a:pt x="1161" y="12365"/>
                            </a:cubicBezTo>
                            <a:cubicBezTo>
                              <a:pt x="1041" y="11946"/>
                              <a:pt x="982" y="11468"/>
                              <a:pt x="982" y="10989"/>
                            </a:cubicBezTo>
                            <a:cubicBezTo>
                              <a:pt x="982" y="10511"/>
                              <a:pt x="982" y="10033"/>
                              <a:pt x="1041" y="9494"/>
                            </a:cubicBezTo>
                            <a:cubicBezTo>
                              <a:pt x="1101" y="8956"/>
                              <a:pt x="1221" y="8478"/>
                              <a:pt x="1400" y="7939"/>
                            </a:cubicBezTo>
                            <a:cubicBezTo>
                              <a:pt x="1580" y="7461"/>
                              <a:pt x="1759" y="6923"/>
                              <a:pt x="1999" y="6444"/>
                            </a:cubicBezTo>
                            <a:cubicBezTo>
                              <a:pt x="2238" y="5966"/>
                              <a:pt x="2537" y="5487"/>
                              <a:pt x="2836" y="5069"/>
                            </a:cubicBezTo>
                            <a:cubicBezTo>
                              <a:pt x="3135" y="4650"/>
                              <a:pt x="3494" y="4231"/>
                              <a:pt x="3912" y="3813"/>
                            </a:cubicBezTo>
                            <a:cubicBezTo>
                              <a:pt x="4331" y="3394"/>
                              <a:pt x="4749" y="3035"/>
                              <a:pt x="5168" y="2736"/>
                            </a:cubicBezTo>
                            <a:cubicBezTo>
                              <a:pt x="5587" y="2437"/>
                              <a:pt x="6065" y="2138"/>
                              <a:pt x="6484" y="1899"/>
                            </a:cubicBezTo>
                            <a:cubicBezTo>
                              <a:pt x="6903" y="1659"/>
                              <a:pt x="7381" y="1480"/>
                              <a:pt x="7860" y="1360"/>
                            </a:cubicBezTo>
                            <a:cubicBezTo>
                              <a:pt x="8338" y="1241"/>
                              <a:pt x="8816" y="1121"/>
                              <a:pt x="9295" y="1121"/>
                            </a:cubicBezTo>
                            <a:cubicBezTo>
                              <a:pt x="9714" y="1062"/>
                              <a:pt x="10072" y="1062"/>
                              <a:pt x="10431" y="1121"/>
                            </a:cubicBezTo>
                            <a:cubicBezTo>
                              <a:pt x="10790" y="1121"/>
                              <a:pt x="11149" y="1241"/>
                              <a:pt x="11508" y="1301"/>
                            </a:cubicBezTo>
                            <a:cubicBezTo>
                              <a:pt x="11867" y="1420"/>
                              <a:pt x="12166" y="1540"/>
                              <a:pt x="12465" y="1659"/>
                            </a:cubicBezTo>
                            <a:cubicBezTo>
                              <a:pt x="12824" y="1719"/>
                              <a:pt x="13123" y="1899"/>
                              <a:pt x="13362" y="2138"/>
                            </a:cubicBezTo>
                            <a:moveTo>
                              <a:pt x="2357" y="16133"/>
                            </a:moveTo>
                            <a:cubicBezTo>
                              <a:pt x="2656" y="16372"/>
                              <a:pt x="3015" y="16611"/>
                              <a:pt x="3374" y="16791"/>
                            </a:cubicBezTo>
                            <a:cubicBezTo>
                              <a:pt x="3733" y="16970"/>
                              <a:pt x="4092" y="17090"/>
                              <a:pt x="4510" y="17210"/>
                            </a:cubicBezTo>
                            <a:cubicBezTo>
                              <a:pt x="4929" y="17329"/>
                              <a:pt x="5288" y="17389"/>
                              <a:pt x="5707" y="17449"/>
                            </a:cubicBezTo>
                            <a:cubicBezTo>
                              <a:pt x="6125" y="17509"/>
                              <a:pt x="6544" y="17509"/>
                              <a:pt x="7022" y="17449"/>
                            </a:cubicBezTo>
                            <a:cubicBezTo>
                              <a:pt x="7561" y="17389"/>
                              <a:pt x="8099" y="17269"/>
                              <a:pt x="8637" y="17150"/>
                            </a:cubicBezTo>
                            <a:cubicBezTo>
                              <a:pt x="9175" y="16970"/>
                              <a:pt x="9714" y="16791"/>
                              <a:pt x="10192" y="16492"/>
                            </a:cubicBezTo>
                            <a:cubicBezTo>
                              <a:pt x="10730" y="16252"/>
                              <a:pt x="11209" y="15894"/>
                              <a:pt x="11687" y="15595"/>
                            </a:cubicBezTo>
                            <a:cubicBezTo>
                              <a:pt x="12166" y="15236"/>
                              <a:pt x="12644" y="14817"/>
                              <a:pt x="13063" y="14398"/>
                            </a:cubicBezTo>
                            <a:cubicBezTo>
                              <a:pt x="13481" y="13980"/>
                              <a:pt x="13900" y="13502"/>
                              <a:pt x="14259" y="12963"/>
                            </a:cubicBezTo>
                            <a:cubicBezTo>
                              <a:pt x="14618" y="12425"/>
                              <a:pt x="14917" y="11946"/>
                              <a:pt x="15216" y="11408"/>
                            </a:cubicBezTo>
                            <a:cubicBezTo>
                              <a:pt x="15515" y="10870"/>
                              <a:pt x="15694" y="10332"/>
                              <a:pt x="15874" y="9734"/>
                            </a:cubicBezTo>
                            <a:cubicBezTo>
                              <a:pt x="16053" y="9135"/>
                              <a:pt x="16173" y="8597"/>
                              <a:pt x="16292" y="7999"/>
                            </a:cubicBezTo>
                            <a:cubicBezTo>
                              <a:pt x="16352" y="7401"/>
                              <a:pt x="16412" y="6863"/>
                              <a:pt x="16412" y="6325"/>
                            </a:cubicBezTo>
                            <a:cubicBezTo>
                              <a:pt x="16412" y="5786"/>
                              <a:pt x="16292" y="5248"/>
                              <a:pt x="16173" y="4770"/>
                            </a:cubicBezTo>
                            <a:cubicBezTo>
                              <a:pt x="16053" y="4291"/>
                              <a:pt x="15874" y="3813"/>
                              <a:pt x="15634" y="3334"/>
                            </a:cubicBezTo>
                            <a:cubicBezTo>
                              <a:pt x="15395" y="2916"/>
                              <a:pt x="15156" y="2497"/>
                              <a:pt x="14797" y="2078"/>
                            </a:cubicBezTo>
                            <a:cubicBezTo>
                              <a:pt x="14738" y="2018"/>
                              <a:pt x="14678" y="1959"/>
                              <a:pt x="14618" y="1899"/>
                            </a:cubicBezTo>
                            <a:cubicBezTo>
                              <a:pt x="14558" y="1839"/>
                              <a:pt x="14498" y="1779"/>
                              <a:pt x="14438" y="1719"/>
                            </a:cubicBezTo>
                            <a:cubicBezTo>
                              <a:pt x="14379" y="1659"/>
                              <a:pt x="14319" y="1600"/>
                              <a:pt x="14259" y="1540"/>
                            </a:cubicBezTo>
                            <a:cubicBezTo>
                              <a:pt x="14199" y="1480"/>
                              <a:pt x="14139" y="1420"/>
                              <a:pt x="14079" y="1360"/>
                            </a:cubicBezTo>
                            <a:cubicBezTo>
                              <a:pt x="13780" y="1121"/>
                              <a:pt x="13422" y="882"/>
                              <a:pt x="13063" y="703"/>
                            </a:cubicBezTo>
                            <a:cubicBezTo>
                              <a:pt x="12704" y="523"/>
                              <a:pt x="12345" y="404"/>
                              <a:pt x="11926" y="284"/>
                            </a:cubicBezTo>
                            <a:cubicBezTo>
                              <a:pt x="11568" y="164"/>
                              <a:pt x="11149" y="105"/>
                              <a:pt x="10730" y="45"/>
                            </a:cubicBezTo>
                            <a:cubicBezTo>
                              <a:pt x="10311" y="-15"/>
                              <a:pt x="9893" y="-15"/>
                              <a:pt x="9474" y="45"/>
                            </a:cubicBezTo>
                            <a:cubicBezTo>
                              <a:pt x="8936" y="105"/>
                              <a:pt x="8398" y="164"/>
                              <a:pt x="7860" y="344"/>
                            </a:cubicBezTo>
                            <a:cubicBezTo>
                              <a:pt x="7321" y="523"/>
                              <a:pt x="6783" y="703"/>
                              <a:pt x="6245" y="942"/>
                            </a:cubicBezTo>
                            <a:cubicBezTo>
                              <a:pt x="5707" y="1181"/>
                              <a:pt x="5228" y="1540"/>
                              <a:pt x="4749" y="1839"/>
                            </a:cubicBezTo>
                            <a:cubicBezTo>
                              <a:pt x="4271" y="2198"/>
                              <a:pt x="3793" y="2617"/>
                              <a:pt x="3374" y="3035"/>
                            </a:cubicBezTo>
                            <a:cubicBezTo>
                              <a:pt x="2955" y="3513"/>
                              <a:pt x="2537" y="3992"/>
                              <a:pt x="2178" y="4471"/>
                            </a:cubicBezTo>
                            <a:cubicBezTo>
                              <a:pt x="1819" y="4949"/>
                              <a:pt x="1520" y="5487"/>
                              <a:pt x="1221" y="6026"/>
                            </a:cubicBezTo>
                            <a:cubicBezTo>
                              <a:pt x="922" y="6564"/>
                              <a:pt x="742" y="7102"/>
                              <a:pt x="503" y="7700"/>
                            </a:cubicBezTo>
                            <a:cubicBezTo>
                              <a:pt x="264" y="8298"/>
                              <a:pt x="204" y="8836"/>
                              <a:pt x="85" y="9435"/>
                            </a:cubicBezTo>
                            <a:cubicBezTo>
                              <a:pt x="25" y="10033"/>
                              <a:pt x="-35" y="10571"/>
                              <a:pt x="25" y="11109"/>
                            </a:cubicBezTo>
                            <a:cubicBezTo>
                              <a:pt x="25" y="11648"/>
                              <a:pt x="145" y="12186"/>
                              <a:pt x="264" y="12664"/>
                            </a:cubicBezTo>
                            <a:cubicBezTo>
                              <a:pt x="384" y="13143"/>
                              <a:pt x="563" y="13621"/>
                              <a:pt x="802" y="14099"/>
                            </a:cubicBezTo>
                            <a:cubicBezTo>
                              <a:pt x="1041" y="14578"/>
                              <a:pt x="1281" y="14937"/>
                              <a:pt x="1640" y="15356"/>
                            </a:cubicBezTo>
                            <a:cubicBezTo>
                              <a:pt x="1700" y="15415"/>
                              <a:pt x="1759" y="15475"/>
                              <a:pt x="1819" y="15535"/>
                            </a:cubicBezTo>
                            <a:cubicBezTo>
                              <a:pt x="1879" y="15595"/>
                              <a:pt x="1939" y="15654"/>
                              <a:pt x="1999" y="15714"/>
                            </a:cubicBezTo>
                            <a:cubicBezTo>
                              <a:pt x="2058" y="15774"/>
                              <a:pt x="2118" y="15834"/>
                              <a:pt x="2178" y="15894"/>
                            </a:cubicBezTo>
                            <a:cubicBezTo>
                              <a:pt x="2238" y="16013"/>
                              <a:pt x="2298" y="16073"/>
                              <a:pt x="2357" y="16133"/>
                            </a:cubicBezTo>
                          </a:path>
                        </a:pathLst>
                      </a:custGeom>
                      <a:noFill/>
                      <a:ln w="6350" cap="flat">
                        <a:solidFill>
                          <a:schemeClr val="bg1">
                            <a:alpha val="40000"/>
                          </a:schemeClr>
                        </a:solidFill>
                        <a:prstDash val="solid"/>
                        <a:miter/>
                      </a:ln>
                    </p:spPr>
                    <p:txBody>
                      <a:bodyPr rtlCol="0" anchor="ctr"/>
                      <a:lstStyle/>
                      <a:p>
                        <a:endParaRPr lang="en-GB"/>
                      </a:p>
                    </p:txBody>
                  </p:sp>
                  <p:sp>
                    <p:nvSpPr>
                      <p:cNvPr id="7561" name="Vrije vorm: vorm 7560">
                        <a:extLst>
                          <a:ext uri="{FF2B5EF4-FFF2-40B4-BE49-F238E27FC236}">
                            <a16:creationId xmlns:a16="http://schemas.microsoft.com/office/drawing/2014/main" id="{1307F979-BCB5-4FFE-B0FA-1E8545EDEA4F}"/>
                          </a:ext>
                        </a:extLst>
                      </p:cNvPr>
                      <p:cNvSpPr/>
                      <p:nvPr/>
                    </p:nvSpPr>
                    <p:spPr>
                      <a:xfrm>
                        <a:off x="5213295" y="5211820"/>
                        <a:ext cx="10526" cy="11183"/>
                      </a:xfrm>
                      <a:custGeom>
                        <a:avLst/>
                        <a:gdLst>
                          <a:gd name="connsiteX0" fmla="*/ 8433 w 10526"/>
                          <a:gd name="connsiteY0" fmla="*/ 1615 h 11183"/>
                          <a:gd name="connsiteX1" fmla="*/ 8552 w 10526"/>
                          <a:gd name="connsiteY1" fmla="*/ 1735 h 11183"/>
                          <a:gd name="connsiteX2" fmla="*/ 8672 w 10526"/>
                          <a:gd name="connsiteY2" fmla="*/ 1854 h 11183"/>
                          <a:gd name="connsiteX3" fmla="*/ 8792 w 10526"/>
                          <a:gd name="connsiteY3" fmla="*/ 1974 h 11183"/>
                          <a:gd name="connsiteX4" fmla="*/ 8911 w 10526"/>
                          <a:gd name="connsiteY4" fmla="*/ 2093 h 11183"/>
                          <a:gd name="connsiteX5" fmla="*/ 9330 w 10526"/>
                          <a:gd name="connsiteY5" fmla="*/ 2751 h 11183"/>
                          <a:gd name="connsiteX6" fmla="*/ 9629 w 10526"/>
                          <a:gd name="connsiteY6" fmla="*/ 3529 h 11183"/>
                          <a:gd name="connsiteX7" fmla="*/ 9749 w 10526"/>
                          <a:gd name="connsiteY7" fmla="*/ 4366 h 11183"/>
                          <a:gd name="connsiteX8" fmla="*/ 9689 w 10526"/>
                          <a:gd name="connsiteY8" fmla="*/ 5263 h 11183"/>
                          <a:gd name="connsiteX9" fmla="*/ 9450 w 10526"/>
                          <a:gd name="connsiteY9" fmla="*/ 6160 h 11183"/>
                          <a:gd name="connsiteX10" fmla="*/ 9091 w 10526"/>
                          <a:gd name="connsiteY10" fmla="*/ 7057 h 11183"/>
                          <a:gd name="connsiteX11" fmla="*/ 8612 w 10526"/>
                          <a:gd name="connsiteY11" fmla="*/ 7895 h 11183"/>
                          <a:gd name="connsiteX12" fmla="*/ 7954 w 10526"/>
                          <a:gd name="connsiteY12" fmla="*/ 8612 h 11183"/>
                          <a:gd name="connsiteX13" fmla="*/ 7177 w 10526"/>
                          <a:gd name="connsiteY13" fmla="*/ 9270 h 11183"/>
                          <a:gd name="connsiteX14" fmla="*/ 6399 w 10526"/>
                          <a:gd name="connsiteY14" fmla="*/ 9749 h 11183"/>
                          <a:gd name="connsiteX15" fmla="*/ 5562 w 10526"/>
                          <a:gd name="connsiteY15" fmla="*/ 10107 h 11183"/>
                          <a:gd name="connsiteX16" fmla="*/ 4725 w 10526"/>
                          <a:gd name="connsiteY16" fmla="*/ 10287 h 11183"/>
                          <a:gd name="connsiteX17" fmla="*/ 4067 w 10526"/>
                          <a:gd name="connsiteY17" fmla="*/ 10287 h 11183"/>
                          <a:gd name="connsiteX18" fmla="*/ 3409 w 10526"/>
                          <a:gd name="connsiteY18" fmla="*/ 10167 h 11183"/>
                          <a:gd name="connsiteX19" fmla="*/ 2811 w 10526"/>
                          <a:gd name="connsiteY19" fmla="*/ 9928 h 11183"/>
                          <a:gd name="connsiteX20" fmla="*/ 2273 w 10526"/>
                          <a:gd name="connsiteY20" fmla="*/ 9569 h 11183"/>
                          <a:gd name="connsiteX21" fmla="*/ 1854 w 10526"/>
                          <a:gd name="connsiteY21" fmla="*/ 9151 h 11183"/>
                          <a:gd name="connsiteX22" fmla="*/ 1435 w 10526"/>
                          <a:gd name="connsiteY22" fmla="*/ 8493 h 11183"/>
                          <a:gd name="connsiteX23" fmla="*/ 1136 w 10526"/>
                          <a:gd name="connsiteY23" fmla="*/ 7715 h 11183"/>
                          <a:gd name="connsiteX24" fmla="*/ 1017 w 10526"/>
                          <a:gd name="connsiteY24" fmla="*/ 6878 h 11183"/>
                          <a:gd name="connsiteX25" fmla="*/ 1076 w 10526"/>
                          <a:gd name="connsiteY25" fmla="*/ 5981 h 11183"/>
                          <a:gd name="connsiteX26" fmla="*/ 1316 w 10526"/>
                          <a:gd name="connsiteY26" fmla="*/ 5084 h 11183"/>
                          <a:gd name="connsiteX27" fmla="*/ 1675 w 10526"/>
                          <a:gd name="connsiteY27" fmla="*/ 4187 h 11183"/>
                          <a:gd name="connsiteX28" fmla="*/ 2153 w 10526"/>
                          <a:gd name="connsiteY28" fmla="*/ 3349 h 11183"/>
                          <a:gd name="connsiteX29" fmla="*/ 2811 w 10526"/>
                          <a:gd name="connsiteY29" fmla="*/ 2572 h 11183"/>
                          <a:gd name="connsiteX30" fmla="*/ 3529 w 10526"/>
                          <a:gd name="connsiteY30" fmla="*/ 1914 h 11183"/>
                          <a:gd name="connsiteX31" fmla="*/ 4306 w 10526"/>
                          <a:gd name="connsiteY31" fmla="*/ 1436 h 11183"/>
                          <a:gd name="connsiteX32" fmla="*/ 5144 w 10526"/>
                          <a:gd name="connsiteY32" fmla="*/ 1076 h 11183"/>
                          <a:gd name="connsiteX33" fmla="*/ 5981 w 10526"/>
                          <a:gd name="connsiteY33" fmla="*/ 897 h 11183"/>
                          <a:gd name="connsiteX34" fmla="*/ 6639 w 10526"/>
                          <a:gd name="connsiteY34" fmla="*/ 897 h 11183"/>
                          <a:gd name="connsiteX35" fmla="*/ 7297 w 10526"/>
                          <a:gd name="connsiteY35" fmla="*/ 1017 h 11183"/>
                          <a:gd name="connsiteX36" fmla="*/ 7895 w 10526"/>
                          <a:gd name="connsiteY36" fmla="*/ 1256 h 11183"/>
                          <a:gd name="connsiteX37" fmla="*/ 8433 w 10526"/>
                          <a:gd name="connsiteY37" fmla="*/ 1615 h 11183"/>
                          <a:gd name="connsiteX38" fmla="*/ 1495 w 10526"/>
                          <a:gd name="connsiteY38" fmla="*/ 10347 h 11183"/>
                          <a:gd name="connsiteX39" fmla="*/ 2153 w 10526"/>
                          <a:gd name="connsiteY39" fmla="*/ 10766 h 11183"/>
                          <a:gd name="connsiteX40" fmla="*/ 2871 w 10526"/>
                          <a:gd name="connsiteY40" fmla="*/ 11065 h 11183"/>
                          <a:gd name="connsiteX41" fmla="*/ 3649 w 10526"/>
                          <a:gd name="connsiteY41" fmla="*/ 11184 h 11183"/>
                          <a:gd name="connsiteX42" fmla="*/ 4486 w 10526"/>
                          <a:gd name="connsiteY42" fmla="*/ 11184 h 11183"/>
                          <a:gd name="connsiteX43" fmla="*/ 5562 w 10526"/>
                          <a:gd name="connsiteY43" fmla="*/ 11005 h 11183"/>
                          <a:gd name="connsiteX44" fmla="*/ 6579 w 10526"/>
                          <a:gd name="connsiteY44" fmla="*/ 10586 h 11183"/>
                          <a:gd name="connsiteX45" fmla="*/ 7536 w 10526"/>
                          <a:gd name="connsiteY45" fmla="*/ 9988 h 11183"/>
                          <a:gd name="connsiteX46" fmla="*/ 8433 w 10526"/>
                          <a:gd name="connsiteY46" fmla="*/ 9211 h 11183"/>
                          <a:gd name="connsiteX47" fmla="*/ 9211 w 10526"/>
                          <a:gd name="connsiteY47" fmla="*/ 8313 h 11183"/>
                          <a:gd name="connsiteX48" fmla="*/ 9808 w 10526"/>
                          <a:gd name="connsiteY48" fmla="*/ 7297 h 11183"/>
                          <a:gd name="connsiteX49" fmla="*/ 10227 w 10526"/>
                          <a:gd name="connsiteY49" fmla="*/ 6220 h 11183"/>
                          <a:gd name="connsiteX50" fmla="*/ 10466 w 10526"/>
                          <a:gd name="connsiteY50" fmla="*/ 5084 h 11183"/>
                          <a:gd name="connsiteX51" fmla="*/ 10526 w 10526"/>
                          <a:gd name="connsiteY51" fmla="*/ 4007 h 11183"/>
                          <a:gd name="connsiteX52" fmla="*/ 10406 w 10526"/>
                          <a:gd name="connsiteY52" fmla="*/ 2990 h 11183"/>
                          <a:gd name="connsiteX53" fmla="*/ 10048 w 10526"/>
                          <a:gd name="connsiteY53" fmla="*/ 2093 h 11183"/>
                          <a:gd name="connsiteX54" fmla="*/ 9510 w 10526"/>
                          <a:gd name="connsiteY54" fmla="*/ 1316 h 11183"/>
                          <a:gd name="connsiteX55" fmla="*/ 9031 w 10526"/>
                          <a:gd name="connsiteY55" fmla="*/ 837 h 11183"/>
                          <a:gd name="connsiteX56" fmla="*/ 8373 w 10526"/>
                          <a:gd name="connsiteY56" fmla="*/ 419 h 11183"/>
                          <a:gd name="connsiteX57" fmla="*/ 7656 w 10526"/>
                          <a:gd name="connsiteY57" fmla="*/ 120 h 11183"/>
                          <a:gd name="connsiteX58" fmla="*/ 6878 w 10526"/>
                          <a:gd name="connsiteY58" fmla="*/ 0 h 11183"/>
                          <a:gd name="connsiteX59" fmla="*/ 6041 w 10526"/>
                          <a:gd name="connsiteY59" fmla="*/ 0 h 11183"/>
                          <a:gd name="connsiteX60" fmla="*/ 4964 w 10526"/>
                          <a:gd name="connsiteY60" fmla="*/ 180 h 11183"/>
                          <a:gd name="connsiteX61" fmla="*/ 3947 w 10526"/>
                          <a:gd name="connsiteY61" fmla="*/ 598 h 11183"/>
                          <a:gd name="connsiteX62" fmla="*/ 2990 w 10526"/>
                          <a:gd name="connsiteY62" fmla="*/ 1196 h 11183"/>
                          <a:gd name="connsiteX63" fmla="*/ 2093 w 10526"/>
                          <a:gd name="connsiteY63" fmla="*/ 1974 h 11183"/>
                          <a:gd name="connsiteX64" fmla="*/ 1316 w 10526"/>
                          <a:gd name="connsiteY64" fmla="*/ 2871 h 11183"/>
                          <a:gd name="connsiteX65" fmla="*/ 718 w 10526"/>
                          <a:gd name="connsiteY65" fmla="*/ 3888 h 11183"/>
                          <a:gd name="connsiteX66" fmla="*/ 299 w 10526"/>
                          <a:gd name="connsiteY66" fmla="*/ 4964 h 11183"/>
                          <a:gd name="connsiteX67" fmla="*/ 60 w 10526"/>
                          <a:gd name="connsiteY67" fmla="*/ 6100 h 11183"/>
                          <a:gd name="connsiteX68" fmla="*/ 0 w 10526"/>
                          <a:gd name="connsiteY68" fmla="*/ 7177 h 11183"/>
                          <a:gd name="connsiteX69" fmla="*/ 120 w 10526"/>
                          <a:gd name="connsiteY69" fmla="*/ 8194 h 11183"/>
                          <a:gd name="connsiteX70" fmla="*/ 479 w 10526"/>
                          <a:gd name="connsiteY70" fmla="*/ 9091 h 11183"/>
                          <a:gd name="connsiteX71" fmla="*/ 1017 w 10526"/>
                          <a:gd name="connsiteY71" fmla="*/ 9868 h 11183"/>
                          <a:gd name="connsiteX72" fmla="*/ 1136 w 10526"/>
                          <a:gd name="connsiteY72" fmla="*/ 9988 h 11183"/>
                          <a:gd name="connsiteX73" fmla="*/ 1256 w 10526"/>
                          <a:gd name="connsiteY73" fmla="*/ 10107 h 11183"/>
                          <a:gd name="connsiteX74" fmla="*/ 1376 w 10526"/>
                          <a:gd name="connsiteY74" fmla="*/ 10227 h 11183"/>
                          <a:gd name="connsiteX75" fmla="*/ 1495 w 10526"/>
                          <a:gd name="connsiteY75" fmla="*/ 10347 h 1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526" h="11183">
                            <a:moveTo>
                              <a:pt x="8433" y="1615"/>
                            </a:moveTo>
                            <a:cubicBezTo>
                              <a:pt x="8493" y="1615"/>
                              <a:pt x="8493" y="1675"/>
                              <a:pt x="8552" y="1735"/>
                            </a:cubicBezTo>
                            <a:cubicBezTo>
                              <a:pt x="8612" y="1795"/>
                              <a:pt x="8612" y="1795"/>
                              <a:pt x="8672" y="1854"/>
                            </a:cubicBezTo>
                            <a:cubicBezTo>
                              <a:pt x="8732" y="1914"/>
                              <a:pt x="8732" y="1914"/>
                              <a:pt x="8792" y="1974"/>
                            </a:cubicBezTo>
                            <a:cubicBezTo>
                              <a:pt x="8852" y="2034"/>
                              <a:pt x="8852" y="2034"/>
                              <a:pt x="8911" y="2093"/>
                            </a:cubicBezTo>
                            <a:cubicBezTo>
                              <a:pt x="9091" y="2273"/>
                              <a:pt x="9211" y="2512"/>
                              <a:pt x="9330" y="2751"/>
                            </a:cubicBezTo>
                            <a:cubicBezTo>
                              <a:pt x="9450" y="2990"/>
                              <a:pt x="9569" y="3230"/>
                              <a:pt x="9629" y="3529"/>
                            </a:cubicBezTo>
                            <a:cubicBezTo>
                              <a:pt x="9689" y="3768"/>
                              <a:pt x="9749" y="4067"/>
                              <a:pt x="9749" y="4366"/>
                            </a:cubicBezTo>
                            <a:cubicBezTo>
                              <a:pt x="9749" y="4665"/>
                              <a:pt x="9749" y="4964"/>
                              <a:pt x="9689" y="5263"/>
                            </a:cubicBezTo>
                            <a:cubicBezTo>
                              <a:pt x="9629" y="5562"/>
                              <a:pt x="9569" y="5861"/>
                              <a:pt x="9450" y="6160"/>
                            </a:cubicBezTo>
                            <a:cubicBezTo>
                              <a:pt x="9330" y="6459"/>
                              <a:pt x="9211" y="6758"/>
                              <a:pt x="9091" y="7057"/>
                            </a:cubicBezTo>
                            <a:cubicBezTo>
                              <a:pt x="8971" y="7357"/>
                              <a:pt x="8792" y="7596"/>
                              <a:pt x="8612" y="7895"/>
                            </a:cubicBezTo>
                            <a:cubicBezTo>
                              <a:pt x="8433" y="8134"/>
                              <a:pt x="8194" y="8433"/>
                              <a:pt x="7954" y="8612"/>
                            </a:cubicBezTo>
                            <a:cubicBezTo>
                              <a:pt x="7715" y="8852"/>
                              <a:pt x="7476" y="9091"/>
                              <a:pt x="7177" y="9270"/>
                            </a:cubicBezTo>
                            <a:cubicBezTo>
                              <a:pt x="6938" y="9450"/>
                              <a:pt x="6639" y="9629"/>
                              <a:pt x="6399" y="9749"/>
                            </a:cubicBezTo>
                            <a:cubicBezTo>
                              <a:pt x="6160" y="9868"/>
                              <a:pt x="5861" y="9988"/>
                              <a:pt x="5562" y="10107"/>
                            </a:cubicBezTo>
                            <a:cubicBezTo>
                              <a:pt x="5263" y="10167"/>
                              <a:pt x="4964" y="10227"/>
                              <a:pt x="4725" y="10287"/>
                            </a:cubicBezTo>
                            <a:cubicBezTo>
                              <a:pt x="4486" y="10287"/>
                              <a:pt x="4246" y="10287"/>
                              <a:pt x="4067" y="10287"/>
                            </a:cubicBezTo>
                            <a:cubicBezTo>
                              <a:pt x="3828" y="10287"/>
                              <a:pt x="3649" y="10227"/>
                              <a:pt x="3409" y="10167"/>
                            </a:cubicBezTo>
                            <a:cubicBezTo>
                              <a:pt x="3230" y="10107"/>
                              <a:pt x="2990" y="10048"/>
                              <a:pt x="2811" y="9928"/>
                            </a:cubicBezTo>
                            <a:cubicBezTo>
                              <a:pt x="2632" y="9808"/>
                              <a:pt x="2452" y="9749"/>
                              <a:pt x="2273" y="9569"/>
                            </a:cubicBezTo>
                            <a:lnTo>
                              <a:pt x="1854" y="9151"/>
                            </a:lnTo>
                            <a:cubicBezTo>
                              <a:pt x="1675" y="8971"/>
                              <a:pt x="1555" y="8732"/>
                              <a:pt x="1435" y="8493"/>
                            </a:cubicBezTo>
                            <a:cubicBezTo>
                              <a:pt x="1316" y="8253"/>
                              <a:pt x="1196" y="8014"/>
                              <a:pt x="1136" y="7715"/>
                            </a:cubicBezTo>
                            <a:cubicBezTo>
                              <a:pt x="1076" y="7476"/>
                              <a:pt x="1017" y="7177"/>
                              <a:pt x="1017" y="6878"/>
                            </a:cubicBezTo>
                            <a:cubicBezTo>
                              <a:pt x="1017" y="6579"/>
                              <a:pt x="1017" y="6280"/>
                              <a:pt x="1076" y="5981"/>
                            </a:cubicBezTo>
                            <a:cubicBezTo>
                              <a:pt x="1136" y="5682"/>
                              <a:pt x="1196" y="5383"/>
                              <a:pt x="1316" y="5084"/>
                            </a:cubicBezTo>
                            <a:cubicBezTo>
                              <a:pt x="1435" y="4785"/>
                              <a:pt x="1555" y="4486"/>
                              <a:pt x="1675" y="4187"/>
                            </a:cubicBezTo>
                            <a:cubicBezTo>
                              <a:pt x="1795" y="3888"/>
                              <a:pt x="1974" y="3649"/>
                              <a:pt x="2153" y="3349"/>
                            </a:cubicBezTo>
                            <a:cubicBezTo>
                              <a:pt x="2333" y="3110"/>
                              <a:pt x="2572" y="2811"/>
                              <a:pt x="2811" y="2572"/>
                            </a:cubicBezTo>
                            <a:cubicBezTo>
                              <a:pt x="3050" y="2333"/>
                              <a:pt x="3290" y="2153"/>
                              <a:pt x="3529" y="1914"/>
                            </a:cubicBezTo>
                            <a:cubicBezTo>
                              <a:pt x="3768" y="1675"/>
                              <a:pt x="4067" y="1555"/>
                              <a:pt x="4306" y="1436"/>
                            </a:cubicBezTo>
                            <a:cubicBezTo>
                              <a:pt x="4605" y="1316"/>
                              <a:pt x="4844" y="1196"/>
                              <a:pt x="5144" y="1076"/>
                            </a:cubicBezTo>
                            <a:cubicBezTo>
                              <a:pt x="5443" y="1017"/>
                              <a:pt x="5742" y="957"/>
                              <a:pt x="5981" y="897"/>
                            </a:cubicBezTo>
                            <a:cubicBezTo>
                              <a:pt x="6220" y="897"/>
                              <a:pt x="6459" y="897"/>
                              <a:pt x="6639" y="897"/>
                            </a:cubicBezTo>
                            <a:cubicBezTo>
                              <a:pt x="6818" y="897"/>
                              <a:pt x="7057" y="957"/>
                              <a:pt x="7297" y="1017"/>
                            </a:cubicBezTo>
                            <a:cubicBezTo>
                              <a:pt x="7476" y="1076"/>
                              <a:pt x="7715" y="1136"/>
                              <a:pt x="7895" y="1256"/>
                            </a:cubicBezTo>
                            <a:cubicBezTo>
                              <a:pt x="8074" y="1376"/>
                              <a:pt x="8253" y="1495"/>
                              <a:pt x="8433" y="1615"/>
                            </a:cubicBezTo>
                            <a:moveTo>
                              <a:pt x="1495" y="10347"/>
                            </a:moveTo>
                            <a:cubicBezTo>
                              <a:pt x="1675" y="10526"/>
                              <a:pt x="1914" y="10646"/>
                              <a:pt x="2153" y="10766"/>
                            </a:cubicBezTo>
                            <a:cubicBezTo>
                              <a:pt x="2392" y="10885"/>
                              <a:pt x="2632" y="11005"/>
                              <a:pt x="2871" y="11065"/>
                            </a:cubicBezTo>
                            <a:cubicBezTo>
                              <a:pt x="3110" y="11124"/>
                              <a:pt x="3409" y="11184"/>
                              <a:pt x="3649" y="11184"/>
                            </a:cubicBezTo>
                            <a:cubicBezTo>
                              <a:pt x="3947" y="11184"/>
                              <a:pt x="4187" y="11184"/>
                              <a:pt x="4486" y="11184"/>
                            </a:cubicBezTo>
                            <a:cubicBezTo>
                              <a:pt x="4844" y="11124"/>
                              <a:pt x="5203" y="11065"/>
                              <a:pt x="5562" y="11005"/>
                            </a:cubicBezTo>
                            <a:cubicBezTo>
                              <a:pt x="5921" y="10885"/>
                              <a:pt x="6280" y="10766"/>
                              <a:pt x="6579" y="10586"/>
                            </a:cubicBezTo>
                            <a:cubicBezTo>
                              <a:pt x="6878" y="10407"/>
                              <a:pt x="7237" y="10227"/>
                              <a:pt x="7536" y="9988"/>
                            </a:cubicBezTo>
                            <a:cubicBezTo>
                              <a:pt x="7835" y="9749"/>
                              <a:pt x="8134" y="9510"/>
                              <a:pt x="8433" y="9211"/>
                            </a:cubicBezTo>
                            <a:cubicBezTo>
                              <a:pt x="8732" y="8912"/>
                              <a:pt x="8971" y="8612"/>
                              <a:pt x="9211" y="8313"/>
                            </a:cubicBezTo>
                            <a:cubicBezTo>
                              <a:pt x="9450" y="8014"/>
                              <a:pt x="9629" y="7655"/>
                              <a:pt x="9808" y="7297"/>
                            </a:cubicBezTo>
                            <a:cubicBezTo>
                              <a:pt x="9988" y="6938"/>
                              <a:pt x="10107" y="6579"/>
                              <a:pt x="10227" y="6220"/>
                            </a:cubicBezTo>
                            <a:cubicBezTo>
                              <a:pt x="10347" y="5861"/>
                              <a:pt x="10406" y="5503"/>
                              <a:pt x="10466" y="5084"/>
                            </a:cubicBezTo>
                            <a:cubicBezTo>
                              <a:pt x="10526" y="4725"/>
                              <a:pt x="10526" y="4366"/>
                              <a:pt x="10526" y="4007"/>
                            </a:cubicBezTo>
                            <a:cubicBezTo>
                              <a:pt x="10526" y="3649"/>
                              <a:pt x="10466" y="3290"/>
                              <a:pt x="10406" y="2990"/>
                            </a:cubicBezTo>
                            <a:cubicBezTo>
                              <a:pt x="10347" y="2691"/>
                              <a:pt x="10227" y="2333"/>
                              <a:pt x="10048" y="2093"/>
                            </a:cubicBezTo>
                            <a:cubicBezTo>
                              <a:pt x="9868" y="1854"/>
                              <a:pt x="9749" y="1555"/>
                              <a:pt x="9510" y="1316"/>
                            </a:cubicBezTo>
                            <a:lnTo>
                              <a:pt x="9031" y="837"/>
                            </a:lnTo>
                            <a:cubicBezTo>
                              <a:pt x="8852" y="658"/>
                              <a:pt x="8612" y="538"/>
                              <a:pt x="8373" y="419"/>
                            </a:cubicBezTo>
                            <a:cubicBezTo>
                              <a:pt x="8134" y="299"/>
                              <a:pt x="7895" y="180"/>
                              <a:pt x="7656" y="120"/>
                            </a:cubicBezTo>
                            <a:cubicBezTo>
                              <a:pt x="7416" y="60"/>
                              <a:pt x="7117" y="0"/>
                              <a:pt x="6878" y="0"/>
                            </a:cubicBezTo>
                            <a:cubicBezTo>
                              <a:pt x="6579" y="0"/>
                              <a:pt x="6340" y="0"/>
                              <a:pt x="6041" y="0"/>
                            </a:cubicBezTo>
                            <a:cubicBezTo>
                              <a:pt x="5682" y="60"/>
                              <a:pt x="5323" y="120"/>
                              <a:pt x="4964" y="180"/>
                            </a:cubicBezTo>
                            <a:cubicBezTo>
                              <a:pt x="4605" y="299"/>
                              <a:pt x="4246" y="419"/>
                              <a:pt x="3947" y="598"/>
                            </a:cubicBezTo>
                            <a:cubicBezTo>
                              <a:pt x="3589" y="778"/>
                              <a:pt x="3290" y="957"/>
                              <a:pt x="2990" y="1196"/>
                            </a:cubicBezTo>
                            <a:cubicBezTo>
                              <a:pt x="2691" y="1436"/>
                              <a:pt x="2392" y="1675"/>
                              <a:pt x="2093" y="1974"/>
                            </a:cubicBezTo>
                            <a:cubicBezTo>
                              <a:pt x="1795" y="2273"/>
                              <a:pt x="1555" y="2572"/>
                              <a:pt x="1316" y="2871"/>
                            </a:cubicBezTo>
                            <a:cubicBezTo>
                              <a:pt x="1076" y="3170"/>
                              <a:pt x="897" y="3529"/>
                              <a:pt x="718" y="3888"/>
                            </a:cubicBezTo>
                            <a:cubicBezTo>
                              <a:pt x="538" y="4246"/>
                              <a:pt x="419" y="4605"/>
                              <a:pt x="299" y="4964"/>
                            </a:cubicBezTo>
                            <a:cubicBezTo>
                              <a:pt x="180" y="5323"/>
                              <a:pt x="120" y="5682"/>
                              <a:pt x="60" y="6100"/>
                            </a:cubicBezTo>
                            <a:cubicBezTo>
                              <a:pt x="0" y="6459"/>
                              <a:pt x="0" y="6818"/>
                              <a:pt x="0" y="7177"/>
                            </a:cubicBezTo>
                            <a:cubicBezTo>
                              <a:pt x="0" y="7536"/>
                              <a:pt x="60" y="7895"/>
                              <a:pt x="120" y="8194"/>
                            </a:cubicBezTo>
                            <a:cubicBezTo>
                              <a:pt x="180" y="8493"/>
                              <a:pt x="299" y="8852"/>
                              <a:pt x="479" y="9091"/>
                            </a:cubicBezTo>
                            <a:cubicBezTo>
                              <a:pt x="598" y="9390"/>
                              <a:pt x="778" y="9629"/>
                              <a:pt x="1017" y="9868"/>
                            </a:cubicBezTo>
                            <a:cubicBezTo>
                              <a:pt x="1076" y="9928"/>
                              <a:pt x="1076" y="9928"/>
                              <a:pt x="1136" y="9988"/>
                            </a:cubicBezTo>
                            <a:cubicBezTo>
                              <a:pt x="1196" y="10048"/>
                              <a:pt x="1196" y="10048"/>
                              <a:pt x="1256" y="10107"/>
                            </a:cubicBezTo>
                            <a:cubicBezTo>
                              <a:pt x="1316" y="10167"/>
                              <a:pt x="1316" y="10167"/>
                              <a:pt x="1376" y="10227"/>
                            </a:cubicBezTo>
                            <a:cubicBezTo>
                              <a:pt x="1435" y="10287"/>
                              <a:pt x="1435" y="10287"/>
                              <a:pt x="1495" y="10347"/>
                            </a:cubicBezTo>
                          </a:path>
                        </a:pathLst>
                      </a:custGeom>
                      <a:noFill/>
                      <a:ln w="6350" cap="flat">
                        <a:solidFill>
                          <a:schemeClr val="bg1">
                            <a:alpha val="40000"/>
                          </a:schemeClr>
                        </a:solidFill>
                        <a:prstDash val="solid"/>
                        <a:miter/>
                      </a:ln>
                    </p:spPr>
                    <p:txBody>
                      <a:bodyPr rtlCol="0" anchor="ctr"/>
                      <a:lstStyle/>
                      <a:p>
                        <a:endParaRPr lang="en-GB"/>
                      </a:p>
                    </p:txBody>
                  </p:sp>
                  <p:sp>
                    <p:nvSpPr>
                      <p:cNvPr id="7562" name="Vrije vorm: vorm 7561">
                        <a:extLst>
                          <a:ext uri="{FF2B5EF4-FFF2-40B4-BE49-F238E27FC236}">
                            <a16:creationId xmlns:a16="http://schemas.microsoft.com/office/drawing/2014/main" id="{2718341E-90C0-4508-83A0-79E60BF9FE8D}"/>
                          </a:ext>
                        </a:extLst>
                      </p:cNvPr>
                      <p:cNvSpPr/>
                      <p:nvPr/>
                    </p:nvSpPr>
                    <p:spPr>
                      <a:xfrm>
                        <a:off x="5203666" y="5215349"/>
                        <a:ext cx="5947" cy="6279"/>
                      </a:xfrm>
                      <a:custGeom>
                        <a:avLst/>
                        <a:gdLst>
                          <a:gd name="connsiteX0" fmla="*/ 4306 w 5947"/>
                          <a:gd name="connsiteY0" fmla="*/ 1375 h 6279"/>
                          <a:gd name="connsiteX1" fmla="*/ 4605 w 5947"/>
                          <a:gd name="connsiteY1" fmla="*/ 1674 h 6279"/>
                          <a:gd name="connsiteX2" fmla="*/ 4785 w 5947"/>
                          <a:gd name="connsiteY2" fmla="*/ 2033 h 6279"/>
                          <a:gd name="connsiteX3" fmla="*/ 4904 w 5947"/>
                          <a:gd name="connsiteY3" fmla="*/ 2452 h 6279"/>
                          <a:gd name="connsiteX4" fmla="*/ 4904 w 5947"/>
                          <a:gd name="connsiteY4" fmla="*/ 2930 h 6279"/>
                          <a:gd name="connsiteX5" fmla="*/ 4844 w 5947"/>
                          <a:gd name="connsiteY5" fmla="*/ 3349 h 6279"/>
                          <a:gd name="connsiteX6" fmla="*/ 4665 w 5947"/>
                          <a:gd name="connsiteY6" fmla="*/ 3768 h 6279"/>
                          <a:gd name="connsiteX7" fmla="*/ 4426 w 5947"/>
                          <a:gd name="connsiteY7" fmla="*/ 4127 h 6279"/>
                          <a:gd name="connsiteX8" fmla="*/ 4127 w 5947"/>
                          <a:gd name="connsiteY8" fmla="*/ 4486 h 6279"/>
                          <a:gd name="connsiteX9" fmla="*/ 3828 w 5947"/>
                          <a:gd name="connsiteY9" fmla="*/ 4785 h 6279"/>
                          <a:gd name="connsiteX10" fmla="*/ 3469 w 5947"/>
                          <a:gd name="connsiteY10" fmla="*/ 5024 h 6279"/>
                          <a:gd name="connsiteX11" fmla="*/ 3110 w 5947"/>
                          <a:gd name="connsiteY11" fmla="*/ 5143 h 6279"/>
                          <a:gd name="connsiteX12" fmla="*/ 2691 w 5947"/>
                          <a:gd name="connsiteY12" fmla="*/ 5203 h 6279"/>
                          <a:gd name="connsiteX13" fmla="*/ 2392 w 5947"/>
                          <a:gd name="connsiteY13" fmla="*/ 5203 h 6279"/>
                          <a:gd name="connsiteX14" fmla="*/ 2093 w 5947"/>
                          <a:gd name="connsiteY14" fmla="*/ 5143 h 6279"/>
                          <a:gd name="connsiteX15" fmla="*/ 1854 w 5947"/>
                          <a:gd name="connsiteY15" fmla="*/ 5024 h 6279"/>
                          <a:gd name="connsiteX16" fmla="*/ 1615 w 5947"/>
                          <a:gd name="connsiteY16" fmla="*/ 4844 h 6279"/>
                          <a:gd name="connsiteX17" fmla="*/ 1435 w 5947"/>
                          <a:gd name="connsiteY17" fmla="*/ 4665 h 6279"/>
                          <a:gd name="connsiteX18" fmla="*/ 1256 w 5947"/>
                          <a:gd name="connsiteY18" fmla="*/ 4366 h 6279"/>
                          <a:gd name="connsiteX19" fmla="*/ 1136 w 5947"/>
                          <a:gd name="connsiteY19" fmla="*/ 4007 h 6279"/>
                          <a:gd name="connsiteX20" fmla="*/ 1076 w 5947"/>
                          <a:gd name="connsiteY20" fmla="*/ 3648 h 6279"/>
                          <a:gd name="connsiteX21" fmla="*/ 1076 w 5947"/>
                          <a:gd name="connsiteY21" fmla="*/ 3229 h 6279"/>
                          <a:gd name="connsiteX22" fmla="*/ 1196 w 5947"/>
                          <a:gd name="connsiteY22" fmla="*/ 2811 h 6279"/>
                          <a:gd name="connsiteX23" fmla="*/ 1375 w 5947"/>
                          <a:gd name="connsiteY23" fmla="*/ 2392 h 6279"/>
                          <a:gd name="connsiteX24" fmla="*/ 1615 w 5947"/>
                          <a:gd name="connsiteY24" fmla="*/ 2033 h 6279"/>
                          <a:gd name="connsiteX25" fmla="*/ 1914 w 5947"/>
                          <a:gd name="connsiteY25" fmla="*/ 1674 h 6279"/>
                          <a:gd name="connsiteX26" fmla="*/ 2273 w 5947"/>
                          <a:gd name="connsiteY26" fmla="*/ 1375 h 6279"/>
                          <a:gd name="connsiteX27" fmla="*/ 2632 w 5947"/>
                          <a:gd name="connsiteY27" fmla="*/ 1136 h 6279"/>
                          <a:gd name="connsiteX28" fmla="*/ 2990 w 5947"/>
                          <a:gd name="connsiteY28" fmla="*/ 957 h 6279"/>
                          <a:gd name="connsiteX29" fmla="*/ 3349 w 5947"/>
                          <a:gd name="connsiteY29" fmla="*/ 897 h 6279"/>
                          <a:gd name="connsiteX30" fmla="*/ 3648 w 5947"/>
                          <a:gd name="connsiteY30" fmla="*/ 897 h 6279"/>
                          <a:gd name="connsiteX31" fmla="*/ 3947 w 5947"/>
                          <a:gd name="connsiteY31" fmla="*/ 957 h 6279"/>
                          <a:gd name="connsiteX32" fmla="*/ 4187 w 5947"/>
                          <a:gd name="connsiteY32" fmla="*/ 1076 h 6279"/>
                          <a:gd name="connsiteX33" fmla="*/ 4306 w 5947"/>
                          <a:gd name="connsiteY33" fmla="*/ 1375 h 6279"/>
                          <a:gd name="connsiteX34" fmla="*/ 837 w 5947"/>
                          <a:gd name="connsiteY34" fmla="*/ 5801 h 6279"/>
                          <a:gd name="connsiteX35" fmla="*/ 1196 w 5947"/>
                          <a:gd name="connsiteY35" fmla="*/ 6041 h 6279"/>
                          <a:gd name="connsiteX36" fmla="*/ 1615 w 5947"/>
                          <a:gd name="connsiteY36" fmla="*/ 6220 h 6279"/>
                          <a:gd name="connsiteX37" fmla="*/ 2034 w 5947"/>
                          <a:gd name="connsiteY37" fmla="*/ 6280 h 6279"/>
                          <a:gd name="connsiteX38" fmla="*/ 2512 w 5947"/>
                          <a:gd name="connsiteY38" fmla="*/ 6280 h 6279"/>
                          <a:gd name="connsiteX39" fmla="*/ 3110 w 5947"/>
                          <a:gd name="connsiteY39" fmla="*/ 6160 h 6279"/>
                          <a:gd name="connsiteX40" fmla="*/ 3648 w 5947"/>
                          <a:gd name="connsiteY40" fmla="*/ 5921 h 6279"/>
                          <a:gd name="connsiteX41" fmla="*/ 4187 w 5947"/>
                          <a:gd name="connsiteY41" fmla="*/ 5622 h 6279"/>
                          <a:gd name="connsiteX42" fmla="*/ 4665 w 5947"/>
                          <a:gd name="connsiteY42" fmla="*/ 5203 h 6279"/>
                          <a:gd name="connsiteX43" fmla="*/ 5083 w 5947"/>
                          <a:gd name="connsiteY43" fmla="*/ 4725 h 6279"/>
                          <a:gd name="connsiteX44" fmla="*/ 5443 w 5947"/>
                          <a:gd name="connsiteY44" fmla="*/ 4187 h 6279"/>
                          <a:gd name="connsiteX45" fmla="*/ 5742 w 5947"/>
                          <a:gd name="connsiteY45" fmla="*/ 3588 h 6279"/>
                          <a:gd name="connsiteX46" fmla="*/ 5921 w 5947"/>
                          <a:gd name="connsiteY46" fmla="*/ 2930 h 6279"/>
                          <a:gd name="connsiteX47" fmla="*/ 5921 w 5947"/>
                          <a:gd name="connsiteY47" fmla="*/ 2273 h 6279"/>
                          <a:gd name="connsiteX48" fmla="*/ 5801 w 5947"/>
                          <a:gd name="connsiteY48" fmla="*/ 1674 h 6279"/>
                          <a:gd name="connsiteX49" fmla="*/ 5562 w 5947"/>
                          <a:gd name="connsiteY49" fmla="*/ 1136 h 6279"/>
                          <a:gd name="connsiteX50" fmla="*/ 5263 w 5947"/>
                          <a:gd name="connsiteY50" fmla="*/ 718 h 6279"/>
                          <a:gd name="connsiteX51" fmla="*/ 5203 w 5947"/>
                          <a:gd name="connsiteY51" fmla="*/ 658 h 6279"/>
                          <a:gd name="connsiteX52" fmla="*/ 5143 w 5947"/>
                          <a:gd name="connsiteY52" fmla="*/ 598 h 6279"/>
                          <a:gd name="connsiteX53" fmla="*/ 5083 w 5947"/>
                          <a:gd name="connsiteY53" fmla="*/ 538 h 6279"/>
                          <a:gd name="connsiteX54" fmla="*/ 5024 w 5947"/>
                          <a:gd name="connsiteY54" fmla="*/ 479 h 6279"/>
                          <a:gd name="connsiteX55" fmla="*/ 4665 w 5947"/>
                          <a:gd name="connsiteY55" fmla="*/ 239 h 6279"/>
                          <a:gd name="connsiteX56" fmla="*/ 4246 w 5947"/>
                          <a:gd name="connsiteY56" fmla="*/ 60 h 6279"/>
                          <a:gd name="connsiteX57" fmla="*/ 3828 w 5947"/>
                          <a:gd name="connsiteY57" fmla="*/ 0 h 6279"/>
                          <a:gd name="connsiteX58" fmla="*/ 3349 w 5947"/>
                          <a:gd name="connsiteY58" fmla="*/ 0 h 6279"/>
                          <a:gd name="connsiteX59" fmla="*/ 2751 w 5947"/>
                          <a:gd name="connsiteY59" fmla="*/ 120 h 6279"/>
                          <a:gd name="connsiteX60" fmla="*/ 2213 w 5947"/>
                          <a:gd name="connsiteY60" fmla="*/ 359 h 6279"/>
                          <a:gd name="connsiteX61" fmla="*/ 1675 w 5947"/>
                          <a:gd name="connsiteY61" fmla="*/ 718 h 6279"/>
                          <a:gd name="connsiteX62" fmla="*/ 1196 w 5947"/>
                          <a:gd name="connsiteY62" fmla="*/ 1136 h 6279"/>
                          <a:gd name="connsiteX63" fmla="*/ 778 w 5947"/>
                          <a:gd name="connsiteY63" fmla="*/ 1674 h 6279"/>
                          <a:gd name="connsiteX64" fmla="*/ 419 w 5947"/>
                          <a:gd name="connsiteY64" fmla="*/ 2213 h 6279"/>
                          <a:gd name="connsiteX65" fmla="*/ 180 w 5947"/>
                          <a:gd name="connsiteY65" fmla="*/ 2811 h 6279"/>
                          <a:gd name="connsiteX66" fmla="*/ 60 w 5947"/>
                          <a:gd name="connsiteY66" fmla="*/ 3409 h 6279"/>
                          <a:gd name="connsiteX67" fmla="*/ 0 w 5947"/>
                          <a:gd name="connsiteY67" fmla="*/ 4007 h 6279"/>
                          <a:gd name="connsiteX68" fmla="*/ 60 w 5947"/>
                          <a:gd name="connsiteY68" fmla="*/ 4545 h 6279"/>
                          <a:gd name="connsiteX69" fmla="*/ 239 w 5947"/>
                          <a:gd name="connsiteY69" fmla="*/ 5024 h 6279"/>
                          <a:gd name="connsiteX70" fmla="*/ 538 w 5947"/>
                          <a:gd name="connsiteY70" fmla="*/ 5442 h 6279"/>
                          <a:gd name="connsiteX71" fmla="*/ 598 w 5947"/>
                          <a:gd name="connsiteY71" fmla="*/ 5502 h 6279"/>
                          <a:gd name="connsiteX72" fmla="*/ 658 w 5947"/>
                          <a:gd name="connsiteY72" fmla="*/ 5562 h 6279"/>
                          <a:gd name="connsiteX73" fmla="*/ 718 w 5947"/>
                          <a:gd name="connsiteY73" fmla="*/ 5622 h 6279"/>
                          <a:gd name="connsiteX74" fmla="*/ 837 w 5947"/>
                          <a:gd name="connsiteY74" fmla="*/ 580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947" h="6279">
                            <a:moveTo>
                              <a:pt x="4306" y="1375"/>
                            </a:moveTo>
                            <a:cubicBezTo>
                              <a:pt x="4426" y="1435"/>
                              <a:pt x="4486" y="1555"/>
                              <a:pt x="4605" y="1674"/>
                            </a:cubicBezTo>
                            <a:cubicBezTo>
                              <a:pt x="4725" y="1794"/>
                              <a:pt x="4725" y="1914"/>
                              <a:pt x="4785" y="2033"/>
                            </a:cubicBezTo>
                            <a:cubicBezTo>
                              <a:pt x="4844" y="2153"/>
                              <a:pt x="4844" y="2333"/>
                              <a:pt x="4904" y="2452"/>
                            </a:cubicBezTo>
                            <a:cubicBezTo>
                              <a:pt x="4904" y="2632"/>
                              <a:pt x="4904" y="2751"/>
                              <a:pt x="4904" y="2930"/>
                            </a:cubicBezTo>
                            <a:cubicBezTo>
                              <a:pt x="4904" y="3050"/>
                              <a:pt x="4844" y="3170"/>
                              <a:pt x="4844" y="3349"/>
                            </a:cubicBezTo>
                            <a:cubicBezTo>
                              <a:pt x="4844" y="3528"/>
                              <a:pt x="4725" y="3648"/>
                              <a:pt x="4665" y="3768"/>
                            </a:cubicBezTo>
                            <a:cubicBezTo>
                              <a:pt x="4605" y="3888"/>
                              <a:pt x="4545" y="4007"/>
                              <a:pt x="4426" y="4127"/>
                            </a:cubicBezTo>
                            <a:cubicBezTo>
                              <a:pt x="4366" y="4246"/>
                              <a:pt x="4246" y="4366"/>
                              <a:pt x="4127" y="4486"/>
                            </a:cubicBezTo>
                            <a:cubicBezTo>
                              <a:pt x="4007" y="4605"/>
                              <a:pt x="3888" y="4665"/>
                              <a:pt x="3828" y="4785"/>
                            </a:cubicBezTo>
                            <a:cubicBezTo>
                              <a:pt x="3708" y="4844"/>
                              <a:pt x="3588" y="4964"/>
                              <a:pt x="3469" y="5024"/>
                            </a:cubicBezTo>
                            <a:cubicBezTo>
                              <a:pt x="3349" y="5083"/>
                              <a:pt x="3229" y="5143"/>
                              <a:pt x="3110" y="5143"/>
                            </a:cubicBezTo>
                            <a:cubicBezTo>
                              <a:pt x="2990" y="5203"/>
                              <a:pt x="2871" y="5203"/>
                              <a:pt x="2691" y="5203"/>
                            </a:cubicBezTo>
                            <a:cubicBezTo>
                              <a:pt x="2572" y="5203"/>
                              <a:pt x="2452" y="5203"/>
                              <a:pt x="2392" y="5203"/>
                            </a:cubicBezTo>
                            <a:cubicBezTo>
                              <a:pt x="2273" y="5203"/>
                              <a:pt x="2213" y="5203"/>
                              <a:pt x="2093" y="5143"/>
                            </a:cubicBezTo>
                            <a:cubicBezTo>
                              <a:pt x="1974" y="5083"/>
                              <a:pt x="1914" y="5083"/>
                              <a:pt x="1854" y="5024"/>
                            </a:cubicBezTo>
                            <a:cubicBezTo>
                              <a:pt x="1794" y="4964"/>
                              <a:pt x="1675" y="4904"/>
                              <a:pt x="1615" y="4844"/>
                            </a:cubicBezTo>
                            <a:lnTo>
                              <a:pt x="1435" y="4665"/>
                            </a:lnTo>
                            <a:cubicBezTo>
                              <a:pt x="1375" y="4545"/>
                              <a:pt x="1256" y="4486"/>
                              <a:pt x="1256" y="4366"/>
                            </a:cubicBezTo>
                            <a:cubicBezTo>
                              <a:pt x="1196" y="4246"/>
                              <a:pt x="1136" y="4127"/>
                              <a:pt x="1136" y="4007"/>
                            </a:cubicBezTo>
                            <a:cubicBezTo>
                              <a:pt x="1136" y="3888"/>
                              <a:pt x="1076" y="3768"/>
                              <a:pt x="1076" y="3648"/>
                            </a:cubicBezTo>
                            <a:cubicBezTo>
                              <a:pt x="1076" y="3528"/>
                              <a:pt x="1076" y="3349"/>
                              <a:pt x="1076" y="3229"/>
                            </a:cubicBezTo>
                            <a:cubicBezTo>
                              <a:pt x="1076" y="3110"/>
                              <a:pt x="1136" y="2930"/>
                              <a:pt x="1196" y="2811"/>
                            </a:cubicBezTo>
                            <a:cubicBezTo>
                              <a:pt x="1256" y="2691"/>
                              <a:pt x="1316" y="2572"/>
                              <a:pt x="1375" y="2392"/>
                            </a:cubicBezTo>
                            <a:cubicBezTo>
                              <a:pt x="1435" y="2273"/>
                              <a:pt x="1495" y="2153"/>
                              <a:pt x="1615" y="2033"/>
                            </a:cubicBezTo>
                            <a:cubicBezTo>
                              <a:pt x="1734" y="1914"/>
                              <a:pt x="1794" y="1794"/>
                              <a:pt x="1914" y="1674"/>
                            </a:cubicBezTo>
                            <a:cubicBezTo>
                              <a:pt x="2034" y="1555"/>
                              <a:pt x="2153" y="1435"/>
                              <a:pt x="2273" y="1375"/>
                            </a:cubicBezTo>
                            <a:cubicBezTo>
                              <a:pt x="2392" y="1316"/>
                              <a:pt x="2512" y="1196"/>
                              <a:pt x="2632" y="1136"/>
                            </a:cubicBezTo>
                            <a:cubicBezTo>
                              <a:pt x="2751" y="1076"/>
                              <a:pt x="2871" y="1017"/>
                              <a:pt x="2990" y="957"/>
                            </a:cubicBezTo>
                            <a:cubicBezTo>
                              <a:pt x="3110" y="897"/>
                              <a:pt x="3229" y="897"/>
                              <a:pt x="3349" y="897"/>
                            </a:cubicBezTo>
                            <a:cubicBezTo>
                              <a:pt x="3469" y="897"/>
                              <a:pt x="3588" y="897"/>
                              <a:pt x="3648" y="897"/>
                            </a:cubicBezTo>
                            <a:cubicBezTo>
                              <a:pt x="3708" y="897"/>
                              <a:pt x="3828" y="957"/>
                              <a:pt x="3947" y="957"/>
                            </a:cubicBezTo>
                            <a:cubicBezTo>
                              <a:pt x="4067" y="957"/>
                              <a:pt x="4127" y="1017"/>
                              <a:pt x="4187" y="1076"/>
                            </a:cubicBezTo>
                            <a:cubicBezTo>
                              <a:pt x="4127" y="1256"/>
                              <a:pt x="4246" y="1316"/>
                              <a:pt x="4306" y="1375"/>
                            </a:cubicBezTo>
                            <a:moveTo>
                              <a:pt x="837" y="5801"/>
                            </a:moveTo>
                            <a:cubicBezTo>
                              <a:pt x="957" y="5861"/>
                              <a:pt x="1076" y="5981"/>
                              <a:pt x="1196" y="6041"/>
                            </a:cubicBezTo>
                            <a:cubicBezTo>
                              <a:pt x="1316" y="6100"/>
                              <a:pt x="1435" y="6160"/>
                              <a:pt x="1615" y="6220"/>
                            </a:cubicBezTo>
                            <a:cubicBezTo>
                              <a:pt x="1794" y="6280"/>
                              <a:pt x="1914" y="6280"/>
                              <a:pt x="2034" y="6280"/>
                            </a:cubicBezTo>
                            <a:cubicBezTo>
                              <a:pt x="2153" y="6280"/>
                              <a:pt x="2333" y="6280"/>
                              <a:pt x="2512" y="6280"/>
                            </a:cubicBezTo>
                            <a:cubicBezTo>
                              <a:pt x="2691" y="6280"/>
                              <a:pt x="2871" y="6220"/>
                              <a:pt x="3110" y="6160"/>
                            </a:cubicBezTo>
                            <a:cubicBezTo>
                              <a:pt x="3289" y="6100"/>
                              <a:pt x="3469" y="6041"/>
                              <a:pt x="3648" y="5921"/>
                            </a:cubicBezTo>
                            <a:cubicBezTo>
                              <a:pt x="3828" y="5801"/>
                              <a:pt x="4007" y="5742"/>
                              <a:pt x="4187" y="5622"/>
                            </a:cubicBezTo>
                            <a:cubicBezTo>
                              <a:pt x="4366" y="5502"/>
                              <a:pt x="4486" y="5383"/>
                              <a:pt x="4665" y="5203"/>
                            </a:cubicBezTo>
                            <a:cubicBezTo>
                              <a:pt x="4844" y="5024"/>
                              <a:pt x="4964" y="4904"/>
                              <a:pt x="5083" y="4725"/>
                            </a:cubicBezTo>
                            <a:cubicBezTo>
                              <a:pt x="5203" y="4545"/>
                              <a:pt x="5323" y="4366"/>
                              <a:pt x="5443" y="4187"/>
                            </a:cubicBezTo>
                            <a:cubicBezTo>
                              <a:pt x="5562" y="4007"/>
                              <a:pt x="5622" y="3768"/>
                              <a:pt x="5742" y="3588"/>
                            </a:cubicBezTo>
                            <a:cubicBezTo>
                              <a:pt x="5801" y="3349"/>
                              <a:pt x="5861" y="3170"/>
                              <a:pt x="5921" y="2930"/>
                            </a:cubicBezTo>
                            <a:cubicBezTo>
                              <a:pt x="5921" y="2691"/>
                              <a:pt x="5981" y="2512"/>
                              <a:pt x="5921" y="2273"/>
                            </a:cubicBezTo>
                            <a:cubicBezTo>
                              <a:pt x="5921" y="2093"/>
                              <a:pt x="5861" y="1854"/>
                              <a:pt x="5801" y="1674"/>
                            </a:cubicBezTo>
                            <a:cubicBezTo>
                              <a:pt x="5742" y="1495"/>
                              <a:pt x="5682" y="1316"/>
                              <a:pt x="5562" y="1136"/>
                            </a:cubicBezTo>
                            <a:cubicBezTo>
                              <a:pt x="5443" y="957"/>
                              <a:pt x="5383" y="837"/>
                              <a:pt x="5263" y="718"/>
                            </a:cubicBezTo>
                            <a:cubicBezTo>
                              <a:pt x="5263" y="718"/>
                              <a:pt x="5203" y="658"/>
                              <a:pt x="5203" y="658"/>
                            </a:cubicBezTo>
                            <a:cubicBezTo>
                              <a:pt x="5203" y="658"/>
                              <a:pt x="5143" y="598"/>
                              <a:pt x="5143" y="598"/>
                            </a:cubicBezTo>
                            <a:cubicBezTo>
                              <a:pt x="5143" y="598"/>
                              <a:pt x="5083" y="538"/>
                              <a:pt x="5083" y="538"/>
                            </a:cubicBezTo>
                            <a:cubicBezTo>
                              <a:pt x="5083" y="538"/>
                              <a:pt x="5024" y="479"/>
                              <a:pt x="5024" y="479"/>
                            </a:cubicBezTo>
                            <a:cubicBezTo>
                              <a:pt x="4904" y="359"/>
                              <a:pt x="4785" y="299"/>
                              <a:pt x="4665" y="239"/>
                            </a:cubicBezTo>
                            <a:cubicBezTo>
                              <a:pt x="4545" y="179"/>
                              <a:pt x="4426" y="120"/>
                              <a:pt x="4246" y="60"/>
                            </a:cubicBezTo>
                            <a:cubicBezTo>
                              <a:pt x="4127" y="0"/>
                              <a:pt x="3947" y="0"/>
                              <a:pt x="3828" y="0"/>
                            </a:cubicBezTo>
                            <a:cubicBezTo>
                              <a:pt x="3648" y="0"/>
                              <a:pt x="3529" y="0"/>
                              <a:pt x="3349" y="0"/>
                            </a:cubicBezTo>
                            <a:cubicBezTo>
                              <a:pt x="3170" y="0"/>
                              <a:pt x="2990" y="60"/>
                              <a:pt x="2751" y="120"/>
                            </a:cubicBezTo>
                            <a:cubicBezTo>
                              <a:pt x="2572" y="179"/>
                              <a:pt x="2392" y="239"/>
                              <a:pt x="2213" y="359"/>
                            </a:cubicBezTo>
                            <a:cubicBezTo>
                              <a:pt x="2034" y="479"/>
                              <a:pt x="1854" y="538"/>
                              <a:pt x="1675" y="718"/>
                            </a:cubicBezTo>
                            <a:cubicBezTo>
                              <a:pt x="1495" y="837"/>
                              <a:pt x="1316" y="1017"/>
                              <a:pt x="1196" y="1136"/>
                            </a:cubicBezTo>
                            <a:cubicBezTo>
                              <a:pt x="1017" y="1316"/>
                              <a:pt x="897" y="1495"/>
                              <a:pt x="778" y="1674"/>
                            </a:cubicBezTo>
                            <a:cubicBezTo>
                              <a:pt x="658" y="1854"/>
                              <a:pt x="538" y="2033"/>
                              <a:pt x="419" y="2213"/>
                            </a:cubicBezTo>
                            <a:cubicBezTo>
                              <a:pt x="299" y="2392"/>
                              <a:pt x="239" y="2632"/>
                              <a:pt x="180" y="2811"/>
                            </a:cubicBezTo>
                            <a:cubicBezTo>
                              <a:pt x="120" y="2990"/>
                              <a:pt x="60" y="3229"/>
                              <a:pt x="60" y="3409"/>
                            </a:cubicBezTo>
                            <a:cubicBezTo>
                              <a:pt x="0" y="3648"/>
                              <a:pt x="0" y="3828"/>
                              <a:pt x="0" y="4007"/>
                            </a:cubicBezTo>
                            <a:cubicBezTo>
                              <a:pt x="0" y="4187"/>
                              <a:pt x="60" y="4366"/>
                              <a:pt x="60" y="4545"/>
                            </a:cubicBezTo>
                            <a:cubicBezTo>
                              <a:pt x="120" y="4725"/>
                              <a:pt x="180" y="4904"/>
                              <a:pt x="239" y="5024"/>
                            </a:cubicBezTo>
                            <a:cubicBezTo>
                              <a:pt x="299" y="5203"/>
                              <a:pt x="419" y="5323"/>
                              <a:pt x="538" y="5442"/>
                            </a:cubicBezTo>
                            <a:cubicBezTo>
                              <a:pt x="538" y="5442"/>
                              <a:pt x="598" y="5502"/>
                              <a:pt x="598" y="5502"/>
                            </a:cubicBezTo>
                            <a:cubicBezTo>
                              <a:pt x="598" y="5502"/>
                              <a:pt x="658" y="5562"/>
                              <a:pt x="658" y="5562"/>
                            </a:cubicBezTo>
                            <a:cubicBezTo>
                              <a:pt x="658" y="5562"/>
                              <a:pt x="718" y="5622"/>
                              <a:pt x="718" y="5622"/>
                            </a:cubicBezTo>
                            <a:cubicBezTo>
                              <a:pt x="778" y="5801"/>
                              <a:pt x="778" y="5801"/>
                              <a:pt x="837" y="5801"/>
                            </a:cubicBezTo>
                          </a:path>
                        </a:pathLst>
                      </a:custGeom>
                      <a:noFill/>
                      <a:ln w="6350" cap="flat">
                        <a:solidFill>
                          <a:schemeClr val="bg1">
                            <a:alpha val="40000"/>
                          </a:schemeClr>
                        </a:solidFill>
                        <a:prstDash val="solid"/>
                        <a:miter/>
                      </a:ln>
                    </p:spPr>
                    <p:txBody>
                      <a:bodyPr rtlCol="0" anchor="ctr"/>
                      <a:lstStyle/>
                      <a:p>
                        <a:endParaRPr lang="en-GB"/>
                      </a:p>
                    </p:txBody>
                  </p:sp>
                  <p:sp>
                    <p:nvSpPr>
                      <p:cNvPr id="7563" name="Vrije vorm: vorm 7562">
                        <a:extLst>
                          <a:ext uri="{FF2B5EF4-FFF2-40B4-BE49-F238E27FC236}">
                            <a16:creationId xmlns:a16="http://schemas.microsoft.com/office/drawing/2014/main" id="{EA62B11D-A849-4789-AA11-639485EF1FA6}"/>
                          </a:ext>
                        </a:extLst>
                      </p:cNvPr>
                      <p:cNvSpPr/>
                      <p:nvPr/>
                    </p:nvSpPr>
                    <p:spPr>
                      <a:xfrm>
                        <a:off x="5205972" y="5224081"/>
                        <a:ext cx="5827" cy="6279"/>
                      </a:xfrm>
                      <a:custGeom>
                        <a:avLst/>
                        <a:gdLst>
                          <a:gd name="connsiteX0" fmla="*/ 1940 w 5827"/>
                          <a:gd name="connsiteY0" fmla="*/ 5323 h 6279"/>
                          <a:gd name="connsiteX1" fmla="*/ 1761 w 5827"/>
                          <a:gd name="connsiteY1" fmla="*/ 5263 h 6279"/>
                          <a:gd name="connsiteX2" fmla="*/ 1642 w 5827"/>
                          <a:gd name="connsiteY2" fmla="*/ 5203 h 6279"/>
                          <a:gd name="connsiteX3" fmla="*/ 1522 w 5827"/>
                          <a:gd name="connsiteY3" fmla="*/ 5143 h 6279"/>
                          <a:gd name="connsiteX4" fmla="*/ 1402 w 5827"/>
                          <a:gd name="connsiteY4" fmla="*/ 5083 h 6279"/>
                          <a:gd name="connsiteX5" fmla="*/ 1223 w 5827"/>
                          <a:gd name="connsiteY5" fmla="*/ 4904 h 6279"/>
                          <a:gd name="connsiteX6" fmla="*/ 1223 w 5827"/>
                          <a:gd name="connsiteY6" fmla="*/ 4844 h 6279"/>
                          <a:gd name="connsiteX7" fmla="*/ 1223 w 5827"/>
                          <a:gd name="connsiteY7" fmla="*/ 4785 h 6279"/>
                          <a:gd name="connsiteX8" fmla="*/ 1223 w 5827"/>
                          <a:gd name="connsiteY8" fmla="*/ 4725 h 6279"/>
                          <a:gd name="connsiteX9" fmla="*/ 1223 w 5827"/>
                          <a:gd name="connsiteY9" fmla="*/ 4665 h 6279"/>
                          <a:gd name="connsiteX10" fmla="*/ 1103 w 5827"/>
                          <a:gd name="connsiteY10" fmla="*/ 4366 h 6279"/>
                          <a:gd name="connsiteX11" fmla="*/ 1043 w 5827"/>
                          <a:gd name="connsiteY11" fmla="*/ 4067 h 6279"/>
                          <a:gd name="connsiteX12" fmla="*/ 983 w 5827"/>
                          <a:gd name="connsiteY12" fmla="*/ 3708 h 6279"/>
                          <a:gd name="connsiteX13" fmla="*/ 983 w 5827"/>
                          <a:gd name="connsiteY13" fmla="*/ 3349 h 6279"/>
                          <a:gd name="connsiteX14" fmla="*/ 1043 w 5827"/>
                          <a:gd name="connsiteY14" fmla="*/ 2990 h 6279"/>
                          <a:gd name="connsiteX15" fmla="*/ 1163 w 5827"/>
                          <a:gd name="connsiteY15" fmla="*/ 2632 h 6279"/>
                          <a:gd name="connsiteX16" fmla="*/ 1342 w 5827"/>
                          <a:gd name="connsiteY16" fmla="*/ 2272 h 6279"/>
                          <a:gd name="connsiteX17" fmla="*/ 1582 w 5827"/>
                          <a:gd name="connsiteY17" fmla="*/ 1973 h 6279"/>
                          <a:gd name="connsiteX18" fmla="*/ 1642 w 5827"/>
                          <a:gd name="connsiteY18" fmla="*/ 1914 h 6279"/>
                          <a:gd name="connsiteX19" fmla="*/ 1701 w 5827"/>
                          <a:gd name="connsiteY19" fmla="*/ 1854 h 6279"/>
                          <a:gd name="connsiteX20" fmla="*/ 1761 w 5827"/>
                          <a:gd name="connsiteY20" fmla="*/ 1794 h 6279"/>
                          <a:gd name="connsiteX21" fmla="*/ 1821 w 5827"/>
                          <a:gd name="connsiteY21" fmla="*/ 1734 h 6279"/>
                          <a:gd name="connsiteX22" fmla="*/ 2000 w 5827"/>
                          <a:gd name="connsiteY22" fmla="*/ 1555 h 6279"/>
                          <a:gd name="connsiteX23" fmla="*/ 2239 w 5827"/>
                          <a:gd name="connsiteY23" fmla="*/ 1375 h 6279"/>
                          <a:gd name="connsiteX24" fmla="*/ 2479 w 5827"/>
                          <a:gd name="connsiteY24" fmla="*/ 1256 h 6279"/>
                          <a:gd name="connsiteX25" fmla="*/ 2718 w 5827"/>
                          <a:gd name="connsiteY25" fmla="*/ 1136 h 6279"/>
                          <a:gd name="connsiteX26" fmla="*/ 2897 w 5827"/>
                          <a:gd name="connsiteY26" fmla="*/ 1076 h 6279"/>
                          <a:gd name="connsiteX27" fmla="*/ 3077 w 5827"/>
                          <a:gd name="connsiteY27" fmla="*/ 1017 h 6279"/>
                          <a:gd name="connsiteX28" fmla="*/ 3256 w 5827"/>
                          <a:gd name="connsiteY28" fmla="*/ 957 h 6279"/>
                          <a:gd name="connsiteX29" fmla="*/ 3436 w 5827"/>
                          <a:gd name="connsiteY29" fmla="*/ 957 h 6279"/>
                          <a:gd name="connsiteX30" fmla="*/ 3735 w 5827"/>
                          <a:gd name="connsiteY30" fmla="*/ 957 h 6279"/>
                          <a:gd name="connsiteX31" fmla="*/ 4034 w 5827"/>
                          <a:gd name="connsiteY31" fmla="*/ 1017 h 6279"/>
                          <a:gd name="connsiteX32" fmla="*/ 4273 w 5827"/>
                          <a:gd name="connsiteY32" fmla="*/ 1136 h 6279"/>
                          <a:gd name="connsiteX33" fmla="*/ 4512 w 5827"/>
                          <a:gd name="connsiteY33" fmla="*/ 1316 h 6279"/>
                          <a:gd name="connsiteX34" fmla="*/ 4572 w 5827"/>
                          <a:gd name="connsiteY34" fmla="*/ 1375 h 6279"/>
                          <a:gd name="connsiteX35" fmla="*/ 4632 w 5827"/>
                          <a:gd name="connsiteY35" fmla="*/ 1435 h 6279"/>
                          <a:gd name="connsiteX36" fmla="*/ 4691 w 5827"/>
                          <a:gd name="connsiteY36" fmla="*/ 1495 h 6279"/>
                          <a:gd name="connsiteX37" fmla="*/ 4751 w 5827"/>
                          <a:gd name="connsiteY37" fmla="*/ 1555 h 6279"/>
                          <a:gd name="connsiteX38" fmla="*/ 4931 w 5827"/>
                          <a:gd name="connsiteY38" fmla="*/ 1854 h 6279"/>
                          <a:gd name="connsiteX39" fmla="*/ 5050 w 5827"/>
                          <a:gd name="connsiteY39" fmla="*/ 2213 h 6279"/>
                          <a:gd name="connsiteX40" fmla="*/ 5110 w 5827"/>
                          <a:gd name="connsiteY40" fmla="*/ 2572 h 6279"/>
                          <a:gd name="connsiteX41" fmla="*/ 5110 w 5827"/>
                          <a:gd name="connsiteY41" fmla="*/ 2990 h 6279"/>
                          <a:gd name="connsiteX42" fmla="*/ 4991 w 5827"/>
                          <a:gd name="connsiteY42" fmla="*/ 3409 h 6279"/>
                          <a:gd name="connsiteX43" fmla="*/ 4811 w 5827"/>
                          <a:gd name="connsiteY43" fmla="*/ 3827 h 6279"/>
                          <a:gd name="connsiteX44" fmla="*/ 4572 w 5827"/>
                          <a:gd name="connsiteY44" fmla="*/ 4186 h 6279"/>
                          <a:gd name="connsiteX45" fmla="*/ 4273 w 5827"/>
                          <a:gd name="connsiteY45" fmla="*/ 4545 h 6279"/>
                          <a:gd name="connsiteX46" fmla="*/ 3914 w 5827"/>
                          <a:gd name="connsiteY46" fmla="*/ 4844 h 6279"/>
                          <a:gd name="connsiteX47" fmla="*/ 3555 w 5827"/>
                          <a:gd name="connsiteY47" fmla="*/ 5083 h 6279"/>
                          <a:gd name="connsiteX48" fmla="*/ 3196 w 5827"/>
                          <a:gd name="connsiteY48" fmla="*/ 5203 h 6279"/>
                          <a:gd name="connsiteX49" fmla="*/ 2837 w 5827"/>
                          <a:gd name="connsiteY49" fmla="*/ 5263 h 6279"/>
                          <a:gd name="connsiteX50" fmla="*/ 2658 w 5827"/>
                          <a:gd name="connsiteY50" fmla="*/ 5263 h 6279"/>
                          <a:gd name="connsiteX51" fmla="*/ 2479 w 5827"/>
                          <a:gd name="connsiteY51" fmla="*/ 5263 h 6279"/>
                          <a:gd name="connsiteX52" fmla="*/ 2359 w 5827"/>
                          <a:gd name="connsiteY52" fmla="*/ 5263 h 6279"/>
                          <a:gd name="connsiteX53" fmla="*/ 1940 w 5827"/>
                          <a:gd name="connsiteY53" fmla="*/ 5323 h 6279"/>
                          <a:gd name="connsiteX54" fmla="*/ 804 w 5827"/>
                          <a:gd name="connsiteY54" fmla="*/ 5921 h 6279"/>
                          <a:gd name="connsiteX55" fmla="*/ 804 w 5827"/>
                          <a:gd name="connsiteY55" fmla="*/ 5921 h 6279"/>
                          <a:gd name="connsiteX56" fmla="*/ 864 w 5827"/>
                          <a:gd name="connsiteY56" fmla="*/ 5981 h 6279"/>
                          <a:gd name="connsiteX57" fmla="*/ 923 w 5827"/>
                          <a:gd name="connsiteY57" fmla="*/ 5981 h 6279"/>
                          <a:gd name="connsiteX58" fmla="*/ 983 w 5827"/>
                          <a:gd name="connsiteY58" fmla="*/ 5981 h 6279"/>
                          <a:gd name="connsiteX59" fmla="*/ 1163 w 5827"/>
                          <a:gd name="connsiteY59" fmla="*/ 6100 h 6279"/>
                          <a:gd name="connsiteX60" fmla="*/ 1402 w 5827"/>
                          <a:gd name="connsiteY60" fmla="*/ 6160 h 6279"/>
                          <a:gd name="connsiteX61" fmla="*/ 1642 w 5827"/>
                          <a:gd name="connsiteY61" fmla="*/ 6220 h 6279"/>
                          <a:gd name="connsiteX62" fmla="*/ 1881 w 5827"/>
                          <a:gd name="connsiteY62" fmla="*/ 6280 h 6279"/>
                          <a:gd name="connsiteX63" fmla="*/ 2000 w 5827"/>
                          <a:gd name="connsiteY63" fmla="*/ 6280 h 6279"/>
                          <a:gd name="connsiteX64" fmla="*/ 2120 w 5827"/>
                          <a:gd name="connsiteY64" fmla="*/ 6280 h 6279"/>
                          <a:gd name="connsiteX65" fmla="*/ 2299 w 5827"/>
                          <a:gd name="connsiteY65" fmla="*/ 6280 h 6279"/>
                          <a:gd name="connsiteX66" fmla="*/ 2479 w 5827"/>
                          <a:gd name="connsiteY66" fmla="*/ 6280 h 6279"/>
                          <a:gd name="connsiteX67" fmla="*/ 3077 w 5827"/>
                          <a:gd name="connsiteY67" fmla="*/ 6160 h 6279"/>
                          <a:gd name="connsiteX68" fmla="*/ 3615 w 5827"/>
                          <a:gd name="connsiteY68" fmla="*/ 5921 h 6279"/>
                          <a:gd name="connsiteX69" fmla="*/ 4153 w 5827"/>
                          <a:gd name="connsiteY69" fmla="*/ 5562 h 6279"/>
                          <a:gd name="connsiteX70" fmla="*/ 4632 w 5827"/>
                          <a:gd name="connsiteY70" fmla="*/ 5143 h 6279"/>
                          <a:gd name="connsiteX71" fmla="*/ 5050 w 5827"/>
                          <a:gd name="connsiteY71" fmla="*/ 4605 h 6279"/>
                          <a:gd name="connsiteX72" fmla="*/ 5409 w 5827"/>
                          <a:gd name="connsiteY72" fmla="*/ 4067 h 6279"/>
                          <a:gd name="connsiteX73" fmla="*/ 5649 w 5827"/>
                          <a:gd name="connsiteY73" fmla="*/ 3469 h 6279"/>
                          <a:gd name="connsiteX74" fmla="*/ 5768 w 5827"/>
                          <a:gd name="connsiteY74" fmla="*/ 2871 h 6279"/>
                          <a:gd name="connsiteX75" fmla="*/ 5828 w 5827"/>
                          <a:gd name="connsiteY75" fmla="*/ 2272 h 6279"/>
                          <a:gd name="connsiteX76" fmla="*/ 5768 w 5827"/>
                          <a:gd name="connsiteY76" fmla="*/ 1734 h 6279"/>
                          <a:gd name="connsiteX77" fmla="*/ 5589 w 5827"/>
                          <a:gd name="connsiteY77" fmla="*/ 1196 h 6279"/>
                          <a:gd name="connsiteX78" fmla="*/ 5290 w 5827"/>
                          <a:gd name="connsiteY78" fmla="*/ 718 h 6279"/>
                          <a:gd name="connsiteX79" fmla="*/ 4991 w 5827"/>
                          <a:gd name="connsiteY79" fmla="*/ 478 h 6279"/>
                          <a:gd name="connsiteX80" fmla="*/ 4632 w 5827"/>
                          <a:gd name="connsiteY80" fmla="*/ 239 h 6279"/>
                          <a:gd name="connsiteX81" fmla="*/ 4213 w 5827"/>
                          <a:gd name="connsiteY81" fmla="*/ 60 h 6279"/>
                          <a:gd name="connsiteX82" fmla="*/ 3794 w 5827"/>
                          <a:gd name="connsiteY82" fmla="*/ 0 h 6279"/>
                          <a:gd name="connsiteX83" fmla="*/ 3316 w 5827"/>
                          <a:gd name="connsiteY83" fmla="*/ 0 h 6279"/>
                          <a:gd name="connsiteX84" fmla="*/ 3137 w 5827"/>
                          <a:gd name="connsiteY84" fmla="*/ 0 h 6279"/>
                          <a:gd name="connsiteX85" fmla="*/ 2957 w 5827"/>
                          <a:gd name="connsiteY85" fmla="*/ 0 h 6279"/>
                          <a:gd name="connsiteX86" fmla="*/ 2778 w 5827"/>
                          <a:gd name="connsiteY86" fmla="*/ 60 h 6279"/>
                          <a:gd name="connsiteX87" fmla="*/ 2598 w 5827"/>
                          <a:gd name="connsiteY87" fmla="*/ 119 h 6279"/>
                          <a:gd name="connsiteX88" fmla="*/ 2359 w 5827"/>
                          <a:gd name="connsiteY88" fmla="*/ 239 h 6279"/>
                          <a:gd name="connsiteX89" fmla="*/ 2120 w 5827"/>
                          <a:gd name="connsiteY89" fmla="*/ 359 h 6279"/>
                          <a:gd name="connsiteX90" fmla="*/ 1881 w 5827"/>
                          <a:gd name="connsiteY90" fmla="*/ 478 h 6279"/>
                          <a:gd name="connsiteX91" fmla="*/ 1642 w 5827"/>
                          <a:gd name="connsiteY91" fmla="*/ 658 h 6279"/>
                          <a:gd name="connsiteX92" fmla="*/ 1522 w 5827"/>
                          <a:gd name="connsiteY92" fmla="*/ 777 h 6279"/>
                          <a:gd name="connsiteX93" fmla="*/ 1402 w 5827"/>
                          <a:gd name="connsiteY93" fmla="*/ 897 h 6279"/>
                          <a:gd name="connsiteX94" fmla="*/ 1282 w 5827"/>
                          <a:gd name="connsiteY94" fmla="*/ 1017 h 6279"/>
                          <a:gd name="connsiteX95" fmla="*/ 1163 w 5827"/>
                          <a:gd name="connsiteY95" fmla="*/ 1136 h 6279"/>
                          <a:gd name="connsiteX96" fmla="*/ 744 w 5827"/>
                          <a:gd name="connsiteY96" fmla="*/ 1674 h 6279"/>
                          <a:gd name="connsiteX97" fmla="*/ 385 w 5827"/>
                          <a:gd name="connsiteY97" fmla="*/ 2213 h 6279"/>
                          <a:gd name="connsiteX98" fmla="*/ 146 w 5827"/>
                          <a:gd name="connsiteY98" fmla="*/ 2811 h 6279"/>
                          <a:gd name="connsiteX99" fmla="*/ 27 w 5827"/>
                          <a:gd name="connsiteY99" fmla="*/ 3409 h 6279"/>
                          <a:gd name="connsiteX100" fmla="*/ 27 w 5827"/>
                          <a:gd name="connsiteY100" fmla="*/ 4007 h 6279"/>
                          <a:gd name="connsiteX101" fmla="*/ 86 w 5827"/>
                          <a:gd name="connsiteY101" fmla="*/ 4545 h 6279"/>
                          <a:gd name="connsiteX102" fmla="*/ 266 w 5827"/>
                          <a:gd name="connsiteY102" fmla="*/ 5024 h 6279"/>
                          <a:gd name="connsiteX103" fmla="*/ 565 w 5827"/>
                          <a:gd name="connsiteY103" fmla="*/ 5442 h 6279"/>
                          <a:gd name="connsiteX104" fmla="*/ 625 w 5827"/>
                          <a:gd name="connsiteY104" fmla="*/ 5502 h 6279"/>
                          <a:gd name="connsiteX105" fmla="*/ 684 w 5827"/>
                          <a:gd name="connsiteY105" fmla="*/ 5562 h 6279"/>
                          <a:gd name="connsiteX106" fmla="*/ 744 w 5827"/>
                          <a:gd name="connsiteY106" fmla="*/ 5622 h 6279"/>
                          <a:gd name="connsiteX107" fmla="*/ 804 w 5827"/>
                          <a:gd name="connsiteY107" fmla="*/ 592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827" h="6279">
                            <a:moveTo>
                              <a:pt x="1940" y="5323"/>
                            </a:moveTo>
                            <a:cubicBezTo>
                              <a:pt x="1881" y="5323"/>
                              <a:pt x="1821" y="5323"/>
                              <a:pt x="1761" y="5263"/>
                            </a:cubicBezTo>
                            <a:cubicBezTo>
                              <a:pt x="1701" y="5263"/>
                              <a:pt x="1642" y="5203"/>
                              <a:pt x="1642" y="5203"/>
                            </a:cubicBezTo>
                            <a:cubicBezTo>
                              <a:pt x="1582" y="5203"/>
                              <a:pt x="1522" y="5143"/>
                              <a:pt x="1522" y="5143"/>
                            </a:cubicBezTo>
                            <a:cubicBezTo>
                              <a:pt x="1462" y="5143"/>
                              <a:pt x="1462" y="5083"/>
                              <a:pt x="1402" y="5083"/>
                            </a:cubicBezTo>
                            <a:lnTo>
                              <a:pt x="1223" y="4904"/>
                            </a:lnTo>
                            <a:cubicBezTo>
                              <a:pt x="1223" y="4904"/>
                              <a:pt x="1223" y="4904"/>
                              <a:pt x="1223" y="4844"/>
                            </a:cubicBezTo>
                            <a:cubicBezTo>
                              <a:pt x="1223" y="4844"/>
                              <a:pt x="1223" y="4844"/>
                              <a:pt x="1223" y="4785"/>
                            </a:cubicBezTo>
                            <a:cubicBezTo>
                              <a:pt x="1223" y="4785"/>
                              <a:pt x="1223" y="4785"/>
                              <a:pt x="1223" y="4725"/>
                            </a:cubicBezTo>
                            <a:cubicBezTo>
                              <a:pt x="1223" y="4725"/>
                              <a:pt x="1223" y="4725"/>
                              <a:pt x="1223" y="4665"/>
                            </a:cubicBezTo>
                            <a:cubicBezTo>
                              <a:pt x="1163" y="4605"/>
                              <a:pt x="1103" y="4486"/>
                              <a:pt x="1103" y="4366"/>
                            </a:cubicBezTo>
                            <a:cubicBezTo>
                              <a:pt x="1043" y="4246"/>
                              <a:pt x="1043" y="4186"/>
                              <a:pt x="1043" y="4067"/>
                            </a:cubicBezTo>
                            <a:cubicBezTo>
                              <a:pt x="1043" y="3947"/>
                              <a:pt x="983" y="3827"/>
                              <a:pt x="983" y="3708"/>
                            </a:cubicBezTo>
                            <a:cubicBezTo>
                              <a:pt x="983" y="3588"/>
                              <a:pt x="983" y="3469"/>
                              <a:pt x="983" y="3349"/>
                            </a:cubicBezTo>
                            <a:cubicBezTo>
                              <a:pt x="983" y="3229"/>
                              <a:pt x="1043" y="3110"/>
                              <a:pt x="1043" y="2990"/>
                            </a:cubicBezTo>
                            <a:cubicBezTo>
                              <a:pt x="1103" y="2871"/>
                              <a:pt x="1103" y="2751"/>
                              <a:pt x="1163" y="2632"/>
                            </a:cubicBezTo>
                            <a:cubicBezTo>
                              <a:pt x="1223" y="2512"/>
                              <a:pt x="1282" y="2392"/>
                              <a:pt x="1342" y="2272"/>
                            </a:cubicBezTo>
                            <a:cubicBezTo>
                              <a:pt x="1402" y="2153"/>
                              <a:pt x="1462" y="2033"/>
                              <a:pt x="1582" y="1973"/>
                            </a:cubicBezTo>
                            <a:cubicBezTo>
                              <a:pt x="1582" y="1973"/>
                              <a:pt x="1582" y="1914"/>
                              <a:pt x="1642" y="1914"/>
                            </a:cubicBezTo>
                            <a:cubicBezTo>
                              <a:pt x="1642" y="1914"/>
                              <a:pt x="1642" y="1854"/>
                              <a:pt x="1701" y="1854"/>
                            </a:cubicBezTo>
                            <a:cubicBezTo>
                              <a:pt x="1701" y="1854"/>
                              <a:pt x="1701" y="1854"/>
                              <a:pt x="1761" y="1794"/>
                            </a:cubicBezTo>
                            <a:cubicBezTo>
                              <a:pt x="1761" y="1794"/>
                              <a:pt x="1761" y="1794"/>
                              <a:pt x="1821" y="1734"/>
                            </a:cubicBezTo>
                            <a:cubicBezTo>
                              <a:pt x="1881" y="1674"/>
                              <a:pt x="1940" y="1615"/>
                              <a:pt x="2000" y="1555"/>
                            </a:cubicBezTo>
                            <a:cubicBezTo>
                              <a:pt x="2060" y="1495"/>
                              <a:pt x="2120" y="1435"/>
                              <a:pt x="2239" y="1375"/>
                            </a:cubicBezTo>
                            <a:cubicBezTo>
                              <a:pt x="2299" y="1316"/>
                              <a:pt x="2359" y="1256"/>
                              <a:pt x="2479" y="1256"/>
                            </a:cubicBezTo>
                            <a:cubicBezTo>
                              <a:pt x="2538" y="1196"/>
                              <a:pt x="2658" y="1196"/>
                              <a:pt x="2718" y="1136"/>
                            </a:cubicBezTo>
                            <a:cubicBezTo>
                              <a:pt x="2778" y="1136"/>
                              <a:pt x="2837" y="1076"/>
                              <a:pt x="2897" y="1076"/>
                            </a:cubicBezTo>
                            <a:cubicBezTo>
                              <a:pt x="2957" y="1076"/>
                              <a:pt x="3017" y="1017"/>
                              <a:pt x="3077" y="1017"/>
                            </a:cubicBezTo>
                            <a:cubicBezTo>
                              <a:pt x="3137" y="1017"/>
                              <a:pt x="3196" y="1017"/>
                              <a:pt x="3256" y="957"/>
                            </a:cubicBezTo>
                            <a:cubicBezTo>
                              <a:pt x="3316" y="957"/>
                              <a:pt x="3376" y="957"/>
                              <a:pt x="3436" y="957"/>
                            </a:cubicBezTo>
                            <a:cubicBezTo>
                              <a:pt x="3555" y="957"/>
                              <a:pt x="3615" y="957"/>
                              <a:pt x="3735" y="957"/>
                            </a:cubicBezTo>
                            <a:cubicBezTo>
                              <a:pt x="3854" y="957"/>
                              <a:pt x="3914" y="957"/>
                              <a:pt x="4034" y="1017"/>
                            </a:cubicBezTo>
                            <a:cubicBezTo>
                              <a:pt x="4153" y="1076"/>
                              <a:pt x="4213" y="1076"/>
                              <a:pt x="4273" y="1136"/>
                            </a:cubicBezTo>
                            <a:cubicBezTo>
                              <a:pt x="4333" y="1196"/>
                              <a:pt x="4452" y="1256"/>
                              <a:pt x="4512" y="1316"/>
                            </a:cubicBezTo>
                            <a:cubicBezTo>
                              <a:pt x="4512" y="1316"/>
                              <a:pt x="4572" y="1316"/>
                              <a:pt x="4572" y="1375"/>
                            </a:cubicBezTo>
                            <a:cubicBezTo>
                              <a:pt x="4572" y="1375"/>
                              <a:pt x="4632" y="1375"/>
                              <a:pt x="4632" y="1435"/>
                            </a:cubicBezTo>
                            <a:cubicBezTo>
                              <a:pt x="4632" y="1435"/>
                              <a:pt x="4632" y="1435"/>
                              <a:pt x="4691" y="1495"/>
                            </a:cubicBezTo>
                            <a:cubicBezTo>
                              <a:pt x="4691" y="1495"/>
                              <a:pt x="4691" y="1555"/>
                              <a:pt x="4751" y="1555"/>
                            </a:cubicBezTo>
                            <a:cubicBezTo>
                              <a:pt x="4811" y="1674"/>
                              <a:pt x="4931" y="1734"/>
                              <a:pt x="4931" y="1854"/>
                            </a:cubicBezTo>
                            <a:cubicBezTo>
                              <a:pt x="4991" y="1973"/>
                              <a:pt x="5050" y="2093"/>
                              <a:pt x="5050" y="2213"/>
                            </a:cubicBezTo>
                            <a:cubicBezTo>
                              <a:pt x="5110" y="2332"/>
                              <a:pt x="5110" y="2452"/>
                              <a:pt x="5110" y="2572"/>
                            </a:cubicBezTo>
                            <a:cubicBezTo>
                              <a:pt x="5110" y="2691"/>
                              <a:pt x="5110" y="2871"/>
                              <a:pt x="5110" y="2990"/>
                            </a:cubicBezTo>
                            <a:cubicBezTo>
                              <a:pt x="5110" y="3110"/>
                              <a:pt x="5050" y="3289"/>
                              <a:pt x="4991" y="3409"/>
                            </a:cubicBezTo>
                            <a:cubicBezTo>
                              <a:pt x="4931" y="3528"/>
                              <a:pt x="4871" y="3648"/>
                              <a:pt x="4811" y="3827"/>
                            </a:cubicBezTo>
                            <a:cubicBezTo>
                              <a:pt x="4751" y="3947"/>
                              <a:pt x="4691" y="4067"/>
                              <a:pt x="4572" y="4186"/>
                            </a:cubicBezTo>
                            <a:cubicBezTo>
                              <a:pt x="4452" y="4306"/>
                              <a:pt x="4392" y="4426"/>
                              <a:pt x="4273" y="4545"/>
                            </a:cubicBezTo>
                            <a:cubicBezTo>
                              <a:pt x="4153" y="4665"/>
                              <a:pt x="4034" y="4785"/>
                              <a:pt x="3914" y="4844"/>
                            </a:cubicBezTo>
                            <a:cubicBezTo>
                              <a:pt x="3794" y="4904"/>
                              <a:pt x="3675" y="5024"/>
                              <a:pt x="3555" y="5083"/>
                            </a:cubicBezTo>
                            <a:cubicBezTo>
                              <a:pt x="3436" y="5143"/>
                              <a:pt x="3316" y="5203"/>
                              <a:pt x="3196" y="5203"/>
                            </a:cubicBezTo>
                            <a:cubicBezTo>
                              <a:pt x="3077" y="5263"/>
                              <a:pt x="2957" y="5263"/>
                              <a:pt x="2837" y="5263"/>
                            </a:cubicBezTo>
                            <a:cubicBezTo>
                              <a:pt x="2778" y="5263"/>
                              <a:pt x="2718" y="5263"/>
                              <a:pt x="2658" y="5263"/>
                            </a:cubicBezTo>
                            <a:cubicBezTo>
                              <a:pt x="2598" y="5263"/>
                              <a:pt x="2538" y="5263"/>
                              <a:pt x="2479" y="5263"/>
                            </a:cubicBezTo>
                            <a:cubicBezTo>
                              <a:pt x="2419" y="5263"/>
                              <a:pt x="2359" y="5263"/>
                              <a:pt x="2359" y="5263"/>
                            </a:cubicBezTo>
                            <a:cubicBezTo>
                              <a:pt x="2060" y="5323"/>
                              <a:pt x="2000" y="5323"/>
                              <a:pt x="1940" y="5323"/>
                            </a:cubicBezTo>
                            <a:moveTo>
                              <a:pt x="804" y="5921"/>
                            </a:moveTo>
                            <a:cubicBezTo>
                              <a:pt x="804" y="5921"/>
                              <a:pt x="804" y="5921"/>
                              <a:pt x="804" y="5921"/>
                            </a:cubicBezTo>
                            <a:cubicBezTo>
                              <a:pt x="864" y="5981"/>
                              <a:pt x="864" y="5981"/>
                              <a:pt x="864" y="5981"/>
                            </a:cubicBezTo>
                            <a:cubicBezTo>
                              <a:pt x="864" y="5981"/>
                              <a:pt x="864" y="5981"/>
                              <a:pt x="923" y="5981"/>
                            </a:cubicBezTo>
                            <a:cubicBezTo>
                              <a:pt x="983" y="5981"/>
                              <a:pt x="923" y="5981"/>
                              <a:pt x="983" y="5981"/>
                            </a:cubicBezTo>
                            <a:cubicBezTo>
                              <a:pt x="1043" y="6040"/>
                              <a:pt x="1103" y="6040"/>
                              <a:pt x="1163" y="6100"/>
                            </a:cubicBezTo>
                            <a:cubicBezTo>
                              <a:pt x="1223" y="6160"/>
                              <a:pt x="1282" y="6160"/>
                              <a:pt x="1402" y="6160"/>
                            </a:cubicBezTo>
                            <a:cubicBezTo>
                              <a:pt x="1462" y="6160"/>
                              <a:pt x="1522" y="6220"/>
                              <a:pt x="1642" y="6220"/>
                            </a:cubicBezTo>
                            <a:cubicBezTo>
                              <a:pt x="1701" y="6220"/>
                              <a:pt x="1821" y="6280"/>
                              <a:pt x="1881" y="6280"/>
                            </a:cubicBezTo>
                            <a:cubicBezTo>
                              <a:pt x="1940" y="6280"/>
                              <a:pt x="2000" y="6280"/>
                              <a:pt x="2000" y="6280"/>
                            </a:cubicBezTo>
                            <a:cubicBezTo>
                              <a:pt x="2060" y="6280"/>
                              <a:pt x="2120" y="6280"/>
                              <a:pt x="2120" y="6280"/>
                            </a:cubicBezTo>
                            <a:cubicBezTo>
                              <a:pt x="2120" y="6280"/>
                              <a:pt x="2239" y="6280"/>
                              <a:pt x="2299" y="6280"/>
                            </a:cubicBezTo>
                            <a:cubicBezTo>
                              <a:pt x="2359" y="6280"/>
                              <a:pt x="2419" y="6280"/>
                              <a:pt x="2479" y="6280"/>
                            </a:cubicBezTo>
                            <a:cubicBezTo>
                              <a:pt x="2658" y="6280"/>
                              <a:pt x="2837" y="6220"/>
                              <a:pt x="3077" y="6160"/>
                            </a:cubicBezTo>
                            <a:cubicBezTo>
                              <a:pt x="3256" y="6100"/>
                              <a:pt x="3436" y="6040"/>
                              <a:pt x="3615" y="5921"/>
                            </a:cubicBezTo>
                            <a:cubicBezTo>
                              <a:pt x="3794" y="5801"/>
                              <a:pt x="3974" y="5741"/>
                              <a:pt x="4153" y="5562"/>
                            </a:cubicBezTo>
                            <a:cubicBezTo>
                              <a:pt x="4333" y="5382"/>
                              <a:pt x="4512" y="5323"/>
                              <a:pt x="4632" y="5143"/>
                            </a:cubicBezTo>
                            <a:cubicBezTo>
                              <a:pt x="4811" y="4964"/>
                              <a:pt x="4931" y="4785"/>
                              <a:pt x="5050" y="4605"/>
                            </a:cubicBezTo>
                            <a:cubicBezTo>
                              <a:pt x="5170" y="4426"/>
                              <a:pt x="5290" y="4246"/>
                              <a:pt x="5409" y="4067"/>
                            </a:cubicBezTo>
                            <a:cubicBezTo>
                              <a:pt x="5529" y="3887"/>
                              <a:pt x="5589" y="3648"/>
                              <a:pt x="5649" y="3469"/>
                            </a:cubicBezTo>
                            <a:cubicBezTo>
                              <a:pt x="5708" y="3289"/>
                              <a:pt x="5768" y="3050"/>
                              <a:pt x="5768" y="2871"/>
                            </a:cubicBezTo>
                            <a:cubicBezTo>
                              <a:pt x="5828" y="2691"/>
                              <a:pt x="5828" y="2452"/>
                              <a:pt x="5828" y="2272"/>
                            </a:cubicBezTo>
                            <a:cubicBezTo>
                              <a:pt x="5828" y="2093"/>
                              <a:pt x="5768" y="1914"/>
                              <a:pt x="5768" y="1734"/>
                            </a:cubicBezTo>
                            <a:cubicBezTo>
                              <a:pt x="5708" y="1555"/>
                              <a:pt x="5649" y="1375"/>
                              <a:pt x="5589" y="1196"/>
                            </a:cubicBezTo>
                            <a:cubicBezTo>
                              <a:pt x="5529" y="1017"/>
                              <a:pt x="5409" y="897"/>
                              <a:pt x="5290" y="718"/>
                            </a:cubicBezTo>
                            <a:lnTo>
                              <a:pt x="4991" y="478"/>
                            </a:lnTo>
                            <a:cubicBezTo>
                              <a:pt x="4871" y="418"/>
                              <a:pt x="4751" y="299"/>
                              <a:pt x="4632" y="239"/>
                            </a:cubicBezTo>
                            <a:cubicBezTo>
                              <a:pt x="4512" y="179"/>
                              <a:pt x="4392" y="119"/>
                              <a:pt x="4213" y="60"/>
                            </a:cubicBezTo>
                            <a:cubicBezTo>
                              <a:pt x="4034" y="0"/>
                              <a:pt x="3914" y="0"/>
                              <a:pt x="3794" y="0"/>
                            </a:cubicBezTo>
                            <a:cubicBezTo>
                              <a:pt x="3675" y="0"/>
                              <a:pt x="3496" y="0"/>
                              <a:pt x="3316" y="0"/>
                            </a:cubicBezTo>
                            <a:cubicBezTo>
                              <a:pt x="3256" y="0"/>
                              <a:pt x="3196" y="0"/>
                              <a:pt x="3137" y="0"/>
                            </a:cubicBezTo>
                            <a:cubicBezTo>
                              <a:pt x="3077" y="0"/>
                              <a:pt x="3017" y="0"/>
                              <a:pt x="2957" y="0"/>
                            </a:cubicBezTo>
                            <a:cubicBezTo>
                              <a:pt x="2897" y="0"/>
                              <a:pt x="2837" y="0"/>
                              <a:pt x="2778" y="60"/>
                            </a:cubicBezTo>
                            <a:cubicBezTo>
                              <a:pt x="2718" y="60"/>
                              <a:pt x="2658" y="60"/>
                              <a:pt x="2598" y="119"/>
                            </a:cubicBezTo>
                            <a:cubicBezTo>
                              <a:pt x="2538" y="119"/>
                              <a:pt x="2419" y="179"/>
                              <a:pt x="2359" y="239"/>
                            </a:cubicBezTo>
                            <a:cubicBezTo>
                              <a:pt x="2299" y="299"/>
                              <a:pt x="2180" y="299"/>
                              <a:pt x="2120" y="359"/>
                            </a:cubicBezTo>
                            <a:cubicBezTo>
                              <a:pt x="2060" y="418"/>
                              <a:pt x="1940" y="418"/>
                              <a:pt x="1881" y="478"/>
                            </a:cubicBezTo>
                            <a:cubicBezTo>
                              <a:pt x="1821" y="538"/>
                              <a:pt x="1701" y="598"/>
                              <a:pt x="1642" y="658"/>
                            </a:cubicBezTo>
                            <a:cubicBezTo>
                              <a:pt x="1582" y="718"/>
                              <a:pt x="1522" y="718"/>
                              <a:pt x="1522" y="777"/>
                            </a:cubicBezTo>
                            <a:cubicBezTo>
                              <a:pt x="1522" y="837"/>
                              <a:pt x="1402" y="837"/>
                              <a:pt x="1402" y="897"/>
                            </a:cubicBezTo>
                            <a:cubicBezTo>
                              <a:pt x="1342" y="957"/>
                              <a:pt x="1282" y="957"/>
                              <a:pt x="1282" y="1017"/>
                            </a:cubicBezTo>
                            <a:cubicBezTo>
                              <a:pt x="1223" y="1076"/>
                              <a:pt x="1163" y="1076"/>
                              <a:pt x="1163" y="1136"/>
                            </a:cubicBezTo>
                            <a:cubicBezTo>
                              <a:pt x="983" y="1316"/>
                              <a:pt x="864" y="1495"/>
                              <a:pt x="744" y="1674"/>
                            </a:cubicBezTo>
                            <a:cubicBezTo>
                              <a:pt x="625" y="1854"/>
                              <a:pt x="505" y="2033"/>
                              <a:pt x="385" y="2213"/>
                            </a:cubicBezTo>
                            <a:cubicBezTo>
                              <a:pt x="266" y="2392"/>
                              <a:pt x="206" y="2572"/>
                              <a:pt x="146" y="2811"/>
                            </a:cubicBezTo>
                            <a:cubicBezTo>
                              <a:pt x="86" y="3050"/>
                              <a:pt x="27" y="3229"/>
                              <a:pt x="27" y="3409"/>
                            </a:cubicBezTo>
                            <a:cubicBezTo>
                              <a:pt x="27" y="3648"/>
                              <a:pt x="-33" y="3827"/>
                              <a:pt x="27" y="4007"/>
                            </a:cubicBezTo>
                            <a:cubicBezTo>
                              <a:pt x="27" y="4186"/>
                              <a:pt x="86" y="4366"/>
                              <a:pt x="86" y="4545"/>
                            </a:cubicBezTo>
                            <a:cubicBezTo>
                              <a:pt x="146" y="4725"/>
                              <a:pt x="206" y="4904"/>
                              <a:pt x="266" y="5024"/>
                            </a:cubicBezTo>
                            <a:cubicBezTo>
                              <a:pt x="326" y="5203"/>
                              <a:pt x="445" y="5323"/>
                              <a:pt x="565" y="5442"/>
                            </a:cubicBezTo>
                            <a:cubicBezTo>
                              <a:pt x="565" y="5442"/>
                              <a:pt x="625" y="5502"/>
                              <a:pt x="625" y="5502"/>
                            </a:cubicBezTo>
                            <a:cubicBezTo>
                              <a:pt x="625" y="5502"/>
                              <a:pt x="684" y="5562"/>
                              <a:pt x="684" y="5562"/>
                            </a:cubicBezTo>
                            <a:cubicBezTo>
                              <a:pt x="684" y="5562"/>
                              <a:pt x="744" y="5622"/>
                              <a:pt x="744" y="5622"/>
                            </a:cubicBezTo>
                            <a:cubicBezTo>
                              <a:pt x="744" y="5861"/>
                              <a:pt x="744" y="5921"/>
                              <a:pt x="804" y="5921"/>
                            </a:cubicBezTo>
                          </a:path>
                        </a:pathLst>
                      </a:custGeom>
                      <a:noFill/>
                      <a:ln w="6350" cap="flat">
                        <a:solidFill>
                          <a:schemeClr val="bg1">
                            <a:alpha val="40000"/>
                          </a:schemeClr>
                        </a:solidFill>
                        <a:prstDash val="solid"/>
                        <a:miter/>
                      </a:ln>
                    </p:spPr>
                    <p:txBody>
                      <a:bodyPr rtlCol="0" anchor="ctr"/>
                      <a:lstStyle/>
                      <a:p>
                        <a:endParaRPr lang="en-GB"/>
                      </a:p>
                    </p:txBody>
                  </p:sp>
                  <p:sp>
                    <p:nvSpPr>
                      <p:cNvPr id="7564" name="Vrije vorm: vorm 7563">
                        <a:extLst>
                          <a:ext uri="{FF2B5EF4-FFF2-40B4-BE49-F238E27FC236}">
                            <a16:creationId xmlns:a16="http://schemas.microsoft.com/office/drawing/2014/main" id="{5CE07375-728B-4813-8D4D-F01257B17273}"/>
                          </a:ext>
                        </a:extLst>
                      </p:cNvPr>
                      <p:cNvSpPr/>
                      <p:nvPr/>
                    </p:nvSpPr>
                    <p:spPr>
                      <a:xfrm>
                        <a:off x="5213848" y="5227190"/>
                        <a:ext cx="5890" cy="6160"/>
                      </a:xfrm>
                      <a:custGeom>
                        <a:avLst/>
                        <a:gdLst>
                          <a:gd name="connsiteX0" fmla="*/ 4351 w 5890"/>
                          <a:gd name="connsiteY0" fmla="*/ 1316 h 6160"/>
                          <a:gd name="connsiteX1" fmla="*/ 4650 w 5890"/>
                          <a:gd name="connsiteY1" fmla="*/ 1615 h 6160"/>
                          <a:gd name="connsiteX2" fmla="*/ 4829 w 5890"/>
                          <a:gd name="connsiteY2" fmla="*/ 1974 h 6160"/>
                          <a:gd name="connsiteX3" fmla="*/ 4889 w 5890"/>
                          <a:gd name="connsiteY3" fmla="*/ 2392 h 6160"/>
                          <a:gd name="connsiteX4" fmla="*/ 4889 w 5890"/>
                          <a:gd name="connsiteY4" fmla="*/ 2871 h 6160"/>
                          <a:gd name="connsiteX5" fmla="*/ 4770 w 5890"/>
                          <a:gd name="connsiteY5" fmla="*/ 3289 h 6160"/>
                          <a:gd name="connsiteX6" fmla="*/ 4590 w 5890"/>
                          <a:gd name="connsiteY6" fmla="*/ 3708 h 6160"/>
                          <a:gd name="connsiteX7" fmla="*/ 4351 w 5890"/>
                          <a:gd name="connsiteY7" fmla="*/ 4067 h 6160"/>
                          <a:gd name="connsiteX8" fmla="*/ 4052 w 5890"/>
                          <a:gd name="connsiteY8" fmla="*/ 4426 h 6160"/>
                          <a:gd name="connsiteX9" fmla="*/ 3693 w 5890"/>
                          <a:gd name="connsiteY9" fmla="*/ 4725 h 6160"/>
                          <a:gd name="connsiteX10" fmla="*/ 3334 w 5890"/>
                          <a:gd name="connsiteY10" fmla="*/ 4964 h 6160"/>
                          <a:gd name="connsiteX11" fmla="*/ 2975 w 5890"/>
                          <a:gd name="connsiteY11" fmla="*/ 5143 h 6160"/>
                          <a:gd name="connsiteX12" fmla="*/ 2557 w 5890"/>
                          <a:gd name="connsiteY12" fmla="*/ 5203 h 6160"/>
                          <a:gd name="connsiteX13" fmla="*/ 2258 w 5890"/>
                          <a:gd name="connsiteY13" fmla="*/ 5203 h 6160"/>
                          <a:gd name="connsiteX14" fmla="*/ 1959 w 5890"/>
                          <a:gd name="connsiteY14" fmla="*/ 5143 h 6160"/>
                          <a:gd name="connsiteX15" fmla="*/ 1719 w 5890"/>
                          <a:gd name="connsiteY15" fmla="*/ 5024 h 6160"/>
                          <a:gd name="connsiteX16" fmla="*/ 1480 w 5890"/>
                          <a:gd name="connsiteY16" fmla="*/ 4844 h 6160"/>
                          <a:gd name="connsiteX17" fmla="*/ 1181 w 5890"/>
                          <a:gd name="connsiteY17" fmla="*/ 4545 h 6160"/>
                          <a:gd name="connsiteX18" fmla="*/ 1002 w 5890"/>
                          <a:gd name="connsiteY18" fmla="*/ 4187 h 6160"/>
                          <a:gd name="connsiteX19" fmla="*/ 882 w 5890"/>
                          <a:gd name="connsiteY19" fmla="*/ 3768 h 6160"/>
                          <a:gd name="connsiteX20" fmla="*/ 882 w 5890"/>
                          <a:gd name="connsiteY20" fmla="*/ 3289 h 6160"/>
                          <a:gd name="connsiteX21" fmla="*/ 1002 w 5890"/>
                          <a:gd name="connsiteY21" fmla="*/ 2871 h 6160"/>
                          <a:gd name="connsiteX22" fmla="*/ 1181 w 5890"/>
                          <a:gd name="connsiteY22" fmla="*/ 2452 h 6160"/>
                          <a:gd name="connsiteX23" fmla="*/ 1420 w 5890"/>
                          <a:gd name="connsiteY23" fmla="*/ 2093 h 6160"/>
                          <a:gd name="connsiteX24" fmla="*/ 1719 w 5890"/>
                          <a:gd name="connsiteY24" fmla="*/ 1735 h 6160"/>
                          <a:gd name="connsiteX25" fmla="*/ 2018 w 5890"/>
                          <a:gd name="connsiteY25" fmla="*/ 1435 h 6160"/>
                          <a:gd name="connsiteX26" fmla="*/ 2377 w 5890"/>
                          <a:gd name="connsiteY26" fmla="*/ 1196 h 6160"/>
                          <a:gd name="connsiteX27" fmla="*/ 2736 w 5890"/>
                          <a:gd name="connsiteY27" fmla="*/ 1017 h 6160"/>
                          <a:gd name="connsiteX28" fmla="*/ 3095 w 5890"/>
                          <a:gd name="connsiteY28" fmla="*/ 957 h 6160"/>
                          <a:gd name="connsiteX29" fmla="*/ 3394 w 5890"/>
                          <a:gd name="connsiteY29" fmla="*/ 957 h 6160"/>
                          <a:gd name="connsiteX30" fmla="*/ 3693 w 5890"/>
                          <a:gd name="connsiteY30" fmla="*/ 1017 h 6160"/>
                          <a:gd name="connsiteX31" fmla="*/ 3992 w 5890"/>
                          <a:gd name="connsiteY31" fmla="*/ 1136 h 6160"/>
                          <a:gd name="connsiteX32" fmla="*/ 4351 w 5890"/>
                          <a:gd name="connsiteY32" fmla="*/ 1316 h 6160"/>
                          <a:gd name="connsiteX33" fmla="*/ 822 w 5890"/>
                          <a:gd name="connsiteY33" fmla="*/ 5682 h 6160"/>
                          <a:gd name="connsiteX34" fmla="*/ 1181 w 5890"/>
                          <a:gd name="connsiteY34" fmla="*/ 5921 h 6160"/>
                          <a:gd name="connsiteX35" fmla="*/ 1600 w 5890"/>
                          <a:gd name="connsiteY35" fmla="*/ 6100 h 6160"/>
                          <a:gd name="connsiteX36" fmla="*/ 2018 w 5890"/>
                          <a:gd name="connsiteY36" fmla="*/ 6160 h 6160"/>
                          <a:gd name="connsiteX37" fmla="*/ 2497 w 5890"/>
                          <a:gd name="connsiteY37" fmla="*/ 6160 h 6160"/>
                          <a:gd name="connsiteX38" fmla="*/ 3633 w 5890"/>
                          <a:gd name="connsiteY38" fmla="*/ 5801 h 6160"/>
                          <a:gd name="connsiteX39" fmla="*/ 4650 w 5890"/>
                          <a:gd name="connsiteY39" fmla="*/ 5024 h 6160"/>
                          <a:gd name="connsiteX40" fmla="*/ 5427 w 5890"/>
                          <a:gd name="connsiteY40" fmla="*/ 4007 h 6160"/>
                          <a:gd name="connsiteX41" fmla="*/ 5846 w 5890"/>
                          <a:gd name="connsiteY41" fmla="*/ 2811 h 6160"/>
                          <a:gd name="connsiteX42" fmla="*/ 5846 w 5890"/>
                          <a:gd name="connsiteY42" fmla="*/ 2093 h 6160"/>
                          <a:gd name="connsiteX43" fmla="*/ 5727 w 5890"/>
                          <a:gd name="connsiteY43" fmla="*/ 1435 h 6160"/>
                          <a:gd name="connsiteX44" fmla="*/ 5427 w 5890"/>
                          <a:gd name="connsiteY44" fmla="*/ 897 h 6160"/>
                          <a:gd name="connsiteX45" fmla="*/ 5009 w 5890"/>
                          <a:gd name="connsiteY45" fmla="*/ 479 h 6160"/>
                          <a:gd name="connsiteX46" fmla="*/ 4650 w 5890"/>
                          <a:gd name="connsiteY46" fmla="*/ 239 h 6160"/>
                          <a:gd name="connsiteX47" fmla="*/ 4231 w 5890"/>
                          <a:gd name="connsiteY47" fmla="*/ 60 h 6160"/>
                          <a:gd name="connsiteX48" fmla="*/ 3813 w 5890"/>
                          <a:gd name="connsiteY48" fmla="*/ 0 h 6160"/>
                          <a:gd name="connsiteX49" fmla="*/ 3334 w 5890"/>
                          <a:gd name="connsiteY49" fmla="*/ 0 h 6160"/>
                          <a:gd name="connsiteX50" fmla="*/ 2736 w 5890"/>
                          <a:gd name="connsiteY50" fmla="*/ 120 h 6160"/>
                          <a:gd name="connsiteX51" fmla="*/ 2198 w 5890"/>
                          <a:gd name="connsiteY51" fmla="*/ 359 h 6160"/>
                          <a:gd name="connsiteX52" fmla="*/ 1659 w 5890"/>
                          <a:gd name="connsiteY52" fmla="*/ 718 h 6160"/>
                          <a:gd name="connsiteX53" fmla="*/ 1181 w 5890"/>
                          <a:gd name="connsiteY53" fmla="*/ 1136 h 6160"/>
                          <a:gd name="connsiteX54" fmla="*/ 763 w 5890"/>
                          <a:gd name="connsiteY54" fmla="*/ 1615 h 6160"/>
                          <a:gd name="connsiteX55" fmla="*/ 404 w 5890"/>
                          <a:gd name="connsiteY55" fmla="*/ 2153 h 6160"/>
                          <a:gd name="connsiteX56" fmla="*/ 164 w 5890"/>
                          <a:gd name="connsiteY56" fmla="*/ 2751 h 6160"/>
                          <a:gd name="connsiteX57" fmla="*/ 45 w 5890"/>
                          <a:gd name="connsiteY57" fmla="*/ 3349 h 6160"/>
                          <a:gd name="connsiteX58" fmla="*/ 45 w 5890"/>
                          <a:gd name="connsiteY58" fmla="*/ 4067 h 6160"/>
                          <a:gd name="connsiteX59" fmla="*/ 164 w 5890"/>
                          <a:gd name="connsiteY59" fmla="*/ 4725 h 6160"/>
                          <a:gd name="connsiteX60" fmla="*/ 464 w 5890"/>
                          <a:gd name="connsiteY60" fmla="*/ 5263 h 6160"/>
                          <a:gd name="connsiteX61" fmla="*/ 822 w 5890"/>
                          <a:gd name="connsiteY61" fmla="*/ 5682 h 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890" h="6160">
                            <a:moveTo>
                              <a:pt x="4351" y="1316"/>
                            </a:moveTo>
                            <a:cubicBezTo>
                              <a:pt x="4471" y="1376"/>
                              <a:pt x="4530" y="1495"/>
                              <a:pt x="4650" y="1615"/>
                            </a:cubicBezTo>
                            <a:cubicBezTo>
                              <a:pt x="4710" y="1735"/>
                              <a:pt x="4770" y="1854"/>
                              <a:pt x="4829" y="1974"/>
                            </a:cubicBezTo>
                            <a:cubicBezTo>
                              <a:pt x="4889" y="2093"/>
                              <a:pt x="4889" y="2273"/>
                              <a:pt x="4889" y="2392"/>
                            </a:cubicBezTo>
                            <a:cubicBezTo>
                              <a:pt x="4889" y="2572"/>
                              <a:pt x="4889" y="2691"/>
                              <a:pt x="4889" y="2871"/>
                            </a:cubicBezTo>
                            <a:cubicBezTo>
                              <a:pt x="4889" y="2990"/>
                              <a:pt x="4829" y="3170"/>
                              <a:pt x="4770" y="3289"/>
                            </a:cubicBezTo>
                            <a:cubicBezTo>
                              <a:pt x="4710" y="3409"/>
                              <a:pt x="4650" y="3589"/>
                              <a:pt x="4590" y="3708"/>
                            </a:cubicBezTo>
                            <a:cubicBezTo>
                              <a:pt x="4530" y="3828"/>
                              <a:pt x="4471" y="3947"/>
                              <a:pt x="4351" y="4067"/>
                            </a:cubicBezTo>
                            <a:cubicBezTo>
                              <a:pt x="4231" y="4187"/>
                              <a:pt x="4172" y="4306"/>
                              <a:pt x="4052" y="4426"/>
                            </a:cubicBezTo>
                            <a:cubicBezTo>
                              <a:pt x="3932" y="4545"/>
                              <a:pt x="3813" y="4605"/>
                              <a:pt x="3693" y="4725"/>
                            </a:cubicBezTo>
                            <a:cubicBezTo>
                              <a:pt x="3573" y="4785"/>
                              <a:pt x="3454" y="4904"/>
                              <a:pt x="3334" y="4964"/>
                            </a:cubicBezTo>
                            <a:cubicBezTo>
                              <a:pt x="3214" y="5024"/>
                              <a:pt x="3095" y="5084"/>
                              <a:pt x="2975" y="5143"/>
                            </a:cubicBezTo>
                            <a:cubicBezTo>
                              <a:pt x="2856" y="5203"/>
                              <a:pt x="2736" y="5203"/>
                              <a:pt x="2557" y="5203"/>
                            </a:cubicBezTo>
                            <a:cubicBezTo>
                              <a:pt x="2437" y="5203"/>
                              <a:pt x="2318" y="5203"/>
                              <a:pt x="2258" y="5203"/>
                            </a:cubicBezTo>
                            <a:cubicBezTo>
                              <a:pt x="2138" y="5203"/>
                              <a:pt x="2078" y="5203"/>
                              <a:pt x="1959" y="5143"/>
                            </a:cubicBezTo>
                            <a:cubicBezTo>
                              <a:pt x="1839" y="5143"/>
                              <a:pt x="1779" y="5084"/>
                              <a:pt x="1719" y="5024"/>
                            </a:cubicBezTo>
                            <a:cubicBezTo>
                              <a:pt x="1659" y="4964"/>
                              <a:pt x="1540" y="4904"/>
                              <a:pt x="1480" y="4844"/>
                            </a:cubicBezTo>
                            <a:cubicBezTo>
                              <a:pt x="1360" y="4785"/>
                              <a:pt x="1301" y="4665"/>
                              <a:pt x="1181" y="4545"/>
                            </a:cubicBezTo>
                            <a:cubicBezTo>
                              <a:pt x="1121" y="4426"/>
                              <a:pt x="1062" y="4306"/>
                              <a:pt x="1002" y="4187"/>
                            </a:cubicBezTo>
                            <a:cubicBezTo>
                              <a:pt x="942" y="4067"/>
                              <a:pt x="942" y="3888"/>
                              <a:pt x="882" y="3768"/>
                            </a:cubicBezTo>
                            <a:cubicBezTo>
                              <a:pt x="882" y="3589"/>
                              <a:pt x="882" y="3469"/>
                              <a:pt x="882" y="3289"/>
                            </a:cubicBezTo>
                            <a:cubicBezTo>
                              <a:pt x="882" y="3170"/>
                              <a:pt x="942" y="2990"/>
                              <a:pt x="1002" y="2871"/>
                            </a:cubicBezTo>
                            <a:cubicBezTo>
                              <a:pt x="1062" y="2751"/>
                              <a:pt x="1121" y="2572"/>
                              <a:pt x="1181" y="2452"/>
                            </a:cubicBezTo>
                            <a:cubicBezTo>
                              <a:pt x="1241" y="2333"/>
                              <a:pt x="1360" y="2213"/>
                              <a:pt x="1420" y="2093"/>
                            </a:cubicBezTo>
                            <a:cubicBezTo>
                              <a:pt x="1540" y="1974"/>
                              <a:pt x="1600" y="1854"/>
                              <a:pt x="1719" y="1735"/>
                            </a:cubicBezTo>
                            <a:cubicBezTo>
                              <a:pt x="1839" y="1615"/>
                              <a:pt x="1959" y="1555"/>
                              <a:pt x="2018" y="1435"/>
                            </a:cubicBezTo>
                            <a:cubicBezTo>
                              <a:pt x="2138" y="1376"/>
                              <a:pt x="2258" y="1256"/>
                              <a:pt x="2377" y="1196"/>
                            </a:cubicBezTo>
                            <a:cubicBezTo>
                              <a:pt x="2497" y="1136"/>
                              <a:pt x="2617" y="1076"/>
                              <a:pt x="2736" y="1017"/>
                            </a:cubicBezTo>
                            <a:cubicBezTo>
                              <a:pt x="2856" y="957"/>
                              <a:pt x="2975" y="957"/>
                              <a:pt x="3095" y="957"/>
                            </a:cubicBezTo>
                            <a:cubicBezTo>
                              <a:pt x="3214" y="957"/>
                              <a:pt x="3334" y="957"/>
                              <a:pt x="3394" y="957"/>
                            </a:cubicBezTo>
                            <a:cubicBezTo>
                              <a:pt x="3513" y="957"/>
                              <a:pt x="3573" y="957"/>
                              <a:pt x="3693" y="1017"/>
                            </a:cubicBezTo>
                            <a:cubicBezTo>
                              <a:pt x="3813" y="1017"/>
                              <a:pt x="3872" y="1076"/>
                              <a:pt x="3992" y="1136"/>
                            </a:cubicBezTo>
                            <a:cubicBezTo>
                              <a:pt x="4112" y="1196"/>
                              <a:pt x="4291" y="1256"/>
                              <a:pt x="4351" y="1316"/>
                            </a:cubicBezTo>
                            <a:moveTo>
                              <a:pt x="822" y="5682"/>
                            </a:moveTo>
                            <a:cubicBezTo>
                              <a:pt x="942" y="5742"/>
                              <a:pt x="1062" y="5861"/>
                              <a:pt x="1181" y="5921"/>
                            </a:cubicBezTo>
                            <a:cubicBezTo>
                              <a:pt x="1301" y="5981"/>
                              <a:pt x="1420" y="6041"/>
                              <a:pt x="1600" y="6100"/>
                            </a:cubicBezTo>
                            <a:cubicBezTo>
                              <a:pt x="1719" y="6160"/>
                              <a:pt x="1899" y="6160"/>
                              <a:pt x="2018" y="6160"/>
                            </a:cubicBezTo>
                            <a:cubicBezTo>
                              <a:pt x="2138" y="6160"/>
                              <a:pt x="2318" y="6160"/>
                              <a:pt x="2497" y="6160"/>
                            </a:cubicBezTo>
                            <a:cubicBezTo>
                              <a:pt x="2916" y="6100"/>
                              <a:pt x="3274" y="5981"/>
                              <a:pt x="3633" y="5801"/>
                            </a:cubicBezTo>
                            <a:cubicBezTo>
                              <a:pt x="3992" y="5622"/>
                              <a:pt x="4351" y="5383"/>
                              <a:pt x="4650" y="5024"/>
                            </a:cubicBezTo>
                            <a:cubicBezTo>
                              <a:pt x="4949" y="4665"/>
                              <a:pt x="5188" y="4366"/>
                              <a:pt x="5427" y="4007"/>
                            </a:cubicBezTo>
                            <a:cubicBezTo>
                              <a:pt x="5607" y="3648"/>
                              <a:pt x="5786" y="3230"/>
                              <a:pt x="5846" y="2811"/>
                            </a:cubicBezTo>
                            <a:cubicBezTo>
                              <a:pt x="5906" y="2572"/>
                              <a:pt x="5906" y="2333"/>
                              <a:pt x="5846" y="2093"/>
                            </a:cubicBezTo>
                            <a:cubicBezTo>
                              <a:pt x="5786" y="1854"/>
                              <a:pt x="5786" y="1675"/>
                              <a:pt x="5727" y="1435"/>
                            </a:cubicBezTo>
                            <a:cubicBezTo>
                              <a:pt x="5667" y="1196"/>
                              <a:pt x="5547" y="1076"/>
                              <a:pt x="5427" y="897"/>
                            </a:cubicBezTo>
                            <a:cubicBezTo>
                              <a:pt x="5308" y="718"/>
                              <a:pt x="5188" y="598"/>
                              <a:pt x="5009" y="479"/>
                            </a:cubicBezTo>
                            <a:cubicBezTo>
                              <a:pt x="4889" y="419"/>
                              <a:pt x="4770" y="299"/>
                              <a:pt x="4650" y="239"/>
                            </a:cubicBezTo>
                            <a:cubicBezTo>
                              <a:pt x="4530" y="180"/>
                              <a:pt x="4411" y="120"/>
                              <a:pt x="4231" y="60"/>
                            </a:cubicBezTo>
                            <a:cubicBezTo>
                              <a:pt x="4112" y="0"/>
                              <a:pt x="3932" y="0"/>
                              <a:pt x="3813" y="0"/>
                            </a:cubicBezTo>
                            <a:cubicBezTo>
                              <a:pt x="3633" y="0"/>
                              <a:pt x="3513" y="0"/>
                              <a:pt x="3334" y="0"/>
                            </a:cubicBezTo>
                            <a:cubicBezTo>
                              <a:pt x="3155" y="0"/>
                              <a:pt x="2975" y="60"/>
                              <a:pt x="2736" y="120"/>
                            </a:cubicBezTo>
                            <a:cubicBezTo>
                              <a:pt x="2497" y="180"/>
                              <a:pt x="2377" y="239"/>
                              <a:pt x="2198" y="359"/>
                            </a:cubicBezTo>
                            <a:cubicBezTo>
                              <a:pt x="2018" y="479"/>
                              <a:pt x="1839" y="538"/>
                              <a:pt x="1659" y="718"/>
                            </a:cubicBezTo>
                            <a:cubicBezTo>
                              <a:pt x="1480" y="897"/>
                              <a:pt x="1301" y="1017"/>
                              <a:pt x="1181" y="1136"/>
                            </a:cubicBezTo>
                            <a:cubicBezTo>
                              <a:pt x="1002" y="1316"/>
                              <a:pt x="882" y="1435"/>
                              <a:pt x="763" y="1615"/>
                            </a:cubicBezTo>
                            <a:cubicBezTo>
                              <a:pt x="643" y="1794"/>
                              <a:pt x="523" y="1974"/>
                              <a:pt x="404" y="2153"/>
                            </a:cubicBezTo>
                            <a:cubicBezTo>
                              <a:pt x="284" y="2333"/>
                              <a:pt x="224" y="2572"/>
                              <a:pt x="164" y="2751"/>
                            </a:cubicBezTo>
                            <a:cubicBezTo>
                              <a:pt x="105" y="2930"/>
                              <a:pt x="45" y="3170"/>
                              <a:pt x="45" y="3349"/>
                            </a:cubicBezTo>
                            <a:cubicBezTo>
                              <a:pt x="-15" y="3589"/>
                              <a:pt x="-15" y="3828"/>
                              <a:pt x="45" y="4067"/>
                            </a:cubicBezTo>
                            <a:cubicBezTo>
                              <a:pt x="45" y="4306"/>
                              <a:pt x="105" y="4486"/>
                              <a:pt x="164" y="4725"/>
                            </a:cubicBezTo>
                            <a:cubicBezTo>
                              <a:pt x="224" y="4904"/>
                              <a:pt x="344" y="5084"/>
                              <a:pt x="464" y="5263"/>
                            </a:cubicBezTo>
                            <a:cubicBezTo>
                              <a:pt x="583" y="5443"/>
                              <a:pt x="703" y="5562"/>
                              <a:pt x="822" y="5682"/>
                            </a:cubicBezTo>
                          </a:path>
                        </a:pathLst>
                      </a:custGeom>
                      <a:noFill/>
                      <a:ln w="6350" cap="flat">
                        <a:solidFill>
                          <a:schemeClr val="bg1">
                            <a:alpha val="40000"/>
                          </a:schemeClr>
                        </a:solidFill>
                        <a:prstDash val="solid"/>
                        <a:miter/>
                      </a:ln>
                    </p:spPr>
                    <p:txBody>
                      <a:bodyPr rtlCol="0" anchor="ctr"/>
                      <a:lstStyle/>
                      <a:p>
                        <a:endParaRPr lang="en-GB"/>
                      </a:p>
                    </p:txBody>
                  </p:sp>
                  <p:sp>
                    <p:nvSpPr>
                      <p:cNvPr id="7565" name="Vrije vorm: vorm 7564">
                        <a:extLst>
                          <a:ext uri="{FF2B5EF4-FFF2-40B4-BE49-F238E27FC236}">
                            <a16:creationId xmlns:a16="http://schemas.microsoft.com/office/drawing/2014/main" id="{F44036AE-8BB5-4BCC-ABA6-DCD2187BD13F}"/>
                          </a:ext>
                        </a:extLst>
                      </p:cNvPr>
                      <p:cNvSpPr/>
                      <p:nvPr/>
                    </p:nvSpPr>
                    <p:spPr>
                      <a:xfrm>
                        <a:off x="5222864" y="5222660"/>
                        <a:ext cx="5827" cy="6130"/>
                      </a:xfrm>
                      <a:custGeom>
                        <a:avLst/>
                        <a:gdLst>
                          <a:gd name="connsiteX0" fmla="*/ 4366 w 5827"/>
                          <a:gd name="connsiteY0" fmla="*/ 1301 h 6130"/>
                          <a:gd name="connsiteX1" fmla="*/ 4366 w 5827"/>
                          <a:gd name="connsiteY1" fmla="*/ 1301 h 6130"/>
                          <a:gd name="connsiteX2" fmla="*/ 4426 w 5827"/>
                          <a:gd name="connsiteY2" fmla="*/ 1361 h 6130"/>
                          <a:gd name="connsiteX3" fmla="*/ 4486 w 5827"/>
                          <a:gd name="connsiteY3" fmla="*/ 1421 h 6130"/>
                          <a:gd name="connsiteX4" fmla="*/ 4545 w 5827"/>
                          <a:gd name="connsiteY4" fmla="*/ 1480 h 6130"/>
                          <a:gd name="connsiteX5" fmla="*/ 4725 w 5827"/>
                          <a:gd name="connsiteY5" fmla="*/ 1780 h 6130"/>
                          <a:gd name="connsiteX6" fmla="*/ 4844 w 5827"/>
                          <a:gd name="connsiteY6" fmla="*/ 2138 h 6130"/>
                          <a:gd name="connsiteX7" fmla="*/ 4904 w 5827"/>
                          <a:gd name="connsiteY7" fmla="*/ 2497 h 6130"/>
                          <a:gd name="connsiteX8" fmla="*/ 4904 w 5827"/>
                          <a:gd name="connsiteY8" fmla="*/ 2916 h 6130"/>
                          <a:gd name="connsiteX9" fmla="*/ 4785 w 5827"/>
                          <a:gd name="connsiteY9" fmla="*/ 3334 h 6130"/>
                          <a:gd name="connsiteX10" fmla="*/ 4605 w 5827"/>
                          <a:gd name="connsiteY10" fmla="*/ 3753 h 6130"/>
                          <a:gd name="connsiteX11" fmla="*/ 4366 w 5827"/>
                          <a:gd name="connsiteY11" fmla="*/ 4112 h 6130"/>
                          <a:gd name="connsiteX12" fmla="*/ 4067 w 5827"/>
                          <a:gd name="connsiteY12" fmla="*/ 4471 h 6130"/>
                          <a:gd name="connsiteX13" fmla="*/ 3409 w 5827"/>
                          <a:gd name="connsiteY13" fmla="*/ 4949 h 6130"/>
                          <a:gd name="connsiteX14" fmla="*/ 2751 w 5827"/>
                          <a:gd name="connsiteY14" fmla="*/ 5188 h 6130"/>
                          <a:gd name="connsiteX15" fmla="*/ 2093 w 5827"/>
                          <a:gd name="connsiteY15" fmla="*/ 5188 h 6130"/>
                          <a:gd name="connsiteX16" fmla="*/ 1555 w 5827"/>
                          <a:gd name="connsiteY16" fmla="*/ 4889 h 6130"/>
                          <a:gd name="connsiteX17" fmla="*/ 1375 w 5827"/>
                          <a:gd name="connsiteY17" fmla="*/ 4710 h 6130"/>
                          <a:gd name="connsiteX18" fmla="*/ 1196 w 5827"/>
                          <a:gd name="connsiteY18" fmla="*/ 4411 h 6130"/>
                          <a:gd name="connsiteX19" fmla="*/ 1076 w 5827"/>
                          <a:gd name="connsiteY19" fmla="*/ 4052 h 6130"/>
                          <a:gd name="connsiteX20" fmla="*/ 1017 w 5827"/>
                          <a:gd name="connsiteY20" fmla="*/ 3693 h 6130"/>
                          <a:gd name="connsiteX21" fmla="*/ 1017 w 5827"/>
                          <a:gd name="connsiteY21" fmla="*/ 3275 h 6130"/>
                          <a:gd name="connsiteX22" fmla="*/ 1136 w 5827"/>
                          <a:gd name="connsiteY22" fmla="*/ 2856 h 6130"/>
                          <a:gd name="connsiteX23" fmla="*/ 1316 w 5827"/>
                          <a:gd name="connsiteY23" fmla="*/ 2437 h 6130"/>
                          <a:gd name="connsiteX24" fmla="*/ 1555 w 5827"/>
                          <a:gd name="connsiteY24" fmla="*/ 2079 h 6130"/>
                          <a:gd name="connsiteX25" fmla="*/ 1854 w 5827"/>
                          <a:gd name="connsiteY25" fmla="*/ 1720 h 6130"/>
                          <a:gd name="connsiteX26" fmla="*/ 2512 w 5827"/>
                          <a:gd name="connsiteY26" fmla="*/ 1241 h 6130"/>
                          <a:gd name="connsiteX27" fmla="*/ 3229 w 5827"/>
                          <a:gd name="connsiteY27" fmla="*/ 1002 h 6130"/>
                          <a:gd name="connsiteX28" fmla="*/ 3887 w 5827"/>
                          <a:gd name="connsiteY28" fmla="*/ 1002 h 6130"/>
                          <a:gd name="connsiteX29" fmla="*/ 4366 w 5827"/>
                          <a:gd name="connsiteY29" fmla="*/ 1301 h 6130"/>
                          <a:gd name="connsiteX30" fmla="*/ 897 w 5827"/>
                          <a:gd name="connsiteY30" fmla="*/ 5667 h 6130"/>
                          <a:gd name="connsiteX31" fmla="*/ 1734 w 5827"/>
                          <a:gd name="connsiteY31" fmla="*/ 6085 h 6130"/>
                          <a:gd name="connsiteX32" fmla="*/ 2691 w 5827"/>
                          <a:gd name="connsiteY32" fmla="*/ 6085 h 6130"/>
                          <a:gd name="connsiteX33" fmla="*/ 3708 w 5827"/>
                          <a:gd name="connsiteY33" fmla="*/ 5727 h 6130"/>
                          <a:gd name="connsiteX34" fmla="*/ 4605 w 5827"/>
                          <a:gd name="connsiteY34" fmla="*/ 5009 h 6130"/>
                          <a:gd name="connsiteX35" fmla="*/ 5024 w 5827"/>
                          <a:gd name="connsiteY35" fmla="*/ 4471 h 6130"/>
                          <a:gd name="connsiteX36" fmla="*/ 5382 w 5827"/>
                          <a:gd name="connsiteY36" fmla="*/ 3933 h 6130"/>
                          <a:gd name="connsiteX37" fmla="*/ 5622 w 5827"/>
                          <a:gd name="connsiteY37" fmla="*/ 3334 h 6130"/>
                          <a:gd name="connsiteX38" fmla="*/ 5801 w 5827"/>
                          <a:gd name="connsiteY38" fmla="*/ 2736 h 6130"/>
                          <a:gd name="connsiteX39" fmla="*/ 5801 w 5827"/>
                          <a:gd name="connsiteY39" fmla="*/ 2138 h 6130"/>
                          <a:gd name="connsiteX40" fmla="*/ 5741 w 5827"/>
                          <a:gd name="connsiteY40" fmla="*/ 1600 h 6130"/>
                          <a:gd name="connsiteX41" fmla="*/ 5562 w 5827"/>
                          <a:gd name="connsiteY41" fmla="*/ 1121 h 6130"/>
                          <a:gd name="connsiteX42" fmla="*/ 5263 w 5827"/>
                          <a:gd name="connsiteY42" fmla="*/ 703 h 6130"/>
                          <a:gd name="connsiteX43" fmla="*/ 4964 w 5827"/>
                          <a:gd name="connsiteY43" fmla="*/ 464 h 6130"/>
                          <a:gd name="connsiteX44" fmla="*/ 4127 w 5827"/>
                          <a:gd name="connsiteY44" fmla="*/ 45 h 6130"/>
                          <a:gd name="connsiteX45" fmla="*/ 3170 w 5827"/>
                          <a:gd name="connsiteY45" fmla="*/ 45 h 6130"/>
                          <a:gd name="connsiteX46" fmla="*/ 2153 w 5827"/>
                          <a:gd name="connsiteY46" fmla="*/ 404 h 6130"/>
                          <a:gd name="connsiteX47" fmla="*/ 1196 w 5827"/>
                          <a:gd name="connsiteY47" fmla="*/ 1121 h 6130"/>
                          <a:gd name="connsiteX48" fmla="*/ 778 w 5827"/>
                          <a:gd name="connsiteY48" fmla="*/ 1660 h 6130"/>
                          <a:gd name="connsiteX49" fmla="*/ 419 w 5827"/>
                          <a:gd name="connsiteY49" fmla="*/ 2198 h 6130"/>
                          <a:gd name="connsiteX50" fmla="*/ 179 w 5827"/>
                          <a:gd name="connsiteY50" fmla="*/ 2796 h 6130"/>
                          <a:gd name="connsiteX51" fmla="*/ 60 w 5827"/>
                          <a:gd name="connsiteY51" fmla="*/ 3394 h 6130"/>
                          <a:gd name="connsiteX52" fmla="*/ 0 w 5827"/>
                          <a:gd name="connsiteY52" fmla="*/ 3992 h 6130"/>
                          <a:gd name="connsiteX53" fmla="*/ 60 w 5827"/>
                          <a:gd name="connsiteY53" fmla="*/ 4530 h 6130"/>
                          <a:gd name="connsiteX54" fmla="*/ 239 w 5827"/>
                          <a:gd name="connsiteY54" fmla="*/ 5009 h 6130"/>
                          <a:gd name="connsiteX55" fmla="*/ 538 w 5827"/>
                          <a:gd name="connsiteY55" fmla="*/ 5428 h 6130"/>
                          <a:gd name="connsiteX56" fmla="*/ 598 w 5827"/>
                          <a:gd name="connsiteY56" fmla="*/ 5488 h 6130"/>
                          <a:gd name="connsiteX57" fmla="*/ 658 w 5827"/>
                          <a:gd name="connsiteY57" fmla="*/ 5547 h 6130"/>
                          <a:gd name="connsiteX58" fmla="*/ 718 w 5827"/>
                          <a:gd name="connsiteY58" fmla="*/ 5607 h 6130"/>
                          <a:gd name="connsiteX59" fmla="*/ 897 w 5827"/>
                          <a:gd name="connsiteY59" fmla="*/ 5667 h 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827" h="6130">
                            <a:moveTo>
                              <a:pt x="4366" y="1301"/>
                            </a:moveTo>
                            <a:cubicBezTo>
                              <a:pt x="4366" y="1301"/>
                              <a:pt x="4366" y="1361"/>
                              <a:pt x="4366" y="1301"/>
                            </a:cubicBezTo>
                            <a:cubicBezTo>
                              <a:pt x="4426" y="1361"/>
                              <a:pt x="4426" y="1361"/>
                              <a:pt x="4426" y="1361"/>
                            </a:cubicBezTo>
                            <a:cubicBezTo>
                              <a:pt x="4426" y="1361"/>
                              <a:pt x="4426" y="1361"/>
                              <a:pt x="4486" y="1421"/>
                            </a:cubicBezTo>
                            <a:cubicBezTo>
                              <a:pt x="4486" y="1421"/>
                              <a:pt x="4486" y="1421"/>
                              <a:pt x="4545" y="1480"/>
                            </a:cubicBezTo>
                            <a:cubicBezTo>
                              <a:pt x="4605" y="1540"/>
                              <a:pt x="4665" y="1660"/>
                              <a:pt x="4725" y="1780"/>
                            </a:cubicBezTo>
                            <a:cubicBezTo>
                              <a:pt x="4785" y="1899"/>
                              <a:pt x="4844" y="2019"/>
                              <a:pt x="4844" y="2138"/>
                            </a:cubicBezTo>
                            <a:cubicBezTo>
                              <a:pt x="4844" y="2258"/>
                              <a:pt x="4904" y="2377"/>
                              <a:pt x="4904" y="2497"/>
                            </a:cubicBezTo>
                            <a:cubicBezTo>
                              <a:pt x="4904" y="2617"/>
                              <a:pt x="4904" y="2736"/>
                              <a:pt x="4904" y="2916"/>
                            </a:cubicBezTo>
                            <a:cubicBezTo>
                              <a:pt x="4904" y="3035"/>
                              <a:pt x="4844" y="3215"/>
                              <a:pt x="4785" y="3334"/>
                            </a:cubicBezTo>
                            <a:cubicBezTo>
                              <a:pt x="4725" y="3454"/>
                              <a:pt x="4665" y="3634"/>
                              <a:pt x="4605" y="3753"/>
                            </a:cubicBezTo>
                            <a:cubicBezTo>
                              <a:pt x="4545" y="3873"/>
                              <a:pt x="4486" y="3992"/>
                              <a:pt x="4366" y="4112"/>
                            </a:cubicBezTo>
                            <a:cubicBezTo>
                              <a:pt x="4306" y="4231"/>
                              <a:pt x="4187" y="4351"/>
                              <a:pt x="4067" y="4471"/>
                            </a:cubicBezTo>
                            <a:cubicBezTo>
                              <a:pt x="3887" y="4650"/>
                              <a:pt x="3648" y="4829"/>
                              <a:pt x="3409" y="4949"/>
                            </a:cubicBezTo>
                            <a:cubicBezTo>
                              <a:pt x="3170" y="5069"/>
                              <a:pt x="2930" y="5129"/>
                              <a:pt x="2751" y="5188"/>
                            </a:cubicBezTo>
                            <a:cubicBezTo>
                              <a:pt x="2512" y="5248"/>
                              <a:pt x="2273" y="5248"/>
                              <a:pt x="2093" y="5188"/>
                            </a:cubicBezTo>
                            <a:cubicBezTo>
                              <a:pt x="1914" y="5129"/>
                              <a:pt x="1674" y="5069"/>
                              <a:pt x="1555" y="4889"/>
                            </a:cubicBezTo>
                            <a:lnTo>
                              <a:pt x="1375" y="4710"/>
                            </a:lnTo>
                            <a:cubicBezTo>
                              <a:pt x="1316" y="4590"/>
                              <a:pt x="1256" y="4530"/>
                              <a:pt x="1196" y="4411"/>
                            </a:cubicBezTo>
                            <a:cubicBezTo>
                              <a:pt x="1136" y="4291"/>
                              <a:pt x="1076" y="4172"/>
                              <a:pt x="1076" y="4052"/>
                            </a:cubicBezTo>
                            <a:cubicBezTo>
                              <a:pt x="1017" y="3933"/>
                              <a:pt x="1017" y="3813"/>
                              <a:pt x="1017" y="3693"/>
                            </a:cubicBezTo>
                            <a:cubicBezTo>
                              <a:pt x="1017" y="3574"/>
                              <a:pt x="1017" y="3394"/>
                              <a:pt x="1017" y="3275"/>
                            </a:cubicBezTo>
                            <a:cubicBezTo>
                              <a:pt x="1017" y="3155"/>
                              <a:pt x="1076" y="2975"/>
                              <a:pt x="1136" y="2856"/>
                            </a:cubicBezTo>
                            <a:cubicBezTo>
                              <a:pt x="1196" y="2736"/>
                              <a:pt x="1256" y="2617"/>
                              <a:pt x="1316" y="2437"/>
                            </a:cubicBezTo>
                            <a:cubicBezTo>
                              <a:pt x="1375" y="2318"/>
                              <a:pt x="1435" y="2198"/>
                              <a:pt x="1555" y="2079"/>
                            </a:cubicBezTo>
                            <a:cubicBezTo>
                              <a:pt x="1615" y="1959"/>
                              <a:pt x="1734" y="1839"/>
                              <a:pt x="1854" y="1720"/>
                            </a:cubicBezTo>
                            <a:cubicBezTo>
                              <a:pt x="2033" y="1540"/>
                              <a:pt x="2273" y="1361"/>
                              <a:pt x="2512" y="1241"/>
                            </a:cubicBezTo>
                            <a:cubicBezTo>
                              <a:pt x="2751" y="1121"/>
                              <a:pt x="2990" y="1062"/>
                              <a:pt x="3229" y="1002"/>
                            </a:cubicBezTo>
                            <a:cubicBezTo>
                              <a:pt x="3469" y="942"/>
                              <a:pt x="3708" y="1002"/>
                              <a:pt x="3887" y="1002"/>
                            </a:cubicBezTo>
                            <a:cubicBezTo>
                              <a:pt x="4067" y="1002"/>
                              <a:pt x="4187" y="1181"/>
                              <a:pt x="4366" y="1301"/>
                            </a:cubicBezTo>
                            <a:moveTo>
                              <a:pt x="897" y="5667"/>
                            </a:moveTo>
                            <a:cubicBezTo>
                              <a:pt x="1136" y="5846"/>
                              <a:pt x="1435" y="5966"/>
                              <a:pt x="1734" y="6085"/>
                            </a:cubicBezTo>
                            <a:cubicBezTo>
                              <a:pt x="2033" y="6145"/>
                              <a:pt x="2392" y="6145"/>
                              <a:pt x="2691" y="6085"/>
                            </a:cubicBezTo>
                            <a:cubicBezTo>
                              <a:pt x="3050" y="6026"/>
                              <a:pt x="3349" y="5906"/>
                              <a:pt x="3708" y="5727"/>
                            </a:cubicBezTo>
                            <a:cubicBezTo>
                              <a:pt x="4007" y="5547"/>
                              <a:pt x="4366" y="5308"/>
                              <a:pt x="4605" y="5009"/>
                            </a:cubicBezTo>
                            <a:cubicBezTo>
                              <a:pt x="4785" y="4829"/>
                              <a:pt x="4904" y="4650"/>
                              <a:pt x="5024" y="4471"/>
                            </a:cubicBezTo>
                            <a:cubicBezTo>
                              <a:pt x="5143" y="4291"/>
                              <a:pt x="5263" y="4112"/>
                              <a:pt x="5382" y="3933"/>
                            </a:cubicBezTo>
                            <a:cubicBezTo>
                              <a:pt x="5502" y="3753"/>
                              <a:pt x="5562" y="3514"/>
                              <a:pt x="5622" y="3334"/>
                            </a:cubicBezTo>
                            <a:cubicBezTo>
                              <a:pt x="5682" y="3155"/>
                              <a:pt x="5741" y="2916"/>
                              <a:pt x="5801" y="2736"/>
                            </a:cubicBezTo>
                            <a:cubicBezTo>
                              <a:pt x="5801" y="2557"/>
                              <a:pt x="5861" y="2318"/>
                              <a:pt x="5801" y="2138"/>
                            </a:cubicBezTo>
                            <a:cubicBezTo>
                              <a:pt x="5801" y="1959"/>
                              <a:pt x="5741" y="1780"/>
                              <a:pt x="5741" y="1600"/>
                            </a:cubicBezTo>
                            <a:cubicBezTo>
                              <a:pt x="5682" y="1421"/>
                              <a:pt x="5622" y="1241"/>
                              <a:pt x="5562" y="1121"/>
                            </a:cubicBezTo>
                            <a:cubicBezTo>
                              <a:pt x="5502" y="942"/>
                              <a:pt x="5382" y="822"/>
                              <a:pt x="5263" y="703"/>
                            </a:cubicBezTo>
                            <a:lnTo>
                              <a:pt x="4964" y="464"/>
                            </a:lnTo>
                            <a:cubicBezTo>
                              <a:pt x="4725" y="284"/>
                              <a:pt x="4426" y="105"/>
                              <a:pt x="4127" y="45"/>
                            </a:cubicBezTo>
                            <a:cubicBezTo>
                              <a:pt x="3827" y="-15"/>
                              <a:pt x="3469" y="-15"/>
                              <a:pt x="3170" y="45"/>
                            </a:cubicBezTo>
                            <a:cubicBezTo>
                              <a:pt x="2811" y="105"/>
                              <a:pt x="2512" y="224"/>
                              <a:pt x="2153" y="404"/>
                            </a:cubicBezTo>
                            <a:cubicBezTo>
                              <a:pt x="1794" y="583"/>
                              <a:pt x="1495" y="822"/>
                              <a:pt x="1196" y="1121"/>
                            </a:cubicBezTo>
                            <a:cubicBezTo>
                              <a:pt x="1017" y="1301"/>
                              <a:pt x="897" y="1480"/>
                              <a:pt x="778" y="1660"/>
                            </a:cubicBezTo>
                            <a:cubicBezTo>
                              <a:pt x="658" y="1839"/>
                              <a:pt x="538" y="2019"/>
                              <a:pt x="419" y="2198"/>
                            </a:cubicBezTo>
                            <a:cubicBezTo>
                              <a:pt x="299" y="2377"/>
                              <a:pt x="239" y="2557"/>
                              <a:pt x="179" y="2796"/>
                            </a:cubicBezTo>
                            <a:cubicBezTo>
                              <a:pt x="119" y="2975"/>
                              <a:pt x="60" y="3215"/>
                              <a:pt x="60" y="3394"/>
                            </a:cubicBezTo>
                            <a:cubicBezTo>
                              <a:pt x="0" y="3574"/>
                              <a:pt x="0" y="3813"/>
                              <a:pt x="0" y="3992"/>
                            </a:cubicBezTo>
                            <a:cubicBezTo>
                              <a:pt x="0" y="4172"/>
                              <a:pt x="60" y="4351"/>
                              <a:pt x="60" y="4530"/>
                            </a:cubicBezTo>
                            <a:cubicBezTo>
                              <a:pt x="119" y="4710"/>
                              <a:pt x="179" y="4889"/>
                              <a:pt x="239" y="5009"/>
                            </a:cubicBezTo>
                            <a:cubicBezTo>
                              <a:pt x="299" y="5129"/>
                              <a:pt x="419" y="5308"/>
                              <a:pt x="538" y="5428"/>
                            </a:cubicBezTo>
                            <a:cubicBezTo>
                              <a:pt x="538" y="5428"/>
                              <a:pt x="598" y="5488"/>
                              <a:pt x="598" y="5488"/>
                            </a:cubicBezTo>
                            <a:cubicBezTo>
                              <a:pt x="598" y="5488"/>
                              <a:pt x="658" y="5547"/>
                              <a:pt x="658" y="5547"/>
                            </a:cubicBezTo>
                            <a:cubicBezTo>
                              <a:pt x="658" y="5547"/>
                              <a:pt x="718" y="5607"/>
                              <a:pt x="718" y="5607"/>
                            </a:cubicBezTo>
                            <a:cubicBezTo>
                              <a:pt x="837" y="5667"/>
                              <a:pt x="837" y="5667"/>
                              <a:pt x="897" y="5667"/>
                            </a:cubicBezTo>
                          </a:path>
                        </a:pathLst>
                      </a:custGeom>
                      <a:noFill/>
                      <a:ln w="6350" cap="flat">
                        <a:solidFill>
                          <a:schemeClr val="bg1">
                            <a:alpha val="40000"/>
                          </a:schemeClr>
                        </a:solidFill>
                        <a:prstDash val="solid"/>
                        <a:miter/>
                      </a:ln>
                    </p:spPr>
                    <p:txBody>
                      <a:bodyPr rtlCol="0" anchor="ctr"/>
                      <a:lstStyle/>
                      <a:p>
                        <a:endParaRPr lang="en-GB"/>
                      </a:p>
                    </p:txBody>
                  </p:sp>
                  <p:sp>
                    <p:nvSpPr>
                      <p:cNvPr id="7566" name="Vrije vorm: vorm 7565">
                        <a:extLst>
                          <a:ext uri="{FF2B5EF4-FFF2-40B4-BE49-F238E27FC236}">
                            <a16:creationId xmlns:a16="http://schemas.microsoft.com/office/drawing/2014/main" id="{119D415E-EF16-4C06-A970-B56CB41D3768}"/>
                          </a:ext>
                        </a:extLst>
                      </p:cNvPr>
                      <p:cNvSpPr/>
                      <p:nvPr/>
                    </p:nvSpPr>
                    <p:spPr>
                      <a:xfrm>
                        <a:off x="5227784" y="5213256"/>
                        <a:ext cx="5846" cy="6159"/>
                      </a:xfrm>
                      <a:custGeom>
                        <a:avLst/>
                        <a:gdLst>
                          <a:gd name="connsiteX0" fmla="*/ 4231 w 5846"/>
                          <a:gd name="connsiteY0" fmla="*/ 1256 h 6159"/>
                          <a:gd name="connsiteX1" fmla="*/ 4530 w 5846"/>
                          <a:gd name="connsiteY1" fmla="*/ 1555 h 6159"/>
                          <a:gd name="connsiteX2" fmla="*/ 4710 w 5846"/>
                          <a:gd name="connsiteY2" fmla="*/ 1914 h 6159"/>
                          <a:gd name="connsiteX3" fmla="*/ 4829 w 5846"/>
                          <a:gd name="connsiteY3" fmla="*/ 2332 h 6159"/>
                          <a:gd name="connsiteX4" fmla="*/ 4829 w 5846"/>
                          <a:gd name="connsiteY4" fmla="*/ 2811 h 6159"/>
                          <a:gd name="connsiteX5" fmla="*/ 4710 w 5846"/>
                          <a:gd name="connsiteY5" fmla="*/ 3229 h 6159"/>
                          <a:gd name="connsiteX6" fmla="*/ 4530 w 5846"/>
                          <a:gd name="connsiteY6" fmla="*/ 3648 h 6159"/>
                          <a:gd name="connsiteX7" fmla="*/ 4291 w 5846"/>
                          <a:gd name="connsiteY7" fmla="*/ 4007 h 6159"/>
                          <a:gd name="connsiteX8" fmla="*/ 3992 w 5846"/>
                          <a:gd name="connsiteY8" fmla="*/ 4306 h 6159"/>
                          <a:gd name="connsiteX9" fmla="*/ 3633 w 5846"/>
                          <a:gd name="connsiteY9" fmla="*/ 4605 h 6159"/>
                          <a:gd name="connsiteX10" fmla="*/ 3274 w 5846"/>
                          <a:gd name="connsiteY10" fmla="*/ 4844 h 6159"/>
                          <a:gd name="connsiteX11" fmla="*/ 2916 w 5846"/>
                          <a:gd name="connsiteY11" fmla="*/ 5024 h 6159"/>
                          <a:gd name="connsiteX12" fmla="*/ 2497 w 5846"/>
                          <a:gd name="connsiteY12" fmla="*/ 5083 h 6159"/>
                          <a:gd name="connsiteX13" fmla="*/ 2198 w 5846"/>
                          <a:gd name="connsiteY13" fmla="*/ 5083 h 6159"/>
                          <a:gd name="connsiteX14" fmla="*/ 1899 w 5846"/>
                          <a:gd name="connsiteY14" fmla="*/ 5024 h 6159"/>
                          <a:gd name="connsiteX15" fmla="*/ 1660 w 5846"/>
                          <a:gd name="connsiteY15" fmla="*/ 4904 h 6159"/>
                          <a:gd name="connsiteX16" fmla="*/ 1420 w 5846"/>
                          <a:gd name="connsiteY16" fmla="*/ 4725 h 6159"/>
                          <a:gd name="connsiteX17" fmla="*/ 1121 w 5846"/>
                          <a:gd name="connsiteY17" fmla="*/ 4426 h 6159"/>
                          <a:gd name="connsiteX18" fmla="*/ 942 w 5846"/>
                          <a:gd name="connsiteY18" fmla="*/ 4067 h 6159"/>
                          <a:gd name="connsiteX19" fmla="*/ 882 w 5846"/>
                          <a:gd name="connsiteY19" fmla="*/ 3648 h 6159"/>
                          <a:gd name="connsiteX20" fmla="*/ 882 w 5846"/>
                          <a:gd name="connsiteY20" fmla="*/ 3170 h 6159"/>
                          <a:gd name="connsiteX21" fmla="*/ 1002 w 5846"/>
                          <a:gd name="connsiteY21" fmla="*/ 2751 h 6159"/>
                          <a:gd name="connsiteX22" fmla="*/ 1181 w 5846"/>
                          <a:gd name="connsiteY22" fmla="*/ 2332 h 6159"/>
                          <a:gd name="connsiteX23" fmla="*/ 1420 w 5846"/>
                          <a:gd name="connsiteY23" fmla="*/ 1973 h 6159"/>
                          <a:gd name="connsiteX24" fmla="*/ 1719 w 5846"/>
                          <a:gd name="connsiteY24" fmla="*/ 1615 h 6159"/>
                          <a:gd name="connsiteX25" fmla="*/ 2078 w 5846"/>
                          <a:gd name="connsiteY25" fmla="*/ 1316 h 6159"/>
                          <a:gd name="connsiteX26" fmla="*/ 2437 w 5846"/>
                          <a:gd name="connsiteY26" fmla="*/ 1076 h 6159"/>
                          <a:gd name="connsiteX27" fmla="*/ 2796 w 5846"/>
                          <a:gd name="connsiteY27" fmla="*/ 897 h 6159"/>
                          <a:gd name="connsiteX28" fmla="*/ 3215 w 5846"/>
                          <a:gd name="connsiteY28" fmla="*/ 837 h 6159"/>
                          <a:gd name="connsiteX29" fmla="*/ 3514 w 5846"/>
                          <a:gd name="connsiteY29" fmla="*/ 837 h 6159"/>
                          <a:gd name="connsiteX30" fmla="*/ 3813 w 5846"/>
                          <a:gd name="connsiteY30" fmla="*/ 897 h 6159"/>
                          <a:gd name="connsiteX31" fmla="*/ 4052 w 5846"/>
                          <a:gd name="connsiteY31" fmla="*/ 1017 h 6159"/>
                          <a:gd name="connsiteX32" fmla="*/ 4231 w 5846"/>
                          <a:gd name="connsiteY32" fmla="*/ 1256 h 6159"/>
                          <a:gd name="connsiteX33" fmla="*/ 763 w 5846"/>
                          <a:gd name="connsiteY33" fmla="*/ 5681 h 6159"/>
                          <a:gd name="connsiteX34" fmla="*/ 1121 w 5846"/>
                          <a:gd name="connsiteY34" fmla="*/ 5921 h 6159"/>
                          <a:gd name="connsiteX35" fmla="*/ 1540 w 5846"/>
                          <a:gd name="connsiteY35" fmla="*/ 6100 h 6159"/>
                          <a:gd name="connsiteX36" fmla="*/ 1959 w 5846"/>
                          <a:gd name="connsiteY36" fmla="*/ 6160 h 6159"/>
                          <a:gd name="connsiteX37" fmla="*/ 2437 w 5846"/>
                          <a:gd name="connsiteY37" fmla="*/ 6160 h 6159"/>
                          <a:gd name="connsiteX38" fmla="*/ 3573 w 5846"/>
                          <a:gd name="connsiteY38" fmla="*/ 5801 h 6159"/>
                          <a:gd name="connsiteX39" fmla="*/ 4590 w 5846"/>
                          <a:gd name="connsiteY39" fmla="*/ 5024 h 6159"/>
                          <a:gd name="connsiteX40" fmla="*/ 5368 w 5846"/>
                          <a:gd name="connsiteY40" fmla="*/ 4007 h 6159"/>
                          <a:gd name="connsiteX41" fmla="*/ 5786 w 5846"/>
                          <a:gd name="connsiteY41" fmla="*/ 2811 h 6159"/>
                          <a:gd name="connsiteX42" fmla="*/ 5846 w 5846"/>
                          <a:gd name="connsiteY42" fmla="*/ 2093 h 6159"/>
                          <a:gd name="connsiteX43" fmla="*/ 5726 w 5846"/>
                          <a:gd name="connsiteY43" fmla="*/ 1435 h 6159"/>
                          <a:gd name="connsiteX44" fmla="*/ 5427 w 5846"/>
                          <a:gd name="connsiteY44" fmla="*/ 897 h 6159"/>
                          <a:gd name="connsiteX45" fmla="*/ 5009 w 5846"/>
                          <a:gd name="connsiteY45" fmla="*/ 478 h 6159"/>
                          <a:gd name="connsiteX46" fmla="*/ 4650 w 5846"/>
                          <a:gd name="connsiteY46" fmla="*/ 239 h 6159"/>
                          <a:gd name="connsiteX47" fmla="*/ 4291 w 5846"/>
                          <a:gd name="connsiteY47" fmla="*/ 60 h 6159"/>
                          <a:gd name="connsiteX48" fmla="*/ 3872 w 5846"/>
                          <a:gd name="connsiteY48" fmla="*/ 0 h 6159"/>
                          <a:gd name="connsiteX49" fmla="*/ 3394 w 5846"/>
                          <a:gd name="connsiteY49" fmla="*/ 0 h 6159"/>
                          <a:gd name="connsiteX50" fmla="*/ 2796 w 5846"/>
                          <a:gd name="connsiteY50" fmla="*/ 119 h 6159"/>
                          <a:gd name="connsiteX51" fmla="*/ 2258 w 5846"/>
                          <a:gd name="connsiteY51" fmla="*/ 359 h 6159"/>
                          <a:gd name="connsiteX52" fmla="*/ 1719 w 5846"/>
                          <a:gd name="connsiteY52" fmla="*/ 718 h 6159"/>
                          <a:gd name="connsiteX53" fmla="*/ 1241 w 5846"/>
                          <a:gd name="connsiteY53" fmla="*/ 1136 h 6159"/>
                          <a:gd name="connsiteX54" fmla="*/ 822 w 5846"/>
                          <a:gd name="connsiteY54" fmla="*/ 1615 h 6159"/>
                          <a:gd name="connsiteX55" fmla="*/ 463 w 5846"/>
                          <a:gd name="connsiteY55" fmla="*/ 2153 h 6159"/>
                          <a:gd name="connsiteX56" fmla="*/ 224 w 5846"/>
                          <a:gd name="connsiteY56" fmla="*/ 2751 h 6159"/>
                          <a:gd name="connsiteX57" fmla="*/ 45 w 5846"/>
                          <a:gd name="connsiteY57" fmla="*/ 3349 h 6159"/>
                          <a:gd name="connsiteX58" fmla="*/ 45 w 5846"/>
                          <a:gd name="connsiteY58" fmla="*/ 4067 h 6159"/>
                          <a:gd name="connsiteX59" fmla="*/ 164 w 5846"/>
                          <a:gd name="connsiteY59" fmla="*/ 4725 h 6159"/>
                          <a:gd name="connsiteX60" fmla="*/ 463 w 5846"/>
                          <a:gd name="connsiteY60" fmla="*/ 5263 h 6159"/>
                          <a:gd name="connsiteX61" fmla="*/ 763 w 5846"/>
                          <a:gd name="connsiteY61" fmla="*/ 5681 h 6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846" h="6159">
                            <a:moveTo>
                              <a:pt x="4231" y="1256"/>
                            </a:moveTo>
                            <a:cubicBezTo>
                              <a:pt x="4351" y="1316"/>
                              <a:pt x="4411" y="1435"/>
                              <a:pt x="4530" y="1555"/>
                            </a:cubicBezTo>
                            <a:cubicBezTo>
                              <a:pt x="4590" y="1674"/>
                              <a:pt x="4650" y="1794"/>
                              <a:pt x="4710" y="1914"/>
                            </a:cubicBezTo>
                            <a:cubicBezTo>
                              <a:pt x="4770" y="2033"/>
                              <a:pt x="4770" y="2213"/>
                              <a:pt x="4829" y="2332"/>
                            </a:cubicBezTo>
                            <a:cubicBezTo>
                              <a:pt x="4889" y="2452"/>
                              <a:pt x="4829" y="2631"/>
                              <a:pt x="4829" y="2811"/>
                            </a:cubicBezTo>
                            <a:cubicBezTo>
                              <a:pt x="4829" y="2930"/>
                              <a:pt x="4770" y="3110"/>
                              <a:pt x="4710" y="3229"/>
                            </a:cubicBezTo>
                            <a:cubicBezTo>
                              <a:pt x="4650" y="3349"/>
                              <a:pt x="4590" y="3469"/>
                              <a:pt x="4530" y="3648"/>
                            </a:cubicBezTo>
                            <a:cubicBezTo>
                              <a:pt x="4471" y="3768"/>
                              <a:pt x="4411" y="3887"/>
                              <a:pt x="4291" y="4007"/>
                            </a:cubicBezTo>
                            <a:cubicBezTo>
                              <a:pt x="4231" y="4126"/>
                              <a:pt x="4112" y="4246"/>
                              <a:pt x="3992" y="4306"/>
                            </a:cubicBezTo>
                            <a:cubicBezTo>
                              <a:pt x="3872" y="4426"/>
                              <a:pt x="3753" y="4486"/>
                              <a:pt x="3633" y="4605"/>
                            </a:cubicBezTo>
                            <a:cubicBezTo>
                              <a:pt x="3514" y="4665"/>
                              <a:pt x="3394" y="4785"/>
                              <a:pt x="3274" y="4844"/>
                            </a:cubicBezTo>
                            <a:cubicBezTo>
                              <a:pt x="3155" y="4904"/>
                              <a:pt x="3035" y="4964"/>
                              <a:pt x="2916" y="5024"/>
                            </a:cubicBezTo>
                            <a:cubicBezTo>
                              <a:pt x="2796" y="5083"/>
                              <a:pt x="2676" y="5083"/>
                              <a:pt x="2497" y="5083"/>
                            </a:cubicBezTo>
                            <a:cubicBezTo>
                              <a:pt x="2377" y="5083"/>
                              <a:pt x="2317" y="5083"/>
                              <a:pt x="2198" y="5083"/>
                            </a:cubicBezTo>
                            <a:cubicBezTo>
                              <a:pt x="2078" y="5083"/>
                              <a:pt x="2018" y="5083"/>
                              <a:pt x="1899" y="5024"/>
                            </a:cubicBezTo>
                            <a:cubicBezTo>
                              <a:pt x="1779" y="5024"/>
                              <a:pt x="1719" y="4964"/>
                              <a:pt x="1660" y="4904"/>
                            </a:cubicBezTo>
                            <a:cubicBezTo>
                              <a:pt x="1600" y="4844"/>
                              <a:pt x="1480" y="4785"/>
                              <a:pt x="1420" y="4725"/>
                            </a:cubicBezTo>
                            <a:cubicBezTo>
                              <a:pt x="1301" y="4665"/>
                              <a:pt x="1241" y="4545"/>
                              <a:pt x="1121" y="4426"/>
                            </a:cubicBezTo>
                            <a:cubicBezTo>
                              <a:pt x="1062" y="4306"/>
                              <a:pt x="1002" y="4186"/>
                              <a:pt x="942" y="4067"/>
                            </a:cubicBezTo>
                            <a:cubicBezTo>
                              <a:pt x="882" y="3947"/>
                              <a:pt x="882" y="3768"/>
                              <a:pt x="882" y="3648"/>
                            </a:cubicBezTo>
                            <a:cubicBezTo>
                              <a:pt x="882" y="3469"/>
                              <a:pt x="882" y="3349"/>
                              <a:pt x="882" y="3170"/>
                            </a:cubicBezTo>
                            <a:cubicBezTo>
                              <a:pt x="882" y="3050"/>
                              <a:pt x="942" y="2871"/>
                              <a:pt x="1002" y="2751"/>
                            </a:cubicBezTo>
                            <a:cubicBezTo>
                              <a:pt x="1062" y="2631"/>
                              <a:pt x="1121" y="2452"/>
                              <a:pt x="1181" y="2332"/>
                            </a:cubicBezTo>
                            <a:cubicBezTo>
                              <a:pt x="1241" y="2213"/>
                              <a:pt x="1301" y="2093"/>
                              <a:pt x="1420" y="1973"/>
                            </a:cubicBezTo>
                            <a:cubicBezTo>
                              <a:pt x="1540" y="1854"/>
                              <a:pt x="1600" y="1734"/>
                              <a:pt x="1719" y="1615"/>
                            </a:cubicBezTo>
                            <a:cubicBezTo>
                              <a:pt x="1839" y="1495"/>
                              <a:pt x="1959" y="1435"/>
                              <a:pt x="2078" y="1316"/>
                            </a:cubicBezTo>
                            <a:cubicBezTo>
                              <a:pt x="2198" y="1256"/>
                              <a:pt x="2317" y="1136"/>
                              <a:pt x="2437" y="1076"/>
                            </a:cubicBezTo>
                            <a:cubicBezTo>
                              <a:pt x="2557" y="1017"/>
                              <a:pt x="2676" y="957"/>
                              <a:pt x="2796" y="897"/>
                            </a:cubicBezTo>
                            <a:cubicBezTo>
                              <a:pt x="2916" y="837"/>
                              <a:pt x="3035" y="837"/>
                              <a:pt x="3215" y="837"/>
                            </a:cubicBezTo>
                            <a:cubicBezTo>
                              <a:pt x="3334" y="837"/>
                              <a:pt x="3394" y="837"/>
                              <a:pt x="3514" y="837"/>
                            </a:cubicBezTo>
                            <a:cubicBezTo>
                              <a:pt x="3633" y="837"/>
                              <a:pt x="3693" y="837"/>
                              <a:pt x="3813" y="897"/>
                            </a:cubicBezTo>
                            <a:cubicBezTo>
                              <a:pt x="3932" y="897"/>
                              <a:pt x="3992" y="957"/>
                              <a:pt x="4052" y="1017"/>
                            </a:cubicBezTo>
                            <a:cubicBezTo>
                              <a:pt x="4052" y="1196"/>
                              <a:pt x="4171" y="1196"/>
                              <a:pt x="4231" y="1256"/>
                            </a:cubicBezTo>
                            <a:moveTo>
                              <a:pt x="763" y="5681"/>
                            </a:moveTo>
                            <a:cubicBezTo>
                              <a:pt x="882" y="5741"/>
                              <a:pt x="1002" y="5861"/>
                              <a:pt x="1121" y="5921"/>
                            </a:cubicBezTo>
                            <a:cubicBezTo>
                              <a:pt x="1241" y="5981"/>
                              <a:pt x="1361" y="6040"/>
                              <a:pt x="1540" y="6100"/>
                            </a:cubicBezTo>
                            <a:cubicBezTo>
                              <a:pt x="1660" y="6160"/>
                              <a:pt x="1839" y="6160"/>
                              <a:pt x="1959" y="6160"/>
                            </a:cubicBezTo>
                            <a:cubicBezTo>
                              <a:pt x="2138" y="6160"/>
                              <a:pt x="2258" y="6160"/>
                              <a:pt x="2437" y="6160"/>
                            </a:cubicBezTo>
                            <a:cubicBezTo>
                              <a:pt x="2856" y="6100"/>
                              <a:pt x="3215" y="5981"/>
                              <a:pt x="3573" y="5801"/>
                            </a:cubicBezTo>
                            <a:cubicBezTo>
                              <a:pt x="3932" y="5622"/>
                              <a:pt x="4291" y="5382"/>
                              <a:pt x="4590" y="5024"/>
                            </a:cubicBezTo>
                            <a:cubicBezTo>
                              <a:pt x="4889" y="4665"/>
                              <a:pt x="5128" y="4366"/>
                              <a:pt x="5368" y="4007"/>
                            </a:cubicBezTo>
                            <a:cubicBezTo>
                              <a:pt x="5547" y="3648"/>
                              <a:pt x="5726" y="3229"/>
                              <a:pt x="5786" y="2811"/>
                            </a:cubicBezTo>
                            <a:cubicBezTo>
                              <a:pt x="5846" y="2572"/>
                              <a:pt x="5846" y="2332"/>
                              <a:pt x="5846" y="2093"/>
                            </a:cubicBezTo>
                            <a:cubicBezTo>
                              <a:pt x="5846" y="1854"/>
                              <a:pt x="5786" y="1615"/>
                              <a:pt x="5726" y="1435"/>
                            </a:cubicBezTo>
                            <a:cubicBezTo>
                              <a:pt x="5667" y="1256"/>
                              <a:pt x="5547" y="1076"/>
                              <a:pt x="5427" y="897"/>
                            </a:cubicBezTo>
                            <a:cubicBezTo>
                              <a:pt x="5308" y="718"/>
                              <a:pt x="5188" y="598"/>
                              <a:pt x="5009" y="478"/>
                            </a:cubicBezTo>
                            <a:cubicBezTo>
                              <a:pt x="4889" y="418"/>
                              <a:pt x="4770" y="299"/>
                              <a:pt x="4650" y="239"/>
                            </a:cubicBezTo>
                            <a:cubicBezTo>
                              <a:pt x="4530" y="179"/>
                              <a:pt x="4411" y="119"/>
                              <a:pt x="4291" y="60"/>
                            </a:cubicBezTo>
                            <a:cubicBezTo>
                              <a:pt x="4171" y="0"/>
                              <a:pt x="3992" y="0"/>
                              <a:pt x="3872" y="0"/>
                            </a:cubicBezTo>
                            <a:cubicBezTo>
                              <a:pt x="3753" y="0"/>
                              <a:pt x="3573" y="0"/>
                              <a:pt x="3394" y="0"/>
                            </a:cubicBezTo>
                            <a:cubicBezTo>
                              <a:pt x="3215" y="0"/>
                              <a:pt x="2975" y="60"/>
                              <a:pt x="2796" y="119"/>
                            </a:cubicBezTo>
                            <a:cubicBezTo>
                              <a:pt x="2617" y="179"/>
                              <a:pt x="2437" y="239"/>
                              <a:pt x="2258" y="359"/>
                            </a:cubicBezTo>
                            <a:cubicBezTo>
                              <a:pt x="2078" y="478"/>
                              <a:pt x="1899" y="538"/>
                              <a:pt x="1719" y="718"/>
                            </a:cubicBezTo>
                            <a:cubicBezTo>
                              <a:pt x="1540" y="897"/>
                              <a:pt x="1361" y="1017"/>
                              <a:pt x="1241" y="1136"/>
                            </a:cubicBezTo>
                            <a:cubicBezTo>
                              <a:pt x="1062" y="1316"/>
                              <a:pt x="942" y="1435"/>
                              <a:pt x="822" y="1615"/>
                            </a:cubicBezTo>
                            <a:cubicBezTo>
                              <a:pt x="703" y="1794"/>
                              <a:pt x="583" y="1973"/>
                              <a:pt x="463" y="2153"/>
                            </a:cubicBezTo>
                            <a:cubicBezTo>
                              <a:pt x="344" y="2332"/>
                              <a:pt x="284" y="2572"/>
                              <a:pt x="224" y="2751"/>
                            </a:cubicBezTo>
                            <a:cubicBezTo>
                              <a:pt x="164" y="2930"/>
                              <a:pt x="104" y="3170"/>
                              <a:pt x="45" y="3349"/>
                            </a:cubicBezTo>
                            <a:cubicBezTo>
                              <a:pt x="-15" y="3588"/>
                              <a:pt x="-15" y="3827"/>
                              <a:pt x="45" y="4067"/>
                            </a:cubicBezTo>
                            <a:cubicBezTo>
                              <a:pt x="45" y="4306"/>
                              <a:pt x="104" y="4486"/>
                              <a:pt x="164" y="4725"/>
                            </a:cubicBezTo>
                            <a:cubicBezTo>
                              <a:pt x="224" y="4904"/>
                              <a:pt x="344" y="5083"/>
                              <a:pt x="463" y="5263"/>
                            </a:cubicBezTo>
                            <a:cubicBezTo>
                              <a:pt x="463" y="5382"/>
                              <a:pt x="583" y="5562"/>
                              <a:pt x="763" y="5681"/>
                            </a:cubicBezTo>
                          </a:path>
                        </a:pathLst>
                      </a:custGeom>
                      <a:noFill/>
                      <a:ln w="6350" cap="flat">
                        <a:solidFill>
                          <a:schemeClr val="bg1">
                            <a:alpha val="40000"/>
                          </a:schemeClr>
                        </a:solidFill>
                        <a:prstDash val="solid"/>
                        <a:miter/>
                      </a:ln>
                    </p:spPr>
                    <p:txBody>
                      <a:bodyPr rtlCol="0" anchor="ctr"/>
                      <a:lstStyle/>
                      <a:p>
                        <a:endParaRPr lang="en-GB"/>
                      </a:p>
                    </p:txBody>
                  </p:sp>
                  <p:sp>
                    <p:nvSpPr>
                      <p:cNvPr id="7567" name="Vrije vorm: vorm 7566">
                        <a:extLst>
                          <a:ext uri="{FF2B5EF4-FFF2-40B4-BE49-F238E27FC236}">
                            <a16:creationId xmlns:a16="http://schemas.microsoft.com/office/drawing/2014/main" id="{F0DC3DA6-F6DA-460F-A73F-9A78B52723E0}"/>
                          </a:ext>
                        </a:extLst>
                      </p:cNvPr>
                      <p:cNvSpPr/>
                      <p:nvPr/>
                    </p:nvSpPr>
                    <p:spPr>
                      <a:xfrm>
                        <a:off x="5225516" y="5204524"/>
                        <a:ext cx="5807" cy="6100"/>
                      </a:xfrm>
                      <a:custGeom>
                        <a:avLst/>
                        <a:gdLst>
                          <a:gd name="connsiteX0" fmla="*/ 4704 w 5807"/>
                          <a:gd name="connsiteY0" fmla="*/ 3409 h 6100"/>
                          <a:gd name="connsiteX1" fmla="*/ 4584 w 5807"/>
                          <a:gd name="connsiteY1" fmla="*/ 3648 h 6100"/>
                          <a:gd name="connsiteX2" fmla="*/ 4465 w 5807"/>
                          <a:gd name="connsiteY2" fmla="*/ 3887 h 6100"/>
                          <a:gd name="connsiteX3" fmla="*/ 4285 w 5807"/>
                          <a:gd name="connsiteY3" fmla="*/ 4127 h 6100"/>
                          <a:gd name="connsiteX4" fmla="*/ 4106 w 5807"/>
                          <a:gd name="connsiteY4" fmla="*/ 4366 h 6100"/>
                          <a:gd name="connsiteX5" fmla="*/ 3747 w 5807"/>
                          <a:gd name="connsiteY5" fmla="*/ 4665 h 6100"/>
                          <a:gd name="connsiteX6" fmla="*/ 3389 w 5807"/>
                          <a:gd name="connsiteY6" fmla="*/ 4904 h 6100"/>
                          <a:gd name="connsiteX7" fmla="*/ 3030 w 5807"/>
                          <a:gd name="connsiteY7" fmla="*/ 5083 h 6100"/>
                          <a:gd name="connsiteX8" fmla="*/ 2671 w 5807"/>
                          <a:gd name="connsiteY8" fmla="*/ 5143 h 6100"/>
                          <a:gd name="connsiteX9" fmla="*/ 2372 w 5807"/>
                          <a:gd name="connsiteY9" fmla="*/ 5143 h 6100"/>
                          <a:gd name="connsiteX10" fmla="*/ 2073 w 5807"/>
                          <a:gd name="connsiteY10" fmla="*/ 5083 h 6100"/>
                          <a:gd name="connsiteX11" fmla="*/ 1833 w 5807"/>
                          <a:gd name="connsiteY11" fmla="*/ 4964 h 6100"/>
                          <a:gd name="connsiteX12" fmla="*/ 1594 w 5807"/>
                          <a:gd name="connsiteY12" fmla="*/ 4785 h 6100"/>
                          <a:gd name="connsiteX13" fmla="*/ 1415 w 5807"/>
                          <a:gd name="connsiteY13" fmla="*/ 4605 h 6100"/>
                          <a:gd name="connsiteX14" fmla="*/ 1056 w 5807"/>
                          <a:gd name="connsiteY14" fmla="*/ 3947 h 6100"/>
                          <a:gd name="connsiteX15" fmla="*/ 996 w 5807"/>
                          <a:gd name="connsiteY15" fmla="*/ 3170 h 6100"/>
                          <a:gd name="connsiteX16" fmla="*/ 1235 w 5807"/>
                          <a:gd name="connsiteY16" fmla="*/ 2392 h 6100"/>
                          <a:gd name="connsiteX17" fmla="*/ 1774 w 5807"/>
                          <a:gd name="connsiteY17" fmla="*/ 1674 h 6100"/>
                          <a:gd name="connsiteX18" fmla="*/ 2132 w 5807"/>
                          <a:gd name="connsiteY18" fmla="*/ 1375 h 6100"/>
                          <a:gd name="connsiteX19" fmla="*/ 2551 w 5807"/>
                          <a:gd name="connsiteY19" fmla="*/ 1136 h 6100"/>
                          <a:gd name="connsiteX20" fmla="*/ 2970 w 5807"/>
                          <a:gd name="connsiteY20" fmla="*/ 1017 h 6100"/>
                          <a:gd name="connsiteX21" fmla="*/ 3389 w 5807"/>
                          <a:gd name="connsiteY21" fmla="*/ 957 h 6100"/>
                          <a:gd name="connsiteX22" fmla="*/ 3389 w 5807"/>
                          <a:gd name="connsiteY22" fmla="*/ 957 h 6100"/>
                          <a:gd name="connsiteX23" fmla="*/ 3389 w 5807"/>
                          <a:gd name="connsiteY23" fmla="*/ 957 h 6100"/>
                          <a:gd name="connsiteX24" fmla="*/ 3389 w 5807"/>
                          <a:gd name="connsiteY24" fmla="*/ 957 h 6100"/>
                          <a:gd name="connsiteX25" fmla="*/ 3389 w 5807"/>
                          <a:gd name="connsiteY25" fmla="*/ 957 h 6100"/>
                          <a:gd name="connsiteX26" fmla="*/ 3628 w 5807"/>
                          <a:gd name="connsiteY26" fmla="*/ 957 h 6100"/>
                          <a:gd name="connsiteX27" fmla="*/ 3867 w 5807"/>
                          <a:gd name="connsiteY27" fmla="*/ 1017 h 6100"/>
                          <a:gd name="connsiteX28" fmla="*/ 4106 w 5807"/>
                          <a:gd name="connsiteY28" fmla="*/ 1136 h 6100"/>
                          <a:gd name="connsiteX29" fmla="*/ 4345 w 5807"/>
                          <a:gd name="connsiteY29" fmla="*/ 1256 h 6100"/>
                          <a:gd name="connsiteX30" fmla="*/ 4405 w 5807"/>
                          <a:gd name="connsiteY30" fmla="*/ 1316 h 6100"/>
                          <a:gd name="connsiteX31" fmla="*/ 4465 w 5807"/>
                          <a:gd name="connsiteY31" fmla="*/ 1375 h 6100"/>
                          <a:gd name="connsiteX32" fmla="*/ 4525 w 5807"/>
                          <a:gd name="connsiteY32" fmla="*/ 1435 h 6100"/>
                          <a:gd name="connsiteX33" fmla="*/ 4584 w 5807"/>
                          <a:gd name="connsiteY33" fmla="*/ 1495 h 6100"/>
                          <a:gd name="connsiteX34" fmla="*/ 4764 w 5807"/>
                          <a:gd name="connsiteY34" fmla="*/ 1794 h 6100"/>
                          <a:gd name="connsiteX35" fmla="*/ 4884 w 5807"/>
                          <a:gd name="connsiteY35" fmla="*/ 2153 h 6100"/>
                          <a:gd name="connsiteX36" fmla="*/ 4943 w 5807"/>
                          <a:gd name="connsiteY36" fmla="*/ 2512 h 6100"/>
                          <a:gd name="connsiteX37" fmla="*/ 4943 w 5807"/>
                          <a:gd name="connsiteY37" fmla="*/ 2930 h 6100"/>
                          <a:gd name="connsiteX38" fmla="*/ 4943 w 5807"/>
                          <a:gd name="connsiteY38" fmla="*/ 3050 h 6100"/>
                          <a:gd name="connsiteX39" fmla="*/ 4884 w 5807"/>
                          <a:gd name="connsiteY39" fmla="*/ 3170 h 6100"/>
                          <a:gd name="connsiteX40" fmla="*/ 4824 w 5807"/>
                          <a:gd name="connsiteY40" fmla="*/ 3289 h 6100"/>
                          <a:gd name="connsiteX41" fmla="*/ 4704 w 5807"/>
                          <a:gd name="connsiteY41" fmla="*/ 3409 h 6100"/>
                          <a:gd name="connsiteX42" fmla="*/ 4704 w 5807"/>
                          <a:gd name="connsiteY42" fmla="*/ 3409 h 6100"/>
                          <a:gd name="connsiteX43" fmla="*/ 4704 w 5807"/>
                          <a:gd name="connsiteY43" fmla="*/ 3409 h 6100"/>
                          <a:gd name="connsiteX44" fmla="*/ 4704 w 5807"/>
                          <a:gd name="connsiteY44" fmla="*/ 3409 h 6100"/>
                          <a:gd name="connsiteX45" fmla="*/ 4704 w 5807"/>
                          <a:gd name="connsiteY45" fmla="*/ 3409 h 6100"/>
                          <a:gd name="connsiteX46" fmla="*/ 817 w 5807"/>
                          <a:gd name="connsiteY46" fmla="*/ 5622 h 6100"/>
                          <a:gd name="connsiteX47" fmla="*/ 1175 w 5807"/>
                          <a:gd name="connsiteY47" fmla="*/ 5861 h 6100"/>
                          <a:gd name="connsiteX48" fmla="*/ 1594 w 5807"/>
                          <a:gd name="connsiteY48" fmla="*/ 6041 h 6100"/>
                          <a:gd name="connsiteX49" fmla="*/ 2013 w 5807"/>
                          <a:gd name="connsiteY49" fmla="*/ 6100 h 6100"/>
                          <a:gd name="connsiteX50" fmla="*/ 2491 w 5807"/>
                          <a:gd name="connsiteY50" fmla="*/ 6100 h 6100"/>
                          <a:gd name="connsiteX51" fmla="*/ 3089 w 5807"/>
                          <a:gd name="connsiteY51" fmla="*/ 5981 h 6100"/>
                          <a:gd name="connsiteX52" fmla="*/ 3628 w 5807"/>
                          <a:gd name="connsiteY52" fmla="*/ 5742 h 6100"/>
                          <a:gd name="connsiteX53" fmla="*/ 4166 w 5807"/>
                          <a:gd name="connsiteY53" fmla="*/ 5382 h 6100"/>
                          <a:gd name="connsiteX54" fmla="*/ 4644 w 5807"/>
                          <a:gd name="connsiteY54" fmla="*/ 4964 h 6100"/>
                          <a:gd name="connsiteX55" fmla="*/ 4824 w 5807"/>
                          <a:gd name="connsiteY55" fmla="*/ 4785 h 6100"/>
                          <a:gd name="connsiteX56" fmla="*/ 4943 w 5807"/>
                          <a:gd name="connsiteY56" fmla="*/ 4605 h 6100"/>
                          <a:gd name="connsiteX57" fmla="*/ 5063 w 5807"/>
                          <a:gd name="connsiteY57" fmla="*/ 4426 h 6100"/>
                          <a:gd name="connsiteX58" fmla="*/ 5183 w 5807"/>
                          <a:gd name="connsiteY58" fmla="*/ 4246 h 6100"/>
                          <a:gd name="connsiteX59" fmla="*/ 5362 w 5807"/>
                          <a:gd name="connsiteY59" fmla="*/ 3947 h 6100"/>
                          <a:gd name="connsiteX60" fmla="*/ 5542 w 5807"/>
                          <a:gd name="connsiteY60" fmla="*/ 3648 h 6100"/>
                          <a:gd name="connsiteX61" fmla="*/ 5661 w 5807"/>
                          <a:gd name="connsiteY61" fmla="*/ 3349 h 6100"/>
                          <a:gd name="connsiteX62" fmla="*/ 5781 w 5807"/>
                          <a:gd name="connsiteY62" fmla="*/ 3050 h 6100"/>
                          <a:gd name="connsiteX63" fmla="*/ 5781 w 5807"/>
                          <a:gd name="connsiteY63" fmla="*/ 3050 h 6100"/>
                          <a:gd name="connsiteX64" fmla="*/ 5781 w 5807"/>
                          <a:gd name="connsiteY64" fmla="*/ 3050 h 6100"/>
                          <a:gd name="connsiteX65" fmla="*/ 5781 w 5807"/>
                          <a:gd name="connsiteY65" fmla="*/ 3050 h 6100"/>
                          <a:gd name="connsiteX66" fmla="*/ 5781 w 5807"/>
                          <a:gd name="connsiteY66" fmla="*/ 3050 h 6100"/>
                          <a:gd name="connsiteX67" fmla="*/ 5781 w 5807"/>
                          <a:gd name="connsiteY67" fmla="*/ 2990 h 6100"/>
                          <a:gd name="connsiteX68" fmla="*/ 5781 w 5807"/>
                          <a:gd name="connsiteY68" fmla="*/ 2930 h 6100"/>
                          <a:gd name="connsiteX69" fmla="*/ 5781 w 5807"/>
                          <a:gd name="connsiteY69" fmla="*/ 2871 h 6100"/>
                          <a:gd name="connsiteX70" fmla="*/ 5781 w 5807"/>
                          <a:gd name="connsiteY70" fmla="*/ 2811 h 6100"/>
                          <a:gd name="connsiteX71" fmla="*/ 5781 w 5807"/>
                          <a:gd name="connsiteY71" fmla="*/ 2213 h 6100"/>
                          <a:gd name="connsiteX72" fmla="*/ 5721 w 5807"/>
                          <a:gd name="connsiteY72" fmla="*/ 1674 h 6100"/>
                          <a:gd name="connsiteX73" fmla="*/ 5542 w 5807"/>
                          <a:gd name="connsiteY73" fmla="*/ 1196 h 6100"/>
                          <a:gd name="connsiteX74" fmla="*/ 5243 w 5807"/>
                          <a:gd name="connsiteY74" fmla="*/ 778 h 6100"/>
                          <a:gd name="connsiteX75" fmla="*/ 5003 w 5807"/>
                          <a:gd name="connsiteY75" fmla="*/ 538 h 6100"/>
                          <a:gd name="connsiteX76" fmla="*/ 4764 w 5807"/>
                          <a:gd name="connsiteY76" fmla="*/ 359 h 6100"/>
                          <a:gd name="connsiteX77" fmla="*/ 4525 w 5807"/>
                          <a:gd name="connsiteY77" fmla="*/ 239 h 6100"/>
                          <a:gd name="connsiteX78" fmla="*/ 4285 w 5807"/>
                          <a:gd name="connsiteY78" fmla="*/ 120 h 6100"/>
                          <a:gd name="connsiteX79" fmla="*/ 4046 w 5807"/>
                          <a:gd name="connsiteY79" fmla="*/ 60 h 6100"/>
                          <a:gd name="connsiteX80" fmla="*/ 3747 w 5807"/>
                          <a:gd name="connsiteY80" fmla="*/ 0 h 6100"/>
                          <a:gd name="connsiteX81" fmla="*/ 3448 w 5807"/>
                          <a:gd name="connsiteY81" fmla="*/ 0 h 6100"/>
                          <a:gd name="connsiteX82" fmla="*/ 3149 w 5807"/>
                          <a:gd name="connsiteY82" fmla="*/ 0 h 6100"/>
                          <a:gd name="connsiteX83" fmla="*/ 2850 w 5807"/>
                          <a:gd name="connsiteY83" fmla="*/ 60 h 6100"/>
                          <a:gd name="connsiteX84" fmla="*/ 2850 w 5807"/>
                          <a:gd name="connsiteY84" fmla="*/ 60 h 6100"/>
                          <a:gd name="connsiteX85" fmla="*/ 2850 w 5807"/>
                          <a:gd name="connsiteY85" fmla="*/ 60 h 6100"/>
                          <a:gd name="connsiteX86" fmla="*/ 2850 w 5807"/>
                          <a:gd name="connsiteY86" fmla="*/ 60 h 6100"/>
                          <a:gd name="connsiteX87" fmla="*/ 2850 w 5807"/>
                          <a:gd name="connsiteY87" fmla="*/ 60 h 6100"/>
                          <a:gd name="connsiteX88" fmla="*/ 2431 w 5807"/>
                          <a:gd name="connsiteY88" fmla="*/ 179 h 6100"/>
                          <a:gd name="connsiteX89" fmla="*/ 2013 w 5807"/>
                          <a:gd name="connsiteY89" fmla="*/ 419 h 6100"/>
                          <a:gd name="connsiteX90" fmla="*/ 1594 w 5807"/>
                          <a:gd name="connsiteY90" fmla="*/ 718 h 6100"/>
                          <a:gd name="connsiteX91" fmla="*/ 1175 w 5807"/>
                          <a:gd name="connsiteY91" fmla="*/ 1076 h 6100"/>
                          <a:gd name="connsiteX92" fmla="*/ 398 w 5807"/>
                          <a:gd name="connsiteY92" fmla="*/ 2153 h 6100"/>
                          <a:gd name="connsiteX93" fmla="*/ 39 w 5807"/>
                          <a:gd name="connsiteY93" fmla="*/ 3349 h 6100"/>
                          <a:gd name="connsiteX94" fmla="*/ 99 w 5807"/>
                          <a:gd name="connsiteY94" fmla="*/ 4486 h 6100"/>
                          <a:gd name="connsiteX95" fmla="*/ 577 w 5807"/>
                          <a:gd name="connsiteY95" fmla="*/ 5442 h 6100"/>
                          <a:gd name="connsiteX96" fmla="*/ 637 w 5807"/>
                          <a:gd name="connsiteY96" fmla="*/ 5502 h 6100"/>
                          <a:gd name="connsiteX97" fmla="*/ 697 w 5807"/>
                          <a:gd name="connsiteY97" fmla="*/ 5562 h 6100"/>
                          <a:gd name="connsiteX98" fmla="*/ 757 w 5807"/>
                          <a:gd name="connsiteY98" fmla="*/ 5622 h 6100"/>
                          <a:gd name="connsiteX99" fmla="*/ 817 w 5807"/>
                          <a:gd name="connsiteY99" fmla="*/ 5622 h 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807" h="6100">
                            <a:moveTo>
                              <a:pt x="4704" y="3409"/>
                            </a:moveTo>
                            <a:cubicBezTo>
                              <a:pt x="4644" y="3469"/>
                              <a:pt x="4644" y="3588"/>
                              <a:pt x="4584" y="3648"/>
                            </a:cubicBezTo>
                            <a:cubicBezTo>
                              <a:pt x="4525" y="3708"/>
                              <a:pt x="4525" y="3828"/>
                              <a:pt x="4465" y="3887"/>
                            </a:cubicBezTo>
                            <a:cubicBezTo>
                              <a:pt x="4405" y="3947"/>
                              <a:pt x="4345" y="4067"/>
                              <a:pt x="4285" y="4127"/>
                            </a:cubicBezTo>
                            <a:cubicBezTo>
                              <a:pt x="4226" y="4187"/>
                              <a:pt x="4166" y="4306"/>
                              <a:pt x="4106" y="4366"/>
                            </a:cubicBezTo>
                            <a:cubicBezTo>
                              <a:pt x="3986" y="4486"/>
                              <a:pt x="3867" y="4545"/>
                              <a:pt x="3747" y="4665"/>
                            </a:cubicBezTo>
                            <a:cubicBezTo>
                              <a:pt x="3628" y="4725"/>
                              <a:pt x="3508" y="4844"/>
                              <a:pt x="3389" y="4904"/>
                            </a:cubicBezTo>
                            <a:cubicBezTo>
                              <a:pt x="3269" y="4964"/>
                              <a:pt x="3149" y="5024"/>
                              <a:pt x="3030" y="5083"/>
                            </a:cubicBezTo>
                            <a:cubicBezTo>
                              <a:pt x="2910" y="5143"/>
                              <a:pt x="2790" y="5143"/>
                              <a:pt x="2671" y="5143"/>
                            </a:cubicBezTo>
                            <a:cubicBezTo>
                              <a:pt x="2551" y="5143"/>
                              <a:pt x="2491" y="5143"/>
                              <a:pt x="2372" y="5143"/>
                            </a:cubicBezTo>
                            <a:cubicBezTo>
                              <a:pt x="2252" y="5143"/>
                              <a:pt x="2192" y="5143"/>
                              <a:pt x="2073" y="5083"/>
                            </a:cubicBezTo>
                            <a:cubicBezTo>
                              <a:pt x="1953" y="5083"/>
                              <a:pt x="1893" y="5024"/>
                              <a:pt x="1833" y="4964"/>
                            </a:cubicBezTo>
                            <a:cubicBezTo>
                              <a:pt x="1774" y="4904"/>
                              <a:pt x="1654" y="4844"/>
                              <a:pt x="1594" y="4785"/>
                            </a:cubicBezTo>
                            <a:lnTo>
                              <a:pt x="1415" y="4605"/>
                            </a:lnTo>
                            <a:cubicBezTo>
                              <a:pt x="1235" y="4426"/>
                              <a:pt x="1116" y="4187"/>
                              <a:pt x="1056" y="3947"/>
                            </a:cubicBezTo>
                            <a:cubicBezTo>
                              <a:pt x="996" y="3708"/>
                              <a:pt x="996" y="3469"/>
                              <a:pt x="996" y="3170"/>
                            </a:cubicBezTo>
                            <a:cubicBezTo>
                              <a:pt x="1056" y="2930"/>
                              <a:pt x="1116" y="2632"/>
                              <a:pt x="1235" y="2392"/>
                            </a:cubicBezTo>
                            <a:cubicBezTo>
                              <a:pt x="1355" y="2153"/>
                              <a:pt x="1535" y="1854"/>
                              <a:pt x="1774" y="1674"/>
                            </a:cubicBezTo>
                            <a:cubicBezTo>
                              <a:pt x="1893" y="1555"/>
                              <a:pt x="2013" y="1435"/>
                              <a:pt x="2132" y="1375"/>
                            </a:cubicBezTo>
                            <a:cubicBezTo>
                              <a:pt x="2252" y="1316"/>
                              <a:pt x="2372" y="1196"/>
                              <a:pt x="2551" y="1136"/>
                            </a:cubicBezTo>
                            <a:cubicBezTo>
                              <a:pt x="2671" y="1076"/>
                              <a:pt x="2850" y="1017"/>
                              <a:pt x="2970" y="1017"/>
                            </a:cubicBezTo>
                            <a:cubicBezTo>
                              <a:pt x="3089" y="1017"/>
                              <a:pt x="3269" y="957"/>
                              <a:pt x="3389" y="957"/>
                            </a:cubicBezTo>
                            <a:cubicBezTo>
                              <a:pt x="3389" y="957"/>
                              <a:pt x="3389" y="957"/>
                              <a:pt x="3389" y="957"/>
                            </a:cubicBezTo>
                            <a:cubicBezTo>
                              <a:pt x="3389" y="957"/>
                              <a:pt x="3389" y="957"/>
                              <a:pt x="3389" y="957"/>
                            </a:cubicBezTo>
                            <a:cubicBezTo>
                              <a:pt x="3389" y="957"/>
                              <a:pt x="3389" y="957"/>
                              <a:pt x="3389" y="957"/>
                            </a:cubicBezTo>
                            <a:cubicBezTo>
                              <a:pt x="3389" y="957"/>
                              <a:pt x="3389" y="957"/>
                              <a:pt x="3389" y="957"/>
                            </a:cubicBezTo>
                            <a:cubicBezTo>
                              <a:pt x="3508" y="957"/>
                              <a:pt x="3568" y="957"/>
                              <a:pt x="3628" y="957"/>
                            </a:cubicBezTo>
                            <a:cubicBezTo>
                              <a:pt x="3688" y="957"/>
                              <a:pt x="3807" y="1017"/>
                              <a:pt x="3867" y="1017"/>
                            </a:cubicBezTo>
                            <a:cubicBezTo>
                              <a:pt x="3927" y="1017"/>
                              <a:pt x="4046" y="1076"/>
                              <a:pt x="4106" y="1136"/>
                            </a:cubicBezTo>
                            <a:cubicBezTo>
                              <a:pt x="4166" y="1196"/>
                              <a:pt x="4226" y="1256"/>
                              <a:pt x="4345" y="1256"/>
                            </a:cubicBezTo>
                            <a:cubicBezTo>
                              <a:pt x="4345" y="1256"/>
                              <a:pt x="4345" y="1256"/>
                              <a:pt x="4405" y="1316"/>
                            </a:cubicBezTo>
                            <a:cubicBezTo>
                              <a:pt x="4405" y="1316"/>
                              <a:pt x="4405" y="1316"/>
                              <a:pt x="4465" y="1375"/>
                            </a:cubicBezTo>
                            <a:cubicBezTo>
                              <a:pt x="4465" y="1375"/>
                              <a:pt x="4465" y="1375"/>
                              <a:pt x="4525" y="1435"/>
                            </a:cubicBezTo>
                            <a:cubicBezTo>
                              <a:pt x="4525" y="1435"/>
                              <a:pt x="4525" y="1435"/>
                              <a:pt x="4584" y="1495"/>
                            </a:cubicBezTo>
                            <a:cubicBezTo>
                              <a:pt x="4644" y="1555"/>
                              <a:pt x="4704" y="1674"/>
                              <a:pt x="4764" y="1794"/>
                            </a:cubicBezTo>
                            <a:cubicBezTo>
                              <a:pt x="4824" y="1914"/>
                              <a:pt x="4884" y="2033"/>
                              <a:pt x="4884" y="2153"/>
                            </a:cubicBezTo>
                            <a:cubicBezTo>
                              <a:pt x="4884" y="2273"/>
                              <a:pt x="4943" y="2392"/>
                              <a:pt x="4943" y="2512"/>
                            </a:cubicBezTo>
                            <a:cubicBezTo>
                              <a:pt x="4943" y="2632"/>
                              <a:pt x="4943" y="2811"/>
                              <a:pt x="4943" y="2930"/>
                            </a:cubicBezTo>
                            <a:cubicBezTo>
                              <a:pt x="4943" y="2990"/>
                              <a:pt x="4943" y="3050"/>
                              <a:pt x="4943" y="3050"/>
                            </a:cubicBezTo>
                            <a:cubicBezTo>
                              <a:pt x="4943" y="3110"/>
                              <a:pt x="4943" y="3170"/>
                              <a:pt x="4884" y="3170"/>
                            </a:cubicBezTo>
                            <a:cubicBezTo>
                              <a:pt x="4884" y="3229"/>
                              <a:pt x="4884" y="3289"/>
                              <a:pt x="4824" y="3289"/>
                            </a:cubicBezTo>
                            <a:cubicBezTo>
                              <a:pt x="4764" y="3289"/>
                              <a:pt x="4764" y="3349"/>
                              <a:pt x="4704" y="3409"/>
                            </a:cubicBezTo>
                            <a:cubicBezTo>
                              <a:pt x="4704" y="3349"/>
                              <a:pt x="4704" y="3349"/>
                              <a:pt x="4704" y="3409"/>
                            </a:cubicBezTo>
                            <a:cubicBezTo>
                              <a:pt x="4704" y="3349"/>
                              <a:pt x="4704" y="3349"/>
                              <a:pt x="4704" y="3409"/>
                            </a:cubicBezTo>
                            <a:cubicBezTo>
                              <a:pt x="4704" y="3349"/>
                              <a:pt x="4704" y="3349"/>
                              <a:pt x="4704" y="3409"/>
                            </a:cubicBezTo>
                            <a:cubicBezTo>
                              <a:pt x="4704" y="3349"/>
                              <a:pt x="4704" y="3409"/>
                              <a:pt x="4704" y="3409"/>
                            </a:cubicBezTo>
                            <a:moveTo>
                              <a:pt x="817" y="5622"/>
                            </a:moveTo>
                            <a:cubicBezTo>
                              <a:pt x="936" y="5682"/>
                              <a:pt x="1056" y="5801"/>
                              <a:pt x="1175" y="5861"/>
                            </a:cubicBezTo>
                            <a:cubicBezTo>
                              <a:pt x="1295" y="5921"/>
                              <a:pt x="1415" y="5981"/>
                              <a:pt x="1594" y="6041"/>
                            </a:cubicBezTo>
                            <a:cubicBezTo>
                              <a:pt x="1714" y="6100"/>
                              <a:pt x="1893" y="6100"/>
                              <a:pt x="2013" y="6100"/>
                            </a:cubicBezTo>
                            <a:cubicBezTo>
                              <a:pt x="2192" y="6100"/>
                              <a:pt x="2312" y="6100"/>
                              <a:pt x="2491" y="6100"/>
                            </a:cubicBezTo>
                            <a:cubicBezTo>
                              <a:pt x="2671" y="6100"/>
                              <a:pt x="2850" y="6041"/>
                              <a:pt x="3089" y="5981"/>
                            </a:cubicBezTo>
                            <a:cubicBezTo>
                              <a:pt x="3269" y="5921"/>
                              <a:pt x="3448" y="5861"/>
                              <a:pt x="3628" y="5742"/>
                            </a:cubicBezTo>
                            <a:cubicBezTo>
                              <a:pt x="3807" y="5622"/>
                              <a:pt x="3986" y="5562"/>
                              <a:pt x="4166" y="5382"/>
                            </a:cubicBezTo>
                            <a:cubicBezTo>
                              <a:pt x="4345" y="5263"/>
                              <a:pt x="4525" y="5083"/>
                              <a:pt x="4644" y="4964"/>
                            </a:cubicBezTo>
                            <a:cubicBezTo>
                              <a:pt x="4704" y="4904"/>
                              <a:pt x="4764" y="4844"/>
                              <a:pt x="4824" y="4785"/>
                            </a:cubicBezTo>
                            <a:cubicBezTo>
                              <a:pt x="4884" y="4725"/>
                              <a:pt x="4943" y="4665"/>
                              <a:pt x="4943" y="4605"/>
                            </a:cubicBezTo>
                            <a:cubicBezTo>
                              <a:pt x="4943" y="4545"/>
                              <a:pt x="5063" y="4486"/>
                              <a:pt x="5063" y="4426"/>
                            </a:cubicBezTo>
                            <a:cubicBezTo>
                              <a:pt x="5123" y="4366"/>
                              <a:pt x="5123" y="4306"/>
                              <a:pt x="5183" y="4246"/>
                            </a:cubicBezTo>
                            <a:cubicBezTo>
                              <a:pt x="5243" y="4127"/>
                              <a:pt x="5302" y="4067"/>
                              <a:pt x="5362" y="3947"/>
                            </a:cubicBezTo>
                            <a:cubicBezTo>
                              <a:pt x="5422" y="3828"/>
                              <a:pt x="5482" y="3768"/>
                              <a:pt x="5542" y="3648"/>
                            </a:cubicBezTo>
                            <a:cubicBezTo>
                              <a:pt x="5601" y="3528"/>
                              <a:pt x="5601" y="3469"/>
                              <a:pt x="5661" y="3349"/>
                            </a:cubicBezTo>
                            <a:cubicBezTo>
                              <a:pt x="5721" y="3229"/>
                              <a:pt x="5721" y="3110"/>
                              <a:pt x="5781" y="3050"/>
                            </a:cubicBezTo>
                            <a:lnTo>
                              <a:pt x="5781" y="3050"/>
                            </a:lnTo>
                            <a:lnTo>
                              <a:pt x="5781" y="3050"/>
                            </a:lnTo>
                            <a:lnTo>
                              <a:pt x="5781" y="3050"/>
                            </a:lnTo>
                            <a:lnTo>
                              <a:pt x="5781" y="3050"/>
                            </a:lnTo>
                            <a:cubicBezTo>
                              <a:pt x="5781" y="3050"/>
                              <a:pt x="5781" y="2990"/>
                              <a:pt x="5781" y="2990"/>
                            </a:cubicBezTo>
                            <a:cubicBezTo>
                              <a:pt x="5781" y="2990"/>
                              <a:pt x="5781" y="2930"/>
                              <a:pt x="5781" y="2930"/>
                            </a:cubicBezTo>
                            <a:cubicBezTo>
                              <a:pt x="5781" y="2930"/>
                              <a:pt x="5781" y="2871"/>
                              <a:pt x="5781" y="2871"/>
                            </a:cubicBezTo>
                            <a:cubicBezTo>
                              <a:pt x="5781" y="2871"/>
                              <a:pt x="5781" y="2811"/>
                              <a:pt x="5781" y="2811"/>
                            </a:cubicBezTo>
                            <a:cubicBezTo>
                              <a:pt x="5781" y="2572"/>
                              <a:pt x="5840" y="2392"/>
                              <a:pt x="5781" y="2213"/>
                            </a:cubicBezTo>
                            <a:cubicBezTo>
                              <a:pt x="5781" y="2033"/>
                              <a:pt x="5721" y="1854"/>
                              <a:pt x="5721" y="1674"/>
                            </a:cubicBezTo>
                            <a:cubicBezTo>
                              <a:pt x="5661" y="1495"/>
                              <a:pt x="5601" y="1316"/>
                              <a:pt x="5542" y="1196"/>
                            </a:cubicBezTo>
                            <a:cubicBezTo>
                              <a:pt x="5482" y="1076"/>
                              <a:pt x="5362" y="897"/>
                              <a:pt x="5243" y="778"/>
                            </a:cubicBezTo>
                            <a:lnTo>
                              <a:pt x="5003" y="538"/>
                            </a:lnTo>
                            <a:cubicBezTo>
                              <a:pt x="4943" y="479"/>
                              <a:pt x="4884" y="419"/>
                              <a:pt x="4764" y="359"/>
                            </a:cubicBezTo>
                            <a:cubicBezTo>
                              <a:pt x="4704" y="299"/>
                              <a:pt x="4644" y="299"/>
                              <a:pt x="4525" y="239"/>
                            </a:cubicBezTo>
                            <a:cubicBezTo>
                              <a:pt x="4465" y="179"/>
                              <a:pt x="4345" y="179"/>
                              <a:pt x="4285" y="120"/>
                            </a:cubicBezTo>
                            <a:cubicBezTo>
                              <a:pt x="4226" y="120"/>
                              <a:pt x="4106" y="60"/>
                              <a:pt x="4046" y="60"/>
                            </a:cubicBezTo>
                            <a:cubicBezTo>
                              <a:pt x="3927" y="60"/>
                              <a:pt x="3867" y="0"/>
                              <a:pt x="3747" y="0"/>
                            </a:cubicBezTo>
                            <a:cubicBezTo>
                              <a:pt x="3628" y="0"/>
                              <a:pt x="3568" y="0"/>
                              <a:pt x="3448" y="0"/>
                            </a:cubicBezTo>
                            <a:cubicBezTo>
                              <a:pt x="3329" y="0"/>
                              <a:pt x="3269" y="0"/>
                              <a:pt x="3149" y="0"/>
                            </a:cubicBezTo>
                            <a:cubicBezTo>
                              <a:pt x="3030" y="0"/>
                              <a:pt x="2970" y="60"/>
                              <a:pt x="2850" y="60"/>
                            </a:cubicBezTo>
                            <a:cubicBezTo>
                              <a:pt x="2850" y="60"/>
                              <a:pt x="2850" y="60"/>
                              <a:pt x="2850" y="60"/>
                            </a:cubicBezTo>
                            <a:cubicBezTo>
                              <a:pt x="2850" y="60"/>
                              <a:pt x="2850" y="60"/>
                              <a:pt x="2850" y="60"/>
                            </a:cubicBezTo>
                            <a:cubicBezTo>
                              <a:pt x="2850" y="60"/>
                              <a:pt x="2850" y="60"/>
                              <a:pt x="2850" y="60"/>
                            </a:cubicBezTo>
                            <a:cubicBezTo>
                              <a:pt x="2850" y="60"/>
                              <a:pt x="2850" y="60"/>
                              <a:pt x="2850" y="60"/>
                            </a:cubicBezTo>
                            <a:cubicBezTo>
                              <a:pt x="2730" y="120"/>
                              <a:pt x="2551" y="120"/>
                              <a:pt x="2431" y="179"/>
                            </a:cubicBezTo>
                            <a:cubicBezTo>
                              <a:pt x="2312" y="239"/>
                              <a:pt x="2132" y="299"/>
                              <a:pt x="2013" y="419"/>
                            </a:cubicBezTo>
                            <a:cubicBezTo>
                              <a:pt x="1893" y="538"/>
                              <a:pt x="1714" y="598"/>
                              <a:pt x="1594" y="718"/>
                            </a:cubicBezTo>
                            <a:cubicBezTo>
                              <a:pt x="1475" y="837"/>
                              <a:pt x="1355" y="957"/>
                              <a:pt x="1175" y="1076"/>
                            </a:cubicBezTo>
                            <a:cubicBezTo>
                              <a:pt x="876" y="1435"/>
                              <a:pt x="577" y="1794"/>
                              <a:pt x="398" y="2153"/>
                            </a:cubicBezTo>
                            <a:cubicBezTo>
                              <a:pt x="219" y="2572"/>
                              <a:pt x="99" y="2930"/>
                              <a:pt x="39" y="3349"/>
                            </a:cubicBezTo>
                            <a:cubicBezTo>
                              <a:pt x="-21" y="3768"/>
                              <a:pt x="-21" y="4127"/>
                              <a:pt x="99" y="4486"/>
                            </a:cubicBezTo>
                            <a:cubicBezTo>
                              <a:pt x="219" y="4844"/>
                              <a:pt x="338" y="5203"/>
                              <a:pt x="577" y="5442"/>
                            </a:cubicBezTo>
                            <a:cubicBezTo>
                              <a:pt x="577" y="5442"/>
                              <a:pt x="637" y="5502"/>
                              <a:pt x="637" y="5502"/>
                            </a:cubicBezTo>
                            <a:cubicBezTo>
                              <a:pt x="637" y="5502"/>
                              <a:pt x="697" y="5562"/>
                              <a:pt x="697" y="5562"/>
                            </a:cubicBezTo>
                            <a:cubicBezTo>
                              <a:pt x="697" y="5562"/>
                              <a:pt x="757" y="5622"/>
                              <a:pt x="757" y="5622"/>
                            </a:cubicBezTo>
                            <a:cubicBezTo>
                              <a:pt x="757" y="5562"/>
                              <a:pt x="817" y="5562"/>
                              <a:pt x="817" y="5622"/>
                            </a:cubicBezTo>
                          </a:path>
                        </a:pathLst>
                      </a:custGeom>
                      <a:noFill/>
                      <a:ln w="6350" cap="flat">
                        <a:solidFill>
                          <a:schemeClr val="bg1">
                            <a:alpha val="40000"/>
                          </a:schemeClr>
                        </a:solidFill>
                        <a:prstDash val="solid"/>
                        <a:miter/>
                      </a:ln>
                    </p:spPr>
                    <p:txBody>
                      <a:bodyPr rtlCol="0" anchor="ctr"/>
                      <a:lstStyle/>
                      <a:p>
                        <a:endParaRPr lang="en-GB"/>
                      </a:p>
                    </p:txBody>
                  </p:sp>
                  <p:sp>
                    <p:nvSpPr>
                      <p:cNvPr id="7568" name="Vrije vorm: vorm 7567">
                        <a:extLst>
                          <a:ext uri="{FF2B5EF4-FFF2-40B4-BE49-F238E27FC236}">
                            <a16:creationId xmlns:a16="http://schemas.microsoft.com/office/drawing/2014/main" id="{9FC11DF0-F1EF-4DB8-9413-3DFC98BC9C55}"/>
                          </a:ext>
                        </a:extLst>
                      </p:cNvPr>
                      <p:cNvSpPr/>
                      <p:nvPr/>
                    </p:nvSpPr>
                    <p:spPr>
                      <a:xfrm>
                        <a:off x="5217694" y="5201294"/>
                        <a:ext cx="5768" cy="6279"/>
                      </a:xfrm>
                      <a:custGeom>
                        <a:avLst/>
                        <a:gdLst>
                          <a:gd name="connsiteX0" fmla="*/ 4213 w 5768"/>
                          <a:gd name="connsiteY0" fmla="*/ 1375 h 6279"/>
                          <a:gd name="connsiteX1" fmla="*/ 4512 w 5768"/>
                          <a:gd name="connsiteY1" fmla="*/ 1674 h 6279"/>
                          <a:gd name="connsiteX2" fmla="*/ 4692 w 5768"/>
                          <a:gd name="connsiteY2" fmla="*/ 2033 h 6279"/>
                          <a:gd name="connsiteX3" fmla="*/ 4811 w 5768"/>
                          <a:gd name="connsiteY3" fmla="*/ 2512 h 6279"/>
                          <a:gd name="connsiteX4" fmla="*/ 4811 w 5768"/>
                          <a:gd name="connsiteY4" fmla="*/ 3050 h 6279"/>
                          <a:gd name="connsiteX5" fmla="*/ 4692 w 5768"/>
                          <a:gd name="connsiteY5" fmla="*/ 3469 h 6279"/>
                          <a:gd name="connsiteX6" fmla="*/ 4512 w 5768"/>
                          <a:gd name="connsiteY6" fmla="*/ 3887 h 6279"/>
                          <a:gd name="connsiteX7" fmla="*/ 4273 w 5768"/>
                          <a:gd name="connsiteY7" fmla="*/ 4246 h 6279"/>
                          <a:gd name="connsiteX8" fmla="*/ 3974 w 5768"/>
                          <a:gd name="connsiteY8" fmla="*/ 4605 h 6279"/>
                          <a:gd name="connsiteX9" fmla="*/ 3675 w 5768"/>
                          <a:gd name="connsiteY9" fmla="*/ 4904 h 6279"/>
                          <a:gd name="connsiteX10" fmla="*/ 3316 w 5768"/>
                          <a:gd name="connsiteY10" fmla="*/ 5143 h 6279"/>
                          <a:gd name="connsiteX11" fmla="*/ 2957 w 5768"/>
                          <a:gd name="connsiteY11" fmla="*/ 5323 h 6279"/>
                          <a:gd name="connsiteX12" fmla="*/ 2598 w 5768"/>
                          <a:gd name="connsiteY12" fmla="*/ 5382 h 6279"/>
                          <a:gd name="connsiteX13" fmla="*/ 2299 w 5768"/>
                          <a:gd name="connsiteY13" fmla="*/ 5382 h 6279"/>
                          <a:gd name="connsiteX14" fmla="*/ 2000 w 5768"/>
                          <a:gd name="connsiteY14" fmla="*/ 5323 h 6279"/>
                          <a:gd name="connsiteX15" fmla="*/ 1761 w 5768"/>
                          <a:gd name="connsiteY15" fmla="*/ 5203 h 6279"/>
                          <a:gd name="connsiteX16" fmla="*/ 1522 w 5768"/>
                          <a:gd name="connsiteY16" fmla="*/ 5024 h 6279"/>
                          <a:gd name="connsiteX17" fmla="*/ 1342 w 5768"/>
                          <a:gd name="connsiteY17" fmla="*/ 4844 h 6279"/>
                          <a:gd name="connsiteX18" fmla="*/ 1163 w 5768"/>
                          <a:gd name="connsiteY18" fmla="*/ 4545 h 6279"/>
                          <a:gd name="connsiteX19" fmla="*/ 1043 w 5768"/>
                          <a:gd name="connsiteY19" fmla="*/ 4186 h 6279"/>
                          <a:gd name="connsiteX20" fmla="*/ 984 w 5768"/>
                          <a:gd name="connsiteY20" fmla="*/ 3827 h 6279"/>
                          <a:gd name="connsiteX21" fmla="*/ 984 w 5768"/>
                          <a:gd name="connsiteY21" fmla="*/ 3409 h 6279"/>
                          <a:gd name="connsiteX22" fmla="*/ 1103 w 5768"/>
                          <a:gd name="connsiteY22" fmla="*/ 2990 h 6279"/>
                          <a:gd name="connsiteX23" fmla="*/ 1283 w 5768"/>
                          <a:gd name="connsiteY23" fmla="*/ 2572 h 6279"/>
                          <a:gd name="connsiteX24" fmla="*/ 1522 w 5768"/>
                          <a:gd name="connsiteY24" fmla="*/ 2213 h 6279"/>
                          <a:gd name="connsiteX25" fmla="*/ 1821 w 5768"/>
                          <a:gd name="connsiteY25" fmla="*/ 1854 h 6279"/>
                          <a:gd name="connsiteX26" fmla="*/ 2180 w 5768"/>
                          <a:gd name="connsiteY26" fmla="*/ 1555 h 6279"/>
                          <a:gd name="connsiteX27" fmla="*/ 2539 w 5768"/>
                          <a:gd name="connsiteY27" fmla="*/ 1316 h 6279"/>
                          <a:gd name="connsiteX28" fmla="*/ 2897 w 5768"/>
                          <a:gd name="connsiteY28" fmla="*/ 1136 h 6279"/>
                          <a:gd name="connsiteX29" fmla="*/ 3316 w 5768"/>
                          <a:gd name="connsiteY29" fmla="*/ 1076 h 6279"/>
                          <a:gd name="connsiteX30" fmla="*/ 3615 w 5768"/>
                          <a:gd name="connsiteY30" fmla="*/ 1076 h 6279"/>
                          <a:gd name="connsiteX31" fmla="*/ 3914 w 5768"/>
                          <a:gd name="connsiteY31" fmla="*/ 1136 h 6279"/>
                          <a:gd name="connsiteX32" fmla="*/ 4153 w 5768"/>
                          <a:gd name="connsiteY32" fmla="*/ 1256 h 6279"/>
                          <a:gd name="connsiteX33" fmla="*/ 4213 w 5768"/>
                          <a:gd name="connsiteY33" fmla="*/ 1375 h 6279"/>
                          <a:gd name="connsiteX34" fmla="*/ 744 w 5768"/>
                          <a:gd name="connsiteY34" fmla="*/ 5861 h 6279"/>
                          <a:gd name="connsiteX35" fmla="*/ 1103 w 5768"/>
                          <a:gd name="connsiteY35" fmla="*/ 6100 h 6279"/>
                          <a:gd name="connsiteX36" fmla="*/ 1462 w 5768"/>
                          <a:gd name="connsiteY36" fmla="*/ 6220 h 6279"/>
                          <a:gd name="connsiteX37" fmla="*/ 1881 w 5768"/>
                          <a:gd name="connsiteY37" fmla="*/ 6280 h 6279"/>
                          <a:gd name="connsiteX38" fmla="*/ 2359 w 5768"/>
                          <a:gd name="connsiteY38" fmla="*/ 6280 h 6279"/>
                          <a:gd name="connsiteX39" fmla="*/ 3495 w 5768"/>
                          <a:gd name="connsiteY39" fmla="*/ 5921 h 6279"/>
                          <a:gd name="connsiteX40" fmla="*/ 4512 w 5768"/>
                          <a:gd name="connsiteY40" fmla="*/ 5143 h 6279"/>
                          <a:gd name="connsiteX41" fmla="*/ 5290 w 5768"/>
                          <a:gd name="connsiteY41" fmla="*/ 4067 h 6279"/>
                          <a:gd name="connsiteX42" fmla="*/ 5708 w 5768"/>
                          <a:gd name="connsiteY42" fmla="*/ 2811 h 6279"/>
                          <a:gd name="connsiteX43" fmla="*/ 5768 w 5768"/>
                          <a:gd name="connsiteY43" fmla="*/ 2093 h 6279"/>
                          <a:gd name="connsiteX44" fmla="*/ 5648 w 5768"/>
                          <a:gd name="connsiteY44" fmla="*/ 1435 h 6279"/>
                          <a:gd name="connsiteX45" fmla="*/ 5349 w 5768"/>
                          <a:gd name="connsiteY45" fmla="*/ 897 h 6279"/>
                          <a:gd name="connsiteX46" fmla="*/ 4931 w 5768"/>
                          <a:gd name="connsiteY46" fmla="*/ 478 h 6279"/>
                          <a:gd name="connsiteX47" fmla="*/ 4572 w 5768"/>
                          <a:gd name="connsiteY47" fmla="*/ 239 h 6279"/>
                          <a:gd name="connsiteX48" fmla="*/ 4213 w 5768"/>
                          <a:gd name="connsiteY48" fmla="*/ 60 h 6279"/>
                          <a:gd name="connsiteX49" fmla="*/ 3794 w 5768"/>
                          <a:gd name="connsiteY49" fmla="*/ 0 h 6279"/>
                          <a:gd name="connsiteX50" fmla="*/ 3316 w 5768"/>
                          <a:gd name="connsiteY50" fmla="*/ 0 h 6279"/>
                          <a:gd name="connsiteX51" fmla="*/ 2718 w 5768"/>
                          <a:gd name="connsiteY51" fmla="*/ 119 h 6279"/>
                          <a:gd name="connsiteX52" fmla="*/ 2180 w 5768"/>
                          <a:gd name="connsiteY52" fmla="*/ 359 h 6279"/>
                          <a:gd name="connsiteX53" fmla="*/ 1641 w 5768"/>
                          <a:gd name="connsiteY53" fmla="*/ 718 h 6279"/>
                          <a:gd name="connsiteX54" fmla="*/ 1163 w 5768"/>
                          <a:gd name="connsiteY54" fmla="*/ 1136 h 6279"/>
                          <a:gd name="connsiteX55" fmla="*/ 744 w 5768"/>
                          <a:gd name="connsiteY55" fmla="*/ 1674 h 6279"/>
                          <a:gd name="connsiteX56" fmla="*/ 386 w 5768"/>
                          <a:gd name="connsiteY56" fmla="*/ 2213 h 6279"/>
                          <a:gd name="connsiteX57" fmla="*/ 146 w 5768"/>
                          <a:gd name="connsiteY57" fmla="*/ 2811 h 6279"/>
                          <a:gd name="connsiteX58" fmla="*/ 26 w 5768"/>
                          <a:gd name="connsiteY58" fmla="*/ 3409 h 6279"/>
                          <a:gd name="connsiteX59" fmla="*/ 26 w 5768"/>
                          <a:gd name="connsiteY59" fmla="*/ 4007 h 6279"/>
                          <a:gd name="connsiteX60" fmla="*/ 86 w 5768"/>
                          <a:gd name="connsiteY60" fmla="*/ 4605 h 6279"/>
                          <a:gd name="connsiteX61" fmla="*/ 266 w 5768"/>
                          <a:gd name="connsiteY61" fmla="*/ 5143 h 6279"/>
                          <a:gd name="connsiteX62" fmla="*/ 565 w 5768"/>
                          <a:gd name="connsiteY62" fmla="*/ 5562 h 6279"/>
                          <a:gd name="connsiteX63" fmla="*/ 625 w 5768"/>
                          <a:gd name="connsiteY63" fmla="*/ 5622 h 6279"/>
                          <a:gd name="connsiteX64" fmla="*/ 685 w 5768"/>
                          <a:gd name="connsiteY64" fmla="*/ 5681 h 6279"/>
                          <a:gd name="connsiteX65" fmla="*/ 744 w 5768"/>
                          <a:gd name="connsiteY65" fmla="*/ 5741 h 6279"/>
                          <a:gd name="connsiteX66" fmla="*/ 744 w 5768"/>
                          <a:gd name="connsiteY66" fmla="*/ 586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768" h="6279">
                            <a:moveTo>
                              <a:pt x="4213" y="1375"/>
                            </a:moveTo>
                            <a:cubicBezTo>
                              <a:pt x="4333" y="1435"/>
                              <a:pt x="4393" y="1555"/>
                              <a:pt x="4512" y="1674"/>
                            </a:cubicBezTo>
                            <a:cubicBezTo>
                              <a:pt x="4572" y="1794"/>
                              <a:pt x="4632" y="1914"/>
                              <a:pt x="4692" y="2033"/>
                            </a:cubicBezTo>
                            <a:cubicBezTo>
                              <a:pt x="4751" y="2153"/>
                              <a:pt x="4751" y="2332"/>
                              <a:pt x="4811" y="2512"/>
                            </a:cubicBezTo>
                            <a:cubicBezTo>
                              <a:pt x="4811" y="2691"/>
                              <a:pt x="4811" y="2871"/>
                              <a:pt x="4811" y="3050"/>
                            </a:cubicBezTo>
                            <a:cubicBezTo>
                              <a:pt x="4811" y="3170"/>
                              <a:pt x="4751" y="3349"/>
                              <a:pt x="4692" y="3469"/>
                            </a:cubicBezTo>
                            <a:cubicBezTo>
                              <a:pt x="4632" y="3588"/>
                              <a:pt x="4572" y="3708"/>
                              <a:pt x="4512" y="3887"/>
                            </a:cubicBezTo>
                            <a:cubicBezTo>
                              <a:pt x="4452" y="4007"/>
                              <a:pt x="4393" y="4126"/>
                              <a:pt x="4273" y="4246"/>
                            </a:cubicBezTo>
                            <a:cubicBezTo>
                              <a:pt x="4213" y="4366"/>
                              <a:pt x="4094" y="4486"/>
                              <a:pt x="3974" y="4605"/>
                            </a:cubicBezTo>
                            <a:cubicBezTo>
                              <a:pt x="3854" y="4725"/>
                              <a:pt x="3735" y="4785"/>
                              <a:pt x="3675" y="4904"/>
                            </a:cubicBezTo>
                            <a:cubicBezTo>
                              <a:pt x="3555" y="4964"/>
                              <a:pt x="3436" y="5083"/>
                              <a:pt x="3316" y="5143"/>
                            </a:cubicBezTo>
                            <a:cubicBezTo>
                              <a:pt x="3196" y="5203"/>
                              <a:pt x="3077" y="5263"/>
                              <a:pt x="2957" y="5323"/>
                            </a:cubicBezTo>
                            <a:cubicBezTo>
                              <a:pt x="2838" y="5382"/>
                              <a:pt x="2718" y="5382"/>
                              <a:pt x="2598" y="5382"/>
                            </a:cubicBezTo>
                            <a:cubicBezTo>
                              <a:pt x="2479" y="5382"/>
                              <a:pt x="2359" y="5382"/>
                              <a:pt x="2299" y="5382"/>
                            </a:cubicBezTo>
                            <a:cubicBezTo>
                              <a:pt x="2180" y="5382"/>
                              <a:pt x="2120" y="5323"/>
                              <a:pt x="2000" y="5323"/>
                            </a:cubicBezTo>
                            <a:cubicBezTo>
                              <a:pt x="1881" y="5323"/>
                              <a:pt x="1821" y="5263"/>
                              <a:pt x="1761" y="5203"/>
                            </a:cubicBezTo>
                            <a:cubicBezTo>
                              <a:pt x="1701" y="5143"/>
                              <a:pt x="1581" y="5083"/>
                              <a:pt x="1522" y="5024"/>
                            </a:cubicBezTo>
                            <a:lnTo>
                              <a:pt x="1342" y="4844"/>
                            </a:lnTo>
                            <a:cubicBezTo>
                              <a:pt x="1283" y="4785"/>
                              <a:pt x="1223" y="4665"/>
                              <a:pt x="1163" y="4545"/>
                            </a:cubicBezTo>
                            <a:cubicBezTo>
                              <a:pt x="1103" y="4426"/>
                              <a:pt x="1043" y="4306"/>
                              <a:pt x="1043" y="4186"/>
                            </a:cubicBezTo>
                            <a:cubicBezTo>
                              <a:pt x="1043" y="4067"/>
                              <a:pt x="984" y="3947"/>
                              <a:pt x="984" y="3827"/>
                            </a:cubicBezTo>
                            <a:cubicBezTo>
                              <a:pt x="984" y="3708"/>
                              <a:pt x="984" y="3528"/>
                              <a:pt x="984" y="3409"/>
                            </a:cubicBezTo>
                            <a:cubicBezTo>
                              <a:pt x="984" y="3289"/>
                              <a:pt x="1043" y="3110"/>
                              <a:pt x="1103" y="2990"/>
                            </a:cubicBezTo>
                            <a:cubicBezTo>
                              <a:pt x="1163" y="2871"/>
                              <a:pt x="1223" y="2691"/>
                              <a:pt x="1283" y="2572"/>
                            </a:cubicBezTo>
                            <a:cubicBezTo>
                              <a:pt x="1342" y="2452"/>
                              <a:pt x="1402" y="2332"/>
                              <a:pt x="1522" y="2213"/>
                            </a:cubicBezTo>
                            <a:cubicBezTo>
                              <a:pt x="1581" y="2093"/>
                              <a:pt x="1701" y="1973"/>
                              <a:pt x="1821" y="1854"/>
                            </a:cubicBezTo>
                            <a:cubicBezTo>
                              <a:pt x="1940" y="1734"/>
                              <a:pt x="2060" y="1615"/>
                              <a:pt x="2180" y="1555"/>
                            </a:cubicBezTo>
                            <a:cubicBezTo>
                              <a:pt x="2299" y="1495"/>
                              <a:pt x="2419" y="1375"/>
                              <a:pt x="2539" y="1316"/>
                            </a:cubicBezTo>
                            <a:cubicBezTo>
                              <a:pt x="2658" y="1256"/>
                              <a:pt x="2778" y="1196"/>
                              <a:pt x="2897" y="1136"/>
                            </a:cubicBezTo>
                            <a:cubicBezTo>
                              <a:pt x="3017" y="1076"/>
                              <a:pt x="3137" y="1076"/>
                              <a:pt x="3316" y="1076"/>
                            </a:cubicBezTo>
                            <a:cubicBezTo>
                              <a:pt x="3436" y="1076"/>
                              <a:pt x="3555" y="1076"/>
                              <a:pt x="3615" y="1076"/>
                            </a:cubicBezTo>
                            <a:cubicBezTo>
                              <a:pt x="3735" y="1076"/>
                              <a:pt x="3794" y="1136"/>
                              <a:pt x="3914" y="1136"/>
                            </a:cubicBezTo>
                            <a:cubicBezTo>
                              <a:pt x="4034" y="1136"/>
                              <a:pt x="4094" y="1196"/>
                              <a:pt x="4153" y="1256"/>
                            </a:cubicBezTo>
                            <a:cubicBezTo>
                              <a:pt x="4094" y="1256"/>
                              <a:pt x="4153" y="1316"/>
                              <a:pt x="4213" y="1375"/>
                            </a:cubicBezTo>
                            <a:moveTo>
                              <a:pt x="744" y="5861"/>
                            </a:moveTo>
                            <a:cubicBezTo>
                              <a:pt x="864" y="5921"/>
                              <a:pt x="984" y="6040"/>
                              <a:pt x="1103" y="6100"/>
                            </a:cubicBezTo>
                            <a:cubicBezTo>
                              <a:pt x="1223" y="6160"/>
                              <a:pt x="1342" y="6220"/>
                              <a:pt x="1462" y="6220"/>
                            </a:cubicBezTo>
                            <a:cubicBezTo>
                              <a:pt x="1581" y="6280"/>
                              <a:pt x="1761" y="6280"/>
                              <a:pt x="1881" y="6280"/>
                            </a:cubicBezTo>
                            <a:cubicBezTo>
                              <a:pt x="2000" y="6280"/>
                              <a:pt x="2180" y="6280"/>
                              <a:pt x="2359" y="6280"/>
                            </a:cubicBezTo>
                            <a:cubicBezTo>
                              <a:pt x="2778" y="6220"/>
                              <a:pt x="3137" y="6100"/>
                              <a:pt x="3495" y="5921"/>
                            </a:cubicBezTo>
                            <a:cubicBezTo>
                              <a:pt x="3854" y="5741"/>
                              <a:pt x="4213" y="5502"/>
                              <a:pt x="4512" y="5143"/>
                            </a:cubicBezTo>
                            <a:cubicBezTo>
                              <a:pt x="4811" y="4844"/>
                              <a:pt x="5050" y="4486"/>
                              <a:pt x="5290" y="4067"/>
                            </a:cubicBezTo>
                            <a:cubicBezTo>
                              <a:pt x="5529" y="3648"/>
                              <a:pt x="5648" y="3289"/>
                              <a:pt x="5708" y="2811"/>
                            </a:cubicBezTo>
                            <a:cubicBezTo>
                              <a:pt x="5768" y="2572"/>
                              <a:pt x="5768" y="2332"/>
                              <a:pt x="5768" y="2093"/>
                            </a:cubicBezTo>
                            <a:cubicBezTo>
                              <a:pt x="5768" y="1854"/>
                              <a:pt x="5708" y="1615"/>
                              <a:pt x="5648" y="1435"/>
                            </a:cubicBezTo>
                            <a:cubicBezTo>
                              <a:pt x="5589" y="1256"/>
                              <a:pt x="5469" y="1017"/>
                              <a:pt x="5349" y="897"/>
                            </a:cubicBezTo>
                            <a:cubicBezTo>
                              <a:pt x="5230" y="718"/>
                              <a:pt x="5110" y="598"/>
                              <a:pt x="4931" y="478"/>
                            </a:cubicBezTo>
                            <a:cubicBezTo>
                              <a:pt x="4811" y="418"/>
                              <a:pt x="4692" y="299"/>
                              <a:pt x="4572" y="239"/>
                            </a:cubicBezTo>
                            <a:cubicBezTo>
                              <a:pt x="4452" y="179"/>
                              <a:pt x="4333" y="119"/>
                              <a:pt x="4213" y="60"/>
                            </a:cubicBezTo>
                            <a:cubicBezTo>
                              <a:pt x="4094" y="0"/>
                              <a:pt x="3914" y="0"/>
                              <a:pt x="3794" y="0"/>
                            </a:cubicBezTo>
                            <a:cubicBezTo>
                              <a:pt x="3675" y="0"/>
                              <a:pt x="3495" y="0"/>
                              <a:pt x="3316" y="0"/>
                            </a:cubicBezTo>
                            <a:cubicBezTo>
                              <a:pt x="3137" y="0"/>
                              <a:pt x="2957" y="60"/>
                              <a:pt x="2718" y="119"/>
                            </a:cubicBezTo>
                            <a:cubicBezTo>
                              <a:pt x="2479" y="179"/>
                              <a:pt x="2359" y="239"/>
                              <a:pt x="2180" y="359"/>
                            </a:cubicBezTo>
                            <a:cubicBezTo>
                              <a:pt x="2000" y="478"/>
                              <a:pt x="1821" y="538"/>
                              <a:pt x="1641" y="718"/>
                            </a:cubicBezTo>
                            <a:cubicBezTo>
                              <a:pt x="1462" y="837"/>
                              <a:pt x="1283" y="1017"/>
                              <a:pt x="1163" y="1136"/>
                            </a:cubicBezTo>
                            <a:cubicBezTo>
                              <a:pt x="984" y="1316"/>
                              <a:pt x="864" y="1495"/>
                              <a:pt x="744" y="1674"/>
                            </a:cubicBezTo>
                            <a:cubicBezTo>
                              <a:pt x="625" y="1854"/>
                              <a:pt x="505" y="2033"/>
                              <a:pt x="386" y="2213"/>
                            </a:cubicBezTo>
                            <a:cubicBezTo>
                              <a:pt x="266" y="2392"/>
                              <a:pt x="206" y="2631"/>
                              <a:pt x="146" y="2811"/>
                            </a:cubicBezTo>
                            <a:cubicBezTo>
                              <a:pt x="86" y="2990"/>
                              <a:pt x="26" y="3229"/>
                              <a:pt x="26" y="3409"/>
                            </a:cubicBezTo>
                            <a:cubicBezTo>
                              <a:pt x="26" y="3648"/>
                              <a:pt x="-33" y="3827"/>
                              <a:pt x="26" y="4007"/>
                            </a:cubicBezTo>
                            <a:cubicBezTo>
                              <a:pt x="26" y="4186"/>
                              <a:pt x="86" y="4426"/>
                              <a:pt x="86" y="4605"/>
                            </a:cubicBezTo>
                            <a:cubicBezTo>
                              <a:pt x="146" y="4785"/>
                              <a:pt x="206" y="4964"/>
                              <a:pt x="266" y="5143"/>
                            </a:cubicBezTo>
                            <a:cubicBezTo>
                              <a:pt x="326" y="5323"/>
                              <a:pt x="445" y="5442"/>
                              <a:pt x="565" y="5562"/>
                            </a:cubicBezTo>
                            <a:cubicBezTo>
                              <a:pt x="565" y="5562"/>
                              <a:pt x="625" y="5622"/>
                              <a:pt x="625" y="5622"/>
                            </a:cubicBezTo>
                            <a:cubicBezTo>
                              <a:pt x="625" y="5622"/>
                              <a:pt x="685" y="5681"/>
                              <a:pt x="685" y="5681"/>
                            </a:cubicBezTo>
                            <a:cubicBezTo>
                              <a:pt x="685" y="5681"/>
                              <a:pt x="744" y="5741"/>
                              <a:pt x="744" y="5741"/>
                            </a:cubicBezTo>
                            <a:cubicBezTo>
                              <a:pt x="744" y="5741"/>
                              <a:pt x="744" y="5801"/>
                              <a:pt x="744" y="5861"/>
                            </a:cubicBezTo>
                          </a:path>
                        </a:pathLst>
                      </a:custGeom>
                      <a:noFill/>
                      <a:ln w="6350" cap="flat">
                        <a:solidFill>
                          <a:schemeClr val="bg1">
                            <a:alpha val="40000"/>
                          </a:schemeClr>
                        </a:solidFill>
                        <a:prstDash val="solid"/>
                        <a:miter/>
                      </a:ln>
                    </p:spPr>
                    <p:txBody>
                      <a:bodyPr rtlCol="0" anchor="ctr"/>
                      <a:lstStyle/>
                      <a:p>
                        <a:endParaRPr lang="en-GB"/>
                      </a:p>
                    </p:txBody>
                  </p:sp>
                  <p:sp>
                    <p:nvSpPr>
                      <p:cNvPr id="7569" name="Vrije vorm: vorm 7568">
                        <a:extLst>
                          <a:ext uri="{FF2B5EF4-FFF2-40B4-BE49-F238E27FC236}">
                            <a16:creationId xmlns:a16="http://schemas.microsoft.com/office/drawing/2014/main" id="{C7884761-4014-4E9F-A712-D74368B99C37}"/>
                          </a:ext>
                        </a:extLst>
                      </p:cNvPr>
                      <p:cNvSpPr/>
                      <p:nvPr/>
                    </p:nvSpPr>
                    <p:spPr>
                      <a:xfrm>
                        <a:off x="5208750" y="5205914"/>
                        <a:ext cx="5681" cy="6249"/>
                      </a:xfrm>
                      <a:custGeom>
                        <a:avLst/>
                        <a:gdLst>
                          <a:gd name="connsiteX0" fmla="*/ 1795 w 5681"/>
                          <a:gd name="connsiteY0" fmla="*/ 5128 h 6249"/>
                          <a:gd name="connsiteX1" fmla="*/ 1675 w 5681"/>
                          <a:gd name="connsiteY1" fmla="*/ 5069 h 6249"/>
                          <a:gd name="connsiteX2" fmla="*/ 1555 w 5681"/>
                          <a:gd name="connsiteY2" fmla="*/ 5009 h 6249"/>
                          <a:gd name="connsiteX3" fmla="*/ 1436 w 5681"/>
                          <a:gd name="connsiteY3" fmla="*/ 4949 h 6249"/>
                          <a:gd name="connsiteX4" fmla="*/ 1316 w 5681"/>
                          <a:gd name="connsiteY4" fmla="*/ 4889 h 6249"/>
                          <a:gd name="connsiteX5" fmla="*/ 1136 w 5681"/>
                          <a:gd name="connsiteY5" fmla="*/ 4710 h 6249"/>
                          <a:gd name="connsiteX6" fmla="*/ 1077 w 5681"/>
                          <a:gd name="connsiteY6" fmla="*/ 4650 h 6249"/>
                          <a:gd name="connsiteX7" fmla="*/ 1017 w 5681"/>
                          <a:gd name="connsiteY7" fmla="*/ 4590 h 6249"/>
                          <a:gd name="connsiteX8" fmla="*/ 957 w 5681"/>
                          <a:gd name="connsiteY8" fmla="*/ 4530 h 6249"/>
                          <a:gd name="connsiteX9" fmla="*/ 897 w 5681"/>
                          <a:gd name="connsiteY9" fmla="*/ 4471 h 6249"/>
                          <a:gd name="connsiteX10" fmla="*/ 778 w 5681"/>
                          <a:gd name="connsiteY10" fmla="*/ 4231 h 6249"/>
                          <a:gd name="connsiteX11" fmla="*/ 718 w 5681"/>
                          <a:gd name="connsiteY11" fmla="*/ 3933 h 6249"/>
                          <a:gd name="connsiteX12" fmla="*/ 718 w 5681"/>
                          <a:gd name="connsiteY12" fmla="*/ 3633 h 6249"/>
                          <a:gd name="connsiteX13" fmla="*/ 718 w 5681"/>
                          <a:gd name="connsiteY13" fmla="*/ 3334 h 6249"/>
                          <a:gd name="connsiteX14" fmla="*/ 778 w 5681"/>
                          <a:gd name="connsiteY14" fmla="*/ 2975 h 6249"/>
                          <a:gd name="connsiteX15" fmla="*/ 897 w 5681"/>
                          <a:gd name="connsiteY15" fmla="*/ 2617 h 6249"/>
                          <a:gd name="connsiteX16" fmla="*/ 1077 w 5681"/>
                          <a:gd name="connsiteY16" fmla="*/ 2318 h 6249"/>
                          <a:gd name="connsiteX17" fmla="*/ 1256 w 5681"/>
                          <a:gd name="connsiteY17" fmla="*/ 2019 h 6249"/>
                          <a:gd name="connsiteX18" fmla="*/ 1316 w 5681"/>
                          <a:gd name="connsiteY18" fmla="*/ 1959 h 6249"/>
                          <a:gd name="connsiteX19" fmla="*/ 1376 w 5681"/>
                          <a:gd name="connsiteY19" fmla="*/ 1899 h 6249"/>
                          <a:gd name="connsiteX20" fmla="*/ 1436 w 5681"/>
                          <a:gd name="connsiteY20" fmla="*/ 1839 h 6249"/>
                          <a:gd name="connsiteX21" fmla="*/ 1495 w 5681"/>
                          <a:gd name="connsiteY21" fmla="*/ 1779 h 6249"/>
                          <a:gd name="connsiteX22" fmla="*/ 1675 w 5681"/>
                          <a:gd name="connsiteY22" fmla="*/ 1600 h 6249"/>
                          <a:gd name="connsiteX23" fmla="*/ 1914 w 5681"/>
                          <a:gd name="connsiteY23" fmla="*/ 1420 h 6249"/>
                          <a:gd name="connsiteX24" fmla="*/ 2153 w 5681"/>
                          <a:gd name="connsiteY24" fmla="*/ 1301 h 6249"/>
                          <a:gd name="connsiteX25" fmla="*/ 2392 w 5681"/>
                          <a:gd name="connsiteY25" fmla="*/ 1181 h 6249"/>
                          <a:gd name="connsiteX26" fmla="*/ 2871 w 5681"/>
                          <a:gd name="connsiteY26" fmla="*/ 1062 h 6249"/>
                          <a:gd name="connsiteX27" fmla="*/ 3350 w 5681"/>
                          <a:gd name="connsiteY27" fmla="*/ 1062 h 6249"/>
                          <a:gd name="connsiteX28" fmla="*/ 3768 w 5681"/>
                          <a:gd name="connsiteY28" fmla="*/ 1181 h 6249"/>
                          <a:gd name="connsiteX29" fmla="*/ 4187 w 5681"/>
                          <a:gd name="connsiteY29" fmla="*/ 1420 h 6249"/>
                          <a:gd name="connsiteX30" fmla="*/ 4246 w 5681"/>
                          <a:gd name="connsiteY30" fmla="*/ 1480 h 6249"/>
                          <a:gd name="connsiteX31" fmla="*/ 4306 w 5681"/>
                          <a:gd name="connsiteY31" fmla="*/ 1540 h 6249"/>
                          <a:gd name="connsiteX32" fmla="*/ 4366 w 5681"/>
                          <a:gd name="connsiteY32" fmla="*/ 1600 h 6249"/>
                          <a:gd name="connsiteX33" fmla="*/ 4426 w 5681"/>
                          <a:gd name="connsiteY33" fmla="*/ 1660 h 6249"/>
                          <a:gd name="connsiteX34" fmla="*/ 4605 w 5681"/>
                          <a:gd name="connsiteY34" fmla="*/ 1959 h 6249"/>
                          <a:gd name="connsiteX35" fmla="*/ 4725 w 5681"/>
                          <a:gd name="connsiteY35" fmla="*/ 2318 h 6249"/>
                          <a:gd name="connsiteX36" fmla="*/ 4785 w 5681"/>
                          <a:gd name="connsiteY36" fmla="*/ 2676 h 6249"/>
                          <a:gd name="connsiteX37" fmla="*/ 4785 w 5681"/>
                          <a:gd name="connsiteY37" fmla="*/ 3095 h 6249"/>
                          <a:gd name="connsiteX38" fmla="*/ 4665 w 5681"/>
                          <a:gd name="connsiteY38" fmla="*/ 3514 h 6249"/>
                          <a:gd name="connsiteX39" fmla="*/ 4486 w 5681"/>
                          <a:gd name="connsiteY39" fmla="*/ 3933 h 6249"/>
                          <a:gd name="connsiteX40" fmla="*/ 4246 w 5681"/>
                          <a:gd name="connsiteY40" fmla="*/ 4291 h 6249"/>
                          <a:gd name="connsiteX41" fmla="*/ 3947 w 5681"/>
                          <a:gd name="connsiteY41" fmla="*/ 4650 h 6249"/>
                          <a:gd name="connsiteX42" fmla="*/ 3469 w 5681"/>
                          <a:gd name="connsiteY42" fmla="*/ 5069 h 6249"/>
                          <a:gd name="connsiteX43" fmla="*/ 2931 w 5681"/>
                          <a:gd name="connsiteY43" fmla="*/ 5308 h 6249"/>
                          <a:gd name="connsiteX44" fmla="*/ 2392 w 5681"/>
                          <a:gd name="connsiteY44" fmla="*/ 5428 h 6249"/>
                          <a:gd name="connsiteX45" fmla="*/ 1795 w 5681"/>
                          <a:gd name="connsiteY45" fmla="*/ 5128 h 6249"/>
                          <a:gd name="connsiteX46" fmla="*/ 1795 w 5681"/>
                          <a:gd name="connsiteY46" fmla="*/ 5128 h 6249"/>
                          <a:gd name="connsiteX47" fmla="*/ 1795 w 5681"/>
                          <a:gd name="connsiteY47" fmla="*/ 5128 h 6249"/>
                          <a:gd name="connsiteX48" fmla="*/ 1795 w 5681"/>
                          <a:gd name="connsiteY48" fmla="*/ 5128 h 6249"/>
                          <a:gd name="connsiteX49" fmla="*/ 1795 w 5681"/>
                          <a:gd name="connsiteY49" fmla="*/ 5128 h 6249"/>
                          <a:gd name="connsiteX50" fmla="*/ 598 w 5681"/>
                          <a:gd name="connsiteY50" fmla="*/ 5787 h 6249"/>
                          <a:gd name="connsiteX51" fmla="*/ 598 w 5681"/>
                          <a:gd name="connsiteY51" fmla="*/ 5787 h 6249"/>
                          <a:gd name="connsiteX52" fmla="*/ 658 w 5681"/>
                          <a:gd name="connsiteY52" fmla="*/ 5846 h 6249"/>
                          <a:gd name="connsiteX53" fmla="*/ 718 w 5681"/>
                          <a:gd name="connsiteY53" fmla="*/ 5846 h 6249"/>
                          <a:gd name="connsiteX54" fmla="*/ 778 w 5681"/>
                          <a:gd name="connsiteY54" fmla="*/ 5846 h 6249"/>
                          <a:gd name="connsiteX55" fmla="*/ 957 w 5681"/>
                          <a:gd name="connsiteY55" fmla="*/ 5966 h 6249"/>
                          <a:gd name="connsiteX56" fmla="*/ 1196 w 5681"/>
                          <a:gd name="connsiteY56" fmla="*/ 6085 h 6249"/>
                          <a:gd name="connsiteX57" fmla="*/ 1436 w 5681"/>
                          <a:gd name="connsiteY57" fmla="*/ 6145 h 6249"/>
                          <a:gd name="connsiteX58" fmla="*/ 1675 w 5681"/>
                          <a:gd name="connsiteY58" fmla="*/ 6205 h 6249"/>
                          <a:gd name="connsiteX59" fmla="*/ 1675 w 5681"/>
                          <a:gd name="connsiteY59" fmla="*/ 6205 h 6249"/>
                          <a:gd name="connsiteX60" fmla="*/ 1675 w 5681"/>
                          <a:gd name="connsiteY60" fmla="*/ 6205 h 6249"/>
                          <a:gd name="connsiteX61" fmla="*/ 1675 w 5681"/>
                          <a:gd name="connsiteY61" fmla="*/ 6205 h 6249"/>
                          <a:gd name="connsiteX62" fmla="*/ 1675 w 5681"/>
                          <a:gd name="connsiteY62" fmla="*/ 6205 h 6249"/>
                          <a:gd name="connsiteX63" fmla="*/ 2392 w 5681"/>
                          <a:gd name="connsiteY63" fmla="*/ 6205 h 6249"/>
                          <a:gd name="connsiteX64" fmla="*/ 3110 w 5681"/>
                          <a:gd name="connsiteY64" fmla="*/ 6026 h 6249"/>
                          <a:gd name="connsiteX65" fmla="*/ 3828 w 5681"/>
                          <a:gd name="connsiteY65" fmla="*/ 5667 h 6249"/>
                          <a:gd name="connsiteX66" fmla="*/ 4486 w 5681"/>
                          <a:gd name="connsiteY66" fmla="*/ 5128 h 6249"/>
                          <a:gd name="connsiteX67" fmla="*/ 4904 w 5681"/>
                          <a:gd name="connsiteY67" fmla="*/ 4590 h 6249"/>
                          <a:gd name="connsiteX68" fmla="*/ 5263 w 5681"/>
                          <a:gd name="connsiteY68" fmla="*/ 4052 h 6249"/>
                          <a:gd name="connsiteX69" fmla="*/ 5503 w 5681"/>
                          <a:gd name="connsiteY69" fmla="*/ 3454 h 6249"/>
                          <a:gd name="connsiteX70" fmla="*/ 5622 w 5681"/>
                          <a:gd name="connsiteY70" fmla="*/ 2856 h 6249"/>
                          <a:gd name="connsiteX71" fmla="*/ 5682 w 5681"/>
                          <a:gd name="connsiteY71" fmla="*/ 2258 h 6249"/>
                          <a:gd name="connsiteX72" fmla="*/ 5622 w 5681"/>
                          <a:gd name="connsiteY72" fmla="*/ 1720 h 6249"/>
                          <a:gd name="connsiteX73" fmla="*/ 5443 w 5681"/>
                          <a:gd name="connsiteY73" fmla="*/ 1241 h 6249"/>
                          <a:gd name="connsiteX74" fmla="*/ 5144 w 5681"/>
                          <a:gd name="connsiteY74" fmla="*/ 822 h 6249"/>
                          <a:gd name="connsiteX75" fmla="*/ 4845 w 5681"/>
                          <a:gd name="connsiteY75" fmla="*/ 523 h 6249"/>
                          <a:gd name="connsiteX76" fmla="*/ 4366 w 5681"/>
                          <a:gd name="connsiteY76" fmla="*/ 224 h 6249"/>
                          <a:gd name="connsiteX77" fmla="*/ 3828 w 5681"/>
                          <a:gd name="connsiteY77" fmla="*/ 45 h 6249"/>
                          <a:gd name="connsiteX78" fmla="*/ 3230 w 5681"/>
                          <a:gd name="connsiteY78" fmla="*/ 45 h 6249"/>
                          <a:gd name="connsiteX79" fmla="*/ 2632 w 5681"/>
                          <a:gd name="connsiteY79" fmla="*/ 165 h 6249"/>
                          <a:gd name="connsiteX80" fmla="*/ 2392 w 5681"/>
                          <a:gd name="connsiteY80" fmla="*/ 284 h 6249"/>
                          <a:gd name="connsiteX81" fmla="*/ 2153 w 5681"/>
                          <a:gd name="connsiteY81" fmla="*/ 404 h 6249"/>
                          <a:gd name="connsiteX82" fmla="*/ 1914 w 5681"/>
                          <a:gd name="connsiteY82" fmla="*/ 523 h 6249"/>
                          <a:gd name="connsiteX83" fmla="*/ 1675 w 5681"/>
                          <a:gd name="connsiteY83" fmla="*/ 703 h 6249"/>
                          <a:gd name="connsiteX84" fmla="*/ 1555 w 5681"/>
                          <a:gd name="connsiteY84" fmla="*/ 822 h 6249"/>
                          <a:gd name="connsiteX85" fmla="*/ 1436 w 5681"/>
                          <a:gd name="connsiteY85" fmla="*/ 942 h 6249"/>
                          <a:gd name="connsiteX86" fmla="*/ 1316 w 5681"/>
                          <a:gd name="connsiteY86" fmla="*/ 1062 h 6249"/>
                          <a:gd name="connsiteX87" fmla="*/ 1196 w 5681"/>
                          <a:gd name="connsiteY87" fmla="*/ 1181 h 6249"/>
                          <a:gd name="connsiteX88" fmla="*/ 778 w 5681"/>
                          <a:gd name="connsiteY88" fmla="*/ 1660 h 6249"/>
                          <a:gd name="connsiteX89" fmla="*/ 419 w 5681"/>
                          <a:gd name="connsiteY89" fmla="*/ 2198 h 6249"/>
                          <a:gd name="connsiteX90" fmla="*/ 180 w 5681"/>
                          <a:gd name="connsiteY90" fmla="*/ 2796 h 6249"/>
                          <a:gd name="connsiteX91" fmla="*/ 0 w 5681"/>
                          <a:gd name="connsiteY91" fmla="*/ 3394 h 6249"/>
                          <a:gd name="connsiteX92" fmla="*/ 0 w 5681"/>
                          <a:gd name="connsiteY92" fmla="*/ 3693 h 6249"/>
                          <a:gd name="connsiteX93" fmla="*/ 0 w 5681"/>
                          <a:gd name="connsiteY93" fmla="*/ 3992 h 6249"/>
                          <a:gd name="connsiteX94" fmla="*/ 0 w 5681"/>
                          <a:gd name="connsiteY94" fmla="*/ 4291 h 6249"/>
                          <a:gd name="connsiteX95" fmla="*/ 60 w 5681"/>
                          <a:gd name="connsiteY95" fmla="*/ 4590 h 6249"/>
                          <a:gd name="connsiteX96" fmla="*/ 120 w 5681"/>
                          <a:gd name="connsiteY96" fmla="*/ 4829 h 6249"/>
                          <a:gd name="connsiteX97" fmla="*/ 239 w 5681"/>
                          <a:gd name="connsiteY97" fmla="*/ 5069 h 6249"/>
                          <a:gd name="connsiteX98" fmla="*/ 359 w 5681"/>
                          <a:gd name="connsiteY98" fmla="*/ 5308 h 6249"/>
                          <a:gd name="connsiteX99" fmla="*/ 538 w 5681"/>
                          <a:gd name="connsiteY99" fmla="*/ 5487 h 6249"/>
                          <a:gd name="connsiteX100" fmla="*/ 538 w 5681"/>
                          <a:gd name="connsiteY100" fmla="*/ 5487 h 6249"/>
                          <a:gd name="connsiteX101" fmla="*/ 538 w 5681"/>
                          <a:gd name="connsiteY101" fmla="*/ 5487 h 6249"/>
                          <a:gd name="connsiteX102" fmla="*/ 538 w 5681"/>
                          <a:gd name="connsiteY102" fmla="*/ 5487 h 6249"/>
                          <a:gd name="connsiteX103" fmla="*/ 538 w 5681"/>
                          <a:gd name="connsiteY103" fmla="*/ 5487 h 6249"/>
                          <a:gd name="connsiteX104" fmla="*/ 598 w 5681"/>
                          <a:gd name="connsiteY104" fmla="*/ 5547 h 6249"/>
                          <a:gd name="connsiteX105" fmla="*/ 658 w 5681"/>
                          <a:gd name="connsiteY105" fmla="*/ 5607 h 6249"/>
                          <a:gd name="connsiteX106" fmla="*/ 718 w 5681"/>
                          <a:gd name="connsiteY106" fmla="*/ 5667 h 6249"/>
                          <a:gd name="connsiteX107" fmla="*/ 598 w 5681"/>
                          <a:gd name="connsiteY107" fmla="*/ 5787 h 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681" h="6249">
                            <a:moveTo>
                              <a:pt x="1795" y="5128"/>
                            </a:moveTo>
                            <a:cubicBezTo>
                              <a:pt x="1735" y="5128"/>
                              <a:pt x="1675" y="5128"/>
                              <a:pt x="1675" y="5069"/>
                            </a:cubicBezTo>
                            <a:cubicBezTo>
                              <a:pt x="1615" y="5069"/>
                              <a:pt x="1555" y="5009"/>
                              <a:pt x="1555" y="5009"/>
                            </a:cubicBezTo>
                            <a:cubicBezTo>
                              <a:pt x="1555" y="5009"/>
                              <a:pt x="1495" y="4949"/>
                              <a:pt x="1436" y="4949"/>
                            </a:cubicBezTo>
                            <a:cubicBezTo>
                              <a:pt x="1376" y="4949"/>
                              <a:pt x="1376" y="4889"/>
                              <a:pt x="1316" y="4889"/>
                            </a:cubicBezTo>
                            <a:lnTo>
                              <a:pt x="1136" y="4710"/>
                            </a:lnTo>
                            <a:cubicBezTo>
                              <a:pt x="1136" y="4710"/>
                              <a:pt x="1077" y="4650"/>
                              <a:pt x="1077" y="4650"/>
                            </a:cubicBezTo>
                            <a:cubicBezTo>
                              <a:pt x="1077" y="4650"/>
                              <a:pt x="1017" y="4590"/>
                              <a:pt x="1017" y="4590"/>
                            </a:cubicBezTo>
                            <a:cubicBezTo>
                              <a:pt x="1017" y="4590"/>
                              <a:pt x="957" y="4530"/>
                              <a:pt x="957" y="4530"/>
                            </a:cubicBezTo>
                            <a:cubicBezTo>
                              <a:pt x="957" y="4530"/>
                              <a:pt x="957" y="4471"/>
                              <a:pt x="897" y="4471"/>
                            </a:cubicBezTo>
                            <a:cubicBezTo>
                              <a:pt x="837" y="4411"/>
                              <a:pt x="837" y="4291"/>
                              <a:pt x="778" y="4231"/>
                            </a:cubicBezTo>
                            <a:cubicBezTo>
                              <a:pt x="718" y="4172"/>
                              <a:pt x="718" y="4052"/>
                              <a:pt x="718" y="3933"/>
                            </a:cubicBezTo>
                            <a:cubicBezTo>
                              <a:pt x="718" y="3813"/>
                              <a:pt x="718" y="3753"/>
                              <a:pt x="718" y="3633"/>
                            </a:cubicBezTo>
                            <a:cubicBezTo>
                              <a:pt x="718" y="3514"/>
                              <a:pt x="718" y="3394"/>
                              <a:pt x="718" y="3334"/>
                            </a:cubicBezTo>
                            <a:cubicBezTo>
                              <a:pt x="718" y="3215"/>
                              <a:pt x="778" y="3095"/>
                              <a:pt x="778" y="2975"/>
                            </a:cubicBezTo>
                            <a:cubicBezTo>
                              <a:pt x="837" y="2856"/>
                              <a:pt x="837" y="2736"/>
                              <a:pt x="897" y="2617"/>
                            </a:cubicBezTo>
                            <a:cubicBezTo>
                              <a:pt x="957" y="2497"/>
                              <a:pt x="1017" y="2377"/>
                              <a:pt x="1077" y="2318"/>
                            </a:cubicBezTo>
                            <a:cubicBezTo>
                              <a:pt x="1136" y="2198"/>
                              <a:pt x="1196" y="2138"/>
                              <a:pt x="1256" y="2019"/>
                            </a:cubicBezTo>
                            <a:cubicBezTo>
                              <a:pt x="1256" y="2019"/>
                              <a:pt x="1316" y="1959"/>
                              <a:pt x="1316" y="1959"/>
                            </a:cubicBezTo>
                            <a:cubicBezTo>
                              <a:pt x="1316" y="1959"/>
                              <a:pt x="1376" y="1899"/>
                              <a:pt x="1376" y="1899"/>
                            </a:cubicBezTo>
                            <a:cubicBezTo>
                              <a:pt x="1376" y="1899"/>
                              <a:pt x="1436" y="1839"/>
                              <a:pt x="1436" y="1839"/>
                            </a:cubicBezTo>
                            <a:cubicBezTo>
                              <a:pt x="1436" y="1839"/>
                              <a:pt x="1495" y="1779"/>
                              <a:pt x="1495" y="1779"/>
                            </a:cubicBezTo>
                            <a:cubicBezTo>
                              <a:pt x="1555" y="1720"/>
                              <a:pt x="1615" y="1660"/>
                              <a:pt x="1675" y="1600"/>
                            </a:cubicBezTo>
                            <a:cubicBezTo>
                              <a:pt x="1735" y="1540"/>
                              <a:pt x="1795" y="1480"/>
                              <a:pt x="1914" y="1420"/>
                            </a:cubicBezTo>
                            <a:cubicBezTo>
                              <a:pt x="2034" y="1361"/>
                              <a:pt x="2034" y="1301"/>
                              <a:pt x="2153" y="1301"/>
                            </a:cubicBezTo>
                            <a:cubicBezTo>
                              <a:pt x="2213" y="1241"/>
                              <a:pt x="2333" y="1241"/>
                              <a:pt x="2392" y="1181"/>
                            </a:cubicBezTo>
                            <a:cubicBezTo>
                              <a:pt x="2572" y="1121"/>
                              <a:pt x="2691" y="1062"/>
                              <a:pt x="2871" y="1062"/>
                            </a:cubicBezTo>
                            <a:cubicBezTo>
                              <a:pt x="3050" y="1062"/>
                              <a:pt x="3170" y="1002"/>
                              <a:pt x="3350" y="1062"/>
                            </a:cubicBezTo>
                            <a:cubicBezTo>
                              <a:pt x="3529" y="1062"/>
                              <a:pt x="3649" y="1121"/>
                              <a:pt x="3768" y="1181"/>
                            </a:cubicBezTo>
                            <a:cubicBezTo>
                              <a:pt x="3888" y="1241"/>
                              <a:pt x="4067" y="1301"/>
                              <a:pt x="4187" y="1420"/>
                            </a:cubicBezTo>
                            <a:cubicBezTo>
                              <a:pt x="4187" y="1420"/>
                              <a:pt x="4187" y="1420"/>
                              <a:pt x="4246" y="1480"/>
                            </a:cubicBezTo>
                            <a:cubicBezTo>
                              <a:pt x="4246" y="1480"/>
                              <a:pt x="4246" y="1480"/>
                              <a:pt x="4306" y="1540"/>
                            </a:cubicBezTo>
                            <a:cubicBezTo>
                              <a:pt x="4306" y="1540"/>
                              <a:pt x="4306" y="1540"/>
                              <a:pt x="4366" y="1600"/>
                            </a:cubicBezTo>
                            <a:cubicBezTo>
                              <a:pt x="4366" y="1600"/>
                              <a:pt x="4366" y="1600"/>
                              <a:pt x="4426" y="1660"/>
                            </a:cubicBezTo>
                            <a:cubicBezTo>
                              <a:pt x="4486" y="1779"/>
                              <a:pt x="4545" y="1839"/>
                              <a:pt x="4605" y="1959"/>
                            </a:cubicBezTo>
                            <a:cubicBezTo>
                              <a:pt x="4665" y="2079"/>
                              <a:pt x="4725" y="2198"/>
                              <a:pt x="4725" y="2318"/>
                            </a:cubicBezTo>
                            <a:cubicBezTo>
                              <a:pt x="4725" y="2437"/>
                              <a:pt x="4785" y="2557"/>
                              <a:pt x="4785" y="2676"/>
                            </a:cubicBezTo>
                            <a:cubicBezTo>
                              <a:pt x="4785" y="2796"/>
                              <a:pt x="4785" y="2975"/>
                              <a:pt x="4785" y="3095"/>
                            </a:cubicBezTo>
                            <a:cubicBezTo>
                              <a:pt x="4785" y="3215"/>
                              <a:pt x="4725" y="3394"/>
                              <a:pt x="4665" y="3514"/>
                            </a:cubicBezTo>
                            <a:cubicBezTo>
                              <a:pt x="4605" y="3633"/>
                              <a:pt x="4545" y="3813"/>
                              <a:pt x="4486" y="3933"/>
                            </a:cubicBezTo>
                            <a:cubicBezTo>
                              <a:pt x="4426" y="4052"/>
                              <a:pt x="4366" y="4172"/>
                              <a:pt x="4246" y="4291"/>
                            </a:cubicBezTo>
                            <a:cubicBezTo>
                              <a:pt x="4127" y="4411"/>
                              <a:pt x="4067" y="4530"/>
                              <a:pt x="3947" y="4650"/>
                            </a:cubicBezTo>
                            <a:cubicBezTo>
                              <a:pt x="3768" y="4829"/>
                              <a:pt x="3649" y="4949"/>
                              <a:pt x="3469" y="5069"/>
                            </a:cubicBezTo>
                            <a:cubicBezTo>
                              <a:pt x="3290" y="5188"/>
                              <a:pt x="3110" y="5248"/>
                              <a:pt x="2931" y="5308"/>
                            </a:cubicBezTo>
                            <a:cubicBezTo>
                              <a:pt x="2751" y="5368"/>
                              <a:pt x="2572" y="5428"/>
                              <a:pt x="2392" y="5428"/>
                            </a:cubicBezTo>
                            <a:cubicBezTo>
                              <a:pt x="2093" y="5188"/>
                              <a:pt x="1914" y="5188"/>
                              <a:pt x="1795" y="5128"/>
                            </a:cubicBezTo>
                            <a:cubicBezTo>
                              <a:pt x="1795" y="5128"/>
                              <a:pt x="1795" y="5128"/>
                              <a:pt x="1795" y="5128"/>
                            </a:cubicBezTo>
                            <a:cubicBezTo>
                              <a:pt x="1795" y="5128"/>
                              <a:pt x="1795" y="5128"/>
                              <a:pt x="1795" y="5128"/>
                            </a:cubicBezTo>
                            <a:cubicBezTo>
                              <a:pt x="1795" y="5128"/>
                              <a:pt x="1795" y="5128"/>
                              <a:pt x="1795" y="5128"/>
                            </a:cubicBezTo>
                            <a:cubicBezTo>
                              <a:pt x="1795" y="5128"/>
                              <a:pt x="1795" y="5128"/>
                              <a:pt x="1795" y="5128"/>
                            </a:cubicBezTo>
                            <a:moveTo>
                              <a:pt x="598" y="5787"/>
                            </a:moveTo>
                            <a:cubicBezTo>
                              <a:pt x="598" y="5787"/>
                              <a:pt x="598" y="5787"/>
                              <a:pt x="598" y="5787"/>
                            </a:cubicBezTo>
                            <a:cubicBezTo>
                              <a:pt x="658" y="5846"/>
                              <a:pt x="658" y="5846"/>
                              <a:pt x="658" y="5846"/>
                            </a:cubicBezTo>
                            <a:cubicBezTo>
                              <a:pt x="658" y="5846"/>
                              <a:pt x="658" y="5846"/>
                              <a:pt x="718" y="5846"/>
                            </a:cubicBezTo>
                            <a:cubicBezTo>
                              <a:pt x="778" y="5846"/>
                              <a:pt x="718" y="5846"/>
                              <a:pt x="778" y="5846"/>
                            </a:cubicBezTo>
                            <a:cubicBezTo>
                              <a:pt x="837" y="5906"/>
                              <a:pt x="897" y="5906"/>
                              <a:pt x="957" y="5966"/>
                            </a:cubicBezTo>
                            <a:cubicBezTo>
                              <a:pt x="1017" y="6026"/>
                              <a:pt x="1077" y="6026"/>
                              <a:pt x="1196" y="6085"/>
                            </a:cubicBezTo>
                            <a:cubicBezTo>
                              <a:pt x="1256" y="6085"/>
                              <a:pt x="1376" y="6145"/>
                              <a:pt x="1436" y="6145"/>
                            </a:cubicBezTo>
                            <a:cubicBezTo>
                              <a:pt x="1495" y="6145"/>
                              <a:pt x="1615" y="6205"/>
                              <a:pt x="1675" y="6205"/>
                            </a:cubicBezTo>
                            <a:cubicBezTo>
                              <a:pt x="1675" y="6205"/>
                              <a:pt x="1675" y="6205"/>
                              <a:pt x="1675" y="6205"/>
                            </a:cubicBezTo>
                            <a:cubicBezTo>
                              <a:pt x="1675" y="6205"/>
                              <a:pt x="1675" y="6205"/>
                              <a:pt x="1675" y="6205"/>
                            </a:cubicBezTo>
                            <a:cubicBezTo>
                              <a:pt x="1675" y="6205"/>
                              <a:pt x="1675" y="6205"/>
                              <a:pt x="1675" y="6205"/>
                            </a:cubicBezTo>
                            <a:cubicBezTo>
                              <a:pt x="1675" y="6205"/>
                              <a:pt x="1675" y="6205"/>
                              <a:pt x="1675" y="6205"/>
                            </a:cubicBezTo>
                            <a:cubicBezTo>
                              <a:pt x="1914" y="6265"/>
                              <a:pt x="2153" y="6265"/>
                              <a:pt x="2392" y="6205"/>
                            </a:cubicBezTo>
                            <a:cubicBezTo>
                              <a:pt x="2632" y="6145"/>
                              <a:pt x="2871" y="6085"/>
                              <a:pt x="3110" y="6026"/>
                            </a:cubicBezTo>
                            <a:cubicBezTo>
                              <a:pt x="3350" y="5906"/>
                              <a:pt x="3589" y="5787"/>
                              <a:pt x="3828" y="5667"/>
                            </a:cubicBezTo>
                            <a:cubicBezTo>
                              <a:pt x="4067" y="5487"/>
                              <a:pt x="4306" y="5308"/>
                              <a:pt x="4486" y="5128"/>
                            </a:cubicBezTo>
                            <a:cubicBezTo>
                              <a:pt x="4665" y="4949"/>
                              <a:pt x="4785" y="4770"/>
                              <a:pt x="4904" y="4590"/>
                            </a:cubicBezTo>
                            <a:cubicBezTo>
                              <a:pt x="5024" y="4411"/>
                              <a:pt x="5144" y="4231"/>
                              <a:pt x="5263" y="4052"/>
                            </a:cubicBezTo>
                            <a:cubicBezTo>
                              <a:pt x="5383" y="3873"/>
                              <a:pt x="5443" y="3633"/>
                              <a:pt x="5503" y="3454"/>
                            </a:cubicBezTo>
                            <a:cubicBezTo>
                              <a:pt x="5562" y="3274"/>
                              <a:pt x="5622" y="3035"/>
                              <a:pt x="5622" y="2856"/>
                            </a:cubicBezTo>
                            <a:cubicBezTo>
                              <a:pt x="5682" y="2617"/>
                              <a:pt x="5682" y="2437"/>
                              <a:pt x="5682" y="2258"/>
                            </a:cubicBezTo>
                            <a:cubicBezTo>
                              <a:pt x="5682" y="2079"/>
                              <a:pt x="5622" y="1899"/>
                              <a:pt x="5622" y="1720"/>
                            </a:cubicBezTo>
                            <a:cubicBezTo>
                              <a:pt x="5562" y="1540"/>
                              <a:pt x="5503" y="1361"/>
                              <a:pt x="5443" y="1241"/>
                            </a:cubicBezTo>
                            <a:cubicBezTo>
                              <a:pt x="5383" y="1062"/>
                              <a:pt x="5263" y="942"/>
                              <a:pt x="5144" y="822"/>
                            </a:cubicBezTo>
                            <a:lnTo>
                              <a:pt x="4845" y="523"/>
                            </a:lnTo>
                            <a:cubicBezTo>
                              <a:pt x="4665" y="404"/>
                              <a:pt x="4545" y="284"/>
                              <a:pt x="4366" y="224"/>
                            </a:cubicBezTo>
                            <a:cubicBezTo>
                              <a:pt x="4187" y="165"/>
                              <a:pt x="4007" y="105"/>
                              <a:pt x="3828" y="45"/>
                            </a:cubicBezTo>
                            <a:cubicBezTo>
                              <a:pt x="3649" y="-15"/>
                              <a:pt x="3409" y="-15"/>
                              <a:pt x="3230" y="45"/>
                            </a:cubicBezTo>
                            <a:cubicBezTo>
                              <a:pt x="3050" y="45"/>
                              <a:pt x="2811" y="105"/>
                              <a:pt x="2632" y="165"/>
                            </a:cubicBezTo>
                            <a:cubicBezTo>
                              <a:pt x="2572" y="165"/>
                              <a:pt x="2452" y="224"/>
                              <a:pt x="2392" y="284"/>
                            </a:cubicBezTo>
                            <a:cubicBezTo>
                              <a:pt x="2333" y="344"/>
                              <a:pt x="2213" y="344"/>
                              <a:pt x="2153" y="404"/>
                            </a:cubicBezTo>
                            <a:cubicBezTo>
                              <a:pt x="2093" y="464"/>
                              <a:pt x="1974" y="523"/>
                              <a:pt x="1914" y="523"/>
                            </a:cubicBezTo>
                            <a:cubicBezTo>
                              <a:pt x="1854" y="583"/>
                              <a:pt x="1735" y="643"/>
                              <a:pt x="1675" y="703"/>
                            </a:cubicBezTo>
                            <a:cubicBezTo>
                              <a:pt x="1615" y="763"/>
                              <a:pt x="1555" y="763"/>
                              <a:pt x="1555" y="822"/>
                            </a:cubicBezTo>
                            <a:cubicBezTo>
                              <a:pt x="1555" y="882"/>
                              <a:pt x="1436" y="882"/>
                              <a:pt x="1436" y="942"/>
                            </a:cubicBezTo>
                            <a:cubicBezTo>
                              <a:pt x="1436" y="1002"/>
                              <a:pt x="1316" y="1002"/>
                              <a:pt x="1316" y="1062"/>
                            </a:cubicBezTo>
                            <a:cubicBezTo>
                              <a:pt x="1256" y="1121"/>
                              <a:pt x="1256" y="1121"/>
                              <a:pt x="1196" y="1181"/>
                            </a:cubicBezTo>
                            <a:cubicBezTo>
                              <a:pt x="1017" y="1361"/>
                              <a:pt x="897" y="1480"/>
                              <a:pt x="778" y="1660"/>
                            </a:cubicBezTo>
                            <a:cubicBezTo>
                              <a:pt x="658" y="1839"/>
                              <a:pt x="538" y="2019"/>
                              <a:pt x="419" y="2198"/>
                            </a:cubicBezTo>
                            <a:cubicBezTo>
                              <a:pt x="299" y="2377"/>
                              <a:pt x="239" y="2617"/>
                              <a:pt x="180" y="2796"/>
                            </a:cubicBezTo>
                            <a:cubicBezTo>
                              <a:pt x="120" y="2975"/>
                              <a:pt x="60" y="3215"/>
                              <a:pt x="0" y="3394"/>
                            </a:cubicBezTo>
                            <a:cubicBezTo>
                              <a:pt x="0" y="3514"/>
                              <a:pt x="0" y="3574"/>
                              <a:pt x="0" y="3693"/>
                            </a:cubicBezTo>
                            <a:cubicBezTo>
                              <a:pt x="0" y="3813"/>
                              <a:pt x="0" y="3873"/>
                              <a:pt x="0" y="3992"/>
                            </a:cubicBezTo>
                            <a:cubicBezTo>
                              <a:pt x="0" y="4112"/>
                              <a:pt x="0" y="4172"/>
                              <a:pt x="0" y="4291"/>
                            </a:cubicBezTo>
                            <a:cubicBezTo>
                              <a:pt x="0" y="4411"/>
                              <a:pt x="60" y="4471"/>
                              <a:pt x="60" y="4590"/>
                            </a:cubicBezTo>
                            <a:cubicBezTo>
                              <a:pt x="60" y="4650"/>
                              <a:pt x="120" y="4770"/>
                              <a:pt x="120" y="4829"/>
                            </a:cubicBezTo>
                            <a:cubicBezTo>
                              <a:pt x="180" y="4889"/>
                              <a:pt x="180" y="5009"/>
                              <a:pt x="239" y="5069"/>
                            </a:cubicBezTo>
                            <a:cubicBezTo>
                              <a:pt x="299" y="5128"/>
                              <a:pt x="299" y="5248"/>
                              <a:pt x="359" y="5308"/>
                            </a:cubicBezTo>
                            <a:cubicBezTo>
                              <a:pt x="419" y="5368"/>
                              <a:pt x="479" y="5428"/>
                              <a:pt x="538" y="5487"/>
                            </a:cubicBezTo>
                            <a:cubicBezTo>
                              <a:pt x="538" y="5487"/>
                              <a:pt x="538" y="5487"/>
                              <a:pt x="538" y="5487"/>
                            </a:cubicBezTo>
                            <a:cubicBezTo>
                              <a:pt x="538" y="5487"/>
                              <a:pt x="538" y="5487"/>
                              <a:pt x="538" y="5487"/>
                            </a:cubicBezTo>
                            <a:cubicBezTo>
                              <a:pt x="538" y="5487"/>
                              <a:pt x="538" y="5487"/>
                              <a:pt x="538" y="5487"/>
                            </a:cubicBezTo>
                            <a:cubicBezTo>
                              <a:pt x="538" y="5487"/>
                              <a:pt x="538" y="5487"/>
                              <a:pt x="538" y="5487"/>
                            </a:cubicBezTo>
                            <a:cubicBezTo>
                              <a:pt x="538" y="5487"/>
                              <a:pt x="598" y="5547"/>
                              <a:pt x="598" y="5547"/>
                            </a:cubicBezTo>
                            <a:cubicBezTo>
                              <a:pt x="598" y="5547"/>
                              <a:pt x="658" y="5607"/>
                              <a:pt x="658" y="5607"/>
                            </a:cubicBezTo>
                            <a:cubicBezTo>
                              <a:pt x="658" y="5607"/>
                              <a:pt x="718" y="5667"/>
                              <a:pt x="718" y="5667"/>
                            </a:cubicBezTo>
                            <a:cubicBezTo>
                              <a:pt x="538" y="5727"/>
                              <a:pt x="538" y="5727"/>
                              <a:pt x="598" y="5787"/>
                            </a:cubicBezTo>
                          </a:path>
                        </a:pathLst>
                      </a:custGeom>
                      <a:noFill/>
                      <a:ln w="6350" cap="flat">
                        <a:solidFill>
                          <a:schemeClr val="bg1">
                            <a:alpha val="40000"/>
                          </a:schemeClr>
                        </a:solidFill>
                        <a:prstDash val="solid"/>
                        <a:miter/>
                      </a:ln>
                    </p:spPr>
                    <p:txBody>
                      <a:bodyPr rtlCol="0" anchor="ctr"/>
                      <a:lstStyle/>
                      <a:p>
                        <a:endParaRPr lang="en-GB"/>
                      </a:p>
                    </p:txBody>
                  </p:sp>
                  <p:sp>
                    <p:nvSpPr>
                      <p:cNvPr id="7570" name="Vrije vorm: vorm 7569">
                        <a:extLst>
                          <a:ext uri="{FF2B5EF4-FFF2-40B4-BE49-F238E27FC236}">
                            <a16:creationId xmlns:a16="http://schemas.microsoft.com/office/drawing/2014/main" id="{147EE201-4662-4A6B-A817-FB5992BFB9FE}"/>
                          </a:ext>
                        </a:extLst>
                      </p:cNvPr>
                      <p:cNvSpPr/>
                      <p:nvPr/>
                    </p:nvSpPr>
                    <p:spPr>
                      <a:xfrm>
                        <a:off x="4719766" y="5132157"/>
                        <a:ext cx="674086" cy="446520"/>
                      </a:xfrm>
                      <a:custGeom>
                        <a:avLst/>
                        <a:gdLst>
                          <a:gd name="connsiteX0" fmla="*/ 0 w 674086"/>
                          <a:gd name="connsiteY0" fmla="*/ 21651 h 446520"/>
                          <a:gd name="connsiteX1" fmla="*/ 5203 w 674086"/>
                          <a:gd name="connsiteY1" fmla="*/ 25000 h 446520"/>
                          <a:gd name="connsiteX2" fmla="*/ 6280 w 674086"/>
                          <a:gd name="connsiteY2" fmla="*/ 25658 h 446520"/>
                          <a:gd name="connsiteX3" fmla="*/ 118657 w 674086"/>
                          <a:gd name="connsiteY3" fmla="*/ 97785 h 446520"/>
                          <a:gd name="connsiteX4" fmla="*/ 119076 w 674086"/>
                          <a:gd name="connsiteY4" fmla="*/ 98024 h 446520"/>
                          <a:gd name="connsiteX5" fmla="*/ 119973 w 674086"/>
                          <a:gd name="connsiteY5" fmla="*/ 98622 h 446520"/>
                          <a:gd name="connsiteX6" fmla="*/ 142162 w 674086"/>
                          <a:gd name="connsiteY6" fmla="*/ 112797 h 446520"/>
                          <a:gd name="connsiteX7" fmla="*/ 143059 w 674086"/>
                          <a:gd name="connsiteY7" fmla="*/ 113395 h 446520"/>
                          <a:gd name="connsiteX8" fmla="*/ 249755 w 674086"/>
                          <a:gd name="connsiteY8" fmla="*/ 181814 h 446520"/>
                          <a:gd name="connsiteX9" fmla="*/ 250592 w 674086"/>
                          <a:gd name="connsiteY9" fmla="*/ 182353 h 446520"/>
                          <a:gd name="connsiteX10" fmla="*/ 338628 w 674086"/>
                          <a:gd name="connsiteY10" fmla="*/ 238811 h 446520"/>
                          <a:gd name="connsiteX11" fmla="*/ 338868 w 674086"/>
                          <a:gd name="connsiteY11" fmla="*/ 238990 h 446520"/>
                          <a:gd name="connsiteX12" fmla="*/ 339645 w 674086"/>
                          <a:gd name="connsiteY12" fmla="*/ 239468 h 446520"/>
                          <a:gd name="connsiteX13" fmla="*/ 357109 w 674086"/>
                          <a:gd name="connsiteY13" fmla="*/ 250712 h 446520"/>
                          <a:gd name="connsiteX14" fmla="*/ 357826 w 674086"/>
                          <a:gd name="connsiteY14" fmla="*/ 251190 h 446520"/>
                          <a:gd name="connsiteX15" fmla="*/ 565238 w 674086"/>
                          <a:gd name="connsiteY15" fmla="*/ 384202 h 446520"/>
                          <a:gd name="connsiteX16" fmla="*/ 565776 w 674086"/>
                          <a:gd name="connsiteY16" fmla="*/ 384561 h 446520"/>
                          <a:gd name="connsiteX17" fmla="*/ 626600 w 674086"/>
                          <a:gd name="connsiteY17" fmla="*/ 423555 h 446520"/>
                          <a:gd name="connsiteX18" fmla="*/ 626840 w 674086"/>
                          <a:gd name="connsiteY18" fmla="*/ 423674 h 446520"/>
                          <a:gd name="connsiteX19" fmla="*/ 627318 w 674086"/>
                          <a:gd name="connsiteY19" fmla="*/ 424033 h 446520"/>
                          <a:gd name="connsiteX20" fmla="*/ 639519 w 674086"/>
                          <a:gd name="connsiteY20" fmla="*/ 431808 h 446520"/>
                          <a:gd name="connsiteX21" fmla="*/ 639997 w 674086"/>
                          <a:gd name="connsiteY21" fmla="*/ 432167 h 446520"/>
                          <a:gd name="connsiteX22" fmla="*/ 662425 w 674086"/>
                          <a:gd name="connsiteY22" fmla="*/ 446521 h 446520"/>
                          <a:gd name="connsiteX23" fmla="*/ 674087 w 674086"/>
                          <a:gd name="connsiteY23" fmla="*/ 431748 h 446520"/>
                          <a:gd name="connsiteX24" fmla="*/ 650703 w 674086"/>
                          <a:gd name="connsiteY24" fmla="*/ 416438 h 446520"/>
                          <a:gd name="connsiteX25" fmla="*/ 650164 w 674086"/>
                          <a:gd name="connsiteY25" fmla="*/ 416079 h 446520"/>
                          <a:gd name="connsiteX26" fmla="*/ 649506 w 674086"/>
                          <a:gd name="connsiteY26" fmla="*/ 415660 h 446520"/>
                          <a:gd name="connsiteX27" fmla="*/ 649028 w 674086"/>
                          <a:gd name="connsiteY27" fmla="*/ 415301 h 446520"/>
                          <a:gd name="connsiteX28" fmla="*/ 646995 w 674086"/>
                          <a:gd name="connsiteY28" fmla="*/ 413986 h 446520"/>
                          <a:gd name="connsiteX29" fmla="*/ 646516 w 674086"/>
                          <a:gd name="connsiteY29" fmla="*/ 413627 h 446520"/>
                          <a:gd name="connsiteX30" fmla="*/ 645798 w 674086"/>
                          <a:gd name="connsiteY30" fmla="*/ 413208 h 446520"/>
                          <a:gd name="connsiteX31" fmla="*/ 645320 w 674086"/>
                          <a:gd name="connsiteY31" fmla="*/ 412909 h 446520"/>
                          <a:gd name="connsiteX32" fmla="*/ 643047 w 674086"/>
                          <a:gd name="connsiteY32" fmla="*/ 411414 h 446520"/>
                          <a:gd name="connsiteX33" fmla="*/ 642509 w 674086"/>
                          <a:gd name="connsiteY33" fmla="*/ 411055 h 446520"/>
                          <a:gd name="connsiteX34" fmla="*/ 641851 w 674086"/>
                          <a:gd name="connsiteY34" fmla="*/ 410577 h 446520"/>
                          <a:gd name="connsiteX35" fmla="*/ 641313 w 674086"/>
                          <a:gd name="connsiteY35" fmla="*/ 410278 h 446520"/>
                          <a:gd name="connsiteX36" fmla="*/ 626959 w 674086"/>
                          <a:gd name="connsiteY36" fmla="*/ 400828 h 446520"/>
                          <a:gd name="connsiteX37" fmla="*/ 626361 w 674086"/>
                          <a:gd name="connsiteY37" fmla="*/ 400409 h 446520"/>
                          <a:gd name="connsiteX38" fmla="*/ 622533 w 674086"/>
                          <a:gd name="connsiteY38" fmla="*/ 397898 h 446520"/>
                          <a:gd name="connsiteX39" fmla="*/ 621098 w 674086"/>
                          <a:gd name="connsiteY39" fmla="*/ 397000 h 446520"/>
                          <a:gd name="connsiteX40" fmla="*/ 617270 w 674086"/>
                          <a:gd name="connsiteY40" fmla="*/ 394429 h 446520"/>
                          <a:gd name="connsiteX41" fmla="*/ 616612 w 674086"/>
                          <a:gd name="connsiteY41" fmla="*/ 394010 h 446520"/>
                          <a:gd name="connsiteX42" fmla="*/ 611768 w 674086"/>
                          <a:gd name="connsiteY42" fmla="*/ 390840 h 446520"/>
                          <a:gd name="connsiteX43" fmla="*/ 611230 w 674086"/>
                          <a:gd name="connsiteY43" fmla="*/ 390482 h 446520"/>
                          <a:gd name="connsiteX44" fmla="*/ 602498 w 674086"/>
                          <a:gd name="connsiteY44" fmla="*/ 384740 h 446520"/>
                          <a:gd name="connsiteX45" fmla="*/ 601960 w 674086"/>
                          <a:gd name="connsiteY45" fmla="*/ 384381 h 446520"/>
                          <a:gd name="connsiteX46" fmla="*/ 596696 w 674086"/>
                          <a:gd name="connsiteY46" fmla="*/ 380912 h 446520"/>
                          <a:gd name="connsiteX47" fmla="*/ 596039 w 674086"/>
                          <a:gd name="connsiteY47" fmla="*/ 380494 h 446520"/>
                          <a:gd name="connsiteX48" fmla="*/ 592092 w 674086"/>
                          <a:gd name="connsiteY48" fmla="*/ 377922 h 446520"/>
                          <a:gd name="connsiteX49" fmla="*/ 590596 w 674086"/>
                          <a:gd name="connsiteY49" fmla="*/ 376905 h 446520"/>
                          <a:gd name="connsiteX50" fmla="*/ 586589 w 674086"/>
                          <a:gd name="connsiteY50" fmla="*/ 374274 h 446520"/>
                          <a:gd name="connsiteX51" fmla="*/ 585931 w 674086"/>
                          <a:gd name="connsiteY51" fmla="*/ 373855 h 446520"/>
                          <a:gd name="connsiteX52" fmla="*/ 369010 w 674086"/>
                          <a:gd name="connsiteY52" fmla="*/ 231275 h 446520"/>
                          <a:gd name="connsiteX53" fmla="*/ 368233 w 674086"/>
                          <a:gd name="connsiteY53" fmla="*/ 230796 h 446520"/>
                          <a:gd name="connsiteX54" fmla="*/ 367336 w 674086"/>
                          <a:gd name="connsiteY54" fmla="*/ 230198 h 446520"/>
                          <a:gd name="connsiteX55" fmla="*/ 366558 w 674086"/>
                          <a:gd name="connsiteY55" fmla="*/ 229720 h 446520"/>
                          <a:gd name="connsiteX56" fmla="*/ 363748 w 674086"/>
                          <a:gd name="connsiteY56" fmla="*/ 227866 h 446520"/>
                          <a:gd name="connsiteX57" fmla="*/ 363030 w 674086"/>
                          <a:gd name="connsiteY57" fmla="*/ 227387 h 446520"/>
                          <a:gd name="connsiteX58" fmla="*/ 362073 w 674086"/>
                          <a:gd name="connsiteY58" fmla="*/ 226729 h 446520"/>
                          <a:gd name="connsiteX59" fmla="*/ 361355 w 674086"/>
                          <a:gd name="connsiteY59" fmla="*/ 226251 h 446520"/>
                          <a:gd name="connsiteX60" fmla="*/ 358185 w 674086"/>
                          <a:gd name="connsiteY60" fmla="*/ 224158 h 446520"/>
                          <a:gd name="connsiteX61" fmla="*/ 357408 w 674086"/>
                          <a:gd name="connsiteY61" fmla="*/ 223679 h 446520"/>
                          <a:gd name="connsiteX62" fmla="*/ 356451 w 674086"/>
                          <a:gd name="connsiteY62" fmla="*/ 223021 h 446520"/>
                          <a:gd name="connsiteX63" fmla="*/ 355673 w 674086"/>
                          <a:gd name="connsiteY63" fmla="*/ 222543 h 446520"/>
                          <a:gd name="connsiteX64" fmla="*/ 335040 w 674086"/>
                          <a:gd name="connsiteY64" fmla="*/ 208966 h 446520"/>
                          <a:gd name="connsiteX65" fmla="*/ 334143 w 674086"/>
                          <a:gd name="connsiteY65" fmla="*/ 208368 h 446520"/>
                          <a:gd name="connsiteX66" fmla="*/ 328700 w 674086"/>
                          <a:gd name="connsiteY66" fmla="*/ 204780 h 446520"/>
                          <a:gd name="connsiteX67" fmla="*/ 326607 w 674086"/>
                          <a:gd name="connsiteY67" fmla="*/ 203404 h 446520"/>
                          <a:gd name="connsiteX68" fmla="*/ 320985 w 674086"/>
                          <a:gd name="connsiteY68" fmla="*/ 199756 h 446520"/>
                          <a:gd name="connsiteX69" fmla="*/ 320088 w 674086"/>
                          <a:gd name="connsiteY69" fmla="*/ 199158 h 446520"/>
                          <a:gd name="connsiteX70" fmla="*/ 313031 w 674086"/>
                          <a:gd name="connsiteY70" fmla="*/ 194493 h 446520"/>
                          <a:gd name="connsiteX71" fmla="*/ 312253 w 674086"/>
                          <a:gd name="connsiteY71" fmla="*/ 194015 h 446520"/>
                          <a:gd name="connsiteX72" fmla="*/ 299634 w 674086"/>
                          <a:gd name="connsiteY72" fmla="*/ 185702 h 446520"/>
                          <a:gd name="connsiteX73" fmla="*/ 298797 w 674086"/>
                          <a:gd name="connsiteY73" fmla="*/ 185163 h 446520"/>
                          <a:gd name="connsiteX74" fmla="*/ 291142 w 674086"/>
                          <a:gd name="connsiteY74" fmla="*/ 180140 h 446520"/>
                          <a:gd name="connsiteX75" fmla="*/ 290184 w 674086"/>
                          <a:gd name="connsiteY75" fmla="*/ 179482 h 446520"/>
                          <a:gd name="connsiteX76" fmla="*/ 284503 w 674086"/>
                          <a:gd name="connsiteY76" fmla="*/ 175714 h 446520"/>
                          <a:gd name="connsiteX77" fmla="*/ 282290 w 674086"/>
                          <a:gd name="connsiteY77" fmla="*/ 174278 h 446520"/>
                          <a:gd name="connsiteX78" fmla="*/ 276429 w 674086"/>
                          <a:gd name="connsiteY78" fmla="*/ 170451 h 446520"/>
                          <a:gd name="connsiteX79" fmla="*/ 275472 w 674086"/>
                          <a:gd name="connsiteY79" fmla="*/ 169793 h 446520"/>
                          <a:gd name="connsiteX80" fmla="*/ 155858 w 674086"/>
                          <a:gd name="connsiteY80" fmla="*/ 91206 h 446520"/>
                          <a:gd name="connsiteX81" fmla="*/ 154900 w 674086"/>
                          <a:gd name="connsiteY81" fmla="*/ 90608 h 446520"/>
                          <a:gd name="connsiteX82" fmla="*/ 153704 w 674086"/>
                          <a:gd name="connsiteY82" fmla="*/ 89771 h 446520"/>
                          <a:gd name="connsiteX83" fmla="*/ 152807 w 674086"/>
                          <a:gd name="connsiteY83" fmla="*/ 89173 h 446520"/>
                          <a:gd name="connsiteX84" fmla="*/ 149518 w 674086"/>
                          <a:gd name="connsiteY84" fmla="*/ 87020 h 446520"/>
                          <a:gd name="connsiteX85" fmla="*/ 148561 w 674086"/>
                          <a:gd name="connsiteY85" fmla="*/ 86421 h 446520"/>
                          <a:gd name="connsiteX86" fmla="*/ 147365 w 674086"/>
                          <a:gd name="connsiteY86" fmla="*/ 85644 h 446520"/>
                          <a:gd name="connsiteX87" fmla="*/ 146468 w 674086"/>
                          <a:gd name="connsiteY87" fmla="*/ 84986 h 446520"/>
                          <a:gd name="connsiteX88" fmla="*/ 142820 w 674086"/>
                          <a:gd name="connsiteY88" fmla="*/ 82654 h 446520"/>
                          <a:gd name="connsiteX89" fmla="*/ 141863 w 674086"/>
                          <a:gd name="connsiteY89" fmla="*/ 81996 h 446520"/>
                          <a:gd name="connsiteX90" fmla="*/ 140666 w 674086"/>
                          <a:gd name="connsiteY90" fmla="*/ 81218 h 446520"/>
                          <a:gd name="connsiteX91" fmla="*/ 139710 w 674086"/>
                          <a:gd name="connsiteY91" fmla="*/ 80561 h 446520"/>
                          <a:gd name="connsiteX92" fmla="*/ 111062 w 674086"/>
                          <a:gd name="connsiteY92" fmla="*/ 61781 h 446520"/>
                          <a:gd name="connsiteX93" fmla="*/ 109866 w 674086"/>
                          <a:gd name="connsiteY93" fmla="*/ 61003 h 446520"/>
                          <a:gd name="connsiteX94" fmla="*/ 102928 w 674086"/>
                          <a:gd name="connsiteY94" fmla="*/ 56399 h 446520"/>
                          <a:gd name="connsiteX95" fmla="*/ 100296 w 674086"/>
                          <a:gd name="connsiteY95" fmla="*/ 54664 h 446520"/>
                          <a:gd name="connsiteX96" fmla="*/ 93179 w 674086"/>
                          <a:gd name="connsiteY96" fmla="*/ 49999 h 446520"/>
                          <a:gd name="connsiteX97" fmla="*/ 91984 w 674086"/>
                          <a:gd name="connsiteY97" fmla="*/ 49222 h 446520"/>
                          <a:gd name="connsiteX98" fmla="*/ 83012 w 674086"/>
                          <a:gd name="connsiteY98" fmla="*/ 43301 h 446520"/>
                          <a:gd name="connsiteX99" fmla="*/ 81995 w 674086"/>
                          <a:gd name="connsiteY99" fmla="*/ 42643 h 446520"/>
                          <a:gd name="connsiteX100" fmla="*/ 65847 w 674086"/>
                          <a:gd name="connsiteY100" fmla="*/ 32057 h 446520"/>
                          <a:gd name="connsiteX101" fmla="*/ 64831 w 674086"/>
                          <a:gd name="connsiteY101" fmla="*/ 31399 h 446520"/>
                          <a:gd name="connsiteX102" fmla="*/ 55022 w 674086"/>
                          <a:gd name="connsiteY102" fmla="*/ 24940 h 446520"/>
                          <a:gd name="connsiteX103" fmla="*/ 53767 w 674086"/>
                          <a:gd name="connsiteY103" fmla="*/ 24102 h 446520"/>
                          <a:gd name="connsiteX104" fmla="*/ 46410 w 674086"/>
                          <a:gd name="connsiteY104" fmla="*/ 19258 h 446520"/>
                          <a:gd name="connsiteX105" fmla="*/ 43659 w 674086"/>
                          <a:gd name="connsiteY105" fmla="*/ 17464 h 446520"/>
                          <a:gd name="connsiteX106" fmla="*/ 36123 w 674086"/>
                          <a:gd name="connsiteY106" fmla="*/ 12500 h 446520"/>
                          <a:gd name="connsiteX107" fmla="*/ 34867 w 674086"/>
                          <a:gd name="connsiteY107" fmla="*/ 11662 h 446520"/>
                          <a:gd name="connsiteX108" fmla="*/ 17105 w 674086"/>
                          <a:gd name="connsiteY108" fmla="*/ 0 h 446520"/>
                          <a:gd name="connsiteX109" fmla="*/ 14832 w 674086"/>
                          <a:gd name="connsiteY109" fmla="*/ 2871 h 446520"/>
                          <a:gd name="connsiteX110" fmla="*/ 15849 w 674086"/>
                          <a:gd name="connsiteY110" fmla="*/ 3589 h 446520"/>
                          <a:gd name="connsiteX111" fmla="*/ 17284 w 674086"/>
                          <a:gd name="connsiteY111" fmla="*/ 1735 h 446520"/>
                          <a:gd name="connsiteX112" fmla="*/ 34748 w 674086"/>
                          <a:gd name="connsiteY112" fmla="*/ 13218 h 446520"/>
                          <a:gd name="connsiteX113" fmla="*/ 36123 w 674086"/>
                          <a:gd name="connsiteY113" fmla="*/ 14115 h 446520"/>
                          <a:gd name="connsiteX114" fmla="*/ 52152 w 674086"/>
                          <a:gd name="connsiteY114" fmla="*/ 24581 h 446520"/>
                          <a:gd name="connsiteX115" fmla="*/ 53468 w 674086"/>
                          <a:gd name="connsiteY115" fmla="*/ 25478 h 446520"/>
                          <a:gd name="connsiteX116" fmla="*/ 63993 w 674086"/>
                          <a:gd name="connsiteY116" fmla="*/ 32416 h 446520"/>
                          <a:gd name="connsiteX117" fmla="*/ 65010 w 674086"/>
                          <a:gd name="connsiteY117" fmla="*/ 33074 h 446520"/>
                          <a:gd name="connsiteX118" fmla="*/ 81218 w 674086"/>
                          <a:gd name="connsiteY118" fmla="*/ 43660 h 446520"/>
                          <a:gd name="connsiteX119" fmla="*/ 82175 w 674086"/>
                          <a:gd name="connsiteY119" fmla="*/ 44317 h 446520"/>
                          <a:gd name="connsiteX120" fmla="*/ 91864 w 674086"/>
                          <a:gd name="connsiteY120" fmla="*/ 50717 h 446520"/>
                          <a:gd name="connsiteX121" fmla="*/ 93179 w 674086"/>
                          <a:gd name="connsiteY121" fmla="*/ 51554 h 446520"/>
                          <a:gd name="connsiteX122" fmla="*/ 108311 w 674086"/>
                          <a:gd name="connsiteY122" fmla="*/ 61482 h 446520"/>
                          <a:gd name="connsiteX123" fmla="*/ 109567 w 674086"/>
                          <a:gd name="connsiteY123" fmla="*/ 62319 h 446520"/>
                          <a:gd name="connsiteX124" fmla="*/ 138752 w 674086"/>
                          <a:gd name="connsiteY124" fmla="*/ 81458 h 446520"/>
                          <a:gd name="connsiteX125" fmla="*/ 139710 w 674086"/>
                          <a:gd name="connsiteY125" fmla="*/ 82116 h 446520"/>
                          <a:gd name="connsiteX126" fmla="*/ 140966 w 674086"/>
                          <a:gd name="connsiteY126" fmla="*/ 82893 h 446520"/>
                          <a:gd name="connsiteX127" fmla="*/ 141863 w 674086"/>
                          <a:gd name="connsiteY127" fmla="*/ 83551 h 446520"/>
                          <a:gd name="connsiteX128" fmla="*/ 145571 w 674086"/>
                          <a:gd name="connsiteY128" fmla="*/ 85943 h 446520"/>
                          <a:gd name="connsiteX129" fmla="*/ 146528 w 674086"/>
                          <a:gd name="connsiteY129" fmla="*/ 86541 h 446520"/>
                          <a:gd name="connsiteX130" fmla="*/ 147724 w 674086"/>
                          <a:gd name="connsiteY130" fmla="*/ 87379 h 446520"/>
                          <a:gd name="connsiteX131" fmla="*/ 148681 w 674086"/>
                          <a:gd name="connsiteY131" fmla="*/ 87977 h 446520"/>
                          <a:gd name="connsiteX132" fmla="*/ 151970 w 674086"/>
                          <a:gd name="connsiteY132" fmla="*/ 90130 h 446520"/>
                          <a:gd name="connsiteX133" fmla="*/ 152927 w 674086"/>
                          <a:gd name="connsiteY133" fmla="*/ 90728 h 446520"/>
                          <a:gd name="connsiteX134" fmla="*/ 154123 w 674086"/>
                          <a:gd name="connsiteY134" fmla="*/ 91565 h 446520"/>
                          <a:gd name="connsiteX135" fmla="*/ 155020 w 674086"/>
                          <a:gd name="connsiteY135" fmla="*/ 92163 h 446520"/>
                          <a:gd name="connsiteX136" fmla="*/ 275292 w 674086"/>
                          <a:gd name="connsiteY136" fmla="*/ 171109 h 446520"/>
                          <a:gd name="connsiteX137" fmla="*/ 276369 w 674086"/>
                          <a:gd name="connsiteY137" fmla="*/ 171767 h 446520"/>
                          <a:gd name="connsiteX138" fmla="*/ 288809 w 674086"/>
                          <a:gd name="connsiteY138" fmla="*/ 179960 h 446520"/>
                          <a:gd name="connsiteX139" fmla="*/ 289885 w 674086"/>
                          <a:gd name="connsiteY139" fmla="*/ 180678 h 446520"/>
                          <a:gd name="connsiteX140" fmla="*/ 298079 w 674086"/>
                          <a:gd name="connsiteY140" fmla="*/ 186061 h 446520"/>
                          <a:gd name="connsiteX141" fmla="*/ 298916 w 674086"/>
                          <a:gd name="connsiteY141" fmla="*/ 186599 h 446520"/>
                          <a:gd name="connsiteX142" fmla="*/ 311536 w 674086"/>
                          <a:gd name="connsiteY142" fmla="*/ 194912 h 446520"/>
                          <a:gd name="connsiteX143" fmla="*/ 312313 w 674086"/>
                          <a:gd name="connsiteY143" fmla="*/ 195390 h 446520"/>
                          <a:gd name="connsiteX144" fmla="*/ 319909 w 674086"/>
                          <a:gd name="connsiteY144" fmla="*/ 200414 h 446520"/>
                          <a:gd name="connsiteX145" fmla="*/ 320925 w 674086"/>
                          <a:gd name="connsiteY145" fmla="*/ 201012 h 446520"/>
                          <a:gd name="connsiteX146" fmla="*/ 332827 w 674086"/>
                          <a:gd name="connsiteY146" fmla="*/ 208847 h 446520"/>
                          <a:gd name="connsiteX147" fmla="*/ 333784 w 674086"/>
                          <a:gd name="connsiteY147" fmla="*/ 209505 h 446520"/>
                          <a:gd name="connsiteX148" fmla="*/ 354956 w 674086"/>
                          <a:gd name="connsiteY148" fmla="*/ 223380 h 446520"/>
                          <a:gd name="connsiteX149" fmla="*/ 355673 w 674086"/>
                          <a:gd name="connsiteY149" fmla="*/ 223859 h 446520"/>
                          <a:gd name="connsiteX150" fmla="*/ 356631 w 674086"/>
                          <a:gd name="connsiteY150" fmla="*/ 224517 h 446520"/>
                          <a:gd name="connsiteX151" fmla="*/ 357408 w 674086"/>
                          <a:gd name="connsiteY151" fmla="*/ 224995 h 446520"/>
                          <a:gd name="connsiteX152" fmla="*/ 360637 w 674086"/>
                          <a:gd name="connsiteY152" fmla="*/ 227088 h 446520"/>
                          <a:gd name="connsiteX153" fmla="*/ 361355 w 674086"/>
                          <a:gd name="connsiteY153" fmla="*/ 227627 h 446520"/>
                          <a:gd name="connsiteX154" fmla="*/ 362312 w 674086"/>
                          <a:gd name="connsiteY154" fmla="*/ 228225 h 446520"/>
                          <a:gd name="connsiteX155" fmla="*/ 363030 w 674086"/>
                          <a:gd name="connsiteY155" fmla="*/ 228703 h 446520"/>
                          <a:gd name="connsiteX156" fmla="*/ 365901 w 674086"/>
                          <a:gd name="connsiteY156" fmla="*/ 230557 h 446520"/>
                          <a:gd name="connsiteX157" fmla="*/ 366618 w 674086"/>
                          <a:gd name="connsiteY157" fmla="*/ 231035 h 446520"/>
                          <a:gd name="connsiteX158" fmla="*/ 367575 w 674086"/>
                          <a:gd name="connsiteY158" fmla="*/ 231693 h 446520"/>
                          <a:gd name="connsiteX159" fmla="*/ 368293 w 674086"/>
                          <a:gd name="connsiteY159" fmla="*/ 232172 h 446520"/>
                          <a:gd name="connsiteX160" fmla="*/ 585692 w 674086"/>
                          <a:gd name="connsiteY160" fmla="*/ 374872 h 446520"/>
                          <a:gd name="connsiteX161" fmla="*/ 586410 w 674086"/>
                          <a:gd name="connsiteY161" fmla="*/ 375350 h 446520"/>
                          <a:gd name="connsiteX162" fmla="*/ 595022 w 674086"/>
                          <a:gd name="connsiteY162" fmla="*/ 380972 h 446520"/>
                          <a:gd name="connsiteX163" fmla="*/ 595740 w 674086"/>
                          <a:gd name="connsiteY163" fmla="*/ 381451 h 446520"/>
                          <a:gd name="connsiteX164" fmla="*/ 601362 w 674086"/>
                          <a:gd name="connsiteY164" fmla="*/ 385159 h 446520"/>
                          <a:gd name="connsiteX165" fmla="*/ 601960 w 674086"/>
                          <a:gd name="connsiteY165" fmla="*/ 385517 h 446520"/>
                          <a:gd name="connsiteX166" fmla="*/ 610632 w 674086"/>
                          <a:gd name="connsiteY166" fmla="*/ 391199 h 446520"/>
                          <a:gd name="connsiteX167" fmla="*/ 611170 w 674086"/>
                          <a:gd name="connsiteY167" fmla="*/ 391558 h 446520"/>
                          <a:gd name="connsiteX168" fmla="*/ 616433 w 674086"/>
                          <a:gd name="connsiteY168" fmla="*/ 395027 h 446520"/>
                          <a:gd name="connsiteX169" fmla="*/ 617091 w 674086"/>
                          <a:gd name="connsiteY169" fmla="*/ 395446 h 446520"/>
                          <a:gd name="connsiteX170" fmla="*/ 625344 w 674086"/>
                          <a:gd name="connsiteY170" fmla="*/ 400888 h 446520"/>
                          <a:gd name="connsiteX171" fmla="*/ 626002 w 674086"/>
                          <a:gd name="connsiteY171" fmla="*/ 401307 h 446520"/>
                          <a:gd name="connsiteX172" fmla="*/ 640655 w 674086"/>
                          <a:gd name="connsiteY172" fmla="*/ 410936 h 446520"/>
                          <a:gd name="connsiteX173" fmla="*/ 641193 w 674086"/>
                          <a:gd name="connsiteY173" fmla="*/ 411234 h 446520"/>
                          <a:gd name="connsiteX174" fmla="*/ 641851 w 674086"/>
                          <a:gd name="connsiteY174" fmla="*/ 411713 h 446520"/>
                          <a:gd name="connsiteX175" fmla="*/ 642389 w 674086"/>
                          <a:gd name="connsiteY175" fmla="*/ 412072 h 446520"/>
                          <a:gd name="connsiteX176" fmla="*/ 644722 w 674086"/>
                          <a:gd name="connsiteY176" fmla="*/ 413567 h 446520"/>
                          <a:gd name="connsiteX177" fmla="*/ 645200 w 674086"/>
                          <a:gd name="connsiteY177" fmla="*/ 413926 h 446520"/>
                          <a:gd name="connsiteX178" fmla="*/ 645858 w 674086"/>
                          <a:gd name="connsiteY178" fmla="*/ 414345 h 446520"/>
                          <a:gd name="connsiteX179" fmla="*/ 646396 w 674086"/>
                          <a:gd name="connsiteY179" fmla="*/ 414703 h 446520"/>
                          <a:gd name="connsiteX180" fmla="*/ 648430 w 674086"/>
                          <a:gd name="connsiteY180" fmla="*/ 416019 h 446520"/>
                          <a:gd name="connsiteX181" fmla="*/ 648908 w 674086"/>
                          <a:gd name="connsiteY181" fmla="*/ 416378 h 446520"/>
                          <a:gd name="connsiteX182" fmla="*/ 649566 w 674086"/>
                          <a:gd name="connsiteY182" fmla="*/ 416796 h 446520"/>
                          <a:gd name="connsiteX183" fmla="*/ 650104 w 674086"/>
                          <a:gd name="connsiteY183" fmla="*/ 417155 h 446520"/>
                          <a:gd name="connsiteX184" fmla="*/ 673011 w 674086"/>
                          <a:gd name="connsiteY184" fmla="*/ 432167 h 446520"/>
                          <a:gd name="connsiteX185" fmla="*/ 672054 w 674086"/>
                          <a:gd name="connsiteY185" fmla="*/ 433423 h 446520"/>
                          <a:gd name="connsiteX186" fmla="*/ 672532 w 674086"/>
                          <a:gd name="connsiteY186" fmla="*/ 433722 h 446520"/>
                          <a:gd name="connsiteX187" fmla="*/ 670499 w 674086"/>
                          <a:gd name="connsiteY187" fmla="*/ 436234 h 446520"/>
                          <a:gd name="connsiteX188" fmla="*/ 670080 w 674086"/>
                          <a:gd name="connsiteY188" fmla="*/ 435935 h 446520"/>
                          <a:gd name="connsiteX189" fmla="*/ 662484 w 674086"/>
                          <a:gd name="connsiteY189" fmla="*/ 445504 h 446520"/>
                          <a:gd name="connsiteX190" fmla="*/ 640595 w 674086"/>
                          <a:gd name="connsiteY190" fmla="*/ 431449 h 446520"/>
                          <a:gd name="connsiteX191" fmla="*/ 640117 w 674086"/>
                          <a:gd name="connsiteY191" fmla="*/ 431091 h 446520"/>
                          <a:gd name="connsiteX192" fmla="*/ 638980 w 674086"/>
                          <a:gd name="connsiteY192" fmla="*/ 430373 h 446520"/>
                          <a:gd name="connsiteX193" fmla="*/ 637306 w 674086"/>
                          <a:gd name="connsiteY193" fmla="*/ 429296 h 446520"/>
                          <a:gd name="connsiteX194" fmla="*/ 627916 w 674086"/>
                          <a:gd name="connsiteY194" fmla="*/ 423256 h 446520"/>
                          <a:gd name="connsiteX195" fmla="*/ 627378 w 674086"/>
                          <a:gd name="connsiteY195" fmla="*/ 422957 h 446520"/>
                          <a:gd name="connsiteX196" fmla="*/ 627198 w 674086"/>
                          <a:gd name="connsiteY196" fmla="*/ 422837 h 446520"/>
                          <a:gd name="connsiteX197" fmla="*/ 600225 w 674086"/>
                          <a:gd name="connsiteY197" fmla="*/ 405493 h 446520"/>
                          <a:gd name="connsiteX198" fmla="*/ 590357 w 674086"/>
                          <a:gd name="connsiteY198" fmla="*/ 399154 h 446520"/>
                          <a:gd name="connsiteX199" fmla="*/ 566434 w 674086"/>
                          <a:gd name="connsiteY199" fmla="*/ 383783 h 446520"/>
                          <a:gd name="connsiteX200" fmla="*/ 565836 w 674086"/>
                          <a:gd name="connsiteY200" fmla="*/ 383424 h 446520"/>
                          <a:gd name="connsiteX201" fmla="*/ 358544 w 674086"/>
                          <a:gd name="connsiteY201" fmla="*/ 250293 h 446520"/>
                          <a:gd name="connsiteX202" fmla="*/ 357826 w 674086"/>
                          <a:gd name="connsiteY202" fmla="*/ 249815 h 446520"/>
                          <a:gd name="connsiteX203" fmla="*/ 355374 w 674086"/>
                          <a:gd name="connsiteY203" fmla="*/ 248260 h 446520"/>
                          <a:gd name="connsiteX204" fmla="*/ 352922 w 674086"/>
                          <a:gd name="connsiteY204" fmla="*/ 246705 h 446520"/>
                          <a:gd name="connsiteX205" fmla="*/ 340363 w 674086"/>
                          <a:gd name="connsiteY205" fmla="*/ 238631 h 446520"/>
                          <a:gd name="connsiteX206" fmla="*/ 339585 w 674086"/>
                          <a:gd name="connsiteY206" fmla="*/ 238152 h 446520"/>
                          <a:gd name="connsiteX207" fmla="*/ 339286 w 674086"/>
                          <a:gd name="connsiteY207" fmla="*/ 237973 h 446520"/>
                          <a:gd name="connsiteX208" fmla="*/ 299096 w 674086"/>
                          <a:gd name="connsiteY208" fmla="*/ 212136 h 446520"/>
                          <a:gd name="connsiteX209" fmla="*/ 284802 w 674086"/>
                          <a:gd name="connsiteY209" fmla="*/ 202926 h 446520"/>
                          <a:gd name="connsiteX210" fmla="*/ 251310 w 674086"/>
                          <a:gd name="connsiteY210" fmla="*/ 181455 h 446520"/>
                          <a:gd name="connsiteX211" fmla="*/ 250473 w 674086"/>
                          <a:gd name="connsiteY211" fmla="*/ 180917 h 446520"/>
                          <a:gd name="connsiteX212" fmla="*/ 143836 w 674086"/>
                          <a:gd name="connsiteY212" fmla="*/ 112438 h 446520"/>
                          <a:gd name="connsiteX213" fmla="*/ 142939 w 674086"/>
                          <a:gd name="connsiteY213" fmla="*/ 111840 h 446520"/>
                          <a:gd name="connsiteX214" fmla="*/ 140068 w 674086"/>
                          <a:gd name="connsiteY214" fmla="*/ 109986 h 446520"/>
                          <a:gd name="connsiteX215" fmla="*/ 137018 w 674086"/>
                          <a:gd name="connsiteY215" fmla="*/ 108072 h 446520"/>
                          <a:gd name="connsiteX216" fmla="*/ 120810 w 674086"/>
                          <a:gd name="connsiteY216" fmla="*/ 97605 h 446520"/>
                          <a:gd name="connsiteX217" fmla="*/ 119854 w 674086"/>
                          <a:gd name="connsiteY217" fmla="*/ 97007 h 446520"/>
                          <a:gd name="connsiteX218" fmla="*/ 119435 w 674086"/>
                          <a:gd name="connsiteY218" fmla="*/ 96768 h 446520"/>
                          <a:gd name="connsiteX219" fmla="*/ 67283 w 674086"/>
                          <a:gd name="connsiteY219" fmla="*/ 63276 h 446520"/>
                          <a:gd name="connsiteX220" fmla="*/ 48922 w 674086"/>
                          <a:gd name="connsiteY220" fmla="*/ 51494 h 446520"/>
                          <a:gd name="connsiteX221" fmla="*/ 7117 w 674086"/>
                          <a:gd name="connsiteY221" fmla="*/ 24641 h 446520"/>
                          <a:gd name="connsiteX222" fmla="*/ 6040 w 674086"/>
                          <a:gd name="connsiteY222" fmla="*/ 23923 h 446520"/>
                          <a:gd name="connsiteX223" fmla="*/ 1854 w 674086"/>
                          <a:gd name="connsiteY223" fmla="*/ 21292 h 446520"/>
                          <a:gd name="connsiteX224" fmla="*/ 12918 w 674086"/>
                          <a:gd name="connsiteY224" fmla="*/ 7237 h 446520"/>
                          <a:gd name="connsiteX225" fmla="*/ 11902 w 674086"/>
                          <a:gd name="connsiteY225" fmla="*/ 6579 h 446520"/>
                          <a:gd name="connsiteX226" fmla="*/ 0 w 674086"/>
                          <a:gd name="connsiteY226" fmla="*/ 21651 h 44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674086" h="446520">
                            <a:moveTo>
                              <a:pt x="0" y="21651"/>
                            </a:moveTo>
                            <a:lnTo>
                              <a:pt x="5203" y="25000"/>
                            </a:lnTo>
                            <a:lnTo>
                              <a:pt x="6280" y="25658"/>
                            </a:lnTo>
                            <a:lnTo>
                              <a:pt x="118657" y="97785"/>
                            </a:lnTo>
                            <a:lnTo>
                              <a:pt x="119076" y="98024"/>
                            </a:lnTo>
                            <a:lnTo>
                              <a:pt x="119973" y="98622"/>
                            </a:lnTo>
                            <a:lnTo>
                              <a:pt x="142162" y="112797"/>
                            </a:lnTo>
                            <a:lnTo>
                              <a:pt x="143059" y="113395"/>
                            </a:lnTo>
                            <a:lnTo>
                              <a:pt x="249755" y="181814"/>
                            </a:lnTo>
                            <a:lnTo>
                              <a:pt x="250592" y="182353"/>
                            </a:lnTo>
                            <a:lnTo>
                              <a:pt x="338628" y="238811"/>
                            </a:lnTo>
                            <a:lnTo>
                              <a:pt x="338868" y="238990"/>
                            </a:lnTo>
                            <a:lnTo>
                              <a:pt x="339645" y="239468"/>
                            </a:lnTo>
                            <a:lnTo>
                              <a:pt x="357109" y="250712"/>
                            </a:lnTo>
                            <a:lnTo>
                              <a:pt x="357826" y="251190"/>
                            </a:lnTo>
                            <a:lnTo>
                              <a:pt x="565238" y="384202"/>
                            </a:lnTo>
                            <a:lnTo>
                              <a:pt x="565776" y="384561"/>
                            </a:lnTo>
                            <a:lnTo>
                              <a:pt x="626600" y="423555"/>
                            </a:lnTo>
                            <a:lnTo>
                              <a:pt x="626840" y="423674"/>
                            </a:lnTo>
                            <a:lnTo>
                              <a:pt x="627318" y="424033"/>
                            </a:lnTo>
                            <a:lnTo>
                              <a:pt x="639519" y="431808"/>
                            </a:lnTo>
                            <a:lnTo>
                              <a:pt x="639997" y="432167"/>
                            </a:lnTo>
                            <a:lnTo>
                              <a:pt x="662425" y="446521"/>
                            </a:lnTo>
                            <a:lnTo>
                              <a:pt x="674087" y="431748"/>
                            </a:lnTo>
                            <a:lnTo>
                              <a:pt x="650703" y="416438"/>
                            </a:lnTo>
                            <a:lnTo>
                              <a:pt x="650164" y="416079"/>
                            </a:lnTo>
                            <a:lnTo>
                              <a:pt x="649506" y="415660"/>
                            </a:lnTo>
                            <a:lnTo>
                              <a:pt x="649028" y="415301"/>
                            </a:lnTo>
                            <a:lnTo>
                              <a:pt x="646995" y="413986"/>
                            </a:lnTo>
                            <a:lnTo>
                              <a:pt x="646516" y="413627"/>
                            </a:lnTo>
                            <a:lnTo>
                              <a:pt x="645798" y="413208"/>
                            </a:lnTo>
                            <a:lnTo>
                              <a:pt x="645320" y="412909"/>
                            </a:lnTo>
                            <a:lnTo>
                              <a:pt x="643047" y="411414"/>
                            </a:lnTo>
                            <a:lnTo>
                              <a:pt x="642509" y="411055"/>
                            </a:lnTo>
                            <a:lnTo>
                              <a:pt x="641851" y="410577"/>
                            </a:lnTo>
                            <a:lnTo>
                              <a:pt x="641313" y="410278"/>
                            </a:lnTo>
                            <a:lnTo>
                              <a:pt x="626959" y="400828"/>
                            </a:lnTo>
                            <a:lnTo>
                              <a:pt x="626361" y="400409"/>
                            </a:lnTo>
                            <a:lnTo>
                              <a:pt x="622533" y="397898"/>
                            </a:lnTo>
                            <a:lnTo>
                              <a:pt x="621098" y="397000"/>
                            </a:lnTo>
                            <a:lnTo>
                              <a:pt x="617270" y="394429"/>
                            </a:lnTo>
                            <a:lnTo>
                              <a:pt x="616612" y="394010"/>
                            </a:lnTo>
                            <a:lnTo>
                              <a:pt x="611768" y="390840"/>
                            </a:lnTo>
                            <a:lnTo>
                              <a:pt x="611230" y="390482"/>
                            </a:lnTo>
                            <a:lnTo>
                              <a:pt x="602498" y="384740"/>
                            </a:lnTo>
                            <a:lnTo>
                              <a:pt x="601960" y="384381"/>
                            </a:lnTo>
                            <a:lnTo>
                              <a:pt x="596696" y="380912"/>
                            </a:lnTo>
                            <a:lnTo>
                              <a:pt x="596039" y="380494"/>
                            </a:lnTo>
                            <a:lnTo>
                              <a:pt x="592092" y="377922"/>
                            </a:lnTo>
                            <a:lnTo>
                              <a:pt x="590596" y="376905"/>
                            </a:lnTo>
                            <a:lnTo>
                              <a:pt x="586589" y="374274"/>
                            </a:lnTo>
                            <a:lnTo>
                              <a:pt x="585931" y="373855"/>
                            </a:lnTo>
                            <a:lnTo>
                              <a:pt x="369010" y="231275"/>
                            </a:lnTo>
                            <a:lnTo>
                              <a:pt x="368233" y="230796"/>
                            </a:lnTo>
                            <a:lnTo>
                              <a:pt x="367336" y="230198"/>
                            </a:lnTo>
                            <a:lnTo>
                              <a:pt x="366558" y="229720"/>
                            </a:lnTo>
                            <a:lnTo>
                              <a:pt x="363748" y="227866"/>
                            </a:lnTo>
                            <a:lnTo>
                              <a:pt x="363030" y="227387"/>
                            </a:lnTo>
                            <a:lnTo>
                              <a:pt x="362073" y="226729"/>
                            </a:lnTo>
                            <a:lnTo>
                              <a:pt x="361355" y="226251"/>
                            </a:lnTo>
                            <a:lnTo>
                              <a:pt x="358185" y="224158"/>
                            </a:lnTo>
                            <a:lnTo>
                              <a:pt x="357408" y="223679"/>
                            </a:lnTo>
                            <a:lnTo>
                              <a:pt x="356451" y="223021"/>
                            </a:lnTo>
                            <a:lnTo>
                              <a:pt x="355673" y="222543"/>
                            </a:lnTo>
                            <a:lnTo>
                              <a:pt x="335040" y="208966"/>
                            </a:lnTo>
                            <a:lnTo>
                              <a:pt x="334143" y="208368"/>
                            </a:lnTo>
                            <a:lnTo>
                              <a:pt x="328700" y="204780"/>
                            </a:lnTo>
                            <a:lnTo>
                              <a:pt x="326607" y="203404"/>
                            </a:lnTo>
                            <a:lnTo>
                              <a:pt x="320985" y="199756"/>
                            </a:lnTo>
                            <a:lnTo>
                              <a:pt x="320088" y="199158"/>
                            </a:lnTo>
                            <a:lnTo>
                              <a:pt x="313031" y="194493"/>
                            </a:lnTo>
                            <a:lnTo>
                              <a:pt x="312253" y="194015"/>
                            </a:lnTo>
                            <a:lnTo>
                              <a:pt x="299634" y="185702"/>
                            </a:lnTo>
                            <a:lnTo>
                              <a:pt x="298797" y="185163"/>
                            </a:lnTo>
                            <a:lnTo>
                              <a:pt x="291142" y="180140"/>
                            </a:lnTo>
                            <a:lnTo>
                              <a:pt x="290184" y="179482"/>
                            </a:lnTo>
                            <a:lnTo>
                              <a:pt x="284503" y="175714"/>
                            </a:lnTo>
                            <a:lnTo>
                              <a:pt x="282290" y="174278"/>
                            </a:lnTo>
                            <a:lnTo>
                              <a:pt x="276429" y="170451"/>
                            </a:lnTo>
                            <a:lnTo>
                              <a:pt x="275472" y="169793"/>
                            </a:lnTo>
                            <a:lnTo>
                              <a:pt x="155858" y="91206"/>
                            </a:lnTo>
                            <a:lnTo>
                              <a:pt x="154900" y="90608"/>
                            </a:lnTo>
                            <a:lnTo>
                              <a:pt x="153704" y="89771"/>
                            </a:lnTo>
                            <a:lnTo>
                              <a:pt x="152807" y="89173"/>
                            </a:lnTo>
                            <a:lnTo>
                              <a:pt x="149518" y="87020"/>
                            </a:lnTo>
                            <a:lnTo>
                              <a:pt x="148561" y="86421"/>
                            </a:lnTo>
                            <a:lnTo>
                              <a:pt x="147365" y="85644"/>
                            </a:lnTo>
                            <a:lnTo>
                              <a:pt x="146468" y="84986"/>
                            </a:lnTo>
                            <a:lnTo>
                              <a:pt x="142820" y="82654"/>
                            </a:lnTo>
                            <a:lnTo>
                              <a:pt x="141863" y="81996"/>
                            </a:lnTo>
                            <a:lnTo>
                              <a:pt x="140666" y="81218"/>
                            </a:lnTo>
                            <a:lnTo>
                              <a:pt x="139710" y="80561"/>
                            </a:lnTo>
                            <a:lnTo>
                              <a:pt x="111062" y="61781"/>
                            </a:lnTo>
                            <a:lnTo>
                              <a:pt x="109866" y="61003"/>
                            </a:lnTo>
                            <a:lnTo>
                              <a:pt x="102928" y="56399"/>
                            </a:lnTo>
                            <a:lnTo>
                              <a:pt x="100296" y="54664"/>
                            </a:lnTo>
                            <a:lnTo>
                              <a:pt x="93179" y="49999"/>
                            </a:lnTo>
                            <a:lnTo>
                              <a:pt x="91984" y="49222"/>
                            </a:lnTo>
                            <a:lnTo>
                              <a:pt x="83012" y="43301"/>
                            </a:lnTo>
                            <a:lnTo>
                              <a:pt x="81995" y="42643"/>
                            </a:lnTo>
                            <a:lnTo>
                              <a:pt x="65847" y="32057"/>
                            </a:lnTo>
                            <a:lnTo>
                              <a:pt x="64831" y="31399"/>
                            </a:lnTo>
                            <a:lnTo>
                              <a:pt x="55022" y="24940"/>
                            </a:lnTo>
                            <a:lnTo>
                              <a:pt x="53767" y="24102"/>
                            </a:lnTo>
                            <a:lnTo>
                              <a:pt x="46410" y="19258"/>
                            </a:lnTo>
                            <a:lnTo>
                              <a:pt x="43659" y="17464"/>
                            </a:lnTo>
                            <a:lnTo>
                              <a:pt x="36123" y="12500"/>
                            </a:lnTo>
                            <a:lnTo>
                              <a:pt x="34867" y="11662"/>
                            </a:lnTo>
                            <a:lnTo>
                              <a:pt x="17105" y="0"/>
                            </a:lnTo>
                            <a:lnTo>
                              <a:pt x="14832" y="2871"/>
                            </a:lnTo>
                            <a:lnTo>
                              <a:pt x="15849" y="3589"/>
                            </a:lnTo>
                            <a:lnTo>
                              <a:pt x="17284" y="1735"/>
                            </a:lnTo>
                            <a:lnTo>
                              <a:pt x="34748" y="13218"/>
                            </a:lnTo>
                            <a:lnTo>
                              <a:pt x="36123" y="14115"/>
                            </a:lnTo>
                            <a:lnTo>
                              <a:pt x="52152" y="24581"/>
                            </a:lnTo>
                            <a:lnTo>
                              <a:pt x="53468" y="25478"/>
                            </a:lnTo>
                            <a:lnTo>
                              <a:pt x="63993" y="32416"/>
                            </a:lnTo>
                            <a:lnTo>
                              <a:pt x="65010" y="33074"/>
                            </a:lnTo>
                            <a:lnTo>
                              <a:pt x="81218" y="43660"/>
                            </a:lnTo>
                            <a:lnTo>
                              <a:pt x="82175" y="44317"/>
                            </a:lnTo>
                            <a:lnTo>
                              <a:pt x="91864" y="50717"/>
                            </a:lnTo>
                            <a:lnTo>
                              <a:pt x="93179" y="51554"/>
                            </a:lnTo>
                            <a:lnTo>
                              <a:pt x="108311" y="61482"/>
                            </a:lnTo>
                            <a:lnTo>
                              <a:pt x="109567" y="62319"/>
                            </a:lnTo>
                            <a:lnTo>
                              <a:pt x="138752" y="81458"/>
                            </a:lnTo>
                            <a:lnTo>
                              <a:pt x="139710" y="82116"/>
                            </a:lnTo>
                            <a:lnTo>
                              <a:pt x="140966" y="82893"/>
                            </a:lnTo>
                            <a:lnTo>
                              <a:pt x="141863" y="83551"/>
                            </a:lnTo>
                            <a:lnTo>
                              <a:pt x="145571" y="85943"/>
                            </a:lnTo>
                            <a:lnTo>
                              <a:pt x="146528" y="86541"/>
                            </a:lnTo>
                            <a:lnTo>
                              <a:pt x="147724" y="87379"/>
                            </a:lnTo>
                            <a:lnTo>
                              <a:pt x="148681" y="87977"/>
                            </a:lnTo>
                            <a:lnTo>
                              <a:pt x="151970" y="90130"/>
                            </a:lnTo>
                            <a:lnTo>
                              <a:pt x="152927" y="90728"/>
                            </a:lnTo>
                            <a:lnTo>
                              <a:pt x="154123" y="91565"/>
                            </a:lnTo>
                            <a:lnTo>
                              <a:pt x="155020" y="92163"/>
                            </a:lnTo>
                            <a:lnTo>
                              <a:pt x="275292" y="171109"/>
                            </a:lnTo>
                            <a:lnTo>
                              <a:pt x="276369" y="171767"/>
                            </a:lnTo>
                            <a:lnTo>
                              <a:pt x="288809" y="179960"/>
                            </a:lnTo>
                            <a:lnTo>
                              <a:pt x="289885" y="180678"/>
                            </a:lnTo>
                            <a:lnTo>
                              <a:pt x="298079" y="186061"/>
                            </a:lnTo>
                            <a:lnTo>
                              <a:pt x="298916" y="186599"/>
                            </a:lnTo>
                            <a:lnTo>
                              <a:pt x="311536" y="194912"/>
                            </a:lnTo>
                            <a:lnTo>
                              <a:pt x="312313" y="195390"/>
                            </a:lnTo>
                            <a:lnTo>
                              <a:pt x="319909" y="200414"/>
                            </a:lnTo>
                            <a:lnTo>
                              <a:pt x="320925" y="201012"/>
                            </a:lnTo>
                            <a:lnTo>
                              <a:pt x="332827" y="208847"/>
                            </a:lnTo>
                            <a:lnTo>
                              <a:pt x="333784" y="209505"/>
                            </a:lnTo>
                            <a:lnTo>
                              <a:pt x="354956" y="223380"/>
                            </a:lnTo>
                            <a:lnTo>
                              <a:pt x="355673" y="223859"/>
                            </a:lnTo>
                            <a:lnTo>
                              <a:pt x="356631" y="224517"/>
                            </a:lnTo>
                            <a:lnTo>
                              <a:pt x="357408" y="224995"/>
                            </a:lnTo>
                            <a:lnTo>
                              <a:pt x="360637" y="227088"/>
                            </a:lnTo>
                            <a:lnTo>
                              <a:pt x="361355" y="227627"/>
                            </a:lnTo>
                            <a:lnTo>
                              <a:pt x="362312" y="228225"/>
                            </a:lnTo>
                            <a:lnTo>
                              <a:pt x="363030" y="228703"/>
                            </a:lnTo>
                            <a:lnTo>
                              <a:pt x="365901" y="230557"/>
                            </a:lnTo>
                            <a:lnTo>
                              <a:pt x="366618" y="231035"/>
                            </a:lnTo>
                            <a:lnTo>
                              <a:pt x="367575" y="231693"/>
                            </a:lnTo>
                            <a:lnTo>
                              <a:pt x="368293" y="232172"/>
                            </a:lnTo>
                            <a:lnTo>
                              <a:pt x="585692" y="374872"/>
                            </a:lnTo>
                            <a:lnTo>
                              <a:pt x="586410" y="375350"/>
                            </a:lnTo>
                            <a:lnTo>
                              <a:pt x="595022" y="380972"/>
                            </a:lnTo>
                            <a:lnTo>
                              <a:pt x="595740" y="381451"/>
                            </a:lnTo>
                            <a:lnTo>
                              <a:pt x="601362" y="385159"/>
                            </a:lnTo>
                            <a:lnTo>
                              <a:pt x="601960" y="385517"/>
                            </a:lnTo>
                            <a:lnTo>
                              <a:pt x="610632" y="391199"/>
                            </a:lnTo>
                            <a:lnTo>
                              <a:pt x="611170" y="391558"/>
                            </a:lnTo>
                            <a:lnTo>
                              <a:pt x="616433" y="395027"/>
                            </a:lnTo>
                            <a:lnTo>
                              <a:pt x="617091" y="395446"/>
                            </a:lnTo>
                            <a:lnTo>
                              <a:pt x="625344" y="400888"/>
                            </a:lnTo>
                            <a:lnTo>
                              <a:pt x="626002" y="401307"/>
                            </a:lnTo>
                            <a:lnTo>
                              <a:pt x="640655" y="410936"/>
                            </a:lnTo>
                            <a:lnTo>
                              <a:pt x="641193" y="411234"/>
                            </a:lnTo>
                            <a:lnTo>
                              <a:pt x="641851" y="411713"/>
                            </a:lnTo>
                            <a:lnTo>
                              <a:pt x="642389" y="412072"/>
                            </a:lnTo>
                            <a:lnTo>
                              <a:pt x="644722" y="413567"/>
                            </a:lnTo>
                            <a:lnTo>
                              <a:pt x="645200" y="413926"/>
                            </a:lnTo>
                            <a:lnTo>
                              <a:pt x="645858" y="414345"/>
                            </a:lnTo>
                            <a:lnTo>
                              <a:pt x="646396" y="414703"/>
                            </a:lnTo>
                            <a:lnTo>
                              <a:pt x="648430" y="416019"/>
                            </a:lnTo>
                            <a:lnTo>
                              <a:pt x="648908" y="416378"/>
                            </a:lnTo>
                            <a:lnTo>
                              <a:pt x="649566" y="416796"/>
                            </a:lnTo>
                            <a:lnTo>
                              <a:pt x="650104" y="417155"/>
                            </a:lnTo>
                            <a:lnTo>
                              <a:pt x="673011" y="432167"/>
                            </a:lnTo>
                            <a:lnTo>
                              <a:pt x="672054" y="433423"/>
                            </a:lnTo>
                            <a:lnTo>
                              <a:pt x="672532" y="433722"/>
                            </a:lnTo>
                            <a:lnTo>
                              <a:pt x="670499" y="436234"/>
                            </a:lnTo>
                            <a:lnTo>
                              <a:pt x="670080" y="435935"/>
                            </a:lnTo>
                            <a:lnTo>
                              <a:pt x="662484" y="445504"/>
                            </a:lnTo>
                            <a:lnTo>
                              <a:pt x="640595" y="431449"/>
                            </a:lnTo>
                            <a:lnTo>
                              <a:pt x="640117" y="431091"/>
                            </a:lnTo>
                            <a:lnTo>
                              <a:pt x="638980" y="430373"/>
                            </a:lnTo>
                            <a:lnTo>
                              <a:pt x="637306" y="429296"/>
                            </a:lnTo>
                            <a:lnTo>
                              <a:pt x="627916" y="423256"/>
                            </a:lnTo>
                            <a:lnTo>
                              <a:pt x="627378" y="422957"/>
                            </a:lnTo>
                            <a:lnTo>
                              <a:pt x="627198" y="422837"/>
                            </a:lnTo>
                            <a:lnTo>
                              <a:pt x="600225" y="405493"/>
                            </a:lnTo>
                            <a:lnTo>
                              <a:pt x="590357" y="399154"/>
                            </a:lnTo>
                            <a:lnTo>
                              <a:pt x="566434" y="383783"/>
                            </a:lnTo>
                            <a:lnTo>
                              <a:pt x="565836" y="383424"/>
                            </a:lnTo>
                            <a:lnTo>
                              <a:pt x="358544" y="250293"/>
                            </a:lnTo>
                            <a:lnTo>
                              <a:pt x="357826" y="249815"/>
                            </a:lnTo>
                            <a:lnTo>
                              <a:pt x="355374" y="248260"/>
                            </a:lnTo>
                            <a:lnTo>
                              <a:pt x="352922" y="246705"/>
                            </a:lnTo>
                            <a:lnTo>
                              <a:pt x="340363" y="238631"/>
                            </a:lnTo>
                            <a:lnTo>
                              <a:pt x="339585" y="238152"/>
                            </a:lnTo>
                            <a:lnTo>
                              <a:pt x="339286" y="237973"/>
                            </a:lnTo>
                            <a:lnTo>
                              <a:pt x="299096" y="212136"/>
                            </a:lnTo>
                            <a:lnTo>
                              <a:pt x="284802" y="202926"/>
                            </a:lnTo>
                            <a:lnTo>
                              <a:pt x="251310" y="181455"/>
                            </a:lnTo>
                            <a:lnTo>
                              <a:pt x="250473" y="180917"/>
                            </a:lnTo>
                            <a:lnTo>
                              <a:pt x="143836" y="112438"/>
                            </a:lnTo>
                            <a:lnTo>
                              <a:pt x="142939" y="111840"/>
                            </a:lnTo>
                            <a:lnTo>
                              <a:pt x="140068" y="109986"/>
                            </a:lnTo>
                            <a:lnTo>
                              <a:pt x="137018" y="108072"/>
                            </a:lnTo>
                            <a:lnTo>
                              <a:pt x="120810" y="97605"/>
                            </a:lnTo>
                            <a:lnTo>
                              <a:pt x="119854" y="97007"/>
                            </a:lnTo>
                            <a:lnTo>
                              <a:pt x="119435" y="96768"/>
                            </a:lnTo>
                            <a:lnTo>
                              <a:pt x="67283" y="63276"/>
                            </a:lnTo>
                            <a:lnTo>
                              <a:pt x="48922" y="51494"/>
                            </a:lnTo>
                            <a:lnTo>
                              <a:pt x="7117" y="24641"/>
                            </a:lnTo>
                            <a:lnTo>
                              <a:pt x="6040" y="23923"/>
                            </a:lnTo>
                            <a:lnTo>
                              <a:pt x="1854" y="21292"/>
                            </a:lnTo>
                            <a:lnTo>
                              <a:pt x="12918" y="7237"/>
                            </a:lnTo>
                            <a:lnTo>
                              <a:pt x="11902" y="6579"/>
                            </a:lnTo>
                            <a:lnTo>
                              <a:pt x="0" y="21651"/>
                            </a:lnTo>
                          </a:path>
                        </a:pathLst>
                      </a:custGeom>
                      <a:noFill/>
                      <a:ln w="6350" cap="flat">
                        <a:solidFill>
                          <a:schemeClr val="bg1">
                            <a:alpha val="40000"/>
                          </a:schemeClr>
                        </a:solidFill>
                        <a:prstDash val="solid"/>
                        <a:miter/>
                      </a:ln>
                    </p:spPr>
                    <p:txBody>
                      <a:bodyPr rtlCol="0" anchor="ctr"/>
                      <a:lstStyle/>
                      <a:p>
                        <a:endParaRPr lang="en-GB"/>
                      </a:p>
                    </p:txBody>
                  </p:sp>
                  <p:sp>
                    <p:nvSpPr>
                      <p:cNvPr id="7571" name="Vrije vorm: vorm 7570">
                        <a:extLst>
                          <a:ext uri="{FF2B5EF4-FFF2-40B4-BE49-F238E27FC236}">
                            <a16:creationId xmlns:a16="http://schemas.microsoft.com/office/drawing/2014/main" id="{A1FC2B6A-D02C-4BBE-9F71-F7CFA08A1743}"/>
                          </a:ext>
                        </a:extLst>
                      </p:cNvPr>
                      <p:cNvSpPr/>
                      <p:nvPr/>
                    </p:nvSpPr>
                    <p:spPr>
                      <a:xfrm>
                        <a:off x="4731668" y="5135207"/>
                        <a:ext cx="660809" cy="433243"/>
                      </a:xfrm>
                      <a:custGeom>
                        <a:avLst/>
                        <a:gdLst>
                          <a:gd name="connsiteX0" fmla="*/ 26853 w 660809"/>
                          <a:gd name="connsiteY0" fmla="*/ 19497 h 433243"/>
                          <a:gd name="connsiteX1" fmla="*/ 1854 w 660809"/>
                          <a:gd name="connsiteY1" fmla="*/ 3170 h 433243"/>
                          <a:gd name="connsiteX2" fmla="*/ 3110 w 660809"/>
                          <a:gd name="connsiteY2" fmla="*/ 1555 h 433243"/>
                          <a:gd name="connsiteX3" fmla="*/ 23803 w 660809"/>
                          <a:gd name="connsiteY3" fmla="*/ 15131 h 433243"/>
                          <a:gd name="connsiteX4" fmla="*/ 26196 w 660809"/>
                          <a:gd name="connsiteY4" fmla="*/ 16686 h 433243"/>
                          <a:gd name="connsiteX5" fmla="*/ 33851 w 660809"/>
                          <a:gd name="connsiteY5" fmla="*/ 21650 h 433243"/>
                          <a:gd name="connsiteX6" fmla="*/ 36183 w 660809"/>
                          <a:gd name="connsiteY6" fmla="*/ 23205 h 433243"/>
                          <a:gd name="connsiteX7" fmla="*/ 49879 w 660809"/>
                          <a:gd name="connsiteY7" fmla="*/ 32176 h 433243"/>
                          <a:gd name="connsiteX8" fmla="*/ 50896 w 660809"/>
                          <a:gd name="connsiteY8" fmla="*/ 32834 h 433243"/>
                          <a:gd name="connsiteX9" fmla="*/ 67104 w 660809"/>
                          <a:gd name="connsiteY9" fmla="*/ 43420 h 433243"/>
                          <a:gd name="connsiteX10" fmla="*/ 68121 w 660809"/>
                          <a:gd name="connsiteY10" fmla="*/ 44078 h 433243"/>
                          <a:gd name="connsiteX11" fmla="*/ 80859 w 660809"/>
                          <a:gd name="connsiteY11" fmla="*/ 52391 h 433243"/>
                          <a:gd name="connsiteX12" fmla="*/ 83072 w 660809"/>
                          <a:gd name="connsiteY12" fmla="*/ 53886 h 433243"/>
                          <a:gd name="connsiteX13" fmla="*/ 90309 w 660809"/>
                          <a:gd name="connsiteY13" fmla="*/ 58611 h 433243"/>
                          <a:gd name="connsiteX14" fmla="*/ 92522 w 660809"/>
                          <a:gd name="connsiteY14" fmla="*/ 60047 h 433243"/>
                          <a:gd name="connsiteX15" fmla="*/ 124339 w 660809"/>
                          <a:gd name="connsiteY15" fmla="*/ 80859 h 433243"/>
                          <a:gd name="connsiteX16" fmla="*/ 125296 w 660809"/>
                          <a:gd name="connsiteY16" fmla="*/ 81457 h 433243"/>
                          <a:gd name="connsiteX17" fmla="*/ 126552 w 660809"/>
                          <a:gd name="connsiteY17" fmla="*/ 82295 h 433243"/>
                          <a:gd name="connsiteX18" fmla="*/ 127509 w 660809"/>
                          <a:gd name="connsiteY18" fmla="*/ 82893 h 433243"/>
                          <a:gd name="connsiteX19" fmla="*/ 131396 w 660809"/>
                          <a:gd name="connsiteY19" fmla="*/ 85465 h 433243"/>
                          <a:gd name="connsiteX20" fmla="*/ 132353 w 660809"/>
                          <a:gd name="connsiteY20" fmla="*/ 86063 h 433243"/>
                          <a:gd name="connsiteX21" fmla="*/ 133550 w 660809"/>
                          <a:gd name="connsiteY21" fmla="*/ 86840 h 433243"/>
                          <a:gd name="connsiteX22" fmla="*/ 134506 w 660809"/>
                          <a:gd name="connsiteY22" fmla="*/ 87438 h 433243"/>
                          <a:gd name="connsiteX23" fmla="*/ 137915 w 660809"/>
                          <a:gd name="connsiteY23" fmla="*/ 89651 h 433243"/>
                          <a:gd name="connsiteX24" fmla="*/ 138872 w 660809"/>
                          <a:gd name="connsiteY24" fmla="*/ 90249 h 433243"/>
                          <a:gd name="connsiteX25" fmla="*/ 140068 w 660809"/>
                          <a:gd name="connsiteY25" fmla="*/ 91027 h 433243"/>
                          <a:gd name="connsiteX26" fmla="*/ 140966 w 660809"/>
                          <a:gd name="connsiteY26" fmla="*/ 91625 h 433243"/>
                          <a:gd name="connsiteX27" fmla="*/ 263989 w 660809"/>
                          <a:gd name="connsiteY27" fmla="*/ 172125 h 433243"/>
                          <a:gd name="connsiteX28" fmla="*/ 265843 w 660809"/>
                          <a:gd name="connsiteY28" fmla="*/ 173322 h 433243"/>
                          <a:gd name="connsiteX29" fmla="*/ 271764 w 660809"/>
                          <a:gd name="connsiteY29" fmla="*/ 177209 h 433243"/>
                          <a:gd name="connsiteX30" fmla="*/ 273618 w 660809"/>
                          <a:gd name="connsiteY30" fmla="*/ 178405 h 433243"/>
                          <a:gd name="connsiteX31" fmla="*/ 284323 w 660809"/>
                          <a:gd name="connsiteY31" fmla="*/ 185402 h 433243"/>
                          <a:gd name="connsiteX32" fmla="*/ 285101 w 660809"/>
                          <a:gd name="connsiteY32" fmla="*/ 185941 h 433243"/>
                          <a:gd name="connsiteX33" fmla="*/ 297780 w 660809"/>
                          <a:gd name="connsiteY33" fmla="*/ 194254 h 433243"/>
                          <a:gd name="connsiteX34" fmla="*/ 298558 w 660809"/>
                          <a:gd name="connsiteY34" fmla="*/ 194792 h 433243"/>
                          <a:gd name="connsiteX35" fmla="*/ 308545 w 660809"/>
                          <a:gd name="connsiteY35" fmla="*/ 201311 h 433243"/>
                          <a:gd name="connsiteX36" fmla="*/ 310280 w 660809"/>
                          <a:gd name="connsiteY36" fmla="*/ 202448 h 433243"/>
                          <a:gd name="connsiteX37" fmla="*/ 315962 w 660809"/>
                          <a:gd name="connsiteY37" fmla="*/ 206156 h 433243"/>
                          <a:gd name="connsiteX38" fmla="*/ 317696 w 660809"/>
                          <a:gd name="connsiteY38" fmla="*/ 207292 h 433243"/>
                          <a:gd name="connsiteX39" fmla="*/ 341021 w 660809"/>
                          <a:gd name="connsiteY39" fmla="*/ 222543 h 433243"/>
                          <a:gd name="connsiteX40" fmla="*/ 341798 w 660809"/>
                          <a:gd name="connsiteY40" fmla="*/ 223021 h 433243"/>
                          <a:gd name="connsiteX41" fmla="*/ 342755 w 660809"/>
                          <a:gd name="connsiteY41" fmla="*/ 223679 h 433243"/>
                          <a:gd name="connsiteX42" fmla="*/ 343533 w 660809"/>
                          <a:gd name="connsiteY42" fmla="*/ 224158 h 433243"/>
                          <a:gd name="connsiteX43" fmla="*/ 346942 w 660809"/>
                          <a:gd name="connsiteY43" fmla="*/ 226371 h 433243"/>
                          <a:gd name="connsiteX44" fmla="*/ 347659 w 660809"/>
                          <a:gd name="connsiteY44" fmla="*/ 226849 h 433243"/>
                          <a:gd name="connsiteX45" fmla="*/ 348616 w 660809"/>
                          <a:gd name="connsiteY45" fmla="*/ 227507 h 433243"/>
                          <a:gd name="connsiteX46" fmla="*/ 349334 w 660809"/>
                          <a:gd name="connsiteY46" fmla="*/ 227985 h 433243"/>
                          <a:gd name="connsiteX47" fmla="*/ 352264 w 660809"/>
                          <a:gd name="connsiteY47" fmla="*/ 229899 h 433243"/>
                          <a:gd name="connsiteX48" fmla="*/ 352982 w 660809"/>
                          <a:gd name="connsiteY48" fmla="*/ 230378 h 433243"/>
                          <a:gd name="connsiteX49" fmla="*/ 353939 w 660809"/>
                          <a:gd name="connsiteY49" fmla="*/ 230975 h 433243"/>
                          <a:gd name="connsiteX50" fmla="*/ 354657 w 660809"/>
                          <a:gd name="connsiteY50" fmla="*/ 231454 h 433243"/>
                          <a:gd name="connsiteX51" fmla="*/ 574030 w 660809"/>
                          <a:gd name="connsiteY51" fmla="*/ 374991 h 433243"/>
                          <a:gd name="connsiteX52" fmla="*/ 575286 w 660809"/>
                          <a:gd name="connsiteY52" fmla="*/ 375829 h 433243"/>
                          <a:gd name="connsiteX53" fmla="*/ 579353 w 660809"/>
                          <a:gd name="connsiteY53" fmla="*/ 378520 h 433243"/>
                          <a:gd name="connsiteX54" fmla="*/ 580609 w 660809"/>
                          <a:gd name="connsiteY54" fmla="*/ 379357 h 433243"/>
                          <a:gd name="connsiteX55" fmla="*/ 587965 w 660809"/>
                          <a:gd name="connsiteY55" fmla="*/ 384201 h 433243"/>
                          <a:gd name="connsiteX56" fmla="*/ 588503 w 660809"/>
                          <a:gd name="connsiteY56" fmla="*/ 384561 h 433243"/>
                          <a:gd name="connsiteX57" fmla="*/ 597235 w 660809"/>
                          <a:gd name="connsiteY57" fmla="*/ 390242 h 433243"/>
                          <a:gd name="connsiteX58" fmla="*/ 597773 w 660809"/>
                          <a:gd name="connsiteY58" fmla="*/ 390601 h 433243"/>
                          <a:gd name="connsiteX59" fmla="*/ 604651 w 660809"/>
                          <a:gd name="connsiteY59" fmla="*/ 395086 h 433243"/>
                          <a:gd name="connsiteX60" fmla="*/ 605847 w 660809"/>
                          <a:gd name="connsiteY60" fmla="*/ 395864 h 433243"/>
                          <a:gd name="connsiteX61" fmla="*/ 609735 w 660809"/>
                          <a:gd name="connsiteY61" fmla="*/ 398436 h 433243"/>
                          <a:gd name="connsiteX62" fmla="*/ 610931 w 660809"/>
                          <a:gd name="connsiteY62" fmla="*/ 399213 h 433243"/>
                          <a:gd name="connsiteX63" fmla="*/ 626959 w 660809"/>
                          <a:gd name="connsiteY63" fmla="*/ 409679 h 433243"/>
                          <a:gd name="connsiteX64" fmla="*/ 627497 w 660809"/>
                          <a:gd name="connsiteY64" fmla="*/ 410038 h 433243"/>
                          <a:gd name="connsiteX65" fmla="*/ 628215 w 660809"/>
                          <a:gd name="connsiteY65" fmla="*/ 410517 h 433243"/>
                          <a:gd name="connsiteX66" fmla="*/ 628753 w 660809"/>
                          <a:gd name="connsiteY66" fmla="*/ 410876 h 433243"/>
                          <a:gd name="connsiteX67" fmla="*/ 631205 w 660809"/>
                          <a:gd name="connsiteY67" fmla="*/ 412491 h 433243"/>
                          <a:gd name="connsiteX68" fmla="*/ 631684 w 660809"/>
                          <a:gd name="connsiteY68" fmla="*/ 412849 h 433243"/>
                          <a:gd name="connsiteX69" fmla="*/ 632342 w 660809"/>
                          <a:gd name="connsiteY69" fmla="*/ 413268 h 433243"/>
                          <a:gd name="connsiteX70" fmla="*/ 632880 w 660809"/>
                          <a:gd name="connsiteY70" fmla="*/ 413627 h 433243"/>
                          <a:gd name="connsiteX71" fmla="*/ 634973 w 660809"/>
                          <a:gd name="connsiteY71" fmla="*/ 415002 h 433243"/>
                          <a:gd name="connsiteX72" fmla="*/ 635512 w 660809"/>
                          <a:gd name="connsiteY72" fmla="*/ 415361 h 433243"/>
                          <a:gd name="connsiteX73" fmla="*/ 636169 w 660809"/>
                          <a:gd name="connsiteY73" fmla="*/ 415780 h 433243"/>
                          <a:gd name="connsiteX74" fmla="*/ 636707 w 660809"/>
                          <a:gd name="connsiteY74" fmla="*/ 416139 h 433243"/>
                          <a:gd name="connsiteX75" fmla="*/ 659733 w 660809"/>
                          <a:gd name="connsiteY75" fmla="*/ 431210 h 433243"/>
                          <a:gd name="connsiteX76" fmla="*/ 658896 w 660809"/>
                          <a:gd name="connsiteY76" fmla="*/ 432287 h 433243"/>
                          <a:gd name="connsiteX77" fmla="*/ 635811 w 660809"/>
                          <a:gd name="connsiteY77" fmla="*/ 417215 h 433243"/>
                          <a:gd name="connsiteX78" fmla="*/ 635272 w 660809"/>
                          <a:gd name="connsiteY78" fmla="*/ 416856 h 433243"/>
                          <a:gd name="connsiteX79" fmla="*/ 634614 w 660809"/>
                          <a:gd name="connsiteY79" fmla="*/ 416438 h 433243"/>
                          <a:gd name="connsiteX80" fmla="*/ 634076 w 660809"/>
                          <a:gd name="connsiteY80" fmla="*/ 416079 h 433243"/>
                          <a:gd name="connsiteX81" fmla="*/ 631983 w 660809"/>
                          <a:gd name="connsiteY81" fmla="*/ 414703 h 433243"/>
                          <a:gd name="connsiteX82" fmla="*/ 631445 w 660809"/>
                          <a:gd name="connsiteY82" fmla="*/ 414345 h 433243"/>
                          <a:gd name="connsiteX83" fmla="*/ 630787 w 660809"/>
                          <a:gd name="connsiteY83" fmla="*/ 413926 h 433243"/>
                          <a:gd name="connsiteX84" fmla="*/ 630249 w 660809"/>
                          <a:gd name="connsiteY84" fmla="*/ 413567 h 433243"/>
                          <a:gd name="connsiteX85" fmla="*/ 627736 w 660809"/>
                          <a:gd name="connsiteY85" fmla="*/ 411952 h 433243"/>
                          <a:gd name="connsiteX86" fmla="*/ 627198 w 660809"/>
                          <a:gd name="connsiteY86" fmla="*/ 411593 h 433243"/>
                          <a:gd name="connsiteX87" fmla="*/ 626481 w 660809"/>
                          <a:gd name="connsiteY87" fmla="*/ 411115 h 433243"/>
                          <a:gd name="connsiteX88" fmla="*/ 625942 w 660809"/>
                          <a:gd name="connsiteY88" fmla="*/ 410756 h 433243"/>
                          <a:gd name="connsiteX89" fmla="*/ 607881 w 660809"/>
                          <a:gd name="connsiteY89" fmla="*/ 398974 h 433243"/>
                          <a:gd name="connsiteX90" fmla="*/ 605907 w 660809"/>
                          <a:gd name="connsiteY90" fmla="*/ 397718 h 433243"/>
                          <a:gd name="connsiteX91" fmla="*/ 596816 w 660809"/>
                          <a:gd name="connsiteY91" fmla="*/ 391797 h 433243"/>
                          <a:gd name="connsiteX92" fmla="*/ 596278 w 660809"/>
                          <a:gd name="connsiteY92" fmla="*/ 391438 h 433243"/>
                          <a:gd name="connsiteX93" fmla="*/ 587546 w 660809"/>
                          <a:gd name="connsiteY93" fmla="*/ 385757 h 433243"/>
                          <a:gd name="connsiteX94" fmla="*/ 587008 w 660809"/>
                          <a:gd name="connsiteY94" fmla="*/ 385398 h 433243"/>
                          <a:gd name="connsiteX95" fmla="*/ 577379 w 660809"/>
                          <a:gd name="connsiteY95" fmla="*/ 379118 h 433243"/>
                          <a:gd name="connsiteX96" fmla="*/ 575346 w 660809"/>
                          <a:gd name="connsiteY96" fmla="*/ 377802 h 433243"/>
                          <a:gd name="connsiteX97" fmla="*/ 353580 w 660809"/>
                          <a:gd name="connsiteY97" fmla="*/ 232949 h 433243"/>
                          <a:gd name="connsiteX98" fmla="*/ 352863 w 660809"/>
                          <a:gd name="connsiteY98" fmla="*/ 232471 h 433243"/>
                          <a:gd name="connsiteX99" fmla="*/ 351906 w 660809"/>
                          <a:gd name="connsiteY99" fmla="*/ 231873 h 433243"/>
                          <a:gd name="connsiteX100" fmla="*/ 351188 w 660809"/>
                          <a:gd name="connsiteY100" fmla="*/ 231394 h 433243"/>
                          <a:gd name="connsiteX101" fmla="*/ 348197 w 660809"/>
                          <a:gd name="connsiteY101" fmla="*/ 229480 h 433243"/>
                          <a:gd name="connsiteX102" fmla="*/ 347480 w 660809"/>
                          <a:gd name="connsiteY102" fmla="*/ 229002 h 433243"/>
                          <a:gd name="connsiteX103" fmla="*/ 346523 w 660809"/>
                          <a:gd name="connsiteY103" fmla="*/ 228404 h 433243"/>
                          <a:gd name="connsiteX104" fmla="*/ 345805 w 660809"/>
                          <a:gd name="connsiteY104" fmla="*/ 227926 h 433243"/>
                          <a:gd name="connsiteX105" fmla="*/ 342337 w 660809"/>
                          <a:gd name="connsiteY105" fmla="*/ 225653 h 433243"/>
                          <a:gd name="connsiteX106" fmla="*/ 341559 w 660809"/>
                          <a:gd name="connsiteY106" fmla="*/ 225174 h 433243"/>
                          <a:gd name="connsiteX107" fmla="*/ 340602 w 660809"/>
                          <a:gd name="connsiteY107" fmla="*/ 224517 h 433243"/>
                          <a:gd name="connsiteX108" fmla="*/ 339825 w 660809"/>
                          <a:gd name="connsiteY108" fmla="*/ 224038 h 433243"/>
                          <a:gd name="connsiteX109" fmla="*/ 313450 w 660809"/>
                          <a:gd name="connsiteY109" fmla="*/ 206813 h 433243"/>
                          <a:gd name="connsiteX110" fmla="*/ 310639 w 660809"/>
                          <a:gd name="connsiteY110" fmla="*/ 204959 h 433243"/>
                          <a:gd name="connsiteX111" fmla="*/ 297481 w 660809"/>
                          <a:gd name="connsiteY111" fmla="*/ 196347 h 433243"/>
                          <a:gd name="connsiteX112" fmla="*/ 296704 w 660809"/>
                          <a:gd name="connsiteY112" fmla="*/ 195809 h 433243"/>
                          <a:gd name="connsiteX113" fmla="*/ 284024 w 660809"/>
                          <a:gd name="connsiteY113" fmla="*/ 187556 h 433243"/>
                          <a:gd name="connsiteX114" fmla="*/ 283247 w 660809"/>
                          <a:gd name="connsiteY114" fmla="*/ 187017 h 433243"/>
                          <a:gd name="connsiteX115" fmla="*/ 269192 w 660809"/>
                          <a:gd name="connsiteY115" fmla="*/ 177867 h 433243"/>
                          <a:gd name="connsiteX116" fmla="*/ 266202 w 660809"/>
                          <a:gd name="connsiteY116" fmla="*/ 175953 h 433243"/>
                          <a:gd name="connsiteX117" fmla="*/ 139710 w 660809"/>
                          <a:gd name="connsiteY117" fmla="*/ 93359 h 433243"/>
                          <a:gd name="connsiteX118" fmla="*/ 138812 w 660809"/>
                          <a:gd name="connsiteY118" fmla="*/ 92761 h 433243"/>
                          <a:gd name="connsiteX119" fmla="*/ 137616 w 660809"/>
                          <a:gd name="connsiteY119" fmla="*/ 91984 h 433243"/>
                          <a:gd name="connsiteX120" fmla="*/ 136659 w 660809"/>
                          <a:gd name="connsiteY120" fmla="*/ 91386 h 433243"/>
                          <a:gd name="connsiteX121" fmla="*/ 133190 w 660809"/>
                          <a:gd name="connsiteY121" fmla="*/ 89113 h 433243"/>
                          <a:gd name="connsiteX122" fmla="*/ 132234 w 660809"/>
                          <a:gd name="connsiteY122" fmla="*/ 88515 h 433243"/>
                          <a:gd name="connsiteX123" fmla="*/ 131037 w 660809"/>
                          <a:gd name="connsiteY123" fmla="*/ 87737 h 433243"/>
                          <a:gd name="connsiteX124" fmla="*/ 130081 w 660809"/>
                          <a:gd name="connsiteY124" fmla="*/ 87139 h 433243"/>
                          <a:gd name="connsiteX125" fmla="*/ 126074 w 660809"/>
                          <a:gd name="connsiteY125" fmla="*/ 84508 h 433243"/>
                          <a:gd name="connsiteX126" fmla="*/ 125117 w 660809"/>
                          <a:gd name="connsiteY126" fmla="*/ 83910 h 433243"/>
                          <a:gd name="connsiteX127" fmla="*/ 123861 w 660809"/>
                          <a:gd name="connsiteY127" fmla="*/ 83072 h 433243"/>
                          <a:gd name="connsiteX128" fmla="*/ 122904 w 660809"/>
                          <a:gd name="connsiteY128" fmla="*/ 82474 h 433243"/>
                          <a:gd name="connsiteX129" fmla="*/ 87199 w 660809"/>
                          <a:gd name="connsiteY129" fmla="*/ 59149 h 433243"/>
                          <a:gd name="connsiteX130" fmla="*/ 83610 w 660809"/>
                          <a:gd name="connsiteY130" fmla="*/ 56817 h 433243"/>
                          <a:gd name="connsiteX131" fmla="*/ 66805 w 660809"/>
                          <a:gd name="connsiteY131" fmla="*/ 45872 h 433243"/>
                          <a:gd name="connsiteX132" fmla="*/ 65788 w 660809"/>
                          <a:gd name="connsiteY132" fmla="*/ 45214 h 433243"/>
                          <a:gd name="connsiteX133" fmla="*/ 49580 w 660809"/>
                          <a:gd name="connsiteY133" fmla="*/ 34629 h 433243"/>
                          <a:gd name="connsiteX134" fmla="*/ 48563 w 660809"/>
                          <a:gd name="connsiteY134" fmla="*/ 33970 h 433243"/>
                          <a:gd name="connsiteX135" fmla="*/ 30621 w 660809"/>
                          <a:gd name="connsiteY135" fmla="*/ 22248 h 433243"/>
                          <a:gd name="connsiteX136" fmla="*/ 26853 w 660809"/>
                          <a:gd name="connsiteY136" fmla="*/ 19497 h 433243"/>
                          <a:gd name="connsiteX137" fmla="*/ 0 w 660809"/>
                          <a:gd name="connsiteY137" fmla="*/ 3529 h 433243"/>
                          <a:gd name="connsiteX138" fmla="*/ 1017 w 660809"/>
                          <a:gd name="connsiteY138" fmla="*/ 4187 h 433243"/>
                          <a:gd name="connsiteX139" fmla="*/ 47846 w 660809"/>
                          <a:gd name="connsiteY139" fmla="*/ 34748 h 433243"/>
                          <a:gd name="connsiteX140" fmla="*/ 48862 w 660809"/>
                          <a:gd name="connsiteY140" fmla="*/ 35406 h 433243"/>
                          <a:gd name="connsiteX141" fmla="*/ 65070 w 660809"/>
                          <a:gd name="connsiteY141" fmla="*/ 45992 h 433243"/>
                          <a:gd name="connsiteX142" fmla="*/ 66087 w 660809"/>
                          <a:gd name="connsiteY142" fmla="*/ 46650 h 433243"/>
                          <a:gd name="connsiteX143" fmla="*/ 122066 w 660809"/>
                          <a:gd name="connsiteY143" fmla="*/ 83192 h 433243"/>
                          <a:gd name="connsiteX144" fmla="*/ 123024 w 660809"/>
                          <a:gd name="connsiteY144" fmla="*/ 83790 h 433243"/>
                          <a:gd name="connsiteX145" fmla="*/ 124279 w 660809"/>
                          <a:gd name="connsiteY145" fmla="*/ 84627 h 433243"/>
                          <a:gd name="connsiteX146" fmla="*/ 125236 w 660809"/>
                          <a:gd name="connsiteY146" fmla="*/ 85225 h 433243"/>
                          <a:gd name="connsiteX147" fmla="*/ 129303 w 660809"/>
                          <a:gd name="connsiteY147" fmla="*/ 87857 h 433243"/>
                          <a:gd name="connsiteX148" fmla="*/ 130260 w 660809"/>
                          <a:gd name="connsiteY148" fmla="*/ 88455 h 433243"/>
                          <a:gd name="connsiteX149" fmla="*/ 131456 w 660809"/>
                          <a:gd name="connsiteY149" fmla="*/ 89233 h 433243"/>
                          <a:gd name="connsiteX150" fmla="*/ 132413 w 660809"/>
                          <a:gd name="connsiteY150" fmla="*/ 89831 h 433243"/>
                          <a:gd name="connsiteX151" fmla="*/ 135882 w 660809"/>
                          <a:gd name="connsiteY151" fmla="*/ 92103 h 433243"/>
                          <a:gd name="connsiteX152" fmla="*/ 136839 w 660809"/>
                          <a:gd name="connsiteY152" fmla="*/ 92701 h 433243"/>
                          <a:gd name="connsiteX153" fmla="*/ 138035 w 660809"/>
                          <a:gd name="connsiteY153" fmla="*/ 93479 h 433243"/>
                          <a:gd name="connsiteX154" fmla="*/ 138932 w 660809"/>
                          <a:gd name="connsiteY154" fmla="*/ 94077 h 433243"/>
                          <a:gd name="connsiteX155" fmla="*/ 282529 w 660809"/>
                          <a:gd name="connsiteY155" fmla="*/ 187735 h 433243"/>
                          <a:gd name="connsiteX156" fmla="*/ 283307 w 660809"/>
                          <a:gd name="connsiteY156" fmla="*/ 188273 h 433243"/>
                          <a:gd name="connsiteX157" fmla="*/ 295986 w 660809"/>
                          <a:gd name="connsiteY157" fmla="*/ 196527 h 433243"/>
                          <a:gd name="connsiteX158" fmla="*/ 296763 w 660809"/>
                          <a:gd name="connsiteY158" fmla="*/ 197065 h 433243"/>
                          <a:gd name="connsiteX159" fmla="*/ 339047 w 660809"/>
                          <a:gd name="connsiteY159" fmla="*/ 224636 h 433243"/>
                          <a:gd name="connsiteX160" fmla="*/ 339825 w 660809"/>
                          <a:gd name="connsiteY160" fmla="*/ 225114 h 433243"/>
                          <a:gd name="connsiteX161" fmla="*/ 340781 w 660809"/>
                          <a:gd name="connsiteY161" fmla="*/ 225772 h 433243"/>
                          <a:gd name="connsiteX162" fmla="*/ 341499 w 660809"/>
                          <a:gd name="connsiteY162" fmla="*/ 226251 h 433243"/>
                          <a:gd name="connsiteX163" fmla="*/ 345028 w 660809"/>
                          <a:gd name="connsiteY163" fmla="*/ 228523 h 433243"/>
                          <a:gd name="connsiteX164" fmla="*/ 345746 w 660809"/>
                          <a:gd name="connsiteY164" fmla="*/ 229002 h 433243"/>
                          <a:gd name="connsiteX165" fmla="*/ 346702 w 660809"/>
                          <a:gd name="connsiteY165" fmla="*/ 229600 h 433243"/>
                          <a:gd name="connsiteX166" fmla="*/ 347420 w 660809"/>
                          <a:gd name="connsiteY166" fmla="*/ 230079 h 433243"/>
                          <a:gd name="connsiteX167" fmla="*/ 350410 w 660809"/>
                          <a:gd name="connsiteY167" fmla="*/ 232052 h 433243"/>
                          <a:gd name="connsiteX168" fmla="*/ 351128 w 660809"/>
                          <a:gd name="connsiteY168" fmla="*/ 232530 h 433243"/>
                          <a:gd name="connsiteX169" fmla="*/ 352085 w 660809"/>
                          <a:gd name="connsiteY169" fmla="*/ 233129 h 433243"/>
                          <a:gd name="connsiteX170" fmla="*/ 352803 w 660809"/>
                          <a:gd name="connsiteY170" fmla="*/ 233607 h 433243"/>
                          <a:gd name="connsiteX171" fmla="*/ 586350 w 660809"/>
                          <a:gd name="connsiteY171" fmla="*/ 385996 h 433243"/>
                          <a:gd name="connsiteX172" fmla="*/ 586888 w 660809"/>
                          <a:gd name="connsiteY172" fmla="*/ 386355 h 433243"/>
                          <a:gd name="connsiteX173" fmla="*/ 595620 w 660809"/>
                          <a:gd name="connsiteY173" fmla="*/ 392037 h 433243"/>
                          <a:gd name="connsiteX174" fmla="*/ 596158 w 660809"/>
                          <a:gd name="connsiteY174" fmla="*/ 392395 h 433243"/>
                          <a:gd name="connsiteX175" fmla="*/ 625225 w 660809"/>
                          <a:gd name="connsiteY175" fmla="*/ 411354 h 433243"/>
                          <a:gd name="connsiteX176" fmla="*/ 625763 w 660809"/>
                          <a:gd name="connsiteY176" fmla="*/ 411713 h 433243"/>
                          <a:gd name="connsiteX177" fmla="*/ 626481 w 660809"/>
                          <a:gd name="connsiteY177" fmla="*/ 412192 h 433243"/>
                          <a:gd name="connsiteX178" fmla="*/ 627019 w 660809"/>
                          <a:gd name="connsiteY178" fmla="*/ 412550 h 433243"/>
                          <a:gd name="connsiteX179" fmla="*/ 629590 w 660809"/>
                          <a:gd name="connsiteY179" fmla="*/ 414225 h 433243"/>
                          <a:gd name="connsiteX180" fmla="*/ 630129 w 660809"/>
                          <a:gd name="connsiteY180" fmla="*/ 414584 h 433243"/>
                          <a:gd name="connsiteX181" fmla="*/ 630787 w 660809"/>
                          <a:gd name="connsiteY181" fmla="*/ 415002 h 433243"/>
                          <a:gd name="connsiteX182" fmla="*/ 631325 w 660809"/>
                          <a:gd name="connsiteY182" fmla="*/ 415361 h 433243"/>
                          <a:gd name="connsiteX183" fmla="*/ 633478 w 660809"/>
                          <a:gd name="connsiteY183" fmla="*/ 416737 h 433243"/>
                          <a:gd name="connsiteX184" fmla="*/ 634016 w 660809"/>
                          <a:gd name="connsiteY184" fmla="*/ 417095 h 433243"/>
                          <a:gd name="connsiteX185" fmla="*/ 634674 w 660809"/>
                          <a:gd name="connsiteY185" fmla="*/ 417514 h 433243"/>
                          <a:gd name="connsiteX186" fmla="*/ 635212 w 660809"/>
                          <a:gd name="connsiteY186" fmla="*/ 417873 h 433243"/>
                          <a:gd name="connsiteX187" fmla="*/ 658358 w 660809"/>
                          <a:gd name="connsiteY187" fmla="*/ 432945 h 433243"/>
                          <a:gd name="connsiteX188" fmla="*/ 658836 w 660809"/>
                          <a:gd name="connsiteY188" fmla="*/ 433243 h 433243"/>
                          <a:gd name="connsiteX189" fmla="*/ 660810 w 660809"/>
                          <a:gd name="connsiteY189" fmla="*/ 430732 h 433243"/>
                          <a:gd name="connsiteX190" fmla="*/ 660331 w 660809"/>
                          <a:gd name="connsiteY190" fmla="*/ 430433 h 433243"/>
                          <a:gd name="connsiteX191" fmla="*/ 637366 w 660809"/>
                          <a:gd name="connsiteY191" fmla="*/ 415361 h 433243"/>
                          <a:gd name="connsiteX192" fmla="*/ 636827 w 660809"/>
                          <a:gd name="connsiteY192" fmla="*/ 415002 h 433243"/>
                          <a:gd name="connsiteX193" fmla="*/ 636169 w 660809"/>
                          <a:gd name="connsiteY193" fmla="*/ 414584 h 433243"/>
                          <a:gd name="connsiteX194" fmla="*/ 635631 w 660809"/>
                          <a:gd name="connsiteY194" fmla="*/ 414225 h 433243"/>
                          <a:gd name="connsiteX195" fmla="*/ 633538 w 660809"/>
                          <a:gd name="connsiteY195" fmla="*/ 412849 h 433243"/>
                          <a:gd name="connsiteX196" fmla="*/ 632999 w 660809"/>
                          <a:gd name="connsiteY196" fmla="*/ 412491 h 433243"/>
                          <a:gd name="connsiteX197" fmla="*/ 632342 w 660809"/>
                          <a:gd name="connsiteY197" fmla="*/ 412072 h 433243"/>
                          <a:gd name="connsiteX198" fmla="*/ 631863 w 660809"/>
                          <a:gd name="connsiteY198" fmla="*/ 411773 h 433243"/>
                          <a:gd name="connsiteX199" fmla="*/ 629471 w 660809"/>
                          <a:gd name="connsiteY199" fmla="*/ 410218 h 433243"/>
                          <a:gd name="connsiteX200" fmla="*/ 628933 w 660809"/>
                          <a:gd name="connsiteY200" fmla="*/ 409859 h 433243"/>
                          <a:gd name="connsiteX201" fmla="*/ 628215 w 660809"/>
                          <a:gd name="connsiteY201" fmla="*/ 409380 h 433243"/>
                          <a:gd name="connsiteX202" fmla="*/ 627677 w 660809"/>
                          <a:gd name="connsiteY202" fmla="*/ 409022 h 433243"/>
                          <a:gd name="connsiteX203" fmla="*/ 612306 w 660809"/>
                          <a:gd name="connsiteY203" fmla="*/ 398974 h 433243"/>
                          <a:gd name="connsiteX204" fmla="*/ 611409 w 660809"/>
                          <a:gd name="connsiteY204" fmla="*/ 398376 h 433243"/>
                          <a:gd name="connsiteX205" fmla="*/ 605369 w 660809"/>
                          <a:gd name="connsiteY205" fmla="*/ 394429 h 433243"/>
                          <a:gd name="connsiteX206" fmla="*/ 604472 w 660809"/>
                          <a:gd name="connsiteY206" fmla="*/ 393831 h 433243"/>
                          <a:gd name="connsiteX207" fmla="*/ 598311 w 660809"/>
                          <a:gd name="connsiteY207" fmla="*/ 389823 h 433243"/>
                          <a:gd name="connsiteX208" fmla="*/ 597773 w 660809"/>
                          <a:gd name="connsiteY208" fmla="*/ 389465 h 433243"/>
                          <a:gd name="connsiteX209" fmla="*/ 589041 w 660809"/>
                          <a:gd name="connsiteY209" fmla="*/ 383783 h 433243"/>
                          <a:gd name="connsiteX210" fmla="*/ 588503 w 660809"/>
                          <a:gd name="connsiteY210" fmla="*/ 383424 h 433243"/>
                          <a:gd name="connsiteX211" fmla="*/ 581924 w 660809"/>
                          <a:gd name="connsiteY211" fmla="*/ 379118 h 433243"/>
                          <a:gd name="connsiteX212" fmla="*/ 581027 w 660809"/>
                          <a:gd name="connsiteY212" fmla="*/ 378520 h 433243"/>
                          <a:gd name="connsiteX213" fmla="*/ 574747 w 660809"/>
                          <a:gd name="connsiteY213" fmla="*/ 374393 h 433243"/>
                          <a:gd name="connsiteX214" fmla="*/ 573791 w 660809"/>
                          <a:gd name="connsiteY214" fmla="*/ 373795 h 433243"/>
                          <a:gd name="connsiteX215" fmla="*/ 355315 w 660809"/>
                          <a:gd name="connsiteY215" fmla="*/ 230676 h 433243"/>
                          <a:gd name="connsiteX216" fmla="*/ 354597 w 660809"/>
                          <a:gd name="connsiteY216" fmla="*/ 230198 h 433243"/>
                          <a:gd name="connsiteX217" fmla="*/ 353640 w 660809"/>
                          <a:gd name="connsiteY217" fmla="*/ 229600 h 433243"/>
                          <a:gd name="connsiteX218" fmla="*/ 352922 w 660809"/>
                          <a:gd name="connsiteY218" fmla="*/ 229121 h 433243"/>
                          <a:gd name="connsiteX219" fmla="*/ 349992 w 660809"/>
                          <a:gd name="connsiteY219" fmla="*/ 227208 h 433243"/>
                          <a:gd name="connsiteX220" fmla="*/ 349274 w 660809"/>
                          <a:gd name="connsiteY220" fmla="*/ 226729 h 433243"/>
                          <a:gd name="connsiteX221" fmla="*/ 348317 w 660809"/>
                          <a:gd name="connsiteY221" fmla="*/ 226072 h 433243"/>
                          <a:gd name="connsiteX222" fmla="*/ 347600 w 660809"/>
                          <a:gd name="connsiteY222" fmla="*/ 225593 h 433243"/>
                          <a:gd name="connsiteX223" fmla="*/ 344250 w 660809"/>
                          <a:gd name="connsiteY223" fmla="*/ 223380 h 433243"/>
                          <a:gd name="connsiteX224" fmla="*/ 343473 w 660809"/>
                          <a:gd name="connsiteY224" fmla="*/ 222902 h 433243"/>
                          <a:gd name="connsiteX225" fmla="*/ 342516 w 660809"/>
                          <a:gd name="connsiteY225" fmla="*/ 222244 h 433243"/>
                          <a:gd name="connsiteX226" fmla="*/ 341739 w 660809"/>
                          <a:gd name="connsiteY226" fmla="*/ 221765 h 433243"/>
                          <a:gd name="connsiteX227" fmla="*/ 319430 w 660809"/>
                          <a:gd name="connsiteY227" fmla="*/ 207172 h 433243"/>
                          <a:gd name="connsiteX228" fmla="*/ 318175 w 660809"/>
                          <a:gd name="connsiteY228" fmla="*/ 206335 h 433243"/>
                          <a:gd name="connsiteX229" fmla="*/ 309443 w 660809"/>
                          <a:gd name="connsiteY229" fmla="*/ 200653 h 433243"/>
                          <a:gd name="connsiteX230" fmla="*/ 308127 w 660809"/>
                          <a:gd name="connsiteY230" fmla="*/ 199816 h 433243"/>
                          <a:gd name="connsiteX231" fmla="*/ 299215 w 660809"/>
                          <a:gd name="connsiteY231" fmla="*/ 194015 h 433243"/>
                          <a:gd name="connsiteX232" fmla="*/ 298438 w 660809"/>
                          <a:gd name="connsiteY232" fmla="*/ 193477 h 433243"/>
                          <a:gd name="connsiteX233" fmla="*/ 285759 w 660809"/>
                          <a:gd name="connsiteY233" fmla="*/ 185163 h 433243"/>
                          <a:gd name="connsiteX234" fmla="*/ 284981 w 660809"/>
                          <a:gd name="connsiteY234" fmla="*/ 184625 h 433243"/>
                          <a:gd name="connsiteX235" fmla="*/ 275412 w 660809"/>
                          <a:gd name="connsiteY235" fmla="*/ 178345 h 433243"/>
                          <a:gd name="connsiteX236" fmla="*/ 274037 w 660809"/>
                          <a:gd name="connsiteY236" fmla="*/ 177448 h 433243"/>
                          <a:gd name="connsiteX237" fmla="*/ 264886 w 660809"/>
                          <a:gd name="connsiteY237" fmla="*/ 171468 h 433243"/>
                          <a:gd name="connsiteX238" fmla="*/ 263511 w 660809"/>
                          <a:gd name="connsiteY238" fmla="*/ 170570 h 433243"/>
                          <a:gd name="connsiteX239" fmla="*/ 141743 w 660809"/>
                          <a:gd name="connsiteY239" fmla="*/ 90787 h 433243"/>
                          <a:gd name="connsiteX240" fmla="*/ 140846 w 660809"/>
                          <a:gd name="connsiteY240" fmla="*/ 90189 h 433243"/>
                          <a:gd name="connsiteX241" fmla="*/ 139650 w 660809"/>
                          <a:gd name="connsiteY241" fmla="*/ 89412 h 433243"/>
                          <a:gd name="connsiteX242" fmla="*/ 138753 w 660809"/>
                          <a:gd name="connsiteY242" fmla="*/ 88814 h 433243"/>
                          <a:gd name="connsiteX243" fmla="*/ 135344 w 660809"/>
                          <a:gd name="connsiteY243" fmla="*/ 86601 h 433243"/>
                          <a:gd name="connsiteX244" fmla="*/ 134387 w 660809"/>
                          <a:gd name="connsiteY244" fmla="*/ 86003 h 433243"/>
                          <a:gd name="connsiteX245" fmla="*/ 133190 w 660809"/>
                          <a:gd name="connsiteY245" fmla="*/ 85225 h 433243"/>
                          <a:gd name="connsiteX246" fmla="*/ 132234 w 660809"/>
                          <a:gd name="connsiteY246" fmla="*/ 84627 h 433243"/>
                          <a:gd name="connsiteX247" fmla="*/ 128406 w 660809"/>
                          <a:gd name="connsiteY247" fmla="*/ 82116 h 433243"/>
                          <a:gd name="connsiteX248" fmla="*/ 127509 w 660809"/>
                          <a:gd name="connsiteY248" fmla="*/ 81517 h 433243"/>
                          <a:gd name="connsiteX249" fmla="*/ 126253 w 660809"/>
                          <a:gd name="connsiteY249" fmla="*/ 80680 h 433243"/>
                          <a:gd name="connsiteX250" fmla="*/ 125296 w 660809"/>
                          <a:gd name="connsiteY250" fmla="*/ 80082 h 433243"/>
                          <a:gd name="connsiteX251" fmla="*/ 94675 w 660809"/>
                          <a:gd name="connsiteY251" fmla="*/ 60047 h 433243"/>
                          <a:gd name="connsiteX252" fmla="*/ 93000 w 660809"/>
                          <a:gd name="connsiteY252" fmla="*/ 58970 h 433243"/>
                          <a:gd name="connsiteX253" fmla="*/ 81936 w 660809"/>
                          <a:gd name="connsiteY253" fmla="*/ 51674 h 433243"/>
                          <a:gd name="connsiteX254" fmla="*/ 80261 w 660809"/>
                          <a:gd name="connsiteY254" fmla="*/ 50597 h 433243"/>
                          <a:gd name="connsiteX255" fmla="*/ 68898 w 660809"/>
                          <a:gd name="connsiteY255" fmla="*/ 43181 h 433243"/>
                          <a:gd name="connsiteX256" fmla="*/ 67881 w 660809"/>
                          <a:gd name="connsiteY256" fmla="*/ 42523 h 433243"/>
                          <a:gd name="connsiteX257" fmla="*/ 51674 w 660809"/>
                          <a:gd name="connsiteY257" fmla="*/ 31937 h 433243"/>
                          <a:gd name="connsiteX258" fmla="*/ 50657 w 660809"/>
                          <a:gd name="connsiteY258" fmla="*/ 31279 h 433243"/>
                          <a:gd name="connsiteX259" fmla="*/ 38396 w 660809"/>
                          <a:gd name="connsiteY259" fmla="*/ 23265 h 433243"/>
                          <a:gd name="connsiteX260" fmla="*/ 36662 w 660809"/>
                          <a:gd name="connsiteY260" fmla="*/ 22129 h 433243"/>
                          <a:gd name="connsiteX261" fmla="*/ 24940 w 660809"/>
                          <a:gd name="connsiteY261" fmla="*/ 14414 h 433243"/>
                          <a:gd name="connsiteX262" fmla="*/ 23205 w 660809"/>
                          <a:gd name="connsiteY262" fmla="*/ 13277 h 433243"/>
                          <a:gd name="connsiteX263" fmla="*/ 3947 w 660809"/>
                          <a:gd name="connsiteY263" fmla="*/ 658 h 433243"/>
                          <a:gd name="connsiteX264" fmla="*/ 2930 w 660809"/>
                          <a:gd name="connsiteY264" fmla="*/ 0 h 433243"/>
                          <a:gd name="connsiteX265" fmla="*/ 0 w 660809"/>
                          <a:gd name="connsiteY265" fmla="*/ 3529 h 433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660809" h="433243">
                            <a:moveTo>
                              <a:pt x="26853" y="19497"/>
                            </a:moveTo>
                            <a:lnTo>
                              <a:pt x="1854" y="3170"/>
                            </a:lnTo>
                            <a:lnTo>
                              <a:pt x="3110" y="1555"/>
                            </a:lnTo>
                            <a:lnTo>
                              <a:pt x="23803" y="15131"/>
                            </a:lnTo>
                            <a:lnTo>
                              <a:pt x="26196" y="16686"/>
                            </a:lnTo>
                            <a:lnTo>
                              <a:pt x="33851" y="21650"/>
                            </a:lnTo>
                            <a:lnTo>
                              <a:pt x="36183" y="23205"/>
                            </a:lnTo>
                            <a:lnTo>
                              <a:pt x="49879" y="32176"/>
                            </a:lnTo>
                            <a:lnTo>
                              <a:pt x="50896" y="32834"/>
                            </a:lnTo>
                            <a:lnTo>
                              <a:pt x="67104" y="43420"/>
                            </a:lnTo>
                            <a:lnTo>
                              <a:pt x="68121" y="44078"/>
                            </a:lnTo>
                            <a:lnTo>
                              <a:pt x="80859" y="52391"/>
                            </a:lnTo>
                            <a:lnTo>
                              <a:pt x="83072" y="53886"/>
                            </a:lnTo>
                            <a:lnTo>
                              <a:pt x="90309" y="58611"/>
                            </a:lnTo>
                            <a:lnTo>
                              <a:pt x="92522" y="60047"/>
                            </a:lnTo>
                            <a:lnTo>
                              <a:pt x="124339" y="80859"/>
                            </a:lnTo>
                            <a:lnTo>
                              <a:pt x="125296" y="81457"/>
                            </a:lnTo>
                            <a:lnTo>
                              <a:pt x="126552" y="82295"/>
                            </a:lnTo>
                            <a:lnTo>
                              <a:pt x="127509" y="82893"/>
                            </a:lnTo>
                            <a:lnTo>
                              <a:pt x="131396" y="85465"/>
                            </a:lnTo>
                            <a:lnTo>
                              <a:pt x="132353" y="86063"/>
                            </a:lnTo>
                            <a:lnTo>
                              <a:pt x="133550" y="86840"/>
                            </a:lnTo>
                            <a:lnTo>
                              <a:pt x="134506" y="87438"/>
                            </a:lnTo>
                            <a:lnTo>
                              <a:pt x="137915" y="89651"/>
                            </a:lnTo>
                            <a:lnTo>
                              <a:pt x="138872" y="90249"/>
                            </a:lnTo>
                            <a:lnTo>
                              <a:pt x="140068" y="91027"/>
                            </a:lnTo>
                            <a:lnTo>
                              <a:pt x="140966" y="91625"/>
                            </a:lnTo>
                            <a:lnTo>
                              <a:pt x="263989" y="172125"/>
                            </a:lnTo>
                            <a:lnTo>
                              <a:pt x="265843" y="173322"/>
                            </a:lnTo>
                            <a:lnTo>
                              <a:pt x="271764" y="177209"/>
                            </a:lnTo>
                            <a:lnTo>
                              <a:pt x="273618" y="178405"/>
                            </a:lnTo>
                            <a:lnTo>
                              <a:pt x="284323" y="185402"/>
                            </a:lnTo>
                            <a:lnTo>
                              <a:pt x="285101" y="185941"/>
                            </a:lnTo>
                            <a:lnTo>
                              <a:pt x="297780" y="194254"/>
                            </a:lnTo>
                            <a:lnTo>
                              <a:pt x="298558" y="194792"/>
                            </a:lnTo>
                            <a:lnTo>
                              <a:pt x="308545" y="201311"/>
                            </a:lnTo>
                            <a:lnTo>
                              <a:pt x="310280" y="202448"/>
                            </a:lnTo>
                            <a:lnTo>
                              <a:pt x="315962" y="206156"/>
                            </a:lnTo>
                            <a:lnTo>
                              <a:pt x="317696" y="207292"/>
                            </a:lnTo>
                            <a:lnTo>
                              <a:pt x="341021" y="222543"/>
                            </a:lnTo>
                            <a:lnTo>
                              <a:pt x="341798" y="223021"/>
                            </a:lnTo>
                            <a:lnTo>
                              <a:pt x="342755" y="223679"/>
                            </a:lnTo>
                            <a:lnTo>
                              <a:pt x="343533" y="224158"/>
                            </a:lnTo>
                            <a:lnTo>
                              <a:pt x="346942" y="226371"/>
                            </a:lnTo>
                            <a:lnTo>
                              <a:pt x="347659" y="226849"/>
                            </a:lnTo>
                            <a:lnTo>
                              <a:pt x="348616" y="227507"/>
                            </a:lnTo>
                            <a:lnTo>
                              <a:pt x="349334" y="227985"/>
                            </a:lnTo>
                            <a:lnTo>
                              <a:pt x="352264" y="229899"/>
                            </a:lnTo>
                            <a:lnTo>
                              <a:pt x="352982" y="230378"/>
                            </a:lnTo>
                            <a:lnTo>
                              <a:pt x="353939" y="230975"/>
                            </a:lnTo>
                            <a:lnTo>
                              <a:pt x="354657" y="231454"/>
                            </a:lnTo>
                            <a:lnTo>
                              <a:pt x="574030" y="374991"/>
                            </a:lnTo>
                            <a:lnTo>
                              <a:pt x="575286" y="375829"/>
                            </a:lnTo>
                            <a:lnTo>
                              <a:pt x="579353" y="378520"/>
                            </a:lnTo>
                            <a:lnTo>
                              <a:pt x="580609" y="379357"/>
                            </a:lnTo>
                            <a:lnTo>
                              <a:pt x="587965" y="384201"/>
                            </a:lnTo>
                            <a:lnTo>
                              <a:pt x="588503" y="384561"/>
                            </a:lnTo>
                            <a:lnTo>
                              <a:pt x="597235" y="390242"/>
                            </a:lnTo>
                            <a:lnTo>
                              <a:pt x="597773" y="390601"/>
                            </a:lnTo>
                            <a:lnTo>
                              <a:pt x="604651" y="395086"/>
                            </a:lnTo>
                            <a:lnTo>
                              <a:pt x="605847" y="395864"/>
                            </a:lnTo>
                            <a:lnTo>
                              <a:pt x="609735" y="398436"/>
                            </a:lnTo>
                            <a:lnTo>
                              <a:pt x="610931" y="399213"/>
                            </a:lnTo>
                            <a:lnTo>
                              <a:pt x="626959" y="409679"/>
                            </a:lnTo>
                            <a:lnTo>
                              <a:pt x="627497" y="410038"/>
                            </a:lnTo>
                            <a:lnTo>
                              <a:pt x="628215" y="410517"/>
                            </a:lnTo>
                            <a:lnTo>
                              <a:pt x="628753" y="410876"/>
                            </a:lnTo>
                            <a:lnTo>
                              <a:pt x="631205" y="412491"/>
                            </a:lnTo>
                            <a:lnTo>
                              <a:pt x="631684" y="412849"/>
                            </a:lnTo>
                            <a:lnTo>
                              <a:pt x="632342" y="413268"/>
                            </a:lnTo>
                            <a:lnTo>
                              <a:pt x="632880" y="413627"/>
                            </a:lnTo>
                            <a:lnTo>
                              <a:pt x="634973" y="415002"/>
                            </a:lnTo>
                            <a:lnTo>
                              <a:pt x="635512" y="415361"/>
                            </a:lnTo>
                            <a:lnTo>
                              <a:pt x="636169" y="415780"/>
                            </a:lnTo>
                            <a:lnTo>
                              <a:pt x="636707" y="416139"/>
                            </a:lnTo>
                            <a:lnTo>
                              <a:pt x="659733" y="431210"/>
                            </a:lnTo>
                            <a:lnTo>
                              <a:pt x="658896" y="432287"/>
                            </a:lnTo>
                            <a:lnTo>
                              <a:pt x="635811" y="417215"/>
                            </a:lnTo>
                            <a:lnTo>
                              <a:pt x="635272" y="416856"/>
                            </a:lnTo>
                            <a:lnTo>
                              <a:pt x="634614" y="416438"/>
                            </a:lnTo>
                            <a:lnTo>
                              <a:pt x="634076" y="416079"/>
                            </a:lnTo>
                            <a:lnTo>
                              <a:pt x="631983" y="414703"/>
                            </a:lnTo>
                            <a:lnTo>
                              <a:pt x="631445" y="414345"/>
                            </a:lnTo>
                            <a:lnTo>
                              <a:pt x="630787" y="413926"/>
                            </a:lnTo>
                            <a:lnTo>
                              <a:pt x="630249" y="413567"/>
                            </a:lnTo>
                            <a:lnTo>
                              <a:pt x="627736" y="411952"/>
                            </a:lnTo>
                            <a:lnTo>
                              <a:pt x="627198" y="411593"/>
                            </a:lnTo>
                            <a:lnTo>
                              <a:pt x="626481" y="411115"/>
                            </a:lnTo>
                            <a:lnTo>
                              <a:pt x="625942" y="410756"/>
                            </a:lnTo>
                            <a:lnTo>
                              <a:pt x="607881" y="398974"/>
                            </a:lnTo>
                            <a:lnTo>
                              <a:pt x="605907" y="397718"/>
                            </a:lnTo>
                            <a:lnTo>
                              <a:pt x="596816" y="391797"/>
                            </a:lnTo>
                            <a:lnTo>
                              <a:pt x="596278" y="391438"/>
                            </a:lnTo>
                            <a:lnTo>
                              <a:pt x="587546" y="385757"/>
                            </a:lnTo>
                            <a:lnTo>
                              <a:pt x="587008" y="385398"/>
                            </a:lnTo>
                            <a:lnTo>
                              <a:pt x="577379" y="379118"/>
                            </a:lnTo>
                            <a:lnTo>
                              <a:pt x="575346" y="377802"/>
                            </a:lnTo>
                            <a:lnTo>
                              <a:pt x="353580" y="232949"/>
                            </a:lnTo>
                            <a:lnTo>
                              <a:pt x="352863" y="232471"/>
                            </a:lnTo>
                            <a:lnTo>
                              <a:pt x="351906" y="231873"/>
                            </a:lnTo>
                            <a:lnTo>
                              <a:pt x="351188" y="231394"/>
                            </a:lnTo>
                            <a:lnTo>
                              <a:pt x="348197" y="229480"/>
                            </a:lnTo>
                            <a:lnTo>
                              <a:pt x="347480" y="229002"/>
                            </a:lnTo>
                            <a:lnTo>
                              <a:pt x="346523" y="228404"/>
                            </a:lnTo>
                            <a:lnTo>
                              <a:pt x="345805" y="227926"/>
                            </a:lnTo>
                            <a:lnTo>
                              <a:pt x="342337" y="225653"/>
                            </a:lnTo>
                            <a:lnTo>
                              <a:pt x="341559" y="225174"/>
                            </a:lnTo>
                            <a:lnTo>
                              <a:pt x="340602" y="224517"/>
                            </a:lnTo>
                            <a:lnTo>
                              <a:pt x="339825" y="224038"/>
                            </a:lnTo>
                            <a:lnTo>
                              <a:pt x="313450" y="206813"/>
                            </a:lnTo>
                            <a:lnTo>
                              <a:pt x="310639" y="204959"/>
                            </a:lnTo>
                            <a:lnTo>
                              <a:pt x="297481" y="196347"/>
                            </a:lnTo>
                            <a:lnTo>
                              <a:pt x="296704" y="195809"/>
                            </a:lnTo>
                            <a:lnTo>
                              <a:pt x="284024" y="187556"/>
                            </a:lnTo>
                            <a:lnTo>
                              <a:pt x="283247" y="187017"/>
                            </a:lnTo>
                            <a:lnTo>
                              <a:pt x="269192" y="177867"/>
                            </a:lnTo>
                            <a:lnTo>
                              <a:pt x="266202" y="175953"/>
                            </a:lnTo>
                            <a:lnTo>
                              <a:pt x="139710" y="93359"/>
                            </a:lnTo>
                            <a:lnTo>
                              <a:pt x="138812" y="92761"/>
                            </a:lnTo>
                            <a:lnTo>
                              <a:pt x="137616" y="91984"/>
                            </a:lnTo>
                            <a:lnTo>
                              <a:pt x="136659" y="91386"/>
                            </a:lnTo>
                            <a:lnTo>
                              <a:pt x="133190" y="89113"/>
                            </a:lnTo>
                            <a:lnTo>
                              <a:pt x="132234" y="88515"/>
                            </a:lnTo>
                            <a:lnTo>
                              <a:pt x="131037" y="87737"/>
                            </a:lnTo>
                            <a:lnTo>
                              <a:pt x="130081" y="87139"/>
                            </a:lnTo>
                            <a:lnTo>
                              <a:pt x="126074" y="84508"/>
                            </a:lnTo>
                            <a:lnTo>
                              <a:pt x="125117" y="83910"/>
                            </a:lnTo>
                            <a:lnTo>
                              <a:pt x="123861" y="83072"/>
                            </a:lnTo>
                            <a:lnTo>
                              <a:pt x="122904" y="82474"/>
                            </a:lnTo>
                            <a:lnTo>
                              <a:pt x="87199" y="59149"/>
                            </a:lnTo>
                            <a:lnTo>
                              <a:pt x="83610" y="56817"/>
                            </a:lnTo>
                            <a:lnTo>
                              <a:pt x="66805" y="45872"/>
                            </a:lnTo>
                            <a:lnTo>
                              <a:pt x="65788" y="45214"/>
                            </a:lnTo>
                            <a:lnTo>
                              <a:pt x="49580" y="34629"/>
                            </a:lnTo>
                            <a:lnTo>
                              <a:pt x="48563" y="33970"/>
                            </a:lnTo>
                            <a:lnTo>
                              <a:pt x="30621" y="22248"/>
                            </a:lnTo>
                            <a:lnTo>
                              <a:pt x="26853" y="19497"/>
                            </a:lnTo>
                            <a:moveTo>
                              <a:pt x="0" y="3529"/>
                            </a:moveTo>
                            <a:lnTo>
                              <a:pt x="1017" y="4187"/>
                            </a:lnTo>
                            <a:lnTo>
                              <a:pt x="47846" y="34748"/>
                            </a:lnTo>
                            <a:lnTo>
                              <a:pt x="48862" y="35406"/>
                            </a:lnTo>
                            <a:lnTo>
                              <a:pt x="65070" y="45992"/>
                            </a:lnTo>
                            <a:lnTo>
                              <a:pt x="66087" y="46650"/>
                            </a:lnTo>
                            <a:lnTo>
                              <a:pt x="122066" y="83192"/>
                            </a:lnTo>
                            <a:lnTo>
                              <a:pt x="123024" y="83790"/>
                            </a:lnTo>
                            <a:lnTo>
                              <a:pt x="124279" y="84627"/>
                            </a:lnTo>
                            <a:lnTo>
                              <a:pt x="125236" y="85225"/>
                            </a:lnTo>
                            <a:lnTo>
                              <a:pt x="129303" y="87857"/>
                            </a:lnTo>
                            <a:lnTo>
                              <a:pt x="130260" y="88455"/>
                            </a:lnTo>
                            <a:lnTo>
                              <a:pt x="131456" y="89233"/>
                            </a:lnTo>
                            <a:lnTo>
                              <a:pt x="132413" y="89831"/>
                            </a:lnTo>
                            <a:lnTo>
                              <a:pt x="135882" y="92103"/>
                            </a:lnTo>
                            <a:lnTo>
                              <a:pt x="136839" y="92701"/>
                            </a:lnTo>
                            <a:lnTo>
                              <a:pt x="138035" y="93479"/>
                            </a:lnTo>
                            <a:lnTo>
                              <a:pt x="138932" y="94077"/>
                            </a:lnTo>
                            <a:lnTo>
                              <a:pt x="282529" y="187735"/>
                            </a:lnTo>
                            <a:lnTo>
                              <a:pt x="283307" y="188273"/>
                            </a:lnTo>
                            <a:lnTo>
                              <a:pt x="295986" y="196527"/>
                            </a:lnTo>
                            <a:lnTo>
                              <a:pt x="296763" y="197065"/>
                            </a:lnTo>
                            <a:lnTo>
                              <a:pt x="339047" y="224636"/>
                            </a:lnTo>
                            <a:lnTo>
                              <a:pt x="339825" y="225114"/>
                            </a:lnTo>
                            <a:lnTo>
                              <a:pt x="340781" y="225772"/>
                            </a:lnTo>
                            <a:lnTo>
                              <a:pt x="341499" y="226251"/>
                            </a:lnTo>
                            <a:lnTo>
                              <a:pt x="345028" y="228523"/>
                            </a:lnTo>
                            <a:lnTo>
                              <a:pt x="345746" y="229002"/>
                            </a:lnTo>
                            <a:lnTo>
                              <a:pt x="346702" y="229600"/>
                            </a:lnTo>
                            <a:lnTo>
                              <a:pt x="347420" y="230079"/>
                            </a:lnTo>
                            <a:lnTo>
                              <a:pt x="350410" y="232052"/>
                            </a:lnTo>
                            <a:lnTo>
                              <a:pt x="351128" y="232530"/>
                            </a:lnTo>
                            <a:lnTo>
                              <a:pt x="352085" y="233129"/>
                            </a:lnTo>
                            <a:lnTo>
                              <a:pt x="352803" y="233607"/>
                            </a:lnTo>
                            <a:lnTo>
                              <a:pt x="586350" y="385996"/>
                            </a:lnTo>
                            <a:lnTo>
                              <a:pt x="586888" y="386355"/>
                            </a:lnTo>
                            <a:lnTo>
                              <a:pt x="595620" y="392037"/>
                            </a:lnTo>
                            <a:lnTo>
                              <a:pt x="596158" y="392395"/>
                            </a:lnTo>
                            <a:lnTo>
                              <a:pt x="625225" y="411354"/>
                            </a:lnTo>
                            <a:lnTo>
                              <a:pt x="625763" y="411713"/>
                            </a:lnTo>
                            <a:lnTo>
                              <a:pt x="626481" y="412192"/>
                            </a:lnTo>
                            <a:lnTo>
                              <a:pt x="627019" y="412550"/>
                            </a:lnTo>
                            <a:lnTo>
                              <a:pt x="629590" y="414225"/>
                            </a:lnTo>
                            <a:lnTo>
                              <a:pt x="630129" y="414584"/>
                            </a:lnTo>
                            <a:lnTo>
                              <a:pt x="630787" y="415002"/>
                            </a:lnTo>
                            <a:lnTo>
                              <a:pt x="631325" y="415361"/>
                            </a:lnTo>
                            <a:lnTo>
                              <a:pt x="633478" y="416737"/>
                            </a:lnTo>
                            <a:lnTo>
                              <a:pt x="634016" y="417095"/>
                            </a:lnTo>
                            <a:lnTo>
                              <a:pt x="634674" y="417514"/>
                            </a:lnTo>
                            <a:lnTo>
                              <a:pt x="635212" y="417873"/>
                            </a:lnTo>
                            <a:lnTo>
                              <a:pt x="658358" y="432945"/>
                            </a:lnTo>
                            <a:lnTo>
                              <a:pt x="658836" y="433243"/>
                            </a:lnTo>
                            <a:lnTo>
                              <a:pt x="660810" y="430732"/>
                            </a:lnTo>
                            <a:lnTo>
                              <a:pt x="660331" y="430433"/>
                            </a:lnTo>
                            <a:lnTo>
                              <a:pt x="637366" y="415361"/>
                            </a:lnTo>
                            <a:lnTo>
                              <a:pt x="636827" y="415002"/>
                            </a:lnTo>
                            <a:lnTo>
                              <a:pt x="636169" y="414584"/>
                            </a:lnTo>
                            <a:lnTo>
                              <a:pt x="635631" y="414225"/>
                            </a:lnTo>
                            <a:lnTo>
                              <a:pt x="633538" y="412849"/>
                            </a:lnTo>
                            <a:lnTo>
                              <a:pt x="632999" y="412491"/>
                            </a:lnTo>
                            <a:lnTo>
                              <a:pt x="632342" y="412072"/>
                            </a:lnTo>
                            <a:lnTo>
                              <a:pt x="631863" y="411773"/>
                            </a:lnTo>
                            <a:lnTo>
                              <a:pt x="629471" y="410218"/>
                            </a:lnTo>
                            <a:lnTo>
                              <a:pt x="628933" y="409859"/>
                            </a:lnTo>
                            <a:lnTo>
                              <a:pt x="628215" y="409380"/>
                            </a:lnTo>
                            <a:lnTo>
                              <a:pt x="627677" y="409022"/>
                            </a:lnTo>
                            <a:lnTo>
                              <a:pt x="612306" y="398974"/>
                            </a:lnTo>
                            <a:lnTo>
                              <a:pt x="611409" y="398376"/>
                            </a:lnTo>
                            <a:lnTo>
                              <a:pt x="605369" y="394429"/>
                            </a:lnTo>
                            <a:lnTo>
                              <a:pt x="604472" y="393831"/>
                            </a:lnTo>
                            <a:lnTo>
                              <a:pt x="598311" y="389823"/>
                            </a:lnTo>
                            <a:lnTo>
                              <a:pt x="597773" y="389465"/>
                            </a:lnTo>
                            <a:lnTo>
                              <a:pt x="589041" y="383783"/>
                            </a:lnTo>
                            <a:lnTo>
                              <a:pt x="588503" y="383424"/>
                            </a:lnTo>
                            <a:lnTo>
                              <a:pt x="581924" y="379118"/>
                            </a:lnTo>
                            <a:lnTo>
                              <a:pt x="581027" y="378520"/>
                            </a:lnTo>
                            <a:lnTo>
                              <a:pt x="574747" y="374393"/>
                            </a:lnTo>
                            <a:lnTo>
                              <a:pt x="573791" y="373795"/>
                            </a:lnTo>
                            <a:lnTo>
                              <a:pt x="355315" y="230676"/>
                            </a:lnTo>
                            <a:lnTo>
                              <a:pt x="354597" y="230198"/>
                            </a:lnTo>
                            <a:lnTo>
                              <a:pt x="353640" y="229600"/>
                            </a:lnTo>
                            <a:lnTo>
                              <a:pt x="352922" y="229121"/>
                            </a:lnTo>
                            <a:lnTo>
                              <a:pt x="349992" y="227208"/>
                            </a:lnTo>
                            <a:lnTo>
                              <a:pt x="349274" y="226729"/>
                            </a:lnTo>
                            <a:lnTo>
                              <a:pt x="348317" y="226072"/>
                            </a:lnTo>
                            <a:lnTo>
                              <a:pt x="347600" y="225593"/>
                            </a:lnTo>
                            <a:lnTo>
                              <a:pt x="344250" y="223380"/>
                            </a:lnTo>
                            <a:lnTo>
                              <a:pt x="343473" y="222902"/>
                            </a:lnTo>
                            <a:lnTo>
                              <a:pt x="342516" y="222244"/>
                            </a:lnTo>
                            <a:lnTo>
                              <a:pt x="341739" y="221765"/>
                            </a:lnTo>
                            <a:lnTo>
                              <a:pt x="319430" y="207172"/>
                            </a:lnTo>
                            <a:lnTo>
                              <a:pt x="318175" y="206335"/>
                            </a:lnTo>
                            <a:lnTo>
                              <a:pt x="309443" y="200653"/>
                            </a:lnTo>
                            <a:lnTo>
                              <a:pt x="308127" y="199816"/>
                            </a:lnTo>
                            <a:lnTo>
                              <a:pt x="299215" y="194015"/>
                            </a:lnTo>
                            <a:lnTo>
                              <a:pt x="298438" y="193477"/>
                            </a:lnTo>
                            <a:lnTo>
                              <a:pt x="285759" y="185163"/>
                            </a:lnTo>
                            <a:lnTo>
                              <a:pt x="284981" y="184625"/>
                            </a:lnTo>
                            <a:lnTo>
                              <a:pt x="275412" y="178345"/>
                            </a:lnTo>
                            <a:lnTo>
                              <a:pt x="274037" y="177448"/>
                            </a:lnTo>
                            <a:lnTo>
                              <a:pt x="264886" y="171468"/>
                            </a:lnTo>
                            <a:lnTo>
                              <a:pt x="263511" y="170570"/>
                            </a:lnTo>
                            <a:lnTo>
                              <a:pt x="141743" y="90787"/>
                            </a:lnTo>
                            <a:lnTo>
                              <a:pt x="140846" y="90189"/>
                            </a:lnTo>
                            <a:lnTo>
                              <a:pt x="139650" y="89412"/>
                            </a:lnTo>
                            <a:lnTo>
                              <a:pt x="138753" y="88814"/>
                            </a:lnTo>
                            <a:lnTo>
                              <a:pt x="135344" y="86601"/>
                            </a:lnTo>
                            <a:lnTo>
                              <a:pt x="134387" y="86003"/>
                            </a:lnTo>
                            <a:lnTo>
                              <a:pt x="133190" y="85225"/>
                            </a:lnTo>
                            <a:lnTo>
                              <a:pt x="132234" y="84627"/>
                            </a:lnTo>
                            <a:lnTo>
                              <a:pt x="128406" y="82116"/>
                            </a:lnTo>
                            <a:lnTo>
                              <a:pt x="127509" y="81517"/>
                            </a:lnTo>
                            <a:lnTo>
                              <a:pt x="126253" y="80680"/>
                            </a:lnTo>
                            <a:lnTo>
                              <a:pt x="125296" y="80082"/>
                            </a:lnTo>
                            <a:lnTo>
                              <a:pt x="94675" y="60047"/>
                            </a:lnTo>
                            <a:lnTo>
                              <a:pt x="93000" y="58970"/>
                            </a:lnTo>
                            <a:lnTo>
                              <a:pt x="81936" y="51674"/>
                            </a:lnTo>
                            <a:lnTo>
                              <a:pt x="80261" y="50597"/>
                            </a:lnTo>
                            <a:lnTo>
                              <a:pt x="68898" y="43181"/>
                            </a:lnTo>
                            <a:lnTo>
                              <a:pt x="67881" y="42523"/>
                            </a:lnTo>
                            <a:lnTo>
                              <a:pt x="51674" y="31937"/>
                            </a:lnTo>
                            <a:lnTo>
                              <a:pt x="50657" y="31279"/>
                            </a:lnTo>
                            <a:lnTo>
                              <a:pt x="38396" y="23265"/>
                            </a:lnTo>
                            <a:lnTo>
                              <a:pt x="36662" y="22129"/>
                            </a:lnTo>
                            <a:lnTo>
                              <a:pt x="24940" y="14414"/>
                            </a:lnTo>
                            <a:lnTo>
                              <a:pt x="23205" y="13277"/>
                            </a:lnTo>
                            <a:lnTo>
                              <a:pt x="3947" y="658"/>
                            </a:lnTo>
                            <a:lnTo>
                              <a:pt x="2930" y="0"/>
                            </a:lnTo>
                            <a:lnTo>
                              <a:pt x="0" y="3529"/>
                            </a:lnTo>
                          </a:path>
                        </a:pathLst>
                      </a:custGeom>
                      <a:noFill/>
                      <a:ln w="6350" cap="flat">
                        <a:solidFill>
                          <a:schemeClr val="bg1">
                            <a:alpha val="40000"/>
                          </a:schemeClr>
                        </a:solidFill>
                        <a:prstDash val="solid"/>
                        <a:miter/>
                      </a:ln>
                    </p:spPr>
                    <p:txBody>
                      <a:bodyPr rtlCol="0" anchor="ctr"/>
                      <a:lstStyle/>
                      <a:p>
                        <a:endParaRPr lang="en-GB"/>
                      </a:p>
                    </p:txBody>
                  </p:sp>
                  <p:sp>
                    <p:nvSpPr>
                      <p:cNvPr id="7572" name="Vrije vorm: vorm 7571">
                        <a:extLst>
                          <a:ext uri="{FF2B5EF4-FFF2-40B4-BE49-F238E27FC236}">
                            <a16:creationId xmlns:a16="http://schemas.microsoft.com/office/drawing/2014/main" id="{AD644415-E826-4CEB-9DEE-7E1B7C5913CA}"/>
                          </a:ext>
                        </a:extLst>
                      </p:cNvPr>
                      <p:cNvSpPr/>
                      <p:nvPr/>
                    </p:nvSpPr>
                    <p:spPr>
                      <a:xfrm>
                        <a:off x="5375971" y="5251053"/>
                        <a:ext cx="21530" cy="24341"/>
                      </a:xfrm>
                      <a:custGeom>
                        <a:avLst/>
                        <a:gdLst>
                          <a:gd name="connsiteX0" fmla="*/ 13636 w 21530"/>
                          <a:gd name="connsiteY0" fmla="*/ 718 h 24341"/>
                          <a:gd name="connsiteX1" fmla="*/ 14114 w 21530"/>
                          <a:gd name="connsiteY1" fmla="*/ 120 h 24341"/>
                          <a:gd name="connsiteX2" fmla="*/ 13995 w 21530"/>
                          <a:gd name="connsiteY2" fmla="*/ 0 h 24341"/>
                          <a:gd name="connsiteX3" fmla="*/ 13516 w 21530"/>
                          <a:gd name="connsiteY3" fmla="*/ 598 h 24341"/>
                          <a:gd name="connsiteX4" fmla="*/ 13636 w 21530"/>
                          <a:gd name="connsiteY4" fmla="*/ 718 h 24341"/>
                          <a:gd name="connsiteX5" fmla="*/ 15371 w 21530"/>
                          <a:gd name="connsiteY5" fmla="*/ 2333 h 24341"/>
                          <a:gd name="connsiteX6" fmla="*/ 15849 w 21530"/>
                          <a:gd name="connsiteY6" fmla="*/ 1735 h 24341"/>
                          <a:gd name="connsiteX7" fmla="*/ 14593 w 21530"/>
                          <a:gd name="connsiteY7" fmla="*/ 658 h 24341"/>
                          <a:gd name="connsiteX8" fmla="*/ 14114 w 21530"/>
                          <a:gd name="connsiteY8" fmla="*/ 1256 h 24341"/>
                          <a:gd name="connsiteX9" fmla="*/ 15371 w 21530"/>
                          <a:gd name="connsiteY9" fmla="*/ 2333 h 24341"/>
                          <a:gd name="connsiteX10" fmla="*/ 21052 w 21530"/>
                          <a:gd name="connsiteY10" fmla="*/ 7416 h 24341"/>
                          <a:gd name="connsiteX11" fmla="*/ 21531 w 21530"/>
                          <a:gd name="connsiteY11" fmla="*/ 6878 h 24341"/>
                          <a:gd name="connsiteX12" fmla="*/ 18301 w 21530"/>
                          <a:gd name="connsiteY12" fmla="*/ 4007 h 24341"/>
                          <a:gd name="connsiteX13" fmla="*/ 17822 w 21530"/>
                          <a:gd name="connsiteY13" fmla="*/ 4605 h 24341"/>
                          <a:gd name="connsiteX14" fmla="*/ 21052 w 21530"/>
                          <a:gd name="connsiteY14" fmla="*/ 7416 h 24341"/>
                          <a:gd name="connsiteX15" fmla="*/ 15789 w 21530"/>
                          <a:gd name="connsiteY15" fmla="*/ 12799 h 24341"/>
                          <a:gd name="connsiteX16" fmla="*/ 16327 w 21530"/>
                          <a:gd name="connsiteY16" fmla="*/ 13277 h 24341"/>
                          <a:gd name="connsiteX17" fmla="*/ 20394 w 21530"/>
                          <a:gd name="connsiteY17" fmla="*/ 8194 h 24341"/>
                          <a:gd name="connsiteX18" fmla="*/ 19856 w 21530"/>
                          <a:gd name="connsiteY18" fmla="*/ 7715 h 24341"/>
                          <a:gd name="connsiteX19" fmla="*/ 15789 w 21530"/>
                          <a:gd name="connsiteY19" fmla="*/ 12799 h 24341"/>
                          <a:gd name="connsiteX20" fmla="*/ 8672 w 21530"/>
                          <a:gd name="connsiteY20" fmla="*/ 6639 h 24341"/>
                          <a:gd name="connsiteX21" fmla="*/ 9210 w 21530"/>
                          <a:gd name="connsiteY21" fmla="*/ 7117 h 24341"/>
                          <a:gd name="connsiteX22" fmla="*/ 13397 w 21530"/>
                          <a:gd name="connsiteY22" fmla="*/ 1914 h 24341"/>
                          <a:gd name="connsiteX23" fmla="*/ 12978 w 21530"/>
                          <a:gd name="connsiteY23" fmla="*/ 1555 h 24341"/>
                          <a:gd name="connsiteX24" fmla="*/ 12978 w 21530"/>
                          <a:gd name="connsiteY24" fmla="*/ 1555 h 24341"/>
                          <a:gd name="connsiteX25" fmla="*/ 12859 w 21530"/>
                          <a:gd name="connsiteY25" fmla="*/ 1436 h 24341"/>
                          <a:gd name="connsiteX26" fmla="*/ 8672 w 21530"/>
                          <a:gd name="connsiteY26" fmla="*/ 6639 h 24341"/>
                          <a:gd name="connsiteX27" fmla="*/ 13636 w 21530"/>
                          <a:gd name="connsiteY27" fmla="*/ 15550 h 24341"/>
                          <a:gd name="connsiteX28" fmla="*/ 14174 w 21530"/>
                          <a:gd name="connsiteY28" fmla="*/ 16029 h 24341"/>
                          <a:gd name="connsiteX29" fmla="*/ 15729 w 21530"/>
                          <a:gd name="connsiteY29" fmla="*/ 14115 h 24341"/>
                          <a:gd name="connsiteX30" fmla="*/ 15191 w 21530"/>
                          <a:gd name="connsiteY30" fmla="*/ 13636 h 24341"/>
                          <a:gd name="connsiteX31" fmla="*/ 13636 w 21530"/>
                          <a:gd name="connsiteY31" fmla="*/ 15550 h 24341"/>
                          <a:gd name="connsiteX32" fmla="*/ 6519 w 21530"/>
                          <a:gd name="connsiteY32" fmla="*/ 9390 h 24341"/>
                          <a:gd name="connsiteX33" fmla="*/ 7057 w 21530"/>
                          <a:gd name="connsiteY33" fmla="*/ 9868 h 24341"/>
                          <a:gd name="connsiteX34" fmla="*/ 8612 w 21530"/>
                          <a:gd name="connsiteY34" fmla="*/ 7895 h 24341"/>
                          <a:gd name="connsiteX35" fmla="*/ 8074 w 21530"/>
                          <a:gd name="connsiteY35" fmla="*/ 7416 h 24341"/>
                          <a:gd name="connsiteX36" fmla="*/ 6519 w 21530"/>
                          <a:gd name="connsiteY36" fmla="*/ 9390 h 24341"/>
                          <a:gd name="connsiteX37" fmla="*/ 8373 w 21530"/>
                          <a:gd name="connsiteY37" fmla="*/ 22069 h 24341"/>
                          <a:gd name="connsiteX38" fmla="*/ 8911 w 21530"/>
                          <a:gd name="connsiteY38" fmla="*/ 22547 h 24341"/>
                          <a:gd name="connsiteX39" fmla="*/ 13516 w 21530"/>
                          <a:gd name="connsiteY39" fmla="*/ 16806 h 24341"/>
                          <a:gd name="connsiteX40" fmla="*/ 12978 w 21530"/>
                          <a:gd name="connsiteY40" fmla="*/ 16328 h 24341"/>
                          <a:gd name="connsiteX41" fmla="*/ 8373 w 21530"/>
                          <a:gd name="connsiteY41" fmla="*/ 22069 h 24341"/>
                          <a:gd name="connsiteX42" fmla="*/ 1316 w 21530"/>
                          <a:gd name="connsiteY42" fmla="*/ 16029 h 24341"/>
                          <a:gd name="connsiteX43" fmla="*/ 1794 w 21530"/>
                          <a:gd name="connsiteY43" fmla="*/ 16447 h 24341"/>
                          <a:gd name="connsiteX44" fmla="*/ 6399 w 21530"/>
                          <a:gd name="connsiteY44" fmla="*/ 10646 h 24341"/>
                          <a:gd name="connsiteX45" fmla="*/ 5921 w 21530"/>
                          <a:gd name="connsiteY45" fmla="*/ 10227 h 24341"/>
                          <a:gd name="connsiteX46" fmla="*/ 1316 w 21530"/>
                          <a:gd name="connsiteY46" fmla="*/ 16029 h 24341"/>
                          <a:gd name="connsiteX47" fmla="*/ 2990 w 21530"/>
                          <a:gd name="connsiteY47" fmla="*/ 19019 h 24341"/>
                          <a:gd name="connsiteX48" fmla="*/ 3289 w 21530"/>
                          <a:gd name="connsiteY48" fmla="*/ 19258 h 24341"/>
                          <a:gd name="connsiteX49" fmla="*/ 2990 w 21530"/>
                          <a:gd name="connsiteY49" fmla="*/ 19019 h 24341"/>
                          <a:gd name="connsiteX50" fmla="*/ 2990 w 21530"/>
                          <a:gd name="connsiteY50" fmla="*/ 19019 h 24341"/>
                          <a:gd name="connsiteX51" fmla="*/ 1734 w 21530"/>
                          <a:gd name="connsiteY51" fmla="*/ 19198 h 24341"/>
                          <a:gd name="connsiteX52" fmla="*/ 2392 w 21530"/>
                          <a:gd name="connsiteY52" fmla="*/ 18421 h 24341"/>
                          <a:gd name="connsiteX53" fmla="*/ 1136 w 21530"/>
                          <a:gd name="connsiteY53" fmla="*/ 17344 h 24341"/>
                          <a:gd name="connsiteX54" fmla="*/ 1196 w 21530"/>
                          <a:gd name="connsiteY54" fmla="*/ 17284 h 24341"/>
                          <a:gd name="connsiteX55" fmla="*/ 718 w 21530"/>
                          <a:gd name="connsiteY55" fmla="*/ 16866 h 24341"/>
                          <a:gd name="connsiteX56" fmla="*/ 0 w 21530"/>
                          <a:gd name="connsiteY56" fmla="*/ 17763 h 24341"/>
                          <a:gd name="connsiteX57" fmla="*/ 1734 w 21530"/>
                          <a:gd name="connsiteY57" fmla="*/ 19198 h 24341"/>
                          <a:gd name="connsiteX58" fmla="*/ 4007 w 21530"/>
                          <a:gd name="connsiteY58" fmla="*/ 21232 h 24341"/>
                          <a:gd name="connsiteX59" fmla="*/ 4007 w 21530"/>
                          <a:gd name="connsiteY59" fmla="*/ 21232 h 24341"/>
                          <a:gd name="connsiteX60" fmla="*/ 2273 w 21530"/>
                          <a:gd name="connsiteY60" fmla="*/ 19677 h 24341"/>
                          <a:gd name="connsiteX61" fmla="*/ 2273 w 21530"/>
                          <a:gd name="connsiteY61" fmla="*/ 19677 h 24341"/>
                          <a:gd name="connsiteX62" fmla="*/ 4007 w 21530"/>
                          <a:gd name="connsiteY62" fmla="*/ 21232 h 24341"/>
                          <a:gd name="connsiteX63" fmla="*/ 7536 w 21530"/>
                          <a:gd name="connsiteY63" fmla="*/ 24342 h 24341"/>
                          <a:gd name="connsiteX64" fmla="*/ 8313 w 21530"/>
                          <a:gd name="connsiteY64" fmla="*/ 23385 h 24341"/>
                          <a:gd name="connsiteX65" fmla="*/ 7775 w 21530"/>
                          <a:gd name="connsiteY65" fmla="*/ 22906 h 24341"/>
                          <a:gd name="connsiteX66" fmla="*/ 7656 w 21530"/>
                          <a:gd name="connsiteY66" fmla="*/ 23086 h 24341"/>
                          <a:gd name="connsiteX67" fmla="*/ 5203 w 21530"/>
                          <a:gd name="connsiteY67" fmla="*/ 20933 h 24341"/>
                          <a:gd name="connsiteX68" fmla="*/ 4545 w 21530"/>
                          <a:gd name="connsiteY68" fmla="*/ 21710 h 24341"/>
                          <a:gd name="connsiteX69" fmla="*/ 7536 w 21530"/>
                          <a:gd name="connsiteY69" fmla="*/ 24342 h 2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1530" h="24341">
                            <a:moveTo>
                              <a:pt x="13636" y="718"/>
                            </a:moveTo>
                            <a:lnTo>
                              <a:pt x="14114" y="120"/>
                            </a:lnTo>
                            <a:lnTo>
                              <a:pt x="13995" y="0"/>
                            </a:lnTo>
                            <a:lnTo>
                              <a:pt x="13516" y="598"/>
                            </a:lnTo>
                            <a:lnTo>
                              <a:pt x="13636" y="718"/>
                            </a:lnTo>
                            <a:moveTo>
                              <a:pt x="15371" y="2333"/>
                            </a:moveTo>
                            <a:lnTo>
                              <a:pt x="15849" y="1735"/>
                            </a:lnTo>
                            <a:lnTo>
                              <a:pt x="14593" y="658"/>
                            </a:lnTo>
                            <a:lnTo>
                              <a:pt x="14114" y="1256"/>
                            </a:lnTo>
                            <a:lnTo>
                              <a:pt x="15371" y="2333"/>
                            </a:lnTo>
                            <a:moveTo>
                              <a:pt x="21052" y="7416"/>
                            </a:moveTo>
                            <a:lnTo>
                              <a:pt x="21531" y="6878"/>
                            </a:lnTo>
                            <a:lnTo>
                              <a:pt x="18301" y="4007"/>
                            </a:lnTo>
                            <a:lnTo>
                              <a:pt x="17822" y="4605"/>
                            </a:lnTo>
                            <a:lnTo>
                              <a:pt x="21052" y="7416"/>
                            </a:lnTo>
                            <a:moveTo>
                              <a:pt x="15789" y="12799"/>
                            </a:moveTo>
                            <a:lnTo>
                              <a:pt x="16327" y="13277"/>
                            </a:lnTo>
                            <a:lnTo>
                              <a:pt x="20394" y="8194"/>
                            </a:lnTo>
                            <a:lnTo>
                              <a:pt x="19856" y="7715"/>
                            </a:lnTo>
                            <a:lnTo>
                              <a:pt x="15789" y="12799"/>
                            </a:lnTo>
                            <a:moveTo>
                              <a:pt x="8672" y="6639"/>
                            </a:moveTo>
                            <a:lnTo>
                              <a:pt x="9210" y="7117"/>
                            </a:lnTo>
                            <a:lnTo>
                              <a:pt x="13397" y="1914"/>
                            </a:lnTo>
                            <a:lnTo>
                              <a:pt x="12978" y="1555"/>
                            </a:lnTo>
                            <a:lnTo>
                              <a:pt x="12978" y="1555"/>
                            </a:lnTo>
                            <a:lnTo>
                              <a:pt x="12859" y="1436"/>
                            </a:lnTo>
                            <a:lnTo>
                              <a:pt x="8672" y="6639"/>
                            </a:lnTo>
                            <a:moveTo>
                              <a:pt x="13636" y="15550"/>
                            </a:moveTo>
                            <a:lnTo>
                              <a:pt x="14174" y="16029"/>
                            </a:lnTo>
                            <a:lnTo>
                              <a:pt x="15729" y="14115"/>
                            </a:lnTo>
                            <a:lnTo>
                              <a:pt x="15191" y="13636"/>
                            </a:lnTo>
                            <a:lnTo>
                              <a:pt x="13636" y="15550"/>
                            </a:lnTo>
                            <a:moveTo>
                              <a:pt x="6519" y="9390"/>
                            </a:moveTo>
                            <a:lnTo>
                              <a:pt x="7057" y="9868"/>
                            </a:lnTo>
                            <a:lnTo>
                              <a:pt x="8612" y="7895"/>
                            </a:lnTo>
                            <a:lnTo>
                              <a:pt x="8074" y="7416"/>
                            </a:lnTo>
                            <a:lnTo>
                              <a:pt x="6519" y="9390"/>
                            </a:lnTo>
                            <a:moveTo>
                              <a:pt x="8373" y="22069"/>
                            </a:moveTo>
                            <a:lnTo>
                              <a:pt x="8911" y="22547"/>
                            </a:lnTo>
                            <a:lnTo>
                              <a:pt x="13516" y="16806"/>
                            </a:lnTo>
                            <a:lnTo>
                              <a:pt x="12978" y="16328"/>
                            </a:lnTo>
                            <a:lnTo>
                              <a:pt x="8373" y="22069"/>
                            </a:lnTo>
                            <a:moveTo>
                              <a:pt x="1316" y="16029"/>
                            </a:moveTo>
                            <a:lnTo>
                              <a:pt x="1794" y="16447"/>
                            </a:lnTo>
                            <a:lnTo>
                              <a:pt x="6399" y="10646"/>
                            </a:lnTo>
                            <a:lnTo>
                              <a:pt x="5921" y="10227"/>
                            </a:lnTo>
                            <a:lnTo>
                              <a:pt x="1316" y="16029"/>
                            </a:lnTo>
                            <a:moveTo>
                              <a:pt x="2990" y="19019"/>
                            </a:moveTo>
                            <a:lnTo>
                              <a:pt x="3289" y="19258"/>
                            </a:lnTo>
                            <a:lnTo>
                              <a:pt x="2990" y="19019"/>
                            </a:lnTo>
                            <a:lnTo>
                              <a:pt x="2990" y="19019"/>
                            </a:lnTo>
                            <a:moveTo>
                              <a:pt x="1734" y="19198"/>
                            </a:moveTo>
                            <a:lnTo>
                              <a:pt x="2392" y="18421"/>
                            </a:lnTo>
                            <a:lnTo>
                              <a:pt x="1136" y="17344"/>
                            </a:lnTo>
                            <a:lnTo>
                              <a:pt x="1196" y="17284"/>
                            </a:lnTo>
                            <a:lnTo>
                              <a:pt x="718" y="16866"/>
                            </a:lnTo>
                            <a:lnTo>
                              <a:pt x="0" y="17763"/>
                            </a:lnTo>
                            <a:lnTo>
                              <a:pt x="1734" y="19198"/>
                            </a:lnTo>
                            <a:moveTo>
                              <a:pt x="4007" y="21232"/>
                            </a:moveTo>
                            <a:lnTo>
                              <a:pt x="4007" y="21232"/>
                            </a:lnTo>
                            <a:lnTo>
                              <a:pt x="2273" y="19677"/>
                            </a:lnTo>
                            <a:lnTo>
                              <a:pt x="2273" y="19677"/>
                            </a:lnTo>
                            <a:lnTo>
                              <a:pt x="4007" y="21232"/>
                            </a:lnTo>
                            <a:moveTo>
                              <a:pt x="7536" y="24342"/>
                            </a:moveTo>
                            <a:lnTo>
                              <a:pt x="8313" y="23385"/>
                            </a:lnTo>
                            <a:lnTo>
                              <a:pt x="7775" y="22906"/>
                            </a:lnTo>
                            <a:lnTo>
                              <a:pt x="7656" y="23086"/>
                            </a:lnTo>
                            <a:lnTo>
                              <a:pt x="5203" y="20933"/>
                            </a:lnTo>
                            <a:lnTo>
                              <a:pt x="4545" y="21710"/>
                            </a:lnTo>
                            <a:lnTo>
                              <a:pt x="7536" y="24342"/>
                            </a:lnTo>
                          </a:path>
                        </a:pathLst>
                      </a:custGeom>
                      <a:noFill/>
                      <a:ln w="6350" cap="flat">
                        <a:solidFill>
                          <a:schemeClr val="bg1">
                            <a:alpha val="40000"/>
                          </a:schemeClr>
                        </a:solidFill>
                        <a:prstDash val="solid"/>
                        <a:miter/>
                      </a:ln>
                    </p:spPr>
                    <p:txBody>
                      <a:bodyPr rtlCol="0" anchor="ctr"/>
                      <a:lstStyle/>
                      <a:p>
                        <a:endParaRPr lang="en-GB"/>
                      </a:p>
                    </p:txBody>
                  </p:sp>
                  <p:sp>
                    <p:nvSpPr>
                      <p:cNvPr id="7573" name="Vrije vorm: vorm 7572">
                        <a:extLst>
                          <a:ext uri="{FF2B5EF4-FFF2-40B4-BE49-F238E27FC236}">
                            <a16:creationId xmlns:a16="http://schemas.microsoft.com/office/drawing/2014/main" id="{A92508DC-62E4-4DF6-8E72-6E4BEF759F68}"/>
                          </a:ext>
                        </a:extLst>
                      </p:cNvPr>
                      <p:cNvSpPr/>
                      <p:nvPr/>
                    </p:nvSpPr>
                    <p:spPr>
                      <a:xfrm>
                        <a:off x="5378184" y="5252788"/>
                        <a:ext cx="16088" cy="19437"/>
                      </a:xfrm>
                      <a:custGeom>
                        <a:avLst/>
                        <a:gdLst>
                          <a:gd name="connsiteX0" fmla="*/ 14174 w 16088"/>
                          <a:gd name="connsiteY0" fmla="*/ 1495 h 19437"/>
                          <a:gd name="connsiteX1" fmla="*/ 14653 w 16088"/>
                          <a:gd name="connsiteY1" fmla="*/ 897 h 19437"/>
                          <a:gd name="connsiteX2" fmla="*/ 13696 w 16088"/>
                          <a:gd name="connsiteY2" fmla="*/ 0 h 19437"/>
                          <a:gd name="connsiteX3" fmla="*/ 13696 w 16088"/>
                          <a:gd name="connsiteY3" fmla="*/ 0 h 19437"/>
                          <a:gd name="connsiteX4" fmla="*/ 13218 w 16088"/>
                          <a:gd name="connsiteY4" fmla="*/ 598 h 19437"/>
                          <a:gd name="connsiteX5" fmla="*/ 14174 w 16088"/>
                          <a:gd name="connsiteY5" fmla="*/ 1495 h 19437"/>
                          <a:gd name="connsiteX6" fmla="*/ 15610 w 16088"/>
                          <a:gd name="connsiteY6" fmla="*/ 2811 h 19437"/>
                          <a:gd name="connsiteX7" fmla="*/ 16088 w 16088"/>
                          <a:gd name="connsiteY7" fmla="*/ 2213 h 19437"/>
                          <a:gd name="connsiteX8" fmla="*/ 16088 w 16088"/>
                          <a:gd name="connsiteY8" fmla="*/ 2213 h 19437"/>
                          <a:gd name="connsiteX9" fmla="*/ 15191 w 16088"/>
                          <a:gd name="connsiteY9" fmla="*/ 1375 h 19437"/>
                          <a:gd name="connsiteX10" fmla="*/ 14713 w 16088"/>
                          <a:gd name="connsiteY10" fmla="*/ 1973 h 19437"/>
                          <a:gd name="connsiteX11" fmla="*/ 15610 w 16088"/>
                          <a:gd name="connsiteY11" fmla="*/ 2811 h 19437"/>
                          <a:gd name="connsiteX12" fmla="*/ 10347 w 16088"/>
                          <a:gd name="connsiteY12" fmla="*/ 8253 h 19437"/>
                          <a:gd name="connsiteX13" fmla="*/ 10885 w 16088"/>
                          <a:gd name="connsiteY13" fmla="*/ 8732 h 19437"/>
                          <a:gd name="connsiteX14" fmla="*/ 15012 w 16088"/>
                          <a:gd name="connsiteY14" fmla="*/ 3588 h 19437"/>
                          <a:gd name="connsiteX15" fmla="*/ 14473 w 16088"/>
                          <a:gd name="connsiteY15" fmla="*/ 3110 h 19437"/>
                          <a:gd name="connsiteX16" fmla="*/ 10347 w 16088"/>
                          <a:gd name="connsiteY16" fmla="*/ 8253 h 19437"/>
                          <a:gd name="connsiteX17" fmla="*/ 8433 w 16088"/>
                          <a:gd name="connsiteY17" fmla="*/ 6579 h 19437"/>
                          <a:gd name="connsiteX18" fmla="*/ 8971 w 16088"/>
                          <a:gd name="connsiteY18" fmla="*/ 7057 h 19437"/>
                          <a:gd name="connsiteX19" fmla="*/ 13098 w 16088"/>
                          <a:gd name="connsiteY19" fmla="*/ 1914 h 19437"/>
                          <a:gd name="connsiteX20" fmla="*/ 12560 w 16088"/>
                          <a:gd name="connsiteY20" fmla="*/ 1435 h 19437"/>
                          <a:gd name="connsiteX21" fmla="*/ 8433 w 16088"/>
                          <a:gd name="connsiteY21" fmla="*/ 6579 h 19437"/>
                          <a:gd name="connsiteX22" fmla="*/ 8134 w 16088"/>
                          <a:gd name="connsiteY22" fmla="*/ 11004 h 19437"/>
                          <a:gd name="connsiteX23" fmla="*/ 8672 w 16088"/>
                          <a:gd name="connsiteY23" fmla="*/ 11483 h 19437"/>
                          <a:gd name="connsiteX24" fmla="*/ 10227 w 16088"/>
                          <a:gd name="connsiteY24" fmla="*/ 9569 h 19437"/>
                          <a:gd name="connsiteX25" fmla="*/ 9689 w 16088"/>
                          <a:gd name="connsiteY25" fmla="*/ 9090 h 19437"/>
                          <a:gd name="connsiteX26" fmla="*/ 8134 w 16088"/>
                          <a:gd name="connsiteY26" fmla="*/ 11004 h 19437"/>
                          <a:gd name="connsiteX27" fmla="*/ 6220 w 16088"/>
                          <a:gd name="connsiteY27" fmla="*/ 9330 h 19437"/>
                          <a:gd name="connsiteX28" fmla="*/ 6758 w 16088"/>
                          <a:gd name="connsiteY28" fmla="*/ 9808 h 19437"/>
                          <a:gd name="connsiteX29" fmla="*/ 8313 w 16088"/>
                          <a:gd name="connsiteY29" fmla="*/ 7895 h 19437"/>
                          <a:gd name="connsiteX30" fmla="*/ 7775 w 16088"/>
                          <a:gd name="connsiteY30" fmla="*/ 7416 h 19437"/>
                          <a:gd name="connsiteX31" fmla="*/ 6220 w 16088"/>
                          <a:gd name="connsiteY31" fmla="*/ 9330 h 19437"/>
                          <a:gd name="connsiteX32" fmla="*/ 2930 w 16088"/>
                          <a:gd name="connsiteY32" fmla="*/ 17523 h 19437"/>
                          <a:gd name="connsiteX33" fmla="*/ 3170 w 16088"/>
                          <a:gd name="connsiteY33" fmla="*/ 17703 h 19437"/>
                          <a:gd name="connsiteX34" fmla="*/ 7775 w 16088"/>
                          <a:gd name="connsiteY34" fmla="*/ 11902 h 19437"/>
                          <a:gd name="connsiteX35" fmla="*/ 7536 w 16088"/>
                          <a:gd name="connsiteY35" fmla="*/ 11722 h 19437"/>
                          <a:gd name="connsiteX36" fmla="*/ 2930 w 16088"/>
                          <a:gd name="connsiteY36" fmla="*/ 17523 h 19437"/>
                          <a:gd name="connsiteX37" fmla="*/ 1435 w 16088"/>
                          <a:gd name="connsiteY37" fmla="*/ 16267 h 19437"/>
                          <a:gd name="connsiteX38" fmla="*/ 1555 w 16088"/>
                          <a:gd name="connsiteY38" fmla="*/ 16387 h 19437"/>
                          <a:gd name="connsiteX39" fmla="*/ 6160 w 16088"/>
                          <a:gd name="connsiteY39" fmla="*/ 10645 h 19437"/>
                          <a:gd name="connsiteX40" fmla="*/ 6041 w 16088"/>
                          <a:gd name="connsiteY40" fmla="*/ 10526 h 19437"/>
                          <a:gd name="connsiteX41" fmla="*/ 1435 w 16088"/>
                          <a:gd name="connsiteY41" fmla="*/ 16267 h 19437"/>
                          <a:gd name="connsiteX42" fmla="*/ 1794 w 16088"/>
                          <a:gd name="connsiteY42" fmla="*/ 19437 h 19437"/>
                          <a:gd name="connsiteX43" fmla="*/ 2512 w 16088"/>
                          <a:gd name="connsiteY43" fmla="*/ 18540 h 19437"/>
                          <a:gd name="connsiteX44" fmla="*/ 2273 w 16088"/>
                          <a:gd name="connsiteY44" fmla="*/ 18361 h 19437"/>
                          <a:gd name="connsiteX45" fmla="*/ 2153 w 16088"/>
                          <a:gd name="connsiteY45" fmla="*/ 18480 h 19437"/>
                          <a:gd name="connsiteX46" fmla="*/ 1017 w 16088"/>
                          <a:gd name="connsiteY46" fmla="*/ 17523 h 19437"/>
                          <a:gd name="connsiteX47" fmla="*/ 718 w 16088"/>
                          <a:gd name="connsiteY47" fmla="*/ 17284 h 19437"/>
                          <a:gd name="connsiteX48" fmla="*/ 718 w 16088"/>
                          <a:gd name="connsiteY48" fmla="*/ 17284 h 19437"/>
                          <a:gd name="connsiteX49" fmla="*/ 837 w 16088"/>
                          <a:gd name="connsiteY49" fmla="*/ 17165 h 19437"/>
                          <a:gd name="connsiteX50" fmla="*/ 718 w 16088"/>
                          <a:gd name="connsiteY50" fmla="*/ 17105 h 19437"/>
                          <a:gd name="connsiteX51" fmla="*/ 0 w 16088"/>
                          <a:gd name="connsiteY51" fmla="*/ 18002 h 19437"/>
                          <a:gd name="connsiteX52" fmla="*/ 1794 w 16088"/>
                          <a:gd name="connsiteY52" fmla="*/ 19437 h 1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6088" h="19437">
                            <a:moveTo>
                              <a:pt x="14174" y="1495"/>
                            </a:moveTo>
                            <a:lnTo>
                              <a:pt x="14653" y="897"/>
                            </a:lnTo>
                            <a:lnTo>
                              <a:pt x="13696" y="0"/>
                            </a:lnTo>
                            <a:lnTo>
                              <a:pt x="13696" y="0"/>
                            </a:lnTo>
                            <a:lnTo>
                              <a:pt x="13218" y="598"/>
                            </a:lnTo>
                            <a:lnTo>
                              <a:pt x="14174" y="1495"/>
                            </a:lnTo>
                            <a:moveTo>
                              <a:pt x="15610" y="2811"/>
                            </a:moveTo>
                            <a:lnTo>
                              <a:pt x="16088" y="2213"/>
                            </a:lnTo>
                            <a:lnTo>
                              <a:pt x="16088" y="2213"/>
                            </a:lnTo>
                            <a:lnTo>
                              <a:pt x="15191" y="1375"/>
                            </a:lnTo>
                            <a:lnTo>
                              <a:pt x="14713" y="1973"/>
                            </a:lnTo>
                            <a:lnTo>
                              <a:pt x="15610" y="2811"/>
                            </a:lnTo>
                            <a:moveTo>
                              <a:pt x="10347" y="8253"/>
                            </a:moveTo>
                            <a:lnTo>
                              <a:pt x="10885" y="8732"/>
                            </a:lnTo>
                            <a:lnTo>
                              <a:pt x="15012" y="3588"/>
                            </a:lnTo>
                            <a:lnTo>
                              <a:pt x="14473" y="3110"/>
                            </a:lnTo>
                            <a:lnTo>
                              <a:pt x="10347" y="8253"/>
                            </a:lnTo>
                            <a:moveTo>
                              <a:pt x="8433" y="6579"/>
                            </a:moveTo>
                            <a:lnTo>
                              <a:pt x="8971" y="7057"/>
                            </a:lnTo>
                            <a:lnTo>
                              <a:pt x="13098" y="1914"/>
                            </a:lnTo>
                            <a:lnTo>
                              <a:pt x="12560" y="1435"/>
                            </a:lnTo>
                            <a:lnTo>
                              <a:pt x="8433" y="6579"/>
                            </a:lnTo>
                            <a:moveTo>
                              <a:pt x="8134" y="11004"/>
                            </a:moveTo>
                            <a:lnTo>
                              <a:pt x="8672" y="11483"/>
                            </a:lnTo>
                            <a:lnTo>
                              <a:pt x="10227" y="9569"/>
                            </a:lnTo>
                            <a:lnTo>
                              <a:pt x="9689" y="9090"/>
                            </a:lnTo>
                            <a:lnTo>
                              <a:pt x="8134" y="11004"/>
                            </a:lnTo>
                            <a:moveTo>
                              <a:pt x="6220" y="9330"/>
                            </a:moveTo>
                            <a:lnTo>
                              <a:pt x="6758" y="9808"/>
                            </a:lnTo>
                            <a:lnTo>
                              <a:pt x="8313" y="7895"/>
                            </a:lnTo>
                            <a:lnTo>
                              <a:pt x="7775" y="7416"/>
                            </a:lnTo>
                            <a:lnTo>
                              <a:pt x="6220" y="9330"/>
                            </a:lnTo>
                            <a:moveTo>
                              <a:pt x="2930" y="17523"/>
                            </a:moveTo>
                            <a:lnTo>
                              <a:pt x="3170" y="17703"/>
                            </a:lnTo>
                            <a:lnTo>
                              <a:pt x="7775" y="11902"/>
                            </a:lnTo>
                            <a:lnTo>
                              <a:pt x="7536" y="11722"/>
                            </a:lnTo>
                            <a:lnTo>
                              <a:pt x="2930" y="17523"/>
                            </a:lnTo>
                            <a:moveTo>
                              <a:pt x="1435" y="16267"/>
                            </a:moveTo>
                            <a:lnTo>
                              <a:pt x="1555" y="16387"/>
                            </a:lnTo>
                            <a:lnTo>
                              <a:pt x="6160" y="10645"/>
                            </a:lnTo>
                            <a:lnTo>
                              <a:pt x="6041" y="10526"/>
                            </a:lnTo>
                            <a:lnTo>
                              <a:pt x="1435" y="16267"/>
                            </a:lnTo>
                            <a:moveTo>
                              <a:pt x="1794" y="19437"/>
                            </a:moveTo>
                            <a:lnTo>
                              <a:pt x="2512" y="18540"/>
                            </a:lnTo>
                            <a:lnTo>
                              <a:pt x="2273" y="18361"/>
                            </a:lnTo>
                            <a:lnTo>
                              <a:pt x="2153" y="18480"/>
                            </a:lnTo>
                            <a:lnTo>
                              <a:pt x="1017" y="17523"/>
                            </a:lnTo>
                            <a:lnTo>
                              <a:pt x="718" y="17284"/>
                            </a:lnTo>
                            <a:lnTo>
                              <a:pt x="718" y="17284"/>
                            </a:lnTo>
                            <a:lnTo>
                              <a:pt x="837" y="17165"/>
                            </a:lnTo>
                            <a:lnTo>
                              <a:pt x="718" y="17105"/>
                            </a:lnTo>
                            <a:lnTo>
                              <a:pt x="0" y="18002"/>
                            </a:lnTo>
                            <a:lnTo>
                              <a:pt x="1794" y="19437"/>
                            </a:lnTo>
                          </a:path>
                        </a:pathLst>
                      </a:custGeom>
                      <a:noFill/>
                      <a:ln w="6350" cap="flat">
                        <a:solidFill>
                          <a:schemeClr val="bg1">
                            <a:alpha val="40000"/>
                          </a:schemeClr>
                        </a:solidFill>
                        <a:prstDash val="solid"/>
                        <a:miter/>
                      </a:ln>
                    </p:spPr>
                    <p:txBody>
                      <a:bodyPr rtlCol="0" anchor="ctr"/>
                      <a:lstStyle/>
                      <a:p>
                        <a:endParaRPr lang="en-GB"/>
                      </a:p>
                    </p:txBody>
                  </p:sp>
                  <p:sp>
                    <p:nvSpPr>
                      <p:cNvPr id="7574" name="Vrije vorm: vorm 7573">
                        <a:extLst>
                          <a:ext uri="{FF2B5EF4-FFF2-40B4-BE49-F238E27FC236}">
                            <a16:creationId xmlns:a16="http://schemas.microsoft.com/office/drawing/2014/main" id="{6DF1D5BC-9545-4181-B2BD-0F2AF386D22F}"/>
                          </a:ext>
                        </a:extLst>
                      </p:cNvPr>
                      <p:cNvSpPr/>
                      <p:nvPr/>
                    </p:nvSpPr>
                    <p:spPr>
                      <a:xfrm>
                        <a:off x="5386377" y="5242382"/>
                        <a:ext cx="18360" cy="19257"/>
                      </a:xfrm>
                      <a:custGeom>
                        <a:avLst/>
                        <a:gdLst>
                          <a:gd name="connsiteX0" fmla="*/ 8971 w 18360"/>
                          <a:gd name="connsiteY0" fmla="*/ 2273 h 19257"/>
                          <a:gd name="connsiteX1" fmla="*/ 8971 w 18360"/>
                          <a:gd name="connsiteY1" fmla="*/ 2273 h 19257"/>
                          <a:gd name="connsiteX2" fmla="*/ 9091 w 18360"/>
                          <a:gd name="connsiteY2" fmla="*/ 2332 h 19257"/>
                          <a:gd name="connsiteX3" fmla="*/ 6519 w 18360"/>
                          <a:gd name="connsiteY3" fmla="*/ 0 h 19257"/>
                          <a:gd name="connsiteX4" fmla="*/ 6519 w 18360"/>
                          <a:gd name="connsiteY4" fmla="*/ 0 h 19257"/>
                          <a:gd name="connsiteX5" fmla="*/ 8971 w 18360"/>
                          <a:gd name="connsiteY5" fmla="*/ 2273 h 19257"/>
                          <a:gd name="connsiteX6" fmla="*/ 5921 w 18360"/>
                          <a:gd name="connsiteY6" fmla="*/ 11902 h 19257"/>
                          <a:gd name="connsiteX7" fmla="*/ 5921 w 18360"/>
                          <a:gd name="connsiteY7" fmla="*/ 11902 h 19257"/>
                          <a:gd name="connsiteX8" fmla="*/ 4964 w 18360"/>
                          <a:gd name="connsiteY8" fmla="*/ 11004 h 19257"/>
                          <a:gd name="connsiteX9" fmla="*/ 3708 w 18360"/>
                          <a:gd name="connsiteY9" fmla="*/ 9928 h 19257"/>
                          <a:gd name="connsiteX10" fmla="*/ 3708 w 18360"/>
                          <a:gd name="connsiteY10" fmla="*/ 9928 h 19257"/>
                          <a:gd name="connsiteX11" fmla="*/ 5921 w 18360"/>
                          <a:gd name="connsiteY11" fmla="*/ 11902 h 19257"/>
                          <a:gd name="connsiteX12" fmla="*/ 2572 w 18360"/>
                          <a:gd name="connsiteY12" fmla="*/ 10167 h 19257"/>
                          <a:gd name="connsiteX13" fmla="*/ 3170 w 18360"/>
                          <a:gd name="connsiteY13" fmla="*/ 9389 h 19257"/>
                          <a:gd name="connsiteX14" fmla="*/ 3050 w 18360"/>
                          <a:gd name="connsiteY14" fmla="*/ 9270 h 19257"/>
                          <a:gd name="connsiteX15" fmla="*/ 1196 w 18360"/>
                          <a:gd name="connsiteY15" fmla="*/ 7655 h 19257"/>
                          <a:gd name="connsiteX16" fmla="*/ 6280 w 18360"/>
                          <a:gd name="connsiteY16" fmla="*/ 1256 h 19257"/>
                          <a:gd name="connsiteX17" fmla="*/ 5742 w 18360"/>
                          <a:gd name="connsiteY17" fmla="*/ 778 h 19257"/>
                          <a:gd name="connsiteX18" fmla="*/ 0 w 18360"/>
                          <a:gd name="connsiteY18" fmla="*/ 7954 h 19257"/>
                          <a:gd name="connsiteX19" fmla="*/ 2392 w 18360"/>
                          <a:gd name="connsiteY19" fmla="*/ 10107 h 19257"/>
                          <a:gd name="connsiteX20" fmla="*/ 2572 w 18360"/>
                          <a:gd name="connsiteY20" fmla="*/ 10167 h 19257"/>
                          <a:gd name="connsiteX21" fmla="*/ 12679 w 18360"/>
                          <a:gd name="connsiteY21" fmla="*/ 19258 h 19257"/>
                          <a:gd name="connsiteX22" fmla="*/ 18361 w 18360"/>
                          <a:gd name="connsiteY22" fmla="*/ 12141 h 19257"/>
                          <a:gd name="connsiteX23" fmla="*/ 12320 w 18360"/>
                          <a:gd name="connsiteY23" fmla="*/ 6698 h 19257"/>
                          <a:gd name="connsiteX24" fmla="*/ 12320 w 18360"/>
                          <a:gd name="connsiteY24" fmla="*/ 6698 h 19257"/>
                          <a:gd name="connsiteX25" fmla="*/ 17823 w 18360"/>
                          <a:gd name="connsiteY25" fmla="*/ 11662 h 19257"/>
                          <a:gd name="connsiteX26" fmla="*/ 12799 w 18360"/>
                          <a:gd name="connsiteY26" fmla="*/ 18002 h 19257"/>
                          <a:gd name="connsiteX27" fmla="*/ 10646 w 18360"/>
                          <a:gd name="connsiteY27" fmla="*/ 16088 h 19257"/>
                          <a:gd name="connsiteX28" fmla="*/ 7416 w 18360"/>
                          <a:gd name="connsiteY28" fmla="*/ 13217 h 19257"/>
                          <a:gd name="connsiteX29" fmla="*/ 6519 w 18360"/>
                          <a:gd name="connsiteY29" fmla="*/ 12380 h 19257"/>
                          <a:gd name="connsiteX30" fmla="*/ 5921 w 18360"/>
                          <a:gd name="connsiteY30" fmla="*/ 13157 h 19257"/>
                          <a:gd name="connsiteX31" fmla="*/ 6280 w 18360"/>
                          <a:gd name="connsiteY31" fmla="*/ 13516 h 19257"/>
                          <a:gd name="connsiteX32" fmla="*/ 6818 w 18360"/>
                          <a:gd name="connsiteY32" fmla="*/ 13995 h 19257"/>
                          <a:gd name="connsiteX33" fmla="*/ 9510 w 18360"/>
                          <a:gd name="connsiteY33" fmla="*/ 16387 h 19257"/>
                          <a:gd name="connsiteX34" fmla="*/ 10048 w 18360"/>
                          <a:gd name="connsiteY34" fmla="*/ 16865 h 19257"/>
                          <a:gd name="connsiteX35" fmla="*/ 12679 w 18360"/>
                          <a:gd name="connsiteY35" fmla="*/ 19258 h 1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360" h="19257">
                            <a:moveTo>
                              <a:pt x="8971" y="2273"/>
                            </a:moveTo>
                            <a:lnTo>
                              <a:pt x="8971" y="2273"/>
                            </a:lnTo>
                            <a:lnTo>
                              <a:pt x="9091" y="2332"/>
                            </a:lnTo>
                            <a:lnTo>
                              <a:pt x="6519" y="0"/>
                            </a:lnTo>
                            <a:lnTo>
                              <a:pt x="6519" y="0"/>
                            </a:lnTo>
                            <a:lnTo>
                              <a:pt x="8971" y="2273"/>
                            </a:lnTo>
                            <a:moveTo>
                              <a:pt x="5921" y="11902"/>
                            </a:moveTo>
                            <a:lnTo>
                              <a:pt x="5921" y="11902"/>
                            </a:lnTo>
                            <a:lnTo>
                              <a:pt x="4964" y="11004"/>
                            </a:lnTo>
                            <a:lnTo>
                              <a:pt x="3708" y="9928"/>
                            </a:lnTo>
                            <a:lnTo>
                              <a:pt x="3708" y="9928"/>
                            </a:lnTo>
                            <a:lnTo>
                              <a:pt x="5921" y="11902"/>
                            </a:lnTo>
                            <a:moveTo>
                              <a:pt x="2572" y="10167"/>
                            </a:moveTo>
                            <a:lnTo>
                              <a:pt x="3170" y="9389"/>
                            </a:lnTo>
                            <a:lnTo>
                              <a:pt x="3050" y="9270"/>
                            </a:lnTo>
                            <a:lnTo>
                              <a:pt x="1196" y="7655"/>
                            </a:lnTo>
                            <a:lnTo>
                              <a:pt x="6280" y="1256"/>
                            </a:lnTo>
                            <a:lnTo>
                              <a:pt x="5742" y="778"/>
                            </a:lnTo>
                            <a:lnTo>
                              <a:pt x="0" y="7954"/>
                            </a:lnTo>
                            <a:lnTo>
                              <a:pt x="2392" y="10107"/>
                            </a:lnTo>
                            <a:lnTo>
                              <a:pt x="2572" y="10167"/>
                            </a:lnTo>
                            <a:moveTo>
                              <a:pt x="12679" y="19258"/>
                            </a:moveTo>
                            <a:lnTo>
                              <a:pt x="18361" y="12141"/>
                            </a:lnTo>
                            <a:lnTo>
                              <a:pt x="12320" y="6698"/>
                            </a:lnTo>
                            <a:lnTo>
                              <a:pt x="12320" y="6698"/>
                            </a:lnTo>
                            <a:lnTo>
                              <a:pt x="17823" y="11662"/>
                            </a:lnTo>
                            <a:lnTo>
                              <a:pt x="12799" y="18002"/>
                            </a:lnTo>
                            <a:lnTo>
                              <a:pt x="10646" y="16088"/>
                            </a:lnTo>
                            <a:lnTo>
                              <a:pt x="7416" y="13217"/>
                            </a:lnTo>
                            <a:lnTo>
                              <a:pt x="6519" y="12380"/>
                            </a:lnTo>
                            <a:lnTo>
                              <a:pt x="5921" y="13157"/>
                            </a:lnTo>
                            <a:lnTo>
                              <a:pt x="6280" y="13516"/>
                            </a:lnTo>
                            <a:lnTo>
                              <a:pt x="6818" y="13995"/>
                            </a:lnTo>
                            <a:lnTo>
                              <a:pt x="9510" y="16387"/>
                            </a:lnTo>
                            <a:lnTo>
                              <a:pt x="10048" y="16865"/>
                            </a:lnTo>
                            <a:lnTo>
                              <a:pt x="12679" y="19258"/>
                            </a:lnTo>
                          </a:path>
                        </a:pathLst>
                      </a:custGeom>
                      <a:noFill/>
                      <a:ln w="6350" cap="flat">
                        <a:solidFill>
                          <a:schemeClr val="bg1">
                            <a:alpha val="40000"/>
                          </a:schemeClr>
                        </a:solidFill>
                        <a:prstDash val="solid"/>
                        <a:miter/>
                      </a:ln>
                    </p:spPr>
                    <p:txBody>
                      <a:bodyPr rtlCol="0" anchor="ctr"/>
                      <a:lstStyle/>
                      <a:p>
                        <a:endParaRPr lang="en-GB"/>
                      </a:p>
                    </p:txBody>
                  </p:sp>
                  <p:sp>
                    <p:nvSpPr>
                      <p:cNvPr id="7575" name="Vrije vorm: vorm 7574">
                        <a:extLst>
                          <a:ext uri="{FF2B5EF4-FFF2-40B4-BE49-F238E27FC236}">
                            <a16:creationId xmlns:a16="http://schemas.microsoft.com/office/drawing/2014/main" id="{D68353C7-8C6C-42CC-9741-D0E9D92ED3D7}"/>
                          </a:ext>
                        </a:extLst>
                      </p:cNvPr>
                      <p:cNvSpPr/>
                      <p:nvPr/>
                    </p:nvSpPr>
                    <p:spPr>
                      <a:xfrm>
                        <a:off x="5388949" y="5244654"/>
                        <a:ext cx="9629" cy="10884"/>
                      </a:xfrm>
                      <a:custGeom>
                        <a:avLst/>
                        <a:gdLst>
                          <a:gd name="connsiteX0" fmla="*/ 9629 w 9629"/>
                          <a:gd name="connsiteY0" fmla="*/ 2930 h 10884"/>
                          <a:gd name="connsiteX1" fmla="*/ 9629 w 9629"/>
                          <a:gd name="connsiteY1" fmla="*/ 2930 h 10884"/>
                          <a:gd name="connsiteX2" fmla="*/ 6459 w 9629"/>
                          <a:gd name="connsiteY2" fmla="*/ 60 h 10884"/>
                          <a:gd name="connsiteX3" fmla="*/ 6399 w 9629"/>
                          <a:gd name="connsiteY3" fmla="*/ 0 h 10884"/>
                          <a:gd name="connsiteX4" fmla="*/ 6399 w 9629"/>
                          <a:gd name="connsiteY4" fmla="*/ 0 h 10884"/>
                          <a:gd name="connsiteX5" fmla="*/ 9629 w 9629"/>
                          <a:gd name="connsiteY5" fmla="*/ 2930 h 10884"/>
                          <a:gd name="connsiteX6" fmla="*/ 3290 w 9629"/>
                          <a:gd name="connsiteY6" fmla="*/ 10885 h 10884"/>
                          <a:gd name="connsiteX7" fmla="*/ 3290 w 9629"/>
                          <a:gd name="connsiteY7" fmla="*/ 10885 h 10884"/>
                          <a:gd name="connsiteX8" fmla="*/ 3947 w 9629"/>
                          <a:gd name="connsiteY8" fmla="*/ 10107 h 10884"/>
                          <a:gd name="connsiteX9" fmla="*/ 4426 w 9629"/>
                          <a:gd name="connsiteY9" fmla="*/ 9509 h 10884"/>
                          <a:gd name="connsiteX10" fmla="*/ 9031 w 9629"/>
                          <a:gd name="connsiteY10" fmla="*/ 3768 h 10884"/>
                          <a:gd name="connsiteX11" fmla="*/ 8493 w 9629"/>
                          <a:gd name="connsiteY11" fmla="*/ 3289 h 10884"/>
                          <a:gd name="connsiteX12" fmla="*/ 3888 w 9629"/>
                          <a:gd name="connsiteY12" fmla="*/ 9031 h 10884"/>
                          <a:gd name="connsiteX13" fmla="*/ 3409 w 9629"/>
                          <a:gd name="connsiteY13" fmla="*/ 9629 h 10884"/>
                          <a:gd name="connsiteX14" fmla="*/ 3409 w 9629"/>
                          <a:gd name="connsiteY14" fmla="*/ 9629 h 10884"/>
                          <a:gd name="connsiteX15" fmla="*/ 1196 w 9629"/>
                          <a:gd name="connsiteY15" fmla="*/ 7655 h 10884"/>
                          <a:gd name="connsiteX16" fmla="*/ 1196 w 9629"/>
                          <a:gd name="connsiteY16" fmla="*/ 7655 h 10884"/>
                          <a:gd name="connsiteX17" fmla="*/ 1675 w 9629"/>
                          <a:gd name="connsiteY17" fmla="*/ 7057 h 10884"/>
                          <a:gd name="connsiteX18" fmla="*/ 6280 w 9629"/>
                          <a:gd name="connsiteY18" fmla="*/ 1256 h 10884"/>
                          <a:gd name="connsiteX19" fmla="*/ 5742 w 9629"/>
                          <a:gd name="connsiteY19" fmla="*/ 777 h 10884"/>
                          <a:gd name="connsiteX20" fmla="*/ 1077 w 9629"/>
                          <a:gd name="connsiteY20" fmla="*/ 6579 h 10884"/>
                          <a:gd name="connsiteX21" fmla="*/ 598 w 9629"/>
                          <a:gd name="connsiteY21" fmla="*/ 7177 h 10884"/>
                          <a:gd name="connsiteX22" fmla="*/ 0 w 9629"/>
                          <a:gd name="connsiteY22" fmla="*/ 7954 h 10884"/>
                          <a:gd name="connsiteX23" fmla="*/ 0 w 9629"/>
                          <a:gd name="connsiteY23" fmla="*/ 7954 h 10884"/>
                          <a:gd name="connsiteX24" fmla="*/ 419 w 9629"/>
                          <a:gd name="connsiteY24" fmla="*/ 8313 h 10884"/>
                          <a:gd name="connsiteX25" fmla="*/ 1735 w 9629"/>
                          <a:gd name="connsiteY25" fmla="*/ 9509 h 10884"/>
                          <a:gd name="connsiteX26" fmla="*/ 2273 w 9629"/>
                          <a:gd name="connsiteY26" fmla="*/ 9988 h 10884"/>
                          <a:gd name="connsiteX27" fmla="*/ 3290 w 9629"/>
                          <a:gd name="connsiteY27" fmla="*/ 10885 h 1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629" h="10884">
                            <a:moveTo>
                              <a:pt x="9629" y="2930"/>
                            </a:moveTo>
                            <a:lnTo>
                              <a:pt x="9629" y="2930"/>
                            </a:lnTo>
                            <a:lnTo>
                              <a:pt x="6459" y="60"/>
                            </a:lnTo>
                            <a:lnTo>
                              <a:pt x="6399" y="0"/>
                            </a:lnTo>
                            <a:lnTo>
                              <a:pt x="6399" y="0"/>
                            </a:lnTo>
                            <a:lnTo>
                              <a:pt x="9629" y="2930"/>
                            </a:lnTo>
                            <a:moveTo>
                              <a:pt x="3290" y="10885"/>
                            </a:moveTo>
                            <a:lnTo>
                              <a:pt x="3290" y="10885"/>
                            </a:lnTo>
                            <a:lnTo>
                              <a:pt x="3947" y="10107"/>
                            </a:lnTo>
                            <a:lnTo>
                              <a:pt x="4426" y="9509"/>
                            </a:lnTo>
                            <a:lnTo>
                              <a:pt x="9031" y="3768"/>
                            </a:lnTo>
                            <a:lnTo>
                              <a:pt x="8493" y="3289"/>
                            </a:lnTo>
                            <a:lnTo>
                              <a:pt x="3888" y="9031"/>
                            </a:lnTo>
                            <a:lnTo>
                              <a:pt x="3409" y="9629"/>
                            </a:lnTo>
                            <a:lnTo>
                              <a:pt x="3409" y="9629"/>
                            </a:lnTo>
                            <a:lnTo>
                              <a:pt x="1196" y="7655"/>
                            </a:lnTo>
                            <a:lnTo>
                              <a:pt x="1196" y="7655"/>
                            </a:lnTo>
                            <a:lnTo>
                              <a:pt x="1675" y="7057"/>
                            </a:lnTo>
                            <a:lnTo>
                              <a:pt x="6280" y="1256"/>
                            </a:lnTo>
                            <a:lnTo>
                              <a:pt x="5742" y="777"/>
                            </a:lnTo>
                            <a:lnTo>
                              <a:pt x="1077" y="6579"/>
                            </a:lnTo>
                            <a:lnTo>
                              <a:pt x="598" y="7177"/>
                            </a:lnTo>
                            <a:lnTo>
                              <a:pt x="0" y="7954"/>
                            </a:lnTo>
                            <a:lnTo>
                              <a:pt x="0" y="7954"/>
                            </a:lnTo>
                            <a:lnTo>
                              <a:pt x="419" y="8313"/>
                            </a:lnTo>
                            <a:lnTo>
                              <a:pt x="1735" y="9509"/>
                            </a:lnTo>
                            <a:lnTo>
                              <a:pt x="2273" y="9988"/>
                            </a:lnTo>
                            <a:lnTo>
                              <a:pt x="3290" y="10885"/>
                            </a:lnTo>
                          </a:path>
                        </a:pathLst>
                      </a:custGeom>
                      <a:noFill/>
                      <a:ln w="6350" cap="flat">
                        <a:solidFill>
                          <a:schemeClr val="bg1">
                            <a:alpha val="40000"/>
                          </a:schemeClr>
                        </a:solidFill>
                        <a:prstDash val="solid"/>
                        <a:miter/>
                      </a:ln>
                    </p:spPr>
                    <p:txBody>
                      <a:bodyPr rtlCol="0" anchor="ctr"/>
                      <a:lstStyle/>
                      <a:p>
                        <a:endParaRPr lang="en-GB"/>
                      </a:p>
                    </p:txBody>
                  </p:sp>
                  <p:sp>
                    <p:nvSpPr>
                      <p:cNvPr id="7576" name="Vrije vorm: vorm 7575">
                        <a:extLst>
                          <a:ext uri="{FF2B5EF4-FFF2-40B4-BE49-F238E27FC236}">
                            <a16:creationId xmlns:a16="http://schemas.microsoft.com/office/drawing/2014/main" id="{73E4D43C-8F7D-4F30-AAE4-D70B648304A9}"/>
                          </a:ext>
                        </a:extLst>
                      </p:cNvPr>
                      <p:cNvSpPr/>
                      <p:nvPr/>
                    </p:nvSpPr>
                    <p:spPr>
                      <a:xfrm>
                        <a:off x="5388411" y="5215050"/>
                        <a:ext cx="41027" cy="44556"/>
                      </a:xfrm>
                      <a:custGeom>
                        <a:avLst/>
                        <a:gdLst>
                          <a:gd name="connsiteX0" fmla="*/ 17284 w 41027"/>
                          <a:gd name="connsiteY0" fmla="*/ 6160 h 44556"/>
                          <a:gd name="connsiteX1" fmla="*/ 24342 w 41027"/>
                          <a:gd name="connsiteY1" fmla="*/ 1435 h 44556"/>
                          <a:gd name="connsiteX2" fmla="*/ 24641 w 41027"/>
                          <a:gd name="connsiteY2" fmla="*/ 1136 h 44556"/>
                          <a:gd name="connsiteX3" fmla="*/ 24820 w 41027"/>
                          <a:gd name="connsiteY3" fmla="*/ 837 h 44556"/>
                          <a:gd name="connsiteX4" fmla="*/ 24880 w 41027"/>
                          <a:gd name="connsiteY4" fmla="*/ 538 h 44556"/>
                          <a:gd name="connsiteX5" fmla="*/ 24880 w 41027"/>
                          <a:gd name="connsiteY5" fmla="*/ 239 h 44556"/>
                          <a:gd name="connsiteX6" fmla="*/ 24760 w 41027"/>
                          <a:gd name="connsiteY6" fmla="*/ 0 h 44556"/>
                          <a:gd name="connsiteX7" fmla="*/ 24760 w 41027"/>
                          <a:gd name="connsiteY7" fmla="*/ 0 h 44556"/>
                          <a:gd name="connsiteX8" fmla="*/ 24760 w 41027"/>
                          <a:gd name="connsiteY8" fmla="*/ 0 h 44556"/>
                          <a:gd name="connsiteX9" fmla="*/ 24760 w 41027"/>
                          <a:gd name="connsiteY9" fmla="*/ 0 h 44556"/>
                          <a:gd name="connsiteX10" fmla="*/ 24760 w 41027"/>
                          <a:gd name="connsiteY10" fmla="*/ 0 h 44556"/>
                          <a:gd name="connsiteX11" fmla="*/ 24880 w 41027"/>
                          <a:gd name="connsiteY11" fmla="*/ 239 h 44556"/>
                          <a:gd name="connsiteX12" fmla="*/ 24940 w 41027"/>
                          <a:gd name="connsiteY12" fmla="*/ 538 h 44556"/>
                          <a:gd name="connsiteX13" fmla="*/ 24880 w 41027"/>
                          <a:gd name="connsiteY13" fmla="*/ 837 h 44556"/>
                          <a:gd name="connsiteX14" fmla="*/ 24700 w 41027"/>
                          <a:gd name="connsiteY14" fmla="*/ 1136 h 44556"/>
                          <a:gd name="connsiteX15" fmla="*/ 24401 w 41027"/>
                          <a:gd name="connsiteY15" fmla="*/ 1435 h 44556"/>
                          <a:gd name="connsiteX16" fmla="*/ 17284 w 41027"/>
                          <a:gd name="connsiteY16" fmla="*/ 6160 h 44556"/>
                          <a:gd name="connsiteX17" fmla="*/ 34927 w 41027"/>
                          <a:gd name="connsiteY17" fmla="*/ 22308 h 44556"/>
                          <a:gd name="connsiteX18" fmla="*/ 35167 w 41027"/>
                          <a:gd name="connsiteY18" fmla="*/ 22308 h 44556"/>
                          <a:gd name="connsiteX19" fmla="*/ 35406 w 41027"/>
                          <a:gd name="connsiteY19" fmla="*/ 22308 h 44556"/>
                          <a:gd name="connsiteX20" fmla="*/ 35645 w 41027"/>
                          <a:gd name="connsiteY20" fmla="*/ 22248 h 44556"/>
                          <a:gd name="connsiteX21" fmla="*/ 35884 w 41027"/>
                          <a:gd name="connsiteY21" fmla="*/ 22188 h 44556"/>
                          <a:gd name="connsiteX22" fmla="*/ 38875 w 41027"/>
                          <a:gd name="connsiteY22" fmla="*/ 14772 h 44556"/>
                          <a:gd name="connsiteX23" fmla="*/ 39054 w 41027"/>
                          <a:gd name="connsiteY23" fmla="*/ 14413 h 44556"/>
                          <a:gd name="connsiteX24" fmla="*/ 39592 w 41027"/>
                          <a:gd name="connsiteY24" fmla="*/ 14055 h 44556"/>
                          <a:gd name="connsiteX25" fmla="*/ 40071 w 41027"/>
                          <a:gd name="connsiteY25" fmla="*/ 14174 h 44556"/>
                          <a:gd name="connsiteX26" fmla="*/ 40250 w 41027"/>
                          <a:gd name="connsiteY26" fmla="*/ 14712 h 44556"/>
                          <a:gd name="connsiteX27" fmla="*/ 38516 w 41027"/>
                          <a:gd name="connsiteY27" fmla="*/ 21590 h 44556"/>
                          <a:gd name="connsiteX28" fmla="*/ 38695 w 41027"/>
                          <a:gd name="connsiteY28" fmla="*/ 21530 h 44556"/>
                          <a:gd name="connsiteX29" fmla="*/ 38875 w 41027"/>
                          <a:gd name="connsiteY29" fmla="*/ 21471 h 44556"/>
                          <a:gd name="connsiteX30" fmla="*/ 39054 w 41027"/>
                          <a:gd name="connsiteY30" fmla="*/ 21411 h 44556"/>
                          <a:gd name="connsiteX31" fmla="*/ 39234 w 41027"/>
                          <a:gd name="connsiteY31" fmla="*/ 21351 h 44556"/>
                          <a:gd name="connsiteX32" fmla="*/ 40968 w 41027"/>
                          <a:gd name="connsiteY32" fmla="*/ 14653 h 44556"/>
                          <a:gd name="connsiteX33" fmla="*/ 41028 w 41027"/>
                          <a:gd name="connsiteY33" fmla="*/ 14294 h 44556"/>
                          <a:gd name="connsiteX34" fmla="*/ 40968 w 41027"/>
                          <a:gd name="connsiteY34" fmla="*/ 13935 h 44556"/>
                          <a:gd name="connsiteX35" fmla="*/ 40848 w 41027"/>
                          <a:gd name="connsiteY35" fmla="*/ 13636 h 44556"/>
                          <a:gd name="connsiteX36" fmla="*/ 40669 w 41027"/>
                          <a:gd name="connsiteY36" fmla="*/ 13397 h 44556"/>
                          <a:gd name="connsiteX37" fmla="*/ 40430 w 41027"/>
                          <a:gd name="connsiteY37" fmla="*/ 13217 h 44556"/>
                          <a:gd name="connsiteX38" fmla="*/ 40190 w 41027"/>
                          <a:gd name="connsiteY38" fmla="*/ 13158 h 44556"/>
                          <a:gd name="connsiteX39" fmla="*/ 39891 w 41027"/>
                          <a:gd name="connsiteY39" fmla="*/ 13158 h 44556"/>
                          <a:gd name="connsiteX40" fmla="*/ 39592 w 41027"/>
                          <a:gd name="connsiteY40" fmla="*/ 13217 h 44556"/>
                          <a:gd name="connsiteX41" fmla="*/ 39293 w 41027"/>
                          <a:gd name="connsiteY41" fmla="*/ 13337 h 44556"/>
                          <a:gd name="connsiteX42" fmla="*/ 38994 w 41027"/>
                          <a:gd name="connsiteY42" fmla="*/ 13516 h 44556"/>
                          <a:gd name="connsiteX43" fmla="*/ 38695 w 41027"/>
                          <a:gd name="connsiteY43" fmla="*/ 13756 h 44556"/>
                          <a:gd name="connsiteX44" fmla="*/ 38456 w 41027"/>
                          <a:gd name="connsiteY44" fmla="*/ 14055 h 44556"/>
                          <a:gd name="connsiteX45" fmla="*/ 38037 w 41027"/>
                          <a:gd name="connsiteY45" fmla="*/ 14772 h 44556"/>
                          <a:gd name="connsiteX46" fmla="*/ 34927 w 41027"/>
                          <a:gd name="connsiteY46" fmla="*/ 22308 h 44556"/>
                          <a:gd name="connsiteX47" fmla="*/ 24342 w 41027"/>
                          <a:gd name="connsiteY47" fmla="*/ 36064 h 44556"/>
                          <a:gd name="connsiteX48" fmla="*/ 24461 w 41027"/>
                          <a:gd name="connsiteY48" fmla="*/ 36183 h 44556"/>
                          <a:gd name="connsiteX49" fmla="*/ 31219 w 41027"/>
                          <a:gd name="connsiteY49" fmla="*/ 33432 h 44556"/>
                          <a:gd name="connsiteX50" fmla="*/ 35346 w 41027"/>
                          <a:gd name="connsiteY50" fmla="*/ 23145 h 44556"/>
                          <a:gd name="connsiteX51" fmla="*/ 35107 w 41027"/>
                          <a:gd name="connsiteY51" fmla="*/ 23205 h 44556"/>
                          <a:gd name="connsiteX52" fmla="*/ 34868 w 41027"/>
                          <a:gd name="connsiteY52" fmla="*/ 23205 h 44556"/>
                          <a:gd name="connsiteX53" fmla="*/ 34628 w 41027"/>
                          <a:gd name="connsiteY53" fmla="*/ 23205 h 44556"/>
                          <a:gd name="connsiteX54" fmla="*/ 34389 w 41027"/>
                          <a:gd name="connsiteY54" fmla="*/ 23205 h 44556"/>
                          <a:gd name="connsiteX55" fmla="*/ 30561 w 41027"/>
                          <a:gd name="connsiteY55" fmla="*/ 32774 h 44556"/>
                          <a:gd name="connsiteX56" fmla="*/ 24760 w 41027"/>
                          <a:gd name="connsiteY56" fmla="*/ 35107 h 44556"/>
                          <a:gd name="connsiteX57" fmla="*/ 7416 w 41027"/>
                          <a:gd name="connsiteY57" fmla="*/ 19437 h 44556"/>
                          <a:gd name="connsiteX58" fmla="*/ 8732 w 41027"/>
                          <a:gd name="connsiteY58" fmla="*/ 12739 h 44556"/>
                          <a:gd name="connsiteX59" fmla="*/ 7416 w 41027"/>
                          <a:gd name="connsiteY59" fmla="*/ 19437 h 44556"/>
                          <a:gd name="connsiteX60" fmla="*/ 15789 w 41027"/>
                          <a:gd name="connsiteY60" fmla="*/ 27033 h 44556"/>
                          <a:gd name="connsiteX61" fmla="*/ 15191 w 41027"/>
                          <a:gd name="connsiteY61" fmla="*/ 27810 h 44556"/>
                          <a:gd name="connsiteX62" fmla="*/ 24342 w 41027"/>
                          <a:gd name="connsiteY62" fmla="*/ 36064 h 44556"/>
                          <a:gd name="connsiteX63" fmla="*/ 10406 w 41027"/>
                          <a:gd name="connsiteY63" fmla="*/ 32774 h 44556"/>
                          <a:gd name="connsiteX64" fmla="*/ 10406 w 41027"/>
                          <a:gd name="connsiteY64" fmla="*/ 32774 h 44556"/>
                          <a:gd name="connsiteX65" fmla="*/ 10167 w 41027"/>
                          <a:gd name="connsiteY65" fmla="*/ 32535 h 44556"/>
                          <a:gd name="connsiteX66" fmla="*/ 6878 w 41027"/>
                          <a:gd name="connsiteY66" fmla="*/ 29605 h 44556"/>
                          <a:gd name="connsiteX67" fmla="*/ 4366 w 41027"/>
                          <a:gd name="connsiteY67" fmla="*/ 27332 h 44556"/>
                          <a:gd name="connsiteX68" fmla="*/ 0 w 41027"/>
                          <a:gd name="connsiteY68" fmla="*/ 23444 h 44556"/>
                          <a:gd name="connsiteX69" fmla="*/ 3170 w 41027"/>
                          <a:gd name="connsiteY69" fmla="*/ 9808 h 44556"/>
                          <a:gd name="connsiteX70" fmla="*/ 0 w 41027"/>
                          <a:gd name="connsiteY70" fmla="*/ 23444 h 44556"/>
                          <a:gd name="connsiteX71" fmla="*/ 10406 w 41027"/>
                          <a:gd name="connsiteY71" fmla="*/ 32774 h 44556"/>
                          <a:gd name="connsiteX72" fmla="*/ 21889 w 41027"/>
                          <a:gd name="connsiteY72" fmla="*/ 44437 h 44556"/>
                          <a:gd name="connsiteX73" fmla="*/ 22009 w 41027"/>
                          <a:gd name="connsiteY73" fmla="*/ 44556 h 44556"/>
                          <a:gd name="connsiteX74" fmla="*/ 34748 w 41027"/>
                          <a:gd name="connsiteY74" fmla="*/ 38635 h 44556"/>
                          <a:gd name="connsiteX75" fmla="*/ 38935 w 41027"/>
                          <a:gd name="connsiteY75" fmla="*/ 22308 h 44556"/>
                          <a:gd name="connsiteX76" fmla="*/ 38755 w 41027"/>
                          <a:gd name="connsiteY76" fmla="*/ 22368 h 44556"/>
                          <a:gd name="connsiteX77" fmla="*/ 38576 w 41027"/>
                          <a:gd name="connsiteY77" fmla="*/ 22428 h 44556"/>
                          <a:gd name="connsiteX78" fmla="*/ 38396 w 41027"/>
                          <a:gd name="connsiteY78" fmla="*/ 22488 h 44556"/>
                          <a:gd name="connsiteX79" fmla="*/ 38217 w 41027"/>
                          <a:gd name="connsiteY79" fmla="*/ 22547 h 44556"/>
                          <a:gd name="connsiteX80" fmla="*/ 34269 w 41027"/>
                          <a:gd name="connsiteY80" fmla="*/ 38037 h 44556"/>
                          <a:gd name="connsiteX81" fmla="*/ 22488 w 41027"/>
                          <a:gd name="connsiteY81" fmla="*/ 43480 h 44556"/>
                          <a:gd name="connsiteX82" fmla="*/ 11064 w 41027"/>
                          <a:gd name="connsiteY82" fmla="*/ 33193 h 44556"/>
                          <a:gd name="connsiteX83" fmla="*/ 10406 w 41027"/>
                          <a:gd name="connsiteY83" fmla="*/ 33970 h 44556"/>
                          <a:gd name="connsiteX84" fmla="*/ 16447 w 41027"/>
                          <a:gd name="connsiteY84" fmla="*/ 39413 h 44556"/>
                          <a:gd name="connsiteX85" fmla="*/ 21889 w 41027"/>
                          <a:gd name="connsiteY85" fmla="*/ 44437 h 4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41027" h="44556">
                            <a:moveTo>
                              <a:pt x="17284" y="6160"/>
                            </a:moveTo>
                            <a:lnTo>
                              <a:pt x="24342" y="1435"/>
                            </a:lnTo>
                            <a:lnTo>
                              <a:pt x="24641" y="1136"/>
                            </a:lnTo>
                            <a:cubicBezTo>
                              <a:pt x="24700" y="1076"/>
                              <a:pt x="24760" y="957"/>
                              <a:pt x="24820" y="837"/>
                            </a:cubicBezTo>
                            <a:cubicBezTo>
                              <a:pt x="24880" y="718"/>
                              <a:pt x="24880" y="598"/>
                              <a:pt x="24880" y="538"/>
                            </a:cubicBezTo>
                            <a:cubicBezTo>
                              <a:pt x="24880" y="478"/>
                              <a:pt x="24880" y="359"/>
                              <a:pt x="24880" y="239"/>
                            </a:cubicBezTo>
                            <a:cubicBezTo>
                              <a:pt x="24880" y="179"/>
                              <a:pt x="24820" y="60"/>
                              <a:pt x="24760" y="0"/>
                            </a:cubicBezTo>
                            <a:cubicBezTo>
                              <a:pt x="24760" y="0"/>
                              <a:pt x="24760" y="0"/>
                              <a:pt x="24760" y="0"/>
                            </a:cubicBezTo>
                            <a:cubicBezTo>
                              <a:pt x="24760" y="0"/>
                              <a:pt x="24760" y="0"/>
                              <a:pt x="24760" y="0"/>
                            </a:cubicBezTo>
                            <a:cubicBezTo>
                              <a:pt x="24760" y="0"/>
                              <a:pt x="24760" y="0"/>
                              <a:pt x="24760" y="0"/>
                            </a:cubicBezTo>
                            <a:cubicBezTo>
                              <a:pt x="24760" y="0"/>
                              <a:pt x="24760" y="0"/>
                              <a:pt x="24760" y="0"/>
                            </a:cubicBezTo>
                            <a:cubicBezTo>
                              <a:pt x="24820" y="60"/>
                              <a:pt x="24880" y="119"/>
                              <a:pt x="24880" y="239"/>
                            </a:cubicBezTo>
                            <a:cubicBezTo>
                              <a:pt x="24880" y="299"/>
                              <a:pt x="24940" y="419"/>
                              <a:pt x="24940" y="538"/>
                            </a:cubicBezTo>
                            <a:cubicBezTo>
                              <a:pt x="24940" y="658"/>
                              <a:pt x="24880" y="778"/>
                              <a:pt x="24880" y="837"/>
                            </a:cubicBezTo>
                            <a:cubicBezTo>
                              <a:pt x="24820" y="957"/>
                              <a:pt x="24760" y="1017"/>
                              <a:pt x="24700" y="1136"/>
                            </a:cubicBezTo>
                            <a:lnTo>
                              <a:pt x="24401" y="1435"/>
                            </a:lnTo>
                            <a:lnTo>
                              <a:pt x="17284" y="6160"/>
                            </a:lnTo>
                            <a:moveTo>
                              <a:pt x="34927" y="22308"/>
                            </a:moveTo>
                            <a:cubicBezTo>
                              <a:pt x="34987" y="22308"/>
                              <a:pt x="35047" y="22308"/>
                              <a:pt x="35167" y="22308"/>
                            </a:cubicBezTo>
                            <a:cubicBezTo>
                              <a:pt x="35227" y="22308"/>
                              <a:pt x="35286" y="22308"/>
                              <a:pt x="35406" y="22308"/>
                            </a:cubicBezTo>
                            <a:cubicBezTo>
                              <a:pt x="35466" y="22308"/>
                              <a:pt x="35526" y="22308"/>
                              <a:pt x="35645" y="22248"/>
                            </a:cubicBezTo>
                            <a:cubicBezTo>
                              <a:pt x="35765" y="22188"/>
                              <a:pt x="35765" y="22248"/>
                              <a:pt x="35884" y="22188"/>
                            </a:cubicBezTo>
                            <a:lnTo>
                              <a:pt x="38875" y="14772"/>
                            </a:lnTo>
                            <a:lnTo>
                              <a:pt x="39054" y="14413"/>
                            </a:lnTo>
                            <a:lnTo>
                              <a:pt x="39592" y="14055"/>
                            </a:lnTo>
                            <a:lnTo>
                              <a:pt x="40071" y="14174"/>
                            </a:lnTo>
                            <a:lnTo>
                              <a:pt x="40250" y="14712"/>
                            </a:lnTo>
                            <a:lnTo>
                              <a:pt x="38516" y="21590"/>
                            </a:lnTo>
                            <a:cubicBezTo>
                              <a:pt x="38576" y="21590"/>
                              <a:pt x="38635" y="21530"/>
                              <a:pt x="38695" y="21530"/>
                            </a:cubicBezTo>
                            <a:cubicBezTo>
                              <a:pt x="38755" y="21530"/>
                              <a:pt x="38815" y="21471"/>
                              <a:pt x="38875" y="21471"/>
                            </a:cubicBezTo>
                            <a:cubicBezTo>
                              <a:pt x="38935" y="21471"/>
                              <a:pt x="38994" y="21411"/>
                              <a:pt x="39054" y="21411"/>
                            </a:cubicBezTo>
                            <a:cubicBezTo>
                              <a:pt x="39114" y="21411"/>
                              <a:pt x="39174" y="21351"/>
                              <a:pt x="39234" y="21351"/>
                            </a:cubicBezTo>
                            <a:lnTo>
                              <a:pt x="40968" y="14653"/>
                            </a:lnTo>
                            <a:cubicBezTo>
                              <a:pt x="40968" y="14533"/>
                              <a:pt x="41028" y="14413"/>
                              <a:pt x="41028" y="14294"/>
                            </a:cubicBezTo>
                            <a:cubicBezTo>
                              <a:pt x="41028" y="14174"/>
                              <a:pt x="41028" y="14055"/>
                              <a:pt x="40968" y="13935"/>
                            </a:cubicBezTo>
                            <a:cubicBezTo>
                              <a:pt x="40908" y="13815"/>
                              <a:pt x="40908" y="13696"/>
                              <a:pt x="40848" y="13636"/>
                            </a:cubicBezTo>
                            <a:cubicBezTo>
                              <a:pt x="40789" y="13516"/>
                              <a:pt x="40729" y="13457"/>
                              <a:pt x="40669" y="13397"/>
                            </a:cubicBezTo>
                            <a:cubicBezTo>
                              <a:pt x="40609" y="13337"/>
                              <a:pt x="40549" y="13277"/>
                              <a:pt x="40430" y="13217"/>
                            </a:cubicBezTo>
                            <a:cubicBezTo>
                              <a:pt x="40370" y="13158"/>
                              <a:pt x="40250" y="13158"/>
                              <a:pt x="40190" y="13158"/>
                            </a:cubicBezTo>
                            <a:cubicBezTo>
                              <a:pt x="40130" y="13158"/>
                              <a:pt x="40011" y="13158"/>
                              <a:pt x="39891" y="13158"/>
                            </a:cubicBezTo>
                            <a:cubicBezTo>
                              <a:pt x="39772" y="13158"/>
                              <a:pt x="39712" y="13158"/>
                              <a:pt x="39592" y="13217"/>
                            </a:cubicBezTo>
                            <a:cubicBezTo>
                              <a:pt x="39473" y="13217"/>
                              <a:pt x="39413" y="13277"/>
                              <a:pt x="39293" y="13337"/>
                            </a:cubicBezTo>
                            <a:cubicBezTo>
                              <a:pt x="39174" y="13397"/>
                              <a:pt x="39114" y="13457"/>
                              <a:pt x="38994" y="13516"/>
                            </a:cubicBezTo>
                            <a:cubicBezTo>
                              <a:pt x="38875" y="13576"/>
                              <a:pt x="38815" y="13636"/>
                              <a:pt x="38695" y="13756"/>
                            </a:cubicBezTo>
                            <a:cubicBezTo>
                              <a:pt x="38635" y="13815"/>
                              <a:pt x="38516" y="13935"/>
                              <a:pt x="38456" y="14055"/>
                            </a:cubicBezTo>
                            <a:lnTo>
                              <a:pt x="38037" y="14772"/>
                            </a:lnTo>
                            <a:lnTo>
                              <a:pt x="34927" y="22308"/>
                            </a:lnTo>
                            <a:moveTo>
                              <a:pt x="24342" y="36064"/>
                            </a:moveTo>
                            <a:lnTo>
                              <a:pt x="24461" y="36183"/>
                            </a:lnTo>
                            <a:lnTo>
                              <a:pt x="31219" y="33432"/>
                            </a:lnTo>
                            <a:lnTo>
                              <a:pt x="35346" y="23145"/>
                            </a:lnTo>
                            <a:cubicBezTo>
                              <a:pt x="35286" y="23145"/>
                              <a:pt x="35227" y="23145"/>
                              <a:pt x="35107" y="23205"/>
                            </a:cubicBezTo>
                            <a:cubicBezTo>
                              <a:pt x="35047" y="23205"/>
                              <a:pt x="34987" y="23205"/>
                              <a:pt x="34868" y="23205"/>
                            </a:cubicBezTo>
                            <a:cubicBezTo>
                              <a:pt x="34808" y="23205"/>
                              <a:pt x="34748" y="23205"/>
                              <a:pt x="34628" y="23205"/>
                            </a:cubicBezTo>
                            <a:cubicBezTo>
                              <a:pt x="34568" y="23205"/>
                              <a:pt x="34509" y="23205"/>
                              <a:pt x="34389" y="23205"/>
                            </a:cubicBezTo>
                            <a:lnTo>
                              <a:pt x="30561" y="32774"/>
                            </a:lnTo>
                            <a:lnTo>
                              <a:pt x="24760" y="35107"/>
                            </a:lnTo>
                            <a:lnTo>
                              <a:pt x="7416" y="19437"/>
                            </a:lnTo>
                            <a:lnTo>
                              <a:pt x="8732" y="12739"/>
                            </a:lnTo>
                            <a:lnTo>
                              <a:pt x="7416" y="19437"/>
                            </a:lnTo>
                            <a:lnTo>
                              <a:pt x="15789" y="27033"/>
                            </a:lnTo>
                            <a:lnTo>
                              <a:pt x="15191" y="27810"/>
                            </a:lnTo>
                            <a:lnTo>
                              <a:pt x="24342" y="36064"/>
                            </a:lnTo>
                            <a:moveTo>
                              <a:pt x="10406" y="32774"/>
                            </a:moveTo>
                            <a:lnTo>
                              <a:pt x="10406" y="32774"/>
                            </a:lnTo>
                            <a:lnTo>
                              <a:pt x="10167" y="32535"/>
                            </a:lnTo>
                            <a:lnTo>
                              <a:pt x="6878" y="29605"/>
                            </a:lnTo>
                            <a:lnTo>
                              <a:pt x="4366" y="27332"/>
                            </a:lnTo>
                            <a:lnTo>
                              <a:pt x="0" y="23444"/>
                            </a:lnTo>
                            <a:lnTo>
                              <a:pt x="3170" y="9808"/>
                            </a:lnTo>
                            <a:lnTo>
                              <a:pt x="0" y="23444"/>
                            </a:lnTo>
                            <a:lnTo>
                              <a:pt x="10406" y="32774"/>
                            </a:lnTo>
                            <a:moveTo>
                              <a:pt x="21889" y="44437"/>
                            </a:moveTo>
                            <a:lnTo>
                              <a:pt x="22009" y="44556"/>
                            </a:lnTo>
                            <a:lnTo>
                              <a:pt x="34748" y="38635"/>
                            </a:lnTo>
                            <a:lnTo>
                              <a:pt x="38935" y="22308"/>
                            </a:lnTo>
                            <a:cubicBezTo>
                              <a:pt x="38875" y="22308"/>
                              <a:pt x="38815" y="22368"/>
                              <a:pt x="38755" y="22368"/>
                            </a:cubicBezTo>
                            <a:cubicBezTo>
                              <a:pt x="38695" y="22368"/>
                              <a:pt x="38635" y="22428"/>
                              <a:pt x="38576" y="22428"/>
                            </a:cubicBezTo>
                            <a:cubicBezTo>
                              <a:pt x="38516" y="22428"/>
                              <a:pt x="38456" y="22488"/>
                              <a:pt x="38396" y="22488"/>
                            </a:cubicBezTo>
                            <a:cubicBezTo>
                              <a:pt x="38336" y="22488"/>
                              <a:pt x="38276" y="22547"/>
                              <a:pt x="38217" y="22547"/>
                            </a:cubicBezTo>
                            <a:lnTo>
                              <a:pt x="34269" y="38037"/>
                            </a:lnTo>
                            <a:lnTo>
                              <a:pt x="22488" y="43480"/>
                            </a:lnTo>
                            <a:lnTo>
                              <a:pt x="11064" y="33193"/>
                            </a:lnTo>
                            <a:lnTo>
                              <a:pt x="10406" y="33970"/>
                            </a:lnTo>
                            <a:lnTo>
                              <a:pt x="16447" y="39413"/>
                            </a:lnTo>
                            <a:lnTo>
                              <a:pt x="21889" y="44437"/>
                            </a:lnTo>
                          </a:path>
                        </a:pathLst>
                      </a:custGeom>
                      <a:noFill/>
                      <a:ln w="6350" cap="flat">
                        <a:solidFill>
                          <a:schemeClr val="bg1">
                            <a:alpha val="40000"/>
                          </a:schemeClr>
                        </a:solidFill>
                        <a:prstDash val="solid"/>
                        <a:miter/>
                      </a:ln>
                    </p:spPr>
                    <p:txBody>
                      <a:bodyPr rtlCol="0" anchor="ctr"/>
                      <a:lstStyle/>
                      <a:p>
                        <a:endParaRPr lang="en-GB"/>
                      </a:p>
                    </p:txBody>
                  </p:sp>
                  <p:sp>
                    <p:nvSpPr>
                      <p:cNvPr id="7577" name="Vrije vorm: vorm 7576">
                        <a:extLst>
                          <a:ext uri="{FF2B5EF4-FFF2-40B4-BE49-F238E27FC236}">
                            <a16:creationId xmlns:a16="http://schemas.microsoft.com/office/drawing/2014/main" id="{BA22C8FD-FC5D-460B-9742-98D4590FDEF2}"/>
                          </a:ext>
                        </a:extLst>
                      </p:cNvPr>
                      <p:cNvSpPr/>
                      <p:nvPr/>
                    </p:nvSpPr>
                    <p:spPr>
                      <a:xfrm>
                        <a:off x="5387573" y="5214033"/>
                        <a:ext cx="26674" cy="35047"/>
                      </a:xfrm>
                      <a:custGeom>
                        <a:avLst/>
                        <a:gdLst>
                          <a:gd name="connsiteX0" fmla="*/ 18241 w 26674"/>
                          <a:gd name="connsiteY0" fmla="*/ 8074 h 35047"/>
                          <a:gd name="connsiteX1" fmla="*/ 25478 w 26674"/>
                          <a:gd name="connsiteY1" fmla="*/ 3230 h 35047"/>
                          <a:gd name="connsiteX2" fmla="*/ 26076 w 26674"/>
                          <a:gd name="connsiteY2" fmla="*/ 2691 h 35047"/>
                          <a:gd name="connsiteX3" fmla="*/ 26495 w 26674"/>
                          <a:gd name="connsiteY3" fmla="*/ 2034 h 35047"/>
                          <a:gd name="connsiteX4" fmla="*/ 26674 w 26674"/>
                          <a:gd name="connsiteY4" fmla="*/ 1376 h 35047"/>
                          <a:gd name="connsiteX5" fmla="*/ 26614 w 26674"/>
                          <a:gd name="connsiteY5" fmla="*/ 718 h 35047"/>
                          <a:gd name="connsiteX6" fmla="*/ 26315 w 26674"/>
                          <a:gd name="connsiteY6" fmla="*/ 239 h 35047"/>
                          <a:gd name="connsiteX7" fmla="*/ 26315 w 26674"/>
                          <a:gd name="connsiteY7" fmla="*/ 239 h 35047"/>
                          <a:gd name="connsiteX8" fmla="*/ 26076 w 26674"/>
                          <a:gd name="connsiteY8" fmla="*/ 60 h 35047"/>
                          <a:gd name="connsiteX9" fmla="*/ 25777 w 26674"/>
                          <a:gd name="connsiteY9" fmla="*/ 0 h 35047"/>
                          <a:gd name="connsiteX10" fmla="*/ 25418 w 26674"/>
                          <a:gd name="connsiteY10" fmla="*/ 0 h 35047"/>
                          <a:gd name="connsiteX11" fmla="*/ 25059 w 26674"/>
                          <a:gd name="connsiteY11" fmla="*/ 120 h 35047"/>
                          <a:gd name="connsiteX12" fmla="*/ 18361 w 26674"/>
                          <a:gd name="connsiteY12" fmla="*/ 3290 h 35047"/>
                          <a:gd name="connsiteX13" fmla="*/ 18361 w 26674"/>
                          <a:gd name="connsiteY13" fmla="*/ 3529 h 35047"/>
                          <a:gd name="connsiteX14" fmla="*/ 18361 w 26674"/>
                          <a:gd name="connsiteY14" fmla="*/ 3768 h 35047"/>
                          <a:gd name="connsiteX15" fmla="*/ 18361 w 26674"/>
                          <a:gd name="connsiteY15" fmla="*/ 4007 h 35047"/>
                          <a:gd name="connsiteX16" fmla="*/ 18361 w 26674"/>
                          <a:gd name="connsiteY16" fmla="*/ 4246 h 35047"/>
                          <a:gd name="connsiteX17" fmla="*/ 18361 w 26674"/>
                          <a:gd name="connsiteY17" fmla="*/ 4246 h 35047"/>
                          <a:gd name="connsiteX18" fmla="*/ 18361 w 26674"/>
                          <a:gd name="connsiteY18" fmla="*/ 4246 h 35047"/>
                          <a:gd name="connsiteX19" fmla="*/ 18361 w 26674"/>
                          <a:gd name="connsiteY19" fmla="*/ 4246 h 35047"/>
                          <a:gd name="connsiteX20" fmla="*/ 18361 w 26674"/>
                          <a:gd name="connsiteY20" fmla="*/ 4246 h 35047"/>
                          <a:gd name="connsiteX21" fmla="*/ 25179 w 26674"/>
                          <a:gd name="connsiteY21" fmla="*/ 1017 h 35047"/>
                          <a:gd name="connsiteX22" fmla="*/ 25777 w 26674"/>
                          <a:gd name="connsiteY22" fmla="*/ 1077 h 35047"/>
                          <a:gd name="connsiteX23" fmla="*/ 25777 w 26674"/>
                          <a:gd name="connsiteY23" fmla="*/ 1077 h 35047"/>
                          <a:gd name="connsiteX24" fmla="*/ 25777 w 26674"/>
                          <a:gd name="connsiteY24" fmla="*/ 1077 h 35047"/>
                          <a:gd name="connsiteX25" fmla="*/ 25777 w 26674"/>
                          <a:gd name="connsiteY25" fmla="*/ 1077 h 35047"/>
                          <a:gd name="connsiteX26" fmla="*/ 25777 w 26674"/>
                          <a:gd name="connsiteY26" fmla="*/ 1077 h 35047"/>
                          <a:gd name="connsiteX27" fmla="*/ 25897 w 26674"/>
                          <a:gd name="connsiteY27" fmla="*/ 1316 h 35047"/>
                          <a:gd name="connsiteX28" fmla="*/ 25897 w 26674"/>
                          <a:gd name="connsiteY28" fmla="*/ 1615 h 35047"/>
                          <a:gd name="connsiteX29" fmla="*/ 25837 w 26674"/>
                          <a:gd name="connsiteY29" fmla="*/ 1914 h 35047"/>
                          <a:gd name="connsiteX30" fmla="*/ 25657 w 26674"/>
                          <a:gd name="connsiteY30" fmla="*/ 2213 h 35047"/>
                          <a:gd name="connsiteX31" fmla="*/ 25358 w 26674"/>
                          <a:gd name="connsiteY31" fmla="*/ 2512 h 35047"/>
                          <a:gd name="connsiteX32" fmla="*/ 18301 w 26674"/>
                          <a:gd name="connsiteY32" fmla="*/ 7237 h 35047"/>
                          <a:gd name="connsiteX33" fmla="*/ 18301 w 26674"/>
                          <a:gd name="connsiteY33" fmla="*/ 7476 h 35047"/>
                          <a:gd name="connsiteX34" fmla="*/ 18301 w 26674"/>
                          <a:gd name="connsiteY34" fmla="*/ 7715 h 35047"/>
                          <a:gd name="connsiteX35" fmla="*/ 18301 w 26674"/>
                          <a:gd name="connsiteY35" fmla="*/ 7954 h 35047"/>
                          <a:gd name="connsiteX36" fmla="*/ 18241 w 26674"/>
                          <a:gd name="connsiteY36" fmla="*/ 8074 h 35047"/>
                          <a:gd name="connsiteX37" fmla="*/ 10885 w 26674"/>
                          <a:gd name="connsiteY37" fmla="*/ 34808 h 35047"/>
                          <a:gd name="connsiteX38" fmla="*/ 11124 w 26674"/>
                          <a:gd name="connsiteY38" fmla="*/ 35047 h 35047"/>
                          <a:gd name="connsiteX39" fmla="*/ 11124 w 26674"/>
                          <a:gd name="connsiteY39" fmla="*/ 35047 h 35047"/>
                          <a:gd name="connsiteX40" fmla="*/ 11124 w 26674"/>
                          <a:gd name="connsiteY40" fmla="*/ 35047 h 35047"/>
                          <a:gd name="connsiteX41" fmla="*/ 11782 w 26674"/>
                          <a:gd name="connsiteY41" fmla="*/ 34270 h 35047"/>
                          <a:gd name="connsiteX42" fmla="*/ 16088 w 26674"/>
                          <a:gd name="connsiteY42" fmla="*/ 28887 h 35047"/>
                          <a:gd name="connsiteX43" fmla="*/ 16686 w 26674"/>
                          <a:gd name="connsiteY43" fmla="*/ 28109 h 35047"/>
                          <a:gd name="connsiteX44" fmla="*/ 8313 w 26674"/>
                          <a:gd name="connsiteY44" fmla="*/ 20514 h 35047"/>
                          <a:gd name="connsiteX45" fmla="*/ 9629 w 26674"/>
                          <a:gd name="connsiteY45" fmla="*/ 13815 h 35047"/>
                          <a:gd name="connsiteX46" fmla="*/ 17404 w 26674"/>
                          <a:gd name="connsiteY46" fmla="*/ 8612 h 35047"/>
                          <a:gd name="connsiteX47" fmla="*/ 17404 w 26674"/>
                          <a:gd name="connsiteY47" fmla="*/ 8373 h 35047"/>
                          <a:gd name="connsiteX48" fmla="*/ 17404 w 26674"/>
                          <a:gd name="connsiteY48" fmla="*/ 8134 h 35047"/>
                          <a:gd name="connsiteX49" fmla="*/ 17404 w 26674"/>
                          <a:gd name="connsiteY49" fmla="*/ 7895 h 35047"/>
                          <a:gd name="connsiteX50" fmla="*/ 17404 w 26674"/>
                          <a:gd name="connsiteY50" fmla="*/ 7655 h 35047"/>
                          <a:gd name="connsiteX51" fmla="*/ 9031 w 26674"/>
                          <a:gd name="connsiteY51" fmla="*/ 13277 h 35047"/>
                          <a:gd name="connsiteX52" fmla="*/ 7536 w 26674"/>
                          <a:gd name="connsiteY52" fmla="*/ 20933 h 35047"/>
                          <a:gd name="connsiteX53" fmla="*/ 15610 w 26674"/>
                          <a:gd name="connsiteY53" fmla="*/ 28289 h 35047"/>
                          <a:gd name="connsiteX54" fmla="*/ 11364 w 26674"/>
                          <a:gd name="connsiteY54" fmla="*/ 33671 h 35047"/>
                          <a:gd name="connsiteX55" fmla="*/ 11364 w 26674"/>
                          <a:gd name="connsiteY55" fmla="*/ 33671 h 35047"/>
                          <a:gd name="connsiteX56" fmla="*/ 1017 w 26674"/>
                          <a:gd name="connsiteY56" fmla="*/ 24282 h 35047"/>
                          <a:gd name="connsiteX57" fmla="*/ 4187 w 26674"/>
                          <a:gd name="connsiteY57" fmla="*/ 10646 h 35047"/>
                          <a:gd name="connsiteX58" fmla="*/ 17404 w 26674"/>
                          <a:gd name="connsiteY58" fmla="*/ 4426 h 35047"/>
                          <a:gd name="connsiteX59" fmla="*/ 17404 w 26674"/>
                          <a:gd name="connsiteY59" fmla="*/ 4366 h 35047"/>
                          <a:gd name="connsiteX60" fmla="*/ 17404 w 26674"/>
                          <a:gd name="connsiteY60" fmla="*/ 4306 h 35047"/>
                          <a:gd name="connsiteX61" fmla="*/ 17404 w 26674"/>
                          <a:gd name="connsiteY61" fmla="*/ 4246 h 35047"/>
                          <a:gd name="connsiteX62" fmla="*/ 17404 w 26674"/>
                          <a:gd name="connsiteY62" fmla="*/ 4187 h 35047"/>
                          <a:gd name="connsiteX63" fmla="*/ 17404 w 26674"/>
                          <a:gd name="connsiteY63" fmla="*/ 4007 h 35047"/>
                          <a:gd name="connsiteX64" fmla="*/ 17404 w 26674"/>
                          <a:gd name="connsiteY64" fmla="*/ 3828 h 35047"/>
                          <a:gd name="connsiteX65" fmla="*/ 17404 w 26674"/>
                          <a:gd name="connsiteY65" fmla="*/ 3649 h 35047"/>
                          <a:gd name="connsiteX66" fmla="*/ 17404 w 26674"/>
                          <a:gd name="connsiteY66" fmla="*/ 3469 h 35047"/>
                          <a:gd name="connsiteX67" fmla="*/ 3708 w 26674"/>
                          <a:gd name="connsiteY67" fmla="*/ 9868 h 35047"/>
                          <a:gd name="connsiteX68" fmla="*/ 3469 w 26674"/>
                          <a:gd name="connsiteY68" fmla="*/ 9988 h 35047"/>
                          <a:gd name="connsiteX69" fmla="*/ 0 w 26674"/>
                          <a:gd name="connsiteY69" fmla="*/ 24760 h 35047"/>
                          <a:gd name="connsiteX70" fmla="*/ 4665 w 26674"/>
                          <a:gd name="connsiteY70" fmla="*/ 28947 h 35047"/>
                          <a:gd name="connsiteX71" fmla="*/ 5203 w 26674"/>
                          <a:gd name="connsiteY71" fmla="*/ 29425 h 35047"/>
                          <a:gd name="connsiteX72" fmla="*/ 7177 w 26674"/>
                          <a:gd name="connsiteY72" fmla="*/ 31220 h 35047"/>
                          <a:gd name="connsiteX73" fmla="*/ 7715 w 26674"/>
                          <a:gd name="connsiteY73" fmla="*/ 31698 h 35047"/>
                          <a:gd name="connsiteX74" fmla="*/ 9928 w 26674"/>
                          <a:gd name="connsiteY74" fmla="*/ 33671 h 35047"/>
                          <a:gd name="connsiteX75" fmla="*/ 10466 w 26674"/>
                          <a:gd name="connsiteY75" fmla="*/ 34150 h 35047"/>
                          <a:gd name="connsiteX76" fmla="*/ 10885 w 26674"/>
                          <a:gd name="connsiteY76" fmla="*/ 34808 h 3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6674" h="35047">
                            <a:moveTo>
                              <a:pt x="18241" y="8074"/>
                            </a:moveTo>
                            <a:lnTo>
                              <a:pt x="25478" y="3230"/>
                            </a:lnTo>
                            <a:lnTo>
                              <a:pt x="26076" y="2691"/>
                            </a:lnTo>
                            <a:cubicBezTo>
                              <a:pt x="26255" y="2512"/>
                              <a:pt x="26375" y="2273"/>
                              <a:pt x="26495" y="2034"/>
                            </a:cubicBezTo>
                            <a:cubicBezTo>
                              <a:pt x="26614" y="1795"/>
                              <a:pt x="26674" y="1555"/>
                              <a:pt x="26674" y="1376"/>
                            </a:cubicBezTo>
                            <a:cubicBezTo>
                              <a:pt x="26674" y="1136"/>
                              <a:pt x="26674" y="957"/>
                              <a:pt x="26614" y="718"/>
                            </a:cubicBezTo>
                            <a:cubicBezTo>
                              <a:pt x="26554" y="479"/>
                              <a:pt x="26435" y="359"/>
                              <a:pt x="26315" y="239"/>
                            </a:cubicBezTo>
                            <a:lnTo>
                              <a:pt x="26315" y="239"/>
                            </a:lnTo>
                            <a:cubicBezTo>
                              <a:pt x="26255" y="180"/>
                              <a:pt x="26136" y="120"/>
                              <a:pt x="26076" y="60"/>
                            </a:cubicBezTo>
                            <a:cubicBezTo>
                              <a:pt x="25956" y="0"/>
                              <a:pt x="25897" y="0"/>
                              <a:pt x="25777" y="0"/>
                            </a:cubicBezTo>
                            <a:cubicBezTo>
                              <a:pt x="25657" y="0"/>
                              <a:pt x="25538" y="0"/>
                              <a:pt x="25418" y="0"/>
                            </a:cubicBezTo>
                            <a:cubicBezTo>
                              <a:pt x="25298" y="0"/>
                              <a:pt x="25179" y="60"/>
                              <a:pt x="25059" y="120"/>
                            </a:cubicBezTo>
                            <a:lnTo>
                              <a:pt x="18361" y="3290"/>
                            </a:lnTo>
                            <a:cubicBezTo>
                              <a:pt x="18361" y="3349"/>
                              <a:pt x="18361" y="3409"/>
                              <a:pt x="18361" y="3529"/>
                            </a:cubicBezTo>
                            <a:cubicBezTo>
                              <a:pt x="18361" y="3589"/>
                              <a:pt x="18361" y="3649"/>
                              <a:pt x="18361" y="3768"/>
                            </a:cubicBezTo>
                            <a:cubicBezTo>
                              <a:pt x="18361" y="3828"/>
                              <a:pt x="18361" y="3888"/>
                              <a:pt x="18361" y="4007"/>
                            </a:cubicBezTo>
                            <a:cubicBezTo>
                              <a:pt x="18361" y="4127"/>
                              <a:pt x="18361" y="4127"/>
                              <a:pt x="18361" y="4246"/>
                            </a:cubicBezTo>
                            <a:cubicBezTo>
                              <a:pt x="18361" y="4246"/>
                              <a:pt x="18361" y="4246"/>
                              <a:pt x="18361" y="4246"/>
                            </a:cubicBezTo>
                            <a:cubicBezTo>
                              <a:pt x="18361" y="4246"/>
                              <a:pt x="18361" y="4246"/>
                              <a:pt x="18361" y="4246"/>
                            </a:cubicBezTo>
                            <a:cubicBezTo>
                              <a:pt x="18361" y="4246"/>
                              <a:pt x="18361" y="4246"/>
                              <a:pt x="18361" y="4246"/>
                            </a:cubicBezTo>
                            <a:cubicBezTo>
                              <a:pt x="18361" y="4246"/>
                              <a:pt x="18361" y="4246"/>
                              <a:pt x="18361" y="4246"/>
                            </a:cubicBezTo>
                            <a:lnTo>
                              <a:pt x="25179" y="1017"/>
                            </a:lnTo>
                            <a:lnTo>
                              <a:pt x="25777" y="1077"/>
                            </a:lnTo>
                            <a:cubicBezTo>
                              <a:pt x="25777" y="1077"/>
                              <a:pt x="25777" y="1077"/>
                              <a:pt x="25777" y="1077"/>
                            </a:cubicBezTo>
                            <a:cubicBezTo>
                              <a:pt x="25777" y="1077"/>
                              <a:pt x="25777" y="1077"/>
                              <a:pt x="25777" y="1077"/>
                            </a:cubicBezTo>
                            <a:cubicBezTo>
                              <a:pt x="25777" y="1077"/>
                              <a:pt x="25777" y="1077"/>
                              <a:pt x="25777" y="1077"/>
                            </a:cubicBezTo>
                            <a:cubicBezTo>
                              <a:pt x="25777" y="1077"/>
                              <a:pt x="25777" y="1077"/>
                              <a:pt x="25777" y="1077"/>
                            </a:cubicBezTo>
                            <a:cubicBezTo>
                              <a:pt x="25837" y="1136"/>
                              <a:pt x="25897" y="1196"/>
                              <a:pt x="25897" y="1316"/>
                            </a:cubicBezTo>
                            <a:cubicBezTo>
                              <a:pt x="25897" y="1376"/>
                              <a:pt x="25897" y="1495"/>
                              <a:pt x="25897" y="1615"/>
                            </a:cubicBezTo>
                            <a:cubicBezTo>
                              <a:pt x="25897" y="1735"/>
                              <a:pt x="25837" y="1795"/>
                              <a:pt x="25837" y="1914"/>
                            </a:cubicBezTo>
                            <a:cubicBezTo>
                              <a:pt x="25777" y="2034"/>
                              <a:pt x="25717" y="2093"/>
                              <a:pt x="25657" y="2213"/>
                            </a:cubicBezTo>
                            <a:lnTo>
                              <a:pt x="25358" y="2512"/>
                            </a:lnTo>
                            <a:lnTo>
                              <a:pt x="18301" y="7237"/>
                            </a:lnTo>
                            <a:cubicBezTo>
                              <a:pt x="18301" y="7297"/>
                              <a:pt x="18301" y="7416"/>
                              <a:pt x="18301" y="7476"/>
                            </a:cubicBezTo>
                            <a:cubicBezTo>
                              <a:pt x="18301" y="7536"/>
                              <a:pt x="18301" y="7596"/>
                              <a:pt x="18301" y="7715"/>
                            </a:cubicBezTo>
                            <a:cubicBezTo>
                              <a:pt x="18301" y="7775"/>
                              <a:pt x="18301" y="7835"/>
                              <a:pt x="18301" y="7954"/>
                            </a:cubicBezTo>
                            <a:cubicBezTo>
                              <a:pt x="18181" y="7954"/>
                              <a:pt x="18181" y="8014"/>
                              <a:pt x="18241" y="8074"/>
                            </a:cubicBezTo>
                            <a:moveTo>
                              <a:pt x="10885" y="34808"/>
                            </a:moveTo>
                            <a:lnTo>
                              <a:pt x="11124" y="35047"/>
                            </a:lnTo>
                            <a:lnTo>
                              <a:pt x="11124" y="35047"/>
                            </a:lnTo>
                            <a:lnTo>
                              <a:pt x="11124" y="35047"/>
                            </a:lnTo>
                            <a:lnTo>
                              <a:pt x="11782" y="34270"/>
                            </a:lnTo>
                            <a:lnTo>
                              <a:pt x="16088" y="28887"/>
                            </a:lnTo>
                            <a:lnTo>
                              <a:pt x="16686" y="28109"/>
                            </a:lnTo>
                            <a:lnTo>
                              <a:pt x="8313" y="20514"/>
                            </a:lnTo>
                            <a:lnTo>
                              <a:pt x="9629" y="13815"/>
                            </a:lnTo>
                            <a:lnTo>
                              <a:pt x="17404" y="8612"/>
                            </a:lnTo>
                            <a:cubicBezTo>
                              <a:pt x="17404" y="8553"/>
                              <a:pt x="17404" y="8493"/>
                              <a:pt x="17404" y="8373"/>
                            </a:cubicBezTo>
                            <a:cubicBezTo>
                              <a:pt x="17404" y="8313"/>
                              <a:pt x="17404" y="8253"/>
                              <a:pt x="17404" y="8134"/>
                            </a:cubicBezTo>
                            <a:cubicBezTo>
                              <a:pt x="17404" y="8074"/>
                              <a:pt x="17404" y="8014"/>
                              <a:pt x="17404" y="7895"/>
                            </a:cubicBezTo>
                            <a:cubicBezTo>
                              <a:pt x="17404" y="7835"/>
                              <a:pt x="17404" y="7715"/>
                              <a:pt x="17404" y="7655"/>
                            </a:cubicBezTo>
                            <a:lnTo>
                              <a:pt x="9031" y="13277"/>
                            </a:lnTo>
                            <a:lnTo>
                              <a:pt x="7536" y="20933"/>
                            </a:lnTo>
                            <a:lnTo>
                              <a:pt x="15610" y="28289"/>
                            </a:lnTo>
                            <a:lnTo>
                              <a:pt x="11364" y="33671"/>
                            </a:lnTo>
                            <a:lnTo>
                              <a:pt x="11364" y="33671"/>
                            </a:lnTo>
                            <a:lnTo>
                              <a:pt x="1017" y="24282"/>
                            </a:lnTo>
                            <a:lnTo>
                              <a:pt x="4187" y="10646"/>
                            </a:lnTo>
                            <a:lnTo>
                              <a:pt x="17404" y="4426"/>
                            </a:lnTo>
                            <a:cubicBezTo>
                              <a:pt x="17404" y="4426"/>
                              <a:pt x="17404" y="4366"/>
                              <a:pt x="17404" y="4366"/>
                            </a:cubicBezTo>
                            <a:cubicBezTo>
                              <a:pt x="17404" y="4366"/>
                              <a:pt x="17404" y="4306"/>
                              <a:pt x="17404" y="4306"/>
                            </a:cubicBezTo>
                            <a:cubicBezTo>
                              <a:pt x="17404" y="4306"/>
                              <a:pt x="17404" y="4246"/>
                              <a:pt x="17404" y="4246"/>
                            </a:cubicBezTo>
                            <a:cubicBezTo>
                              <a:pt x="17404" y="4246"/>
                              <a:pt x="17404" y="4187"/>
                              <a:pt x="17404" y="4187"/>
                            </a:cubicBezTo>
                            <a:cubicBezTo>
                              <a:pt x="17404" y="4127"/>
                              <a:pt x="17404" y="4067"/>
                              <a:pt x="17404" y="4007"/>
                            </a:cubicBezTo>
                            <a:cubicBezTo>
                              <a:pt x="17404" y="3947"/>
                              <a:pt x="17404" y="3888"/>
                              <a:pt x="17404" y="3828"/>
                            </a:cubicBezTo>
                            <a:cubicBezTo>
                              <a:pt x="17404" y="3768"/>
                              <a:pt x="17404" y="3708"/>
                              <a:pt x="17404" y="3649"/>
                            </a:cubicBezTo>
                            <a:cubicBezTo>
                              <a:pt x="17404" y="3589"/>
                              <a:pt x="17404" y="3529"/>
                              <a:pt x="17404" y="3469"/>
                            </a:cubicBezTo>
                            <a:lnTo>
                              <a:pt x="3708" y="9868"/>
                            </a:lnTo>
                            <a:lnTo>
                              <a:pt x="3469" y="9988"/>
                            </a:lnTo>
                            <a:lnTo>
                              <a:pt x="0" y="24760"/>
                            </a:lnTo>
                            <a:lnTo>
                              <a:pt x="4665" y="28947"/>
                            </a:lnTo>
                            <a:lnTo>
                              <a:pt x="5203" y="29425"/>
                            </a:lnTo>
                            <a:lnTo>
                              <a:pt x="7177" y="31220"/>
                            </a:lnTo>
                            <a:lnTo>
                              <a:pt x="7715" y="31698"/>
                            </a:lnTo>
                            <a:lnTo>
                              <a:pt x="9928" y="33671"/>
                            </a:lnTo>
                            <a:lnTo>
                              <a:pt x="10466" y="34150"/>
                            </a:lnTo>
                            <a:lnTo>
                              <a:pt x="10885" y="34808"/>
                            </a:lnTo>
                          </a:path>
                        </a:pathLst>
                      </a:custGeom>
                      <a:noFill/>
                      <a:ln w="6350" cap="flat">
                        <a:solidFill>
                          <a:schemeClr val="bg1">
                            <a:alpha val="40000"/>
                          </a:schemeClr>
                        </a:solidFill>
                        <a:prstDash val="solid"/>
                        <a:miter/>
                      </a:ln>
                    </p:spPr>
                    <p:txBody>
                      <a:bodyPr rtlCol="0" anchor="ctr"/>
                      <a:lstStyle/>
                      <a:p>
                        <a:endParaRPr lang="en-GB"/>
                      </a:p>
                    </p:txBody>
                  </p:sp>
                  <p:sp>
                    <p:nvSpPr>
                      <p:cNvPr id="7578" name="Vrije vorm: vorm 7577">
                        <a:extLst>
                          <a:ext uri="{FF2B5EF4-FFF2-40B4-BE49-F238E27FC236}">
                            <a16:creationId xmlns:a16="http://schemas.microsoft.com/office/drawing/2014/main" id="{E8C72C05-376B-498A-B36A-7176E6971A04}"/>
                          </a:ext>
                        </a:extLst>
                      </p:cNvPr>
                      <p:cNvSpPr/>
                      <p:nvPr/>
                    </p:nvSpPr>
                    <p:spPr>
                      <a:xfrm>
                        <a:off x="5365504" y="5260025"/>
                        <a:ext cx="25418" cy="28408"/>
                      </a:xfrm>
                      <a:custGeom>
                        <a:avLst/>
                        <a:gdLst>
                          <a:gd name="connsiteX0" fmla="*/ 19676 w 25418"/>
                          <a:gd name="connsiteY0" fmla="*/ 13815 h 28408"/>
                          <a:gd name="connsiteX1" fmla="*/ 20215 w 25418"/>
                          <a:gd name="connsiteY1" fmla="*/ 14294 h 28408"/>
                          <a:gd name="connsiteX2" fmla="*/ 25418 w 25418"/>
                          <a:gd name="connsiteY2" fmla="*/ 7715 h 28408"/>
                          <a:gd name="connsiteX3" fmla="*/ 24641 w 25418"/>
                          <a:gd name="connsiteY3" fmla="*/ 6998 h 28408"/>
                          <a:gd name="connsiteX4" fmla="*/ 24102 w 25418"/>
                          <a:gd name="connsiteY4" fmla="*/ 6519 h 28408"/>
                          <a:gd name="connsiteX5" fmla="*/ 21411 w 25418"/>
                          <a:gd name="connsiteY5" fmla="*/ 4187 h 28408"/>
                          <a:gd name="connsiteX6" fmla="*/ 20873 w 25418"/>
                          <a:gd name="connsiteY6" fmla="*/ 3708 h 28408"/>
                          <a:gd name="connsiteX7" fmla="*/ 20335 w 25418"/>
                          <a:gd name="connsiteY7" fmla="*/ 3230 h 28408"/>
                          <a:gd name="connsiteX8" fmla="*/ 21650 w 25418"/>
                          <a:gd name="connsiteY8" fmla="*/ 4366 h 28408"/>
                          <a:gd name="connsiteX9" fmla="*/ 20992 w 25418"/>
                          <a:gd name="connsiteY9" fmla="*/ 5144 h 28408"/>
                          <a:gd name="connsiteX10" fmla="*/ 23504 w 25418"/>
                          <a:gd name="connsiteY10" fmla="*/ 7297 h 28408"/>
                          <a:gd name="connsiteX11" fmla="*/ 24043 w 25418"/>
                          <a:gd name="connsiteY11" fmla="*/ 7775 h 28408"/>
                          <a:gd name="connsiteX12" fmla="*/ 24282 w 25418"/>
                          <a:gd name="connsiteY12" fmla="*/ 8014 h 28408"/>
                          <a:gd name="connsiteX13" fmla="*/ 19676 w 25418"/>
                          <a:gd name="connsiteY13" fmla="*/ 13815 h 28408"/>
                          <a:gd name="connsiteX14" fmla="*/ 11304 w 25418"/>
                          <a:gd name="connsiteY14" fmla="*/ 6639 h 28408"/>
                          <a:gd name="connsiteX15" fmla="*/ 11782 w 25418"/>
                          <a:gd name="connsiteY15" fmla="*/ 7058 h 28408"/>
                          <a:gd name="connsiteX16" fmla="*/ 16387 w 25418"/>
                          <a:gd name="connsiteY16" fmla="*/ 1256 h 28408"/>
                          <a:gd name="connsiteX17" fmla="*/ 16866 w 25418"/>
                          <a:gd name="connsiteY17" fmla="*/ 1675 h 28408"/>
                          <a:gd name="connsiteX18" fmla="*/ 18062 w 25418"/>
                          <a:gd name="connsiteY18" fmla="*/ 2751 h 28408"/>
                          <a:gd name="connsiteX19" fmla="*/ 18720 w 25418"/>
                          <a:gd name="connsiteY19" fmla="*/ 1974 h 28408"/>
                          <a:gd name="connsiteX20" fmla="*/ 19676 w 25418"/>
                          <a:gd name="connsiteY20" fmla="*/ 2811 h 28408"/>
                          <a:gd name="connsiteX21" fmla="*/ 19377 w 25418"/>
                          <a:gd name="connsiteY21" fmla="*/ 2572 h 28408"/>
                          <a:gd name="connsiteX22" fmla="*/ 18839 w 25418"/>
                          <a:gd name="connsiteY22" fmla="*/ 2093 h 28408"/>
                          <a:gd name="connsiteX23" fmla="*/ 17464 w 25418"/>
                          <a:gd name="connsiteY23" fmla="*/ 897 h 28408"/>
                          <a:gd name="connsiteX24" fmla="*/ 16926 w 25418"/>
                          <a:gd name="connsiteY24" fmla="*/ 419 h 28408"/>
                          <a:gd name="connsiteX25" fmla="*/ 16447 w 25418"/>
                          <a:gd name="connsiteY25" fmla="*/ 0 h 28408"/>
                          <a:gd name="connsiteX26" fmla="*/ 11304 w 25418"/>
                          <a:gd name="connsiteY26" fmla="*/ 6639 h 28408"/>
                          <a:gd name="connsiteX27" fmla="*/ 5203 w 25418"/>
                          <a:gd name="connsiteY27" fmla="*/ 25179 h 28408"/>
                          <a:gd name="connsiteX28" fmla="*/ 7596 w 25418"/>
                          <a:gd name="connsiteY28" fmla="*/ 27153 h 28408"/>
                          <a:gd name="connsiteX29" fmla="*/ 7835 w 25418"/>
                          <a:gd name="connsiteY29" fmla="*/ 27332 h 28408"/>
                          <a:gd name="connsiteX30" fmla="*/ 9151 w 25418"/>
                          <a:gd name="connsiteY30" fmla="*/ 28408 h 28408"/>
                          <a:gd name="connsiteX31" fmla="*/ 9988 w 25418"/>
                          <a:gd name="connsiteY31" fmla="*/ 27332 h 28408"/>
                          <a:gd name="connsiteX32" fmla="*/ 10646 w 25418"/>
                          <a:gd name="connsiteY32" fmla="*/ 26435 h 28408"/>
                          <a:gd name="connsiteX33" fmla="*/ 19676 w 25418"/>
                          <a:gd name="connsiteY33" fmla="*/ 15072 h 28408"/>
                          <a:gd name="connsiteX34" fmla="*/ 19138 w 25418"/>
                          <a:gd name="connsiteY34" fmla="*/ 14593 h 28408"/>
                          <a:gd name="connsiteX35" fmla="*/ 10406 w 25418"/>
                          <a:gd name="connsiteY35" fmla="*/ 25717 h 28408"/>
                          <a:gd name="connsiteX36" fmla="*/ 9749 w 25418"/>
                          <a:gd name="connsiteY36" fmla="*/ 26554 h 28408"/>
                          <a:gd name="connsiteX37" fmla="*/ 9270 w 25418"/>
                          <a:gd name="connsiteY37" fmla="*/ 27153 h 28408"/>
                          <a:gd name="connsiteX38" fmla="*/ 5921 w 25418"/>
                          <a:gd name="connsiteY38" fmla="*/ 24342 h 28408"/>
                          <a:gd name="connsiteX39" fmla="*/ 5203 w 25418"/>
                          <a:gd name="connsiteY39" fmla="*/ 25179 h 28408"/>
                          <a:gd name="connsiteX40" fmla="*/ 0 w 25418"/>
                          <a:gd name="connsiteY40" fmla="*/ 20813 h 28408"/>
                          <a:gd name="connsiteX41" fmla="*/ 1256 w 25418"/>
                          <a:gd name="connsiteY41" fmla="*/ 21890 h 28408"/>
                          <a:gd name="connsiteX42" fmla="*/ 1435 w 25418"/>
                          <a:gd name="connsiteY42" fmla="*/ 22069 h 28408"/>
                          <a:gd name="connsiteX43" fmla="*/ 2333 w 25418"/>
                          <a:gd name="connsiteY43" fmla="*/ 22787 h 28408"/>
                          <a:gd name="connsiteX44" fmla="*/ 2990 w 25418"/>
                          <a:gd name="connsiteY44" fmla="*/ 22009 h 28408"/>
                          <a:gd name="connsiteX45" fmla="*/ 1196 w 25418"/>
                          <a:gd name="connsiteY45" fmla="*/ 20514 h 28408"/>
                          <a:gd name="connsiteX46" fmla="*/ 1734 w 25418"/>
                          <a:gd name="connsiteY46" fmla="*/ 19856 h 28408"/>
                          <a:gd name="connsiteX47" fmla="*/ 2392 w 25418"/>
                          <a:gd name="connsiteY47" fmla="*/ 19019 h 28408"/>
                          <a:gd name="connsiteX48" fmla="*/ 10466 w 25418"/>
                          <a:gd name="connsiteY48" fmla="*/ 8792 h 28408"/>
                          <a:gd name="connsiteX49" fmla="*/ 11184 w 25418"/>
                          <a:gd name="connsiteY49" fmla="*/ 7895 h 28408"/>
                          <a:gd name="connsiteX50" fmla="*/ 10646 w 25418"/>
                          <a:gd name="connsiteY50" fmla="*/ 7416 h 28408"/>
                          <a:gd name="connsiteX51" fmla="*/ 1615 w 25418"/>
                          <a:gd name="connsiteY51" fmla="*/ 18839 h 28408"/>
                          <a:gd name="connsiteX52" fmla="*/ 897 w 25418"/>
                          <a:gd name="connsiteY52" fmla="*/ 19737 h 28408"/>
                          <a:gd name="connsiteX53" fmla="*/ 0 w 25418"/>
                          <a:gd name="connsiteY53" fmla="*/ 20813 h 28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418" h="28408">
                            <a:moveTo>
                              <a:pt x="19676" y="13815"/>
                            </a:moveTo>
                            <a:lnTo>
                              <a:pt x="20215" y="14294"/>
                            </a:lnTo>
                            <a:lnTo>
                              <a:pt x="25418" y="7715"/>
                            </a:lnTo>
                            <a:lnTo>
                              <a:pt x="24641" y="6998"/>
                            </a:lnTo>
                            <a:lnTo>
                              <a:pt x="24102" y="6519"/>
                            </a:lnTo>
                            <a:lnTo>
                              <a:pt x="21411" y="4187"/>
                            </a:lnTo>
                            <a:lnTo>
                              <a:pt x="20873" y="3708"/>
                            </a:lnTo>
                            <a:lnTo>
                              <a:pt x="20335" y="3230"/>
                            </a:lnTo>
                            <a:lnTo>
                              <a:pt x="21650" y="4366"/>
                            </a:lnTo>
                            <a:lnTo>
                              <a:pt x="20992" y="5144"/>
                            </a:lnTo>
                            <a:lnTo>
                              <a:pt x="23504" y="7297"/>
                            </a:lnTo>
                            <a:lnTo>
                              <a:pt x="24043" y="7775"/>
                            </a:lnTo>
                            <a:lnTo>
                              <a:pt x="24282" y="8014"/>
                            </a:lnTo>
                            <a:lnTo>
                              <a:pt x="19676" y="13815"/>
                            </a:lnTo>
                            <a:moveTo>
                              <a:pt x="11304" y="6639"/>
                            </a:moveTo>
                            <a:lnTo>
                              <a:pt x="11782" y="7058"/>
                            </a:lnTo>
                            <a:lnTo>
                              <a:pt x="16387" y="1256"/>
                            </a:lnTo>
                            <a:lnTo>
                              <a:pt x="16866" y="1675"/>
                            </a:lnTo>
                            <a:lnTo>
                              <a:pt x="18062" y="2751"/>
                            </a:lnTo>
                            <a:lnTo>
                              <a:pt x="18720" y="1974"/>
                            </a:lnTo>
                            <a:lnTo>
                              <a:pt x="19676" y="2811"/>
                            </a:lnTo>
                            <a:lnTo>
                              <a:pt x="19377" y="2572"/>
                            </a:lnTo>
                            <a:lnTo>
                              <a:pt x="18839" y="2093"/>
                            </a:lnTo>
                            <a:lnTo>
                              <a:pt x="17464" y="897"/>
                            </a:lnTo>
                            <a:lnTo>
                              <a:pt x="16926" y="419"/>
                            </a:lnTo>
                            <a:lnTo>
                              <a:pt x="16447" y="0"/>
                            </a:lnTo>
                            <a:lnTo>
                              <a:pt x="11304" y="6639"/>
                            </a:lnTo>
                            <a:moveTo>
                              <a:pt x="5203" y="25179"/>
                            </a:moveTo>
                            <a:lnTo>
                              <a:pt x="7596" y="27153"/>
                            </a:lnTo>
                            <a:lnTo>
                              <a:pt x="7835" y="27332"/>
                            </a:lnTo>
                            <a:lnTo>
                              <a:pt x="9151" y="28408"/>
                            </a:lnTo>
                            <a:lnTo>
                              <a:pt x="9988" y="27332"/>
                            </a:lnTo>
                            <a:lnTo>
                              <a:pt x="10646" y="26435"/>
                            </a:lnTo>
                            <a:lnTo>
                              <a:pt x="19676" y="15072"/>
                            </a:lnTo>
                            <a:lnTo>
                              <a:pt x="19138" y="14593"/>
                            </a:lnTo>
                            <a:lnTo>
                              <a:pt x="10406" y="25717"/>
                            </a:lnTo>
                            <a:lnTo>
                              <a:pt x="9749" y="26554"/>
                            </a:lnTo>
                            <a:lnTo>
                              <a:pt x="9270" y="27153"/>
                            </a:lnTo>
                            <a:lnTo>
                              <a:pt x="5921" y="24342"/>
                            </a:lnTo>
                            <a:lnTo>
                              <a:pt x="5203" y="25179"/>
                            </a:lnTo>
                            <a:moveTo>
                              <a:pt x="0" y="20813"/>
                            </a:moveTo>
                            <a:lnTo>
                              <a:pt x="1256" y="21890"/>
                            </a:lnTo>
                            <a:lnTo>
                              <a:pt x="1435" y="22069"/>
                            </a:lnTo>
                            <a:lnTo>
                              <a:pt x="2333" y="22787"/>
                            </a:lnTo>
                            <a:lnTo>
                              <a:pt x="2990" y="22009"/>
                            </a:lnTo>
                            <a:lnTo>
                              <a:pt x="1196" y="20514"/>
                            </a:lnTo>
                            <a:lnTo>
                              <a:pt x="1734" y="19856"/>
                            </a:lnTo>
                            <a:lnTo>
                              <a:pt x="2392" y="19019"/>
                            </a:lnTo>
                            <a:lnTo>
                              <a:pt x="10466" y="8792"/>
                            </a:lnTo>
                            <a:lnTo>
                              <a:pt x="11184" y="7895"/>
                            </a:lnTo>
                            <a:lnTo>
                              <a:pt x="10646" y="7416"/>
                            </a:lnTo>
                            <a:lnTo>
                              <a:pt x="1615" y="18839"/>
                            </a:lnTo>
                            <a:lnTo>
                              <a:pt x="897" y="19737"/>
                            </a:lnTo>
                            <a:lnTo>
                              <a:pt x="0" y="20813"/>
                            </a:lnTo>
                          </a:path>
                        </a:pathLst>
                      </a:custGeom>
                      <a:noFill/>
                      <a:ln w="6350" cap="flat">
                        <a:solidFill>
                          <a:schemeClr val="bg1">
                            <a:alpha val="40000"/>
                          </a:schemeClr>
                        </a:solidFill>
                        <a:prstDash val="solid"/>
                        <a:miter/>
                      </a:ln>
                    </p:spPr>
                    <p:txBody>
                      <a:bodyPr rtlCol="0" anchor="ctr"/>
                      <a:lstStyle/>
                      <a:p>
                        <a:endParaRPr lang="en-GB"/>
                      </a:p>
                    </p:txBody>
                  </p:sp>
                  <p:sp>
                    <p:nvSpPr>
                      <p:cNvPr id="7579" name="Vrije vorm: vorm 7578">
                        <a:extLst>
                          <a:ext uri="{FF2B5EF4-FFF2-40B4-BE49-F238E27FC236}">
                            <a16:creationId xmlns:a16="http://schemas.microsoft.com/office/drawing/2014/main" id="{D9AEA5DF-A75A-4B22-ACDE-CCCC70C134E1}"/>
                          </a:ext>
                        </a:extLst>
                      </p:cNvPr>
                      <p:cNvSpPr/>
                      <p:nvPr/>
                    </p:nvSpPr>
                    <p:spPr>
                      <a:xfrm>
                        <a:off x="5367837" y="5261998"/>
                        <a:ext cx="19317" cy="23205"/>
                      </a:xfrm>
                      <a:custGeom>
                        <a:avLst/>
                        <a:gdLst>
                          <a:gd name="connsiteX0" fmla="*/ 13516 w 19317"/>
                          <a:gd name="connsiteY0" fmla="*/ 8552 h 23205"/>
                          <a:gd name="connsiteX1" fmla="*/ 14055 w 19317"/>
                          <a:gd name="connsiteY1" fmla="*/ 9031 h 23205"/>
                          <a:gd name="connsiteX2" fmla="*/ 18660 w 19317"/>
                          <a:gd name="connsiteY2" fmla="*/ 3229 h 23205"/>
                          <a:gd name="connsiteX3" fmla="*/ 19318 w 19317"/>
                          <a:gd name="connsiteY3" fmla="*/ 2452 h 23205"/>
                          <a:gd name="connsiteX4" fmla="*/ 18002 w 19317"/>
                          <a:gd name="connsiteY4" fmla="*/ 1316 h 23205"/>
                          <a:gd name="connsiteX5" fmla="*/ 17344 w 19317"/>
                          <a:gd name="connsiteY5" fmla="*/ 2093 h 23205"/>
                          <a:gd name="connsiteX6" fmla="*/ 17882 w 19317"/>
                          <a:gd name="connsiteY6" fmla="*/ 2572 h 23205"/>
                          <a:gd name="connsiteX7" fmla="*/ 18121 w 19317"/>
                          <a:gd name="connsiteY7" fmla="*/ 2751 h 23205"/>
                          <a:gd name="connsiteX8" fmla="*/ 13516 w 19317"/>
                          <a:gd name="connsiteY8" fmla="*/ 8552 h 23205"/>
                          <a:gd name="connsiteX9" fmla="*/ 11184 w 19317"/>
                          <a:gd name="connsiteY9" fmla="*/ 6579 h 23205"/>
                          <a:gd name="connsiteX10" fmla="*/ 11722 w 19317"/>
                          <a:gd name="connsiteY10" fmla="*/ 7057 h 23205"/>
                          <a:gd name="connsiteX11" fmla="*/ 16327 w 19317"/>
                          <a:gd name="connsiteY11" fmla="*/ 1256 h 23205"/>
                          <a:gd name="connsiteX12" fmla="*/ 16447 w 19317"/>
                          <a:gd name="connsiteY12" fmla="*/ 1375 h 23205"/>
                          <a:gd name="connsiteX13" fmla="*/ 16746 w 19317"/>
                          <a:gd name="connsiteY13" fmla="*/ 1615 h 23205"/>
                          <a:gd name="connsiteX14" fmla="*/ 17404 w 19317"/>
                          <a:gd name="connsiteY14" fmla="*/ 837 h 23205"/>
                          <a:gd name="connsiteX15" fmla="*/ 16447 w 19317"/>
                          <a:gd name="connsiteY15" fmla="*/ 0 h 23205"/>
                          <a:gd name="connsiteX16" fmla="*/ 15789 w 19317"/>
                          <a:gd name="connsiteY16" fmla="*/ 778 h 23205"/>
                          <a:gd name="connsiteX17" fmla="*/ 11184 w 19317"/>
                          <a:gd name="connsiteY17" fmla="*/ 6579 h 23205"/>
                          <a:gd name="connsiteX18" fmla="*/ 0 w 19317"/>
                          <a:gd name="connsiteY18" fmla="*/ 20813 h 23205"/>
                          <a:gd name="connsiteX19" fmla="*/ 2871 w 19317"/>
                          <a:gd name="connsiteY19" fmla="*/ 23205 h 23205"/>
                          <a:gd name="connsiteX20" fmla="*/ 3528 w 19317"/>
                          <a:gd name="connsiteY20" fmla="*/ 22428 h 23205"/>
                          <a:gd name="connsiteX21" fmla="*/ 4844 w 19317"/>
                          <a:gd name="connsiteY21" fmla="*/ 20753 h 23205"/>
                          <a:gd name="connsiteX22" fmla="*/ 5502 w 19317"/>
                          <a:gd name="connsiteY22" fmla="*/ 19916 h 23205"/>
                          <a:gd name="connsiteX23" fmla="*/ 12739 w 19317"/>
                          <a:gd name="connsiteY23" fmla="*/ 10765 h 23205"/>
                          <a:gd name="connsiteX24" fmla="*/ 13397 w 19317"/>
                          <a:gd name="connsiteY24" fmla="*/ 9988 h 23205"/>
                          <a:gd name="connsiteX25" fmla="*/ 13516 w 19317"/>
                          <a:gd name="connsiteY25" fmla="*/ 9868 h 23205"/>
                          <a:gd name="connsiteX26" fmla="*/ 12978 w 19317"/>
                          <a:gd name="connsiteY26" fmla="*/ 9390 h 23205"/>
                          <a:gd name="connsiteX27" fmla="*/ 12260 w 19317"/>
                          <a:gd name="connsiteY27" fmla="*/ 10287 h 23205"/>
                          <a:gd name="connsiteX28" fmla="*/ 12260 w 19317"/>
                          <a:gd name="connsiteY28" fmla="*/ 10287 h 23205"/>
                          <a:gd name="connsiteX29" fmla="*/ 5024 w 19317"/>
                          <a:gd name="connsiteY29" fmla="*/ 19437 h 23205"/>
                          <a:gd name="connsiteX30" fmla="*/ 4366 w 19317"/>
                          <a:gd name="connsiteY30" fmla="*/ 20275 h 23205"/>
                          <a:gd name="connsiteX31" fmla="*/ 3050 w 19317"/>
                          <a:gd name="connsiteY31" fmla="*/ 21949 h 23205"/>
                          <a:gd name="connsiteX32" fmla="*/ 1316 w 19317"/>
                          <a:gd name="connsiteY32" fmla="*/ 20454 h 23205"/>
                          <a:gd name="connsiteX33" fmla="*/ 2512 w 19317"/>
                          <a:gd name="connsiteY33" fmla="*/ 18899 h 23205"/>
                          <a:gd name="connsiteX34" fmla="*/ 3170 w 19317"/>
                          <a:gd name="connsiteY34" fmla="*/ 18062 h 23205"/>
                          <a:gd name="connsiteX35" fmla="*/ 10526 w 19317"/>
                          <a:gd name="connsiteY35" fmla="*/ 8732 h 23205"/>
                          <a:gd name="connsiteX36" fmla="*/ 10526 w 19317"/>
                          <a:gd name="connsiteY36" fmla="*/ 8732 h 23205"/>
                          <a:gd name="connsiteX37" fmla="*/ 11244 w 19317"/>
                          <a:gd name="connsiteY37" fmla="*/ 7835 h 23205"/>
                          <a:gd name="connsiteX38" fmla="*/ 10705 w 19317"/>
                          <a:gd name="connsiteY38" fmla="*/ 7356 h 23205"/>
                          <a:gd name="connsiteX39" fmla="*/ 10645 w 19317"/>
                          <a:gd name="connsiteY39" fmla="*/ 7476 h 23205"/>
                          <a:gd name="connsiteX40" fmla="*/ 9988 w 19317"/>
                          <a:gd name="connsiteY40" fmla="*/ 8253 h 23205"/>
                          <a:gd name="connsiteX41" fmla="*/ 2512 w 19317"/>
                          <a:gd name="connsiteY41" fmla="*/ 17763 h 23205"/>
                          <a:gd name="connsiteX42" fmla="*/ 1854 w 19317"/>
                          <a:gd name="connsiteY42" fmla="*/ 18600 h 23205"/>
                          <a:gd name="connsiteX43" fmla="*/ 778 w 19317"/>
                          <a:gd name="connsiteY43" fmla="*/ 19976 h 23205"/>
                          <a:gd name="connsiteX44" fmla="*/ 0 w 19317"/>
                          <a:gd name="connsiteY44" fmla="*/ 20813 h 2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317" h="23205">
                            <a:moveTo>
                              <a:pt x="13516" y="8552"/>
                            </a:moveTo>
                            <a:lnTo>
                              <a:pt x="14055" y="9031"/>
                            </a:lnTo>
                            <a:lnTo>
                              <a:pt x="18660" y="3229"/>
                            </a:lnTo>
                            <a:lnTo>
                              <a:pt x="19318" y="2452"/>
                            </a:lnTo>
                            <a:lnTo>
                              <a:pt x="18002" y="1316"/>
                            </a:lnTo>
                            <a:lnTo>
                              <a:pt x="17344" y="2093"/>
                            </a:lnTo>
                            <a:lnTo>
                              <a:pt x="17882" y="2572"/>
                            </a:lnTo>
                            <a:lnTo>
                              <a:pt x="18121" y="2751"/>
                            </a:lnTo>
                            <a:lnTo>
                              <a:pt x="13516" y="8552"/>
                            </a:lnTo>
                            <a:moveTo>
                              <a:pt x="11184" y="6579"/>
                            </a:moveTo>
                            <a:lnTo>
                              <a:pt x="11722" y="7057"/>
                            </a:lnTo>
                            <a:lnTo>
                              <a:pt x="16327" y="1256"/>
                            </a:lnTo>
                            <a:lnTo>
                              <a:pt x="16447" y="1375"/>
                            </a:lnTo>
                            <a:lnTo>
                              <a:pt x="16746" y="1615"/>
                            </a:lnTo>
                            <a:lnTo>
                              <a:pt x="17404" y="837"/>
                            </a:lnTo>
                            <a:lnTo>
                              <a:pt x="16447" y="0"/>
                            </a:lnTo>
                            <a:lnTo>
                              <a:pt x="15789" y="778"/>
                            </a:lnTo>
                            <a:lnTo>
                              <a:pt x="11184" y="6579"/>
                            </a:lnTo>
                            <a:moveTo>
                              <a:pt x="0" y="20813"/>
                            </a:moveTo>
                            <a:lnTo>
                              <a:pt x="2871" y="23205"/>
                            </a:lnTo>
                            <a:lnTo>
                              <a:pt x="3528" y="22428"/>
                            </a:lnTo>
                            <a:lnTo>
                              <a:pt x="4844" y="20753"/>
                            </a:lnTo>
                            <a:lnTo>
                              <a:pt x="5502" y="19916"/>
                            </a:lnTo>
                            <a:lnTo>
                              <a:pt x="12739" y="10765"/>
                            </a:lnTo>
                            <a:lnTo>
                              <a:pt x="13397" y="9988"/>
                            </a:lnTo>
                            <a:lnTo>
                              <a:pt x="13516" y="9868"/>
                            </a:lnTo>
                            <a:lnTo>
                              <a:pt x="12978" y="9390"/>
                            </a:lnTo>
                            <a:lnTo>
                              <a:pt x="12260" y="10287"/>
                            </a:lnTo>
                            <a:lnTo>
                              <a:pt x="12260" y="10287"/>
                            </a:lnTo>
                            <a:lnTo>
                              <a:pt x="5024" y="19437"/>
                            </a:lnTo>
                            <a:lnTo>
                              <a:pt x="4366" y="20275"/>
                            </a:lnTo>
                            <a:lnTo>
                              <a:pt x="3050" y="21949"/>
                            </a:lnTo>
                            <a:lnTo>
                              <a:pt x="1316" y="20454"/>
                            </a:lnTo>
                            <a:lnTo>
                              <a:pt x="2512" y="18899"/>
                            </a:lnTo>
                            <a:lnTo>
                              <a:pt x="3170" y="18062"/>
                            </a:lnTo>
                            <a:lnTo>
                              <a:pt x="10526" y="8732"/>
                            </a:lnTo>
                            <a:lnTo>
                              <a:pt x="10526" y="8732"/>
                            </a:lnTo>
                            <a:lnTo>
                              <a:pt x="11244" y="7835"/>
                            </a:lnTo>
                            <a:lnTo>
                              <a:pt x="10705" y="7356"/>
                            </a:lnTo>
                            <a:lnTo>
                              <a:pt x="10645" y="7476"/>
                            </a:lnTo>
                            <a:lnTo>
                              <a:pt x="9988" y="8253"/>
                            </a:lnTo>
                            <a:lnTo>
                              <a:pt x="2512" y="17763"/>
                            </a:lnTo>
                            <a:lnTo>
                              <a:pt x="1854" y="18600"/>
                            </a:lnTo>
                            <a:lnTo>
                              <a:pt x="778" y="19976"/>
                            </a:lnTo>
                            <a:lnTo>
                              <a:pt x="0" y="20813"/>
                            </a:lnTo>
                          </a:path>
                        </a:pathLst>
                      </a:custGeom>
                      <a:noFill/>
                      <a:ln w="6350" cap="flat">
                        <a:solidFill>
                          <a:schemeClr val="bg1">
                            <a:alpha val="40000"/>
                          </a:schemeClr>
                        </a:solidFill>
                        <a:prstDash val="solid"/>
                        <a:miter/>
                      </a:ln>
                    </p:spPr>
                    <p:txBody>
                      <a:bodyPr rtlCol="0" anchor="ctr"/>
                      <a:lstStyle/>
                      <a:p>
                        <a:endParaRPr lang="en-GB"/>
                      </a:p>
                    </p:txBody>
                  </p:sp>
                  <p:sp>
                    <p:nvSpPr>
                      <p:cNvPr id="7580" name="Vrije vorm: vorm 7579">
                        <a:extLst>
                          <a:ext uri="{FF2B5EF4-FFF2-40B4-BE49-F238E27FC236}">
                            <a16:creationId xmlns:a16="http://schemas.microsoft.com/office/drawing/2014/main" id="{58EA7B04-4A7C-4A9E-A881-24059CA6E1BC}"/>
                          </a:ext>
                        </a:extLst>
                      </p:cNvPr>
                      <p:cNvSpPr/>
                      <p:nvPr/>
                    </p:nvSpPr>
                    <p:spPr>
                      <a:xfrm>
                        <a:off x="5373399" y="5254941"/>
                        <a:ext cx="22248" cy="22367"/>
                      </a:xfrm>
                      <a:custGeom>
                        <a:avLst/>
                        <a:gdLst>
                          <a:gd name="connsiteX0" fmla="*/ 0 w 22248"/>
                          <a:gd name="connsiteY0" fmla="*/ 10167 h 22367"/>
                          <a:gd name="connsiteX1" fmla="*/ 2213 w 22248"/>
                          <a:gd name="connsiteY1" fmla="*/ 12021 h 22367"/>
                          <a:gd name="connsiteX2" fmla="*/ 2871 w 22248"/>
                          <a:gd name="connsiteY2" fmla="*/ 11244 h 22367"/>
                          <a:gd name="connsiteX3" fmla="*/ 1196 w 22248"/>
                          <a:gd name="connsiteY3" fmla="*/ 9808 h 22367"/>
                          <a:gd name="connsiteX4" fmla="*/ 8014 w 22248"/>
                          <a:gd name="connsiteY4" fmla="*/ 1256 h 22367"/>
                          <a:gd name="connsiteX5" fmla="*/ 9629 w 22248"/>
                          <a:gd name="connsiteY5" fmla="*/ 2691 h 22367"/>
                          <a:gd name="connsiteX6" fmla="*/ 10227 w 22248"/>
                          <a:gd name="connsiteY6" fmla="*/ 1854 h 22367"/>
                          <a:gd name="connsiteX7" fmla="*/ 14533 w 22248"/>
                          <a:gd name="connsiteY7" fmla="*/ 5622 h 22367"/>
                          <a:gd name="connsiteX8" fmla="*/ 13935 w 22248"/>
                          <a:gd name="connsiteY8" fmla="*/ 6399 h 22367"/>
                          <a:gd name="connsiteX9" fmla="*/ 14473 w 22248"/>
                          <a:gd name="connsiteY9" fmla="*/ 6878 h 22367"/>
                          <a:gd name="connsiteX10" fmla="*/ 15012 w 22248"/>
                          <a:gd name="connsiteY10" fmla="*/ 7356 h 22367"/>
                          <a:gd name="connsiteX11" fmla="*/ 17763 w 22248"/>
                          <a:gd name="connsiteY11" fmla="*/ 9689 h 22367"/>
                          <a:gd name="connsiteX12" fmla="*/ 18301 w 22248"/>
                          <a:gd name="connsiteY12" fmla="*/ 10167 h 22367"/>
                          <a:gd name="connsiteX13" fmla="*/ 21112 w 22248"/>
                          <a:gd name="connsiteY13" fmla="*/ 12619 h 22367"/>
                          <a:gd name="connsiteX14" fmla="*/ 14354 w 22248"/>
                          <a:gd name="connsiteY14" fmla="*/ 21112 h 22367"/>
                          <a:gd name="connsiteX15" fmla="*/ 12380 w 22248"/>
                          <a:gd name="connsiteY15" fmla="*/ 19377 h 22367"/>
                          <a:gd name="connsiteX16" fmla="*/ 11782 w 22248"/>
                          <a:gd name="connsiteY16" fmla="*/ 18899 h 22367"/>
                          <a:gd name="connsiteX17" fmla="*/ 11543 w 22248"/>
                          <a:gd name="connsiteY17" fmla="*/ 18660 h 22367"/>
                          <a:gd name="connsiteX18" fmla="*/ 10945 w 22248"/>
                          <a:gd name="connsiteY18" fmla="*/ 18181 h 22367"/>
                          <a:gd name="connsiteX19" fmla="*/ 8493 w 22248"/>
                          <a:gd name="connsiteY19" fmla="*/ 16088 h 22367"/>
                          <a:gd name="connsiteX20" fmla="*/ 7954 w 22248"/>
                          <a:gd name="connsiteY20" fmla="*/ 15610 h 22367"/>
                          <a:gd name="connsiteX21" fmla="*/ 7715 w 22248"/>
                          <a:gd name="connsiteY21" fmla="*/ 15370 h 22367"/>
                          <a:gd name="connsiteX22" fmla="*/ 7177 w 22248"/>
                          <a:gd name="connsiteY22" fmla="*/ 14952 h 22367"/>
                          <a:gd name="connsiteX23" fmla="*/ 6579 w 22248"/>
                          <a:gd name="connsiteY23" fmla="*/ 15729 h 22367"/>
                          <a:gd name="connsiteX24" fmla="*/ 7057 w 22248"/>
                          <a:gd name="connsiteY24" fmla="*/ 16208 h 22367"/>
                          <a:gd name="connsiteX25" fmla="*/ 7296 w 22248"/>
                          <a:gd name="connsiteY25" fmla="*/ 16387 h 22367"/>
                          <a:gd name="connsiteX26" fmla="*/ 7835 w 22248"/>
                          <a:gd name="connsiteY26" fmla="*/ 16866 h 22367"/>
                          <a:gd name="connsiteX27" fmla="*/ 10347 w 22248"/>
                          <a:gd name="connsiteY27" fmla="*/ 19019 h 22367"/>
                          <a:gd name="connsiteX28" fmla="*/ 10885 w 22248"/>
                          <a:gd name="connsiteY28" fmla="*/ 19437 h 22367"/>
                          <a:gd name="connsiteX29" fmla="*/ 11184 w 22248"/>
                          <a:gd name="connsiteY29" fmla="*/ 19736 h 22367"/>
                          <a:gd name="connsiteX30" fmla="*/ 11722 w 22248"/>
                          <a:gd name="connsiteY30" fmla="*/ 20215 h 22367"/>
                          <a:gd name="connsiteX31" fmla="*/ 14294 w 22248"/>
                          <a:gd name="connsiteY31" fmla="*/ 22368 h 22367"/>
                          <a:gd name="connsiteX32" fmla="*/ 22248 w 22248"/>
                          <a:gd name="connsiteY32" fmla="*/ 12320 h 22367"/>
                          <a:gd name="connsiteX33" fmla="*/ 18899 w 22248"/>
                          <a:gd name="connsiteY33" fmla="*/ 9390 h 22367"/>
                          <a:gd name="connsiteX34" fmla="*/ 18361 w 22248"/>
                          <a:gd name="connsiteY34" fmla="*/ 8911 h 22367"/>
                          <a:gd name="connsiteX35" fmla="*/ 15669 w 22248"/>
                          <a:gd name="connsiteY35" fmla="*/ 6579 h 22367"/>
                          <a:gd name="connsiteX36" fmla="*/ 15131 w 22248"/>
                          <a:gd name="connsiteY36" fmla="*/ 6100 h 22367"/>
                          <a:gd name="connsiteX37" fmla="*/ 13756 w 22248"/>
                          <a:gd name="connsiteY37" fmla="*/ 4904 h 22367"/>
                          <a:gd name="connsiteX38" fmla="*/ 13218 w 22248"/>
                          <a:gd name="connsiteY38" fmla="*/ 4426 h 22367"/>
                          <a:gd name="connsiteX39" fmla="*/ 11842 w 22248"/>
                          <a:gd name="connsiteY39" fmla="*/ 3229 h 22367"/>
                          <a:gd name="connsiteX40" fmla="*/ 11244 w 22248"/>
                          <a:gd name="connsiteY40" fmla="*/ 2751 h 22367"/>
                          <a:gd name="connsiteX41" fmla="*/ 8074 w 22248"/>
                          <a:gd name="connsiteY41" fmla="*/ 0 h 22367"/>
                          <a:gd name="connsiteX42" fmla="*/ 0 w 22248"/>
                          <a:gd name="connsiteY42" fmla="*/ 10167 h 2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248" h="22367">
                            <a:moveTo>
                              <a:pt x="0" y="10167"/>
                            </a:moveTo>
                            <a:lnTo>
                              <a:pt x="2213" y="12021"/>
                            </a:lnTo>
                            <a:lnTo>
                              <a:pt x="2871" y="11244"/>
                            </a:lnTo>
                            <a:lnTo>
                              <a:pt x="1196" y="9808"/>
                            </a:lnTo>
                            <a:lnTo>
                              <a:pt x="8014" y="1256"/>
                            </a:lnTo>
                            <a:lnTo>
                              <a:pt x="9629" y="2691"/>
                            </a:lnTo>
                            <a:lnTo>
                              <a:pt x="10227" y="1854"/>
                            </a:lnTo>
                            <a:lnTo>
                              <a:pt x="14533" y="5622"/>
                            </a:lnTo>
                            <a:lnTo>
                              <a:pt x="13935" y="6399"/>
                            </a:lnTo>
                            <a:lnTo>
                              <a:pt x="14473" y="6878"/>
                            </a:lnTo>
                            <a:lnTo>
                              <a:pt x="15012" y="7356"/>
                            </a:lnTo>
                            <a:lnTo>
                              <a:pt x="17763" y="9689"/>
                            </a:lnTo>
                            <a:lnTo>
                              <a:pt x="18301" y="10167"/>
                            </a:lnTo>
                            <a:lnTo>
                              <a:pt x="21112" y="12619"/>
                            </a:lnTo>
                            <a:lnTo>
                              <a:pt x="14354" y="21112"/>
                            </a:lnTo>
                            <a:lnTo>
                              <a:pt x="12380" y="19377"/>
                            </a:lnTo>
                            <a:lnTo>
                              <a:pt x="11782" y="18899"/>
                            </a:lnTo>
                            <a:lnTo>
                              <a:pt x="11543" y="18660"/>
                            </a:lnTo>
                            <a:lnTo>
                              <a:pt x="10945" y="18181"/>
                            </a:lnTo>
                            <a:lnTo>
                              <a:pt x="8493" y="16088"/>
                            </a:lnTo>
                            <a:lnTo>
                              <a:pt x="7954" y="15610"/>
                            </a:lnTo>
                            <a:lnTo>
                              <a:pt x="7715" y="15370"/>
                            </a:lnTo>
                            <a:lnTo>
                              <a:pt x="7177" y="14952"/>
                            </a:lnTo>
                            <a:lnTo>
                              <a:pt x="6579" y="15729"/>
                            </a:lnTo>
                            <a:lnTo>
                              <a:pt x="7057" y="16208"/>
                            </a:lnTo>
                            <a:lnTo>
                              <a:pt x="7296" y="16387"/>
                            </a:lnTo>
                            <a:lnTo>
                              <a:pt x="7835" y="16866"/>
                            </a:lnTo>
                            <a:lnTo>
                              <a:pt x="10347" y="19019"/>
                            </a:lnTo>
                            <a:lnTo>
                              <a:pt x="10885" y="19437"/>
                            </a:lnTo>
                            <a:lnTo>
                              <a:pt x="11184" y="19736"/>
                            </a:lnTo>
                            <a:lnTo>
                              <a:pt x="11722" y="20215"/>
                            </a:lnTo>
                            <a:lnTo>
                              <a:pt x="14294" y="22368"/>
                            </a:lnTo>
                            <a:lnTo>
                              <a:pt x="22248" y="12320"/>
                            </a:lnTo>
                            <a:lnTo>
                              <a:pt x="18899" y="9390"/>
                            </a:lnTo>
                            <a:lnTo>
                              <a:pt x="18361" y="8911"/>
                            </a:lnTo>
                            <a:lnTo>
                              <a:pt x="15669" y="6579"/>
                            </a:lnTo>
                            <a:lnTo>
                              <a:pt x="15131" y="6100"/>
                            </a:lnTo>
                            <a:lnTo>
                              <a:pt x="13756" y="4904"/>
                            </a:lnTo>
                            <a:lnTo>
                              <a:pt x="13218" y="4426"/>
                            </a:lnTo>
                            <a:lnTo>
                              <a:pt x="11842" y="3229"/>
                            </a:lnTo>
                            <a:lnTo>
                              <a:pt x="11244" y="2751"/>
                            </a:lnTo>
                            <a:lnTo>
                              <a:pt x="8074" y="0"/>
                            </a:lnTo>
                            <a:lnTo>
                              <a:pt x="0" y="10167"/>
                            </a:lnTo>
                          </a:path>
                        </a:pathLst>
                      </a:custGeom>
                      <a:noFill/>
                      <a:ln w="6350" cap="flat">
                        <a:solidFill>
                          <a:schemeClr val="bg1">
                            <a:alpha val="40000"/>
                          </a:schemeClr>
                        </a:solidFill>
                        <a:prstDash val="solid"/>
                        <a:miter/>
                      </a:ln>
                    </p:spPr>
                    <p:txBody>
                      <a:bodyPr rtlCol="0" anchor="ctr"/>
                      <a:lstStyle/>
                      <a:p>
                        <a:endParaRPr lang="en-GB"/>
                      </a:p>
                    </p:txBody>
                  </p:sp>
                  <p:sp>
                    <p:nvSpPr>
                      <p:cNvPr id="7581" name="Vrije vorm: vorm 7580">
                        <a:extLst>
                          <a:ext uri="{FF2B5EF4-FFF2-40B4-BE49-F238E27FC236}">
                            <a16:creationId xmlns:a16="http://schemas.microsoft.com/office/drawing/2014/main" id="{ECAB3928-1357-4377-BC68-452951CC2FBA}"/>
                          </a:ext>
                        </a:extLst>
                      </p:cNvPr>
                      <p:cNvSpPr/>
                      <p:nvPr/>
                    </p:nvSpPr>
                    <p:spPr>
                      <a:xfrm>
                        <a:off x="5375612" y="5256795"/>
                        <a:ext cx="12380" cy="13875"/>
                      </a:xfrm>
                      <a:custGeom>
                        <a:avLst/>
                        <a:gdLst>
                          <a:gd name="connsiteX0" fmla="*/ 8971 w 12380"/>
                          <a:gd name="connsiteY0" fmla="*/ 6818 h 13875"/>
                          <a:gd name="connsiteX1" fmla="*/ 4366 w 12380"/>
                          <a:gd name="connsiteY1" fmla="*/ 12619 h 13875"/>
                          <a:gd name="connsiteX2" fmla="*/ 1136 w 12380"/>
                          <a:gd name="connsiteY2" fmla="*/ 9868 h 13875"/>
                          <a:gd name="connsiteX3" fmla="*/ 6340 w 12380"/>
                          <a:gd name="connsiteY3" fmla="*/ 3229 h 13875"/>
                          <a:gd name="connsiteX4" fmla="*/ 7895 w 12380"/>
                          <a:gd name="connsiteY4" fmla="*/ 1256 h 13875"/>
                          <a:gd name="connsiteX5" fmla="*/ 8373 w 12380"/>
                          <a:gd name="connsiteY5" fmla="*/ 1675 h 13875"/>
                          <a:gd name="connsiteX6" fmla="*/ 8911 w 12380"/>
                          <a:gd name="connsiteY6" fmla="*/ 2153 h 13875"/>
                          <a:gd name="connsiteX7" fmla="*/ 10287 w 12380"/>
                          <a:gd name="connsiteY7" fmla="*/ 3349 h 13875"/>
                          <a:gd name="connsiteX8" fmla="*/ 10825 w 12380"/>
                          <a:gd name="connsiteY8" fmla="*/ 3828 h 13875"/>
                          <a:gd name="connsiteX9" fmla="*/ 11064 w 12380"/>
                          <a:gd name="connsiteY9" fmla="*/ 4067 h 13875"/>
                          <a:gd name="connsiteX10" fmla="*/ 9510 w 12380"/>
                          <a:gd name="connsiteY10" fmla="*/ 6041 h 13875"/>
                          <a:gd name="connsiteX11" fmla="*/ 8971 w 12380"/>
                          <a:gd name="connsiteY11" fmla="*/ 6818 h 13875"/>
                          <a:gd name="connsiteX12" fmla="*/ 0 w 12380"/>
                          <a:gd name="connsiteY12" fmla="*/ 10167 h 13875"/>
                          <a:gd name="connsiteX13" fmla="*/ 479 w 12380"/>
                          <a:gd name="connsiteY13" fmla="*/ 10586 h 13875"/>
                          <a:gd name="connsiteX14" fmla="*/ 1017 w 12380"/>
                          <a:gd name="connsiteY14" fmla="*/ 11064 h 13875"/>
                          <a:gd name="connsiteX15" fmla="*/ 1495 w 12380"/>
                          <a:gd name="connsiteY15" fmla="*/ 11483 h 13875"/>
                          <a:gd name="connsiteX16" fmla="*/ 2751 w 12380"/>
                          <a:gd name="connsiteY16" fmla="*/ 12559 h 13875"/>
                          <a:gd name="connsiteX17" fmla="*/ 3289 w 12380"/>
                          <a:gd name="connsiteY17" fmla="*/ 13038 h 13875"/>
                          <a:gd name="connsiteX18" fmla="*/ 3409 w 12380"/>
                          <a:gd name="connsiteY18" fmla="*/ 13098 h 13875"/>
                          <a:gd name="connsiteX19" fmla="*/ 4306 w 12380"/>
                          <a:gd name="connsiteY19" fmla="*/ 13875 h 13875"/>
                          <a:gd name="connsiteX20" fmla="*/ 4964 w 12380"/>
                          <a:gd name="connsiteY20" fmla="*/ 13098 h 13875"/>
                          <a:gd name="connsiteX21" fmla="*/ 9510 w 12380"/>
                          <a:gd name="connsiteY21" fmla="*/ 7297 h 13875"/>
                          <a:gd name="connsiteX22" fmla="*/ 10167 w 12380"/>
                          <a:gd name="connsiteY22" fmla="*/ 6519 h 13875"/>
                          <a:gd name="connsiteX23" fmla="*/ 11722 w 12380"/>
                          <a:gd name="connsiteY23" fmla="*/ 4545 h 13875"/>
                          <a:gd name="connsiteX24" fmla="*/ 12380 w 12380"/>
                          <a:gd name="connsiteY24" fmla="*/ 3768 h 13875"/>
                          <a:gd name="connsiteX25" fmla="*/ 8074 w 12380"/>
                          <a:gd name="connsiteY25" fmla="*/ 0 h 13875"/>
                          <a:gd name="connsiteX26" fmla="*/ 7416 w 12380"/>
                          <a:gd name="connsiteY26" fmla="*/ 778 h 13875"/>
                          <a:gd name="connsiteX27" fmla="*/ 658 w 12380"/>
                          <a:gd name="connsiteY27" fmla="*/ 9330 h 13875"/>
                          <a:gd name="connsiteX28" fmla="*/ 0 w 12380"/>
                          <a:gd name="connsiteY28" fmla="*/ 10167 h 1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380" h="13875">
                            <a:moveTo>
                              <a:pt x="8971" y="6818"/>
                            </a:moveTo>
                            <a:lnTo>
                              <a:pt x="4366" y="12619"/>
                            </a:lnTo>
                            <a:lnTo>
                              <a:pt x="1136" y="9868"/>
                            </a:lnTo>
                            <a:lnTo>
                              <a:pt x="6340" y="3229"/>
                            </a:lnTo>
                            <a:lnTo>
                              <a:pt x="7895" y="1256"/>
                            </a:lnTo>
                            <a:lnTo>
                              <a:pt x="8373" y="1675"/>
                            </a:lnTo>
                            <a:lnTo>
                              <a:pt x="8911" y="2153"/>
                            </a:lnTo>
                            <a:lnTo>
                              <a:pt x="10287" y="3349"/>
                            </a:lnTo>
                            <a:lnTo>
                              <a:pt x="10825" y="3828"/>
                            </a:lnTo>
                            <a:lnTo>
                              <a:pt x="11064" y="4067"/>
                            </a:lnTo>
                            <a:lnTo>
                              <a:pt x="9510" y="6041"/>
                            </a:lnTo>
                            <a:lnTo>
                              <a:pt x="8971" y="6818"/>
                            </a:lnTo>
                            <a:moveTo>
                              <a:pt x="0" y="10167"/>
                            </a:moveTo>
                            <a:lnTo>
                              <a:pt x="479" y="10586"/>
                            </a:lnTo>
                            <a:lnTo>
                              <a:pt x="1017" y="11064"/>
                            </a:lnTo>
                            <a:lnTo>
                              <a:pt x="1495" y="11483"/>
                            </a:lnTo>
                            <a:lnTo>
                              <a:pt x="2751" y="12559"/>
                            </a:lnTo>
                            <a:lnTo>
                              <a:pt x="3289" y="13038"/>
                            </a:lnTo>
                            <a:lnTo>
                              <a:pt x="3409" y="13098"/>
                            </a:lnTo>
                            <a:lnTo>
                              <a:pt x="4306" y="13875"/>
                            </a:lnTo>
                            <a:lnTo>
                              <a:pt x="4964" y="13098"/>
                            </a:lnTo>
                            <a:lnTo>
                              <a:pt x="9510" y="7297"/>
                            </a:lnTo>
                            <a:lnTo>
                              <a:pt x="10167" y="6519"/>
                            </a:lnTo>
                            <a:lnTo>
                              <a:pt x="11722" y="4545"/>
                            </a:lnTo>
                            <a:lnTo>
                              <a:pt x="12380" y="3768"/>
                            </a:lnTo>
                            <a:lnTo>
                              <a:pt x="8074" y="0"/>
                            </a:lnTo>
                            <a:lnTo>
                              <a:pt x="7416" y="778"/>
                            </a:lnTo>
                            <a:lnTo>
                              <a:pt x="658" y="9330"/>
                            </a:lnTo>
                            <a:lnTo>
                              <a:pt x="0" y="10167"/>
                            </a:lnTo>
                          </a:path>
                        </a:pathLst>
                      </a:custGeom>
                      <a:noFill/>
                      <a:ln w="6350" cap="flat">
                        <a:solidFill>
                          <a:schemeClr val="bg1">
                            <a:alpha val="40000"/>
                          </a:schemeClr>
                        </a:solidFill>
                        <a:prstDash val="solid"/>
                        <a:miter/>
                      </a:ln>
                    </p:spPr>
                    <p:txBody>
                      <a:bodyPr rtlCol="0" anchor="ctr"/>
                      <a:lstStyle/>
                      <a:p>
                        <a:endParaRPr lang="en-GB"/>
                      </a:p>
                    </p:txBody>
                  </p:sp>
                </p:grpSp>
                <p:sp>
                  <p:nvSpPr>
                    <p:cNvPr id="7367" name="Vrije vorm: vorm 7366">
                      <a:extLst>
                        <a:ext uri="{FF2B5EF4-FFF2-40B4-BE49-F238E27FC236}">
                          <a16:creationId xmlns:a16="http://schemas.microsoft.com/office/drawing/2014/main" id="{2B51F2C3-A25A-4760-9C29-7104EA0C018B}"/>
                        </a:ext>
                      </a:extLst>
                    </p:cNvPr>
                    <p:cNvSpPr/>
                    <p:nvPr/>
                  </p:nvSpPr>
                  <p:spPr>
                    <a:xfrm>
                      <a:off x="4645844" y="5170015"/>
                      <a:ext cx="706263" cy="444726"/>
                    </a:xfrm>
                    <a:custGeom>
                      <a:avLst/>
                      <a:gdLst>
                        <a:gd name="connsiteX0" fmla="*/ 0 w 706263"/>
                        <a:gd name="connsiteY0" fmla="*/ 44736 h 444726"/>
                        <a:gd name="connsiteX1" fmla="*/ 682221 w 706263"/>
                        <a:gd name="connsiteY1" fmla="*/ 444726 h 444726"/>
                        <a:gd name="connsiteX2" fmla="*/ 706264 w 706263"/>
                        <a:gd name="connsiteY2" fmla="*/ 414225 h 444726"/>
                        <a:gd name="connsiteX3" fmla="*/ 35346 w 706263"/>
                        <a:gd name="connsiteY3" fmla="*/ 0 h 444726"/>
                        <a:gd name="connsiteX4" fmla="*/ 0 w 706263"/>
                        <a:gd name="connsiteY4" fmla="*/ 44736 h 44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263" h="444726">
                          <a:moveTo>
                            <a:pt x="0" y="44736"/>
                          </a:moveTo>
                          <a:lnTo>
                            <a:pt x="682221" y="444726"/>
                          </a:lnTo>
                          <a:lnTo>
                            <a:pt x="706264" y="414225"/>
                          </a:lnTo>
                          <a:lnTo>
                            <a:pt x="35346" y="0"/>
                          </a:lnTo>
                          <a:lnTo>
                            <a:pt x="0" y="44736"/>
                          </a:lnTo>
                        </a:path>
                      </a:pathLst>
                    </a:custGeom>
                    <a:noFill/>
                    <a:ln w="6350" cap="flat">
                      <a:solidFill>
                        <a:schemeClr val="bg1">
                          <a:alpha val="40000"/>
                        </a:schemeClr>
                      </a:solidFill>
                      <a:prstDash val="solid"/>
                      <a:miter/>
                    </a:ln>
                  </p:spPr>
                  <p:txBody>
                    <a:bodyPr rtlCol="0" anchor="ctr"/>
                    <a:lstStyle/>
                    <a:p>
                      <a:endParaRPr lang="en-GB"/>
                    </a:p>
                  </p:txBody>
                </p:sp>
                <p:sp>
                  <p:nvSpPr>
                    <p:cNvPr id="7368" name="Vrije vorm: vorm 7367">
                      <a:extLst>
                        <a:ext uri="{FF2B5EF4-FFF2-40B4-BE49-F238E27FC236}">
                          <a16:creationId xmlns:a16="http://schemas.microsoft.com/office/drawing/2014/main" id="{EBCBE49A-A274-478F-A7AD-16117395D37B}"/>
                        </a:ext>
                      </a:extLst>
                    </p:cNvPr>
                    <p:cNvSpPr/>
                    <p:nvPr/>
                  </p:nvSpPr>
                  <p:spPr>
                    <a:xfrm>
                      <a:off x="4651406" y="5178029"/>
                      <a:ext cx="706263" cy="444726"/>
                    </a:xfrm>
                    <a:custGeom>
                      <a:avLst/>
                      <a:gdLst>
                        <a:gd name="connsiteX0" fmla="*/ 0 w 706263"/>
                        <a:gd name="connsiteY0" fmla="*/ 44736 h 444726"/>
                        <a:gd name="connsiteX1" fmla="*/ 682221 w 706263"/>
                        <a:gd name="connsiteY1" fmla="*/ 444726 h 444726"/>
                        <a:gd name="connsiteX2" fmla="*/ 706263 w 706263"/>
                        <a:gd name="connsiteY2" fmla="*/ 414225 h 444726"/>
                        <a:gd name="connsiteX3" fmla="*/ 35286 w 706263"/>
                        <a:gd name="connsiteY3" fmla="*/ 0 h 444726"/>
                        <a:gd name="connsiteX4" fmla="*/ 0 w 706263"/>
                        <a:gd name="connsiteY4" fmla="*/ 44736 h 44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263" h="444726">
                          <a:moveTo>
                            <a:pt x="0" y="44736"/>
                          </a:moveTo>
                          <a:lnTo>
                            <a:pt x="682221" y="444726"/>
                          </a:lnTo>
                          <a:lnTo>
                            <a:pt x="706263" y="414225"/>
                          </a:lnTo>
                          <a:lnTo>
                            <a:pt x="35286" y="0"/>
                          </a:lnTo>
                          <a:lnTo>
                            <a:pt x="0" y="44736"/>
                          </a:lnTo>
                        </a:path>
                      </a:pathLst>
                    </a:custGeom>
                    <a:noFill/>
                    <a:ln w="6350" cap="flat">
                      <a:solidFill>
                        <a:schemeClr val="bg1">
                          <a:alpha val="40000"/>
                        </a:schemeClr>
                      </a:solidFill>
                      <a:prstDash val="solid"/>
                      <a:miter/>
                    </a:ln>
                  </p:spPr>
                  <p:txBody>
                    <a:bodyPr rtlCol="0" anchor="ctr"/>
                    <a:lstStyle/>
                    <a:p>
                      <a:endParaRPr lang="en-GB"/>
                    </a:p>
                  </p:txBody>
                </p:sp>
              </p:grpSp>
              <p:sp>
                <p:nvSpPr>
                  <p:cNvPr id="7357" name="Vrije vorm: vorm 7356">
                    <a:extLst>
                      <a:ext uri="{FF2B5EF4-FFF2-40B4-BE49-F238E27FC236}">
                        <a16:creationId xmlns:a16="http://schemas.microsoft.com/office/drawing/2014/main" id="{AB0FF39D-FB6E-4278-9858-97C8C7E9426D}"/>
                      </a:ext>
                    </a:extLst>
                  </p:cNvPr>
                  <p:cNvSpPr/>
                  <p:nvPr/>
                </p:nvSpPr>
                <p:spPr>
                  <a:xfrm>
                    <a:off x="4918481" y="4613971"/>
                    <a:ext cx="36148" cy="26271"/>
                  </a:xfrm>
                  <a:custGeom>
                    <a:avLst/>
                    <a:gdLst>
                      <a:gd name="connsiteX0" fmla="*/ 144 w 36148"/>
                      <a:gd name="connsiteY0" fmla="*/ 26272 h 26271"/>
                      <a:gd name="connsiteX1" fmla="*/ 6962 w 36148"/>
                      <a:gd name="connsiteY1" fmla="*/ 5818 h 26271"/>
                      <a:gd name="connsiteX2" fmla="*/ 36148 w 36148"/>
                      <a:gd name="connsiteY2" fmla="*/ 4681 h 26271"/>
                    </a:gdLst>
                    <a:ahLst/>
                    <a:cxnLst>
                      <a:cxn ang="0">
                        <a:pos x="connsiteX0" y="connsiteY0"/>
                      </a:cxn>
                      <a:cxn ang="0">
                        <a:pos x="connsiteX1" y="connsiteY1"/>
                      </a:cxn>
                      <a:cxn ang="0">
                        <a:pos x="connsiteX2" y="connsiteY2"/>
                      </a:cxn>
                    </a:cxnLst>
                    <a:rect l="l" t="t" r="r" b="b"/>
                    <a:pathLst>
                      <a:path w="36148" h="26271">
                        <a:moveTo>
                          <a:pt x="144" y="26272"/>
                        </a:moveTo>
                        <a:cubicBezTo>
                          <a:pt x="144" y="26272"/>
                          <a:pt x="-1590" y="13712"/>
                          <a:pt x="6962" y="5818"/>
                        </a:cubicBezTo>
                        <a:cubicBezTo>
                          <a:pt x="15515" y="-2077"/>
                          <a:pt x="25921" y="-1419"/>
                          <a:pt x="36148" y="4681"/>
                        </a:cubicBezTo>
                      </a:path>
                    </a:pathLst>
                  </a:custGeom>
                  <a:noFill/>
                  <a:ln w="6350" cap="flat">
                    <a:solidFill>
                      <a:schemeClr val="bg1">
                        <a:alpha val="40000"/>
                      </a:schemeClr>
                    </a:solidFill>
                    <a:prstDash val="solid"/>
                    <a:miter/>
                  </a:ln>
                </p:spPr>
                <p:txBody>
                  <a:bodyPr rtlCol="0" anchor="ctr"/>
                  <a:lstStyle/>
                  <a:p>
                    <a:endParaRPr lang="en-GB"/>
                  </a:p>
                </p:txBody>
              </p:sp>
              <p:grpSp>
                <p:nvGrpSpPr>
                  <p:cNvPr id="7358" name="Graphic 3">
                    <a:extLst>
                      <a:ext uri="{FF2B5EF4-FFF2-40B4-BE49-F238E27FC236}">
                        <a16:creationId xmlns:a16="http://schemas.microsoft.com/office/drawing/2014/main" id="{38D5B970-FBD1-4B2E-8B4D-0B76B7C5805A}"/>
                      </a:ext>
                    </a:extLst>
                  </p:cNvPr>
                  <p:cNvGrpSpPr/>
                  <p:nvPr/>
                </p:nvGrpSpPr>
                <p:grpSpPr>
                  <a:xfrm>
                    <a:off x="5251301" y="4711795"/>
                    <a:ext cx="411262" cy="529187"/>
                    <a:chOff x="5251301" y="4711795"/>
                    <a:chExt cx="411262" cy="529187"/>
                  </a:xfrm>
                  <a:noFill/>
                </p:grpSpPr>
                <p:sp>
                  <p:nvSpPr>
                    <p:cNvPr id="7359" name="Vrije vorm: vorm 7358">
                      <a:extLst>
                        <a:ext uri="{FF2B5EF4-FFF2-40B4-BE49-F238E27FC236}">
                          <a16:creationId xmlns:a16="http://schemas.microsoft.com/office/drawing/2014/main" id="{943D9227-54BC-4AE6-BD5F-4E24D08BFB3E}"/>
                        </a:ext>
                      </a:extLst>
                    </p:cNvPr>
                    <p:cNvSpPr/>
                    <p:nvPr/>
                  </p:nvSpPr>
                  <p:spPr>
                    <a:xfrm>
                      <a:off x="5630112" y="5210576"/>
                      <a:ext cx="25676" cy="23429"/>
                    </a:xfrm>
                    <a:custGeom>
                      <a:avLst/>
                      <a:gdLst>
                        <a:gd name="connsiteX0" fmla="*/ 2910 w 25676"/>
                        <a:gd name="connsiteY0" fmla="*/ 16017 h 23429"/>
                        <a:gd name="connsiteX1" fmla="*/ 4705 w 25676"/>
                        <a:gd name="connsiteY1" fmla="*/ 826 h 23429"/>
                        <a:gd name="connsiteX2" fmla="*/ 22766 w 25676"/>
                        <a:gd name="connsiteY2" fmla="*/ 7405 h 23429"/>
                        <a:gd name="connsiteX3" fmla="*/ 20972 w 25676"/>
                        <a:gd name="connsiteY3" fmla="*/ 22596 h 23429"/>
                        <a:gd name="connsiteX4" fmla="*/ 2910 w 25676"/>
                        <a:gd name="connsiteY4" fmla="*/ 16017 h 2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76" h="23429">
                          <a:moveTo>
                            <a:pt x="2910" y="16017"/>
                          </a:moveTo>
                          <a:cubicBezTo>
                            <a:pt x="-1575" y="9976"/>
                            <a:pt x="-798" y="3218"/>
                            <a:pt x="4705" y="826"/>
                          </a:cubicBezTo>
                          <a:cubicBezTo>
                            <a:pt x="10207" y="-1566"/>
                            <a:pt x="18281" y="1424"/>
                            <a:pt x="22766" y="7405"/>
                          </a:cubicBezTo>
                          <a:cubicBezTo>
                            <a:pt x="27252" y="13385"/>
                            <a:pt x="26474" y="20204"/>
                            <a:pt x="20972" y="22596"/>
                          </a:cubicBezTo>
                          <a:cubicBezTo>
                            <a:pt x="15470" y="24988"/>
                            <a:pt x="7396" y="22058"/>
                            <a:pt x="2910" y="16017"/>
                          </a:cubicBezTo>
                          <a:close/>
                        </a:path>
                      </a:pathLst>
                    </a:custGeom>
                    <a:noFill/>
                    <a:ln w="6350" cap="flat">
                      <a:solidFill>
                        <a:schemeClr val="bg1">
                          <a:alpha val="40000"/>
                        </a:schemeClr>
                      </a:solidFill>
                      <a:prstDash val="solid"/>
                      <a:miter/>
                    </a:ln>
                  </p:spPr>
                  <p:txBody>
                    <a:bodyPr rtlCol="0" anchor="ctr"/>
                    <a:lstStyle/>
                    <a:p>
                      <a:endParaRPr lang="en-GB"/>
                    </a:p>
                  </p:txBody>
                </p:sp>
                <p:sp>
                  <p:nvSpPr>
                    <p:cNvPr id="7360" name="Vrije vorm: vorm 7359">
                      <a:extLst>
                        <a:ext uri="{FF2B5EF4-FFF2-40B4-BE49-F238E27FC236}">
                          <a16:creationId xmlns:a16="http://schemas.microsoft.com/office/drawing/2014/main" id="{5F6F366F-5DD1-47C1-BF95-E338CAE4F263}"/>
                        </a:ext>
                      </a:extLst>
                    </p:cNvPr>
                    <p:cNvSpPr/>
                    <p:nvPr/>
                  </p:nvSpPr>
                  <p:spPr>
                    <a:xfrm>
                      <a:off x="5251301" y="4711795"/>
                      <a:ext cx="411262" cy="529187"/>
                    </a:xfrm>
                    <a:custGeom>
                      <a:avLst/>
                      <a:gdLst>
                        <a:gd name="connsiteX0" fmla="*/ 405883 w 411262"/>
                        <a:gd name="connsiteY0" fmla="*/ 499666 h 529187"/>
                        <a:gd name="connsiteX1" fmla="*/ 41956 w 411262"/>
                        <a:gd name="connsiteY1" fmla="*/ 13673 h 529187"/>
                        <a:gd name="connsiteX2" fmla="*/ 8644 w 411262"/>
                        <a:gd name="connsiteY2" fmla="*/ 1532 h 529187"/>
                        <a:gd name="connsiteX3" fmla="*/ 5354 w 411262"/>
                        <a:gd name="connsiteY3" fmla="*/ 29522 h 529187"/>
                        <a:gd name="connsiteX4" fmla="*/ 369281 w 411262"/>
                        <a:gd name="connsiteY4" fmla="*/ 515515 h 529187"/>
                        <a:gd name="connsiteX5" fmla="*/ 402594 w 411262"/>
                        <a:gd name="connsiteY5" fmla="*/ 527656 h 529187"/>
                        <a:gd name="connsiteX6" fmla="*/ 405883 w 411262"/>
                        <a:gd name="connsiteY6" fmla="*/ 499666 h 529187"/>
                        <a:gd name="connsiteX7" fmla="*/ 373886 w 411262"/>
                        <a:gd name="connsiteY7" fmla="*/ 513482 h 529187"/>
                        <a:gd name="connsiteX8" fmla="*/ 9959 w 411262"/>
                        <a:gd name="connsiteY8" fmla="*/ 27488 h 529187"/>
                        <a:gd name="connsiteX9" fmla="*/ 12411 w 411262"/>
                        <a:gd name="connsiteY9" fmla="*/ 6496 h 529187"/>
                        <a:gd name="connsiteX10" fmla="*/ 37411 w 411262"/>
                        <a:gd name="connsiteY10" fmla="*/ 15646 h 529187"/>
                        <a:gd name="connsiteX11" fmla="*/ 401338 w 411262"/>
                        <a:gd name="connsiteY11" fmla="*/ 501640 h 529187"/>
                        <a:gd name="connsiteX12" fmla="*/ 398886 w 411262"/>
                        <a:gd name="connsiteY12" fmla="*/ 522632 h 529187"/>
                        <a:gd name="connsiteX13" fmla="*/ 373886 w 411262"/>
                        <a:gd name="connsiteY13" fmla="*/ 513482 h 52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1262" h="529187">
                          <a:moveTo>
                            <a:pt x="405883" y="499666"/>
                          </a:moveTo>
                          <a:lnTo>
                            <a:pt x="41956" y="13673"/>
                          </a:lnTo>
                          <a:cubicBezTo>
                            <a:pt x="33703" y="2608"/>
                            <a:pt x="18751" y="-2894"/>
                            <a:pt x="8644" y="1532"/>
                          </a:cubicBezTo>
                          <a:cubicBezTo>
                            <a:pt x="-1464" y="5898"/>
                            <a:pt x="-2899" y="18458"/>
                            <a:pt x="5354" y="29522"/>
                          </a:cubicBezTo>
                          <a:lnTo>
                            <a:pt x="369281" y="515515"/>
                          </a:lnTo>
                          <a:cubicBezTo>
                            <a:pt x="377535" y="526579"/>
                            <a:pt x="392487" y="532082"/>
                            <a:pt x="402594" y="527656"/>
                          </a:cubicBezTo>
                          <a:cubicBezTo>
                            <a:pt x="412702" y="523290"/>
                            <a:pt x="414197" y="510731"/>
                            <a:pt x="405883" y="499666"/>
                          </a:cubicBezTo>
                          <a:close/>
                          <a:moveTo>
                            <a:pt x="373886" y="513482"/>
                          </a:moveTo>
                          <a:lnTo>
                            <a:pt x="9959" y="27488"/>
                          </a:lnTo>
                          <a:cubicBezTo>
                            <a:pt x="3740" y="19175"/>
                            <a:pt x="4816" y="9785"/>
                            <a:pt x="12411" y="6496"/>
                          </a:cubicBezTo>
                          <a:cubicBezTo>
                            <a:pt x="20007" y="3206"/>
                            <a:pt x="31191" y="7333"/>
                            <a:pt x="37411" y="15646"/>
                          </a:cubicBezTo>
                          <a:lnTo>
                            <a:pt x="401338" y="501640"/>
                          </a:lnTo>
                          <a:cubicBezTo>
                            <a:pt x="407558" y="509953"/>
                            <a:pt x="406481" y="519343"/>
                            <a:pt x="398886" y="522632"/>
                          </a:cubicBezTo>
                          <a:cubicBezTo>
                            <a:pt x="391290" y="525922"/>
                            <a:pt x="380106" y="521855"/>
                            <a:pt x="373886" y="513482"/>
                          </a:cubicBezTo>
                          <a:close/>
                        </a:path>
                      </a:pathLst>
                    </a:custGeom>
                    <a:noFill/>
                    <a:ln w="6350" cap="flat">
                      <a:solidFill>
                        <a:schemeClr val="bg1">
                          <a:alpha val="40000"/>
                        </a:schemeClr>
                      </a:solidFill>
                      <a:prstDash val="solid"/>
                      <a:miter/>
                    </a:ln>
                  </p:spPr>
                  <p:txBody>
                    <a:bodyPr rtlCol="0" anchor="ctr"/>
                    <a:lstStyle/>
                    <a:p>
                      <a:endParaRPr lang="en-GB"/>
                    </a:p>
                  </p:txBody>
                </p:sp>
                <p:sp>
                  <p:nvSpPr>
                    <p:cNvPr id="7361" name="Vrije vorm: vorm 7360">
                      <a:extLst>
                        <a:ext uri="{FF2B5EF4-FFF2-40B4-BE49-F238E27FC236}">
                          <a16:creationId xmlns:a16="http://schemas.microsoft.com/office/drawing/2014/main" id="{781A5477-2B76-408B-8612-5E84B2AB4D5E}"/>
                        </a:ext>
                      </a:extLst>
                    </p:cNvPr>
                    <p:cNvSpPr/>
                    <p:nvPr/>
                  </p:nvSpPr>
                  <p:spPr>
                    <a:xfrm>
                      <a:off x="5561692" y="5120319"/>
                      <a:ext cx="25676" cy="23429"/>
                    </a:xfrm>
                    <a:custGeom>
                      <a:avLst/>
                      <a:gdLst>
                        <a:gd name="connsiteX0" fmla="*/ 22766 w 25676"/>
                        <a:gd name="connsiteY0" fmla="*/ 7412 h 23429"/>
                        <a:gd name="connsiteX1" fmla="*/ 4705 w 25676"/>
                        <a:gd name="connsiteY1" fmla="*/ 834 h 23429"/>
                        <a:gd name="connsiteX2" fmla="*/ 2910 w 25676"/>
                        <a:gd name="connsiteY2" fmla="*/ 16024 h 23429"/>
                        <a:gd name="connsiteX3" fmla="*/ 20972 w 25676"/>
                        <a:gd name="connsiteY3" fmla="*/ 22603 h 23429"/>
                        <a:gd name="connsiteX4" fmla="*/ 22766 w 25676"/>
                        <a:gd name="connsiteY4" fmla="*/ 7412 h 2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76" h="23429">
                          <a:moveTo>
                            <a:pt x="22766" y="7412"/>
                          </a:moveTo>
                          <a:cubicBezTo>
                            <a:pt x="18281" y="1372"/>
                            <a:pt x="10207" y="-1559"/>
                            <a:pt x="4705" y="834"/>
                          </a:cubicBezTo>
                          <a:cubicBezTo>
                            <a:pt x="-798" y="3226"/>
                            <a:pt x="-1575" y="9984"/>
                            <a:pt x="2910" y="16024"/>
                          </a:cubicBezTo>
                          <a:cubicBezTo>
                            <a:pt x="7396" y="22005"/>
                            <a:pt x="15470" y="24996"/>
                            <a:pt x="20972" y="22603"/>
                          </a:cubicBezTo>
                          <a:cubicBezTo>
                            <a:pt x="26474" y="20211"/>
                            <a:pt x="27252" y="13393"/>
                            <a:pt x="22766" y="7412"/>
                          </a:cubicBezTo>
                          <a:close/>
                        </a:path>
                      </a:pathLst>
                    </a:custGeom>
                    <a:noFill/>
                    <a:ln w="6350" cap="flat">
                      <a:solidFill>
                        <a:schemeClr val="bg1">
                          <a:alpha val="40000"/>
                        </a:schemeClr>
                      </a:solidFill>
                      <a:prstDash val="solid"/>
                      <a:miter/>
                    </a:ln>
                  </p:spPr>
                  <p:txBody>
                    <a:bodyPr rtlCol="0" anchor="ctr"/>
                    <a:lstStyle/>
                    <a:p>
                      <a:endParaRPr lang="en-GB"/>
                    </a:p>
                  </p:txBody>
                </p:sp>
                <p:sp>
                  <p:nvSpPr>
                    <p:cNvPr id="7362" name="Vrije vorm: vorm 7361">
                      <a:extLst>
                        <a:ext uri="{FF2B5EF4-FFF2-40B4-BE49-F238E27FC236}">
                          <a16:creationId xmlns:a16="http://schemas.microsoft.com/office/drawing/2014/main" id="{DC8C8B6A-6F30-4C81-8408-6A6425014C19}"/>
                        </a:ext>
                      </a:extLst>
                    </p:cNvPr>
                    <p:cNvSpPr/>
                    <p:nvPr/>
                  </p:nvSpPr>
                  <p:spPr>
                    <a:xfrm>
                      <a:off x="5489386" y="5023499"/>
                      <a:ext cx="25676" cy="23429"/>
                    </a:xfrm>
                    <a:custGeom>
                      <a:avLst/>
                      <a:gdLst>
                        <a:gd name="connsiteX0" fmla="*/ 22766 w 25676"/>
                        <a:gd name="connsiteY0" fmla="*/ 7405 h 23429"/>
                        <a:gd name="connsiteX1" fmla="*/ 4704 w 25676"/>
                        <a:gd name="connsiteY1" fmla="*/ 826 h 23429"/>
                        <a:gd name="connsiteX2" fmla="*/ 2910 w 25676"/>
                        <a:gd name="connsiteY2" fmla="*/ 16017 h 23429"/>
                        <a:gd name="connsiteX3" fmla="*/ 20972 w 25676"/>
                        <a:gd name="connsiteY3" fmla="*/ 22596 h 23429"/>
                        <a:gd name="connsiteX4" fmla="*/ 22766 w 25676"/>
                        <a:gd name="connsiteY4" fmla="*/ 7405 h 2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76" h="23429">
                          <a:moveTo>
                            <a:pt x="22766" y="7405"/>
                          </a:moveTo>
                          <a:cubicBezTo>
                            <a:pt x="18281" y="1424"/>
                            <a:pt x="10207" y="-1567"/>
                            <a:pt x="4704" y="826"/>
                          </a:cubicBezTo>
                          <a:cubicBezTo>
                            <a:pt x="-798" y="3218"/>
                            <a:pt x="-1575" y="9976"/>
                            <a:pt x="2910" y="16017"/>
                          </a:cubicBezTo>
                          <a:cubicBezTo>
                            <a:pt x="7396" y="22057"/>
                            <a:pt x="15470" y="24988"/>
                            <a:pt x="20972" y="22596"/>
                          </a:cubicBezTo>
                          <a:cubicBezTo>
                            <a:pt x="26474" y="20203"/>
                            <a:pt x="27252" y="13445"/>
                            <a:pt x="22766" y="7405"/>
                          </a:cubicBezTo>
                          <a:close/>
                        </a:path>
                      </a:pathLst>
                    </a:custGeom>
                    <a:noFill/>
                    <a:ln w="6350" cap="flat">
                      <a:solidFill>
                        <a:schemeClr val="bg1">
                          <a:alpha val="40000"/>
                        </a:schemeClr>
                      </a:solidFill>
                      <a:prstDash val="solid"/>
                      <a:miter/>
                    </a:ln>
                  </p:spPr>
                  <p:txBody>
                    <a:bodyPr rtlCol="0" anchor="ctr"/>
                    <a:lstStyle/>
                    <a:p>
                      <a:endParaRPr lang="en-GB"/>
                    </a:p>
                  </p:txBody>
                </p:sp>
                <p:sp>
                  <p:nvSpPr>
                    <p:cNvPr id="7363" name="Vrije vorm: vorm 7362">
                      <a:extLst>
                        <a:ext uri="{FF2B5EF4-FFF2-40B4-BE49-F238E27FC236}">
                          <a16:creationId xmlns:a16="http://schemas.microsoft.com/office/drawing/2014/main" id="{B7BE91E6-1182-4716-BFD9-B1A2B8CCAEA6}"/>
                        </a:ext>
                      </a:extLst>
                    </p:cNvPr>
                    <p:cNvSpPr/>
                    <p:nvPr/>
                  </p:nvSpPr>
                  <p:spPr>
                    <a:xfrm>
                      <a:off x="5416241" y="4925594"/>
                      <a:ext cx="25676" cy="23421"/>
                    </a:xfrm>
                    <a:custGeom>
                      <a:avLst/>
                      <a:gdLst>
                        <a:gd name="connsiteX0" fmla="*/ 22766 w 25676"/>
                        <a:gd name="connsiteY0" fmla="*/ 7405 h 23421"/>
                        <a:gd name="connsiteX1" fmla="*/ 4704 w 25676"/>
                        <a:gd name="connsiteY1" fmla="*/ 826 h 23421"/>
                        <a:gd name="connsiteX2" fmla="*/ 2910 w 25676"/>
                        <a:gd name="connsiteY2" fmla="*/ 16017 h 23421"/>
                        <a:gd name="connsiteX3" fmla="*/ 20972 w 25676"/>
                        <a:gd name="connsiteY3" fmla="*/ 22596 h 23421"/>
                        <a:gd name="connsiteX4" fmla="*/ 22766 w 25676"/>
                        <a:gd name="connsiteY4" fmla="*/ 7405 h 23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76" h="23421">
                          <a:moveTo>
                            <a:pt x="22766" y="7405"/>
                          </a:moveTo>
                          <a:cubicBezTo>
                            <a:pt x="18280" y="1424"/>
                            <a:pt x="10207" y="-1567"/>
                            <a:pt x="4704" y="826"/>
                          </a:cubicBezTo>
                          <a:cubicBezTo>
                            <a:pt x="-798" y="3218"/>
                            <a:pt x="-1575" y="9976"/>
                            <a:pt x="2910" y="16017"/>
                          </a:cubicBezTo>
                          <a:cubicBezTo>
                            <a:pt x="7396" y="21998"/>
                            <a:pt x="15470" y="24988"/>
                            <a:pt x="20972" y="22596"/>
                          </a:cubicBezTo>
                          <a:cubicBezTo>
                            <a:pt x="26474" y="20203"/>
                            <a:pt x="27251" y="13385"/>
                            <a:pt x="22766" y="7405"/>
                          </a:cubicBezTo>
                          <a:close/>
                        </a:path>
                      </a:pathLst>
                    </a:custGeom>
                    <a:noFill/>
                    <a:ln w="6350" cap="flat">
                      <a:solidFill>
                        <a:schemeClr val="bg1">
                          <a:alpha val="40000"/>
                        </a:schemeClr>
                      </a:solidFill>
                      <a:prstDash val="solid"/>
                      <a:miter/>
                    </a:ln>
                  </p:spPr>
                  <p:txBody>
                    <a:bodyPr rtlCol="0" anchor="ctr"/>
                    <a:lstStyle/>
                    <a:p>
                      <a:endParaRPr lang="en-GB"/>
                    </a:p>
                  </p:txBody>
                </p:sp>
                <p:sp>
                  <p:nvSpPr>
                    <p:cNvPr id="7364" name="Vrije vorm: vorm 7363">
                      <a:extLst>
                        <a:ext uri="{FF2B5EF4-FFF2-40B4-BE49-F238E27FC236}">
                          <a16:creationId xmlns:a16="http://schemas.microsoft.com/office/drawing/2014/main" id="{413FFFB9-E9FF-4E67-A8BC-D4D5DC8B32B1}"/>
                        </a:ext>
                      </a:extLst>
                    </p:cNvPr>
                    <p:cNvSpPr/>
                    <p:nvPr/>
                  </p:nvSpPr>
                  <p:spPr>
                    <a:xfrm>
                      <a:off x="5343097" y="4827630"/>
                      <a:ext cx="25676" cy="23421"/>
                    </a:xfrm>
                    <a:custGeom>
                      <a:avLst/>
                      <a:gdLst>
                        <a:gd name="connsiteX0" fmla="*/ 22766 w 25676"/>
                        <a:gd name="connsiteY0" fmla="*/ 7405 h 23421"/>
                        <a:gd name="connsiteX1" fmla="*/ 4704 w 25676"/>
                        <a:gd name="connsiteY1" fmla="*/ 826 h 23421"/>
                        <a:gd name="connsiteX2" fmla="*/ 2910 w 25676"/>
                        <a:gd name="connsiteY2" fmla="*/ 16017 h 23421"/>
                        <a:gd name="connsiteX3" fmla="*/ 20972 w 25676"/>
                        <a:gd name="connsiteY3" fmla="*/ 22596 h 23421"/>
                        <a:gd name="connsiteX4" fmla="*/ 22766 w 25676"/>
                        <a:gd name="connsiteY4" fmla="*/ 7405 h 23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76" h="23421">
                          <a:moveTo>
                            <a:pt x="22766" y="7405"/>
                          </a:moveTo>
                          <a:cubicBezTo>
                            <a:pt x="18281" y="1424"/>
                            <a:pt x="10207" y="-1567"/>
                            <a:pt x="4704" y="826"/>
                          </a:cubicBezTo>
                          <a:cubicBezTo>
                            <a:pt x="-798" y="3218"/>
                            <a:pt x="-1575" y="9976"/>
                            <a:pt x="2910" y="16017"/>
                          </a:cubicBezTo>
                          <a:cubicBezTo>
                            <a:pt x="7396" y="21998"/>
                            <a:pt x="15470" y="24988"/>
                            <a:pt x="20972" y="22596"/>
                          </a:cubicBezTo>
                          <a:cubicBezTo>
                            <a:pt x="26474" y="20203"/>
                            <a:pt x="27252" y="13445"/>
                            <a:pt x="22766" y="7405"/>
                          </a:cubicBezTo>
                          <a:close/>
                        </a:path>
                      </a:pathLst>
                    </a:custGeom>
                    <a:noFill/>
                    <a:ln w="6350" cap="flat">
                      <a:solidFill>
                        <a:schemeClr val="bg1">
                          <a:alpha val="40000"/>
                        </a:schemeClr>
                      </a:solidFill>
                      <a:prstDash val="solid"/>
                      <a:miter/>
                    </a:ln>
                  </p:spPr>
                  <p:txBody>
                    <a:bodyPr rtlCol="0" anchor="ctr"/>
                    <a:lstStyle/>
                    <a:p>
                      <a:endParaRPr lang="en-GB"/>
                    </a:p>
                  </p:txBody>
                </p:sp>
                <p:sp>
                  <p:nvSpPr>
                    <p:cNvPr id="7365" name="Vrije vorm: vorm 7364">
                      <a:extLst>
                        <a:ext uri="{FF2B5EF4-FFF2-40B4-BE49-F238E27FC236}">
                          <a16:creationId xmlns:a16="http://schemas.microsoft.com/office/drawing/2014/main" id="{68EEE699-6DD4-471F-ABC0-95D0C52F2238}"/>
                        </a:ext>
                      </a:extLst>
                    </p:cNvPr>
                    <p:cNvSpPr/>
                    <p:nvPr/>
                  </p:nvSpPr>
                  <p:spPr>
                    <a:xfrm>
                      <a:off x="5267919" y="4726975"/>
                      <a:ext cx="25657" cy="23429"/>
                    </a:xfrm>
                    <a:custGeom>
                      <a:avLst/>
                      <a:gdLst>
                        <a:gd name="connsiteX0" fmla="*/ 22766 w 25657"/>
                        <a:gd name="connsiteY0" fmla="*/ 7405 h 23429"/>
                        <a:gd name="connsiteX1" fmla="*/ 4705 w 25657"/>
                        <a:gd name="connsiteY1" fmla="*/ 826 h 23429"/>
                        <a:gd name="connsiteX2" fmla="*/ 2910 w 25657"/>
                        <a:gd name="connsiteY2" fmla="*/ 16017 h 23429"/>
                        <a:gd name="connsiteX3" fmla="*/ 20972 w 25657"/>
                        <a:gd name="connsiteY3" fmla="*/ 22596 h 23429"/>
                        <a:gd name="connsiteX4" fmla="*/ 22766 w 25657"/>
                        <a:gd name="connsiteY4" fmla="*/ 7405 h 2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7" h="23429">
                          <a:moveTo>
                            <a:pt x="22766" y="7405"/>
                          </a:moveTo>
                          <a:cubicBezTo>
                            <a:pt x="18281" y="1424"/>
                            <a:pt x="10207" y="-1566"/>
                            <a:pt x="4705" y="826"/>
                          </a:cubicBezTo>
                          <a:cubicBezTo>
                            <a:pt x="-798" y="3218"/>
                            <a:pt x="-1575" y="9976"/>
                            <a:pt x="2910" y="16017"/>
                          </a:cubicBezTo>
                          <a:cubicBezTo>
                            <a:pt x="7396" y="22057"/>
                            <a:pt x="15470" y="24988"/>
                            <a:pt x="20972" y="22596"/>
                          </a:cubicBezTo>
                          <a:cubicBezTo>
                            <a:pt x="26415" y="20203"/>
                            <a:pt x="27252" y="13445"/>
                            <a:pt x="22766" y="7405"/>
                          </a:cubicBezTo>
                          <a:close/>
                        </a:path>
                      </a:pathLst>
                    </a:custGeom>
                    <a:noFill/>
                    <a:ln w="6350" cap="flat">
                      <a:solidFill>
                        <a:schemeClr val="bg1">
                          <a:alpha val="40000"/>
                        </a:schemeClr>
                      </a:solidFill>
                      <a:prstDash val="solid"/>
                      <a:miter/>
                    </a:ln>
                  </p:spPr>
                  <p:txBody>
                    <a:bodyPr rtlCol="0" anchor="ctr"/>
                    <a:lstStyle/>
                    <a:p>
                      <a:endParaRPr lang="en-GB"/>
                    </a:p>
                  </p:txBody>
                </p:sp>
              </p:grpSp>
            </p:grpSp>
          </p:grpSp>
        </p:grpSp>
        <p:grpSp>
          <p:nvGrpSpPr>
            <p:cNvPr id="8479" name="DRONE_3">
              <a:extLst>
                <a:ext uri="{FF2B5EF4-FFF2-40B4-BE49-F238E27FC236}">
                  <a16:creationId xmlns:a16="http://schemas.microsoft.com/office/drawing/2014/main" id="{D81F427E-BA7E-4915-8DAE-C7BF72E4C1F5}"/>
                </a:ext>
              </a:extLst>
            </p:cNvPr>
            <p:cNvGrpSpPr/>
            <p:nvPr userDrawn="1"/>
          </p:nvGrpSpPr>
          <p:grpSpPr>
            <a:xfrm>
              <a:off x="3578431" y="4717949"/>
              <a:ext cx="182055" cy="174220"/>
              <a:chOff x="3670162" y="4505854"/>
              <a:chExt cx="182055" cy="174220"/>
            </a:xfrm>
          </p:grpSpPr>
          <p:grpSp>
            <p:nvGrpSpPr>
              <p:cNvPr id="8480" name="Graphic 3">
                <a:extLst>
                  <a:ext uri="{FF2B5EF4-FFF2-40B4-BE49-F238E27FC236}">
                    <a16:creationId xmlns:a16="http://schemas.microsoft.com/office/drawing/2014/main" id="{45759B88-51CA-4442-B5E8-C942D5FA55E7}"/>
                  </a:ext>
                </a:extLst>
              </p:cNvPr>
              <p:cNvGrpSpPr/>
              <p:nvPr/>
            </p:nvGrpSpPr>
            <p:grpSpPr>
              <a:xfrm>
                <a:off x="3670162" y="4574694"/>
                <a:ext cx="61349" cy="105380"/>
                <a:chOff x="3670162" y="4574694"/>
                <a:chExt cx="61349" cy="105380"/>
              </a:xfrm>
              <a:noFill/>
            </p:grpSpPr>
            <p:sp>
              <p:nvSpPr>
                <p:cNvPr id="8489" name="Vrije vorm: vorm 8488">
                  <a:extLst>
                    <a:ext uri="{FF2B5EF4-FFF2-40B4-BE49-F238E27FC236}">
                      <a16:creationId xmlns:a16="http://schemas.microsoft.com/office/drawing/2014/main" id="{75C8C8DA-E840-4C03-B900-B1FCFB66F766}"/>
                    </a:ext>
                  </a:extLst>
                </p:cNvPr>
                <p:cNvSpPr/>
                <p:nvPr/>
              </p:nvSpPr>
              <p:spPr>
                <a:xfrm>
                  <a:off x="3720558" y="4607289"/>
                  <a:ext cx="10953" cy="32355"/>
                </a:xfrm>
                <a:custGeom>
                  <a:avLst/>
                  <a:gdLst>
                    <a:gd name="connsiteX0" fmla="*/ 10954 w 10953"/>
                    <a:gd name="connsiteY0" fmla="*/ 32356 h 32355"/>
                    <a:gd name="connsiteX1" fmla="*/ 188 w 10953"/>
                    <a:gd name="connsiteY1" fmla="*/ 16028 h 32355"/>
                    <a:gd name="connsiteX2" fmla="*/ 4375 w 10953"/>
                    <a:gd name="connsiteY2" fmla="*/ 0 h 32355"/>
                  </a:gdLst>
                  <a:ahLst/>
                  <a:cxnLst>
                    <a:cxn ang="0">
                      <a:pos x="connsiteX0" y="connsiteY0"/>
                    </a:cxn>
                    <a:cxn ang="0">
                      <a:pos x="connsiteX1" y="connsiteY1"/>
                    </a:cxn>
                    <a:cxn ang="0">
                      <a:pos x="connsiteX2" y="connsiteY2"/>
                    </a:cxn>
                  </a:cxnLst>
                  <a:rect l="l" t="t" r="r" b="b"/>
                  <a:pathLst>
                    <a:path w="10953" h="32355">
                      <a:moveTo>
                        <a:pt x="10954" y="32356"/>
                      </a:moveTo>
                      <a:cubicBezTo>
                        <a:pt x="5212" y="29006"/>
                        <a:pt x="1085" y="23145"/>
                        <a:pt x="188" y="16028"/>
                      </a:cubicBezTo>
                      <a:cubicBezTo>
                        <a:pt x="-589" y="10107"/>
                        <a:pt x="1085" y="4486"/>
                        <a:pt x="4375" y="0"/>
                      </a:cubicBezTo>
                    </a:path>
                  </a:pathLst>
                </a:custGeom>
                <a:noFill/>
                <a:ln w="6350" cap="flat">
                  <a:solidFill>
                    <a:schemeClr val="bg1"/>
                  </a:solidFill>
                  <a:prstDash val="solid"/>
                  <a:miter/>
                </a:ln>
              </p:spPr>
              <p:txBody>
                <a:bodyPr rtlCol="0" anchor="ctr"/>
                <a:lstStyle/>
                <a:p>
                  <a:endParaRPr lang="en-GB"/>
                </a:p>
              </p:txBody>
            </p:sp>
            <p:sp>
              <p:nvSpPr>
                <p:cNvPr id="8490" name="Vrije vorm: vorm 8489">
                  <a:extLst>
                    <a:ext uri="{FF2B5EF4-FFF2-40B4-BE49-F238E27FC236}">
                      <a16:creationId xmlns:a16="http://schemas.microsoft.com/office/drawing/2014/main" id="{632AF3A5-A035-40A7-8F61-D5733A37FEE6}"/>
                    </a:ext>
                  </a:extLst>
                </p:cNvPr>
                <p:cNvSpPr/>
                <p:nvPr/>
              </p:nvSpPr>
              <p:spPr>
                <a:xfrm>
                  <a:off x="3698261" y="4592875"/>
                  <a:ext cx="21886" cy="64651"/>
                </a:xfrm>
                <a:custGeom>
                  <a:avLst/>
                  <a:gdLst>
                    <a:gd name="connsiteX0" fmla="*/ 21887 w 21886"/>
                    <a:gd name="connsiteY0" fmla="*/ 64652 h 64651"/>
                    <a:gd name="connsiteX1" fmla="*/ 356 w 21886"/>
                    <a:gd name="connsiteY1" fmla="*/ 31997 h 64651"/>
                    <a:gd name="connsiteX2" fmla="*/ 8729 w 21886"/>
                    <a:gd name="connsiteY2" fmla="*/ 0 h 64651"/>
                  </a:gdLst>
                  <a:ahLst/>
                  <a:cxnLst>
                    <a:cxn ang="0">
                      <a:pos x="connsiteX0" y="connsiteY0"/>
                    </a:cxn>
                    <a:cxn ang="0">
                      <a:pos x="connsiteX1" y="connsiteY1"/>
                    </a:cxn>
                    <a:cxn ang="0">
                      <a:pos x="connsiteX2" y="connsiteY2"/>
                    </a:cxn>
                  </a:cxnLst>
                  <a:rect l="l" t="t" r="r" b="b"/>
                  <a:pathLst>
                    <a:path w="21886" h="64651">
                      <a:moveTo>
                        <a:pt x="21887" y="64652"/>
                      </a:moveTo>
                      <a:cubicBezTo>
                        <a:pt x="10464" y="57953"/>
                        <a:pt x="2151" y="46171"/>
                        <a:pt x="356" y="31997"/>
                      </a:cubicBezTo>
                      <a:cubicBezTo>
                        <a:pt x="-1139" y="20155"/>
                        <a:pt x="2151" y="8852"/>
                        <a:pt x="8729" y="0"/>
                      </a:cubicBezTo>
                    </a:path>
                  </a:pathLst>
                </a:custGeom>
                <a:noFill/>
                <a:ln w="6350" cap="flat">
                  <a:solidFill>
                    <a:schemeClr val="bg1"/>
                  </a:solidFill>
                  <a:prstDash val="solid"/>
                  <a:miter/>
                </a:ln>
              </p:spPr>
              <p:txBody>
                <a:bodyPr rtlCol="0" anchor="ctr"/>
                <a:lstStyle/>
                <a:p>
                  <a:endParaRPr lang="en-GB"/>
                </a:p>
              </p:txBody>
            </p:sp>
            <p:sp>
              <p:nvSpPr>
                <p:cNvPr id="8491" name="Vrije vorm: vorm 8490">
                  <a:extLst>
                    <a:ext uri="{FF2B5EF4-FFF2-40B4-BE49-F238E27FC236}">
                      <a16:creationId xmlns:a16="http://schemas.microsoft.com/office/drawing/2014/main" id="{1EFB21F5-8353-4564-AE9D-4785DF3B0A01}"/>
                    </a:ext>
                  </a:extLst>
                </p:cNvPr>
                <p:cNvSpPr/>
                <p:nvPr/>
              </p:nvSpPr>
              <p:spPr>
                <a:xfrm>
                  <a:off x="3670162" y="4574694"/>
                  <a:ext cx="35692" cy="105380"/>
                </a:xfrm>
                <a:custGeom>
                  <a:avLst/>
                  <a:gdLst>
                    <a:gd name="connsiteX0" fmla="*/ 35692 w 35692"/>
                    <a:gd name="connsiteY0" fmla="*/ 105380 h 105380"/>
                    <a:gd name="connsiteX1" fmla="*/ 585 w 35692"/>
                    <a:gd name="connsiteY1" fmla="*/ 52152 h 105380"/>
                    <a:gd name="connsiteX2" fmla="*/ 14281 w 35692"/>
                    <a:gd name="connsiteY2" fmla="*/ 0 h 105380"/>
                  </a:gdLst>
                  <a:ahLst/>
                  <a:cxnLst>
                    <a:cxn ang="0">
                      <a:pos x="connsiteX0" y="connsiteY0"/>
                    </a:cxn>
                    <a:cxn ang="0">
                      <a:pos x="connsiteX1" y="connsiteY1"/>
                    </a:cxn>
                    <a:cxn ang="0">
                      <a:pos x="connsiteX2" y="connsiteY2"/>
                    </a:cxn>
                  </a:cxnLst>
                  <a:rect l="l" t="t" r="r" b="b"/>
                  <a:pathLst>
                    <a:path w="35692" h="105380">
                      <a:moveTo>
                        <a:pt x="35692" y="105380"/>
                      </a:moveTo>
                      <a:cubicBezTo>
                        <a:pt x="17092" y="94435"/>
                        <a:pt x="3516" y="75238"/>
                        <a:pt x="585" y="52152"/>
                      </a:cubicBezTo>
                      <a:cubicBezTo>
                        <a:pt x="-1867" y="32894"/>
                        <a:pt x="3516" y="14413"/>
                        <a:pt x="14281" y="0"/>
                      </a:cubicBezTo>
                    </a:path>
                  </a:pathLst>
                </a:custGeom>
                <a:noFill/>
                <a:ln w="6350" cap="flat">
                  <a:solidFill>
                    <a:schemeClr val="bg1"/>
                  </a:solidFill>
                  <a:prstDash val="solid"/>
                  <a:miter/>
                </a:ln>
              </p:spPr>
              <p:txBody>
                <a:bodyPr rtlCol="0" anchor="ctr"/>
                <a:lstStyle/>
                <a:p>
                  <a:endParaRPr lang="en-GB"/>
                </a:p>
              </p:txBody>
            </p:sp>
          </p:grpSp>
          <p:grpSp>
            <p:nvGrpSpPr>
              <p:cNvPr id="8481" name="DRONE_3">
                <a:extLst>
                  <a:ext uri="{FF2B5EF4-FFF2-40B4-BE49-F238E27FC236}">
                    <a16:creationId xmlns:a16="http://schemas.microsoft.com/office/drawing/2014/main" id="{48A5F551-FE0F-43C4-AC62-4D81275BFE51}"/>
                  </a:ext>
                </a:extLst>
              </p:cNvPr>
              <p:cNvGrpSpPr/>
              <p:nvPr/>
            </p:nvGrpSpPr>
            <p:grpSpPr>
              <a:xfrm>
                <a:off x="3732798" y="4505854"/>
                <a:ext cx="119419" cy="170750"/>
                <a:chOff x="3732798" y="4505854"/>
                <a:chExt cx="119419" cy="170750"/>
              </a:xfrm>
            </p:grpSpPr>
            <p:sp>
              <p:nvSpPr>
                <p:cNvPr id="8482" name="Vrije vorm: vorm 8481">
                  <a:extLst>
                    <a:ext uri="{FF2B5EF4-FFF2-40B4-BE49-F238E27FC236}">
                      <a16:creationId xmlns:a16="http://schemas.microsoft.com/office/drawing/2014/main" id="{B67C182F-F1A6-4EE2-9965-4B6E122ECCD2}"/>
                    </a:ext>
                  </a:extLst>
                </p:cNvPr>
                <p:cNvSpPr/>
                <p:nvPr/>
              </p:nvSpPr>
              <p:spPr>
                <a:xfrm>
                  <a:off x="3831808" y="4608335"/>
                  <a:ext cx="20409" cy="8582"/>
                </a:xfrm>
                <a:custGeom>
                  <a:avLst/>
                  <a:gdLst>
                    <a:gd name="connsiteX0" fmla="*/ 17822 w 20409"/>
                    <a:gd name="connsiteY0" fmla="*/ 6011 h 8582"/>
                    <a:gd name="connsiteX1" fmla="*/ 19736 w 20409"/>
                    <a:gd name="connsiteY1" fmla="*/ 6609 h 8582"/>
                    <a:gd name="connsiteX2" fmla="*/ 19736 w 20409"/>
                    <a:gd name="connsiteY2" fmla="*/ 2542 h 8582"/>
                    <a:gd name="connsiteX3" fmla="*/ 16507 w 20409"/>
                    <a:gd name="connsiteY3" fmla="*/ 90 h 8582"/>
                    <a:gd name="connsiteX4" fmla="*/ 15849 w 20409"/>
                    <a:gd name="connsiteY4" fmla="*/ 1824 h 8582"/>
                    <a:gd name="connsiteX5" fmla="*/ 0 w 20409"/>
                    <a:gd name="connsiteY5" fmla="*/ 3439 h 8582"/>
                    <a:gd name="connsiteX6" fmla="*/ 5562 w 20409"/>
                    <a:gd name="connsiteY6" fmla="*/ 8583 h 8582"/>
                    <a:gd name="connsiteX7" fmla="*/ 17822 w 20409"/>
                    <a:gd name="connsiteY7" fmla="*/ 6011 h 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09" h="8582">
                      <a:moveTo>
                        <a:pt x="17822" y="6011"/>
                      </a:moveTo>
                      <a:cubicBezTo>
                        <a:pt x="18481" y="6609"/>
                        <a:pt x="19198" y="6908"/>
                        <a:pt x="19736" y="6609"/>
                      </a:cubicBezTo>
                      <a:cubicBezTo>
                        <a:pt x="20634" y="6190"/>
                        <a:pt x="20634" y="4336"/>
                        <a:pt x="19736" y="2542"/>
                      </a:cubicBezTo>
                      <a:cubicBezTo>
                        <a:pt x="18839" y="748"/>
                        <a:pt x="17404" y="-328"/>
                        <a:pt x="16507" y="90"/>
                      </a:cubicBezTo>
                      <a:cubicBezTo>
                        <a:pt x="16028" y="329"/>
                        <a:pt x="15789" y="987"/>
                        <a:pt x="15849" y="1824"/>
                      </a:cubicBezTo>
                      <a:cubicBezTo>
                        <a:pt x="10706" y="4037"/>
                        <a:pt x="5143" y="4516"/>
                        <a:pt x="0" y="3439"/>
                      </a:cubicBezTo>
                      <a:lnTo>
                        <a:pt x="5562" y="8583"/>
                      </a:lnTo>
                      <a:cubicBezTo>
                        <a:pt x="9629" y="8583"/>
                        <a:pt x="13815" y="7745"/>
                        <a:pt x="17822" y="6011"/>
                      </a:cubicBezTo>
                      <a:close/>
                    </a:path>
                  </a:pathLst>
                </a:custGeom>
                <a:noFill/>
                <a:ln w="2989" cap="flat">
                  <a:solidFill>
                    <a:srgbClr val="FFFFFF"/>
                  </a:solidFill>
                  <a:prstDash val="solid"/>
                  <a:miter/>
                </a:ln>
              </p:spPr>
              <p:txBody>
                <a:bodyPr rtlCol="0" anchor="ctr"/>
                <a:lstStyle/>
                <a:p>
                  <a:endParaRPr lang="en-GB"/>
                </a:p>
              </p:txBody>
            </p:sp>
            <p:sp>
              <p:nvSpPr>
                <p:cNvPr id="8483" name="Vrije vorm: vorm 8482">
                  <a:extLst>
                    <a:ext uri="{FF2B5EF4-FFF2-40B4-BE49-F238E27FC236}">
                      <a16:creationId xmlns:a16="http://schemas.microsoft.com/office/drawing/2014/main" id="{CB1000A3-CC3F-47D4-8BA4-F1B9FE6B986C}"/>
                    </a:ext>
                  </a:extLst>
                </p:cNvPr>
                <p:cNvSpPr/>
                <p:nvPr/>
              </p:nvSpPr>
              <p:spPr>
                <a:xfrm>
                  <a:off x="3803699" y="4526623"/>
                  <a:ext cx="14326" cy="16073"/>
                </a:xfrm>
                <a:custGeom>
                  <a:avLst/>
                  <a:gdLst>
                    <a:gd name="connsiteX0" fmla="*/ 11722 w 14326"/>
                    <a:gd name="connsiteY0" fmla="*/ 6146 h 16073"/>
                    <a:gd name="connsiteX1" fmla="*/ 13457 w 14326"/>
                    <a:gd name="connsiteY1" fmla="*/ 6864 h 16073"/>
                    <a:gd name="connsiteX2" fmla="*/ 13935 w 14326"/>
                    <a:gd name="connsiteY2" fmla="*/ 2857 h 16073"/>
                    <a:gd name="connsiteX3" fmla="*/ 10945 w 14326"/>
                    <a:gd name="connsiteY3" fmla="*/ 46 h 16073"/>
                    <a:gd name="connsiteX4" fmla="*/ 10107 w 14326"/>
                    <a:gd name="connsiteY4" fmla="*/ 1840 h 16073"/>
                    <a:gd name="connsiteX5" fmla="*/ 60 w 14326"/>
                    <a:gd name="connsiteY5" fmla="*/ 8658 h 16073"/>
                    <a:gd name="connsiteX6" fmla="*/ 0 w 14326"/>
                    <a:gd name="connsiteY6" fmla="*/ 16074 h 16073"/>
                    <a:gd name="connsiteX7" fmla="*/ 11722 w 14326"/>
                    <a:gd name="connsiteY7" fmla="*/ 6146 h 1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6" h="16073">
                      <a:moveTo>
                        <a:pt x="11722" y="6146"/>
                      </a:moveTo>
                      <a:cubicBezTo>
                        <a:pt x="12320" y="6744"/>
                        <a:pt x="12919" y="7043"/>
                        <a:pt x="13457" y="6864"/>
                      </a:cubicBezTo>
                      <a:cubicBezTo>
                        <a:pt x="14414" y="6505"/>
                        <a:pt x="14593" y="4711"/>
                        <a:pt x="13935" y="2857"/>
                      </a:cubicBezTo>
                      <a:cubicBezTo>
                        <a:pt x="13218" y="943"/>
                        <a:pt x="11902" y="-253"/>
                        <a:pt x="10945" y="46"/>
                      </a:cubicBezTo>
                      <a:cubicBezTo>
                        <a:pt x="10407" y="225"/>
                        <a:pt x="10107" y="943"/>
                        <a:pt x="10107" y="1840"/>
                      </a:cubicBezTo>
                      <a:cubicBezTo>
                        <a:pt x="6220" y="3455"/>
                        <a:pt x="2871" y="5787"/>
                        <a:pt x="60" y="8658"/>
                      </a:cubicBezTo>
                      <a:lnTo>
                        <a:pt x="0" y="16074"/>
                      </a:lnTo>
                      <a:cubicBezTo>
                        <a:pt x="2751" y="11768"/>
                        <a:pt x="6758" y="8299"/>
                        <a:pt x="11722" y="6146"/>
                      </a:cubicBezTo>
                      <a:close/>
                    </a:path>
                  </a:pathLst>
                </a:custGeom>
                <a:noFill/>
                <a:ln w="2989" cap="flat">
                  <a:solidFill>
                    <a:srgbClr val="FFFFFF"/>
                  </a:solidFill>
                  <a:prstDash val="solid"/>
                  <a:miter/>
                </a:ln>
              </p:spPr>
              <p:txBody>
                <a:bodyPr rtlCol="0" anchor="ctr"/>
                <a:lstStyle/>
                <a:p>
                  <a:endParaRPr lang="en-GB"/>
                </a:p>
              </p:txBody>
            </p:sp>
            <p:sp>
              <p:nvSpPr>
                <p:cNvPr id="8484" name="Vrije vorm: vorm 8483">
                  <a:extLst>
                    <a:ext uri="{FF2B5EF4-FFF2-40B4-BE49-F238E27FC236}">
                      <a16:creationId xmlns:a16="http://schemas.microsoft.com/office/drawing/2014/main" id="{3246096D-927E-45C3-8458-48742940AE8B}"/>
                    </a:ext>
                  </a:extLst>
                </p:cNvPr>
                <p:cNvSpPr/>
                <p:nvPr/>
              </p:nvSpPr>
              <p:spPr>
                <a:xfrm>
                  <a:off x="3804057" y="4639800"/>
                  <a:ext cx="5487" cy="10670"/>
                </a:xfrm>
                <a:custGeom>
                  <a:avLst/>
                  <a:gdLst>
                    <a:gd name="connsiteX0" fmla="*/ 4545 w 5487"/>
                    <a:gd name="connsiteY0" fmla="*/ 8816 h 10670"/>
                    <a:gd name="connsiteX1" fmla="*/ 4844 w 5487"/>
                    <a:gd name="connsiteY1" fmla="*/ 3613 h 10670"/>
                    <a:gd name="connsiteX2" fmla="*/ 1017 w 5487"/>
                    <a:gd name="connsiteY2" fmla="*/ 84 h 10670"/>
                    <a:gd name="connsiteX3" fmla="*/ 120 w 5487"/>
                    <a:gd name="connsiteY3" fmla="*/ 443 h 10670"/>
                    <a:gd name="connsiteX4" fmla="*/ 0 w 5487"/>
                    <a:gd name="connsiteY4" fmla="*/ 10670 h 10670"/>
                    <a:gd name="connsiteX5" fmla="*/ 4545 w 5487"/>
                    <a:gd name="connsiteY5" fmla="*/ 8816 h 1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7" h="10670">
                      <a:moveTo>
                        <a:pt x="4545" y="8816"/>
                      </a:moveTo>
                      <a:cubicBezTo>
                        <a:pt x="5682" y="8337"/>
                        <a:pt x="5801" y="6005"/>
                        <a:pt x="4844" y="3613"/>
                      </a:cubicBezTo>
                      <a:cubicBezTo>
                        <a:pt x="3888" y="1220"/>
                        <a:pt x="2153" y="-394"/>
                        <a:pt x="1017" y="84"/>
                      </a:cubicBezTo>
                      <a:lnTo>
                        <a:pt x="120" y="443"/>
                      </a:lnTo>
                      <a:lnTo>
                        <a:pt x="0" y="10670"/>
                      </a:lnTo>
                      <a:lnTo>
                        <a:pt x="4545" y="8816"/>
                      </a:lnTo>
                      <a:close/>
                    </a:path>
                  </a:pathLst>
                </a:custGeom>
                <a:noFill/>
                <a:ln w="2989" cap="flat">
                  <a:solidFill>
                    <a:srgbClr val="FFFFFF"/>
                  </a:solidFill>
                  <a:prstDash val="solid"/>
                  <a:miter/>
                </a:ln>
              </p:spPr>
              <p:txBody>
                <a:bodyPr rtlCol="0" anchor="ctr"/>
                <a:lstStyle/>
                <a:p>
                  <a:endParaRPr lang="en-GB"/>
                </a:p>
              </p:txBody>
            </p:sp>
            <p:sp>
              <p:nvSpPr>
                <p:cNvPr id="8485" name="Vrije vorm: vorm 8484">
                  <a:extLst>
                    <a:ext uri="{FF2B5EF4-FFF2-40B4-BE49-F238E27FC236}">
                      <a16:creationId xmlns:a16="http://schemas.microsoft.com/office/drawing/2014/main" id="{9E26AE70-AD37-411A-8C13-014E0DE9472D}"/>
                    </a:ext>
                  </a:extLst>
                </p:cNvPr>
                <p:cNvSpPr/>
                <p:nvPr/>
              </p:nvSpPr>
              <p:spPr>
                <a:xfrm>
                  <a:off x="3758843" y="4534838"/>
                  <a:ext cx="8298" cy="8935"/>
                </a:xfrm>
                <a:custGeom>
                  <a:avLst/>
                  <a:gdLst>
                    <a:gd name="connsiteX0" fmla="*/ 7356 w 8298"/>
                    <a:gd name="connsiteY0" fmla="*/ 8816 h 8935"/>
                    <a:gd name="connsiteX1" fmla="*/ 7655 w 8298"/>
                    <a:gd name="connsiteY1" fmla="*/ 3613 h 8935"/>
                    <a:gd name="connsiteX2" fmla="*/ 3828 w 8298"/>
                    <a:gd name="connsiteY2" fmla="*/ 84 h 8935"/>
                    <a:gd name="connsiteX3" fmla="*/ 0 w 8298"/>
                    <a:gd name="connsiteY3" fmla="*/ 1639 h 8935"/>
                    <a:gd name="connsiteX4" fmla="*/ 7177 w 8298"/>
                    <a:gd name="connsiteY4" fmla="*/ 8936 h 8935"/>
                    <a:gd name="connsiteX5" fmla="*/ 7356 w 8298"/>
                    <a:gd name="connsiteY5" fmla="*/ 8816 h 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98" h="8935">
                      <a:moveTo>
                        <a:pt x="7356" y="8816"/>
                      </a:moveTo>
                      <a:cubicBezTo>
                        <a:pt x="8493" y="8337"/>
                        <a:pt x="8612" y="6005"/>
                        <a:pt x="7655" y="3613"/>
                      </a:cubicBezTo>
                      <a:cubicBezTo>
                        <a:pt x="6698" y="1220"/>
                        <a:pt x="4964" y="-394"/>
                        <a:pt x="3828" y="84"/>
                      </a:cubicBezTo>
                      <a:lnTo>
                        <a:pt x="0" y="1639"/>
                      </a:lnTo>
                      <a:lnTo>
                        <a:pt x="7177" y="8936"/>
                      </a:lnTo>
                      <a:lnTo>
                        <a:pt x="7356" y="8816"/>
                      </a:lnTo>
                      <a:close/>
                    </a:path>
                  </a:pathLst>
                </a:custGeom>
                <a:noFill/>
                <a:ln w="2989" cap="flat">
                  <a:solidFill>
                    <a:srgbClr val="FFFFFF"/>
                  </a:solidFill>
                  <a:prstDash val="solid"/>
                  <a:miter/>
                </a:ln>
              </p:spPr>
              <p:txBody>
                <a:bodyPr rtlCol="0" anchor="ctr"/>
                <a:lstStyle/>
                <a:p>
                  <a:endParaRPr lang="en-GB"/>
                </a:p>
              </p:txBody>
            </p:sp>
            <p:sp>
              <p:nvSpPr>
                <p:cNvPr id="8486" name="Vrije vorm: vorm 8485">
                  <a:extLst>
                    <a:ext uri="{FF2B5EF4-FFF2-40B4-BE49-F238E27FC236}">
                      <a16:creationId xmlns:a16="http://schemas.microsoft.com/office/drawing/2014/main" id="{807934E3-319F-40EF-9752-84F99779B844}"/>
                    </a:ext>
                  </a:extLst>
                </p:cNvPr>
                <p:cNvSpPr/>
                <p:nvPr/>
              </p:nvSpPr>
              <p:spPr>
                <a:xfrm>
                  <a:off x="3732798" y="4524035"/>
                  <a:ext cx="48832" cy="55861"/>
                </a:xfrm>
                <a:custGeom>
                  <a:avLst/>
                  <a:gdLst>
                    <a:gd name="connsiteX0" fmla="*/ 9718 w 48832"/>
                    <a:gd name="connsiteY0" fmla="*/ 28171 h 55861"/>
                    <a:gd name="connsiteX1" fmla="*/ 11872 w 48832"/>
                    <a:gd name="connsiteY1" fmla="*/ 34690 h 55861"/>
                    <a:gd name="connsiteX2" fmla="*/ 19945 w 48832"/>
                    <a:gd name="connsiteY2" fmla="*/ 47549 h 55861"/>
                    <a:gd name="connsiteX3" fmla="*/ 17553 w 48832"/>
                    <a:gd name="connsiteY3" fmla="*/ 32418 h 55861"/>
                    <a:gd name="connsiteX4" fmla="*/ 15041 w 48832"/>
                    <a:gd name="connsiteY4" fmla="*/ 27035 h 55861"/>
                    <a:gd name="connsiteX5" fmla="*/ 17912 w 48832"/>
                    <a:gd name="connsiteY5" fmla="*/ 25898 h 55861"/>
                    <a:gd name="connsiteX6" fmla="*/ 19467 w 48832"/>
                    <a:gd name="connsiteY6" fmla="*/ 29188 h 55861"/>
                    <a:gd name="connsiteX7" fmla="*/ 43450 w 48832"/>
                    <a:gd name="connsiteY7" fmla="*/ 55862 h 55861"/>
                    <a:gd name="connsiteX8" fmla="*/ 48832 w 48832"/>
                    <a:gd name="connsiteY8" fmla="*/ 41568 h 55861"/>
                    <a:gd name="connsiteX9" fmla="*/ 21381 w 48832"/>
                    <a:gd name="connsiteY9" fmla="*/ 13758 h 55861"/>
                    <a:gd name="connsiteX10" fmla="*/ 13127 w 48832"/>
                    <a:gd name="connsiteY10" fmla="*/ 13458 h 55861"/>
                    <a:gd name="connsiteX11" fmla="*/ 14323 w 48832"/>
                    <a:gd name="connsiteY11" fmla="*/ 17107 h 55861"/>
                    <a:gd name="connsiteX12" fmla="*/ 11453 w 48832"/>
                    <a:gd name="connsiteY12" fmla="*/ 18243 h 55861"/>
                    <a:gd name="connsiteX13" fmla="*/ 9479 w 48832"/>
                    <a:gd name="connsiteY13" fmla="*/ 12621 h 55861"/>
                    <a:gd name="connsiteX14" fmla="*/ 687 w 48832"/>
                    <a:gd name="connsiteY14" fmla="*/ 62 h 55861"/>
                    <a:gd name="connsiteX15" fmla="*/ 3798 w 48832"/>
                    <a:gd name="connsiteY15" fmla="*/ 14894 h 55861"/>
                    <a:gd name="connsiteX16" fmla="*/ 6788 w 48832"/>
                    <a:gd name="connsiteY16" fmla="*/ 21114 h 55861"/>
                    <a:gd name="connsiteX17" fmla="*/ 5771 w 48832"/>
                    <a:gd name="connsiteY17" fmla="*/ 25241 h 55861"/>
                    <a:gd name="connsiteX18" fmla="*/ 5771 w 48832"/>
                    <a:gd name="connsiteY18" fmla="*/ 25540 h 55861"/>
                    <a:gd name="connsiteX19" fmla="*/ 6010 w 48832"/>
                    <a:gd name="connsiteY19" fmla="*/ 25779 h 55861"/>
                    <a:gd name="connsiteX20" fmla="*/ 9718 w 48832"/>
                    <a:gd name="connsiteY20" fmla="*/ 28171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832" h="55861">
                      <a:moveTo>
                        <a:pt x="9718" y="28171"/>
                      </a:moveTo>
                      <a:cubicBezTo>
                        <a:pt x="10197" y="30085"/>
                        <a:pt x="10855" y="32238"/>
                        <a:pt x="11872" y="34690"/>
                      </a:cubicBezTo>
                      <a:cubicBezTo>
                        <a:pt x="14981" y="42345"/>
                        <a:pt x="18211" y="48266"/>
                        <a:pt x="19945" y="47549"/>
                      </a:cubicBezTo>
                      <a:cubicBezTo>
                        <a:pt x="21680" y="46831"/>
                        <a:pt x="20603" y="40073"/>
                        <a:pt x="17553" y="32418"/>
                      </a:cubicBezTo>
                      <a:cubicBezTo>
                        <a:pt x="16776" y="30444"/>
                        <a:pt x="15938" y="28650"/>
                        <a:pt x="15041" y="27035"/>
                      </a:cubicBezTo>
                      <a:lnTo>
                        <a:pt x="17912" y="25898"/>
                      </a:lnTo>
                      <a:cubicBezTo>
                        <a:pt x="18450" y="26915"/>
                        <a:pt x="18988" y="28051"/>
                        <a:pt x="19467" y="29188"/>
                      </a:cubicBezTo>
                      <a:lnTo>
                        <a:pt x="43450" y="55862"/>
                      </a:lnTo>
                      <a:cubicBezTo>
                        <a:pt x="43868" y="49941"/>
                        <a:pt x="46081" y="44977"/>
                        <a:pt x="48832" y="41568"/>
                      </a:cubicBezTo>
                      <a:lnTo>
                        <a:pt x="21381" y="13758"/>
                      </a:lnTo>
                      <a:cubicBezTo>
                        <a:pt x="19168" y="11425"/>
                        <a:pt x="15460" y="11306"/>
                        <a:pt x="13127" y="13458"/>
                      </a:cubicBezTo>
                      <a:cubicBezTo>
                        <a:pt x="13606" y="14715"/>
                        <a:pt x="14025" y="15911"/>
                        <a:pt x="14323" y="17107"/>
                      </a:cubicBezTo>
                      <a:lnTo>
                        <a:pt x="11453" y="18243"/>
                      </a:lnTo>
                      <a:cubicBezTo>
                        <a:pt x="10915" y="16509"/>
                        <a:pt x="10257" y="14595"/>
                        <a:pt x="9479" y="12621"/>
                      </a:cubicBezTo>
                      <a:cubicBezTo>
                        <a:pt x="6369" y="4966"/>
                        <a:pt x="2482" y="-656"/>
                        <a:pt x="687" y="62"/>
                      </a:cubicBezTo>
                      <a:cubicBezTo>
                        <a:pt x="-1047" y="779"/>
                        <a:pt x="687" y="7299"/>
                        <a:pt x="3798" y="14894"/>
                      </a:cubicBezTo>
                      <a:cubicBezTo>
                        <a:pt x="4814" y="17346"/>
                        <a:pt x="5831" y="19439"/>
                        <a:pt x="6788" y="21114"/>
                      </a:cubicBezTo>
                      <a:cubicBezTo>
                        <a:pt x="5771" y="22489"/>
                        <a:pt x="5771" y="24463"/>
                        <a:pt x="5771" y="25241"/>
                      </a:cubicBezTo>
                      <a:cubicBezTo>
                        <a:pt x="5771" y="25420"/>
                        <a:pt x="5771" y="25540"/>
                        <a:pt x="5771" y="25540"/>
                      </a:cubicBezTo>
                      <a:cubicBezTo>
                        <a:pt x="5771" y="25540"/>
                        <a:pt x="5831" y="25659"/>
                        <a:pt x="6010" y="25779"/>
                      </a:cubicBezTo>
                      <a:cubicBezTo>
                        <a:pt x="6668" y="26496"/>
                        <a:pt x="8044" y="27932"/>
                        <a:pt x="9718" y="28171"/>
                      </a:cubicBezTo>
                      <a:close/>
                    </a:path>
                  </a:pathLst>
                </a:custGeom>
                <a:noFill/>
                <a:ln w="2989" cap="flat">
                  <a:solidFill>
                    <a:srgbClr val="FFFFFF"/>
                  </a:solidFill>
                  <a:prstDash val="solid"/>
                  <a:miter/>
                </a:ln>
              </p:spPr>
              <p:txBody>
                <a:bodyPr rtlCol="0" anchor="ctr"/>
                <a:lstStyle/>
                <a:p>
                  <a:endParaRPr lang="en-GB"/>
                </a:p>
              </p:txBody>
            </p:sp>
            <p:sp>
              <p:nvSpPr>
                <p:cNvPr id="8487" name="Vrije vorm: vorm 8486">
                  <a:extLst>
                    <a:ext uri="{FF2B5EF4-FFF2-40B4-BE49-F238E27FC236}">
                      <a16:creationId xmlns:a16="http://schemas.microsoft.com/office/drawing/2014/main" id="{00318F31-3E1A-41C3-8D02-5CB5278FAB3D}"/>
                    </a:ext>
                  </a:extLst>
                </p:cNvPr>
                <p:cNvSpPr/>
                <p:nvPr/>
              </p:nvSpPr>
              <p:spPr>
                <a:xfrm>
                  <a:off x="3775320" y="4605614"/>
                  <a:ext cx="24969" cy="70990"/>
                </a:xfrm>
                <a:custGeom>
                  <a:avLst/>
                  <a:gdLst>
                    <a:gd name="connsiteX0" fmla="*/ 9659 w 24969"/>
                    <a:gd name="connsiteY0" fmla="*/ 51554 h 70990"/>
                    <a:gd name="connsiteX1" fmla="*/ 11812 w 24969"/>
                    <a:gd name="connsiteY1" fmla="*/ 58073 h 70990"/>
                    <a:gd name="connsiteX2" fmla="*/ 19886 w 24969"/>
                    <a:gd name="connsiteY2" fmla="*/ 70931 h 70990"/>
                    <a:gd name="connsiteX3" fmla="*/ 17493 w 24969"/>
                    <a:gd name="connsiteY3" fmla="*/ 55800 h 70990"/>
                    <a:gd name="connsiteX4" fmla="*/ 14981 w 24969"/>
                    <a:gd name="connsiteY4" fmla="*/ 50417 h 70990"/>
                    <a:gd name="connsiteX5" fmla="*/ 17852 w 24969"/>
                    <a:gd name="connsiteY5" fmla="*/ 49281 h 70990"/>
                    <a:gd name="connsiteX6" fmla="*/ 18689 w 24969"/>
                    <a:gd name="connsiteY6" fmla="*/ 51016 h 70990"/>
                    <a:gd name="connsiteX7" fmla="*/ 18749 w 24969"/>
                    <a:gd name="connsiteY7" fmla="*/ 51016 h 70990"/>
                    <a:gd name="connsiteX8" fmla="*/ 24551 w 24969"/>
                    <a:gd name="connsiteY8" fmla="*/ 45095 h 70990"/>
                    <a:gd name="connsiteX9" fmla="*/ 24969 w 24969"/>
                    <a:gd name="connsiteY9" fmla="*/ 6818 h 70990"/>
                    <a:gd name="connsiteX10" fmla="*/ 11214 w 24969"/>
                    <a:gd name="connsiteY10" fmla="*/ 0 h 70990"/>
                    <a:gd name="connsiteX11" fmla="*/ 12470 w 24969"/>
                    <a:gd name="connsiteY11" fmla="*/ 35167 h 70990"/>
                    <a:gd name="connsiteX12" fmla="*/ 14324 w 24969"/>
                    <a:gd name="connsiteY12" fmla="*/ 40490 h 70990"/>
                    <a:gd name="connsiteX13" fmla="*/ 11453 w 24969"/>
                    <a:gd name="connsiteY13" fmla="*/ 41626 h 70990"/>
                    <a:gd name="connsiteX14" fmla="*/ 9479 w 24969"/>
                    <a:gd name="connsiteY14" fmla="*/ 36004 h 70990"/>
                    <a:gd name="connsiteX15" fmla="*/ 687 w 24969"/>
                    <a:gd name="connsiteY15" fmla="*/ 23444 h 70990"/>
                    <a:gd name="connsiteX16" fmla="*/ 3798 w 24969"/>
                    <a:gd name="connsiteY16" fmla="*/ 38277 h 70990"/>
                    <a:gd name="connsiteX17" fmla="*/ 6788 w 24969"/>
                    <a:gd name="connsiteY17" fmla="*/ 44497 h 70990"/>
                    <a:gd name="connsiteX18" fmla="*/ 5771 w 24969"/>
                    <a:gd name="connsiteY18" fmla="*/ 48623 h 70990"/>
                    <a:gd name="connsiteX19" fmla="*/ 5771 w 24969"/>
                    <a:gd name="connsiteY19" fmla="*/ 48922 h 70990"/>
                    <a:gd name="connsiteX20" fmla="*/ 6010 w 24969"/>
                    <a:gd name="connsiteY20" fmla="*/ 49162 h 70990"/>
                    <a:gd name="connsiteX21" fmla="*/ 9659 w 24969"/>
                    <a:gd name="connsiteY21" fmla="*/ 51554 h 70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969" h="70990">
                      <a:moveTo>
                        <a:pt x="9659" y="51554"/>
                      </a:moveTo>
                      <a:cubicBezTo>
                        <a:pt x="10137" y="53468"/>
                        <a:pt x="10795" y="55621"/>
                        <a:pt x="11812" y="58073"/>
                      </a:cubicBezTo>
                      <a:cubicBezTo>
                        <a:pt x="14922" y="65728"/>
                        <a:pt x="18151" y="71649"/>
                        <a:pt x="19886" y="70931"/>
                      </a:cubicBezTo>
                      <a:cubicBezTo>
                        <a:pt x="21620" y="70214"/>
                        <a:pt x="20543" y="63455"/>
                        <a:pt x="17493" y="55800"/>
                      </a:cubicBezTo>
                      <a:cubicBezTo>
                        <a:pt x="16716" y="53826"/>
                        <a:pt x="15879" y="52032"/>
                        <a:pt x="14981" y="50417"/>
                      </a:cubicBezTo>
                      <a:lnTo>
                        <a:pt x="17852" y="49281"/>
                      </a:lnTo>
                      <a:cubicBezTo>
                        <a:pt x="18151" y="49820"/>
                        <a:pt x="18450" y="50417"/>
                        <a:pt x="18689" y="51016"/>
                      </a:cubicBezTo>
                      <a:cubicBezTo>
                        <a:pt x="18689" y="51016"/>
                        <a:pt x="18689" y="51016"/>
                        <a:pt x="18749" y="51016"/>
                      </a:cubicBezTo>
                      <a:cubicBezTo>
                        <a:pt x="21979" y="50956"/>
                        <a:pt x="24610" y="48324"/>
                        <a:pt x="24551" y="45095"/>
                      </a:cubicBezTo>
                      <a:lnTo>
                        <a:pt x="24969" y="6818"/>
                      </a:lnTo>
                      <a:cubicBezTo>
                        <a:pt x="20603" y="6160"/>
                        <a:pt x="15580" y="4067"/>
                        <a:pt x="11214" y="0"/>
                      </a:cubicBezTo>
                      <a:lnTo>
                        <a:pt x="12470" y="35167"/>
                      </a:lnTo>
                      <a:cubicBezTo>
                        <a:pt x="13187" y="36961"/>
                        <a:pt x="13845" y="38755"/>
                        <a:pt x="14324" y="40490"/>
                      </a:cubicBezTo>
                      <a:lnTo>
                        <a:pt x="11453" y="41626"/>
                      </a:lnTo>
                      <a:cubicBezTo>
                        <a:pt x="10915" y="39891"/>
                        <a:pt x="10257" y="37978"/>
                        <a:pt x="9479" y="36004"/>
                      </a:cubicBezTo>
                      <a:cubicBezTo>
                        <a:pt x="6369" y="28349"/>
                        <a:pt x="2482" y="22727"/>
                        <a:pt x="687" y="23444"/>
                      </a:cubicBezTo>
                      <a:cubicBezTo>
                        <a:pt x="-1047" y="24162"/>
                        <a:pt x="687" y="30681"/>
                        <a:pt x="3798" y="38277"/>
                      </a:cubicBezTo>
                      <a:cubicBezTo>
                        <a:pt x="4814" y="40729"/>
                        <a:pt x="5831" y="42822"/>
                        <a:pt x="6788" y="44497"/>
                      </a:cubicBezTo>
                      <a:cubicBezTo>
                        <a:pt x="5771" y="45872"/>
                        <a:pt x="5771" y="47846"/>
                        <a:pt x="5771" y="48623"/>
                      </a:cubicBezTo>
                      <a:cubicBezTo>
                        <a:pt x="5771" y="48803"/>
                        <a:pt x="5771" y="48922"/>
                        <a:pt x="5771" y="48922"/>
                      </a:cubicBezTo>
                      <a:cubicBezTo>
                        <a:pt x="5771" y="48922"/>
                        <a:pt x="5831" y="49042"/>
                        <a:pt x="6010" y="49162"/>
                      </a:cubicBezTo>
                      <a:cubicBezTo>
                        <a:pt x="6549" y="49879"/>
                        <a:pt x="7924" y="51315"/>
                        <a:pt x="9659" y="51554"/>
                      </a:cubicBezTo>
                      <a:close/>
                    </a:path>
                  </a:pathLst>
                </a:custGeom>
                <a:noFill/>
                <a:ln w="2989" cap="flat">
                  <a:solidFill>
                    <a:srgbClr val="FFFFFF"/>
                  </a:solidFill>
                  <a:prstDash val="solid"/>
                  <a:miter/>
                </a:ln>
              </p:spPr>
              <p:txBody>
                <a:bodyPr rtlCol="0" anchor="ctr"/>
                <a:lstStyle/>
                <a:p>
                  <a:endParaRPr lang="en-GB"/>
                </a:p>
              </p:txBody>
            </p:sp>
            <p:sp>
              <p:nvSpPr>
                <p:cNvPr id="8488" name="Vrije vorm: vorm 8487">
                  <a:extLst>
                    <a:ext uri="{FF2B5EF4-FFF2-40B4-BE49-F238E27FC236}">
                      <a16:creationId xmlns:a16="http://schemas.microsoft.com/office/drawing/2014/main" id="{4CD4F565-B233-468A-B230-37DD49FE0574}"/>
                    </a:ext>
                  </a:extLst>
                </p:cNvPr>
                <p:cNvSpPr/>
                <p:nvPr/>
              </p:nvSpPr>
              <p:spPr>
                <a:xfrm>
                  <a:off x="3771971" y="4505854"/>
                  <a:ext cx="72451" cy="154244"/>
                </a:xfrm>
                <a:custGeom>
                  <a:avLst/>
                  <a:gdLst>
                    <a:gd name="connsiteX0" fmla="*/ 52720 w 72451"/>
                    <a:gd name="connsiteY0" fmla="*/ 134748 h 154244"/>
                    <a:gd name="connsiteX1" fmla="*/ 54873 w 72451"/>
                    <a:gd name="connsiteY1" fmla="*/ 141326 h 154244"/>
                    <a:gd name="connsiteX2" fmla="*/ 62947 w 72451"/>
                    <a:gd name="connsiteY2" fmla="*/ 154185 h 154244"/>
                    <a:gd name="connsiteX3" fmla="*/ 60555 w 72451"/>
                    <a:gd name="connsiteY3" fmla="*/ 139054 h 154244"/>
                    <a:gd name="connsiteX4" fmla="*/ 58043 w 72451"/>
                    <a:gd name="connsiteY4" fmla="*/ 133671 h 154244"/>
                    <a:gd name="connsiteX5" fmla="*/ 61870 w 72451"/>
                    <a:gd name="connsiteY5" fmla="*/ 132116 h 154244"/>
                    <a:gd name="connsiteX6" fmla="*/ 62349 w 72451"/>
                    <a:gd name="connsiteY6" fmla="*/ 132594 h 154244"/>
                    <a:gd name="connsiteX7" fmla="*/ 70662 w 72451"/>
                    <a:gd name="connsiteY7" fmla="*/ 132714 h 154244"/>
                    <a:gd name="connsiteX8" fmla="*/ 72038 w 72451"/>
                    <a:gd name="connsiteY8" fmla="*/ 126315 h 154244"/>
                    <a:gd name="connsiteX9" fmla="*/ 70782 w 72451"/>
                    <a:gd name="connsiteY9" fmla="*/ 124461 h 154244"/>
                    <a:gd name="connsiteX10" fmla="*/ 35675 w 72451"/>
                    <a:gd name="connsiteY10" fmla="*/ 86543 h 154244"/>
                    <a:gd name="connsiteX11" fmla="*/ 32744 w 72451"/>
                    <a:gd name="connsiteY11" fmla="*/ 77751 h 154244"/>
                    <a:gd name="connsiteX12" fmla="*/ 28438 w 72451"/>
                    <a:gd name="connsiteY12" fmla="*/ 68840 h 154244"/>
                    <a:gd name="connsiteX13" fmla="*/ 27362 w 72451"/>
                    <a:gd name="connsiteY13" fmla="*/ 16868 h 154244"/>
                    <a:gd name="connsiteX14" fmla="*/ 26943 w 72451"/>
                    <a:gd name="connsiteY14" fmla="*/ 14655 h 154244"/>
                    <a:gd name="connsiteX15" fmla="*/ 21501 w 72451"/>
                    <a:gd name="connsiteY15" fmla="*/ 11007 h 154244"/>
                    <a:gd name="connsiteX16" fmla="*/ 15639 w 72451"/>
                    <a:gd name="connsiteY16" fmla="*/ 16569 h 154244"/>
                    <a:gd name="connsiteX17" fmla="*/ 11453 w 72451"/>
                    <a:gd name="connsiteY17" fmla="*/ 18243 h 154244"/>
                    <a:gd name="connsiteX18" fmla="*/ 9479 w 72451"/>
                    <a:gd name="connsiteY18" fmla="*/ 12621 h 154244"/>
                    <a:gd name="connsiteX19" fmla="*/ 687 w 72451"/>
                    <a:gd name="connsiteY19" fmla="*/ 62 h 154244"/>
                    <a:gd name="connsiteX20" fmla="*/ 3798 w 72451"/>
                    <a:gd name="connsiteY20" fmla="*/ 14894 h 154244"/>
                    <a:gd name="connsiteX21" fmla="*/ 6788 w 72451"/>
                    <a:gd name="connsiteY21" fmla="*/ 21114 h 154244"/>
                    <a:gd name="connsiteX22" fmla="*/ 5771 w 72451"/>
                    <a:gd name="connsiteY22" fmla="*/ 25240 h 154244"/>
                    <a:gd name="connsiteX23" fmla="*/ 5771 w 72451"/>
                    <a:gd name="connsiteY23" fmla="*/ 25540 h 154244"/>
                    <a:gd name="connsiteX24" fmla="*/ 6010 w 72451"/>
                    <a:gd name="connsiteY24" fmla="*/ 25779 h 154244"/>
                    <a:gd name="connsiteX25" fmla="*/ 9599 w 72451"/>
                    <a:gd name="connsiteY25" fmla="*/ 28051 h 154244"/>
                    <a:gd name="connsiteX26" fmla="*/ 11752 w 72451"/>
                    <a:gd name="connsiteY26" fmla="*/ 34571 h 154244"/>
                    <a:gd name="connsiteX27" fmla="*/ 19826 w 72451"/>
                    <a:gd name="connsiteY27" fmla="*/ 47429 h 154244"/>
                    <a:gd name="connsiteX28" fmla="*/ 17434 w 72451"/>
                    <a:gd name="connsiteY28" fmla="*/ 32298 h 154244"/>
                    <a:gd name="connsiteX29" fmla="*/ 14922 w 72451"/>
                    <a:gd name="connsiteY29" fmla="*/ 26915 h 154244"/>
                    <a:gd name="connsiteX30" fmla="*/ 17793 w 72451"/>
                    <a:gd name="connsiteY30" fmla="*/ 25779 h 154244"/>
                    <a:gd name="connsiteX31" fmla="*/ 20245 w 72451"/>
                    <a:gd name="connsiteY31" fmla="*/ 31162 h 154244"/>
                    <a:gd name="connsiteX32" fmla="*/ 20962 w 72451"/>
                    <a:gd name="connsiteY32" fmla="*/ 50300 h 154244"/>
                    <a:gd name="connsiteX33" fmla="*/ 14802 w 72451"/>
                    <a:gd name="connsiteY33" fmla="*/ 47549 h 154244"/>
                    <a:gd name="connsiteX34" fmla="*/ 14503 w 72451"/>
                    <a:gd name="connsiteY34" fmla="*/ 60646 h 154244"/>
                    <a:gd name="connsiteX35" fmla="*/ 10616 w 72451"/>
                    <a:gd name="connsiteY35" fmla="*/ 86603 h 154244"/>
                    <a:gd name="connsiteX36" fmla="*/ 31907 w 72451"/>
                    <a:gd name="connsiteY36" fmla="*/ 102512 h 154244"/>
                    <a:gd name="connsiteX37" fmla="*/ 40160 w 72451"/>
                    <a:gd name="connsiteY37" fmla="*/ 110705 h 154244"/>
                    <a:gd name="connsiteX38" fmla="*/ 42552 w 72451"/>
                    <a:gd name="connsiteY38" fmla="*/ 103827 h 154244"/>
                    <a:gd name="connsiteX39" fmla="*/ 55351 w 72451"/>
                    <a:gd name="connsiteY39" fmla="*/ 118061 h 154244"/>
                    <a:gd name="connsiteX40" fmla="*/ 57325 w 72451"/>
                    <a:gd name="connsiteY40" fmla="*/ 123683 h 154244"/>
                    <a:gd name="connsiteX41" fmla="*/ 54454 w 72451"/>
                    <a:gd name="connsiteY41" fmla="*/ 124819 h 154244"/>
                    <a:gd name="connsiteX42" fmla="*/ 52481 w 72451"/>
                    <a:gd name="connsiteY42" fmla="*/ 119198 h 154244"/>
                    <a:gd name="connsiteX43" fmla="*/ 43689 w 72451"/>
                    <a:gd name="connsiteY43" fmla="*/ 106638 h 154244"/>
                    <a:gd name="connsiteX44" fmla="*/ 46799 w 72451"/>
                    <a:gd name="connsiteY44" fmla="*/ 121530 h 154244"/>
                    <a:gd name="connsiteX45" fmla="*/ 49789 w 72451"/>
                    <a:gd name="connsiteY45" fmla="*/ 127750 h 154244"/>
                    <a:gd name="connsiteX46" fmla="*/ 48773 w 72451"/>
                    <a:gd name="connsiteY46" fmla="*/ 131877 h 154244"/>
                    <a:gd name="connsiteX47" fmla="*/ 48773 w 72451"/>
                    <a:gd name="connsiteY47" fmla="*/ 132236 h 154244"/>
                    <a:gd name="connsiteX48" fmla="*/ 49012 w 72451"/>
                    <a:gd name="connsiteY48" fmla="*/ 132475 h 154244"/>
                    <a:gd name="connsiteX49" fmla="*/ 52720 w 72451"/>
                    <a:gd name="connsiteY49" fmla="*/ 134748 h 15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2451" h="154244">
                      <a:moveTo>
                        <a:pt x="52720" y="134748"/>
                      </a:moveTo>
                      <a:cubicBezTo>
                        <a:pt x="53198" y="136661"/>
                        <a:pt x="53856" y="138815"/>
                        <a:pt x="54873" y="141326"/>
                      </a:cubicBezTo>
                      <a:cubicBezTo>
                        <a:pt x="57983" y="148981"/>
                        <a:pt x="61212" y="154903"/>
                        <a:pt x="62947" y="154185"/>
                      </a:cubicBezTo>
                      <a:cubicBezTo>
                        <a:pt x="64681" y="153467"/>
                        <a:pt x="63605" y="146709"/>
                        <a:pt x="60555" y="139054"/>
                      </a:cubicBezTo>
                      <a:cubicBezTo>
                        <a:pt x="59777" y="137080"/>
                        <a:pt x="58940" y="135286"/>
                        <a:pt x="58043" y="133671"/>
                      </a:cubicBezTo>
                      <a:lnTo>
                        <a:pt x="61870" y="132116"/>
                      </a:lnTo>
                      <a:lnTo>
                        <a:pt x="62349" y="132594"/>
                      </a:lnTo>
                      <a:cubicBezTo>
                        <a:pt x="64621" y="134927"/>
                        <a:pt x="68329" y="134987"/>
                        <a:pt x="70662" y="132714"/>
                      </a:cubicBezTo>
                      <a:cubicBezTo>
                        <a:pt x="72456" y="130980"/>
                        <a:pt x="72875" y="128468"/>
                        <a:pt x="72038" y="126315"/>
                      </a:cubicBezTo>
                      <a:cubicBezTo>
                        <a:pt x="71738" y="125657"/>
                        <a:pt x="71380" y="124999"/>
                        <a:pt x="70782" y="124461"/>
                      </a:cubicBezTo>
                      <a:lnTo>
                        <a:pt x="35675" y="86543"/>
                      </a:lnTo>
                      <a:cubicBezTo>
                        <a:pt x="34957" y="83792"/>
                        <a:pt x="33940" y="80801"/>
                        <a:pt x="32744" y="77751"/>
                      </a:cubicBezTo>
                      <a:cubicBezTo>
                        <a:pt x="31428" y="74462"/>
                        <a:pt x="29933" y="71412"/>
                        <a:pt x="28438" y="68840"/>
                      </a:cubicBezTo>
                      <a:lnTo>
                        <a:pt x="27362" y="16868"/>
                      </a:lnTo>
                      <a:cubicBezTo>
                        <a:pt x="27362" y="16090"/>
                        <a:pt x="27242" y="15313"/>
                        <a:pt x="26943" y="14655"/>
                      </a:cubicBezTo>
                      <a:cubicBezTo>
                        <a:pt x="26046" y="12502"/>
                        <a:pt x="23953" y="11007"/>
                        <a:pt x="21501" y="11007"/>
                      </a:cubicBezTo>
                      <a:cubicBezTo>
                        <a:pt x="18331" y="11007"/>
                        <a:pt x="15819" y="13458"/>
                        <a:pt x="15639" y="16569"/>
                      </a:cubicBezTo>
                      <a:lnTo>
                        <a:pt x="11453" y="18243"/>
                      </a:lnTo>
                      <a:cubicBezTo>
                        <a:pt x="10915" y="16509"/>
                        <a:pt x="10257" y="14595"/>
                        <a:pt x="9479" y="12621"/>
                      </a:cubicBezTo>
                      <a:cubicBezTo>
                        <a:pt x="6369" y="4966"/>
                        <a:pt x="2422" y="-656"/>
                        <a:pt x="687" y="62"/>
                      </a:cubicBezTo>
                      <a:cubicBezTo>
                        <a:pt x="-1047" y="779"/>
                        <a:pt x="687" y="7298"/>
                        <a:pt x="3798" y="14894"/>
                      </a:cubicBezTo>
                      <a:cubicBezTo>
                        <a:pt x="4814" y="17346"/>
                        <a:pt x="5831" y="19439"/>
                        <a:pt x="6788" y="21114"/>
                      </a:cubicBezTo>
                      <a:cubicBezTo>
                        <a:pt x="5771" y="22489"/>
                        <a:pt x="5771" y="24463"/>
                        <a:pt x="5771" y="25240"/>
                      </a:cubicBezTo>
                      <a:cubicBezTo>
                        <a:pt x="5771" y="25420"/>
                        <a:pt x="5771" y="25540"/>
                        <a:pt x="5771" y="25540"/>
                      </a:cubicBezTo>
                      <a:cubicBezTo>
                        <a:pt x="5771" y="25540"/>
                        <a:pt x="5831" y="25659"/>
                        <a:pt x="6010" y="25779"/>
                      </a:cubicBezTo>
                      <a:cubicBezTo>
                        <a:pt x="6549" y="26377"/>
                        <a:pt x="7924" y="27812"/>
                        <a:pt x="9599" y="28051"/>
                      </a:cubicBezTo>
                      <a:cubicBezTo>
                        <a:pt x="10077" y="29965"/>
                        <a:pt x="10735" y="32118"/>
                        <a:pt x="11752" y="34571"/>
                      </a:cubicBezTo>
                      <a:cubicBezTo>
                        <a:pt x="14862" y="42226"/>
                        <a:pt x="18092" y="48147"/>
                        <a:pt x="19826" y="47429"/>
                      </a:cubicBezTo>
                      <a:cubicBezTo>
                        <a:pt x="21560" y="46711"/>
                        <a:pt x="20484" y="39953"/>
                        <a:pt x="17434" y="32298"/>
                      </a:cubicBezTo>
                      <a:cubicBezTo>
                        <a:pt x="16656" y="30324"/>
                        <a:pt x="15819" y="28530"/>
                        <a:pt x="14922" y="26915"/>
                      </a:cubicBezTo>
                      <a:lnTo>
                        <a:pt x="17793" y="25779"/>
                      </a:lnTo>
                      <a:cubicBezTo>
                        <a:pt x="18630" y="27454"/>
                        <a:pt x="19527" y="29248"/>
                        <a:pt x="20245" y="31162"/>
                      </a:cubicBezTo>
                      <a:cubicBezTo>
                        <a:pt x="22756" y="37381"/>
                        <a:pt x="26225" y="48206"/>
                        <a:pt x="20962" y="50300"/>
                      </a:cubicBezTo>
                      <a:cubicBezTo>
                        <a:pt x="18869" y="51137"/>
                        <a:pt x="16895" y="50359"/>
                        <a:pt x="14802" y="47549"/>
                      </a:cubicBezTo>
                      <a:lnTo>
                        <a:pt x="14503" y="60646"/>
                      </a:lnTo>
                      <a:cubicBezTo>
                        <a:pt x="10197" y="64594"/>
                        <a:pt x="5532" y="74103"/>
                        <a:pt x="10616" y="86603"/>
                      </a:cubicBezTo>
                      <a:cubicBezTo>
                        <a:pt x="15759" y="99342"/>
                        <a:pt x="26225" y="102810"/>
                        <a:pt x="31907" y="102512"/>
                      </a:cubicBezTo>
                      <a:lnTo>
                        <a:pt x="40160" y="110705"/>
                      </a:lnTo>
                      <a:cubicBezTo>
                        <a:pt x="39562" y="106817"/>
                        <a:pt x="40340" y="104724"/>
                        <a:pt x="42552" y="103827"/>
                      </a:cubicBezTo>
                      <a:cubicBezTo>
                        <a:pt x="47816" y="101734"/>
                        <a:pt x="52840" y="111841"/>
                        <a:pt x="55351" y="118061"/>
                      </a:cubicBezTo>
                      <a:cubicBezTo>
                        <a:pt x="56129" y="119975"/>
                        <a:pt x="56787" y="121889"/>
                        <a:pt x="57325" y="123683"/>
                      </a:cubicBezTo>
                      <a:lnTo>
                        <a:pt x="54454" y="124819"/>
                      </a:lnTo>
                      <a:cubicBezTo>
                        <a:pt x="53916" y="123085"/>
                        <a:pt x="53258" y="121171"/>
                        <a:pt x="52481" y="119198"/>
                      </a:cubicBezTo>
                      <a:cubicBezTo>
                        <a:pt x="49371" y="111542"/>
                        <a:pt x="45423" y="105921"/>
                        <a:pt x="43689" y="106638"/>
                      </a:cubicBezTo>
                      <a:cubicBezTo>
                        <a:pt x="41955" y="107356"/>
                        <a:pt x="43689" y="113875"/>
                        <a:pt x="46799" y="121530"/>
                      </a:cubicBezTo>
                      <a:cubicBezTo>
                        <a:pt x="47816" y="123982"/>
                        <a:pt x="48833" y="126016"/>
                        <a:pt x="49789" y="127750"/>
                      </a:cubicBezTo>
                      <a:cubicBezTo>
                        <a:pt x="48773" y="129126"/>
                        <a:pt x="48713" y="131099"/>
                        <a:pt x="48773" y="131877"/>
                      </a:cubicBezTo>
                      <a:cubicBezTo>
                        <a:pt x="48773" y="132056"/>
                        <a:pt x="48773" y="132236"/>
                        <a:pt x="48773" y="132236"/>
                      </a:cubicBezTo>
                      <a:cubicBezTo>
                        <a:pt x="48773" y="132236"/>
                        <a:pt x="48833" y="132355"/>
                        <a:pt x="49012" y="132475"/>
                      </a:cubicBezTo>
                      <a:cubicBezTo>
                        <a:pt x="49610" y="133013"/>
                        <a:pt x="51045" y="134448"/>
                        <a:pt x="52720" y="134748"/>
                      </a:cubicBezTo>
                      <a:close/>
                    </a:path>
                  </a:pathLst>
                </a:custGeom>
                <a:noFill/>
                <a:ln w="2989" cap="flat">
                  <a:solidFill>
                    <a:srgbClr val="FFFFFF"/>
                  </a:solidFill>
                  <a:prstDash val="solid"/>
                  <a:miter/>
                </a:ln>
              </p:spPr>
              <p:txBody>
                <a:bodyPr rtlCol="0" anchor="ctr"/>
                <a:lstStyle/>
                <a:p>
                  <a:endParaRPr lang="en-GB"/>
                </a:p>
              </p:txBody>
            </p:sp>
          </p:grpSp>
        </p:grpSp>
        <p:grpSp>
          <p:nvGrpSpPr>
            <p:cNvPr id="8492" name="WERELD_4">
              <a:extLst>
                <a:ext uri="{FF2B5EF4-FFF2-40B4-BE49-F238E27FC236}">
                  <a16:creationId xmlns:a16="http://schemas.microsoft.com/office/drawing/2014/main" id="{51E310C2-4ED0-4BAA-A0DC-0190E2D25F3E}"/>
                </a:ext>
              </a:extLst>
            </p:cNvPr>
            <p:cNvGrpSpPr/>
            <p:nvPr userDrawn="1"/>
          </p:nvGrpSpPr>
          <p:grpSpPr>
            <a:xfrm>
              <a:off x="4012762" y="2624458"/>
              <a:ext cx="859640" cy="1362694"/>
              <a:chOff x="3980668" y="2440938"/>
              <a:chExt cx="859640" cy="1362694"/>
            </a:xfrm>
          </p:grpSpPr>
          <p:sp>
            <p:nvSpPr>
              <p:cNvPr id="8493" name="Vrije vorm: vorm 8492">
                <a:extLst>
                  <a:ext uri="{FF2B5EF4-FFF2-40B4-BE49-F238E27FC236}">
                    <a16:creationId xmlns:a16="http://schemas.microsoft.com/office/drawing/2014/main" id="{F0F53812-8E5C-4D96-9599-1821EC960450}"/>
                  </a:ext>
                </a:extLst>
              </p:cNvPr>
              <p:cNvSpPr/>
              <p:nvPr/>
            </p:nvSpPr>
            <p:spPr>
              <a:xfrm>
                <a:off x="4274916" y="2459542"/>
                <a:ext cx="565392" cy="1344090"/>
              </a:xfrm>
              <a:custGeom>
                <a:avLst/>
                <a:gdLst>
                  <a:gd name="connsiteX0" fmla="*/ 398342 w 565392"/>
                  <a:gd name="connsiteY0" fmla="*/ 30093 h 1344090"/>
                  <a:gd name="connsiteX1" fmla="*/ 449748 w 565392"/>
                  <a:gd name="connsiteY1" fmla="*/ 702139 h 1344090"/>
                  <a:gd name="connsiteX2" fmla="*/ 167051 w 565392"/>
                  <a:gd name="connsiteY2" fmla="*/ 1313997 h 1344090"/>
                  <a:gd name="connsiteX3" fmla="*/ 115645 w 565392"/>
                  <a:gd name="connsiteY3" fmla="*/ 641952 h 1344090"/>
                  <a:gd name="connsiteX4" fmla="*/ 398342 w 565392"/>
                  <a:gd name="connsiteY4" fmla="*/ 30093 h 1344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392" h="1344090">
                    <a:moveTo>
                      <a:pt x="398342" y="30093"/>
                    </a:moveTo>
                    <a:cubicBezTo>
                      <a:pt x="490601" y="46714"/>
                      <a:pt x="513617" y="347599"/>
                      <a:pt x="449748" y="702139"/>
                    </a:cubicBezTo>
                    <a:cubicBezTo>
                      <a:pt x="385878" y="1056679"/>
                      <a:pt x="259311" y="1330617"/>
                      <a:pt x="167051" y="1313997"/>
                    </a:cubicBezTo>
                    <a:cubicBezTo>
                      <a:pt x="74791" y="1297377"/>
                      <a:pt x="51776" y="996492"/>
                      <a:pt x="115645" y="641952"/>
                    </a:cubicBezTo>
                    <a:cubicBezTo>
                      <a:pt x="179514" y="287411"/>
                      <a:pt x="306082" y="13473"/>
                      <a:pt x="398342" y="30093"/>
                    </a:cubicBezTo>
                    <a:close/>
                  </a:path>
                </a:pathLst>
              </a:custGeom>
              <a:noFill/>
              <a:ln w="6350" cap="flat">
                <a:solidFill>
                  <a:schemeClr val="bg1">
                    <a:alpha val="40000"/>
                  </a:schemeClr>
                </a:solidFill>
                <a:prstDash val="solid"/>
                <a:miter/>
              </a:ln>
            </p:spPr>
            <p:txBody>
              <a:bodyPr rtlCol="0" anchor="ctr"/>
              <a:lstStyle/>
              <a:p>
                <a:endParaRPr lang="en-GB"/>
              </a:p>
            </p:txBody>
          </p:sp>
          <p:grpSp>
            <p:nvGrpSpPr>
              <p:cNvPr id="8494" name="Graphic 3">
                <a:extLst>
                  <a:ext uri="{FF2B5EF4-FFF2-40B4-BE49-F238E27FC236}">
                    <a16:creationId xmlns:a16="http://schemas.microsoft.com/office/drawing/2014/main" id="{B7013D1E-407B-4739-BE92-A9CD9FFB5009}"/>
                  </a:ext>
                </a:extLst>
              </p:cNvPr>
              <p:cNvGrpSpPr/>
              <p:nvPr/>
            </p:nvGrpSpPr>
            <p:grpSpPr>
              <a:xfrm>
                <a:off x="3980668" y="2689064"/>
                <a:ext cx="570740" cy="309410"/>
                <a:chOff x="3980668" y="2689064"/>
                <a:chExt cx="570740" cy="309410"/>
              </a:xfrm>
              <a:noFill/>
            </p:grpSpPr>
            <p:sp>
              <p:nvSpPr>
                <p:cNvPr id="8964" name="Vrije vorm: vorm 8963">
                  <a:extLst>
                    <a:ext uri="{FF2B5EF4-FFF2-40B4-BE49-F238E27FC236}">
                      <a16:creationId xmlns:a16="http://schemas.microsoft.com/office/drawing/2014/main" id="{B486C8EE-907A-4D3C-89D9-C36EB53DE54F}"/>
                    </a:ext>
                  </a:extLst>
                </p:cNvPr>
                <p:cNvSpPr/>
                <p:nvPr/>
              </p:nvSpPr>
              <p:spPr>
                <a:xfrm>
                  <a:off x="4228572" y="2739283"/>
                  <a:ext cx="57678" cy="45131"/>
                </a:xfrm>
                <a:custGeom>
                  <a:avLst/>
                  <a:gdLst>
                    <a:gd name="connsiteX0" fmla="*/ 32073 w 57678"/>
                    <a:gd name="connsiteY0" fmla="*/ 4613 h 45131"/>
                    <a:gd name="connsiteX1" fmla="*/ 54444 w 57678"/>
                    <a:gd name="connsiteY1" fmla="*/ 27178 h 45131"/>
                    <a:gd name="connsiteX2" fmla="*/ 25605 w 57678"/>
                    <a:gd name="connsiteY2" fmla="*/ 40518 h 45131"/>
                    <a:gd name="connsiteX3" fmla="*/ 3234 w 57678"/>
                    <a:gd name="connsiteY3" fmla="*/ 17953 h 45131"/>
                    <a:gd name="connsiteX4" fmla="*/ 32073 w 57678"/>
                    <a:gd name="connsiteY4" fmla="*/ 4613 h 4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78" h="45131">
                      <a:moveTo>
                        <a:pt x="32073" y="4613"/>
                      </a:moveTo>
                      <a:cubicBezTo>
                        <a:pt x="46215" y="7160"/>
                        <a:pt x="56231" y="17263"/>
                        <a:pt x="54444" y="27178"/>
                      </a:cubicBezTo>
                      <a:cubicBezTo>
                        <a:pt x="52658" y="37093"/>
                        <a:pt x="39746" y="43066"/>
                        <a:pt x="25605" y="40518"/>
                      </a:cubicBezTo>
                      <a:cubicBezTo>
                        <a:pt x="11464" y="37971"/>
                        <a:pt x="1448" y="27868"/>
                        <a:pt x="3234" y="17953"/>
                      </a:cubicBezTo>
                      <a:cubicBezTo>
                        <a:pt x="5020" y="8038"/>
                        <a:pt x="17932" y="2065"/>
                        <a:pt x="32073" y="461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65" name="Vrije vorm: vorm 8964">
                  <a:extLst>
                    <a:ext uri="{FF2B5EF4-FFF2-40B4-BE49-F238E27FC236}">
                      <a16:creationId xmlns:a16="http://schemas.microsoft.com/office/drawing/2014/main" id="{A2848940-524A-4115-8003-1FEE26D2FDA2}"/>
                    </a:ext>
                  </a:extLst>
                </p:cNvPr>
                <p:cNvSpPr/>
                <p:nvPr/>
              </p:nvSpPr>
              <p:spPr>
                <a:xfrm>
                  <a:off x="4149494" y="2822792"/>
                  <a:ext cx="54956" cy="40768"/>
                </a:xfrm>
                <a:custGeom>
                  <a:avLst/>
                  <a:gdLst>
                    <a:gd name="connsiteX0" fmla="*/ 30352 w 54956"/>
                    <a:gd name="connsiteY0" fmla="*/ 4433 h 40768"/>
                    <a:gd name="connsiteX1" fmla="*/ 52082 w 54956"/>
                    <a:gd name="connsiteY1" fmla="*/ 24817 h 40768"/>
                    <a:gd name="connsiteX2" fmla="*/ 24604 w 54956"/>
                    <a:gd name="connsiteY2" fmla="*/ 36336 h 40768"/>
                    <a:gd name="connsiteX3" fmla="*/ 2874 w 54956"/>
                    <a:gd name="connsiteY3" fmla="*/ 15952 h 40768"/>
                    <a:gd name="connsiteX4" fmla="*/ 30352 w 54956"/>
                    <a:gd name="connsiteY4" fmla="*/ 4433 h 4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6" h="40768">
                      <a:moveTo>
                        <a:pt x="30352" y="4433"/>
                      </a:moveTo>
                      <a:cubicBezTo>
                        <a:pt x="43940" y="6881"/>
                        <a:pt x="53669" y="16007"/>
                        <a:pt x="52082" y="24817"/>
                      </a:cubicBezTo>
                      <a:cubicBezTo>
                        <a:pt x="50495" y="33627"/>
                        <a:pt x="38193" y="38784"/>
                        <a:pt x="24604" y="36336"/>
                      </a:cubicBezTo>
                      <a:cubicBezTo>
                        <a:pt x="11016" y="33888"/>
                        <a:pt x="1287" y="24762"/>
                        <a:pt x="2874" y="15952"/>
                      </a:cubicBezTo>
                      <a:cubicBezTo>
                        <a:pt x="4461" y="7142"/>
                        <a:pt x="16763" y="1985"/>
                        <a:pt x="30352" y="443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66" name="Vrije vorm: vorm 8965">
                  <a:extLst>
                    <a:ext uri="{FF2B5EF4-FFF2-40B4-BE49-F238E27FC236}">
                      <a16:creationId xmlns:a16="http://schemas.microsoft.com/office/drawing/2014/main" id="{6FE370F1-A5C4-40A3-86BC-D2348DF13044}"/>
                    </a:ext>
                  </a:extLst>
                </p:cNvPr>
                <p:cNvSpPr/>
                <p:nvPr/>
              </p:nvSpPr>
              <p:spPr>
                <a:xfrm>
                  <a:off x="4059375" y="2782451"/>
                  <a:ext cx="30621" cy="30621"/>
                </a:xfrm>
                <a:custGeom>
                  <a:avLst/>
                  <a:gdLst>
                    <a:gd name="connsiteX0" fmla="*/ 30621 w 30621"/>
                    <a:gd name="connsiteY0" fmla="*/ 15311 h 30621"/>
                    <a:gd name="connsiteX1" fmla="*/ 15311 w 30621"/>
                    <a:gd name="connsiteY1" fmla="*/ 30621 h 30621"/>
                    <a:gd name="connsiteX2" fmla="*/ 0 w 30621"/>
                    <a:gd name="connsiteY2" fmla="*/ 15311 h 30621"/>
                    <a:gd name="connsiteX3" fmla="*/ 15311 w 30621"/>
                    <a:gd name="connsiteY3" fmla="*/ 0 h 30621"/>
                    <a:gd name="connsiteX4" fmla="*/ 30621 w 30621"/>
                    <a:gd name="connsiteY4" fmla="*/ 15311 h 30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21" h="30621">
                      <a:moveTo>
                        <a:pt x="30621" y="15311"/>
                      </a:moveTo>
                      <a:cubicBezTo>
                        <a:pt x="30621" y="23766"/>
                        <a:pt x="23766" y="30621"/>
                        <a:pt x="15311" y="30621"/>
                      </a:cubicBezTo>
                      <a:cubicBezTo>
                        <a:pt x="6854" y="30621"/>
                        <a:pt x="0" y="23766"/>
                        <a:pt x="0" y="15311"/>
                      </a:cubicBezTo>
                      <a:cubicBezTo>
                        <a:pt x="0" y="6855"/>
                        <a:pt x="6855" y="0"/>
                        <a:pt x="15311" y="0"/>
                      </a:cubicBezTo>
                      <a:cubicBezTo>
                        <a:pt x="23767" y="0"/>
                        <a:pt x="30621" y="6855"/>
                        <a:pt x="30621" y="1531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67" name="Vrije vorm: vorm 8966">
                  <a:extLst>
                    <a:ext uri="{FF2B5EF4-FFF2-40B4-BE49-F238E27FC236}">
                      <a16:creationId xmlns:a16="http://schemas.microsoft.com/office/drawing/2014/main" id="{C83B6D5D-359E-4695-B888-73104CBEDABC}"/>
                    </a:ext>
                  </a:extLst>
                </p:cNvPr>
                <p:cNvSpPr/>
                <p:nvPr/>
              </p:nvSpPr>
              <p:spPr>
                <a:xfrm>
                  <a:off x="4087245" y="2808228"/>
                  <a:ext cx="64232" cy="28946"/>
                </a:xfrm>
                <a:custGeom>
                  <a:avLst/>
                  <a:gdLst>
                    <a:gd name="connsiteX0" fmla="*/ 0 w 64232"/>
                    <a:gd name="connsiteY0" fmla="*/ 0 h 28946"/>
                    <a:gd name="connsiteX1" fmla="*/ 64233 w 64232"/>
                    <a:gd name="connsiteY1" fmla="*/ 28947 h 28946"/>
                  </a:gdLst>
                  <a:ahLst/>
                  <a:cxnLst>
                    <a:cxn ang="0">
                      <a:pos x="connsiteX0" y="connsiteY0"/>
                    </a:cxn>
                    <a:cxn ang="0">
                      <a:pos x="connsiteX1" y="connsiteY1"/>
                    </a:cxn>
                  </a:cxnLst>
                  <a:rect l="l" t="t" r="r" b="b"/>
                  <a:pathLst>
                    <a:path w="64232" h="28946">
                      <a:moveTo>
                        <a:pt x="0" y="0"/>
                      </a:moveTo>
                      <a:lnTo>
                        <a:pt x="64233" y="28947"/>
                      </a:lnTo>
                    </a:path>
                  </a:pathLst>
                </a:custGeom>
                <a:grpFill/>
                <a:ln w="6350" cap="flat">
                  <a:solidFill>
                    <a:schemeClr val="bg1">
                      <a:alpha val="40000"/>
                    </a:schemeClr>
                  </a:solidFill>
                  <a:prstDash val="solid"/>
                  <a:miter/>
                </a:ln>
              </p:spPr>
              <p:txBody>
                <a:bodyPr rtlCol="0" anchor="ctr"/>
                <a:lstStyle/>
                <a:p>
                  <a:endParaRPr lang="en-GB"/>
                </a:p>
              </p:txBody>
            </p:sp>
            <p:sp>
              <p:nvSpPr>
                <p:cNvPr id="8968" name="Vrije vorm: vorm 8967">
                  <a:extLst>
                    <a:ext uri="{FF2B5EF4-FFF2-40B4-BE49-F238E27FC236}">
                      <a16:creationId xmlns:a16="http://schemas.microsoft.com/office/drawing/2014/main" id="{E43DF9D0-2F17-4AFF-9233-6048B9A9CCCF}"/>
                    </a:ext>
                  </a:extLst>
                </p:cNvPr>
                <p:cNvSpPr/>
                <p:nvPr/>
              </p:nvSpPr>
              <p:spPr>
                <a:xfrm>
                  <a:off x="4089338" y="2781494"/>
                  <a:ext cx="157771" cy="11064"/>
                </a:xfrm>
                <a:custGeom>
                  <a:avLst/>
                  <a:gdLst>
                    <a:gd name="connsiteX0" fmla="*/ 0 w 157771"/>
                    <a:gd name="connsiteY0" fmla="*/ 11064 h 11064"/>
                    <a:gd name="connsiteX1" fmla="*/ 157771 w 157771"/>
                    <a:gd name="connsiteY1" fmla="*/ 0 h 11064"/>
                  </a:gdLst>
                  <a:ahLst/>
                  <a:cxnLst>
                    <a:cxn ang="0">
                      <a:pos x="connsiteX0" y="connsiteY0"/>
                    </a:cxn>
                    <a:cxn ang="0">
                      <a:pos x="connsiteX1" y="connsiteY1"/>
                    </a:cxn>
                  </a:cxnLst>
                  <a:rect l="l" t="t" r="r" b="b"/>
                  <a:pathLst>
                    <a:path w="157771" h="11064">
                      <a:moveTo>
                        <a:pt x="0" y="11064"/>
                      </a:moveTo>
                      <a:lnTo>
                        <a:pt x="157771" y="0"/>
                      </a:lnTo>
                    </a:path>
                  </a:pathLst>
                </a:custGeom>
                <a:grpFill/>
                <a:ln w="6350" cap="flat">
                  <a:solidFill>
                    <a:schemeClr val="bg1">
                      <a:alpha val="40000"/>
                    </a:schemeClr>
                  </a:solidFill>
                  <a:prstDash val="solid"/>
                  <a:miter/>
                </a:ln>
              </p:spPr>
              <p:txBody>
                <a:bodyPr rtlCol="0" anchor="ctr"/>
                <a:lstStyle/>
                <a:p>
                  <a:endParaRPr lang="en-GB"/>
                </a:p>
              </p:txBody>
            </p:sp>
            <p:sp>
              <p:nvSpPr>
                <p:cNvPr id="8969" name="Vrije vorm: vorm 8968">
                  <a:extLst>
                    <a:ext uri="{FF2B5EF4-FFF2-40B4-BE49-F238E27FC236}">
                      <a16:creationId xmlns:a16="http://schemas.microsoft.com/office/drawing/2014/main" id="{A663C511-36E1-4829-8CEB-B8F8BDE094FA}"/>
                    </a:ext>
                  </a:extLst>
                </p:cNvPr>
                <p:cNvSpPr/>
                <p:nvPr/>
              </p:nvSpPr>
              <p:spPr>
                <a:xfrm>
                  <a:off x="4232516" y="2765167"/>
                  <a:ext cx="14592" cy="16327"/>
                </a:xfrm>
                <a:custGeom>
                  <a:avLst/>
                  <a:gdLst>
                    <a:gd name="connsiteX0" fmla="*/ 0 w 14592"/>
                    <a:gd name="connsiteY0" fmla="*/ 0 h 16327"/>
                    <a:gd name="connsiteX1" fmla="*/ 14593 w 14592"/>
                    <a:gd name="connsiteY1" fmla="*/ 16327 h 16327"/>
                  </a:gdLst>
                  <a:ahLst/>
                  <a:cxnLst>
                    <a:cxn ang="0">
                      <a:pos x="connsiteX0" y="connsiteY0"/>
                    </a:cxn>
                    <a:cxn ang="0">
                      <a:pos x="connsiteX1" y="connsiteY1"/>
                    </a:cxn>
                  </a:cxnLst>
                  <a:rect l="l" t="t" r="r" b="b"/>
                  <a:pathLst>
                    <a:path w="14592" h="16327">
                      <a:moveTo>
                        <a:pt x="0" y="0"/>
                      </a:moveTo>
                      <a:lnTo>
                        <a:pt x="14593" y="16327"/>
                      </a:lnTo>
                    </a:path>
                  </a:pathLst>
                </a:custGeom>
                <a:grpFill/>
                <a:ln w="6350" cap="flat">
                  <a:solidFill>
                    <a:schemeClr val="bg1">
                      <a:alpha val="40000"/>
                    </a:schemeClr>
                  </a:solidFill>
                  <a:prstDash val="solid"/>
                  <a:miter/>
                </a:ln>
              </p:spPr>
              <p:txBody>
                <a:bodyPr rtlCol="0" anchor="ctr"/>
                <a:lstStyle/>
                <a:p>
                  <a:endParaRPr lang="en-GB"/>
                </a:p>
              </p:txBody>
            </p:sp>
            <p:sp>
              <p:nvSpPr>
                <p:cNvPr id="8970" name="Vrije vorm: vorm 8969">
                  <a:extLst>
                    <a:ext uri="{FF2B5EF4-FFF2-40B4-BE49-F238E27FC236}">
                      <a16:creationId xmlns:a16="http://schemas.microsoft.com/office/drawing/2014/main" id="{66C516C0-3222-4B08-A1D7-1014C9C6555C}"/>
                    </a:ext>
                  </a:extLst>
                </p:cNvPr>
                <p:cNvSpPr/>
                <p:nvPr/>
              </p:nvSpPr>
              <p:spPr>
                <a:xfrm>
                  <a:off x="4253688" y="2779879"/>
                  <a:ext cx="15669" cy="3050"/>
                </a:xfrm>
                <a:custGeom>
                  <a:avLst/>
                  <a:gdLst>
                    <a:gd name="connsiteX0" fmla="*/ 15670 w 15669"/>
                    <a:gd name="connsiteY0" fmla="*/ 0 h 3050"/>
                    <a:gd name="connsiteX1" fmla="*/ 0 w 15669"/>
                    <a:gd name="connsiteY1" fmla="*/ 3050 h 3050"/>
                  </a:gdLst>
                  <a:ahLst/>
                  <a:cxnLst>
                    <a:cxn ang="0">
                      <a:pos x="connsiteX0" y="connsiteY0"/>
                    </a:cxn>
                    <a:cxn ang="0">
                      <a:pos x="connsiteX1" y="connsiteY1"/>
                    </a:cxn>
                  </a:cxnLst>
                  <a:rect l="l" t="t" r="r" b="b"/>
                  <a:pathLst>
                    <a:path w="15669" h="3050">
                      <a:moveTo>
                        <a:pt x="15670" y="0"/>
                      </a:moveTo>
                      <a:lnTo>
                        <a:pt x="0" y="3050"/>
                      </a:lnTo>
                    </a:path>
                  </a:pathLst>
                </a:custGeom>
                <a:grpFill/>
                <a:ln w="6350" cap="flat">
                  <a:solidFill>
                    <a:schemeClr val="bg1">
                      <a:alpha val="40000"/>
                    </a:schemeClr>
                  </a:solidFill>
                  <a:prstDash val="solid"/>
                  <a:miter/>
                </a:ln>
              </p:spPr>
              <p:txBody>
                <a:bodyPr rtlCol="0" anchor="ctr"/>
                <a:lstStyle/>
                <a:p>
                  <a:endParaRPr lang="en-GB"/>
                </a:p>
              </p:txBody>
            </p:sp>
            <p:sp>
              <p:nvSpPr>
                <p:cNvPr id="8971" name="Vrije vorm: vorm 8970">
                  <a:extLst>
                    <a:ext uri="{FF2B5EF4-FFF2-40B4-BE49-F238E27FC236}">
                      <a16:creationId xmlns:a16="http://schemas.microsoft.com/office/drawing/2014/main" id="{BBDABB4A-C4F4-430B-8B74-127CC01EE906}"/>
                    </a:ext>
                  </a:extLst>
                </p:cNvPr>
                <p:cNvSpPr/>
                <p:nvPr/>
              </p:nvSpPr>
              <p:spPr>
                <a:xfrm>
                  <a:off x="4154647" y="2819950"/>
                  <a:ext cx="23504" cy="12499"/>
                </a:xfrm>
                <a:custGeom>
                  <a:avLst/>
                  <a:gdLst>
                    <a:gd name="connsiteX0" fmla="*/ 0 w 23504"/>
                    <a:gd name="connsiteY0" fmla="*/ 12500 h 12499"/>
                    <a:gd name="connsiteX1" fmla="*/ 23504 w 23504"/>
                    <a:gd name="connsiteY1" fmla="*/ 0 h 12499"/>
                  </a:gdLst>
                  <a:ahLst/>
                  <a:cxnLst>
                    <a:cxn ang="0">
                      <a:pos x="connsiteX0" y="connsiteY0"/>
                    </a:cxn>
                    <a:cxn ang="0">
                      <a:pos x="connsiteX1" y="connsiteY1"/>
                    </a:cxn>
                  </a:cxnLst>
                  <a:rect l="l" t="t" r="r" b="b"/>
                  <a:pathLst>
                    <a:path w="23504" h="12499">
                      <a:moveTo>
                        <a:pt x="0" y="12500"/>
                      </a:moveTo>
                      <a:lnTo>
                        <a:pt x="23504" y="0"/>
                      </a:lnTo>
                    </a:path>
                  </a:pathLst>
                </a:custGeom>
                <a:grpFill/>
                <a:ln w="6350" cap="flat">
                  <a:solidFill>
                    <a:schemeClr val="bg1">
                      <a:alpha val="40000"/>
                    </a:schemeClr>
                  </a:solidFill>
                  <a:prstDash val="solid"/>
                  <a:miter/>
                </a:ln>
              </p:spPr>
              <p:txBody>
                <a:bodyPr rtlCol="0" anchor="ctr"/>
                <a:lstStyle/>
                <a:p>
                  <a:endParaRPr lang="en-GB"/>
                </a:p>
              </p:txBody>
            </p:sp>
            <p:sp>
              <p:nvSpPr>
                <p:cNvPr id="8972" name="Vrije vorm: vorm 8971">
                  <a:extLst>
                    <a:ext uri="{FF2B5EF4-FFF2-40B4-BE49-F238E27FC236}">
                      <a16:creationId xmlns:a16="http://schemas.microsoft.com/office/drawing/2014/main" id="{89C4B62E-42FE-4C7A-8C5F-2D7FD7C0555B}"/>
                    </a:ext>
                  </a:extLst>
                </p:cNvPr>
                <p:cNvSpPr/>
                <p:nvPr/>
              </p:nvSpPr>
              <p:spPr>
                <a:xfrm>
                  <a:off x="4188439" y="2822761"/>
                  <a:ext cx="12858" cy="16686"/>
                </a:xfrm>
                <a:custGeom>
                  <a:avLst/>
                  <a:gdLst>
                    <a:gd name="connsiteX0" fmla="*/ 0 w 12858"/>
                    <a:gd name="connsiteY0" fmla="*/ 0 h 16686"/>
                    <a:gd name="connsiteX1" fmla="*/ 12859 w 12858"/>
                    <a:gd name="connsiteY1" fmla="*/ 16686 h 16686"/>
                  </a:gdLst>
                  <a:ahLst/>
                  <a:cxnLst>
                    <a:cxn ang="0">
                      <a:pos x="connsiteX0" y="connsiteY0"/>
                    </a:cxn>
                    <a:cxn ang="0">
                      <a:pos x="connsiteX1" y="connsiteY1"/>
                    </a:cxn>
                  </a:cxnLst>
                  <a:rect l="l" t="t" r="r" b="b"/>
                  <a:pathLst>
                    <a:path w="12858" h="16686">
                      <a:moveTo>
                        <a:pt x="0" y="0"/>
                      </a:moveTo>
                      <a:lnTo>
                        <a:pt x="12859" y="16686"/>
                      </a:lnTo>
                    </a:path>
                  </a:pathLst>
                </a:custGeom>
                <a:grpFill/>
                <a:ln w="6350" cap="flat">
                  <a:solidFill>
                    <a:schemeClr val="bg1">
                      <a:alpha val="40000"/>
                    </a:schemeClr>
                  </a:solidFill>
                  <a:prstDash val="solid"/>
                  <a:miter/>
                </a:ln>
              </p:spPr>
              <p:txBody>
                <a:bodyPr rtlCol="0" anchor="ctr"/>
                <a:lstStyle/>
                <a:p>
                  <a:endParaRPr lang="en-GB"/>
                </a:p>
              </p:txBody>
            </p:sp>
            <p:sp>
              <p:nvSpPr>
                <p:cNvPr id="8973" name="Vrije vorm: vorm 8972">
                  <a:extLst>
                    <a:ext uri="{FF2B5EF4-FFF2-40B4-BE49-F238E27FC236}">
                      <a16:creationId xmlns:a16="http://schemas.microsoft.com/office/drawing/2014/main" id="{EB726124-993D-4439-8AE2-6239B4BB445C}"/>
                    </a:ext>
                  </a:extLst>
                </p:cNvPr>
                <p:cNvSpPr/>
                <p:nvPr/>
              </p:nvSpPr>
              <p:spPr>
                <a:xfrm>
                  <a:off x="4090295" y="2802487"/>
                  <a:ext cx="461113" cy="91624"/>
                </a:xfrm>
                <a:custGeom>
                  <a:avLst/>
                  <a:gdLst>
                    <a:gd name="connsiteX0" fmla="*/ 0 w 461113"/>
                    <a:gd name="connsiteY0" fmla="*/ 0 h 91624"/>
                    <a:gd name="connsiteX1" fmla="*/ 461114 w 461113"/>
                    <a:gd name="connsiteY1" fmla="*/ 91625 h 91624"/>
                  </a:gdLst>
                  <a:ahLst/>
                  <a:cxnLst>
                    <a:cxn ang="0">
                      <a:pos x="connsiteX0" y="connsiteY0"/>
                    </a:cxn>
                    <a:cxn ang="0">
                      <a:pos x="connsiteX1" y="connsiteY1"/>
                    </a:cxn>
                  </a:cxnLst>
                  <a:rect l="l" t="t" r="r" b="b"/>
                  <a:pathLst>
                    <a:path w="461113" h="91624">
                      <a:moveTo>
                        <a:pt x="0" y="0"/>
                      </a:moveTo>
                      <a:lnTo>
                        <a:pt x="461114" y="91625"/>
                      </a:lnTo>
                    </a:path>
                  </a:pathLst>
                </a:custGeom>
                <a:grpFill/>
                <a:ln w="6350" cap="flat">
                  <a:solidFill>
                    <a:schemeClr val="bg1">
                      <a:alpha val="40000"/>
                    </a:schemeClr>
                  </a:solidFill>
                  <a:prstDash val="solid"/>
                  <a:miter/>
                </a:ln>
              </p:spPr>
              <p:txBody>
                <a:bodyPr rtlCol="0" anchor="ctr"/>
                <a:lstStyle/>
                <a:p>
                  <a:endParaRPr lang="en-GB"/>
                </a:p>
              </p:txBody>
            </p:sp>
            <p:sp>
              <p:nvSpPr>
                <p:cNvPr id="8974" name="Vrije vorm: vorm 8973">
                  <a:extLst>
                    <a:ext uri="{FF2B5EF4-FFF2-40B4-BE49-F238E27FC236}">
                      <a16:creationId xmlns:a16="http://schemas.microsoft.com/office/drawing/2014/main" id="{7D4AFC8E-B775-4731-93AE-C542E9420011}"/>
                    </a:ext>
                  </a:extLst>
                </p:cNvPr>
                <p:cNvSpPr/>
                <p:nvPr/>
              </p:nvSpPr>
              <p:spPr>
                <a:xfrm>
                  <a:off x="4266308" y="2763074"/>
                  <a:ext cx="275950" cy="17882"/>
                </a:xfrm>
                <a:custGeom>
                  <a:avLst/>
                  <a:gdLst>
                    <a:gd name="connsiteX0" fmla="*/ 275951 w 275950"/>
                    <a:gd name="connsiteY0" fmla="*/ 0 h 17882"/>
                    <a:gd name="connsiteX1" fmla="*/ 0 w 275950"/>
                    <a:gd name="connsiteY1" fmla="*/ 17882 h 17882"/>
                  </a:gdLst>
                  <a:ahLst/>
                  <a:cxnLst>
                    <a:cxn ang="0">
                      <a:pos x="connsiteX0" y="connsiteY0"/>
                    </a:cxn>
                    <a:cxn ang="0">
                      <a:pos x="connsiteX1" y="connsiteY1"/>
                    </a:cxn>
                  </a:cxnLst>
                  <a:rect l="l" t="t" r="r" b="b"/>
                  <a:pathLst>
                    <a:path w="275950" h="17882">
                      <a:moveTo>
                        <a:pt x="275951" y="0"/>
                      </a:moveTo>
                      <a:lnTo>
                        <a:pt x="0" y="17882"/>
                      </a:lnTo>
                    </a:path>
                  </a:pathLst>
                </a:custGeom>
                <a:grpFill/>
                <a:ln w="6350" cap="flat">
                  <a:solidFill>
                    <a:schemeClr val="bg1">
                      <a:alpha val="40000"/>
                    </a:schemeClr>
                  </a:solidFill>
                  <a:prstDash val="solid"/>
                  <a:miter/>
                </a:ln>
              </p:spPr>
              <p:txBody>
                <a:bodyPr rtlCol="0" anchor="ctr"/>
                <a:lstStyle/>
                <a:p>
                  <a:endParaRPr lang="en-GB"/>
                </a:p>
              </p:txBody>
            </p:sp>
            <p:sp>
              <p:nvSpPr>
                <p:cNvPr id="8975" name="Vrije vorm: vorm 8974">
                  <a:extLst>
                    <a:ext uri="{FF2B5EF4-FFF2-40B4-BE49-F238E27FC236}">
                      <a16:creationId xmlns:a16="http://schemas.microsoft.com/office/drawing/2014/main" id="{5507F94E-B01B-44E9-B769-B117C54D4259}"/>
                    </a:ext>
                  </a:extLst>
                </p:cNvPr>
                <p:cNvSpPr/>
                <p:nvPr/>
              </p:nvSpPr>
              <p:spPr>
                <a:xfrm>
                  <a:off x="4197529" y="2857390"/>
                  <a:ext cx="295866" cy="136300"/>
                </a:xfrm>
                <a:custGeom>
                  <a:avLst/>
                  <a:gdLst>
                    <a:gd name="connsiteX0" fmla="*/ 0 w 295866"/>
                    <a:gd name="connsiteY0" fmla="*/ 0 h 136300"/>
                    <a:gd name="connsiteX1" fmla="*/ 295866 w 295866"/>
                    <a:gd name="connsiteY1" fmla="*/ 136301 h 136300"/>
                  </a:gdLst>
                  <a:ahLst/>
                  <a:cxnLst>
                    <a:cxn ang="0">
                      <a:pos x="connsiteX0" y="connsiteY0"/>
                    </a:cxn>
                    <a:cxn ang="0">
                      <a:pos x="connsiteX1" y="connsiteY1"/>
                    </a:cxn>
                  </a:cxnLst>
                  <a:rect l="l" t="t" r="r" b="b"/>
                  <a:pathLst>
                    <a:path w="295866" h="136300">
                      <a:moveTo>
                        <a:pt x="0" y="0"/>
                      </a:moveTo>
                      <a:lnTo>
                        <a:pt x="295866" y="136301"/>
                      </a:lnTo>
                    </a:path>
                  </a:pathLst>
                </a:custGeom>
                <a:grpFill/>
                <a:ln w="6350" cap="flat">
                  <a:solidFill>
                    <a:schemeClr val="bg1">
                      <a:alpha val="40000"/>
                    </a:schemeClr>
                  </a:solidFill>
                  <a:prstDash val="solid"/>
                  <a:miter/>
                </a:ln>
              </p:spPr>
              <p:txBody>
                <a:bodyPr rtlCol="0" anchor="ctr"/>
                <a:lstStyle/>
                <a:p>
                  <a:endParaRPr lang="en-GB"/>
                </a:p>
              </p:txBody>
            </p:sp>
            <p:sp>
              <p:nvSpPr>
                <p:cNvPr id="8976" name="Vrije vorm: vorm 8975">
                  <a:extLst>
                    <a:ext uri="{FF2B5EF4-FFF2-40B4-BE49-F238E27FC236}">
                      <a16:creationId xmlns:a16="http://schemas.microsoft.com/office/drawing/2014/main" id="{DEA5A9F4-7260-4CAB-942B-8C5EDCBB00BE}"/>
                    </a:ext>
                  </a:extLst>
                </p:cNvPr>
                <p:cNvSpPr/>
                <p:nvPr/>
              </p:nvSpPr>
              <p:spPr>
                <a:xfrm>
                  <a:off x="4092089" y="2802905"/>
                  <a:ext cx="456388" cy="102808"/>
                </a:xfrm>
                <a:custGeom>
                  <a:avLst/>
                  <a:gdLst>
                    <a:gd name="connsiteX0" fmla="*/ 456389 w 456388"/>
                    <a:gd name="connsiteY0" fmla="*/ 102809 h 102808"/>
                    <a:gd name="connsiteX1" fmla="*/ 0 w 456388"/>
                    <a:gd name="connsiteY1" fmla="*/ 0 h 102808"/>
                  </a:gdLst>
                  <a:ahLst/>
                  <a:cxnLst>
                    <a:cxn ang="0">
                      <a:pos x="connsiteX0" y="connsiteY0"/>
                    </a:cxn>
                    <a:cxn ang="0">
                      <a:pos x="connsiteX1" y="connsiteY1"/>
                    </a:cxn>
                  </a:cxnLst>
                  <a:rect l="l" t="t" r="r" b="b"/>
                  <a:pathLst>
                    <a:path w="456388" h="102808">
                      <a:moveTo>
                        <a:pt x="456389" y="102809"/>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8977" name="Vrije vorm: vorm 8976">
                  <a:extLst>
                    <a:ext uri="{FF2B5EF4-FFF2-40B4-BE49-F238E27FC236}">
                      <a16:creationId xmlns:a16="http://schemas.microsoft.com/office/drawing/2014/main" id="{AFF88C78-DD88-4927-83E9-E86DCE4A2C88}"/>
                    </a:ext>
                  </a:extLst>
                </p:cNvPr>
                <p:cNvSpPr/>
                <p:nvPr/>
              </p:nvSpPr>
              <p:spPr>
                <a:xfrm>
                  <a:off x="4086288" y="2755957"/>
                  <a:ext cx="454475" cy="36123"/>
                </a:xfrm>
                <a:custGeom>
                  <a:avLst/>
                  <a:gdLst>
                    <a:gd name="connsiteX0" fmla="*/ 454475 w 454475"/>
                    <a:gd name="connsiteY0" fmla="*/ 0 h 36123"/>
                    <a:gd name="connsiteX1" fmla="*/ 0 w 454475"/>
                    <a:gd name="connsiteY1" fmla="*/ 36124 h 36123"/>
                  </a:gdLst>
                  <a:ahLst/>
                  <a:cxnLst>
                    <a:cxn ang="0">
                      <a:pos x="connsiteX0" y="connsiteY0"/>
                    </a:cxn>
                    <a:cxn ang="0">
                      <a:pos x="connsiteX1" y="connsiteY1"/>
                    </a:cxn>
                  </a:cxnLst>
                  <a:rect l="l" t="t" r="r" b="b"/>
                  <a:pathLst>
                    <a:path w="454475" h="36123">
                      <a:moveTo>
                        <a:pt x="454475" y="0"/>
                      </a:moveTo>
                      <a:lnTo>
                        <a:pt x="0" y="36124"/>
                      </a:lnTo>
                    </a:path>
                  </a:pathLst>
                </a:custGeom>
                <a:grpFill/>
                <a:ln w="6350" cap="flat">
                  <a:solidFill>
                    <a:schemeClr val="bg1">
                      <a:alpha val="40000"/>
                    </a:schemeClr>
                  </a:solidFill>
                  <a:prstDash val="solid"/>
                  <a:miter/>
                </a:ln>
              </p:spPr>
              <p:txBody>
                <a:bodyPr rtlCol="0" anchor="ctr"/>
                <a:lstStyle/>
                <a:p>
                  <a:endParaRPr lang="en-GB"/>
                </a:p>
              </p:txBody>
            </p:sp>
            <p:sp>
              <p:nvSpPr>
                <p:cNvPr id="8978" name="Vrije vorm: vorm 8977">
                  <a:extLst>
                    <a:ext uri="{FF2B5EF4-FFF2-40B4-BE49-F238E27FC236}">
                      <a16:creationId xmlns:a16="http://schemas.microsoft.com/office/drawing/2014/main" id="{A7DEB89F-3289-4ECB-BC87-2C338DC0950F}"/>
                    </a:ext>
                  </a:extLst>
                </p:cNvPr>
                <p:cNvSpPr/>
                <p:nvPr/>
              </p:nvSpPr>
              <p:spPr>
                <a:xfrm>
                  <a:off x="4194060" y="2859124"/>
                  <a:ext cx="295567" cy="139350"/>
                </a:xfrm>
                <a:custGeom>
                  <a:avLst/>
                  <a:gdLst>
                    <a:gd name="connsiteX0" fmla="*/ 295567 w 295567"/>
                    <a:gd name="connsiteY0" fmla="*/ 139351 h 139350"/>
                    <a:gd name="connsiteX1" fmla="*/ 0 w 295567"/>
                    <a:gd name="connsiteY1" fmla="*/ 0 h 139350"/>
                  </a:gdLst>
                  <a:ahLst/>
                  <a:cxnLst>
                    <a:cxn ang="0">
                      <a:pos x="connsiteX0" y="connsiteY0"/>
                    </a:cxn>
                    <a:cxn ang="0">
                      <a:pos x="connsiteX1" y="connsiteY1"/>
                    </a:cxn>
                  </a:cxnLst>
                  <a:rect l="l" t="t" r="r" b="b"/>
                  <a:pathLst>
                    <a:path w="295567" h="139350">
                      <a:moveTo>
                        <a:pt x="295567" y="139351"/>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8979" name="Vrije vorm: vorm 8978">
                  <a:extLst>
                    <a:ext uri="{FF2B5EF4-FFF2-40B4-BE49-F238E27FC236}">
                      <a16:creationId xmlns:a16="http://schemas.microsoft.com/office/drawing/2014/main" id="{8C3A0F00-BC46-42FC-BD8E-3E224BF8E13B}"/>
                    </a:ext>
                  </a:extLst>
                </p:cNvPr>
                <p:cNvSpPr/>
                <p:nvPr/>
              </p:nvSpPr>
              <p:spPr>
                <a:xfrm>
                  <a:off x="4087245" y="2808228"/>
                  <a:ext cx="65070" cy="30740"/>
                </a:xfrm>
                <a:custGeom>
                  <a:avLst/>
                  <a:gdLst>
                    <a:gd name="connsiteX0" fmla="*/ 65070 w 65070"/>
                    <a:gd name="connsiteY0" fmla="*/ 30741 h 30740"/>
                    <a:gd name="connsiteX1" fmla="*/ 0 w 65070"/>
                    <a:gd name="connsiteY1" fmla="*/ 0 h 30740"/>
                  </a:gdLst>
                  <a:ahLst/>
                  <a:cxnLst>
                    <a:cxn ang="0">
                      <a:pos x="connsiteX0" y="connsiteY0"/>
                    </a:cxn>
                    <a:cxn ang="0">
                      <a:pos x="connsiteX1" y="connsiteY1"/>
                    </a:cxn>
                  </a:cxnLst>
                  <a:rect l="l" t="t" r="r" b="b"/>
                  <a:pathLst>
                    <a:path w="65070" h="30740">
                      <a:moveTo>
                        <a:pt x="65070" y="30741"/>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8980" name="Vrije vorm: vorm 8979">
                  <a:extLst>
                    <a:ext uri="{FF2B5EF4-FFF2-40B4-BE49-F238E27FC236}">
                      <a16:creationId xmlns:a16="http://schemas.microsoft.com/office/drawing/2014/main" id="{620A4FBF-E4E2-433A-A980-A47FAF348C8E}"/>
                    </a:ext>
                  </a:extLst>
                </p:cNvPr>
                <p:cNvSpPr/>
                <p:nvPr/>
              </p:nvSpPr>
              <p:spPr>
                <a:xfrm>
                  <a:off x="4089697" y="2800453"/>
                  <a:ext cx="362611" cy="43360"/>
                </a:xfrm>
                <a:custGeom>
                  <a:avLst/>
                  <a:gdLst>
                    <a:gd name="connsiteX0" fmla="*/ 362611 w 362611"/>
                    <a:gd name="connsiteY0" fmla="*/ 43360 h 43360"/>
                    <a:gd name="connsiteX1" fmla="*/ 0 w 362611"/>
                    <a:gd name="connsiteY1" fmla="*/ 0 h 43360"/>
                  </a:gdLst>
                  <a:ahLst/>
                  <a:cxnLst>
                    <a:cxn ang="0">
                      <a:pos x="connsiteX0" y="connsiteY0"/>
                    </a:cxn>
                    <a:cxn ang="0">
                      <a:pos x="connsiteX1" y="connsiteY1"/>
                    </a:cxn>
                  </a:cxnLst>
                  <a:rect l="l" t="t" r="r" b="b"/>
                  <a:pathLst>
                    <a:path w="362611" h="43360">
                      <a:moveTo>
                        <a:pt x="362611" y="43360"/>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8981" name="Vrije vorm: vorm 8980">
                  <a:extLst>
                    <a:ext uri="{FF2B5EF4-FFF2-40B4-BE49-F238E27FC236}">
                      <a16:creationId xmlns:a16="http://schemas.microsoft.com/office/drawing/2014/main" id="{767BD6FA-1E0D-477E-AD84-68BC832950F1}"/>
                    </a:ext>
                  </a:extLst>
                </p:cNvPr>
                <p:cNvSpPr/>
                <p:nvPr/>
              </p:nvSpPr>
              <p:spPr>
                <a:xfrm>
                  <a:off x="4089697" y="2800453"/>
                  <a:ext cx="359261" cy="55381"/>
                </a:xfrm>
                <a:custGeom>
                  <a:avLst/>
                  <a:gdLst>
                    <a:gd name="connsiteX0" fmla="*/ 359262 w 359261"/>
                    <a:gd name="connsiteY0" fmla="*/ 55381 h 55381"/>
                    <a:gd name="connsiteX1" fmla="*/ 0 w 359261"/>
                    <a:gd name="connsiteY1" fmla="*/ 0 h 55381"/>
                  </a:gdLst>
                  <a:ahLst/>
                  <a:cxnLst>
                    <a:cxn ang="0">
                      <a:pos x="connsiteX0" y="connsiteY0"/>
                    </a:cxn>
                    <a:cxn ang="0">
                      <a:pos x="connsiteX1" y="connsiteY1"/>
                    </a:cxn>
                  </a:cxnLst>
                  <a:rect l="l" t="t" r="r" b="b"/>
                  <a:pathLst>
                    <a:path w="359261" h="55381">
                      <a:moveTo>
                        <a:pt x="359262" y="55381"/>
                      </a:moveTo>
                      <a:lnTo>
                        <a:pt x="0" y="0"/>
                      </a:lnTo>
                    </a:path>
                  </a:pathLst>
                </a:custGeom>
                <a:grpFill/>
                <a:ln w="6350" cap="flat">
                  <a:solidFill>
                    <a:schemeClr val="bg1">
                      <a:alpha val="40000"/>
                    </a:schemeClr>
                  </a:solidFill>
                  <a:prstDash val="solid"/>
                  <a:miter/>
                </a:ln>
              </p:spPr>
              <p:txBody>
                <a:bodyPr rtlCol="0" anchor="ctr"/>
                <a:lstStyle/>
                <a:p>
                  <a:endParaRPr lang="en-GB"/>
                </a:p>
              </p:txBody>
            </p:sp>
            <p:grpSp>
              <p:nvGrpSpPr>
                <p:cNvPr id="8982" name="Graphic 3">
                  <a:extLst>
                    <a:ext uri="{FF2B5EF4-FFF2-40B4-BE49-F238E27FC236}">
                      <a16:creationId xmlns:a16="http://schemas.microsoft.com/office/drawing/2014/main" id="{7FAE3694-20C2-430E-9191-DE0C6611BE40}"/>
                    </a:ext>
                  </a:extLst>
                </p:cNvPr>
                <p:cNvGrpSpPr/>
                <p:nvPr/>
              </p:nvGrpSpPr>
              <p:grpSpPr>
                <a:xfrm>
                  <a:off x="4395730" y="2768337"/>
                  <a:ext cx="78945" cy="190844"/>
                  <a:chOff x="4395730" y="2768337"/>
                  <a:chExt cx="78945" cy="190844"/>
                </a:xfrm>
                <a:grpFill/>
              </p:grpSpPr>
              <p:sp>
                <p:nvSpPr>
                  <p:cNvPr id="9016" name="Vrije vorm: vorm 9015">
                    <a:extLst>
                      <a:ext uri="{FF2B5EF4-FFF2-40B4-BE49-F238E27FC236}">
                        <a16:creationId xmlns:a16="http://schemas.microsoft.com/office/drawing/2014/main" id="{654C0749-30A5-40E2-A0E1-C6C07307CBEC}"/>
                      </a:ext>
                    </a:extLst>
                  </p:cNvPr>
                  <p:cNvSpPr/>
                  <p:nvPr/>
                </p:nvSpPr>
                <p:spPr>
                  <a:xfrm>
                    <a:off x="4418517" y="2887891"/>
                    <a:ext cx="50776" cy="71290"/>
                  </a:xfrm>
                  <a:custGeom>
                    <a:avLst/>
                    <a:gdLst>
                      <a:gd name="connsiteX0" fmla="*/ 0 w 50776"/>
                      <a:gd name="connsiteY0" fmla="*/ 71290 h 71290"/>
                      <a:gd name="connsiteX1" fmla="*/ 50776 w 50776"/>
                      <a:gd name="connsiteY1" fmla="*/ 0 h 71290"/>
                    </a:gdLst>
                    <a:ahLst/>
                    <a:cxnLst>
                      <a:cxn ang="0">
                        <a:pos x="connsiteX0" y="connsiteY0"/>
                      </a:cxn>
                      <a:cxn ang="0">
                        <a:pos x="connsiteX1" y="connsiteY1"/>
                      </a:cxn>
                    </a:cxnLst>
                    <a:rect l="l" t="t" r="r" b="b"/>
                    <a:pathLst>
                      <a:path w="50776" h="71290">
                        <a:moveTo>
                          <a:pt x="0" y="71290"/>
                        </a:moveTo>
                        <a:lnTo>
                          <a:pt x="50776" y="0"/>
                        </a:lnTo>
                      </a:path>
                    </a:pathLst>
                  </a:custGeom>
                  <a:grpFill/>
                  <a:ln w="6350" cap="flat">
                    <a:solidFill>
                      <a:schemeClr val="bg1">
                        <a:alpha val="40000"/>
                      </a:schemeClr>
                    </a:solidFill>
                    <a:prstDash val="solid"/>
                    <a:miter/>
                  </a:ln>
                </p:spPr>
                <p:txBody>
                  <a:bodyPr rtlCol="0" anchor="ctr"/>
                  <a:lstStyle/>
                  <a:p>
                    <a:endParaRPr lang="en-GB"/>
                  </a:p>
                </p:txBody>
              </p:sp>
              <p:sp>
                <p:nvSpPr>
                  <p:cNvPr id="9017" name="Vrije vorm: vorm 9016">
                    <a:extLst>
                      <a:ext uri="{FF2B5EF4-FFF2-40B4-BE49-F238E27FC236}">
                        <a16:creationId xmlns:a16="http://schemas.microsoft.com/office/drawing/2014/main" id="{713FFA5B-A336-4FD8-B930-21F75362A665}"/>
                      </a:ext>
                    </a:extLst>
                  </p:cNvPr>
                  <p:cNvSpPr/>
                  <p:nvPr/>
                </p:nvSpPr>
                <p:spPr>
                  <a:xfrm>
                    <a:off x="4416304" y="2887413"/>
                    <a:ext cx="45154" cy="66266"/>
                  </a:xfrm>
                  <a:custGeom>
                    <a:avLst/>
                    <a:gdLst>
                      <a:gd name="connsiteX0" fmla="*/ 0 w 45154"/>
                      <a:gd name="connsiteY0" fmla="*/ 66266 h 66266"/>
                      <a:gd name="connsiteX1" fmla="*/ 45155 w 45154"/>
                      <a:gd name="connsiteY1" fmla="*/ 0 h 66266"/>
                    </a:gdLst>
                    <a:ahLst/>
                    <a:cxnLst>
                      <a:cxn ang="0">
                        <a:pos x="connsiteX0" y="connsiteY0"/>
                      </a:cxn>
                      <a:cxn ang="0">
                        <a:pos x="connsiteX1" y="connsiteY1"/>
                      </a:cxn>
                    </a:cxnLst>
                    <a:rect l="l" t="t" r="r" b="b"/>
                    <a:pathLst>
                      <a:path w="45154" h="66266">
                        <a:moveTo>
                          <a:pt x="0" y="66266"/>
                        </a:moveTo>
                        <a:lnTo>
                          <a:pt x="45155" y="0"/>
                        </a:lnTo>
                      </a:path>
                    </a:pathLst>
                  </a:custGeom>
                  <a:grpFill/>
                  <a:ln w="6350" cap="flat">
                    <a:solidFill>
                      <a:schemeClr val="bg1">
                        <a:alpha val="40000"/>
                      </a:schemeClr>
                    </a:solidFill>
                    <a:prstDash val="solid"/>
                    <a:miter/>
                  </a:ln>
                </p:spPr>
                <p:txBody>
                  <a:bodyPr rtlCol="0" anchor="ctr"/>
                  <a:lstStyle/>
                  <a:p>
                    <a:endParaRPr lang="en-GB"/>
                  </a:p>
                </p:txBody>
              </p:sp>
              <p:sp>
                <p:nvSpPr>
                  <p:cNvPr id="9018" name="Vrije vorm: vorm 9017">
                    <a:extLst>
                      <a:ext uri="{FF2B5EF4-FFF2-40B4-BE49-F238E27FC236}">
                        <a16:creationId xmlns:a16="http://schemas.microsoft.com/office/drawing/2014/main" id="{9307E62B-071F-4C3F-B74A-C9700C100C63}"/>
                      </a:ext>
                    </a:extLst>
                  </p:cNvPr>
                  <p:cNvSpPr/>
                  <p:nvPr/>
                </p:nvSpPr>
                <p:spPr>
                  <a:xfrm>
                    <a:off x="4460860" y="2768337"/>
                    <a:ext cx="13815" cy="109626"/>
                  </a:xfrm>
                  <a:custGeom>
                    <a:avLst/>
                    <a:gdLst>
                      <a:gd name="connsiteX0" fmla="*/ 13815 w 13815"/>
                      <a:gd name="connsiteY0" fmla="*/ 109627 h 109626"/>
                      <a:gd name="connsiteX1" fmla="*/ 0 w 13815"/>
                      <a:gd name="connsiteY1" fmla="*/ 0 h 109626"/>
                    </a:gdLst>
                    <a:ahLst/>
                    <a:cxnLst>
                      <a:cxn ang="0">
                        <a:pos x="connsiteX0" y="connsiteY0"/>
                      </a:cxn>
                      <a:cxn ang="0">
                        <a:pos x="connsiteX1" y="connsiteY1"/>
                      </a:cxn>
                    </a:cxnLst>
                    <a:rect l="l" t="t" r="r" b="b"/>
                    <a:pathLst>
                      <a:path w="13815" h="109626">
                        <a:moveTo>
                          <a:pt x="13815" y="109627"/>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019" name="Vrije vorm: vorm 9018">
                    <a:extLst>
                      <a:ext uri="{FF2B5EF4-FFF2-40B4-BE49-F238E27FC236}">
                        <a16:creationId xmlns:a16="http://schemas.microsoft.com/office/drawing/2014/main" id="{99FFD8B5-F5C0-4DA7-A156-9A8B6A03A3C3}"/>
                      </a:ext>
                    </a:extLst>
                  </p:cNvPr>
                  <p:cNvSpPr/>
                  <p:nvPr/>
                </p:nvSpPr>
                <p:spPr>
                  <a:xfrm>
                    <a:off x="4455717" y="2768695"/>
                    <a:ext cx="10944" cy="108490"/>
                  </a:xfrm>
                  <a:custGeom>
                    <a:avLst/>
                    <a:gdLst>
                      <a:gd name="connsiteX0" fmla="*/ 10945 w 10944"/>
                      <a:gd name="connsiteY0" fmla="*/ 108490 h 108490"/>
                      <a:gd name="connsiteX1" fmla="*/ 0 w 10944"/>
                      <a:gd name="connsiteY1" fmla="*/ 0 h 108490"/>
                    </a:gdLst>
                    <a:ahLst/>
                    <a:cxnLst>
                      <a:cxn ang="0">
                        <a:pos x="connsiteX0" y="connsiteY0"/>
                      </a:cxn>
                      <a:cxn ang="0">
                        <a:pos x="connsiteX1" y="connsiteY1"/>
                      </a:cxn>
                    </a:cxnLst>
                    <a:rect l="l" t="t" r="r" b="b"/>
                    <a:pathLst>
                      <a:path w="10944" h="108490">
                        <a:moveTo>
                          <a:pt x="10945" y="108490"/>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020" name="Vrije vorm: vorm 9019">
                    <a:extLst>
                      <a:ext uri="{FF2B5EF4-FFF2-40B4-BE49-F238E27FC236}">
                        <a16:creationId xmlns:a16="http://schemas.microsoft.com/office/drawing/2014/main" id="{EB289672-AA78-41D2-8954-8C774E74FB93}"/>
                      </a:ext>
                    </a:extLst>
                  </p:cNvPr>
                  <p:cNvSpPr/>
                  <p:nvPr/>
                </p:nvSpPr>
                <p:spPr>
                  <a:xfrm>
                    <a:off x="4404881" y="2769054"/>
                    <a:ext cx="44975" cy="69077"/>
                  </a:xfrm>
                  <a:custGeom>
                    <a:avLst/>
                    <a:gdLst>
                      <a:gd name="connsiteX0" fmla="*/ 44975 w 44975"/>
                      <a:gd name="connsiteY0" fmla="*/ 0 h 69077"/>
                      <a:gd name="connsiteX1" fmla="*/ 0 w 44975"/>
                      <a:gd name="connsiteY1" fmla="*/ 69077 h 69077"/>
                    </a:gdLst>
                    <a:ahLst/>
                    <a:cxnLst>
                      <a:cxn ang="0">
                        <a:pos x="connsiteX0" y="connsiteY0"/>
                      </a:cxn>
                      <a:cxn ang="0">
                        <a:pos x="connsiteX1" y="connsiteY1"/>
                      </a:cxn>
                    </a:cxnLst>
                    <a:rect l="l" t="t" r="r" b="b"/>
                    <a:pathLst>
                      <a:path w="44975" h="69077">
                        <a:moveTo>
                          <a:pt x="44975" y="0"/>
                        </a:moveTo>
                        <a:lnTo>
                          <a:pt x="0" y="69077"/>
                        </a:lnTo>
                      </a:path>
                    </a:pathLst>
                  </a:custGeom>
                  <a:grpFill/>
                  <a:ln w="6350" cap="flat">
                    <a:solidFill>
                      <a:schemeClr val="bg1">
                        <a:alpha val="40000"/>
                      </a:schemeClr>
                    </a:solidFill>
                    <a:prstDash val="solid"/>
                    <a:miter/>
                  </a:ln>
                </p:spPr>
                <p:txBody>
                  <a:bodyPr rtlCol="0" anchor="ctr"/>
                  <a:lstStyle/>
                  <a:p>
                    <a:endParaRPr lang="en-GB"/>
                  </a:p>
                </p:txBody>
              </p:sp>
              <p:sp>
                <p:nvSpPr>
                  <p:cNvPr id="9021" name="Vrije vorm: vorm 9020">
                    <a:extLst>
                      <a:ext uri="{FF2B5EF4-FFF2-40B4-BE49-F238E27FC236}">
                        <a16:creationId xmlns:a16="http://schemas.microsoft.com/office/drawing/2014/main" id="{4F1C3788-425C-4B37-8305-C1B231A248A7}"/>
                      </a:ext>
                    </a:extLst>
                  </p:cNvPr>
                  <p:cNvSpPr/>
                  <p:nvPr/>
                </p:nvSpPr>
                <p:spPr>
                  <a:xfrm>
                    <a:off x="4397644" y="2769772"/>
                    <a:ext cx="41506" cy="67522"/>
                  </a:xfrm>
                  <a:custGeom>
                    <a:avLst/>
                    <a:gdLst>
                      <a:gd name="connsiteX0" fmla="*/ 41506 w 41506"/>
                      <a:gd name="connsiteY0" fmla="*/ 0 h 67522"/>
                      <a:gd name="connsiteX1" fmla="*/ 0 w 41506"/>
                      <a:gd name="connsiteY1" fmla="*/ 67522 h 67522"/>
                    </a:gdLst>
                    <a:ahLst/>
                    <a:cxnLst>
                      <a:cxn ang="0">
                        <a:pos x="connsiteX0" y="connsiteY0"/>
                      </a:cxn>
                      <a:cxn ang="0">
                        <a:pos x="connsiteX1" y="connsiteY1"/>
                      </a:cxn>
                    </a:cxnLst>
                    <a:rect l="l" t="t" r="r" b="b"/>
                    <a:pathLst>
                      <a:path w="41506" h="67522">
                        <a:moveTo>
                          <a:pt x="41506" y="0"/>
                        </a:moveTo>
                        <a:lnTo>
                          <a:pt x="0" y="67522"/>
                        </a:lnTo>
                      </a:path>
                    </a:pathLst>
                  </a:custGeom>
                  <a:grpFill/>
                  <a:ln w="6350" cap="flat">
                    <a:solidFill>
                      <a:schemeClr val="bg1">
                        <a:alpha val="40000"/>
                      </a:schemeClr>
                    </a:solidFill>
                    <a:prstDash val="solid"/>
                    <a:miter/>
                  </a:ln>
                </p:spPr>
                <p:txBody>
                  <a:bodyPr rtlCol="0" anchor="ctr"/>
                  <a:lstStyle/>
                  <a:p>
                    <a:endParaRPr lang="en-GB"/>
                  </a:p>
                </p:txBody>
              </p:sp>
              <p:sp>
                <p:nvSpPr>
                  <p:cNvPr id="9022" name="Vrije vorm: vorm 9021">
                    <a:extLst>
                      <a:ext uri="{FF2B5EF4-FFF2-40B4-BE49-F238E27FC236}">
                        <a16:creationId xmlns:a16="http://schemas.microsoft.com/office/drawing/2014/main" id="{9B6489DA-9880-448A-A10C-28ADC9C6A7A0}"/>
                      </a:ext>
                    </a:extLst>
                  </p:cNvPr>
                  <p:cNvSpPr/>
                  <p:nvPr/>
                </p:nvSpPr>
                <p:spPr>
                  <a:xfrm>
                    <a:off x="4402907" y="2848777"/>
                    <a:ext cx="13396" cy="104901"/>
                  </a:xfrm>
                  <a:custGeom>
                    <a:avLst/>
                    <a:gdLst>
                      <a:gd name="connsiteX0" fmla="*/ 13397 w 13396"/>
                      <a:gd name="connsiteY0" fmla="*/ 104902 h 104901"/>
                      <a:gd name="connsiteX1" fmla="*/ 0 w 13396"/>
                      <a:gd name="connsiteY1" fmla="*/ 0 h 104901"/>
                    </a:gdLst>
                    <a:ahLst/>
                    <a:cxnLst>
                      <a:cxn ang="0">
                        <a:pos x="connsiteX0" y="connsiteY0"/>
                      </a:cxn>
                      <a:cxn ang="0">
                        <a:pos x="connsiteX1" y="connsiteY1"/>
                      </a:cxn>
                    </a:cxnLst>
                    <a:rect l="l" t="t" r="r" b="b"/>
                    <a:pathLst>
                      <a:path w="13396" h="104901">
                        <a:moveTo>
                          <a:pt x="13397" y="104902"/>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023" name="Vrije vorm: vorm 9022">
                    <a:extLst>
                      <a:ext uri="{FF2B5EF4-FFF2-40B4-BE49-F238E27FC236}">
                        <a16:creationId xmlns:a16="http://schemas.microsoft.com/office/drawing/2014/main" id="{0BC1EE37-A7A9-47A5-878F-133418A68101}"/>
                      </a:ext>
                    </a:extLst>
                  </p:cNvPr>
                  <p:cNvSpPr/>
                  <p:nvPr/>
                </p:nvSpPr>
                <p:spPr>
                  <a:xfrm>
                    <a:off x="4395730" y="2847641"/>
                    <a:ext cx="11482" cy="106337"/>
                  </a:xfrm>
                  <a:custGeom>
                    <a:avLst/>
                    <a:gdLst>
                      <a:gd name="connsiteX0" fmla="*/ 11483 w 11482"/>
                      <a:gd name="connsiteY0" fmla="*/ 106337 h 106337"/>
                      <a:gd name="connsiteX1" fmla="*/ 0 w 11482"/>
                      <a:gd name="connsiteY1" fmla="*/ 0 h 106337"/>
                    </a:gdLst>
                    <a:ahLst/>
                    <a:cxnLst>
                      <a:cxn ang="0">
                        <a:pos x="connsiteX0" y="connsiteY0"/>
                      </a:cxn>
                      <a:cxn ang="0">
                        <a:pos x="connsiteX1" y="connsiteY1"/>
                      </a:cxn>
                    </a:cxnLst>
                    <a:rect l="l" t="t" r="r" b="b"/>
                    <a:pathLst>
                      <a:path w="11482" h="106337">
                        <a:moveTo>
                          <a:pt x="11483" y="106337"/>
                        </a:moveTo>
                        <a:lnTo>
                          <a:pt x="0" y="0"/>
                        </a:lnTo>
                      </a:path>
                    </a:pathLst>
                  </a:custGeom>
                  <a:grpFill/>
                  <a:ln w="6350" cap="flat">
                    <a:solidFill>
                      <a:schemeClr val="bg1">
                        <a:alpha val="40000"/>
                      </a:schemeClr>
                    </a:solidFill>
                    <a:prstDash val="solid"/>
                    <a:miter/>
                  </a:ln>
                </p:spPr>
                <p:txBody>
                  <a:bodyPr rtlCol="0" anchor="ctr"/>
                  <a:lstStyle/>
                  <a:p>
                    <a:endParaRPr lang="en-GB"/>
                  </a:p>
                </p:txBody>
              </p:sp>
            </p:grpSp>
            <p:grpSp>
              <p:nvGrpSpPr>
                <p:cNvPr id="8983" name="Graphic 3">
                  <a:extLst>
                    <a:ext uri="{FF2B5EF4-FFF2-40B4-BE49-F238E27FC236}">
                      <a16:creationId xmlns:a16="http://schemas.microsoft.com/office/drawing/2014/main" id="{F41EDE04-AD6E-43D2-A1A3-2B29D893E5FA}"/>
                    </a:ext>
                  </a:extLst>
                </p:cNvPr>
                <p:cNvGrpSpPr/>
                <p:nvPr/>
              </p:nvGrpSpPr>
              <p:grpSpPr>
                <a:xfrm>
                  <a:off x="4324620" y="2771686"/>
                  <a:ext cx="49819" cy="152747"/>
                  <a:chOff x="4324620" y="2771686"/>
                  <a:chExt cx="49819" cy="152747"/>
                </a:xfrm>
                <a:grpFill/>
              </p:grpSpPr>
              <p:sp>
                <p:nvSpPr>
                  <p:cNvPr id="9008" name="Vrije vorm: vorm 9007">
                    <a:extLst>
                      <a:ext uri="{FF2B5EF4-FFF2-40B4-BE49-F238E27FC236}">
                        <a16:creationId xmlns:a16="http://schemas.microsoft.com/office/drawing/2014/main" id="{5951C621-40BD-466A-BBD3-D7162C29FDF3}"/>
                      </a:ext>
                    </a:extLst>
                  </p:cNvPr>
                  <p:cNvSpPr/>
                  <p:nvPr/>
                </p:nvSpPr>
                <p:spPr>
                  <a:xfrm>
                    <a:off x="4336103" y="2866361"/>
                    <a:ext cx="34568" cy="58072"/>
                  </a:xfrm>
                  <a:custGeom>
                    <a:avLst/>
                    <a:gdLst>
                      <a:gd name="connsiteX0" fmla="*/ 0 w 34568"/>
                      <a:gd name="connsiteY0" fmla="*/ 58073 h 58072"/>
                      <a:gd name="connsiteX1" fmla="*/ 34569 w 34568"/>
                      <a:gd name="connsiteY1" fmla="*/ 0 h 58072"/>
                    </a:gdLst>
                    <a:ahLst/>
                    <a:cxnLst>
                      <a:cxn ang="0">
                        <a:pos x="connsiteX0" y="connsiteY0"/>
                      </a:cxn>
                      <a:cxn ang="0">
                        <a:pos x="connsiteX1" y="connsiteY1"/>
                      </a:cxn>
                    </a:cxnLst>
                    <a:rect l="l" t="t" r="r" b="b"/>
                    <a:pathLst>
                      <a:path w="34568" h="58072">
                        <a:moveTo>
                          <a:pt x="0" y="58073"/>
                        </a:moveTo>
                        <a:lnTo>
                          <a:pt x="34569" y="0"/>
                        </a:lnTo>
                      </a:path>
                    </a:pathLst>
                  </a:custGeom>
                  <a:grpFill/>
                  <a:ln w="6350" cap="flat">
                    <a:solidFill>
                      <a:schemeClr val="bg1">
                        <a:alpha val="40000"/>
                      </a:schemeClr>
                    </a:solidFill>
                    <a:prstDash val="solid"/>
                    <a:miter/>
                  </a:ln>
                </p:spPr>
                <p:txBody>
                  <a:bodyPr rtlCol="0" anchor="ctr"/>
                  <a:lstStyle/>
                  <a:p>
                    <a:endParaRPr lang="en-GB"/>
                  </a:p>
                </p:txBody>
              </p:sp>
              <p:sp>
                <p:nvSpPr>
                  <p:cNvPr id="9009" name="Vrije vorm: vorm 9008">
                    <a:extLst>
                      <a:ext uri="{FF2B5EF4-FFF2-40B4-BE49-F238E27FC236}">
                        <a16:creationId xmlns:a16="http://schemas.microsoft.com/office/drawing/2014/main" id="{1A98D854-FF23-41C8-B92B-AAB47DE4FFEB}"/>
                      </a:ext>
                    </a:extLst>
                  </p:cNvPr>
                  <p:cNvSpPr/>
                  <p:nvPr/>
                </p:nvSpPr>
                <p:spPr>
                  <a:xfrm>
                    <a:off x="4334787" y="2866181"/>
                    <a:ext cx="30920" cy="53886"/>
                  </a:xfrm>
                  <a:custGeom>
                    <a:avLst/>
                    <a:gdLst>
                      <a:gd name="connsiteX0" fmla="*/ 0 w 30920"/>
                      <a:gd name="connsiteY0" fmla="*/ 53886 h 53886"/>
                      <a:gd name="connsiteX1" fmla="*/ 30920 w 30920"/>
                      <a:gd name="connsiteY1" fmla="*/ 0 h 53886"/>
                    </a:gdLst>
                    <a:ahLst/>
                    <a:cxnLst>
                      <a:cxn ang="0">
                        <a:pos x="connsiteX0" y="connsiteY0"/>
                      </a:cxn>
                      <a:cxn ang="0">
                        <a:pos x="connsiteX1" y="connsiteY1"/>
                      </a:cxn>
                    </a:cxnLst>
                    <a:rect l="l" t="t" r="r" b="b"/>
                    <a:pathLst>
                      <a:path w="30920" h="53886">
                        <a:moveTo>
                          <a:pt x="0" y="53886"/>
                        </a:moveTo>
                        <a:lnTo>
                          <a:pt x="30920" y="0"/>
                        </a:lnTo>
                      </a:path>
                    </a:pathLst>
                  </a:custGeom>
                  <a:grpFill/>
                  <a:ln w="6350" cap="flat">
                    <a:solidFill>
                      <a:schemeClr val="bg1">
                        <a:alpha val="40000"/>
                      </a:schemeClr>
                    </a:solidFill>
                    <a:prstDash val="solid"/>
                    <a:miter/>
                  </a:ln>
                </p:spPr>
                <p:txBody>
                  <a:bodyPr rtlCol="0" anchor="ctr"/>
                  <a:lstStyle/>
                  <a:p>
                    <a:endParaRPr lang="en-GB"/>
                  </a:p>
                </p:txBody>
              </p:sp>
              <p:sp>
                <p:nvSpPr>
                  <p:cNvPr id="9010" name="Vrije vorm: vorm 9009">
                    <a:extLst>
                      <a:ext uri="{FF2B5EF4-FFF2-40B4-BE49-F238E27FC236}">
                        <a16:creationId xmlns:a16="http://schemas.microsoft.com/office/drawing/2014/main" id="{15ECE9F3-5DA6-42EA-B8BE-51FE59C95818}"/>
                      </a:ext>
                    </a:extLst>
                  </p:cNvPr>
                  <p:cNvSpPr/>
                  <p:nvPr/>
                </p:nvSpPr>
                <p:spPr>
                  <a:xfrm>
                    <a:off x="4368638" y="2771686"/>
                    <a:ext cx="5801" cy="86600"/>
                  </a:xfrm>
                  <a:custGeom>
                    <a:avLst/>
                    <a:gdLst>
                      <a:gd name="connsiteX0" fmla="*/ 5801 w 5801"/>
                      <a:gd name="connsiteY0" fmla="*/ 86601 h 86600"/>
                      <a:gd name="connsiteX1" fmla="*/ 0 w 5801"/>
                      <a:gd name="connsiteY1" fmla="*/ 0 h 86600"/>
                    </a:gdLst>
                    <a:ahLst/>
                    <a:cxnLst>
                      <a:cxn ang="0">
                        <a:pos x="connsiteX0" y="connsiteY0"/>
                      </a:cxn>
                      <a:cxn ang="0">
                        <a:pos x="connsiteX1" y="connsiteY1"/>
                      </a:cxn>
                    </a:cxnLst>
                    <a:rect l="l" t="t" r="r" b="b"/>
                    <a:pathLst>
                      <a:path w="5801" h="86600">
                        <a:moveTo>
                          <a:pt x="5801" y="86601"/>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011" name="Vrije vorm: vorm 9010">
                    <a:extLst>
                      <a:ext uri="{FF2B5EF4-FFF2-40B4-BE49-F238E27FC236}">
                        <a16:creationId xmlns:a16="http://schemas.microsoft.com/office/drawing/2014/main" id="{8696CC46-3BC2-4A48-9226-1C20DD6B0EB4}"/>
                      </a:ext>
                    </a:extLst>
                  </p:cNvPr>
                  <p:cNvSpPr/>
                  <p:nvPr/>
                </p:nvSpPr>
                <p:spPr>
                  <a:xfrm>
                    <a:off x="4365348" y="2772104"/>
                    <a:ext cx="3947" cy="85823"/>
                  </a:xfrm>
                  <a:custGeom>
                    <a:avLst/>
                    <a:gdLst>
                      <a:gd name="connsiteX0" fmla="*/ 3947 w 3947"/>
                      <a:gd name="connsiteY0" fmla="*/ 85823 h 85823"/>
                      <a:gd name="connsiteX1" fmla="*/ 0 w 3947"/>
                      <a:gd name="connsiteY1" fmla="*/ 0 h 85823"/>
                    </a:gdLst>
                    <a:ahLst/>
                    <a:cxnLst>
                      <a:cxn ang="0">
                        <a:pos x="connsiteX0" y="connsiteY0"/>
                      </a:cxn>
                      <a:cxn ang="0">
                        <a:pos x="connsiteX1" y="connsiteY1"/>
                      </a:cxn>
                    </a:cxnLst>
                    <a:rect l="l" t="t" r="r" b="b"/>
                    <a:pathLst>
                      <a:path w="3947" h="85823">
                        <a:moveTo>
                          <a:pt x="3947" y="85823"/>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012" name="Vrije vorm: vorm 9011">
                    <a:extLst>
                      <a:ext uri="{FF2B5EF4-FFF2-40B4-BE49-F238E27FC236}">
                        <a16:creationId xmlns:a16="http://schemas.microsoft.com/office/drawing/2014/main" id="{19E38FE0-FF41-4ACE-9D3D-C17288424603}"/>
                      </a:ext>
                    </a:extLst>
                  </p:cNvPr>
                  <p:cNvSpPr/>
                  <p:nvPr/>
                </p:nvSpPr>
                <p:spPr>
                  <a:xfrm>
                    <a:off x="4330720" y="2772523"/>
                    <a:ext cx="30860" cy="56158"/>
                  </a:xfrm>
                  <a:custGeom>
                    <a:avLst/>
                    <a:gdLst>
                      <a:gd name="connsiteX0" fmla="*/ 30861 w 30860"/>
                      <a:gd name="connsiteY0" fmla="*/ 0 h 56158"/>
                      <a:gd name="connsiteX1" fmla="*/ 0 w 30860"/>
                      <a:gd name="connsiteY1" fmla="*/ 56159 h 56158"/>
                    </a:gdLst>
                    <a:ahLst/>
                    <a:cxnLst>
                      <a:cxn ang="0">
                        <a:pos x="connsiteX0" y="connsiteY0"/>
                      </a:cxn>
                      <a:cxn ang="0">
                        <a:pos x="connsiteX1" y="connsiteY1"/>
                      </a:cxn>
                    </a:cxnLst>
                    <a:rect l="l" t="t" r="r" b="b"/>
                    <a:pathLst>
                      <a:path w="30860" h="56158">
                        <a:moveTo>
                          <a:pt x="30861" y="0"/>
                        </a:moveTo>
                        <a:lnTo>
                          <a:pt x="0" y="56159"/>
                        </a:lnTo>
                      </a:path>
                    </a:pathLst>
                  </a:custGeom>
                  <a:grpFill/>
                  <a:ln w="6350" cap="flat">
                    <a:solidFill>
                      <a:schemeClr val="bg1">
                        <a:alpha val="40000"/>
                      </a:schemeClr>
                    </a:solidFill>
                    <a:prstDash val="solid"/>
                    <a:miter/>
                  </a:ln>
                </p:spPr>
                <p:txBody>
                  <a:bodyPr rtlCol="0" anchor="ctr"/>
                  <a:lstStyle/>
                  <a:p>
                    <a:endParaRPr lang="en-GB"/>
                  </a:p>
                </p:txBody>
              </p:sp>
              <p:sp>
                <p:nvSpPr>
                  <p:cNvPr id="9013" name="Vrije vorm: vorm 9012">
                    <a:extLst>
                      <a:ext uri="{FF2B5EF4-FFF2-40B4-BE49-F238E27FC236}">
                        <a16:creationId xmlns:a16="http://schemas.microsoft.com/office/drawing/2014/main" id="{A64C924B-B461-4841-9235-76AA4D3B2AB1}"/>
                      </a:ext>
                    </a:extLst>
                  </p:cNvPr>
                  <p:cNvSpPr/>
                  <p:nvPr/>
                </p:nvSpPr>
                <p:spPr>
                  <a:xfrm>
                    <a:off x="4326115" y="2773420"/>
                    <a:ext cx="28587" cy="54783"/>
                  </a:xfrm>
                  <a:custGeom>
                    <a:avLst/>
                    <a:gdLst>
                      <a:gd name="connsiteX0" fmla="*/ 28588 w 28587"/>
                      <a:gd name="connsiteY0" fmla="*/ 0 h 54783"/>
                      <a:gd name="connsiteX1" fmla="*/ 0 w 28587"/>
                      <a:gd name="connsiteY1" fmla="*/ 54783 h 54783"/>
                    </a:gdLst>
                    <a:ahLst/>
                    <a:cxnLst>
                      <a:cxn ang="0">
                        <a:pos x="connsiteX0" y="connsiteY0"/>
                      </a:cxn>
                      <a:cxn ang="0">
                        <a:pos x="connsiteX1" y="connsiteY1"/>
                      </a:cxn>
                    </a:cxnLst>
                    <a:rect l="l" t="t" r="r" b="b"/>
                    <a:pathLst>
                      <a:path w="28587" h="54783">
                        <a:moveTo>
                          <a:pt x="28588" y="0"/>
                        </a:moveTo>
                        <a:lnTo>
                          <a:pt x="0" y="54783"/>
                        </a:lnTo>
                      </a:path>
                    </a:pathLst>
                  </a:custGeom>
                  <a:grpFill/>
                  <a:ln w="6350" cap="flat">
                    <a:solidFill>
                      <a:schemeClr val="bg1">
                        <a:alpha val="40000"/>
                      </a:schemeClr>
                    </a:solidFill>
                    <a:prstDash val="solid"/>
                    <a:miter/>
                  </a:ln>
                </p:spPr>
                <p:txBody>
                  <a:bodyPr rtlCol="0" anchor="ctr"/>
                  <a:lstStyle/>
                  <a:p>
                    <a:endParaRPr lang="en-GB"/>
                  </a:p>
                </p:txBody>
              </p:sp>
              <p:sp>
                <p:nvSpPr>
                  <p:cNvPr id="9014" name="Vrije vorm: vorm 9013">
                    <a:extLst>
                      <a:ext uri="{FF2B5EF4-FFF2-40B4-BE49-F238E27FC236}">
                        <a16:creationId xmlns:a16="http://schemas.microsoft.com/office/drawing/2014/main" id="{9E9D823E-F5DC-452E-B91E-C2739E10F0B8}"/>
                      </a:ext>
                    </a:extLst>
                  </p:cNvPr>
                  <p:cNvSpPr/>
                  <p:nvPr/>
                </p:nvSpPr>
                <p:spPr>
                  <a:xfrm>
                    <a:off x="4329165" y="2837175"/>
                    <a:ext cx="5621" cy="82892"/>
                  </a:xfrm>
                  <a:custGeom>
                    <a:avLst/>
                    <a:gdLst>
                      <a:gd name="connsiteX0" fmla="*/ 5622 w 5621"/>
                      <a:gd name="connsiteY0" fmla="*/ 82893 h 82892"/>
                      <a:gd name="connsiteX1" fmla="*/ 0 w 5621"/>
                      <a:gd name="connsiteY1" fmla="*/ 0 h 82892"/>
                    </a:gdLst>
                    <a:ahLst/>
                    <a:cxnLst>
                      <a:cxn ang="0">
                        <a:pos x="connsiteX0" y="connsiteY0"/>
                      </a:cxn>
                      <a:cxn ang="0">
                        <a:pos x="connsiteX1" y="connsiteY1"/>
                      </a:cxn>
                    </a:cxnLst>
                    <a:rect l="l" t="t" r="r" b="b"/>
                    <a:pathLst>
                      <a:path w="5621" h="82892">
                        <a:moveTo>
                          <a:pt x="5622" y="82893"/>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015" name="Vrije vorm: vorm 9014">
                    <a:extLst>
                      <a:ext uri="{FF2B5EF4-FFF2-40B4-BE49-F238E27FC236}">
                        <a16:creationId xmlns:a16="http://schemas.microsoft.com/office/drawing/2014/main" id="{D4D84899-10CA-4B18-ACD0-3BFD62EE9082}"/>
                      </a:ext>
                    </a:extLst>
                  </p:cNvPr>
                  <p:cNvSpPr/>
                  <p:nvPr/>
                </p:nvSpPr>
                <p:spPr>
                  <a:xfrm>
                    <a:off x="4324620" y="2836517"/>
                    <a:ext cx="4365" cy="84088"/>
                  </a:xfrm>
                  <a:custGeom>
                    <a:avLst/>
                    <a:gdLst>
                      <a:gd name="connsiteX0" fmla="*/ 4366 w 4365"/>
                      <a:gd name="connsiteY0" fmla="*/ 84089 h 84088"/>
                      <a:gd name="connsiteX1" fmla="*/ 0 w 4365"/>
                      <a:gd name="connsiteY1" fmla="*/ 0 h 84088"/>
                    </a:gdLst>
                    <a:ahLst/>
                    <a:cxnLst>
                      <a:cxn ang="0">
                        <a:pos x="connsiteX0" y="connsiteY0"/>
                      </a:cxn>
                      <a:cxn ang="0">
                        <a:pos x="connsiteX1" y="connsiteY1"/>
                      </a:cxn>
                    </a:cxnLst>
                    <a:rect l="l" t="t" r="r" b="b"/>
                    <a:pathLst>
                      <a:path w="4365" h="84088">
                        <a:moveTo>
                          <a:pt x="4366" y="84089"/>
                        </a:moveTo>
                        <a:lnTo>
                          <a:pt x="0" y="0"/>
                        </a:lnTo>
                      </a:path>
                    </a:pathLst>
                  </a:custGeom>
                  <a:grpFill/>
                  <a:ln w="6350" cap="flat">
                    <a:solidFill>
                      <a:schemeClr val="bg1">
                        <a:alpha val="40000"/>
                      </a:schemeClr>
                    </a:solidFill>
                    <a:prstDash val="solid"/>
                    <a:miter/>
                  </a:ln>
                </p:spPr>
                <p:txBody>
                  <a:bodyPr rtlCol="0" anchor="ctr"/>
                  <a:lstStyle/>
                  <a:p>
                    <a:endParaRPr lang="en-GB"/>
                  </a:p>
                </p:txBody>
              </p:sp>
            </p:grpSp>
            <p:grpSp>
              <p:nvGrpSpPr>
                <p:cNvPr id="8984" name="Graphic 3">
                  <a:extLst>
                    <a:ext uri="{FF2B5EF4-FFF2-40B4-BE49-F238E27FC236}">
                      <a16:creationId xmlns:a16="http://schemas.microsoft.com/office/drawing/2014/main" id="{2AD1ECEC-5EE3-48B1-96C7-2DD6E24B4E71}"/>
                    </a:ext>
                  </a:extLst>
                </p:cNvPr>
                <p:cNvGrpSpPr/>
                <p:nvPr/>
              </p:nvGrpSpPr>
              <p:grpSpPr>
                <a:xfrm>
                  <a:off x="4253389" y="2779102"/>
                  <a:ext cx="22726" cy="106636"/>
                  <a:chOff x="4253389" y="2779102"/>
                  <a:chExt cx="22726" cy="106636"/>
                </a:xfrm>
                <a:grpFill/>
              </p:grpSpPr>
              <p:sp>
                <p:nvSpPr>
                  <p:cNvPr id="9000" name="Vrije vorm: vorm 8999">
                    <a:extLst>
                      <a:ext uri="{FF2B5EF4-FFF2-40B4-BE49-F238E27FC236}">
                        <a16:creationId xmlns:a16="http://schemas.microsoft.com/office/drawing/2014/main" id="{1D0F4F13-C677-460B-8843-377ECB2CBDF6}"/>
                      </a:ext>
                    </a:extLst>
                  </p:cNvPr>
                  <p:cNvSpPr/>
                  <p:nvPr/>
                </p:nvSpPr>
                <p:spPr>
                  <a:xfrm>
                    <a:off x="4255363" y="2843694"/>
                    <a:ext cx="14951" cy="42044"/>
                  </a:xfrm>
                  <a:custGeom>
                    <a:avLst/>
                    <a:gdLst>
                      <a:gd name="connsiteX0" fmla="*/ 0 w 14951"/>
                      <a:gd name="connsiteY0" fmla="*/ 42044 h 42044"/>
                      <a:gd name="connsiteX1" fmla="*/ 14952 w 14951"/>
                      <a:gd name="connsiteY1" fmla="*/ 0 h 42044"/>
                    </a:gdLst>
                    <a:ahLst/>
                    <a:cxnLst>
                      <a:cxn ang="0">
                        <a:pos x="connsiteX0" y="connsiteY0"/>
                      </a:cxn>
                      <a:cxn ang="0">
                        <a:pos x="connsiteX1" y="connsiteY1"/>
                      </a:cxn>
                    </a:cxnLst>
                    <a:rect l="l" t="t" r="r" b="b"/>
                    <a:pathLst>
                      <a:path w="14951" h="42044">
                        <a:moveTo>
                          <a:pt x="0" y="42044"/>
                        </a:moveTo>
                        <a:lnTo>
                          <a:pt x="14952" y="0"/>
                        </a:lnTo>
                      </a:path>
                    </a:pathLst>
                  </a:custGeom>
                  <a:grpFill/>
                  <a:ln w="6350" cap="flat">
                    <a:solidFill>
                      <a:schemeClr val="bg1">
                        <a:alpha val="40000"/>
                      </a:schemeClr>
                    </a:solidFill>
                    <a:prstDash val="solid"/>
                    <a:miter/>
                  </a:ln>
                </p:spPr>
                <p:txBody>
                  <a:bodyPr rtlCol="0" anchor="ctr"/>
                  <a:lstStyle/>
                  <a:p>
                    <a:endParaRPr lang="en-GB"/>
                  </a:p>
                </p:txBody>
              </p:sp>
              <p:sp>
                <p:nvSpPr>
                  <p:cNvPr id="9001" name="Vrije vorm: vorm 9000">
                    <a:extLst>
                      <a:ext uri="{FF2B5EF4-FFF2-40B4-BE49-F238E27FC236}">
                        <a16:creationId xmlns:a16="http://schemas.microsoft.com/office/drawing/2014/main" id="{7A80A7E9-9D02-48E1-B7A8-B7DD9516D767}"/>
                      </a:ext>
                    </a:extLst>
                  </p:cNvPr>
                  <p:cNvSpPr/>
                  <p:nvPr/>
                </p:nvSpPr>
                <p:spPr>
                  <a:xfrm>
                    <a:off x="4255243" y="2843933"/>
                    <a:ext cx="13456" cy="38934"/>
                  </a:xfrm>
                  <a:custGeom>
                    <a:avLst/>
                    <a:gdLst>
                      <a:gd name="connsiteX0" fmla="*/ 0 w 13456"/>
                      <a:gd name="connsiteY0" fmla="*/ 38935 h 38934"/>
                      <a:gd name="connsiteX1" fmla="*/ 13456 w 13456"/>
                      <a:gd name="connsiteY1" fmla="*/ 0 h 38934"/>
                    </a:gdLst>
                    <a:ahLst/>
                    <a:cxnLst>
                      <a:cxn ang="0">
                        <a:pos x="connsiteX0" y="connsiteY0"/>
                      </a:cxn>
                      <a:cxn ang="0">
                        <a:pos x="connsiteX1" y="connsiteY1"/>
                      </a:cxn>
                    </a:cxnLst>
                    <a:rect l="l" t="t" r="r" b="b"/>
                    <a:pathLst>
                      <a:path w="13456" h="38934">
                        <a:moveTo>
                          <a:pt x="0" y="38935"/>
                        </a:moveTo>
                        <a:lnTo>
                          <a:pt x="13456" y="0"/>
                        </a:lnTo>
                      </a:path>
                    </a:pathLst>
                  </a:custGeom>
                  <a:grpFill/>
                  <a:ln w="6350" cap="flat">
                    <a:solidFill>
                      <a:schemeClr val="bg1">
                        <a:alpha val="40000"/>
                      </a:schemeClr>
                    </a:solidFill>
                    <a:prstDash val="solid"/>
                    <a:miter/>
                  </a:ln>
                </p:spPr>
                <p:txBody>
                  <a:bodyPr rtlCol="0" anchor="ctr"/>
                  <a:lstStyle/>
                  <a:p>
                    <a:endParaRPr lang="en-GB"/>
                  </a:p>
                </p:txBody>
              </p:sp>
              <p:sp>
                <p:nvSpPr>
                  <p:cNvPr id="9002" name="Vrije vorm: vorm 9001">
                    <a:extLst>
                      <a:ext uri="{FF2B5EF4-FFF2-40B4-BE49-F238E27FC236}">
                        <a16:creationId xmlns:a16="http://schemas.microsoft.com/office/drawing/2014/main" id="{80ECFCD8-C81D-4F67-AD1F-17089B827E48}"/>
                      </a:ext>
                    </a:extLst>
                  </p:cNvPr>
                  <p:cNvSpPr/>
                  <p:nvPr/>
                </p:nvSpPr>
                <p:spPr>
                  <a:xfrm>
                    <a:off x="4272049" y="2779102"/>
                    <a:ext cx="4066" cy="58850"/>
                  </a:xfrm>
                  <a:custGeom>
                    <a:avLst/>
                    <a:gdLst>
                      <a:gd name="connsiteX0" fmla="*/ 0 w 4066"/>
                      <a:gd name="connsiteY0" fmla="*/ 58850 h 58850"/>
                      <a:gd name="connsiteX1" fmla="*/ 4067 w 4066"/>
                      <a:gd name="connsiteY1" fmla="*/ 0 h 58850"/>
                    </a:gdLst>
                    <a:ahLst/>
                    <a:cxnLst>
                      <a:cxn ang="0">
                        <a:pos x="connsiteX0" y="connsiteY0"/>
                      </a:cxn>
                      <a:cxn ang="0">
                        <a:pos x="connsiteX1" y="connsiteY1"/>
                      </a:cxn>
                    </a:cxnLst>
                    <a:rect l="l" t="t" r="r" b="b"/>
                    <a:pathLst>
                      <a:path w="4066" h="58850">
                        <a:moveTo>
                          <a:pt x="0" y="58850"/>
                        </a:moveTo>
                        <a:lnTo>
                          <a:pt x="4067" y="0"/>
                        </a:lnTo>
                      </a:path>
                    </a:pathLst>
                  </a:custGeom>
                  <a:grpFill/>
                  <a:ln w="6350" cap="flat">
                    <a:solidFill>
                      <a:schemeClr val="bg1">
                        <a:alpha val="40000"/>
                      </a:schemeClr>
                    </a:solidFill>
                    <a:prstDash val="solid"/>
                    <a:miter/>
                  </a:ln>
                </p:spPr>
                <p:txBody>
                  <a:bodyPr rtlCol="0" anchor="ctr"/>
                  <a:lstStyle/>
                  <a:p>
                    <a:endParaRPr lang="en-GB"/>
                  </a:p>
                </p:txBody>
              </p:sp>
              <p:sp>
                <p:nvSpPr>
                  <p:cNvPr id="9003" name="Vrije vorm: vorm 9002">
                    <a:extLst>
                      <a:ext uri="{FF2B5EF4-FFF2-40B4-BE49-F238E27FC236}">
                        <a16:creationId xmlns:a16="http://schemas.microsoft.com/office/drawing/2014/main" id="{17E9335E-29BC-474E-BDFA-0EC386BDB4AF}"/>
                      </a:ext>
                    </a:extLst>
                  </p:cNvPr>
                  <p:cNvSpPr/>
                  <p:nvPr/>
                </p:nvSpPr>
                <p:spPr>
                  <a:xfrm>
                    <a:off x="4270434" y="2779640"/>
                    <a:ext cx="4605" cy="58371"/>
                  </a:xfrm>
                  <a:custGeom>
                    <a:avLst/>
                    <a:gdLst>
                      <a:gd name="connsiteX0" fmla="*/ 0 w 4605"/>
                      <a:gd name="connsiteY0" fmla="*/ 58372 h 58371"/>
                      <a:gd name="connsiteX1" fmla="*/ 4605 w 4605"/>
                      <a:gd name="connsiteY1" fmla="*/ 0 h 58371"/>
                    </a:gdLst>
                    <a:ahLst/>
                    <a:cxnLst>
                      <a:cxn ang="0">
                        <a:pos x="connsiteX0" y="connsiteY0"/>
                      </a:cxn>
                      <a:cxn ang="0">
                        <a:pos x="connsiteX1" y="connsiteY1"/>
                      </a:cxn>
                    </a:cxnLst>
                    <a:rect l="l" t="t" r="r" b="b"/>
                    <a:pathLst>
                      <a:path w="4605" h="58371">
                        <a:moveTo>
                          <a:pt x="0" y="58372"/>
                        </a:moveTo>
                        <a:lnTo>
                          <a:pt x="4605" y="0"/>
                        </a:lnTo>
                      </a:path>
                    </a:pathLst>
                  </a:custGeom>
                  <a:grpFill/>
                  <a:ln w="6350" cap="flat">
                    <a:solidFill>
                      <a:schemeClr val="bg1">
                        <a:alpha val="40000"/>
                      </a:schemeClr>
                    </a:solidFill>
                    <a:prstDash val="solid"/>
                    <a:miter/>
                  </a:ln>
                </p:spPr>
                <p:txBody>
                  <a:bodyPr rtlCol="0" anchor="ctr"/>
                  <a:lstStyle/>
                  <a:p>
                    <a:endParaRPr lang="en-GB"/>
                  </a:p>
                </p:txBody>
              </p:sp>
              <p:sp>
                <p:nvSpPr>
                  <p:cNvPr id="9004" name="Vrije vorm: vorm 9003">
                    <a:extLst>
                      <a:ext uri="{FF2B5EF4-FFF2-40B4-BE49-F238E27FC236}">
                        <a16:creationId xmlns:a16="http://schemas.microsoft.com/office/drawing/2014/main" id="{E68B10C4-9A8E-4B87-981C-5CB13EDE563A}"/>
                      </a:ext>
                    </a:extLst>
                  </p:cNvPr>
                  <p:cNvSpPr/>
                  <p:nvPr/>
                </p:nvSpPr>
                <p:spPr>
                  <a:xfrm>
                    <a:off x="4260207" y="2780178"/>
                    <a:ext cx="13576" cy="40489"/>
                  </a:xfrm>
                  <a:custGeom>
                    <a:avLst/>
                    <a:gdLst>
                      <a:gd name="connsiteX0" fmla="*/ 13576 w 13576"/>
                      <a:gd name="connsiteY0" fmla="*/ 0 h 40489"/>
                      <a:gd name="connsiteX1" fmla="*/ 0 w 13576"/>
                      <a:gd name="connsiteY1" fmla="*/ 40490 h 40489"/>
                    </a:gdLst>
                    <a:ahLst/>
                    <a:cxnLst>
                      <a:cxn ang="0">
                        <a:pos x="connsiteX0" y="connsiteY0"/>
                      </a:cxn>
                      <a:cxn ang="0">
                        <a:pos x="connsiteX1" y="connsiteY1"/>
                      </a:cxn>
                    </a:cxnLst>
                    <a:rect l="l" t="t" r="r" b="b"/>
                    <a:pathLst>
                      <a:path w="13576" h="40489">
                        <a:moveTo>
                          <a:pt x="13576" y="0"/>
                        </a:moveTo>
                        <a:lnTo>
                          <a:pt x="0" y="40490"/>
                        </a:lnTo>
                      </a:path>
                    </a:pathLst>
                  </a:custGeom>
                  <a:grpFill/>
                  <a:ln w="6350" cap="flat">
                    <a:solidFill>
                      <a:schemeClr val="bg1">
                        <a:alpha val="40000"/>
                      </a:schemeClr>
                    </a:solidFill>
                    <a:prstDash val="solid"/>
                    <a:miter/>
                  </a:ln>
                </p:spPr>
                <p:txBody>
                  <a:bodyPr rtlCol="0" anchor="ctr"/>
                  <a:lstStyle/>
                  <a:p>
                    <a:endParaRPr lang="en-GB"/>
                  </a:p>
                </p:txBody>
              </p:sp>
              <p:sp>
                <p:nvSpPr>
                  <p:cNvPr id="9005" name="Vrije vorm: vorm 9004">
                    <a:extLst>
                      <a:ext uri="{FF2B5EF4-FFF2-40B4-BE49-F238E27FC236}">
                        <a16:creationId xmlns:a16="http://schemas.microsoft.com/office/drawing/2014/main" id="{1B6A882D-8E6A-4094-ADEA-E6567E34E176}"/>
                      </a:ext>
                    </a:extLst>
                  </p:cNvPr>
                  <p:cNvSpPr/>
                  <p:nvPr/>
                </p:nvSpPr>
                <p:spPr>
                  <a:xfrm>
                    <a:off x="4258772" y="2781255"/>
                    <a:ext cx="12798" cy="39412"/>
                  </a:xfrm>
                  <a:custGeom>
                    <a:avLst/>
                    <a:gdLst>
                      <a:gd name="connsiteX0" fmla="*/ 12799 w 12798"/>
                      <a:gd name="connsiteY0" fmla="*/ 0 h 39412"/>
                      <a:gd name="connsiteX1" fmla="*/ 0 w 12798"/>
                      <a:gd name="connsiteY1" fmla="*/ 39413 h 39412"/>
                    </a:gdLst>
                    <a:ahLst/>
                    <a:cxnLst>
                      <a:cxn ang="0">
                        <a:pos x="connsiteX0" y="connsiteY0"/>
                      </a:cxn>
                      <a:cxn ang="0">
                        <a:pos x="connsiteX1" y="connsiteY1"/>
                      </a:cxn>
                    </a:cxnLst>
                    <a:rect l="l" t="t" r="r" b="b"/>
                    <a:pathLst>
                      <a:path w="12798" h="39412">
                        <a:moveTo>
                          <a:pt x="12799" y="0"/>
                        </a:moveTo>
                        <a:lnTo>
                          <a:pt x="0" y="39413"/>
                        </a:lnTo>
                      </a:path>
                    </a:pathLst>
                  </a:custGeom>
                  <a:grpFill/>
                  <a:ln w="6350" cap="flat">
                    <a:solidFill>
                      <a:schemeClr val="bg1">
                        <a:alpha val="40000"/>
                      </a:schemeClr>
                    </a:solidFill>
                    <a:prstDash val="solid"/>
                    <a:miter/>
                  </a:ln>
                </p:spPr>
                <p:txBody>
                  <a:bodyPr rtlCol="0" anchor="ctr"/>
                  <a:lstStyle/>
                  <a:p>
                    <a:endParaRPr lang="en-GB"/>
                  </a:p>
                </p:txBody>
              </p:sp>
              <p:sp>
                <p:nvSpPr>
                  <p:cNvPr id="9006" name="Vrije vorm: vorm 9005">
                    <a:extLst>
                      <a:ext uri="{FF2B5EF4-FFF2-40B4-BE49-F238E27FC236}">
                        <a16:creationId xmlns:a16="http://schemas.microsoft.com/office/drawing/2014/main" id="{62346D81-B661-4356-9CD0-043E0BC56665}"/>
                      </a:ext>
                    </a:extLst>
                  </p:cNvPr>
                  <p:cNvSpPr/>
                  <p:nvPr/>
                </p:nvSpPr>
                <p:spPr>
                  <a:xfrm>
                    <a:off x="4255243" y="2826589"/>
                    <a:ext cx="3887" cy="56278"/>
                  </a:xfrm>
                  <a:custGeom>
                    <a:avLst/>
                    <a:gdLst>
                      <a:gd name="connsiteX0" fmla="*/ 0 w 3887"/>
                      <a:gd name="connsiteY0" fmla="*/ 56279 h 56278"/>
                      <a:gd name="connsiteX1" fmla="*/ 3887 w 3887"/>
                      <a:gd name="connsiteY1" fmla="*/ 0 h 56278"/>
                    </a:gdLst>
                    <a:ahLst/>
                    <a:cxnLst>
                      <a:cxn ang="0">
                        <a:pos x="connsiteX0" y="connsiteY0"/>
                      </a:cxn>
                      <a:cxn ang="0">
                        <a:pos x="connsiteX1" y="connsiteY1"/>
                      </a:cxn>
                    </a:cxnLst>
                    <a:rect l="l" t="t" r="r" b="b"/>
                    <a:pathLst>
                      <a:path w="3887" h="56278">
                        <a:moveTo>
                          <a:pt x="0" y="56279"/>
                        </a:moveTo>
                        <a:lnTo>
                          <a:pt x="3887" y="0"/>
                        </a:lnTo>
                      </a:path>
                    </a:pathLst>
                  </a:custGeom>
                  <a:grpFill/>
                  <a:ln w="6350" cap="flat">
                    <a:solidFill>
                      <a:schemeClr val="bg1">
                        <a:alpha val="40000"/>
                      </a:schemeClr>
                    </a:solidFill>
                    <a:prstDash val="solid"/>
                    <a:miter/>
                  </a:ln>
                </p:spPr>
                <p:txBody>
                  <a:bodyPr rtlCol="0" anchor="ctr"/>
                  <a:lstStyle/>
                  <a:p>
                    <a:endParaRPr lang="en-GB"/>
                  </a:p>
                </p:txBody>
              </p:sp>
              <p:sp>
                <p:nvSpPr>
                  <p:cNvPr id="9007" name="Vrije vorm: vorm 9006">
                    <a:extLst>
                      <a:ext uri="{FF2B5EF4-FFF2-40B4-BE49-F238E27FC236}">
                        <a16:creationId xmlns:a16="http://schemas.microsoft.com/office/drawing/2014/main" id="{44F94B18-1487-4C4D-BCFB-7DD41EFAC0B7}"/>
                      </a:ext>
                    </a:extLst>
                  </p:cNvPr>
                  <p:cNvSpPr/>
                  <p:nvPr/>
                </p:nvSpPr>
                <p:spPr>
                  <a:xfrm>
                    <a:off x="4253389" y="2826409"/>
                    <a:ext cx="4306" cy="57235"/>
                  </a:xfrm>
                  <a:custGeom>
                    <a:avLst/>
                    <a:gdLst>
                      <a:gd name="connsiteX0" fmla="*/ 0 w 4306"/>
                      <a:gd name="connsiteY0" fmla="*/ 57236 h 57235"/>
                      <a:gd name="connsiteX1" fmla="*/ 4306 w 4306"/>
                      <a:gd name="connsiteY1" fmla="*/ 0 h 57235"/>
                    </a:gdLst>
                    <a:ahLst/>
                    <a:cxnLst>
                      <a:cxn ang="0">
                        <a:pos x="connsiteX0" y="connsiteY0"/>
                      </a:cxn>
                      <a:cxn ang="0">
                        <a:pos x="connsiteX1" y="connsiteY1"/>
                      </a:cxn>
                    </a:cxnLst>
                    <a:rect l="l" t="t" r="r" b="b"/>
                    <a:pathLst>
                      <a:path w="4306" h="57235">
                        <a:moveTo>
                          <a:pt x="0" y="57236"/>
                        </a:moveTo>
                        <a:lnTo>
                          <a:pt x="4306" y="0"/>
                        </a:lnTo>
                      </a:path>
                    </a:pathLst>
                  </a:custGeom>
                  <a:grpFill/>
                  <a:ln w="6350" cap="flat">
                    <a:solidFill>
                      <a:schemeClr val="bg1">
                        <a:alpha val="40000"/>
                      </a:schemeClr>
                    </a:solidFill>
                    <a:prstDash val="solid"/>
                    <a:miter/>
                  </a:ln>
                </p:spPr>
                <p:txBody>
                  <a:bodyPr rtlCol="0" anchor="ctr"/>
                  <a:lstStyle/>
                  <a:p>
                    <a:endParaRPr lang="en-GB"/>
                  </a:p>
                </p:txBody>
              </p:sp>
            </p:grpSp>
            <p:grpSp>
              <p:nvGrpSpPr>
                <p:cNvPr id="8985" name="Graphic 3">
                  <a:extLst>
                    <a:ext uri="{FF2B5EF4-FFF2-40B4-BE49-F238E27FC236}">
                      <a16:creationId xmlns:a16="http://schemas.microsoft.com/office/drawing/2014/main" id="{3A22F025-9FDA-4D1B-BB1D-C4464229699F}"/>
                    </a:ext>
                  </a:extLst>
                </p:cNvPr>
                <p:cNvGrpSpPr/>
                <p:nvPr/>
              </p:nvGrpSpPr>
              <p:grpSpPr>
                <a:xfrm>
                  <a:off x="4161406" y="2785501"/>
                  <a:ext cx="12380" cy="45573"/>
                  <a:chOff x="4161406" y="2785501"/>
                  <a:chExt cx="12380" cy="45573"/>
                </a:xfrm>
                <a:grpFill/>
              </p:grpSpPr>
              <p:sp>
                <p:nvSpPr>
                  <p:cNvPr id="8997" name="Vrije vorm: vorm 8996">
                    <a:extLst>
                      <a:ext uri="{FF2B5EF4-FFF2-40B4-BE49-F238E27FC236}">
                        <a16:creationId xmlns:a16="http://schemas.microsoft.com/office/drawing/2014/main" id="{FED85449-6549-4B85-BA67-7F54463A5D77}"/>
                      </a:ext>
                    </a:extLst>
                  </p:cNvPr>
                  <p:cNvSpPr/>
                  <p:nvPr/>
                </p:nvSpPr>
                <p:spPr>
                  <a:xfrm>
                    <a:off x="4171453" y="2785501"/>
                    <a:ext cx="2332" cy="38396"/>
                  </a:xfrm>
                  <a:custGeom>
                    <a:avLst/>
                    <a:gdLst>
                      <a:gd name="connsiteX0" fmla="*/ 0 w 2332"/>
                      <a:gd name="connsiteY0" fmla="*/ 38396 h 38396"/>
                      <a:gd name="connsiteX1" fmla="*/ 2332 w 2332"/>
                      <a:gd name="connsiteY1" fmla="*/ 0 h 38396"/>
                    </a:gdLst>
                    <a:ahLst/>
                    <a:cxnLst>
                      <a:cxn ang="0">
                        <a:pos x="connsiteX0" y="connsiteY0"/>
                      </a:cxn>
                      <a:cxn ang="0">
                        <a:pos x="connsiteX1" y="connsiteY1"/>
                      </a:cxn>
                    </a:cxnLst>
                    <a:rect l="l" t="t" r="r" b="b"/>
                    <a:pathLst>
                      <a:path w="2332" h="38396">
                        <a:moveTo>
                          <a:pt x="0" y="38396"/>
                        </a:moveTo>
                        <a:lnTo>
                          <a:pt x="2332" y="0"/>
                        </a:lnTo>
                      </a:path>
                    </a:pathLst>
                  </a:custGeom>
                  <a:grpFill/>
                  <a:ln w="6350" cap="flat">
                    <a:solidFill>
                      <a:schemeClr val="bg1">
                        <a:alpha val="40000"/>
                      </a:schemeClr>
                    </a:solidFill>
                    <a:prstDash val="solid"/>
                    <a:miter/>
                  </a:ln>
                </p:spPr>
                <p:txBody>
                  <a:bodyPr rtlCol="0" anchor="ctr"/>
                  <a:lstStyle/>
                  <a:p>
                    <a:endParaRPr lang="en-GB"/>
                  </a:p>
                </p:txBody>
              </p:sp>
              <p:sp>
                <p:nvSpPr>
                  <p:cNvPr id="8998" name="Vrije vorm: vorm 8997">
                    <a:extLst>
                      <a:ext uri="{FF2B5EF4-FFF2-40B4-BE49-F238E27FC236}">
                        <a16:creationId xmlns:a16="http://schemas.microsoft.com/office/drawing/2014/main" id="{F1B5B15E-5B80-4E35-A6B4-A83C3F34D2D1}"/>
                      </a:ext>
                    </a:extLst>
                  </p:cNvPr>
                  <p:cNvSpPr/>
                  <p:nvPr/>
                </p:nvSpPr>
                <p:spPr>
                  <a:xfrm>
                    <a:off x="4163020" y="2786219"/>
                    <a:ext cx="9150" cy="26315"/>
                  </a:xfrm>
                  <a:custGeom>
                    <a:avLst/>
                    <a:gdLst>
                      <a:gd name="connsiteX0" fmla="*/ 9151 w 9150"/>
                      <a:gd name="connsiteY0" fmla="*/ 0 h 26315"/>
                      <a:gd name="connsiteX1" fmla="*/ 0 w 9150"/>
                      <a:gd name="connsiteY1" fmla="*/ 26315 h 26315"/>
                    </a:gdLst>
                    <a:ahLst/>
                    <a:cxnLst>
                      <a:cxn ang="0">
                        <a:pos x="connsiteX0" y="connsiteY0"/>
                      </a:cxn>
                      <a:cxn ang="0">
                        <a:pos x="connsiteX1" y="connsiteY1"/>
                      </a:cxn>
                    </a:cxnLst>
                    <a:rect l="l" t="t" r="r" b="b"/>
                    <a:pathLst>
                      <a:path w="9150" h="26315">
                        <a:moveTo>
                          <a:pt x="9151" y="0"/>
                        </a:moveTo>
                        <a:lnTo>
                          <a:pt x="0" y="26315"/>
                        </a:lnTo>
                      </a:path>
                    </a:pathLst>
                  </a:custGeom>
                  <a:grpFill/>
                  <a:ln w="6350" cap="flat">
                    <a:solidFill>
                      <a:schemeClr val="bg1">
                        <a:alpha val="40000"/>
                      </a:schemeClr>
                    </a:solidFill>
                    <a:prstDash val="solid"/>
                    <a:miter/>
                  </a:ln>
                </p:spPr>
                <p:txBody>
                  <a:bodyPr rtlCol="0" anchor="ctr"/>
                  <a:lstStyle/>
                  <a:p>
                    <a:endParaRPr lang="en-GB"/>
                  </a:p>
                </p:txBody>
              </p:sp>
              <p:sp>
                <p:nvSpPr>
                  <p:cNvPr id="8999" name="Vrije vorm: vorm 8998">
                    <a:extLst>
                      <a:ext uri="{FF2B5EF4-FFF2-40B4-BE49-F238E27FC236}">
                        <a16:creationId xmlns:a16="http://schemas.microsoft.com/office/drawing/2014/main" id="{910DC4AF-0838-46B8-A0A2-B1C13D01B7CE}"/>
                      </a:ext>
                    </a:extLst>
                  </p:cNvPr>
                  <p:cNvSpPr/>
                  <p:nvPr/>
                </p:nvSpPr>
                <p:spPr>
                  <a:xfrm>
                    <a:off x="4161406" y="2816362"/>
                    <a:ext cx="897" cy="14712"/>
                  </a:xfrm>
                  <a:custGeom>
                    <a:avLst/>
                    <a:gdLst>
                      <a:gd name="connsiteX0" fmla="*/ 0 w 897"/>
                      <a:gd name="connsiteY0" fmla="*/ 14713 h 14712"/>
                      <a:gd name="connsiteX1" fmla="*/ 897 w 897"/>
                      <a:gd name="connsiteY1" fmla="*/ 0 h 14712"/>
                    </a:gdLst>
                    <a:ahLst/>
                    <a:cxnLst>
                      <a:cxn ang="0">
                        <a:pos x="connsiteX0" y="connsiteY0"/>
                      </a:cxn>
                      <a:cxn ang="0">
                        <a:pos x="connsiteX1" y="connsiteY1"/>
                      </a:cxn>
                    </a:cxnLst>
                    <a:rect l="l" t="t" r="r" b="b"/>
                    <a:pathLst>
                      <a:path w="897" h="14712">
                        <a:moveTo>
                          <a:pt x="0" y="14713"/>
                        </a:moveTo>
                        <a:lnTo>
                          <a:pt x="897" y="0"/>
                        </a:lnTo>
                      </a:path>
                    </a:pathLst>
                  </a:custGeom>
                  <a:grpFill/>
                  <a:ln w="6350" cap="flat">
                    <a:solidFill>
                      <a:schemeClr val="bg1">
                        <a:alpha val="40000"/>
                      </a:schemeClr>
                    </a:solidFill>
                    <a:prstDash val="solid"/>
                    <a:miter/>
                  </a:ln>
                </p:spPr>
                <p:txBody>
                  <a:bodyPr rtlCol="0" anchor="ctr"/>
                  <a:lstStyle/>
                  <a:p>
                    <a:endParaRPr lang="en-GB"/>
                  </a:p>
                </p:txBody>
              </p:sp>
            </p:grpSp>
            <p:grpSp>
              <p:nvGrpSpPr>
                <p:cNvPr id="8986" name="Graphic 3">
                  <a:extLst>
                    <a:ext uri="{FF2B5EF4-FFF2-40B4-BE49-F238E27FC236}">
                      <a16:creationId xmlns:a16="http://schemas.microsoft.com/office/drawing/2014/main" id="{EEC2E273-9C1E-406A-A78A-3090E634EF57}"/>
                    </a:ext>
                  </a:extLst>
                </p:cNvPr>
                <p:cNvGrpSpPr/>
                <p:nvPr/>
              </p:nvGrpSpPr>
              <p:grpSpPr>
                <a:xfrm>
                  <a:off x="4107400" y="2789269"/>
                  <a:ext cx="12140" cy="30980"/>
                  <a:chOff x="4107400" y="2789269"/>
                  <a:chExt cx="12140" cy="30980"/>
                </a:xfrm>
                <a:grpFill/>
              </p:grpSpPr>
              <p:sp>
                <p:nvSpPr>
                  <p:cNvPr id="8993" name="Vrije vorm: vorm 8992">
                    <a:extLst>
                      <a:ext uri="{FF2B5EF4-FFF2-40B4-BE49-F238E27FC236}">
                        <a16:creationId xmlns:a16="http://schemas.microsoft.com/office/drawing/2014/main" id="{DD5B06CD-239D-400C-BFDA-72ABC12A62C1}"/>
                      </a:ext>
                    </a:extLst>
                  </p:cNvPr>
                  <p:cNvSpPr/>
                  <p:nvPr/>
                </p:nvSpPr>
                <p:spPr>
                  <a:xfrm>
                    <a:off x="4109672" y="2809185"/>
                    <a:ext cx="7595" cy="11064"/>
                  </a:xfrm>
                  <a:custGeom>
                    <a:avLst/>
                    <a:gdLst>
                      <a:gd name="connsiteX0" fmla="*/ 0 w 7595"/>
                      <a:gd name="connsiteY0" fmla="*/ 11064 h 11064"/>
                      <a:gd name="connsiteX1" fmla="*/ 7595 w 7595"/>
                      <a:gd name="connsiteY1" fmla="*/ 0 h 11064"/>
                    </a:gdLst>
                    <a:ahLst/>
                    <a:cxnLst>
                      <a:cxn ang="0">
                        <a:pos x="connsiteX0" y="connsiteY0"/>
                      </a:cxn>
                      <a:cxn ang="0">
                        <a:pos x="connsiteX1" y="connsiteY1"/>
                      </a:cxn>
                    </a:cxnLst>
                    <a:rect l="l" t="t" r="r" b="b"/>
                    <a:pathLst>
                      <a:path w="7595" h="11064">
                        <a:moveTo>
                          <a:pt x="0" y="11064"/>
                        </a:moveTo>
                        <a:lnTo>
                          <a:pt x="7595" y="0"/>
                        </a:lnTo>
                      </a:path>
                    </a:pathLst>
                  </a:custGeom>
                  <a:grpFill/>
                  <a:ln w="6350" cap="flat">
                    <a:solidFill>
                      <a:schemeClr val="bg1">
                        <a:alpha val="40000"/>
                      </a:schemeClr>
                    </a:solidFill>
                    <a:prstDash val="solid"/>
                    <a:miter/>
                  </a:ln>
                </p:spPr>
                <p:txBody>
                  <a:bodyPr rtlCol="0" anchor="ctr"/>
                  <a:lstStyle/>
                  <a:p>
                    <a:endParaRPr lang="en-GB"/>
                  </a:p>
                </p:txBody>
              </p:sp>
              <p:sp>
                <p:nvSpPr>
                  <p:cNvPr id="8994" name="Vrije vorm: vorm 8993">
                    <a:extLst>
                      <a:ext uri="{FF2B5EF4-FFF2-40B4-BE49-F238E27FC236}">
                        <a16:creationId xmlns:a16="http://schemas.microsoft.com/office/drawing/2014/main" id="{0BB789D0-A925-4548-8786-2E819CB57E79}"/>
                      </a:ext>
                    </a:extLst>
                  </p:cNvPr>
                  <p:cNvSpPr/>
                  <p:nvPr/>
                </p:nvSpPr>
                <p:spPr>
                  <a:xfrm>
                    <a:off x="4117148" y="2789269"/>
                    <a:ext cx="2392" cy="18301"/>
                  </a:xfrm>
                  <a:custGeom>
                    <a:avLst/>
                    <a:gdLst>
                      <a:gd name="connsiteX0" fmla="*/ 2392 w 2392"/>
                      <a:gd name="connsiteY0" fmla="*/ 18301 h 18301"/>
                      <a:gd name="connsiteX1" fmla="*/ 0 w 2392"/>
                      <a:gd name="connsiteY1" fmla="*/ 0 h 18301"/>
                    </a:gdLst>
                    <a:ahLst/>
                    <a:cxnLst>
                      <a:cxn ang="0">
                        <a:pos x="connsiteX0" y="connsiteY0"/>
                      </a:cxn>
                      <a:cxn ang="0">
                        <a:pos x="connsiteX1" y="connsiteY1"/>
                      </a:cxn>
                    </a:cxnLst>
                    <a:rect l="l" t="t" r="r" b="b"/>
                    <a:pathLst>
                      <a:path w="2392" h="18301">
                        <a:moveTo>
                          <a:pt x="2392" y="18301"/>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8995" name="Vrije vorm: vorm 8994">
                    <a:extLst>
                      <a:ext uri="{FF2B5EF4-FFF2-40B4-BE49-F238E27FC236}">
                        <a16:creationId xmlns:a16="http://schemas.microsoft.com/office/drawing/2014/main" id="{263C7EB0-1A7E-4D8E-8912-77CE1FB4B3CF}"/>
                      </a:ext>
                    </a:extLst>
                  </p:cNvPr>
                  <p:cNvSpPr/>
                  <p:nvPr/>
                </p:nvSpPr>
                <p:spPr>
                  <a:xfrm>
                    <a:off x="4107699" y="2789389"/>
                    <a:ext cx="7595" cy="11542"/>
                  </a:xfrm>
                  <a:custGeom>
                    <a:avLst/>
                    <a:gdLst>
                      <a:gd name="connsiteX0" fmla="*/ 7596 w 7595"/>
                      <a:gd name="connsiteY0" fmla="*/ 0 h 11542"/>
                      <a:gd name="connsiteX1" fmla="*/ 0 w 7595"/>
                      <a:gd name="connsiteY1" fmla="*/ 11543 h 11542"/>
                    </a:gdLst>
                    <a:ahLst/>
                    <a:cxnLst>
                      <a:cxn ang="0">
                        <a:pos x="connsiteX0" y="connsiteY0"/>
                      </a:cxn>
                      <a:cxn ang="0">
                        <a:pos x="connsiteX1" y="connsiteY1"/>
                      </a:cxn>
                    </a:cxnLst>
                    <a:rect l="l" t="t" r="r" b="b"/>
                    <a:pathLst>
                      <a:path w="7595" h="11542">
                        <a:moveTo>
                          <a:pt x="7596" y="0"/>
                        </a:moveTo>
                        <a:lnTo>
                          <a:pt x="0" y="11543"/>
                        </a:lnTo>
                      </a:path>
                    </a:pathLst>
                  </a:custGeom>
                  <a:grpFill/>
                  <a:ln w="6350" cap="flat">
                    <a:solidFill>
                      <a:schemeClr val="bg1">
                        <a:alpha val="40000"/>
                      </a:schemeClr>
                    </a:solidFill>
                    <a:prstDash val="solid"/>
                    <a:miter/>
                  </a:ln>
                </p:spPr>
                <p:txBody>
                  <a:bodyPr rtlCol="0" anchor="ctr"/>
                  <a:lstStyle/>
                  <a:p>
                    <a:endParaRPr lang="en-GB"/>
                  </a:p>
                </p:txBody>
              </p:sp>
              <p:sp>
                <p:nvSpPr>
                  <p:cNvPr id="8996" name="Vrije vorm: vorm 8995">
                    <a:extLst>
                      <a:ext uri="{FF2B5EF4-FFF2-40B4-BE49-F238E27FC236}">
                        <a16:creationId xmlns:a16="http://schemas.microsoft.com/office/drawing/2014/main" id="{334DDDAC-DBD8-4083-8536-7D861BDDD77E}"/>
                      </a:ext>
                    </a:extLst>
                  </p:cNvPr>
                  <p:cNvSpPr/>
                  <p:nvPr/>
                </p:nvSpPr>
                <p:spPr>
                  <a:xfrm>
                    <a:off x="4107400" y="2802666"/>
                    <a:ext cx="2272" cy="17583"/>
                  </a:xfrm>
                  <a:custGeom>
                    <a:avLst/>
                    <a:gdLst>
                      <a:gd name="connsiteX0" fmla="*/ 2273 w 2272"/>
                      <a:gd name="connsiteY0" fmla="*/ 17583 h 17583"/>
                      <a:gd name="connsiteX1" fmla="*/ 0 w 2272"/>
                      <a:gd name="connsiteY1" fmla="*/ 0 h 17583"/>
                    </a:gdLst>
                    <a:ahLst/>
                    <a:cxnLst>
                      <a:cxn ang="0">
                        <a:pos x="connsiteX0" y="connsiteY0"/>
                      </a:cxn>
                      <a:cxn ang="0">
                        <a:pos x="connsiteX1" y="connsiteY1"/>
                      </a:cxn>
                    </a:cxnLst>
                    <a:rect l="l" t="t" r="r" b="b"/>
                    <a:pathLst>
                      <a:path w="2272" h="17583">
                        <a:moveTo>
                          <a:pt x="2273" y="17583"/>
                        </a:moveTo>
                        <a:lnTo>
                          <a:pt x="0" y="0"/>
                        </a:lnTo>
                      </a:path>
                    </a:pathLst>
                  </a:custGeom>
                  <a:grpFill/>
                  <a:ln w="6350" cap="flat">
                    <a:solidFill>
                      <a:schemeClr val="bg1">
                        <a:alpha val="40000"/>
                      </a:schemeClr>
                    </a:solidFill>
                    <a:prstDash val="solid"/>
                    <a:miter/>
                  </a:ln>
                </p:spPr>
                <p:txBody>
                  <a:bodyPr rtlCol="0" anchor="ctr"/>
                  <a:lstStyle/>
                  <a:p>
                    <a:endParaRPr lang="en-GB"/>
                  </a:p>
                </p:txBody>
              </p:sp>
            </p:grpSp>
            <p:sp>
              <p:nvSpPr>
                <p:cNvPr id="8987" name="Vrije vorm: vorm 8986">
                  <a:extLst>
                    <a:ext uri="{FF2B5EF4-FFF2-40B4-BE49-F238E27FC236}">
                      <a16:creationId xmlns:a16="http://schemas.microsoft.com/office/drawing/2014/main" id="{30757F76-F6AA-4825-9B8C-F06213F67072}"/>
                    </a:ext>
                  </a:extLst>
                </p:cNvPr>
                <p:cNvSpPr/>
                <p:nvPr/>
              </p:nvSpPr>
              <p:spPr>
                <a:xfrm>
                  <a:off x="4044542" y="2812594"/>
                  <a:ext cx="48743" cy="18729"/>
                </a:xfrm>
                <a:custGeom>
                  <a:avLst/>
                  <a:gdLst>
                    <a:gd name="connsiteX0" fmla="*/ 48743 w 48743"/>
                    <a:gd name="connsiteY0" fmla="*/ 13098 h 18729"/>
                    <a:gd name="connsiteX1" fmla="*/ 24162 w 48743"/>
                    <a:gd name="connsiteY1" fmla="*/ 18181 h 18729"/>
                    <a:gd name="connsiteX2" fmla="*/ 0 w 48743"/>
                    <a:gd name="connsiteY2" fmla="*/ 0 h 18729"/>
                  </a:gdLst>
                  <a:ahLst/>
                  <a:cxnLst>
                    <a:cxn ang="0">
                      <a:pos x="connsiteX0" y="connsiteY0"/>
                    </a:cxn>
                    <a:cxn ang="0">
                      <a:pos x="connsiteX1" y="connsiteY1"/>
                    </a:cxn>
                    <a:cxn ang="0">
                      <a:pos x="connsiteX2" y="connsiteY2"/>
                    </a:cxn>
                  </a:cxnLst>
                  <a:rect l="l" t="t" r="r" b="b"/>
                  <a:pathLst>
                    <a:path w="48743" h="18729">
                      <a:moveTo>
                        <a:pt x="48743" y="13098"/>
                      </a:moveTo>
                      <a:cubicBezTo>
                        <a:pt x="41745" y="17763"/>
                        <a:pt x="33074" y="19796"/>
                        <a:pt x="24162" y="18181"/>
                      </a:cubicBezTo>
                      <a:cubicBezTo>
                        <a:pt x="13277" y="16208"/>
                        <a:pt x="4605" y="9210"/>
                        <a:pt x="0" y="0"/>
                      </a:cubicBezTo>
                    </a:path>
                  </a:pathLst>
                </a:custGeom>
                <a:grpFill/>
                <a:ln w="6350" cap="flat">
                  <a:solidFill>
                    <a:schemeClr val="bg1">
                      <a:alpha val="40000"/>
                    </a:schemeClr>
                  </a:solidFill>
                  <a:prstDash val="solid"/>
                  <a:miter/>
                </a:ln>
              </p:spPr>
              <p:txBody>
                <a:bodyPr rtlCol="0" anchor="ctr"/>
                <a:lstStyle/>
                <a:p>
                  <a:endParaRPr lang="en-GB"/>
                </a:p>
              </p:txBody>
            </p:sp>
            <p:sp>
              <p:nvSpPr>
                <p:cNvPr id="8988" name="Vrije vorm: vorm 8987">
                  <a:extLst>
                    <a:ext uri="{FF2B5EF4-FFF2-40B4-BE49-F238E27FC236}">
                      <a16:creationId xmlns:a16="http://schemas.microsoft.com/office/drawing/2014/main" id="{DEE375CE-7B54-4B41-9E42-363CB002C3BB}"/>
                    </a:ext>
                  </a:extLst>
                </p:cNvPr>
                <p:cNvSpPr/>
                <p:nvPr/>
              </p:nvSpPr>
              <p:spPr>
                <a:xfrm>
                  <a:off x="4052138" y="2764209"/>
                  <a:ext cx="49699" cy="13876"/>
                </a:xfrm>
                <a:custGeom>
                  <a:avLst/>
                  <a:gdLst>
                    <a:gd name="connsiteX0" fmla="*/ 0 w 49699"/>
                    <a:gd name="connsiteY0" fmla="*/ 8673 h 13876"/>
                    <a:gd name="connsiteX1" fmla="*/ 28468 w 49699"/>
                    <a:gd name="connsiteY1" fmla="*/ 539 h 13876"/>
                    <a:gd name="connsiteX2" fmla="*/ 49700 w 49699"/>
                    <a:gd name="connsiteY2" fmla="*/ 13876 h 13876"/>
                  </a:gdLst>
                  <a:ahLst/>
                  <a:cxnLst>
                    <a:cxn ang="0">
                      <a:pos x="connsiteX0" y="connsiteY0"/>
                    </a:cxn>
                    <a:cxn ang="0">
                      <a:pos x="connsiteX1" y="connsiteY1"/>
                    </a:cxn>
                    <a:cxn ang="0">
                      <a:pos x="connsiteX2" y="connsiteY2"/>
                    </a:cxn>
                  </a:cxnLst>
                  <a:rect l="l" t="t" r="r" b="b"/>
                  <a:pathLst>
                    <a:path w="49699" h="13876">
                      <a:moveTo>
                        <a:pt x="0" y="8673"/>
                      </a:moveTo>
                      <a:cubicBezTo>
                        <a:pt x="7476" y="1915"/>
                        <a:pt x="17822" y="-1375"/>
                        <a:pt x="28468" y="539"/>
                      </a:cubicBezTo>
                      <a:cubicBezTo>
                        <a:pt x="37380" y="2154"/>
                        <a:pt x="44796" y="7118"/>
                        <a:pt x="49700" y="13876"/>
                      </a:cubicBezTo>
                    </a:path>
                  </a:pathLst>
                </a:custGeom>
                <a:grpFill/>
                <a:ln w="6350" cap="flat">
                  <a:solidFill>
                    <a:schemeClr val="bg1">
                      <a:alpha val="40000"/>
                    </a:schemeClr>
                  </a:solidFill>
                  <a:prstDash val="solid"/>
                  <a:miter/>
                </a:ln>
              </p:spPr>
              <p:txBody>
                <a:bodyPr rtlCol="0" anchor="ctr"/>
                <a:lstStyle/>
                <a:p>
                  <a:endParaRPr lang="en-GB"/>
                </a:p>
              </p:txBody>
            </p:sp>
            <p:sp>
              <p:nvSpPr>
                <p:cNvPr id="8989" name="Vrije vorm: vorm 8988">
                  <a:extLst>
                    <a:ext uri="{FF2B5EF4-FFF2-40B4-BE49-F238E27FC236}">
                      <a16:creationId xmlns:a16="http://schemas.microsoft.com/office/drawing/2014/main" id="{3E8821E5-5CD2-4B8D-BACA-FE57F84DC1E2}"/>
                    </a:ext>
                  </a:extLst>
                </p:cNvPr>
                <p:cNvSpPr/>
                <p:nvPr/>
              </p:nvSpPr>
              <p:spPr>
                <a:xfrm>
                  <a:off x="4016314" y="2827905"/>
                  <a:ext cx="97425" cy="37358"/>
                </a:xfrm>
                <a:custGeom>
                  <a:avLst/>
                  <a:gdLst>
                    <a:gd name="connsiteX0" fmla="*/ 97426 w 97425"/>
                    <a:gd name="connsiteY0" fmla="*/ 26076 h 37358"/>
                    <a:gd name="connsiteX1" fmla="*/ 48264 w 97425"/>
                    <a:gd name="connsiteY1" fmla="*/ 36303 h 37358"/>
                    <a:gd name="connsiteX2" fmla="*/ 0 w 97425"/>
                    <a:gd name="connsiteY2" fmla="*/ 0 h 37358"/>
                  </a:gdLst>
                  <a:ahLst/>
                  <a:cxnLst>
                    <a:cxn ang="0">
                      <a:pos x="connsiteX0" y="connsiteY0"/>
                    </a:cxn>
                    <a:cxn ang="0">
                      <a:pos x="connsiteX1" y="connsiteY1"/>
                    </a:cxn>
                    <a:cxn ang="0">
                      <a:pos x="connsiteX2" y="connsiteY2"/>
                    </a:cxn>
                  </a:cxnLst>
                  <a:rect l="l" t="t" r="r" b="b"/>
                  <a:pathLst>
                    <a:path w="97425" h="37358">
                      <a:moveTo>
                        <a:pt x="97426" y="26076"/>
                      </a:moveTo>
                      <a:cubicBezTo>
                        <a:pt x="83491" y="35346"/>
                        <a:pt x="66087" y="39473"/>
                        <a:pt x="48264" y="36303"/>
                      </a:cubicBezTo>
                      <a:cubicBezTo>
                        <a:pt x="26495" y="32356"/>
                        <a:pt x="9090" y="18361"/>
                        <a:pt x="0" y="0"/>
                      </a:cubicBezTo>
                    </a:path>
                  </a:pathLst>
                </a:custGeom>
                <a:grpFill/>
                <a:ln w="6350" cap="flat">
                  <a:solidFill>
                    <a:schemeClr val="bg1">
                      <a:alpha val="40000"/>
                    </a:schemeClr>
                  </a:solidFill>
                  <a:prstDash val="solid"/>
                  <a:miter/>
                </a:ln>
              </p:spPr>
              <p:txBody>
                <a:bodyPr rtlCol="0" anchor="ctr"/>
                <a:lstStyle/>
                <a:p>
                  <a:endParaRPr lang="en-GB"/>
                </a:p>
              </p:txBody>
            </p:sp>
            <p:sp>
              <p:nvSpPr>
                <p:cNvPr id="8990" name="Vrije vorm: vorm 8989">
                  <a:extLst>
                    <a:ext uri="{FF2B5EF4-FFF2-40B4-BE49-F238E27FC236}">
                      <a16:creationId xmlns:a16="http://schemas.microsoft.com/office/drawing/2014/main" id="{16E4022F-69C2-4B08-8911-D7C94BC38F64}"/>
                    </a:ext>
                  </a:extLst>
                </p:cNvPr>
                <p:cNvSpPr/>
                <p:nvPr/>
              </p:nvSpPr>
              <p:spPr>
                <a:xfrm>
                  <a:off x="4031445" y="2730906"/>
                  <a:ext cx="99399" cy="27741"/>
                </a:xfrm>
                <a:custGeom>
                  <a:avLst/>
                  <a:gdLst>
                    <a:gd name="connsiteX0" fmla="*/ 0 w 99399"/>
                    <a:gd name="connsiteY0" fmla="*/ 17395 h 27741"/>
                    <a:gd name="connsiteX1" fmla="*/ 56937 w 99399"/>
                    <a:gd name="connsiteY1" fmla="*/ 1068 h 27741"/>
                    <a:gd name="connsiteX2" fmla="*/ 99400 w 99399"/>
                    <a:gd name="connsiteY2" fmla="*/ 27742 h 27741"/>
                  </a:gdLst>
                  <a:ahLst/>
                  <a:cxnLst>
                    <a:cxn ang="0">
                      <a:pos x="connsiteX0" y="connsiteY0"/>
                    </a:cxn>
                    <a:cxn ang="0">
                      <a:pos x="connsiteX1" y="connsiteY1"/>
                    </a:cxn>
                    <a:cxn ang="0">
                      <a:pos x="connsiteX2" y="connsiteY2"/>
                    </a:cxn>
                  </a:cxnLst>
                  <a:rect l="l" t="t" r="r" b="b"/>
                  <a:pathLst>
                    <a:path w="99399" h="27741">
                      <a:moveTo>
                        <a:pt x="0" y="17395"/>
                      </a:moveTo>
                      <a:cubicBezTo>
                        <a:pt x="14892" y="3939"/>
                        <a:pt x="35645" y="-2760"/>
                        <a:pt x="56937" y="1068"/>
                      </a:cubicBezTo>
                      <a:cubicBezTo>
                        <a:pt x="74699" y="4297"/>
                        <a:pt x="89591" y="14165"/>
                        <a:pt x="99400" y="27742"/>
                      </a:cubicBezTo>
                    </a:path>
                  </a:pathLst>
                </a:custGeom>
                <a:grpFill/>
                <a:ln w="6350" cap="flat">
                  <a:solidFill>
                    <a:schemeClr val="bg1">
                      <a:alpha val="40000"/>
                    </a:schemeClr>
                  </a:solidFill>
                  <a:prstDash val="solid"/>
                  <a:miter/>
                </a:ln>
              </p:spPr>
              <p:txBody>
                <a:bodyPr rtlCol="0" anchor="ctr"/>
                <a:lstStyle/>
                <a:p>
                  <a:endParaRPr lang="en-GB"/>
                </a:p>
              </p:txBody>
            </p:sp>
            <p:sp>
              <p:nvSpPr>
                <p:cNvPr id="8991" name="Vrije vorm: vorm 8990">
                  <a:extLst>
                    <a:ext uri="{FF2B5EF4-FFF2-40B4-BE49-F238E27FC236}">
                      <a16:creationId xmlns:a16="http://schemas.microsoft.com/office/drawing/2014/main" id="{C5C91B87-C6AF-49F1-BBFF-8AB2FABFB0B8}"/>
                    </a:ext>
                  </a:extLst>
                </p:cNvPr>
                <p:cNvSpPr/>
                <p:nvPr/>
              </p:nvSpPr>
              <p:spPr>
                <a:xfrm>
                  <a:off x="3980668" y="2846983"/>
                  <a:ext cx="158788" cy="60953"/>
                </a:xfrm>
                <a:custGeom>
                  <a:avLst/>
                  <a:gdLst>
                    <a:gd name="connsiteX0" fmla="*/ 158788 w 158788"/>
                    <a:gd name="connsiteY0" fmla="*/ 42583 h 60953"/>
                    <a:gd name="connsiteX1" fmla="*/ 78706 w 158788"/>
                    <a:gd name="connsiteY1" fmla="*/ 59209 h 60953"/>
                    <a:gd name="connsiteX2" fmla="*/ 0 w 158788"/>
                    <a:gd name="connsiteY2" fmla="*/ 0 h 60953"/>
                  </a:gdLst>
                  <a:ahLst/>
                  <a:cxnLst>
                    <a:cxn ang="0">
                      <a:pos x="connsiteX0" y="connsiteY0"/>
                    </a:cxn>
                    <a:cxn ang="0">
                      <a:pos x="connsiteX1" y="connsiteY1"/>
                    </a:cxn>
                    <a:cxn ang="0">
                      <a:pos x="connsiteX2" y="connsiteY2"/>
                    </a:cxn>
                  </a:cxnLst>
                  <a:rect l="l" t="t" r="r" b="b"/>
                  <a:pathLst>
                    <a:path w="158788" h="60953">
                      <a:moveTo>
                        <a:pt x="158788" y="42583"/>
                      </a:moveTo>
                      <a:cubicBezTo>
                        <a:pt x="136061" y="57714"/>
                        <a:pt x="107713" y="64412"/>
                        <a:pt x="78706" y="59209"/>
                      </a:cubicBezTo>
                      <a:cubicBezTo>
                        <a:pt x="43241" y="52810"/>
                        <a:pt x="14832" y="30023"/>
                        <a:pt x="0" y="0"/>
                      </a:cubicBezTo>
                    </a:path>
                  </a:pathLst>
                </a:custGeom>
                <a:grpFill/>
                <a:ln w="6350" cap="flat">
                  <a:solidFill>
                    <a:schemeClr val="bg1">
                      <a:alpha val="40000"/>
                    </a:schemeClr>
                  </a:solidFill>
                  <a:prstDash val="solid"/>
                  <a:miter/>
                </a:ln>
              </p:spPr>
              <p:txBody>
                <a:bodyPr rtlCol="0" anchor="ctr"/>
                <a:lstStyle/>
                <a:p>
                  <a:endParaRPr lang="en-GB"/>
                </a:p>
              </p:txBody>
            </p:sp>
            <p:sp>
              <p:nvSpPr>
                <p:cNvPr id="8992" name="Vrije vorm: vorm 8991">
                  <a:extLst>
                    <a:ext uri="{FF2B5EF4-FFF2-40B4-BE49-F238E27FC236}">
                      <a16:creationId xmlns:a16="http://schemas.microsoft.com/office/drawing/2014/main" id="{584900D7-7277-4EFC-89DC-B38EC2BB03CC}"/>
                    </a:ext>
                  </a:extLst>
                </p:cNvPr>
                <p:cNvSpPr/>
                <p:nvPr/>
              </p:nvSpPr>
              <p:spPr>
                <a:xfrm>
                  <a:off x="4005309" y="2689064"/>
                  <a:ext cx="162077" cy="45242"/>
                </a:xfrm>
                <a:custGeom>
                  <a:avLst/>
                  <a:gdLst>
                    <a:gd name="connsiteX0" fmla="*/ 0 w 162077"/>
                    <a:gd name="connsiteY0" fmla="*/ 28317 h 45242"/>
                    <a:gd name="connsiteX1" fmla="*/ 92881 w 162077"/>
                    <a:gd name="connsiteY1" fmla="*/ 1762 h 45242"/>
                    <a:gd name="connsiteX2" fmla="*/ 162077 w 162077"/>
                    <a:gd name="connsiteY2" fmla="*/ 45242 h 45242"/>
                  </a:gdLst>
                  <a:ahLst/>
                  <a:cxnLst>
                    <a:cxn ang="0">
                      <a:pos x="connsiteX0" y="connsiteY0"/>
                    </a:cxn>
                    <a:cxn ang="0">
                      <a:pos x="connsiteX1" y="connsiteY1"/>
                    </a:cxn>
                    <a:cxn ang="0">
                      <a:pos x="connsiteX2" y="connsiteY2"/>
                    </a:cxn>
                  </a:cxnLst>
                  <a:rect l="l" t="t" r="r" b="b"/>
                  <a:pathLst>
                    <a:path w="162077" h="45242">
                      <a:moveTo>
                        <a:pt x="0" y="28317"/>
                      </a:moveTo>
                      <a:cubicBezTo>
                        <a:pt x="24282" y="6368"/>
                        <a:pt x="58132" y="-4517"/>
                        <a:pt x="92881" y="1762"/>
                      </a:cubicBezTo>
                      <a:cubicBezTo>
                        <a:pt x="121827" y="6966"/>
                        <a:pt x="146109" y="23173"/>
                        <a:pt x="162077" y="45242"/>
                      </a:cubicBezTo>
                    </a:path>
                  </a:pathLst>
                </a:custGeom>
                <a:grpFill/>
                <a:ln w="6350" cap="flat">
                  <a:solidFill>
                    <a:schemeClr val="bg1">
                      <a:alpha val="40000"/>
                    </a:schemeClr>
                  </a:solidFill>
                  <a:prstDash val="solid"/>
                  <a:miter/>
                </a:ln>
              </p:spPr>
              <p:txBody>
                <a:bodyPr rtlCol="0" anchor="ctr"/>
                <a:lstStyle/>
                <a:p>
                  <a:endParaRPr lang="en-GB"/>
                </a:p>
              </p:txBody>
            </p:sp>
          </p:grpSp>
          <p:grpSp>
            <p:nvGrpSpPr>
              <p:cNvPr id="8495" name="Groep 8494">
                <a:extLst>
                  <a:ext uri="{FF2B5EF4-FFF2-40B4-BE49-F238E27FC236}">
                    <a16:creationId xmlns:a16="http://schemas.microsoft.com/office/drawing/2014/main" id="{446C7DA7-716E-4018-85C9-559E0DF8E3B1}"/>
                  </a:ext>
                </a:extLst>
              </p:cNvPr>
              <p:cNvGrpSpPr/>
              <p:nvPr/>
            </p:nvGrpSpPr>
            <p:grpSpPr>
              <a:xfrm>
                <a:off x="4276931" y="2440938"/>
                <a:ext cx="427943" cy="310247"/>
                <a:chOff x="4276931" y="2440938"/>
                <a:chExt cx="427943" cy="310247"/>
              </a:xfrm>
              <a:noFill/>
            </p:grpSpPr>
            <p:sp>
              <p:nvSpPr>
                <p:cNvPr id="8642" name="Vrije vorm: vorm 8641">
                  <a:extLst>
                    <a:ext uri="{FF2B5EF4-FFF2-40B4-BE49-F238E27FC236}">
                      <a16:creationId xmlns:a16="http://schemas.microsoft.com/office/drawing/2014/main" id="{EB77D498-3751-491D-99C4-1030BFAC9D1F}"/>
                    </a:ext>
                  </a:extLst>
                </p:cNvPr>
                <p:cNvSpPr/>
                <p:nvPr/>
              </p:nvSpPr>
              <p:spPr>
                <a:xfrm>
                  <a:off x="4355697" y="2627980"/>
                  <a:ext cx="2914" cy="2813"/>
                </a:xfrm>
                <a:custGeom>
                  <a:avLst/>
                  <a:gdLst>
                    <a:gd name="connsiteX0" fmla="*/ 2893 w 2914"/>
                    <a:gd name="connsiteY0" fmla="*/ 1664 h 2813"/>
                    <a:gd name="connsiteX1" fmla="*/ 22 w 2914"/>
                    <a:gd name="connsiteY1" fmla="*/ 1125 h 2813"/>
                    <a:gd name="connsiteX2" fmla="*/ 2893 w 2914"/>
                    <a:gd name="connsiteY2" fmla="*/ 1664 h 2813"/>
                    <a:gd name="connsiteX3" fmla="*/ 2893 w 291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43" name="Vrije vorm: vorm 8642">
                  <a:extLst>
                    <a:ext uri="{FF2B5EF4-FFF2-40B4-BE49-F238E27FC236}">
                      <a16:creationId xmlns:a16="http://schemas.microsoft.com/office/drawing/2014/main" id="{5CC76D42-1825-4465-B87E-3D8F5A3A465B}"/>
                    </a:ext>
                  </a:extLst>
                </p:cNvPr>
                <p:cNvSpPr/>
                <p:nvPr/>
              </p:nvSpPr>
              <p:spPr>
                <a:xfrm>
                  <a:off x="4346307" y="2473438"/>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44" name="Vrije vorm: vorm 8643">
                  <a:extLst>
                    <a:ext uri="{FF2B5EF4-FFF2-40B4-BE49-F238E27FC236}">
                      <a16:creationId xmlns:a16="http://schemas.microsoft.com/office/drawing/2014/main" id="{1A2FA40D-A2C0-4481-8992-065D8C5B4127}"/>
                    </a:ext>
                  </a:extLst>
                </p:cNvPr>
                <p:cNvSpPr/>
                <p:nvPr/>
              </p:nvSpPr>
              <p:spPr>
                <a:xfrm>
                  <a:off x="4354381" y="2470867"/>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45" name="Vrije vorm: vorm 8644">
                  <a:extLst>
                    <a:ext uri="{FF2B5EF4-FFF2-40B4-BE49-F238E27FC236}">
                      <a16:creationId xmlns:a16="http://schemas.microsoft.com/office/drawing/2014/main" id="{9FC0D2E7-47E7-4F40-909F-88C1BE2F5BB1}"/>
                    </a:ext>
                  </a:extLst>
                </p:cNvPr>
                <p:cNvSpPr/>
                <p:nvPr/>
              </p:nvSpPr>
              <p:spPr>
                <a:xfrm>
                  <a:off x="4420528" y="2590062"/>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46" name="Vrije vorm: vorm 8645">
                  <a:extLst>
                    <a:ext uri="{FF2B5EF4-FFF2-40B4-BE49-F238E27FC236}">
                      <a16:creationId xmlns:a16="http://schemas.microsoft.com/office/drawing/2014/main" id="{0339A98C-BA85-4C32-A7DE-3BB541B9A998}"/>
                    </a:ext>
                  </a:extLst>
                </p:cNvPr>
                <p:cNvSpPr/>
                <p:nvPr/>
              </p:nvSpPr>
              <p:spPr>
                <a:xfrm>
                  <a:off x="4426928" y="2585612"/>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47" name="Vrije vorm: vorm 8646">
                  <a:extLst>
                    <a:ext uri="{FF2B5EF4-FFF2-40B4-BE49-F238E27FC236}">
                      <a16:creationId xmlns:a16="http://schemas.microsoft.com/office/drawing/2014/main" id="{3098E976-E0B1-455E-B13C-C0CC9EFE86E4}"/>
                    </a:ext>
                  </a:extLst>
                </p:cNvPr>
                <p:cNvSpPr/>
                <p:nvPr/>
              </p:nvSpPr>
              <p:spPr>
                <a:xfrm>
                  <a:off x="4359943" y="2466680"/>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48" name="Vrije vorm: vorm 8647">
                  <a:extLst>
                    <a:ext uri="{FF2B5EF4-FFF2-40B4-BE49-F238E27FC236}">
                      <a16:creationId xmlns:a16="http://schemas.microsoft.com/office/drawing/2014/main" id="{DC416A0E-4EE9-42D9-8AE7-D8EE2313F85C}"/>
                    </a:ext>
                  </a:extLst>
                </p:cNvPr>
                <p:cNvSpPr/>
                <p:nvPr/>
              </p:nvSpPr>
              <p:spPr>
                <a:xfrm>
                  <a:off x="4367300" y="2461213"/>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49" name="Vrije vorm: vorm 8648">
                  <a:extLst>
                    <a:ext uri="{FF2B5EF4-FFF2-40B4-BE49-F238E27FC236}">
                      <a16:creationId xmlns:a16="http://schemas.microsoft.com/office/drawing/2014/main" id="{2E9812AF-BDD5-4209-A9A3-37867411B1F7}"/>
                    </a:ext>
                  </a:extLst>
                </p:cNvPr>
                <p:cNvSpPr/>
                <p:nvPr/>
              </p:nvSpPr>
              <p:spPr>
                <a:xfrm>
                  <a:off x="4373041" y="2456233"/>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650" name="Vrije vorm: vorm 8649">
                  <a:extLst>
                    <a:ext uri="{FF2B5EF4-FFF2-40B4-BE49-F238E27FC236}">
                      <a16:creationId xmlns:a16="http://schemas.microsoft.com/office/drawing/2014/main" id="{F08532B4-7118-47CC-80DD-9C4F386D9070}"/>
                    </a:ext>
                  </a:extLst>
                </p:cNvPr>
                <p:cNvSpPr/>
                <p:nvPr/>
              </p:nvSpPr>
              <p:spPr>
                <a:xfrm>
                  <a:off x="4344453" y="2457086"/>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51" name="Vrije vorm: vorm 8650">
                  <a:extLst>
                    <a:ext uri="{FF2B5EF4-FFF2-40B4-BE49-F238E27FC236}">
                      <a16:creationId xmlns:a16="http://schemas.microsoft.com/office/drawing/2014/main" id="{BB682B37-AA25-4C09-A4D4-FB2E87A1C56D}"/>
                    </a:ext>
                  </a:extLst>
                </p:cNvPr>
                <p:cNvSpPr/>
                <p:nvPr/>
              </p:nvSpPr>
              <p:spPr>
                <a:xfrm>
                  <a:off x="4354800" y="2448534"/>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52" name="Vrije vorm: vorm 8651">
                  <a:extLst>
                    <a:ext uri="{FF2B5EF4-FFF2-40B4-BE49-F238E27FC236}">
                      <a16:creationId xmlns:a16="http://schemas.microsoft.com/office/drawing/2014/main" id="{C7BC32D8-ACD6-40E6-B07B-CD871808AA84}"/>
                    </a:ext>
                  </a:extLst>
                </p:cNvPr>
                <p:cNvSpPr/>
                <p:nvPr/>
              </p:nvSpPr>
              <p:spPr>
                <a:xfrm>
                  <a:off x="4520825" y="2505615"/>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8"/>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53" name="Vrije vorm: vorm 8652">
                  <a:extLst>
                    <a:ext uri="{FF2B5EF4-FFF2-40B4-BE49-F238E27FC236}">
                      <a16:creationId xmlns:a16="http://schemas.microsoft.com/office/drawing/2014/main" id="{03A8D3E8-2DA2-4146-963D-E4B276644FEC}"/>
                    </a:ext>
                  </a:extLst>
                </p:cNvPr>
                <p:cNvSpPr/>
                <p:nvPr/>
              </p:nvSpPr>
              <p:spPr>
                <a:xfrm>
                  <a:off x="4363592" y="2624212"/>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2"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54" name="Vrije vorm: vorm 8653">
                  <a:extLst>
                    <a:ext uri="{FF2B5EF4-FFF2-40B4-BE49-F238E27FC236}">
                      <a16:creationId xmlns:a16="http://schemas.microsoft.com/office/drawing/2014/main" id="{E9E08BB9-0CBF-4FE0-A4AE-66454D34822B}"/>
                    </a:ext>
                  </a:extLst>
                </p:cNvPr>
                <p:cNvSpPr/>
                <p:nvPr/>
              </p:nvSpPr>
              <p:spPr>
                <a:xfrm>
                  <a:off x="4356534" y="2490065"/>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2"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55" name="Vrije vorm: vorm 8654">
                  <a:extLst>
                    <a:ext uri="{FF2B5EF4-FFF2-40B4-BE49-F238E27FC236}">
                      <a16:creationId xmlns:a16="http://schemas.microsoft.com/office/drawing/2014/main" id="{5243B42F-B364-4D6F-919F-DBA43D812581}"/>
                    </a:ext>
                  </a:extLst>
                </p:cNvPr>
                <p:cNvSpPr/>
                <p:nvPr/>
              </p:nvSpPr>
              <p:spPr>
                <a:xfrm>
                  <a:off x="4362216" y="2485101"/>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56" name="Vrije vorm: vorm 8655">
                  <a:extLst>
                    <a:ext uri="{FF2B5EF4-FFF2-40B4-BE49-F238E27FC236}">
                      <a16:creationId xmlns:a16="http://schemas.microsoft.com/office/drawing/2014/main" id="{77F1CA23-E82E-4F6F-A1F5-FBCA91F6435C}"/>
                    </a:ext>
                  </a:extLst>
                </p:cNvPr>
                <p:cNvSpPr/>
                <p:nvPr/>
              </p:nvSpPr>
              <p:spPr>
                <a:xfrm>
                  <a:off x="4367898" y="2480112"/>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57" name="Vrije vorm: vorm 8656">
                  <a:extLst>
                    <a:ext uri="{FF2B5EF4-FFF2-40B4-BE49-F238E27FC236}">
                      <a16:creationId xmlns:a16="http://schemas.microsoft.com/office/drawing/2014/main" id="{E0B1D04E-FE8D-4AA5-ACF2-6D084F9CB743}"/>
                    </a:ext>
                  </a:extLst>
                </p:cNvPr>
                <p:cNvSpPr/>
                <p:nvPr/>
              </p:nvSpPr>
              <p:spPr>
                <a:xfrm>
                  <a:off x="4373221" y="2477480"/>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58" name="Vrije vorm: vorm 8657">
                  <a:extLst>
                    <a:ext uri="{FF2B5EF4-FFF2-40B4-BE49-F238E27FC236}">
                      <a16:creationId xmlns:a16="http://schemas.microsoft.com/office/drawing/2014/main" id="{CE7F9C8B-68B8-4848-9582-355A60A2FAA6}"/>
                    </a:ext>
                  </a:extLst>
                </p:cNvPr>
                <p:cNvSpPr/>
                <p:nvPr/>
              </p:nvSpPr>
              <p:spPr>
                <a:xfrm>
                  <a:off x="4378244" y="2473977"/>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59" name="Vrije vorm: vorm 8658">
                  <a:extLst>
                    <a:ext uri="{FF2B5EF4-FFF2-40B4-BE49-F238E27FC236}">
                      <a16:creationId xmlns:a16="http://schemas.microsoft.com/office/drawing/2014/main" id="{5842A2DC-3C95-4F2B-8D68-C4223FDFA767}"/>
                    </a:ext>
                  </a:extLst>
                </p:cNvPr>
                <p:cNvSpPr/>
                <p:nvPr/>
              </p:nvSpPr>
              <p:spPr>
                <a:xfrm>
                  <a:off x="4389668" y="2470448"/>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60" name="Vrije vorm: vorm 8659">
                  <a:extLst>
                    <a:ext uri="{FF2B5EF4-FFF2-40B4-BE49-F238E27FC236}">
                      <a16:creationId xmlns:a16="http://schemas.microsoft.com/office/drawing/2014/main" id="{AF83BA72-1DE4-4D8A-BED8-A8CA4E3900B1}"/>
                    </a:ext>
                  </a:extLst>
                </p:cNvPr>
                <p:cNvSpPr/>
                <p:nvPr/>
              </p:nvSpPr>
              <p:spPr>
                <a:xfrm>
                  <a:off x="4514306" y="2512631"/>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661" name="Vrije vorm: vorm 8660">
                  <a:extLst>
                    <a:ext uri="{FF2B5EF4-FFF2-40B4-BE49-F238E27FC236}">
                      <a16:creationId xmlns:a16="http://schemas.microsoft.com/office/drawing/2014/main" id="{A6C4C651-D0C2-4836-870E-BE9F76EDE286}"/>
                    </a:ext>
                  </a:extLst>
                </p:cNvPr>
                <p:cNvSpPr/>
                <p:nvPr/>
              </p:nvSpPr>
              <p:spPr>
                <a:xfrm>
                  <a:off x="4339848" y="2633901"/>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62" name="Vrije vorm: vorm 8661">
                  <a:extLst>
                    <a:ext uri="{FF2B5EF4-FFF2-40B4-BE49-F238E27FC236}">
                      <a16:creationId xmlns:a16="http://schemas.microsoft.com/office/drawing/2014/main" id="{48B30BDE-2AE7-4587-9760-9C5C8AFBFBC0}"/>
                    </a:ext>
                  </a:extLst>
                </p:cNvPr>
                <p:cNvSpPr/>
                <p:nvPr/>
              </p:nvSpPr>
              <p:spPr>
                <a:xfrm>
                  <a:off x="4318677" y="2639463"/>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63" name="Vrije vorm: vorm 8662">
                  <a:extLst>
                    <a:ext uri="{FF2B5EF4-FFF2-40B4-BE49-F238E27FC236}">
                      <a16:creationId xmlns:a16="http://schemas.microsoft.com/office/drawing/2014/main" id="{45C8269B-8007-4035-9E8A-EDAF8A7394C8}"/>
                    </a:ext>
                  </a:extLst>
                </p:cNvPr>
                <p:cNvSpPr/>
                <p:nvPr/>
              </p:nvSpPr>
              <p:spPr>
                <a:xfrm>
                  <a:off x="4304383" y="2642155"/>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64" name="Vrije vorm: vorm 8663">
                  <a:extLst>
                    <a:ext uri="{FF2B5EF4-FFF2-40B4-BE49-F238E27FC236}">
                      <a16:creationId xmlns:a16="http://schemas.microsoft.com/office/drawing/2014/main" id="{419EAD9E-C89C-4A3D-8C3D-E32601B4EF39}"/>
                    </a:ext>
                  </a:extLst>
                </p:cNvPr>
                <p:cNvSpPr/>
                <p:nvPr/>
              </p:nvSpPr>
              <p:spPr>
                <a:xfrm>
                  <a:off x="4290328" y="2643744"/>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65" name="Vrije vorm: vorm 8664">
                  <a:extLst>
                    <a:ext uri="{FF2B5EF4-FFF2-40B4-BE49-F238E27FC236}">
                      <a16:creationId xmlns:a16="http://schemas.microsoft.com/office/drawing/2014/main" id="{BD7F5CDF-96FF-4967-820D-B7CFFB2D251E}"/>
                    </a:ext>
                  </a:extLst>
                </p:cNvPr>
                <p:cNvSpPr/>
                <p:nvPr/>
              </p:nvSpPr>
              <p:spPr>
                <a:xfrm>
                  <a:off x="4282314" y="2642035"/>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66" name="Vrije vorm: vorm 8665">
                  <a:extLst>
                    <a:ext uri="{FF2B5EF4-FFF2-40B4-BE49-F238E27FC236}">
                      <a16:creationId xmlns:a16="http://schemas.microsoft.com/office/drawing/2014/main" id="{DB4D3C48-2839-45C5-9897-1F6E027B023E}"/>
                    </a:ext>
                  </a:extLst>
                </p:cNvPr>
                <p:cNvSpPr/>
                <p:nvPr/>
              </p:nvSpPr>
              <p:spPr>
                <a:xfrm>
                  <a:off x="4276931" y="2638302"/>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67" name="Vrije vorm: vorm 8666">
                  <a:extLst>
                    <a:ext uri="{FF2B5EF4-FFF2-40B4-BE49-F238E27FC236}">
                      <a16:creationId xmlns:a16="http://schemas.microsoft.com/office/drawing/2014/main" id="{291D0604-35B3-46DC-8C4A-CB02A7B94F2B}"/>
                    </a:ext>
                  </a:extLst>
                </p:cNvPr>
                <p:cNvSpPr/>
                <p:nvPr/>
              </p:nvSpPr>
              <p:spPr>
                <a:xfrm>
                  <a:off x="4277649" y="2631245"/>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68" name="Vrije vorm: vorm 8667">
                  <a:extLst>
                    <a:ext uri="{FF2B5EF4-FFF2-40B4-BE49-F238E27FC236}">
                      <a16:creationId xmlns:a16="http://schemas.microsoft.com/office/drawing/2014/main" id="{C27CE66C-DAB8-4126-8C47-0D47C4815244}"/>
                    </a:ext>
                  </a:extLst>
                </p:cNvPr>
                <p:cNvSpPr/>
                <p:nvPr/>
              </p:nvSpPr>
              <p:spPr>
                <a:xfrm>
                  <a:off x="4286261" y="2623410"/>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69" name="Vrije vorm: vorm 8668">
                  <a:extLst>
                    <a:ext uri="{FF2B5EF4-FFF2-40B4-BE49-F238E27FC236}">
                      <a16:creationId xmlns:a16="http://schemas.microsoft.com/office/drawing/2014/main" id="{8C43844A-FD08-4994-831D-E4F0D5193438}"/>
                    </a:ext>
                  </a:extLst>
                </p:cNvPr>
                <p:cNvSpPr/>
                <p:nvPr/>
              </p:nvSpPr>
              <p:spPr>
                <a:xfrm>
                  <a:off x="4305040" y="2609399"/>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670" name="Vrije vorm: vorm 8669">
                  <a:extLst>
                    <a:ext uri="{FF2B5EF4-FFF2-40B4-BE49-F238E27FC236}">
                      <a16:creationId xmlns:a16="http://schemas.microsoft.com/office/drawing/2014/main" id="{619FEBC4-DBF0-4420-B379-638411B53101}"/>
                    </a:ext>
                  </a:extLst>
                </p:cNvPr>
                <p:cNvSpPr/>
                <p:nvPr/>
              </p:nvSpPr>
              <p:spPr>
                <a:xfrm>
                  <a:off x="4324358" y="2595744"/>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71" name="Vrije vorm: vorm 8670">
                  <a:extLst>
                    <a:ext uri="{FF2B5EF4-FFF2-40B4-BE49-F238E27FC236}">
                      <a16:creationId xmlns:a16="http://schemas.microsoft.com/office/drawing/2014/main" id="{4B3D9642-CA1F-4CF3-B476-5E87E2F01779}"/>
                    </a:ext>
                  </a:extLst>
                </p:cNvPr>
                <p:cNvSpPr/>
                <p:nvPr/>
              </p:nvSpPr>
              <p:spPr>
                <a:xfrm>
                  <a:off x="4338772" y="2586194"/>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672" name="Vrije vorm: vorm 8671">
                  <a:extLst>
                    <a:ext uri="{FF2B5EF4-FFF2-40B4-BE49-F238E27FC236}">
                      <a16:creationId xmlns:a16="http://schemas.microsoft.com/office/drawing/2014/main" id="{D585BFF9-128A-4009-AA3B-84181AB0B5BE}"/>
                    </a:ext>
                  </a:extLst>
                </p:cNvPr>
                <p:cNvSpPr/>
                <p:nvPr/>
              </p:nvSpPr>
              <p:spPr>
                <a:xfrm>
                  <a:off x="4372742" y="2563304"/>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73" name="Vrije vorm: vorm 8672">
                  <a:extLst>
                    <a:ext uri="{FF2B5EF4-FFF2-40B4-BE49-F238E27FC236}">
                      <a16:creationId xmlns:a16="http://schemas.microsoft.com/office/drawing/2014/main" id="{7D2185B3-FB93-40CD-9060-A51402CC2425}"/>
                    </a:ext>
                  </a:extLst>
                </p:cNvPr>
                <p:cNvSpPr/>
                <p:nvPr/>
              </p:nvSpPr>
              <p:spPr>
                <a:xfrm>
                  <a:off x="4387634" y="2552743"/>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74" name="Vrije vorm: vorm 8673">
                  <a:extLst>
                    <a:ext uri="{FF2B5EF4-FFF2-40B4-BE49-F238E27FC236}">
                      <a16:creationId xmlns:a16="http://schemas.microsoft.com/office/drawing/2014/main" id="{82767D6A-F2DC-41DF-9A84-C24BC0B5C428}"/>
                    </a:ext>
                  </a:extLst>
                </p:cNvPr>
                <p:cNvSpPr/>
                <p:nvPr/>
              </p:nvSpPr>
              <p:spPr>
                <a:xfrm>
                  <a:off x="4415385" y="2533444"/>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675" name="Vrije vorm: vorm 8674">
                  <a:extLst>
                    <a:ext uri="{FF2B5EF4-FFF2-40B4-BE49-F238E27FC236}">
                      <a16:creationId xmlns:a16="http://schemas.microsoft.com/office/drawing/2014/main" id="{ADDF9C75-E983-4DA3-B770-9CF734FC4EAF}"/>
                    </a:ext>
                  </a:extLst>
                </p:cNvPr>
                <p:cNvSpPr/>
                <p:nvPr/>
              </p:nvSpPr>
              <p:spPr>
                <a:xfrm>
                  <a:off x="4453123" y="2506546"/>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76" name="Vrije vorm: vorm 8675">
                  <a:extLst>
                    <a:ext uri="{FF2B5EF4-FFF2-40B4-BE49-F238E27FC236}">
                      <a16:creationId xmlns:a16="http://schemas.microsoft.com/office/drawing/2014/main" id="{61395DB9-13D2-41DF-8664-73660565D6BD}"/>
                    </a:ext>
                  </a:extLst>
                </p:cNvPr>
                <p:cNvSpPr/>
                <p:nvPr/>
              </p:nvSpPr>
              <p:spPr>
                <a:xfrm>
                  <a:off x="4492476" y="2478283"/>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77" name="Vrije vorm: vorm 8676">
                  <a:extLst>
                    <a:ext uri="{FF2B5EF4-FFF2-40B4-BE49-F238E27FC236}">
                      <a16:creationId xmlns:a16="http://schemas.microsoft.com/office/drawing/2014/main" id="{762B50EA-DA73-4A78-B4B2-371505B99FA8}"/>
                    </a:ext>
                  </a:extLst>
                </p:cNvPr>
                <p:cNvSpPr/>
                <p:nvPr/>
              </p:nvSpPr>
              <p:spPr>
                <a:xfrm>
                  <a:off x="4512871" y="2463170"/>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678" name="Vrije vorm: vorm 8677">
                  <a:extLst>
                    <a:ext uri="{FF2B5EF4-FFF2-40B4-BE49-F238E27FC236}">
                      <a16:creationId xmlns:a16="http://schemas.microsoft.com/office/drawing/2014/main" id="{4EC89DC1-018E-441C-AF27-6CD9B64B7EBB}"/>
                    </a:ext>
                  </a:extLst>
                </p:cNvPr>
                <p:cNvSpPr/>
                <p:nvPr/>
              </p:nvSpPr>
              <p:spPr>
                <a:xfrm>
                  <a:off x="4529317" y="2451489"/>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79" name="Vrije vorm: vorm 8678">
                  <a:extLst>
                    <a:ext uri="{FF2B5EF4-FFF2-40B4-BE49-F238E27FC236}">
                      <a16:creationId xmlns:a16="http://schemas.microsoft.com/office/drawing/2014/main" id="{45BDC629-159D-46C4-B249-51682C966677}"/>
                    </a:ext>
                  </a:extLst>
                </p:cNvPr>
                <p:cNvSpPr/>
                <p:nvPr/>
              </p:nvSpPr>
              <p:spPr>
                <a:xfrm>
                  <a:off x="4542654" y="2443390"/>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80" name="Vrije vorm: vorm 8679">
                  <a:extLst>
                    <a:ext uri="{FF2B5EF4-FFF2-40B4-BE49-F238E27FC236}">
                      <a16:creationId xmlns:a16="http://schemas.microsoft.com/office/drawing/2014/main" id="{C53B601B-4D16-4BDE-81D7-9C1757FA336A}"/>
                    </a:ext>
                  </a:extLst>
                </p:cNvPr>
                <p:cNvSpPr/>
                <p:nvPr/>
              </p:nvSpPr>
              <p:spPr>
                <a:xfrm>
                  <a:off x="4551925" y="2440938"/>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81" name="Vrije vorm: vorm 8680">
                  <a:extLst>
                    <a:ext uri="{FF2B5EF4-FFF2-40B4-BE49-F238E27FC236}">
                      <a16:creationId xmlns:a16="http://schemas.microsoft.com/office/drawing/2014/main" id="{1BFF0E47-B7FA-466B-AF1A-AEE1D16D8159}"/>
                    </a:ext>
                  </a:extLst>
                </p:cNvPr>
                <p:cNvSpPr/>
                <p:nvPr/>
              </p:nvSpPr>
              <p:spPr>
                <a:xfrm>
                  <a:off x="4557307" y="2444929"/>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682" name="Vrije vorm: vorm 8681">
                  <a:extLst>
                    <a:ext uri="{FF2B5EF4-FFF2-40B4-BE49-F238E27FC236}">
                      <a16:creationId xmlns:a16="http://schemas.microsoft.com/office/drawing/2014/main" id="{306CF8F4-9725-4C87-9000-68A3878EB998}"/>
                    </a:ext>
                  </a:extLst>
                </p:cNvPr>
                <p:cNvSpPr/>
                <p:nvPr/>
              </p:nvSpPr>
              <p:spPr>
                <a:xfrm>
                  <a:off x="4553779" y="2458386"/>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683" name="Vrije vorm: vorm 8682">
                  <a:extLst>
                    <a:ext uri="{FF2B5EF4-FFF2-40B4-BE49-F238E27FC236}">
                      <a16:creationId xmlns:a16="http://schemas.microsoft.com/office/drawing/2014/main" id="{68E4C6D7-945D-4C95-9185-09EC7B2C96ED}"/>
                    </a:ext>
                  </a:extLst>
                </p:cNvPr>
                <p:cNvSpPr/>
                <p:nvPr/>
              </p:nvSpPr>
              <p:spPr>
                <a:xfrm>
                  <a:off x="4543671" y="2477565"/>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84" name="Vrije vorm: vorm 8683">
                  <a:extLst>
                    <a:ext uri="{FF2B5EF4-FFF2-40B4-BE49-F238E27FC236}">
                      <a16:creationId xmlns:a16="http://schemas.microsoft.com/office/drawing/2014/main" id="{590B03C9-2D65-4B14-9081-8444EA88CE8E}"/>
                    </a:ext>
                  </a:extLst>
                </p:cNvPr>
                <p:cNvSpPr/>
                <p:nvPr/>
              </p:nvSpPr>
              <p:spPr>
                <a:xfrm>
                  <a:off x="4532428" y="2492218"/>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85" name="Vrije vorm: vorm 8684">
                  <a:extLst>
                    <a:ext uri="{FF2B5EF4-FFF2-40B4-BE49-F238E27FC236}">
                      <a16:creationId xmlns:a16="http://schemas.microsoft.com/office/drawing/2014/main" id="{9808E3E6-53DA-44DF-8393-4F4D4F1040C9}"/>
                    </a:ext>
                  </a:extLst>
                </p:cNvPr>
                <p:cNvSpPr/>
                <p:nvPr/>
              </p:nvSpPr>
              <p:spPr>
                <a:xfrm>
                  <a:off x="4493493" y="2531332"/>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86" name="Vrije vorm: vorm 8685">
                  <a:extLst>
                    <a:ext uri="{FF2B5EF4-FFF2-40B4-BE49-F238E27FC236}">
                      <a16:creationId xmlns:a16="http://schemas.microsoft.com/office/drawing/2014/main" id="{3D433D99-6296-48A9-98CC-4C2C42A9A8A2}"/>
                    </a:ext>
                  </a:extLst>
                </p:cNvPr>
                <p:cNvSpPr/>
                <p:nvPr/>
              </p:nvSpPr>
              <p:spPr>
                <a:xfrm>
                  <a:off x="4471065" y="2551386"/>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687" name="Vrije vorm: vorm 8686">
                  <a:extLst>
                    <a:ext uri="{FF2B5EF4-FFF2-40B4-BE49-F238E27FC236}">
                      <a16:creationId xmlns:a16="http://schemas.microsoft.com/office/drawing/2014/main" id="{4C2A303A-C70C-473E-966A-20413CD4D283}"/>
                    </a:ext>
                  </a:extLst>
                </p:cNvPr>
                <p:cNvSpPr/>
                <p:nvPr/>
              </p:nvSpPr>
              <p:spPr>
                <a:xfrm>
                  <a:off x="4464786" y="2556948"/>
                  <a:ext cx="2915" cy="2794"/>
                </a:xfrm>
                <a:custGeom>
                  <a:avLst/>
                  <a:gdLst>
                    <a:gd name="connsiteX0" fmla="*/ 2893 w 2915"/>
                    <a:gd name="connsiteY0" fmla="*/ 1645 h 2794"/>
                    <a:gd name="connsiteX1" fmla="*/ 22 w 2915"/>
                    <a:gd name="connsiteY1" fmla="*/ 1106 h 2794"/>
                    <a:gd name="connsiteX2" fmla="*/ 2893 w 2915"/>
                    <a:gd name="connsiteY2" fmla="*/ 1645 h 2794"/>
                    <a:gd name="connsiteX3" fmla="*/ 2893 w 2915"/>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5" h="2794">
                      <a:moveTo>
                        <a:pt x="2893" y="1645"/>
                      </a:moveTo>
                      <a:cubicBezTo>
                        <a:pt x="2534" y="3499"/>
                        <a:pt x="-277" y="2960"/>
                        <a:pt x="22" y="1106"/>
                      </a:cubicBezTo>
                      <a:cubicBezTo>
                        <a:pt x="381" y="-688"/>
                        <a:pt x="319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688" name="Vrije vorm: vorm 8687">
                  <a:extLst>
                    <a:ext uri="{FF2B5EF4-FFF2-40B4-BE49-F238E27FC236}">
                      <a16:creationId xmlns:a16="http://schemas.microsoft.com/office/drawing/2014/main" id="{23FFA16C-2ACC-485E-AD3B-84DD5AE18B82}"/>
                    </a:ext>
                  </a:extLst>
                </p:cNvPr>
                <p:cNvSpPr/>
                <p:nvPr/>
              </p:nvSpPr>
              <p:spPr>
                <a:xfrm>
                  <a:off x="4446305" y="2570505"/>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89" name="Vrije vorm: vorm 8688">
                  <a:extLst>
                    <a:ext uri="{FF2B5EF4-FFF2-40B4-BE49-F238E27FC236}">
                      <a16:creationId xmlns:a16="http://schemas.microsoft.com/office/drawing/2014/main" id="{F726E252-0C78-4E99-ACE0-649CBFC426CE}"/>
                    </a:ext>
                  </a:extLst>
                </p:cNvPr>
                <p:cNvSpPr/>
                <p:nvPr/>
              </p:nvSpPr>
              <p:spPr>
                <a:xfrm>
                  <a:off x="4404261" y="2600768"/>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90" name="Vrije vorm: vorm 8689">
                  <a:extLst>
                    <a:ext uri="{FF2B5EF4-FFF2-40B4-BE49-F238E27FC236}">
                      <a16:creationId xmlns:a16="http://schemas.microsoft.com/office/drawing/2014/main" id="{34A19F56-1472-43FE-88AD-3F80D3372FC8}"/>
                    </a:ext>
                  </a:extLst>
                </p:cNvPr>
                <p:cNvSpPr/>
                <p:nvPr/>
              </p:nvSpPr>
              <p:spPr>
                <a:xfrm>
                  <a:off x="4383029" y="2614020"/>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91" name="Vrije vorm: vorm 8690">
                  <a:extLst>
                    <a:ext uri="{FF2B5EF4-FFF2-40B4-BE49-F238E27FC236}">
                      <a16:creationId xmlns:a16="http://schemas.microsoft.com/office/drawing/2014/main" id="{C8E54043-176A-42E2-AA47-DDC4FD9982C4}"/>
                    </a:ext>
                  </a:extLst>
                </p:cNvPr>
                <p:cNvSpPr/>
                <p:nvPr/>
              </p:nvSpPr>
              <p:spPr>
                <a:xfrm>
                  <a:off x="4289610" y="2650169"/>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92" name="Vrije vorm: vorm 8691">
                  <a:extLst>
                    <a:ext uri="{FF2B5EF4-FFF2-40B4-BE49-F238E27FC236}">
                      <a16:creationId xmlns:a16="http://schemas.microsoft.com/office/drawing/2014/main" id="{B798AE34-262A-4254-8070-2E20CE88B94D}"/>
                    </a:ext>
                  </a:extLst>
                </p:cNvPr>
                <p:cNvSpPr/>
                <p:nvPr/>
              </p:nvSpPr>
              <p:spPr>
                <a:xfrm>
                  <a:off x="4308150" y="2659039"/>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693" name="Vrije vorm: vorm 8692">
                  <a:extLst>
                    <a:ext uri="{FF2B5EF4-FFF2-40B4-BE49-F238E27FC236}">
                      <a16:creationId xmlns:a16="http://schemas.microsoft.com/office/drawing/2014/main" id="{BFCCDBF5-7DCB-47CA-8463-8B45950364F7}"/>
                    </a:ext>
                  </a:extLst>
                </p:cNvPr>
                <p:cNvSpPr/>
                <p:nvPr/>
              </p:nvSpPr>
              <p:spPr>
                <a:xfrm>
                  <a:off x="4326631" y="2665933"/>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94" name="Vrije vorm: vorm 8693">
                  <a:extLst>
                    <a:ext uri="{FF2B5EF4-FFF2-40B4-BE49-F238E27FC236}">
                      <a16:creationId xmlns:a16="http://schemas.microsoft.com/office/drawing/2014/main" id="{6157CDDD-6F15-4F42-9C3B-77F6DD997993}"/>
                    </a:ext>
                  </a:extLst>
                </p:cNvPr>
                <p:cNvSpPr/>
                <p:nvPr/>
              </p:nvSpPr>
              <p:spPr>
                <a:xfrm>
                  <a:off x="4350853" y="2671879"/>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695" name="Vrije vorm: vorm 8694">
                  <a:extLst>
                    <a:ext uri="{FF2B5EF4-FFF2-40B4-BE49-F238E27FC236}">
                      <a16:creationId xmlns:a16="http://schemas.microsoft.com/office/drawing/2014/main" id="{E74167C4-67AC-44F1-B612-19F87B987BB2}"/>
                    </a:ext>
                  </a:extLst>
                </p:cNvPr>
                <p:cNvSpPr/>
                <p:nvPr/>
              </p:nvSpPr>
              <p:spPr>
                <a:xfrm>
                  <a:off x="4380876" y="2676100"/>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96" name="Vrije vorm: vorm 8695">
                  <a:extLst>
                    <a:ext uri="{FF2B5EF4-FFF2-40B4-BE49-F238E27FC236}">
                      <a16:creationId xmlns:a16="http://schemas.microsoft.com/office/drawing/2014/main" id="{6A61C294-51F7-4CF9-A973-E8460C739EA2}"/>
                    </a:ext>
                  </a:extLst>
                </p:cNvPr>
                <p:cNvSpPr/>
                <p:nvPr/>
              </p:nvSpPr>
              <p:spPr>
                <a:xfrm>
                  <a:off x="4408148" y="2675886"/>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697" name="Vrije vorm: vorm 8696">
                  <a:extLst>
                    <a:ext uri="{FF2B5EF4-FFF2-40B4-BE49-F238E27FC236}">
                      <a16:creationId xmlns:a16="http://schemas.microsoft.com/office/drawing/2014/main" id="{4DE00BDD-0A98-417B-BE30-1EC8ABFDEF96}"/>
                    </a:ext>
                  </a:extLst>
                </p:cNvPr>
                <p:cNvSpPr/>
                <p:nvPr/>
              </p:nvSpPr>
              <p:spPr>
                <a:xfrm>
                  <a:off x="4436317" y="2675023"/>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98" name="Vrije vorm: vorm 8697">
                  <a:extLst>
                    <a:ext uri="{FF2B5EF4-FFF2-40B4-BE49-F238E27FC236}">
                      <a16:creationId xmlns:a16="http://schemas.microsoft.com/office/drawing/2014/main" id="{700E6A3D-7184-418E-A713-DD6D37CEDE4F}"/>
                    </a:ext>
                  </a:extLst>
                </p:cNvPr>
                <p:cNvSpPr/>
                <p:nvPr/>
              </p:nvSpPr>
              <p:spPr>
                <a:xfrm>
                  <a:off x="4458147" y="2669880"/>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699" name="Vrije vorm: vorm 8698">
                  <a:extLst>
                    <a:ext uri="{FF2B5EF4-FFF2-40B4-BE49-F238E27FC236}">
                      <a16:creationId xmlns:a16="http://schemas.microsoft.com/office/drawing/2014/main" id="{C0FF4E64-74D4-47CE-A43D-D1F57F741237}"/>
                    </a:ext>
                  </a:extLst>
                </p:cNvPr>
                <p:cNvSpPr/>
                <p:nvPr/>
              </p:nvSpPr>
              <p:spPr>
                <a:xfrm>
                  <a:off x="4483266" y="2659798"/>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8"/>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00" name="Vrije vorm: vorm 8699">
                  <a:extLst>
                    <a:ext uri="{FF2B5EF4-FFF2-40B4-BE49-F238E27FC236}">
                      <a16:creationId xmlns:a16="http://schemas.microsoft.com/office/drawing/2014/main" id="{D2794A29-0673-4978-A675-4376DFE22585}"/>
                    </a:ext>
                  </a:extLst>
                </p:cNvPr>
                <p:cNvSpPr/>
                <p:nvPr/>
              </p:nvSpPr>
              <p:spPr>
                <a:xfrm>
                  <a:off x="4500431" y="2645538"/>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01" name="Vrije vorm: vorm 8700">
                  <a:extLst>
                    <a:ext uri="{FF2B5EF4-FFF2-40B4-BE49-F238E27FC236}">
                      <a16:creationId xmlns:a16="http://schemas.microsoft.com/office/drawing/2014/main" id="{CEA273CF-C41E-423C-BDB9-D2B71384298C}"/>
                    </a:ext>
                  </a:extLst>
                </p:cNvPr>
                <p:cNvSpPr/>
                <p:nvPr/>
              </p:nvSpPr>
              <p:spPr>
                <a:xfrm>
                  <a:off x="4517954" y="2625009"/>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02" name="Vrije vorm: vorm 8701">
                  <a:extLst>
                    <a:ext uri="{FF2B5EF4-FFF2-40B4-BE49-F238E27FC236}">
                      <a16:creationId xmlns:a16="http://schemas.microsoft.com/office/drawing/2014/main" id="{810C1D38-9E9D-447C-8DC2-96EF4913F4A9}"/>
                    </a:ext>
                  </a:extLst>
                </p:cNvPr>
                <p:cNvSpPr/>
                <p:nvPr/>
              </p:nvSpPr>
              <p:spPr>
                <a:xfrm>
                  <a:off x="4532547" y="2603160"/>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03" name="Vrije vorm: vorm 8702">
                  <a:extLst>
                    <a:ext uri="{FF2B5EF4-FFF2-40B4-BE49-F238E27FC236}">
                      <a16:creationId xmlns:a16="http://schemas.microsoft.com/office/drawing/2014/main" id="{5EFCBF0D-7053-42AC-8FA2-281A5217DD9F}"/>
                    </a:ext>
                  </a:extLst>
                </p:cNvPr>
                <p:cNvSpPr/>
                <p:nvPr/>
              </p:nvSpPr>
              <p:spPr>
                <a:xfrm>
                  <a:off x="4544628" y="2573376"/>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04" name="Vrije vorm: vorm 8703">
                  <a:extLst>
                    <a:ext uri="{FF2B5EF4-FFF2-40B4-BE49-F238E27FC236}">
                      <a16:creationId xmlns:a16="http://schemas.microsoft.com/office/drawing/2014/main" id="{92248F3E-CB38-4740-93C4-4CB1BC97B48A}"/>
                    </a:ext>
                  </a:extLst>
                </p:cNvPr>
                <p:cNvSpPr/>
                <p:nvPr/>
              </p:nvSpPr>
              <p:spPr>
                <a:xfrm>
                  <a:off x="4556171" y="2539944"/>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05" name="Vrije vorm: vorm 8704">
                  <a:extLst>
                    <a:ext uri="{FF2B5EF4-FFF2-40B4-BE49-F238E27FC236}">
                      <a16:creationId xmlns:a16="http://schemas.microsoft.com/office/drawing/2014/main" id="{D310FBB0-7BD9-48CE-A209-15B52B0D6599}"/>
                    </a:ext>
                  </a:extLst>
                </p:cNvPr>
                <p:cNvSpPr/>
                <p:nvPr/>
              </p:nvSpPr>
              <p:spPr>
                <a:xfrm>
                  <a:off x="4561853" y="2510554"/>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06" name="Vrije vorm: vorm 8705">
                  <a:extLst>
                    <a:ext uri="{FF2B5EF4-FFF2-40B4-BE49-F238E27FC236}">
                      <a16:creationId xmlns:a16="http://schemas.microsoft.com/office/drawing/2014/main" id="{F1DB48D2-2AD6-43A6-81FF-C2A9841FD9D8}"/>
                    </a:ext>
                  </a:extLst>
                </p:cNvPr>
                <p:cNvSpPr/>
                <p:nvPr/>
              </p:nvSpPr>
              <p:spPr>
                <a:xfrm>
                  <a:off x="4562690" y="2481906"/>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07" name="Vrije vorm: vorm 8706">
                  <a:extLst>
                    <a:ext uri="{FF2B5EF4-FFF2-40B4-BE49-F238E27FC236}">
                      <a16:creationId xmlns:a16="http://schemas.microsoft.com/office/drawing/2014/main" id="{66C39815-1BBA-41D6-885A-8BC02B8D9729}"/>
                    </a:ext>
                  </a:extLst>
                </p:cNvPr>
                <p:cNvSpPr/>
                <p:nvPr/>
              </p:nvSpPr>
              <p:spPr>
                <a:xfrm>
                  <a:off x="4561673" y="2461197"/>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08" name="Vrije vorm: vorm 8707">
                  <a:extLst>
                    <a:ext uri="{FF2B5EF4-FFF2-40B4-BE49-F238E27FC236}">
                      <a16:creationId xmlns:a16="http://schemas.microsoft.com/office/drawing/2014/main" id="{319FC744-90BA-4C27-890C-DDD6EDDABF79}"/>
                    </a:ext>
                  </a:extLst>
                </p:cNvPr>
                <p:cNvSpPr/>
                <p:nvPr/>
              </p:nvSpPr>
              <p:spPr>
                <a:xfrm>
                  <a:off x="4588706" y="2699544"/>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09" name="Vrije vorm: vorm 8708">
                  <a:extLst>
                    <a:ext uri="{FF2B5EF4-FFF2-40B4-BE49-F238E27FC236}">
                      <a16:creationId xmlns:a16="http://schemas.microsoft.com/office/drawing/2014/main" id="{A03B8C8F-3907-401A-BF33-E0A0C4FDF008}"/>
                    </a:ext>
                  </a:extLst>
                </p:cNvPr>
                <p:cNvSpPr/>
                <p:nvPr/>
              </p:nvSpPr>
              <p:spPr>
                <a:xfrm>
                  <a:off x="4518552" y="2668086"/>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10" name="Vrije vorm: vorm 8709">
                  <a:extLst>
                    <a:ext uri="{FF2B5EF4-FFF2-40B4-BE49-F238E27FC236}">
                      <a16:creationId xmlns:a16="http://schemas.microsoft.com/office/drawing/2014/main" id="{B0AD95E9-6547-4580-B55B-171AF0B3757B}"/>
                    </a:ext>
                  </a:extLst>
                </p:cNvPr>
                <p:cNvSpPr/>
                <p:nvPr/>
              </p:nvSpPr>
              <p:spPr>
                <a:xfrm>
                  <a:off x="4511076" y="2662328"/>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11" name="Vrije vorm: vorm 8710">
                  <a:extLst>
                    <a:ext uri="{FF2B5EF4-FFF2-40B4-BE49-F238E27FC236}">
                      <a16:creationId xmlns:a16="http://schemas.microsoft.com/office/drawing/2014/main" id="{AB3ECD7D-CEF1-4644-8D4F-B23FDF96778E}"/>
                    </a:ext>
                  </a:extLst>
                </p:cNvPr>
                <p:cNvSpPr/>
                <p:nvPr/>
              </p:nvSpPr>
              <p:spPr>
                <a:xfrm>
                  <a:off x="4507249" y="2655766"/>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12" name="Vrije vorm: vorm 8711">
                  <a:extLst>
                    <a:ext uri="{FF2B5EF4-FFF2-40B4-BE49-F238E27FC236}">
                      <a16:creationId xmlns:a16="http://schemas.microsoft.com/office/drawing/2014/main" id="{530B63DA-C0D5-4B79-B385-32C63361FF50}"/>
                    </a:ext>
                  </a:extLst>
                </p:cNvPr>
                <p:cNvSpPr/>
                <p:nvPr/>
              </p:nvSpPr>
              <p:spPr>
                <a:xfrm>
                  <a:off x="4506531" y="2646520"/>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13" name="Vrije vorm: vorm 8712">
                  <a:extLst>
                    <a:ext uri="{FF2B5EF4-FFF2-40B4-BE49-F238E27FC236}">
                      <a16:creationId xmlns:a16="http://schemas.microsoft.com/office/drawing/2014/main" id="{96B89F5E-3793-40C0-9DD9-4155AEB953A7}"/>
                    </a:ext>
                  </a:extLst>
                </p:cNvPr>
                <p:cNvSpPr/>
                <p:nvPr/>
              </p:nvSpPr>
              <p:spPr>
                <a:xfrm>
                  <a:off x="4509282" y="2637908"/>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14" name="Vrije vorm: vorm 8713">
                  <a:extLst>
                    <a:ext uri="{FF2B5EF4-FFF2-40B4-BE49-F238E27FC236}">
                      <a16:creationId xmlns:a16="http://schemas.microsoft.com/office/drawing/2014/main" id="{91143EB0-5B89-49F2-938D-4D9A3163339F}"/>
                    </a:ext>
                  </a:extLst>
                </p:cNvPr>
                <p:cNvSpPr/>
                <p:nvPr/>
              </p:nvSpPr>
              <p:spPr>
                <a:xfrm>
                  <a:off x="4521602" y="2631603"/>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15" name="Vrije vorm: vorm 8714">
                  <a:extLst>
                    <a:ext uri="{FF2B5EF4-FFF2-40B4-BE49-F238E27FC236}">
                      <a16:creationId xmlns:a16="http://schemas.microsoft.com/office/drawing/2014/main" id="{7CEE6A4B-88DB-44A4-89FE-0581B050525D}"/>
                    </a:ext>
                  </a:extLst>
                </p:cNvPr>
                <p:cNvSpPr/>
                <p:nvPr/>
              </p:nvSpPr>
              <p:spPr>
                <a:xfrm>
                  <a:off x="4540382" y="2625289"/>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16" name="Vrije vorm: vorm 8715">
                  <a:extLst>
                    <a:ext uri="{FF2B5EF4-FFF2-40B4-BE49-F238E27FC236}">
                      <a16:creationId xmlns:a16="http://schemas.microsoft.com/office/drawing/2014/main" id="{04D45731-BF0D-4D5D-8AE3-EA5D87ED1C24}"/>
                    </a:ext>
                  </a:extLst>
                </p:cNvPr>
                <p:cNvSpPr/>
                <p:nvPr/>
              </p:nvSpPr>
              <p:spPr>
                <a:xfrm>
                  <a:off x="4558802" y="2620958"/>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17" name="Vrije vorm: vorm 8716">
                  <a:extLst>
                    <a:ext uri="{FF2B5EF4-FFF2-40B4-BE49-F238E27FC236}">
                      <a16:creationId xmlns:a16="http://schemas.microsoft.com/office/drawing/2014/main" id="{C0147B58-4A8C-46CB-8F87-082116A7AA6E}"/>
                    </a:ext>
                  </a:extLst>
                </p:cNvPr>
                <p:cNvSpPr/>
                <p:nvPr/>
              </p:nvSpPr>
              <p:spPr>
                <a:xfrm>
                  <a:off x="4575967" y="2615515"/>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18" name="Vrije vorm: vorm 8717">
                  <a:extLst>
                    <a:ext uri="{FF2B5EF4-FFF2-40B4-BE49-F238E27FC236}">
                      <a16:creationId xmlns:a16="http://schemas.microsoft.com/office/drawing/2014/main" id="{314B516C-6C95-48D9-AA95-4BC2D497BD0B}"/>
                    </a:ext>
                  </a:extLst>
                </p:cNvPr>
                <p:cNvSpPr/>
                <p:nvPr/>
              </p:nvSpPr>
              <p:spPr>
                <a:xfrm>
                  <a:off x="4582905" y="2593251"/>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19" name="Vrije vorm: vorm 8718">
                  <a:extLst>
                    <a:ext uri="{FF2B5EF4-FFF2-40B4-BE49-F238E27FC236}">
                      <a16:creationId xmlns:a16="http://schemas.microsoft.com/office/drawing/2014/main" id="{E0F11EF8-35B7-42A1-9261-679C49AFEE23}"/>
                    </a:ext>
                  </a:extLst>
                </p:cNvPr>
                <p:cNvSpPr/>
                <p:nvPr/>
              </p:nvSpPr>
              <p:spPr>
                <a:xfrm>
                  <a:off x="4582008" y="2586628"/>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20" name="Vrije vorm: vorm 8719">
                  <a:extLst>
                    <a:ext uri="{FF2B5EF4-FFF2-40B4-BE49-F238E27FC236}">
                      <a16:creationId xmlns:a16="http://schemas.microsoft.com/office/drawing/2014/main" id="{71F17C0F-8249-478C-93DF-9E289F3FE533}"/>
                    </a:ext>
                  </a:extLst>
                </p:cNvPr>
                <p:cNvSpPr/>
                <p:nvPr/>
              </p:nvSpPr>
              <p:spPr>
                <a:xfrm>
                  <a:off x="4572259" y="2583698"/>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21" name="Vrije vorm: vorm 8720">
                  <a:extLst>
                    <a:ext uri="{FF2B5EF4-FFF2-40B4-BE49-F238E27FC236}">
                      <a16:creationId xmlns:a16="http://schemas.microsoft.com/office/drawing/2014/main" id="{6E45DA1A-84D3-4ED0-AC3B-54359B654A71}"/>
                    </a:ext>
                  </a:extLst>
                </p:cNvPr>
                <p:cNvSpPr/>
                <p:nvPr/>
              </p:nvSpPr>
              <p:spPr>
                <a:xfrm>
                  <a:off x="4543432" y="2580553"/>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8"/>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22" name="Vrije vorm: vorm 8721">
                  <a:extLst>
                    <a:ext uri="{FF2B5EF4-FFF2-40B4-BE49-F238E27FC236}">
                      <a16:creationId xmlns:a16="http://schemas.microsoft.com/office/drawing/2014/main" id="{5B05704C-E07D-43A1-AE91-060555105100}"/>
                    </a:ext>
                  </a:extLst>
                </p:cNvPr>
                <p:cNvSpPr/>
                <p:nvPr/>
              </p:nvSpPr>
              <p:spPr>
                <a:xfrm>
                  <a:off x="4614902" y="2578734"/>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23" name="Vrije vorm: vorm 8722">
                  <a:extLst>
                    <a:ext uri="{FF2B5EF4-FFF2-40B4-BE49-F238E27FC236}">
                      <a16:creationId xmlns:a16="http://schemas.microsoft.com/office/drawing/2014/main" id="{9F8CA8B7-1E58-4D35-8D4F-DE713FDE0D57}"/>
                    </a:ext>
                  </a:extLst>
                </p:cNvPr>
                <p:cNvSpPr/>
                <p:nvPr/>
              </p:nvSpPr>
              <p:spPr>
                <a:xfrm>
                  <a:off x="4602820" y="2614782"/>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24" name="Vrije vorm: vorm 8723">
                  <a:extLst>
                    <a:ext uri="{FF2B5EF4-FFF2-40B4-BE49-F238E27FC236}">
                      <a16:creationId xmlns:a16="http://schemas.microsoft.com/office/drawing/2014/main" id="{176DC586-9838-4CFF-B190-D5E51F5CC042}"/>
                    </a:ext>
                  </a:extLst>
                </p:cNvPr>
                <p:cNvSpPr/>
                <p:nvPr/>
              </p:nvSpPr>
              <p:spPr>
                <a:xfrm>
                  <a:off x="4517356" y="2637310"/>
                  <a:ext cx="2914" cy="2813"/>
                </a:xfrm>
                <a:custGeom>
                  <a:avLst/>
                  <a:gdLst>
                    <a:gd name="connsiteX0" fmla="*/ 2893 w 2914"/>
                    <a:gd name="connsiteY0" fmla="*/ 1664 h 2813"/>
                    <a:gd name="connsiteX1" fmla="*/ 22 w 2914"/>
                    <a:gd name="connsiteY1" fmla="*/ 1125 h 2813"/>
                    <a:gd name="connsiteX2" fmla="*/ 2893 w 2914"/>
                    <a:gd name="connsiteY2" fmla="*/ 1664 h 2813"/>
                    <a:gd name="connsiteX3" fmla="*/ 2893 w 291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25" name="Vrije vorm: vorm 8724">
                  <a:extLst>
                    <a:ext uri="{FF2B5EF4-FFF2-40B4-BE49-F238E27FC236}">
                      <a16:creationId xmlns:a16="http://schemas.microsoft.com/office/drawing/2014/main" id="{0FDE1917-FE4B-4135-9668-5B187B8B0C2A}"/>
                    </a:ext>
                  </a:extLst>
                </p:cNvPr>
                <p:cNvSpPr/>
                <p:nvPr/>
              </p:nvSpPr>
              <p:spPr>
                <a:xfrm>
                  <a:off x="4533384" y="2634619"/>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26" name="Vrije vorm: vorm 8725">
                  <a:extLst>
                    <a:ext uri="{FF2B5EF4-FFF2-40B4-BE49-F238E27FC236}">
                      <a16:creationId xmlns:a16="http://schemas.microsoft.com/office/drawing/2014/main" id="{760C71BE-CBFD-4377-B766-41C3E61400AF}"/>
                    </a:ext>
                  </a:extLst>
                </p:cNvPr>
                <p:cNvSpPr/>
                <p:nvPr/>
              </p:nvSpPr>
              <p:spPr>
                <a:xfrm>
                  <a:off x="4553360" y="2631449"/>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27" name="Vrije vorm: vorm 8726">
                  <a:extLst>
                    <a:ext uri="{FF2B5EF4-FFF2-40B4-BE49-F238E27FC236}">
                      <a16:creationId xmlns:a16="http://schemas.microsoft.com/office/drawing/2014/main" id="{E6FCC046-BC70-4C19-B9F5-3890BAC82240}"/>
                    </a:ext>
                  </a:extLst>
                </p:cNvPr>
                <p:cNvSpPr/>
                <p:nvPr/>
              </p:nvSpPr>
              <p:spPr>
                <a:xfrm>
                  <a:off x="4575548" y="2627502"/>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28" name="Vrije vorm: vorm 8727">
                  <a:extLst>
                    <a:ext uri="{FF2B5EF4-FFF2-40B4-BE49-F238E27FC236}">
                      <a16:creationId xmlns:a16="http://schemas.microsoft.com/office/drawing/2014/main" id="{53464D1D-0957-4DC6-B543-6F6A511477E5}"/>
                    </a:ext>
                  </a:extLst>
                </p:cNvPr>
                <p:cNvSpPr/>
                <p:nvPr/>
              </p:nvSpPr>
              <p:spPr>
                <a:xfrm>
                  <a:off x="4600847" y="2625588"/>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29" name="Vrije vorm: vorm 8728">
                  <a:extLst>
                    <a:ext uri="{FF2B5EF4-FFF2-40B4-BE49-F238E27FC236}">
                      <a16:creationId xmlns:a16="http://schemas.microsoft.com/office/drawing/2014/main" id="{7A8712DD-36D8-44AB-AFC7-DEAE2CCAC42B}"/>
                    </a:ext>
                  </a:extLst>
                </p:cNvPr>
                <p:cNvSpPr/>
                <p:nvPr/>
              </p:nvSpPr>
              <p:spPr>
                <a:xfrm>
                  <a:off x="4531052" y="2608322"/>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30" name="Vrije vorm: vorm 8729">
                  <a:extLst>
                    <a:ext uri="{FF2B5EF4-FFF2-40B4-BE49-F238E27FC236}">
                      <a16:creationId xmlns:a16="http://schemas.microsoft.com/office/drawing/2014/main" id="{9C6338AF-18A7-4446-A74F-5AACD993AF66}"/>
                    </a:ext>
                  </a:extLst>
                </p:cNvPr>
                <p:cNvSpPr/>
                <p:nvPr/>
              </p:nvSpPr>
              <p:spPr>
                <a:xfrm>
                  <a:off x="4541877" y="2613781"/>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31" name="Vrije vorm: vorm 8730">
                  <a:extLst>
                    <a:ext uri="{FF2B5EF4-FFF2-40B4-BE49-F238E27FC236}">
                      <a16:creationId xmlns:a16="http://schemas.microsoft.com/office/drawing/2014/main" id="{79235E01-2180-4003-B0AA-81F9AEB5EA3E}"/>
                    </a:ext>
                  </a:extLst>
                </p:cNvPr>
                <p:cNvSpPr/>
                <p:nvPr/>
              </p:nvSpPr>
              <p:spPr>
                <a:xfrm>
                  <a:off x="4591338" y="2690035"/>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32" name="Vrije vorm: vorm 8731">
                  <a:extLst>
                    <a:ext uri="{FF2B5EF4-FFF2-40B4-BE49-F238E27FC236}">
                      <a16:creationId xmlns:a16="http://schemas.microsoft.com/office/drawing/2014/main" id="{5FCCBD62-AFB8-44E1-8C2A-D67A8D574316}"/>
                    </a:ext>
                  </a:extLst>
                </p:cNvPr>
                <p:cNvSpPr/>
                <p:nvPr/>
              </p:nvSpPr>
              <p:spPr>
                <a:xfrm>
                  <a:off x="4617114" y="2693787"/>
                  <a:ext cx="2915" cy="2794"/>
                </a:xfrm>
                <a:custGeom>
                  <a:avLst/>
                  <a:gdLst>
                    <a:gd name="connsiteX0" fmla="*/ 2893 w 2915"/>
                    <a:gd name="connsiteY0" fmla="*/ 1645 h 2794"/>
                    <a:gd name="connsiteX1" fmla="*/ 22 w 2915"/>
                    <a:gd name="connsiteY1" fmla="*/ 1106 h 2794"/>
                    <a:gd name="connsiteX2" fmla="*/ 2893 w 2915"/>
                    <a:gd name="connsiteY2" fmla="*/ 1645 h 2794"/>
                    <a:gd name="connsiteX3" fmla="*/ 2893 w 2915"/>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5" h="2794">
                      <a:moveTo>
                        <a:pt x="2893" y="1645"/>
                      </a:moveTo>
                      <a:cubicBezTo>
                        <a:pt x="2534" y="3499"/>
                        <a:pt x="-277" y="2960"/>
                        <a:pt x="22" y="1106"/>
                      </a:cubicBezTo>
                      <a:cubicBezTo>
                        <a:pt x="381" y="-688"/>
                        <a:pt x="319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33" name="Vrije vorm: vorm 8732">
                  <a:extLst>
                    <a:ext uri="{FF2B5EF4-FFF2-40B4-BE49-F238E27FC236}">
                      <a16:creationId xmlns:a16="http://schemas.microsoft.com/office/drawing/2014/main" id="{CC7F6FFE-3EF8-47B5-9DCC-BB6329B6313E}"/>
                    </a:ext>
                  </a:extLst>
                </p:cNvPr>
                <p:cNvSpPr/>
                <p:nvPr/>
              </p:nvSpPr>
              <p:spPr>
                <a:xfrm>
                  <a:off x="4635236" y="2593267"/>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34" name="Vrije vorm: vorm 8733">
                  <a:extLst>
                    <a:ext uri="{FF2B5EF4-FFF2-40B4-BE49-F238E27FC236}">
                      <a16:creationId xmlns:a16="http://schemas.microsoft.com/office/drawing/2014/main" id="{2BAD4041-F30C-4BF6-B872-F210BEBE2B30}"/>
                    </a:ext>
                  </a:extLst>
                </p:cNvPr>
                <p:cNvSpPr/>
                <p:nvPr/>
              </p:nvSpPr>
              <p:spPr>
                <a:xfrm>
                  <a:off x="4611552" y="2589021"/>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35" name="Vrije vorm: vorm 8734">
                  <a:extLst>
                    <a:ext uri="{FF2B5EF4-FFF2-40B4-BE49-F238E27FC236}">
                      <a16:creationId xmlns:a16="http://schemas.microsoft.com/office/drawing/2014/main" id="{0DC0A7D4-A122-4FCC-818C-78A2B52CEDE6}"/>
                    </a:ext>
                  </a:extLst>
                </p:cNvPr>
                <p:cNvSpPr/>
                <p:nvPr/>
              </p:nvSpPr>
              <p:spPr>
                <a:xfrm>
                  <a:off x="4627700" y="2711566"/>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36" name="Vrije vorm: vorm 8735">
                  <a:extLst>
                    <a:ext uri="{FF2B5EF4-FFF2-40B4-BE49-F238E27FC236}">
                      <a16:creationId xmlns:a16="http://schemas.microsoft.com/office/drawing/2014/main" id="{8F0C2D51-4A48-4EAD-8AD2-2EAF674E0AE1}"/>
                    </a:ext>
                  </a:extLst>
                </p:cNvPr>
                <p:cNvSpPr/>
                <p:nvPr/>
              </p:nvSpPr>
              <p:spPr>
                <a:xfrm>
                  <a:off x="4640140" y="2730849"/>
                  <a:ext cx="2914" cy="2813"/>
                </a:xfrm>
                <a:custGeom>
                  <a:avLst/>
                  <a:gdLst>
                    <a:gd name="connsiteX0" fmla="*/ 2893 w 2914"/>
                    <a:gd name="connsiteY0" fmla="*/ 1663 h 2813"/>
                    <a:gd name="connsiteX1" fmla="*/ 22 w 2914"/>
                    <a:gd name="connsiteY1" fmla="*/ 1125 h 2813"/>
                    <a:gd name="connsiteX2" fmla="*/ 2893 w 2914"/>
                    <a:gd name="connsiteY2" fmla="*/ 1663 h 2813"/>
                    <a:gd name="connsiteX3" fmla="*/ 2893 w 291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3"/>
                      </a:moveTo>
                      <a:cubicBezTo>
                        <a:pt x="2534" y="3517"/>
                        <a:pt x="-277" y="2979"/>
                        <a:pt x="22" y="1125"/>
                      </a:cubicBezTo>
                      <a:cubicBezTo>
                        <a:pt x="32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37" name="Vrije vorm: vorm 8736">
                  <a:extLst>
                    <a:ext uri="{FF2B5EF4-FFF2-40B4-BE49-F238E27FC236}">
                      <a16:creationId xmlns:a16="http://schemas.microsoft.com/office/drawing/2014/main" id="{C323110C-04EA-4AF0-8953-AF6C090CE78D}"/>
                    </a:ext>
                  </a:extLst>
                </p:cNvPr>
                <p:cNvSpPr/>
                <p:nvPr/>
              </p:nvSpPr>
              <p:spPr>
                <a:xfrm>
                  <a:off x="4647317" y="2744604"/>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38" name="Vrije vorm: vorm 8737">
                  <a:extLst>
                    <a:ext uri="{FF2B5EF4-FFF2-40B4-BE49-F238E27FC236}">
                      <a16:creationId xmlns:a16="http://schemas.microsoft.com/office/drawing/2014/main" id="{8C20F5C8-108D-47C8-A780-D0584CB5FE24}"/>
                    </a:ext>
                  </a:extLst>
                </p:cNvPr>
                <p:cNvSpPr/>
                <p:nvPr/>
              </p:nvSpPr>
              <p:spPr>
                <a:xfrm>
                  <a:off x="4660236" y="2748347"/>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39" name="Vrije vorm: vorm 8738">
                  <a:extLst>
                    <a:ext uri="{FF2B5EF4-FFF2-40B4-BE49-F238E27FC236}">
                      <a16:creationId xmlns:a16="http://schemas.microsoft.com/office/drawing/2014/main" id="{19D7EA74-BF26-4143-A9A3-B3A8BE2F15AC}"/>
                    </a:ext>
                  </a:extLst>
                </p:cNvPr>
                <p:cNvSpPr/>
                <p:nvPr/>
              </p:nvSpPr>
              <p:spPr>
                <a:xfrm>
                  <a:off x="4699828" y="2553854"/>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40" name="Vrije vorm: vorm 8739">
                  <a:extLst>
                    <a:ext uri="{FF2B5EF4-FFF2-40B4-BE49-F238E27FC236}">
                      <a16:creationId xmlns:a16="http://schemas.microsoft.com/office/drawing/2014/main" id="{14651598-A107-4B0A-AB4A-8083AD492944}"/>
                    </a:ext>
                  </a:extLst>
                </p:cNvPr>
                <p:cNvSpPr/>
                <p:nvPr/>
              </p:nvSpPr>
              <p:spPr>
                <a:xfrm>
                  <a:off x="4686909" y="2552324"/>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2" y="-669"/>
                        <a:pt x="3192" y="-191"/>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41" name="Vrije vorm: vorm 8740">
                  <a:extLst>
                    <a:ext uri="{FF2B5EF4-FFF2-40B4-BE49-F238E27FC236}">
                      <a16:creationId xmlns:a16="http://schemas.microsoft.com/office/drawing/2014/main" id="{B63547F3-A48E-47AC-BD97-D96558D0ABFB}"/>
                    </a:ext>
                  </a:extLst>
                </p:cNvPr>
                <p:cNvSpPr/>
                <p:nvPr/>
              </p:nvSpPr>
              <p:spPr>
                <a:xfrm>
                  <a:off x="4670582" y="2561135"/>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42" name="Vrije vorm: vorm 8741">
                  <a:extLst>
                    <a:ext uri="{FF2B5EF4-FFF2-40B4-BE49-F238E27FC236}">
                      <a16:creationId xmlns:a16="http://schemas.microsoft.com/office/drawing/2014/main" id="{15EC0A4D-7F81-4B20-9C62-29E7E30F06CF}"/>
                    </a:ext>
                  </a:extLst>
                </p:cNvPr>
                <p:cNvSpPr/>
                <p:nvPr/>
              </p:nvSpPr>
              <p:spPr>
                <a:xfrm>
                  <a:off x="4661192" y="2572958"/>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43" name="Vrije vorm: vorm 8742">
                  <a:extLst>
                    <a:ext uri="{FF2B5EF4-FFF2-40B4-BE49-F238E27FC236}">
                      <a16:creationId xmlns:a16="http://schemas.microsoft.com/office/drawing/2014/main" id="{4E31468F-6F9D-4D9F-9250-3EA25BE20F16}"/>
                    </a:ext>
                  </a:extLst>
                </p:cNvPr>
                <p:cNvSpPr/>
                <p:nvPr/>
              </p:nvSpPr>
              <p:spPr>
                <a:xfrm>
                  <a:off x="4649111" y="2583125"/>
                  <a:ext cx="2914" cy="2813"/>
                </a:xfrm>
                <a:custGeom>
                  <a:avLst/>
                  <a:gdLst>
                    <a:gd name="connsiteX0" fmla="*/ 2893 w 2914"/>
                    <a:gd name="connsiteY0" fmla="*/ 1664 h 2813"/>
                    <a:gd name="connsiteX1" fmla="*/ 22 w 2914"/>
                    <a:gd name="connsiteY1" fmla="*/ 1125 h 2813"/>
                    <a:gd name="connsiteX2" fmla="*/ 2893 w 2914"/>
                    <a:gd name="connsiteY2" fmla="*/ 1664 h 2813"/>
                    <a:gd name="connsiteX3" fmla="*/ 2893 w 291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44" name="Vrije vorm: vorm 8743">
                  <a:extLst>
                    <a:ext uri="{FF2B5EF4-FFF2-40B4-BE49-F238E27FC236}">
                      <a16:creationId xmlns:a16="http://schemas.microsoft.com/office/drawing/2014/main" id="{D69F27AF-D694-42F8-835B-15D80CC667BE}"/>
                    </a:ext>
                  </a:extLst>
                </p:cNvPr>
                <p:cNvSpPr/>
                <p:nvPr/>
              </p:nvSpPr>
              <p:spPr>
                <a:xfrm>
                  <a:off x="4689123" y="2607407"/>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45" name="Vrije vorm: vorm 8744">
                  <a:extLst>
                    <a:ext uri="{FF2B5EF4-FFF2-40B4-BE49-F238E27FC236}">
                      <a16:creationId xmlns:a16="http://schemas.microsoft.com/office/drawing/2014/main" id="{97012ACE-E324-4D8C-86C7-FA8973C4EFF5}"/>
                    </a:ext>
                  </a:extLst>
                </p:cNvPr>
                <p:cNvSpPr/>
                <p:nvPr/>
              </p:nvSpPr>
              <p:spPr>
                <a:xfrm>
                  <a:off x="4669685" y="2700621"/>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46" name="Vrije vorm: vorm 8745">
                  <a:extLst>
                    <a:ext uri="{FF2B5EF4-FFF2-40B4-BE49-F238E27FC236}">
                      <a16:creationId xmlns:a16="http://schemas.microsoft.com/office/drawing/2014/main" id="{9002A228-F03F-4B84-B1FA-DA019E67CF9B}"/>
                    </a:ext>
                  </a:extLst>
                </p:cNvPr>
                <p:cNvSpPr/>
                <p:nvPr/>
              </p:nvSpPr>
              <p:spPr>
                <a:xfrm>
                  <a:off x="4631528" y="2700202"/>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47" name="Vrije vorm: vorm 8746">
                  <a:extLst>
                    <a:ext uri="{FF2B5EF4-FFF2-40B4-BE49-F238E27FC236}">
                      <a16:creationId xmlns:a16="http://schemas.microsoft.com/office/drawing/2014/main" id="{EB9CFD9F-FAE5-424C-8B71-986B95515162}"/>
                    </a:ext>
                  </a:extLst>
                </p:cNvPr>
                <p:cNvSpPr/>
                <p:nvPr/>
              </p:nvSpPr>
              <p:spPr>
                <a:xfrm>
                  <a:off x="4639602" y="2715777"/>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48" name="Vrije vorm: vorm 8747">
                  <a:extLst>
                    <a:ext uri="{FF2B5EF4-FFF2-40B4-BE49-F238E27FC236}">
                      <a16:creationId xmlns:a16="http://schemas.microsoft.com/office/drawing/2014/main" id="{2B580602-4BB6-4C4A-95D8-375A0347696E}"/>
                    </a:ext>
                  </a:extLst>
                </p:cNvPr>
                <p:cNvSpPr/>
                <p:nvPr/>
              </p:nvSpPr>
              <p:spPr>
                <a:xfrm>
                  <a:off x="4650846" y="2731626"/>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49" name="Vrije vorm: vorm 8748">
                  <a:extLst>
                    <a:ext uri="{FF2B5EF4-FFF2-40B4-BE49-F238E27FC236}">
                      <a16:creationId xmlns:a16="http://schemas.microsoft.com/office/drawing/2014/main" id="{FC45169B-3D9D-4EA7-9C8C-BC503E9BBB92}"/>
                    </a:ext>
                  </a:extLst>
                </p:cNvPr>
                <p:cNvSpPr/>
                <p:nvPr/>
              </p:nvSpPr>
              <p:spPr>
                <a:xfrm>
                  <a:off x="4655690" y="2740537"/>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8"/>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50" name="Vrije vorm: vorm 8749">
                  <a:extLst>
                    <a:ext uri="{FF2B5EF4-FFF2-40B4-BE49-F238E27FC236}">
                      <a16:creationId xmlns:a16="http://schemas.microsoft.com/office/drawing/2014/main" id="{6E9D30B5-2F0B-4984-A516-4C5AF649B57F}"/>
                    </a:ext>
                  </a:extLst>
                </p:cNvPr>
                <p:cNvSpPr/>
                <p:nvPr/>
              </p:nvSpPr>
              <p:spPr>
                <a:xfrm>
                  <a:off x="4648573" y="2592455"/>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51" name="Vrije vorm: vorm 8750">
                  <a:extLst>
                    <a:ext uri="{FF2B5EF4-FFF2-40B4-BE49-F238E27FC236}">
                      <a16:creationId xmlns:a16="http://schemas.microsoft.com/office/drawing/2014/main" id="{52E6745C-8DAA-4A3C-BB24-33AF1D2E0F94}"/>
                    </a:ext>
                  </a:extLst>
                </p:cNvPr>
                <p:cNvSpPr/>
                <p:nvPr/>
              </p:nvSpPr>
              <p:spPr>
                <a:xfrm>
                  <a:off x="4661312" y="2582108"/>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52" name="Vrije vorm: vorm 8751">
                  <a:extLst>
                    <a:ext uri="{FF2B5EF4-FFF2-40B4-BE49-F238E27FC236}">
                      <a16:creationId xmlns:a16="http://schemas.microsoft.com/office/drawing/2014/main" id="{BDF7C3A2-7C48-4D05-B3F8-B0E978BF53AD}"/>
                    </a:ext>
                  </a:extLst>
                </p:cNvPr>
                <p:cNvSpPr/>
                <p:nvPr/>
              </p:nvSpPr>
              <p:spPr>
                <a:xfrm>
                  <a:off x="4670462" y="2570225"/>
                  <a:ext cx="2915" cy="2794"/>
                </a:xfrm>
                <a:custGeom>
                  <a:avLst/>
                  <a:gdLst>
                    <a:gd name="connsiteX0" fmla="*/ 2893 w 2915"/>
                    <a:gd name="connsiteY0" fmla="*/ 1645 h 2794"/>
                    <a:gd name="connsiteX1" fmla="*/ 22 w 2915"/>
                    <a:gd name="connsiteY1" fmla="*/ 1106 h 2794"/>
                    <a:gd name="connsiteX2" fmla="*/ 2893 w 2915"/>
                    <a:gd name="connsiteY2" fmla="*/ 1645 h 2794"/>
                    <a:gd name="connsiteX3" fmla="*/ 2893 w 2915"/>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5" h="2794">
                      <a:moveTo>
                        <a:pt x="2893" y="1645"/>
                      </a:moveTo>
                      <a:cubicBezTo>
                        <a:pt x="2534" y="3499"/>
                        <a:pt x="-277" y="2960"/>
                        <a:pt x="22" y="1106"/>
                      </a:cubicBezTo>
                      <a:cubicBezTo>
                        <a:pt x="322" y="-688"/>
                        <a:pt x="319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53" name="Vrije vorm: vorm 8752">
                  <a:extLst>
                    <a:ext uri="{FF2B5EF4-FFF2-40B4-BE49-F238E27FC236}">
                      <a16:creationId xmlns:a16="http://schemas.microsoft.com/office/drawing/2014/main" id="{A36C2947-7A3E-4BAC-9321-9EBA144010DB}"/>
                    </a:ext>
                  </a:extLst>
                </p:cNvPr>
                <p:cNvSpPr/>
                <p:nvPr/>
              </p:nvSpPr>
              <p:spPr>
                <a:xfrm>
                  <a:off x="4683321" y="2562252"/>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54" name="Vrije vorm: vorm 8753">
                  <a:extLst>
                    <a:ext uri="{FF2B5EF4-FFF2-40B4-BE49-F238E27FC236}">
                      <a16:creationId xmlns:a16="http://schemas.microsoft.com/office/drawing/2014/main" id="{D054E425-457D-47D6-934B-C2A3E111717D}"/>
                    </a:ext>
                  </a:extLst>
                </p:cNvPr>
                <p:cNvSpPr/>
                <p:nvPr/>
              </p:nvSpPr>
              <p:spPr>
                <a:xfrm>
                  <a:off x="4692449" y="2559685"/>
                  <a:ext cx="2002" cy="6448"/>
                </a:xfrm>
                <a:custGeom>
                  <a:avLst/>
                  <a:gdLst>
                    <a:gd name="connsiteX0" fmla="*/ 1958 w 2002"/>
                    <a:gd name="connsiteY0" fmla="*/ 6084 h 6448"/>
                    <a:gd name="connsiteX1" fmla="*/ 45 w 2002"/>
                    <a:gd name="connsiteY1" fmla="*/ 343 h 6448"/>
                    <a:gd name="connsiteX2" fmla="*/ 1958 w 2002"/>
                    <a:gd name="connsiteY2" fmla="*/ 6084 h 6448"/>
                    <a:gd name="connsiteX3" fmla="*/ 1958 w 2002"/>
                    <a:gd name="connsiteY3" fmla="*/ 6084 h 6448"/>
                  </a:gdLst>
                  <a:ahLst/>
                  <a:cxnLst>
                    <a:cxn ang="0">
                      <a:pos x="connsiteX0" y="connsiteY0"/>
                    </a:cxn>
                    <a:cxn ang="0">
                      <a:pos x="connsiteX1" y="connsiteY1"/>
                    </a:cxn>
                    <a:cxn ang="0">
                      <a:pos x="connsiteX2" y="connsiteY2"/>
                    </a:cxn>
                    <a:cxn ang="0">
                      <a:pos x="connsiteX3" y="connsiteY3"/>
                    </a:cxn>
                  </a:cxnLst>
                  <a:rect l="l" t="t" r="r" b="b"/>
                  <a:pathLst>
                    <a:path w="2002" h="6448">
                      <a:moveTo>
                        <a:pt x="1958" y="6084"/>
                      </a:moveTo>
                      <a:cubicBezTo>
                        <a:pt x="1599" y="7939"/>
                        <a:pt x="-314" y="2197"/>
                        <a:pt x="45" y="343"/>
                      </a:cubicBezTo>
                      <a:cubicBezTo>
                        <a:pt x="403" y="-1451"/>
                        <a:pt x="2317" y="4290"/>
                        <a:pt x="1958" y="6084"/>
                      </a:cubicBezTo>
                      <a:lnTo>
                        <a:pt x="1958" y="6084"/>
                      </a:lnTo>
                      <a:close/>
                    </a:path>
                  </a:pathLst>
                </a:custGeom>
                <a:grpFill/>
                <a:ln w="6350" cap="flat">
                  <a:solidFill>
                    <a:schemeClr val="bg1">
                      <a:alpha val="40000"/>
                    </a:schemeClr>
                  </a:solidFill>
                  <a:prstDash val="solid"/>
                  <a:miter/>
                </a:ln>
              </p:spPr>
              <p:txBody>
                <a:bodyPr rtlCol="0" anchor="ctr"/>
                <a:lstStyle/>
                <a:p>
                  <a:endParaRPr lang="en-GB"/>
                </a:p>
              </p:txBody>
            </p:sp>
            <p:sp>
              <p:nvSpPr>
                <p:cNvPr id="8755" name="Vrije vorm: vorm 8754">
                  <a:extLst>
                    <a:ext uri="{FF2B5EF4-FFF2-40B4-BE49-F238E27FC236}">
                      <a16:creationId xmlns:a16="http://schemas.microsoft.com/office/drawing/2014/main" id="{2F9789A3-7150-4504-90E9-BDC5D80F88C2}"/>
                    </a:ext>
                  </a:extLst>
                </p:cNvPr>
                <p:cNvSpPr/>
                <p:nvPr/>
              </p:nvSpPr>
              <p:spPr>
                <a:xfrm>
                  <a:off x="4626983" y="2691155"/>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56" name="Vrije vorm: vorm 8755">
                  <a:extLst>
                    <a:ext uri="{FF2B5EF4-FFF2-40B4-BE49-F238E27FC236}">
                      <a16:creationId xmlns:a16="http://schemas.microsoft.com/office/drawing/2014/main" id="{BF38E662-C828-48CB-B2FC-A1693BB5B639}"/>
                    </a:ext>
                  </a:extLst>
                </p:cNvPr>
                <p:cNvSpPr/>
                <p:nvPr/>
              </p:nvSpPr>
              <p:spPr>
                <a:xfrm>
                  <a:off x="4620344" y="2677321"/>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57" name="Vrije vorm: vorm 8756">
                  <a:extLst>
                    <a:ext uri="{FF2B5EF4-FFF2-40B4-BE49-F238E27FC236}">
                      <a16:creationId xmlns:a16="http://schemas.microsoft.com/office/drawing/2014/main" id="{1B8BF9B8-3C19-4395-AD67-7277C43DE784}"/>
                    </a:ext>
                  </a:extLst>
                </p:cNvPr>
                <p:cNvSpPr/>
                <p:nvPr/>
              </p:nvSpPr>
              <p:spPr>
                <a:xfrm>
                  <a:off x="4671659" y="2691555"/>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58" name="Vrije vorm: vorm 8757">
                  <a:extLst>
                    <a:ext uri="{FF2B5EF4-FFF2-40B4-BE49-F238E27FC236}">
                      <a16:creationId xmlns:a16="http://schemas.microsoft.com/office/drawing/2014/main" id="{B67243C5-E5B8-498F-AEF6-434ACEBAB4F5}"/>
                    </a:ext>
                  </a:extLst>
                </p:cNvPr>
                <p:cNvSpPr/>
                <p:nvPr/>
              </p:nvSpPr>
              <p:spPr>
                <a:xfrm>
                  <a:off x="4687149" y="2616437"/>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8"/>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59" name="Vrije vorm: vorm 8758">
                  <a:extLst>
                    <a:ext uri="{FF2B5EF4-FFF2-40B4-BE49-F238E27FC236}">
                      <a16:creationId xmlns:a16="http://schemas.microsoft.com/office/drawing/2014/main" id="{1692DB6F-2E37-46D5-852F-EC4CB642F868}"/>
                    </a:ext>
                  </a:extLst>
                </p:cNvPr>
                <p:cNvSpPr/>
                <p:nvPr/>
              </p:nvSpPr>
              <p:spPr>
                <a:xfrm>
                  <a:off x="4681108" y="2661806"/>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60" name="Vrije vorm: vorm 8759">
                  <a:extLst>
                    <a:ext uri="{FF2B5EF4-FFF2-40B4-BE49-F238E27FC236}">
                      <a16:creationId xmlns:a16="http://schemas.microsoft.com/office/drawing/2014/main" id="{5E86A585-99A2-4F52-B288-675342DA0EE3}"/>
                    </a:ext>
                  </a:extLst>
                </p:cNvPr>
                <p:cNvSpPr/>
                <p:nvPr/>
              </p:nvSpPr>
              <p:spPr>
                <a:xfrm>
                  <a:off x="4683142" y="2652177"/>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61" name="Vrije vorm: vorm 8760">
                  <a:extLst>
                    <a:ext uri="{FF2B5EF4-FFF2-40B4-BE49-F238E27FC236}">
                      <a16:creationId xmlns:a16="http://schemas.microsoft.com/office/drawing/2014/main" id="{C50AB990-D29C-484A-A372-2CA1EDDD490C}"/>
                    </a:ext>
                  </a:extLst>
                </p:cNvPr>
                <p:cNvSpPr/>
                <p:nvPr/>
              </p:nvSpPr>
              <p:spPr>
                <a:xfrm>
                  <a:off x="4632605" y="2653373"/>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62" name="Vrije vorm: vorm 8761">
                  <a:extLst>
                    <a:ext uri="{FF2B5EF4-FFF2-40B4-BE49-F238E27FC236}">
                      <a16:creationId xmlns:a16="http://schemas.microsoft.com/office/drawing/2014/main" id="{F117BDA7-4639-47E8-9B2D-2C6734EAC07E}"/>
                    </a:ext>
                  </a:extLst>
                </p:cNvPr>
                <p:cNvSpPr/>
                <p:nvPr/>
              </p:nvSpPr>
              <p:spPr>
                <a:xfrm>
                  <a:off x="4634279" y="2642488"/>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63" name="Vrije vorm: vorm 8762">
                  <a:extLst>
                    <a:ext uri="{FF2B5EF4-FFF2-40B4-BE49-F238E27FC236}">
                      <a16:creationId xmlns:a16="http://schemas.microsoft.com/office/drawing/2014/main" id="{D04D23C9-1619-49C6-8C9D-0973F48F1B29}"/>
                    </a:ext>
                  </a:extLst>
                </p:cNvPr>
                <p:cNvSpPr/>
                <p:nvPr/>
              </p:nvSpPr>
              <p:spPr>
                <a:xfrm>
                  <a:off x="4659278" y="2691395"/>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64" name="Vrije vorm: vorm 8763">
                  <a:extLst>
                    <a:ext uri="{FF2B5EF4-FFF2-40B4-BE49-F238E27FC236}">
                      <a16:creationId xmlns:a16="http://schemas.microsoft.com/office/drawing/2014/main" id="{0470D30D-7E3E-48B7-B8FA-01365091F77B}"/>
                    </a:ext>
                  </a:extLst>
                </p:cNvPr>
                <p:cNvSpPr/>
                <p:nvPr/>
              </p:nvSpPr>
              <p:spPr>
                <a:xfrm>
                  <a:off x="4623335" y="2659055"/>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65" name="Vrije vorm: vorm 8764">
                  <a:extLst>
                    <a:ext uri="{FF2B5EF4-FFF2-40B4-BE49-F238E27FC236}">
                      <a16:creationId xmlns:a16="http://schemas.microsoft.com/office/drawing/2014/main" id="{CAC86586-9024-4CD8-85BB-1824702B51F9}"/>
                    </a:ext>
                  </a:extLst>
                </p:cNvPr>
                <p:cNvSpPr/>
                <p:nvPr/>
              </p:nvSpPr>
              <p:spPr>
                <a:xfrm>
                  <a:off x="4627282" y="2634175"/>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66" name="Vrije vorm: vorm 8765">
                  <a:extLst>
                    <a:ext uri="{FF2B5EF4-FFF2-40B4-BE49-F238E27FC236}">
                      <a16:creationId xmlns:a16="http://schemas.microsoft.com/office/drawing/2014/main" id="{79F379B1-AEBD-4E30-9527-184C2DB7E438}"/>
                    </a:ext>
                  </a:extLst>
                </p:cNvPr>
                <p:cNvSpPr/>
                <p:nvPr/>
              </p:nvSpPr>
              <p:spPr>
                <a:xfrm>
                  <a:off x="4676443" y="2612465"/>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67" name="Vrije vorm: vorm 8766">
                  <a:extLst>
                    <a:ext uri="{FF2B5EF4-FFF2-40B4-BE49-F238E27FC236}">
                      <a16:creationId xmlns:a16="http://schemas.microsoft.com/office/drawing/2014/main" id="{75BE24DB-9E50-47FC-A253-0A245BD28C0F}"/>
                    </a:ext>
                  </a:extLst>
                </p:cNvPr>
                <p:cNvSpPr/>
                <p:nvPr/>
              </p:nvSpPr>
              <p:spPr>
                <a:xfrm>
                  <a:off x="4640679" y="2599008"/>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68" name="Vrije vorm: vorm 8767">
                  <a:extLst>
                    <a:ext uri="{FF2B5EF4-FFF2-40B4-BE49-F238E27FC236}">
                      <a16:creationId xmlns:a16="http://schemas.microsoft.com/office/drawing/2014/main" id="{A9DB48B2-B625-457D-A758-E59FB17AABCF}"/>
                    </a:ext>
                  </a:extLst>
                </p:cNvPr>
                <p:cNvSpPr/>
                <p:nvPr/>
              </p:nvSpPr>
              <p:spPr>
                <a:xfrm>
                  <a:off x="4632485" y="2605134"/>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69" name="Vrije vorm: vorm 8768">
                  <a:extLst>
                    <a:ext uri="{FF2B5EF4-FFF2-40B4-BE49-F238E27FC236}">
                      <a16:creationId xmlns:a16="http://schemas.microsoft.com/office/drawing/2014/main" id="{74EFEC8F-AC0C-4733-A0D5-B2F61A0A90CD}"/>
                    </a:ext>
                  </a:extLst>
                </p:cNvPr>
                <p:cNvSpPr/>
                <p:nvPr/>
              </p:nvSpPr>
              <p:spPr>
                <a:xfrm>
                  <a:off x="4352408" y="2577223"/>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70" name="Vrije vorm: vorm 8769">
                  <a:extLst>
                    <a:ext uri="{FF2B5EF4-FFF2-40B4-BE49-F238E27FC236}">
                      <a16:creationId xmlns:a16="http://schemas.microsoft.com/office/drawing/2014/main" id="{4C4E3D4F-9F14-47A6-9E13-07DBA4590A4D}"/>
                    </a:ext>
                  </a:extLst>
                </p:cNvPr>
                <p:cNvSpPr/>
                <p:nvPr/>
              </p:nvSpPr>
              <p:spPr>
                <a:xfrm>
                  <a:off x="4361020" y="2571462"/>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22"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71" name="Vrije vorm: vorm 8770">
                  <a:extLst>
                    <a:ext uri="{FF2B5EF4-FFF2-40B4-BE49-F238E27FC236}">
                      <a16:creationId xmlns:a16="http://schemas.microsoft.com/office/drawing/2014/main" id="{81E40FB7-581C-4583-9A94-620C75CDEC1D}"/>
                    </a:ext>
                  </a:extLst>
                </p:cNvPr>
                <p:cNvSpPr/>
                <p:nvPr/>
              </p:nvSpPr>
              <p:spPr>
                <a:xfrm>
                  <a:off x="4395888" y="2546438"/>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72" name="Vrije vorm: vorm 8771">
                  <a:extLst>
                    <a:ext uri="{FF2B5EF4-FFF2-40B4-BE49-F238E27FC236}">
                      <a16:creationId xmlns:a16="http://schemas.microsoft.com/office/drawing/2014/main" id="{84CC5BD5-EAE8-4533-B0FA-A78986AB7BE2}"/>
                    </a:ext>
                  </a:extLst>
                </p:cNvPr>
                <p:cNvSpPr/>
                <p:nvPr/>
              </p:nvSpPr>
              <p:spPr>
                <a:xfrm>
                  <a:off x="4402766" y="2542251"/>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73" name="Vrije vorm: vorm 8772">
                  <a:extLst>
                    <a:ext uri="{FF2B5EF4-FFF2-40B4-BE49-F238E27FC236}">
                      <a16:creationId xmlns:a16="http://schemas.microsoft.com/office/drawing/2014/main" id="{5DAAE284-49A3-4057-8128-39ED6C5A86E0}"/>
                    </a:ext>
                  </a:extLst>
                </p:cNvPr>
                <p:cNvSpPr/>
                <p:nvPr/>
              </p:nvSpPr>
              <p:spPr>
                <a:xfrm>
                  <a:off x="4427406" y="2524549"/>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74" name="Vrije vorm: vorm 8773">
                  <a:extLst>
                    <a:ext uri="{FF2B5EF4-FFF2-40B4-BE49-F238E27FC236}">
                      <a16:creationId xmlns:a16="http://schemas.microsoft.com/office/drawing/2014/main" id="{1F8E8AA0-6A6B-4413-AFF7-E840E8071BD1}"/>
                    </a:ext>
                  </a:extLst>
                </p:cNvPr>
                <p:cNvSpPr/>
                <p:nvPr/>
              </p:nvSpPr>
              <p:spPr>
                <a:xfrm>
                  <a:off x="4434045" y="2520107"/>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75" name="Vrije vorm: vorm 8774">
                  <a:extLst>
                    <a:ext uri="{FF2B5EF4-FFF2-40B4-BE49-F238E27FC236}">
                      <a16:creationId xmlns:a16="http://schemas.microsoft.com/office/drawing/2014/main" id="{140204D9-3450-47F9-9AD4-FA4BFEA81CE4}"/>
                    </a:ext>
                  </a:extLst>
                </p:cNvPr>
                <p:cNvSpPr/>
                <p:nvPr/>
              </p:nvSpPr>
              <p:spPr>
                <a:xfrm>
                  <a:off x="4467058" y="2496603"/>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76" name="Vrije vorm: vorm 8775">
                  <a:extLst>
                    <a:ext uri="{FF2B5EF4-FFF2-40B4-BE49-F238E27FC236}">
                      <a16:creationId xmlns:a16="http://schemas.microsoft.com/office/drawing/2014/main" id="{F3F87C56-E718-45E4-B328-17C4CFF7B382}"/>
                    </a:ext>
                  </a:extLst>
                </p:cNvPr>
                <p:cNvSpPr/>
                <p:nvPr/>
              </p:nvSpPr>
              <p:spPr>
                <a:xfrm>
                  <a:off x="4475910" y="2490424"/>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77" name="Vrije vorm: vorm 8776">
                  <a:extLst>
                    <a:ext uri="{FF2B5EF4-FFF2-40B4-BE49-F238E27FC236}">
                      <a16:creationId xmlns:a16="http://schemas.microsoft.com/office/drawing/2014/main" id="{73ABA485-53D3-440B-801B-4870E944D76F}"/>
                    </a:ext>
                  </a:extLst>
                </p:cNvPr>
                <p:cNvSpPr/>
                <p:nvPr/>
              </p:nvSpPr>
              <p:spPr>
                <a:xfrm>
                  <a:off x="4351092" y="2552025"/>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78" name="Vrije vorm: vorm 8777">
                  <a:extLst>
                    <a:ext uri="{FF2B5EF4-FFF2-40B4-BE49-F238E27FC236}">
                      <a16:creationId xmlns:a16="http://schemas.microsoft.com/office/drawing/2014/main" id="{96E76C3F-0D80-4ED4-99AE-376B23A2142C}"/>
                    </a:ext>
                  </a:extLst>
                </p:cNvPr>
                <p:cNvSpPr/>
                <p:nvPr/>
              </p:nvSpPr>
              <p:spPr>
                <a:xfrm>
                  <a:off x="4349238" y="2522660"/>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79" name="Vrije vorm: vorm 8778">
                  <a:extLst>
                    <a:ext uri="{FF2B5EF4-FFF2-40B4-BE49-F238E27FC236}">
                      <a16:creationId xmlns:a16="http://schemas.microsoft.com/office/drawing/2014/main" id="{E1FA1C09-8415-4E02-AC64-06CB612B467B}"/>
                    </a:ext>
                  </a:extLst>
                </p:cNvPr>
                <p:cNvSpPr/>
                <p:nvPr/>
              </p:nvSpPr>
              <p:spPr>
                <a:xfrm>
                  <a:off x="4347683" y="2495721"/>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80" name="Vrije vorm: vorm 8779">
                  <a:extLst>
                    <a:ext uri="{FF2B5EF4-FFF2-40B4-BE49-F238E27FC236}">
                      <a16:creationId xmlns:a16="http://schemas.microsoft.com/office/drawing/2014/main" id="{1A532A8D-CC8E-4448-94E4-091816247952}"/>
                    </a:ext>
                  </a:extLst>
                </p:cNvPr>
                <p:cNvSpPr/>
                <p:nvPr/>
              </p:nvSpPr>
              <p:spPr>
                <a:xfrm>
                  <a:off x="4349776" y="2464203"/>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81" name="Vrije vorm: vorm 8780">
                  <a:extLst>
                    <a:ext uri="{FF2B5EF4-FFF2-40B4-BE49-F238E27FC236}">
                      <a16:creationId xmlns:a16="http://schemas.microsoft.com/office/drawing/2014/main" id="{1FD5E0C4-0866-40B8-95B3-28EE03B5BBD8}"/>
                    </a:ext>
                  </a:extLst>
                </p:cNvPr>
                <p:cNvSpPr/>
                <p:nvPr/>
              </p:nvSpPr>
              <p:spPr>
                <a:xfrm>
                  <a:off x="4349657" y="2453003"/>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82" name="Vrije vorm: vorm 8781">
                  <a:extLst>
                    <a:ext uri="{FF2B5EF4-FFF2-40B4-BE49-F238E27FC236}">
                      <a16:creationId xmlns:a16="http://schemas.microsoft.com/office/drawing/2014/main" id="{5882F713-1C90-4B57-A80E-C640F639E675}"/>
                    </a:ext>
                  </a:extLst>
                </p:cNvPr>
                <p:cNvSpPr/>
                <p:nvPr/>
              </p:nvSpPr>
              <p:spPr>
                <a:xfrm>
                  <a:off x="4360601" y="2454275"/>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83" name="Vrije vorm: vorm 8782">
                  <a:extLst>
                    <a:ext uri="{FF2B5EF4-FFF2-40B4-BE49-F238E27FC236}">
                      <a16:creationId xmlns:a16="http://schemas.microsoft.com/office/drawing/2014/main" id="{B11D0C8D-5FB1-41C0-87DC-3223910111BF}"/>
                    </a:ext>
                  </a:extLst>
                </p:cNvPr>
                <p:cNvSpPr/>
                <p:nvPr/>
              </p:nvSpPr>
              <p:spPr>
                <a:xfrm>
                  <a:off x="4401808" y="2465962"/>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84" name="Vrije vorm: vorm 8783">
                  <a:extLst>
                    <a:ext uri="{FF2B5EF4-FFF2-40B4-BE49-F238E27FC236}">
                      <a16:creationId xmlns:a16="http://schemas.microsoft.com/office/drawing/2014/main" id="{8A126FBB-F19F-439D-8579-BEB2160E2B83}"/>
                    </a:ext>
                  </a:extLst>
                </p:cNvPr>
                <p:cNvSpPr/>
                <p:nvPr/>
              </p:nvSpPr>
              <p:spPr>
                <a:xfrm>
                  <a:off x="4432370" y="2476010"/>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85" name="Vrije vorm: vorm 8784">
                  <a:extLst>
                    <a:ext uri="{FF2B5EF4-FFF2-40B4-BE49-F238E27FC236}">
                      <a16:creationId xmlns:a16="http://schemas.microsoft.com/office/drawing/2014/main" id="{270BE98F-2C11-4A04-95BF-ABDEFC9A52FB}"/>
                    </a:ext>
                  </a:extLst>
                </p:cNvPr>
                <p:cNvSpPr/>
                <p:nvPr/>
              </p:nvSpPr>
              <p:spPr>
                <a:xfrm>
                  <a:off x="4455934" y="2484059"/>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86" name="Vrije vorm: vorm 8785">
                  <a:extLst>
                    <a:ext uri="{FF2B5EF4-FFF2-40B4-BE49-F238E27FC236}">
                      <a16:creationId xmlns:a16="http://schemas.microsoft.com/office/drawing/2014/main" id="{4EB548FB-1073-4E60-9DFD-C6266CA895FB}"/>
                    </a:ext>
                  </a:extLst>
                </p:cNvPr>
                <p:cNvSpPr/>
                <p:nvPr/>
              </p:nvSpPr>
              <p:spPr>
                <a:xfrm>
                  <a:off x="4496782" y="2497600"/>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87" name="Vrije vorm: vorm 8786">
                  <a:extLst>
                    <a:ext uri="{FF2B5EF4-FFF2-40B4-BE49-F238E27FC236}">
                      <a16:creationId xmlns:a16="http://schemas.microsoft.com/office/drawing/2014/main" id="{E4406E99-9931-471E-85C8-90F749DE3409}"/>
                    </a:ext>
                  </a:extLst>
                </p:cNvPr>
                <p:cNvSpPr/>
                <p:nvPr/>
              </p:nvSpPr>
              <p:spPr>
                <a:xfrm>
                  <a:off x="4484941" y="2502599"/>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88" name="Vrije vorm: vorm 8787">
                  <a:extLst>
                    <a:ext uri="{FF2B5EF4-FFF2-40B4-BE49-F238E27FC236}">
                      <a16:creationId xmlns:a16="http://schemas.microsoft.com/office/drawing/2014/main" id="{321A8388-4701-44B9-95E7-74A1919EE700}"/>
                    </a:ext>
                  </a:extLst>
                </p:cNvPr>
                <p:cNvSpPr/>
                <p:nvPr/>
              </p:nvSpPr>
              <p:spPr>
                <a:xfrm>
                  <a:off x="4396725" y="2489083"/>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89" name="Vrije vorm: vorm 8788">
                  <a:extLst>
                    <a:ext uri="{FF2B5EF4-FFF2-40B4-BE49-F238E27FC236}">
                      <a16:creationId xmlns:a16="http://schemas.microsoft.com/office/drawing/2014/main" id="{685BC8E5-B812-4593-9A53-2E680F3D5A57}"/>
                    </a:ext>
                  </a:extLst>
                </p:cNvPr>
                <p:cNvSpPr/>
                <p:nvPr/>
              </p:nvSpPr>
              <p:spPr>
                <a:xfrm>
                  <a:off x="4415684" y="2505136"/>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790" name="Vrije vorm: vorm 8789">
                  <a:extLst>
                    <a:ext uri="{FF2B5EF4-FFF2-40B4-BE49-F238E27FC236}">
                      <a16:creationId xmlns:a16="http://schemas.microsoft.com/office/drawing/2014/main" id="{A114C948-BD00-451F-8BF7-1B0CB41DCDAA}"/>
                    </a:ext>
                  </a:extLst>
                </p:cNvPr>
                <p:cNvSpPr/>
                <p:nvPr/>
              </p:nvSpPr>
              <p:spPr>
                <a:xfrm>
                  <a:off x="4453781" y="2536972"/>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91" name="Vrije vorm: vorm 8790">
                  <a:extLst>
                    <a:ext uri="{FF2B5EF4-FFF2-40B4-BE49-F238E27FC236}">
                      <a16:creationId xmlns:a16="http://schemas.microsoft.com/office/drawing/2014/main" id="{6AEDE2A4-B0F5-445B-ADE9-CD438F525E36}"/>
                    </a:ext>
                  </a:extLst>
                </p:cNvPr>
                <p:cNvSpPr/>
                <p:nvPr/>
              </p:nvSpPr>
              <p:spPr>
                <a:xfrm>
                  <a:off x="4441042" y="2536331"/>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92" name="Vrije vorm: vorm 8791">
                  <a:extLst>
                    <a:ext uri="{FF2B5EF4-FFF2-40B4-BE49-F238E27FC236}">
                      <a16:creationId xmlns:a16="http://schemas.microsoft.com/office/drawing/2014/main" id="{6F28A7C5-520C-47EF-B4F6-85240C2705F6}"/>
                    </a:ext>
                  </a:extLst>
                </p:cNvPr>
                <p:cNvSpPr/>
                <p:nvPr/>
              </p:nvSpPr>
              <p:spPr>
                <a:xfrm>
                  <a:off x="4414009" y="2513150"/>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93" name="Vrije vorm: vorm 8792">
                  <a:extLst>
                    <a:ext uri="{FF2B5EF4-FFF2-40B4-BE49-F238E27FC236}">
                      <a16:creationId xmlns:a16="http://schemas.microsoft.com/office/drawing/2014/main" id="{FC3436B2-7CF6-4069-A5A6-0524A65D463E}"/>
                    </a:ext>
                  </a:extLst>
                </p:cNvPr>
                <p:cNvSpPr/>
                <p:nvPr/>
              </p:nvSpPr>
              <p:spPr>
                <a:xfrm>
                  <a:off x="4388771" y="2490981"/>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94" name="Vrije vorm: vorm 8793">
                  <a:extLst>
                    <a:ext uri="{FF2B5EF4-FFF2-40B4-BE49-F238E27FC236}">
                      <a16:creationId xmlns:a16="http://schemas.microsoft.com/office/drawing/2014/main" id="{F9FCFD6A-1256-4C2D-8475-07007620D1E9}"/>
                    </a:ext>
                  </a:extLst>
                </p:cNvPr>
                <p:cNvSpPr/>
                <p:nvPr/>
              </p:nvSpPr>
              <p:spPr>
                <a:xfrm>
                  <a:off x="4371666" y="2502420"/>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95" name="Vrije vorm: vorm 8794">
                  <a:extLst>
                    <a:ext uri="{FF2B5EF4-FFF2-40B4-BE49-F238E27FC236}">
                      <a16:creationId xmlns:a16="http://schemas.microsoft.com/office/drawing/2014/main" id="{4DBE9715-E0B8-42DD-BA61-2D1F83C6C85C}"/>
                    </a:ext>
                  </a:extLst>
                </p:cNvPr>
                <p:cNvSpPr/>
                <p:nvPr/>
              </p:nvSpPr>
              <p:spPr>
                <a:xfrm>
                  <a:off x="4382850" y="2522301"/>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796" name="Vrije vorm: vorm 8795">
                  <a:extLst>
                    <a:ext uri="{FF2B5EF4-FFF2-40B4-BE49-F238E27FC236}">
                      <a16:creationId xmlns:a16="http://schemas.microsoft.com/office/drawing/2014/main" id="{AF25FD7B-12BE-49B8-90C8-C8EBD718522B}"/>
                    </a:ext>
                  </a:extLst>
                </p:cNvPr>
                <p:cNvSpPr/>
                <p:nvPr/>
              </p:nvSpPr>
              <p:spPr>
                <a:xfrm>
                  <a:off x="4393017" y="2525310"/>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797" name="Vrije vorm: vorm 8796">
                  <a:extLst>
                    <a:ext uri="{FF2B5EF4-FFF2-40B4-BE49-F238E27FC236}">
                      <a16:creationId xmlns:a16="http://schemas.microsoft.com/office/drawing/2014/main" id="{B31B5154-881A-45D3-84D1-E60486C26AF1}"/>
                    </a:ext>
                  </a:extLst>
                </p:cNvPr>
                <p:cNvSpPr/>
                <p:nvPr/>
              </p:nvSpPr>
              <p:spPr>
                <a:xfrm>
                  <a:off x="4380936" y="2503855"/>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98" name="Vrije vorm: vorm 8797">
                  <a:extLst>
                    <a:ext uri="{FF2B5EF4-FFF2-40B4-BE49-F238E27FC236}">
                      <a16:creationId xmlns:a16="http://schemas.microsoft.com/office/drawing/2014/main" id="{F58179D8-74DB-479F-BDDB-F5CEFADF9B29}"/>
                    </a:ext>
                  </a:extLst>
                </p:cNvPr>
                <p:cNvSpPr/>
                <p:nvPr/>
              </p:nvSpPr>
              <p:spPr>
                <a:xfrm>
                  <a:off x="4405457" y="2563483"/>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799" name="Vrije vorm: vorm 8798">
                  <a:extLst>
                    <a:ext uri="{FF2B5EF4-FFF2-40B4-BE49-F238E27FC236}">
                      <a16:creationId xmlns:a16="http://schemas.microsoft.com/office/drawing/2014/main" id="{3E1970BB-72C1-4FA4-A0D6-47236709E05D}"/>
                    </a:ext>
                  </a:extLst>
                </p:cNvPr>
                <p:cNvSpPr/>
                <p:nvPr/>
              </p:nvSpPr>
              <p:spPr>
                <a:xfrm>
                  <a:off x="4416641" y="2567396"/>
                  <a:ext cx="2914" cy="2813"/>
                </a:xfrm>
                <a:custGeom>
                  <a:avLst/>
                  <a:gdLst>
                    <a:gd name="connsiteX0" fmla="*/ 2893 w 2914"/>
                    <a:gd name="connsiteY0" fmla="*/ 1664 h 2813"/>
                    <a:gd name="connsiteX1" fmla="*/ 22 w 2914"/>
                    <a:gd name="connsiteY1" fmla="*/ 1125 h 2813"/>
                    <a:gd name="connsiteX2" fmla="*/ 2893 w 2914"/>
                    <a:gd name="connsiteY2" fmla="*/ 1664 h 2813"/>
                    <a:gd name="connsiteX3" fmla="*/ 2893 w 291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800" name="Vrije vorm: vorm 8799">
                  <a:extLst>
                    <a:ext uri="{FF2B5EF4-FFF2-40B4-BE49-F238E27FC236}">
                      <a16:creationId xmlns:a16="http://schemas.microsoft.com/office/drawing/2014/main" id="{BB7309D8-F12F-4138-A8E7-3A8956E393C2}"/>
                    </a:ext>
                  </a:extLst>
                </p:cNvPr>
                <p:cNvSpPr/>
                <p:nvPr/>
              </p:nvSpPr>
              <p:spPr>
                <a:xfrm>
                  <a:off x="4359345" y="2543054"/>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01" name="Vrije vorm: vorm 8800">
                  <a:extLst>
                    <a:ext uri="{FF2B5EF4-FFF2-40B4-BE49-F238E27FC236}">
                      <a16:creationId xmlns:a16="http://schemas.microsoft.com/office/drawing/2014/main" id="{36DA69CF-C77E-4214-BFCF-70EC1E14364E}"/>
                    </a:ext>
                  </a:extLst>
                </p:cNvPr>
                <p:cNvSpPr/>
                <p:nvPr/>
              </p:nvSpPr>
              <p:spPr>
                <a:xfrm>
                  <a:off x="4357551" y="2513689"/>
                  <a:ext cx="2914" cy="2813"/>
                </a:xfrm>
                <a:custGeom>
                  <a:avLst/>
                  <a:gdLst>
                    <a:gd name="connsiteX0" fmla="*/ 2893 w 2914"/>
                    <a:gd name="connsiteY0" fmla="*/ 1663 h 2813"/>
                    <a:gd name="connsiteX1" fmla="*/ 22 w 2914"/>
                    <a:gd name="connsiteY1" fmla="*/ 1125 h 2813"/>
                    <a:gd name="connsiteX2" fmla="*/ 2893 w 2914"/>
                    <a:gd name="connsiteY2" fmla="*/ 1663 h 2813"/>
                    <a:gd name="connsiteX3" fmla="*/ 2893 w 291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3"/>
                      </a:moveTo>
                      <a:cubicBezTo>
                        <a:pt x="2534" y="3517"/>
                        <a:pt x="-277" y="2979"/>
                        <a:pt x="22" y="1125"/>
                      </a:cubicBezTo>
                      <a:cubicBezTo>
                        <a:pt x="32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02" name="Vrije vorm: vorm 8801">
                  <a:extLst>
                    <a:ext uri="{FF2B5EF4-FFF2-40B4-BE49-F238E27FC236}">
                      <a16:creationId xmlns:a16="http://schemas.microsoft.com/office/drawing/2014/main" id="{0F7B8A97-721A-4A40-BD15-EE4A0F61BCDC}"/>
                    </a:ext>
                  </a:extLst>
                </p:cNvPr>
                <p:cNvSpPr/>
                <p:nvPr/>
              </p:nvSpPr>
              <p:spPr>
                <a:xfrm>
                  <a:off x="4353724" y="2597000"/>
                  <a:ext cx="2914" cy="2813"/>
                </a:xfrm>
                <a:custGeom>
                  <a:avLst/>
                  <a:gdLst>
                    <a:gd name="connsiteX0" fmla="*/ 2893 w 2914"/>
                    <a:gd name="connsiteY0" fmla="*/ 1663 h 2813"/>
                    <a:gd name="connsiteX1" fmla="*/ 22 w 2914"/>
                    <a:gd name="connsiteY1" fmla="*/ 1125 h 2813"/>
                    <a:gd name="connsiteX2" fmla="*/ 2893 w 2914"/>
                    <a:gd name="connsiteY2" fmla="*/ 1663 h 2813"/>
                    <a:gd name="connsiteX3" fmla="*/ 2893 w 291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3"/>
                      </a:moveTo>
                      <a:cubicBezTo>
                        <a:pt x="2534" y="3518"/>
                        <a:pt x="-277" y="2979"/>
                        <a:pt x="22" y="1125"/>
                      </a:cubicBezTo>
                      <a:cubicBezTo>
                        <a:pt x="32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03" name="Vrije vorm: vorm 8802">
                  <a:extLst>
                    <a:ext uri="{FF2B5EF4-FFF2-40B4-BE49-F238E27FC236}">
                      <a16:creationId xmlns:a16="http://schemas.microsoft.com/office/drawing/2014/main" id="{BF5D4D2D-A854-47ED-B27E-1BCD0E25F104}"/>
                    </a:ext>
                  </a:extLst>
                </p:cNvPr>
                <p:cNvSpPr/>
                <p:nvPr/>
              </p:nvSpPr>
              <p:spPr>
                <a:xfrm>
                  <a:off x="4362635" y="2604092"/>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04" name="Vrije vorm: vorm 8803">
                  <a:extLst>
                    <a:ext uri="{FF2B5EF4-FFF2-40B4-BE49-F238E27FC236}">
                      <a16:creationId xmlns:a16="http://schemas.microsoft.com/office/drawing/2014/main" id="{A10B9937-2BED-4668-83E3-EF82A52E9BAA}"/>
                    </a:ext>
                  </a:extLst>
                </p:cNvPr>
                <p:cNvSpPr/>
                <p:nvPr/>
              </p:nvSpPr>
              <p:spPr>
                <a:xfrm>
                  <a:off x="4540501" y="2677998"/>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805" name="Vrije vorm: vorm 8804">
                  <a:extLst>
                    <a:ext uri="{FF2B5EF4-FFF2-40B4-BE49-F238E27FC236}">
                      <a16:creationId xmlns:a16="http://schemas.microsoft.com/office/drawing/2014/main" id="{C8C60B46-EDB2-41E2-BB58-5B1E0F7077D2}"/>
                    </a:ext>
                  </a:extLst>
                </p:cNvPr>
                <p:cNvSpPr/>
                <p:nvPr/>
              </p:nvSpPr>
              <p:spPr>
                <a:xfrm>
                  <a:off x="4564245" y="2688540"/>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06" name="Vrije vorm: vorm 8805">
                  <a:extLst>
                    <a:ext uri="{FF2B5EF4-FFF2-40B4-BE49-F238E27FC236}">
                      <a16:creationId xmlns:a16="http://schemas.microsoft.com/office/drawing/2014/main" id="{18818DED-86A2-45B8-9B1A-5E7A06D27B17}"/>
                    </a:ext>
                  </a:extLst>
                </p:cNvPr>
                <p:cNvSpPr/>
                <p:nvPr/>
              </p:nvSpPr>
              <p:spPr>
                <a:xfrm>
                  <a:off x="4567415" y="2574931"/>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807" name="Vrije vorm: vorm 8806">
                  <a:extLst>
                    <a:ext uri="{FF2B5EF4-FFF2-40B4-BE49-F238E27FC236}">
                      <a16:creationId xmlns:a16="http://schemas.microsoft.com/office/drawing/2014/main" id="{DFE63032-EFDE-4603-9479-640939D1B11E}"/>
                    </a:ext>
                  </a:extLst>
                </p:cNvPr>
                <p:cNvSpPr/>
                <p:nvPr/>
              </p:nvSpPr>
              <p:spPr>
                <a:xfrm>
                  <a:off x="4595345" y="2577283"/>
                  <a:ext cx="2915" cy="2794"/>
                </a:xfrm>
                <a:custGeom>
                  <a:avLst/>
                  <a:gdLst>
                    <a:gd name="connsiteX0" fmla="*/ 2893 w 2915"/>
                    <a:gd name="connsiteY0" fmla="*/ 1645 h 2794"/>
                    <a:gd name="connsiteX1" fmla="*/ 22 w 2915"/>
                    <a:gd name="connsiteY1" fmla="*/ 1106 h 2794"/>
                    <a:gd name="connsiteX2" fmla="*/ 2893 w 2915"/>
                    <a:gd name="connsiteY2" fmla="*/ 1645 h 2794"/>
                    <a:gd name="connsiteX3" fmla="*/ 2893 w 2915"/>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5" h="2794">
                      <a:moveTo>
                        <a:pt x="2893" y="1645"/>
                      </a:moveTo>
                      <a:cubicBezTo>
                        <a:pt x="2534" y="3499"/>
                        <a:pt x="-277" y="2960"/>
                        <a:pt x="22" y="1106"/>
                      </a:cubicBezTo>
                      <a:cubicBezTo>
                        <a:pt x="322" y="-688"/>
                        <a:pt x="319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808" name="Vrije vorm: vorm 8807">
                  <a:extLst>
                    <a:ext uri="{FF2B5EF4-FFF2-40B4-BE49-F238E27FC236}">
                      <a16:creationId xmlns:a16="http://schemas.microsoft.com/office/drawing/2014/main" id="{67CA0E15-9784-47EF-A0EA-BACE1C09D764}"/>
                    </a:ext>
                  </a:extLst>
                </p:cNvPr>
                <p:cNvSpPr/>
                <p:nvPr/>
              </p:nvSpPr>
              <p:spPr>
                <a:xfrm>
                  <a:off x="4594567" y="2667472"/>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809" name="Vrije vorm: vorm 8808">
                  <a:extLst>
                    <a:ext uri="{FF2B5EF4-FFF2-40B4-BE49-F238E27FC236}">
                      <a16:creationId xmlns:a16="http://schemas.microsoft.com/office/drawing/2014/main" id="{B76D9169-0225-4641-84E8-642A7C0443A9}"/>
                    </a:ext>
                  </a:extLst>
                </p:cNvPr>
                <p:cNvSpPr/>
                <p:nvPr/>
              </p:nvSpPr>
              <p:spPr>
                <a:xfrm>
                  <a:off x="4597737" y="2646580"/>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10" name="Vrije vorm: vorm 8809">
                  <a:extLst>
                    <a:ext uri="{FF2B5EF4-FFF2-40B4-BE49-F238E27FC236}">
                      <a16:creationId xmlns:a16="http://schemas.microsoft.com/office/drawing/2014/main" id="{57F5A343-9161-44ED-AED0-B55028695D93}"/>
                    </a:ext>
                  </a:extLst>
                </p:cNvPr>
                <p:cNvSpPr/>
                <p:nvPr/>
              </p:nvSpPr>
              <p:spPr>
                <a:xfrm>
                  <a:off x="4635834" y="2670144"/>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11" name="Vrije vorm: vorm 8810">
                  <a:extLst>
                    <a:ext uri="{FF2B5EF4-FFF2-40B4-BE49-F238E27FC236}">
                      <a16:creationId xmlns:a16="http://schemas.microsoft.com/office/drawing/2014/main" id="{0D1E90BF-C877-4959-B383-2312EED4E0CC}"/>
                    </a:ext>
                  </a:extLst>
                </p:cNvPr>
                <p:cNvSpPr/>
                <p:nvPr/>
              </p:nvSpPr>
              <p:spPr>
                <a:xfrm>
                  <a:off x="4647556" y="2681184"/>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12" name="Vrije vorm: vorm 8811">
                  <a:extLst>
                    <a:ext uri="{FF2B5EF4-FFF2-40B4-BE49-F238E27FC236}">
                      <a16:creationId xmlns:a16="http://schemas.microsoft.com/office/drawing/2014/main" id="{CD4CF07D-4356-41A0-8003-1C8B579F10D4}"/>
                    </a:ext>
                  </a:extLst>
                </p:cNvPr>
                <p:cNvSpPr/>
                <p:nvPr/>
              </p:nvSpPr>
              <p:spPr>
                <a:xfrm>
                  <a:off x="4647257" y="2667727"/>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13" name="Vrije vorm: vorm 8812">
                  <a:extLst>
                    <a:ext uri="{FF2B5EF4-FFF2-40B4-BE49-F238E27FC236}">
                      <a16:creationId xmlns:a16="http://schemas.microsoft.com/office/drawing/2014/main" id="{6C305C45-BA49-4EAC-9810-A13E39F22C5B}"/>
                    </a:ext>
                  </a:extLst>
                </p:cNvPr>
                <p:cNvSpPr/>
                <p:nvPr/>
              </p:nvSpPr>
              <p:spPr>
                <a:xfrm>
                  <a:off x="4660236" y="2680192"/>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14" name="Vrije vorm: vorm 8813">
                  <a:extLst>
                    <a:ext uri="{FF2B5EF4-FFF2-40B4-BE49-F238E27FC236}">
                      <a16:creationId xmlns:a16="http://schemas.microsoft.com/office/drawing/2014/main" id="{0C29C1D9-1597-4F54-957B-269F90DFF6E5}"/>
                    </a:ext>
                  </a:extLst>
                </p:cNvPr>
                <p:cNvSpPr/>
                <p:nvPr/>
              </p:nvSpPr>
              <p:spPr>
                <a:xfrm>
                  <a:off x="4650307" y="2700766"/>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22"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15" name="Vrije vorm: vorm 8814">
                  <a:extLst>
                    <a:ext uri="{FF2B5EF4-FFF2-40B4-BE49-F238E27FC236}">
                      <a16:creationId xmlns:a16="http://schemas.microsoft.com/office/drawing/2014/main" id="{43B98C96-BCE2-49D2-A190-AAA3E224B93A}"/>
                    </a:ext>
                  </a:extLst>
                </p:cNvPr>
                <p:cNvSpPr/>
                <p:nvPr/>
              </p:nvSpPr>
              <p:spPr>
                <a:xfrm>
                  <a:off x="4660236" y="2720263"/>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816" name="Vrije vorm: vorm 8815">
                  <a:extLst>
                    <a:ext uri="{FF2B5EF4-FFF2-40B4-BE49-F238E27FC236}">
                      <a16:creationId xmlns:a16="http://schemas.microsoft.com/office/drawing/2014/main" id="{A80284E2-4097-43E9-B0AF-001A70E66C32}"/>
                    </a:ext>
                  </a:extLst>
                </p:cNvPr>
                <p:cNvSpPr/>
                <p:nvPr/>
              </p:nvSpPr>
              <p:spPr>
                <a:xfrm>
                  <a:off x="4649351" y="2656184"/>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17" name="Vrije vorm: vorm 8816">
                  <a:extLst>
                    <a:ext uri="{FF2B5EF4-FFF2-40B4-BE49-F238E27FC236}">
                      <a16:creationId xmlns:a16="http://schemas.microsoft.com/office/drawing/2014/main" id="{5E7C2E25-5037-48FD-BE48-FF6F7BCF487B}"/>
                    </a:ext>
                  </a:extLst>
                </p:cNvPr>
                <p:cNvSpPr/>
                <p:nvPr/>
              </p:nvSpPr>
              <p:spPr>
                <a:xfrm>
                  <a:off x="4666037" y="2659499"/>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18" name="Vrije vorm: vorm 8817">
                  <a:extLst>
                    <a:ext uri="{FF2B5EF4-FFF2-40B4-BE49-F238E27FC236}">
                      <a16:creationId xmlns:a16="http://schemas.microsoft.com/office/drawing/2014/main" id="{5EC0DCBC-BD03-48E3-BAB0-8EF3B38A1D8D}"/>
                    </a:ext>
                  </a:extLst>
                </p:cNvPr>
                <p:cNvSpPr/>
                <p:nvPr/>
              </p:nvSpPr>
              <p:spPr>
                <a:xfrm>
                  <a:off x="4652042" y="2646221"/>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19" name="Vrije vorm: vorm 8818">
                  <a:extLst>
                    <a:ext uri="{FF2B5EF4-FFF2-40B4-BE49-F238E27FC236}">
                      <a16:creationId xmlns:a16="http://schemas.microsoft.com/office/drawing/2014/main" id="{901499FE-EFA2-4806-905D-DD743F2E541A}"/>
                    </a:ext>
                  </a:extLst>
                </p:cNvPr>
                <p:cNvSpPr/>
                <p:nvPr/>
              </p:nvSpPr>
              <p:spPr>
                <a:xfrm>
                  <a:off x="4666994" y="2649231"/>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820" name="Vrije vorm: vorm 8819">
                  <a:extLst>
                    <a:ext uri="{FF2B5EF4-FFF2-40B4-BE49-F238E27FC236}">
                      <a16:creationId xmlns:a16="http://schemas.microsoft.com/office/drawing/2014/main" id="{3429829E-7700-4E00-9073-28D42E43BB3F}"/>
                    </a:ext>
                  </a:extLst>
                </p:cNvPr>
                <p:cNvSpPr/>
                <p:nvPr/>
              </p:nvSpPr>
              <p:spPr>
                <a:xfrm>
                  <a:off x="4641037" y="2627861"/>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21" name="Vrije vorm: vorm 8820">
                  <a:extLst>
                    <a:ext uri="{FF2B5EF4-FFF2-40B4-BE49-F238E27FC236}">
                      <a16:creationId xmlns:a16="http://schemas.microsoft.com/office/drawing/2014/main" id="{5BA6FCF4-6EAA-42C7-91D3-AB3F826AED3B}"/>
                    </a:ext>
                  </a:extLst>
                </p:cNvPr>
                <p:cNvSpPr/>
                <p:nvPr/>
              </p:nvSpPr>
              <p:spPr>
                <a:xfrm>
                  <a:off x="4658561" y="2619985"/>
                  <a:ext cx="2924" cy="2795"/>
                </a:xfrm>
                <a:custGeom>
                  <a:avLst/>
                  <a:gdLst>
                    <a:gd name="connsiteX0" fmla="*/ 2893 w 2924"/>
                    <a:gd name="connsiteY0" fmla="*/ 1645 h 2795"/>
                    <a:gd name="connsiteX1" fmla="*/ 22 w 2924"/>
                    <a:gd name="connsiteY1" fmla="*/ 1106 h 2795"/>
                    <a:gd name="connsiteX2" fmla="*/ 2893 w 2924"/>
                    <a:gd name="connsiteY2" fmla="*/ 1645 h 2795"/>
                    <a:gd name="connsiteX3" fmla="*/ 2893 w 2924"/>
                    <a:gd name="connsiteY3" fmla="*/ 1645 h 2795"/>
                  </a:gdLst>
                  <a:ahLst/>
                  <a:cxnLst>
                    <a:cxn ang="0">
                      <a:pos x="connsiteX0" y="connsiteY0"/>
                    </a:cxn>
                    <a:cxn ang="0">
                      <a:pos x="connsiteX1" y="connsiteY1"/>
                    </a:cxn>
                    <a:cxn ang="0">
                      <a:pos x="connsiteX2" y="connsiteY2"/>
                    </a:cxn>
                    <a:cxn ang="0">
                      <a:pos x="connsiteX3" y="connsiteY3"/>
                    </a:cxn>
                  </a:cxnLst>
                  <a:rect l="l" t="t" r="r" b="b"/>
                  <a:pathLst>
                    <a:path w="2924" h="2795">
                      <a:moveTo>
                        <a:pt x="2893" y="1645"/>
                      </a:moveTo>
                      <a:cubicBezTo>
                        <a:pt x="2534" y="3499"/>
                        <a:pt x="-277" y="2961"/>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822" name="Vrije vorm: vorm 8821">
                  <a:extLst>
                    <a:ext uri="{FF2B5EF4-FFF2-40B4-BE49-F238E27FC236}">
                      <a16:creationId xmlns:a16="http://schemas.microsoft.com/office/drawing/2014/main" id="{E625A734-C9E7-4191-91AE-7CDB8984204A}"/>
                    </a:ext>
                  </a:extLst>
                </p:cNvPr>
                <p:cNvSpPr/>
                <p:nvPr/>
              </p:nvSpPr>
              <p:spPr>
                <a:xfrm>
                  <a:off x="4649889" y="2635097"/>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823" name="Vrije vorm: vorm 8822">
                  <a:extLst>
                    <a:ext uri="{FF2B5EF4-FFF2-40B4-BE49-F238E27FC236}">
                      <a16:creationId xmlns:a16="http://schemas.microsoft.com/office/drawing/2014/main" id="{9C8B7678-3A39-4A25-A32E-AC94F18311A0}"/>
                    </a:ext>
                  </a:extLst>
                </p:cNvPr>
                <p:cNvSpPr/>
                <p:nvPr/>
              </p:nvSpPr>
              <p:spPr>
                <a:xfrm>
                  <a:off x="4669566" y="2625229"/>
                  <a:ext cx="2914" cy="2813"/>
                </a:xfrm>
                <a:custGeom>
                  <a:avLst/>
                  <a:gdLst>
                    <a:gd name="connsiteX0" fmla="*/ 2893 w 2914"/>
                    <a:gd name="connsiteY0" fmla="*/ 1663 h 2813"/>
                    <a:gd name="connsiteX1" fmla="*/ 22 w 2914"/>
                    <a:gd name="connsiteY1" fmla="*/ 1125 h 2813"/>
                    <a:gd name="connsiteX2" fmla="*/ 2893 w 2914"/>
                    <a:gd name="connsiteY2" fmla="*/ 1663 h 2813"/>
                    <a:gd name="connsiteX3" fmla="*/ 2893 w 291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3"/>
                      </a:moveTo>
                      <a:cubicBezTo>
                        <a:pt x="2534" y="3518"/>
                        <a:pt x="-277" y="2979"/>
                        <a:pt x="22" y="1125"/>
                      </a:cubicBezTo>
                      <a:cubicBezTo>
                        <a:pt x="321"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24" name="Vrije vorm: vorm 8823">
                  <a:extLst>
                    <a:ext uri="{FF2B5EF4-FFF2-40B4-BE49-F238E27FC236}">
                      <a16:creationId xmlns:a16="http://schemas.microsoft.com/office/drawing/2014/main" id="{77DFF1A7-DE11-4BAE-B950-353634FAC097}"/>
                    </a:ext>
                  </a:extLst>
                </p:cNvPr>
                <p:cNvSpPr/>
                <p:nvPr/>
              </p:nvSpPr>
              <p:spPr>
                <a:xfrm>
                  <a:off x="4687029" y="2634056"/>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25" name="Vrije vorm: vorm 8824">
                  <a:extLst>
                    <a:ext uri="{FF2B5EF4-FFF2-40B4-BE49-F238E27FC236}">
                      <a16:creationId xmlns:a16="http://schemas.microsoft.com/office/drawing/2014/main" id="{B6FDA642-0F49-4649-9142-FC4200B4344A}"/>
                    </a:ext>
                  </a:extLst>
                </p:cNvPr>
                <p:cNvSpPr/>
                <p:nvPr/>
              </p:nvSpPr>
              <p:spPr>
                <a:xfrm>
                  <a:off x="4664183" y="2734456"/>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826" name="Vrije vorm: vorm 8825">
                  <a:extLst>
                    <a:ext uri="{FF2B5EF4-FFF2-40B4-BE49-F238E27FC236}">
                      <a16:creationId xmlns:a16="http://schemas.microsoft.com/office/drawing/2014/main" id="{6496F151-0CE0-4FAE-83B3-2C441F8EB931}"/>
                    </a:ext>
                  </a:extLst>
                </p:cNvPr>
                <p:cNvSpPr/>
                <p:nvPr/>
              </p:nvSpPr>
              <p:spPr>
                <a:xfrm>
                  <a:off x="4674649" y="2709258"/>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827" name="Vrije vorm: vorm 8826">
                  <a:extLst>
                    <a:ext uri="{FF2B5EF4-FFF2-40B4-BE49-F238E27FC236}">
                      <a16:creationId xmlns:a16="http://schemas.microsoft.com/office/drawing/2014/main" id="{3D7BF425-2095-4739-B1C4-C916B3D47EE0}"/>
                    </a:ext>
                  </a:extLst>
                </p:cNvPr>
                <p:cNvSpPr/>
                <p:nvPr/>
              </p:nvSpPr>
              <p:spPr>
                <a:xfrm>
                  <a:off x="4683979" y="2680107"/>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28" name="Vrije vorm: vorm 8827">
                  <a:extLst>
                    <a:ext uri="{FF2B5EF4-FFF2-40B4-BE49-F238E27FC236}">
                      <a16:creationId xmlns:a16="http://schemas.microsoft.com/office/drawing/2014/main" id="{D028FA15-95DF-443C-B996-BC8C908D3971}"/>
                    </a:ext>
                  </a:extLst>
                </p:cNvPr>
                <p:cNvSpPr/>
                <p:nvPr/>
              </p:nvSpPr>
              <p:spPr>
                <a:xfrm>
                  <a:off x="4690199" y="2647137"/>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40000"/>
                    </a:schemeClr>
                  </a:solidFill>
                  <a:prstDash val="solid"/>
                  <a:miter/>
                </a:ln>
              </p:spPr>
              <p:txBody>
                <a:bodyPr rtlCol="0" anchor="ctr"/>
                <a:lstStyle/>
                <a:p>
                  <a:endParaRPr lang="en-GB"/>
                </a:p>
              </p:txBody>
            </p:sp>
            <p:sp>
              <p:nvSpPr>
                <p:cNvPr id="8829" name="Vrije vorm: vorm 8828">
                  <a:extLst>
                    <a:ext uri="{FF2B5EF4-FFF2-40B4-BE49-F238E27FC236}">
                      <a16:creationId xmlns:a16="http://schemas.microsoft.com/office/drawing/2014/main" id="{9594085F-E268-47A4-A22E-DD800BE06D7D}"/>
                    </a:ext>
                  </a:extLst>
                </p:cNvPr>
                <p:cNvSpPr/>
                <p:nvPr/>
              </p:nvSpPr>
              <p:spPr>
                <a:xfrm>
                  <a:off x="4691754" y="2623315"/>
                  <a:ext cx="2914" cy="2813"/>
                </a:xfrm>
                <a:custGeom>
                  <a:avLst/>
                  <a:gdLst>
                    <a:gd name="connsiteX0" fmla="*/ 2893 w 2914"/>
                    <a:gd name="connsiteY0" fmla="*/ 1664 h 2813"/>
                    <a:gd name="connsiteX1" fmla="*/ 22 w 2914"/>
                    <a:gd name="connsiteY1" fmla="*/ 1125 h 2813"/>
                    <a:gd name="connsiteX2" fmla="*/ 2893 w 2914"/>
                    <a:gd name="connsiteY2" fmla="*/ 1664 h 2813"/>
                    <a:gd name="connsiteX3" fmla="*/ 2893 w 291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830" name="Vrije vorm: vorm 8829">
                  <a:extLst>
                    <a:ext uri="{FF2B5EF4-FFF2-40B4-BE49-F238E27FC236}">
                      <a16:creationId xmlns:a16="http://schemas.microsoft.com/office/drawing/2014/main" id="{BC1841D0-5B07-4E7A-91BE-306E31783886}"/>
                    </a:ext>
                  </a:extLst>
                </p:cNvPr>
                <p:cNvSpPr/>
                <p:nvPr/>
              </p:nvSpPr>
              <p:spPr>
                <a:xfrm>
                  <a:off x="4696957" y="2595864"/>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1"/>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831" name="Vrije vorm: vorm 8830">
                  <a:extLst>
                    <a:ext uri="{FF2B5EF4-FFF2-40B4-BE49-F238E27FC236}">
                      <a16:creationId xmlns:a16="http://schemas.microsoft.com/office/drawing/2014/main" id="{F28814C6-015C-4403-9974-8172105C36F7}"/>
                    </a:ext>
                  </a:extLst>
                </p:cNvPr>
                <p:cNvSpPr/>
                <p:nvPr/>
              </p:nvSpPr>
              <p:spPr>
                <a:xfrm>
                  <a:off x="4696718" y="2570386"/>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832" name="Vrije vorm: vorm 8831">
                  <a:extLst>
                    <a:ext uri="{FF2B5EF4-FFF2-40B4-BE49-F238E27FC236}">
                      <a16:creationId xmlns:a16="http://schemas.microsoft.com/office/drawing/2014/main" id="{2A9EA1AF-2D51-40F7-80AE-797B1762B4EA}"/>
                    </a:ext>
                  </a:extLst>
                </p:cNvPr>
                <p:cNvSpPr/>
                <p:nvPr/>
              </p:nvSpPr>
              <p:spPr>
                <a:xfrm>
                  <a:off x="4658142" y="2605647"/>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33" name="Vrije vorm: vorm 8832">
                  <a:extLst>
                    <a:ext uri="{FF2B5EF4-FFF2-40B4-BE49-F238E27FC236}">
                      <a16:creationId xmlns:a16="http://schemas.microsoft.com/office/drawing/2014/main" id="{6BB6DD72-B352-4D4C-95D1-F6A943CA731B}"/>
                    </a:ext>
                  </a:extLst>
                </p:cNvPr>
                <p:cNvSpPr/>
                <p:nvPr/>
              </p:nvSpPr>
              <p:spPr>
                <a:xfrm>
                  <a:off x="4664841" y="2598196"/>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34" name="Vrije vorm: vorm 8833">
                  <a:extLst>
                    <a:ext uri="{FF2B5EF4-FFF2-40B4-BE49-F238E27FC236}">
                      <a16:creationId xmlns:a16="http://schemas.microsoft.com/office/drawing/2014/main" id="{D5F416B5-415E-4327-B1A8-E1CE9826124A}"/>
                    </a:ext>
                  </a:extLst>
                </p:cNvPr>
                <p:cNvSpPr/>
                <p:nvPr/>
              </p:nvSpPr>
              <p:spPr>
                <a:xfrm>
                  <a:off x="4677759" y="2603220"/>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35" name="Vrije vorm: vorm 8834">
                  <a:extLst>
                    <a:ext uri="{FF2B5EF4-FFF2-40B4-BE49-F238E27FC236}">
                      <a16:creationId xmlns:a16="http://schemas.microsoft.com/office/drawing/2014/main" id="{BE2747D8-4E98-4378-A9B8-F53C49953625}"/>
                    </a:ext>
                  </a:extLst>
                </p:cNvPr>
                <p:cNvSpPr/>
                <p:nvPr/>
              </p:nvSpPr>
              <p:spPr>
                <a:xfrm>
                  <a:off x="4686790" y="2590780"/>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40000"/>
                    </a:schemeClr>
                  </a:solidFill>
                  <a:prstDash val="solid"/>
                  <a:miter/>
                </a:ln>
              </p:spPr>
              <p:txBody>
                <a:bodyPr rtlCol="0" anchor="ctr"/>
                <a:lstStyle/>
                <a:p>
                  <a:endParaRPr lang="en-GB"/>
                </a:p>
              </p:txBody>
            </p:sp>
            <p:sp>
              <p:nvSpPr>
                <p:cNvPr id="8836" name="Vrije vorm: vorm 8835">
                  <a:extLst>
                    <a:ext uri="{FF2B5EF4-FFF2-40B4-BE49-F238E27FC236}">
                      <a16:creationId xmlns:a16="http://schemas.microsoft.com/office/drawing/2014/main" id="{0036429B-AB50-4C67-A66E-086C3603C317}"/>
                    </a:ext>
                  </a:extLst>
                </p:cNvPr>
                <p:cNvSpPr/>
                <p:nvPr/>
              </p:nvSpPr>
              <p:spPr>
                <a:xfrm>
                  <a:off x="4689601" y="2573710"/>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37" name="Vrije vorm: vorm 8836">
                  <a:extLst>
                    <a:ext uri="{FF2B5EF4-FFF2-40B4-BE49-F238E27FC236}">
                      <a16:creationId xmlns:a16="http://schemas.microsoft.com/office/drawing/2014/main" id="{6E3A3263-740B-4837-A930-BB3F08A491F7}"/>
                    </a:ext>
                  </a:extLst>
                </p:cNvPr>
                <p:cNvSpPr/>
                <p:nvPr/>
              </p:nvSpPr>
              <p:spPr>
                <a:xfrm>
                  <a:off x="4630093" y="2618710"/>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22" y="-669"/>
                        <a:pt x="3192" y="-191"/>
                        <a:pt x="2893" y="1663"/>
                      </a:cubicBezTo>
                      <a:lnTo>
                        <a:pt x="2893" y="1663"/>
                      </a:lnTo>
                      <a:close/>
                    </a:path>
                  </a:pathLst>
                </a:custGeom>
                <a:grpFill/>
                <a:ln w="6350" cap="flat">
                  <a:solidFill>
                    <a:schemeClr val="bg1">
                      <a:alpha val="40000"/>
                    </a:schemeClr>
                  </a:solidFill>
                  <a:prstDash val="solid"/>
                  <a:miter/>
                </a:ln>
              </p:spPr>
              <p:txBody>
                <a:bodyPr rtlCol="0" anchor="ctr"/>
                <a:lstStyle/>
                <a:p>
                  <a:endParaRPr lang="en-GB"/>
                </a:p>
              </p:txBody>
            </p:sp>
            <p:sp>
              <p:nvSpPr>
                <p:cNvPr id="8838" name="Vrije vorm: vorm 8837">
                  <a:extLst>
                    <a:ext uri="{FF2B5EF4-FFF2-40B4-BE49-F238E27FC236}">
                      <a16:creationId xmlns:a16="http://schemas.microsoft.com/office/drawing/2014/main" id="{30B52866-FB71-4A68-A6F9-44628C5E3F5A}"/>
                    </a:ext>
                  </a:extLst>
                </p:cNvPr>
                <p:cNvSpPr/>
                <p:nvPr/>
              </p:nvSpPr>
              <p:spPr>
                <a:xfrm>
                  <a:off x="4557606" y="2582023"/>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39" name="Vrije vorm: vorm 8838">
                  <a:extLst>
                    <a:ext uri="{FF2B5EF4-FFF2-40B4-BE49-F238E27FC236}">
                      <a16:creationId xmlns:a16="http://schemas.microsoft.com/office/drawing/2014/main" id="{55D58E8B-B3C6-4029-AD6B-9B8BBBE9E2ED}"/>
                    </a:ext>
                  </a:extLst>
                </p:cNvPr>
                <p:cNvSpPr/>
                <p:nvPr/>
              </p:nvSpPr>
              <p:spPr>
                <a:xfrm>
                  <a:off x="4409763" y="2477361"/>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40" name="Vrije vorm: vorm 8839">
                  <a:extLst>
                    <a:ext uri="{FF2B5EF4-FFF2-40B4-BE49-F238E27FC236}">
                      <a16:creationId xmlns:a16="http://schemas.microsoft.com/office/drawing/2014/main" id="{6D83AF38-B20D-4139-81EE-C5C532D6D30F}"/>
                    </a:ext>
                  </a:extLst>
                </p:cNvPr>
                <p:cNvSpPr/>
                <p:nvPr/>
              </p:nvSpPr>
              <p:spPr>
                <a:xfrm>
                  <a:off x="4439308" y="2487408"/>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41" name="Vrije vorm: vorm 8840">
                  <a:extLst>
                    <a:ext uri="{FF2B5EF4-FFF2-40B4-BE49-F238E27FC236}">
                      <a16:creationId xmlns:a16="http://schemas.microsoft.com/office/drawing/2014/main" id="{ED06E0EF-679F-4645-A4F2-11121E931405}"/>
                    </a:ext>
                  </a:extLst>
                </p:cNvPr>
                <p:cNvSpPr/>
                <p:nvPr/>
              </p:nvSpPr>
              <p:spPr>
                <a:xfrm>
                  <a:off x="4640140" y="2691231"/>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40000"/>
                    </a:schemeClr>
                  </a:solidFill>
                  <a:prstDash val="solid"/>
                  <a:miter/>
                </a:ln>
              </p:spPr>
              <p:txBody>
                <a:bodyPr rtlCol="0" anchor="ctr"/>
                <a:lstStyle/>
                <a:p>
                  <a:endParaRPr lang="en-GB"/>
                </a:p>
              </p:txBody>
            </p:sp>
            <p:sp>
              <p:nvSpPr>
                <p:cNvPr id="8842" name="Vrije vorm: vorm 8841">
                  <a:extLst>
                    <a:ext uri="{FF2B5EF4-FFF2-40B4-BE49-F238E27FC236}">
                      <a16:creationId xmlns:a16="http://schemas.microsoft.com/office/drawing/2014/main" id="{EF64168A-4F79-43BA-A03B-A9290921A07E}"/>
                    </a:ext>
                  </a:extLst>
                </p:cNvPr>
                <p:cNvSpPr/>
                <p:nvPr/>
              </p:nvSpPr>
              <p:spPr>
                <a:xfrm>
                  <a:off x="4649851" y="2563497"/>
                  <a:ext cx="43240" cy="45453"/>
                </a:xfrm>
                <a:custGeom>
                  <a:avLst/>
                  <a:gdLst>
                    <a:gd name="connsiteX0" fmla="*/ 40789 w 43240"/>
                    <a:gd name="connsiteY0" fmla="*/ 45453 h 45453"/>
                    <a:gd name="connsiteX1" fmla="*/ 40669 w 43240"/>
                    <a:gd name="connsiteY1" fmla="*/ 45453 h 45453"/>
                    <a:gd name="connsiteX2" fmla="*/ 119 w 43240"/>
                    <a:gd name="connsiteY2" fmla="*/ 30502 h 45453"/>
                    <a:gd name="connsiteX3" fmla="*/ 0 w 43240"/>
                    <a:gd name="connsiteY3" fmla="*/ 30382 h 45453"/>
                    <a:gd name="connsiteX4" fmla="*/ 60 w 43240"/>
                    <a:gd name="connsiteY4" fmla="*/ 30203 h 45453"/>
                    <a:gd name="connsiteX5" fmla="*/ 12798 w 43240"/>
                    <a:gd name="connsiteY5" fmla="*/ 19856 h 45453"/>
                    <a:gd name="connsiteX6" fmla="*/ 21889 w 43240"/>
                    <a:gd name="connsiteY6" fmla="*/ 7954 h 45453"/>
                    <a:gd name="connsiteX7" fmla="*/ 34808 w 43240"/>
                    <a:gd name="connsiteY7" fmla="*/ 0 h 45453"/>
                    <a:gd name="connsiteX8" fmla="*/ 43001 w 43240"/>
                    <a:gd name="connsiteY8" fmla="*/ 1854 h 45453"/>
                    <a:gd name="connsiteX9" fmla="*/ 43181 w 43240"/>
                    <a:gd name="connsiteY9" fmla="*/ 1854 h 45453"/>
                    <a:gd name="connsiteX10" fmla="*/ 43241 w 43240"/>
                    <a:gd name="connsiteY10" fmla="*/ 2033 h 45453"/>
                    <a:gd name="connsiteX11" fmla="*/ 40848 w 43240"/>
                    <a:gd name="connsiteY11" fmla="*/ 45334 h 45453"/>
                    <a:gd name="connsiteX12" fmla="*/ 40789 w 43240"/>
                    <a:gd name="connsiteY12" fmla="*/ 45453 h 45453"/>
                    <a:gd name="connsiteX13" fmla="*/ 35047 w 43240"/>
                    <a:gd name="connsiteY13" fmla="*/ 299 h 45453"/>
                    <a:gd name="connsiteX14" fmla="*/ 22188 w 43240"/>
                    <a:gd name="connsiteY14" fmla="*/ 8253 h 45453"/>
                    <a:gd name="connsiteX15" fmla="*/ 13098 w 43240"/>
                    <a:gd name="connsiteY15" fmla="*/ 20155 h 45453"/>
                    <a:gd name="connsiteX16" fmla="*/ 598 w 43240"/>
                    <a:gd name="connsiteY16" fmla="*/ 30322 h 45453"/>
                    <a:gd name="connsiteX17" fmla="*/ 40669 w 43240"/>
                    <a:gd name="connsiteY17" fmla="*/ 45095 h 45453"/>
                    <a:gd name="connsiteX18" fmla="*/ 43001 w 43240"/>
                    <a:gd name="connsiteY18" fmla="*/ 2273 h 45453"/>
                    <a:gd name="connsiteX19" fmla="*/ 35047 w 43240"/>
                    <a:gd name="connsiteY19" fmla="*/ 299 h 4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240" h="45453">
                      <a:moveTo>
                        <a:pt x="40789" y="45453"/>
                      </a:moveTo>
                      <a:cubicBezTo>
                        <a:pt x="40729" y="45453"/>
                        <a:pt x="40669" y="45453"/>
                        <a:pt x="40669" y="45453"/>
                      </a:cubicBezTo>
                      <a:lnTo>
                        <a:pt x="119" y="30502"/>
                      </a:lnTo>
                      <a:cubicBezTo>
                        <a:pt x="60" y="30502"/>
                        <a:pt x="0" y="30442"/>
                        <a:pt x="0" y="30382"/>
                      </a:cubicBezTo>
                      <a:cubicBezTo>
                        <a:pt x="0" y="30322"/>
                        <a:pt x="0" y="30262"/>
                        <a:pt x="60" y="30203"/>
                      </a:cubicBezTo>
                      <a:lnTo>
                        <a:pt x="12798" y="19856"/>
                      </a:lnTo>
                      <a:lnTo>
                        <a:pt x="21889" y="7954"/>
                      </a:lnTo>
                      <a:lnTo>
                        <a:pt x="34808" y="0"/>
                      </a:lnTo>
                      <a:lnTo>
                        <a:pt x="43001" y="1854"/>
                      </a:lnTo>
                      <a:cubicBezTo>
                        <a:pt x="43061" y="1854"/>
                        <a:pt x="43121" y="1854"/>
                        <a:pt x="43181" y="1854"/>
                      </a:cubicBezTo>
                      <a:cubicBezTo>
                        <a:pt x="43241" y="1914"/>
                        <a:pt x="43241" y="1974"/>
                        <a:pt x="43241" y="2033"/>
                      </a:cubicBezTo>
                      <a:lnTo>
                        <a:pt x="40848" y="45334"/>
                      </a:lnTo>
                      <a:cubicBezTo>
                        <a:pt x="40908" y="45394"/>
                        <a:pt x="40848" y="45453"/>
                        <a:pt x="40789" y="45453"/>
                      </a:cubicBezTo>
                      <a:close/>
                      <a:moveTo>
                        <a:pt x="35047" y="299"/>
                      </a:moveTo>
                      <a:lnTo>
                        <a:pt x="22188" y="8253"/>
                      </a:lnTo>
                      <a:lnTo>
                        <a:pt x="13098" y="20155"/>
                      </a:lnTo>
                      <a:lnTo>
                        <a:pt x="598" y="30322"/>
                      </a:lnTo>
                      <a:lnTo>
                        <a:pt x="40669" y="45095"/>
                      </a:lnTo>
                      <a:lnTo>
                        <a:pt x="43001" y="2273"/>
                      </a:lnTo>
                      <a:lnTo>
                        <a:pt x="35047" y="299"/>
                      </a:lnTo>
                      <a:close/>
                    </a:path>
                  </a:pathLst>
                </a:custGeom>
                <a:grpFill/>
                <a:ln w="6350" cap="flat">
                  <a:solidFill>
                    <a:schemeClr val="bg1">
                      <a:alpha val="40000"/>
                    </a:schemeClr>
                  </a:solidFill>
                  <a:prstDash val="solid"/>
                  <a:miter/>
                </a:ln>
              </p:spPr>
              <p:txBody>
                <a:bodyPr rtlCol="0" anchor="ctr"/>
                <a:lstStyle/>
                <a:p>
                  <a:endParaRPr lang="en-GB"/>
                </a:p>
              </p:txBody>
            </p:sp>
            <p:sp>
              <p:nvSpPr>
                <p:cNvPr id="8843" name="Vrije vorm: vorm 8842">
                  <a:extLst>
                    <a:ext uri="{FF2B5EF4-FFF2-40B4-BE49-F238E27FC236}">
                      <a16:creationId xmlns:a16="http://schemas.microsoft.com/office/drawing/2014/main" id="{8F37DF1B-397F-47CF-8122-A4E6448D0F16}"/>
                    </a:ext>
                  </a:extLst>
                </p:cNvPr>
                <p:cNvSpPr/>
                <p:nvPr/>
              </p:nvSpPr>
              <p:spPr>
                <a:xfrm>
                  <a:off x="4632866" y="2701472"/>
                  <a:ext cx="38456" cy="40609"/>
                </a:xfrm>
                <a:custGeom>
                  <a:avLst/>
                  <a:gdLst>
                    <a:gd name="connsiteX0" fmla="*/ 38456 w 38456"/>
                    <a:gd name="connsiteY0" fmla="*/ 598 h 40609"/>
                    <a:gd name="connsiteX1" fmla="*/ 24461 w 38456"/>
                    <a:gd name="connsiteY1" fmla="*/ 40490 h 40609"/>
                    <a:gd name="connsiteX2" fmla="*/ 24342 w 38456"/>
                    <a:gd name="connsiteY2" fmla="*/ 40609 h 40609"/>
                    <a:gd name="connsiteX3" fmla="*/ 24162 w 38456"/>
                    <a:gd name="connsiteY3" fmla="*/ 40549 h 40609"/>
                    <a:gd name="connsiteX4" fmla="*/ 19318 w 38456"/>
                    <a:gd name="connsiteY4" fmla="*/ 31638 h 40609"/>
                    <a:gd name="connsiteX5" fmla="*/ 8074 w 38456"/>
                    <a:gd name="connsiteY5" fmla="*/ 15789 h 40609"/>
                    <a:gd name="connsiteX6" fmla="*/ 0 w 38456"/>
                    <a:gd name="connsiteY6" fmla="*/ 239 h 40609"/>
                    <a:gd name="connsiteX7" fmla="*/ 0 w 38456"/>
                    <a:gd name="connsiteY7" fmla="*/ 60 h 40609"/>
                    <a:gd name="connsiteX8" fmla="*/ 120 w 38456"/>
                    <a:gd name="connsiteY8" fmla="*/ 0 h 40609"/>
                    <a:gd name="connsiteX9" fmla="*/ 38277 w 38456"/>
                    <a:gd name="connsiteY9" fmla="*/ 419 h 40609"/>
                    <a:gd name="connsiteX10" fmla="*/ 38396 w 38456"/>
                    <a:gd name="connsiteY10" fmla="*/ 479 h 40609"/>
                    <a:gd name="connsiteX11" fmla="*/ 38456 w 38456"/>
                    <a:gd name="connsiteY11" fmla="*/ 598 h 40609"/>
                    <a:gd name="connsiteX12" fmla="*/ 38456 w 38456"/>
                    <a:gd name="connsiteY12" fmla="*/ 598 h 40609"/>
                    <a:gd name="connsiteX13" fmla="*/ 8313 w 38456"/>
                    <a:gd name="connsiteY13" fmla="*/ 15610 h 40609"/>
                    <a:gd name="connsiteX14" fmla="*/ 19557 w 38456"/>
                    <a:gd name="connsiteY14" fmla="*/ 31459 h 40609"/>
                    <a:gd name="connsiteX15" fmla="*/ 24162 w 38456"/>
                    <a:gd name="connsiteY15" fmla="*/ 40131 h 40609"/>
                    <a:gd name="connsiteX16" fmla="*/ 38037 w 38456"/>
                    <a:gd name="connsiteY16" fmla="*/ 718 h 40609"/>
                    <a:gd name="connsiteX17" fmla="*/ 359 w 38456"/>
                    <a:gd name="connsiteY17" fmla="*/ 299 h 40609"/>
                    <a:gd name="connsiteX18" fmla="*/ 8313 w 38456"/>
                    <a:gd name="connsiteY18" fmla="*/ 15610 h 4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456" h="40609">
                      <a:moveTo>
                        <a:pt x="38456" y="598"/>
                      </a:moveTo>
                      <a:lnTo>
                        <a:pt x="24461" y="40490"/>
                      </a:lnTo>
                      <a:cubicBezTo>
                        <a:pt x="24461" y="40549"/>
                        <a:pt x="24401" y="40609"/>
                        <a:pt x="24342" y="40609"/>
                      </a:cubicBezTo>
                      <a:cubicBezTo>
                        <a:pt x="24282" y="40609"/>
                        <a:pt x="24222" y="40609"/>
                        <a:pt x="24162" y="40549"/>
                      </a:cubicBezTo>
                      <a:lnTo>
                        <a:pt x="19318" y="31638"/>
                      </a:lnTo>
                      <a:lnTo>
                        <a:pt x="8074" y="15789"/>
                      </a:lnTo>
                      <a:lnTo>
                        <a:pt x="0" y="239"/>
                      </a:lnTo>
                      <a:cubicBezTo>
                        <a:pt x="0" y="179"/>
                        <a:pt x="0" y="120"/>
                        <a:pt x="0" y="60"/>
                      </a:cubicBezTo>
                      <a:cubicBezTo>
                        <a:pt x="60" y="0"/>
                        <a:pt x="60" y="0"/>
                        <a:pt x="120" y="0"/>
                      </a:cubicBezTo>
                      <a:lnTo>
                        <a:pt x="38277" y="419"/>
                      </a:lnTo>
                      <a:cubicBezTo>
                        <a:pt x="38337" y="419"/>
                        <a:pt x="38396" y="419"/>
                        <a:pt x="38396" y="479"/>
                      </a:cubicBezTo>
                      <a:cubicBezTo>
                        <a:pt x="38456" y="479"/>
                        <a:pt x="38456" y="538"/>
                        <a:pt x="38456" y="598"/>
                      </a:cubicBezTo>
                      <a:lnTo>
                        <a:pt x="38456" y="598"/>
                      </a:lnTo>
                      <a:close/>
                      <a:moveTo>
                        <a:pt x="8313" y="15610"/>
                      </a:moveTo>
                      <a:lnTo>
                        <a:pt x="19557" y="31459"/>
                      </a:lnTo>
                      <a:lnTo>
                        <a:pt x="24162" y="40131"/>
                      </a:lnTo>
                      <a:lnTo>
                        <a:pt x="38037" y="718"/>
                      </a:lnTo>
                      <a:lnTo>
                        <a:pt x="359" y="299"/>
                      </a:lnTo>
                      <a:lnTo>
                        <a:pt x="8313" y="15610"/>
                      </a:lnTo>
                      <a:close/>
                    </a:path>
                  </a:pathLst>
                </a:custGeom>
                <a:grpFill/>
                <a:ln w="6350" cap="flat">
                  <a:solidFill>
                    <a:schemeClr val="bg1">
                      <a:alpha val="40000"/>
                    </a:schemeClr>
                  </a:solidFill>
                  <a:prstDash val="solid"/>
                  <a:miter/>
                </a:ln>
              </p:spPr>
              <p:txBody>
                <a:bodyPr rtlCol="0" anchor="ctr"/>
                <a:lstStyle/>
                <a:p>
                  <a:endParaRPr lang="en-GB"/>
                </a:p>
              </p:txBody>
            </p:sp>
            <p:sp>
              <p:nvSpPr>
                <p:cNvPr id="8844" name="Vrije vorm: vorm 8843">
                  <a:extLst>
                    <a:ext uri="{FF2B5EF4-FFF2-40B4-BE49-F238E27FC236}">
                      <a16:creationId xmlns:a16="http://schemas.microsoft.com/office/drawing/2014/main" id="{7C7AD89C-785D-4B9D-B19F-0901CDE495A1}"/>
                    </a:ext>
                  </a:extLst>
                </p:cNvPr>
                <p:cNvSpPr/>
                <p:nvPr/>
              </p:nvSpPr>
              <p:spPr>
                <a:xfrm>
                  <a:off x="4633883" y="2654559"/>
                  <a:ext cx="48862" cy="38540"/>
                </a:xfrm>
                <a:custGeom>
                  <a:avLst/>
                  <a:gdLst>
                    <a:gd name="connsiteX0" fmla="*/ 48863 w 48862"/>
                    <a:gd name="connsiteY0" fmla="*/ 8697 h 38540"/>
                    <a:gd name="connsiteX1" fmla="*/ 39413 w 48862"/>
                    <a:gd name="connsiteY1" fmla="*/ 38421 h 38540"/>
                    <a:gd name="connsiteX2" fmla="*/ 39293 w 48862"/>
                    <a:gd name="connsiteY2" fmla="*/ 38541 h 38540"/>
                    <a:gd name="connsiteX3" fmla="*/ 39114 w 48862"/>
                    <a:gd name="connsiteY3" fmla="*/ 38481 h 38540"/>
                    <a:gd name="connsiteX4" fmla="*/ 60 w 48862"/>
                    <a:gd name="connsiteY4" fmla="*/ 264 h 38540"/>
                    <a:gd name="connsiteX5" fmla="*/ 0 w 48862"/>
                    <a:gd name="connsiteY5" fmla="*/ 85 h 38540"/>
                    <a:gd name="connsiteX6" fmla="*/ 180 w 48862"/>
                    <a:gd name="connsiteY6" fmla="*/ 25 h 38540"/>
                    <a:gd name="connsiteX7" fmla="*/ 48683 w 48862"/>
                    <a:gd name="connsiteY7" fmla="*/ 8458 h 38540"/>
                    <a:gd name="connsiteX8" fmla="*/ 48803 w 48862"/>
                    <a:gd name="connsiteY8" fmla="*/ 8517 h 38540"/>
                    <a:gd name="connsiteX9" fmla="*/ 48863 w 48862"/>
                    <a:gd name="connsiteY9" fmla="*/ 8697 h 38540"/>
                    <a:gd name="connsiteX10" fmla="*/ 48863 w 48862"/>
                    <a:gd name="connsiteY10" fmla="*/ 8697 h 38540"/>
                    <a:gd name="connsiteX11" fmla="*/ 39114 w 48862"/>
                    <a:gd name="connsiteY11" fmla="*/ 38062 h 38540"/>
                    <a:gd name="connsiteX12" fmla="*/ 48504 w 48862"/>
                    <a:gd name="connsiteY12" fmla="*/ 8757 h 38540"/>
                    <a:gd name="connsiteX13" fmla="*/ 658 w 48862"/>
                    <a:gd name="connsiteY13" fmla="*/ 443 h 38540"/>
                    <a:gd name="connsiteX14" fmla="*/ 39114 w 48862"/>
                    <a:gd name="connsiteY14" fmla="*/ 38062 h 3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862" h="38540">
                      <a:moveTo>
                        <a:pt x="48863" y="8697"/>
                      </a:moveTo>
                      <a:lnTo>
                        <a:pt x="39413" y="38421"/>
                      </a:lnTo>
                      <a:cubicBezTo>
                        <a:pt x="39413" y="38481"/>
                        <a:pt x="39353" y="38541"/>
                        <a:pt x="39293" y="38541"/>
                      </a:cubicBezTo>
                      <a:cubicBezTo>
                        <a:pt x="39234" y="38541"/>
                        <a:pt x="39174" y="38541"/>
                        <a:pt x="39114" y="38481"/>
                      </a:cubicBezTo>
                      <a:lnTo>
                        <a:pt x="60" y="264"/>
                      </a:lnTo>
                      <a:cubicBezTo>
                        <a:pt x="0" y="204"/>
                        <a:pt x="0" y="144"/>
                        <a:pt x="0" y="85"/>
                      </a:cubicBezTo>
                      <a:cubicBezTo>
                        <a:pt x="60" y="25"/>
                        <a:pt x="120" y="-35"/>
                        <a:pt x="180" y="25"/>
                      </a:cubicBezTo>
                      <a:lnTo>
                        <a:pt x="48683" y="8458"/>
                      </a:lnTo>
                      <a:cubicBezTo>
                        <a:pt x="48743" y="8458"/>
                        <a:pt x="48743" y="8517"/>
                        <a:pt x="48803" y="8517"/>
                      </a:cubicBezTo>
                      <a:cubicBezTo>
                        <a:pt x="48863" y="8637"/>
                        <a:pt x="48863" y="8637"/>
                        <a:pt x="48863" y="8697"/>
                      </a:cubicBezTo>
                      <a:lnTo>
                        <a:pt x="48863" y="8697"/>
                      </a:lnTo>
                      <a:close/>
                      <a:moveTo>
                        <a:pt x="39114" y="38062"/>
                      </a:moveTo>
                      <a:lnTo>
                        <a:pt x="48504" y="8757"/>
                      </a:lnTo>
                      <a:lnTo>
                        <a:pt x="658" y="443"/>
                      </a:lnTo>
                      <a:lnTo>
                        <a:pt x="39114" y="38062"/>
                      </a:lnTo>
                      <a:close/>
                    </a:path>
                  </a:pathLst>
                </a:custGeom>
                <a:grpFill/>
                <a:ln w="6350" cap="flat">
                  <a:solidFill>
                    <a:schemeClr val="bg1">
                      <a:alpha val="40000"/>
                    </a:schemeClr>
                  </a:solidFill>
                  <a:prstDash val="solid"/>
                  <a:miter/>
                </a:ln>
              </p:spPr>
              <p:txBody>
                <a:bodyPr rtlCol="0" anchor="ctr"/>
                <a:lstStyle/>
                <a:p>
                  <a:endParaRPr lang="en-GB"/>
                </a:p>
              </p:txBody>
            </p:sp>
            <p:sp>
              <p:nvSpPr>
                <p:cNvPr id="8845" name="Vrije vorm: vorm 8844">
                  <a:extLst>
                    <a:ext uri="{FF2B5EF4-FFF2-40B4-BE49-F238E27FC236}">
                      <a16:creationId xmlns:a16="http://schemas.microsoft.com/office/drawing/2014/main" id="{9A69DAD3-A938-4F0A-84FC-F084C3563F08}"/>
                    </a:ext>
                  </a:extLst>
                </p:cNvPr>
                <p:cNvSpPr/>
                <p:nvPr/>
              </p:nvSpPr>
              <p:spPr>
                <a:xfrm>
                  <a:off x="4635617" y="2617742"/>
                  <a:ext cx="53168" cy="36063"/>
                </a:xfrm>
                <a:custGeom>
                  <a:avLst/>
                  <a:gdLst>
                    <a:gd name="connsiteX0" fmla="*/ 53169 w 53168"/>
                    <a:gd name="connsiteY0" fmla="*/ 179 h 36063"/>
                    <a:gd name="connsiteX1" fmla="*/ 49161 w 53168"/>
                    <a:gd name="connsiteY1" fmla="*/ 35944 h 36063"/>
                    <a:gd name="connsiteX2" fmla="*/ 48982 w 53168"/>
                    <a:gd name="connsiteY2" fmla="*/ 36064 h 36063"/>
                    <a:gd name="connsiteX3" fmla="*/ 119 w 53168"/>
                    <a:gd name="connsiteY3" fmla="*/ 26375 h 36063"/>
                    <a:gd name="connsiteX4" fmla="*/ 0 w 53168"/>
                    <a:gd name="connsiteY4" fmla="*/ 26255 h 36063"/>
                    <a:gd name="connsiteX5" fmla="*/ 119 w 53168"/>
                    <a:gd name="connsiteY5" fmla="*/ 26076 h 36063"/>
                    <a:gd name="connsiteX6" fmla="*/ 52989 w 53168"/>
                    <a:gd name="connsiteY6" fmla="*/ 0 h 36063"/>
                    <a:gd name="connsiteX7" fmla="*/ 53169 w 53168"/>
                    <a:gd name="connsiteY7" fmla="*/ 0 h 36063"/>
                    <a:gd name="connsiteX8" fmla="*/ 53169 w 53168"/>
                    <a:gd name="connsiteY8" fmla="*/ 179 h 36063"/>
                    <a:gd name="connsiteX9" fmla="*/ 53169 w 53168"/>
                    <a:gd name="connsiteY9" fmla="*/ 179 h 36063"/>
                    <a:gd name="connsiteX10" fmla="*/ 48862 w 53168"/>
                    <a:gd name="connsiteY10" fmla="*/ 35645 h 36063"/>
                    <a:gd name="connsiteX11" fmla="*/ 52750 w 53168"/>
                    <a:gd name="connsiteY11" fmla="*/ 419 h 36063"/>
                    <a:gd name="connsiteX12" fmla="*/ 598 w 53168"/>
                    <a:gd name="connsiteY12" fmla="*/ 26136 h 36063"/>
                    <a:gd name="connsiteX13" fmla="*/ 48862 w 53168"/>
                    <a:gd name="connsiteY13" fmla="*/ 35645 h 3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168" h="36063">
                      <a:moveTo>
                        <a:pt x="53169" y="179"/>
                      </a:moveTo>
                      <a:lnTo>
                        <a:pt x="49161" y="35944"/>
                      </a:lnTo>
                      <a:cubicBezTo>
                        <a:pt x="49161" y="36004"/>
                        <a:pt x="49042" y="36064"/>
                        <a:pt x="48982" y="36064"/>
                      </a:cubicBezTo>
                      <a:lnTo>
                        <a:pt x="119" y="26375"/>
                      </a:lnTo>
                      <a:cubicBezTo>
                        <a:pt x="60" y="26375"/>
                        <a:pt x="0" y="26315"/>
                        <a:pt x="0" y="26255"/>
                      </a:cubicBezTo>
                      <a:cubicBezTo>
                        <a:pt x="0" y="26196"/>
                        <a:pt x="0" y="26136"/>
                        <a:pt x="119" y="26076"/>
                      </a:cubicBezTo>
                      <a:lnTo>
                        <a:pt x="52989" y="0"/>
                      </a:lnTo>
                      <a:cubicBezTo>
                        <a:pt x="53049" y="0"/>
                        <a:pt x="53109" y="0"/>
                        <a:pt x="53169" y="0"/>
                      </a:cubicBezTo>
                      <a:cubicBezTo>
                        <a:pt x="53169" y="0"/>
                        <a:pt x="53169" y="60"/>
                        <a:pt x="53169" y="179"/>
                      </a:cubicBezTo>
                      <a:cubicBezTo>
                        <a:pt x="53169" y="120"/>
                        <a:pt x="53169" y="120"/>
                        <a:pt x="53169" y="179"/>
                      </a:cubicBezTo>
                      <a:close/>
                      <a:moveTo>
                        <a:pt x="48862" y="35645"/>
                      </a:moveTo>
                      <a:lnTo>
                        <a:pt x="52750" y="419"/>
                      </a:lnTo>
                      <a:lnTo>
                        <a:pt x="598" y="26136"/>
                      </a:lnTo>
                      <a:lnTo>
                        <a:pt x="48862" y="35645"/>
                      </a:lnTo>
                      <a:close/>
                    </a:path>
                  </a:pathLst>
                </a:custGeom>
                <a:grpFill/>
                <a:ln w="6350" cap="flat">
                  <a:solidFill>
                    <a:schemeClr val="bg1">
                      <a:alpha val="40000"/>
                    </a:schemeClr>
                  </a:solidFill>
                  <a:prstDash val="solid"/>
                  <a:miter/>
                </a:ln>
              </p:spPr>
              <p:txBody>
                <a:bodyPr rtlCol="0" anchor="ctr"/>
                <a:lstStyle/>
                <a:p>
                  <a:endParaRPr lang="en-GB"/>
                </a:p>
              </p:txBody>
            </p:sp>
            <p:sp>
              <p:nvSpPr>
                <p:cNvPr id="8846" name="Vrije vorm: vorm 8845">
                  <a:extLst>
                    <a:ext uri="{FF2B5EF4-FFF2-40B4-BE49-F238E27FC236}">
                      <a16:creationId xmlns:a16="http://schemas.microsoft.com/office/drawing/2014/main" id="{1E1763A9-4CE1-4C90-A1EE-FC62FAA8E5EA}"/>
                    </a:ext>
                  </a:extLst>
                </p:cNvPr>
                <p:cNvSpPr/>
                <p:nvPr/>
              </p:nvSpPr>
              <p:spPr>
                <a:xfrm>
                  <a:off x="4621742" y="2660265"/>
                  <a:ext cx="39233" cy="32714"/>
                </a:xfrm>
                <a:custGeom>
                  <a:avLst/>
                  <a:gdLst>
                    <a:gd name="connsiteX0" fmla="*/ 39174 w 39233"/>
                    <a:gd name="connsiteY0" fmla="*/ 32595 h 32714"/>
                    <a:gd name="connsiteX1" fmla="*/ 39054 w 39233"/>
                    <a:gd name="connsiteY1" fmla="*/ 32715 h 32714"/>
                    <a:gd name="connsiteX2" fmla="*/ 6758 w 39233"/>
                    <a:gd name="connsiteY2" fmla="*/ 32475 h 32714"/>
                    <a:gd name="connsiteX3" fmla="*/ 6639 w 39233"/>
                    <a:gd name="connsiteY3" fmla="*/ 32356 h 32714"/>
                    <a:gd name="connsiteX4" fmla="*/ 0 w 39233"/>
                    <a:gd name="connsiteY4" fmla="*/ 18540 h 32714"/>
                    <a:gd name="connsiteX5" fmla="*/ 0 w 39233"/>
                    <a:gd name="connsiteY5" fmla="*/ 18421 h 32714"/>
                    <a:gd name="connsiteX6" fmla="*/ 2990 w 39233"/>
                    <a:gd name="connsiteY6" fmla="*/ 120 h 32714"/>
                    <a:gd name="connsiteX7" fmla="*/ 2990 w 39233"/>
                    <a:gd name="connsiteY7" fmla="*/ 120 h 32714"/>
                    <a:gd name="connsiteX8" fmla="*/ 3110 w 39233"/>
                    <a:gd name="connsiteY8" fmla="*/ 0 h 32714"/>
                    <a:gd name="connsiteX9" fmla="*/ 3289 w 39233"/>
                    <a:gd name="connsiteY9" fmla="*/ 60 h 32714"/>
                    <a:gd name="connsiteX10" fmla="*/ 39234 w 39233"/>
                    <a:gd name="connsiteY10" fmla="*/ 32415 h 32714"/>
                    <a:gd name="connsiteX11" fmla="*/ 39174 w 39233"/>
                    <a:gd name="connsiteY11" fmla="*/ 32595 h 32714"/>
                    <a:gd name="connsiteX12" fmla="*/ 39174 w 39233"/>
                    <a:gd name="connsiteY12" fmla="*/ 32595 h 32714"/>
                    <a:gd name="connsiteX13" fmla="*/ 239 w 39233"/>
                    <a:gd name="connsiteY13" fmla="*/ 18421 h 32714"/>
                    <a:gd name="connsiteX14" fmla="*/ 6818 w 39233"/>
                    <a:gd name="connsiteY14" fmla="*/ 32116 h 32714"/>
                    <a:gd name="connsiteX15" fmla="*/ 38576 w 39233"/>
                    <a:gd name="connsiteY15" fmla="*/ 32356 h 32714"/>
                    <a:gd name="connsiteX16" fmla="*/ 3170 w 39233"/>
                    <a:gd name="connsiteY16" fmla="*/ 478 h 32714"/>
                    <a:gd name="connsiteX17" fmla="*/ 239 w 39233"/>
                    <a:gd name="connsiteY17" fmla="*/ 18421 h 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233" h="32714">
                      <a:moveTo>
                        <a:pt x="39174" y="32595"/>
                      </a:moveTo>
                      <a:cubicBezTo>
                        <a:pt x="39174" y="32655"/>
                        <a:pt x="39114" y="32715"/>
                        <a:pt x="39054" y="32715"/>
                      </a:cubicBezTo>
                      <a:lnTo>
                        <a:pt x="6758" y="32475"/>
                      </a:lnTo>
                      <a:cubicBezTo>
                        <a:pt x="6698" y="32475"/>
                        <a:pt x="6639" y="32415"/>
                        <a:pt x="6639" y="32356"/>
                      </a:cubicBezTo>
                      <a:lnTo>
                        <a:pt x="0" y="18540"/>
                      </a:lnTo>
                      <a:cubicBezTo>
                        <a:pt x="0" y="18480"/>
                        <a:pt x="0" y="18480"/>
                        <a:pt x="0" y="18421"/>
                      </a:cubicBezTo>
                      <a:lnTo>
                        <a:pt x="2990" y="120"/>
                      </a:lnTo>
                      <a:lnTo>
                        <a:pt x="2990" y="120"/>
                      </a:lnTo>
                      <a:cubicBezTo>
                        <a:pt x="2990" y="60"/>
                        <a:pt x="3050" y="0"/>
                        <a:pt x="3110" y="0"/>
                      </a:cubicBezTo>
                      <a:cubicBezTo>
                        <a:pt x="3170" y="0"/>
                        <a:pt x="3229" y="0"/>
                        <a:pt x="3289" y="60"/>
                      </a:cubicBezTo>
                      <a:lnTo>
                        <a:pt x="39234" y="32415"/>
                      </a:lnTo>
                      <a:cubicBezTo>
                        <a:pt x="39174" y="32475"/>
                        <a:pt x="39174" y="32535"/>
                        <a:pt x="39174" y="32595"/>
                      </a:cubicBezTo>
                      <a:cubicBezTo>
                        <a:pt x="39174" y="32595"/>
                        <a:pt x="39174" y="32595"/>
                        <a:pt x="39174" y="32595"/>
                      </a:cubicBezTo>
                      <a:close/>
                      <a:moveTo>
                        <a:pt x="239" y="18421"/>
                      </a:moveTo>
                      <a:lnTo>
                        <a:pt x="6818" y="32116"/>
                      </a:lnTo>
                      <a:lnTo>
                        <a:pt x="38576" y="32356"/>
                      </a:lnTo>
                      <a:lnTo>
                        <a:pt x="3170" y="478"/>
                      </a:lnTo>
                      <a:lnTo>
                        <a:pt x="239" y="18421"/>
                      </a:lnTo>
                      <a:close/>
                    </a:path>
                  </a:pathLst>
                </a:custGeom>
                <a:grpFill/>
                <a:ln w="6350" cap="flat">
                  <a:solidFill>
                    <a:schemeClr val="bg1">
                      <a:alpha val="40000"/>
                    </a:schemeClr>
                  </a:solidFill>
                  <a:prstDash val="solid"/>
                  <a:miter/>
                </a:ln>
              </p:spPr>
              <p:txBody>
                <a:bodyPr rtlCol="0" anchor="ctr"/>
                <a:lstStyle/>
                <a:p>
                  <a:endParaRPr lang="en-GB"/>
                </a:p>
              </p:txBody>
            </p:sp>
            <p:sp>
              <p:nvSpPr>
                <p:cNvPr id="8847" name="Vrije vorm: vorm 8846">
                  <a:extLst>
                    <a:ext uri="{FF2B5EF4-FFF2-40B4-BE49-F238E27FC236}">
                      <a16:creationId xmlns:a16="http://schemas.microsoft.com/office/drawing/2014/main" id="{218C3989-75FB-4163-A099-269AF51AC44D}"/>
                    </a:ext>
                  </a:extLst>
                </p:cNvPr>
                <p:cNvSpPr/>
                <p:nvPr/>
              </p:nvSpPr>
              <p:spPr>
                <a:xfrm>
                  <a:off x="4628560" y="2599875"/>
                  <a:ext cx="49520" cy="35869"/>
                </a:xfrm>
                <a:custGeom>
                  <a:avLst/>
                  <a:gdLst>
                    <a:gd name="connsiteX0" fmla="*/ 49400 w 49520"/>
                    <a:gd name="connsiteY0" fmla="*/ 14159 h 35869"/>
                    <a:gd name="connsiteX1" fmla="*/ 239 w 49520"/>
                    <a:gd name="connsiteY1" fmla="*/ 35869 h 35869"/>
                    <a:gd name="connsiteX2" fmla="*/ 60 w 49520"/>
                    <a:gd name="connsiteY2" fmla="*/ 35869 h 35869"/>
                    <a:gd name="connsiteX3" fmla="*/ 0 w 49520"/>
                    <a:gd name="connsiteY3" fmla="*/ 35690 h 35869"/>
                    <a:gd name="connsiteX4" fmla="*/ 5323 w 49520"/>
                    <a:gd name="connsiteY4" fmla="*/ 6085 h 35869"/>
                    <a:gd name="connsiteX5" fmla="*/ 5382 w 49520"/>
                    <a:gd name="connsiteY5" fmla="*/ 5966 h 35869"/>
                    <a:gd name="connsiteX6" fmla="*/ 13217 w 49520"/>
                    <a:gd name="connsiteY6" fmla="*/ 45 h 35869"/>
                    <a:gd name="connsiteX7" fmla="*/ 13397 w 49520"/>
                    <a:gd name="connsiteY7" fmla="*/ 45 h 35869"/>
                    <a:gd name="connsiteX8" fmla="*/ 49400 w 49520"/>
                    <a:gd name="connsiteY8" fmla="*/ 13860 h 35869"/>
                    <a:gd name="connsiteX9" fmla="*/ 49520 w 49520"/>
                    <a:gd name="connsiteY9" fmla="*/ 13980 h 35869"/>
                    <a:gd name="connsiteX10" fmla="*/ 49520 w 49520"/>
                    <a:gd name="connsiteY10" fmla="*/ 14040 h 35869"/>
                    <a:gd name="connsiteX11" fmla="*/ 49400 w 49520"/>
                    <a:gd name="connsiteY11" fmla="*/ 14159 h 35869"/>
                    <a:gd name="connsiteX12" fmla="*/ 5622 w 49520"/>
                    <a:gd name="connsiteY12" fmla="*/ 6205 h 35869"/>
                    <a:gd name="connsiteX13" fmla="*/ 359 w 49520"/>
                    <a:gd name="connsiteY13" fmla="*/ 35451 h 35869"/>
                    <a:gd name="connsiteX14" fmla="*/ 48922 w 49520"/>
                    <a:gd name="connsiteY14" fmla="*/ 14040 h 35869"/>
                    <a:gd name="connsiteX15" fmla="*/ 13337 w 49520"/>
                    <a:gd name="connsiteY15" fmla="*/ 344 h 35869"/>
                    <a:gd name="connsiteX16" fmla="*/ 5622 w 49520"/>
                    <a:gd name="connsiteY16" fmla="*/ 6205 h 35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20" h="35869">
                      <a:moveTo>
                        <a:pt x="49400" y="14159"/>
                      </a:moveTo>
                      <a:lnTo>
                        <a:pt x="239" y="35869"/>
                      </a:lnTo>
                      <a:cubicBezTo>
                        <a:pt x="179" y="35869"/>
                        <a:pt x="119" y="35869"/>
                        <a:pt x="60" y="35869"/>
                      </a:cubicBezTo>
                      <a:cubicBezTo>
                        <a:pt x="0" y="35809"/>
                        <a:pt x="0" y="35750"/>
                        <a:pt x="0" y="35690"/>
                      </a:cubicBezTo>
                      <a:lnTo>
                        <a:pt x="5323" y="6085"/>
                      </a:lnTo>
                      <a:cubicBezTo>
                        <a:pt x="5323" y="6026"/>
                        <a:pt x="5323" y="6026"/>
                        <a:pt x="5382" y="5966"/>
                      </a:cubicBezTo>
                      <a:lnTo>
                        <a:pt x="13217" y="45"/>
                      </a:lnTo>
                      <a:cubicBezTo>
                        <a:pt x="13277" y="-15"/>
                        <a:pt x="13337" y="-15"/>
                        <a:pt x="13397" y="45"/>
                      </a:cubicBezTo>
                      <a:lnTo>
                        <a:pt x="49400" y="13860"/>
                      </a:lnTo>
                      <a:cubicBezTo>
                        <a:pt x="49460" y="13860"/>
                        <a:pt x="49520" y="13920"/>
                        <a:pt x="49520" y="13980"/>
                      </a:cubicBezTo>
                      <a:cubicBezTo>
                        <a:pt x="49520" y="13980"/>
                        <a:pt x="49520" y="13980"/>
                        <a:pt x="49520" y="14040"/>
                      </a:cubicBezTo>
                      <a:cubicBezTo>
                        <a:pt x="49520" y="14100"/>
                        <a:pt x="49460" y="14100"/>
                        <a:pt x="49400" y="14159"/>
                      </a:cubicBezTo>
                      <a:close/>
                      <a:moveTo>
                        <a:pt x="5622" y="6205"/>
                      </a:moveTo>
                      <a:lnTo>
                        <a:pt x="359" y="35451"/>
                      </a:lnTo>
                      <a:lnTo>
                        <a:pt x="48922" y="14040"/>
                      </a:lnTo>
                      <a:lnTo>
                        <a:pt x="13337" y="344"/>
                      </a:lnTo>
                      <a:lnTo>
                        <a:pt x="5622" y="6205"/>
                      </a:lnTo>
                      <a:close/>
                    </a:path>
                  </a:pathLst>
                </a:custGeom>
                <a:grpFill/>
                <a:ln w="6350" cap="flat">
                  <a:solidFill>
                    <a:schemeClr val="bg1">
                      <a:alpha val="40000"/>
                    </a:schemeClr>
                  </a:solidFill>
                  <a:prstDash val="solid"/>
                  <a:miter/>
                </a:ln>
              </p:spPr>
              <p:txBody>
                <a:bodyPr rtlCol="0" anchor="ctr"/>
                <a:lstStyle/>
                <a:p>
                  <a:endParaRPr lang="en-GB"/>
                </a:p>
              </p:txBody>
            </p:sp>
            <p:sp>
              <p:nvSpPr>
                <p:cNvPr id="8848" name="Vrije vorm: vorm 8847">
                  <a:extLst>
                    <a:ext uri="{FF2B5EF4-FFF2-40B4-BE49-F238E27FC236}">
                      <a16:creationId xmlns:a16="http://schemas.microsoft.com/office/drawing/2014/main" id="{D8C277BD-A255-4FFF-89E4-6D5A7A3E3809}"/>
                    </a:ext>
                  </a:extLst>
                </p:cNvPr>
                <p:cNvSpPr/>
                <p:nvPr/>
              </p:nvSpPr>
              <p:spPr>
                <a:xfrm>
                  <a:off x="4507824" y="2626833"/>
                  <a:ext cx="94659" cy="21276"/>
                </a:xfrm>
                <a:custGeom>
                  <a:avLst/>
                  <a:gdLst>
                    <a:gd name="connsiteX0" fmla="*/ 94660 w 94659"/>
                    <a:gd name="connsiteY0" fmla="*/ 179 h 21276"/>
                    <a:gd name="connsiteX1" fmla="*/ 94660 w 94659"/>
                    <a:gd name="connsiteY1" fmla="*/ 179 h 21276"/>
                    <a:gd name="connsiteX2" fmla="*/ 94480 w 94659"/>
                    <a:gd name="connsiteY2" fmla="*/ 0 h 21276"/>
                    <a:gd name="connsiteX3" fmla="*/ 69122 w 94659"/>
                    <a:gd name="connsiteY3" fmla="*/ 1914 h 21276"/>
                    <a:gd name="connsiteX4" fmla="*/ 46934 w 94659"/>
                    <a:gd name="connsiteY4" fmla="*/ 5861 h 21276"/>
                    <a:gd name="connsiteX5" fmla="*/ 26958 w 94659"/>
                    <a:gd name="connsiteY5" fmla="*/ 9031 h 21276"/>
                    <a:gd name="connsiteX6" fmla="*/ 10870 w 94659"/>
                    <a:gd name="connsiteY6" fmla="*/ 11722 h 21276"/>
                    <a:gd name="connsiteX7" fmla="*/ 10810 w 94659"/>
                    <a:gd name="connsiteY7" fmla="*/ 11782 h 21276"/>
                    <a:gd name="connsiteX8" fmla="*/ 45 w 94659"/>
                    <a:gd name="connsiteY8" fmla="*/ 20992 h 21276"/>
                    <a:gd name="connsiteX9" fmla="*/ 45 w 94659"/>
                    <a:gd name="connsiteY9" fmla="*/ 21231 h 21276"/>
                    <a:gd name="connsiteX10" fmla="*/ 284 w 94659"/>
                    <a:gd name="connsiteY10" fmla="*/ 21231 h 21276"/>
                    <a:gd name="connsiteX11" fmla="*/ 11049 w 94659"/>
                    <a:gd name="connsiteY11" fmla="*/ 12021 h 21276"/>
                    <a:gd name="connsiteX12" fmla="*/ 27078 w 94659"/>
                    <a:gd name="connsiteY12" fmla="*/ 9330 h 21276"/>
                    <a:gd name="connsiteX13" fmla="*/ 47053 w 94659"/>
                    <a:gd name="connsiteY13" fmla="*/ 6160 h 21276"/>
                    <a:gd name="connsiteX14" fmla="*/ 69242 w 94659"/>
                    <a:gd name="connsiteY14" fmla="*/ 2213 h 21276"/>
                    <a:gd name="connsiteX15" fmla="*/ 94540 w 94659"/>
                    <a:gd name="connsiteY15" fmla="*/ 299 h 21276"/>
                    <a:gd name="connsiteX16" fmla="*/ 94660 w 94659"/>
                    <a:gd name="connsiteY16" fmla="*/ 179 h 2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659" h="21276">
                      <a:moveTo>
                        <a:pt x="94660" y="179"/>
                      </a:moveTo>
                      <a:cubicBezTo>
                        <a:pt x="94660" y="179"/>
                        <a:pt x="94660" y="179"/>
                        <a:pt x="94660" y="179"/>
                      </a:cubicBezTo>
                      <a:cubicBezTo>
                        <a:pt x="94660" y="60"/>
                        <a:pt x="94600" y="0"/>
                        <a:pt x="94480" y="0"/>
                      </a:cubicBezTo>
                      <a:lnTo>
                        <a:pt x="69122" y="1914"/>
                      </a:lnTo>
                      <a:lnTo>
                        <a:pt x="46934" y="5861"/>
                      </a:lnTo>
                      <a:lnTo>
                        <a:pt x="26958" y="9031"/>
                      </a:lnTo>
                      <a:lnTo>
                        <a:pt x="10870" y="11722"/>
                      </a:lnTo>
                      <a:cubicBezTo>
                        <a:pt x="10810" y="11722"/>
                        <a:pt x="10810" y="11722"/>
                        <a:pt x="10810" y="11782"/>
                      </a:cubicBezTo>
                      <a:lnTo>
                        <a:pt x="45" y="20992"/>
                      </a:lnTo>
                      <a:cubicBezTo>
                        <a:pt x="-15" y="21052"/>
                        <a:pt x="-15" y="21172"/>
                        <a:pt x="45" y="21231"/>
                      </a:cubicBezTo>
                      <a:cubicBezTo>
                        <a:pt x="104" y="21291"/>
                        <a:pt x="224" y="21291"/>
                        <a:pt x="284" y="21231"/>
                      </a:cubicBezTo>
                      <a:lnTo>
                        <a:pt x="11049" y="12021"/>
                      </a:lnTo>
                      <a:lnTo>
                        <a:pt x="27078" y="9330"/>
                      </a:lnTo>
                      <a:lnTo>
                        <a:pt x="47053" y="6160"/>
                      </a:lnTo>
                      <a:lnTo>
                        <a:pt x="69242" y="2213"/>
                      </a:lnTo>
                      <a:lnTo>
                        <a:pt x="94540" y="299"/>
                      </a:lnTo>
                      <a:cubicBezTo>
                        <a:pt x="94600" y="359"/>
                        <a:pt x="94660" y="299"/>
                        <a:pt x="94660"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49" name="Vrije vorm: vorm 8848">
                  <a:extLst>
                    <a:ext uri="{FF2B5EF4-FFF2-40B4-BE49-F238E27FC236}">
                      <a16:creationId xmlns:a16="http://schemas.microsoft.com/office/drawing/2014/main" id="{AC0330A6-8DB2-483B-98E9-31C852F1FC79}"/>
                    </a:ext>
                  </a:extLst>
                </p:cNvPr>
                <p:cNvSpPr/>
                <p:nvPr/>
              </p:nvSpPr>
              <p:spPr>
                <a:xfrm>
                  <a:off x="4598417" y="2635505"/>
                  <a:ext cx="30501" cy="25119"/>
                </a:xfrm>
                <a:custGeom>
                  <a:avLst/>
                  <a:gdLst>
                    <a:gd name="connsiteX0" fmla="*/ 26495 w 30501"/>
                    <a:gd name="connsiteY0" fmla="*/ 25119 h 25119"/>
                    <a:gd name="connsiteX1" fmla="*/ 26375 w 30501"/>
                    <a:gd name="connsiteY1" fmla="*/ 25119 h 25119"/>
                    <a:gd name="connsiteX2" fmla="*/ 120 w 30501"/>
                    <a:gd name="connsiteY2" fmla="*/ 12560 h 25119"/>
                    <a:gd name="connsiteX3" fmla="*/ 0 w 30501"/>
                    <a:gd name="connsiteY3" fmla="*/ 12440 h 25119"/>
                    <a:gd name="connsiteX4" fmla="*/ 120 w 30501"/>
                    <a:gd name="connsiteY4" fmla="*/ 12320 h 25119"/>
                    <a:gd name="connsiteX5" fmla="*/ 30262 w 30501"/>
                    <a:gd name="connsiteY5" fmla="*/ 0 h 25119"/>
                    <a:gd name="connsiteX6" fmla="*/ 30442 w 30501"/>
                    <a:gd name="connsiteY6" fmla="*/ 0 h 25119"/>
                    <a:gd name="connsiteX7" fmla="*/ 30502 w 30501"/>
                    <a:gd name="connsiteY7" fmla="*/ 179 h 25119"/>
                    <a:gd name="connsiteX8" fmla="*/ 26614 w 30501"/>
                    <a:gd name="connsiteY8" fmla="*/ 25059 h 25119"/>
                    <a:gd name="connsiteX9" fmla="*/ 26614 w 30501"/>
                    <a:gd name="connsiteY9" fmla="*/ 25059 h 25119"/>
                    <a:gd name="connsiteX10" fmla="*/ 26495 w 30501"/>
                    <a:gd name="connsiteY10" fmla="*/ 25119 h 25119"/>
                    <a:gd name="connsiteX11" fmla="*/ 538 w 30501"/>
                    <a:gd name="connsiteY11" fmla="*/ 12380 h 25119"/>
                    <a:gd name="connsiteX12" fmla="*/ 26255 w 30501"/>
                    <a:gd name="connsiteY12" fmla="*/ 24700 h 25119"/>
                    <a:gd name="connsiteX13" fmla="*/ 30083 w 30501"/>
                    <a:gd name="connsiteY13" fmla="*/ 299 h 25119"/>
                    <a:gd name="connsiteX14" fmla="*/ 538 w 30501"/>
                    <a:gd name="connsiteY14" fmla="*/ 12380 h 2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501" h="25119">
                      <a:moveTo>
                        <a:pt x="26495" y="25119"/>
                      </a:moveTo>
                      <a:cubicBezTo>
                        <a:pt x="26435" y="25119"/>
                        <a:pt x="26375" y="25119"/>
                        <a:pt x="26375" y="25119"/>
                      </a:cubicBezTo>
                      <a:lnTo>
                        <a:pt x="120" y="12560"/>
                      </a:lnTo>
                      <a:cubicBezTo>
                        <a:pt x="60" y="12560"/>
                        <a:pt x="0" y="12500"/>
                        <a:pt x="0" y="12440"/>
                      </a:cubicBezTo>
                      <a:cubicBezTo>
                        <a:pt x="0" y="12380"/>
                        <a:pt x="60" y="12320"/>
                        <a:pt x="120" y="12320"/>
                      </a:cubicBezTo>
                      <a:lnTo>
                        <a:pt x="30262" y="0"/>
                      </a:lnTo>
                      <a:cubicBezTo>
                        <a:pt x="30322" y="0"/>
                        <a:pt x="30382" y="0"/>
                        <a:pt x="30442" y="0"/>
                      </a:cubicBezTo>
                      <a:cubicBezTo>
                        <a:pt x="30502" y="0"/>
                        <a:pt x="30502" y="120"/>
                        <a:pt x="30502" y="179"/>
                      </a:cubicBezTo>
                      <a:lnTo>
                        <a:pt x="26614" y="25059"/>
                      </a:lnTo>
                      <a:lnTo>
                        <a:pt x="26614" y="25059"/>
                      </a:lnTo>
                      <a:cubicBezTo>
                        <a:pt x="26554" y="25059"/>
                        <a:pt x="26554" y="25059"/>
                        <a:pt x="26495" y="25119"/>
                      </a:cubicBezTo>
                      <a:close/>
                      <a:moveTo>
                        <a:pt x="538" y="12380"/>
                      </a:moveTo>
                      <a:lnTo>
                        <a:pt x="26255" y="24700"/>
                      </a:lnTo>
                      <a:lnTo>
                        <a:pt x="30083" y="299"/>
                      </a:lnTo>
                      <a:lnTo>
                        <a:pt x="538" y="12380"/>
                      </a:lnTo>
                      <a:close/>
                    </a:path>
                  </a:pathLst>
                </a:custGeom>
                <a:grpFill/>
                <a:ln w="6350" cap="flat">
                  <a:solidFill>
                    <a:schemeClr val="bg1">
                      <a:alpha val="40000"/>
                    </a:schemeClr>
                  </a:solidFill>
                  <a:prstDash val="solid"/>
                  <a:miter/>
                </a:ln>
              </p:spPr>
              <p:txBody>
                <a:bodyPr rtlCol="0" anchor="ctr"/>
                <a:lstStyle/>
                <a:p>
                  <a:endParaRPr lang="en-GB"/>
                </a:p>
              </p:txBody>
            </p:sp>
            <p:sp>
              <p:nvSpPr>
                <p:cNvPr id="8850" name="Vrije vorm: vorm 8849">
                  <a:extLst>
                    <a:ext uri="{FF2B5EF4-FFF2-40B4-BE49-F238E27FC236}">
                      <a16:creationId xmlns:a16="http://schemas.microsoft.com/office/drawing/2014/main" id="{A90DBB4A-122B-4EAE-BFB1-3654DCF48BC0}"/>
                    </a:ext>
                  </a:extLst>
                </p:cNvPr>
                <p:cNvSpPr/>
                <p:nvPr/>
              </p:nvSpPr>
              <p:spPr>
                <a:xfrm>
                  <a:off x="4507869" y="2553569"/>
                  <a:ext cx="197005" cy="196705"/>
                </a:xfrm>
                <a:custGeom>
                  <a:avLst/>
                  <a:gdLst>
                    <a:gd name="connsiteX0" fmla="*/ 193596 w 197005"/>
                    <a:gd name="connsiteY0" fmla="*/ 1734 h 196705"/>
                    <a:gd name="connsiteX1" fmla="*/ 193536 w 197005"/>
                    <a:gd name="connsiteY1" fmla="*/ 1615 h 196705"/>
                    <a:gd name="connsiteX2" fmla="*/ 193356 w 197005"/>
                    <a:gd name="connsiteY2" fmla="*/ 1555 h 196705"/>
                    <a:gd name="connsiteX3" fmla="*/ 180378 w 197005"/>
                    <a:gd name="connsiteY3" fmla="*/ 0 h 196705"/>
                    <a:gd name="connsiteX4" fmla="*/ 164051 w 197005"/>
                    <a:gd name="connsiteY4" fmla="*/ 8851 h 196705"/>
                    <a:gd name="connsiteX5" fmla="*/ 154661 w 197005"/>
                    <a:gd name="connsiteY5" fmla="*/ 20693 h 196705"/>
                    <a:gd name="connsiteX6" fmla="*/ 142520 w 197005"/>
                    <a:gd name="connsiteY6" fmla="*/ 30861 h 196705"/>
                    <a:gd name="connsiteX7" fmla="*/ 128645 w 197005"/>
                    <a:gd name="connsiteY7" fmla="*/ 40968 h 196705"/>
                    <a:gd name="connsiteX8" fmla="*/ 128586 w 197005"/>
                    <a:gd name="connsiteY8" fmla="*/ 41207 h 196705"/>
                    <a:gd name="connsiteX9" fmla="*/ 128825 w 197005"/>
                    <a:gd name="connsiteY9" fmla="*/ 41267 h 196705"/>
                    <a:gd name="connsiteX10" fmla="*/ 142700 w 197005"/>
                    <a:gd name="connsiteY10" fmla="*/ 31100 h 196705"/>
                    <a:gd name="connsiteX11" fmla="*/ 154841 w 197005"/>
                    <a:gd name="connsiteY11" fmla="*/ 20933 h 196705"/>
                    <a:gd name="connsiteX12" fmla="*/ 164230 w 197005"/>
                    <a:gd name="connsiteY12" fmla="*/ 9091 h 196705"/>
                    <a:gd name="connsiteX13" fmla="*/ 180498 w 197005"/>
                    <a:gd name="connsiteY13" fmla="*/ 299 h 196705"/>
                    <a:gd name="connsiteX14" fmla="*/ 196646 w 197005"/>
                    <a:gd name="connsiteY14" fmla="*/ 2572 h 196705"/>
                    <a:gd name="connsiteX15" fmla="*/ 157113 w 197005"/>
                    <a:gd name="connsiteY15" fmla="*/ 196526 h 196705"/>
                    <a:gd name="connsiteX16" fmla="*/ 140965 w 197005"/>
                    <a:gd name="connsiteY16" fmla="*/ 192340 h 196705"/>
                    <a:gd name="connsiteX17" fmla="*/ 133789 w 197005"/>
                    <a:gd name="connsiteY17" fmla="*/ 178644 h 196705"/>
                    <a:gd name="connsiteX18" fmla="*/ 121409 w 197005"/>
                    <a:gd name="connsiteY18" fmla="*/ 159386 h 196705"/>
                    <a:gd name="connsiteX19" fmla="*/ 110823 w 197005"/>
                    <a:gd name="connsiteY19" fmla="*/ 141623 h 196705"/>
                    <a:gd name="connsiteX20" fmla="*/ 110703 w 197005"/>
                    <a:gd name="connsiteY20" fmla="*/ 141564 h 196705"/>
                    <a:gd name="connsiteX21" fmla="*/ 84926 w 197005"/>
                    <a:gd name="connsiteY21" fmla="*/ 137796 h 196705"/>
                    <a:gd name="connsiteX22" fmla="*/ 84747 w 197005"/>
                    <a:gd name="connsiteY22" fmla="*/ 137915 h 196705"/>
                    <a:gd name="connsiteX23" fmla="*/ 82175 w 197005"/>
                    <a:gd name="connsiteY23" fmla="*/ 147245 h 196705"/>
                    <a:gd name="connsiteX24" fmla="*/ 12141 w 197005"/>
                    <a:gd name="connsiteY24" fmla="*/ 115847 h 196705"/>
                    <a:gd name="connsiteX25" fmla="*/ 4725 w 197005"/>
                    <a:gd name="connsiteY25" fmla="*/ 110105 h 196705"/>
                    <a:gd name="connsiteX26" fmla="*/ 957 w 197005"/>
                    <a:gd name="connsiteY26" fmla="*/ 103586 h 196705"/>
                    <a:gd name="connsiteX27" fmla="*/ 299 w 197005"/>
                    <a:gd name="connsiteY27" fmla="*/ 94435 h 196705"/>
                    <a:gd name="connsiteX28" fmla="*/ 2990 w 197005"/>
                    <a:gd name="connsiteY28" fmla="*/ 85883 h 196705"/>
                    <a:gd name="connsiteX29" fmla="*/ 15251 w 197005"/>
                    <a:gd name="connsiteY29" fmla="*/ 79603 h 196705"/>
                    <a:gd name="connsiteX30" fmla="*/ 34030 w 197005"/>
                    <a:gd name="connsiteY30" fmla="*/ 73264 h 196705"/>
                    <a:gd name="connsiteX31" fmla="*/ 52451 w 197005"/>
                    <a:gd name="connsiteY31" fmla="*/ 68958 h 196705"/>
                    <a:gd name="connsiteX32" fmla="*/ 69615 w 197005"/>
                    <a:gd name="connsiteY32" fmla="*/ 63515 h 196705"/>
                    <a:gd name="connsiteX33" fmla="*/ 69735 w 197005"/>
                    <a:gd name="connsiteY33" fmla="*/ 63396 h 196705"/>
                    <a:gd name="connsiteX34" fmla="*/ 76673 w 197005"/>
                    <a:gd name="connsiteY34" fmla="*/ 41147 h 196705"/>
                    <a:gd name="connsiteX35" fmla="*/ 76673 w 197005"/>
                    <a:gd name="connsiteY35" fmla="*/ 41088 h 196705"/>
                    <a:gd name="connsiteX36" fmla="*/ 75836 w 197005"/>
                    <a:gd name="connsiteY36" fmla="*/ 34449 h 196705"/>
                    <a:gd name="connsiteX37" fmla="*/ 75716 w 197005"/>
                    <a:gd name="connsiteY37" fmla="*/ 34329 h 196705"/>
                    <a:gd name="connsiteX38" fmla="*/ 65967 w 197005"/>
                    <a:gd name="connsiteY38" fmla="*/ 31399 h 196705"/>
                    <a:gd name="connsiteX39" fmla="*/ 37260 w 197005"/>
                    <a:gd name="connsiteY39" fmla="*/ 28289 h 196705"/>
                    <a:gd name="connsiteX40" fmla="*/ 38396 w 197005"/>
                    <a:gd name="connsiteY40" fmla="*/ 21411 h 196705"/>
                    <a:gd name="connsiteX41" fmla="*/ 108311 w 197005"/>
                    <a:gd name="connsiteY41" fmla="*/ 26734 h 196705"/>
                    <a:gd name="connsiteX42" fmla="*/ 105021 w 197005"/>
                    <a:gd name="connsiteY42" fmla="*/ 36841 h 196705"/>
                    <a:gd name="connsiteX43" fmla="*/ 105141 w 197005"/>
                    <a:gd name="connsiteY43" fmla="*/ 37021 h 196705"/>
                    <a:gd name="connsiteX44" fmla="*/ 105320 w 197005"/>
                    <a:gd name="connsiteY44" fmla="*/ 36901 h 196705"/>
                    <a:gd name="connsiteX45" fmla="*/ 108670 w 197005"/>
                    <a:gd name="connsiteY45" fmla="*/ 26614 h 196705"/>
                    <a:gd name="connsiteX46" fmla="*/ 108670 w 197005"/>
                    <a:gd name="connsiteY46" fmla="*/ 26495 h 196705"/>
                    <a:gd name="connsiteX47" fmla="*/ 108550 w 197005"/>
                    <a:gd name="connsiteY47" fmla="*/ 26435 h 196705"/>
                    <a:gd name="connsiteX48" fmla="*/ 38276 w 197005"/>
                    <a:gd name="connsiteY48" fmla="*/ 21052 h 196705"/>
                    <a:gd name="connsiteX49" fmla="*/ 38097 w 197005"/>
                    <a:gd name="connsiteY49" fmla="*/ 21172 h 196705"/>
                    <a:gd name="connsiteX50" fmla="*/ 38097 w 197005"/>
                    <a:gd name="connsiteY50" fmla="*/ 21172 h 196705"/>
                    <a:gd name="connsiteX51" fmla="*/ 36901 w 197005"/>
                    <a:gd name="connsiteY51" fmla="*/ 28349 h 196705"/>
                    <a:gd name="connsiteX52" fmla="*/ 36901 w 197005"/>
                    <a:gd name="connsiteY52" fmla="*/ 28468 h 196705"/>
                    <a:gd name="connsiteX53" fmla="*/ 37020 w 197005"/>
                    <a:gd name="connsiteY53" fmla="*/ 28528 h 196705"/>
                    <a:gd name="connsiteX54" fmla="*/ 65847 w 197005"/>
                    <a:gd name="connsiteY54" fmla="*/ 31638 h 196705"/>
                    <a:gd name="connsiteX55" fmla="*/ 75477 w 197005"/>
                    <a:gd name="connsiteY55" fmla="*/ 34569 h 196705"/>
                    <a:gd name="connsiteX56" fmla="*/ 76314 w 197005"/>
                    <a:gd name="connsiteY56" fmla="*/ 41028 h 196705"/>
                    <a:gd name="connsiteX57" fmla="*/ 69376 w 197005"/>
                    <a:gd name="connsiteY57" fmla="*/ 63156 h 196705"/>
                    <a:gd name="connsiteX58" fmla="*/ 52331 w 197005"/>
                    <a:gd name="connsiteY58" fmla="*/ 68539 h 196705"/>
                    <a:gd name="connsiteX59" fmla="*/ 33911 w 197005"/>
                    <a:gd name="connsiteY59" fmla="*/ 72845 h 196705"/>
                    <a:gd name="connsiteX60" fmla="*/ 15131 w 197005"/>
                    <a:gd name="connsiteY60" fmla="*/ 79185 h 196705"/>
                    <a:gd name="connsiteX61" fmla="*/ 2811 w 197005"/>
                    <a:gd name="connsiteY61" fmla="*/ 85524 h 196705"/>
                    <a:gd name="connsiteX62" fmla="*/ 2751 w 197005"/>
                    <a:gd name="connsiteY62" fmla="*/ 85644 h 196705"/>
                    <a:gd name="connsiteX63" fmla="*/ 0 w 197005"/>
                    <a:gd name="connsiteY63" fmla="*/ 94256 h 196705"/>
                    <a:gd name="connsiteX64" fmla="*/ 0 w 197005"/>
                    <a:gd name="connsiteY64" fmla="*/ 94316 h 196705"/>
                    <a:gd name="connsiteX65" fmla="*/ 658 w 197005"/>
                    <a:gd name="connsiteY65" fmla="*/ 103526 h 196705"/>
                    <a:gd name="connsiteX66" fmla="*/ 658 w 197005"/>
                    <a:gd name="connsiteY66" fmla="*/ 103586 h 196705"/>
                    <a:gd name="connsiteX67" fmla="*/ 4486 w 197005"/>
                    <a:gd name="connsiteY67" fmla="*/ 110165 h 196705"/>
                    <a:gd name="connsiteX68" fmla="*/ 4545 w 197005"/>
                    <a:gd name="connsiteY68" fmla="*/ 110225 h 196705"/>
                    <a:gd name="connsiteX69" fmla="*/ 12021 w 197005"/>
                    <a:gd name="connsiteY69" fmla="*/ 115966 h 196705"/>
                    <a:gd name="connsiteX70" fmla="*/ 82235 w 197005"/>
                    <a:gd name="connsiteY70" fmla="*/ 147425 h 196705"/>
                    <a:gd name="connsiteX71" fmla="*/ 82354 w 197005"/>
                    <a:gd name="connsiteY71" fmla="*/ 147425 h 196705"/>
                    <a:gd name="connsiteX72" fmla="*/ 82414 w 197005"/>
                    <a:gd name="connsiteY72" fmla="*/ 147305 h 196705"/>
                    <a:gd name="connsiteX73" fmla="*/ 84986 w 197005"/>
                    <a:gd name="connsiteY73" fmla="*/ 137915 h 196705"/>
                    <a:gd name="connsiteX74" fmla="*/ 110524 w 197005"/>
                    <a:gd name="connsiteY74" fmla="*/ 141623 h 196705"/>
                    <a:gd name="connsiteX75" fmla="*/ 121110 w 197005"/>
                    <a:gd name="connsiteY75" fmla="*/ 159326 h 196705"/>
                    <a:gd name="connsiteX76" fmla="*/ 133489 w 197005"/>
                    <a:gd name="connsiteY76" fmla="*/ 178644 h 196705"/>
                    <a:gd name="connsiteX77" fmla="*/ 140666 w 197005"/>
                    <a:gd name="connsiteY77" fmla="*/ 192400 h 196705"/>
                    <a:gd name="connsiteX78" fmla="*/ 153585 w 197005"/>
                    <a:gd name="connsiteY78" fmla="*/ 196168 h 196705"/>
                    <a:gd name="connsiteX79" fmla="*/ 153764 w 197005"/>
                    <a:gd name="connsiteY79" fmla="*/ 196227 h 196705"/>
                    <a:gd name="connsiteX80" fmla="*/ 157353 w 197005"/>
                    <a:gd name="connsiteY80" fmla="*/ 196706 h 196705"/>
                    <a:gd name="connsiteX81" fmla="*/ 197005 w 197005"/>
                    <a:gd name="connsiteY81" fmla="*/ 2213 h 196705"/>
                    <a:gd name="connsiteX82" fmla="*/ 193596 w 197005"/>
                    <a:gd name="connsiteY82" fmla="*/ 1734 h 19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97005" h="196705">
                      <a:moveTo>
                        <a:pt x="193596" y="1734"/>
                      </a:moveTo>
                      <a:cubicBezTo>
                        <a:pt x="193596" y="1675"/>
                        <a:pt x="193596" y="1615"/>
                        <a:pt x="193536" y="1615"/>
                      </a:cubicBezTo>
                      <a:cubicBezTo>
                        <a:pt x="193476" y="1555"/>
                        <a:pt x="193416" y="1555"/>
                        <a:pt x="193356" y="1555"/>
                      </a:cubicBezTo>
                      <a:lnTo>
                        <a:pt x="180378" y="0"/>
                      </a:lnTo>
                      <a:lnTo>
                        <a:pt x="164051" y="8851"/>
                      </a:lnTo>
                      <a:lnTo>
                        <a:pt x="154661" y="20693"/>
                      </a:lnTo>
                      <a:lnTo>
                        <a:pt x="142520" y="30861"/>
                      </a:lnTo>
                      <a:lnTo>
                        <a:pt x="128645" y="40968"/>
                      </a:lnTo>
                      <a:cubicBezTo>
                        <a:pt x="128586" y="41028"/>
                        <a:pt x="128586" y="41147"/>
                        <a:pt x="128586" y="41207"/>
                      </a:cubicBezTo>
                      <a:cubicBezTo>
                        <a:pt x="128645" y="41267"/>
                        <a:pt x="128765" y="41267"/>
                        <a:pt x="128825" y="41267"/>
                      </a:cubicBezTo>
                      <a:lnTo>
                        <a:pt x="142700" y="31100"/>
                      </a:lnTo>
                      <a:lnTo>
                        <a:pt x="154841" y="20933"/>
                      </a:lnTo>
                      <a:lnTo>
                        <a:pt x="164230" y="9091"/>
                      </a:lnTo>
                      <a:lnTo>
                        <a:pt x="180498" y="299"/>
                      </a:lnTo>
                      <a:lnTo>
                        <a:pt x="196646" y="2572"/>
                      </a:lnTo>
                      <a:lnTo>
                        <a:pt x="157113" y="196526"/>
                      </a:lnTo>
                      <a:lnTo>
                        <a:pt x="140965" y="192340"/>
                      </a:lnTo>
                      <a:lnTo>
                        <a:pt x="133789" y="178644"/>
                      </a:lnTo>
                      <a:lnTo>
                        <a:pt x="121409" y="159386"/>
                      </a:lnTo>
                      <a:lnTo>
                        <a:pt x="110823" y="141623"/>
                      </a:lnTo>
                      <a:cubicBezTo>
                        <a:pt x="110823" y="141564"/>
                        <a:pt x="110763" y="141564"/>
                        <a:pt x="110703" y="141564"/>
                      </a:cubicBezTo>
                      <a:lnTo>
                        <a:pt x="84926" y="137796"/>
                      </a:lnTo>
                      <a:cubicBezTo>
                        <a:pt x="84866" y="137796"/>
                        <a:pt x="84747" y="137856"/>
                        <a:pt x="84747" y="137915"/>
                      </a:cubicBezTo>
                      <a:lnTo>
                        <a:pt x="82175" y="147245"/>
                      </a:lnTo>
                      <a:lnTo>
                        <a:pt x="12141" y="115847"/>
                      </a:lnTo>
                      <a:lnTo>
                        <a:pt x="4725" y="110105"/>
                      </a:lnTo>
                      <a:lnTo>
                        <a:pt x="957" y="103586"/>
                      </a:lnTo>
                      <a:lnTo>
                        <a:pt x="299" y="94435"/>
                      </a:lnTo>
                      <a:lnTo>
                        <a:pt x="2990" y="85883"/>
                      </a:lnTo>
                      <a:lnTo>
                        <a:pt x="15251" y="79603"/>
                      </a:lnTo>
                      <a:lnTo>
                        <a:pt x="34030" y="73264"/>
                      </a:lnTo>
                      <a:lnTo>
                        <a:pt x="52451" y="68958"/>
                      </a:lnTo>
                      <a:lnTo>
                        <a:pt x="69615" y="63515"/>
                      </a:lnTo>
                      <a:cubicBezTo>
                        <a:pt x="69675" y="63515"/>
                        <a:pt x="69735" y="63455"/>
                        <a:pt x="69735" y="63396"/>
                      </a:cubicBezTo>
                      <a:lnTo>
                        <a:pt x="76673" y="41147"/>
                      </a:lnTo>
                      <a:cubicBezTo>
                        <a:pt x="76673" y="41147"/>
                        <a:pt x="76673" y="41088"/>
                        <a:pt x="76673" y="41088"/>
                      </a:cubicBezTo>
                      <a:lnTo>
                        <a:pt x="75836" y="34449"/>
                      </a:lnTo>
                      <a:cubicBezTo>
                        <a:pt x="75836" y="34389"/>
                        <a:pt x="75776" y="34329"/>
                        <a:pt x="75716" y="34329"/>
                      </a:cubicBezTo>
                      <a:lnTo>
                        <a:pt x="65967" y="31399"/>
                      </a:lnTo>
                      <a:lnTo>
                        <a:pt x="37260" y="28289"/>
                      </a:lnTo>
                      <a:lnTo>
                        <a:pt x="38396" y="21411"/>
                      </a:lnTo>
                      <a:lnTo>
                        <a:pt x="108311" y="26734"/>
                      </a:lnTo>
                      <a:lnTo>
                        <a:pt x="105021" y="36841"/>
                      </a:lnTo>
                      <a:cubicBezTo>
                        <a:pt x="105021" y="36901"/>
                        <a:pt x="105021" y="37021"/>
                        <a:pt x="105141" y="37021"/>
                      </a:cubicBezTo>
                      <a:cubicBezTo>
                        <a:pt x="105201" y="37021"/>
                        <a:pt x="105320" y="37021"/>
                        <a:pt x="105320" y="36901"/>
                      </a:cubicBezTo>
                      <a:lnTo>
                        <a:pt x="108670" y="26614"/>
                      </a:lnTo>
                      <a:cubicBezTo>
                        <a:pt x="108670" y="26554"/>
                        <a:pt x="108670" y="26495"/>
                        <a:pt x="108670" y="26495"/>
                      </a:cubicBezTo>
                      <a:cubicBezTo>
                        <a:pt x="108670" y="26435"/>
                        <a:pt x="108610" y="26435"/>
                        <a:pt x="108550" y="26435"/>
                      </a:cubicBezTo>
                      <a:lnTo>
                        <a:pt x="38276" y="21052"/>
                      </a:lnTo>
                      <a:cubicBezTo>
                        <a:pt x="38217" y="21052"/>
                        <a:pt x="38097" y="21112"/>
                        <a:pt x="38097" y="21172"/>
                      </a:cubicBezTo>
                      <a:cubicBezTo>
                        <a:pt x="38097" y="21172"/>
                        <a:pt x="38097" y="21172"/>
                        <a:pt x="38097" y="21172"/>
                      </a:cubicBezTo>
                      <a:lnTo>
                        <a:pt x="36901" y="28349"/>
                      </a:lnTo>
                      <a:cubicBezTo>
                        <a:pt x="36901" y="28408"/>
                        <a:pt x="36901" y="28408"/>
                        <a:pt x="36901" y="28468"/>
                      </a:cubicBezTo>
                      <a:cubicBezTo>
                        <a:pt x="36901" y="28528"/>
                        <a:pt x="36961" y="28528"/>
                        <a:pt x="37020" y="28528"/>
                      </a:cubicBezTo>
                      <a:lnTo>
                        <a:pt x="65847" y="31638"/>
                      </a:lnTo>
                      <a:lnTo>
                        <a:pt x="75477" y="34569"/>
                      </a:lnTo>
                      <a:lnTo>
                        <a:pt x="76314" y="41028"/>
                      </a:lnTo>
                      <a:lnTo>
                        <a:pt x="69376" y="63156"/>
                      </a:lnTo>
                      <a:lnTo>
                        <a:pt x="52331" y="68539"/>
                      </a:lnTo>
                      <a:lnTo>
                        <a:pt x="33911" y="72845"/>
                      </a:lnTo>
                      <a:lnTo>
                        <a:pt x="15131" y="79185"/>
                      </a:lnTo>
                      <a:lnTo>
                        <a:pt x="2811" y="85524"/>
                      </a:lnTo>
                      <a:cubicBezTo>
                        <a:pt x="2751" y="85524"/>
                        <a:pt x="2751" y="85584"/>
                        <a:pt x="2751" y="85644"/>
                      </a:cubicBezTo>
                      <a:lnTo>
                        <a:pt x="0" y="94256"/>
                      </a:lnTo>
                      <a:cubicBezTo>
                        <a:pt x="0" y="94256"/>
                        <a:pt x="0" y="94316"/>
                        <a:pt x="0" y="94316"/>
                      </a:cubicBezTo>
                      <a:lnTo>
                        <a:pt x="658" y="103526"/>
                      </a:lnTo>
                      <a:cubicBezTo>
                        <a:pt x="658" y="103526"/>
                        <a:pt x="658" y="103586"/>
                        <a:pt x="658" y="103586"/>
                      </a:cubicBezTo>
                      <a:lnTo>
                        <a:pt x="4486" y="110165"/>
                      </a:lnTo>
                      <a:cubicBezTo>
                        <a:pt x="4486" y="110165"/>
                        <a:pt x="4486" y="110225"/>
                        <a:pt x="4545" y="110225"/>
                      </a:cubicBezTo>
                      <a:lnTo>
                        <a:pt x="12021" y="115966"/>
                      </a:lnTo>
                      <a:lnTo>
                        <a:pt x="82235" y="147425"/>
                      </a:lnTo>
                      <a:cubicBezTo>
                        <a:pt x="82294" y="147425"/>
                        <a:pt x="82354" y="147425"/>
                        <a:pt x="82354" y="147425"/>
                      </a:cubicBezTo>
                      <a:cubicBezTo>
                        <a:pt x="82414" y="147425"/>
                        <a:pt x="82414" y="147365"/>
                        <a:pt x="82414" y="147305"/>
                      </a:cubicBezTo>
                      <a:lnTo>
                        <a:pt x="84986" y="137915"/>
                      </a:lnTo>
                      <a:lnTo>
                        <a:pt x="110524" y="141623"/>
                      </a:lnTo>
                      <a:lnTo>
                        <a:pt x="121110" y="159326"/>
                      </a:lnTo>
                      <a:lnTo>
                        <a:pt x="133489" y="178644"/>
                      </a:lnTo>
                      <a:lnTo>
                        <a:pt x="140666" y="192400"/>
                      </a:lnTo>
                      <a:lnTo>
                        <a:pt x="153585" y="196168"/>
                      </a:lnTo>
                      <a:cubicBezTo>
                        <a:pt x="153644" y="196227"/>
                        <a:pt x="153704" y="196227"/>
                        <a:pt x="153764" y="196227"/>
                      </a:cubicBezTo>
                      <a:cubicBezTo>
                        <a:pt x="153824" y="196227"/>
                        <a:pt x="153884" y="196168"/>
                        <a:pt x="157353" y="196706"/>
                      </a:cubicBezTo>
                      <a:lnTo>
                        <a:pt x="197005" y="2213"/>
                      </a:lnTo>
                      <a:cubicBezTo>
                        <a:pt x="197065" y="2332"/>
                        <a:pt x="193596" y="1734"/>
                        <a:pt x="193596" y="173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51" name="Vrije vorm: vorm 8850">
                  <a:extLst>
                    <a:ext uri="{FF2B5EF4-FFF2-40B4-BE49-F238E27FC236}">
                      <a16:creationId xmlns:a16="http://schemas.microsoft.com/office/drawing/2014/main" id="{884225B6-C12D-4950-916F-778A7A6AE997}"/>
                    </a:ext>
                  </a:extLst>
                </p:cNvPr>
                <p:cNvSpPr/>
                <p:nvPr/>
              </p:nvSpPr>
              <p:spPr>
                <a:xfrm>
                  <a:off x="4357813" y="2486346"/>
                  <a:ext cx="64319" cy="139410"/>
                </a:xfrm>
                <a:custGeom>
                  <a:avLst/>
                  <a:gdLst>
                    <a:gd name="connsiteX0" fmla="*/ 64293 w 64319"/>
                    <a:gd name="connsiteY0" fmla="*/ 105261 h 139410"/>
                    <a:gd name="connsiteX1" fmla="*/ 48025 w 64319"/>
                    <a:gd name="connsiteY1" fmla="*/ 115966 h 139410"/>
                    <a:gd name="connsiteX2" fmla="*/ 26794 w 64319"/>
                    <a:gd name="connsiteY2" fmla="*/ 129243 h 139410"/>
                    <a:gd name="connsiteX3" fmla="*/ 7296 w 64319"/>
                    <a:gd name="connsiteY3" fmla="*/ 139411 h 139410"/>
                    <a:gd name="connsiteX4" fmla="*/ 7117 w 64319"/>
                    <a:gd name="connsiteY4" fmla="*/ 139411 h 139410"/>
                    <a:gd name="connsiteX5" fmla="*/ 7057 w 64319"/>
                    <a:gd name="connsiteY5" fmla="*/ 139291 h 139410"/>
                    <a:gd name="connsiteX6" fmla="*/ 0 w 64319"/>
                    <a:gd name="connsiteY6" fmla="*/ 5144 h 139410"/>
                    <a:gd name="connsiteX7" fmla="*/ 60 w 64319"/>
                    <a:gd name="connsiteY7" fmla="*/ 5024 h 139410"/>
                    <a:gd name="connsiteX8" fmla="*/ 5742 w 64319"/>
                    <a:gd name="connsiteY8" fmla="*/ 60 h 139410"/>
                    <a:gd name="connsiteX9" fmla="*/ 5861 w 64319"/>
                    <a:gd name="connsiteY9" fmla="*/ 0 h 139410"/>
                    <a:gd name="connsiteX10" fmla="*/ 5981 w 64319"/>
                    <a:gd name="connsiteY10" fmla="*/ 60 h 139410"/>
                    <a:gd name="connsiteX11" fmla="*/ 64293 w 64319"/>
                    <a:gd name="connsiteY11" fmla="*/ 105022 h 139410"/>
                    <a:gd name="connsiteX12" fmla="*/ 64293 w 64319"/>
                    <a:gd name="connsiteY12" fmla="*/ 105141 h 139410"/>
                    <a:gd name="connsiteX13" fmla="*/ 64293 w 64319"/>
                    <a:gd name="connsiteY13" fmla="*/ 105261 h 139410"/>
                    <a:gd name="connsiteX14" fmla="*/ 359 w 64319"/>
                    <a:gd name="connsiteY14" fmla="*/ 5203 h 139410"/>
                    <a:gd name="connsiteX15" fmla="*/ 7416 w 64319"/>
                    <a:gd name="connsiteY15" fmla="*/ 138992 h 139410"/>
                    <a:gd name="connsiteX16" fmla="*/ 26674 w 64319"/>
                    <a:gd name="connsiteY16" fmla="*/ 128945 h 139410"/>
                    <a:gd name="connsiteX17" fmla="*/ 47906 w 64319"/>
                    <a:gd name="connsiteY17" fmla="*/ 115727 h 139410"/>
                    <a:gd name="connsiteX18" fmla="*/ 64054 w 64319"/>
                    <a:gd name="connsiteY18" fmla="*/ 105081 h 139410"/>
                    <a:gd name="connsiteX19" fmla="*/ 5921 w 64319"/>
                    <a:gd name="connsiteY19" fmla="*/ 419 h 139410"/>
                    <a:gd name="connsiteX20" fmla="*/ 359 w 64319"/>
                    <a:gd name="connsiteY20" fmla="*/ 5203 h 13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319" h="139410">
                      <a:moveTo>
                        <a:pt x="64293" y="105261"/>
                      </a:moveTo>
                      <a:lnTo>
                        <a:pt x="48025" y="115966"/>
                      </a:lnTo>
                      <a:lnTo>
                        <a:pt x="26794" y="129243"/>
                      </a:lnTo>
                      <a:lnTo>
                        <a:pt x="7296" y="139411"/>
                      </a:lnTo>
                      <a:cubicBezTo>
                        <a:pt x="7237" y="139411"/>
                        <a:pt x="7177" y="139411"/>
                        <a:pt x="7117" y="139411"/>
                      </a:cubicBezTo>
                      <a:cubicBezTo>
                        <a:pt x="7057" y="139411"/>
                        <a:pt x="7057" y="139351"/>
                        <a:pt x="7057" y="139291"/>
                      </a:cubicBezTo>
                      <a:lnTo>
                        <a:pt x="0" y="5144"/>
                      </a:lnTo>
                      <a:cubicBezTo>
                        <a:pt x="0" y="5084"/>
                        <a:pt x="0" y="5024"/>
                        <a:pt x="60" y="5024"/>
                      </a:cubicBezTo>
                      <a:lnTo>
                        <a:pt x="5742" y="60"/>
                      </a:lnTo>
                      <a:cubicBezTo>
                        <a:pt x="5801" y="0"/>
                        <a:pt x="5801" y="0"/>
                        <a:pt x="5861" y="0"/>
                      </a:cubicBezTo>
                      <a:cubicBezTo>
                        <a:pt x="5921" y="0"/>
                        <a:pt x="5981" y="60"/>
                        <a:pt x="5981" y="60"/>
                      </a:cubicBezTo>
                      <a:lnTo>
                        <a:pt x="64293" y="105022"/>
                      </a:lnTo>
                      <a:cubicBezTo>
                        <a:pt x="64293" y="105081"/>
                        <a:pt x="64293" y="105081"/>
                        <a:pt x="64293" y="105141"/>
                      </a:cubicBezTo>
                      <a:cubicBezTo>
                        <a:pt x="64353" y="105201"/>
                        <a:pt x="64293" y="105201"/>
                        <a:pt x="64293" y="105261"/>
                      </a:cubicBezTo>
                      <a:close/>
                      <a:moveTo>
                        <a:pt x="359" y="5203"/>
                      </a:moveTo>
                      <a:lnTo>
                        <a:pt x="7416" y="138992"/>
                      </a:lnTo>
                      <a:lnTo>
                        <a:pt x="26674" y="128945"/>
                      </a:lnTo>
                      <a:lnTo>
                        <a:pt x="47906" y="115727"/>
                      </a:lnTo>
                      <a:lnTo>
                        <a:pt x="64054" y="105081"/>
                      </a:lnTo>
                      <a:lnTo>
                        <a:pt x="5921" y="419"/>
                      </a:lnTo>
                      <a:lnTo>
                        <a:pt x="359" y="5203"/>
                      </a:lnTo>
                      <a:close/>
                    </a:path>
                  </a:pathLst>
                </a:custGeom>
                <a:grpFill/>
                <a:ln w="6350" cap="flat">
                  <a:solidFill>
                    <a:schemeClr val="bg1">
                      <a:alpha val="40000"/>
                    </a:schemeClr>
                  </a:solidFill>
                  <a:prstDash val="solid"/>
                  <a:miter/>
                </a:ln>
              </p:spPr>
              <p:txBody>
                <a:bodyPr rtlCol="0" anchor="ctr"/>
                <a:lstStyle/>
                <a:p>
                  <a:endParaRPr lang="en-GB"/>
                </a:p>
              </p:txBody>
            </p:sp>
            <p:sp>
              <p:nvSpPr>
                <p:cNvPr id="8852" name="Vrije vorm: vorm 8851">
                  <a:extLst>
                    <a:ext uri="{FF2B5EF4-FFF2-40B4-BE49-F238E27FC236}">
                      <a16:creationId xmlns:a16="http://schemas.microsoft.com/office/drawing/2014/main" id="{136E2DE1-0DEA-497E-A742-6F1B1F4BBD80}"/>
                    </a:ext>
                  </a:extLst>
                </p:cNvPr>
                <p:cNvSpPr/>
                <p:nvPr/>
              </p:nvSpPr>
              <p:spPr>
                <a:xfrm>
                  <a:off x="4374334" y="2457414"/>
                  <a:ext cx="16970" cy="14563"/>
                </a:xfrm>
                <a:custGeom>
                  <a:avLst/>
                  <a:gdLst>
                    <a:gd name="connsiteX0" fmla="*/ 16970 w 16970"/>
                    <a:gd name="connsiteY0" fmla="*/ 14458 h 14563"/>
                    <a:gd name="connsiteX1" fmla="*/ 16911 w 16970"/>
                    <a:gd name="connsiteY1" fmla="*/ 14279 h 14563"/>
                    <a:gd name="connsiteX2" fmla="*/ 284 w 16970"/>
                    <a:gd name="connsiteY2" fmla="*/ 45 h 14563"/>
                    <a:gd name="connsiteX3" fmla="*/ 45 w 16970"/>
                    <a:gd name="connsiteY3" fmla="*/ 45 h 14563"/>
                    <a:gd name="connsiteX4" fmla="*/ 45 w 16970"/>
                    <a:gd name="connsiteY4" fmla="*/ 284 h 14563"/>
                    <a:gd name="connsiteX5" fmla="*/ 16671 w 16970"/>
                    <a:gd name="connsiteY5" fmla="*/ 14518 h 14563"/>
                    <a:gd name="connsiteX6" fmla="*/ 16911 w 16970"/>
                    <a:gd name="connsiteY6" fmla="*/ 14518 h 14563"/>
                    <a:gd name="connsiteX7" fmla="*/ 16970 w 16970"/>
                    <a:gd name="connsiteY7" fmla="*/ 14458 h 1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0" h="14563">
                      <a:moveTo>
                        <a:pt x="16970" y="14458"/>
                      </a:moveTo>
                      <a:cubicBezTo>
                        <a:pt x="16970" y="14399"/>
                        <a:pt x="16970" y="14339"/>
                        <a:pt x="16911" y="14279"/>
                      </a:cubicBezTo>
                      <a:lnTo>
                        <a:pt x="284" y="45"/>
                      </a:lnTo>
                      <a:cubicBezTo>
                        <a:pt x="224" y="-15"/>
                        <a:pt x="104" y="-15"/>
                        <a:pt x="45" y="45"/>
                      </a:cubicBezTo>
                      <a:cubicBezTo>
                        <a:pt x="-15" y="105"/>
                        <a:pt x="-15" y="224"/>
                        <a:pt x="45" y="284"/>
                      </a:cubicBezTo>
                      <a:lnTo>
                        <a:pt x="16671" y="14518"/>
                      </a:lnTo>
                      <a:cubicBezTo>
                        <a:pt x="16731" y="14578"/>
                        <a:pt x="16851" y="14578"/>
                        <a:pt x="16911" y="14518"/>
                      </a:cubicBezTo>
                      <a:cubicBezTo>
                        <a:pt x="16970" y="14518"/>
                        <a:pt x="16970" y="14518"/>
                        <a:pt x="16970" y="1445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53" name="Vrije vorm: vorm 8852">
                  <a:extLst>
                    <a:ext uri="{FF2B5EF4-FFF2-40B4-BE49-F238E27FC236}">
                      <a16:creationId xmlns:a16="http://schemas.microsoft.com/office/drawing/2014/main" id="{5C0F482D-331A-4BB2-968C-8BFD30B2203B}"/>
                    </a:ext>
                  </a:extLst>
                </p:cNvPr>
                <p:cNvSpPr/>
                <p:nvPr/>
              </p:nvSpPr>
              <p:spPr>
                <a:xfrm>
                  <a:off x="4345746" y="2449818"/>
                  <a:ext cx="23250" cy="22711"/>
                </a:xfrm>
                <a:custGeom>
                  <a:avLst/>
                  <a:gdLst>
                    <a:gd name="connsiteX0" fmla="*/ 23190 w 23250"/>
                    <a:gd name="connsiteY0" fmla="*/ 12844 h 22711"/>
                    <a:gd name="connsiteX1" fmla="*/ 23130 w 23250"/>
                    <a:gd name="connsiteY1" fmla="*/ 12724 h 22711"/>
                    <a:gd name="connsiteX2" fmla="*/ 10631 w 23250"/>
                    <a:gd name="connsiteY2" fmla="*/ 45 h 22711"/>
                    <a:gd name="connsiteX3" fmla="*/ 10391 w 23250"/>
                    <a:gd name="connsiteY3" fmla="*/ 45 h 22711"/>
                    <a:gd name="connsiteX4" fmla="*/ 45 w 23250"/>
                    <a:gd name="connsiteY4" fmla="*/ 8597 h 22711"/>
                    <a:gd name="connsiteX5" fmla="*/ 45 w 23250"/>
                    <a:gd name="connsiteY5" fmla="*/ 8837 h 22711"/>
                    <a:gd name="connsiteX6" fmla="*/ 9973 w 23250"/>
                    <a:gd name="connsiteY6" fmla="*/ 22652 h 22711"/>
                    <a:gd name="connsiteX7" fmla="*/ 10212 w 23250"/>
                    <a:gd name="connsiteY7" fmla="*/ 22712 h 22711"/>
                    <a:gd name="connsiteX8" fmla="*/ 10272 w 23250"/>
                    <a:gd name="connsiteY8" fmla="*/ 22473 h 22711"/>
                    <a:gd name="connsiteX9" fmla="*/ 464 w 23250"/>
                    <a:gd name="connsiteY9" fmla="*/ 8777 h 22711"/>
                    <a:gd name="connsiteX10" fmla="*/ 10571 w 23250"/>
                    <a:gd name="connsiteY10" fmla="*/ 404 h 22711"/>
                    <a:gd name="connsiteX11" fmla="*/ 23011 w 23250"/>
                    <a:gd name="connsiteY11" fmla="*/ 12963 h 22711"/>
                    <a:gd name="connsiteX12" fmla="*/ 23250 w 23250"/>
                    <a:gd name="connsiteY12" fmla="*/ 12963 h 22711"/>
                    <a:gd name="connsiteX13" fmla="*/ 23190 w 23250"/>
                    <a:gd name="connsiteY13" fmla="*/ 12844 h 2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250" h="22711">
                      <a:moveTo>
                        <a:pt x="23190" y="12844"/>
                      </a:moveTo>
                      <a:cubicBezTo>
                        <a:pt x="23190" y="12784"/>
                        <a:pt x="23190" y="12724"/>
                        <a:pt x="23130" y="12724"/>
                      </a:cubicBezTo>
                      <a:lnTo>
                        <a:pt x="10631" y="45"/>
                      </a:lnTo>
                      <a:cubicBezTo>
                        <a:pt x="10571" y="-15"/>
                        <a:pt x="10451" y="-15"/>
                        <a:pt x="10391" y="45"/>
                      </a:cubicBezTo>
                      <a:lnTo>
                        <a:pt x="45" y="8597"/>
                      </a:lnTo>
                      <a:cubicBezTo>
                        <a:pt x="-15" y="8657"/>
                        <a:pt x="-15" y="8777"/>
                        <a:pt x="45" y="8837"/>
                      </a:cubicBezTo>
                      <a:lnTo>
                        <a:pt x="9973" y="22652"/>
                      </a:lnTo>
                      <a:cubicBezTo>
                        <a:pt x="10033" y="22712"/>
                        <a:pt x="10152" y="22712"/>
                        <a:pt x="10212" y="22712"/>
                      </a:cubicBezTo>
                      <a:cubicBezTo>
                        <a:pt x="10272" y="22652"/>
                        <a:pt x="10272" y="22532"/>
                        <a:pt x="10272" y="22473"/>
                      </a:cubicBezTo>
                      <a:lnTo>
                        <a:pt x="464" y="8777"/>
                      </a:lnTo>
                      <a:lnTo>
                        <a:pt x="10571" y="404"/>
                      </a:lnTo>
                      <a:lnTo>
                        <a:pt x="23011" y="12963"/>
                      </a:lnTo>
                      <a:cubicBezTo>
                        <a:pt x="23071" y="13023"/>
                        <a:pt x="23190" y="13023"/>
                        <a:pt x="23250" y="12963"/>
                      </a:cubicBezTo>
                      <a:cubicBezTo>
                        <a:pt x="23190" y="12903"/>
                        <a:pt x="23190" y="12844"/>
                        <a:pt x="23190" y="1284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54" name="Vrije vorm: vorm 8853">
                  <a:extLst>
                    <a:ext uri="{FF2B5EF4-FFF2-40B4-BE49-F238E27FC236}">
                      <a16:creationId xmlns:a16="http://schemas.microsoft.com/office/drawing/2014/main" id="{94521F5B-A650-4384-A05D-067A92C9D8F2}"/>
                    </a:ext>
                  </a:extLst>
                </p:cNvPr>
                <p:cNvSpPr/>
                <p:nvPr/>
              </p:nvSpPr>
              <p:spPr>
                <a:xfrm>
                  <a:off x="4404079" y="2525818"/>
                  <a:ext cx="25024" cy="18086"/>
                </a:xfrm>
                <a:custGeom>
                  <a:avLst/>
                  <a:gdLst>
                    <a:gd name="connsiteX0" fmla="*/ 25024 w 25024"/>
                    <a:gd name="connsiteY0" fmla="*/ 179 h 18086"/>
                    <a:gd name="connsiteX1" fmla="*/ 25024 w 25024"/>
                    <a:gd name="connsiteY1" fmla="*/ 60 h 18086"/>
                    <a:gd name="connsiteX2" fmla="*/ 24785 w 25024"/>
                    <a:gd name="connsiteY2" fmla="*/ 0 h 18086"/>
                    <a:gd name="connsiteX3" fmla="*/ 12764 w 25024"/>
                    <a:gd name="connsiteY3" fmla="*/ 8852 h 18086"/>
                    <a:gd name="connsiteX4" fmla="*/ 85 w 25024"/>
                    <a:gd name="connsiteY4" fmla="*/ 17763 h 18086"/>
                    <a:gd name="connsiteX5" fmla="*/ 25 w 25024"/>
                    <a:gd name="connsiteY5" fmla="*/ 18002 h 18086"/>
                    <a:gd name="connsiteX6" fmla="*/ 264 w 25024"/>
                    <a:gd name="connsiteY6" fmla="*/ 18062 h 18086"/>
                    <a:gd name="connsiteX7" fmla="*/ 12943 w 25024"/>
                    <a:gd name="connsiteY7" fmla="*/ 9150 h 18086"/>
                    <a:gd name="connsiteX8" fmla="*/ 24964 w 25024"/>
                    <a:gd name="connsiteY8" fmla="*/ 299 h 18086"/>
                    <a:gd name="connsiteX9" fmla="*/ 25024 w 25024"/>
                    <a:gd name="connsiteY9" fmla="*/ 179 h 1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24" h="18086">
                      <a:moveTo>
                        <a:pt x="25024" y="179"/>
                      </a:moveTo>
                      <a:cubicBezTo>
                        <a:pt x="25024" y="120"/>
                        <a:pt x="25024" y="120"/>
                        <a:pt x="25024" y="60"/>
                      </a:cubicBezTo>
                      <a:cubicBezTo>
                        <a:pt x="24964" y="0"/>
                        <a:pt x="24845" y="0"/>
                        <a:pt x="24785" y="0"/>
                      </a:cubicBezTo>
                      <a:lnTo>
                        <a:pt x="12764" y="8852"/>
                      </a:lnTo>
                      <a:lnTo>
                        <a:pt x="85" y="17763"/>
                      </a:lnTo>
                      <a:cubicBezTo>
                        <a:pt x="25" y="17823"/>
                        <a:pt x="-35" y="17942"/>
                        <a:pt x="25" y="18002"/>
                      </a:cubicBezTo>
                      <a:cubicBezTo>
                        <a:pt x="85" y="18062"/>
                        <a:pt x="204" y="18122"/>
                        <a:pt x="264" y="18062"/>
                      </a:cubicBezTo>
                      <a:lnTo>
                        <a:pt x="12943" y="9150"/>
                      </a:lnTo>
                      <a:lnTo>
                        <a:pt x="24964" y="299"/>
                      </a:lnTo>
                      <a:cubicBezTo>
                        <a:pt x="24964" y="239"/>
                        <a:pt x="25024" y="239"/>
                        <a:pt x="25024"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55" name="Vrije vorm: vorm 8854">
                  <a:extLst>
                    <a:ext uri="{FF2B5EF4-FFF2-40B4-BE49-F238E27FC236}">
                      <a16:creationId xmlns:a16="http://schemas.microsoft.com/office/drawing/2014/main" id="{477E026A-09AD-4478-87CE-573226524B45}"/>
                    </a:ext>
                  </a:extLst>
                </p:cNvPr>
                <p:cNvSpPr/>
                <p:nvPr/>
              </p:nvSpPr>
              <p:spPr>
                <a:xfrm>
                  <a:off x="4435323" y="2497829"/>
                  <a:ext cx="33192" cy="24221"/>
                </a:xfrm>
                <a:custGeom>
                  <a:avLst/>
                  <a:gdLst>
                    <a:gd name="connsiteX0" fmla="*/ 33193 w 33192"/>
                    <a:gd name="connsiteY0" fmla="*/ 179 h 24221"/>
                    <a:gd name="connsiteX1" fmla="*/ 33193 w 33192"/>
                    <a:gd name="connsiteY1" fmla="*/ 60 h 24221"/>
                    <a:gd name="connsiteX2" fmla="*/ 32953 w 33192"/>
                    <a:gd name="connsiteY2" fmla="*/ 0 h 24221"/>
                    <a:gd name="connsiteX3" fmla="*/ 19198 w 33192"/>
                    <a:gd name="connsiteY3" fmla="*/ 9988 h 24221"/>
                    <a:gd name="connsiteX4" fmla="*/ 60 w 33192"/>
                    <a:gd name="connsiteY4" fmla="*/ 23923 h 24221"/>
                    <a:gd name="connsiteX5" fmla="*/ 0 w 33192"/>
                    <a:gd name="connsiteY5" fmla="*/ 24162 h 24221"/>
                    <a:gd name="connsiteX6" fmla="*/ 239 w 33192"/>
                    <a:gd name="connsiteY6" fmla="*/ 24222 h 24221"/>
                    <a:gd name="connsiteX7" fmla="*/ 19377 w 33192"/>
                    <a:gd name="connsiteY7" fmla="*/ 10287 h 24221"/>
                    <a:gd name="connsiteX8" fmla="*/ 33133 w 33192"/>
                    <a:gd name="connsiteY8" fmla="*/ 299 h 24221"/>
                    <a:gd name="connsiteX9" fmla="*/ 33193 w 33192"/>
                    <a:gd name="connsiteY9" fmla="*/ 179 h 24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92" h="24221">
                      <a:moveTo>
                        <a:pt x="33193" y="179"/>
                      </a:moveTo>
                      <a:cubicBezTo>
                        <a:pt x="33193" y="120"/>
                        <a:pt x="33193" y="120"/>
                        <a:pt x="33193" y="60"/>
                      </a:cubicBezTo>
                      <a:cubicBezTo>
                        <a:pt x="33133" y="0"/>
                        <a:pt x="33013" y="0"/>
                        <a:pt x="32953" y="0"/>
                      </a:cubicBezTo>
                      <a:lnTo>
                        <a:pt x="19198" y="9988"/>
                      </a:lnTo>
                      <a:lnTo>
                        <a:pt x="60" y="23923"/>
                      </a:lnTo>
                      <a:cubicBezTo>
                        <a:pt x="0" y="23983"/>
                        <a:pt x="0" y="24102"/>
                        <a:pt x="0" y="24162"/>
                      </a:cubicBezTo>
                      <a:cubicBezTo>
                        <a:pt x="60" y="24222"/>
                        <a:pt x="179" y="24222"/>
                        <a:pt x="239" y="24222"/>
                      </a:cubicBezTo>
                      <a:lnTo>
                        <a:pt x="19377" y="10287"/>
                      </a:lnTo>
                      <a:lnTo>
                        <a:pt x="33133" y="299"/>
                      </a:lnTo>
                      <a:cubicBezTo>
                        <a:pt x="33133" y="239"/>
                        <a:pt x="33193" y="239"/>
                        <a:pt x="33193"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56" name="Vrije vorm: vorm 8855">
                  <a:extLst>
                    <a:ext uri="{FF2B5EF4-FFF2-40B4-BE49-F238E27FC236}">
                      <a16:creationId xmlns:a16="http://schemas.microsoft.com/office/drawing/2014/main" id="{08A39EF6-F0BB-44D3-8EA8-5A77EEA30F32}"/>
                    </a:ext>
                  </a:extLst>
                </p:cNvPr>
                <p:cNvSpPr/>
                <p:nvPr/>
              </p:nvSpPr>
              <p:spPr>
                <a:xfrm>
                  <a:off x="4347585" y="2474564"/>
                  <a:ext cx="81005" cy="154900"/>
                </a:xfrm>
                <a:custGeom>
                  <a:avLst/>
                  <a:gdLst>
                    <a:gd name="connsiteX0" fmla="*/ 80919 w 81005"/>
                    <a:gd name="connsiteY0" fmla="*/ 112557 h 154900"/>
                    <a:gd name="connsiteX1" fmla="*/ 74520 w 81005"/>
                    <a:gd name="connsiteY1" fmla="*/ 116983 h 154900"/>
                    <a:gd name="connsiteX2" fmla="*/ 74340 w 81005"/>
                    <a:gd name="connsiteY2" fmla="*/ 116983 h 154900"/>
                    <a:gd name="connsiteX3" fmla="*/ 74221 w 81005"/>
                    <a:gd name="connsiteY3" fmla="*/ 116863 h 154900"/>
                    <a:gd name="connsiteX4" fmla="*/ 70333 w 81005"/>
                    <a:gd name="connsiteY4" fmla="*/ 94077 h 154900"/>
                    <a:gd name="connsiteX5" fmla="*/ 50178 w 81005"/>
                    <a:gd name="connsiteY5" fmla="*/ 73503 h 154900"/>
                    <a:gd name="connsiteX6" fmla="*/ 41566 w 81005"/>
                    <a:gd name="connsiteY6" fmla="*/ 79663 h 154900"/>
                    <a:gd name="connsiteX7" fmla="*/ 26674 w 81005"/>
                    <a:gd name="connsiteY7" fmla="*/ 90249 h 154900"/>
                    <a:gd name="connsiteX8" fmla="*/ 15012 w 81005"/>
                    <a:gd name="connsiteY8" fmla="*/ 98383 h 154900"/>
                    <a:gd name="connsiteX9" fmla="*/ 11603 w 81005"/>
                    <a:gd name="connsiteY9" fmla="*/ 134507 h 154900"/>
                    <a:gd name="connsiteX10" fmla="*/ 17583 w 81005"/>
                    <a:gd name="connsiteY10" fmla="*/ 150954 h 154900"/>
                    <a:gd name="connsiteX11" fmla="*/ 17523 w 81005"/>
                    <a:gd name="connsiteY11" fmla="*/ 151133 h 154900"/>
                    <a:gd name="connsiteX12" fmla="*/ 9629 w 81005"/>
                    <a:gd name="connsiteY12" fmla="*/ 154901 h 154900"/>
                    <a:gd name="connsiteX13" fmla="*/ 9450 w 81005"/>
                    <a:gd name="connsiteY13" fmla="*/ 154901 h 154900"/>
                    <a:gd name="connsiteX14" fmla="*/ 9390 w 81005"/>
                    <a:gd name="connsiteY14" fmla="*/ 154721 h 154900"/>
                    <a:gd name="connsiteX15" fmla="*/ 11304 w 81005"/>
                    <a:gd name="connsiteY15" fmla="*/ 134507 h 154900"/>
                    <a:gd name="connsiteX16" fmla="*/ 7416 w 81005"/>
                    <a:gd name="connsiteY16" fmla="*/ 123801 h 154900"/>
                    <a:gd name="connsiteX17" fmla="*/ 7416 w 81005"/>
                    <a:gd name="connsiteY17" fmla="*/ 123741 h 154900"/>
                    <a:gd name="connsiteX18" fmla="*/ 12320 w 81005"/>
                    <a:gd name="connsiteY18" fmla="*/ 69676 h 154900"/>
                    <a:gd name="connsiteX19" fmla="*/ 7954 w 81005"/>
                    <a:gd name="connsiteY19" fmla="*/ 45095 h 154900"/>
                    <a:gd name="connsiteX20" fmla="*/ 3828 w 81005"/>
                    <a:gd name="connsiteY20" fmla="*/ 49640 h 154900"/>
                    <a:gd name="connsiteX21" fmla="*/ 3649 w 81005"/>
                    <a:gd name="connsiteY21" fmla="*/ 49700 h 154900"/>
                    <a:gd name="connsiteX22" fmla="*/ 3529 w 81005"/>
                    <a:gd name="connsiteY22" fmla="*/ 49580 h 154900"/>
                    <a:gd name="connsiteX23" fmla="*/ 6100 w 81005"/>
                    <a:gd name="connsiteY23" fmla="*/ 34748 h 154900"/>
                    <a:gd name="connsiteX24" fmla="*/ 0 w 81005"/>
                    <a:gd name="connsiteY24" fmla="*/ 180 h 154900"/>
                    <a:gd name="connsiteX25" fmla="*/ 120 w 81005"/>
                    <a:gd name="connsiteY25" fmla="*/ 0 h 154900"/>
                    <a:gd name="connsiteX26" fmla="*/ 299 w 81005"/>
                    <a:gd name="connsiteY26" fmla="*/ 60 h 154900"/>
                    <a:gd name="connsiteX27" fmla="*/ 10526 w 81005"/>
                    <a:gd name="connsiteY27" fmla="*/ 16686 h 154900"/>
                    <a:gd name="connsiteX28" fmla="*/ 10526 w 81005"/>
                    <a:gd name="connsiteY28" fmla="*/ 16806 h 154900"/>
                    <a:gd name="connsiteX29" fmla="*/ 6459 w 81005"/>
                    <a:gd name="connsiteY29" fmla="*/ 34688 h 154900"/>
                    <a:gd name="connsiteX30" fmla="*/ 8134 w 81005"/>
                    <a:gd name="connsiteY30" fmla="*/ 44317 h 154900"/>
                    <a:gd name="connsiteX31" fmla="*/ 11722 w 81005"/>
                    <a:gd name="connsiteY31" fmla="*/ 40370 h 154900"/>
                    <a:gd name="connsiteX32" fmla="*/ 11961 w 81005"/>
                    <a:gd name="connsiteY32" fmla="*/ 40370 h 154900"/>
                    <a:gd name="connsiteX33" fmla="*/ 11961 w 81005"/>
                    <a:gd name="connsiteY33" fmla="*/ 40609 h 154900"/>
                    <a:gd name="connsiteX34" fmla="*/ 8194 w 81005"/>
                    <a:gd name="connsiteY34" fmla="*/ 44736 h 154900"/>
                    <a:gd name="connsiteX35" fmla="*/ 12620 w 81005"/>
                    <a:gd name="connsiteY35" fmla="*/ 69616 h 154900"/>
                    <a:gd name="connsiteX36" fmla="*/ 12620 w 81005"/>
                    <a:gd name="connsiteY36" fmla="*/ 69676 h 154900"/>
                    <a:gd name="connsiteX37" fmla="*/ 7715 w 81005"/>
                    <a:gd name="connsiteY37" fmla="*/ 123741 h 154900"/>
                    <a:gd name="connsiteX38" fmla="*/ 11364 w 81005"/>
                    <a:gd name="connsiteY38" fmla="*/ 133729 h 154900"/>
                    <a:gd name="connsiteX39" fmla="*/ 14713 w 81005"/>
                    <a:gd name="connsiteY39" fmla="*/ 98204 h 154900"/>
                    <a:gd name="connsiteX40" fmla="*/ 14773 w 81005"/>
                    <a:gd name="connsiteY40" fmla="*/ 98084 h 154900"/>
                    <a:gd name="connsiteX41" fmla="*/ 26495 w 81005"/>
                    <a:gd name="connsiteY41" fmla="*/ 89950 h 154900"/>
                    <a:gd name="connsiteX42" fmla="*/ 41387 w 81005"/>
                    <a:gd name="connsiteY42" fmla="*/ 79364 h 154900"/>
                    <a:gd name="connsiteX43" fmla="*/ 50118 w 81005"/>
                    <a:gd name="connsiteY43" fmla="*/ 73144 h 154900"/>
                    <a:gd name="connsiteX44" fmla="*/ 50298 w 81005"/>
                    <a:gd name="connsiteY44" fmla="*/ 73144 h 154900"/>
                    <a:gd name="connsiteX45" fmla="*/ 70632 w 81005"/>
                    <a:gd name="connsiteY45" fmla="*/ 93838 h 154900"/>
                    <a:gd name="connsiteX46" fmla="*/ 70692 w 81005"/>
                    <a:gd name="connsiteY46" fmla="*/ 93897 h 154900"/>
                    <a:gd name="connsiteX47" fmla="*/ 74520 w 81005"/>
                    <a:gd name="connsiteY47" fmla="*/ 116505 h 154900"/>
                    <a:gd name="connsiteX48" fmla="*/ 80740 w 81005"/>
                    <a:gd name="connsiteY48" fmla="*/ 112198 h 154900"/>
                    <a:gd name="connsiteX49" fmla="*/ 80979 w 81005"/>
                    <a:gd name="connsiteY49" fmla="*/ 112258 h 154900"/>
                    <a:gd name="connsiteX50" fmla="*/ 80979 w 81005"/>
                    <a:gd name="connsiteY50" fmla="*/ 112378 h 154900"/>
                    <a:gd name="connsiteX51" fmla="*/ 80919 w 81005"/>
                    <a:gd name="connsiteY51" fmla="*/ 112557 h 154900"/>
                    <a:gd name="connsiteX52" fmla="*/ 9749 w 81005"/>
                    <a:gd name="connsiteY52" fmla="*/ 154542 h 154900"/>
                    <a:gd name="connsiteX53" fmla="*/ 17225 w 81005"/>
                    <a:gd name="connsiteY53" fmla="*/ 150954 h 154900"/>
                    <a:gd name="connsiteX54" fmla="*/ 11543 w 81005"/>
                    <a:gd name="connsiteY54" fmla="*/ 135284 h 154900"/>
                    <a:gd name="connsiteX55" fmla="*/ 9749 w 81005"/>
                    <a:gd name="connsiteY55" fmla="*/ 154542 h 154900"/>
                    <a:gd name="connsiteX56" fmla="*/ 3828 w 81005"/>
                    <a:gd name="connsiteY56" fmla="*/ 49221 h 154900"/>
                    <a:gd name="connsiteX57" fmla="*/ 7895 w 81005"/>
                    <a:gd name="connsiteY57" fmla="*/ 44736 h 154900"/>
                    <a:gd name="connsiteX58" fmla="*/ 6280 w 81005"/>
                    <a:gd name="connsiteY58" fmla="*/ 35645 h 154900"/>
                    <a:gd name="connsiteX59" fmla="*/ 3828 w 81005"/>
                    <a:gd name="connsiteY59" fmla="*/ 49221 h 154900"/>
                    <a:gd name="connsiteX60" fmla="*/ 6340 w 81005"/>
                    <a:gd name="connsiteY60" fmla="*/ 34030 h 154900"/>
                    <a:gd name="connsiteX61" fmla="*/ 10227 w 81005"/>
                    <a:gd name="connsiteY61" fmla="*/ 16985 h 154900"/>
                    <a:gd name="connsiteX62" fmla="*/ 479 w 81005"/>
                    <a:gd name="connsiteY62" fmla="*/ 1136 h 154900"/>
                    <a:gd name="connsiteX63" fmla="*/ 6340 w 81005"/>
                    <a:gd name="connsiteY63" fmla="*/ 34030 h 15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1005" h="154900">
                      <a:moveTo>
                        <a:pt x="80919" y="112557"/>
                      </a:moveTo>
                      <a:lnTo>
                        <a:pt x="74520" y="116983"/>
                      </a:lnTo>
                      <a:cubicBezTo>
                        <a:pt x="74460" y="117043"/>
                        <a:pt x="74400" y="117043"/>
                        <a:pt x="74340" y="116983"/>
                      </a:cubicBezTo>
                      <a:cubicBezTo>
                        <a:pt x="74281" y="116983"/>
                        <a:pt x="74281" y="116923"/>
                        <a:pt x="74221" y="116863"/>
                      </a:cubicBezTo>
                      <a:lnTo>
                        <a:pt x="70333" y="94077"/>
                      </a:lnTo>
                      <a:lnTo>
                        <a:pt x="50178" y="73503"/>
                      </a:lnTo>
                      <a:lnTo>
                        <a:pt x="41566" y="79663"/>
                      </a:lnTo>
                      <a:lnTo>
                        <a:pt x="26674" y="90249"/>
                      </a:lnTo>
                      <a:lnTo>
                        <a:pt x="15012" y="98383"/>
                      </a:lnTo>
                      <a:lnTo>
                        <a:pt x="11603" y="134507"/>
                      </a:lnTo>
                      <a:lnTo>
                        <a:pt x="17583" y="150954"/>
                      </a:lnTo>
                      <a:cubicBezTo>
                        <a:pt x="17583" y="151013"/>
                        <a:pt x="17583" y="151133"/>
                        <a:pt x="17523" y="151133"/>
                      </a:cubicBezTo>
                      <a:lnTo>
                        <a:pt x="9629" y="154901"/>
                      </a:lnTo>
                      <a:cubicBezTo>
                        <a:pt x="9569" y="154901"/>
                        <a:pt x="9510" y="154901"/>
                        <a:pt x="9450" y="154901"/>
                      </a:cubicBezTo>
                      <a:cubicBezTo>
                        <a:pt x="9390" y="154841"/>
                        <a:pt x="9390" y="154781"/>
                        <a:pt x="9390" y="154721"/>
                      </a:cubicBezTo>
                      <a:lnTo>
                        <a:pt x="11304" y="134507"/>
                      </a:lnTo>
                      <a:lnTo>
                        <a:pt x="7416" y="123801"/>
                      </a:lnTo>
                      <a:cubicBezTo>
                        <a:pt x="7416" y="123801"/>
                        <a:pt x="7416" y="123741"/>
                        <a:pt x="7416" y="123741"/>
                      </a:cubicBezTo>
                      <a:lnTo>
                        <a:pt x="12320" y="69676"/>
                      </a:lnTo>
                      <a:lnTo>
                        <a:pt x="7954" y="45095"/>
                      </a:lnTo>
                      <a:lnTo>
                        <a:pt x="3828" y="49640"/>
                      </a:lnTo>
                      <a:cubicBezTo>
                        <a:pt x="3768" y="49700"/>
                        <a:pt x="3708" y="49700"/>
                        <a:pt x="3649" y="49700"/>
                      </a:cubicBezTo>
                      <a:cubicBezTo>
                        <a:pt x="3589" y="49700"/>
                        <a:pt x="3529" y="49640"/>
                        <a:pt x="3529" y="49580"/>
                      </a:cubicBezTo>
                      <a:cubicBezTo>
                        <a:pt x="3230" y="48683"/>
                        <a:pt x="4545" y="41925"/>
                        <a:pt x="6100" y="34748"/>
                      </a:cubicBezTo>
                      <a:lnTo>
                        <a:pt x="0" y="180"/>
                      </a:lnTo>
                      <a:cubicBezTo>
                        <a:pt x="0" y="120"/>
                        <a:pt x="0" y="0"/>
                        <a:pt x="120" y="0"/>
                      </a:cubicBezTo>
                      <a:cubicBezTo>
                        <a:pt x="180" y="0"/>
                        <a:pt x="299" y="0"/>
                        <a:pt x="299" y="60"/>
                      </a:cubicBezTo>
                      <a:lnTo>
                        <a:pt x="10526" y="16686"/>
                      </a:lnTo>
                      <a:cubicBezTo>
                        <a:pt x="10526" y="16746"/>
                        <a:pt x="10586" y="16746"/>
                        <a:pt x="10526" y="16806"/>
                      </a:cubicBezTo>
                      <a:cubicBezTo>
                        <a:pt x="9390" y="21650"/>
                        <a:pt x="7775" y="28528"/>
                        <a:pt x="6459" y="34688"/>
                      </a:cubicBezTo>
                      <a:lnTo>
                        <a:pt x="8134" y="44317"/>
                      </a:lnTo>
                      <a:lnTo>
                        <a:pt x="11722" y="40370"/>
                      </a:lnTo>
                      <a:cubicBezTo>
                        <a:pt x="11782" y="40310"/>
                        <a:pt x="11902" y="40310"/>
                        <a:pt x="11961" y="40370"/>
                      </a:cubicBezTo>
                      <a:cubicBezTo>
                        <a:pt x="12021" y="40430"/>
                        <a:pt x="12021" y="40549"/>
                        <a:pt x="11961" y="40609"/>
                      </a:cubicBezTo>
                      <a:lnTo>
                        <a:pt x="8194" y="44736"/>
                      </a:lnTo>
                      <a:lnTo>
                        <a:pt x="12620" y="69616"/>
                      </a:lnTo>
                      <a:cubicBezTo>
                        <a:pt x="12620" y="69616"/>
                        <a:pt x="12620" y="69616"/>
                        <a:pt x="12620" y="69676"/>
                      </a:cubicBezTo>
                      <a:lnTo>
                        <a:pt x="7715" y="123741"/>
                      </a:lnTo>
                      <a:lnTo>
                        <a:pt x="11364" y="133729"/>
                      </a:lnTo>
                      <a:lnTo>
                        <a:pt x="14713" y="98204"/>
                      </a:lnTo>
                      <a:cubicBezTo>
                        <a:pt x="14713" y="98144"/>
                        <a:pt x="14773" y="98084"/>
                        <a:pt x="14773" y="98084"/>
                      </a:cubicBezTo>
                      <a:lnTo>
                        <a:pt x="26495" y="89950"/>
                      </a:lnTo>
                      <a:lnTo>
                        <a:pt x="41387" y="79364"/>
                      </a:lnTo>
                      <a:lnTo>
                        <a:pt x="50118" y="73144"/>
                      </a:lnTo>
                      <a:cubicBezTo>
                        <a:pt x="50178" y="73084"/>
                        <a:pt x="50298" y="73084"/>
                        <a:pt x="50298" y="73144"/>
                      </a:cubicBezTo>
                      <a:lnTo>
                        <a:pt x="70632" y="93838"/>
                      </a:lnTo>
                      <a:cubicBezTo>
                        <a:pt x="70632" y="93838"/>
                        <a:pt x="70692" y="93897"/>
                        <a:pt x="70692" y="93897"/>
                      </a:cubicBezTo>
                      <a:lnTo>
                        <a:pt x="74520" y="116505"/>
                      </a:lnTo>
                      <a:lnTo>
                        <a:pt x="80740" y="112198"/>
                      </a:lnTo>
                      <a:cubicBezTo>
                        <a:pt x="80800" y="112139"/>
                        <a:pt x="80919" y="112139"/>
                        <a:pt x="80979" y="112258"/>
                      </a:cubicBezTo>
                      <a:cubicBezTo>
                        <a:pt x="80979" y="112318"/>
                        <a:pt x="81039" y="112318"/>
                        <a:pt x="80979" y="112378"/>
                      </a:cubicBezTo>
                      <a:cubicBezTo>
                        <a:pt x="80919" y="112438"/>
                        <a:pt x="80979" y="112557"/>
                        <a:pt x="80919" y="112557"/>
                      </a:cubicBezTo>
                      <a:close/>
                      <a:moveTo>
                        <a:pt x="9749" y="154542"/>
                      </a:moveTo>
                      <a:lnTo>
                        <a:pt x="17225" y="150954"/>
                      </a:lnTo>
                      <a:lnTo>
                        <a:pt x="11543" y="135284"/>
                      </a:lnTo>
                      <a:lnTo>
                        <a:pt x="9749" y="154542"/>
                      </a:lnTo>
                      <a:close/>
                      <a:moveTo>
                        <a:pt x="3828" y="49221"/>
                      </a:moveTo>
                      <a:lnTo>
                        <a:pt x="7895" y="44736"/>
                      </a:lnTo>
                      <a:lnTo>
                        <a:pt x="6280" y="35645"/>
                      </a:lnTo>
                      <a:cubicBezTo>
                        <a:pt x="4904" y="42164"/>
                        <a:pt x="3828" y="47726"/>
                        <a:pt x="3828" y="49221"/>
                      </a:cubicBezTo>
                      <a:close/>
                      <a:moveTo>
                        <a:pt x="6340" y="34030"/>
                      </a:moveTo>
                      <a:cubicBezTo>
                        <a:pt x="8074" y="26136"/>
                        <a:pt x="9988" y="18002"/>
                        <a:pt x="10227" y="16985"/>
                      </a:cubicBezTo>
                      <a:lnTo>
                        <a:pt x="479" y="1136"/>
                      </a:lnTo>
                      <a:lnTo>
                        <a:pt x="6340" y="34030"/>
                      </a:lnTo>
                      <a:close/>
                    </a:path>
                  </a:pathLst>
                </a:custGeom>
                <a:grpFill/>
                <a:ln w="6350" cap="flat">
                  <a:solidFill>
                    <a:schemeClr val="bg1">
                      <a:alpha val="40000"/>
                    </a:schemeClr>
                  </a:solidFill>
                  <a:prstDash val="solid"/>
                  <a:miter/>
                </a:ln>
              </p:spPr>
              <p:txBody>
                <a:bodyPr rtlCol="0" anchor="ctr"/>
                <a:lstStyle/>
                <a:p>
                  <a:endParaRPr lang="en-GB"/>
                </a:p>
              </p:txBody>
            </p:sp>
            <p:sp>
              <p:nvSpPr>
                <p:cNvPr id="8857" name="Vrije vorm: vorm 8856">
                  <a:extLst>
                    <a:ext uri="{FF2B5EF4-FFF2-40B4-BE49-F238E27FC236}">
                      <a16:creationId xmlns:a16="http://schemas.microsoft.com/office/drawing/2014/main" id="{61F24D72-0C58-433A-B7CD-95216CB38687}"/>
                    </a:ext>
                  </a:extLst>
                </p:cNvPr>
                <p:cNvSpPr/>
                <p:nvPr/>
              </p:nvSpPr>
              <p:spPr>
                <a:xfrm>
                  <a:off x="4466079" y="2552687"/>
                  <a:ext cx="6623" cy="5890"/>
                </a:xfrm>
                <a:custGeom>
                  <a:avLst/>
                  <a:gdLst>
                    <a:gd name="connsiteX0" fmla="*/ 6624 w 6623"/>
                    <a:gd name="connsiteY0" fmla="*/ 164 h 5890"/>
                    <a:gd name="connsiteX1" fmla="*/ 6564 w 6623"/>
                    <a:gd name="connsiteY1" fmla="*/ 45 h 5890"/>
                    <a:gd name="connsiteX2" fmla="*/ 6325 w 6623"/>
                    <a:gd name="connsiteY2" fmla="*/ 45 h 5890"/>
                    <a:gd name="connsiteX3" fmla="*/ 45 w 6623"/>
                    <a:gd name="connsiteY3" fmla="*/ 5607 h 5890"/>
                    <a:gd name="connsiteX4" fmla="*/ 45 w 6623"/>
                    <a:gd name="connsiteY4" fmla="*/ 5846 h 5890"/>
                    <a:gd name="connsiteX5" fmla="*/ 284 w 6623"/>
                    <a:gd name="connsiteY5" fmla="*/ 5846 h 5890"/>
                    <a:gd name="connsiteX6" fmla="*/ 6564 w 6623"/>
                    <a:gd name="connsiteY6" fmla="*/ 284 h 5890"/>
                    <a:gd name="connsiteX7" fmla="*/ 6624 w 6623"/>
                    <a:gd name="connsiteY7" fmla="*/ 164 h 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3" h="5890">
                      <a:moveTo>
                        <a:pt x="6624" y="164"/>
                      </a:moveTo>
                      <a:cubicBezTo>
                        <a:pt x="6624" y="105"/>
                        <a:pt x="6624" y="45"/>
                        <a:pt x="6564" y="45"/>
                      </a:cubicBezTo>
                      <a:cubicBezTo>
                        <a:pt x="6504" y="-15"/>
                        <a:pt x="6384" y="-15"/>
                        <a:pt x="6325" y="45"/>
                      </a:cubicBezTo>
                      <a:lnTo>
                        <a:pt x="45" y="5607"/>
                      </a:lnTo>
                      <a:cubicBezTo>
                        <a:pt x="-15" y="5667"/>
                        <a:pt x="-15" y="5786"/>
                        <a:pt x="45" y="5846"/>
                      </a:cubicBezTo>
                      <a:cubicBezTo>
                        <a:pt x="105" y="5906"/>
                        <a:pt x="224" y="5906"/>
                        <a:pt x="284" y="5846"/>
                      </a:cubicBezTo>
                      <a:lnTo>
                        <a:pt x="6564" y="284"/>
                      </a:lnTo>
                      <a:cubicBezTo>
                        <a:pt x="6564" y="224"/>
                        <a:pt x="6624" y="164"/>
                        <a:pt x="6624" y="16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58" name="Vrije vorm: vorm 8857">
                  <a:extLst>
                    <a:ext uri="{FF2B5EF4-FFF2-40B4-BE49-F238E27FC236}">
                      <a16:creationId xmlns:a16="http://schemas.microsoft.com/office/drawing/2014/main" id="{C933B927-1DFA-4E72-BF1D-75D70E8631F8}"/>
                    </a:ext>
                  </a:extLst>
                </p:cNvPr>
                <p:cNvSpPr/>
                <p:nvPr/>
              </p:nvSpPr>
              <p:spPr>
                <a:xfrm>
                  <a:off x="4515599" y="2506874"/>
                  <a:ext cx="6862" cy="7326"/>
                </a:xfrm>
                <a:custGeom>
                  <a:avLst/>
                  <a:gdLst>
                    <a:gd name="connsiteX0" fmla="*/ 6863 w 6862"/>
                    <a:gd name="connsiteY0" fmla="*/ 164 h 7326"/>
                    <a:gd name="connsiteX1" fmla="*/ 6803 w 6862"/>
                    <a:gd name="connsiteY1" fmla="*/ 45 h 7326"/>
                    <a:gd name="connsiteX2" fmla="*/ 6564 w 6862"/>
                    <a:gd name="connsiteY2" fmla="*/ 45 h 7326"/>
                    <a:gd name="connsiteX3" fmla="*/ 45 w 6862"/>
                    <a:gd name="connsiteY3" fmla="*/ 7042 h 7326"/>
                    <a:gd name="connsiteX4" fmla="*/ 45 w 6862"/>
                    <a:gd name="connsiteY4" fmla="*/ 7282 h 7326"/>
                    <a:gd name="connsiteX5" fmla="*/ 284 w 6862"/>
                    <a:gd name="connsiteY5" fmla="*/ 7282 h 7326"/>
                    <a:gd name="connsiteX6" fmla="*/ 6803 w 6862"/>
                    <a:gd name="connsiteY6" fmla="*/ 284 h 7326"/>
                    <a:gd name="connsiteX7" fmla="*/ 6863 w 6862"/>
                    <a:gd name="connsiteY7" fmla="*/ 164 h 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2" h="7326">
                      <a:moveTo>
                        <a:pt x="6863" y="164"/>
                      </a:moveTo>
                      <a:cubicBezTo>
                        <a:pt x="6863" y="105"/>
                        <a:pt x="6863" y="45"/>
                        <a:pt x="6803" y="45"/>
                      </a:cubicBezTo>
                      <a:cubicBezTo>
                        <a:pt x="6743" y="-15"/>
                        <a:pt x="6624" y="-15"/>
                        <a:pt x="6564" y="45"/>
                      </a:cubicBezTo>
                      <a:lnTo>
                        <a:pt x="45" y="7042"/>
                      </a:lnTo>
                      <a:cubicBezTo>
                        <a:pt x="-15" y="7102"/>
                        <a:pt x="-15" y="7222"/>
                        <a:pt x="45" y="7282"/>
                      </a:cubicBezTo>
                      <a:cubicBezTo>
                        <a:pt x="105" y="7341"/>
                        <a:pt x="224" y="7341"/>
                        <a:pt x="284" y="7282"/>
                      </a:cubicBezTo>
                      <a:lnTo>
                        <a:pt x="6803" y="284"/>
                      </a:lnTo>
                      <a:cubicBezTo>
                        <a:pt x="6863" y="224"/>
                        <a:pt x="6863" y="224"/>
                        <a:pt x="6863" y="16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59" name="Vrije vorm: vorm 8858">
                  <a:extLst>
                    <a:ext uri="{FF2B5EF4-FFF2-40B4-BE49-F238E27FC236}">
                      <a16:creationId xmlns:a16="http://schemas.microsoft.com/office/drawing/2014/main" id="{3FFBA193-757D-4366-8161-20D2D857C7B2}"/>
                    </a:ext>
                  </a:extLst>
                </p:cNvPr>
                <p:cNvSpPr/>
                <p:nvPr/>
              </p:nvSpPr>
              <p:spPr>
                <a:xfrm>
                  <a:off x="4351174" y="2524024"/>
                  <a:ext cx="70991" cy="67605"/>
                </a:xfrm>
                <a:custGeom>
                  <a:avLst/>
                  <a:gdLst>
                    <a:gd name="connsiteX0" fmla="*/ 70991 w 70991"/>
                    <a:gd name="connsiteY0" fmla="*/ 67463 h 67605"/>
                    <a:gd name="connsiteX1" fmla="*/ 70871 w 70991"/>
                    <a:gd name="connsiteY1" fmla="*/ 67283 h 67605"/>
                    <a:gd name="connsiteX2" fmla="*/ 11423 w 70991"/>
                    <a:gd name="connsiteY2" fmla="*/ 48743 h 67605"/>
                    <a:gd name="connsiteX3" fmla="*/ 299 w 70991"/>
                    <a:gd name="connsiteY3" fmla="*/ 120 h 67605"/>
                    <a:gd name="connsiteX4" fmla="*/ 119 w 70991"/>
                    <a:gd name="connsiteY4" fmla="*/ 0 h 67605"/>
                    <a:gd name="connsiteX5" fmla="*/ 0 w 70991"/>
                    <a:gd name="connsiteY5" fmla="*/ 179 h 67605"/>
                    <a:gd name="connsiteX6" fmla="*/ 11184 w 70991"/>
                    <a:gd name="connsiteY6" fmla="*/ 48862 h 67605"/>
                    <a:gd name="connsiteX7" fmla="*/ 11303 w 70991"/>
                    <a:gd name="connsiteY7" fmla="*/ 48982 h 67605"/>
                    <a:gd name="connsiteX8" fmla="*/ 70871 w 70991"/>
                    <a:gd name="connsiteY8" fmla="*/ 67582 h 67605"/>
                    <a:gd name="connsiteX9" fmla="*/ 70991 w 70991"/>
                    <a:gd name="connsiteY9" fmla="*/ 67463 h 67605"/>
                    <a:gd name="connsiteX10" fmla="*/ 70991 w 70991"/>
                    <a:gd name="connsiteY10" fmla="*/ 67463 h 6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991" h="67605">
                      <a:moveTo>
                        <a:pt x="70991" y="67463"/>
                      </a:moveTo>
                      <a:cubicBezTo>
                        <a:pt x="70991" y="67403"/>
                        <a:pt x="70931" y="67283"/>
                        <a:pt x="70871" y="67283"/>
                      </a:cubicBezTo>
                      <a:lnTo>
                        <a:pt x="11423" y="48743"/>
                      </a:lnTo>
                      <a:lnTo>
                        <a:pt x="299" y="120"/>
                      </a:lnTo>
                      <a:cubicBezTo>
                        <a:pt x="299" y="60"/>
                        <a:pt x="179" y="0"/>
                        <a:pt x="119" y="0"/>
                      </a:cubicBezTo>
                      <a:cubicBezTo>
                        <a:pt x="60" y="0"/>
                        <a:pt x="0" y="120"/>
                        <a:pt x="0" y="179"/>
                      </a:cubicBezTo>
                      <a:lnTo>
                        <a:pt x="11184" y="48862"/>
                      </a:lnTo>
                      <a:cubicBezTo>
                        <a:pt x="11184" y="48922"/>
                        <a:pt x="11244" y="48982"/>
                        <a:pt x="11303" y="48982"/>
                      </a:cubicBezTo>
                      <a:lnTo>
                        <a:pt x="70871" y="67582"/>
                      </a:lnTo>
                      <a:cubicBezTo>
                        <a:pt x="70871" y="67642"/>
                        <a:pt x="70931" y="67582"/>
                        <a:pt x="70991" y="67463"/>
                      </a:cubicBezTo>
                      <a:cubicBezTo>
                        <a:pt x="70991" y="67463"/>
                        <a:pt x="70991" y="67463"/>
                        <a:pt x="70991" y="6746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60" name="Vrije vorm: vorm 8859">
                  <a:extLst>
                    <a:ext uri="{FF2B5EF4-FFF2-40B4-BE49-F238E27FC236}">
                      <a16:creationId xmlns:a16="http://schemas.microsoft.com/office/drawing/2014/main" id="{F18D35EB-E728-4571-9804-13AC53D45D5D}"/>
                    </a:ext>
                  </a:extLst>
                </p:cNvPr>
                <p:cNvSpPr/>
                <p:nvPr/>
              </p:nvSpPr>
              <p:spPr>
                <a:xfrm>
                  <a:off x="4278269" y="2442328"/>
                  <a:ext cx="280675" cy="202985"/>
                </a:xfrm>
                <a:custGeom>
                  <a:avLst/>
                  <a:gdLst>
                    <a:gd name="connsiteX0" fmla="*/ 280675 w 280675"/>
                    <a:gd name="connsiteY0" fmla="*/ 4067 h 202985"/>
                    <a:gd name="connsiteX1" fmla="*/ 277146 w 280675"/>
                    <a:gd name="connsiteY1" fmla="*/ 17523 h 202985"/>
                    <a:gd name="connsiteX2" fmla="*/ 267099 w 280675"/>
                    <a:gd name="connsiteY2" fmla="*/ 36662 h 202985"/>
                    <a:gd name="connsiteX3" fmla="*/ 267099 w 280675"/>
                    <a:gd name="connsiteY3" fmla="*/ 36722 h 202985"/>
                    <a:gd name="connsiteX4" fmla="*/ 255795 w 280675"/>
                    <a:gd name="connsiteY4" fmla="*/ 51374 h 202985"/>
                    <a:gd name="connsiteX5" fmla="*/ 244253 w 280675"/>
                    <a:gd name="connsiteY5" fmla="*/ 64771 h 202985"/>
                    <a:gd name="connsiteX6" fmla="*/ 244073 w 280675"/>
                    <a:gd name="connsiteY6" fmla="*/ 64831 h 202985"/>
                    <a:gd name="connsiteX7" fmla="*/ 96349 w 280675"/>
                    <a:gd name="connsiteY7" fmla="*/ 15490 h 202985"/>
                    <a:gd name="connsiteX8" fmla="*/ 90727 w 280675"/>
                    <a:gd name="connsiteY8" fmla="*/ 20394 h 202985"/>
                    <a:gd name="connsiteX9" fmla="*/ 83311 w 280675"/>
                    <a:gd name="connsiteY9" fmla="*/ 25837 h 202985"/>
                    <a:gd name="connsiteX10" fmla="*/ 77749 w 280675"/>
                    <a:gd name="connsiteY10" fmla="*/ 30023 h 202985"/>
                    <a:gd name="connsiteX11" fmla="*/ 77690 w 280675"/>
                    <a:gd name="connsiteY11" fmla="*/ 30023 h 202985"/>
                    <a:gd name="connsiteX12" fmla="*/ 69735 w 280675"/>
                    <a:gd name="connsiteY12" fmla="*/ 32535 h 202985"/>
                    <a:gd name="connsiteX13" fmla="*/ 71051 w 280675"/>
                    <a:gd name="connsiteY13" fmla="*/ 54425 h 202985"/>
                    <a:gd name="connsiteX14" fmla="*/ 79663 w 280675"/>
                    <a:gd name="connsiteY14" fmla="*/ 48922 h 202985"/>
                    <a:gd name="connsiteX15" fmla="*/ 79902 w 280675"/>
                    <a:gd name="connsiteY15" fmla="*/ 48982 h 202985"/>
                    <a:gd name="connsiteX16" fmla="*/ 79843 w 280675"/>
                    <a:gd name="connsiteY16" fmla="*/ 49221 h 202985"/>
                    <a:gd name="connsiteX17" fmla="*/ 71111 w 280675"/>
                    <a:gd name="connsiteY17" fmla="*/ 54783 h 202985"/>
                    <a:gd name="connsiteX18" fmla="*/ 81338 w 280675"/>
                    <a:gd name="connsiteY18" fmla="*/ 72666 h 202985"/>
                    <a:gd name="connsiteX19" fmla="*/ 81338 w 280675"/>
                    <a:gd name="connsiteY19" fmla="*/ 72785 h 202985"/>
                    <a:gd name="connsiteX20" fmla="*/ 75895 w 280675"/>
                    <a:gd name="connsiteY20" fmla="*/ 135045 h 202985"/>
                    <a:gd name="connsiteX21" fmla="*/ 79065 w 280675"/>
                    <a:gd name="connsiteY21" fmla="*/ 187017 h 202985"/>
                    <a:gd name="connsiteX22" fmla="*/ 78946 w 280675"/>
                    <a:gd name="connsiteY22" fmla="*/ 187197 h 202985"/>
                    <a:gd name="connsiteX23" fmla="*/ 63097 w 280675"/>
                    <a:gd name="connsiteY23" fmla="*/ 193118 h 202985"/>
                    <a:gd name="connsiteX24" fmla="*/ 41925 w 280675"/>
                    <a:gd name="connsiteY24" fmla="*/ 198680 h 202985"/>
                    <a:gd name="connsiteX25" fmla="*/ 27631 w 280675"/>
                    <a:gd name="connsiteY25" fmla="*/ 201371 h 202985"/>
                    <a:gd name="connsiteX26" fmla="*/ 13516 w 280675"/>
                    <a:gd name="connsiteY26" fmla="*/ 202986 h 202985"/>
                    <a:gd name="connsiteX27" fmla="*/ 13457 w 280675"/>
                    <a:gd name="connsiteY27" fmla="*/ 202986 h 202985"/>
                    <a:gd name="connsiteX28" fmla="*/ 5502 w 280675"/>
                    <a:gd name="connsiteY28" fmla="*/ 201251 h 202985"/>
                    <a:gd name="connsiteX29" fmla="*/ 5442 w 280675"/>
                    <a:gd name="connsiteY29" fmla="*/ 201251 h 202985"/>
                    <a:gd name="connsiteX30" fmla="*/ 60 w 280675"/>
                    <a:gd name="connsiteY30" fmla="*/ 197543 h 202985"/>
                    <a:gd name="connsiteX31" fmla="*/ 0 w 280675"/>
                    <a:gd name="connsiteY31" fmla="*/ 197364 h 202985"/>
                    <a:gd name="connsiteX32" fmla="*/ 718 w 280675"/>
                    <a:gd name="connsiteY32" fmla="*/ 190307 h 202985"/>
                    <a:gd name="connsiteX33" fmla="*/ 778 w 280675"/>
                    <a:gd name="connsiteY33" fmla="*/ 190187 h 202985"/>
                    <a:gd name="connsiteX34" fmla="*/ 9390 w 280675"/>
                    <a:gd name="connsiteY34" fmla="*/ 182352 h 202985"/>
                    <a:gd name="connsiteX35" fmla="*/ 28229 w 280675"/>
                    <a:gd name="connsiteY35" fmla="*/ 168357 h 202985"/>
                    <a:gd name="connsiteX36" fmla="*/ 47547 w 280675"/>
                    <a:gd name="connsiteY36" fmla="*/ 154721 h 202985"/>
                    <a:gd name="connsiteX37" fmla="*/ 61960 w 280675"/>
                    <a:gd name="connsiteY37" fmla="*/ 145152 h 202985"/>
                    <a:gd name="connsiteX38" fmla="*/ 75537 w 280675"/>
                    <a:gd name="connsiteY38" fmla="*/ 136241 h 202985"/>
                    <a:gd name="connsiteX39" fmla="*/ 75656 w 280675"/>
                    <a:gd name="connsiteY39" fmla="*/ 135104 h 202985"/>
                    <a:gd name="connsiteX40" fmla="*/ 70812 w 280675"/>
                    <a:gd name="connsiteY40" fmla="*/ 54843 h 202985"/>
                    <a:gd name="connsiteX41" fmla="*/ 70812 w 280675"/>
                    <a:gd name="connsiteY41" fmla="*/ 54843 h 202985"/>
                    <a:gd name="connsiteX42" fmla="*/ 69436 w 280675"/>
                    <a:gd name="connsiteY42" fmla="*/ 32535 h 202985"/>
                    <a:gd name="connsiteX43" fmla="*/ 69556 w 280675"/>
                    <a:gd name="connsiteY43" fmla="*/ 32356 h 202985"/>
                    <a:gd name="connsiteX44" fmla="*/ 77570 w 280675"/>
                    <a:gd name="connsiteY44" fmla="*/ 29844 h 202985"/>
                    <a:gd name="connsiteX45" fmla="*/ 83132 w 280675"/>
                    <a:gd name="connsiteY45" fmla="*/ 25657 h 202985"/>
                    <a:gd name="connsiteX46" fmla="*/ 90488 w 280675"/>
                    <a:gd name="connsiteY46" fmla="*/ 20215 h 202985"/>
                    <a:gd name="connsiteX47" fmla="*/ 96170 w 280675"/>
                    <a:gd name="connsiteY47" fmla="*/ 15251 h 202985"/>
                    <a:gd name="connsiteX48" fmla="*/ 96349 w 280675"/>
                    <a:gd name="connsiteY48" fmla="*/ 15191 h 202985"/>
                    <a:gd name="connsiteX49" fmla="*/ 199038 w 280675"/>
                    <a:gd name="connsiteY49" fmla="*/ 49520 h 202985"/>
                    <a:gd name="connsiteX50" fmla="*/ 199098 w 280675"/>
                    <a:gd name="connsiteY50" fmla="*/ 49461 h 202985"/>
                    <a:gd name="connsiteX51" fmla="*/ 215665 w 280675"/>
                    <a:gd name="connsiteY51" fmla="*/ 37320 h 202985"/>
                    <a:gd name="connsiteX52" fmla="*/ 236059 w 280675"/>
                    <a:gd name="connsiteY52" fmla="*/ 22188 h 202985"/>
                    <a:gd name="connsiteX53" fmla="*/ 252506 w 280675"/>
                    <a:gd name="connsiteY53" fmla="*/ 10526 h 202985"/>
                    <a:gd name="connsiteX54" fmla="*/ 265843 w 280675"/>
                    <a:gd name="connsiteY54" fmla="*/ 2452 h 202985"/>
                    <a:gd name="connsiteX55" fmla="*/ 265903 w 280675"/>
                    <a:gd name="connsiteY55" fmla="*/ 2452 h 202985"/>
                    <a:gd name="connsiteX56" fmla="*/ 275173 w 280675"/>
                    <a:gd name="connsiteY56" fmla="*/ 0 h 202985"/>
                    <a:gd name="connsiteX57" fmla="*/ 275292 w 280675"/>
                    <a:gd name="connsiteY57" fmla="*/ 0 h 202985"/>
                    <a:gd name="connsiteX58" fmla="*/ 280675 w 280675"/>
                    <a:gd name="connsiteY58" fmla="*/ 4007 h 202985"/>
                    <a:gd name="connsiteX59" fmla="*/ 280675 w 280675"/>
                    <a:gd name="connsiteY59" fmla="*/ 4067 h 202985"/>
                    <a:gd name="connsiteX60" fmla="*/ 280675 w 280675"/>
                    <a:gd name="connsiteY60" fmla="*/ 4067 h 202985"/>
                    <a:gd name="connsiteX61" fmla="*/ 265903 w 280675"/>
                    <a:gd name="connsiteY61" fmla="*/ 2632 h 202985"/>
                    <a:gd name="connsiteX62" fmla="*/ 252626 w 280675"/>
                    <a:gd name="connsiteY62" fmla="*/ 10706 h 202985"/>
                    <a:gd name="connsiteX63" fmla="*/ 236179 w 280675"/>
                    <a:gd name="connsiteY63" fmla="*/ 22368 h 202985"/>
                    <a:gd name="connsiteX64" fmla="*/ 215784 w 280675"/>
                    <a:gd name="connsiteY64" fmla="*/ 37499 h 202985"/>
                    <a:gd name="connsiteX65" fmla="*/ 199816 w 280675"/>
                    <a:gd name="connsiteY65" fmla="*/ 49221 h 202985"/>
                    <a:gd name="connsiteX66" fmla="*/ 266800 w 280675"/>
                    <a:gd name="connsiteY66" fmla="*/ 36482 h 202985"/>
                    <a:gd name="connsiteX67" fmla="*/ 276848 w 280675"/>
                    <a:gd name="connsiteY67" fmla="*/ 17404 h 202985"/>
                    <a:gd name="connsiteX68" fmla="*/ 280376 w 280675"/>
                    <a:gd name="connsiteY68" fmla="*/ 4067 h 202985"/>
                    <a:gd name="connsiteX69" fmla="*/ 275173 w 280675"/>
                    <a:gd name="connsiteY69" fmla="*/ 179 h 202985"/>
                    <a:gd name="connsiteX70" fmla="*/ 265903 w 280675"/>
                    <a:gd name="connsiteY70" fmla="*/ 2632 h 202985"/>
                    <a:gd name="connsiteX71" fmla="*/ 244013 w 280675"/>
                    <a:gd name="connsiteY71" fmla="*/ 64532 h 202985"/>
                    <a:gd name="connsiteX72" fmla="*/ 255496 w 280675"/>
                    <a:gd name="connsiteY72" fmla="*/ 51195 h 202985"/>
                    <a:gd name="connsiteX73" fmla="*/ 266501 w 280675"/>
                    <a:gd name="connsiteY73" fmla="*/ 36901 h 202985"/>
                    <a:gd name="connsiteX74" fmla="*/ 199397 w 280675"/>
                    <a:gd name="connsiteY74" fmla="*/ 49640 h 202985"/>
                    <a:gd name="connsiteX75" fmla="*/ 244013 w 280675"/>
                    <a:gd name="connsiteY75" fmla="*/ 64532 h 202985"/>
                    <a:gd name="connsiteX76" fmla="*/ 62080 w 280675"/>
                    <a:gd name="connsiteY76" fmla="*/ 145391 h 202985"/>
                    <a:gd name="connsiteX77" fmla="*/ 47666 w 280675"/>
                    <a:gd name="connsiteY77" fmla="*/ 154961 h 202985"/>
                    <a:gd name="connsiteX78" fmla="*/ 28349 w 280675"/>
                    <a:gd name="connsiteY78" fmla="*/ 168597 h 202985"/>
                    <a:gd name="connsiteX79" fmla="*/ 9569 w 280675"/>
                    <a:gd name="connsiteY79" fmla="*/ 182591 h 202985"/>
                    <a:gd name="connsiteX80" fmla="*/ 1017 w 280675"/>
                    <a:gd name="connsiteY80" fmla="*/ 190366 h 202985"/>
                    <a:gd name="connsiteX81" fmla="*/ 299 w 280675"/>
                    <a:gd name="connsiteY81" fmla="*/ 197244 h 202985"/>
                    <a:gd name="connsiteX82" fmla="*/ 5622 w 280675"/>
                    <a:gd name="connsiteY82" fmla="*/ 200892 h 202985"/>
                    <a:gd name="connsiteX83" fmla="*/ 13516 w 280675"/>
                    <a:gd name="connsiteY83" fmla="*/ 202567 h 202985"/>
                    <a:gd name="connsiteX84" fmla="*/ 27571 w 280675"/>
                    <a:gd name="connsiteY84" fmla="*/ 200952 h 202985"/>
                    <a:gd name="connsiteX85" fmla="*/ 41865 w 280675"/>
                    <a:gd name="connsiteY85" fmla="*/ 198261 h 202985"/>
                    <a:gd name="connsiteX86" fmla="*/ 63037 w 280675"/>
                    <a:gd name="connsiteY86" fmla="*/ 192699 h 202985"/>
                    <a:gd name="connsiteX87" fmla="*/ 78766 w 280675"/>
                    <a:gd name="connsiteY87" fmla="*/ 186838 h 202985"/>
                    <a:gd name="connsiteX88" fmla="*/ 75716 w 280675"/>
                    <a:gd name="connsiteY88" fmla="*/ 136360 h 202985"/>
                    <a:gd name="connsiteX89" fmla="*/ 62080 w 280675"/>
                    <a:gd name="connsiteY89" fmla="*/ 145391 h 202985"/>
                    <a:gd name="connsiteX90" fmla="*/ 71051 w 280675"/>
                    <a:gd name="connsiteY90" fmla="*/ 55501 h 202985"/>
                    <a:gd name="connsiteX91" fmla="*/ 75716 w 280675"/>
                    <a:gd name="connsiteY91" fmla="*/ 132952 h 202985"/>
                    <a:gd name="connsiteX92" fmla="*/ 80979 w 280675"/>
                    <a:gd name="connsiteY92" fmla="*/ 72905 h 202985"/>
                    <a:gd name="connsiteX93" fmla="*/ 71051 w 280675"/>
                    <a:gd name="connsiteY93" fmla="*/ 55501 h 20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0675" h="202985">
                      <a:moveTo>
                        <a:pt x="280675" y="4067"/>
                      </a:moveTo>
                      <a:lnTo>
                        <a:pt x="277146" y="17523"/>
                      </a:lnTo>
                      <a:lnTo>
                        <a:pt x="267099" y="36662"/>
                      </a:lnTo>
                      <a:cubicBezTo>
                        <a:pt x="267099" y="36662"/>
                        <a:pt x="267099" y="36722"/>
                        <a:pt x="267099" y="36722"/>
                      </a:cubicBezTo>
                      <a:lnTo>
                        <a:pt x="255795" y="51374"/>
                      </a:lnTo>
                      <a:lnTo>
                        <a:pt x="244253" y="64771"/>
                      </a:lnTo>
                      <a:cubicBezTo>
                        <a:pt x="244193" y="64831"/>
                        <a:pt x="244133" y="64831"/>
                        <a:pt x="244073" y="64831"/>
                      </a:cubicBezTo>
                      <a:lnTo>
                        <a:pt x="96349" y="15490"/>
                      </a:lnTo>
                      <a:lnTo>
                        <a:pt x="90727" y="20394"/>
                      </a:lnTo>
                      <a:lnTo>
                        <a:pt x="83311" y="25837"/>
                      </a:lnTo>
                      <a:lnTo>
                        <a:pt x="77749" y="30023"/>
                      </a:lnTo>
                      <a:cubicBezTo>
                        <a:pt x="77749" y="30023"/>
                        <a:pt x="77690" y="30023"/>
                        <a:pt x="77690" y="30023"/>
                      </a:cubicBezTo>
                      <a:lnTo>
                        <a:pt x="69735" y="32535"/>
                      </a:lnTo>
                      <a:lnTo>
                        <a:pt x="71051" y="54425"/>
                      </a:lnTo>
                      <a:lnTo>
                        <a:pt x="79663" y="48922"/>
                      </a:lnTo>
                      <a:cubicBezTo>
                        <a:pt x="79723" y="48863"/>
                        <a:pt x="79843" y="48922"/>
                        <a:pt x="79902" y="48982"/>
                      </a:cubicBezTo>
                      <a:cubicBezTo>
                        <a:pt x="79962" y="49042"/>
                        <a:pt x="79902" y="49162"/>
                        <a:pt x="79843" y="49221"/>
                      </a:cubicBezTo>
                      <a:lnTo>
                        <a:pt x="71111" y="54783"/>
                      </a:lnTo>
                      <a:lnTo>
                        <a:pt x="81338" y="72666"/>
                      </a:lnTo>
                      <a:cubicBezTo>
                        <a:pt x="81338" y="72666"/>
                        <a:pt x="81338" y="72726"/>
                        <a:pt x="81338" y="72785"/>
                      </a:cubicBezTo>
                      <a:lnTo>
                        <a:pt x="75895" y="135045"/>
                      </a:lnTo>
                      <a:lnTo>
                        <a:pt x="79065" y="187017"/>
                      </a:lnTo>
                      <a:cubicBezTo>
                        <a:pt x="79065" y="187077"/>
                        <a:pt x="79005" y="187137"/>
                        <a:pt x="78946" y="187197"/>
                      </a:cubicBezTo>
                      <a:lnTo>
                        <a:pt x="63097" y="193118"/>
                      </a:lnTo>
                      <a:lnTo>
                        <a:pt x="41925" y="198680"/>
                      </a:lnTo>
                      <a:lnTo>
                        <a:pt x="27631" y="201371"/>
                      </a:lnTo>
                      <a:lnTo>
                        <a:pt x="13516" y="202986"/>
                      </a:lnTo>
                      <a:cubicBezTo>
                        <a:pt x="13516" y="202986"/>
                        <a:pt x="13457" y="202986"/>
                        <a:pt x="13457" y="202986"/>
                      </a:cubicBezTo>
                      <a:lnTo>
                        <a:pt x="5502" y="201251"/>
                      </a:lnTo>
                      <a:cubicBezTo>
                        <a:pt x="5502" y="201251"/>
                        <a:pt x="5442" y="201251"/>
                        <a:pt x="5442" y="201251"/>
                      </a:cubicBezTo>
                      <a:lnTo>
                        <a:pt x="60" y="197543"/>
                      </a:lnTo>
                      <a:cubicBezTo>
                        <a:pt x="0" y="197483"/>
                        <a:pt x="0" y="197424"/>
                        <a:pt x="0" y="197364"/>
                      </a:cubicBezTo>
                      <a:lnTo>
                        <a:pt x="718" y="190307"/>
                      </a:lnTo>
                      <a:cubicBezTo>
                        <a:pt x="718" y="190247"/>
                        <a:pt x="718" y="190247"/>
                        <a:pt x="778" y="190187"/>
                      </a:cubicBezTo>
                      <a:lnTo>
                        <a:pt x="9390" y="182352"/>
                      </a:lnTo>
                      <a:lnTo>
                        <a:pt x="28229" y="168357"/>
                      </a:lnTo>
                      <a:lnTo>
                        <a:pt x="47547" y="154721"/>
                      </a:lnTo>
                      <a:lnTo>
                        <a:pt x="61960" y="145152"/>
                      </a:lnTo>
                      <a:lnTo>
                        <a:pt x="75537" y="136241"/>
                      </a:lnTo>
                      <a:lnTo>
                        <a:pt x="75656" y="135104"/>
                      </a:lnTo>
                      <a:lnTo>
                        <a:pt x="70812" y="54843"/>
                      </a:lnTo>
                      <a:cubicBezTo>
                        <a:pt x="70812" y="54843"/>
                        <a:pt x="70812" y="54843"/>
                        <a:pt x="70812" y="54843"/>
                      </a:cubicBezTo>
                      <a:lnTo>
                        <a:pt x="69436" y="32535"/>
                      </a:lnTo>
                      <a:cubicBezTo>
                        <a:pt x="69436" y="32475"/>
                        <a:pt x="69496" y="32416"/>
                        <a:pt x="69556" y="32356"/>
                      </a:cubicBezTo>
                      <a:lnTo>
                        <a:pt x="77570" y="29844"/>
                      </a:lnTo>
                      <a:lnTo>
                        <a:pt x="83132" y="25657"/>
                      </a:lnTo>
                      <a:lnTo>
                        <a:pt x="90488" y="20215"/>
                      </a:lnTo>
                      <a:lnTo>
                        <a:pt x="96170" y="15251"/>
                      </a:lnTo>
                      <a:cubicBezTo>
                        <a:pt x="96230" y="15191"/>
                        <a:pt x="96289" y="15191"/>
                        <a:pt x="96349" y="15191"/>
                      </a:cubicBezTo>
                      <a:lnTo>
                        <a:pt x="199038" y="49520"/>
                      </a:lnTo>
                      <a:cubicBezTo>
                        <a:pt x="199038" y="49461"/>
                        <a:pt x="199098" y="49461"/>
                        <a:pt x="199098" y="49461"/>
                      </a:cubicBezTo>
                      <a:lnTo>
                        <a:pt x="215665" y="37320"/>
                      </a:lnTo>
                      <a:lnTo>
                        <a:pt x="236059" y="22188"/>
                      </a:lnTo>
                      <a:lnTo>
                        <a:pt x="252506" y="10526"/>
                      </a:lnTo>
                      <a:lnTo>
                        <a:pt x="265843" y="2452"/>
                      </a:lnTo>
                      <a:cubicBezTo>
                        <a:pt x="265843" y="2452"/>
                        <a:pt x="265843" y="2452"/>
                        <a:pt x="265903" y="2452"/>
                      </a:cubicBezTo>
                      <a:lnTo>
                        <a:pt x="275173" y="0"/>
                      </a:lnTo>
                      <a:cubicBezTo>
                        <a:pt x="275233" y="0"/>
                        <a:pt x="275292" y="0"/>
                        <a:pt x="275292" y="0"/>
                      </a:cubicBezTo>
                      <a:lnTo>
                        <a:pt x="280675" y="4007"/>
                      </a:lnTo>
                      <a:cubicBezTo>
                        <a:pt x="280675" y="3947"/>
                        <a:pt x="280675" y="4007"/>
                        <a:pt x="280675" y="4067"/>
                      </a:cubicBezTo>
                      <a:cubicBezTo>
                        <a:pt x="280675" y="4067"/>
                        <a:pt x="280675" y="4067"/>
                        <a:pt x="280675" y="4067"/>
                      </a:cubicBezTo>
                      <a:close/>
                      <a:moveTo>
                        <a:pt x="265903" y="2632"/>
                      </a:moveTo>
                      <a:lnTo>
                        <a:pt x="252626" y="10706"/>
                      </a:lnTo>
                      <a:lnTo>
                        <a:pt x="236179" y="22368"/>
                      </a:lnTo>
                      <a:lnTo>
                        <a:pt x="215784" y="37499"/>
                      </a:lnTo>
                      <a:lnTo>
                        <a:pt x="199816" y="49221"/>
                      </a:lnTo>
                      <a:lnTo>
                        <a:pt x="266800" y="36482"/>
                      </a:lnTo>
                      <a:lnTo>
                        <a:pt x="276848" y="17404"/>
                      </a:lnTo>
                      <a:lnTo>
                        <a:pt x="280376" y="4067"/>
                      </a:lnTo>
                      <a:lnTo>
                        <a:pt x="275173" y="179"/>
                      </a:lnTo>
                      <a:lnTo>
                        <a:pt x="265903" y="2632"/>
                      </a:lnTo>
                      <a:close/>
                      <a:moveTo>
                        <a:pt x="244013" y="64532"/>
                      </a:moveTo>
                      <a:lnTo>
                        <a:pt x="255496" y="51195"/>
                      </a:lnTo>
                      <a:lnTo>
                        <a:pt x="266501" y="36901"/>
                      </a:lnTo>
                      <a:lnTo>
                        <a:pt x="199397" y="49640"/>
                      </a:lnTo>
                      <a:lnTo>
                        <a:pt x="244013" y="64532"/>
                      </a:lnTo>
                      <a:close/>
                      <a:moveTo>
                        <a:pt x="62080" y="145391"/>
                      </a:moveTo>
                      <a:lnTo>
                        <a:pt x="47666" y="154961"/>
                      </a:lnTo>
                      <a:lnTo>
                        <a:pt x="28349" y="168597"/>
                      </a:lnTo>
                      <a:lnTo>
                        <a:pt x="9569" y="182591"/>
                      </a:lnTo>
                      <a:lnTo>
                        <a:pt x="1017" y="190366"/>
                      </a:lnTo>
                      <a:lnTo>
                        <a:pt x="299" y="197244"/>
                      </a:lnTo>
                      <a:lnTo>
                        <a:pt x="5622" y="200892"/>
                      </a:lnTo>
                      <a:lnTo>
                        <a:pt x="13516" y="202567"/>
                      </a:lnTo>
                      <a:lnTo>
                        <a:pt x="27571" y="200952"/>
                      </a:lnTo>
                      <a:lnTo>
                        <a:pt x="41865" y="198261"/>
                      </a:lnTo>
                      <a:lnTo>
                        <a:pt x="63037" y="192699"/>
                      </a:lnTo>
                      <a:lnTo>
                        <a:pt x="78766" y="186838"/>
                      </a:lnTo>
                      <a:lnTo>
                        <a:pt x="75716" y="136360"/>
                      </a:lnTo>
                      <a:lnTo>
                        <a:pt x="62080" y="145391"/>
                      </a:lnTo>
                      <a:close/>
                      <a:moveTo>
                        <a:pt x="71051" y="55501"/>
                      </a:moveTo>
                      <a:lnTo>
                        <a:pt x="75716" y="132952"/>
                      </a:lnTo>
                      <a:lnTo>
                        <a:pt x="80979" y="72905"/>
                      </a:lnTo>
                      <a:lnTo>
                        <a:pt x="71051" y="55501"/>
                      </a:lnTo>
                      <a:close/>
                    </a:path>
                  </a:pathLst>
                </a:custGeom>
                <a:grpFill/>
                <a:ln w="6350" cap="flat">
                  <a:solidFill>
                    <a:schemeClr val="bg1">
                      <a:alpha val="40000"/>
                    </a:schemeClr>
                  </a:solidFill>
                  <a:prstDash val="solid"/>
                  <a:miter/>
                </a:ln>
              </p:spPr>
              <p:txBody>
                <a:bodyPr rtlCol="0" anchor="ctr"/>
                <a:lstStyle/>
                <a:p>
                  <a:endParaRPr lang="en-GB"/>
                </a:p>
              </p:txBody>
            </p:sp>
            <p:sp>
              <p:nvSpPr>
                <p:cNvPr id="8861" name="Vrije vorm: vorm 8860">
                  <a:extLst>
                    <a:ext uri="{FF2B5EF4-FFF2-40B4-BE49-F238E27FC236}">
                      <a16:creationId xmlns:a16="http://schemas.microsoft.com/office/drawing/2014/main" id="{6BDEFFCF-2951-4F1A-BE36-F3490C8F8636}"/>
                    </a:ext>
                  </a:extLst>
                </p:cNvPr>
                <p:cNvSpPr/>
                <p:nvPr/>
              </p:nvSpPr>
              <p:spPr>
                <a:xfrm>
                  <a:off x="4347585" y="2472067"/>
                  <a:ext cx="80964" cy="115098"/>
                </a:xfrm>
                <a:custGeom>
                  <a:avLst/>
                  <a:gdLst>
                    <a:gd name="connsiteX0" fmla="*/ 80919 w 80964"/>
                    <a:gd name="connsiteY0" fmla="*/ 115054 h 115098"/>
                    <a:gd name="connsiteX1" fmla="*/ 80680 w 80964"/>
                    <a:gd name="connsiteY1" fmla="*/ 115054 h 115098"/>
                    <a:gd name="connsiteX2" fmla="*/ 59568 w 80964"/>
                    <a:gd name="connsiteY2" fmla="*/ 92985 h 115098"/>
                    <a:gd name="connsiteX3" fmla="*/ 59508 w 80964"/>
                    <a:gd name="connsiteY3" fmla="*/ 92925 h 115098"/>
                    <a:gd name="connsiteX4" fmla="*/ 46769 w 80964"/>
                    <a:gd name="connsiteY4" fmla="*/ 54469 h 115098"/>
                    <a:gd name="connsiteX5" fmla="*/ 15969 w 80964"/>
                    <a:gd name="connsiteY5" fmla="*/ 14518 h 115098"/>
                    <a:gd name="connsiteX6" fmla="*/ 60 w 80964"/>
                    <a:gd name="connsiteY6" fmla="*/ 2856 h 115098"/>
                    <a:gd name="connsiteX7" fmla="*/ 0 w 80964"/>
                    <a:gd name="connsiteY7" fmla="*/ 2617 h 115098"/>
                    <a:gd name="connsiteX8" fmla="*/ 239 w 80964"/>
                    <a:gd name="connsiteY8" fmla="*/ 2557 h 115098"/>
                    <a:gd name="connsiteX9" fmla="*/ 15550 w 80964"/>
                    <a:gd name="connsiteY9" fmla="*/ 13800 h 115098"/>
                    <a:gd name="connsiteX10" fmla="*/ 8074 w 80964"/>
                    <a:gd name="connsiteY10" fmla="*/ 224 h 115098"/>
                    <a:gd name="connsiteX11" fmla="*/ 8134 w 80964"/>
                    <a:gd name="connsiteY11" fmla="*/ 45 h 115098"/>
                    <a:gd name="connsiteX12" fmla="*/ 8313 w 80964"/>
                    <a:gd name="connsiteY12" fmla="*/ 45 h 115098"/>
                    <a:gd name="connsiteX13" fmla="*/ 21830 w 80964"/>
                    <a:gd name="connsiteY13" fmla="*/ 9315 h 115098"/>
                    <a:gd name="connsiteX14" fmla="*/ 21890 w 80964"/>
                    <a:gd name="connsiteY14" fmla="*/ 9434 h 115098"/>
                    <a:gd name="connsiteX15" fmla="*/ 21830 w 80964"/>
                    <a:gd name="connsiteY15" fmla="*/ 9554 h 115098"/>
                    <a:gd name="connsiteX16" fmla="*/ 16268 w 80964"/>
                    <a:gd name="connsiteY16" fmla="*/ 14458 h 115098"/>
                    <a:gd name="connsiteX17" fmla="*/ 47009 w 80964"/>
                    <a:gd name="connsiteY17" fmla="*/ 54290 h 115098"/>
                    <a:gd name="connsiteX18" fmla="*/ 47009 w 80964"/>
                    <a:gd name="connsiteY18" fmla="*/ 54350 h 115098"/>
                    <a:gd name="connsiteX19" fmla="*/ 59747 w 80964"/>
                    <a:gd name="connsiteY19" fmla="*/ 92806 h 115098"/>
                    <a:gd name="connsiteX20" fmla="*/ 80859 w 80964"/>
                    <a:gd name="connsiteY20" fmla="*/ 114815 h 115098"/>
                    <a:gd name="connsiteX21" fmla="*/ 80919 w 80964"/>
                    <a:gd name="connsiteY21" fmla="*/ 114935 h 115098"/>
                    <a:gd name="connsiteX22" fmla="*/ 80919 w 80964"/>
                    <a:gd name="connsiteY22" fmla="*/ 115054 h 115098"/>
                    <a:gd name="connsiteX23" fmla="*/ 16148 w 80964"/>
                    <a:gd name="connsiteY23" fmla="*/ 14219 h 115098"/>
                    <a:gd name="connsiteX24" fmla="*/ 21531 w 80964"/>
                    <a:gd name="connsiteY24" fmla="*/ 9494 h 115098"/>
                    <a:gd name="connsiteX25" fmla="*/ 8732 w 80964"/>
                    <a:gd name="connsiteY25" fmla="*/ 763 h 115098"/>
                    <a:gd name="connsiteX26" fmla="*/ 16148 w 80964"/>
                    <a:gd name="connsiteY26" fmla="*/ 14219 h 115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0964" h="115098">
                      <a:moveTo>
                        <a:pt x="80919" y="115054"/>
                      </a:moveTo>
                      <a:cubicBezTo>
                        <a:pt x="80859" y="115114"/>
                        <a:pt x="80740" y="115114"/>
                        <a:pt x="80680" y="115054"/>
                      </a:cubicBezTo>
                      <a:lnTo>
                        <a:pt x="59568" y="92985"/>
                      </a:lnTo>
                      <a:cubicBezTo>
                        <a:pt x="59568" y="92985"/>
                        <a:pt x="59508" y="92925"/>
                        <a:pt x="59508" y="92925"/>
                      </a:cubicBezTo>
                      <a:lnTo>
                        <a:pt x="46769" y="54469"/>
                      </a:lnTo>
                      <a:lnTo>
                        <a:pt x="15969" y="14518"/>
                      </a:lnTo>
                      <a:lnTo>
                        <a:pt x="60" y="2856"/>
                      </a:lnTo>
                      <a:cubicBezTo>
                        <a:pt x="0" y="2796"/>
                        <a:pt x="0" y="2676"/>
                        <a:pt x="0" y="2617"/>
                      </a:cubicBezTo>
                      <a:cubicBezTo>
                        <a:pt x="60" y="2557"/>
                        <a:pt x="180" y="2557"/>
                        <a:pt x="239" y="2557"/>
                      </a:cubicBezTo>
                      <a:lnTo>
                        <a:pt x="15550" y="13800"/>
                      </a:lnTo>
                      <a:lnTo>
                        <a:pt x="8074" y="224"/>
                      </a:lnTo>
                      <a:cubicBezTo>
                        <a:pt x="8014" y="164"/>
                        <a:pt x="8074" y="45"/>
                        <a:pt x="8134" y="45"/>
                      </a:cubicBezTo>
                      <a:cubicBezTo>
                        <a:pt x="8194" y="-15"/>
                        <a:pt x="8253" y="-15"/>
                        <a:pt x="8313" y="45"/>
                      </a:cubicBezTo>
                      <a:lnTo>
                        <a:pt x="21830" y="9315"/>
                      </a:lnTo>
                      <a:cubicBezTo>
                        <a:pt x="21890" y="9315"/>
                        <a:pt x="21890" y="9375"/>
                        <a:pt x="21890" y="9434"/>
                      </a:cubicBezTo>
                      <a:cubicBezTo>
                        <a:pt x="21890" y="9494"/>
                        <a:pt x="21890" y="9554"/>
                        <a:pt x="21830" y="9554"/>
                      </a:cubicBezTo>
                      <a:lnTo>
                        <a:pt x="16268" y="14458"/>
                      </a:lnTo>
                      <a:lnTo>
                        <a:pt x="47009" y="54290"/>
                      </a:lnTo>
                      <a:cubicBezTo>
                        <a:pt x="47009" y="54290"/>
                        <a:pt x="47009" y="54350"/>
                        <a:pt x="47009" y="54350"/>
                      </a:cubicBezTo>
                      <a:lnTo>
                        <a:pt x="59747" y="92806"/>
                      </a:lnTo>
                      <a:lnTo>
                        <a:pt x="80859" y="114815"/>
                      </a:lnTo>
                      <a:cubicBezTo>
                        <a:pt x="80919" y="114875"/>
                        <a:pt x="80919" y="114875"/>
                        <a:pt x="80919" y="114935"/>
                      </a:cubicBezTo>
                      <a:cubicBezTo>
                        <a:pt x="80979" y="114994"/>
                        <a:pt x="80979" y="115054"/>
                        <a:pt x="80919" y="115054"/>
                      </a:cubicBezTo>
                      <a:close/>
                      <a:moveTo>
                        <a:pt x="16148" y="14219"/>
                      </a:moveTo>
                      <a:lnTo>
                        <a:pt x="21531" y="9494"/>
                      </a:lnTo>
                      <a:lnTo>
                        <a:pt x="8732" y="763"/>
                      </a:lnTo>
                      <a:lnTo>
                        <a:pt x="16148" y="14219"/>
                      </a:lnTo>
                      <a:close/>
                    </a:path>
                  </a:pathLst>
                </a:custGeom>
                <a:grpFill/>
                <a:ln w="6350" cap="flat">
                  <a:solidFill>
                    <a:schemeClr val="bg1">
                      <a:alpha val="40000"/>
                    </a:schemeClr>
                  </a:solidFill>
                  <a:prstDash val="solid"/>
                  <a:miter/>
                </a:ln>
              </p:spPr>
              <p:txBody>
                <a:bodyPr rtlCol="0" anchor="ctr"/>
                <a:lstStyle/>
                <a:p>
                  <a:endParaRPr lang="en-GB"/>
                </a:p>
              </p:txBody>
            </p:sp>
            <p:sp>
              <p:nvSpPr>
                <p:cNvPr id="8862" name="Vrije vorm: vorm 8861">
                  <a:extLst>
                    <a:ext uri="{FF2B5EF4-FFF2-40B4-BE49-F238E27FC236}">
                      <a16:creationId xmlns:a16="http://schemas.microsoft.com/office/drawing/2014/main" id="{0C8DD0F2-8DF8-4CA7-84BA-58A6B8D1A6F5}"/>
                    </a:ext>
                  </a:extLst>
                </p:cNvPr>
                <p:cNvSpPr/>
                <p:nvPr/>
              </p:nvSpPr>
              <p:spPr>
                <a:xfrm>
                  <a:off x="4368673" y="2457552"/>
                  <a:ext cx="147270" cy="56723"/>
                </a:xfrm>
                <a:custGeom>
                  <a:avLst/>
                  <a:gdLst>
                    <a:gd name="connsiteX0" fmla="*/ 147270 w 147270"/>
                    <a:gd name="connsiteY0" fmla="*/ 56544 h 56723"/>
                    <a:gd name="connsiteX1" fmla="*/ 147210 w 147270"/>
                    <a:gd name="connsiteY1" fmla="*/ 56365 h 56723"/>
                    <a:gd name="connsiteX2" fmla="*/ 89616 w 147270"/>
                    <a:gd name="connsiteY2" fmla="*/ 27957 h 56723"/>
                    <a:gd name="connsiteX3" fmla="*/ 89556 w 147270"/>
                    <a:gd name="connsiteY3" fmla="*/ 27957 h 56723"/>
                    <a:gd name="connsiteX4" fmla="*/ 43325 w 147270"/>
                    <a:gd name="connsiteY4" fmla="*/ 21258 h 56723"/>
                    <a:gd name="connsiteX5" fmla="*/ 5886 w 147270"/>
                    <a:gd name="connsiteY5" fmla="*/ 27 h 56723"/>
                    <a:gd name="connsiteX6" fmla="*/ 5707 w 147270"/>
                    <a:gd name="connsiteY6" fmla="*/ 27 h 56723"/>
                    <a:gd name="connsiteX7" fmla="*/ 5647 w 147270"/>
                    <a:gd name="connsiteY7" fmla="*/ 206 h 56723"/>
                    <a:gd name="connsiteX8" fmla="*/ 10670 w 147270"/>
                    <a:gd name="connsiteY8" fmla="*/ 17251 h 56723"/>
                    <a:gd name="connsiteX9" fmla="*/ 264 w 147270"/>
                    <a:gd name="connsiteY9" fmla="*/ 5050 h 56723"/>
                    <a:gd name="connsiteX10" fmla="*/ 85 w 147270"/>
                    <a:gd name="connsiteY10" fmla="*/ 4991 h 56723"/>
                    <a:gd name="connsiteX11" fmla="*/ 25 w 147270"/>
                    <a:gd name="connsiteY11" fmla="*/ 5170 h 56723"/>
                    <a:gd name="connsiteX12" fmla="*/ 5886 w 147270"/>
                    <a:gd name="connsiteY12" fmla="*/ 21438 h 56723"/>
                    <a:gd name="connsiteX13" fmla="*/ 6065 w 147270"/>
                    <a:gd name="connsiteY13" fmla="*/ 21557 h 56723"/>
                    <a:gd name="connsiteX14" fmla="*/ 6185 w 147270"/>
                    <a:gd name="connsiteY14" fmla="*/ 21378 h 56723"/>
                    <a:gd name="connsiteX15" fmla="*/ 623 w 147270"/>
                    <a:gd name="connsiteY15" fmla="*/ 5948 h 56723"/>
                    <a:gd name="connsiteX16" fmla="*/ 10970 w 147270"/>
                    <a:gd name="connsiteY16" fmla="*/ 18029 h 56723"/>
                    <a:gd name="connsiteX17" fmla="*/ 11149 w 147270"/>
                    <a:gd name="connsiteY17" fmla="*/ 18088 h 56723"/>
                    <a:gd name="connsiteX18" fmla="*/ 11209 w 147270"/>
                    <a:gd name="connsiteY18" fmla="*/ 17909 h 56723"/>
                    <a:gd name="connsiteX19" fmla="*/ 6125 w 147270"/>
                    <a:gd name="connsiteY19" fmla="*/ 565 h 56723"/>
                    <a:gd name="connsiteX20" fmla="*/ 43205 w 147270"/>
                    <a:gd name="connsiteY20" fmla="*/ 21617 h 56723"/>
                    <a:gd name="connsiteX21" fmla="*/ 43265 w 147270"/>
                    <a:gd name="connsiteY21" fmla="*/ 21617 h 56723"/>
                    <a:gd name="connsiteX22" fmla="*/ 89496 w 147270"/>
                    <a:gd name="connsiteY22" fmla="*/ 28315 h 56723"/>
                    <a:gd name="connsiteX23" fmla="*/ 147031 w 147270"/>
                    <a:gd name="connsiteY23" fmla="*/ 56724 h 56723"/>
                    <a:gd name="connsiteX24" fmla="*/ 147270 w 147270"/>
                    <a:gd name="connsiteY24" fmla="*/ 56544 h 56723"/>
                    <a:gd name="connsiteX25" fmla="*/ 147270 w 147270"/>
                    <a:gd name="connsiteY25" fmla="*/ 56544 h 5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7270" h="56723">
                      <a:moveTo>
                        <a:pt x="147270" y="56544"/>
                      </a:moveTo>
                      <a:cubicBezTo>
                        <a:pt x="147270" y="56485"/>
                        <a:pt x="147270" y="56425"/>
                        <a:pt x="147210" y="56365"/>
                      </a:cubicBezTo>
                      <a:lnTo>
                        <a:pt x="89616" y="27957"/>
                      </a:lnTo>
                      <a:cubicBezTo>
                        <a:pt x="89616" y="27957"/>
                        <a:pt x="89556" y="27957"/>
                        <a:pt x="89556" y="27957"/>
                      </a:cubicBezTo>
                      <a:lnTo>
                        <a:pt x="43325" y="21258"/>
                      </a:lnTo>
                      <a:lnTo>
                        <a:pt x="5886" y="27"/>
                      </a:lnTo>
                      <a:cubicBezTo>
                        <a:pt x="5826" y="-33"/>
                        <a:pt x="5766" y="27"/>
                        <a:pt x="5707" y="27"/>
                      </a:cubicBezTo>
                      <a:cubicBezTo>
                        <a:pt x="5647" y="86"/>
                        <a:pt x="5647" y="146"/>
                        <a:pt x="5647" y="206"/>
                      </a:cubicBezTo>
                      <a:lnTo>
                        <a:pt x="10670" y="17251"/>
                      </a:lnTo>
                      <a:lnTo>
                        <a:pt x="264" y="5050"/>
                      </a:lnTo>
                      <a:cubicBezTo>
                        <a:pt x="204" y="4991"/>
                        <a:pt x="145" y="4991"/>
                        <a:pt x="85" y="4991"/>
                      </a:cubicBezTo>
                      <a:cubicBezTo>
                        <a:pt x="25" y="5050"/>
                        <a:pt x="-35" y="5110"/>
                        <a:pt x="25" y="5170"/>
                      </a:cubicBezTo>
                      <a:lnTo>
                        <a:pt x="5886" y="21438"/>
                      </a:lnTo>
                      <a:cubicBezTo>
                        <a:pt x="5946" y="21497"/>
                        <a:pt x="6006" y="21557"/>
                        <a:pt x="6065" y="21557"/>
                      </a:cubicBezTo>
                      <a:cubicBezTo>
                        <a:pt x="6125" y="21557"/>
                        <a:pt x="6185" y="21438"/>
                        <a:pt x="6185" y="21378"/>
                      </a:cubicBezTo>
                      <a:lnTo>
                        <a:pt x="623" y="5948"/>
                      </a:lnTo>
                      <a:lnTo>
                        <a:pt x="10970" y="18029"/>
                      </a:lnTo>
                      <a:cubicBezTo>
                        <a:pt x="11029" y="18088"/>
                        <a:pt x="11089" y="18088"/>
                        <a:pt x="11149" y="18088"/>
                      </a:cubicBezTo>
                      <a:cubicBezTo>
                        <a:pt x="11209" y="18029"/>
                        <a:pt x="11269" y="17969"/>
                        <a:pt x="11209" y="17909"/>
                      </a:cubicBezTo>
                      <a:lnTo>
                        <a:pt x="6125" y="565"/>
                      </a:lnTo>
                      <a:lnTo>
                        <a:pt x="43205" y="21617"/>
                      </a:lnTo>
                      <a:cubicBezTo>
                        <a:pt x="43205" y="21617"/>
                        <a:pt x="43265" y="21617"/>
                        <a:pt x="43265" y="21617"/>
                      </a:cubicBezTo>
                      <a:lnTo>
                        <a:pt x="89496" y="28315"/>
                      </a:lnTo>
                      <a:lnTo>
                        <a:pt x="147031" y="56724"/>
                      </a:lnTo>
                      <a:cubicBezTo>
                        <a:pt x="147091" y="56664"/>
                        <a:pt x="147210" y="56664"/>
                        <a:pt x="147270" y="56544"/>
                      </a:cubicBezTo>
                      <a:cubicBezTo>
                        <a:pt x="147270" y="56544"/>
                        <a:pt x="147270" y="56544"/>
                        <a:pt x="147270" y="5654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63" name="Vrije vorm: vorm 8862">
                  <a:extLst>
                    <a:ext uri="{FF2B5EF4-FFF2-40B4-BE49-F238E27FC236}">
                      <a16:creationId xmlns:a16="http://schemas.microsoft.com/office/drawing/2014/main" id="{72F4675D-56E0-414E-A994-7C20507A83E8}"/>
                    </a:ext>
                  </a:extLst>
                </p:cNvPr>
                <p:cNvSpPr/>
                <p:nvPr/>
              </p:nvSpPr>
              <p:spPr>
                <a:xfrm>
                  <a:off x="4350770" y="2454125"/>
                  <a:ext cx="11707" cy="14064"/>
                </a:xfrm>
                <a:custGeom>
                  <a:avLst/>
                  <a:gdLst>
                    <a:gd name="connsiteX0" fmla="*/ 10810 w 11707"/>
                    <a:gd name="connsiteY0" fmla="*/ 13980 h 14064"/>
                    <a:gd name="connsiteX1" fmla="*/ 10810 w 11707"/>
                    <a:gd name="connsiteY1" fmla="*/ 13980 h 14064"/>
                    <a:gd name="connsiteX2" fmla="*/ 11707 w 11707"/>
                    <a:gd name="connsiteY2" fmla="*/ 1779 h 14064"/>
                    <a:gd name="connsiteX3" fmla="*/ 11528 w 11707"/>
                    <a:gd name="connsiteY3" fmla="*/ 1600 h 14064"/>
                    <a:gd name="connsiteX4" fmla="*/ 11348 w 11707"/>
                    <a:gd name="connsiteY4" fmla="*/ 1719 h 14064"/>
                    <a:gd name="connsiteX5" fmla="*/ 11348 w 11707"/>
                    <a:gd name="connsiteY5" fmla="*/ 1719 h 14064"/>
                    <a:gd name="connsiteX6" fmla="*/ 10511 w 11707"/>
                    <a:gd name="connsiteY6" fmla="*/ 13442 h 14064"/>
                    <a:gd name="connsiteX7" fmla="*/ 284 w 11707"/>
                    <a:gd name="connsiteY7" fmla="*/ 45 h 14064"/>
                    <a:gd name="connsiteX8" fmla="*/ 45 w 11707"/>
                    <a:gd name="connsiteY8" fmla="*/ 45 h 14064"/>
                    <a:gd name="connsiteX9" fmla="*/ 45 w 11707"/>
                    <a:gd name="connsiteY9" fmla="*/ 284 h 14064"/>
                    <a:gd name="connsiteX10" fmla="*/ 10511 w 11707"/>
                    <a:gd name="connsiteY10" fmla="*/ 13980 h 14064"/>
                    <a:gd name="connsiteX11" fmla="*/ 10690 w 11707"/>
                    <a:gd name="connsiteY11" fmla="*/ 14040 h 14064"/>
                    <a:gd name="connsiteX12" fmla="*/ 10810 w 11707"/>
                    <a:gd name="connsiteY12" fmla="*/ 13980 h 1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07" h="14064">
                      <a:moveTo>
                        <a:pt x="10810" y="13980"/>
                      </a:moveTo>
                      <a:cubicBezTo>
                        <a:pt x="10810" y="13980"/>
                        <a:pt x="10810" y="13980"/>
                        <a:pt x="10810" y="13980"/>
                      </a:cubicBezTo>
                      <a:lnTo>
                        <a:pt x="11707" y="1779"/>
                      </a:lnTo>
                      <a:cubicBezTo>
                        <a:pt x="11707" y="1719"/>
                        <a:pt x="11648" y="1600"/>
                        <a:pt x="11528" y="1600"/>
                      </a:cubicBezTo>
                      <a:cubicBezTo>
                        <a:pt x="11468" y="1600"/>
                        <a:pt x="11348" y="1660"/>
                        <a:pt x="11348" y="1719"/>
                      </a:cubicBezTo>
                      <a:cubicBezTo>
                        <a:pt x="11348" y="1719"/>
                        <a:pt x="11348" y="1719"/>
                        <a:pt x="11348" y="1719"/>
                      </a:cubicBezTo>
                      <a:lnTo>
                        <a:pt x="10511" y="13442"/>
                      </a:lnTo>
                      <a:lnTo>
                        <a:pt x="284" y="45"/>
                      </a:lnTo>
                      <a:cubicBezTo>
                        <a:pt x="224" y="-15"/>
                        <a:pt x="105" y="-15"/>
                        <a:pt x="45" y="45"/>
                      </a:cubicBezTo>
                      <a:cubicBezTo>
                        <a:pt x="-15" y="105"/>
                        <a:pt x="-15" y="224"/>
                        <a:pt x="45" y="284"/>
                      </a:cubicBezTo>
                      <a:lnTo>
                        <a:pt x="10511" y="13980"/>
                      </a:lnTo>
                      <a:cubicBezTo>
                        <a:pt x="10571" y="14040"/>
                        <a:pt x="10631" y="14040"/>
                        <a:pt x="10690" y="14040"/>
                      </a:cubicBezTo>
                      <a:cubicBezTo>
                        <a:pt x="10750" y="14099"/>
                        <a:pt x="10750" y="14040"/>
                        <a:pt x="10810" y="1398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64" name="Vrije vorm: vorm 8863">
                  <a:extLst>
                    <a:ext uri="{FF2B5EF4-FFF2-40B4-BE49-F238E27FC236}">
                      <a16:creationId xmlns:a16="http://schemas.microsoft.com/office/drawing/2014/main" id="{AF1438DF-D91D-4A65-911D-D6ADBDD0385D}"/>
                    </a:ext>
                  </a:extLst>
                </p:cNvPr>
                <p:cNvSpPr/>
                <p:nvPr/>
              </p:nvSpPr>
              <p:spPr>
                <a:xfrm>
                  <a:off x="4350950" y="2455739"/>
                  <a:ext cx="11348" cy="10735"/>
                </a:xfrm>
                <a:custGeom>
                  <a:avLst/>
                  <a:gdLst>
                    <a:gd name="connsiteX0" fmla="*/ 11349 w 11348"/>
                    <a:gd name="connsiteY0" fmla="*/ 164 h 10735"/>
                    <a:gd name="connsiteX1" fmla="*/ 11289 w 11348"/>
                    <a:gd name="connsiteY1" fmla="*/ 45 h 10735"/>
                    <a:gd name="connsiteX2" fmla="*/ 11050 w 11348"/>
                    <a:gd name="connsiteY2" fmla="*/ 45 h 10735"/>
                    <a:gd name="connsiteX3" fmla="*/ 45 w 11348"/>
                    <a:gd name="connsiteY3" fmla="*/ 10451 h 10735"/>
                    <a:gd name="connsiteX4" fmla="*/ 45 w 11348"/>
                    <a:gd name="connsiteY4" fmla="*/ 10691 h 10735"/>
                    <a:gd name="connsiteX5" fmla="*/ 284 w 11348"/>
                    <a:gd name="connsiteY5" fmla="*/ 10691 h 10735"/>
                    <a:gd name="connsiteX6" fmla="*/ 11289 w 11348"/>
                    <a:gd name="connsiteY6" fmla="*/ 284 h 10735"/>
                    <a:gd name="connsiteX7" fmla="*/ 11349 w 11348"/>
                    <a:gd name="connsiteY7" fmla="*/ 164 h 1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8" h="10735">
                      <a:moveTo>
                        <a:pt x="11349" y="164"/>
                      </a:moveTo>
                      <a:cubicBezTo>
                        <a:pt x="11349" y="105"/>
                        <a:pt x="11349" y="45"/>
                        <a:pt x="11289" y="45"/>
                      </a:cubicBezTo>
                      <a:cubicBezTo>
                        <a:pt x="11229" y="-15"/>
                        <a:pt x="11109" y="-15"/>
                        <a:pt x="11050" y="45"/>
                      </a:cubicBezTo>
                      <a:lnTo>
                        <a:pt x="45" y="10451"/>
                      </a:lnTo>
                      <a:cubicBezTo>
                        <a:pt x="-15" y="10511"/>
                        <a:pt x="-15" y="10631"/>
                        <a:pt x="45" y="10691"/>
                      </a:cubicBezTo>
                      <a:cubicBezTo>
                        <a:pt x="105" y="10750"/>
                        <a:pt x="224" y="10750"/>
                        <a:pt x="284" y="10691"/>
                      </a:cubicBezTo>
                      <a:lnTo>
                        <a:pt x="11289" y="284"/>
                      </a:lnTo>
                      <a:cubicBezTo>
                        <a:pt x="11349" y="224"/>
                        <a:pt x="11349" y="224"/>
                        <a:pt x="11349" y="16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65" name="Vrije vorm: vorm 8864">
                  <a:extLst>
                    <a:ext uri="{FF2B5EF4-FFF2-40B4-BE49-F238E27FC236}">
                      <a16:creationId xmlns:a16="http://schemas.microsoft.com/office/drawing/2014/main" id="{BE917574-CE03-4B45-B809-8E570EF512B2}"/>
                    </a:ext>
                  </a:extLst>
                </p:cNvPr>
                <p:cNvSpPr/>
                <p:nvPr/>
              </p:nvSpPr>
              <p:spPr>
                <a:xfrm>
                  <a:off x="4345767" y="2449803"/>
                  <a:ext cx="23170" cy="22666"/>
                </a:xfrm>
                <a:custGeom>
                  <a:avLst/>
                  <a:gdLst>
                    <a:gd name="connsiteX0" fmla="*/ 23051 w 23170"/>
                    <a:gd name="connsiteY0" fmla="*/ 12978 h 22666"/>
                    <a:gd name="connsiteX1" fmla="*/ 13242 w 23170"/>
                    <a:gd name="connsiteY1" fmla="*/ 14713 h 22666"/>
                    <a:gd name="connsiteX2" fmla="*/ 12644 w 23170"/>
                    <a:gd name="connsiteY2" fmla="*/ 16208 h 22666"/>
                    <a:gd name="connsiteX3" fmla="*/ 15694 w 23170"/>
                    <a:gd name="connsiteY3" fmla="*/ 18122 h 22666"/>
                    <a:gd name="connsiteX4" fmla="*/ 15754 w 23170"/>
                    <a:gd name="connsiteY4" fmla="*/ 18361 h 22666"/>
                    <a:gd name="connsiteX5" fmla="*/ 15515 w 23170"/>
                    <a:gd name="connsiteY5" fmla="*/ 18421 h 22666"/>
                    <a:gd name="connsiteX6" fmla="*/ 12465 w 23170"/>
                    <a:gd name="connsiteY6" fmla="*/ 16567 h 22666"/>
                    <a:gd name="connsiteX7" fmla="*/ 10192 w 23170"/>
                    <a:gd name="connsiteY7" fmla="*/ 22547 h 22666"/>
                    <a:gd name="connsiteX8" fmla="*/ 10013 w 23170"/>
                    <a:gd name="connsiteY8" fmla="*/ 22667 h 22666"/>
                    <a:gd name="connsiteX9" fmla="*/ 9893 w 23170"/>
                    <a:gd name="connsiteY9" fmla="*/ 22488 h 22666"/>
                    <a:gd name="connsiteX10" fmla="*/ 10013 w 23170"/>
                    <a:gd name="connsiteY10" fmla="*/ 15311 h 22666"/>
                    <a:gd name="connsiteX11" fmla="*/ 5467 w 23170"/>
                    <a:gd name="connsiteY11" fmla="*/ 16148 h 22666"/>
                    <a:gd name="connsiteX12" fmla="*/ 5408 w 23170"/>
                    <a:gd name="connsiteY12" fmla="*/ 16148 h 22666"/>
                    <a:gd name="connsiteX13" fmla="*/ 5348 w 23170"/>
                    <a:gd name="connsiteY13" fmla="*/ 16088 h 22666"/>
                    <a:gd name="connsiteX14" fmla="*/ 5348 w 23170"/>
                    <a:gd name="connsiteY14" fmla="*/ 16088 h 22666"/>
                    <a:gd name="connsiteX15" fmla="*/ 5348 w 23170"/>
                    <a:gd name="connsiteY15" fmla="*/ 16088 h 22666"/>
                    <a:gd name="connsiteX16" fmla="*/ 5348 w 23170"/>
                    <a:gd name="connsiteY16" fmla="*/ 16028 h 22666"/>
                    <a:gd name="connsiteX17" fmla="*/ 5348 w 23170"/>
                    <a:gd name="connsiteY17" fmla="*/ 16028 h 22666"/>
                    <a:gd name="connsiteX18" fmla="*/ 5348 w 23170"/>
                    <a:gd name="connsiteY18" fmla="*/ 16028 h 22666"/>
                    <a:gd name="connsiteX19" fmla="*/ 5348 w 23170"/>
                    <a:gd name="connsiteY19" fmla="*/ 16028 h 22666"/>
                    <a:gd name="connsiteX20" fmla="*/ 5348 w 23170"/>
                    <a:gd name="connsiteY20" fmla="*/ 16028 h 22666"/>
                    <a:gd name="connsiteX21" fmla="*/ 5348 w 23170"/>
                    <a:gd name="connsiteY21" fmla="*/ 15969 h 22666"/>
                    <a:gd name="connsiteX22" fmla="*/ 5228 w 23170"/>
                    <a:gd name="connsiteY22" fmla="*/ 12021 h 22666"/>
                    <a:gd name="connsiteX23" fmla="*/ 85 w 23170"/>
                    <a:gd name="connsiteY23" fmla="*/ 8852 h 22666"/>
                    <a:gd name="connsiteX24" fmla="*/ 25 w 23170"/>
                    <a:gd name="connsiteY24" fmla="*/ 8672 h 22666"/>
                    <a:gd name="connsiteX25" fmla="*/ 204 w 23170"/>
                    <a:gd name="connsiteY25" fmla="*/ 8552 h 22666"/>
                    <a:gd name="connsiteX26" fmla="*/ 5109 w 23170"/>
                    <a:gd name="connsiteY26" fmla="*/ 9449 h 22666"/>
                    <a:gd name="connsiteX27" fmla="*/ 4989 w 23170"/>
                    <a:gd name="connsiteY27" fmla="*/ 4605 h 22666"/>
                    <a:gd name="connsiteX28" fmla="*/ 5049 w 23170"/>
                    <a:gd name="connsiteY28" fmla="*/ 4486 h 22666"/>
                    <a:gd name="connsiteX29" fmla="*/ 5168 w 23170"/>
                    <a:gd name="connsiteY29" fmla="*/ 4426 h 22666"/>
                    <a:gd name="connsiteX30" fmla="*/ 8817 w 23170"/>
                    <a:gd name="connsiteY30" fmla="*/ 4904 h 22666"/>
                    <a:gd name="connsiteX31" fmla="*/ 10371 w 23170"/>
                    <a:gd name="connsiteY31" fmla="*/ 120 h 22666"/>
                    <a:gd name="connsiteX32" fmla="*/ 10551 w 23170"/>
                    <a:gd name="connsiteY32" fmla="*/ 0 h 22666"/>
                    <a:gd name="connsiteX33" fmla="*/ 10671 w 23170"/>
                    <a:gd name="connsiteY33" fmla="*/ 179 h 22666"/>
                    <a:gd name="connsiteX34" fmla="*/ 10551 w 23170"/>
                    <a:gd name="connsiteY34" fmla="*/ 5143 h 22666"/>
                    <a:gd name="connsiteX35" fmla="*/ 16412 w 23170"/>
                    <a:gd name="connsiteY35" fmla="*/ 5921 h 22666"/>
                    <a:gd name="connsiteX36" fmla="*/ 16532 w 23170"/>
                    <a:gd name="connsiteY36" fmla="*/ 5981 h 22666"/>
                    <a:gd name="connsiteX37" fmla="*/ 16532 w 23170"/>
                    <a:gd name="connsiteY37" fmla="*/ 6100 h 22666"/>
                    <a:gd name="connsiteX38" fmla="*/ 14618 w 23170"/>
                    <a:gd name="connsiteY38" fmla="*/ 11064 h 22666"/>
                    <a:gd name="connsiteX39" fmla="*/ 23051 w 23170"/>
                    <a:gd name="connsiteY39" fmla="*/ 12560 h 22666"/>
                    <a:gd name="connsiteX40" fmla="*/ 23170 w 23170"/>
                    <a:gd name="connsiteY40" fmla="*/ 12739 h 22666"/>
                    <a:gd name="connsiteX41" fmla="*/ 23170 w 23170"/>
                    <a:gd name="connsiteY41" fmla="*/ 12739 h 22666"/>
                    <a:gd name="connsiteX42" fmla="*/ 23051 w 23170"/>
                    <a:gd name="connsiteY42" fmla="*/ 12978 h 22666"/>
                    <a:gd name="connsiteX43" fmla="*/ 13362 w 23170"/>
                    <a:gd name="connsiteY43" fmla="*/ 14354 h 22666"/>
                    <a:gd name="connsiteX44" fmla="*/ 22094 w 23170"/>
                    <a:gd name="connsiteY44" fmla="*/ 12799 h 22666"/>
                    <a:gd name="connsiteX45" fmla="*/ 14498 w 23170"/>
                    <a:gd name="connsiteY45" fmla="*/ 11423 h 22666"/>
                    <a:gd name="connsiteX46" fmla="*/ 13362 w 23170"/>
                    <a:gd name="connsiteY46" fmla="*/ 14354 h 22666"/>
                    <a:gd name="connsiteX47" fmla="*/ 10431 w 23170"/>
                    <a:gd name="connsiteY47" fmla="*/ 10406 h 22666"/>
                    <a:gd name="connsiteX48" fmla="*/ 14259 w 23170"/>
                    <a:gd name="connsiteY48" fmla="*/ 11124 h 22666"/>
                    <a:gd name="connsiteX49" fmla="*/ 16113 w 23170"/>
                    <a:gd name="connsiteY49" fmla="*/ 6280 h 22666"/>
                    <a:gd name="connsiteX50" fmla="*/ 10491 w 23170"/>
                    <a:gd name="connsiteY50" fmla="*/ 5502 h 22666"/>
                    <a:gd name="connsiteX51" fmla="*/ 10431 w 23170"/>
                    <a:gd name="connsiteY51" fmla="*/ 10406 h 22666"/>
                    <a:gd name="connsiteX52" fmla="*/ 10371 w 23170"/>
                    <a:gd name="connsiteY52" fmla="*/ 14832 h 22666"/>
                    <a:gd name="connsiteX53" fmla="*/ 10431 w 23170"/>
                    <a:gd name="connsiteY53" fmla="*/ 14892 h 22666"/>
                    <a:gd name="connsiteX54" fmla="*/ 12943 w 23170"/>
                    <a:gd name="connsiteY54" fmla="*/ 14414 h 22666"/>
                    <a:gd name="connsiteX55" fmla="*/ 14139 w 23170"/>
                    <a:gd name="connsiteY55" fmla="*/ 11363 h 22666"/>
                    <a:gd name="connsiteX56" fmla="*/ 10431 w 23170"/>
                    <a:gd name="connsiteY56" fmla="*/ 10706 h 22666"/>
                    <a:gd name="connsiteX57" fmla="*/ 10371 w 23170"/>
                    <a:gd name="connsiteY57" fmla="*/ 14832 h 22666"/>
                    <a:gd name="connsiteX58" fmla="*/ 12345 w 23170"/>
                    <a:gd name="connsiteY58" fmla="*/ 16088 h 22666"/>
                    <a:gd name="connsiteX59" fmla="*/ 12824 w 23170"/>
                    <a:gd name="connsiteY59" fmla="*/ 14832 h 22666"/>
                    <a:gd name="connsiteX60" fmla="*/ 10850 w 23170"/>
                    <a:gd name="connsiteY60" fmla="*/ 15191 h 22666"/>
                    <a:gd name="connsiteX61" fmla="*/ 12345 w 23170"/>
                    <a:gd name="connsiteY61" fmla="*/ 16088 h 22666"/>
                    <a:gd name="connsiteX62" fmla="*/ 10371 w 23170"/>
                    <a:gd name="connsiteY62" fmla="*/ 15251 h 22666"/>
                    <a:gd name="connsiteX63" fmla="*/ 10252 w 23170"/>
                    <a:gd name="connsiteY63" fmla="*/ 21590 h 22666"/>
                    <a:gd name="connsiteX64" fmla="*/ 12225 w 23170"/>
                    <a:gd name="connsiteY64" fmla="*/ 16387 h 22666"/>
                    <a:gd name="connsiteX65" fmla="*/ 10371 w 23170"/>
                    <a:gd name="connsiteY65" fmla="*/ 15251 h 22666"/>
                    <a:gd name="connsiteX66" fmla="*/ 10371 w 23170"/>
                    <a:gd name="connsiteY66" fmla="*/ 15251 h 22666"/>
                    <a:gd name="connsiteX67" fmla="*/ 7441 w 23170"/>
                    <a:gd name="connsiteY67" fmla="*/ 10167 h 22666"/>
                    <a:gd name="connsiteX68" fmla="*/ 6663 w 23170"/>
                    <a:gd name="connsiteY68" fmla="*/ 12560 h 22666"/>
                    <a:gd name="connsiteX69" fmla="*/ 10013 w 23170"/>
                    <a:gd name="connsiteY69" fmla="*/ 14653 h 22666"/>
                    <a:gd name="connsiteX70" fmla="*/ 10072 w 23170"/>
                    <a:gd name="connsiteY70" fmla="*/ 10646 h 22666"/>
                    <a:gd name="connsiteX71" fmla="*/ 7441 w 23170"/>
                    <a:gd name="connsiteY71" fmla="*/ 10167 h 22666"/>
                    <a:gd name="connsiteX72" fmla="*/ 5707 w 23170"/>
                    <a:gd name="connsiteY72" fmla="*/ 15729 h 22666"/>
                    <a:gd name="connsiteX73" fmla="*/ 10013 w 23170"/>
                    <a:gd name="connsiteY73" fmla="*/ 14952 h 22666"/>
                    <a:gd name="connsiteX74" fmla="*/ 6604 w 23170"/>
                    <a:gd name="connsiteY74" fmla="*/ 12859 h 22666"/>
                    <a:gd name="connsiteX75" fmla="*/ 5707 w 23170"/>
                    <a:gd name="connsiteY75" fmla="*/ 15729 h 22666"/>
                    <a:gd name="connsiteX76" fmla="*/ 9056 w 23170"/>
                    <a:gd name="connsiteY76" fmla="*/ 5263 h 22666"/>
                    <a:gd name="connsiteX77" fmla="*/ 7561 w 23170"/>
                    <a:gd name="connsiteY77" fmla="*/ 9868 h 22666"/>
                    <a:gd name="connsiteX78" fmla="*/ 10132 w 23170"/>
                    <a:gd name="connsiteY78" fmla="*/ 10347 h 22666"/>
                    <a:gd name="connsiteX79" fmla="*/ 10252 w 23170"/>
                    <a:gd name="connsiteY79" fmla="*/ 5442 h 22666"/>
                    <a:gd name="connsiteX80" fmla="*/ 9056 w 23170"/>
                    <a:gd name="connsiteY80" fmla="*/ 5263 h 22666"/>
                    <a:gd name="connsiteX81" fmla="*/ 9116 w 23170"/>
                    <a:gd name="connsiteY81" fmla="*/ 4964 h 22666"/>
                    <a:gd name="connsiteX82" fmla="*/ 10192 w 23170"/>
                    <a:gd name="connsiteY82" fmla="*/ 5084 h 22666"/>
                    <a:gd name="connsiteX83" fmla="*/ 10252 w 23170"/>
                    <a:gd name="connsiteY83" fmla="*/ 1256 h 22666"/>
                    <a:gd name="connsiteX84" fmla="*/ 9116 w 23170"/>
                    <a:gd name="connsiteY84" fmla="*/ 4964 h 22666"/>
                    <a:gd name="connsiteX85" fmla="*/ 5408 w 23170"/>
                    <a:gd name="connsiteY85" fmla="*/ 9509 h 22666"/>
                    <a:gd name="connsiteX86" fmla="*/ 7202 w 23170"/>
                    <a:gd name="connsiteY86" fmla="*/ 9808 h 22666"/>
                    <a:gd name="connsiteX87" fmla="*/ 8637 w 23170"/>
                    <a:gd name="connsiteY87" fmla="*/ 5203 h 22666"/>
                    <a:gd name="connsiteX88" fmla="*/ 5228 w 23170"/>
                    <a:gd name="connsiteY88" fmla="*/ 4725 h 22666"/>
                    <a:gd name="connsiteX89" fmla="*/ 5408 w 23170"/>
                    <a:gd name="connsiteY89" fmla="*/ 9509 h 22666"/>
                    <a:gd name="connsiteX90" fmla="*/ 5527 w 23170"/>
                    <a:gd name="connsiteY90" fmla="*/ 11842 h 22666"/>
                    <a:gd name="connsiteX91" fmla="*/ 6424 w 23170"/>
                    <a:gd name="connsiteY91" fmla="*/ 12440 h 22666"/>
                    <a:gd name="connsiteX92" fmla="*/ 7142 w 23170"/>
                    <a:gd name="connsiteY92" fmla="*/ 10167 h 22666"/>
                    <a:gd name="connsiteX93" fmla="*/ 5467 w 23170"/>
                    <a:gd name="connsiteY93" fmla="*/ 9868 h 22666"/>
                    <a:gd name="connsiteX94" fmla="*/ 5527 w 23170"/>
                    <a:gd name="connsiteY94" fmla="*/ 11842 h 22666"/>
                    <a:gd name="connsiteX95" fmla="*/ 5587 w 23170"/>
                    <a:gd name="connsiteY95" fmla="*/ 15012 h 22666"/>
                    <a:gd name="connsiteX96" fmla="*/ 6304 w 23170"/>
                    <a:gd name="connsiteY96" fmla="*/ 12739 h 22666"/>
                    <a:gd name="connsiteX97" fmla="*/ 5527 w 23170"/>
                    <a:gd name="connsiteY97" fmla="*/ 12260 h 22666"/>
                    <a:gd name="connsiteX98" fmla="*/ 5587 w 23170"/>
                    <a:gd name="connsiteY98" fmla="*/ 15012 h 22666"/>
                    <a:gd name="connsiteX99" fmla="*/ 982 w 23170"/>
                    <a:gd name="connsiteY99" fmla="*/ 9031 h 22666"/>
                    <a:gd name="connsiteX100" fmla="*/ 5228 w 23170"/>
                    <a:gd name="connsiteY100" fmla="*/ 11662 h 22666"/>
                    <a:gd name="connsiteX101" fmla="*/ 5168 w 23170"/>
                    <a:gd name="connsiteY101" fmla="*/ 9808 h 22666"/>
                    <a:gd name="connsiteX102" fmla="*/ 982 w 23170"/>
                    <a:gd name="connsiteY102" fmla="*/ 9031 h 2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3170" h="22666">
                      <a:moveTo>
                        <a:pt x="23051" y="12978"/>
                      </a:moveTo>
                      <a:lnTo>
                        <a:pt x="13242" y="14713"/>
                      </a:lnTo>
                      <a:lnTo>
                        <a:pt x="12644" y="16208"/>
                      </a:lnTo>
                      <a:lnTo>
                        <a:pt x="15694" y="18122"/>
                      </a:lnTo>
                      <a:cubicBezTo>
                        <a:pt x="15754" y="18181"/>
                        <a:pt x="15814" y="18241"/>
                        <a:pt x="15754" y="18361"/>
                      </a:cubicBezTo>
                      <a:cubicBezTo>
                        <a:pt x="15694" y="18421"/>
                        <a:pt x="15634" y="18480"/>
                        <a:pt x="15515" y="18421"/>
                      </a:cubicBezTo>
                      <a:lnTo>
                        <a:pt x="12465" y="16567"/>
                      </a:lnTo>
                      <a:lnTo>
                        <a:pt x="10192" y="22547"/>
                      </a:lnTo>
                      <a:cubicBezTo>
                        <a:pt x="10192" y="22607"/>
                        <a:pt x="10072" y="22667"/>
                        <a:pt x="10013" y="22667"/>
                      </a:cubicBezTo>
                      <a:cubicBezTo>
                        <a:pt x="9953" y="22667"/>
                        <a:pt x="9893" y="22607"/>
                        <a:pt x="9893" y="22488"/>
                      </a:cubicBezTo>
                      <a:lnTo>
                        <a:pt x="10013" y="15311"/>
                      </a:lnTo>
                      <a:lnTo>
                        <a:pt x="5467" y="16148"/>
                      </a:lnTo>
                      <a:cubicBezTo>
                        <a:pt x="5467" y="16148"/>
                        <a:pt x="5408" y="16148"/>
                        <a:pt x="5408" y="16148"/>
                      </a:cubicBezTo>
                      <a:cubicBezTo>
                        <a:pt x="5348" y="16148"/>
                        <a:pt x="5348" y="16148"/>
                        <a:pt x="5348" y="16088"/>
                      </a:cubicBezTo>
                      <a:lnTo>
                        <a:pt x="5348" y="16088"/>
                      </a:lnTo>
                      <a:lnTo>
                        <a:pt x="5348" y="16088"/>
                      </a:lnTo>
                      <a:cubicBezTo>
                        <a:pt x="5348" y="16088"/>
                        <a:pt x="5348" y="16088"/>
                        <a:pt x="5348" y="16028"/>
                      </a:cubicBezTo>
                      <a:lnTo>
                        <a:pt x="5348" y="16028"/>
                      </a:lnTo>
                      <a:cubicBezTo>
                        <a:pt x="5348" y="16028"/>
                        <a:pt x="5348" y="16028"/>
                        <a:pt x="5348" y="16028"/>
                      </a:cubicBezTo>
                      <a:lnTo>
                        <a:pt x="5348" y="16028"/>
                      </a:lnTo>
                      <a:lnTo>
                        <a:pt x="5348" y="16028"/>
                      </a:lnTo>
                      <a:cubicBezTo>
                        <a:pt x="5348" y="16028"/>
                        <a:pt x="5348" y="15969"/>
                        <a:pt x="5348" y="15969"/>
                      </a:cubicBezTo>
                      <a:lnTo>
                        <a:pt x="5228" y="12021"/>
                      </a:lnTo>
                      <a:lnTo>
                        <a:pt x="85" y="8852"/>
                      </a:lnTo>
                      <a:cubicBezTo>
                        <a:pt x="25" y="8792"/>
                        <a:pt x="-35" y="8732"/>
                        <a:pt x="25" y="8672"/>
                      </a:cubicBezTo>
                      <a:cubicBezTo>
                        <a:pt x="25" y="8612"/>
                        <a:pt x="145" y="8552"/>
                        <a:pt x="204" y="8552"/>
                      </a:cubicBezTo>
                      <a:lnTo>
                        <a:pt x="5109" y="9449"/>
                      </a:lnTo>
                      <a:lnTo>
                        <a:pt x="4989" y="4605"/>
                      </a:lnTo>
                      <a:cubicBezTo>
                        <a:pt x="4989" y="4545"/>
                        <a:pt x="4989" y="4486"/>
                        <a:pt x="5049" y="4486"/>
                      </a:cubicBezTo>
                      <a:cubicBezTo>
                        <a:pt x="5109" y="4426"/>
                        <a:pt x="5109" y="4426"/>
                        <a:pt x="5168" y="4426"/>
                      </a:cubicBezTo>
                      <a:lnTo>
                        <a:pt x="8817" y="4904"/>
                      </a:lnTo>
                      <a:lnTo>
                        <a:pt x="10371" y="120"/>
                      </a:lnTo>
                      <a:cubicBezTo>
                        <a:pt x="10371" y="60"/>
                        <a:pt x="10491" y="0"/>
                        <a:pt x="10551" y="0"/>
                      </a:cubicBezTo>
                      <a:cubicBezTo>
                        <a:pt x="10611" y="0"/>
                        <a:pt x="10671" y="60"/>
                        <a:pt x="10671" y="179"/>
                      </a:cubicBezTo>
                      <a:lnTo>
                        <a:pt x="10551" y="5143"/>
                      </a:lnTo>
                      <a:lnTo>
                        <a:pt x="16412" y="5921"/>
                      </a:lnTo>
                      <a:cubicBezTo>
                        <a:pt x="16472" y="5921"/>
                        <a:pt x="16532" y="5981"/>
                        <a:pt x="16532" y="5981"/>
                      </a:cubicBezTo>
                      <a:cubicBezTo>
                        <a:pt x="16532" y="6041"/>
                        <a:pt x="16532" y="6100"/>
                        <a:pt x="16532" y="6100"/>
                      </a:cubicBezTo>
                      <a:lnTo>
                        <a:pt x="14618" y="11064"/>
                      </a:lnTo>
                      <a:lnTo>
                        <a:pt x="23051" y="12560"/>
                      </a:lnTo>
                      <a:cubicBezTo>
                        <a:pt x="23110" y="12560"/>
                        <a:pt x="23170" y="12619"/>
                        <a:pt x="23170" y="12739"/>
                      </a:cubicBezTo>
                      <a:cubicBezTo>
                        <a:pt x="23170" y="12739"/>
                        <a:pt x="23170" y="12739"/>
                        <a:pt x="23170" y="12739"/>
                      </a:cubicBezTo>
                      <a:cubicBezTo>
                        <a:pt x="23170" y="12918"/>
                        <a:pt x="23110" y="12978"/>
                        <a:pt x="23051" y="12978"/>
                      </a:cubicBezTo>
                      <a:close/>
                      <a:moveTo>
                        <a:pt x="13362" y="14354"/>
                      </a:moveTo>
                      <a:lnTo>
                        <a:pt x="22094" y="12799"/>
                      </a:lnTo>
                      <a:lnTo>
                        <a:pt x="14498" y="11423"/>
                      </a:lnTo>
                      <a:lnTo>
                        <a:pt x="13362" y="14354"/>
                      </a:lnTo>
                      <a:close/>
                      <a:moveTo>
                        <a:pt x="10431" y="10406"/>
                      </a:moveTo>
                      <a:lnTo>
                        <a:pt x="14259" y="11124"/>
                      </a:lnTo>
                      <a:lnTo>
                        <a:pt x="16113" y="6280"/>
                      </a:lnTo>
                      <a:lnTo>
                        <a:pt x="10491" y="5502"/>
                      </a:lnTo>
                      <a:lnTo>
                        <a:pt x="10431" y="10406"/>
                      </a:lnTo>
                      <a:close/>
                      <a:moveTo>
                        <a:pt x="10371" y="14832"/>
                      </a:moveTo>
                      <a:lnTo>
                        <a:pt x="10431" y="14892"/>
                      </a:lnTo>
                      <a:lnTo>
                        <a:pt x="12943" y="14414"/>
                      </a:lnTo>
                      <a:lnTo>
                        <a:pt x="14139" y="11363"/>
                      </a:lnTo>
                      <a:lnTo>
                        <a:pt x="10431" y="10706"/>
                      </a:lnTo>
                      <a:lnTo>
                        <a:pt x="10371" y="14832"/>
                      </a:lnTo>
                      <a:close/>
                      <a:moveTo>
                        <a:pt x="12345" y="16088"/>
                      </a:moveTo>
                      <a:lnTo>
                        <a:pt x="12824" y="14832"/>
                      </a:lnTo>
                      <a:lnTo>
                        <a:pt x="10850" y="15191"/>
                      </a:lnTo>
                      <a:lnTo>
                        <a:pt x="12345" y="16088"/>
                      </a:lnTo>
                      <a:close/>
                      <a:moveTo>
                        <a:pt x="10371" y="15251"/>
                      </a:moveTo>
                      <a:lnTo>
                        <a:pt x="10252" y="21590"/>
                      </a:lnTo>
                      <a:lnTo>
                        <a:pt x="12225" y="16387"/>
                      </a:lnTo>
                      <a:lnTo>
                        <a:pt x="10371" y="15251"/>
                      </a:lnTo>
                      <a:lnTo>
                        <a:pt x="10371" y="15251"/>
                      </a:lnTo>
                      <a:close/>
                      <a:moveTo>
                        <a:pt x="7441" y="10167"/>
                      </a:moveTo>
                      <a:lnTo>
                        <a:pt x="6663" y="12560"/>
                      </a:lnTo>
                      <a:lnTo>
                        <a:pt x="10013" y="14653"/>
                      </a:lnTo>
                      <a:lnTo>
                        <a:pt x="10072" y="10646"/>
                      </a:lnTo>
                      <a:lnTo>
                        <a:pt x="7441" y="10167"/>
                      </a:lnTo>
                      <a:close/>
                      <a:moveTo>
                        <a:pt x="5707" y="15729"/>
                      </a:moveTo>
                      <a:lnTo>
                        <a:pt x="10013" y="14952"/>
                      </a:lnTo>
                      <a:lnTo>
                        <a:pt x="6604" y="12859"/>
                      </a:lnTo>
                      <a:lnTo>
                        <a:pt x="5707" y="15729"/>
                      </a:lnTo>
                      <a:close/>
                      <a:moveTo>
                        <a:pt x="9056" y="5263"/>
                      </a:moveTo>
                      <a:lnTo>
                        <a:pt x="7561" y="9868"/>
                      </a:lnTo>
                      <a:lnTo>
                        <a:pt x="10132" y="10347"/>
                      </a:lnTo>
                      <a:lnTo>
                        <a:pt x="10252" y="5442"/>
                      </a:lnTo>
                      <a:lnTo>
                        <a:pt x="9056" y="5263"/>
                      </a:lnTo>
                      <a:close/>
                      <a:moveTo>
                        <a:pt x="9116" y="4964"/>
                      </a:moveTo>
                      <a:lnTo>
                        <a:pt x="10192" y="5084"/>
                      </a:lnTo>
                      <a:lnTo>
                        <a:pt x="10252" y="1256"/>
                      </a:lnTo>
                      <a:lnTo>
                        <a:pt x="9116" y="4964"/>
                      </a:lnTo>
                      <a:close/>
                      <a:moveTo>
                        <a:pt x="5408" y="9509"/>
                      </a:moveTo>
                      <a:lnTo>
                        <a:pt x="7202" y="9808"/>
                      </a:lnTo>
                      <a:lnTo>
                        <a:pt x="8637" y="5203"/>
                      </a:lnTo>
                      <a:lnTo>
                        <a:pt x="5228" y="4725"/>
                      </a:lnTo>
                      <a:lnTo>
                        <a:pt x="5408" y="9509"/>
                      </a:lnTo>
                      <a:close/>
                      <a:moveTo>
                        <a:pt x="5527" y="11842"/>
                      </a:moveTo>
                      <a:lnTo>
                        <a:pt x="6424" y="12440"/>
                      </a:lnTo>
                      <a:lnTo>
                        <a:pt x="7142" y="10167"/>
                      </a:lnTo>
                      <a:lnTo>
                        <a:pt x="5467" y="9868"/>
                      </a:lnTo>
                      <a:lnTo>
                        <a:pt x="5527" y="11842"/>
                      </a:lnTo>
                      <a:close/>
                      <a:moveTo>
                        <a:pt x="5587" y="15012"/>
                      </a:moveTo>
                      <a:lnTo>
                        <a:pt x="6304" y="12739"/>
                      </a:lnTo>
                      <a:lnTo>
                        <a:pt x="5527" y="12260"/>
                      </a:lnTo>
                      <a:lnTo>
                        <a:pt x="5587" y="15012"/>
                      </a:lnTo>
                      <a:close/>
                      <a:moveTo>
                        <a:pt x="982" y="9031"/>
                      </a:moveTo>
                      <a:lnTo>
                        <a:pt x="5228" y="11662"/>
                      </a:lnTo>
                      <a:lnTo>
                        <a:pt x="5168" y="9808"/>
                      </a:lnTo>
                      <a:lnTo>
                        <a:pt x="982" y="9031"/>
                      </a:lnTo>
                      <a:close/>
                    </a:path>
                  </a:pathLst>
                </a:custGeom>
                <a:grpFill/>
                <a:ln w="6350" cap="flat">
                  <a:solidFill>
                    <a:schemeClr val="bg1">
                      <a:alpha val="40000"/>
                    </a:schemeClr>
                  </a:solidFill>
                  <a:prstDash val="solid"/>
                  <a:miter/>
                </a:ln>
              </p:spPr>
              <p:txBody>
                <a:bodyPr rtlCol="0" anchor="ctr"/>
                <a:lstStyle/>
                <a:p>
                  <a:endParaRPr lang="en-GB"/>
                </a:p>
              </p:txBody>
            </p:sp>
            <p:sp>
              <p:nvSpPr>
                <p:cNvPr id="8866" name="Vrije vorm: vorm 8865">
                  <a:extLst>
                    <a:ext uri="{FF2B5EF4-FFF2-40B4-BE49-F238E27FC236}">
                      <a16:creationId xmlns:a16="http://schemas.microsoft.com/office/drawing/2014/main" id="{3FD4A8C3-4318-444E-8710-528BF7D3FA0A}"/>
                    </a:ext>
                  </a:extLst>
                </p:cNvPr>
                <p:cNvSpPr/>
                <p:nvPr/>
              </p:nvSpPr>
              <p:spPr>
                <a:xfrm>
                  <a:off x="4350995" y="2449803"/>
                  <a:ext cx="10585" cy="18420"/>
                </a:xfrm>
                <a:custGeom>
                  <a:avLst/>
                  <a:gdLst>
                    <a:gd name="connsiteX0" fmla="*/ 10586 w 10585"/>
                    <a:gd name="connsiteY0" fmla="*/ 18301 h 18420"/>
                    <a:gd name="connsiteX1" fmla="*/ 10586 w 10585"/>
                    <a:gd name="connsiteY1" fmla="*/ 18241 h 18420"/>
                    <a:gd name="connsiteX2" fmla="*/ 5443 w 10585"/>
                    <a:gd name="connsiteY2" fmla="*/ 120 h 18420"/>
                    <a:gd name="connsiteX3" fmla="*/ 5263 w 10585"/>
                    <a:gd name="connsiteY3" fmla="*/ 0 h 18420"/>
                    <a:gd name="connsiteX4" fmla="*/ 5143 w 10585"/>
                    <a:gd name="connsiteY4" fmla="*/ 179 h 18420"/>
                    <a:gd name="connsiteX5" fmla="*/ 10227 w 10585"/>
                    <a:gd name="connsiteY5" fmla="*/ 18062 h 18420"/>
                    <a:gd name="connsiteX6" fmla="*/ 180 w 10585"/>
                    <a:gd name="connsiteY6" fmla="*/ 16327 h 18420"/>
                    <a:gd name="connsiteX7" fmla="*/ 0 w 10585"/>
                    <a:gd name="connsiteY7" fmla="*/ 16447 h 18420"/>
                    <a:gd name="connsiteX8" fmla="*/ 0 w 10585"/>
                    <a:gd name="connsiteY8" fmla="*/ 16447 h 18420"/>
                    <a:gd name="connsiteX9" fmla="*/ 120 w 10585"/>
                    <a:gd name="connsiteY9" fmla="*/ 16626 h 18420"/>
                    <a:gd name="connsiteX10" fmla="*/ 10406 w 10585"/>
                    <a:gd name="connsiteY10" fmla="*/ 18421 h 18420"/>
                    <a:gd name="connsiteX11" fmla="*/ 10526 w 10585"/>
                    <a:gd name="connsiteY11" fmla="*/ 18361 h 18420"/>
                    <a:gd name="connsiteX12" fmla="*/ 10586 w 10585"/>
                    <a:gd name="connsiteY12" fmla="*/ 18301 h 1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85" h="18420">
                      <a:moveTo>
                        <a:pt x="10586" y="18301"/>
                      </a:moveTo>
                      <a:cubicBezTo>
                        <a:pt x="10586" y="18301"/>
                        <a:pt x="10586" y="18241"/>
                        <a:pt x="10586" y="18241"/>
                      </a:cubicBezTo>
                      <a:lnTo>
                        <a:pt x="5443" y="120"/>
                      </a:lnTo>
                      <a:cubicBezTo>
                        <a:pt x="5443" y="60"/>
                        <a:pt x="5323" y="0"/>
                        <a:pt x="5263" y="0"/>
                      </a:cubicBezTo>
                      <a:cubicBezTo>
                        <a:pt x="5203" y="0"/>
                        <a:pt x="5143" y="120"/>
                        <a:pt x="5143" y="179"/>
                      </a:cubicBezTo>
                      <a:lnTo>
                        <a:pt x="10227" y="18062"/>
                      </a:lnTo>
                      <a:lnTo>
                        <a:pt x="180" y="16327"/>
                      </a:lnTo>
                      <a:cubicBezTo>
                        <a:pt x="120" y="16327"/>
                        <a:pt x="0" y="16387"/>
                        <a:pt x="0" y="16447"/>
                      </a:cubicBezTo>
                      <a:cubicBezTo>
                        <a:pt x="0" y="16447"/>
                        <a:pt x="0" y="16447"/>
                        <a:pt x="0" y="16447"/>
                      </a:cubicBezTo>
                      <a:cubicBezTo>
                        <a:pt x="0" y="16507"/>
                        <a:pt x="60" y="16626"/>
                        <a:pt x="120" y="16626"/>
                      </a:cubicBezTo>
                      <a:lnTo>
                        <a:pt x="10406" y="18421"/>
                      </a:lnTo>
                      <a:cubicBezTo>
                        <a:pt x="10466" y="18421"/>
                        <a:pt x="10526" y="18421"/>
                        <a:pt x="10526" y="18361"/>
                      </a:cubicBezTo>
                      <a:cubicBezTo>
                        <a:pt x="10526" y="18361"/>
                        <a:pt x="10526" y="18361"/>
                        <a:pt x="10586" y="1830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67" name="Vrije vorm: vorm 8866">
                  <a:extLst>
                    <a:ext uri="{FF2B5EF4-FFF2-40B4-BE49-F238E27FC236}">
                      <a16:creationId xmlns:a16="http://schemas.microsoft.com/office/drawing/2014/main" id="{14683239-8A9E-4CF1-8EE4-50E224C0577F}"/>
                    </a:ext>
                  </a:extLst>
                </p:cNvPr>
                <p:cNvSpPr/>
                <p:nvPr/>
              </p:nvSpPr>
              <p:spPr>
                <a:xfrm>
                  <a:off x="4382513" y="2505185"/>
                  <a:ext cx="15430" cy="42881"/>
                </a:xfrm>
                <a:custGeom>
                  <a:avLst/>
                  <a:gdLst>
                    <a:gd name="connsiteX0" fmla="*/ 15430 w 15430"/>
                    <a:gd name="connsiteY0" fmla="*/ 42762 h 42881"/>
                    <a:gd name="connsiteX1" fmla="*/ 15430 w 15430"/>
                    <a:gd name="connsiteY1" fmla="*/ 42702 h 42881"/>
                    <a:gd name="connsiteX2" fmla="*/ 299 w 15430"/>
                    <a:gd name="connsiteY2" fmla="*/ 120 h 42881"/>
                    <a:gd name="connsiteX3" fmla="*/ 120 w 15430"/>
                    <a:gd name="connsiteY3" fmla="*/ 0 h 42881"/>
                    <a:gd name="connsiteX4" fmla="*/ 0 w 15430"/>
                    <a:gd name="connsiteY4" fmla="*/ 179 h 42881"/>
                    <a:gd name="connsiteX5" fmla="*/ 15131 w 15430"/>
                    <a:gd name="connsiteY5" fmla="*/ 42762 h 42881"/>
                    <a:gd name="connsiteX6" fmla="*/ 15311 w 15430"/>
                    <a:gd name="connsiteY6" fmla="*/ 42882 h 42881"/>
                    <a:gd name="connsiteX7" fmla="*/ 15430 w 15430"/>
                    <a:gd name="connsiteY7" fmla="*/ 42762 h 4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30" h="42881">
                      <a:moveTo>
                        <a:pt x="15430" y="42762"/>
                      </a:moveTo>
                      <a:cubicBezTo>
                        <a:pt x="15430" y="42762"/>
                        <a:pt x="15430" y="42702"/>
                        <a:pt x="15430" y="42702"/>
                      </a:cubicBezTo>
                      <a:lnTo>
                        <a:pt x="299" y="120"/>
                      </a:lnTo>
                      <a:cubicBezTo>
                        <a:pt x="239" y="60"/>
                        <a:pt x="179" y="0"/>
                        <a:pt x="120" y="0"/>
                      </a:cubicBezTo>
                      <a:cubicBezTo>
                        <a:pt x="60" y="0"/>
                        <a:pt x="0" y="120"/>
                        <a:pt x="0" y="179"/>
                      </a:cubicBezTo>
                      <a:lnTo>
                        <a:pt x="15131" y="42762"/>
                      </a:lnTo>
                      <a:cubicBezTo>
                        <a:pt x="15131" y="42822"/>
                        <a:pt x="15251" y="42882"/>
                        <a:pt x="15311" y="42882"/>
                      </a:cubicBezTo>
                      <a:cubicBezTo>
                        <a:pt x="15430" y="42882"/>
                        <a:pt x="15430" y="42822"/>
                        <a:pt x="15430" y="4276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68" name="Vrije vorm: vorm 8867">
                  <a:extLst>
                    <a:ext uri="{FF2B5EF4-FFF2-40B4-BE49-F238E27FC236}">
                      <a16:creationId xmlns:a16="http://schemas.microsoft.com/office/drawing/2014/main" id="{8F642628-9AD2-4F49-88E9-DA7A2EDF29A9}"/>
                    </a:ext>
                  </a:extLst>
                </p:cNvPr>
                <p:cNvSpPr/>
                <p:nvPr/>
              </p:nvSpPr>
              <p:spPr>
                <a:xfrm>
                  <a:off x="4373063" y="2503451"/>
                  <a:ext cx="9808" cy="2033"/>
                </a:xfrm>
                <a:custGeom>
                  <a:avLst/>
                  <a:gdLst>
                    <a:gd name="connsiteX0" fmla="*/ 9808 w 9808"/>
                    <a:gd name="connsiteY0" fmla="*/ 1914 h 2033"/>
                    <a:gd name="connsiteX1" fmla="*/ 9689 w 9808"/>
                    <a:gd name="connsiteY1" fmla="*/ 1734 h 2033"/>
                    <a:gd name="connsiteX2" fmla="*/ 180 w 9808"/>
                    <a:gd name="connsiteY2" fmla="*/ 0 h 2033"/>
                    <a:gd name="connsiteX3" fmla="*/ 0 w 9808"/>
                    <a:gd name="connsiteY3" fmla="*/ 120 h 2033"/>
                    <a:gd name="connsiteX4" fmla="*/ 120 w 9808"/>
                    <a:gd name="connsiteY4" fmla="*/ 299 h 2033"/>
                    <a:gd name="connsiteX5" fmla="*/ 9629 w 9808"/>
                    <a:gd name="connsiteY5" fmla="*/ 2033 h 2033"/>
                    <a:gd name="connsiteX6" fmla="*/ 9808 w 9808"/>
                    <a:gd name="connsiteY6" fmla="*/ 1914 h 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 h="2033">
                      <a:moveTo>
                        <a:pt x="9808" y="1914"/>
                      </a:moveTo>
                      <a:cubicBezTo>
                        <a:pt x="9808" y="1854"/>
                        <a:pt x="9749" y="1734"/>
                        <a:pt x="9689" y="1734"/>
                      </a:cubicBezTo>
                      <a:lnTo>
                        <a:pt x="180" y="0"/>
                      </a:lnTo>
                      <a:cubicBezTo>
                        <a:pt x="120" y="0"/>
                        <a:pt x="0" y="60"/>
                        <a:pt x="0" y="120"/>
                      </a:cubicBezTo>
                      <a:cubicBezTo>
                        <a:pt x="0" y="179"/>
                        <a:pt x="60" y="299"/>
                        <a:pt x="120" y="299"/>
                      </a:cubicBezTo>
                      <a:lnTo>
                        <a:pt x="9629" y="2033"/>
                      </a:lnTo>
                      <a:cubicBezTo>
                        <a:pt x="9689" y="2033"/>
                        <a:pt x="9749" y="1974"/>
                        <a:pt x="9808" y="191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69" name="Vrije vorm: vorm 8868">
                  <a:extLst>
                    <a:ext uri="{FF2B5EF4-FFF2-40B4-BE49-F238E27FC236}">
                      <a16:creationId xmlns:a16="http://schemas.microsoft.com/office/drawing/2014/main" id="{2783C259-7691-416F-9609-B180AABD5894}"/>
                    </a:ext>
                  </a:extLst>
                </p:cNvPr>
                <p:cNvSpPr/>
                <p:nvPr/>
              </p:nvSpPr>
              <p:spPr>
                <a:xfrm>
                  <a:off x="4384344" y="2523845"/>
                  <a:ext cx="10190" cy="3671"/>
                </a:xfrm>
                <a:custGeom>
                  <a:avLst/>
                  <a:gdLst>
                    <a:gd name="connsiteX0" fmla="*/ 10191 w 10190"/>
                    <a:gd name="connsiteY0" fmla="*/ 3529 h 3671"/>
                    <a:gd name="connsiteX1" fmla="*/ 10071 w 10190"/>
                    <a:gd name="connsiteY1" fmla="*/ 3349 h 3671"/>
                    <a:gd name="connsiteX2" fmla="*/ 203 w 10190"/>
                    <a:gd name="connsiteY2" fmla="*/ 0 h 3671"/>
                    <a:gd name="connsiteX3" fmla="*/ 23 w 10190"/>
                    <a:gd name="connsiteY3" fmla="*/ 120 h 3671"/>
                    <a:gd name="connsiteX4" fmla="*/ 143 w 10190"/>
                    <a:gd name="connsiteY4" fmla="*/ 299 h 3671"/>
                    <a:gd name="connsiteX5" fmla="*/ 10011 w 10190"/>
                    <a:gd name="connsiteY5" fmla="*/ 3648 h 3671"/>
                    <a:gd name="connsiteX6" fmla="*/ 10191 w 10190"/>
                    <a:gd name="connsiteY6" fmla="*/ 3529 h 3671"/>
                    <a:gd name="connsiteX7" fmla="*/ 10191 w 10190"/>
                    <a:gd name="connsiteY7" fmla="*/ 3529 h 3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90" h="3671">
                      <a:moveTo>
                        <a:pt x="10191" y="3529"/>
                      </a:moveTo>
                      <a:cubicBezTo>
                        <a:pt x="10191" y="3469"/>
                        <a:pt x="10191" y="3349"/>
                        <a:pt x="10071" y="3349"/>
                      </a:cubicBezTo>
                      <a:lnTo>
                        <a:pt x="203" y="0"/>
                      </a:lnTo>
                      <a:cubicBezTo>
                        <a:pt x="143" y="0"/>
                        <a:pt x="23" y="0"/>
                        <a:pt x="23" y="120"/>
                      </a:cubicBezTo>
                      <a:cubicBezTo>
                        <a:pt x="-36" y="179"/>
                        <a:pt x="23" y="299"/>
                        <a:pt x="143" y="299"/>
                      </a:cubicBezTo>
                      <a:lnTo>
                        <a:pt x="10011" y="3648"/>
                      </a:lnTo>
                      <a:cubicBezTo>
                        <a:pt x="10071" y="3708"/>
                        <a:pt x="10131" y="3648"/>
                        <a:pt x="10191" y="3529"/>
                      </a:cubicBezTo>
                      <a:cubicBezTo>
                        <a:pt x="10191" y="3588"/>
                        <a:pt x="10191" y="3529"/>
                        <a:pt x="10191" y="352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70" name="Vrije vorm: vorm 8869">
                  <a:extLst>
                    <a:ext uri="{FF2B5EF4-FFF2-40B4-BE49-F238E27FC236}">
                      <a16:creationId xmlns:a16="http://schemas.microsoft.com/office/drawing/2014/main" id="{DCB64CB2-3D6C-4D4B-9A42-0206726C55E8}"/>
                    </a:ext>
                  </a:extLst>
                </p:cNvPr>
                <p:cNvSpPr/>
                <p:nvPr/>
              </p:nvSpPr>
              <p:spPr>
                <a:xfrm>
                  <a:off x="4374474" y="2478725"/>
                  <a:ext cx="98228" cy="74245"/>
                </a:xfrm>
                <a:custGeom>
                  <a:avLst/>
                  <a:gdLst>
                    <a:gd name="connsiteX0" fmla="*/ 98229 w 98228"/>
                    <a:gd name="connsiteY0" fmla="*/ 74126 h 74245"/>
                    <a:gd name="connsiteX1" fmla="*/ 98169 w 98228"/>
                    <a:gd name="connsiteY1" fmla="*/ 73947 h 74245"/>
                    <a:gd name="connsiteX2" fmla="*/ 68026 w 98228"/>
                    <a:gd name="connsiteY2" fmla="*/ 59294 h 74245"/>
                    <a:gd name="connsiteX3" fmla="*/ 68026 w 98228"/>
                    <a:gd name="connsiteY3" fmla="*/ 59294 h 74245"/>
                    <a:gd name="connsiteX4" fmla="*/ 42847 w 98228"/>
                    <a:gd name="connsiteY4" fmla="*/ 27835 h 74245"/>
                    <a:gd name="connsiteX5" fmla="*/ 42787 w 98228"/>
                    <a:gd name="connsiteY5" fmla="*/ 27775 h 74245"/>
                    <a:gd name="connsiteX6" fmla="*/ 264 w 98228"/>
                    <a:gd name="connsiteY6" fmla="*/ 25 h 74245"/>
                    <a:gd name="connsiteX7" fmla="*/ 25 w 98228"/>
                    <a:gd name="connsiteY7" fmla="*/ 85 h 74245"/>
                    <a:gd name="connsiteX8" fmla="*/ 85 w 98228"/>
                    <a:gd name="connsiteY8" fmla="*/ 324 h 74245"/>
                    <a:gd name="connsiteX9" fmla="*/ 42548 w 98228"/>
                    <a:gd name="connsiteY9" fmla="*/ 28074 h 74245"/>
                    <a:gd name="connsiteX10" fmla="*/ 55048 w 98228"/>
                    <a:gd name="connsiteY10" fmla="*/ 43864 h 74245"/>
                    <a:gd name="connsiteX11" fmla="*/ 67906 w 98228"/>
                    <a:gd name="connsiteY11" fmla="*/ 59593 h 74245"/>
                    <a:gd name="connsiteX12" fmla="*/ 67906 w 98228"/>
                    <a:gd name="connsiteY12" fmla="*/ 59593 h 74245"/>
                    <a:gd name="connsiteX13" fmla="*/ 97929 w 98228"/>
                    <a:gd name="connsiteY13" fmla="*/ 74246 h 74245"/>
                    <a:gd name="connsiteX14" fmla="*/ 98229 w 98228"/>
                    <a:gd name="connsiteY14" fmla="*/ 74126 h 74245"/>
                    <a:gd name="connsiteX15" fmla="*/ 98229 w 98228"/>
                    <a:gd name="connsiteY15" fmla="*/ 74126 h 74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228" h="74245">
                      <a:moveTo>
                        <a:pt x="98229" y="74126"/>
                      </a:moveTo>
                      <a:cubicBezTo>
                        <a:pt x="98229" y="74066"/>
                        <a:pt x="98229" y="74006"/>
                        <a:pt x="98169" y="73947"/>
                      </a:cubicBezTo>
                      <a:cubicBezTo>
                        <a:pt x="79389" y="64617"/>
                        <a:pt x="69282" y="59653"/>
                        <a:pt x="68026" y="59294"/>
                      </a:cubicBezTo>
                      <a:lnTo>
                        <a:pt x="68026" y="59294"/>
                      </a:lnTo>
                      <a:cubicBezTo>
                        <a:pt x="67308" y="58815"/>
                        <a:pt x="51220" y="38481"/>
                        <a:pt x="42847" y="27835"/>
                      </a:cubicBezTo>
                      <a:cubicBezTo>
                        <a:pt x="42847" y="27835"/>
                        <a:pt x="42847" y="27835"/>
                        <a:pt x="42787" y="27775"/>
                      </a:cubicBezTo>
                      <a:lnTo>
                        <a:pt x="264" y="25"/>
                      </a:lnTo>
                      <a:cubicBezTo>
                        <a:pt x="204" y="-35"/>
                        <a:pt x="85" y="25"/>
                        <a:pt x="25" y="85"/>
                      </a:cubicBezTo>
                      <a:cubicBezTo>
                        <a:pt x="-35" y="144"/>
                        <a:pt x="25" y="264"/>
                        <a:pt x="85" y="324"/>
                      </a:cubicBezTo>
                      <a:lnTo>
                        <a:pt x="42548" y="28074"/>
                      </a:lnTo>
                      <a:cubicBezTo>
                        <a:pt x="42907" y="28553"/>
                        <a:pt x="49007" y="36268"/>
                        <a:pt x="55048" y="43864"/>
                      </a:cubicBezTo>
                      <a:cubicBezTo>
                        <a:pt x="66411" y="58098"/>
                        <a:pt x="67667" y="59533"/>
                        <a:pt x="67906" y="59593"/>
                      </a:cubicBezTo>
                      <a:lnTo>
                        <a:pt x="67906" y="59593"/>
                      </a:lnTo>
                      <a:cubicBezTo>
                        <a:pt x="68684" y="59712"/>
                        <a:pt x="89855" y="70238"/>
                        <a:pt x="97929" y="74246"/>
                      </a:cubicBezTo>
                      <a:cubicBezTo>
                        <a:pt x="98049" y="74246"/>
                        <a:pt x="98169" y="74246"/>
                        <a:pt x="98229" y="74126"/>
                      </a:cubicBezTo>
                      <a:cubicBezTo>
                        <a:pt x="98229" y="74126"/>
                        <a:pt x="98229" y="74126"/>
                        <a:pt x="98229" y="7412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71" name="Vrije vorm: vorm 8870">
                  <a:extLst>
                    <a:ext uri="{FF2B5EF4-FFF2-40B4-BE49-F238E27FC236}">
                      <a16:creationId xmlns:a16="http://schemas.microsoft.com/office/drawing/2014/main" id="{6F6A0CC9-7817-4553-9FC0-680673A8BADD}"/>
                    </a:ext>
                  </a:extLst>
                </p:cNvPr>
                <p:cNvSpPr/>
                <p:nvPr/>
              </p:nvSpPr>
              <p:spPr>
                <a:xfrm>
                  <a:off x="4415407" y="2506501"/>
                  <a:ext cx="1913" cy="8014"/>
                </a:xfrm>
                <a:custGeom>
                  <a:avLst/>
                  <a:gdLst>
                    <a:gd name="connsiteX0" fmla="*/ 1914 w 1913"/>
                    <a:gd name="connsiteY0" fmla="*/ 179 h 8014"/>
                    <a:gd name="connsiteX1" fmla="*/ 1794 w 1913"/>
                    <a:gd name="connsiteY1" fmla="*/ 0 h 8014"/>
                    <a:gd name="connsiteX2" fmla="*/ 1615 w 1913"/>
                    <a:gd name="connsiteY2" fmla="*/ 120 h 8014"/>
                    <a:gd name="connsiteX3" fmla="*/ 0 w 1913"/>
                    <a:gd name="connsiteY3" fmla="*/ 7835 h 8014"/>
                    <a:gd name="connsiteX4" fmla="*/ 0 w 1913"/>
                    <a:gd name="connsiteY4" fmla="*/ 7835 h 8014"/>
                    <a:gd name="connsiteX5" fmla="*/ 120 w 1913"/>
                    <a:gd name="connsiteY5" fmla="*/ 8014 h 8014"/>
                    <a:gd name="connsiteX6" fmla="*/ 299 w 1913"/>
                    <a:gd name="connsiteY6" fmla="*/ 7894 h 8014"/>
                    <a:gd name="connsiteX7" fmla="*/ 1914 w 1913"/>
                    <a:gd name="connsiteY7" fmla="*/ 179 h 8014"/>
                    <a:gd name="connsiteX8" fmla="*/ 1914 w 1913"/>
                    <a:gd name="connsiteY8" fmla="*/ 179 h 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 h="8014">
                      <a:moveTo>
                        <a:pt x="1914" y="179"/>
                      </a:moveTo>
                      <a:cubicBezTo>
                        <a:pt x="1914" y="120"/>
                        <a:pt x="1854" y="0"/>
                        <a:pt x="1794" y="0"/>
                      </a:cubicBezTo>
                      <a:cubicBezTo>
                        <a:pt x="1734" y="0"/>
                        <a:pt x="1615" y="60"/>
                        <a:pt x="1615" y="120"/>
                      </a:cubicBezTo>
                      <a:lnTo>
                        <a:pt x="0" y="7835"/>
                      </a:lnTo>
                      <a:cubicBezTo>
                        <a:pt x="0" y="7835"/>
                        <a:pt x="0" y="7835"/>
                        <a:pt x="0" y="7835"/>
                      </a:cubicBezTo>
                      <a:cubicBezTo>
                        <a:pt x="0" y="7894"/>
                        <a:pt x="60" y="8014"/>
                        <a:pt x="120" y="8014"/>
                      </a:cubicBezTo>
                      <a:cubicBezTo>
                        <a:pt x="179" y="8014"/>
                        <a:pt x="299" y="7954"/>
                        <a:pt x="299" y="7894"/>
                      </a:cubicBezTo>
                      <a:lnTo>
                        <a:pt x="1914" y="179"/>
                      </a:lnTo>
                      <a:cubicBezTo>
                        <a:pt x="1914" y="179"/>
                        <a:pt x="1914" y="179"/>
                        <a:pt x="1914"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72" name="Vrije vorm: vorm 8871">
                  <a:extLst>
                    <a:ext uri="{FF2B5EF4-FFF2-40B4-BE49-F238E27FC236}">
                      <a16:creationId xmlns:a16="http://schemas.microsoft.com/office/drawing/2014/main" id="{92A5066E-B257-4611-9FFF-70AA5C4B404E}"/>
                    </a:ext>
                  </a:extLst>
                </p:cNvPr>
                <p:cNvSpPr/>
                <p:nvPr/>
              </p:nvSpPr>
              <p:spPr>
                <a:xfrm>
                  <a:off x="4390009" y="2492167"/>
                  <a:ext cx="65288" cy="46330"/>
                </a:xfrm>
                <a:custGeom>
                  <a:avLst/>
                  <a:gdLst>
                    <a:gd name="connsiteX0" fmla="*/ 65289 w 65288"/>
                    <a:gd name="connsiteY0" fmla="*/ 46151 h 46330"/>
                    <a:gd name="connsiteX1" fmla="*/ 65229 w 65288"/>
                    <a:gd name="connsiteY1" fmla="*/ 45971 h 46330"/>
                    <a:gd name="connsiteX2" fmla="*/ 278 w 65288"/>
                    <a:gd name="connsiteY2" fmla="*/ 39 h 46330"/>
                    <a:gd name="connsiteX3" fmla="*/ 39 w 65288"/>
                    <a:gd name="connsiteY3" fmla="*/ 99 h 46330"/>
                    <a:gd name="connsiteX4" fmla="*/ 99 w 65288"/>
                    <a:gd name="connsiteY4" fmla="*/ 338 h 46330"/>
                    <a:gd name="connsiteX5" fmla="*/ 64631 w 65288"/>
                    <a:gd name="connsiteY5" fmla="*/ 45971 h 46330"/>
                    <a:gd name="connsiteX6" fmla="*/ 52431 w 65288"/>
                    <a:gd name="connsiteY6" fmla="*/ 45792 h 46330"/>
                    <a:gd name="connsiteX7" fmla="*/ 52251 w 65288"/>
                    <a:gd name="connsiteY7" fmla="*/ 45971 h 46330"/>
                    <a:gd name="connsiteX8" fmla="*/ 52431 w 65288"/>
                    <a:gd name="connsiteY8" fmla="*/ 46151 h 46330"/>
                    <a:gd name="connsiteX9" fmla="*/ 65169 w 65288"/>
                    <a:gd name="connsiteY9" fmla="*/ 46330 h 46330"/>
                    <a:gd name="connsiteX10" fmla="*/ 65289 w 65288"/>
                    <a:gd name="connsiteY10" fmla="*/ 46151 h 46330"/>
                    <a:gd name="connsiteX11" fmla="*/ 65289 w 65288"/>
                    <a:gd name="connsiteY11" fmla="*/ 46151 h 4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288" h="46330">
                      <a:moveTo>
                        <a:pt x="65289" y="46151"/>
                      </a:moveTo>
                      <a:cubicBezTo>
                        <a:pt x="65289" y="46091"/>
                        <a:pt x="65289" y="46031"/>
                        <a:pt x="65229" y="45971"/>
                      </a:cubicBezTo>
                      <a:lnTo>
                        <a:pt x="278" y="39"/>
                      </a:lnTo>
                      <a:cubicBezTo>
                        <a:pt x="219" y="-21"/>
                        <a:pt x="99" y="-21"/>
                        <a:pt x="39" y="99"/>
                      </a:cubicBezTo>
                      <a:cubicBezTo>
                        <a:pt x="-21" y="159"/>
                        <a:pt x="-21" y="279"/>
                        <a:pt x="99" y="338"/>
                      </a:cubicBezTo>
                      <a:lnTo>
                        <a:pt x="64631" y="45971"/>
                      </a:lnTo>
                      <a:lnTo>
                        <a:pt x="52431" y="45792"/>
                      </a:lnTo>
                      <a:cubicBezTo>
                        <a:pt x="52371" y="45792"/>
                        <a:pt x="52251" y="45852"/>
                        <a:pt x="52251" y="45971"/>
                      </a:cubicBezTo>
                      <a:cubicBezTo>
                        <a:pt x="52251" y="46031"/>
                        <a:pt x="52311" y="46151"/>
                        <a:pt x="52431" y="46151"/>
                      </a:cubicBezTo>
                      <a:lnTo>
                        <a:pt x="65169" y="46330"/>
                      </a:lnTo>
                      <a:cubicBezTo>
                        <a:pt x="65229" y="46330"/>
                        <a:pt x="65289" y="46270"/>
                        <a:pt x="65289" y="46151"/>
                      </a:cubicBezTo>
                      <a:cubicBezTo>
                        <a:pt x="65289" y="46210"/>
                        <a:pt x="65289" y="46210"/>
                        <a:pt x="65289" y="4615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73" name="Vrije vorm: vorm 8872">
                  <a:extLst>
                    <a:ext uri="{FF2B5EF4-FFF2-40B4-BE49-F238E27FC236}">
                      <a16:creationId xmlns:a16="http://schemas.microsoft.com/office/drawing/2014/main" id="{33BA009F-6B88-4FA3-BFCF-EFDEACD60577}"/>
                    </a:ext>
                  </a:extLst>
                </p:cNvPr>
                <p:cNvSpPr/>
                <p:nvPr/>
              </p:nvSpPr>
              <p:spPr>
                <a:xfrm>
                  <a:off x="4435278" y="2521766"/>
                  <a:ext cx="31144" cy="36811"/>
                </a:xfrm>
                <a:custGeom>
                  <a:avLst/>
                  <a:gdLst>
                    <a:gd name="connsiteX0" fmla="*/ 31144 w 31144"/>
                    <a:gd name="connsiteY0" fmla="*/ 36647 h 36811"/>
                    <a:gd name="connsiteX1" fmla="*/ 31085 w 31144"/>
                    <a:gd name="connsiteY1" fmla="*/ 36527 h 36811"/>
                    <a:gd name="connsiteX2" fmla="*/ 284 w 31144"/>
                    <a:gd name="connsiteY2" fmla="*/ 45 h 36811"/>
                    <a:gd name="connsiteX3" fmla="*/ 45 w 31144"/>
                    <a:gd name="connsiteY3" fmla="*/ 45 h 36811"/>
                    <a:gd name="connsiteX4" fmla="*/ 45 w 31144"/>
                    <a:gd name="connsiteY4" fmla="*/ 284 h 36811"/>
                    <a:gd name="connsiteX5" fmla="*/ 30845 w 31144"/>
                    <a:gd name="connsiteY5" fmla="*/ 36766 h 36811"/>
                    <a:gd name="connsiteX6" fmla="*/ 31085 w 31144"/>
                    <a:gd name="connsiteY6" fmla="*/ 36766 h 36811"/>
                    <a:gd name="connsiteX7" fmla="*/ 31144 w 31144"/>
                    <a:gd name="connsiteY7" fmla="*/ 36647 h 36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44" h="36811">
                      <a:moveTo>
                        <a:pt x="31144" y="36647"/>
                      </a:moveTo>
                      <a:cubicBezTo>
                        <a:pt x="31144" y="36587"/>
                        <a:pt x="31144" y="36527"/>
                        <a:pt x="31085" y="36527"/>
                      </a:cubicBezTo>
                      <a:lnTo>
                        <a:pt x="284" y="45"/>
                      </a:lnTo>
                      <a:cubicBezTo>
                        <a:pt x="224" y="-15"/>
                        <a:pt x="104" y="-15"/>
                        <a:pt x="45" y="45"/>
                      </a:cubicBezTo>
                      <a:cubicBezTo>
                        <a:pt x="-15" y="105"/>
                        <a:pt x="-15" y="224"/>
                        <a:pt x="45" y="284"/>
                      </a:cubicBezTo>
                      <a:lnTo>
                        <a:pt x="30845" y="36766"/>
                      </a:lnTo>
                      <a:cubicBezTo>
                        <a:pt x="30905" y="36826"/>
                        <a:pt x="31025" y="36826"/>
                        <a:pt x="31085" y="36766"/>
                      </a:cubicBezTo>
                      <a:cubicBezTo>
                        <a:pt x="31085" y="36707"/>
                        <a:pt x="31144" y="36647"/>
                        <a:pt x="31144" y="3664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74" name="Vrije vorm: vorm 8873">
                  <a:extLst>
                    <a:ext uri="{FF2B5EF4-FFF2-40B4-BE49-F238E27FC236}">
                      <a16:creationId xmlns:a16="http://schemas.microsoft.com/office/drawing/2014/main" id="{4238DE05-2302-429A-BDEE-9D607690A479}"/>
                    </a:ext>
                  </a:extLst>
                </p:cNvPr>
                <p:cNvSpPr/>
                <p:nvPr/>
              </p:nvSpPr>
              <p:spPr>
                <a:xfrm>
                  <a:off x="4433265" y="2477170"/>
                  <a:ext cx="25084" cy="11806"/>
                </a:xfrm>
                <a:custGeom>
                  <a:avLst/>
                  <a:gdLst>
                    <a:gd name="connsiteX0" fmla="*/ 25084 w 25084"/>
                    <a:gd name="connsiteY0" fmla="*/ 8458 h 11806"/>
                    <a:gd name="connsiteX1" fmla="*/ 25084 w 25084"/>
                    <a:gd name="connsiteY1" fmla="*/ 8458 h 11806"/>
                    <a:gd name="connsiteX2" fmla="*/ 24904 w 25084"/>
                    <a:gd name="connsiteY2" fmla="*/ 8278 h 11806"/>
                    <a:gd name="connsiteX3" fmla="*/ 7561 w 25084"/>
                    <a:gd name="connsiteY3" fmla="*/ 11448 h 11806"/>
                    <a:gd name="connsiteX4" fmla="*/ 324 w 25084"/>
                    <a:gd name="connsiteY4" fmla="*/ 85 h 11806"/>
                    <a:gd name="connsiteX5" fmla="*/ 85 w 25084"/>
                    <a:gd name="connsiteY5" fmla="*/ 25 h 11806"/>
                    <a:gd name="connsiteX6" fmla="*/ 25 w 25084"/>
                    <a:gd name="connsiteY6" fmla="*/ 264 h 11806"/>
                    <a:gd name="connsiteX7" fmla="*/ 7321 w 25084"/>
                    <a:gd name="connsiteY7" fmla="*/ 11747 h 11806"/>
                    <a:gd name="connsiteX8" fmla="*/ 7501 w 25084"/>
                    <a:gd name="connsiteY8" fmla="*/ 11807 h 11806"/>
                    <a:gd name="connsiteX9" fmla="*/ 24964 w 25084"/>
                    <a:gd name="connsiteY9" fmla="*/ 8577 h 11806"/>
                    <a:gd name="connsiteX10" fmla="*/ 25084 w 25084"/>
                    <a:gd name="connsiteY10" fmla="*/ 8458 h 1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84" h="11806">
                      <a:moveTo>
                        <a:pt x="25084" y="8458"/>
                      </a:moveTo>
                      <a:cubicBezTo>
                        <a:pt x="25084" y="8458"/>
                        <a:pt x="25084" y="8398"/>
                        <a:pt x="25084" y="8458"/>
                      </a:cubicBezTo>
                      <a:cubicBezTo>
                        <a:pt x="25084" y="8338"/>
                        <a:pt x="24964" y="8278"/>
                        <a:pt x="24904" y="8278"/>
                      </a:cubicBezTo>
                      <a:lnTo>
                        <a:pt x="7561" y="11448"/>
                      </a:lnTo>
                      <a:lnTo>
                        <a:pt x="324" y="85"/>
                      </a:lnTo>
                      <a:cubicBezTo>
                        <a:pt x="264" y="25"/>
                        <a:pt x="204" y="-35"/>
                        <a:pt x="85" y="25"/>
                      </a:cubicBezTo>
                      <a:cubicBezTo>
                        <a:pt x="25" y="85"/>
                        <a:pt x="-35" y="144"/>
                        <a:pt x="25" y="264"/>
                      </a:cubicBezTo>
                      <a:lnTo>
                        <a:pt x="7321" y="11747"/>
                      </a:lnTo>
                      <a:cubicBezTo>
                        <a:pt x="7381" y="11807"/>
                        <a:pt x="7441" y="11807"/>
                        <a:pt x="7501" y="11807"/>
                      </a:cubicBezTo>
                      <a:lnTo>
                        <a:pt x="24964" y="8577"/>
                      </a:lnTo>
                      <a:cubicBezTo>
                        <a:pt x="25024" y="8577"/>
                        <a:pt x="25084" y="8517"/>
                        <a:pt x="25084" y="845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75" name="Vrije vorm: vorm 8874">
                  <a:extLst>
                    <a:ext uri="{FF2B5EF4-FFF2-40B4-BE49-F238E27FC236}">
                      <a16:creationId xmlns:a16="http://schemas.microsoft.com/office/drawing/2014/main" id="{5F281275-32E4-439F-979C-891D79F5EFEB}"/>
                    </a:ext>
                  </a:extLst>
                </p:cNvPr>
                <p:cNvSpPr/>
                <p:nvPr/>
              </p:nvSpPr>
              <p:spPr>
                <a:xfrm>
                  <a:off x="4390946" y="2467327"/>
                  <a:ext cx="131516" cy="39891"/>
                </a:xfrm>
                <a:custGeom>
                  <a:avLst/>
                  <a:gdLst>
                    <a:gd name="connsiteX0" fmla="*/ 131337 w 131516"/>
                    <a:gd name="connsiteY0" fmla="*/ 39891 h 39891"/>
                    <a:gd name="connsiteX1" fmla="*/ 95452 w 131516"/>
                    <a:gd name="connsiteY1" fmla="*/ 36901 h 39891"/>
                    <a:gd name="connsiteX2" fmla="*/ 95393 w 131516"/>
                    <a:gd name="connsiteY2" fmla="*/ 36901 h 39891"/>
                    <a:gd name="connsiteX3" fmla="*/ 77570 w 131516"/>
                    <a:gd name="connsiteY3" fmla="*/ 27930 h 39891"/>
                    <a:gd name="connsiteX4" fmla="*/ 49820 w 131516"/>
                    <a:gd name="connsiteY4" fmla="*/ 21710 h 39891"/>
                    <a:gd name="connsiteX5" fmla="*/ 49760 w 131516"/>
                    <a:gd name="connsiteY5" fmla="*/ 21710 h 39891"/>
                    <a:gd name="connsiteX6" fmla="*/ 25956 w 131516"/>
                    <a:gd name="connsiteY6" fmla="*/ 8134 h 39891"/>
                    <a:gd name="connsiteX7" fmla="*/ 17344 w 131516"/>
                    <a:gd name="connsiteY7" fmla="*/ 6998 h 39891"/>
                    <a:gd name="connsiteX8" fmla="*/ 20454 w 131516"/>
                    <a:gd name="connsiteY8" fmla="*/ 11423 h 39891"/>
                    <a:gd name="connsiteX9" fmla="*/ 20394 w 131516"/>
                    <a:gd name="connsiteY9" fmla="*/ 11662 h 39891"/>
                    <a:gd name="connsiteX10" fmla="*/ 20155 w 131516"/>
                    <a:gd name="connsiteY10" fmla="*/ 11603 h 39891"/>
                    <a:gd name="connsiteX11" fmla="*/ 16866 w 131516"/>
                    <a:gd name="connsiteY11" fmla="*/ 6938 h 39891"/>
                    <a:gd name="connsiteX12" fmla="*/ 120 w 131516"/>
                    <a:gd name="connsiteY12" fmla="*/ 4785 h 39891"/>
                    <a:gd name="connsiteX13" fmla="*/ 0 w 131516"/>
                    <a:gd name="connsiteY13" fmla="*/ 4665 h 39891"/>
                    <a:gd name="connsiteX14" fmla="*/ 120 w 131516"/>
                    <a:gd name="connsiteY14" fmla="*/ 4486 h 39891"/>
                    <a:gd name="connsiteX15" fmla="*/ 12261 w 131516"/>
                    <a:gd name="connsiteY15" fmla="*/ 0 h 39891"/>
                    <a:gd name="connsiteX16" fmla="*/ 12261 w 131516"/>
                    <a:gd name="connsiteY16" fmla="*/ 0 h 39891"/>
                    <a:gd name="connsiteX17" fmla="*/ 12261 w 131516"/>
                    <a:gd name="connsiteY17" fmla="*/ 0 h 39891"/>
                    <a:gd name="connsiteX18" fmla="*/ 12261 w 131516"/>
                    <a:gd name="connsiteY18" fmla="*/ 0 h 39891"/>
                    <a:gd name="connsiteX19" fmla="*/ 12380 w 131516"/>
                    <a:gd name="connsiteY19" fmla="*/ 0 h 39891"/>
                    <a:gd name="connsiteX20" fmla="*/ 12380 w 131516"/>
                    <a:gd name="connsiteY20" fmla="*/ 0 h 39891"/>
                    <a:gd name="connsiteX21" fmla="*/ 12380 w 131516"/>
                    <a:gd name="connsiteY21" fmla="*/ 0 h 39891"/>
                    <a:gd name="connsiteX22" fmla="*/ 12380 w 131516"/>
                    <a:gd name="connsiteY22" fmla="*/ 0 h 39891"/>
                    <a:gd name="connsiteX23" fmla="*/ 12380 w 131516"/>
                    <a:gd name="connsiteY23" fmla="*/ 0 h 39891"/>
                    <a:gd name="connsiteX24" fmla="*/ 12380 w 131516"/>
                    <a:gd name="connsiteY24" fmla="*/ 0 h 39891"/>
                    <a:gd name="connsiteX25" fmla="*/ 12380 w 131516"/>
                    <a:gd name="connsiteY25" fmla="*/ 0 h 39891"/>
                    <a:gd name="connsiteX26" fmla="*/ 12380 w 131516"/>
                    <a:gd name="connsiteY26" fmla="*/ 0 h 39891"/>
                    <a:gd name="connsiteX27" fmla="*/ 12380 w 131516"/>
                    <a:gd name="connsiteY27" fmla="*/ 0 h 39891"/>
                    <a:gd name="connsiteX28" fmla="*/ 12380 w 131516"/>
                    <a:gd name="connsiteY28" fmla="*/ 0 h 39891"/>
                    <a:gd name="connsiteX29" fmla="*/ 12380 w 131516"/>
                    <a:gd name="connsiteY29" fmla="*/ 0 h 39891"/>
                    <a:gd name="connsiteX30" fmla="*/ 12380 w 131516"/>
                    <a:gd name="connsiteY30" fmla="*/ 0 h 39891"/>
                    <a:gd name="connsiteX31" fmla="*/ 12380 w 131516"/>
                    <a:gd name="connsiteY31" fmla="*/ 0 h 39891"/>
                    <a:gd name="connsiteX32" fmla="*/ 12380 w 131516"/>
                    <a:gd name="connsiteY32" fmla="*/ 0 h 39891"/>
                    <a:gd name="connsiteX33" fmla="*/ 12380 w 131516"/>
                    <a:gd name="connsiteY33" fmla="*/ 0 h 39891"/>
                    <a:gd name="connsiteX34" fmla="*/ 12380 w 131516"/>
                    <a:gd name="connsiteY34" fmla="*/ 0 h 39891"/>
                    <a:gd name="connsiteX35" fmla="*/ 12380 w 131516"/>
                    <a:gd name="connsiteY35" fmla="*/ 0 h 39891"/>
                    <a:gd name="connsiteX36" fmla="*/ 26016 w 131516"/>
                    <a:gd name="connsiteY36" fmla="*/ 7775 h 39891"/>
                    <a:gd name="connsiteX37" fmla="*/ 42463 w 131516"/>
                    <a:gd name="connsiteY37" fmla="*/ 9928 h 39891"/>
                    <a:gd name="connsiteX38" fmla="*/ 42523 w 131516"/>
                    <a:gd name="connsiteY38" fmla="*/ 9928 h 39891"/>
                    <a:gd name="connsiteX39" fmla="*/ 77630 w 131516"/>
                    <a:gd name="connsiteY39" fmla="*/ 27631 h 39891"/>
                    <a:gd name="connsiteX40" fmla="*/ 131397 w 131516"/>
                    <a:gd name="connsiteY40" fmla="*/ 39652 h 39891"/>
                    <a:gd name="connsiteX41" fmla="*/ 131516 w 131516"/>
                    <a:gd name="connsiteY41" fmla="*/ 39832 h 39891"/>
                    <a:gd name="connsiteX42" fmla="*/ 131516 w 131516"/>
                    <a:gd name="connsiteY42" fmla="*/ 39832 h 39891"/>
                    <a:gd name="connsiteX43" fmla="*/ 131337 w 131516"/>
                    <a:gd name="connsiteY43" fmla="*/ 39891 h 39891"/>
                    <a:gd name="connsiteX44" fmla="*/ 95512 w 131516"/>
                    <a:gd name="connsiteY44" fmla="*/ 36542 h 39891"/>
                    <a:gd name="connsiteX45" fmla="*/ 129004 w 131516"/>
                    <a:gd name="connsiteY45" fmla="*/ 39353 h 39891"/>
                    <a:gd name="connsiteX46" fmla="*/ 78826 w 131516"/>
                    <a:gd name="connsiteY46" fmla="*/ 28169 h 39891"/>
                    <a:gd name="connsiteX47" fmla="*/ 95512 w 131516"/>
                    <a:gd name="connsiteY47" fmla="*/ 36542 h 39891"/>
                    <a:gd name="connsiteX48" fmla="*/ 26794 w 131516"/>
                    <a:gd name="connsiteY48" fmla="*/ 8134 h 39891"/>
                    <a:gd name="connsiteX49" fmla="*/ 49879 w 131516"/>
                    <a:gd name="connsiteY49" fmla="*/ 21351 h 39891"/>
                    <a:gd name="connsiteX50" fmla="*/ 76374 w 131516"/>
                    <a:gd name="connsiteY50" fmla="*/ 27272 h 39891"/>
                    <a:gd name="connsiteX51" fmla="*/ 42463 w 131516"/>
                    <a:gd name="connsiteY51" fmla="*/ 10167 h 39891"/>
                    <a:gd name="connsiteX52" fmla="*/ 26794 w 131516"/>
                    <a:gd name="connsiteY52" fmla="*/ 8134 h 39891"/>
                    <a:gd name="connsiteX53" fmla="*/ 17105 w 131516"/>
                    <a:gd name="connsiteY53" fmla="*/ 6579 h 39891"/>
                    <a:gd name="connsiteX54" fmla="*/ 25239 w 131516"/>
                    <a:gd name="connsiteY54" fmla="*/ 7655 h 39891"/>
                    <a:gd name="connsiteX55" fmla="*/ 12919 w 131516"/>
                    <a:gd name="connsiteY55" fmla="*/ 598 h 39891"/>
                    <a:gd name="connsiteX56" fmla="*/ 17105 w 131516"/>
                    <a:gd name="connsiteY56" fmla="*/ 6579 h 39891"/>
                    <a:gd name="connsiteX57" fmla="*/ 837 w 131516"/>
                    <a:gd name="connsiteY57" fmla="*/ 4426 h 39891"/>
                    <a:gd name="connsiteX58" fmla="*/ 16627 w 131516"/>
                    <a:gd name="connsiteY58" fmla="*/ 6459 h 39891"/>
                    <a:gd name="connsiteX59" fmla="*/ 12261 w 131516"/>
                    <a:gd name="connsiteY59" fmla="*/ 239 h 39891"/>
                    <a:gd name="connsiteX60" fmla="*/ 837 w 131516"/>
                    <a:gd name="connsiteY60" fmla="*/ 4426 h 3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516" h="39891">
                      <a:moveTo>
                        <a:pt x="131337" y="39891"/>
                      </a:moveTo>
                      <a:lnTo>
                        <a:pt x="95452" y="36901"/>
                      </a:lnTo>
                      <a:cubicBezTo>
                        <a:pt x="95452" y="36901"/>
                        <a:pt x="95393" y="36901"/>
                        <a:pt x="95393" y="36901"/>
                      </a:cubicBezTo>
                      <a:lnTo>
                        <a:pt x="77570" y="27930"/>
                      </a:lnTo>
                      <a:lnTo>
                        <a:pt x="49820" y="21710"/>
                      </a:lnTo>
                      <a:cubicBezTo>
                        <a:pt x="49820" y="21710"/>
                        <a:pt x="49760" y="21710"/>
                        <a:pt x="49760" y="21710"/>
                      </a:cubicBezTo>
                      <a:lnTo>
                        <a:pt x="25956" y="8134"/>
                      </a:lnTo>
                      <a:lnTo>
                        <a:pt x="17344" y="6998"/>
                      </a:lnTo>
                      <a:lnTo>
                        <a:pt x="20454" y="11423"/>
                      </a:lnTo>
                      <a:cubicBezTo>
                        <a:pt x="20514" y="11483"/>
                        <a:pt x="20514" y="11603"/>
                        <a:pt x="20394" y="11662"/>
                      </a:cubicBezTo>
                      <a:cubicBezTo>
                        <a:pt x="20335" y="11722"/>
                        <a:pt x="20215" y="11722"/>
                        <a:pt x="20155" y="11603"/>
                      </a:cubicBezTo>
                      <a:lnTo>
                        <a:pt x="16866" y="6938"/>
                      </a:lnTo>
                      <a:lnTo>
                        <a:pt x="120" y="4785"/>
                      </a:lnTo>
                      <a:cubicBezTo>
                        <a:pt x="60" y="4785"/>
                        <a:pt x="0" y="4725"/>
                        <a:pt x="0" y="4665"/>
                      </a:cubicBezTo>
                      <a:cubicBezTo>
                        <a:pt x="0" y="4605"/>
                        <a:pt x="60" y="4545"/>
                        <a:pt x="120" y="4486"/>
                      </a:cubicBezTo>
                      <a:lnTo>
                        <a:pt x="12261" y="0"/>
                      </a:lnTo>
                      <a:cubicBezTo>
                        <a:pt x="12261" y="0"/>
                        <a:pt x="12261" y="0"/>
                        <a:pt x="12261" y="0"/>
                      </a:cubicBezTo>
                      <a:lnTo>
                        <a:pt x="12261" y="0"/>
                      </a:lnTo>
                      <a:lnTo>
                        <a:pt x="12261" y="0"/>
                      </a:lnTo>
                      <a:cubicBezTo>
                        <a:pt x="12320" y="0"/>
                        <a:pt x="12320" y="0"/>
                        <a:pt x="12380" y="0"/>
                      </a:cubicBezTo>
                      <a:lnTo>
                        <a:pt x="12380" y="0"/>
                      </a:lnTo>
                      <a:lnTo>
                        <a:pt x="12380" y="0"/>
                      </a:lnTo>
                      <a:lnTo>
                        <a:pt x="12380" y="0"/>
                      </a:lnTo>
                      <a:lnTo>
                        <a:pt x="12380" y="0"/>
                      </a:lnTo>
                      <a:cubicBezTo>
                        <a:pt x="12380" y="0"/>
                        <a:pt x="12380" y="0"/>
                        <a:pt x="12380" y="0"/>
                      </a:cubicBezTo>
                      <a:lnTo>
                        <a:pt x="12380" y="0"/>
                      </a:lnTo>
                      <a:cubicBezTo>
                        <a:pt x="12380" y="0"/>
                        <a:pt x="12380" y="0"/>
                        <a:pt x="12380" y="0"/>
                      </a:cubicBezTo>
                      <a:lnTo>
                        <a:pt x="12380" y="0"/>
                      </a:lnTo>
                      <a:cubicBezTo>
                        <a:pt x="12380" y="0"/>
                        <a:pt x="12380" y="0"/>
                        <a:pt x="12380" y="0"/>
                      </a:cubicBezTo>
                      <a:lnTo>
                        <a:pt x="12380" y="0"/>
                      </a:lnTo>
                      <a:lnTo>
                        <a:pt x="12380" y="0"/>
                      </a:lnTo>
                      <a:lnTo>
                        <a:pt x="12380" y="0"/>
                      </a:lnTo>
                      <a:lnTo>
                        <a:pt x="12380" y="0"/>
                      </a:lnTo>
                      <a:lnTo>
                        <a:pt x="12380" y="0"/>
                      </a:lnTo>
                      <a:cubicBezTo>
                        <a:pt x="12380" y="0"/>
                        <a:pt x="12380" y="0"/>
                        <a:pt x="12380" y="0"/>
                      </a:cubicBezTo>
                      <a:cubicBezTo>
                        <a:pt x="12380" y="0"/>
                        <a:pt x="12380" y="0"/>
                        <a:pt x="12380" y="0"/>
                      </a:cubicBezTo>
                      <a:lnTo>
                        <a:pt x="26016" y="7775"/>
                      </a:lnTo>
                      <a:lnTo>
                        <a:pt x="42463" y="9928"/>
                      </a:lnTo>
                      <a:cubicBezTo>
                        <a:pt x="42463" y="9928"/>
                        <a:pt x="42523" y="9928"/>
                        <a:pt x="42523" y="9928"/>
                      </a:cubicBezTo>
                      <a:lnTo>
                        <a:pt x="77630" y="27631"/>
                      </a:lnTo>
                      <a:lnTo>
                        <a:pt x="131397" y="39652"/>
                      </a:lnTo>
                      <a:cubicBezTo>
                        <a:pt x="131457" y="39652"/>
                        <a:pt x="131516" y="39772"/>
                        <a:pt x="131516" y="39832"/>
                      </a:cubicBezTo>
                      <a:cubicBezTo>
                        <a:pt x="131516" y="39832"/>
                        <a:pt x="131516" y="39832"/>
                        <a:pt x="131516" y="39832"/>
                      </a:cubicBezTo>
                      <a:cubicBezTo>
                        <a:pt x="131516" y="39832"/>
                        <a:pt x="131457" y="39891"/>
                        <a:pt x="131337" y="39891"/>
                      </a:cubicBezTo>
                      <a:close/>
                      <a:moveTo>
                        <a:pt x="95512" y="36542"/>
                      </a:moveTo>
                      <a:lnTo>
                        <a:pt x="129004" y="39353"/>
                      </a:lnTo>
                      <a:lnTo>
                        <a:pt x="78826" y="28169"/>
                      </a:lnTo>
                      <a:lnTo>
                        <a:pt x="95512" y="36542"/>
                      </a:lnTo>
                      <a:close/>
                      <a:moveTo>
                        <a:pt x="26794" y="8134"/>
                      </a:moveTo>
                      <a:lnTo>
                        <a:pt x="49879" y="21351"/>
                      </a:lnTo>
                      <a:lnTo>
                        <a:pt x="76374" y="27272"/>
                      </a:lnTo>
                      <a:lnTo>
                        <a:pt x="42463" y="10167"/>
                      </a:lnTo>
                      <a:lnTo>
                        <a:pt x="26794" y="8134"/>
                      </a:lnTo>
                      <a:close/>
                      <a:moveTo>
                        <a:pt x="17105" y="6579"/>
                      </a:moveTo>
                      <a:lnTo>
                        <a:pt x="25239" y="7655"/>
                      </a:lnTo>
                      <a:lnTo>
                        <a:pt x="12919" y="598"/>
                      </a:lnTo>
                      <a:lnTo>
                        <a:pt x="17105" y="6579"/>
                      </a:lnTo>
                      <a:close/>
                      <a:moveTo>
                        <a:pt x="837" y="4426"/>
                      </a:moveTo>
                      <a:lnTo>
                        <a:pt x="16627" y="6459"/>
                      </a:lnTo>
                      <a:lnTo>
                        <a:pt x="12261" y="239"/>
                      </a:lnTo>
                      <a:lnTo>
                        <a:pt x="837" y="4426"/>
                      </a:lnTo>
                      <a:close/>
                    </a:path>
                  </a:pathLst>
                </a:custGeom>
                <a:grpFill/>
                <a:ln w="6350" cap="flat">
                  <a:solidFill>
                    <a:schemeClr val="bg1">
                      <a:alpha val="40000"/>
                    </a:schemeClr>
                  </a:solidFill>
                  <a:prstDash val="solid"/>
                  <a:miter/>
                </a:ln>
              </p:spPr>
              <p:txBody>
                <a:bodyPr rtlCol="0" anchor="ctr"/>
                <a:lstStyle/>
                <a:p>
                  <a:endParaRPr lang="en-GB"/>
                </a:p>
              </p:txBody>
            </p:sp>
            <p:sp>
              <p:nvSpPr>
                <p:cNvPr id="8876" name="Vrije vorm: vorm 8875">
                  <a:extLst>
                    <a:ext uri="{FF2B5EF4-FFF2-40B4-BE49-F238E27FC236}">
                      <a16:creationId xmlns:a16="http://schemas.microsoft.com/office/drawing/2014/main" id="{9450AD57-2C0B-41C2-9025-F7AF943E1CFF}"/>
                    </a:ext>
                  </a:extLst>
                </p:cNvPr>
                <p:cNvSpPr/>
                <p:nvPr/>
              </p:nvSpPr>
              <p:spPr>
                <a:xfrm>
                  <a:off x="4545906" y="2459672"/>
                  <a:ext cx="18420" cy="115308"/>
                </a:xfrm>
                <a:custGeom>
                  <a:avLst/>
                  <a:gdLst>
                    <a:gd name="connsiteX0" fmla="*/ 18420 w 18420"/>
                    <a:gd name="connsiteY0" fmla="*/ 23684 h 115308"/>
                    <a:gd name="connsiteX1" fmla="*/ 18420 w 18420"/>
                    <a:gd name="connsiteY1" fmla="*/ 23624 h 115308"/>
                    <a:gd name="connsiteX2" fmla="*/ 9629 w 18420"/>
                    <a:gd name="connsiteY2" fmla="*/ 419 h 115308"/>
                    <a:gd name="connsiteX3" fmla="*/ 17225 w 18420"/>
                    <a:gd name="connsiteY3" fmla="*/ 3110 h 115308"/>
                    <a:gd name="connsiteX4" fmla="*/ 17404 w 18420"/>
                    <a:gd name="connsiteY4" fmla="*/ 2990 h 115308"/>
                    <a:gd name="connsiteX5" fmla="*/ 17284 w 18420"/>
                    <a:gd name="connsiteY5" fmla="*/ 2811 h 115308"/>
                    <a:gd name="connsiteX6" fmla="*/ 9390 w 18420"/>
                    <a:gd name="connsiteY6" fmla="*/ 0 h 115308"/>
                    <a:gd name="connsiteX7" fmla="*/ 9210 w 18420"/>
                    <a:gd name="connsiteY7" fmla="*/ 60 h 115308"/>
                    <a:gd name="connsiteX8" fmla="*/ 9150 w 18420"/>
                    <a:gd name="connsiteY8" fmla="*/ 239 h 115308"/>
                    <a:gd name="connsiteX9" fmla="*/ 18062 w 18420"/>
                    <a:gd name="connsiteY9" fmla="*/ 23684 h 115308"/>
                    <a:gd name="connsiteX10" fmla="*/ 0 w 18420"/>
                    <a:gd name="connsiteY10" fmla="*/ 115129 h 115308"/>
                    <a:gd name="connsiteX11" fmla="*/ 0 w 18420"/>
                    <a:gd name="connsiteY11" fmla="*/ 115129 h 115308"/>
                    <a:gd name="connsiteX12" fmla="*/ 119 w 18420"/>
                    <a:gd name="connsiteY12" fmla="*/ 115308 h 115308"/>
                    <a:gd name="connsiteX13" fmla="*/ 299 w 18420"/>
                    <a:gd name="connsiteY13" fmla="*/ 115189 h 115308"/>
                    <a:gd name="connsiteX14" fmla="*/ 18420 w 18420"/>
                    <a:gd name="connsiteY14" fmla="*/ 23684 h 115308"/>
                    <a:gd name="connsiteX15" fmla="*/ 18420 w 18420"/>
                    <a:gd name="connsiteY15" fmla="*/ 23684 h 11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420" h="115308">
                      <a:moveTo>
                        <a:pt x="18420" y="23684"/>
                      </a:moveTo>
                      <a:cubicBezTo>
                        <a:pt x="18420" y="23684"/>
                        <a:pt x="18420" y="23624"/>
                        <a:pt x="18420" y="23624"/>
                      </a:cubicBezTo>
                      <a:lnTo>
                        <a:pt x="9629" y="419"/>
                      </a:lnTo>
                      <a:lnTo>
                        <a:pt x="17225" y="3110"/>
                      </a:lnTo>
                      <a:cubicBezTo>
                        <a:pt x="17284" y="3110"/>
                        <a:pt x="17404" y="3110"/>
                        <a:pt x="17404" y="2990"/>
                      </a:cubicBezTo>
                      <a:cubicBezTo>
                        <a:pt x="17404" y="2871"/>
                        <a:pt x="17404" y="2811"/>
                        <a:pt x="17284" y="2811"/>
                      </a:cubicBezTo>
                      <a:lnTo>
                        <a:pt x="9390" y="0"/>
                      </a:lnTo>
                      <a:cubicBezTo>
                        <a:pt x="9330" y="0"/>
                        <a:pt x="9270" y="0"/>
                        <a:pt x="9210" y="60"/>
                      </a:cubicBezTo>
                      <a:cubicBezTo>
                        <a:pt x="9150" y="120"/>
                        <a:pt x="9150" y="179"/>
                        <a:pt x="9150" y="239"/>
                      </a:cubicBezTo>
                      <a:lnTo>
                        <a:pt x="18062" y="23684"/>
                      </a:lnTo>
                      <a:lnTo>
                        <a:pt x="0" y="115129"/>
                      </a:lnTo>
                      <a:lnTo>
                        <a:pt x="0" y="115129"/>
                      </a:lnTo>
                      <a:cubicBezTo>
                        <a:pt x="0" y="115189"/>
                        <a:pt x="60" y="115308"/>
                        <a:pt x="119" y="115308"/>
                      </a:cubicBezTo>
                      <a:cubicBezTo>
                        <a:pt x="179" y="115308"/>
                        <a:pt x="299" y="115249"/>
                        <a:pt x="299" y="115189"/>
                      </a:cubicBezTo>
                      <a:lnTo>
                        <a:pt x="18420" y="23684"/>
                      </a:lnTo>
                      <a:cubicBezTo>
                        <a:pt x="18420" y="23684"/>
                        <a:pt x="18420" y="23684"/>
                        <a:pt x="18420" y="2368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77" name="Vrije vorm: vorm 8876">
                  <a:extLst>
                    <a:ext uri="{FF2B5EF4-FFF2-40B4-BE49-F238E27FC236}">
                      <a16:creationId xmlns:a16="http://schemas.microsoft.com/office/drawing/2014/main" id="{628FEAF6-9C6D-4E29-8FBC-07C5FD4791B0}"/>
                    </a:ext>
                  </a:extLst>
                </p:cNvPr>
                <p:cNvSpPr/>
                <p:nvPr/>
              </p:nvSpPr>
              <p:spPr>
                <a:xfrm>
                  <a:off x="4305755" y="2511799"/>
                  <a:ext cx="257734" cy="155643"/>
                </a:xfrm>
                <a:custGeom>
                  <a:avLst/>
                  <a:gdLst>
                    <a:gd name="connsiteX0" fmla="*/ 257734 w 257734"/>
                    <a:gd name="connsiteY0" fmla="*/ 204 h 155643"/>
                    <a:gd name="connsiteX1" fmla="*/ 257674 w 257734"/>
                    <a:gd name="connsiteY1" fmla="*/ 25 h 155643"/>
                    <a:gd name="connsiteX2" fmla="*/ 257435 w 257734"/>
                    <a:gd name="connsiteY2" fmla="*/ 85 h 155643"/>
                    <a:gd name="connsiteX3" fmla="*/ 178908 w 257734"/>
                    <a:gd name="connsiteY3" fmla="*/ 149244 h 155643"/>
                    <a:gd name="connsiteX4" fmla="*/ 22453 w 257734"/>
                    <a:gd name="connsiteY4" fmla="*/ 155344 h 155643"/>
                    <a:gd name="connsiteX5" fmla="*/ 264 w 257734"/>
                    <a:gd name="connsiteY5" fmla="*/ 131601 h 155643"/>
                    <a:gd name="connsiteX6" fmla="*/ 85 w 257734"/>
                    <a:gd name="connsiteY6" fmla="*/ 131541 h 155643"/>
                    <a:gd name="connsiteX7" fmla="*/ 25 w 257734"/>
                    <a:gd name="connsiteY7" fmla="*/ 131720 h 155643"/>
                    <a:gd name="connsiteX8" fmla="*/ 3793 w 257734"/>
                    <a:gd name="connsiteY8" fmla="*/ 148646 h 155643"/>
                    <a:gd name="connsiteX9" fmla="*/ 3972 w 257734"/>
                    <a:gd name="connsiteY9" fmla="*/ 148765 h 155643"/>
                    <a:gd name="connsiteX10" fmla="*/ 4092 w 257734"/>
                    <a:gd name="connsiteY10" fmla="*/ 148586 h 155643"/>
                    <a:gd name="connsiteX11" fmla="*/ 443 w 257734"/>
                    <a:gd name="connsiteY11" fmla="*/ 132259 h 155643"/>
                    <a:gd name="connsiteX12" fmla="*/ 22273 w 257734"/>
                    <a:gd name="connsiteY12" fmla="*/ 155583 h 155643"/>
                    <a:gd name="connsiteX13" fmla="*/ 22393 w 257734"/>
                    <a:gd name="connsiteY13" fmla="*/ 155643 h 155643"/>
                    <a:gd name="connsiteX14" fmla="*/ 179028 w 257734"/>
                    <a:gd name="connsiteY14" fmla="*/ 149543 h 155643"/>
                    <a:gd name="connsiteX15" fmla="*/ 179148 w 257734"/>
                    <a:gd name="connsiteY15" fmla="*/ 149483 h 155643"/>
                    <a:gd name="connsiteX16" fmla="*/ 257734 w 257734"/>
                    <a:gd name="connsiteY16" fmla="*/ 204 h 155643"/>
                    <a:gd name="connsiteX17" fmla="*/ 257734 w 257734"/>
                    <a:gd name="connsiteY17" fmla="*/ 204 h 15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734" h="155643">
                      <a:moveTo>
                        <a:pt x="257734" y="204"/>
                      </a:moveTo>
                      <a:cubicBezTo>
                        <a:pt x="257734" y="144"/>
                        <a:pt x="257734" y="85"/>
                        <a:pt x="257674" y="25"/>
                      </a:cubicBezTo>
                      <a:cubicBezTo>
                        <a:pt x="257615" y="-35"/>
                        <a:pt x="257495" y="25"/>
                        <a:pt x="257435" y="85"/>
                      </a:cubicBezTo>
                      <a:lnTo>
                        <a:pt x="178908" y="149244"/>
                      </a:lnTo>
                      <a:lnTo>
                        <a:pt x="22453" y="155344"/>
                      </a:lnTo>
                      <a:lnTo>
                        <a:pt x="264" y="131601"/>
                      </a:lnTo>
                      <a:cubicBezTo>
                        <a:pt x="204" y="131541"/>
                        <a:pt x="145" y="131541"/>
                        <a:pt x="85" y="131541"/>
                      </a:cubicBezTo>
                      <a:cubicBezTo>
                        <a:pt x="25" y="131601"/>
                        <a:pt x="-35" y="131661"/>
                        <a:pt x="25" y="131720"/>
                      </a:cubicBezTo>
                      <a:lnTo>
                        <a:pt x="3793" y="148646"/>
                      </a:lnTo>
                      <a:cubicBezTo>
                        <a:pt x="3793" y="148706"/>
                        <a:pt x="3912" y="148765"/>
                        <a:pt x="3972" y="148765"/>
                      </a:cubicBezTo>
                      <a:cubicBezTo>
                        <a:pt x="4032" y="148765"/>
                        <a:pt x="4092" y="148646"/>
                        <a:pt x="4092" y="148586"/>
                      </a:cubicBezTo>
                      <a:lnTo>
                        <a:pt x="443" y="132259"/>
                      </a:lnTo>
                      <a:lnTo>
                        <a:pt x="22273" y="155583"/>
                      </a:lnTo>
                      <a:cubicBezTo>
                        <a:pt x="22333" y="155643"/>
                        <a:pt x="22333" y="155643"/>
                        <a:pt x="22393" y="155643"/>
                      </a:cubicBezTo>
                      <a:lnTo>
                        <a:pt x="179028" y="149543"/>
                      </a:lnTo>
                      <a:cubicBezTo>
                        <a:pt x="179088" y="149543"/>
                        <a:pt x="179148" y="149483"/>
                        <a:pt x="179148" y="149483"/>
                      </a:cubicBezTo>
                      <a:lnTo>
                        <a:pt x="257734" y="204"/>
                      </a:lnTo>
                      <a:cubicBezTo>
                        <a:pt x="257734" y="264"/>
                        <a:pt x="257734" y="204"/>
                        <a:pt x="257734" y="20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78" name="Vrije vorm: vorm 8877">
                  <a:extLst>
                    <a:ext uri="{FF2B5EF4-FFF2-40B4-BE49-F238E27FC236}">
                      <a16:creationId xmlns:a16="http://schemas.microsoft.com/office/drawing/2014/main" id="{0FCB3B52-0BCF-4A14-9AA4-67B12F745C4C}"/>
                    </a:ext>
                  </a:extLst>
                </p:cNvPr>
                <p:cNvSpPr/>
                <p:nvPr/>
              </p:nvSpPr>
              <p:spPr>
                <a:xfrm>
                  <a:off x="4283627" y="2445976"/>
                  <a:ext cx="280824" cy="230497"/>
                </a:xfrm>
                <a:custGeom>
                  <a:avLst/>
                  <a:gdLst>
                    <a:gd name="connsiteX0" fmla="*/ 274181 w 280824"/>
                    <a:gd name="connsiteY0" fmla="*/ 95393 h 230497"/>
                    <a:gd name="connsiteX1" fmla="*/ 274181 w 280824"/>
                    <a:gd name="connsiteY1" fmla="*/ 95393 h 230497"/>
                    <a:gd name="connsiteX2" fmla="*/ 262579 w 280824"/>
                    <a:gd name="connsiteY2" fmla="*/ 128885 h 230497"/>
                    <a:gd name="connsiteX3" fmla="*/ 218381 w 280824"/>
                    <a:gd name="connsiteY3" fmla="*/ 201072 h 230497"/>
                    <a:gd name="connsiteX4" fmla="*/ 218381 w 280824"/>
                    <a:gd name="connsiteY4" fmla="*/ 201072 h 230497"/>
                    <a:gd name="connsiteX5" fmla="*/ 218381 w 280824"/>
                    <a:gd name="connsiteY5" fmla="*/ 201072 h 230497"/>
                    <a:gd name="connsiteX6" fmla="*/ 218381 w 280824"/>
                    <a:gd name="connsiteY6" fmla="*/ 201072 h 230497"/>
                    <a:gd name="connsiteX7" fmla="*/ 218381 w 280824"/>
                    <a:gd name="connsiteY7" fmla="*/ 201072 h 230497"/>
                    <a:gd name="connsiteX8" fmla="*/ 218381 w 280824"/>
                    <a:gd name="connsiteY8" fmla="*/ 201072 h 230497"/>
                    <a:gd name="connsiteX9" fmla="*/ 218381 w 280824"/>
                    <a:gd name="connsiteY9" fmla="*/ 201072 h 230497"/>
                    <a:gd name="connsiteX10" fmla="*/ 218381 w 280824"/>
                    <a:gd name="connsiteY10" fmla="*/ 201072 h 230497"/>
                    <a:gd name="connsiteX11" fmla="*/ 218381 w 280824"/>
                    <a:gd name="connsiteY11" fmla="*/ 201072 h 230497"/>
                    <a:gd name="connsiteX12" fmla="*/ 218381 w 280824"/>
                    <a:gd name="connsiteY12" fmla="*/ 201072 h 230497"/>
                    <a:gd name="connsiteX13" fmla="*/ 218381 w 280824"/>
                    <a:gd name="connsiteY13" fmla="*/ 201072 h 230497"/>
                    <a:gd name="connsiteX14" fmla="*/ 218381 w 280824"/>
                    <a:gd name="connsiteY14" fmla="*/ 201072 h 230497"/>
                    <a:gd name="connsiteX15" fmla="*/ 218381 w 280824"/>
                    <a:gd name="connsiteY15" fmla="*/ 201072 h 230497"/>
                    <a:gd name="connsiteX16" fmla="*/ 218381 w 280824"/>
                    <a:gd name="connsiteY16" fmla="*/ 201072 h 230497"/>
                    <a:gd name="connsiteX17" fmla="*/ 218381 w 280824"/>
                    <a:gd name="connsiteY17" fmla="*/ 201072 h 230497"/>
                    <a:gd name="connsiteX18" fmla="*/ 218381 w 280824"/>
                    <a:gd name="connsiteY18" fmla="*/ 201072 h 230497"/>
                    <a:gd name="connsiteX19" fmla="*/ 218381 w 280824"/>
                    <a:gd name="connsiteY19" fmla="*/ 201072 h 230497"/>
                    <a:gd name="connsiteX20" fmla="*/ 218381 w 280824"/>
                    <a:gd name="connsiteY20" fmla="*/ 201072 h 230497"/>
                    <a:gd name="connsiteX21" fmla="*/ 218381 w 280824"/>
                    <a:gd name="connsiteY21" fmla="*/ 201072 h 230497"/>
                    <a:gd name="connsiteX22" fmla="*/ 218381 w 280824"/>
                    <a:gd name="connsiteY22" fmla="*/ 201072 h 230497"/>
                    <a:gd name="connsiteX23" fmla="*/ 218381 w 280824"/>
                    <a:gd name="connsiteY23" fmla="*/ 201072 h 230497"/>
                    <a:gd name="connsiteX24" fmla="*/ 218381 w 280824"/>
                    <a:gd name="connsiteY24" fmla="*/ 201072 h 230497"/>
                    <a:gd name="connsiteX25" fmla="*/ 218381 w 280824"/>
                    <a:gd name="connsiteY25" fmla="*/ 201072 h 230497"/>
                    <a:gd name="connsiteX26" fmla="*/ 218381 w 280824"/>
                    <a:gd name="connsiteY26" fmla="*/ 201072 h 230497"/>
                    <a:gd name="connsiteX27" fmla="*/ 218381 w 280824"/>
                    <a:gd name="connsiteY27" fmla="*/ 201072 h 230497"/>
                    <a:gd name="connsiteX28" fmla="*/ 218381 w 280824"/>
                    <a:gd name="connsiteY28" fmla="*/ 201072 h 230497"/>
                    <a:gd name="connsiteX29" fmla="*/ 218381 w 280824"/>
                    <a:gd name="connsiteY29" fmla="*/ 201072 h 230497"/>
                    <a:gd name="connsiteX30" fmla="*/ 218381 w 280824"/>
                    <a:gd name="connsiteY30" fmla="*/ 201072 h 230497"/>
                    <a:gd name="connsiteX31" fmla="*/ 218381 w 280824"/>
                    <a:gd name="connsiteY31" fmla="*/ 201072 h 230497"/>
                    <a:gd name="connsiteX32" fmla="*/ 218381 w 280824"/>
                    <a:gd name="connsiteY32" fmla="*/ 201072 h 230497"/>
                    <a:gd name="connsiteX33" fmla="*/ 218381 w 280824"/>
                    <a:gd name="connsiteY33" fmla="*/ 201072 h 230497"/>
                    <a:gd name="connsiteX34" fmla="*/ 218381 w 280824"/>
                    <a:gd name="connsiteY34" fmla="*/ 201072 h 230497"/>
                    <a:gd name="connsiteX35" fmla="*/ 218381 w 280824"/>
                    <a:gd name="connsiteY35" fmla="*/ 201072 h 230497"/>
                    <a:gd name="connsiteX36" fmla="*/ 218381 w 280824"/>
                    <a:gd name="connsiteY36" fmla="*/ 201072 h 230497"/>
                    <a:gd name="connsiteX37" fmla="*/ 218381 w 280824"/>
                    <a:gd name="connsiteY37" fmla="*/ 201072 h 230497"/>
                    <a:gd name="connsiteX38" fmla="*/ 218381 w 280824"/>
                    <a:gd name="connsiteY38" fmla="*/ 201072 h 230497"/>
                    <a:gd name="connsiteX39" fmla="*/ 218381 w 280824"/>
                    <a:gd name="connsiteY39" fmla="*/ 201072 h 230497"/>
                    <a:gd name="connsiteX40" fmla="*/ 218381 w 280824"/>
                    <a:gd name="connsiteY40" fmla="*/ 201072 h 230497"/>
                    <a:gd name="connsiteX41" fmla="*/ 218381 w 280824"/>
                    <a:gd name="connsiteY41" fmla="*/ 201072 h 230497"/>
                    <a:gd name="connsiteX42" fmla="*/ 218381 w 280824"/>
                    <a:gd name="connsiteY42" fmla="*/ 201072 h 230497"/>
                    <a:gd name="connsiteX43" fmla="*/ 218381 w 280824"/>
                    <a:gd name="connsiteY43" fmla="*/ 201072 h 230497"/>
                    <a:gd name="connsiteX44" fmla="*/ 218381 w 280824"/>
                    <a:gd name="connsiteY44" fmla="*/ 201072 h 230497"/>
                    <a:gd name="connsiteX45" fmla="*/ 218381 w 280824"/>
                    <a:gd name="connsiteY45" fmla="*/ 201072 h 230497"/>
                    <a:gd name="connsiteX46" fmla="*/ 218381 w 280824"/>
                    <a:gd name="connsiteY46" fmla="*/ 201072 h 230497"/>
                    <a:gd name="connsiteX47" fmla="*/ 218381 w 280824"/>
                    <a:gd name="connsiteY47" fmla="*/ 201072 h 230497"/>
                    <a:gd name="connsiteX48" fmla="*/ 218381 w 280824"/>
                    <a:gd name="connsiteY48" fmla="*/ 201072 h 230497"/>
                    <a:gd name="connsiteX49" fmla="*/ 218381 w 280824"/>
                    <a:gd name="connsiteY49" fmla="*/ 201072 h 230497"/>
                    <a:gd name="connsiteX50" fmla="*/ 218381 w 280824"/>
                    <a:gd name="connsiteY50" fmla="*/ 201072 h 230497"/>
                    <a:gd name="connsiteX51" fmla="*/ 218321 w 280824"/>
                    <a:gd name="connsiteY51" fmla="*/ 201072 h 230497"/>
                    <a:gd name="connsiteX52" fmla="*/ 176037 w 280824"/>
                    <a:gd name="connsiteY52" fmla="*/ 225413 h 230497"/>
                    <a:gd name="connsiteX53" fmla="*/ 175978 w 280824"/>
                    <a:gd name="connsiteY53" fmla="*/ 225413 h 230497"/>
                    <a:gd name="connsiteX54" fmla="*/ 164913 w 280824"/>
                    <a:gd name="connsiteY54" fmla="*/ 225593 h 230497"/>
                    <a:gd name="connsiteX55" fmla="*/ 154208 w 280824"/>
                    <a:gd name="connsiteY55" fmla="*/ 230497 h 230497"/>
                    <a:gd name="connsiteX56" fmla="*/ 154148 w 280824"/>
                    <a:gd name="connsiteY56" fmla="*/ 230497 h 230497"/>
                    <a:gd name="connsiteX57" fmla="*/ 107439 w 280824"/>
                    <a:gd name="connsiteY57" fmla="*/ 226610 h 230497"/>
                    <a:gd name="connsiteX58" fmla="*/ 68684 w 280824"/>
                    <a:gd name="connsiteY58" fmla="*/ 227327 h 230497"/>
                    <a:gd name="connsiteX59" fmla="*/ 68624 w 280824"/>
                    <a:gd name="connsiteY59" fmla="*/ 227327 h 230497"/>
                    <a:gd name="connsiteX60" fmla="*/ 58337 w 280824"/>
                    <a:gd name="connsiteY60" fmla="*/ 222543 h 230497"/>
                    <a:gd name="connsiteX61" fmla="*/ 44461 w 280824"/>
                    <a:gd name="connsiteY61" fmla="*/ 221406 h 230497"/>
                    <a:gd name="connsiteX62" fmla="*/ 44402 w 280824"/>
                    <a:gd name="connsiteY62" fmla="*/ 221406 h 230497"/>
                    <a:gd name="connsiteX63" fmla="*/ 85 w 280824"/>
                    <a:gd name="connsiteY63" fmla="*/ 197484 h 230497"/>
                    <a:gd name="connsiteX64" fmla="*/ 25 w 280824"/>
                    <a:gd name="connsiteY64" fmla="*/ 197244 h 230497"/>
                    <a:gd name="connsiteX65" fmla="*/ 264 w 280824"/>
                    <a:gd name="connsiteY65" fmla="*/ 197184 h 230497"/>
                    <a:gd name="connsiteX66" fmla="*/ 44581 w 280824"/>
                    <a:gd name="connsiteY66" fmla="*/ 221048 h 230497"/>
                    <a:gd name="connsiteX67" fmla="*/ 57559 w 280824"/>
                    <a:gd name="connsiteY67" fmla="*/ 222124 h 230497"/>
                    <a:gd name="connsiteX68" fmla="*/ 8159 w 280824"/>
                    <a:gd name="connsiteY68" fmla="*/ 199158 h 230497"/>
                    <a:gd name="connsiteX69" fmla="*/ 8099 w 280824"/>
                    <a:gd name="connsiteY69" fmla="*/ 198919 h 230497"/>
                    <a:gd name="connsiteX70" fmla="*/ 8338 w 280824"/>
                    <a:gd name="connsiteY70" fmla="*/ 198859 h 230497"/>
                    <a:gd name="connsiteX71" fmla="*/ 58576 w 280824"/>
                    <a:gd name="connsiteY71" fmla="*/ 222184 h 230497"/>
                    <a:gd name="connsiteX72" fmla="*/ 107558 w 280824"/>
                    <a:gd name="connsiteY72" fmla="*/ 226251 h 230497"/>
                    <a:gd name="connsiteX73" fmla="*/ 164973 w 280824"/>
                    <a:gd name="connsiteY73" fmla="*/ 225174 h 230497"/>
                    <a:gd name="connsiteX74" fmla="*/ 218262 w 280824"/>
                    <a:gd name="connsiteY74" fmla="*/ 200653 h 230497"/>
                    <a:gd name="connsiteX75" fmla="*/ 273942 w 280824"/>
                    <a:gd name="connsiteY75" fmla="*/ 95153 h 230497"/>
                    <a:gd name="connsiteX76" fmla="*/ 275078 w 280824"/>
                    <a:gd name="connsiteY76" fmla="*/ 179 h 230497"/>
                    <a:gd name="connsiteX77" fmla="*/ 275198 w 280824"/>
                    <a:gd name="connsiteY77" fmla="*/ 0 h 230497"/>
                    <a:gd name="connsiteX78" fmla="*/ 275377 w 280824"/>
                    <a:gd name="connsiteY78" fmla="*/ 120 h 230497"/>
                    <a:gd name="connsiteX79" fmla="*/ 279743 w 280824"/>
                    <a:gd name="connsiteY79" fmla="*/ 16387 h 230497"/>
                    <a:gd name="connsiteX80" fmla="*/ 280760 w 280824"/>
                    <a:gd name="connsiteY80" fmla="*/ 37021 h 230497"/>
                    <a:gd name="connsiteX81" fmla="*/ 280700 w 280824"/>
                    <a:gd name="connsiteY81" fmla="*/ 37140 h 230497"/>
                    <a:gd name="connsiteX82" fmla="*/ 280640 w 280824"/>
                    <a:gd name="connsiteY82" fmla="*/ 37260 h 230497"/>
                    <a:gd name="connsiteX83" fmla="*/ 279863 w 280824"/>
                    <a:gd name="connsiteY83" fmla="*/ 65788 h 230497"/>
                    <a:gd name="connsiteX84" fmla="*/ 274181 w 280824"/>
                    <a:gd name="connsiteY84" fmla="*/ 95393 h 230497"/>
                    <a:gd name="connsiteX85" fmla="*/ 280401 w 280824"/>
                    <a:gd name="connsiteY85" fmla="*/ 37260 h 230497"/>
                    <a:gd name="connsiteX86" fmla="*/ 280401 w 280824"/>
                    <a:gd name="connsiteY86" fmla="*/ 37140 h 230497"/>
                    <a:gd name="connsiteX87" fmla="*/ 279384 w 280824"/>
                    <a:gd name="connsiteY87" fmla="*/ 16626 h 230497"/>
                    <a:gd name="connsiteX88" fmla="*/ 275317 w 280824"/>
                    <a:gd name="connsiteY88" fmla="*/ 1495 h 230497"/>
                    <a:gd name="connsiteX89" fmla="*/ 274241 w 280824"/>
                    <a:gd name="connsiteY89" fmla="*/ 93539 h 230497"/>
                    <a:gd name="connsiteX90" fmla="*/ 279564 w 280824"/>
                    <a:gd name="connsiteY90" fmla="*/ 65967 h 230497"/>
                    <a:gd name="connsiteX91" fmla="*/ 280341 w 280824"/>
                    <a:gd name="connsiteY91" fmla="*/ 37380 h 230497"/>
                    <a:gd name="connsiteX92" fmla="*/ 280401 w 280824"/>
                    <a:gd name="connsiteY92" fmla="*/ 37260 h 230497"/>
                    <a:gd name="connsiteX93" fmla="*/ 262339 w 280824"/>
                    <a:gd name="connsiteY93" fmla="*/ 128765 h 230497"/>
                    <a:gd name="connsiteX94" fmla="*/ 273224 w 280824"/>
                    <a:gd name="connsiteY94" fmla="*/ 97306 h 230497"/>
                    <a:gd name="connsiteX95" fmla="*/ 220833 w 280824"/>
                    <a:gd name="connsiteY95" fmla="*/ 196586 h 230497"/>
                    <a:gd name="connsiteX96" fmla="*/ 262339 w 280824"/>
                    <a:gd name="connsiteY96" fmla="*/ 128765 h 230497"/>
                    <a:gd name="connsiteX97" fmla="*/ 175978 w 280824"/>
                    <a:gd name="connsiteY97" fmla="*/ 225174 h 230497"/>
                    <a:gd name="connsiteX98" fmla="*/ 215151 w 280824"/>
                    <a:gd name="connsiteY98" fmla="*/ 202627 h 230497"/>
                    <a:gd name="connsiteX99" fmla="*/ 165691 w 280824"/>
                    <a:gd name="connsiteY99" fmla="*/ 225413 h 230497"/>
                    <a:gd name="connsiteX100" fmla="*/ 175978 w 280824"/>
                    <a:gd name="connsiteY100" fmla="*/ 225174 h 230497"/>
                    <a:gd name="connsiteX101" fmla="*/ 154148 w 280824"/>
                    <a:gd name="connsiteY101" fmla="*/ 230318 h 230497"/>
                    <a:gd name="connsiteX102" fmla="*/ 164136 w 280824"/>
                    <a:gd name="connsiteY102" fmla="*/ 225713 h 230497"/>
                    <a:gd name="connsiteX103" fmla="*/ 110609 w 280824"/>
                    <a:gd name="connsiteY103" fmla="*/ 226669 h 230497"/>
                    <a:gd name="connsiteX104" fmla="*/ 154148 w 280824"/>
                    <a:gd name="connsiteY104" fmla="*/ 230318 h 230497"/>
                    <a:gd name="connsiteX105" fmla="*/ 68743 w 280824"/>
                    <a:gd name="connsiteY105" fmla="*/ 227148 h 230497"/>
                    <a:gd name="connsiteX106" fmla="*/ 104269 w 280824"/>
                    <a:gd name="connsiteY106" fmla="*/ 226490 h 230497"/>
                    <a:gd name="connsiteX107" fmla="*/ 59294 w 280824"/>
                    <a:gd name="connsiteY107" fmla="*/ 222782 h 230497"/>
                    <a:gd name="connsiteX108" fmla="*/ 68743 w 280824"/>
                    <a:gd name="connsiteY108" fmla="*/ 227148 h 23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80824" h="230497">
                      <a:moveTo>
                        <a:pt x="274181" y="95393"/>
                      </a:moveTo>
                      <a:cubicBezTo>
                        <a:pt x="274181" y="95393"/>
                        <a:pt x="274181" y="95393"/>
                        <a:pt x="274181" y="95393"/>
                      </a:cubicBezTo>
                      <a:lnTo>
                        <a:pt x="262579" y="128885"/>
                      </a:lnTo>
                      <a:lnTo>
                        <a:pt x="218381" y="201072"/>
                      </a:lnTo>
                      <a:lnTo>
                        <a:pt x="218381" y="201072"/>
                      </a:lnTo>
                      <a:lnTo>
                        <a:pt x="218381" y="201072"/>
                      </a:lnTo>
                      <a:lnTo>
                        <a:pt x="218381" y="201072"/>
                      </a:lnTo>
                      <a:lnTo>
                        <a:pt x="218381" y="201072"/>
                      </a:lnTo>
                      <a:lnTo>
                        <a:pt x="218381" y="201072"/>
                      </a:lnTo>
                      <a:lnTo>
                        <a:pt x="218381" y="201072"/>
                      </a:lnTo>
                      <a:lnTo>
                        <a:pt x="218381" y="201072"/>
                      </a:lnTo>
                      <a:lnTo>
                        <a:pt x="218381" y="201072"/>
                      </a:lnTo>
                      <a:lnTo>
                        <a:pt x="218381" y="201072"/>
                      </a:lnTo>
                      <a:cubicBezTo>
                        <a:pt x="218381" y="201072"/>
                        <a:pt x="218381" y="201072"/>
                        <a:pt x="218381" y="201072"/>
                      </a:cubicBezTo>
                      <a:lnTo>
                        <a:pt x="218381" y="201072"/>
                      </a:lnTo>
                      <a:lnTo>
                        <a:pt x="218381" y="201072"/>
                      </a:lnTo>
                      <a:lnTo>
                        <a:pt x="218381" y="201072"/>
                      </a:lnTo>
                      <a:cubicBezTo>
                        <a:pt x="218381" y="201072"/>
                        <a:pt x="218381" y="201072"/>
                        <a:pt x="218381" y="201072"/>
                      </a:cubicBezTo>
                      <a:lnTo>
                        <a:pt x="218381" y="201072"/>
                      </a:lnTo>
                      <a:lnTo>
                        <a:pt x="218381" y="201072"/>
                      </a:lnTo>
                      <a:lnTo>
                        <a:pt x="218381" y="201072"/>
                      </a:lnTo>
                      <a:cubicBezTo>
                        <a:pt x="218381" y="201072"/>
                        <a:pt x="218381" y="201072"/>
                        <a:pt x="218381" y="201072"/>
                      </a:cubicBezTo>
                      <a:lnTo>
                        <a:pt x="218381" y="201072"/>
                      </a:lnTo>
                      <a:lnTo>
                        <a:pt x="218381" y="201072"/>
                      </a:lnTo>
                      <a:lnTo>
                        <a:pt x="218381" y="201072"/>
                      </a:lnTo>
                      <a:lnTo>
                        <a:pt x="218381" y="201072"/>
                      </a:lnTo>
                      <a:cubicBezTo>
                        <a:pt x="218381" y="201072"/>
                        <a:pt x="218381" y="201072"/>
                        <a:pt x="218381" y="201072"/>
                      </a:cubicBezTo>
                      <a:lnTo>
                        <a:pt x="218381" y="201072"/>
                      </a:lnTo>
                      <a:lnTo>
                        <a:pt x="218381" y="201072"/>
                      </a:lnTo>
                      <a:cubicBezTo>
                        <a:pt x="218381" y="201072"/>
                        <a:pt x="218381" y="201072"/>
                        <a:pt x="218381" y="201072"/>
                      </a:cubicBezTo>
                      <a:lnTo>
                        <a:pt x="218381" y="201072"/>
                      </a:lnTo>
                      <a:lnTo>
                        <a:pt x="218381" y="201072"/>
                      </a:lnTo>
                      <a:lnTo>
                        <a:pt x="218381" y="201072"/>
                      </a:lnTo>
                      <a:lnTo>
                        <a:pt x="218381" y="201072"/>
                      </a:lnTo>
                      <a:lnTo>
                        <a:pt x="218381" y="201072"/>
                      </a:lnTo>
                      <a:lnTo>
                        <a:pt x="218381" y="201072"/>
                      </a:lnTo>
                      <a:lnTo>
                        <a:pt x="218381" y="201072"/>
                      </a:lnTo>
                      <a:cubicBezTo>
                        <a:pt x="218381" y="201072"/>
                        <a:pt x="218381" y="201072"/>
                        <a:pt x="218381" y="201072"/>
                      </a:cubicBezTo>
                      <a:lnTo>
                        <a:pt x="218381" y="201072"/>
                      </a:lnTo>
                      <a:cubicBezTo>
                        <a:pt x="218381" y="201072"/>
                        <a:pt x="218381" y="201072"/>
                        <a:pt x="218381" y="201072"/>
                      </a:cubicBezTo>
                      <a:lnTo>
                        <a:pt x="218381" y="201072"/>
                      </a:lnTo>
                      <a:lnTo>
                        <a:pt x="218381" y="201072"/>
                      </a:lnTo>
                      <a:lnTo>
                        <a:pt x="218381" y="201072"/>
                      </a:lnTo>
                      <a:lnTo>
                        <a:pt x="218381" y="201072"/>
                      </a:lnTo>
                      <a:lnTo>
                        <a:pt x="218381" y="201072"/>
                      </a:lnTo>
                      <a:lnTo>
                        <a:pt x="218381" y="201072"/>
                      </a:lnTo>
                      <a:lnTo>
                        <a:pt x="218381" y="201072"/>
                      </a:lnTo>
                      <a:lnTo>
                        <a:pt x="218381" y="201072"/>
                      </a:lnTo>
                      <a:lnTo>
                        <a:pt x="218381" y="201072"/>
                      </a:lnTo>
                      <a:cubicBezTo>
                        <a:pt x="218381" y="201072"/>
                        <a:pt x="218381" y="201072"/>
                        <a:pt x="218381" y="201072"/>
                      </a:cubicBezTo>
                      <a:lnTo>
                        <a:pt x="218381" y="201072"/>
                      </a:lnTo>
                      <a:cubicBezTo>
                        <a:pt x="218381" y="201072"/>
                        <a:pt x="218381" y="201072"/>
                        <a:pt x="218321" y="201072"/>
                      </a:cubicBezTo>
                      <a:lnTo>
                        <a:pt x="176037" y="225413"/>
                      </a:lnTo>
                      <a:cubicBezTo>
                        <a:pt x="176037" y="225413"/>
                        <a:pt x="175978" y="225413"/>
                        <a:pt x="175978" y="225413"/>
                      </a:cubicBezTo>
                      <a:lnTo>
                        <a:pt x="164913" y="225593"/>
                      </a:lnTo>
                      <a:lnTo>
                        <a:pt x="154208" y="230497"/>
                      </a:lnTo>
                      <a:cubicBezTo>
                        <a:pt x="154208" y="230497"/>
                        <a:pt x="154148" y="230497"/>
                        <a:pt x="154148" y="230497"/>
                      </a:cubicBezTo>
                      <a:lnTo>
                        <a:pt x="107439" y="226610"/>
                      </a:lnTo>
                      <a:lnTo>
                        <a:pt x="68684" y="227327"/>
                      </a:lnTo>
                      <a:cubicBezTo>
                        <a:pt x="68684" y="227327"/>
                        <a:pt x="68624" y="227327"/>
                        <a:pt x="68624" y="227327"/>
                      </a:cubicBezTo>
                      <a:lnTo>
                        <a:pt x="58337" y="222543"/>
                      </a:lnTo>
                      <a:lnTo>
                        <a:pt x="44461" y="221406"/>
                      </a:lnTo>
                      <a:cubicBezTo>
                        <a:pt x="44461" y="221406"/>
                        <a:pt x="44402" y="221406"/>
                        <a:pt x="44402" y="221406"/>
                      </a:cubicBezTo>
                      <a:lnTo>
                        <a:pt x="85" y="197484"/>
                      </a:lnTo>
                      <a:cubicBezTo>
                        <a:pt x="25" y="197424"/>
                        <a:pt x="-35" y="197364"/>
                        <a:pt x="25" y="197244"/>
                      </a:cubicBezTo>
                      <a:cubicBezTo>
                        <a:pt x="85" y="197184"/>
                        <a:pt x="144" y="197125"/>
                        <a:pt x="264" y="197184"/>
                      </a:cubicBezTo>
                      <a:lnTo>
                        <a:pt x="44581" y="221048"/>
                      </a:lnTo>
                      <a:lnTo>
                        <a:pt x="57559" y="222124"/>
                      </a:lnTo>
                      <a:lnTo>
                        <a:pt x="8159" y="199158"/>
                      </a:lnTo>
                      <a:cubicBezTo>
                        <a:pt x="8099" y="199098"/>
                        <a:pt x="8039" y="199038"/>
                        <a:pt x="8099" y="198919"/>
                      </a:cubicBezTo>
                      <a:cubicBezTo>
                        <a:pt x="8159" y="198859"/>
                        <a:pt x="8218" y="198799"/>
                        <a:pt x="8338" y="198859"/>
                      </a:cubicBezTo>
                      <a:lnTo>
                        <a:pt x="58576" y="222184"/>
                      </a:lnTo>
                      <a:lnTo>
                        <a:pt x="107558" y="226251"/>
                      </a:lnTo>
                      <a:lnTo>
                        <a:pt x="164973" y="225174"/>
                      </a:lnTo>
                      <a:lnTo>
                        <a:pt x="218262" y="200653"/>
                      </a:lnTo>
                      <a:lnTo>
                        <a:pt x="273942" y="95153"/>
                      </a:lnTo>
                      <a:lnTo>
                        <a:pt x="275078" y="179"/>
                      </a:lnTo>
                      <a:cubicBezTo>
                        <a:pt x="275078" y="120"/>
                        <a:pt x="275138" y="60"/>
                        <a:pt x="275198" y="0"/>
                      </a:cubicBezTo>
                      <a:cubicBezTo>
                        <a:pt x="275258" y="0"/>
                        <a:pt x="275377" y="60"/>
                        <a:pt x="275377" y="120"/>
                      </a:cubicBezTo>
                      <a:lnTo>
                        <a:pt x="279743" y="16387"/>
                      </a:lnTo>
                      <a:cubicBezTo>
                        <a:pt x="279863" y="18361"/>
                        <a:pt x="281119" y="35167"/>
                        <a:pt x="280760" y="37021"/>
                      </a:cubicBezTo>
                      <a:cubicBezTo>
                        <a:pt x="280760" y="37081"/>
                        <a:pt x="280760" y="37140"/>
                        <a:pt x="280700" y="37140"/>
                      </a:cubicBezTo>
                      <a:cubicBezTo>
                        <a:pt x="280700" y="37140"/>
                        <a:pt x="280700" y="37200"/>
                        <a:pt x="280640" y="37260"/>
                      </a:cubicBezTo>
                      <a:cubicBezTo>
                        <a:pt x="280341" y="38935"/>
                        <a:pt x="279982" y="54963"/>
                        <a:pt x="279863" y="65788"/>
                      </a:cubicBezTo>
                      <a:lnTo>
                        <a:pt x="274181" y="95393"/>
                      </a:lnTo>
                      <a:close/>
                      <a:moveTo>
                        <a:pt x="280401" y="37260"/>
                      </a:moveTo>
                      <a:cubicBezTo>
                        <a:pt x="280401" y="37260"/>
                        <a:pt x="280401" y="37200"/>
                        <a:pt x="280401" y="37140"/>
                      </a:cubicBezTo>
                      <a:cubicBezTo>
                        <a:pt x="280640" y="35825"/>
                        <a:pt x="279923" y="24282"/>
                        <a:pt x="279384" y="16626"/>
                      </a:cubicBezTo>
                      <a:lnTo>
                        <a:pt x="275317" y="1495"/>
                      </a:lnTo>
                      <a:lnTo>
                        <a:pt x="274241" y="93539"/>
                      </a:lnTo>
                      <a:lnTo>
                        <a:pt x="279564" y="65967"/>
                      </a:lnTo>
                      <a:cubicBezTo>
                        <a:pt x="279623" y="63216"/>
                        <a:pt x="279923" y="39712"/>
                        <a:pt x="280341" y="37380"/>
                      </a:cubicBezTo>
                      <a:cubicBezTo>
                        <a:pt x="280341" y="37380"/>
                        <a:pt x="280341" y="37320"/>
                        <a:pt x="280401" y="37260"/>
                      </a:cubicBezTo>
                      <a:close/>
                      <a:moveTo>
                        <a:pt x="262339" y="128765"/>
                      </a:moveTo>
                      <a:lnTo>
                        <a:pt x="273224" y="97306"/>
                      </a:lnTo>
                      <a:lnTo>
                        <a:pt x="220833" y="196586"/>
                      </a:lnTo>
                      <a:lnTo>
                        <a:pt x="262339" y="128765"/>
                      </a:lnTo>
                      <a:close/>
                      <a:moveTo>
                        <a:pt x="175978" y="225174"/>
                      </a:moveTo>
                      <a:lnTo>
                        <a:pt x="215151" y="202627"/>
                      </a:lnTo>
                      <a:lnTo>
                        <a:pt x="165691" y="225413"/>
                      </a:lnTo>
                      <a:lnTo>
                        <a:pt x="175978" y="225174"/>
                      </a:lnTo>
                      <a:close/>
                      <a:moveTo>
                        <a:pt x="154148" y="230318"/>
                      </a:moveTo>
                      <a:lnTo>
                        <a:pt x="164136" y="225713"/>
                      </a:lnTo>
                      <a:lnTo>
                        <a:pt x="110609" y="226669"/>
                      </a:lnTo>
                      <a:lnTo>
                        <a:pt x="154148" y="230318"/>
                      </a:lnTo>
                      <a:close/>
                      <a:moveTo>
                        <a:pt x="68743" y="227148"/>
                      </a:moveTo>
                      <a:lnTo>
                        <a:pt x="104269" y="226490"/>
                      </a:lnTo>
                      <a:lnTo>
                        <a:pt x="59294" y="222782"/>
                      </a:lnTo>
                      <a:lnTo>
                        <a:pt x="68743" y="227148"/>
                      </a:lnTo>
                      <a:close/>
                    </a:path>
                  </a:pathLst>
                </a:custGeom>
                <a:grpFill/>
                <a:ln w="6350" cap="flat">
                  <a:solidFill>
                    <a:schemeClr val="bg1">
                      <a:alpha val="40000"/>
                    </a:schemeClr>
                  </a:solidFill>
                  <a:prstDash val="solid"/>
                  <a:miter/>
                </a:ln>
              </p:spPr>
              <p:txBody>
                <a:bodyPr rtlCol="0" anchor="ctr"/>
                <a:lstStyle/>
                <a:p>
                  <a:endParaRPr lang="en-GB"/>
                </a:p>
              </p:txBody>
            </p:sp>
            <p:sp>
              <p:nvSpPr>
                <p:cNvPr id="8879" name="Vrije vorm: vorm 8878">
                  <a:extLst>
                    <a:ext uri="{FF2B5EF4-FFF2-40B4-BE49-F238E27FC236}">
                      <a16:creationId xmlns:a16="http://schemas.microsoft.com/office/drawing/2014/main" id="{01E01C05-8758-4C22-A7C3-3EDB32A1307A}"/>
                    </a:ext>
                  </a:extLst>
                </p:cNvPr>
                <p:cNvSpPr/>
                <p:nvPr/>
              </p:nvSpPr>
              <p:spPr>
                <a:xfrm>
                  <a:off x="4382214" y="2462557"/>
                  <a:ext cx="182232" cy="215171"/>
                </a:xfrm>
                <a:custGeom>
                  <a:avLst/>
                  <a:gdLst>
                    <a:gd name="connsiteX0" fmla="*/ 181276 w 182232"/>
                    <a:gd name="connsiteY0" fmla="*/ 49505 h 215171"/>
                    <a:gd name="connsiteX1" fmla="*/ 181156 w 182232"/>
                    <a:gd name="connsiteY1" fmla="*/ 49565 h 215171"/>
                    <a:gd name="connsiteX2" fmla="*/ 170989 w 182232"/>
                    <a:gd name="connsiteY2" fmla="*/ 49984 h 215171"/>
                    <a:gd name="connsiteX3" fmla="*/ 146468 w 182232"/>
                    <a:gd name="connsiteY3" fmla="*/ 114516 h 215171"/>
                    <a:gd name="connsiteX4" fmla="*/ 151970 w 182232"/>
                    <a:gd name="connsiteY4" fmla="*/ 141967 h 215171"/>
                    <a:gd name="connsiteX5" fmla="*/ 151910 w 182232"/>
                    <a:gd name="connsiteY5" fmla="*/ 142147 h 215171"/>
                    <a:gd name="connsiteX6" fmla="*/ 151731 w 182232"/>
                    <a:gd name="connsiteY6" fmla="*/ 142147 h 215171"/>
                    <a:gd name="connsiteX7" fmla="*/ 137915 w 182232"/>
                    <a:gd name="connsiteY7" fmla="*/ 136944 h 215171"/>
                    <a:gd name="connsiteX8" fmla="*/ 119854 w 182232"/>
                    <a:gd name="connsiteY8" fmla="*/ 184431 h 215171"/>
                    <a:gd name="connsiteX9" fmla="*/ 119734 w 182232"/>
                    <a:gd name="connsiteY9" fmla="*/ 184550 h 215171"/>
                    <a:gd name="connsiteX10" fmla="*/ 76015 w 182232"/>
                    <a:gd name="connsiteY10" fmla="*/ 195734 h 215171"/>
                    <a:gd name="connsiteX11" fmla="*/ 77570 w 182232"/>
                    <a:gd name="connsiteY11" fmla="*/ 208772 h 215171"/>
                    <a:gd name="connsiteX12" fmla="*/ 77510 w 182232"/>
                    <a:gd name="connsiteY12" fmla="*/ 208952 h 215171"/>
                    <a:gd name="connsiteX13" fmla="*/ 77331 w 182232"/>
                    <a:gd name="connsiteY13" fmla="*/ 208952 h 215171"/>
                    <a:gd name="connsiteX14" fmla="*/ 63814 w 182232"/>
                    <a:gd name="connsiteY14" fmla="*/ 198904 h 215171"/>
                    <a:gd name="connsiteX15" fmla="*/ 179 w 182232"/>
                    <a:gd name="connsiteY15" fmla="*/ 215171 h 215171"/>
                    <a:gd name="connsiteX16" fmla="*/ 60 w 182232"/>
                    <a:gd name="connsiteY16" fmla="*/ 215112 h 215171"/>
                    <a:gd name="connsiteX17" fmla="*/ 0 w 182232"/>
                    <a:gd name="connsiteY17" fmla="*/ 214992 h 215171"/>
                    <a:gd name="connsiteX18" fmla="*/ 2153 w 182232"/>
                    <a:gd name="connsiteY18" fmla="*/ 152912 h 215171"/>
                    <a:gd name="connsiteX19" fmla="*/ 2273 w 182232"/>
                    <a:gd name="connsiteY19" fmla="*/ 152792 h 215171"/>
                    <a:gd name="connsiteX20" fmla="*/ 2452 w 182232"/>
                    <a:gd name="connsiteY20" fmla="*/ 152792 h 215171"/>
                    <a:gd name="connsiteX21" fmla="*/ 63934 w 182232"/>
                    <a:gd name="connsiteY21" fmla="*/ 198545 h 215171"/>
                    <a:gd name="connsiteX22" fmla="*/ 75716 w 182232"/>
                    <a:gd name="connsiteY22" fmla="*/ 195555 h 215171"/>
                    <a:gd name="connsiteX23" fmla="*/ 65429 w 182232"/>
                    <a:gd name="connsiteY23" fmla="*/ 109492 h 215171"/>
                    <a:gd name="connsiteX24" fmla="*/ 65489 w 182232"/>
                    <a:gd name="connsiteY24" fmla="*/ 109373 h 215171"/>
                    <a:gd name="connsiteX25" fmla="*/ 65668 w 182232"/>
                    <a:gd name="connsiteY25" fmla="*/ 109373 h 215171"/>
                    <a:gd name="connsiteX26" fmla="*/ 137796 w 182232"/>
                    <a:gd name="connsiteY26" fmla="*/ 136704 h 215171"/>
                    <a:gd name="connsiteX27" fmla="*/ 146169 w 182232"/>
                    <a:gd name="connsiteY27" fmla="*/ 114695 h 215171"/>
                    <a:gd name="connsiteX28" fmla="*/ 133490 w 182232"/>
                    <a:gd name="connsiteY28" fmla="*/ 51658 h 215171"/>
                    <a:gd name="connsiteX29" fmla="*/ 133549 w 182232"/>
                    <a:gd name="connsiteY29" fmla="*/ 51539 h 215171"/>
                    <a:gd name="connsiteX30" fmla="*/ 133669 w 182232"/>
                    <a:gd name="connsiteY30" fmla="*/ 51479 h 215171"/>
                    <a:gd name="connsiteX31" fmla="*/ 170869 w 182232"/>
                    <a:gd name="connsiteY31" fmla="*/ 49864 h 215171"/>
                    <a:gd name="connsiteX32" fmla="*/ 175115 w 182232"/>
                    <a:gd name="connsiteY32" fmla="*/ 38740 h 215171"/>
                    <a:gd name="connsiteX33" fmla="*/ 162915 w 182232"/>
                    <a:gd name="connsiteY33" fmla="*/ 16611 h 215171"/>
                    <a:gd name="connsiteX34" fmla="*/ 162975 w 182232"/>
                    <a:gd name="connsiteY34" fmla="*/ 16432 h 215171"/>
                    <a:gd name="connsiteX35" fmla="*/ 180977 w 182232"/>
                    <a:gd name="connsiteY35" fmla="*/ 45 h 215171"/>
                    <a:gd name="connsiteX36" fmla="*/ 181216 w 182232"/>
                    <a:gd name="connsiteY36" fmla="*/ 45 h 215171"/>
                    <a:gd name="connsiteX37" fmla="*/ 181216 w 182232"/>
                    <a:gd name="connsiteY37" fmla="*/ 284 h 215171"/>
                    <a:gd name="connsiteX38" fmla="*/ 163334 w 182232"/>
                    <a:gd name="connsiteY38" fmla="*/ 16552 h 215171"/>
                    <a:gd name="connsiteX39" fmla="*/ 175295 w 182232"/>
                    <a:gd name="connsiteY39" fmla="*/ 38322 h 215171"/>
                    <a:gd name="connsiteX40" fmla="*/ 181933 w 182232"/>
                    <a:gd name="connsiteY40" fmla="*/ 20798 h 215171"/>
                    <a:gd name="connsiteX41" fmla="*/ 182113 w 182232"/>
                    <a:gd name="connsiteY41" fmla="*/ 20678 h 215171"/>
                    <a:gd name="connsiteX42" fmla="*/ 182232 w 182232"/>
                    <a:gd name="connsiteY42" fmla="*/ 20858 h 215171"/>
                    <a:gd name="connsiteX43" fmla="*/ 175474 w 182232"/>
                    <a:gd name="connsiteY43" fmla="*/ 38620 h 215171"/>
                    <a:gd name="connsiteX44" fmla="*/ 181395 w 182232"/>
                    <a:gd name="connsiteY44" fmla="*/ 49386 h 215171"/>
                    <a:gd name="connsiteX45" fmla="*/ 181276 w 182232"/>
                    <a:gd name="connsiteY45" fmla="*/ 49505 h 215171"/>
                    <a:gd name="connsiteX46" fmla="*/ 181276 w 182232"/>
                    <a:gd name="connsiteY46" fmla="*/ 49505 h 215171"/>
                    <a:gd name="connsiteX47" fmla="*/ 171108 w 182232"/>
                    <a:gd name="connsiteY47" fmla="*/ 49685 h 215171"/>
                    <a:gd name="connsiteX48" fmla="*/ 180857 w 182232"/>
                    <a:gd name="connsiteY48" fmla="*/ 49266 h 215171"/>
                    <a:gd name="connsiteX49" fmla="*/ 175175 w 182232"/>
                    <a:gd name="connsiteY49" fmla="*/ 38979 h 215171"/>
                    <a:gd name="connsiteX50" fmla="*/ 171108 w 182232"/>
                    <a:gd name="connsiteY50" fmla="*/ 49685 h 215171"/>
                    <a:gd name="connsiteX51" fmla="*/ 146288 w 182232"/>
                    <a:gd name="connsiteY51" fmla="*/ 113978 h 215171"/>
                    <a:gd name="connsiteX52" fmla="*/ 170630 w 182232"/>
                    <a:gd name="connsiteY52" fmla="*/ 50044 h 215171"/>
                    <a:gd name="connsiteX53" fmla="*/ 133789 w 182232"/>
                    <a:gd name="connsiteY53" fmla="*/ 51658 h 215171"/>
                    <a:gd name="connsiteX54" fmla="*/ 146288 w 182232"/>
                    <a:gd name="connsiteY54" fmla="*/ 113978 h 215171"/>
                    <a:gd name="connsiteX55" fmla="*/ 138035 w 182232"/>
                    <a:gd name="connsiteY55" fmla="*/ 136645 h 215171"/>
                    <a:gd name="connsiteX56" fmla="*/ 151611 w 182232"/>
                    <a:gd name="connsiteY56" fmla="*/ 141788 h 215171"/>
                    <a:gd name="connsiteX57" fmla="*/ 146228 w 182232"/>
                    <a:gd name="connsiteY57" fmla="*/ 115114 h 215171"/>
                    <a:gd name="connsiteX58" fmla="*/ 138035 w 182232"/>
                    <a:gd name="connsiteY58" fmla="*/ 136645 h 215171"/>
                    <a:gd name="connsiteX59" fmla="*/ 76015 w 182232"/>
                    <a:gd name="connsiteY59" fmla="*/ 195375 h 215171"/>
                    <a:gd name="connsiteX60" fmla="*/ 119614 w 182232"/>
                    <a:gd name="connsiteY60" fmla="*/ 184251 h 215171"/>
                    <a:gd name="connsiteX61" fmla="*/ 137676 w 182232"/>
                    <a:gd name="connsiteY61" fmla="*/ 136824 h 215171"/>
                    <a:gd name="connsiteX62" fmla="*/ 65848 w 182232"/>
                    <a:gd name="connsiteY62" fmla="*/ 109612 h 215171"/>
                    <a:gd name="connsiteX63" fmla="*/ 76015 w 182232"/>
                    <a:gd name="connsiteY63" fmla="*/ 195375 h 215171"/>
                    <a:gd name="connsiteX64" fmla="*/ 64233 w 182232"/>
                    <a:gd name="connsiteY64" fmla="*/ 198724 h 215171"/>
                    <a:gd name="connsiteX65" fmla="*/ 77211 w 182232"/>
                    <a:gd name="connsiteY65" fmla="*/ 208353 h 215171"/>
                    <a:gd name="connsiteX66" fmla="*/ 75716 w 182232"/>
                    <a:gd name="connsiteY66" fmla="*/ 195734 h 215171"/>
                    <a:gd name="connsiteX67" fmla="*/ 64233 w 182232"/>
                    <a:gd name="connsiteY67" fmla="*/ 198724 h 215171"/>
                    <a:gd name="connsiteX68" fmla="*/ 299 w 182232"/>
                    <a:gd name="connsiteY68" fmla="*/ 214753 h 215171"/>
                    <a:gd name="connsiteX69" fmla="*/ 63515 w 182232"/>
                    <a:gd name="connsiteY69" fmla="*/ 198605 h 215171"/>
                    <a:gd name="connsiteX70" fmla="*/ 2452 w 182232"/>
                    <a:gd name="connsiteY70" fmla="*/ 153211 h 215171"/>
                    <a:gd name="connsiteX71" fmla="*/ 299 w 182232"/>
                    <a:gd name="connsiteY71" fmla="*/ 214753 h 21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2232" h="215171">
                      <a:moveTo>
                        <a:pt x="181276" y="49505"/>
                      </a:moveTo>
                      <a:cubicBezTo>
                        <a:pt x="181276" y="49565"/>
                        <a:pt x="181216" y="49565"/>
                        <a:pt x="181156" y="49565"/>
                      </a:cubicBezTo>
                      <a:lnTo>
                        <a:pt x="170989" y="49984"/>
                      </a:lnTo>
                      <a:lnTo>
                        <a:pt x="146468" y="114516"/>
                      </a:lnTo>
                      <a:lnTo>
                        <a:pt x="151970" y="141967"/>
                      </a:lnTo>
                      <a:cubicBezTo>
                        <a:pt x="151970" y="142027"/>
                        <a:pt x="151970" y="142087"/>
                        <a:pt x="151910" y="142147"/>
                      </a:cubicBezTo>
                      <a:cubicBezTo>
                        <a:pt x="151850" y="142207"/>
                        <a:pt x="151791" y="142207"/>
                        <a:pt x="151731" y="142147"/>
                      </a:cubicBezTo>
                      <a:lnTo>
                        <a:pt x="137915" y="136944"/>
                      </a:lnTo>
                      <a:lnTo>
                        <a:pt x="119854" y="184431"/>
                      </a:lnTo>
                      <a:cubicBezTo>
                        <a:pt x="119854" y="184490"/>
                        <a:pt x="119794" y="184490"/>
                        <a:pt x="119734" y="184550"/>
                      </a:cubicBezTo>
                      <a:lnTo>
                        <a:pt x="76015" y="195734"/>
                      </a:lnTo>
                      <a:lnTo>
                        <a:pt x="77570" y="208772"/>
                      </a:lnTo>
                      <a:cubicBezTo>
                        <a:pt x="77570" y="208832"/>
                        <a:pt x="77570" y="208892"/>
                        <a:pt x="77510" y="208952"/>
                      </a:cubicBezTo>
                      <a:cubicBezTo>
                        <a:pt x="77450" y="209011"/>
                        <a:pt x="77391" y="208952"/>
                        <a:pt x="77331" y="208952"/>
                      </a:cubicBezTo>
                      <a:lnTo>
                        <a:pt x="63814" y="198904"/>
                      </a:lnTo>
                      <a:lnTo>
                        <a:pt x="179" y="215171"/>
                      </a:lnTo>
                      <a:cubicBezTo>
                        <a:pt x="119" y="215171"/>
                        <a:pt x="60" y="215171"/>
                        <a:pt x="60" y="215112"/>
                      </a:cubicBezTo>
                      <a:cubicBezTo>
                        <a:pt x="60" y="215052"/>
                        <a:pt x="0" y="215052"/>
                        <a:pt x="0" y="214992"/>
                      </a:cubicBezTo>
                      <a:lnTo>
                        <a:pt x="2153" y="152912"/>
                      </a:lnTo>
                      <a:cubicBezTo>
                        <a:pt x="2153" y="152852"/>
                        <a:pt x="2213" y="152792"/>
                        <a:pt x="2273" y="152792"/>
                      </a:cubicBezTo>
                      <a:cubicBezTo>
                        <a:pt x="2332" y="152792"/>
                        <a:pt x="2392" y="152792"/>
                        <a:pt x="2452" y="152792"/>
                      </a:cubicBezTo>
                      <a:lnTo>
                        <a:pt x="63934" y="198545"/>
                      </a:lnTo>
                      <a:lnTo>
                        <a:pt x="75716" y="195555"/>
                      </a:lnTo>
                      <a:lnTo>
                        <a:pt x="65429" y="109492"/>
                      </a:lnTo>
                      <a:cubicBezTo>
                        <a:pt x="65429" y="109432"/>
                        <a:pt x="65429" y="109373"/>
                        <a:pt x="65489" y="109373"/>
                      </a:cubicBezTo>
                      <a:cubicBezTo>
                        <a:pt x="65548" y="109313"/>
                        <a:pt x="65608" y="109313"/>
                        <a:pt x="65668" y="109373"/>
                      </a:cubicBezTo>
                      <a:lnTo>
                        <a:pt x="137796" y="136704"/>
                      </a:lnTo>
                      <a:lnTo>
                        <a:pt x="146169" y="114695"/>
                      </a:lnTo>
                      <a:lnTo>
                        <a:pt x="133490" y="51658"/>
                      </a:lnTo>
                      <a:cubicBezTo>
                        <a:pt x="133490" y="51599"/>
                        <a:pt x="133490" y="51539"/>
                        <a:pt x="133549" y="51539"/>
                      </a:cubicBezTo>
                      <a:cubicBezTo>
                        <a:pt x="133549" y="51479"/>
                        <a:pt x="133609" y="51479"/>
                        <a:pt x="133669" y="51479"/>
                      </a:cubicBezTo>
                      <a:lnTo>
                        <a:pt x="170869" y="49864"/>
                      </a:lnTo>
                      <a:lnTo>
                        <a:pt x="175115" y="38740"/>
                      </a:lnTo>
                      <a:lnTo>
                        <a:pt x="162915" y="16611"/>
                      </a:lnTo>
                      <a:cubicBezTo>
                        <a:pt x="162855" y="16552"/>
                        <a:pt x="162915" y="16492"/>
                        <a:pt x="162975" y="16432"/>
                      </a:cubicBezTo>
                      <a:lnTo>
                        <a:pt x="180977" y="45"/>
                      </a:lnTo>
                      <a:cubicBezTo>
                        <a:pt x="181036" y="-15"/>
                        <a:pt x="181156" y="-15"/>
                        <a:pt x="181216" y="45"/>
                      </a:cubicBezTo>
                      <a:cubicBezTo>
                        <a:pt x="181276" y="105"/>
                        <a:pt x="181276" y="224"/>
                        <a:pt x="181216" y="284"/>
                      </a:cubicBezTo>
                      <a:lnTo>
                        <a:pt x="163334" y="16552"/>
                      </a:lnTo>
                      <a:lnTo>
                        <a:pt x="175295" y="38322"/>
                      </a:lnTo>
                      <a:lnTo>
                        <a:pt x="181933" y="20798"/>
                      </a:lnTo>
                      <a:cubicBezTo>
                        <a:pt x="181993" y="20738"/>
                        <a:pt x="182053" y="20678"/>
                        <a:pt x="182113" y="20678"/>
                      </a:cubicBezTo>
                      <a:cubicBezTo>
                        <a:pt x="182173" y="20738"/>
                        <a:pt x="182232" y="20798"/>
                        <a:pt x="182232" y="20858"/>
                      </a:cubicBezTo>
                      <a:lnTo>
                        <a:pt x="175474" y="38620"/>
                      </a:lnTo>
                      <a:lnTo>
                        <a:pt x="181395" y="49386"/>
                      </a:lnTo>
                      <a:cubicBezTo>
                        <a:pt x="181276" y="49386"/>
                        <a:pt x="181276" y="49386"/>
                        <a:pt x="181276" y="49505"/>
                      </a:cubicBezTo>
                      <a:cubicBezTo>
                        <a:pt x="181276" y="49446"/>
                        <a:pt x="181276" y="49505"/>
                        <a:pt x="181276" y="49505"/>
                      </a:cubicBezTo>
                      <a:close/>
                      <a:moveTo>
                        <a:pt x="171108" y="49685"/>
                      </a:moveTo>
                      <a:lnTo>
                        <a:pt x="180857" y="49266"/>
                      </a:lnTo>
                      <a:lnTo>
                        <a:pt x="175175" y="38979"/>
                      </a:lnTo>
                      <a:lnTo>
                        <a:pt x="171108" y="49685"/>
                      </a:lnTo>
                      <a:close/>
                      <a:moveTo>
                        <a:pt x="146288" y="113978"/>
                      </a:moveTo>
                      <a:lnTo>
                        <a:pt x="170630" y="50044"/>
                      </a:lnTo>
                      <a:lnTo>
                        <a:pt x="133789" y="51658"/>
                      </a:lnTo>
                      <a:lnTo>
                        <a:pt x="146288" y="113978"/>
                      </a:lnTo>
                      <a:close/>
                      <a:moveTo>
                        <a:pt x="138035" y="136645"/>
                      </a:moveTo>
                      <a:lnTo>
                        <a:pt x="151611" y="141788"/>
                      </a:lnTo>
                      <a:lnTo>
                        <a:pt x="146228" y="115114"/>
                      </a:lnTo>
                      <a:lnTo>
                        <a:pt x="138035" y="136645"/>
                      </a:lnTo>
                      <a:close/>
                      <a:moveTo>
                        <a:pt x="76015" y="195375"/>
                      </a:moveTo>
                      <a:lnTo>
                        <a:pt x="119614" y="184251"/>
                      </a:lnTo>
                      <a:lnTo>
                        <a:pt x="137676" y="136824"/>
                      </a:lnTo>
                      <a:lnTo>
                        <a:pt x="65848" y="109612"/>
                      </a:lnTo>
                      <a:lnTo>
                        <a:pt x="76015" y="195375"/>
                      </a:lnTo>
                      <a:close/>
                      <a:moveTo>
                        <a:pt x="64233" y="198724"/>
                      </a:moveTo>
                      <a:lnTo>
                        <a:pt x="77211" y="208353"/>
                      </a:lnTo>
                      <a:lnTo>
                        <a:pt x="75716" y="195734"/>
                      </a:lnTo>
                      <a:lnTo>
                        <a:pt x="64233" y="198724"/>
                      </a:lnTo>
                      <a:close/>
                      <a:moveTo>
                        <a:pt x="299" y="214753"/>
                      </a:moveTo>
                      <a:lnTo>
                        <a:pt x="63515" y="198605"/>
                      </a:lnTo>
                      <a:lnTo>
                        <a:pt x="2452" y="153211"/>
                      </a:lnTo>
                      <a:lnTo>
                        <a:pt x="299" y="214753"/>
                      </a:lnTo>
                      <a:close/>
                    </a:path>
                  </a:pathLst>
                </a:custGeom>
                <a:grpFill/>
                <a:ln w="6350" cap="flat">
                  <a:solidFill>
                    <a:schemeClr val="bg1">
                      <a:alpha val="40000"/>
                    </a:schemeClr>
                  </a:solidFill>
                  <a:prstDash val="solid"/>
                  <a:miter/>
                </a:ln>
              </p:spPr>
              <p:txBody>
                <a:bodyPr rtlCol="0" anchor="ctr"/>
                <a:lstStyle/>
                <a:p>
                  <a:endParaRPr lang="en-GB"/>
                </a:p>
              </p:txBody>
            </p:sp>
            <p:sp>
              <p:nvSpPr>
                <p:cNvPr id="8880" name="Vrije vorm: vorm 8879">
                  <a:extLst>
                    <a:ext uri="{FF2B5EF4-FFF2-40B4-BE49-F238E27FC236}">
                      <a16:creationId xmlns:a16="http://schemas.microsoft.com/office/drawing/2014/main" id="{2B742A35-413C-4600-8A98-7D4C1F86AAEF}"/>
                    </a:ext>
                  </a:extLst>
                </p:cNvPr>
                <p:cNvSpPr/>
                <p:nvPr/>
              </p:nvSpPr>
              <p:spPr>
                <a:xfrm>
                  <a:off x="4447618" y="2571810"/>
                  <a:ext cx="54449" cy="75297"/>
                </a:xfrm>
                <a:custGeom>
                  <a:avLst/>
                  <a:gdLst>
                    <a:gd name="connsiteX0" fmla="*/ 54449 w 54449"/>
                    <a:gd name="connsiteY0" fmla="*/ 75178 h 75297"/>
                    <a:gd name="connsiteX1" fmla="*/ 54449 w 54449"/>
                    <a:gd name="connsiteY1" fmla="*/ 75058 h 75297"/>
                    <a:gd name="connsiteX2" fmla="*/ 324 w 54449"/>
                    <a:gd name="connsiteY2" fmla="*/ 60 h 75297"/>
                    <a:gd name="connsiteX3" fmla="*/ 84 w 54449"/>
                    <a:gd name="connsiteY3" fmla="*/ 0 h 75297"/>
                    <a:gd name="connsiteX4" fmla="*/ 25 w 54449"/>
                    <a:gd name="connsiteY4" fmla="*/ 239 h 75297"/>
                    <a:gd name="connsiteX5" fmla="*/ 54150 w 54449"/>
                    <a:gd name="connsiteY5" fmla="*/ 75238 h 75297"/>
                    <a:gd name="connsiteX6" fmla="*/ 54389 w 54449"/>
                    <a:gd name="connsiteY6" fmla="*/ 75297 h 75297"/>
                    <a:gd name="connsiteX7" fmla="*/ 54449 w 54449"/>
                    <a:gd name="connsiteY7" fmla="*/ 75178 h 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49" h="75297">
                      <a:moveTo>
                        <a:pt x="54449" y="75178"/>
                      </a:moveTo>
                      <a:cubicBezTo>
                        <a:pt x="54449" y="75118"/>
                        <a:pt x="54449" y="75118"/>
                        <a:pt x="54449" y="75058"/>
                      </a:cubicBezTo>
                      <a:lnTo>
                        <a:pt x="324" y="60"/>
                      </a:lnTo>
                      <a:cubicBezTo>
                        <a:pt x="264" y="0"/>
                        <a:pt x="144" y="0"/>
                        <a:pt x="84" y="0"/>
                      </a:cubicBezTo>
                      <a:cubicBezTo>
                        <a:pt x="25" y="60"/>
                        <a:pt x="-35" y="179"/>
                        <a:pt x="25" y="239"/>
                      </a:cubicBezTo>
                      <a:lnTo>
                        <a:pt x="54150" y="75238"/>
                      </a:lnTo>
                      <a:cubicBezTo>
                        <a:pt x="54210" y="75297"/>
                        <a:pt x="54330" y="75297"/>
                        <a:pt x="54389" y="75297"/>
                      </a:cubicBezTo>
                      <a:cubicBezTo>
                        <a:pt x="54389" y="75238"/>
                        <a:pt x="54449" y="75178"/>
                        <a:pt x="54449" y="7517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81" name="Vrije vorm: vorm 8880">
                  <a:extLst>
                    <a:ext uri="{FF2B5EF4-FFF2-40B4-BE49-F238E27FC236}">
                      <a16:creationId xmlns:a16="http://schemas.microsoft.com/office/drawing/2014/main" id="{706E5FED-A607-4A57-B151-9EE2A111C47A}"/>
                    </a:ext>
                  </a:extLst>
                </p:cNvPr>
                <p:cNvSpPr/>
                <p:nvPr/>
              </p:nvSpPr>
              <p:spPr>
                <a:xfrm>
                  <a:off x="4361197" y="2468060"/>
                  <a:ext cx="154731" cy="208652"/>
                </a:xfrm>
                <a:custGeom>
                  <a:avLst/>
                  <a:gdLst>
                    <a:gd name="connsiteX0" fmla="*/ 154686 w 154731"/>
                    <a:gd name="connsiteY0" fmla="*/ 46097 h 208652"/>
                    <a:gd name="connsiteX1" fmla="*/ 133873 w 154731"/>
                    <a:gd name="connsiteY1" fmla="*/ 64816 h 208652"/>
                    <a:gd name="connsiteX2" fmla="*/ 111446 w 154731"/>
                    <a:gd name="connsiteY2" fmla="*/ 84911 h 208652"/>
                    <a:gd name="connsiteX3" fmla="*/ 111206 w 154731"/>
                    <a:gd name="connsiteY3" fmla="*/ 84911 h 208652"/>
                    <a:gd name="connsiteX4" fmla="*/ 94520 w 154731"/>
                    <a:gd name="connsiteY4" fmla="*/ 70976 h 208652"/>
                    <a:gd name="connsiteX5" fmla="*/ 105166 w 154731"/>
                    <a:gd name="connsiteY5" fmla="*/ 90234 h 208652"/>
                    <a:gd name="connsiteX6" fmla="*/ 105166 w 154731"/>
                    <a:gd name="connsiteY6" fmla="*/ 90234 h 208652"/>
                    <a:gd name="connsiteX7" fmla="*/ 105166 w 154731"/>
                    <a:gd name="connsiteY7" fmla="*/ 90234 h 208652"/>
                    <a:gd name="connsiteX8" fmla="*/ 105166 w 154731"/>
                    <a:gd name="connsiteY8" fmla="*/ 90234 h 208652"/>
                    <a:gd name="connsiteX9" fmla="*/ 105166 w 154731"/>
                    <a:gd name="connsiteY9" fmla="*/ 90414 h 208652"/>
                    <a:gd name="connsiteX10" fmla="*/ 86685 w 154731"/>
                    <a:gd name="connsiteY10" fmla="*/ 104050 h 208652"/>
                    <a:gd name="connsiteX11" fmla="*/ 67308 w 154731"/>
                    <a:gd name="connsiteY11" fmla="*/ 119121 h 208652"/>
                    <a:gd name="connsiteX12" fmla="*/ 67188 w 154731"/>
                    <a:gd name="connsiteY12" fmla="*/ 119181 h 208652"/>
                    <a:gd name="connsiteX13" fmla="*/ 67068 w 154731"/>
                    <a:gd name="connsiteY13" fmla="*/ 119121 h 208652"/>
                    <a:gd name="connsiteX14" fmla="*/ 43864 w 154731"/>
                    <a:gd name="connsiteY14" fmla="*/ 77734 h 208652"/>
                    <a:gd name="connsiteX15" fmla="*/ 60909 w 154731"/>
                    <a:gd name="connsiteY15" fmla="*/ 123487 h 208652"/>
                    <a:gd name="connsiteX16" fmla="*/ 76698 w 154731"/>
                    <a:gd name="connsiteY16" fmla="*/ 208473 h 208652"/>
                    <a:gd name="connsiteX17" fmla="*/ 76578 w 154731"/>
                    <a:gd name="connsiteY17" fmla="*/ 208652 h 208652"/>
                    <a:gd name="connsiteX18" fmla="*/ 76399 w 154731"/>
                    <a:gd name="connsiteY18" fmla="*/ 208533 h 208652"/>
                    <a:gd name="connsiteX19" fmla="*/ 60610 w 154731"/>
                    <a:gd name="connsiteY19" fmla="*/ 123607 h 208652"/>
                    <a:gd name="connsiteX20" fmla="*/ 42847 w 154731"/>
                    <a:gd name="connsiteY20" fmla="*/ 75940 h 208652"/>
                    <a:gd name="connsiteX21" fmla="*/ 23170 w 154731"/>
                    <a:gd name="connsiteY21" fmla="*/ 56204 h 208652"/>
                    <a:gd name="connsiteX22" fmla="*/ 23110 w 154731"/>
                    <a:gd name="connsiteY22" fmla="*/ 56144 h 208652"/>
                    <a:gd name="connsiteX23" fmla="*/ 7979 w 154731"/>
                    <a:gd name="connsiteY23" fmla="*/ 13681 h 208652"/>
                    <a:gd name="connsiteX24" fmla="*/ 25 w 154731"/>
                    <a:gd name="connsiteY24" fmla="*/ 224 h 208652"/>
                    <a:gd name="connsiteX25" fmla="*/ 85 w 154731"/>
                    <a:gd name="connsiteY25" fmla="*/ 45 h 208652"/>
                    <a:gd name="connsiteX26" fmla="*/ 264 w 154731"/>
                    <a:gd name="connsiteY26" fmla="*/ 45 h 208652"/>
                    <a:gd name="connsiteX27" fmla="*/ 13422 w 154731"/>
                    <a:gd name="connsiteY27" fmla="*/ 10750 h 208652"/>
                    <a:gd name="connsiteX28" fmla="*/ 18326 w 154731"/>
                    <a:gd name="connsiteY28" fmla="*/ 7341 h 208652"/>
                    <a:gd name="connsiteX29" fmla="*/ 18386 w 154731"/>
                    <a:gd name="connsiteY29" fmla="*/ 7341 h 208652"/>
                    <a:gd name="connsiteX30" fmla="*/ 29809 w 154731"/>
                    <a:gd name="connsiteY30" fmla="*/ 3813 h 208652"/>
                    <a:gd name="connsiteX31" fmla="*/ 29928 w 154731"/>
                    <a:gd name="connsiteY31" fmla="*/ 3813 h 208652"/>
                    <a:gd name="connsiteX32" fmla="*/ 154566 w 154731"/>
                    <a:gd name="connsiteY32" fmla="*/ 45977 h 208652"/>
                    <a:gd name="connsiteX33" fmla="*/ 154686 w 154731"/>
                    <a:gd name="connsiteY33" fmla="*/ 46097 h 208652"/>
                    <a:gd name="connsiteX34" fmla="*/ 154686 w 154731"/>
                    <a:gd name="connsiteY34" fmla="*/ 46156 h 208652"/>
                    <a:gd name="connsiteX35" fmla="*/ 154686 w 154731"/>
                    <a:gd name="connsiteY35" fmla="*/ 46097 h 208652"/>
                    <a:gd name="connsiteX36" fmla="*/ 18804 w 154731"/>
                    <a:gd name="connsiteY36" fmla="*/ 7401 h 208652"/>
                    <a:gd name="connsiteX37" fmla="*/ 36627 w 154731"/>
                    <a:gd name="connsiteY37" fmla="*/ 22233 h 208652"/>
                    <a:gd name="connsiteX38" fmla="*/ 36627 w 154731"/>
                    <a:gd name="connsiteY38" fmla="*/ 22233 h 208652"/>
                    <a:gd name="connsiteX39" fmla="*/ 111326 w 154731"/>
                    <a:gd name="connsiteY39" fmla="*/ 84553 h 208652"/>
                    <a:gd name="connsiteX40" fmla="*/ 133694 w 154731"/>
                    <a:gd name="connsiteY40" fmla="*/ 64577 h 208652"/>
                    <a:gd name="connsiteX41" fmla="*/ 154327 w 154731"/>
                    <a:gd name="connsiteY41" fmla="*/ 46097 h 208652"/>
                    <a:gd name="connsiteX42" fmla="*/ 29988 w 154731"/>
                    <a:gd name="connsiteY42" fmla="*/ 3992 h 208652"/>
                    <a:gd name="connsiteX43" fmla="*/ 18804 w 154731"/>
                    <a:gd name="connsiteY43" fmla="*/ 7401 h 208652"/>
                    <a:gd name="connsiteX44" fmla="*/ 28912 w 154731"/>
                    <a:gd name="connsiteY44" fmla="*/ 24446 h 208652"/>
                    <a:gd name="connsiteX45" fmla="*/ 13422 w 154731"/>
                    <a:gd name="connsiteY45" fmla="*/ 11049 h 208652"/>
                    <a:gd name="connsiteX46" fmla="*/ 8398 w 154731"/>
                    <a:gd name="connsiteY46" fmla="*/ 13561 h 208652"/>
                    <a:gd name="connsiteX47" fmla="*/ 67248 w 154731"/>
                    <a:gd name="connsiteY47" fmla="*/ 118702 h 208652"/>
                    <a:gd name="connsiteX48" fmla="*/ 86506 w 154731"/>
                    <a:gd name="connsiteY48" fmla="*/ 103751 h 208652"/>
                    <a:gd name="connsiteX49" fmla="*/ 104867 w 154731"/>
                    <a:gd name="connsiteY49" fmla="*/ 90354 h 208652"/>
                    <a:gd name="connsiteX50" fmla="*/ 28912 w 154731"/>
                    <a:gd name="connsiteY50" fmla="*/ 24446 h 208652"/>
                    <a:gd name="connsiteX51" fmla="*/ 28912 w 154731"/>
                    <a:gd name="connsiteY51" fmla="*/ 24446 h 208652"/>
                    <a:gd name="connsiteX52" fmla="*/ 68683 w 154731"/>
                    <a:gd name="connsiteY52" fmla="*/ 58536 h 208652"/>
                    <a:gd name="connsiteX53" fmla="*/ 104448 w 154731"/>
                    <a:gd name="connsiteY53" fmla="*/ 89576 h 208652"/>
                    <a:gd name="connsiteX54" fmla="*/ 93802 w 154731"/>
                    <a:gd name="connsiteY54" fmla="*/ 70378 h 208652"/>
                    <a:gd name="connsiteX55" fmla="*/ 68683 w 154731"/>
                    <a:gd name="connsiteY55" fmla="*/ 58536 h 208652"/>
                    <a:gd name="connsiteX56" fmla="*/ 67846 w 154731"/>
                    <a:gd name="connsiteY56" fmla="*/ 57759 h 208652"/>
                    <a:gd name="connsiteX57" fmla="*/ 92905 w 154731"/>
                    <a:gd name="connsiteY57" fmla="*/ 69541 h 208652"/>
                    <a:gd name="connsiteX58" fmla="*/ 38002 w 154731"/>
                    <a:gd name="connsiteY58" fmla="*/ 23788 h 208652"/>
                    <a:gd name="connsiteX59" fmla="*/ 67846 w 154731"/>
                    <a:gd name="connsiteY59" fmla="*/ 57759 h 208652"/>
                    <a:gd name="connsiteX60" fmla="*/ 29330 w 154731"/>
                    <a:gd name="connsiteY60" fmla="*/ 24386 h 208652"/>
                    <a:gd name="connsiteX61" fmla="*/ 66052 w 154731"/>
                    <a:gd name="connsiteY61" fmla="*/ 56204 h 208652"/>
                    <a:gd name="connsiteX62" fmla="*/ 36447 w 154731"/>
                    <a:gd name="connsiteY62" fmla="*/ 22473 h 208652"/>
                    <a:gd name="connsiteX63" fmla="*/ 29330 w 154731"/>
                    <a:gd name="connsiteY63" fmla="*/ 24386 h 208652"/>
                    <a:gd name="connsiteX64" fmla="*/ 23469 w 154731"/>
                    <a:gd name="connsiteY64" fmla="*/ 55845 h 208652"/>
                    <a:gd name="connsiteX65" fmla="*/ 42309 w 154731"/>
                    <a:gd name="connsiteY65" fmla="*/ 74744 h 208652"/>
                    <a:gd name="connsiteX66" fmla="*/ 8996 w 154731"/>
                    <a:gd name="connsiteY66" fmla="*/ 15236 h 208652"/>
                    <a:gd name="connsiteX67" fmla="*/ 23469 w 154731"/>
                    <a:gd name="connsiteY67" fmla="*/ 55845 h 208652"/>
                    <a:gd name="connsiteX68" fmla="*/ 29091 w 154731"/>
                    <a:gd name="connsiteY68" fmla="*/ 24147 h 208652"/>
                    <a:gd name="connsiteX69" fmla="*/ 36148 w 154731"/>
                    <a:gd name="connsiteY69" fmla="*/ 22293 h 208652"/>
                    <a:gd name="connsiteX70" fmla="*/ 19103 w 154731"/>
                    <a:gd name="connsiteY70" fmla="*/ 8119 h 208652"/>
                    <a:gd name="connsiteX71" fmla="*/ 29091 w 154731"/>
                    <a:gd name="connsiteY71" fmla="*/ 24147 h 208652"/>
                    <a:gd name="connsiteX72" fmla="*/ 13721 w 154731"/>
                    <a:gd name="connsiteY72" fmla="*/ 10810 h 208652"/>
                    <a:gd name="connsiteX73" fmla="*/ 28313 w 154731"/>
                    <a:gd name="connsiteY73" fmla="*/ 23489 h 208652"/>
                    <a:gd name="connsiteX74" fmla="*/ 18446 w 154731"/>
                    <a:gd name="connsiteY74" fmla="*/ 7521 h 208652"/>
                    <a:gd name="connsiteX75" fmla="*/ 13721 w 154731"/>
                    <a:gd name="connsiteY75" fmla="*/ 10810 h 208652"/>
                    <a:gd name="connsiteX76" fmla="*/ 8218 w 154731"/>
                    <a:gd name="connsiteY76" fmla="*/ 13262 h 208652"/>
                    <a:gd name="connsiteX77" fmla="*/ 13123 w 154731"/>
                    <a:gd name="connsiteY77" fmla="*/ 10810 h 208652"/>
                    <a:gd name="connsiteX78" fmla="*/ 742 w 154731"/>
                    <a:gd name="connsiteY78" fmla="*/ 763 h 208652"/>
                    <a:gd name="connsiteX79" fmla="*/ 8218 w 154731"/>
                    <a:gd name="connsiteY79" fmla="*/ 13262 h 208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4731" h="208652">
                      <a:moveTo>
                        <a:pt x="154686" y="46097"/>
                      </a:moveTo>
                      <a:cubicBezTo>
                        <a:pt x="154088" y="46934"/>
                        <a:pt x="134711" y="64098"/>
                        <a:pt x="133873" y="64816"/>
                      </a:cubicBezTo>
                      <a:lnTo>
                        <a:pt x="111446" y="84911"/>
                      </a:lnTo>
                      <a:cubicBezTo>
                        <a:pt x="111386" y="84971"/>
                        <a:pt x="111326" y="84971"/>
                        <a:pt x="111206" y="84911"/>
                      </a:cubicBezTo>
                      <a:lnTo>
                        <a:pt x="94520" y="70976"/>
                      </a:lnTo>
                      <a:lnTo>
                        <a:pt x="105166" y="90234"/>
                      </a:lnTo>
                      <a:cubicBezTo>
                        <a:pt x="105166" y="90234"/>
                        <a:pt x="105166" y="90234"/>
                        <a:pt x="105166" y="90234"/>
                      </a:cubicBezTo>
                      <a:lnTo>
                        <a:pt x="105166" y="90234"/>
                      </a:lnTo>
                      <a:lnTo>
                        <a:pt x="105166" y="90234"/>
                      </a:lnTo>
                      <a:cubicBezTo>
                        <a:pt x="105166" y="90294"/>
                        <a:pt x="105166" y="90354"/>
                        <a:pt x="105166" y="90414"/>
                      </a:cubicBezTo>
                      <a:cubicBezTo>
                        <a:pt x="104448" y="91789"/>
                        <a:pt x="89676" y="101956"/>
                        <a:pt x="86685" y="104050"/>
                      </a:cubicBezTo>
                      <a:lnTo>
                        <a:pt x="67308" y="119121"/>
                      </a:lnTo>
                      <a:cubicBezTo>
                        <a:pt x="67248" y="119121"/>
                        <a:pt x="67248" y="119181"/>
                        <a:pt x="67188" y="119181"/>
                      </a:cubicBezTo>
                      <a:cubicBezTo>
                        <a:pt x="67128" y="119181"/>
                        <a:pt x="67128" y="119121"/>
                        <a:pt x="67068" y="119121"/>
                      </a:cubicBezTo>
                      <a:lnTo>
                        <a:pt x="43864" y="77734"/>
                      </a:lnTo>
                      <a:lnTo>
                        <a:pt x="60909" y="123487"/>
                      </a:lnTo>
                      <a:lnTo>
                        <a:pt x="76698" y="208473"/>
                      </a:lnTo>
                      <a:cubicBezTo>
                        <a:pt x="76698" y="208533"/>
                        <a:pt x="76638" y="208652"/>
                        <a:pt x="76578" y="208652"/>
                      </a:cubicBezTo>
                      <a:cubicBezTo>
                        <a:pt x="76518" y="208652"/>
                        <a:pt x="76399" y="208593"/>
                        <a:pt x="76399" y="208533"/>
                      </a:cubicBezTo>
                      <a:lnTo>
                        <a:pt x="60610" y="123607"/>
                      </a:lnTo>
                      <a:lnTo>
                        <a:pt x="42847" y="75940"/>
                      </a:lnTo>
                      <a:lnTo>
                        <a:pt x="23170" y="56204"/>
                      </a:lnTo>
                      <a:cubicBezTo>
                        <a:pt x="23170" y="56204"/>
                        <a:pt x="23170" y="56144"/>
                        <a:pt x="23110" y="56144"/>
                      </a:cubicBezTo>
                      <a:lnTo>
                        <a:pt x="7979" y="13681"/>
                      </a:lnTo>
                      <a:lnTo>
                        <a:pt x="25" y="224"/>
                      </a:lnTo>
                      <a:cubicBezTo>
                        <a:pt x="-35" y="164"/>
                        <a:pt x="25" y="45"/>
                        <a:pt x="85" y="45"/>
                      </a:cubicBezTo>
                      <a:cubicBezTo>
                        <a:pt x="145" y="-15"/>
                        <a:pt x="204" y="-15"/>
                        <a:pt x="264" y="45"/>
                      </a:cubicBezTo>
                      <a:lnTo>
                        <a:pt x="13422" y="10750"/>
                      </a:lnTo>
                      <a:lnTo>
                        <a:pt x="18326" y="7341"/>
                      </a:lnTo>
                      <a:cubicBezTo>
                        <a:pt x="18326" y="7341"/>
                        <a:pt x="18386" y="7341"/>
                        <a:pt x="18386" y="7341"/>
                      </a:cubicBezTo>
                      <a:lnTo>
                        <a:pt x="29809" y="3813"/>
                      </a:lnTo>
                      <a:cubicBezTo>
                        <a:pt x="29869" y="3813"/>
                        <a:pt x="29869" y="3813"/>
                        <a:pt x="29928" y="3813"/>
                      </a:cubicBezTo>
                      <a:lnTo>
                        <a:pt x="154566" y="45977"/>
                      </a:lnTo>
                      <a:cubicBezTo>
                        <a:pt x="154626" y="45977"/>
                        <a:pt x="154626" y="46037"/>
                        <a:pt x="154686" y="46097"/>
                      </a:cubicBezTo>
                      <a:cubicBezTo>
                        <a:pt x="154686" y="46097"/>
                        <a:pt x="154686" y="46156"/>
                        <a:pt x="154686" y="46156"/>
                      </a:cubicBezTo>
                      <a:cubicBezTo>
                        <a:pt x="154746" y="46037"/>
                        <a:pt x="154746" y="46037"/>
                        <a:pt x="154686" y="46097"/>
                      </a:cubicBezTo>
                      <a:close/>
                      <a:moveTo>
                        <a:pt x="18804" y="7401"/>
                      </a:moveTo>
                      <a:lnTo>
                        <a:pt x="36627" y="22233"/>
                      </a:lnTo>
                      <a:lnTo>
                        <a:pt x="36627" y="22233"/>
                      </a:lnTo>
                      <a:lnTo>
                        <a:pt x="111326" y="84553"/>
                      </a:lnTo>
                      <a:lnTo>
                        <a:pt x="133694" y="64577"/>
                      </a:lnTo>
                      <a:cubicBezTo>
                        <a:pt x="140332" y="58716"/>
                        <a:pt x="152712" y="47711"/>
                        <a:pt x="154327" y="46097"/>
                      </a:cubicBezTo>
                      <a:lnTo>
                        <a:pt x="29988" y="3992"/>
                      </a:lnTo>
                      <a:lnTo>
                        <a:pt x="18804" y="7401"/>
                      </a:lnTo>
                      <a:close/>
                      <a:moveTo>
                        <a:pt x="28912" y="24446"/>
                      </a:moveTo>
                      <a:lnTo>
                        <a:pt x="13422" y="11049"/>
                      </a:lnTo>
                      <a:lnTo>
                        <a:pt x="8398" y="13561"/>
                      </a:lnTo>
                      <a:lnTo>
                        <a:pt x="67248" y="118702"/>
                      </a:lnTo>
                      <a:lnTo>
                        <a:pt x="86506" y="103751"/>
                      </a:lnTo>
                      <a:cubicBezTo>
                        <a:pt x="93623" y="98906"/>
                        <a:pt x="104149" y="91430"/>
                        <a:pt x="104867" y="90354"/>
                      </a:cubicBezTo>
                      <a:lnTo>
                        <a:pt x="28912" y="24446"/>
                      </a:lnTo>
                      <a:cubicBezTo>
                        <a:pt x="28912" y="24446"/>
                        <a:pt x="28912" y="24446"/>
                        <a:pt x="28912" y="24446"/>
                      </a:cubicBezTo>
                      <a:close/>
                      <a:moveTo>
                        <a:pt x="68683" y="58536"/>
                      </a:moveTo>
                      <a:lnTo>
                        <a:pt x="104448" y="89576"/>
                      </a:lnTo>
                      <a:lnTo>
                        <a:pt x="93802" y="70378"/>
                      </a:lnTo>
                      <a:lnTo>
                        <a:pt x="68683" y="58536"/>
                      </a:lnTo>
                      <a:close/>
                      <a:moveTo>
                        <a:pt x="67846" y="57759"/>
                      </a:moveTo>
                      <a:lnTo>
                        <a:pt x="92905" y="69541"/>
                      </a:lnTo>
                      <a:lnTo>
                        <a:pt x="38002" y="23788"/>
                      </a:lnTo>
                      <a:lnTo>
                        <a:pt x="67846" y="57759"/>
                      </a:lnTo>
                      <a:close/>
                      <a:moveTo>
                        <a:pt x="29330" y="24386"/>
                      </a:moveTo>
                      <a:lnTo>
                        <a:pt x="66052" y="56204"/>
                      </a:lnTo>
                      <a:lnTo>
                        <a:pt x="36447" y="22473"/>
                      </a:lnTo>
                      <a:lnTo>
                        <a:pt x="29330" y="24386"/>
                      </a:lnTo>
                      <a:close/>
                      <a:moveTo>
                        <a:pt x="23469" y="55845"/>
                      </a:moveTo>
                      <a:lnTo>
                        <a:pt x="42309" y="74744"/>
                      </a:lnTo>
                      <a:lnTo>
                        <a:pt x="8996" y="15236"/>
                      </a:lnTo>
                      <a:lnTo>
                        <a:pt x="23469" y="55845"/>
                      </a:lnTo>
                      <a:close/>
                      <a:moveTo>
                        <a:pt x="29091" y="24147"/>
                      </a:moveTo>
                      <a:lnTo>
                        <a:pt x="36148" y="22293"/>
                      </a:lnTo>
                      <a:lnTo>
                        <a:pt x="19103" y="8119"/>
                      </a:lnTo>
                      <a:lnTo>
                        <a:pt x="29091" y="24147"/>
                      </a:lnTo>
                      <a:close/>
                      <a:moveTo>
                        <a:pt x="13721" y="10810"/>
                      </a:moveTo>
                      <a:lnTo>
                        <a:pt x="28313" y="23489"/>
                      </a:lnTo>
                      <a:lnTo>
                        <a:pt x="18446" y="7521"/>
                      </a:lnTo>
                      <a:lnTo>
                        <a:pt x="13721" y="10810"/>
                      </a:lnTo>
                      <a:close/>
                      <a:moveTo>
                        <a:pt x="8218" y="13262"/>
                      </a:moveTo>
                      <a:lnTo>
                        <a:pt x="13123" y="10810"/>
                      </a:lnTo>
                      <a:lnTo>
                        <a:pt x="742" y="763"/>
                      </a:lnTo>
                      <a:lnTo>
                        <a:pt x="8218" y="13262"/>
                      </a:lnTo>
                      <a:close/>
                    </a:path>
                  </a:pathLst>
                </a:custGeom>
                <a:grpFill/>
                <a:ln w="6350" cap="flat">
                  <a:solidFill>
                    <a:schemeClr val="bg1">
                      <a:alpha val="40000"/>
                    </a:schemeClr>
                  </a:solidFill>
                  <a:prstDash val="solid"/>
                  <a:miter/>
                </a:ln>
              </p:spPr>
              <p:txBody>
                <a:bodyPr rtlCol="0" anchor="ctr"/>
                <a:lstStyle/>
                <a:p>
                  <a:endParaRPr lang="en-GB"/>
                </a:p>
              </p:txBody>
            </p:sp>
            <p:sp>
              <p:nvSpPr>
                <p:cNvPr id="8882" name="Vrije vorm: vorm 8881">
                  <a:extLst>
                    <a:ext uri="{FF2B5EF4-FFF2-40B4-BE49-F238E27FC236}">
                      <a16:creationId xmlns:a16="http://schemas.microsoft.com/office/drawing/2014/main" id="{4451E7E1-F28D-46E3-896C-F61D0AE70A00}"/>
                    </a:ext>
                  </a:extLst>
                </p:cNvPr>
                <p:cNvSpPr/>
                <p:nvPr/>
              </p:nvSpPr>
              <p:spPr>
                <a:xfrm>
                  <a:off x="4320014" y="2602073"/>
                  <a:ext cx="90428" cy="75521"/>
                </a:xfrm>
                <a:custGeom>
                  <a:avLst/>
                  <a:gdLst>
                    <a:gd name="connsiteX0" fmla="*/ 90309 w 90428"/>
                    <a:gd name="connsiteY0" fmla="*/ 75477 h 75521"/>
                    <a:gd name="connsiteX1" fmla="*/ 90130 w 90428"/>
                    <a:gd name="connsiteY1" fmla="*/ 75477 h 75521"/>
                    <a:gd name="connsiteX2" fmla="*/ 16387 w 90428"/>
                    <a:gd name="connsiteY2" fmla="*/ 45573 h 75521"/>
                    <a:gd name="connsiteX3" fmla="*/ 8253 w 90428"/>
                    <a:gd name="connsiteY3" fmla="*/ 65310 h 75521"/>
                    <a:gd name="connsiteX4" fmla="*/ 8074 w 90428"/>
                    <a:gd name="connsiteY4" fmla="*/ 65429 h 75521"/>
                    <a:gd name="connsiteX5" fmla="*/ 7954 w 90428"/>
                    <a:gd name="connsiteY5" fmla="*/ 65310 h 75521"/>
                    <a:gd name="connsiteX6" fmla="*/ 0 w 90428"/>
                    <a:gd name="connsiteY6" fmla="*/ 38875 h 75521"/>
                    <a:gd name="connsiteX7" fmla="*/ 60 w 90428"/>
                    <a:gd name="connsiteY7" fmla="*/ 38695 h 75521"/>
                    <a:gd name="connsiteX8" fmla="*/ 239 w 90428"/>
                    <a:gd name="connsiteY8" fmla="*/ 38636 h 75521"/>
                    <a:gd name="connsiteX9" fmla="*/ 16268 w 90428"/>
                    <a:gd name="connsiteY9" fmla="*/ 45155 h 75521"/>
                    <a:gd name="connsiteX10" fmla="*/ 21231 w 90428"/>
                    <a:gd name="connsiteY10" fmla="*/ 33193 h 75521"/>
                    <a:gd name="connsiteX11" fmla="*/ 21471 w 90428"/>
                    <a:gd name="connsiteY11" fmla="*/ 33133 h 75521"/>
                    <a:gd name="connsiteX12" fmla="*/ 21530 w 90428"/>
                    <a:gd name="connsiteY12" fmla="*/ 33373 h 75521"/>
                    <a:gd name="connsiteX13" fmla="*/ 16567 w 90428"/>
                    <a:gd name="connsiteY13" fmla="*/ 45334 h 75521"/>
                    <a:gd name="connsiteX14" fmla="*/ 90070 w 90428"/>
                    <a:gd name="connsiteY14" fmla="*/ 75118 h 75521"/>
                    <a:gd name="connsiteX15" fmla="*/ 85584 w 90428"/>
                    <a:gd name="connsiteY15" fmla="*/ 179 h 75521"/>
                    <a:gd name="connsiteX16" fmla="*/ 85764 w 90428"/>
                    <a:gd name="connsiteY16" fmla="*/ 0 h 75521"/>
                    <a:gd name="connsiteX17" fmla="*/ 85943 w 90428"/>
                    <a:gd name="connsiteY17" fmla="*/ 179 h 75521"/>
                    <a:gd name="connsiteX18" fmla="*/ 90428 w 90428"/>
                    <a:gd name="connsiteY18" fmla="*/ 75357 h 75521"/>
                    <a:gd name="connsiteX19" fmla="*/ 90428 w 90428"/>
                    <a:gd name="connsiteY19" fmla="*/ 75417 h 75521"/>
                    <a:gd name="connsiteX20" fmla="*/ 90309 w 90428"/>
                    <a:gd name="connsiteY20" fmla="*/ 75477 h 75521"/>
                    <a:gd name="connsiteX21" fmla="*/ 8134 w 90428"/>
                    <a:gd name="connsiteY21" fmla="*/ 64771 h 75521"/>
                    <a:gd name="connsiteX22" fmla="*/ 16088 w 90428"/>
                    <a:gd name="connsiteY22" fmla="*/ 45454 h 75521"/>
                    <a:gd name="connsiteX23" fmla="*/ 359 w 90428"/>
                    <a:gd name="connsiteY23" fmla="*/ 39114 h 75521"/>
                    <a:gd name="connsiteX24" fmla="*/ 8134 w 90428"/>
                    <a:gd name="connsiteY24" fmla="*/ 64771 h 75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0428" h="75521">
                      <a:moveTo>
                        <a:pt x="90309" y="75477"/>
                      </a:moveTo>
                      <a:cubicBezTo>
                        <a:pt x="90249" y="75537"/>
                        <a:pt x="90189" y="75537"/>
                        <a:pt x="90130" y="75477"/>
                      </a:cubicBezTo>
                      <a:lnTo>
                        <a:pt x="16387" y="45573"/>
                      </a:lnTo>
                      <a:lnTo>
                        <a:pt x="8253" y="65310"/>
                      </a:lnTo>
                      <a:cubicBezTo>
                        <a:pt x="8253" y="65369"/>
                        <a:pt x="8194" y="65429"/>
                        <a:pt x="8074" y="65429"/>
                      </a:cubicBezTo>
                      <a:cubicBezTo>
                        <a:pt x="8014" y="65429"/>
                        <a:pt x="7954" y="65369"/>
                        <a:pt x="7954" y="65310"/>
                      </a:cubicBezTo>
                      <a:lnTo>
                        <a:pt x="0" y="38875"/>
                      </a:lnTo>
                      <a:cubicBezTo>
                        <a:pt x="0" y="38815"/>
                        <a:pt x="0" y="38755"/>
                        <a:pt x="60" y="38695"/>
                      </a:cubicBezTo>
                      <a:cubicBezTo>
                        <a:pt x="120" y="38636"/>
                        <a:pt x="180" y="38636"/>
                        <a:pt x="239" y="38636"/>
                      </a:cubicBezTo>
                      <a:lnTo>
                        <a:pt x="16268" y="45155"/>
                      </a:lnTo>
                      <a:lnTo>
                        <a:pt x="21231" y="33193"/>
                      </a:lnTo>
                      <a:cubicBezTo>
                        <a:pt x="21291" y="33133"/>
                        <a:pt x="21351" y="33073"/>
                        <a:pt x="21471" y="33133"/>
                      </a:cubicBezTo>
                      <a:cubicBezTo>
                        <a:pt x="21530" y="33193"/>
                        <a:pt x="21590" y="33253"/>
                        <a:pt x="21530" y="33373"/>
                      </a:cubicBezTo>
                      <a:lnTo>
                        <a:pt x="16567" y="45334"/>
                      </a:lnTo>
                      <a:lnTo>
                        <a:pt x="90070" y="75118"/>
                      </a:lnTo>
                      <a:lnTo>
                        <a:pt x="85584" y="179"/>
                      </a:lnTo>
                      <a:cubicBezTo>
                        <a:pt x="85584" y="120"/>
                        <a:pt x="85644" y="0"/>
                        <a:pt x="85764" y="0"/>
                      </a:cubicBezTo>
                      <a:cubicBezTo>
                        <a:pt x="85823" y="0"/>
                        <a:pt x="85943" y="60"/>
                        <a:pt x="85943" y="179"/>
                      </a:cubicBezTo>
                      <a:lnTo>
                        <a:pt x="90428" y="75357"/>
                      </a:lnTo>
                      <a:cubicBezTo>
                        <a:pt x="90428" y="75357"/>
                        <a:pt x="90428" y="75357"/>
                        <a:pt x="90428" y="75417"/>
                      </a:cubicBezTo>
                      <a:cubicBezTo>
                        <a:pt x="90369" y="75417"/>
                        <a:pt x="90309" y="75417"/>
                        <a:pt x="90309" y="75477"/>
                      </a:cubicBezTo>
                      <a:close/>
                      <a:moveTo>
                        <a:pt x="8134" y="64771"/>
                      </a:moveTo>
                      <a:lnTo>
                        <a:pt x="16088" y="45454"/>
                      </a:lnTo>
                      <a:lnTo>
                        <a:pt x="359" y="39114"/>
                      </a:lnTo>
                      <a:lnTo>
                        <a:pt x="8134" y="64771"/>
                      </a:lnTo>
                      <a:close/>
                    </a:path>
                  </a:pathLst>
                </a:custGeom>
                <a:grpFill/>
                <a:ln w="6350" cap="flat">
                  <a:solidFill>
                    <a:schemeClr val="bg1">
                      <a:alpha val="40000"/>
                    </a:schemeClr>
                  </a:solidFill>
                  <a:prstDash val="solid"/>
                  <a:miter/>
                </a:ln>
              </p:spPr>
              <p:txBody>
                <a:bodyPr rtlCol="0" anchor="ctr"/>
                <a:lstStyle/>
                <a:p>
                  <a:endParaRPr lang="en-GB"/>
                </a:p>
              </p:txBody>
            </p:sp>
            <p:sp>
              <p:nvSpPr>
                <p:cNvPr id="8883" name="Vrije vorm: vorm 8882">
                  <a:extLst>
                    <a:ext uri="{FF2B5EF4-FFF2-40B4-BE49-F238E27FC236}">
                      <a16:creationId xmlns:a16="http://schemas.microsoft.com/office/drawing/2014/main" id="{74B3B116-BBC9-44EB-9478-F7C8DC278711}"/>
                    </a:ext>
                  </a:extLst>
                </p:cNvPr>
                <p:cNvSpPr/>
                <p:nvPr/>
              </p:nvSpPr>
              <p:spPr>
                <a:xfrm>
                  <a:off x="4494846" y="2493463"/>
                  <a:ext cx="51419" cy="81442"/>
                </a:xfrm>
                <a:custGeom>
                  <a:avLst/>
                  <a:gdLst>
                    <a:gd name="connsiteX0" fmla="*/ 51419 w 51419"/>
                    <a:gd name="connsiteY0" fmla="*/ 81338 h 81442"/>
                    <a:gd name="connsiteX1" fmla="*/ 51419 w 51419"/>
                    <a:gd name="connsiteY1" fmla="*/ 81338 h 81442"/>
                    <a:gd name="connsiteX2" fmla="*/ 39219 w 51419"/>
                    <a:gd name="connsiteY2" fmla="*/ 120 h 81442"/>
                    <a:gd name="connsiteX3" fmla="*/ 39039 w 51419"/>
                    <a:gd name="connsiteY3" fmla="*/ 0 h 81442"/>
                    <a:gd name="connsiteX4" fmla="*/ 38920 w 51419"/>
                    <a:gd name="connsiteY4" fmla="*/ 179 h 81442"/>
                    <a:gd name="connsiteX5" fmla="*/ 51061 w 51419"/>
                    <a:gd name="connsiteY5" fmla="*/ 80919 h 81442"/>
                    <a:gd name="connsiteX6" fmla="*/ 284 w 51419"/>
                    <a:gd name="connsiteY6" fmla="*/ 39114 h 81442"/>
                    <a:gd name="connsiteX7" fmla="*/ 45 w 51419"/>
                    <a:gd name="connsiteY7" fmla="*/ 39114 h 81442"/>
                    <a:gd name="connsiteX8" fmla="*/ 45 w 51419"/>
                    <a:gd name="connsiteY8" fmla="*/ 39353 h 81442"/>
                    <a:gd name="connsiteX9" fmla="*/ 51180 w 51419"/>
                    <a:gd name="connsiteY9" fmla="*/ 81398 h 81442"/>
                    <a:gd name="connsiteX10" fmla="*/ 51360 w 51419"/>
                    <a:gd name="connsiteY10" fmla="*/ 81398 h 81442"/>
                    <a:gd name="connsiteX11" fmla="*/ 51419 w 51419"/>
                    <a:gd name="connsiteY11" fmla="*/ 81338 h 8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19" h="81442">
                      <a:moveTo>
                        <a:pt x="51419" y="81338"/>
                      </a:moveTo>
                      <a:cubicBezTo>
                        <a:pt x="51419" y="81338"/>
                        <a:pt x="51419" y="81338"/>
                        <a:pt x="51419" y="81338"/>
                      </a:cubicBezTo>
                      <a:lnTo>
                        <a:pt x="39219" y="120"/>
                      </a:lnTo>
                      <a:cubicBezTo>
                        <a:pt x="39219" y="60"/>
                        <a:pt x="39099" y="0"/>
                        <a:pt x="39039" y="0"/>
                      </a:cubicBezTo>
                      <a:cubicBezTo>
                        <a:pt x="38920" y="0"/>
                        <a:pt x="38920" y="120"/>
                        <a:pt x="38920" y="179"/>
                      </a:cubicBezTo>
                      <a:lnTo>
                        <a:pt x="51061" y="80919"/>
                      </a:lnTo>
                      <a:lnTo>
                        <a:pt x="284" y="39114"/>
                      </a:lnTo>
                      <a:cubicBezTo>
                        <a:pt x="224" y="39054"/>
                        <a:pt x="105" y="39054"/>
                        <a:pt x="45" y="39114"/>
                      </a:cubicBezTo>
                      <a:cubicBezTo>
                        <a:pt x="-15" y="39174"/>
                        <a:pt x="-15" y="39293"/>
                        <a:pt x="45" y="39353"/>
                      </a:cubicBezTo>
                      <a:lnTo>
                        <a:pt x="51180" y="81398"/>
                      </a:lnTo>
                      <a:cubicBezTo>
                        <a:pt x="51240" y="81458"/>
                        <a:pt x="51300" y="81458"/>
                        <a:pt x="51360" y="81398"/>
                      </a:cubicBezTo>
                      <a:cubicBezTo>
                        <a:pt x="51360" y="81458"/>
                        <a:pt x="51419" y="81398"/>
                        <a:pt x="51419" y="8133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84" name="Vrije vorm: vorm 8883">
                  <a:extLst>
                    <a:ext uri="{FF2B5EF4-FFF2-40B4-BE49-F238E27FC236}">
                      <a16:creationId xmlns:a16="http://schemas.microsoft.com/office/drawing/2014/main" id="{1FF9FA33-0D10-42F0-8DDE-64A4285F5600}"/>
                    </a:ext>
                  </a:extLst>
                </p:cNvPr>
                <p:cNvSpPr/>
                <p:nvPr/>
              </p:nvSpPr>
              <p:spPr>
                <a:xfrm>
                  <a:off x="4309404" y="2497829"/>
                  <a:ext cx="210166" cy="163572"/>
                </a:xfrm>
                <a:custGeom>
                  <a:avLst/>
                  <a:gdLst>
                    <a:gd name="connsiteX0" fmla="*/ 210127 w 210166"/>
                    <a:gd name="connsiteY0" fmla="*/ 128705 h 163572"/>
                    <a:gd name="connsiteX1" fmla="*/ 209948 w 210166"/>
                    <a:gd name="connsiteY1" fmla="*/ 128765 h 163572"/>
                    <a:gd name="connsiteX2" fmla="*/ 119520 w 210166"/>
                    <a:gd name="connsiteY2" fmla="*/ 89591 h 163572"/>
                    <a:gd name="connsiteX3" fmla="*/ 175439 w 210166"/>
                    <a:gd name="connsiteY3" fmla="*/ 163333 h 163572"/>
                    <a:gd name="connsiteX4" fmla="*/ 175439 w 210166"/>
                    <a:gd name="connsiteY4" fmla="*/ 163513 h 163572"/>
                    <a:gd name="connsiteX5" fmla="*/ 175260 w 210166"/>
                    <a:gd name="connsiteY5" fmla="*/ 163573 h 163572"/>
                    <a:gd name="connsiteX6" fmla="*/ 10790 w 210166"/>
                    <a:gd name="connsiteY6" fmla="*/ 143238 h 163572"/>
                    <a:gd name="connsiteX7" fmla="*/ 324 w 210166"/>
                    <a:gd name="connsiteY7" fmla="*/ 162735 h 163572"/>
                    <a:gd name="connsiteX8" fmla="*/ 85 w 210166"/>
                    <a:gd name="connsiteY8" fmla="*/ 162795 h 163572"/>
                    <a:gd name="connsiteX9" fmla="*/ 25 w 210166"/>
                    <a:gd name="connsiteY9" fmla="*/ 162556 h 163572"/>
                    <a:gd name="connsiteX10" fmla="*/ 10551 w 210166"/>
                    <a:gd name="connsiteY10" fmla="*/ 142999 h 163572"/>
                    <a:gd name="connsiteX11" fmla="*/ 10730 w 210166"/>
                    <a:gd name="connsiteY11" fmla="*/ 142939 h 163572"/>
                    <a:gd name="connsiteX12" fmla="*/ 174901 w 210166"/>
                    <a:gd name="connsiteY12" fmla="*/ 163214 h 163572"/>
                    <a:gd name="connsiteX13" fmla="*/ 118802 w 210166"/>
                    <a:gd name="connsiteY13" fmla="*/ 89292 h 163572"/>
                    <a:gd name="connsiteX14" fmla="*/ 118802 w 210166"/>
                    <a:gd name="connsiteY14" fmla="*/ 89113 h 163572"/>
                    <a:gd name="connsiteX15" fmla="*/ 118981 w 210166"/>
                    <a:gd name="connsiteY15" fmla="*/ 89053 h 163572"/>
                    <a:gd name="connsiteX16" fmla="*/ 209530 w 210166"/>
                    <a:gd name="connsiteY16" fmla="*/ 128227 h 163572"/>
                    <a:gd name="connsiteX17" fmla="*/ 162940 w 210166"/>
                    <a:gd name="connsiteY17" fmla="*/ 55023 h 163572"/>
                    <a:gd name="connsiteX18" fmla="*/ 162940 w 210166"/>
                    <a:gd name="connsiteY18" fmla="*/ 54963 h 163572"/>
                    <a:gd name="connsiteX19" fmla="*/ 161145 w 210166"/>
                    <a:gd name="connsiteY19" fmla="*/ 30621 h 163572"/>
                    <a:gd name="connsiteX20" fmla="*/ 125979 w 210166"/>
                    <a:gd name="connsiteY20" fmla="*/ 24222 h 163572"/>
                    <a:gd name="connsiteX21" fmla="*/ 125859 w 210166"/>
                    <a:gd name="connsiteY21" fmla="*/ 24042 h 163572"/>
                    <a:gd name="connsiteX22" fmla="*/ 125859 w 210166"/>
                    <a:gd name="connsiteY22" fmla="*/ 24042 h 163572"/>
                    <a:gd name="connsiteX23" fmla="*/ 126039 w 210166"/>
                    <a:gd name="connsiteY23" fmla="*/ 23923 h 163572"/>
                    <a:gd name="connsiteX24" fmla="*/ 161145 w 210166"/>
                    <a:gd name="connsiteY24" fmla="*/ 30322 h 163572"/>
                    <a:gd name="connsiteX25" fmla="*/ 158753 w 210166"/>
                    <a:gd name="connsiteY25" fmla="*/ 179 h 163572"/>
                    <a:gd name="connsiteX26" fmla="*/ 158873 w 210166"/>
                    <a:gd name="connsiteY26" fmla="*/ 0 h 163572"/>
                    <a:gd name="connsiteX27" fmla="*/ 159052 w 210166"/>
                    <a:gd name="connsiteY27" fmla="*/ 60 h 163572"/>
                    <a:gd name="connsiteX28" fmla="*/ 185666 w 210166"/>
                    <a:gd name="connsiteY28" fmla="*/ 34808 h 163572"/>
                    <a:gd name="connsiteX29" fmla="*/ 185666 w 210166"/>
                    <a:gd name="connsiteY29" fmla="*/ 34987 h 163572"/>
                    <a:gd name="connsiteX30" fmla="*/ 185487 w 210166"/>
                    <a:gd name="connsiteY30" fmla="*/ 35047 h 163572"/>
                    <a:gd name="connsiteX31" fmla="*/ 161445 w 210166"/>
                    <a:gd name="connsiteY31" fmla="*/ 30681 h 163572"/>
                    <a:gd name="connsiteX32" fmla="*/ 163179 w 210166"/>
                    <a:gd name="connsiteY32" fmla="*/ 54903 h 163572"/>
                    <a:gd name="connsiteX33" fmla="*/ 210068 w 210166"/>
                    <a:gd name="connsiteY33" fmla="*/ 128466 h 163572"/>
                    <a:gd name="connsiteX34" fmla="*/ 210068 w 210166"/>
                    <a:gd name="connsiteY34" fmla="*/ 128586 h 163572"/>
                    <a:gd name="connsiteX35" fmla="*/ 210127 w 210166"/>
                    <a:gd name="connsiteY35" fmla="*/ 128705 h 163572"/>
                    <a:gd name="connsiteX36" fmla="*/ 161504 w 210166"/>
                    <a:gd name="connsiteY36" fmla="*/ 30382 h 163572"/>
                    <a:gd name="connsiteX37" fmla="*/ 185188 w 210166"/>
                    <a:gd name="connsiteY37" fmla="*/ 34688 h 163572"/>
                    <a:gd name="connsiteX38" fmla="*/ 159172 w 210166"/>
                    <a:gd name="connsiteY38" fmla="*/ 718 h 163572"/>
                    <a:gd name="connsiteX39" fmla="*/ 161504 w 210166"/>
                    <a:gd name="connsiteY39" fmla="*/ 30382 h 1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166" h="163572">
                      <a:moveTo>
                        <a:pt x="210127" y="128705"/>
                      </a:moveTo>
                      <a:cubicBezTo>
                        <a:pt x="210068" y="128765"/>
                        <a:pt x="210008" y="128765"/>
                        <a:pt x="209948" y="128765"/>
                      </a:cubicBezTo>
                      <a:lnTo>
                        <a:pt x="119520" y="89591"/>
                      </a:lnTo>
                      <a:lnTo>
                        <a:pt x="175439" y="163333"/>
                      </a:lnTo>
                      <a:cubicBezTo>
                        <a:pt x="175499" y="163393"/>
                        <a:pt x="175499" y="163453"/>
                        <a:pt x="175439" y="163513"/>
                      </a:cubicBezTo>
                      <a:cubicBezTo>
                        <a:pt x="175379" y="163573"/>
                        <a:pt x="175320" y="163573"/>
                        <a:pt x="175260" y="163573"/>
                      </a:cubicBezTo>
                      <a:lnTo>
                        <a:pt x="10790" y="143238"/>
                      </a:lnTo>
                      <a:lnTo>
                        <a:pt x="324" y="162735"/>
                      </a:lnTo>
                      <a:cubicBezTo>
                        <a:pt x="264" y="162795"/>
                        <a:pt x="204" y="162855"/>
                        <a:pt x="85" y="162795"/>
                      </a:cubicBezTo>
                      <a:cubicBezTo>
                        <a:pt x="25" y="162735"/>
                        <a:pt x="-35" y="162676"/>
                        <a:pt x="25" y="162556"/>
                      </a:cubicBezTo>
                      <a:lnTo>
                        <a:pt x="10551" y="142999"/>
                      </a:lnTo>
                      <a:cubicBezTo>
                        <a:pt x="10611" y="142939"/>
                        <a:pt x="10670" y="142880"/>
                        <a:pt x="10730" y="142939"/>
                      </a:cubicBezTo>
                      <a:lnTo>
                        <a:pt x="174901" y="163214"/>
                      </a:lnTo>
                      <a:lnTo>
                        <a:pt x="118802" y="89292"/>
                      </a:lnTo>
                      <a:cubicBezTo>
                        <a:pt x="118742" y="89232"/>
                        <a:pt x="118742" y="89173"/>
                        <a:pt x="118802" y="89113"/>
                      </a:cubicBezTo>
                      <a:cubicBezTo>
                        <a:pt x="118862" y="89053"/>
                        <a:pt x="118921" y="89053"/>
                        <a:pt x="118981" y="89053"/>
                      </a:cubicBezTo>
                      <a:lnTo>
                        <a:pt x="209530" y="128227"/>
                      </a:lnTo>
                      <a:lnTo>
                        <a:pt x="162940" y="55023"/>
                      </a:lnTo>
                      <a:cubicBezTo>
                        <a:pt x="162940" y="55023"/>
                        <a:pt x="162940" y="54963"/>
                        <a:pt x="162940" y="54963"/>
                      </a:cubicBezTo>
                      <a:cubicBezTo>
                        <a:pt x="162940" y="53886"/>
                        <a:pt x="162102" y="42643"/>
                        <a:pt x="161145" y="30621"/>
                      </a:cubicBezTo>
                      <a:lnTo>
                        <a:pt x="125979" y="24222"/>
                      </a:lnTo>
                      <a:cubicBezTo>
                        <a:pt x="125919" y="24222"/>
                        <a:pt x="125859" y="24102"/>
                        <a:pt x="125859" y="24042"/>
                      </a:cubicBezTo>
                      <a:lnTo>
                        <a:pt x="125859" y="24042"/>
                      </a:lnTo>
                      <a:cubicBezTo>
                        <a:pt x="125859" y="23983"/>
                        <a:pt x="125979" y="23923"/>
                        <a:pt x="126039" y="23923"/>
                      </a:cubicBezTo>
                      <a:lnTo>
                        <a:pt x="161145" y="30322"/>
                      </a:lnTo>
                      <a:cubicBezTo>
                        <a:pt x="160009" y="15909"/>
                        <a:pt x="158753" y="478"/>
                        <a:pt x="158753" y="179"/>
                      </a:cubicBezTo>
                      <a:cubicBezTo>
                        <a:pt x="158753" y="120"/>
                        <a:pt x="158813" y="60"/>
                        <a:pt x="158873" y="0"/>
                      </a:cubicBezTo>
                      <a:cubicBezTo>
                        <a:pt x="158932" y="0"/>
                        <a:pt x="158992" y="0"/>
                        <a:pt x="159052" y="60"/>
                      </a:cubicBezTo>
                      <a:lnTo>
                        <a:pt x="185666" y="34808"/>
                      </a:lnTo>
                      <a:cubicBezTo>
                        <a:pt x="185726" y="34868"/>
                        <a:pt x="185726" y="34927"/>
                        <a:pt x="185666" y="34987"/>
                      </a:cubicBezTo>
                      <a:cubicBezTo>
                        <a:pt x="185607" y="35047"/>
                        <a:pt x="185547" y="35047"/>
                        <a:pt x="185487" y="35047"/>
                      </a:cubicBezTo>
                      <a:lnTo>
                        <a:pt x="161445" y="30681"/>
                      </a:lnTo>
                      <a:cubicBezTo>
                        <a:pt x="162342" y="42523"/>
                        <a:pt x="163179" y="53587"/>
                        <a:pt x="163179" y="54903"/>
                      </a:cubicBezTo>
                      <a:lnTo>
                        <a:pt x="210068" y="128466"/>
                      </a:lnTo>
                      <a:cubicBezTo>
                        <a:pt x="210068" y="128526"/>
                        <a:pt x="210068" y="128526"/>
                        <a:pt x="210068" y="128586"/>
                      </a:cubicBezTo>
                      <a:cubicBezTo>
                        <a:pt x="210187" y="128645"/>
                        <a:pt x="210187" y="128645"/>
                        <a:pt x="210127" y="128705"/>
                      </a:cubicBezTo>
                      <a:close/>
                      <a:moveTo>
                        <a:pt x="161504" y="30382"/>
                      </a:moveTo>
                      <a:lnTo>
                        <a:pt x="185188" y="34688"/>
                      </a:lnTo>
                      <a:lnTo>
                        <a:pt x="159172" y="718"/>
                      </a:lnTo>
                      <a:cubicBezTo>
                        <a:pt x="159411" y="3708"/>
                        <a:pt x="160488" y="17464"/>
                        <a:pt x="161504" y="3038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85" name="Vrije vorm: vorm 8884">
                  <a:extLst>
                    <a:ext uri="{FF2B5EF4-FFF2-40B4-BE49-F238E27FC236}">
                      <a16:creationId xmlns:a16="http://schemas.microsoft.com/office/drawing/2014/main" id="{898A1399-6D9F-47CD-99DC-9DD76CD6535B}"/>
                    </a:ext>
                  </a:extLst>
                </p:cNvPr>
                <p:cNvSpPr/>
                <p:nvPr/>
              </p:nvSpPr>
              <p:spPr>
                <a:xfrm>
                  <a:off x="4364930" y="2554047"/>
                  <a:ext cx="24341" cy="123681"/>
                </a:xfrm>
                <a:custGeom>
                  <a:avLst/>
                  <a:gdLst>
                    <a:gd name="connsiteX0" fmla="*/ 17583 w 24341"/>
                    <a:gd name="connsiteY0" fmla="*/ 123502 h 123681"/>
                    <a:gd name="connsiteX1" fmla="*/ 17583 w 24341"/>
                    <a:gd name="connsiteY1" fmla="*/ 123442 h 123681"/>
                    <a:gd name="connsiteX2" fmla="*/ 299 w 24341"/>
                    <a:gd name="connsiteY2" fmla="*/ 71589 h 123681"/>
                    <a:gd name="connsiteX3" fmla="*/ 24342 w 24341"/>
                    <a:gd name="connsiteY3" fmla="*/ 179 h 123681"/>
                    <a:gd name="connsiteX4" fmla="*/ 24342 w 24341"/>
                    <a:gd name="connsiteY4" fmla="*/ 179 h 123681"/>
                    <a:gd name="connsiteX5" fmla="*/ 24222 w 24341"/>
                    <a:gd name="connsiteY5" fmla="*/ 0 h 123681"/>
                    <a:gd name="connsiteX6" fmla="*/ 24043 w 24341"/>
                    <a:gd name="connsiteY6" fmla="*/ 120 h 123681"/>
                    <a:gd name="connsiteX7" fmla="*/ 0 w 24341"/>
                    <a:gd name="connsiteY7" fmla="*/ 71589 h 123681"/>
                    <a:gd name="connsiteX8" fmla="*/ 0 w 24341"/>
                    <a:gd name="connsiteY8" fmla="*/ 71709 h 123681"/>
                    <a:gd name="connsiteX9" fmla="*/ 17284 w 24341"/>
                    <a:gd name="connsiteY9" fmla="*/ 123562 h 123681"/>
                    <a:gd name="connsiteX10" fmla="*/ 17464 w 24341"/>
                    <a:gd name="connsiteY10" fmla="*/ 123681 h 123681"/>
                    <a:gd name="connsiteX11" fmla="*/ 17583 w 24341"/>
                    <a:gd name="connsiteY11" fmla="*/ 123502 h 123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41" h="123681">
                      <a:moveTo>
                        <a:pt x="17583" y="123502"/>
                      </a:moveTo>
                      <a:cubicBezTo>
                        <a:pt x="17583" y="123502"/>
                        <a:pt x="17583" y="123442"/>
                        <a:pt x="17583" y="123442"/>
                      </a:cubicBezTo>
                      <a:lnTo>
                        <a:pt x="299" y="71589"/>
                      </a:lnTo>
                      <a:lnTo>
                        <a:pt x="24342" y="179"/>
                      </a:lnTo>
                      <a:cubicBezTo>
                        <a:pt x="24342" y="179"/>
                        <a:pt x="24342" y="179"/>
                        <a:pt x="24342" y="179"/>
                      </a:cubicBezTo>
                      <a:cubicBezTo>
                        <a:pt x="24342" y="120"/>
                        <a:pt x="24342" y="0"/>
                        <a:pt x="24222" y="0"/>
                      </a:cubicBezTo>
                      <a:cubicBezTo>
                        <a:pt x="24162" y="0"/>
                        <a:pt x="24043" y="0"/>
                        <a:pt x="24043" y="120"/>
                      </a:cubicBezTo>
                      <a:lnTo>
                        <a:pt x="0" y="71589"/>
                      </a:lnTo>
                      <a:cubicBezTo>
                        <a:pt x="0" y="71649"/>
                        <a:pt x="0" y="71649"/>
                        <a:pt x="0" y="71709"/>
                      </a:cubicBezTo>
                      <a:lnTo>
                        <a:pt x="17284" y="123562"/>
                      </a:lnTo>
                      <a:cubicBezTo>
                        <a:pt x="17284" y="123622"/>
                        <a:pt x="17404" y="123681"/>
                        <a:pt x="17464" y="123681"/>
                      </a:cubicBezTo>
                      <a:cubicBezTo>
                        <a:pt x="17523" y="123562"/>
                        <a:pt x="17523" y="123562"/>
                        <a:pt x="17583" y="12350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86" name="Vrije vorm: vorm 8885">
                  <a:extLst>
                    <a:ext uri="{FF2B5EF4-FFF2-40B4-BE49-F238E27FC236}">
                      <a16:creationId xmlns:a16="http://schemas.microsoft.com/office/drawing/2014/main" id="{FB26DD2F-4E0E-4FDD-BE86-DC88F5FD148A}"/>
                    </a:ext>
                  </a:extLst>
                </p:cNvPr>
                <p:cNvSpPr/>
                <p:nvPr/>
              </p:nvSpPr>
              <p:spPr>
                <a:xfrm>
                  <a:off x="4327969" y="2493463"/>
                  <a:ext cx="206095" cy="173979"/>
                </a:xfrm>
                <a:custGeom>
                  <a:avLst/>
                  <a:gdLst>
                    <a:gd name="connsiteX0" fmla="*/ 191622 w 206095"/>
                    <a:gd name="connsiteY0" fmla="*/ 133011 h 173979"/>
                    <a:gd name="connsiteX1" fmla="*/ 191622 w 206095"/>
                    <a:gd name="connsiteY1" fmla="*/ 133011 h 173979"/>
                    <a:gd name="connsiteX2" fmla="*/ 206095 w 206095"/>
                    <a:gd name="connsiteY2" fmla="*/ 179 h 173979"/>
                    <a:gd name="connsiteX3" fmla="*/ 205976 w 206095"/>
                    <a:gd name="connsiteY3" fmla="*/ 0 h 173979"/>
                    <a:gd name="connsiteX4" fmla="*/ 205797 w 206095"/>
                    <a:gd name="connsiteY4" fmla="*/ 120 h 173979"/>
                    <a:gd name="connsiteX5" fmla="*/ 205797 w 206095"/>
                    <a:gd name="connsiteY5" fmla="*/ 120 h 173979"/>
                    <a:gd name="connsiteX6" fmla="*/ 191323 w 206095"/>
                    <a:gd name="connsiteY6" fmla="*/ 132772 h 173979"/>
                    <a:gd name="connsiteX7" fmla="*/ 119 w 206095"/>
                    <a:gd name="connsiteY7" fmla="*/ 173680 h 173979"/>
                    <a:gd name="connsiteX8" fmla="*/ 0 w 206095"/>
                    <a:gd name="connsiteY8" fmla="*/ 173860 h 173979"/>
                    <a:gd name="connsiteX9" fmla="*/ 179 w 206095"/>
                    <a:gd name="connsiteY9" fmla="*/ 173979 h 173979"/>
                    <a:gd name="connsiteX10" fmla="*/ 191502 w 206095"/>
                    <a:gd name="connsiteY10" fmla="*/ 133071 h 173979"/>
                    <a:gd name="connsiteX11" fmla="*/ 191622 w 206095"/>
                    <a:gd name="connsiteY11" fmla="*/ 133011 h 1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095" h="173979">
                      <a:moveTo>
                        <a:pt x="191622" y="133011"/>
                      </a:moveTo>
                      <a:cubicBezTo>
                        <a:pt x="191622" y="133011"/>
                        <a:pt x="191622" y="132952"/>
                        <a:pt x="191622" y="133011"/>
                      </a:cubicBezTo>
                      <a:lnTo>
                        <a:pt x="206095" y="179"/>
                      </a:lnTo>
                      <a:cubicBezTo>
                        <a:pt x="206095" y="60"/>
                        <a:pt x="206036" y="0"/>
                        <a:pt x="205976" y="0"/>
                      </a:cubicBezTo>
                      <a:cubicBezTo>
                        <a:pt x="205916" y="0"/>
                        <a:pt x="205797" y="60"/>
                        <a:pt x="205797" y="120"/>
                      </a:cubicBezTo>
                      <a:cubicBezTo>
                        <a:pt x="205797" y="120"/>
                        <a:pt x="205797" y="120"/>
                        <a:pt x="205797" y="120"/>
                      </a:cubicBezTo>
                      <a:lnTo>
                        <a:pt x="191323" y="132772"/>
                      </a:lnTo>
                      <a:lnTo>
                        <a:pt x="119" y="173680"/>
                      </a:lnTo>
                      <a:cubicBezTo>
                        <a:pt x="60" y="173680"/>
                        <a:pt x="0" y="173800"/>
                        <a:pt x="0" y="173860"/>
                      </a:cubicBezTo>
                      <a:cubicBezTo>
                        <a:pt x="0" y="173979"/>
                        <a:pt x="119" y="173979"/>
                        <a:pt x="179" y="173979"/>
                      </a:cubicBezTo>
                      <a:lnTo>
                        <a:pt x="191502" y="133071"/>
                      </a:lnTo>
                      <a:cubicBezTo>
                        <a:pt x="191562" y="133071"/>
                        <a:pt x="191622" y="133071"/>
                        <a:pt x="191622" y="13301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87" name="Vrije vorm: vorm 8886">
                  <a:extLst>
                    <a:ext uri="{FF2B5EF4-FFF2-40B4-BE49-F238E27FC236}">
                      <a16:creationId xmlns:a16="http://schemas.microsoft.com/office/drawing/2014/main" id="{0EF124CF-F615-4C30-A0DD-9A8C16A2D58B}"/>
                    </a:ext>
                  </a:extLst>
                </p:cNvPr>
                <p:cNvSpPr/>
                <p:nvPr/>
              </p:nvSpPr>
              <p:spPr>
                <a:xfrm>
                  <a:off x="4356915" y="2511799"/>
                  <a:ext cx="206574" cy="135333"/>
                </a:xfrm>
                <a:custGeom>
                  <a:avLst/>
                  <a:gdLst>
                    <a:gd name="connsiteX0" fmla="*/ 206574 w 206574"/>
                    <a:gd name="connsiteY0" fmla="*/ 204 h 135333"/>
                    <a:gd name="connsiteX1" fmla="*/ 206455 w 206574"/>
                    <a:gd name="connsiteY1" fmla="*/ 25 h 135333"/>
                    <a:gd name="connsiteX2" fmla="*/ 206216 w 206574"/>
                    <a:gd name="connsiteY2" fmla="*/ 85 h 135333"/>
                    <a:gd name="connsiteX3" fmla="*/ 144853 w 206574"/>
                    <a:gd name="connsiteY3" fmla="*/ 134950 h 135333"/>
                    <a:gd name="connsiteX4" fmla="*/ 359 w 206574"/>
                    <a:gd name="connsiteY4" fmla="*/ 117486 h 135333"/>
                    <a:gd name="connsiteX5" fmla="*/ 7117 w 206574"/>
                    <a:gd name="connsiteY5" fmla="*/ 93743 h 135333"/>
                    <a:gd name="connsiteX6" fmla="*/ 6998 w 206574"/>
                    <a:gd name="connsiteY6" fmla="*/ 93563 h 135333"/>
                    <a:gd name="connsiteX7" fmla="*/ 6818 w 206574"/>
                    <a:gd name="connsiteY7" fmla="*/ 93683 h 135333"/>
                    <a:gd name="connsiteX8" fmla="*/ 0 w 206574"/>
                    <a:gd name="connsiteY8" fmla="*/ 117606 h 135333"/>
                    <a:gd name="connsiteX9" fmla="*/ 0 w 206574"/>
                    <a:gd name="connsiteY9" fmla="*/ 117725 h 135333"/>
                    <a:gd name="connsiteX10" fmla="*/ 120 w 206574"/>
                    <a:gd name="connsiteY10" fmla="*/ 117785 h 135333"/>
                    <a:gd name="connsiteX11" fmla="*/ 144853 w 206574"/>
                    <a:gd name="connsiteY11" fmla="*/ 135309 h 135333"/>
                    <a:gd name="connsiteX12" fmla="*/ 145092 w 206574"/>
                    <a:gd name="connsiteY12" fmla="*/ 135249 h 135333"/>
                    <a:gd name="connsiteX13" fmla="*/ 206574 w 206574"/>
                    <a:gd name="connsiteY13" fmla="*/ 204 h 135333"/>
                    <a:gd name="connsiteX14" fmla="*/ 206574 w 206574"/>
                    <a:gd name="connsiteY14" fmla="*/ 204 h 13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6574" h="135333">
                      <a:moveTo>
                        <a:pt x="206574" y="204"/>
                      </a:moveTo>
                      <a:cubicBezTo>
                        <a:pt x="206574" y="144"/>
                        <a:pt x="206574" y="85"/>
                        <a:pt x="206455" y="25"/>
                      </a:cubicBezTo>
                      <a:cubicBezTo>
                        <a:pt x="206395" y="-35"/>
                        <a:pt x="206275" y="25"/>
                        <a:pt x="206216" y="85"/>
                      </a:cubicBezTo>
                      <a:lnTo>
                        <a:pt x="144853" y="134950"/>
                      </a:lnTo>
                      <a:cubicBezTo>
                        <a:pt x="139411" y="133754"/>
                        <a:pt x="8373" y="118383"/>
                        <a:pt x="359" y="117486"/>
                      </a:cubicBezTo>
                      <a:lnTo>
                        <a:pt x="7117" y="93743"/>
                      </a:lnTo>
                      <a:cubicBezTo>
                        <a:pt x="7117" y="93683"/>
                        <a:pt x="7117" y="93563"/>
                        <a:pt x="6998" y="93563"/>
                      </a:cubicBezTo>
                      <a:cubicBezTo>
                        <a:pt x="6938" y="93563"/>
                        <a:pt x="6818" y="93563"/>
                        <a:pt x="6818" y="93683"/>
                      </a:cubicBezTo>
                      <a:lnTo>
                        <a:pt x="0" y="117606"/>
                      </a:lnTo>
                      <a:cubicBezTo>
                        <a:pt x="0" y="117666"/>
                        <a:pt x="0" y="117725"/>
                        <a:pt x="0" y="117725"/>
                      </a:cubicBezTo>
                      <a:cubicBezTo>
                        <a:pt x="0" y="117785"/>
                        <a:pt x="60" y="117785"/>
                        <a:pt x="120" y="117785"/>
                      </a:cubicBezTo>
                      <a:cubicBezTo>
                        <a:pt x="1555" y="117965"/>
                        <a:pt x="142999" y="134531"/>
                        <a:pt x="144853" y="135309"/>
                      </a:cubicBezTo>
                      <a:cubicBezTo>
                        <a:pt x="144913" y="135369"/>
                        <a:pt x="145033" y="135309"/>
                        <a:pt x="145092" y="135249"/>
                      </a:cubicBezTo>
                      <a:lnTo>
                        <a:pt x="206574" y="204"/>
                      </a:lnTo>
                      <a:cubicBezTo>
                        <a:pt x="206574" y="204"/>
                        <a:pt x="206574" y="204"/>
                        <a:pt x="206574" y="20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88" name="Vrije vorm: vorm 8887">
                  <a:extLst>
                    <a:ext uri="{FF2B5EF4-FFF2-40B4-BE49-F238E27FC236}">
                      <a16:creationId xmlns:a16="http://schemas.microsoft.com/office/drawing/2014/main" id="{E9D1073E-4B3C-4B48-B748-5C3162167CBB}"/>
                    </a:ext>
                  </a:extLst>
                </p:cNvPr>
                <p:cNvSpPr/>
                <p:nvPr/>
              </p:nvSpPr>
              <p:spPr>
                <a:xfrm>
                  <a:off x="4437611" y="2581813"/>
                  <a:ext cx="107458" cy="94824"/>
                </a:xfrm>
                <a:custGeom>
                  <a:avLst/>
                  <a:gdLst>
                    <a:gd name="connsiteX0" fmla="*/ 107459 w 107458"/>
                    <a:gd name="connsiteY0" fmla="*/ 164 h 94824"/>
                    <a:gd name="connsiteX1" fmla="*/ 107399 w 107458"/>
                    <a:gd name="connsiteY1" fmla="*/ 45 h 94824"/>
                    <a:gd name="connsiteX2" fmla="*/ 107160 w 107458"/>
                    <a:gd name="connsiteY2" fmla="*/ 45 h 94824"/>
                    <a:gd name="connsiteX3" fmla="*/ 45 w 107458"/>
                    <a:gd name="connsiteY3" fmla="*/ 94540 h 94824"/>
                    <a:gd name="connsiteX4" fmla="*/ 45 w 107458"/>
                    <a:gd name="connsiteY4" fmla="*/ 94780 h 94824"/>
                    <a:gd name="connsiteX5" fmla="*/ 284 w 107458"/>
                    <a:gd name="connsiteY5" fmla="*/ 94780 h 94824"/>
                    <a:gd name="connsiteX6" fmla="*/ 107399 w 107458"/>
                    <a:gd name="connsiteY6" fmla="*/ 284 h 94824"/>
                    <a:gd name="connsiteX7" fmla="*/ 107459 w 107458"/>
                    <a:gd name="connsiteY7" fmla="*/ 164 h 9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458" h="94824">
                      <a:moveTo>
                        <a:pt x="107459" y="164"/>
                      </a:moveTo>
                      <a:cubicBezTo>
                        <a:pt x="107459" y="105"/>
                        <a:pt x="107459" y="45"/>
                        <a:pt x="107399" y="45"/>
                      </a:cubicBezTo>
                      <a:cubicBezTo>
                        <a:pt x="107339" y="-15"/>
                        <a:pt x="107219" y="-15"/>
                        <a:pt x="107160" y="45"/>
                      </a:cubicBezTo>
                      <a:lnTo>
                        <a:pt x="45" y="94540"/>
                      </a:lnTo>
                      <a:cubicBezTo>
                        <a:pt x="-15" y="94600"/>
                        <a:pt x="-15" y="94720"/>
                        <a:pt x="45" y="94780"/>
                      </a:cubicBezTo>
                      <a:cubicBezTo>
                        <a:pt x="104" y="94839"/>
                        <a:pt x="224" y="94839"/>
                        <a:pt x="284" y="94780"/>
                      </a:cubicBezTo>
                      <a:lnTo>
                        <a:pt x="107399" y="284"/>
                      </a:lnTo>
                      <a:cubicBezTo>
                        <a:pt x="107399" y="224"/>
                        <a:pt x="107459" y="224"/>
                        <a:pt x="107459" y="16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89" name="Vrije vorm: vorm 8888">
                  <a:extLst>
                    <a:ext uri="{FF2B5EF4-FFF2-40B4-BE49-F238E27FC236}">
                      <a16:creationId xmlns:a16="http://schemas.microsoft.com/office/drawing/2014/main" id="{7B69C5A6-ED38-4975-9EE8-9F407D647B7E}"/>
                    </a:ext>
                  </a:extLst>
                </p:cNvPr>
                <p:cNvSpPr/>
                <p:nvPr/>
              </p:nvSpPr>
              <p:spPr>
                <a:xfrm>
                  <a:off x="4291546" y="2604500"/>
                  <a:ext cx="242593" cy="73049"/>
                </a:xfrm>
                <a:custGeom>
                  <a:avLst/>
                  <a:gdLst>
                    <a:gd name="connsiteX0" fmla="*/ 242578 w 242593"/>
                    <a:gd name="connsiteY0" fmla="*/ 204 h 73049"/>
                    <a:gd name="connsiteX1" fmla="*/ 187017 w 242593"/>
                    <a:gd name="connsiteY1" fmla="*/ 50024 h 73049"/>
                    <a:gd name="connsiteX2" fmla="*/ 210282 w 242593"/>
                    <a:gd name="connsiteY2" fmla="*/ 42309 h 73049"/>
                    <a:gd name="connsiteX3" fmla="*/ 210462 w 242593"/>
                    <a:gd name="connsiteY3" fmla="*/ 42428 h 73049"/>
                    <a:gd name="connsiteX4" fmla="*/ 210342 w 242593"/>
                    <a:gd name="connsiteY4" fmla="*/ 42608 h 73049"/>
                    <a:gd name="connsiteX5" fmla="*/ 186360 w 242593"/>
                    <a:gd name="connsiteY5" fmla="*/ 50562 h 73049"/>
                    <a:gd name="connsiteX6" fmla="*/ 168118 w 242593"/>
                    <a:gd name="connsiteY6" fmla="*/ 66889 h 73049"/>
                    <a:gd name="connsiteX7" fmla="*/ 167999 w 242593"/>
                    <a:gd name="connsiteY7" fmla="*/ 66949 h 73049"/>
                    <a:gd name="connsiteX8" fmla="*/ 146887 w 242593"/>
                    <a:gd name="connsiteY8" fmla="*/ 63660 h 73049"/>
                    <a:gd name="connsiteX9" fmla="*/ 118658 w 242593"/>
                    <a:gd name="connsiteY9" fmla="*/ 73049 h 73049"/>
                    <a:gd name="connsiteX10" fmla="*/ 118478 w 242593"/>
                    <a:gd name="connsiteY10" fmla="*/ 72990 h 73049"/>
                    <a:gd name="connsiteX11" fmla="*/ 118538 w 242593"/>
                    <a:gd name="connsiteY11" fmla="*/ 72810 h 73049"/>
                    <a:gd name="connsiteX12" fmla="*/ 136660 w 242593"/>
                    <a:gd name="connsiteY12" fmla="*/ 62165 h 73049"/>
                    <a:gd name="connsiteX13" fmla="*/ 120 w 242593"/>
                    <a:gd name="connsiteY13" fmla="*/ 40873 h 73049"/>
                    <a:gd name="connsiteX14" fmla="*/ 0 w 242593"/>
                    <a:gd name="connsiteY14" fmla="*/ 40694 h 73049"/>
                    <a:gd name="connsiteX15" fmla="*/ 0 w 242593"/>
                    <a:gd name="connsiteY15" fmla="*/ 40694 h 73049"/>
                    <a:gd name="connsiteX16" fmla="*/ 180 w 242593"/>
                    <a:gd name="connsiteY16" fmla="*/ 40574 h 73049"/>
                    <a:gd name="connsiteX17" fmla="*/ 137078 w 242593"/>
                    <a:gd name="connsiteY17" fmla="*/ 61925 h 73049"/>
                    <a:gd name="connsiteX18" fmla="*/ 242279 w 242593"/>
                    <a:gd name="connsiteY18" fmla="*/ 25 h 73049"/>
                    <a:gd name="connsiteX19" fmla="*/ 242518 w 242593"/>
                    <a:gd name="connsiteY19" fmla="*/ 85 h 73049"/>
                    <a:gd name="connsiteX20" fmla="*/ 242518 w 242593"/>
                    <a:gd name="connsiteY20" fmla="*/ 204 h 73049"/>
                    <a:gd name="connsiteX21" fmla="*/ 242578 w 242593"/>
                    <a:gd name="connsiteY21" fmla="*/ 204 h 73049"/>
                    <a:gd name="connsiteX22" fmla="*/ 146946 w 242593"/>
                    <a:gd name="connsiteY22" fmla="*/ 63361 h 73049"/>
                    <a:gd name="connsiteX23" fmla="*/ 186300 w 242593"/>
                    <a:gd name="connsiteY23" fmla="*/ 50323 h 73049"/>
                    <a:gd name="connsiteX24" fmla="*/ 241203 w 242593"/>
                    <a:gd name="connsiteY24" fmla="*/ 1101 h 73049"/>
                    <a:gd name="connsiteX25" fmla="*/ 137736 w 242593"/>
                    <a:gd name="connsiteY25" fmla="*/ 61985 h 73049"/>
                    <a:gd name="connsiteX26" fmla="*/ 146946 w 242593"/>
                    <a:gd name="connsiteY26" fmla="*/ 63361 h 73049"/>
                    <a:gd name="connsiteX27" fmla="*/ 168059 w 242593"/>
                    <a:gd name="connsiteY27" fmla="*/ 66650 h 73049"/>
                    <a:gd name="connsiteX28" fmla="*/ 185701 w 242593"/>
                    <a:gd name="connsiteY28" fmla="*/ 50861 h 73049"/>
                    <a:gd name="connsiteX29" fmla="*/ 147664 w 242593"/>
                    <a:gd name="connsiteY29" fmla="*/ 63480 h 73049"/>
                    <a:gd name="connsiteX30" fmla="*/ 168059 w 242593"/>
                    <a:gd name="connsiteY30" fmla="*/ 66650 h 73049"/>
                    <a:gd name="connsiteX31" fmla="*/ 120093 w 242593"/>
                    <a:gd name="connsiteY31" fmla="*/ 72272 h 73049"/>
                    <a:gd name="connsiteX32" fmla="*/ 146289 w 242593"/>
                    <a:gd name="connsiteY32" fmla="*/ 63600 h 73049"/>
                    <a:gd name="connsiteX33" fmla="*/ 137258 w 242593"/>
                    <a:gd name="connsiteY33" fmla="*/ 62165 h 73049"/>
                    <a:gd name="connsiteX34" fmla="*/ 120093 w 242593"/>
                    <a:gd name="connsiteY34" fmla="*/ 72272 h 7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2593" h="73049">
                      <a:moveTo>
                        <a:pt x="242578" y="204"/>
                      </a:moveTo>
                      <a:lnTo>
                        <a:pt x="187017" y="50024"/>
                      </a:lnTo>
                      <a:lnTo>
                        <a:pt x="210282" y="42309"/>
                      </a:lnTo>
                      <a:cubicBezTo>
                        <a:pt x="210342" y="42309"/>
                        <a:pt x="210462" y="42309"/>
                        <a:pt x="210462" y="42428"/>
                      </a:cubicBezTo>
                      <a:cubicBezTo>
                        <a:pt x="210462" y="42488"/>
                        <a:pt x="210462" y="42608"/>
                        <a:pt x="210342" y="42608"/>
                      </a:cubicBezTo>
                      <a:lnTo>
                        <a:pt x="186360" y="50562"/>
                      </a:lnTo>
                      <a:lnTo>
                        <a:pt x="168118" y="66889"/>
                      </a:lnTo>
                      <a:cubicBezTo>
                        <a:pt x="168059" y="66949"/>
                        <a:pt x="168059" y="66949"/>
                        <a:pt x="167999" y="66949"/>
                      </a:cubicBezTo>
                      <a:lnTo>
                        <a:pt x="146887" y="63660"/>
                      </a:lnTo>
                      <a:lnTo>
                        <a:pt x="118658" y="73049"/>
                      </a:lnTo>
                      <a:cubicBezTo>
                        <a:pt x="118598" y="73049"/>
                        <a:pt x="118478" y="73049"/>
                        <a:pt x="118478" y="72990"/>
                      </a:cubicBezTo>
                      <a:cubicBezTo>
                        <a:pt x="118418" y="72930"/>
                        <a:pt x="118478" y="72810"/>
                        <a:pt x="118538" y="72810"/>
                      </a:cubicBezTo>
                      <a:lnTo>
                        <a:pt x="136660" y="62165"/>
                      </a:lnTo>
                      <a:lnTo>
                        <a:pt x="120" y="40873"/>
                      </a:lnTo>
                      <a:cubicBezTo>
                        <a:pt x="60" y="40873"/>
                        <a:pt x="0" y="40753"/>
                        <a:pt x="0" y="40694"/>
                      </a:cubicBezTo>
                      <a:lnTo>
                        <a:pt x="0" y="40694"/>
                      </a:lnTo>
                      <a:cubicBezTo>
                        <a:pt x="0" y="40634"/>
                        <a:pt x="120" y="40574"/>
                        <a:pt x="180" y="40574"/>
                      </a:cubicBezTo>
                      <a:lnTo>
                        <a:pt x="137078" y="61925"/>
                      </a:lnTo>
                      <a:lnTo>
                        <a:pt x="242279" y="25"/>
                      </a:lnTo>
                      <a:cubicBezTo>
                        <a:pt x="242339" y="-35"/>
                        <a:pt x="242459" y="25"/>
                        <a:pt x="242518" y="85"/>
                      </a:cubicBezTo>
                      <a:cubicBezTo>
                        <a:pt x="242518" y="144"/>
                        <a:pt x="242578" y="144"/>
                        <a:pt x="242518" y="204"/>
                      </a:cubicBezTo>
                      <a:cubicBezTo>
                        <a:pt x="242638" y="144"/>
                        <a:pt x="242578" y="204"/>
                        <a:pt x="242578" y="204"/>
                      </a:cubicBezTo>
                      <a:close/>
                      <a:moveTo>
                        <a:pt x="146946" y="63361"/>
                      </a:moveTo>
                      <a:lnTo>
                        <a:pt x="186300" y="50323"/>
                      </a:lnTo>
                      <a:lnTo>
                        <a:pt x="241203" y="1101"/>
                      </a:lnTo>
                      <a:lnTo>
                        <a:pt x="137736" y="61985"/>
                      </a:lnTo>
                      <a:lnTo>
                        <a:pt x="146946" y="63361"/>
                      </a:lnTo>
                      <a:close/>
                      <a:moveTo>
                        <a:pt x="168059" y="66650"/>
                      </a:moveTo>
                      <a:lnTo>
                        <a:pt x="185701" y="50861"/>
                      </a:lnTo>
                      <a:lnTo>
                        <a:pt x="147664" y="63480"/>
                      </a:lnTo>
                      <a:lnTo>
                        <a:pt x="168059" y="66650"/>
                      </a:lnTo>
                      <a:close/>
                      <a:moveTo>
                        <a:pt x="120093" y="72272"/>
                      </a:moveTo>
                      <a:lnTo>
                        <a:pt x="146289" y="63600"/>
                      </a:lnTo>
                      <a:lnTo>
                        <a:pt x="137258" y="62165"/>
                      </a:lnTo>
                      <a:lnTo>
                        <a:pt x="120093" y="72272"/>
                      </a:lnTo>
                      <a:close/>
                    </a:path>
                  </a:pathLst>
                </a:custGeom>
                <a:grpFill/>
                <a:ln w="6350" cap="flat">
                  <a:solidFill>
                    <a:schemeClr val="bg1">
                      <a:alpha val="40000"/>
                    </a:schemeClr>
                  </a:solidFill>
                  <a:prstDash val="solid"/>
                  <a:miter/>
                </a:ln>
              </p:spPr>
              <p:txBody>
                <a:bodyPr rtlCol="0" anchor="ctr"/>
                <a:lstStyle/>
                <a:p>
                  <a:endParaRPr lang="en-GB"/>
                </a:p>
              </p:txBody>
            </p:sp>
            <p:sp>
              <p:nvSpPr>
                <p:cNvPr id="8890" name="Vrije vorm: vorm 8889">
                  <a:extLst>
                    <a:ext uri="{FF2B5EF4-FFF2-40B4-BE49-F238E27FC236}">
                      <a16:creationId xmlns:a16="http://schemas.microsoft.com/office/drawing/2014/main" id="{7C9236B1-B3E0-4551-9816-6AB948584947}"/>
                    </a:ext>
                  </a:extLst>
                </p:cNvPr>
                <p:cNvSpPr/>
                <p:nvPr/>
              </p:nvSpPr>
              <p:spPr>
                <a:xfrm>
                  <a:off x="4484581" y="2483236"/>
                  <a:ext cx="79746" cy="178129"/>
                </a:xfrm>
                <a:custGeom>
                  <a:avLst/>
                  <a:gdLst>
                    <a:gd name="connsiteX0" fmla="*/ 79746 w 79746"/>
                    <a:gd name="connsiteY0" fmla="*/ 120 h 178129"/>
                    <a:gd name="connsiteX1" fmla="*/ 79447 w 79746"/>
                    <a:gd name="connsiteY1" fmla="*/ 0 h 178129"/>
                    <a:gd name="connsiteX2" fmla="*/ 23 w 79746"/>
                    <a:gd name="connsiteY2" fmla="*/ 177926 h 178129"/>
                    <a:gd name="connsiteX3" fmla="*/ 143 w 79746"/>
                    <a:gd name="connsiteY3" fmla="*/ 178106 h 178129"/>
                    <a:gd name="connsiteX4" fmla="*/ 322 w 79746"/>
                    <a:gd name="connsiteY4" fmla="*/ 177986 h 178129"/>
                    <a:gd name="connsiteX5" fmla="*/ 79746 w 79746"/>
                    <a:gd name="connsiteY5" fmla="*/ 120 h 178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746" h="178129">
                      <a:moveTo>
                        <a:pt x="79746" y="120"/>
                      </a:moveTo>
                      <a:lnTo>
                        <a:pt x="79447" y="0"/>
                      </a:lnTo>
                      <a:cubicBezTo>
                        <a:pt x="78670" y="1734"/>
                        <a:pt x="861" y="175833"/>
                        <a:pt x="23" y="177926"/>
                      </a:cubicBezTo>
                      <a:cubicBezTo>
                        <a:pt x="-36" y="177986"/>
                        <a:pt x="23" y="178106"/>
                        <a:pt x="143" y="178106"/>
                      </a:cubicBezTo>
                      <a:cubicBezTo>
                        <a:pt x="203" y="178166"/>
                        <a:pt x="322" y="178106"/>
                        <a:pt x="322" y="177986"/>
                      </a:cubicBezTo>
                      <a:cubicBezTo>
                        <a:pt x="1160" y="175953"/>
                        <a:pt x="78909" y="1914"/>
                        <a:pt x="79746" y="12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91" name="Vrije vorm: vorm 8890">
                  <a:extLst>
                    <a:ext uri="{FF2B5EF4-FFF2-40B4-BE49-F238E27FC236}">
                      <a16:creationId xmlns:a16="http://schemas.microsoft.com/office/drawing/2014/main" id="{D7376586-408E-4E09-AAEE-B0B4FBA43BFC}"/>
                    </a:ext>
                  </a:extLst>
                </p:cNvPr>
                <p:cNvSpPr/>
                <p:nvPr/>
              </p:nvSpPr>
              <p:spPr>
                <a:xfrm>
                  <a:off x="4290948" y="2459432"/>
                  <a:ext cx="273378" cy="218081"/>
                </a:xfrm>
                <a:custGeom>
                  <a:avLst/>
                  <a:gdLst>
                    <a:gd name="connsiteX0" fmla="*/ 272542 w 273378"/>
                    <a:gd name="connsiteY0" fmla="*/ 52571 h 218081"/>
                    <a:gd name="connsiteX1" fmla="*/ 265484 w 273378"/>
                    <a:gd name="connsiteY1" fmla="*/ 74938 h 218081"/>
                    <a:gd name="connsiteX2" fmla="*/ 266860 w 273378"/>
                    <a:gd name="connsiteY2" fmla="*/ 81876 h 218081"/>
                    <a:gd name="connsiteX3" fmla="*/ 266860 w 273378"/>
                    <a:gd name="connsiteY3" fmla="*/ 81996 h 218081"/>
                    <a:gd name="connsiteX4" fmla="*/ 266800 w 273378"/>
                    <a:gd name="connsiteY4" fmla="*/ 82056 h 218081"/>
                    <a:gd name="connsiteX5" fmla="*/ 266800 w 273378"/>
                    <a:gd name="connsiteY5" fmla="*/ 82056 h 218081"/>
                    <a:gd name="connsiteX6" fmla="*/ 266800 w 273378"/>
                    <a:gd name="connsiteY6" fmla="*/ 82056 h 218081"/>
                    <a:gd name="connsiteX7" fmla="*/ 266800 w 273378"/>
                    <a:gd name="connsiteY7" fmla="*/ 82056 h 218081"/>
                    <a:gd name="connsiteX8" fmla="*/ 266800 w 273378"/>
                    <a:gd name="connsiteY8" fmla="*/ 82056 h 218081"/>
                    <a:gd name="connsiteX9" fmla="*/ 266800 w 273378"/>
                    <a:gd name="connsiteY9" fmla="*/ 82056 h 218081"/>
                    <a:gd name="connsiteX10" fmla="*/ 266800 w 273378"/>
                    <a:gd name="connsiteY10" fmla="*/ 82056 h 218081"/>
                    <a:gd name="connsiteX11" fmla="*/ 266800 w 273378"/>
                    <a:gd name="connsiteY11" fmla="*/ 82056 h 218081"/>
                    <a:gd name="connsiteX12" fmla="*/ 266800 w 273378"/>
                    <a:gd name="connsiteY12" fmla="*/ 82056 h 218081"/>
                    <a:gd name="connsiteX13" fmla="*/ 266800 w 273378"/>
                    <a:gd name="connsiteY13" fmla="*/ 82056 h 218081"/>
                    <a:gd name="connsiteX14" fmla="*/ 266800 w 273378"/>
                    <a:gd name="connsiteY14" fmla="*/ 82056 h 218081"/>
                    <a:gd name="connsiteX15" fmla="*/ 266800 w 273378"/>
                    <a:gd name="connsiteY15" fmla="*/ 82056 h 218081"/>
                    <a:gd name="connsiteX16" fmla="*/ 266740 w 273378"/>
                    <a:gd name="connsiteY16" fmla="*/ 82056 h 218081"/>
                    <a:gd name="connsiteX17" fmla="*/ 263391 w 273378"/>
                    <a:gd name="connsiteY17" fmla="*/ 81577 h 218081"/>
                    <a:gd name="connsiteX18" fmla="*/ 243236 w 273378"/>
                    <a:gd name="connsiteY18" fmla="*/ 145152 h 218081"/>
                    <a:gd name="connsiteX19" fmla="*/ 243236 w 273378"/>
                    <a:gd name="connsiteY19" fmla="*/ 145152 h 218081"/>
                    <a:gd name="connsiteX20" fmla="*/ 243236 w 273378"/>
                    <a:gd name="connsiteY20" fmla="*/ 145152 h 218081"/>
                    <a:gd name="connsiteX21" fmla="*/ 243236 w 273378"/>
                    <a:gd name="connsiteY21" fmla="*/ 145152 h 218081"/>
                    <a:gd name="connsiteX22" fmla="*/ 243236 w 273378"/>
                    <a:gd name="connsiteY22" fmla="*/ 145152 h 218081"/>
                    <a:gd name="connsiteX23" fmla="*/ 243236 w 273378"/>
                    <a:gd name="connsiteY23" fmla="*/ 145152 h 218081"/>
                    <a:gd name="connsiteX24" fmla="*/ 243236 w 273378"/>
                    <a:gd name="connsiteY24" fmla="*/ 145212 h 218081"/>
                    <a:gd name="connsiteX25" fmla="*/ 210880 w 273378"/>
                    <a:gd name="connsiteY25" fmla="*/ 182412 h 218081"/>
                    <a:gd name="connsiteX26" fmla="*/ 211179 w 273378"/>
                    <a:gd name="connsiteY26" fmla="*/ 187436 h 218081"/>
                    <a:gd name="connsiteX27" fmla="*/ 211119 w 273378"/>
                    <a:gd name="connsiteY27" fmla="*/ 187556 h 218081"/>
                    <a:gd name="connsiteX28" fmla="*/ 210940 w 273378"/>
                    <a:gd name="connsiteY28" fmla="*/ 187556 h 218081"/>
                    <a:gd name="connsiteX29" fmla="*/ 207651 w 273378"/>
                    <a:gd name="connsiteY29" fmla="*/ 186000 h 218081"/>
                    <a:gd name="connsiteX30" fmla="*/ 193955 w 273378"/>
                    <a:gd name="connsiteY30" fmla="*/ 201730 h 218081"/>
                    <a:gd name="connsiteX31" fmla="*/ 193895 w 273378"/>
                    <a:gd name="connsiteY31" fmla="*/ 201790 h 218081"/>
                    <a:gd name="connsiteX32" fmla="*/ 156456 w 273378"/>
                    <a:gd name="connsiteY32" fmla="*/ 209923 h 218081"/>
                    <a:gd name="connsiteX33" fmla="*/ 147006 w 273378"/>
                    <a:gd name="connsiteY33" fmla="*/ 216981 h 218081"/>
                    <a:gd name="connsiteX34" fmla="*/ 146827 w 273378"/>
                    <a:gd name="connsiteY34" fmla="*/ 216981 h 218081"/>
                    <a:gd name="connsiteX35" fmla="*/ 139052 w 273378"/>
                    <a:gd name="connsiteY35" fmla="*/ 213691 h 218081"/>
                    <a:gd name="connsiteX36" fmla="*/ 119375 w 273378"/>
                    <a:gd name="connsiteY36" fmla="*/ 217938 h 218081"/>
                    <a:gd name="connsiteX37" fmla="*/ 119315 w 273378"/>
                    <a:gd name="connsiteY37" fmla="*/ 217938 h 218081"/>
                    <a:gd name="connsiteX38" fmla="*/ 75238 w 273378"/>
                    <a:gd name="connsiteY38" fmla="*/ 210521 h 218081"/>
                    <a:gd name="connsiteX39" fmla="*/ 91505 w 273378"/>
                    <a:gd name="connsiteY39" fmla="*/ 217758 h 218081"/>
                    <a:gd name="connsiteX40" fmla="*/ 91565 w 273378"/>
                    <a:gd name="connsiteY40" fmla="*/ 217997 h 218081"/>
                    <a:gd name="connsiteX41" fmla="*/ 91326 w 273378"/>
                    <a:gd name="connsiteY41" fmla="*/ 218057 h 218081"/>
                    <a:gd name="connsiteX42" fmla="*/ 73922 w 273378"/>
                    <a:gd name="connsiteY42" fmla="*/ 210342 h 218081"/>
                    <a:gd name="connsiteX43" fmla="*/ 65190 w 273378"/>
                    <a:gd name="connsiteY43" fmla="*/ 208847 h 218081"/>
                    <a:gd name="connsiteX44" fmla="*/ 61482 w 273378"/>
                    <a:gd name="connsiteY44" fmla="*/ 213751 h 218081"/>
                    <a:gd name="connsiteX45" fmla="*/ 61302 w 273378"/>
                    <a:gd name="connsiteY45" fmla="*/ 213811 h 218081"/>
                    <a:gd name="connsiteX46" fmla="*/ 61183 w 273378"/>
                    <a:gd name="connsiteY46" fmla="*/ 213691 h 218081"/>
                    <a:gd name="connsiteX47" fmla="*/ 59508 w 273378"/>
                    <a:gd name="connsiteY47" fmla="*/ 207890 h 218081"/>
                    <a:gd name="connsiteX48" fmla="*/ 18660 w 273378"/>
                    <a:gd name="connsiteY48" fmla="*/ 201012 h 218081"/>
                    <a:gd name="connsiteX49" fmla="*/ 18600 w 273378"/>
                    <a:gd name="connsiteY49" fmla="*/ 200952 h 218081"/>
                    <a:gd name="connsiteX50" fmla="*/ 5143 w 273378"/>
                    <a:gd name="connsiteY50" fmla="*/ 189410 h 218081"/>
                    <a:gd name="connsiteX51" fmla="*/ 239 w 273378"/>
                    <a:gd name="connsiteY51" fmla="*/ 192101 h 218081"/>
                    <a:gd name="connsiteX52" fmla="*/ 60 w 273378"/>
                    <a:gd name="connsiteY52" fmla="*/ 192101 h 218081"/>
                    <a:gd name="connsiteX53" fmla="*/ 0 w 273378"/>
                    <a:gd name="connsiteY53" fmla="*/ 191922 h 218081"/>
                    <a:gd name="connsiteX54" fmla="*/ 658 w 273378"/>
                    <a:gd name="connsiteY54" fmla="*/ 185462 h 218081"/>
                    <a:gd name="connsiteX55" fmla="*/ 658 w 273378"/>
                    <a:gd name="connsiteY55" fmla="*/ 185462 h 218081"/>
                    <a:gd name="connsiteX56" fmla="*/ 778 w 273378"/>
                    <a:gd name="connsiteY56" fmla="*/ 185343 h 218081"/>
                    <a:gd name="connsiteX57" fmla="*/ 957 w 273378"/>
                    <a:gd name="connsiteY57" fmla="*/ 185343 h 218081"/>
                    <a:gd name="connsiteX58" fmla="*/ 5203 w 273378"/>
                    <a:gd name="connsiteY58" fmla="*/ 188991 h 218081"/>
                    <a:gd name="connsiteX59" fmla="*/ 14892 w 273378"/>
                    <a:gd name="connsiteY59" fmla="*/ 183728 h 218081"/>
                    <a:gd name="connsiteX60" fmla="*/ 15012 w 273378"/>
                    <a:gd name="connsiteY60" fmla="*/ 183728 h 218081"/>
                    <a:gd name="connsiteX61" fmla="*/ 58132 w 273378"/>
                    <a:gd name="connsiteY61" fmla="*/ 202866 h 218081"/>
                    <a:gd name="connsiteX62" fmla="*/ 50298 w 273378"/>
                    <a:gd name="connsiteY62" fmla="*/ 175654 h 218081"/>
                    <a:gd name="connsiteX63" fmla="*/ 50358 w 273378"/>
                    <a:gd name="connsiteY63" fmla="*/ 175475 h 218081"/>
                    <a:gd name="connsiteX64" fmla="*/ 50537 w 273378"/>
                    <a:gd name="connsiteY64" fmla="*/ 175475 h 218081"/>
                    <a:gd name="connsiteX65" fmla="*/ 80321 w 273378"/>
                    <a:gd name="connsiteY65" fmla="*/ 188213 h 218081"/>
                    <a:gd name="connsiteX66" fmla="*/ 114710 w 273378"/>
                    <a:gd name="connsiteY66" fmla="*/ 142461 h 218081"/>
                    <a:gd name="connsiteX67" fmla="*/ 114889 w 273378"/>
                    <a:gd name="connsiteY67" fmla="*/ 142401 h 218081"/>
                    <a:gd name="connsiteX68" fmla="*/ 195809 w 273378"/>
                    <a:gd name="connsiteY68" fmla="*/ 180080 h 218081"/>
                    <a:gd name="connsiteX69" fmla="*/ 209744 w 273378"/>
                    <a:gd name="connsiteY69" fmla="*/ 169673 h 218081"/>
                    <a:gd name="connsiteX70" fmla="*/ 203883 w 273378"/>
                    <a:gd name="connsiteY70" fmla="*/ 73144 h 218081"/>
                    <a:gd name="connsiteX71" fmla="*/ 203942 w 273378"/>
                    <a:gd name="connsiteY71" fmla="*/ 73025 h 218081"/>
                    <a:gd name="connsiteX72" fmla="*/ 204062 w 273378"/>
                    <a:gd name="connsiteY72" fmla="*/ 72965 h 218081"/>
                    <a:gd name="connsiteX73" fmla="*/ 252626 w 273378"/>
                    <a:gd name="connsiteY73" fmla="*/ 79663 h 218081"/>
                    <a:gd name="connsiteX74" fmla="*/ 253523 w 273378"/>
                    <a:gd name="connsiteY74" fmla="*/ 73384 h 218081"/>
                    <a:gd name="connsiteX75" fmla="*/ 224756 w 273378"/>
                    <a:gd name="connsiteY75" fmla="*/ 54604 h 218081"/>
                    <a:gd name="connsiteX76" fmla="*/ 224696 w 273378"/>
                    <a:gd name="connsiteY76" fmla="*/ 54365 h 218081"/>
                    <a:gd name="connsiteX77" fmla="*/ 224935 w 273378"/>
                    <a:gd name="connsiteY77" fmla="*/ 54305 h 218081"/>
                    <a:gd name="connsiteX78" fmla="*/ 253582 w 273378"/>
                    <a:gd name="connsiteY78" fmla="*/ 72965 h 218081"/>
                    <a:gd name="connsiteX79" fmla="*/ 255556 w 273378"/>
                    <a:gd name="connsiteY79" fmla="*/ 59628 h 218081"/>
                    <a:gd name="connsiteX80" fmla="*/ 242817 w 273378"/>
                    <a:gd name="connsiteY80" fmla="*/ 34090 h 218081"/>
                    <a:gd name="connsiteX81" fmla="*/ 242817 w 273378"/>
                    <a:gd name="connsiteY81" fmla="*/ 33971 h 218081"/>
                    <a:gd name="connsiteX82" fmla="*/ 242937 w 273378"/>
                    <a:gd name="connsiteY82" fmla="*/ 33851 h 218081"/>
                    <a:gd name="connsiteX83" fmla="*/ 256095 w 273378"/>
                    <a:gd name="connsiteY83" fmla="*/ 29365 h 218081"/>
                    <a:gd name="connsiteX84" fmla="*/ 254121 w 273378"/>
                    <a:gd name="connsiteY84" fmla="*/ 19378 h 218081"/>
                    <a:gd name="connsiteX85" fmla="*/ 254181 w 273378"/>
                    <a:gd name="connsiteY85" fmla="*/ 19258 h 218081"/>
                    <a:gd name="connsiteX86" fmla="*/ 254300 w 273378"/>
                    <a:gd name="connsiteY86" fmla="*/ 19198 h 218081"/>
                    <a:gd name="connsiteX87" fmla="*/ 261178 w 273378"/>
                    <a:gd name="connsiteY87" fmla="*/ 20753 h 218081"/>
                    <a:gd name="connsiteX88" fmla="*/ 264168 w 273378"/>
                    <a:gd name="connsiteY88" fmla="*/ 120 h 218081"/>
                    <a:gd name="connsiteX89" fmla="*/ 264168 w 273378"/>
                    <a:gd name="connsiteY89" fmla="*/ 120 h 218081"/>
                    <a:gd name="connsiteX90" fmla="*/ 264348 w 273378"/>
                    <a:gd name="connsiteY90" fmla="*/ 0 h 218081"/>
                    <a:gd name="connsiteX91" fmla="*/ 264527 w 273378"/>
                    <a:gd name="connsiteY91" fmla="*/ 120 h 218081"/>
                    <a:gd name="connsiteX92" fmla="*/ 267936 w 273378"/>
                    <a:gd name="connsiteY92" fmla="*/ 22308 h 218081"/>
                    <a:gd name="connsiteX93" fmla="*/ 273259 w 273378"/>
                    <a:gd name="connsiteY93" fmla="*/ 23504 h 218081"/>
                    <a:gd name="connsiteX94" fmla="*/ 273379 w 273378"/>
                    <a:gd name="connsiteY94" fmla="*/ 23624 h 218081"/>
                    <a:gd name="connsiteX95" fmla="*/ 273259 w 273378"/>
                    <a:gd name="connsiteY95" fmla="*/ 23803 h 218081"/>
                    <a:gd name="connsiteX96" fmla="*/ 268415 w 273378"/>
                    <a:gd name="connsiteY96" fmla="*/ 25478 h 218081"/>
                    <a:gd name="connsiteX97" fmla="*/ 272542 w 273378"/>
                    <a:gd name="connsiteY97" fmla="*/ 52331 h 218081"/>
                    <a:gd name="connsiteX98" fmla="*/ 272542 w 273378"/>
                    <a:gd name="connsiteY98" fmla="*/ 52571 h 218081"/>
                    <a:gd name="connsiteX99" fmla="*/ 272542 w 273378"/>
                    <a:gd name="connsiteY99" fmla="*/ 52571 h 218081"/>
                    <a:gd name="connsiteX100" fmla="*/ 260401 w 273378"/>
                    <a:gd name="connsiteY100" fmla="*/ 28408 h 218081"/>
                    <a:gd name="connsiteX101" fmla="*/ 258606 w 273378"/>
                    <a:gd name="connsiteY101" fmla="*/ 40669 h 218081"/>
                    <a:gd name="connsiteX102" fmla="*/ 265305 w 273378"/>
                    <a:gd name="connsiteY102" fmla="*/ 74281 h 218081"/>
                    <a:gd name="connsiteX103" fmla="*/ 272183 w 273378"/>
                    <a:gd name="connsiteY103" fmla="*/ 52511 h 218081"/>
                    <a:gd name="connsiteX104" fmla="*/ 268056 w 273378"/>
                    <a:gd name="connsiteY104" fmla="*/ 25777 h 218081"/>
                    <a:gd name="connsiteX105" fmla="*/ 260401 w 273378"/>
                    <a:gd name="connsiteY105" fmla="*/ 28408 h 218081"/>
                    <a:gd name="connsiteX106" fmla="*/ 263869 w 273378"/>
                    <a:gd name="connsiteY106" fmla="*/ 79903 h 218081"/>
                    <a:gd name="connsiteX107" fmla="*/ 266262 w 273378"/>
                    <a:gd name="connsiteY107" fmla="*/ 81458 h 218081"/>
                    <a:gd name="connsiteX108" fmla="*/ 264527 w 273378"/>
                    <a:gd name="connsiteY108" fmla="*/ 77929 h 218081"/>
                    <a:gd name="connsiteX109" fmla="*/ 263869 w 273378"/>
                    <a:gd name="connsiteY109" fmla="*/ 79903 h 218081"/>
                    <a:gd name="connsiteX110" fmla="*/ 264647 w 273378"/>
                    <a:gd name="connsiteY110" fmla="*/ 77450 h 218081"/>
                    <a:gd name="connsiteX111" fmla="*/ 266262 w 273378"/>
                    <a:gd name="connsiteY111" fmla="*/ 80740 h 218081"/>
                    <a:gd name="connsiteX112" fmla="*/ 265245 w 273378"/>
                    <a:gd name="connsiteY112" fmla="*/ 75537 h 218081"/>
                    <a:gd name="connsiteX113" fmla="*/ 264647 w 273378"/>
                    <a:gd name="connsiteY113" fmla="*/ 77450 h 218081"/>
                    <a:gd name="connsiteX114" fmla="*/ 263451 w 273378"/>
                    <a:gd name="connsiteY114" fmla="*/ 81278 h 218081"/>
                    <a:gd name="connsiteX115" fmla="*/ 266022 w 273378"/>
                    <a:gd name="connsiteY115" fmla="*/ 81637 h 218081"/>
                    <a:gd name="connsiteX116" fmla="*/ 263810 w 273378"/>
                    <a:gd name="connsiteY116" fmla="*/ 80201 h 218081"/>
                    <a:gd name="connsiteX117" fmla="*/ 263451 w 273378"/>
                    <a:gd name="connsiteY117" fmla="*/ 81278 h 218081"/>
                    <a:gd name="connsiteX118" fmla="*/ 255855 w 273378"/>
                    <a:gd name="connsiteY118" fmla="*/ 59748 h 218081"/>
                    <a:gd name="connsiteX119" fmla="*/ 264467 w 273378"/>
                    <a:gd name="connsiteY119" fmla="*/ 77032 h 218081"/>
                    <a:gd name="connsiteX120" fmla="*/ 265126 w 273378"/>
                    <a:gd name="connsiteY120" fmla="*/ 74879 h 218081"/>
                    <a:gd name="connsiteX121" fmla="*/ 258487 w 273378"/>
                    <a:gd name="connsiteY121" fmla="*/ 41626 h 218081"/>
                    <a:gd name="connsiteX122" fmla="*/ 255855 w 273378"/>
                    <a:gd name="connsiteY122" fmla="*/ 59748 h 218081"/>
                    <a:gd name="connsiteX123" fmla="*/ 253822 w 273378"/>
                    <a:gd name="connsiteY123" fmla="*/ 73324 h 218081"/>
                    <a:gd name="connsiteX124" fmla="*/ 263570 w 273378"/>
                    <a:gd name="connsiteY124" fmla="*/ 79663 h 218081"/>
                    <a:gd name="connsiteX125" fmla="*/ 264288 w 273378"/>
                    <a:gd name="connsiteY125" fmla="*/ 77450 h 218081"/>
                    <a:gd name="connsiteX126" fmla="*/ 255736 w 273378"/>
                    <a:gd name="connsiteY126" fmla="*/ 60286 h 218081"/>
                    <a:gd name="connsiteX127" fmla="*/ 253822 w 273378"/>
                    <a:gd name="connsiteY127" fmla="*/ 73324 h 218081"/>
                    <a:gd name="connsiteX128" fmla="*/ 252925 w 273378"/>
                    <a:gd name="connsiteY128" fmla="*/ 79843 h 218081"/>
                    <a:gd name="connsiteX129" fmla="*/ 263152 w 273378"/>
                    <a:gd name="connsiteY129" fmla="*/ 81218 h 218081"/>
                    <a:gd name="connsiteX130" fmla="*/ 263511 w 273378"/>
                    <a:gd name="connsiteY130" fmla="*/ 79962 h 218081"/>
                    <a:gd name="connsiteX131" fmla="*/ 253822 w 273378"/>
                    <a:gd name="connsiteY131" fmla="*/ 73623 h 218081"/>
                    <a:gd name="connsiteX132" fmla="*/ 252925 w 273378"/>
                    <a:gd name="connsiteY132" fmla="*/ 79843 h 218081"/>
                    <a:gd name="connsiteX133" fmla="*/ 243595 w 273378"/>
                    <a:gd name="connsiteY133" fmla="*/ 142939 h 218081"/>
                    <a:gd name="connsiteX134" fmla="*/ 263032 w 273378"/>
                    <a:gd name="connsiteY134" fmla="*/ 81577 h 218081"/>
                    <a:gd name="connsiteX135" fmla="*/ 252865 w 273378"/>
                    <a:gd name="connsiteY135" fmla="*/ 80201 h 218081"/>
                    <a:gd name="connsiteX136" fmla="*/ 243595 w 273378"/>
                    <a:gd name="connsiteY136" fmla="*/ 142939 h 218081"/>
                    <a:gd name="connsiteX137" fmla="*/ 268355 w 273378"/>
                    <a:gd name="connsiteY137" fmla="*/ 25358 h 218081"/>
                    <a:gd name="connsiteX138" fmla="*/ 272661 w 273378"/>
                    <a:gd name="connsiteY138" fmla="*/ 23923 h 218081"/>
                    <a:gd name="connsiteX139" fmla="*/ 267996 w 273378"/>
                    <a:gd name="connsiteY139" fmla="*/ 22846 h 218081"/>
                    <a:gd name="connsiteX140" fmla="*/ 268355 w 273378"/>
                    <a:gd name="connsiteY140" fmla="*/ 25358 h 218081"/>
                    <a:gd name="connsiteX141" fmla="*/ 261417 w 273378"/>
                    <a:gd name="connsiteY141" fmla="*/ 21351 h 218081"/>
                    <a:gd name="connsiteX142" fmla="*/ 260460 w 273378"/>
                    <a:gd name="connsiteY142" fmla="*/ 28050 h 218081"/>
                    <a:gd name="connsiteX143" fmla="*/ 268056 w 273378"/>
                    <a:gd name="connsiteY143" fmla="*/ 25478 h 218081"/>
                    <a:gd name="connsiteX144" fmla="*/ 267637 w 273378"/>
                    <a:gd name="connsiteY144" fmla="*/ 22787 h 218081"/>
                    <a:gd name="connsiteX145" fmla="*/ 261417 w 273378"/>
                    <a:gd name="connsiteY145" fmla="*/ 21351 h 218081"/>
                    <a:gd name="connsiteX146" fmla="*/ 261477 w 273378"/>
                    <a:gd name="connsiteY146" fmla="*/ 21052 h 218081"/>
                    <a:gd name="connsiteX147" fmla="*/ 267577 w 273378"/>
                    <a:gd name="connsiteY147" fmla="*/ 22428 h 218081"/>
                    <a:gd name="connsiteX148" fmla="*/ 264348 w 273378"/>
                    <a:gd name="connsiteY148" fmla="*/ 1435 h 218081"/>
                    <a:gd name="connsiteX149" fmla="*/ 261477 w 273378"/>
                    <a:gd name="connsiteY149" fmla="*/ 21052 h 218081"/>
                    <a:gd name="connsiteX150" fmla="*/ 204182 w 273378"/>
                    <a:gd name="connsiteY150" fmla="*/ 73503 h 218081"/>
                    <a:gd name="connsiteX151" fmla="*/ 210043 w 273378"/>
                    <a:gd name="connsiteY151" fmla="*/ 169613 h 218081"/>
                    <a:gd name="connsiteX152" fmla="*/ 242937 w 273378"/>
                    <a:gd name="connsiteY152" fmla="*/ 145032 h 218081"/>
                    <a:gd name="connsiteX153" fmla="*/ 242997 w 273378"/>
                    <a:gd name="connsiteY153" fmla="*/ 144853 h 218081"/>
                    <a:gd name="connsiteX154" fmla="*/ 252566 w 273378"/>
                    <a:gd name="connsiteY154" fmla="*/ 80142 h 218081"/>
                    <a:gd name="connsiteX155" fmla="*/ 204182 w 273378"/>
                    <a:gd name="connsiteY155" fmla="*/ 73503 h 218081"/>
                    <a:gd name="connsiteX156" fmla="*/ 210761 w 273378"/>
                    <a:gd name="connsiteY156" fmla="*/ 181993 h 218081"/>
                    <a:gd name="connsiteX157" fmla="*/ 241920 w 273378"/>
                    <a:gd name="connsiteY157" fmla="*/ 146169 h 218081"/>
                    <a:gd name="connsiteX158" fmla="*/ 210043 w 273378"/>
                    <a:gd name="connsiteY158" fmla="*/ 169972 h 218081"/>
                    <a:gd name="connsiteX159" fmla="*/ 210761 w 273378"/>
                    <a:gd name="connsiteY159" fmla="*/ 181993 h 218081"/>
                    <a:gd name="connsiteX160" fmla="*/ 256095 w 273378"/>
                    <a:gd name="connsiteY160" fmla="*/ 29844 h 218081"/>
                    <a:gd name="connsiteX161" fmla="*/ 243116 w 273378"/>
                    <a:gd name="connsiteY161" fmla="*/ 34270 h 218081"/>
                    <a:gd name="connsiteX162" fmla="*/ 255556 w 273378"/>
                    <a:gd name="connsiteY162" fmla="*/ 59209 h 218081"/>
                    <a:gd name="connsiteX163" fmla="*/ 258248 w 273378"/>
                    <a:gd name="connsiteY163" fmla="*/ 40669 h 218081"/>
                    <a:gd name="connsiteX164" fmla="*/ 256095 w 273378"/>
                    <a:gd name="connsiteY164" fmla="*/ 29844 h 218081"/>
                    <a:gd name="connsiteX165" fmla="*/ 256394 w 273378"/>
                    <a:gd name="connsiteY165" fmla="*/ 29784 h 218081"/>
                    <a:gd name="connsiteX166" fmla="*/ 258367 w 273378"/>
                    <a:gd name="connsiteY166" fmla="*/ 39772 h 218081"/>
                    <a:gd name="connsiteX167" fmla="*/ 259982 w 273378"/>
                    <a:gd name="connsiteY167" fmla="*/ 28588 h 218081"/>
                    <a:gd name="connsiteX168" fmla="*/ 256394 w 273378"/>
                    <a:gd name="connsiteY168" fmla="*/ 29784 h 218081"/>
                    <a:gd name="connsiteX169" fmla="*/ 254420 w 273378"/>
                    <a:gd name="connsiteY169" fmla="*/ 19736 h 218081"/>
                    <a:gd name="connsiteX170" fmla="*/ 256334 w 273378"/>
                    <a:gd name="connsiteY170" fmla="*/ 29425 h 218081"/>
                    <a:gd name="connsiteX171" fmla="*/ 260102 w 273378"/>
                    <a:gd name="connsiteY171" fmla="*/ 28169 h 218081"/>
                    <a:gd name="connsiteX172" fmla="*/ 261118 w 273378"/>
                    <a:gd name="connsiteY172" fmla="*/ 21292 h 218081"/>
                    <a:gd name="connsiteX173" fmla="*/ 254420 w 273378"/>
                    <a:gd name="connsiteY173" fmla="*/ 19736 h 218081"/>
                    <a:gd name="connsiteX174" fmla="*/ 207830 w 273378"/>
                    <a:gd name="connsiteY174" fmla="*/ 185881 h 218081"/>
                    <a:gd name="connsiteX175" fmla="*/ 210761 w 273378"/>
                    <a:gd name="connsiteY175" fmla="*/ 187257 h 218081"/>
                    <a:gd name="connsiteX176" fmla="*/ 210522 w 273378"/>
                    <a:gd name="connsiteY176" fmla="*/ 182831 h 218081"/>
                    <a:gd name="connsiteX177" fmla="*/ 207830 w 273378"/>
                    <a:gd name="connsiteY177" fmla="*/ 185881 h 218081"/>
                    <a:gd name="connsiteX178" fmla="*/ 196108 w 273378"/>
                    <a:gd name="connsiteY178" fmla="*/ 180438 h 218081"/>
                    <a:gd name="connsiteX179" fmla="*/ 207531 w 273378"/>
                    <a:gd name="connsiteY179" fmla="*/ 185761 h 218081"/>
                    <a:gd name="connsiteX180" fmla="*/ 210462 w 273378"/>
                    <a:gd name="connsiteY180" fmla="*/ 182352 h 218081"/>
                    <a:gd name="connsiteX181" fmla="*/ 209744 w 273378"/>
                    <a:gd name="connsiteY181" fmla="*/ 170211 h 218081"/>
                    <a:gd name="connsiteX182" fmla="*/ 196108 w 273378"/>
                    <a:gd name="connsiteY182" fmla="*/ 180438 h 218081"/>
                    <a:gd name="connsiteX183" fmla="*/ 157054 w 273378"/>
                    <a:gd name="connsiteY183" fmla="*/ 209624 h 218081"/>
                    <a:gd name="connsiteX184" fmla="*/ 193716 w 273378"/>
                    <a:gd name="connsiteY184" fmla="*/ 201670 h 218081"/>
                    <a:gd name="connsiteX185" fmla="*/ 207352 w 273378"/>
                    <a:gd name="connsiteY185" fmla="*/ 186000 h 218081"/>
                    <a:gd name="connsiteX186" fmla="*/ 195869 w 273378"/>
                    <a:gd name="connsiteY186" fmla="*/ 180618 h 218081"/>
                    <a:gd name="connsiteX187" fmla="*/ 157054 w 273378"/>
                    <a:gd name="connsiteY187" fmla="*/ 209624 h 218081"/>
                    <a:gd name="connsiteX188" fmla="*/ 80560 w 273378"/>
                    <a:gd name="connsiteY188" fmla="*/ 188572 h 218081"/>
                    <a:gd name="connsiteX189" fmla="*/ 139052 w 273378"/>
                    <a:gd name="connsiteY189" fmla="*/ 213512 h 218081"/>
                    <a:gd name="connsiteX190" fmla="*/ 156276 w 273378"/>
                    <a:gd name="connsiteY190" fmla="*/ 209744 h 218081"/>
                    <a:gd name="connsiteX191" fmla="*/ 195510 w 273378"/>
                    <a:gd name="connsiteY191" fmla="*/ 180438 h 218081"/>
                    <a:gd name="connsiteX192" fmla="*/ 114830 w 273378"/>
                    <a:gd name="connsiteY192" fmla="*/ 142939 h 218081"/>
                    <a:gd name="connsiteX193" fmla="*/ 80560 w 273378"/>
                    <a:gd name="connsiteY193" fmla="*/ 188572 h 218081"/>
                    <a:gd name="connsiteX194" fmla="*/ 146827 w 273378"/>
                    <a:gd name="connsiteY194" fmla="*/ 216801 h 218081"/>
                    <a:gd name="connsiteX195" fmla="*/ 155678 w 273378"/>
                    <a:gd name="connsiteY195" fmla="*/ 210223 h 218081"/>
                    <a:gd name="connsiteX196" fmla="*/ 139590 w 273378"/>
                    <a:gd name="connsiteY196" fmla="*/ 213691 h 218081"/>
                    <a:gd name="connsiteX197" fmla="*/ 146827 w 273378"/>
                    <a:gd name="connsiteY197" fmla="*/ 216801 h 218081"/>
                    <a:gd name="connsiteX198" fmla="*/ 66745 w 273378"/>
                    <a:gd name="connsiteY198" fmla="*/ 206933 h 218081"/>
                    <a:gd name="connsiteX199" fmla="*/ 73982 w 273378"/>
                    <a:gd name="connsiteY199" fmla="*/ 210163 h 218081"/>
                    <a:gd name="connsiteX200" fmla="*/ 119256 w 273378"/>
                    <a:gd name="connsiteY200" fmla="*/ 217758 h 218081"/>
                    <a:gd name="connsiteX201" fmla="*/ 138454 w 273378"/>
                    <a:gd name="connsiteY201" fmla="*/ 213572 h 218081"/>
                    <a:gd name="connsiteX202" fmla="*/ 80321 w 273378"/>
                    <a:gd name="connsiteY202" fmla="*/ 188752 h 218081"/>
                    <a:gd name="connsiteX203" fmla="*/ 66745 w 273378"/>
                    <a:gd name="connsiteY203" fmla="*/ 206933 h 218081"/>
                    <a:gd name="connsiteX204" fmla="*/ 58491 w 273378"/>
                    <a:gd name="connsiteY204" fmla="*/ 203285 h 218081"/>
                    <a:gd name="connsiteX205" fmla="*/ 66446 w 273378"/>
                    <a:gd name="connsiteY205" fmla="*/ 206813 h 218081"/>
                    <a:gd name="connsiteX206" fmla="*/ 80082 w 273378"/>
                    <a:gd name="connsiteY206" fmla="*/ 188692 h 218081"/>
                    <a:gd name="connsiteX207" fmla="*/ 50657 w 273378"/>
                    <a:gd name="connsiteY207" fmla="*/ 176132 h 218081"/>
                    <a:gd name="connsiteX208" fmla="*/ 58491 w 273378"/>
                    <a:gd name="connsiteY208" fmla="*/ 203285 h 218081"/>
                    <a:gd name="connsiteX209" fmla="*/ 65429 w 273378"/>
                    <a:gd name="connsiteY209" fmla="*/ 208727 h 218081"/>
                    <a:gd name="connsiteX210" fmla="*/ 72725 w 273378"/>
                    <a:gd name="connsiteY210" fmla="*/ 209983 h 218081"/>
                    <a:gd name="connsiteX211" fmla="*/ 66565 w 273378"/>
                    <a:gd name="connsiteY211" fmla="*/ 207232 h 218081"/>
                    <a:gd name="connsiteX212" fmla="*/ 65429 w 273378"/>
                    <a:gd name="connsiteY212" fmla="*/ 208727 h 218081"/>
                    <a:gd name="connsiteX213" fmla="*/ 59747 w 273378"/>
                    <a:gd name="connsiteY213" fmla="*/ 207770 h 218081"/>
                    <a:gd name="connsiteX214" fmla="*/ 65010 w 273378"/>
                    <a:gd name="connsiteY214" fmla="*/ 208667 h 218081"/>
                    <a:gd name="connsiteX215" fmla="*/ 66207 w 273378"/>
                    <a:gd name="connsiteY215" fmla="*/ 207112 h 218081"/>
                    <a:gd name="connsiteX216" fmla="*/ 58551 w 273378"/>
                    <a:gd name="connsiteY216" fmla="*/ 203704 h 218081"/>
                    <a:gd name="connsiteX217" fmla="*/ 59747 w 273378"/>
                    <a:gd name="connsiteY217" fmla="*/ 207770 h 218081"/>
                    <a:gd name="connsiteX218" fmla="*/ 61422 w 273378"/>
                    <a:gd name="connsiteY218" fmla="*/ 213512 h 218081"/>
                    <a:gd name="connsiteX219" fmla="*/ 64831 w 273378"/>
                    <a:gd name="connsiteY219" fmla="*/ 208966 h 218081"/>
                    <a:gd name="connsiteX220" fmla="*/ 59867 w 273378"/>
                    <a:gd name="connsiteY220" fmla="*/ 208129 h 218081"/>
                    <a:gd name="connsiteX221" fmla="*/ 61422 w 273378"/>
                    <a:gd name="connsiteY221" fmla="*/ 213512 h 218081"/>
                    <a:gd name="connsiteX222" fmla="*/ 14952 w 273378"/>
                    <a:gd name="connsiteY222" fmla="*/ 184326 h 218081"/>
                    <a:gd name="connsiteX223" fmla="*/ 5442 w 273378"/>
                    <a:gd name="connsiteY223" fmla="*/ 189469 h 218081"/>
                    <a:gd name="connsiteX224" fmla="*/ 18780 w 273378"/>
                    <a:gd name="connsiteY224" fmla="*/ 200893 h 218081"/>
                    <a:gd name="connsiteX225" fmla="*/ 59448 w 273378"/>
                    <a:gd name="connsiteY225" fmla="*/ 207770 h 218081"/>
                    <a:gd name="connsiteX226" fmla="*/ 58252 w 273378"/>
                    <a:gd name="connsiteY226" fmla="*/ 203584 h 218081"/>
                    <a:gd name="connsiteX227" fmla="*/ 14952 w 273378"/>
                    <a:gd name="connsiteY227" fmla="*/ 184326 h 218081"/>
                    <a:gd name="connsiteX228" fmla="*/ 359 w 273378"/>
                    <a:gd name="connsiteY228" fmla="*/ 191862 h 218081"/>
                    <a:gd name="connsiteX229" fmla="*/ 4904 w 273378"/>
                    <a:gd name="connsiteY229" fmla="*/ 189410 h 218081"/>
                    <a:gd name="connsiteX230" fmla="*/ 957 w 273378"/>
                    <a:gd name="connsiteY230" fmla="*/ 186060 h 218081"/>
                    <a:gd name="connsiteX231" fmla="*/ 359 w 273378"/>
                    <a:gd name="connsiteY231" fmla="*/ 191862 h 21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273378" h="218081">
                      <a:moveTo>
                        <a:pt x="272542" y="52571"/>
                      </a:moveTo>
                      <a:lnTo>
                        <a:pt x="265484" y="74938"/>
                      </a:lnTo>
                      <a:lnTo>
                        <a:pt x="266860" y="81876"/>
                      </a:lnTo>
                      <a:cubicBezTo>
                        <a:pt x="266860" y="81936"/>
                        <a:pt x="266860" y="81996"/>
                        <a:pt x="266860" y="81996"/>
                      </a:cubicBezTo>
                      <a:cubicBezTo>
                        <a:pt x="266860" y="81996"/>
                        <a:pt x="266800" y="82056"/>
                        <a:pt x="266800" y="82056"/>
                      </a:cubicBezTo>
                      <a:cubicBezTo>
                        <a:pt x="266800" y="82056"/>
                        <a:pt x="266800" y="82056"/>
                        <a:pt x="266800" y="82056"/>
                      </a:cubicBezTo>
                      <a:lnTo>
                        <a:pt x="266800" y="82056"/>
                      </a:lnTo>
                      <a:cubicBezTo>
                        <a:pt x="266800" y="82056"/>
                        <a:pt x="266800" y="82056"/>
                        <a:pt x="266800" y="82056"/>
                      </a:cubicBezTo>
                      <a:cubicBezTo>
                        <a:pt x="266800" y="82056"/>
                        <a:pt x="266800" y="82056"/>
                        <a:pt x="266800" y="82056"/>
                      </a:cubicBezTo>
                      <a:lnTo>
                        <a:pt x="266800" y="82056"/>
                      </a:lnTo>
                      <a:lnTo>
                        <a:pt x="266800" y="82056"/>
                      </a:lnTo>
                      <a:lnTo>
                        <a:pt x="266800" y="82056"/>
                      </a:lnTo>
                      <a:lnTo>
                        <a:pt x="266800" y="82056"/>
                      </a:lnTo>
                      <a:lnTo>
                        <a:pt x="266800" y="82056"/>
                      </a:lnTo>
                      <a:cubicBezTo>
                        <a:pt x="266800" y="82056"/>
                        <a:pt x="266800" y="82056"/>
                        <a:pt x="266800" y="82056"/>
                      </a:cubicBezTo>
                      <a:lnTo>
                        <a:pt x="266800" y="82056"/>
                      </a:lnTo>
                      <a:cubicBezTo>
                        <a:pt x="266800" y="82056"/>
                        <a:pt x="266740" y="82056"/>
                        <a:pt x="266740" y="82056"/>
                      </a:cubicBezTo>
                      <a:lnTo>
                        <a:pt x="263391" y="81577"/>
                      </a:lnTo>
                      <a:lnTo>
                        <a:pt x="243236" y="145152"/>
                      </a:lnTo>
                      <a:cubicBezTo>
                        <a:pt x="243236" y="145152"/>
                        <a:pt x="243236" y="145152"/>
                        <a:pt x="243236" y="145152"/>
                      </a:cubicBezTo>
                      <a:lnTo>
                        <a:pt x="243236" y="145152"/>
                      </a:lnTo>
                      <a:lnTo>
                        <a:pt x="243236" y="145152"/>
                      </a:lnTo>
                      <a:cubicBezTo>
                        <a:pt x="243236" y="145152"/>
                        <a:pt x="243236" y="145152"/>
                        <a:pt x="243236" y="145152"/>
                      </a:cubicBezTo>
                      <a:lnTo>
                        <a:pt x="243236" y="145152"/>
                      </a:lnTo>
                      <a:cubicBezTo>
                        <a:pt x="243236" y="145152"/>
                        <a:pt x="243236" y="145152"/>
                        <a:pt x="243236" y="145212"/>
                      </a:cubicBezTo>
                      <a:lnTo>
                        <a:pt x="210880" y="182412"/>
                      </a:lnTo>
                      <a:lnTo>
                        <a:pt x="211179" y="187436"/>
                      </a:lnTo>
                      <a:cubicBezTo>
                        <a:pt x="211179" y="187496"/>
                        <a:pt x="211179" y="187556"/>
                        <a:pt x="211119" y="187556"/>
                      </a:cubicBezTo>
                      <a:cubicBezTo>
                        <a:pt x="211060" y="187556"/>
                        <a:pt x="211000" y="187615"/>
                        <a:pt x="210940" y="187556"/>
                      </a:cubicBezTo>
                      <a:lnTo>
                        <a:pt x="207651" y="186000"/>
                      </a:lnTo>
                      <a:lnTo>
                        <a:pt x="193955" y="201730"/>
                      </a:lnTo>
                      <a:cubicBezTo>
                        <a:pt x="193955" y="201730"/>
                        <a:pt x="193895" y="201790"/>
                        <a:pt x="193895" y="201790"/>
                      </a:cubicBezTo>
                      <a:lnTo>
                        <a:pt x="156456" y="209923"/>
                      </a:lnTo>
                      <a:lnTo>
                        <a:pt x="147006" y="216981"/>
                      </a:lnTo>
                      <a:cubicBezTo>
                        <a:pt x="146946" y="217040"/>
                        <a:pt x="146887" y="217040"/>
                        <a:pt x="146827" y="216981"/>
                      </a:cubicBezTo>
                      <a:lnTo>
                        <a:pt x="139052" y="213691"/>
                      </a:lnTo>
                      <a:lnTo>
                        <a:pt x="119375" y="217938"/>
                      </a:lnTo>
                      <a:cubicBezTo>
                        <a:pt x="119375" y="217938"/>
                        <a:pt x="119315" y="217938"/>
                        <a:pt x="119315" y="217938"/>
                      </a:cubicBezTo>
                      <a:lnTo>
                        <a:pt x="75238" y="210521"/>
                      </a:lnTo>
                      <a:lnTo>
                        <a:pt x="91505" y="217758"/>
                      </a:lnTo>
                      <a:cubicBezTo>
                        <a:pt x="91565" y="217818"/>
                        <a:pt x="91625" y="217878"/>
                        <a:pt x="91565" y="217997"/>
                      </a:cubicBezTo>
                      <a:cubicBezTo>
                        <a:pt x="91505" y="218057"/>
                        <a:pt x="91445" y="218117"/>
                        <a:pt x="91326" y="218057"/>
                      </a:cubicBezTo>
                      <a:lnTo>
                        <a:pt x="73922" y="210342"/>
                      </a:lnTo>
                      <a:lnTo>
                        <a:pt x="65190" y="208847"/>
                      </a:lnTo>
                      <a:lnTo>
                        <a:pt x="61482" y="213751"/>
                      </a:lnTo>
                      <a:cubicBezTo>
                        <a:pt x="61422" y="213811"/>
                        <a:pt x="61362" y="213811"/>
                        <a:pt x="61302" y="213811"/>
                      </a:cubicBezTo>
                      <a:cubicBezTo>
                        <a:pt x="61243" y="213811"/>
                        <a:pt x="61183" y="213751"/>
                        <a:pt x="61183" y="213691"/>
                      </a:cubicBezTo>
                      <a:lnTo>
                        <a:pt x="59508" y="207890"/>
                      </a:lnTo>
                      <a:lnTo>
                        <a:pt x="18660" y="201012"/>
                      </a:lnTo>
                      <a:cubicBezTo>
                        <a:pt x="18660" y="201012"/>
                        <a:pt x="18600" y="201012"/>
                        <a:pt x="18600" y="200952"/>
                      </a:cubicBezTo>
                      <a:lnTo>
                        <a:pt x="5143" y="189410"/>
                      </a:lnTo>
                      <a:lnTo>
                        <a:pt x="239" y="192101"/>
                      </a:lnTo>
                      <a:cubicBezTo>
                        <a:pt x="179" y="192101"/>
                        <a:pt x="120" y="192101"/>
                        <a:pt x="60" y="192101"/>
                      </a:cubicBezTo>
                      <a:cubicBezTo>
                        <a:pt x="0" y="192041"/>
                        <a:pt x="0" y="191981"/>
                        <a:pt x="0" y="191922"/>
                      </a:cubicBezTo>
                      <a:lnTo>
                        <a:pt x="658" y="185462"/>
                      </a:lnTo>
                      <a:cubicBezTo>
                        <a:pt x="658" y="185462"/>
                        <a:pt x="658" y="185462"/>
                        <a:pt x="658" y="185462"/>
                      </a:cubicBezTo>
                      <a:cubicBezTo>
                        <a:pt x="658" y="185402"/>
                        <a:pt x="718" y="185343"/>
                        <a:pt x="778" y="185343"/>
                      </a:cubicBezTo>
                      <a:cubicBezTo>
                        <a:pt x="837" y="185343"/>
                        <a:pt x="897" y="185343"/>
                        <a:pt x="957" y="185343"/>
                      </a:cubicBezTo>
                      <a:lnTo>
                        <a:pt x="5203" y="188991"/>
                      </a:lnTo>
                      <a:lnTo>
                        <a:pt x="14892" y="183728"/>
                      </a:lnTo>
                      <a:cubicBezTo>
                        <a:pt x="14952" y="183728"/>
                        <a:pt x="15012" y="183728"/>
                        <a:pt x="15012" y="183728"/>
                      </a:cubicBezTo>
                      <a:lnTo>
                        <a:pt x="58132" y="202866"/>
                      </a:lnTo>
                      <a:lnTo>
                        <a:pt x="50298" y="175654"/>
                      </a:lnTo>
                      <a:cubicBezTo>
                        <a:pt x="50298" y="175594"/>
                        <a:pt x="50298" y="175534"/>
                        <a:pt x="50358" y="175475"/>
                      </a:cubicBezTo>
                      <a:cubicBezTo>
                        <a:pt x="50417" y="175415"/>
                        <a:pt x="50477" y="175415"/>
                        <a:pt x="50537" y="175475"/>
                      </a:cubicBezTo>
                      <a:lnTo>
                        <a:pt x="80321" y="188213"/>
                      </a:lnTo>
                      <a:lnTo>
                        <a:pt x="114710" y="142461"/>
                      </a:lnTo>
                      <a:cubicBezTo>
                        <a:pt x="114770" y="142401"/>
                        <a:pt x="114830" y="142401"/>
                        <a:pt x="114889" y="142401"/>
                      </a:cubicBezTo>
                      <a:lnTo>
                        <a:pt x="195809" y="180080"/>
                      </a:lnTo>
                      <a:lnTo>
                        <a:pt x="209744" y="169673"/>
                      </a:lnTo>
                      <a:lnTo>
                        <a:pt x="203883" y="73144"/>
                      </a:lnTo>
                      <a:cubicBezTo>
                        <a:pt x="203883" y="73084"/>
                        <a:pt x="203883" y="73025"/>
                        <a:pt x="203942" y="73025"/>
                      </a:cubicBezTo>
                      <a:cubicBezTo>
                        <a:pt x="204002" y="72965"/>
                        <a:pt x="204002" y="72965"/>
                        <a:pt x="204062" y="72965"/>
                      </a:cubicBezTo>
                      <a:lnTo>
                        <a:pt x="252626" y="79663"/>
                      </a:lnTo>
                      <a:cubicBezTo>
                        <a:pt x="252925" y="77570"/>
                        <a:pt x="253224" y="75477"/>
                        <a:pt x="253523" y="73384"/>
                      </a:cubicBezTo>
                      <a:lnTo>
                        <a:pt x="224756" y="54604"/>
                      </a:lnTo>
                      <a:cubicBezTo>
                        <a:pt x="224696" y="54544"/>
                        <a:pt x="224636" y="54425"/>
                        <a:pt x="224696" y="54365"/>
                      </a:cubicBezTo>
                      <a:cubicBezTo>
                        <a:pt x="224756" y="54305"/>
                        <a:pt x="224815" y="54245"/>
                        <a:pt x="224935" y="54305"/>
                      </a:cubicBezTo>
                      <a:lnTo>
                        <a:pt x="253582" y="72965"/>
                      </a:lnTo>
                      <a:cubicBezTo>
                        <a:pt x="254241" y="68479"/>
                        <a:pt x="254898" y="63994"/>
                        <a:pt x="255556" y="59628"/>
                      </a:cubicBezTo>
                      <a:lnTo>
                        <a:pt x="242817" y="34090"/>
                      </a:lnTo>
                      <a:cubicBezTo>
                        <a:pt x="242817" y="34030"/>
                        <a:pt x="242817" y="34030"/>
                        <a:pt x="242817" y="33971"/>
                      </a:cubicBezTo>
                      <a:cubicBezTo>
                        <a:pt x="242817" y="33911"/>
                        <a:pt x="242877" y="33911"/>
                        <a:pt x="242937" y="33851"/>
                      </a:cubicBezTo>
                      <a:lnTo>
                        <a:pt x="256095" y="29365"/>
                      </a:lnTo>
                      <a:lnTo>
                        <a:pt x="254121" y="19378"/>
                      </a:lnTo>
                      <a:cubicBezTo>
                        <a:pt x="254121" y="19318"/>
                        <a:pt x="254121" y="19258"/>
                        <a:pt x="254181" y="19258"/>
                      </a:cubicBezTo>
                      <a:cubicBezTo>
                        <a:pt x="254241" y="19198"/>
                        <a:pt x="254300" y="19198"/>
                        <a:pt x="254300" y="19198"/>
                      </a:cubicBezTo>
                      <a:lnTo>
                        <a:pt x="261178" y="20753"/>
                      </a:lnTo>
                      <a:cubicBezTo>
                        <a:pt x="262972" y="8553"/>
                        <a:pt x="264109" y="479"/>
                        <a:pt x="264168" y="120"/>
                      </a:cubicBezTo>
                      <a:cubicBezTo>
                        <a:pt x="264168" y="120"/>
                        <a:pt x="264168" y="120"/>
                        <a:pt x="264168" y="120"/>
                      </a:cubicBezTo>
                      <a:cubicBezTo>
                        <a:pt x="264168" y="60"/>
                        <a:pt x="264228" y="0"/>
                        <a:pt x="264348" y="0"/>
                      </a:cubicBezTo>
                      <a:cubicBezTo>
                        <a:pt x="264408" y="0"/>
                        <a:pt x="264467" y="60"/>
                        <a:pt x="264527" y="120"/>
                      </a:cubicBezTo>
                      <a:lnTo>
                        <a:pt x="267936" y="22308"/>
                      </a:lnTo>
                      <a:lnTo>
                        <a:pt x="273259" y="23504"/>
                      </a:lnTo>
                      <a:cubicBezTo>
                        <a:pt x="273319" y="23504"/>
                        <a:pt x="273379" y="23564"/>
                        <a:pt x="273379" y="23624"/>
                      </a:cubicBezTo>
                      <a:cubicBezTo>
                        <a:pt x="273379" y="23684"/>
                        <a:pt x="273319" y="23743"/>
                        <a:pt x="273259" y="23803"/>
                      </a:cubicBezTo>
                      <a:lnTo>
                        <a:pt x="268415" y="25478"/>
                      </a:lnTo>
                      <a:lnTo>
                        <a:pt x="272542" y="52331"/>
                      </a:lnTo>
                      <a:cubicBezTo>
                        <a:pt x="272542" y="52511"/>
                        <a:pt x="272542" y="52571"/>
                        <a:pt x="272542" y="52571"/>
                      </a:cubicBezTo>
                      <a:cubicBezTo>
                        <a:pt x="272542" y="52571"/>
                        <a:pt x="272542" y="52571"/>
                        <a:pt x="272542" y="52571"/>
                      </a:cubicBezTo>
                      <a:close/>
                      <a:moveTo>
                        <a:pt x="260401" y="28408"/>
                      </a:moveTo>
                      <a:cubicBezTo>
                        <a:pt x="259862" y="32236"/>
                        <a:pt x="259264" y="36363"/>
                        <a:pt x="258606" y="40669"/>
                      </a:cubicBezTo>
                      <a:lnTo>
                        <a:pt x="265305" y="74281"/>
                      </a:lnTo>
                      <a:lnTo>
                        <a:pt x="272183" y="52511"/>
                      </a:lnTo>
                      <a:lnTo>
                        <a:pt x="268056" y="25777"/>
                      </a:lnTo>
                      <a:lnTo>
                        <a:pt x="260401" y="28408"/>
                      </a:lnTo>
                      <a:close/>
                      <a:moveTo>
                        <a:pt x="263869" y="79903"/>
                      </a:moveTo>
                      <a:lnTo>
                        <a:pt x="266262" y="81458"/>
                      </a:lnTo>
                      <a:lnTo>
                        <a:pt x="264527" y="77929"/>
                      </a:lnTo>
                      <a:lnTo>
                        <a:pt x="263869" y="79903"/>
                      </a:lnTo>
                      <a:close/>
                      <a:moveTo>
                        <a:pt x="264647" y="77450"/>
                      </a:moveTo>
                      <a:lnTo>
                        <a:pt x="266262" y="80740"/>
                      </a:lnTo>
                      <a:lnTo>
                        <a:pt x="265245" y="75537"/>
                      </a:lnTo>
                      <a:lnTo>
                        <a:pt x="264647" y="77450"/>
                      </a:lnTo>
                      <a:close/>
                      <a:moveTo>
                        <a:pt x="263451" y="81278"/>
                      </a:moveTo>
                      <a:lnTo>
                        <a:pt x="266022" y="81637"/>
                      </a:lnTo>
                      <a:lnTo>
                        <a:pt x="263810" y="80201"/>
                      </a:lnTo>
                      <a:lnTo>
                        <a:pt x="263451" y="81278"/>
                      </a:lnTo>
                      <a:close/>
                      <a:moveTo>
                        <a:pt x="255855" y="59748"/>
                      </a:moveTo>
                      <a:lnTo>
                        <a:pt x="264467" y="77032"/>
                      </a:lnTo>
                      <a:lnTo>
                        <a:pt x="265126" y="74879"/>
                      </a:lnTo>
                      <a:lnTo>
                        <a:pt x="258487" y="41626"/>
                      </a:lnTo>
                      <a:cubicBezTo>
                        <a:pt x="257650" y="47427"/>
                        <a:pt x="256752" y="53528"/>
                        <a:pt x="255855" y="59748"/>
                      </a:cubicBezTo>
                      <a:close/>
                      <a:moveTo>
                        <a:pt x="253822" y="73324"/>
                      </a:moveTo>
                      <a:lnTo>
                        <a:pt x="263570" y="79663"/>
                      </a:lnTo>
                      <a:lnTo>
                        <a:pt x="264288" y="77450"/>
                      </a:lnTo>
                      <a:lnTo>
                        <a:pt x="255736" y="60286"/>
                      </a:lnTo>
                      <a:cubicBezTo>
                        <a:pt x="255137" y="64592"/>
                        <a:pt x="254480" y="68958"/>
                        <a:pt x="253822" y="73324"/>
                      </a:cubicBezTo>
                      <a:close/>
                      <a:moveTo>
                        <a:pt x="252925" y="79843"/>
                      </a:moveTo>
                      <a:lnTo>
                        <a:pt x="263152" y="81218"/>
                      </a:lnTo>
                      <a:lnTo>
                        <a:pt x="263511" y="79962"/>
                      </a:lnTo>
                      <a:lnTo>
                        <a:pt x="253822" y="73623"/>
                      </a:lnTo>
                      <a:cubicBezTo>
                        <a:pt x="253523" y="75776"/>
                        <a:pt x="253224" y="77809"/>
                        <a:pt x="252925" y="79843"/>
                      </a:cubicBezTo>
                      <a:close/>
                      <a:moveTo>
                        <a:pt x="243595" y="142939"/>
                      </a:moveTo>
                      <a:lnTo>
                        <a:pt x="263032" y="81577"/>
                      </a:lnTo>
                      <a:lnTo>
                        <a:pt x="252865" y="80201"/>
                      </a:lnTo>
                      <a:cubicBezTo>
                        <a:pt x="248738" y="108431"/>
                        <a:pt x="244791" y="135105"/>
                        <a:pt x="243595" y="142939"/>
                      </a:cubicBezTo>
                      <a:close/>
                      <a:moveTo>
                        <a:pt x="268355" y="25358"/>
                      </a:moveTo>
                      <a:lnTo>
                        <a:pt x="272661" y="23923"/>
                      </a:lnTo>
                      <a:lnTo>
                        <a:pt x="267996" y="22846"/>
                      </a:lnTo>
                      <a:lnTo>
                        <a:pt x="268355" y="25358"/>
                      </a:lnTo>
                      <a:close/>
                      <a:moveTo>
                        <a:pt x="261417" y="21351"/>
                      </a:moveTo>
                      <a:cubicBezTo>
                        <a:pt x="261118" y="23445"/>
                        <a:pt x="260759" y="25717"/>
                        <a:pt x="260460" y="28050"/>
                      </a:cubicBezTo>
                      <a:lnTo>
                        <a:pt x="268056" y="25478"/>
                      </a:lnTo>
                      <a:lnTo>
                        <a:pt x="267637" y="22787"/>
                      </a:lnTo>
                      <a:lnTo>
                        <a:pt x="261417" y="21351"/>
                      </a:lnTo>
                      <a:close/>
                      <a:moveTo>
                        <a:pt x="261477" y="21052"/>
                      </a:moveTo>
                      <a:lnTo>
                        <a:pt x="267577" y="22428"/>
                      </a:lnTo>
                      <a:lnTo>
                        <a:pt x="264348" y="1435"/>
                      </a:lnTo>
                      <a:cubicBezTo>
                        <a:pt x="263869" y="4187"/>
                        <a:pt x="262853" y="11364"/>
                        <a:pt x="261477" y="21052"/>
                      </a:cubicBezTo>
                      <a:close/>
                      <a:moveTo>
                        <a:pt x="204182" y="73503"/>
                      </a:moveTo>
                      <a:lnTo>
                        <a:pt x="210043" y="169613"/>
                      </a:lnTo>
                      <a:lnTo>
                        <a:pt x="242937" y="145032"/>
                      </a:lnTo>
                      <a:cubicBezTo>
                        <a:pt x="242937" y="144973"/>
                        <a:pt x="242937" y="144913"/>
                        <a:pt x="242997" y="144853"/>
                      </a:cubicBezTo>
                      <a:cubicBezTo>
                        <a:pt x="243535" y="141803"/>
                        <a:pt x="247961" y="111899"/>
                        <a:pt x="252566" y="80142"/>
                      </a:cubicBezTo>
                      <a:lnTo>
                        <a:pt x="204182" y="73503"/>
                      </a:lnTo>
                      <a:close/>
                      <a:moveTo>
                        <a:pt x="210761" y="181993"/>
                      </a:moveTo>
                      <a:lnTo>
                        <a:pt x="241920" y="146169"/>
                      </a:lnTo>
                      <a:lnTo>
                        <a:pt x="210043" y="169972"/>
                      </a:lnTo>
                      <a:lnTo>
                        <a:pt x="210761" y="181993"/>
                      </a:lnTo>
                      <a:close/>
                      <a:moveTo>
                        <a:pt x="256095" y="29844"/>
                      </a:moveTo>
                      <a:lnTo>
                        <a:pt x="243116" y="34270"/>
                      </a:lnTo>
                      <a:lnTo>
                        <a:pt x="255556" y="59209"/>
                      </a:lnTo>
                      <a:cubicBezTo>
                        <a:pt x="256513" y="52810"/>
                        <a:pt x="257410" y="46590"/>
                        <a:pt x="258248" y="40669"/>
                      </a:cubicBezTo>
                      <a:lnTo>
                        <a:pt x="256095" y="29844"/>
                      </a:lnTo>
                      <a:close/>
                      <a:moveTo>
                        <a:pt x="256394" y="29784"/>
                      </a:moveTo>
                      <a:lnTo>
                        <a:pt x="258367" y="39772"/>
                      </a:lnTo>
                      <a:cubicBezTo>
                        <a:pt x="258965" y="35825"/>
                        <a:pt x="259504" y="32117"/>
                        <a:pt x="259982" y="28588"/>
                      </a:cubicBezTo>
                      <a:lnTo>
                        <a:pt x="256394" y="29784"/>
                      </a:lnTo>
                      <a:close/>
                      <a:moveTo>
                        <a:pt x="254420" y="19736"/>
                      </a:moveTo>
                      <a:lnTo>
                        <a:pt x="256334" y="29425"/>
                      </a:lnTo>
                      <a:lnTo>
                        <a:pt x="260102" y="28169"/>
                      </a:lnTo>
                      <a:cubicBezTo>
                        <a:pt x="260460" y="25777"/>
                        <a:pt x="260759" y="23445"/>
                        <a:pt x="261118" y="21292"/>
                      </a:cubicBezTo>
                      <a:lnTo>
                        <a:pt x="254420" y="19736"/>
                      </a:lnTo>
                      <a:close/>
                      <a:moveTo>
                        <a:pt x="207830" y="185881"/>
                      </a:moveTo>
                      <a:lnTo>
                        <a:pt x="210761" y="187257"/>
                      </a:lnTo>
                      <a:lnTo>
                        <a:pt x="210522" y="182831"/>
                      </a:lnTo>
                      <a:lnTo>
                        <a:pt x="207830" y="185881"/>
                      </a:lnTo>
                      <a:close/>
                      <a:moveTo>
                        <a:pt x="196108" y="180438"/>
                      </a:moveTo>
                      <a:lnTo>
                        <a:pt x="207531" y="185761"/>
                      </a:lnTo>
                      <a:lnTo>
                        <a:pt x="210462" y="182352"/>
                      </a:lnTo>
                      <a:lnTo>
                        <a:pt x="209744" y="170211"/>
                      </a:lnTo>
                      <a:lnTo>
                        <a:pt x="196108" y="180438"/>
                      </a:lnTo>
                      <a:close/>
                      <a:moveTo>
                        <a:pt x="157054" y="209624"/>
                      </a:moveTo>
                      <a:lnTo>
                        <a:pt x="193716" y="201670"/>
                      </a:lnTo>
                      <a:lnTo>
                        <a:pt x="207352" y="186000"/>
                      </a:lnTo>
                      <a:lnTo>
                        <a:pt x="195869" y="180618"/>
                      </a:lnTo>
                      <a:lnTo>
                        <a:pt x="157054" y="209624"/>
                      </a:lnTo>
                      <a:close/>
                      <a:moveTo>
                        <a:pt x="80560" y="188572"/>
                      </a:moveTo>
                      <a:lnTo>
                        <a:pt x="139052" y="213512"/>
                      </a:lnTo>
                      <a:lnTo>
                        <a:pt x="156276" y="209744"/>
                      </a:lnTo>
                      <a:lnTo>
                        <a:pt x="195510" y="180438"/>
                      </a:lnTo>
                      <a:lnTo>
                        <a:pt x="114830" y="142939"/>
                      </a:lnTo>
                      <a:lnTo>
                        <a:pt x="80560" y="188572"/>
                      </a:lnTo>
                      <a:close/>
                      <a:moveTo>
                        <a:pt x="146827" y="216801"/>
                      </a:moveTo>
                      <a:lnTo>
                        <a:pt x="155678" y="210223"/>
                      </a:lnTo>
                      <a:lnTo>
                        <a:pt x="139590" y="213691"/>
                      </a:lnTo>
                      <a:lnTo>
                        <a:pt x="146827" y="216801"/>
                      </a:lnTo>
                      <a:close/>
                      <a:moveTo>
                        <a:pt x="66745" y="206933"/>
                      </a:moveTo>
                      <a:lnTo>
                        <a:pt x="73982" y="210163"/>
                      </a:lnTo>
                      <a:lnTo>
                        <a:pt x="119256" y="217758"/>
                      </a:lnTo>
                      <a:lnTo>
                        <a:pt x="138454" y="213572"/>
                      </a:lnTo>
                      <a:lnTo>
                        <a:pt x="80321" y="188752"/>
                      </a:lnTo>
                      <a:lnTo>
                        <a:pt x="66745" y="206933"/>
                      </a:lnTo>
                      <a:close/>
                      <a:moveTo>
                        <a:pt x="58491" y="203285"/>
                      </a:moveTo>
                      <a:lnTo>
                        <a:pt x="66446" y="206813"/>
                      </a:lnTo>
                      <a:lnTo>
                        <a:pt x="80082" y="188692"/>
                      </a:lnTo>
                      <a:lnTo>
                        <a:pt x="50657" y="176132"/>
                      </a:lnTo>
                      <a:lnTo>
                        <a:pt x="58491" y="203285"/>
                      </a:lnTo>
                      <a:close/>
                      <a:moveTo>
                        <a:pt x="65429" y="208727"/>
                      </a:moveTo>
                      <a:lnTo>
                        <a:pt x="72725" y="209983"/>
                      </a:lnTo>
                      <a:lnTo>
                        <a:pt x="66565" y="207232"/>
                      </a:lnTo>
                      <a:lnTo>
                        <a:pt x="65429" y="208727"/>
                      </a:lnTo>
                      <a:close/>
                      <a:moveTo>
                        <a:pt x="59747" y="207770"/>
                      </a:moveTo>
                      <a:lnTo>
                        <a:pt x="65010" y="208667"/>
                      </a:lnTo>
                      <a:lnTo>
                        <a:pt x="66207" y="207112"/>
                      </a:lnTo>
                      <a:lnTo>
                        <a:pt x="58551" y="203704"/>
                      </a:lnTo>
                      <a:lnTo>
                        <a:pt x="59747" y="207770"/>
                      </a:lnTo>
                      <a:close/>
                      <a:moveTo>
                        <a:pt x="61422" y="213512"/>
                      </a:moveTo>
                      <a:lnTo>
                        <a:pt x="64831" y="208966"/>
                      </a:lnTo>
                      <a:lnTo>
                        <a:pt x="59867" y="208129"/>
                      </a:lnTo>
                      <a:lnTo>
                        <a:pt x="61422" y="213512"/>
                      </a:lnTo>
                      <a:close/>
                      <a:moveTo>
                        <a:pt x="14952" y="184326"/>
                      </a:moveTo>
                      <a:lnTo>
                        <a:pt x="5442" y="189469"/>
                      </a:lnTo>
                      <a:lnTo>
                        <a:pt x="18780" y="200893"/>
                      </a:lnTo>
                      <a:lnTo>
                        <a:pt x="59448" y="207770"/>
                      </a:lnTo>
                      <a:lnTo>
                        <a:pt x="58252" y="203584"/>
                      </a:lnTo>
                      <a:lnTo>
                        <a:pt x="14952" y="184326"/>
                      </a:lnTo>
                      <a:close/>
                      <a:moveTo>
                        <a:pt x="359" y="191862"/>
                      </a:moveTo>
                      <a:lnTo>
                        <a:pt x="4904" y="189410"/>
                      </a:lnTo>
                      <a:lnTo>
                        <a:pt x="957" y="186060"/>
                      </a:lnTo>
                      <a:lnTo>
                        <a:pt x="359" y="191862"/>
                      </a:lnTo>
                      <a:close/>
                    </a:path>
                  </a:pathLst>
                </a:custGeom>
                <a:grpFill/>
                <a:ln w="6350" cap="flat">
                  <a:solidFill>
                    <a:schemeClr val="bg1">
                      <a:alpha val="40000"/>
                    </a:schemeClr>
                  </a:solidFill>
                  <a:prstDash val="solid"/>
                  <a:miter/>
                </a:ln>
              </p:spPr>
              <p:txBody>
                <a:bodyPr rtlCol="0" anchor="ctr"/>
                <a:lstStyle/>
                <a:p>
                  <a:endParaRPr lang="en-GB"/>
                </a:p>
              </p:txBody>
            </p:sp>
            <p:sp>
              <p:nvSpPr>
                <p:cNvPr id="8892" name="Vrije vorm: vorm 8891">
                  <a:extLst>
                    <a:ext uri="{FF2B5EF4-FFF2-40B4-BE49-F238E27FC236}">
                      <a16:creationId xmlns:a16="http://schemas.microsoft.com/office/drawing/2014/main" id="{956719C4-635B-4CD4-8641-0D53279CD54E}"/>
                    </a:ext>
                  </a:extLst>
                </p:cNvPr>
                <p:cNvSpPr/>
                <p:nvPr/>
              </p:nvSpPr>
              <p:spPr>
                <a:xfrm>
                  <a:off x="4352191" y="2626295"/>
                  <a:ext cx="167400" cy="51279"/>
                </a:xfrm>
                <a:custGeom>
                  <a:avLst/>
                  <a:gdLst>
                    <a:gd name="connsiteX0" fmla="*/ 167400 w 167400"/>
                    <a:gd name="connsiteY0" fmla="*/ 179 h 51279"/>
                    <a:gd name="connsiteX1" fmla="*/ 167400 w 167400"/>
                    <a:gd name="connsiteY1" fmla="*/ 120 h 51279"/>
                    <a:gd name="connsiteX2" fmla="*/ 167221 w 167400"/>
                    <a:gd name="connsiteY2" fmla="*/ 0 h 51279"/>
                    <a:gd name="connsiteX3" fmla="*/ 120 w 167400"/>
                    <a:gd name="connsiteY3" fmla="*/ 46829 h 51279"/>
                    <a:gd name="connsiteX4" fmla="*/ 0 w 167400"/>
                    <a:gd name="connsiteY4" fmla="*/ 47008 h 51279"/>
                    <a:gd name="connsiteX5" fmla="*/ 180 w 167400"/>
                    <a:gd name="connsiteY5" fmla="*/ 47128 h 51279"/>
                    <a:gd name="connsiteX6" fmla="*/ 165486 w 167400"/>
                    <a:gd name="connsiteY6" fmla="*/ 777 h 51279"/>
                    <a:gd name="connsiteX7" fmla="*/ 58013 w 167400"/>
                    <a:gd name="connsiteY7" fmla="*/ 50956 h 51279"/>
                    <a:gd name="connsiteX8" fmla="*/ 57953 w 167400"/>
                    <a:gd name="connsiteY8" fmla="*/ 51195 h 51279"/>
                    <a:gd name="connsiteX9" fmla="*/ 58192 w 167400"/>
                    <a:gd name="connsiteY9" fmla="*/ 51255 h 51279"/>
                    <a:gd name="connsiteX10" fmla="*/ 167400 w 167400"/>
                    <a:gd name="connsiteY10" fmla="*/ 299 h 51279"/>
                    <a:gd name="connsiteX11" fmla="*/ 167400 w 167400"/>
                    <a:gd name="connsiteY11" fmla="*/ 179 h 5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400" h="51279">
                      <a:moveTo>
                        <a:pt x="167400" y="179"/>
                      </a:moveTo>
                      <a:cubicBezTo>
                        <a:pt x="167400" y="179"/>
                        <a:pt x="167400" y="120"/>
                        <a:pt x="167400" y="120"/>
                      </a:cubicBezTo>
                      <a:cubicBezTo>
                        <a:pt x="167400" y="60"/>
                        <a:pt x="167281" y="0"/>
                        <a:pt x="167221" y="0"/>
                      </a:cubicBezTo>
                      <a:cubicBezTo>
                        <a:pt x="165606" y="359"/>
                        <a:pt x="6878" y="44975"/>
                        <a:pt x="120" y="46829"/>
                      </a:cubicBezTo>
                      <a:cubicBezTo>
                        <a:pt x="60" y="46829"/>
                        <a:pt x="0" y="46949"/>
                        <a:pt x="0" y="47008"/>
                      </a:cubicBezTo>
                      <a:cubicBezTo>
                        <a:pt x="0" y="47068"/>
                        <a:pt x="120" y="47128"/>
                        <a:pt x="180" y="47128"/>
                      </a:cubicBezTo>
                      <a:cubicBezTo>
                        <a:pt x="1734" y="46709"/>
                        <a:pt x="147484" y="5741"/>
                        <a:pt x="165486" y="777"/>
                      </a:cubicBezTo>
                      <a:lnTo>
                        <a:pt x="58013" y="50956"/>
                      </a:lnTo>
                      <a:cubicBezTo>
                        <a:pt x="57953" y="51016"/>
                        <a:pt x="57893" y="51075"/>
                        <a:pt x="57953" y="51195"/>
                      </a:cubicBezTo>
                      <a:cubicBezTo>
                        <a:pt x="58013" y="51255"/>
                        <a:pt x="58073" y="51315"/>
                        <a:pt x="58192" y="51255"/>
                      </a:cubicBezTo>
                      <a:lnTo>
                        <a:pt x="167400" y="299"/>
                      </a:lnTo>
                      <a:cubicBezTo>
                        <a:pt x="167341" y="239"/>
                        <a:pt x="167400" y="179"/>
                        <a:pt x="167400"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93" name="Vrije vorm: vorm 8892">
                  <a:extLst>
                    <a:ext uri="{FF2B5EF4-FFF2-40B4-BE49-F238E27FC236}">
                      <a16:creationId xmlns:a16="http://schemas.microsoft.com/office/drawing/2014/main" id="{23AB21E6-1DDA-4542-857C-EDC35D8D3ADD}"/>
                    </a:ext>
                  </a:extLst>
                </p:cNvPr>
                <p:cNvSpPr/>
                <p:nvPr/>
              </p:nvSpPr>
              <p:spPr>
                <a:xfrm>
                  <a:off x="4278149" y="2558353"/>
                  <a:ext cx="266919" cy="119375"/>
                </a:xfrm>
                <a:custGeom>
                  <a:avLst/>
                  <a:gdLst>
                    <a:gd name="connsiteX0" fmla="*/ 266860 w 266919"/>
                    <a:gd name="connsiteY0" fmla="*/ 23684 h 119375"/>
                    <a:gd name="connsiteX1" fmla="*/ 255975 w 266919"/>
                    <a:gd name="connsiteY1" fmla="*/ 46291 h 119375"/>
                    <a:gd name="connsiteX2" fmla="*/ 241382 w 266919"/>
                    <a:gd name="connsiteY2" fmla="*/ 68121 h 119375"/>
                    <a:gd name="connsiteX3" fmla="*/ 232710 w 266919"/>
                    <a:gd name="connsiteY3" fmla="*/ 81039 h 119375"/>
                    <a:gd name="connsiteX4" fmla="*/ 232710 w 266919"/>
                    <a:gd name="connsiteY4" fmla="*/ 81099 h 119375"/>
                    <a:gd name="connsiteX5" fmla="*/ 223858 w 266919"/>
                    <a:gd name="connsiteY5" fmla="*/ 88754 h 119375"/>
                    <a:gd name="connsiteX6" fmla="*/ 206694 w 266919"/>
                    <a:gd name="connsiteY6" fmla="*/ 103048 h 119375"/>
                    <a:gd name="connsiteX7" fmla="*/ 206694 w 266919"/>
                    <a:gd name="connsiteY7" fmla="*/ 103048 h 119375"/>
                    <a:gd name="connsiteX8" fmla="*/ 206694 w 266919"/>
                    <a:gd name="connsiteY8" fmla="*/ 103048 h 119375"/>
                    <a:gd name="connsiteX9" fmla="*/ 206694 w 266919"/>
                    <a:gd name="connsiteY9" fmla="*/ 103048 h 119375"/>
                    <a:gd name="connsiteX10" fmla="*/ 206694 w 266919"/>
                    <a:gd name="connsiteY10" fmla="*/ 103048 h 119375"/>
                    <a:gd name="connsiteX11" fmla="*/ 206694 w 266919"/>
                    <a:gd name="connsiteY11" fmla="*/ 103048 h 119375"/>
                    <a:gd name="connsiteX12" fmla="*/ 206634 w 266919"/>
                    <a:gd name="connsiteY12" fmla="*/ 103048 h 119375"/>
                    <a:gd name="connsiteX13" fmla="*/ 181515 w 266919"/>
                    <a:gd name="connsiteY13" fmla="*/ 113155 h 119375"/>
                    <a:gd name="connsiteX14" fmla="*/ 159626 w 266919"/>
                    <a:gd name="connsiteY14" fmla="*/ 118299 h 119375"/>
                    <a:gd name="connsiteX15" fmla="*/ 132054 w 266919"/>
                    <a:gd name="connsiteY15" fmla="*/ 119256 h 119375"/>
                    <a:gd name="connsiteX16" fmla="*/ 132054 w 266919"/>
                    <a:gd name="connsiteY16" fmla="*/ 119256 h 119375"/>
                    <a:gd name="connsiteX17" fmla="*/ 104125 w 266919"/>
                    <a:gd name="connsiteY17" fmla="*/ 119375 h 119375"/>
                    <a:gd name="connsiteX18" fmla="*/ 74101 w 266919"/>
                    <a:gd name="connsiteY18" fmla="*/ 115129 h 119375"/>
                    <a:gd name="connsiteX19" fmla="*/ 74041 w 266919"/>
                    <a:gd name="connsiteY19" fmla="*/ 115129 h 119375"/>
                    <a:gd name="connsiteX20" fmla="*/ 49820 w 266919"/>
                    <a:gd name="connsiteY20" fmla="*/ 109208 h 119375"/>
                    <a:gd name="connsiteX21" fmla="*/ 31339 w 266919"/>
                    <a:gd name="connsiteY21" fmla="*/ 102330 h 119375"/>
                    <a:gd name="connsiteX22" fmla="*/ 12799 w 266919"/>
                    <a:gd name="connsiteY22" fmla="*/ 93479 h 119375"/>
                    <a:gd name="connsiteX23" fmla="*/ 12739 w 266919"/>
                    <a:gd name="connsiteY23" fmla="*/ 93479 h 119375"/>
                    <a:gd name="connsiteX24" fmla="*/ 60 w 266919"/>
                    <a:gd name="connsiteY24" fmla="*/ 81577 h 119375"/>
                    <a:gd name="connsiteX25" fmla="*/ 0 w 266919"/>
                    <a:gd name="connsiteY25" fmla="*/ 81398 h 119375"/>
                    <a:gd name="connsiteX26" fmla="*/ 180 w 266919"/>
                    <a:gd name="connsiteY26" fmla="*/ 81278 h 119375"/>
                    <a:gd name="connsiteX27" fmla="*/ 41925 w 266919"/>
                    <a:gd name="connsiteY27" fmla="*/ 82474 h 119375"/>
                    <a:gd name="connsiteX28" fmla="*/ 42045 w 266919"/>
                    <a:gd name="connsiteY28" fmla="*/ 82534 h 119375"/>
                    <a:gd name="connsiteX29" fmla="*/ 73982 w 266919"/>
                    <a:gd name="connsiteY29" fmla="*/ 114710 h 119375"/>
                    <a:gd name="connsiteX30" fmla="*/ 78766 w 266919"/>
                    <a:gd name="connsiteY30" fmla="*/ 71171 h 119375"/>
                    <a:gd name="connsiteX31" fmla="*/ 78766 w 266919"/>
                    <a:gd name="connsiteY31" fmla="*/ 71171 h 119375"/>
                    <a:gd name="connsiteX32" fmla="*/ 78886 w 266919"/>
                    <a:gd name="connsiteY32" fmla="*/ 71051 h 119375"/>
                    <a:gd name="connsiteX33" fmla="*/ 79065 w 266919"/>
                    <a:gd name="connsiteY33" fmla="*/ 71111 h 119375"/>
                    <a:gd name="connsiteX34" fmla="*/ 122665 w 266919"/>
                    <a:gd name="connsiteY34" fmla="*/ 110524 h 119375"/>
                    <a:gd name="connsiteX35" fmla="*/ 206395 w 266919"/>
                    <a:gd name="connsiteY35" fmla="*/ 102928 h 119375"/>
                    <a:gd name="connsiteX36" fmla="*/ 187914 w 266919"/>
                    <a:gd name="connsiteY36" fmla="*/ 239 h 119375"/>
                    <a:gd name="connsiteX37" fmla="*/ 187974 w 266919"/>
                    <a:gd name="connsiteY37" fmla="*/ 60 h 119375"/>
                    <a:gd name="connsiteX38" fmla="*/ 188154 w 266919"/>
                    <a:gd name="connsiteY38" fmla="*/ 0 h 119375"/>
                    <a:gd name="connsiteX39" fmla="*/ 266800 w 266919"/>
                    <a:gd name="connsiteY39" fmla="*/ 23624 h 119375"/>
                    <a:gd name="connsiteX40" fmla="*/ 266920 w 266919"/>
                    <a:gd name="connsiteY40" fmla="*/ 23684 h 119375"/>
                    <a:gd name="connsiteX41" fmla="*/ 266860 w 266919"/>
                    <a:gd name="connsiteY41" fmla="*/ 23684 h 119375"/>
                    <a:gd name="connsiteX42" fmla="*/ 266860 w 266919"/>
                    <a:gd name="connsiteY42" fmla="*/ 23684 h 119375"/>
                    <a:gd name="connsiteX43" fmla="*/ 206694 w 266919"/>
                    <a:gd name="connsiteY43" fmla="*/ 102569 h 119375"/>
                    <a:gd name="connsiteX44" fmla="*/ 223679 w 266919"/>
                    <a:gd name="connsiteY44" fmla="*/ 88455 h 119375"/>
                    <a:gd name="connsiteX45" fmla="*/ 232531 w 266919"/>
                    <a:gd name="connsiteY45" fmla="*/ 80859 h 119375"/>
                    <a:gd name="connsiteX46" fmla="*/ 241203 w 266919"/>
                    <a:gd name="connsiteY46" fmla="*/ 68001 h 119375"/>
                    <a:gd name="connsiteX47" fmla="*/ 255796 w 266919"/>
                    <a:gd name="connsiteY47" fmla="*/ 46171 h 119375"/>
                    <a:gd name="connsiteX48" fmla="*/ 266621 w 266919"/>
                    <a:gd name="connsiteY48" fmla="*/ 23743 h 119375"/>
                    <a:gd name="connsiteX49" fmla="*/ 188393 w 266919"/>
                    <a:gd name="connsiteY49" fmla="*/ 239 h 119375"/>
                    <a:gd name="connsiteX50" fmla="*/ 206694 w 266919"/>
                    <a:gd name="connsiteY50" fmla="*/ 102569 h 119375"/>
                    <a:gd name="connsiteX51" fmla="*/ 132114 w 266919"/>
                    <a:gd name="connsiteY51" fmla="*/ 118897 h 119375"/>
                    <a:gd name="connsiteX52" fmla="*/ 159566 w 266919"/>
                    <a:gd name="connsiteY52" fmla="*/ 117940 h 119375"/>
                    <a:gd name="connsiteX53" fmla="*/ 181395 w 266919"/>
                    <a:gd name="connsiteY53" fmla="*/ 112797 h 119375"/>
                    <a:gd name="connsiteX54" fmla="*/ 205498 w 266919"/>
                    <a:gd name="connsiteY54" fmla="*/ 103108 h 119375"/>
                    <a:gd name="connsiteX55" fmla="*/ 123024 w 266919"/>
                    <a:gd name="connsiteY55" fmla="*/ 110643 h 119375"/>
                    <a:gd name="connsiteX56" fmla="*/ 132114 w 266919"/>
                    <a:gd name="connsiteY56" fmla="*/ 118897 h 119375"/>
                    <a:gd name="connsiteX57" fmla="*/ 75537 w 266919"/>
                    <a:gd name="connsiteY57" fmla="*/ 114949 h 119375"/>
                    <a:gd name="connsiteX58" fmla="*/ 104184 w 266919"/>
                    <a:gd name="connsiteY58" fmla="*/ 118957 h 119375"/>
                    <a:gd name="connsiteX59" fmla="*/ 131636 w 266919"/>
                    <a:gd name="connsiteY59" fmla="*/ 118837 h 119375"/>
                    <a:gd name="connsiteX60" fmla="*/ 122545 w 266919"/>
                    <a:gd name="connsiteY60" fmla="*/ 110643 h 119375"/>
                    <a:gd name="connsiteX61" fmla="*/ 75537 w 266919"/>
                    <a:gd name="connsiteY61" fmla="*/ 114949 h 119375"/>
                    <a:gd name="connsiteX62" fmla="*/ 74340 w 266919"/>
                    <a:gd name="connsiteY62" fmla="*/ 114770 h 119375"/>
                    <a:gd name="connsiteX63" fmla="*/ 122246 w 266919"/>
                    <a:gd name="connsiteY63" fmla="*/ 110404 h 119375"/>
                    <a:gd name="connsiteX64" fmla="*/ 79125 w 266919"/>
                    <a:gd name="connsiteY64" fmla="*/ 71410 h 119375"/>
                    <a:gd name="connsiteX65" fmla="*/ 74340 w 266919"/>
                    <a:gd name="connsiteY65" fmla="*/ 114770 h 119375"/>
                    <a:gd name="connsiteX66" fmla="*/ 658 w 266919"/>
                    <a:gd name="connsiteY66" fmla="*/ 81517 h 119375"/>
                    <a:gd name="connsiteX67" fmla="*/ 13038 w 266919"/>
                    <a:gd name="connsiteY67" fmla="*/ 93060 h 119375"/>
                    <a:gd name="connsiteX68" fmla="*/ 31519 w 266919"/>
                    <a:gd name="connsiteY68" fmla="*/ 101912 h 119375"/>
                    <a:gd name="connsiteX69" fmla="*/ 49999 w 266919"/>
                    <a:gd name="connsiteY69" fmla="*/ 108789 h 119375"/>
                    <a:gd name="connsiteX70" fmla="*/ 73623 w 266919"/>
                    <a:gd name="connsiteY70" fmla="*/ 114591 h 119375"/>
                    <a:gd name="connsiteX71" fmla="*/ 41925 w 266919"/>
                    <a:gd name="connsiteY71" fmla="*/ 82654 h 119375"/>
                    <a:gd name="connsiteX72" fmla="*/ 658 w 266919"/>
                    <a:gd name="connsiteY72" fmla="*/ 81517 h 11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6919" h="119375">
                      <a:moveTo>
                        <a:pt x="266860" y="23684"/>
                      </a:moveTo>
                      <a:lnTo>
                        <a:pt x="255975" y="46291"/>
                      </a:lnTo>
                      <a:lnTo>
                        <a:pt x="241382" y="68121"/>
                      </a:lnTo>
                      <a:lnTo>
                        <a:pt x="232710" y="81039"/>
                      </a:lnTo>
                      <a:cubicBezTo>
                        <a:pt x="232710" y="81039"/>
                        <a:pt x="232710" y="81039"/>
                        <a:pt x="232710" y="81099"/>
                      </a:cubicBezTo>
                      <a:lnTo>
                        <a:pt x="223858" y="88754"/>
                      </a:lnTo>
                      <a:lnTo>
                        <a:pt x="206694" y="103048"/>
                      </a:lnTo>
                      <a:cubicBezTo>
                        <a:pt x="206694" y="103048"/>
                        <a:pt x="206694" y="103048"/>
                        <a:pt x="206694" y="103048"/>
                      </a:cubicBezTo>
                      <a:lnTo>
                        <a:pt x="206694" y="103048"/>
                      </a:lnTo>
                      <a:lnTo>
                        <a:pt x="206694" y="103048"/>
                      </a:lnTo>
                      <a:lnTo>
                        <a:pt x="206694" y="103048"/>
                      </a:lnTo>
                      <a:lnTo>
                        <a:pt x="206694" y="103048"/>
                      </a:lnTo>
                      <a:cubicBezTo>
                        <a:pt x="206694" y="103048"/>
                        <a:pt x="206694" y="103048"/>
                        <a:pt x="206634" y="103048"/>
                      </a:cubicBezTo>
                      <a:lnTo>
                        <a:pt x="181515" y="113155"/>
                      </a:lnTo>
                      <a:lnTo>
                        <a:pt x="159626" y="118299"/>
                      </a:lnTo>
                      <a:lnTo>
                        <a:pt x="132054" y="119256"/>
                      </a:lnTo>
                      <a:cubicBezTo>
                        <a:pt x="132054" y="119256"/>
                        <a:pt x="132054" y="119256"/>
                        <a:pt x="132054" y="119256"/>
                      </a:cubicBezTo>
                      <a:lnTo>
                        <a:pt x="104125" y="119375"/>
                      </a:lnTo>
                      <a:lnTo>
                        <a:pt x="74101" y="115129"/>
                      </a:lnTo>
                      <a:cubicBezTo>
                        <a:pt x="74101" y="115129"/>
                        <a:pt x="74101" y="115129"/>
                        <a:pt x="74041" y="115129"/>
                      </a:cubicBezTo>
                      <a:lnTo>
                        <a:pt x="49820" y="109208"/>
                      </a:lnTo>
                      <a:lnTo>
                        <a:pt x="31339" y="102330"/>
                      </a:lnTo>
                      <a:lnTo>
                        <a:pt x="12799" y="93479"/>
                      </a:lnTo>
                      <a:cubicBezTo>
                        <a:pt x="12799" y="93479"/>
                        <a:pt x="12799" y="93479"/>
                        <a:pt x="12739" y="93479"/>
                      </a:cubicBezTo>
                      <a:lnTo>
                        <a:pt x="60" y="81577"/>
                      </a:lnTo>
                      <a:cubicBezTo>
                        <a:pt x="0" y="81517"/>
                        <a:pt x="0" y="81457"/>
                        <a:pt x="0" y="81398"/>
                      </a:cubicBezTo>
                      <a:cubicBezTo>
                        <a:pt x="0" y="81338"/>
                        <a:pt x="60" y="81278"/>
                        <a:pt x="180" y="81278"/>
                      </a:cubicBezTo>
                      <a:lnTo>
                        <a:pt x="41925" y="82474"/>
                      </a:lnTo>
                      <a:cubicBezTo>
                        <a:pt x="41985" y="82474"/>
                        <a:pt x="41985" y="82474"/>
                        <a:pt x="42045" y="82534"/>
                      </a:cubicBezTo>
                      <a:lnTo>
                        <a:pt x="73982" y="114710"/>
                      </a:lnTo>
                      <a:lnTo>
                        <a:pt x="78766" y="71171"/>
                      </a:lnTo>
                      <a:cubicBezTo>
                        <a:pt x="78766" y="71171"/>
                        <a:pt x="78766" y="71171"/>
                        <a:pt x="78766" y="71171"/>
                      </a:cubicBezTo>
                      <a:cubicBezTo>
                        <a:pt x="78766" y="71111"/>
                        <a:pt x="78826" y="71051"/>
                        <a:pt x="78886" y="71051"/>
                      </a:cubicBezTo>
                      <a:cubicBezTo>
                        <a:pt x="78946" y="71051"/>
                        <a:pt x="79005" y="71051"/>
                        <a:pt x="79065" y="71111"/>
                      </a:cubicBezTo>
                      <a:lnTo>
                        <a:pt x="122665" y="110524"/>
                      </a:lnTo>
                      <a:lnTo>
                        <a:pt x="206395" y="102928"/>
                      </a:lnTo>
                      <a:lnTo>
                        <a:pt x="187914" y="239"/>
                      </a:lnTo>
                      <a:cubicBezTo>
                        <a:pt x="187914" y="179"/>
                        <a:pt x="187914" y="120"/>
                        <a:pt x="187974" y="60"/>
                      </a:cubicBezTo>
                      <a:cubicBezTo>
                        <a:pt x="188034" y="0"/>
                        <a:pt x="188094" y="0"/>
                        <a:pt x="188154" y="0"/>
                      </a:cubicBezTo>
                      <a:lnTo>
                        <a:pt x="266800" y="23624"/>
                      </a:lnTo>
                      <a:cubicBezTo>
                        <a:pt x="266860" y="23624"/>
                        <a:pt x="266860" y="23684"/>
                        <a:pt x="266920" y="23684"/>
                      </a:cubicBezTo>
                      <a:cubicBezTo>
                        <a:pt x="266920" y="23564"/>
                        <a:pt x="266920" y="23624"/>
                        <a:pt x="266860" y="23684"/>
                      </a:cubicBezTo>
                      <a:cubicBezTo>
                        <a:pt x="266920" y="23684"/>
                        <a:pt x="266920" y="23684"/>
                        <a:pt x="266860" y="23684"/>
                      </a:cubicBezTo>
                      <a:close/>
                      <a:moveTo>
                        <a:pt x="206694" y="102569"/>
                      </a:moveTo>
                      <a:lnTo>
                        <a:pt x="223679" y="88455"/>
                      </a:lnTo>
                      <a:lnTo>
                        <a:pt x="232531" y="80859"/>
                      </a:lnTo>
                      <a:lnTo>
                        <a:pt x="241203" y="68001"/>
                      </a:lnTo>
                      <a:lnTo>
                        <a:pt x="255796" y="46171"/>
                      </a:lnTo>
                      <a:lnTo>
                        <a:pt x="266621" y="23743"/>
                      </a:lnTo>
                      <a:lnTo>
                        <a:pt x="188393" y="239"/>
                      </a:lnTo>
                      <a:lnTo>
                        <a:pt x="206694" y="102569"/>
                      </a:lnTo>
                      <a:close/>
                      <a:moveTo>
                        <a:pt x="132114" y="118897"/>
                      </a:moveTo>
                      <a:lnTo>
                        <a:pt x="159566" y="117940"/>
                      </a:lnTo>
                      <a:lnTo>
                        <a:pt x="181395" y="112797"/>
                      </a:lnTo>
                      <a:lnTo>
                        <a:pt x="205498" y="103108"/>
                      </a:lnTo>
                      <a:lnTo>
                        <a:pt x="123024" y="110643"/>
                      </a:lnTo>
                      <a:lnTo>
                        <a:pt x="132114" y="118897"/>
                      </a:lnTo>
                      <a:close/>
                      <a:moveTo>
                        <a:pt x="75537" y="114949"/>
                      </a:moveTo>
                      <a:lnTo>
                        <a:pt x="104184" y="118957"/>
                      </a:lnTo>
                      <a:lnTo>
                        <a:pt x="131636" y="118837"/>
                      </a:lnTo>
                      <a:lnTo>
                        <a:pt x="122545" y="110643"/>
                      </a:lnTo>
                      <a:lnTo>
                        <a:pt x="75537" y="114949"/>
                      </a:lnTo>
                      <a:close/>
                      <a:moveTo>
                        <a:pt x="74340" y="114770"/>
                      </a:moveTo>
                      <a:lnTo>
                        <a:pt x="122246" y="110404"/>
                      </a:lnTo>
                      <a:lnTo>
                        <a:pt x="79125" y="71410"/>
                      </a:lnTo>
                      <a:lnTo>
                        <a:pt x="74340" y="114770"/>
                      </a:lnTo>
                      <a:close/>
                      <a:moveTo>
                        <a:pt x="658" y="81517"/>
                      </a:moveTo>
                      <a:lnTo>
                        <a:pt x="13038" y="93060"/>
                      </a:lnTo>
                      <a:lnTo>
                        <a:pt x="31519" y="101912"/>
                      </a:lnTo>
                      <a:lnTo>
                        <a:pt x="49999" y="108789"/>
                      </a:lnTo>
                      <a:lnTo>
                        <a:pt x="73623" y="114591"/>
                      </a:lnTo>
                      <a:lnTo>
                        <a:pt x="41925" y="82654"/>
                      </a:lnTo>
                      <a:lnTo>
                        <a:pt x="658" y="81517"/>
                      </a:lnTo>
                      <a:close/>
                    </a:path>
                  </a:pathLst>
                </a:custGeom>
                <a:grpFill/>
                <a:ln w="6350" cap="flat">
                  <a:solidFill>
                    <a:schemeClr val="bg1">
                      <a:alpha val="40000"/>
                    </a:schemeClr>
                  </a:solidFill>
                  <a:prstDash val="solid"/>
                  <a:miter/>
                </a:ln>
              </p:spPr>
              <p:txBody>
                <a:bodyPr rtlCol="0" anchor="ctr"/>
                <a:lstStyle/>
                <a:p>
                  <a:endParaRPr lang="en-GB"/>
                </a:p>
              </p:txBody>
            </p:sp>
            <p:sp>
              <p:nvSpPr>
                <p:cNvPr id="8894" name="Vrije vorm: vorm 8893">
                  <a:extLst>
                    <a:ext uri="{FF2B5EF4-FFF2-40B4-BE49-F238E27FC236}">
                      <a16:creationId xmlns:a16="http://schemas.microsoft.com/office/drawing/2014/main" id="{F680D459-B55D-48AB-8049-D45928F89400}"/>
                    </a:ext>
                  </a:extLst>
                </p:cNvPr>
                <p:cNvSpPr/>
                <p:nvPr/>
              </p:nvSpPr>
              <p:spPr>
                <a:xfrm>
                  <a:off x="4341127" y="2544134"/>
                  <a:ext cx="118657" cy="127320"/>
                </a:xfrm>
                <a:custGeom>
                  <a:avLst/>
                  <a:gdLst>
                    <a:gd name="connsiteX0" fmla="*/ 118657 w 118657"/>
                    <a:gd name="connsiteY0" fmla="*/ 127195 h 127320"/>
                    <a:gd name="connsiteX1" fmla="*/ 118538 w 118657"/>
                    <a:gd name="connsiteY1" fmla="*/ 127016 h 127320"/>
                    <a:gd name="connsiteX2" fmla="*/ 359 w 118657"/>
                    <a:gd name="connsiteY2" fmla="*/ 91071 h 127320"/>
                    <a:gd name="connsiteX3" fmla="*/ 12739 w 118657"/>
                    <a:gd name="connsiteY3" fmla="*/ 35092 h 127320"/>
                    <a:gd name="connsiteX4" fmla="*/ 17464 w 118657"/>
                    <a:gd name="connsiteY4" fmla="*/ 48070 h 127320"/>
                    <a:gd name="connsiteX5" fmla="*/ 22846 w 118657"/>
                    <a:gd name="connsiteY5" fmla="*/ 61587 h 127320"/>
                    <a:gd name="connsiteX6" fmla="*/ 22966 w 118657"/>
                    <a:gd name="connsiteY6" fmla="*/ 61347 h 127320"/>
                    <a:gd name="connsiteX7" fmla="*/ 11543 w 118657"/>
                    <a:gd name="connsiteY7" fmla="*/ 9435 h 127320"/>
                    <a:gd name="connsiteX8" fmla="*/ 19019 w 118657"/>
                    <a:gd name="connsiteY8" fmla="*/ 284 h 127320"/>
                    <a:gd name="connsiteX9" fmla="*/ 19019 w 118657"/>
                    <a:gd name="connsiteY9" fmla="*/ 45 h 127320"/>
                    <a:gd name="connsiteX10" fmla="*/ 18779 w 118657"/>
                    <a:gd name="connsiteY10" fmla="*/ 45 h 127320"/>
                    <a:gd name="connsiteX11" fmla="*/ 11244 w 118657"/>
                    <a:gd name="connsiteY11" fmla="*/ 9255 h 127320"/>
                    <a:gd name="connsiteX12" fmla="*/ 11184 w 118657"/>
                    <a:gd name="connsiteY12" fmla="*/ 9375 h 127320"/>
                    <a:gd name="connsiteX13" fmla="*/ 22368 w 118657"/>
                    <a:gd name="connsiteY13" fmla="*/ 60151 h 127320"/>
                    <a:gd name="connsiteX14" fmla="*/ 12858 w 118657"/>
                    <a:gd name="connsiteY14" fmla="*/ 34374 h 127320"/>
                    <a:gd name="connsiteX15" fmla="*/ 12679 w 118657"/>
                    <a:gd name="connsiteY15" fmla="*/ 34255 h 127320"/>
                    <a:gd name="connsiteX16" fmla="*/ 12559 w 118657"/>
                    <a:gd name="connsiteY16" fmla="*/ 34374 h 127320"/>
                    <a:gd name="connsiteX17" fmla="*/ 0 w 118657"/>
                    <a:gd name="connsiteY17" fmla="*/ 91071 h 127320"/>
                    <a:gd name="connsiteX18" fmla="*/ 0 w 118657"/>
                    <a:gd name="connsiteY18" fmla="*/ 91071 h 127320"/>
                    <a:gd name="connsiteX19" fmla="*/ 119 w 118657"/>
                    <a:gd name="connsiteY19" fmla="*/ 91251 h 127320"/>
                    <a:gd name="connsiteX20" fmla="*/ 118418 w 118657"/>
                    <a:gd name="connsiteY20" fmla="*/ 127255 h 127320"/>
                    <a:gd name="connsiteX21" fmla="*/ 118657 w 118657"/>
                    <a:gd name="connsiteY21" fmla="*/ 127195 h 127320"/>
                    <a:gd name="connsiteX22" fmla="*/ 118657 w 118657"/>
                    <a:gd name="connsiteY22" fmla="*/ 127195 h 127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657" h="127320">
                      <a:moveTo>
                        <a:pt x="118657" y="127195"/>
                      </a:moveTo>
                      <a:cubicBezTo>
                        <a:pt x="118657" y="127135"/>
                        <a:pt x="118597" y="127016"/>
                        <a:pt x="118538" y="127016"/>
                      </a:cubicBezTo>
                      <a:lnTo>
                        <a:pt x="359" y="91071"/>
                      </a:lnTo>
                      <a:lnTo>
                        <a:pt x="12739" y="35092"/>
                      </a:lnTo>
                      <a:cubicBezTo>
                        <a:pt x="13337" y="36826"/>
                        <a:pt x="15370" y="42448"/>
                        <a:pt x="17464" y="48070"/>
                      </a:cubicBezTo>
                      <a:cubicBezTo>
                        <a:pt x="22428" y="61646"/>
                        <a:pt x="22607" y="61646"/>
                        <a:pt x="22846" y="61587"/>
                      </a:cubicBezTo>
                      <a:cubicBezTo>
                        <a:pt x="22906" y="61587"/>
                        <a:pt x="22966" y="61527"/>
                        <a:pt x="22966" y="61347"/>
                      </a:cubicBezTo>
                      <a:lnTo>
                        <a:pt x="11543" y="9435"/>
                      </a:lnTo>
                      <a:lnTo>
                        <a:pt x="19019" y="284"/>
                      </a:lnTo>
                      <a:cubicBezTo>
                        <a:pt x="19079" y="224"/>
                        <a:pt x="19079" y="105"/>
                        <a:pt x="19019" y="45"/>
                      </a:cubicBezTo>
                      <a:cubicBezTo>
                        <a:pt x="18959" y="-15"/>
                        <a:pt x="18839" y="-15"/>
                        <a:pt x="18779" y="45"/>
                      </a:cubicBezTo>
                      <a:lnTo>
                        <a:pt x="11244" y="9255"/>
                      </a:lnTo>
                      <a:cubicBezTo>
                        <a:pt x="11184" y="9315"/>
                        <a:pt x="11184" y="9315"/>
                        <a:pt x="11184" y="9375"/>
                      </a:cubicBezTo>
                      <a:lnTo>
                        <a:pt x="22368" y="60151"/>
                      </a:lnTo>
                      <a:cubicBezTo>
                        <a:pt x="20813" y="56383"/>
                        <a:pt x="16088" y="43405"/>
                        <a:pt x="12858" y="34374"/>
                      </a:cubicBezTo>
                      <a:cubicBezTo>
                        <a:pt x="12858" y="34314"/>
                        <a:pt x="12739" y="34255"/>
                        <a:pt x="12679" y="34255"/>
                      </a:cubicBezTo>
                      <a:cubicBezTo>
                        <a:pt x="12619" y="34255"/>
                        <a:pt x="12559" y="34314"/>
                        <a:pt x="12559" y="34374"/>
                      </a:cubicBezTo>
                      <a:lnTo>
                        <a:pt x="0" y="91071"/>
                      </a:lnTo>
                      <a:cubicBezTo>
                        <a:pt x="0" y="91071"/>
                        <a:pt x="0" y="91071"/>
                        <a:pt x="0" y="91071"/>
                      </a:cubicBezTo>
                      <a:cubicBezTo>
                        <a:pt x="0" y="91131"/>
                        <a:pt x="60" y="91251"/>
                        <a:pt x="119" y="91251"/>
                      </a:cubicBezTo>
                      <a:lnTo>
                        <a:pt x="118418" y="127255"/>
                      </a:lnTo>
                      <a:cubicBezTo>
                        <a:pt x="118538" y="127375"/>
                        <a:pt x="118657" y="127315"/>
                        <a:pt x="118657" y="127195"/>
                      </a:cubicBezTo>
                      <a:cubicBezTo>
                        <a:pt x="118657" y="127195"/>
                        <a:pt x="118657" y="127195"/>
                        <a:pt x="118657" y="12719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95" name="Vrije vorm: vorm 8894">
                  <a:extLst>
                    <a:ext uri="{FF2B5EF4-FFF2-40B4-BE49-F238E27FC236}">
                      <a16:creationId xmlns:a16="http://schemas.microsoft.com/office/drawing/2014/main" id="{E8F1C216-65E5-4C7B-9269-EBA28D25CDB0}"/>
                    </a:ext>
                  </a:extLst>
                </p:cNvPr>
                <p:cNvSpPr/>
                <p:nvPr/>
              </p:nvSpPr>
              <p:spPr>
                <a:xfrm>
                  <a:off x="4278149" y="2587480"/>
                  <a:ext cx="79089" cy="57773"/>
                </a:xfrm>
                <a:custGeom>
                  <a:avLst/>
                  <a:gdLst>
                    <a:gd name="connsiteX0" fmla="*/ 79005 w 79089"/>
                    <a:gd name="connsiteY0" fmla="*/ 42104 h 57773"/>
                    <a:gd name="connsiteX1" fmla="*/ 63276 w 79089"/>
                    <a:gd name="connsiteY1" fmla="*/ 45872 h 57773"/>
                    <a:gd name="connsiteX2" fmla="*/ 63336 w 79089"/>
                    <a:gd name="connsiteY2" fmla="*/ 47846 h 57773"/>
                    <a:gd name="connsiteX3" fmla="*/ 63156 w 79089"/>
                    <a:gd name="connsiteY3" fmla="*/ 48025 h 57773"/>
                    <a:gd name="connsiteX4" fmla="*/ 50956 w 79089"/>
                    <a:gd name="connsiteY4" fmla="*/ 48863 h 57773"/>
                    <a:gd name="connsiteX5" fmla="*/ 29126 w 79089"/>
                    <a:gd name="connsiteY5" fmla="*/ 54126 h 57773"/>
                    <a:gd name="connsiteX6" fmla="*/ 27870 w 79089"/>
                    <a:gd name="connsiteY6" fmla="*/ 56159 h 57773"/>
                    <a:gd name="connsiteX7" fmla="*/ 27691 w 79089"/>
                    <a:gd name="connsiteY7" fmla="*/ 56219 h 57773"/>
                    <a:gd name="connsiteX8" fmla="*/ 24940 w 79089"/>
                    <a:gd name="connsiteY8" fmla="*/ 55083 h 57773"/>
                    <a:gd name="connsiteX9" fmla="*/ 13636 w 79089"/>
                    <a:gd name="connsiteY9" fmla="*/ 57774 h 57773"/>
                    <a:gd name="connsiteX10" fmla="*/ 13516 w 79089"/>
                    <a:gd name="connsiteY10" fmla="*/ 57774 h 57773"/>
                    <a:gd name="connsiteX11" fmla="*/ 13516 w 79089"/>
                    <a:gd name="connsiteY11" fmla="*/ 57774 h 57773"/>
                    <a:gd name="connsiteX12" fmla="*/ 13516 w 79089"/>
                    <a:gd name="connsiteY12" fmla="*/ 57774 h 57773"/>
                    <a:gd name="connsiteX13" fmla="*/ 13516 w 79089"/>
                    <a:gd name="connsiteY13" fmla="*/ 57774 h 57773"/>
                    <a:gd name="connsiteX14" fmla="*/ 13516 w 79089"/>
                    <a:gd name="connsiteY14" fmla="*/ 57774 h 57773"/>
                    <a:gd name="connsiteX15" fmla="*/ 13516 w 79089"/>
                    <a:gd name="connsiteY15" fmla="*/ 57774 h 57773"/>
                    <a:gd name="connsiteX16" fmla="*/ 13457 w 79089"/>
                    <a:gd name="connsiteY16" fmla="*/ 57774 h 57773"/>
                    <a:gd name="connsiteX17" fmla="*/ 7476 w 79089"/>
                    <a:gd name="connsiteY17" fmla="*/ 51853 h 57773"/>
                    <a:gd name="connsiteX18" fmla="*/ 180 w 79089"/>
                    <a:gd name="connsiteY18" fmla="*/ 52391 h 57773"/>
                    <a:gd name="connsiteX19" fmla="*/ 0 w 79089"/>
                    <a:gd name="connsiteY19" fmla="*/ 52272 h 57773"/>
                    <a:gd name="connsiteX20" fmla="*/ 60 w 79089"/>
                    <a:gd name="connsiteY20" fmla="*/ 52092 h 57773"/>
                    <a:gd name="connsiteX21" fmla="*/ 3828 w 79089"/>
                    <a:gd name="connsiteY21" fmla="*/ 48264 h 57773"/>
                    <a:gd name="connsiteX22" fmla="*/ 837 w 79089"/>
                    <a:gd name="connsiteY22" fmla="*/ 45274 h 57773"/>
                    <a:gd name="connsiteX23" fmla="*/ 837 w 79089"/>
                    <a:gd name="connsiteY23" fmla="*/ 45095 h 57773"/>
                    <a:gd name="connsiteX24" fmla="*/ 1017 w 79089"/>
                    <a:gd name="connsiteY24" fmla="*/ 45035 h 57773"/>
                    <a:gd name="connsiteX25" fmla="*/ 5323 w 79089"/>
                    <a:gd name="connsiteY25" fmla="*/ 46769 h 57773"/>
                    <a:gd name="connsiteX26" fmla="*/ 28229 w 79089"/>
                    <a:gd name="connsiteY26" fmla="*/ 23205 h 57773"/>
                    <a:gd name="connsiteX27" fmla="*/ 28289 w 79089"/>
                    <a:gd name="connsiteY27" fmla="*/ 23205 h 57773"/>
                    <a:gd name="connsiteX28" fmla="*/ 28289 w 79089"/>
                    <a:gd name="connsiteY28" fmla="*/ 23205 h 57773"/>
                    <a:gd name="connsiteX29" fmla="*/ 28289 w 79089"/>
                    <a:gd name="connsiteY29" fmla="*/ 23205 h 57773"/>
                    <a:gd name="connsiteX30" fmla="*/ 28289 w 79089"/>
                    <a:gd name="connsiteY30" fmla="*/ 23205 h 57773"/>
                    <a:gd name="connsiteX31" fmla="*/ 28289 w 79089"/>
                    <a:gd name="connsiteY31" fmla="*/ 23205 h 57773"/>
                    <a:gd name="connsiteX32" fmla="*/ 28289 w 79089"/>
                    <a:gd name="connsiteY32" fmla="*/ 23205 h 57773"/>
                    <a:gd name="connsiteX33" fmla="*/ 28349 w 79089"/>
                    <a:gd name="connsiteY33" fmla="*/ 23205 h 57773"/>
                    <a:gd name="connsiteX34" fmla="*/ 28349 w 79089"/>
                    <a:gd name="connsiteY34" fmla="*/ 23205 h 57773"/>
                    <a:gd name="connsiteX35" fmla="*/ 44138 w 79089"/>
                    <a:gd name="connsiteY35" fmla="*/ 29007 h 57773"/>
                    <a:gd name="connsiteX36" fmla="*/ 61900 w 79089"/>
                    <a:gd name="connsiteY36" fmla="*/ 60 h 57773"/>
                    <a:gd name="connsiteX37" fmla="*/ 62080 w 79089"/>
                    <a:gd name="connsiteY37" fmla="*/ 0 h 57773"/>
                    <a:gd name="connsiteX38" fmla="*/ 62200 w 79089"/>
                    <a:gd name="connsiteY38" fmla="*/ 179 h 57773"/>
                    <a:gd name="connsiteX39" fmla="*/ 62977 w 79089"/>
                    <a:gd name="connsiteY39" fmla="*/ 35944 h 57773"/>
                    <a:gd name="connsiteX40" fmla="*/ 78946 w 79089"/>
                    <a:gd name="connsiteY40" fmla="*/ 41805 h 57773"/>
                    <a:gd name="connsiteX41" fmla="*/ 79065 w 79089"/>
                    <a:gd name="connsiteY41" fmla="*/ 41985 h 57773"/>
                    <a:gd name="connsiteX42" fmla="*/ 79065 w 79089"/>
                    <a:gd name="connsiteY42" fmla="*/ 41985 h 57773"/>
                    <a:gd name="connsiteX43" fmla="*/ 79005 w 79089"/>
                    <a:gd name="connsiteY43" fmla="*/ 42104 h 57773"/>
                    <a:gd name="connsiteX44" fmla="*/ 63276 w 79089"/>
                    <a:gd name="connsiteY44" fmla="*/ 45573 h 57773"/>
                    <a:gd name="connsiteX45" fmla="*/ 78407 w 79089"/>
                    <a:gd name="connsiteY45" fmla="*/ 41925 h 57773"/>
                    <a:gd name="connsiteX46" fmla="*/ 63037 w 79089"/>
                    <a:gd name="connsiteY46" fmla="*/ 36303 h 57773"/>
                    <a:gd name="connsiteX47" fmla="*/ 63276 w 79089"/>
                    <a:gd name="connsiteY47" fmla="*/ 45573 h 57773"/>
                    <a:gd name="connsiteX48" fmla="*/ 52870 w 79089"/>
                    <a:gd name="connsiteY48" fmla="*/ 48384 h 57773"/>
                    <a:gd name="connsiteX49" fmla="*/ 63037 w 79089"/>
                    <a:gd name="connsiteY49" fmla="*/ 47666 h 57773"/>
                    <a:gd name="connsiteX50" fmla="*/ 62977 w 79089"/>
                    <a:gd name="connsiteY50" fmla="*/ 45932 h 57773"/>
                    <a:gd name="connsiteX51" fmla="*/ 52870 w 79089"/>
                    <a:gd name="connsiteY51" fmla="*/ 48384 h 57773"/>
                    <a:gd name="connsiteX52" fmla="*/ 44317 w 79089"/>
                    <a:gd name="connsiteY52" fmla="*/ 29365 h 57773"/>
                    <a:gd name="connsiteX53" fmla="*/ 31698 w 79089"/>
                    <a:gd name="connsiteY53" fmla="*/ 49879 h 57773"/>
                    <a:gd name="connsiteX54" fmla="*/ 50896 w 79089"/>
                    <a:gd name="connsiteY54" fmla="*/ 48563 h 57773"/>
                    <a:gd name="connsiteX55" fmla="*/ 62977 w 79089"/>
                    <a:gd name="connsiteY55" fmla="*/ 45633 h 57773"/>
                    <a:gd name="connsiteX56" fmla="*/ 62738 w 79089"/>
                    <a:gd name="connsiteY56" fmla="*/ 36124 h 57773"/>
                    <a:gd name="connsiteX57" fmla="*/ 44317 w 79089"/>
                    <a:gd name="connsiteY57" fmla="*/ 29365 h 57773"/>
                    <a:gd name="connsiteX58" fmla="*/ 44497 w 79089"/>
                    <a:gd name="connsiteY58" fmla="*/ 29066 h 57773"/>
                    <a:gd name="connsiteX59" fmla="*/ 62738 w 79089"/>
                    <a:gd name="connsiteY59" fmla="*/ 35765 h 57773"/>
                    <a:gd name="connsiteX60" fmla="*/ 61960 w 79089"/>
                    <a:gd name="connsiteY60" fmla="*/ 658 h 57773"/>
                    <a:gd name="connsiteX61" fmla="*/ 44497 w 79089"/>
                    <a:gd name="connsiteY61" fmla="*/ 29066 h 57773"/>
                    <a:gd name="connsiteX62" fmla="*/ 29366 w 79089"/>
                    <a:gd name="connsiteY62" fmla="*/ 53707 h 57773"/>
                    <a:gd name="connsiteX63" fmla="*/ 49042 w 79089"/>
                    <a:gd name="connsiteY63" fmla="*/ 48982 h 57773"/>
                    <a:gd name="connsiteX64" fmla="*/ 31519 w 79089"/>
                    <a:gd name="connsiteY64" fmla="*/ 50178 h 57773"/>
                    <a:gd name="connsiteX65" fmla="*/ 29366 w 79089"/>
                    <a:gd name="connsiteY65" fmla="*/ 53707 h 57773"/>
                    <a:gd name="connsiteX66" fmla="*/ 16686 w 79089"/>
                    <a:gd name="connsiteY66" fmla="*/ 50896 h 57773"/>
                    <a:gd name="connsiteX67" fmla="*/ 31339 w 79089"/>
                    <a:gd name="connsiteY67" fmla="*/ 49879 h 57773"/>
                    <a:gd name="connsiteX68" fmla="*/ 44018 w 79089"/>
                    <a:gd name="connsiteY68" fmla="*/ 29246 h 57773"/>
                    <a:gd name="connsiteX69" fmla="*/ 28468 w 79089"/>
                    <a:gd name="connsiteY69" fmla="*/ 23504 h 57773"/>
                    <a:gd name="connsiteX70" fmla="*/ 16686 w 79089"/>
                    <a:gd name="connsiteY70" fmla="*/ 50896 h 57773"/>
                    <a:gd name="connsiteX71" fmla="*/ 16507 w 79089"/>
                    <a:gd name="connsiteY71" fmla="*/ 51374 h 57773"/>
                    <a:gd name="connsiteX72" fmla="*/ 24940 w 79089"/>
                    <a:gd name="connsiteY72" fmla="*/ 54783 h 57773"/>
                    <a:gd name="connsiteX73" fmla="*/ 28887 w 79089"/>
                    <a:gd name="connsiteY73" fmla="*/ 53826 h 57773"/>
                    <a:gd name="connsiteX74" fmla="*/ 31100 w 79089"/>
                    <a:gd name="connsiteY74" fmla="*/ 50238 h 57773"/>
                    <a:gd name="connsiteX75" fmla="*/ 16507 w 79089"/>
                    <a:gd name="connsiteY75" fmla="*/ 51255 h 57773"/>
                    <a:gd name="connsiteX76" fmla="*/ 16507 w 79089"/>
                    <a:gd name="connsiteY76" fmla="*/ 51374 h 57773"/>
                    <a:gd name="connsiteX77" fmla="*/ 27631 w 79089"/>
                    <a:gd name="connsiteY77" fmla="*/ 55860 h 57773"/>
                    <a:gd name="connsiteX78" fmla="*/ 28648 w 79089"/>
                    <a:gd name="connsiteY78" fmla="*/ 54185 h 57773"/>
                    <a:gd name="connsiteX79" fmla="*/ 25478 w 79089"/>
                    <a:gd name="connsiteY79" fmla="*/ 54963 h 57773"/>
                    <a:gd name="connsiteX80" fmla="*/ 27631 w 79089"/>
                    <a:gd name="connsiteY80" fmla="*/ 55860 h 57773"/>
                    <a:gd name="connsiteX81" fmla="*/ 13875 w 79089"/>
                    <a:gd name="connsiteY81" fmla="*/ 57475 h 57773"/>
                    <a:gd name="connsiteX82" fmla="*/ 24401 w 79089"/>
                    <a:gd name="connsiteY82" fmla="*/ 54963 h 57773"/>
                    <a:gd name="connsiteX83" fmla="*/ 16387 w 79089"/>
                    <a:gd name="connsiteY83" fmla="*/ 51674 h 57773"/>
                    <a:gd name="connsiteX84" fmla="*/ 13875 w 79089"/>
                    <a:gd name="connsiteY84" fmla="*/ 57475 h 57773"/>
                    <a:gd name="connsiteX85" fmla="*/ 15669 w 79089"/>
                    <a:gd name="connsiteY85" fmla="*/ 51016 h 57773"/>
                    <a:gd name="connsiteX86" fmla="*/ 16327 w 79089"/>
                    <a:gd name="connsiteY86" fmla="*/ 50956 h 57773"/>
                    <a:gd name="connsiteX87" fmla="*/ 27870 w 79089"/>
                    <a:gd name="connsiteY87" fmla="*/ 24102 h 57773"/>
                    <a:gd name="connsiteX88" fmla="*/ 5622 w 79089"/>
                    <a:gd name="connsiteY88" fmla="*/ 46949 h 57773"/>
                    <a:gd name="connsiteX89" fmla="*/ 15669 w 79089"/>
                    <a:gd name="connsiteY89" fmla="*/ 51016 h 57773"/>
                    <a:gd name="connsiteX90" fmla="*/ 7954 w 79089"/>
                    <a:gd name="connsiteY90" fmla="*/ 51853 h 57773"/>
                    <a:gd name="connsiteX91" fmla="*/ 13576 w 79089"/>
                    <a:gd name="connsiteY91" fmla="*/ 57415 h 57773"/>
                    <a:gd name="connsiteX92" fmla="*/ 16088 w 79089"/>
                    <a:gd name="connsiteY92" fmla="*/ 51554 h 57773"/>
                    <a:gd name="connsiteX93" fmla="*/ 15610 w 79089"/>
                    <a:gd name="connsiteY93" fmla="*/ 51374 h 57773"/>
                    <a:gd name="connsiteX94" fmla="*/ 7954 w 79089"/>
                    <a:gd name="connsiteY94" fmla="*/ 51853 h 57773"/>
                    <a:gd name="connsiteX95" fmla="*/ 4306 w 79089"/>
                    <a:gd name="connsiteY95" fmla="*/ 48264 h 57773"/>
                    <a:gd name="connsiteX96" fmla="*/ 7656 w 79089"/>
                    <a:gd name="connsiteY96" fmla="*/ 51554 h 57773"/>
                    <a:gd name="connsiteX97" fmla="*/ 14952 w 79089"/>
                    <a:gd name="connsiteY97" fmla="*/ 51075 h 57773"/>
                    <a:gd name="connsiteX98" fmla="*/ 5443 w 79089"/>
                    <a:gd name="connsiteY98" fmla="*/ 47188 h 57773"/>
                    <a:gd name="connsiteX99" fmla="*/ 4306 w 79089"/>
                    <a:gd name="connsiteY99" fmla="*/ 48264 h 57773"/>
                    <a:gd name="connsiteX100" fmla="*/ 658 w 79089"/>
                    <a:gd name="connsiteY100" fmla="*/ 52032 h 57773"/>
                    <a:gd name="connsiteX101" fmla="*/ 7237 w 79089"/>
                    <a:gd name="connsiteY101" fmla="*/ 51554 h 57773"/>
                    <a:gd name="connsiteX102" fmla="*/ 4127 w 79089"/>
                    <a:gd name="connsiteY102" fmla="*/ 48504 h 57773"/>
                    <a:gd name="connsiteX103" fmla="*/ 658 w 79089"/>
                    <a:gd name="connsiteY103" fmla="*/ 52032 h 57773"/>
                    <a:gd name="connsiteX104" fmla="*/ 4067 w 79089"/>
                    <a:gd name="connsiteY104" fmla="*/ 48025 h 57773"/>
                    <a:gd name="connsiteX105" fmla="*/ 5024 w 79089"/>
                    <a:gd name="connsiteY105" fmla="*/ 47009 h 57773"/>
                    <a:gd name="connsiteX106" fmla="*/ 1615 w 79089"/>
                    <a:gd name="connsiteY106" fmla="*/ 45633 h 57773"/>
                    <a:gd name="connsiteX107" fmla="*/ 4067 w 79089"/>
                    <a:gd name="connsiteY107" fmla="*/ 48025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79089" h="57773">
                      <a:moveTo>
                        <a:pt x="79005" y="42104"/>
                      </a:moveTo>
                      <a:lnTo>
                        <a:pt x="63276" y="45872"/>
                      </a:lnTo>
                      <a:lnTo>
                        <a:pt x="63336" y="47846"/>
                      </a:lnTo>
                      <a:cubicBezTo>
                        <a:pt x="63336" y="47906"/>
                        <a:pt x="63276" y="48025"/>
                        <a:pt x="63156" y="48025"/>
                      </a:cubicBezTo>
                      <a:lnTo>
                        <a:pt x="50956" y="48863"/>
                      </a:lnTo>
                      <a:lnTo>
                        <a:pt x="29126" y="54126"/>
                      </a:lnTo>
                      <a:lnTo>
                        <a:pt x="27870" y="56159"/>
                      </a:lnTo>
                      <a:cubicBezTo>
                        <a:pt x="27811" y="56219"/>
                        <a:pt x="27751" y="56279"/>
                        <a:pt x="27691" y="56219"/>
                      </a:cubicBezTo>
                      <a:lnTo>
                        <a:pt x="24940" y="55083"/>
                      </a:lnTo>
                      <a:lnTo>
                        <a:pt x="13636" y="57774"/>
                      </a:lnTo>
                      <a:cubicBezTo>
                        <a:pt x="13576" y="57774"/>
                        <a:pt x="13576" y="57774"/>
                        <a:pt x="13516" y="57774"/>
                      </a:cubicBezTo>
                      <a:lnTo>
                        <a:pt x="13516" y="57774"/>
                      </a:lnTo>
                      <a:lnTo>
                        <a:pt x="13516" y="57774"/>
                      </a:lnTo>
                      <a:cubicBezTo>
                        <a:pt x="13516" y="57774"/>
                        <a:pt x="13516" y="57774"/>
                        <a:pt x="13516" y="57774"/>
                      </a:cubicBezTo>
                      <a:lnTo>
                        <a:pt x="13516" y="57774"/>
                      </a:lnTo>
                      <a:lnTo>
                        <a:pt x="13516" y="57774"/>
                      </a:lnTo>
                      <a:cubicBezTo>
                        <a:pt x="13516" y="57774"/>
                        <a:pt x="13516" y="57774"/>
                        <a:pt x="13457" y="57774"/>
                      </a:cubicBezTo>
                      <a:lnTo>
                        <a:pt x="7476" y="51853"/>
                      </a:lnTo>
                      <a:lnTo>
                        <a:pt x="180" y="52391"/>
                      </a:lnTo>
                      <a:cubicBezTo>
                        <a:pt x="120" y="52391"/>
                        <a:pt x="60" y="52331"/>
                        <a:pt x="0" y="52272"/>
                      </a:cubicBezTo>
                      <a:cubicBezTo>
                        <a:pt x="0" y="52212"/>
                        <a:pt x="0" y="52152"/>
                        <a:pt x="60" y="52092"/>
                      </a:cubicBezTo>
                      <a:lnTo>
                        <a:pt x="3828" y="48264"/>
                      </a:lnTo>
                      <a:lnTo>
                        <a:pt x="837" y="45274"/>
                      </a:lnTo>
                      <a:cubicBezTo>
                        <a:pt x="778" y="45214"/>
                        <a:pt x="778" y="45155"/>
                        <a:pt x="837" y="45095"/>
                      </a:cubicBezTo>
                      <a:cubicBezTo>
                        <a:pt x="897" y="45035"/>
                        <a:pt x="957" y="44975"/>
                        <a:pt x="1017" y="45035"/>
                      </a:cubicBezTo>
                      <a:lnTo>
                        <a:pt x="5323" y="46769"/>
                      </a:lnTo>
                      <a:lnTo>
                        <a:pt x="28229" y="23205"/>
                      </a:lnTo>
                      <a:cubicBezTo>
                        <a:pt x="28229" y="23205"/>
                        <a:pt x="28229" y="23205"/>
                        <a:pt x="28289" y="23205"/>
                      </a:cubicBezTo>
                      <a:cubicBezTo>
                        <a:pt x="28289" y="23205"/>
                        <a:pt x="28289" y="23205"/>
                        <a:pt x="28289" y="23205"/>
                      </a:cubicBezTo>
                      <a:lnTo>
                        <a:pt x="28289" y="23205"/>
                      </a:lnTo>
                      <a:cubicBezTo>
                        <a:pt x="28289" y="23205"/>
                        <a:pt x="28289" y="23205"/>
                        <a:pt x="28289" y="23205"/>
                      </a:cubicBezTo>
                      <a:cubicBezTo>
                        <a:pt x="28289" y="23205"/>
                        <a:pt x="28289" y="23205"/>
                        <a:pt x="28289" y="23205"/>
                      </a:cubicBezTo>
                      <a:lnTo>
                        <a:pt x="28289" y="23205"/>
                      </a:lnTo>
                      <a:cubicBezTo>
                        <a:pt x="28289" y="23205"/>
                        <a:pt x="28349" y="23205"/>
                        <a:pt x="28349" y="23205"/>
                      </a:cubicBezTo>
                      <a:cubicBezTo>
                        <a:pt x="28349" y="23205"/>
                        <a:pt x="28349" y="23205"/>
                        <a:pt x="28349" y="23205"/>
                      </a:cubicBezTo>
                      <a:lnTo>
                        <a:pt x="44138" y="29007"/>
                      </a:lnTo>
                      <a:lnTo>
                        <a:pt x="61900" y="60"/>
                      </a:lnTo>
                      <a:cubicBezTo>
                        <a:pt x="61960" y="0"/>
                        <a:pt x="62020" y="0"/>
                        <a:pt x="62080" y="0"/>
                      </a:cubicBezTo>
                      <a:cubicBezTo>
                        <a:pt x="62140" y="0"/>
                        <a:pt x="62200" y="60"/>
                        <a:pt x="62200" y="179"/>
                      </a:cubicBezTo>
                      <a:lnTo>
                        <a:pt x="62977" y="35944"/>
                      </a:lnTo>
                      <a:lnTo>
                        <a:pt x="78946" y="41805"/>
                      </a:lnTo>
                      <a:cubicBezTo>
                        <a:pt x="79005" y="41805"/>
                        <a:pt x="79065" y="41865"/>
                        <a:pt x="79065" y="41985"/>
                      </a:cubicBezTo>
                      <a:cubicBezTo>
                        <a:pt x="79065" y="41985"/>
                        <a:pt x="79065" y="41985"/>
                        <a:pt x="79065" y="41985"/>
                      </a:cubicBezTo>
                      <a:cubicBezTo>
                        <a:pt x="79125" y="42044"/>
                        <a:pt x="79065" y="42044"/>
                        <a:pt x="79005" y="42104"/>
                      </a:cubicBezTo>
                      <a:close/>
                      <a:moveTo>
                        <a:pt x="63276" y="45573"/>
                      </a:moveTo>
                      <a:lnTo>
                        <a:pt x="78407" y="41925"/>
                      </a:lnTo>
                      <a:lnTo>
                        <a:pt x="63037" y="36303"/>
                      </a:lnTo>
                      <a:lnTo>
                        <a:pt x="63276" y="45573"/>
                      </a:lnTo>
                      <a:close/>
                      <a:moveTo>
                        <a:pt x="52870" y="48384"/>
                      </a:moveTo>
                      <a:lnTo>
                        <a:pt x="63037" y="47666"/>
                      </a:lnTo>
                      <a:lnTo>
                        <a:pt x="62977" y="45932"/>
                      </a:lnTo>
                      <a:lnTo>
                        <a:pt x="52870" y="48384"/>
                      </a:lnTo>
                      <a:close/>
                      <a:moveTo>
                        <a:pt x="44317" y="29365"/>
                      </a:moveTo>
                      <a:lnTo>
                        <a:pt x="31698" y="49879"/>
                      </a:lnTo>
                      <a:lnTo>
                        <a:pt x="50896" y="48563"/>
                      </a:lnTo>
                      <a:lnTo>
                        <a:pt x="62977" y="45633"/>
                      </a:lnTo>
                      <a:lnTo>
                        <a:pt x="62738" y="36124"/>
                      </a:lnTo>
                      <a:lnTo>
                        <a:pt x="44317" y="29365"/>
                      </a:lnTo>
                      <a:close/>
                      <a:moveTo>
                        <a:pt x="44497" y="29066"/>
                      </a:moveTo>
                      <a:lnTo>
                        <a:pt x="62738" y="35765"/>
                      </a:lnTo>
                      <a:lnTo>
                        <a:pt x="61960" y="658"/>
                      </a:lnTo>
                      <a:lnTo>
                        <a:pt x="44497" y="29066"/>
                      </a:lnTo>
                      <a:close/>
                      <a:moveTo>
                        <a:pt x="29366" y="53707"/>
                      </a:moveTo>
                      <a:lnTo>
                        <a:pt x="49042" y="48982"/>
                      </a:lnTo>
                      <a:lnTo>
                        <a:pt x="31519" y="50178"/>
                      </a:lnTo>
                      <a:lnTo>
                        <a:pt x="29366" y="53707"/>
                      </a:lnTo>
                      <a:close/>
                      <a:moveTo>
                        <a:pt x="16686" y="50896"/>
                      </a:moveTo>
                      <a:lnTo>
                        <a:pt x="31339" y="49879"/>
                      </a:lnTo>
                      <a:lnTo>
                        <a:pt x="44018" y="29246"/>
                      </a:lnTo>
                      <a:lnTo>
                        <a:pt x="28468" y="23504"/>
                      </a:lnTo>
                      <a:lnTo>
                        <a:pt x="16686" y="50896"/>
                      </a:lnTo>
                      <a:close/>
                      <a:moveTo>
                        <a:pt x="16507" y="51374"/>
                      </a:moveTo>
                      <a:lnTo>
                        <a:pt x="24940" y="54783"/>
                      </a:lnTo>
                      <a:lnTo>
                        <a:pt x="28887" y="53826"/>
                      </a:lnTo>
                      <a:lnTo>
                        <a:pt x="31100" y="50238"/>
                      </a:lnTo>
                      <a:lnTo>
                        <a:pt x="16507" y="51255"/>
                      </a:lnTo>
                      <a:lnTo>
                        <a:pt x="16507" y="51374"/>
                      </a:lnTo>
                      <a:close/>
                      <a:moveTo>
                        <a:pt x="27631" y="55860"/>
                      </a:moveTo>
                      <a:lnTo>
                        <a:pt x="28648" y="54185"/>
                      </a:lnTo>
                      <a:lnTo>
                        <a:pt x="25478" y="54963"/>
                      </a:lnTo>
                      <a:lnTo>
                        <a:pt x="27631" y="55860"/>
                      </a:lnTo>
                      <a:close/>
                      <a:moveTo>
                        <a:pt x="13875" y="57475"/>
                      </a:moveTo>
                      <a:lnTo>
                        <a:pt x="24401" y="54963"/>
                      </a:lnTo>
                      <a:lnTo>
                        <a:pt x="16387" y="51674"/>
                      </a:lnTo>
                      <a:lnTo>
                        <a:pt x="13875" y="57475"/>
                      </a:lnTo>
                      <a:close/>
                      <a:moveTo>
                        <a:pt x="15669" y="51016"/>
                      </a:moveTo>
                      <a:lnTo>
                        <a:pt x="16327" y="50956"/>
                      </a:lnTo>
                      <a:lnTo>
                        <a:pt x="27870" y="24102"/>
                      </a:lnTo>
                      <a:lnTo>
                        <a:pt x="5622" y="46949"/>
                      </a:lnTo>
                      <a:lnTo>
                        <a:pt x="15669" y="51016"/>
                      </a:lnTo>
                      <a:close/>
                      <a:moveTo>
                        <a:pt x="7954" y="51853"/>
                      </a:moveTo>
                      <a:lnTo>
                        <a:pt x="13576" y="57415"/>
                      </a:lnTo>
                      <a:lnTo>
                        <a:pt x="16088" y="51554"/>
                      </a:lnTo>
                      <a:lnTo>
                        <a:pt x="15610" y="51374"/>
                      </a:lnTo>
                      <a:lnTo>
                        <a:pt x="7954" y="51853"/>
                      </a:lnTo>
                      <a:close/>
                      <a:moveTo>
                        <a:pt x="4306" y="48264"/>
                      </a:moveTo>
                      <a:lnTo>
                        <a:pt x="7656" y="51554"/>
                      </a:lnTo>
                      <a:lnTo>
                        <a:pt x="14952" y="51075"/>
                      </a:lnTo>
                      <a:lnTo>
                        <a:pt x="5443" y="47188"/>
                      </a:lnTo>
                      <a:lnTo>
                        <a:pt x="4306" y="48264"/>
                      </a:lnTo>
                      <a:close/>
                      <a:moveTo>
                        <a:pt x="658" y="52032"/>
                      </a:moveTo>
                      <a:lnTo>
                        <a:pt x="7237" y="51554"/>
                      </a:lnTo>
                      <a:lnTo>
                        <a:pt x="4127" y="48504"/>
                      </a:lnTo>
                      <a:lnTo>
                        <a:pt x="658" y="52032"/>
                      </a:lnTo>
                      <a:close/>
                      <a:moveTo>
                        <a:pt x="4067" y="48025"/>
                      </a:moveTo>
                      <a:lnTo>
                        <a:pt x="5024" y="47009"/>
                      </a:lnTo>
                      <a:lnTo>
                        <a:pt x="1615" y="45633"/>
                      </a:lnTo>
                      <a:lnTo>
                        <a:pt x="4067" y="48025"/>
                      </a:lnTo>
                      <a:close/>
                    </a:path>
                  </a:pathLst>
                </a:custGeom>
                <a:grpFill/>
                <a:ln w="6350" cap="flat">
                  <a:solidFill>
                    <a:schemeClr val="bg1">
                      <a:alpha val="40000"/>
                    </a:schemeClr>
                  </a:solidFill>
                  <a:prstDash val="solid"/>
                  <a:miter/>
                </a:ln>
              </p:spPr>
              <p:txBody>
                <a:bodyPr rtlCol="0" anchor="ctr"/>
                <a:lstStyle/>
                <a:p>
                  <a:endParaRPr lang="en-GB"/>
                </a:p>
              </p:txBody>
            </p:sp>
            <p:sp>
              <p:nvSpPr>
                <p:cNvPr id="8896" name="Vrije vorm: vorm 8895">
                  <a:extLst>
                    <a:ext uri="{FF2B5EF4-FFF2-40B4-BE49-F238E27FC236}">
                      <a16:creationId xmlns:a16="http://schemas.microsoft.com/office/drawing/2014/main" id="{E8953D37-15D5-4B4E-A58A-A956AAFCF9EF}"/>
                    </a:ext>
                  </a:extLst>
                </p:cNvPr>
                <p:cNvSpPr/>
                <p:nvPr/>
              </p:nvSpPr>
              <p:spPr>
                <a:xfrm>
                  <a:off x="4514149" y="2442208"/>
                  <a:ext cx="41266" cy="22547"/>
                </a:xfrm>
                <a:custGeom>
                  <a:avLst/>
                  <a:gdLst>
                    <a:gd name="connsiteX0" fmla="*/ 41088 w 41266"/>
                    <a:gd name="connsiteY0" fmla="*/ 17763 h 22547"/>
                    <a:gd name="connsiteX1" fmla="*/ 179 w 41266"/>
                    <a:gd name="connsiteY1" fmla="*/ 22547 h 22547"/>
                    <a:gd name="connsiteX2" fmla="*/ 0 w 41266"/>
                    <a:gd name="connsiteY2" fmla="*/ 22428 h 22547"/>
                    <a:gd name="connsiteX3" fmla="*/ 60 w 41266"/>
                    <a:gd name="connsiteY3" fmla="*/ 22248 h 22547"/>
                    <a:gd name="connsiteX4" fmla="*/ 39174 w 41266"/>
                    <a:gd name="connsiteY4" fmla="*/ 0 h 22547"/>
                    <a:gd name="connsiteX5" fmla="*/ 39353 w 41266"/>
                    <a:gd name="connsiteY5" fmla="*/ 0 h 22547"/>
                    <a:gd name="connsiteX6" fmla="*/ 39413 w 41266"/>
                    <a:gd name="connsiteY6" fmla="*/ 120 h 22547"/>
                    <a:gd name="connsiteX7" fmla="*/ 41267 w 41266"/>
                    <a:gd name="connsiteY7" fmla="*/ 17583 h 22547"/>
                    <a:gd name="connsiteX8" fmla="*/ 41267 w 41266"/>
                    <a:gd name="connsiteY8" fmla="*/ 17643 h 22547"/>
                    <a:gd name="connsiteX9" fmla="*/ 41088 w 41266"/>
                    <a:gd name="connsiteY9" fmla="*/ 17763 h 22547"/>
                    <a:gd name="connsiteX10" fmla="*/ 957 w 41266"/>
                    <a:gd name="connsiteY10" fmla="*/ 22129 h 22547"/>
                    <a:gd name="connsiteX11" fmla="*/ 40908 w 41266"/>
                    <a:gd name="connsiteY11" fmla="*/ 17464 h 22547"/>
                    <a:gd name="connsiteX12" fmla="*/ 39114 w 41266"/>
                    <a:gd name="connsiteY12" fmla="*/ 419 h 22547"/>
                    <a:gd name="connsiteX13" fmla="*/ 957 w 41266"/>
                    <a:gd name="connsiteY13" fmla="*/ 22129 h 2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266" h="22547">
                      <a:moveTo>
                        <a:pt x="41088" y="17763"/>
                      </a:moveTo>
                      <a:lnTo>
                        <a:pt x="179" y="22547"/>
                      </a:lnTo>
                      <a:cubicBezTo>
                        <a:pt x="119" y="22547"/>
                        <a:pt x="60" y="22487"/>
                        <a:pt x="0" y="22428"/>
                      </a:cubicBezTo>
                      <a:cubicBezTo>
                        <a:pt x="0" y="22368"/>
                        <a:pt x="0" y="22248"/>
                        <a:pt x="60" y="22248"/>
                      </a:cubicBezTo>
                      <a:lnTo>
                        <a:pt x="39174" y="0"/>
                      </a:lnTo>
                      <a:cubicBezTo>
                        <a:pt x="39234" y="0"/>
                        <a:pt x="39293" y="0"/>
                        <a:pt x="39353" y="0"/>
                      </a:cubicBezTo>
                      <a:cubicBezTo>
                        <a:pt x="39413" y="0"/>
                        <a:pt x="39413" y="60"/>
                        <a:pt x="39413" y="120"/>
                      </a:cubicBezTo>
                      <a:lnTo>
                        <a:pt x="41267" y="17583"/>
                      </a:lnTo>
                      <a:cubicBezTo>
                        <a:pt x="41267" y="17583"/>
                        <a:pt x="41267" y="17643"/>
                        <a:pt x="41267" y="17643"/>
                      </a:cubicBezTo>
                      <a:cubicBezTo>
                        <a:pt x="41267" y="17703"/>
                        <a:pt x="41207" y="17763"/>
                        <a:pt x="41088" y="17763"/>
                      </a:cubicBezTo>
                      <a:close/>
                      <a:moveTo>
                        <a:pt x="957" y="22129"/>
                      </a:moveTo>
                      <a:lnTo>
                        <a:pt x="40908" y="17464"/>
                      </a:lnTo>
                      <a:lnTo>
                        <a:pt x="39114" y="419"/>
                      </a:lnTo>
                      <a:lnTo>
                        <a:pt x="957" y="22129"/>
                      </a:lnTo>
                      <a:close/>
                    </a:path>
                  </a:pathLst>
                </a:custGeom>
                <a:grpFill/>
                <a:ln w="6350" cap="flat">
                  <a:solidFill>
                    <a:schemeClr val="bg1">
                      <a:alpha val="40000"/>
                    </a:schemeClr>
                  </a:solidFill>
                  <a:prstDash val="solid"/>
                  <a:miter/>
                </a:ln>
              </p:spPr>
              <p:txBody>
                <a:bodyPr rtlCol="0" anchor="ctr"/>
                <a:lstStyle/>
                <a:p>
                  <a:endParaRPr lang="en-GB"/>
                </a:p>
              </p:txBody>
            </p:sp>
            <p:sp>
              <p:nvSpPr>
                <p:cNvPr id="8897" name="Vrije vorm: vorm 8896">
                  <a:extLst>
                    <a:ext uri="{FF2B5EF4-FFF2-40B4-BE49-F238E27FC236}">
                      <a16:creationId xmlns:a16="http://schemas.microsoft.com/office/drawing/2014/main" id="{9757D03E-BF0D-4F5D-957B-54DBE5286AA7}"/>
                    </a:ext>
                  </a:extLst>
                </p:cNvPr>
                <p:cNvSpPr/>
                <p:nvPr/>
              </p:nvSpPr>
              <p:spPr>
                <a:xfrm>
                  <a:off x="4363828" y="2605277"/>
                  <a:ext cx="20837" cy="10335"/>
                </a:xfrm>
                <a:custGeom>
                  <a:avLst/>
                  <a:gdLst>
                    <a:gd name="connsiteX0" fmla="*/ 20838 w 20837"/>
                    <a:gd name="connsiteY0" fmla="*/ 10192 h 10335"/>
                    <a:gd name="connsiteX1" fmla="*/ 20778 w 20837"/>
                    <a:gd name="connsiteY1" fmla="*/ 10013 h 10335"/>
                    <a:gd name="connsiteX2" fmla="*/ 264 w 20837"/>
                    <a:gd name="connsiteY2" fmla="*/ 25 h 10335"/>
                    <a:gd name="connsiteX3" fmla="*/ 25 w 20837"/>
                    <a:gd name="connsiteY3" fmla="*/ 85 h 10335"/>
                    <a:gd name="connsiteX4" fmla="*/ 85 w 20837"/>
                    <a:gd name="connsiteY4" fmla="*/ 324 h 10335"/>
                    <a:gd name="connsiteX5" fmla="*/ 20598 w 20837"/>
                    <a:gd name="connsiteY5" fmla="*/ 10312 h 10335"/>
                    <a:gd name="connsiteX6" fmla="*/ 20838 w 20837"/>
                    <a:gd name="connsiteY6" fmla="*/ 10192 h 10335"/>
                    <a:gd name="connsiteX7" fmla="*/ 20838 w 20837"/>
                    <a:gd name="connsiteY7" fmla="*/ 10192 h 1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37" h="10335">
                      <a:moveTo>
                        <a:pt x="20838" y="10192"/>
                      </a:moveTo>
                      <a:cubicBezTo>
                        <a:pt x="20838" y="10132"/>
                        <a:pt x="20838" y="10072"/>
                        <a:pt x="20778" y="10013"/>
                      </a:cubicBezTo>
                      <a:lnTo>
                        <a:pt x="264" y="25"/>
                      </a:lnTo>
                      <a:cubicBezTo>
                        <a:pt x="204" y="-35"/>
                        <a:pt x="85" y="25"/>
                        <a:pt x="25" y="85"/>
                      </a:cubicBezTo>
                      <a:cubicBezTo>
                        <a:pt x="-35" y="144"/>
                        <a:pt x="25" y="264"/>
                        <a:pt x="85" y="324"/>
                      </a:cubicBezTo>
                      <a:lnTo>
                        <a:pt x="20598" y="10312"/>
                      </a:lnTo>
                      <a:cubicBezTo>
                        <a:pt x="20658" y="10372"/>
                        <a:pt x="20778" y="10312"/>
                        <a:pt x="20838" y="10192"/>
                      </a:cubicBezTo>
                      <a:cubicBezTo>
                        <a:pt x="20838" y="10192"/>
                        <a:pt x="20838" y="10192"/>
                        <a:pt x="20838" y="1019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98" name="Vrije vorm: vorm 8897">
                  <a:extLst>
                    <a:ext uri="{FF2B5EF4-FFF2-40B4-BE49-F238E27FC236}">
                      <a16:creationId xmlns:a16="http://schemas.microsoft.com/office/drawing/2014/main" id="{95A0388A-CBD7-4229-8C75-D63C3D38FDD2}"/>
                    </a:ext>
                  </a:extLst>
                </p:cNvPr>
                <p:cNvSpPr/>
                <p:nvPr/>
              </p:nvSpPr>
              <p:spPr>
                <a:xfrm>
                  <a:off x="4442260" y="2537959"/>
                  <a:ext cx="5681" cy="34090"/>
                </a:xfrm>
                <a:custGeom>
                  <a:avLst/>
                  <a:gdLst>
                    <a:gd name="connsiteX0" fmla="*/ 5682 w 5681"/>
                    <a:gd name="connsiteY0" fmla="*/ 33971 h 34090"/>
                    <a:gd name="connsiteX1" fmla="*/ 5682 w 5681"/>
                    <a:gd name="connsiteY1" fmla="*/ 33971 h 34090"/>
                    <a:gd name="connsiteX2" fmla="*/ 299 w 5681"/>
                    <a:gd name="connsiteY2" fmla="*/ 120 h 34090"/>
                    <a:gd name="connsiteX3" fmla="*/ 120 w 5681"/>
                    <a:gd name="connsiteY3" fmla="*/ 0 h 34090"/>
                    <a:gd name="connsiteX4" fmla="*/ 0 w 5681"/>
                    <a:gd name="connsiteY4" fmla="*/ 179 h 34090"/>
                    <a:gd name="connsiteX5" fmla="*/ 5383 w 5681"/>
                    <a:gd name="connsiteY5" fmla="*/ 33971 h 34090"/>
                    <a:gd name="connsiteX6" fmla="*/ 5562 w 5681"/>
                    <a:gd name="connsiteY6" fmla="*/ 34090 h 34090"/>
                    <a:gd name="connsiteX7" fmla="*/ 5682 w 5681"/>
                    <a:gd name="connsiteY7" fmla="*/ 33971 h 3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81" h="34090">
                      <a:moveTo>
                        <a:pt x="5682" y="33971"/>
                      </a:moveTo>
                      <a:cubicBezTo>
                        <a:pt x="5682" y="33971"/>
                        <a:pt x="5682" y="33971"/>
                        <a:pt x="5682" y="33971"/>
                      </a:cubicBezTo>
                      <a:lnTo>
                        <a:pt x="299" y="120"/>
                      </a:lnTo>
                      <a:cubicBezTo>
                        <a:pt x="299" y="60"/>
                        <a:pt x="180" y="0"/>
                        <a:pt x="120" y="0"/>
                      </a:cubicBezTo>
                      <a:cubicBezTo>
                        <a:pt x="60" y="0"/>
                        <a:pt x="0" y="120"/>
                        <a:pt x="0" y="179"/>
                      </a:cubicBezTo>
                      <a:lnTo>
                        <a:pt x="5383" y="33971"/>
                      </a:lnTo>
                      <a:cubicBezTo>
                        <a:pt x="5383" y="34030"/>
                        <a:pt x="5502" y="34090"/>
                        <a:pt x="5562" y="34090"/>
                      </a:cubicBezTo>
                      <a:cubicBezTo>
                        <a:pt x="5622" y="34090"/>
                        <a:pt x="5682" y="34090"/>
                        <a:pt x="5682" y="3397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899" name="Vrije vorm: vorm 8898">
                  <a:extLst>
                    <a:ext uri="{FF2B5EF4-FFF2-40B4-BE49-F238E27FC236}">
                      <a16:creationId xmlns:a16="http://schemas.microsoft.com/office/drawing/2014/main" id="{29351D02-28CD-4917-B02C-6E2D7CDCFB01}"/>
                    </a:ext>
                  </a:extLst>
                </p:cNvPr>
                <p:cNvSpPr/>
                <p:nvPr/>
              </p:nvSpPr>
              <p:spPr>
                <a:xfrm>
                  <a:off x="4363793" y="2564573"/>
                  <a:ext cx="54484" cy="41027"/>
                </a:xfrm>
                <a:custGeom>
                  <a:avLst/>
                  <a:gdLst>
                    <a:gd name="connsiteX0" fmla="*/ 54484 w 54484"/>
                    <a:gd name="connsiteY0" fmla="*/ 4067 h 41027"/>
                    <a:gd name="connsiteX1" fmla="*/ 54365 w 54484"/>
                    <a:gd name="connsiteY1" fmla="*/ 3887 h 41027"/>
                    <a:gd name="connsiteX2" fmla="*/ 43539 w 54484"/>
                    <a:gd name="connsiteY2" fmla="*/ 239 h 41027"/>
                    <a:gd name="connsiteX3" fmla="*/ 43480 w 54484"/>
                    <a:gd name="connsiteY3" fmla="*/ 239 h 41027"/>
                    <a:gd name="connsiteX4" fmla="*/ 10406 w 54484"/>
                    <a:gd name="connsiteY4" fmla="*/ 0 h 41027"/>
                    <a:gd name="connsiteX5" fmla="*/ 10227 w 54484"/>
                    <a:gd name="connsiteY5" fmla="*/ 120 h 41027"/>
                    <a:gd name="connsiteX6" fmla="*/ 0 w 54484"/>
                    <a:gd name="connsiteY6" fmla="*/ 40848 h 41027"/>
                    <a:gd name="connsiteX7" fmla="*/ 0 w 54484"/>
                    <a:gd name="connsiteY7" fmla="*/ 40848 h 41027"/>
                    <a:gd name="connsiteX8" fmla="*/ 120 w 54484"/>
                    <a:gd name="connsiteY8" fmla="*/ 41028 h 41027"/>
                    <a:gd name="connsiteX9" fmla="*/ 299 w 54484"/>
                    <a:gd name="connsiteY9" fmla="*/ 40908 h 41027"/>
                    <a:gd name="connsiteX10" fmla="*/ 10526 w 54484"/>
                    <a:gd name="connsiteY10" fmla="*/ 299 h 41027"/>
                    <a:gd name="connsiteX11" fmla="*/ 43420 w 54484"/>
                    <a:gd name="connsiteY11" fmla="*/ 538 h 41027"/>
                    <a:gd name="connsiteX12" fmla="*/ 54245 w 54484"/>
                    <a:gd name="connsiteY12" fmla="*/ 4186 h 41027"/>
                    <a:gd name="connsiteX13" fmla="*/ 54484 w 54484"/>
                    <a:gd name="connsiteY13" fmla="*/ 4067 h 41027"/>
                    <a:gd name="connsiteX14" fmla="*/ 54484 w 54484"/>
                    <a:gd name="connsiteY14" fmla="*/ 4067 h 4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484" h="41027">
                      <a:moveTo>
                        <a:pt x="54484" y="4067"/>
                      </a:moveTo>
                      <a:cubicBezTo>
                        <a:pt x="54484" y="4007"/>
                        <a:pt x="54484" y="3887"/>
                        <a:pt x="54365" y="3887"/>
                      </a:cubicBezTo>
                      <a:lnTo>
                        <a:pt x="43539" y="239"/>
                      </a:lnTo>
                      <a:cubicBezTo>
                        <a:pt x="43539" y="239"/>
                        <a:pt x="43480" y="239"/>
                        <a:pt x="43480" y="239"/>
                      </a:cubicBezTo>
                      <a:lnTo>
                        <a:pt x="10406" y="0"/>
                      </a:lnTo>
                      <a:cubicBezTo>
                        <a:pt x="10347" y="0"/>
                        <a:pt x="10287" y="60"/>
                        <a:pt x="10227" y="120"/>
                      </a:cubicBezTo>
                      <a:lnTo>
                        <a:pt x="0" y="40848"/>
                      </a:lnTo>
                      <a:cubicBezTo>
                        <a:pt x="0" y="40848"/>
                        <a:pt x="0" y="40848"/>
                        <a:pt x="0" y="40848"/>
                      </a:cubicBezTo>
                      <a:cubicBezTo>
                        <a:pt x="0" y="40908"/>
                        <a:pt x="60" y="41028"/>
                        <a:pt x="120" y="41028"/>
                      </a:cubicBezTo>
                      <a:cubicBezTo>
                        <a:pt x="179" y="41028"/>
                        <a:pt x="299" y="41028"/>
                        <a:pt x="299" y="40908"/>
                      </a:cubicBezTo>
                      <a:lnTo>
                        <a:pt x="10526" y="299"/>
                      </a:lnTo>
                      <a:lnTo>
                        <a:pt x="43420" y="538"/>
                      </a:lnTo>
                      <a:lnTo>
                        <a:pt x="54245" y="4186"/>
                      </a:lnTo>
                      <a:cubicBezTo>
                        <a:pt x="54365" y="4246"/>
                        <a:pt x="54424" y="4186"/>
                        <a:pt x="54484" y="4067"/>
                      </a:cubicBezTo>
                      <a:cubicBezTo>
                        <a:pt x="54484" y="4067"/>
                        <a:pt x="54484" y="4067"/>
                        <a:pt x="54484" y="406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00" name="Vrije vorm: vorm 8899">
                  <a:extLst>
                    <a:ext uri="{FF2B5EF4-FFF2-40B4-BE49-F238E27FC236}">
                      <a16:creationId xmlns:a16="http://schemas.microsoft.com/office/drawing/2014/main" id="{CC965F75-EF74-48E0-99FB-6988AD8C1481}"/>
                    </a:ext>
                  </a:extLst>
                </p:cNvPr>
                <p:cNvSpPr/>
                <p:nvPr/>
              </p:nvSpPr>
              <p:spPr>
                <a:xfrm>
                  <a:off x="4384367" y="2554047"/>
                  <a:ext cx="23085" cy="61601"/>
                </a:xfrm>
                <a:custGeom>
                  <a:avLst/>
                  <a:gdLst>
                    <a:gd name="connsiteX0" fmla="*/ 23086 w 23085"/>
                    <a:gd name="connsiteY0" fmla="*/ 11005 h 61601"/>
                    <a:gd name="connsiteX1" fmla="*/ 299 w 23085"/>
                    <a:gd name="connsiteY1" fmla="*/ 61482 h 61601"/>
                    <a:gd name="connsiteX2" fmla="*/ 120 w 23085"/>
                    <a:gd name="connsiteY2" fmla="*/ 61602 h 61601"/>
                    <a:gd name="connsiteX3" fmla="*/ 0 w 23085"/>
                    <a:gd name="connsiteY3" fmla="*/ 61422 h 61601"/>
                    <a:gd name="connsiteX4" fmla="*/ 4605 w 23085"/>
                    <a:gd name="connsiteY4" fmla="*/ 120 h 61601"/>
                    <a:gd name="connsiteX5" fmla="*/ 4605 w 23085"/>
                    <a:gd name="connsiteY5" fmla="*/ 120 h 61601"/>
                    <a:gd name="connsiteX6" fmla="*/ 4665 w 23085"/>
                    <a:gd name="connsiteY6" fmla="*/ 0 h 61601"/>
                    <a:gd name="connsiteX7" fmla="*/ 4844 w 23085"/>
                    <a:gd name="connsiteY7" fmla="*/ 0 h 61601"/>
                    <a:gd name="connsiteX8" fmla="*/ 23026 w 23085"/>
                    <a:gd name="connsiteY8" fmla="*/ 10825 h 61601"/>
                    <a:gd name="connsiteX9" fmla="*/ 23086 w 23085"/>
                    <a:gd name="connsiteY9" fmla="*/ 11005 h 61601"/>
                    <a:gd name="connsiteX10" fmla="*/ 23086 w 23085"/>
                    <a:gd name="connsiteY10" fmla="*/ 11005 h 61601"/>
                    <a:gd name="connsiteX11" fmla="*/ 359 w 23085"/>
                    <a:gd name="connsiteY11" fmla="*/ 60465 h 61601"/>
                    <a:gd name="connsiteX12" fmla="*/ 22727 w 23085"/>
                    <a:gd name="connsiteY12" fmla="*/ 10945 h 61601"/>
                    <a:gd name="connsiteX13" fmla="*/ 4904 w 23085"/>
                    <a:gd name="connsiteY13" fmla="*/ 359 h 61601"/>
                    <a:gd name="connsiteX14" fmla="*/ 359 w 23085"/>
                    <a:gd name="connsiteY14" fmla="*/ 60465 h 6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085" h="61601">
                      <a:moveTo>
                        <a:pt x="23086" y="11005"/>
                      </a:moveTo>
                      <a:lnTo>
                        <a:pt x="299" y="61482"/>
                      </a:lnTo>
                      <a:cubicBezTo>
                        <a:pt x="239" y="61542"/>
                        <a:pt x="179" y="61602"/>
                        <a:pt x="120" y="61602"/>
                      </a:cubicBezTo>
                      <a:cubicBezTo>
                        <a:pt x="60" y="61602"/>
                        <a:pt x="0" y="61482"/>
                        <a:pt x="0" y="61422"/>
                      </a:cubicBezTo>
                      <a:lnTo>
                        <a:pt x="4605" y="120"/>
                      </a:lnTo>
                      <a:cubicBezTo>
                        <a:pt x="4605" y="120"/>
                        <a:pt x="4605" y="120"/>
                        <a:pt x="4605" y="120"/>
                      </a:cubicBezTo>
                      <a:cubicBezTo>
                        <a:pt x="4605" y="60"/>
                        <a:pt x="4665" y="0"/>
                        <a:pt x="4665" y="0"/>
                      </a:cubicBezTo>
                      <a:cubicBezTo>
                        <a:pt x="4725" y="0"/>
                        <a:pt x="4785" y="0"/>
                        <a:pt x="4844" y="0"/>
                      </a:cubicBezTo>
                      <a:lnTo>
                        <a:pt x="23026" y="10825"/>
                      </a:lnTo>
                      <a:cubicBezTo>
                        <a:pt x="23026" y="10825"/>
                        <a:pt x="23086" y="10885"/>
                        <a:pt x="23086" y="11005"/>
                      </a:cubicBezTo>
                      <a:cubicBezTo>
                        <a:pt x="23086" y="10945"/>
                        <a:pt x="23086" y="10945"/>
                        <a:pt x="23086" y="11005"/>
                      </a:cubicBezTo>
                      <a:close/>
                      <a:moveTo>
                        <a:pt x="359" y="60465"/>
                      </a:moveTo>
                      <a:lnTo>
                        <a:pt x="22727" y="10945"/>
                      </a:lnTo>
                      <a:lnTo>
                        <a:pt x="4904" y="359"/>
                      </a:lnTo>
                      <a:lnTo>
                        <a:pt x="359" y="60465"/>
                      </a:lnTo>
                      <a:close/>
                    </a:path>
                  </a:pathLst>
                </a:custGeom>
                <a:grpFill/>
                <a:ln w="6350" cap="flat">
                  <a:solidFill>
                    <a:schemeClr val="bg1">
                      <a:alpha val="40000"/>
                    </a:schemeClr>
                  </a:solidFill>
                  <a:prstDash val="solid"/>
                  <a:miter/>
                </a:ln>
              </p:spPr>
              <p:txBody>
                <a:bodyPr rtlCol="0" anchor="ctr"/>
                <a:lstStyle/>
                <a:p>
                  <a:endParaRPr lang="en-GB"/>
                </a:p>
              </p:txBody>
            </p:sp>
            <p:sp>
              <p:nvSpPr>
                <p:cNvPr id="8901" name="Vrije vorm: vorm 8900">
                  <a:extLst>
                    <a:ext uri="{FF2B5EF4-FFF2-40B4-BE49-F238E27FC236}">
                      <a16:creationId xmlns:a16="http://schemas.microsoft.com/office/drawing/2014/main" id="{6FA4D996-243C-41D2-90AD-4C968D1310AD}"/>
                    </a:ext>
                  </a:extLst>
                </p:cNvPr>
                <p:cNvSpPr/>
                <p:nvPr/>
              </p:nvSpPr>
              <p:spPr>
                <a:xfrm>
                  <a:off x="4362259" y="2564753"/>
                  <a:ext cx="45193" cy="37663"/>
                </a:xfrm>
                <a:custGeom>
                  <a:avLst/>
                  <a:gdLst>
                    <a:gd name="connsiteX0" fmla="*/ 43639 w 45193"/>
                    <a:gd name="connsiteY0" fmla="*/ 37439 h 37663"/>
                    <a:gd name="connsiteX1" fmla="*/ 43639 w 45193"/>
                    <a:gd name="connsiteY1" fmla="*/ 37439 h 37663"/>
                    <a:gd name="connsiteX2" fmla="*/ 45194 w 45193"/>
                    <a:gd name="connsiteY2" fmla="*/ 179 h 37663"/>
                    <a:gd name="connsiteX3" fmla="*/ 45014 w 45193"/>
                    <a:gd name="connsiteY3" fmla="*/ 0 h 37663"/>
                    <a:gd name="connsiteX4" fmla="*/ 44835 w 45193"/>
                    <a:gd name="connsiteY4" fmla="*/ 179 h 37663"/>
                    <a:gd name="connsiteX5" fmla="*/ 43280 w 45193"/>
                    <a:gd name="connsiteY5" fmla="*/ 37140 h 37663"/>
                    <a:gd name="connsiteX6" fmla="*/ 278 w 45193"/>
                    <a:gd name="connsiteY6" fmla="*/ 8014 h 37663"/>
                    <a:gd name="connsiteX7" fmla="*/ 39 w 45193"/>
                    <a:gd name="connsiteY7" fmla="*/ 8074 h 37663"/>
                    <a:gd name="connsiteX8" fmla="*/ 99 w 45193"/>
                    <a:gd name="connsiteY8" fmla="*/ 8313 h 37663"/>
                    <a:gd name="connsiteX9" fmla="*/ 43340 w 45193"/>
                    <a:gd name="connsiteY9" fmla="*/ 37619 h 37663"/>
                    <a:gd name="connsiteX10" fmla="*/ 43519 w 45193"/>
                    <a:gd name="connsiteY10" fmla="*/ 37619 h 37663"/>
                    <a:gd name="connsiteX11" fmla="*/ 43639 w 45193"/>
                    <a:gd name="connsiteY11" fmla="*/ 37439 h 37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93" h="37663">
                      <a:moveTo>
                        <a:pt x="43639" y="37439"/>
                      </a:moveTo>
                      <a:cubicBezTo>
                        <a:pt x="43639" y="37439"/>
                        <a:pt x="43639" y="37439"/>
                        <a:pt x="43639" y="37439"/>
                      </a:cubicBezTo>
                      <a:lnTo>
                        <a:pt x="45194" y="179"/>
                      </a:lnTo>
                      <a:cubicBezTo>
                        <a:pt x="45194" y="120"/>
                        <a:pt x="45134" y="0"/>
                        <a:pt x="45014" y="0"/>
                      </a:cubicBezTo>
                      <a:cubicBezTo>
                        <a:pt x="44955" y="0"/>
                        <a:pt x="44835" y="60"/>
                        <a:pt x="44835" y="179"/>
                      </a:cubicBezTo>
                      <a:lnTo>
                        <a:pt x="43280" y="37140"/>
                      </a:lnTo>
                      <a:lnTo>
                        <a:pt x="278" y="8014"/>
                      </a:lnTo>
                      <a:cubicBezTo>
                        <a:pt x="219" y="7954"/>
                        <a:pt x="99" y="7954"/>
                        <a:pt x="39" y="8074"/>
                      </a:cubicBezTo>
                      <a:cubicBezTo>
                        <a:pt x="-21" y="8134"/>
                        <a:pt x="-21" y="8253"/>
                        <a:pt x="99" y="8313"/>
                      </a:cubicBezTo>
                      <a:lnTo>
                        <a:pt x="43340" y="37619"/>
                      </a:lnTo>
                      <a:cubicBezTo>
                        <a:pt x="43400" y="37678"/>
                        <a:pt x="43459" y="37678"/>
                        <a:pt x="43519" y="37619"/>
                      </a:cubicBezTo>
                      <a:cubicBezTo>
                        <a:pt x="43579" y="37559"/>
                        <a:pt x="43579" y="37499"/>
                        <a:pt x="43639" y="3743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02" name="Vrije vorm: vorm 8901">
                  <a:extLst>
                    <a:ext uri="{FF2B5EF4-FFF2-40B4-BE49-F238E27FC236}">
                      <a16:creationId xmlns:a16="http://schemas.microsoft.com/office/drawing/2014/main" id="{CF8428D8-6387-4A4D-B612-186CE71D0FBC}"/>
                    </a:ext>
                  </a:extLst>
                </p:cNvPr>
                <p:cNvSpPr/>
                <p:nvPr/>
              </p:nvSpPr>
              <p:spPr>
                <a:xfrm>
                  <a:off x="4404103" y="2543641"/>
                  <a:ext cx="62319" cy="14891"/>
                </a:xfrm>
                <a:custGeom>
                  <a:avLst/>
                  <a:gdLst>
                    <a:gd name="connsiteX0" fmla="*/ 62319 w 62319"/>
                    <a:gd name="connsiteY0" fmla="*/ 14772 h 14891"/>
                    <a:gd name="connsiteX1" fmla="*/ 62200 w 62319"/>
                    <a:gd name="connsiteY1" fmla="*/ 14593 h 14891"/>
                    <a:gd name="connsiteX2" fmla="*/ 180 w 62319"/>
                    <a:gd name="connsiteY2" fmla="*/ 0 h 14891"/>
                    <a:gd name="connsiteX3" fmla="*/ 0 w 62319"/>
                    <a:gd name="connsiteY3" fmla="*/ 120 h 14891"/>
                    <a:gd name="connsiteX4" fmla="*/ 0 w 62319"/>
                    <a:gd name="connsiteY4" fmla="*/ 120 h 14891"/>
                    <a:gd name="connsiteX5" fmla="*/ 120 w 62319"/>
                    <a:gd name="connsiteY5" fmla="*/ 299 h 14891"/>
                    <a:gd name="connsiteX6" fmla="*/ 62140 w 62319"/>
                    <a:gd name="connsiteY6" fmla="*/ 14892 h 14891"/>
                    <a:gd name="connsiteX7" fmla="*/ 62319 w 62319"/>
                    <a:gd name="connsiteY7" fmla="*/ 14772 h 14891"/>
                    <a:gd name="connsiteX8" fmla="*/ 62319 w 62319"/>
                    <a:gd name="connsiteY8" fmla="*/ 14772 h 1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319" h="14891">
                      <a:moveTo>
                        <a:pt x="62319" y="14772"/>
                      </a:moveTo>
                      <a:cubicBezTo>
                        <a:pt x="62319" y="14713"/>
                        <a:pt x="62260" y="14593"/>
                        <a:pt x="62200" y="14593"/>
                      </a:cubicBezTo>
                      <a:lnTo>
                        <a:pt x="180" y="0"/>
                      </a:lnTo>
                      <a:cubicBezTo>
                        <a:pt x="120" y="0"/>
                        <a:pt x="0" y="60"/>
                        <a:pt x="0" y="120"/>
                      </a:cubicBezTo>
                      <a:cubicBezTo>
                        <a:pt x="0" y="120"/>
                        <a:pt x="0" y="120"/>
                        <a:pt x="0" y="120"/>
                      </a:cubicBezTo>
                      <a:cubicBezTo>
                        <a:pt x="0" y="179"/>
                        <a:pt x="60" y="299"/>
                        <a:pt x="120" y="299"/>
                      </a:cubicBezTo>
                      <a:lnTo>
                        <a:pt x="62140" y="14892"/>
                      </a:lnTo>
                      <a:cubicBezTo>
                        <a:pt x="62200" y="14892"/>
                        <a:pt x="62260" y="14832"/>
                        <a:pt x="62319" y="14772"/>
                      </a:cubicBezTo>
                      <a:cubicBezTo>
                        <a:pt x="62319" y="14772"/>
                        <a:pt x="62319" y="14772"/>
                        <a:pt x="62319" y="1477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03" name="Vrije vorm: vorm 8902">
                  <a:extLst>
                    <a:ext uri="{FF2B5EF4-FFF2-40B4-BE49-F238E27FC236}">
                      <a16:creationId xmlns:a16="http://schemas.microsoft.com/office/drawing/2014/main" id="{35D1411D-D8A5-458C-9CF8-0B35B6DC84A7}"/>
                    </a:ext>
                  </a:extLst>
                </p:cNvPr>
                <p:cNvSpPr/>
                <p:nvPr/>
              </p:nvSpPr>
              <p:spPr>
                <a:xfrm>
                  <a:off x="4428206" y="2525818"/>
                  <a:ext cx="896" cy="61422"/>
                </a:xfrm>
                <a:custGeom>
                  <a:avLst/>
                  <a:gdLst>
                    <a:gd name="connsiteX0" fmla="*/ 359 w 896"/>
                    <a:gd name="connsiteY0" fmla="*/ 61243 h 61422"/>
                    <a:gd name="connsiteX1" fmla="*/ 359 w 896"/>
                    <a:gd name="connsiteY1" fmla="*/ 61243 h 61422"/>
                    <a:gd name="connsiteX2" fmla="*/ 897 w 896"/>
                    <a:gd name="connsiteY2" fmla="*/ 179 h 61422"/>
                    <a:gd name="connsiteX3" fmla="*/ 718 w 896"/>
                    <a:gd name="connsiteY3" fmla="*/ 0 h 61422"/>
                    <a:gd name="connsiteX4" fmla="*/ 538 w 896"/>
                    <a:gd name="connsiteY4" fmla="*/ 179 h 61422"/>
                    <a:gd name="connsiteX5" fmla="*/ 0 w 896"/>
                    <a:gd name="connsiteY5" fmla="*/ 61243 h 61422"/>
                    <a:gd name="connsiteX6" fmla="*/ 179 w 896"/>
                    <a:gd name="connsiteY6" fmla="*/ 61422 h 61422"/>
                    <a:gd name="connsiteX7" fmla="*/ 359 w 896"/>
                    <a:gd name="connsiteY7" fmla="*/ 61243 h 61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 h="61422">
                      <a:moveTo>
                        <a:pt x="359" y="61243"/>
                      </a:moveTo>
                      <a:cubicBezTo>
                        <a:pt x="359" y="61243"/>
                        <a:pt x="359" y="61183"/>
                        <a:pt x="359" y="61243"/>
                      </a:cubicBezTo>
                      <a:lnTo>
                        <a:pt x="897" y="179"/>
                      </a:lnTo>
                      <a:cubicBezTo>
                        <a:pt x="897" y="120"/>
                        <a:pt x="837" y="0"/>
                        <a:pt x="718" y="0"/>
                      </a:cubicBezTo>
                      <a:cubicBezTo>
                        <a:pt x="598" y="0"/>
                        <a:pt x="538" y="60"/>
                        <a:pt x="538" y="179"/>
                      </a:cubicBezTo>
                      <a:lnTo>
                        <a:pt x="0" y="61243"/>
                      </a:lnTo>
                      <a:cubicBezTo>
                        <a:pt x="0" y="61302"/>
                        <a:pt x="60" y="61422"/>
                        <a:pt x="179" y="61422"/>
                      </a:cubicBezTo>
                      <a:cubicBezTo>
                        <a:pt x="299" y="61362"/>
                        <a:pt x="359" y="61302"/>
                        <a:pt x="359" y="6124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04" name="Vrije vorm: vorm 8903">
                  <a:extLst>
                    <a:ext uri="{FF2B5EF4-FFF2-40B4-BE49-F238E27FC236}">
                      <a16:creationId xmlns:a16="http://schemas.microsoft.com/office/drawing/2014/main" id="{20A45F31-2A0B-41E4-9005-95B6E48780AF}"/>
                    </a:ext>
                  </a:extLst>
                </p:cNvPr>
                <p:cNvSpPr/>
                <p:nvPr/>
              </p:nvSpPr>
              <p:spPr>
                <a:xfrm>
                  <a:off x="4416723" y="2534610"/>
                  <a:ext cx="31219" cy="37464"/>
                </a:xfrm>
                <a:custGeom>
                  <a:avLst/>
                  <a:gdLst>
                    <a:gd name="connsiteX0" fmla="*/ 31220 w 31219"/>
                    <a:gd name="connsiteY0" fmla="*/ 37380 h 37464"/>
                    <a:gd name="connsiteX1" fmla="*/ 31040 w 31219"/>
                    <a:gd name="connsiteY1" fmla="*/ 37439 h 37464"/>
                    <a:gd name="connsiteX2" fmla="*/ 1376 w 31219"/>
                    <a:gd name="connsiteY2" fmla="*/ 34150 h 37464"/>
                    <a:gd name="connsiteX3" fmla="*/ 1256 w 31219"/>
                    <a:gd name="connsiteY3" fmla="*/ 33970 h 37464"/>
                    <a:gd name="connsiteX4" fmla="*/ 0 w 31219"/>
                    <a:gd name="connsiteY4" fmla="*/ 179 h 37464"/>
                    <a:gd name="connsiteX5" fmla="*/ 120 w 31219"/>
                    <a:gd name="connsiteY5" fmla="*/ 0 h 37464"/>
                    <a:gd name="connsiteX6" fmla="*/ 299 w 31219"/>
                    <a:gd name="connsiteY6" fmla="*/ 60 h 37464"/>
                    <a:gd name="connsiteX7" fmla="*/ 31220 w 31219"/>
                    <a:gd name="connsiteY7" fmla="*/ 37140 h 37464"/>
                    <a:gd name="connsiteX8" fmla="*/ 31220 w 31219"/>
                    <a:gd name="connsiteY8" fmla="*/ 37380 h 37464"/>
                    <a:gd name="connsiteX9" fmla="*/ 31220 w 31219"/>
                    <a:gd name="connsiteY9" fmla="*/ 37380 h 37464"/>
                    <a:gd name="connsiteX10" fmla="*/ 1555 w 31219"/>
                    <a:gd name="connsiteY10" fmla="*/ 33851 h 37464"/>
                    <a:gd name="connsiteX11" fmla="*/ 30681 w 31219"/>
                    <a:gd name="connsiteY11" fmla="*/ 37081 h 37464"/>
                    <a:gd name="connsiteX12" fmla="*/ 359 w 31219"/>
                    <a:gd name="connsiteY12" fmla="*/ 658 h 37464"/>
                    <a:gd name="connsiteX13" fmla="*/ 1555 w 31219"/>
                    <a:gd name="connsiteY13" fmla="*/ 33851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19" h="37464">
                      <a:moveTo>
                        <a:pt x="31220" y="37380"/>
                      </a:moveTo>
                      <a:cubicBezTo>
                        <a:pt x="31160" y="37439"/>
                        <a:pt x="31100" y="37499"/>
                        <a:pt x="31040" y="37439"/>
                      </a:cubicBezTo>
                      <a:lnTo>
                        <a:pt x="1376" y="34150"/>
                      </a:lnTo>
                      <a:cubicBezTo>
                        <a:pt x="1316" y="34150"/>
                        <a:pt x="1256" y="34090"/>
                        <a:pt x="1256" y="33970"/>
                      </a:cubicBezTo>
                      <a:lnTo>
                        <a:pt x="0" y="179"/>
                      </a:lnTo>
                      <a:cubicBezTo>
                        <a:pt x="0" y="120"/>
                        <a:pt x="60" y="60"/>
                        <a:pt x="120" y="0"/>
                      </a:cubicBezTo>
                      <a:cubicBezTo>
                        <a:pt x="180" y="0"/>
                        <a:pt x="239" y="0"/>
                        <a:pt x="299" y="60"/>
                      </a:cubicBezTo>
                      <a:lnTo>
                        <a:pt x="31220" y="37140"/>
                      </a:lnTo>
                      <a:cubicBezTo>
                        <a:pt x="31220" y="37260"/>
                        <a:pt x="31220" y="37320"/>
                        <a:pt x="31220" y="37380"/>
                      </a:cubicBezTo>
                      <a:cubicBezTo>
                        <a:pt x="31220" y="37380"/>
                        <a:pt x="31220" y="37380"/>
                        <a:pt x="31220" y="37380"/>
                      </a:cubicBezTo>
                      <a:close/>
                      <a:moveTo>
                        <a:pt x="1555" y="33851"/>
                      </a:moveTo>
                      <a:lnTo>
                        <a:pt x="30681" y="37081"/>
                      </a:lnTo>
                      <a:lnTo>
                        <a:pt x="359" y="658"/>
                      </a:lnTo>
                      <a:lnTo>
                        <a:pt x="1555" y="33851"/>
                      </a:lnTo>
                      <a:close/>
                    </a:path>
                  </a:pathLst>
                </a:custGeom>
                <a:grpFill/>
                <a:ln w="6350" cap="flat">
                  <a:solidFill>
                    <a:schemeClr val="bg1">
                      <a:alpha val="40000"/>
                    </a:schemeClr>
                  </a:solidFill>
                  <a:prstDash val="solid"/>
                  <a:miter/>
                </a:ln>
              </p:spPr>
              <p:txBody>
                <a:bodyPr rtlCol="0" anchor="ctr"/>
                <a:lstStyle/>
                <a:p>
                  <a:endParaRPr lang="en-GB"/>
                </a:p>
              </p:txBody>
            </p:sp>
            <p:sp>
              <p:nvSpPr>
                <p:cNvPr id="8905" name="Vrije vorm: vorm 8904">
                  <a:extLst>
                    <a:ext uri="{FF2B5EF4-FFF2-40B4-BE49-F238E27FC236}">
                      <a16:creationId xmlns:a16="http://schemas.microsoft.com/office/drawing/2014/main" id="{4556154B-AD2A-4D14-B939-11F91A4C88E1}"/>
                    </a:ext>
                  </a:extLst>
                </p:cNvPr>
                <p:cNvSpPr/>
                <p:nvPr/>
              </p:nvSpPr>
              <p:spPr>
                <a:xfrm>
                  <a:off x="4416723" y="2534670"/>
                  <a:ext cx="25836" cy="3588"/>
                </a:xfrm>
                <a:custGeom>
                  <a:avLst/>
                  <a:gdLst>
                    <a:gd name="connsiteX0" fmla="*/ 25837 w 25836"/>
                    <a:gd name="connsiteY0" fmla="*/ 3469 h 3588"/>
                    <a:gd name="connsiteX1" fmla="*/ 25837 w 25836"/>
                    <a:gd name="connsiteY1" fmla="*/ 3469 h 3588"/>
                    <a:gd name="connsiteX2" fmla="*/ 25717 w 25836"/>
                    <a:gd name="connsiteY2" fmla="*/ 3289 h 3588"/>
                    <a:gd name="connsiteX3" fmla="*/ 180 w 25836"/>
                    <a:gd name="connsiteY3" fmla="*/ 0 h 3588"/>
                    <a:gd name="connsiteX4" fmla="*/ 0 w 25836"/>
                    <a:gd name="connsiteY4" fmla="*/ 120 h 3588"/>
                    <a:gd name="connsiteX5" fmla="*/ 0 w 25836"/>
                    <a:gd name="connsiteY5" fmla="*/ 120 h 3588"/>
                    <a:gd name="connsiteX6" fmla="*/ 120 w 25836"/>
                    <a:gd name="connsiteY6" fmla="*/ 299 h 3588"/>
                    <a:gd name="connsiteX7" fmla="*/ 25658 w 25836"/>
                    <a:gd name="connsiteY7" fmla="*/ 3588 h 3588"/>
                    <a:gd name="connsiteX8" fmla="*/ 25837 w 25836"/>
                    <a:gd name="connsiteY8" fmla="*/ 3469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36" h="3588">
                      <a:moveTo>
                        <a:pt x="25837" y="3469"/>
                      </a:moveTo>
                      <a:cubicBezTo>
                        <a:pt x="25837" y="3469"/>
                        <a:pt x="25837" y="3469"/>
                        <a:pt x="25837" y="3469"/>
                      </a:cubicBezTo>
                      <a:cubicBezTo>
                        <a:pt x="25837" y="3349"/>
                        <a:pt x="25777" y="3289"/>
                        <a:pt x="25717" y="3289"/>
                      </a:cubicBezTo>
                      <a:lnTo>
                        <a:pt x="180" y="0"/>
                      </a:lnTo>
                      <a:cubicBezTo>
                        <a:pt x="120" y="0"/>
                        <a:pt x="0" y="60"/>
                        <a:pt x="0" y="120"/>
                      </a:cubicBezTo>
                      <a:cubicBezTo>
                        <a:pt x="0" y="120"/>
                        <a:pt x="0" y="120"/>
                        <a:pt x="0" y="120"/>
                      </a:cubicBezTo>
                      <a:cubicBezTo>
                        <a:pt x="0" y="179"/>
                        <a:pt x="60" y="299"/>
                        <a:pt x="120" y="299"/>
                      </a:cubicBezTo>
                      <a:lnTo>
                        <a:pt x="25658" y="3588"/>
                      </a:lnTo>
                      <a:cubicBezTo>
                        <a:pt x="25777" y="3588"/>
                        <a:pt x="25837" y="3529"/>
                        <a:pt x="25837" y="346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06" name="Vrije vorm: vorm 8905">
                  <a:extLst>
                    <a:ext uri="{FF2B5EF4-FFF2-40B4-BE49-F238E27FC236}">
                      <a16:creationId xmlns:a16="http://schemas.microsoft.com/office/drawing/2014/main" id="{1B420D00-A371-4871-A748-7395914E1763}"/>
                    </a:ext>
                  </a:extLst>
                </p:cNvPr>
                <p:cNvSpPr/>
                <p:nvPr/>
              </p:nvSpPr>
              <p:spPr>
                <a:xfrm>
                  <a:off x="4454461" y="2503749"/>
                  <a:ext cx="40669" cy="34688"/>
                </a:xfrm>
                <a:custGeom>
                  <a:avLst/>
                  <a:gdLst>
                    <a:gd name="connsiteX0" fmla="*/ 40669 w 40669"/>
                    <a:gd name="connsiteY0" fmla="*/ 29066 h 34688"/>
                    <a:gd name="connsiteX1" fmla="*/ 40549 w 40669"/>
                    <a:gd name="connsiteY1" fmla="*/ 29126 h 34688"/>
                    <a:gd name="connsiteX2" fmla="*/ 718 w 40669"/>
                    <a:gd name="connsiteY2" fmla="*/ 34688 h 34688"/>
                    <a:gd name="connsiteX3" fmla="*/ 598 w 40669"/>
                    <a:gd name="connsiteY3" fmla="*/ 34628 h 34688"/>
                    <a:gd name="connsiteX4" fmla="*/ 538 w 40669"/>
                    <a:gd name="connsiteY4" fmla="*/ 34509 h 34688"/>
                    <a:gd name="connsiteX5" fmla="*/ 0 w 40669"/>
                    <a:gd name="connsiteY5" fmla="*/ 4127 h 34688"/>
                    <a:gd name="connsiteX6" fmla="*/ 120 w 40669"/>
                    <a:gd name="connsiteY6" fmla="*/ 3947 h 34688"/>
                    <a:gd name="connsiteX7" fmla="*/ 31937 w 40669"/>
                    <a:gd name="connsiteY7" fmla="*/ 0 h 34688"/>
                    <a:gd name="connsiteX8" fmla="*/ 32116 w 40669"/>
                    <a:gd name="connsiteY8" fmla="*/ 120 h 34688"/>
                    <a:gd name="connsiteX9" fmla="*/ 40669 w 40669"/>
                    <a:gd name="connsiteY9" fmla="*/ 28827 h 34688"/>
                    <a:gd name="connsiteX10" fmla="*/ 40669 w 40669"/>
                    <a:gd name="connsiteY10" fmla="*/ 29066 h 34688"/>
                    <a:gd name="connsiteX11" fmla="*/ 40669 w 40669"/>
                    <a:gd name="connsiteY11" fmla="*/ 29066 h 34688"/>
                    <a:gd name="connsiteX12" fmla="*/ 299 w 40669"/>
                    <a:gd name="connsiteY12" fmla="*/ 4366 h 34688"/>
                    <a:gd name="connsiteX13" fmla="*/ 837 w 40669"/>
                    <a:gd name="connsiteY13" fmla="*/ 34389 h 34688"/>
                    <a:gd name="connsiteX14" fmla="*/ 40310 w 40669"/>
                    <a:gd name="connsiteY14" fmla="*/ 28827 h 34688"/>
                    <a:gd name="connsiteX15" fmla="*/ 31817 w 40669"/>
                    <a:gd name="connsiteY15" fmla="*/ 419 h 34688"/>
                    <a:gd name="connsiteX16" fmla="*/ 299 w 40669"/>
                    <a:gd name="connsiteY16" fmla="*/ 4366 h 3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669" h="34688">
                      <a:moveTo>
                        <a:pt x="40669" y="29066"/>
                      </a:moveTo>
                      <a:cubicBezTo>
                        <a:pt x="40669" y="29126"/>
                        <a:pt x="40609" y="29126"/>
                        <a:pt x="40549" y="29126"/>
                      </a:cubicBezTo>
                      <a:lnTo>
                        <a:pt x="718" y="34688"/>
                      </a:lnTo>
                      <a:cubicBezTo>
                        <a:pt x="658" y="34688"/>
                        <a:pt x="598" y="34688"/>
                        <a:pt x="598" y="34628"/>
                      </a:cubicBezTo>
                      <a:cubicBezTo>
                        <a:pt x="538" y="34628"/>
                        <a:pt x="538" y="34569"/>
                        <a:pt x="538" y="34509"/>
                      </a:cubicBezTo>
                      <a:lnTo>
                        <a:pt x="0" y="4127"/>
                      </a:lnTo>
                      <a:cubicBezTo>
                        <a:pt x="0" y="4007"/>
                        <a:pt x="60" y="3947"/>
                        <a:pt x="120" y="3947"/>
                      </a:cubicBezTo>
                      <a:lnTo>
                        <a:pt x="31937" y="0"/>
                      </a:lnTo>
                      <a:cubicBezTo>
                        <a:pt x="31997" y="0"/>
                        <a:pt x="32116" y="60"/>
                        <a:pt x="32116" y="120"/>
                      </a:cubicBezTo>
                      <a:lnTo>
                        <a:pt x="40669" y="28827"/>
                      </a:lnTo>
                      <a:cubicBezTo>
                        <a:pt x="40669" y="28947"/>
                        <a:pt x="40669" y="29007"/>
                        <a:pt x="40669" y="29066"/>
                      </a:cubicBezTo>
                      <a:cubicBezTo>
                        <a:pt x="40669" y="29007"/>
                        <a:pt x="40669" y="29066"/>
                        <a:pt x="40669" y="29066"/>
                      </a:cubicBezTo>
                      <a:close/>
                      <a:moveTo>
                        <a:pt x="299" y="4366"/>
                      </a:moveTo>
                      <a:lnTo>
                        <a:pt x="837" y="34389"/>
                      </a:lnTo>
                      <a:lnTo>
                        <a:pt x="40310" y="28827"/>
                      </a:lnTo>
                      <a:lnTo>
                        <a:pt x="31817" y="419"/>
                      </a:lnTo>
                      <a:lnTo>
                        <a:pt x="299" y="4366"/>
                      </a:lnTo>
                      <a:close/>
                    </a:path>
                  </a:pathLst>
                </a:custGeom>
                <a:grpFill/>
                <a:ln w="6350" cap="flat">
                  <a:solidFill>
                    <a:schemeClr val="bg1">
                      <a:alpha val="40000"/>
                    </a:schemeClr>
                  </a:solidFill>
                  <a:prstDash val="solid"/>
                  <a:miter/>
                </a:ln>
              </p:spPr>
              <p:txBody>
                <a:bodyPr rtlCol="0" anchor="ctr"/>
                <a:lstStyle/>
                <a:p>
                  <a:endParaRPr lang="en-GB"/>
                </a:p>
              </p:txBody>
            </p:sp>
            <p:sp>
              <p:nvSpPr>
                <p:cNvPr id="8907" name="Vrije vorm: vorm 8906">
                  <a:extLst>
                    <a:ext uri="{FF2B5EF4-FFF2-40B4-BE49-F238E27FC236}">
                      <a16:creationId xmlns:a16="http://schemas.microsoft.com/office/drawing/2014/main" id="{504FECE5-9B39-443E-BBE1-B726B3498449}"/>
                    </a:ext>
                  </a:extLst>
                </p:cNvPr>
                <p:cNvSpPr/>
                <p:nvPr/>
              </p:nvSpPr>
              <p:spPr>
                <a:xfrm>
                  <a:off x="4493789" y="2442103"/>
                  <a:ext cx="59772" cy="65115"/>
                </a:xfrm>
                <a:custGeom>
                  <a:avLst/>
                  <a:gdLst>
                    <a:gd name="connsiteX0" fmla="*/ 59772 w 59772"/>
                    <a:gd name="connsiteY0" fmla="*/ 284 h 65115"/>
                    <a:gd name="connsiteX1" fmla="*/ 28672 w 59772"/>
                    <a:gd name="connsiteY1" fmla="*/ 64995 h 65115"/>
                    <a:gd name="connsiteX2" fmla="*/ 28493 w 59772"/>
                    <a:gd name="connsiteY2" fmla="*/ 65115 h 65115"/>
                    <a:gd name="connsiteX3" fmla="*/ 28373 w 59772"/>
                    <a:gd name="connsiteY3" fmla="*/ 64995 h 65115"/>
                    <a:gd name="connsiteX4" fmla="*/ 20838 w 59772"/>
                    <a:gd name="connsiteY4" fmla="*/ 24865 h 65115"/>
                    <a:gd name="connsiteX5" fmla="*/ 19163 w 59772"/>
                    <a:gd name="connsiteY5" fmla="*/ 25941 h 65115"/>
                    <a:gd name="connsiteX6" fmla="*/ 4630 w 59772"/>
                    <a:gd name="connsiteY6" fmla="*/ 57041 h 65115"/>
                    <a:gd name="connsiteX7" fmla="*/ 4391 w 59772"/>
                    <a:gd name="connsiteY7" fmla="*/ 57101 h 65115"/>
                    <a:gd name="connsiteX8" fmla="*/ 4331 w 59772"/>
                    <a:gd name="connsiteY8" fmla="*/ 56862 h 65115"/>
                    <a:gd name="connsiteX9" fmla="*/ 18685 w 59772"/>
                    <a:gd name="connsiteY9" fmla="*/ 26181 h 65115"/>
                    <a:gd name="connsiteX10" fmla="*/ 264 w 59772"/>
                    <a:gd name="connsiteY10" fmla="*/ 37723 h 65115"/>
                    <a:gd name="connsiteX11" fmla="*/ 25 w 59772"/>
                    <a:gd name="connsiteY11" fmla="*/ 37664 h 65115"/>
                    <a:gd name="connsiteX12" fmla="*/ 85 w 59772"/>
                    <a:gd name="connsiteY12" fmla="*/ 37424 h 65115"/>
                    <a:gd name="connsiteX13" fmla="*/ 18924 w 59772"/>
                    <a:gd name="connsiteY13" fmla="*/ 25583 h 65115"/>
                    <a:gd name="connsiteX14" fmla="*/ 20419 w 59772"/>
                    <a:gd name="connsiteY14" fmla="*/ 22353 h 65115"/>
                    <a:gd name="connsiteX15" fmla="*/ 20598 w 59772"/>
                    <a:gd name="connsiteY15" fmla="*/ 22233 h 65115"/>
                    <a:gd name="connsiteX16" fmla="*/ 20718 w 59772"/>
                    <a:gd name="connsiteY16" fmla="*/ 22353 h 65115"/>
                    <a:gd name="connsiteX17" fmla="*/ 21077 w 59772"/>
                    <a:gd name="connsiteY17" fmla="*/ 24207 h 65115"/>
                    <a:gd name="connsiteX18" fmla="*/ 59593 w 59772"/>
                    <a:gd name="connsiteY18" fmla="*/ 45 h 65115"/>
                    <a:gd name="connsiteX19" fmla="*/ 59772 w 59772"/>
                    <a:gd name="connsiteY19" fmla="*/ 45 h 65115"/>
                    <a:gd name="connsiteX20" fmla="*/ 59772 w 59772"/>
                    <a:gd name="connsiteY20" fmla="*/ 284 h 65115"/>
                    <a:gd name="connsiteX21" fmla="*/ 59772 w 59772"/>
                    <a:gd name="connsiteY21" fmla="*/ 284 h 65115"/>
                    <a:gd name="connsiteX22" fmla="*/ 28613 w 59772"/>
                    <a:gd name="connsiteY22" fmla="*/ 64398 h 65115"/>
                    <a:gd name="connsiteX23" fmla="*/ 59234 w 59772"/>
                    <a:gd name="connsiteY23" fmla="*/ 643 h 65115"/>
                    <a:gd name="connsiteX24" fmla="*/ 21077 w 59772"/>
                    <a:gd name="connsiteY24" fmla="*/ 24566 h 65115"/>
                    <a:gd name="connsiteX25" fmla="*/ 28613 w 59772"/>
                    <a:gd name="connsiteY25" fmla="*/ 64398 h 65115"/>
                    <a:gd name="connsiteX26" fmla="*/ 19402 w 59772"/>
                    <a:gd name="connsiteY26" fmla="*/ 25284 h 65115"/>
                    <a:gd name="connsiteX27" fmla="*/ 20778 w 59772"/>
                    <a:gd name="connsiteY27" fmla="*/ 24446 h 65115"/>
                    <a:gd name="connsiteX28" fmla="*/ 20479 w 59772"/>
                    <a:gd name="connsiteY28" fmla="*/ 23011 h 65115"/>
                    <a:gd name="connsiteX29" fmla="*/ 19402 w 59772"/>
                    <a:gd name="connsiteY29" fmla="*/ 25284 h 6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9772" h="65115">
                      <a:moveTo>
                        <a:pt x="59772" y="284"/>
                      </a:moveTo>
                      <a:lnTo>
                        <a:pt x="28672" y="64995"/>
                      </a:lnTo>
                      <a:cubicBezTo>
                        <a:pt x="28613" y="65055"/>
                        <a:pt x="28553" y="65115"/>
                        <a:pt x="28493" y="65115"/>
                      </a:cubicBezTo>
                      <a:cubicBezTo>
                        <a:pt x="28433" y="65115"/>
                        <a:pt x="28373" y="65055"/>
                        <a:pt x="28373" y="64995"/>
                      </a:cubicBezTo>
                      <a:lnTo>
                        <a:pt x="20838" y="24865"/>
                      </a:lnTo>
                      <a:lnTo>
                        <a:pt x="19163" y="25941"/>
                      </a:lnTo>
                      <a:lnTo>
                        <a:pt x="4630" y="57041"/>
                      </a:lnTo>
                      <a:cubicBezTo>
                        <a:pt x="4570" y="57101"/>
                        <a:pt x="4510" y="57161"/>
                        <a:pt x="4391" y="57101"/>
                      </a:cubicBezTo>
                      <a:cubicBezTo>
                        <a:pt x="4331" y="57041"/>
                        <a:pt x="4271" y="56981"/>
                        <a:pt x="4331" y="56862"/>
                      </a:cubicBezTo>
                      <a:lnTo>
                        <a:pt x="18685" y="26181"/>
                      </a:lnTo>
                      <a:lnTo>
                        <a:pt x="264" y="37723"/>
                      </a:lnTo>
                      <a:cubicBezTo>
                        <a:pt x="204" y="37783"/>
                        <a:pt x="85" y="37723"/>
                        <a:pt x="25" y="37664"/>
                      </a:cubicBezTo>
                      <a:cubicBezTo>
                        <a:pt x="-35" y="37604"/>
                        <a:pt x="25" y="37484"/>
                        <a:pt x="85" y="37424"/>
                      </a:cubicBezTo>
                      <a:lnTo>
                        <a:pt x="18924" y="25583"/>
                      </a:lnTo>
                      <a:lnTo>
                        <a:pt x="20419" y="22353"/>
                      </a:lnTo>
                      <a:cubicBezTo>
                        <a:pt x="20419" y="22293"/>
                        <a:pt x="20539" y="22233"/>
                        <a:pt x="20598" y="22233"/>
                      </a:cubicBezTo>
                      <a:cubicBezTo>
                        <a:pt x="20658" y="22233"/>
                        <a:pt x="20718" y="22293"/>
                        <a:pt x="20718" y="22353"/>
                      </a:cubicBezTo>
                      <a:lnTo>
                        <a:pt x="21077" y="24207"/>
                      </a:lnTo>
                      <a:lnTo>
                        <a:pt x="59593" y="45"/>
                      </a:lnTo>
                      <a:cubicBezTo>
                        <a:pt x="59653" y="-15"/>
                        <a:pt x="59712" y="-15"/>
                        <a:pt x="59772" y="45"/>
                      </a:cubicBezTo>
                      <a:cubicBezTo>
                        <a:pt x="59772" y="164"/>
                        <a:pt x="59772" y="224"/>
                        <a:pt x="59772" y="284"/>
                      </a:cubicBezTo>
                      <a:cubicBezTo>
                        <a:pt x="59772" y="284"/>
                        <a:pt x="59772" y="284"/>
                        <a:pt x="59772" y="284"/>
                      </a:cubicBezTo>
                      <a:close/>
                      <a:moveTo>
                        <a:pt x="28613" y="64398"/>
                      </a:moveTo>
                      <a:lnTo>
                        <a:pt x="59234" y="643"/>
                      </a:lnTo>
                      <a:lnTo>
                        <a:pt x="21077" y="24566"/>
                      </a:lnTo>
                      <a:lnTo>
                        <a:pt x="28613" y="64398"/>
                      </a:lnTo>
                      <a:close/>
                      <a:moveTo>
                        <a:pt x="19402" y="25284"/>
                      </a:moveTo>
                      <a:lnTo>
                        <a:pt x="20778" y="24446"/>
                      </a:lnTo>
                      <a:lnTo>
                        <a:pt x="20479" y="23011"/>
                      </a:lnTo>
                      <a:lnTo>
                        <a:pt x="19402" y="25284"/>
                      </a:lnTo>
                      <a:close/>
                    </a:path>
                  </a:pathLst>
                </a:custGeom>
                <a:grpFill/>
                <a:ln w="6350" cap="flat">
                  <a:solidFill>
                    <a:schemeClr val="bg1">
                      <a:alpha val="40000"/>
                    </a:schemeClr>
                  </a:solidFill>
                  <a:prstDash val="solid"/>
                  <a:miter/>
                </a:ln>
              </p:spPr>
              <p:txBody>
                <a:bodyPr rtlCol="0" anchor="ctr"/>
                <a:lstStyle/>
                <a:p>
                  <a:endParaRPr lang="en-GB"/>
                </a:p>
              </p:txBody>
            </p:sp>
            <p:sp>
              <p:nvSpPr>
                <p:cNvPr id="8908" name="Vrije vorm: vorm 8907">
                  <a:extLst>
                    <a:ext uri="{FF2B5EF4-FFF2-40B4-BE49-F238E27FC236}">
                      <a16:creationId xmlns:a16="http://schemas.microsoft.com/office/drawing/2014/main" id="{DB302454-E527-486A-8C0B-298FA4C35725}"/>
                    </a:ext>
                  </a:extLst>
                </p:cNvPr>
                <p:cNvSpPr/>
                <p:nvPr/>
              </p:nvSpPr>
              <p:spPr>
                <a:xfrm>
                  <a:off x="4486134" y="2442029"/>
                  <a:ext cx="72795" cy="62104"/>
                </a:xfrm>
                <a:custGeom>
                  <a:avLst/>
                  <a:gdLst>
                    <a:gd name="connsiteX0" fmla="*/ 72750 w 72795"/>
                    <a:gd name="connsiteY0" fmla="*/ 4366 h 62104"/>
                    <a:gd name="connsiteX1" fmla="*/ 61805 w 72795"/>
                    <a:gd name="connsiteY1" fmla="*/ 25119 h 62104"/>
                    <a:gd name="connsiteX2" fmla="*/ 59114 w 72795"/>
                    <a:gd name="connsiteY2" fmla="*/ 36901 h 62104"/>
                    <a:gd name="connsiteX3" fmla="*/ 58995 w 72795"/>
                    <a:gd name="connsiteY3" fmla="*/ 37020 h 62104"/>
                    <a:gd name="connsiteX4" fmla="*/ 58815 w 72795"/>
                    <a:gd name="connsiteY4" fmla="*/ 36961 h 62104"/>
                    <a:gd name="connsiteX5" fmla="*/ 57141 w 72795"/>
                    <a:gd name="connsiteY5" fmla="*/ 33911 h 62104"/>
                    <a:gd name="connsiteX6" fmla="*/ 47811 w 72795"/>
                    <a:gd name="connsiteY6" fmla="*/ 51613 h 62104"/>
                    <a:gd name="connsiteX7" fmla="*/ 47811 w 72795"/>
                    <a:gd name="connsiteY7" fmla="*/ 51613 h 62104"/>
                    <a:gd name="connsiteX8" fmla="*/ 47691 w 72795"/>
                    <a:gd name="connsiteY8" fmla="*/ 51673 h 62104"/>
                    <a:gd name="connsiteX9" fmla="*/ 47691 w 72795"/>
                    <a:gd name="connsiteY9" fmla="*/ 51673 h 62104"/>
                    <a:gd name="connsiteX10" fmla="*/ 47691 w 72795"/>
                    <a:gd name="connsiteY10" fmla="*/ 51673 h 62104"/>
                    <a:gd name="connsiteX11" fmla="*/ 47691 w 72795"/>
                    <a:gd name="connsiteY11" fmla="*/ 51673 h 62104"/>
                    <a:gd name="connsiteX12" fmla="*/ 47691 w 72795"/>
                    <a:gd name="connsiteY12" fmla="*/ 51673 h 62104"/>
                    <a:gd name="connsiteX13" fmla="*/ 47691 w 72795"/>
                    <a:gd name="connsiteY13" fmla="*/ 51673 h 62104"/>
                    <a:gd name="connsiteX14" fmla="*/ 47691 w 72795"/>
                    <a:gd name="connsiteY14" fmla="*/ 51673 h 62104"/>
                    <a:gd name="connsiteX15" fmla="*/ 47691 w 72795"/>
                    <a:gd name="connsiteY15" fmla="*/ 51673 h 62104"/>
                    <a:gd name="connsiteX16" fmla="*/ 47691 w 72795"/>
                    <a:gd name="connsiteY16" fmla="*/ 51673 h 62104"/>
                    <a:gd name="connsiteX17" fmla="*/ 47691 w 72795"/>
                    <a:gd name="connsiteY17" fmla="*/ 51673 h 62104"/>
                    <a:gd name="connsiteX18" fmla="*/ 47631 w 72795"/>
                    <a:gd name="connsiteY18" fmla="*/ 51673 h 62104"/>
                    <a:gd name="connsiteX19" fmla="*/ 7979 w 72795"/>
                    <a:gd name="connsiteY19" fmla="*/ 37858 h 62104"/>
                    <a:gd name="connsiteX20" fmla="*/ 12225 w 72795"/>
                    <a:gd name="connsiteY20" fmla="*/ 56877 h 62104"/>
                    <a:gd name="connsiteX21" fmla="*/ 12106 w 72795"/>
                    <a:gd name="connsiteY21" fmla="*/ 57056 h 62104"/>
                    <a:gd name="connsiteX22" fmla="*/ 264 w 72795"/>
                    <a:gd name="connsiteY22" fmla="*/ 62080 h 62104"/>
                    <a:gd name="connsiteX23" fmla="*/ 25 w 72795"/>
                    <a:gd name="connsiteY23" fmla="*/ 62020 h 62104"/>
                    <a:gd name="connsiteX24" fmla="*/ 84 w 72795"/>
                    <a:gd name="connsiteY24" fmla="*/ 61781 h 62104"/>
                    <a:gd name="connsiteX25" fmla="*/ 11807 w 72795"/>
                    <a:gd name="connsiteY25" fmla="*/ 56817 h 62104"/>
                    <a:gd name="connsiteX26" fmla="*/ 7501 w 72795"/>
                    <a:gd name="connsiteY26" fmla="*/ 37619 h 62104"/>
                    <a:gd name="connsiteX27" fmla="*/ 7560 w 72795"/>
                    <a:gd name="connsiteY27" fmla="*/ 37439 h 62104"/>
                    <a:gd name="connsiteX28" fmla="*/ 7740 w 72795"/>
                    <a:gd name="connsiteY28" fmla="*/ 37380 h 62104"/>
                    <a:gd name="connsiteX29" fmla="*/ 47571 w 72795"/>
                    <a:gd name="connsiteY29" fmla="*/ 51255 h 62104"/>
                    <a:gd name="connsiteX30" fmla="*/ 55466 w 72795"/>
                    <a:gd name="connsiteY30" fmla="*/ 30801 h 62104"/>
                    <a:gd name="connsiteX31" fmla="*/ 44462 w 72795"/>
                    <a:gd name="connsiteY31" fmla="*/ 10825 h 62104"/>
                    <a:gd name="connsiteX32" fmla="*/ 44462 w 72795"/>
                    <a:gd name="connsiteY32" fmla="*/ 10705 h 62104"/>
                    <a:gd name="connsiteX33" fmla="*/ 44581 w 72795"/>
                    <a:gd name="connsiteY33" fmla="*/ 10586 h 62104"/>
                    <a:gd name="connsiteX34" fmla="*/ 64915 w 72795"/>
                    <a:gd name="connsiteY34" fmla="*/ 5801 h 62104"/>
                    <a:gd name="connsiteX35" fmla="*/ 67068 w 72795"/>
                    <a:gd name="connsiteY35" fmla="*/ 120 h 62104"/>
                    <a:gd name="connsiteX36" fmla="*/ 67248 w 72795"/>
                    <a:gd name="connsiteY36" fmla="*/ 0 h 62104"/>
                    <a:gd name="connsiteX37" fmla="*/ 67367 w 72795"/>
                    <a:gd name="connsiteY37" fmla="*/ 179 h 62104"/>
                    <a:gd name="connsiteX38" fmla="*/ 66172 w 72795"/>
                    <a:gd name="connsiteY38" fmla="*/ 5502 h 62104"/>
                    <a:gd name="connsiteX39" fmla="*/ 72511 w 72795"/>
                    <a:gd name="connsiteY39" fmla="*/ 4007 h 62104"/>
                    <a:gd name="connsiteX40" fmla="*/ 72690 w 72795"/>
                    <a:gd name="connsiteY40" fmla="*/ 4067 h 62104"/>
                    <a:gd name="connsiteX41" fmla="*/ 72750 w 72795"/>
                    <a:gd name="connsiteY41" fmla="*/ 4366 h 62104"/>
                    <a:gd name="connsiteX42" fmla="*/ 72750 w 72795"/>
                    <a:gd name="connsiteY42" fmla="*/ 4366 h 62104"/>
                    <a:gd name="connsiteX43" fmla="*/ 62105 w 72795"/>
                    <a:gd name="connsiteY43" fmla="*/ 23983 h 62104"/>
                    <a:gd name="connsiteX44" fmla="*/ 72332 w 72795"/>
                    <a:gd name="connsiteY44" fmla="*/ 4605 h 62104"/>
                    <a:gd name="connsiteX45" fmla="*/ 66172 w 72795"/>
                    <a:gd name="connsiteY45" fmla="*/ 6040 h 62104"/>
                    <a:gd name="connsiteX46" fmla="*/ 62105 w 72795"/>
                    <a:gd name="connsiteY46" fmla="*/ 23983 h 62104"/>
                    <a:gd name="connsiteX47" fmla="*/ 65872 w 72795"/>
                    <a:gd name="connsiteY47" fmla="*/ 5741 h 62104"/>
                    <a:gd name="connsiteX48" fmla="*/ 66590 w 72795"/>
                    <a:gd name="connsiteY48" fmla="*/ 2572 h 62104"/>
                    <a:gd name="connsiteX49" fmla="*/ 65334 w 72795"/>
                    <a:gd name="connsiteY49" fmla="*/ 5861 h 62104"/>
                    <a:gd name="connsiteX50" fmla="*/ 65872 w 72795"/>
                    <a:gd name="connsiteY50" fmla="*/ 5741 h 62104"/>
                    <a:gd name="connsiteX51" fmla="*/ 55885 w 72795"/>
                    <a:gd name="connsiteY51" fmla="*/ 30920 h 62104"/>
                    <a:gd name="connsiteX52" fmla="*/ 57200 w 72795"/>
                    <a:gd name="connsiteY52" fmla="*/ 33312 h 62104"/>
                    <a:gd name="connsiteX53" fmla="*/ 61566 w 72795"/>
                    <a:gd name="connsiteY53" fmla="*/ 25059 h 62104"/>
                    <a:gd name="connsiteX54" fmla="*/ 65872 w 72795"/>
                    <a:gd name="connsiteY54" fmla="*/ 6100 h 62104"/>
                    <a:gd name="connsiteX55" fmla="*/ 65274 w 72795"/>
                    <a:gd name="connsiteY55" fmla="*/ 6220 h 62104"/>
                    <a:gd name="connsiteX56" fmla="*/ 55885 w 72795"/>
                    <a:gd name="connsiteY56" fmla="*/ 30920 h 62104"/>
                    <a:gd name="connsiteX57" fmla="*/ 58935 w 72795"/>
                    <a:gd name="connsiteY57" fmla="*/ 36482 h 62104"/>
                    <a:gd name="connsiteX58" fmla="*/ 61267 w 72795"/>
                    <a:gd name="connsiteY58" fmla="*/ 26255 h 62104"/>
                    <a:gd name="connsiteX59" fmla="*/ 57380 w 72795"/>
                    <a:gd name="connsiteY59" fmla="*/ 33612 h 62104"/>
                    <a:gd name="connsiteX60" fmla="*/ 58935 w 72795"/>
                    <a:gd name="connsiteY60" fmla="*/ 36482 h 62104"/>
                    <a:gd name="connsiteX61" fmla="*/ 55705 w 72795"/>
                    <a:gd name="connsiteY61" fmla="*/ 30561 h 62104"/>
                    <a:gd name="connsiteX62" fmla="*/ 64856 w 72795"/>
                    <a:gd name="connsiteY62" fmla="*/ 6340 h 62104"/>
                    <a:gd name="connsiteX63" fmla="*/ 44940 w 72795"/>
                    <a:gd name="connsiteY63" fmla="*/ 11005 h 62104"/>
                    <a:gd name="connsiteX64" fmla="*/ 55705 w 72795"/>
                    <a:gd name="connsiteY64" fmla="*/ 30561 h 62104"/>
                    <a:gd name="connsiteX65" fmla="*/ 49066 w 72795"/>
                    <a:gd name="connsiteY65" fmla="*/ 48743 h 62104"/>
                    <a:gd name="connsiteX66" fmla="*/ 57021 w 72795"/>
                    <a:gd name="connsiteY66" fmla="*/ 33671 h 62104"/>
                    <a:gd name="connsiteX67" fmla="*/ 55765 w 72795"/>
                    <a:gd name="connsiteY67" fmla="*/ 31339 h 62104"/>
                    <a:gd name="connsiteX68" fmla="*/ 49066 w 72795"/>
                    <a:gd name="connsiteY68" fmla="*/ 48743 h 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2795" h="62104">
                      <a:moveTo>
                        <a:pt x="72750" y="4366"/>
                      </a:moveTo>
                      <a:lnTo>
                        <a:pt x="61805" y="25119"/>
                      </a:lnTo>
                      <a:lnTo>
                        <a:pt x="59114" y="36901"/>
                      </a:lnTo>
                      <a:cubicBezTo>
                        <a:pt x="59114" y="36961"/>
                        <a:pt x="59055" y="37020"/>
                        <a:pt x="58995" y="37020"/>
                      </a:cubicBezTo>
                      <a:cubicBezTo>
                        <a:pt x="58935" y="37020"/>
                        <a:pt x="58875" y="37020"/>
                        <a:pt x="58815" y="36961"/>
                      </a:cubicBezTo>
                      <a:lnTo>
                        <a:pt x="57141" y="33911"/>
                      </a:lnTo>
                      <a:lnTo>
                        <a:pt x="47811" y="51613"/>
                      </a:lnTo>
                      <a:cubicBezTo>
                        <a:pt x="47811" y="51613"/>
                        <a:pt x="47811" y="51613"/>
                        <a:pt x="47811" y="51613"/>
                      </a:cubicBezTo>
                      <a:cubicBezTo>
                        <a:pt x="47811" y="51673"/>
                        <a:pt x="47751" y="51673"/>
                        <a:pt x="47691" y="51673"/>
                      </a:cubicBezTo>
                      <a:lnTo>
                        <a:pt x="47691" y="51673"/>
                      </a:lnTo>
                      <a:cubicBezTo>
                        <a:pt x="47691" y="51673"/>
                        <a:pt x="47691" y="51673"/>
                        <a:pt x="47691" y="51673"/>
                      </a:cubicBezTo>
                      <a:lnTo>
                        <a:pt x="47691" y="51673"/>
                      </a:lnTo>
                      <a:lnTo>
                        <a:pt x="47691" y="51673"/>
                      </a:lnTo>
                      <a:lnTo>
                        <a:pt x="47691" y="51673"/>
                      </a:lnTo>
                      <a:cubicBezTo>
                        <a:pt x="47691" y="51673"/>
                        <a:pt x="47691" y="51673"/>
                        <a:pt x="47691" y="51673"/>
                      </a:cubicBezTo>
                      <a:lnTo>
                        <a:pt x="47691" y="51673"/>
                      </a:lnTo>
                      <a:lnTo>
                        <a:pt x="47691" y="51673"/>
                      </a:lnTo>
                      <a:lnTo>
                        <a:pt x="47691" y="51673"/>
                      </a:lnTo>
                      <a:cubicBezTo>
                        <a:pt x="47631" y="51673"/>
                        <a:pt x="47631" y="51673"/>
                        <a:pt x="47631" y="51673"/>
                      </a:cubicBezTo>
                      <a:lnTo>
                        <a:pt x="7979" y="37858"/>
                      </a:lnTo>
                      <a:lnTo>
                        <a:pt x="12225" y="56877"/>
                      </a:lnTo>
                      <a:cubicBezTo>
                        <a:pt x="12225" y="56936"/>
                        <a:pt x="12225" y="57056"/>
                        <a:pt x="12106" y="57056"/>
                      </a:cubicBezTo>
                      <a:lnTo>
                        <a:pt x="264" y="62080"/>
                      </a:lnTo>
                      <a:cubicBezTo>
                        <a:pt x="204" y="62140"/>
                        <a:pt x="84" y="62080"/>
                        <a:pt x="25" y="62020"/>
                      </a:cubicBezTo>
                      <a:cubicBezTo>
                        <a:pt x="-35" y="61960"/>
                        <a:pt x="25" y="61841"/>
                        <a:pt x="84" y="61781"/>
                      </a:cubicBezTo>
                      <a:lnTo>
                        <a:pt x="11807" y="56817"/>
                      </a:lnTo>
                      <a:lnTo>
                        <a:pt x="7501" y="37619"/>
                      </a:lnTo>
                      <a:cubicBezTo>
                        <a:pt x="7501" y="37559"/>
                        <a:pt x="7501" y="37499"/>
                        <a:pt x="7560" y="37439"/>
                      </a:cubicBezTo>
                      <a:cubicBezTo>
                        <a:pt x="7620" y="37380"/>
                        <a:pt x="7680" y="37380"/>
                        <a:pt x="7740" y="37380"/>
                      </a:cubicBezTo>
                      <a:lnTo>
                        <a:pt x="47571" y="51255"/>
                      </a:lnTo>
                      <a:cubicBezTo>
                        <a:pt x="48170" y="49999"/>
                        <a:pt x="51579" y="40908"/>
                        <a:pt x="55466" y="30801"/>
                      </a:cubicBezTo>
                      <a:lnTo>
                        <a:pt x="44462" y="10825"/>
                      </a:lnTo>
                      <a:cubicBezTo>
                        <a:pt x="44462" y="10765"/>
                        <a:pt x="44462" y="10705"/>
                        <a:pt x="44462" y="10705"/>
                      </a:cubicBezTo>
                      <a:cubicBezTo>
                        <a:pt x="44462" y="10646"/>
                        <a:pt x="44521" y="10646"/>
                        <a:pt x="44581" y="10586"/>
                      </a:cubicBezTo>
                      <a:lnTo>
                        <a:pt x="64915" y="5801"/>
                      </a:lnTo>
                      <a:cubicBezTo>
                        <a:pt x="66231" y="2392"/>
                        <a:pt x="67009" y="239"/>
                        <a:pt x="67068" y="120"/>
                      </a:cubicBezTo>
                      <a:cubicBezTo>
                        <a:pt x="67128" y="60"/>
                        <a:pt x="67188" y="0"/>
                        <a:pt x="67248" y="0"/>
                      </a:cubicBezTo>
                      <a:cubicBezTo>
                        <a:pt x="67308" y="0"/>
                        <a:pt x="67367" y="120"/>
                        <a:pt x="67367" y="179"/>
                      </a:cubicBezTo>
                      <a:lnTo>
                        <a:pt x="66172" y="5502"/>
                      </a:lnTo>
                      <a:lnTo>
                        <a:pt x="72511" y="4007"/>
                      </a:lnTo>
                      <a:cubicBezTo>
                        <a:pt x="72571" y="4007"/>
                        <a:pt x="72631" y="4007"/>
                        <a:pt x="72690" y="4067"/>
                      </a:cubicBezTo>
                      <a:cubicBezTo>
                        <a:pt x="72810" y="4246"/>
                        <a:pt x="72810" y="4306"/>
                        <a:pt x="72750" y="4366"/>
                      </a:cubicBezTo>
                      <a:cubicBezTo>
                        <a:pt x="72810" y="4366"/>
                        <a:pt x="72810" y="4366"/>
                        <a:pt x="72750" y="4366"/>
                      </a:cubicBezTo>
                      <a:close/>
                      <a:moveTo>
                        <a:pt x="62105" y="23983"/>
                      </a:moveTo>
                      <a:lnTo>
                        <a:pt x="72332" y="4605"/>
                      </a:lnTo>
                      <a:lnTo>
                        <a:pt x="66172" y="6040"/>
                      </a:lnTo>
                      <a:lnTo>
                        <a:pt x="62105" y="23983"/>
                      </a:lnTo>
                      <a:close/>
                      <a:moveTo>
                        <a:pt x="65872" y="5741"/>
                      </a:moveTo>
                      <a:lnTo>
                        <a:pt x="66590" y="2572"/>
                      </a:lnTo>
                      <a:cubicBezTo>
                        <a:pt x="66231" y="3469"/>
                        <a:pt x="65813" y="4605"/>
                        <a:pt x="65334" y="5861"/>
                      </a:cubicBezTo>
                      <a:lnTo>
                        <a:pt x="65872" y="5741"/>
                      </a:lnTo>
                      <a:close/>
                      <a:moveTo>
                        <a:pt x="55885" y="30920"/>
                      </a:moveTo>
                      <a:lnTo>
                        <a:pt x="57200" y="33312"/>
                      </a:lnTo>
                      <a:lnTo>
                        <a:pt x="61566" y="25059"/>
                      </a:lnTo>
                      <a:lnTo>
                        <a:pt x="65872" y="6100"/>
                      </a:lnTo>
                      <a:lnTo>
                        <a:pt x="65274" y="6220"/>
                      </a:lnTo>
                      <a:cubicBezTo>
                        <a:pt x="62942" y="12260"/>
                        <a:pt x="59294" y="22009"/>
                        <a:pt x="55885" y="30920"/>
                      </a:cubicBezTo>
                      <a:close/>
                      <a:moveTo>
                        <a:pt x="58935" y="36482"/>
                      </a:moveTo>
                      <a:lnTo>
                        <a:pt x="61267" y="26255"/>
                      </a:lnTo>
                      <a:lnTo>
                        <a:pt x="57380" y="33612"/>
                      </a:lnTo>
                      <a:lnTo>
                        <a:pt x="58935" y="36482"/>
                      </a:lnTo>
                      <a:close/>
                      <a:moveTo>
                        <a:pt x="55705" y="30561"/>
                      </a:moveTo>
                      <a:cubicBezTo>
                        <a:pt x="59055" y="21830"/>
                        <a:pt x="62643" y="12320"/>
                        <a:pt x="64856" y="6340"/>
                      </a:cubicBezTo>
                      <a:lnTo>
                        <a:pt x="44940" y="11005"/>
                      </a:lnTo>
                      <a:lnTo>
                        <a:pt x="55705" y="30561"/>
                      </a:lnTo>
                      <a:close/>
                      <a:moveTo>
                        <a:pt x="49066" y="48743"/>
                      </a:moveTo>
                      <a:lnTo>
                        <a:pt x="57021" y="33671"/>
                      </a:lnTo>
                      <a:lnTo>
                        <a:pt x="55765" y="31339"/>
                      </a:lnTo>
                      <a:cubicBezTo>
                        <a:pt x="53014" y="38456"/>
                        <a:pt x="50502" y="45035"/>
                        <a:pt x="49066" y="4874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09" name="Vrije vorm: vorm 8908">
                  <a:extLst>
                    <a:ext uri="{FF2B5EF4-FFF2-40B4-BE49-F238E27FC236}">
                      <a16:creationId xmlns:a16="http://schemas.microsoft.com/office/drawing/2014/main" id="{551681C2-E803-445E-9DB2-C7528897C08E}"/>
                    </a:ext>
                  </a:extLst>
                </p:cNvPr>
                <p:cNvSpPr/>
                <p:nvPr/>
              </p:nvSpPr>
              <p:spPr>
                <a:xfrm>
                  <a:off x="4278962" y="2596989"/>
                  <a:ext cx="76338" cy="46589"/>
                </a:xfrm>
                <a:custGeom>
                  <a:avLst/>
                  <a:gdLst>
                    <a:gd name="connsiteX0" fmla="*/ 76339 w 76338"/>
                    <a:gd name="connsiteY0" fmla="*/ 1435 h 46589"/>
                    <a:gd name="connsiteX1" fmla="*/ 76339 w 76338"/>
                    <a:gd name="connsiteY1" fmla="*/ 1435 h 46589"/>
                    <a:gd name="connsiteX2" fmla="*/ 76159 w 76338"/>
                    <a:gd name="connsiteY2" fmla="*/ 1256 h 46589"/>
                    <a:gd name="connsiteX3" fmla="*/ 46854 w 76338"/>
                    <a:gd name="connsiteY3" fmla="*/ 0 h 46589"/>
                    <a:gd name="connsiteX4" fmla="*/ 46674 w 76338"/>
                    <a:gd name="connsiteY4" fmla="*/ 120 h 46589"/>
                    <a:gd name="connsiteX5" fmla="*/ 46674 w 76338"/>
                    <a:gd name="connsiteY5" fmla="*/ 120 h 46589"/>
                    <a:gd name="connsiteX6" fmla="*/ 41052 w 76338"/>
                    <a:gd name="connsiteY6" fmla="*/ 43600 h 46589"/>
                    <a:gd name="connsiteX7" fmla="*/ 8816 w 76338"/>
                    <a:gd name="connsiteY7" fmla="*/ 27631 h 46589"/>
                    <a:gd name="connsiteX8" fmla="*/ 8697 w 76338"/>
                    <a:gd name="connsiteY8" fmla="*/ 27631 h 46589"/>
                    <a:gd name="connsiteX9" fmla="*/ 8637 w 76338"/>
                    <a:gd name="connsiteY9" fmla="*/ 27751 h 46589"/>
                    <a:gd name="connsiteX10" fmla="*/ 4809 w 76338"/>
                    <a:gd name="connsiteY10" fmla="*/ 45872 h 46589"/>
                    <a:gd name="connsiteX11" fmla="*/ 324 w 76338"/>
                    <a:gd name="connsiteY11" fmla="*/ 35526 h 46589"/>
                    <a:gd name="connsiteX12" fmla="*/ 85 w 76338"/>
                    <a:gd name="connsiteY12" fmla="*/ 35466 h 46589"/>
                    <a:gd name="connsiteX13" fmla="*/ 25 w 76338"/>
                    <a:gd name="connsiteY13" fmla="*/ 35705 h 46589"/>
                    <a:gd name="connsiteX14" fmla="*/ 4690 w 76338"/>
                    <a:gd name="connsiteY14" fmla="*/ 46470 h 46589"/>
                    <a:gd name="connsiteX15" fmla="*/ 4869 w 76338"/>
                    <a:gd name="connsiteY15" fmla="*/ 46590 h 46589"/>
                    <a:gd name="connsiteX16" fmla="*/ 4989 w 76338"/>
                    <a:gd name="connsiteY16" fmla="*/ 46470 h 46589"/>
                    <a:gd name="connsiteX17" fmla="*/ 8876 w 76338"/>
                    <a:gd name="connsiteY17" fmla="*/ 28050 h 46589"/>
                    <a:gd name="connsiteX18" fmla="*/ 41172 w 76338"/>
                    <a:gd name="connsiteY18" fmla="*/ 44018 h 46589"/>
                    <a:gd name="connsiteX19" fmla="*/ 41292 w 76338"/>
                    <a:gd name="connsiteY19" fmla="*/ 44018 h 46589"/>
                    <a:gd name="connsiteX20" fmla="*/ 41351 w 76338"/>
                    <a:gd name="connsiteY20" fmla="*/ 43899 h 46589"/>
                    <a:gd name="connsiteX21" fmla="*/ 46973 w 76338"/>
                    <a:gd name="connsiteY21" fmla="*/ 299 h 46589"/>
                    <a:gd name="connsiteX22" fmla="*/ 76159 w 76338"/>
                    <a:gd name="connsiteY22" fmla="*/ 1555 h 46589"/>
                    <a:gd name="connsiteX23" fmla="*/ 76339 w 76338"/>
                    <a:gd name="connsiteY23" fmla="*/ 1435 h 4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338" h="46589">
                      <a:moveTo>
                        <a:pt x="76339" y="1435"/>
                      </a:moveTo>
                      <a:cubicBezTo>
                        <a:pt x="76339" y="1435"/>
                        <a:pt x="76339" y="1435"/>
                        <a:pt x="76339" y="1435"/>
                      </a:cubicBezTo>
                      <a:cubicBezTo>
                        <a:pt x="76339" y="1316"/>
                        <a:pt x="76279" y="1256"/>
                        <a:pt x="76159" y="1256"/>
                      </a:cubicBezTo>
                      <a:lnTo>
                        <a:pt x="46854" y="0"/>
                      </a:lnTo>
                      <a:cubicBezTo>
                        <a:pt x="46794" y="0"/>
                        <a:pt x="46674" y="60"/>
                        <a:pt x="46674" y="120"/>
                      </a:cubicBezTo>
                      <a:cubicBezTo>
                        <a:pt x="46674" y="120"/>
                        <a:pt x="46674" y="120"/>
                        <a:pt x="46674" y="120"/>
                      </a:cubicBezTo>
                      <a:lnTo>
                        <a:pt x="41052" y="43600"/>
                      </a:lnTo>
                      <a:lnTo>
                        <a:pt x="8816" y="27631"/>
                      </a:lnTo>
                      <a:cubicBezTo>
                        <a:pt x="8756" y="27631"/>
                        <a:pt x="8697" y="27631"/>
                        <a:pt x="8697" y="27631"/>
                      </a:cubicBezTo>
                      <a:cubicBezTo>
                        <a:pt x="8637" y="27631"/>
                        <a:pt x="8637" y="27691"/>
                        <a:pt x="8637" y="27751"/>
                      </a:cubicBezTo>
                      <a:lnTo>
                        <a:pt x="4809" y="45872"/>
                      </a:lnTo>
                      <a:lnTo>
                        <a:pt x="324" y="35526"/>
                      </a:lnTo>
                      <a:cubicBezTo>
                        <a:pt x="264" y="35466"/>
                        <a:pt x="204" y="35406"/>
                        <a:pt x="85" y="35466"/>
                      </a:cubicBezTo>
                      <a:cubicBezTo>
                        <a:pt x="25" y="35526"/>
                        <a:pt x="-35" y="35585"/>
                        <a:pt x="25" y="35705"/>
                      </a:cubicBezTo>
                      <a:lnTo>
                        <a:pt x="4690" y="46470"/>
                      </a:lnTo>
                      <a:cubicBezTo>
                        <a:pt x="4690" y="46530"/>
                        <a:pt x="4809" y="46590"/>
                        <a:pt x="4869" y="46590"/>
                      </a:cubicBezTo>
                      <a:cubicBezTo>
                        <a:pt x="4929" y="46590"/>
                        <a:pt x="4989" y="46530"/>
                        <a:pt x="4989" y="46470"/>
                      </a:cubicBezTo>
                      <a:lnTo>
                        <a:pt x="8876" y="28050"/>
                      </a:lnTo>
                      <a:lnTo>
                        <a:pt x="41172" y="44018"/>
                      </a:lnTo>
                      <a:cubicBezTo>
                        <a:pt x="41232" y="44018"/>
                        <a:pt x="41292" y="44018"/>
                        <a:pt x="41292" y="44018"/>
                      </a:cubicBezTo>
                      <a:cubicBezTo>
                        <a:pt x="41351" y="44018"/>
                        <a:pt x="41351" y="43958"/>
                        <a:pt x="41351" y="43899"/>
                      </a:cubicBezTo>
                      <a:lnTo>
                        <a:pt x="46973" y="299"/>
                      </a:lnTo>
                      <a:lnTo>
                        <a:pt x="76159" y="1555"/>
                      </a:lnTo>
                      <a:cubicBezTo>
                        <a:pt x="76279" y="1555"/>
                        <a:pt x="76339" y="1495"/>
                        <a:pt x="76339" y="143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10" name="Vrije vorm: vorm 8909">
                  <a:extLst>
                    <a:ext uri="{FF2B5EF4-FFF2-40B4-BE49-F238E27FC236}">
                      <a16:creationId xmlns:a16="http://schemas.microsoft.com/office/drawing/2014/main" id="{1B826FDC-3139-42D8-A7D6-0BBBB847743A}"/>
                    </a:ext>
                  </a:extLst>
                </p:cNvPr>
                <p:cNvSpPr/>
                <p:nvPr/>
              </p:nvSpPr>
              <p:spPr>
                <a:xfrm>
                  <a:off x="4287539" y="2624680"/>
                  <a:ext cx="4365" cy="20633"/>
                </a:xfrm>
                <a:custGeom>
                  <a:avLst/>
                  <a:gdLst>
                    <a:gd name="connsiteX0" fmla="*/ 4366 w 4365"/>
                    <a:gd name="connsiteY0" fmla="*/ 20514 h 20633"/>
                    <a:gd name="connsiteX1" fmla="*/ 4366 w 4365"/>
                    <a:gd name="connsiteY1" fmla="*/ 20454 h 20633"/>
                    <a:gd name="connsiteX2" fmla="*/ 299 w 4365"/>
                    <a:gd name="connsiteY2" fmla="*/ 120 h 20633"/>
                    <a:gd name="connsiteX3" fmla="*/ 120 w 4365"/>
                    <a:gd name="connsiteY3" fmla="*/ 0 h 20633"/>
                    <a:gd name="connsiteX4" fmla="*/ 0 w 4365"/>
                    <a:gd name="connsiteY4" fmla="*/ 179 h 20633"/>
                    <a:gd name="connsiteX5" fmla="*/ 4067 w 4365"/>
                    <a:gd name="connsiteY5" fmla="*/ 20514 h 20633"/>
                    <a:gd name="connsiteX6" fmla="*/ 4246 w 4365"/>
                    <a:gd name="connsiteY6" fmla="*/ 20634 h 20633"/>
                    <a:gd name="connsiteX7" fmla="*/ 4366 w 4365"/>
                    <a:gd name="connsiteY7" fmla="*/ 20514 h 2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5" h="20633">
                      <a:moveTo>
                        <a:pt x="4366" y="20514"/>
                      </a:moveTo>
                      <a:cubicBezTo>
                        <a:pt x="4366" y="20514"/>
                        <a:pt x="4366" y="20454"/>
                        <a:pt x="4366" y="20454"/>
                      </a:cubicBezTo>
                      <a:lnTo>
                        <a:pt x="299" y="120"/>
                      </a:lnTo>
                      <a:cubicBezTo>
                        <a:pt x="299" y="60"/>
                        <a:pt x="179" y="0"/>
                        <a:pt x="120" y="0"/>
                      </a:cubicBezTo>
                      <a:cubicBezTo>
                        <a:pt x="60" y="0"/>
                        <a:pt x="0" y="120"/>
                        <a:pt x="0" y="179"/>
                      </a:cubicBezTo>
                      <a:lnTo>
                        <a:pt x="4067" y="20514"/>
                      </a:lnTo>
                      <a:cubicBezTo>
                        <a:pt x="4067" y="20574"/>
                        <a:pt x="4187" y="20634"/>
                        <a:pt x="4246" y="20634"/>
                      </a:cubicBezTo>
                      <a:cubicBezTo>
                        <a:pt x="4306" y="20634"/>
                        <a:pt x="4366" y="20574"/>
                        <a:pt x="4366" y="2051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11" name="Vrije vorm: vorm 8910">
                  <a:extLst>
                    <a:ext uri="{FF2B5EF4-FFF2-40B4-BE49-F238E27FC236}">
                      <a16:creationId xmlns:a16="http://schemas.microsoft.com/office/drawing/2014/main" id="{B7CEA0DF-6E9C-44EE-B8BD-2DBAD0FF64D4}"/>
                    </a:ext>
                  </a:extLst>
                </p:cNvPr>
                <p:cNvSpPr/>
                <p:nvPr/>
              </p:nvSpPr>
              <p:spPr>
                <a:xfrm>
                  <a:off x="4543933" y="2444600"/>
                  <a:ext cx="1375" cy="34508"/>
                </a:xfrm>
                <a:custGeom>
                  <a:avLst/>
                  <a:gdLst>
                    <a:gd name="connsiteX0" fmla="*/ 1375 w 1375"/>
                    <a:gd name="connsiteY0" fmla="*/ 34389 h 34508"/>
                    <a:gd name="connsiteX1" fmla="*/ 1375 w 1375"/>
                    <a:gd name="connsiteY1" fmla="*/ 34389 h 34508"/>
                    <a:gd name="connsiteX2" fmla="*/ 359 w 1375"/>
                    <a:gd name="connsiteY2" fmla="*/ 179 h 34508"/>
                    <a:gd name="connsiteX3" fmla="*/ 180 w 1375"/>
                    <a:gd name="connsiteY3" fmla="*/ 0 h 34508"/>
                    <a:gd name="connsiteX4" fmla="*/ 0 w 1375"/>
                    <a:gd name="connsiteY4" fmla="*/ 179 h 34508"/>
                    <a:gd name="connsiteX5" fmla="*/ 1017 w 1375"/>
                    <a:gd name="connsiteY5" fmla="*/ 34329 h 34508"/>
                    <a:gd name="connsiteX6" fmla="*/ 1196 w 1375"/>
                    <a:gd name="connsiteY6" fmla="*/ 34509 h 34508"/>
                    <a:gd name="connsiteX7" fmla="*/ 1375 w 1375"/>
                    <a:gd name="connsiteY7" fmla="*/ 34389 h 3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5" h="34508">
                      <a:moveTo>
                        <a:pt x="1375" y="34389"/>
                      </a:moveTo>
                      <a:cubicBezTo>
                        <a:pt x="1375" y="34389"/>
                        <a:pt x="1375" y="34389"/>
                        <a:pt x="1375" y="34389"/>
                      </a:cubicBezTo>
                      <a:lnTo>
                        <a:pt x="359" y="179"/>
                      </a:lnTo>
                      <a:cubicBezTo>
                        <a:pt x="359" y="60"/>
                        <a:pt x="299" y="0"/>
                        <a:pt x="180" y="0"/>
                      </a:cubicBezTo>
                      <a:cubicBezTo>
                        <a:pt x="60" y="0"/>
                        <a:pt x="0" y="60"/>
                        <a:pt x="0" y="179"/>
                      </a:cubicBezTo>
                      <a:lnTo>
                        <a:pt x="1017" y="34329"/>
                      </a:lnTo>
                      <a:cubicBezTo>
                        <a:pt x="1017" y="34449"/>
                        <a:pt x="1076" y="34509"/>
                        <a:pt x="1196" y="34509"/>
                      </a:cubicBezTo>
                      <a:cubicBezTo>
                        <a:pt x="1316" y="34509"/>
                        <a:pt x="1375" y="34449"/>
                        <a:pt x="1375" y="3438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12" name="Vrije vorm: vorm 8911">
                  <a:extLst>
                    <a:ext uri="{FF2B5EF4-FFF2-40B4-BE49-F238E27FC236}">
                      <a16:creationId xmlns:a16="http://schemas.microsoft.com/office/drawing/2014/main" id="{85F37E97-3079-4D87-A497-9C8F2F4E445A}"/>
                    </a:ext>
                  </a:extLst>
                </p:cNvPr>
                <p:cNvSpPr/>
                <p:nvPr/>
              </p:nvSpPr>
              <p:spPr>
                <a:xfrm>
                  <a:off x="4530656" y="2452794"/>
                  <a:ext cx="24759" cy="7176"/>
                </a:xfrm>
                <a:custGeom>
                  <a:avLst/>
                  <a:gdLst>
                    <a:gd name="connsiteX0" fmla="*/ 24760 w 24759"/>
                    <a:gd name="connsiteY0" fmla="*/ 7057 h 7176"/>
                    <a:gd name="connsiteX1" fmla="*/ 24641 w 24759"/>
                    <a:gd name="connsiteY1" fmla="*/ 6878 h 7176"/>
                    <a:gd name="connsiteX2" fmla="*/ 179 w 24759"/>
                    <a:gd name="connsiteY2" fmla="*/ 0 h 7176"/>
                    <a:gd name="connsiteX3" fmla="*/ 0 w 24759"/>
                    <a:gd name="connsiteY3" fmla="*/ 120 h 7176"/>
                    <a:gd name="connsiteX4" fmla="*/ 119 w 24759"/>
                    <a:gd name="connsiteY4" fmla="*/ 299 h 7176"/>
                    <a:gd name="connsiteX5" fmla="*/ 24581 w 24759"/>
                    <a:gd name="connsiteY5" fmla="*/ 7177 h 7176"/>
                    <a:gd name="connsiteX6" fmla="*/ 24760 w 24759"/>
                    <a:gd name="connsiteY6" fmla="*/ 7057 h 7176"/>
                    <a:gd name="connsiteX7" fmla="*/ 24760 w 24759"/>
                    <a:gd name="connsiteY7" fmla="*/ 7057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59" h="7176">
                      <a:moveTo>
                        <a:pt x="24760" y="7057"/>
                      </a:moveTo>
                      <a:cubicBezTo>
                        <a:pt x="24760" y="6998"/>
                        <a:pt x="24700" y="6878"/>
                        <a:pt x="24641" y="6878"/>
                      </a:cubicBezTo>
                      <a:lnTo>
                        <a:pt x="179" y="0"/>
                      </a:lnTo>
                      <a:cubicBezTo>
                        <a:pt x="119" y="0"/>
                        <a:pt x="0" y="0"/>
                        <a:pt x="0" y="120"/>
                      </a:cubicBezTo>
                      <a:cubicBezTo>
                        <a:pt x="0" y="239"/>
                        <a:pt x="0" y="299"/>
                        <a:pt x="119" y="299"/>
                      </a:cubicBezTo>
                      <a:lnTo>
                        <a:pt x="24581" y="7177"/>
                      </a:lnTo>
                      <a:cubicBezTo>
                        <a:pt x="24641" y="7177"/>
                        <a:pt x="24700" y="7117"/>
                        <a:pt x="24760" y="7057"/>
                      </a:cubicBezTo>
                      <a:cubicBezTo>
                        <a:pt x="24760" y="7057"/>
                        <a:pt x="24760" y="7057"/>
                        <a:pt x="24760" y="705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13" name="Vrije vorm: vorm 8912">
                  <a:extLst>
                    <a:ext uri="{FF2B5EF4-FFF2-40B4-BE49-F238E27FC236}">
                      <a16:creationId xmlns:a16="http://schemas.microsoft.com/office/drawing/2014/main" id="{EF4F91CC-CC49-4DA4-9B5F-D9FF0677FA4C}"/>
                    </a:ext>
                  </a:extLst>
                </p:cNvPr>
                <p:cNvSpPr/>
                <p:nvPr/>
              </p:nvSpPr>
              <p:spPr>
                <a:xfrm>
                  <a:off x="4328044" y="2541189"/>
                  <a:ext cx="229764" cy="126238"/>
                </a:xfrm>
                <a:custGeom>
                  <a:avLst/>
                  <a:gdLst>
                    <a:gd name="connsiteX0" fmla="*/ 229764 w 229764"/>
                    <a:gd name="connsiteY0" fmla="*/ 179 h 126238"/>
                    <a:gd name="connsiteX1" fmla="*/ 229764 w 229764"/>
                    <a:gd name="connsiteY1" fmla="*/ 120 h 126238"/>
                    <a:gd name="connsiteX2" fmla="*/ 229585 w 229764"/>
                    <a:gd name="connsiteY2" fmla="*/ 0 h 126238"/>
                    <a:gd name="connsiteX3" fmla="*/ 77675 w 229764"/>
                    <a:gd name="connsiteY3" fmla="*/ 60824 h 126238"/>
                    <a:gd name="connsiteX4" fmla="*/ 77615 w 229764"/>
                    <a:gd name="connsiteY4" fmla="*/ 60824 h 126238"/>
                    <a:gd name="connsiteX5" fmla="*/ 45 w 229764"/>
                    <a:gd name="connsiteY5" fmla="*/ 125954 h 126238"/>
                    <a:gd name="connsiteX6" fmla="*/ 45 w 229764"/>
                    <a:gd name="connsiteY6" fmla="*/ 126193 h 126238"/>
                    <a:gd name="connsiteX7" fmla="*/ 284 w 229764"/>
                    <a:gd name="connsiteY7" fmla="*/ 126193 h 126238"/>
                    <a:gd name="connsiteX8" fmla="*/ 77854 w 229764"/>
                    <a:gd name="connsiteY8" fmla="*/ 61063 h 126238"/>
                    <a:gd name="connsiteX9" fmla="*/ 229764 w 229764"/>
                    <a:gd name="connsiteY9" fmla="*/ 239 h 126238"/>
                    <a:gd name="connsiteX10" fmla="*/ 229764 w 229764"/>
                    <a:gd name="connsiteY10" fmla="*/ 179 h 12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9764" h="126238">
                      <a:moveTo>
                        <a:pt x="229764" y="179"/>
                      </a:moveTo>
                      <a:cubicBezTo>
                        <a:pt x="229764" y="179"/>
                        <a:pt x="229764" y="120"/>
                        <a:pt x="229764" y="120"/>
                      </a:cubicBezTo>
                      <a:cubicBezTo>
                        <a:pt x="229705" y="60"/>
                        <a:pt x="229645" y="0"/>
                        <a:pt x="229585" y="0"/>
                      </a:cubicBezTo>
                      <a:lnTo>
                        <a:pt x="77675" y="60824"/>
                      </a:lnTo>
                      <a:cubicBezTo>
                        <a:pt x="77675" y="60824"/>
                        <a:pt x="77615" y="60824"/>
                        <a:pt x="77615" y="60824"/>
                      </a:cubicBezTo>
                      <a:lnTo>
                        <a:pt x="45" y="125954"/>
                      </a:lnTo>
                      <a:cubicBezTo>
                        <a:pt x="-15" y="126014"/>
                        <a:pt x="-15" y="126133"/>
                        <a:pt x="45" y="126193"/>
                      </a:cubicBezTo>
                      <a:cubicBezTo>
                        <a:pt x="104" y="126253"/>
                        <a:pt x="224" y="126253"/>
                        <a:pt x="284" y="126193"/>
                      </a:cubicBezTo>
                      <a:lnTo>
                        <a:pt x="77854" y="61063"/>
                      </a:lnTo>
                      <a:lnTo>
                        <a:pt x="229764" y="239"/>
                      </a:lnTo>
                      <a:cubicBezTo>
                        <a:pt x="229705" y="299"/>
                        <a:pt x="229764" y="239"/>
                        <a:pt x="229764"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14" name="Vrije vorm: vorm 8913">
                  <a:extLst>
                    <a:ext uri="{FF2B5EF4-FFF2-40B4-BE49-F238E27FC236}">
                      <a16:creationId xmlns:a16="http://schemas.microsoft.com/office/drawing/2014/main" id="{4D975902-34FD-4ACD-A3EC-89FF71D58DED}"/>
                    </a:ext>
                  </a:extLst>
                </p:cNvPr>
                <p:cNvSpPr/>
                <p:nvPr/>
              </p:nvSpPr>
              <p:spPr>
                <a:xfrm>
                  <a:off x="4494866" y="2444660"/>
                  <a:ext cx="69460" cy="88240"/>
                </a:xfrm>
                <a:custGeom>
                  <a:avLst/>
                  <a:gdLst>
                    <a:gd name="connsiteX0" fmla="*/ 69461 w 69460"/>
                    <a:gd name="connsiteY0" fmla="*/ 38695 h 88240"/>
                    <a:gd name="connsiteX1" fmla="*/ 69461 w 69460"/>
                    <a:gd name="connsiteY1" fmla="*/ 38695 h 88240"/>
                    <a:gd name="connsiteX2" fmla="*/ 64078 w 69460"/>
                    <a:gd name="connsiteY2" fmla="*/ 1675 h 88240"/>
                    <a:gd name="connsiteX3" fmla="*/ 63959 w 69460"/>
                    <a:gd name="connsiteY3" fmla="*/ 1555 h 88240"/>
                    <a:gd name="connsiteX4" fmla="*/ 49306 w 69460"/>
                    <a:gd name="connsiteY4" fmla="*/ 0 h 88240"/>
                    <a:gd name="connsiteX5" fmla="*/ 49127 w 69460"/>
                    <a:gd name="connsiteY5" fmla="*/ 60 h 88240"/>
                    <a:gd name="connsiteX6" fmla="*/ 49127 w 69460"/>
                    <a:gd name="connsiteY6" fmla="*/ 239 h 88240"/>
                    <a:gd name="connsiteX7" fmla="*/ 60251 w 69460"/>
                    <a:gd name="connsiteY7" fmla="*/ 15251 h 88240"/>
                    <a:gd name="connsiteX8" fmla="*/ 60490 w 69460"/>
                    <a:gd name="connsiteY8" fmla="*/ 15311 h 88240"/>
                    <a:gd name="connsiteX9" fmla="*/ 60550 w 69460"/>
                    <a:gd name="connsiteY9" fmla="*/ 15072 h 88240"/>
                    <a:gd name="connsiteX10" fmla="*/ 49665 w 69460"/>
                    <a:gd name="connsiteY10" fmla="*/ 359 h 88240"/>
                    <a:gd name="connsiteX11" fmla="*/ 63839 w 69460"/>
                    <a:gd name="connsiteY11" fmla="*/ 1854 h 88240"/>
                    <a:gd name="connsiteX12" fmla="*/ 69162 w 69460"/>
                    <a:gd name="connsiteY12" fmla="*/ 38576 h 88240"/>
                    <a:gd name="connsiteX13" fmla="*/ 85 w 69460"/>
                    <a:gd name="connsiteY13" fmla="*/ 87917 h 88240"/>
                    <a:gd name="connsiteX14" fmla="*/ 25 w 69460"/>
                    <a:gd name="connsiteY14" fmla="*/ 88156 h 88240"/>
                    <a:gd name="connsiteX15" fmla="*/ 264 w 69460"/>
                    <a:gd name="connsiteY15" fmla="*/ 88216 h 88240"/>
                    <a:gd name="connsiteX16" fmla="*/ 69461 w 69460"/>
                    <a:gd name="connsiteY16" fmla="*/ 38815 h 88240"/>
                    <a:gd name="connsiteX17" fmla="*/ 69461 w 69460"/>
                    <a:gd name="connsiteY17" fmla="*/ 38695 h 8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460" h="88240">
                      <a:moveTo>
                        <a:pt x="69461" y="38695"/>
                      </a:moveTo>
                      <a:cubicBezTo>
                        <a:pt x="69461" y="38636"/>
                        <a:pt x="69461" y="38636"/>
                        <a:pt x="69461" y="38695"/>
                      </a:cubicBezTo>
                      <a:lnTo>
                        <a:pt x="64078" y="1675"/>
                      </a:lnTo>
                      <a:cubicBezTo>
                        <a:pt x="64078" y="1615"/>
                        <a:pt x="64019" y="1555"/>
                        <a:pt x="63959" y="1555"/>
                      </a:cubicBezTo>
                      <a:lnTo>
                        <a:pt x="49306" y="0"/>
                      </a:lnTo>
                      <a:cubicBezTo>
                        <a:pt x="49246" y="0"/>
                        <a:pt x="49187" y="0"/>
                        <a:pt x="49127" y="60"/>
                      </a:cubicBezTo>
                      <a:cubicBezTo>
                        <a:pt x="49067" y="120"/>
                        <a:pt x="49067" y="180"/>
                        <a:pt x="49127" y="239"/>
                      </a:cubicBezTo>
                      <a:lnTo>
                        <a:pt x="60251" y="15251"/>
                      </a:lnTo>
                      <a:cubicBezTo>
                        <a:pt x="60311" y="15311"/>
                        <a:pt x="60430" y="15311"/>
                        <a:pt x="60490" y="15311"/>
                      </a:cubicBezTo>
                      <a:cubicBezTo>
                        <a:pt x="60550" y="15251"/>
                        <a:pt x="60610" y="15131"/>
                        <a:pt x="60550" y="15072"/>
                      </a:cubicBezTo>
                      <a:lnTo>
                        <a:pt x="49665" y="359"/>
                      </a:lnTo>
                      <a:lnTo>
                        <a:pt x="63839" y="1854"/>
                      </a:lnTo>
                      <a:lnTo>
                        <a:pt x="69162" y="38576"/>
                      </a:lnTo>
                      <a:lnTo>
                        <a:pt x="85" y="87917"/>
                      </a:lnTo>
                      <a:cubicBezTo>
                        <a:pt x="25" y="87977"/>
                        <a:pt x="-35" y="88036"/>
                        <a:pt x="25" y="88156"/>
                      </a:cubicBezTo>
                      <a:cubicBezTo>
                        <a:pt x="85" y="88216"/>
                        <a:pt x="204" y="88276"/>
                        <a:pt x="264" y="88216"/>
                      </a:cubicBezTo>
                      <a:lnTo>
                        <a:pt x="69461" y="38815"/>
                      </a:lnTo>
                      <a:cubicBezTo>
                        <a:pt x="69401" y="38755"/>
                        <a:pt x="69461" y="38695"/>
                        <a:pt x="69461" y="3869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15" name="Vrije vorm: vorm 8914">
                  <a:extLst>
                    <a:ext uri="{FF2B5EF4-FFF2-40B4-BE49-F238E27FC236}">
                      <a16:creationId xmlns:a16="http://schemas.microsoft.com/office/drawing/2014/main" id="{6FAA9975-2BCB-4CE0-8199-71626D7F9A71}"/>
                    </a:ext>
                  </a:extLst>
                </p:cNvPr>
                <p:cNvSpPr/>
                <p:nvPr/>
              </p:nvSpPr>
              <p:spPr>
                <a:xfrm>
                  <a:off x="4472378" y="2511799"/>
                  <a:ext cx="91111" cy="41196"/>
                </a:xfrm>
                <a:custGeom>
                  <a:avLst/>
                  <a:gdLst>
                    <a:gd name="connsiteX0" fmla="*/ 91111 w 91111"/>
                    <a:gd name="connsiteY0" fmla="*/ 204 h 41196"/>
                    <a:gd name="connsiteX1" fmla="*/ 91111 w 91111"/>
                    <a:gd name="connsiteY1" fmla="*/ 85 h 41196"/>
                    <a:gd name="connsiteX2" fmla="*/ 90872 w 91111"/>
                    <a:gd name="connsiteY2" fmla="*/ 25 h 41196"/>
                    <a:gd name="connsiteX3" fmla="*/ 85 w 91111"/>
                    <a:gd name="connsiteY3" fmla="*/ 40873 h 41196"/>
                    <a:gd name="connsiteX4" fmla="*/ 25 w 91111"/>
                    <a:gd name="connsiteY4" fmla="*/ 41112 h 41196"/>
                    <a:gd name="connsiteX5" fmla="*/ 264 w 91111"/>
                    <a:gd name="connsiteY5" fmla="*/ 41172 h 41196"/>
                    <a:gd name="connsiteX6" fmla="*/ 91051 w 91111"/>
                    <a:gd name="connsiteY6" fmla="*/ 324 h 41196"/>
                    <a:gd name="connsiteX7" fmla="*/ 91111 w 91111"/>
                    <a:gd name="connsiteY7" fmla="*/ 204 h 4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111" h="41196">
                      <a:moveTo>
                        <a:pt x="91111" y="204"/>
                      </a:moveTo>
                      <a:cubicBezTo>
                        <a:pt x="91111" y="144"/>
                        <a:pt x="91111" y="144"/>
                        <a:pt x="91111" y="85"/>
                      </a:cubicBezTo>
                      <a:cubicBezTo>
                        <a:pt x="91051" y="25"/>
                        <a:pt x="90992" y="-35"/>
                        <a:pt x="90872" y="25"/>
                      </a:cubicBezTo>
                      <a:lnTo>
                        <a:pt x="85" y="40873"/>
                      </a:lnTo>
                      <a:cubicBezTo>
                        <a:pt x="25" y="40933"/>
                        <a:pt x="-35" y="40993"/>
                        <a:pt x="25" y="41112"/>
                      </a:cubicBezTo>
                      <a:cubicBezTo>
                        <a:pt x="85" y="41172"/>
                        <a:pt x="144" y="41232"/>
                        <a:pt x="264" y="41172"/>
                      </a:cubicBezTo>
                      <a:lnTo>
                        <a:pt x="91051" y="324"/>
                      </a:lnTo>
                      <a:cubicBezTo>
                        <a:pt x="91051" y="324"/>
                        <a:pt x="91111" y="264"/>
                        <a:pt x="91111" y="20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16" name="Vrije vorm: vorm 8915">
                  <a:extLst>
                    <a:ext uri="{FF2B5EF4-FFF2-40B4-BE49-F238E27FC236}">
                      <a16:creationId xmlns:a16="http://schemas.microsoft.com/office/drawing/2014/main" id="{C391470D-375C-4465-8E16-75AE42EF69FC}"/>
                    </a:ext>
                  </a:extLst>
                </p:cNvPr>
                <p:cNvSpPr/>
                <p:nvPr/>
              </p:nvSpPr>
              <p:spPr>
                <a:xfrm>
                  <a:off x="4382189" y="2571726"/>
                  <a:ext cx="65752" cy="105908"/>
                </a:xfrm>
                <a:custGeom>
                  <a:avLst/>
                  <a:gdLst>
                    <a:gd name="connsiteX0" fmla="*/ 65753 w 65752"/>
                    <a:gd name="connsiteY0" fmla="*/ 204 h 105908"/>
                    <a:gd name="connsiteX1" fmla="*/ 65693 w 65752"/>
                    <a:gd name="connsiteY1" fmla="*/ 25 h 105908"/>
                    <a:gd name="connsiteX2" fmla="*/ 65454 w 65752"/>
                    <a:gd name="connsiteY2" fmla="*/ 85 h 105908"/>
                    <a:gd name="connsiteX3" fmla="*/ 25 w 65752"/>
                    <a:gd name="connsiteY3" fmla="*/ 105644 h 105908"/>
                    <a:gd name="connsiteX4" fmla="*/ 85 w 65752"/>
                    <a:gd name="connsiteY4" fmla="*/ 105884 h 105908"/>
                    <a:gd name="connsiteX5" fmla="*/ 324 w 65752"/>
                    <a:gd name="connsiteY5" fmla="*/ 105824 h 105908"/>
                    <a:gd name="connsiteX6" fmla="*/ 65753 w 65752"/>
                    <a:gd name="connsiteY6" fmla="*/ 204 h 105908"/>
                    <a:gd name="connsiteX7" fmla="*/ 65753 w 65752"/>
                    <a:gd name="connsiteY7" fmla="*/ 204 h 105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52" h="105908">
                      <a:moveTo>
                        <a:pt x="65753" y="204"/>
                      </a:moveTo>
                      <a:cubicBezTo>
                        <a:pt x="65753" y="144"/>
                        <a:pt x="65753" y="85"/>
                        <a:pt x="65693" y="25"/>
                      </a:cubicBezTo>
                      <a:cubicBezTo>
                        <a:pt x="65633" y="-35"/>
                        <a:pt x="65513" y="25"/>
                        <a:pt x="65454" y="85"/>
                      </a:cubicBezTo>
                      <a:lnTo>
                        <a:pt x="25" y="105644"/>
                      </a:lnTo>
                      <a:cubicBezTo>
                        <a:pt x="-35" y="105704"/>
                        <a:pt x="25" y="105824"/>
                        <a:pt x="85" y="105884"/>
                      </a:cubicBezTo>
                      <a:cubicBezTo>
                        <a:pt x="144" y="105943"/>
                        <a:pt x="264" y="105884"/>
                        <a:pt x="324" y="105824"/>
                      </a:cubicBezTo>
                      <a:lnTo>
                        <a:pt x="65753" y="204"/>
                      </a:lnTo>
                      <a:cubicBezTo>
                        <a:pt x="65753" y="264"/>
                        <a:pt x="65753" y="264"/>
                        <a:pt x="65753" y="20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17" name="Vrije vorm: vorm 8916">
                  <a:extLst>
                    <a:ext uri="{FF2B5EF4-FFF2-40B4-BE49-F238E27FC236}">
                      <a16:creationId xmlns:a16="http://schemas.microsoft.com/office/drawing/2014/main" id="{33B95435-3CFB-4216-8182-0331A5008A04}"/>
                    </a:ext>
                  </a:extLst>
                </p:cNvPr>
                <p:cNvSpPr/>
                <p:nvPr/>
              </p:nvSpPr>
              <p:spPr>
                <a:xfrm>
                  <a:off x="4519831" y="2647705"/>
                  <a:ext cx="78885" cy="21949"/>
                </a:xfrm>
                <a:custGeom>
                  <a:avLst/>
                  <a:gdLst>
                    <a:gd name="connsiteX0" fmla="*/ 78885 w 78885"/>
                    <a:gd name="connsiteY0" fmla="*/ 179 h 21949"/>
                    <a:gd name="connsiteX1" fmla="*/ 78885 w 78885"/>
                    <a:gd name="connsiteY1" fmla="*/ 120 h 21949"/>
                    <a:gd name="connsiteX2" fmla="*/ 78706 w 78885"/>
                    <a:gd name="connsiteY2" fmla="*/ 0 h 21949"/>
                    <a:gd name="connsiteX3" fmla="*/ 119 w 78885"/>
                    <a:gd name="connsiteY3" fmla="*/ 21650 h 21949"/>
                    <a:gd name="connsiteX4" fmla="*/ 0 w 78885"/>
                    <a:gd name="connsiteY4" fmla="*/ 21830 h 21949"/>
                    <a:gd name="connsiteX5" fmla="*/ 179 w 78885"/>
                    <a:gd name="connsiteY5" fmla="*/ 21949 h 21949"/>
                    <a:gd name="connsiteX6" fmla="*/ 78766 w 78885"/>
                    <a:gd name="connsiteY6" fmla="*/ 299 h 21949"/>
                    <a:gd name="connsiteX7" fmla="*/ 78885 w 78885"/>
                    <a:gd name="connsiteY7" fmla="*/ 179 h 2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85" h="21949">
                      <a:moveTo>
                        <a:pt x="78885" y="179"/>
                      </a:moveTo>
                      <a:cubicBezTo>
                        <a:pt x="78885" y="179"/>
                        <a:pt x="78885" y="120"/>
                        <a:pt x="78885" y="120"/>
                      </a:cubicBezTo>
                      <a:cubicBezTo>
                        <a:pt x="78885" y="60"/>
                        <a:pt x="78766" y="0"/>
                        <a:pt x="78706" y="0"/>
                      </a:cubicBezTo>
                      <a:lnTo>
                        <a:pt x="119" y="21650"/>
                      </a:lnTo>
                      <a:cubicBezTo>
                        <a:pt x="60" y="21650"/>
                        <a:pt x="0" y="21770"/>
                        <a:pt x="0" y="21830"/>
                      </a:cubicBezTo>
                      <a:cubicBezTo>
                        <a:pt x="0" y="21889"/>
                        <a:pt x="119" y="21949"/>
                        <a:pt x="179" y="21949"/>
                      </a:cubicBezTo>
                      <a:lnTo>
                        <a:pt x="78766" y="299"/>
                      </a:lnTo>
                      <a:cubicBezTo>
                        <a:pt x="78826" y="299"/>
                        <a:pt x="78885" y="239"/>
                        <a:pt x="78885"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18" name="Vrije vorm: vorm 8917">
                  <a:extLst>
                    <a:ext uri="{FF2B5EF4-FFF2-40B4-BE49-F238E27FC236}">
                      <a16:creationId xmlns:a16="http://schemas.microsoft.com/office/drawing/2014/main" id="{BD1EACE6-FADF-4A68-8C28-4DB5963B4664}"/>
                    </a:ext>
                  </a:extLst>
                </p:cNvPr>
                <p:cNvSpPr/>
                <p:nvPr/>
              </p:nvSpPr>
              <p:spPr>
                <a:xfrm>
                  <a:off x="4508542" y="2635879"/>
                  <a:ext cx="26479" cy="21500"/>
                </a:xfrm>
                <a:custGeom>
                  <a:avLst/>
                  <a:gdLst>
                    <a:gd name="connsiteX0" fmla="*/ 26480 w 26479"/>
                    <a:gd name="connsiteY0" fmla="*/ 164 h 21500"/>
                    <a:gd name="connsiteX1" fmla="*/ 26420 w 26479"/>
                    <a:gd name="connsiteY1" fmla="*/ 45 h 21500"/>
                    <a:gd name="connsiteX2" fmla="*/ 26181 w 26479"/>
                    <a:gd name="connsiteY2" fmla="*/ 45 h 21500"/>
                    <a:gd name="connsiteX3" fmla="*/ 45 w 26479"/>
                    <a:gd name="connsiteY3" fmla="*/ 21217 h 21500"/>
                    <a:gd name="connsiteX4" fmla="*/ 45 w 26479"/>
                    <a:gd name="connsiteY4" fmla="*/ 21456 h 21500"/>
                    <a:gd name="connsiteX5" fmla="*/ 284 w 26479"/>
                    <a:gd name="connsiteY5" fmla="*/ 21456 h 21500"/>
                    <a:gd name="connsiteX6" fmla="*/ 26420 w 26479"/>
                    <a:gd name="connsiteY6" fmla="*/ 284 h 21500"/>
                    <a:gd name="connsiteX7" fmla="*/ 26480 w 26479"/>
                    <a:gd name="connsiteY7" fmla="*/ 164 h 2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79" h="21500">
                      <a:moveTo>
                        <a:pt x="26480" y="164"/>
                      </a:moveTo>
                      <a:cubicBezTo>
                        <a:pt x="26480" y="105"/>
                        <a:pt x="26480" y="45"/>
                        <a:pt x="26420" y="45"/>
                      </a:cubicBezTo>
                      <a:cubicBezTo>
                        <a:pt x="26360" y="-15"/>
                        <a:pt x="26240" y="-15"/>
                        <a:pt x="26181" y="45"/>
                      </a:cubicBezTo>
                      <a:lnTo>
                        <a:pt x="45" y="21217"/>
                      </a:lnTo>
                      <a:cubicBezTo>
                        <a:pt x="-15" y="21277"/>
                        <a:pt x="-15" y="21396"/>
                        <a:pt x="45" y="21456"/>
                      </a:cubicBezTo>
                      <a:cubicBezTo>
                        <a:pt x="104" y="21516"/>
                        <a:pt x="224" y="21516"/>
                        <a:pt x="284" y="21456"/>
                      </a:cubicBezTo>
                      <a:lnTo>
                        <a:pt x="26420" y="284"/>
                      </a:lnTo>
                      <a:cubicBezTo>
                        <a:pt x="26480" y="224"/>
                        <a:pt x="26480" y="224"/>
                        <a:pt x="26480" y="16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19" name="Vrije vorm: vorm 8918">
                  <a:extLst>
                    <a:ext uri="{FF2B5EF4-FFF2-40B4-BE49-F238E27FC236}">
                      <a16:creationId xmlns:a16="http://schemas.microsoft.com/office/drawing/2014/main" id="{0E765370-F314-41C1-A5DA-9299E17116AC}"/>
                    </a:ext>
                  </a:extLst>
                </p:cNvPr>
                <p:cNvSpPr/>
                <p:nvPr/>
              </p:nvSpPr>
              <p:spPr>
                <a:xfrm>
                  <a:off x="4507988" y="2628866"/>
                  <a:ext cx="69209" cy="61242"/>
                </a:xfrm>
                <a:custGeom>
                  <a:avLst/>
                  <a:gdLst>
                    <a:gd name="connsiteX0" fmla="*/ 57893 w 69209"/>
                    <a:gd name="connsiteY0" fmla="*/ 61123 h 61242"/>
                    <a:gd name="connsiteX1" fmla="*/ 57714 w 69209"/>
                    <a:gd name="connsiteY1" fmla="*/ 61243 h 61242"/>
                    <a:gd name="connsiteX2" fmla="*/ 57535 w 69209"/>
                    <a:gd name="connsiteY2" fmla="*/ 61123 h 61242"/>
                    <a:gd name="connsiteX3" fmla="*/ 46709 w 69209"/>
                    <a:gd name="connsiteY3" fmla="*/ 4366 h 61242"/>
                    <a:gd name="connsiteX4" fmla="*/ 29425 w 69209"/>
                    <a:gd name="connsiteY4" fmla="*/ 22547 h 61242"/>
                    <a:gd name="connsiteX5" fmla="*/ 34389 w 69209"/>
                    <a:gd name="connsiteY5" fmla="*/ 50597 h 61242"/>
                    <a:gd name="connsiteX6" fmla="*/ 34329 w 69209"/>
                    <a:gd name="connsiteY6" fmla="*/ 50776 h 61242"/>
                    <a:gd name="connsiteX7" fmla="*/ 34150 w 69209"/>
                    <a:gd name="connsiteY7" fmla="*/ 50776 h 61242"/>
                    <a:gd name="connsiteX8" fmla="*/ 17404 w 69209"/>
                    <a:gd name="connsiteY8" fmla="*/ 35346 h 61242"/>
                    <a:gd name="connsiteX9" fmla="*/ 12201 w 69209"/>
                    <a:gd name="connsiteY9" fmla="*/ 40848 h 61242"/>
                    <a:gd name="connsiteX10" fmla="*/ 12021 w 69209"/>
                    <a:gd name="connsiteY10" fmla="*/ 40848 h 61242"/>
                    <a:gd name="connsiteX11" fmla="*/ 11961 w 69209"/>
                    <a:gd name="connsiteY11" fmla="*/ 40669 h 61242"/>
                    <a:gd name="connsiteX12" fmla="*/ 15251 w 69209"/>
                    <a:gd name="connsiteY12" fmla="*/ 33313 h 61242"/>
                    <a:gd name="connsiteX13" fmla="*/ 60 w 69209"/>
                    <a:gd name="connsiteY13" fmla="*/ 19318 h 61242"/>
                    <a:gd name="connsiteX14" fmla="*/ 0 w 69209"/>
                    <a:gd name="connsiteY14" fmla="*/ 19198 h 61242"/>
                    <a:gd name="connsiteX15" fmla="*/ 0 w 69209"/>
                    <a:gd name="connsiteY15" fmla="*/ 19198 h 61242"/>
                    <a:gd name="connsiteX16" fmla="*/ 120 w 69209"/>
                    <a:gd name="connsiteY16" fmla="*/ 19079 h 61242"/>
                    <a:gd name="connsiteX17" fmla="*/ 26973 w 69209"/>
                    <a:gd name="connsiteY17" fmla="*/ 7177 h 61242"/>
                    <a:gd name="connsiteX18" fmla="*/ 27033 w 69209"/>
                    <a:gd name="connsiteY18" fmla="*/ 7177 h 61242"/>
                    <a:gd name="connsiteX19" fmla="*/ 27033 w 69209"/>
                    <a:gd name="connsiteY19" fmla="*/ 7177 h 61242"/>
                    <a:gd name="connsiteX20" fmla="*/ 27033 w 69209"/>
                    <a:gd name="connsiteY20" fmla="*/ 7177 h 61242"/>
                    <a:gd name="connsiteX21" fmla="*/ 27033 w 69209"/>
                    <a:gd name="connsiteY21" fmla="*/ 7177 h 61242"/>
                    <a:gd name="connsiteX22" fmla="*/ 27033 w 69209"/>
                    <a:gd name="connsiteY22" fmla="*/ 7177 h 61242"/>
                    <a:gd name="connsiteX23" fmla="*/ 27033 w 69209"/>
                    <a:gd name="connsiteY23" fmla="*/ 7177 h 61242"/>
                    <a:gd name="connsiteX24" fmla="*/ 27033 w 69209"/>
                    <a:gd name="connsiteY24" fmla="*/ 7177 h 61242"/>
                    <a:gd name="connsiteX25" fmla="*/ 27033 w 69209"/>
                    <a:gd name="connsiteY25" fmla="*/ 7177 h 61242"/>
                    <a:gd name="connsiteX26" fmla="*/ 27033 w 69209"/>
                    <a:gd name="connsiteY26" fmla="*/ 7177 h 61242"/>
                    <a:gd name="connsiteX27" fmla="*/ 27033 w 69209"/>
                    <a:gd name="connsiteY27" fmla="*/ 7177 h 61242"/>
                    <a:gd name="connsiteX28" fmla="*/ 27033 w 69209"/>
                    <a:gd name="connsiteY28" fmla="*/ 7177 h 61242"/>
                    <a:gd name="connsiteX29" fmla="*/ 27033 w 69209"/>
                    <a:gd name="connsiteY29" fmla="*/ 7177 h 61242"/>
                    <a:gd name="connsiteX30" fmla="*/ 27093 w 69209"/>
                    <a:gd name="connsiteY30" fmla="*/ 7237 h 61242"/>
                    <a:gd name="connsiteX31" fmla="*/ 27093 w 69209"/>
                    <a:gd name="connsiteY31" fmla="*/ 7237 h 61242"/>
                    <a:gd name="connsiteX32" fmla="*/ 27093 w 69209"/>
                    <a:gd name="connsiteY32" fmla="*/ 7237 h 61242"/>
                    <a:gd name="connsiteX33" fmla="*/ 27093 w 69209"/>
                    <a:gd name="connsiteY33" fmla="*/ 7237 h 61242"/>
                    <a:gd name="connsiteX34" fmla="*/ 27093 w 69209"/>
                    <a:gd name="connsiteY34" fmla="*/ 7237 h 61242"/>
                    <a:gd name="connsiteX35" fmla="*/ 27093 w 69209"/>
                    <a:gd name="connsiteY35" fmla="*/ 7237 h 61242"/>
                    <a:gd name="connsiteX36" fmla="*/ 27093 w 69209"/>
                    <a:gd name="connsiteY36" fmla="*/ 7237 h 61242"/>
                    <a:gd name="connsiteX37" fmla="*/ 27093 w 69209"/>
                    <a:gd name="connsiteY37" fmla="*/ 7237 h 61242"/>
                    <a:gd name="connsiteX38" fmla="*/ 27093 w 69209"/>
                    <a:gd name="connsiteY38" fmla="*/ 7237 h 61242"/>
                    <a:gd name="connsiteX39" fmla="*/ 27093 w 69209"/>
                    <a:gd name="connsiteY39" fmla="*/ 7296 h 61242"/>
                    <a:gd name="connsiteX40" fmla="*/ 27093 w 69209"/>
                    <a:gd name="connsiteY40" fmla="*/ 7296 h 61242"/>
                    <a:gd name="connsiteX41" fmla="*/ 27093 w 69209"/>
                    <a:gd name="connsiteY41" fmla="*/ 7296 h 61242"/>
                    <a:gd name="connsiteX42" fmla="*/ 27093 w 69209"/>
                    <a:gd name="connsiteY42" fmla="*/ 7296 h 61242"/>
                    <a:gd name="connsiteX43" fmla="*/ 29425 w 69209"/>
                    <a:gd name="connsiteY43" fmla="*/ 22248 h 61242"/>
                    <a:gd name="connsiteX44" fmla="*/ 46769 w 69209"/>
                    <a:gd name="connsiteY44" fmla="*/ 4007 h 61242"/>
                    <a:gd name="connsiteX45" fmla="*/ 46949 w 69209"/>
                    <a:gd name="connsiteY45" fmla="*/ 3947 h 61242"/>
                    <a:gd name="connsiteX46" fmla="*/ 47068 w 69209"/>
                    <a:gd name="connsiteY46" fmla="*/ 4067 h 61242"/>
                    <a:gd name="connsiteX47" fmla="*/ 57774 w 69209"/>
                    <a:gd name="connsiteY47" fmla="*/ 60345 h 61242"/>
                    <a:gd name="connsiteX48" fmla="*/ 68898 w 69209"/>
                    <a:gd name="connsiteY48" fmla="*/ 179 h 61242"/>
                    <a:gd name="connsiteX49" fmla="*/ 69018 w 69209"/>
                    <a:gd name="connsiteY49" fmla="*/ 0 h 61242"/>
                    <a:gd name="connsiteX50" fmla="*/ 69197 w 69209"/>
                    <a:gd name="connsiteY50" fmla="*/ 120 h 61242"/>
                    <a:gd name="connsiteX51" fmla="*/ 67343 w 69209"/>
                    <a:gd name="connsiteY51" fmla="*/ 12141 h 61242"/>
                    <a:gd name="connsiteX52" fmla="*/ 57893 w 69209"/>
                    <a:gd name="connsiteY52" fmla="*/ 61123 h 61242"/>
                    <a:gd name="connsiteX53" fmla="*/ 17583 w 69209"/>
                    <a:gd name="connsiteY53" fmla="*/ 35047 h 61242"/>
                    <a:gd name="connsiteX54" fmla="*/ 33970 w 69209"/>
                    <a:gd name="connsiteY54" fmla="*/ 50178 h 61242"/>
                    <a:gd name="connsiteX55" fmla="*/ 29126 w 69209"/>
                    <a:gd name="connsiteY55" fmla="*/ 22846 h 61242"/>
                    <a:gd name="connsiteX56" fmla="*/ 17583 w 69209"/>
                    <a:gd name="connsiteY56" fmla="*/ 35047 h 61242"/>
                    <a:gd name="connsiteX57" fmla="*/ 15550 w 69209"/>
                    <a:gd name="connsiteY57" fmla="*/ 33133 h 61242"/>
                    <a:gd name="connsiteX58" fmla="*/ 17344 w 69209"/>
                    <a:gd name="connsiteY58" fmla="*/ 34808 h 61242"/>
                    <a:gd name="connsiteX59" fmla="*/ 29126 w 69209"/>
                    <a:gd name="connsiteY59" fmla="*/ 22428 h 61242"/>
                    <a:gd name="connsiteX60" fmla="*/ 26794 w 69209"/>
                    <a:gd name="connsiteY60" fmla="*/ 7835 h 61242"/>
                    <a:gd name="connsiteX61" fmla="*/ 15550 w 69209"/>
                    <a:gd name="connsiteY61" fmla="*/ 33133 h 61242"/>
                    <a:gd name="connsiteX62" fmla="*/ 15251 w 69209"/>
                    <a:gd name="connsiteY62" fmla="*/ 32894 h 61242"/>
                    <a:gd name="connsiteX63" fmla="*/ 26554 w 69209"/>
                    <a:gd name="connsiteY63" fmla="*/ 7476 h 61242"/>
                    <a:gd name="connsiteX64" fmla="*/ 299 w 69209"/>
                    <a:gd name="connsiteY64" fmla="*/ 19138 h 61242"/>
                    <a:gd name="connsiteX65" fmla="*/ 15251 w 69209"/>
                    <a:gd name="connsiteY65" fmla="*/ 32894 h 61242"/>
                    <a:gd name="connsiteX66" fmla="*/ 12560 w 69209"/>
                    <a:gd name="connsiteY66" fmla="*/ 39832 h 61242"/>
                    <a:gd name="connsiteX67" fmla="*/ 17105 w 69209"/>
                    <a:gd name="connsiteY67" fmla="*/ 35047 h 61242"/>
                    <a:gd name="connsiteX68" fmla="*/ 15371 w 69209"/>
                    <a:gd name="connsiteY68" fmla="*/ 33432 h 61242"/>
                    <a:gd name="connsiteX69" fmla="*/ 12560 w 69209"/>
                    <a:gd name="connsiteY69" fmla="*/ 39832 h 6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9209" h="61242">
                      <a:moveTo>
                        <a:pt x="57893" y="61123"/>
                      </a:moveTo>
                      <a:cubicBezTo>
                        <a:pt x="57893" y="61183"/>
                        <a:pt x="57833" y="61243"/>
                        <a:pt x="57714" y="61243"/>
                      </a:cubicBezTo>
                      <a:cubicBezTo>
                        <a:pt x="57654" y="61243"/>
                        <a:pt x="57594" y="61183"/>
                        <a:pt x="57535" y="61123"/>
                      </a:cubicBezTo>
                      <a:lnTo>
                        <a:pt x="46709" y="4366"/>
                      </a:lnTo>
                      <a:lnTo>
                        <a:pt x="29425" y="22547"/>
                      </a:lnTo>
                      <a:cubicBezTo>
                        <a:pt x="31578" y="34927"/>
                        <a:pt x="34329" y="50298"/>
                        <a:pt x="34389" y="50597"/>
                      </a:cubicBezTo>
                      <a:cubicBezTo>
                        <a:pt x="34389" y="50657"/>
                        <a:pt x="34389" y="50717"/>
                        <a:pt x="34329" y="50776"/>
                      </a:cubicBezTo>
                      <a:cubicBezTo>
                        <a:pt x="34270" y="50836"/>
                        <a:pt x="34210" y="50776"/>
                        <a:pt x="34150" y="50776"/>
                      </a:cubicBezTo>
                      <a:lnTo>
                        <a:pt x="17404" y="35346"/>
                      </a:lnTo>
                      <a:lnTo>
                        <a:pt x="12201" y="40848"/>
                      </a:lnTo>
                      <a:cubicBezTo>
                        <a:pt x="12141" y="40908"/>
                        <a:pt x="12081" y="40908"/>
                        <a:pt x="12021" y="40848"/>
                      </a:cubicBezTo>
                      <a:cubicBezTo>
                        <a:pt x="11961" y="40789"/>
                        <a:pt x="11961" y="40729"/>
                        <a:pt x="11961" y="40669"/>
                      </a:cubicBezTo>
                      <a:lnTo>
                        <a:pt x="15251" y="33313"/>
                      </a:lnTo>
                      <a:lnTo>
                        <a:pt x="60" y="19318"/>
                      </a:lnTo>
                      <a:cubicBezTo>
                        <a:pt x="0" y="19258"/>
                        <a:pt x="0" y="19198"/>
                        <a:pt x="0" y="19198"/>
                      </a:cubicBezTo>
                      <a:lnTo>
                        <a:pt x="0" y="19198"/>
                      </a:lnTo>
                      <a:cubicBezTo>
                        <a:pt x="0" y="19138"/>
                        <a:pt x="60" y="19079"/>
                        <a:pt x="120" y="19079"/>
                      </a:cubicBezTo>
                      <a:lnTo>
                        <a:pt x="26973" y="7177"/>
                      </a:lnTo>
                      <a:cubicBezTo>
                        <a:pt x="26973" y="7177"/>
                        <a:pt x="27033" y="7177"/>
                        <a:pt x="27033" y="7177"/>
                      </a:cubicBezTo>
                      <a:lnTo>
                        <a:pt x="27033" y="7177"/>
                      </a:lnTo>
                      <a:cubicBezTo>
                        <a:pt x="27033" y="7177"/>
                        <a:pt x="27033" y="7177"/>
                        <a:pt x="27033" y="7177"/>
                      </a:cubicBezTo>
                      <a:lnTo>
                        <a:pt x="27033" y="7177"/>
                      </a:lnTo>
                      <a:lnTo>
                        <a:pt x="27033" y="7177"/>
                      </a:lnTo>
                      <a:cubicBezTo>
                        <a:pt x="27033" y="7177"/>
                        <a:pt x="27033" y="7177"/>
                        <a:pt x="27033" y="7177"/>
                      </a:cubicBezTo>
                      <a:lnTo>
                        <a:pt x="27033" y="7177"/>
                      </a:lnTo>
                      <a:cubicBezTo>
                        <a:pt x="27033" y="7177"/>
                        <a:pt x="27033" y="7177"/>
                        <a:pt x="27033" y="7177"/>
                      </a:cubicBezTo>
                      <a:lnTo>
                        <a:pt x="27033" y="7177"/>
                      </a:lnTo>
                      <a:lnTo>
                        <a:pt x="27033" y="7177"/>
                      </a:lnTo>
                      <a:lnTo>
                        <a:pt x="27033" y="7177"/>
                      </a:lnTo>
                      <a:lnTo>
                        <a:pt x="27033" y="7177"/>
                      </a:lnTo>
                      <a:cubicBezTo>
                        <a:pt x="27093" y="7177"/>
                        <a:pt x="27093" y="7177"/>
                        <a:pt x="27093" y="7237"/>
                      </a:cubicBezTo>
                      <a:lnTo>
                        <a:pt x="27093" y="7237"/>
                      </a:lnTo>
                      <a:cubicBezTo>
                        <a:pt x="27093" y="7237"/>
                        <a:pt x="27093" y="7237"/>
                        <a:pt x="27093" y="7237"/>
                      </a:cubicBezTo>
                      <a:cubicBezTo>
                        <a:pt x="27093" y="7237"/>
                        <a:pt x="27093" y="7237"/>
                        <a:pt x="27093" y="7237"/>
                      </a:cubicBezTo>
                      <a:cubicBezTo>
                        <a:pt x="27093" y="7237"/>
                        <a:pt x="27093" y="7237"/>
                        <a:pt x="27093" y="7237"/>
                      </a:cubicBezTo>
                      <a:lnTo>
                        <a:pt x="27093" y="7237"/>
                      </a:lnTo>
                      <a:lnTo>
                        <a:pt x="27093" y="7237"/>
                      </a:lnTo>
                      <a:lnTo>
                        <a:pt x="27093" y="7237"/>
                      </a:lnTo>
                      <a:lnTo>
                        <a:pt x="27093" y="7237"/>
                      </a:lnTo>
                      <a:cubicBezTo>
                        <a:pt x="27093" y="7237"/>
                        <a:pt x="27093" y="7296"/>
                        <a:pt x="27093" y="7296"/>
                      </a:cubicBezTo>
                      <a:lnTo>
                        <a:pt x="27093" y="7296"/>
                      </a:lnTo>
                      <a:lnTo>
                        <a:pt x="27093" y="7296"/>
                      </a:lnTo>
                      <a:cubicBezTo>
                        <a:pt x="27093" y="7296"/>
                        <a:pt x="27093" y="7296"/>
                        <a:pt x="27093" y="7296"/>
                      </a:cubicBezTo>
                      <a:cubicBezTo>
                        <a:pt x="27033" y="8134"/>
                        <a:pt x="28109" y="14593"/>
                        <a:pt x="29425" y="22248"/>
                      </a:cubicBezTo>
                      <a:lnTo>
                        <a:pt x="46769" y="4007"/>
                      </a:lnTo>
                      <a:cubicBezTo>
                        <a:pt x="46829" y="3947"/>
                        <a:pt x="46889" y="3947"/>
                        <a:pt x="46949" y="3947"/>
                      </a:cubicBezTo>
                      <a:cubicBezTo>
                        <a:pt x="47008" y="3947"/>
                        <a:pt x="47068" y="4007"/>
                        <a:pt x="47068" y="4067"/>
                      </a:cubicBezTo>
                      <a:lnTo>
                        <a:pt x="57774" y="60345"/>
                      </a:lnTo>
                      <a:cubicBezTo>
                        <a:pt x="61901" y="39712"/>
                        <a:pt x="69257" y="1675"/>
                        <a:pt x="68898" y="179"/>
                      </a:cubicBezTo>
                      <a:cubicBezTo>
                        <a:pt x="68898" y="120"/>
                        <a:pt x="68958" y="0"/>
                        <a:pt x="69018" y="0"/>
                      </a:cubicBezTo>
                      <a:cubicBezTo>
                        <a:pt x="69077" y="0"/>
                        <a:pt x="69197" y="60"/>
                        <a:pt x="69197" y="120"/>
                      </a:cubicBezTo>
                      <a:cubicBezTo>
                        <a:pt x="69317" y="658"/>
                        <a:pt x="68539" y="5442"/>
                        <a:pt x="67343" y="12141"/>
                      </a:cubicBezTo>
                      <a:cubicBezTo>
                        <a:pt x="64233" y="29305"/>
                        <a:pt x="58252" y="59389"/>
                        <a:pt x="57893" y="61123"/>
                      </a:cubicBezTo>
                      <a:close/>
                      <a:moveTo>
                        <a:pt x="17583" y="35047"/>
                      </a:moveTo>
                      <a:lnTo>
                        <a:pt x="33970" y="50178"/>
                      </a:lnTo>
                      <a:cubicBezTo>
                        <a:pt x="33492" y="47367"/>
                        <a:pt x="31040" y="33970"/>
                        <a:pt x="29126" y="22846"/>
                      </a:cubicBezTo>
                      <a:lnTo>
                        <a:pt x="17583" y="35047"/>
                      </a:lnTo>
                      <a:close/>
                      <a:moveTo>
                        <a:pt x="15550" y="33133"/>
                      </a:moveTo>
                      <a:lnTo>
                        <a:pt x="17344" y="34808"/>
                      </a:lnTo>
                      <a:lnTo>
                        <a:pt x="29126" y="22428"/>
                      </a:lnTo>
                      <a:cubicBezTo>
                        <a:pt x="27990" y="15669"/>
                        <a:pt x="27033" y="9808"/>
                        <a:pt x="26794" y="7835"/>
                      </a:cubicBezTo>
                      <a:lnTo>
                        <a:pt x="15550" y="33133"/>
                      </a:lnTo>
                      <a:close/>
                      <a:moveTo>
                        <a:pt x="15251" y="32894"/>
                      </a:moveTo>
                      <a:lnTo>
                        <a:pt x="26554" y="7476"/>
                      </a:lnTo>
                      <a:lnTo>
                        <a:pt x="299" y="19138"/>
                      </a:lnTo>
                      <a:lnTo>
                        <a:pt x="15251" y="32894"/>
                      </a:lnTo>
                      <a:close/>
                      <a:moveTo>
                        <a:pt x="12560" y="39832"/>
                      </a:moveTo>
                      <a:lnTo>
                        <a:pt x="17105" y="35047"/>
                      </a:lnTo>
                      <a:lnTo>
                        <a:pt x="15371" y="33432"/>
                      </a:lnTo>
                      <a:lnTo>
                        <a:pt x="12560" y="39832"/>
                      </a:lnTo>
                      <a:close/>
                    </a:path>
                  </a:pathLst>
                </a:custGeom>
                <a:grpFill/>
                <a:ln w="6350" cap="flat">
                  <a:solidFill>
                    <a:schemeClr val="bg1">
                      <a:alpha val="40000"/>
                    </a:schemeClr>
                  </a:solidFill>
                  <a:prstDash val="solid"/>
                  <a:miter/>
                </a:ln>
              </p:spPr>
              <p:txBody>
                <a:bodyPr rtlCol="0" anchor="ctr"/>
                <a:lstStyle/>
                <a:p>
                  <a:endParaRPr lang="en-GB"/>
                </a:p>
              </p:txBody>
            </p:sp>
            <p:sp>
              <p:nvSpPr>
                <p:cNvPr id="8920" name="Vrije vorm: vorm 8919">
                  <a:extLst>
                    <a:ext uri="{FF2B5EF4-FFF2-40B4-BE49-F238E27FC236}">
                      <a16:creationId xmlns:a16="http://schemas.microsoft.com/office/drawing/2014/main" id="{7466F7D4-DC6B-41CD-8D4F-F383ECF5132B}"/>
                    </a:ext>
                  </a:extLst>
                </p:cNvPr>
                <p:cNvSpPr/>
                <p:nvPr/>
              </p:nvSpPr>
              <p:spPr>
                <a:xfrm>
                  <a:off x="4565538" y="2647705"/>
                  <a:ext cx="56445" cy="43898"/>
                </a:xfrm>
                <a:custGeom>
                  <a:avLst/>
                  <a:gdLst>
                    <a:gd name="connsiteX0" fmla="*/ 56443 w 56445"/>
                    <a:gd name="connsiteY0" fmla="*/ 31040 h 43898"/>
                    <a:gd name="connsiteX1" fmla="*/ 56443 w 56445"/>
                    <a:gd name="connsiteY1" fmla="*/ 31040 h 43898"/>
                    <a:gd name="connsiteX2" fmla="*/ 33178 w 56445"/>
                    <a:gd name="connsiteY2" fmla="*/ 60 h 43898"/>
                    <a:gd name="connsiteX3" fmla="*/ 33059 w 56445"/>
                    <a:gd name="connsiteY3" fmla="*/ 0 h 43898"/>
                    <a:gd name="connsiteX4" fmla="*/ 32939 w 56445"/>
                    <a:gd name="connsiteY4" fmla="*/ 60 h 43898"/>
                    <a:gd name="connsiteX5" fmla="*/ 45 w 56445"/>
                    <a:gd name="connsiteY5" fmla="*/ 42104 h 43898"/>
                    <a:gd name="connsiteX6" fmla="*/ 45 w 56445"/>
                    <a:gd name="connsiteY6" fmla="*/ 42284 h 43898"/>
                    <a:gd name="connsiteX7" fmla="*/ 165 w 56445"/>
                    <a:gd name="connsiteY7" fmla="*/ 42403 h 43898"/>
                    <a:gd name="connsiteX8" fmla="*/ 27257 w 56445"/>
                    <a:gd name="connsiteY8" fmla="*/ 43898 h 43898"/>
                    <a:gd name="connsiteX9" fmla="*/ 27437 w 56445"/>
                    <a:gd name="connsiteY9" fmla="*/ 43719 h 43898"/>
                    <a:gd name="connsiteX10" fmla="*/ 27257 w 56445"/>
                    <a:gd name="connsiteY10" fmla="*/ 43540 h 43898"/>
                    <a:gd name="connsiteX11" fmla="*/ 464 w 56445"/>
                    <a:gd name="connsiteY11" fmla="*/ 42044 h 43898"/>
                    <a:gd name="connsiteX12" fmla="*/ 32999 w 56445"/>
                    <a:gd name="connsiteY12" fmla="*/ 359 h 43898"/>
                    <a:gd name="connsiteX13" fmla="*/ 56084 w 56445"/>
                    <a:gd name="connsiteY13" fmla="*/ 30920 h 43898"/>
                    <a:gd name="connsiteX14" fmla="*/ 30427 w 56445"/>
                    <a:gd name="connsiteY14" fmla="*/ 20933 h 43898"/>
                    <a:gd name="connsiteX15" fmla="*/ 30188 w 56445"/>
                    <a:gd name="connsiteY15" fmla="*/ 20992 h 43898"/>
                    <a:gd name="connsiteX16" fmla="*/ 30247 w 56445"/>
                    <a:gd name="connsiteY16" fmla="*/ 21231 h 43898"/>
                    <a:gd name="connsiteX17" fmla="*/ 56144 w 56445"/>
                    <a:gd name="connsiteY17" fmla="*/ 31219 h 43898"/>
                    <a:gd name="connsiteX18" fmla="*/ 56443 w 56445"/>
                    <a:gd name="connsiteY18" fmla="*/ 31040 h 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445" h="43898">
                      <a:moveTo>
                        <a:pt x="56443" y="31040"/>
                      </a:moveTo>
                      <a:cubicBezTo>
                        <a:pt x="56443" y="31040"/>
                        <a:pt x="56443" y="31040"/>
                        <a:pt x="56443" y="31040"/>
                      </a:cubicBezTo>
                      <a:cubicBezTo>
                        <a:pt x="56683" y="29425"/>
                        <a:pt x="35570" y="3050"/>
                        <a:pt x="33178" y="60"/>
                      </a:cubicBezTo>
                      <a:cubicBezTo>
                        <a:pt x="33118" y="0"/>
                        <a:pt x="33118" y="0"/>
                        <a:pt x="33059" y="0"/>
                      </a:cubicBezTo>
                      <a:cubicBezTo>
                        <a:pt x="32999" y="0"/>
                        <a:pt x="32939" y="0"/>
                        <a:pt x="32939" y="60"/>
                      </a:cubicBezTo>
                      <a:lnTo>
                        <a:pt x="45" y="42104"/>
                      </a:lnTo>
                      <a:cubicBezTo>
                        <a:pt x="-15" y="42164"/>
                        <a:pt x="-15" y="42224"/>
                        <a:pt x="45" y="42284"/>
                      </a:cubicBezTo>
                      <a:cubicBezTo>
                        <a:pt x="45" y="42344"/>
                        <a:pt x="105" y="42403"/>
                        <a:pt x="165" y="42403"/>
                      </a:cubicBezTo>
                      <a:lnTo>
                        <a:pt x="27257" y="43898"/>
                      </a:lnTo>
                      <a:cubicBezTo>
                        <a:pt x="27317" y="43898"/>
                        <a:pt x="27437" y="43839"/>
                        <a:pt x="27437" y="43719"/>
                      </a:cubicBezTo>
                      <a:cubicBezTo>
                        <a:pt x="27437" y="43659"/>
                        <a:pt x="27377" y="43540"/>
                        <a:pt x="27257" y="43540"/>
                      </a:cubicBezTo>
                      <a:lnTo>
                        <a:pt x="464" y="42044"/>
                      </a:lnTo>
                      <a:lnTo>
                        <a:pt x="32999" y="359"/>
                      </a:lnTo>
                      <a:cubicBezTo>
                        <a:pt x="42389" y="12081"/>
                        <a:pt x="56204" y="29724"/>
                        <a:pt x="56084" y="30920"/>
                      </a:cubicBezTo>
                      <a:cubicBezTo>
                        <a:pt x="55247" y="31638"/>
                        <a:pt x="39936" y="25179"/>
                        <a:pt x="30427" y="20933"/>
                      </a:cubicBezTo>
                      <a:cubicBezTo>
                        <a:pt x="30367" y="20873"/>
                        <a:pt x="30247" y="20933"/>
                        <a:pt x="30188" y="20992"/>
                      </a:cubicBezTo>
                      <a:cubicBezTo>
                        <a:pt x="30128" y="21052"/>
                        <a:pt x="30188" y="21172"/>
                        <a:pt x="30247" y="21231"/>
                      </a:cubicBezTo>
                      <a:cubicBezTo>
                        <a:pt x="32700" y="22368"/>
                        <a:pt x="54529" y="32057"/>
                        <a:pt x="56144" y="31219"/>
                      </a:cubicBezTo>
                      <a:cubicBezTo>
                        <a:pt x="56383" y="31219"/>
                        <a:pt x="56443" y="31160"/>
                        <a:pt x="56443" y="3104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21" name="Vrije vorm: vorm 8920">
                  <a:extLst>
                    <a:ext uri="{FF2B5EF4-FFF2-40B4-BE49-F238E27FC236}">
                      <a16:creationId xmlns:a16="http://schemas.microsoft.com/office/drawing/2014/main" id="{1CAB83CB-46AC-4F14-B7F6-4FB9A8144EEA}"/>
                    </a:ext>
                  </a:extLst>
                </p:cNvPr>
                <p:cNvSpPr/>
                <p:nvPr/>
              </p:nvSpPr>
              <p:spPr>
                <a:xfrm>
                  <a:off x="4592591" y="2590171"/>
                  <a:ext cx="44248" cy="101418"/>
                </a:xfrm>
                <a:custGeom>
                  <a:avLst/>
                  <a:gdLst>
                    <a:gd name="connsiteX0" fmla="*/ 44222 w 44248"/>
                    <a:gd name="connsiteY0" fmla="*/ 4545 h 101418"/>
                    <a:gd name="connsiteX1" fmla="*/ 41591 w 44248"/>
                    <a:gd name="connsiteY1" fmla="*/ 15849 h 101418"/>
                    <a:gd name="connsiteX2" fmla="*/ 41471 w 44248"/>
                    <a:gd name="connsiteY2" fmla="*/ 15968 h 101418"/>
                    <a:gd name="connsiteX3" fmla="*/ 12345 w 44248"/>
                    <a:gd name="connsiteY3" fmla="*/ 25956 h 101418"/>
                    <a:gd name="connsiteX4" fmla="*/ 38899 w 44248"/>
                    <a:gd name="connsiteY4" fmla="*/ 29784 h 101418"/>
                    <a:gd name="connsiteX5" fmla="*/ 39019 w 44248"/>
                    <a:gd name="connsiteY5" fmla="*/ 29963 h 101418"/>
                    <a:gd name="connsiteX6" fmla="*/ 38899 w 44248"/>
                    <a:gd name="connsiteY6" fmla="*/ 30143 h 101418"/>
                    <a:gd name="connsiteX7" fmla="*/ 9953 w 44248"/>
                    <a:gd name="connsiteY7" fmla="*/ 36961 h 101418"/>
                    <a:gd name="connsiteX8" fmla="*/ 32320 w 44248"/>
                    <a:gd name="connsiteY8" fmla="*/ 70214 h 101418"/>
                    <a:gd name="connsiteX9" fmla="*/ 32320 w 44248"/>
                    <a:gd name="connsiteY9" fmla="*/ 70393 h 101418"/>
                    <a:gd name="connsiteX10" fmla="*/ 264 w 44248"/>
                    <a:gd name="connsiteY10" fmla="*/ 101373 h 101418"/>
                    <a:gd name="connsiteX11" fmla="*/ 85 w 44248"/>
                    <a:gd name="connsiteY11" fmla="*/ 101373 h 101418"/>
                    <a:gd name="connsiteX12" fmla="*/ 25 w 44248"/>
                    <a:gd name="connsiteY12" fmla="*/ 101194 h 101418"/>
                    <a:gd name="connsiteX13" fmla="*/ 9594 w 44248"/>
                    <a:gd name="connsiteY13" fmla="*/ 36781 h 101418"/>
                    <a:gd name="connsiteX14" fmla="*/ 9594 w 44248"/>
                    <a:gd name="connsiteY14" fmla="*/ 36781 h 101418"/>
                    <a:gd name="connsiteX15" fmla="*/ 11568 w 44248"/>
                    <a:gd name="connsiteY15" fmla="*/ 25956 h 101418"/>
                    <a:gd name="connsiteX16" fmla="*/ 11568 w 44248"/>
                    <a:gd name="connsiteY16" fmla="*/ 25896 h 101418"/>
                    <a:gd name="connsiteX17" fmla="*/ 20300 w 44248"/>
                    <a:gd name="connsiteY17" fmla="*/ 120 h 101418"/>
                    <a:gd name="connsiteX18" fmla="*/ 20479 w 44248"/>
                    <a:gd name="connsiteY18" fmla="*/ 0 h 101418"/>
                    <a:gd name="connsiteX19" fmla="*/ 44103 w 44248"/>
                    <a:gd name="connsiteY19" fmla="*/ 4246 h 101418"/>
                    <a:gd name="connsiteX20" fmla="*/ 44222 w 44248"/>
                    <a:gd name="connsiteY20" fmla="*/ 4306 h 101418"/>
                    <a:gd name="connsiteX21" fmla="*/ 44222 w 44248"/>
                    <a:gd name="connsiteY21" fmla="*/ 4545 h 101418"/>
                    <a:gd name="connsiteX22" fmla="*/ 44222 w 44248"/>
                    <a:gd name="connsiteY22" fmla="*/ 4545 h 101418"/>
                    <a:gd name="connsiteX23" fmla="*/ 11926 w 44248"/>
                    <a:gd name="connsiteY23" fmla="*/ 25777 h 101418"/>
                    <a:gd name="connsiteX24" fmla="*/ 41292 w 44248"/>
                    <a:gd name="connsiteY24" fmla="*/ 15669 h 101418"/>
                    <a:gd name="connsiteX25" fmla="*/ 43864 w 44248"/>
                    <a:gd name="connsiteY25" fmla="*/ 4665 h 101418"/>
                    <a:gd name="connsiteX26" fmla="*/ 20539 w 44248"/>
                    <a:gd name="connsiteY26" fmla="*/ 478 h 101418"/>
                    <a:gd name="connsiteX27" fmla="*/ 11926 w 44248"/>
                    <a:gd name="connsiteY27" fmla="*/ 25777 h 101418"/>
                    <a:gd name="connsiteX28" fmla="*/ 443 w 44248"/>
                    <a:gd name="connsiteY28" fmla="*/ 100835 h 101418"/>
                    <a:gd name="connsiteX29" fmla="*/ 32022 w 44248"/>
                    <a:gd name="connsiteY29" fmla="*/ 70273 h 101418"/>
                    <a:gd name="connsiteX30" fmla="*/ 9833 w 44248"/>
                    <a:gd name="connsiteY30" fmla="*/ 37260 h 101418"/>
                    <a:gd name="connsiteX31" fmla="*/ 443 w 44248"/>
                    <a:gd name="connsiteY31" fmla="*/ 100835 h 101418"/>
                    <a:gd name="connsiteX32" fmla="*/ 9953 w 44248"/>
                    <a:gd name="connsiteY32" fmla="*/ 36602 h 101418"/>
                    <a:gd name="connsiteX33" fmla="*/ 38062 w 44248"/>
                    <a:gd name="connsiteY33" fmla="*/ 29963 h 101418"/>
                    <a:gd name="connsiteX34" fmla="*/ 11807 w 44248"/>
                    <a:gd name="connsiteY34" fmla="*/ 26196 h 101418"/>
                    <a:gd name="connsiteX35" fmla="*/ 9953 w 44248"/>
                    <a:gd name="connsiteY35" fmla="*/ 36602 h 10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4248" h="101418">
                      <a:moveTo>
                        <a:pt x="44222" y="4545"/>
                      </a:moveTo>
                      <a:lnTo>
                        <a:pt x="41591" y="15849"/>
                      </a:lnTo>
                      <a:cubicBezTo>
                        <a:pt x="41591" y="15909"/>
                        <a:pt x="41531" y="15968"/>
                        <a:pt x="41471" y="15968"/>
                      </a:cubicBezTo>
                      <a:lnTo>
                        <a:pt x="12345" y="25956"/>
                      </a:lnTo>
                      <a:lnTo>
                        <a:pt x="38899" y="29784"/>
                      </a:lnTo>
                      <a:cubicBezTo>
                        <a:pt x="38959" y="29784"/>
                        <a:pt x="39019" y="29844"/>
                        <a:pt x="39019" y="29963"/>
                      </a:cubicBezTo>
                      <a:cubicBezTo>
                        <a:pt x="39019" y="30023"/>
                        <a:pt x="38959" y="30083"/>
                        <a:pt x="38899" y="30143"/>
                      </a:cubicBezTo>
                      <a:lnTo>
                        <a:pt x="9953" y="36961"/>
                      </a:lnTo>
                      <a:lnTo>
                        <a:pt x="32320" y="70214"/>
                      </a:lnTo>
                      <a:cubicBezTo>
                        <a:pt x="32380" y="70273"/>
                        <a:pt x="32380" y="70393"/>
                        <a:pt x="32320" y="70393"/>
                      </a:cubicBezTo>
                      <a:lnTo>
                        <a:pt x="264" y="101373"/>
                      </a:lnTo>
                      <a:cubicBezTo>
                        <a:pt x="204" y="101433"/>
                        <a:pt x="144" y="101433"/>
                        <a:pt x="85" y="101373"/>
                      </a:cubicBezTo>
                      <a:cubicBezTo>
                        <a:pt x="25" y="101313"/>
                        <a:pt x="-35" y="101254"/>
                        <a:pt x="25" y="101194"/>
                      </a:cubicBezTo>
                      <a:lnTo>
                        <a:pt x="9594" y="36781"/>
                      </a:lnTo>
                      <a:cubicBezTo>
                        <a:pt x="9594" y="36781"/>
                        <a:pt x="9594" y="36781"/>
                        <a:pt x="9594" y="36781"/>
                      </a:cubicBezTo>
                      <a:lnTo>
                        <a:pt x="11568" y="25956"/>
                      </a:lnTo>
                      <a:cubicBezTo>
                        <a:pt x="11568" y="25956"/>
                        <a:pt x="11568" y="25896"/>
                        <a:pt x="11568" y="25896"/>
                      </a:cubicBezTo>
                      <a:lnTo>
                        <a:pt x="20300" y="120"/>
                      </a:lnTo>
                      <a:cubicBezTo>
                        <a:pt x="20300" y="60"/>
                        <a:pt x="20419" y="0"/>
                        <a:pt x="20479" y="0"/>
                      </a:cubicBezTo>
                      <a:lnTo>
                        <a:pt x="44103" y="4246"/>
                      </a:lnTo>
                      <a:cubicBezTo>
                        <a:pt x="44163" y="4246"/>
                        <a:pt x="44163" y="4306"/>
                        <a:pt x="44222" y="4306"/>
                      </a:cubicBezTo>
                      <a:cubicBezTo>
                        <a:pt x="44222" y="4486"/>
                        <a:pt x="44282" y="4486"/>
                        <a:pt x="44222" y="4545"/>
                      </a:cubicBezTo>
                      <a:cubicBezTo>
                        <a:pt x="44222" y="4545"/>
                        <a:pt x="44222" y="4545"/>
                        <a:pt x="44222" y="4545"/>
                      </a:cubicBezTo>
                      <a:close/>
                      <a:moveTo>
                        <a:pt x="11926" y="25777"/>
                      </a:moveTo>
                      <a:lnTo>
                        <a:pt x="41292" y="15669"/>
                      </a:lnTo>
                      <a:lnTo>
                        <a:pt x="43864" y="4665"/>
                      </a:lnTo>
                      <a:lnTo>
                        <a:pt x="20539" y="478"/>
                      </a:lnTo>
                      <a:lnTo>
                        <a:pt x="11926" y="25777"/>
                      </a:lnTo>
                      <a:close/>
                      <a:moveTo>
                        <a:pt x="443" y="100835"/>
                      </a:moveTo>
                      <a:lnTo>
                        <a:pt x="32022" y="70273"/>
                      </a:lnTo>
                      <a:lnTo>
                        <a:pt x="9833" y="37260"/>
                      </a:lnTo>
                      <a:lnTo>
                        <a:pt x="443" y="100835"/>
                      </a:lnTo>
                      <a:close/>
                      <a:moveTo>
                        <a:pt x="9953" y="36602"/>
                      </a:moveTo>
                      <a:lnTo>
                        <a:pt x="38062" y="29963"/>
                      </a:lnTo>
                      <a:lnTo>
                        <a:pt x="11807" y="26196"/>
                      </a:lnTo>
                      <a:lnTo>
                        <a:pt x="9953" y="36602"/>
                      </a:lnTo>
                      <a:close/>
                    </a:path>
                  </a:pathLst>
                </a:custGeom>
                <a:grpFill/>
                <a:ln w="6350" cap="flat">
                  <a:solidFill>
                    <a:schemeClr val="bg1">
                      <a:alpha val="40000"/>
                    </a:schemeClr>
                  </a:solidFill>
                  <a:prstDash val="solid"/>
                  <a:miter/>
                </a:ln>
              </p:spPr>
              <p:txBody>
                <a:bodyPr rtlCol="0" anchor="ctr"/>
                <a:lstStyle/>
                <a:p>
                  <a:endParaRPr lang="en-GB"/>
                </a:p>
              </p:txBody>
            </p:sp>
            <p:sp>
              <p:nvSpPr>
                <p:cNvPr id="8922" name="Vrije vorm: vorm 8921">
                  <a:extLst>
                    <a:ext uri="{FF2B5EF4-FFF2-40B4-BE49-F238E27FC236}">
                      <a16:creationId xmlns:a16="http://schemas.microsoft.com/office/drawing/2014/main" id="{272547D6-F1A3-487E-908F-882DBC90ECF8}"/>
                    </a:ext>
                  </a:extLst>
                </p:cNvPr>
                <p:cNvSpPr/>
                <p:nvPr/>
              </p:nvSpPr>
              <p:spPr>
                <a:xfrm>
                  <a:off x="4612905" y="2590186"/>
                  <a:ext cx="21315" cy="30032"/>
                </a:xfrm>
                <a:custGeom>
                  <a:avLst/>
                  <a:gdLst>
                    <a:gd name="connsiteX0" fmla="*/ 18764 w 21315"/>
                    <a:gd name="connsiteY0" fmla="*/ 29949 h 30032"/>
                    <a:gd name="connsiteX1" fmla="*/ 18764 w 21315"/>
                    <a:gd name="connsiteY1" fmla="*/ 29829 h 30032"/>
                    <a:gd name="connsiteX2" fmla="*/ 703 w 21315"/>
                    <a:gd name="connsiteY2" fmla="*/ 882 h 30032"/>
                    <a:gd name="connsiteX3" fmla="*/ 21037 w 21315"/>
                    <a:gd name="connsiteY3" fmla="*/ 15894 h 30032"/>
                    <a:gd name="connsiteX4" fmla="*/ 21276 w 21315"/>
                    <a:gd name="connsiteY4" fmla="*/ 15834 h 30032"/>
                    <a:gd name="connsiteX5" fmla="*/ 21217 w 21315"/>
                    <a:gd name="connsiteY5" fmla="*/ 15595 h 30032"/>
                    <a:gd name="connsiteX6" fmla="*/ 224 w 21315"/>
                    <a:gd name="connsiteY6" fmla="*/ 45 h 30032"/>
                    <a:gd name="connsiteX7" fmla="*/ 45 w 21315"/>
                    <a:gd name="connsiteY7" fmla="*/ 45 h 30032"/>
                    <a:gd name="connsiteX8" fmla="*/ 45 w 21315"/>
                    <a:gd name="connsiteY8" fmla="*/ 224 h 30032"/>
                    <a:gd name="connsiteX9" fmla="*/ 18525 w 21315"/>
                    <a:gd name="connsiteY9" fmla="*/ 29949 h 30032"/>
                    <a:gd name="connsiteX10" fmla="*/ 18764 w 21315"/>
                    <a:gd name="connsiteY10" fmla="*/ 30008 h 30032"/>
                    <a:gd name="connsiteX11" fmla="*/ 18764 w 21315"/>
                    <a:gd name="connsiteY11" fmla="*/ 29949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315" h="30032">
                      <a:moveTo>
                        <a:pt x="18764" y="29949"/>
                      </a:moveTo>
                      <a:cubicBezTo>
                        <a:pt x="18764" y="29889"/>
                        <a:pt x="18764" y="29889"/>
                        <a:pt x="18764" y="29829"/>
                      </a:cubicBezTo>
                      <a:lnTo>
                        <a:pt x="703" y="882"/>
                      </a:lnTo>
                      <a:lnTo>
                        <a:pt x="21037" y="15894"/>
                      </a:lnTo>
                      <a:cubicBezTo>
                        <a:pt x="21097" y="15953"/>
                        <a:pt x="21217" y="15953"/>
                        <a:pt x="21276" y="15834"/>
                      </a:cubicBezTo>
                      <a:cubicBezTo>
                        <a:pt x="21336" y="15774"/>
                        <a:pt x="21336" y="15654"/>
                        <a:pt x="21217" y="15595"/>
                      </a:cubicBezTo>
                      <a:lnTo>
                        <a:pt x="224" y="45"/>
                      </a:lnTo>
                      <a:cubicBezTo>
                        <a:pt x="164" y="-15"/>
                        <a:pt x="104" y="-15"/>
                        <a:pt x="45" y="45"/>
                      </a:cubicBezTo>
                      <a:cubicBezTo>
                        <a:pt x="-15" y="105"/>
                        <a:pt x="-15" y="164"/>
                        <a:pt x="45" y="224"/>
                      </a:cubicBezTo>
                      <a:lnTo>
                        <a:pt x="18525" y="29949"/>
                      </a:lnTo>
                      <a:cubicBezTo>
                        <a:pt x="18585" y="30008"/>
                        <a:pt x="18645" y="30068"/>
                        <a:pt x="18764" y="30008"/>
                      </a:cubicBezTo>
                      <a:cubicBezTo>
                        <a:pt x="18764" y="30068"/>
                        <a:pt x="18764" y="30008"/>
                        <a:pt x="18764" y="2994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23" name="Vrije vorm: vorm 8922">
                  <a:extLst>
                    <a:ext uri="{FF2B5EF4-FFF2-40B4-BE49-F238E27FC236}">
                      <a16:creationId xmlns:a16="http://schemas.microsoft.com/office/drawing/2014/main" id="{3D60C17E-5084-4A51-BBB8-CA73F3AB47F1}"/>
                    </a:ext>
                  </a:extLst>
                </p:cNvPr>
                <p:cNvSpPr/>
                <p:nvPr/>
              </p:nvSpPr>
              <p:spPr>
                <a:xfrm>
                  <a:off x="4512310" y="2626773"/>
                  <a:ext cx="116549" cy="68539"/>
                </a:xfrm>
                <a:custGeom>
                  <a:avLst/>
                  <a:gdLst>
                    <a:gd name="connsiteX0" fmla="*/ 109671 w 116549"/>
                    <a:gd name="connsiteY0" fmla="*/ 51972 h 68539"/>
                    <a:gd name="connsiteX1" fmla="*/ 106382 w 116549"/>
                    <a:gd name="connsiteY1" fmla="*/ 68419 h 68539"/>
                    <a:gd name="connsiteX2" fmla="*/ 106262 w 116549"/>
                    <a:gd name="connsiteY2" fmla="*/ 68539 h 68539"/>
                    <a:gd name="connsiteX3" fmla="*/ 106083 w 116549"/>
                    <a:gd name="connsiteY3" fmla="*/ 68479 h 68539"/>
                    <a:gd name="connsiteX4" fmla="*/ 96753 w 116549"/>
                    <a:gd name="connsiteY4" fmla="*/ 57654 h 68539"/>
                    <a:gd name="connsiteX5" fmla="*/ 80485 w 116549"/>
                    <a:gd name="connsiteY5" fmla="*/ 64771 h 68539"/>
                    <a:gd name="connsiteX6" fmla="*/ 80485 w 116549"/>
                    <a:gd name="connsiteY6" fmla="*/ 64771 h 68539"/>
                    <a:gd name="connsiteX7" fmla="*/ 80485 w 116549"/>
                    <a:gd name="connsiteY7" fmla="*/ 64771 h 68539"/>
                    <a:gd name="connsiteX8" fmla="*/ 80485 w 116549"/>
                    <a:gd name="connsiteY8" fmla="*/ 64771 h 68539"/>
                    <a:gd name="connsiteX9" fmla="*/ 80485 w 116549"/>
                    <a:gd name="connsiteY9" fmla="*/ 64771 h 68539"/>
                    <a:gd name="connsiteX10" fmla="*/ 80485 w 116549"/>
                    <a:gd name="connsiteY10" fmla="*/ 64771 h 68539"/>
                    <a:gd name="connsiteX11" fmla="*/ 80485 w 116549"/>
                    <a:gd name="connsiteY11" fmla="*/ 64771 h 68539"/>
                    <a:gd name="connsiteX12" fmla="*/ 80485 w 116549"/>
                    <a:gd name="connsiteY12" fmla="*/ 64771 h 68539"/>
                    <a:gd name="connsiteX13" fmla="*/ 80485 w 116549"/>
                    <a:gd name="connsiteY13" fmla="*/ 64771 h 68539"/>
                    <a:gd name="connsiteX14" fmla="*/ 80485 w 116549"/>
                    <a:gd name="connsiteY14" fmla="*/ 64771 h 68539"/>
                    <a:gd name="connsiteX15" fmla="*/ 80485 w 116549"/>
                    <a:gd name="connsiteY15" fmla="*/ 64771 h 68539"/>
                    <a:gd name="connsiteX16" fmla="*/ 80485 w 116549"/>
                    <a:gd name="connsiteY16" fmla="*/ 64771 h 68539"/>
                    <a:gd name="connsiteX17" fmla="*/ 80485 w 116549"/>
                    <a:gd name="connsiteY17" fmla="*/ 64771 h 68539"/>
                    <a:gd name="connsiteX18" fmla="*/ 80485 w 116549"/>
                    <a:gd name="connsiteY18" fmla="*/ 64771 h 68539"/>
                    <a:gd name="connsiteX19" fmla="*/ 80485 w 116549"/>
                    <a:gd name="connsiteY19" fmla="*/ 64771 h 68539"/>
                    <a:gd name="connsiteX20" fmla="*/ 80425 w 116549"/>
                    <a:gd name="connsiteY20" fmla="*/ 64771 h 68539"/>
                    <a:gd name="connsiteX21" fmla="*/ 80425 w 116549"/>
                    <a:gd name="connsiteY21" fmla="*/ 64771 h 68539"/>
                    <a:gd name="connsiteX22" fmla="*/ 80425 w 116549"/>
                    <a:gd name="connsiteY22" fmla="*/ 64771 h 68539"/>
                    <a:gd name="connsiteX23" fmla="*/ 80425 w 116549"/>
                    <a:gd name="connsiteY23" fmla="*/ 64771 h 68539"/>
                    <a:gd name="connsiteX24" fmla="*/ 29829 w 116549"/>
                    <a:gd name="connsiteY24" fmla="*/ 52810 h 68539"/>
                    <a:gd name="connsiteX25" fmla="*/ 29709 w 116549"/>
                    <a:gd name="connsiteY25" fmla="*/ 52630 h 68539"/>
                    <a:gd name="connsiteX26" fmla="*/ 29829 w 116549"/>
                    <a:gd name="connsiteY26" fmla="*/ 52451 h 68539"/>
                    <a:gd name="connsiteX27" fmla="*/ 61108 w 116549"/>
                    <a:gd name="connsiteY27" fmla="*/ 46291 h 68539"/>
                    <a:gd name="connsiteX28" fmla="*/ 36108 w 116549"/>
                    <a:gd name="connsiteY28" fmla="*/ 22368 h 68539"/>
                    <a:gd name="connsiteX29" fmla="*/ 224 w 116549"/>
                    <a:gd name="connsiteY29" fmla="*/ 37021 h 68539"/>
                    <a:gd name="connsiteX30" fmla="*/ 45 w 116549"/>
                    <a:gd name="connsiteY30" fmla="*/ 36961 h 68539"/>
                    <a:gd name="connsiteX31" fmla="*/ 45 w 116549"/>
                    <a:gd name="connsiteY31" fmla="*/ 36781 h 68539"/>
                    <a:gd name="connsiteX32" fmla="*/ 22413 w 116549"/>
                    <a:gd name="connsiteY32" fmla="*/ 9031 h 68539"/>
                    <a:gd name="connsiteX33" fmla="*/ 22532 w 116549"/>
                    <a:gd name="connsiteY33" fmla="*/ 8971 h 68539"/>
                    <a:gd name="connsiteX34" fmla="*/ 22652 w 116549"/>
                    <a:gd name="connsiteY34" fmla="*/ 9031 h 68539"/>
                    <a:gd name="connsiteX35" fmla="*/ 36168 w 116549"/>
                    <a:gd name="connsiteY35" fmla="*/ 22009 h 68539"/>
                    <a:gd name="connsiteX36" fmla="*/ 66431 w 116549"/>
                    <a:gd name="connsiteY36" fmla="*/ 9629 h 68539"/>
                    <a:gd name="connsiteX37" fmla="*/ 64517 w 116549"/>
                    <a:gd name="connsiteY37" fmla="*/ 2093 h 68539"/>
                    <a:gd name="connsiteX38" fmla="*/ 64637 w 116549"/>
                    <a:gd name="connsiteY38" fmla="*/ 1914 h 68539"/>
                    <a:gd name="connsiteX39" fmla="*/ 64816 w 116549"/>
                    <a:gd name="connsiteY39" fmla="*/ 1974 h 68539"/>
                    <a:gd name="connsiteX40" fmla="*/ 68105 w 116549"/>
                    <a:gd name="connsiteY40" fmla="*/ 8911 h 68539"/>
                    <a:gd name="connsiteX41" fmla="*/ 89935 w 116549"/>
                    <a:gd name="connsiteY41" fmla="*/ 0 h 68539"/>
                    <a:gd name="connsiteX42" fmla="*/ 90055 w 116549"/>
                    <a:gd name="connsiteY42" fmla="*/ 0 h 68539"/>
                    <a:gd name="connsiteX43" fmla="*/ 116430 w 116549"/>
                    <a:gd name="connsiteY43" fmla="*/ 8552 h 68539"/>
                    <a:gd name="connsiteX44" fmla="*/ 116549 w 116549"/>
                    <a:gd name="connsiteY44" fmla="*/ 8672 h 68539"/>
                    <a:gd name="connsiteX45" fmla="*/ 116489 w 116549"/>
                    <a:gd name="connsiteY45" fmla="*/ 8852 h 68539"/>
                    <a:gd name="connsiteX46" fmla="*/ 83835 w 116549"/>
                    <a:gd name="connsiteY46" fmla="*/ 42044 h 68539"/>
                    <a:gd name="connsiteX47" fmla="*/ 96872 w 116549"/>
                    <a:gd name="connsiteY47" fmla="*/ 57236 h 68539"/>
                    <a:gd name="connsiteX48" fmla="*/ 109432 w 116549"/>
                    <a:gd name="connsiteY48" fmla="*/ 51733 h 68539"/>
                    <a:gd name="connsiteX49" fmla="*/ 109611 w 116549"/>
                    <a:gd name="connsiteY49" fmla="*/ 51733 h 68539"/>
                    <a:gd name="connsiteX50" fmla="*/ 109671 w 116549"/>
                    <a:gd name="connsiteY50" fmla="*/ 51972 h 68539"/>
                    <a:gd name="connsiteX51" fmla="*/ 109671 w 116549"/>
                    <a:gd name="connsiteY51" fmla="*/ 51972 h 68539"/>
                    <a:gd name="connsiteX52" fmla="*/ 106143 w 116549"/>
                    <a:gd name="connsiteY52" fmla="*/ 68061 h 68539"/>
                    <a:gd name="connsiteX53" fmla="*/ 109253 w 116549"/>
                    <a:gd name="connsiteY53" fmla="*/ 52212 h 68539"/>
                    <a:gd name="connsiteX54" fmla="*/ 97112 w 116549"/>
                    <a:gd name="connsiteY54" fmla="*/ 57535 h 68539"/>
                    <a:gd name="connsiteX55" fmla="*/ 106143 w 116549"/>
                    <a:gd name="connsiteY55" fmla="*/ 68061 h 68539"/>
                    <a:gd name="connsiteX56" fmla="*/ 68285 w 116549"/>
                    <a:gd name="connsiteY56" fmla="*/ 9330 h 68539"/>
                    <a:gd name="connsiteX57" fmla="*/ 83715 w 116549"/>
                    <a:gd name="connsiteY57" fmla="*/ 41865 h 68539"/>
                    <a:gd name="connsiteX58" fmla="*/ 116131 w 116549"/>
                    <a:gd name="connsiteY58" fmla="*/ 8911 h 68539"/>
                    <a:gd name="connsiteX59" fmla="*/ 90055 w 116549"/>
                    <a:gd name="connsiteY59" fmla="*/ 419 h 68539"/>
                    <a:gd name="connsiteX60" fmla="*/ 68285 w 116549"/>
                    <a:gd name="connsiteY60" fmla="*/ 9330 h 68539"/>
                    <a:gd name="connsiteX61" fmla="*/ 75402 w 116549"/>
                    <a:gd name="connsiteY61" fmla="*/ 43898 h 68539"/>
                    <a:gd name="connsiteX62" fmla="*/ 80605 w 116549"/>
                    <a:gd name="connsiteY62" fmla="*/ 64472 h 68539"/>
                    <a:gd name="connsiteX63" fmla="*/ 96633 w 116549"/>
                    <a:gd name="connsiteY63" fmla="*/ 57475 h 68539"/>
                    <a:gd name="connsiteX64" fmla="*/ 83595 w 116549"/>
                    <a:gd name="connsiteY64" fmla="*/ 42344 h 68539"/>
                    <a:gd name="connsiteX65" fmla="*/ 75402 w 116549"/>
                    <a:gd name="connsiteY65" fmla="*/ 43898 h 68539"/>
                    <a:gd name="connsiteX66" fmla="*/ 61825 w 116549"/>
                    <a:gd name="connsiteY66" fmla="*/ 46590 h 68539"/>
                    <a:gd name="connsiteX67" fmla="*/ 80186 w 116549"/>
                    <a:gd name="connsiteY67" fmla="*/ 64173 h 68539"/>
                    <a:gd name="connsiteX68" fmla="*/ 75103 w 116549"/>
                    <a:gd name="connsiteY68" fmla="*/ 43958 h 68539"/>
                    <a:gd name="connsiteX69" fmla="*/ 61825 w 116549"/>
                    <a:gd name="connsiteY69" fmla="*/ 46590 h 68539"/>
                    <a:gd name="connsiteX70" fmla="*/ 30666 w 116549"/>
                    <a:gd name="connsiteY70" fmla="*/ 52690 h 68539"/>
                    <a:gd name="connsiteX71" fmla="*/ 79947 w 116549"/>
                    <a:gd name="connsiteY71" fmla="*/ 64353 h 68539"/>
                    <a:gd name="connsiteX72" fmla="*/ 61407 w 116549"/>
                    <a:gd name="connsiteY72" fmla="*/ 46650 h 68539"/>
                    <a:gd name="connsiteX73" fmla="*/ 30666 w 116549"/>
                    <a:gd name="connsiteY73" fmla="*/ 52690 h 68539"/>
                    <a:gd name="connsiteX74" fmla="*/ 66849 w 116549"/>
                    <a:gd name="connsiteY74" fmla="*/ 9928 h 68539"/>
                    <a:gd name="connsiteX75" fmla="*/ 75342 w 116549"/>
                    <a:gd name="connsiteY75" fmla="*/ 43600 h 68539"/>
                    <a:gd name="connsiteX76" fmla="*/ 83476 w 116549"/>
                    <a:gd name="connsiteY76" fmla="*/ 41985 h 68539"/>
                    <a:gd name="connsiteX77" fmla="*/ 68046 w 116549"/>
                    <a:gd name="connsiteY77" fmla="*/ 9450 h 68539"/>
                    <a:gd name="connsiteX78" fmla="*/ 66849 w 116549"/>
                    <a:gd name="connsiteY78" fmla="*/ 9928 h 68539"/>
                    <a:gd name="connsiteX79" fmla="*/ 36467 w 116549"/>
                    <a:gd name="connsiteY79" fmla="*/ 22308 h 68539"/>
                    <a:gd name="connsiteX80" fmla="*/ 61527 w 116549"/>
                    <a:gd name="connsiteY80" fmla="*/ 46291 h 68539"/>
                    <a:gd name="connsiteX81" fmla="*/ 75043 w 116549"/>
                    <a:gd name="connsiteY81" fmla="*/ 43659 h 68539"/>
                    <a:gd name="connsiteX82" fmla="*/ 66551 w 116549"/>
                    <a:gd name="connsiteY82" fmla="*/ 10048 h 68539"/>
                    <a:gd name="connsiteX83" fmla="*/ 36467 w 116549"/>
                    <a:gd name="connsiteY83" fmla="*/ 22308 h 68539"/>
                    <a:gd name="connsiteX84" fmla="*/ 66730 w 116549"/>
                    <a:gd name="connsiteY84" fmla="*/ 9569 h 68539"/>
                    <a:gd name="connsiteX85" fmla="*/ 67806 w 116549"/>
                    <a:gd name="connsiteY85" fmla="*/ 9091 h 68539"/>
                    <a:gd name="connsiteX86" fmla="*/ 65235 w 116549"/>
                    <a:gd name="connsiteY86" fmla="*/ 3648 h 68539"/>
                    <a:gd name="connsiteX87" fmla="*/ 66730 w 116549"/>
                    <a:gd name="connsiteY87" fmla="*/ 9569 h 68539"/>
                    <a:gd name="connsiteX88" fmla="*/ 703 w 116549"/>
                    <a:gd name="connsiteY88" fmla="*/ 36602 h 68539"/>
                    <a:gd name="connsiteX89" fmla="*/ 35869 w 116549"/>
                    <a:gd name="connsiteY89" fmla="*/ 22248 h 68539"/>
                    <a:gd name="connsiteX90" fmla="*/ 22592 w 116549"/>
                    <a:gd name="connsiteY90" fmla="*/ 9509 h 68539"/>
                    <a:gd name="connsiteX91" fmla="*/ 703 w 116549"/>
                    <a:gd name="connsiteY91" fmla="*/ 36602 h 6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16549" h="68539">
                      <a:moveTo>
                        <a:pt x="109671" y="51972"/>
                      </a:moveTo>
                      <a:lnTo>
                        <a:pt x="106382" y="68419"/>
                      </a:lnTo>
                      <a:cubicBezTo>
                        <a:pt x="106382" y="68479"/>
                        <a:pt x="106322" y="68539"/>
                        <a:pt x="106262" y="68539"/>
                      </a:cubicBezTo>
                      <a:cubicBezTo>
                        <a:pt x="106203" y="68539"/>
                        <a:pt x="106143" y="68539"/>
                        <a:pt x="106083" y="68479"/>
                      </a:cubicBezTo>
                      <a:lnTo>
                        <a:pt x="96753" y="57654"/>
                      </a:lnTo>
                      <a:lnTo>
                        <a:pt x="80485" y="64771"/>
                      </a:lnTo>
                      <a:cubicBezTo>
                        <a:pt x="80485" y="64771"/>
                        <a:pt x="80485" y="64771"/>
                        <a:pt x="80485" y="64771"/>
                      </a:cubicBezTo>
                      <a:lnTo>
                        <a:pt x="80485" y="64771"/>
                      </a:lnTo>
                      <a:cubicBezTo>
                        <a:pt x="80485" y="64771"/>
                        <a:pt x="80485" y="64771"/>
                        <a:pt x="80485" y="64771"/>
                      </a:cubicBezTo>
                      <a:lnTo>
                        <a:pt x="80485" y="64771"/>
                      </a:lnTo>
                      <a:cubicBezTo>
                        <a:pt x="80485" y="64771"/>
                        <a:pt x="80485" y="64771"/>
                        <a:pt x="80485" y="64771"/>
                      </a:cubicBezTo>
                      <a:lnTo>
                        <a:pt x="80485" y="64771"/>
                      </a:lnTo>
                      <a:lnTo>
                        <a:pt x="80485" y="64771"/>
                      </a:lnTo>
                      <a:lnTo>
                        <a:pt x="80485" y="64771"/>
                      </a:lnTo>
                      <a:cubicBezTo>
                        <a:pt x="80485" y="64771"/>
                        <a:pt x="80485" y="64771"/>
                        <a:pt x="80485" y="64771"/>
                      </a:cubicBezTo>
                      <a:lnTo>
                        <a:pt x="80485" y="64771"/>
                      </a:lnTo>
                      <a:cubicBezTo>
                        <a:pt x="80485" y="64771"/>
                        <a:pt x="80485" y="64771"/>
                        <a:pt x="80485" y="64771"/>
                      </a:cubicBezTo>
                      <a:lnTo>
                        <a:pt x="80485" y="64771"/>
                      </a:lnTo>
                      <a:lnTo>
                        <a:pt x="80485" y="64771"/>
                      </a:lnTo>
                      <a:lnTo>
                        <a:pt x="80485" y="64771"/>
                      </a:lnTo>
                      <a:cubicBezTo>
                        <a:pt x="80485" y="64771"/>
                        <a:pt x="80425" y="64771"/>
                        <a:pt x="80425" y="64771"/>
                      </a:cubicBezTo>
                      <a:lnTo>
                        <a:pt x="80425" y="64771"/>
                      </a:lnTo>
                      <a:cubicBezTo>
                        <a:pt x="80425" y="64771"/>
                        <a:pt x="80425" y="64771"/>
                        <a:pt x="80425" y="64771"/>
                      </a:cubicBezTo>
                      <a:cubicBezTo>
                        <a:pt x="80425" y="64771"/>
                        <a:pt x="80425" y="64771"/>
                        <a:pt x="80425" y="64771"/>
                      </a:cubicBezTo>
                      <a:lnTo>
                        <a:pt x="29829" y="52810"/>
                      </a:lnTo>
                      <a:cubicBezTo>
                        <a:pt x="29769" y="52810"/>
                        <a:pt x="29709" y="52750"/>
                        <a:pt x="29709" y="52630"/>
                      </a:cubicBezTo>
                      <a:cubicBezTo>
                        <a:pt x="29709" y="52571"/>
                        <a:pt x="29769" y="52511"/>
                        <a:pt x="29829" y="52451"/>
                      </a:cubicBezTo>
                      <a:lnTo>
                        <a:pt x="61108" y="46291"/>
                      </a:lnTo>
                      <a:lnTo>
                        <a:pt x="36108" y="22368"/>
                      </a:lnTo>
                      <a:lnTo>
                        <a:pt x="224" y="37021"/>
                      </a:lnTo>
                      <a:cubicBezTo>
                        <a:pt x="164" y="37021"/>
                        <a:pt x="104" y="37021"/>
                        <a:pt x="45" y="36961"/>
                      </a:cubicBezTo>
                      <a:cubicBezTo>
                        <a:pt x="-15" y="36901"/>
                        <a:pt x="-15" y="36841"/>
                        <a:pt x="45" y="36781"/>
                      </a:cubicBezTo>
                      <a:lnTo>
                        <a:pt x="22413" y="9031"/>
                      </a:lnTo>
                      <a:cubicBezTo>
                        <a:pt x="22413" y="8971"/>
                        <a:pt x="22473" y="8971"/>
                        <a:pt x="22532" y="8971"/>
                      </a:cubicBezTo>
                      <a:cubicBezTo>
                        <a:pt x="22592" y="8971"/>
                        <a:pt x="22592" y="8971"/>
                        <a:pt x="22652" y="9031"/>
                      </a:cubicBezTo>
                      <a:lnTo>
                        <a:pt x="36168" y="22009"/>
                      </a:lnTo>
                      <a:lnTo>
                        <a:pt x="66431" y="9629"/>
                      </a:lnTo>
                      <a:lnTo>
                        <a:pt x="64517" y="2093"/>
                      </a:lnTo>
                      <a:cubicBezTo>
                        <a:pt x="64517" y="1974"/>
                        <a:pt x="64517" y="1914"/>
                        <a:pt x="64637" y="1914"/>
                      </a:cubicBezTo>
                      <a:cubicBezTo>
                        <a:pt x="64696" y="1854"/>
                        <a:pt x="64816" y="1914"/>
                        <a:pt x="64816" y="1974"/>
                      </a:cubicBezTo>
                      <a:lnTo>
                        <a:pt x="68105" y="8911"/>
                      </a:lnTo>
                      <a:lnTo>
                        <a:pt x="89935" y="0"/>
                      </a:lnTo>
                      <a:cubicBezTo>
                        <a:pt x="89995" y="0"/>
                        <a:pt x="89995" y="0"/>
                        <a:pt x="90055" y="0"/>
                      </a:cubicBezTo>
                      <a:lnTo>
                        <a:pt x="116430" y="8552"/>
                      </a:lnTo>
                      <a:cubicBezTo>
                        <a:pt x="116489" y="8552"/>
                        <a:pt x="116549" y="8612"/>
                        <a:pt x="116549" y="8672"/>
                      </a:cubicBezTo>
                      <a:cubicBezTo>
                        <a:pt x="116549" y="8732"/>
                        <a:pt x="116549" y="8792"/>
                        <a:pt x="116489" y="8852"/>
                      </a:cubicBezTo>
                      <a:lnTo>
                        <a:pt x="83835" y="42044"/>
                      </a:lnTo>
                      <a:lnTo>
                        <a:pt x="96872" y="57236"/>
                      </a:lnTo>
                      <a:lnTo>
                        <a:pt x="109432" y="51733"/>
                      </a:lnTo>
                      <a:cubicBezTo>
                        <a:pt x="109492" y="51733"/>
                        <a:pt x="109552" y="51733"/>
                        <a:pt x="109611" y="51733"/>
                      </a:cubicBezTo>
                      <a:cubicBezTo>
                        <a:pt x="109671" y="51853"/>
                        <a:pt x="109671" y="51913"/>
                        <a:pt x="109671" y="51972"/>
                      </a:cubicBezTo>
                      <a:lnTo>
                        <a:pt x="109671" y="51972"/>
                      </a:lnTo>
                      <a:close/>
                      <a:moveTo>
                        <a:pt x="106143" y="68061"/>
                      </a:moveTo>
                      <a:lnTo>
                        <a:pt x="109253" y="52212"/>
                      </a:lnTo>
                      <a:lnTo>
                        <a:pt x="97112" y="57535"/>
                      </a:lnTo>
                      <a:lnTo>
                        <a:pt x="106143" y="68061"/>
                      </a:lnTo>
                      <a:close/>
                      <a:moveTo>
                        <a:pt x="68285" y="9330"/>
                      </a:moveTo>
                      <a:lnTo>
                        <a:pt x="83715" y="41865"/>
                      </a:lnTo>
                      <a:lnTo>
                        <a:pt x="116131" y="8911"/>
                      </a:lnTo>
                      <a:lnTo>
                        <a:pt x="90055" y="419"/>
                      </a:lnTo>
                      <a:lnTo>
                        <a:pt x="68285" y="9330"/>
                      </a:lnTo>
                      <a:close/>
                      <a:moveTo>
                        <a:pt x="75402" y="43898"/>
                      </a:moveTo>
                      <a:lnTo>
                        <a:pt x="80605" y="64472"/>
                      </a:lnTo>
                      <a:lnTo>
                        <a:pt x="96633" y="57475"/>
                      </a:lnTo>
                      <a:lnTo>
                        <a:pt x="83595" y="42344"/>
                      </a:lnTo>
                      <a:lnTo>
                        <a:pt x="75402" y="43898"/>
                      </a:lnTo>
                      <a:close/>
                      <a:moveTo>
                        <a:pt x="61825" y="46590"/>
                      </a:moveTo>
                      <a:lnTo>
                        <a:pt x="80186" y="64173"/>
                      </a:lnTo>
                      <a:lnTo>
                        <a:pt x="75103" y="43958"/>
                      </a:lnTo>
                      <a:lnTo>
                        <a:pt x="61825" y="46590"/>
                      </a:lnTo>
                      <a:close/>
                      <a:moveTo>
                        <a:pt x="30666" y="52690"/>
                      </a:moveTo>
                      <a:lnTo>
                        <a:pt x="79947" y="64353"/>
                      </a:lnTo>
                      <a:lnTo>
                        <a:pt x="61407" y="46650"/>
                      </a:lnTo>
                      <a:lnTo>
                        <a:pt x="30666" y="52690"/>
                      </a:lnTo>
                      <a:close/>
                      <a:moveTo>
                        <a:pt x="66849" y="9928"/>
                      </a:moveTo>
                      <a:lnTo>
                        <a:pt x="75342" y="43600"/>
                      </a:lnTo>
                      <a:lnTo>
                        <a:pt x="83476" y="41985"/>
                      </a:lnTo>
                      <a:lnTo>
                        <a:pt x="68046" y="9450"/>
                      </a:lnTo>
                      <a:lnTo>
                        <a:pt x="66849" y="9928"/>
                      </a:lnTo>
                      <a:close/>
                      <a:moveTo>
                        <a:pt x="36467" y="22308"/>
                      </a:moveTo>
                      <a:lnTo>
                        <a:pt x="61527" y="46291"/>
                      </a:lnTo>
                      <a:lnTo>
                        <a:pt x="75043" y="43659"/>
                      </a:lnTo>
                      <a:lnTo>
                        <a:pt x="66551" y="10048"/>
                      </a:lnTo>
                      <a:lnTo>
                        <a:pt x="36467" y="22308"/>
                      </a:lnTo>
                      <a:close/>
                      <a:moveTo>
                        <a:pt x="66730" y="9569"/>
                      </a:moveTo>
                      <a:lnTo>
                        <a:pt x="67806" y="9091"/>
                      </a:lnTo>
                      <a:lnTo>
                        <a:pt x="65235" y="3648"/>
                      </a:lnTo>
                      <a:lnTo>
                        <a:pt x="66730" y="9569"/>
                      </a:lnTo>
                      <a:close/>
                      <a:moveTo>
                        <a:pt x="703" y="36602"/>
                      </a:moveTo>
                      <a:lnTo>
                        <a:pt x="35869" y="22248"/>
                      </a:lnTo>
                      <a:lnTo>
                        <a:pt x="22592" y="9509"/>
                      </a:lnTo>
                      <a:lnTo>
                        <a:pt x="703" y="36602"/>
                      </a:lnTo>
                      <a:close/>
                    </a:path>
                  </a:pathLst>
                </a:custGeom>
                <a:grpFill/>
                <a:ln w="6350" cap="flat">
                  <a:solidFill>
                    <a:schemeClr val="bg1">
                      <a:alpha val="40000"/>
                    </a:schemeClr>
                  </a:solidFill>
                  <a:prstDash val="solid"/>
                  <a:miter/>
                </a:ln>
              </p:spPr>
              <p:txBody>
                <a:bodyPr rtlCol="0" anchor="ctr"/>
                <a:lstStyle/>
                <a:p>
                  <a:endParaRPr lang="en-GB"/>
                </a:p>
              </p:txBody>
            </p:sp>
            <p:sp>
              <p:nvSpPr>
                <p:cNvPr id="8924" name="Vrije vorm: vorm 8923">
                  <a:extLst>
                    <a:ext uri="{FF2B5EF4-FFF2-40B4-BE49-F238E27FC236}">
                      <a16:creationId xmlns:a16="http://schemas.microsoft.com/office/drawing/2014/main" id="{2DCADE6C-27B6-40A3-A394-E9439BAD4D89}"/>
                    </a:ext>
                  </a:extLst>
                </p:cNvPr>
                <p:cNvSpPr/>
                <p:nvPr/>
              </p:nvSpPr>
              <p:spPr>
                <a:xfrm>
                  <a:off x="4518655" y="2626270"/>
                  <a:ext cx="4584" cy="12683"/>
                </a:xfrm>
                <a:custGeom>
                  <a:avLst/>
                  <a:gdLst>
                    <a:gd name="connsiteX0" fmla="*/ 4584 w 4584"/>
                    <a:gd name="connsiteY0" fmla="*/ 6783 h 12683"/>
                    <a:gd name="connsiteX1" fmla="*/ 4584 w 4584"/>
                    <a:gd name="connsiteY1" fmla="*/ 6663 h 12683"/>
                    <a:gd name="connsiteX2" fmla="*/ 936 w 4584"/>
                    <a:gd name="connsiteY2" fmla="*/ 84 h 12683"/>
                    <a:gd name="connsiteX3" fmla="*/ 697 w 4584"/>
                    <a:gd name="connsiteY3" fmla="*/ 25 h 12683"/>
                    <a:gd name="connsiteX4" fmla="*/ 637 w 4584"/>
                    <a:gd name="connsiteY4" fmla="*/ 264 h 12683"/>
                    <a:gd name="connsiteX5" fmla="*/ 4226 w 4584"/>
                    <a:gd name="connsiteY5" fmla="*/ 6783 h 12683"/>
                    <a:gd name="connsiteX6" fmla="*/ 39 w 4584"/>
                    <a:gd name="connsiteY6" fmla="*/ 12405 h 12683"/>
                    <a:gd name="connsiteX7" fmla="*/ 99 w 4584"/>
                    <a:gd name="connsiteY7" fmla="*/ 12644 h 12683"/>
                    <a:gd name="connsiteX8" fmla="*/ 338 w 4584"/>
                    <a:gd name="connsiteY8" fmla="*/ 12584 h 12683"/>
                    <a:gd name="connsiteX9" fmla="*/ 4584 w 4584"/>
                    <a:gd name="connsiteY9" fmla="*/ 6903 h 12683"/>
                    <a:gd name="connsiteX10" fmla="*/ 4584 w 4584"/>
                    <a:gd name="connsiteY10" fmla="*/ 6783 h 12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84" h="12683">
                      <a:moveTo>
                        <a:pt x="4584" y="6783"/>
                      </a:moveTo>
                      <a:cubicBezTo>
                        <a:pt x="4584" y="6723"/>
                        <a:pt x="4584" y="6723"/>
                        <a:pt x="4584" y="6663"/>
                      </a:cubicBezTo>
                      <a:lnTo>
                        <a:pt x="936" y="84"/>
                      </a:lnTo>
                      <a:cubicBezTo>
                        <a:pt x="876" y="25"/>
                        <a:pt x="817" y="-35"/>
                        <a:pt x="697" y="25"/>
                      </a:cubicBezTo>
                      <a:cubicBezTo>
                        <a:pt x="637" y="84"/>
                        <a:pt x="577" y="144"/>
                        <a:pt x="637" y="264"/>
                      </a:cubicBezTo>
                      <a:lnTo>
                        <a:pt x="4226" y="6783"/>
                      </a:lnTo>
                      <a:lnTo>
                        <a:pt x="39" y="12405"/>
                      </a:lnTo>
                      <a:cubicBezTo>
                        <a:pt x="-21" y="12465"/>
                        <a:pt x="-21" y="12584"/>
                        <a:pt x="99" y="12644"/>
                      </a:cubicBezTo>
                      <a:cubicBezTo>
                        <a:pt x="159" y="12704"/>
                        <a:pt x="278" y="12704"/>
                        <a:pt x="338" y="12584"/>
                      </a:cubicBezTo>
                      <a:lnTo>
                        <a:pt x="4584" y="6903"/>
                      </a:lnTo>
                      <a:cubicBezTo>
                        <a:pt x="4525" y="6843"/>
                        <a:pt x="4584" y="6783"/>
                        <a:pt x="4584" y="678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25" name="Vrije vorm: vorm 8924">
                  <a:extLst>
                    <a:ext uri="{FF2B5EF4-FFF2-40B4-BE49-F238E27FC236}">
                      <a16:creationId xmlns:a16="http://schemas.microsoft.com/office/drawing/2014/main" id="{831FA4D7-D91A-40D8-883F-45F12B83548B}"/>
                    </a:ext>
                  </a:extLst>
                </p:cNvPr>
                <p:cNvSpPr/>
                <p:nvPr/>
              </p:nvSpPr>
              <p:spPr>
                <a:xfrm>
                  <a:off x="4507809" y="2628747"/>
                  <a:ext cx="90847" cy="72391"/>
                </a:xfrm>
                <a:custGeom>
                  <a:avLst/>
                  <a:gdLst>
                    <a:gd name="connsiteX0" fmla="*/ 82474 w 90847"/>
                    <a:gd name="connsiteY0" fmla="*/ 72367 h 72391"/>
                    <a:gd name="connsiteX1" fmla="*/ 82235 w 90847"/>
                    <a:gd name="connsiteY1" fmla="*/ 72307 h 72391"/>
                    <a:gd name="connsiteX2" fmla="*/ 65728 w 90847"/>
                    <a:gd name="connsiteY2" fmla="*/ 40489 h 72391"/>
                    <a:gd name="connsiteX3" fmla="*/ 41506 w 90847"/>
                    <a:gd name="connsiteY3" fmla="*/ 40669 h 72391"/>
                    <a:gd name="connsiteX4" fmla="*/ 40549 w 90847"/>
                    <a:gd name="connsiteY4" fmla="*/ 42044 h 72391"/>
                    <a:gd name="connsiteX5" fmla="*/ 58013 w 90847"/>
                    <a:gd name="connsiteY5" fmla="*/ 61123 h 72391"/>
                    <a:gd name="connsiteX6" fmla="*/ 58013 w 90847"/>
                    <a:gd name="connsiteY6" fmla="*/ 61362 h 72391"/>
                    <a:gd name="connsiteX7" fmla="*/ 57833 w 90847"/>
                    <a:gd name="connsiteY7" fmla="*/ 61422 h 72391"/>
                    <a:gd name="connsiteX8" fmla="*/ 35944 w 90847"/>
                    <a:gd name="connsiteY8" fmla="*/ 48862 h 72391"/>
                    <a:gd name="connsiteX9" fmla="*/ 34568 w 90847"/>
                    <a:gd name="connsiteY9" fmla="*/ 50896 h 72391"/>
                    <a:gd name="connsiteX10" fmla="*/ 34389 w 90847"/>
                    <a:gd name="connsiteY10" fmla="*/ 50956 h 72391"/>
                    <a:gd name="connsiteX11" fmla="*/ 34269 w 90847"/>
                    <a:gd name="connsiteY11" fmla="*/ 50776 h 72391"/>
                    <a:gd name="connsiteX12" fmla="*/ 34269 w 90847"/>
                    <a:gd name="connsiteY12" fmla="*/ 50776 h 72391"/>
                    <a:gd name="connsiteX13" fmla="*/ 34927 w 90847"/>
                    <a:gd name="connsiteY13" fmla="*/ 48264 h 72391"/>
                    <a:gd name="connsiteX14" fmla="*/ 22128 w 90847"/>
                    <a:gd name="connsiteY14" fmla="*/ 40908 h 72391"/>
                    <a:gd name="connsiteX15" fmla="*/ 12201 w 90847"/>
                    <a:gd name="connsiteY15" fmla="*/ 40968 h 72391"/>
                    <a:gd name="connsiteX16" fmla="*/ 12081 w 90847"/>
                    <a:gd name="connsiteY16" fmla="*/ 40908 h 72391"/>
                    <a:gd name="connsiteX17" fmla="*/ 7356 w 90847"/>
                    <a:gd name="connsiteY17" fmla="*/ 32356 h 72391"/>
                    <a:gd name="connsiteX18" fmla="*/ 5801 w 90847"/>
                    <a:gd name="connsiteY18" fmla="*/ 31458 h 72391"/>
                    <a:gd name="connsiteX19" fmla="*/ 4904 w 90847"/>
                    <a:gd name="connsiteY19" fmla="*/ 35047 h 72391"/>
                    <a:gd name="connsiteX20" fmla="*/ 4725 w 90847"/>
                    <a:gd name="connsiteY20" fmla="*/ 35166 h 72391"/>
                    <a:gd name="connsiteX21" fmla="*/ 4545 w 90847"/>
                    <a:gd name="connsiteY21" fmla="*/ 35047 h 72391"/>
                    <a:gd name="connsiteX22" fmla="*/ 3050 w 90847"/>
                    <a:gd name="connsiteY22" fmla="*/ 29904 h 72391"/>
                    <a:gd name="connsiteX23" fmla="*/ 778 w 90847"/>
                    <a:gd name="connsiteY23" fmla="*/ 28588 h 72391"/>
                    <a:gd name="connsiteX24" fmla="*/ 718 w 90847"/>
                    <a:gd name="connsiteY24" fmla="*/ 28349 h 72391"/>
                    <a:gd name="connsiteX25" fmla="*/ 1973 w 90847"/>
                    <a:gd name="connsiteY25" fmla="*/ 26076 h 72391"/>
                    <a:gd name="connsiteX26" fmla="*/ 0 w 90847"/>
                    <a:gd name="connsiteY26" fmla="*/ 19258 h 72391"/>
                    <a:gd name="connsiteX27" fmla="*/ 119 w 90847"/>
                    <a:gd name="connsiteY27" fmla="*/ 19078 h 72391"/>
                    <a:gd name="connsiteX28" fmla="*/ 299 w 90847"/>
                    <a:gd name="connsiteY28" fmla="*/ 19138 h 72391"/>
                    <a:gd name="connsiteX29" fmla="*/ 3050 w 90847"/>
                    <a:gd name="connsiteY29" fmla="*/ 24102 h 72391"/>
                    <a:gd name="connsiteX30" fmla="*/ 10645 w 90847"/>
                    <a:gd name="connsiteY30" fmla="*/ 10167 h 72391"/>
                    <a:gd name="connsiteX31" fmla="*/ 2871 w 90847"/>
                    <a:gd name="connsiteY31" fmla="*/ 10765 h 72391"/>
                    <a:gd name="connsiteX32" fmla="*/ 2691 w 90847"/>
                    <a:gd name="connsiteY32" fmla="*/ 10586 h 72391"/>
                    <a:gd name="connsiteX33" fmla="*/ 2871 w 90847"/>
                    <a:gd name="connsiteY33" fmla="*/ 10406 h 72391"/>
                    <a:gd name="connsiteX34" fmla="*/ 10944 w 90847"/>
                    <a:gd name="connsiteY34" fmla="*/ 9808 h 72391"/>
                    <a:gd name="connsiteX35" fmla="*/ 11004 w 90847"/>
                    <a:gd name="connsiteY35" fmla="*/ 9808 h 72391"/>
                    <a:gd name="connsiteX36" fmla="*/ 11064 w 90847"/>
                    <a:gd name="connsiteY36" fmla="*/ 9868 h 72391"/>
                    <a:gd name="connsiteX37" fmla="*/ 37439 w 90847"/>
                    <a:gd name="connsiteY37" fmla="*/ 38695 h 72391"/>
                    <a:gd name="connsiteX38" fmla="*/ 43480 w 90847"/>
                    <a:gd name="connsiteY38" fmla="*/ 16327 h 72391"/>
                    <a:gd name="connsiteX39" fmla="*/ 26913 w 90847"/>
                    <a:gd name="connsiteY39" fmla="*/ 7416 h 72391"/>
                    <a:gd name="connsiteX40" fmla="*/ 26853 w 90847"/>
                    <a:gd name="connsiteY40" fmla="*/ 7237 h 72391"/>
                    <a:gd name="connsiteX41" fmla="*/ 27033 w 90847"/>
                    <a:gd name="connsiteY41" fmla="*/ 7117 h 72391"/>
                    <a:gd name="connsiteX42" fmla="*/ 45095 w 90847"/>
                    <a:gd name="connsiteY42" fmla="*/ 10466 h 72391"/>
                    <a:gd name="connsiteX43" fmla="*/ 46829 w 90847"/>
                    <a:gd name="connsiteY43" fmla="*/ 4067 h 72391"/>
                    <a:gd name="connsiteX44" fmla="*/ 46949 w 90847"/>
                    <a:gd name="connsiteY44" fmla="*/ 3947 h 72391"/>
                    <a:gd name="connsiteX45" fmla="*/ 47128 w 90847"/>
                    <a:gd name="connsiteY45" fmla="*/ 4007 h 72391"/>
                    <a:gd name="connsiteX46" fmla="*/ 51015 w 90847"/>
                    <a:gd name="connsiteY46" fmla="*/ 11543 h 72391"/>
                    <a:gd name="connsiteX47" fmla="*/ 59927 w 90847"/>
                    <a:gd name="connsiteY47" fmla="*/ 13217 h 72391"/>
                    <a:gd name="connsiteX48" fmla="*/ 68958 w 90847"/>
                    <a:gd name="connsiteY48" fmla="*/ 60 h 72391"/>
                    <a:gd name="connsiteX49" fmla="*/ 69077 w 90847"/>
                    <a:gd name="connsiteY49" fmla="*/ 0 h 72391"/>
                    <a:gd name="connsiteX50" fmla="*/ 69197 w 90847"/>
                    <a:gd name="connsiteY50" fmla="*/ 60 h 72391"/>
                    <a:gd name="connsiteX51" fmla="*/ 90787 w 90847"/>
                    <a:gd name="connsiteY51" fmla="*/ 19019 h 72391"/>
                    <a:gd name="connsiteX52" fmla="*/ 90847 w 90847"/>
                    <a:gd name="connsiteY52" fmla="*/ 19198 h 72391"/>
                    <a:gd name="connsiteX53" fmla="*/ 90668 w 90847"/>
                    <a:gd name="connsiteY53" fmla="*/ 19258 h 72391"/>
                    <a:gd name="connsiteX54" fmla="*/ 60046 w 90847"/>
                    <a:gd name="connsiteY54" fmla="*/ 13576 h 72391"/>
                    <a:gd name="connsiteX55" fmla="*/ 55501 w 90847"/>
                    <a:gd name="connsiteY55" fmla="*/ 20215 h 72391"/>
                    <a:gd name="connsiteX56" fmla="*/ 57056 w 90847"/>
                    <a:gd name="connsiteY56" fmla="*/ 23265 h 72391"/>
                    <a:gd name="connsiteX57" fmla="*/ 88156 w 90847"/>
                    <a:gd name="connsiteY57" fmla="*/ 39951 h 72391"/>
                    <a:gd name="connsiteX58" fmla="*/ 88216 w 90847"/>
                    <a:gd name="connsiteY58" fmla="*/ 40131 h 72391"/>
                    <a:gd name="connsiteX59" fmla="*/ 88036 w 90847"/>
                    <a:gd name="connsiteY59" fmla="*/ 40250 h 72391"/>
                    <a:gd name="connsiteX60" fmla="*/ 65967 w 90847"/>
                    <a:gd name="connsiteY60" fmla="*/ 40430 h 72391"/>
                    <a:gd name="connsiteX61" fmla="*/ 82414 w 90847"/>
                    <a:gd name="connsiteY61" fmla="*/ 72127 h 72391"/>
                    <a:gd name="connsiteX62" fmla="*/ 82414 w 90847"/>
                    <a:gd name="connsiteY62" fmla="*/ 72247 h 72391"/>
                    <a:gd name="connsiteX63" fmla="*/ 82474 w 90847"/>
                    <a:gd name="connsiteY63" fmla="*/ 72367 h 72391"/>
                    <a:gd name="connsiteX64" fmla="*/ 65907 w 90847"/>
                    <a:gd name="connsiteY64" fmla="*/ 40131 h 72391"/>
                    <a:gd name="connsiteX65" fmla="*/ 87498 w 90847"/>
                    <a:gd name="connsiteY65" fmla="*/ 39951 h 72391"/>
                    <a:gd name="connsiteX66" fmla="*/ 57355 w 90847"/>
                    <a:gd name="connsiteY66" fmla="*/ 23743 h 72391"/>
                    <a:gd name="connsiteX67" fmla="*/ 65907 w 90847"/>
                    <a:gd name="connsiteY67" fmla="*/ 40131 h 72391"/>
                    <a:gd name="connsiteX68" fmla="*/ 60345 w 90847"/>
                    <a:gd name="connsiteY68" fmla="*/ 13277 h 72391"/>
                    <a:gd name="connsiteX69" fmla="*/ 90189 w 90847"/>
                    <a:gd name="connsiteY69" fmla="*/ 18839 h 72391"/>
                    <a:gd name="connsiteX70" fmla="*/ 69197 w 90847"/>
                    <a:gd name="connsiteY70" fmla="*/ 359 h 72391"/>
                    <a:gd name="connsiteX71" fmla="*/ 60345 w 90847"/>
                    <a:gd name="connsiteY71" fmla="*/ 13277 h 72391"/>
                    <a:gd name="connsiteX72" fmla="*/ 54305 w 90847"/>
                    <a:gd name="connsiteY72" fmla="*/ 22129 h 72391"/>
                    <a:gd name="connsiteX73" fmla="*/ 41745 w 90847"/>
                    <a:gd name="connsiteY73" fmla="*/ 40370 h 72391"/>
                    <a:gd name="connsiteX74" fmla="*/ 65548 w 90847"/>
                    <a:gd name="connsiteY74" fmla="*/ 40190 h 72391"/>
                    <a:gd name="connsiteX75" fmla="*/ 56936 w 90847"/>
                    <a:gd name="connsiteY75" fmla="*/ 23564 h 72391"/>
                    <a:gd name="connsiteX76" fmla="*/ 54305 w 90847"/>
                    <a:gd name="connsiteY76" fmla="*/ 22129 h 72391"/>
                    <a:gd name="connsiteX77" fmla="*/ 36123 w 90847"/>
                    <a:gd name="connsiteY77" fmla="*/ 48504 h 72391"/>
                    <a:gd name="connsiteX78" fmla="*/ 57056 w 90847"/>
                    <a:gd name="connsiteY78" fmla="*/ 60525 h 72391"/>
                    <a:gd name="connsiteX79" fmla="*/ 40370 w 90847"/>
                    <a:gd name="connsiteY79" fmla="*/ 42284 h 72391"/>
                    <a:gd name="connsiteX80" fmla="*/ 36123 w 90847"/>
                    <a:gd name="connsiteY80" fmla="*/ 48504 h 72391"/>
                    <a:gd name="connsiteX81" fmla="*/ 55382 w 90847"/>
                    <a:gd name="connsiteY81" fmla="*/ 19916 h 72391"/>
                    <a:gd name="connsiteX82" fmla="*/ 59747 w 90847"/>
                    <a:gd name="connsiteY82" fmla="*/ 13516 h 72391"/>
                    <a:gd name="connsiteX83" fmla="*/ 51195 w 90847"/>
                    <a:gd name="connsiteY83" fmla="*/ 11902 h 72391"/>
                    <a:gd name="connsiteX84" fmla="*/ 55382 w 90847"/>
                    <a:gd name="connsiteY84" fmla="*/ 19916 h 72391"/>
                    <a:gd name="connsiteX85" fmla="*/ 54484 w 90847"/>
                    <a:gd name="connsiteY85" fmla="*/ 21830 h 72391"/>
                    <a:gd name="connsiteX86" fmla="*/ 56637 w 90847"/>
                    <a:gd name="connsiteY86" fmla="*/ 23026 h 72391"/>
                    <a:gd name="connsiteX87" fmla="*/ 55382 w 90847"/>
                    <a:gd name="connsiteY87" fmla="*/ 20574 h 72391"/>
                    <a:gd name="connsiteX88" fmla="*/ 54484 w 90847"/>
                    <a:gd name="connsiteY88" fmla="*/ 21830 h 72391"/>
                    <a:gd name="connsiteX89" fmla="*/ 45393 w 90847"/>
                    <a:gd name="connsiteY89" fmla="*/ 10825 h 72391"/>
                    <a:gd name="connsiteX90" fmla="*/ 43958 w 90847"/>
                    <a:gd name="connsiteY90" fmla="*/ 16148 h 72391"/>
                    <a:gd name="connsiteX91" fmla="*/ 54245 w 90847"/>
                    <a:gd name="connsiteY91" fmla="*/ 21650 h 72391"/>
                    <a:gd name="connsiteX92" fmla="*/ 55262 w 90847"/>
                    <a:gd name="connsiteY92" fmla="*/ 20155 h 72391"/>
                    <a:gd name="connsiteX93" fmla="*/ 50956 w 90847"/>
                    <a:gd name="connsiteY93" fmla="*/ 11842 h 72391"/>
                    <a:gd name="connsiteX94" fmla="*/ 45393 w 90847"/>
                    <a:gd name="connsiteY94" fmla="*/ 10825 h 72391"/>
                    <a:gd name="connsiteX95" fmla="*/ 37738 w 90847"/>
                    <a:gd name="connsiteY95" fmla="*/ 38994 h 72391"/>
                    <a:gd name="connsiteX96" fmla="*/ 39054 w 90847"/>
                    <a:gd name="connsiteY96" fmla="*/ 40430 h 72391"/>
                    <a:gd name="connsiteX97" fmla="*/ 41327 w 90847"/>
                    <a:gd name="connsiteY97" fmla="*/ 40430 h 72391"/>
                    <a:gd name="connsiteX98" fmla="*/ 54006 w 90847"/>
                    <a:gd name="connsiteY98" fmla="*/ 22009 h 72391"/>
                    <a:gd name="connsiteX99" fmla="*/ 43838 w 90847"/>
                    <a:gd name="connsiteY99" fmla="*/ 16567 h 72391"/>
                    <a:gd name="connsiteX100" fmla="*/ 37738 w 90847"/>
                    <a:gd name="connsiteY100" fmla="*/ 38994 h 72391"/>
                    <a:gd name="connsiteX101" fmla="*/ 45453 w 90847"/>
                    <a:gd name="connsiteY101" fmla="*/ 10526 h 72391"/>
                    <a:gd name="connsiteX102" fmla="*/ 50657 w 90847"/>
                    <a:gd name="connsiteY102" fmla="*/ 11483 h 72391"/>
                    <a:gd name="connsiteX103" fmla="*/ 47068 w 90847"/>
                    <a:gd name="connsiteY103" fmla="*/ 4545 h 72391"/>
                    <a:gd name="connsiteX104" fmla="*/ 45453 w 90847"/>
                    <a:gd name="connsiteY104" fmla="*/ 10526 h 72391"/>
                    <a:gd name="connsiteX105" fmla="*/ 40370 w 90847"/>
                    <a:gd name="connsiteY105" fmla="*/ 41805 h 72391"/>
                    <a:gd name="connsiteX106" fmla="*/ 41147 w 90847"/>
                    <a:gd name="connsiteY106" fmla="*/ 40669 h 72391"/>
                    <a:gd name="connsiteX107" fmla="*/ 39353 w 90847"/>
                    <a:gd name="connsiteY107" fmla="*/ 40669 h 72391"/>
                    <a:gd name="connsiteX108" fmla="*/ 40370 w 90847"/>
                    <a:gd name="connsiteY108" fmla="*/ 41805 h 72391"/>
                    <a:gd name="connsiteX109" fmla="*/ 37260 w 90847"/>
                    <a:gd name="connsiteY109" fmla="*/ 40729 h 72391"/>
                    <a:gd name="connsiteX110" fmla="*/ 35286 w 90847"/>
                    <a:gd name="connsiteY110" fmla="*/ 48025 h 72391"/>
                    <a:gd name="connsiteX111" fmla="*/ 35824 w 90847"/>
                    <a:gd name="connsiteY111" fmla="*/ 48324 h 72391"/>
                    <a:gd name="connsiteX112" fmla="*/ 40130 w 90847"/>
                    <a:gd name="connsiteY112" fmla="*/ 42044 h 72391"/>
                    <a:gd name="connsiteX113" fmla="*/ 38875 w 90847"/>
                    <a:gd name="connsiteY113" fmla="*/ 40669 h 72391"/>
                    <a:gd name="connsiteX114" fmla="*/ 37260 w 90847"/>
                    <a:gd name="connsiteY114" fmla="*/ 40729 h 72391"/>
                    <a:gd name="connsiteX115" fmla="*/ 43659 w 90847"/>
                    <a:gd name="connsiteY115" fmla="*/ 16028 h 72391"/>
                    <a:gd name="connsiteX116" fmla="*/ 45095 w 90847"/>
                    <a:gd name="connsiteY116" fmla="*/ 10825 h 72391"/>
                    <a:gd name="connsiteX117" fmla="*/ 28109 w 90847"/>
                    <a:gd name="connsiteY117" fmla="*/ 7655 h 72391"/>
                    <a:gd name="connsiteX118" fmla="*/ 43659 w 90847"/>
                    <a:gd name="connsiteY118" fmla="*/ 16028 h 72391"/>
                    <a:gd name="connsiteX119" fmla="*/ 37380 w 90847"/>
                    <a:gd name="connsiteY119" fmla="*/ 40370 h 72391"/>
                    <a:gd name="connsiteX120" fmla="*/ 38635 w 90847"/>
                    <a:gd name="connsiteY120" fmla="*/ 40370 h 72391"/>
                    <a:gd name="connsiteX121" fmla="*/ 37678 w 90847"/>
                    <a:gd name="connsiteY121" fmla="*/ 39353 h 72391"/>
                    <a:gd name="connsiteX122" fmla="*/ 37380 w 90847"/>
                    <a:gd name="connsiteY122" fmla="*/ 40370 h 72391"/>
                    <a:gd name="connsiteX123" fmla="*/ 6220 w 90847"/>
                    <a:gd name="connsiteY123" fmla="*/ 29664 h 72391"/>
                    <a:gd name="connsiteX124" fmla="*/ 7536 w 90847"/>
                    <a:gd name="connsiteY124" fmla="*/ 32057 h 72391"/>
                    <a:gd name="connsiteX125" fmla="*/ 22188 w 90847"/>
                    <a:gd name="connsiteY125" fmla="*/ 40489 h 72391"/>
                    <a:gd name="connsiteX126" fmla="*/ 36961 w 90847"/>
                    <a:gd name="connsiteY126" fmla="*/ 40370 h 72391"/>
                    <a:gd name="connsiteX127" fmla="*/ 37320 w 90847"/>
                    <a:gd name="connsiteY127" fmla="*/ 39054 h 72391"/>
                    <a:gd name="connsiteX128" fmla="*/ 11004 w 90847"/>
                    <a:gd name="connsiteY128" fmla="*/ 10287 h 72391"/>
                    <a:gd name="connsiteX129" fmla="*/ 6220 w 90847"/>
                    <a:gd name="connsiteY129" fmla="*/ 29664 h 72391"/>
                    <a:gd name="connsiteX130" fmla="*/ 34808 w 90847"/>
                    <a:gd name="connsiteY130" fmla="*/ 49819 h 72391"/>
                    <a:gd name="connsiteX131" fmla="*/ 35645 w 90847"/>
                    <a:gd name="connsiteY131" fmla="*/ 48563 h 72391"/>
                    <a:gd name="connsiteX132" fmla="*/ 35226 w 90847"/>
                    <a:gd name="connsiteY132" fmla="*/ 48324 h 72391"/>
                    <a:gd name="connsiteX133" fmla="*/ 34808 w 90847"/>
                    <a:gd name="connsiteY133" fmla="*/ 49819 h 72391"/>
                    <a:gd name="connsiteX134" fmla="*/ 34987 w 90847"/>
                    <a:gd name="connsiteY134" fmla="*/ 47846 h 72391"/>
                    <a:gd name="connsiteX135" fmla="*/ 36901 w 90847"/>
                    <a:gd name="connsiteY135" fmla="*/ 40729 h 72391"/>
                    <a:gd name="connsiteX136" fmla="*/ 22727 w 90847"/>
                    <a:gd name="connsiteY136" fmla="*/ 40848 h 72391"/>
                    <a:gd name="connsiteX137" fmla="*/ 34987 w 90847"/>
                    <a:gd name="connsiteY137" fmla="*/ 47846 h 72391"/>
                    <a:gd name="connsiteX138" fmla="*/ 12320 w 90847"/>
                    <a:gd name="connsiteY138" fmla="*/ 40609 h 72391"/>
                    <a:gd name="connsiteX139" fmla="*/ 21650 w 90847"/>
                    <a:gd name="connsiteY139" fmla="*/ 40549 h 72391"/>
                    <a:gd name="connsiteX140" fmla="*/ 7895 w 90847"/>
                    <a:gd name="connsiteY140" fmla="*/ 32655 h 72391"/>
                    <a:gd name="connsiteX141" fmla="*/ 12320 w 90847"/>
                    <a:gd name="connsiteY141" fmla="*/ 40609 h 72391"/>
                    <a:gd name="connsiteX142" fmla="*/ 5861 w 90847"/>
                    <a:gd name="connsiteY142" fmla="*/ 31100 h 72391"/>
                    <a:gd name="connsiteX143" fmla="*/ 6997 w 90847"/>
                    <a:gd name="connsiteY143" fmla="*/ 31758 h 72391"/>
                    <a:gd name="connsiteX144" fmla="*/ 6100 w 90847"/>
                    <a:gd name="connsiteY144" fmla="*/ 30143 h 72391"/>
                    <a:gd name="connsiteX145" fmla="*/ 5861 w 90847"/>
                    <a:gd name="connsiteY145" fmla="*/ 31100 h 72391"/>
                    <a:gd name="connsiteX146" fmla="*/ 5981 w 90847"/>
                    <a:gd name="connsiteY146" fmla="*/ 29246 h 72391"/>
                    <a:gd name="connsiteX147" fmla="*/ 10526 w 90847"/>
                    <a:gd name="connsiteY147" fmla="*/ 11124 h 72391"/>
                    <a:gd name="connsiteX148" fmla="*/ 3289 w 90847"/>
                    <a:gd name="connsiteY148" fmla="*/ 24401 h 72391"/>
                    <a:gd name="connsiteX149" fmla="*/ 5981 w 90847"/>
                    <a:gd name="connsiteY149" fmla="*/ 29246 h 72391"/>
                    <a:gd name="connsiteX150" fmla="*/ 2332 w 90847"/>
                    <a:gd name="connsiteY150" fmla="*/ 26136 h 72391"/>
                    <a:gd name="connsiteX151" fmla="*/ 3349 w 90847"/>
                    <a:gd name="connsiteY151" fmla="*/ 29664 h 72391"/>
                    <a:gd name="connsiteX152" fmla="*/ 5562 w 90847"/>
                    <a:gd name="connsiteY152" fmla="*/ 30920 h 72391"/>
                    <a:gd name="connsiteX153" fmla="*/ 5861 w 90847"/>
                    <a:gd name="connsiteY153" fmla="*/ 29724 h 72391"/>
                    <a:gd name="connsiteX154" fmla="*/ 3110 w 90847"/>
                    <a:gd name="connsiteY154" fmla="*/ 24760 h 72391"/>
                    <a:gd name="connsiteX155" fmla="*/ 2332 w 90847"/>
                    <a:gd name="connsiteY155" fmla="*/ 26136 h 72391"/>
                    <a:gd name="connsiteX156" fmla="*/ 4725 w 90847"/>
                    <a:gd name="connsiteY156" fmla="*/ 34389 h 72391"/>
                    <a:gd name="connsiteX157" fmla="*/ 5502 w 90847"/>
                    <a:gd name="connsiteY157" fmla="*/ 31279 h 72391"/>
                    <a:gd name="connsiteX158" fmla="*/ 3528 w 90847"/>
                    <a:gd name="connsiteY158" fmla="*/ 30143 h 72391"/>
                    <a:gd name="connsiteX159" fmla="*/ 4725 w 90847"/>
                    <a:gd name="connsiteY159" fmla="*/ 34389 h 72391"/>
                    <a:gd name="connsiteX160" fmla="*/ 1136 w 90847"/>
                    <a:gd name="connsiteY160" fmla="*/ 28349 h 72391"/>
                    <a:gd name="connsiteX161" fmla="*/ 2990 w 90847"/>
                    <a:gd name="connsiteY161" fmla="*/ 29425 h 72391"/>
                    <a:gd name="connsiteX162" fmla="*/ 2153 w 90847"/>
                    <a:gd name="connsiteY162" fmla="*/ 26495 h 72391"/>
                    <a:gd name="connsiteX163" fmla="*/ 1136 w 90847"/>
                    <a:gd name="connsiteY163" fmla="*/ 28349 h 72391"/>
                    <a:gd name="connsiteX164" fmla="*/ 2213 w 90847"/>
                    <a:gd name="connsiteY164" fmla="*/ 25657 h 72391"/>
                    <a:gd name="connsiteX165" fmla="*/ 2930 w 90847"/>
                    <a:gd name="connsiteY165" fmla="*/ 24401 h 72391"/>
                    <a:gd name="connsiteX166" fmla="*/ 778 w 90847"/>
                    <a:gd name="connsiteY166" fmla="*/ 20514 h 72391"/>
                    <a:gd name="connsiteX167" fmla="*/ 2213 w 90847"/>
                    <a:gd name="connsiteY167" fmla="*/ 25657 h 72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90847" h="72391">
                      <a:moveTo>
                        <a:pt x="82474" y="72367"/>
                      </a:moveTo>
                      <a:cubicBezTo>
                        <a:pt x="82414" y="72426"/>
                        <a:pt x="82295" y="72367"/>
                        <a:pt x="82235" y="72307"/>
                      </a:cubicBezTo>
                      <a:lnTo>
                        <a:pt x="65728" y="40489"/>
                      </a:lnTo>
                      <a:lnTo>
                        <a:pt x="41506" y="40669"/>
                      </a:lnTo>
                      <a:lnTo>
                        <a:pt x="40549" y="42044"/>
                      </a:lnTo>
                      <a:lnTo>
                        <a:pt x="58013" y="61123"/>
                      </a:lnTo>
                      <a:cubicBezTo>
                        <a:pt x="58073" y="61183"/>
                        <a:pt x="58073" y="61243"/>
                        <a:pt x="58013" y="61362"/>
                      </a:cubicBezTo>
                      <a:cubicBezTo>
                        <a:pt x="57953" y="61422"/>
                        <a:pt x="57893" y="61422"/>
                        <a:pt x="57833" y="61422"/>
                      </a:cubicBezTo>
                      <a:lnTo>
                        <a:pt x="35944" y="48862"/>
                      </a:lnTo>
                      <a:lnTo>
                        <a:pt x="34568" y="50896"/>
                      </a:lnTo>
                      <a:cubicBezTo>
                        <a:pt x="34509" y="50956"/>
                        <a:pt x="34449" y="50956"/>
                        <a:pt x="34389" y="50956"/>
                      </a:cubicBezTo>
                      <a:cubicBezTo>
                        <a:pt x="34329" y="50896"/>
                        <a:pt x="34269" y="50836"/>
                        <a:pt x="34269" y="50776"/>
                      </a:cubicBezTo>
                      <a:cubicBezTo>
                        <a:pt x="34269" y="50776"/>
                        <a:pt x="34269" y="50776"/>
                        <a:pt x="34269" y="50776"/>
                      </a:cubicBezTo>
                      <a:lnTo>
                        <a:pt x="34927" y="48264"/>
                      </a:lnTo>
                      <a:lnTo>
                        <a:pt x="22128" y="40908"/>
                      </a:lnTo>
                      <a:lnTo>
                        <a:pt x="12201" y="40968"/>
                      </a:lnTo>
                      <a:cubicBezTo>
                        <a:pt x="12141" y="40968"/>
                        <a:pt x="12081" y="40908"/>
                        <a:pt x="12081" y="40908"/>
                      </a:cubicBezTo>
                      <a:lnTo>
                        <a:pt x="7356" y="32356"/>
                      </a:lnTo>
                      <a:lnTo>
                        <a:pt x="5801" y="31458"/>
                      </a:lnTo>
                      <a:lnTo>
                        <a:pt x="4904" y="35047"/>
                      </a:lnTo>
                      <a:cubicBezTo>
                        <a:pt x="4904" y="35107"/>
                        <a:pt x="4844" y="35166"/>
                        <a:pt x="4725" y="35166"/>
                      </a:cubicBezTo>
                      <a:cubicBezTo>
                        <a:pt x="4665" y="35166"/>
                        <a:pt x="4605" y="35107"/>
                        <a:pt x="4545" y="35047"/>
                      </a:cubicBezTo>
                      <a:lnTo>
                        <a:pt x="3050" y="29904"/>
                      </a:lnTo>
                      <a:lnTo>
                        <a:pt x="778" y="28588"/>
                      </a:lnTo>
                      <a:cubicBezTo>
                        <a:pt x="718" y="28528"/>
                        <a:pt x="658" y="28468"/>
                        <a:pt x="718" y="28349"/>
                      </a:cubicBezTo>
                      <a:lnTo>
                        <a:pt x="1973" y="26076"/>
                      </a:lnTo>
                      <a:lnTo>
                        <a:pt x="0" y="19258"/>
                      </a:lnTo>
                      <a:cubicBezTo>
                        <a:pt x="0" y="19198"/>
                        <a:pt x="0" y="19078"/>
                        <a:pt x="119" y="19078"/>
                      </a:cubicBezTo>
                      <a:cubicBezTo>
                        <a:pt x="179" y="19019"/>
                        <a:pt x="299" y="19078"/>
                        <a:pt x="299" y="19138"/>
                      </a:cubicBezTo>
                      <a:lnTo>
                        <a:pt x="3050" y="24102"/>
                      </a:lnTo>
                      <a:lnTo>
                        <a:pt x="10645" y="10167"/>
                      </a:lnTo>
                      <a:lnTo>
                        <a:pt x="2871" y="10765"/>
                      </a:lnTo>
                      <a:cubicBezTo>
                        <a:pt x="2751" y="10765"/>
                        <a:pt x="2691" y="10705"/>
                        <a:pt x="2691" y="10586"/>
                      </a:cubicBezTo>
                      <a:cubicBezTo>
                        <a:pt x="2691" y="10526"/>
                        <a:pt x="2751" y="10406"/>
                        <a:pt x="2871" y="10406"/>
                      </a:cubicBezTo>
                      <a:lnTo>
                        <a:pt x="10944" y="9808"/>
                      </a:lnTo>
                      <a:cubicBezTo>
                        <a:pt x="10944" y="9808"/>
                        <a:pt x="11004" y="9808"/>
                        <a:pt x="11004" y="9808"/>
                      </a:cubicBezTo>
                      <a:cubicBezTo>
                        <a:pt x="11004" y="9808"/>
                        <a:pt x="11064" y="9808"/>
                        <a:pt x="11064" y="9868"/>
                      </a:cubicBezTo>
                      <a:lnTo>
                        <a:pt x="37439" y="38695"/>
                      </a:lnTo>
                      <a:lnTo>
                        <a:pt x="43480" y="16327"/>
                      </a:lnTo>
                      <a:lnTo>
                        <a:pt x="26913" y="7416"/>
                      </a:lnTo>
                      <a:cubicBezTo>
                        <a:pt x="26853" y="7356"/>
                        <a:pt x="26794" y="7296"/>
                        <a:pt x="26853" y="7237"/>
                      </a:cubicBezTo>
                      <a:cubicBezTo>
                        <a:pt x="26853" y="7177"/>
                        <a:pt x="26973" y="7117"/>
                        <a:pt x="27033" y="7117"/>
                      </a:cubicBezTo>
                      <a:lnTo>
                        <a:pt x="45095" y="10466"/>
                      </a:lnTo>
                      <a:lnTo>
                        <a:pt x="46829" y="4067"/>
                      </a:lnTo>
                      <a:cubicBezTo>
                        <a:pt x="46829" y="4007"/>
                        <a:pt x="46889" y="3947"/>
                        <a:pt x="46949" y="3947"/>
                      </a:cubicBezTo>
                      <a:cubicBezTo>
                        <a:pt x="47008" y="3947"/>
                        <a:pt x="47068" y="3947"/>
                        <a:pt x="47128" y="4007"/>
                      </a:cubicBezTo>
                      <a:lnTo>
                        <a:pt x="51015" y="11543"/>
                      </a:lnTo>
                      <a:lnTo>
                        <a:pt x="59927" y="13217"/>
                      </a:lnTo>
                      <a:lnTo>
                        <a:pt x="68958" y="60"/>
                      </a:lnTo>
                      <a:cubicBezTo>
                        <a:pt x="68958" y="0"/>
                        <a:pt x="69017" y="0"/>
                        <a:pt x="69077" y="0"/>
                      </a:cubicBezTo>
                      <a:cubicBezTo>
                        <a:pt x="69137" y="0"/>
                        <a:pt x="69197" y="0"/>
                        <a:pt x="69197" y="60"/>
                      </a:cubicBezTo>
                      <a:lnTo>
                        <a:pt x="90787" y="19019"/>
                      </a:lnTo>
                      <a:cubicBezTo>
                        <a:pt x="90847" y="19078"/>
                        <a:pt x="90847" y="19138"/>
                        <a:pt x="90847" y="19198"/>
                      </a:cubicBezTo>
                      <a:cubicBezTo>
                        <a:pt x="90787" y="19258"/>
                        <a:pt x="90727" y="19318"/>
                        <a:pt x="90668" y="19258"/>
                      </a:cubicBezTo>
                      <a:lnTo>
                        <a:pt x="60046" y="13576"/>
                      </a:lnTo>
                      <a:lnTo>
                        <a:pt x="55501" y="20215"/>
                      </a:lnTo>
                      <a:lnTo>
                        <a:pt x="57056" y="23265"/>
                      </a:lnTo>
                      <a:lnTo>
                        <a:pt x="88156" y="39951"/>
                      </a:lnTo>
                      <a:cubicBezTo>
                        <a:pt x="88216" y="40011"/>
                        <a:pt x="88216" y="40071"/>
                        <a:pt x="88216" y="40131"/>
                      </a:cubicBezTo>
                      <a:cubicBezTo>
                        <a:pt x="88216" y="40190"/>
                        <a:pt x="88156" y="40250"/>
                        <a:pt x="88036" y="40250"/>
                      </a:cubicBezTo>
                      <a:lnTo>
                        <a:pt x="65967" y="40430"/>
                      </a:lnTo>
                      <a:lnTo>
                        <a:pt x="82414" y="72127"/>
                      </a:lnTo>
                      <a:cubicBezTo>
                        <a:pt x="82414" y="72187"/>
                        <a:pt x="82414" y="72187"/>
                        <a:pt x="82414" y="72247"/>
                      </a:cubicBezTo>
                      <a:cubicBezTo>
                        <a:pt x="82534" y="72307"/>
                        <a:pt x="82474" y="72307"/>
                        <a:pt x="82474" y="72367"/>
                      </a:cubicBezTo>
                      <a:close/>
                      <a:moveTo>
                        <a:pt x="65907" y="40131"/>
                      </a:moveTo>
                      <a:lnTo>
                        <a:pt x="87498" y="39951"/>
                      </a:lnTo>
                      <a:lnTo>
                        <a:pt x="57355" y="23743"/>
                      </a:lnTo>
                      <a:lnTo>
                        <a:pt x="65907" y="40131"/>
                      </a:lnTo>
                      <a:close/>
                      <a:moveTo>
                        <a:pt x="60345" y="13277"/>
                      </a:moveTo>
                      <a:lnTo>
                        <a:pt x="90189" y="18839"/>
                      </a:lnTo>
                      <a:lnTo>
                        <a:pt x="69197" y="359"/>
                      </a:lnTo>
                      <a:lnTo>
                        <a:pt x="60345" y="13277"/>
                      </a:lnTo>
                      <a:close/>
                      <a:moveTo>
                        <a:pt x="54305" y="22129"/>
                      </a:moveTo>
                      <a:lnTo>
                        <a:pt x="41745" y="40370"/>
                      </a:lnTo>
                      <a:lnTo>
                        <a:pt x="65548" y="40190"/>
                      </a:lnTo>
                      <a:lnTo>
                        <a:pt x="56936" y="23564"/>
                      </a:lnTo>
                      <a:lnTo>
                        <a:pt x="54305" y="22129"/>
                      </a:lnTo>
                      <a:close/>
                      <a:moveTo>
                        <a:pt x="36123" y="48504"/>
                      </a:moveTo>
                      <a:lnTo>
                        <a:pt x="57056" y="60525"/>
                      </a:lnTo>
                      <a:lnTo>
                        <a:pt x="40370" y="42284"/>
                      </a:lnTo>
                      <a:lnTo>
                        <a:pt x="36123" y="48504"/>
                      </a:lnTo>
                      <a:close/>
                      <a:moveTo>
                        <a:pt x="55382" y="19916"/>
                      </a:moveTo>
                      <a:lnTo>
                        <a:pt x="59747" y="13516"/>
                      </a:lnTo>
                      <a:lnTo>
                        <a:pt x="51195" y="11902"/>
                      </a:lnTo>
                      <a:lnTo>
                        <a:pt x="55382" y="19916"/>
                      </a:lnTo>
                      <a:close/>
                      <a:moveTo>
                        <a:pt x="54484" y="21830"/>
                      </a:moveTo>
                      <a:lnTo>
                        <a:pt x="56637" y="23026"/>
                      </a:lnTo>
                      <a:lnTo>
                        <a:pt x="55382" y="20574"/>
                      </a:lnTo>
                      <a:lnTo>
                        <a:pt x="54484" y="21830"/>
                      </a:lnTo>
                      <a:close/>
                      <a:moveTo>
                        <a:pt x="45393" y="10825"/>
                      </a:moveTo>
                      <a:lnTo>
                        <a:pt x="43958" y="16148"/>
                      </a:lnTo>
                      <a:lnTo>
                        <a:pt x="54245" y="21650"/>
                      </a:lnTo>
                      <a:lnTo>
                        <a:pt x="55262" y="20155"/>
                      </a:lnTo>
                      <a:lnTo>
                        <a:pt x="50956" y="11842"/>
                      </a:lnTo>
                      <a:lnTo>
                        <a:pt x="45393" y="10825"/>
                      </a:lnTo>
                      <a:close/>
                      <a:moveTo>
                        <a:pt x="37738" y="38994"/>
                      </a:moveTo>
                      <a:lnTo>
                        <a:pt x="39054" y="40430"/>
                      </a:lnTo>
                      <a:lnTo>
                        <a:pt x="41327" y="40430"/>
                      </a:lnTo>
                      <a:lnTo>
                        <a:pt x="54006" y="22009"/>
                      </a:lnTo>
                      <a:lnTo>
                        <a:pt x="43838" y="16567"/>
                      </a:lnTo>
                      <a:lnTo>
                        <a:pt x="37738" y="38994"/>
                      </a:lnTo>
                      <a:close/>
                      <a:moveTo>
                        <a:pt x="45453" y="10526"/>
                      </a:moveTo>
                      <a:lnTo>
                        <a:pt x="50657" y="11483"/>
                      </a:lnTo>
                      <a:lnTo>
                        <a:pt x="47068" y="4545"/>
                      </a:lnTo>
                      <a:lnTo>
                        <a:pt x="45453" y="10526"/>
                      </a:lnTo>
                      <a:close/>
                      <a:moveTo>
                        <a:pt x="40370" y="41805"/>
                      </a:moveTo>
                      <a:lnTo>
                        <a:pt x="41147" y="40669"/>
                      </a:lnTo>
                      <a:lnTo>
                        <a:pt x="39353" y="40669"/>
                      </a:lnTo>
                      <a:lnTo>
                        <a:pt x="40370" y="41805"/>
                      </a:lnTo>
                      <a:close/>
                      <a:moveTo>
                        <a:pt x="37260" y="40729"/>
                      </a:moveTo>
                      <a:lnTo>
                        <a:pt x="35286" y="48025"/>
                      </a:lnTo>
                      <a:lnTo>
                        <a:pt x="35824" y="48324"/>
                      </a:lnTo>
                      <a:lnTo>
                        <a:pt x="40130" y="42044"/>
                      </a:lnTo>
                      <a:lnTo>
                        <a:pt x="38875" y="40669"/>
                      </a:lnTo>
                      <a:lnTo>
                        <a:pt x="37260" y="40729"/>
                      </a:lnTo>
                      <a:close/>
                      <a:moveTo>
                        <a:pt x="43659" y="16028"/>
                      </a:moveTo>
                      <a:lnTo>
                        <a:pt x="45095" y="10825"/>
                      </a:lnTo>
                      <a:lnTo>
                        <a:pt x="28109" y="7655"/>
                      </a:lnTo>
                      <a:lnTo>
                        <a:pt x="43659" y="16028"/>
                      </a:lnTo>
                      <a:close/>
                      <a:moveTo>
                        <a:pt x="37380" y="40370"/>
                      </a:moveTo>
                      <a:lnTo>
                        <a:pt x="38635" y="40370"/>
                      </a:lnTo>
                      <a:lnTo>
                        <a:pt x="37678" y="39353"/>
                      </a:lnTo>
                      <a:lnTo>
                        <a:pt x="37380" y="40370"/>
                      </a:lnTo>
                      <a:close/>
                      <a:moveTo>
                        <a:pt x="6220" y="29664"/>
                      </a:moveTo>
                      <a:lnTo>
                        <a:pt x="7536" y="32057"/>
                      </a:lnTo>
                      <a:lnTo>
                        <a:pt x="22188" y="40489"/>
                      </a:lnTo>
                      <a:lnTo>
                        <a:pt x="36961" y="40370"/>
                      </a:lnTo>
                      <a:lnTo>
                        <a:pt x="37320" y="39054"/>
                      </a:lnTo>
                      <a:lnTo>
                        <a:pt x="11004" y="10287"/>
                      </a:lnTo>
                      <a:lnTo>
                        <a:pt x="6220" y="29664"/>
                      </a:lnTo>
                      <a:close/>
                      <a:moveTo>
                        <a:pt x="34808" y="49819"/>
                      </a:moveTo>
                      <a:lnTo>
                        <a:pt x="35645" y="48563"/>
                      </a:lnTo>
                      <a:lnTo>
                        <a:pt x="35226" y="48324"/>
                      </a:lnTo>
                      <a:lnTo>
                        <a:pt x="34808" y="49819"/>
                      </a:lnTo>
                      <a:close/>
                      <a:moveTo>
                        <a:pt x="34987" y="47846"/>
                      </a:moveTo>
                      <a:lnTo>
                        <a:pt x="36901" y="40729"/>
                      </a:lnTo>
                      <a:lnTo>
                        <a:pt x="22727" y="40848"/>
                      </a:lnTo>
                      <a:lnTo>
                        <a:pt x="34987" y="47846"/>
                      </a:lnTo>
                      <a:close/>
                      <a:moveTo>
                        <a:pt x="12320" y="40609"/>
                      </a:moveTo>
                      <a:lnTo>
                        <a:pt x="21650" y="40549"/>
                      </a:lnTo>
                      <a:lnTo>
                        <a:pt x="7895" y="32655"/>
                      </a:lnTo>
                      <a:lnTo>
                        <a:pt x="12320" y="40609"/>
                      </a:lnTo>
                      <a:close/>
                      <a:moveTo>
                        <a:pt x="5861" y="31100"/>
                      </a:moveTo>
                      <a:lnTo>
                        <a:pt x="6997" y="31758"/>
                      </a:lnTo>
                      <a:lnTo>
                        <a:pt x="6100" y="30143"/>
                      </a:lnTo>
                      <a:lnTo>
                        <a:pt x="5861" y="31100"/>
                      </a:lnTo>
                      <a:close/>
                      <a:moveTo>
                        <a:pt x="5981" y="29246"/>
                      </a:moveTo>
                      <a:lnTo>
                        <a:pt x="10526" y="11124"/>
                      </a:lnTo>
                      <a:lnTo>
                        <a:pt x="3289" y="24401"/>
                      </a:lnTo>
                      <a:lnTo>
                        <a:pt x="5981" y="29246"/>
                      </a:lnTo>
                      <a:close/>
                      <a:moveTo>
                        <a:pt x="2332" y="26136"/>
                      </a:moveTo>
                      <a:lnTo>
                        <a:pt x="3349" y="29664"/>
                      </a:lnTo>
                      <a:lnTo>
                        <a:pt x="5562" y="30920"/>
                      </a:lnTo>
                      <a:lnTo>
                        <a:pt x="5861" y="29724"/>
                      </a:lnTo>
                      <a:lnTo>
                        <a:pt x="3110" y="24760"/>
                      </a:lnTo>
                      <a:lnTo>
                        <a:pt x="2332" y="26136"/>
                      </a:lnTo>
                      <a:close/>
                      <a:moveTo>
                        <a:pt x="4725" y="34389"/>
                      </a:moveTo>
                      <a:lnTo>
                        <a:pt x="5502" y="31279"/>
                      </a:lnTo>
                      <a:lnTo>
                        <a:pt x="3528" y="30143"/>
                      </a:lnTo>
                      <a:lnTo>
                        <a:pt x="4725" y="34389"/>
                      </a:lnTo>
                      <a:close/>
                      <a:moveTo>
                        <a:pt x="1136" y="28349"/>
                      </a:moveTo>
                      <a:lnTo>
                        <a:pt x="2990" y="29425"/>
                      </a:lnTo>
                      <a:lnTo>
                        <a:pt x="2153" y="26495"/>
                      </a:lnTo>
                      <a:lnTo>
                        <a:pt x="1136" y="28349"/>
                      </a:lnTo>
                      <a:close/>
                      <a:moveTo>
                        <a:pt x="2213" y="25657"/>
                      </a:moveTo>
                      <a:lnTo>
                        <a:pt x="2930" y="24401"/>
                      </a:lnTo>
                      <a:lnTo>
                        <a:pt x="778" y="20514"/>
                      </a:lnTo>
                      <a:lnTo>
                        <a:pt x="2213" y="25657"/>
                      </a:lnTo>
                      <a:close/>
                    </a:path>
                  </a:pathLst>
                </a:custGeom>
                <a:grpFill/>
                <a:ln w="6350" cap="flat">
                  <a:solidFill>
                    <a:schemeClr val="bg1">
                      <a:alpha val="40000"/>
                    </a:schemeClr>
                  </a:solidFill>
                  <a:prstDash val="solid"/>
                  <a:miter/>
                </a:ln>
              </p:spPr>
              <p:txBody>
                <a:bodyPr rtlCol="0" anchor="ctr"/>
                <a:lstStyle/>
                <a:p>
                  <a:endParaRPr lang="en-GB"/>
                </a:p>
              </p:txBody>
            </p:sp>
            <p:sp>
              <p:nvSpPr>
                <p:cNvPr id="8926" name="Vrije vorm: vorm 8925">
                  <a:extLst>
                    <a:ext uri="{FF2B5EF4-FFF2-40B4-BE49-F238E27FC236}">
                      <a16:creationId xmlns:a16="http://schemas.microsoft.com/office/drawing/2014/main" id="{6AEDC7A6-917B-4BED-8BD8-87D2D60230B3}"/>
                    </a:ext>
                  </a:extLst>
                </p:cNvPr>
                <p:cNvSpPr/>
                <p:nvPr/>
              </p:nvSpPr>
              <p:spPr>
                <a:xfrm>
                  <a:off x="4519292" y="2626235"/>
                  <a:ext cx="22726" cy="9808"/>
                </a:xfrm>
                <a:custGeom>
                  <a:avLst/>
                  <a:gdLst>
                    <a:gd name="connsiteX0" fmla="*/ 22727 w 22726"/>
                    <a:gd name="connsiteY0" fmla="*/ 478 h 9808"/>
                    <a:gd name="connsiteX1" fmla="*/ 22727 w 22726"/>
                    <a:gd name="connsiteY1" fmla="*/ 359 h 9808"/>
                    <a:gd name="connsiteX2" fmla="*/ 22607 w 22726"/>
                    <a:gd name="connsiteY2" fmla="*/ 299 h 9808"/>
                    <a:gd name="connsiteX3" fmla="*/ 179 w 22726"/>
                    <a:gd name="connsiteY3" fmla="*/ 0 h 9808"/>
                    <a:gd name="connsiteX4" fmla="*/ 0 w 22726"/>
                    <a:gd name="connsiteY4" fmla="*/ 120 h 9808"/>
                    <a:gd name="connsiteX5" fmla="*/ 0 w 22726"/>
                    <a:gd name="connsiteY5" fmla="*/ 120 h 9808"/>
                    <a:gd name="connsiteX6" fmla="*/ 179 w 22726"/>
                    <a:gd name="connsiteY6" fmla="*/ 299 h 9808"/>
                    <a:gd name="connsiteX7" fmla="*/ 22248 w 22726"/>
                    <a:gd name="connsiteY7" fmla="*/ 538 h 9808"/>
                    <a:gd name="connsiteX8" fmla="*/ 15550 w 22726"/>
                    <a:gd name="connsiteY8" fmla="*/ 9509 h 9808"/>
                    <a:gd name="connsiteX9" fmla="*/ 3828 w 22726"/>
                    <a:gd name="connsiteY9" fmla="*/ 6519 h 9808"/>
                    <a:gd name="connsiteX10" fmla="*/ 3648 w 22726"/>
                    <a:gd name="connsiteY10" fmla="*/ 6639 h 9808"/>
                    <a:gd name="connsiteX11" fmla="*/ 3648 w 22726"/>
                    <a:gd name="connsiteY11" fmla="*/ 6639 h 9808"/>
                    <a:gd name="connsiteX12" fmla="*/ 3768 w 22726"/>
                    <a:gd name="connsiteY12" fmla="*/ 6818 h 9808"/>
                    <a:gd name="connsiteX13" fmla="*/ 15550 w 22726"/>
                    <a:gd name="connsiteY13" fmla="*/ 9808 h 9808"/>
                    <a:gd name="connsiteX14" fmla="*/ 15729 w 22726"/>
                    <a:gd name="connsiteY14" fmla="*/ 9749 h 9808"/>
                    <a:gd name="connsiteX15" fmla="*/ 22727 w 22726"/>
                    <a:gd name="connsiteY15" fmla="*/ 419 h 9808"/>
                    <a:gd name="connsiteX16" fmla="*/ 22727 w 22726"/>
                    <a:gd name="connsiteY16" fmla="*/ 478 h 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26" h="9808">
                      <a:moveTo>
                        <a:pt x="22727" y="478"/>
                      </a:moveTo>
                      <a:cubicBezTo>
                        <a:pt x="22727" y="419"/>
                        <a:pt x="22727" y="419"/>
                        <a:pt x="22727" y="359"/>
                      </a:cubicBezTo>
                      <a:cubicBezTo>
                        <a:pt x="22727" y="299"/>
                        <a:pt x="22667" y="239"/>
                        <a:pt x="22607" y="299"/>
                      </a:cubicBezTo>
                      <a:lnTo>
                        <a:pt x="179" y="0"/>
                      </a:lnTo>
                      <a:cubicBezTo>
                        <a:pt x="120" y="0"/>
                        <a:pt x="60" y="60"/>
                        <a:pt x="0" y="120"/>
                      </a:cubicBezTo>
                      <a:cubicBezTo>
                        <a:pt x="0" y="120"/>
                        <a:pt x="0" y="120"/>
                        <a:pt x="0" y="120"/>
                      </a:cubicBezTo>
                      <a:cubicBezTo>
                        <a:pt x="0" y="179"/>
                        <a:pt x="60" y="299"/>
                        <a:pt x="179" y="299"/>
                      </a:cubicBezTo>
                      <a:lnTo>
                        <a:pt x="22248" y="538"/>
                      </a:lnTo>
                      <a:lnTo>
                        <a:pt x="15550" y="9509"/>
                      </a:lnTo>
                      <a:lnTo>
                        <a:pt x="3828" y="6519"/>
                      </a:lnTo>
                      <a:cubicBezTo>
                        <a:pt x="3768" y="6519"/>
                        <a:pt x="3648" y="6519"/>
                        <a:pt x="3648" y="6639"/>
                      </a:cubicBezTo>
                      <a:cubicBezTo>
                        <a:pt x="3648" y="6639"/>
                        <a:pt x="3648" y="6639"/>
                        <a:pt x="3648" y="6639"/>
                      </a:cubicBezTo>
                      <a:cubicBezTo>
                        <a:pt x="3648" y="6698"/>
                        <a:pt x="3708" y="6818"/>
                        <a:pt x="3768" y="6818"/>
                      </a:cubicBezTo>
                      <a:lnTo>
                        <a:pt x="15550" y="9808"/>
                      </a:lnTo>
                      <a:cubicBezTo>
                        <a:pt x="15610" y="9808"/>
                        <a:pt x="15669" y="9808"/>
                        <a:pt x="15729" y="9749"/>
                      </a:cubicBezTo>
                      <a:lnTo>
                        <a:pt x="22727" y="419"/>
                      </a:lnTo>
                      <a:cubicBezTo>
                        <a:pt x="22667" y="538"/>
                        <a:pt x="22667" y="538"/>
                        <a:pt x="22727" y="47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27" name="Vrije vorm: vorm 8926">
                  <a:extLst>
                    <a:ext uri="{FF2B5EF4-FFF2-40B4-BE49-F238E27FC236}">
                      <a16:creationId xmlns:a16="http://schemas.microsoft.com/office/drawing/2014/main" id="{0C3A025D-277A-474F-A852-78796EBBD7EB}"/>
                    </a:ext>
                  </a:extLst>
                </p:cNvPr>
                <p:cNvSpPr/>
                <p:nvPr/>
              </p:nvSpPr>
              <p:spPr>
                <a:xfrm>
                  <a:off x="4532390" y="2576236"/>
                  <a:ext cx="80799" cy="56781"/>
                </a:xfrm>
                <a:custGeom>
                  <a:avLst/>
                  <a:gdLst>
                    <a:gd name="connsiteX0" fmla="*/ 80800 w 80799"/>
                    <a:gd name="connsiteY0" fmla="*/ 14234 h 56781"/>
                    <a:gd name="connsiteX1" fmla="*/ 80800 w 80799"/>
                    <a:gd name="connsiteY1" fmla="*/ 14234 h 56781"/>
                    <a:gd name="connsiteX2" fmla="*/ 80680 w 80799"/>
                    <a:gd name="connsiteY2" fmla="*/ 14055 h 56781"/>
                    <a:gd name="connsiteX3" fmla="*/ 36542 w 80799"/>
                    <a:gd name="connsiteY3" fmla="*/ 0 h 56781"/>
                    <a:gd name="connsiteX4" fmla="*/ 36363 w 80799"/>
                    <a:gd name="connsiteY4" fmla="*/ 120 h 56781"/>
                    <a:gd name="connsiteX5" fmla="*/ 36482 w 80799"/>
                    <a:gd name="connsiteY5" fmla="*/ 299 h 56781"/>
                    <a:gd name="connsiteX6" fmla="*/ 80321 w 80799"/>
                    <a:gd name="connsiteY6" fmla="*/ 14294 h 56781"/>
                    <a:gd name="connsiteX7" fmla="*/ 44975 w 80799"/>
                    <a:gd name="connsiteY7" fmla="*/ 40549 h 56781"/>
                    <a:gd name="connsiteX8" fmla="*/ 179 w 80799"/>
                    <a:gd name="connsiteY8" fmla="*/ 33373 h 56781"/>
                    <a:gd name="connsiteX9" fmla="*/ 0 w 80799"/>
                    <a:gd name="connsiteY9" fmla="*/ 33492 h 56781"/>
                    <a:gd name="connsiteX10" fmla="*/ 60 w 80799"/>
                    <a:gd name="connsiteY10" fmla="*/ 33671 h 56781"/>
                    <a:gd name="connsiteX11" fmla="*/ 10825 w 80799"/>
                    <a:gd name="connsiteY11" fmla="*/ 39114 h 56781"/>
                    <a:gd name="connsiteX12" fmla="*/ 27631 w 80799"/>
                    <a:gd name="connsiteY12" fmla="*/ 46231 h 56781"/>
                    <a:gd name="connsiteX13" fmla="*/ 22368 w 80799"/>
                    <a:gd name="connsiteY13" fmla="*/ 56398 h 56781"/>
                    <a:gd name="connsiteX14" fmla="*/ 9509 w 80799"/>
                    <a:gd name="connsiteY14" fmla="*/ 50298 h 56781"/>
                    <a:gd name="connsiteX15" fmla="*/ 9270 w 80799"/>
                    <a:gd name="connsiteY15" fmla="*/ 50358 h 56781"/>
                    <a:gd name="connsiteX16" fmla="*/ 9270 w 80799"/>
                    <a:gd name="connsiteY16" fmla="*/ 50418 h 56781"/>
                    <a:gd name="connsiteX17" fmla="*/ 9390 w 80799"/>
                    <a:gd name="connsiteY17" fmla="*/ 50597 h 56781"/>
                    <a:gd name="connsiteX18" fmla="*/ 22368 w 80799"/>
                    <a:gd name="connsiteY18" fmla="*/ 56757 h 56781"/>
                    <a:gd name="connsiteX19" fmla="*/ 22607 w 80799"/>
                    <a:gd name="connsiteY19" fmla="*/ 56697 h 56781"/>
                    <a:gd name="connsiteX20" fmla="*/ 28050 w 80799"/>
                    <a:gd name="connsiteY20" fmla="*/ 46231 h 56781"/>
                    <a:gd name="connsiteX21" fmla="*/ 28050 w 80799"/>
                    <a:gd name="connsiteY21" fmla="*/ 46111 h 56781"/>
                    <a:gd name="connsiteX22" fmla="*/ 27990 w 80799"/>
                    <a:gd name="connsiteY22" fmla="*/ 45992 h 56781"/>
                    <a:gd name="connsiteX23" fmla="*/ 11064 w 80799"/>
                    <a:gd name="connsiteY23" fmla="*/ 38815 h 56781"/>
                    <a:gd name="connsiteX24" fmla="*/ 1196 w 80799"/>
                    <a:gd name="connsiteY24" fmla="*/ 33791 h 56781"/>
                    <a:gd name="connsiteX25" fmla="*/ 45035 w 80799"/>
                    <a:gd name="connsiteY25" fmla="*/ 40848 h 56781"/>
                    <a:gd name="connsiteX26" fmla="*/ 45154 w 80799"/>
                    <a:gd name="connsiteY26" fmla="*/ 40848 h 56781"/>
                    <a:gd name="connsiteX27" fmla="*/ 80800 w 80799"/>
                    <a:gd name="connsiteY27" fmla="*/ 14354 h 56781"/>
                    <a:gd name="connsiteX28" fmla="*/ 80800 w 80799"/>
                    <a:gd name="connsiteY28" fmla="*/ 14234 h 5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0799" h="56781">
                      <a:moveTo>
                        <a:pt x="80800" y="14234"/>
                      </a:moveTo>
                      <a:cubicBezTo>
                        <a:pt x="80800" y="14174"/>
                        <a:pt x="80800" y="14174"/>
                        <a:pt x="80800" y="14234"/>
                      </a:cubicBezTo>
                      <a:cubicBezTo>
                        <a:pt x="80800" y="14115"/>
                        <a:pt x="80740" y="14055"/>
                        <a:pt x="80680" y="14055"/>
                      </a:cubicBezTo>
                      <a:lnTo>
                        <a:pt x="36542" y="0"/>
                      </a:lnTo>
                      <a:cubicBezTo>
                        <a:pt x="36482" y="0"/>
                        <a:pt x="36363" y="0"/>
                        <a:pt x="36363" y="120"/>
                      </a:cubicBezTo>
                      <a:cubicBezTo>
                        <a:pt x="36363" y="180"/>
                        <a:pt x="36363" y="299"/>
                        <a:pt x="36482" y="299"/>
                      </a:cubicBezTo>
                      <a:lnTo>
                        <a:pt x="80321" y="14294"/>
                      </a:lnTo>
                      <a:lnTo>
                        <a:pt x="44975" y="40549"/>
                      </a:lnTo>
                      <a:lnTo>
                        <a:pt x="179" y="33373"/>
                      </a:lnTo>
                      <a:cubicBezTo>
                        <a:pt x="120" y="33373"/>
                        <a:pt x="0" y="33432"/>
                        <a:pt x="0" y="33492"/>
                      </a:cubicBezTo>
                      <a:cubicBezTo>
                        <a:pt x="0" y="33552"/>
                        <a:pt x="0" y="33671"/>
                        <a:pt x="60" y="33671"/>
                      </a:cubicBezTo>
                      <a:lnTo>
                        <a:pt x="10825" y="39114"/>
                      </a:lnTo>
                      <a:lnTo>
                        <a:pt x="27631" y="46231"/>
                      </a:lnTo>
                      <a:lnTo>
                        <a:pt x="22368" y="56398"/>
                      </a:lnTo>
                      <a:lnTo>
                        <a:pt x="9509" y="50298"/>
                      </a:lnTo>
                      <a:cubicBezTo>
                        <a:pt x="9450" y="50238"/>
                        <a:pt x="9330" y="50298"/>
                        <a:pt x="9270" y="50358"/>
                      </a:cubicBezTo>
                      <a:cubicBezTo>
                        <a:pt x="9270" y="50358"/>
                        <a:pt x="9270" y="50358"/>
                        <a:pt x="9270" y="50418"/>
                      </a:cubicBezTo>
                      <a:cubicBezTo>
                        <a:pt x="9270" y="50477"/>
                        <a:pt x="9270" y="50537"/>
                        <a:pt x="9390" y="50597"/>
                      </a:cubicBezTo>
                      <a:lnTo>
                        <a:pt x="22368" y="56757"/>
                      </a:lnTo>
                      <a:cubicBezTo>
                        <a:pt x="22428" y="56817"/>
                        <a:pt x="22547" y="56757"/>
                        <a:pt x="22607" y="56697"/>
                      </a:cubicBezTo>
                      <a:lnTo>
                        <a:pt x="28050" y="46231"/>
                      </a:lnTo>
                      <a:cubicBezTo>
                        <a:pt x="28050" y="46171"/>
                        <a:pt x="28050" y="46171"/>
                        <a:pt x="28050" y="46111"/>
                      </a:cubicBezTo>
                      <a:cubicBezTo>
                        <a:pt x="28050" y="46052"/>
                        <a:pt x="27990" y="46052"/>
                        <a:pt x="27990" y="45992"/>
                      </a:cubicBezTo>
                      <a:lnTo>
                        <a:pt x="11064" y="38815"/>
                      </a:lnTo>
                      <a:lnTo>
                        <a:pt x="1196" y="33791"/>
                      </a:lnTo>
                      <a:lnTo>
                        <a:pt x="45035" y="40848"/>
                      </a:lnTo>
                      <a:cubicBezTo>
                        <a:pt x="45095" y="40848"/>
                        <a:pt x="45095" y="40848"/>
                        <a:pt x="45154" y="40848"/>
                      </a:cubicBezTo>
                      <a:lnTo>
                        <a:pt x="80800" y="14354"/>
                      </a:lnTo>
                      <a:cubicBezTo>
                        <a:pt x="80800" y="14294"/>
                        <a:pt x="80800" y="14234"/>
                        <a:pt x="80800" y="1423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28" name="Vrije vorm: vorm 8927">
                  <a:extLst>
                    <a:ext uri="{FF2B5EF4-FFF2-40B4-BE49-F238E27FC236}">
                      <a16:creationId xmlns:a16="http://schemas.microsoft.com/office/drawing/2014/main" id="{B90697A0-267F-4C9F-9C98-C4E6DDDDF0D6}"/>
                    </a:ext>
                  </a:extLst>
                </p:cNvPr>
                <p:cNvSpPr/>
                <p:nvPr/>
              </p:nvSpPr>
              <p:spPr>
                <a:xfrm>
                  <a:off x="4576862" y="2578568"/>
                  <a:ext cx="27595" cy="50561"/>
                </a:xfrm>
                <a:custGeom>
                  <a:avLst/>
                  <a:gdLst>
                    <a:gd name="connsiteX0" fmla="*/ 27596 w 27595"/>
                    <a:gd name="connsiteY0" fmla="*/ 37678 h 50561"/>
                    <a:gd name="connsiteX1" fmla="*/ 27596 w 27595"/>
                    <a:gd name="connsiteY1" fmla="*/ 37619 h 50561"/>
                    <a:gd name="connsiteX2" fmla="*/ 20060 w 27595"/>
                    <a:gd name="connsiteY2" fmla="*/ 120 h 50561"/>
                    <a:gd name="connsiteX3" fmla="*/ 19881 w 27595"/>
                    <a:gd name="connsiteY3" fmla="*/ 0 h 50561"/>
                    <a:gd name="connsiteX4" fmla="*/ 19761 w 27595"/>
                    <a:gd name="connsiteY4" fmla="*/ 179 h 50561"/>
                    <a:gd name="connsiteX5" fmla="*/ 27237 w 27595"/>
                    <a:gd name="connsiteY5" fmla="*/ 37559 h 50561"/>
                    <a:gd name="connsiteX6" fmla="*/ 85 w 27595"/>
                    <a:gd name="connsiteY6" fmla="*/ 50238 h 50561"/>
                    <a:gd name="connsiteX7" fmla="*/ 25 w 27595"/>
                    <a:gd name="connsiteY7" fmla="*/ 50477 h 50561"/>
                    <a:gd name="connsiteX8" fmla="*/ 264 w 27595"/>
                    <a:gd name="connsiteY8" fmla="*/ 50537 h 50561"/>
                    <a:gd name="connsiteX9" fmla="*/ 27536 w 27595"/>
                    <a:gd name="connsiteY9" fmla="*/ 37798 h 50561"/>
                    <a:gd name="connsiteX10" fmla="*/ 27596 w 27595"/>
                    <a:gd name="connsiteY10" fmla="*/ 37678 h 5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95" h="50561">
                      <a:moveTo>
                        <a:pt x="27596" y="37678"/>
                      </a:moveTo>
                      <a:cubicBezTo>
                        <a:pt x="27596" y="37678"/>
                        <a:pt x="27596" y="37619"/>
                        <a:pt x="27596" y="37619"/>
                      </a:cubicBezTo>
                      <a:lnTo>
                        <a:pt x="20060" y="120"/>
                      </a:lnTo>
                      <a:cubicBezTo>
                        <a:pt x="20060" y="60"/>
                        <a:pt x="19941" y="0"/>
                        <a:pt x="19881" y="0"/>
                      </a:cubicBezTo>
                      <a:cubicBezTo>
                        <a:pt x="19821" y="0"/>
                        <a:pt x="19761" y="120"/>
                        <a:pt x="19761" y="179"/>
                      </a:cubicBezTo>
                      <a:lnTo>
                        <a:pt x="27237" y="37559"/>
                      </a:lnTo>
                      <a:lnTo>
                        <a:pt x="85" y="50238"/>
                      </a:lnTo>
                      <a:cubicBezTo>
                        <a:pt x="25" y="50298"/>
                        <a:pt x="-35" y="50358"/>
                        <a:pt x="25" y="50477"/>
                      </a:cubicBezTo>
                      <a:cubicBezTo>
                        <a:pt x="85" y="50537"/>
                        <a:pt x="145" y="50597"/>
                        <a:pt x="264" y="50537"/>
                      </a:cubicBezTo>
                      <a:lnTo>
                        <a:pt x="27536" y="37798"/>
                      </a:lnTo>
                      <a:cubicBezTo>
                        <a:pt x="27536" y="37738"/>
                        <a:pt x="27596" y="37678"/>
                        <a:pt x="27596" y="3767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29" name="Vrije vorm: vorm 8928">
                  <a:extLst>
                    <a:ext uri="{FF2B5EF4-FFF2-40B4-BE49-F238E27FC236}">
                      <a16:creationId xmlns:a16="http://schemas.microsoft.com/office/drawing/2014/main" id="{6C03F695-7234-4F81-8980-D36AC627C7DB}"/>
                    </a:ext>
                  </a:extLst>
                </p:cNvPr>
                <p:cNvSpPr/>
                <p:nvPr/>
              </p:nvSpPr>
              <p:spPr>
                <a:xfrm>
                  <a:off x="4554613" y="2616725"/>
                  <a:ext cx="47870" cy="16232"/>
                </a:xfrm>
                <a:custGeom>
                  <a:avLst/>
                  <a:gdLst>
                    <a:gd name="connsiteX0" fmla="*/ 47870 w 47870"/>
                    <a:gd name="connsiteY0" fmla="*/ 10287 h 16232"/>
                    <a:gd name="connsiteX1" fmla="*/ 47751 w 47870"/>
                    <a:gd name="connsiteY1" fmla="*/ 10107 h 16232"/>
                    <a:gd name="connsiteX2" fmla="*/ 22811 w 47870"/>
                    <a:gd name="connsiteY2" fmla="*/ 0 h 16232"/>
                    <a:gd name="connsiteX3" fmla="*/ 22632 w 47870"/>
                    <a:gd name="connsiteY3" fmla="*/ 0 h 16232"/>
                    <a:gd name="connsiteX4" fmla="*/ 25 w 47870"/>
                    <a:gd name="connsiteY4" fmla="*/ 15968 h 16232"/>
                    <a:gd name="connsiteX5" fmla="*/ 85 w 47870"/>
                    <a:gd name="connsiteY5" fmla="*/ 16208 h 16232"/>
                    <a:gd name="connsiteX6" fmla="*/ 324 w 47870"/>
                    <a:gd name="connsiteY6" fmla="*/ 16148 h 16232"/>
                    <a:gd name="connsiteX7" fmla="*/ 22752 w 47870"/>
                    <a:gd name="connsiteY7" fmla="*/ 359 h 16232"/>
                    <a:gd name="connsiteX8" fmla="*/ 47631 w 47870"/>
                    <a:gd name="connsiteY8" fmla="*/ 10406 h 16232"/>
                    <a:gd name="connsiteX9" fmla="*/ 47870 w 47870"/>
                    <a:gd name="connsiteY9" fmla="*/ 10287 h 16232"/>
                    <a:gd name="connsiteX10" fmla="*/ 47870 w 47870"/>
                    <a:gd name="connsiteY10" fmla="*/ 10287 h 1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870" h="16232">
                      <a:moveTo>
                        <a:pt x="47870" y="10287"/>
                      </a:moveTo>
                      <a:cubicBezTo>
                        <a:pt x="47870" y="10227"/>
                        <a:pt x="47870" y="10167"/>
                        <a:pt x="47751" y="10107"/>
                      </a:cubicBezTo>
                      <a:lnTo>
                        <a:pt x="22811" y="0"/>
                      </a:lnTo>
                      <a:cubicBezTo>
                        <a:pt x="22752" y="0"/>
                        <a:pt x="22692" y="0"/>
                        <a:pt x="22632" y="0"/>
                      </a:cubicBezTo>
                      <a:cubicBezTo>
                        <a:pt x="21735" y="598"/>
                        <a:pt x="742" y="14593"/>
                        <a:pt x="25" y="15968"/>
                      </a:cubicBezTo>
                      <a:cubicBezTo>
                        <a:pt x="-35" y="16028"/>
                        <a:pt x="25" y="16148"/>
                        <a:pt x="85" y="16208"/>
                      </a:cubicBezTo>
                      <a:cubicBezTo>
                        <a:pt x="144" y="16268"/>
                        <a:pt x="264" y="16208"/>
                        <a:pt x="324" y="16148"/>
                      </a:cubicBezTo>
                      <a:cubicBezTo>
                        <a:pt x="862" y="15071"/>
                        <a:pt x="16651" y="4426"/>
                        <a:pt x="22752" y="359"/>
                      </a:cubicBezTo>
                      <a:lnTo>
                        <a:pt x="47631" y="10406"/>
                      </a:lnTo>
                      <a:cubicBezTo>
                        <a:pt x="47751" y="10466"/>
                        <a:pt x="47811" y="10406"/>
                        <a:pt x="47870" y="10287"/>
                      </a:cubicBezTo>
                      <a:cubicBezTo>
                        <a:pt x="47870" y="10347"/>
                        <a:pt x="47870" y="10347"/>
                        <a:pt x="47870" y="1028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30" name="Vrije vorm: vorm 8929">
                  <a:extLst>
                    <a:ext uri="{FF2B5EF4-FFF2-40B4-BE49-F238E27FC236}">
                      <a16:creationId xmlns:a16="http://schemas.microsoft.com/office/drawing/2014/main" id="{8E2DD045-F8E5-493C-B565-55888A40CC6B}"/>
                    </a:ext>
                  </a:extLst>
                </p:cNvPr>
                <p:cNvSpPr/>
                <p:nvPr/>
              </p:nvSpPr>
              <p:spPr>
                <a:xfrm>
                  <a:off x="4510595" y="2574654"/>
                  <a:ext cx="102654" cy="64882"/>
                </a:xfrm>
                <a:custGeom>
                  <a:avLst/>
                  <a:gdLst>
                    <a:gd name="connsiteX0" fmla="*/ 102654 w 102654"/>
                    <a:gd name="connsiteY0" fmla="*/ 15875 h 64882"/>
                    <a:gd name="connsiteX1" fmla="*/ 102654 w 102654"/>
                    <a:gd name="connsiteY1" fmla="*/ 15875 h 64882"/>
                    <a:gd name="connsiteX2" fmla="*/ 102534 w 102654"/>
                    <a:gd name="connsiteY2" fmla="*/ 15636 h 64882"/>
                    <a:gd name="connsiteX3" fmla="*/ 72990 w 102654"/>
                    <a:gd name="connsiteY3" fmla="*/ 13244 h 64882"/>
                    <a:gd name="connsiteX4" fmla="*/ 58397 w 102654"/>
                    <a:gd name="connsiteY4" fmla="*/ 1581 h 64882"/>
                    <a:gd name="connsiteX5" fmla="*/ 58217 w 102654"/>
                    <a:gd name="connsiteY5" fmla="*/ 1581 h 64882"/>
                    <a:gd name="connsiteX6" fmla="*/ 48648 w 102654"/>
                    <a:gd name="connsiteY6" fmla="*/ 8818 h 64882"/>
                    <a:gd name="connsiteX7" fmla="*/ 35610 w 102654"/>
                    <a:gd name="connsiteY7" fmla="*/ 27 h 64882"/>
                    <a:gd name="connsiteX8" fmla="*/ 35490 w 102654"/>
                    <a:gd name="connsiteY8" fmla="*/ 27 h 64882"/>
                    <a:gd name="connsiteX9" fmla="*/ 35371 w 102654"/>
                    <a:gd name="connsiteY9" fmla="*/ 86 h 64882"/>
                    <a:gd name="connsiteX10" fmla="*/ 25 w 102654"/>
                    <a:gd name="connsiteY10" fmla="*/ 64618 h 64882"/>
                    <a:gd name="connsiteX11" fmla="*/ 85 w 102654"/>
                    <a:gd name="connsiteY11" fmla="*/ 64858 h 64882"/>
                    <a:gd name="connsiteX12" fmla="*/ 324 w 102654"/>
                    <a:gd name="connsiteY12" fmla="*/ 64798 h 64882"/>
                    <a:gd name="connsiteX13" fmla="*/ 35610 w 102654"/>
                    <a:gd name="connsiteY13" fmla="*/ 445 h 64882"/>
                    <a:gd name="connsiteX14" fmla="*/ 48588 w 102654"/>
                    <a:gd name="connsiteY14" fmla="*/ 9237 h 64882"/>
                    <a:gd name="connsiteX15" fmla="*/ 48768 w 102654"/>
                    <a:gd name="connsiteY15" fmla="*/ 9237 h 64882"/>
                    <a:gd name="connsiteX16" fmla="*/ 58337 w 102654"/>
                    <a:gd name="connsiteY16" fmla="*/ 2000 h 64882"/>
                    <a:gd name="connsiteX17" fmla="*/ 72870 w 102654"/>
                    <a:gd name="connsiteY17" fmla="*/ 13603 h 64882"/>
                    <a:gd name="connsiteX18" fmla="*/ 72990 w 102654"/>
                    <a:gd name="connsiteY18" fmla="*/ 13663 h 64882"/>
                    <a:gd name="connsiteX19" fmla="*/ 102176 w 102654"/>
                    <a:gd name="connsiteY19" fmla="*/ 15935 h 64882"/>
                    <a:gd name="connsiteX20" fmla="*/ 73827 w 102654"/>
                    <a:gd name="connsiteY20" fmla="*/ 19942 h 64882"/>
                    <a:gd name="connsiteX21" fmla="*/ 73707 w 102654"/>
                    <a:gd name="connsiteY21" fmla="*/ 20062 h 64882"/>
                    <a:gd name="connsiteX22" fmla="*/ 73767 w 102654"/>
                    <a:gd name="connsiteY22" fmla="*/ 20241 h 64882"/>
                    <a:gd name="connsiteX23" fmla="*/ 93444 w 102654"/>
                    <a:gd name="connsiteY23" fmla="*/ 41473 h 64882"/>
                    <a:gd name="connsiteX24" fmla="*/ 66889 w 102654"/>
                    <a:gd name="connsiteY24" fmla="*/ 42191 h 64882"/>
                    <a:gd name="connsiteX25" fmla="*/ 66710 w 102654"/>
                    <a:gd name="connsiteY25" fmla="*/ 42370 h 64882"/>
                    <a:gd name="connsiteX26" fmla="*/ 66351 w 102654"/>
                    <a:gd name="connsiteY26" fmla="*/ 54152 h 64882"/>
                    <a:gd name="connsiteX27" fmla="*/ 49784 w 102654"/>
                    <a:gd name="connsiteY27" fmla="*/ 47693 h 64882"/>
                    <a:gd name="connsiteX28" fmla="*/ 49665 w 102654"/>
                    <a:gd name="connsiteY28" fmla="*/ 47693 h 64882"/>
                    <a:gd name="connsiteX29" fmla="*/ 24247 w 102654"/>
                    <a:gd name="connsiteY29" fmla="*/ 61329 h 64882"/>
                    <a:gd name="connsiteX30" fmla="*/ 24187 w 102654"/>
                    <a:gd name="connsiteY30" fmla="*/ 61568 h 64882"/>
                    <a:gd name="connsiteX31" fmla="*/ 24426 w 102654"/>
                    <a:gd name="connsiteY31" fmla="*/ 61628 h 64882"/>
                    <a:gd name="connsiteX32" fmla="*/ 49725 w 102654"/>
                    <a:gd name="connsiteY32" fmla="*/ 47992 h 64882"/>
                    <a:gd name="connsiteX33" fmla="*/ 66411 w 102654"/>
                    <a:gd name="connsiteY33" fmla="*/ 54511 h 64882"/>
                    <a:gd name="connsiteX34" fmla="*/ 66530 w 102654"/>
                    <a:gd name="connsiteY34" fmla="*/ 54511 h 64882"/>
                    <a:gd name="connsiteX35" fmla="*/ 66590 w 102654"/>
                    <a:gd name="connsiteY35" fmla="*/ 54391 h 64882"/>
                    <a:gd name="connsiteX36" fmla="*/ 67009 w 102654"/>
                    <a:gd name="connsiteY36" fmla="*/ 42549 h 64882"/>
                    <a:gd name="connsiteX37" fmla="*/ 93743 w 102654"/>
                    <a:gd name="connsiteY37" fmla="*/ 41832 h 64882"/>
                    <a:gd name="connsiteX38" fmla="*/ 93862 w 102654"/>
                    <a:gd name="connsiteY38" fmla="*/ 41712 h 64882"/>
                    <a:gd name="connsiteX39" fmla="*/ 93862 w 102654"/>
                    <a:gd name="connsiteY39" fmla="*/ 41533 h 64882"/>
                    <a:gd name="connsiteX40" fmla="*/ 74126 w 102654"/>
                    <a:gd name="connsiteY40" fmla="*/ 20241 h 64882"/>
                    <a:gd name="connsiteX41" fmla="*/ 88121 w 102654"/>
                    <a:gd name="connsiteY41" fmla="*/ 18447 h 64882"/>
                    <a:gd name="connsiteX42" fmla="*/ 102654 w 102654"/>
                    <a:gd name="connsiteY42" fmla="*/ 15875 h 6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2654" h="64882">
                      <a:moveTo>
                        <a:pt x="102654" y="15875"/>
                      </a:moveTo>
                      <a:cubicBezTo>
                        <a:pt x="102654" y="15875"/>
                        <a:pt x="102654" y="15816"/>
                        <a:pt x="102654" y="15875"/>
                      </a:cubicBezTo>
                      <a:cubicBezTo>
                        <a:pt x="102654" y="15816"/>
                        <a:pt x="102654" y="15696"/>
                        <a:pt x="102534" y="15636"/>
                      </a:cubicBezTo>
                      <a:cubicBezTo>
                        <a:pt x="101278" y="15098"/>
                        <a:pt x="74724" y="13363"/>
                        <a:pt x="72990" y="13244"/>
                      </a:cubicBezTo>
                      <a:lnTo>
                        <a:pt x="58397" y="1581"/>
                      </a:lnTo>
                      <a:cubicBezTo>
                        <a:pt x="58337" y="1522"/>
                        <a:pt x="58277" y="1522"/>
                        <a:pt x="58217" y="1581"/>
                      </a:cubicBezTo>
                      <a:lnTo>
                        <a:pt x="48648" y="8818"/>
                      </a:lnTo>
                      <a:lnTo>
                        <a:pt x="35610" y="27"/>
                      </a:lnTo>
                      <a:cubicBezTo>
                        <a:pt x="35550" y="27"/>
                        <a:pt x="35550" y="-33"/>
                        <a:pt x="35490" y="27"/>
                      </a:cubicBezTo>
                      <a:cubicBezTo>
                        <a:pt x="35431" y="27"/>
                        <a:pt x="35431" y="86"/>
                        <a:pt x="35371" y="86"/>
                      </a:cubicBezTo>
                      <a:lnTo>
                        <a:pt x="25" y="64618"/>
                      </a:lnTo>
                      <a:cubicBezTo>
                        <a:pt x="-35" y="64678"/>
                        <a:pt x="25" y="64798"/>
                        <a:pt x="85" y="64858"/>
                      </a:cubicBezTo>
                      <a:cubicBezTo>
                        <a:pt x="145" y="64917"/>
                        <a:pt x="264" y="64858"/>
                        <a:pt x="324" y="64798"/>
                      </a:cubicBezTo>
                      <a:lnTo>
                        <a:pt x="35610" y="445"/>
                      </a:lnTo>
                      <a:lnTo>
                        <a:pt x="48588" y="9237"/>
                      </a:lnTo>
                      <a:cubicBezTo>
                        <a:pt x="48648" y="9297"/>
                        <a:pt x="48708" y="9297"/>
                        <a:pt x="48768" y="9237"/>
                      </a:cubicBezTo>
                      <a:lnTo>
                        <a:pt x="58337" y="2000"/>
                      </a:lnTo>
                      <a:lnTo>
                        <a:pt x="72870" y="13603"/>
                      </a:lnTo>
                      <a:cubicBezTo>
                        <a:pt x="72870" y="13603"/>
                        <a:pt x="72930" y="13663"/>
                        <a:pt x="72990" y="13663"/>
                      </a:cubicBezTo>
                      <a:cubicBezTo>
                        <a:pt x="82200" y="14261"/>
                        <a:pt x="99484" y="15457"/>
                        <a:pt x="102176" y="15935"/>
                      </a:cubicBezTo>
                      <a:cubicBezTo>
                        <a:pt x="99783" y="16653"/>
                        <a:pt x="84293" y="18686"/>
                        <a:pt x="73827" y="19942"/>
                      </a:cubicBezTo>
                      <a:cubicBezTo>
                        <a:pt x="73767" y="19942"/>
                        <a:pt x="73707" y="20002"/>
                        <a:pt x="73707" y="20062"/>
                      </a:cubicBezTo>
                      <a:cubicBezTo>
                        <a:pt x="73647" y="20122"/>
                        <a:pt x="73707" y="20182"/>
                        <a:pt x="73767" y="20241"/>
                      </a:cubicBezTo>
                      <a:lnTo>
                        <a:pt x="93444" y="41473"/>
                      </a:lnTo>
                      <a:lnTo>
                        <a:pt x="66889" y="42191"/>
                      </a:lnTo>
                      <a:cubicBezTo>
                        <a:pt x="66829" y="42191"/>
                        <a:pt x="66770" y="42250"/>
                        <a:pt x="66710" y="42370"/>
                      </a:cubicBezTo>
                      <a:lnTo>
                        <a:pt x="66351" y="54152"/>
                      </a:lnTo>
                      <a:lnTo>
                        <a:pt x="49784" y="47693"/>
                      </a:lnTo>
                      <a:cubicBezTo>
                        <a:pt x="49725" y="47693"/>
                        <a:pt x="49665" y="47693"/>
                        <a:pt x="49665" y="47693"/>
                      </a:cubicBezTo>
                      <a:lnTo>
                        <a:pt x="24247" y="61329"/>
                      </a:lnTo>
                      <a:cubicBezTo>
                        <a:pt x="24187" y="61389"/>
                        <a:pt x="24127" y="61449"/>
                        <a:pt x="24187" y="61568"/>
                      </a:cubicBezTo>
                      <a:cubicBezTo>
                        <a:pt x="24247" y="61628"/>
                        <a:pt x="24307" y="61688"/>
                        <a:pt x="24426" y="61628"/>
                      </a:cubicBezTo>
                      <a:lnTo>
                        <a:pt x="49725" y="47992"/>
                      </a:lnTo>
                      <a:lnTo>
                        <a:pt x="66411" y="54511"/>
                      </a:lnTo>
                      <a:cubicBezTo>
                        <a:pt x="66471" y="54511"/>
                        <a:pt x="66530" y="54511"/>
                        <a:pt x="66530" y="54511"/>
                      </a:cubicBezTo>
                      <a:cubicBezTo>
                        <a:pt x="66590" y="54511"/>
                        <a:pt x="66590" y="54451"/>
                        <a:pt x="66590" y="54391"/>
                      </a:cubicBezTo>
                      <a:lnTo>
                        <a:pt x="67009" y="42549"/>
                      </a:lnTo>
                      <a:lnTo>
                        <a:pt x="93743" y="41832"/>
                      </a:lnTo>
                      <a:cubicBezTo>
                        <a:pt x="93802" y="41832"/>
                        <a:pt x="93862" y="41772"/>
                        <a:pt x="93862" y="41712"/>
                      </a:cubicBezTo>
                      <a:cubicBezTo>
                        <a:pt x="93862" y="41652"/>
                        <a:pt x="93862" y="41593"/>
                        <a:pt x="93862" y="41533"/>
                      </a:cubicBezTo>
                      <a:lnTo>
                        <a:pt x="74126" y="20241"/>
                      </a:lnTo>
                      <a:cubicBezTo>
                        <a:pt x="75561" y="20062"/>
                        <a:pt x="81901" y="19285"/>
                        <a:pt x="88121" y="18447"/>
                      </a:cubicBezTo>
                      <a:cubicBezTo>
                        <a:pt x="102236" y="16414"/>
                        <a:pt x="102594" y="16055"/>
                        <a:pt x="102654" y="1587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31" name="Vrije vorm: vorm 8930">
                  <a:extLst>
                    <a:ext uri="{FF2B5EF4-FFF2-40B4-BE49-F238E27FC236}">
                      <a16:creationId xmlns:a16="http://schemas.microsoft.com/office/drawing/2014/main" id="{36149E22-D67A-4570-8D87-A4A3067E5E4E}"/>
                    </a:ext>
                  </a:extLst>
                </p:cNvPr>
                <p:cNvSpPr/>
                <p:nvPr/>
              </p:nvSpPr>
              <p:spPr>
                <a:xfrm>
                  <a:off x="4543095" y="2581833"/>
                  <a:ext cx="41371" cy="35311"/>
                </a:xfrm>
                <a:custGeom>
                  <a:avLst/>
                  <a:gdLst>
                    <a:gd name="connsiteX0" fmla="*/ 41327 w 41371"/>
                    <a:gd name="connsiteY0" fmla="*/ 13003 h 35311"/>
                    <a:gd name="connsiteX1" fmla="*/ 22667 w 41371"/>
                    <a:gd name="connsiteY1" fmla="*/ 22333 h 35311"/>
                    <a:gd name="connsiteX2" fmla="*/ 34449 w 41371"/>
                    <a:gd name="connsiteY2" fmla="*/ 35012 h 35311"/>
                    <a:gd name="connsiteX3" fmla="*/ 34449 w 41371"/>
                    <a:gd name="connsiteY3" fmla="*/ 35191 h 35311"/>
                    <a:gd name="connsiteX4" fmla="*/ 34270 w 41371"/>
                    <a:gd name="connsiteY4" fmla="*/ 35311 h 35311"/>
                    <a:gd name="connsiteX5" fmla="*/ 180 w 41371"/>
                    <a:gd name="connsiteY5" fmla="*/ 33577 h 35311"/>
                    <a:gd name="connsiteX6" fmla="*/ 0 w 41371"/>
                    <a:gd name="connsiteY6" fmla="*/ 33457 h 35311"/>
                    <a:gd name="connsiteX7" fmla="*/ 60 w 41371"/>
                    <a:gd name="connsiteY7" fmla="*/ 33278 h 35311"/>
                    <a:gd name="connsiteX8" fmla="*/ 22009 w 41371"/>
                    <a:gd name="connsiteY8" fmla="*/ 22273 h 35311"/>
                    <a:gd name="connsiteX9" fmla="*/ 1555 w 41371"/>
                    <a:gd name="connsiteY9" fmla="*/ 264 h 35311"/>
                    <a:gd name="connsiteX10" fmla="*/ 1555 w 41371"/>
                    <a:gd name="connsiteY10" fmla="*/ 85 h 35311"/>
                    <a:gd name="connsiteX11" fmla="*/ 1735 w 41371"/>
                    <a:gd name="connsiteY11" fmla="*/ 25 h 35311"/>
                    <a:gd name="connsiteX12" fmla="*/ 41207 w 41371"/>
                    <a:gd name="connsiteY12" fmla="*/ 12704 h 35311"/>
                    <a:gd name="connsiteX13" fmla="*/ 41327 w 41371"/>
                    <a:gd name="connsiteY13" fmla="*/ 12824 h 35311"/>
                    <a:gd name="connsiteX14" fmla="*/ 41327 w 41371"/>
                    <a:gd name="connsiteY14" fmla="*/ 12883 h 35311"/>
                    <a:gd name="connsiteX15" fmla="*/ 41327 w 41371"/>
                    <a:gd name="connsiteY15" fmla="*/ 13003 h 35311"/>
                    <a:gd name="connsiteX16" fmla="*/ 22428 w 41371"/>
                    <a:gd name="connsiteY16" fmla="*/ 22094 h 35311"/>
                    <a:gd name="connsiteX17" fmla="*/ 40848 w 41371"/>
                    <a:gd name="connsiteY17" fmla="*/ 12883 h 35311"/>
                    <a:gd name="connsiteX18" fmla="*/ 2333 w 41371"/>
                    <a:gd name="connsiteY18" fmla="*/ 503 h 35311"/>
                    <a:gd name="connsiteX19" fmla="*/ 22428 w 41371"/>
                    <a:gd name="connsiteY19" fmla="*/ 22094 h 35311"/>
                    <a:gd name="connsiteX20" fmla="*/ 837 w 41371"/>
                    <a:gd name="connsiteY20" fmla="*/ 33218 h 35311"/>
                    <a:gd name="connsiteX21" fmla="*/ 33911 w 41371"/>
                    <a:gd name="connsiteY21" fmla="*/ 34892 h 35311"/>
                    <a:gd name="connsiteX22" fmla="*/ 22368 w 41371"/>
                    <a:gd name="connsiteY22" fmla="*/ 22452 h 35311"/>
                    <a:gd name="connsiteX23" fmla="*/ 837 w 41371"/>
                    <a:gd name="connsiteY23" fmla="*/ 33218 h 35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371" h="35311">
                      <a:moveTo>
                        <a:pt x="41327" y="13003"/>
                      </a:moveTo>
                      <a:lnTo>
                        <a:pt x="22667" y="22333"/>
                      </a:lnTo>
                      <a:lnTo>
                        <a:pt x="34449" y="35012"/>
                      </a:lnTo>
                      <a:cubicBezTo>
                        <a:pt x="34509" y="35072"/>
                        <a:pt x="34509" y="35132"/>
                        <a:pt x="34449" y="35191"/>
                      </a:cubicBezTo>
                      <a:cubicBezTo>
                        <a:pt x="34389" y="35251"/>
                        <a:pt x="34329" y="35311"/>
                        <a:pt x="34270" y="35311"/>
                      </a:cubicBezTo>
                      <a:lnTo>
                        <a:pt x="180" y="33577"/>
                      </a:lnTo>
                      <a:cubicBezTo>
                        <a:pt x="120" y="33577"/>
                        <a:pt x="60" y="33517"/>
                        <a:pt x="0" y="33457"/>
                      </a:cubicBezTo>
                      <a:cubicBezTo>
                        <a:pt x="0" y="33397"/>
                        <a:pt x="0" y="33337"/>
                        <a:pt x="60" y="33278"/>
                      </a:cubicBezTo>
                      <a:lnTo>
                        <a:pt x="22009" y="22273"/>
                      </a:lnTo>
                      <a:lnTo>
                        <a:pt x="1555" y="264"/>
                      </a:lnTo>
                      <a:cubicBezTo>
                        <a:pt x="1495" y="204"/>
                        <a:pt x="1495" y="144"/>
                        <a:pt x="1555" y="85"/>
                      </a:cubicBezTo>
                      <a:cubicBezTo>
                        <a:pt x="1615" y="25"/>
                        <a:pt x="1675" y="-35"/>
                        <a:pt x="1735" y="25"/>
                      </a:cubicBezTo>
                      <a:lnTo>
                        <a:pt x="41207" y="12704"/>
                      </a:lnTo>
                      <a:cubicBezTo>
                        <a:pt x="41267" y="12704"/>
                        <a:pt x="41327" y="12764"/>
                        <a:pt x="41327" y="12824"/>
                      </a:cubicBezTo>
                      <a:cubicBezTo>
                        <a:pt x="41327" y="12824"/>
                        <a:pt x="41327" y="12824"/>
                        <a:pt x="41327" y="12883"/>
                      </a:cubicBezTo>
                      <a:cubicBezTo>
                        <a:pt x="41387" y="12883"/>
                        <a:pt x="41387" y="12943"/>
                        <a:pt x="41327" y="13003"/>
                      </a:cubicBezTo>
                      <a:close/>
                      <a:moveTo>
                        <a:pt x="22428" y="22094"/>
                      </a:moveTo>
                      <a:lnTo>
                        <a:pt x="40848" y="12883"/>
                      </a:lnTo>
                      <a:lnTo>
                        <a:pt x="2333" y="503"/>
                      </a:lnTo>
                      <a:lnTo>
                        <a:pt x="22428" y="22094"/>
                      </a:lnTo>
                      <a:close/>
                      <a:moveTo>
                        <a:pt x="837" y="33218"/>
                      </a:moveTo>
                      <a:lnTo>
                        <a:pt x="33911" y="34892"/>
                      </a:lnTo>
                      <a:lnTo>
                        <a:pt x="22368" y="22452"/>
                      </a:lnTo>
                      <a:lnTo>
                        <a:pt x="837" y="33218"/>
                      </a:lnTo>
                      <a:close/>
                    </a:path>
                  </a:pathLst>
                </a:custGeom>
                <a:grpFill/>
                <a:ln w="6350" cap="flat">
                  <a:solidFill>
                    <a:schemeClr val="bg1">
                      <a:alpha val="40000"/>
                    </a:schemeClr>
                  </a:solidFill>
                  <a:prstDash val="solid"/>
                  <a:miter/>
                </a:ln>
              </p:spPr>
              <p:txBody>
                <a:bodyPr rtlCol="0" anchor="ctr"/>
                <a:lstStyle/>
                <a:p>
                  <a:endParaRPr lang="en-GB"/>
                </a:p>
              </p:txBody>
            </p:sp>
            <p:sp>
              <p:nvSpPr>
                <p:cNvPr id="8932" name="Vrije vorm: vorm 8931">
                  <a:extLst>
                    <a:ext uri="{FF2B5EF4-FFF2-40B4-BE49-F238E27FC236}">
                      <a16:creationId xmlns:a16="http://schemas.microsoft.com/office/drawing/2014/main" id="{D60DCC9F-066C-41DF-988F-1C8B2B00823B}"/>
                    </a:ext>
                  </a:extLst>
                </p:cNvPr>
                <p:cNvSpPr/>
                <p:nvPr/>
              </p:nvSpPr>
              <p:spPr>
                <a:xfrm>
                  <a:off x="4532390" y="2583508"/>
                  <a:ext cx="45154" cy="33516"/>
                </a:xfrm>
                <a:custGeom>
                  <a:avLst/>
                  <a:gdLst>
                    <a:gd name="connsiteX0" fmla="*/ 45154 w 45154"/>
                    <a:gd name="connsiteY0" fmla="*/ 33457 h 33516"/>
                    <a:gd name="connsiteX1" fmla="*/ 45154 w 45154"/>
                    <a:gd name="connsiteY1" fmla="*/ 33337 h 33516"/>
                    <a:gd name="connsiteX2" fmla="*/ 26973 w 45154"/>
                    <a:gd name="connsiteY2" fmla="*/ 85 h 33516"/>
                    <a:gd name="connsiteX3" fmla="*/ 26734 w 45154"/>
                    <a:gd name="connsiteY3" fmla="*/ 25 h 33516"/>
                    <a:gd name="connsiteX4" fmla="*/ 26674 w 45154"/>
                    <a:gd name="connsiteY4" fmla="*/ 264 h 33516"/>
                    <a:gd name="connsiteX5" fmla="*/ 44676 w 45154"/>
                    <a:gd name="connsiteY5" fmla="*/ 33158 h 33516"/>
                    <a:gd name="connsiteX6" fmla="*/ 1674 w 45154"/>
                    <a:gd name="connsiteY6" fmla="*/ 20898 h 33516"/>
                    <a:gd name="connsiteX7" fmla="*/ 1495 w 45154"/>
                    <a:gd name="connsiteY7" fmla="*/ 21017 h 33516"/>
                    <a:gd name="connsiteX8" fmla="*/ 0 w 45154"/>
                    <a:gd name="connsiteY8" fmla="*/ 26161 h 33516"/>
                    <a:gd name="connsiteX9" fmla="*/ 0 w 45154"/>
                    <a:gd name="connsiteY9" fmla="*/ 26161 h 33516"/>
                    <a:gd name="connsiteX10" fmla="*/ 120 w 45154"/>
                    <a:gd name="connsiteY10" fmla="*/ 26340 h 33516"/>
                    <a:gd name="connsiteX11" fmla="*/ 299 w 45154"/>
                    <a:gd name="connsiteY11" fmla="*/ 26220 h 33516"/>
                    <a:gd name="connsiteX12" fmla="*/ 1734 w 45154"/>
                    <a:gd name="connsiteY12" fmla="*/ 21197 h 33516"/>
                    <a:gd name="connsiteX13" fmla="*/ 44975 w 45154"/>
                    <a:gd name="connsiteY13" fmla="*/ 33517 h 33516"/>
                    <a:gd name="connsiteX14" fmla="*/ 45154 w 45154"/>
                    <a:gd name="connsiteY14" fmla="*/ 33457 h 33516"/>
                    <a:gd name="connsiteX15" fmla="*/ 45154 w 45154"/>
                    <a:gd name="connsiteY15" fmla="*/ 33457 h 3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154" h="33516">
                      <a:moveTo>
                        <a:pt x="45154" y="33457"/>
                      </a:moveTo>
                      <a:cubicBezTo>
                        <a:pt x="45154" y="33397"/>
                        <a:pt x="45154" y="33397"/>
                        <a:pt x="45154" y="33337"/>
                      </a:cubicBezTo>
                      <a:lnTo>
                        <a:pt x="26973" y="85"/>
                      </a:lnTo>
                      <a:cubicBezTo>
                        <a:pt x="26913" y="25"/>
                        <a:pt x="26853" y="-35"/>
                        <a:pt x="26734" y="25"/>
                      </a:cubicBezTo>
                      <a:cubicBezTo>
                        <a:pt x="26674" y="85"/>
                        <a:pt x="26614" y="144"/>
                        <a:pt x="26674" y="264"/>
                      </a:cubicBezTo>
                      <a:lnTo>
                        <a:pt x="44676" y="33158"/>
                      </a:lnTo>
                      <a:lnTo>
                        <a:pt x="1674" y="20898"/>
                      </a:lnTo>
                      <a:cubicBezTo>
                        <a:pt x="1615" y="20898"/>
                        <a:pt x="1495" y="20898"/>
                        <a:pt x="1495" y="21017"/>
                      </a:cubicBezTo>
                      <a:lnTo>
                        <a:pt x="0" y="26161"/>
                      </a:lnTo>
                      <a:cubicBezTo>
                        <a:pt x="0" y="26161"/>
                        <a:pt x="0" y="26161"/>
                        <a:pt x="0" y="26161"/>
                      </a:cubicBezTo>
                      <a:cubicBezTo>
                        <a:pt x="0" y="26220"/>
                        <a:pt x="60" y="26340"/>
                        <a:pt x="120" y="26340"/>
                      </a:cubicBezTo>
                      <a:cubicBezTo>
                        <a:pt x="179" y="26340"/>
                        <a:pt x="299" y="26340"/>
                        <a:pt x="299" y="26220"/>
                      </a:cubicBezTo>
                      <a:lnTo>
                        <a:pt x="1734" y="21197"/>
                      </a:lnTo>
                      <a:lnTo>
                        <a:pt x="44975" y="33517"/>
                      </a:lnTo>
                      <a:cubicBezTo>
                        <a:pt x="45035" y="33517"/>
                        <a:pt x="45095" y="33517"/>
                        <a:pt x="45154" y="33457"/>
                      </a:cubicBezTo>
                      <a:cubicBezTo>
                        <a:pt x="45154" y="33517"/>
                        <a:pt x="45154" y="33457"/>
                        <a:pt x="45154" y="3345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33" name="Vrije vorm: vorm 8932">
                  <a:extLst>
                    <a:ext uri="{FF2B5EF4-FFF2-40B4-BE49-F238E27FC236}">
                      <a16:creationId xmlns:a16="http://schemas.microsoft.com/office/drawing/2014/main" id="{D028777F-BAA3-44ED-BBAD-C713139980B9}"/>
                    </a:ext>
                  </a:extLst>
                </p:cNvPr>
                <p:cNvSpPr/>
                <p:nvPr/>
              </p:nvSpPr>
              <p:spPr>
                <a:xfrm>
                  <a:off x="4533900" y="2581715"/>
                  <a:ext cx="50641" cy="40752"/>
                </a:xfrm>
                <a:custGeom>
                  <a:avLst/>
                  <a:gdLst>
                    <a:gd name="connsiteX0" fmla="*/ 50582 w 50641"/>
                    <a:gd name="connsiteY0" fmla="*/ 13061 h 40752"/>
                    <a:gd name="connsiteX1" fmla="*/ 26480 w 50641"/>
                    <a:gd name="connsiteY1" fmla="*/ 40752 h 40752"/>
                    <a:gd name="connsiteX2" fmla="*/ 26480 w 50641"/>
                    <a:gd name="connsiteY2" fmla="*/ 40752 h 40752"/>
                    <a:gd name="connsiteX3" fmla="*/ 26480 w 50641"/>
                    <a:gd name="connsiteY3" fmla="*/ 40752 h 40752"/>
                    <a:gd name="connsiteX4" fmla="*/ 26480 w 50641"/>
                    <a:gd name="connsiteY4" fmla="*/ 40752 h 40752"/>
                    <a:gd name="connsiteX5" fmla="*/ 26480 w 50641"/>
                    <a:gd name="connsiteY5" fmla="*/ 40752 h 40752"/>
                    <a:gd name="connsiteX6" fmla="*/ 26480 w 50641"/>
                    <a:gd name="connsiteY6" fmla="*/ 40752 h 40752"/>
                    <a:gd name="connsiteX7" fmla="*/ 26480 w 50641"/>
                    <a:gd name="connsiteY7" fmla="*/ 40752 h 40752"/>
                    <a:gd name="connsiteX8" fmla="*/ 26480 w 50641"/>
                    <a:gd name="connsiteY8" fmla="*/ 40752 h 40752"/>
                    <a:gd name="connsiteX9" fmla="*/ 26480 w 50641"/>
                    <a:gd name="connsiteY9" fmla="*/ 40752 h 40752"/>
                    <a:gd name="connsiteX10" fmla="*/ 26480 w 50641"/>
                    <a:gd name="connsiteY10" fmla="*/ 40752 h 40752"/>
                    <a:gd name="connsiteX11" fmla="*/ 26480 w 50641"/>
                    <a:gd name="connsiteY11" fmla="*/ 40752 h 40752"/>
                    <a:gd name="connsiteX12" fmla="*/ 26480 w 50641"/>
                    <a:gd name="connsiteY12" fmla="*/ 40752 h 40752"/>
                    <a:gd name="connsiteX13" fmla="*/ 26480 w 50641"/>
                    <a:gd name="connsiteY13" fmla="*/ 40752 h 40752"/>
                    <a:gd name="connsiteX14" fmla="*/ 26480 w 50641"/>
                    <a:gd name="connsiteY14" fmla="*/ 40752 h 40752"/>
                    <a:gd name="connsiteX15" fmla="*/ 26480 w 50641"/>
                    <a:gd name="connsiteY15" fmla="*/ 40752 h 40752"/>
                    <a:gd name="connsiteX16" fmla="*/ 26480 w 50641"/>
                    <a:gd name="connsiteY16" fmla="*/ 40752 h 40752"/>
                    <a:gd name="connsiteX17" fmla="*/ 26480 w 50641"/>
                    <a:gd name="connsiteY17" fmla="*/ 40752 h 40752"/>
                    <a:gd name="connsiteX18" fmla="*/ 26480 w 50641"/>
                    <a:gd name="connsiteY18" fmla="*/ 40752 h 40752"/>
                    <a:gd name="connsiteX19" fmla="*/ 26480 w 50641"/>
                    <a:gd name="connsiteY19" fmla="*/ 40752 h 40752"/>
                    <a:gd name="connsiteX20" fmla="*/ 26480 w 50641"/>
                    <a:gd name="connsiteY20" fmla="*/ 40752 h 40752"/>
                    <a:gd name="connsiteX21" fmla="*/ 26480 w 50641"/>
                    <a:gd name="connsiteY21" fmla="*/ 40752 h 40752"/>
                    <a:gd name="connsiteX22" fmla="*/ 26420 w 50641"/>
                    <a:gd name="connsiteY22" fmla="*/ 40752 h 40752"/>
                    <a:gd name="connsiteX23" fmla="*/ 26420 w 50641"/>
                    <a:gd name="connsiteY23" fmla="*/ 40752 h 40752"/>
                    <a:gd name="connsiteX24" fmla="*/ 26420 w 50641"/>
                    <a:gd name="connsiteY24" fmla="*/ 40752 h 40752"/>
                    <a:gd name="connsiteX25" fmla="*/ 26420 w 50641"/>
                    <a:gd name="connsiteY25" fmla="*/ 40752 h 40752"/>
                    <a:gd name="connsiteX26" fmla="*/ 26420 w 50641"/>
                    <a:gd name="connsiteY26" fmla="*/ 40752 h 40752"/>
                    <a:gd name="connsiteX27" fmla="*/ 26420 w 50641"/>
                    <a:gd name="connsiteY27" fmla="*/ 40752 h 40752"/>
                    <a:gd name="connsiteX28" fmla="*/ 26420 w 50641"/>
                    <a:gd name="connsiteY28" fmla="*/ 40752 h 40752"/>
                    <a:gd name="connsiteX29" fmla="*/ 26420 w 50641"/>
                    <a:gd name="connsiteY29" fmla="*/ 40752 h 40752"/>
                    <a:gd name="connsiteX30" fmla="*/ 26420 w 50641"/>
                    <a:gd name="connsiteY30" fmla="*/ 40752 h 40752"/>
                    <a:gd name="connsiteX31" fmla="*/ 26420 w 50641"/>
                    <a:gd name="connsiteY31" fmla="*/ 40752 h 40752"/>
                    <a:gd name="connsiteX32" fmla="*/ 26420 w 50641"/>
                    <a:gd name="connsiteY32" fmla="*/ 40752 h 40752"/>
                    <a:gd name="connsiteX33" fmla="*/ 26360 w 50641"/>
                    <a:gd name="connsiteY33" fmla="*/ 40752 h 40752"/>
                    <a:gd name="connsiteX34" fmla="*/ 26360 w 50641"/>
                    <a:gd name="connsiteY34" fmla="*/ 40752 h 40752"/>
                    <a:gd name="connsiteX35" fmla="*/ 26360 w 50641"/>
                    <a:gd name="connsiteY35" fmla="*/ 40752 h 40752"/>
                    <a:gd name="connsiteX36" fmla="*/ 26360 w 50641"/>
                    <a:gd name="connsiteY36" fmla="*/ 40752 h 40752"/>
                    <a:gd name="connsiteX37" fmla="*/ 26360 w 50641"/>
                    <a:gd name="connsiteY37" fmla="*/ 40752 h 40752"/>
                    <a:gd name="connsiteX38" fmla="*/ 26360 w 50641"/>
                    <a:gd name="connsiteY38" fmla="*/ 40752 h 40752"/>
                    <a:gd name="connsiteX39" fmla="*/ 26360 w 50641"/>
                    <a:gd name="connsiteY39" fmla="*/ 40752 h 40752"/>
                    <a:gd name="connsiteX40" fmla="*/ 26360 w 50641"/>
                    <a:gd name="connsiteY40" fmla="*/ 40752 h 40752"/>
                    <a:gd name="connsiteX41" fmla="*/ 26360 w 50641"/>
                    <a:gd name="connsiteY41" fmla="*/ 40752 h 40752"/>
                    <a:gd name="connsiteX42" fmla="*/ 26360 w 50641"/>
                    <a:gd name="connsiteY42" fmla="*/ 40752 h 40752"/>
                    <a:gd name="connsiteX43" fmla="*/ 26360 w 50641"/>
                    <a:gd name="connsiteY43" fmla="*/ 40752 h 40752"/>
                    <a:gd name="connsiteX44" fmla="*/ 26360 w 50641"/>
                    <a:gd name="connsiteY44" fmla="*/ 40752 h 40752"/>
                    <a:gd name="connsiteX45" fmla="*/ 26360 w 50641"/>
                    <a:gd name="connsiteY45" fmla="*/ 40752 h 40752"/>
                    <a:gd name="connsiteX46" fmla="*/ 26360 w 50641"/>
                    <a:gd name="connsiteY46" fmla="*/ 40752 h 40752"/>
                    <a:gd name="connsiteX47" fmla="*/ 26360 w 50641"/>
                    <a:gd name="connsiteY47" fmla="*/ 40752 h 40752"/>
                    <a:gd name="connsiteX48" fmla="*/ 26360 w 50641"/>
                    <a:gd name="connsiteY48" fmla="*/ 40752 h 40752"/>
                    <a:gd name="connsiteX49" fmla="*/ 26360 w 50641"/>
                    <a:gd name="connsiteY49" fmla="*/ 40752 h 40752"/>
                    <a:gd name="connsiteX50" fmla="*/ 26360 w 50641"/>
                    <a:gd name="connsiteY50" fmla="*/ 40752 h 40752"/>
                    <a:gd name="connsiteX51" fmla="*/ 26360 w 50641"/>
                    <a:gd name="connsiteY51" fmla="*/ 40752 h 40752"/>
                    <a:gd name="connsiteX52" fmla="*/ 26360 w 50641"/>
                    <a:gd name="connsiteY52" fmla="*/ 40752 h 40752"/>
                    <a:gd name="connsiteX53" fmla="*/ 26360 w 50641"/>
                    <a:gd name="connsiteY53" fmla="*/ 40752 h 40752"/>
                    <a:gd name="connsiteX54" fmla="*/ 26360 w 50641"/>
                    <a:gd name="connsiteY54" fmla="*/ 40752 h 40752"/>
                    <a:gd name="connsiteX55" fmla="*/ 11169 w 50641"/>
                    <a:gd name="connsiteY55" fmla="*/ 30465 h 40752"/>
                    <a:gd name="connsiteX56" fmla="*/ 9614 w 50641"/>
                    <a:gd name="connsiteY56" fmla="*/ 33516 h 40752"/>
                    <a:gd name="connsiteX57" fmla="*/ 9494 w 50641"/>
                    <a:gd name="connsiteY57" fmla="*/ 33575 h 40752"/>
                    <a:gd name="connsiteX58" fmla="*/ 9375 w 50641"/>
                    <a:gd name="connsiteY58" fmla="*/ 33516 h 40752"/>
                    <a:gd name="connsiteX59" fmla="*/ 45 w 50641"/>
                    <a:gd name="connsiteY59" fmla="*/ 22870 h 40752"/>
                    <a:gd name="connsiteX60" fmla="*/ 45 w 50641"/>
                    <a:gd name="connsiteY60" fmla="*/ 22631 h 40752"/>
                    <a:gd name="connsiteX61" fmla="*/ 284 w 50641"/>
                    <a:gd name="connsiteY61" fmla="*/ 22631 h 40752"/>
                    <a:gd name="connsiteX62" fmla="*/ 11049 w 50641"/>
                    <a:gd name="connsiteY62" fmla="*/ 29927 h 40752"/>
                    <a:gd name="connsiteX63" fmla="*/ 17389 w 50641"/>
                    <a:gd name="connsiteY63" fmla="*/ 17308 h 40752"/>
                    <a:gd name="connsiteX64" fmla="*/ 10870 w 50641"/>
                    <a:gd name="connsiteY64" fmla="*/ 203 h 40752"/>
                    <a:gd name="connsiteX65" fmla="*/ 10989 w 50641"/>
                    <a:gd name="connsiteY65" fmla="*/ 23 h 40752"/>
                    <a:gd name="connsiteX66" fmla="*/ 11169 w 50641"/>
                    <a:gd name="connsiteY66" fmla="*/ 143 h 40752"/>
                    <a:gd name="connsiteX67" fmla="*/ 17568 w 50641"/>
                    <a:gd name="connsiteY67" fmla="*/ 16949 h 40752"/>
                    <a:gd name="connsiteX68" fmla="*/ 25224 w 50641"/>
                    <a:gd name="connsiteY68" fmla="*/ 1818 h 40752"/>
                    <a:gd name="connsiteX69" fmla="*/ 25403 w 50641"/>
                    <a:gd name="connsiteY69" fmla="*/ 1758 h 40752"/>
                    <a:gd name="connsiteX70" fmla="*/ 46276 w 50641"/>
                    <a:gd name="connsiteY70" fmla="*/ 10908 h 40752"/>
                    <a:gd name="connsiteX71" fmla="*/ 49446 w 50641"/>
                    <a:gd name="connsiteY71" fmla="*/ 6184 h 40752"/>
                    <a:gd name="connsiteX72" fmla="*/ 49685 w 50641"/>
                    <a:gd name="connsiteY72" fmla="*/ 6124 h 40752"/>
                    <a:gd name="connsiteX73" fmla="*/ 49745 w 50641"/>
                    <a:gd name="connsiteY73" fmla="*/ 6363 h 40752"/>
                    <a:gd name="connsiteX74" fmla="*/ 46575 w 50641"/>
                    <a:gd name="connsiteY74" fmla="*/ 11028 h 40752"/>
                    <a:gd name="connsiteX75" fmla="*/ 50522 w 50641"/>
                    <a:gd name="connsiteY75" fmla="*/ 12762 h 40752"/>
                    <a:gd name="connsiteX76" fmla="*/ 50642 w 50641"/>
                    <a:gd name="connsiteY76" fmla="*/ 12882 h 40752"/>
                    <a:gd name="connsiteX77" fmla="*/ 50642 w 50641"/>
                    <a:gd name="connsiteY77" fmla="*/ 12942 h 40752"/>
                    <a:gd name="connsiteX78" fmla="*/ 50582 w 50641"/>
                    <a:gd name="connsiteY78" fmla="*/ 13061 h 40752"/>
                    <a:gd name="connsiteX79" fmla="*/ 27975 w 50641"/>
                    <a:gd name="connsiteY79" fmla="*/ 38539 h 40752"/>
                    <a:gd name="connsiteX80" fmla="*/ 50163 w 50641"/>
                    <a:gd name="connsiteY80" fmla="*/ 13002 h 40752"/>
                    <a:gd name="connsiteX81" fmla="*/ 46336 w 50641"/>
                    <a:gd name="connsiteY81" fmla="*/ 11327 h 40752"/>
                    <a:gd name="connsiteX82" fmla="*/ 27975 w 50641"/>
                    <a:gd name="connsiteY82" fmla="*/ 38539 h 40752"/>
                    <a:gd name="connsiteX83" fmla="*/ 17688 w 50641"/>
                    <a:gd name="connsiteY83" fmla="*/ 17427 h 40752"/>
                    <a:gd name="connsiteX84" fmla="*/ 26360 w 50641"/>
                    <a:gd name="connsiteY84" fmla="*/ 40333 h 40752"/>
                    <a:gd name="connsiteX85" fmla="*/ 46037 w 50641"/>
                    <a:gd name="connsiteY85" fmla="*/ 11267 h 40752"/>
                    <a:gd name="connsiteX86" fmla="*/ 25343 w 50641"/>
                    <a:gd name="connsiteY86" fmla="*/ 2236 h 40752"/>
                    <a:gd name="connsiteX87" fmla="*/ 17688 w 50641"/>
                    <a:gd name="connsiteY87" fmla="*/ 17427 h 40752"/>
                    <a:gd name="connsiteX88" fmla="*/ 11229 w 50641"/>
                    <a:gd name="connsiteY88" fmla="*/ 30226 h 40752"/>
                    <a:gd name="connsiteX89" fmla="*/ 26001 w 50641"/>
                    <a:gd name="connsiteY89" fmla="*/ 40214 h 40752"/>
                    <a:gd name="connsiteX90" fmla="*/ 17449 w 50641"/>
                    <a:gd name="connsiteY90" fmla="*/ 17786 h 40752"/>
                    <a:gd name="connsiteX91" fmla="*/ 11229 w 50641"/>
                    <a:gd name="connsiteY91" fmla="*/ 30226 h 40752"/>
                    <a:gd name="connsiteX92" fmla="*/ 9375 w 50641"/>
                    <a:gd name="connsiteY92" fmla="*/ 33216 h 40752"/>
                    <a:gd name="connsiteX93" fmla="*/ 10810 w 50641"/>
                    <a:gd name="connsiteY93" fmla="*/ 30346 h 40752"/>
                    <a:gd name="connsiteX94" fmla="*/ 1062 w 50641"/>
                    <a:gd name="connsiteY94" fmla="*/ 23707 h 40752"/>
                    <a:gd name="connsiteX95" fmla="*/ 9375 w 50641"/>
                    <a:gd name="connsiteY95" fmla="*/ 33216 h 40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0641" h="40752">
                      <a:moveTo>
                        <a:pt x="50582" y="13061"/>
                      </a:moveTo>
                      <a:lnTo>
                        <a:pt x="26480" y="40752"/>
                      </a:lnTo>
                      <a:cubicBezTo>
                        <a:pt x="26480" y="40752"/>
                        <a:pt x="26480" y="40752"/>
                        <a:pt x="26480" y="40752"/>
                      </a:cubicBezTo>
                      <a:lnTo>
                        <a:pt x="26480" y="40752"/>
                      </a:lnTo>
                      <a:cubicBezTo>
                        <a:pt x="26480" y="40752"/>
                        <a:pt x="26480" y="40752"/>
                        <a:pt x="26480" y="40752"/>
                      </a:cubicBezTo>
                      <a:cubicBezTo>
                        <a:pt x="26480" y="40752"/>
                        <a:pt x="26480" y="40752"/>
                        <a:pt x="26480" y="40752"/>
                      </a:cubicBezTo>
                      <a:cubicBezTo>
                        <a:pt x="26480" y="40752"/>
                        <a:pt x="26480" y="40752"/>
                        <a:pt x="26480" y="40752"/>
                      </a:cubicBezTo>
                      <a:lnTo>
                        <a:pt x="26480" y="40752"/>
                      </a:lnTo>
                      <a:cubicBezTo>
                        <a:pt x="26480" y="40752"/>
                        <a:pt x="26480" y="40752"/>
                        <a:pt x="26480" y="40752"/>
                      </a:cubicBezTo>
                      <a:lnTo>
                        <a:pt x="26480" y="40752"/>
                      </a:lnTo>
                      <a:cubicBezTo>
                        <a:pt x="26480" y="40752"/>
                        <a:pt x="26480" y="40752"/>
                        <a:pt x="26480" y="40752"/>
                      </a:cubicBezTo>
                      <a:lnTo>
                        <a:pt x="26480" y="40752"/>
                      </a:lnTo>
                      <a:lnTo>
                        <a:pt x="26480" y="40752"/>
                      </a:lnTo>
                      <a:lnTo>
                        <a:pt x="26480" y="40752"/>
                      </a:lnTo>
                      <a:cubicBezTo>
                        <a:pt x="26480" y="40752"/>
                        <a:pt x="26480" y="40752"/>
                        <a:pt x="26480" y="40752"/>
                      </a:cubicBezTo>
                      <a:lnTo>
                        <a:pt x="26480" y="40752"/>
                      </a:lnTo>
                      <a:cubicBezTo>
                        <a:pt x="26480" y="40752"/>
                        <a:pt x="26480" y="40752"/>
                        <a:pt x="26480" y="40752"/>
                      </a:cubicBezTo>
                      <a:lnTo>
                        <a:pt x="26480" y="40752"/>
                      </a:lnTo>
                      <a:cubicBezTo>
                        <a:pt x="26480" y="40752"/>
                        <a:pt x="26480" y="40752"/>
                        <a:pt x="26480" y="40752"/>
                      </a:cubicBezTo>
                      <a:lnTo>
                        <a:pt x="26480" y="40752"/>
                      </a:lnTo>
                      <a:cubicBezTo>
                        <a:pt x="26480" y="40752"/>
                        <a:pt x="26480" y="40752"/>
                        <a:pt x="26480" y="40752"/>
                      </a:cubicBezTo>
                      <a:lnTo>
                        <a:pt x="26480" y="40752"/>
                      </a:lnTo>
                      <a:cubicBezTo>
                        <a:pt x="26480" y="40752"/>
                        <a:pt x="26420" y="40752"/>
                        <a:pt x="26420" y="40752"/>
                      </a:cubicBezTo>
                      <a:lnTo>
                        <a:pt x="26420" y="40752"/>
                      </a:lnTo>
                      <a:cubicBezTo>
                        <a:pt x="26420" y="40752"/>
                        <a:pt x="26420" y="40752"/>
                        <a:pt x="26420" y="40752"/>
                      </a:cubicBezTo>
                      <a:lnTo>
                        <a:pt x="26420" y="40752"/>
                      </a:lnTo>
                      <a:lnTo>
                        <a:pt x="26420" y="40752"/>
                      </a:lnTo>
                      <a:cubicBezTo>
                        <a:pt x="26420" y="40752"/>
                        <a:pt x="26420" y="40752"/>
                        <a:pt x="26420" y="40752"/>
                      </a:cubicBezTo>
                      <a:lnTo>
                        <a:pt x="26420" y="40752"/>
                      </a:lnTo>
                      <a:lnTo>
                        <a:pt x="26420" y="40752"/>
                      </a:lnTo>
                      <a:cubicBezTo>
                        <a:pt x="26420" y="40752"/>
                        <a:pt x="26420" y="40752"/>
                        <a:pt x="26420" y="40752"/>
                      </a:cubicBezTo>
                      <a:lnTo>
                        <a:pt x="26420" y="40752"/>
                      </a:lnTo>
                      <a:lnTo>
                        <a:pt x="26420" y="40752"/>
                      </a:lnTo>
                      <a:cubicBezTo>
                        <a:pt x="26420" y="40752"/>
                        <a:pt x="26360" y="40752"/>
                        <a:pt x="26360" y="40752"/>
                      </a:cubicBezTo>
                      <a:lnTo>
                        <a:pt x="26360" y="40752"/>
                      </a:lnTo>
                      <a:cubicBezTo>
                        <a:pt x="26360" y="40752"/>
                        <a:pt x="26360" y="40752"/>
                        <a:pt x="26360" y="40752"/>
                      </a:cubicBezTo>
                      <a:lnTo>
                        <a:pt x="26360" y="40752"/>
                      </a:lnTo>
                      <a:lnTo>
                        <a:pt x="26360" y="40752"/>
                      </a:lnTo>
                      <a:lnTo>
                        <a:pt x="26360" y="40752"/>
                      </a:lnTo>
                      <a:cubicBezTo>
                        <a:pt x="26360" y="40752"/>
                        <a:pt x="26360" y="40752"/>
                        <a:pt x="26360" y="40752"/>
                      </a:cubicBezTo>
                      <a:lnTo>
                        <a:pt x="26360" y="40752"/>
                      </a:lnTo>
                      <a:lnTo>
                        <a:pt x="26360" y="40752"/>
                      </a:lnTo>
                      <a:cubicBezTo>
                        <a:pt x="26360" y="40752"/>
                        <a:pt x="26360" y="40752"/>
                        <a:pt x="26360" y="40752"/>
                      </a:cubicBezTo>
                      <a:lnTo>
                        <a:pt x="26360" y="40752"/>
                      </a:lnTo>
                      <a:lnTo>
                        <a:pt x="26360" y="40752"/>
                      </a:lnTo>
                      <a:lnTo>
                        <a:pt x="26360" y="40752"/>
                      </a:lnTo>
                      <a:lnTo>
                        <a:pt x="26360" y="40752"/>
                      </a:lnTo>
                      <a:lnTo>
                        <a:pt x="26360" y="40752"/>
                      </a:lnTo>
                      <a:lnTo>
                        <a:pt x="26360" y="40752"/>
                      </a:lnTo>
                      <a:lnTo>
                        <a:pt x="26360" y="40752"/>
                      </a:lnTo>
                      <a:cubicBezTo>
                        <a:pt x="26360" y="40752"/>
                        <a:pt x="26360" y="40752"/>
                        <a:pt x="26360" y="40752"/>
                      </a:cubicBezTo>
                      <a:lnTo>
                        <a:pt x="26360" y="40752"/>
                      </a:lnTo>
                      <a:cubicBezTo>
                        <a:pt x="26360" y="40752"/>
                        <a:pt x="26360" y="40752"/>
                        <a:pt x="26360" y="40752"/>
                      </a:cubicBezTo>
                      <a:lnTo>
                        <a:pt x="26360" y="40752"/>
                      </a:lnTo>
                      <a:lnTo>
                        <a:pt x="26360" y="40752"/>
                      </a:lnTo>
                      <a:lnTo>
                        <a:pt x="11169" y="30465"/>
                      </a:lnTo>
                      <a:lnTo>
                        <a:pt x="9614" y="33516"/>
                      </a:lnTo>
                      <a:cubicBezTo>
                        <a:pt x="9614" y="33575"/>
                        <a:pt x="9554" y="33575"/>
                        <a:pt x="9494" y="33575"/>
                      </a:cubicBezTo>
                      <a:cubicBezTo>
                        <a:pt x="9435" y="33575"/>
                        <a:pt x="9375" y="33575"/>
                        <a:pt x="9375" y="33516"/>
                      </a:cubicBezTo>
                      <a:lnTo>
                        <a:pt x="45" y="22870"/>
                      </a:lnTo>
                      <a:cubicBezTo>
                        <a:pt x="-15" y="22810"/>
                        <a:pt x="-15" y="22750"/>
                        <a:pt x="45" y="22631"/>
                      </a:cubicBezTo>
                      <a:cubicBezTo>
                        <a:pt x="105" y="22571"/>
                        <a:pt x="164" y="22571"/>
                        <a:pt x="284" y="22631"/>
                      </a:cubicBezTo>
                      <a:lnTo>
                        <a:pt x="11049" y="29927"/>
                      </a:lnTo>
                      <a:lnTo>
                        <a:pt x="17389" y="17308"/>
                      </a:lnTo>
                      <a:lnTo>
                        <a:pt x="10870" y="203"/>
                      </a:lnTo>
                      <a:cubicBezTo>
                        <a:pt x="10810" y="143"/>
                        <a:pt x="10870" y="23"/>
                        <a:pt x="10989" y="23"/>
                      </a:cubicBezTo>
                      <a:cubicBezTo>
                        <a:pt x="11049" y="-36"/>
                        <a:pt x="11169" y="23"/>
                        <a:pt x="11169" y="143"/>
                      </a:cubicBezTo>
                      <a:lnTo>
                        <a:pt x="17568" y="16949"/>
                      </a:lnTo>
                      <a:lnTo>
                        <a:pt x="25224" y="1818"/>
                      </a:lnTo>
                      <a:cubicBezTo>
                        <a:pt x="25283" y="1758"/>
                        <a:pt x="25343" y="1698"/>
                        <a:pt x="25403" y="1758"/>
                      </a:cubicBezTo>
                      <a:lnTo>
                        <a:pt x="46276" y="10908"/>
                      </a:lnTo>
                      <a:lnTo>
                        <a:pt x="49446" y="6184"/>
                      </a:lnTo>
                      <a:cubicBezTo>
                        <a:pt x="49505" y="6124"/>
                        <a:pt x="49625" y="6064"/>
                        <a:pt x="49685" y="6124"/>
                      </a:cubicBezTo>
                      <a:cubicBezTo>
                        <a:pt x="49745" y="6184"/>
                        <a:pt x="49805" y="6303"/>
                        <a:pt x="49745" y="6363"/>
                      </a:cubicBezTo>
                      <a:lnTo>
                        <a:pt x="46575" y="11028"/>
                      </a:lnTo>
                      <a:lnTo>
                        <a:pt x="50522" y="12762"/>
                      </a:lnTo>
                      <a:cubicBezTo>
                        <a:pt x="50582" y="12762"/>
                        <a:pt x="50582" y="12822"/>
                        <a:pt x="50642" y="12882"/>
                      </a:cubicBezTo>
                      <a:cubicBezTo>
                        <a:pt x="50642" y="12882"/>
                        <a:pt x="50642" y="12942"/>
                        <a:pt x="50642" y="12942"/>
                      </a:cubicBezTo>
                      <a:cubicBezTo>
                        <a:pt x="50582" y="13002"/>
                        <a:pt x="50582" y="13061"/>
                        <a:pt x="50582" y="13061"/>
                      </a:cubicBezTo>
                      <a:close/>
                      <a:moveTo>
                        <a:pt x="27975" y="38539"/>
                      </a:moveTo>
                      <a:lnTo>
                        <a:pt x="50163" y="13002"/>
                      </a:lnTo>
                      <a:lnTo>
                        <a:pt x="46336" y="11327"/>
                      </a:lnTo>
                      <a:lnTo>
                        <a:pt x="27975" y="38539"/>
                      </a:lnTo>
                      <a:close/>
                      <a:moveTo>
                        <a:pt x="17688" y="17427"/>
                      </a:moveTo>
                      <a:lnTo>
                        <a:pt x="26360" y="40333"/>
                      </a:lnTo>
                      <a:lnTo>
                        <a:pt x="46037" y="11267"/>
                      </a:lnTo>
                      <a:lnTo>
                        <a:pt x="25343" y="2236"/>
                      </a:lnTo>
                      <a:lnTo>
                        <a:pt x="17688" y="17427"/>
                      </a:lnTo>
                      <a:close/>
                      <a:moveTo>
                        <a:pt x="11229" y="30226"/>
                      </a:moveTo>
                      <a:lnTo>
                        <a:pt x="26001" y="40214"/>
                      </a:lnTo>
                      <a:lnTo>
                        <a:pt x="17449" y="17786"/>
                      </a:lnTo>
                      <a:lnTo>
                        <a:pt x="11229" y="30226"/>
                      </a:lnTo>
                      <a:close/>
                      <a:moveTo>
                        <a:pt x="9375" y="33216"/>
                      </a:moveTo>
                      <a:lnTo>
                        <a:pt x="10810" y="30346"/>
                      </a:lnTo>
                      <a:lnTo>
                        <a:pt x="1062" y="23707"/>
                      </a:lnTo>
                      <a:lnTo>
                        <a:pt x="9375" y="33216"/>
                      </a:lnTo>
                      <a:close/>
                    </a:path>
                  </a:pathLst>
                </a:custGeom>
                <a:grpFill/>
                <a:ln w="6350" cap="flat">
                  <a:solidFill>
                    <a:schemeClr val="bg1">
                      <a:alpha val="40000"/>
                    </a:schemeClr>
                  </a:solidFill>
                  <a:prstDash val="solid"/>
                  <a:miter/>
                </a:ln>
              </p:spPr>
              <p:txBody>
                <a:bodyPr rtlCol="0" anchor="ctr"/>
                <a:lstStyle/>
                <a:p>
                  <a:endParaRPr lang="en-GB"/>
                </a:p>
              </p:txBody>
            </p:sp>
            <p:sp>
              <p:nvSpPr>
                <p:cNvPr id="8934" name="Vrije vorm: vorm 8933">
                  <a:extLst>
                    <a:ext uri="{FF2B5EF4-FFF2-40B4-BE49-F238E27FC236}">
                      <a16:creationId xmlns:a16="http://schemas.microsoft.com/office/drawing/2014/main" id="{1A23AEA5-0151-40C8-8CB5-9ECA681CFCB1}"/>
                    </a:ext>
                  </a:extLst>
                </p:cNvPr>
                <p:cNvSpPr/>
                <p:nvPr/>
              </p:nvSpPr>
              <p:spPr>
                <a:xfrm>
                  <a:off x="4633883" y="2647287"/>
                  <a:ext cx="50896" cy="13621"/>
                </a:xfrm>
                <a:custGeom>
                  <a:avLst/>
                  <a:gdLst>
                    <a:gd name="connsiteX0" fmla="*/ 50896 w 50896"/>
                    <a:gd name="connsiteY0" fmla="*/ 6340 h 13621"/>
                    <a:gd name="connsiteX1" fmla="*/ 50896 w 50896"/>
                    <a:gd name="connsiteY1" fmla="*/ 6220 h 13621"/>
                    <a:gd name="connsiteX2" fmla="*/ 50657 w 50896"/>
                    <a:gd name="connsiteY2" fmla="*/ 6160 h 13621"/>
                    <a:gd name="connsiteX3" fmla="*/ 33671 w 50896"/>
                    <a:gd name="connsiteY3" fmla="*/ 13337 h 13621"/>
                    <a:gd name="connsiteX4" fmla="*/ 19856 w 50896"/>
                    <a:gd name="connsiteY4" fmla="*/ 60 h 13621"/>
                    <a:gd name="connsiteX5" fmla="*/ 19677 w 50896"/>
                    <a:gd name="connsiteY5" fmla="*/ 0 h 13621"/>
                    <a:gd name="connsiteX6" fmla="*/ 120 w 50896"/>
                    <a:gd name="connsiteY6" fmla="*/ 7296 h 13621"/>
                    <a:gd name="connsiteX7" fmla="*/ 0 w 50896"/>
                    <a:gd name="connsiteY7" fmla="*/ 7476 h 13621"/>
                    <a:gd name="connsiteX8" fmla="*/ 180 w 50896"/>
                    <a:gd name="connsiteY8" fmla="*/ 7596 h 13621"/>
                    <a:gd name="connsiteX9" fmla="*/ 19617 w 50896"/>
                    <a:gd name="connsiteY9" fmla="*/ 299 h 13621"/>
                    <a:gd name="connsiteX10" fmla="*/ 33432 w 50896"/>
                    <a:gd name="connsiteY10" fmla="*/ 13576 h 13621"/>
                    <a:gd name="connsiteX11" fmla="*/ 33612 w 50896"/>
                    <a:gd name="connsiteY11" fmla="*/ 13576 h 13621"/>
                    <a:gd name="connsiteX12" fmla="*/ 50717 w 50896"/>
                    <a:gd name="connsiteY12" fmla="*/ 6340 h 13621"/>
                    <a:gd name="connsiteX13" fmla="*/ 50896 w 50896"/>
                    <a:gd name="connsiteY13" fmla="*/ 6340 h 1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96" h="13621">
                      <a:moveTo>
                        <a:pt x="50896" y="6340"/>
                      </a:moveTo>
                      <a:cubicBezTo>
                        <a:pt x="50896" y="6280"/>
                        <a:pt x="50896" y="6280"/>
                        <a:pt x="50896" y="6220"/>
                      </a:cubicBezTo>
                      <a:cubicBezTo>
                        <a:pt x="50836" y="6160"/>
                        <a:pt x="50777" y="6100"/>
                        <a:pt x="50657" y="6160"/>
                      </a:cubicBezTo>
                      <a:lnTo>
                        <a:pt x="33671" y="13337"/>
                      </a:lnTo>
                      <a:lnTo>
                        <a:pt x="19856" y="60"/>
                      </a:lnTo>
                      <a:cubicBezTo>
                        <a:pt x="19796" y="0"/>
                        <a:pt x="19737" y="0"/>
                        <a:pt x="19677" y="0"/>
                      </a:cubicBezTo>
                      <a:lnTo>
                        <a:pt x="120" y="7296"/>
                      </a:lnTo>
                      <a:cubicBezTo>
                        <a:pt x="60" y="7356"/>
                        <a:pt x="0" y="7416"/>
                        <a:pt x="0" y="7476"/>
                      </a:cubicBezTo>
                      <a:cubicBezTo>
                        <a:pt x="60" y="7536"/>
                        <a:pt x="120" y="7596"/>
                        <a:pt x="180" y="7596"/>
                      </a:cubicBezTo>
                      <a:lnTo>
                        <a:pt x="19617" y="299"/>
                      </a:lnTo>
                      <a:lnTo>
                        <a:pt x="33432" y="13576"/>
                      </a:lnTo>
                      <a:cubicBezTo>
                        <a:pt x="33492" y="13636"/>
                        <a:pt x="33552" y="13636"/>
                        <a:pt x="33612" y="13576"/>
                      </a:cubicBezTo>
                      <a:lnTo>
                        <a:pt x="50717" y="6340"/>
                      </a:lnTo>
                      <a:cubicBezTo>
                        <a:pt x="50896" y="6399"/>
                        <a:pt x="50896" y="6399"/>
                        <a:pt x="50896" y="634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35" name="Vrije vorm: vorm 8934">
                  <a:extLst>
                    <a:ext uri="{FF2B5EF4-FFF2-40B4-BE49-F238E27FC236}">
                      <a16:creationId xmlns:a16="http://schemas.microsoft.com/office/drawing/2014/main" id="{9B678779-F579-4FDB-97ED-7941AE2769A3}"/>
                    </a:ext>
                  </a:extLst>
                </p:cNvPr>
                <p:cNvSpPr/>
                <p:nvPr/>
              </p:nvSpPr>
              <p:spPr>
                <a:xfrm>
                  <a:off x="4677816" y="2608686"/>
                  <a:ext cx="12942" cy="5372"/>
                </a:xfrm>
                <a:custGeom>
                  <a:avLst/>
                  <a:gdLst>
                    <a:gd name="connsiteX0" fmla="*/ 12943 w 12942"/>
                    <a:gd name="connsiteY0" fmla="*/ 144 h 5372"/>
                    <a:gd name="connsiteX1" fmla="*/ 12943 w 12942"/>
                    <a:gd name="connsiteY1" fmla="*/ 84 h 5372"/>
                    <a:gd name="connsiteX2" fmla="*/ 12764 w 12942"/>
                    <a:gd name="connsiteY2" fmla="*/ 25 h 5372"/>
                    <a:gd name="connsiteX3" fmla="*/ 85 w 12942"/>
                    <a:gd name="connsiteY3" fmla="*/ 5108 h 5372"/>
                    <a:gd name="connsiteX4" fmla="*/ 25 w 12942"/>
                    <a:gd name="connsiteY4" fmla="*/ 5288 h 5372"/>
                    <a:gd name="connsiteX5" fmla="*/ 204 w 12942"/>
                    <a:gd name="connsiteY5" fmla="*/ 5348 h 5372"/>
                    <a:gd name="connsiteX6" fmla="*/ 12883 w 12942"/>
                    <a:gd name="connsiteY6" fmla="*/ 264 h 5372"/>
                    <a:gd name="connsiteX7" fmla="*/ 12943 w 12942"/>
                    <a:gd name="connsiteY7" fmla="*/ 144 h 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42" h="5372">
                      <a:moveTo>
                        <a:pt x="12943" y="144"/>
                      </a:moveTo>
                      <a:cubicBezTo>
                        <a:pt x="12943" y="144"/>
                        <a:pt x="12943" y="84"/>
                        <a:pt x="12943" y="84"/>
                      </a:cubicBezTo>
                      <a:cubicBezTo>
                        <a:pt x="12883" y="25"/>
                        <a:pt x="12824" y="-35"/>
                        <a:pt x="12764" y="25"/>
                      </a:cubicBezTo>
                      <a:lnTo>
                        <a:pt x="85" y="5108"/>
                      </a:lnTo>
                      <a:cubicBezTo>
                        <a:pt x="25" y="5108"/>
                        <a:pt x="-35" y="5228"/>
                        <a:pt x="25" y="5288"/>
                      </a:cubicBezTo>
                      <a:cubicBezTo>
                        <a:pt x="85" y="5348"/>
                        <a:pt x="144" y="5407"/>
                        <a:pt x="204" y="5348"/>
                      </a:cubicBezTo>
                      <a:lnTo>
                        <a:pt x="12883" y="264"/>
                      </a:lnTo>
                      <a:cubicBezTo>
                        <a:pt x="12883" y="264"/>
                        <a:pt x="12883" y="204"/>
                        <a:pt x="12943" y="14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36" name="Vrije vorm: vorm 8935">
                  <a:extLst>
                    <a:ext uri="{FF2B5EF4-FFF2-40B4-BE49-F238E27FC236}">
                      <a16:creationId xmlns:a16="http://schemas.microsoft.com/office/drawing/2014/main" id="{0870C4FB-6F53-4634-A3F5-0B74F70E48A6}"/>
                    </a:ext>
                  </a:extLst>
                </p:cNvPr>
                <p:cNvSpPr/>
                <p:nvPr/>
              </p:nvSpPr>
              <p:spPr>
                <a:xfrm>
                  <a:off x="4635617" y="2599501"/>
                  <a:ext cx="58013" cy="63874"/>
                </a:xfrm>
                <a:custGeom>
                  <a:avLst/>
                  <a:gdLst>
                    <a:gd name="connsiteX0" fmla="*/ 58013 w 58013"/>
                    <a:gd name="connsiteY0" fmla="*/ 25299 h 63874"/>
                    <a:gd name="connsiteX1" fmla="*/ 58013 w 58013"/>
                    <a:gd name="connsiteY1" fmla="*/ 25179 h 63874"/>
                    <a:gd name="connsiteX2" fmla="*/ 53169 w 58013"/>
                    <a:gd name="connsiteY2" fmla="*/ 18241 h 63874"/>
                    <a:gd name="connsiteX3" fmla="*/ 52929 w 58013"/>
                    <a:gd name="connsiteY3" fmla="*/ 18181 h 63874"/>
                    <a:gd name="connsiteX4" fmla="*/ 52869 w 58013"/>
                    <a:gd name="connsiteY4" fmla="*/ 18421 h 63874"/>
                    <a:gd name="connsiteX5" fmla="*/ 57654 w 58013"/>
                    <a:gd name="connsiteY5" fmla="*/ 25239 h 63874"/>
                    <a:gd name="connsiteX6" fmla="*/ 52630 w 58013"/>
                    <a:gd name="connsiteY6" fmla="*/ 36423 h 63874"/>
                    <a:gd name="connsiteX7" fmla="*/ 52630 w 58013"/>
                    <a:gd name="connsiteY7" fmla="*/ 36542 h 63874"/>
                    <a:gd name="connsiteX8" fmla="*/ 56099 w 58013"/>
                    <a:gd name="connsiteY8" fmla="*/ 48982 h 63874"/>
                    <a:gd name="connsiteX9" fmla="*/ 47008 w 58013"/>
                    <a:gd name="connsiteY9" fmla="*/ 63396 h 63874"/>
                    <a:gd name="connsiteX10" fmla="*/ 33013 w 58013"/>
                    <a:gd name="connsiteY10" fmla="*/ 51016 h 63874"/>
                    <a:gd name="connsiteX11" fmla="*/ 32834 w 58013"/>
                    <a:gd name="connsiteY11" fmla="*/ 50956 h 63874"/>
                    <a:gd name="connsiteX12" fmla="*/ 14892 w 58013"/>
                    <a:gd name="connsiteY12" fmla="*/ 58073 h 63874"/>
                    <a:gd name="connsiteX13" fmla="*/ 359 w 58013"/>
                    <a:gd name="connsiteY13" fmla="*/ 44317 h 63874"/>
                    <a:gd name="connsiteX14" fmla="*/ 6997 w 58013"/>
                    <a:gd name="connsiteY14" fmla="*/ 29844 h 63874"/>
                    <a:gd name="connsiteX15" fmla="*/ 35286 w 58013"/>
                    <a:gd name="connsiteY15" fmla="*/ 27810 h 63874"/>
                    <a:gd name="connsiteX16" fmla="*/ 35406 w 58013"/>
                    <a:gd name="connsiteY16" fmla="*/ 27751 h 63874"/>
                    <a:gd name="connsiteX17" fmla="*/ 42403 w 58013"/>
                    <a:gd name="connsiteY17" fmla="*/ 14414 h 63874"/>
                    <a:gd name="connsiteX18" fmla="*/ 42403 w 58013"/>
                    <a:gd name="connsiteY18" fmla="*/ 14234 h 63874"/>
                    <a:gd name="connsiteX19" fmla="*/ 31459 w 58013"/>
                    <a:gd name="connsiteY19" fmla="*/ 60 h 63874"/>
                    <a:gd name="connsiteX20" fmla="*/ 31339 w 58013"/>
                    <a:gd name="connsiteY20" fmla="*/ 0 h 63874"/>
                    <a:gd name="connsiteX21" fmla="*/ 6280 w 58013"/>
                    <a:gd name="connsiteY21" fmla="*/ 299 h 63874"/>
                    <a:gd name="connsiteX22" fmla="*/ 6100 w 58013"/>
                    <a:gd name="connsiteY22" fmla="*/ 478 h 63874"/>
                    <a:gd name="connsiteX23" fmla="*/ 6280 w 58013"/>
                    <a:gd name="connsiteY23" fmla="*/ 658 h 63874"/>
                    <a:gd name="connsiteX24" fmla="*/ 31279 w 58013"/>
                    <a:gd name="connsiteY24" fmla="*/ 359 h 63874"/>
                    <a:gd name="connsiteX25" fmla="*/ 42104 w 58013"/>
                    <a:gd name="connsiteY25" fmla="*/ 14354 h 63874"/>
                    <a:gd name="connsiteX26" fmla="*/ 35227 w 58013"/>
                    <a:gd name="connsiteY26" fmla="*/ 27511 h 63874"/>
                    <a:gd name="connsiteX27" fmla="*/ 6878 w 58013"/>
                    <a:gd name="connsiteY27" fmla="*/ 29545 h 63874"/>
                    <a:gd name="connsiteX28" fmla="*/ 6758 w 58013"/>
                    <a:gd name="connsiteY28" fmla="*/ 29664 h 63874"/>
                    <a:gd name="connsiteX29" fmla="*/ 0 w 58013"/>
                    <a:gd name="connsiteY29" fmla="*/ 44317 h 63874"/>
                    <a:gd name="connsiteX30" fmla="*/ 60 w 58013"/>
                    <a:gd name="connsiteY30" fmla="*/ 44497 h 63874"/>
                    <a:gd name="connsiteX31" fmla="*/ 14772 w 58013"/>
                    <a:gd name="connsiteY31" fmla="*/ 58432 h 63874"/>
                    <a:gd name="connsiteX32" fmla="*/ 14952 w 58013"/>
                    <a:gd name="connsiteY32" fmla="*/ 58491 h 63874"/>
                    <a:gd name="connsiteX33" fmla="*/ 32894 w 58013"/>
                    <a:gd name="connsiteY33" fmla="*/ 51374 h 63874"/>
                    <a:gd name="connsiteX34" fmla="*/ 46949 w 58013"/>
                    <a:gd name="connsiteY34" fmla="*/ 63814 h 63874"/>
                    <a:gd name="connsiteX35" fmla="*/ 47068 w 58013"/>
                    <a:gd name="connsiteY35" fmla="*/ 63874 h 63874"/>
                    <a:gd name="connsiteX36" fmla="*/ 47188 w 58013"/>
                    <a:gd name="connsiteY36" fmla="*/ 63814 h 63874"/>
                    <a:gd name="connsiteX37" fmla="*/ 56398 w 58013"/>
                    <a:gd name="connsiteY37" fmla="*/ 49162 h 63874"/>
                    <a:gd name="connsiteX38" fmla="*/ 56398 w 58013"/>
                    <a:gd name="connsiteY38" fmla="*/ 49042 h 63874"/>
                    <a:gd name="connsiteX39" fmla="*/ 52929 w 58013"/>
                    <a:gd name="connsiteY39" fmla="*/ 36602 h 63874"/>
                    <a:gd name="connsiteX40" fmla="*/ 57953 w 58013"/>
                    <a:gd name="connsiteY40" fmla="*/ 25418 h 63874"/>
                    <a:gd name="connsiteX41" fmla="*/ 58013 w 58013"/>
                    <a:gd name="connsiteY41" fmla="*/ 25299 h 6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013" h="63874">
                      <a:moveTo>
                        <a:pt x="58013" y="25299"/>
                      </a:moveTo>
                      <a:cubicBezTo>
                        <a:pt x="58013" y="25239"/>
                        <a:pt x="58013" y="25239"/>
                        <a:pt x="58013" y="25179"/>
                      </a:cubicBezTo>
                      <a:lnTo>
                        <a:pt x="53169" y="18241"/>
                      </a:lnTo>
                      <a:cubicBezTo>
                        <a:pt x="53109" y="18181"/>
                        <a:pt x="52989" y="18122"/>
                        <a:pt x="52929" y="18181"/>
                      </a:cubicBezTo>
                      <a:cubicBezTo>
                        <a:pt x="52869" y="18241"/>
                        <a:pt x="52810" y="18361"/>
                        <a:pt x="52869" y="18421"/>
                      </a:cubicBezTo>
                      <a:lnTo>
                        <a:pt x="57654" y="25239"/>
                      </a:lnTo>
                      <a:lnTo>
                        <a:pt x="52630" y="36423"/>
                      </a:lnTo>
                      <a:cubicBezTo>
                        <a:pt x="52570" y="36482"/>
                        <a:pt x="52570" y="36542"/>
                        <a:pt x="52630" y="36542"/>
                      </a:cubicBezTo>
                      <a:lnTo>
                        <a:pt x="56099" y="48982"/>
                      </a:lnTo>
                      <a:lnTo>
                        <a:pt x="47008" y="63396"/>
                      </a:lnTo>
                      <a:lnTo>
                        <a:pt x="33013" y="51016"/>
                      </a:lnTo>
                      <a:cubicBezTo>
                        <a:pt x="32954" y="50956"/>
                        <a:pt x="32894" y="50956"/>
                        <a:pt x="32834" y="50956"/>
                      </a:cubicBezTo>
                      <a:lnTo>
                        <a:pt x="14892" y="58073"/>
                      </a:lnTo>
                      <a:lnTo>
                        <a:pt x="359" y="44317"/>
                      </a:lnTo>
                      <a:lnTo>
                        <a:pt x="6997" y="29844"/>
                      </a:lnTo>
                      <a:lnTo>
                        <a:pt x="35286" y="27810"/>
                      </a:lnTo>
                      <a:cubicBezTo>
                        <a:pt x="35346" y="27810"/>
                        <a:pt x="35406" y="27751"/>
                        <a:pt x="35406" y="27751"/>
                      </a:cubicBezTo>
                      <a:lnTo>
                        <a:pt x="42403" y="14414"/>
                      </a:lnTo>
                      <a:cubicBezTo>
                        <a:pt x="42403" y="14354"/>
                        <a:pt x="42403" y="14294"/>
                        <a:pt x="42403" y="14234"/>
                      </a:cubicBezTo>
                      <a:lnTo>
                        <a:pt x="31459" y="60"/>
                      </a:lnTo>
                      <a:cubicBezTo>
                        <a:pt x="31399" y="0"/>
                        <a:pt x="31399" y="0"/>
                        <a:pt x="31339" y="0"/>
                      </a:cubicBezTo>
                      <a:lnTo>
                        <a:pt x="6280" y="299"/>
                      </a:lnTo>
                      <a:cubicBezTo>
                        <a:pt x="6220" y="299"/>
                        <a:pt x="6100" y="359"/>
                        <a:pt x="6100" y="478"/>
                      </a:cubicBezTo>
                      <a:cubicBezTo>
                        <a:pt x="6100" y="538"/>
                        <a:pt x="6160" y="658"/>
                        <a:pt x="6280" y="658"/>
                      </a:cubicBezTo>
                      <a:lnTo>
                        <a:pt x="31279" y="359"/>
                      </a:lnTo>
                      <a:lnTo>
                        <a:pt x="42104" y="14354"/>
                      </a:lnTo>
                      <a:lnTo>
                        <a:pt x="35227" y="27511"/>
                      </a:lnTo>
                      <a:lnTo>
                        <a:pt x="6878" y="29545"/>
                      </a:lnTo>
                      <a:cubicBezTo>
                        <a:pt x="6818" y="29545"/>
                        <a:pt x="6758" y="29605"/>
                        <a:pt x="6758" y="29664"/>
                      </a:cubicBezTo>
                      <a:lnTo>
                        <a:pt x="0" y="44317"/>
                      </a:lnTo>
                      <a:cubicBezTo>
                        <a:pt x="0" y="44377"/>
                        <a:pt x="0" y="44437"/>
                        <a:pt x="60" y="44497"/>
                      </a:cubicBezTo>
                      <a:lnTo>
                        <a:pt x="14772" y="58432"/>
                      </a:lnTo>
                      <a:cubicBezTo>
                        <a:pt x="14832" y="58491"/>
                        <a:pt x="14892" y="58491"/>
                        <a:pt x="14952" y="58491"/>
                      </a:cubicBezTo>
                      <a:lnTo>
                        <a:pt x="32894" y="51374"/>
                      </a:lnTo>
                      <a:lnTo>
                        <a:pt x="46949" y="63814"/>
                      </a:lnTo>
                      <a:cubicBezTo>
                        <a:pt x="47008" y="63874"/>
                        <a:pt x="47008" y="63874"/>
                        <a:pt x="47068" y="63874"/>
                      </a:cubicBezTo>
                      <a:cubicBezTo>
                        <a:pt x="47128" y="63874"/>
                        <a:pt x="47188" y="63814"/>
                        <a:pt x="47188" y="63814"/>
                      </a:cubicBezTo>
                      <a:lnTo>
                        <a:pt x="56398" y="49162"/>
                      </a:lnTo>
                      <a:cubicBezTo>
                        <a:pt x="56398" y="49102"/>
                        <a:pt x="56458" y="49102"/>
                        <a:pt x="56398" y="49042"/>
                      </a:cubicBezTo>
                      <a:lnTo>
                        <a:pt x="52929" y="36602"/>
                      </a:lnTo>
                      <a:lnTo>
                        <a:pt x="57953" y="25418"/>
                      </a:lnTo>
                      <a:cubicBezTo>
                        <a:pt x="57953" y="25358"/>
                        <a:pt x="58013" y="25358"/>
                        <a:pt x="58013" y="2529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37" name="Vrije vorm: vorm 8936">
                  <a:extLst>
                    <a:ext uri="{FF2B5EF4-FFF2-40B4-BE49-F238E27FC236}">
                      <a16:creationId xmlns:a16="http://schemas.microsoft.com/office/drawing/2014/main" id="{E496DB6D-05BC-41A8-85AC-835A057DB7E5}"/>
                    </a:ext>
                  </a:extLst>
                </p:cNvPr>
                <p:cNvSpPr/>
                <p:nvPr/>
              </p:nvSpPr>
              <p:spPr>
                <a:xfrm>
                  <a:off x="4628296" y="2654703"/>
                  <a:ext cx="45059" cy="58431"/>
                </a:xfrm>
                <a:custGeom>
                  <a:avLst/>
                  <a:gdLst>
                    <a:gd name="connsiteX0" fmla="*/ 44880 w 45059"/>
                    <a:gd name="connsiteY0" fmla="*/ 38396 h 58431"/>
                    <a:gd name="connsiteX1" fmla="*/ 39857 w 45059"/>
                    <a:gd name="connsiteY1" fmla="*/ 40549 h 58431"/>
                    <a:gd name="connsiteX2" fmla="*/ 42966 w 45059"/>
                    <a:gd name="connsiteY2" fmla="*/ 47248 h 58431"/>
                    <a:gd name="connsiteX3" fmla="*/ 42907 w 45059"/>
                    <a:gd name="connsiteY3" fmla="*/ 47427 h 58431"/>
                    <a:gd name="connsiteX4" fmla="*/ 42727 w 45059"/>
                    <a:gd name="connsiteY4" fmla="*/ 47427 h 58431"/>
                    <a:gd name="connsiteX5" fmla="*/ 36567 w 45059"/>
                    <a:gd name="connsiteY5" fmla="*/ 41985 h 58431"/>
                    <a:gd name="connsiteX6" fmla="*/ 23469 w 45059"/>
                    <a:gd name="connsiteY6" fmla="*/ 47606 h 58431"/>
                    <a:gd name="connsiteX7" fmla="*/ 23350 w 45059"/>
                    <a:gd name="connsiteY7" fmla="*/ 47606 h 58431"/>
                    <a:gd name="connsiteX8" fmla="*/ 14498 w 45059"/>
                    <a:gd name="connsiteY8" fmla="*/ 43958 h 58431"/>
                    <a:gd name="connsiteX9" fmla="*/ 4809 w 45059"/>
                    <a:gd name="connsiteY9" fmla="*/ 47008 h 58431"/>
                    <a:gd name="connsiteX10" fmla="*/ 1042 w 45059"/>
                    <a:gd name="connsiteY10" fmla="*/ 58312 h 58431"/>
                    <a:gd name="connsiteX11" fmla="*/ 862 w 45059"/>
                    <a:gd name="connsiteY11" fmla="*/ 58432 h 58431"/>
                    <a:gd name="connsiteX12" fmla="*/ 742 w 45059"/>
                    <a:gd name="connsiteY12" fmla="*/ 58252 h 58431"/>
                    <a:gd name="connsiteX13" fmla="*/ 4570 w 45059"/>
                    <a:gd name="connsiteY13" fmla="*/ 46889 h 58431"/>
                    <a:gd name="connsiteX14" fmla="*/ 4690 w 45059"/>
                    <a:gd name="connsiteY14" fmla="*/ 46769 h 58431"/>
                    <a:gd name="connsiteX15" fmla="*/ 14080 w 45059"/>
                    <a:gd name="connsiteY15" fmla="*/ 43779 h 58431"/>
                    <a:gd name="connsiteX16" fmla="*/ 85 w 45059"/>
                    <a:gd name="connsiteY16" fmla="*/ 38037 h 58431"/>
                    <a:gd name="connsiteX17" fmla="*/ 25 w 45059"/>
                    <a:gd name="connsiteY17" fmla="*/ 37798 h 58431"/>
                    <a:gd name="connsiteX18" fmla="*/ 264 w 45059"/>
                    <a:gd name="connsiteY18" fmla="*/ 37738 h 58431"/>
                    <a:gd name="connsiteX19" fmla="*/ 14558 w 45059"/>
                    <a:gd name="connsiteY19" fmla="*/ 43659 h 58431"/>
                    <a:gd name="connsiteX20" fmla="*/ 32441 w 45059"/>
                    <a:gd name="connsiteY20" fmla="*/ 37977 h 58431"/>
                    <a:gd name="connsiteX21" fmla="*/ 32620 w 45059"/>
                    <a:gd name="connsiteY21" fmla="*/ 38037 h 58431"/>
                    <a:gd name="connsiteX22" fmla="*/ 36687 w 45059"/>
                    <a:gd name="connsiteY22" fmla="*/ 41686 h 58431"/>
                    <a:gd name="connsiteX23" fmla="*/ 39498 w 45059"/>
                    <a:gd name="connsiteY23" fmla="*/ 40489 h 58431"/>
                    <a:gd name="connsiteX24" fmla="*/ 37105 w 45059"/>
                    <a:gd name="connsiteY24" fmla="*/ 35346 h 58431"/>
                    <a:gd name="connsiteX25" fmla="*/ 20598 w 45059"/>
                    <a:gd name="connsiteY25" fmla="*/ 28050 h 58431"/>
                    <a:gd name="connsiteX26" fmla="*/ 16173 w 45059"/>
                    <a:gd name="connsiteY26" fmla="*/ 19856 h 58431"/>
                    <a:gd name="connsiteX27" fmla="*/ 8996 w 45059"/>
                    <a:gd name="connsiteY27" fmla="*/ 16746 h 58431"/>
                    <a:gd name="connsiteX28" fmla="*/ 8877 w 45059"/>
                    <a:gd name="connsiteY28" fmla="*/ 16626 h 58431"/>
                    <a:gd name="connsiteX29" fmla="*/ 5647 w 45059"/>
                    <a:gd name="connsiteY29" fmla="*/ 179 h 58431"/>
                    <a:gd name="connsiteX30" fmla="*/ 5766 w 45059"/>
                    <a:gd name="connsiteY30" fmla="*/ 0 h 58431"/>
                    <a:gd name="connsiteX31" fmla="*/ 5946 w 45059"/>
                    <a:gd name="connsiteY31" fmla="*/ 60 h 58431"/>
                    <a:gd name="connsiteX32" fmla="*/ 16412 w 45059"/>
                    <a:gd name="connsiteY32" fmla="*/ 19617 h 58431"/>
                    <a:gd name="connsiteX33" fmla="*/ 33577 w 45059"/>
                    <a:gd name="connsiteY33" fmla="*/ 27093 h 58431"/>
                    <a:gd name="connsiteX34" fmla="*/ 33636 w 45059"/>
                    <a:gd name="connsiteY34" fmla="*/ 27152 h 58431"/>
                    <a:gd name="connsiteX35" fmla="*/ 37344 w 45059"/>
                    <a:gd name="connsiteY35" fmla="*/ 35107 h 58431"/>
                    <a:gd name="connsiteX36" fmla="*/ 44940 w 45059"/>
                    <a:gd name="connsiteY36" fmla="*/ 38217 h 58431"/>
                    <a:gd name="connsiteX37" fmla="*/ 45060 w 45059"/>
                    <a:gd name="connsiteY37" fmla="*/ 38336 h 58431"/>
                    <a:gd name="connsiteX38" fmla="*/ 45060 w 45059"/>
                    <a:gd name="connsiteY38" fmla="*/ 38396 h 58431"/>
                    <a:gd name="connsiteX39" fmla="*/ 44880 w 45059"/>
                    <a:gd name="connsiteY39" fmla="*/ 38396 h 58431"/>
                    <a:gd name="connsiteX40" fmla="*/ 39737 w 45059"/>
                    <a:gd name="connsiteY40" fmla="*/ 40250 h 58431"/>
                    <a:gd name="connsiteX41" fmla="*/ 44402 w 45059"/>
                    <a:gd name="connsiteY41" fmla="*/ 38277 h 58431"/>
                    <a:gd name="connsiteX42" fmla="*/ 37524 w 45059"/>
                    <a:gd name="connsiteY42" fmla="*/ 35466 h 58431"/>
                    <a:gd name="connsiteX43" fmla="*/ 39737 w 45059"/>
                    <a:gd name="connsiteY43" fmla="*/ 40250 h 58431"/>
                    <a:gd name="connsiteX44" fmla="*/ 36926 w 45059"/>
                    <a:gd name="connsiteY44" fmla="*/ 41865 h 58431"/>
                    <a:gd name="connsiteX45" fmla="*/ 42368 w 45059"/>
                    <a:gd name="connsiteY45" fmla="*/ 46709 h 58431"/>
                    <a:gd name="connsiteX46" fmla="*/ 39617 w 45059"/>
                    <a:gd name="connsiteY46" fmla="*/ 40729 h 58431"/>
                    <a:gd name="connsiteX47" fmla="*/ 36926 w 45059"/>
                    <a:gd name="connsiteY47" fmla="*/ 41865 h 58431"/>
                    <a:gd name="connsiteX48" fmla="*/ 14977 w 45059"/>
                    <a:gd name="connsiteY48" fmla="*/ 43839 h 58431"/>
                    <a:gd name="connsiteX49" fmla="*/ 23410 w 45059"/>
                    <a:gd name="connsiteY49" fmla="*/ 47308 h 58431"/>
                    <a:gd name="connsiteX50" fmla="*/ 36268 w 45059"/>
                    <a:gd name="connsiteY50" fmla="*/ 41745 h 58431"/>
                    <a:gd name="connsiteX51" fmla="*/ 32381 w 45059"/>
                    <a:gd name="connsiteY51" fmla="*/ 38277 h 58431"/>
                    <a:gd name="connsiteX52" fmla="*/ 14977 w 45059"/>
                    <a:gd name="connsiteY52" fmla="*/ 43839 h 58431"/>
                    <a:gd name="connsiteX53" fmla="*/ 16651 w 45059"/>
                    <a:gd name="connsiteY53" fmla="*/ 20035 h 58431"/>
                    <a:gd name="connsiteX54" fmla="*/ 20838 w 45059"/>
                    <a:gd name="connsiteY54" fmla="*/ 27810 h 58431"/>
                    <a:gd name="connsiteX55" fmla="*/ 36866 w 45059"/>
                    <a:gd name="connsiteY55" fmla="*/ 34868 h 58431"/>
                    <a:gd name="connsiteX56" fmla="*/ 33337 w 45059"/>
                    <a:gd name="connsiteY56" fmla="*/ 27332 h 58431"/>
                    <a:gd name="connsiteX57" fmla="*/ 16651 w 45059"/>
                    <a:gd name="connsiteY57" fmla="*/ 20035 h 58431"/>
                    <a:gd name="connsiteX58" fmla="*/ 9175 w 45059"/>
                    <a:gd name="connsiteY58" fmla="*/ 16447 h 58431"/>
                    <a:gd name="connsiteX59" fmla="*/ 15874 w 45059"/>
                    <a:gd name="connsiteY59" fmla="*/ 19377 h 58431"/>
                    <a:gd name="connsiteX60" fmla="*/ 6125 w 45059"/>
                    <a:gd name="connsiteY60" fmla="*/ 1136 h 58431"/>
                    <a:gd name="connsiteX61" fmla="*/ 9175 w 45059"/>
                    <a:gd name="connsiteY61" fmla="*/ 16447 h 5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059" h="58431">
                      <a:moveTo>
                        <a:pt x="44880" y="38396"/>
                      </a:moveTo>
                      <a:lnTo>
                        <a:pt x="39857" y="40549"/>
                      </a:lnTo>
                      <a:lnTo>
                        <a:pt x="42966" y="47248"/>
                      </a:lnTo>
                      <a:cubicBezTo>
                        <a:pt x="43026" y="47308"/>
                        <a:pt x="42966" y="47427"/>
                        <a:pt x="42907" y="47427"/>
                      </a:cubicBezTo>
                      <a:cubicBezTo>
                        <a:pt x="42847" y="47487"/>
                        <a:pt x="42787" y="47487"/>
                        <a:pt x="42727" y="47427"/>
                      </a:cubicBezTo>
                      <a:lnTo>
                        <a:pt x="36567" y="41985"/>
                      </a:lnTo>
                      <a:lnTo>
                        <a:pt x="23469" y="47606"/>
                      </a:lnTo>
                      <a:cubicBezTo>
                        <a:pt x="23410" y="47606"/>
                        <a:pt x="23410" y="47606"/>
                        <a:pt x="23350" y="47606"/>
                      </a:cubicBezTo>
                      <a:lnTo>
                        <a:pt x="14498" y="43958"/>
                      </a:lnTo>
                      <a:lnTo>
                        <a:pt x="4809" y="47008"/>
                      </a:lnTo>
                      <a:lnTo>
                        <a:pt x="1042" y="58312"/>
                      </a:lnTo>
                      <a:cubicBezTo>
                        <a:pt x="1042" y="58372"/>
                        <a:pt x="922" y="58432"/>
                        <a:pt x="862" y="58432"/>
                      </a:cubicBezTo>
                      <a:cubicBezTo>
                        <a:pt x="802" y="58432"/>
                        <a:pt x="742" y="58312"/>
                        <a:pt x="742" y="58252"/>
                      </a:cubicBezTo>
                      <a:lnTo>
                        <a:pt x="4570" y="46889"/>
                      </a:lnTo>
                      <a:cubicBezTo>
                        <a:pt x="4570" y="46829"/>
                        <a:pt x="4630" y="46829"/>
                        <a:pt x="4690" y="46769"/>
                      </a:cubicBezTo>
                      <a:lnTo>
                        <a:pt x="14080" y="43779"/>
                      </a:lnTo>
                      <a:lnTo>
                        <a:pt x="85" y="38037"/>
                      </a:lnTo>
                      <a:cubicBezTo>
                        <a:pt x="25" y="37977"/>
                        <a:pt x="-35" y="37918"/>
                        <a:pt x="25" y="37798"/>
                      </a:cubicBezTo>
                      <a:cubicBezTo>
                        <a:pt x="85" y="37738"/>
                        <a:pt x="145" y="37678"/>
                        <a:pt x="264" y="37738"/>
                      </a:cubicBezTo>
                      <a:lnTo>
                        <a:pt x="14558" y="43659"/>
                      </a:lnTo>
                      <a:lnTo>
                        <a:pt x="32441" y="37977"/>
                      </a:lnTo>
                      <a:cubicBezTo>
                        <a:pt x="32500" y="37977"/>
                        <a:pt x="32560" y="37977"/>
                        <a:pt x="32620" y="38037"/>
                      </a:cubicBezTo>
                      <a:lnTo>
                        <a:pt x="36687" y="41686"/>
                      </a:lnTo>
                      <a:lnTo>
                        <a:pt x="39498" y="40489"/>
                      </a:lnTo>
                      <a:lnTo>
                        <a:pt x="37105" y="35346"/>
                      </a:lnTo>
                      <a:cubicBezTo>
                        <a:pt x="30108" y="32475"/>
                        <a:pt x="20957" y="28588"/>
                        <a:pt x="20598" y="28050"/>
                      </a:cubicBezTo>
                      <a:cubicBezTo>
                        <a:pt x="20419" y="27750"/>
                        <a:pt x="18565" y="24282"/>
                        <a:pt x="16173" y="19856"/>
                      </a:cubicBezTo>
                      <a:lnTo>
                        <a:pt x="8996" y="16746"/>
                      </a:lnTo>
                      <a:cubicBezTo>
                        <a:pt x="8936" y="16746"/>
                        <a:pt x="8936" y="16686"/>
                        <a:pt x="8877" y="16626"/>
                      </a:cubicBezTo>
                      <a:lnTo>
                        <a:pt x="5647" y="179"/>
                      </a:lnTo>
                      <a:cubicBezTo>
                        <a:pt x="5647" y="120"/>
                        <a:pt x="5647" y="0"/>
                        <a:pt x="5766" y="0"/>
                      </a:cubicBezTo>
                      <a:cubicBezTo>
                        <a:pt x="5826" y="0"/>
                        <a:pt x="5946" y="0"/>
                        <a:pt x="5946" y="60"/>
                      </a:cubicBezTo>
                      <a:cubicBezTo>
                        <a:pt x="6065" y="239"/>
                        <a:pt x="12046" y="11483"/>
                        <a:pt x="16412" y="19617"/>
                      </a:cubicBezTo>
                      <a:lnTo>
                        <a:pt x="33577" y="27093"/>
                      </a:lnTo>
                      <a:cubicBezTo>
                        <a:pt x="33636" y="27093"/>
                        <a:pt x="33636" y="27152"/>
                        <a:pt x="33636" y="27152"/>
                      </a:cubicBezTo>
                      <a:lnTo>
                        <a:pt x="37344" y="35107"/>
                      </a:lnTo>
                      <a:cubicBezTo>
                        <a:pt x="39976" y="36183"/>
                        <a:pt x="42608" y="37260"/>
                        <a:pt x="44940" y="38217"/>
                      </a:cubicBezTo>
                      <a:cubicBezTo>
                        <a:pt x="45000" y="38217"/>
                        <a:pt x="45060" y="38277"/>
                        <a:pt x="45060" y="38336"/>
                      </a:cubicBezTo>
                      <a:cubicBezTo>
                        <a:pt x="45060" y="38336"/>
                        <a:pt x="45060" y="38336"/>
                        <a:pt x="45060" y="38396"/>
                      </a:cubicBezTo>
                      <a:cubicBezTo>
                        <a:pt x="45000" y="38336"/>
                        <a:pt x="44940" y="38396"/>
                        <a:pt x="44880" y="38396"/>
                      </a:cubicBezTo>
                      <a:close/>
                      <a:moveTo>
                        <a:pt x="39737" y="40250"/>
                      </a:moveTo>
                      <a:lnTo>
                        <a:pt x="44402" y="38277"/>
                      </a:lnTo>
                      <a:cubicBezTo>
                        <a:pt x="43266" y="37798"/>
                        <a:pt x="40634" y="36722"/>
                        <a:pt x="37524" y="35466"/>
                      </a:cubicBezTo>
                      <a:lnTo>
                        <a:pt x="39737" y="40250"/>
                      </a:lnTo>
                      <a:close/>
                      <a:moveTo>
                        <a:pt x="36926" y="41865"/>
                      </a:moveTo>
                      <a:lnTo>
                        <a:pt x="42368" y="46709"/>
                      </a:lnTo>
                      <a:lnTo>
                        <a:pt x="39617" y="40729"/>
                      </a:lnTo>
                      <a:lnTo>
                        <a:pt x="36926" y="41865"/>
                      </a:lnTo>
                      <a:close/>
                      <a:moveTo>
                        <a:pt x="14977" y="43839"/>
                      </a:moveTo>
                      <a:lnTo>
                        <a:pt x="23410" y="47308"/>
                      </a:lnTo>
                      <a:lnTo>
                        <a:pt x="36268" y="41745"/>
                      </a:lnTo>
                      <a:lnTo>
                        <a:pt x="32381" y="38277"/>
                      </a:lnTo>
                      <a:lnTo>
                        <a:pt x="14977" y="43839"/>
                      </a:lnTo>
                      <a:close/>
                      <a:moveTo>
                        <a:pt x="16651" y="20035"/>
                      </a:moveTo>
                      <a:cubicBezTo>
                        <a:pt x="18924" y="24282"/>
                        <a:pt x="20658" y="27571"/>
                        <a:pt x="20838" y="27810"/>
                      </a:cubicBezTo>
                      <a:cubicBezTo>
                        <a:pt x="21197" y="28289"/>
                        <a:pt x="29032" y="31638"/>
                        <a:pt x="36866" y="34868"/>
                      </a:cubicBezTo>
                      <a:lnTo>
                        <a:pt x="33337" y="27332"/>
                      </a:lnTo>
                      <a:lnTo>
                        <a:pt x="16651" y="20035"/>
                      </a:lnTo>
                      <a:close/>
                      <a:moveTo>
                        <a:pt x="9175" y="16447"/>
                      </a:moveTo>
                      <a:lnTo>
                        <a:pt x="15874" y="19377"/>
                      </a:lnTo>
                      <a:cubicBezTo>
                        <a:pt x="12285" y="12679"/>
                        <a:pt x="7680" y="4007"/>
                        <a:pt x="6125" y="1136"/>
                      </a:cubicBezTo>
                      <a:lnTo>
                        <a:pt x="9175" y="16447"/>
                      </a:lnTo>
                      <a:close/>
                    </a:path>
                  </a:pathLst>
                </a:custGeom>
                <a:grpFill/>
                <a:ln w="6350" cap="flat">
                  <a:solidFill>
                    <a:schemeClr val="bg1">
                      <a:alpha val="40000"/>
                    </a:schemeClr>
                  </a:solidFill>
                  <a:prstDash val="solid"/>
                  <a:miter/>
                </a:ln>
              </p:spPr>
              <p:txBody>
                <a:bodyPr rtlCol="0" anchor="ctr"/>
                <a:lstStyle/>
                <a:p>
                  <a:endParaRPr lang="en-GB"/>
                </a:p>
              </p:txBody>
            </p:sp>
            <p:sp>
              <p:nvSpPr>
                <p:cNvPr id="8938" name="Vrije vorm: vorm 8937">
                  <a:extLst>
                    <a:ext uri="{FF2B5EF4-FFF2-40B4-BE49-F238E27FC236}">
                      <a16:creationId xmlns:a16="http://schemas.microsoft.com/office/drawing/2014/main" id="{59A5DBFE-7ADD-410B-B5DB-8A6607CD7AE1}"/>
                    </a:ext>
                  </a:extLst>
                </p:cNvPr>
                <p:cNvSpPr/>
                <p:nvPr/>
              </p:nvSpPr>
              <p:spPr>
                <a:xfrm>
                  <a:off x="4624613" y="2635565"/>
                  <a:ext cx="46649" cy="100535"/>
                </a:xfrm>
                <a:custGeom>
                  <a:avLst/>
                  <a:gdLst>
                    <a:gd name="connsiteX0" fmla="*/ 41327 w 46649"/>
                    <a:gd name="connsiteY0" fmla="*/ 100476 h 100535"/>
                    <a:gd name="connsiteX1" fmla="*/ 41147 w 46649"/>
                    <a:gd name="connsiteY1" fmla="*/ 100356 h 100535"/>
                    <a:gd name="connsiteX2" fmla="*/ 46351 w 46649"/>
                    <a:gd name="connsiteY2" fmla="*/ 66565 h 100535"/>
                    <a:gd name="connsiteX3" fmla="*/ 31817 w 46649"/>
                    <a:gd name="connsiteY3" fmla="*/ 61960 h 100535"/>
                    <a:gd name="connsiteX4" fmla="*/ 27212 w 46649"/>
                    <a:gd name="connsiteY4" fmla="*/ 66745 h 100535"/>
                    <a:gd name="connsiteX5" fmla="*/ 26973 w 46649"/>
                    <a:gd name="connsiteY5" fmla="*/ 66745 h 100535"/>
                    <a:gd name="connsiteX6" fmla="*/ 16985 w 46649"/>
                    <a:gd name="connsiteY6" fmla="*/ 57236 h 100535"/>
                    <a:gd name="connsiteX7" fmla="*/ 16985 w 46649"/>
                    <a:gd name="connsiteY7" fmla="*/ 57056 h 100535"/>
                    <a:gd name="connsiteX8" fmla="*/ 17165 w 46649"/>
                    <a:gd name="connsiteY8" fmla="*/ 56996 h 100535"/>
                    <a:gd name="connsiteX9" fmla="*/ 31698 w 46649"/>
                    <a:gd name="connsiteY9" fmla="*/ 61661 h 100535"/>
                    <a:gd name="connsiteX10" fmla="*/ 35884 w 46649"/>
                    <a:gd name="connsiteY10" fmla="*/ 57295 h 100535"/>
                    <a:gd name="connsiteX11" fmla="*/ 24820 w 46649"/>
                    <a:gd name="connsiteY11" fmla="*/ 33970 h 100535"/>
                    <a:gd name="connsiteX12" fmla="*/ 120 w 46649"/>
                    <a:gd name="connsiteY12" fmla="*/ 25179 h 100535"/>
                    <a:gd name="connsiteX13" fmla="*/ 0 w 46649"/>
                    <a:gd name="connsiteY13" fmla="*/ 25059 h 100535"/>
                    <a:gd name="connsiteX14" fmla="*/ 60 w 46649"/>
                    <a:gd name="connsiteY14" fmla="*/ 24880 h 100535"/>
                    <a:gd name="connsiteX15" fmla="*/ 9211 w 46649"/>
                    <a:gd name="connsiteY15" fmla="*/ 19258 h 100535"/>
                    <a:gd name="connsiteX16" fmla="*/ 3888 w 46649"/>
                    <a:gd name="connsiteY16" fmla="*/ 179 h 100535"/>
                    <a:gd name="connsiteX17" fmla="*/ 4007 w 46649"/>
                    <a:gd name="connsiteY17" fmla="*/ 0 h 100535"/>
                    <a:gd name="connsiteX18" fmla="*/ 4187 w 46649"/>
                    <a:gd name="connsiteY18" fmla="*/ 120 h 100535"/>
                    <a:gd name="connsiteX19" fmla="*/ 9569 w 46649"/>
                    <a:gd name="connsiteY19" fmla="*/ 19318 h 100535"/>
                    <a:gd name="connsiteX20" fmla="*/ 9510 w 46649"/>
                    <a:gd name="connsiteY20" fmla="*/ 19497 h 100535"/>
                    <a:gd name="connsiteX21" fmla="*/ 538 w 46649"/>
                    <a:gd name="connsiteY21" fmla="*/ 24999 h 100535"/>
                    <a:gd name="connsiteX22" fmla="*/ 24999 w 46649"/>
                    <a:gd name="connsiteY22" fmla="*/ 33731 h 100535"/>
                    <a:gd name="connsiteX23" fmla="*/ 25119 w 46649"/>
                    <a:gd name="connsiteY23" fmla="*/ 33791 h 100535"/>
                    <a:gd name="connsiteX24" fmla="*/ 36243 w 46649"/>
                    <a:gd name="connsiteY24" fmla="*/ 57295 h 100535"/>
                    <a:gd name="connsiteX25" fmla="*/ 36243 w 46649"/>
                    <a:gd name="connsiteY25" fmla="*/ 57475 h 100535"/>
                    <a:gd name="connsiteX26" fmla="*/ 32057 w 46649"/>
                    <a:gd name="connsiteY26" fmla="*/ 61841 h 100535"/>
                    <a:gd name="connsiteX27" fmla="*/ 46530 w 46649"/>
                    <a:gd name="connsiteY27" fmla="*/ 66446 h 100535"/>
                    <a:gd name="connsiteX28" fmla="*/ 46650 w 46649"/>
                    <a:gd name="connsiteY28" fmla="*/ 66625 h 100535"/>
                    <a:gd name="connsiteX29" fmla="*/ 41446 w 46649"/>
                    <a:gd name="connsiteY29" fmla="*/ 100476 h 100535"/>
                    <a:gd name="connsiteX30" fmla="*/ 41446 w 46649"/>
                    <a:gd name="connsiteY30" fmla="*/ 100536 h 100535"/>
                    <a:gd name="connsiteX31" fmla="*/ 41327 w 46649"/>
                    <a:gd name="connsiteY31" fmla="*/ 100476 h 100535"/>
                    <a:gd name="connsiteX32" fmla="*/ 27153 w 46649"/>
                    <a:gd name="connsiteY32" fmla="*/ 66386 h 100535"/>
                    <a:gd name="connsiteX33" fmla="*/ 31519 w 46649"/>
                    <a:gd name="connsiteY33" fmla="*/ 61841 h 100535"/>
                    <a:gd name="connsiteX34" fmla="*/ 17763 w 46649"/>
                    <a:gd name="connsiteY34" fmla="*/ 57475 h 100535"/>
                    <a:gd name="connsiteX35" fmla="*/ 27153 w 46649"/>
                    <a:gd name="connsiteY35" fmla="*/ 66386 h 100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6649" h="100535">
                      <a:moveTo>
                        <a:pt x="41327" y="100476"/>
                      </a:moveTo>
                      <a:cubicBezTo>
                        <a:pt x="41267" y="100476"/>
                        <a:pt x="41147" y="100476"/>
                        <a:pt x="41147" y="100356"/>
                      </a:cubicBezTo>
                      <a:cubicBezTo>
                        <a:pt x="40848" y="99280"/>
                        <a:pt x="46351" y="69137"/>
                        <a:pt x="46351" y="66565"/>
                      </a:cubicBezTo>
                      <a:lnTo>
                        <a:pt x="31817" y="61960"/>
                      </a:lnTo>
                      <a:lnTo>
                        <a:pt x="27212" y="66745"/>
                      </a:lnTo>
                      <a:cubicBezTo>
                        <a:pt x="27153" y="66805"/>
                        <a:pt x="27033" y="66805"/>
                        <a:pt x="26973" y="66745"/>
                      </a:cubicBezTo>
                      <a:lnTo>
                        <a:pt x="16985" y="57236"/>
                      </a:lnTo>
                      <a:cubicBezTo>
                        <a:pt x="16926" y="57176"/>
                        <a:pt x="16926" y="57116"/>
                        <a:pt x="16985" y="57056"/>
                      </a:cubicBezTo>
                      <a:cubicBezTo>
                        <a:pt x="17045" y="56996"/>
                        <a:pt x="17105" y="56936"/>
                        <a:pt x="17165" y="56996"/>
                      </a:cubicBezTo>
                      <a:lnTo>
                        <a:pt x="31698" y="61661"/>
                      </a:lnTo>
                      <a:lnTo>
                        <a:pt x="35884" y="57295"/>
                      </a:lnTo>
                      <a:lnTo>
                        <a:pt x="24820" y="33970"/>
                      </a:lnTo>
                      <a:lnTo>
                        <a:pt x="120" y="25179"/>
                      </a:lnTo>
                      <a:cubicBezTo>
                        <a:pt x="60" y="25179"/>
                        <a:pt x="0" y="25119"/>
                        <a:pt x="0" y="25059"/>
                      </a:cubicBezTo>
                      <a:cubicBezTo>
                        <a:pt x="0" y="24999"/>
                        <a:pt x="0" y="24940"/>
                        <a:pt x="60" y="24880"/>
                      </a:cubicBezTo>
                      <a:lnTo>
                        <a:pt x="9211" y="19258"/>
                      </a:lnTo>
                      <a:lnTo>
                        <a:pt x="3888" y="179"/>
                      </a:lnTo>
                      <a:cubicBezTo>
                        <a:pt x="3888" y="120"/>
                        <a:pt x="3888" y="0"/>
                        <a:pt x="4007" y="0"/>
                      </a:cubicBezTo>
                      <a:cubicBezTo>
                        <a:pt x="4067" y="0"/>
                        <a:pt x="4187" y="0"/>
                        <a:pt x="4187" y="120"/>
                      </a:cubicBezTo>
                      <a:lnTo>
                        <a:pt x="9569" y="19318"/>
                      </a:lnTo>
                      <a:cubicBezTo>
                        <a:pt x="9569" y="19377"/>
                        <a:pt x="9569" y="19437"/>
                        <a:pt x="9510" y="19497"/>
                      </a:cubicBezTo>
                      <a:lnTo>
                        <a:pt x="538" y="24999"/>
                      </a:lnTo>
                      <a:lnTo>
                        <a:pt x="24999" y="33731"/>
                      </a:lnTo>
                      <a:cubicBezTo>
                        <a:pt x="25059" y="33731"/>
                        <a:pt x="25059" y="33791"/>
                        <a:pt x="25119" y="33791"/>
                      </a:cubicBezTo>
                      <a:lnTo>
                        <a:pt x="36243" y="57295"/>
                      </a:lnTo>
                      <a:cubicBezTo>
                        <a:pt x="36243" y="57355"/>
                        <a:pt x="36243" y="57415"/>
                        <a:pt x="36243" y="57475"/>
                      </a:cubicBezTo>
                      <a:lnTo>
                        <a:pt x="32057" y="61841"/>
                      </a:lnTo>
                      <a:lnTo>
                        <a:pt x="46530" y="66446"/>
                      </a:lnTo>
                      <a:cubicBezTo>
                        <a:pt x="46590" y="66446"/>
                        <a:pt x="46650" y="66506"/>
                        <a:pt x="46650" y="66625"/>
                      </a:cubicBezTo>
                      <a:cubicBezTo>
                        <a:pt x="46590" y="78527"/>
                        <a:pt x="41147" y="99579"/>
                        <a:pt x="41446" y="100476"/>
                      </a:cubicBezTo>
                      <a:cubicBezTo>
                        <a:pt x="41446" y="100476"/>
                        <a:pt x="41446" y="100536"/>
                        <a:pt x="41446" y="100536"/>
                      </a:cubicBezTo>
                      <a:cubicBezTo>
                        <a:pt x="41446" y="100416"/>
                        <a:pt x="41386" y="100476"/>
                        <a:pt x="41327" y="100476"/>
                      </a:cubicBezTo>
                      <a:close/>
                      <a:moveTo>
                        <a:pt x="27153" y="66386"/>
                      </a:moveTo>
                      <a:lnTo>
                        <a:pt x="31519" y="61841"/>
                      </a:lnTo>
                      <a:lnTo>
                        <a:pt x="17763" y="57475"/>
                      </a:lnTo>
                      <a:lnTo>
                        <a:pt x="27153" y="66386"/>
                      </a:lnTo>
                      <a:close/>
                    </a:path>
                  </a:pathLst>
                </a:custGeom>
                <a:grpFill/>
                <a:ln w="6350" cap="flat">
                  <a:solidFill>
                    <a:schemeClr val="bg1">
                      <a:alpha val="40000"/>
                    </a:schemeClr>
                  </a:solidFill>
                  <a:prstDash val="solid"/>
                  <a:miter/>
                </a:ln>
              </p:spPr>
              <p:txBody>
                <a:bodyPr rtlCol="0" anchor="ctr"/>
                <a:lstStyle/>
                <a:p>
                  <a:endParaRPr lang="en-GB"/>
                </a:p>
              </p:txBody>
            </p:sp>
            <p:sp>
              <p:nvSpPr>
                <p:cNvPr id="8939" name="Vrije vorm: vorm 8938">
                  <a:extLst>
                    <a:ext uri="{FF2B5EF4-FFF2-40B4-BE49-F238E27FC236}">
                      <a16:creationId xmlns:a16="http://schemas.microsoft.com/office/drawing/2014/main" id="{EAFD8C58-54F7-45F1-B61D-C84C943310C8}"/>
                    </a:ext>
                  </a:extLst>
                </p:cNvPr>
                <p:cNvSpPr/>
                <p:nvPr/>
              </p:nvSpPr>
              <p:spPr>
                <a:xfrm>
                  <a:off x="4618393" y="2692441"/>
                  <a:ext cx="57979" cy="57474"/>
                </a:xfrm>
                <a:custGeom>
                  <a:avLst/>
                  <a:gdLst>
                    <a:gd name="connsiteX0" fmla="*/ 47606 w 57979"/>
                    <a:gd name="connsiteY0" fmla="*/ 43599 h 57474"/>
                    <a:gd name="connsiteX1" fmla="*/ 43181 w 57979"/>
                    <a:gd name="connsiteY1" fmla="*/ 46650 h 57474"/>
                    <a:gd name="connsiteX2" fmla="*/ 43480 w 57979"/>
                    <a:gd name="connsiteY2" fmla="*/ 57295 h 57474"/>
                    <a:gd name="connsiteX3" fmla="*/ 43360 w 57979"/>
                    <a:gd name="connsiteY3" fmla="*/ 57475 h 57474"/>
                    <a:gd name="connsiteX4" fmla="*/ 43181 w 57979"/>
                    <a:gd name="connsiteY4" fmla="*/ 57355 h 57474"/>
                    <a:gd name="connsiteX5" fmla="*/ 38695 w 57979"/>
                    <a:gd name="connsiteY5" fmla="*/ 49700 h 57474"/>
                    <a:gd name="connsiteX6" fmla="*/ 30502 w 57979"/>
                    <a:gd name="connsiteY6" fmla="*/ 53707 h 57474"/>
                    <a:gd name="connsiteX7" fmla="*/ 30382 w 57979"/>
                    <a:gd name="connsiteY7" fmla="*/ 53707 h 57474"/>
                    <a:gd name="connsiteX8" fmla="*/ 30262 w 57979"/>
                    <a:gd name="connsiteY8" fmla="*/ 53647 h 57474"/>
                    <a:gd name="connsiteX9" fmla="*/ 30801 w 57979"/>
                    <a:gd name="connsiteY9" fmla="*/ 44138 h 57474"/>
                    <a:gd name="connsiteX10" fmla="*/ 23145 w 57979"/>
                    <a:gd name="connsiteY10" fmla="*/ 39951 h 57474"/>
                    <a:gd name="connsiteX11" fmla="*/ 23086 w 57979"/>
                    <a:gd name="connsiteY11" fmla="*/ 39832 h 57474"/>
                    <a:gd name="connsiteX12" fmla="*/ 18480 w 57979"/>
                    <a:gd name="connsiteY12" fmla="*/ 23385 h 57474"/>
                    <a:gd name="connsiteX13" fmla="*/ 10765 w 57979"/>
                    <a:gd name="connsiteY13" fmla="*/ 20693 h 57474"/>
                    <a:gd name="connsiteX14" fmla="*/ 10645 w 57979"/>
                    <a:gd name="connsiteY14" fmla="*/ 20574 h 57474"/>
                    <a:gd name="connsiteX15" fmla="*/ 10167 w 57979"/>
                    <a:gd name="connsiteY15" fmla="*/ 7416 h 57474"/>
                    <a:gd name="connsiteX16" fmla="*/ 120 w 57979"/>
                    <a:gd name="connsiteY16" fmla="*/ 2930 h 57474"/>
                    <a:gd name="connsiteX17" fmla="*/ 0 w 57979"/>
                    <a:gd name="connsiteY17" fmla="*/ 2751 h 57474"/>
                    <a:gd name="connsiteX18" fmla="*/ 120 w 57979"/>
                    <a:gd name="connsiteY18" fmla="*/ 2632 h 57474"/>
                    <a:gd name="connsiteX19" fmla="*/ 9988 w 57979"/>
                    <a:gd name="connsiteY19" fmla="*/ 0 h 57474"/>
                    <a:gd name="connsiteX20" fmla="*/ 10107 w 57979"/>
                    <a:gd name="connsiteY20" fmla="*/ 0 h 57474"/>
                    <a:gd name="connsiteX21" fmla="*/ 10167 w 57979"/>
                    <a:gd name="connsiteY21" fmla="*/ 120 h 57474"/>
                    <a:gd name="connsiteX22" fmla="*/ 10406 w 57979"/>
                    <a:gd name="connsiteY22" fmla="*/ 7177 h 57474"/>
                    <a:gd name="connsiteX23" fmla="*/ 14593 w 57979"/>
                    <a:gd name="connsiteY23" fmla="*/ 9031 h 57474"/>
                    <a:gd name="connsiteX24" fmla="*/ 14712 w 57979"/>
                    <a:gd name="connsiteY24" fmla="*/ 9150 h 57474"/>
                    <a:gd name="connsiteX25" fmla="*/ 18660 w 57979"/>
                    <a:gd name="connsiteY25" fmla="*/ 23205 h 57474"/>
                    <a:gd name="connsiteX26" fmla="*/ 22727 w 57979"/>
                    <a:gd name="connsiteY26" fmla="*/ 24641 h 57474"/>
                    <a:gd name="connsiteX27" fmla="*/ 22846 w 57979"/>
                    <a:gd name="connsiteY27" fmla="*/ 24760 h 57474"/>
                    <a:gd name="connsiteX28" fmla="*/ 31040 w 57979"/>
                    <a:gd name="connsiteY28" fmla="*/ 44018 h 57474"/>
                    <a:gd name="connsiteX29" fmla="*/ 38755 w 57979"/>
                    <a:gd name="connsiteY29" fmla="*/ 49401 h 57474"/>
                    <a:gd name="connsiteX30" fmla="*/ 42882 w 57979"/>
                    <a:gd name="connsiteY30" fmla="*/ 46590 h 57474"/>
                    <a:gd name="connsiteX31" fmla="*/ 43181 w 57979"/>
                    <a:gd name="connsiteY31" fmla="*/ 29305 h 57474"/>
                    <a:gd name="connsiteX32" fmla="*/ 43241 w 57979"/>
                    <a:gd name="connsiteY32" fmla="*/ 29186 h 57474"/>
                    <a:gd name="connsiteX33" fmla="*/ 57594 w 57979"/>
                    <a:gd name="connsiteY33" fmla="*/ 18301 h 57474"/>
                    <a:gd name="connsiteX34" fmla="*/ 52690 w 57979"/>
                    <a:gd name="connsiteY34" fmla="*/ 9749 h 57474"/>
                    <a:gd name="connsiteX35" fmla="*/ 52750 w 57979"/>
                    <a:gd name="connsiteY35" fmla="*/ 9509 h 57474"/>
                    <a:gd name="connsiteX36" fmla="*/ 52989 w 57979"/>
                    <a:gd name="connsiteY36" fmla="*/ 9569 h 57474"/>
                    <a:gd name="connsiteX37" fmla="*/ 57953 w 57979"/>
                    <a:gd name="connsiteY37" fmla="*/ 18181 h 57474"/>
                    <a:gd name="connsiteX38" fmla="*/ 57953 w 57979"/>
                    <a:gd name="connsiteY38" fmla="*/ 18361 h 57474"/>
                    <a:gd name="connsiteX39" fmla="*/ 43599 w 57979"/>
                    <a:gd name="connsiteY39" fmla="*/ 29305 h 57474"/>
                    <a:gd name="connsiteX40" fmla="*/ 47786 w 57979"/>
                    <a:gd name="connsiteY40" fmla="*/ 43480 h 57474"/>
                    <a:gd name="connsiteX41" fmla="*/ 47786 w 57979"/>
                    <a:gd name="connsiteY41" fmla="*/ 43540 h 57474"/>
                    <a:gd name="connsiteX42" fmla="*/ 47606 w 57979"/>
                    <a:gd name="connsiteY42" fmla="*/ 43599 h 57474"/>
                    <a:gd name="connsiteX43" fmla="*/ 43181 w 57979"/>
                    <a:gd name="connsiteY43" fmla="*/ 46291 h 57474"/>
                    <a:gd name="connsiteX44" fmla="*/ 47367 w 57979"/>
                    <a:gd name="connsiteY44" fmla="*/ 43420 h 57474"/>
                    <a:gd name="connsiteX45" fmla="*/ 43480 w 57979"/>
                    <a:gd name="connsiteY45" fmla="*/ 30262 h 57474"/>
                    <a:gd name="connsiteX46" fmla="*/ 43181 w 57979"/>
                    <a:gd name="connsiteY46" fmla="*/ 46291 h 57474"/>
                    <a:gd name="connsiteX47" fmla="*/ 38935 w 57979"/>
                    <a:gd name="connsiteY47" fmla="*/ 49580 h 57474"/>
                    <a:gd name="connsiteX48" fmla="*/ 43121 w 57979"/>
                    <a:gd name="connsiteY48" fmla="*/ 56099 h 57474"/>
                    <a:gd name="connsiteX49" fmla="*/ 42822 w 57979"/>
                    <a:gd name="connsiteY49" fmla="*/ 46889 h 57474"/>
                    <a:gd name="connsiteX50" fmla="*/ 38935 w 57979"/>
                    <a:gd name="connsiteY50" fmla="*/ 49580 h 57474"/>
                    <a:gd name="connsiteX51" fmla="*/ 30442 w 57979"/>
                    <a:gd name="connsiteY51" fmla="*/ 53348 h 57474"/>
                    <a:gd name="connsiteX52" fmla="*/ 38396 w 57979"/>
                    <a:gd name="connsiteY52" fmla="*/ 49461 h 57474"/>
                    <a:gd name="connsiteX53" fmla="*/ 31219 w 57979"/>
                    <a:gd name="connsiteY53" fmla="*/ 44377 h 57474"/>
                    <a:gd name="connsiteX54" fmla="*/ 30442 w 57979"/>
                    <a:gd name="connsiteY54" fmla="*/ 53348 h 57474"/>
                    <a:gd name="connsiteX55" fmla="*/ 18780 w 57979"/>
                    <a:gd name="connsiteY55" fmla="*/ 23564 h 57474"/>
                    <a:gd name="connsiteX56" fmla="*/ 23325 w 57979"/>
                    <a:gd name="connsiteY56" fmla="*/ 39712 h 57474"/>
                    <a:gd name="connsiteX57" fmla="*/ 30561 w 57979"/>
                    <a:gd name="connsiteY57" fmla="*/ 43659 h 57474"/>
                    <a:gd name="connsiteX58" fmla="*/ 22547 w 57979"/>
                    <a:gd name="connsiteY58" fmla="*/ 24880 h 57474"/>
                    <a:gd name="connsiteX59" fmla="*/ 18780 w 57979"/>
                    <a:gd name="connsiteY59" fmla="*/ 23564 h 57474"/>
                    <a:gd name="connsiteX60" fmla="*/ 10466 w 57979"/>
                    <a:gd name="connsiteY60" fmla="*/ 7536 h 57474"/>
                    <a:gd name="connsiteX61" fmla="*/ 10945 w 57979"/>
                    <a:gd name="connsiteY61" fmla="*/ 20454 h 57474"/>
                    <a:gd name="connsiteX62" fmla="*/ 18301 w 57979"/>
                    <a:gd name="connsiteY62" fmla="*/ 23085 h 57474"/>
                    <a:gd name="connsiteX63" fmla="*/ 14473 w 57979"/>
                    <a:gd name="connsiteY63" fmla="*/ 9330 h 57474"/>
                    <a:gd name="connsiteX64" fmla="*/ 10466 w 57979"/>
                    <a:gd name="connsiteY64" fmla="*/ 7536 h 57474"/>
                    <a:gd name="connsiteX65" fmla="*/ 658 w 57979"/>
                    <a:gd name="connsiteY65" fmla="*/ 2811 h 57474"/>
                    <a:gd name="connsiteX66" fmla="*/ 10167 w 57979"/>
                    <a:gd name="connsiteY66" fmla="*/ 7057 h 57474"/>
                    <a:gd name="connsiteX67" fmla="*/ 9928 w 57979"/>
                    <a:gd name="connsiteY67" fmla="*/ 359 h 57474"/>
                    <a:gd name="connsiteX68" fmla="*/ 658 w 57979"/>
                    <a:gd name="connsiteY68" fmla="*/ 2811 h 5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7979" h="57474">
                      <a:moveTo>
                        <a:pt x="47606" y="43599"/>
                      </a:moveTo>
                      <a:lnTo>
                        <a:pt x="43181" y="46650"/>
                      </a:lnTo>
                      <a:lnTo>
                        <a:pt x="43480" y="57295"/>
                      </a:lnTo>
                      <a:cubicBezTo>
                        <a:pt x="43480" y="57355"/>
                        <a:pt x="43420" y="57415"/>
                        <a:pt x="43360" y="57475"/>
                      </a:cubicBezTo>
                      <a:cubicBezTo>
                        <a:pt x="43300" y="57475"/>
                        <a:pt x="43181" y="57415"/>
                        <a:pt x="43181" y="57355"/>
                      </a:cubicBezTo>
                      <a:lnTo>
                        <a:pt x="38695" y="49700"/>
                      </a:lnTo>
                      <a:lnTo>
                        <a:pt x="30502" y="53707"/>
                      </a:lnTo>
                      <a:cubicBezTo>
                        <a:pt x="30442" y="53707"/>
                        <a:pt x="30442" y="53707"/>
                        <a:pt x="30382" y="53707"/>
                      </a:cubicBezTo>
                      <a:cubicBezTo>
                        <a:pt x="30322" y="53707"/>
                        <a:pt x="30322" y="53647"/>
                        <a:pt x="30262" y="53647"/>
                      </a:cubicBezTo>
                      <a:lnTo>
                        <a:pt x="30801" y="44138"/>
                      </a:lnTo>
                      <a:lnTo>
                        <a:pt x="23145" y="39951"/>
                      </a:lnTo>
                      <a:cubicBezTo>
                        <a:pt x="23086" y="39951"/>
                        <a:pt x="23086" y="39891"/>
                        <a:pt x="23086" y="39832"/>
                      </a:cubicBezTo>
                      <a:lnTo>
                        <a:pt x="18480" y="23385"/>
                      </a:lnTo>
                      <a:lnTo>
                        <a:pt x="10765" y="20693"/>
                      </a:lnTo>
                      <a:cubicBezTo>
                        <a:pt x="10705" y="20693"/>
                        <a:pt x="10645" y="20633"/>
                        <a:pt x="10645" y="20574"/>
                      </a:cubicBezTo>
                      <a:lnTo>
                        <a:pt x="10167" y="7416"/>
                      </a:lnTo>
                      <a:lnTo>
                        <a:pt x="120" y="2930"/>
                      </a:lnTo>
                      <a:cubicBezTo>
                        <a:pt x="60" y="2930"/>
                        <a:pt x="0" y="2811"/>
                        <a:pt x="0" y="2751"/>
                      </a:cubicBezTo>
                      <a:cubicBezTo>
                        <a:pt x="0" y="2691"/>
                        <a:pt x="60" y="2632"/>
                        <a:pt x="120" y="2632"/>
                      </a:cubicBezTo>
                      <a:lnTo>
                        <a:pt x="9988" y="0"/>
                      </a:lnTo>
                      <a:cubicBezTo>
                        <a:pt x="10048" y="0"/>
                        <a:pt x="10107" y="0"/>
                        <a:pt x="10107" y="0"/>
                      </a:cubicBezTo>
                      <a:cubicBezTo>
                        <a:pt x="10167" y="0"/>
                        <a:pt x="10167" y="60"/>
                        <a:pt x="10167" y="120"/>
                      </a:cubicBezTo>
                      <a:lnTo>
                        <a:pt x="10406" y="7177"/>
                      </a:lnTo>
                      <a:lnTo>
                        <a:pt x="14593" y="9031"/>
                      </a:lnTo>
                      <a:cubicBezTo>
                        <a:pt x="14653" y="9031"/>
                        <a:pt x="14653" y="9091"/>
                        <a:pt x="14712" y="9150"/>
                      </a:cubicBezTo>
                      <a:lnTo>
                        <a:pt x="18660" y="23205"/>
                      </a:lnTo>
                      <a:lnTo>
                        <a:pt x="22727" y="24641"/>
                      </a:lnTo>
                      <a:cubicBezTo>
                        <a:pt x="22787" y="24641"/>
                        <a:pt x="22787" y="24700"/>
                        <a:pt x="22846" y="24760"/>
                      </a:cubicBezTo>
                      <a:lnTo>
                        <a:pt x="31040" y="44018"/>
                      </a:lnTo>
                      <a:lnTo>
                        <a:pt x="38755" y="49401"/>
                      </a:lnTo>
                      <a:lnTo>
                        <a:pt x="42882" y="46590"/>
                      </a:lnTo>
                      <a:lnTo>
                        <a:pt x="43181" y="29305"/>
                      </a:lnTo>
                      <a:cubicBezTo>
                        <a:pt x="43181" y="29246"/>
                        <a:pt x="43181" y="29246"/>
                        <a:pt x="43241" y="29186"/>
                      </a:cubicBezTo>
                      <a:lnTo>
                        <a:pt x="57594" y="18301"/>
                      </a:lnTo>
                      <a:lnTo>
                        <a:pt x="52690" y="9749"/>
                      </a:lnTo>
                      <a:cubicBezTo>
                        <a:pt x="52630" y="9689"/>
                        <a:pt x="52690" y="9569"/>
                        <a:pt x="52750" y="9509"/>
                      </a:cubicBezTo>
                      <a:cubicBezTo>
                        <a:pt x="52810" y="9449"/>
                        <a:pt x="52929" y="9509"/>
                        <a:pt x="52989" y="9569"/>
                      </a:cubicBezTo>
                      <a:lnTo>
                        <a:pt x="57953" y="18181"/>
                      </a:lnTo>
                      <a:cubicBezTo>
                        <a:pt x="57953" y="18241"/>
                        <a:pt x="58013" y="18301"/>
                        <a:pt x="57953" y="18361"/>
                      </a:cubicBezTo>
                      <a:lnTo>
                        <a:pt x="43599" y="29305"/>
                      </a:lnTo>
                      <a:lnTo>
                        <a:pt x="47786" y="43480"/>
                      </a:lnTo>
                      <a:cubicBezTo>
                        <a:pt x="47786" y="43480"/>
                        <a:pt x="47786" y="43540"/>
                        <a:pt x="47786" y="43540"/>
                      </a:cubicBezTo>
                      <a:cubicBezTo>
                        <a:pt x="47666" y="43540"/>
                        <a:pt x="47666" y="43599"/>
                        <a:pt x="47606" y="43599"/>
                      </a:cubicBezTo>
                      <a:close/>
                      <a:moveTo>
                        <a:pt x="43181" y="46291"/>
                      </a:moveTo>
                      <a:lnTo>
                        <a:pt x="47367" y="43420"/>
                      </a:lnTo>
                      <a:lnTo>
                        <a:pt x="43480" y="30262"/>
                      </a:lnTo>
                      <a:lnTo>
                        <a:pt x="43181" y="46291"/>
                      </a:lnTo>
                      <a:close/>
                      <a:moveTo>
                        <a:pt x="38935" y="49580"/>
                      </a:moveTo>
                      <a:lnTo>
                        <a:pt x="43121" y="56099"/>
                      </a:lnTo>
                      <a:lnTo>
                        <a:pt x="42822" y="46889"/>
                      </a:lnTo>
                      <a:lnTo>
                        <a:pt x="38935" y="49580"/>
                      </a:lnTo>
                      <a:close/>
                      <a:moveTo>
                        <a:pt x="30442" y="53348"/>
                      </a:moveTo>
                      <a:lnTo>
                        <a:pt x="38396" y="49461"/>
                      </a:lnTo>
                      <a:lnTo>
                        <a:pt x="31219" y="44377"/>
                      </a:lnTo>
                      <a:lnTo>
                        <a:pt x="30442" y="53348"/>
                      </a:lnTo>
                      <a:close/>
                      <a:moveTo>
                        <a:pt x="18780" y="23564"/>
                      </a:moveTo>
                      <a:lnTo>
                        <a:pt x="23325" y="39712"/>
                      </a:lnTo>
                      <a:lnTo>
                        <a:pt x="30561" y="43659"/>
                      </a:lnTo>
                      <a:lnTo>
                        <a:pt x="22547" y="24880"/>
                      </a:lnTo>
                      <a:lnTo>
                        <a:pt x="18780" y="23564"/>
                      </a:lnTo>
                      <a:close/>
                      <a:moveTo>
                        <a:pt x="10466" y="7536"/>
                      </a:moveTo>
                      <a:lnTo>
                        <a:pt x="10945" y="20454"/>
                      </a:lnTo>
                      <a:lnTo>
                        <a:pt x="18301" y="23085"/>
                      </a:lnTo>
                      <a:lnTo>
                        <a:pt x="14473" y="9330"/>
                      </a:lnTo>
                      <a:lnTo>
                        <a:pt x="10466" y="7536"/>
                      </a:lnTo>
                      <a:close/>
                      <a:moveTo>
                        <a:pt x="658" y="2811"/>
                      </a:moveTo>
                      <a:lnTo>
                        <a:pt x="10167" y="7057"/>
                      </a:lnTo>
                      <a:lnTo>
                        <a:pt x="9928" y="359"/>
                      </a:lnTo>
                      <a:lnTo>
                        <a:pt x="658" y="2811"/>
                      </a:lnTo>
                      <a:close/>
                    </a:path>
                  </a:pathLst>
                </a:custGeom>
                <a:grpFill/>
                <a:ln w="6350" cap="flat">
                  <a:solidFill>
                    <a:schemeClr val="bg1">
                      <a:alpha val="40000"/>
                    </a:schemeClr>
                  </a:solidFill>
                  <a:prstDash val="solid"/>
                  <a:miter/>
                </a:ln>
              </p:spPr>
              <p:txBody>
                <a:bodyPr rtlCol="0" anchor="ctr"/>
                <a:lstStyle/>
                <a:p>
                  <a:endParaRPr lang="en-GB"/>
                </a:p>
              </p:txBody>
            </p:sp>
            <p:sp>
              <p:nvSpPr>
                <p:cNvPr id="8940" name="Vrije vorm: vorm 8939">
                  <a:extLst>
                    <a:ext uri="{FF2B5EF4-FFF2-40B4-BE49-F238E27FC236}">
                      <a16:creationId xmlns:a16="http://schemas.microsoft.com/office/drawing/2014/main" id="{7AAB8047-B8D3-4F35-AA3F-54B8DD52467E}"/>
                    </a:ext>
                  </a:extLst>
                </p:cNvPr>
                <p:cNvSpPr/>
                <p:nvPr/>
              </p:nvSpPr>
              <p:spPr>
                <a:xfrm>
                  <a:off x="4661633" y="2648423"/>
                  <a:ext cx="30382" cy="73383"/>
                </a:xfrm>
                <a:custGeom>
                  <a:avLst/>
                  <a:gdLst>
                    <a:gd name="connsiteX0" fmla="*/ 30382 w 30382"/>
                    <a:gd name="connsiteY0" fmla="*/ 179 h 73383"/>
                    <a:gd name="connsiteX1" fmla="*/ 30262 w 30382"/>
                    <a:gd name="connsiteY1" fmla="*/ 0 h 73383"/>
                    <a:gd name="connsiteX2" fmla="*/ 30083 w 30382"/>
                    <a:gd name="connsiteY2" fmla="*/ 120 h 73383"/>
                    <a:gd name="connsiteX3" fmla="*/ 11423 w 30382"/>
                    <a:gd name="connsiteY3" fmla="*/ 44497 h 73383"/>
                    <a:gd name="connsiteX4" fmla="*/ 11423 w 30382"/>
                    <a:gd name="connsiteY4" fmla="*/ 44497 h 73383"/>
                    <a:gd name="connsiteX5" fmla="*/ 11483 w 30382"/>
                    <a:gd name="connsiteY5" fmla="*/ 44736 h 73383"/>
                    <a:gd name="connsiteX6" fmla="*/ 11722 w 30382"/>
                    <a:gd name="connsiteY6" fmla="*/ 44676 h 73383"/>
                    <a:gd name="connsiteX7" fmla="*/ 11722 w 30382"/>
                    <a:gd name="connsiteY7" fmla="*/ 44676 h 73383"/>
                    <a:gd name="connsiteX8" fmla="*/ 20155 w 30382"/>
                    <a:gd name="connsiteY8" fmla="*/ 33492 h 73383"/>
                    <a:gd name="connsiteX9" fmla="*/ 0 w 30382"/>
                    <a:gd name="connsiteY9" fmla="*/ 73204 h 73383"/>
                    <a:gd name="connsiteX10" fmla="*/ 120 w 30382"/>
                    <a:gd name="connsiteY10" fmla="*/ 73384 h 73383"/>
                    <a:gd name="connsiteX11" fmla="*/ 299 w 30382"/>
                    <a:gd name="connsiteY11" fmla="*/ 73264 h 73383"/>
                    <a:gd name="connsiteX12" fmla="*/ 24342 w 30382"/>
                    <a:gd name="connsiteY12" fmla="*/ 33073 h 73383"/>
                    <a:gd name="connsiteX13" fmla="*/ 24282 w 30382"/>
                    <a:gd name="connsiteY13" fmla="*/ 32894 h 73383"/>
                    <a:gd name="connsiteX14" fmla="*/ 24043 w 30382"/>
                    <a:gd name="connsiteY14" fmla="*/ 32954 h 73383"/>
                    <a:gd name="connsiteX15" fmla="*/ 12201 w 30382"/>
                    <a:gd name="connsiteY15" fmla="*/ 43420 h 73383"/>
                    <a:gd name="connsiteX16" fmla="*/ 30382 w 30382"/>
                    <a:gd name="connsiteY16" fmla="*/ 179 h 73383"/>
                    <a:gd name="connsiteX17" fmla="*/ 30382 w 30382"/>
                    <a:gd name="connsiteY17" fmla="*/ 179 h 73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382" h="73383">
                      <a:moveTo>
                        <a:pt x="30382" y="179"/>
                      </a:moveTo>
                      <a:cubicBezTo>
                        <a:pt x="30382" y="120"/>
                        <a:pt x="30382" y="0"/>
                        <a:pt x="30262" y="0"/>
                      </a:cubicBezTo>
                      <a:cubicBezTo>
                        <a:pt x="30203" y="0"/>
                        <a:pt x="30083" y="0"/>
                        <a:pt x="30083" y="120"/>
                      </a:cubicBezTo>
                      <a:cubicBezTo>
                        <a:pt x="25059" y="15311"/>
                        <a:pt x="12021" y="43659"/>
                        <a:pt x="11423" y="44497"/>
                      </a:cubicBezTo>
                      <a:lnTo>
                        <a:pt x="11423" y="44497"/>
                      </a:lnTo>
                      <a:cubicBezTo>
                        <a:pt x="11364" y="44556"/>
                        <a:pt x="11364" y="44676"/>
                        <a:pt x="11483" y="44736"/>
                      </a:cubicBezTo>
                      <a:cubicBezTo>
                        <a:pt x="11543" y="44796"/>
                        <a:pt x="11662" y="44796"/>
                        <a:pt x="11722" y="44676"/>
                      </a:cubicBezTo>
                      <a:cubicBezTo>
                        <a:pt x="11722" y="44676"/>
                        <a:pt x="11722" y="44676"/>
                        <a:pt x="11722" y="44676"/>
                      </a:cubicBezTo>
                      <a:lnTo>
                        <a:pt x="20155" y="33492"/>
                      </a:lnTo>
                      <a:cubicBezTo>
                        <a:pt x="17643" y="40131"/>
                        <a:pt x="538" y="71649"/>
                        <a:pt x="0" y="73204"/>
                      </a:cubicBezTo>
                      <a:cubicBezTo>
                        <a:pt x="0" y="73264"/>
                        <a:pt x="0" y="73384"/>
                        <a:pt x="120" y="73384"/>
                      </a:cubicBezTo>
                      <a:cubicBezTo>
                        <a:pt x="180" y="73384"/>
                        <a:pt x="299" y="73384"/>
                        <a:pt x="299" y="73264"/>
                      </a:cubicBezTo>
                      <a:cubicBezTo>
                        <a:pt x="419" y="72845"/>
                        <a:pt x="23684" y="34270"/>
                        <a:pt x="24342" y="33073"/>
                      </a:cubicBezTo>
                      <a:cubicBezTo>
                        <a:pt x="24401" y="33014"/>
                        <a:pt x="24342" y="32894"/>
                        <a:pt x="24282" y="32894"/>
                      </a:cubicBezTo>
                      <a:cubicBezTo>
                        <a:pt x="24222" y="32834"/>
                        <a:pt x="24102" y="32894"/>
                        <a:pt x="24043" y="32954"/>
                      </a:cubicBezTo>
                      <a:lnTo>
                        <a:pt x="12201" y="43420"/>
                      </a:lnTo>
                      <a:cubicBezTo>
                        <a:pt x="14773" y="36423"/>
                        <a:pt x="29844" y="1854"/>
                        <a:pt x="30382" y="179"/>
                      </a:cubicBezTo>
                      <a:cubicBezTo>
                        <a:pt x="30382" y="179"/>
                        <a:pt x="30382" y="179"/>
                        <a:pt x="30382"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41" name="Vrije vorm: vorm 8940">
                  <a:extLst>
                    <a:ext uri="{FF2B5EF4-FFF2-40B4-BE49-F238E27FC236}">
                      <a16:creationId xmlns:a16="http://schemas.microsoft.com/office/drawing/2014/main" id="{F49E7EA7-CF51-42BB-BCFF-D35D28DBA128}"/>
                    </a:ext>
                  </a:extLst>
                </p:cNvPr>
                <p:cNvSpPr/>
                <p:nvPr/>
              </p:nvSpPr>
              <p:spPr>
                <a:xfrm>
                  <a:off x="4533800" y="2574741"/>
                  <a:ext cx="102091" cy="85883"/>
                </a:xfrm>
                <a:custGeom>
                  <a:avLst/>
                  <a:gdLst>
                    <a:gd name="connsiteX0" fmla="*/ 102056 w 102091"/>
                    <a:gd name="connsiteY0" fmla="*/ 69257 h 85883"/>
                    <a:gd name="connsiteX1" fmla="*/ 91111 w 102091"/>
                    <a:gd name="connsiteY1" fmla="*/ 85823 h 85883"/>
                    <a:gd name="connsiteX2" fmla="*/ 90932 w 102091"/>
                    <a:gd name="connsiteY2" fmla="*/ 85883 h 85883"/>
                    <a:gd name="connsiteX3" fmla="*/ 90812 w 102091"/>
                    <a:gd name="connsiteY3" fmla="*/ 85764 h 85883"/>
                    <a:gd name="connsiteX4" fmla="*/ 79030 w 102091"/>
                    <a:gd name="connsiteY4" fmla="*/ 15789 h 85883"/>
                    <a:gd name="connsiteX5" fmla="*/ 62882 w 102091"/>
                    <a:gd name="connsiteY5" fmla="*/ 4127 h 85883"/>
                    <a:gd name="connsiteX6" fmla="*/ 40036 w 102091"/>
                    <a:gd name="connsiteY6" fmla="*/ 10466 h 85883"/>
                    <a:gd name="connsiteX7" fmla="*/ 40694 w 102091"/>
                    <a:gd name="connsiteY7" fmla="*/ 16088 h 85883"/>
                    <a:gd name="connsiteX8" fmla="*/ 49545 w 102091"/>
                    <a:gd name="connsiteY8" fmla="*/ 13098 h 85883"/>
                    <a:gd name="connsiteX9" fmla="*/ 49725 w 102091"/>
                    <a:gd name="connsiteY9" fmla="*/ 13158 h 85883"/>
                    <a:gd name="connsiteX10" fmla="*/ 49784 w 102091"/>
                    <a:gd name="connsiteY10" fmla="*/ 13337 h 85883"/>
                    <a:gd name="connsiteX11" fmla="*/ 49784 w 102091"/>
                    <a:gd name="connsiteY11" fmla="*/ 13337 h 85883"/>
                    <a:gd name="connsiteX12" fmla="*/ 43684 w 102091"/>
                    <a:gd name="connsiteY12" fmla="*/ 42224 h 85883"/>
                    <a:gd name="connsiteX13" fmla="*/ 43505 w 102091"/>
                    <a:gd name="connsiteY13" fmla="*/ 42344 h 85883"/>
                    <a:gd name="connsiteX14" fmla="*/ 43325 w 102091"/>
                    <a:gd name="connsiteY14" fmla="*/ 42224 h 85883"/>
                    <a:gd name="connsiteX15" fmla="*/ 40335 w 102091"/>
                    <a:gd name="connsiteY15" fmla="*/ 16567 h 85883"/>
                    <a:gd name="connsiteX16" fmla="*/ 37584 w 102091"/>
                    <a:gd name="connsiteY16" fmla="*/ 17464 h 85883"/>
                    <a:gd name="connsiteX17" fmla="*/ 26400 w 102091"/>
                    <a:gd name="connsiteY17" fmla="*/ 47786 h 85883"/>
                    <a:gd name="connsiteX18" fmla="*/ 26280 w 102091"/>
                    <a:gd name="connsiteY18" fmla="*/ 47786 h 85883"/>
                    <a:gd name="connsiteX19" fmla="*/ 26220 w 102091"/>
                    <a:gd name="connsiteY19" fmla="*/ 47666 h 85883"/>
                    <a:gd name="connsiteX20" fmla="*/ 25622 w 102091"/>
                    <a:gd name="connsiteY20" fmla="*/ 24760 h 85883"/>
                    <a:gd name="connsiteX21" fmla="*/ 9594 w 102091"/>
                    <a:gd name="connsiteY21" fmla="*/ 40609 h 85883"/>
                    <a:gd name="connsiteX22" fmla="*/ 9415 w 102091"/>
                    <a:gd name="connsiteY22" fmla="*/ 40669 h 85883"/>
                    <a:gd name="connsiteX23" fmla="*/ 9295 w 102091"/>
                    <a:gd name="connsiteY23" fmla="*/ 40490 h 85883"/>
                    <a:gd name="connsiteX24" fmla="*/ 9953 w 102091"/>
                    <a:gd name="connsiteY24" fmla="*/ 26794 h 85883"/>
                    <a:gd name="connsiteX25" fmla="*/ 204 w 102091"/>
                    <a:gd name="connsiteY25" fmla="*/ 30023 h 85883"/>
                    <a:gd name="connsiteX26" fmla="*/ 25 w 102091"/>
                    <a:gd name="connsiteY26" fmla="*/ 29963 h 85883"/>
                    <a:gd name="connsiteX27" fmla="*/ 85 w 102091"/>
                    <a:gd name="connsiteY27" fmla="*/ 29784 h 85883"/>
                    <a:gd name="connsiteX28" fmla="*/ 10252 w 102091"/>
                    <a:gd name="connsiteY28" fmla="*/ 21351 h 85883"/>
                    <a:gd name="connsiteX29" fmla="*/ 10910 w 102091"/>
                    <a:gd name="connsiteY29" fmla="*/ 7296 h 85883"/>
                    <a:gd name="connsiteX30" fmla="*/ 10910 w 102091"/>
                    <a:gd name="connsiteY30" fmla="*/ 7296 h 85883"/>
                    <a:gd name="connsiteX31" fmla="*/ 11029 w 102091"/>
                    <a:gd name="connsiteY31" fmla="*/ 7177 h 85883"/>
                    <a:gd name="connsiteX32" fmla="*/ 23050 w 102091"/>
                    <a:gd name="connsiteY32" fmla="*/ 4366 h 85883"/>
                    <a:gd name="connsiteX33" fmla="*/ 12166 w 102091"/>
                    <a:gd name="connsiteY33" fmla="*/ 299 h 85883"/>
                    <a:gd name="connsiteX34" fmla="*/ 12046 w 102091"/>
                    <a:gd name="connsiteY34" fmla="*/ 120 h 85883"/>
                    <a:gd name="connsiteX35" fmla="*/ 12225 w 102091"/>
                    <a:gd name="connsiteY35" fmla="*/ 0 h 85883"/>
                    <a:gd name="connsiteX36" fmla="*/ 23529 w 102091"/>
                    <a:gd name="connsiteY36" fmla="*/ 4246 h 85883"/>
                    <a:gd name="connsiteX37" fmla="*/ 34893 w 102091"/>
                    <a:gd name="connsiteY37" fmla="*/ 1555 h 85883"/>
                    <a:gd name="connsiteX38" fmla="*/ 35072 w 102091"/>
                    <a:gd name="connsiteY38" fmla="*/ 1615 h 85883"/>
                    <a:gd name="connsiteX39" fmla="*/ 39857 w 102091"/>
                    <a:gd name="connsiteY39" fmla="*/ 10287 h 85883"/>
                    <a:gd name="connsiteX40" fmla="*/ 62763 w 102091"/>
                    <a:gd name="connsiteY40" fmla="*/ 3888 h 85883"/>
                    <a:gd name="connsiteX41" fmla="*/ 62882 w 102091"/>
                    <a:gd name="connsiteY41" fmla="*/ 3888 h 85883"/>
                    <a:gd name="connsiteX42" fmla="*/ 79150 w 102091"/>
                    <a:gd name="connsiteY42" fmla="*/ 15610 h 85883"/>
                    <a:gd name="connsiteX43" fmla="*/ 79210 w 102091"/>
                    <a:gd name="connsiteY43" fmla="*/ 15729 h 85883"/>
                    <a:gd name="connsiteX44" fmla="*/ 90932 w 102091"/>
                    <a:gd name="connsiteY44" fmla="*/ 85345 h 85883"/>
                    <a:gd name="connsiteX45" fmla="*/ 101577 w 102091"/>
                    <a:gd name="connsiteY45" fmla="*/ 69257 h 85883"/>
                    <a:gd name="connsiteX46" fmla="*/ 94640 w 102091"/>
                    <a:gd name="connsiteY46" fmla="*/ 61003 h 85883"/>
                    <a:gd name="connsiteX47" fmla="*/ 94640 w 102091"/>
                    <a:gd name="connsiteY47" fmla="*/ 60764 h 85883"/>
                    <a:gd name="connsiteX48" fmla="*/ 94879 w 102091"/>
                    <a:gd name="connsiteY48" fmla="*/ 60764 h 85883"/>
                    <a:gd name="connsiteX49" fmla="*/ 101877 w 102091"/>
                    <a:gd name="connsiteY49" fmla="*/ 69077 h 85883"/>
                    <a:gd name="connsiteX50" fmla="*/ 101936 w 102091"/>
                    <a:gd name="connsiteY50" fmla="*/ 69197 h 85883"/>
                    <a:gd name="connsiteX51" fmla="*/ 102056 w 102091"/>
                    <a:gd name="connsiteY51" fmla="*/ 69257 h 85883"/>
                    <a:gd name="connsiteX52" fmla="*/ 43624 w 102091"/>
                    <a:gd name="connsiteY52" fmla="*/ 41207 h 85883"/>
                    <a:gd name="connsiteX53" fmla="*/ 49426 w 102091"/>
                    <a:gd name="connsiteY53" fmla="*/ 13576 h 85883"/>
                    <a:gd name="connsiteX54" fmla="*/ 40754 w 102091"/>
                    <a:gd name="connsiteY54" fmla="*/ 16507 h 85883"/>
                    <a:gd name="connsiteX55" fmla="*/ 43624 w 102091"/>
                    <a:gd name="connsiteY55" fmla="*/ 41207 h 85883"/>
                    <a:gd name="connsiteX56" fmla="*/ 37823 w 102091"/>
                    <a:gd name="connsiteY56" fmla="*/ 17105 h 85883"/>
                    <a:gd name="connsiteX57" fmla="*/ 40395 w 102091"/>
                    <a:gd name="connsiteY57" fmla="*/ 16208 h 85883"/>
                    <a:gd name="connsiteX58" fmla="*/ 39797 w 102091"/>
                    <a:gd name="connsiteY58" fmla="*/ 11064 h 85883"/>
                    <a:gd name="connsiteX59" fmla="*/ 37823 w 102091"/>
                    <a:gd name="connsiteY59" fmla="*/ 17105 h 85883"/>
                    <a:gd name="connsiteX60" fmla="*/ 37464 w 102091"/>
                    <a:gd name="connsiteY60" fmla="*/ 17225 h 85883"/>
                    <a:gd name="connsiteX61" fmla="*/ 39557 w 102091"/>
                    <a:gd name="connsiteY61" fmla="*/ 10945 h 85883"/>
                    <a:gd name="connsiteX62" fmla="*/ 31065 w 102091"/>
                    <a:gd name="connsiteY62" fmla="*/ 19318 h 85883"/>
                    <a:gd name="connsiteX63" fmla="*/ 37464 w 102091"/>
                    <a:gd name="connsiteY63" fmla="*/ 17225 h 85883"/>
                    <a:gd name="connsiteX64" fmla="*/ 11269 w 102091"/>
                    <a:gd name="connsiteY64" fmla="*/ 7356 h 85883"/>
                    <a:gd name="connsiteX65" fmla="*/ 10611 w 102091"/>
                    <a:gd name="connsiteY65" fmla="*/ 20992 h 85883"/>
                    <a:gd name="connsiteX66" fmla="*/ 25323 w 102091"/>
                    <a:gd name="connsiteY66" fmla="*/ 8792 h 85883"/>
                    <a:gd name="connsiteX67" fmla="*/ 25503 w 102091"/>
                    <a:gd name="connsiteY67" fmla="*/ 8792 h 85883"/>
                    <a:gd name="connsiteX68" fmla="*/ 25622 w 102091"/>
                    <a:gd name="connsiteY68" fmla="*/ 8911 h 85883"/>
                    <a:gd name="connsiteX69" fmla="*/ 25921 w 102091"/>
                    <a:gd name="connsiteY69" fmla="*/ 21052 h 85883"/>
                    <a:gd name="connsiteX70" fmla="*/ 30407 w 102091"/>
                    <a:gd name="connsiteY70" fmla="*/ 19557 h 85883"/>
                    <a:gd name="connsiteX71" fmla="*/ 39677 w 102091"/>
                    <a:gd name="connsiteY71" fmla="*/ 10407 h 85883"/>
                    <a:gd name="connsiteX72" fmla="*/ 23709 w 102091"/>
                    <a:gd name="connsiteY72" fmla="*/ 4426 h 85883"/>
                    <a:gd name="connsiteX73" fmla="*/ 11269 w 102091"/>
                    <a:gd name="connsiteY73" fmla="*/ 7356 h 85883"/>
                    <a:gd name="connsiteX74" fmla="*/ 24187 w 102091"/>
                    <a:gd name="connsiteY74" fmla="*/ 4306 h 85883"/>
                    <a:gd name="connsiteX75" fmla="*/ 39557 w 102091"/>
                    <a:gd name="connsiteY75" fmla="*/ 10048 h 85883"/>
                    <a:gd name="connsiteX76" fmla="*/ 35012 w 102091"/>
                    <a:gd name="connsiteY76" fmla="*/ 1794 h 85883"/>
                    <a:gd name="connsiteX77" fmla="*/ 24187 w 102091"/>
                    <a:gd name="connsiteY77" fmla="*/ 4306 h 85883"/>
                    <a:gd name="connsiteX78" fmla="*/ 25981 w 102091"/>
                    <a:gd name="connsiteY78" fmla="*/ 24401 h 85883"/>
                    <a:gd name="connsiteX79" fmla="*/ 26579 w 102091"/>
                    <a:gd name="connsiteY79" fmla="*/ 47188 h 85883"/>
                    <a:gd name="connsiteX80" fmla="*/ 37285 w 102091"/>
                    <a:gd name="connsiteY80" fmla="*/ 17583 h 85883"/>
                    <a:gd name="connsiteX81" fmla="*/ 30526 w 102091"/>
                    <a:gd name="connsiteY81" fmla="*/ 19856 h 85883"/>
                    <a:gd name="connsiteX82" fmla="*/ 25981 w 102091"/>
                    <a:gd name="connsiteY82" fmla="*/ 24401 h 85883"/>
                    <a:gd name="connsiteX83" fmla="*/ 25981 w 102091"/>
                    <a:gd name="connsiteY83" fmla="*/ 23923 h 85883"/>
                    <a:gd name="connsiteX84" fmla="*/ 29869 w 102091"/>
                    <a:gd name="connsiteY84" fmla="*/ 20095 h 85883"/>
                    <a:gd name="connsiteX85" fmla="*/ 25921 w 102091"/>
                    <a:gd name="connsiteY85" fmla="*/ 21411 h 85883"/>
                    <a:gd name="connsiteX86" fmla="*/ 25981 w 102091"/>
                    <a:gd name="connsiteY86" fmla="*/ 23923 h 85883"/>
                    <a:gd name="connsiteX87" fmla="*/ 10312 w 102091"/>
                    <a:gd name="connsiteY87" fmla="*/ 26614 h 85883"/>
                    <a:gd name="connsiteX88" fmla="*/ 9654 w 102091"/>
                    <a:gd name="connsiteY88" fmla="*/ 40071 h 85883"/>
                    <a:gd name="connsiteX89" fmla="*/ 25622 w 102091"/>
                    <a:gd name="connsiteY89" fmla="*/ 24282 h 85883"/>
                    <a:gd name="connsiteX90" fmla="*/ 25563 w 102091"/>
                    <a:gd name="connsiteY90" fmla="*/ 21531 h 85883"/>
                    <a:gd name="connsiteX91" fmla="*/ 10312 w 102091"/>
                    <a:gd name="connsiteY91" fmla="*/ 26614 h 85883"/>
                    <a:gd name="connsiteX92" fmla="*/ 10551 w 102091"/>
                    <a:gd name="connsiteY92" fmla="*/ 21471 h 85883"/>
                    <a:gd name="connsiteX93" fmla="*/ 10312 w 102091"/>
                    <a:gd name="connsiteY93" fmla="*/ 26315 h 85883"/>
                    <a:gd name="connsiteX94" fmla="*/ 25563 w 102091"/>
                    <a:gd name="connsiteY94" fmla="*/ 21232 h 85883"/>
                    <a:gd name="connsiteX95" fmla="*/ 25264 w 102091"/>
                    <a:gd name="connsiteY95" fmla="*/ 9330 h 85883"/>
                    <a:gd name="connsiteX96" fmla="*/ 10551 w 102091"/>
                    <a:gd name="connsiteY96" fmla="*/ 21471 h 85883"/>
                    <a:gd name="connsiteX97" fmla="*/ 982 w 102091"/>
                    <a:gd name="connsiteY97" fmla="*/ 29425 h 85883"/>
                    <a:gd name="connsiteX98" fmla="*/ 10013 w 102091"/>
                    <a:gd name="connsiteY98" fmla="*/ 26375 h 85883"/>
                    <a:gd name="connsiteX99" fmla="*/ 10252 w 102091"/>
                    <a:gd name="connsiteY99" fmla="*/ 21710 h 85883"/>
                    <a:gd name="connsiteX100" fmla="*/ 982 w 102091"/>
                    <a:gd name="connsiteY100" fmla="*/ 29425 h 8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02091" h="85883">
                      <a:moveTo>
                        <a:pt x="102056" y="69257"/>
                      </a:moveTo>
                      <a:lnTo>
                        <a:pt x="91111" y="85823"/>
                      </a:lnTo>
                      <a:cubicBezTo>
                        <a:pt x="91052" y="85883"/>
                        <a:pt x="90992" y="85883"/>
                        <a:pt x="90932" y="85883"/>
                      </a:cubicBezTo>
                      <a:cubicBezTo>
                        <a:pt x="90872" y="85883"/>
                        <a:pt x="90812" y="85823"/>
                        <a:pt x="90812" y="85764"/>
                      </a:cubicBezTo>
                      <a:lnTo>
                        <a:pt x="79030" y="15789"/>
                      </a:lnTo>
                      <a:lnTo>
                        <a:pt x="62882" y="4127"/>
                      </a:lnTo>
                      <a:lnTo>
                        <a:pt x="40036" y="10466"/>
                      </a:lnTo>
                      <a:lnTo>
                        <a:pt x="40694" y="16088"/>
                      </a:lnTo>
                      <a:lnTo>
                        <a:pt x="49545" y="13098"/>
                      </a:lnTo>
                      <a:cubicBezTo>
                        <a:pt x="49605" y="13098"/>
                        <a:pt x="49665" y="13098"/>
                        <a:pt x="49725" y="13158"/>
                      </a:cubicBezTo>
                      <a:cubicBezTo>
                        <a:pt x="49784" y="13218"/>
                        <a:pt x="49784" y="13277"/>
                        <a:pt x="49784" y="13337"/>
                      </a:cubicBezTo>
                      <a:cubicBezTo>
                        <a:pt x="49784" y="13337"/>
                        <a:pt x="49784" y="13337"/>
                        <a:pt x="49784" y="13337"/>
                      </a:cubicBezTo>
                      <a:lnTo>
                        <a:pt x="43684" y="42224"/>
                      </a:lnTo>
                      <a:cubicBezTo>
                        <a:pt x="43684" y="42284"/>
                        <a:pt x="43624" y="42344"/>
                        <a:pt x="43505" y="42344"/>
                      </a:cubicBezTo>
                      <a:cubicBezTo>
                        <a:pt x="43445" y="42344"/>
                        <a:pt x="43385" y="42284"/>
                        <a:pt x="43325" y="42224"/>
                      </a:cubicBezTo>
                      <a:lnTo>
                        <a:pt x="40335" y="16567"/>
                      </a:lnTo>
                      <a:lnTo>
                        <a:pt x="37584" y="17464"/>
                      </a:lnTo>
                      <a:cubicBezTo>
                        <a:pt x="33816" y="28648"/>
                        <a:pt x="27357" y="47487"/>
                        <a:pt x="26400" y="47786"/>
                      </a:cubicBezTo>
                      <a:cubicBezTo>
                        <a:pt x="26340" y="47786"/>
                        <a:pt x="26280" y="47786"/>
                        <a:pt x="26280" y="47786"/>
                      </a:cubicBezTo>
                      <a:cubicBezTo>
                        <a:pt x="26220" y="47786"/>
                        <a:pt x="26220" y="47726"/>
                        <a:pt x="26220" y="47666"/>
                      </a:cubicBezTo>
                      <a:lnTo>
                        <a:pt x="25622" y="24760"/>
                      </a:lnTo>
                      <a:lnTo>
                        <a:pt x="9594" y="40609"/>
                      </a:lnTo>
                      <a:cubicBezTo>
                        <a:pt x="9534" y="40669"/>
                        <a:pt x="9474" y="40669"/>
                        <a:pt x="9415" y="40669"/>
                      </a:cubicBezTo>
                      <a:cubicBezTo>
                        <a:pt x="9355" y="40669"/>
                        <a:pt x="9295" y="40609"/>
                        <a:pt x="9295" y="40490"/>
                      </a:cubicBezTo>
                      <a:lnTo>
                        <a:pt x="9953" y="26794"/>
                      </a:lnTo>
                      <a:lnTo>
                        <a:pt x="204" y="30023"/>
                      </a:lnTo>
                      <a:cubicBezTo>
                        <a:pt x="145" y="30023"/>
                        <a:pt x="25" y="30023"/>
                        <a:pt x="25" y="29963"/>
                      </a:cubicBezTo>
                      <a:cubicBezTo>
                        <a:pt x="-35" y="29904"/>
                        <a:pt x="25" y="29784"/>
                        <a:pt x="85" y="29784"/>
                      </a:cubicBezTo>
                      <a:lnTo>
                        <a:pt x="10252" y="21351"/>
                      </a:lnTo>
                      <a:lnTo>
                        <a:pt x="10910" y="7296"/>
                      </a:lnTo>
                      <a:cubicBezTo>
                        <a:pt x="10910" y="7296"/>
                        <a:pt x="10910" y="7296"/>
                        <a:pt x="10910" y="7296"/>
                      </a:cubicBezTo>
                      <a:cubicBezTo>
                        <a:pt x="10910" y="7237"/>
                        <a:pt x="10970" y="7177"/>
                        <a:pt x="11029" y="7177"/>
                      </a:cubicBezTo>
                      <a:lnTo>
                        <a:pt x="23050" y="4366"/>
                      </a:lnTo>
                      <a:lnTo>
                        <a:pt x="12166" y="299"/>
                      </a:lnTo>
                      <a:cubicBezTo>
                        <a:pt x="12106" y="239"/>
                        <a:pt x="12046" y="180"/>
                        <a:pt x="12046" y="120"/>
                      </a:cubicBezTo>
                      <a:cubicBezTo>
                        <a:pt x="12106" y="60"/>
                        <a:pt x="12166" y="0"/>
                        <a:pt x="12225" y="0"/>
                      </a:cubicBezTo>
                      <a:lnTo>
                        <a:pt x="23529" y="4246"/>
                      </a:lnTo>
                      <a:lnTo>
                        <a:pt x="34893" y="1555"/>
                      </a:lnTo>
                      <a:cubicBezTo>
                        <a:pt x="34952" y="1555"/>
                        <a:pt x="35012" y="1555"/>
                        <a:pt x="35072" y="1615"/>
                      </a:cubicBezTo>
                      <a:lnTo>
                        <a:pt x="39857" y="10287"/>
                      </a:lnTo>
                      <a:lnTo>
                        <a:pt x="62763" y="3888"/>
                      </a:lnTo>
                      <a:cubicBezTo>
                        <a:pt x="62822" y="3888"/>
                        <a:pt x="62882" y="3888"/>
                        <a:pt x="62882" y="3888"/>
                      </a:cubicBezTo>
                      <a:lnTo>
                        <a:pt x="79150" y="15610"/>
                      </a:lnTo>
                      <a:cubicBezTo>
                        <a:pt x="79210" y="15610"/>
                        <a:pt x="79210" y="15670"/>
                        <a:pt x="79210" y="15729"/>
                      </a:cubicBezTo>
                      <a:lnTo>
                        <a:pt x="90932" y="85345"/>
                      </a:lnTo>
                      <a:lnTo>
                        <a:pt x="101577" y="69257"/>
                      </a:lnTo>
                      <a:lnTo>
                        <a:pt x="94640" y="61003"/>
                      </a:lnTo>
                      <a:cubicBezTo>
                        <a:pt x="94580" y="60944"/>
                        <a:pt x="94580" y="60824"/>
                        <a:pt x="94640" y="60764"/>
                      </a:cubicBezTo>
                      <a:cubicBezTo>
                        <a:pt x="94700" y="60704"/>
                        <a:pt x="94819" y="60704"/>
                        <a:pt x="94879" y="60764"/>
                      </a:cubicBezTo>
                      <a:lnTo>
                        <a:pt x="101877" y="69077"/>
                      </a:lnTo>
                      <a:cubicBezTo>
                        <a:pt x="101936" y="69137"/>
                        <a:pt x="101936" y="69137"/>
                        <a:pt x="101936" y="69197"/>
                      </a:cubicBezTo>
                      <a:cubicBezTo>
                        <a:pt x="102116" y="69197"/>
                        <a:pt x="102116" y="69257"/>
                        <a:pt x="102056" y="69257"/>
                      </a:cubicBezTo>
                      <a:close/>
                      <a:moveTo>
                        <a:pt x="43624" y="41207"/>
                      </a:moveTo>
                      <a:lnTo>
                        <a:pt x="49426" y="13576"/>
                      </a:lnTo>
                      <a:lnTo>
                        <a:pt x="40754" y="16507"/>
                      </a:lnTo>
                      <a:lnTo>
                        <a:pt x="43624" y="41207"/>
                      </a:lnTo>
                      <a:close/>
                      <a:moveTo>
                        <a:pt x="37823" y="17105"/>
                      </a:moveTo>
                      <a:lnTo>
                        <a:pt x="40395" y="16208"/>
                      </a:lnTo>
                      <a:lnTo>
                        <a:pt x="39797" y="11064"/>
                      </a:lnTo>
                      <a:cubicBezTo>
                        <a:pt x="39378" y="12500"/>
                        <a:pt x="38720" y="14593"/>
                        <a:pt x="37823" y="17105"/>
                      </a:cubicBezTo>
                      <a:close/>
                      <a:moveTo>
                        <a:pt x="37464" y="17225"/>
                      </a:moveTo>
                      <a:cubicBezTo>
                        <a:pt x="38182" y="15072"/>
                        <a:pt x="38899" y="12918"/>
                        <a:pt x="39557" y="10945"/>
                      </a:cubicBezTo>
                      <a:lnTo>
                        <a:pt x="31065" y="19318"/>
                      </a:lnTo>
                      <a:lnTo>
                        <a:pt x="37464" y="17225"/>
                      </a:lnTo>
                      <a:close/>
                      <a:moveTo>
                        <a:pt x="11269" y="7356"/>
                      </a:moveTo>
                      <a:lnTo>
                        <a:pt x="10611" y="20992"/>
                      </a:lnTo>
                      <a:lnTo>
                        <a:pt x="25323" y="8792"/>
                      </a:lnTo>
                      <a:cubicBezTo>
                        <a:pt x="25383" y="8732"/>
                        <a:pt x="25443" y="8732"/>
                        <a:pt x="25503" y="8792"/>
                      </a:cubicBezTo>
                      <a:cubicBezTo>
                        <a:pt x="25563" y="8792"/>
                        <a:pt x="25622" y="8852"/>
                        <a:pt x="25622" y="8911"/>
                      </a:cubicBezTo>
                      <a:lnTo>
                        <a:pt x="25921" y="21052"/>
                      </a:lnTo>
                      <a:lnTo>
                        <a:pt x="30407" y="19557"/>
                      </a:lnTo>
                      <a:lnTo>
                        <a:pt x="39677" y="10407"/>
                      </a:lnTo>
                      <a:lnTo>
                        <a:pt x="23709" y="4426"/>
                      </a:lnTo>
                      <a:lnTo>
                        <a:pt x="11269" y="7356"/>
                      </a:lnTo>
                      <a:close/>
                      <a:moveTo>
                        <a:pt x="24187" y="4306"/>
                      </a:moveTo>
                      <a:lnTo>
                        <a:pt x="39557" y="10048"/>
                      </a:lnTo>
                      <a:lnTo>
                        <a:pt x="35012" y="1794"/>
                      </a:lnTo>
                      <a:lnTo>
                        <a:pt x="24187" y="4306"/>
                      </a:lnTo>
                      <a:close/>
                      <a:moveTo>
                        <a:pt x="25981" y="24401"/>
                      </a:moveTo>
                      <a:lnTo>
                        <a:pt x="26579" y="47188"/>
                      </a:lnTo>
                      <a:cubicBezTo>
                        <a:pt x="27895" y="44975"/>
                        <a:pt x="32979" y="30382"/>
                        <a:pt x="37285" y="17583"/>
                      </a:cubicBezTo>
                      <a:lnTo>
                        <a:pt x="30526" y="19856"/>
                      </a:lnTo>
                      <a:lnTo>
                        <a:pt x="25981" y="24401"/>
                      </a:lnTo>
                      <a:close/>
                      <a:moveTo>
                        <a:pt x="25981" y="23923"/>
                      </a:moveTo>
                      <a:lnTo>
                        <a:pt x="29869" y="20095"/>
                      </a:lnTo>
                      <a:lnTo>
                        <a:pt x="25921" y="21411"/>
                      </a:lnTo>
                      <a:lnTo>
                        <a:pt x="25981" y="23923"/>
                      </a:lnTo>
                      <a:close/>
                      <a:moveTo>
                        <a:pt x="10312" y="26614"/>
                      </a:moveTo>
                      <a:lnTo>
                        <a:pt x="9654" y="40071"/>
                      </a:lnTo>
                      <a:lnTo>
                        <a:pt x="25622" y="24282"/>
                      </a:lnTo>
                      <a:lnTo>
                        <a:pt x="25563" y="21531"/>
                      </a:lnTo>
                      <a:lnTo>
                        <a:pt x="10312" y="26614"/>
                      </a:lnTo>
                      <a:close/>
                      <a:moveTo>
                        <a:pt x="10551" y="21471"/>
                      </a:moveTo>
                      <a:lnTo>
                        <a:pt x="10312" y="26315"/>
                      </a:lnTo>
                      <a:lnTo>
                        <a:pt x="25563" y="21232"/>
                      </a:lnTo>
                      <a:lnTo>
                        <a:pt x="25264" y="9330"/>
                      </a:lnTo>
                      <a:lnTo>
                        <a:pt x="10551" y="21471"/>
                      </a:lnTo>
                      <a:close/>
                      <a:moveTo>
                        <a:pt x="982" y="29425"/>
                      </a:moveTo>
                      <a:lnTo>
                        <a:pt x="10013" y="26375"/>
                      </a:lnTo>
                      <a:lnTo>
                        <a:pt x="10252" y="21710"/>
                      </a:lnTo>
                      <a:lnTo>
                        <a:pt x="982" y="29425"/>
                      </a:lnTo>
                      <a:close/>
                    </a:path>
                  </a:pathLst>
                </a:custGeom>
                <a:grpFill/>
                <a:ln w="6350" cap="flat">
                  <a:solidFill>
                    <a:schemeClr val="bg1">
                      <a:alpha val="40000"/>
                    </a:schemeClr>
                  </a:solidFill>
                  <a:prstDash val="solid"/>
                  <a:miter/>
                </a:ln>
              </p:spPr>
              <p:txBody>
                <a:bodyPr rtlCol="0" anchor="ctr"/>
                <a:lstStyle/>
                <a:p>
                  <a:endParaRPr lang="en-GB"/>
                </a:p>
              </p:txBody>
            </p:sp>
            <p:sp>
              <p:nvSpPr>
                <p:cNvPr id="8942" name="Vrije vorm: vorm 8941">
                  <a:extLst>
                    <a:ext uri="{FF2B5EF4-FFF2-40B4-BE49-F238E27FC236}">
                      <a16:creationId xmlns:a16="http://schemas.microsoft.com/office/drawing/2014/main" id="{06C8CD41-7B5F-45A8-BD8F-A875D664225F}"/>
                    </a:ext>
                  </a:extLst>
                </p:cNvPr>
                <p:cNvSpPr/>
                <p:nvPr/>
              </p:nvSpPr>
              <p:spPr>
                <a:xfrm>
                  <a:off x="4642276" y="2613675"/>
                  <a:ext cx="46509" cy="22652"/>
                </a:xfrm>
                <a:custGeom>
                  <a:avLst/>
                  <a:gdLst>
                    <a:gd name="connsiteX0" fmla="*/ 46510 w 46509"/>
                    <a:gd name="connsiteY0" fmla="*/ 4187 h 22652"/>
                    <a:gd name="connsiteX1" fmla="*/ 46390 w 46509"/>
                    <a:gd name="connsiteY1" fmla="*/ 4007 h 22652"/>
                    <a:gd name="connsiteX2" fmla="*/ 35684 w 46509"/>
                    <a:gd name="connsiteY2" fmla="*/ 0 h 22652"/>
                    <a:gd name="connsiteX3" fmla="*/ 35505 w 46509"/>
                    <a:gd name="connsiteY3" fmla="*/ 0 h 22652"/>
                    <a:gd name="connsiteX4" fmla="*/ 9250 w 46509"/>
                    <a:gd name="connsiteY4" fmla="*/ 22188 h 22652"/>
                    <a:gd name="connsiteX5" fmla="*/ 278 w 46509"/>
                    <a:gd name="connsiteY5" fmla="*/ 15430 h 22652"/>
                    <a:gd name="connsiteX6" fmla="*/ 39 w 46509"/>
                    <a:gd name="connsiteY6" fmla="*/ 15490 h 22652"/>
                    <a:gd name="connsiteX7" fmla="*/ 99 w 46509"/>
                    <a:gd name="connsiteY7" fmla="*/ 15729 h 22652"/>
                    <a:gd name="connsiteX8" fmla="*/ 9130 w 46509"/>
                    <a:gd name="connsiteY8" fmla="*/ 22607 h 22652"/>
                    <a:gd name="connsiteX9" fmla="*/ 9309 w 46509"/>
                    <a:gd name="connsiteY9" fmla="*/ 22607 h 22652"/>
                    <a:gd name="connsiteX10" fmla="*/ 35565 w 46509"/>
                    <a:gd name="connsiteY10" fmla="*/ 419 h 22652"/>
                    <a:gd name="connsiteX11" fmla="*/ 46210 w 46509"/>
                    <a:gd name="connsiteY11" fmla="*/ 4366 h 22652"/>
                    <a:gd name="connsiteX12" fmla="*/ 46510 w 46509"/>
                    <a:gd name="connsiteY12" fmla="*/ 4187 h 22652"/>
                    <a:gd name="connsiteX13" fmla="*/ 46510 w 46509"/>
                    <a:gd name="connsiteY13" fmla="*/ 4187 h 2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509" h="22652">
                      <a:moveTo>
                        <a:pt x="46510" y="4187"/>
                      </a:moveTo>
                      <a:cubicBezTo>
                        <a:pt x="46510" y="4127"/>
                        <a:pt x="46510" y="4007"/>
                        <a:pt x="46390" y="4007"/>
                      </a:cubicBezTo>
                      <a:lnTo>
                        <a:pt x="35684" y="0"/>
                      </a:lnTo>
                      <a:cubicBezTo>
                        <a:pt x="35625" y="0"/>
                        <a:pt x="35565" y="0"/>
                        <a:pt x="35505" y="0"/>
                      </a:cubicBezTo>
                      <a:lnTo>
                        <a:pt x="9250" y="22188"/>
                      </a:lnTo>
                      <a:lnTo>
                        <a:pt x="278" y="15430"/>
                      </a:lnTo>
                      <a:cubicBezTo>
                        <a:pt x="219" y="15370"/>
                        <a:pt x="99" y="15370"/>
                        <a:pt x="39" y="15490"/>
                      </a:cubicBezTo>
                      <a:cubicBezTo>
                        <a:pt x="-21" y="15550"/>
                        <a:pt x="-21" y="15669"/>
                        <a:pt x="99" y="15729"/>
                      </a:cubicBezTo>
                      <a:lnTo>
                        <a:pt x="9130" y="22607"/>
                      </a:lnTo>
                      <a:cubicBezTo>
                        <a:pt x="9190" y="22667"/>
                        <a:pt x="9250" y="22667"/>
                        <a:pt x="9309" y="22607"/>
                      </a:cubicBezTo>
                      <a:lnTo>
                        <a:pt x="35565" y="419"/>
                      </a:lnTo>
                      <a:lnTo>
                        <a:pt x="46210" y="4366"/>
                      </a:lnTo>
                      <a:cubicBezTo>
                        <a:pt x="46390" y="4366"/>
                        <a:pt x="46450" y="4306"/>
                        <a:pt x="46510" y="4187"/>
                      </a:cubicBezTo>
                      <a:cubicBezTo>
                        <a:pt x="46510" y="4246"/>
                        <a:pt x="46510" y="4246"/>
                        <a:pt x="46510" y="418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43" name="Vrije vorm: vorm 8942">
                  <a:extLst>
                    <a:ext uri="{FF2B5EF4-FFF2-40B4-BE49-F238E27FC236}">
                      <a16:creationId xmlns:a16="http://schemas.microsoft.com/office/drawing/2014/main" id="{E1797D51-79B3-4B85-BD56-AC334EA39710}"/>
                    </a:ext>
                  </a:extLst>
                </p:cNvPr>
                <p:cNvSpPr/>
                <p:nvPr/>
              </p:nvSpPr>
              <p:spPr>
                <a:xfrm>
                  <a:off x="4649971" y="2553629"/>
                  <a:ext cx="48503" cy="71529"/>
                </a:xfrm>
                <a:custGeom>
                  <a:avLst/>
                  <a:gdLst>
                    <a:gd name="connsiteX0" fmla="*/ 48504 w 48503"/>
                    <a:gd name="connsiteY0" fmla="*/ 18241 h 71529"/>
                    <a:gd name="connsiteX1" fmla="*/ 48504 w 48503"/>
                    <a:gd name="connsiteY1" fmla="*/ 18181 h 71529"/>
                    <a:gd name="connsiteX2" fmla="*/ 43181 w 48503"/>
                    <a:gd name="connsiteY2" fmla="*/ 11902 h 71529"/>
                    <a:gd name="connsiteX3" fmla="*/ 43181 w 48503"/>
                    <a:gd name="connsiteY3" fmla="*/ 11842 h 71529"/>
                    <a:gd name="connsiteX4" fmla="*/ 38576 w 48503"/>
                    <a:gd name="connsiteY4" fmla="*/ 60 h 71529"/>
                    <a:gd name="connsiteX5" fmla="*/ 38456 w 48503"/>
                    <a:gd name="connsiteY5" fmla="*/ 0 h 71529"/>
                    <a:gd name="connsiteX6" fmla="*/ 38337 w 48503"/>
                    <a:gd name="connsiteY6" fmla="*/ 60 h 71529"/>
                    <a:gd name="connsiteX7" fmla="*/ 21950 w 48503"/>
                    <a:gd name="connsiteY7" fmla="*/ 17942 h 71529"/>
                    <a:gd name="connsiteX8" fmla="*/ 12799 w 48503"/>
                    <a:gd name="connsiteY8" fmla="*/ 20693 h 71529"/>
                    <a:gd name="connsiteX9" fmla="*/ 12679 w 48503"/>
                    <a:gd name="connsiteY9" fmla="*/ 20753 h 71529"/>
                    <a:gd name="connsiteX10" fmla="*/ 359 w 48503"/>
                    <a:gd name="connsiteY10" fmla="*/ 39891 h 71529"/>
                    <a:gd name="connsiteX11" fmla="*/ 837 w 48503"/>
                    <a:gd name="connsiteY11" fmla="*/ 31040 h 71529"/>
                    <a:gd name="connsiteX12" fmla="*/ 658 w 48503"/>
                    <a:gd name="connsiteY12" fmla="*/ 30861 h 71529"/>
                    <a:gd name="connsiteX13" fmla="*/ 479 w 48503"/>
                    <a:gd name="connsiteY13" fmla="*/ 30980 h 71529"/>
                    <a:gd name="connsiteX14" fmla="*/ 479 w 48503"/>
                    <a:gd name="connsiteY14" fmla="*/ 30980 h 71529"/>
                    <a:gd name="connsiteX15" fmla="*/ 0 w 48503"/>
                    <a:gd name="connsiteY15" fmla="*/ 40310 h 71529"/>
                    <a:gd name="connsiteX16" fmla="*/ 60 w 48503"/>
                    <a:gd name="connsiteY16" fmla="*/ 40490 h 71529"/>
                    <a:gd name="connsiteX17" fmla="*/ 239 w 48503"/>
                    <a:gd name="connsiteY17" fmla="*/ 40490 h 71529"/>
                    <a:gd name="connsiteX18" fmla="*/ 12859 w 48503"/>
                    <a:gd name="connsiteY18" fmla="*/ 21052 h 71529"/>
                    <a:gd name="connsiteX19" fmla="*/ 22009 w 48503"/>
                    <a:gd name="connsiteY19" fmla="*/ 18301 h 71529"/>
                    <a:gd name="connsiteX20" fmla="*/ 22129 w 48503"/>
                    <a:gd name="connsiteY20" fmla="*/ 18241 h 71529"/>
                    <a:gd name="connsiteX21" fmla="*/ 38456 w 48503"/>
                    <a:gd name="connsiteY21" fmla="*/ 479 h 71529"/>
                    <a:gd name="connsiteX22" fmla="*/ 42942 w 48503"/>
                    <a:gd name="connsiteY22" fmla="*/ 12141 h 71529"/>
                    <a:gd name="connsiteX23" fmla="*/ 48264 w 48503"/>
                    <a:gd name="connsiteY23" fmla="*/ 18361 h 71529"/>
                    <a:gd name="connsiteX24" fmla="*/ 37978 w 48503"/>
                    <a:gd name="connsiteY24" fmla="*/ 38636 h 71529"/>
                    <a:gd name="connsiteX25" fmla="*/ 37978 w 48503"/>
                    <a:gd name="connsiteY25" fmla="*/ 38695 h 71529"/>
                    <a:gd name="connsiteX26" fmla="*/ 43420 w 48503"/>
                    <a:gd name="connsiteY26" fmla="*/ 71350 h 71529"/>
                    <a:gd name="connsiteX27" fmla="*/ 43600 w 48503"/>
                    <a:gd name="connsiteY27" fmla="*/ 71530 h 71529"/>
                    <a:gd name="connsiteX28" fmla="*/ 43779 w 48503"/>
                    <a:gd name="connsiteY28" fmla="*/ 71350 h 71529"/>
                    <a:gd name="connsiteX29" fmla="*/ 38337 w 48503"/>
                    <a:gd name="connsiteY29" fmla="*/ 38755 h 71529"/>
                    <a:gd name="connsiteX30" fmla="*/ 48504 w 48503"/>
                    <a:gd name="connsiteY30" fmla="*/ 18241 h 71529"/>
                    <a:gd name="connsiteX31" fmla="*/ 48504 w 48503"/>
                    <a:gd name="connsiteY31" fmla="*/ 18241 h 7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8503" h="71529">
                      <a:moveTo>
                        <a:pt x="48504" y="18241"/>
                      </a:moveTo>
                      <a:cubicBezTo>
                        <a:pt x="48504" y="18241"/>
                        <a:pt x="48504" y="18181"/>
                        <a:pt x="48504" y="18181"/>
                      </a:cubicBezTo>
                      <a:lnTo>
                        <a:pt x="43181" y="11902"/>
                      </a:lnTo>
                      <a:cubicBezTo>
                        <a:pt x="43181" y="11902"/>
                        <a:pt x="43181" y="11842"/>
                        <a:pt x="43181" y="11842"/>
                      </a:cubicBezTo>
                      <a:lnTo>
                        <a:pt x="38576" y="60"/>
                      </a:lnTo>
                      <a:cubicBezTo>
                        <a:pt x="38516" y="0"/>
                        <a:pt x="38516" y="0"/>
                        <a:pt x="38456" y="0"/>
                      </a:cubicBezTo>
                      <a:cubicBezTo>
                        <a:pt x="38397" y="0"/>
                        <a:pt x="38337" y="0"/>
                        <a:pt x="38337" y="60"/>
                      </a:cubicBezTo>
                      <a:lnTo>
                        <a:pt x="21950" y="17942"/>
                      </a:lnTo>
                      <a:lnTo>
                        <a:pt x="12799" y="20693"/>
                      </a:lnTo>
                      <a:cubicBezTo>
                        <a:pt x="12739" y="20693"/>
                        <a:pt x="12679" y="20753"/>
                        <a:pt x="12679" y="20753"/>
                      </a:cubicBezTo>
                      <a:cubicBezTo>
                        <a:pt x="12560" y="20933"/>
                        <a:pt x="2512" y="37260"/>
                        <a:pt x="359" y="39891"/>
                      </a:cubicBezTo>
                      <a:lnTo>
                        <a:pt x="837" y="31040"/>
                      </a:lnTo>
                      <a:cubicBezTo>
                        <a:pt x="837" y="30980"/>
                        <a:pt x="778" y="30861"/>
                        <a:pt x="658" y="30861"/>
                      </a:cubicBezTo>
                      <a:cubicBezTo>
                        <a:pt x="598" y="30861"/>
                        <a:pt x="479" y="30920"/>
                        <a:pt x="479" y="30980"/>
                      </a:cubicBezTo>
                      <a:cubicBezTo>
                        <a:pt x="479" y="30980"/>
                        <a:pt x="479" y="30980"/>
                        <a:pt x="479" y="30980"/>
                      </a:cubicBezTo>
                      <a:lnTo>
                        <a:pt x="0" y="40310"/>
                      </a:lnTo>
                      <a:cubicBezTo>
                        <a:pt x="0" y="40370"/>
                        <a:pt x="60" y="40430"/>
                        <a:pt x="60" y="40490"/>
                      </a:cubicBezTo>
                      <a:cubicBezTo>
                        <a:pt x="120" y="40490"/>
                        <a:pt x="180" y="40490"/>
                        <a:pt x="239" y="40490"/>
                      </a:cubicBezTo>
                      <a:cubicBezTo>
                        <a:pt x="1495" y="39473"/>
                        <a:pt x="12021" y="22428"/>
                        <a:pt x="12859" y="21052"/>
                      </a:cubicBezTo>
                      <a:lnTo>
                        <a:pt x="22009" y="18301"/>
                      </a:lnTo>
                      <a:cubicBezTo>
                        <a:pt x="22069" y="18301"/>
                        <a:pt x="22069" y="18301"/>
                        <a:pt x="22129" y="18241"/>
                      </a:cubicBezTo>
                      <a:lnTo>
                        <a:pt x="38456" y="479"/>
                      </a:lnTo>
                      <a:lnTo>
                        <a:pt x="42942" y="12141"/>
                      </a:lnTo>
                      <a:lnTo>
                        <a:pt x="48264" y="18361"/>
                      </a:lnTo>
                      <a:lnTo>
                        <a:pt x="37978" y="38636"/>
                      </a:lnTo>
                      <a:cubicBezTo>
                        <a:pt x="37978" y="38636"/>
                        <a:pt x="37978" y="38695"/>
                        <a:pt x="37978" y="38695"/>
                      </a:cubicBezTo>
                      <a:lnTo>
                        <a:pt x="43420" y="71350"/>
                      </a:lnTo>
                      <a:cubicBezTo>
                        <a:pt x="43420" y="71410"/>
                        <a:pt x="43480" y="71530"/>
                        <a:pt x="43600" y="71530"/>
                      </a:cubicBezTo>
                      <a:cubicBezTo>
                        <a:pt x="43719" y="71530"/>
                        <a:pt x="43779" y="71470"/>
                        <a:pt x="43779" y="71350"/>
                      </a:cubicBezTo>
                      <a:lnTo>
                        <a:pt x="38337" y="38755"/>
                      </a:lnTo>
                      <a:lnTo>
                        <a:pt x="48504" y="18241"/>
                      </a:lnTo>
                      <a:cubicBezTo>
                        <a:pt x="48504" y="18241"/>
                        <a:pt x="48504" y="18241"/>
                        <a:pt x="48504" y="1824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44" name="Vrije vorm: vorm 8943">
                  <a:extLst>
                    <a:ext uri="{FF2B5EF4-FFF2-40B4-BE49-F238E27FC236}">
                      <a16:creationId xmlns:a16="http://schemas.microsoft.com/office/drawing/2014/main" id="{5BEBBD92-B318-4E79-8A57-C083E1746A5A}"/>
                    </a:ext>
                  </a:extLst>
                </p:cNvPr>
                <p:cNvSpPr/>
                <p:nvPr/>
              </p:nvSpPr>
              <p:spPr>
                <a:xfrm>
                  <a:off x="4690794" y="2571666"/>
                  <a:ext cx="7680" cy="3578"/>
                </a:xfrm>
                <a:custGeom>
                  <a:avLst/>
                  <a:gdLst>
                    <a:gd name="connsiteX0" fmla="*/ 7680 w 7680"/>
                    <a:gd name="connsiteY0" fmla="*/ 204 h 3578"/>
                    <a:gd name="connsiteX1" fmla="*/ 7680 w 7680"/>
                    <a:gd name="connsiteY1" fmla="*/ 84 h 3578"/>
                    <a:gd name="connsiteX2" fmla="*/ 7441 w 7680"/>
                    <a:gd name="connsiteY2" fmla="*/ 25 h 3578"/>
                    <a:gd name="connsiteX3" fmla="*/ 85 w 7680"/>
                    <a:gd name="connsiteY3" fmla="*/ 3254 h 3578"/>
                    <a:gd name="connsiteX4" fmla="*/ 25 w 7680"/>
                    <a:gd name="connsiteY4" fmla="*/ 3494 h 3578"/>
                    <a:gd name="connsiteX5" fmla="*/ 264 w 7680"/>
                    <a:gd name="connsiteY5" fmla="*/ 3553 h 3578"/>
                    <a:gd name="connsiteX6" fmla="*/ 7620 w 7680"/>
                    <a:gd name="connsiteY6" fmla="*/ 324 h 3578"/>
                    <a:gd name="connsiteX7" fmla="*/ 7680 w 7680"/>
                    <a:gd name="connsiteY7" fmla="*/ 204 h 3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80" h="3578">
                      <a:moveTo>
                        <a:pt x="7680" y="204"/>
                      </a:moveTo>
                      <a:cubicBezTo>
                        <a:pt x="7680" y="144"/>
                        <a:pt x="7680" y="144"/>
                        <a:pt x="7680" y="84"/>
                      </a:cubicBezTo>
                      <a:cubicBezTo>
                        <a:pt x="7620" y="25"/>
                        <a:pt x="7561" y="-35"/>
                        <a:pt x="7441" y="25"/>
                      </a:cubicBezTo>
                      <a:lnTo>
                        <a:pt x="85" y="3254"/>
                      </a:lnTo>
                      <a:cubicBezTo>
                        <a:pt x="25" y="3314"/>
                        <a:pt x="-35" y="3374"/>
                        <a:pt x="25" y="3494"/>
                      </a:cubicBezTo>
                      <a:cubicBezTo>
                        <a:pt x="85" y="3553"/>
                        <a:pt x="145" y="3613"/>
                        <a:pt x="264" y="3553"/>
                      </a:cubicBezTo>
                      <a:lnTo>
                        <a:pt x="7620" y="324"/>
                      </a:lnTo>
                      <a:cubicBezTo>
                        <a:pt x="7620" y="264"/>
                        <a:pt x="7680" y="264"/>
                        <a:pt x="7680" y="20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45" name="Vrije vorm: vorm 8944">
                  <a:extLst>
                    <a:ext uri="{FF2B5EF4-FFF2-40B4-BE49-F238E27FC236}">
                      <a16:creationId xmlns:a16="http://schemas.microsoft.com/office/drawing/2014/main" id="{CFAFD8B3-299F-4316-9D73-4744AC378EFB}"/>
                    </a:ext>
                  </a:extLst>
                </p:cNvPr>
                <p:cNvSpPr/>
                <p:nvPr/>
              </p:nvSpPr>
              <p:spPr>
                <a:xfrm>
                  <a:off x="4671681" y="2562420"/>
                  <a:ext cx="538" cy="9449"/>
                </a:xfrm>
                <a:custGeom>
                  <a:avLst/>
                  <a:gdLst>
                    <a:gd name="connsiteX0" fmla="*/ 359 w 538"/>
                    <a:gd name="connsiteY0" fmla="*/ 9270 h 9449"/>
                    <a:gd name="connsiteX1" fmla="*/ 359 w 538"/>
                    <a:gd name="connsiteY1" fmla="*/ 9270 h 9449"/>
                    <a:gd name="connsiteX2" fmla="*/ 538 w 538"/>
                    <a:gd name="connsiteY2" fmla="*/ 179 h 9449"/>
                    <a:gd name="connsiteX3" fmla="*/ 359 w 538"/>
                    <a:gd name="connsiteY3" fmla="*/ 0 h 9449"/>
                    <a:gd name="connsiteX4" fmla="*/ 180 w 538"/>
                    <a:gd name="connsiteY4" fmla="*/ 179 h 9449"/>
                    <a:gd name="connsiteX5" fmla="*/ 0 w 538"/>
                    <a:gd name="connsiteY5" fmla="*/ 9270 h 9449"/>
                    <a:gd name="connsiteX6" fmla="*/ 180 w 538"/>
                    <a:gd name="connsiteY6" fmla="*/ 9450 h 9449"/>
                    <a:gd name="connsiteX7" fmla="*/ 359 w 538"/>
                    <a:gd name="connsiteY7" fmla="*/ 9270 h 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 h="9449">
                      <a:moveTo>
                        <a:pt x="359" y="9270"/>
                      </a:moveTo>
                      <a:cubicBezTo>
                        <a:pt x="359" y="9210"/>
                        <a:pt x="359" y="9210"/>
                        <a:pt x="359" y="9270"/>
                      </a:cubicBezTo>
                      <a:lnTo>
                        <a:pt x="538" y="179"/>
                      </a:lnTo>
                      <a:cubicBezTo>
                        <a:pt x="538" y="120"/>
                        <a:pt x="479" y="0"/>
                        <a:pt x="359" y="0"/>
                      </a:cubicBezTo>
                      <a:cubicBezTo>
                        <a:pt x="299" y="0"/>
                        <a:pt x="180" y="60"/>
                        <a:pt x="180" y="179"/>
                      </a:cubicBezTo>
                      <a:lnTo>
                        <a:pt x="0" y="9270"/>
                      </a:lnTo>
                      <a:cubicBezTo>
                        <a:pt x="0" y="9330"/>
                        <a:pt x="60" y="9450"/>
                        <a:pt x="180" y="9450"/>
                      </a:cubicBezTo>
                      <a:cubicBezTo>
                        <a:pt x="299" y="9390"/>
                        <a:pt x="359" y="9330"/>
                        <a:pt x="359" y="927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46" name="Vrije vorm: vorm 8945">
                  <a:extLst>
                    <a:ext uri="{FF2B5EF4-FFF2-40B4-BE49-F238E27FC236}">
                      <a16:creationId xmlns:a16="http://schemas.microsoft.com/office/drawing/2014/main" id="{B9D42190-519E-4693-ADDE-7DA4485634B0}"/>
                    </a:ext>
                  </a:extLst>
                </p:cNvPr>
                <p:cNvSpPr/>
                <p:nvPr/>
              </p:nvSpPr>
              <p:spPr>
                <a:xfrm>
                  <a:off x="4662471" y="2574202"/>
                  <a:ext cx="478" cy="9509"/>
                </a:xfrm>
                <a:custGeom>
                  <a:avLst/>
                  <a:gdLst>
                    <a:gd name="connsiteX0" fmla="*/ 479 w 478"/>
                    <a:gd name="connsiteY0" fmla="*/ 9330 h 9509"/>
                    <a:gd name="connsiteX1" fmla="*/ 479 w 478"/>
                    <a:gd name="connsiteY1" fmla="*/ 9330 h 9509"/>
                    <a:gd name="connsiteX2" fmla="*/ 359 w 478"/>
                    <a:gd name="connsiteY2" fmla="*/ 179 h 9509"/>
                    <a:gd name="connsiteX3" fmla="*/ 179 w 478"/>
                    <a:gd name="connsiteY3" fmla="*/ 0 h 9509"/>
                    <a:gd name="connsiteX4" fmla="*/ 0 w 478"/>
                    <a:gd name="connsiteY4" fmla="*/ 179 h 9509"/>
                    <a:gd name="connsiteX5" fmla="*/ 120 w 478"/>
                    <a:gd name="connsiteY5" fmla="*/ 9330 h 9509"/>
                    <a:gd name="connsiteX6" fmla="*/ 299 w 478"/>
                    <a:gd name="connsiteY6" fmla="*/ 9509 h 9509"/>
                    <a:gd name="connsiteX7" fmla="*/ 479 w 478"/>
                    <a:gd name="connsiteY7" fmla="*/ 9330 h 9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8" h="9509">
                      <a:moveTo>
                        <a:pt x="479" y="9330"/>
                      </a:moveTo>
                      <a:cubicBezTo>
                        <a:pt x="479" y="9330"/>
                        <a:pt x="479" y="9330"/>
                        <a:pt x="479" y="9330"/>
                      </a:cubicBezTo>
                      <a:lnTo>
                        <a:pt x="359" y="179"/>
                      </a:lnTo>
                      <a:cubicBezTo>
                        <a:pt x="359" y="60"/>
                        <a:pt x="299" y="0"/>
                        <a:pt x="179" y="0"/>
                      </a:cubicBezTo>
                      <a:cubicBezTo>
                        <a:pt x="120" y="0"/>
                        <a:pt x="0" y="60"/>
                        <a:pt x="0" y="179"/>
                      </a:cubicBezTo>
                      <a:lnTo>
                        <a:pt x="120" y="9330"/>
                      </a:lnTo>
                      <a:cubicBezTo>
                        <a:pt x="120" y="9390"/>
                        <a:pt x="179" y="9509"/>
                        <a:pt x="299" y="9509"/>
                      </a:cubicBezTo>
                      <a:cubicBezTo>
                        <a:pt x="419" y="9450"/>
                        <a:pt x="479" y="9390"/>
                        <a:pt x="479" y="933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47" name="Vrije vorm: vorm 8946">
                  <a:extLst>
                    <a:ext uri="{FF2B5EF4-FFF2-40B4-BE49-F238E27FC236}">
                      <a16:creationId xmlns:a16="http://schemas.microsoft.com/office/drawing/2014/main" id="{1C3893F3-E848-463E-9D30-83E5BB28CA75}"/>
                    </a:ext>
                  </a:extLst>
                </p:cNvPr>
                <p:cNvSpPr/>
                <p:nvPr/>
              </p:nvSpPr>
              <p:spPr>
                <a:xfrm>
                  <a:off x="4687790" y="2591986"/>
                  <a:ext cx="10804" cy="44236"/>
                </a:xfrm>
                <a:custGeom>
                  <a:avLst/>
                  <a:gdLst>
                    <a:gd name="connsiteX0" fmla="*/ 10805 w 10804"/>
                    <a:gd name="connsiteY0" fmla="*/ 5063 h 44236"/>
                    <a:gd name="connsiteX1" fmla="*/ 10745 w 10804"/>
                    <a:gd name="connsiteY1" fmla="*/ 4884 h 44236"/>
                    <a:gd name="connsiteX2" fmla="*/ 278 w 10804"/>
                    <a:gd name="connsiteY2" fmla="*/ 39 h 44236"/>
                    <a:gd name="connsiteX3" fmla="*/ 39 w 10804"/>
                    <a:gd name="connsiteY3" fmla="*/ 99 h 44236"/>
                    <a:gd name="connsiteX4" fmla="*/ 99 w 10804"/>
                    <a:gd name="connsiteY4" fmla="*/ 338 h 44236"/>
                    <a:gd name="connsiteX5" fmla="*/ 10446 w 10804"/>
                    <a:gd name="connsiteY5" fmla="*/ 5123 h 44236"/>
                    <a:gd name="connsiteX6" fmla="*/ 398 w 10804"/>
                    <a:gd name="connsiteY6" fmla="*/ 44057 h 44236"/>
                    <a:gd name="connsiteX7" fmla="*/ 518 w 10804"/>
                    <a:gd name="connsiteY7" fmla="*/ 44237 h 44236"/>
                    <a:gd name="connsiteX8" fmla="*/ 697 w 10804"/>
                    <a:gd name="connsiteY8" fmla="*/ 44117 h 44236"/>
                    <a:gd name="connsiteX9" fmla="*/ 10805 w 10804"/>
                    <a:gd name="connsiteY9" fmla="*/ 5063 h 44236"/>
                    <a:gd name="connsiteX10" fmla="*/ 10805 w 10804"/>
                    <a:gd name="connsiteY10" fmla="*/ 5063 h 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04" h="44236">
                      <a:moveTo>
                        <a:pt x="10805" y="5063"/>
                      </a:moveTo>
                      <a:cubicBezTo>
                        <a:pt x="10805" y="5003"/>
                        <a:pt x="10805" y="4944"/>
                        <a:pt x="10745" y="4884"/>
                      </a:cubicBezTo>
                      <a:lnTo>
                        <a:pt x="278" y="39"/>
                      </a:lnTo>
                      <a:cubicBezTo>
                        <a:pt x="219" y="-21"/>
                        <a:pt x="99" y="-21"/>
                        <a:pt x="39" y="99"/>
                      </a:cubicBezTo>
                      <a:cubicBezTo>
                        <a:pt x="-21" y="159"/>
                        <a:pt x="-21" y="279"/>
                        <a:pt x="99" y="338"/>
                      </a:cubicBezTo>
                      <a:lnTo>
                        <a:pt x="10446" y="5123"/>
                      </a:lnTo>
                      <a:lnTo>
                        <a:pt x="398" y="44057"/>
                      </a:lnTo>
                      <a:cubicBezTo>
                        <a:pt x="398" y="44117"/>
                        <a:pt x="398" y="44237"/>
                        <a:pt x="518" y="44237"/>
                      </a:cubicBezTo>
                      <a:cubicBezTo>
                        <a:pt x="578" y="44237"/>
                        <a:pt x="697" y="44237"/>
                        <a:pt x="697" y="44117"/>
                      </a:cubicBezTo>
                      <a:lnTo>
                        <a:pt x="10805" y="5063"/>
                      </a:lnTo>
                      <a:cubicBezTo>
                        <a:pt x="10805" y="5063"/>
                        <a:pt x="10805" y="5063"/>
                        <a:pt x="10805" y="506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48" name="Vrije vorm: vorm 8947">
                  <a:extLst>
                    <a:ext uri="{FF2B5EF4-FFF2-40B4-BE49-F238E27FC236}">
                      <a16:creationId xmlns:a16="http://schemas.microsoft.com/office/drawing/2014/main" id="{27557359-A78B-424F-9BA8-E7BA72F44DA2}"/>
                    </a:ext>
                  </a:extLst>
                </p:cNvPr>
                <p:cNvSpPr/>
                <p:nvPr/>
              </p:nvSpPr>
              <p:spPr>
                <a:xfrm>
                  <a:off x="4692793" y="2555079"/>
                  <a:ext cx="8672" cy="42089"/>
                </a:xfrm>
                <a:custGeom>
                  <a:avLst/>
                  <a:gdLst>
                    <a:gd name="connsiteX0" fmla="*/ 8672 w 8672"/>
                    <a:gd name="connsiteY0" fmla="*/ 224 h 42089"/>
                    <a:gd name="connsiteX1" fmla="*/ 8612 w 8672"/>
                    <a:gd name="connsiteY1" fmla="*/ 45 h 42089"/>
                    <a:gd name="connsiteX2" fmla="*/ 8373 w 8672"/>
                    <a:gd name="connsiteY2" fmla="*/ 45 h 42089"/>
                    <a:gd name="connsiteX3" fmla="*/ 60 w 8672"/>
                    <a:gd name="connsiteY3" fmla="*/ 10332 h 42089"/>
                    <a:gd name="connsiteX4" fmla="*/ 0 w 8672"/>
                    <a:gd name="connsiteY4" fmla="*/ 10451 h 42089"/>
                    <a:gd name="connsiteX5" fmla="*/ 5442 w 8672"/>
                    <a:gd name="connsiteY5" fmla="*/ 41910 h 42089"/>
                    <a:gd name="connsiteX6" fmla="*/ 5622 w 8672"/>
                    <a:gd name="connsiteY6" fmla="*/ 42089 h 42089"/>
                    <a:gd name="connsiteX7" fmla="*/ 5801 w 8672"/>
                    <a:gd name="connsiteY7" fmla="*/ 41970 h 42089"/>
                    <a:gd name="connsiteX8" fmla="*/ 5801 w 8672"/>
                    <a:gd name="connsiteY8" fmla="*/ 41970 h 42089"/>
                    <a:gd name="connsiteX9" fmla="*/ 359 w 8672"/>
                    <a:gd name="connsiteY9" fmla="*/ 10571 h 42089"/>
                    <a:gd name="connsiteX10" fmla="*/ 8612 w 8672"/>
                    <a:gd name="connsiteY10" fmla="*/ 344 h 42089"/>
                    <a:gd name="connsiteX11" fmla="*/ 8672 w 8672"/>
                    <a:gd name="connsiteY11" fmla="*/ 224 h 4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72" h="42089">
                      <a:moveTo>
                        <a:pt x="8672" y="224"/>
                      </a:moveTo>
                      <a:cubicBezTo>
                        <a:pt x="8672" y="164"/>
                        <a:pt x="8672" y="105"/>
                        <a:pt x="8612" y="45"/>
                      </a:cubicBezTo>
                      <a:cubicBezTo>
                        <a:pt x="8552" y="-15"/>
                        <a:pt x="8433" y="-15"/>
                        <a:pt x="8373" y="45"/>
                      </a:cubicBezTo>
                      <a:lnTo>
                        <a:pt x="60" y="10332"/>
                      </a:lnTo>
                      <a:cubicBezTo>
                        <a:pt x="60" y="10332"/>
                        <a:pt x="0" y="10391"/>
                        <a:pt x="0" y="10451"/>
                      </a:cubicBezTo>
                      <a:lnTo>
                        <a:pt x="5442" y="41910"/>
                      </a:lnTo>
                      <a:cubicBezTo>
                        <a:pt x="5442" y="41970"/>
                        <a:pt x="5502" y="42089"/>
                        <a:pt x="5622" y="42089"/>
                      </a:cubicBezTo>
                      <a:cubicBezTo>
                        <a:pt x="5682" y="42089"/>
                        <a:pt x="5741" y="42030"/>
                        <a:pt x="5801" y="41970"/>
                      </a:cubicBezTo>
                      <a:cubicBezTo>
                        <a:pt x="5801" y="41970"/>
                        <a:pt x="5801" y="41970"/>
                        <a:pt x="5801" y="41970"/>
                      </a:cubicBezTo>
                      <a:lnTo>
                        <a:pt x="359" y="10571"/>
                      </a:lnTo>
                      <a:lnTo>
                        <a:pt x="8612" y="344"/>
                      </a:lnTo>
                      <a:cubicBezTo>
                        <a:pt x="8672" y="284"/>
                        <a:pt x="8672" y="224"/>
                        <a:pt x="8672" y="22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49" name="Vrije vorm: vorm 8948">
                  <a:extLst>
                    <a:ext uri="{FF2B5EF4-FFF2-40B4-BE49-F238E27FC236}">
                      <a16:creationId xmlns:a16="http://schemas.microsoft.com/office/drawing/2014/main" id="{956ED809-D427-4D18-9CCE-2D14598920BD}"/>
                    </a:ext>
                  </a:extLst>
                </p:cNvPr>
                <p:cNvSpPr/>
                <p:nvPr/>
              </p:nvSpPr>
              <p:spPr>
                <a:xfrm>
                  <a:off x="4652159" y="2732846"/>
                  <a:ext cx="9653" cy="17094"/>
                </a:xfrm>
                <a:custGeom>
                  <a:avLst/>
                  <a:gdLst>
                    <a:gd name="connsiteX0" fmla="*/ 9654 w 9653"/>
                    <a:gd name="connsiteY0" fmla="*/ 16950 h 17094"/>
                    <a:gd name="connsiteX1" fmla="*/ 9654 w 9653"/>
                    <a:gd name="connsiteY1" fmla="*/ 16831 h 17094"/>
                    <a:gd name="connsiteX2" fmla="*/ 324 w 9653"/>
                    <a:gd name="connsiteY2" fmla="*/ 85 h 17094"/>
                    <a:gd name="connsiteX3" fmla="*/ 85 w 9653"/>
                    <a:gd name="connsiteY3" fmla="*/ 25 h 17094"/>
                    <a:gd name="connsiteX4" fmla="*/ 25 w 9653"/>
                    <a:gd name="connsiteY4" fmla="*/ 264 h 17094"/>
                    <a:gd name="connsiteX5" fmla="*/ 9355 w 9653"/>
                    <a:gd name="connsiteY5" fmla="*/ 17010 h 17094"/>
                    <a:gd name="connsiteX6" fmla="*/ 9594 w 9653"/>
                    <a:gd name="connsiteY6" fmla="*/ 17070 h 17094"/>
                    <a:gd name="connsiteX7" fmla="*/ 9654 w 9653"/>
                    <a:gd name="connsiteY7" fmla="*/ 16950 h 17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53" h="17094">
                      <a:moveTo>
                        <a:pt x="9654" y="16950"/>
                      </a:moveTo>
                      <a:cubicBezTo>
                        <a:pt x="9654" y="16890"/>
                        <a:pt x="9654" y="16890"/>
                        <a:pt x="9654" y="16831"/>
                      </a:cubicBezTo>
                      <a:lnTo>
                        <a:pt x="324" y="85"/>
                      </a:lnTo>
                      <a:cubicBezTo>
                        <a:pt x="264" y="25"/>
                        <a:pt x="204" y="-35"/>
                        <a:pt x="85" y="25"/>
                      </a:cubicBezTo>
                      <a:cubicBezTo>
                        <a:pt x="25" y="85"/>
                        <a:pt x="-35" y="144"/>
                        <a:pt x="25" y="264"/>
                      </a:cubicBezTo>
                      <a:lnTo>
                        <a:pt x="9355" y="17010"/>
                      </a:lnTo>
                      <a:cubicBezTo>
                        <a:pt x="9414" y="17070"/>
                        <a:pt x="9474" y="17130"/>
                        <a:pt x="9594" y="17070"/>
                      </a:cubicBezTo>
                      <a:cubicBezTo>
                        <a:pt x="9654" y="17010"/>
                        <a:pt x="9654" y="17010"/>
                        <a:pt x="9654" y="1695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50" name="Vrije vorm: vorm 8949">
                  <a:extLst>
                    <a:ext uri="{FF2B5EF4-FFF2-40B4-BE49-F238E27FC236}">
                      <a16:creationId xmlns:a16="http://schemas.microsoft.com/office/drawing/2014/main" id="{8C4D6DBF-5BD5-496A-852F-9DF8B84C442F}"/>
                    </a:ext>
                  </a:extLst>
                </p:cNvPr>
                <p:cNvSpPr/>
                <p:nvPr/>
              </p:nvSpPr>
              <p:spPr>
                <a:xfrm>
                  <a:off x="4659435" y="2599336"/>
                  <a:ext cx="6683" cy="7625"/>
                </a:xfrm>
                <a:custGeom>
                  <a:avLst/>
                  <a:gdLst>
                    <a:gd name="connsiteX0" fmla="*/ 6683 w 6683"/>
                    <a:gd name="connsiteY0" fmla="*/ 224 h 7625"/>
                    <a:gd name="connsiteX1" fmla="*/ 6624 w 6683"/>
                    <a:gd name="connsiteY1" fmla="*/ 45 h 7625"/>
                    <a:gd name="connsiteX2" fmla="*/ 6384 w 6683"/>
                    <a:gd name="connsiteY2" fmla="*/ 45 h 7625"/>
                    <a:gd name="connsiteX3" fmla="*/ 45 w 6683"/>
                    <a:gd name="connsiteY3" fmla="*/ 7341 h 7625"/>
                    <a:gd name="connsiteX4" fmla="*/ 45 w 6683"/>
                    <a:gd name="connsiteY4" fmla="*/ 7580 h 7625"/>
                    <a:gd name="connsiteX5" fmla="*/ 284 w 6683"/>
                    <a:gd name="connsiteY5" fmla="*/ 7580 h 7625"/>
                    <a:gd name="connsiteX6" fmla="*/ 6624 w 6683"/>
                    <a:gd name="connsiteY6" fmla="*/ 284 h 7625"/>
                    <a:gd name="connsiteX7" fmla="*/ 6683 w 6683"/>
                    <a:gd name="connsiteY7" fmla="*/ 224 h 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83" h="7625">
                      <a:moveTo>
                        <a:pt x="6683" y="224"/>
                      </a:moveTo>
                      <a:cubicBezTo>
                        <a:pt x="6683" y="164"/>
                        <a:pt x="6683" y="105"/>
                        <a:pt x="6624" y="45"/>
                      </a:cubicBezTo>
                      <a:cubicBezTo>
                        <a:pt x="6564" y="-15"/>
                        <a:pt x="6444" y="-15"/>
                        <a:pt x="6384" y="45"/>
                      </a:cubicBezTo>
                      <a:lnTo>
                        <a:pt x="45" y="7341"/>
                      </a:lnTo>
                      <a:cubicBezTo>
                        <a:pt x="-15" y="7401"/>
                        <a:pt x="-15" y="7521"/>
                        <a:pt x="45" y="7580"/>
                      </a:cubicBezTo>
                      <a:cubicBezTo>
                        <a:pt x="105" y="7640"/>
                        <a:pt x="224" y="7640"/>
                        <a:pt x="284" y="7580"/>
                      </a:cubicBezTo>
                      <a:lnTo>
                        <a:pt x="6624" y="284"/>
                      </a:lnTo>
                      <a:cubicBezTo>
                        <a:pt x="6683" y="284"/>
                        <a:pt x="6683" y="284"/>
                        <a:pt x="6683" y="22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51" name="Vrije vorm: vorm 8950">
                  <a:extLst>
                    <a:ext uri="{FF2B5EF4-FFF2-40B4-BE49-F238E27FC236}">
                      <a16:creationId xmlns:a16="http://schemas.microsoft.com/office/drawing/2014/main" id="{A1B467D9-E1BF-4443-98F2-03ACC731495E}"/>
                    </a:ext>
                  </a:extLst>
                </p:cNvPr>
                <p:cNvSpPr/>
                <p:nvPr/>
              </p:nvSpPr>
              <p:spPr>
                <a:xfrm>
                  <a:off x="4650330" y="2647347"/>
                  <a:ext cx="3468" cy="10645"/>
                </a:xfrm>
                <a:custGeom>
                  <a:avLst/>
                  <a:gdLst>
                    <a:gd name="connsiteX0" fmla="*/ 3469 w 3468"/>
                    <a:gd name="connsiteY0" fmla="*/ 179 h 10645"/>
                    <a:gd name="connsiteX1" fmla="*/ 3349 w 3468"/>
                    <a:gd name="connsiteY1" fmla="*/ 0 h 10645"/>
                    <a:gd name="connsiteX2" fmla="*/ 3170 w 3468"/>
                    <a:gd name="connsiteY2" fmla="*/ 120 h 10645"/>
                    <a:gd name="connsiteX3" fmla="*/ 0 w 3468"/>
                    <a:gd name="connsiteY3" fmla="*/ 10466 h 10645"/>
                    <a:gd name="connsiteX4" fmla="*/ 0 w 3468"/>
                    <a:gd name="connsiteY4" fmla="*/ 10466 h 10645"/>
                    <a:gd name="connsiteX5" fmla="*/ 120 w 3468"/>
                    <a:gd name="connsiteY5" fmla="*/ 10646 h 10645"/>
                    <a:gd name="connsiteX6" fmla="*/ 299 w 3468"/>
                    <a:gd name="connsiteY6" fmla="*/ 10526 h 10645"/>
                    <a:gd name="connsiteX7" fmla="*/ 3469 w 3468"/>
                    <a:gd name="connsiteY7" fmla="*/ 179 h 10645"/>
                    <a:gd name="connsiteX8" fmla="*/ 3469 w 3468"/>
                    <a:gd name="connsiteY8" fmla="*/ 179 h 1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8" h="10645">
                      <a:moveTo>
                        <a:pt x="3469" y="179"/>
                      </a:moveTo>
                      <a:cubicBezTo>
                        <a:pt x="3469" y="120"/>
                        <a:pt x="3409" y="0"/>
                        <a:pt x="3349" y="0"/>
                      </a:cubicBezTo>
                      <a:cubicBezTo>
                        <a:pt x="3290" y="0"/>
                        <a:pt x="3170" y="0"/>
                        <a:pt x="3170" y="120"/>
                      </a:cubicBezTo>
                      <a:lnTo>
                        <a:pt x="0" y="10466"/>
                      </a:lnTo>
                      <a:cubicBezTo>
                        <a:pt x="0" y="10466"/>
                        <a:pt x="0" y="10466"/>
                        <a:pt x="0" y="10466"/>
                      </a:cubicBezTo>
                      <a:cubicBezTo>
                        <a:pt x="0" y="10526"/>
                        <a:pt x="60" y="10646"/>
                        <a:pt x="120" y="10646"/>
                      </a:cubicBezTo>
                      <a:cubicBezTo>
                        <a:pt x="180" y="10646"/>
                        <a:pt x="299" y="10646"/>
                        <a:pt x="299" y="10526"/>
                      </a:cubicBezTo>
                      <a:lnTo>
                        <a:pt x="3469" y="179"/>
                      </a:lnTo>
                      <a:cubicBezTo>
                        <a:pt x="3469" y="179"/>
                        <a:pt x="3469" y="179"/>
                        <a:pt x="3469"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52" name="Vrije vorm: vorm 8951">
                  <a:extLst>
                    <a:ext uri="{FF2B5EF4-FFF2-40B4-BE49-F238E27FC236}">
                      <a16:creationId xmlns:a16="http://schemas.microsoft.com/office/drawing/2014/main" id="{0500955E-B6CF-4547-A855-BCF1E3868E12}"/>
                    </a:ext>
                  </a:extLst>
                </p:cNvPr>
                <p:cNvSpPr/>
                <p:nvPr/>
              </p:nvSpPr>
              <p:spPr>
                <a:xfrm>
                  <a:off x="4667375" y="2650576"/>
                  <a:ext cx="1255" cy="10406"/>
                </a:xfrm>
                <a:custGeom>
                  <a:avLst/>
                  <a:gdLst>
                    <a:gd name="connsiteX0" fmla="*/ 299 w 1255"/>
                    <a:gd name="connsiteY0" fmla="*/ 10287 h 10406"/>
                    <a:gd name="connsiteX1" fmla="*/ 299 w 1255"/>
                    <a:gd name="connsiteY1" fmla="*/ 10287 h 10406"/>
                    <a:gd name="connsiteX2" fmla="*/ 1256 w 1255"/>
                    <a:gd name="connsiteY2" fmla="*/ 179 h 10406"/>
                    <a:gd name="connsiteX3" fmla="*/ 1136 w 1255"/>
                    <a:gd name="connsiteY3" fmla="*/ 0 h 10406"/>
                    <a:gd name="connsiteX4" fmla="*/ 957 w 1255"/>
                    <a:gd name="connsiteY4" fmla="*/ 120 h 10406"/>
                    <a:gd name="connsiteX5" fmla="*/ 957 w 1255"/>
                    <a:gd name="connsiteY5" fmla="*/ 120 h 10406"/>
                    <a:gd name="connsiteX6" fmla="*/ 0 w 1255"/>
                    <a:gd name="connsiteY6" fmla="*/ 10227 h 10406"/>
                    <a:gd name="connsiteX7" fmla="*/ 119 w 1255"/>
                    <a:gd name="connsiteY7" fmla="*/ 10406 h 10406"/>
                    <a:gd name="connsiteX8" fmla="*/ 299 w 1255"/>
                    <a:gd name="connsiteY8" fmla="*/ 10287 h 1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 h="10406">
                      <a:moveTo>
                        <a:pt x="299" y="10287"/>
                      </a:moveTo>
                      <a:cubicBezTo>
                        <a:pt x="299" y="10287"/>
                        <a:pt x="299" y="10227"/>
                        <a:pt x="299" y="10287"/>
                      </a:cubicBezTo>
                      <a:lnTo>
                        <a:pt x="1256" y="179"/>
                      </a:lnTo>
                      <a:cubicBezTo>
                        <a:pt x="1256" y="60"/>
                        <a:pt x="1196" y="0"/>
                        <a:pt x="1136" y="0"/>
                      </a:cubicBezTo>
                      <a:cubicBezTo>
                        <a:pt x="1076" y="0"/>
                        <a:pt x="957" y="60"/>
                        <a:pt x="957" y="120"/>
                      </a:cubicBezTo>
                      <a:cubicBezTo>
                        <a:pt x="957" y="120"/>
                        <a:pt x="957" y="120"/>
                        <a:pt x="957" y="120"/>
                      </a:cubicBezTo>
                      <a:lnTo>
                        <a:pt x="0" y="10227"/>
                      </a:lnTo>
                      <a:cubicBezTo>
                        <a:pt x="0" y="10347"/>
                        <a:pt x="60" y="10406"/>
                        <a:pt x="119" y="10406"/>
                      </a:cubicBezTo>
                      <a:cubicBezTo>
                        <a:pt x="239" y="10406"/>
                        <a:pt x="299" y="10347"/>
                        <a:pt x="299" y="1028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53" name="Vrije vorm: vorm 8952">
                  <a:extLst>
                    <a:ext uri="{FF2B5EF4-FFF2-40B4-BE49-F238E27FC236}">
                      <a16:creationId xmlns:a16="http://schemas.microsoft.com/office/drawing/2014/main" id="{846DA09D-03EE-4C4F-9CFB-E7A1CAD5AD99}"/>
                    </a:ext>
                  </a:extLst>
                </p:cNvPr>
                <p:cNvSpPr/>
                <p:nvPr/>
              </p:nvSpPr>
              <p:spPr>
                <a:xfrm>
                  <a:off x="4633883" y="2653447"/>
                  <a:ext cx="50896" cy="1555"/>
                </a:xfrm>
                <a:custGeom>
                  <a:avLst/>
                  <a:gdLst>
                    <a:gd name="connsiteX0" fmla="*/ 50896 w 50896"/>
                    <a:gd name="connsiteY0" fmla="*/ 179 h 1555"/>
                    <a:gd name="connsiteX1" fmla="*/ 50896 w 50896"/>
                    <a:gd name="connsiteY1" fmla="*/ 179 h 1555"/>
                    <a:gd name="connsiteX2" fmla="*/ 50717 w 50896"/>
                    <a:gd name="connsiteY2" fmla="*/ 0 h 1555"/>
                    <a:gd name="connsiteX3" fmla="*/ 180 w 50896"/>
                    <a:gd name="connsiteY3" fmla="*/ 1196 h 1555"/>
                    <a:gd name="connsiteX4" fmla="*/ 0 w 50896"/>
                    <a:gd name="connsiteY4" fmla="*/ 1376 h 1555"/>
                    <a:gd name="connsiteX5" fmla="*/ 180 w 50896"/>
                    <a:gd name="connsiteY5" fmla="*/ 1555 h 1555"/>
                    <a:gd name="connsiteX6" fmla="*/ 50717 w 50896"/>
                    <a:gd name="connsiteY6" fmla="*/ 359 h 1555"/>
                    <a:gd name="connsiteX7" fmla="*/ 50896 w 50896"/>
                    <a:gd name="connsiteY7" fmla="*/ 179 h 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96" h="1555">
                      <a:moveTo>
                        <a:pt x="50896" y="179"/>
                      </a:moveTo>
                      <a:cubicBezTo>
                        <a:pt x="50896" y="179"/>
                        <a:pt x="50896" y="179"/>
                        <a:pt x="50896" y="179"/>
                      </a:cubicBezTo>
                      <a:cubicBezTo>
                        <a:pt x="50896" y="60"/>
                        <a:pt x="50836" y="0"/>
                        <a:pt x="50717" y="0"/>
                      </a:cubicBezTo>
                      <a:lnTo>
                        <a:pt x="180" y="1196"/>
                      </a:lnTo>
                      <a:cubicBezTo>
                        <a:pt x="60" y="1196"/>
                        <a:pt x="0" y="1256"/>
                        <a:pt x="0" y="1376"/>
                      </a:cubicBezTo>
                      <a:cubicBezTo>
                        <a:pt x="0" y="1495"/>
                        <a:pt x="60" y="1555"/>
                        <a:pt x="180" y="1555"/>
                      </a:cubicBezTo>
                      <a:lnTo>
                        <a:pt x="50717" y="359"/>
                      </a:lnTo>
                      <a:cubicBezTo>
                        <a:pt x="50836" y="299"/>
                        <a:pt x="50896" y="239"/>
                        <a:pt x="50896"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54" name="Vrije vorm: vorm 8953">
                  <a:extLst>
                    <a:ext uri="{FF2B5EF4-FFF2-40B4-BE49-F238E27FC236}">
                      <a16:creationId xmlns:a16="http://schemas.microsoft.com/office/drawing/2014/main" id="{1495BF2F-8DC6-49E0-9636-309EBE5D630E}"/>
                    </a:ext>
                  </a:extLst>
                </p:cNvPr>
                <p:cNvSpPr/>
                <p:nvPr/>
              </p:nvSpPr>
              <p:spPr>
                <a:xfrm>
                  <a:off x="4635557" y="2620885"/>
                  <a:ext cx="47187" cy="89881"/>
                </a:xfrm>
                <a:custGeom>
                  <a:avLst/>
                  <a:gdLst>
                    <a:gd name="connsiteX0" fmla="*/ 40669 w 47187"/>
                    <a:gd name="connsiteY0" fmla="*/ 89797 h 89881"/>
                    <a:gd name="connsiteX1" fmla="*/ 40669 w 47187"/>
                    <a:gd name="connsiteY1" fmla="*/ 89797 h 89881"/>
                    <a:gd name="connsiteX2" fmla="*/ 47188 w 47187"/>
                    <a:gd name="connsiteY2" fmla="*/ 42370 h 89881"/>
                    <a:gd name="connsiteX3" fmla="*/ 47068 w 47187"/>
                    <a:gd name="connsiteY3" fmla="*/ 42191 h 89881"/>
                    <a:gd name="connsiteX4" fmla="*/ 419 w 47187"/>
                    <a:gd name="connsiteY4" fmla="*/ 22993 h 89881"/>
                    <a:gd name="connsiteX5" fmla="*/ 24401 w 47187"/>
                    <a:gd name="connsiteY5" fmla="*/ 386 h 89881"/>
                    <a:gd name="connsiteX6" fmla="*/ 35227 w 47187"/>
                    <a:gd name="connsiteY6" fmla="*/ 6486 h 89881"/>
                    <a:gd name="connsiteX7" fmla="*/ 35466 w 47187"/>
                    <a:gd name="connsiteY7" fmla="*/ 6426 h 89881"/>
                    <a:gd name="connsiteX8" fmla="*/ 35406 w 47187"/>
                    <a:gd name="connsiteY8" fmla="*/ 6187 h 89881"/>
                    <a:gd name="connsiteX9" fmla="*/ 24461 w 47187"/>
                    <a:gd name="connsiteY9" fmla="*/ 27 h 89881"/>
                    <a:gd name="connsiteX10" fmla="*/ 24282 w 47187"/>
                    <a:gd name="connsiteY10" fmla="*/ 27 h 89881"/>
                    <a:gd name="connsiteX11" fmla="*/ 60 w 47187"/>
                    <a:gd name="connsiteY11" fmla="*/ 22873 h 89881"/>
                    <a:gd name="connsiteX12" fmla="*/ 0 w 47187"/>
                    <a:gd name="connsiteY12" fmla="*/ 22993 h 89881"/>
                    <a:gd name="connsiteX13" fmla="*/ 120 w 47187"/>
                    <a:gd name="connsiteY13" fmla="*/ 23112 h 89881"/>
                    <a:gd name="connsiteX14" fmla="*/ 46889 w 47187"/>
                    <a:gd name="connsiteY14" fmla="*/ 42370 h 89881"/>
                    <a:gd name="connsiteX15" fmla="*/ 40370 w 47187"/>
                    <a:gd name="connsiteY15" fmla="*/ 89678 h 89881"/>
                    <a:gd name="connsiteX16" fmla="*/ 40549 w 47187"/>
                    <a:gd name="connsiteY16" fmla="*/ 89857 h 89881"/>
                    <a:gd name="connsiteX17" fmla="*/ 40669 w 47187"/>
                    <a:gd name="connsiteY17" fmla="*/ 89797 h 89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187" h="89881">
                      <a:moveTo>
                        <a:pt x="40669" y="89797"/>
                      </a:moveTo>
                      <a:cubicBezTo>
                        <a:pt x="40669" y="89797"/>
                        <a:pt x="40669" y="89797"/>
                        <a:pt x="40669" y="89797"/>
                      </a:cubicBezTo>
                      <a:lnTo>
                        <a:pt x="47188" y="42370"/>
                      </a:lnTo>
                      <a:cubicBezTo>
                        <a:pt x="47188" y="42310"/>
                        <a:pt x="47128" y="42251"/>
                        <a:pt x="47068" y="42191"/>
                      </a:cubicBezTo>
                      <a:lnTo>
                        <a:pt x="419" y="22993"/>
                      </a:lnTo>
                      <a:lnTo>
                        <a:pt x="24401" y="386"/>
                      </a:lnTo>
                      <a:lnTo>
                        <a:pt x="35227" y="6486"/>
                      </a:lnTo>
                      <a:cubicBezTo>
                        <a:pt x="35286" y="6546"/>
                        <a:pt x="35406" y="6486"/>
                        <a:pt x="35466" y="6426"/>
                      </a:cubicBezTo>
                      <a:cubicBezTo>
                        <a:pt x="35526" y="6366"/>
                        <a:pt x="35466" y="6247"/>
                        <a:pt x="35406" y="6187"/>
                      </a:cubicBezTo>
                      <a:lnTo>
                        <a:pt x="24461" y="27"/>
                      </a:lnTo>
                      <a:cubicBezTo>
                        <a:pt x="24401" y="-33"/>
                        <a:pt x="24342" y="27"/>
                        <a:pt x="24282" y="27"/>
                      </a:cubicBezTo>
                      <a:lnTo>
                        <a:pt x="60" y="22873"/>
                      </a:lnTo>
                      <a:cubicBezTo>
                        <a:pt x="0" y="22933"/>
                        <a:pt x="0" y="22993"/>
                        <a:pt x="0" y="22993"/>
                      </a:cubicBezTo>
                      <a:cubicBezTo>
                        <a:pt x="0" y="23052"/>
                        <a:pt x="60" y="23112"/>
                        <a:pt x="120" y="23112"/>
                      </a:cubicBezTo>
                      <a:lnTo>
                        <a:pt x="46889" y="42370"/>
                      </a:lnTo>
                      <a:lnTo>
                        <a:pt x="40370" y="89678"/>
                      </a:lnTo>
                      <a:cubicBezTo>
                        <a:pt x="40370" y="89737"/>
                        <a:pt x="40430" y="89857"/>
                        <a:pt x="40549" y="89857"/>
                      </a:cubicBezTo>
                      <a:cubicBezTo>
                        <a:pt x="40609" y="89917"/>
                        <a:pt x="40669" y="89857"/>
                        <a:pt x="40669" y="8979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55" name="Vrije vorm: vorm 8954">
                  <a:extLst>
                    <a:ext uri="{FF2B5EF4-FFF2-40B4-BE49-F238E27FC236}">
                      <a16:creationId xmlns:a16="http://schemas.microsoft.com/office/drawing/2014/main" id="{D55DBFA0-7AF5-40B6-B2BE-ED49A13FAA61}"/>
                    </a:ext>
                  </a:extLst>
                </p:cNvPr>
                <p:cNvSpPr/>
                <p:nvPr/>
              </p:nvSpPr>
              <p:spPr>
                <a:xfrm>
                  <a:off x="4637232" y="2669117"/>
                  <a:ext cx="12559" cy="13600"/>
                </a:xfrm>
                <a:custGeom>
                  <a:avLst/>
                  <a:gdLst>
                    <a:gd name="connsiteX0" fmla="*/ 11961 w 12559"/>
                    <a:gd name="connsiteY0" fmla="*/ 13516 h 13600"/>
                    <a:gd name="connsiteX1" fmla="*/ 11961 w 12559"/>
                    <a:gd name="connsiteY1" fmla="*/ 13516 h 13600"/>
                    <a:gd name="connsiteX2" fmla="*/ 12560 w 12559"/>
                    <a:gd name="connsiteY2" fmla="*/ 179 h 13600"/>
                    <a:gd name="connsiteX3" fmla="*/ 12500 w 12559"/>
                    <a:gd name="connsiteY3" fmla="*/ 60 h 13600"/>
                    <a:gd name="connsiteX4" fmla="*/ 12380 w 12559"/>
                    <a:gd name="connsiteY4" fmla="*/ 0 h 13600"/>
                    <a:gd name="connsiteX5" fmla="*/ 120 w 12559"/>
                    <a:gd name="connsiteY5" fmla="*/ 1914 h 13600"/>
                    <a:gd name="connsiteX6" fmla="*/ 0 w 12559"/>
                    <a:gd name="connsiteY6" fmla="*/ 2093 h 13600"/>
                    <a:gd name="connsiteX7" fmla="*/ 180 w 12559"/>
                    <a:gd name="connsiteY7" fmla="*/ 2213 h 13600"/>
                    <a:gd name="connsiteX8" fmla="*/ 12261 w 12559"/>
                    <a:gd name="connsiteY8" fmla="*/ 299 h 13600"/>
                    <a:gd name="connsiteX9" fmla="*/ 11662 w 12559"/>
                    <a:gd name="connsiteY9" fmla="*/ 13397 h 13600"/>
                    <a:gd name="connsiteX10" fmla="*/ 11842 w 12559"/>
                    <a:gd name="connsiteY10" fmla="*/ 13576 h 13600"/>
                    <a:gd name="connsiteX11" fmla="*/ 11961 w 12559"/>
                    <a:gd name="connsiteY11" fmla="*/ 13516 h 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59" h="13600">
                      <a:moveTo>
                        <a:pt x="11961" y="13516"/>
                      </a:moveTo>
                      <a:cubicBezTo>
                        <a:pt x="11961" y="13516"/>
                        <a:pt x="11961" y="13516"/>
                        <a:pt x="11961" y="13516"/>
                      </a:cubicBezTo>
                      <a:lnTo>
                        <a:pt x="12560" y="179"/>
                      </a:lnTo>
                      <a:cubicBezTo>
                        <a:pt x="12560" y="120"/>
                        <a:pt x="12560" y="60"/>
                        <a:pt x="12500" y="60"/>
                      </a:cubicBezTo>
                      <a:cubicBezTo>
                        <a:pt x="12440" y="0"/>
                        <a:pt x="12440" y="0"/>
                        <a:pt x="12380" y="0"/>
                      </a:cubicBezTo>
                      <a:lnTo>
                        <a:pt x="120" y="1914"/>
                      </a:lnTo>
                      <a:cubicBezTo>
                        <a:pt x="60" y="1914"/>
                        <a:pt x="0" y="2033"/>
                        <a:pt x="0" y="2093"/>
                      </a:cubicBezTo>
                      <a:cubicBezTo>
                        <a:pt x="0" y="2153"/>
                        <a:pt x="120" y="2213"/>
                        <a:pt x="180" y="2213"/>
                      </a:cubicBezTo>
                      <a:lnTo>
                        <a:pt x="12261" y="299"/>
                      </a:lnTo>
                      <a:lnTo>
                        <a:pt x="11662" y="13397"/>
                      </a:lnTo>
                      <a:cubicBezTo>
                        <a:pt x="11662" y="13457"/>
                        <a:pt x="11722" y="13576"/>
                        <a:pt x="11842" y="13576"/>
                      </a:cubicBezTo>
                      <a:cubicBezTo>
                        <a:pt x="11842" y="13636"/>
                        <a:pt x="11902" y="13576"/>
                        <a:pt x="11961" y="1351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56" name="Vrije vorm: vorm 8955">
                  <a:extLst>
                    <a:ext uri="{FF2B5EF4-FFF2-40B4-BE49-F238E27FC236}">
                      <a16:creationId xmlns:a16="http://schemas.microsoft.com/office/drawing/2014/main" id="{7F9A9D4E-E5C2-42F8-9FA6-43618D044701}"/>
                    </a:ext>
                  </a:extLst>
                </p:cNvPr>
                <p:cNvSpPr/>
                <p:nvPr/>
              </p:nvSpPr>
              <p:spPr>
                <a:xfrm>
                  <a:off x="4628261" y="2692441"/>
                  <a:ext cx="6579" cy="8791"/>
                </a:xfrm>
                <a:custGeom>
                  <a:avLst/>
                  <a:gdLst>
                    <a:gd name="connsiteX0" fmla="*/ 6579 w 6579"/>
                    <a:gd name="connsiteY0" fmla="*/ 8672 h 8791"/>
                    <a:gd name="connsiteX1" fmla="*/ 6579 w 6579"/>
                    <a:gd name="connsiteY1" fmla="*/ 8552 h 8791"/>
                    <a:gd name="connsiteX2" fmla="*/ 299 w 6579"/>
                    <a:gd name="connsiteY2" fmla="*/ 60 h 8791"/>
                    <a:gd name="connsiteX3" fmla="*/ 60 w 6579"/>
                    <a:gd name="connsiteY3" fmla="*/ 0 h 8791"/>
                    <a:gd name="connsiteX4" fmla="*/ 0 w 6579"/>
                    <a:gd name="connsiteY4" fmla="*/ 239 h 8791"/>
                    <a:gd name="connsiteX5" fmla="*/ 6280 w 6579"/>
                    <a:gd name="connsiteY5" fmla="*/ 8732 h 8791"/>
                    <a:gd name="connsiteX6" fmla="*/ 6519 w 6579"/>
                    <a:gd name="connsiteY6" fmla="*/ 8792 h 8791"/>
                    <a:gd name="connsiteX7" fmla="*/ 6579 w 6579"/>
                    <a:gd name="connsiteY7" fmla="*/ 8672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9" h="8791">
                      <a:moveTo>
                        <a:pt x="6579" y="8672"/>
                      </a:moveTo>
                      <a:cubicBezTo>
                        <a:pt x="6579" y="8612"/>
                        <a:pt x="6579" y="8612"/>
                        <a:pt x="6579" y="8552"/>
                      </a:cubicBezTo>
                      <a:lnTo>
                        <a:pt x="299" y="60"/>
                      </a:lnTo>
                      <a:cubicBezTo>
                        <a:pt x="239" y="0"/>
                        <a:pt x="120" y="0"/>
                        <a:pt x="60" y="0"/>
                      </a:cubicBezTo>
                      <a:cubicBezTo>
                        <a:pt x="0" y="60"/>
                        <a:pt x="0" y="179"/>
                        <a:pt x="0" y="239"/>
                      </a:cubicBezTo>
                      <a:lnTo>
                        <a:pt x="6280" y="8732"/>
                      </a:lnTo>
                      <a:cubicBezTo>
                        <a:pt x="6340" y="8792"/>
                        <a:pt x="6459" y="8792"/>
                        <a:pt x="6519" y="8792"/>
                      </a:cubicBezTo>
                      <a:cubicBezTo>
                        <a:pt x="6579" y="8732"/>
                        <a:pt x="6579" y="8732"/>
                        <a:pt x="6579" y="867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57" name="Vrije vorm: vorm 8956">
                  <a:extLst>
                    <a:ext uri="{FF2B5EF4-FFF2-40B4-BE49-F238E27FC236}">
                      <a16:creationId xmlns:a16="http://schemas.microsoft.com/office/drawing/2014/main" id="{4A9B20E0-0FA8-4885-B9D4-6262F1CB2284}"/>
                    </a:ext>
                  </a:extLst>
                </p:cNvPr>
                <p:cNvSpPr/>
                <p:nvPr/>
              </p:nvSpPr>
              <p:spPr>
                <a:xfrm>
                  <a:off x="4648775" y="2681736"/>
                  <a:ext cx="13157" cy="11303"/>
                </a:xfrm>
                <a:custGeom>
                  <a:avLst/>
                  <a:gdLst>
                    <a:gd name="connsiteX0" fmla="*/ 12141 w 13157"/>
                    <a:gd name="connsiteY0" fmla="*/ 11124 h 11303"/>
                    <a:gd name="connsiteX1" fmla="*/ 12141 w 13157"/>
                    <a:gd name="connsiteY1" fmla="*/ 11124 h 11303"/>
                    <a:gd name="connsiteX2" fmla="*/ 13157 w 13157"/>
                    <a:gd name="connsiteY2" fmla="*/ 179 h 11303"/>
                    <a:gd name="connsiteX3" fmla="*/ 13098 w 13157"/>
                    <a:gd name="connsiteY3" fmla="*/ 60 h 11303"/>
                    <a:gd name="connsiteX4" fmla="*/ 12978 w 13157"/>
                    <a:gd name="connsiteY4" fmla="*/ 0 h 11303"/>
                    <a:gd name="connsiteX5" fmla="*/ 179 w 13157"/>
                    <a:gd name="connsiteY5" fmla="*/ 718 h 11303"/>
                    <a:gd name="connsiteX6" fmla="*/ 0 w 13157"/>
                    <a:gd name="connsiteY6" fmla="*/ 897 h 11303"/>
                    <a:gd name="connsiteX7" fmla="*/ 179 w 13157"/>
                    <a:gd name="connsiteY7" fmla="*/ 1076 h 11303"/>
                    <a:gd name="connsiteX8" fmla="*/ 12739 w 13157"/>
                    <a:gd name="connsiteY8" fmla="*/ 359 h 11303"/>
                    <a:gd name="connsiteX9" fmla="*/ 11722 w 13157"/>
                    <a:gd name="connsiteY9" fmla="*/ 11124 h 11303"/>
                    <a:gd name="connsiteX10" fmla="*/ 11842 w 13157"/>
                    <a:gd name="connsiteY10" fmla="*/ 11304 h 11303"/>
                    <a:gd name="connsiteX11" fmla="*/ 12141 w 13157"/>
                    <a:gd name="connsiteY11" fmla="*/ 11124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157" h="11303">
                      <a:moveTo>
                        <a:pt x="12141" y="11124"/>
                      </a:moveTo>
                      <a:cubicBezTo>
                        <a:pt x="12141" y="11064"/>
                        <a:pt x="12141" y="11064"/>
                        <a:pt x="12141" y="11124"/>
                      </a:cubicBezTo>
                      <a:lnTo>
                        <a:pt x="13157" y="179"/>
                      </a:lnTo>
                      <a:cubicBezTo>
                        <a:pt x="13157" y="120"/>
                        <a:pt x="13157" y="60"/>
                        <a:pt x="13098" y="60"/>
                      </a:cubicBezTo>
                      <a:cubicBezTo>
                        <a:pt x="13038" y="0"/>
                        <a:pt x="13038" y="0"/>
                        <a:pt x="12978" y="0"/>
                      </a:cubicBezTo>
                      <a:lnTo>
                        <a:pt x="179" y="718"/>
                      </a:lnTo>
                      <a:cubicBezTo>
                        <a:pt x="119" y="718"/>
                        <a:pt x="0" y="778"/>
                        <a:pt x="0" y="897"/>
                      </a:cubicBezTo>
                      <a:cubicBezTo>
                        <a:pt x="0" y="957"/>
                        <a:pt x="60" y="1076"/>
                        <a:pt x="179" y="1076"/>
                      </a:cubicBezTo>
                      <a:lnTo>
                        <a:pt x="12739" y="359"/>
                      </a:lnTo>
                      <a:lnTo>
                        <a:pt x="11722" y="11124"/>
                      </a:lnTo>
                      <a:cubicBezTo>
                        <a:pt x="11722" y="11184"/>
                        <a:pt x="11782" y="11304"/>
                        <a:pt x="11842" y="11304"/>
                      </a:cubicBezTo>
                      <a:cubicBezTo>
                        <a:pt x="12021" y="11244"/>
                        <a:pt x="12141" y="11184"/>
                        <a:pt x="12141" y="1112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58" name="Vrije vorm: vorm 8957">
                  <a:extLst>
                    <a:ext uri="{FF2B5EF4-FFF2-40B4-BE49-F238E27FC236}">
                      <a16:creationId xmlns:a16="http://schemas.microsoft.com/office/drawing/2014/main" id="{0FBE5900-B232-41D2-ADFA-6A4602D5F887}"/>
                    </a:ext>
                  </a:extLst>
                </p:cNvPr>
                <p:cNvSpPr/>
                <p:nvPr/>
              </p:nvSpPr>
              <p:spPr>
                <a:xfrm>
                  <a:off x="4621682" y="2678626"/>
                  <a:ext cx="30860" cy="54603"/>
                </a:xfrm>
                <a:custGeom>
                  <a:avLst/>
                  <a:gdLst>
                    <a:gd name="connsiteX0" fmla="*/ 30801 w 30860"/>
                    <a:gd name="connsiteY0" fmla="*/ 54484 h 54603"/>
                    <a:gd name="connsiteX1" fmla="*/ 30621 w 30860"/>
                    <a:gd name="connsiteY1" fmla="*/ 54604 h 54603"/>
                    <a:gd name="connsiteX2" fmla="*/ 19856 w 30860"/>
                    <a:gd name="connsiteY2" fmla="*/ 53826 h 54603"/>
                    <a:gd name="connsiteX3" fmla="*/ 19736 w 30860"/>
                    <a:gd name="connsiteY3" fmla="*/ 53647 h 54603"/>
                    <a:gd name="connsiteX4" fmla="*/ 19437 w 30860"/>
                    <a:gd name="connsiteY4" fmla="*/ 44915 h 54603"/>
                    <a:gd name="connsiteX5" fmla="*/ 7416 w 30860"/>
                    <a:gd name="connsiteY5" fmla="*/ 34509 h 54603"/>
                    <a:gd name="connsiteX6" fmla="*/ 7356 w 30860"/>
                    <a:gd name="connsiteY6" fmla="*/ 34449 h 54603"/>
                    <a:gd name="connsiteX7" fmla="*/ 0 w 30860"/>
                    <a:gd name="connsiteY7" fmla="*/ 179 h 54603"/>
                    <a:gd name="connsiteX8" fmla="*/ 120 w 30860"/>
                    <a:gd name="connsiteY8" fmla="*/ 0 h 54603"/>
                    <a:gd name="connsiteX9" fmla="*/ 299 w 30860"/>
                    <a:gd name="connsiteY9" fmla="*/ 120 h 54603"/>
                    <a:gd name="connsiteX10" fmla="*/ 7656 w 30860"/>
                    <a:gd name="connsiteY10" fmla="*/ 34329 h 54603"/>
                    <a:gd name="connsiteX11" fmla="*/ 19437 w 30860"/>
                    <a:gd name="connsiteY11" fmla="*/ 44556 h 54603"/>
                    <a:gd name="connsiteX12" fmla="*/ 19258 w 30860"/>
                    <a:gd name="connsiteY12" fmla="*/ 38635 h 54603"/>
                    <a:gd name="connsiteX13" fmla="*/ 19437 w 30860"/>
                    <a:gd name="connsiteY13" fmla="*/ 38456 h 54603"/>
                    <a:gd name="connsiteX14" fmla="*/ 19617 w 30860"/>
                    <a:gd name="connsiteY14" fmla="*/ 38635 h 54603"/>
                    <a:gd name="connsiteX15" fmla="*/ 19856 w 30860"/>
                    <a:gd name="connsiteY15" fmla="*/ 44855 h 54603"/>
                    <a:gd name="connsiteX16" fmla="*/ 30860 w 30860"/>
                    <a:gd name="connsiteY16" fmla="*/ 54365 h 54603"/>
                    <a:gd name="connsiteX17" fmla="*/ 30801 w 30860"/>
                    <a:gd name="connsiteY17" fmla="*/ 54484 h 54603"/>
                    <a:gd name="connsiteX18" fmla="*/ 30801 w 30860"/>
                    <a:gd name="connsiteY18" fmla="*/ 54484 h 54603"/>
                    <a:gd name="connsiteX19" fmla="*/ 20035 w 30860"/>
                    <a:gd name="connsiteY19" fmla="*/ 53468 h 54603"/>
                    <a:gd name="connsiteX20" fmla="*/ 30143 w 30860"/>
                    <a:gd name="connsiteY20" fmla="*/ 54185 h 54603"/>
                    <a:gd name="connsiteX21" fmla="*/ 19736 w 30860"/>
                    <a:gd name="connsiteY21" fmla="*/ 45154 h 54603"/>
                    <a:gd name="connsiteX22" fmla="*/ 20035 w 30860"/>
                    <a:gd name="connsiteY22" fmla="*/ 53468 h 5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860" h="54603">
                      <a:moveTo>
                        <a:pt x="30801" y="54484"/>
                      </a:moveTo>
                      <a:cubicBezTo>
                        <a:pt x="30801" y="54544"/>
                        <a:pt x="30681" y="54604"/>
                        <a:pt x="30621" y="54604"/>
                      </a:cubicBezTo>
                      <a:lnTo>
                        <a:pt x="19856" y="53826"/>
                      </a:lnTo>
                      <a:cubicBezTo>
                        <a:pt x="19796" y="53826"/>
                        <a:pt x="19736" y="53767"/>
                        <a:pt x="19736" y="53647"/>
                      </a:cubicBezTo>
                      <a:lnTo>
                        <a:pt x="19437" y="44915"/>
                      </a:lnTo>
                      <a:lnTo>
                        <a:pt x="7416" y="34509"/>
                      </a:lnTo>
                      <a:cubicBezTo>
                        <a:pt x="7416" y="34509"/>
                        <a:pt x="7356" y="34449"/>
                        <a:pt x="7356" y="34449"/>
                      </a:cubicBezTo>
                      <a:lnTo>
                        <a:pt x="0" y="179"/>
                      </a:lnTo>
                      <a:cubicBezTo>
                        <a:pt x="0" y="60"/>
                        <a:pt x="60" y="0"/>
                        <a:pt x="120" y="0"/>
                      </a:cubicBezTo>
                      <a:cubicBezTo>
                        <a:pt x="180" y="0"/>
                        <a:pt x="299" y="60"/>
                        <a:pt x="299" y="120"/>
                      </a:cubicBezTo>
                      <a:lnTo>
                        <a:pt x="7656" y="34329"/>
                      </a:lnTo>
                      <a:lnTo>
                        <a:pt x="19437" y="44556"/>
                      </a:lnTo>
                      <a:lnTo>
                        <a:pt x="19258" y="38635"/>
                      </a:lnTo>
                      <a:cubicBezTo>
                        <a:pt x="19258" y="38576"/>
                        <a:pt x="19318" y="38456"/>
                        <a:pt x="19437" y="38456"/>
                      </a:cubicBezTo>
                      <a:cubicBezTo>
                        <a:pt x="19557" y="38456"/>
                        <a:pt x="19617" y="38516"/>
                        <a:pt x="19617" y="38635"/>
                      </a:cubicBezTo>
                      <a:lnTo>
                        <a:pt x="19856" y="44855"/>
                      </a:lnTo>
                      <a:lnTo>
                        <a:pt x="30860" y="54365"/>
                      </a:lnTo>
                      <a:cubicBezTo>
                        <a:pt x="30801" y="54305"/>
                        <a:pt x="30801" y="54365"/>
                        <a:pt x="30801" y="54484"/>
                      </a:cubicBezTo>
                      <a:cubicBezTo>
                        <a:pt x="30801" y="54424"/>
                        <a:pt x="30801" y="54484"/>
                        <a:pt x="30801" y="54484"/>
                      </a:cubicBezTo>
                      <a:close/>
                      <a:moveTo>
                        <a:pt x="20035" y="53468"/>
                      </a:moveTo>
                      <a:lnTo>
                        <a:pt x="30143" y="54185"/>
                      </a:lnTo>
                      <a:lnTo>
                        <a:pt x="19736" y="45154"/>
                      </a:lnTo>
                      <a:lnTo>
                        <a:pt x="20035" y="53468"/>
                      </a:lnTo>
                      <a:close/>
                    </a:path>
                  </a:pathLst>
                </a:custGeom>
                <a:grpFill/>
                <a:ln w="6350" cap="flat">
                  <a:solidFill>
                    <a:schemeClr val="bg1">
                      <a:alpha val="40000"/>
                    </a:schemeClr>
                  </a:solidFill>
                  <a:prstDash val="solid"/>
                  <a:miter/>
                </a:ln>
              </p:spPr>
              <p:txBody>
                <a:bodyPr rtlCol="0" anchor="ctr"/>
                <a:lstStyle/>
                <a:p>
                  <a:endParaRPr lang="en-GB"/>
                </a:p>
              </p:txBody>
            </p:sp>
            <p:sp>
              <p:nvSpPr>
                <p:cNvPr id="8959" name="Vrije vorm: vorm 8958">
                  <a:extLst>
                    <a:ext uri="{FF2B5EF4-FFF2-40B4-BE49-F238E27FC236}">
                      <a16:creationId xmlns:a16="http://schemas.microsoft.com/office/drawing/2014/main" id="{705C1188-47C5-465C-9C09-F4B5622CD2FC}"/>
                    </a:ext>
                  </a:extLst>
                </p:cNvPr>
                <p:cNvSpPr/>
                <p:nvPr/>
              </p:nvSpPr>
              <p:spPr>
                <a:xfrm>
                  <a:off x="4649932" y="2593720"/>
                  <a:ext cx="29583" cy="20418"/>
                </a:xfrm>
                <a:custGeom>
                  <a:avLst/>
                  <a:gdLst>
                    <a:gd name="connsiteX0" fmla="*/ 28149 w 29583"/>
                    <a:gd name="connsiteY0" fmla="*/ 20194 h 20418"/>
                    <a:gd name="connsiteX1" fmla="*/ 28149 w 29583"/>
                    <a:gd name="connsiteY1" fmla="*/ 20194 h 20418"/>
                    <a:gd name="connsiteX2" fmla="*/ 29584 w 29583"/>
                    <a:gd name="connsiteY2" fmla="*/ 10984 h 20418"/>
                    <a:gd name="connsiteX3" fmla="*/ 29464 w 29583"/>
                    <a:gd name="connsiteY3" fmla="*/ 10805 h 20418"/>
                    <a:gd name="connsiteX4" fmla="*/ 29285 w 29583"/>
                    <a:gd name="connsiteY4" fmla="*/ 10924 h 20418"/>
                    <a:gd name="connsiteX5" fmla="*/ 29285 w 29583"/>
                    <a:gd name="connsiteY5" fmla="*/ 10924 h 20418"/>
                    <a:gd name="connsiteX6" fmla="*/ 27909 w 29583"/>
                    <a:gd name="connsiteY6" fmla="*/ 19895 h 20418"/>
                    <a:gd name="connsiteX7" fmla="*/ 279 w 29583"/>
                    <a:gd name="connsiteY7" fmla="*/ 39 h 20418"/>
                    <a:gd name="connsiteX8" fmla="*/ 39 w 29583"/>
                    <a:gd name="connsiteY8" fmla="*/ 99 h 20418"/>
                    <a:gd name="connsiteX9" fmla="*/ 99 w 29583"/>
                    <a:gd name="connsiteY9" fmla="*/ 338 h 20418"/>
                    <a:gd name="connsiteX10" fmla="*/ 27969 w 29583"/>
                    <a:gd name="connsiteY10" fmla="*/ 20374 h 20418"/>
                    <a:gd name="connsiteX11" fmla="*/ 28149 w 29583"/>
                    <a:gd name="connsiteY11" fmla="*/ 20374 h 20418"/>
                    <a:gd name="connsiteX12" fmla="*/ 28149 w 29583"/>
                    <a:gd name="connsiteY12" fmla="*/ 20194 h 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583" h="20418">
                      <a:moveTo>
                        <a:pt x="28149" y="20194"/>
                      </a:moveTo>
                      <a:lnTo>
                        <a:pt x="28149" y="20194"/>
                      </a:lnTo>
                      <a:lnTo>
                        <a:pt x="29584" y="10984"/>
                      </a:lnTo>
                      <a:cubicBezTo>
                        <a:pt x="29584" y="10864"/>
                        <a:pt x="29524" y="10805"/>
                        <a:pt x="29464" y="10805"/>
                      </a:cubicBezTo>
                      <a:cubicBezTo>
                        <a:pt x="29405" y="10805"/>
                        <a:pt x="29285" y="10864"/>
                        <a:pt x="29285" y="10924"/>
                      </a:cubicBezTo>
                      <a:lnTo>
                        <a:pt x="29285" y="10924"/>
                      </a:lnTo>
                      <a:lnTo>
                        <a:pt x="27909" y="19895"/>
                      </a:lnTo>
                      <a:lnTo>
                        <a:pt x="279" y="39"/>
                      </a:lnTo>
                      <a:cubicBezTo>
                        <a:pt x="219" y="-21"/>
                        <a:pt x="99" y="-21"/>
                        <a:pt x="39" y="99"/>
                      </a:cubicBezTo>
                      <a:cubicBezTo>
                        <a:pt x="-20" y="159"/>
                        <a:pt x="-20" y="278"/>
                        <a:pt x="99" y="338"/>
                      </a:cubicBezTo>
                      <a:lnTo>
                        <a:pt x="27969" y="20374"/>
                      </a:lnTo>
                      <a:cubicBezTo>
                        <a:pt x="28029" y="20434"/>
                        <a:pt x="28089" y="20434"/>
                        <a:pt x="28149" y="20374"/>
                      </a:cubicBezTo>
                      <a:cubicBezTo>
                        <a:pt x="28089" y="20254"/>
                        <a:pt x="28149" y="20254"/>
                        <a:pt x="28149" y="2019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60" name="Vrije vorm: vorm 8959">
                  <a:extLst>
                    <a:ext uri="{FF2B5EF4-FFF2-40B4-BE49-F238E27FC236}">
                      <a16:creationId xmlns:a16="http://schemas.microsoft.com/office/drawing/2014/main" id="{E8279132-5101-476C-9C15-0B700F9E99F5}"/>
                    </a:ext>
                  </a:extLst>
                </p:cNvPr>
                <p:cNvSpPr/>
                <p:nvPr/>
              </p:nvSpPr>
              <p:spPr>
                <a:xfrm>
                  <a:off x="4684636" y="2553569"/>
                  <a:ext cx="3850" cy="10226"/>
                </a:xfrm>
                <a:custGeom>
                  <a:avLst/>
                  <a:gdLst>
                    <a:gd name="connsiteX0" fmla="*/ 3851 w 3850"/>
                    <a:gd name="connsiteY0" fmla="*/ 179 h 10226"/>
                    <a:gd name="connsiteX1" fmla="*/ 3732 w 3850"/>
                    <a:gd name="connsiteY1" fmla="*/ 0 h 10226"/>
                    <a:gd name="connsiteX2" fmla="*/ 3552 w 3850"/>
                    <a:gd name="connsiteY2" fmla="*/ 120 h 10226"/>
                    <a:gd name="connsiteX3" fmla="*/ 23 w 3850"/>
                    <a:gd name="connsiteY3" fmla="*/ 10048 h 10226"/>
                    <a:gd name="connsiteX4" fmla="*/ 143 w 3850"/>
                    <a:gd name="connsiteY4" fmla="*/ 10227 h 10226"/>
                    <a:gd name="connsiteX5" fmla="*/ 322 w 3850"/>
                    <a:gd name="connsiteY5" fmla="*/ 10107 h 10226"/>
                    <a:gd name="connsiteX6" fmla="*/ 3851 w 3850"/>
                    <a:gd name="connsiteY6" fmla="*/ 179 h 10226"/>
                    <a:gd name="connsiteX7" fmla="*/ 3851 w 3850"/>
                    <a:gd name="connsiteY7" fmla="*/ 179 h 1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0" h="10226">
                      <a:moveTo>
                        <a:pt x="3851" y="179"/>
                      </a:moveTo>
                      <a:cubicBezTo>
                        <a:pt x="3851" y="120"/>
                        <a:pt x="3851" y="0"/>
                        <a:pt x="3732" y="0"/>
                      </a:cubicBezTo>
                      <a:cubicBezTo>
                        <a:pt x="3672" y="0"/>
                        <a:pt x="3552" y="0"/>
                        <a:pt x="3552" y="120"/>
                      </a:cubicBezTo>
                      <a:lnTo>
                        <a:pt x="23" y="10048"/>
                      </a:lnTo>
                      <a:cubicBezTo>
                        <a:pt x="-36" y="10167"/>
                        <a:pt x="23" y="10227"/>
                        <a:pt x="143" y="10227"/>
                      </a:cubicBezTo>
                      <a:cubicBezTo>
                        <a:pt x="203" y="10227"/>
                        <a:pt x="322" y="10227"/>
                        <a:pt x="322" y="10107"/>
                      </a:cubicBezTo>
                      <a:lnTo>
                        <a:pt x="3851" y="179"/>
                      </a:lnTo>
                      <a:cubicBezTo>
                        <a:pt x="3851" y="179"/>
                        <a:pt x="3851" y="179"/>
                        <a:pt x="3851"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61" name="Vrije vorm: vorm 8960">
                  <a:extLst>
                    <a:ext uri="{FF2B5EF4-FFF2-40B4-BE49-F238E27FC236}">
                      <a16:creationId xmlns:a16="http://schemas.microsoft.com/office/drawing/2014/main" id="{A0BDD189-49C4-4DFD-9538-39CFED5CF8A4}"/>
                    </a:ext>
                  </a:extLst>
                </p:cNvPr>
                <p:cNvSpPr/>
                <p:nvPr/>
              </p:nvSpPr>
              <p:spPr>
                <a:xfrm>
                  <a:off x="4598537" y="2555199"/>
                  <a:ext cx="102928" cy="147050"/>
                </a:xfrm>
                <a:custGeom>
                  <a:avLst/>
                  <a:gdLst>
                    <a:gd name="connsiteX0" fmla="*/ 102928 w 102928"/>
                    <a:gd name="connsiteY0" fmla="*/ 164 h 147050"/>
                    <a:gd name="connsiteX1" fmla="*/ 92581 w 102928"/>
                    <a:gd name="connsiteY1" fmla="*/ 19901 h 147050"/>
                    <a:gd name="connsiteX2" fmla="*/ 100117 w 102928"/>
                    <a:gd name="connsiteY2" fmla="*/ 41790 h 147050"/>
                    <a:gd name="connsiteX3" fmla="*/ 100117 w 102928"/>
                    <a:gd name="connsiteY3" fmla="*/ 41910 h 147050"/>
                    <a:gd name="connsiteX4" fmla="*/ 92283 w 102928"/>
                    <a:gd name="connsiteY4" fmla="*/ 53632 h 147050"/>
                    <a:gd name="connsiteX5" fmla="*/ 95153 w 102928"/>
                    <a:gd name="connsiteY5" fmla="*/ 69541 h 147050"/>
                    <a:gd name="connsiteX6" fmla="*/ 95153 w 102928"/>
                    <a:gd name="connsiteY6" fmla="*/ 69660 h 147050"/>
                    <a:gd name="connsiteX7" fmla="*/ 86362 w 102928"/>
                    <a:gd name="connsiteY7" fmla="*/ 98428 h 147050"/>
                    <a:gd name="connsiteX8" fmla="*/ 87498 w 102928"/>
                    <a:gd name="connsiteY8" fmla="*/ 126298 h 147050"/>
                    <a:gd name="connsiteX9" fmla="*/ 83850 w 102928"/>
                    <a:gd name="connsiteY9" fmla="*/ 125819 h 147050"/>
                    <a:gd name="connsiteX10" fmla="*/ 87139 w 102928"/>
                    <a:gd name="connsiteY10" fmla="*/ 126298 h 147050"/>
                    <a:gd name="connsiteX11" fmla="*/ 86003 w 102928"/>
                    <a:gd name="connsiteY11" fmla="*/ 98428 h 147050"/>
                    <a:gd name="connsiteX12" fmla="*/ 86003 w 102928"/>
                    <a:gd name="connsiteY12" fmla="*/ 98368 h 147050"/>
                    <a:gd name="connsiteX13" fmla="*/ 94794 w 102928"/>
                    <a:gd name="connsiteY13" fmla="*/ 69601 h 147050"/>
                    <a:gd name="connsiteX14" fmla="*/ 91924 w 102928"/>
                    <a:gd name="connsiteY14" fmla="*/ 53692 h 147050"/>
                    <a:gd name="connsiteX15" fmla="*/ 91924 w 102928"/>
                    <a:gd name="connsiteY15" fmla="*/ 53572 h 147050"/>
                    <a:gd name="connsiteX16" fmla="*/ 99758 w 102928"/>
                    <a:gd name="connsiteY16" fmla="*/ 41850 h 147050"/>
                    <a:gd name="connsiteX17" fmla="*/ 92283 w 102928"/>
                    <a:gd name="connsiteY17" fmla="*/ 19961 h 147050"/>
                    <a:gd name="connsiteX18" fmla="*/ 92283 w 102928"/>
                    <a:gd name="connsiteY18" fmla="*/ 19901 h 147050"/>
                    <a:gd name="connsiteX19" fmla="*/ 102390 w 102928"/>
                    <a:gd name="connsiteY19" fmla="*/ 703 h 147050"/>
                    <a:gd name="connsiteX20" fmla="*/ 86422 w 102928"/>
                    <a:gd name="connsiteY20" fmla="*/ 8717 h 147050"/>
                    <a:gd name="connsiteX21" fmla="*/ 86302 w 102928"/>
                    <a:gd name="connsiteY21" fmla="*/ 8777 h 147050"/>
                    <a:gd name="connsiteX22" fmla="*/ 73683 w 102928"/>
                    <a:gd name="connsiteY22" fmla="*/ 7640 h 147050"/>
                    <a:gd name="connsiteX23" fmla="*/ 64472 w 102928"/>
                    <a:gd name="connsiteY23" fmla="*/ 28513 h 147050"/>
                    <a:gd name="connsiteX24" fmla="*/ 64353 w 102928"/>
                    <a:gd name="connsiteY24" fmla="*/ 28573 h 147050"/>
                    <a:gd name="connsiteX25" fmla="*/ 52212 w 102928"/>
                    <a:gd name="connsiteY25" fmla="*/ 29590 h 147050"/>
                    <a:gd name="connsiteX26" fmla="*/ 47008 w 102928"/>
                    <a:gd name="connsiteY26" fmla="*/ 38860 h 147050"/>
                    <a:gd name="connsiteX27" fmla="*/ 51614 w 102928"/>
                    <a:gd name="connsiteY27" fmla="*/ 38561 h 147050"/>
                    <a:gd name="connsiteX28" fmla="*/ 51733 w 102928"/>
                    <a:gd name="connsiteY28" fmla="*/ 38620 h 147050"/>
                    <a:gd name="connsiteX29" fmla="*/ 61243 w 102928"/>
                    <a:gd name="connsiteY29" fmla="*/ 51539 h 147050"/>
                    <a:gd name="connsiteX30" fmla="*/ 80859 w 102928"/>
                    <a:gd name="connsiteY30" fmla="*/ 49386 h 147050"/>
                    <a:gd name="connsiteX31" fmla="*/ 81039 w 102928"/>
                    <a:gd name="connsiteY31" fmla="*/ 49446 h 147050"/>
                    <a:gd name="connsiteX32" fmla="*/ 90309 w 102928"/>
                    <a:gd name="connsiteY32" fmla="*/ 62663 h 147050"/>
                    <a:gd name="connsiteX33" fmla="*/ 90309 w 102928"/>
                    <a:gd name="connsiteY33" fmla="*/ 62842 h 147050"/>
                    <a:gd name="connsiteX34" fmla="*/ 90189 w 102928"/>
                    <a:gd name="connsiteY34" fmla="*/ 62962 h 147050"/>
                    <a:gd name="connsiteX35" fmla="*/ 61661 w 102928"/>
                    <a:gd name="connsiteY35" fmla="*/ 66192 h 147050"/>
                    <a:gd name="connsiteX36" fmla="*/ 53288 w 102928"/>
                    <a:gd name="connsiteY36" fmla="*/ 81143 h 147050"/>
                    <a:gd name="connsiteX37" fmla="*/ 53169 w 102928"/>
                    <a:gd name="connsiteY37" fmla="*/ 81203 h 147050"/>
                    <a:gd name="connsiteX38" fmla="*/ 30322 w 102928"/>
                    <a:gd name="connsiteY38" fmla="*/ 80665 h 147050"/>
                    <a:gd name="connsiteX39" fmla="*/ 30203 w 102928"/>
                    <a:gd name="connsiteY39" fmla="*/ 80605 h 147050"/>
                    <a:gd name="connsiteX40" fmla="*/ 16746 w 102928"/>
                    <a:gd name="connsiteY40" fmla="*/ 69900 h 147050"/>
                    <a:gd name="connsiteX41" fmla="*/ 359 w 102928"/>
                    <a:gd name="connsiteY41" fmla="*/ 92806 h 147050"/>
                    <a:gd name="connsiteX42" fmla="*/ 20275 w 102928"/>
                    <a:gd name="connsiteY42" fmla="*/ 139934 h 147050"/>
                    <a:gd name="connsiteX43" fmla="*/ 72725 w 102928"/>
                    <a:gd name="connsiteY43" fmla="*/ 146752 h 147050"/>
                    <a:gd name="connsiteX44" fmla="*/ 72845 w 102928"/>
                    <a:gd name="connsiteY44" fmla="*/ 146931 h 147050"/>
                    <a:gd name="connsiteX45" fmla="*/ 72666 w 102928"/>
                    <a:gd name="connsiteY45" fmla="*/ 147051 h 147050"/>
                    <a:gd name="connsiteX46" fmla="*/ 20095 w 102928"/>
                    <a:gd name="connsiteY46" fmla="*/ 140233 h 147050"/>
                    <a:gd name="connsiteX47" fmla="*/ 19976 w 102928"/>
                    <a:gd name="connsiteY47" fmla="*/ 140113 h 147050"/>
                    <a:gd name="connsiteX48" fmla="*/ 0 w 102928"/>
                    <a:gd name="connsiteY48" fmla="*/ 92806 h 147050"/>
                    <a:gd name="connsiteX49" fmla="*/ 0 w 102928"/>
                    <a:gd name="connsiteY49" fmla="*/ 92626 h 147050"/>
                    <a:gd name="connsiteX50" fmla="*/ 16447 w 102928"/>
                    <a:gd name="connsiteY50" fmla="*/ 69660 h 147050"/>
                    <a:gd name="connsiteX51" fmla="*/ 5742 w 102928"/>
                    <a:gd name="connsiteY51" fmla="*/ 61168 h 147050"/>
                    <a:gd name="connsiteX52" fmla="*/ 5682 w 102928"/>
                    <a:gd name="connsiteY52" fmla="*/ 61048 h 147050"/>
                    <a:gd name="connsiteX53" fmla="*/ 5742 w 102928"/>
                    <a:gd name="connsiteY53" fmla="*/ 60929 h 147050"/>
                    <a:gd name="connsiteX54" fmla="*/ 38157 w 102928"/>
                    <a:gd name="connsiteY54" fmla="*/ 39398 h 147050"/>
                    <a:gd name="connsiteX55" fmla="*/ 38217 w 102928"/>
                    <a:gd name="connsiteY55" fmla="*/ 39398 h 147050"/>
                    <a:gd name="connsiteX56" fmla="*/ 46650 w 102928"/>
                    <a:gd name="connsiteY56" fmla="*/ 38860 h 147050"/>
                    <a:gd name="connsiteX57" fmla="*/ 51972 w 102928"/>
                    <a:gd name="connsiteY57" fmla="*/ 29350 h 147050"/>
                    <a:gd name="connsiteX58" fmla="*/ 52092 w 102928"/>
                    <a:gd name="connsiteY58" fmla="*/ 29291 h 147050"/>
                    <a:gd name="connsiteX59" fmla="*/ 64233 w 102928"/>
                    <a:gd name="connsiteY59" fmla="*/ 28274 h 147050"/>
                    <a:gd name="connsiteX60" fmla="*/ 73443 w 102928"/>
                    <a:gd name="connsiteY60" fmla="*/ 7341 h 147050"/>
                    <a:gd name="connsiteX61" fmla="*/ 73563 w 102928"/>
                    <a:gd name="connsiteY61" fmla="*/ 7282 h 147050"/>
                    <a:gd name="connsiteX62" fmla="*/ 86242 w 102928"/>
                    <a:gd name="connsiteY62" fmla="*/ 8418 h 147050"/>
                    <a:gd name="connsiteX63" fmla="*/ 102689 w 102928"/>
                    <a:gd name="connsiteY63" fmla="*/ 45 h 147050"/>
                    <a:gd name="connsiteX64" fmla="*/ 102869 w 102928"/>
                    <a:gd name="connsiteY64" fmla="*/ 45 h 147050"/>
                    <a:gd name="connsiteX65" fmla="*/ 102928 w 102928"/>
                    <a:gd name="connsiteY65" fmla="*/ 164 h 147050"/>
                    <a:gd name="connsiteX66" fmla="*/ 102928 w 102928"/>
                    <a:gd name="connsiteY66" fmla="*/ 164 h 147050"/>
                    <a:gd name="connsiteX67" fmla="*/ 61123 w 102928"/>
                    <a:gd name="connsiteY67" fmla="*/ 51838 h 147050"/>
                    <a:gd name="connsiteX68" fmla="*/ 61003 w 102928"/>
                    <a:gd name="connsiteY68" fmla="*/ 51778 h 147050"/>
                    <a:gd name="connsiteX69" fmla="*/ 51494 w 102928"/>
                    <a:gd name="connsiteY69" fmla="*/ 38860 h 147050"/>
                    <a:gd name="connsiteX70" fmla="*/ 46769 w 102928"/>
                    <a:gd name="connsiteY70" fmla="*/ 39159 h 147050"/>
                    <a:gd name="connsiteX71" fmla="*/ 43539 w 102928"/>
                    <a:gd name="connsiteY71" fmla="*/ 44960 h 147050"/>
                    <a:gd name="connsiteX72" fmla="*/ 43420 w 102928"/>
                    <a:gd name="connsiteY72" fmla="*/ 45020 h 147050"/>
                    <a:gd name="connsiteX73" fmla="*/ 43300 w 102928"/>
                    <a:gd name="connsiteY73" fmla="*/ 44960 h 147050"/>
                    <a:gd name="connsiteX74" fmla="*/ 38217 w 102928"/>
                    <a:gd name="connsiteY74" fmla="*/ 39757 h 147050"/>
                    <a:gd name="connsiteX75" fmla="*/ 16866 w 102928"/>
                    <a:gd name="connsiteY75" fmla="*/ 69601 h 147050"/>
                    <a:gd name="connsiteX76" fmla="*/ 30322 w 102928"/>
                    <a:gd name="connsiteY76" fmla="*/ 80246 h 147050"/>
                    <a:gd name="connsiteX77" fmla="*/ 52989 w 102928"/>
                    <a:gd name="connsiteY77" fmla="*/ 80785 h 147050"/>
                    <a:gd name="connsiteX78" fmla="*/ 61362 w 102928"/>
                    <a:gd name="connsiteY78" fmla="*/ 65833 h 147050"/>
                    <a:gd name="connsiteX79" fmla="*/ 61482 w 102928"/>
                    <a:gd name="connsiteY79" fmla="*/ 65773 h 147050"/>
                    <a:gd name="connsiteX80" fmla="*/ 89831 w 102928"/>
                    <a:gd name="connsiteY80" fmla="*/ 62603 h 147050"/>
                    <a:gd name="connsiteX81" fmla="*/ 80740 w 102928"/>
                    <a:gd name="connsiteY81" fmla="*/ 49685 h 147050"/>
                    <a:gd name="connsiteX82" fmla="*/ 61123 w 102928"/>
                    <a:gd name="connsiteY82" fmla="*/ 51838 h 147050"/>
                    <a:gd name="connsiteX83" fmla="*/ 43300 w 102928"/>
                    <a:gd name="connsiteY83" fmla="*/ 44541 h 147050"/>
                    <a:gd name="connsiteX84" fmla="*/ 46351 w 102928"/>
                    <a:gd name="connsiteY84" fmla="*/ 39099 h 147050"/>
                    <a:gd name="connsiteX85" fmla="*/ 38516 w 102928"/>
                    <a:gd name="connsiteY85" fmla="*/ 39577 h 147050"/>
                    <a:gd name="connsiteX86" fmla="*/ 43300 w 102928"/>
                    <a:gd name="connsiteY86" fmla="*/ 44541 h 147050"/>
                    <a:gd name="connsiteX87" fmla="*/ 16567 w 102928"/>
                    <a:gd name="connsiteY87" fmla="*/ 69361 h 147050"/>
                    <a:gd name="connsiteX88" fmla="*/ 37499 w 102928"/>
                    <a:gd name="connsiteY88" fmla="*/ 40116 h 147050"/>
                    <a:gd name="connsiteX89" fmla="*/ 6041 w 102928"/>
                    <a:gd name="connsiteY89" fmla="*/ 60988 h 147050"/>
                    <a:gd name="connsiteX90" fmla="*/ 16567 w 102928"/>
                    <a:gd name="connsiteY90" fmla="*/ 69361 h 14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02928" h="147050">
                      <a:moveTo>
                        <a:pt x="102928" y="164"/>
                      </a:moveTo>
                      <a:lnTo>
                        <a:pt x="92581" y="19901"/>
                      </a:lnTo>
                      <a:lnTo>
                        <a:pt x="100117" y="41790"/>
                      </a:lnTo>
                      <a:cubicBezTo>
                        <a:pt x="100117" y="41850"/>
                        <a:pt x="100117" y="41850"/>
                        <a:pt x="100117" y="41910"/>
                      </a:cubicBezTo>
                      <a:lnTo>
                        <a:pt x="92283" y="53632"/>
                      </a:lnTo>
                      <a:lnTo>
                        <a:pt x="95153" y="69541"/>
                      </a:lnTo>
                      <a:cubicBezTo>
                        <a:pt x="95153" y="69541"/>
                        <a:pt x="95153" y="69601"/>
                        <a:pt x="95153" y="69660"/>
                      </a:cubicBezTo>
                      <a:lnTo>
                        <a:pt x="86362" y="98428"/>
                      </a:lnTo>
                      <a:lnTo>
                        <a:pt x="87498" y="126298"/>
                      </a:lnTo>
                      <a:cubicBezTo>
                        <a:pt x="87498" y="126418"/>
                        <a:pt x="83969" y="125819"/>
                        <a:pt x="83850" y="125819"/>
                      </a:cubicBezTo>
                      <a:cubicBezTo>
                        <a:pt x="83730" y="125819"/>
                        <a:pt x="87139" y="126358"/>
                        <a:pt x="87139" y="126298"/>
                      </a:cubicBezTo>
                      <a:lnTo>
                        <a:pt x="86003" y="98428"/>
                      </a:lnTo>
                      <a:cubicBezTo>
                        <a:pt x="86003" y="98428"/>
                        <a:pt x="86003" y="98368"/>
                        <a:pt x="86003" y="98368"/>
                      </a:cubicBezTo>
                      <a:lnTo>
                        <a:pt x="94794" y="69601"/>
                      </a:lnTo>
                      <a:lnTo>
                        <a:pt x="91924" y="53692"/>
                      </a:lnTo>
                      <a:cubicBezTo>
                        <a:pt x="91924" y="53632"/>
                        <a:pt x="91924" y="53572"/>
                        <a:pt x="91924" y="53572"/>
                      </a:cubicBezTo>
                      <a:lnTo>
                        <a:pt x="99758" y="41850"/>
                      </a:lnTo>
                      <a:lnTo>
                        <a:pt x="92283" y="19961"/>
                      </a:lnTo>
                      <a:cubicBezTo>
                        <a:pt x="92283" y="19901"/>
                        <a:pt x="92283" y="19901"/>
                        <a:pt x="92283" y="19901"/>
                      </a:cubicBezTo>
                      <a:lnTo>
                        <a:pt x="102390" y="703"/>
                      </a:lnTo>
                      <a:lnTo>
                        <a:pt x="86422" y="8717"/>
                      </a:lnTo>
                      <a:cubicBezTo>
                        <a:pt x="86362" y="8717"/>
                        <a:pt x="86362" y="8777"/>
                        <a:pt x="86302" y="8777"/>
                      </a:cubicBezTo>
                      <a:lnTo>
                        <a:pt x="73683" y="7640"/>
                      </a:lnTo>
                      <a:lnTo>
                        <a:pt x="64472" y="28513"/>
                      </a:lnTo>
                      <a:cubicBezTo>
                        <a:pt x="64472" y="28573"/>
                        <a:pt x="64412" y="28573"/>
                        <a:pt x="64353" y="28573"/>
                      </a:cubicBezTo>
                      <a:lnTo>
                        <a:pt x="52212" y="29590"/>
                      </a:lnTo>
                      <a:lnTo>
                        <a:pt x="47008" y="38860"/>
                      </a:lnTo>
                      <a:lnTo>
                        <a:pt x="51614" y="38561"/>
                      </a:lnTo>
                      <a:cubicBezTo>
                        <a:pt x="51674" y="38561"/>
                        <a:pt x="51733" y="38561"/>
                        <a:pt x="51733" y="38620"/>
                      </a:cubicBezTo>
                      <a:lnTo>
                        <a:pt x="61243" y="51539"/>
                      </a:lnTo>
                      <a:lnTo>
                        <a:pt x="80859" y="49386"/>
                      </a:lnTo>
                      <a:cubicBezTo>
                        <a:pt x="80919" y="49386"/>
                        <a:pt x="80979" y="49386"/>
                        <a:pt x="81039" y="49446"/>
                      </a:cubicBezTo>
                      <a:lnTo>
                        <a:pt x="90309" y="62663"/>
                      </a:lnTo>
                      <a:cubicBezTo>
                        <a:pt x="90369" y="62723"/>
                        <a:pt x="90369" y="62783"/>
                        <a:pt x="90309" y="62842"/>
                      </a:cubicBezTo>
                      <a:cubicBezTo>
                        <a:pt x="90309" y="62902"/>
                        <a:pt x="90249" y="62902"/>
                        <a:pt x="90189" y="62962"/>
                      </a:cubicBezTo>
                      <a:lnTo>
                        <a:pt x="61661" y="66192"/>
                      </a:lnTo>
                      <a:lnTo>
                        <a:pt x="53288" y="81143"/>
                      </a:lnTo>
                      <a:cubicBezTo>
                        <a:pt x="53288" y="81203"/>
                        <a:pt x="53229" y="81203"/>
                        <a:pt x="53169" y="81203"/>
                      </a:cubicBezTo>
                      <a:lnTo>
                        <a:pt x="30322" y="80665"/>
                      </a:lnTo>
                      <a:cubicBezTo>
                        <a:pt x="30262" y="80665"/>
                        <a:pt x="30262" y="80665"/>
                        <a:pt x="30203" y="80605"/>
                      </a:cubicBezTo>
                      <a:lnTo>
                        <a:pt x="16746" y="69900"/>
                      </a:lnTo>
                      <a:lnTo>
                        <a:pt x="359" y="92806"/>
                      </a:lnTo>
                      <a:lnTo>
                        <a:pt x="20275" y="139934"/>
                      </a:lnTo>
                      <a:lnTo>
                        <a:pt x="72725" y="146752"/>
                      </a:lnTo>
                      <a:cubicBezTo>
                        <a:pt x="72845" y="146752"/>
                        <a:pt x="72905" y="146812"/>
                        <a:pt x="72845" y="146931"/>
                      </a:cubicBezTo>
                      <a:cubicBezTo>
                        <a:pt x="72845" y="146991"/>
                        <a:pt x="72725" y="147051"/>
                        <a:pt x="72666" y="147051"/>
                      </a:cubicBezTo>
                      <a:lnTo>
                        <a:pt x="20095" y="140233"/>
                      </a:lnTo>
                      <a:cubicBezTo>
                        <a:pt x="20035" y="140233"/>
                        <a:pt x="19976" y="140173"/>
                        <a:pt x="19976" y="140113"/>
                      </a:cubicBezTo>
                      <a:lnTo>
                        <a:pt x="0" y="92806"/>
                      </a:lnTo>
                      <a:cubicBezTo>
                        <a:pt x="0" y="92746"/>
                        <a:pt x="0" y="92686"/>
                        <a:pt x="0" y="92626"/>
                      </a:cubicBezTo>
                      <a:lnTo>
                        <a:pt x="16447" y="69660"/>
                      </a:lnTo>
                      <a:lnTo>
                        <a:pt x="5742" y="61168"/>
                      </a:lnTo>
                      <a:cubicBezTo>
                        <a:pt x="5682" y="61108"/>
                        <a:pt x="5682" y="61108"/>
                        <a:pt x="5682" y="61048"/>
                      </a:cubicBezTo>
                      <a:cubicBezTo>
                        <a:pt x="5682" y="60988"/>
                        <a:pt x="5742" y="60929"/>
                        <a:pt x="5742" y="60929"/>
                      </a:cubicBezTo>
                      <a:lnTo>
                        <a:pt x="38157" y="39398"/>
                      </a:lnTo>
                      <a:cubicBezTo>
                        <a:pt x="38157" y="39398"/>
                        <a:pt x="38217" y="39398"/>
                        <a:pt x="38217" y="39398"/>
                      </a:cubicBezTo>
                      <a:lnTo>
                        <a:pt x="46650" y="38860"/>
                      </a:lnTo>
                      <a:lnTo>
                        <a:pt x="51972" y="29350"/>
                      </a:lnTo>
                      <a:cubicBezTo>
                        <a:pt x="51972" y="29291"/>
                        <a:pt x="52032" y="29291"/>
                        <a:pt x="52092" y="29291"/>
                      </a:cubicBezTo>
                      <a:lnTo>
                        <a:pt x="64233" y="28274"/>
                      </a:lnTo>
                      <a:lnTo>
                        <a:pt x="73443" y="7341"/>
                      </a:lnTo>
                      <a:cubicBezTo>
                        <a:pt x="73503" y="7282"/>
                        <a:pt x="73503" y="7282"/>
                        <a:pt x="73563" y="7282"/>
                      </a:cubicBezTo>
                      <a:lnTo>
                        <a:pt x="86242" y="8418"/>
                      </a:lnTo>
                      <a:lnTo>
                        <a:pt x="102689" y="45"/>
                      </a:lnTo>
                      <a:cubicBezTo>
                        <a:pt x="102749" y="-15"/>
                        <a:pt x="102809" y="-15"/>
                        <a:pt x="102869" y="45"/>
                      </a:cubicBezTo>
                      <a:cubicBezTo>
                        <a:pt x="102928" y="-15"/>
                        <a:pt x="102928" y="45"/>
                        <a:pt x="102928" y="164"/>
                      </a:cubicBezTo>
                      <a:cubicBezTo>
                        <a:pt x="102928" y="105"/>
                        <a:pt x="102928" y="105"/>
                        <a:pt x="102928" y="164"/>
                      </a:cubicBezTo>
                      <a:close/>
                      <a:moveTo>
                        <a:pt x="61123" y="51838"/>
                      </a:moveTo>
                      <a:cubicBezTo>
                        <a:pt x="61063" y="51838"/>
                        <a:pt x="61003" y="51838"/>
                        <a:pt x="61003" y="51778"/>
                      </a:cubicBezTo>
                      <a:lnTo>
                        <a:pt x="51494" y="38860"/>
                      </a:lnTo>
                      <a:lnTo>
                        <a:pt x="46769" y="39159"/>
                      </a:lnTo>
                      <a:lnTo>
                        <a:pt x="43539" y="44960"/>
                      </a:lnTo>
                      <a:cubicBezTo>
                        <a:pt x="43539" y="45020"/>
                        <a:pt x="43480" y="45020"/>
                        <a:pt x="43420" y="45020"/>
                      </a:cubicBezTo>
                      <a:cubicBezTo>
                        <a:pt x="43360" y="45020"/>
                        <a:pt x="43300" y="45020"/>
                        <a:pt x="43300" y="44960"/>
                      </a:cubicBezTo>
                      <a:lnTo>
                        <a:pt x="38217" y="39757"/>
                      </a:lnTo>
                      <a:lnTo>
                        <a:pt x="16866" y="69601"/>
                      </a:lnTo>
                      <a:lnTo>
                        <a:pt x="30322" y="80246"/>
                      </a:lnTo>
                      <a:lnTo>
                        <a:pt x="52989" y="80785"/>
                      </a:lnTo>
                      <a:lnTo>
                        <a:pt x="61362" y="65833"/>
                      </a:lnTo>
                      <a:cubicBezTo>
                        <a:pt x="61362" y="65773"/>
                        <a:pt x="61422" y="65773"/>
                        <a:pt x="61482" y="65773"/>
                      </a:cubicBezTo>
                      <a:lnTo>
                        <a:pt x="89831" y="62603"/>
                      </a:lnTo>
                      <a:lnTo>
                        <a:pt x="80740" y="49685"/>
                      </a:lnTo>
                      <a:lnTo>
                        <a:pt x="61123" y="51838"/>
                      </a:lnTo>
                      <a:close/>
                      <a:moveTo>
                        <a:pt x="43300" y="44541"/>
                      </a:moveTo>
                      <a:lnTo>
                        <a:pt x="46351" y="39099"/>
                      </a:lnTo>
                      <a:lnTo>
                        <a:pt x="38516" y="39577"/>
                      </a:lnTo>
                      <a:lnTo>
                        <a:pt x="43300" y="44541"/>
                      </a:lnTo>
                      <a:close/>
                      <a:moveTo>
                        <a:pt x="16567" y="69361"/>
                      </a:moveTo>
                      <a:lnTo>
                        <a:pt x="37499" y="40116"/>
                      </a:lnTo>
                      <a:lnTo>
                        <a:pt x="6041" y="60988"/>
                      </a:lnTo>
                      <a:lnTo>
                        <a:pt x="16567" y="69361"/>
                      </a:lnTo>
                      <a:close/>
                    </a:path>
                  </a:pathLst>
                </a:custGeom>
                <a:grpFill/>
                <a:ln w="6350" cap="flat">
                  <a:solidFill>
                    <a:schemeClr val="bg1">
                      <a:alpha val="40000"/>
                    </a:schemeClr>
                  </a:solidFill>
                  <a:prstDash val="solid"/>
                  <a:miter/>
                </a:ln>
              </p:spPr>
              <p:txBody>
                <a:bodyPr rtlCol="0" anchor="ctr"/>
                <a:lstStyle/>
                <a:p>
                  <a:endParaRPr lang="en-GB"/>
                </a:p>
              </p:txBody>
            </p:sp>
            <p:sp>
              <p:nvSpPr>
                <p:cNvPr id="8962" name="Vrije vorm: vorm 8961">
                  <a:extLst>
                    <a:ext uri="{FF2B5EF4-FFF2-40B4-BE49-F238E27FC236}">
                      <a16:creationId xmlns:a16="http://schemas.microsoft.com/office/drawing/2014/main" id="{6A5E7BEE-42FE-4D42-BA31-D1A31270EC21}"/>
                    </a:ext>
                  </a:extLst>
                </p:cNvPr>
                <p:cNvSpPr/>
                <p:nvPr/>
              </p:nvSpPr>
              <p:spPr>
                <a:xfrm>
                  <a:off x="4573597" y="2580004"/>
                  <a:ext cx="42941" cy="8133"/>
                </a:xfrm>
                <a:custGeom>
                  <a:avLst/>
                  <a:gdLst>
                    <a:gd name="connsiteX0" fmla="*/ 42942 w 42941"/>
                    <a:gd name="connsiteY0" fmla="*/ 179 h 8133"/>
                    <a:gd name="connsiteX1" fmla="*/ 42942 w 42941"/>
                    <a:gd name="connsiteY1" fmla="*/ 179 h 8133"/>
                    <a:gd name="connsiteX2" fmla="*/ 42762 w 42941"/>
                    <a:gd name="connsiteY2" fmla="*/ 0 h 8133"/>
                    <a:gd name="connsiteX3" fmla="*/ 119 w 42941"/>
                    <a:gd name="connsiteY3" fmla="*/ 4964 h 8133"/>
                    <a:gd name="connsiteX4" fmla="*/ 0 w 42941"/>
                    <a:gd name="connsiteY4" fmla="*/ 5144 h 8133"/>
                    <a:gd name="connsiteX5" fmla="*/ 179 w 42941"/>
                    <a:gd name="connsiteY5" fmla="*/ 5263 h 8133"/>
                    <a:gd name="connsiteX6" fmla="*/ 40130 w 42941"/>
                    <a:gd name="connsiteY6" fmla="*/ 598 h 8133"/>
                    <a:gd name="connsiteX7" fmla="*/ 9868 w 42941"/>
                    <a:gd name="connsiteY7" fmla="*/ 7835 h 8133"/>
                    <a:gd name="connsiteX8" fmla="*/ 9749 w 42941"/>
                    <a:gd name="connsiteY8" fmla="*/ 8014 h 8133"/>
                    <a:gd name="connsiteX9" fmla="*/ 9928 w 42941"/>
                    <a:gd name="connsiteY9" fmla="*/ 8134 h 8133"/>
                    <a:gd name="connsiteX10" fmla="*/ 42822 w 42941"/>
                    <a:gd name="connsiteY10" fmla="*/ 239 h 8133"/>
                    <a:gd name="connsiteX11" fmla="*/ 42942 w 42941"/>
                    <a:gd name="connsiteY11" fmla="*/ 179 h 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941" h="8133">
                      <a:moveTo>
                        <a:pt x="42942" y="179"/>
                      </a:moveTo>
                      <a:cubicBezTo>
                        <a:pt x="42942" y="179"/>
                        <a:pt x="42942" y="120"/>
                        <a:pt x="42942" y="179"/>
                      </a:cubicBezTo>
                      <a:cubicBezTo>
                        <a:pt x="42942" y="60"/>
                        <a:pt x="42822" y="0"/>
                        <a:pt x="42762" y="0"/>
                      </a:cubicBezTo>
                      <a:lnTo>
                        <a:pt x="119" y="4964"/>
                      </a:lnTo>
                      <a:cubicBezTo>
                        <a:pt x="60" y="4964"/>
                        <a:pt x="0" y="5084"/>
                        <a:pt x="0" y="5144"/>
                      </a:cubicBezTo>
                      <a:cubicBezTo>
                        <a:pt x="0" y="5203"/>
                        <a:pt x="119" y="5323"/>
                        <a:pt x="179" y="5263"/>
                      </a:cubicBezTo>
                      <a:lnTo>
                        <a:pt x="40130" y="598"/>
                      </a:lnTo>
                      <a:lnTo>
                        <a:pt x="9868" y="7835"/>
                      </a:lnTo>
                      <a:cubicBezTo>
                        <a:pt x="9808" y="7835"/>
                        <a:pt x="9749" y="7954"/>
                        <a:pt x="9749" y="8014"/>
                      </a:cubicBezTo>
                      <a:cubicBezTo>
                        <a:pt x="9749" y="8074"/>
                        <a:pt x="9868" y="8134"/>
                        <a:pt x="9928" y="8134"/>
                      </a:cubicBezTo>
                      <a:lnTo>
                        <a:pt x="42822" y="239"/>
                      </a:lnTo>
                      <a:cubicBezTo>
                        <a:pt x="42882" y="299"/>
                        <a:pt x="42942" y="239"/>
                        <a:pt x="42942" y="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963" name="Vrije vorm: vorm 8962">
                  <a:extLst>
                    <a:ext uri="{FF2B5EF4-FFF2-40B4-BE49-F238E27FC236}">
                      <a16:creationId xmlns:a16="http://schemas.microsoft.com/office/drawing/2014/main" id="{0A2CF7D8-5163-4AD7-9535-BFA46C28E2EF}"/>
                    </a:ext>
                  </a:extLst>
                </p:cNvPr>
                <p:cNvSpPr/>
                <p:nvPr/>
              </p:nvSpPr>
              <p:spPr>
                <a:xfrm>
                  <a:off x="4559064" y="2578568"/>
                  <a:ext cx="37857" cy="5263"/>
                </a:xfrm>
                <a:custGeom>
                  <a:avLst/>
                  <a:gdLst>
                    <a:gd name="connsiteX0" fmla="*/ 37858 w 37857"/>
                    <a:gd name="connsiteY0" fmla="*/ 179 h 5263"/>
                    <a:gd name="connsiteX1" fmla="*/ 37858 w 37857"/>
                    <a:gd name="connsiteY1" fmla="*/ 179 h 5263"/>
                    <a:gd name="connsiteX2" fmla="*/ 37678 w 37857"/>
                    <a:gd name="connsiteY2" fmla="*/ 0 h 5263"/>
                    <a:gd name="connsiteX3" fmla="*/ 119 w 37857"/>
                    <a:gd name="connsiteY3" fmla="*/ 4964 h 5263"/>
                    <a:gd name="connsiteX4" fmla="*/ 0 w 37857"/>
                    <a:gd name="connsiteY4" fmla="*/ 5143 h 5263"/>
                    <a:gd name="connsiteX5" fmla="*/ 179 w 37857"/>
                    <a:gd name="connsiteY5" fmla="*/ 5263 h 5263"/>
                    <a:gd name="connsiteX6" fmla="*/ 37738 w 37857"/>
                    <a:gd name="connsiteY6" fmla="*/ 299 h 5263"/>
                    <a:gd name="connsiteX7" fmla="*/ 37858 w 37857"/>
                    <a:gd name="connsiteY7" fmla="*/ 179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57" h="5263">
                      <a:moveTo>
                        <a:pt x="37858" y="179"/>
                      </a:moveTo>
                      <a:cubicBezTo>
                        <a:pt x="37858" y="120"/>
                        <a:pt x="37858" y="120"/>
                        <a:pt x="37858" y="179"/>
                      </a:cubicBezTo>
                      <a:cubicBezTo>
                        <a:pt x="37858" y="60"/>
                        <a:pt x="37738" y="0"/>
                        <a:pt x="37678" y="0"/>
                      </a:cubicBezTo>
                      <a:lnTo>
                        <a:pt x="119" y="4964"/>
                      </a:lnTo>
                      <a:cubicBezTo>
                        <a:pt x="60" y="4964"/>
                        <a:pt x="0" y="5024"/>
                        <a:pt x="0" y="5143"/>
                      </a:cubicBezTo>
                      <a:cubicBezTo>
                        <a:pt x="0" y="5203"/>
                        <a:pt x="119" y="5263"/>
                        <a:pt x="179" y="5263"/>
                      </a:cubicBezTo>
                      <a:lnTo>
                        <a:pt x="37738" y="299"/>
                      </a:lnTo>
                      <a:cubicBezTo>
                        <a:pt x="37798" y="299"/>
                        <a:pt x="37858" y="239"/>
                        <a:pt x="37858" y="179"/>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8496" name="Graphic 3">
                <a:extLst>
                  <a:ext uri="{FF2B5EF4-FFF2-40B4-BE49-F238E27FC236}">
                    <a16:creationId xmlns:a16="http://schemas.microsoft.com/office/drawing/2014/main" id="{82DCB4C3-DC94-4E82-97C1-4A109600C9D4}"/>
                  </a:ext>
                </a:extLst>
              </p:cNvPr>
              <p:cNvGrpSpPr/>
              <p:nvPr/>
            </p:nvGrpSpPr>
            <p:grpSpPr>
              <a:xfrm>
                <a:off x="4010777" y="3115333"/>
                <a:ext cx="598248" cy="245155"/>
                <a:chOff x="4010777" y="3115333"/>
                <a:chExt cx="598248" cy="245155"/>
              </a:xfrm>
              <a:noFill/>
            </p:grpSpPr>
            <p:sp>
              <p:nvSpPr>
                <p:cNvPr id="8580" name="Vrije vorm: vorm 8579">
                  <a:extLst>
                    <a:ext uri="{FF2B5EF4-FFF2-40B4-BE49-F238E27FC236}">
                      <a16:creationId xmlns:a16="http://schemas.microsoft.com/office/drawing/2014/main" id="{23024227-EC26-443E-9B88-C6FDA84D2DBB}"/>
                    </a:ext>
                  </a:extLst>
                </p:cNvPr>
                <p:cNvSpPr/>
                <p:nvPr/>
              </p:nvSpPr>
              <p:spPr>
                <a:xfrm>
                  <a:off x="4010777" y="3311567"/>
                  <a:ext cx="55533" cy="28541"/>
                </a:xfrm>
                <a:custGeom>
                  <a:avLst/>
                  <a:gdLst>
                    <a:gd name="connsiteX0" fmla="*/ 7510 w 55533"/>
                    <a:gd name="connsiteY0" fmla="*/ 26613 h 28541"/>
                    <a:gd name="connsiteX1" fmla="*/ 11278 w 55533"/>
                    <a:gd name="connsiteY1" fmla="*/ 27809 h 28541"/>
                    <a:gd name="connsiteX2" fmla="*/ 44710 w 55533"/>
                    <a:gd name="connsiteY2" fmla="*/ 26434 h 28541"/>
                    <a:gd name="connsiteX3" fmla="*/ 55296 w 55533"/>
                    <a:gd name="connsiteY3" fmla="*/ 10824 h 28541"/>
                    <a:gd name="connsiteX4" fmla="*/ 39686 w 55533"/>
                    <a:gd name="connsiteY4" fmla="*/ 238 h 28541"/>
                    <a:gd name="connsiteX5" fmla="*/ 15344 w 55533"/>
                    <a:gd name="connsiteY5" fmla="*/ 1494 h 28541"/>
                    <a:gd name="connsiteX6" fmla="*/ 154 w 55533"/>
                    <a:gd name="connsiteY6" fmla="*/ 12618 h 28541"/>
                    <a:gd name="connsiteX7" fmla="*/ 7510 w 55533"/>
                    <a:gd name="connsiteY7" fmla="*/ 26613 h 2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33" h="28541">
                      <a:moveTo>
                        <a:pt x="7510" y="26613"/>
                      </a:moveTo>
                      <a:cubicBezTo>
                        <a:pt x="8706" y="27211"/>
                        <a:pt x="9962" y="27570"/>
                        <a:pt x="11278" y="27809"/>
                      </a:cubicBezTo>
                      <a:cubicBezTo>
                        <a:pt x="12773" y="28048"/>
                        <a:pt x="26170" y="29962"/>
                        <a:pt x="44710" y="26434"/>
                      </a:cubicBezTo>
                      <a:cubicBezTo>
                        <a:pt x="51946" y="25058"/>
                        <a:pt x="56671" y="18061"/>
                        <a:pt x="55296" y="10824"/>
                      </a:cubicBezTo>
                      <a:cubicBezTo>
                        <a:pt x="53920" y="3587"/>
                        <a:pt x="46923" y="-1138"/>
                        <a:pt x="39686" y="238"/>
                      </a:cubicBezTo>
                      <a:cubicBezTo>
                        <a:pt x="25691" y="2929"/>
                        <a:pt x="15464" y="1494"/>
                        <a:pt x="15344" y="1494"/>
                      </a:cubicBezTo>
                      <a:cubicBezTo>
                        <a:pt x="8048" y="358"/>
                        <a:pt x="1290" y="5322"/>
                        <a:pt x="154" y="12618"/>
                      </a:cubicBezTo>
                      <a:cubicBezTo>
                        <a:pt x="-744" y="18479"/>
                        <a:pt x="2366" y="24101"/>
                        <a:pt x="7510" y="26613"/>
                      </a:cubicBezTo>
                      <a:close/>
                    </a:path>
                  </a:pathLst>
                </a:custGeom>
                <a:grpFill/>
                <a:ln w="6350" cap="flat">
                  <a:solidFill>
                    <a:schemeClr val="bg1">
                      <a:alpha val="40000"/>
                    </a:schemeClr>
                  </a:solidFill>
                  <a:custDash>
                    <a:ds d="177578" sp="177578"/>
                  </a:custDash>
                  <a:miter/>
                </a:ln>
              </p:spPr>
              <p:txBody>
                <a:bodyPr rtlCol="0" anchor="ctr"/>
                <a:lstStyle/>
                <a:p>
                  <a:endParaRPr lang="en-GB"/>
                </a:p>
              </p:txBody>
            </p:sp>
            <p:grpSp>
              <p:nvGrpSpPr>
                <p:cNvPr id="8581" name="Graphic 3">
                  <a:extLst>
                    <a:ext uri="{FF2B5EF4-FFF2-40B4-BE49-F238E27FC236}">
                      <a16:creationId xmlns:a16="http://schemas.microsoft.com/office/drawing/2014/main" id="{7CE4823B-084A-4A83-84A6-E17F03DDCFED}"/>
                    </a:ext>
                  </a:extLst>
                </p:cNvPr>
                <p:cNvGrpSpPr/>
                <p:nvPr/>
              </p:nvGrpSpPr>
              <p:grpSpPr>
                <a:xfrm>
                  <a:off x="4541780" y="3233577"/>
                  <a:ext cx="48291" cy="47746"/>
                  <a:chOff x="4541780" y="3233577"/>
                  <a:chExt cx="48291" cy="47746"/>
                </a:xfrm>
                <a:grpFill/>
              </p:grpSpPr>
              <p:sp>
                <p:nvSpPr>
                  <p:cNvPr id="8638" name="Vrije vorm: vorm 8637">
                    <a:extLst>
                      <a:ext uri="{FF2B5EF4-FFF2-40B4-BE49-F238E27FC236}">
                        <a16:creationId xmlns:a16="http://schemas.microsoft.com/office/drawing/2014/main" id="{84F3BD48-C2CC-40B1-854B-3E2B1AD6FE69}"/>
                      </a:ext>
                    </a:extLst>
                  </p:cNvPr>
                  <p:cNvSpPr/>
                  <p:nvPr/>
                </p:nvSpPr>
                <p:spPr>
                  <a:xfrm>
                    <a:off x="4567975" y="3233577"/>
                    <a:ext cx="8013" cy="9868"/>
                  </a:xfrm>
                  <a:custGeom>
                    <a:avLst/>
                    <a:gdLst>
                      <a:gd name="connsiteX0" fmla="*/ 8014 w 8013"/>
                      <a:gd name="connsiteY0" fmla="*/ 1256 h 9868"/>
                      <a:gd name="connsiteX1" fmla="*/ 778 w 8013"/>
                      <a:gd name="connsiteY1" fmla="*/ 0 h 9868"/>
                      <a:gd name="connsiteX2" fmla="*/ 60 w 8013"/>
                      <a:gd name="connsiteY2" fmla="*/ 3947 h 9868"/>
                      <a:gd name="connsiteX3" fmla="*/ 5382 w 8013"/>
                      <a:gd name="connsiteY3" fmla="*/ 4904 h 9868"/>
                      <a:gd name="connsiteX4" fmla="*/ 0 w 8013"/>
                      <a:gd name="connsiteY4" fmla="*/ 9868 h 9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13" h="9868">
                        <a:moveTo>
                          <a:pt x="8014" y="1256"/>
                        </a:moveTo>
                        <a:lnTo>
                          <a:pt x="778" y="0"/>
                        </a:lnTo>
                        <a:lnTo>
                          <a:pt x="60" y="3947"/>
                        </a:lnTo>
                        <a:lnTo>
                          <a:pt x="5382" y="4904"/>
                        </a:lnTo>
                        <a:cubicBezTo>
                          <a:pt x="4007" y="6160"/>
                          <a:pt x="2153" y="7895"/>
                          <a:pt x="0" y="9868"/>
                        </a:cubicBezTo>
                      </a:path>
                    </a:pathLst>
                  </a:custGeom>
                  <a:grpFill/>
                  <a:ln w="6350" cap="flat">
                    <a:solidFill>
                      <a:schemeClr val="bg1">
                        <a:alpha val="40000"/>
                      </a:schemeClr>
                    </a:solidFill>
                    <a:prstDash val="solid"/>
                    <a:miter/>
                  </a:ln>
                </p:spPr>
                <p:txBody>
                  <a:bodyPr rtlCol="0" anchor="ctr"/>
                  <a:lstStyle/>
                  <a:p>
                    <a:endParaRPr lang="en-GB"/>
                  </a:p>
                </p:txBody>
              </p:sp>
              <p:sp>
                <p:nvSpPr>
                  <p:cNvPr id="8639" name="Vrije vorm: vorm 8638">
                    <a:extLst>
                      <a:ext uri="{FF2B5EF4-FFF2-40B4-BE49-F238E27FC236}">
                        <a16:creationId xmlns:a16="http://schemas.microsoft.com/office/drawing/2014/main" id="{1A60303D-4FE2-4383-921B-ADCC86244B4A}"/>
                      </a:ext>
                    </a:extLst>
                  </p:cNvPr>
                  <p:cNvSpPr/>
                  <p:nvPr/>
                </p:nvSpPr>
                <p:spPr>
                  <a:xfrm>
                    <a:off x="4547760" y="3251399"/>
                    <a:ext cx="11721" cy="12858"/>
                  </a:xfrm>
                  <a:custGeom>
                    <a:avLst/>
                    <a:gdLst>
                      <a:gd name="connsiteX0" fmla="*/ 11722 w 11721"/>
                      <a:gd name="connsiteY0" fmla="*/ 0 h 12858"/>
                      <a:gd name="connsiteX1" fmla="*/ 4366 w 11721"/>
                      <a:gd name="connsiteY1" fmla="*/ 6878 h 12858"/>
                      <a:gd name="connsiteX2" fmla="*/ 0 w 11721"/>
                      <a:gd name="connsiteY2" fmla="*/ 12859 h 12858"/>
                    </a:gdLst>
                    <a:ahLst/>
                    <a:cxnLst>
                      <a:cxn ang="0">
                        <a:pos x="connsiteX0" y="connsiteY0"/>
                      </a:cxn>
                      <a:cxn ang="0">
                        <a:pos x="connsiteX1" y="connsiteY1"/>
                      </a:cxn>
                      <a:cxn ang="0">
                        <a:pos x="connsiteX2" y="connsiteY2"/>
                      </a:cxn>
                    </a:cxnLst>
                    <a:rect l="l" t="t" r="r" b="b"/>
                    <a:pathLst>
                      <a:path w="11721" h="12858">
                        <a:moveTo>
                          <a:pt x="11722" y="0"/>
                        </a:moveTo>
                        <a:cubicBezTo>
                          <a:pt x="8373" y="3170"/>
                          <a:pt x="5442" y="5861"/>
                          <a:pt x="4366" y="6878"/>
                        </a:cubicBezTo>
                        <a:cubicBezTo>
                          <a:pt x="2392" y="8792"/>
                          <a:pt x="957" y="10825"/>
                          <a:pt x="0" y="12859"/>
                        </a:cubicBezTo>
                      </a:path>
                    </a:pathLst>
                  </a:custGeom>
                  <a:grpFill/>
                  <a:ln w="6350" cap="flat">
                    <a:solidFill>
                      <a:schemeClr val="bg1">
                        <a:alpha val="40000"/>
                      </a:schemeClr>
                    </a:solidFill>
                    <a:custDash>
                      <a:ds d="146362" sp="146362"/>
                    </a:custDash>
                    <a:miter/>
                  </a:ln>
                </p:spPr>
                <p:txBody>
                  <a:bodyPr rtlCol="0" anchor="ctr"/>
                  <a:lstStyle/>
                  <a:p>
                    <a:endParaRPr lang="en-GB"/>
                  </a:p>
                </p:txBody>
              </p:sp>
              <p:sp>
                <p:nvSpPr>
                  <p:cNvPr id="8640" name="Vrije vorm: vorm 8639">
                    <a:extLst>
                      <a:ext uri="{FF2B5EF4-FFF2-40B4-BE49-F238E27FC236}">
                        <a16:creationId xmlns:a16="http://schemas.microsoft.com/office/drawing/2014/main" id="{C27F25DF-6574-4EF9-8A74-B00F062127C1}"/>
                      </a:ext>
                    </a:extLst>
                  </p:cNvPr>
                  <p:cNvSpPr/>
                  <p:nvPr/>
                </p:nvSpPr>
                <p:spPr>
                  <a:xfrm>
                    <a:off x="4541780" y="3269820"/>
                    <a:ext cx="18420" cy="11503"/>
                  </a:xfrm>
                  <a:custGeom>
                    <a:avLst/>
                    <a:gdLst>
                      <a:gd name="connsiteX0" fmla="*/ 4486 w 18420"/>
                      <a:gd name="connsiteY0" fmla="*/ 0 h 11503"/>
                      <a:gd name="connsiteX1" fmla="*/ 5861 w 18420"/>
                      <a:gd name="connsiteY1" fmla="*/ 7117 h 11503"/>
                      <a:gd name="connsiteX2" fmla="*/ 0 w 18420"/>
                      <a:gd name="connsiteY2" fmla="*/ 6100 h 11503"/>
                      <a:gd name="connsiteX3" fmla="*/ 897 w 18420"/>
                      <a:gd name="connsiteY3" fmla="*/ 9510 h 11503"/>
                      <a:gd name="connsiteX4" fmla="*/ 11423 w 18420"/>
                      <a:gd name="connsiteY4" fmla="*/ 11364 h 11503"/>
                      <a:gd name="connsiteX5" fmla="*/ 11423 w 18420"/>
                      <a:gd name="connsiteY5" fmla="*/ 11364 h 11503"/>
                      <a:gd name="connsiteX6" fmla="*/ 15191 w 18420"/>
                      <a:gd name="connsiteY6" fmla="*/ 11124 h 11503"/>
                      <a:gd name="connsiteX7" fmla="*/ 18421 w 18420"/>
                      <a:gd name="connsiteY7" fmla="*/ 9689 h 1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20" h="11503">
                        <a:moveTo>
                          <a:pt x="4486" y="0"/>
                        </a:moveTo>
                        <a:cubicBezTo>
                          <a:pt x="4246" y="2691"/>
                          <a:pt x="4785" y="5144"/>
                          <a:pt x="5861" y="7117"/>
                        </a:cubicBezTo>
                        <a:lnTo>
                          <a:pt x="0" y="6100"/>
                        </a:lnTo>
                        <a:lnTo>
                          <a:pt x="897" y="9510"/>
                        </a:lnTo>
                        <a:lnTo>
                          <a:pt x="11423" y="11364"/>
                        </a:lnTo>
                        <a:lnTo>
                          <a:pt x="11423" y="11364"/>
                        </a:lnTo>
                        <a:cubicBezTo>
                          <a:pt x="12619" y="11603"/>
                          <a:pt x="13875" y="11543"/>
                          <a:pt x="15191" y="11124"/>
                        </a:cubicBezTo>
                        <a:lnTo>
                          <a:pt x="18421" y="9689"/>
                        </a:lnTo>
                      </a:path>
                    </a:pathLst>
                  </a:custGeom>
                  <a:grpFill/>
                  <a:ln w="6350" cap="flat">
                    <a:solidFill>
                      <a:schemeClr val="bg1">
                        <a:alpha val="40000"/>
                      </a:schemeClr>
                    </a:solidFill>
                    <a:prstDash val="solid"/>
                    <a:miter/>
                  </a:ln>
                </p:spPr>
                <p:txBody>
                  <a:bodyPr rtlCol="0" anchor="ctr"/>
                  <a:lstStyle/>
                  <a:p>
                    <a:endParaRPr lang="en-GB"/>
                  </a:p>
                </p:txBody>
              </p:sp>
              <p:sp>
                <p:nvSpPr>
                  <p:cNvPr id="8641" name="Vrije vorm: vorm 8640">
                    <a:extLst>
                      <a:ext uri="{FF2B5EF4-FFF2-40B4-BE49-F238E27FC236}">
                        <a16:creationId xmlns:a16="http://schemas.microsoft.com/office/drawing/2014/main" id="{88B94F31-F83A-4F7B-A308-10BD619F4794}"/>
                      </a:ext>
                    </a:extLst>
                  </p:cNvPr>
                  <p:cNvSpPr/>
                  <p:nvPr/>
                </p:nvSpPr>
                <p:spPr>
                  <a:xfrm>
                    <a:off x="4572760" y="3236508"/>
                    <a:ext cx="17311" cy="37200"/>
                  </a:xfrm>
                  <a:custGeom>
                    <a:avLst/>
                    <a:gdLst>
                      <a:gd name="connsiteX0" fmla="*/ 0 w 17311"/>
                      <a:gd name="connsiteY0" fmla="*/ 37200 h 37200"/>
                      <a:gd name="connsiteX1" fmla="*/ 9928 w 17311"/>
                      <a:gd name="connsiteY1" fmla="*/ 32655 h 37200"/>
                      <a:gd name="connsiteX2" fmla="*/ 16746 w 17311"/>
                      <a:gd name="connsiteY2" fmla="*/ 11842 h 37200"/>
                      <a:gd name="connsiteX3" fmla="*/ 9868 w 17311"/>
                      <a:gd name="connsiteY3" fmla="*/ 0 h 37200"/>
                    </a:gdLst>
                    <a:ahLst/>
                    <a:cxnLst>
                      <a:cxn ang="0">
                        <a:pos x="connsiteX0" y="connsiteY0"/>
                      </a:cxn>
                      <a:cxn ang="0">
                        <a:pos x="connsiteX1" y="connsiteY1"/>
                      </a:cxn>
                      <a:cxn ang="0">
                        <a:pos x="connsiteX2" y="connsiteY2"/>
                      </a:cxn>
                      <a:cxn ang="0">
                        <a:pos x="connsiteX3" y="connsiteY3"/>
                      </a:cxn>
                    </a:cxnLst>
                    <a:rect l="l" t="t" r="r" b="b"/>
                    <a:pathLst>
                      <a:path w="17311" h="37200">
                        <a:moveTo>
                          <a:pt x="0" y="37200"/>
                        </a:moveTo>
                        <a:lnTo>
                          <a:pt x="9928" y="32655"/>
                        </a:lnTo>
                        <a:cubicBezTo>
                          <a:pt x="15550" y="31040"/>
                          <a:pt x="18660" y="21471"/>
                          <a:pt x="16746" y="11842"/>
                        </a:cubicBezTo>
                        <a:cubicBezTo>
                          <a:pt x="15610" y="6160"/>
                          <a:pt x="12978" y="1914"/>
                          <a:pt x="9868" y="0"/>
                        </a:cubicBezTo>
                      </a:path>
                    </a:pathLst>
                  </a:custGeom>
                  <a:grpFill/>
                  <a:ln w="6350" cap="flat">
                    <a:solidFill>
                      <a:schemeClr val="bg1">
                        <a:alpha val="40000"/>
                      </a:schemeClr>
                    </a:solidFill>
                    <a:custDash>
                      <a:ds d="173925" sp="173925"/>
                    </a:custDash>
                    <a:miter/>
                  </a:ln>
                </p:spPr>
                <p:txBody>
                  <a:bodyPr rtlCol="0" anchor="ctr"/>
                  <a:lstStyle/>
                  <a:p>
                    <a:endParaRPr lang="en-GB"/>
                  </a:p>
                </p:txBody>
              </p:sp>
            </p:grpSp>
            <p:grpSp>
              <p:nvGrpSpPr>
                <p:cNvPr id="8582" name="Graphic 3">
                  <a:extLst>
                    <a:ext uri="{FF2B5EF4-FFF2-40B4-BE49-F238E27FC236}">
                      <a16:creationId xmlns:a16="http://schemas.microsoft.com/office/drawing/2014/main" id="{659A26BC-8AE9-4D67-9FF2-FAC12217F945}"/>
                    </a:ext>
                  </a:extLst>
                </p:cNvPr>
                <p:cNvGrpSpPr/>
                <p:nvPr/>
              </p:nvGrpSpPr>
              <p:grpSpPr>
                <a:xfrm>
                  <a:off x="4533472" y="3231984"/>
                  <a:ext cx="46133" cy="47225"/>
                  <a:chOff x="4533472" y="3231984"/>
                  <a:chExt cx="46133" cy="47225"/>
                </a:xfrm>
                <a:grpFill/>
              </p:grpSpPr>
              <p:sp>
                <p:nvSpPr>
                  <p:cNvPr id="8636" name="Vrije vorm: vorm 8635">
                    <a:extLst>
                      <a:ext uri="{FF2B5EF4-FFF2-40B4-BE49-F238E27FC236}">
                        <a16:creationId xmlns:a16="http://schemas.microsoft.com/office/drawing/2014/main" id="{C663D638-F690-4197-B09B-673BCAB125C9}"/>
                      </a:ext>
                    </a:extLst>
                  </p:cNvPr>
                  <p:cNvSpPr/>
                  <p:nvPr/>
                </p:nvSpPr>
                <p:spPr>
                  <a:xfrm>
                    <a:off x="4533472" y="3257918"/>
                    <a:ext cx="2267" cy="14234"/>
                  </a:xfrm>
                  <a:custGeom>
                    <a:avLst/>
                    <a:gdLst>
                      <a:gd name="connsiteX0" fmla="*/ 2267 w 2267"/>
                      <a:gd name="connsiteY0" fmla="*/ 0 h 14234"/>
                      <a:gd name="connsiteX1" fmla="*/ 1071 w 2267"/>
                      <a:gd name="connsiteY1" fmla="*/ 3947 h 14234"/>
                      <a:gd name="connsiteX2" fmla="*/ 234 w 2267"/>
                      <a:gd name="connsiteY2" fmla="*/ 6878 h 14234"/>
                      <a:gd name="connsiteX3" fmla="*/ 174 w 2267"/>
                      <a:gd name="connsiteY3" fmla="*/ 6998 h 14234"/>
                      <a:gd name="connsiteX4" fmla="*/ 174 w 2267"/>
                      <a:gd name="connsiteY4" fmla="*/ 6998 h 14234"/>
                      <a:gd name="connsiteX5" fmla="*/ 1011 w 2267"/>
                      <a:gd name="connsiteY5" fmla="*/ 14234 h 1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7" h="14234">
                        <a:moveTo>
                          <a:pt x="2267" y="0"/>
                        </a:moveTo>
                        <a:cubicBezTo>
                          <a:pt x="1789" y="1495"/>
                          <a:pt x="1430" y="2871"/>
                          <a:pt x="1071" y="3947"/>
                        </a:cubicBezTo>
                        <a:cubicBezTo>
                          <a:pt x="712" y="4904"/>
                          <a:pt x="413" y="5921"/>
                          <a:pt x="234" y="6878"/>
                        </a:cubicBezTo>
                        <a:cubicBezTo>
                          <a:pt x="234" y="6938"/>
                          <a:pt x="174" y="6998"/>
                          <a:pt x="174" y="6998"/>
                        </a:cubicBezTo>
                        <a:cubicBezTo>
                          <a:pt x="174" y="6998"/>
                          <a:pt x="174" y="6998"/>
                          <a:pt x="174" y="6998"/>
                        </a:cubicBezTo>
                        <a:cubicBezTo>
                          <a:pt x="-245" y="9569"/>
                          <a:pt x="114" y="12021"/>
                          <a:pt x="1011" y="14234"/>
                        </a:cubicBezTo>
                      </a:path>
                    </a:pathLst>
                  </a:custGeom>
                  <a:grpFill/>
                  <a:ln w="6350" cap="flat">
                    <a:solidFill>
                      <a:schemeClr val="bg1">
                        <a:alpha val="40000"/>
                      </a:schemeClr>
                    </a:solidFill>
                    <a:prstDash val="solid"/>
                    <a:miter/>
                  </a:ln>
                </p:spPr>
                <p:txBody>
                  <a:bodyPr rtlCol="0" anchor="ctr"/>
                  <a:lstStyle/>
                  <a:p>
                    <a:endParaRPr lang="en-GB"/>
                  </a:p>
                </p:txBody>
              </p:sp>
              <p:sp>
                <p:nvSpPr>
                  <p:cNvPr id="8637" name="Vrije vorm: vorm 8636">
                    <a:extLst>
                      <a:ext uri="{FF2B5EF4-FFF2-40B4-BE49-F238E27FC236}">
                        <a16:creationId xmlns:a16="http://schemas.microsoft.com/office/drawing/2014/main" id="{3F1DCB43-8829-41FA-8E25-637A6456D58A}"/>
                      </a:ext>
                    </a:extLst>
                  </p:cNvPr>
                  <p:cNvSpPr/>
                  <p:nvPr/>
                </p:nvSpPr>
                <p:spPr>
                  <a:xfrm>
                    <a:off x="4538132" y="3231984"/>
                    <a:ext cx="41473" cy="47225"/>
                  </a:xfrm>
                  <a:custGeom>
                    <a:avLst/>
                    <a:gdLst>
                      <a:gd name="connsiteX0" fmla="*/ 8014 w 41473"/>
                      <a:gd name="connsiteY0" fmla="*/ 47226 h 47225"/>
                      <a:gd name="connsiteX1" fmla="*/ 8313 w 41473"/>
                      <a:gd name="connsiteY1" fmla="*/ 47166 h 47225"/>
                      <a:gd name="connsiteX2" fmla="*/ 34090 w 41473"/>
                      <a:gd name="connsiteY2" fmla="*/ 35444 h 47225"/>
                      <a:gd name="connsiteX3" fmla="*/ 40908 w 41473"/>
                      <a:gd name="connsiteY3" fmla="*/ 14631 h 47225"/>
                      <a:gd name="connsiteX4" fmla="*/ 30741 w 41473"/>
                      <a:gd name="connsiteY4" fmla="*/ 1653 h 47225"/>
                      <a:gd name="connsiteX5" fmla="*/ 30681 w 41473"/>
                      <a:gd name="connsiteY5" fmla="*/ 1653 h 47225"/>
                      <a:gd name="connsiteX6" fmla="*/ 8732 w 41473"/>
                      <a:gd name="connsiteY6" fmla="*/ 2909 h 47225"/>
                      <a:gd name="connsiteX7" fmla="*/ 0 w 41473"/>
                      <a:gd name="connsiteY7" fmla="*/ 18937 h 4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73" h="47225">
                        <a:moveTo>
                          <a:pt x="8014" y="47226"/>
                        </a:moveTo>
                        <a:cubicBezTo>
                          <a:pt x="8134" y="47226"/>
                          <a:pt x="8253" y="47166"/>
                          <a:pt x="8313" y="47166"/>
                        </a:cubicBezTo>
                        <a:lnTo>
                          <a:pt x="34090" y="35444"/>
                        </a:lnTo>
                        <a:cubicBezTo>
                          <a:pt x="39712" y="33829"/>
                          <a:pt x="42822" y="24260"/>
                          <a:pt x="40908" y="14631"/>
                        </a:cubicBezTo>
                        <a:cubicBezTo>
                          <a:pt x="39353" y="6976"/>
                          <a:pt x="35107" y="1892"/>
                          <a:pt x="30741" y="1653"/>
                        </a:cubicBezTo>
                        <a:cubicBezTo>
                          <a:pt x="30681" y="1653"/>
                          <a:pt x="30681" y="1653"/>
                          <a:pt x="30681" y="1653"/>
                        </a:cubicBezTo>
                        <a:cubicBezTo>
                          <a:pt x="14832" y="-859"/>
                          <a:pt x="13636" y="-560"/>
                          <a:pt x="8732" y="2909"/>
                        </a:cubicBezTo>
                        <a:cubicBezTo>
                          <a:pt x="5562" y="5122"/>
                          <a:pt x="2392" y="12179"/>
                          <a:pt x="0" y="18937"/>
                        </a:cubicBezTo>
                      </a:path>
                    </a:pathLst>
                  </a:custGeom>
                  <a:grpFill/>
                  <a:ln w="6350" cap="flat">
                    <a:solidFill>
                      <a:schemeClr val="bg1">
                        <a:alpha val="40000"/>
                      </a:schemeClr>
                    </a:solidFill>
                    <a:custDash>
                      <a:ds d="185677" sp="185677"/>
                    </a:custDash>
                    <a:miter/>
                  </a:ln>
                </p:spPr>
                <p:txBody>
                  <a:bodyPr rtlCol="0" anchor="ctr"/>
                  <a:lstStyle/>
                  <a:p>
                    <a:endParaRPr lang="en-GB"/>
                  </a:p>
                </p:txBody>
              </p:sp>
            </p:grpSp>
            <p:sp>
              <p:nvSpPr>
                <p:cNvPr id="8583" name="Vrije vorm: vorm 8582">
                  <a:extLst>
                    <a:ext uri="{FF2B5EF4-FFF2-40B4-BE49-F238E27FC236}">
                      <a16:creationId xmlns:a16="http://schemas.microsoft.com/office/drawing/2014/main" id="{1F89D7CF-7E8A-44E4-A6C8-76A4B7A6DB8C}"/>
                    </a:ext>
                  </a:extLst>
                </p:cNvPr>
                <p:cNvSpPr/>
                <p:nvPr/>
              </p:nvSpPr>
              <p:spPr>
                <a:xfrm>
                  <a:off x="4542236" y="3234354"/>
                  <a:ext cx="21355" cy="29910"/>
                </a:xfrm>
                <a:custGeom>
                  <a:avLst/>
                  <a:gdLst>
                    <a:gd name="connsiteX0" fmla="*/ 11745 w 21355"/>
                    <a:gd name="connsiteY0" fmla="*/ 29067 h 29910"/>
                    <a:gd name="connsiteX1" fmla="*/ 9592 w 21355"/>
                    <a:gd name="connsiteY1" fmla="*/ 598 h 29910"/>
                    <a:gd name="connsiteX2" fmla="*/ 11745 w 21355"/>
                    <a:gd name="connsiteY2" fmla="*/ 29067 h 29910"/>
                  </a:gdLst>
                  <a:ahLst/>
                  <a:cxnLst>
                    <a:cxn ang="0">
                      <a:pos x="connsiteX0" y="connsiteY0"/>
                    </a:cxn>
                    <a:cxn ang="0">
                      <a:pos x="connsiteX1" y="connsiteY1"/>
                    </a:cxn>
                    <a:cxn ang="0">
                      <a:pos x="connsiteX2" y="connsiteY2"/>
                    </a:cxn>
                  </a:cxnLst>
                  <a:rect l="l" t="t" r="r" b="b"/>
                  <a:pathLst>
                    <a:path w="21355" h="29910">
                      <a:moveTo>
                        <a:pt x="11745" y="29067"/>
                      </a:moveTo>
                      <a:cubicBezTo>
                        <a:pt x="27773" y="21052"/>
                        <a:pt x="21433" y="-4186"/>
                        <a:pt x="9592" y="598"/>
                      </a:cubicBezTo>
                      <a:cubicBezTo>
                        <a:pt x="-6257" y="6938"/>
                        <a:pt x="-277" y="35107"/>
                        <a:pt x="11745" y="29067"/>
                      </a:cubicBezTo>
                      <a:close/>
                    </a:path>
                  </a:pathLst>
                </a:custGeom>
                <a:grpFill/>
                <a:ln w="6350" cap="flat">
                  <a:solidFill>
                    <a:schemeClr val="bg1">
                      <a:alpha val="40000"/>
                    </a:schemeClr>
                  </a:solidFill>
                  <a:custDash>
                    <a:ds d="168450" sp="168450"/>
                  </a:custDash>
                  <a:miter/>
                </a:ln>
              </p:spPr>
              <p:txBody>
                <a:bodyPr rtlCol="0" anchor="ctr"/>
                <a:lstStyle/>
                <a:p>
                  <a:endParaRPr lang="en-GB"/>
                </a:p>
              </p:txBody>
            </p:sp>
            <p:grpSp>
              <p:nvGrpSpPr>
                <p:cNvPr id="8584" name="Graphic 3">
                  <a:extLst>
                    <a:ext uri="{FF2B5EF4-FFF2-40B4-BE49-F238E27FC236}">
                      <a16:creationId xmlns:a16="http://schemas.microsoft.com/office/drawing/2014/main" id="{0A8D5E0B-1B55-4B76-A906-B8BC89B14DD4}"/>
                    </a:ext>
                  </a:extLst>
                </p:cNvPr>
                <p:cNvGrpSpPr/>
                <p:nvPr/>
              </p:nvGrpSpPr>
              <p:grpSpPr>
                <a:xfrm>
                  <a:off x="4573119" y="3294939"/>
                  <a:ext cx="35907" cy="65548"/>
                  <a:chOff x="4573119" y="3294939"/>
                  <a:chExt cx="35907" cy="65548"/>
                </a:xfrm>
                <a:grpFill/>
              </p:grpSpPr>
              <p:sp>
                <p:nvSpPr>
                  <p:cNvPr id="8632" name="Vrije vorm: vorm 8631">
                    <a:extLst>
                      <a:ext uri="{FF2B5EF4-FFF2-40B4-BE49-F238E27FC236}">
                        <a16:creationId xmlns:a16="http://schemas.microsoft.com/office/drawing/2014/main" id="{DA7AFE31-272A-4AF3-8303-953AEA18C2E5}"/>
                      </a:ext>
                    </a:extLst>
                  </p:cNvPr>
                  <p:cNvSpPr/>
                  <p:nvPr/>
                </p:nvSpPr>
                <p:spPr>
                  <a:xfrm>
                    <a:off x="4579099" y="3294939"/>
                    <a:ext cx="23444" cy="9688"/>
                  </a:xfrm>
                  <a:custGeom>
                    <a:avLst/>
                    <a:gdLst>
                      <a:gd name="connsiteX0" fmla="*/ 23444 w 23444"/>
                      <a:gd name="connsiteY0" fmla="*/ 4486 h 9688"/>
                      <a:gd name="connsiteX1" fmla="*/ 19916 w 23444"/>
                      <a:gd name="connsiteY1" fmla="*/ 2512 h 9688"/>
                      <a:gd name="connsiteX2" fmla="*/ 19916 w 23444"/>
                      <a:gd name="connsiteY2" fmla="*/ 2512 h 9688"/>
                      <a:gd name="connsiteX3" fmla="*/ 16746 w 23444"/>
                      <a:gd name="connsiteY3" fmla="*/ 1615 h 9688"/>
                      <a:gd name="connsiteX4" fmla="*/ 16746 w 23444"/>
                      <a:gd name="connsiteY4" fmla="*/ 1615 h 9688"/>
                      <a:gd name="connsiteX5" fmla="*/ 7655 w 23444"/>
                      <a:gd name="connsiteY5" fmla="*/ 0 h 9688"/>
                      <a:gd name="connsiteX6" fmla="*/ 4785 w 23444"/>
                      <a:gd name="connsiteY6" fmla="*/ 4246 h 9688"/>
                      <a:gd name="connsiteX7" fmla="*/ 4785 w 23444"/>
                      <a:gd name="connsiteY7" fmla="*/ 4246 h 9688"/>
                      <a:gd name="connsiteX8" fmla="*/ 0 w 23444"/>
                      <a:gd name="connsiteY8" fmla="*/ 9689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44" h="9688">
                        <a:moveTo>
                          <a:pt x="23444" y="4486"/>
                        </a:moveTo>
                        <a:cubicBezTo>
                          <a:pt x="22368" y="3708"/>
                          <a:pt x="21231" y="3050"/>
                          <a:pt x="19916" y="2512"/>
                        </a:cubicBezTo>
                        <a:lnTo>
                          <a:pt x="19916" y="2512"/>
                        </a:lnTo>
                        <a:cubicBezTo>
                          <a:pt x="18839" y="2093"/>
                          <a:pt x="17822" y="1794"/>
                          <a:pt x="16746" y="1615"/>
                        </a:cubicBezTo>
                        <a:lnTo>
                          <a:pt x="16746" y="1615"/>
                        </a:lnTo>
                        <a:lnTo>
                          <a:pt x="7655" y="0"/>
                        </a:lnTo>
                        <a:lnTo>
                          <a:pt x="4785" y="4246"/>
                        </a:lnTo>
                        <a:lnTo>
                          <a:pt x="4785" y="4246"/>
                        </a:lnTo>
                        <a:cubicBezTo>
                          <a:pt x="2811" y="5622"/>
                          <a:pt x="1136" y="7476"/>
                          <a:pt x="0" y="9689"/>
                        </a:cubicBezTo>
                      </a:path>
                    </a:pathLst>
                  </a:custGeom>
                  <a:grpFill/>
                  <a:ln w="6350" cap="flat">
                    <a:solidFill>
                      <a:schemeClr val="bg1">
                        <a:alpha val="40000"/>
                      </a:schemeClr>
                    </a:solidFill>
                    <a:prstDash val="solid"/>
                    <a:miter/>
                  </a:ln>
                </p:spPr>
                <p:txBody>
                  <a:bodyPr rtlCol="0" anchor="ctr"/>
                  <a:lstStyle/>
                  <a:p>
                    <a:endParaRPr lang="en-GB"/>
                  </a:p>
                </p:txBody>
              </p:sp>
              <p:sp>
                <p:nvSpPr>
                  <p:cNvPr id="8633" name="Vrije vorm: vorm 8632">
                    <a:extLst>
                      <a:ext uri="{FF2B5EF4-FFF2-40B4-BE49-F238E27FC236}">
                        <a16:creationId xmlns:a16="http://schemas.microsoft.com/office/drawing/2014/main" id="{FFC55D2C-3485-4020-AE6A-0D2B6476F390}"/>
                      </a:ext>
                    </a:extLst>
                  </p:cNvPr>
                  <p:cNvSpPr/>
                  <p:nvPr/>
                </p:nvSpPr>
                <p:spPr>
                  <a:xfrm>
                    <a:off x="4573836" y="3319221"/>
                    <a:ext cx="2451" cy="22308"/>
                  </a:xfrm>
                  <a:custGeom>
                    <a:avLst/>
                    <a:gdLst>
                      <a:gd name="connsiteX0" fmla="*/ 2452 w 2451"/>
                      <a:gd name="connsiteY0" fmla="*/ 0 h 22308"/>
                      <a:gd name="connsiteX1" fmla="*/ 0 w 2451"/>
                      <a:gd name="connsiteY1" fmla="*/ 22308 h 22308"/>
                    </a:gdLst>
                    <a:ahLst/>
                    <a:cxnLst>
                      <a:cxn ang="0">
                        <a:pos x="connsiteX0" y="connsiteY0"/>
                      </a:cxn>
                      <a:cxn ang="0">
                        <a:pos x="connsiteX1" y="connsiteY1"/>
                      </a:cxn>
                    </a:cxnLst>
                    <a:rect l="l" t="t" r="r" b="b"/>
                    <a:pathLst>
                      <a:path w="2451" h="22308">
                        <a:moveTo>
                          <a:pt x="2452" y="0"/>
                        </a:moveTo>
                        <a:cubicBezTo>
                          <a:pt x="1495" y="7476"/>
                          <a:pt x="359" y="16926"/>
                          <a:pt x="0" y="22308"/>
                        </a:cubicBezTo>
                      </a:path>
                    </a:pathLst>
                  </a:custGeom>
                  <a:grpFill/>
                  <a:ln w="6350" cap="flat">
                    <a:solidFill>
                      <a:schemeClr val="bg1">
                        <a:alpha val="40000"/>
                      </a:schemeClr>
                    </a:solidFill>
                    <a:custDash>
                      <a:ds d="187568" sp="187568"/>
                    </a:custDash>
                    <a:miter/>
                  </a:ln>
                </p:spPr>
                <p:txBody>
                  <a:bodyPr rtlCol="0" anchor="ctr"/>
                  <a:lstStyle/>
                  <a:p>
                    <a:endParaRPr lang="en-GB"/>
                  </a:p>
                </p:txBody>
              </p:sp>
              <p:sp>
                <p:nvSpPr>
                  <p:cNvPr id="8634" name="Vrije vorm: vorm 8633">
                    <a:extLst>
                      <a:ext uri="{FF2B5EF4-FFF2-40B4-BE49-F238E27FC236}">
                        <a16:creationId xmlns:a16="http://schemas.microsoft.com/office/drawing/2014/main" id="{9E1B822B-FF70-4232-B0AE-8BC5647E81B3}"/>
                      </a:ext>
                    </a:extLst>
                  </p:cNvPr>
                  <p:cNvSpPr/>
                  <p:nvPr/>
                </p:nvSpPr>
                <p:spPr>
                  <a:xfrm>
                    <a:off x="4573119" y="3349005"/>
                    <a:ext cx="7236" cy="11482"/>
                  </a:xfrm>
                  <a:custGeom>
                    <a:avLst/>
                    <a:gdLst>
                      <a:gd name="connsiteX0" fmla="*/ 1017 w 7236"/>
                      <a:gd name="connsiteY0" fmla="*/ 0 h 11482"/>
                      <a:gd name="connsiteX1" fmla="*/ 3349 w 7236"/>
                      <a:gd name="connsiteY1" fmla="*/ 6938 h 11482"/>
                      <a:gd name="connsiteX2" fmla="*/ 658 w 7236"/>
                      <a:gd name="connsiteY2" fmla="*/ 6459 h 11482"/>
                      <a:gd name="connsiteX3" fmla="*/ 0 w 7236"/>
                      <a:gd name="connsiteY3" fmla="*/ 10287 h 11482"/>
                      <a:gd name="connsiteX4" fmla="*/ 7237 w 7236"/>
                      <a:gd name="connsiteY4" fmla="*/ 11483 h 11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 h="11482">
                        <a:moveTo>
                          <a:pt x="1017" y="0"/>
                        </a:moveTo>
                        <a:cubicBezTo>
                          <a:pt x="1495" y="2751"/>
                          <a:pt x="2273" y="5084"/>
                          <a:pt x="3349" y="6938"/>
                        </a:cubicBezTo>
                        <a:lnTo>
                          <a:pt x="658" y="6459"/>
                        </a:lnTo>
                        <a:lnTo>
                          <a:pt x="0" y="10287"/>
                        </a:lnTo>
                        <a:lnTo>
                          <a:pt x="7237" y="11483"/>
                        </a:lnTo>
                      </a:path>
                    </a:pathLst>
                  </a:custGeom>
                  <a:grpFill/>
                  <a:ln w="6350" cap="flat">
                    <a:solidFill>
                      <a:schemeClr val="bg1">
                        <a:alpha val="40000"/>
                      </a:schemeClr>
                    </a:solidFill>
                    <a:prstDash val="solid"/>
                    <a:miter/>
                  </a:ln>
                </p:spPr>
                <p:txBody>
                  <a:bodyPr rtlCol="0" anchor="ctr"/>
                  <a:lstStyle/>
                  <a:p>
                    <a:endParaRPr lang="en-GB"/>
                  </a:p>
                </p:txBody>
              </p:sp>
              <p:sp>
                <p:nvSpPr>
                  <p:cNvPr id="8635" name="Vrije vorm: vorm 8634">
                    <a:extLst>
                      <a:ext uri="{FF2B5EF4-FFF2-40B4-BE49-F238E27FC236}">
                        <a16:creationId xmlns:a16="http://schemas.microsoft.com/office/drawing/2014/main" id="{3940AD20-AA74-4DAF-9E58-0C5BEBAEAADF}"/>
                      </a:ext>
                    </a:extLst>
                  </p:cNvPr>
                  <p:cNvSpPr/>
                  <p:nvPr/>
                </p:nvSpPr>
                <p:spPr>
                  <a:xfrm>
                    <a:off x="4592915" y="3305106"/>
                    <a:ext cx="16111" cy="49520"/>
                  </a:xfrm>
                  <a:custGeom>
                    <a:avLst/>
                    <a:gdLst>
                      <a:gd name="connsiteX0" fmla="*/ 0 w 16111"/>
                      <a:gd name="connsiteY0" fmla="*/ 49520 h 49520"/>
                      <a:gd name="connsiteX1" fmla="*/ 1136 w 16111"/>
                      <a:gd name="connsiteY1" fmla="*/ 47427 h 49520"/>
                      <a:gd name="connsiteX2" fmla="*/ 14473 w 16111"/>
                      <a:gd name="connsiteY2" fmla="*/ 13935 h 49520"/>
                      <a:gd name="connsiteX3" fmla="*/ 14473 w 16111"/>
                      <a:gd name="connsiteY3" fmla="*/ 0 h 49520"/>
                    </a:gdLst>
                    <a:ahLst/>
                    <a:cxnLst>
                      <a:cxn ang="0">
                        <a:pos x="connsiteX0" y="connsiteY0"/>
                      </a:cxn>
                      <a:cxn ang="0">
                        <a:pos x="connsiteX1" y="connsiteY1"/>
                      </a:cxn>
                      <a:cxn ang="0">
                        <a:pos x="connsiteX2" y="connsiteY2"/>
                      </a:cxn>
                      <a:cxn ang="0">
                        <a:pos x="connsiteX3" y="connsiteY3"/>
                      </a:cxn>
                    </a:cxnLst>
                    <a:rect l="l" t="t" r="r" b="b"/>
                    <a:pathLst>
                      <a:path w="16111" h="49520">
                        <a:moveTo>
                          <a:pt x="0" y="49520"/>
                        </a:moveTo>
                        <a:cubicBezTo>
                          <a:pt x="419" y="48862"/>
                          <a:pt x="778" y="48205"/>
                          <a:pt x="1136" y="47427"/>
                        </a:cubicBezTo>
                        <a:lnTo>
                          <a:pt x="14473" y="13935"/>
                        </a:lnTo>
                        <a:cubicBezTo>
                          <a:pt x="16746" y="9330"/>
                          <a:pt x="16567" y="4246"/>
                          <a:pt x="14473" y="0"/>
                        </a:cubicBezTo>
                      </a:path>
                    </a:pathLst>
                  </a:custGeom>
                  <a:grpFill/>
                  <a:ln w="6350" cap="flat">
                    <a:solidFill>
                      <a:schemeClr val="bg1">
                        <a:alpha val="40000"/>
                      </a:schemeClr>
                    </a:solidFill>
                    <a:custDash>
                      <a:ds d="189195" sp="189195"/>
                    </a:custDash>
                    <a:miter/>
                  </a:ln>
                </p:spPr>
                <p:txBody>
                  <a:bodyPr rtlCol="0" anchor="ctr"/>
                  <a:lstStyle/>
                  <a:p>
                    <a:endParaRPr lang="en-GB"/>
                  </a:p>
                </p:txBody>
              </p:sp>
            </p:grpSp>
            <p:sp>
              <p:nvSpPr>
                <p:cNvPr id="8585" name="Vrije vorm: vorm 8584">
                  <a:extLst>
                    <a:ext uri="{FF2B5EF4-FFF2-40B4-BE49-F238E27FC236}">
                      <a16:creationId xmlns:a16="http://schemas.microsoft.com/office/drawing/2014/main" id="{4735D441-69A6-41DD-AD4F-50418759D5AC}"/>
                    </a:ext>
                  </a:extLst>
                </p:cNvPr>
                <p:cNvSpPr/>
                <p:nvPr/>
              </p:nvSpPr>
              <p:spPr>
                <a:xfrm>
                  <a:off x="4559181" y="3293473"/>
                  <a:ext cx="40746" cy="66000"/>
                </a:xfrm>
                <a:custGeom>
                  <a:avLst/>
                  <a:gdLst>
                    <a:gd name="connsiteX0" fmla="*/ 25779 w 40746"/>
                    <a:gd name="connsiteY0" fmla="*/ 57505 h 66000"/>
                    <a:gd name="connsiteX1" fmla="*/ 39116 w 40746"/>
                    <a:gd name="connsiteY1" fmla="*/ 24013 h 66000"/>
                    <a:gd name="connsiteX2" fmla="*/ 30803 w 40746"/>
                    <a:gd name="connsiteY2" fmla="*/ 2363 h 66000"/>
                    <a:gd name="connsiteX3" fmla="*/ 30803 w 40746"/>
                    <a:gd name="connsiteY3" fmla="*/ 2363 h 66000"/>
                    <a:gd name="connsiteX4" fmla="*/ 1677 w 40746"/>
                    <a:gd name="connsiteY4" fmla="*/ 12590 h 66000"/>
                    <a:gd name="connsiteX5" fmla="*/ 2693 w 40746"/>
                    <a:gd name="connsiteY5" fmla="*/ 49072 h 66000"/>
                    <a:gd name="connsiteX6" fmla="*/ 13160 w 40746"/>
                    <a:gd name="connsiteY6" fmla="*/ 65519 h 66000"/>
                    <a:gd name="connsiteX7" fmla="*/ 25779 w 40746"/>
                    <a:gd name="connsiteY7" fmla="*/ 57505 h 6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46" h="66000">
                      <a:moveTo>
                        <a:pt x="25779" y="57505"/>
                      </a:moveTo>
                      <a:lnTo>
                        <a:pt x="39116" y="24013"/>
                      </a:lnTo>
                      <a:cubicBezTo>
                        <a:pt x="43183" y="15760"/>
                        <a:pt x="39355" y="5832"/>
                        <a:pt x="30803" y="2363"/>
                      </a:cubicBezTo>
                      <a:lnTo>
                        <a:pt x="30803" y="2363"/>
                      </a:lnTo>
                      <a:cubicBezTo>
                        <a:pt x="21952" y="-1226"/>
                        <a:pt x="5624" y="-2661"/>
                        <a:pt x="1677" y="12590"/>
                      </a:cubicBezTo>
                      <a:cubicBezTo>
                        <a:pt x="-2031" y="27063"/>
                        <a:pt x="1378" y="41895"/>
                        <a:pt x="2693" y="49072"/>
                      </a:cubicBezTo>
                      <a:cubicBezTo>
                        <a:pt x="4248" y="57684"/>
                        <a:pt x="9033" y="63904"/>
                        <a:pt x="13160" y="65519"/>
                      </a:cubicBezTo>
                      <a:cubicBezTo>
                        <a:pt x="17286" y="67134"/>
                        <a:pt x="22251" y="64742"/>
                        <a:pt x="25779" y="57505"/>
                      </a:cubicBezTo>
                      <a:close/>
                    </a:path>
                  </a:pathLst>
                </a:custGeom>
                <a:grpFill/>
                <a:ln w="6350" cap="flat">
                  <a:solidFill>
                    <a:schemeClr val="bg1">
                      <a:alpha val="40000"/>
                    </a:schemeClr>
                  </a:solidFill>
                  <a:custDash>
                    <a:ds d="178493" sp="178493"/>
                  </a:custDash>
                  <a:miter/>
                </a:ln>
              </p:spPr>
              <p:txBody>
                <a:bodyPr rtlCol="0" anchor="ctr"/>
                <a:lstStyle/>
                <a:p>
                  <a:endParaRPr lang="en-GB"/>
                </a:p>
              </p:txBody>
            </p:sp>
            <p:sp>
              <p:nvSpPr>
                <p:cNvPr id="8586" name="Vrije vorm: vorm 8585">
                  <a:extLst>
                    <a:ext uri="{FF2B5EF4-FFF2-40B4-BE49-F238E27FC236}">
                      <a16:creationId xmlns:a16="http://schemas.microsoft.com/office/drawing/2014/main" id="{90D7B8D6-9B15-4756-A5FF-029F677900EA}"/>
                    </a:ext>
                  </a:extLst>
                </p:cNvPr>
                <p:cNvSpPr/>
                <p:nvPr/>
              </p:nvSpPr>
              <p:spPr>
                <a:xfrm>
                  <a:off x="4512414" y="3235610"/>
                  <a:ext cx="48444" cy="24940"/>
                </a:xfrm>
                <a:custGeom>
                  <a:avLst/>
                  <a:gdLst>
                    <a:gd name="connsiteX0" fmla="*/ 48265 w 48444"/>
                    <a:gd name="connsiteY0" fmla="*/ 14593 h 24940"/>
                    <a:gd name="connsiteX1" fmla="*/ 48445 w 48444"/>
                    <a:gd name="connsiteY1" fmla="*/ 12381 h 24940"/>
                    <a:gd name="connsiteX2" fmla="*/ 35945 w 48444"/>
                    <a:gd name="connsiteY2" fmla="*/ 0 h 24940"/>
                    <a:gd name="connsiteX3" fmla="*/ 12381 w 48444"/>
                    <a:gd name="connsiteY3" fmla="*/ 60 h 24940"/>
                    <a:gd name="connsiteX4" fmla="*/ 0 w 48444"/>
                    <a:gd name="connsiteY4" fmla="*/ 12560 h 24940"/>
                    <a:gd name="connsiteX5" fmla="*/ 12500 w 48444"/>
                    <a:gd name="connsiteY5" fmla="*/ 24940 h 24940"/>
                    <a:gd name="connsiteX6" fmla="*/ 36064 w 48444"/>
                    <a:gd name="connsiteY6" fmla="*/ 24880 h 24940"/>
                    <a:gd name="connsiteX7" fmla="*/ 48265 w 48444"/>
                    <a:gd name="connsiteY7" fmla="*/ 14593 h 2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44" h="24940">
                      <a:moveTo>
                        <a:pt x="48265" y="14593"/>
                      </a:moveTo>
                      <a:cubicBezTo>
                        <a:pt x="48385" y="13876"/>
                        <a:pt x="48445" y="13158"/>
                        <a:pt x="48445" y="12381"/>
                      </a:cubicBezTo>
                      <a:cubicBezTo>
                        <a:pt x="48445" y="5503"/>
                        <a:pt x="42823" y="-59"/>
                        <a:pt x="35945" y="0"/>
                      </a:cubicBezTo>
                      <a:lnTo>
                        <a:pt x="12381" y="60"/>
                      </a:lnTo>
                      <a:cubicBezTo>
                        <a:pt x="5503" y="60"/>
                        <a:pt x="-59" y="5682"/>
                        <a:pt x="0" y="12560"/>
                      </a:cubicBezTo>
                      <a:cubicBezTo>
                        <a:pt x="0" y="19438"/>
                        <a:pt x="5622" y="25000"/>
                        <a:pt x="12500" y="24940"/>
                      </a:cubicBezTo>
                      <a:lnTo>
                        <a:pt x="36064" y="24880"/>
                      </a:lnTo>
                      <a:cubicBezTo>
                        <a:pt x="42165" y="24821"/>
                        <a:pt x="47248" y="20395"/>
                        <a:pt x="48265" y="14593"/>
                      </a:cubicBezTo>
                      <a:close/>
                    </a:path>
                  </a:pathLst>
                </a:custGeom>
                <a:grpFill/>
                <a:ln w="6350" cap="flat">
                  <a:solidFill>
                    <a:schemeClr val="bg1">
                      <a:alpha val="40000"/>
                    </a:schemeClr>
                  </a:solidFill>
                  <a:custDash>
                    <a:ds d="196133" sp="196133"/>
                  </a:custDash>
                  <a:miter/>
                </a:ln>
              </p:spPr>
              <p:txBody>
                <a:bodyPr rtlCol="0" anchor="ctr"/>
                <a:lstStyle/>
                <a:p>
                  <a:endParaRPr lang="en-GB"/>
                </a:p>
              </p:txBody>
            </p:sp>
            <p:sp>
              <p:nvSpPr>
                <p:cNvPr id="8587" name="Vrije vorm: vorm 8586">
                  <a:extLst>
                    <a:ext uri="{FF2B5EF4-FFF2-40B4-BE49-F238E27FC236}">
                      <a16:creationId xmlns:a16="http://schemas.microsoft.com/office/drawing/2014/main" id="{7FA65E8C-3954-4F77-A93D-E0E725A06FF6}"/>
                    </a:ext>
                  </a:extLst>
                </p:cNvPr>
                <p:cNvSpPr/>
                <p:nvPr/>
              </p:nvSpPr>
              <p:spPr>
                <a:xfrm>
                  <a:off x="4561434" y="3296135"/>
                  <a:ext cx="21355" cy="29910"/>
                </a:xfrm>
                <a:custGeom>
                  <a:avLst/>
                  <a:gdLst>
                    <a:gd name="connsiteX0" fmla="*/ 11745 w 21355"/>
                    <a:gd name="connsiteY0" fmla="*/ 29067 h 29910"/>
                    <a:gd name="connsiteX1" fmla="*/ 9592 w 21355"/>
                    <a:gd name="connsiteY1" fmla="*/ 598 h 29910"/>
                    <a:gd name="connsiteX2" fmla="*/ 11745 w 21355"/>
                    <a:gd name="connsiteY2" fmla="*/ 29067 h 29910"/>
                  </a:gdLst>
                  <a:ahLst/>
                  <a:cxnLst>
                    <a:cxn ang="0">
                      <a:pos x="connsiteX0" y="connsiteY0"/>
                    </a:cxn>
                    <a:cxn ang="0">
                      <a:pos x="connsiteX1" y="connsiteY1"/>
                    </a:cxn>
                    <a:cxn ang="0">
                      <a:pos x="connsiteX2" y="connsiteY2"/>
                    </a:cxn>
                  </a:cxnLst>
                  <a:rect l="l" t="t" r="r" b="b"/>
                  <a:pathLst>
                    <a:path w="21355" h="29910">
                      <a:moveTo>
                        <a:pt x="11745" y="29067"/>
                      </a:moveTo>
                      <a:cubicBezTo>
                        <a:pt x="27773" y="21052"/>
                        <a:pt x="21433" y="-4186"/>
                        <a:pt x="9592" y="598"/>
                      </a:cubicBezTo>
                      <a:cubicBezTo>
                        <a:pt x="-6257" y="6938"/>
                        <a:pt x="-277" y="35107"/>
                        <a:pt x="11745" y="29067"/>
                      </a:cubicBezTo>
                      <a:close/>
                    </a:path>
                  </a:pathLst>
                </a:custGeom>
                <a:grpFill/>
                <a:ln w="6350" cap="flat">
                  <a:solidFill>
                    <a:schemeClr val="bg1">
                      <a:alpha val="40000"/>
                    </a:schemeClr>
                  </a:solidFill>
                  <a:custDash>
                    <a:ds d="168450" sp="168450"/>
                  </a:custDash>
                  <a:miter/>
                </a:ln>
              </p:spPr>
              <p:txBody>
                <a:bodyPr rtlCol="0" anchor="ctr"/>
                <a:lstStyle/>
                <a:p>
                  <a:endParaRPr lang="en-GB"/>
                </a:p>
              </p:txBody>
            </p:sp>
            <p:sp>
              <p:nvSpPr>
                <p:cNvPr id="8588" name="Vrije vorm: vorm 8587">
                  <a:extLst>
                    <a:ext uri="{FF2B5EF4-FFF2-40B4-BE49-F238E27FC236}">
                      <a16:creationId xmlns:a16="http://schemas.microsoft.com/office/drawing/2014/main" id="{21A7B86F-BAB0-4517-9E79-7EB96D977272}"/>
                    </a:ext>
                  </a:extLst>
                </p:cNvPr>
                <p:cNvSpPr/>
                <p:nvPr/>
              </p:nvSpPr>
              <p:spPr>
                <a:xfrm>
                  <a:off x="4534352" y="3293731"/>
                  <a:ext cx="46792" cy="28730"/>
                </a:xfrm>
                <a:custGeom>
                  <a:avLst/>
                  <a:gdLst>
                    <a:gd name="connsiteX0" fmla="*/ 46602 w 46792"/>
                    <a:gd name="connsiteY0" fmla="*/ 18432 h 28730"/>
                    <a:gd name="connsiteX1" fmla="*/ 36494 w 46792"/>
                    <a:gd name="connsiteY1" fmla="*/ 4019 h 28730"/>
                    <a:gd name="connsiteX2" fmla="*/ 14605 w 46792"/>
                    <a:gd name="connsiteY2" fmla="*/ 191 h 28730"/>
                    <a:gd name="connsiteX3" fmla="*/ 191 w 46792"/>
                    <a:gd name="connsiteY3" fmla="*/ 10298 h 28730"/>
                    <a:gd name="connsiteX4" fmla="*/ 10299 w 46792"/>
                    <a:gd name="connsiteY4" fmla="*/ 24712 h 28730"/>
                    <a:gd name="connsiteX5" fmla="*/ 32188 w 46792"/>
                    <a:gd name="connsiteY5" fmla="*/ 28540 h 28730"/>
                    <a:gd name="connsiteX6" fmla="*/ 46602 w 46792"/>
                    <a:gd name="connsiteY6" fmla="*/ 18432 h 2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792" h="28730">
                      <a:moveTo>
                        <a:pt x="46602" y="18432"/>
                      </a:moveTo>
                      <a:cubicBezTo>
                        <a:pt x="47798" y="11674"/>
                        <a:pt x="43252" y="5215"/>
                        <a:pt x="36494" y="4019"/>
                      </a:cubicBezTo>
                      <a:lnTo>
                        <a:pt x="14605" y="191"/>
                      </a:lnTo>
                      <a:cubicBezTo>
                        <a:pt x="7847" y="-1005"/>
                        <a:pt x="1387" y="3540"/>
                        <a:pt x="191" y="10298"/>
                      </a:cubicBezTo>
                      <a:cubicBezTo>
                        <a:pt x="-1005" y="17057"/>
                        <a:pt x="3540" y="23516"/>
                        <a:pt x="10299" y="24712"/>
                      </a:cubicBezTo>
                      <a:lnTo>
                        <a:pt x="32188" y="28540"/>
                      </a:lnTo>
                      <a:cubicBezTo>
                        <a:pt x="38946" y="29736"/>
                        <a:pt x="45405" y="25191"/>
                        <a:pt x="46602" y="18432"/>
                      </a:cubicBezTo>
                      <a:close/>
                    </a:path>
                  </a:pathLst>
                </a:custGeom>
                <a:grpFill/>
                <a:ln w="6350" cap="flat">
                  <a:solidFill>
                    <a:schemeClr val="bg1">
                      <a:alpha val="40000"/>
                    </a:schemeClr>
                  </a:solidFill>
                  <a:custDash>
                    <a:ds d="191865" sp="191865"/>
                  </a:custDash>
                  <a:miter/>
                </a:ln>
              </p:spPr>
              <p:txBody>
                <a:bodyPr rtlCol="0" anchor="ctr"/>
                <a:lstStyle/>
                <a:p>
                  <a:endParaRPr lang="en-GB"/>
                </a:p>
              </p:txBody>
            </p:sp>
            <p:grpSp>
              <p:nvGrpSpPr>
                <p:cNvPr id="8589" name="Graphic 3">
                  <a:extLst>
                    <a:ext uri="{FF2B5EF4-FFF2-40B4-BE49-F238E27FC236}">
                      <a16:creationId xmlns:a16="http://schemas.microsoft.com/office/drawing/2014/main" id="{CCD24AA7-6A25-4746-9CAC-3414F48313ED}"/>
                    </a:ext>
                  </a:extLst>
                </p:cNvPr>
                <p:cNvGrpSpPr/>
                <p:nvPr/>
              </p:nvGrpSpPr>
              <p:grpSpPr>
                <a:xfrm>
                  <a:off x="4435084" y="3273229"/>
                  <a:ext cx="121789" cy="45154"/>
                  <a:chOff x="4435084" y="3273229"/>
                  <a:chExt cx="121789" cy="45154"/>
                </a:xfrm>
                <a:grpFill/>
              </p:grpSpPr>
              <p:sp>
                <p:nvSpPr>
                  <p:cNvPr id="8629" name="Vrije vorm: vorm 8628">
                    <a:extLst>
                      <a:ext uri="{FF2B5EF4-FFF2-40B4-BE49-F238E27FC236}">
                        <a16:creationId xmlns:a16="http://schemas.microsoft.com/office/drawing/2014/main" id="{5FB29F2B-DD36-4F3B-92C5-CF973C51A23D}"/>
                      </a:ext>
                    </a:extLst>
                  </p:cNvPr>
                  <p:cNvSpPr/>
                  <p:nvPr/>
                </p:nvSpPr>
                <p:spPr>
                  <a:xfrm>
                    <a:off x="4435084" y="3297152"/>
                    <a:ext cx="7236" cy="1375"/>
                  </a:xfrm>
                  <a:custGeom>
                    <a:avLst/>
                    <a:gdLst>
                      <a:gd name="connsiteX0" fmla="*/ 0 w 7236"/>
                      <a:gd name="connsiteY0" fmla="*/ 0 h 1375"/>
                      <a:gd name="connsiteX1" fmla="*/ 7237 w 7236"/>
                      <a:gd name="connsiteY1" fmla="*/ 1376 h 1375"/>
                    </a:gdLst>
                    <a:ahLst/>
                    <a:cxnLst>
                      <a:cxn ang="0">
                        <a:pos x="connsiteX0" y="connsiteY0"/>
                      </a:cxn>
                      <a:cxn ang="0">
                        <a:pos x="connsiteX1" y="connsiteY1"/>
                      </a:cxn>
                    </a:cxnLst>
                    <a:rect l="l" t="t" r="r" b="b"/>
                    <a:pathLst>
                      <a:path w="7236" h="1375">
                        <a:moveTo>
                          <a:pt x="0" y="0"/>
                        </a:moveTo>
                        <a:lnTo>
                          <a:pt x="7237" y="1376"/>
                        </a:lnTo>
                      </a:path>
                    </a:pathLst>
                  </a:custGeom>
                  <a:grpFill/>
                  <a:ln w="6350" cap="flat">
                    <a:solidFill>
                      <a:schemeClr val="bg1">
                        <a:alpha val="40000"/>
                      </a:schemeClr>
                    </a:solidFill>
                    <a:prstDash val="solid"/>
                    <a:miter/>
                  </a:ln>
                </p:spPr>
                <p:txBody>
                  <a:bodyPr rtlCol="0" anchor="ctr"/>
                  <a:lstStyle/>
                  <a:p>
                    <a:endParaRPr lang="en-GB"/>
                  </a:p>
                </p:txBody>
              </p:sp>
              <p:sp>
                <p:nvSpPr>
                  <p:cNvPr id="8630" name="Vrije vorm: vorm 8629">
                    <a:extLst>
                      <a:ext uri="{FF2B5EF4-FFF2-40B4-BE49-F238E27FC236}">
                        <a16:creationId xmlns:a16="http://schemas.microsoft.com/office/drawing/2014/main" id="{AB2296E4-0D8A-41B0-9067-ABACBA6B4AD3}"/>
                      </a:ext>
                    </a:extLst>
                  </p:cNvPr>
                  <p:cNvSpPr/>
                  <p:nvPr/>
                </p:nvSpPr>
                <p:spPr>
                  <a:xfrm>
                    <a:off x="4454162" y="3275980"/>
                    <a:ext cx="102711" cy="42403"/>
                  </a:xfrm>
                  <a:custGeom>
                    <a:avLst/>
                    <a:gdLst>
                      <a:gd name="connsiteX0" fmla="*/ 2093 w 102711"/>
                      <a:gd name="connsiteY0" fmla="*/ 25299 h 42403"/>
                      <a:gd name="connsiteX1" fmla="*/ 88096 w 102711"/>
                      <a:gd name="connsiteY1" fmla="*/ 42164 h 42403"/>
                      <a:gd name="connsiteX2" fmla="*/ 102450 w 102711"/>
                      <a:gd name="connsiteY2" fmla="*/ 32595 h 42403"/>
                      <a:gd name="connsiteX3" fmla="*/ 102510 w 102711"/>
                      <a:gd name="connsiteY3" fmla="*/ 32356 h 42403"/>
                      <a:gd name="connsiteX4" fmla="*/ 92941 w 102711"/>
                      <a:gd name="connsiteY4" fmla="*/ 18241 h 42403"/>
                      <a:gd name="connsiteX5" fmla="*/ 0 w 102711"/>
                      <a:gd name="connsiteY5" fmla="*/ 0 h 4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711" h="42403">
                        <a:moveTo>
                          <a:pt x="2093" y="25299"/>
                        </a:moveTo>
                        <a:lnTo>
                          <a:pt x="88096" y="42164"/>
                        </a:lnTo>
                        <a:cubicBezTo>
                          <a:pt x="94675" y="43480"/>
                          <a:pt x="101134" y="39234"/>
                          <a:pt x="102450" y="32595"/>
                        </a:cubicBezTo>
                        <a:cubicBezTo>
                          <a:pt x="102450" y="32535"/>
                          <a:pt x="102510" y="32416"/>
                          <a:pt x="102510" y="32356"/>
                        </a:cubicBezTo>
                        <a:cubicBezTo>
                          <a:pt x="103706" y="25837"/>
                          <a:pt x="99459" y="19557"/>
                          <a:pt x="92941" y="18241"/>
                        </a:cubicBezTo>
                        <a:lnTo>
                          <a:pt x="0" y="0"/>
                        </a:lnTo>
                      </a:path>
                    </a:pathLst>
                  </a:custGeom>
                  <a:grpFill/>
                  <a:ln w="6350" cap="flat">
                    <a:solidFill>
                      <a:schemeClr val="bg1">
                        <a:alpha val="40000"/>
                      </a:schemeClr>
                    </a:solidFill>
                    <a:custDash>
                      <a:ds d="178463" sp="178463"/>
                    </a:custDash>
                    <a:miter/>
                  </a:ln>
                </p:spPr>
                <p:txBody>
                  <a:bodyPr rtlCol="0" anchor="ctr"/>
                  <a:lstStyle/>
                  <a:p>
                    <a:endParaRPr lang="en-GB"/>
                  </a:p>
                </p:txBody>
              </p:sp>
              <p:sp>
                <p:nvSpPr>
                  <p:cNvPr id="8631" name="Vrije vorm: vorm 8630">
                    <a:extLst>
                      <a:ext uri="{FF2B5EF4-FFF2-40B4-BE49-F238E27FC236}">
                        <a16:creationId xmlns:a16="http://schemas.microsoft.com/office/drawing/2014/main" id="{2F294282-A8D5-4641-9F33-22545EF27FCB}"/>
                      </a:ext>
                    </a:extLst>
                  </p:cNvPr>
                  <p:cNvSpPr/>
                  <p:nvPr/>
                </p:nvSpPr>
                <p:spPr>
                  <a:xfrm>
                    <a:off x="4439928" y="3273229"/>
                    <a:ext cx="7176" cy="1435"/>
                  </a:xfrm>
                  <a:custGeom>
                    <a:avLst/>
                    <a:gdLst>
                      <a:gd name="connsiteX0" fmla="*/ 7177 w 7176"/>
                      <a:gd name="connsiteY0" fmla="*/ 1435 h 1435"/>
                      <a:gd name="connsiteX1" fmla="*/ 0 w 7176"/>
                      <a:gd name="connsiteY1" fmla="*/ 0 h 1435"/>
                    </a:gdLst>
                    <a:ahLst/>
                    <a:cxnLst>
                      <a:cxn ang="0">
                        <a:pos x="connsiteX0" y="connsiteY0"/>
                      </a:cxn>
                      <a:cxn ang="0">
                        <a:pos x="connsiteX1" y="connsiteY1"/>
                      </a:cxn>
                    </a:cxnLst>
                    <a:rect l="l" t="t" r="r" b="b"/>
                    <a:pathLst>
                      <a:path w="7176" h="1435">
                        <a:moveTo>
                          <a:pt x="7177" y="1435"/>
                        </a:moveTo>
                        <a:lnTo>
                          <a:pt x="0" y="0"/>
                        </a:lnTo>
                      </a:path>
                    </a:pathLst>
                  </a:custGeom>
                  <a:grpFill/>
                  <a:ln w="6350" cap="flat">
                    <a:solidFill>
                      <a:schemeClr val="bg1">
                        <a:alpha val="40000"/>
                      </a:schemeClr>
                    </a:solidFill>
                    <a:prstDash val="solid"/>
                    <a:miter/>
                  </a:ln>
                </p:spPr>
                <p:txBody>
                  <a:bodyPr rtlCol="0" anchor="ctr"/>
                  <a:lstStyle/>
                  <a:p>
                    <a:endParaRPr lang="en-GB"/>
                  </a:p>
                </p:txBody>
              </p:sp>
            </p:grpSp>
            <p:grpSp>
              <p:nvGrpSpPr>
                <p:cNvPr id="8590" name="Graphic 3">
                  <a:extLst>
                    <a:ext uri="{FF2B5EF4-FFF2-40B4-BE49-F238E27FC236}">
                      <a16:creationId xmlns:a16="http://schemas.microsoft.com/office/drawing/2014/main" id="{C095B7D7-EC7F-4BBB-BBA8-A195DF4A9D5E}"/>
                    </a:ext>
                  </a:extLst>
                </p:cNvPr>
                <p:cNvGrpSpPr/>
                <p:nvPr/>
              </p:nvGrpSpPr>
              <p:grpSpPr>
                <a:xfrm>
                  <a:off x="4436100" y="3227058"/>
                  <a:ext cx="99596" cy="33844"/>
                  <a:chOff x="4436100" y="3227058"/>
                  <a:chExt cx="99596" cy="33844"/>
                </a:xfrm>
                <a:grpFill/>
              </p:grpSpPr>
              <p:sp>
                <p:nvSpPr>
                  <p:cNvPr id="8626" name="Vrije vorm: vorm 8625">
                    <a:extLst>
                      <a:ext uri="{FF2B5EF4-FFF2-40B4-BE49-F238E27FC236}">
                        <a16:creationId xmlns:a16="http://schemas.microsoft.com/office/drawing/2014/main" id="{D8EAD594-786A-4F9F-A18F-CBB1F1387FB3}"/>
                      </a:ext>
                    </a:extLst>
                  </p:cNvPr>
                  <p:cNvSpPr/>
                  <p:nvPr/>
                </p:nvSpPr>
                <p:spPr>
                  <a:xfrm>
                    <a:off x="4437476" y="3252297"/>
                    <a:ext cx="7176" cy="1495"/>
                  </a:xfrm>
                  <a:custGeom>
                    <a:avLst/>
                    <a:gdLst>
                      <a:gd name="connsiteX0" fmla="*/ 0 w 7176"/>
                      <a:gd name="connsiteY0" fmla="*/ 0 h 1495"/>
                      <a:gd name="connsiteX1" fmla="*/ 7177 w 7176"/>
                      <a:gd name="connsiteY1" fmla="*/ 1495 h 1495"/>
                    </a:gdLst>
                    <a:ahLst/>
                    <a:cxnLst>
                      <a:cxn ang="0">
                        <a:pos x="connsiteX0" y="connsiteY0"/>
                      </a:cxn>
                      <a:cxn ang="0">
                        <a:pos x="connsiteX1" y="connsiteY1"/>
                      </a:cxn>
                    </a:cxnLst>
                    <a:rect l="l" t="t" r="r" b="b"/>
                    <a:pathLst>
                      <a:path w="7176" h="1495">
                        <a:moveTo>
                          <a:pt x="0" y="0"/>
                        </a:moveTo>
                        <a:cubicBezTo>
                          <a:pt x="2452" y="538"/>
                          <a:pt x="4844" y="1017"/>
                          <a:pt x="7177" y="1495"/>
                        </a:cubicBezTo>
                      </a:path>
                    </a:pathLst>
                  </a:custGeom>
                  <a:grpFill/>
                  <a:ln w="6350" cap="flat">
                    <a:solidFill>
                      <a:schemeClr val="bg1">
                        <a:alpha val="40000"/>
                      </a:schemeClr>
                    </a:solidFill>
                    <a:prstDash val="solid"/>
                    <a:miter/>
                  </a:ln>
                </p:spPr>
                <p:txBody>
                  <a:bodyPr rtlCol="0" anchor="ctr"/>
                  <a:lstStyle/>
                  <a:p>
                    <a:endParaRPr lang="en-GB"/>
                  </a:p>
                </p:txBody>
              </p:sp>
              <p:sp>
                <p:nvSpPr>
                  <p:cNvPr id="8627" name="Vrije vorm: vorm 8626">
                    <a:extLst>
                      <a:ext uri="{FF2B5EF4-FFF2-40B4-BE49-F238E27FC236}">
                        <a16:creationId xmlns:a16="http://schemas.microsoft.com/office/drawing/2014/main" id="{29E93A0F-9C35-47DF-B19D-905F4FEA232E}"/>
                      </a:ext>
                    </a:extLst>
                  </p:cNvPr>
                  <p:cNvSpPr/>
                  <p:nvPr/>
                </p:nvSpPr>
                <p:spPr>
                  <a:xfrm>
                    <a:off x="4450753" y="3230048"/>
                    <a:ext cx="84944" cy="30854"/>
                  </a:xfrm>
                  <a:custGeom>
                    <a:avLst/>
                    <a:gdLst>
                      <a:gd name="connsiteX0" fmla="*/ 8911 w 84944"/>
                      <a:gd name="connsiteY0" fmla="*/ 26614 h 30854"/>
                      <a:gd name="connsiteX1" fmla="*/ 72068 w 84944"/>
                      <a:gd name="connsiteY1" fmla="*/ 29605 h 30854"/>
                      <a:gd name="connsiteX2" fmla="*/ 84747 w 84944"/>
                      <a:gd name="connsiteY2" fmla="*/ 19617 h 30854"/>
                      <a:gd name="connsiteX3" fmla="*/ 84926 w 84944"/>
                      <a:gd name="connsiteY3" fmla="*/ 18122 h 30854"/>
                      <a:gd name="connsiteX4" fmla="*/ 73443 w 84944"/>
                      <a:gd name="connsiteY4" fmla="*/ 5263 h 30854"/>
                      <a:gd name="connsiteX5" fmla="*/ 0 w 84944"/>
                      <a:gd name="connsiteY5" fmla="*/ 0 h 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944" h="30854">
                        <a:moveTo>
                          <a:pt x="8911" y="26614"/>
                        </a:moveTo>
                        <a:cubicBezTo>
                          <a:pt x="52631" y="34030"/>
                          <a:pt x="68718" y="29425"/>
                          <a:pt x="72068" y="29605"/>
                        </a:cubicBezTo>
                        <a:cubicBezTo>
                          <a:pt x="78288" y="29963"/>
                          <a:pt x="83670" y="25597"/>
                          <a:pt x="84747" y="19617"/>
                        </a:cubicBezTo>
                        <a:cubicBezTo>
                          <a:pt x="84807" y="19138"/>
                          <a:pt x="84866" y="18660"/>
                          <a:pt x="84926" y="18122"/>
                        </a:cubicBezTo>
                        <a:cubicBezTo>
                          <a:pt x="85285" y="11423"/>
                          <a:pt x="80142" y="5622"/>
                          <a:pt x="73443" y="5263"/>
                        </a:cubicBezTo>
                        <a:cubicBezTo>
                          <a:pt x="72606" y="5203"/>
                          <a:pt x="48863" y="9091"/>
                          <a:pt x="0" y="0"/>
                        </a:cubicBezTo>
                      </a:path>
                    </a:pathLst>
                  </a:custGeom>
                  <a:grpFill/>
                  <a:ln w="6350" cap="flat">
                    <a:solidFill>
                      <a:schemeClr val="bg1">
                        <a:alpha val="40000"/>
                      </a:schemeClr>
                    </a:solidFill>
                    <a:custDash>
                      <a:ds d="191392" sp="191392"/>
                    </a:custDash>
                    <a:miter/>
                  </a:ln>
                </p:spPr>
                <p:txBody>
                  <a:bodyPr rtlCol="0" anchor="ctr"/>
                  <a:lstStyle/>
                  <a:p>
                    <a:endParaRPr lang="en-GB"/>
                  </a:p>
                </p:txBody>
              </p:sp>
              <p:sp>
                <p:nvSpPr>
                  <p:cNvPr id="8628" name="Vrije vorm: vorm 8627">
                    <a:extLst>
                      <a:ext uri="{FF2B5EF4-FFF2-40B4-BE49-F238E27FC236}">
                        <a16:creationId xmlns:a16="http://schemas.microsoft.com/office/drawing/2014/main" id="{C4C7294E-3928-4928-BCF7-956BB2E1F342}"/>
                      </a:ext>
                    </a:extLst>
                  </p:cNvPr>
                  <p:cNvSpPr/>
                  <p:nvPr/>
                </p:nvSpPr>
                <p:spPr>
                  <a:xfrm>
                    <a:off x="4436100" y="3227058"/>
                    <a:ext cx="7176" cy="1495"/>
                  </a:xfrm>
                  <a:custGeom>
                    <a:avLst/>
                    <a:gdLst>
                      <a:gd name="connsiteX0" fmla="*/ 7177 w 7176"/>
                      <a:gd name="connsiteY0" fmla="*/ 1495 h 1495"/>
                      <a:gd name="connsiteX1" fmla="*/ 0 w 7176"/>
                      <a:gd name="connsiteY1" fmla="*/ 0 h 1495"/>
                    </a:gdLst>
                    <a:ahLst/>
                    <a:cxnLst>
                      <a:cxn ang="0">
                        <a:pos x="connsiteX0" y="connsiteY0"/>
                      </a:cxn>
                      <a:cxn ang="0">
                        <a:pos x="connsiteX1" y="connsiteY1"/>
                      </a:cxn>
                    </a:cxnLst>
                    <a:rect l="l" t="t" r="r" b="b"/>
                    <a:pathLst>
                      <a:path w="7176" h="1495">
                        <a:moveTo>
                          <a:pt x="7177" y="1495"/>
                        </a:moveTo>
                        <a:cubicBezTo>
                          <a:pt x="4844" y="1017"/>
                          <a:pt x="2452" y="538"/>
                          <a:pt x="0" y="0"/>
                        </a:cubicBezTo>
                      </a:path>
                    </a:pathLst>
                  </a:custGeom>
                  <a:grpFill/>
                  <a:ln w="6350" cap="flat">
                    <a:solidFill>
                      <a:schemeClr val="bg1">
                        <a:alpha val="40000"/>
                      </a:schemeClr>
                    </a:solidFill>
                    <a:prstDash val="solid"/>
                    <a:miter/>
                  </a:ln>
                </p:spPr>
                <p:txBody>
                  <a:bodyPr rtlCol="0" anchor="ctr"/>
                  <a:lstStyle/>
                  <a:p>
                    <a:endParaRPr lang="en-GB"/>
                  </a:p>
                </p:txBody>
              </p:sp>
            </p:grpSp>
            <p:grpSp>
              <p:nvGrpSpPr>
                <p:cNvPr id="8591" name="Graphic 3">
                  <a:extLst>
                    <a:ext uri="{FF2B5EF4-FFF2-40B4-BE49-F238E27FC236}">
                      <a16:creationId xmlns:a16="http://schemas.microsoft.com/office/drawing/2014/main" id="{59F610D1-6570-4C54-8A91-DD32250CAF59}"/>
                    </a:ext>
                  </a:extLst>
                </p:cNvPr>
                <p:cNvGrpSpPr/>
                <p:nvPr/>
              </p:nvGrpSpPr>
              <p:grpSpPr>
                <a:xfrm>
                  <a:off x="4157402" y="3139856"/>
                  <a:ext cx="195901" cy="60288"/>
                  <a:chOff x="4157402" y="3139856"/>
                  <a:chExt cx="195901" cy="60288"/>
                </a:xfrm>
                <a:grpFill/>
              </p:grpSpPr>
              <p:grpSp>
                <p:nvGrpSpPr>
                  <p:cNvPr id="8621" name="Graphic 3">
                    <a:extLst>
                      <a:ext uri="{FF2B5EF4-FFF2-40B4-BE49-F238E27FC236}">
                        <a16:creationId xmlns:a16="http://schemas.microsoft.com/office/drawing/2014/main" id="{CBEA712C-C50D-40A3-A3F8-D68B430587B8}"/>
                      </a:ext>
                    </a:extLst>
                  </p:cNvPr>
                  <p:cNvGrpSpPr/>
                  <p:nvPr/>
                </p:nvGrpSpPr>
                <p:grpSpPr>
                  <a:xfrm>
                    <a:off x="4299620" y="3166138"/>
                    <a:ext cx="53683" cy="34006"/>
                    <a:chOff x="4299620" y="3166138"/>
                    <a:chExt cx="53683" cy="34006"/>
                  </a:xfrm>
                  <a:grpFill/>
                </p:grpSpPr>
                <p:sp>
                  <p:nvSpPr>
                    <p:cNvPr id="8623" name="Vrije vorm: vorm 8622">
                      <a:extLst>
                        <a:ext uri="{FF2B5EF4-FFF2-40B4-BE49-F238E27FC236}">
                          <a16:creationId xmlns:a16="http://schemas.microsoft.com/office/drawing/2014/main" id="{BF202A78-6DF7-4D17-93E4-10FF87CCA1A1}"/>
                        </a:ext>
                      </a:extLst>
                    </p:cNvPr>
                    <p:cNvSpPr/>
                    <p:nvPr/>
                  </p:nvSpPr>
                  <p:spPr>
                    <a:xfrm>
                      <a:off x="4301175" y="3187047"/>
                      <a:ext cx="5621" cy="4605"/>
                    </a:xfrm>
                    <a:custGeom>
                      <a:avLst/>
                      <a:gdLst>
                        <a:gd name="connsiteX0" fmla="*/ 5622 w 5621"/>
                        <a:gd name="connsiteY0" fmla="*/ 4605 h 4605"/>
                        <a:gd name="connsiteX1" fmla="*/ 0 w 5621"/>
                        <a:gd name="connsiteY1" fmla="*/ 0 h 4605"/>
                      </a:gdLst>
                      <a:ahLst/>
                      <a:cxnLst>
                        <a:cxn ang="0">
                          <a:pos x="connsiteX0" y="connsiteY0"/>
                        </a:cxn>
                        <a:cxn ang="0">
                          <a:pos x="connsiteX1" y="connsiteY1"/>
                        </a:cxn>
                      </a:cxnLst>
                      <a:rect l="l" t="t" r="r" b="b"/>
                      <a:pathLst>
                        <a:path w="5621" h="4605">
                          <a:moveTo>
                            <a:pt x="5622" y="4605"/>
                          </a:moveTo>
                          <a:cubicBezTo>
                            <a:pt x="3290" y="3588"/>
                            <a:pt x="1376" y="1974"/>
                            <a:pt x="0" y="0"/>
                          </a:cubicBezTo>
                        </a:path>
                      </a:pathLst>
                    </a:custGeom>
                    <a:grpFill/>
                    <a:ln w="6350" cap="flat">
                      <a:solidFill>
                        <a:schemeClr val="bg1">
                          <a:alpha val="40000"/>
                        </a:schemeClr>
                      </a:solidFill>
                      <a:prstDash val="solid"/>
                      <a:miter/>
                    </a:ln>
                  </p:spPr>
                  <p:txBody>
                    <a:bodyPr rtlCol="0" anchor="ctr"/>
                    <a:lstStyle/>
                    <a:p>
                      <a:endParaRPr lang="en-GB"/>
                    </a:p>
                  </p:txBody>
                </p:sp>
                <p:sp>
                  <p:nvSpPr>
                    <p:cNvPr id="8624" name="Vrije vorm: vorm 8623">
                      <a:extLst>
                        <a:ext uri="{FF2B5EF4-FFF2-40B4-BE49-F238E27FC236}">
                          <a16:creationId xmlns:a16="http://schemas.microsoft.com/office/drawing/2014/main" id="{83E3191B-215D-4A39-B3BF-1FC2C3443BE3}"/>
                        </a:ext>
                      </a:extLst>
                    </p:cNvPr>
                    <p:cNvSpPr/>
                    <p:nvPr/>
                  </p:nvSpPr>
                  <p:spPr>
                    <a:xfrm>
                      <a:off x="4299620" y="3166138"/>
                      <a:ext cx="53683" cy="25155"/>
                    </a:xfrm>
                    <a:custGeom>
                      <a:avLst/>
                      <a:gdLst>
                        <a:gd name="connsiteX0" fmla="*/ 0 w 53683"/>
                        <a:gd name="connsiteY0" fmla="*/ 8709 h 25155"/>
                        <a:gd name="connsiteX1" fmla="*/ 299 w 53683"/>
                        <a:gd name="connsiteY1" fmla="*/ 7991 h 25155"/>
                        <a:gd name="connsiteX2" fmla="*/ 17882 w 53683"/>
                        <a:gd name="connsiteY2" fmla="*/ 1113 h 25155"/>
                        <a:gd name="connsiteX3" fmla="*/ 41327 w 53683"/>
                        <a:gd name="connsiteY3" fmla="*/ 7752 h 25155"/>
                        <a:gd name="connsiteX4" fmla="*/ 53647 w 53683"/>
                        <a:gd name="connsiteY4" fmla="*/ 21986 h 25155"/>
                        <a:gd name="connsiteX5" fmla="*/ 53049 w 53683"/>
                        <a:gd name="connsiteY5" fmla="*/ 25156 h 2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83" h="25155">
                          <a:moveTo>
                            <a:pt x="0" y="8709"/>
                          </a:moveTo>
                          <a:cubicBezTo>
                            <a:pt x="60" y="8469"/>
                            <a:pt x="179" y="8230"/>
                            <a:pt x="299" y="7991"/>
                          </a:cubicBezTo>
                          <a:cubicBezTo>
                            <a:pt x="3229" y="1233"/>
                            <a:pt x="11124" y="-1818"/>
                            <a:pt x="17882" y="1113"/>
                          </a:cubicBezTo>
                          <a:cubicBezTo>
                            <a:pt x="30980" y="6855"/>
                            <a:pt x="41207" y="7692"/>
                            <a:pt x="41327" y="7752"/>
                          </a:cubicBezTo>
                          <a:cubicBezTo>
                            <a:pt x="48683" y="8230"/>
                            <a:pt x="54185" y="14629"/>
                            <a:pt x="53647" y="21986"/>
                          </a:cubicBezTo>
                          <a:cubicBezTo>
                            <a:pt x="53587" y="23122"/>
                            <a:pt x="53348" y="24139"/>
                            <a:pt x="53049" y="25156"/>
                          </a:cubicBezTo>
                        </a:path>
                      </a:pathLst>
                    </a:custGeom>
                    <a:grpFill/>
                    <a:ln w="6350" cap="flat">
                      <a:solidFill>
                        <a:schemeClr val="bg1">
                          <a:alpha val="40000"/>
                        </a:schemeClr>
                      </a:solidFill>
                      <a:custDash>
                        <a:ds d="160170" sp="160170"/>
                      </a:custDash>
                      <a:miter/>
                    </a:ln>
                  </p:spPr>
                  <p:txBody>
                    <a:bodyPr rtlCol="0" anchor="ctr"/>
                    <a:lstStyle/>
                    <a:p>
                      <a:endParaRPr lang="en-GB"/>
                    </a:p>
                  </p:txBody>
                </p:sp>
                <p:sp>
                  <p:nvSpPr>
                    <p:cNvPr id="8625" name="Vrije vorm: vorm 8624">
                      <a:extLst>
                        <a:ext uri="{FF2B5EF4-FFF2-40B4-BE49-F238E27FC236}">
                          <a16:creationId xmlns:a16="http://schemas.microsoft.com/office/drawing/2014/main" id="{692E2C08-1AB4-427E-BEF2-F5EAF176D129}"/>
                        </a:ext>
                      </a:extLst>
                    </p:cNvPr>
                    <p:cNvSpPr/>
                    <p:nvPr/>
                  </p:nvSpPr>
                  <p:spPr>
                    <a:xfrm>
                      <a:off x="4342981" y="3196616"/>
                      <a:ext cx="6339" cy="3528"/>
                    </a:xfrm>
                    <a:custGeom>
                      <a:avLst/>
                      <a:gdLst>
                        <a:gd name="connsiteX0" fmla="*/ 6340 w 6339"/>
                        <a:gd name="connsiteY0" fmla="*/ 0 h 3528"/>
                        <a:gd name="connsiteX1" fmla="*/ 0 w 6339"/>
                        <a:gd name="connsiteY1" fmla="*/ 3529 h 3528"/>
                      </a:gdLst>
                      <a:ahLst/>
                      <a:cxnLst>
                        <a:cxn ang="0">
                          <a:pos x="connsiteX0" y="connsiteY0"/>
                        </a:cxn>
                        <a:cxn ang="0">
                          <a:pos x="connsiteX1" y="connsiteY1"/>
                        </a:cxn>
                      </a:cxnLst>
                      <a:rect l="l" t="t" r="r" b="b"/>
                      <a:pathLst>
                        <a:path w="6339" h="3528">
                          <a:moveTo>
                            <a:pt x="6340" y="0"/>
                          </a:moveTo>
                          <a:cubicBezTo>
                            <a:pt x="4605" y="1734"/>
                            <a:pt x="2392" y="2930"/>
                            <a:pt x="0" y="3529"/>
                          </a:cubicBezTo>
                        </a:path>
                      </a:pathLst>
                    </a:custGeom>
                    <a:grpFill/>
                    <a:ln w="6350" cap="flat">
                      <a:solidFill>
                        <a:schemeClr val="bg1">
                          <a:alpha val="40000"/>
                        </a:schemeClr>
                      </a:solidFill>
                      <a:prstDash val="solid"/>
                      <a:miter/>
                    </a:ln>
                  </p:spPr>
                  <p:txBody>
                    <a:bodyPr rtlCol="0" anchor="ctr"/>
                    <a:lstStyle/>
                    <a:p>
                      <a:endParaRPr lang="en-GB"/>
                    </a:p>
                  </p:txBody>
                </p:sp>
              </p:grpSp>
              <p:sp>
                <p:nvSpPr>
                  <p:cNvPr id="8622" name="Vrije vorm: vorm 8621">
                    <a:extLst>
                      <a:ext uri="{FF2B5EF4-FFF2-40B4-BE49-F238E27FC236}">
                        <a16:creationId xmlns:a16="http://schemas.microsoft.com/office/drawing/2014/main" id="{416E5695-A84F-4AF9-A57B-E648A2BEB22D}"/>
                      </a:ext>
                    </a:extLst>
                  </p:cNvPr>
                  <p:cNvSpPr/>
                  <p:nvPr/>
                </p:nvSpPr>
                <p:spPr>
                  <a:xfrm>
                    <a:off x="4157402" y="3139856"/>
                    <a:ext cx="146853" cy="57345"/>
                  </a:xfrm>
                  <a:custGeom>
                    <a:avLst/>
                    <a:gdLst>
                      <a:gd name="connsiteX0" fmla="*/ 3166 w 146853"/>
                      <a:gd name="connsiteY0" fmla="*/ 32119 h 57345"/>
                      <a:gd name="connsiteX1" fmla="*/ 4422 w 146853"/>
                      <a:gd name="connsiteY1" fmla="*/ 52514 h 57345"/>
                      <a:gd name="connsiteX2" fmla="*/ 26730 w 146853"/>
                      <a:gd name="connsiteY2" fmla="*/ 52932 h 57345"/>
                      <a:gd name="connsiteX3" fmla="*/ 122601 w 146853"/>
                      <a:gd name="connsiteY3" fmla="*/ 44141 h 57345"/>
                      <a:gd name="connsiteX4" fmla="*/ 144371 w 146853"/>
                      <a:gd name="connsiteY4" fmla="*/ 39296 h 57345"/>
                      <a:gd name="connsiteX5" fmla="*/ 139646 w 146853"/>
                      <a:gd name="connsiteY5" fmla="*/ 17586 h 57345"/>
                      <a:gd name="connsiteX6" fmla="*/ 95867 w 146853"/>
                      <a:gd name="connsiteY6" fmla="*/ 1558 h 57345"/>
                      <a:gd name="connsiteX7" fmla="*/ 4900 w 146853"/>
                      <a:gd name="connsiteY7" fmla="*/ 30206 h 57345"/>
                      <a:gd name="connsiteX8" fmla="*/ 3166 w 146853"/>
                      <a:gd name="connsiteY8" fmla="*/ 32119 h 5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853" h="57345">
                        <a:moveTo>
                          <a:pt x="3166" y="32119"/>
                        </a:moveTo>
                        <a:cubicBezTo>
                          <a:pt x="-1439" y="38220"/>
                          <a:pt x="-1020" y="46892"/>
                          <a:pt x="4422" y="52514"/>
                        </a:cubicBezTo>
                        <a:cubicBezTo>
                          <a:pt x="10462" y="58793"/>
                          <a:pt x="20450" y="58973"/>
                          <a:pt x="26730" y="52932"/>
                        </a:cubicBezTo>
                        <a:cubicBezTo>
                          <a:pt x="69672" y="11546"/>
                          <a:pt x="120508" y="42765"/>
                          <a:pt x="122601" y="44141"/>
                        </a:cubicBezTo>
                        <a:cubicBezTo>
                          <a:pt x="129957" y="48746"/>
                          <a:pt x="139706" y="46593"/>
                          <a:pt x="144371" y="39296"/>
                        </a:cubicBezTo>
                        <a:cubicBezTo>
                          <a:pt x="149036" y="32000"/>
                          <a:pt x="146943" y="22251"/>
                          <a:pt x="139646" y="17586"/>
                        </a:cubicBezTo>
                        <a:cubicBezTo>
                          <a:pt x="138869" y="17108"/>
                          <a:pt x="120986" y="5744"/>
                          <a:pt x="95867" y="1558"/>
                        </a:cubicBezTo>
                        <a:cubicBezTo>
                          <a:pt x="61657" y="-4124"/>
                          <a:pt x="30199" y="5804"/>
                          <a:pt x="4900" y="30206"/>
                        </a:cubicBezTo>
                        <a:cubicBezTo>
                          <a:pt x="4243" y="30804"/>
                          <a:pt x="3644" y="31462"/>
                          <a:pt x="3166" y="32119"/>
                        </a:cubicBezTo>
                        <a:close/>
                      </a:path>
                    </a:pathLst>
                  </a:custGeom>
                  <a:grpFill/>
                  <a:ln w="6350" cap="flat">
                    <a:solidFill>
                      <a:schemeClr val="bg1">
                        <a:alpha val="40000"/>
                      </a:schemeClr>
                    </a:solidFill>
                    <a:custDash>
                      <a:ds d="182190" sp="182190"/>
                    </a:custDash>
                    <a:miter/>
                  </a:ln>
                </p:spPr>
                <p:txBody>
                  <a:bodyPr rtlCol="0" anchor="ctr"/>
                  <a:lstStyle/>
                  <a:p>
                    <a:endParaRPr lang="en-GB"/>
                  </a:p>
                </p:txBody>
              </p:sp>
            </p:grpSp>
            <p:sp>
              <p:nvSpPr>
                <p:cNvPr id="8592" name="Vrije vorm: vorm 8591">
                  <a:extLst>
                    <a:ext uri="{FF2B5EF4-FFF2-40B4-BE49-F238E27FC236}">
                      <a16:creationId xmlns:a16="http://schemas.microsoft.com/office/drawing/2014/main" id="{EC1B7F19-7BBD-4ECC-A936-03408DCB05C1}"/>
                    </a:ext>
                  </a:extLst>
                </p:cNvPr>
                <p:cNvSpPr/>
                <p:nvPr/>
              </p:nvSpPr>
              <p:spPr>
                <a:xfrm>
                  <a:off x="4032122" y="3303212"/>
                  <a:ext cx="21371" cy="18292"/>
                </a:xfrm>
                <a:custGeom>
                  <a:avLst/>
                  <a:gdLst>
                    <a:gd name="connsiteX0" fmla="*/ 13676 w 21371"/>
                    <a:gd name="connsiteY0" fmla="*/ 17743 h 18292"/>
                    <a:gd name="connsiteX1" fmla="*/ 20374 w 21371"/>
                    <a:gd name="connsiteY1" fmla="*/ 16068 h 18292"/>
                    <a:gd name="connsiteX2" fmla="*/ 19118 w 21371"/>
                    <a:gd name="connsiteY2" fmla="*/ 8652 h 18292"/>
                    <a:gd name="connsiteX3" fmla="*/ 8413 w 21371"/>
                    <a:gd name="connsiteY3" fmla="*/ 997 h 18292"/>
                    <a:gd name="connsiteX4" fmla="*/ 997 w 21371"/>
                    <a:gd name="connsiteY4" fmla="*/ 2253 h 18292"/>
                    <a:gd name="connsiteX5" fmla="*/ 2253 w 21371"/>
                    <a:gd name="connsiteY5" fmla="*/ 9669 h 18292"/>
                    <a:gd name="connsiteX6" fmla="*/ 12958 w 21371"/>
                    <a:gd name="connsiteY6" fmla="*/ 17324 h 18292"/>
                    <a:gd name="connsiteX7" fmla="*/ 13676 w 21371"/>
                    <a:gd name="connsiteY7" fmla="*/ 17743 h 1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71" h="18292">
                      <a:moveTo>
                        <a:pt x="13676" y="17743"/>
                      </a:moveTo>
                      <a:cubicBezTo>
                        <a:pt x="15949" y="18879"/>
                        <a:pt x="18819" y="18221"/>
                        <a:pt x="20374" y="16068"/>
                      </a:cubicBezTo>
                      <a:cubicBezTo>
                        <a:pt x="22109" y="13676"/>
                        <a:pt x="21511" y="10327"/>
                        <a:pt x="19118" y="8652"/>
                      </a:cubicBezTo>
                      <a:lnTo>
                        <a:pt x="8413" y="997"/>
                      </a:lnTo>
                      <a:cubicBezTo>
                        <a:pt x="6021" y="-738"/>
                        <a:pt x="2671" y="-139"/>
                        <a:pt x="997" y="2253"/>
                      </a:cubicBezTo>
                      <a:cubicBezTo>
                        <a:pt x="-738" y="4645"/>
                        <a:pt x="-139" y="7994"/>
                        <a:pt x="2253" y="9669"/>
                      </a:cubicBezTo>
                      <a:lnTo>
                        <a:pt x="12958" y="17324"/>
                      </a:lnTo>
                      <a:cubicBezTo>
                        <a:pt x="13138" y="17504"/>
                        <a:pt x="13377" y="17623"/>
                        <a:pt x="13676" y="17743"/>
                      </a:cubicBezTo>
                      <a:close/>
                    </a:path>
                  </a:pathLst>
                </a:custGeom>
                <a:grpFill/>
                <a:ln w="6350" cap="flat">
                  <a:solidFill>
                    <a:schemeClr val="bg1">
                      <a:alpha val="40000"/>
                    </a:schemeClr>
                  </a:solidFill>
                  <a:custDash>
                    <a:ds d="186833" sp="186833"/>
                  </a:custDash>
                  <a:miter/>
                </a:ln>
              </p:spPr>
              <p:txBody>
                <a:bodyPr rtlCol="0" anchor="ctr"/>
                <a:lstStyle/>
                <a:p>
                  <a:endParaRPr lang="en-GB"/>
                </a:p>
              </p:txBody>
            </p:sp>
            <p:sp>
              <p:nvSpPr>
                <p:cNvPr id="8593" name="Vrije vorm: vorm 8592">
                  <a:extLst>
                    <a:ext uri="{FF2B5EF4-FFF2-40B4-BE49-F238E27FC236}">
                      <a16:creationId xmlns:a16="http://schemas.microsoft.com/office/drawing/2014/main" id="{B1DD1DFC-AE43-47F2-A4A9-385F3915FABD}"/>
                    </a:ext>
                  </a:extLst>
                </p:cNvPr>
                <p:cNvSpPr/>
                <p:nvPr/>
              </p:nvSpPr>
              <p:spPr>
                <a:xfrm>
                  <a:off x="4144704" y="3164495"/>
                  <a:ext cx="294478" cy="148072"/>
                </a:xfrm>
                <a:custGeom>
                  <a:avLst/>
                  <a:gdLst>
                    <a:gd name="connsiteX0" fmla="*/ 275249 w 294478"/>
                    <a:gd name="connsiteY0" fmla="*/ 45458 h 148072"/>
                    <a:gd name="connsiteX1" fmla="*/ 272797 w 294478"/>
                    <a:gd name="connsiteY1" fmla="*/ 147848 h 148072"/>
                    <a:gd name="connsiteX2" fmla="*/ 120228 w 294478"/>
                    <a:gd name="connsiteY2" fmla="*/ 113997 h 148072"/>
                    <a:gd name="connsiteX3" fmla="*/ 16642 w 294478"/>
                    <a:gd name="connsiteY3" fmla="*/ 83256 h 148072"/>
                    <a:gd name="connsiteX4" fmla="*/ 24776 w 294478"/>
                    <a:gd name="connsiteY4" fmla="*/ 304 h 148072"/>
                    <a:gd name="connsiteX5" fmla="*/ 110540 w 294478"/>
                    <a:gd name="connsiteY5" fmla="*/ 37265 h 148072"/>
                    <a:gd name="connsiteX6" fmla="*/ 202942 w 294478"/>
                    <a:gd name="connsiteY6" fmla="*/ 32360 h 148072"/>
                    <a:gd name="connsiteX7" fmla="*/ 275249 w 294478"/>
                    <a:gd name="connsiteY7" fmla="*/ 45458 h 14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478" h="148072">
                      <a:moveTo>
                        <a:pt x="275249" y="45458"/>
                      </a:moveTo>
                      <a:cubicBezTo>
                        <a:pt x="298155" y="49585"/>
                        <a:pt x="304375" y="153530"/>
                        <a:pt x="272797" y="147848"/>
                      </a:cubicBezTo>
                      <a:cubicBezTo>
                        <a:pt x="241278" y="142166"/>
                        <a:pt x="188469" y="138398"/>
                        <a:pt x="120228" y="113997"/>
                      </a:cubicBezTo>
                      <a:cubicBezTo>
                        <a:pt x="51988" y="89596"/>
                        <a:pt x="41881" y="106880"/>
                        <a:pt x="16642" y="83256"/>
                      </a:cubicBezTo>
                      <a:cubicBezTo>
                        <a:pt x="-8596" y="59632"/>
                        <a:pt x="-4530" y="-4959"/>
                        <a:pt x="24776" y="304"/>
                      </a:cubicBezTo>
                      <a:cubicBezTo>
                        <a:pt x="66880" y="7899"/>
                        <a:pt x="68674" y="29729"/>
                        <a:pt x="110540" y="37265"/>
                      </a:cubicBezTo>
                      <a:cubicBezTo>
                        <a:pt x="152405" y="44800"/>
                        <a:pt x="146843" y="22253"/>
                        <a:pt x="202942" y="32360"/>
                      </a:cubicBezTo>
                      <a:cubicBezTo>
                        <a:pt x="259101" y="42587"/>
                        <a:pt x="275249" y="45458"/>
                        <a:pt x="275249" y="45458"/>
                      </a:cubicBezTo>
                      <a:close/>
                    </a:path>
                  </a:pathLst>
                </a:custGeom>
                <a:grpFill/>
                <a:ln w="6350" cap="flat">
                  <a:solidFill>
                    <a:schemeClr val="bg1">
                      <a:alpha val="40000"/>
                    </a:schemeClr>
                  </a:solidFill>
                  <a:custDash>
                    <a:ds d="187478" sp="187478"/>
                  </a:custDash>
                  <a:miter/>
                </a:ln>
              </p:spPr>
              <p:txBody>
                <a:bodyPr rtlCol="0" anchor="ctr"/>
                <a:lstStyle/>
                <a:p>
                  <a:endParaRPr lang="en-GB"/>
                </a:p>
              </p:txBody>
            </p:sp>
            <p:grpSp>
              <p:nvGrpSpPr>
                <p:cNvPr id="8594" name="Graphic 3">
                  <a:extLst>
                    <a:ext uri="{FF2B5EF4-FFF2-40B4-BE49-F238E27FC236}">
                      <a16:creationId xmlns:a16="http://schemas.microsoft.com/office/drawing/2014/main" id="{658C3C43-5963-46C0-BE50-C899D0E5848D}"/>
                    </a:ext>
                  </a:extLst>
                </p:cNvPr>
                <p:cNvGrpSpPr/>
                <p:nvPr/>
              </p:nvGrpSpPr>
              <p:grpSpPr>
                <a:xfrm>
                  <a:off x="4047620" y="3311147"/>
                  <a:ext cx="21323" cy="22747"/>
                  <a:chOff x="4047620" y="3311147"/>
                  <a:chExt cx="21323" cy="22747"/>
                </a:xfrm>
                <a:grpFill/>
              </p:grpSpPr>
              <p:sp>
                <p:nvSpPr>
                  <p:cNvPr id="8618" name="Vrije vorm: vorm 8617">
                    <a:extLst>
                      <a:ext uri="{FF2B5EF4-FFF2-40B4-BE49-F238E27FC236}">
                        <a16:creationId xmlns:a16="http://schemas.microsoft.com/office/drawing/2014/main" id="{8A2415E1-9936-48FA-9AD6-722838DC07E6}"/>
                      </a:ext>
                    </a:extLst>
                  </p:cNvPr>
                  <p:cNvSpPr/>
                  <p:nvPr/>
                </p:nvSpPr>
                <p:spPr>
                  <a:xfrm>
                    <a:off x="4056803" y="3311147"/>
                    <a:ext cx="7236" cy="1435"/>
                  </a:xfrm>
                  <a:custGeom>
                    <a:avLst/>
                    <a:gdLst>
                      <a:gd name="connsiteX0" fmla="*/ 7237 w 7236"/>
                      <a:gd name="connsiteY0" fmla="*/ 0 h 1435"/>
                      <a:gd name="connsiteX1" fmla="*/ 0 w 7236"/>
                      <a:gd name="connsiteY1" fmla="*/ 1435 h 1435"/>
                    </a:gdLst>
                    <a:ahLst/>
                    <a:cxnLst>
                      <a:cxn ang="0">
                        <a:pos x="connsiteX0" y="connsiteY0"/>
                      </a:cxn>
                      <a:cxn ang="0">
                        <a:pos x="connsiteX1" y="connsiteY1"/>
                      </a:cxn>
                    </a:cxnLst>
                    <a:rect l="l" t="t" r="r" b="b"/>
                    <a:pathLst>
                      <a:path w="7236" h="1435">
                        <a:moveTo>
                          <a:pt x="7237" y="0"/>
                        </a:moveTo>
                        <a:cubicBezTo>
                          <a:pt x="3947" y="598"/>
                          <a:pt x="1675" y="1077"/>
                          <a:pt x="0" y="1435"/>
                        </a:cubicBezTo>
                      </a:path>
                    </a:pathLst>
                  </a:custGeom>
                  <a:grpFill/>
                  <a:ln w="6350" cap="flat">
                    <a:solidFill>
                      <a:schemeClr val="bg1">
                        <a:alpha val="40000"/>
                      </a:schemeClr>
                    </a:solidFill>
                    <a:prstDash val="solid"/>
                    <a:miter/>
                  </a:ln>
                </p:spPr>
                <p:txBody>
                  <a:bodyPr rtlCol="0" anchor="ctr"/>
                  <a:lstStyle/>
                  <a:p>
                    <a:endParaRPr lang="en-GB"/>
                  </a:p>
                </p:txBody>
              </p:sp>
              <p:sp>
                <p:nvSpPr>
                  <p:cNvPr id="8619" name="Vrije vorm: vorm 8618">
                    <a:extLst>
                      <a:ext uri="{FF2B5EF4-FFF2-40B4-BE49-F238E27FC236}">
                        <a16:creationId xmlns:a16="http://schemas.microsoft.com/office/drawing/2014/main" id="{E69EE447-6054-467F-8F50-4F4C7CCBED27}"/>
                      </a:ext>
                    </a:extLst>
                  </p:cNvPr>
                  <p:cNvSpPr/>
                  <p:nvPr/>
                </p:nvSpPr>
                <p:spPr>
                  <a:xfrm>
                    <a:off x="4047620" y="3319041"/>
                    <a:ext cx="10857" cy="14852"/>
                  </a:xfrm>
                  <a:custGeom>
                    <a:avLst/>
                    <a:gdLst>
                      <a:gd name="connsiteX0" fmla="*/ 1049 w 10857"/>
                      <a:gd name="connsiteY0" fmla="*/ 0 h 14852"/>
                      <a:gd name="connsiteX1" fmla="*/ 391 w 10857"/>
                      <a:gd name="connsiteY1" fmla="*/ 7296 h 14852"/>
                      <a:gd name="connsiteX2" fmla="*/ 5833 w 10857"/>
                      <a:gd name="connsiteY2" fmla="*/ 13815 h 14852"/>
                      <a:gd name="connsiteX3" fmla="*/ 10857 w 10857"/>
                      <a:gd name="connsiteY3" fmla="*/ 14832 h 14852"/>
                    </a:gdLst>
                    <a:ahLst/>
                    <a:cxnLst>
                      <a:cxn ang="0">
                        <a:pos x="connsiteX0" y="connsiteY0"/>
                      </a:cxn>
                      <a:cxn ang="0">
                        <a:pos x="connsiteX1" y="connsiteY1"/>
                      </a:cxn>
                      <a:cxn ang="0">
                        <a:pos x="connsiteX2" y="connsiteY2"/>
                      </a:cxn>
                      <a:cxn ang="0">
                        <a:pos x="connsiteX3" y="connsiteY3"/>
                      </a:cxn>
                    </a:cxnLst>
                    <a:rect l="l" t="t" r="r" b="b"/>
                    <a:pathLst>
                      <a:path w="10857" h="14852">
                        <a:moveTo>
                          <a:pt x="1049" y="0"/>
                        </a:moveTo>
                        <a:cubicBezTo>
                          <a:pt x="-28" y="2213"/>
                          <a:pt x="-326" y="4725"/>
                          <a:pt x="391" y="7296"/>
                        </a:cubicBezTo>
                        <a:cubicBezTo>
                          <a:pt x="1229" y="10287"/>
                          <a:pt x="3262" y="12560"/>
                          <a:pt x="5833" y="13815"/>
                        </a:cubicBezTo>
                        <a:cubicBezTo>
                          <a:pt x="7389" y="14533"/>
                          <a:pt x="9063" y="14952"/>
                          <a:pt x="10857" y="14832"/>
                        </a:cubicBezTo>
                      </a:path>
                    </a:pathLst>
                  </a:custGeom>
                  <a:grpFill/>
                  <a:ln w="6350" cap="flat">
                    <a:solidFill>
                      <a:schemeClr val="bg1">
                        <a:alpha val="40000"/>
                      </a:schemeClr>
                    </a:solidFill>
                    <a:custDash>
                      <a:ds d="178830" sp="178830"/>
                    </a:custDash>
                    <a:miter/>
                  </a:ln>
                </p:spPr>
                <p:txBody>
                  <a:bodyPr rtlCol="0" anchor="ctr"/>
                  <a:lstStyle/>
                  <a:p>
                    <a:endParaRPr lang="en-GB"/>
                  </a:p>
                </p:txBody>
              </p:sp>
              <p:sp>
                <p:nvSpPr>
                  <p:cNvPr id="8620" name="Vrije vorm: vorm 8619">
                    <a:extLst>
                      <a:ext uri="{FF2B5EF4-FFF2-40B4-BE49-F238E27FC236}">
                        <a16:creationId xmlns:a16="http://schemas.microsoft.com/office/drawing/2014/main" id="{BF1B1CA7-C71F-4108-866B-9B2EACD7478A}"/>
                      </a:ext>
                    </a:extLst>
                  </p:cNvPr>
                  <p:cNvSpPr/>
                  <p:nvPr/>
                </p:nvSpPr>
                <p:spPr>
                  <a:xfrm>
                    <a:off x="4061767" y="3331302"/>
                    <a:ext cx="7176" cy="1435"/>
                  </a:xfrm>
                  <a:custGeom>
                    <a:avLst/>
                    <a:gdLst>
                      <a:gd name="connsiteX0" fmla="*/ 0 w 7176"/>
                      <a:gd name="connsiteY0" fmla="*/ 1435 h 1435"/>
                      <a:gd name="connsiteX1" fmla="*/ 7177 w 7176"/>
                      <a:gd name="connsiteY1" fmla="*/ 0 h 1435"/>
                    </a:gdLst>
                    <a:ahLst/>
                    <a:cxnLst>
                      <a:cxn ang="0">
                        <a:pos x="connsiteX0" y="connsiteY0"/>
                      </a:cxn>
                      <a:cxn ang="0">
                        <a:pos x="connsiteX1" y="connsiteY1"/>
                      </a:cxn>
                    </a:cxnLst>
                    <a:rect l="l" t="t" r="r" b="b"/>
                    <a:pathLst>
                      <a:path w="7176" h="1435">
                        <a:moveTo>
                          <a:pt x="0" y="1435"/>
                        </a:moveTo>
                        <a:cubicBezTo>
                          <a:pt x="1555" y="1077"/>
                          <a:pt x="3828" y="598"/>
                          <a:pt x="7177" y="0"/>
                        </a:cubicBezTo>
                      </a:path>
                    </a:pathLst>
                  </a:custGeom>
                  <a:grpFill/>
                  <a:ln w="6350" cap="flat">
                    <a:solidFill>
                      <a:schemeClr val="bg1">
                        <a:alpha val="40000"/>
                      </a:schemeClr>
                    </a:solidFill>
                    <a:prstDash val="solid"/>
                    <a:miter/>
                  </a:ln>
                </p:spPr>
                <p:txBody>
                  <a:bodyPr rtlCol="0" anchor="ctr"/>
                  <a:lstStyle/>
                  <a:p>
                    <a:endParaRPr lang="en-GB"/>
                  </a:p>
                </p:txBody>
              </p:sp>
            </p:grpSp>
            <p:sp>
              <p:nvSpPr>
                <p:cNvPr id="8595" name="Vrije vorm: vorm 8594">
                  <a:extLst>
                    <a:ext uri="{FF2B5EF4-FFF2-40B4-BE49-F238E27FC236}">
                      <a16:creationId xmlns:a16="http://schemas.microsoft.com/office/drawing/2014/main" id="{BE4C38AD-26C4-4D99-BB53-5428F58E5657}"/>
                    </a:ext>
                  </a:extLst>
                </p:cNvPr>
                <p:cNvSpPr/>
                <p:nvPr/>
              </p:nvSpPr>
              <p:spPr>
                <a:xfrm>
                  <a:off x="4061667" y="3217138"/>
                  <a:ext cx="126849" cy="115260"/>
                </a:xfrm>
                <a:custGeom>
                  <a:avLst/>
                  <a:gdLst>
                    <a:gd name="connsiteX0" fmla="*/ 126593 w 126849"/>
                    <a:gd name="connsiteY0" fmla="*/ 18532 h 115260"/>
                    <a:gd name="connsiteX1" fmla="*/ 116306 w 126849"/>
                    <a:gd name="connsiteY1" fmla="*/ 889 h 115260"/>
                    <a:gd name="connsiteX2" fmla="*/ 96211 w 126849"/>
                    <a:gd name="connsiteY2" fmla="*/ 10578 h 115260"/>
                    <a:gd name="connsiteX3" fmla="*/ 12540 w 126849"/>
                    <a:gd name="connsiteY3" fmla="*/ 84021 h 115260"/>
                    <a:gd name="connsiteX4" fmla="*/ 339 w 126849"/>
                    <a:gd name="connsiteY4" fmla="*/ 102681 h 115260"/>
                    <a:gd name="connsiteX5" fmla="*/ 18880 w 126849"/>
                    <a:gd name="connsiteY5" fmla="*/ 114941 h 115260"/>
                    <a:gd name="connsiteX6" fmla="*/ 125994 w 126849"/>
                    <a:gd name="connsiteY6" fmla="*/ 21044 h 115260"/>
                    <a:gd name="connsiteX7" fmla="*/ 126593 w 126849"/>
                    <a:gd name="connsiteY7" fmla="*/ 18532 h 11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49" h="115260">
                      <a:moveTo>
                        <a:pt x="126593" y="18532"/>
                      </a:moveTo>
                      <a:cubicBezTo>
                        <a:pt x="127968" y="11056"/>
                        <a:pt x="123722" y="3461"/>
                        <a:pt x="116306" y="889"/>
                      </a:cubicBezTo>
                      <a:cubicBezTo>
                        <a:pt x="108112" y="-1982"/>
                        <a:pt x="99081" y="2324"/>
                        <a:pt x="96211" y="10578"/>
                      </a:cubicBezTo>
                      <a:cubicBezTo>
                        <a:pt x="75338" y="70146"/>
                        <a:pt x="15112" y="83483"/>
                        <a:pt x="12540" y="84021"/>
                      </a:cubicBezTo>
                      <a:cubicBezTo>
                        <a:pt x="4047" y="85815"/>
                        <a:pt x="-1455" y="94128"/>
                        <a:pt x="339" y="102681"/>
                      </a:cubicBezTo>
                      <a:cubicBezTo>
                        <a:pt x="2074" y="111173"/>
                        <a:pt x="10387" y="116676"/>
                        <a:pt x="18880" y="114941"/>
                      </a:cubicBezTo>
                      <a:cubicBezTo>
                        <a:pt x="22169" y="114283"/>
                        <a:pt x="99021" y="97836"/>
                        <a:pt x="125994" y="21044"/>
                      </a:cubicBezTo>
                      <a:cubicBezTo>
                        <a:pt x="126234" y="20207"/>
                        <a:pt x="126413" y="19369"/>
                        <a:pt x="126593" y="18532"/>
                      </a:cubicBezTo>
                      <a:close/>
                    </a:path>
                  </a:pathLst>
                </a:custGeom>
                <a:grpFill/>
                <a:ln w="6350" cap="flat">
                  <a:solidFill>
                    <a:schemeClr val="bg1">
                      <a:alpha val="40000"/>
                    </a:schemeClr>
                  </a:solidFill>
                  <a:custDash>
                    <a:ds d="189825" sp="189825"/>
                  </a:custDash>
                  <a:miter/>
                </a:ln>
              </p:spPr>
              <p:txBody>
                <a:bodyPr rtlCol="0" anchor="ctr"/>
                <a:lstStyle/>
                <a:p>
                  <a:endParaRPr lang="en-GB"/>
                </a:p>
              </p:txBody>
            </p:sp>
            <p:grpSp>
              <p:nvGrpSpPr>
                <p:cNvPr id="8596" name="Graphic 3">
                  <a:extLst>
                    <a:ext uri="{FF2B5EF4-FFF2-40B4-BE49-F238E27FC236}">
                      <a16:creationId xmlns:a16="http://schemas.microsoft.com/office/drawing/2014/main" id="{29769C10-86B0-42A6-AF71-1D82EA71FBBD}"/>
                    </a:ext>
                  </a:extLst>
                </p:cNvPr>
                <p:cNvGrpSpPr/>
                <p:nvPr/>
              </p:nvGrpSpPr>
              <p:grpSpPr>
                <a:xfrm>
                  <a:off x="4138679" y="3174128"/>
                  <a:ext cx="20992" cy="24163"/>
                  <a:chOff x="4138679" y="3174128"/>
                  <a:chExt cx="20992" cy="24163"/>
                </a:xfrm>
                <a:grpFill/>
              </p:grpSpPr>
              <p:sp>
                <p:nvSpPr>
                  <p:cNvPr id="8615" name="Vrije vorm: vorm 8614">
                    <a:extLst>
                      <a:ext uri="{FF2B5EF4-FFF2-40B4-BE49-F238E27FC236}">
                        <a16:creationId xmlns:a16="http://schemas.microsoft.com/office/drawing/2014/main" id="{792D10CF-CFD6-4F07-BEE4-62DC7397AE88}"/>
                      </a:ext>
                    </a:extLst>
                  </p:cNvPr>
                  <p:cNvSpPr/>
                  <p:nvPr/>
                </p:nvSpPr>
                <p:spPr>
                  <a:xfrm>
                    <a:off x="4158236" y="3191114"/>
                    <a:ext cx="1435" cy="7176"/>
                  </a:xfrm>
                  <a:custGeom>
                    <a:avLst/>
                    <a:gdLst>
                      <a:gd name="connsiteX0" fmla="*/ 0 w 1435"/>
                      <a:gd name="connsiteY0" fmla="*/ 7177 h 7176"/>
                      <a:gd name="connsiteX1" fmla="*/ 1435 w 1435"/>
                      <a:gd name="connsiteY1" fmla="*/ 0 h 7176"/>
                    </a:gdLst>
                    <a:ahLst/>
                    <a:cxnLst>
                      <a:cxn ang="0">
                        <a:pos x="connsiteX0" y="connsiteY0"/>
                      </a:cxn>
                      <a:cxn ang="0">
                        <a:pos x="connsiteX1" y="connsiteY1"/>
                      </a:cxn>
                    </a:cxnLst>
                    <a:rect l="l" t="t" r="r" b="b"/>
                    <a:pathLst>
                      <a:path w="1435" h="7176">
                        <a:moveTo>
                          <a:pt x="0" y="7177"/>
                        </a:moveTo>
                        <a:cubicBezTo>
                          <a:pt x="718" y="4725"/>
                          <a:pt x="1196" y="2273"/>
                          <a:pt x="1435" y="0"/>
                        </a:cubicBezTo>
                      </a:path>
                    </a:pathLst>
                  </a:custGeom>
                  <a:grpFill/>
                  <a:ln w="6350" cap="flat">
                    <a:solidFill>
                      <a:schemeClr val="bg1">
                        <a:alpha val="40000"/>
                      </a:schemeClr>
                    </a:solidFill>
                    <a:prstDash val="solid"/>
                    <a:miter/>
                  </a:ln>
                </p:spPr>
                <p:txBody>
                  <a:bodyPr rtlCol="0" anchor="ctr"/>
                  <a:lstStyle/>
                  <a:p>
                    <a:endParaRPr lang="en-GB"/>
                  </a:p>
                </p:txBody>
              </p:sp>
              <p:sp>
                <p:nvSpPr>
                  <p:cNvPr id="8616" name="Vrije vorm: vorm 8615">
                    <a:extLst>
                      <a:ext uri="{FF2B5EF4-FFF2-40B4-BE49-F238E27FC236}">
                        <a16:creationId xmlns:a16="http://schemas.microsoft.com/office/drawing/2014/main" id="{0611FAC8-3AC2-44CE-A743-F62FAAAE6038}"/>
                      </a:ext>
                    </a:extLst>
                  </p:cNvPr>
                  <p:cNvSpPr/>
                  <p:nvPr/>
                </p:nvSpPr>
                <p:spPr>
                  <a:xfrm>
                    <a:off x="4144361" y="3174128"/>
                    <a:ext cx="14234" cy="6340"/>
                  </a:xfrm>
                  <a:custGeom>
                    <a:avLst/>
                    <a:gdLst>
                      <a:gd name="connsiteX0" fmla="*/ 14234 w 14234"/>
                      <a:gd name="connsiteY0" fmla="*/ 4546 h 6340"/>
                      <a:gd name="connsiteX1" fmla="*/ 10107 w 14234"/>
                      <a:gd name="connsiteY1" fmla="*/ 180 h 6340"/>
                      <a:gd name="connsiteX2" fmla="*/ 0 w 14234"/>
                      <a:gd name="connsiteY2" fmla="*/ 6341 h 6340"/>
                    </a:gdLst>
                    <a:ahLst/>
                    <a:cxnLst>
                      <a:cxn ang="0">
                        <a:pos x="connsiteX0" y="connsiteY0"/>
                      </a:cxn>
                      <a:cxn ang="0">
                        <a:pos x="connsiteX1" y="connsiteY1"/>
                      </a:cxn>
                      <a:cxn ang="0">
                        <a:pos x="connsiteX2" y="connsiteY2"/>
                      </a:cxn>
                    </a:cxnLst>
                    <a:rect l="l" t="t" r="r" b="b"/>
                    <a:pathLst>
                      <a:path w="14234" h="6340">
                        <a:moveTo>
                          <a:pt x="14234" y="4546"/>
                        </a:moveTo>
                        <a:cubicBezTo>
                          <a:pt x="13277" y="2214"/>
                          <a:pt x="11902" y="659"/>
                          <a:pt x="10107" y="180"/>
                        </a:cubicBezTo>
                        <a:cubicBezTo>
                          <a:pt x="6937" y="-717"/>
                          <a:pt x="3170" y="1795"/>
                          <a:pt x="0" y="6341"/>
                        </a:cubicBezTo>
                      </a:path>
                    </a:pathLst>
                  </a:custGeom>
                  <a:grpFill/>
                  <a:ln w="6350" cap="flat">
                    <a:solidFill>
                      <a:schemeClr val="bg1">
                        <a:alpha val="40000"/>
                      </a:schemeClr>
                    </a:solidFill>
                    <a:custDash>
                      <a:ds d="157410" sp="157410"/>
                    </a:custDash>
                    <a:miter/>
                  </a:ln>
                </p:spPr>
                <p:txBody>
                  <a:bodyPr rtlCol="0" anchor="ctr"/>
                  <a:lstStyle/>
                  <a:p>
                    <a:endParaRPr lang="en-GB"/>
                  </a:p>
                </p:txBody>
              </p:sp>
              <p:sp>
                <p:nvSpPr>
                  <p:cNvPr id="8617" name="Vrije vorm: vorm 8616">
                    <a:extLst>
                      <a:ext uri="{FF2B5EF4-FFF2-40B4-BE49-F238E27FC236}">
                        <a16:creationId xmlns:a16="http://schemas.microsoft.com/office/drawing/2014/main" id="{C3B01264-7694-45FA-9FE1-C3D4E98566CC}"/>
                      </a:ext>
                    </a:extLst>
                  </p:cNvPr>
                  <p:cNvSpPr/>
                  <p:nvPr/>
                </p:nvSpPr>
                <p:spPr>
                  <a:xfrm>
                    <a:off x="4138679" y="3185911"/>
                    <a:ext cx="2511" cy="6877"/>
                  </a:xfrm>
                  <a:custGeom>
                    <a:avLst/>
                    <a:gdLst>
                      <a:gd name="connsiteX0" fmla="*/ 2512 w 2511"/>
                      <a:gd name="connsiteY0" fmla="*/ 0 h 6877"/>
                      <a:gd name="connsiteX1" fmla="*/ 0 w 2511"/>
                      <a:gd name="connsiteY1" fmla="*/ 6878 h 6877"/>
                    </a:gdLst>
                    <a:ahLst/>
                    <a:cxnLst>
                      <a:cxn ang="0">
                        <a:pos x="connsiteX0" y="connsiteY0"/>
                      </a:cxn>
                      <a:cxn ang="0">
                        <a:pos x="connsiteX1" y="connsiteY1"/>
                      </a:cxn>
                    </a:cxnLst>
                    <a:rect l="l" t="t" r="r" b="b"/>
                    <a:pathLst>
                      <a:path w="2511" h="6877">
                        <a:moveTo>
                          <a:pt x="2512" y="0"/>
                        </a:moveTo>
                        <a:cubicBezTo>
                          <a:pt x="1555" y="2093"/>
                          <a:pt x="658" y="4426"/>
                          <a:pt x="0" y="6878"/>
                        </a:cubicBezTo>
                      </a:path>
                    </a:pathLst>
                  </a:custGeom>
                  <a:grpFill/>
                  <a:ln w="6350" cap="flat">
                    <a:solidFill>
                      <a:schemeClr val="bg1">
                        <a:alpha val="40000"/>
                      </a:schemeClr>
                    </a:solidFill>
                    <a:prstDash val="solid"/>
                    <a:miter/>
                  </a:ln>
                </p:spPr>
                <p:txBody>
                  <a:bodyPr rtlCol="0" anchor="ctr"/>
                  <a:lstStyle/>
                  <a:p>
                    <a:endParaRPr lang="en-GB"/>
                  </a:p>
                </p:txBody>
              </p:sp>
            </p:grpSp>
            <p:grpSp>
              <p:nvGrpSpPr>
                <p:cNvPr id="8597" name="Graphic 3">
                  <a:extLst>
                    <a:ext uri="{FF2B5EF4-FFF2-40B4-BE49-F238E27FC236}">
                      <a16:creationId xmlns:a16="http://schemas.microsoft.com/office/drawing/2014/main" id="{6178993E-9F46-4E5E-AA94-682814A2825B}"/>
                    </a:ext>
                  </a:extLst>
                </p:cNvPr>
                <p:cNvGrpSpPr/>
                <p:nvPr/>
              </p:nvGrpSpPr>
              <p:grpSpPr>
                <a:xfrm>
                  <a:off x="4125521" y="3177179"/>
                  <a:ext cx="30694" cy="31355"/>
                  <a:chOff x="4125521" y="3177179"/>
                  <a:chExt cx="30694" cy="31355"/>
                </a:xfrm>
                <a:grpFill/>
              </p:grpSpPr>
              <p:sp>
                <p:nvSpPr>
                  <p:cNvPr id="8612" name="Vrije vorm: vorm 8611">
                    <a:extLst>
                      <a:ext uri="{FF2B5EF4-FFF2-40B4-BE49-F238E27FC236}">
                        <a16:creationId xmlns:a16="http://schemas.microsoft.com/office/drawing/2014/main" id="{15F9B04D-9CA2-4984-830B-E4F0E2A55A10}"/>
                      </a:ext>
                    </a:extLst>
                  </p:cNvPr>
                  <p:cNvSpPr/>
                  <p:nvPr/>
                </p:nvSpPr>
                <p:spPr>
                  <a:xfrm>
                    <a:off x="4130784" y="3177179"/>
                    <a:ext cx="9030" cy="7057"/>
                  </a:xfrm>
                  <a:custGeom>
                    <a:avLst/>
                    <a:gdLst>
                      <a:gd name="connsiteX0" fmla="*/ 9031 w 9030"/>
                      <a:gd name="connsiteY0" fmla="*/ 1974 h 7057"/>
                      <a:gd name="connsiteX1" fmla="*/ 1974 w 9030"/>
                      <a:gd name="connsiteY1" fmla="*/ 0 h 7057"/>
                      <a:gd name="connsiteX2" fmla="*/ 0 w 9030"/>
                      <a:gd name="connsiteY2" fmla="*/ 7057 h 7057"/>
                    </a:gdLst>
                    <a:ahLst/>
                    <a:cxnLst>
                      <a:cxn ang="0">
                        <a:pos x="connsiteX0" y="connsiteY0"/>
                      </a:cxn>
                      <a:cxn ang="0">
                        <a:pos x="connsiteX1" y="connsiteY1"/>
                      </a:cxn>
                      <a:cxn ang="0">
                        <a:pos x="connsiteX2" y="connsiteY2"/>
                      </a:cxn>
                    </a:cxnLst>
                    <a:rect l="l" t="t" r="r" b="b"/>
                    <a:pathLst>
                      <a:path w="9030" h="7057">
                        <a:moveTo>
                          <a:pt x="9031" y="1974"/>
                        </a:moveTo>
                        <a:lnTo>
                          <a:pt x="1974" y="0"/>
                        </a:lnTo>
                        <a:lnTo>
                          <a:pt x="0" y="7057"/>
                        </a:lnTo>
                      </a:path>
                    </a:pathLst>
                  </a:custGeom>
                  <a:grpFill/>
                  <a:ln w="6350" cap="flat">
                    <a:solidFill>
                      <a:schemeClr val="bg1">
                        <a:alpha val="40000"/>
                      </a:schemeClr>
                    </a:solidFill>
                    <a:prstDash val="solid"/>
                    <a:miter/>
                  </a:ln>
                </p:spPr>
                <p:txBody>
                  <a:bodyPr rtlCol="0" anchor="ctr"/>
                  <a:lstStyle/>
                  <a:p>
                    <a:endParaRPr lang="en-GB"/>
                  </a:p>
                </p:txBody>
              </p:sp>
              <p:sp>
                <p:nvSpPr>
                  <p:cNvPr id="8613" name="Vrije vorm: vorm 8612">
                    <a:extLst>
                      <a:ext uri="{FF2B5EF4-FFF2-40B4-BE49-F238E27FC236}">
                        <a16:creationId xmlns:a16="http://schemas.microsoft.com/office/drawing/2014/main" id="{3605547B-F9F5-4783-9915-DE90A783F852}"/>
                      </a:ext>
                    </a:extLst>
                  </p:cNvPr>
                  <p:cNvSpPr/>
                  <p:nvPr/>
                </p:nvSpPr>
                <p:spPr>
                  <a:xfrm>
                    <a:off x="4125521" y="3195958"/>
                    <a:ext cx="7057" cy="9030"/>
                  </a:xfrm>
                  <a:custGeom>
                    <a:avLst/>
                    <a:gdLst>
                      <a:gd name="connsiteX0" fmla="*/ 1974 w 7057"/>
                      <a:gd name="connsiteY0" fmla="*/ 0 h 9030"/>
                      <a:gd name="connsiteX1" fmla="*/ 0 w 7057"/>
                      <a:gd name="connsiteY1" fmla="*/ 7057 h 9030"/>
                      <a:gd name="connsiteX2" fmla="*/ 7058 w 7057"/>
                      <a:gd name="connsiteY2" fmla="*/ 9031 h 9030"/>
                    </a:gdLst>
                    <a:ahLst/>
                    <a:cxnLst>
                      <a:cxn ang="0">
                        <a:pos x="connsiteX0" y="connsiteY0"/>
                      </a:cxn>
                      <a:cxn ang="0">
                        <a:pos x="connsiteX1" y="connsiteY1"/>
                      </a:cxn>
                      <a:cxn ang="0">
                        <a:pos x="connsiteX2" y="connsiteY2"/>
                      </a:cxn>
                    </a:cxnLst>
                    <a:rect l="l" t="t" r="r" b="b"/>
                    <a:pathLst>
                      <a:path w="7057" h="9030">
                        <a:moveTo>
                          <a:pt x="1974" y="0"/>
                        </a:moveTo>
                        <a:lnTo>
                          <a:pt x="0" y="7057"/>
                        </a:lnTo>
                        <a:lnTo>
                          <a:pt x="7058" y="9031"/>
                        </a:lnTo>
                      </a:path>
                    </a:pathLst>
                  </a:custGeom>
                  <a:grpFill/>
                  <a:ln w="6350" cap="flat">
                    <a:solidFill>
                      <a:schemeClr val="bg1">
                        <a:alpha val="40000"/>
                      </a:schemeClr>
                    </a:solidFill>
                    <a:prstDash val="solid"/>
                    <a:miter/>
                  </a:ln>
                </p:spPr>
                <p:txBody>
                  <a:bodyPr rtlCol="0" anchor="ctr"/>
                  <a:lstStyle/>
                  <a:p>
                    <a:endParaRPr lang="en-GB"/>
                  </a:p>
                </p:txBody>
              </p:sp>
              <p:sp>
                <p:nvSpPr>
                  <p:cNvPr id="8614" name="Vrije vorm: vorm 8613">
                    <a:extLst>
                      <a:ext uri="{FF2B5EF4-FFF2-40B4-BE49-F238E27FC236}">
                        <a16:creationId xmlns:a16="http://schemas.microsoft.com/office/drawing/2014/main" id="{45A75C1B-6E9D-4DEC-8466-C7596B57E5A2}"/>
                      </a:ext>
                    </a:extLst>
                  </p:cNvPr>
                  <p:cNvSpPr/>
                  <p:nvPr/>
                </p:nvSpPr>
                <p:spPr>
                  <a:xfrm>
                    <a:off x="4143763" y="3180767"/>
                    <a:ext cx="12453" cy="27766"/>
                  </a:xfrm>
                  <a:custGeom>
                    <a:avLst/>
                    <a:gdLst>
                      <a:gd name="connsiteX0" fmla="*/ 0 w 12453"/>
                      <a:gd name="connsiteY0" fmla="*/ 27392 h 27766"/>
                      <a:gd name="connsiteX1" fmla="*/ 778 w 12453"/>
                      <a:gd name="connsiteY1" fmla="*/ 27631 h 27766"/>
                      <a:gd name="connsiteX2" fmla="*/ 11423 w 12453"/>
                      <a:gd name="connsiteY2" fmla="*/ 16686 h 27766"/>
                      <a:gd name="connsiteX3" fmla="*/ 8014 w 12453"/>
                      <a:gd name="connsiteY3" fmla="*/ 1794 h 27766"/>
                      <a:gd name="connsiteX4" fmla="*/ 1615 w 12453"/>
                      <a:gd name="connsiteY4" fmla="*/ 0 h 2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3" h="27766">
                        <a:moveTo>
                          <a:pt x="0" y="27392"/>
                        </a:moveTo>
                        <a:lnTo>
                          <a:pt x="778" y="27631"/>
                        </a:lnTo>
                        <a:cubicBezTo>
                          <a:pt x="4426" y="28648"/>
                          <a:pt x="9449" y="23863"/>
                          <a:pt x="11423" y="16686"/>
                        </a:cubicBezTo>
                        <a:cubicBezTo>
                          <a:pt x="13457" y="9569"/>
                          <a:pt x="12559" y="3050"/>
                          <a:pt x="8014" y="1794"/>
                        </a:cubicBezTo>
                        <a:lnTo>
                          <a:pt x="1615" y="0"/>
                        </a:lnTo>
                      </a:path>
                    </a:pathLst>
                  </a:custGeom>
                  <a:grpFill/>
                  <a:ln w="6350" cap="flat">
                    <a:solidFill>
                      <a:schemeClr val="bg1">
                        <a:alpha val="40000"/>
                      </a:schemeClr>
                    </a:solidFill>
                    <a:custDash>
                      <a:ds d="145905" sp="145905"/>
                    </a:custDash>
                    <a:miter/>
                  </a:ln>
                </p:spPr>
                <p:txBody>
                  <a:bodyPr rtlCol="0" anchor="ctr"/>
                  <a:lstStyle/>
                  <a:p>
                    <a:endParaRPr lang="en-GB"/>
                  </a:p>
                </p:txBody>
              </p:sp>
            </p:grpSp>
            <p:sp>
              <p:nvSpPr>
                <p:cNvPr id="8598" name="Vrije vorm: vorm 8597">
                  <a:extLst>
                    <a:ext uri="{FF2B5EF4-FFF2-40B4-BE49-F238E27FC236}">
                      <a16:creationId xmlns:a16="http://schemas.microsoft.com/office/drawing/2014/main" id="{95F1911F-6CFD-4FEF-9684-E0CFBC1A5F95}"/>
                    </a:ext>
                  </a:extLst>
                </p:cNvPr>
                <p:cNvSpPr/>
                <p:nvPr/>
              </p:nvSpPr>
              <p:spPr>
                <a:xfrm>
                  <a:off x="4068988" y="3146554"/>
                  <a:ext cx="77703" cy="77703"/>
                </a:xfrm>
                <a:custGeom>
                  <a:avLst/>
                  <a:gdLst>
                    <a:gd name="connsiteX0" fmla="*/ 43442 w 77703"/>
                    <a:gd name="connsiteY0" fmla="*/ 4591 h 77703"/>
                    <a:gd name="connsiteX1" fmla="*/ 73113 w 77703"/>
                    <a:gd name="connsiteY1" fmla="*/ 43443 h 77703"/>
                    <a:gd name="connsiteX2" fmla="*/ 34261 w 77703"/>
                    <a:gd name="connsiteY2" fmla="*/ 73113 h 77703"/>
                    <a:gd name="connsiteX3" fmla="*/ 4591 w 77703"/>
                    <a:gd name="connsiteY3" fmla="*/ 34261 h 77703"/>
                    <a:gd name="connsiteX4" fmla="*/ 43442 w 77703"/>
                    <a:gd name="connsiteY4" fmla="*/ 4591 h 77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03" h="77703">
                      <a:moveTo>
                        <a:pt x="43442" y="4591"/>
                      </a:moveTo>
                      <a:cubicBezTo>
                        <a:pt x="62364" y="7126"/>
                        <a:pt x="75648" y="24520"/>
                        <a:pt x="73113" y="43443"/>
                      </a:cubicBezTo>
                      <a:cubicBezTo>
                        <a:pt x="70577" y="62364"/>
                        <a:pt x="53183" y="75648"/>
                        <a:pt x="34261" y="73113"/>
                      </a:cubicBezTo>
                      <a:cubicBezTo>
                        <a:pt x="15339" y="70578"/>
                        <a:pt x="2055" y="53183"/>
                        <a:pt x="4591" y="34261"/>
                      </a:cubicBezTo>
                      <a:cubicBezTo>
                        <a:pt x="7126" y="15339"/>
                        <a:pt x="24521" y="2055"/>
                        <a:pt x="43442" y="4591"/>
                      </a:cubicBezTo>
                      <a:close/>
                    </a:path>
                  </a:pathLst>
                </a:custGeom>
                <a:grpFill/>
                <a:ln w="6350" cap="flat">
                  <a:solidFill>
                    <a:schemeClr val="bg1">
                      <a:alpha val="40000"/>
                    </a:schemeClr>
                  </a:solidFill>
                  <a:custDash>
                    <a:ds d="194318" sp="194318"/>
                  </a:custDash>
                  <a:miter/>
                </a:ln>
              </p:spPr>
              <p:txBody>
                <a:bodyPr rtlCol="0" anchor="ctr"/>
                <a:lstStyle/>
                <a:p>
                  <a:endParaRPr lang="en-GB"/>
                </a:p>
              </p:txBody>
            </p:sp>
            <p:sp>
              <p:nvSpPr>
                <p:cNvPr id="8599" name="Vrije vorm: vorm 8598">
                  <a:extLst>
                    <a:ext uri="{FF2B5EF4-FFF2-40B4-BE49-F238E27FC236}">
                      <a16:creationId xmlns:a16="http://schemas.microsoft.com/office/drawing/2014/main" id="{C0963106-3B80-4D3F-A80E-5992AE33902F}"/>
                    </a:ext>
                  </a:extLst>
                </p:cNvPr>
                <p:cNvSpPr/>
                <p:nvPr/>
              </p:nvSpPr>
              <p:spPr>
                <a:xfrm>
                  <a:off x="4105425" y="3202073"/>
                  <a:ext cx="16806" cy="11872"/>
                </a:xfrm>
                <a:custGeom>
                  <a:avLst/>
                  <a:gdLst>
                    <a:gd name="connsiteX0" fmla="*/ 6999 w 16806"/>
                    <a:gd name="connsiteY0" fmla="*/ 404 h 11872"/>
                    <a:gd name="connsiteX1" fmla="*/ 16688 w 16806"/>
                    <a:gd name="connsiteY1" fmla="*/ 3813 h 11872"/>
                    <a:gd name="connsiteX2" fmla="*/ 9810 w 16806"/>
                    <a:gd name="connsiteY2" fmla="*/ 11468 h 11872"/>
                    <a:gd name="connsiteX3" fmla="*/ 121 w 16806"/>
                    <a:gd name="connsiteY3" fmla="*/ 8059 h 11872"/>
                    <a:gd name="connsiteX4" fmla="*/ 6999 w 16806"/>
                    <a:gd name="connsiteY4" fmla="*/ 404 h 1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6" h="11872">
                      <a:moveTo>
                        <a:pt x="6999" y="404"/>
                      </a:moveTo>
                      <a:cubicBezTo>
                        <a:pt x="11604" y="-792"/>
                        <a:pt x="15910" y="763"/>
                        <a:pt x="16688" y="3813"/>
                      </a:cubicBezTo>
                      <a:cubicBezTo>
                        <a:pt x="17465" y="6863"/>
                        <a:pt x="14355" y="10272"/>
                        <a:pt x="9810" y="11468"/>
                      </a:cubicBezTo>
                      <a:cubicBezTo>
                        <a:pt x="5204" y="12664"/>
                        <a:pt x="898" y="11109"/>
                        <a:pt x="121" y="8059"/>
                      </a:cubicBezTo>
                      <a:cubicBezTo>
                        <a:pt x="-657" y="5009"/>
                        <a:pt x="2394" y="1540"/>
                        <a:pt x="6999" y="404"/>
                      </a:cubicBezTo>
                      <a:close/>
                    </a:path>
                  </a:pathLst>
                </a:custGeom>
                <a:grpFill/>
                <a:ln w="6350" cap="flat">
                  <a:solidFill>
                    <a:schemeClr val="bg1">
                      <a:alpha val="40000"/>
                    </a:schemeClr>
                  </a:solidFill>
                  <a:custDash>
                    <a:ds d="141480" sp="141480"/>
                  </a:custDash>
                  <a:miter/>
                </a:ln>
              </p:spPr>
              <p:txBody>
                <a:bodyPr rtlCol="0" anchor="ctr"/>
                <a:lstStyle/>
                <a:p>
                  <a:endParaRPr lang="en-GB"/>
                </a:p>
              </p:txBody>
            </p:sp>
            <p:sp>
              <p:nvSpPr>
                <p:cNvPr id="8600" name="Vrije vorm: vorm 8599">
                  <a:extLst>
                    <a:ext uri="{FF2B5EF4-FFF2-40B4-BE49-F238E27FC236}">
                      <a16:creationId xmlns:a16="http://schemas.microsoft.com/office/drawing/2014/main" id="{91A3D759-EB1B-4231-8046-D897DDC8E4BD}"/>
                    </a:ext>
                  </a:extLst>
                </p:cNvPr>
                <p:cNvSpPr/>
                <p:nvPr/>
              </p:nvSpPr>
              <p:spPr>
                <a:xfrm>
                  <a:off x="4108405" y="3204309"/>
                  <a:ext cx="10908" cy="7640"/>
                </a:xfrm>
                <a:custGeom>
                  <a:avLst/>
                  <a:gdLst>
                    <a:gd name="connsiteX0" fmla="*/ 4557 w 10908"/>
                    <a:gd name="connsiteY0" fmla="*/ 262 h 7640"/>
                    <a:gd name="connsiteX1" fmla="*/ 10837 w 10908"/>
                    <a:gd name="connsiteY1" fmla="*/ 2475 h 7640"/>
                    <a:gd name="connsiteX2" fmla="*/ 6351 w 10908"/>
                    <a:gd name="connsiteY2" fmla="*/ 7379 h 7640"/>
                    <a:gd name="connsiteX3" fmla="*/ 71 w 10908"/>
                    <a:gd name="connsiteY3" fmla="*/ 5166 h 7640"/>
                    <a:gd name="connsiteX4" fmla="*/ 4557 w 10908"/>
                    <a:gd name="connsiteY4" fmla="*/ 262 h 7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 h="7640">
                      <a:moveTo>
                        <a:pt x="4557" y="262"/>
                      </a:moveTo>
                      <a:cubicBezTo>
                        <a:pt x="7547" y="-516"/>
                        <a:pt x="10358" y="501"/>
                        <a:pt x="10837" y="2475"/>
                      </a:cubicBezTo>
                      <a:cubicBezTo>
                        <a:pt x="11315" y="4448"/>
                        <a:pt x="9341" y="6661"/>
                        <a:pt x="6351" y="7379"/>
                      </a:cubicBezTo>
                      <a:cubicBezTo>
                        <a:pt x="3361" y="8156"/>
                        <a:pt x="550" y="7140"/>
                        <a:pt x="71" y="5166"/>
                      </a:cubicBezTo>
                      <a:cubicBezTo>
                        <a:pt x="-407" y="3192"/>
                        <a:pt x="1567" y="1039"/>
                        <a:pt x="4557" y="262"/>
                      </a:cubicBezTo>
                      <a:close/>
                    </a:path>
                  </a:pathLst>
                </a:custGeom>
                <a:grpFill/>
                <a:ln w="6350" cap="flat">
                  <a:solidFill>
                    <a:schemeClr val="bg1">
                      <a:alpha val="40000"/>
                    </a:schemeClr>
                  </a:solidFill>
                  <a:custDash>
                    <a:ds d="182685" sp="182685"/>
                  </a:custDash>
                  <a:miter/>
                </a:ln>
              </p:spPr>
              <p:txBody>
                <a:bodyPr rtlCol="0" anchor="ctr"/>
                <a:lstStyle/>
                <a:p>
                  <a:endParaRPr lang="en-GB"/>
                </a:p>
              </p:txBody>
            </p:sp>
            <p:sp>
              <p:nvSpPr>
                <p:cNvPr id="8601" name="Vrije vorm: vorm 8600">
                  <a:extLst>
                    <a:ext uri="{FF2B5EF4-FFF2-40B4-BE49-F238E27FC236}">
                      <a16:creationId xmlns:a16="http://schemas.microsoft.com/office/drawing/2014/main" id="{056E5C05-09B0-46E4-B81C-299A3F3FDA10}"/>
                    </a:ext>
                  </a:extLst>
                </p:cNvPr>
                <p:cNvSpPr/>
                <p:nvPr/>
              </p:nvSpPr>
              <p:spPr>
                <a:xfrm>
                  <a:off x="4066492" y="3143806"/>
                  <a:ext cx="76300" cy="69739"/>
                </a:xfrm>
                <a:custGeom>
                  <a:avLst/>
                  <a:gdLst>
                    <a:gd name="connsiteX0" fmla="*/ 11961 w 76300"/>
                    <a:gd name="connsiteY0" fmla="*/ 67164 h 69739"/>
                    <a:gd name="connsiteX1" fmla="*/ 39173 w 76300"/>
                    <a:gd name="connsiteY1" fmla="*/ 63814 h 69739"/>
                    <a:gd name="connsiteX2" fmla="*/ 75356 w 76300"/>
                    <a:gd name="connsiteY2" fmla="*/ 47547 h 69739"/>
                    <a:gd name="connsiteX3" fmla="*/ 52749 w 76300"/>
                    <a:gd name="connsiteY3" fmla="*/ 2213 h 69739"/>
                    <a:gd name="connsiteX4" fmla="*/ 5322 w 76300"/>
                    <a:gd name="connsiteY4" fmla="*/ 22846 h 69739"/>
                    <a:gd name="connsiteX5" fmla="*/ 11961 w 76300"/>
                    <a:gd name="connsiteY5" fmla="*/ 67164 h 69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300" h="69739">
                      <a:moveTo>
                        <a:pt x="11961" y="67164"/>
                      </a:moveTo>
                      <a:cubicBezTo>
                        <a:pt x="18300" y="71350"/>
                        <a:pt x="30860" y="70573"/>
                        <a:pt x="39173" y="63814"/>
                      </a:cubicBezTo>
                      <a:cubicBezTo>
                        <a:pt x="47486" y="57056"/>
                        <a:pt x="71110" y="66805"/>
                        <a:pt x="75356" y="47547"/>
                      </a:cubicBezTo>
                      <a:cubicBezTo>
                        <a:pt x="79603" y="28289"/>
                        <a:pt x="69077" y="6818"/>
                        <a:pt x="52749" y="2213"/>
                      </a:cubicBezTo>
                      <a:cubicBezTo>
                        <a:pt x="36422" y="-2392"/>
                        <a:pt x="15968" y="-1674"/>
                        <a:pt x="5322" y="22846"/>
                      </a:cubicBezTo>
                      <a:cubicBezTo>
                        <a:pt x="-4606" y="45812"/>
                        <a:pt x="358" y="59568"/>
                        <a:pt x="11961" y="67164"/>
                      </a:cubicBezTo>
                      <a:close/>
                    </a:path>
                  </a:pathLst>
                </a:custGeom>
                <a:grpFill/>
                <a:ln w="6350" cap="flat">
                  <a:solidFill>
                    <a:schemeClr val="bg1">
                      <a:alpha val="40000"/>
                    </a:schemeClr>
                  </a:solidFill>
                  <a:custDash>
                    <a:ds d="183188" sp="183188"/>
                  </a:custDash>
                  <a:miter/>
                </a:ln>
              </p:spPr>
              <p:txBody>
                <a:bodyPr rtlCol="0" anchor="ctr"/>
                <a:lstStyle/>
                <a:p>
                  <a:endParaRPr lang="en-GB"/>
                </a:p>
              </p:txBody>
            </p:sp>
            <p:sp>
              <p:nvSpPr>
                <p:cNvPr id="8602" name="Vrije vorm: vorm 8601">
                  <a:extLst>
                    <a:ext uri="{FF2B5EF4-FFF2-40B4-BE49-F238E27FC236}">
                      <a16:creationId xmlns:a16="http://schemas.microsoft.com/office/drawing/2014/main" id="{05376971-87A1-4C32-A304-48774455E3B7}"/>
                    </a:ext>
                  </a:extLst>
                </p:cNvPr>
                <p:cNvSpPr/>
                <p:nvPr/>
              </p:nvSpPr>
              <p:spPr>
                <a:xfrm>
                  <a:off x="4093298" y="3142128"/>
                  <a:ext cx="37079" cy="37079"/>
                </a:xfrm>
                <a:custGeom>
                  <a:avLst/>
                  <a:gdLst>
                    <a:gd name="connsiteX0" fmla="*/ 29546 w 37079"/>
                    <a:gd name="connsiteY0" fmla="*/ 11006 h 37079"/>
                    <a:gd name="connsiteX1" fmla="*/ 26074 w 37079"/>
                    <a:gd name="connsiteY1" fmla="*/ 29545 h 37079"/>
                    <a:gd name="connsiteX2" fmla="*/ 7534 w 37079"/>
                    <a:gd name="connsiteY2" fmla="*/ 26074 h 37079"/>
                    <a:gd name="connsiteX3" fmla="*/ 11006 w 37079"/>
                    <a:gd name="connsiteY3" fmla="*/ 7534 h 37079"/>
                    <a:gd name="connsiteX4" fmla="*/ 29546 w 37079"/>
                    <a:gd name="connsiteY4" fmla="*/ 11006 h 37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 h="37079">
                      <a:moveTo>
                        <a:pt x="29546" y="11006"/>
                      </a:moveTo>
                      <a:cubicBezTo>
                        <a:pt x="33707" y="17084"/>
                        <a:pt x="32152" y="25385"/>
                        <a:pt x="26074" y="29545"/>
                      </a:cubicBezTo>
                      <a:cubicBezTo>
                        <a:pt x="19996" y="33706"/>
                        <a:pt x="11695" y="32152"/>
                        <a:pt x="7534" y="26074"/>
                      </a:cubicBezTo>
                      <a:cubicBezTo>
                        <a:pt x="3373" y="19995"/>
                        <a:pt x="4928" y="11695"/>
                        <a:pt x="11006" y="7534"/>
                      </a:cubicBezTo>
                      <a:cubicBezTo>
                        <a:pt x="17084" y="3373"/>
                        <a:pt x="25385" y="4927"/>
                        <a:pt x="29546" y="11006"/>
                      </a:cubicBezTo>
                      <a:close/>
                    </a:path>
                  </a:pathLst>
                </a:custGeom>
                <a:grpFill/>
                <a:ln w="6350" cap="flat">
                  <a:solidFill>
                    <a:schemeClr val="bg1">
                      <a:alpha val="40000"/>
                    </a:schemeClr>
                  </a:solidFill>
                  <a:custDash>
                    <a:ds d="174885" sp="174885"/>
                  </a:custDash>
                  <a:miter/>
                </a:ln>
              </p:spPr>
              <p:txBody>
                <a:bodyPr rtlCol="0" anchor="ctr"/>
                <a:lstStyle/>
                <a:p>
                  <a:endParaRPr lang="en-GB"/>
                </a:p>
              </p:txBody>
            </p:sp>
            <p:grpSp>
              <p:nvGrpSpPr>
                <p:cNvPr id="8603" name="Graphic 3">
                  <a:extLst>
                    <a:ext uri="{FF2B5EF4-FFF2-40B4-BE49-F238E27FC236}">
                      <a16:creationId xmlns:a16="http://schemas.microsoft.com/office/drawing/2014/main" id="{97568763-4B33-4D70-B47C-A449C42C24C6}"/>
                    </a:ext>
                  </a:extLst>
                </p:cNvPr>
                <p:cNvGrpSpPr/>
                <p:nvPr/>
              </p:nvGrpSpPr>
              <p:grpSpPr>
                <a:xfrm>
                  <a:off x="4104329" y="3115333"/>
                  <a:ext cx="115010" cy="53353"/>
                  <a:chOff x="4104329" y="3115333"/>
                  <a:chExt cx="115010" cy="53353"/>
                </a:xfrm>
                <a:grpFill/>
              </p:grpSpPr>
              <p:sp>
                <p:nvSpPr>
                  <p:cNvPr id="8609" name="Vrije vorm: vorm 8608">
                    <a:extLst>
                      <a:ext uri="{FF2B5EF4-FFF2-40B4-BE49-F238E27FC236}">
                        <a16:creationId xmlns:a16="http://schemas.microsoft.com/office/drawing/2014/main" id="{8253376F-967F-4053-B2BD-49F660E311EE}"/>
                      </a:ext>
                    </a:extLst>
                  </p:cNvPr>
                  <p:cNvSpPr/>
                  <p:nvPr/>
                </p:nvSpPr>
                <p:spPr>
                  <a:xfrm>
                    <a:off x="4157339" y="3164141"/>
                    <a:ext cx="5741" cy="4545"/>
                  </a:xfrm>
                  <a:custGeom>
                    <a:avLst/>
                    <a:gdLst>
                      <a:gd name="connsiteX0" fmla="*/ 5742 w 5741"/>
                      <a:gd name="connsiteY0" fmla="*/ 4545 h 4545"/>
                      <a:gd name="connsiteX1" fmla="*/ 0 w 5741"/>
                      <a:gd name="connsiteY1" fmla="*/ 0 h 4545"/>
                    </a:gdLst>
                    <a:ahLst/>
                    <a:cxnLst>
                      <a:cxn ang="0">
                        <a:pos x="connsiteX0" y="connsiteY0"/>
                      </a:cxn>
                      <a:cxn ang="0">
                        <a:pos x="connsiteX1" y="connsiteY1"/>
                      </a:cxn>
                    </a:cxnLst>
                    <a:rect l="l" t="t" r="r" b="b"/>
                    <a:pathLst>
                      <a:path w="5741" h="4545">
                        <a:moveTo>
                          <a:pt x="5742" y="4545"/>
                        </a:moveTo>
                        <a:cubicBezTo>
                          <a:pt x="3349" y="2811"/>
                          <a:pt x="1495" y="1316"/>
                          <a:pt x="0" y="0"/>
                        </a:cubicBezTo>
                      </a:path>
                    </a:pathLst>
                  </a:custGeom>
                  <a:grpFill/>
                  <a:ln w="6350" cap="flat">
                    <a:solidFill>
                      <a:schemeClr val="bg1">
                        <a:alpha val="40000"/>
                      </a:schemeClr>
                    </a:solidFill>
                    <a:prstDash val="solid"/>
                    <a:miter/>
                  </a:ln>
                </p:spPr>
                <p:txBody>
                  <a:bodyPr rtlCol="0" anchor="ctr"/>
                  <a:lstStyle/>
                  <a:p>
                    <a:endParaRPr lang="en-GB"/>
                  </a:p>
                </p:txBody>
              </p:sp>
              <p:sp>
                <p:nvSpPr>
                  <p:cNvPr id="8610" name="Vrije vorm: vorm 8609">
                    <a:extLst>
                      <a:ext uri="{FF2B5EF4-FFF2-40B4-BE49-F238E27FC236}">
                        <a16:creationId xmlns:a16="http://schemas.microsoft.com/office/drawing/2014/main" id="{06AB9491-E911-45DC-964D-700A37CB0CAB}"/>
                      </a:ext>
                    </a:extLst>
                  </p:cNvPr>
                  <p:cNvSpPr/>
                  <p:nvPr/>
                </p:nvSpPr>
                <p:spPr>
                  <a:xfrm>
                    <a:off x="4104329" y="3115333"/>
                    <a:ext cx="109407" cy="47832"/>
                  </a:xfrm>
                  <a:custGeom>
                    <a:avLst/>
                    <a:gdLst>
                      <a:gd name="connsiteX0" fmla="*/ 40151 w 109407"/>
                      <a:gd name="connsiteY0" fmla="*/ 40734 h 47832"/>
                      <a:gd name="connsiteX1" fmla="*/ 36563 w 109407"/>
                      <a:gd name="connsiteY1" fmla="*/ 39598 h 47832"/>
                      <a:gd name="connsiteX2" fmla="*/ 5762 w 109407"/>
                      <a:gd name="connsiteY2" fmla="*/ 47552 h 47832"/>
                      <a:gd name="connsiteX3" fmla="*/ 798 w 109407"/>
                      <a:gd name="connsiteY3" fmla="*/ 35531 h 47832"/>
                      <a:gd name="connsiteX4" fmla="*/ 52830 w 109407"/>
                      <a:gd name="connsiteY4" fmla="*/ 484 h 47832"/>
                      <a:gd name="connsiteX5" fmla="*/ 109408 w 109407"/>
                      <a:gd name="connsiteY5" fmla="*/ 11728 h 4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407" h="47832">
                        <a:moveTo>
                          <a:pt x="40151" y="40734"/>
                        </a:moveTo>
                        <a:cubicBezTo>
                          <a:pt x="39075" y="40375"/>
                          <a:pt x="37879" y="40016"/>
                          <a:pt x="36563" y="39598"/>
                        </a:cubicBezTo>
                        <a:cubicBezTo>
                          <a:pt x="24123" y="36129"/>
                          <a:pt x="14135" y="49944"/>
                          <a:pt x="5762" y="47552"/>
                        </a:cubicBezTo>
                        <a:cubicBezTo>
                          <a:pt x="1396" y="46296"/>
                          <a:pt x="-1475" y="43665"/>
                          <a:pt x="798" y="35531"/>
                        </a:cubicBezTo>
                        <a:cubicBezTo>
                          <a:pt x="3071" y="27397"/>
                          <a:pt x="19279" y="3115"/>
                          <a:pt x="52830" y="484"/>
                        </a:cubicBezTo>
                        <a:cubicBezTo>
                          <a:pt x="76992" y="-1430"/>
                          <a:pt x="99300" y="2338"/>
                          <a:pt x="109408" y="11728"/>
                        </a:cubicBezTo>
                      </a:path>
                    </a:pathLst>
                  </a:custGeom>
                  <a:grpFill/>
                  <a:ln w="6350" cap="flat">
                    <a:solidFill>
                      <a:schemeClr val="bg1">
                        <a:alpha val="40000"/>
                      </a:schemeClr>
                    </a:solidFill>
                    <a:custDash>
                      <a:ds d="192188" sp="192188"/>
                    </a:custDash>
                    <a:miter/>
                  </a:ln>
                </p:spPr>
                <p:txBody>
                  <a:bodyPr rtlCol="0" anchor="ctr"/>
                  <a:lstStyle/>
                  <a:p>
                    <a:endParaRPr lang="en-GB"/>
                  </a:p>
                </p:txBody>
              </p:sp>
              <p:sp>
                <p:nvSpPr>
                  <p:cNvPr id="8611" name="Vrije vorm: vorm 8610">
                    <a:extLst>
                      <a:ext uri="{FF2B5EF4-FFF2-40B4-BE49-F238E27FC236}">
                        <a16:creationId xmlns:a16="http://schemas.microsoft.com/office/drawing/2014/main" id="{0D86CD19-D36D-475E-9944-7E7E93AAD20D}"/>
                      </a:ext>
                    </a:extLst>
                  </p:cNvPr>
                  <p:cNvSpPr/>
                  <p:nvPr/>
                </p:nvSpPr>
                <p:spPr>
                  <a:xfrm>
                    <a:off x="4218163" y="3133220"/>
                    <a:ext cx="1177" cy="7176"/>
                  </a:xfrm>
                  <a:custGeom>
                    <a:avLst/>
                    <a:gdLst>
                      <a:gd name="connsiteX0" fmla="*/ 0 w 1177"/>
                      <a:gd name="connsiteY0" fmla="*/ 0 h 7176"/>
                      <a:gd name="connsiteX1" fmla="*/ 1136 w 1177"/>
                      <a:gd name="connsiteY1" fmla="*/ 7177 h 7176"/>
                    </a:gdLst>
                    <a:ahLst/>
                    <a:cxnLst>
                      <a:cxn ang="0">
                        <a:pos x="connsiteX0" y="connsiteY0"/>
                      </a:cxn>
                      <a:cxn ang="0">
                        <a:pos x="connsiteX1" y="connsiteY1"/>
                      </a:cxn>
                    </a:cxnLst>
                    <a:rect l="l" t="t" r="r" b="b"/>
                    <a:pathLst>
                      <a:path w="1177" h="7176">
                        <a:moveTo>
                          <a:pt x="0" y="0"/>
                        </a:moveTo>
                        <a:cubicBezTo>
                          <a:pt x="897" y="2213"/>
                          <a:pt x="1316" y="4605"/>
                          <a:pt x="1136" y="7177"/>
                        </a:cubicBezTo>
                      </a:path>
                    </a:pathLst>
                  </a:custGeom>
                  <a:grpFill/>
                  <a:ln w="6350" cap="flat">
                    <a:solidFill>
                      <a:schemeClr val="bg1">
                        <a:alpha val="40000"/>
                      </a:schemeClr>
                    </a:solidFill>
                    <a:prstDash val="solid"/>
                    <a:miter/>
                  </a:ln>
                </p:spPr>
                <p:txBody>
                  <a:bodyPr rtlCol="0" anchor="ctr"/>
                  <a:lstStyle/>
                  <a:p>
                    <a:endParaRPr lang="en-GB"/>
                  </a:p>
                </p:txBody>
              </p:sp>
            </p:grpSp>
            <p:grpSp>
              <p:nvGrpSpPr>
                <p:cNvPr id="8604" name="Graphic 3">
                  <a:extLst>
                    <a:ext uri="{FF2B5EF4-FFF2-40B4-BE49-F238E27FC236}">
                      <a16:creationId xmlns:a16="http://schemas.microsoft.com/office/drawing/2014/main" id="{B2249CDF-C1EF-4E09-B9A6-27FB6C6A64B2}"/>
                    </a:ext>
                  </a:extLst>
                </p:cNvPr>
                <p:cNvGrpSpPr/>
                <p:nvPr/>
              </p:nvGrpSpPr>
              <p:grpSpPr>
                <a:xfrm>
                  <a:off x="4246751" y="3200743"/>
                  <a:ext cx="35264" cy="78048"/>
                  <a:chOff x="4246751" y="3200743"/>
                  <a:chExt cx="35264" cy="78048"/>
                </a:xfrm>
                <a:grpFill/>
              </p:grpSpPr>
              <p:sp>
                <p:nvSpPr>
                  <p:cNvPr id="8605" name="Vrije vorm: vorm 8604">
                    <a:extLst>
                      <a:ext uri="{FF2B5EF4-FFF2-40B4-BE49-F238E27FC236}">
                        <a16:creationId xmlns:a16="http://schemas.microsoft.com/office/drawing/2014/main" id="{30553584-638F-4982-9EA9-E46525F54B73}"/>
                      </a:ext>
                    </a:extLst>
                  </p:cNvPr>
                  <p:cNvSpPr/>
                  <p:nvPr/>
                </p:nvSpPr>
                <p:spPr>
                  <a:xfrm>
                    <a:off x="4249442" y="3200743"/>
                    <a:ext cx="7296" cy="4784"/>
                  </a:xfrm>
                  <a:custGeom>
                    <a:avLst/>
                    <a:gdLst>
                      <a:gd name="connsiteX0" fmla="*/ 7296 w 7296"/>
                      <a:gd name="connsiteY0" fmla="*/ 718 h 4784"/>
                      <a:gd name="connsiteX1" fmla="*/ 0 w 7296"/>
                      <a:gd name="connsiteY1" fmla="*/ 0 h 4784"/>
                      <a:gd name="connsiteX2" fmla="*/ 5323 w 7296"/>
                      <a:gd name="connsiteY2" fmla="*/ 4785 h 4784"/>
                    </a:gdLst>
                    <a:ahLst/>
                    <a:cxnLst>
                      <a:cxn ang="0">
                        <a:pos x="connsiteX0" y="connsiteY0"/>
                      </a:cxn>
                      <a:cxn ang="0">
                        <a:pos x="connsiteX1" y="connsiteY1"/>
                      </a:cxn>
                      <a:cxn ang="0">
                        <a:pos x="connsiteX2" y="connsiteY2"/>
                      </a:cxn>
                    </a:cxnLst>
                    <a:rect l="l" t="t" r="r" b="b"/>
                    <a:pathLst>
                      <a:path w="7296" h="4784">
                        <a:moveTo>
                          <a:pt x="7296" y="718"/>
                        </a:moveTo>
                        <a:cubicBezTo>
                          <a:pt x="2572" y="299"/>
                          <a:pt x="0" y="0"/>
                          <a:pt x="0" y="0"/>
                        </a:cubicBezTo>
                        <a:cubicBezTo>
                          <a:pt x="1854" y="359"/>
                          <a:pt x="3648" y="2033"/>
                          <a:pt x="5323" y="4785"/>
                        </a:cubicBezTo>
                      </a:path>
                    </a:pathLst>
                  </a:custGeom>
                  <a:grpFill/>
                  <a:ln w="6350" cap="flat">
                    <a:solidFill>
                      <a:schemeClr val="bg1">
                        <a:alpha val="40000"/>
                      </a:schemeClr>
                    </a:solidFill>
                    <a:prstDash val="solid"/>
                    <a:miter/>
                  </a:ln>
                </p:spPr>
                <p:txBody>
                  <a:bodyPr rtlCol="0" anchor="ctr"/>
                  <a:lstStyle/>
                  <a:p>
                    <a:endParaRPr lang="en-GB"/>
                  </a:p>
                </p:txBody>
              </p:sp>
              <p:sp>
                <p:nvSpPr>
                  <p:cNvPr id="8606" name="Vrije vorm: vorm 8605">
                    <a:extLst>
                      <a:ext uri="{FF2B5EF4-FFF2-40B4-BE49-F238E27FC236}">
                        <a16:creationId xmlns:a16="http://schemas.microsoft.com/office/drawing/2014/main" id="{919E0FF8-2E63-4B95-9C65-CDCCB549DABA}"/>
                      </a:ext>
                    </a:extLst>
                  </p:cNvPr>
                  <p:cNvSpPr/>
                  <p:nvPr/>
                </p:nvSpPr>
                <p:spPr>
                  <a:xfrm>
                    <a:off x="4258772" y="3218506"/>
                    <a:ext cx="4485" cy="47965"/>
                  </a:xfrm>
                  <a:custGeom>
                    <a:avLst/>
                    <a:gdLst>
                      <a:gd name="connsiteX0" fmla="*/ 1076 w 4485"/>
                      <a:gd name="connsiteY0" fmla="*/ 0 h 47965"/>
                      <a:gd name="connsiteX1" fmla="*/ 0 w 4485"/>
                      <a:gd name="connsiteY1" fmla="*/ 47965 h 47965"/>
                    </a:gdLst>
                    <a:ahLst/>
                    <a:cxnLst>
                      <a:cxn ang="0">
                        <a:pos x="connsiteX0" y="connsiteY0"/>
                      </a:cxn>
                      <a:cxn ang="0">
                        <a:pos x="connsiteX1" y="connsiteY1"/>
                      </a:cxn>
                    </a:cxnLst>
                    <a:rect l="l" t="t" r="r" b="b"/>
                    <a:pathLst>
                      <a:path w="4485" h="47965">
                        <a:moveTo>
                          <a:pt x="1076" y="0"/>
                        </a:moveTo>
                        <a:cubicBezTo>
                          <a:pt x="5263" y="15610"/>
                          <a:pt x="6340" y="37380"/>
                          <a:pt x="0" y="47965"/>
                        </a:cubicBezTo>
                      </a:path>
                    </a:pathLst>
                  </a:custGeom>
                  <a:grpFill/>
                  <a:ln w="6350" cap="flat">
                    <a:solidFill>
                      <a:schemeClr val="bg1">
                        <a:alpha val="40000"/>
                      </a:schemeClr>
                    </a:solidFill>
                    <a:custDash>
                      <a:ds d="175215" sp="175215"/>
                    </a:custDash>
                    <a:miter/>
                  </a:ln>
                </p:spPr>
                <p:txBody>
                  <a:bodyPr rtlCol="0" anchor="ctr"/>
                  <a:lstStyle/>
                  <a:p>
                    <a:endParaRPr lang="en-GB"/>
                  </a:p>
                </p:txBody>
              </p:sp>
              <p:sp>
                <p:nvSpPr>
                  <p:cNvPr id="8607" name="Vrije vorm: vorm 8606">
                    <a:extLst>
                      <a:ext uri="{FF2B5EF4-FFF2-40B4-BE49-F238E27FC236}">
                        <a16:creationId xmlns:a16="http://schemas.microsoft.com/office/drawing/2014/main" id="{3F9A9937-3851-4AAD-B04A-47F38A2C09BC}"/>
                      </a:ext>
                    </a:extLst>
                  </p:cNvPr>
                  <p:cNvSpPr/>
                  <p:nvPr/>
                </p:nvSpPr>
                <p:spPr>
                  <a:xfrm>
                    <a:off x="4246751" y="3271375"/>
                    <a:ext cx="7117" cy="3468"/>
                  </a:xfrm>
                  <a:custGeom>
                    <a:avLst/>
                    <a:gdLst>
                      <a:gd name="connsiteX0" fmla="*/ 7117 w 7117"/>
                      <a:gd name="connsiteY0" fmla="*/ 0 h 3468"/>
                      <a:gd name="connsiteX1" fmla="*/ 0 w 7117"/>
                      <a:gd name="connsiteY1" fmla="*/ 1196 h 3468"/>
                      <a:gd name="connsiteX2" fmla="*/ 6938 w 7117"/>
                      <a:gd name="connsiteY2" fmla="*/ 3469 h 3468"/>
                    </a:gdLst>
                    <a:ahLst/>
                    <a:cxnLst>
                      <a:cxn ang="0">
                        <a:pos x="connsiteX0" y="connsiteY0"/>
                      </a:cxn>
                      <a:cxn ang="0">
                        <a:pos x="connsiteX1" y="connsiteY1"/>
                      </a:cxn>
                      <a:cxn ang="0">
                        <a:pos x="connsiteX2" y="connsiteY2"/>
                      </a:cxn>
                    </a:cxnLst>
                    <a:rect l="l" t="t" r="r" b="b"/>
                    <a:pathLst>
                      <a:path w="7117" h="3468">
                        <a:moveTo>
                          <a:pt x="7117" y="0"/>
                        </a:moveTo>
                        <a:cubicBezTo>
                          <a:pt x="5143" y="1076"/>
                          <a:pt x="2751" y="1555"/>
                          <a:pt x="0" y="1196"/>
                        </a:cubicBezTo>
                        <a:lnTo>
                          <a:pt x="6938" y="3469"/>
                        </a:lnTo>
                      </a:path>
                    </a:pathLst>
                  </a:custGeom>
                  <a:grpFill/>
                  <a:ln w="6350" cap="flat">
                    <a:solidFill>
                      <a:schemeClr val="bg1">
                        <a:alpha val="40000"/>
                      </a:schemeClr>
                    </a:solidFill>
                    <a:prstDash val="solid"/>
                    <a:miter/>
                  </a:ln>
                </p:spPr>
                <p:txBody>
                  <a:bodyPr rtlCol="0" anchor="ctr"/>
                  <a:lstStyle/>
                  <a:p>
                    <a:endParaRPr lang="en-GB"/>
                  </a:p>
                </p:txBody>
              </p:sp>
              <p:sp>
                <p:nvSpPr>
                  <p:cNvPr id="8608" name="Vrije vorm: vorm 8607">
                    <a:extLst>
                      <a:ext uri="{FF2B5EF4-FFF2-40B4-BE49-F238E27FC236}">
                        <a16:creationId xmlns:a16="http://schemas.microsoft.com/office/drawing/2014/main" id="{7826FC63-F26C-4ADD-8243-E49D7E000A95}"/>
                      </a:ext>
                    </a:extLst>
                  </p:cNvPr>
                  <p:cNvSpPr/>
                  <p:nvPr/>
                </p:nvSpPr>
                <p:spPr>
                  <a:xfrm>
                    <a:off x="4264693" y="3202178"/>
                    <a:ext cx="17321" cy="76613"/>
                  </a:xfrm>
                  <a:custGeom>
                    <a:avLst/>
                    <a:gdLst>
                      <a:gd name="connsiteX0" fmla="*/ 4426 w 17321"/>
                      <a:gd name="connsiteY0" fmla="*/ 76613 h 76613"/>
                      <a:gd name="connsiteX1" fmla="*/ 2034 w 17321"/>
                      <a:gd name="connsiteY1" fmla="*/ 179 h 76613"/>
                      <a:gd name="connsiteX2" fmla="*/ 0 w 17321"/>
                      <a:gd name="connsiteY2" fmla="*/ 0 h 76613"/>
                    </a:gdLst>
                    <a:ahLst/>
                    <a:cxnLst>
                      <a:cxn ang="0">
                        <a:pos x="connsiteX0" y="connsiteY0"/>
                      </a:cxn>
                      <a:cxn ang="0">
                        <a:pos x="connsiteX1" y="connsiteY1"/>
                      </a:cxn>
                      <a:cxn ang="0">
                        <a:pos x="connsiteX2" y="connsiteY2"/>
                      </a:cxn>
                    </a:cxnLst>
                    <a:rect l="l" t="t" r="r" b="b"/>
                    <a:pathLst>
                      <a:path w="17321" h="76613">
                        <a:moveTo>
                          <a:pt x="4426" y="76613"/>
                        </a:moveTo>
                        <a:cubicBezTo>
                          <a:pt x="27033" y="73204"/>
                          <a:pt x="15789" y="1376"/>
                          <a:pt x="2034" y="179"/>
                        </a:cubicBezTo>
                        <a:cubicBezTo>
                          <a:pt x="1316" y="120"/>
                          <a:pt x="658" y="60"/>
                          <a:pt x="0" y="0"/>
                        </a:cubicBezTo>
                      </a:path>
                    </a:pathLst>
                  </a:custGeom>
                  <a:grpFill/>
                  <a:ln w="6350" cap="flat">
                    <a:solidFill>
                      <a:schemeClr val="bg1">
                        <a:alpha val="40000"/>
                      </a:schemeClr>
                    </a:solidFill>
                    <a:custDash>
                      <a:ds d="200895" sp="200895"/>
                    </a:custDash>
                    <a:miter/>
                  </a:ln>
                </p:spPr>
                <p:txBody>
                  <a:bodyPr rtlCol="0" anchor="ctr"/>
                  <a:lstStyle/>
                  <a:p>
                    <a:endParaRPr lang="en-GB"/>
                  </a:p>
                </p:txBody>
              </p:sp>
            </p:grpSp>
          </p:grpSp>
          <p:grpSp>
            <p:nvGrpSpPr>
              <p:cNvPr id="8497" name="Groep 8496">
                <a:extLst>
                  <a:ext uri="{FF2B5EF4-FFF2-40B4-BE49-F238E27FC236}">
                    <a16:creationId xmlns:a16="http://schemas.microsoft.com/office/drawing/2014/main" id="{A5B9A601-7761-4DA9-A38C-47156B01C9C6}"/>
                  </a:ext>
                </a:extLst>
              </p:cNvPr>
              <p:cNvGrpSpPr/>
              <p:nvPr/>
            </p:nvGrpSpPr>
            <p:grpSpPr>
              <a:xfrm>
                <a:off x="4139255" y="3403549"/>
                <a:ext cx="386395" cy="286716"/>
                <a:chOff x="4139255" y="3403549"/>
                <a:chExt cx="386395" cy="286716"/>
              </a:xfrm>
              <a:noFill/>
            </p:grpSpPr>
            <p:sp>
              <p:nvSpPr>
                <p:cNvPr id="8498" name="Vrije vorm: vorm 8497">
                  <a:extLst>
                    <a:ext uri="{FF2B5EF4-FFF2-40B4-BE49-F238E27FC236}">
                      <a16:creationId xmlns:a16="http://schemas.microsoft.com/office/drawing/2014/main" id="{BA9E4080-DC2D-4596-BBAF-E3FC61297EBE}"/>
                    </a:ext>
                  </a:extLst>
                </p:cNvPr>
                <p:cNvSpPr/>
                <p:nvPr/>
              </p:nvSpPr>
              <p:spPr>
                <a:xfrm>
                  <a:off x="4247648" y="3419352"/>
                  <a:ext cx="103511" cy="109552"/>
                </a:xfrm>
                <a:custGeom>
                  <a:avLst/>
                  <a:gdLst>
                    <a:gd name="connsiteX0" fmla="*/ 60285 w 103511"/>
                    <a:gd name="connsiteY0" fmla="*/ 109552 h 109552"/>
                    <a:gd name="connsiteX1" fmla="*/ 101672 w 103511"/>
                    <a:gd name="connsiteY1" fmla="*/ 30069 h 109552"/>
                    <a:gd name="connsiteX2" fmla="*/ 103407 w 103511"/>
                    <a:gd name="connsiteY2" fmla="*/ 18287 h 109552"/>
                    <a:gd name="connsiteX3" fmla="*/ 88993 w 103511"/>
                    <a:gd name="connsiteY3" fmla="*/ 105 h 109552"/>
                    <a:gd name="connsiteX4" fmla="*/ 70812 w 103511"/>
                    <a:gd name="connsiteY4" fmla="*/ 14519 h 109552"/>
                    <a:gd name="connsiteX5" fmla="*/ 0 w 103511"/>
                    <a:gd name="connsiteY5" fmla="*/ 108655 h 10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511" h="109552">
                      <a:moveTo>
                        <a:pt x="60285" y="109552"/>
                      </a:moveTo>
                      <a:cubicBezTo>
                        <a:pt x="61542" y="105904"/>
                        <a:pt x="86541" y="95318"/>
                        <a:pt x="101672" y="30069"/>
                      </a:cubicBezTo>
                      <a:cubicBezTo>
                        <a:pt x="102330" y="26241"/>
                        <a:pt x="102928" y="22354"/>
                        <a:pt x="103407" y="18287"/>
                      </a:cubicBezTo>
                      <a:cubicBezTo>
                        <a:pt x="104423" y="9316"/>
                        <a:pt x="97964" y="1182"/>
                        <a:pt x="88993" y="105"/>
                      </a:cubicBezTo>
                      <a:cubicBezTo>
                        <a:pt x="79962" y="-911"/>
                        <a:pt x="71829" y="5548"/>
                        <a:pt x="70812" y="14519"/>
                      </a:cubicBezTo>
                      <a:cubicBezTo>
                        <a:pt x="62139" y="90474"/>
                        <a:pt x="2512" y="107938"/>
                        <a:pt x="0" y="108655"/>
                      </a:cubicBezTo>
                    </a:path>
                  </a:pathLst>
                </a:custGeom>
                <a:grpFill/>
                <a:ln w="6350" cap="flat">
                  <a:solidFill>
                    <a:schemeClr val="bg1">
                      <a:alpha val="40000"/>
                    </a:schemeClr>
                  </a:solidFill>
                  <a:prstDash val="solid"/>
                  <a:miter/>
                </a:ln>
              </p:spPr>
              <p:txBody>
                <a:bodyPr rtlCol="0" anchor="ctr"/>
                <a:lstStyle/>
                <a:p>
                  <a:endParaRPr lang="en-GB"/>
                </a:p>
              </p:txBody>
            </p:sp>
            <p:sp>
              <p:nvSpPr>
                <p:cNvPr id="8499" name="Vrije vorm: vorm 8498">
                  <a:extLst>
                    <a:ext uri="{FF2B5EF4-FFF2-40B4-BE49-F238E27FC236}">
                      <a16:creationId xmlns:a16="http://schemas.microsoft.com/office/drawing/2014/main" id="{6BC065F2-E289-451A-A190-0B8BF18511D1}"/>
                    </a:ext>
                  </a:extLst>
                </p:cNvPr>
                <p:cNvSpPr/>
                <p:nvPr/>
              </p:nvSpPr>
              <p:spPr>
                <a:xfrm>
                  <a:off x="4370791" y="3433509"/>
                  <a:ext cx="106311" cy="147975"/>
                </a:xfrm>
                <a:custGeom>
                  <a:avLst/>
                  <a:gdLst>
                    <a:gd name="connsiteX0" fmla="*/ 44676 w 106311"/>
                    <a:gd name="connsiteY0" fmla="*/ 134330 h 147975"/>
                    <a:gd name="connsiteX1" fmla="*/ 32834 w 106311"/>
                    <a:gd name="connsiteY1" fmla="*/ 58674 h 147975"/>
                    <a:gd name="connsiteX2" fmla="*/ 71888 w 106311"/>
                    <a:gd name="connsiteY2" fmla="*/ 137381 h 147975"/>
                    <a:gd name="connsiteX3" fmla="*/ 95751 w 106311"/>
                    <a:gd name="connsiteY3" fmla="*/ 146352 h 147975"/>
                    <a:gd name="connsiteX4" fmla="*/ 106038 w 106311"/>
                    <a:gd name="connsiteY4" fmla="*/ 133075 h 147975"/>
                    <a:gd name="connsiteX5" fmla="*/ 104723 w 106311"/>
                    <a:gd name="connsiteY5" fmla="*/ 122429 h 147975"/>
                    <a:gd name="connsiteX6" fmla="*/ 57535 w 106311"/>
                    <a:gd name="connsiteY6" fmla="*/ 29787 h 147975"/>
                    <a:gd name="connsiteX7" fmla="*/ 0 w 106311"/>
                    <a:gd name="connsiteY7" fmla="*/ 8675 h 14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311" h="147975">
                      <a:moveTo>
                        <a:pt x="44676" y="134330"/>
                      </a:moveTo>
                      <a:cubicBezTo>
                        <a:pt x="39413" y="109092"/>
                        <a:pt x="34868" y="80205"/>
                        <a:pt x="32834" y="58674"/>
                      </a:cubicBezTo>
                      <a:cubicBezTo>
                        <a:pt x="41566" y="73865"/>
                        <a:pt x="54185" y="98267"/>
                        <a:pt x="71888" y="137381"/>
                      </a:cubicBezTo>
                      <a:cubicBezTo>
                        <a:pt x="76015" y="146471"/>
                        <a:pt x="86661" y="150478"/>
                        <a:pt x="95751" y="146352"/>
                      </a:cubicBezTo>
                      <a:cubicBezTo>
                        <a:pt x="101373" y="143780"/>
                        <a:pt x="105021" y="138756"/>
                        <a:pt x="106038" y="133075"/>
                      </a:cubicBezTo>
                      <a:cubicBezTo>
                        <a:pt x="106636" y="129606"/>
                        <a:pt x="106278" y="125898"/>
                        <a:pt x="104723" y="122429"/>
                      </a:cubicBezTo>
                      <a:cubicBezTo>
                        <a:pt x="85584" y="80205"/>
                        <a:pt x="69735" y="49045"/>
                        <a:pt x="57535" y="29787"/>
                      </a:cubicBezTo>
                      <a:cubicBezTo>
                        <a:pt x="49521" y="17168"/>
                        <a:pt x="27811" y="-15487"/>
                        <a:pt x="0" y="8675"/>
                      </a:cubicBezTo>
                    </a:path>
                  </a:pathLst>
                </a:custGeom>
                <a:grpFill/>
                <a:ln w="6350" cap="flat">
                  <a:solidFill>
                    <a:schemeClr val="bg1">
                      <a:alpha val="40000"/>
                    </a:schemeClr>
                  </a:solidFill>
                  <a:prstDash val="solid"/>
                  <a:miter/>
                </a:ln>
              </p:spPr>
              <p:txBody>
                <a:bodyPr rtlCol="0" anchor="ctr"/>
                <a:lstStyle/>
                <a:p>
                  <a:endParaRPr lang="en-GB"/>
                </a:p>
              </p:txBody>
            </p:sp>
            <p:sp>
              <p:nvSpPr>
                <p:cNvPr id="8500" name="Vrije vorm: vorm 8499">
                  <a:extLst>
                    <a:ext uri="{FF2B5EF4-FFF2-40B4-BE49-F238E27FC236}">
                      <a16:creationId xmlns:a16="http://schemas.microsoft.com/office/drawing/2014/main" id="{8B6CD943-05C3-4209-8B48-43ECD5FF9C31}"/>
                    </a:ext>
                  </a:extLst>
                </p:cNvPr>
                <p:cNvSpPr/>
                <p:nvPr/>
              </p:nvSpPr>
              <p:spPr>
                <a:xfrm>
                  <a:off x="4451694" y="3560108"/>
                  <a:ext cx="30541" cy="37591"/>
                </a:xfrm>
                <a:custGeom>
                  <a:avLst/>
                  <a:gdLst>
                    <a:gd name="connsiteX0" fmla="*/ 30398 w 30541"/>
                    <a:gd name="connsiteY0" fmla="*/ 27647 h 37591"/>
                    <a:gd name="connsiteX1" fmla="*/ 23879 w 30541"/>
                    <a:gd name="connsiteY1" fmla="*/ 36379 h 37591"/>
                    <a:gd name="connsiteX2" fmla="*/ 7970 w 30541"/>
                    <a:gd name="connsiteY2" fmla="*/ 30936 h 37591"/>
                    <a:gd name="connsiteX3" fmla="*/ 1212 w 30541"/>
                    <a:gd name="connsiteY3" fmla="*/ 17121 h 37591"/>
                    <a:gd name="connsiteX4" fmla="*/ 6655 w 30541"/>
                    <a:gd name="connsiteY4" fmla="*/ 1212 h 37591"/>
                    <a:gd name="connsiteX5" fmla="*/ 22563 w 30541"/>
                    <a:gd name="connsiteY5" fmla="*/ 6655 h 37591"/>
                    <a:gd name="connsiteX6" fmla="*/ 29321 w 30541"/>
                    <a:gd name="connsiteY6" fmla="*/ 20470 h 37591"/>
                    <a:gd name="connsiteX7" fmla="*/ 30398 w 30541"/>
                    <a:gd name="connsiteY7" fmla="*/ 27647 h 3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41" h="37591">
                      <a:moveTo>
                        <a:pt x="30398" y="27647"/>
                      </a:moveTo>
                      <a:cubicBezTo>
                        <a:pt x="29800" y="31295"/>
                        <a:pt x="27467" y="34585"/>
                        <a:pt x="23879" y="36379"/>
                      </a:cubicBezTo>
                      <a:cubicBezTo>
                        <a:pt x="17958" y="39250"/>
                        <a:pt x="10841" y="36857"/>
                        <a:pt x="7970" y="30936"/>
                      </a:cubicBezTo>
                      <a:lnTo>
                        <a:pt x="1212" y="17121"/>
                      </a:lnTo>
                      <a:cubicBezTo>
                        <a:pt x="-1659" y="11200"/>
                        <a:pt x="734" y="4083"/>
                        <a:pt x="6655" y="1212"/>
                      </a:cubicBezTo>
                      <a:cubicBezTo>
                        <a:pt x="12575" y="-1659"/>
                        <a:pt x="19693" y="734"/>
                        <a:pt x="22563" y="6655"/>
                      </a:cubicBezTo>
                      <a:lnTo>
                        <a:pt x="29321" y="20470"/>
                      </a:lnTo>
                      <a:cubicBezTo>
                        <a:pt x="30458" y="22803"/>
                        <a:pt x="30757" y="25315"/>
                        <a:pt x="30398" y="2764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01" name="Vrije vorm: vorm 8500">
                  <a:extLst>
                    <a:ext uri="{FF2B5EF4-FFF2-40B4-BE49-F238E27FC236}">
                      <a16:creationId xmlns:a16="http://schemas.microsoft.com/office/drawing/2014/main" id="{D8E1FDD7-514C-4A1C-B724-39E8D345EF87}"/>
                    </a:ext>
                  </a:extLst>
                </p:cNvPr>
                <p:cNvSpPr/>
                <p:nvPr/>
              </p:nvSpPr>
              <p:spPr>
                <a:xfrm>
                  <a:off x="4452995" y="3564334"/>
                  <a:ext cx="69058" cy="58329"/>
                </a:xfrm>
                <a:custGeom>
                  <a:avLst/>
                  <a:gdLst>
                    <a:gd name="connsiteX0" fmla="*/ 64921 w 69058"/>
                    <a:gd name="connsiteY0" fmla="*/ 24797 h 58329"/>
                    <a:gd name="connsiteX1" fmla="*/ 43510 w 69058"/>
                    <a:gd name="connsiteY1" fmla="*/ 44294 h 58329"/>
                    <a:gd name="connsiteX2" fmla="*/ 8941 w 69058"/>
                    <a:gd name="connsiteY2" fmla="*/ 55358 h 58329"/>
                    <a:gd name="connsiteX3" fmla="*/ 8941 w 69058"/>
                    <a:gd name="connsiteY3" fmla="*/ 55358 h 58329"/>
                    <a:gd name="connsiteX4" fmla="*/ 5712 w 69058"/>
                    <a:gd name="connsiteY4" fmla="*/ 21926 h 58329"/>
                    <a:gd name="connsiteX5" fmla="*/ 38845 w 69058"/>
                    <a:gd name="connsiteY5" fmla="*/ 1173 h 58329"/>
                    <a:gd name="connsiteX6" fmla="*/ 64921 w 69058"/>
                    <a:gd name="connsiteY6" fmla="*/ 24797 h 5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58" h="58329">
                      <a:moveTo>
                        <a:pt x="64921" y="24797"/>
                      </a:moveTo>
                      <a:lnTo>
                        <a:pt x="43510" y="44294"/>
                      </a:lnTo>
                      <a:cubicBezTo>
                        <a:pt x="36273" y="53983"/>
                        <a:pt x="18152" y="63253"/>
                        <a:pt x="8941" y="55358"/>
                      </a:cubicBezTo>
                      <a:lnTo>
                        <a:pt x="8941" y="55358"/>
                      </a:lnTo>
                      <a:cubicBezTo>
                        <a:pt x="-628" y="47105"/>
                        <a:pt x="-3738" y="30299"/>
                        <a:pt x="5712" y="21926"/>
                      </a:cubicBezTo>
                      <a:lnTo>
                        <a:pt x="38845" y="1173"/>
                      </a:lnTo>
                      <a:cubicBezTo>
                        <a:pt x="59120" y="-3851"/>
                        <a:pt x="77541" y="7871"/>
                        <a:pt x="64921" y="2479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02" name="Vrije vorm: vorm 8501">
                  <a:extLst>
                    <a:ext uri="{FF2B5EF4-FFF2-40B4-BE49-F238E27FC236}">
                      <a16:creationId xmlns:a16="http://schemas.microsoft.com/office/drawing/2014/main" id="{26002886-54C3-497F-ACC2-7F30BEFE9B1D}"/>
                    </a:ext>
                  </a:extLst>
                </p:cNvPr>
                <p:cNvSpPr/>
                <p:nvPr/>
              </p:nvSpPr>
              <p:spPr>
                <a:xfrm>
                  <a:off x="4459203" y="3570364"/>
                  <a:ext cx="63337" cy="55274"/>
                </a:xfrm>
                <a:custGeom>
                  <a:avLst/>
                  <a:gdLst>
                    <a:gd name="connsiteX0" fmla="*/ 59611 w 63337"/>
                    <a:gd name="connsiteY0" fmla="*/ 19485 h 55274"/>
                    <a:gd name="connsiteX1" fmla="*/ 39576 w 63337"/>
                    <a:gd name="connsiteY1" fmla="*/ 46338 h 55274"/>
                    <a:gd name="connsiteX2" fmla="*/ 4888 w 63337"/>
                    <a:gd name="connsiteY2" fmla="*/ 55250 h 55274"/>
                    <a:gd name="connsiteX3" fmla="*/ 7937 w 63337"/>
                    <a:gd name="connsiteY3" fmla="*/ 29293 h 55274"/>
                    <a:gd name="connsiteX4" fmla="*/ 33057 w 63337"/>
                    <a:gd name="connsiteY4" fmla="*/ 6925 h 55274"/>
                    <a:gd name="connsiteX5" fmla="*/ 59611 w 63337"/>
                    <a:gd name="connsiteY5" fmla="*/ 19485 h 5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37" h="55274">
                      <a:moveTo>
                        <a:pt x="59611" y="19485"/>
                      </a:moveTo>
                      <a:lnTo>
                        <a:pt x="39576" y="46338"/>
                      </a:lnTo>
                      <a:cubicBezTo>
                        <a:pt x="32220" y="56207"/>
                        <a:pt x="4888" y="55250"/>
                        <a:pt x="4888" y="55250"/>
                      </a:cubicBezTo>
                      <a:cubicBezTo>
                        <a:pt x="3751" y="53515"/>
                        <a:pt x="-7194" y="41673"/>
                        <a:pt x="7937" y="29293"/>
                      </a:cubicBezTo>
                      <a:lnTo>
                        <a:pt x="33057" y="6925"/>
                      </a:lnTo>
                      <a:cubicBezTo>
                        <a:pt x="49205" y="-7368"/>
                        <a:pt x="72470" y="2260"/>
                        <a:pt x="59611" y="1948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03" name="Vrije vorm: vorm 8502">
                  <a:extLst>
                    <a:ext uri="{FF2B5EF4-FFF2-40B4-BE49-F238E27FC236}">
                      <a16:creationId xmlns:a16="http://schemas.microsoft.com/office/drawing/2014/main" id="{56776A88-4556-4235-A1BE-B6C5214CF81B}"/>
                    </a:ext>
                  </a:extLst>
                </p:cNvPr>
                <p:cNvSpPr/>
                <p:nvPr/>
              </p:nvSpPr>
              <p:spPr>
                <a:xfrm>
                  <a:off x="4462450" y="3574789"/>
                  <a:ext cx="63200" cy="56852"/>
                </a:xfrm>
                <a:custGeom>
                  <a:avLst/>
                  <a:gdLst>
                    <a:gd name="connsiteX0" fmla="*/ 59474 w 63200"/>
                    <a:gd name="connsiteY0" fmla="*/ 19485 h 56852"/>
                    <a:gd name="connsiteX1" fmla="*/ 39439 w 63200"/>
                    <a:gd name="connsiteY1" fmla="*/ 46338 h 56852"/>
                    <a:gd name="connsiteX2" fmla="*/ 6305 w 63200"/>
                    <a:gd name="connsiteY2" fmla="*/ 54472 h 56852"/>
                    <a:gd name="connsiteX3" fmla="*/ 7800 w 63200"/>
                    <a:gd name="connsiteY3" fmla="*/ 29293 h 56852"/>
                    <a:gd name="connsiteX4" fmla="*/ 32919 w 63200"/>
                    <a:gd name="connsiteY4" fmla="*/ 6925 h 56852"/>
                    <a:gd name="connsiteX5" fmla="*/ 59474 w 63200"/>
                    <a:gd name="connsiteY5" fmla="*/ 19485 h 56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00" h="56852">
                      <a:moveTo>
                        <a:pt x="59474" y="19485"/>
                      </a:moveTo>
                      <a:lnTo>
                        <a:pt x="39439" y="46338"/>
                      </a:lnTo>
                      <a:cubicBezTo>
                        <a:pt x="32082" y="56207"/>
                        <a:pt x="20420" y="59616"/>
                        <a:pt x="6305" y="54472"/>
                      </a:cubicBezTo>
                      <a:cubicBezTo>
                        <a:pt x="-2845" y="51123"/>
                        <a:pt x="-1769" y="37846"/>
                        <a:pt x="7800" y="29293"/>
                      </a:cubicBezTo>
                      <a:lnTo>
                        <a:pt x="32919" y="6925"/>
                      </a:lnTo>
                      <a:cubicBezTo>
                        <a:pt x="49068" y="-7369"/>
                        <a:pt x="72333" y="2260"/>
                        <a:pt x="59474" y="1948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04" name="Vrije vorm: vorm 8503">
                  <a:extLst>
                    <a:ext uri="{FF2B5EF4-FFF2-40B4-BE49-F238E27FC236}">
                      <a16:creationId xmlns:a16="http://schemas.microsoft.com/office/drawing/2014/main" id="{8E1381D1-44B4-4FA2-96A6-3F38170AC219}"/>
                    </a:ext>
                  </a:extLst>
                </p:cNvPr>
                <p:cNvSpPr/>
                <p:nvPr/>
              </p:nvSpPr>
              <p:spPr>
                <a:xfrm>
                  <a:off x="4429036" y="3426619"/>
                  <a:ext cx="59314" cy="63483"/>
                </a:xfrm>
                <a:custGeom>
                  <a:avLst/>
                  <a:gdLst>
                    <a:gd name="connsiteX0" fmla="*/ 55448 w 59314"/>
                    <a:gd name="connsiteY0" fmla="*/ 25194 h 63483"/>
                    <a:gd name="connsiteX1" fmla="*/ 42470 w 59314"/>
                    <a:gd name="connsiteY1" fmla="*/ 45768 h 63483"/>
                    <a:gd name="connsiteX2" fmla="*/ 3595 w 59314"/>
                    <a:gd name="connsiteY2" fmla="*/ 52885 h 63483"/>
                    <a:gd name="connsiteX3" fmla="*/ 10533 w 59314"/>
                    <a:gd name="connsiteY3" fmla="*/ 22922 h 63483"/>
                    <a:gd name="connsiteX4" fmla="*/ 30269 w 59314"/>
                    <a:gd name="connsiteY4" fmla="*/ 5398 h 63483"/>
                    <a:gd name="connsiteX5" fmla="*/ 55448 w 59314"/>
                    <a:gd name="connsiteY5" fmla="*/ 25194 h 6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14" h="63483">
                      <a:moveTo>
                        <a:pt x="55448" y="25194"/>
                      </a:moveTo>
                      <a:lnTo>
                        <a:pt x="42470" y="45768"/>
                      </a:lnTo>
                      <a:cubicBezTo>
                        <a:pt x="28236" y="68973"/>
                        <a:pt x="9935" y="67239"/>
                        <a:pt x="3595" y="52885"/>
                      </a:cubicBezTo>
                      <a:cubicBezTo>
                        <a:pt x="-292" y="43974"/>
                        <a:pt x="-4299" y="37634"/>
                        <a:pt x="10533" y="22922"/>
                      </a:cubicBezTo>
                      <a:lnTo>
                        <a:pt x="30269" y="5398"/>
                      </a:lnTo>
                      <a:cubicBezTo>
                        <a:pt x="46298" y="-8956"/>
                        <a:pt x="68307" y="7970"/>
                        <a:pt x="55448" y="2519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05" name="Vrije vorm: vorm 8504">
                  <a:extLst>
                    <a:ext uri="{FF2B5EF4-FFF2-40B4-BE49-F238E27FC236}">
                      <a16:creationId xmlns:a16="http://schemas.microsoft.com/office/drawing/2014/main" id="{DFA67C56-2BB4-4BE0-9934-AE27B20C83DB}"/>
                    </a:ext>
                  </a:extLst>
                </p:cNvPr>
                <p:cNvSpPr/>
                <p:nvPr/>
              </p:nvSpPr>
              <p:spPr>
                <a:xfrm>
                  <a:off x="4430412" y="3433676"/>
                  <a:ext cx="59320" cy="63483"/>
                </a:xfrm>
                <a:custGeom>
                  <a:avLst/>
                  <a:gdLst>
                    <a:gd name="connsiteX0" fmla="*/ 55448 w 59320"/>
                    <a:gd name="connsiteY0" fmla="*/ 25194 h 63483"/>
                    <a:gd name="connsiteX1" fmla="*/ 42470 w 59320"/>
                    <a:gd name="connsiteY1" fmla="*/ 45768 h 63483"/>
                    <a:gd name="connsiteX2" fmla="*/ 3595 w 59320"/>
                    <a:gd name="connsiteY2" fmla="*/ 52885 h 63483"/>
                    <a:gd name="connsiteX3" fmla="*/ 10533 w 59320"/>
                    <a:gd name="connsiteY3" fmla="*/ 22922 h 63483"/>
                    <a:gd name="connsiteX4" fmla="*/ 30269 w 59320"/>
                    <a:gd name="connsiteY4" fmla="*/ 5398 h 63483"/>
                    <a:gd name="connsiteX5" fmla="*/ 55448 w 59320"/>
                    <a:gd name="connsiteY5" fmla="*/ 25194 h 6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20" h="63483">
                      <a:moveTo>
                        <a:pt x="55448" y="25194"/>
                      </a:moveTo>
                      <a:lnTo>
                        <a:pt x="42470" y="45768"/>
                      </a:lnTo>
                      <a:cubicBezTo>
                        <a:pt x="28236" y="68973"/>
                        <a:pt x="9935" y="67239"/>
                        <a:pt x="3595" y="52885"/>
                      </a:cubicBezTo>
                      <a:cubicBezTo>
                        <a:pt x="-292" y="43974"/>
                        <a:pt x="-4299" y="37634"/>
                        <a:pt x="10533" y="22922"/>
                      </a:cubicBezTo>
                      <a:lnTo>
                        <a:pt x="30269" y="5398"/>
                      </a:lnTo>
                      <a:cubicBezTo>
                        <a:pt x="46357" y="-8956"/>
                        <a:pt x="68307" y="7970"/>
                        <a:pt x="55448" y="2519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06" name="Vrije vorm: vorm 8505">
                  <a:extLst>
                    <a:ext uri="{FF2B5EF4-FFF2-40B4-BE49-F238E27FC236}">
                      <a16:creationId xmlns:a16="http://schemas.microsoft.com/office/drawing/2014/main" id="{D4F11915-5FE6-4D4A-9D77-B0B1757895D4}"/>
                    </a:ext>
                  </a:extLst>
                </p:cNvPr>
                <p:cNvSpPr/>
                <p:nvPr/>
              </p:nvSpPr>
              <p:spPr>
                <a:xfrm>
                  <a:off x="4228868" y="3522016"/>
                  <a:ext cx="197241" cy="118209"/>
                </a:xfrm>
                <a:custGeom>
                  <a:avLst/>
                  <a:gdLst>
                    <a:gd name="connsiteX0" fmla="*/ 0 w 197241"/>
                    <a:gd name="connsiteY0" fmla="*/ 48754 h 118209"/>
                    <a:gd name="connsiteX1" fmla="*/ 43121 w 197241"/>
                    <a:gd name="connsiteY1" fmla="*/ 95104 h 118209"/>
                    <a:gd name="connsiteX2" fmla="*/ 169972 w 197241"/>
                    <a:gd name="connsiteY2" fmla="*/ 117652 h 118209"/>
                    <a:gd name="connsiteX3" fmla="*/ 168118 w 197241"/>
                    <a:gd name="connsiteY3" fmla="*/ 23276 h 118209"/>
                    <a:gd name="connsiteX4" fmla="*/ 44138 w 197241"/>
                    <a:gd name="connsiteY4" fmla="*/ 549 h 118209"/>
                    <a:gd name="connsiteX5" fmla="*/ 10287 w 197241"/>
                    <a:gd name="connsiteY5" fmla="*/ 14783 h 118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241" h="118209">
                      <a:moveTo>
                        <a:pt x="0" y="48754"/>
                      </a:moveTo>
                      <a:cubicBezTo>
                        <a:pt x="778" y="69327"/>
                        <a:pt x="13337" y="89782"/>
                        <a:pt x="43121" y="95104"/>
                      </a:cubicBezTo>
                      <a:cubicBezTo>
                        <a:pt x="43121" y="95104"/>
                        <a:pt x="120093" y="108800"/>
                        <a:pt x="169972" y="117652"/>
                      </a:cubicBezTo>
                      <a:cubicBezTo>
                        <a:pt x="219851" y="126503"/>
                        <a:pt x="190247" y="27223"/>
                        <a:pt x="168118" y="23276"/>
                      </a:cubicBezTo>
                      <a:cubicBezTo>
                        <a:pt x="145989" y="19329"/>
                        <a:pt x="77151" y="6410"/>
                        <a:pt x="44138" y="549"/>
                      </a:cubicBezTo>
                      <a:cubicBezTo>
                        <a:pt x="29963" y="-1963"/>
                        <a:pt x="18121" y="4377"/>
                        <a:pt x="10287" y="14783"/>
                      </a:cubicBezTo>
                    </a:path>
                  </a:pathLst>
                </a:custGeom>
                <a:grpFill/>
                <a:ln w="6350" cap="flat">
                  <a:solidFill>
                    <a:schemeClr val="bg1">
                      <a:alpha val="40000"/>
                    </a:schemeClr>
                  </a:solidFill>
                  <a:prstDash val="solid"/>
                  <a:miter/>
                </a:ln>
              </p:spPr>
              <p:txBody>
                <a:bodyPr rtlCol="0" anchor="ctr"/>
                <a:lstStyle/>
                <a:p>
                  <a:endParaRPr lang="en-GB"/>
                </a:p>
              </p:txBody>
            </p:sp>
            <p:sp>
              <p:nvSpPr>
                <p:cNvPr id="8507" name="Vrije vorm: vorm 8506">
                  <a:extLst>
                    <a:ext uri="{FF2B5EF4-FFF2-40B4-BE49-F238E27FC236}">
                      <a16:creationId xmlns:a16="http://schemas.microsoft.com/office/drawing/2014/main" id="{EE5272AC-3D99-49BF-8E5A-FDE00C206D38}"/>
                    </a:ext>
                  </a:extLst>
                </p:cNvPr>
                <p:cNvSpPr/>
                <p:nvPr/>
              </p:nvSpPr>
              <p:spPr>
                <a:xfrm>
                  <a:off x="4309847" y="3403549"/>
                  <a:ext cx="59867" cy="65070"/>
                </a:xfrm>
                <a:custGeom>
                  <a:avLst/>
                  <a:gdLst>
                    <a:gd name="connsiteX0" fmla="*/ 0 w 59867"/>
                    <a:gd name="connsiteY0" fmla="*/ 0 h 65070"/>
                    <a:gd name="connsiteX1" fmla="*/ 44796 w 59867"/>
                    <a:gd name="connsiteY1" fmla="*/ 23026 h 65070"/>
                    <a:gd name="connsiteX2" fmla="*/ 59867 w 59867"/>
                    <a:gd name="connsiteY2" fmla="*/ 65070 h 65070"/>
                    <a:gd name="connsiteX3" fmla="*/ 14773 w 59867"/>
                    <a:gd name="connsiteY3" fmla="*/ 41088 h 65070"/>
                  </a:gdLst>
                  <a:ahLst/>
                  <a:cxnLst>
                    <a:cxn ang="0">
                      <a:pos x="connsiteX0" y="connsiteY0"/>
                    </a:cxn>
                    <a:cxn ang="0">
                      <a:pos x="connsiteX1" y="connsiteY1"/>
                    </a:cxn>
                    <a:cxn ang="0">
                      <a:pos x="connsiteX2" y="connsiteY2"/>
                    </a:cxn>
                    <a:cxn ang="0">
                      <a:pos x="connsiteX3" y="connsiteY3"/>
                    </a:cxn>
                  </a:cxnLst>
                  <a:rect l="l" t="t" r="r" b="b"/>
                  <a:pathLst>
                    <a:path w="59867" h="65070">
                      <a:moveTo>
                        <a:pt x="0" y="0"/>
                      </a:moveTo>
                      <a:lnTo>
                        <a:pt x="44796" y="23026"/>
                      </a:lnTo>
                      <a:lnTo>
                        <a:pt x="59867" y="65070"/>
                      </a:lnTo>
                      <a:lnTo>
                        <a:pt x="14773" y="41088"/>
                      </a:lnTo>
                      <a:close/>
                    </a:path>
                  </a:pathLst>
                </a:custGeom>
                <a:grpFill/>
                <a:ln w="6350" cap="flat">
                  <a:solidFill>
                    <a:schemeClr val="bg1">
                      <a:alpha val="40000"/>
                    </a:schemeClr>
                  </a:solidFill>
                  <a:prstDash val="solid"/>
                  <a:miter/>
                </a:ln>
              </p:spPr>
              <p:txBody>
                <a:bodyPr rtlCol="0" anchor="ctr"/>
                <a:lstStyle/>
                <a:p>
                  <a:endParaRPr lang="en-GB"/>
                </a:p>
              </p:txBody>
            </p:sp>
            <p:sp>
              <p:nvSpPr>
                <p:cNvPr id="8508" name="Vrije vorm: vorm 8507">
                  <a:extLst>
                    <a:ext uri="{FF2B5EF4-FFF2-40B4-BE49-F238E27FC236}">
                      <a16:creationId xmlns:a16="http://schemas.microsoft.com/office/drawing/2014/main" id="{122B9796-F226-4D3C-9FDF-C81E3DF93AA0}"/>
                    </a:ext>
                  </a:extLst>
                </p:cNvPr>
                <p:cNvSpPr/>
                <p:nvPr/>
              </p:nvSpPr>
              <p:spPr>
                <a:xfrm>
                  <a:off x="4301116" y="3403549"/>
                  <a:ext cx="23504" cy="51434"/>
                </a:xfrm>
                <a:custGeom>
                  <a:avLst/>
                  <a:gdLst>
                    <a:gd name="connsiteX0" fmla="*/ 0 w 23504"/>
                    <a:gd name="connsiteY0" fmla="*/ 10347 h 51434"/>
                    <a:gd name="connsiteX1" fmla="*/ 8732 w 23504"/>
                    <a:gd name="connsiteY1" fmla="*/ 0 h 51434"/>
                    <a:gd name="connsiteX2" fmla="*/ 23504 w 23504"/>
                    <a:gd name="connsiteY2" fmla="*/ 41088 h 51434"/>
                    <a:gd name="connsiteX3" fmla="*/ 14772 w 23504"/>
                    <a:gd name="connsiteY3" fmla="*/ 51434 h 51434"/>
                  </a:gdLst>
                  <a:ahLst/>
                  <a:cxnLst>
                    <a:cxn ang="0">
                      <a:pos x="connsiteX0" y="connsiteY0"/>
                    </a:cxn>
                    <a:cxn ang="0">
                      <a:pos x="connsiteX1" y="connsiteY1"/>
                    </a:cxn>
                    <a:cxn ang="0">
                      <a:pos x="connsiteX2" y="connsiteY2"/>
                    </a:cxn>
                    <a:cxn ang="0">
                      <a:pos x="connsiteX3" y="connsiteY3"/>
                    </a:cxn>
                  </a:cxnLst>
                  <a:rect l="l" t="t" r="r" b="b"/>
                  <a:pathLst>
                    <a:path w="23504" h="51434">
                      <a:moveTo>
                        <a:pt x="0" y="10347"/>
                      </a:moveTo>
                      <a:lnTo>
                        <a:pt x="8732" y="0"/>
                      </a:lnTo>
                      <a:lnTo>
                        <a:pt x="23504" y="41088"/>
                      </a:lnTo>
                      <a:lnTo>
                        <a:pt x="14772" y="51434"/>
                      </a:lnTo>
                      <a:close/>
                    </a:path>
                  </a:pathLst>
                </a:custGeom>
                <a:grpFill/>
                <a:ln w="6350" cap="flat">
                  <a:solidFill>
                    <a:schemeClr val="bg1">
                      <a:alpha val="40000"/>
                    </a:schemeClr>
                  </a:solidFill>
                  <a:prstDash val="solid"/>
                  <a:miter/>
                </a:ln>
              </p:spPr>
              <p:txBody>
                <a:bodyPr rtlCol="0" anchor="ctr"/>
                <a:lstStyle/>
                <a:p>
                  <a:endParaRPr lang="en-GB"/>
                </a:p>
              </p:txBody>
            </p:sp>
            <p:sp>
              <p:nvSpPr>
                <p:cNvPr id="8509" name="Vrije vorm: vorm 8508">
                  <a:extLst>
                    <a:ext uri="{FF2B5EF4-FFF2-40B4-BE49-F238E27FC236}">
                      <a16:creationId xmlns:a16="http://schemas.microsoft.com/office/drawing/2014/main" id="{FC4C55DB-13C8-4C8A-9551-C1C7D7F4D1BF}"/>
                    </a:ext>
                  </a:extLst>
                </p:cNvPr>
                <p:cNvSpPr/>
                <p:nvPr/>
              </p:nvSpPr>
              <p:spPr>
                <a:xfrm>
                  <a:off x="4315888" y="3444637"/>
                  <a:ext cx="53826" cy="34329"/>
                </a:xfrm>
                <a:custGeom>
                  <a:avLst/>
                  <a:gdLst>
                    <a:gd name="connsiteX0" fmla="*/ 0 w 53826"/>
                    <a:gd name="connsiteY0" fmla="*/ 10347 h 34329"/>
                    <a:gd name="connsiteX1" fmla="*/ 8732 w 53826"/>
                    <a:gd name="connsiteY1" fmla="*/ 0 h 34329"/>
                    <a:gd name="connsiteX2" fmla="*/ 53827 w 53826"/>
                    <a:gd name="connsiteY2" fmla="*/ 23983 h 34329"/>
                    <a:gd name="connsiteX3" fmla="*/ 45095 w 53826"/>
                    <a:gd name="connsiteY3" fmla="*/ 34329 h 34329"/>
                  </a:gdLst>
                  <a:ahLst/>
                  <a:cxnLst>
                    <a:cxn ang="0">
                      <a:pos x="connsiteX0" y="connsiteY0"/>
                    </a:cxn>
                    <a:cxn ang="0">
                      <a:pos x="connsiteX1" y="connsiteY1"/>
                    </a:cxn>
                    <a:cxn ang="0">
                      <a:pos x="connsiteX2" y="connsiteY2"/>
                    </a:cxn>
                    <a:cxn ang="0">
                      <a:pos x="connsiteX3" y="connsiteY3"/>
                    </a:cxn>
                  </a:cxnLst>
                  <a:rect l="l" t="t" r="r" b="b"/>
                  <a:pathLst>
                    <a:path w="53826" h="34329">
                      <a:moveTo>
                        <a:pt x="0" y="10347"/>
                      </a:moveTo>
                      <a:lnTo>
                        <a:pt x="8732" y="0"/>
                      </a:lnTo>
                      <a:lnTo>
                        <a:pt x="53827" y="23983"/>
                      </a:lnTo>
                      <a:lnTo>
                        <a:pt x="45095" y="34329"/>
                      </a:lnTo>
                      <a:close/>
                    </a:path>
                  </a:pathLst>
                </a:custGeom>
                <a:grpFill/>
                <a:ln w="6350" cap="flat">
                  <a:solidFill>
                    <a:schemeClr val="bg1">
                      <a:alpha val="40000"/>
                    </a:schemeClr>
                  </a:solidFill>
                  <a:prstDash val="solid"/>
                  <a:miter/>
                </a:ln>
              </p:spPr>
              <p:txBody>
                <a:bodyPr rtlCol="0" anchor="ctr"/>
                <a:lstStyle/>
                <a:p>
                  <a:endParaRPr lang="en-GB"/>
                </a:p>
              </p:txBody>
            </p:sp>
            <p:sp>
              <p:nvSpPr>
                <p:cNvPr id="8510" name="Vrije vorm: vorm 8509">
                  <a:extLst>
                    <a:ext uri="{FF2B5EF4-FFF2-40B4-BE49-F238E27FC236}">
                      <a16:creationId xmlns:a16="http://schemas.microsoft.com/office/drawing/2014/main" id="{327CE960-F30E-4896-A55D-48109BB677CB}"/>
                    </a:ext>
                  </a:extLst>
                </p:cNvPr>
                <p:cNvSpPr/>
                <p:nvPr/>
              </p:nvSpPr>
              <p:spPr>
                <a:xfrm>
                  <a:off x="4325931" y="3406485"/>
                  <a:ext cx="33680" cy="22449"/>
                </a:xfrm>
                <a:custGeom>
                  <a:avLst/>
                  <a:gdLst>
                    <a:gd name="connsiteX0" fmla="*/ 9813 w 33680"/>
                    <a:gd name="connsiteY0" fmla="*/ 294 h 22449"/>
                    <a:gd name="connsiteX1" fmla="*/ 363 w 33680"/>
                    <a:gd name="connsiteY1" fmla="*/ 4540 h 22449"/>
                    <a:gd name="connsiteX2" fmla="*/ 5686 w 33680"/>
                    <a:gd name="connsiteY2" fmla="*/ 15724 h 22449"/>
                    <a:gd name="connsiteX3" fmla="*/ 23509 w 33680"/>
                    <a:gd name="connsiteY3" fmla="*/ 22003 h 22449"/>
                    <a:gd name="connsiteX4" fmla="*/ 33257 w 33680"/>
                    <a:gd name="connsiteY4" fmla="*/ 17338 h 22449"/>
                    <a:gd name="connsiteX5" fmla="*/ 28593 w 33680"/>
                    <a:gd name="connsiteY5" fmla="*/ 7590 h 22449"/>
                    <a:gd name="connsiteX6" fmla="*/ 9813 w 33680"/>
                    <a:gd name="connsiteY6" fmla="*/ 294 h 2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80" h="22449">
                      <a:moveTo>
                        <a:pt x="9813" y="294"/>
                      </a:moveTo>
                      <a:cubicBezTo>
                        <a:pt x="3593" y="-723"/>
                        <a:pt x="1620" y="951"/>
                        <a:pt x="363" y="4540"/>
                      </a:cubicBezTo>
                      <a:cubicBezTo>
                        <a:pt x="-1012" y="8547"/>
                        <a:pt x="1679" y="14288"/>
                        <a:pt x="5686" y="15724"/>
                      </a:cubicBezTo>
                      <a:lnTo>
                        <a:pt x="23509" y="22003"/>
                      </a:lnTo>
                      <a:cubicBezTo>
                        <a:pt x="27516" y="23439"/>
                        <a:pt x="31882" y="21286"/>
                        <a:pt x="33257" y="17338"/>
                      </a:cubicBezTo>
                      <a:cubicBezTo>
                        <a:pt x="34633" y="13332"/>
                        <a:pt x="32540" y="8966"/>
                        <a:pt x="28593" y="7590"/>
                      </a:cubicBezTo>
                      <a:cubicBezTo>
                        <a:pt x="28533" y="7530"/>
                        <a:pt x="18664" y="1789"/>
                        <a:pt x="9813" y="29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11" name="Vrije vorm: vorm 8510">
                  <a:extLst>
                    <a:ext uri="{FF2B5EF4-FFF2-40B4-BE49-F238E27FC236}">
                      <a16:creationId xmlns:a16="http://schemas.microsoft.com/office/drawing/2014/main" id="{7C7DB5EE-719D-4943-BFD9-ABE5549F037F}"/>
                    </a:ext>
                  </a:extLst>
                </p:cNvPr>
                <p:cNvSpPr/>
                <p:nvPr/>
              </p:nvSpPr>
              <p:spPr>
                <a:xfrm>
                  <a:off x="4325677" y="3461892"/>
                  <a:ext cx="23184" cy="21938"/>
                </a:xfrm>
                <a:custGeom>
                  <a:avLst/>
                  <a:gdLst>
                    <a:gd name="connsiteX0" fmla="*/ 9230 w 23184"/>
                    <a:gd name="connsiteY0" fmla="*/ 926 h 21938"/>
                    <a:gd name="connsiteX1" fmla="*/ 1515 w 23184"/>
                    <a:gd name="connsiteY1" fmla="*/ 2063 h 21938"/>
                    <a:gd name="connsiteX2" fmla="*/ 2053 w 23184"/>
                    <a:gd name="connsiteY2" fmla="*/ 10555 h 21938"/>
                    <a:gd name="connsiteX3" fmla="*/ 13177 w 23184"/>
                    <a:gd name="connsiteY3" fmla="*/ 20423 h 21938"/>
                    <a:gd name="connsiteX4" fmla="*/ 21670 w 23184"/>
                    <a:gd name="connsiteY4" fmla="*/ 19885 h 21938"/>
                    <a:gd name="connsiteX5" fmla="*/ 21131 w 23184"/>
                    <a:gd name="connsiteY5" fmla="*/ 11393 h 21938"/>
                    <a:gd name="connsiteX6" fmla="*/ 10007 w 23184"/>
                    <a:gd name="connsiteY6" fmla="*/ 1524 h 21938"/>
                    <a:gd name="connsiteX7" fmla="*/ 9230 w 23184"/>
                    <a:gd name="connsiteY7" fmla="*/ 926 h 2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84" h="21938">
                      <a:moveTo>
                        <a:pt x="9230" y="926"/>
                      </a:moveTo>
                      <a:cubicBezTo>
                        <a:pt x="6778" y="-629"/>
                        <a:pt x="3488" y="-210"/>
                        <a:pt x="1515" y="2063"/>
                      </a:cubicBezTo>
                      <a:cubicBezTo>
                        <a:pt x="-698" y="4574"/>
                        <a:pt x="-459" y="8342"/>
                        <a:pt x="2053" y="10555"/>
                      </a:cubicBezTo>
                      <a:lnTo>
                        <a:pt x="13177" y="20423"/>
                      </a:lnTo>
                      <a:cubicBezTo>
                        <a:pt x="15689" y="22636"/>
                        <a:pt x="19457" y="22397"/>
                        <a:pt x="21670" y="19885"/>
                      </a:cubicBezTo>
                      <a:cubicBezTo>
                        <a:pt x="23883" y="17373"/>
                        <a:pt x="23643" y="13605"/>
                        <a:pt x="21131" y="11393"/>
                      </a:cubicBezTo>
                      <a:lnTo>
                        <a:pt x="10007" y="1524"/>
                      </a:lnTo>
                      <a:cubicBezTo>
                        <a:pt x="9768" y="1285"/>
                        <a:pt x="9529" y="1106"/>
                        <a:pt x="9230" y="92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12" name="Vrije vorm: vorm 8511">
                  <a:extLst>
                    <a:ext uri="{FF2B5EF4-FFF2-40B4-BE49-F238E27FC236}">
                      <a16:creationId xmlns:a16="http://schemas.microsoft.com/office/drawing/2014/main" id="{E94ED88F-FDB5-48F0-8A51-175A995A5E8F}"/>
                    </a:ext>
                  </a:extLst>
                </p:cNvPr>
                <p:cNvSpPr/>
                <p:nvPr/>
              </p:nvSpPr>
              <p:spPr>
                <a:xfrm>
                  <a:off x="4336554" y="3435592"/>
                  <a:ext cx="34243" cy="55977"/>
                </a:xfrm>
                <a:custGeom>
                  <a:avLst/>
                  <a:gdLst>
                    <a:gd name="connsiteX0" fmla="*/ 34237 w 34243"/>
                    <a:gd name="connsiteY0" fmla="*/ 40742 h 55977"/>
                    <a:gd name="connsiteX1" fmla="*/ 32084 w 34243"/>
                    <a:gd name="connsiteY1" fmla="*/ 12633 h 55977"/>
                    <a:gd name="connsiteX2" fmla="*/ 12467 w 34243"/>
                    <a:gd name="connsiteY2" fmla="*/ 432 h 55977"/>
                    <a:gd name="connsiteX3" fmla="*/ 266 w 34243"/>
                    <a:gd name="connsiteY3" fmla="*/ 20049 h 55977"/>
                    <a:gd name="connsiteX4" fmla="*/ 3496 w 34243"/>
                    <a:gd name="connsiteY4" fmla="*/ 42596 h 55977"/>
                    <a:gd name="connsiteX5" fmla="*/ 34237 w 34243"/>
                    <a:gd name="connsiteY5" fmla="*/ 40742 h 5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43" h="55977">
                      <a:moveTo>
                        <a:pt x="34237" y="40742"/>
                      </a:moveTo>
                      <a:cubicBezTo>
                        <a:pt x="33758" y="26688"/>
                        <a:pt x="32084" y="12633"/>
                        <a:pt x="32084" y="12633"/>
                      </a:cubicBezTo>
                      <a:cubicBezTo>
                        <a:pt x="30648" y="3722"/>
                        <a:pt x="21259" y="-1601"/>
                        <a:pt x="12467" y="432"/>
                      </a:cubicBezTo>
                      <a:cubicBezTo>
                        <a:pt x="3675" y="2465"/>
                        <a:pt x="-1229" y="11197"/>
                        <a:pt x="266" y="20049"/>
                      </a:cubicBezTo>
                      <a:cubicBezTo>
                        <a:pt x="3077" y="36077"/>
                        <a:pt x="2360" y="28601"/>
                        <a:pt x="3496" y="42596"/>
                      </a:cubicBezTo>
                      <a:cubicBezTo>
                        <a:pt x="5170" y="63050"/>
                        <a:pt x="34775" y="58146"/>
                        <a:pt x="34237" y="4074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13" name="Vrije vorm: vorm 8512">
                  <a:extLst>
                    <a:ext uri="{FF2B5EF4-FFF2-40B4-BE49-F238E27FC236}">
                      <a16:creationId xmlns:a16="http://schemas.microsoft.com/office/drawing/2014/main" id="{6911D8AB-BCB2-4FF5-808F-55D20B51F86E}"/>
                    </a:ext>
                  </a:extLst>
                </p:cNvPr>
                <p:cNvSpPr/>
                <p:nvPr/>
              </p:nvSpPr>
              <p:spPr>
                <a:xfrm>
                  <a:off x="4241925" y="3490241"/>
                  <a:ext cx="143212" cy="124853"/>
                </a:xfrm>
                <a:custGeom>
                  <a:avLst/>
                  <a:gdLst>
                    <a:gd name="connsiteX0" fmla="*/ 142501 w 143212"/>
                    <a:gd name="connsiteY0" fmla="*/ 62886 h 124853"/>
                    <a:gd name="connsiteX1" fmla="*/ 127550 w 143212"/>
                    <a:gd name="connsiteY1" fmla="*/ 95600 h 124853"/>
                    <a:gd name="connsiteX2" fmla="*/ 16607 w 143212"/>
                    <a:gd name="connsiteY2" fmla="*/ 123889 h 124853"/>
                    <a:gd name="connsiteX3" fmla="*/ 41 w 143212"/>
                    <a:gd name="connsiteY3" fmla="*/ 104810 h 124853"/>
                    <a:gd name="connsiteX4" fmla="*/ 19119 w 143212"/>
                    <a:gd name="connsiteY4" fmla="*/ 88244 h 124853"/>
                    <a:gd name="connsiteX5" fmla="*/ 100517 w 143212"/>
                    <a:gd name="connsiteY5" fmla="*/ 72275 h 124853"/>
                    <a:gd name="connsiteX6" fmla="*/ 103447 w 143212"/>
                    <a:gd name="connsiteY6" fmla="*/ 19226 h 124853"/>
                    <a:gd name="connsiteX7" fmla="*/ 117322 w 143212"/>
                    <a:gd name="connsiteY7" fmla="*/ 626 h 124853"/>
                    <a:gd name="connsiteX8" fmla="*/ 138315 w 143212"/>
                    <a:gd name="connsiteY8" fmla="*/ 11451 h 124853"/>
                    <a:gd name="connsiteX9" fmla="*/ 142501 w 143212"/>
                    <a:gd name="connsiteY9" fmla="*/ 62886 h 12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212" h="124853">
                      <a:moveTo>
                        <a:pt x="142501" y="62886"/>
                      </a:moveTo>
                      <a:cubicBezTo>
                        <a:pt x="140408" y="75505"/>
                        <a:pt x="135384" y="86450"/>
                        <a:pt x="127550" y="95600"/>
                      </a:cubicBezTo>
                      <a:cubicBezTo>
                        <a:pt x="101234" y="126162"/>
                        <a:pt x="51654" y="126401"/>
                        <a:pt x="16607" y="123889"/>
                      </a:cubicBezTo>
                      <a:cubicBezTo>
                        <a:pt x="6799" y="123171"/>
                        <a:pt x="-617" y="114678"/>
                        <a:pt x="41" y="104810"/>
                      </a:cubicBezTo>
                      <a:cubicBezTo>
                        <a:pt x="758" y="94942"/>
                        <a:pt x="9251" y="87586"/>
                        <a:pt x="19119" y="88244"/>
                      </a:cubicBezTo>
                      <a:cubicBezTo>
                        <a:pt x="61403" y="91234"/>
                        <a:pt x="88794" y="85851"/>
                        <a:pt x="100517" y="72275"/>
                      </a:cubicBezTo>
                      <a:cubicBezTo>
                        <a:pt x="108292" y="63185"/>
                        <a:pt x="107873" y="38963"/>
                        <a:pt x="103447" y="19226"/>
                      </a:cubicBezTo>
                      <a:cubicBezTo>
                        <a:pt x="101294" y="9597"/>
                        <a:pt x="107694" y="2779"/>
                        <a:pt x="117322" y="626"/>
                      </a:cubicBezTo>
                      <a:cubicBezTo>
                        <a:pt x="126951" y="-1527"/>
                        <a:pt x="136162" y="1822"/>
                        <a:pt x="138315" y="11451"/>
                      </a:cubicBezTo>
                      <a:cubicBezTo>
                        <a:pt x="141724" y="26941"/>
                        <a:pt x="144595" y="50505"/>
                        <a:pt x="142501" y="6288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14" name="Vrije vorm: vorm 8513">
                  <a:extLst>
                    <a:ext uri="{FF2B5EF4-FFF2-40B4-BE49-F238E27FC236}">
                      <a16:creationId xmlns:a16="http://schemas.microsoft.com/office/drawing/2014/main" id="{6886F9C1-99A2-4326-9318-918B4A40FBE3}"/>
                    </a:ext>
                  </a:extLst>
                </p:cNvPr>
                <p:cNvSpPr/>
                <p:nvPr/>
              </p:nvSpPr>
              <p:spPr>
                <a:xfrm>
                  <a:off x="4193463" y="3506537"/>
                  <a:ext cx="7655" cy="9090"/>
                </a:xfrm>
                <a:custGeom>
                  <a:avLst/>
                  <a:gdLst>
                    <a:gd name="connsiteX0" fmla="*/ 0 w 7655"/>
                    <a:gd name="connsiteY0" fmla="*/ 0 h 9090"/>
                    <a:gd name="connsiteX1" fmla="*/ 4366 w 7655"/>
                    <a:gd name="connsiteY1" fmla="*/ 3828 h 9090"/>
                    <a:gd name="connsiteX2" fmla="*/ 7655 w 7655"/>
                    <a:gd name="connsiteY2" fmla="*/ 9091 h 9090"/>
                  </a:gdLst>
                  <a:ahLst/>
                  <a:cxnLst>
                    <a:cxn ang="0">
                      <a:pos x="connsiteX0" y="connsiteY0"/>
                    </a:cxn>
                    <a:cxn ang="0">
                      <a:pos x="connsiteX1" y="connsiteY1"/>
                    </a:cxn>
                    <a:cxn ang="0">
                      <a:pos x="connsiteX2" y="connsiteY2"/>
                    </a:cxn>
                  </a:cxnLst>
                  <a:rect l="l" t="t" r="r" b="b"/>
                  <a:pathLst>
                    <a:path w="7655" h="9090">
                      <a:moveTo>
                        <a:pt x="0" y="0"/>
                      </a:moveTo>
                      <a:lnTo>
                        <a:pt x="4366" y="3828"/>
                      </a:lnTo>
                      <a:lnTo>
                        <a:pt x="7655" y="9091"/>
                      </a:lnTo>
                    </a:path>
                  </a:pathLst>
                </a:custGeom>
                <a:grpFill/>
                <a:ln w="6350" cap="flat">
                  <a:solidFill>
                    <a:schemeClr val="bg1">
                      <a:alpha val="40000"/>
                    </a:schemeClr>
                  </a:solidFill>
                  <a:prstDash val="solid"/>
                  <a:miter/>
                </a:ln>
              </p:spPr>
              <p:txBody>
                <a:bodyPr rtlCol="0" anchor="ctr"/>
                <a:lstStyle/>
                <a:p>
                  <a:endParaRPr lang="en-GB"/>
                </a:p>
              </p:txBody>
            </p:sp>
            <p:sp>
              <p:nvSpPr>
                <p:cNvPr id="8515" name="Vrije vorm: vorm 8514">
                  <a:extLst>
                    <a:ext uri="{FF2B5EF4-FFF2-40B4-BE49-F238E27FC236}">
                      <a16:creationId xmlns:a16="http://schemas.microsoft.com/office/drawing/2014/main" id="{7D97F6BF-4B74-4FA2-95E8-5BF539053F7C}"/>
                    </a:ext>
                  </a:extLst>
                </p:cNvPr>
                <p:cNvSpPr/>
                <p:nvPr/>
              </p:nvSpPr>
              <p:spPr>
                <a:xfrm>
                  <a:off x="4195795" y="3512996"/>
                  <a:ext cx="45592" cy="71079"/>
                </a:xfrm>
                <a:custGeom>
                  <a:avLst/>
                  <a:gdLst>
                    <a:gd name="connsiteX0" fmla="*/ 7656 w 45592"/>
                    <a:gd name="connsiteY0" fmla="*/ 69077 h 71079"/>
                    <a:gd name="connsiteX1" fmla="*/ 0 w 45592"/>
                    <a:gd name="connsiteY1" fmla="*/ 70692 h 71079"/>
                    <a:gd name="connsiteX2" fmla="*/ 45035 w 45592"/>
                    <a:gd name="connsiteY2" fmla="*/ 37559 h 71079"/>
                    <a:gd name="connsiteX3" fmla="*/ 30980 w 45592"/>
                    <a:gd name="connsiteY3" fmla="*/ 0 h 71079"/>
                    <a:gd name="connsiteX4" fmla="*/ 26674 w 45592"/>
                    <a:gd name="connsiteY4" fmla="*/ 598 h 71079"/>
                    <a:gd name="connsiteX5" fmla="*/ 30681 w 45592"/>
                    <a:gd name="connsiteY5" fmla="*/ 10885 h 71079"/>
                    <a:gd name="connsiteX6" fmla="*/ 34090 w 45592"/>
                    <a:gd name="connsiteY6" fmla="*/ 16447 h 7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92" h="71079">
                      <a:moveTo>
                        <a:pt x="7656" y="69077"/>
                      </a:moveTo>
                      <a:lnTo>
                        <a:pt x="0" y="70692"/>
                      </a:lnTo>
                      <a:cubicBezTo>
                        <a:pt x="21411" y="73683"/>
                        <a:pt x="41447" y="59030"/>
                        <a:pt x="45035" y="37559"/>
                      </a:cubicBezTo>
                      <a:cubicBezTo>
                        <a:pt x="47487" y="22906"/>
                        <a:pt x="41686" y="8852"/>
                        <a:pt x="30980" y="0"/>
                      </a:cubicBezTo>
                      <a:lnTo>
                        <a:pt x="26674" y="598"/>
                      </a:lnTo>
                      <a:lnTo>
                        <a:pt x="30681" y="10885"/>
                      </a:lnTo>
                      <a:lnTo>
                        <a:pt x="34090" y="16447"/>
                      </a:lnTo>
                    </a:path>
                  </a:pathLst>
                </a:custGeom>
                <a:grpFill/>
                <a:ln w="6350" cap="flat">
                  <a:solidFill>
                    <a:schemeClr val="bg1">
                      <a:alpha val="40000"/>
                    </a:schemeClr>
                  </a:solidFill>
                  <a:prstDash val="solid"/>
                  <a:miter/>
                </a:ln>
              </p:spPr>
              <p:txBody>
                <a:bodyPr rtlCol="0" anchor="ctr"/>
                <a:lstStyle/>
                <a:p>
                  <a:endParaRPr lang="en-GB"/>
                </a:p>
              </p:txBody>
            </p:sp>
            <p:sp>
              <p:nvSpPr>
                <p:cNvPr id="8516" name="Vrije vorm: vorm 8515">
                  <a:extLst>
                    <a:ext uri="{FF2B5EF4-FFF2-40B4-BE49-F238E27FC236}">
                      <a16:creationId xmlns:a16="http://schemas.microsoft.com/office/drawing/2014/main" id="{BB8298E1-A03B-49FF-AAD0-843E59EF91B8}"/>
                    </a:ext>
                  </a:extLst>
                </p:cNvPr>
                <p:cNvSpPr/>
                <p:nvPr/>
              </p:nvSpPr>
              <p:spPr>
                <a:xfrm>
                  <a:off x="4170616" y="3505161"/>
                  <a:ext cx="4963" cy="1076"/>
                </a:xfrm>
                <a:custGeom>
                  <a:avLst/>
                  <a:gdLst>
                    <a:gd name="connsiteX0" fmla="*/ 0 w 4963"/>
                    <a:gd name="connsiteY0" fmla="*/ 1076 h 1076"/>
                    <a:gd name="connsiteX1" fmla="*/ 4964 w 4963"/>
                    <a:gd name="connsiteY1" fmla="*/ 0 h 1076"/>
                    <a:gd name="connsiteX2" fmla="*/ 0 w 4963"/>
                    <a:gd name="connsiteY2" fmla="*/ 1076 h 1076"/>
                  </a:gdLst>
                  <a:ahLst/>
                  <a:cxnLst>
                    <a:cxn ang="0">
                      <a:pos x="connsiteX0" y="connsiteY0"/>
                    </a:cxn>
                    <a:cxn ang="0">
                      <a:pos x="connsiteX1" y="connsiteY1"/>
                    </a:cxn>
                    <a:cxn ang="0">
                      <a:pos x="connsiteX2" y="connsiteY2"/>
                    </a:cxn>
                  </a:cxnLst>
                  <a:rect l="l" t="t" r="r" b="b"/>
                  <a:pathLst>
                    <a:path w="4963" h="1076">
                      <a:moveTo>
                        <a:pt x="0" y="1076"/>
                      </a:moveTo>
                      <a:cubicBezTo>
                        <a:pt x="1615" y="598"/>
                        <a:pt x="3289" y="239"/>
                        <a:pt x="4964" y="0"/>
                      </a:cubicBezTo>
                      <a:cubicBezTo>
                        <a:pt x="3289" y="120"/>
                        <a:pt x="1615" y="479"/>
                        <a:pt x="0" y="107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17" name="Vrije vorm: vorm 8516">
                  <a:extLst>
                    <a:ext uri="{FF2B5EF4-FFF2-40B4-BE49-F238E27FC236}">
                      <a16:creationId xmlns:a16="http://schemas.microsoft.com/office/drawing/2014/main" id="{DD41E7F1-9013-4929-B36F-3DC78F2E0F2A}"/>
                    </a:ext>
                  </a:extLst>
                </p:cNvPr>
                <p:cNvSpPr/>
                <p:nvPr/>
              </p:nvSpPr>
              <p:spPr>
                <a:xfrm>
                  <a:off x="4161107" y="3579322"/>
                  <a:ext cx="5980" cy="5980"/>
                </a:xfrm>
                <a:custGeom>
                  <a:avLst/>
                  <a:gdLst>
                    <a:gd name="connsiteX0" fmla="*/ 0 w 5980"/>
                    <a:gd name="connsiteY0" fmla="*/ 0 h 5980"/>
                    <a:gd name="connsiteX1" fmla="*/ 0 w 5980"/>
                    <a:gd name="connsiteY1" fmla="*/ 0 h 5980"/>
                    <a:gd name="connsiteX2" fmla="*/ 0 w 5980"/>
                    <a:gd name="connsiteY2" fmla="*/ 0 h 5980"/>
                  </a:gdLst>
                  <a:ahLst/>
                  <a:cxnLst>
                    <a:cxn ang="0">
                      <a:pos x="connsiteX0" y="connsiteY0"/>
                    </a:cxn>
                    <a:cxn ang="0">
                      <a:pos x="connsiteX1" y="connsiteY1"/>
                    </a:cxn>
                    <a:cxn ang="0">
                      <a:pos x="connsiteX2" y="connsiteY2"/>
                    </a:cxn>
                  </a:cxnLst>
                  <a:rect l="l" t="t" r="r" b="b"/>
                  <a:pathLst>
                    <a:path w="5980" h="5980">
                      <a:moveTo>
                        <a:pt x="0" y="0"/>
                      </a:moveTo>
                      <a:lnTo>
                        <a:pt x="0" y="0"/>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8518" name="Vrije vorm: vorm 8517">
                  <a:extLst>
                    <a:ext uri="{FF2B5EF4-FFF2-40B4-BE49-F238E27FC236}">
                      <a16:creationId xmlns:a16="http://schemas.microsoft.com/office/drawing/2014/main" id="{912ACC81-4DAC-4E9E-906B-CC566325022B}"/>
                    </a:ext>
                  </a:extLst>
                </p:cNvPr>
                <p:cNvSpPr/>
                <p:nvPr/>
              </p:nvSpPr>
              <p:spPr>
                <a:xfrm>
                  <a:off x="4184372" y="3579741"/>
                  <a:ext cx="119" cy="119"/>
                </a:xfrm>
                <a:custGeom>
                  <a:avLst/>
                  <a:gdLst>
                    <a:gd name="connsiteX0" fmla="*/ 120 w 119"/>
                    <a:gd name="connsiteY0" fmla="*/ 0 h 119"/>
                    <a:gd name="connsiteX1" fmla="*/ 0 w 119"/>
                    <a:gd name="connsiteY1" fmla="*/ 120 h 119"/>
                    <a:gd name="connsiteX2" fmla="*/ 120 w 119"/>
                    <a:gd name="connsiteY2" fmla="*/ 0 h 119"/>
                  </a:gdLst>
                  <a:ahLst/>
                  <a:cxnLst>
                    <a:cxn ang="0">
                      <a:pos x="connsiteX0" y="connsiteY0"/>
                    </a:cxn>
                    <a:cxn ang="0">
                      <a:pos x="connsiteX1" y="connsiteY1"/>
                    </a:cxn>
                    <a:cxn ang="0">
                      <a:pos x="connsiteX2" y="connsiteY2"/>
                    </a:cxn>
                  </a:cxnLst>
                  <a:rect l="l" t="t" r="r" b="b"/>
                  <a:pathLst>
                    <a:path w="119" h="119">
                      <a:moveTo>
                        <a:pt x="120" y="0"/>
                      </a:moveTo>
                      <a:cubicBezTo>
                        <a:pt x="60" y="60"/>
                        <a:pt x="0" y="60"/>
                        <a:pt x="0" y="120"/>
                      </a:cubicBezTo>
                      <a:cubicBezTo>
                        <a:pt x="0" y="120"/>
                        <a:pt x="60" y="60"/>
                        <a:pt x="120"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19" name="Vrije vorm: vorm 8518">
                  <a:extLst>
                    <a:ext uri="{FF2B5EF4-FFF2-40B4-BE49-F238E27FC236}">
                      <a16:creationId xmlns:a16="http://schemas.microsoft.com/office/drawing/2014/main" id="{522F2E1C-433B-4410-84A9-A52DFEA645F1}"/>
                    </a:ext>
                  </a:extLst>
                </p:cNvPr>
                <p:cNvSpPr/>
                <p:nvPr/>
              </p:nvSpPr>
              <p:spPr>
                <a:xfrm>
                  <a:off x="4192147" y="3571488"/>
                  <a:ext cx="358" cy="538"/>
                </a:xfrm>
                <a:custGeom>
                  <a:avLst/>
                  <a:gdLst>
                    <a:gd name="connsiteX0" fmla="*/ 359 w 358"/>
                    <a:gd name="connsiteY0" fmla="*/ 0 h 538"/>
                    <a:gd name="connsiteX1" fmla="*/ 0 w 358"/>
                    <a:gd name="connsiteY1" fmla="*/ 538 h 538"/>
                    <a:gd name="connsiteX2" fmla="*/ 359 w 358"/>
                    <a:gd name="connsiteY2" fmla="*/ 0 h 538"/>
                  </a:gdLst>
                  <a:ahLst/>
                  <a:cxnLst>
                    <a:cxn ang="0">
                      <a:pos x="connsiteX0" y="connsiteY0"/>
                    </a:cxn>
                    <a:cxn ang="0">
                      <a:pos x="connsiteX1" y="connsiteY1"/>
                    </a:cxn>
                    <a:cxn ang="0">
                      <a:pos x="connsiteX2" y="connsiteY2"/>
                    </a:cxn>
                  </a:cxnLst>
                  <a:rect l="l" t="t" r="r" b="b"/>
                  <a:pathLst>
                    <a:path w="358" h="538">
                      <a:moveTo>
                        <a:pt x="359" y="0"/>
                      </a:moveTo>
                      <a:cubicBezTo>
                        <a:pt x="239" y="179"/>
                        <a:pt x="120" y="359"/>
                        <a:pt x="0" y="538"/>
                      </a:cubicBezTo>
                      <a:cubicBezTo>
                        <a:pt x="120" y="359"/>
                        <a:pt x="239" y="179"/>
                        <a:pt x="35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20" name="Vrije vorm: vorm 8519">
                  <a:extLst>
                    <a:ext uri="{FF2B5EF4-FFF2-40B4-BE49-F238E27FC236}">
                      <a16:creationId xmlns:a16="http://schemas.microsoft.com/office/drawing/2014/main" id="{C7F6E3D3-2089-48F7-B3E6-91D0B9A41647}"/>
                    </a:ext>
                  </a:extLst>
                </p:cNvPr>
                <p:cNvSpPr/>
                <p:nvPr/>
              </p:nvSpPr>
              <p:spPr>
                <a:xfrm>
                  <a:off x="4195436" y="3565627"/>
                  <a:ext cx="717" cy="1315"/>
                </a:xfrm>
                <a:custGeom>
                  <a:avLst/>
                  <a:gdLst>
                    <a:gd name="connsiteX0" fmla="*/ 718 w 717"/>
                    <a:gd name="connsiteY0" fmla="*/ 0 h 1315"/>
                    <a:gd name="connsiteX1" fmla="*/ 0 w 717"/>
                    <a:gd name="connsiteY1" fmla="*/ 1316 h 1315"/>
                    <a:gd name="connsiteX2" fmla="*/ 718 w 717"/>
                    <a:gd name="connsiteY2" fmla="*/ 0 h 1315"/>
                  </a:gdLst>
                  <a:ahLst/>
                  <a:cxnLst>
                    <a:cxn ang="0">
                      <a:pos x="connsiteX0" y="connsiteY0"/>
                    </a:cxn>
                    <a:cxn ang="0">
                      <a:pos x="connsiteX1" y="connsiteY1"/>
                    </a:cxn>
                    <a:cxn ang="0">
                      <a:pos x="connsiteX2" y="connsiteY2"/>
                    </a:cxn>
                  </a:cxnLst>
                  <a:rect l="l" t="t" r="r" b="b"/>
                  <a:pathLst>
                    <a:path w="717" h="1315">
                      <a:moveTo>
                        <a:pt x="718" y="0"/>
                      </a:moveTo>
                      <a:cubicBezTo>
                        <a:pt x="479" y="419"/>
                        <a:pt x="239" y="897"/>
                        <a:pt x="0" y="1316"/>
                      </a:cubicBezTo>
                      <a:cubicBezTo>
                        <a:pt x="239" y="897"/>
                        <a:pt x="479" y="419"/>
                        <a:pt x="71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21" name="Vrije vorm: vorm 8520">
                  <a:extLst>
                    <a:ext uri="{FF2B5EF4-FFF2-40B4-BE49-F238E27FC236}">
                      <a16:creationId xmlns:a16="http://schemas.microsoft.com/office/drawing/2014/main" id="{042B3481-0B9A-458E-BBC8-1566F0550CFF}"/>
                    </a:ext>
                  </a:extLst>
                </p:cNvPr>
                <p:cNvSpPr/>
                <p:nvPr/>
              </p:nvSpPr>
              <p:spPr>
                <a:xfrm>
                  <a:off x="4194658" y="3567540"/>
                  <a:ext cx="418" cy="717"/>
                </a:xfrm>
                <a:custGeom>
                  <a:avLst/>
                  <a:gdLst>
                    <a:gd name="connsiteX0" fmla="*/ 419 w 418"/>
                    <a:gd name="connsiteY0" fmla="*/ 0 h 717"/>
                    <a:gd name="connsiteX1" fmla="*/ 0 w 418"/>
                    <a:gd name="connsiteY1" fmla="*/ 718 h 717"/>
                    <a:gd name="connsiteX2" fmla="*/ 419 w 418"/>
                    <a:gd name="connsiteY2" fmla="*/ 0 h 717"/>
                  </a:gdLst>
                  <a:ahLst/>
                  <a:cxnLst>
                    <a:cxn ang="0">
                      <a:pos x="connsiteX0" y="connsiteY0"/>
                    </a:cxn>
                    <a:cxn ang="0">
                      <a:pos x="connsiteX1" y="connsiteY1"/>
                    </a:cxn>
                    <a:cxn ang="0">
                      <a:pos x="connsiteX2" y="connsiteY2"/>
                    </a:cxn>
                  </a:cxnLst>
                  <a:rect l="l" t="t" r="r" b="b"/>
                  <a:pathLst>
                    <a:path w="418" h="717">
                      <a:moveTo>
                        <a:pt x="419" y="0"/>
                      </a:moveTo>
                      <a:cubicBezTo>
                        <a:pt x="299" y="239"/>
                        <a:pt x="120" y="479"/>
                        <a:pt x="0" y="718"/>
                      </a:cubicBezTo>
                      <a:cubicBezTo>
                        <a:pt x="120" y="479"/>
                        <a:pt x="239" y="239"/>
                        <a:pt x="41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22" name="Vrije vorm: vorm 8521">
                  <a:extLst>
                    <a:ext uri="{FF2B5EF4-FFF2-40B4-BE49-F238E27FC236}">
                      <a16:creationId xmlns:a16="http://schemas.microsoft.com/office/drawing/2014/main" id="{DE1DEA28-8019-46E5-8874-5C7847BEE259}"/>
                    </a:ext>
                  </a:extLst>
                </p:cNvPr>
                <p:cNvSpPr/>
                <p:nvPr/>
              </p:nvSpPr>
              <p:spPr>
                <a:xfrm>
                  <a:off x="4192924" y="3570232"/>
                  <a:ext cx="418" cy="598"/>
                </a:xfrm>
                <a:custGeom>
                  <a:avLst/>
                  <a:gdLst>
                    <a:gd name="connsiteX0" fmla="*/ 419 w 418"/>
                    <a:gd name="connsiteY0" fmla="*/ 0 h 598"/>
                    <a:gd name="connsiteX1" fmla="*/ 0 w 418"/>
                    <a:gd name="connsiteY1" fmla="*/ 598 h 598"/>
                    <a:gd name="connsiteX2" fmla="*/ 419 w 418"/>
                    <a:gd name="connsiteY2" fmla="*/ 0 h 598"/>
                  </a:gdLst>
                  <a:ahLst/>
                  <a:cxnLst>
                    <a:cxn ang="0">
                      <a:pos x="connsiteX0" y="connsiteY0"/>
                    </a:cxn>
                    <a:cxn ang="0">
                      <a:pos x="connsiteX1" y="connsiteY1"/>
                    </a:cxn>
                    <a:cxn ang="0">
                      <a:pos x="connsiteX2" y="connsiteY2"/>
                    </a:cxn>
                  </a:cxnLst>
                  <a:rect l="l" t="t" r="r" b="b"/>
                  <a:pathLst>
                    <a:path w="418" h="598">
                      <a:moveTo>
                        <a:pt x="419" y="0"/>
                      </a:moveTo>
                      <a:cubicBezTo>
                        <a:pt x="299" y="179"/>
                        <a:pt x="180" y="359"/>
                        <a:pt x="0" y="598"/>
                      </a:cubicBezTo>
                      <a:cubicBezTo>
                        <a:pt x="180" y="419"/>
                        <a:pt x="299" y="179"/>
                        <a:pt x="41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23" name="Vrije vorm: vorm 8522">
                  <a:extLst>
                    <a:ext uri="{FF2B5EF4-FFF2-40B4-BE49-F238E27FC236}">
                      <a16:creationId xmlns:a16="http://schemas.microsoft.com/office/drawing/2014/main" id="{C3BFD50A-EDBC-4624-B9FB-C7D590D5234E}"/>
                    </a:ext>
                  </a:extLst>
                </p:cNvPr>
                <p:cNvSpPr/>
                <p:nvPr/>
              </p:nvSpPr>
              <p:spPr>
                <a:xfrm>
                  <a:off x="4183295" y="3580459"/>
                  <a:ext cx="239" cy="179"/>
                </a:xfrm>
                <a:custGeom>
                  <a:avLst/>
                  <a:gdLst>
                    <a:gd name="connsiteX0" fmla="*/ 239 w 239"/>
                    <a:gd name="connsiteY0" fmla="*/ 0 h 179"/>
                    <a:gd name="connsiteX1" fmla="*/ 0 w 239"/>
                    <a:gd name="connsiteY1" fmla="*/ 179 h 179"/>
                    <a:gd name="connsiteX2" fmla="*/ 239 w 239"/>
                    <a:gd name="connsiteY2" fmla="*/ 0 h 179"/>
                  </a:gdLst>
                  <a:ahLst/>
                  <a:cxnLst>
                    <a:cxn ang="0">
                      <a:pos x="connsiteX0" y="connsiteY0"/>
                    </a:cxn>
                    <a:cxn ang="0">
                      <a:pos x="connsiteX1" y="connsiteY1"/>
                    </a:cxn>
                    <a:cxn ang="0">
                      <a:pos x="connsiteX2" y="connsiteY2"/>
                    </a:cxn>
                  </a:cxnLst>
                  <a:rect l="l" t="t" r="r" b="b"/>
                  <a:pathLst>
                    <a:path w="239" h="179">
                      <a:moveTo>
                        <a:pt x="239" y="0"/>
                      </a:moveTo>
                      <a:cubicBezTo>
                        <a:pt x="179" y="60"/>
                        <a:pt x="60" y="120"/>
                        <a:pt x="0" y="179"/>
                      </a:cubicBezTo>
                      <a:cubicBezTo>
                        <a:pt x="60" y="120"/>
                        <a:pt x="179" y="60"/>
                        <a:pt x="23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24" name="Vrije vorm: vorm 8523">
                  <a:extLst>
                    <a:ext uri="{FF2B5EF4-FFF2-40B4-BE49-F238E27FC236}">
                      <a16:creationId xmlns:a16="http://schemas.microsoft.com/office/drawing/2014/main" id="{BE678616-A769-4165-A15D-B68E1B5416A8}"/>
                    </a:ext>
                  </a:extLst>
                </p:cNvPr>
                <p:cNvSpPr/>
                <p:nvPr/>
              </p:nvSpPr>
              <p:spPr>
                <a:xfrm>
                  <a:off x="4187063" y="3577409"/>
                  <a:ext cx="239" cy="239"/>
                </a:xfrm>
                <a:custGeom>
                  <a:avLst/>
                  <a:gdLst>
                    <a:gd name="connsiteX0" fmla="*/ 239 w 239"/>
                    <a:gd name="connsiteY0" fmla="*/ 0 h 239"/>
                    <a:gd name="connsiteX1" fmla="*/ 0 w 239"/>
                    <a:gd name="connsiteY1" fmla="*/ 239 h 239"/>
                    <a:gd name="connsiteX2" fmla="*/ 239 w 239"/>
                    <a:gd name="connsiteY2" fmla="*/ 0 h 239"/>
                  </a:gdLst>
                  <a:ahLst/>
                  <a:cxnLst>
                    <a:cxn ang="0">
                      <a:pos x="connsiteX0" y="connsiteY0"/>
                    </a:cxn>
                    <a:cxn ang="0">
                      <a:pos x="connsiteX1" y="connsiteY1"/>
                    </a:cxn>
                    <a:cxn ang="0">
                      <a:pos x="connsiteX2" y="connsiteY2"/>
                    </a:cxn>
                  </a:cxnLst>
                  <a:rect l="l" t="t" r="r" b="b"/>
                  <a:pathLst>
                    <a:path w="239" h="239">
                      <a:moveTo>
                        <a:pt x="239" y="0"/>
                      </a:moveTo>
                      <a:cubicBezTo>
                        <a:pt x="179" y="60"/>
                        <a:pt x="60" y="179"/>
                        <a:pt x="0" y="239"/>
                      </a:cubicBezTo>
                      <a:cubicBezTo>
                        <a:pt x="60" y="179"/>
                        <a:pt x="119" y="120"/>
                        <a:pt x="23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25" name="Vrije vorm: vorm 8524">
                  <a:extLst>
                    <a:ext uri="{FF2B5EF4-FFF2-40B4-BE49-F238E27FC236}">
                      <a16:creationId xmlns:a16="http://schemas.microsoft.com/office/drawing/2014/main" id="{B38647D8-C46E-4985-A0C7-47CC04A9D502}"/>
                    </a:ext>
                  </a:extLst>
                </p:cNvPr>
                <p:cNvSpPr/>
                <p:nvPr/>
              </p:nvSpPr>
              <p:spPr>
                <a:xfrm>
                  <a:off x="4187900" y="3576452"/>
                  <a:ext cx="358" cy="298"/>
                </a:xfrm>
                <a:custGeom>
                  <a:avLst/>
                  <a:gdLst>
                    <a:gd name="connsiteX0" fmla="*/ 359 w 358"/>
                    <a:gd name="connsiteY0" fmla="*/ 0 h 298"/>
                    <a:gd name="connsiteX1" fmla="*/ 0 w 358"/>
                    <a:gd name="connsiteY1" fmla="*/ 299 h 298"/>
                    <a:gd name="connsiteX2" fmla="*/ 359 w 358"/>
                    <a:gd name="connsiteY2" fmla="*/ 0 h 298"/>
                  </a:gdLst>
                  <a:ahLst/>
                  <a:cxnLst>
                    <a:cxn ang="0">
                      <a:pos x="connsiteX0" y="connsiteY0"/>
                    </a:cxn>
                    <a:cxn ang="0">
                      <a:pos x="connsiteX1" y="connsiteY1"/>
                    </a:cxn>
                    <a:cxn ang="0">
                      <a:pos x="connsiteX2" y="connsiteY2"/>
                    </a:cxn>
                  </a:cxnLst>
                  <a:rect l="l" t="t" r="r" b="b"/>
                  <a:pathLst>
                    <a:path w="358" h="298">
                      <a:moveTo>
                        <a:pt x="359" y="0"/>
                      </a:moveTo>
                      <a:cubicBezTo>
                        <a:pt x="239" y="120"/>
                        <a:pt x="119" y="239"/>
                        <a:pt x="0" y="299"/>
                      </a:cubicBezTo>
                      <a:cubicBezTo>
                        <a:pt x="179" y="239"/>
                        <a:pt x="239" y="120"/>
                        <a:pt x="35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26" name="Vrije vorm: vorm 8525">
                  <a:extLst>
                    <a:ext uri="{FF2B5EF4-FFF2-40B4-BE49-F238E27FC236}">
                      <a16:creationId xmlns:a16="http://schemas.microsoft.com/office/drawing/2014/main" id="{11FD7136-7ED0-4131-AAB5-B3BBA6C30A4B}"/>
                    </a:ext>
                  </a:extLst>
                </p:cNvPr>
                <p:cNvSpPr/>
                <p:nvPr/>
              </p:nvSpPr>
              <p:spPr>
                <a:xfrm>
                  <a:off x="4188857" y="3575435"/>
                  <a:ext cx="358" cy="358"/>
                </a:xfrm>
                <a:custGeom>
                  <a:avLst/>
                  <a:gdLst>
                    <a:gd name="connsiteX0" fmla="*/ 359 w 358"/>
                    <a:gd name="connsiteY0" fmla="*/ 0 h 358"/>
                    <a:gd name="connsiteX1" fmla="*/ 0 w 358"/>
                    <a:gd name="connsiteY1" fmla="*/ 359 h 358"/>
                    <a:gd name="connsiteX2" fmla="*/ 359 w 358"/>
                    <a:gd name="connsiteY2" fmla="*/ 0 h 358"/>
                  </a:gdLst>
                  <a:ahLst/>
                  <a:cxnLst>
                    <a:cxn ang="0">
                      <a:pos x="connsiteX0" y="connsiteY0"/>
                    </a:cxn>
                    <a:cxn ang="0">
                      <a:pos x="connsiteX1" y="connsiteY1"/>
                    </a:cxn>
                    <a:cxn ang="0">
                      <a:pos x="connsiteX2" y="connsiteY2"/>
                    </a:cxn>
                  </a:cxnLst>
                  <a:rect l="l" t="t" r="r" b="b"/>
                  <a:pathLst>
                    <a:path w="358" h="358">
                      <a:moveTo>
                        <a:pt x="359" y="0"/>
                      </a:moveTo>
                      <a:cubicBezTo>
                        <a:pt x="239" y="120"/>
                        <a:pt x="120" y="239"/>
                        <a:pt x="0" y="359"/>
                      </a:cubicBezTo>
                      <a:cubicBezTo>
                        <a:pt x="179" y="239"/>
                        <a:pt x="299" y="120"/>
                        <a:pt x="35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27" name="Vrije vorm: vorm 8526">
                  <a:extLst>
                    <a:ext uri="{FF2B5EF4-FFF2-40B4-BE49-F238E27FC236}">
                      <a16:creationId xmlns:a16="http://schemas.microsoft.com/office/drawing/2014/main" id="{5FA294A5-A92D-4FC6-80E1-44DCA02ED643}"/>
                    </a:ext>
                  </a:extLst>
                </p:cNvPr>
                <p:cNvSpPr/>
                <p:nvPr/>
              </p:nvSpPr>
              <p:spPr>
                <a:xfrm>
                  <a:off x="4189874" y="3574418"/>
                  <a:ext cx="298" cy="358"/>
                </a:xfrm>
                <a:custGeom>
                  <a:avLst/>
                  <a:gdLst>
                    <a:gd name="connsiteX0" fmla="*/ 299 w 298"/>
                    <a:gd name="connsiteY0" fmla="*/ 0 h 358"/>
                    <a:gd name="connsiteX1" fmla="*/ 0 w 298"/>
                    <a:gd name="connsiteY1" fmla="*/ 359 h 358"/>
                    <a:gd name="connsiteX2" fmla="*/ 299 w 298"/>
                    <a:gd name="connsiteY2" fmla="*/ 0 h 358"/>
                  </a:gdLst>
                  <a:ahLst/>
                  <a:cxnLst>
                    <a:cxn ang="0">
                      <a:pos x="connsiteX0" y="connsiteY0"/>
                    </a:cxn>
                    <a:cxn ang="0">
                      <a:pos x="connsiteX1" y="connsiteY1"/>
                    </a:cxn>
                    <a:cxn ang="0">
                      <a:pos x="connsiteX2" y="connsiteY2"/>
                    </a:cxn>
                  </a:cxnLst>
                  <a:rect l="l" t="t" r="r" b="b"/>
                  <a:pathLst>
                    <a:path w="298" h="358">
                      <a:moveTo>
                        <a:pt x="299" y="0"/>
                      </a:moveTo>
                      <a:cubicBezTo>
                        <a:pt x="180" y="120"/>
                        <a:pt x="60" y="239"/>
                        <a:pt x="0" y="359"/>
                      </a:cubicBezTo>
                      <a:cubicBezTo>
                        <a:pt x="60" y="239"/>
                        <a:pt x="180" y="120"/>
                        <a:pt x="29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28" name="Vrije vorm: vorm 8527">
                  <a:extLst>
                    <a:ext uri="{FF2B5EF4-FFF2-40B4-BE49-F238E27FC236}">
                      <a16:creationId xmlns:a16="http://schemas.microsoft.com/office/drawing/2014/main" id="{45EA0179-21C4-4ACF-920E-0F2826A579C7}"/>
                    </a:ext>
                  </a:extLst>
                </p:cNvPr>
                <p:cNvSpPr/>
                <p:nvPr/>
              </p:nvSpPr>
              <p:spPr>
                <a:xfrm>
                  <a:off x="4200759" y="3552290"/>
                  <a:ext cx="298" cy="1076"/>
                </a:xfrm>
                <a:custGeom>
                  <a:avLst/>
                  <a:gdLst>
                    <a:gd name="connsiteX0" fmla="*/ 299 w 298"/>
                    <a:gd name="connsiteY0" fmla="*/ 0 h 1076"/>
                    <a:gd name="connsiteX1" fmla="*/ 0 w 298"/>
                    <a:gd name="connsiteY1" fmla="*/ 1076 h 1076"/>
                    <a:gd name="connsiteX2" fmla="*/ 299 w 298"/>
                    <a:gd name="connsiteY2" fmla="*/ 0 h 1076"/>
                  </a:gdLst>
                  <a:ahLst/>
                  <a:cxnLst>
                    <a:cxn ang="0">
                      <a:pos x="connsiteX0" y="connsiteY0"/>
                    </a:cxn>
                    <a:cxn ang="0">
                      <a:pos x="connsiteX1" y="connsiteY1"/>
                    </a:cxn>
                    <a:cxn ang="0">
                      <a:pos x="connsiteX2" y="connsiteY2"/>
                    </a:cxn>
                  </a:cxnLst>
                  <a:rect l="l" t="t" r="r" b="b"/>
                  <a:pathLst>
                    <a:path w="298" h="1076">
                      <a:moveTo>
                        <a:pt x="299" y="0"/>
                      </a:moveTo>
                      <a:cubicBezTo>
                        <a:pt x="239" y="359"/>
                        <a:pt x="120" y="718"/>
                        <a:pt x="0" y="1076"/>
                      </a:cubicBezTo>
                      <a:cubicBezTo>
                        <a:pt x="120" y="778"/>
                        <a:pt x="239" y="359"/>
                        <a:pt x="29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29" name="Vrije vorm: vorm 8528">
                  <a:extLst>
                    <a:ext uri="{FF2B5EF4-FFF2-40B4-BE49-F238E27FC236}">
                      <a16:creationId xmlns:a16="http://schemas.microsoft.com/office/drawing/2014/main" id="{9A93E5B3-D1B4-437A-9FCB-C9C35E19B26F}"/>
                    </a:ext>
                  </a:extLst>
                </p:cNvPr>
                <p:cNvSpPr/>
                <p:nvPr/>
              </p:nvSpPr>
              <p:spPr>
                <a:xfrm>
                  <a:off x="4200340" y="3554024"/>
                  <a:ext cx="298" cy="1076"/>
                </a:xfrm>
                <a:custGeom>
                  <a:avLst/>
                  <a:gdLst>
                    <a:gd name="connsiteX0" fmla="*/ 299 w 298"/>
                    <a:gd name="connsiteY0" fmla="*/ 0 h 1076"/>
                    <a:gd name="connsiteX1" fmla="*/ 0 w 298"/>
                    <a:gd name="connsiteY1" fmla="*/ 1076 h 1076"/>
                    <a:gd name="connsiteX2" fmla="*/ 299 w 298"/>
                    <a:gd name="connsiteY2" fmla="*/ 0 h 1076"/>
                  </a:gdLst>
                  <a:ahLst/>
                  <a:cxnLst>
                    <a:cxn ang="0">
                      <a:pos x="connsiteX0" y="connsiteY0"/>
                    </a:cxn>
                    <a:cxn ang="0">
                      <a:pos x="connsiteX1" y="connsiteY1"/>
                    </a:cxn>
                    <a:cxn ang="0">
                      <a:pos x="connsiteX2" y="connsiteY2"/>
                    </a:cxn>
                  </a:cxnLst>
                  <a:rect l="l" t="t" r="r" b="b"/>
                  <a:pathLst>
                    <a:path w="298" h="1076">
                      <a:moveTo>
                        <a:pt x="299" y="0"/>
                      </a:moveTo>
                      <a:cubicBezTo>
                        <a:pt x="180" y="359"/>
                        <a:pt x="120" y="718"/>
                        <a:pt x="0" y="1076"/>
                      </a:cubicBezTo>
                      <a:cubicBezTo>
                        <a:pt x="60" y="778"/>
                        <a:pt x="180" y="419"/>
                        <a:pt x="29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30" name="Vrije vorm: vorm 8529">
                  <a:extLst>
                    <a:ext uri="{FF2B5EF4-FFF2-40B4-BE49-F238E27FC236}">
                      <a16:creationId xmlns:a16="http://schemas.microsoft.com/office/drawing/2014/main" id="{25A87F43-3DC5-4638-9938-2772FAA08F64}"/>
                    </a:ext>
                  </a:extLst>
                </p:cNvPr>
                <p:cNvSpPr/>
                <p:nvPr/>
              </p:nvSpPr>
              <p:spPr>
                <a:xfrm>
                  <a:off x="4196393" y="3564191"/>
                  <a:ext cx="478" cy="897"/>
                </a:xfrm>
                <a:custGeom>
                  <a:avLst/>
                  <a:gdLst>
                    <a:gd name="connsiteX0" fmla="*/ 479 w 478"/>
                    <a:gd name="connsiteY0" fmla="*/ 0 h 897"/>
                    <a:gd name="connsiteX1" fmla="*/ 0 w 478"/>
                    <a:gd name="connsiteY1" fmla="*/ 897 h 897"/>
                    <a:gd name="connsiteX2" fmla="*/ 479 w 478"/>
                    <a:gd name="connsiteY2" fmla="*/ 0 h 897"/>
                  </a:gdLst>
                  <a:ahLst/>
                  <a:cxnLst>
                    <a:cxn ang="0">
                      <a:pos x="connsiteX0" y="connsiteY0"/>
                    </a:cxn>
                    <a:cxn ang="0">
                      <a:pos x="connsiteX1" y="connsiteY1"/>
                    </a:cxn>
                    <a:cxn ang="0">
                      <a:pos x="connsiteX2" y="connsiteY2"/>
                    </a:cxn>
                  </a:cxnLst>
                  <a:rect l="l" t="t" r="r" b="b"/>
                  <a:pathLst>
                    <a:path w="478" h="897">
                      <a:moveTo>
                        <a:pt x="479" y="0"/>
                      </a:moveTo>
                      <a:cubicBezTo>
                        <a:pt x="299" y="299"/>
                        <a:pt x="179" y="598"/>
                        <a:pt x="0" y="897"/>
                      </a:cubicBezTo>
                      <a:cubicBezTo>
                        <a:pt x="179" y="598"/>
                        <a:pt x="299" y="299"/>
                        <a:pt x="47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31" name="Vrije vorm: vorm 8530">
                  <a:extLst>
                    <a:ext uri="{FF2B5EF4-FFF2-40B4-BE49-F238E27FC236}">
                      <a16:creationId xmlns:a16="http://schemas.microsoft.com/office/drawing/2014/main" id="{A5EAB440-1380-40A2-8B63-65068DC21790}"/>
                    </a:ext>
                  </a:extLst>
                </p:cNvPr>
                <p:cNvSpPr/>
                <p:nvPr/>
              </p:nvSpPr>
              <p:spPr>
                <a:xfrm>
                  <a:off x="4201237" y="3550495"/>
                  <a:ext cx="239" cy="1196"/>
                </a:xfrm>
                <a:custGeom>
                  <a:avLst/>
                  <a:gdLst>
                    <a:gd name="connsiteX0" fmla="*/ 239 w 239"/>
                    <a:gd name="connsiteY0" fmla="*/ 0 h 1196"/>
                    <a:gd name="connsiteX1" fmla="*/ 0 w 239"/>
                    <a:gd name="connsiteY1" fmla="*/ 1196 h 1196"/>
                    <a:gd name="connsiteX2" fmla="*/ 239 w 239"/>
                    <a:gd name="connsiteY2" fmla="*/ 0 h 1196"/>
                  </a:gdLst>
                  <a:ahLst/>
                  <a:cxnLst>
                    <a:cxn ang="0">
                      <a:pos x="connsiteX0" y="connsiteY0"/>
                    </a:cxn>
                    <a:cxn ang="0">
                      <a:pos x="connsiteX1" y="connsiteY1"/>
                    </a:cxn>
                    <a:cxn ang="0">
                      <a:pos x="connsiteX2" y="connsiteY2"/>
                    </a:cxn>
                  </a:cxnLst>
                  <a:rect l="l" t="t" r="r" b="b"/>
                  <a:pathLst>
                    <a:path w="239" h="1196">
                      <a:moveTo>
                        <a:pt x="239" y="0"/>
                      </a:moveTo>
                      <a:cubicBezTo>
                        <a:pt x="179" y="419"/>
                        <a:pt x="60" y="778"/>
                        <a:pt x="0" y="1196"/>
                      </a:cubicBezTo>
                      <a:cubicBezTo>
                        <a:pt x="60" y="778"/>
                        <a:pt x="179" y="359"/>
                        <a:pt x="23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32" name="Vrije vorm: vorm 8531">
                  <a:extLst>
                    <a:ext uri="{FF2B5EF4-FFF2-40B4-BE49-F238E27FC236}">
                      <a16:creationId xmlns:a16="http://schemas.microsoft.com/office/drawing/2014/main" id="{400FC9B6-4433-4DCD-BF7E-469F514674F3}"/>
                    </a:ext>
                  </a:extLst>
                </p:cNvPr>
                <p:cNvSpPr/>
                <p:nvPr/>
              </p:nvSpPr>
              <p:spPr>
                <a:xfrm>
                  <a:off x="4199742" y="3555699"/>
                  <a:ext cx="418" cy="1375"/>
                </a:xfrm>
                <a:custGeom>
                  <a:avLst/>
                  <a:gdLst>
                    <a:gd name="connsiteX0" fmla="*/ 419 w 418"/>
                    <a:gd name="connsiteY0" fmla="*/ 0 h 1375"/>
                    <a:gd name="connsiteX1" fmla="*/ 0 w 418"/>
                    <a:gd name="connsiteY1" fmla="*/ 1375 h 1375"/>
                    <a:gd name="connsiteX2" fmla="*/ 419 w 418"/>
                    <a:gd name="connsiteY2" fmla="*/ 0 h 1375"/>
                  </a:gdLst>
                  <a:ahLst/>
                  <a:cxnLst>
                    <a:cxn ang="0">
                      <a:pos x="connsiteX0" y="connsiteY0"/>
                    </a:cxn>
                    <a:cxn ang="0">
                      <a:pos x="connsiteX1" y="connsiteY1"/>
                    </a:cxn>
                    <a:cxn ang="0">
                      <a:pos x="connsiteX2" y="connsiteY2"/>
                    </a:cxn>
                  </a:cxnLst>
                  <a:rect l="l" t="t" r="r" b="b"/>
                  <a:pathLst>
                    <a:path w="418" h="1375">
                      <a:moveTo>
                        <a:pt x="419" y="0"/>
                      </a:moveTo>
                      <a:cubicBezTo>
                        <a:pt x="299" y="478"/>
                        <a:pt x="120" y="897"/>
                        <a:pt x="0" y="1375"/>
                      </a:cubicBezTo>
                      <a:cubicBezTo>
                        <a:pt x="120" y="957"/>
                        <a:pt x="299" y="478"/>
                        <a:pt x="41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33" name="Vrije vorm: vorm 8532">
                  <a:extLst>
                    <a:ext uri="{FF2B5EF4-FFF2-40B4-BE49-F238E27FC236}">
                      <a16:creationId xmlns:a16="http://schemas.microsoft.com/office/drawing/2014/main" id="{66637058-581C-4605-AE2B-715AC0B294B9}"/>
                    </a:ext>
                  </a:extLst>
                </p:cNvPr>
                <p:cNvSpPr/>
                <p:nvPr/>
              </p:nvSpPr>
              <p:spPr>
                <a:xfrm>
                  <a:off x="4201596" y="3548163"/>
                  <a:ext cx="298" cy="1794"/>
                </a:xfrm>
                <a:custGeom>
                  <a:avLst/>
                  <a:gdLst>
                    <a:gd name="connsiteX0" fmla="*/ 299 w 298"/>
                    <a:gd name="connsiteY0" fmla="*/ 0 h 1794"/>
                    <a:gd name="connsiteX1" fmla="*/ 0 w 298"/>
                    <a:gd name="connsiteY1" fmla="*/ 1794 h 1794"/>
                    <a:gd name="connsiteX2" fmla="*/ 299 w 298"/>
                    <a:gd name="connsiteY2" fmla="*/ 0 h 1794"/>
                  </a:gdLst>
                  <a:ahLst/>
                  <a:cxnLst>
                    <a:cxn ang="0">
                      <a:pos x="connsiteX0" y="connsiteY0"/>
                    </a:cxn>
                    <a:cxn ang="0">
                      <a:pos x="connsiteX1" y="connsiteY1"/>
                    </a:cxn>
                    <a:cxn ang="0">
                      <a:pos x="connsiteX2" y="connsiteY2"/>
                    </a:cxn>
                  </a:cxnLst>
                  <a:rect l="l" t="t" r="r" b="b"/>
                  <a:pathLst>
                    <a:path w="298" h="1794">
                      <a:moveTo>
                        <a:pt x="299" y="0"/>
                      </a:moveTo>
                      <a:cubicBezTo>
                        <a:pt x="179" y="598"/>
                        <a:pt x="120" y="1196"/>
                        <a:pt x="0" y="1794"/>
                      </a:cubicBezTo>
                      <a:cubicBezTo>
                        <a:pt x="120" y="1196"/>
                        <a:pt x="239" y="598"/>
                        <a:pt x="29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34" name="Vrije vorm: vorm 8533">
                  <a:extLst>
                    <a:ext uri="{FF2B5EF4-FFF2-40B4-BE49-F238E27FC236}">
                      <a16:creationId xmlns:a16="http://schemas.microsoft.com/office/drawing/2014/main" id="{2B9D19F4-E9E9-4946-A684-5E32F5E7C890}"/>
                    </a:ext>
                  </a:extLst>
                </p:cNvPr>
                <p:cNvSpPr/>
                <p:nvPr/>
              </p:nvSpPr>
              <p:spPr>
                <a:xfrm>
                  <a:off x="4197888" y="3561141"/>
                  <a:ext cx="358" cy="897"/>
                </a:xfrm>
                <a:custGeom>
                  <a:avLst/>
                  <a:gdLst>
                    <a:gd name="connsiteX0" fmla="*/ 359 w 358"/>
                    <a:gd name="connsiteY0" fmla="*/ 0 h 897"/>
                    <a:gd name="connsiteX1" fmla="*/ 0 w 358"/>
                    <a:gd name="connsiteY1" fmla="*/ 897 h 897"/>
                    <a:gd name="connsiteX2" fmla="*/ 359 w 358"/>
                    <a:gd name="connsiteY2" fmla="*/ 0 h 897"/>
                  </a:gdLst>
                  <a:ahLst/>
                  <a:cxnLst>
                    <a:cxn ang="0">
                      <a:pos x="connsiteX0" y="connsiteY0"/>
                    </a:cxn>
                    <a:cxn ang="0">
                      <a:pos x="connsiteX1" y="connsiteY1"/>
                    </a:cxn>
                    <a:cxn ang="0">
                      <a:pos x="connsiteX2" y="connsiteY2"/>
                    </a:cxn>
                  </a:cxnLst>
                  <a:rect l="l" t="t" r="r" b="b"/>
                  <a:pathLst>
                    <a:path w="358" h="897">
                      <a:moveTo>
                        <a:pt x="359" y="0"/>
                      </a:moveTo>
                      <a:cubicBezTo>
                        <a:pt x="239" y="299"/>
                        <a:pt x="119" y="598"/>
                        <a:pt x="0" y="897"/>
                      </a:cubicBezTo>
                      <a:cubicBezTo>
                        <a:pt x="60" y="598"/>
                        <a:pt x="179" y="299"/>
                        <a:pt x="35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35" name="Vrije vorm: vorm 8534">
                  <a:extLst>
                    <a:ext uri="{FF2B5EF4-FFF2-40B4-BE49-F238E27FC236}">
                      <a16:creationId xmlns:a16="http://schemas.microsoft.com/office/drawing/2014/main" id="{6B8E3218-CE38-4982-A0A4-53C1B6001D82}"/>
                    </a:ext>
                  </a:extLst>
                </p:cNvPr>
                <p:cNvSpPr/>
                <p:nvPr/>
              </p:nvSpPr>
              <p:spPr>
                <a:xfrm>
                  <a:off x="4197111" y="3562696"/>
                  <a:ext cx="418" cy="837"/>
                </a:xfrm>
                <a:custGeom>
                  <a:avLst/>
                  <a:gdLst>
                    <a:gd name="connsiteX0" fmla="*/ 419 w 418"/>
                    <a:gd name="connsiteY0" fmla="*/ 0 h 837"/>
                    <a:gd name="connsiteX1" fmla="*/ 0 w 418"/>
                    <a:gd name="connsiteY1" fmla="*/ 837 h 837"/>
                    <a:gd name="connsiteX2" fmla="*/ 419 w 418"/>
                    <a:gd name="connsiteY2" fmla="*/ 0 h 837"/>
                  </a:gdLst>
                  <a:ahLst/>
                  <a:cxnLst>
                    <a:cxn ang="0">
                      <a:pos x="connsiteX0" y="connsiteY0"/>
                    </a:cxn>
                    <a:cxn ang="0">
                      <a:pos x="connsiteX1" y="connsiteY1"/>
                    </a:cxn>
                    <a:cxn ang="0">
                      <a:pos x="connsiteX2" y="connsiteY2"/>
                    </a:cxn>
                  </a:cxnLst>
                  <a:rect l="l" t="t" r="r" b="b"/>
                  <a:pathLst>
                    <a:path w="418" h="837">
                      <a:moveTo>
                        <a:pt x="419" y="0"/>
                      </a:moveTo>
                      <a:cubicBezTo>
                        <a:pt x="299" y="299"/>
                        <a:pt x="179" y="598"/>
                        <a:pt x="0" y="837"/>
                      </a:cubicBezTo>
                      <a:cubicBezTo>
                        <a:pt x="179" y="538"/>
                        <a:pt x="299" y="299"/>
                        <a:pt x="41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36" name="Vrije vorm: vorm 8535">
                  <a:extLst>
                    <a:ext uri="{FF2B5EF4-FFF2-40B4-BE49-F238E27FC236}">
                      <a16:creationId xmlns:a16="http://schemas.microsoft.com/office/drawing/2014/main" id="{F94447B6-BD0F-4084-9B0E-F577BB382206}"/>
                    </a:ext>
                  </a:extLst>
                </p:cNvPr>
                <p:cNvSpPr/>
                <p:nvPr/>
              </p:nvSpPr>
              <p:spPr>
                <a:xfrm>
                  <a:off x="4199084" y="3557373"/>
                  <a:ext cx="538" cy="1555"/>
                </a:xfrm>
                <a:custGeom>
                  <a:avLst/>
                  <a:gdLst>
                    <a:gd name="connsiteX0" fmla="*/ 538 w 538"/>
                    <a:gd name="connsiteY0" fmla="*/ 0 h 1555"/>
                    <a:gd name="connsiteX1" fmla="*/ 0 w 538"/>
                    <a:gd name="connsiteY1" fmla="*/ 1555 h 1555"/>
                    <a:gd name="connsiteX2" fmla="*/ 538 w 538"/>
                    <a:gd name="connsiteY2" fmla="*/ 0 h 1555"/>
                  </a:gdLst>
                  <a:ahLst/>
                  <a:cxnLst>
                    <a:cxn ang="0">
                      <a:pos x="connsiteX0" y="connsiteY0"/>
                    </a:cxn>
                    <a:cxn ang="0">
                      <a:pos x="connsiteX1" y="connsiteY1"/>
                    </a:cxn>
                    <a:cxn ang="0">
                      <a:pos x="connsiteX2" y="connsiteY2"/>
                    </a:cxn>
                  </a:cxnLst>
                  <a:rect l="l" t="t" r="r" b="b"/>
                  <a:pathLst>
                    <a:path w="538" h="1555">
                      <a:moveTo>
                        <a:pt x="538" y="0"/>
                      </a:moveTo>
                      <a:cubicBezTo>
                        <a:pt x="359" y="538"/>
                        <a:pt x="179" y="1076"/>
                        <a:pt x="0" y="1555"/>
                      </a:cubicBezTo>
                      <a:cubicBezTo>
                        <a:pt x="179" y="1017"/>
                        <a:pt x="359" y="538"/>
                        <a:pt x="53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37" name="Vrije vorm: vorm 8536">
                  <a:extLst>
                    <a:ext uri="{FF2B5EF4-FFF2-40B4-BE49-F238E27FC236}">
                      <a16:creationId xmlns:a16="http://schemas.microsoft.com/office/drawing/2014/main" id="{B7F86B3A-901A-488A-9A78-52CB7913BDD3}"/>
                    </a:ext>
                  </a:extLst>
                </p:cNvPr>
                <p:cNvSpPr/>
                <p:nvPr/>
              </p:nvSpPr>
              <p:spPr>
                <a:xfrm>
                  <a:off x="4198426" y="3559466"/>
                  <a:ext cx="418" cy="1016"/>
                </a:xfrm>
                <a:custGeom>
                  <a:avLst/>
                  <a:gdLst>
                    <a:gd name="connsiteX0" fmla="*/ 419 w 418"/>
                    <a:gd name="connsiteY0" fmla="*/ 0 h 1016"/>
                    <a:gd name="connsiteX1" fmla="*/ 0 w 418"/>
                    <a:gd name="connsiteY1" fmla="*/ 1017 h 1016"/>
                    <a:gd name="connsiteX2" fmla="*/ 419 w 418"/>
                    <a:gd name="connsiteY2" fmla="*/ 0 h 1016"/>
                  </a:gdLst>
                  <a:ahLst/>
                  <a:cxnLst>
                    <a:cxn ang="0">
                      <a:pos x="connsiteX0" y="connsiteY0"/>
                    </a:cxn>
                    <a:cxn ang="0">
                      <a:pos x="connsiteX1" y="connsiteY1"/>
                    </a:cxn>
                    <a:cxn ang="0">
                      <a:pos x="connsiteX2" y="connsiteY2"/>
                    </a:cxn>
                  </a:cxnLst>
                  <a:rect l="l" t="t" r="r" b="b"/>
                  <a:pathLst>
                    <a:path w="418" h="1016">
                      <a:moveTo>
                        <a:pt x="419" y="0"/>
                      </a:moveTo>
                      <a:cubicBezTo>
                        <a:pt x="299" y="359"/>
                        <a:pt x="180" y="658"/>
                        <a:pt x="0" y="1017"/>
                      </a:cubicBezTo>
                      <a:cubicBezTo>
                        <a:pt x="180" y="718"/>
                        <a:pt x="299" y="359"/>
                        <a:pt x="41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38" name="Vrije vorm: vorm 8537">
                  <a:extLst>
                    <a:ext uri="{FF2B5EF4-FFF2-40B4-BE49-F238E27FC236}">
                      <a16:creationId xmlns:a16="http://schemas.microsoft.com/office/drawing/2014/main" id="{12453781-CC27-4554-A8F6-B1D775B05D15}"/>
                    </a:ext>
                  </a:extLst>
                </p:cNvPr>
                <p:cNvSpPr/>
                <p:nvPr/>
              </p:nvSpPr>
              <p:spPr>
                <a:xfrm>
                  <a:off x="4193821" y="3568916"/>
                  <a:ext cx="418" cy="657"/>
                </a:xfrm>
                <a:custGeom>
                  <a:avLst/>
                  <a:gdLst>
                    <a:gd name="connsiteX0" fmla="*/ 419 w 418"/>
                    <a:gd name="connsiteY0" fmla="*/ 0 h 657"/>
                    <a:gd name="connsiteX1" fmla="*/ 0 w 418"/>
                    <a:gd name="connsiteY1" fmla="*/ 658 h 657"/>
                    <a:gd name="connsiteX2" fmla="*/ 419 w 418"/>
                    <a:gd name="connsiteY2" fmla="*/ 0 h 657"/>
                  </a:gdLst>
                  <a:ahLst/>
                  <a:cxnLst>
                    <a:cxn ang="0">
                      <a:pos x="connsiteX0" y="connsiteY0"/>
                    </a:cxn>
                    <a:cxn ang="0">
                      <a:pos x="connsiteX1" y="connsiteY1"/>
                    </a:cxn>
                    <a:cxn ang="0">
                      <a:pos x="connsiteX2" y="connsiteY2"/>
                    </a:cxn>
                  </a:cxnLst>
                  <a:rect l="l" t="t" r="r" b="b"/>
                  <a:pathLst>
                    <a:path w="418" h="657">
                      <a:moveTo>
                        <a:pt x="419" y="0"/>
                      </a:moveTo>
                      <a:cubicBezTo>
                        <a:pt x="299" y="239"/>
                        <a:pt x="179" y="419"/>
                        <a:pt x="0" y="658"/>
                      </a:cubicBezTo>
                      <a:cubicBezTo>
                        <a:pt x="119" y="419"/>
                        <a:pt x="239" y="239"/>
                        <a:pt x="41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39" name="Vrije vorm: vorm 8538">
                  <a:extLst>
                    <a:ext uri="{FF2B5EF4-FFF2-40B4-BE49-F238E27FC236}">
                      <a16:creationId xmlns:a16="http://schemas.microsoft.com/office/drawing/2014/main" id="{BA1C4B36-0A46-4B0F-A303-4B178549BE2A}"/>
                    </a:ext>
                  </a:extLst>
                </p:cNvPr>
                <p:cNvSpPr/>
                <p:nvPr/>
              </p:nvSpPr>
              <p:spPr>
                <a:xfrm>
                  <a:off x="4181262" y="3581774"/>
                  <a:ext cx="179" cy="119"/>
                </a:xfrm>
                <a:custGeom>
                  <a:avLst/>
                  <a:gdLst>
                    <a:gd name="connsiteX0" fmla="*/ 180 w 179"/>
                    <a:gd name="connsiteY0" fmla="*/ 0 h 119"/>
                    <a:gd name="connsiteX1" fmla="*/ 0 w 179"/>
                    <a:gd name="connsiteY1" fmla="*/ 120 h 119"/>
                    <a:gd name="connsiteX2" fmla="*/ 180 w 179"/>
                    <a:gd name="connsiteY2" fmla="*/ 0 h 119"/>
                  </a:gdLst>
                  <a:ahLst/>
                  <a:cxnLst>
                    <a:cxn ang="0">
                      <a:pos x="connsiteX0" y="connsiteY0"/>
                    </a:cxn>
                    <a:cxn ang="0">
                      <a:pos x="connsiteX1" y="connsiteY1"/>
                    </a:cxn>
                    <a:cxn ang="0">
                      <a:pos x="connsiteX2" y="connsiteY2"/>
                    </a:cxn>
                  </a:cxnLst>
                  <a:rect l="l" t="t" r="r" b="b"/>
                  <a:pathLst>
                    <a:path w="179" h="119">
                      <a:moveTo>
                        <a:pt x="180" y="0"/>
                      </a:moveTo>
                      <a:cubicBezTo>
                        <a:pt x="120" y="60"/>
                        <a:pt x="60" y="60"/>
                        <a:pt x="0" y="120"/>
                      </a:cubicBezTo>
                      <a:cubicBezTo>
                        <a:pt x="0" y="60"/>
                        <a:pt x="120" y="60"/>
                        <a:pt x="180"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40" name="Vrije vorm: vorm 8539">
                  <a:extLst>
                    <a:ext uri="{FF2B5EF4-FFF2-40B4-BE49-F238E27FC236}">
                      <a16:creationId xmlns:a16="http://schemas.microsoft.com/office/drawing/2014/main" id="{AC279A3C-D385-4249-952C-F3CFA3F44F2A}"/>
                    </a:ext>
                  </a:extLst>
                </p:cNvPr>
                <p:cNvSpPr/>
                <p:nvPr/>
              </p:nvSpPr>
              <p:spPr>
                <a:xfrm>
                  <a:off x="4178271" y="3583330"/>
                  <a:ext cx="5980" cy="5980"/>
                </a:xfrm>
                <a:custGeom>
                  <a:avLst/>
                  <a:gdLst>
                    <a:gd name="connsiteX0" fmla="*/ 0 w 5980"/>
                    <a:gd name="connsiteY0" fmla="*/ 0 h 5980"/>
                    <a:gd name="connsiteX1" fmla="*/ 0 w 5980"/>
                    <a:gd name="connsiteY1" fmla="*/ 0 h 5980"/>
                    <a:gd name="connsiteX2" fmla="*/ 0 w 5980"/>
                    <a:gd name="connsiteY2" fmla="*/ 0 h 5980"/>
                  </a:gdLst>
                  <a:ahLst/>
                  <a:cxnLst>
                    <a:cxn ang="0">
                      <a:pos x="connsiteX0" y="connsiteY0"/>
                    </a:cxn>
                    <a:cxn ang="0">
                      <a:pos x="connsiteX1" y="connsiteY1"/>
                    </a:cxn>
                    <a:cxn ang="0">
                      <a:pos x="connsiteX2" y="connsiteY2"/>
                    </a:cxn>
                  </a:cxnLst>
                  <a:rect l="l" t="t" r="r" b="b"/>
                  <a:pathLst>
                    <a:path w="5980" h="5980">
                      <a:moveTo>
                        <a:pt x="0" y="0"/>
                      </a:moveTo>
                      <a:lnTo>
                        <a:pt x="0" y="0"/>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8541" name="Vrije vorm: vorm 8540">
                  <a:extLst>
                    <a:ext uri="{FF2B5EF4-FFF2-40B4-BE49-F238E27FC236}">
                      <a16:creationId xmlns:a16="http://schemas.microsoft.com/office/drawing/2014/main" id="{8B715C26-BA83-43F2-9FE3-289DFD544A63}"/>
                    </a:ext>
                  </a:extLst>
                </p:cNvPr>
                <p:cNvSpPr/>
                <p:nvPr/>
              </p:nvSpPr>
              <p:spPr>
                <a:xfrm>
                  <a:off x="4182219" y="3581117"/>
                  <a:ext cx="298" cy="179"/>
                </a:xfrm>
                <a:custGeom>
                  <a:avLst/>
                  <a:gdLst>
                    <a:gd name="connsiteX0" fmla="*/ 299 w 298"/>
                    <a:gd name="connsiteY0" fmla="*/ 0 h 179"/>
                    <a:gd name="connsiteX1" fmla="*/ 0 w 298"/>
                    <a:gd name="connsiteY1" fmla="*/ 179 h 179"/>
                    <a:gd name="connsiteX2" fmla="*/ 299 w 298"/>
                    <a:gd name="connsiteY2" fmla="*/ 0 h 179"/>
                  </a:gdLst>
                  <a:ahLst/>
                  <a:cxnLst>
                    <a:cxn ang="0">
                      <a:pos x="connsiteX0" y="connsiteY0"/>
                    </a:cxn>
                    <a:cxn ang="0">
                      <a:pos x="connsiteX1" y="connsiteY1"/>
                    </a:cxn>
                    <a:cxn ang="0">
                      <a:pos x="connsiteX2" y="connsiteY2"/>
                    </a:cxn>
                  </a:cxnLst>
                  <a:rect l="l" t="t" r="r" b="b"/>
                  <a:pathLst>
                    <a:path w="298" h="179">
                      <a:moveTo>
                        <a:pt x="299" y="0"/>
                      </a:moveTo>
                      <a:cubicBezTo>
                        <a:pt x="179" y="60"/>
                        <a:pt x="119" y="120"/>
                        <a:pt x="0" y="179"/>
                      </a:cubicBezTo>
                      <a:cubicBezTo>
                        <a:pt x="119" y="120"/>
                        <a:pt x="179" y="60"/>
                        <a:pt x="29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42" name="Vrije vorm: vorm 8541">
                  <a:extLst>
                    <a:ext uri="{FF2B5EF4-FFF2-40B4-BE49-F238E27FC236}">
                      <a16:creationId xmlns:a16="http://schemas.microsoft.com/office/drawing/2014/main" id="{AB85FC11-8CE2-488C-A4C2-9909C5DE5C37}"/>
                    </a:ext>
                  </a:extLst>
                </p:cNvPr>
                <p:cNvSpPr/>
                <p:nvPr/>
              </p:nvSpPr>
              <p:spPr>
                <a:xfrm>
                  <a:off x="4188439" y="3505341"/>
                  <a:ext cx="12679" cy="11183"/>
                </a:xfrm>
                <a:custGeom>
                  <a:avLst/>
                  <a:gdLst>
                    <a:gd name="connsiteX0" fmla="*/ 9569 w 12679"/>
                    <a:gd name="connsiteY0" fmla="*/ 11184 h 11183"/>
                    <a:gd name="connsiteX1" fmla="*/ 12679 w 12679"/>
                    <a:gd name="connsiteY1" fmla="*/ 10287 h 11183"/>
                    <a:gd name="connsiteX2" fmla="*/ 9390 w 12679"/>
                    <a:gd name="connsiteY2" fmla="*/ 5024 h 11183"/>
                    <a:gd name="connsiteX3" fmla="*/ 5024 w 12679"/>
                    <a:gd name="connsiteY3" fmla="*/ 1196 h 11183"/>
                    <a:gd name="connsiteX4" fmla="*/ 0 w 12679"/>
                    <a:gd name="connsiteY4" fmla="*/ 0 h 11183"/>
                    <a:gd name="connsiteX5" fmla="*/ 9569 w 12679"/>
                    <a:gd name="connsiteY5" fmla="*/ 11184 h 1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79" h="11183">
                      <a:moveTo>
                        <a:pt x="9569" y="11184"/>
                      </a:moveTo>
                      <a:lnTo>
                        <a:pt x="12679" y="10287"/>
                      </a:lnTo>
                      <a:lnTo>
                        <a:pt x="9390" y="5024"/>
                      </a:lnTo>
                      <a:lnTo>
                        <a:pt x="5024" y="1196"/>
                      </a:lnTo>
                      <a:cubicBezTo>
                        <a:pt x="3409" y="718"/>
                        <a:pt x="1734" y="299"/>
                        <a:pt x="0" y="0"/>
                      </a:cubicBezTo>
                      <a:cubicBezTo>
                        <a:pt x="3888" y="2512"/>
                        <a:pt x="7177" y="6399"/>
                        <a:pt x="9569" y="1118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43" name="Vrije vorm: vorm 8542">
                  <a:extLst>
                    <a:ext uri="{FF2B5EF4-FFF2-40B4-BE49-F238E27FC236}">
                      <a16:creationId xmlns:a16="http://schemas.microsoft.com/office/drawing/2014/main" id="{6AE53E9A-9851-47B8-BD91-155540DFBB3E}"/>
                    </a:ext>
                  </a:extLst>
                </p:cNvPr>
                <p:cNvSpPr/>
                <p:nvPr/>
              </p:nvSpPr>
              <p:spPr>
                <a:xfrm>
                  <a:off x="4175580" y="3504705"/>
                  <a:ext cx="22487" cy="12597"/>
                </a:xfrm>
                <a:custGeom>
                  <a:avLst/>
                  <a:gdLst>
                    <a:gd name="connsiteX0" fmla="*/ 0 w 22487"/>
                    <a:gd name="connsiteY0" fmla="*/ 456 h 12597"/>
                    <a:gd name="connsiteX1" fmla="*/ 4605 w 22487"/>
                    <a:gd name="connsiteY1" fmla="*/ 636 h 12597"/>
                    <a:gd name="connsiteX2" fmla="*/ 8792 w 22487"/>
                    <a:gd name="connsiteY2" fmla="*/ 1892 h 12597"/>
                    <a:gd name="connsiteX3" fmla="*/ 19976 w 22487"/>
                    <a:gd name="connsiteY3" fmla="*/ 12597 h 12597"/>
                    <a:gd name="connsiteX4" fmla="*/ 22488 w 22487"/>
                    <a:gd name="connsiteY4" fmla="*/ 11879 h 12597"/>
                    <a:gd name="connsiteX5" fmla="*/ 12919 w 22487"/>
                    <a:gd name="connsiteY5" fmla="*/ 636 h 12597"/>
                    <a:gd name="connsiteX6" fmla="*/ 12679 w 22487"/>
                    <a:gd name="connsiteY6" fmla="*/ 576 h 12597"/>
                    <a:gd name="connsiteX7" fmla="*/ 0 w 22487"/>
                    <a:gd name="connsiteY7" fmla="*/ 456 h 12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87" h="12597">
                      <a:moveTo>
                        <a:pt x="0" y="456"/>
                      </a:moveTo>
                      <a:cubicBezTo>
                        <a:pt x="1495" y="337"/>
                        <a:pt x="3050" y="397"/>
                        <a:pt x="4605" y="636"/>
                      </a:cubicBezTo>
                      <a:cubicBezTo>
                        <a:pt x="6041" y="875"/>
                        <a:pt x="7476" y="1294"/>
                        <a:pt x="8792" y="1892"/>
                      </a:cubicBezTo>
                      <a:cubicBezTo>
                        <a:pt x="13337" y="3865"/>
                        <a:pt x="17165" y="7633"/>
                        <a:pt x="19976" y="12597"/>
                      </a:cubicBezTo>
                      <a:lnTo>
                        <a:pt x="22488" y="11879"/>
                      </a:lnTo>
                      <a:cubicBezTo>
                        <a:pt x="20096" y="7095"/>
                        <a:pt x="16806" y="3208"/>
                        <a:pt x="12919" y="636"/>
                      </a:cubicBezTo>
                      <a:cubicBezTo>
                        <a:pt x="12859" y="636"/>
                        <a:pt x="12739" y="576"/>
                        <a:pt x="12679" y="576"/>
                      </a:cubicBezTo>
                      <a:cubicBezTo>
                        <a:pt x="8313" y="-202"/>
                        <a:pt x="4067" y="-142"/>
                        <a:pt x="0" y="45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44" name="Vrije vorm: vorm 8543">
                  <a:extLst>
                    <a:ext uri="{FF2B5EF4-FFF2-40B4-BE49-F238E27FC236}">
                      <a16:creationId xmlns:a16="http://schemas.microsoft.com/office/drawing/2014/main" id="{EEEBB369-B61B-4687-9047-49F42CBEFE7F}"/>
                    </a:ext>
                  </a:extLst>
                </p:cNvPr>
                <p:cNvSpPr/>
                <p:nvPr/>
              </p:nvSpPr>
              <p:spPr>
                <a:xfrm>
                  <a:off x="4200639" y="3553426"/>
                  <a:ext cx="179" cy="657"/>
                </a:xfrm>
                <a:custGeom>
                  <a:avLst/>
                  <a:gdLst>
                    <a:gd name="connsiteX0" fmla="*/ 180 w 179"/>
                    <a:gd name="connsiteY0" fmla="*/ 0 h 657"/>
                    <a:gd name="connsiteX1" fmla="*/ 0 w 179"/>
                    <a:gd name="connsiteY1" fmla="*/ 658 h 657"/>
                    <a:gd name="connsiteX2" fmla="*/ 180 w 179"/>
                    <a:gd name="connsiteY2" fmla="*/ 0 h 657"/>
                  </a:gdLst>
                  <a:ahLst/>
                  <a:cxnLst>
                    <a:cxn ang="0">
                      <a:pos x="connsiteX0" y="connsiteY0"/>
                    </a:cxn>
                    <a:cxn ang="0">
                      <a:pos x="connsiteX1" y="connsiteY1"/>
                    </a:cxn>
                    <a:cxn ang="0">
                      <a:pos x="connsiteX2" y="connsiteY2"/>
                    </a:cxn>
                  </a:cxnLst>
                  <a:rect l="l" t="t" r="r" b="b"/>
                  <a:pathLst>
                    <a:path w="179" h="657">
                      <a:moveTo>
                        <a:pt x="180" y="0"/>
                      </a:moveTo>
                      <a:cubicBezTo>
                        <a:pt x="120" y="239"/>
                        <a:pt x="60" y="419"/>
                        <a:pt x="0" y="658"/>
                      </a:cubicBezTo>
                      <a:cubicBezTo>
                        <a:pt x="60" y="419"/>
                        <a:pt x="120" y="179"/>
                        <a:pt x="180"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45" name="Vrije vorm: vorm 8544">
                  <a:extLst>
                    <a:ext uri="{FF2B5EF4-FFF2-40B4-BE49-F238E27FC236}">
                      <a16:creationId xmlns:a16="http://schemas.microsoft.com/office/drawing/2014/main" id="{BD42F9EE-978E-4611-A8D4-0F9A0803E153}"/>
                    </a:ext>
                  </a:extLst>
                </p:cNvPr>
                <p:cNvSpPr/>
                <p:nvPr/>
              </p:nvSpPr>
              <p:spPr>
                <a:xfrm>
                  <a:off x="4187302" y="3576811"/>
                  <a:ext cx="657" cy="657"/>
                </a:xfrm>
                <a:custGeom>
                  <a:avLst/>
                  <a:gdLst>
                    <a:gd name="connsiteX0" fmla="*/ 658 w 657"/>
                    <a:gd name="connsiteY0" fmla="*/ 0 h 657"/>
                    <a:gd name="connsiteX1" fmla="*/ 0 w 657"/>
                    <a:gd name="connsiteY1" fmla="*/ 658 h 657"/>
                    <a:gd name="connsiteX2" fmla="*/ 658 w 657"/>
                    <a:gd name="connsiteY2" fmla="*/ 0 h 657"/>
                  </a:gdLst>
                  <a:ahLst/>
                  <a:cxnLst>
                    <a:cxn ang="0">
                      <a:pos x="connsiteX0" y="connsiteY0"/>
                    </a:cxn>
                    <a:cxn ang="0">
                      <a:pos x="connsiteX1" y="connsiteY1"/>
                    </a:cxn>
                    <a:cxn ang="0">
                      <a:pos x="connsiteX2" y="connsiteY2"/>
                    </a:cxn>
                  </a:cxnLst>
                  <a:rect l="l" t="t" r="r" b="b"/>
                  <a:pathLst>
                    <a:path w="657" h="657">
                      <a:moveTo>
                        <a:pt x="658" y="0"/>
                      </a:moveTo>
                      <a:cubicBezTo>
                        <a:pt x="419" y="239"/>
                        <a:pt x="239" y="419"/>
                        <a:pt x="0" y="658"/>
                      </a:cubicBezTo>
                      <a:cubicBezTo>
                        <a:pt x="180" y="419"/>
                        <a:pt x="419" y="179"/>
                        <a:pt x="65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46" name="Vrije vorm: vorm 8545">
                  <a:extLst>
                    <a:ext uri="{FF2B5EF4-FFF2-40B4-BE49-F238E27FC236}">
                      <a16:creationId xmlns:a16="http://schemas.microsoft.com/office/drawing/2014/main" id="{537658C2-4074-4455-BB3B-9C4100849B92}"/>
                    </a:ext>
                  </a:extLst>
                </p:cNvPr>
                <p:cNvSpPr/>
                <p:nvPr/>
              </p:nvSpPr>
              <p:spPr>
                <a:xfrm>
                  <a:off x="4199682" y="3557074"/>
                  <a:ext cx="59" cy="299"/>
                </a:xfrm>
                <a:custGeom>
                  <a:avLst/>
                  <a:gdLst>
                    <a:gd name="connsiteX0" fmla="*/ 60 w 59"/>
                    <a:gd name="connsiteY0" fmla="*/ 0 h 299"/>
                    <a:gd name="connsiteX1" fmla="*/ 0 w 59"/>
                    <a:gd name="connsiteY1" fmla="*/ 299 h 299"/>
                    <a:gd name="connsiteX2" fmla="*/ 60 w 59"/>
                    <a:gd name="connsiteY2" fmla="*/ 0 h 299"/>
                  </a:gdLst>
                  <a:ahLst/>
                  <a:cxnLst>
                    <a:cxn ang="0">
                      <a:pos x="connsiteX0" y="connsiteY0"/>
                    </a:cxn>
                    <a:cxn ang="0">
                      <a:pos x="connsiteX1" y="connsiteY1"/>
                    </a:cxn>
                    <a:cxn ang="0">
                      <a:pos x="connsiteX2" y="connsiteY2"/>
                    </a:cxn>
                  </a:cxnLst>
                  <a:rect l="l" t="t" r="r" b="b"/>
                  <a:pathLst>
                    <a:path w="59" h="299">
                      <a:moveTo>
                        <a:pt x="60" y="0"/>
                      </a:moveTo>
                      <a:cubicBezTo>
                        <a:pt x="60" y="120"/>
                        <a:pt x="0" y="180"/>
                        <a:pt x="0" y="299"/>
                      </a:cubicBezTo>
                      <a:cubicBezTo>
                        <a:pt x="0" y="180"/>
                        <a:pt x="0" y="120"/>
                        <a:pt x="60"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47" name="Vrije vorm: vorm 8546">
                  <a:extLst>
                    <a:ext uri="{FF2B5EF4-FFF2-40B4-BE49-F238E27FC236}">
                      <a16:creationId xmlns:a16="http://schemas.microsoft.com/office/drawing/2014/main" id="{1A0C2D73-20F1-4561-990D-20F6179A8124}"/>
                    </a:ext>
                  </a:extLst>
                </p:cNvPr>
                <p:cNvSpPr/>
                <p:nvPr/>
              </p:nvSpPr>
              <p:spPr>
                <a:xfrm>
                  <a:off x="4200161" y="3555160"/>
                  <a:ext cx="179" cy="598"/>
                </a:xfrm>
                <a:custGeom>
                  <a:avLst/>
                  <a:gdLst>
                    <a:gd name="connsiteX0" fmla="*/ 179 w 179"/>
                    <a:gd name="connsiteY0" fmla="*/ 0 h 598"/>
                    <a:gd name="connsiteX1" fmla="*/ 0 w 179"/>
                    <a:gd name="connsiteY1" fmla="*/ 598 h 598"/>
                    <a:gd name="connsiteX2" fmla="*/ 179 w 179"/>
                    <a:gd name="connsiteY2" fmla="*/ 0 h 598"/>
                  </a:gdLst>
                  <a:ahLst/>
                  <a:cxnLst>
                    <a:cxn ang="0">
                      <a:pos x="connsiteX0" y="connsiteY0"/>
                    </a:cxn>
                    <a:cxn ang="0">
                      <a:pos x="connsiteX1" y="connsiteY1"/>
                    </a:cxn>
                    <a:cxn ang="0">
                      <a:pos x="connsiteX2" y="connsiteY2"/>
                    </a:cxn>
                  </a:cxnLst>
                  <a:rect l="l" t="t" r="r" b="b"/>
                  <a:pathLst>
                    <a:path w="179" h="598">
                      <a:moveTo>
                        <a:pt x="179" y="0"/>
                      </a:moveTo>
                      <a:cubicBezTo>
                        <a:pt x="119" y="179"/>
                        <a:pt x="60" y="359"/>
                        <a:pt x="0" y="598"/>
                      </a:cubicBezTo>
                      <a:cubicBezTo>
                        <a:pt x="60" y="359"/>
                        <a:pt x="119" y="179"/>
                        <a:pt x="17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48" name="Vrije vorm: vorm 8547">
                  <a:extLst>
                    <a:ext uri="{FF2B5EF4-FFF2-40B4-BE49-F238E27FC236}">
                      <a16:creationId xmlns:a16="http://schemas.microsoft.com/office/drawing/2014/main" id="{01DAFA61-B2FE-483A-AA6D-9503819310F1}"/>
                    </a:ext>
                  </a:extLst>
                </p:cNvPr>
                <p:cNvSpPr/>
                <p:nvPr/>
              </p:nvSpPr>
              <p:spPr>
                <a:xfrm>
                  <a:off x="4181441" y="3581296"/>
                  <a:ext cx="777" cy="478"/>
                </a:xfrm>
                <a:custGeom>
                  <a:avLst/>
                  <a:gdLst>
                    <a:gd name="connsiteX0" fmla="*/ 778 w 777"/>
                    <a:gd name="connsiteY0" fmla="*/ 0 h 478"/>
                    <a:gd name="connsiteX1" fmla="*/ 0 w 777"/>
                    <a:gd name="connsiteY1" fmla="*/ 478 h 478"/>
                    <a:gd name="connsiteX2" fmla="*/ 778 w 777"/>
                    <a:gd name="connsiteY2" fmla="*/ 0 h 478"/>
                  </a:gdLst>
                  <a:ahLst/>
                  <a:cxnLst>
                    <a:cxn ang="0">
                      <a:pos x="connsiteX0" y="connsiteY0"/>
                    </a:cxn>
                    <a:cxn ang="0">
                      <a:pos x="connsiteX1" y="connsiteY1"/>
                    </a:cxn>
                    <a:cxn ang="0">
                      <a:pos x="connsiteX2" y="connsiteY2"/>
                    </a:cxn>
                  </a:cxnLst>
                  <a:rect l="l" t="t" r="r" b="b"/>
                  <a:pathLst>
                    <a:path w="777" h="478">
                      <a:moveTo>
                        <a:pt x="778" y="0"/>
                      </a:moveTo>
                      <a:cubicBezTo>
                        <a:pt x="538" y="179"/>
                        <a:pt x="239" y="299"/>
                        <a:pt x="0" y="478"/>
                      </a:cubicBezTo>
                      <a:cubicBezTo>
                        <a:pt x="239" y="299"/>
                        <a:pt x="538" y="179"/>
                        <a:pt x="77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49" name="Vrije vorm: vorm 8548">
                  <a:extLst>
                    <a:ext uri="{FF2B5EF4-FFF2-40B4-BE49-F238E27FC236}">
                      <a16:creationId xmlns:a16="http://schemas.microsoft.com/office/drawing/2014/main" id="{862B12CD-DE0A-4727-8579-D4421AD559D3}"/>
                    </a:ext>
                  </a:extLst>
                </p:cNvPr>
                <p:cNvSpPr/>
                <p:nvPr/>
              </p:nvSpPr>
              <p:spPr>
                <a:xfrm>
                  <a:off x="4192505" y="3570830"/>
                  <a:ext cx="478" cy="657"/>
                </a:xfrm>
                <a:custGeom>
                  <a:avLst/>
                  <a:gdLst>
                    <a:gd name="connsiteX0" fmla="*/ 479 w 478"/>
                    <a:gd name="connsiteY0" fmla="*/ 0 h 657"/>
                    <a:gd name="connsiteX1" fmla="*/ 0 w 478"/>
                    <a:gd name="connsiteY1" fmla="*/ 658 h 657"/>
                    <a:gd name="connsiteX2" fmla="*/ 479 w 478"/>
                    <a:gd name="connsiteY2" fmla="*/ 0 h 657"/>
                  </a:gdLst>
                  <a:ahLst/>
                  <a:cxnLst>
                    <a:cxn ang="0">
                      <a:pos x="connsiteX0" y="connsiteY0"/>
                    </a:cxn>
                    <a:cxn ang="0">
                      <a:pos x="connsiteX1" y="connsiteY1"/>
                    </a:cxn>
                    <a:cxn ang="0">
                      <a:pos x="connsiteX2" y="connsiteY2"/>
                    </a:cxn>
                  </a:cxnLst>
                  <a:rect l="l" t="t" r="r" b="b"/>
                  <a:pathLst>
                    <a:path w="478" h="657">
                      <a:moveTo>
                        <a:pt x="479" y="0"/>
                      </a:moveTo>
                      <a:cubicBezTo>
                        <a:pt x="299" y="239"/>
                        <a:pt x="180" y="478"/>
                        <a:pt x="0" y="658"/>
                      </a:cubicBezTo>
                      <a:cubicBezTo>
                        <a:pt x="180" y="419"/>
                        <a:pt x="299" y="179"/>
                        <a:pt x="47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50" name="Vrije vorm: vorm 8549">
                  <a:extLst>
                    <a:ext uri="{FF2B5EF4-FFF2-40B4-BE49-F238E27FC236}">
                      <a16:creationId xmlns:a16="http://schemas.microsoft.com/office/drawing/2014/main" id="{1AABA362-2DAD-431C-A1DE-A366C19AACA7}"/>
                    </a:ext>
                  </a:extLst>
                </p:cNvPr>
                <p:cNvSpPr/>
                <p:nvPr/>
              </p:nvSpPr>
              <p:spPr>
                <a:xfrm>
                  <a:off x="4184491" y="3577648"/>
                  <a:ext cx="2511" cy="2093"/>
                </a:xfrm>
                <a:custGeom>
                  <a:avLst/>
                  <a:gdLst>
                    <a:gd name="connsiteX0" fmla="*/ 2512 w 2511"/>
                    <a:gd name="connsiteY0" fmla="*/ 0 h 2093"/>
                    <a:gd name="connsiteX1" fmla="*/ 0 w 2511"/>
                    <a:gd name="connsiteY1" fmla="*/ 2093 h 2093"/>
                    <a:gd name="connsiteX2" fmla="*/ 2512 w 2511"/>
                    <a:gd name="connsiteY2" fmla="*/ 0 h 2093"/>
                  </a:gdLst>
                  <a:ahLst/>
                  <a:cxnLst>
                    <a:cxn ang="0">
                      <a:pos x="connsiteX0" y="connsiteY0"/>
                    </a:cxn>
                    <a:cxn ang="0">
                      <a:pos x="connsiteX1" y="connsiteY1"/>
                    </a:cxn>
                    <a:cxn ang="0">
                      <a:pos x="connsiteX2" y="connsiteY2"/>
                    </a:cxn>
                  </a:cxnLst>
                  <a:rect l="l" t="t" r="r" b="b"/>
                  <a:pathLst>
                    <a:path w="2511" h="2093">
                      <a:moveTo>
                        <a:pt x="2512" y="0"/>
                      </a:moveTo>
                      <a:cubicBezTo>
                        <a:pt x="1674" y="778"/>
                        <a:pt x="837" y="1435"/>
                        <a:pt x="0" y="2093"/>
                      </a:cubicBezTo>
                      <a:cubicBezTo>
                        <a:pt x="837" y="1495"/>
                        <a:pt x="1674" y="778"/>
                        <a:pt x="2512"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51" name="Vrije vorm: vorm 8550">
                  <a:extLst>
                    <a:ext uri="{FF2B5EF4-FFF2-40B4-BE49-F238E27FC236}">
                      <a16:creationId xmlns:a16="http://schemas.microsoft.com/office/drawing/2014/main" id="{3A120FC1-D68D-4296-8A81-435EB2391C82}"/>
                    </a:ext>
                  </a:extLst>
                </p:cNvPr>
                <p:cNvSpPr/>
                <p:nvPr/>
              </p:nvSpPr>
              <p:spPr>
                <a:xfrm>
                  <a:off x="4183534" y="3579861"/>
                  <a:ext cx="777" cy="538"/>
                </a:xfrm>
                <a:custGeom>
                  <a:avLst/>
                  <a:gdLst>
                    <a:gd name="connsiteX0" fmla="*/ 778 w 777"/>
                    <a:gd name="connsiteY0" fmla="*/ 0 h 538"/>
                    <a:gd name="connsiteX1" fmla="*/ 0 w 777"/>
                    <a:gd name="connsiteY1" fmla="*/ 538 h 538"/>
                    <a:gd name="connsiteX2" fmla="*/ 778 w 777"/>
                    <a:gd name="connsiteY2" fmla="*/ 0 h 538"/>
                  </a:gdLst>
                  <a:ahLst/>
                  <a:cxnLst>
                    <a:cxn ang="0">
                      <a:pos x="connsiteX0" y="connsiteY0"/>
                    </a:cxn>
                    <a:cxn ang="0">
                      <a:pos x="connsiteX1" y="connsiteY1"/>
                    </a:cxn>
                    <a:cxn ang="0">
                      <a:pos x="connsiteX2" y="connsiteY2"/>
                    </a:cxn>
                  </a:cxnLst>
                  <a:rect l="l" t="t" r="r" b="b"/>
                  <a:pathLst>
                    <a:path w="777" h="538">
                      <a:moveTo>
                        <a:pt x="778" y="0"/>
                      </a:moveTo>
                      <a:cubicBezTo>
                        <a:pt x="538" y="179"/>
                        <a:pt x="239" y="359"/>
                        <a:pt x="0" y="538"/>
                      </a:cubicBezTo>
                      <a:cubicBezTo>
                        <a:pt x="299" y="419"/>
                        <a:pt x="538" y="179"/>
                        <a:pt x="77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52" name="Vrije vorm: vorm 8551">
                  <a:extLst>
                    <a:ext uri="{FF2B5EF4-FFF2-40B4-BE49-F238E27FC236}">
                      <a16:creationId xmlns:a16="http://schemas.microsoft.com/office/drawing/2014/main" id="{CAE9BBD1-4229-4A8B-BB2E-AB65EBA1D5CC}"/>
                    </a:ext>
                  </a:extLst>
                </p:cNvPr>
                <p:cNvSpPr/>
                <p:nvPr/>
              </p:nvSpPr>
              <p:spPr>
                <a:xfrm>
                  <a:off x="4201058" y="3551691"/>
                  <a:ext cx="179" cy="657"/>
                </a:xfrm>
                <a:custGeom>
                  <a:avLst/>
                  <a:gdLst>
                    <a:gd name="connsiteX0" fmla="*/ 180 w 179"/>
                    <a:gd name="connsiteY0" fmla="*/ 0 h 657"/>
                    <a:gd name="connsiteX1" fmla="*/ 0 w 179"/>
                    <a:gd name="connsiteY1" fmla="*/ 658 h 657"/>
                    <a:gd name="connsiteX2" fmla="*/ 180 w 179"/>
                    <a:gd name="connsiteY2" fmla="*/ 0 h 657"/>
                  </a:gdLst>
                  <a:ahLst/>
                  <a:cxnLst>
                    <a:cxn ang="0">
                      <a:pos x="connsiteX0" y="connsiteY0"/>
                    </a:cxn>
                    <a:cxn ang="0">
                      <a:pos x="connsiteX1" y="connsiteY1"/>
                    </a:cxn>
                    <a:cxn ang="0">
                      <a:pos x="connsiteX2" y="connsiteY2"/>
                    </a:cxn>
                  </a:cxnLst>
                  <a:rect l="l" t="t" r="r" b="b"/>
                  <a:pathLst>
                    <a:path w="179" h="657">
                      <a:moveTo>
                        <a:pt x="180" y="0"/>
                      </a:moveTo>
                      <a:cubicBezTo>
                        <a:pt x="120" y="239"/>
                        <a:pt x="60" y="419"/>
                        <a:pt x="0" y="658"/>
                      </a:cubicBezTo>
                      <a:cubicBezTo>
                        <a:pt x="60" y="419"/>
                        <a:pt x="120" y="179"/>
                        <a:pt x="180"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53" name="Vrije vorm: vorm 8552">
                  <a:extLst>
                    <a:ext uri="{FF2B5EF4-FFF2-40B4-BE49-F238E27FC236}">
                      <a16:creationId xmlns:a16="http://schemas.microsoft.com/office/drawing/2014/main" id="{2E5CBBBA-4A06-4114-8FCC-D9490241DFB3}"/>
                    </a:ext>
                  </a:extLst>
                </p:cNvPr>
                <p:cNvSpPr/>
                <p:nvPr/>
              </p:nvSpPr>
              <p:spPr>
                <a:xfrm>
                  <a:off x="4193403" y="3569574"/>
                  <a:ext cx="418" cy="657"/>
                </a:xfrm>
                <a:custGeom>
                  <a:avLst/>
                  <a:gdLst>
                    <a:gd name="connsiteX0" fmla="*/ 419 w 418"/>
                    <a:gd name="connsiteY0" fmla="*/ 0 h 657"/>
                    <a:gd name="connsiteX1" fmla="*/ 0 w 418"/>
                    <a:gd name="connsiteY1" fmla="*/ 658 h 657"/>
                    <a:gd name="connsiteX2" fmla="*/ 419 w 418"/>
                    <a:gd name="connsiteY2" fmla="*/ 0 h 657"/>
                  </a:gdLst>
                  <a:ahLst/>
                  <a:cxnLst>
                    <a:cxn ang="0">
                      <a:pos x="connsiteX0" y="connsiteY0"/>
                    </a:cxn>
                    <a:cxn ang="0">
                      <a:pos x="connsiteX1" y="connsiteY1"/>
                    </a:cxn>
                    <a:cxn ang="0">
                      <a:pos x="connsiteX2" y="connsiteY2"/>
                    </a:cxn>
                  </a:cxnLst>
                  <a:rect l="l" t="t" r="r" b="b"/>
                  <a:pathLst>
                    <a:path w="418" h="657">
                      <a:moveTo>
                        <a:pt x="419" y="0"/>
                      </a:moveTo>
                      <a:cubicBezTo>
                        <a:pt x="299" y="239"/>
                        <a:pt x="119" y="478"/>
                        <a:pt x="0" y="658"/>
                      </a:cubicBezTo>
                      <a:cubicBezTo>
                        <a:pt x="119" y="419"/>
                        <a:pt x="239" y="239"/>
                        <a:pt x="41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54" name="Vrije vorm: vorm 8553">
                  <a:extLst>
                    <a:ext uri="{FF2B5EF4-FFF2-40B4-BE49-F238E27FC236}">
                      <a16:creationId xmlns:a16="http://schemas.microsoft.com/office/drawing/2014/main" id="{08DF270C-8F65-4935-BFF0-E3BC17D2A0AD}"/>
                    </a:ext>
                  </a:extLst>
                </p:cNvPr>
                <p:cNvSpPr/>
                <p:nvPr/>
              </p:nvSpPr>
              <p:spPr>
                <a:xfrm>
                  <a:off x="4201476" y="3549897"/>
                  <a:ext cx="119" cy="538"/>
                </a:xfrm>
                <a:custGeom>
                  <a:avLst/>
                  <a:gdLst>
                    <a:gd name="connsiteX0" fmla="*/ 120 w 119"/>
                    <a:gd name="connsiteY0" fmla="*/ 0 h 538"/>
                    <a:gd name="connsiteX1" fmla="*/ 0 w 119"/>
                    <a:gd name="connsiteY1" fmla="*/ 538 h 538"/>
                    <a:gd name="connsiteX2" fmla="*/ 120 w 119"/>
                    <a:gd name="connsiteY2" fmla="*/ 0 h 538"/>
                  </a:gdLst>
                  <a:ahLst/>
                  <a:cxnLst>
                    <a:cxn ang="0">
                      <a:pos x="connsiteX0" y="connsiteY0"/>
                    </a:cxn>
                    <a:cxn ang="0">
                      <a:pos x="connsiteX1" y="connsiteY1"/>
                    </a:cxn>
                    <a:cxn ang="0">
                      <a:pos x="connsiteX2" y="connsiteY2"/>
                    </a:cxn>
                  </a:cxnLst>
                  <a:rect l="l" t="t" r="r" b="b"/>
                  <a:pathLst>
                    <a:path w="119" h="538">
                      <a:moveTo>
                        <a:pt x="120" y="0"/>
                      </a:moveTo>
                      <a:cubicBezTo>
                        <a:pt x="60" y="179"/>
                        <a:pt x="60" y="359"/>
                        <a:pt x="0" y="538"/>
                      </a:cubicBezTo>
                      <a:cubicBezTo>
                        <a:pt x="60" y="419"/>
                        <a:pt x="60" y="239"/>
                        <a:pt x="120"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55" name="Vrije vorm: vorm 8554">
                  <a:extLst>
                    <a:ext uri="{FF2B5EF4-FFF2-40B4-BE49-F238E27FC236}">
                      <a16:creationId xmlns:a16="http://schemas.microsoft.com/office/drawing/2014/main" id="{964D3CD2-EC71-4DB7-9CE4-6FDAE4598C81}"/>
                    </a:ext>
                  </a:extLst>
                </p:cNvPr>
                <p:cNvSpPr/>
                <p:nvPr/>
              </p:nvSpPr>
              <p:spPr>
                <a:xfrm>
                  <a:off x="4190233" y="3571966"/>
                  <a:ext cx="1913" cy="2392"/>
                </a:xfrm>
                <a:custGeom>
                  <a:avLst/>
                  <a:gdLst>
                    <a:gd name="connsiteX0" fmla="*/ 1914 w 1913"/>
                    <a:gd name="connsiteY0" fmla="*/ 0 h 2392"/>
                    <a:gd name="connsiteX1" fmla="*/ 0 w 1913"/>
                    <a:gd name="connsiteY1" fmla="*/ 2392 h 2392"/>
                    <a:gd name="connsiteX2" fmla="*/ 1914 w 1913"/>
                    <a:gd name="connsiteY2" fmla="*/ 0 h 2392"/>
                  </a:gdLst>
                  <a:ahLst/>
                  <a:cxnLst>
                    <a:cxn ang="0">
                      <a:pos x="connsiteX0" y="connsiteY0"/>
                    </a:cxn>
                    <a:cxn ang="0">
                      <a:pos x="connsiteX1" y="connsiteY1"/>
                    </a:cxn>
                    <a:cxn ang="0">
                      <a:pos x="connsiteX2" y="connsiteY2"/>
                    </a:cxn>
                  </a:cxnLst>
                  <a:rect l="l" t="t" r="r" b="b"/>
                  <a:pathLst>
                    <a:path w="1913" h="2392">
                      <a:moveTo>
                        <a:pt x="1914" y="0"/>
                      </a:moveTo>
                      <a:cubicBezTo>
                        <a:pt x="1316" y="837"/>
                        <a:pt x="658" y="1675"/>
                        <a:pt x="0" y="2392"/>
                      </a:cubicBezTo>
                      <a:cubicBezTo>
                        <a:pt x="598" y="1675"/>
                        <a:pt x="1256" y="897"/>
                        <a:pt x="1914"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56" name="Vrije vorm: vorm 8555">
                  <a:extLst>
                    <a:ext uri="{FF2B5EF4-FFF2-40B4-BE49-F238E27FC236}">
                      <a16:creationId xmlns:a16="http://schemas.microsoft.com/office/drawing/2014/main" id="{5A95E31E-20B8-493F-B894-4EAC200E5A58}"/>
                    </a:ext>
                  </a:extLst>
                </p:cNvPr>
                <p:cNvSpPr/>
                <p:nvPr/>
              </p:nvSpPr>
              <p:spPr>
                <a:xfrm>
                  <a:off x="4182518" y="3580638"/>
                  <a:ext cx="777" cy="478"/>
                </a:xfrm>
                <a:custGeom>
                  <a:avLst/>
                  <a:gdLst>
                    <a:gd name="connsiteX0" fmla="*/ 778 w 777"/>
                    <a:gd name="connsiteY0" fmla="*/ 0 h 478"/>
                    <a:gd name="connsiteX1" fmla="*/ 0 w 777"/>
                    <a:gd name="connsiteY1" fmla="*/ 479 h 478"/>
                    <a:gd name="connsiteX2" fmla="*/ 778 w 777"/>
                    <a:gd name="connsiteY2" fmla="*/ 0 h 478"/>
                  </a:gdLst>
                  <a:ahLst/>
                  <a:cxnLst>
                    <a:cxn ang="0">
                      <a:pos x="connsiteX0" y="connsiteY0"/>
                    </a:cxn>
                    <a:cxn ang="0">
                      <a:pos x="connsiteX1" y="connsiteY1"/>
                    </a:cxn>
                    <a:cxn ang="0">
                      <a:pos x="connsiteX2" y="connsiteY2"/>
                    </a:cxn>
                  </a:cxnLst>
                  <a:rect l="l" t="t" r="r" b="b"/>
                  <a:pathLst>
                    <a:path w="777" h="478">
                      <a:moveTo>
                        <a:pt x="778" y="0"/>
                      </a:moveTo>
                      <a:cubicBezTo>
                        <a:pt x="538" y="179"/>
                        <a:pt x="239" y="359"/>
                        <a:pt x="0" y="479"/>
                      </a:cubicBezTo>
                      <a:cubicBezTo>
                        <a:pt x="239" y="299"/>
                        <a:pt x="479" y="179"/>
                        <a:pt x="77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57" name="Vrije vorm: vorm 8556">
                  <a:extLst>
                    <a:ext uri="{FF2B5EF4-FFF2-40B4-BE49-F238E27FC236}">
                      <a16:creationId xmlns:a16="http://schemas.microsoft.com/office/drawing/2014/main" id="{D25B1DA7-3A82-483E-A4EE-3715C02EDFE9}"/>
                    </a:ext>
                  </a:extLst>
                </p:cNvPr>
                <p:cNvSpPr/>
                <p:nvPr/>
              </p:nvSpPr>
              <p:spPr>
                <a:xfrm>
                  <a:off x="4196872" y="3563533"/>
                  <a:ext cx="298" cy="598"/>
                </a:xfrm>
                <a:custGeom>
                  <a:avLst/>
                  <a:gdLst>
                    <a:gd name="connsiteX0" fmla="*/ 299 w 298"/>
                    <a:gd name="connsiteY0" fmla="*/ 0 h 598"/>
                    <a:gd name="connsiteX1" fmla="*/ 0 w 298"/>
                    <a:gd name="connsiteY1" fmla="*/ 598 h 598"/>
                    <a:gd name="connsiteX2" fmla="*/ 299 w 298"/>
                    <a:gd name="connsiteY2" fmla="*/ 0 h 598"/>
                  </a:gdLst>
                  <a:ahLst/>
                  <a:cxnLst>
                    <a:cxn ang="0">
                      <a:pos x="connsiteX0" y="connsiteY0"/>
                    </a:cxn>
                    <a:cxn ang="0">
                      <a:pos x="connsiteX1" y="connsiteY1"/>
                    </a:cxn>
                    <a:cxn ang="0">
                      <a:pos x="connsiteX2" y="connsiteY2"/>
                    </a:cxn>
                  </a:cxnLst>
                  <a:rect l="l" t="t" r="r" b="b"/>
                  <a:pathLst>
                    <a:path w="298" h="598">
                      <a:moveTo>
                        <a:pt x="299" y="0"/>
                      </a:moveTo>
                      <a:cubicBezTo>
                        <a:pt x="179" y="179"/>
                        <a:pt x="119" y="419"/>
                        <a:pt x="0" y="598"/>
                      </a:cubicBezTo>
                      <a:cubicBezTo>
                        <a:pt x="60" y="419"/>
                        <a:pt x="179" y="239"/>
                        <a:pt x="29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58" name="Vrije vorm: vorm 8557">
                  <a:extLst>
                    <a:ext uri="{FF2B5EF4-FFF2-40B4-BE49-F238E27FC236}">
                      <a16:creationId xmlns:a16="http://schemas.microsoft.com/office/drawing/2014/main" id="{85B5F000-6623-44D4-A857-0925D3ACDC7A}"/>
                    </a:ext>
                  </a:extLst>
                </p:cNvPr>
                <p:cNvSpPr/>
                <p:nvPr/>
              </p:nvSpPr>
              <p:spPr>
                <a:xfrm>
                  <a:off x="4196154" y="3565088"/>
                  <a:ext cx="239" cy="538"/>
                </a:xfrm>
                <a:custGeom>
                  <a:avLst/>
                  <a:gdLst>
                    <a:gd name="connsiteX0" fmla="*/ 239 w 239"/>
                    <a:gd name="connsiteY0" fmla="*/ 0 h 538"/>
                    <a:gd name="connsiteX1" fmla="*/ 0 w 239"/>
                    <a:gd name="connsiteY1" fmla="*/ 538 h 538"/>
                    <a:gd name="connsiteX2" fmla="*/ 239 w 239"/>
                    <a:gd name="connsiteY2" fmla="*/ 0 h 538"/>
                  </a:gdLst>
                  <a:ahLst/>
                  <a:cxnLst>
                    <a:cxn ang="0">
                      <a:pos x="connsiteX0" y="connsiteY0"/>
                    </a:cxn>
                    <a:cxn ang="0">
                      <a:pos x="connsiteX1" y="connsiteY1"/>
                    </a:cxn>
                    <a:cxn ang="0">
                      <a:pos x="connsiteX2" y="connsiteY2"/>
                    </a:cxn>
                  </a:cxnLst>
                  <a:rect l="l" t="t" r="r" b="b"/>
                  <a:pathLst>
                    <a:path w="239" h="538">
                      <a:moveTo>
                        <a:pt x="239" y="0"/>
                      </a:moveTo>
                      <a:cubicBezTo>
                        <a:pt x="120" y="179"/>
                        <a:pt x="60" y="359"/>
                        <a:pt x="0" y="538"/>
                      </a:cubicBezTo>
                      <a:cubicBezTo>
                        <a:pt x="60" y="359"/>
                        <a:pt x="180" y="179"/>
                        <a:pt x="23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59" name="Vrije vorm: vorm 8558">
                  <a:extLst>
                    <a:ext uri="{FF2B5EF4-FFF2-40B4-BE49-F238E27FC236}">
                      <a16:creationId xmlns:a16="http://schemas.microsoft.com/office/drawing/2014/main" id="{69B871E4-943B-4470-BEB4-DB8F38C793B8}"/>
                    </a:ext>
                  </a:extLst>
                </p:cNvPr>
                <p:cNvSpPr/>
                <p:nvPr/>
              </p:nvSpPr>
              <p:spPr>
                <a:xfrm>
                  <a:off x="4178271" y="3581894"/>
                  <a:ext cx="2930" cy="1435"/>
                </a:xfrm>
                <a:custGeom>
                  <a:avLst/>
                  <a:gdLst>
                    <a:gd name="connsiteX0" fmla="*/ 2930 w 2930"/>
                    <a:gd name="connsiteY0" fmla="*/ 0 h 1435"/>
                    <a:gd name="connsiteX1" fmla="*/ 0 w 2930"/>
                    <a:gd name="connsiteY1" fmla="*/ 1435 h 1435"/>
                    <a:gd name="connsiteX2" fmla="*/ 2930 w 2930"/>
                    <a:gd name="connsiteY2" fmla="*/ 0 h 1435"/>
                  </a:gdLst>
                  <a:ahLst/>
                  <a:cxnLst>
                    <a:cxn ang="0">
                      <a:pos x="connsiteX0" y="connsiteY0"/>
                    </a:cxn>
                    <a:cxn ang="0">
                      <a:pos x="connsiteX1" y="connsiteY1"/>
                    </a:cxn>
                    <a:cxn ang="0">
                      <a:pos x="connsiteX2" y="connsiteY2"/>
                    </a:cxn>
                  </a:cxnLst>
                  <a:rect l="l" t="t" r="r" b="b"/>
                  <a:pathLst>
                    <a:path w="2930" h="1435">
                      <a:moveTo>
                        <a:pt x="2930" y="0"/>
                      </a:moveTo>
                      <a:cubicBezTo>
                        <a:pt x="1974" y="538"/>
                        <a:pt x="957" y="1017"/>
                        <a:pt x="0" y="1435"/>
                      </a:cubicBezTo>
                      <a:cubicBezTo>
                        <a:pt x="1017" y="1017"/>
                        <a:pt x="1974" y="538"/>
                        <a:pt x="2930"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60" name="Vrije vorm: vorm 8559">
                  <a:extLst>
                    <a:ext uri="{FF2B5EF4-FFF2-40B4-BE49-F238E27FC236}">
                      <a16:creationId xmlns:a16="http://schemas.microsoft.com/office/drawing/2014/main" id="{94A59407-78DB-4943-B4FF-4B38B4A9C47B}"/>
                    </a:ext>
                  </a:extLst>
                </p:cNvPr>
                <p:cNvSpPr/>
                <p:nvPr/>
              </p:nvSpPr>
              <p:spPr>
                <a:xfrm>
                  <a:off x="4194180" y="3568258"/>
                  <a:ext cx="418" cy="657"/>
                </a:xfrm>
                <a:custGeom>
                  <a:avLst/>
                  <a:gdLst>
                    <a:gd name="connsiteX0" fmla="*/ 419 w 418"/>
                    <a:gd name="connsiteY0" fmla="*/ 0 h 657"/>
                    <a:gd name="connsiteX1" fmla="*/ 0 w 418"/>
                    <a:gd name="connsiteY1" fmla="*/ 658 h 657"/>
                    <a:gd name="connsiteX2" fmla="*/ 419 w 418"/>
                    <a:gd name="connsiteY2" fmla="*/ 0 h 657"/>
                  </a:gdLst>
                  <a:ahLst/>
                  <a:cxnLst>
                    <a:cxn ang="0">
                      <a:pos x="connsiteX0" y="connsiteY0"/>
                    </a:cxn>
                    <a:cxn ang="0">
                      <a:pos x="connsiteX1" y="connsiteY1"/>
                    </a:cxn>
                    <a:cxn ang="0">
                      <a:pos x="connsiteX2" y="connsiteY2"/>
                    </a:cxn>
                  </a:cxnLst>
                  <a:rect l="l" t="t" r="r" b="b"/>
                  <a:pathLst>
                    <a:path w="418" h="657">
                      <a:moveTo>
                        <a:pt x="419" y="0"/>
                      </a:moveTo>
                      <a:cubicBezTo>
                        <a:pt x="299" y="239"/>
                        <a:pt x="119" y="419"/>
                        <a:pt x="0" y="658"/>
                      </a:cubicBezTo>
                      <a:cubicBezTo>
                        <a:pt x="179" y="478"/>
                        <a:pt x="299" y="239"/>
                        <a:pt x="41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61" name="Vrije vorm: vorm 8560">
                  <a:extLst>
                    <a:ext uri="{FF2B5EF4-FFF2-40B4-BE49-F238E27FC236}">
                      <a16:creationId xmlns:a16="http://schemas.microsoft.com/office/drawing/2014/main" id="{2C7594F1-548C-49E7-9CFD-D921A8950E64}"/>
                    </a:ext>
                  </a:extLst>
                </p:cNvPr>
                <p:cNvSpPr/>
                <p:nvPr/>
              </p:nvSpPr>
              <p:spPr>
                <a:xfrm>
                  <a:off x="4195077" y="3566942"/>
                  <a:ext cx="358" cy="597"/>
                </a:xfrm>
                <a:custGeom>
                  <a:avLst/>
                  <a:gdLst>
                    <a:gd name="connsiteX0" fmla="*/ 359 w 358"/>
                    <a:gd name="connsiteY0" fmla="*/ 0 h 597"/>
                    <a:gd name="connsiteX1" fmla="*/ 0 w 358"/>
                    <a:gd name="connsiteY1" fmla="*/ 598 h 597"/>
                    <a:gd name="connsiteX2" fmla="*/ 359 w 358"/>
                    <a:gd name="connsiteY2" fmla="*/ 0 h 597"/>
                  </a:gdLst>
                  <a:ahLst/>
                  <a:cxnLst>
                    <a:cxn ang="0">
                      <a:pos x="connsiteX0" y="connsiteY0"/>
                    </a:cxn>
                    <a:cxn ang="0">
                      <a:pos x="connsiteX1" y="connsiteY1"/>
                    </a:cxn>
                    <a:cxn ang="0">
                      <a:pos x="connsiteX2" y="connsiteY2"/>
                    </a:cxn>
                  </a:cxnLst>
                  <a:rect l="l" t="t" r="r" b="b"/>
                  <a:pathLst>
                    <a:path w="358" h="597">
                      <a:moveTo>
                        <a:pt x="359" y="0"/>
                      </a:moveTo>
                      <a:cubicBezTo>
                        <a:pt x="239" y="179"/>
                        <a:pt x="120" y="419"/>
                        <a:pt x="0" y="598"/>
                      </a:cubicBezTo>
                      <a:cubicBezTo>
                        <a:pt x="120" y="419"/>
                        <a:pt x="239" y="179"/>
                        <a:pt x="35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62" name="Vrije vorm: vorm 8561">
                  <a:extLst>
                    <a:ext uri="{FF2B5EF4-FFF2-40B4-BE49-F238E27FC236}">
                      <a16:creationId xmlns:a16="http://schemas.microsoft.com/office/drawing/2014/main" id="{35E3F7FA-B09A-42B4-8B0D-A1B1D382ACE7}"/>
                    </a:ext>
                  </a:extLst>
                </p:cNvPr>
                <p:cNvSpPr/>
                <p:nvPr/>
              </p:nvSpPr>
              <p:spPr>
                <a:xfrm>
                  <a:off x="4197529" y="3562038"/>
                  <a:ext cx="298" cy="657"/>
                </a:xfrm>
                <a:custGeom>
                  <a:avLst/>
                  <a:gdLst>
                    <a:gd name="connsiteX0" fmla="*/ 299 w 298"/>
                    <a:gd name="connsiteY0" fmla="*/ 0 h 657"/>
                    <a:gd name="connsiteX1" fmla="*/ 0 w 298"/>
                    <a:gd name="connsiteY1" fmla="*/ 658 h 657"/>
                    <a:gd name="connsiteX2" fmla="*/ 299 w 298"/>
                    <a:gd name="connsiteY2" fmla="*/ 0 h 657"/>
                  </a:gdLst>
                  <a:ahLst/>
                  <a:cxnLst>
                    <a:cxn ang="0">
                      <a:pos x="connsiteX0" y="connsiteY0"/>
                    </a:cxn>
                    <a:cxn ang="0">
                      <a:pos x="connsiteX1" y="connsiteY1"/>
                    </a:cxn>
                    <a:cxn ang="0">
                      <a:pos x="connsiteX2" y="connsiteY2"/>
                    </a:cxn>
                  </a:cxnLst>
                  <a:rect l="l" t="t" r="r" b="b"/>
                  <a:pathLst>
                    <a:path w="298" h="657">
                      <a:moveTo>
                        <a:pt x="299" y="0"/>
                      </a:moveTo>
                      <a:cubicBezTo>
                        <a:pt x="179" y="239"/>
                        <a:pt x="119" y="419"/>
                        <a:pt x="0" y="658"/>
                      </a:cubicBezTo>
                      <a:cubicBezTo>
                        <a:pt x="119" y="419"/>
                        <a:pt x="239" y="239"/>
                        <a:pt x="29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63" name="Vrije vorm: vorm 8562">
                  <a:extLst>
                    <a:ext uri="{FF2B5EF4-FFF2-40B4-BE49-F238E27FC236}">
                      <a16:creationId xmlns:a16="http://schemas.microsoft.com/office/drawing/2014/main" id="{246736AA-DA66-4A3F-864B-8BC566B860C1}"/>
                    </a:ext>
                  </a:extLst>
                </p:cNvPr>
                <p:cNvSpPr/>
                <p:nvPr/>
              </p:nvSpPr>
              <p:spPr>
                <a:xfrm>
                  <a:off x="4189276" y="3574777"/>
                  <a:ext cx="597" cy="657"/>
                </a:xfrm>
                <a:custGeom>
                  <a:avLst/>
                  <a:gdLst>
                    <a:gd name="connsiteX0" fmla="*/ 598 w 597"/>
                    <a:gd name="connsiteY0" fmla="*/ 0 h 657"/>
                    <a:gd name="connsiteX1" fmla="*/ 0 w 597"/>
                    <a:gd name="connsiteY1" fmla="*/ 658 h 657"/>
                    <a:gd name="connsiteX2" fmla="*/ 598 w 597"/>
                    <a:gd name="connsiteY2" fmla="*/ 0 h 657"/>
                  </a:gdLst>
                  <a:ahLst/>
                  <a:cxnLst>
                    <a:cxn ang="0">
                      <a:pos x="connsiteX0" y="connsiteY0"/>
                    </a:cxn>
                    <a:cxn ang="0">
                      <a:pos x="connsiteX1" y="connsiteY1"/>
                    </a:cxn>
                    <a:cxn ang="0">
                      <a:pos x="connsiteX2" y="connsiteY2"/>
                    </a:cxn>
                  </a:cxnLst>
                  <a:rect l="l" t="t" r="r" b="b"/>
                  <a:pathLst>
                    <a:path w="597" h="657">
                      <a:moveTo>
                        <a:pt x="598" y="0"/>
                      </a:moveTo>
                      <a:cubicBezTo>
                        <a:pt x="419" y="239"/>
                        <a:pt x="179" y="419"/>
                        <a:pt x="0" y="658"/>
                      </a:cubicBezTo>
                      <a:cubicBezTo>
                        <a:pt x="179" y="478"/>
                        <a:pt x="359" y="239"/>
                        <a:pt x="59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64" name="Vrije vorm: vorm 8563">
                  <a:extLst>
                    <a:ext uri="{FF2B5EF4-FFF2-40B4-BE49-F238E27FC236}">
                      <a16:creationId xmlns:a16="http://schemas.microsoft.com/office/drawing/2014/main" id="{BE7638FA-3E2E-442C-A080-B016E1D6307C}"/>
                    </a:ext>
                  </a:extLst>
                </p:cNvPr>
                <p:cNvSpPr/>
                <p:nvPr/>
              </p:nvSpPr>
              <p:spPr>
                <a:xfrm>
                  <a:off x="4198905" y="3558928"/>
                  <a:ext cx="179" cy="538"/>
                </a:xfrm>
                <a:custGeom>
                  <a:avLst/>
                  <a:gdLst>
                    <a:gd name="connsiteX0" fmla="*/ 180 w 179"/>
                    <a:gd name="connsiteY0" fmla="*/ 0 h 538"/>
                    <a:gd name="connsiteX1" fmla="*/ 0 w 179"/>
                    <a:gd name="connsiteY1" fmla="*/ 538 h 538"/>
                    <a:gd name="connsiteX2" fmla="*/ 180 w 179"/>
                    <a:gd name="connsiteY2" fmla="*/ 0 h 538"/>
                  </a:gdLst>
                  <a:ahLst/>
                  <a:cxnLst>
                    <a:cxn ang="0">
                      <a:pos x="connsiteX0" y="connsiteY0"/>
                    </a:cxn>
                    <a:cxn ang="0">
                      <a:pos x="connsiteX1" y="connsiteY1"/>
                    </a:cxn>
                    <a:cxn ang="0">
                      <a:pos x="connsiteX2" y="connsiteY2"/>
                    </a:cxn>
                  </a:cxnLst>
                  <a:rect l="l" t="t" r="r" b="b"/>
                  <a:pathLst>
                    <a:path w="179" h="538">
                      <a:moveTo>
                        <a:pt x="180" y="0"/>
                      </a:moveTo>
                      <a:cubicBezTo>
                        <a:pt x="120" y="179"/>
                        <a:pt x="60" y="359"/>
                        <a:pt x="0" y="538"/>
                      </a:cubicBezTo>
                      <a:cubicBezTo>
                        <a:pt x="60" y="359"/>
                        <a:pt x="120" y="179"/>
                        <a:pt x="180"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65" name="Vrije vorm: vorm 8564">
                  <a:extLst>
                    <a:ext uri="{FF2B5EF4-FFF2-40B4-BE49-F238E27FC236}">
                      <a16:creationId xmlns:a16="http://schemas.microsoft.com/office/drawing/2014/main" id="{E26EB6E7-77D2-4657-8932-2D356830677B}"/>
                    </a:ext>
                  </a:extLst>
                </p:cNvPr>
                <p:cNvSpPr/>
                <p:nvPr/>
              </p:nvSpPr>
              <p:spPr>
                <a:xfrm>
                  <a:off x="4198247" y="3560483"/>
                  <a:ext cx="239" cy="657"/>
                </a:xfrm>
                <a:custGeom>
                  <a:avLst/>
                  <a:gdLst>
                    <a:gd name="connsiteX0" fmla="*/ 239 w 239"/>
                    <a:gd name="connsiteY0" fmla="*/ 0 h 657"/>
                    <a:gd name="connsiteX1" fmla="*/ 0 w 239"/>
                    <a:gd name="connsiteY1" fmla="*/ 658 h 657"/>
                    <a:gd name="connsiteX2" fmla="*/ 239 w 239"/>
                    <a:gd name="connsiteY2" fmla="*/ 0 h 657"/>
                  </a:gdLst>
                  <a:ahLst/>
                  <a:cxnLst>
                    <a:cxn ang="0">
                      <a:pos x="connsiteX0" y="connsiteY0"/>
                    </a:cxn>
                    <a:cxn ang="0">
                      <a:pos x="connsiteX1" y="connsiteY1"/>
                    </a:cxn>
                    <a:cxn ang="0">
                      <a:pos x="connsiteX2" y="connsiteY2"/>
                    </a:cxn>
                  </a:cxnLst>
                  <a:rect l="l" t="t" r="r" b="b"/>
                  <a:pathLst>
                    <a:path w="239" h="657">
                      <a:moveTo>
                        <a:pt x="239" y="0"/>
                      </a:moveTo>
                      <a:cubicBezTo>
                        <a:pt x="179" y="239"/>
                        <a:pt x="60" y="419"/>
                        <a:pt x="0" y="658"/>
                      </a:cubicBezTo>
                      <a:cubicBezTo>
                        <a:pt x="60" y="419"/>
                        <a:pt x="120" y="239"/>
                        <a:pt x="23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66" name="Vrije vorm: vorm 8565">
                  <a:extLst>
                    <a:ext uri="{FF2B5EF4-FFF2-40B4-BE49-F238E27FC236}">
                      <a16:creationId xmlns:a16="http://schemas.microsoft.com/office/drawing/2014/main" id="{94C271E0-688B-471C-B4D3-EB801CA161B5}"/>
                    </a:ext>
                  </a:extLst>
                </p:cNvPr>
                <p:cNvSpPr/>
                <p:nvPr/>
              </p:nvSpPr>
              <p:spPr>
                <a:xfrm>
                  <a:off x="4188319" y="3575794"/>
                  <a:ext cx="598" cy="657"/>
                </a:xfrm>
                <a:custGeom>
                  <a:avLst/>
                  <a:gdLst>
                    <a:gd name="connsiteX0" fmla="*/ 598 w 598"/>
                    <a:gd name="connsiteY0" fmla="*/ 0 h 657"/>
                    <a:gd name="connsiteX1" fmla="*/ 0 w 598"/>
                    <a:gd name="connsiteY1" fmla="*/ 658 h 657"/>
                    <a:gd name="connsiteX2" fmla="*/ 598 w 598"/>
                    <a:gd name="connsiteY2" fmla="*/ 0 h 657"/>
                  </a:gdLst>
                  <a:ahLst/>
                  <a:cxnLst>
                    <a:cxn ang="0">
                      <a:pos x="connsiteX0" y="connsiteY0"/>
                    </a:cxn>
                    <a:cxn ang="0">
                      <a:pos x="connsiteX1" y="connsiteY1"/>
                    </a:cxn>
                    <a:cxn ang="0">
                      <a:pos x="connsiteX2" y="connsiteY2"/>
                    </a:cxn>
                  </a:cxnLst>
                  <a:rect l="l" t="t" r="r" b="b"/>
                  <a:pathLst>
                    <a:path w="598" h="657">
                      <a:moveTo>
                        <a:pt x="598" y="0"/>
                      </a:moveTo>
                      <a:cubicBezTo>
                        <a:pt x="419" y="239"/>
                        <a:pt x="180" y="419"/>
                        <a:pt x="0" y="658"/>
                      </a:cubicBezTo>
                      <a:cubicBezTo>
                        <a:pt x="180" y="479"/>
                        <a:pt x="359" y="239"/>
                        <a:pt x="59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67" name="Vrije vorm: vorm 8566">
                  <a:extLst>
                    <a:ext uri="{FF2B5EF4-FFF2-40B4-BE49-F238E27FC236}">
                      <a16:creationId xmlns:a16="http://schemas.microsoft.com/office/drawing/2014/main" id="{A25564C0-8D5B-431E-B00A-2107AF2A0F9C}"/>
                    </a:ext>
                  </a:extLst>
                </p:cNvPr>
                <p:cNvSpPr/>
                <p:nvPr/>
              </p:nvSpPr>
              <p:spPr>
                <a:xfrm>
                  <a:off x="4141354" y="3505461"/>
                  <a:ext cx="32491" cy="50357"/>
                </a:xfrm>
                <a:custGeom>
                  <a:avLst/>
                  <a:gdLst>
                    <a:gd name="connsiteX0" fmla="*/ 32491 w 32491"/>
                    <a:gd name="connsiteY0" fmla="*/ 0 h 50357"/>
                    <a:gd name="connsiteX1" fmla="*/ 29202 w 32491"/>
                    <a:gd name="connsiteY1" fmla="*/ 777 h 50357"/>
                    <a:gd name="connsiteX2" fmla="*/ 15207 w 32491"/>
                    <a:gd name="connsiteY2" fmla="*/ 7954 h 50357"/>
                    <a:gd name="connsiteX3" fmla="*/ 554 w 32491"/>
                    <a:gd name="connsiteY3" fmla="*/ 32774 h 50357"/>
                    <a:gd name="connsiteX4" fmla="*/ 1511 w 32491"/>
                    <a:gd name="connsiteY4" fmla="*/ 50358 h 50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91" h="50357">
                      <a:moveTo>
                        <a:pt x="32491" y="0"/>
                      </a:moveTo>
                      <a:cubicBezTo>
                        <a:pt x="31415" y="239"/>
                        <a:pt x="30278" y="478"/>
                        <a:pt x="29202" y="777"/>
                      </a:cubicBezTo>
                      <a:cubicBezTo>
                        <a:pt x="24118" y="2213"/>
                        <a:pt x="19334" y="4665"/>
                        <a:pt x="15207" y="7954"/>
                      </a:cubicBezTo>
                      <a:cubicBezTo>
                        <a:pt x="7671" y="13935"/>
                        <a:pt x="2289" y="22547"/>
                        <a:pt x="554" y="32774"/>
                      </a:cubicBezTo>
                      <a:cubicBezTo>
                        <a:pt x="-463" y="38875"/>
                        <a:pt x="-44" y="44855"/>
                        <a:pt x="1511" y="50358"/>
                      </a:cubicBezTo>
                    </a:path>
                  </a:pathLst>
                </a:custGeom>
                <a:grpFill/>
                <a:ln w="6350" cap="flat">
                  <a:solidFill>
                    <a:schemeClr val="bg1">
                      <a:alpha val="40000"/>
                    </a:schemeClr>
                  </a:solidFill>
                  <a:prstDash val="solid"/>
                  <a:miter/>
                </a:ln>
              </p:spPr>
              <p:txBody>
                <a:bodyPr rtlCol="0" anchor="ctr"/>
                <a:lstStyle/>
                <a:p>
                  <a:endParaRPr lang="en-GB"/>
                </a:p>
              </p:txBody>
            </p:sp>
            <p:sp>
              <p:nvSpPr>
                <p:cNvPr id="8568" name="Vrije vorm: vorm 8567">
                  <a:extLst>
                    <a:ext uri="{FF2B5EF4-FFF2-40B4-BE49-F238E27FC236}">
                      <a16:creationId xmlns:a16="http://schemas.microsoft.com/office/drawing/2014/main" id="{E872C8D7-FA83-4AA7-BEF8-499F305E7B5E}"/>
                    </a:ext>
                  </a:extLst>
                </p:cNvPr>
                <p:cNvSpPr/>
                <p:nvPr/>
              </p:nvSpPr>
              <p:spPr>
                <a:xfrm>
                  <a:off x="4142028" y="3527171"/>
                  <a:ext cx="11602" cy="11004"/>
                </a:xfrm>
                <a:custGeom>
                  <a:avLst/>
                  <a:gdLst>
                    <a:gd name="connsiteX0" fmla="*/ 0 w 11602"/>
                    <a:gd name="connsiteY0" fmla="*/ 11005 h 11004"/>
                    <a:gd name="connsiteX1" fmla="*/ 11603 w 11602"/>
                    <a:gd name="connsiteY1" fmla="*/ 0 h 11004"/>
                  </a:gdLst>
                  <a:ahLst/>
                  <a:cxnLst>
                    <a:cxn ang="0">
                      <a:pos x="connsiteX0" y="connsiteY0"/>
                    </a:cxn>
                    <a:cxn ang="0">
                      <a:pos x="connsiteX1" y="connsiteY1"/>
                    </a:cxn>
                  </a:cxnLst>
                  <a:rect l="l" t="t" r="r" b="b"/>
                  <a:pathLst>
                    <a:path w="11602" h="11004">
                      <a:moveTo>
                        <a:pt x="0" y="11005"/>
                      </a:moveTo>
                      <a:lnTo>
                        <a:pt x="11603" y="0"/>
                      </a:lnTo>
                    </a:path>
                  </a:pathLst>
                </a:custGeom>
                <a:grpFill/>
                <a:ln w="6350" cap="flat">
                  <a:solidFill>
                    <a:schemeClr val="bg1">
                      <a:alpha val="40000"/>
                    </a:schemeClr>
                  </a:solidFill>
                  <a:prstDash val="solid"/>
                  <a:miter/>
                </a:ln>
              </p:spPr>
              <p:txBody>
                <a:bodyPr rtlCol="0" anchor="ctr"/>
                <a:lstStyle/>
                <a:p>
                  <a:endParaRPr lang="en-GB"/>
                </a:p>
              </p:txBody>
            </p:sp>
            <p:sp>
              <p:nvSpPr>
                <p:cNvPr id="8569" name="Vrije vorm: vorm 8568">
                  <a:extLst>
                    <a:ext uri="{FF2B5EF4-FFF2-40B4-BE49-F238E27FC236}">
                      <a16:creationId xmlns:a16="http://schemas.microsoft.com/office/drawing/2014/main" id="{294ED6CB-1D6D-45B3-AA53-39D1DAD02F9A}"/>
                    </a:ext>
                  </a:extLst>
                </p:cNvPr>
                <p:cNvSpPr/>
                <p:nvPr/>
              </p:nvSpPr>
              <p:spPr>
                <a:xfrm>
                  <a:off x="4167147" y="3503497"/>
                  <a:ext cx="45104" cy="82909"/>
                </a:xfrm>
                <a:custGeom>
                  <a:avLst/>
                  <a:gdLst>
                    <a:gd name="connsiteX0" fmla="*/ 18062 w 45104"/>
                    <a:gd name="connsiteY0" fmla="*/ 50 h 82909"/>
                    <a:gd name="connsiteX1" fmla="*/ 21291 w 45104"/>
                    <a:gd name="connsiteY1" fmla="*/ 1784 h 82909"/>
                    <a:gd name="connsiteX2" fmla="*/ 26315 w 45104"/>
                    <a:gd name="connsiteY2" fmla="*/ 2980 h 82909"/>
                    <a:gd name="connsiteX3" fmla="*/ 30681 w 45104"/>
                    <a:gd name="connsiteY3" fmla="*/ 6808 h 82909"/>
                    <a:gd name="connsiteX4" fmla="*/ 33970 w 45104"/>
                    <a:gd name="connsiteY4" fmla="*/ 12071 h 82909"/>
                    <a:gd name="connsiteX5" fmla="*/ 30860 w 45104"/>
                    <a:gd name="connsiteY5" fmla="*/ 12968 h 82909"/>
                    <a:gd name="connsiteX6" fmla="*/ 34748 w 45104"/>
                    <a:gd name="connsiteY6" fmla="*/ 44606 h 82909"/>
                    <a:gd name="connsiteX7" fmla="*/ 34449 w 45104"/>
                    <a:gd name="connsiteY7" fmla="*/ 46400 h 82909"/>
                    <a:gd name="connsiteX8" fmla="*/ 34329 w 45104"/>
                    <a:gd name="connsiteY8" fmla="*/ 46938 h 82909"/>
                    <a:gd name="connsiteX9" fmla="*/ 34090 w 45104"/>
                    <a:gd name="connsiteY9" fmla="*/ 48135 h 82909"/>
                    <a:gd name="connsiteX10" fmla="*/ 33911 w 45104"/>
                    <a:gd name="connsiteY10" fmla="*/ 48792 h 82909"/>
                    <a:gd name="connsiteX11" fmla="*/ 33612 w 45104"/>
                    <a:gd name="connsiteY11" fmla="*/ 49869 h 82909"/>
                    <a:gd name="connsiteX12" fmla="*/ 33432 w 45104"/>
                    <a:gd name="connsiteY12" fmla="*/ 50527 h 82909"/>
                    <a:gd name="connsiteX13" fmla="*/ 33133 w 45104"/>
                    <a:gd name="connsiteY13" fmla="*/ 51603 h 82909"/>
                    <a:gd name="connsiteX14" fmla="*/ 32954 w 45104"/>
                    <a:gd name="connsiteY14" fmla="*/ 52201 h 82909"/>
                    <a:gd name="connsiteX15" fmla="*/ 32535 w 45104"/>
                    <a:gd name="connsiteY15" fmla="*/ 53577 h 82909"/>
                    <a:gd name="connsiteX16" fmla="*/ 32475 w 45104"/>
                    <a:gd name="connsiteY16" fmla="*/ 53876 h 82909"/>
                    <a:gd name="connsiteX17" fmla="*/ 31937 w 45104"/>
                    <a:gd name="connsiteY17" fmla="*/ 55431 h 82909"/>
                    <a:gd name="connsiteX18" fmla="*/ 31758 w 45104"/>
                    <a:gd name="connsiteY18" fmla="*/ 55969 h 82909"/>
                    <a:gd name="connsiteX19" fmla="*/ 31339 w 45104"/>
                    <a:gd name="connsiteY19" fmla="*/ 56986 h 82909"/>
                    <a:gd name="connsiteX20" fmla="*/ 31100 w 45104"/>
                    <a:gd name="connsiteY20" fmla="*/ 57644 h 82909"/>
                    <a:gd name="connsiteX21" fmla="*/ 30741 w 45104"/>
                    <a:gd name="connsiteY21" fmla="*/ 58541 h 82909"/>
                    <a:gd name="connsiteX22" fmla="*/ 30442 w 45104"/>
                    <a:gd name="connsiteY22" fmla="*/ 59199 h 82909"/>
                    <a:gd name="connsiteX23" fmla="*/ 30023 w 45104"/>
                    <a:gd name="connsiteY23" fmla="*/ 60036 h 82909"/>
                    <a:gd name="connsiteX24" fmla="*/ 29724 w 45104"/>
                    <a:gd name="connsiteY24" fmla="*/ 60634 h 82909"/>
                    <a:gd name="connsiteX25" fmla="*/ 29246 w 45104"/>
                    <a:gd name="connsiteY25" fmla="*/ 61531 h 82909"/>
                    <a:gd name="connsiteX26" fmla="*/ 29006 w 45104"/>
                    <a:gd name="connsiteY26" fmla="*/ 62070 h 82909"/>
                    <a:gd name="connsiteX27" fmla="*/ 28289 w 45104"/>
                    <a:gd name="connsiteY27" fmla="*/ 63385 h 82909"/>
                    <a:gd name="connsiteX28" fmla="*/ 27930 w 45104"/>
                    <a:gd name="connsiteY28" fmla="*/ 63983 h 82909"/>
                    <a:gd name="connsiteX29" fmla="*/ 27511 w 45104"/>
                    <a:gd name="connsiteY29" fmla="*/ 64701 h 82909"/>
                    <a:gd name="connsiteX30" fmla="*/ 27093 w 45104"/>
                    <a:gd name="connsiteY30" fmla="*/ 65359 h 82909"/>
                    <a:gd name="connsiteX31" fmla="*/ 26674 w 45104"/>
                    <a:gd name="connsiteY31" fmla="*/ 66017 h 82909"/>
                    <a:gd name="connsiteX32" fmla="*/ 26255 w 45104"/>
                    <a:gd name="connsiteY32" fmla="*/ 66675 h 82909"/>
                    <a:gd name="connsiteX33" fmla="*/ 25837 w 45104"/>
                    <a:gd name="connsiteY33" fmla="*/ 67273 h 82909"/>
                    <a:gd name="connsiteX34" fmla="*/ 25358 w 45104"/>
                    <a:gd name="connsiteY34" fmla="*/ 67931 h 82909"/>
                    <a:gd name="connsiteX35" fmla="*/ 24999 w 45104"/>
                    <a:gd name="connsiteY35" fmla="*/ 68469 h 82909"/>
                    <a:gd name="connsiteX36" fmla="*/ 23086 w 45104"/>
                    <a:gd name="connsiteY36" fmla="*/ 70861 h 82909"/>
                    <a:gd name="connsiteX37" fmla="*/ 22787 w 45104"/>
                    <a:gd name="connsiteY37" fmla="*/ 71220 h 82909"/>
                    <a:gd name="connsiteX38" fmla="*/ 22189 w 45104"/>
                    <a:gd name="connsiteY38" fmla="*/ 71878 h 82909"/>
                    <a:gd name="connsiteX39" fmla="*/ 21830 w 45104"/>
                    <a:gd name="connsiteY39" fmla="*/ 72237 h 82909"/>
                    <a:gd name="connsiteX40" fmla="*/ 21231 w 45104"/>
                    <a:gd name="connsiteY40" fmla="*/ 72895 h 82909"/>
                    <a:gd name="connsiteX41" fmla="*/ 20873 w 45104"/>
                    <a:gd name="connsiteY41" fmla="*/ 73194 h 82909"/>
                    <a:gd name="connsiteX42" fmla="*/ 20215 w 45104"/>
                    <a:gd name="connsiteY42" fmla="*/ 73852 h 82909"/>
                    <a:gd name="connsiteX43" fmla="*/ 19976 w 45104"/>
                    <a:gd name="connsiteY43" fmla="*/ 74091 h 82909"/>
                    <a:gd name="connsiteX44" fmla="*/ 17464 w 45104"/>
                    <a:gd name="connsiteY44" fmla="*/ 76184 h 82909"/>
                    <a:gd name="connsiteX45" fmla="*/ 17344 w 45104"/>
                    <a:gd name="connsiteY45" fmla="*/ 76304 h 82909"/>
                    <a:gd name="connsiteX46" fmla="*/ 16567 w 45104"/>
                    <a:gd name="connsiteY46" fmla="*/ 76842 h 82909"/>
                    <a:gd name="connsiteX47" fmla="*/ 16327 w 45104"/>
                    <a:gd name="connsiteY47" fmla="*/ 77021 h 82909"/>
                    <a:gd name="connsiteX48" fmla="*/ 15550 w 45104"/>
                    <a:gd name="connsiteY48" fmla="*/ 77500 h 82909"/>
                    <a:gd name="connsiteX49" fmla="*/ 15251 w 45104"/>
                    <a:gd name="connsiteY49" fmla="*/ 77679 h 82909"/>
                    <a:gd name="connsiteX50" fmla="*/ 14473 w 45104"/>
                    <a:gd name="connsiteY50" fmla="*/ 78158 h 82909"/>
                    <a:gd name="connsiteX51" fmla="*/ 14294 w 45104"/>
                    <a:gd name="connsiteY51" fmla="*/ 78277 h 82909"/>
                    <a:gd name="connsiteX52" fmla="*/ 11364 w 45104"/>
                    <a:gd name="connsiteY52" fmla="*/ 79713 h 82909"/>
                    <a:gd name="connsiteX53" fmla="*/ 11364 w 45104"/>
                    <a:gd name="connsiteY53" fmla="*/ 79713 h 82909"/>
                    <a:gd name="connsiteX54" fmla="*/ 8074 w 45104"/>
                    <a:gd name="connsiteY54" fmla="*/ 80789 h 82909"/>
                    <a:gd name="connsiteX55" fmla="*/ 4725 w 45104"/>
                    <a:gd name="connsiteY55" fmla="*/ 81328 h 82909"/>
                    <a:gd name="connsiteX56" fmla="*/ 0 w 45104"/>
                    <a:gd name="connsiteY56" fmla="*/ 81088 h 82909"/>
                    <a:gd name="connsiteX57" fmla="*/ 9270 w 45104"/>
                    <a:gd name="connsiteY57" fmla="*/ 82643 h 82909"/>
                    <a:gd name="connsiteX58" fmla="*/ 44257 w 45104"/>
                    <a:gd name="connsiteY58" fmla="*/ 46101 h 82909"/>
                    <a:gd name="connsiteX59" fmla="*/ 23026 w 45104"/>
                    <a:gd name="connsiteY59" fmla="*/ 169 h 82909"/>
                    <a:gd name="connsiteX60" fmla="*/ 18062 w 45104"/>
                    <a:gd name="connsiteY60" fmla="*/ 50 h 8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5104" h="82909">
                      <a:moveTo>
                        <a:pt x="18062" y="50"/>
                      </a:moveTo>
                      <a:cubicBezTo>
                        <a:pt x="19198" y="528"/>
                        <a:pt x="20275" y="1126"/>
                        <a:pt x="21291" y="1784"/>
                      </a:cubicBezTo>
                      <a:cubicBezTo>
                        <a:pt x="23026" y="2083"/>
                        <a:pt x="24700" y="2502"/>
                        <a:pt x="26315" y="2980"/>
                      </a:cubicBezTo>
                      <a:lnTo>
                        <a:pt x="30681" y="6808"/>
                      </a:lnTo>
                      <a:lnTo>
                        <a:pt x="33970" y="12071"/>
                      </a:lnTo>
                      <a:lnTo>
                        <a:pt x="30860" y="12968"/>
                      </a:lnTo>
                      <a:cubicBezTo>
                        <a:pt x="35107" y="21401"/>
                        <a:pt x="36782" y="32704"/>
                        <a:pt x="34748" y="44606"/>
                      </a:cubicBezTo>
                      <a:cubicBezTo>
                        <a:pt x="34628" y="45204"/>
                        <a:pt x="34569" y="45802"/>
                        <a:pt x="34449" y="46400"/>
                      </a:cubicBezTo>
                      <a:cubicBezTo>
                        <a:pt x="34389" y="46580"/>
                        <a:pt x="34389" y="46759"/>
                        <a:pt x="34329" y="46938"/>
                      </a:cubicBezTo>
                      <a:cubicBezTo>
                        <a:pt x="34269" y="47357"/>
                        <a:pt x="34150" y="47716"/>
                        <a:pt x="34090" y="48135"/>
                      </a:cubicBezTo>
                      <a:cubicBezTo>
                        <a:pt x="34030" y="48374"/>
                        <a:pt x="33970" y="48553"/>
                        <a:pt x="33911" y="48792"/>
                      </a:cubicBezTo>
                      <a:cubicBezTo>
                        <a:pt x="33851" y="49151"/>
                        <a:pt x="33731" y="49510"/>
                        <a:pt x="33612" y="49869"/>
                      </a:cubicBezTo>
                      <a:cubicBezTo>
                        <a:pt x="33552" y="50108"/>
                        <a:pt x="33492" y="50288"/>
                        <a:pt x="33432" y="50527"/>
                      </a:cubicBezTo>
                      <a:cubicBezTo>
                        <a:pt x="33313" y="50886"/>
                        <a:pt x="33253" y="51244"/>
                        <a:pt x="33133" y="51603"/>
                      </a:cubicBezTo>
                      <a:cubicBezTo>
                        <a:pt x="33074" y="51783"/>
                        <a:pt x="33014" y="51962"/>
                        <a:pt x="32954" y="52201"/>
                      </a:cubicBezTo>
                      <a:cubicBezTo>
                        <a:pt x="32834" y="52680"/>
                        <a:pt x="32655" y="53098"/>
                        <a:pt x="32535" y="53577"/>
                      </a:cubicBezTo>
                      <a:cubicBezTo>
                        <a:pt x="32535" y="53697"/>
                        <a:pt x="32475" y="53756"/>
                        <a:pt x="32475" y="53876"/>
                      </a:cubicBezTo>
                      <a:cubicBezTo>
                        <a:pt x="32296" y="54414"/>
                        <a:pt x="32116" y="54952"/>
                        <a:pt x="31937" y="55431"/>
                      </a:cubicBezTo>
                      <a:cubicBezTo>
                        <a:pt x="31877" y="55610"/>
                        <a:pt x="31817" y="55790"/>
                        <a:pt x="31758" y="55969"/>
                      </a:cubicBezTo>
                      <a:cubicBezTo>
                        <a:pt x="31638" y="56328"/>
                        <a:pt x="31519" y="56627"/>
                        <a:pt x="31339" y="56986"/>
                      </a:cubicBezTo>
                      <a:cubicBezTo>
                        <a:pt x="31279" y="57225"/>
                        <a:pt x="31160" y="57405"/>
                        <a:pt x="31100" y="57644"/>
                      </a:cubicBezTo>
                      <a:cubicBezTo>
                        <a:pt x="30980" y="57943"/>
                        <a:pt x="30860" y="58242"/>
                        <a:pt x="30741" y="58541"/>
                      </a:cubicBezTo>
                      <a:cubicBezTo>
                        <a:pt x="30621" y="58780"/>
                        <a:pt x="30561" y="58960"/>
                        <a:pt x="30442" y="59199"/>
                      </a:cubicBezTo>
                      <a:cubicBezTo>
                        <a:pt x="30322" y="59498"/>
                        <a:pt x="30203" y="59797"/>
                        <a:pt x="30023" y="60036"/>
                      </a:cubicBezTo>
                      <a:cubicBezTo>
                        <a:pt x="29904" y="60275"/>
                        <a:pt x="29844" y="60455"/>
                        <a:pt x="29724" y="60634"/>
                      </a:cubicBezTo>
                      <a:cubicBezTo>
                        <a:pt x="29545" y="60933"/>
                        <a:pt x="29425" y="61232"/>
                        <a:pt x="29246" y="61531"/>
                      </a:cubicBezTo>
                      <a:cubicBezTo>
                        <a:pt x="29126" y="61711"/>
                        <a:pt x="29066" y="61890"/>
                        <a:pt x="29006" y="62070"/>
                      </a:cubicBezTo>
                      <a:cubicBezTo>
                        <a:pt x="28767" y="62488"/>
                        <a:pt x="28528" y="62967"/>
                        <a:pt x="28289" y="63385"/>
                      </a:cubicBezTo>
                      <a:cubicBezTo>
                        <a:pt x="28169" y="63565"/>
                        <a:pt x="28050" y="63804"/>
                        <a:pt x="27930" y="63983"/>
                      </a:cubicBezTo>
                      <a:cubicBezTo>
                        <a:pt x="27811" y="64223"/>
                        <a:pt x="27631" y="64462"/>
                        <a:pt x="27511" y="64701"/>
                      </a:cubicBezTo>
                      <a:cubicBezTo>
                        <a:pt x="27392" y="64940"/>
                        <a:pt x="27212" y="65120"/>
                        <a:pt x="27093" y="65359"/>
                      </a:cubicBezTo>
                      <a:cubicBezTo>
                        <a:pt x="26973" y="65598"/>
                        <a:pt x="26853" y="65778"/>
                        <a:pt x="26674" y="66017"/>
                      </a:cubicBezTo>
                      <a:cubicBezTo>
                        <a:pt x="26554" y="66256"/>
                        <a:pt x="26375" y="66495"/>
                        <a:pt x="26255" y="66675"/>
                      </a:cubicBezTo>
                      <a:cubicBezTo>
                        <a:pt x="26136" y="66854"/>
                        <a:pt x="26016" y="67033"/>
                        <a:pt x="25837" y="67273"/>
                      </a:cubicBezTo>
                      <a:cubicBezTo>
                        <a:pt x="25657" y="67512"/>
                        <a:pt x="25538" y="67751"/>
                        <a:pt x="25358" y="67931"/>
                      </a:cubicBezTo>
                      <a:cubicBezTo>
                        <a:pt x="25239" y="68110"/>
                        <a:pt x="25119" y="68290"/>
                        <a:pt x="24999" y="68469"/>
                      </a:cubicBezTo>
                      <a:cubicBezTo>
                        <a:pt x="24401" y="69306"/>
                        <a:pt x="23744" y="70144"/>
                        <a:pt x="23086" y="70861"/>
                      </a:cubicBezTo>
                      <a:cubicBezTo>
                        <a:pt x="22966" y="70981"/>
                        <a:pt x="22846" y="71101"/>
                        <a:pt x="22787" y="71220"/>
                      </a:cubicBezTo>
                      <a:cubicBezTo>
                        <a:pt x="22607" y="71459"/>
                        <a:pt x="22368" y="71639"/>
                        <a:pt x="22189" y="71878"/>
                      </a:cubicBezTo>
                      <a:cubicBezTo>
                        <a:pt x="22069" y="71998"/>
                        <a:pt x="21949" y="72117"/>
                        <a:pt x="21830" y="72237"/>
                      </a:cubicBezTo>
                      <a:cubicBezTo>
                        <a:pt x="21650" y="72476"/>
                        <a:pt x="21411" y="72655"/>
                        <a:pt x="21231" y="72895"/>
                      </a:cubicBezTo>
                      <a:cubicBezTo>
                        <a:pt x="21112" y="73014"/>
                        <a:pt x="20992" y="73134"/>
                        <a:pt x="20873" y="73194"/>
                      </a:cubicBezTo>
                      <a:cubicBezTo>
                        <a:pt x="20634" y="73433"/>
                        <a:pt x="20454" y="73612"/>
                        <a:pt x="20215" y="73852"/>
                      </a:cubicBezTo>
                      <a:cubicBezTo>
                        <a:pt x="20155" y="73911"/>
                        <a:pt x="20035" y="74031"/>
                        <a:pt x="19976" y="74091"/>
                      </a:cubicBezTo>
                      <a:cubicBezTo>
                        <a:pt x="19138" y="74868"/>
                        <a:pt x="18301" y="75526"/>
                        <a:pt x="17464" y="76184"/>
                      </a:cubicBezTo>
                      <a:cubicBezTo>
                        <a:pt x="17404" y="76244"/>
                        <a:pt x="17344" y="76244"/>
                        <a:pt x="17344" y="76304"/>
                      </a:cubicBezTo>
                      <a:cubicBezTo>
                        <a:pt x="17105" y="76483"/>
                        <a:pt x="16806" y="76663"/>
                        <a:pt x="16567" y="76842"/>
                      </a:cubicBezTo>
                      <a:cubicBezTo>
                        <a:pt x="16507" y="76902"/>
                        <a:pt x="16387" y="76962"/>
                        <a:pt x="16327" y="77021"/>
                      </a:cubicBezTo>
                      <a:cubicBezTo>
                        <a:pt x="16088" y="77201"/>
                        <a:pt x="15789" y="77380"/>
                        <a:pt x="15550" y="77500"/>
                      </a:cubicBezTo>
                      <a:cubicBezTo>
                        <a:pt x="15430" y="77560"/>
                        <a:pt x="15371" y="77619"/>
                        <a:pt x="15251" y="77679"/>
                      </a:cubicBezTo>
                      <a:cubicBezTo>
                        <a:pt x="15012" y="77859"/>
                        <a:pt x="14713" y="77978"/>
                        <a:pt x="14473" y="78158"/>
                      </a:cubicBezTo>
                      <a:cubicBezTo>
                        <a:pt x="14413" y="78218"/>
                        <a:pt x="14354" y="78218"/>
                        <a:pt x="14294" y="78277"/>
                      </a:cubicBezTo>
                      <a:cubicBezTo>
                        <a:pt x="13337" y="78816"/>
                        <a:pt x="12320" y="79294"/>
                        <a:pt x="11364" y="79713"/>
                      </a:cubicBezTo>
                      <a:cubicBezTo>
                        <a:pt x="11364" y="79713"/>
                        <a:pt x="11364" y="79713"/>
                        <a:pt x="11364" y="79713"/>
                      </a:cubicBezTo>
                      <a:cubicBezTo>
                        <a:pt x="10287" y="80131"/>
                        <a:pt x="9210" y="80490"/>
                        <a:pt x="8074" y="80789"/>
                      </a:cubicBezTo>
                      <a:cubicBezTo>
                        <a:pt x="6937" y="81029"/>
                        <a:pt x="5861" y="81268"/>
                        <a:pt x="4725" y="81328"/>
                      </a:cubicBezTo>
                      <a:cubicBezTo>
                        <a:pt x="3170" y="81447"/>
                        <a:pt x="1555" y="81387"/>
                        <a:pt x="0" y="81088"/>
                      </a:cubicBezTo>
                      <a:lnTo>
                        <a:pt x="9270" y="82643"/>
                      </a:lnTo>
                      <a:cubicBezTo>
                        <a:pt x="24820" y="85215"/>
                        <a:pt x="40490" y="68888"/>
                        <a:pt x="44257" y="46101"/>
                      </a:cubicBezTo>
                      <a:cubicBezTo>
                        <a:pt x="48085" y="23314"/>
                        <a:pt x="38576" y="2801"/>
                        <a:pt x="23026" y="169"/>
                      </a:cubicBezTo>
                      <a:cubicBezTo>
                        <a:pt x="21231" y="50"/>
                        <a:pt x="19617" y="-70"/>
                        <a:pt x="18062" y="5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70" name="Vrije vorm: vorm 8569">
                  <a:extLst>
                    <a:ext uri="{FF2B5EF4-FFF2-40B4-BE49-F238E27FC236}">
                      <a16:creationId xmlns:a16="http://schemas.microsoft.com/office/drawing/2014/main" id="{0071E685-382C-4C26-AC5E-6B75E4DFF19F}"/>
                    </a:ext>
                  </a:extLst>
                </p:cNvPr>
                <p:cNvSpPr/>
                <p:nvPr/>
              </p:nvSpPr>
              <p:spPr>
                <a:xfrm>
                  <a:off x="4147830" y="3516585"/>
                  <a:ext cx="54601" cy="68381"/>
                </a:xfrm>
                <a:custGeom>
                  <a:avLst/>
                  <a:gdLst>
                    <a:gd name="connsiteX0" fmla="*/ 47666 w 54601"/>
                    <a:gd name="connsiteY0" fmla="*/ 658 h 68381"/>
                    <a:gd name="connsiteX1" fmla="*/ 51972 w 54601"/>
                    <a:gd name="connsiteY1" fmla="*/ 31219 h 68381"/>
                    <a:gd name="connsiteX2" fmla="*/ 23923 w 54601"/>
                    <a:gd name="connsiteY2" fmla="*/ 65190 h 68381"/>
                    <a:gd name="connsiteX3" fmla="*/ 21291 w 54601"/>
                    <a:gd name="connsiteY3" fmla="*/ 65190 h 68381"/>
                    <a:gd name="connsiteX4" fmla="*/ 19497 w 54601"/>
                    <a:gd name="connsiteY4" fmla="*/ 65010 h 68381"/>
                    <a:gd name="connsiteX5" fmla="*/ 13217 w 54601"/>
                    <a:gd name="connsiteY5" fmla="*/ 62738 h 68381"/>
                    <a:gd name="connsiteX6" fmla="*/ 13217 w 54601"/>
                    <a:gd name="connsiteY6" fmla="*/ 62738 h 68381"/>
                    <a:gd name="connsiteX7" fmla="*/ 0 w 54601"/>
                    <a:gd name="connsiteY7" fmla="*/ 49999 h 68381"/>
                    <a:gd name="connsiteX8" fmla="*/ 19019 w 54601"/>
                    <a:gd name="connsiteY8" fmla="*/ 68121 h 68381"/>
                    <a:gd name="connsiteX9" fmla="*/ 23743 w 54601"/>
                    <a:gd name="connsiteY9" fmla="*/ 68360 h 68381"/>
                    <a:gd name="connsiteX10" fmla="*/ 27092 w 54601"/>
                    <a:gd name="connsiteY10" fmla="*/ 67821 h 68381"/>
                    <a:gd name="connsiteX11" fmla="*/ 30382 w 54601"/>
                    <a:gd name="connsiteY11" fmla="*/ 66745 h 68381"/>
                    <a:gd name="connsiteX12" fmla="*/ 30382 w 54601"/>
                    <a:gd name="connsiteY12" fmla="*/ 66745 h 68381"/>
                    <a:gd name="connsiteX13" fmla="*/ 33313 w 54601"/>
                    <a:gd name="connsiteY13" fmla="*/ 65310 h 68381"/>
                    <a:gd name="connsiteX14" fmla="*/ 33492 w 54601"/>
                    <a:gd name="connsiteY14" fmla="*/ 65190 h 68381"/>
                    <a:gd name="connsiteX15" fmla="*/ 34269 w 54601"/>
                    <a:gd name="connsiteY15" fmla="*/ 64711 h 68381"/>
                    <a:gd name="connsiteX16" fmla="*/ 34568 w 54601"/>
                    <a:gd name="connsiteY16" fmla="*/ 64532 h 68381"/>
                    <a:gd name="connsiteX17" fmla="*/ 35346 w 54601"/>
                    <a:gd name="connsiteY17" fmla="*/ 64053 h 68381"/>
                    <a:gd name="connsiteX18" fmla="*/ 35585 w 54601"/>
                    <a:gd name="connsiteY18" fmla="*/ 63874 h 68381"/>
                    <a:gd name="connsiteX19" fmla="*/ 36363 w 54601"/>
                    <a:gd name="connsiteY19" fmla="*/ 63336 h 68381"/>
                    <a:gd name="connsiteX20" fmla="*/ 36482 w 54601"/>
                    <a:gd name="connsiteY20" fmla="*/ 63216 h 68381"/>
                    <a:gd name="connsiteX21" fmla="*/ 38994 w 54601"/>
                    <a:gd name="connsiteY21" fmla="*/ 61123 h 68381"/>
                    <a:gd name="connsiteX22" fmla="*/ 39234 w 54601"/>
                    <a:gd name="connsiteY22" fmla="*/ 60884 h 68381"/>
                    <a:gd name="connsiteX23" fmla="*/ 39891 w 54601"/>
                    <a:gd name="connsiteY23" fmla="*/ 60226 h 68381"/>
                    <a:gd name="connsiteX24" fmla="*/ 40250 w 54601"/>
                    <a:gd name="connsiteY24" fmla="*/ 59927 h 68381"/>
                    <a:gd name="connsiteX25" fmla="*/ 40848 w 54601"/>
                    <a:gd name="connsiteY25" fmla="*/ 59269 h 68381"/>
                    <a:gd name="connsiteX26" fmla="*/ 41207 w 54601"/>
                    <a:gd name="connsiteY26" fmla="*/ 58910 h 68381"/>
                    <a:gd name="connsiteX27" fmla="*/ 41805 w 54601"/>
                    <a:gd name="connsiteY27" fmla="*/ 58252 h 68381"/>
                    <a:gd name="connsiteX28" fmla="*/ 42104 w 54601"/>
                    <a:gd name="connsiteY28" fmla="*/ 57893 h 68381"/>
                    <a:gd name="connsiteX29" fmla="*/ 44018 w 54601"/>
                    <a:gd name="connsiteY29" fmla="*/ 55501 h 68381"/>
                    <a:gd name="connsiteX30" fmla="*/ 44377 w 54601"/>
                    <a:gd name="connsiteY30" fmla="*/ 54963 h 68381"/>
                    <a:gd name="connsiteX31" fmla="*/ 44855 w 54601"/>
                    <a:gd name="connsiteY31" fmla="*/ 54305 h 68381"/>
                    <a:gd name="connsiteX32" fmla="*/ 45274 w 54601"/>
                    <a:gd name="connsiteY32" fmla="*/ 53707 h 68381"/>
                    <a:gd name="connsiteX33" fmla="*/ 45692 w 54601"/>
                    <a:gd name="connsiteY33" fmla="*/ 53049 h 68381"/>
                    <a:gd name="connsiteX34" fmla="*/ 46111 w 54601"/>
                    <a:gd name="connsiteY34" fmla="*/ 52391 h 68381"/>
                    <a:gd name="connsiteX35" fmla="*/ 46530 w 54601"/>
                    <a:gd name="connsiteY35" fmla="*/ 51733 h 68381"/>
                    <a:gd name="connsiteX36" fmla="*/ 46949 w 54601"/>
                    <a:gd name="connsiteY36" fmla="*/ 51016 h 68381"/>
                    <a:gd name="connsiteX37" fmla="*/ 47307 w 54601"/>
                    <a:gd name="connsiteY37" fmla="*/ 50417 h 68381"/>
                    <a:gd name="connsiteX38" fmla="*/ 48025 w 54601"/>
                    <a:gd name="connsiteY38" fmla="*/ 49102 h 68381"/>
                    <a:gd name="connsiteX39" fmla="*/ 48264 w 54601"/>
                    <a:gd name="connsiteY39" fmla="*/ 48563 h 68381"/>
                    <a:gd name="connsiteX40" fmla="*/ 48743 w 54601"/>
                    <a:gd name="connsiteY40" fmla="*/ 47666 h 68381"/>
                    <a:gd name="connsiteX41" fmla="*/ 49042 w 54601"/>
                    <a:gd name="connsiteY41" fmla="*/ 47068 h 68381"/>
                    <a:gd name="connsiteX42" fmla="*/ 49460 w 54601"/>
                    <a:gd name="connsiteY42" fmla="*/ 46231 h 68381"/>
                    <a:gd name="connsiteX43" fmla="*/ 49760 w 54601"/>
                    <a:gd name="connsiteY43" fmla="*/ 45573 h 68381"/>
                    <a:gd name="connsiteX44" fmla="*/ 50118 w 54601"/>
                    <a:gd name="connsiteY44" fmla="*/ 44676 h 68381"/>
                    <a:gd name="connsiteX45" fmla="*/ 50358 w 54601"/>
                    <a:gd name="connsiteY45" fmla="*/ 44018 h 68381"/>
                    <a:gd name="connsiteX46" fmla="*/ 50776 w 54601"/>
                    <a:gd name="connsiteY46" fmla="*/ 43001 h 68381"/>
                    <a:gd name="connsiteX47" fmla="*/ 50956 w 54601"/>
                    <a:gd name="connsiteY47" fmla="*/ 42463 h 68381"/>
                    <a:gd name="connsiteX48" fmla="*/ 51494 w 54601"/>
                    <a:gd name="connsiteY48" fmla="*/ 40908 h 68381"/>
                    <a:gd name="connsiteX49" fmla="*/ 51554 w 54601"/>
                    <a:gd name="connsiteY49" fmla="*/ 40609 h 68381"/>
                    <a:gd name="connsiteX50" fmla="*/ 51972 w 54601"/>
                    <a:gd name="connsiteY50" fmla="*/ 39234 h 68381"/>
                    <a:gd name="connsiteX51" fmla="*/ 52152 w 54601"/>
                    <a:gd name="connsiteY51" fmla="*/ 38635 h 68381"/>
                    <a:gd name="connsiteX52" fmla="*/ 52451 w 54601"/>
                    <a:gd name="connsiteY52" fmla="*/ 37559 h 68381"/>
                    <a:gd name="connsiteX53" fmla="*/ 52630 w 54601"/>
                    <a:gd name="connsiteY53" fmla="*/ 36901 h 68381"/>
                    <a:gd name="connsiteX54" fmla="*/ 52929 w 54601"/>
                    <a:gd name="connsiteY54" fmla="*/ 35824 h 68381"/>
                    <a:gd name="connsiteX55" fmla="*/ 53109 w 54601"/>
                    <a:gd name="connsiteY55" fmla="*/ 35167 h 68381"/>
                    <a:gd name="connsiteX56" fmla="*/ 53348 w 54601"/>
                    <a:gd name="connsiteY56" fmla="*/ 33970 h 68381"/>
                    <a:gd name="connsiteX57" fmla="*/ 53468 w 54601"/>
                    <a:gd name="connsiteY57" fmla="*/ 33432 h 68381"/>
                    <a:gd name="connsiteX58" fmla="*/ 53767 w 54601"/>
                    <a:gd name="connsiteY58" fmla="*/ 31638 h 68381"/>
                    <a:gd name="connsiteX59" fmla="*/ 49879 w 54601"/>
                    <a:gd name="connsiteY59" fmla="*/ 0 h 68381"/>
                    <a:gd name="connsiteX60" fmla="*/ 47666 w 54601"/>
                    <a:gd name="connsiteY60" fmla="*/ 658 h 6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4601" h="68381">
                      <a:moveTo>
                        <a:pt x="47666" y="658"/>
                      </a:moveTo>
                      <a:cubicBezTo>
                        <a:pt x="52092" y="8612"/>
                        <a:pt x="53886" y="19557"/>
                        <a:pt x="51972" y="31219"/>
                      </a:cubicBezTo>
                      <a:cubicBezTo>
                        <a:pt x="48803" y="50118"/>
                        <a:pt x="36781" y="64293"/>
                        <a:pt x="23923" y="65190"/>
                      </a:cubicBezTo>
                      <a:cubicBezTo>
                        <a:pt x="23086" y="65250"/>
                        <a:pt x="22188" y="65250"/>
                        <a:pt x="21291" y="65190"/>
                      </a:cubicBezTo>
                      <a:cubicBezTo>
                        <a:pt x="20693" y="65130"/>
                        <a:pt x="20095" y="65070"/>
                        <a:pt x="19497" y="65010"/>
                      </a:cubicBezTo>
                      <a:cubicBezTo>
                        <a:pt x="17225" y="64652"/>
                        <a:pt x="15131" y="63874"/>
                        <a:pt x="13217" y="62738"/>
                      </a:cubicBezTo>
                      <a:lnTo>
                        <a:pt x="13217" y="62738"/>
                      </a:lnTo>
                      <a:cubicBezTo>
                        <a:pt x="7835" y="59568"/>
                        <a:pt x="3349" y="55142"/>
                        <a:pt x="0" y="49999"/>
                      </a:cubicBezTo>
                      <a:cubicBezTo>
                        <a:pt x="3648" y="59747"/>
                        <a:pt x="10406" y="66685"/>
                        <a:pt x="19019" y="68121"/>
                      </a:cubicBezTo>
                      <a:cubicBezTo>
                        <a:pt x="20574" y="68360"/>
                        <a:pt x="22188" y="68419"/>
                        <a:pt x="23743" y="68360"/>
                      </a:cubicBezTo>
                      <a:cubicBezTo>
                        <a:pt x="24880" y="68300"/>
                        <a:pt x="26016" y="68121"/>
                        <a:pt x="27092" y="67821"/>
                      </a:cubicBezTo>
                      <a:cubicBezTo>
                        <a:pt x="28229" y="67582"/>
                        <a:pt x="29305" y="67223"/>
                        <a:pt x="30382" y="66745"/>
                      </a:cubicBezTo>
                      <a:cubicBezTo>
                        <a:pt x="30382" y="66745"/>
                        <a:pt x="30382" y="66745"/>
                        <a:pt x="30382" y="66745"/>
                      </a:cubicBezTo>
                      <a:cubicBezTo>
                        <a:pt x="31399" y="66326"/>
                        <a:pt x="32356" y="65848"/>
                        <a:pt x="33313" y="65310"/>
                      </a:cubicBezTo>
                      <a:cubicBezTo>
                        <a:pt x="33372" y="65250"/>
                        <a:pt x="33432" y="65250"/>
                        <a:pt x="33492" y="65190"/>
                      </a:cubicBezTo>
                      <a:cubicBezTo>
                        <a:pt x="33791" y="65010"/>
                        <a:pt x="34030" y="64891"/>
                        <a:pt x="34269" y="64711"/>
                      </a:cubicBezTo>
                      <a:cubicBezTo>
                        <a:pt x="34389" y="64652"/>
                        <a:pt x="34449" y="64592"/>
                        <a:pt x="34568" y="64532"/>
                      </a:cubicBezTo>
                      <a:cubicBezTo>
                        <a:pt x="34808" y="64353"/>
                        <a:pt x="35107" y="64173"/>
                        <a:pt x="35346" y="64053"/>
                      </a:cubicBezTo>
                      <a:cubicBezTo>
                        <a:pt x="35406" y="63994"/>
                        <a:pt x="35526" y="63934"/>
                        <a:pt x="35585" y="63874"/>
                      </a:cubicBezTo>
                      <a:cubicBezTo>
                        <a:pt x="35824" y="63695"/>
                        <a:pt x="36123" y="63515"/>
                        <a:pt x="36363" y="63336"/>
                      </a:cubicBezTo>
                      <a:cubicBezTo>
                        <a:pt x="36422" y="63276"/>
                        <a:pt x="36482" y="63276"/>
                        <a:pt x="36482" y="63216"/>
                      </a:cubicBezTo>
                      <a:cubicBezTo>
                        <a:pt x="37320" y="62558"/>
                        <a:pt x="38217" y="61841"/>
                        <a:pt x="38994" y="61123"/>
                      </a:cubicBezTo>
                      <a:cubicBezTo>
                        <a:pt x="39054" y="61063"/>
                        <a:pt x="39174" y="60944"/>
                        <a:pt x="39234" y="60884"/>
                      </a:cubicBezTo>
                      <a:cubicBezTo>
                        <a:pt x="39473" y="60704"/>
                        <a:pt x="39652" y="60465"/>
                        <a:pt x="39891" y="60226"/>
                      </a:cubicBezTo>
                      <a:cubicBezTo>
                        <a:pt x="40011" y="60106"/>
                        <a:pt x="40130" y="59987"/>
                        <a:pt x="40250" y="59927"/>
                      </a:cubicBezTo>
                      <a:cubicBezTo>
                        <a:pt x="40489" y="59688"/>
                        <a:pt x="40669" y="59508"/>
                        <a:pt x="40848" y="59269"/>
                      </a:cubicBezTo>
                      <a:cubicBezTo>
                        <a:pt x="40968" y="59149"/>
                        <a:pt x="41088" y="59030"/>
                        <a:pt x="41207" y="58910"/>
                      </a:cubicBezTo>
                      <a:cubicBezTo>
                        <a:pt x="41386" y="58671"/>
                        <a:pt x="41626" y="58491"/>
                        <a:pt x="41805" y="58252"/>
                      </a:cubicBezTo>
                      <a:cubicBezTo>
                        <a:pt x="41925" y="58133"/>
                        <a:pt x="42044" y="58013"/>
                        <a:pt x="42104" y="57893"/>
                      </a:cubicBezTo>
                      <a:cubicBezTo>
                        <a:pt x="42762" y="57116"/>
                        <a:pt x="43420" y="56338"/>
                        <a:pt x="44018" y="55501"/>
                      </a:cubicBezTo>
                      <a:cubicBezTo>
                        <a:pt x="44138" y="55322"/>
                        <a:pt x="44257" y="55142"/>
                        <a:pt x="44377" y="54963"/>
                      </a:cubicBezTo>
                      <a:cubicBezTo>
                        <a:pt x="44556" y="54724"/>
                        <a:pt x="44676" y="54544"/>
                        <a:pt x="44855" y="54305"/>
                      </a:cubicBezTo>
                      <a:cubicBezTo>
                        <a:pt x="44975" y="54126"/>
                        <a:pt x="45095" y="53946"/>
                        <a:pt x="45274" y="53707"/>
                      </a:cubicBezTo>
                      <a:cubicBezTo>
                        <a:pt x="45393" y="53468"/>
                        <a:pt x="45573" y="53288"/>
                        <a:pt x="45692" y="53049"/>
                      </a:cubicBezTo>
                      <a:cubicBezTo>
                        <a:pt x="45812" y="52870"/>
                        <a:pt x="45992" y="52630"/>
                        <a:pt x="46111" y="52391"/>
                      </a:cubicBezTo>
                      <a:cubicBezTo>
                        <a:pt x="46231" y="52152"/>
                        <a:pt x="46410" y="51972"/>
                        <a:pt x="46530" y="51733"/>
                      </a:cubicBezTo>
                      <a:cubicBezTo>
                        <a:pt x="46650" y="51494"/>
                        <a:pt x="46829" y="51255"/>
                        <a:pt x="46949" y="51016"/>
                      </a:cubicBezTo>
                      <a:cubicBezTo>
                        <a:pt x="47068" y="50836"/>
                        <a:pt x="47188" y="50597"/>
                        <a:pt x="47307" y="50417"/>
                      </a:cubicBezTo>
                      <a:cubicBezTo>
                        <a:pt x="47547" y="49999"/>
                        <a:pt x="47786" y="49520"/>
                        <a:pt x="48025" y="49102"/>
                      </a:cubicBezTo>
                      <a:cubicBezTo>
                        <a:pt x="48145" y="48922"/>
                        <a:pt x="48205" y="48743"/>
                        <a:pt x="48264" y="48563"/>
                      </a:cubicBezTo>
                      <a:cubicBezTo>
                        <a:pt x="48444" y="48264"/>
                        <a:pt x="48563" y="47965"/>
                        <a:pt x="48743" y="47666"/>
                      </a:cubicBezTo>
                      <a:cubicBezTo>
                        <a:pt x="48862" y="47487"/>
                        <a:pt x="48922" y="47248"/>
                        <a:pt x="49042" y="47068"/>
                      </a:cubicBezTo>
                      <a:cubicBezTo>
                        <a:pt x="49161" y="46769"/>
                        <a:pt x="49281" y="46470"/>
                        <a:pt x="49460" y="46231"/>
                      </a:cubicBezTo>
                      <a:cubicBezTo>
                        <a:pt x="49580" y="45992"/>
                        <a:pt x="49640" y="45812"/>
                        <a:pt x="49760" y="45573"/>
                      </a:cubicBezTo>
                      <a:cubicBezTo>
                        <a:pt x="49879" y="45274"/>
                        <a:pt x="49999" y="44975"/>
                        <a:pt x="50118" y="44676"/>
                      </a:cubicBezTo>
                      <a:cubicBezTo>
                        <a:pt x="50178" y="44437"/>
                        <a:pt x="50298" y="44257"/>
                        <a:pt x="50358" y="44018"/>
                      </a:cubicBezTo>
                      <a:cubicBezTo>
                        <a:pt x="50477" y="43659"/>
                        <a:pt x="50597" y="43360"/>
                        <a:pt x="50776" y="43001"/>
                      </a:cubicBezTo>
                      <a:cubicBezTo>
                        <a:pt x="50836" y="42822"/>
                        <a:pt x="50896" y="42643"/>
                        <a:pt x="50956" y="42463"/>
                      </a:cubicBezTo>
                      <a:cubicBezTo>
                        <a:pt x="51135" y="41925"/>
                        <a:pt x="51314" y="41446"/>
                        <a:pt x="51494" y="40908"/>
                      </a:cubicBezTo>
                      <a:cubicBezTo>
                        <a:pt x="51554" y="40848"/>
                        <a:pt x="51554" y="40729"/>
                        <a:pt x="51554" y="40609"/>
                      </a:cubicBezTo>
                      <a:cubicBezTo>
                        <a:pt x="51673" y="40131"/>
                        <a:pt x="51853" y="39712"/>
                        <a:pt x="51972" y="39234"/>
                      </a:cubicBezTo>
                      <a:cubicBezTo>
                        <a:pt x="52032" y="39054"/>
                        <a:pt x="52092" y="38875"/>
                        <a:pt x="52152" y="38635"/>
                      </a:cubicBezTo>
                      <a:cubicBezTo>
                        <a:pt x="52271" y="38277"/>
                        <a:pt x="52391" y="37918"/>
                        <a:pt x="52451" y="37559"/>
                      </a:cubicBezTo>
                      <a:cubicBezTo>
                        <a:pt x="52511" y="37320"/>
                        <a:pt x="52570" y="37140"/>
                        <a:pt x="52630" y="36901"/>
                      </a:cubicBezTo>
                      <a:cubicBezTo>
                        <a:pt x="52750" y="36542"/>
                        <a:pt x="52810" y="36183"/>
                        <a:pt x="52929" y="35824"/>
                      </a:cubicBezTo>
                      <a:cubicBezTo>
                        <a:pt x="52989" y="35585"/>
                        <a:pt x="53049" y="35406"/>
                        <a:pt x="53109" y="35167"/>
                      </a:cubicBezTo>
                      <a:cubicBezTo>
                        <a:pt x="53168" y="34748"/>
                        <a:pt x="53288" y="34389"/>
                        <a:pt x="53348" y="33970"/>
                      </a:cubicBezTo>
                      <a:cubicBezTo>
                        <a:pt x="53408" y="33791"/>
                        <a:pt x="53408" y="33612"/>
                        <a:pt x="53468" y="33432"/>
                      </a:cubicBezTo>
                      <a:cubicBezTo>
                        <a:pt x="53587" y="32834"/>
                        <a:pt x="53707" y="32236"/>
                        <a:pt x="53767" y="31638"/>
                      </a:cubicBezTo>
                      <a:cubicBezTo>
                        <a:pt x="55740" y="19736"/>
                        <a:pt x="54125" y="8433"/>
                        <a:pt x="49879" y="0"/>
                      </a:cubicBezTo>
                      <a:lnTo>
                        <a:pt x="47666" y="658"/>
                      </a:lnTo>
                      <a:close/>
                    </a:path>
                  </a:pathLst>
                </a:custGeom>
                <a:grpFill/>
                <a:ln w="6350" cap="flat">
                  <a:solidFill>
                    <a:schemeClr val="bg1">
                      <a:alpha val="40000"/>
                    </a:schemeClr>
                  </a:solidFill>
                  <a:prstDash val="solid"/>
                  <a:miter/>
                </a:ln>
              </p:spPr>
              <p:txBody>
                <a:bodyPr rtlCol="0" anchor="ctr"/>
                <a:lstStyle/>
                <a:p>
                  <a:endParaRPr lang="en-GB"/>
                </a:p>
              </p:txBody>
            </p:sp>
            <p:sp>
              <p:nvSpPr>
                <p:cNvPr id="8571" name="Vrije vorm: vorm 8570">
                  <a:extLst>
                    <a:ext uri="{FF2B5EF4-FFF2-40B4-BE49-F238E27FC236}">
                      <a16:creationId xmlns:a16="http://schemas.microsoft.com/office/drawing/2014/main" id="{06218B3F-933B-42A1-B2F2-E268DC226688}"/>
                    </a:ext>
                  </a:extLst>
                </p:cNvPr>
                <p:cNvSpPr/>
                <p:nvPr/>
              </p:nvSpPr>
              <p:spPr>
                <a:xfrm>
                  <a:off x="4139255" y="3513942"/>
                  <a:ext cx="65151" cy="47916"/>
                </a:xfrm>
                <a:custGeom>
                  <a:avLst/>
                  <a:gdLst>
                    <a:gd name="connsiteX0" fmla="*/ 6661 w 65151"/>
                    <a:gd name="connsiteY0" fmla="*/ 20106 h 47916"/>
                    <a:gd name="connsiteX1" fmla="*/ 919 w 65151"/>
                    <a:gd name="connsiteY1" fmla="*/ 39663 h 47916"/>
                    <a:gd name="connsiteX2" fmla="*/ 919 w 65151"/>
                    <a:gd name="connsiteY2" fmla="*/ 39663 h 47916"/>
                    <a:gd name="connsiteX3" fmla="*/ 4089 w 65151"/>
                    <a:gd name="connsiteY3" fmla="*/ 47916 h 47916"/>
                    <a:gd name="connsiteX4" fmla="*/ 4627 w 65151"/>
                    <a:gd name="connsiteY4" fmla="*/ 43730 h 47916"/>
                    <a:gd name="connsiteX5" fmla="*/ 3311 w 65151"/>
                    <a:gd name="connsiteY5" fmla="*/ 40680 h 47916"/>
                    <a:gd name="connsiteX6" fmla="*/ 9771 w 65151"/>
                    <a:gd name="connsiteY6" fmla="*/ 28300 h 47916"/>
                    <a:gd name="connsiteX7" fmla="*/ 65152 w 65151"/>
                    <a:gd name="connsiteY7" fmla="*/ 8623 h 47916"/>
                    <a:gd name="connsiteX8" fmla="*/ 62042 w 65151"/>
                    <a:gd name="connsiteY8" fmla="*/ 489 h 47916"/>
                    <a:gd name="connsiteX9" fmla="*/ 6661 w 65151"/>
                    <a:gd name="connsiteY9" fmla="*/ 20106 h 4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51" h="47916">
                      <a:moveTo>
                        <a:pt x="6661" y="20106"/>
                      </a:moveTo>
                      <a:cubicBezTo>
                        <a:pt x="440" y="27103"/>
                        <a:pt x="-1294" y="34041"/>
                        <a:pt x="919" y="39663"/>
                      </a:cubicBezTo>
                      <a:lnTo>
                        <a:pt x="919" y="39663"/>
                      </a:lnTo>
                      <a:lnTo>
                        <a:pt x="4089" y="47916"/>
                      </a:lnTo>
                      <a:lnTo>
                        <a:pt x="4627" y="43730"/>
                      </a:lnTo>
                      <a:lnTo>
                        <a:pt x="3311" y="40680"/>
                      </a:lnTo>
                      <a:cubicBezTo>
                        <a:pt x="3909" y="36732"/>
                        <a:pt x="6003" y="32546"/>
                        <a:pt x="9771" y="28300"/>
                      </a:cubicBezTo>
                      <a:cubicBezTo>
                        <a:pt x="21851" y="14664"/>
                        <a:pt x="46432" y="5991"/>
                        <a:pt x="65152" y="8623"/>
                      </a:cubicBezTo>
                      <a:lnTo>
                        <a:pt x="62042" y="489"/>
                      </a:lnTo>
                      <a:cubicBezTo>
                        <a:pt x="43322" y="-2202"/>
                        <a:pt x="18742" y="6470"/>
                        <a:pt x="6661" y="2010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72" name="Vrije vorm: vorm 8571">
                  <a:extLst>
                    <a:ext uri="{FF2B5EF4-FFF2-40B4-BE49-F238E27FC236}">
                      <a16:creationId xmlns:a16="http://schemas.microsoft.com/office/drawing/2014/main" id="{435DDEBD-B909-4E18-8E1B-0C33DEE493EA}"/>
                    </a:ext>
                  </a:extLst>
                </p:cNvPr>
                <p:cNvSpPr/>
                <p:nvPr/>
              </p:nvSpPr>
              <p:spPr>
                <a:xfrm>
                  <a:off x="4142322" y="3522095"/>
                  <a:ext cx="62025" cy="46222"/>
                </a:xfrm>
                <a:custGeom>
                  <a:avLst/>
                  <a:gdLst>
                    <a:gd name="connsiteX0" fmla="*/ 6524 w 62025"/>
                    <a:gd name="connsiteY0" fmla="*/ 45983 h 46222"/>
                    <a:gd name="connsiteX1" fmla="*/ 2218 w 62025"/>
                    <a:gd name="connsiteY1" fmla="*/ 34440 h 46222"/>
                    <a:gd name="connsiteX2" fmla="*/ 8378 w 62025"/>
                    <a:gd name="connsiteY2" fmla="*/ 20386 h 46222"/>
                    <a:gd name="connsiteX3" fmla="*/ 60590 w 62025"/>
                    <a:gd name="connsiteY3" fmla="*/ 2204 h 46222"/>
                    <a:gd name="connsiteX4" fmla="*/ 62025 w 62025"/>
                    <a:gd name="connsiteY4" fmla="*/ 470 h 46222"/>
                    <a:gd name="connsiteX5" fmla="*/ 6644 w 62025"/>
                    <a:gd name="connsiteY5" fmla="*/ 20147 h 46222"/>
                    <a:gd name="connsiteX6" fmla="*/ 5 w 62025"/>
                    <a:gd name="connsiteY6" fmla="*/ 35278 h 46222"/>
                    <a:gd name="connsiteX7" fmla="*/ 6165 w 62025"/>
                    <a:gd name="connsiteY7" fmla="*/ 46222 h 46222"/>
                    <a:gd name="connsiteX8" fmla="*/ 6524 w 62025"/>
                    <a:gd name="connsiteY8" fmla="*/ 45983 h 4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25" h="46222">
                      <a:moveTo>
                        <a:pt x="6524" y="45983"/>
                      </a:moveTo>
                      <a:cubicBezTo>
                        <a:pt x="3534" y="41677"/>
                        <a:pt x="1979" y="37909"/>
                        <a:pt x="2218" y="34440"/>
                      </a:cubicBezTo>
                      <a:cubicBezTo>
                        <a:pt x="2517" y="30134"/>
                        <a:pt x="4072" y="25230"/>
                        <a:pt x="8378" y="20386"/>
                      </a:cubicBezTo>
                      <a:cubicBezTo>
                        <a:pt x="19622" y="7707"/>
                        <a:pt x="43186" y="-248"/>
                        <a:pt x="60590" y="2204"/>
                      </a:cubicBezTo>
                      <a:lnTo>
                        <a:pt x="62025" y="470"/>
                      </a:lnTo>
                      <a:cubicBezTo>
                        <a:pt x="43306" y="-2162"/>
                        <a:pt x="18725" y="6511"/>
                        <a:pt x="6644" y="20147"/>
                      </a:cubicBezTo>
                      <a:cubicBezTo>
                        <a:pt x="1979" y="25410"/>
                        <a:pt x="-115" y="30613"/>
                        <a:pt x="5" y="35278"/>
                      </a:cubicBezTo>
                      <a:cubicBezTo>
                        <a:pt x="125" y="39584"/>
                        <a:pt x="2278" y="43352"/>
                        <a:pt x="6165" y="46222"/>
                      </a:cubicBezTo>
                      <a:lnTo>
                        <a:pt x="6524" y="45983"/>
                      </a:lnTo>
                      <a:close/>
                    </a:path>
                  </a:pathLst>
                </a:custGeom>
                <a:grpFill/>
                <a:ln w="6350" cap="flat">
                  <a:solidFill>
                    <a:schemeClr val="bg1">
                      <a:alpha val="40000"/>
                    </a:schemeClr>
                  </a:solidFill>
                  <a:prstDash val="solid"/>
                  <a:miter/>
                </a:ln>
              </p:spPr>
              <p:txBody>
                <a:bodyPr rtlCol="0" anchor="ctr"/>
                <a:lstStyle/>
                <a:p>
                  <a:endParaRPr lang="en-GB"/>
                </a:p>
              </p:txBody>
            </p:sp>
            <p:sp>
              <p:nvSpPr>
                <p:cNvPr id="8573" name="Vrije vorm: vorm 8572">
                  <a:extLst>
                    <a:ext uri="{FF2B5EF4-FFF2-40B4-BE49-F238E27FC236}">
                      <a16:creationId xmlns:a16="http://schemas.microsoft.com/office/drawing/2014/main" id="{9A902032-5B67-4BD4-9CE9-0458BFFB6FC3}"/>
                    </a:ext>
                  </a:extLst>
                </p:cNvPr>
                <p:cNvSpPr/>
                <p:nvPr/>
              </p:nvSpPr>
              <p:spPr>
                <a:xfrm>
                  <a:off x="4174865" y="3485305"/>
                  <a:ext cx="53285" cy="62875"/>
                </a:xfrm>
                <a:custGeom>
                  <a:avLst/>
                  <a:gdLst>
                    <a:gd name="connsiteX0" fmla="*/ 14471 w 53285"/>
                    <a:gd name="connsiteY0" fmla="*/ 0 h 62875"/>
                    <a:gd name="connsiteX1" fmla="*/ 775 w 53285"/>
                    <a:gd name="connsiteY1" fmla="*/ 16627 h 62875"/>
                    <a:gd name="connsiteX2" fmla="*/ 775 w 53285"/>
                    <a:gd name="connsiteY2" fmla="*/ 16627 h 62875"/>
                    <a:gd name="connsiteX3" fmla="*/ 715 w 53285"/>
                    <a:gd name="connsiteY3" fmla="*/ 16686 h 62875"/>
                    <a:gd name="connsiteX4" fmla="*/ 715 w 53285"/>
                    <a:gd name="connsiteY4" fmla="*/ 16686 h 62875"/>
                    <a:gd name="connsiteX5" fmla="*/ 595 w 53285"/>
                    <a:gd name="connsiteY5" fmla="*/ 19736 h 62875"/>
                    <a:gd name="connsiteX6" fmla="*/ 16444 w 53285"/>
                    <a:gd name="connsiteY6" fmla="*/ 54604 h 62875"/>
                    <a:gd name="connsiteX7" fmla="*/ 25236 w 53285"/>
                    <a:gd name="connsiteY7" fmla="*/ 60944 h 62875"/>
                    <a:gd name="connsiteX8" fmla="*/ 36300 w 53285"/>
                    <a:gd name="connsiteY8" fmla="*/ 62798 h 62875"/>
                    <a:gd name="connsiteX9" fmla="*/ 40547 w 53285"/>
                    <a:gd name="connsiteY9" fmla="*/ 61542 h 62875"/>
                    <a:gd name="connsiteX10" fmla="*/ 40547 w 53285"/>
                    <a:gd name="connsiteY10" fmla="*/ 61542 h 62875"/>
                    <a:gd name="connsiteX11" fmla="*/ 40547 w 53285"/>
                    <a:gd name="connsiteY11" fmla="*/ 61542 h 62875"/>
                    <a:gd name="connsiteX12" fmla="*/ 40905 w 53285"/>
                    <a:gd name="connsiteY12" fmla="*/ 61123 h 62875"/>
                    <a:gd name="connsiteX13" fmla="*/ 53286 w 53285"/>
                    <a:gd name="connsiteY13" fmla="*/ 46111 h 62875"/>
                    <a:gd name="connsiteX14" fmla="*/ 47843 w 53285"/>
                    <a:gd name="connsiteY14" fmla="*/ 31638 h 62875"/>
                    <a:gd name="connsiteX15" fmla="*/ 34147 w 53285"/>
                    <a:gd name="connsiteY15" fmla="*/ 42164 h 62875"/>
                    <a:gd name="connsiteX16" fmla="*/ 25356 w 53285"/>
                    <a:gd name="connsiteY16" fmla="*/ 22787 h 62875"/>
                    <a:gd name="connsiteX17" fmla="*/ 19734 w 53285"/>
                    <a:gd name="connsiteY17" fmla="*/ 17404 h 62875"/>
                    <a:gd name="connsiteX18" fmla="*/ 14471 w 53285"/>
                    <a:gd name="connsiteY18" fmla="*/ 0 h 6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285" h="62875">
                      <a:moveTo>
                        <a:pt x="14471" y="0"/>
                      </a:moveTo>
                      <a:lnTo>
                        <a:pt x="775" y="16627"/>
                      </a:lnTo>
                      <a:cubicBezTo>
                        <a:pt x="775" y="16627"/>
                        <a:pt x="775" y="16627"/>
                        <a:pt x="775" y="16627"/>
                      </a:cubicBezTo>
                      <a:lnTo>
                        <a:pt x="715" y="16686"/>
                      </a:lnTo>
                      <a:lnTo>
                        <a:pt x="715" y="16686"/>
                      </a:lnTo>
                      <a:cubicBezTo>
                        <a:pt x="-122" y="17823"/>
                        <a:pt x="-302" y="19138"/>
                        <a:pt x="595" y="19736"/>
                      </a:cubicBezTo>
                      <a:cubicBezTo>
                        <a:pt x="11600" y="27392"/>
                        <a:pt x="16145" y="33731"/>
                        <a:pt x="16444" y="54604"/>
                      </a:cubicBezTo>
                      <a:cubicBezTo>
                        <a:pt x="16504" y="60166"/>
                        <a:pt x="21289" y="60286"/>
                        <a:pt x="25236" y="60944"/>
                      </a:cubicBezTo>
                      <a:lnTo>
                        <a:pt x="36300" y="62798"/>
                      </a:lnTo>
                      <a:cubicBezTo>
                        <a:pt x="38035" y="63097"/>
                        <a:pt x="39590" y="62499"/>
                        <a:pt x="40547" y="61542"/>
                      </a:cubicBezTo>
                      <a:lnTo>
                        <a:pt x="40547" y="61542"/>
                      </a:lnTo>
                      <a:lnTo>
                        <a:pt x="40547" y="61542"/>
                      </a:lnTo>
                      <a:cubicBezTo>
                        <a:pt x="40666" y="61422"/>
                        <a:pt x="40786" y="61243"/>
                        <a:pt x="40905" y="61123"/>
                      </a:cubicBezTo>
                      <a:lnTo>
                        <a:pt x="53286" y="46111"/>
                      </a:lnTo>
                      <a:lnTo>
                        <a:pt x="47843" y="31638"/>
                      </a:lnTo>
                      <a:lnTo>
                        <a:pt x="34147" y="42164"/>
                      </a:lnTo>
                      <a:lnTo>
                        <a:pt x="25356" y="22787"/>
                      </a:lnTo>
                      <a:cubicBezTo>
                        <a:pt x="24279" y="20454"/>
                        <a:pt x="22246" y="18540"/>
                        <a:pt x="19734" y="17404"/>
                      </a:cubicBezTo>
                      <a:lnTo>
                        <a:pt x="14471" y="0"/>
                      </a:lnTo>
                      <a:close/>
                    </a:path>
                  </a:pathLst>
                </a:custGeom>
                <a:grpFill/>
                <a:ln w="6350" cap="flat">
                  <a:solidFill>
                    <a:schemeClr val="bg1">
                      <a:alpha val="40000"/>
                    </a:schemeClr>
                  </a:solidFill>
                  <a:prstDash val="solid"/>
                  <a:miter/>
                </a:ln>
              </p:spPr>
              <p:txBody>
                <a:bodyPr rtlCol="0" anchor="ctr"/>
                <a:lstStyle/>
                <a:p>
                  <a:endParaRPr lang="en-GB"/>
                </a:p>
              </p:txBody>
            </p:sp>
            <p:sp>
              <p:nvSpPr>
                <p:cNvPr id="8574" name="Vrije vorm: vorm 8573">
                  <a:extLst>
                    <a:ext uri="{FF2B5EF4-FFF2-40B4-BE49-F238E27FC236}">
                      <a16:creationId xmlns:a16="http://schemas.microsoft.com/office/drawing/2014/main" id="{CBD2ABE2-30FC-421F-9D01-8881FD27C1BD}"/>
                    </a:ext>
                  </a:extLst>
                </p:cNvPr>
                <p:cNvSpPr/>
                <p:nvPr/>
              </p:nvSpPr>
              <p:spPr>
                <a:xfrm>
                  <a:off x="4187864" y="3484403"/>
                  <a:ext cx="41279" cy="48395"/>
                </a:xfrm>
                <a:custGeom>
                  <a:avLst/>
                  <a:gdLst>
                    <a:gd name="connsiteX0" fmla="*/ 25095 w 41279"/>
                    <a:gd name="connsiteY0" fmla="*/ 8259 h 48395"/>
                    <a:gd name="connsiteX1" fmla="*/ 40944 w 41279"/>
                    <a:gd name="connsiteY1" fmla="*/ 43127 h 48395"/>
                    <a:gd name="connsiteX2" fmla="*/ 36040 w 41279"/>
                    <a:gd name="connsiteY2" fmla="*/ 48330 h 48395"/>
                    <a:gd name="connsiteX3" fmla="*/ 24976 w 41279"/>
                    <a:gd name="connsiteY3" fmla="*/ 46476 h 48395"/>
                    <a:gd name="connsiteX4" fmla="*/ 16184 w 41279"/>
                    <a:gd name="connsiteY4" fmla="*/ 40136 h 48395"/>
                    <a:gd name="connsiteX5" fmla="*/ 335 w 41279"/>
                    <a:gd name="connsiteY5" fmla="*/ 5269 h 48395"/>
                    <a:gd name="connsiteX6" fmla="*/ 5239 w 41279"/>
                    <a:gd name="connsiteY6" fmla="*/ 66 h 48395"/>
                    <a:gd name="connsiteX7" fmla="*/ 16304 w 41279"/>
                    <a:gd name="connsiteY7" fmla="*/ 1920 h 48395"/>
                    <a:gd name="connsiteX8" fmla="*/ 25095 w 41279"/>
                    <a:gd name="connsiteY8" fmla="*/ 8259 h 48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279" h="48395">
                      <a:moveTo>
                        <a:pt x="25095" y="8259"/>
                      </a:moveTo>
                      <a:lnTo>
                        <a:pt x="40944" y="43127"/>
                      </a:lnTo>
                      <a:cubicBezTo>
                        <a:pt x="42260" y="45997"/>
                        <a:pt x="39509" y="48868"/>
                        <a:pt x="36040" y="48330"/>
                      </a:cubicBezTo>
                      <a:lnTo>
                        <a:pt x="24976" y="46476"/>
                      </a:lnTo>
                      <a:cubicBezTo>
                        <a:pt x="21028" y="45818"/>
                        <a:pt x="17679" y="43366"/>
                        <a:pt x="16184" y="40136"/>
                      </a:cubicBezTo>
                      <a:lnTo>
                        <a:pt x="335" y="5269"/>
                      </a:lnTo>
                      <a:cubicBezTo>
                        <a:pt x="-981" y="2398"/>
                        <a:pt x="1770" y="-473"/>
                        <a:pt x="5239" y="66"/>
                      </a:cubicBezTo>
                      <a:lnTo>
                        <a:pt x="16304" y="1920"/>
                      </a:lnTo>
                      <a:cubicBezTo>
                        <a:pt x="20251" y="2518"/>
                        <a:pt x="23600" y="4970"/>
                        <a:pt x="25095" y="825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75" name="Vrije vorm: vorm 8574">
                  <a:extLst>
                    <a:ext uri="{FF2B5EF4-FFF2-40B4-BE49-F238E27FC236}">
                      <a16:creationId xmlns:a16="http://schemas.microsoft.com/office/drawing/2014/main" id="{22835B17-E37E-4206-A794-6ACEEB84B693}"/>
                    </a:ext>
                  </a:extLst>
                </p:cNvPr>
                <p:cNvSpPr/>
                <p:nvPr/>
              </p:nvSpPr>
              <p:spPr>
                <a:xfrm>
                  <a:off x="4190354" y="3486187"/>
                  <a:ext cx="36553" cy="44067"/>
                </a:xfrm>
                <a:custGeom>
                  <a:avLst/>
                  <a:gdLst>
                    <a:gd name="connsiteX0" fmla="*/ 21290 w 36553"/>
                    <a:gd name="connsiteY0" fmla="*/ 7013 h 44067"/>
                    <a:gd name="connsiteX1" fmla="*/ 36062 w 36553"/>
                    <a:gd name="connsiteY1" fmla="*/ 39608 h 44067"/>
                    <a:gd name="connsiteX2" fmla="*/ 31996 w 36553"/>
                    <a:gd name="connsiteY2" fmla="*/ 43914 h 44067"/>
                    <a:gd name="connsiteX3" fmla="*/ 22726 w 36553"/>
                    <a:gd name="connsiteY3" fmla="*/ 42359 h 44067"/>
                    <a:gd name="connsiteX4" fmla="*/ 15369 w 36553"/>
                    <a:gd name="connsiteY4" fmla="*/ 37036 h 44067"/>
                    <a:gd name="connsiteX5" fmla="*/ 597 w 36553"/>
                    <a:gd name="connsiteY5" fmla="*/ 4441 h 44067"/>
                    <a:gd name="connsiteX6" fmla="*/ 4664 w 36553"/>
                    <a:gd name="connsiteY6" fmla="*/ 135 h 44067"/>
                    <a:gd name="connsiteX7" fmla="*/ 13934 w 36553"/>
                    <a:gd name="connsiteY7" fmla="*/ 1690 h 44067"/>
                    <a:gd name="connsiteX8" fmla="*/ 21290 w 36553"/>
                    <a:gd name="connsiteY8" fmla="*/ 7013 h 4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53" h="44067">
                      <a:moveTo>
                        <a:pt x="21290" y="7013"/>
                      </a:moveTo>
                      <a:lnTo>
                        <a:pt x="36062" y="39608"/>
                      </a:lnTo>
                      <a:cubicBezTo>
                        <a:pt x="37139" y="42000"/>
                        <a:pt x="36721" y="44751"/>
                        <a:pt x="31996" y="43914"/>
                      </a:cubicBezTo>
                      <a:lnTo>
                        <a:pt x="22726" y="42359"/>
                      </a:lnTo>
                      <a:cubicBezTo>
                        <a:pt x="19436" y="41821"/>
                        <a:pt x="16625" y="39788"/>
                        <a:pt x="15369" y="37036"/>
                      </a:cubicBezTo>
                      <a:lnTo>
                        <a:pt x="597" y="4441"/>
                      </a:lnTo>
                      <a:cubicBezTo>
                        <a:pt x="-1197" y="913"/>
                        <a:pt x="1314" y="-463"/>
                        <a:pt x="4664" y="135"/>
                      </a:cubicBezTo>
                      <a:lnTo>
                        <a:pt x="13934" y="1690"/>
                      </a:lnTo>
                      <a:cubicBezTo>
                        <a:pt x="17223" y="2288"/>
                        <a:pt x="20034" y="4262"/>
                        <a:pt x="21290" y="701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76" name="Vrije vorm: vorm 8575">
                  <a:extLst>
                    <a:ext uri="{FF2B5EF4-FFF2-40B4-BE49-F238E27FC236}">
                      <a16:creationId xmlns:a16="http://schemas.microsoft.com/office/drawing/2014/main" id="{BBF50DBA-DF75-4695-B2F8-5AF57C56CDF1}"/>
                    </a:ext>
                  </a:extLst>
                </p:cNvPr>
                <p:cNvSpPr/>
                <p:nvPr/>
              </p:nvSpPr>
              <p:spPr>
                <a:xfrm>
                  <a:off x="4190015" y="3573523"/>
                  <a:ext cx="16305" cy="10464"/>
                </a:xfrm>
                <a:custGeom>
                  <a:avLst/>
                  <a:gdLst>
                    <a:gd name="connsiteX0" fmla="*/ 11880 w 16305"/>
                    <a:gd name="connsiteY0" fmla="*/ 118 h 10464"/>
                    <a:gd name="connsiteX1" fmla="*/ 1234 w 16305"/>
                    <a:gd name="connsiteY1" fmla="*/ 3946 h 10464"/>
                    <a:gd name="connsiteX2" fmla="*/ 217 w 16305"/>
                    <a:gd name="connsiteY2" fmla="*/ 7833 h 10464"/>
                    <a:gd name="connsiteX3" fmla="*/ 1174 w 16305"/>
                    <a:gd name="connsiteY3" fmla="*/ 10465 h 10464"/>
                    <a:gd name="connsiteX4" fmla="*/ 1952 w 16305"/>
                    <a:gd name="connsiteY4" fmla="*/ 9448 h 10464"/>
                    <a:gd name="connsiteX5" fmla="*/ 3447 w 16305"/>
                    <a:gd name="connsiteY5" fmla="*/ 9867 h 10464"/>
                    <a:gd name="connsiteX6" fmla="*/ 14093 w 16305"/>
                    <a:gd name="connsiteY6" fmla="*/ 6039 h 10464"/>
                    <a:gd name="connsiteX7" fmla="*/ 15229 w 16305"/>
                    <a:gd name="connsiteY7" fmla="*/ 4125 h 10464"/>
                    <a:gd name="connsiteX8" fmla="*/ 16305 w 16305"/>
                    <a:gd name="connsiteY8" fmla="*/ 5202 h 10464"/>
                    <a:gd name="connsiteX9" fmla="*/ 15229 w 16305"/>
                    <a:gd name="connsiteY9" fmla="*/ 2391 h 10464"/>
                    <a:gd name="connsiteX10" fmla="*/ 11880 w 16305"/>
                    <a:gd name="connsiteY10" fmla="*/ 118 h 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05" h="10464">
                      <a:moveTo>
                        <a:pt x="11880" y="118"/>
                      </a:moveTo>
                      <a:cubicBezTo>
                        <a:pt x="8351" y="-480"/>
                        <a:pt x="3566" y="1254"/>
                        <a:pt x="1234" y="3946"/>
                      </a:cubicBezTo>
                      <a:cubicBezTo>
                        <a:pt x="38" y="5381"/>
                        <a:pt x="-261" y="6757"/>
                        <a:pt x="217" y="7833"/>
                      </a:cubicBezTo>
                      <a:lnTo>
                        <a:pt x="1174" y="10465"/>
                      </a:lnTo>
                      <a:lnTo>
                        <a:pt x="1952" y="9448"/>
                      </a:lnTo>
                      <a:cubicBezTo>
                        <a:pt x="2371" y="9627"/>
                        <a:pt x="2849" y="9807"/>
                        <a:pt x="3447" y="9867"/>
                      </a:cubicBezTo>
                      <a:cubicBezTo>
                        <a:pt x="6976" y="10465"/>
                        <a:pt x="11760" y="8730"/>
                        <a:pt x="14093" y="6039"/>
                      </a:cubicBezTo>
                      <a:cubicBezTo>
                        <a:pt x="14631" y="5381"/>
                        <a:pt x="15050" y="4723"/>
                        <a:pt x="15229" y="4125"/>
                      </a:cubicBezTo>
                      <a:lnTo>
                        <a:pt x="16305" y="5202"/>
                      </a:lnTo>
                      <a:lnTo>
                        <a:pt x="15229" y="2391"/>
                      </a:lnTo>
                      <a:cubicBezTo>
                        <a:pt x="14810" y="1254"/>
                        <a:pt x="13674" y="417"/>
                        <a:pt x="11880" y="11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77" name="Vrije vorm: vorm 8576">
                  <a:extLst>
                    <a:ext uri="{FF2B5EF4-FFF2-40B4-BE49-F238E27FC236}">
                      <a16:creationId xmlns:a16="http://schemas.microsoft.com/office/drawing/2014/main" id="{951A233C-E308-4462-A861-955BEF251713}"/>
                    </a:ext>
                  </a:extLst>
                </p:cNvPr>
                <p:cNvSpPr/>
                <p:nvPr/>
              </p:nvSpPr>
              <p:spPr>
                <a:xfrm>
                  <a:off x="4191070" y="3576334"/>
                  <a:ext cx="15370" cy="9984"/>
                </a:xfrm>
                <a:custGeom>
                  <a:avLst/>
                  <a:gdLst>
                    <a:gd name="connsiteX0" fmla="*/ 1256 w 15370"/>
                    <a:gd name="connsiteY0" fmla="*/ 3946 h 9984"/>
                    <a:gd name="connsiteX1" fmla="*/ 3469 w 15370"/>
                    <a:gd name="connsiteY1" fmla="*/ 9867 h 9984"/>
                    <a:gd name="connsiteX2" fmla="*/ 14115 w 15370"/>
                    <a:gd name="connsiteY2" fmla="*/ 6039 h 9984"/>
                    <a:gd name="connsiteX3" fmla="*/ 11902 w 15370"/>
                    <a:gd name="connsiteY3" fmla="*/ 118 h 9984"/>
                    <a:gd name="connsiteX4" fmla="*/ 1256 w 15370"/>
                    <a:gd name="connsiteY4" fmla="*/ 3946 h 9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0" h="9984">
                      <a:moveTo>
                        <a:pt x="1256" y="3946"/>
                      </a:moveTo>
                      <a:cubicBezTo>
                        <a:pt x="-1076" y="6637"/>
                        <a:pt x="-60" y="9269"/>
                        <a:pt x="3469" y="9867"/>
                      </a:cubicBezTo>
                      <a:cubicBezTo>
                        <a:pt x="6998" y="10465"/>
                        <a:pt x="11782" y="8730"/>
                        <a:pt x="14115" y="6039"/>
                      </a:cubicBezTo>
                      <a:cubicBezTo>
                        <a:pt x="16447" y="3348"/>
                        <a:pt x="15431" y="716"/>
                        <a:pt x="11902" y="118"/>
                      </a:cubicBezTo>
                      <a:cubicBezTo>
                        <a:pt x="8313" y="-480"/>
                        <a:pt x="3588" y="1254"/>
                        <a:pt x="1256" y="394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78" name="Vrije vorm: vorm 8577">
                  <a:extLst>
                    <a:ext uri="{FF2B5EF4-FFF2-40B4-BE49-F238E27FC236}">
                      <a16:creationId xmlns:a16="http://schemas.microsoft.com/office/drawing/2014/main" id="{83408779-DA73-4570-90BD-1C947D18B33A}"/>
                    </a:ext>
                  </a:extLst>
                </p:cNvPr>
                <p:cNvSpPr/>
                <p:nvPr/>
              </p:nvSpPr>
              <p:spPr>
                <a:xfrm>
                  <a:off x="4436994" y="3484648"/>
                  <a:ext cx="28412" cy="38338"/>
                </a:xfrm>
                <a:custGeom>
                  <a:avLst/>
                  <a:gdLst>
                    <a:gd name="connsiteX0" fmla="*/ 27635 w 28412"/>
                    <a:gd name="connsiteY0" fmla="*/ 26853 h 38338"/>
                    <a:gd name="connsiteX1" fmla="*/ 27874 w 28412"/>
                    <a:gd name="connsiteY1" fmla="*/ 24641 h 38338"/>
                    <a:gd name="connsiteX2" fmla="*/ 27874 w 28412"/>
                    <a:gd name="connsiteY2" fmla="*/ 24641 h 38338"/>
                    <a:gd name="connsiteX3" fmla="*/ 28412 w 28412"/>
                    <a:gd name="connsiteY3" fmla="*/ 598 h 38338"/>
                    <a:gd name="connsiteX4" fmla="*/ 542 w 28412"/>
                    <a:gd name="connsiteY4" fmla="*/ 0 h 38338"/>
                    <a:gd name="connsiteX5" fmla="*/ 4 w 28412"/>
                    <a:gd name="connsiteY5" fmla="*/ 24102 h 38338"/>
                    <a:gd name="connsiteX6" fmla="*/ 13640 w 28412"/>
                    <a:gd name="connsiteY6" fmla="*/ 38336 h 38338"/>
                    <a:gd name="connsiteX7" fmla="*/ 27635 w 28412"/>
                    <a:gd name="connsiteY7" fmla="*/ 26853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12" h="38338">
                      <a:moveTo>
                        <a:pt x="27635" y="26853"/>
                      </a:moveTo>
                      <a:cubicBezTo>
                        <a:pt x="27754" y="26136"/>
                        <a:pt x="27814" y="25418"/>
                        <a:pt x="27874" y="24641"/>
                      </a:cubicBezTo>
                      <a:lnTo>
                        <a:pt x="27874" y="24641"/>
                      </a:lnTo>
                      <a:cubicBezTo>
                        <a:pt x="27874" y="24102"/>
                        <a:pt x="28412" y="598"/>
                        <a:pt x="28412" y="598"/>
                      </a:cubicBezTo>
                      <a:lnTo>
                        <a:pt x="542" y="0"/>
                      </a:lnTo>
                      <a:cubicBezTo>
                        <a:pt x="542" y="0"/>
                        <a:pt x="4" y="23684"/>
                        <a:pt x="4" y="24102"/>
                      </a:cubicBezTo>
                      <a:cubicBezTo>
                        <a:pt x="-175" y="31817"/>
                        <a:pt x="5985" y="38157"/>
                        <a:pt x="13640" y="38336"/>
                      </a:cubicBezTo>
                      <a:cubicBezTo>
                        <a:pt x="20578" y="38456"/>
                        <a:pt x="26439" y="33492"/>
                        <a:pt x="27635" y="2685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8579" name="Vrije vorm: vorm 8578">
                  <a:extLst>
                    <a:ext uri="{FF2B5EF4-FFF2-40B4-BE49-F238E27FC236}">
                      <a16:creationId xmlns:a16="http://schemas.microsoft.com/office/drawing/2014/main" id="{303B9833-BF9B-4B2E-B390-4ABBB8219748}"/>
                    </a:ext>
                  </a:extLst>
                </p:cNvPr>
                <p:cNvSpPr/>
                <p:nvPr/>
              </p:nvSpPr>
              <p:spPr>
                <a:xfrm>
                  <a:off x="4398900" y="3486975"/>
                  <a:ext cx="70159" cy="203290"/>
                </a:xfrm>
                <a:custGeom>
                  <a:avLst/>
                  <a:gdLst>
                    <a:gd name="connsiteX0" fmla="*/ 29006 w 70159"/>
                    <a:gd name="connsiteY0" fmla="*/ 126139 h 203290"/>
                    <a:gd name="connsiteX1" fmla="*/ 34090 w 70159"/>
                    <a:gd name="connsiteY1" fmla="*/ 17648 h 203290"/>
                    <a:gd name="connsiteX2" fmla="*/ 52511 w 70159"/>
                    <a:gd name="connsiteY2" fmla="*/ 5 h 203290"/>
                    <a:gd name="connsiteX3" fmla="*/ 70154 w 70159"/>
                    <a:gd name="connsiteY3" fmla="*/ 18426 h 203290"/>
                    <a:gd name="connsiteX4" fmla="*/ 62439 w 70159"/>
                    <a:gd name="connsiteY4" fmla="*/ 152633 h 203290"/>
                    <a:gd name="connsiteX5" fmla="*/ 60405 w 70159"/>
                    <a:gd name="connsiteY5" fmla="*/ 165970 h 203290"/>
                    <a:gd name="connsiteX6" fmla="*/ 34389 w 70159"/>
                    <a:gd name="connsiteY6" fmla="*/ 203230 h 203290"/>
                    <a:gd name="connsiteX7" fmla="*/ 0 w 70159"/>
                    <a:gd name="connsiteY7" fmla="*/ 152633 h 203290"/>
                    <a:gd name="connsiteX8" fmla="*/ 42583 w 70159"/>
                    <a:gd name="connsiteY8" fmla="*/ 171413 h 203290"/>
                    <a:gd name="connsiteX9" fmla="*/ 42583 w 70159"/>
                    <a:gd name="connsiteY9" fmla="*/ 171413 h 203290"/>
                    <a:gd name="connsiteX10" fmla="*/ 42583 w 70159"/>
                    <a:gd name="connsiteY10" fmla="*/ 171413 h 20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159" h="203290">
                      <a:moveTo>
                        <a:pt x="29006" y="126139"/>
                      </a:moveTo>
                      <a:cubicBezTo>
                        <a:pt x="31040" y="102993"/>
                        <a:pt x="33014" y="68664"/>
                        <a:pt x="34090" y="17648"/>
                      </a:cubicBezTo>
                      <a:cubicBezTo>
                        <a:pt x="34269" y="7661"/>
                        <a:pt x="42523" y="-234"/>
                        <a:pt x="52511" y="5"/>
                      </a:cubicBezTo>
                      <a:cubicBezTo>
                        <a:pt x="62499" y="244"/>
                        <a:pt x="70393" y="8438"/>
                        <a:pt x="70154" y="18426"/>
                      </a:cubicBezTo>
                      <a:cubicBezTo>
                        <a:pt x="68898" y="79011"/>
                        <a:pt x="66267" y="124165"/>
                        <a:pt x="62439" y="152633"/>
                      </a:cubicBezTo>
                      <a:cubicBezTo>
                        <a:pt x="61841" y="157179"/>
                        <a:pt x="61183" y="161664"/>
                        <a:pt x="60405" y="165970"/>
                      </a:cubicBezTo>
                      <a:cubicBezTo>
                        <a:pt x="56817" y="185886"/>
                        <a:pt x="50716" y="201855"/>
                        <a:pt x="34389" y="203230"/>
                      </a:cubicBezTo>
                      <a:cubicBezTo>
                        <a:pt x="13397" y="205024"/>
                        <a:pt x="4067" y="166628"/>
                        <a:pt x="0" y="152633"/>
                      </a:cubicBezTo>
                      <a:moveTo>
                        <a:pt x="42583" y="171413"/>
                      </a:moveTo>
                      <a:lnTo>
                        <a:pt x="42583" y="171413"/>
                      </a:lnTo>
                      <a:lnTo>
                        <a:pt x="42583" y="171413"/>
                      </a:lnTo>
                      <a:close/>
                    </a:path>
                  </a:pathLst>
                </a:custGeom>
                <a:grpFill/>
                <a:ln w="6350" cap="flat">
                  <a:solidFill>
                    <a:schemeClr val="bg1">
                      <a:alpha val="40000"/>
                    </a:schemeClr>
                  </a:solidFill>
                  <a:prstDash val="solid"/>
                  <a:miter/>
                </a:ln>
              </p:spPr>
              <p:txBody>
                <a:bodyPr rtlCol="0" anchor="ctr"/>
                <a:lstStyle/>
                <a:p>
                  <a:endParaRPr lang="en-GB"/>
                </a:p>
              </p:txBody>
            </p:sp>
          </p:grpSp>
        </p:grpSp>
        <p:grpSp>
          <p:nvGrpSpPr>
            <p:cNvPr id="9024" name="DRONE_4">
              <a:extLst>
                <a:ext uri="{FF2B5EF4-FFF2-40B4-BE49-F238E27FC236}">
                  <a16:creationId xmlns:a16="http://schemas.microsoft.com/office/drawing/2014/main" id="{6AEC2770-0284-4389-95A7-960B5D29299D}"/>
                </a:ext>
              </a:extLst>
            </p:cNvPr>
            <p:cNvGrpSpPr/>
            <p:nvPr userDrawn="1"/>
          </p:nvGrpSpPr>
          <p:grpSpPr>
            <a:xfrm>
              <a:off x="3849328" y="2611651"/>
              <a:ext cx="121846" cy="115449"/>
              <a:chOff x="3817234" y="2428131"/>
              <a:chExt cx="121846" cy="115449"/>
            </a:xfrm>
            <a:solidFill>
              <a:schemeClr val="accent1"/>
            </a:solidFill>
          </p:grpSpPr>
          <p:sp>
            <p:nvSpPr>
              <p:cNvPr id="9025" name="Vrije vorm: vorm 9024">
                <a:extLst>
                  <a:ext uri="{FF2B5EF4-FFF2-40B4-BE49-F238E27FC236}">
                    <a16:creationId xmlns:a16="http://schemas.microsoft.com/office/drawing/2014/main" id="{8BDD7221-27FA-4B34-847D-BB8D7773FB75}"/>
                  </a:ext>
                </a:extLst>
              </p:cNvPr>
              <p:cNvSpPr/>
              <p:nvPr/>
            </p:nvSpPr>
            <p:spPr>
              <a:xfrm>
                <a:off x="3831090" y="2451059"/>
                <a:ext cx="68060" cy="69196"/>
              </a:xfrm>
              <a:custGeom>
                <a:avLst/>
                <a:gdLst>
                  <a:gd name="connsiteX0" fmla="*/ 29366 w 68060"/>
                  <a:gd name="connsiteY0" fmla="*/ 6639 h 69196"/>
                  <a:gd name="connsiteX1" fmla="*/ 35286 w 68060"/>
                  <a:gd name="connsiteY1" fmla="*/ 17942 h 69196"/>
                  <a:gd name="connsiteX2" fmla="*/ 62439 w 68060"/>
                  <a:gd name="connsiteY2" fmla="*/ 0 h 69196"/>
                  <a:gd name="connsiteX3" fmla="*/ 68061 w 68060"/>
                  <a:gd name="connsiteY3" fmla="*/ 5981 h 69196"/>
                  <a:gd name="connsiteX4" fmla="*/ 44257 w 68060"/>
                  <a:gd name="connsiteY4" fmla="*/ 34688 h 69196"/>
                  <a:gd name="connsiteX5" fmla="*/ 42942 w 68060"/>
                  <a:gd name="connsiteY5" fmla="*/ 64652 h 69196"/>
                  <a:gd name="connsiteX6" fmla="*/ 33731 w 68060"/>
                  <a:gd name="connsiteY6" fmla="*/ 69197 h 69196"/>
                  <a:gd name="connsiteX7" fmla="*/ 26136 w 68060"/>
                  <a:gd name="connsiteY7" fmla="*/ 48743 h 69196"/>
                  <a:gd name="connsiteX8" fmla="*/ 5622 w 68060"/>
                  <a:gd name="connsiteY8" fmla="*/ 65908 h 69196"/>
                  <a:gd name="connsiteX9" fmla="*/ 0 w 68060"/>
                  <a:gd name="connsiteY9" fmla="*/ 59748 h 69196"/>
                  <a:gd name="connsiteX10" fmla="*/ 19976 w 68060"/>
                  <a:gd name="connsiteY10" fmla="*/ 30801 h 69196"/>
                  <a:gd name="connsiteX11" fmla="*/ 23026 w 68060"/>
                  <a:gd name="connsiteY11" fmla="*/ 7416 h 69196"/>
                  <a:gd name="connsiteX12" fmla="*/ 29366 w 68060"/>
                  <a:gd name="connsiteY12" fmla="*/ 6639 h 6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60" h="69196">
                    <a:moveTo>
                      <a:pt x="29366" y="6639"/>
                    </a:moveTo>
                    <a:cubicBezTo>
                      <a:pt x="29366" y="6639"/>
                      <a:pt x="33074" y="16746"/>
                      <a:pt x="35286" y="17942"/>
                    </a:cubicBezTo>
                    <a:cubicBezTo>
                      <a:pt x="37499" y="19138"/>
                      <a:pt x="61422" y="1734"/>
                      <a:pt x="62439" y="0"/>
                    </a:cubicBezTo>
                    <a:lnTo>
                      <a:pt x="68061" y="5981"/>
                    </a:lnTo>
                    <a:cubicBezTo>
                      <a:pt x="68061" y="5981"/>
                      <a:pt x="45992" y="27332"/>
                      <a:pt x="44257" y="34688"/>
                    </a:cubicBezTo>
                    <a:cubicBezTo>
                      <a:pt x="42523" y="42104"/>
                      <a:pt x="42942" y="64652"/>
                      <a:pt x="42942" y="64652"/>
                    </a:cubicBezTo>
                    <a:lnTo>
                      <a:pt x="33731" y="69197"/>
                    </a:lnTo>
                    <a:lnTo>
                      <a:pt x="26136" y="48743"/>
                    </a:lnTo>
                    <a:lnTo>
                      <a:pt x="5622" y="65908"/>
                    </a:lnTo>
                    <a:lnTo>
                      <a:pt x="0" y="59748"/>
                    </a:lnTo>
                    <a:cubicBezTo>
                      <a:pt x="0" y="59748"/>
                      <a:pt x="15968" y="40729"/>
                      <a:pt x="19976" y="30801"/>
                    </a:cubicBezTo>
                    <a:cubicBezTo>
                      <a:pt x="23983" y="20873"/>
                      <a:pt x="23026" y="7416"/>
                      <a:pt x="23026" y="7416"/>
                    </a:cubicBezTo>
                    <a:lnTo>
                      <a:pt x="29366" y="6639"/>
                    </a:lnTo>
                    <a:close/>
                  </a:path>
                </a:pathLst>
              </a:custGeom>
              <a:noFill/>
              <a:ln w="4190" cap="flat">
                <a:solidFill>
                  <a:srgbClr val="FFFFFF"/>
                </a:solidFill>
                <a:prstDash val="solid"/>
                <a:miter/>
              </a:ln>
            </p:spPr>
            <p:txBody>
              <a:bodyPr rtlCol="0" anchor="ctr"/>
              <a:lstStyle/>
              <a:p>
                <a:endParaRPr lang="en-GB"/>
              </a:p>
            </p:txBody>
          </p:sp>
          <p:sp>
            <p:nvSpPr>
              <p:cNvPr id="9026" name="Vrije vorm: vorm 9025">
                <a:extLst>
                  <a:ext uri="{FF2B5EF4-FFF2-40B4-BE49-F238E27FC236}">
                    <a16:creationId xmlns:a16="http://schemas.microsoft.com/office/drawing/2014/main" id="{0957FFCE-6EA4-414C-BCB3-00012DEAE328}"/>
                  </a:ext>
                </a:extLst>
              </p:cNvPr>
              <p:cNvSpPr/>
              <p:nvPr/>
            </p:nvSpPr>
            <p:spPr>
              <a:xfrm>
                <a:off x="3850521" y="2449471"/>
                <a:ext cx="11104" cy="11131"/>
              </a:xfrm>
              <a:custGeom>
                <a:avLst/>
                <a:gdLst>
                  <a:gd name="connsiteX0" fmla="*/ 2878 w 11104"/>
                  <a:gd name="connsiteY0" fmla="*/ 10440 h 11131"/>
                  <a:gd name="connsiteX1" fmla="*/ 10413 w 11104"/>
                  <a:gd name="connsiteY1" fmla="*/ 8227 h 11131"/>
                  <a:gd name="connsiteX2" fmla="*/ 8201 w 11104"/>
                  <a:gd name="connsiteY2" fmla="*/ 691 h 11131"/>
                  <a:gd name="connsiteX3" fmla="*/ 665 w 11104"/>
                  <a:gd name="connsiteY3" fmla="*/ 2904 h 11131"/>
                  <a:gd name="connsiteX4" fmla="*/ 2878 w 11104"/>
                  <a:gd name="connsiteY4" fmla="*/ 10440 h 11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4" h="11131">
                    <a:moveTo>
                      <a:pt x="2878" y="10440"/>
                    </a:moveTo>
                    <a:cubicBezTo>
                      <a:pt x="5569" y="11935"/>
                      <a:pt x="8918" y="10918"/>
                      <a:pt x="10413" y="8227"/>
                    </a:cubicBezTo>
                    <a:cubicBezTo>
                      <a:pt x="11909" y="5536"/>
                      <a:pt x="10892" y="2187"/>
                      <a:pt x="8201" y="691"/>
                    </a:cubicBezTo>
                    <a:cubicBezTo>
                      <a:pt x="5509" y="-804"/>
                      <a:pt x="2160" y="213"/>
                      <a:pt x="665" y="2904"/>
                    </a:cubicBezTo>
                    <a:cubicBezTo>
                      <a:pt x="-771" y="5596"/>
                      <a:pt x="187" y="8945"/>
                      <a:pt x="2878" y="10440"/>
                    </a:cubicBezTo>
                    <a:close/>
                  </a:path>
                </a:pathLst>
              </a:custGeom>
              <a:solidFill>
                <a:srgbClr val="FFFFFF"/>
              </a:solidFill>
              <a:ln w="5978" cap="flat">
                <a:noFill/>
                <a:prstDash val="solid"/>
                <a:miter/>
              </a:ln>
            </p:spPr>
            <p:txBody>
              <a:bodyPr rtlCol="0" anchor="ctr"/>
              <a:lstStyle/>
              <a:p>
                <a:endParaRPr lang="en-GB"/>
              </a:p>
            </p:txBody>
          </p:sp>
          <p:sp>
            <p:nvSpPr>
              <p:cNvPr id="9027" name="Vrije vorm: vorm 9026">
                <a:extLst>
                  <a:ext uri="{FF2B5EF4-FFF2-40B4-BE49-F238E27FC236}">
                    <a16:creationId xmlns:a16="http://schemas.microsoft.com/office/drawing/2014/main" id="{D55DC5F2-5C94-4580-BB65-DC091A871498}"/>
                  </a:ext>
                </a:extLst>
              </p:cNvPr>
              <p:cNvSpPr/>
              <p:nvPr/>
            </p:nvSpPr>
            <p:spPr>
              <a:xfrm>
                <a:off x="3892960" y="2441387"/>
                <a:ext cx="17178" cy="17191"/>
              </a:xfrm>
              <a:custGeom>
                <a:avLst/>
                <a:gdLst>
                  <a:gd name="connsiteX0" fmla="*/ 4457 w 17178"/>
                  <a:gd name="connsiteY0" fmla="*/ 16131 h 17191"/>
                  <a:gd name="connsiteX1" fmla="*/ 16119 w 17178"/>
                  <a:gd name="connsiteY1" fmla="*/ 12722 h 17191"/>
                  <a:gd name="connsiteX2" fmla="*/ 12710 w 17178"/>
                  <a:gd name="connsiteY2" fmla="*/ 1060 h 17191"/>
                  <a:gd name="connsiteX3" fmla="*/ 1048 w 17178"/>
                  <a:gd name="connsiteY3" fmla="*/ 4469 h 17191"/>
                  <a:gd name="connsiteX4" fmla="*/ 4457 w 17178"/>
                  <a:gd name="connsiteY4" fmla="*/ 16131 h 17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78" h="17191">
                    <a:moveTo>
                      <a:pt x="4457" y="16131"/>
                    </a:moveTo>
                    <a:cubicBezTo>
                      <a:pt x="8643" y="18404"/>
                      <a:pt x="13846" y="16909"/>
                      <a:pt x="16119" y="12722"/>
                    </a:cubicBezTo>
                    <a:cubicBezTo>
                      <a:pt x="18391" y="8536"/>
                      <a:pt x="16896" y="3332"/>
                      <a:pt x="12710" y="1060"/>
                    </a:cubicBezTo>
                    <a:cubicBezTo>
                      <a:pt x="8523" y="-1213"/>
                      <a:pt x="3320" y="282"/>
                      <a:pt x="1048" y="4469"/>
                    </a:cubicBezTo>
                    <a:cubicBezTo>
                      <a:pt x="-1225" y="8655"/>
                      <a:pt x="330" y="13859"/>
                      <a:pt x="4457" y="16131"/>
                    </a:cubicBezTo>
                    <a:close/>
                  </a:path>
                </a:pathLst>
              </a:custGeom>
              <a:solidFill>
                <a:srgbClr val="E3E3E3"/>
              </a:solidFill>
              <a:ln w="5978" cap="flat">
                <a:noFill/>
                <a:prstDash val="solid"/>
                <a:miter/>
              </a:ln>
            </p:spPr>
            <p:txBody>
              <a:bodyPr rtlCol="0" anchor="ctr"/>
              <a:lstStyle/>
              <a:p>
                <a:endParaRPr lang="en-GB"/>
              </a:p>
            </p:txBody>
          </p:sp>
          <p:sp>
            <p:nvSpPr>
              <p:cNvPr id="9028" name="Vrije vorm: vorm 9027">
                <a:extLst>
                  <a:ext uri="{FF2B5EF4-FFF2-40B4-BE49-F238E27FC236}">
                    <a16:creationId xmlns:a16="http://schemas.microsoft.com/office/drawing/2014/main" id="{CE6776A1-8245-4DB9-9800-143B15E9AF15}"/>
                  </a:ext>
                </a:extLst>
              </p:cNvPr>
              <p:cNvSpPr/>
              <p:nvPr/>
            </p:nvSpPr>
            <p:spPr>
              <a:xfrm>
                <a:off x="3892796" y="2441083"/>
                <a:ext cx="15222" cy="16604"/>
              </a:xfrm>
              <a:custGeom>
                <a:avLst/>
                <a:gdLst>
                  <a:gd name="connsiteX0" fmla="*/ 3485 w 15222"/>
                  <a:gd name="connsiteY0" fmla="*/ 15838 h 16604"/>
                  <a:gd name="connsiteX1" fmla="*/ 14011 w 15222"/>
                  <a:gd name="connsiteY1" fmla="*/ 11831 h 16604"/>
                  <a:gd name="connsiteX2" fmla="*/ 11738 w 15222"/>
                  <a:gd name="connsiteY2" fmla="*/ 766 h 16604"/>
                  <a:gd name="connsiteX3" fmla="*/ 1212 w 15222"/>
                  <a:gd name="connsiteY3" fmla="*/ 4773 h 16604"/>
                  <a:gd name="connsiteX4" fmla="*/ 3485 w 15222"/>
                  <a:gd name="connsiteY4" fmla="*/ 15838 h 1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 h="16604">
                    <a:moveTo>
                      <a:pt x="3485" y="15838"/>
                    </a:moveTo>
                    <a:cubicBezTo>
                      <a:pt x="7013" y="17752"/>
                      <a:pt x="11738" y="15957"/>
                      <a:pt x="14011" y="11831"/>
                    </a:cubicBezTo>
                    <a:cubicBezTo>
                      <a:pt x="16283" y="7644"/>
                      <a:pt x="15266" y="2740"/>
                      <a:pt x="11738" y="766"/>
                    </a:cubicBezTo>
                    <a:cubicBezTo>
                      <a:pt x="8209" y="-1147"/>
                      <a:pt x="3485" y="647"/>
                      <a:pt x="1212" y="4773"/>
                    </a:cubicBezTo>
                    <a:cubicBezTo>
                      <a:pt x="-1061" y="8960"/>
                      <a:pt x="-44" y="13864"/>
                      <a:pt x="3485" y="15838"/>
                    </a:cubicBezTo>
                    <a:close/>
                  </a:path>
                </a:pathLst>
              </a:custGeom>
              <a:solidFill>
                <a:srgbClr val="FFFFFF"/>
              </a:solidFill>
              <a:ln w="5978" cap="flat">
                <a:noFill/>
                <a:prstDash val="solid"/>
                <a:miter/>
              </a:ln>
            </p:spPr>
            <p:txBody>
              <a:bodyPr rtlCol="0" anchor="ctr"/>
              <a:lstStyle/>
              <a:p>
                <a:endParaRPr lang="en-GB"/>
              </a:p>
            </p:txBody>
          </p:sp>
          <p:sp>
            <p:nvSpPr>
              <p:cNvPr id="9029" name="Vrije vorm: vorm 9028">
                <a:extLst>
                  <a:ext uri="{FF2B5EF4-FFF2-40B4-BE49-F238E27FC236}">
                    <a16:creationId xmlns:a16="http://schemas.microsoft.com/office/drawing/2014/main" id="{B7C783CD-E583-48AA-9E98-99C801EAC49E}"/>
                  </a:ext>
                </a:extLst>
              </p:cNvPr>
              <p:cNvSpPr/>
              <p:nvPr/>
            </p:nvSpPr>
            <p:spPr>
              <a:xfrm>
                <a:off x="3860860" y="2512043"/>
                <a:ext cx="23382" cy="23382"/>
              </a:xfrm>
              <a:custGeom>
                <a:avLst/>
                <a:gdLst>
                  <a:gd name="connsiteX0" fmla="*/ 15828 w 23382"/>
                  <a:gd name="connsiteY0" fmla="*/ 4137 h 23382"/>
                  <a:gd name="connsiteX1" fmla="*/ 19245 w 23382"/>
                  <a:gd name="connsiteY1" fmla="*/ 15829 h 23382"/>
                  <a:gd name="connsiteX2" fmla="*/ 7554 w 23382"/>
                  <a:gd name="connsiteY2" fmla="*/ 19245 h 23382"/>
                  <a:gd name="connsiteX3" fmla="*/ 4137 w 23382"/>
                  <a:gd name="connsiteY3" fmla="*/ 7554 h 23382"/>
                  <a:gd name="connsiteX4" fmla="*/ 15828 w 23382"/>
                  <a:gd name="connsiteY4" fmla="*/ 4137 h 23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82" h="23382">
                    <a:moveTo>
                      <a:pt x="15828" y="4137"/>
                    </a:moveTo>
                    <a:cubicBezTo>
                      <a:pt x="20000" y="6422"/>
                      <a:pt x="21530" y="11657"/>
                      <a:pt x="19245" y="15829"/>
                    </a:cubicBezTo>
                    <a:cubicBezTo>
                      <a:pt x="16960" y="20000"/>
                      <a:pt x="11726" y="21530"/>
                      <a:pt x="7554" y="19245"/>
                    </a:cubicBezTo>
                    <a:cubicBezTo>
                      <a:pt x="3382" y="16960"/>
                      <a:pt x="1852" y="11726"/>
                      <a:pt x="4137" y="7554"/>
                    </a:cubicBezTo>
                    <a:cubicBezTo>
                      <a:pt x="6422" y="3382"/>
                      <a:pt x="11657" y="1853"/>
                      <a:pt x="15828" y="4137"/>
                    </a:cubicBezTo>
                    <a:close/>
                  </a:path>
                </a:pathLst>
              </a:custGeom>
              <a:solidFill>
                <a:srgbClr val="E3E3E3"/>
              </a:solidFill>
              <a:ln w="5978" cap="flat">
                <a:noFill/>
                <a:prstDash val="solid"/>
                <a:miter/>
              </a:ln>
            </p:spPr>
            <p:txBody>
              <a:bodyPr rtlCol="0" anchor="ctr"/>
              <a:lstStyle/>
              <a:p>
                <a:endParaRPr lang="en-GB"/>
              </a:p>
            </p:txBody>
          </p:sp>
          <p:sp>
            <p:nvSpPr>
              <p:cNvPr id="9030" name="Vrije vorm: vorm 9029">
                <a:extLst>
                  <a:ext uri="{FF2B5EF4-FFF2-40B4-BE49-F238E27FC236}">
                    <a16:creationId xmlns:a16="http://schemas.microsoft.com/office/drawing/2014/main" id="{2406F7E2-7CCA-4BA7-AF58-6C8F1B33B2D5}"/>
                  </a:ext>
                </a:extLst>
              </p:cNvPr>
              <p:cNvSpPr/>
              <p:nvPr/>
            </p:nvSpPr>
            <p:spPr>
              <a:xfrm>
                <a:off x="3861598" y="2512036"/>
                <a:ext cx="22635" cy="22018"/>
              </a:xfrm>
              <a:custGeom>
                <a:avLst/>
                <a:gdLst>
                  <a:gd name="connsiteX0" fmla="*/ 15082 w 22635"/>
                  <a:gd name="connsiteY0" fmla="*/ 4137 h 22018"/>
                  <a:gd name="connsiteX1" fmla="*/ 18872 w 22635"/>
                  <a:gd name="connsiteY1" fmla="*/ 15146 h 22018"/>
                  <a:gd name="connsiteX2" fmla="*/ 7554 w 22635"/>
                  <a:gd name="connsiteY2" fmla="*/ 17881 h 22018"/>
                  <a:gd name="connsiteX3" fmla="*/ 3764 w 22635"/>
                  <a:gd name="connsiteY3" fmla="*/ 6872 h 22018"/>
                  <a:gd name="connsiteX4" fmla="*/ 15082 w 22635"/>
                  <a:gd name="connsiteY4" fmla="*/ 4137 h 22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5" h="22018">
                    <a:moveTo>
                      <a:pt x="15082" y="4137"/>
                    </a:moveTo>
                    <a:cubicBezTo>
                      <a:pt x="19253" y="6422"/>
                      <a:pt x="20950" y="11351"/>
                      <a:pt x="18872" y="15146"/>
                    </a:cubicBezTo>
                    <a:cubicBezTo>
                      <a:pt x="16793" y="18942"/>
                      <a:pt x="11726" y="20166"/>
                      <a:pt x="7554" y="17881"/>
                    </a:cubicBezTo>
                    <a:cubicBezTo>
                      <a:pt x="3382" y="15596"/>
                      <a:pt x="1685" y="10667"/>
                      <a:pt x="3764" y="6872"/>
                    </a:cubicBezTo>
                    <a:cubicBezTo>
                      <a:pt x="5843" y="3076"/>
                      <a:pt x="10910" y="1852"/>
                      <a:pt x="15082" y="4137"/>
                    </a:cubicBezTo>
                    <a:close/>
                  </a:path>
                </a:pathLst>
              </a:custGeom>
              <a:solidFill>
                <a:srgbClr val="FFFFFF"/>
              </a:solidFill>
              <a:ln w="5978" cap="flat">
                <a:noFill/>
                <a:prstDash val="solid"/>
                <a:miter/>
              </a:ln>
            </p:spPr>
            <p:txBody>
              <a:bodyPr rtlCol="0" anchor="ctr"/>
              <a:lstStyle/>
              <a:p>
                <a:endParaRPr lang="en-GB"/>
              </a:p>
            </p:txBody>
          </p:sp>
          <p:sp>
            <p:nvSpPr>
              <p:cNvPr id="9031" name="Vrije vorm: vorm 9030">
                <a:extLst>
                  <a:ext uri="{FF2B5EF4-FFF2-40B4-BE49-F238E27FC236}">
                    <a16:creationId xmlns:a16="http://schemas.microsoft.com/office/drawing/2014/main" id="{D729B86D-ABBC-42E2-B35E-A701652CFFA4}"/>
                  </a:ext>
                </a:extLst>
              </p:cNvPr>
              <p:cNvSpPr/>
              <p:nvPr/>
            </p:nvSpPr>
            <p:spPr>
              <a:xfrm>
                <a:off x="3822505" y="2508113"/>
                <a:ext cx="19485" cy="19485"/>
              </a:xfrm>
              <a:custGeom>
                <a:avLst/>
                <a:gdLst>
                  <a:gd name="connsiteX0" fmla="*/ 13190 w 19485"/>
                  <a:gd name="connsiteY0" fmla="*/ 3448 h 19485"/>
                  <a:gd name="connsiteX1" fmla="*/ 16037 w 19485"/>
                  <a:gd name="connsiteY1" fmla="*/ 13190 h 19485"/>
                  <a:gd name="connsiteX2" fmla="*/ 6295 w 19485"/>
                  <a:gd name="connsiteY2" fmla="*/ 16038 h 19485"/>
                  <a:gd name="connsiteX3" fmla="*/ 3448 w 19485"/>
                  <a:gd name="connsiteY3" fmla="*/ 6295 h 19485"/>
                  <a:gd name="connsiteX4" fmla="*/ 13190 w 19485"/>
                  <a:gd name="connsiteY4" fmla="*/ 3448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3190" y="3448"/>
                    </a:moveTo>
                    <a:cubicBezTo>
                      <a:pt x="16667" y="5352"/>
                      <a:pt x="17942" y="9714"/>
                      <a:pt x="16037" y="13190"/>
                    </a:cubicBezTo>
                    <a:cubicBezTo>
                      <a:pt x="14133" y="16667"/>
                      <a:pt x="9771" y="17942"/>
                      <a:pt x="6295" y="16038"/>
                    </a:cubicBezTo>
                    <a:cubicBezTo>
                      <a:pt x="2818" y="14133"/>
                      <a:pt x="1543" y="9772"/>
                      <a:pt x="3448" y="6295"/>
                    </a:cubicBezTo>
                    <a:cubicBezTo>
                      <a:pt x="5352" y="2818"/>
                      <a:pt x="9714" y="1544"/>
                      <a:pt x="13190" y="3448"/>
                    </a:cubicBezTo>
                    <a:close/>
                  </a:path>
                </a:pathLst>
              </a:custGeom>
              <a:solidFill>
                <a:srgbClr val="E3E3E3"/>
              </a:solidFill>
              <a:ln w="5978" cap="flat">
                <a:noFill/>
                <a:prstDash val="solid"/>
                <a:miter/>
              </a:ln>
            </p:spPr>
            <p:txBody>
              <a:bodyPr rtlCol="0" anchor="ctr"/>
              <a:lstStyle/>
              <a:p>
                <a:endParaRPr lang="en-GB"/>
              </a:p>
            </p:txBody>
          </p:sp>
          <p:sp>
            <p:nvSpPr>
              <p:cNvPr id="9032" name="Vrije vorm: vorm 9031">
                <a:extLst>
                  <a:ext uri="{FF2B5EF4-FFF2-40B4-BE49-F238E27FC236}">
                    <a16:creationId xmlns:a16="http://schemas.microsoft.com/office/drawing/2014/main" id="{297EBB9E-9CA7-4071-97A1-CBD136617418}"/>
                  </a:ext>
                </a:extLst>
              </p:cNvPr>
              <p:cNvSpPr/>
              <p:nvPr/>
            </p:nvSpPr>
            <p:spPr>
              <a:xfrm>
                <a:off x="3825258" y="2510536"/>
                <a:ext cx="13160" cy="13160"/>
              </a:xfrm>
              <a:custGeom>
                <a:avLst/>
                <a:gdLst>
                  <a:gd name="connsiteX0" fmla="*/ 3440 w 13160"/>
                  <a:gd name="connsiteY0" fmla="*/ 12352 h 13160"/>
                  <a:gd name="connsiteX1" fmla="*/ 12352 w 13160"/>
                  <a:gd name="connsiteY1" fmla="*/ 9720 h 13160"/>
                  <a:gd name="connsiteX2" fmla="*/ 9720 w 13160"/>
                  <a:gd name="connsiteY2" fmla="*/ 809 h 13160"/>
                  <a:gd name="connsiteX3" fmla="*/ 809 w 13160"/>
                  <a:gd name="connsiteY3" fmla="*/ 3440 h 13160"/>
                  <a:gd name="connsiteX4" fmla="*/ 3440 w 13160"/>
                  <a:gd name="connsiteY4" fmla="*/ 12352 h 13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0" h="13160">
                    <a:moveTo>
                      <a:pt x="3440" y="12352"/>
                    </a:moveTo>
                    <a:cubicBezTo>
                      <a:pt x="6610" y="14086"/>
                      <a:pt x="10617" y="12950"/>
                      <a:pt x="12352" y="9720"/>
                    </a:cubicBezTo>
                    <a:cubicBezTo>
                      <a:pt x="14086" y="6550"/>
                      <a:pt x="12950" y="2543"/>
                      <a:pt x="9720" y="809"/>
                    </a:cubicBezTo>
                    <a:cubicBezTo>
                      <a:pt x="6550" y="-926"/>
                      <a:pt x="2543" y="211"/>
                      <a:pt x="809" y="3440"/>
                    </a:cubicBezTo>
                    <a:cubicBezTo>
                      <a:pt x="-926" y="6610"/>
                      <a:pt x="211" y="10617"/>
                      <a:pt x="3440" y="12352"/>
                    </a:cubicBezTo>
                    <a:close/>
                  </a:path>
                </a:pathLst>
              </a:custGeom>
              <a:solidFill>
                <a:srgbClr val="FFFFFF"/>
              </a:solidFill>
              <a:ln w="5978" cap="flat">
                <a:noFill/>
                <a:prstDash val="solid"/>
                <a:miter/>
              </a:ln>
            </p:spPr>
            <p:txBody>
              <a:bodyPr rtlCol="0" anchor="ctr"/>
              <a:lstStyle/>
              <a:p>
                <a:endParaRPr lang="en-GB"/>
              </a:p>
            </p:txBody>
          </p:sp>
          <p:sp>
            <p:nvSpPr>
              <p:cNvPr id="9033" name="Vrije vorm: vorm 9032">
                <a:extLst>
                  <a:ext uri="{FF2B5EF4-FFF2-40B4-BE49-F238E27FC236}">
                    <a16:creationId xmlns:a16="http://schemas.microsoft.com/office/drawing/2014/main" id="{B2257D6A-BB5C-42D3-83C0-C33AEE8D35B2}"/>
                  </a:ext>
                </a:extLst>
              </p:cNvPr>
              <p:cNvSpPr/>
              <p:nvPr/>
            </p:nvSpPr>
            <p:spPr>
              <a:xfrm>
                <a:off x="3884104" y="2428131"/>
                <a:ext cx="22103" cy="32198"/>
              </a:xfrm>
              <a:custGeom>
                <a:avLst/>
                <a:gdLst>
                  <a:gd name="connsiteX0" fmla="*/ 4461 w 22103"/>
                  <a:gd name="connsiteY0" fmla="*/ 31899 h 32198"/>
                  <a:gd name="connsiteX1" fmla="*/ 5119 w 22103"/>
                  <a:gd name="connsiteY1" fmla="*/ 32198 h 32198"/>
                  <a:gd name="connsiteX2" fmla="*/ 5597 w 22103"/>
                  <a:gd name="connsiteY2" fmla="*/ 12342 h 32198"/>
                  <a:gd name="connsiteX3" fmla="*/ 22104 w 22103"/>
                  <a:gd name="connsiteY3" fmla="*/ 1278 h 32198"/>
                  <a:gd name="connsiteX4" fmla="*/ 21506 w 22103"/>
                  <a:gd name="connsiteY4" fmla="*/ 919 h 32198"/>
                  <a:gd name="connsiteX5" fmla="*/ 3265 w 22103"/>
                  <a:gd name="connsiteY5" fmla="*/ 11086 h 32198"/>
                  <a:gd name="connsiteX6" fmla="*/ 4461 w 22103"/>
                  <a:gd name="connsiteY6" fmla="*/ 31899 h 3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03" h="32198">
                    <a:moveTo>
                      <a:pt x="4461" y="31899"/>
                    </a:moveTo>
                    <a:cubicBezTo>
                      <a:pt x="4640" y="32019"/>
                      <a:pt x="4879" y="32138"/>
                      <a:pt x="5119" y="32198"/>
                    </a:cubicBezTo>
                    <a:cubicBezTo>
                      <a:pt x="932" y="29208"/>
                      <a:pt x="1052" y="20596"/>
                      <a:pt x="5597" y="12342"/>
                    </a:cubicBezTo>
                    <a:cubicBezTo>
                      <a:pt x="10083" y="4149"/>
                      <a:pt x="17319" y="-636"/>
                      <a:pt x="22104" y="1278"/>
                    </a:cubicBezTo>
                    <a:cubicBezTo>
                      <a:pt x="21925" y="1099"/>
                      <a:pt x="21685" y="979"/>
                      <a:pt x="21506" y="919"/>
                    </a:cubicBezTo>
                    <a:cubicBezTo>
                      <a:pt x="16123" y="-2071"/>
                      <a:pt x="7930" y="2474"/>
                      <a:pt x="3265" y="11086"/>
                    </a:cubicBezTo>
                    <a:cubicBezTo>
                      <a:pt x="-1520" y="19579"/>
                      <a:pt x="-982" y="28909"/>
                      <a:pt x="4461" y="31899"/>
                    </a:cubicBezTo>
                    <a:close/>
                  </a:path>
                </a:pathLst>
              </a:custGeom>
              <a:solidFill>
                <a:srgbClr val="FFFFFF"/>
              </a:solidFill>
              <a:ln w="5978" cap="flat">
                <a:noFill/>
                <a:prstDash val="solid"/>
                <a:miter/>
              </a:ln>
            </p:spPr>
            <p:txBody>
              <a:bodyPr rtlCol="0" anchor="ctr"/>
              <a:lstStyle/>
              <a:p>
                <a:endParaRPr lang="en-GB"/>
              </a:p>
            </p:txBody>
          </p:sp>
          <p:sp>
            <p:nvSpPr>
              <p:cNvPr id="9034" name="Vrije vorm: vorm 9033">
                <a:extLst>
                  <a:ext uri="{FF2B5EF4-FFF2-40B4-BE49-F238E27FC236}">
                    <a16:creationId xmlns:a16="http://schemas.microsoft.com/office/drawing/2014/main" id="{66728F6C-F4EE-4C46-B527-2A7E7BE20183}"/>
                  </a:ext>
                </a:extLst>
              </p:cNvPr>
              <p:cNvSpPr/>
              <p:nvPr/>
            </p:nvSpPr>
            <p:spPr>
              <a:xfrm>
                <a:off x="3886117" y="2428986"/>
                <a:ext cx="23816" cy="31941"/>
              </a:xfrm>
              <a:custGeom>
                <a:avLst/>
                <a:gdLst>
                  <a:gd name="connsiteX0" fmla="*/ 3046 w 23816"/>
                  <a:gd name="connsiteY0" fmla="*/ 31344 h 31941"/>
                  <a:gd name="connsiteX1" fmla="*/ 19732 w 23816"/>
                  <a:gd name="connsiteY1" fmla="*/ 22433 h 31941"/>
                  <a:gd name="connsiteX2" fmla="*/ 20629 w 23816"/>
                  <a:gd name="connsiteY2" fmla="*/ 20878 h 31941"/>
                  <a:gd name="connsiteX3" fmla="*/ 21466 w 23816"/>
                  <a:gd name="connsiteY3" fmla="*/ 19263 h 31941"/>
                  <a:gd name="connsiteX4" fmla="*/ 19971 w 23816"/>
                  <a:gd name="connsiteY4" fmla="*/ 424 h 31941"/>
                  <a:gd name="connsiteX5" fmla="*/ 3465 w 23816"/>
                  <a:gd name="connsiteY5" fmla="*/ 11488 h 31941"/>
                  <a:gd name="connsiteX6" fmla="*/ 3046 w 23816"/>
                  <a:gd name="connsiteY6" fmla="*/ 31344 h 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16" h="31941">
                    <a:moveTo>
                      <a:pt x="3046" y="31344"/>
                    </a:moveTo>
                    <a:cubicBezTo>
                      <a:pt x="8069" y="33497"/>
                      <a:pt x="15187" y="29669"/>
                      <a:pt x="19732" y="22433"/>
                    </a:cubicBezTo>
                    <a:cubicBezTo>
                      <a:pt x="20031" y="21894"/>
                      <a:pt x="20330" y="21416"/>
                      <a:pt x="20629" y="20878"/>
                    </a:cubicBezTo>
                    <a:cubicBezTo>
                      <a:pt x="20928" y="20340"/>
                      <a:pt x="21167" y="19801"/>
                      <a:pt x="21466" y="19263"/>
                    </a:cubicBezTo>
                    <a:cubicBezTo>
                      <a:pt x="25055" y="11488"/>
                      <a:pt x="24516" y="3474"/>
                      <a:pt x="19971" y="424"/>
                    </a:cubicBezTo>
                    <a:cubicBezTo>
                      <a:pt x="15187" y="-1490"/>
                      <a:pt x="8010" y="3235"/>
                      <a:pt x="3465" y="11488"/>
                    </a:cubicBezTo>
                    <a:cubicBezTo>
                      <a:pt x="-1021" y="19682"/>
                      <a:pt x="-1141" y="28354"/>
                      <a:pt x="3046" y="31344"/>
                    </a:cubicBezTo>
                    <a:close/>
                  </a:path>
                </a:pathLst>
              </a:custGeom>
              <a:noFill/>
              <a:ln w="8380" cap="flat">
                <a:solidFill>
                  <a:srgbClr val="FFFFFF">
                    <a:alpha val="40000"/>
                  </a:srgbClr>
                </a:solidFill>
                <a:prstDash val="solid"/>
                <a:miter/>
              </a:ln>
            </p:spPr>
            <p:txBody>
              <a:bodyPr rtlCol="0" anchor="ctr"/>
              <a:lstStyle/>
              <a:p>
                <a:endParaRPr lang="en-GB"/>
              </a:p>
            </p:txBody>
          </p:sp>
          <p:sp>
            <p:nvSpPr>
              <p:cNvPr id="9035" name="Vrije vorm: vorm 9034">
                <a:extLst>
                  <a:ext uri="{FF2B5EF4-FFF2-40B4-BE49-F238E27FC236}">
                    <a16:creationId xmlns:a16="http://schemas.microsoft.com/office/drawing/2014/main" id="{C6B06205-F4D9-48C6-A3A9-6588489DEC05}"/>
                  </a:ext>
                </a:extLst>
              </p:cNvPr>
              <p:cNvSpPr/>
              <p:nvPr/>
            </p:nvSpPr>
            <p:spPr>
              <a:xfrm>
                <a:off x="3843364" y="2440693"/>
                <a:ext cx="18407" cy="28009"/>
              </a:xfrm>
              <a:custGeom>
                <a:avLst/>
                <a:gdLst>
                  <a:gd name="connsiteX0" fmla="*/ 3216 w 18407"/>
                  <a:gd name="connsiteY0" fmla="*/ 27830 h 28009"/>
                  <a:gd name="connsiteX1" fmla="*/ 3575 w 18407"/>
                  <a:gd name="connsiteY1" fmla="*/ 28010 h 28009"/>
                  <a:gd name="connsiteX2" fmla="*/ 4293 w 18407"/>
                  <a:gd name="connsiteY2" fmla="*/ 10785 h 28009"/>
                  <a:gd name="connsiteX3" fmla="*/ 18407 w 18407"/>
                  <a:gd name="connsiteY3" fmla="*/ 857 h 28009"/>
                  <a:gd name="connsiteX4" fmla="*/ 18048 w 18407"/>
                  <a:gd name="connsiteY4" fmla="*/ 618 h 28009"/>
                  <a:gd name="connsiteX5" fmla="*/ 2977 w 18407"/>
                  <a:gd name="connsiteY5" fmla="*/ 10067 h 28009"/>
                  <a:gd name="connsiteX6" fmla="*/ 3216 w 18407"/>
                  <a:gd name="connsiteY6" fmla="*/ 27830 h 2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07" h="28009">
                    <a:moveTo>
                      <a:pt x="3216" y="27830"/>
                    </a:moveTo>
                    <a:cubicBezTo>
                      <a:pt x="3336" y="27890"/>
                      <a:pt x="3455" y="27950"/>
                      <a:pt x="3575" y="28010"/>
                    </a:cubicBezTo>
                    <a:cubicBezTo>
                      <a:pt x="46" y="25677"/>
                      <a:pt x="345" y="18082"/>
                      <a:pt x="4293" y="10785"/>
                    </a:cubicBezTo>
                    <a:cubicBezTo>
                      <a:pt x="8300" y="3489"/>
                      <a:pt x="14520" y="-877"/>
                      <a:pt x="18407" y="857"/>
                    </a:cubicBezTo>
                    <a:cubicBezTo>
                      <a:pt x="18287" y="797"/>
                      <a:pt x="18168" y="678"/>
                      <a:pt x="18048" y="618"/>
                    </a:cubicBezTo>
                    <a:cubicBezTo>
                      <a:pt x="13862" y="-1655"/>
                      <a:pt x="7103" y="2532"/>
                      <a:pt x="2977" y="10067"/>
                    </a:cubicBezTo>
                    <a:cubicBezTo>
                      <a:pt x="-1090" y="17603"/>
                      <a:pt x="-970" y="25557"/>
                      <a:pt x="3216" y="27830"/>
                    </a:cubicBezTo>
                    <a:close/>
                  </a:path>
                </a:pathLst>
              </a:custGeom>
              <a:solidFill>
                <a:srgbClr val="FFFFFF"/>
              </a:solidFill>
              <a:ln w="5978" cap="flat">
                <a:noFill/>
                <a:prstDash val="solid"/>
                <a:miter/>
              </a:ln>
            </p:spPr>
            <p:txBody>
              <a:bodyPr rtlCol="0" anchor="ctr"/>
              <a:lstStyle/>
              <a:p>
                <a:endParaRPr lang="en-GB"/>
              </a:p>
            </p:txBody>
          </p:sp>
          <p:sp>
            <p:nvSpPr>
              <p:cNvPr id="9036" name="Vrije vorm: vorm 9035">
                <a:extLst>
                  <a:ext uri="{FF2B5EF4-FFF2-40B4-BE49-F238E27FC236}">
                    <a16:creationId xmlns:a16="http://schemas.microsoft.com/office/drawing/2014/main" id="{86618D2B-BC0B-4300-9DA8-1C8E0072DD97}"/>
                  </a:ext>
                </a:extLst>
              </p:cNvPr>
              <p:cNvSpPr/>
              <p:nvPr/>
            </p:nvSpPr>
            <p:spPr>
              <a:xfrm>
                <a:off x="3844464" y="2441167"/>
                <a:ext cx="20224" cy="27996"/>
              </a:xfrm>
              <a:custGeom>
                <a:avLst/>
                <a:gdLst>
                  <a:gd name="connsiteX0" fmla="*/ 2476 w 20224"/>
                  <a:gd name="connsiteY0" fmla="*/ 27535 h 27996"/>
                  <a:gd name="connsiteX1" fmla="*/ 16351 w 20224"/>
                  <a:gd name="connsiteY1" fmla="*/ 19342 h 27996"/>
                  <a:gd name="connsiteX2" fmla="*/ 17188 w 20224"/>
                  <a:gd name="connsiteY2" fmla="*/ 17966 h 27996"/>
                  <a:gd name="connsiteX3" fmla="*/ 17906 w 20224"/>
                  <a:gd name="connsiteY3" fmla="*/ 16531 h 27996"/>
                  <a:gd name="connsiteX4" fmla="*/ 17368 w 20224"/>
                  <a:gd name="connsiteY4" fmla="*/ 383 h 27996"/>
                  <a:gd name="connsiteX5" fmla="*/ 3253 w 20224"/>
                  <a:gd name="connsiteY5" fmla="*/ 10311 h 27996"/>
                  <a:gd name="connsiteX6" fmla="*/ 2476 w 20224"/>
                  <a:gd name="connsiteY6" fmla="*/ 27535 h 2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24" h="27996">
                    <a:moveTo>
                      <a:pt x="2476" y="27535"/>
                    </a:moveTo>
                    <a:cubicBezTo>
                      <a:pt x="6423" y="29330"/>
                      <a:pt x="12344" y="25741"/>
                      <a:pt x="16351" y="19342"/>
                    </a:cubicBezTo>
                    <a:cubicBezTo>
                      <a:pt x="16650" y="18863"/>
                      <a:pt x="16889" y="18445"/>
                      <a:pt x="17188" y="17966"/>
                    </a:cubicBezTo>
                    <a:cubicBezTo>
                      <a:pt x="17427" y="17488"/>
                      <a:pt x="17667" y="17009"/>
                      <a:pt x="17906" y="16531"/>
                    </a:cubicBezTo>
                    <a:cubicBezTo>
                      <a:pt x="21195" y="9653"/>
                      <a:pt x="20956" y="2775"/>
                      <a:pt x="17368" y="383"/>
                    </a:cubicBezTo>
                    <a:cubicBezTo>
                      <a:pt x="13480" y="-1352"/>
                      <a:pt x="7260" y="2955"/>
                      <a:pt x="3253" y="10311"/>
                    </a:cubicBezTo>
                    <a:cubicBezTo>
                      <a:pt x="-754" y="17607"/>
                      <a:pt x="-1113" y="25203"/>
                      <a:pt x="2476" y="27535"/>
                    </a:cubicBezTo>
                    <a:close/>
                  </a:path>
                </a:pathLst>
              </a:custGeom>
              <a:noFill/>
              <a:ln w="8380" cap="flat">
                <a:solidFill>
                  <a:srgbClr val="FFFFFF">
                    <a:alpha val="40000"/>
                  </a:srgbClr>
                </a:solidFill>
                <a:prstDash val="solid"/>
                <a:miter/>
              </a:ln>
            </p:spPr>
            <p:txBody>
              <a:bodyPr rtlCol="0" anchor="ctr"/>
              <a:lstStyle/>
              <a:p>
                <a:endParaRPr lang="en-GB"/>
              </a:p>
            </p:txBody>
          </p:sp>
          <p:sp>
            <p:nvSpPr>
              <p:cNvPr id="9037" name="Vrije vorm: vorm 9036">
                <a:extLst>
                  <a:ext uri="{FF2B5EF4-FFF2-40B4-BE49-F238E27FC236}">
                    <a16:creationId xmlns:a16="http://schemas.microsoft.com/office/drawing/2014/main" id="{02407AF8-ECB1-4A58-B834-70073066ACB9}"/>
                  </a:ext>
                </a:extLst>
              </p:cNvPr>
              <p:cNvSpPr/>
              <p:nvPr/>
            </p:nvSpPr>
            <p:spPr>
              <a:xfrm>
                <a:off x="3817234" y="2501435"/>
                <a:ext cx="18879" cy="29586"/>
              </a:xfrm>
              <a:custGeom>
                <a:avLst/>
                <a:gdLst>
                  <a:gd name="connsiteX0" fmla="*/ 2672 w 18879"/>
                  <a:gd name="connsiteY0" fmla="*/ 29407 h 29586"/>
                  <a:gd name="connsiteX1" fmla="*/ 3091 w 18879"/>
                  <a:gd name="connsiteY1" fmla="*/ 29586 h 29586"/>
                  <a:gd name="connsiteX2" fmla="*/ 5005 w 18879"/>
                  <a:gd name="connsiteY2" fmla="*/ 11884 h 29586"/>
                  <a:gd name="connsiteX3" fmla="*/ 18880 w 18879"/>
                  <a:gd name="connsiteY3" fmla="*/ 759 h 29586"/>
                  <a:gd name="connsiteX4" fmla="*/ 18521 w 18879"/>
                  <a:gd name="connsiteY4" fmla="*/ 520 h 29586"/>
                  <a:gd name="connsiteX5" fmla="*/ 3509 w 18879"/>
                  <a:gd name="connsiteY5" fmla="*/ 11106 h 29586"/>
                  <a:gd name="connsiteX6" fmla="*/ 2672 w 18879"/>
                  <a:gd name="connsiteY6" fmla="*/ 29407 h 2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79" h="29586">
                    <a:moveTo>
                      <a:pt x="2672" y="29407"/>
                    </a:moveTo>
                    <a:cubicBezTo>
                      <a:pt x="2792" y="29467"/>
                      <a:pt x="2911" y="29527"/>
                      <a:pt x="3091" y="29586"/>
                    </a:cubicBezTo>
                    <a:cubicBezTo>
                      <a:pt x="-19" y="27374"/>
                      <a:pt x="758" y="19599"/>
                      <a:pt x="5005" y="11884"/>
                    </a:cubicBezTo>
                    <a:cubicBezTo>
                      <a:pt x="9251" y="4168"/>
                      <a:pt x="15351" y="-736"/>
                      <a:pt x="18880" y="759"/>
                    </a:cubicBezTo>
                    <a:cubicBezTo>
                      <a:pt x="18760" y="640"/>
                      <a:pt x="18640" y="580"/>
                      <a:pt x="18521" y="520"/>
                    </a:cubicBezTo>
                    <a:cubicBezTo>
                      <a:pt x="14634" y="-1633"/>
                      <a:pt x="7935" y="3092"/>
                      <a:pt x="3509" y="11106"/>
                    </a:cubicBezTo>
                    <a:cubicBezTo>
                      <a:pt x="-797" y="19120"/>
                      <a:pt x="-1216" y="27314"/>
                      <a:pt x="2672" y="29407"/>
                    </a:cubicBezTo>
                    <a:close/>
                  </a:path>
                </a:pathLst>
              </a:custGeom>
              <a:solidFill>
                <a:srgbClr val="FFFFFF"/>
              </a:solidFill>
              <a:ln w="5978" cap="flat">
                <a:noFill/>
                <a:prstDash val="solid"/>
                <a:miter/>
              </a:ln>
            </p:spPr>
            <p:txBody>
              <a:bodyPr rtlCol="0" anchor="ctr"/>
              <a:lstStyle/>
              <a:p>
                <a:endParaRPr lang="en-GB"/>
              </a:p>
            </p:txBody>
          </p:sp>
          <p:sp>
            <p:nvSpPr>
              <p:cNvPr id="9038" name="Vrije vorm: vorm 9037">
                <a:extLst>
                  <a:ext uri="{FF2B5EF4-FFF2-40B4-BE49-F238E27FC236}">
                    <a16:creationId xmlns:a16="http://schemas.microsoft.com/office/drawing/2014/main" id="{4917D572-B7B0-4046-B4B3-710B1994F2F7}"/>
                  </a:ext>
                </a:extLst>
              </p:cNvPr>
              <p:cNvSpPr/>
              <p:nvPr/>
            </p:nvSpPr>
            <p:spPr>
              <a:xfrm>
                <a:off x="3818466" y="2501943"/>
                <a:ext cx="20010" cy="29397"/>
              </a:xfrm>
              <a:custGeom>
                <a:avLst/>
                <a:gdLst>
                  <a:gd name="connsiteX0" fmla="*/ 1919 w 20010"/>
                  <a:gd name="connsiteY0" fmla="*/ 29078 h 29397"/>
                  <a:gd name="connsiteX1" fmla="*/ 16453 w 20010"/>
                  <a:gd name="connsiteY1" fmla="*/ 18313 h 29397"/>
                  <a:gd name="connsiteX2" fmla="*/ 17708 w 20010"/>
                  <a:gd name="connsiteY2" fmla="*/ 251 h 29397"/>
                  <a:gd name="connsiteX3" fmla="*/ 3833 w 20010"/>
                  <a:gd name="connsiteY3" fmla="*/ 11375 h 29397"/>
                  <a:gd name="connsiteX4" fmla="*/ 1919 w 20010"/>
                  <a:gd name="connsiteY4" fmla="*/ 29078 h 29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 h="29397">
                    <a:moveTo>
                      <a:pt x="1919" y="29078"/>
                    </a:moveTo>
                    <a:cubicBezTo>
                      <a:pt x="5867" y="30693"/>
                      <a:pt x="12206" y="26028"/>
                      <a:pt x="16453" y="18313"/>
                    </a:cubicBezTo>
                    <a:cubicBezTo>
                      <a:pt x="20699" y="10598"/>
                      <a:pt x="21177" y="2644"/>
                      <a:pt x="17708" y="251"/>
                    </a:cubicBezTo>
                    <a:cubicBezTo>
                      <a:pt x="14180" y="-1184"/>
                      <a:pt x="8079" y="3660"/>
                      <a:pt x="3833" y="11375"/>
                    </a:cubicBezTo>
                    <a:cubicBezTo>
                      <a:pt x="-413" y="19151"/>
                      <a:pt x="-1251" y="26925"/>
                      <a:pt x="1919" y="29078"/>
                    </a:cubicBezTo>
                    <a:close/>
                  </a:path>
                </a:pathLst>
              </a:custGeom>
              <a:noFill/>
              <a:ln w="8380" cap="flat">
                <a:solidFill>
                  <a:srgbClr val="FFFFFF">
                    <a:alpha val="40000"/>
                  </a:srgbClr>
                </a:solidFill>
                <a:prstDash val="solid"/>
                <a:miter/>
              </a:ln>
            </p:spPr>
            <p:txBody>
              <a:bodyPr rtlCol="0" anchor="ctr"/>
              <a:lstStyle/>
              <a:p>
                <a:endParaRPr lang="en-GB"/>
              </a:p>
            </p:txBody>
          </p:sp>
          <p:sp>
            <p:nvSpPr>
              <p:cNvPr id="9039" name="Vrije vorm: vorm 9038">
                <a:extLst>
                  <a:ext uri="{FF2B5EF4-FFF2-40B4-BE49-F238E27FC236}">
                    <a16:creationId xmlns:a16="http://schemas.microsoft.com/office/drawing/2014/main" id="{A2C3728F-AEF6-4755-A75D-C8752627C998}"/>
                  </a:ext>
                </a:extLst>
              </p:cNvPr>
              <p:cNvSpPr/>
              <p:nvPr/>
            </p:nvSpPr>
            <p:spPr>
              <a:xfrm>
                <a:off x="3852563" y="2504953"/>
                <a:ext cx="22365" cy="32288"/>
              </a:xfrm>
              <a:custGeom>
                <a:avLst/>
                <a:gdLst>
                  <a:gd name="connsiteX0" fmla="*/ 4603 w 22365"/>
                  <a:gd name="connsiteY0" fmla="*/ 31930 h 32288"/>
                  <a:gd name="connsiteX1" fmla="*/ 5440 w 22365"/>
                  <a:gd name="connsiteY1" fmla="*/ 32289 h 32288"/>
                  <a:gd name="connsiteX2" fmla="*/ 6038 w 22365"/>
                  <a:gd name="connsiteY2" fmla="*/ 12553 h 32288"/>
                  <a:gd name="connsiteX3" fmla="*/ 22366 w 22365"/>
                  <a:gd name="connsiteY3" fmla="*/ 1428 h 32288"/>
                  <a:gd name="connsiteX4" fmla="*/ 21588 w 22365"/>
                  <a:gd name="connsiteY4" fmla="*/ 950 h 32288"/>
                  <a:gd name="connsiteX5" fmla="*/ 3108 w 22365"/>
                  <a:gd name="connsiteY5" fmla="*/ 10998 h 32288"/>
                  <a:gd name="connsiteX6" fmla="*/ 4603 w 22365"/>
                  <a:gd name="connsiteY6" fmla="*/ 31930 h 3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65" h="32288">
                    <a:moveTo>
                      <a:pt x="4603" y="31930"/>
                    </a:moveTo>
                    <a:cubicBezTo>
                      <a:pt x="4842" y="32050"/>
                      <a:pt x="5141" y="32229"/>
                      <a:pt x="5440" y="32289"/>
                    </a:cubicBezTo>
                    <a:cubicBezTo>
                      <a:pt x="1373" y="29299"/>
                      <a:pt x="1553" y="20686"/>
                      <a:pt x="6038" y="12553"/>
                    </a:cubicBezTo>
                    <a:cubicBezTo>
                      <a:pt x="10464" y="4419"/>
                      <a:pt x="17641" y="-366"/>
                      <a:pt x="22366" y="1428"/>
                    </a:cubicBezTo>
                    <a:cubicBezTo>
                      <a:pt x="22126" y="1249"/>
                      <a:pt x="21887" y="1070"/>
                      <a:pt x="21588" y="950"/>
                    </a:cubicBezTo>
                    <a:cubicBezTo>
                      <a:pt x="16086" y="-2100"/>
                      <a:pt x="7833" y="2445"/>
                      <a:pt x="3108" y="10998"/>
                    </a:cubicBezTo>
                    <a:cubicBezTo>
                      <a:pt x="-1557" y="19490"/>
                      <a:pt x="-899" y="28880"/>
                      <a:pt x="4603" y="31930"/>
                    </a:cubicBezTo>
                    <a:close/>
                  </a:path>
                </a:pathLst>
              </a:custGeom>
              <a:solidFill>
                <a:srgbClr val="FFFFFF"/>
              </a:solidFill>
              <a:ln w="5978" cap="flat">
                <a:noFill/>
                <a:prstDash val="solid"/>
                <a:miter/>
              </a:ln>
            </p:spPr>
            <p:txBody>
              <a:bodyPr rtlCol="0" anchor="ctr"/>
              <a:lstStyle/>
              <a:p>
                <a:endParaRPr lang="en-GB"/>
              </a:p>
            </p:txBody>
          </p:sp>
          <p:sp>
            <p:nvSpPr>
              <p:cNvPr id="9040" name="Vrije vorm: vorm 9039">
                <a:extLst>
                  <a:ext uri="{FF2B5EF4-FFF2-40B4-BE49-F238E27FC236}">
                    <a16:creationId xmlns:a16="http://schemas.microsoft.com/office/drawing/2014/main" id="{71229F99-2B3E-453C-94FE-FC98156321A5}"/>
                  </a:ext>
                </a:extLst>
              </p:cNvPr>
              <p:cNvSpPr/>
              <p:nvPr/>
            </p:nvSpPr>
            <p:spPr>
              <a:xfrm>
                <a:off x="3855089" y="2506005"/>
                <a:ext cx="23702" cy="31789"/>
              </a:xfrm>
              <a:custGeom>
                <a:avLst/>
                <a:gdLst>
                  <a:gd name="connsiteX0" fmla="*/ 2915 w 23702"/>
                  <a:gd name="connsiteY0" fmla="*/ 31236 h 31789"/>
                  <a:gd name="connsiteX1" fmla="*/ 19661 w 23702"/>
                  <a:gd name="connsiteY1" fmla="*/ 22385 h 31789"/>
                  <a:gd name="connsiteX2" fmla="*/ 20558 w 23702"/>
                  <a:gd name="connsiteY2" fmla="*/ 20830 h 31789"/>
                  <a:gd name="connsiteX3" fmla="*/ 21395 w 23702"/>
                  <a:gd name="connsiteY3" fmla="*/ 19215 h 31789"/>
                  <a:gd name="connsiteX4" fmla="*/ 19840 w 23702"/>
                  <a:gd name="connsiteY4" fmla="*/ 376 h 31789"/>
                  <a:gd name="connsiteX5" fmla="*/ 3513 w 23702"/>
                  <a:gd name="connsiteY5" fmla="*/ 11500 h 31789"/>
                  <a:gd name="connsiteX6" fmla="*/ 2915 w 23702"/>
                  <a:gd name="connsiteY6" fmla="*/ 31236 h 3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02" h="31789">
                    <a:moveTo>
                      <a:pt x="2915" y="31236"/>
                    </a:moveTo>
                    <a:cubicBezTo>
                      <a:pt x="8058" y="33270"/>
                      <a:pt x="15115" y="29562"/>
                      <a:pt x="19661" y="22385"/>
                    </a:cubicBezTo>
                    <a:cubicBezTo>
                      <a:pt x="19960" y="21846"/>
                      <a:pt x="20259" y="21368"/>
                      <a:pt x="20558" y="20830"/>
                    </a:cubicBezTo>
                    <a:cubicBezTo>
                      <a:pt x="20857" y="20292"/>
                      <a:pt x="21096" y="19753"/>
                      <a:pt x="21395" y="19215"/>
                    </a:cubicBezTo>
                    <a:cubicBezTo>
                      <a:pt x="24984" y="11500"/>
                      <a:pt x="24326" y="3545"/>
                      <a:pt x="19840" y="376"/>
                    </a:cubicBezTo>
                    <a:cubicBezTo>
                      <a:pt x="15115" y="-1419"/>
                      <a:pt x="7998" y="3366"/>
                      <a:pt x="3513" y="11500"/>
                    </a:cubicBezTo>
                    <a:cubicBezTo>
                      <a:pt x="-973" y="19634"/>
                      <a:pt x="-1152" y="28246"/>
                      <a:pt x="2915" y="31236"/>
                    </a:cubicBezTo>
                    <a:close/>
                  </a:path>
                </a:pathLst>
              </a:custGeom>
              <a:noFill/>
              <a:ln w="8380" cap="flat">
                <a:solidFill>
                  <a:srgbClr val="FFFFFF">
                    <a:alpha val="40000"/>
                  </a:srgbClr>
                </a:solidFill>
                <a:prstDash val="solid"/>
                <a:miter/>
              </a:ln>
            </p:spPr>
            <p:txBody>
              <a:bodyPr rtlCol="0" anchor="ctr"/>
              <a:lstStyle/>
              <a:p>
                <a:endParaRPr lang="en-GB"/>
              </a:p>
            </p:txBody>
          </p:sp>
          <p:sp>
            <p:nvSpPr>
              <p:cNvPr id="9041" name="Vrije vorm: vorm 9040">
                <a:extLst>
                  <a:ext uri="{FF2B5EF4-FFF2-40B4-BE49-F238E27FC236}">
                    <a16:creationId xmlns:a16="http://schemas.microsoft.com/office/drawing/2014/main" id="{DC049BD3-3C4D-4840-9728-A5ED621E0597}"/>
                  </a:ext>
                </a:extLst>
              </p:cNvPr>
              <p:cNvSpPr/>
              <p:nvPr/>
            </p:nvSpPr>
            <p:spPr>
              <a:xfrm>
                <a:off x="3858669" y="2478214"/>
                <a:ext cx="12066" cy="16263"/>
              </a:xfrm>
              <a:custGeom>
                <a:avLst/>
                <a:gdLst>
                  <a:gd name="connsiteX0" fmla="*/ 3163 w 12066"/>
                  <a:gd name="connsiteY0" fmla="*/ 16026 h 16263"/>
                  <a:gd name="connsiteX1" fmla="*/ 11356 w 12066"/>
                  <a:gd name="connsiteY1" fmla="*/ 10046 h 16263"/>
                  <a:gd name="connsiteX2" fmla="*/ 8904 w 12066"/>
                  <a:gd name="connsiteY2" fmla="*/ 237 h 16263"/>
                  <a:gd name="connsiteX3" fmla="*/ 710 w 12066"/>
                  <a:gd name="connsiteY3" fmla="*/ 6218 h 16263"/>
                  <a:gd name="connsiteX4" fmla="*/ 3163 w 12066"/>
                  <a:gd name="connsiteY4" fmla="*/ 16026 h 1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66" h="16263">
                    <a:moveTo>
                      <a:pt x="3163" y="16026"/>
                    </a:moveTo>
                    <a:cubicBezTo>
                      <a:pt x="6093" y="17103"/>
                      <a:pt x="9741" y="14412"/>
                      <a:pt x="11356" y="10046"/>
                    </a:cubicBezTo>
                    <a:cubicBezTo>
                      <a:pt x="12911" y="5680"/>
                      <a:pt x="11835" y="1314"/>
                      <a:pt x="8904" y="237"/>
                    </a:cubicBezTo>
                    <a:cubicBezTo>
                      <a:pt x="5974" y="-839"/>
                      <a:pt x="2325" y="1852"/>
                      <a:pt x="710" y="6218"/>
                    </a:cubicBezTo>
                    <a:cubicBezTo>
                      <a:pt x="-844" y="10584"/>
                      <a:pt x="232" y="14950"/>
                      <a:pt x="3163" y="16026"/>
                    </a:cubicBezTo>
                    <a:close/>
                  </a:path>
                </a:pathLst>
              </a:custGeom>
              <a:solidFill>
                <a:srgbClr val="FFFFFF"/>
              </a:solidFill>
              <a:ln w="5978" cap="flat">
                <a:noFill/>
                <a:prstDash val="solid"/>
                <a:miter/>
              </a:ln>
            </p:spPr>
            <p:txBody>
              <a:bodyPr rtlCol="0" anchor="ctr"/>
              <a:lstStyle/>
              <a:p>
                <a:endParaRPr lang="en-GB"/>
              </a:p>
            </p:txBody>
          </p:sp>
          <p:sp>
            <p:nvSpPr>
              <p:cNvPr id="9042" name="Vrije vorm: vorm 9041">
                <a:extLst>
                  <a:ext uri="{FF2B5EF4-FFF2-40B4-BE49-F238E27FC236}">
                    <a16:creationId xmlns:a16="http://schemas.microsoft.com/office/drawing/2014/main" id="{2EA449CA-0925-426B-8FCA-E6D87D322B4A}"/>
                  </a:ext>
                </a:extLst>
              </p:cNvPr>
              <p:cNvSpPr/>
              <p:nvPr/>
            </p:nvSpPr>
            <p:spPr>
              <a:xfrm>
                <a:off x="3888146" y="2482219"/>
                <a:ext cx="9109" cy="21599"/>
              </a:xfrm>
              <a:custGeom>
                <a:avLst/>
                <a:gdLst>
                  <a:gd name="connsiteX0" fmla="*/ 0 w 9109"/>
                  <a:gd name="connsiteY0" fmla="*/ 21590 h 21599"/>
                  <a:gd name="connsiteX1" fmla="*/ 8194 w 9109"/>
                  <a:gd name="connsiteY1" fmla="*/ 0 h 21599"/>
                </a:gdLst>
                <a:ahLst/>
                <a:cxnLst>
                  <a:cxn ang="0">
                    <a:pos x="connsiteX0" y="connsiteY0"/>
                  </a:cxn>
                  <a:cxn ang="0">
                    <a:pos x="connsiteX1" y="connsiteY1"/>
                  </a:cxn>
                </a:cxnLst>
                <a:rect l="l" t="t" r="r" b="b"/>
                <a:pathLst>
                  <a:path w="9109" h="21599">
                    <a:moveTo>
                      <a:pt x="0" y="21590"/>
                    </a:moveTo>
                    <a:cubicBezTo>
                      <a:pt x="1555" y="21889"/>
                      <a:pt x="12261" y="14533"/>
                      <a:pt x="8194" y="0"/>
                    </a:cubicBezTo>
                  </a:path>
                </a:pathLst>
              </a:custGeom>
              <a:noFill/>
              <a:ln w="4190" cap="rnd">
                <a:solidFill>
                  <a:srgbClr val="FFFFFF"/>
                </a:solidFill>
                <a:prstDash val="solid"/>
                <a:round/>
              </a:ln>
            </p:spPr>
            <p:txBody>
              <a:bodyPr rtlCol="0" anchor="ctr"/>
              <a:lstStyle/>
              <a:p>
                <a:endParaRPr lang="en-GB"/>
              </a:p>
            </p:txBody>
          </p:sp>
          <p:sp>
            <p:nvSpPr>
              <p:cNvPr id="9043" name="Vrije vorm: vorm 9042">
                <a:extLst>
                  <a:ext uri="{FF2B5EF4-FFF2-40B4-BE49-F238E27FC236}">
                    <a16:creationId xmlns:a16="http://schemas.microsoft.com/office/drawing/2014/main" id="{6186CA7C-FEC7-4604-9C08-59AEB154DA23}"/>
                  </a:ext>
                </a:extLst>
              </p:cNvPr>
              <p:cNvSpPr/>
              <p:nvPr/>
            </p:nvSpPr>
            <p:spPr>
              <a:xfrm>
                <a:off x="3894725" y="2478571"/>
                <a:ext cx="15619" cy="37399"/>
              </a:xfrm>
              <a:custGeom>
                <a:avLst/>
                <a:gdLst>
                  <a:gd name="connsiteX0" fmla="*/ 0 w 15619"/>
                  <a:gd name="connsiteY0" fmla="*/ 37380 h 37399"/>
                  <a:gd name="connsiteX1" fmla="*/ 14234 w 15619"/>
                  <a:gd name="connsiteY1" fmla="*/ 0 h 37399"/>
                </a:gdLst>
                <a:ahLst/>
                <a:cxnLst>
                  <a:cxn ang="0">
                    <a:pos x="connsiteX0" y="connsiteY0"/>
                  </a:cxn>
                  <a:cxn ang="0">
                    <a:pos x="connsiteX1" y="connsiteY1"/>
                  </a:cxn>
                </a:cxnLst>
                <a:rect l="l" t="t" r="r" b="b"/>
                <a:pathLst>
                  <a:path w="15619" h="37399">
                    <a:moveTo>
                      <a:pt x="0" y="37380"/>
                    </a:moveTo>
                    <a:cubicBezTo>
                      <a:pt x="2273" y="37978"/>
                      <a:pt x="20753" y="25299"/>
                      <a:pt x="14234" y="0"/>
                    </a:cubicBezTo>
                  </a:path>
                </a:pathLst>
              </a:custGeom>
              <a:noFill/>
              <a:ln w="4190" cap="rnd">
                <a:solidFill>
                  <a:srgbClr val="FFFFFF"/>
                </a:solidFill>
                <a:prstDash val="solid"/>
                <a:round/>
              </a:ln>
            </p:spPr>
            <p:txBody>
              <a:bodyPr rtlCol="0" anchor="ctr"/>
              <a:lstStyle/>
              <a:p>
                <a:endParaRPr lang="en-GB"/>
              </a:p>
            </p:txBody>
          </p:sp>
          <p:sp>
            <p:nvSpPr>
              <p:cNvPr id="9044" name="Vrije vorm: vorm 9043">
                <a:extLst>
                  <a:ext uri="{FF2B5EF4-FFF2-40B4-BE49-F238E27FC236}">
                    <a16:creationId xmlns:a16="http://schemas.microsoft.com/office/drawing/2014/main" id="{81A9A783-3C2E-4E2A-98DF-94228D79FDD5}"/>
                  </a:ext>
                </a:extLst>
              </p:cNvPr>
              <p:cNvSpPr/>
              <p:nvPr/>
            </p:nvSpPr>
            <p:spPr>
              <a:xfrm>
                <a:off x="3900826" y="2472470"/>
                <a:ext cx="22998" cy="57245"/>
              </a:xfrm>
              <a:custGeom>
                <a:avLst/>
                <a:gdLst>
                  <a:gd name="connsiteX0" fmla="*/ 0 w 22998"/>
                  <a:gd name="connsiteY0" fmla="*/ 57235 h 57245"/>
                  <a:gd name="connsiteX1" fmla="*/ 21770 w 22998"/>
                  <a:gd name="connsiteY1" fmla="*/ 0 h 57245"/>
                </a:gdLst>
                <a:ahLst/>
                <a:cxnLst>
                  <a:cxn ang="0">
                    <a:pos x="connsiteX0" y="connsiteY0"/>
                  </a:cxn>
                  <a:cxn ang="0">
                    <a:pos x="connsiteX1" y="connsiteY1"/>
                  </a:cxn>
                </a:cxnLst>
                <a:rect l="l" t="t" r="r" b="b"/>
                <a:pathLst>
                  <a:path w="22998" h="57245">
                    <a:moveTo>
                      <a:pt x="0" y="57235"/>
                    </a:moveTo>
                    <a:cubicBezTo>
                      <a:pt x="2452" y="57774"/>
                      <a:pt x="28946" y="37798"/>
                      <a:pt x="21770" y="0"/>
                    </a:cubicBezTo>
                  </a:path>
                </a:pathLst>
              </a:custGeom>
              <a:noFill/>
              <a:ln w="4190" cap="rnd">
                <a:solidFill>
                  <a:srgbClr val="FFFFFF"/>
                </a:solidFill>
                <a:prstDash val="solid"/>
                <a:round/>
              </a:ln>
            </p:spPr>
            <p:txBody>
              <a:bodyPr rtlCol="0" anchor="ctr"/>
              <a:lstStyle/>
              <a:p>
                <a:endParaRPr lang="en-GB"/>
              </a:p>
            </p:txBody>
          </p:sp>
          <p:sp>
            <p:nvSpPr>
              <p:cNvPr id="9045" name="Vrije vorm: vorm 9044">
                <a:extLst>
                  <a:ext uri="{FF2B5EF4-FFF2-40B4-BE49-F238E27FC236}">
                    <a16:creationId xmlns:a16="http://schemas.microsoft.com/office/drawing/2014/main" id="{46B96EAE-19BD-4DD4-8A4C-630811CCB1B4}"/>
                  </a:ext>
                </a:extLst>
              </p:cNvPr>
              <p:cNvSpPr/>
              <p:nvPr/>
            </p:nvSpPr>
            <p:spPr>
              <a:xfrm>
                <a:off x="3907285" y="2466011"/>
                <a:ext cx="31795" cy="77569"/>
              </a:xfrm>
              <a:custGeom>
                <a:avLst/>
                <a:gdLst>
                  <a:gd name="connsiteX0" fmla="*/ 0 w 31795"/>
                  <a:gd name="connsiteY0" fmla="*/ 77570 h 77569"/>
                  <a:gd name="connsiteX1" fmla="*/ 29485 w 31795"/>
                  <a:gd name="connsiteY1" fmla="*/ 0 h 77569"/>
                </a:gdLst>
                <a:ahLst/>
                <a:cxnLst>
                  <a:cxn ang="0">
                    <a:pos x="connsiteX0" y="connsiteY0"/>
                  </a:cxn>
                  <a:cxn ang="0">
                    <a:pos x="connsiteX1" y="connsiteY1"/>
                  </a:cxn>
                </a:cxnLst>
                <a:rect l="l" t="t" r="r" b="b"/>
                <a:pathLst>
                  <a:path w="31795" h="77569">
                    <a:moveTo>
                      <a:pt x="0" y="77570"/>
                    </a:moveTo>
                    <a:cubicBezTo>
                      <a:pt x="4366" y="75776"/>
                      <a:pt x="41267" y="46231"/>
                      <a:pt x="29485" y="0"/>
                    </a:cubicBezTo>
                  </a:path>
                </a:pathLst>
              </a:custGeom>
              <a:noFill/>
              <a:ln w="4190" cap="rnd">
                <a:solidFill>
                  <a:srgbClr val="FFFFFF"/>
                </a:solidFill>
                <a:prstDash val="solid"/>
                <a:round/>
              </a:ln>
            </p:spPr>
            <p:txBody>
              <a:bodyPr rtlCol="0" anchor="ctr"/>
              <a:lstStyle/>
              <a:p>
                <a:endParaRPr lang="en-GB"/>
              </a:p>
            </p:txBody>
          </p:sp>
        </p:grpSp>
        <p:grpSp>
          <p:nvGrpSpPr>
            <p:cNvPr id="9046" name="WERELD_5">
              <a:extLst>
                <a:ext uri="{FF2B5EF4-FFF2-40B4-BE49-F238E27FC236}">
                  <a16:creationId xmlns:a16="http://schemas.microsoft.com/office/drawing/2014/main" id="{C20E2104-E361-4C6A-9592-6C3373DCE6D1}"/>
                </a:ext>
              </a:extLst>
            </p:cNvPr>
            <p:cNvGrpSpPr/>
            <p:nvPr userDrawn="1"/>
          </p:nvGrpSpPr>
          <p:grpSpPr>
            <a:xfrm>
              <a:off x="4511794" y="1039999"/>
              <a:ext cx="1740896" cy="1560490"/>
              <a:chOff x="4479700" y="856479"/>
              <a:chExt cx="1740896" cy="1560490"/>
            </a:xfrm>
            <a:noFill/>
          </p:grpSpPr>
          <p:grpSp>
            <p:nvGrpSpPr>
              <p:cNvPr id="9047" name="Graphic 3">
                <a:extLst>
                  <a:ext uri="{FF2B5EF4-FFF2-40B4-BE49-F238E27FC236}">
                    <a16:creationId xmlns:a16="http://schemas.microsoft.com/office/drawing/2014/main" id="{69FD9B7C-91A0-4827-937C-6F5220581186}"/>
                  </a:ext>
                </a:extLst>
              </p:cNvPr>
              <p:cNvGrpSpPr/>
              <p:nvPr/>
            </p:nvGrpSpPr>
            <p:grpSpPr>
              <a:xfrm>
                <a:off x="4577006" y="1021129"/>
                <a:ext cx="1068635" cy="1395840"/>
                <a:chOff x="4577006" y="1021129"/>
                <a:chExt cx="1068635" cy="1395840"/>
              </a:xfrm>
              <a:grpFill/>
            </p:grpSpPr>
            <p:sp>
              <p:nvSpPr>
                <p:cNvPr id="9328" name="Vrije vorm: vorm 9327">
                  <a:extLst>
                    <a:ext uri="{FF2B5EF4-FFF2-40B4-BE49-F238E27FC236}">
                      <a16:creationId xmlns:a16="http://schemas.microsoft.com/office/drawing/2014/main" id="{00A7065E-25B8-47E5-816E-644B9F3BC16E}"/>
                    </a:ext>
                  </a:extLst>
                </p:cNvPr>
                <p:cNvSpPr/>
                <p:nvPr/>
              </p:nvSpPr>
              <p:spPr>
                <a:xfrm>
                  <a:off x="4715460" y="1021129"/>
                  <a:ext cx="825219" cy="1157845"/>
                </a:xfrm>
                <a:custGeom>
                  <a:avLst/>
                  <a:gdLst>
                    <a:gd name="connsiteX0" fmla="*/ 326607 w 825219"/>
                    <a:gd name="connsiteY0" fmla="*/ 706263 h 1157845"/>
                    <a:gd name="connsiteX1" fmla="*/ 307529 w 825219"/>
                    <a:gd name="connsiteY1" fmla="*/ 714038 h 1157845"/>
                    <a:gd name="connsiteX2" fmla="*/ 182472 w 825219"/>
                    <a:gd name="connsiteY2" fmla="*/ 771513 h 1157845"/>
                    <a:gd name="connsiteX3" fmla="*/ 106038 w 825219"/>
                    <a:gd name="connsiteY3" fmla="*/ 806680 h 1157845"/>
                    <a:gd name="connsiteX4" fmla="*/ 80561 w 825219"/>
                    <a:gd name="connsiteY4" fmla="*/ 812541 h 1157845"/>
                    <a:gd name="connsiteX5" fmla="*/ 2930 w 825219"/>
                    <a:gd name="connsiteY5" fmla="*/ 828569 h 1157845"/>
                    <a:gd name="connsiteX6" fmla="*/ 0 w 825219"/>
                    <a:gd name="connsiteY6" fmla="*/ 827971 h 1157845"/>
                    <a:gd name="connsiteX7" fmla="*/ 157831 w 825219"/>
                    <a:gd name="connsiteY7" fmla="*/ 756382 h 1157845"/>
                    <a:gd name="connsiteX8" fmla="*/ 67044 w 825219"/>
                    <a:gd name="connsiteY8" fmla="*/ 533241 h 1157845"/>
                    <a:gd name="connsiteX9" fmla="*/ 180678 w 825219"/>
                    <a:gd name="connsiteY9" fmla="*/ 467812 h 1157845"/>
                    <a:gd name="connsiteX10" fmla="*/ 181455 w 825219"/>
                    <a:gd name="connsiteY10" fmla="*/ 469247 h 1157845"/>
                    <a:gd name="connsiteX11" fmla="*/ 69496 w 825219"/>
                    <a:gd name="connsiteY11" fmla="*/ 533899 h 1157845"/>
                    <a:gd name="connsiteX12" fmla="*/ 159685 w 825219"/>
                    <a:gd name="connsiteY12" fmla="*/ 755664 h 1157845"/>
                    <a:gd name="connsiteX13" fmla="*/ 274455 w 825219"/>
                    <a:gd name="connsiteY13" fmla="*/ 703871 h 1157845"/>
                    <a:gd name="connsiteX14" fmla="*/ 275113 w 825219"/>
                    <a:gd name="connsiteY14" fmla="*/ 705426 h 1157845"/>
                    <a:gd name="connsiteX15" fmla="*/ 12141 w 825219"/>
                    <a:gd name="connsiteY15" fmla="*/ 824084 h 1157845"/>
                    <a:gd name="connsiteX16" fmla="*/ 12380 w 825219"/>
                    <a:gd name="connsiteY16" fmla="*/ 825100 h 1157845"/>
                    <a:gd name="connsiteX17" fmla="*/ 28050 w 825219"/>
                    <a:gd name="connsiteY17" fmla="*/ 822110 h 1157845"/>
                    <a:gd name="connsiteX18" fmla="*/ 100835 w 825219"/>
                    <a:gd name="connsiteY18" fmla="*/ 806859 h 1157845"/>
                    <a:gd name="connsiteX19" fmla="*/ 119076 w 825219"/>
                    <a:gd name="connsiteY19" fmla="*/ 799622 h 1157845"/>
                    <a:gd name="connsiteX20" fmla="*/ 243176 w 825219"/>
                    <a:gd name="connsiteY20" fmla="*/ 742626 h 1157845"/>
                    <a:gd name="connsiteX21" fmla="*/ 327026 w 825219"/>
                    <a:gd name="connsiteY21" fmla="*/ 703751 h 1157845"/>
                    <a:gd name="connsiteX22" fmla="*/ 363269 w 825219"/>
                    <a:gd name="connsiteY22" fmla="*/ 792804 h 1157845"/>
                    <a:gd name="connsiteX23" fmla="*/ 503098 w 825219"/>
                    <a:gd name="connsiteY23" fmla="*/ 1136098 h 1157845"/>
                    <a:gd name="connsiteX24" fmla="*/ 512907 w 825219"/>
                    <a:gd name="connsiteY24" fmla="*/ 1144172 h 1157845"/>
                    <a:gd name="connsiteX25" fmla="*/ 588862 w 825219"/>
                    <a:gd name="connsiteY25" fmla="*/ 1154877 h 1157845"/>
                    <a:gd name="connsiteX26" fmla="*/ 595321 w 825219"/>
                    <a:gd name="connsiteY26" fmla="*/ 1155655 h 1157845"/>
                    <a:gd name="connsiteX27" fmla="*/ 154602 w 825219"/>
                    <a:gd name="connsiteY27" fmla="*/ 72247 h 1157845"/>
                    <a:gd name="connsiteX28" fmla="*/ 62260 w 825219"/>
                    <a:gd name="connsiteY28" fmla="*/ 170391 h 1157845"/>
                    <a:gd name="connsiteX29" fmla="*/ 61302 w 825219"/>
                    <a:gd name="connsiteY29" fmla="*/ 169314 h 1157845"/>
                    <a:gd name="connsiteX30" fmla="*/ 65190 w 825219"/>
                    <a:gd name="connsiteY30" fmla="*/ 164948 h 1157845"/>
                    <a:gd name="connsiteX31" fmla="*/ 151013 w 825219"/>
                    <a:gd name="connsiteY31" fmla="*/ 73503 h 1157845"/>
                    <a:gd name="connsiteX32" fmla="*/ 160403 w 825219"/>
                    <a:gd name="connsiteY32" fmla="*/ 68180 h 1157845"/>
                    <a:gd name="connsiteX33" fmla="*/ 366858 w 825219"/>
                    <a:gd name="connsiteY33" fmla="*/ 23504 h 1157845"/>
                    <a:gd name="connsiteX34" fmla="*/ 465241 w 825219"/>
                    <a:gd name="connsiteY34" fmla="*/ 2093 h 1157845"/>
                    <a:gd name="connsiteX35" fmla="*/ 472477 w 825219"/>
                    <a:gd name="connsiteY35" fmla="*/ 0 h 1157845"/>
                    <a:gd name="connsiteX36" fmla="*/ 594005 w 825219"/>
                    <a:gd name="connsiteY36" fmla="*/ 305854 h 1157845"/>
                    <a:gd name="connsiteX37" fmla="*/ 706563 w 825219"/>
                    <a:gd name="connsiteY37" fmla="*/ 266501 h 1157845"/>
                    <a:gd name="connsiteX38" fmla="*/ 707101 w 825219"/>
                    <a:gd name="connsiteY38" fmla="*/ 267996 h 1157845"/>
                    <a:gd name="connsiteX39" fmla="*/ 594603 w 825219"/>
                    <a:gd name="connsiteY39" fmla="*/ 307469 h 1157845"/>
                    <a:gd name="connsiteX40" fmla="*/ 729768 w 825219"/>
                    <a:gd name="connsiteY40" fmla="*/ 647473 h 1157845"/>
                    <a:gd name="connsiteX41" fmla="*/ 734134 w 825219"/>
                    <a:gd name="connsiteY41" fmla="*/ 646456 h 1157845"/>
                    <a:gd name="connsiteX42" fmla="*/ 732340 w 825219"/>
                    <a:gd name="connsiteY42" fmla="*/ 653812 h 1157845"/>
                    <a:gd name="connsiteX43" fmla="*/ 822768 w 825219"/>
                    <a:gd name="connsiteY43" fmla="*/ 881499 h 1157845"/>
                    <a:gd name="connsiteX44" fmla="*/ 825220 w 825219"/>
                    <a:gd name="connsiteY44" fmla="*/ 887539 h 1157845"/>
                    <a:gd name="connsiteX45" fmla="*/ 823725 w 825219"/>
                    <a:gd name="connsiteY45" fmla="*/ 888137 h 1157845"/>
                    <a:gd name="connsiteX46" fmla="*/ 471700 w 825219"/>
                    <a:gd name="connsiteY46" fmla="*/ 2392 h 1157845"/>
                    <a:gd name="connsiteX47" fmla="*/ 156276 w 825219"/>
                    <a:gd name="connsiteY47" fmla="*/ 70931 h 1157845"/>
                    <a:gd name="connsiteX48" fmla="*/ 597355 w 825219"/>
                    <a:gd name="connsiteY48" fmla="*/ 1155236 h 1157845"/>
                    <a:gd name="connsiteX49" fmla="*/ 639578 w 825219"/>
                    <a:gd name="connsiteY49" fmla="*/ 1126230 h 1157845"/>
                    <a:gd name="connsiteX50" fmla="*/ 640416 w 825219"/>
                    <a:gd name="connsiteY50" fmla="*/ 1127486 h 1157845"/>
                    <a:gd name="connsiteX51" fmla="*/ 622175 w 825219"/>
                    <a:gd name="connsiteY51" fmla="*/ 1140225 h 1157845"/>
                    <a:gd name="connsiteX52" fmla="*/ 598431 w 825219"/>
                    <a:gd name="connsiteY52" fmla="*/ 1156911 h 1157845"/>
                    <a:gd name="connsiteX53" fmla="*/ 595202 w 825219"/>
                    <a:gd name="connsiteY53" fmla="*/ 1157808 h 1157845"/>
                    <a:gd name="connsiteX54" fmla="*/ 504833 w 825219"/>
                    <a:gd name="connsiteY54" fmla="*/ 1144471 h 1157845"/>
                    <a:gd name="connsiteX55" fmla="*/ 326607 w 825219"/>
                    <a:gd name="connsiteY55" fmla="*/ 706263 h 115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25219" h="1157845">
                      <a:moveTo>
                        <a:pt x="326607" y="706263"/>
                      </a:moveTo>
                      <a:cubicBezTo>
                        <a:pt x="319909" y="708955"/>
                        <a:pt x="313629" y="711287"/>
                        <a:pt x="307529" y="714038"/>
                      </a:cubicBezTo>
                      <a:cubicBezTo>
                        <a:pt x="265783" y="733117"/>
                        <a:pt x="224098" y="752315"/>
                        <a:pt x="182472" y="771513"/>
                      </a:cubicBezTo>
                      <a:cubicBezTo>
                        <a:pt x="156994" y="783235"/>
                        <a:pt x="131755" y="795496"/>
                        <a:pt x="106038" y="806680"/>
                      </a:cubicBezTo>
                      <a:cubicBezTo>
                        <a:pt x="98144" y="810089"/>
                        <a:pt x="89113" y="810747"/>
                        <a:pt x="80561" y="812541"/>
                      </a:cubicBezTo>
                      <a:cubicBezTo>
                        <a:pt x="54664" y="817923"/>
                        <a:pt x="28827" y="823246"/>
                        <a:pt x="2930" y="828569"/>
                      </a:cubicBezTo>
                      <a:cubicBezTo>
                        <a:pt x="2093" y="828749"/>
                        <a:pt x="1256" y="828868"/>
                        <a:pt x="0" y="827971"/>
                      </a:cubicBezTo>
                      <a:cubicBezTo>
                        <a:pt x="52571" y="804108"/>
                        <a:pt x="105141" y="780305"/>
                        <a:pt x="157831" y="756382"/>
                      </a:cubicBezTo>
                      <a:cubicBezTo>
                        <a:pt x="127569" y="682042"/>
                        <a:pt x="97426" y="607821"/>
                        <a:pt x="67044" y="533241"/>
                      </a:cubicBezTo>
                      <a:cubicBezTo>
                        <a:pt x="104543" y="511651"/>
                        <a:pt x="142581" y="489701"/>
                        <a:pt x="180678" y="467812"/>
                      </a:cubicBezTo>
                      <a:cubicBezTo>
                        <a:pt x="180917" y="468290"/>
                        <a:pt x="181216" y="468769"/>
                        <a:pt x="181455" y="469247"/>
                      </a:cubicBezTo>
                      <a:cubicBezTo>
                        <a:pt x="144016" y="490898"/>
                        <a:pt x="106517" y="512488"/>
                        <a:pt x="69496" y="533899"/>
                      </a:cubicBezTo>
                      <a:cubicBezTo>
                        <a:pt x="99639" y="608060"/>
                        <a:pt x="129543" y="681563"/>
                        <a:pt x="159685" y="755664"/>
                      </a:cubicBezTo>
                      <a:cubicBezTo>
                        <a:pt x="198560" y="738141"/>
                        <a:pt x="236478" y="721036"/>
                        <a:pt x="274455" y="703871"/>
                      </a:cubicBezTo>
                      <a:cubicBezTo>
                        <a:pt x="274695" y="704409"/>
                        <a:pt x="274934" y="704888"/>
                        <a:pt x="275113" y="705426"/>
                      </a:cubicBezTo>
                      <a:cubicBezTo>
                        <a:pt x="187436" y="744959"/>
                        <a:pt x="99818" y="784551"/>
                        <a:pt x="12141" y="824084"/>
                      </a:cubicBezTo>
                      <a:cubicBezTo>
                        <a:pt x="12201" y="824442"/>
                        <a:pt x="12320" y="824742"/>
                        <a:pt x="12380" y="825100"/>
                      </a:cubicBezTo>
                      <a:cubicBezTo>
                        <a:pt x="17583" y="824084"/>
                        <a:pt x="22846" y="823186"/>
                        <a:pt x="28050" y="822110"/>
                      </a:cubicBezTo>
                      <a:cubicBezTo>
                        <a:pt x="52331" y="817086"/>
                        <a:pt x="76673" y="812242"/>
                        <a:pt x="100835" y="806859"/>
                      </a:cubicBezTo>
                      <a:cubicBezTo>
                        <a:pt x="107174" y="805424"/>
                        <a:pt x="113096" y="802314"/>
                        <a:pt x="119076" y="799622"/>
                      </a:cubicBezTo>
                      <a:cubicBezTo>
                        <a:pt x="160463" y="780664"/>
                        <a:pt x="201849" y="761645"/>
                        <a:pt x="243176" y="742626"/>
                      </a:cubicBezTo>
                      <a:cubicBezTo>
                        <a:pt x="271106" y="729768"/>
                        <a:pt x="298916" y="716789"/>
                        <a:pt x="327026" y="703751"/>
                      </a:cubicBezTo>
                      <a:cubicBezTo>
                        <a:pt x="339107" y="733416"/>
                        <a:pt x="351128" y="763140"/>
                        <a:pt x="363269" y="792804"/>
                      </a:cubicBezTo>
                      <a:cubicBezTo>
                        <a:pt x="409919" y="907216"/>
                        <a:pt x="456569" y="1021627"/>
                        <a:pt x="503098" y="1136098"/>
                      </a:cubicBezTo>
                      <a:cubicBezTo>
                        <a:pt x="505192" y="1141301"/>
                        <a:pt x="507763" y="1143514"/>
                        <a:pt x="512907" y="1144172"/>
                      </a:cubicBezTo>
                      <a:cubicBezTo>
                        <a:pt x="538205" y="1147461"/>
                        <a:pt x="563504" y="1151289"/>
                        <a:pt x="588862" y="1154877"/>
                      </a:cubicBezTo>
                      <a:cubicBezTo>
                        <a:pt x="590656" y="1155117"/>
                        <a:pt x="592510" y="1155296"/>
                        <a:pt x="595321" y="1155655"/>
                      </a:cubicBezTo>
                      <a:cubicBezTo>
                        <a:pt x="448315" y="794240"/>
                        <a:pt x="301548" y="433543"/>
                        <a:pt x="154602" y="72247"/>
                      </a:cubicBezTo>
                      <a:cubicBezTo>
                        <a:pt x="123861" y="104902"/>
                        <a:pt x="93060" y="137616"/>
                        <a:pt x="62260" y="170391"/>
                      </a:cubicBezTo>
                      <a:cubicBezTo>
                        <a:pt x="61960" y="170032"/>
                        <a:pt x="61601" y="169673"/>
                        <a:pt x="61302" y="169314"/>
                      </a:cubicBezTo>
                      <a:cubicBezTo>
                        <a:pt x="62618" y="167819"/>
                        <a:pt x="63874" y="166324"/>
                        <a:pt x="65190" y="164948"/>
                      </a:cubicBezTo>
                      <a:cubicBezTo>
                        <a:pt x="93838" y="134447"/>
                        <a:pt x="122485" y="104065"/>
                        <a:pt x="151013" y="73503"/>
                      </a:cubicBezTo>
                      <a:cubicBezTo>
                        <a:pt x="153705" y="70632"/>
                        <a:pt x="156515" y="69018"/>
                        <a:pt x="160403" y="68180"/>
                      </a:cubicBezTo>
                      <a:cubicBezTo>
                        <a:pt x="229241" y="53408"/>
                        <a:pt x="298079" y="38456"/>
                        <a:pt x="366858" y="23504"/>
                      </a:cubicBezTo>
                      <a:cubicBezTo>
                        <a:pt x="399632" y="16387"/>
                        <a:pt x="432466" y="9270"/>
                        <a:pt x="465241" y="2093"/>
                      </a:cubicBezTo>
                      <a:cubicBezTo>
                        <a:pt x="467693" y="1555"/>
                        <a:pt x="470085" y="718"/>
                        <a:pt x="472477" y="0"/>
                      </a:cubicBezTo>
                      <a:cubicBezTo>
                        <a:pt x="512967" y="101852"/>
                        <a:pt x="553337" y="203524"/>
                        <a:pt x="594005" y="305854"/>
                      </a:cubicBezTo>
                      <a:cubicBezTo>
                        <a:pt x="631863" y="292637"/>
                        <a:pt x="669183" y="279539"/>
                        <a:pt x="706563" y="266501"/>
                      </a:cubicBezTo>
                      <a:cubicBezTo>
                        <a:pt x="706742" y="266979"/>
                        <a:pt x="706921" y="267518"/>
                        <a:pt x="707101" y="267996"/>
                      </a:cubicBezTo>
                      <a:cubicBezTo>
                        <a:pt x="669781" y="281094"/>
                        <a:pt x="632461" y="294192"/>
                        <a:pt x="594603" y="307469"/>
                      </a:cubicBezTo>
                      <a:cubicBezTo>
                        <a:pt x="639818" y="421162"/>
                        <a:pt x="684733" y="534198"/>
                        <a:pt x="729768" y="647473"/>
                      </a:cubicBezTo>
                      <a:cubicBezTo>
                        <a:pt x="731502" y="647054"/>
                        <a:pt x="732818" y="646755"/>
                        <a:pt x="734134" y="646456"/>
                      </a:cubicBezTo>
                      <a:cubicBezTo>
                        <a:pt x="729409" y="647473"/>
                        <a:pt x="731083" y="650583"/>
                        <a:pt x="732340" y="653812"/>
                      </a:cubicBezTo>
                      <a:cubicBezTo>
                        <a:pt x="762482" y="729708"/>
                        <a:pt x="792625" y="805603"/>
                        <a:pt x="822768" y="881499"/>
                      </a:cubicBezTo>
                      <a:cubicBezTo>
                        <a:pt x="823546" y="883532"/>
                        <a:pt x="824383" y="885565"/>
                        <a:pt x="825220" y="887539"/>
                      </a:cubicBezTo>
                      <a:cubicBezTo>
                        <a:pt x="824742" y="887719"/>
                        <a:pt x="824203" y="887898"/>
                        <a:pt x="823725" y="888137"/>
                      </a:cubicBezTo>
                      <a:cubicBezTo>
                        <a:pt x="706443" y="593108"/>
                        <a:pt x="589221" y="298019"/>
                        <a:pt x="471700" y="2392"/>
                      </a:cubicBezTo>
                      <a:cubicBezTo>
                        <a:pt x="366559" y="25239"/>
                        <a:pt x="261836" y="48025"/>
                        <a:pt x="156276" y="70931"/>
                      </a:cubicBezTo>
                      <a:cubicBezTo>
                        <a:pt x="303462" y="432705"/>
                        <a:pt x="450348" y="793821"/>
                        <a:pt x="597355" y="1155236"/>
                      </a:cubicBezTo>
                      <a:cubicBezTo>
                        <a:pt x="611409" y="1145607"/>
                        <a:pt x="625464" y="1135918"/>
                        <a:pt x="639578" y="1126230"/>
                      </a:cubicBezTo>
                      <a:cubicBezTo>
                        <a:pt x="639877" y="1126648"/>
                        <a:pt x="640117" y="1127067"/>
                        <a:pt x="640416" y="1127486"/>
                      </a:cubicBezTo>
                      <a:cubicBezTo>
                        <a:pt x="634315" y="1131732"/>
                        <a:pt x="628275" y="1135918"/>
                        <a:pt x="622175" y="1140225"/>
                      </a:cubicBezTo>
                      <a:cubicBezTo>
                        <a:pt x="614280" y="1145787"/>
                        <a:pt x="606386" y="1151409"/>
                        <a:pt x="598431" y="1156911"/>
                      </a:cubicBezTo>
                      <a:cubicBezTo>
                        <a:pt x="597534" y="1157509"/>
                        <a:pt x="596278" y="1157987"/>
                        <a:pt x="595202" y="1157808"/>
                      </a:cubicBezTo>
                      <a:cubicBezTo>
                        <a:pt x="565298" y="1153442"/>
                        <a:pt x="535394" y="1149016"/>
                        <a:pt x="504833" y="1144471"/>
                      </a:cubicBezTo>
                      <a:cubicBezTo>
                        <a:pt x="445564" y="998661"/>
                        <a:pt x="386115" y="852492"/>
                        <a:pt x="326607" y="70626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29" name="Vrije vorm: vorm 9328">
                  <a:extLst>
                    <a:ext uri="{FF2B5EF4-FFF2-40B4-BE49-F238E27FC236}">
                      <a16:creationId xmlns:a16="http://schemas.microsoft.com/office/drawing/2014/main" id="{4135F668-3E30-4D82-9EC8-D0FAAC534FB8}"/>
                    </a:ext>
                  </a:extLst>
                </p:cNvPr>
                <p:cNvSpPr/>
                <p:nvPr/>
              </p:nvSpPr>
              <p:spPr>
                <a:xfrm>
                  <a:off x="4812945" y="2191735"/>
                  <a:ext cx="185402" cy="209983"/>
                </a:xfrm>
                <a:custGeom>
                  <a:avLst/>
                  <a:gdLst>
                    <a:gd name="connsiteX0" fmla="*/ 185163 w 185402"/>
                    <a:gd name="connsiteY0" fmla="*/ 121947 h 209983"/>
                    <a:gd name="connsiteX1" fmla="*/ 181037 w 185402"/>
                    <a:gd name="connsiteY1" fmla="*/ 113394 h 209983"/>
                    <a:gd name="connsiteX2" fmla="*/ 153645 w 185402"/>
                    <a:gd name="connsiteY2" fmla="*/ 131516 h 209983"/>
                    <a:gd name="connsiteX3" fmla="*/ 156516 w 185402"/>
                    <a:gd name="connsiteY3" fmla="*/ 138514 h 209983"/>
                    <a:gd name="connsiteX4" fmla="*/ 182532 w 185402"/>
                    <a:gd name="connsiteY4" fmla="*/ 121588 h 209983"/>
                    <a:gd name="connsiteX5" fmla="*/ 183309 w 185402"/>
                    <a:gd name="connsiteY5" fmla="*/ 122904 h 209983"/>
                    <a:gd name="connsiteX6" fmla="*/ 51853 w 185402"/>
                    <a:gd name="connsiteY6" fmla="*/ 209983 h 209983"/>
                    <a:gd name="connsiteX7" fmla="*/ 0 w 185402"/>
                    <a:gd name="connsiteY7" fmla="*/ 82594 h 209983"/>
                    <a:gd name="connsiteX8" fmla="*/ 135882 w 185402"/>
                    <a:gd name="connsiteY8" fmla="*/ 0 h 209983"/>
                    <a:gd name="connsiteX9" fmla="*/ 185402 w 185402"/>
                    <a:gd name="connsiteY9" fmla="*/ 121767 h 209983"/>
                    <a:gd name="connsiteX10" fmla="*/ 185163 w 185402"/>
                    <a:gd name="connsiteY10" fmla="*/ 121947 h 209983"/>
                    <a:gd name="connsiteX11" fmla="*/ 135583 w 185402"/>
                    <a:gd name="connsiteY11" fmla="*/ 95811 h 209983"/>
                    <a:gd name="connsiteX12" fmla="*/ 133550 w 185402"/>
                    <a:gd name="connsiteY12" fmla="*/ 88395 h 209983"/>
                    <a:gd name="connsiteX13" fmla="*/ 115189 w 185402"/>
                    <a:gd name="connsiteY13" fmla="*/ 43181 h 209983"/>
                    <a:gd name="connsiteX14" fmla="*/ 114351 w 185402"/>
                    <a:gd name="connsiteY14" fmla="*/ 43540 h 209983"/>
                    <a:gd name="connsiteX15" fmla="*/ 135583 w 185402"/>
                    <a:gd name="connsiteY15" fmla="*/ 95811 h 209983"/>
                    <a:gd name="connsiteX16" fmla="*/ 150834 w 185402"/>
                    <a:gd name="connsiteY16" fmla="*/ 133310 h 209983"/>
                    <a:gd name="connsiteX17" fmla="*/ 150714 w 185402"/>
                    <a:gd name="connsiteY17" fmla="*/ 133370 h 209983"/>
                    <a:gd name="connsiteX18" fmla="*/ 111062 w 185402"/>
                    <a:gd name="connsiteY18" fmla="*/ 43420 h 209983"/>
                    <a:gd name="connsiteX19" fmla="*/ 82355 w 185402"/>
                    <a:gd name="connsiteY19" fmla="*/ 61243 h 209983"/>
                    <a:gd name="connsiteX20" fmla="*/ 79603 w 185402"/>
                    <a:gd name="connsiteY20" fmla="*/ 64711 h 209983"/>
                    <a:gd name="connsiteX21" fmla="*/ 83072 w 185402"/>
                    <a:gd name="connsiteY21" fmla="*/ 70752 h 209983"/>
                    <a:gd name="connsiteX22" fmla="*/ 87259 w 185402"/>
                    <a:gd name="connsiteY22" fmla="*/ 72426 h 209983"/>
                    <a:gd name="connsiteX23" fmla="*/ 87678 w 185402"/>
                    <a:gd name="connsiteY23" fmla="*/ 73204 h 209983"/>
                    <a:gd name="connsiteX24" fmla="*/ 83611 w 185402"/>
                    <a:gd name="connsiteY24" fmla="*/ 73264 h 209983"/>
                    <a:gd name="connsiteX25" fmla="*/ 116205 w 185402"/>
                    <a:gd name="connsiteY25" fmla="*/ 153405 h 209983"/>
                    <a:gd name="connsiteX26" fmla="*/ 147963 w 185402"/>
                    <a:gd name="connsiteY26" fmla="*/ 135164 h 209983"/>
                    <a:gd name="connsiteX27" fmla="*/ 148442 w 185402"/>
                    <a:gd name="connsiteY27" fmla="*/ 135942 h 209983"/>
                    <a:gd name="connsiteX28" fmla="*/ 78288 w 185402"/>
                    <a:gd name="connsiteY28" fmla="*/ 182233 h 209983"/>
                    <a:gd name="connsiteX29" fmla="*/ 81338 w 185402"/>
                    <a:gd name="connsiteY29" fmla="*/ 188512 h 209983"/>
                    <a:gd name="connsiteX30" fmla="*/ 155200 w 185402"/>
                    <a:gd name="connsiteY30" fmla="*/ 139710 h 209983"/>
                    <a:gd name="connsiteX31" fmla="*/ 138215 w 185402"/>
                    <a:gd name="connsiteY31" fmla="*/ 98144 h 209983"/>
                    <a:gd name="connsiteX32" fmla="*/ 135583 w 185402"/>
                    <a:gd name="connsiteY32" fmla="*/ 95811 h 209983"/>
                    <a:gd name="connsiteX33" fmla="*/ 97247 w 185402"/>
                    <a:gd name="connsiteY33" fmla="*/ 44138 h 209983"/>
                    <a:gd name="connsiteX34" fmla="*/ 75596 w 185402"/>
                    <a:gd name="connsiteY34" fmla="*/ 58551 h 209983"/>
                    <a:gd name="connsiteX35" fmla="*/ 39353 w 185402"/>
                    <a:gd name="connsiteY35" fmla="*/ 81099 h 209983"/>
                    <a:gd name="connsiteX36" fmla="*/ 37081 w 185402"/>
                    <a:gd name="connsiteY36" fmla="*/ 84567 h 209983"/>
                    <a:gd name="connsiteX37" fmla="*/ 38695 w 185402"/>
                    <a:gd name="connsiteY37" fmla="*/ 85883 h 209983"/>
                    <a:gd name="connsiteX38" fmla="*/ 72546 w 185402"/>
                    <a:gd name="connsiteY38" fmla="*/ 65190 h 209983"/>
                    <a:gd name="connsiteX39" fmla="*/ 73264 w 185402"/>
                    <a:gd name="connsiteY39" fmla="*/ 66506 h 209983"/>
                    <a:gd name="connsiteX40" fmla="*/ 39533 w 185402"/>
                    <a:gd name="connsiteY40" fmla="*/ 87498 h 209983"/>
                    <a:gd name="connsiteX41" fmla="*/ 76135 w 185402"/>
                    <a:gd name="connsiteY41" fmla="*/ 177508 h 209983"/>
                    <a:gd name="connsiteX42" fmla="*/ 76733 w 185402"/>
                    <a:gd name="connsiteY42" fmla="*/ 177268 h 209983"/>
                    <a:gd name="connsiteX43" fmla="*/ 41028 w 185402"/>
                    <a:gd name="connsiteY43" fmla="*/ 89531 h 209983"/>
                    <a:gd name="connsiteX44" fmla="*/ 42344 w 185402"/>
                    <a:gd name="connsiteY44" fmla="*/ 88993 h 209983"/>
                    <a:gd name="connsiteX45" fmla="*/ 78527 w 185402"/>
                    <a:gd name="connsiteY45" fmla="*/ 177926 h 209983"/>
                    <a:gd name="connsiteX46" fmla="*/ 112737 w 185402"/>
                    <a:gd name="connsiteY46" fmla="*/ 157652 h 209983"/>
                    <a:gd name="connsiteX47" fmla="*/ 74640 w 185402"/>
                    <a:gd name="connsiteY47" fmla="*/ 63994 h 209983"/>
                    <a:gd name="connsiteX48" fmla="*/ 76613 w 185402"/>
                    <a:gd name="connsiteY48" fmla="*/ 62020 h 209983"/>
                    <a:gd name="connsiteX49" fmla="*/ 109268 w 185402"/>
                    <a:gd name="connsiteY49" fmla="*/ 42284 h 209983"/>
                    <a:gd name="connsiteX50" fmla="*/ 113215 w 185402"/>
                    <a:gd name="connsiteY50" fmla="*/ 38217 h 209983"/>
                    <a:gd name="connsiteX51" fmla="*/ 111899 w 185402"/>
                    <a:gd name="connsiteY51" fmla="*/ 36781 h 209983"/>
                    <a:gd name="connsiteX52" fmla="*/ 97067 w 185402"/>
                    <a:gd name="connsiteY52" fmla="*/ 44198 h 209983"/>
                    <a:gd name="connsiteX53" fmla="*/ 111660 w 185402"/>
                    <a:gd name="connsiteY53" fmla="*/ 34389 h 209983"/>
                    <a:gd name="connsiteX54" fmla="*/ 107115 w 185402"/>
                    <a:gd name="connsiteY54" fmla="*/ 23205 h 209983"/>
                    <a:gd name="connsiteX55" fmla="*/ 108670 w 185402"/>
                    <a:gd name="connsiteY55" fmla="*/ 22607 h 209983"/>
                    <a:gd name="connsiteX56" fmla="*/ 151671 w 185402"/>
                    <a:gd name="connsiteY56" fmla="*/ 128286 h 209983"/>
                    <a:gd name="connsiteX57" fmla="*/ 152150 w 185402"/>
                    <a:gd name="connsiteY57" fmla="*/ 128047 h 209983"/>
                    <a:gd name="connsiteX58" fmla="*/ 107773 w 185402"/>
                    <a:gd name="connsiteY58" fmla="*/ 18899 h 209983"/>
                    <a:gd name="connsiteX59" fmla="*/ 2093 w 185402"/>
                    <a:gd name="connsiteY59" fmla="*/ 83192 h 209983"/>
                    <a:gd name="connsiteX60" fmla="*/ 48982 w 185402"/>
                    <a:gd name="connsiteY60" fmla="*/ 198440 h 209983"/>
                    <a:gd name="connsiteX61" fmla="*/ 71530 w 185402"/>
                    <a:gd name="connsiteY61" fmla="*/ 183488 h 209983"/>
                    <a:gd name="connsiteX62" fmla="*/ 26315 w 185402"/>
                    <a:gd name="connsiteY62" fmla="*/ 72367 h 209983"/>
                    <a:gd name="connsiteX63" fmla="*/ 27571 w 185402"/>
                    <a:gd name="connsiteY63" fmla="*/ 71828 h 209983"/>
                    <a:gd name="connsiteX64" fmla="*/ 73264 w 185402"/>
                    <a:gd name="connsiteY64" fmla="*/ 184087 h 209983"/>
                    <a:gd name="connsiteX65" fmla="*/ 50118 w 185402"/>
                    <a:gd name="connsiteY65" fmla="*/ 199278 h 209983"/>
                    <a:gd name="connsiteX66" fmla="*/ 53169 w 185402"/>
                    <a:gd name="connsiteY66" fmla="*/ 206813 h 209983"/>
                    <a:gd name="connsiteX67" fmla="*/ 78826 w 185402"/>
                    <a:gd name="connsiteY67" fmla="*/ 189768 h 209983"/>
                    <a:gd name="connsiteX68" fmla="*/ 30382 w 185402"/>
                    <a:gd name="connsiteY68" fmla="*/ 70632 h 209983"/>
                    <a:gd name="connsiteX69" fmla="*/ 31040 w 185402"/>
                    <a:gd name="connsiteY69" fmla="*/ 70273 h 209983"/>
                    <a:gd name="connsiteX70" fmla="*/ 36124 w 185402"/>
                    <a:gd name="connsiteY70" fmla="*/ 80919 h 209983"/>
                    <a:gd name="connsiteX71" fmla="*/ 97247 w 185402"/>
                    <a:gd name="connsiteY71" fmla="*/ 44138 h 209983"/>
                    <a:gd name="connsiteX72" fmla="*/ 134746 w 185402"/>
                    <a:gd name="connsiteY72" fmla="*/ 7655 h 209983"/>
                    <a:gd name="connsiteX73" fmla="*/ 135762 w 185402"/>
                    <a:gd name="connsiteY73" fmla="*/ 6938 h 209983"/>
                    <a:gd name="connsiteX74" fmla="*/ 178704 w 185402"/>
                    <a:gd name="connsiteY74" fmla="*/ 112437 h 209983"/>
                    <a:gd name="connsiteX75" fmla="*/ 179960 w 185402"/>
                    <a:gd name="connsiteY75" fmla="*/ 111899 h 209983"/>
                    <a:gd name="connsiteX76" fmla="*/ 135404 w 185402"/>
                    <a:gd name="connsiteY76" fmla="*/ 2332 h 209983"/>
                    <a:gd name="connsiteX77" fmla="*/ 113156 w 185402"/>
                    <a:gd name="connsiteY77" fmla="*/ 15669 h 209983"/>
                    <a:gd name="connsiteX78" fmla="*/ 111182 w 185402"/>
                    <a:gd name="connsiteY78" fmla="*/ 22667 h 209983"/>
                    <a:gd name="connsiteX79" fmla="*/ 136540 w 185402"/>
                    <a:gd name="connsiteY79" fmla="*/ 83371 h 209983"/>
                    <a:gd name="connsiteX80" fmla="*/ 142341 w 185402"/>
                    <a:gd name="connsiteY80" fmla="*/ 89173 h 209983"/>
                    <a:gd name="connsiteX81" fmla="*/ 143059 w 185402"/>
                    <a:gd name="connsiteY81" fmla="*/ 90010 h 209983"/>
                    <a:gd name="connsiteX82" fmla="*/ 140069 w 185402"/>
                    <a:gd name="connsiteY82" fmla="*/ 90369 h 209983"/>
                    <a:gd name="connsiteX83" fmla="*/ 155559 w 185402"/>
                    <a:gd name="connsiteY83" fmla="*/ 128406 h 209983"/>
                    <a:gd name="connsiteX84" fmla="*/ 175295 w 185402"/>
                    <a:gd name="connsiteY84" fmla="*/ 115308 h 209983"/>
                    <a:gd name="connsiteX85" fmla="*/ 176312 w 185402"/>
                    <a:gd name="connsiteY85" fmla="*/ 109627 h 209983"/>
                    <a:gd name="connsiteX86" fmla="*/ 167161 w 185402"/>
                    <a:gd name="connsiteY86" fmla="*/ 87019 h 209983"/>
                    <a:gd name="connsiteX87" fmla="*/ 134746 w 185402"/>
                    <a:gd name="connsiteY87" fmla="*/ 7655 h 209983"/>
                    <a:gd name="connsiteX88" fmla="*/ 113335 w 185402"/>
                    <a:gd name="connsiteY88" fmla="*/ 153166 h 209983"/>
                    <a:gd name="connsiteX89" fmla="*/ 113933 w 185402"/>
                    <a:gd name="connsiteY89" fmla="*/ 152987 h 209983"/>
                    <a:gd name="connsiteX90" fmla="*/ 78408 w 185402"/>
                    <a:gd name="connsiteY90" fmla="*/ 65728 h 209983"/>
                    <a:gd name="connsiteX91" fmla="*/ 77869 w 185402"/>
                    <a:gd name="connsiteY91" fmla="*/ 65967 h 209983"/>
                    <a:gd name="connsiteX92" fmla="*/ 113335 w 185402"/>
                    <a:gd name="connsiteY92" fmla="*/ 153166 h 209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85402" h="209983">
                      <a:moveTo>
                        <a:pt x="185163" y="121947"/>
                      </a:moveTo>
                      <a:cubicBezTo>
                        <a:pt x="183907" y="119315"/>
                        <a:pt x="182652" y="116684"/>
                        <a:pt x="181037" y="113394"/>
                      </a:cubicBezTo>
                      <a:cubicBezTo>
                        <a:pt x="171707" y="119555"/>
                        <a:pt x="162736" y="125535"/>
                        <a:pt x="153645" y="131516"/>
                      </a:cubicBezTo>
                      <a:cubicBezTo>
                        <a:pt x="154662" y="133968"/>
                        <a:pt x="155379" y="135822"/>
                        <a:pt x="156516" y="138514"/>
                      </a:cubicBezTo>
                      <a:cubicBezTo>
                        <a:pt x="165307" y="132772"/>
                        <a:pt x="173920" y="127210"/>
                        <a:pt x="182532" y="121588"/>
                      </a:cubicBezTo>
                      <a:cubicBezTo>
                        <a:pt x="182771" y="122007"/>
                        <a:pt x="183070" y="122425"/>
                        <a:pt x="183309" y="122904"/>
                      </a:cubicBezTo>
                      <a:cubicBezTo>
                        <a:pt x="139829" y="151671"/>
                        <a:pt x="96350" y="180498"/>
                        <a:pt x="51853" y="209983"/>
                      </a:cubicBezTo>
                      <a:cubicBezTo>
                        <a:pt x="34808" y="168058"/>
                        <a:pt x="17464" y="125475"/>
                        <a:pt x="0" y="82594"/>
                      </a:cubicBezTo>
                      <a:cubicBezTo>
                        <a:pt x="44437" y="55621"/>
                        <a:pt x="89950" y="27930"/>
                        <a:pt x="135882" y="0"/>
                      </a:cubicBezTo>
                      <a:cubicBezTo>
                        <a:pt x="152329" y="40489"/>
                        <a:pt x="168896" y="81158"/>
                        <a:pt x="185402" y="121767"/>
                      </a:cubicBezTo>
                      <a:cubicBezTo>
                        <a:pt x="185283" y="121827"/>
                        <a:pt x="185223" y="121887"/>
                        <a:pt x="185163" y="121947"/>
                      </a:cubicBezTo>
                      <a:close/>
                      <a:moveTo>
                        <a:pt x="135583" y="95811"/>
                      </a:moveTo>
                      <a:cubicBezTo>
                        <a:pt x="134925" y="93359"/>
                        <a:pt x="134447" y="90727"/>
                        <a:pt x="133550" y="88395"/>
                      </a:cubicBezTo>
                      <a:cubicBezTo>
                        <a:pt x="127509" y="73324"/>
                        <a:pt x="121349" y="58252"/>
                        <a:pt x="115189" y="43181"/>
                      </a:cubicBezTo>
                      <a:cubicBezTo>
                        <a:pt x="114890" y="43300"/>
                        <a:pt x="114651" y="43420"/>
                        <a:pt x="114351" y="43540"/>
                      </a:cubicBezTo>
                      <a:cubicBezTo>
                        <a:pt x="121409" y="60943"/>
                        <a:pt x="128466" y="78347"/>
                        <a:pt x="135583" y="95811"/>
                      </a:cubicBezTo>
                      <a:cubicBezTo>
                        <a:pt x="140667" y="108311"/>
                        <a:pt x="145750" y="120810"/>
                        <a:pt x="150834" y="133310"/>
                      </a:cubicBezTo>
                      <a:cubicBezTo>
                        <a:pt x="150774" y="133310"/>
                        <a:pt x="150774" y="133370"/>
                        <a:pt x="150714" y="133370"/>
                      </a:cubicBezTo>
                      <a:cubicBezTo>
                        <a:pt x="137497" y="103466"/>
                        <a:pt x="124339" y="73503"/>
                        <a:pt x="111062" y="43420"/>
                      </a:cubicBezTo>
                      <a:cubicBezTo>
                        <a:pt x="101493" y="49341"/>
                        <a:pt x="91864" y="55202"/>
                        <a:pt x="82355" y="61243"/>
                      </a:cubicBezTo>
                      <a:cubicBezTo>
                        <a:pt x="81158" y="62020"/>
                        <a:pt x="79364" y="63754"/>
                        <a:pt x="79603" y="64711"/>
                      </a:cubicBezTo>
                      <a:cubicBezTo>
                        <a:pt x="80142" y="66864"/>
                        <a:pt x="81517" y="69077"/>
                        <a:pt x="83072" y="70752"/>
                      </a:cubicBezTo>
                      <a:cubicBezTo>
                        <a:pt x="84029" y="71769"/>
                        <a:pt x="85824" y="71888"/>
                        <a:pt x="87259" y="72426"/>
                      </a:cubicBezTo>
                      <a:cubicBezTo>
                        <a:pt x="87438" y="72486"/>
                        <a:pt x="87498" y="72905"/>
                        <a:pt x="87678" y="73204"/>
                      </a:cubicBezTo>
                      <a:cubicBezTo>
                        <a:pt x="86123" y="73204"/>
                        <a:pt x="84687" y="73264"/>
                        <a:pt x="83611" y="73264"/>
                      </a:cubicBezTo>
                      <a:cubicBezTo>
                        <a:pt x="94555" y="100117"/>
                        <a:pt x="105321" y="126612"/>
                        <a:pt x="116205" y="153405"/>
                      </a:cubicBezTo>
                      <a:cubicBezTo>
                        <a:pt x="127150" y="147126"/>
                        <a:pt x="137557" y="141145"/>
                        <a:pt x="147963" y="135164"/>
                      </a:cubicBezTo>
                      <a:cubicBezTo>
                        <a:pt x="148143" y="135403"/>
                        <a:pt x="148262" y="135703"/>
                        <a:pt x="148442" y="135942"/>
                      </a:cubicBezTo>
                      <a:cubicBezTo>
                        <a:pt x="125117" y="151312"/>
                        <a:pt x="101852" y="166683"/>
                        <a:pt x="78288" y="182233"/>
                      </a:cubicBezTo>
                      <a:cubicBezTo>
                        <a:pt x="79424" y="184625"/>
                        <a:pt x="80262" y="186359"/>
                        <a:pt x="81338" y="188512"/>
                      </a:cubicBezTo>
                      <a:cubicBezTo>
                        <a:pt x="106218" y="172065"/>
                        <a:pt x="130679" y="155858"/>
                        <a:pt x="155200" y="139710"/>
                      </a:cubicBezTo>
                      <a:cubicBezTo>
                        <a:pt x="149459" y="125535"/>
                        <a:pt x="143896" y="111839"/>
                        <a:pt x="138215" y="98144"/>
                      </a:cubicBezTo>
                      <a:cubicBezTo>
                        <a:pt x="137676" y="97187"/>
                        <a:pt x="136420" y="96589"/>
                        <a:pt x="135583" y="95811"/>
                      </a:cubicBezTo>
                      <a:close/>
                      <a:moveTo>
                        <a:pt x="97247" y="44138"/>
                      </a:moveTo>
                      <a:cubicBezTo>
                        <a:pt x="90070" y="48982"/>
                        <a:pt x="82953" y="53946"/>
                        <a:pt x="75596" y="58551"/>
                      </a:cubicBezTo>
                      <a:cubicBezTo>
                        <a:pt x="63575" y="66147"/>
                        <a:pt x="51434" y="73503"/>
                        <a:pt x="39353" y="81099"/>
                      </a:cubicBezTo>
                      <a:cubicBezTo>
                        <a:pt x="38337" y="81756"/>
                        <a:pt x="37858" y="83431"/>
                        <a:pt x="37081" y="84567"/>
                      </a:cubicBezTo>
                      <a:cubicBezTo>
                        <a:pt x="37619" y="84986"/>
                        <a:pt x="38157" y="85464"/>
                        <a:pt x="38695" y="85883"/>
                      </a:cubicBezTo>
                      <a:cubicBezTo>
                        <a:pt x="49999" y="79005"/>
                        <a:pt x="61243" y="72127"/>
                        <a:pt x="72546" y="65190"/>
                      </a:cubicBezTo>
                      <a:cubicBezTo>
                        <a:pt x="72786" y="65608"/>
                        <a:pt x="73025" y="66087"/>
                        <a:pt x="73264" y="66506"/>
                      </a:cubicBezTo>
                      <a:cubicBezTo>
                        <a:pt x="61901" y="73623"/>
                        <a:pt x="50477" y="80680"/>
                        <a:pt x="39533" y="87498"/>
                      </a:cubicBezTo>
                      <a:cubicBezTo>
                        <a:pt x="51853" y="117760"/>
                        <a:pt x="63994" y="147664"/>
                        <a:pt x="76135" y="177508"/>
                      </a:cubicBezTo>
                      <a:cubicBezTo>
                        <a:pt x="76314" y="177448"/>
                        <a:pt x="76554" y="177328"/>
                        <a:pt x="76733" y="177268"/>
                      </a:cubicBezTo>
                      <a:cubicBezTo>
                        <a:pt x="64831" y="148023"/>
                        <a:pt x="52930" y="118777"/>
                        <a:pt x="41028" y="89531"/>
                      </a:cubicBezTo>
                      <a:cubicBezTo>
                        <a:pt x="41446" y="89352"/>
                        <a:pt x="41865" y="89173"/>
                        <a:pt x="42344" y="88993"/>
                      </a:cubicBezTo>
                      <a:cubicBezTo>
                        <a:pt x="54365" y="118598"/>
                        <a:pt x="66446" y="148202"/>
                        <a:pt x="78527" y="177926"/>
                      </a:cubicBezTo>
                      <a:cubicBezTo>
                        <a:pt x="90428" y="170869"/>
                        <a:pt x="101313" y="164410"/>
                        <a:pt x="112737" y="157652"/>
                      </a:cubicBezTo>
                      <a:cubicBezTo>
                        <a:pt x="99938" y="126193"/>
                        <a:pt x="87259" y="95034"/>
                        <a:pt x="74640" y="63994"/>
                      </a:cubicBezTo>
                      <a:cubicBezTo>
                        <a:pt x="75596" y="63037"/>
                        <a:pt x="76015" y="62379"/>
                        <a:pt x="76613" y="62020"/>
                      </a:cubicBezTo>
                      <a:cubicBezTo>
                        <a:pt x="87498" y="55441"/>
                        <a:pt x="98443" y="48982"/>
                        <a:pt x="109268" y="42284"/>
                      </a:cubicBezTo>
                      <a:cubicBezTo>
                        <a:pt x="110823" y="41327"/>
                        <a:pt x="111899" y="39592"/>
                        <a:pt x="113215" y="38217"/>
                      </a:cubicBezTo>
                      <a:cubicBezTo>
                        <a:pt x="112797" y="37738"/>
                        <a:pt x="112378" y="37260"/>
                        <a:pt x="111899" y="36781"/>
                      </a:cubicBezTo>
                      <a:cubicBezTo>
                        <a:pt x="106935" y="39234"/>
                        <a:pt x="102031" y="41745"/>
                        <a:pt x="97067" y="44198"/>
                      </a:cubicBezTo>
                      <a:cubicBezTo>
                        <a:pt x="101792" y="40968"/>
                        <a:pt x="106577" y="37798"/>
                        <a:pt x="111660" y="34389"/>
                      </a:cubicBezTo>
                      <a:cubicBezTo>
                        <a:pt x="109986" y="30322"/>
                        <a:pt x="108550" y="26794"/>
                        <a:pt x="107115" y="23205"/>
                      </a:cubicBezTo>
                      <a:cubicBezTo>
                        <a:pt x="107653" y="23026"/>
                        <a:pt x="108132" y="22787"/>
                        <a:pt x="108670" y="22607"/>
                      </a:cubicBezTo>
                      <a:cubicBezTo>
                        <a:pt x="123024" y="57834"/>
                        <a:pt x="137318" y="93060"/>
                        <a:pt x="151671" y="128286"/>
                      </a:cubicBezTo>
                      <a:cubicBezTo>
                        <a:pt x="151851" y="128227"/>
                        <a:pt x="152030" y="128107"/>
                        <a:pt x="152150" y="128047"/>
                      </a:cubicBezTo>
                      <a:cubicBezTo>
                        <a:pt x="137437" y="91804"/>
                        <a:pt x="122665" y="55621"/>
                        <a:pt x="107773" y="18899"/>
                      </a:cubicBezTo>
                      <a:cubicBezTo>
                        <a:pt x="71769" y="40848"/>
                        <a:pt x="36483" y="62259"/>
                        <a:pt x="2093" y="83192"/>
                      </a:cubicBezTo>
                      <a:cubicBezTo>
                        <a:pt x="17942" y="122126"/>
                        <a:pt x="33373" y="160044"/>
                        <a:pt x="48982" y="198440"/>
                      </a:cubicBezTo>
                      <a:cubicBezTo>
                        <a:pt x="57236" y="192998"/>
                        <a:pt x="64472" y="188213"/>
                        <a:pt x="71530" y="183488"/>
                      </a:cubicBezTo>
                      <a:cubicBezTo>
                        <a:pt x="56279" y="145989"/>
                        <a:pt x="41327" y="109148"/>
                        <a:pt x="26315" y="72367"/>
                      </a:cubicBezTo>
                      <a:cubicBezTo>
                        <a:pt x="26734" y="72187"/>
                        <a:pt x="27153" y="72008"/>
                        <a:pt x="27571" y="71828"/>
                      </a:cubicBezTo>
                      <a:cubicBezTo>
                        <a:pt x="42822" y="109328"/>
                        <a:pt x="58073" y="146827"/>
                        <a:pt x="73264" y="184087"/>
                      </a:cubicBezTo>
                      <a:cubicBezTo>
                        <a:pt x="65848" y="188931"/>
                        <a:pt x="58013" y="194134"/>
                        <a:pt x="50118" y="199278"/>
                      </a:cubicBezTo>
                      <a:cubicBezTo>
                        <a:pt x="51255" y="202029"/>
                        <a:pt x="52152" y="204242"/>
                        <a:pt x="53169" y="206813"/>
                      </a:cubicBezTo>
                      <a:cubicBezTo>
                        <a:pt x="61901" y="201012"/>
                        <a:pt x="70333" y="195390"/>
                        <a:pt x="78826" y="189768"/>
                      </a:cubicBezTo>
                      <a:cubicBezTo>
                        <a:pt x="62499" y="149638"/>
                        <a:pt x="46410" y="110165"/>
                        <a:pt x="30382" y="70632"/>
                      </a:cubicBezTo>
                      <a:cubicBezTo>
                        <a:pt x="30621" y="70513"/>
                        <a:pt x="30801" y="70393"/>
                        <a:pt x="31040" y="70273"/>
                      </a:cubicBezTo>
                      <a:cubicBezTo>
                        <a:pt x="32715" y="73802"/>
                        <a:pt x="34389" y="77331"/>
                        <a:pt x="36124" y="80919"/>
                      </a:cubicBezTo>
                      <a:cubicBezTo>
                        <a:pt x="56817" y="68599"/>
                        <a:pt x="77032" y="56338"/>
                        <a:pt x="97247" y="44138"/>
                      </a:cubicBezTo>
                      <a:close/>
                      <a:moveTo>
                        <a:pt x="134746" y="7655"/>
                      </a:moveTo>
                      <a:cubicBezTo>
                        <a:pt x="135105" y="7416"/>
                        <a:pt x="135404" y="7177"/>
                        <a:pt x="135762" y="6938"/>
                      </a:cubicBezTo>
                      <a:cubicBezTo>
                        <a:pt x="150056" y="42104"/>
                        <a:pt x="164351" y="77271"/>
                        <a:pt x="178704" y="112437"/>
                      </a:cubicBezTo>
                      <a:cubicBezTo>
                        <a:pt x="179123" y="112258"/>
                        <a:pt x="179541" y="112079"/>
                        <a:pt x="179960" y="111899"/>
                      </a:cubicBezTo>
                      <a:cubicBezTo>
                        <a:pt x="165188" y="75537"/>
                        <a:pt x="150415" y="39174"/>
                        <a:pt x="135404" y="2332"/>
                      </a:cubicBezTo>
                      <a:cubicBezTo>
                        <a:pt x="127509" y="7117"/>
                        <a:pt x="120452" y="11603"/>
                        <a:pt x="113156" y="15669"/>
                      </a:cubicBezTo>
                      <a:cubicBezTo>
                        <a:pt x="110045" y="17404"/>
                        <a:pt x="109687" y="19138"/>
                        <a:pt x="111182" y="22667"/>
                      </a:cubicBezTo>
                      <a:cubicBezTo>
                        <a:pt x="119674" y="42882"/>
                        <a:pt x="127928" y="63216"/>
                        <a:pt x="136540" y="83371"/>
                      </a:cubicBezTo>
                      <a:cubicBezTo>
                        <a:pt x="137557" y="85704"/>
                        <a:pt x="140368" y="87259"/>
                        <a:pt x="142341" y="89173"/>
                      </a:cubicBezTo>
                      <a:cubicBezTo>
                        <a:pt x="142581" y="89412"/>
                        <a:pt x="142760" y="89651"/>
                        <a:pt x="143059" y="90010"/>
                      </a:cubicBezTo>
                      <a:cubicBezTo>
                        <a:pt x="141863" y="90130"/>
                        <a:pt x="140786" y="90249"/>
                        <a:pt x="140069" y="90369"/>
                      </a:cubicBezTo>
                      <a:cubicBezTo>
                        <a:pt x="145272" y="103108"/>
                        <a:pt x="150296" y="115607"/>
                        <a:pt x="155559" y="128406"/>
                      </a:cubicBezTo>
                      <a:cubicBezTo>
                        <a:pt x="162616" y="123801"/>
                        <a:pt x="169135" y="119854"/>
                        <a:pt x="175295" y="115308"/>
                      </a:cubicBezTo>
                      <a:cubicBezTo>
                        <a:pt x="176431" y="114471"/>
                        <a:pt x="176910" y="111301"/>
                        <a:pt x="176312" y="109627"/>
                      </a:cubicBezTo>
                      <a:cubicBezTo>
                        <a:pt x="173501" y="102031"/>
                        <a:pt x="170271" y="94555"/>
                        <a:pt x="167161" y="87019"/>
                      </a:cubicBezTo>
                      <a:cubicBezTo>
                        <a:pt x="156276" y="60645"/>
                        <a:pt x="145511" y="34150"/>
                        <a:pt x="134746" y="7655"/>
                      </a:cubicBezTo>
                      <a:close/>
                      <a:moveTo>
                        <a:pt x="113335" y="153166"/>
                      </a:moveTo>
                      <a:cubicBezTo>
                        <a:pt x="113514" y="153107"/>
                        <a:pt x="113694" y="153047"/>
                        <a:pt x="113933" y="152987"/>
                      </a:cubicBezTo>
                      <a:cubicBezTo>
                        <a:pt x="102091" y="123921"/>
                        <a:pt x="90249" y="94794"/>
                        <a:pt x="78408" y="65728"/>
                      </a:cubicBezTo>
                      <a:cubicBezTo>
                        <a:pt x="78228" y="65788"/>
                        <a:pt x="78049" y="65907"/>
                        <a:pt x="77869" y="65967"/>
                      </a:cubicBezTo>
                      <a:cubicBezTo>
                        <a:pt x="89711" y="94974"/>
                        <a:pt x="101493" y="124100"/>
                        <a:pt x="113335" y="15316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30" name="Vrije vorm: vorm 9329">
                  <a:extLst>
                    <a:ext uri="{FF2B5EF4-FFF2-40B4-BE49-F238E27FC236}">
                      <a16:creationId xmlns:a16="http://schemas.microsoft.com/office/drawing/2014/main" id="{CD48F35C-DB5D-4824-9D36-FEC264024522}"/>
                    </a:ext>
                  </a:extLst>
                </p:cNvPr>
                <p:cNvSpPr/>
                <p:nvPr/>
              </p:nvSpPr>
              <p:spPr>
                <a:xfrm>
                  <a:off x="4596204" y="2199331"/>
                  <a:ext cx="131755" cy="150893"/>
                </a:xfrm>
                <a:custGeom>
                  <a:avLst/>
                  <a:gdLst>
                    <a:gd name="connsiteX0" fmla="*/ 44018 w 131755"/>
                    <a:gd name="connsiteY0" fmla="*/ 16925 h 150893"/>
                    <a:gd name="connsiteX1" fmla="*/ 67582 w 131755"/>
                    <a:gd name="connsiteY1" fmla="*/ 74938 h 150893"/>
                    <a:gd name="connsiteX2" fmla="*/ 69077 w 131755"/>
                    <a:gd name="connsiteY2" fmla="*/ 74281 h 150893"/>
                    <a:gd name="connsiteX3" fmla="*/ 48264 w 131755"/>
                    <a:gd name="connsiteY3" fmla="*/ 23086 h 150893"/>
                    <a:gd name="connsiteX4" fmla="*/ 49640 w 131755"/>
                    <a:gd name="connsiteY4" fmla="*/ 22547 h 150893"/>
                    <a:gd name="connsiteX5" fmla="*/ 70393 w 131755"/>
                    <a:gd name="connsiteY5" fmla="*/ 73503 h 150893"/>
                    <a:gd name="connsiteX6" fmla="*/ 74161 w 131755"/>
                    <a:gd name="connsiteY6" fmla="*/ 66207 h 150893"/>
                    <a:gd name="connsiteX7" fmla="*/ 57475 w 131755"/>
                    <a:gd name="connsiteY7" fmla="*/ 27631 h 150893"/>
                    <a:gd name="connsiteX8" fmla="*/ 55023 w 131755"/>
                    <a:gd name="connsiteY8" fmla="*/ 21650 h 150893"/>
                    <a:gd name="connsiteX9" fmla="*/ 56398 w 131755"/>
                    <a:gd name="connsiteY9" fmla="*/ 21112 h 150893"/>
                    <a:gd name="connsiteX10" fmla="*/ 75836 w 131755"/>
                    <a:gd name="connsiteY10" fmla="*/ 68898 h 150893"/>
                    <a:gd name="connsiteX11" fmla="*/ 76793 w 131755"/>
                    <a:gd name="connsiteY11" fmla="*/ 68479 h 150893"/>
                    <a:gd name="connsiteX12" fmla="*/ 59329 w 131755"/>
                    <a:gd name="connsiteY12" fmla="*/ 25538 h 150893"/>
                    <a:gd name="connsiteX13" fmla="*/ 60166 w 131755"/>
                    <a:gd name="connsiteY13" fmla="*/ 25119 h 150893"/>
                    <a:gd name="connsiteX14" fmla="*/ 78288 w 131755"/>
                    <a:gd name="connsiteY14" fmla="*/ 69675 h 150893"/>
                    <a:gd name="connsiteX15" fmla="*/ 83910 w 131755"/>
                    <a:gd name="connsiteY15" fmla="*/ 66386 h 150893"/>
                    <a:gd name="connsiteX16" fmla="*/ 72008 w 131755"/>
                    <a:gd name="connsiteY16" fmla="*/ 30561 h 150893"/>
                    <a:gd name="connsiteX17" fmla="*/ 72785 w 131755"/>
                    <a:gd name="connsiteY17" fmla="*/ 30203 h 150893"/>
                    <a:gd name="connsiteX18" fmla="*/ 86780 w 131755"/>
                    <a:gd name="connsiteY18" fmla="*/ 64592 h 150893"/>
                    <a:gd name="connsiteX19" fmla="*/ 92402 w 131755"/>
                    <a:gd name="connsiteY19" fmla="*/ 61482 h 150893"/>
                    <a:gd name="connsiteX20" fmla="*/ 82953 w 131755"/>
                    <a:gd name="connsiteY20" fmla="*/ 38277 h 150893"/>
                    <a:gd name="connsiteX21" fmla="*/ 84089 w 131755"/>
                    <a:gd name="connsiteY21" fmla="*/ 37798 h 150893"/>
                    <a:gd name="connsiteX22" fmla="*/ 131755 w 131755"/>
                    <a:gd name="connsiteY22" fmla="*/ 150236 h 150893"/>
                    <a:gd name="connsiteX23" fmla="*/ 130200 w 131755"/>
                    <a:gd name="connsiteY23" fmla="*/ 150894 h 150893"/>
                    <a:gd name="connsiteX24" fmla="*/ 94316 w 131755"/>
                    <a:gd name="connsiteY24" fmla="*/ 62678 h 150893"/>
                    <a:gd name="connsiteX25" fmla="*/ 88096 w 131755"/>
                    <a:gd name="connsiteY25" fmla="*/ 65788 h 150893"/>
                    <a:gd name="connsiteX26" fmla="*/ 92701 w 131755"/>
                    <a:gd name="connsiteY26" fmla="*/ 72187 h 150893"/>
                    <a:gd name="connsiteX27" fmla="*/ 93598 w 131755"/>
                    <a:gd name="connsiteY27" fmla="*/ 79424 h 150893"/>
                    <a:gd name="connsiteX28" fmla="*/ 119196 w 131755"/>
                    <a:gd name="connsiteY28" fmla="*/ 140069 h 150893"/>
                    <a:gd name="connsiteX29" fmla="*/ 120452 w 131755"/>
                    <a:gd name="connsiteY29" fmla="*/ 146169 h 150893"/>
                    <a:gd name="connsiteX30" fmla="*/ 115309 w 131755"/>
                    <a:gd name="connsiteY30" fmla="*/ 138753 h 150893"/>
                    <a:gd name="connsiteX31" fmla="*/ 91864 w 131755"/>
                    <a:gd name="connsiteY31" fmla="*/ 83790 h 150893"/>
                    <a:gd name="connsiteX32" fmla="*/ 88933 w 131755"/>
                    <a:gd name="connsiteY32" fmla="*/ 76553 h 150893"/>
                    <a:gd name="connsiteX33" fmla="*/ 84866 w 131755"/>
                    <a:gd name="connsiteY33" fmla="*/ 84029 h 150893"/>
                    <a:gd name="connsiteX34" fmla="*/ 105979 w 131755"/>
                    <a:gd name="connsiteY34" fmla="*/ 133310 h 150893"/>
                    <a:gd name="connsiteX35" fmla="*/ 107294 w 131755"/>
                    <a:gd name="connsiteY35" fmla="*/ 139112 h 150893"/>
                    <a:gd name="connsiteX36" fmla="*/ 96589 w 131755"/>
                    <a:gd name="connsiteY36" fmla="*/ 112737 h 150893"/>
                    <a:gd name="connsiteX37" fmla="*/ 95692 w 131755"/>
                    <a:gd name="connsiteY37" fmla="*/ 113095 h 150893"/>
                    <a:gd name="connsiteX38" fmla="*/ 104125 w 131755"/>
                    <a:gd name="connsiteY38" fmla="*/ 133789 h 150893"/>
                    <a:gd name="connsiteX39" fmla="*/ 102570 w 131755"/>
                    <a:gd name="connsiteY39" fmla="*/ 134447 h 150893"/>
                    <a:gd name="connsiteX40" fmla="*/ 80919 w 131755"/>
                    <a:gd name="connsiteY40" fmla="*/ 81218 h 150893"/>
                    <a:gd name="connsiteX41" fmla="*/ 76912 w 131755"/>
                    <a:gd name="connsiteY41" fmla="*/ 88216 h 150893"/>
                    <a:gd name="connsiteX42" fmla="*/ 91505 w 131755"/>
                    <a:gd name="connsiteY42" fmla="*/ 123083 h 150893"/>
                    <a:gd name="connsiteX43" fmla="*/ 93897 w 131755"/>
                    <a:gd name="connsiteY43" fmla="*/ 128944 h 150893"/>
                    <a:gd name="connsiteX44" fmla="*/ 92223 w 131755"/>
                    <a:gd name="connsiteY44" fmla="*/ 129602 h 150893"/>
                    <a:gd name="connsiteX45" fmla="*/ 74161 w 131755"/>
                    <a:gd name="connsiteY45" fmla="*/ 85165 h 150893"/>
                    <a:gd name="connsiteX46" fmla="*/ 72726 w 131755"/>
                    <a:gd name="connsiteY46" fmla="*/ 85823 h 150893"/>
                    <a:gd name="connsiteX47" fmla="*/ 89771 w 131755"/>
                    <a:gd name="connsiteY47" fmla="*/ 127748 h 150893"/>
                    <a:gd name="connsiteX48" fmla="*/ 88515 w 131755"/>
                    <a:gd name="connsiteY48" fmla="*/ 128287 h 150893"/>
                    <a:gd name="connsiteX49" fmla="*/ 71410 w 131755"/>
                    <a:gd name="connsiteY49" fmla="*/ 86242 h 150893"/>
                    <a:gd name="connsiteX50" fmla="*/ 66565 w 131755"/>
                    <a:gd name="connsiteY50" fmla="*/ 89173 h 150893"/>
                    <a:gd name="connsiteX51" fmla="*/ 80202 w 131755"/>
                    <a:gd name="connsiteY51" fmla="*/ 122665 h 150893"/>
                    <a:gd name="connsiteX52" fmla="*/ 79065 w 131755"/>
                    <a:gd name="connsiteY52" fmla="*/ 123143 h 150893"/>
                    <a:gd name="connsiteX53" fmla="*/ 65728 w 131755"/>
                    <a:gd name="connsiteY53" fmla="*/ 90309 h 150893"/>
                    <a:gd name="connsiteX54" fmla="*/ 64353 w 131755"/>
                    <a:gd name="connsiteY54" fmla="*/ 90907 h 150893"/>
                    <a:gd name="connsiteX55" fmla="*/ 77092 w 131755"/>
                    <a:gd name="connsiteY55" fmla="*/ 122246 h 150893"/>
                    <a:gd name="connsiteX56" fmla="*/ 75836 w 131755"/>
                    <a:gd name="connsiteY56" fmla="*/ 122784 h 150893"/>
                    <a:gd name="connsiteX57" fmla="*/ 64891 w 131755"/>
                    <a:gd name="connsiteY57" fmla="*/ 95871 h 150893"/>
                    <a:gd name="connsiteX58" fmla="*/ 58432 w 131755"/>
                    <a:gd name="connsiteY58" fmla="*/ 94017 h 150893"/>
                    <a:gd name="connsiteX59" fmla="*/ 68300 w 131755"/>
                    <a:gd name="connsiteY59" fmla="*/ 118179 h 150893"/>
                    <a:gd name="connsiteX60" fmla="*/ 67523 w 131755"/>
                    <a:gd name="connsiteY60" fmla="*/ 118538 h 150893"/>
                    <a:gd name="connsiteX61" fmla="*/ 55142 w 131755"/>
                    <a:gd name="connsiteY61" fmla="*/ 96170 h 150893"/>
                    <a:gd name="connsiteX62" fmla="*/ 53288 w 131755"/>
                    <a:gd name="connsiteY62" fmla="*/ 102749 h 150893"/>
                    <a:gd name="connsiteX63" fmla="*/ 56219 w 131755"/>
                    <a:gd name="connsiteY63" fmla="*/ 112139 h 150893"/>
                    <a:gd name="connsiteX64" fmla="*/ 49521 w 131755"/>
                    <a:gd name="connsiteY64" fmla="*/ 98263 h 150893"/>
                    <a:gd name="connsiteX65" fmla="*/ 43540 w 131755"/>
                    <a:gd name="connsiteY65" fmla="*/ 103347 h 150893"/>
                    <a:gd name="connsiteX66" fmla="*/ 0 w 131755"/>
                    <a:gd name="connsiteY66" fmla="*/ 718 h 150893"/>
                    <a:gd name="connsiteX67" fmla="*/ 1615 w 131755"/>
                    <a:gd name="connsiteY67" fmla="*/ 0 h 150893"/>
                    <a:gd name="connsiteX68" fmla="*/ 39293 w 131755"/>
                    <a:gd name="connsiteY68" fmla="*/ 92582 h 150893"/>
                    <a:gd name="connsiteX69" fmla="*/ 45095 w 131755"/>
                    <a:gd name="connsiteY69" fmla="*/ 89531 h 150893"/>
                    <a:gd name="connsiteX70" fmla="*/ 8732 w 131755"/>
                    <a:gd name="connsiteY70" fmla="*/ 6818 h 150893"/>
                    <a:gd name="connsiteX71" fmla="*/ 10406 w 131755"/>
                    <a:gd name="connsiteY71" fmla="*/ 5682 h 150893"/>
                    <a:gd name="connsiteX72" fmla="*/ 13935 w 131755"/>
                    <a:gd name="connsiteY72" fmla="*/ 10765 h 150893"/>
                    <a:gd name="connsiteX73" fmla="*/ 44018 w 131755"/>
                    <a:gd name="connsiteY73" fmla="*/ 81457 h 150893"/>
                    <a:gd name="connsiteX74" fmla="*/ 46709 w 131755"/>
                    <a:gd name="connsiteY74" fmla="*/ 88096 h 150893"/>
                    <a:gd name="connsiteX75" fmla="*/ 51135 w 131755"/>
                    <a:gd name="connsiteY75" fmla="*/ 86003 h 150893"/>
                    <a:gd name="connsiteX76" fmla="*/ 20215 w 131755"/>
                    <a:gd name="connsiteY76" fmla="*/ 9988 h 150893"/>
                    <a:gd name="connsiteX77" fmla="*/ 20634 w 131755"/>
                    <a:gd name="connsiteY77" fmla="*/ 9330 h 150893"/>
                    <a:gd name="connsiteX78" fmla="*/ 24700 w 131755"/>
                    <a:gd name="connsiteY78" fmla="*/ 14892 h 150893"/>
                    <a:gd name="connsiteX79" fmla="*/ 52212 w 131755"/>
                    <a:gd name="connsiteY79" fmla="*/ 79364 h 150893"/>
                    <a:gd name="connsiteX80" fmla="*/ 55860 w 131755"/>
                    <a:gd name="connsiteY80" fmla="*/ 84388 h 150893"/>
                    <a:gd name="connsiteX81" fmla="*/ 57056 w 131755"/>
                    <a:gd name="connsiteY81" fmla="*/ 92103 h 150893"/>
                    <a:gd name="connsiteX82" fmla="*/ 60106 w 131755"/>
                    <a:gd name="connsiteY82" fmla="*/ 84926 h 150893"/>
                    <a:gd name="connsiteX83" fmla="*/ 30801 w 131755"/>
                    <a:gd name="connsiteY83" fmla="*/ 15909 h 150893"/>
                    <a:gd name="connsiteX84" fmla="*/ 30621 w 131755"/>
                    <a:gd name="connsiteY84" fmla="*/ 14354 h 150893"/>
                    <a:gd name="connsiteX85" fmla="*/ 31937 w 131755"/>
                    <a:gd name="connsiteY85" fmla="*/ 13815 h 150893"/>
                    <a:gd name="connsiteX86" fmla="*/ 62260 w 131755"/>
                    <a:gd name="connsiteY86" fmla="*/ 88276 h 150893"/>
                    <a:gd name="connsiteX87" fmla="*/ 63755 w 131755"/>
                    <a:gd name="connsiteY87" fmla="*/ 87677 h 150893"/>
                    <a:gd name="connsiteX88" fmla="*/ 33970 w 131755"/>
                    <a:gd name="connsiteY88" fmla="*/ 14414 h 150893"/>
                    <a:gd name="connsiteX89" fmla="*/ 34868 w 131755"/>
                    <a:gd name="connsiteY89" fmla="*/ 13995 h 150893"/>
                    <a:gd name="connsiteX90" fmla="*/ 64592 w 131755"/>
                    <a:gd name="connsiteY90" fmla="*/ 87079 h 150893"/>
                    <a:gd name="connsiteX91" fmla="*/ 68778 w 131755"/>
                    <a:gd name="connsiteY91" fmla="*/ 80680 h 150893"/>
                    <a:gd name="connsiteX92" fmla="*/ 44556 w 131755"/>
                    <a:gd name="connsiteY92" fmla="*/ 23385 h 150893"/>
                    <a:gd name="connsiteX93" fmla="*/ 42164 w 131755"/>
                    <a:gd name="connsiteY93" fmla="*/ 17464 h 150893"/>
                    <a:gd name="connsiteX94" fmla="*/ 44018 w 131755"/>
                    <a:gd name="connsiteY94" fmla="*/ 16925 h 150893"/>
                    <a:gd name="connsiteX95" fmla="*/ 91445 w 131755"/>
                    <a:gd name="connsiteY95" fmla="*/ 77749 h 150893"/>
                    <a:gd name="connsiteX96" fmla="*/ 91087 w 131755"/>
                    <a:gd name="connsiteY96" fmla="*/ 77809 h 150893"/>
                    <a:gd name="connsiteX97" fmla="*/ 108251 w 131755"/>
                    <a:gd name="connsiteY97" fmla="*/ 119973 h 150893"/>
                    <a:gd name="connsiteX98" fmla="*/ 108610 w 131755"/>
                    <a:gd name="connsiteY98" fmla="*/ 119854 h 150893"/>
                    <a:gd name="connsiteX99" fmla="*/ 91445 w 131755"/>
                    <a:gd name="connsiteY99" fmla="*/ 77749 h 150893"/>
                    <a:gd name="connsiteX100" fmla="*/ 82474 w 131755"/>
                    <a:gd name="connsiteY100" fmla="*/ 77271 h 150893"/>
                    <a:gd name="connsiteX101" fmla="*/ 84388 w 131755"/>
                    <a:gd name="connsiteY101" fmla="*/ 68121 h 150893"/>
                    <a:gd name="connsiteX102" fmla="*/ 79723 w 131755"/>
                    <a:gd name="connsiteY102" fmla="*/ 70573 h 150893"/>
                    <a:gd name="connsiteX103" fmla="*/ 82474 w 131755"/>
                    <a:gd name="connsiteY103" fmla="*/ 77271 h 150893"/>
                    <a:gd name="connsiteX104" fmla="*/ 43540 w 131755"/>
                    <a:gd name="connsiteY104" fmla="*/ 100536 h 150893"/>
                    <a:gd name="connsiteX105" fmla="*/ 48922 w 131755"/>
                    <a:gd name="connsiteY105" fmla="*/ 97306 h 150893"/>
                    <a:gd name="connsiteX106" fmla="*/ 46171 w 131755"/>
                    <a:gd name="connsiteY106" fmla="*/ 90488 h 150893"/>
                    <a:gd name="connsiteX107" fmla="*/ 40968 w 131755"/>
                    <a:gd name="connsiteY107" fmla="*/ 94196 h 150893"/>
                    <a:gd name="connsiteX108" fmla="*/ 43540 w 131755"/>
                    <a:gd name="connsiteY108" fmla="*/ 100536 h 150893"/>
                    <a:gd name="connsiteX109" fmla="*/ 74759 w 131755"/>
                    <a:gd name="connsiteY109" fmla="*/ 82474 h 150893"/>
                    <a:gd name="connsiteX110" fmla="*/ 79245 w 131755"/>
                    <a:gd name="connsiteY110" fmla="*/ 79544 h 150893"/>
                    <a:gd name="connsiteX111" fmla="*/ 76553 w 131755"/>
                    <a:gd name="connsiteY111" fmla="*/ 72845 h 150893"/>
                    <a:gd name="connsiteX112" fmla="*/ 71829 w 131755"/>
                    <a:gd name="connsiteY112" fmla="*/ 75238 h 150893"/>
                    <a:gd name="connsiteX113" fmla="*/ 74759 w 131755"/>
                    <a:gd name="connsiteY113" fmla="*/ 82474 h 150893"/>
                    <a:gd name="connsiteX114" fmla="*/ 52271 w 131755"/>
                    <a:gd name="connsiteY114" fmla="*/ 88156 h 150893"/>
                    <a:gd name="connsiteX115" fmla="*/ 51195 w 131755"/>
                    <a:gd name="connsiteY115" fmla="*/ 95991 h 150893"/>
                    <a:gd name="connsiteX116" fmla="*/ 52271 w 131755"/>
                    <a:gd name="connsiteY116" fmla="*/ 88156 h 150893"/>
                    <a:gd name="connsiteX117" fmla="*/ 82713 w 131755"/>
                    <a:gd name="connsiteY117" fmla="*/ 82056 h 150893"/>
                    <a:gd name="connsiteX118" fmla="*/ 82056 w 131755"/>
                    <a:gd name="connsiteY118" fmla="*/ 81757 h 150893"/>
                    <a:gd name="connsiteX119" fmla="*/ 92043 w 131755"/>
                    <a:gd name="connsiteY119" fmla="*/ 106218 h 150893"/>
                    <a:gd name="connsiteX120" fmla="*/ 92522 w 131755"/>
                    <a:gd name="connsiteY120" fmla="*/ 106038 h 150893"/>
                    <a:gd name="connsiteX121" fmla="*/ 82713 w 131755"/>
                    <a:gd name="connsiteY121" fmla="*/ 82056 h 15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31755" h="150893">
                      <a:moveTo>
                        <a:pt x="44018" y="16925"/>
                      </a:moveTo>
                      <a:cubicBezTo>
                        <a:pt x="51853" y="36243"/>
                        <a:pt x="59747" y="55561"/>
                        <a:pt x="67582" y="74938"/>
                      </a:cubicBezTo>
                      <a:cubicBezTo>
                        <a:pt x="68061" y="74699"/>
                        <a:pt x="68539" y="74520"/>
                        <a:pt x="69077" y="74281"/>
                      </a:cubicBezTo>
                      <a:cubicBezTo>
                        <a:pt x="62140" y="57236"/>
                        <a:pt x="55202" y="40131"/>
                        <a:pt x="48264" y="23086"/>
                      </a:cubicBezTo>
                      <a:cubicBezTo>
                        <a:pt x="48743" y="22906"/>
                        <a:pt x="49162" y="22727"/>
                        <a:pt x="49640" y="22547"/>
                      </a:cubicBezTo>
                      <a:cubicBezTo>
                        <a:pt x="56578" y="39592"/>
                        <a:pt x="63515" y="56578"/>
                        <a:pt x="70393" y="73503"/>
                      </a:cubicBezTo>
                      <a:cubicBezTo>
                        <a:pt x="75477" y="72606"/>
                        <a:pt x="76015" y="70333"/>
                        <a:pt x="74161" y="66207"/>
                      </a:cubicBezTo>
                      <a:cubicBezTo>
                        <a:pt x="68479" y="53408"/>
                        <a:pt x="62977" y="40490"/>
                        <a:pt x="57475" y="27631"/>
                      </a:cubicBezTo>
                      <a:cubicBezTo>
                        <a:pt x="56638" y="25657"/>
                        <a:pt x="55860" y="23624"/>
                        <a:pt x="55023" y="21650"/>
                      </a:cubicBezTo>
                      <a:cubicBezTo>
                        <a:pt x="55501" y="21471"/>
                        <a:pt x="55920" y="21291"/>
                        <a:pt x="56398" y="21112"/>
                      </a:cubicBezTo>
                      <a:cubicBezTo>
                        <a:pt x="62857" y="37021"/>
                        <a:pt x="69377" y="52929"/>
                        <a:pt x="75836" y="68898"/>
                      </a:cubicBezTo>
                      <a:cubicBezTo>
                        <a:pt x="76135" y="68778"/>
                        <a:pt x="76494" y="68599"/>
                        <a:pt x="76793" y="68479"/>
                      </a:cubicBezTo>
                      <a:cubicBezTo>
                        <a:pt x="70991" y="54185"/>
                        <a:pt x="65130" y="39832"/>
                        <a:pt x="59329" y="25538"/>
                      </a:cubicBezTo>
                      <a:cubicBezTo>
                        <a:pt x="59628" y="25418"/>
                        <a:pt x="59927" y="25299"/>
                        <a:pt x="60166" y="25119"/>
                      </a:cubicBezTo>
                      <a:cubicBezTo>
                        <a:pt x="66087" y="39712"/>
                        <a:pt x="72068" y="54365"/>
                        <a:pt x="78288" y="69675"/>
                      </a:cubicBezTo>
                      <a:cubicBezTo>
                        <a:pt x="80740" y="68240"/>
                        <a:pt x="82235" y="67403"/>
                        <a:pt x="83910" y="66386"/>
                      </a:cubicBezTo>
                      <a:cubicBezTo>
                        <a:pt x="79902" y="54245"/>
                        <a:pt x="75955" y="42403"/>
                        <a:pt x="72008" y="30561"/>
                      </a:cubicBezTo>
                      <a:cubicBezTo>
                        <a:pt x="72247" y="30442"/>
                        <a:pt x="72486" y="30322"/>
                        <a:pt x="72785" y="30203"/>
                      </a:cubicBezTo>
                      <a:cubicBezTo>
                        <a:pt x="77391" y="41446"/>
                        <a:pt x="81936" y="52750"/>
                        <a:pt x="86780" y="64592"/>
                      </a:cubicBezTo>
                      <a:cubicBezTo>
                        <a:pt x="89173" y="63276"/>
                        <a:pt x="90668" y="62439"/>
                        <a:pt x="92402" y="61482"/>
                      </a:cubicBezTo>
                      <a:cubicBezTo>
                        <a:pt x="89173" y="53587"/>
                        <a:pt x="86063" y="45932"/>
                        <a:pt x="82953" y="38277"/>
                      </a:cubicBezTo>
                      <a:cubicBezTo>
                        <a:pt x="83311" y="38097"/>
                        <a:pt x="83730" y="37978"/>
                        <a:pt x="84089" y="37798"/>
                      </a:cubicBezTo>
                      <a:cubicBezTo>
                        <a:pt x="99998" y="75297"/>
                        <a:pt x="115847" y="112737"/>
                        <a:pt x="131755" y="150236"/>
                      </a:cubicBezTo>
                      <a:cubicBezTo>
                        <a:pt x="131217" y="150475"/>
                        <a:pt x="130739" y="150654"/>
                        <a:pt x="130200" y="150894"/>
                      </a:cubicBezTo>
                      <a:cubicBezTo>
                        <a:pt x="118299" y="121648"/>
                        <a:pt x="106397" y="92462"/>
                        <a:pt x="94316" y="62678"/>
                      </a:cubicBezTo>
                      <a:cubicBezTo>
                        <a:pt x="91505" y="64113"/>
                        <a:pt x="89950" y="64891"/>
                        <a:pt x="88096" y="65788"/>
                      </a:cubicBezTo>
                      <a:cubicBezTo>
                        <a:pt x="89591" y="68659"/>
                        <a:pt x="88694" y="73443"/>
                        <a:pt x="92701" y="72187"/>
                      </a:cubicBezTo>
                      <a:cubicBezTo>
                        <a:pt x="92941" y="74460"/>
                        <a:pt x="92701" y="77211"/>
                        <a:pt x="93598" y="79424"/>
                      </a:cubicBezTo>
                      <a:cubicBezTo>
                        <a:pt x="102031" y="99699"/>
                        <a:pt x="110643" y="119854"/>
                        <a:pt x="119196" y="140069"/>
                      </a:cubicBezTo>
                      <a:cubicBezTo>
                        <a:pt x="119973" y="141863"/>
                        <a:pt x="120691" y="143717"/>
                        <a:pt x="120452" y="146169"/>
                      </a:cubicBezTo>
                      <a:cubicBezTo>
                        <a:pt x="118718" y="143717"/>
                        <a:pt x="116505" y="141444"/>
                        <a:pt x="115309" y="138753"/>
                      </a:cubicBezTo>
                      <a:cubicBezTo>
                        <a:pt x="107354" y="120511"/>
                        <a:pt x="99639" y="102151"/>
                        <a:pt x="91864" y="83790"/>
                      </a:cubicBezTo>
                      <a:cubicBezTo>
                        <a:pt x="90847" y="81398"/>
                        <a:pt x="89890" y="79005"/>
                        <a:pt x="88933" y="76553"/>
                      </a:cubicBezTo>
                      <a:cubicBezTo>
                        <a:pt x="84089" y="77391"/>
                        <a:pt x="82833" y="79364"/>
                        <a:pt x="84866" y="84029"/>
                      </a:cubicBezTo>
                      <a:cubicBezTo>
                        <a:pt x="92043" y="100416"/>
                        <a:pt x="98981" y="116863"/>
                        <a:pt x="105979" y="133310"/>
                      </a:cubicBezTo>
                      <a:cubicBezTo>
                        <a:pt x="106756" y="135104"/>
                        <a:pt x="107474" y="136958"/>
                        <a:pt x="107294" y="139112"/>
                      </a:cubicBezTo>
                      <a:cubicBezTo>
                        <a:pt x="103706" y="130320"/>
                        <a:pt x="100117" y="121528"/>
                        <a:pt x="96589" y="112737"/>
                      </a:cubicBezTo>
                      <a:cubicBezTo>
                        <a:pt x="96290" y="112856"/>
                        <a:pt x="95991" y="112976"/>
                        <a:pt x="95692" y="113095"/>
                      </a:cubicBezTo>
                      <a:cubicBezTo>
                        <a:pt x="98503" y="119973"/>
                        <a:pt x="101313" y="126911"/>
                        <a:pt x="104125" y="133789"/>
                      </a:cubicBezTo>
                      <a:cubicBezTo>
                        <a:pt x="103586" y="134028"/>
                        <a:pt x="103108" y="134207"/>
                        <a:pt x="102570" y="134447"/>
                      </a:cubicBezTo>
                      <a:cubicBezTo>
                        <a:pt x="95333" y="116684"/>
                        <a:pt x="88096" y="98861"/>
                        <a:pt x="80919" y="81218"/>
                      </a:cubicBezTo>
                      <a:cubicBezTo>
                        <a:pt x="76135" y="82235"/>
                        <a:pt x="75118" y="84089"/>
                        <a:pt x="76912" y="88216"/>
                      </a:cubicBezTo>
                      <a:cubicBezTo>
                        <a:pt x="81936" y="99758"/>
                        <a:pt x="86661" y="111421"/>
                        <a:pt x="91505" y="123083"/>
                      </a:cubicBezTo>
                      <a:cubicBezTo>
                        <a:pt x="92342" y="125057"/>
                        <a:pt x="93120" y="127030"/>
                        <a:pt x="93897" y="128944"/>
                      </a:cubicBezTo>
                      <a:cubicBezTo>
                        <a:pt x="93359" y="129184"/>
                        <a:pt x="92821" y="129363"/>
                        <a:pt x="92223" y="129602"/>
                      </a:cubicBezTo>
                      <a:cubicBezTo>
                        <a:pt x="86182" y="114770"/>
                        <a:pt x="80202" y="99998"/>
                        <a:pt x="74161" y="85165"/>
                      </a:cubicBezTo>
                      <a:cubicBezTo>
                        <a:pt x="73683" y="85405"/>
                        <a:pt x="73204" y="85584"/>
                        <a:pt x="72726" y="85823"/>
                      </a:cubicBezTo>
                      <a:cubicBezTo>
                        <a:pt x="78407" y="99818"/>
                        <a:pt x="84089" y="113753"/>
                        <a:pt x="89771" y="127748"/>
                      </a:cubicBezTo>
                      <a:cubicBezTo>
                        <a:pt x="89352" y="127928"/>
                        <a:pt x="88933" y="128107"/>
                        <a:pt x="88515" y="128287"/>
                      </a:cubicBezTo>
                      <a:cubicBezTo>
                        <a:pt x="82893" y="114411"/>
                        <a:pt x="77271" y="100596"/>
                        <a:pt x="71410" y="86242"/>
                      </a:cubicBezTo>
                      <a:cubicBezTo>
                        <a:pt x="69197" y="87618"/>
                        <a:pt x="67881" y="88395"/>
                        <a:pt x="66565" y="89173"/>
                      </a:cubicBezTo>
                      <a:cubicBezTo>
                        <a:pt x="71231" y="100596"/>
                        <a:pt x="75716" y="111660"/>
                        <a:pt x="80202" y="122665"/>
                      </a:cubicBezTo>
                      <a:cubicBezTo>
                        <a:pt x="79843" y="122844"/>
                        <a:pt x="79424" y="123023"/>
                        <a:pt x="79065" y="123143"/>
                      </a:cubicBezTo>
                      <a:cubicBezTo>
                        <a:pt x="74640" y="112198"/>
                        <a:pt x="70154" y="101254"/>
                        <a:pt x="65728" y="90309"/>
                      </a:cubicBezTo>
                      <a:cubicBezTo>
                        <a:pt x="65250" y="90488"/>
                        <a:pt x="64831" y="90728"/>
                        <a:pt x="64353" y="90907"/>
                      </a:cubicBezTo>
                      <a:cubicBezTo>
                        <a:pt x="68599" y="101373"/>
                        <a:pt x="72845" y="111840"/>
                        <a:pt x="77092" y="122246"/>
                      </a:cubicBezTo>
                      <a:cubicBezTo>
                        <a:pt x="76673" y="122425"/>
                        <a:pt x="76254" y="122605"/>
                        <a:pt x="75836" y="122784"/>
                      </a:cubicBezTo>
                      <a:cubicBezTo>
                        <a:pt x="72187" y="113813"/>
                        <a:pt x="68479" y="104842"/>
                        <a:pt x="64891" y="95871"/>
                      </a:cubicBezTo>
                      <a:cubicBezTo>
                        <a:pt x="63455" y="92282"/>
                        <a:pt x="61781" y="90668"/>
                        <a:pt x="58432" y="94017"/>
                      </a:cubicBezTo>
                      <a:cubicBezTo>
                        <a:pt x="61661" y="101912"/>
                        <a:pt x="64951" y="110045"/>
                        <a:pt x="68300" y="118179"/>
                      </a:cubicBezTo>
                      <a:cubicBezTo>
                        <a:pt x="68061" y="118299"/>
                        <a:pt x="67762" y="118418"/>
                        <a:pt x="67523" y="118538"/>
                      </a:cubicBezTo>
                      <a:cubicBezTo>
                        <a:pt x="63396" y="111122"/>
                        <a:pt x="59329" y="103766"/>
                        <a:pt x="55142" y="96170"/>
                      </a:cubicBezTo>
                      <a:cubicBezTo>
                        <a:pt x="50417" y="96529"/>
                        <a:pt x="51913" y="99579"/>
                        <a:pt x="53288" y="102749"/>
                      </a:cubicBezTo>
                      <a:cubicBezTo>
                        <a:pt x="54604" y="105739"/>
                        <a:pt x="55740" y="108729"/>
                        <a:pt x="56219" y="112139"/>
                      </a:cubicBezTo>
                      <a:cubicBezTo>
                        <a:pt x="54125" y="107773"/>
                        <a:pt x="51972" y="103467"/>
                        <a:pt x="49521" y="98263"/>
                      </a:cubicBezTo>
                      <a:cubicBezTo>
                        <a:pt x="47308" y="100117"/>
                        <a:pt x="45454" y="101732"/>
                        <a:pt x="43540" y="103347"/>
                      </a:cubicBezTo>
                      <a:cubicBezTo>
                        <a:pt x="29246" y="69675"/>
                        <a:pt x="14593" y="35167"/>
                        <a:pt x="0" y="718"/>
                      </a:cubicBezTo>
                      <a:cubicBezTo>
                        <a:pt x="538" y="478"/>
                        <a:pt x="1076" y="239"/>
                        <a:pt x="1615" y="0"/>
                      </a:cubicBezTo>
                      <a:cubicBezTo>
                        <a:pt x="14055" y="30681"/>
                        <a:pt x="26554" y="61302"/>
                        <a:pt x="39293" y="92582"/>
                      </a:cubicBezTo>
                      <a:cubicBezTo>
                        <a:pt x="42164" y="91086"/>
                        <a:pt x="43839" y="90189"/>
                        <a:pt x="45095" y="89531"/>
                      </a:cubicBezTo>
                      <a:cubicBezTo>
                        <a:pt x="32834" y="61661"/>
                        <a:pt x="20813" y="34270"/>
                        <a:pt x="8732" y="6818"/>
                      </a:cubicBezTo>
                      <a:cubicBezTo>
                        <a:pt x="9270" y="6459"/>
                        <a:pt x="9808" y="6041"/>
                        <a:pt x="10406" y="5682"/>
                      </a:cubicBezTo>
                      <a:cubicBezTo>
                        <a:pt x="11603" y="7356"/>
                        <a:pt x="13098" y="8911"/>
                        <a:pt x="13935" y="10765"/>
                      </a:cubicBezTo>
                      <a:cubicBezTo>
                        <a:pt x="24043" y="34270"/>
                        <a:pt x="33970" y="57893"/>
                        <a:pt x="44018" y="81457"/>
                      </a:cubicBezTo>
                      <a:cubicBezTo>
                        <a:pt x="44855" y="83491"/>
                        <a:pt x="45693" y="85524"/>
                        <a:pt x="46709" y="88096"/>
                      </a:cubicBezTo>
                      <a:cubicBezTo>
                        <a:pt x="48563" y="87199"/>
                        <a:pt x="49939" y="86541"/>
                        <a:pt x="51135" y="86003"/>
                      </a:cubicBezTo>
                      <a:cubicBezTo>
                        <a:pt x="40669" y="60345"/>
                        <a:pt x="30442" y="35167"/>
                        <a:pt x="20215" y="9988"/>
                      </a:cubicBezTo>
                      <a:cubicBezTo>
                        <a:pt x="20335" y="9749"/>
                        <a:pt x="20514" y="9569"/>
                        <a:pt x="20634" y="9330"/>
                      </a:cubicBezTo>
                      <a:cubicBezTo>
                        <a:pt x="22009" y="11184"/>
                        <a:pt x="23804" y="12799"/>
                        <a:pt x="24700" y="14892"/>
                      </a:cubicBezTo>
                      <a:cubicBezTo>
                        <a:pt x="33970" y="36363"/>
                        <a:pt x="43001" y="57893"/>
                        <a:pt x="52212" y="79364"/>
                      </a:cubicBezTo>
                      <a:cubicBezTo>
                        <a:pt x="53049" y="81278"/>
                        <a:pt x="54664" y="82773"/>
                        <a:pt x="55860" y="84388"/>
                      </a:cubicBezTo>
                      <a:cubicBezTo>
                        <a:pt x="56219" y="86601"/>
                        <a:pt x="56638" y="89232"/>
                        <a:pt x="57056" y="92103"/>
                      </a:cubicBezTo>
                      <a:cubicBezTo>
                        <a:pt x="62260" y="91027"/>
                        <a:pt x="61661" y="88515"/>
                        <a:pt x="60106" y="84926"/>
                      </a:cubicBezTo>
                      <a:cubicBezTo>
                        <a:pt x="50238" y="61960"/>
                        <a:pt x="40549" y="38935"/>
                        <a:pt x="30801" y="15909"/>
                      </a:cubicBezTo>
                      <a:cubicBezTo>
                        <a:pt x="30621" y="15430"/>
                        <a:pt x="30681" y="14892"/>
                        <a:pt x="30621" y="14354"/>
                      </a:cubicBezTo>
                      <a:cubicBezTo>
                        <a:pt x="31040" y="14174"/>
                        <a:pt x="31519" y="13995"/>
                        <a:pt x="31937" y="13815"/>
                      </a:cubicBezTo>
                      <a:cubicBezTo>
                        <a:pt x="42045" y="38636"/>
                        <a:pt x="52152" y="63456"/>
                        <a:pt x="62260" y="88276"/>
                      </a:cubicBezTo>
                      <a:cubicBezTo>
                        <a:pt x="62738" y="88096"/>
                        <a:pt x="63216" y="87857"/>
                        <a:pt x="63755" y="87677"/>
                      </a:cubicBezTo>
                      <a:cubicBezTo>
                        <a:pt x="53827" y="63276"/>
                        <a:pt x="43899" y="38815"/>
                        <a:pt x="33970" y="14414"/>
                      </a:cubicBezTo>
                      <a:cubicBezTo>
                        <a:pt x="34270" y="14294"/>
                        <a:pt x="34569" y="14174"/>
                        <a:pt x="34868" y="13995"/>
                      </a:cubicBezTo>
                      <a:cubicBezTo>
                        <a:pt x="44796" y="38336"/>
                        <a:pt x="54664" y="62738"/>
                        <a:pt x="64592" y="87079"/>
                      </a:cubicBezTo>
                      <a:cubicBezTo>
                        <a:pt x="69556" y="86481"/>
                        <a:pt x="70572" y="84807"/>
                        <a:pt x="68778" y="80680"/>
                      </a:cubicBezTo>
                      <a:cubicBezTo>
                        <a:pt x="60645" y="61661"/>
                        <a:pt x="52630" y="42523"/>
                        <a:pt x="44556" y="23385"/>
                      </a:cubicBezTo>
                      <a:cubicBezTo>
                        <a:pt x="43719" y="21411"/>
                        <a:pt x="42942" y="19437"/>
                        <a:pt x="42164" y="17464"/>
                      </a:cubicBezTo>
                      <a:cubicBezTo>
                        <a:pt x="42702" y="17404"/>
                        <a:pt x="43360" y="17165"/>
                        <a:pt x="44018" y="16925"/>
                      </a:cubicBezTo>
                      <a:close/>
                      <a:moveTo>
                        <a:pt x="91445" y="77749"/>
                      </a:moveTo>
                      <a:cubicBezTo>
                        <a:pt x="91326" y="77749"/>
                        <a:pt x="91206" y="77809"/>
                        <a:pt x="91087" y="77809"/>
                      </a:cubicBezTo>
                      <a:cubicBezTo>
                        <a:pt x="96828" y="91864"/>
                        <a:pt x="102510" y="105919"/>
                        <a:pt x="108251" y="119973"/>
                      </a:cubicBezTo>
                      <a:cubicBezTo>
                        <a:pt x="108371" y="119914"/>
                        <a:pt x="108490" y="119854"/>
                        <a:pt x="108610" y="119854"/>
                      </a:cubicBezTo>
                      <a:cubicBezTo>
                        <a:pt x="102869" y="105799"/>
                        <a:pt x="97187" y="91744"/>
                        <a:pt x="91445" y="77749"/>
                      </a:cubicBezTo>
                      <a:close/>
                      <a:moveTo>
                        <a:pt x="82474" y="77271"/>
                      </a:moveTo>
                      <a:cubicBezTo>
                        <a:pt x="88574" y="74639"/>
                        <a:pt x="88694" y="74281"/>
                        <a:pt x="84388" y="68121"/>
                      </a:cubicBezTo>
                      <a:cubicBezTo>
                        <a:pt x="82893" y="68898"/>
                        <a:pt x="81398" y="69675"/>
                        <a:pt x="79723" y="70573"/>
                      </a:cubicBezTo>
                      <a:cubicBezTo>
                        <a:pt x="80680" y="72965"/>
                        <a:pt x="81517" y="74938"/>
                        <a:pt x="82474" y="77271"/>
                      </a:cubicBezTo>
                      <a:close/>
                      <a:moveTo>
                        <a:pt x="43540" y="100536"/>
                      </a:moveTo>
                      <a:cubicBezTo>
                        <a:pt x="45693" y="99280"/>
                        <a:pt x="47308" y="98323"/>
                        <a:pt x="48922" y="97306"/>
                      </a:cubicBezTo>
                      <a:cubicBezTo>
                        <a:pt x="47966" y="94974"/>
                        <a:pt x="47188" y="93060"/>
                        <a:pt x="46171" y="90488"/>
                      </a:cubicBezTo>
                      <a:cubicBezTo>
                        <a:pt x="44198" y="91924"/>
                        <a:pt x="42523" y="93060"/>
                        <a:pt x="40968" y="94196"/>
                      </a:cubicBezTo>
                      <a:cubicBezTo>
                        <a:pt x="41865" y="96409"/>
                        <a:pt x="42523" y="98024"/>
                        <a:pt x="43540" y="100536"/>
                      </a:cubicBezTo>
                      <a:close/>
                      <a:moveTo>
                        <a:pt x="74759" y="82474"/>
                      </a:moveTo>
                      <a:cubicBezTo>
                        <a:pt x="76613" y="81218"/>
                        <a:pt x="77929" y="80381"/>
                        <a:pt x="79245" y="79544"/>
                      </a:cubicBezTo>
                      <a:cubicBezTo>
                        <a:pt x="78348" y="77271"/>
                        <a:pt x="77510" y="75297"/>
                        <a:pt x="76553" y="72845"/>
                      </a:cubicBezTo>
                      <a:cubicBezTo>
                        <a:pt x="74819" y="73742"/>
                        <a:pt x="73324" y="74460"/>
                        <a:pt x="71829" y="75238"/>
                      </a:cubicBezTo>
                      <a:cubicBezTo>
                        <a:pt x="72845" y="77749"/>
                        <a:pt x="73683" y="79723"/>
                        <a:pt x="74759" y="82474"/>
                      </a:cubicBezTo>
                      <a:close/>
                      <a:moveTo>
                        <a:pt x="52271" y="88156"/>
                      </a:moveTo>
                      <a:cubicBezTo>
                        <a:pt x="46949" y="90189"/>
                        <a:pt x="46889" y="90787"/>
                        <a:pt x="51195" y="95991"/>
                      </a:cubicBezTo>
                      <a:cubicBezTo>
                        <a:pt x="56338" y="94376"/>
                        <a:pt x="53767" y="91206"/>
                        <a:pt x="52271" y="88156"/>
                      </a:cubicBezTo>
                      <a:close/>
                      <a:moveTo>
                        <a:pt x="82713" y="82056"/>
                      </a:moveTo>
                      <a:cubicBezTo>
                        <a:pt x="82474" y="81936"/>
                        <a:pt x="82295" y="81816"/>
                        <a:pt x="82056" y="81757"/>
                      </a:cubicBezTo>
                      <a:cubicBezTo>
                        <a:pt x="85405" y="89890"/>
                        <a:pt x="88694" y="98084"/>
                        <a:pt x="92043" y="106218"/>
                      </a:cubicBezTo>
                      <a:cubicBezTo>
                        <a:pt x="92223" y="106158"/>
                        <a:pt x="92342" y="106098"/>
                        <a:pt x="92522" y="106038"/>
                      </a:cubicBezTo>
                      <a:cubicBezTo>
                        <a:pt x="89232" y="98024"/>
                        <a:pt x="85943" y="90070"/>
                        <a:pt x="82713" y="8205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31" name="Vrije vorm: vorm 9330">
                  <a:extLst>
                    <a:ext uri="{FF2B5EF4-FFF2-40B4-BE49-F238E27FC236}">
                      <a16:creationId xmlns:a16="http://schemas.microsoft.com/office/drawing/2014/main" id="{AE44792E-0AD6-4F54-815A-2CECD3322B2B}"/>
                    </a:ext>
                  </a:extLst>
                </p:cNvPr>
                <p:cNvSpPr/>
                <p:nvPr/>
              </p:nvSpPr>
              <p:spPr>
                <a:xfrm>
                  <a:off x="4577006" y="1852628"/>
                  <a:ext cx="254539" cy="465659"/>
                </a:xfrm>
                <a:custGeom>
                  <a:avLst/>
                  <a:gdLst>
                    <a:gd name="connsiteX0" fmla="*/ 185163 w 254539"/>
                    <a:gd name="connsiteY0" fmla="*/ 131217 h 465659"/>
                    <a:gd name="connsiteX1" fmla="*/ 193655 w 254539"/>
                    <a:gd name="connsiteY1" fmla="*/ 131038 h 465659"/>
                    <a:gd name="connsiteX2" fmla="*/ 177926 w 254539"/>
                    <a:gd name="connsiteY2" fmla="*/ 92402 h 465659"/>
                    <a:gd name="connsiteX3" fmla="*/ 98921 w 254539"/>
                    <a:gd name="connsiteY3" fmla="*/ 130918 h 465659"/>
                    <a:gd name="connsiteX4" fmla="*/ 99220 w 254539"/>
                    <a:gd name="connsiteY4" fmla="*/ 131935 h 465659"/>
                    <a:gd name="connsiteX5" fmla="*/ 115248 w 254539"/>
                    <a:gd name="connsiteY5" fmla="*/ 132832 h 465659"/>
                    <a:gd name="connsiteX6" fmla="*/ 93778 w 254539"/>
                    <a:gd name="connsiteY6" fmla="*/ 134088 h 465659"/>
                    <a:gd name="connsiteX7" fmla="*/ 99938 w 254539"/>
                    <a:gd name="connsiteY7" fmla="*/ 144375 h 465659"/>
                    <a:gd name="connsiteX8" fmla="*/ 102749 w 254539"/>
                    <a:gd name="connsiteY8" fmla="*/ 149578 h 465659"/>
                    <a:gd name="connsiteX9" fmla="*/ 118837 w 254539"/>
                    <a:gd name="connsiteY9" fmla="*/ 188273 h 465659"/>
                    <a:gd name="connsiteX10" fmla="*/ 122365 w 254539"/>
                    <a:gd name="connsiteY10" fmla="*/ 194433 h 465659"/>
                    <a:gd name="connsiteX11" fmla="*/ 122425 w 254539"/>
                    <a:gd name="connsiteY11" fmla="*/ 194314 h 465659"/>
                    <a:gd name="connsiteX12" fmla="*/ 126971 w 254539"/>
                    <a:gd name="connsiteY12" fmla="*/ 203644 h 465659"/>
                    <a:gd name="connsiteX13" fmla="*/ 133430 w 254539"/>
                    <a:gd name="connsiteY13" fmla="*/ 204720 h 465659"/>
                    <a:gd name="connsiteX14" fmla="*/ 124818 w 254539"/>
                    <a:gd name="connsiteY14" fmla="*/ 205199 h 465659"/>
                    <a:gd name="connsiteX15" fmla="*/ 143537 w 254539"/>
                    <a:gd name="connsiteY15" fmla="*/ 251250 h 465659"/>
                    <a:gd name="connsiteX16" fmla="*/ 144494 w 254539"/>
                    <a:gd name="connsiteY16" fmla="*/ 250891 h 465659"/>
                    <a:gd name="connsiteX17" fmla="*/ 127449 w 254539"/>
                    <a:gd name="connsiteY17" fmla="*/ 208907 h 465659"/>
                    <a:gd name="connsiteX18" fmla="*/ 141145 w 254539"/>
                    <a:gd name="connsiteY18" fmla="*/ 240066 h 465659"/>
                    <a:gd name="connsiteX19" fmla="*/ 156037 w 254539"/>
                    <a:gd name="connsiteY19" fmla="*/ 254719 h 465659"/>
                    <a:gd name="connsiteX20" fmla="*/ 123741 w 254539"/>
                    <a:gd name="connsiteY20" fmla="*/ 265305 h 465659"/>
                    <a:gd name="connsiteX21" fmla="*/ 11902 w 254539"/>
                    <a:gd name="connsiteY21" fmla="*/ 325052 h 465659"/>
                    <a:gd name="connsiteX22" fmla="*/ 4067 w 254539"/>
                    <a:gd name="connsiteY22" fmla="*/ 329598 h 465659"/>
                    <a:gd name="connsiteX23" fmla="*/ 7177 w 254539"/>
                    <a:gd name="connsiteY23" fmla="*/ 331930 h 465659"/>
                    <a:gd name="connsiteX24" fmla="*/ 2691 w 254539"/>
                    <a:gd name="connsiteY24" fmla="*/ 331930 h 465659"/>
                    <a:gd name="connsiteX25" fmla="*/ 7416 w 254539"/>
                    <a:gd name="connsiteY25" fmla="*/ 342217 h 465659"/>
                    <a:gd name="connsiteX26" fmla="*/ 11423 w 254539"/>
                    <a:gd name="connsiteY26" fmla="*/ 348736 h 465659"/>
                    <a:gd name="connsiteX27" fmla="*/ 48743 w 254539"/>
                    <a:gd name="connsiteY27" fmla="*/ 436832 h 465659"/>
                    <a:gd name="connsiteX28" fmla="*/ 52690 w 254539"/>
                    <a:gd name="connsiteY28" fmla="*/ 448793 h 465659"/>
                    <a:gd name="connsiteX29" fmla="*/ 57355 w 254539"/>
                    <a:gd name="connsiteY29" fmla="*/ 454415 h 465659"/>
                    <a:gd name="connsiteX30" fmla="*/ 75477 w 254539"/>
                    <a:gd name="connsiteY30" fmla="*/ 463925 h 465659"/>
                    <a:gd name="connsiteX31" fmla="*/ 74819 w 254539"/>
                    <a:gd name="connsiteY31" fmla="*/ 465659 h 465659"/>
                    <a:gd name="connsiteX32" fmla="*/ 53587 w 254539"/>
                    <a:gd name="connsiteY32" fmla="*/ 454655 h 465659"/>
                    <a:gd name="connsiteX33" fmla="*/ 52032 w 254539"/>
                    <a:gd name="connsiteY33" fmla="*/ 452262 h 465659"/>
                    <a:gd name="connsiteX34" fmla="*/ 33312 w 254539"/>
                    <a:gd name="connsiteY34" fmla="*/ 407287 h 465659"/>
                    <a:gd name="connsiteX35" fmla="*/ 29425 w 254539"/>
                    <a:gd name="connsiteY35" fmla="*/ 394728 h 465659"/>
                    <a:gd name="connsiteX36" fmla="*/ 0 w 254539"/>
                    <a:gd name="connsiteY36" fmla="*/ 329538 h 465659"/>
                    <a:gd name="connsiteX37" fmla="*/ 141743 w 254539"/>
                    <a:gd name="connsiteY37" fmla="*/ 253702 h 465659"/>
                    <a:gd name="connsiteX38" fmla="*/ 92402 w 254539"/>
                    <a:gd name="connsiteY38" fmla="*/ 132413 h 465659"/>
                    <a:gd name="connsiteX39" fmla="*/ 176910 w 254539"/>
                    <a:gd name="connsiteY39" fmla="*/ 91266 h 465659"/>
                    <a:gd name="connsiteX40" fmla="*/ 139949 w 254539"/>
                    <a:gd name="connsiteY40" fmla="*/ 419 h 465659"/>
                    <a:gd name="connsiteX41" fmla="*/ 141025 w 254539"/>
                    <a:gd name="connsiteY41" fmla="*/ 0 h 465659"/>
                    <a:gd name="connsiteX42" fmla="*/ 254540 w 254539"/>
                    <a:gd name="connsiteY42" fmla="*/ 272362 h 465659"/>
                    <a:gd name="connsiteX43" fmla="*/ 251190 w 254539"/>
                    <a:gd name="connsiteY43" fmla="*/ 270867 h 465659"/>
                    <a:gd name="connsiteX44" fmla="*/ 250113 w 254539"/>
                    <a:gd name="connsiteY44" fmla="*/ 264826 h 465659"/>
                    <a:gd name="connsiteX45" fmla="*/ 231514 w 254539"/>
                    <a:gd name="connsiteY45" fmla="*/ 223918 h 465659"/>
                    <a:gd name="connsiteX46" fmla="*/ 221885 w 254539"/>
                    <a:gd name="connsiteY46" fmla="*/ 213691 h 465659"/>
                    <a:gd name="connsiteX47" fmla="*/ 227267 w 254539"/>
                    <a:gd name="connsiteY47" fmla="*/ 213512 h 465659"/>
                    <a:gd name="connsiteX48" fmla="*/ 217279 w 254539"/>
                    <a:gd name="connsiteY48" fmla="*/ 202388 h 465659"/>
                    <a:gd name="connsiteX49" fmla="*/ 220748 w 254539"/>
                    <a:gd name="connsiteY49" fmla="*/ 201849 h 465659"/>
                    <a:gd name="connsiteX50" fmla="*/ 218834 w 254539"/>
                    <a:gd name="connsiteY50" fmla="*/ 196527 h 465659"/>
                    <a:gd name="connsiteX51" fmla="*/ 202806 w 254539"/>
                    <a:gd name="connsiteY51" fmla="*/ 157831 h 465659"/>
                    <a:gd name="connsiteX52" fmla="*/ 191323 w 254539"/>
                    <a:gd name="connsiteY52" fmla="*/ 146588 h 465659"/>
                    <a:gd name="connsiteX53" fmla="*/ 190486 w 254539"/>
                    <a:gd name="connsiteY53" fmla="*/ 145810 h 465659"/>
                    <a:gd name="connsiteX54" fmla="*/ 200055 w 254539"/>
                    <a:gd name="connsiteY54" fmla="*/ 145571 h 465659"/>
                    <a:gd name="connsiteX55" fmla="*/ 198679 w 254539"/>
                    <a:gd name="connsiteY55" fmla="*/ 141324 h 465659"/>
                    <a:gd name="connsiteX56" fmla="*/ 187436 w 254539"/>
                    <a:gd name="connsiteY56" fmla="*/ 132413 h 465659"/>
                    <a:gd name="connsiteX57" fmla="*/ 185163 w 254539"/>
                    <a:gd name="connsiteY57" fmla="*/ 131217 h 465659"/>
                    <a:gd name="connsiteX58" fmla="*/ 222243 w 254539"/>
                    <a:gd name="connsiteY58" fmla="*/ 201311 h 465659"/>
                    <a:gd name="connsiteX59" fmla="*/ 222841 w 254539"/>
                    <a:gd name="connsiteY59" fmla="*/ 201072 h 465659"/>
                    <a:gd name="connsiteX60" fmla="*/ 201251 w 254539"/>
                    <a:gd name="connsiteY60" fmla="*/ 147963 h 465659"/>
                    <a:gd name="connsiteX61" fmla="*/ 200653 w 254539"/>
                    <a:gd name="connsiteY61" fmla="*/ 148202 h 465659"/>
                    <a:gd name="connsiteX62" fmla="*/ 222243 w 254539"/>
                    <a:gd name="connsiteY62" fmla="*/ 201311 h 46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4539" h="465659">
                      <a:moveTo>
                        <a:pt x="185163" y="131217"/>
                      </a:moveTo>
                      <a:cubicBezTo>
                        <a:pt x="187854" y="131157"/>
                        <a:pt x="190546" y="131097"/>
                        <a:pt x="193655" y="131038"/>
                      </a:cubicBezTo>
                      <a:cubicBezTo>
                        <a:pt x="188393" y="118059"/>
                        <a:pt x="183309" y="105620"/>
                        <a:pt x="177926" y="92402"/>
                      </a:cubicBezTo>
                      <a:cubicBezTo>
                        <a:pt x="151252" y="105440"/>
                        <a:pt x="125117" y="118179"/>
                        <a:pt x="98921" y="130918"/>
                      </a:cubicBezTo>
                      <a:cubicBezTo>
                        <a:pt x="99041" y="131277"/>
                        <a:pt x="99160" y="131576"/>
                        <a:pt x="99220" y="131935"/>
                      </a:cubicBezTo>
                      <a:cubicBezTo>
                        <a:pt x="104543" y="132234"/>
                        <a:pt x="109866" y="132533"/>
                        <a:pt x="115248" y="132832"/>
                      </a:cubicBezTo>
                      <a:cubicBezTo>
                        <a:pt x="108550" y="133250"/>
                        <a:pt x="101852" y="133609"/>
                        <a:pt x="93778" y="134088"/>
                      </a:cubicBezTo>
                      <a:cubicBezTo>
                        <a:pt x="96050" y="137915"/>
                        <a:pt x="98024" y="141145"/>
                        <a:pt x="99938" y="144375"/>
                      </a:cubicBezTo>
                      <a:cubicBezTo>
                        <a:pt x="100954" y="146109"/>
                        <a:pt x="102031" y="147784"/>
                        <a:pt x="102749" y="149578"/>
                      </a:cubicBezTo>
                      <a:cubicBezTo>
                        <a:pt x="108131" y="162436"/>
                        <a:pt x="113394" y="175415"/>
                        <a:pt x="118837" y="188273"/>
                      </a:cubicBezTo>
                      <a:cubicBezTo>
                        <a:pt x="119734" y="190426"/>
                        <a:pt x="121169" y="192400"/>
                        <a:pt x="122365" y="194433"/>
                      </a:cubicBezTo>
                      <a:cubicBezTo>
                        <a:pt x="122365" y="194433"/>
                        <a:pt x="122425" y="194314"/>
                        <a:pt x="122425" y="194314"/>
                      </a:cubicBezTo>
                      <a:cubicBezTo>
                        <a:pt x="120153" y="199098"/>
                        <a:pt x="122066" y="202986"/>
                        <a:pt x="126971" y="203644"/>
                      </a:cubicBezTo>
                      <a:cubicBezTo>
                        <a:pt x="129124" y="203943"/>
                        <a:pt x="131277" y="204361"/>
                        <a:pt x="133430" y="204720"/>
                      </a:cubicBezTo>
                      <a:cubicBezTo>
                        <a:pt x="130559" y="204900"/>
                        <a:pt x="127748" y="205019"/>
                        <a:pt x="124818" y="205199"/>
                      </a:cubicBezTo>
                      <a:cubicBezTo>
                        <a:pt x="131157" y="220808"/>
                        <a:pt x="137377" y="235999"/>
                        <a:pt x="143537" y="251250"/>
                      </a:cubicBezTo>
                      <a:cubicBezTo>
                        <a:pt x="143836" y="251131"/>
                        <a:pt x="144195" y="251011"/>
                        <a:pt x="144494" y="250891"/>
                      </a:cubicBezTo>
                      <a:cubicBezTo>
                        <a:pt x="138812" y="236896"/>
                        <a:pt x="133131" y="222902"/>
                        <a:pt x="127449" y="208907"/>
                      </a:cubicBezTo>
                      <a:cubicBezTo>
                        <a:pt x="132712" y="219014"/>
                        <a:pt x="137257" y="229420"/>
                        <a:pt x="141145" y="240066"/>
                      </a:cubicBezTo>
                      <a:cubicBezTo>
                        <a:pt x="144016" y="247841"/>
                        <a:pt x="147185" y="254480"/>
                        <a:pt x="156037" y="254719"/>
                      </a:cubicBezTo>
                      <a:cubicBezTo>
                        <a:pt x="143059" y="251788"/>
                        <a:pt x="133789" y="259982"/>
                        <a:pt x="123741" y="265305"/>
                      </a:cubicBezTo>
                      <a:cubicBezTo>
                        <a:pt x="86362" y="284981"/>
                        <a:pt x="49161" y="305077"/>
                        <a:pt x="11902" y="325052"/>
                      </a:cubicBezTo>
                      <a:cubicBezTo>
                        <a:pt x="9389" y="326428"/>
                        <a:pt x="6937" y="327923"/>
                        <a:pt x="4067" y="329598"/>
                      </a:cubicBezTo>
                      <a:cubicBezTo>
                        <a:pt x="5143" y="330435"/>
                        <a:pt x="5861" y="330913"/>
                        <a:pt x="7177" y="331930"/>
                      </a:cubicBezTo>
                      <a:cubicBezTo>
                        <a:pt x="5562" y="331930"/>
                        <a:pt x="4426" y="331930"/>
                        <a:pt x="2691" y="331930"/>
                      </a:cubicBezTo>
                      <a:cubicBezTo>
                        <a:pt x="4426" y="335698"/>
                        <a:pt x="5801" y="339047"/>
                        <a:pt x="7416" y="342217"/>
                      </a:cubicBezTo>
                      <a:cubicBezTo>
                        <a:pt x="8612" y="344490"/>
                        <a:pt x="10466" y="346403"/>
                        <a:pt x="11423" y="348736"/>
                      </a:cubicBezTo>
                      <a:cubicBezTo>
                        <a:pt x="23923" y="378101"/>
                        <a:pt x="36363" y="407467"/>
                        <a:pt x="48743" y="436832"/>
                      </a:cubicBezTo>
                      <a:cubicBezTo>
                        <a:pt x="50358" y="440660"/>
                        <a:pt x="51015" y="444966"/>
                        <a:pt x="52690" y="448793"/>
                      </a:cubicBezTo>
                      <a:cubicBezTo>
                        <a:pt x="53647" y="450946"/>
                        <a:pt x="55441" y="453279"/>
                        <a:pt x="57355" y="454415"/>
                      </a:cubicBezTo>
                      <a:cubicBezTo>
                        <a:pt x="63276" y="457884"/>
                        <a:pt x="69376" y="460815"/>
                        <a:pt x="75477" y="463925"/>
                      </a:cubicBezTo>
                      <a:cubicBezTo>
                        <a:pt x="75237" y="464523"/>
                        <a:pt x="75058" y="465061"/>
                        <a:pt x="74819" y="465659"/>
                      </a:cubicBezTo>
                      <a:cubicBezTo>
                        <a:pt x="67701" y="462011"/>
                        <a:pt x="60644" y="458422"/>
                        <a:pt x="53587" y="454655"/>
                      </a:cubicBezTo>
                      <a:cubicBezTo>
                        <a:pt x="52869" y="454296"/>
                        <a:pt x="52391" y="453159"/>
                        <a:pt x="52032" y="452262"/>
                      </a:cubicBezTo>
                      <a:cubicBezTo>
                        <a:pt x="45752" y="437310"/>
                        <a:pt x="39413" y="422299"/>
                        <a:pt x="33312" y="407287"/>
                      </a:cubicBezTo>
                      <a:cubicBezTo>
                        <a:pt x="31698" y="403220"/>
                        <a:pt x="31219" y="398735"/>
                        <a:pt x="29425" y="394728"/>
                      </a:cubicBezTo>
                      <a:cubicBezTo>
                        <a:pt x="19676" y="372838"/>
                        <a:pt x="9748" y="351128"/>
                        <a:pt x="0" y="329538"/>
                      </a:cubicBezTo>
                      <a:cubicBezTo>
                        <a:pt x="47367" y="304179"/>
                        <a:pt x="94794" y="278821"/>
                        <a:pt x="141743" y="253702"/>
                      </a:cubicBezTo>
                      <a:cubicBezTo>
                        <a:pt x="125117" y="212854"/>
                        <a:pt x="108789" y="172663"/>
                        <a:pt x="92402" y="132413"/>
                      </a:cubicBezTo>
                      <a:cubicBezTo>
                        <a:pt x="119973" y="118957"/>
                        <a:pt x="148322" y="105201"/>
                        <a:pt x="176910" y="91266"/>
                      </a:cubicBezTo>
                      <a:cubicBezTo>
                        <a:pt x="164470" y="60645"/>
                        <a:pt x="152209" y="30502"/>
                        <a:pt x="139949" y="419"/>
                      </a:cubicBezTo>
                      <a:cubicBezTo>
                        <a:pt x="140308" y="299"/>
                        <a:pt x="140666" y="120"/>
                        <a:pt x="141025" y="0"/>
                      </a:cubicBezTo>
                      <a:cubicBezTo>
                        <a:pt x="178704" y="90429"/>
                        <a:pt x="216442" y="180917"/>
                        <a:pt x="254540" y="272362"/>
                      </a:cubicBezTo>
                      <a:cubicBezTo>
                        <a:pt x="252865" y="271644"/>
                        <a:pt x="252027" y="271226"/>
                        <a:pt x="251190" y="270867"/>
                      </a:cubicBezTo>
                      <a:cubicBezTo>
                        <a:pt x="250832" y="268834"/>
                        <a:pt x="250891" y="266621"/>
                        <a:pt x="250113" y="264826"/>
                      </a:cubicBezTo>
                      <a:cubicBezTo>
                        <a:pt x="243954" y="251190"/>
                        <a:pt x="237494" y="237674"/>
                        <a:pt x="231514" y="223918"/>
                      </a:cubicBezTo>
                      <a:cubicBezTo>
                        <a:pt x="229361" y="218954"/>
                        <a:pt x="227566" y="214409"/>
                        <a:pt x="221885" y="213691"/>
                      </a:cubicBezTo>
                      <a:cubicBezTo>
                        <a:pt x="223679" y="213631"/>
                        <a:pt x="225413" y="213572"/>
                        <a:pt x="227267" y="213512"/>
                      </a:cubicBezTo>
                      <a:cubicBezTo>
                        <a:pt x="228164" y="205019"/>
                        <a:pt x="221945" y="204541"/>
                        <a:pt x="217279" y="202388"/>
                      </a:cubicBezTo>
                      <a:cubicBezTo>
                        <a:pt x="218296" y="202208"/>
                        <a:pt x="219373" y="202089"/>
                        <a:pt x="220748" y="201849"/>
                      </a:cubicBezTo>
                      <a:cubicBezTo>
                        <a:pt x="220031" y="199876"/>
                        <a:pt x="219552" y="198141"/>
                        <a:pt x="218834" y="196527"/>
                      </a:cubicBezTo>
                      <a:cubicBezTo>
                        <a:pt x="213512" y="183608"/>
                        <a:pt x="208189" y="170750"/>
                        <a:pt x="202806" y="157831"/>
                      </a:cubicBezTo>
                      <a:cubicBezTo>
                        <a:pt x="200474" y="152269"/>
                        <a:pt x="199277" y="145391"/>
                        <a:pt x="191323" y="146588"/>
                      </a:cubicBezTo>
                      <a:cubicBezTo>
                        <a:pt x="191084" y="146647"/>
                        <a:pt x="190785" y="146049"/>
                        <a:pt x="190486" y="145810"/>
                      </a:cubicBezTo>
                      <a:cubicBezTo>
                        <a:pt x="193536" y="145750"/>
                        <a:pt x="196586" y="145690"/>
                        <a:pt x="200055" y="145571"/>
                      </a:cubicBezTo>
                      <a:cubicBezTo>
                        <a:pt x="199457" y="143836"/>
                        <a:pt x="198978" y="142580"/>
                        <a:pt x="198679" y="141324"/>
                      </a:cubicBezTo>
                      <a:cubicBezTo>
                        <a:pt x="197005" y="135105"/>
                        <a:pt x="194134" y="130798"/>
                        <a:pt x="187436" y="132413"/>
                      </a:cubicBezTo>
                      <a:cubicBezTo>
                        <a:pt x="186838" y="132533"/>
                        <a:pt x="185940" y="131636"/>
                        <a:pt x="185163" y="131217"/>
                      </a:cubicBezTo>
                      <a:close/>
                      <a:moveTo>
                        <a:pt x="222243" y="201311"/>
                      </a:moveTo>
                      <a:cubicBezTo>
                        <a:pt x="222423" y="201251"/>
                        <a:pt x="222662" y="201132"/>
                        <a:pt x="222841" y="201072"/>
                      </a:cubicBezTo>
                      <a:cubicBezTo>
                        <a:pt x="215665" y="183369"/>
                        <a:pt x="208428" y="165666"/>
                        <a:pt x="201251" y="147963"/>
                      </a:cubicBezTo>
                      <a:cubicBezTo>
                        <a:pt x="201072" y="148023"/>
                        <a:pt x="200832" y="148142"/>
                        <a:pt x="200653" y="148202"/>
                      </a:cubicBezTo>
                      <a:cubicBezTo>
                        <a:pt x="207830" y="165905"/>
                        <a:pt x="215007" y="183608"/>
                        <a:pt x="222243" y="20131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32" name="Vrije vorm: vorm 9331">
                  <a:extLst>
                    <a:ext uri="{FF2B5EF4-FFF2-40B4-BE49-F238E27FC236}">
                      <a16:creationId xmlns:a16="http://schemas.microsoft.com/office/drawing/2014/main" id="{876495CD-AD7E-4C63-B20E-57D5408724C6}"/>
                    </a:ext>
                  </a:extLst>
                </p:cNvPr>
                <p:cNvSpPr/>
                <p:nvPr/>
              </p:nvSpPr>
              <p:spPr>
                <a:xfrm>
                  <a:off x="4821976" y="1832593"/>
                  <a:ext cx="397359" cy="469247"/>
                </a:xfrm>
                <a:custGeom>
                  <a:avLst/>
                  <a:gdLst>
                    <a:gd name="connsiteX0" fmla="*/ 46709 w 397359"/>
                    <a:gd name="connsiteY0" fmla="*/ 153824 h 469247"/>
                    <a:gd name="connsiteX1" fmla="*/ 35884 w 397359"/>
                    <a:gd name="connsiteY1" fmla="*/ 154661 h 469247"/>
                    <a:gd name="connsiteX2" fmla="*/ 9390 w 397359"/>
                    <a:gd name="connsiteY2" fmla="*/ 89591 h 469247"/>
                    <a:gd name="connsiteX3" fmla="*/ 35406 w 397359"/>
                    <a:gd name="connsiteY3" fmla="*/ 87378 h 469247"/>
                    <a:gd name="connsiteX4" fmla="*/ 0 w 397359"/>
                    <a:gd name="connsiteY4" fmla="*/ 359 h 469247"/>
                    <a:gd name="connsiteX5" fmla="*/ 897 w 397359"/>
                    <a:gd name="connsiteY5" fmla="*/ 0 h 469247"/>
                    <a:gd name="connsiteX6" fmla="*/ 194613 w 397359"/>
                    <a:gd name="connsiteY6" fmla="*/ 466676 h 469247"/>
                    <a:gd name="connsiteX7" fmla="*/ 396522 w 397359"/>
                    <a:gd name="connsiteY7" fmla="*/ 333246 h 469247"/>
                    <a:gd name="connsiteX8" fmla="*/ 397359 w 397359"/>
                    <a:gd name="connsiteY8" fmla="*/ 334621 h 469247"/>
                    <a:gd name="connsiteX9" fmla="*/ 193776 w 397359"/>
                    <a:gd name="connsiteY9" fmla="*/ 469247 h 469247"/>
                    <a:gd name="connsiteX10" fmla="*/ 122605 w 397359"/>
                    <a:gd name="connsiteY10" fmla="*/ 294311 h 469247"/>
                    <a:gd name="connsiteX11" fmla="*/ 121468 w 397359"/>
                    <a:gd name="connsiteY11" fmla="*/ 294730 h 469247"/>
                    <a:gd name="connsiteX12" fmla="*/ 126193 w 397359"/>
                    <a:gd name="connsiteY12" fmla="*/ 306392 h 469247"/>
                    <a:gd name="connsiteX13" fmla="*/ 124339 w 397359"/>
                    <a:gd name="connsiteY13" fmla="*/ 307170 h 469247"/>
                    <a:gd name="connsiteX14" fmla="*/ 97306 w 397359"/>
                    <a:gd name="connsiteY14" fmla="*/ 240724 h 469247"/>
                    <a:gd name="connsiteX15" fmla="*/ 98024 w 397359"/>
                    <a:gd name="connsiteY15" fmla="*/ 237554 h 469247"/>
                    <a:gd name="connsiteX16" fmla="*/ 64891 w 397359"/>
                    <a:gd name="connsiteY16" fmla="*/ 157592 h 469247"/>
                    <a:gd name="connsiteX17" fmla="*/ 59030 w 397359"/>
                    <a:gd name="connsiteY17" fmla="*/ 154243 h 469247"/>
                    <a:gd name="connsiteX18" fmla="*/ 46410 w 397359"/>
                    <a:gd name="connsiteY18" fmla="*/ 153705 h 469247"/>
                    <a:gd name="connsiteX19" fmla="*/ 59867 w 397359"/>
                    <a:gd name="connsiteY19" fmla="*/ 152209 h 469247"/>
                    <a:gd name="connsiteX20" fmla="*/ 41207 w 397359"/>
                    <a:gd name="connsiteY20" fmla="*/ 106397 h 469247"/>
                    <a:gd name="connsiteX21" fmla="*/ 21710 w 397359"/>
                    <a:gd name="connsiteY21" fmla="*/ 116325 h 469247"/>
                    <a:gd name="connsiteX22" fmla="*/ 32057 w 397359"/>
                    <a:gd name="connsiteY22" fmla="*/ 141982 h 469247"/>
                    <a:gd name="connsiteX23" fmla="*/ 45753 w 397359"/>
                    <a:gd name="connsiteY23" fmla="*/ 153047 h 469247"/>
                    <a:gd name="connsiteX24" fmla="*/ 46709 w 397359"/>
                    <a:gd name="connsiteY24" fmla="*/ 153824 h 469247"/>
                    <a:gd name="connsiteX25" fmla="*/ 11603 w 397359"/>
                    <a:gd name="connsiteY25" fmla="*/ 90847 h 469247"/>
                    <a:gd name="connsiteX26" fmla="*/ 21411 w 397359"/>
                    <a:gd name="connsiteY26" fmla="*/ 114949 h 469247"/>
                    <a:gd name="connsiteX27" fmla="*/ 40609 w 397359"/>
                    <a:gd name="connsiteY27" fmla="*/ 105201 h 469247"/>
                    <a:gd name="connsiteX28" fmla="*/ 36901 w 397359"/>
                    <a:gd name="connsiteY28" fmla="*/ 94794 h 469247"/>
                    <a:gd name="connsiteX29" fmla="*/ 37678 w 397359"/>
                    <a:gd name="connsiteY29" fmla="*/ 94495 h 469247"/>
                    <a:gd name="connsiteX30" fmla="*/ 43241 w 397359"/>
                    <a:gd name="connsiteY30" fmla="*/ 108131 h 469247"/>
                    <a:gd name="connsiteX31" fmla="*/ 37439 w 397359"/>
                    <a:gd name="connsiteY31" fmla="*/ 91505 h 469247"/>
                    <a:gd name="connsiteX32" fmla="*/ 33791 w 397359"/>
                    <a:gd name="connsiteY32" fmla="*/ 88933 h 469247"/>
                    <a:gd name="connsiteX33" fmla="*/ 11603 w 397359"/>
                    <a:gd name="connsiteY33" fmla="*/ 90847 h 469247"/>
                    <a:gd name="connsiteX34" fmla="*/ 113395 w 397359"/>
                    <a:gd name="connsiteY34" fmla="*/ 277206 h 469247"/>
                    <a:gd name="connsiteX35" fmla="*/ 113753 w 397359"/>
                    <a:gd name="connsiteY35" fmla="*/ 277087 h 469247"/>
                    <a:gd name="connsiteX36" fmla="*/ 100775 w 397359"/>
                    <a:gd name="connsiteY36" fmla="*/ 245210 h 469247"/>
                    <a:gd name="connsiteX37" fmla="*/ 100417 w 397359"/>
                    <a:gd name="connsiteY37" fmla="*/ 245329 h 469247"/>
                    <a:gd name="connsiteX38" fmla="*/ 113395 w 397359"/>
                    <a:gd name="connsiteY38" fmla="*/ 277206 h 46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7359" h="469247">
                      <a:moveTo>
                        <a:pt x="46709" y="153824"/>
                      </a:moveTo>
                      <a:cubicBezTo>
                        <a:pt x="43241" y="154123"/>
                        <a:pt x="39832" y="154362"/>
                        <a:pt x="35884" y="154661"/>
                      </a:cubicBezTo>
                      <a:cubicBezTo>
                        <a:pt x="27093" y="133011"/>
                        <a:pt x="18241" y="111301"/>
                        <a:pt x="9390" y="89591"/>
                      </a:cubicBezTo>
                      <a:cubicBezTo>
                        <a:pt x="17823" y="88874"/>
                        <a:pt x="26315" y="88156"/>
                        <a:pt x="35406" y="87378"/>
                      </a:cubicBezTo>
                      <a:cubicBezTo>
                        <a:pt x="23444" y="58013"/>
                        <a:pt x="11722" y="29186"/>
                        <a:pt x="0" y="359"/>
                      </a:cubicBezTo>
                      <a:cubicBezTo>
                        <a:pt x="299" y="239"/>
                        <a:pt x="598" y="120"/>
                        <a:pt x="897" y="0"/>
                      </a:cubicBezTo>
                      <a:cubicBezTo>
                        <a:pt x="65309" y="155200"/>
                        <a:pt x="129722" y="310399"/>
                        <a:pt x="194613" y="466676"/>
                      </a:cubicBezTo>
                      <a:cubicBezTo>
                        <a:pt x="262195" y="422000"/>
                        <a:pt x="329358" y="377623"/>
                        <a:pt x="396522" y="333246"/>
                      </a:cubicBezTo>
                      <a:cubicBezTo>
                        <a:pt x="396821" y="333724"/>
                        <a:pt x="397120" y="334203"/>
                        <a:pt x="397359" y="334621"/>
                      </a:cubicBezTo>
                      <a:cubicBezTo>
                        <a:pt x="329598" y="379477"/>
                        <a:pt x="261776" y="424272"/>
                        <a:pt x="193776" y="469247"/>
                      </a:cubicBezTo>
                      <a:cubicBezTo>
                        <a:pt x="170092" y="410995"/>
                        <a:pt x="146348" y="352683"/>
                        <a:pt x="122605" y="294311"/>
                      </a:cubicBezTo>
                      <a:cubicBezTo>
                        <a:pt x="122246" y="294431"/>
                        <a:pt x="121827" y="294610"/>
                        <a:pt x="121468" y="294730"/>
                      </a:cubicBezTo>
                      <a:cubicBezTo>
                        <a:pt x="123024" y="298617"/>
                        <a:pt x="124638" y="302505"/>
                        <a:pt x="126193" y="306392"/>
                      </a:cubicBezTo>
                      <a:cubicBezTo>
                        <a:pt x="125595" y="306632"/>
                        <a:pt x="124997" y="306871"/>
                        <a:pt x="124339" y="307170"/>
                      </a:cubicBezTo>
                      <a:cubicBezTo>
                        <a:pt x="115428" y="285280"/>
                        <a:pt x="106517" y="263331"/>
                        <a:pt x="97306" y="240724"/>
                      </a:cubicBezTo>
                      <a:cubicBezTo>
                        <a:pt x="97306" y="240664"/>
                        <a:pt x="98503" y="238750"/>
                        <a:pt x="98024" y="237554"/>
                      </a:cubicBezTo>
                      <a:cubicBezTo>
                        <a:pt x="87139" y="210820"/>
                        <a:pt x="76194" y="184146"/>
                        <a:pt x="64891" y="157592"/>
                      </a:cubicBezTo>
                      <a:cubicBezTo>
                        <a:pt x="64173" y="155917"/>
                        <a:pt x="61123" y="154542"/>
                        <a:pt x="59030" y="154243"/>
                      </a:cubicBezTo>
                      <a:cubicBezTo>
                        <a:pt x="54843" y="153645"/>
                        <a:pt x="50657" y="153824"/>
                        <a:pt x="46410" y="153705"/>
                      </a:cubicBezTo>
                      <a:cubicBezTo>
                        <a:pt x="50956" y="153226"/>
                        <a:pt x="55501" y="152688"/>
                        <a:pt x="59867" y="152209"/>
                      </a:cubicBezTo>
                      <a:cubicBezTo>
                        <a:pt x="53528" y="136659"/>
                        <a:pt x="47487" y="121767"/>
                        <a:pt x="41207" y="106397"/>
                      </a:cubicBezTo>
                      <a:cubicBezTo>
                        <a:pt x="34389" y="109866"/>
                        <a:pt x="28229" y="112976"/>
                        <a:pt x="21710" y="116325"/>
                      </a:cubicBezTo>
                      <a:cubicBezTo>
                        <a:pt x="25299" y="125176"/>
                        <a:pt x="29007" y="133490"/>
                        <a:pt x="32057" y="141982"/>
                      </a:cubicBezTo>
                      <a:cubicBezTo>
                        <a:pt x="34629" y="149099"/>
                        <a:pt x="37380" y="155140"/>
                        <a:pt x="45753" y="153047"/>
                      </a:cubicBezTo>
                      <a:cubicBezTo>
                        <a:pt x="46052" y="153047"/>
                        <a:pt x="46410" y="153585"/>
                        <a:pt x="46709" y="153824"/>
                      </a:cubicBezTo>
                      <a:close/>
                      <a:moveTo>
                        <a:pt x="11603" y="90847"/>
                      </a:moveTo>
                      <a:cubicBezTo>
                        <a:pt x="15072" y="99340"/>
                        <a:pt x="18122" y="106935"/>
                        <a:pt x="21411" y="114949"/>
                      </a:cubicBezTo>
                      <a:cubicBezTo>
                        <a:pt x="28050" y="111600"/>
                        <a:pt x="34270" y="108430"/>
                        <a:pt x="40609" y="105201"/>
                      </a:cubicBezTo>
                      <a:cubicBezTo>
                        <a:pt x="39234" y="101313"/>
                        <a:pt x="38037" y="98084"/>
                        <a:pt x="36901" y="94794"/>
                      </a:cubicBezTo>
                      <a:cubicBezTo>
                        <a:pt x="37140" y="94675"/>
                        <a:pt x="37439" y="94615"/>
                        <a:pt x="37678" y="94495"/>
                      </a:cubicBezTo>
                      <a:cubicBezTo>
                        <a:pt x="39532" y="99041"/>
                        <a:pt x="41386" y="103586"/>
                        <a:pt x="43241" y="108131"/>
                      </a:cubicBezTo>
                      <a:cubicBezTo>
                        <a:pt x="41925" y="102330"/>
                        <a:pt x="39891" y="96828"/>
                        <a:pt x="37439" y="91505"/>
                      </a:cubicBezTo>
                      <a:cubicBezTo>
                        <a:pt x="36901" y="90309"/>
                        <a:pt x="34928" y="88874"/>
                        <a:pt x="33791" y="88933"/>
                      </a:cubicBezTo>
                      <a:cubicBezTo>
                        <a:pt x="26495" y="89412"/>
                        <a:pt x="19258" y="90189"/>
                        <a:pt x="11603" y="90847"/>
                      </a:cubicBezTo>
                      <a:close/>
                      <a:moveTo>
                        <a:pt x="113395" y="277206"/>
                      </a:moveTo>
                      <a:cubicBezTo>
                        <a:pt x="113514" y="277147"/>
                        <a:pt x="113634" y="277087"/>
                        <a:pt x="113753" y="277087"/>
                      </a:cubicBezTo>
                      <a:cubicBezTo>
                        <a:pt x="109447" y="266441"/>
                        <a:pt x="105081" y="255855"/>
                        <a:pt x="100775" y="245210"/>
                      </a:cubicBezTo>
                      <a:cubicBezTo>
                        <a:pt x="100656" y="245269"/>
                        <a:pt x="100536" y="245329"/>
                        <a:pt x="100417" y="245329"/>
                      </a:cubicBezTo>
                      <a:cubicBezTo>
                        <a:pt x="104782" y="255975"/>
                        <a:pt x="109088" y="266561"/>
                        <a:pt x="113395" y="27720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33" name="Vrije vorm: vorm 9332">
                  <a:extLst>
                    <a:ext uri="{FF2B5EF4-FFF2-40B4-BE49-F238E27FC236}">
                      <a16:creationId xmlns:a16="http://schemas.microsoft.com/office/drawing/2014/main" id="{980D7B30-36F6-427E-A503-C4353A8F06EF}"/>
                    </a:ext>
                  </a:extLst>
                </p:cNvPr>
                <p:cNvSpPr/>
                <p:nvPr/>
              </p:nvSpPr>
              <p:spPr>
                <a:xfrm>
                  <a:off x="5422381" y="1291517"/>
                  <a:ext cx="223260" cy="720916"/>
                </a:xfrm>
                <a:custGeom>
                  <a:avLst/>
                  <a:gdLst>
                    <a:gd name="connsiteX0" fmla="*/ 223260 w 223260"/>
                    <a:gd name="connsiteY0" fmla="*/ 562427 h 720916"/>
                    <a:gd name="connsiteX1" fmla="*/ 126612 w 223260"/>
                    <a:gd name="connsiteY1" fmla="*/ 624686 h 720916"/>
                    <a:gd name="connsiteX2" fmla="*/ 125296 w 223260"/>
                    <a:gd name="connsiteY2" fmla="*/ 632102 h 720916"/>
                    <a:gd name="connsiteX3" fmla="*/ 157652 w 223260"/>
                    <a:gd name="connsiteY3" fmla="*/ 713680 h 720916"/>
                    <a:gd name="connsiteX4" fmla="*/ 159626 w 223260"/>
                    <a:gd name="connsiteY4" fmla="*/ 720916 h 720916"/>
                    <a:gd name="connsiteX5" fmla="*/ 158489 w 223260"/>
                    <a:gd name="connsiteY5" fmla="*/ 719660 h 720916"/>
                    <a:gd name="connsiteX6" fmla="*/ 134805 w 223260"/>
                    <a:gd name="connsiteY6" fmla="*/ 664279 h 720916"/>
                    <a:gd name="connsiteX7" fmla="*/ 123143 w 223260"/>
                    <a:gd name="connsiteY7" fmla="*/ 634794 h 720916"/>
                    <a:gd name="connsiteX8" fmla="*/ 126134 w 223260"/>
                    <a:gd name="connsiteY8" fmla="*/ 623131 h 720916"/>
                    <a:gd name="connsiteX9" fmla="*/ 216801 w 223260"/>
                    <a:gd name="connsiteY9" fmla="*/ 564759 h 720916"/>
                    <a:gd name="connsiteX10" fmla="*/ 219014 w 223260"/>
                    <a:gd name="connsiteY10" fmla="*/ 555848 h 720916"/>
                    <a:gd name="connsiteX11" fmla="*/ 144973 w 223260"/>
                    <a:gd name="connsiteY11" fmla="*/ 368113 h 720916"/>
                    <a:gd name="connsiteX12" fmla="*/ 2333 w 223260"/>
                    <a:gd name="connsiteY12" fmla="*/ 6280 h 720916"/>
                    <a:gd name="connsiteX13" fmla="*/ 0 w 223260"/>
                    <a:gd name="connsiteY13" fmla="*/ 538 h 720916"/>
                    <a:gd name="connsiteX14" fmla="*/ 1615 w 223260"/>
                    <a:gd name="connsiteY14" fmla="*/ 0 h 720916"/>
                    <a:gd name="connsiteX15" fmla="*/ 223260 w 223260"/>
                    <a:gd name="connsiteY15" fmla="*/ 562427 h 72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3260" h="720916">
                      <a:moveTo>
                        <a:pt x="223260" y="562427"/>
                      </a:moveTo>
                      <a:cubicBezTo>
                        <a:pt x="191024" y="583240"/>
                        <a:pt x="158848" y="603993"/>
                        <a:pt x="126612" y="624686"/>
                      </a:cubicBezTo>
                      <a:cubicBezTo>
                        <a:pt x="123442" y="626720"/>
                        <a:pt x="124100" y="628992"/>
                        <a:pt x="125296" y="632102"/>
                      </a:cubicBezTo>
                      <a:cubicBezTo>
                        <a:pt x="136121" y="659255"/>
                        <a:pt x="146887" y="686467"/>
                        <a:pt x="157652" y="713680"/>
                      </a:cubicBezTo>
                      <a:cubicBezTo>
                        <a:pt x="158549" y="715892"/>
                        <a:pt x="159446" y="718105"/>
                        <a:pt x="159626" y="720916"/>
                      </a:cubicBezTo>
                      <a:cubicBezTo>
                        <a:pt x="159267" y="720498"/>
                        <a:pt x="158788" y="720139"/>
                        <a:pt x="158489" y="719660"/>
                      </a:cubicBezTo>
                      <a:cubicBezTo>
                        <a:pt x="147126" y="702675"/>
                        <a:pt x="142221" y="682939"/>
                        <a:pt x="134805" y="664279"/>
                      </a:cubicBezTo>
                      <a:cubicBezTo>
                        <a:pt x="130918" y="654470"/>
                        <a:pt x="127150" y="644542"/>
                        <a:pt x="123143" y="634794"/>
                      </a:cubicBezTo>
                      <a:cubicBezTo>
                        <a:pt x="120990" y="629531"/>
                        <a:pt x="121229" y="626241"/>
                        <a:pt x="126134" y="623131"/>
                      </a:cubicBezTo>
                      <a:cubicBezTo>
                        <a:pt x="156456" y="603873"/>
                        <a:pt x="186479" y="584077"/>
                        <a:pt x="216801" y="564759"/>
                      </a:cubicBezTo>
                      <a:cubicBezTo>
                        <a:pt x="220689" y="562307"/>
                        <a:pt x="220748" y="560154"/>
                        <a:pt x="219014" y="555848"/>
                      </a:cubicBezTo>
                      <a:cubicBezTo>
                        <a:pt x="194254" y="493290"/>
                        <a:pt x="169613" y="430732"/>
                        <a:pt x="144973" y="368113"/>
                      </a:cubicBezTo>
                      <a:cubicBezTo>
                        <a:pt x="97426" y="247482"/>
                        <a:pt x="49879" y="126911"/>
                        <a:pt x="2333" y="6280"/>
                      </a:cubicBezTo>
                      <a:cubicBezTo>
                        <a:pt x="1555" y="4366"/>
                        <a:pt x="778" y="2452"/>
                        <a:pt x="0" y="538"/>
                      </a:cubicBezTo>
                      <a:cubicBezTo>
                        <a:pt x="538" y="359"/>
                        <a:pt x="1076" y="179"/>
                        <a:pt x="1615" y="0"/>
                      </a:cubicBezTo>
                      <a:cubicBezTo>
                        <a:pt x="75417" y="187316"/>
                        <a:pt x="149279" y="374632"/>
                        <a:pt x="223260" y="56242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34" name="Vrije vorm: vorm 9333">
                  <a:extLst>
                    <a:ext uri="{FF2B5EF4-FFF2-40B4-BE49-F238E27FC236}">
                      <a16:creationId xmlns:a16="http://schemas.microsoft.com/office/drawing/2014/main" id="{E671959B-AAA5-42BE-BE73-8BEA72894882}"/>
                    </a:ext>
                  </a:extLst>
                </p:cNvPr>
                <p:cNvSpPr/>
                <p:nvPr/>
              </p:nvSpPr>
              <p:spPr>
                <a:xfrm>
                  <a:off x="4778856" y="1192895"/>
                  <a:ext cx="247960" cy="544724"/>
                </a:xfrm>
                <a:custGeom>
                  <a:avLst/>
                  <a:gdLst>
                    <a:gd name="connsiteX0" fmla="*/ 221406 w 247960"/>
                    <a:gd name="connsiteY0" fmla="*/ 544724 h 544724"/>
                    <a:gd name="connsiteX1" fmla="*/ 0 w 247960"/>
                    <a:gd name="connsiteY1" fmla="*/ 478 h 544724"/>
                    <a:gd name="connsiteX2" fmla="*/ 1196 w 247960"/>
                    <a:gd name="connsiteY2" fmla="*/ 0 h 544724"/>
                    <a:gd name="connsiteX3" fmla="*/ 222064 w 247960"/>
                    <a:gd name="connsiteY3" fmla="*/ 542870 h 544724"/>
                    <a:gd name="connsiteX4" fmla="*/ 247662 w 247960"/>
                    <a:gd name="connsiteY4" fmla="*/ 536471 h 544724"/>
                    <a:gd name="connsiteX5" fmla="*/ 247961 w 247960"/>
                    <a:gd name="connsiteY5" fmla="*/ 537487 h 544724"/>
                    <a:gd name="connsiteX6" fmla="*/ 221406 w 247960"/>
                    <a:gd name="connsiteY6" fmla="*/ 544724 h 54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960" h="544724">
                      <a:moveTo>
                        <a:pt x="221406" y="544724"/>
                      </a:moveTo>
                      <a:cubicBezTo>
                        <a:pt x="147544" y="363209"/>
                        <a:pt x="73802" y="181814"/>
                        <a:pt x="0" y="478"/>
                      </a:cubicBezTo>
                      <a:cubicBezTo>
                        <a:pt x="418" y="299"/>
                        <a:pt x="837" y="120"/>
                        <a:pt x="1196" y="0"/>
                      </a:cubicBezTo>
                      <a:cubicBezTo>
                        <a:pt x="74759" y="180917"/>
                        <a:pt x="148382" y="361774"/>
                        <a:pt x="222064" y="542870"/>
                      </a:cubicBezTo>
                      <a:cubicBezTo>
                        <a:pt x="231573" y="540478"/>
                        <a:pt x="239647" y="538504"/>
                        <a:pt x="247662" y="536471"/>
                      </a:cubicBezTo>
                      <a:cubicBezTo>
                        <a:pt x="247781" y="536830"/>
                        <a:pt x="247841" y="537129"/>
                        <a:pt x="247961" y="537487"/>
                      </a:cubicBezTo>
                      <a:cubicBezTo>
                        <a:pt x="239408" y="539820"/>
                        <a:pt x="230856" y="542152"/>
                        <a:pt x="221406" y="54472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35" name="Vrije vorm: vorm 9334">
                  <a:extLst>
                    <a:ext uri="{FF2B5EF4-FFF2-40B4-BE49-F238E27FC236}">
                      <a16:creationId xmlns:a16="http://schemas.microsoft.com/office/drawing/2014/main" id="{3764E73F-2F40-4AFC-B870-B9D899856975}"/>
                    </a:ext>
                  </a:extLst>
                </p:cNvPr>
                <p:cNvSpPr/>
                <p:nvPr/>
              </p:nvSpPr>
              <p:spPr>
                <a:xfrm>
                  <a:off x="5359584" y="2029179"/>
                  <a:ext cx="58371" cy="86241"/>
                </a:xfrm>
                <a:custGeom>
                  <a:avLst/>
                  <a:gdLst>
                    <a:gd name="connsiteX0" fmla="*/ 4904 w 58371"/>
                    <a:gd name="connsiteY0" fmla="*/ 2033 h 86241"/>
                    <a:gd name="connsiteX1" fmla="*/ 17284 w 58371"/>
                    <a:gd name="connsiteY1" fmla="*/ 32176 h 86241"/>
                    <a:gd name="connsiteX2" fmla="*/ 21231 w 58371"/>
                    <a:gd name="connsiteY2" fmla="*/ 35884 h 86241"/>
                    <a:gd name="connsiteX3" fmla="*/ 37200 w 58371"/>
                    <a:gd name="connsiteY3" fmla="*/ 37380 h 86241"/>
                    <a:gd name="connsiteX4" fmla="*/ 22129 w 58371"/>
                    <a:gd name="connsiteY4" fmla="*/ 419 h 86241"/>
                    <a:gd name="connsiteX5" fmla="*/ 23265 w 58371"/>
                    <a:gd name="connsiteY5" fmla="*/ 0 h 86241"/>
                    <a:gd name="connsiteX6" fmla="*/ 58372 w 58371"/>
                    <a:gd name="connsiteY6" fmla="*/ 86242 h 86241"/>
                    <a:gd name="connsiteX7" fmla="*/ 31279 w 58371"/>
                    <a:gd name="connsiteY7" fmla="*/ 84029 h 86241"/>
                    <a:gd name="connsiteX8" fmla="*/ 15311 w 58371"/>
                    <a:gd name="connsiteY8" fmla="*/ 44796 h 86241"/>
                    <a:gd name="connsiteX9" fmla="*/ 12679 w 58371"/>
                    <a:gd name="connsiteY9" fmla="*/ 44198 h 86241"/>
                    <a:gd name="connsiteX10" fmla="*/ 10645 w 58371"/>
                    <a:gd name="connsiteY10" fmla="*/ 40609 h 86241"/>
                    <a:gd name="connsiteX11" fmla="*/ 10466 w 58371"/>
                    <a:gd name="connsiteY11" fmla="*/ 33791 h 86241"/>
                    <a:gd name="connsiteX12" fmla="*/ 0 w 58371"/>
                    <a:gd name="connsiteY12" fmla="*/ 4725 h 86241"/>
                    <a:gd name="connsiteX13" fmla="*/ 10347 w 58371"/>
                    <a:gd name="connsiteY13" fmla="*/ 30143 h 86241"/>
                    <a:gd name="connsiteX14" fmla="*/ 10945 w 58371"/>
                    <a:gd name="connsiteY14" fmla="*/ 29904 h 86241"/>
                    <a:gd name="connsiteX15" fmla="*/ 1974 w 58371"/>
                    <a:gd name="connsiteY15" fmla="*/ 7895 h 86241"/>
                    <a:gd name="connsiteX16" fmla="*/ 4904 w 58371"/>
                    <a:gd name="connsiteY16" fmla="*/ 2033 h 86241"/>
                    <a:gd name="connsiteX17" fmla="*/ 33791 w 58371"/>
                    <a:gd name="connsiteY17" fmla="*/ 76792 h 86241"/>
                    <a:gd name="connsiteX18" fmla="*/ 38037 w 58371"/>
                    <a:gd name="connsiteY18" fmla="*/ 74101 h 86241"/>
                    <a:gd name="connsiteX19" fmla="*/ 43181 w 58371"/>
                    <a:gd name="connsiteY19" fmla="*/ 53049 h 86241"/>
                    <a:gd name="connsiteX20" fmla="*/ 32475 w 58371"/>
                    <a:gd name="connsiteY20" fmla="*/ 45274 h 86241"/>
                    <a:gd name="connsiteX21" fmla="*/ 25358 w 58371"/>
                    <a:gd name="connsiteY21" fmla="*/ 45095 h 86241"/>
                    <a:gd name="connsiteX22" fmla="*/ 20933 w 58371"/>
                    <a:gd name="connsiteY22" fmla="*/ 45274 h 86241"/>
                    <a:gd name="connsiteX23" fmla="*/ 33791 w 58371"/>
                    <a:gd name="connsiteY23" fmla="*/ 76792 h 86241"/>
                    <a:gd name="connsiteX24" fmla="*/ 54724 w 58371"/>
                    <a:gd name="connsiteY24" fmla="*/ 82295 h 86241"/>
                    <a:gd name="connsiteX25" fmla="*/ 48982 w 58371"/>
                    <a:gd name="connsiteY25" fmla="*/ 68240 h 86241"/>
                    <a:gd name="connsiteX26" fmla="*/ 34150 w 58371"/>
                    <a:gd name="connsiteY26" fmla="*/ 78407 h 86241"/>
                    <a:gd name="connsiteX27" fmla="*/ 34628 w 58371"/>
                    <a:gd name="connsiteY27" fmla="*/ 79962 h 86241"/>
                    <a:gd name="connsiteX28" fmla="*/ 54724 w 58371"/>
                    <a:gd name="connsiteY28" fmla="*/ 82295 h 8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371" h="86241">
                      <a:moveTo>
                        <a:pt x="4904" y="2033"/>
                      </a:moveTo>
                      <a:cubicBezTo>
                        <a:pt x="8971" y="12021"/>
                        <a:pt x="12978" y="22189"/>
                        <a:pt x="17284" y="32176"/>
                      </a:cubicBezTo>
                      <a:cubicBezTo>
                        <a:pt x="17942" y="33731"/>
                        <a:pt x="19796" y="35645"/>
                        <a:pt x="21231" y="35884"/>
                      </a:cubicBezTo>
                      <a:cubicBezTo>
                        <a:pt x="26136" y="36722"/>
                        <a:pt x="31100" y="36901"/>
                        <a:pt x="37200" y="37380"/>
                      </a:cubicBezTo>
                      <a:cubicBezTo>
                        <a:pt x="31877" y="24342"/>
                        <a:pt x="27033" y="12380"/>
                        <a:pt x="22129" y="419"/>
                      </a:cubicBezTo>
                      <a:cubicBezTo>
                        <a:pt x="22488" y="299"/>
                        <a:pt x="22906" y="120"/>
                        <a:pt x="23265" y="0"/>
                      </a:cubicBezTo>
                      <a:cubicBezTo>
                        <a:pt x="34928" y="28707"/>
                        <a:pt x="46650" y="57475"/>
                        <a:pt x="58372" y="86242"/>
                      </a:cubicBezTo>
                      <a:cubicBezTo>
                        <a:pt x="49221" y="85464"/>
                        <a:pt x="39951" y="84687"/>
                        <a:pt x="31279" y="84029"/>
                      </a:cubicBezTo>
                      <a:cubicBezTo>
                        <a:pt x="26076" y="71290"/>
                        <a:pt x="20933" y="58551"/>
                        <a:pt x="15311" y="44796"/>
                      </a:cubicBezTo>
                      <a:cubicBezTo>
                        <a:pt x="15430" y="44796"/>
                        <a:pt x="13815" y="44915"/>
                        <a:pt x="12679" y="44198"/>
                      </a:cubicBezTo>
                      <a:cubicBezTo>
                        <a:pt x="11662" y="43540"/>
                        <a:pt x="10825" y="41925"/>
                        <a:pt x="10645" y="40609"/>
                      </a:cubicBezTo>
                      <a:cubicBezTo>
                        <a:pt x="10347" y="38336"/>
                        <a:pt x="11184" y="35825"/>
                        <a:pt x="10466" y="33791"/>
                      </a:cubicBezTo>
                      <a:cubicBezTo>
                        <a:pt x="6818" y="24162"/>
                        <a:pt x="2811" y="14713"/>
                        <a:pt x="0" y="4725"/>
                      </a:cubicBezTo>
                      <a:cubicBezTo>
                        <a:pt x="3469" y="13217"/>
                        <a:pt x="6878" y="21650"/>
                        <a:pt x="10347" y="30143"/>
                      </a:cubicBezTo>
                      <a:cubicBezTo>
                        <a:pt x="10526" y="30083"/>
                        <a:pt x="10765" y="29963"/>
                        <a:pt x="10945" y="29904"/>
                      </a:cubicBezTo>
                      <a:cubicBezTo>
                        <a:pt x="7954" y="22547"/>
                        <a:pt x="5024" y="15251"/>
                        <a:pt x="1974" y="7895"/>
                      </a:cubicBezTo>
                      <a:cubicBezTo>
                        <a:pt x="598" y="4785"/>
                        <a:pt x="479" y="2512"/>
                        <a:pt x="4904" y="2033"/>
                      </a:cubicBezTo>
                      <a:close/>
                      <a:moveTo>
                        <a:pt x="33791" y="76792"/>
                      </a:moveTo>
                      <a:cubicBezTo>
                        <a:pt x="35645" y="75656"/>
                        <a:pt x="36901" y="74938"/>
                        <a:pt x="38037" y="74101"/>
                      </a:cubicBezTo>
                      <a:cubicBezTo>
                        <a:pt x="48683" y="66565"/>
                        <a:pt x="48683" y="66565"/>
                        <a:pt x="43181" y="53049"/>
                      </a:cubicBezTo>
                      <a:cubicBezTo>
                        <a:pt x="41147" y="48025"/>
                        <a:pt x="40490" y="40729"/>
                        <a:pt x="32475" y="45274"/>
                      </a:cubicBezTo>
                      <a:cubicBezTo>
                        <a:pt x="30681" y="46291"/>
                        <a:pt x="27751" y="45154"/>
                        <a:pt x="25358" y="45095"/>
                      </a:cubicBezTo>
                      <a:cubicBezTo>
                        <a:pt x="23983" y="45035"/>
                        <a:pt x="22607" y="45214"/>
                        <a:pt x="20933" y="45274"/>
                      </a:cubicBezTo>
                      <a:cubicBezTo>
                        <a:pt x="25238" y="55920"/>
                        <a:pt x="29365" y="66027"/>
                        <a:pt x="33791" y="76792"/>
                      </a:cubicBezTo>
                      <a:close/>
                      <a:moveTo>
                        <a:pt x="54724" y="82295"/>
                      </a:moveTo>
                      <a:cubicBezTo>
                        <a:pt x="52929" y="77929"/>
                        <a:pt x="51075" y="73383"/>
                        <a:pt x="48982" y="68240"/>
                      </a:cubicBezTo>
                      <a:cubicBezTo>
                        <a:pt x="43839" y="71769"/>
                        <a:pt x="38994" y="75118"/>
                        <a:pt x="34150" y="78407"/>
                      </a:cubicBezTo>
                      <a:cubicBezTo>
                        <a:pt x="34329" y="78946"/>
                        <a:pt x="34449" y="79424"/>
                        <a:pt x="34628" y="79962"/>
                      </a:cubicBezTo>
                      <a:cubicBezTo>
                        <a:pt x="41267" y="80800"/>
                        <a:pt x="47906" y="81517"/>
                        <a:pt x="54724" y="8229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36" name="Vrije vorm: vorm 9335">
                  <a:extLst>
                    <a:ext uri="{FF2B5EF4-FFF2-40B4-BE49-F238E27FC236}">
                      <a16:creationId xmlns:a16="http://schemas.microsoft.com/office/drawing/2014/main" id="{BE75FD45-AA26-4802-B4F0-9E2EBDE54C43}"/>
                    </a:ext>
                  </a:extLst>
                </p:cNvPr>
                <p:cNvSpPr/>
                <p:nvPr/>
              </p:nvSpPr>
              <p:spPr>
                <a:xfrm>
                  <a:off x="4843208" y="1523390"/>
                  <a:ext cx="90309" cy="85703"/>
                </a:xfrm>
                <a:custGeom>
                  <a:avLst/>
                  <a:gdLst>
                    <a:gd name="connsiteX0" fmla="*/ 43839 w 90309"/>
                    <a:gd name="connsiteY0" fmla="*/ 75955 h 85703"/>
                    <a:gd name="connsiteX1" fmla="*/ 26674 w 90309"/>
                    <a:gd name="connsiteY1" fmla="*/ 33791 h 85703"/>
                    <a:gd name="connsiteX2" fmla="*/ 41506 w 90309"/>
                    <a:gd name="connsiteY2" fmla="*/ 75716 h 85703"/>
                    <a:gd name="connsiteX3" fmla="*/ 31459 w 90309"/>
                    <a:gd name="connsiteY3" fmla="*/ 80500 h 85703"/>
                    <a:gd name="connsiteX4" fmla="*/ 20574 w 90309"/>
                    <a:gd name="connsiteY4" fmla="*/ 85704 h 85703"/>
                    <a:gd name="connsiteX5" fmla="*/ 0 w 90309"/>
                    <a:gd name="connsiteY5" fmla="*/ 35047 h 85703"/>
                    <a:gd name="connsiteX6" fmla="*/ 20096 w 90309"/>
                    <a:gd name="connsiteY6" fmla="*/ 24461 h 85703"/>
                    <a:gd name="connsiteX7" fmla="*/ 24521 w 90309"/>
                    <a:gd name="connsiteY7" fmla="*/ 33851 h 85703"/>
                    <a:gd name="connsiteX8" fmla="*/ 26315 w 90309"/>
                    <a:gd name="connsiteY8" fmla="*/ 33014 h 85703"/>
                    <a:gd name="connsiteX9" fmla="*/ 22667 w 90309"/>
                    <a:gd name="connsiteY9" fmla="*/ 24042 h 85703"/>
                    <a:gd name="connsiteX10" fmla="*/ 68180 w 90309"/>
                    <a:gd name="connsiteY10" fmla="*/ 0 h 85703"/>
                    <a:gd name="connsiteX11" fmla="*/ 90309 w 90309"/>
                    <a:gd name="connsiteY11" fmla="*/ 54425 h 85703"/>
                    <a:gd name="connsiteX12" fmla="*/ 43839 w 90309"/>
                    <a:gd name="connsiteY12" fmla="*/ 75955 h 85703"/>
                    <a:gd name="connsiteX13" fmla="*/ 88335 w 90309"/>
                    <a:gd name="connsiteY13" fmla="*/ 54305 h 85703"/>
                    <a:gd name="connsiteX14" fmla="*/ 67164 w 90309"/>
                    <a:gd name="connsiteY14" fmla="*/ 2213 h 85703"/>
                    <a:gd name="connsiteX15" fmla="*/ 48085 w 90309"/>
                    <a:gd name="connsiteY15" fmla="*/ 12440 h 85703"/>
                    <a:gd name="connsiteX16" fmla="*/ 52750 w 90309"/>
                    <a:gd name="connsiteY16" fmla="*/ 23923 h 85703"/>
                    <a:gd name="connsiteX17" fmla="*/ 70632 w 90309"/>
                    <a:gd name="connsiteY17" fmla="*/ 16626 h 85703"/>
                    <a:gd name="connsiteX18" fmla="*/ 71111 w 90309"/>
                    <a:gd name="connsiteY18" fmla="*/ 17823 h 85703"/>
                    <a:gd name="connsiteX19" fmla="*/ 53348 w 90309"/>
                    <a:gd name="connsiteY19" fmla="*/ 25059 h 85703"/>
                    <a:gd name="connsiteX20" fmla="*/ 68539 w 90309"/>
                    <a:gd name="connsiteY20" fmla="*/ 62379 h 85703"/>
                    <a:gd name="connsiteX21" fmla="*/ 88335 w 90309"/>
                    <a:gd name="connsiteY21" fmla="*/ 54305 h 85703"/>
                    <a:gd name="connsiteX22" fmla="*/ 54903 w 90309"/>
                    <a:gd name="connsiteY22" fmla="*/ 68958 h 85703"/>
                    <a:gd name="connsiteX23" fmla="*/ 38935 w 90309"/>
                    <a:gd name="connsiteY23" fmla="*/ 29664 h 85703"/>
                    <a:gd name="connsiteX24" fmla="*/ 40191 w 90309"/>
                    <a:gd name="connsiteY24" fmla="*/ 29186 h 85703"/>
                    <a:gd name="connsiteX25" fmla="*/ 54664 w 90309"/>
                    <a:gd name="connsiteY25" fmla="*/ 64592 h 85703"/>
                    <a:gd name="connsiteX26" fmla="*/ 58013 w 90309"/>
                    <a:gd name="connsiteY26" fmla="*/ 67642 h 85703"/>
                    <a:gd name="connsiteX27" fmla="*/ 58372 w 90309"/>
                    <a:gd name="connsiteY27" fmla="*/ 63216 h 85703"/>
                    <a:gd name="connsiteX28" fmla="*/ 44257 w 90309"/>
                    <a:gd name="connsiteY28" fmla="*/ 28887 h 85703"/>
                    <a:gd name="connsiteX29" fmla="*/ 43360 w 90309"/>
                    <a:gd name="connsiteY29" fmla="*/ 26674 h 85703"/>
                    <a:gd name="connsiteX30" fmla="*/ 47128 w 90309"/>
                    <a:gd name="connsiteY30" fmla="*/ 24940 h 85703"/>
                    <a:gd name="connsiteX31" fmla="*/ 43061 w 90309"/>
                    <a:gd name="connsiteY31" fmla="*/ 15012 h 85703"/>
                    <a:gd name="connsiteX32" fmla="*/ 25119 w 90309"/>
                    <a:gd name="connsiteY32" fmla="*/ 24581 h 85703"/>
                    <a:gd name="connsiteX33" fmla="*/ 28229 w 90309"/>
                    <a:gd name="connsiteY33" fmla="*/ 32296 h 85703"/>
                    <a:gd name="connsiteX34" fmla="*/ 36004 w 90309"/>
                    <a:gd name="connsiteY34" fmla="*/ 29844 h 85703"/>
                    <a:gd name="connsiteX35" fmla="*/ 36363 w 90309"/>
                    <a:gd name="connsiteY35" fmla="*/ 30801 h 85703"/>
                    <a:gd name="connsiteX36" fmla="*/ 28767 w 90309"/>
                    <a:gd name="connsiteY36" fmla="*/ 33851 h 85703"/>
                    <a:gd name="connsiteX37" fmla="*/ 44736 w 90309"/>
                    <a:gd name="connsiteY37" fmla="*/ 73084 h 85703"/>
                    <a:gd name="connsiteX38" fmla="*/ 54903 w 90309"/>
                    <a:gd name="connsiteY38" fmla="*/ 68958 h 85703"/>
                    <a:gd name="connsiteX39" fmla="*/ 39174 w 90309"/>
                    <a:gd name="connsiteY39" fmla="*/ 75237 h 85703"/>
                    <a:gd name="connsiteX40" fmla="*/ 23205 w 90309"/>
                    <a:gd name="connsiteY40" fmla="*/ 36004 h 85703"/>
                    <a:gd name="connsiteX41" fmla="*/ 5443 w 90309"/>
                    <a:gd name="connsiteY41" fmla="*/ 43241 h 85703"/>
                    <a:gd name="connsiteX42" fmla="*/ 21770 w 90309"/>
                    <a:gd name="connsiteY42" fmla="*/ 83431 h 85703"/>
                    <a:gd name="connsiteX43" fmla="*/ 39174 w 90309"/>
                    <a:gd name="connsiteY43" fmla="*/ 75237 h 85703"/>
                    <a:gd name="connsiteX44" fmla="*/ 19497 w 90309"/>
                    <a:gd name="connsiteY44" fmla="*/ 26495 h 85703"/>
                    <a:gd name="connsiteX45" fmla="*/ 4426 w 90309"/>
                    <a:gd name="connsiteY45" fmla="*/ 34389 h 85703"/>
                    <a:gd name="connsiteX46" fmla="*/ 3409 w 90309"/>
                    <a:gd name="connsiteY46" fmla="*/ 38456 h 85703"/>
                    <a:gd name="connsiteX47" fmla="*/ 6998 w 90309"/>
                    <a:gd name="connsiteY47" fmla="*/ 40549 h 85703"/>
                    <a:gd name="connsiteX48" fmla="*/ 22667 w 90309"/>
                    <a:gd name="connsiteY48" fmla="*/ 34329 h 85703"/>
                    <a:gd name="connsiteX49" fmla="*/ 19497 w 90309"/>
                    <a:gd name="connsiteY49" fmla="*/ 26495 h 85703"/>
                    <a:gd name="connsiteX50" fmla="*/ 63336 w 90309"/>
                    <a:gd name="connsiteY50" fmla="*/ 65130 h 85703"/>
                    <a:gd name="connsiteX51" fmla="*/ 47487 w 90309"/>
                    <a:gd name="connsiteY51" fmla="*/ 26136 h 85703"/>
                    <a:gd name="connsiteX52" fmla="*/ 63336 w 90309"/>
                    <a:gd name="connsiteY52" fmla="*/ 65130 h 85703"/>
                    <a:gd name="connsiteX53" fmla="*/ 65310 w 90309"/>
                    <a:gd name="connsiteY53" fmla="*/ 63455 h 85703"/>
                    <a:gd name="connsiteX54" fmla="*/ 66267 w 90309"/>
                    <a:gd name="connsiteY54" fmla="*/ 63276 h 85703"/>
                    <a:gd name="connsiteX55" fmla="*/ 51255 w 90309"/>
                    <a:gd name="connsiteY55" fmla="*/ 26375 h 85703"/>
                    <a:gd name="connsiteX56" fmla="*/ 50418 w 90309"/>
                    <a:gd name="connsiteY56" fmla="*/ 26734 h 85703"/>
                    <a:gd name="connsiteX57" fmla="*/ 65310 w 90309"/>
                    <a:gd name="connsiteY57" fmla="*/ 63455 h 8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0309" h="85703">
                      <a:moveTo>
                        <a:pt x="43839" y="75955"/>
                      </a:moveTo>
                      <a:cubicBezTo>
                        <a:pt x="38157" y="61960"/>
                        <a:pt x="32595" y="48264"/>
                        <a:pt x="26674" y="33791"/>
                      </a:cubicBezTo>
                      <a:cubicBezTo>
                        <a:pt x="25359" y="38157"/>
                        <a:pt x="33911" y="61302"/>
                        <a:pt x="41506" y="75716"/>
                      </a:cubicBezTo>
                      <a:cubicBezTo>
                        <a:pt x="38157" y="77331"/>
                        <a:pt x="34808" y="78886"/>
                        <a:pt x="31459" y="80500"/>
                      </a:cubicBezTo>
                      <a:cubicBezTo>
                        <a:pt x="28050" y="82115"/>
                        <a:pt x="24641" y="83790"/>
                        <a:pt x="20574" y="85704"/>
                      </a:cubicBezTo>
                      <a:cubicBezTo>
                        <a:pt x="13696" y="68838"/>
                        <a:pt x="6878" y="51972"/>
                        <a:pt x="0" y="35047"/>
                      </a:cubicBezTo>
                      <a:cubicBezTo>
                        <a:pt x="6758" y="31518"/>
                        <a:pt x="13397" y="27990"/>
                        <a:pt x="20096" y="24461"/>
                      </a:cubicBezTo>
                      <a:cubicBezTo>
                        <a:pt x="21471" y="27392"/>
                        <a:pt x="22966" y="30621"/>
                        <a:pt x="24521" y="33851"/>
                      </a:cubicBezTo>
                      <a:cubicBezTo>
                        <a:pt x="25119" y="33552"/>
                        <a:pt x="25717" y="33313"/>
                        <a:pt x="26315" y="33014"/>
                      </a:cubicBezTo>
                      <a:cubicBezTo>
                        <a:pt x="25119" y="30083"/>
                        <a:pt x="23923" y="27152"/>
                        <a:pt x="22667" y="24042"/>
                      </a:cubicBezTo>
                      <a:cubicBezTo>
                        <a:pt x="37858" y="16028"/>
                        <a:pt x="52930" y="8074"/>
                        <a:pt x="68180" y="0"/>
                      </a:cubicBezTo>
                      <a:cubicBezTo>
                        <a:pt x="75537" y="18122"/>
                        <a:pt x="82953" y="36243"/>
                        <a:pt x="90309" y="54425"/>
                      </a:cubicBezTo>
                      <a:cubicBezTo>
                        <a:pt x="75178" y="61482"/>
                        <a:pt x="59867" y="68599"/>
                        <a:pt x="43839" y="75955"/>
                      </a:cubicBezTo>
                      <a:close/>
                      <a:moveTo>
                        <a:pt x="88335" y="54305"/>
                      </a:moveTo>
                      <a:cubicBezTo>
                        <a:pt x="81039" y="36423"/>
                        <a:pt x="74161" y="19437"/>
                        <a:pt x="67164" y="2213"/>
                      </a:cubicBezTo>
                      <a:cubicBezTo>
                        <a:pt x="60465" y="5801"/>
                        <a:pt x="54305" y="9150"/>
                        <a:pt x="48085" y="12440"/>
                      </a:cubicBezTo>
                      <a:cubicBezTo>
                        <a:pt x="49700" y="16327"/>
                        <a:pt x="51076" y="19796"/>
                        <a:pt x="52750" y="23923"/>
                      </a:cubicBezTo>
                      <a:cubicBezTo>
                        <a:pt x="59030" y="21351"/>
                        <a:pt x="64831" y="19019"/>
                        <a:pt x="70632" y="16626"/>
                      </a:cubicBezTo>
                      <a:cubicBezTo>
                        <a:pt x="70812" y="17045"/>
                        <a:pt x="70932" y="17404"/>
                        <a:pt x="71111" y="17823"/>
                      </a:cubicBezTo>
                      <a:cubicBezTo>
                        <a:pt x="65130" y="20275"/>
                        <a:pt x="59149" y="22667"/>
                        <a:pt x="53348" y="25059"/>
                      </a:cubicBezTo>
                      <a:cubicBezTo>
                        <a:pt x="58552" y="37858"/>
                        <a:pt x="63575" y="50178"/>
                        <a:pt x="68539" y="62379"/>
                      </a:cubicBezTo>
                      <a:cubicBezTo>
                        <a:pt x="75297" y="59568"/>
                        <a:pt x="81637" y="56996"/>
                        <a:pt x="88335" y="54305"/>
                      </a:cubicBezTo>
                      <a:close/>
                      <a:moveTo>
                        <a:pt x="54903" y="68958"/>
                      </a:moveTo>
                      <a:cubicBezTo>
                        <a:pt x="49461" y="55561"/>
                        <a:pt x="44198" y="42642"/>
                        <a:pt x="38935" y="29664"/>
                      </a:cubicBezTo>
                      <a:cubicBezTo>
                        <a:pt x="39353" y="29485"/>
                        <a:pt x="39772" y="29305"/>
                        <a:pt x="40191" y="29186"/>
                      </a:cubicBezTo>
                      <a:cubicBezTo>
                        <a:pt x="44975" y="40968"/>
                        <a:pt x="49760" y="52810"/>
                        <a:pt x="54664" y="64592"/>
                      </a:cubicBezTo>
                      <a:cubicBezTo>
                        <a:pt x="55202" y="65848"/>
                        <a:pt x="56877" y="66625"/>
                        <a:pt x="58013" y="67642"/>
                      </a:cubicBezTo>
                      <a:cubicBezTo>
                        <a:pt x="58133" y="66147"/>
                        <a:pt x="58850" y="64472"/>
                        <a:pt x="58372" y="63216"/>
                      </a:cubicBezTo>
                      <a:cubicBezTo>
                        <a:pt x="53767" y="51733"/>
                        <a:pt x="48982" y="40310"/>
                        <a:pt x="44257" y="28887"/>
                      </a:cubicBezTo>
                      <a:cubicBezTo>
                        <a:pt x="43959" y="28169"/>
                        <a:pt x="43660" y="27451"/>
                        <a:pt x="43360" y="26674"/>
                      </a:cubicBezTo>
                      <a:cubicBezTo>
                        <a:pt x="44736" y="26016"/>
                        <a:pt x="45992" y="25478"/>
                        <a:pt x="47128" y="24940"/>
                      </a:cubicBezTo>
                      <a:cubicBezTo>
                        <a:pt x="45693" y="21471"/>
                        <a:pt x="44437" y="18421"/>
                        <a:pt x="43061" y="15012"/>
                      </a:cubicBezTo>
                      <a:cubicBezTo>
                        <a:pt x="36782" y="18361"/>
                        <a:pt x="30861" y="21471"/>
                        <a:pt x="25119" y="24581"/>
                      </a:cubicBezTo>
                      <a:cubicBezTo>
                        <a:pt x="26315" y="27571"/>
                        <a:pt x="27272" y="29904"/>
                        <a:pt x="28229" y="32296"/>
                      </a:cubicBezTo>
                      <a:cubicBezTo>
                        <a:pt x="31100" y="31399"/>
                        <a:pt x="33552" y="30621"/>
                        <a:pt x="36004" y="29844"/>
                      </a:cubicBezTo>
                      <a:cubicBezTo>
                        <a:pt x="36124" y="30143"/>
                        <a:pt x="36243" y="30502"/>
                        <a:pt x="36363" y="30801"/>
                      </a:cubicBezTo>
                      <a:cubicBezTo>
                        <a:pt x="33911" y="31817"/>
                        <a:pt x="31459" y="32774"/>
                        <a:pt x="28767" y="33851"/>
                      </a:cubicBezTo>
                      <a:cubicBezTo>
                        <a:pt x="34210" y="47188"/>
                        <a:pt x="39413" y="60046"/>
                        <a:pt x="44736" y="73084"/>
                      </a:cubicBezTo>
                      <a:cubicBezTo>
                        <a:pt x="48205" y="71709"/>
                        <a:pt x="51315" y="70453"/>
                        <a:pt x="54903" y="68958"/>
                      </a:cubicBezTo>
                      <a:close/>
                      <a:moveTo>
                        <a:pt x="39174" y="75237"/>
                      </a:moveTo>
                      <a:cubicBezTo>
                        <a:pt x="33731" y="61900"/>
                        <a:pt x="28528" y="49042"/>
                        <a:pt x="23205" y="36004"/>
                      </a:cubicBezTo>
                      <a:cubicBezTo>
                        <a:pt x="16985" y="38516"/>
                        <a:pt x="11184" y="40908"/>
                        <a:pt x="5443" y="43241"/>
                      </a:cubicBezTo>
                      <a:cubicBezTo>
                        <a:pt x="10945" y="56757"/>
                        <a:pt x="16268" y="69855"/>
                        <a:pt x="21770" y="83431"/>
                      </a:cubicBezTo>
                      <a:cubicBezTo>
                        <a:pt x="27691" y="80620"/>
                        <a:pt x="33253" y="78048"/>
                        <a:pt x="39174" y="75237"/>
                      </a:cubicBezTo>
                      <a:close/>
                      <a:moveTo>
                        <a:pt x="19497" y="26495"/>
                      </a:moveTo>
                      <a:cubicBezTo>
                        <a:pt x="14234" y="29186"/>
                        <a:pt x="9211" y="31578"/>
                        <a:pt x="4426" y="34389"/>
                      </a:cubicBezTo>
                      <a:cubicBezTo>
                        <a:pt x="3529" y="34927"/>
                        <a:pt x="2931" y="37380"/>
                        <a:pt x="3409" y="38456"/>
                      </a:cubicBezTo>
                      <a:cubicBezTo>
                        <a:pt x="3888" y="39532"/>
                        <a:pt x="6100" y="40848"/>
                        <a:pt x="6998" y="40549"/>
                      </a:cubicBezTo>
                      <a:cubicBezTo>
                        <a:pt x="12261" y="38755"/>
                        <a:pt x="17284" y="36542"/>
                        <a:pt x="22667" y="34329"/>
                      </a:cubicBezTo>
                      <a:cubicBezTo>
                        <a:pt x="21650" y="31817"/>
                        <a:pt x="20753" y="29664"/>
                        <a:pt x="19497" y="26495"/>
                      </a:cubicBezTo>
                      <a:close/>
                      <a:moveTo>
                        <a:pt x="63336" y="65130"/>
                      </a:moveTo>
                      <a:cubicBezTo>
                        <a:pt x="58193" y="52451"/>
                        <a:pt x="52989" y="39712"/>
                        <a:pt x="47487" y="26136"/>
                      </a:cubicBezTo>
                      <a:cubicBezTo>
                        <a:pt x="46112" y="31219"/>
                        <a:pt x="58073" y="61123"/>
                        <a:pt x="63336" y="65130"/>
                      </a:cubicBezTo>
                      <a:close/>
                      <a:moveTo>
                        <a:pt x="65310" y="63455"/>
                      </a:moveTo>
                      <a:cubicBezTo>
                        <a:pt x="65609" y="63396"/>
                        <a:pt x="65908" y="63336"/>
                        <a:pt x="66267" y="63276"/>
                      </a:cubicBezTo>
                      <a:cubicBezTo>
                        <a:pt x="61243" y="50956"/>
                        <a:pt x="56279" y="38635"/>
                        <a:pt x="51255" y="26375"/>
                      </a:cubicBezTo>
                      <a:cubicBezTo>
                        <a:pt x="50956" y="26495"/>
                        <a:pt x="50657" y="26614"/>
                        <a:pt x="50418" y="26734"/>
                      </a:cubicBezTo>
                      <a:cubicBezTo>
                        <a:pt x="55382" y="38994"/>
                        <a:pt x="60346" y="51255"/>
                        <a:pt x="65310" y="6345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37" name="Vrije vorm: vorm 9336">
                  <a:extLst>
                    <a:ext uri="{FF2B5EF4-FFF2-40B4-BE49-F238E27FC236}">
                      <a16:creationId xmlns:a16="http://schemas.microsoft.com/office/drawing/2014/main" id="{CA8EBA7F-77B6-4CAE-B652-EADF38E4F6BC}"/>
                    </a:ext>
                  </a:extLst>
                </p:cNvPr>
                <p:cNvSpPr/>
                <p:nvPr/>
              </p:nvSpPr>
              <p:spPr>
                <a:xfrm>
                  <a:off x="4725986" y="1849518"/>
                  <a:ext cx="94316" cy="72306"/>
                </a:xfrm>
                <a:custGeom>
                  <a:avLst/>
                  <a:gdLst>
                    <a:gd name="connsiteX0" fmla="*/ 52391 w 94316"/>
                    <a:gd name="connsiteY0" fmla="*/ 68419 h 72306"/>
                    <a:gd name="connsiteX1" fmla="*/ 46889 w 94316"/>
                    <a:gd name="connsiteY1" fmla="*/ 69735 h 72306"/>
                    <a:gd name="connsiteX2" fmla="*/ 23086 w 94316"/>
                    <a:gd name="connsiteY2" fmla="*/ 11244 h 72306"/>
                    <a:gd name="connsiteX3" fmla="*/ 22009 w 94316"/>
                    <a:gd name="connsiteY3" fmla="*/ 11662 h 72306"/>
                    <a:gd name="connsiteX4" fmla="*/ 45214 w 94316"/>
                    <a:gd name="connsiteY4" fmla="*/ 68778 h 72306"/>
                    <a:gd name="connsiteX5" fmla="*/ 44018 w 94316"/>
                    <a:gd name="connsiteY5" fmla="*/ 69257 h 72306"/>
                    <a:gd name="connsiteX6" fmla="*/ 38695 w 94316"/>
                    <a:gd name="connsiteY6" fmla="*/ 56219 h 72306"/>
                    <a:gd name="connsiteX7" fmla="*/ 22009 w 94316"/>
                    <a:gd name="connsiteY7" fmla="*/ 15610 h 72306"/>
                    <a:gd name="connsiteX8" fmla="*/ 14832 w 94316"/>
                    <a:gd name="connsiteY8" fmla="*/ 11304 h 72306"/>
                    <a:gd name="connsiteX9" fmla="*/ 2213 w 94316"/>
                    <a:gd name="connsiteY9" fmla="*/ 13935 h 72306"/>
                    <a:gd name="connsiteX10" fmla="*/ 22547 w 94316"/>
                    <a:gd name="connsiteY10" fmla="*/ 63994 h 72306"/>
                    <a:gd name="connsiteX11" fmla="*/ 34987 w 94316"/>
                    <a:gd name="connsiteY11" fmla="*/ 58910 h 72306"/>
                    <a:gd name="connsiteX12" fmla="*/ 35346 w 94316"/>
                    <a:gd name="connsiteY12" fmla="*/ 59628 h 72306"/>
                    <a:gd name="connsiteX13" fmla="*/ 22547 w 94316"/>
                    <a:gd name="connsiteY13" fmla="*/ 65788 h 72306"/>
                    <a:gd name="connsiteX14" fmla="*/ 27870 w 94316"/>
                    <a:gd name="connsiteY14" fmla="*/ 70812 h 72306"/>
                    <a:gd name="connsiteX15" fmla="*/ 24222 w 94316"/>
                    <a:gd name="connsiteY15" fmla="*/ 72307 h 72306"/>
                    <a:gd name="connsiteX16" fmla="*/ 0 w 94316"/>
                    <a:gd name="connsiteY16" fmla="*/ 12679 h 72306"/>
                    <a:gd name="connsiteX17" fmla="*/ 68419 w 94316"/>
                    <a:gd name="connsiteY17" fmla="*/ 0 h 72306"/>
                    <a:gd name="connsiteX18" fmla="*/ 94316 w 94316"/>
                    <a:gd name="connsiteY18" fmla="*/ 63695 h 72306"/>
                    <a:gd name="connsiteX19" fmla="*/ 93299 w 94316"/>
                    <a:gd name="connsiteY19" fmla="*/ 64113 h 72306"/>
                    <a:gd name="connsiteX20" fmla="*/ 67881 w 94316"/>
                    <a:gd name="connsiteY20" fmla="*/ 1555 h 72306"/>
                    <a:gd name="connsiteX21" fmla="*/ 47547 w 94316"/>
                    <a:gd name="connsiteY21" fmla="*/ 5263 h 72306"/>
                    <a:gd name="connsiteX22" fmla="*/ 63396 w 94316"/>
                    <a:gd name="connsiteY22" fmla="*/ 44198 h 72306"/>
                    <a:gd name="connsiteX23" fmla="*/ 67223 w 94316"/>
                    <a:gd name="connsiteY23" fmla="*/ 37140 h 72306"/>
                    <a:gd name="connsiteX24" fmla="*/ 55860 w 94316"/>
                    <a:gd name="connsiteY24" fmla="*/ 7296 h 72306"/>
                    <a:gd name="connsiteX25" fmla="*/ 70513 w 94316"/>
                    <a:gd name="connsiteY25" fmla="*/ 43360 h 72306"/>
                    <a:gd name="connsiteX26" fmla="*/ 63276 w 94316"/>
                    <a:gd name="connsiteY26" fmla="*/ 46291 h 72306"/>
                    <a:gd name="connsiteX27" fmla="*/ 69017 w 94316"/>
                    <a:gd name="connsiteY27" fmla="*/ 54484 h 72306"/>
                    <a:gd name="connsiteX28" fmla="*/ 68958 w 94316"/>
                    <a:gd name="connsiteY28" fmla="*/ 56099 h 72306"/>
                    <a:gd name="connsiteX29" fmla="*/ 76434 w 94316"/>
                    <a:gd name="connsiteY29" fmla="*/ 64891 h 72306"/>
                    <a:gd name="connsiteX30" fmla="*/ 88933 w 94316"/>
                    <a:gd name="connsiteY30" fmla="*/ 63814 h 72306"/>
                    <a:gd name="connsiteX31" fmla="*/ 89172 w 94316"/>
                    <a:gd name="connsiteY31" fmla="*/ 65250 h 72306"/>
                    <a:gd name="connsiteX32" fmla="*/ 52032 w 94316"/>
                    <a:gd name="connsiteY32" fmla="*/ 68240 h 72306"/>
                    <a:gd name="connsiteX33" fmla="*/ 66924 w 94316"/>
                    <a:gd name="connsiteY33" fmla="*/ 65489 h 72306"/>
                    <a:gd name="connsiteX34" fmla="*/ 64353 w 94316"/>
                    <a:gd name="connsiteY34" fmla="*/ 59149 h 72306"/>
                    <a:gd name="connsiteX35" fmla="*/ 46291 w 94316"/>
                    <a:gd name="connsiteY35" fmla="*/ 66506 h 72306"/>
                    <a:gd name="connsiteX36" fmla="*/ 52391 w 94316"/>
                    <a:gd name="connsiteY36" fmla="*/ 68419 h 72306"/>
                    <a:gd name="connsiteX37" fmla="*/ 42643 w 94316"/>
                    <a:gd name="connsiteY37" fmla="*/ 55082 h 72306"/>
                    <a:gd name="connsiteX38" fmla="*/ 59209 w 94316"/>
                    <a:gd name="connsiteY38" fmla="*/ 46590 h 72306"/>
                    <a:gd name="connsiteX39" fmla="*/ 42822 w 94316"/>
                    <a:gd name="connsiteY39" fmla="*/ 6280 h 72306"/>
                    <a:gd name="connsiteX40" fmla="*/ 24162 w 94316"/>
                    <a:gd name="connsiteY40" fmla="*/ 9689 h 72306"/>
                    <a:gd name="connsiteX41" fmla="*/ 42643 w 94316"/>
                    <a:gd name="connsiteY41" fmla="*/ 55082 h 72306"/>
                    <a:gd name="connsiteX42" fmla="*/ 59987 w 94316"/>
                    <a:gd name="connsiteY42" fmla="*/ 48025 h 72306"/>
                    <a:gd name="connsiteX43" fmla="*/ 43540 w 94316"/>
                    <a:gd name="connsiteY43" fmla="*/ 55980 h 72306"/>
                    <a:gd name="connsiteX44" fmla="*/ 47248 w 94316"/>
                    <a:gd name="connsiteY44" fmla="*/ 65070 h 72306"/>
                    <a:gd name="connsiteX45" fmla="*/ 63575 w 94316"/>
                    <a:gd name="connsiteY45" fmla="*/ 56877 h 72306"/>
                    <a:gd name="connsiteX46" fmla="*/ 59987 w 94316"/>
                    <a:gd name="connsiteY46" fmla="*/ 48025 h 72306"/>
                    <a:gd name="connsiteX47" fmla="*/ 45932 w 94316"/>
                    <a:gd name="connsiteY47" fmla="*/ 6579 h 72306"/>
                    <a:gd name="connsiteX48" fmla="*/ 45274 w 94316"/>
                    <a:gd name="connsiteY48" fmla="*/ 6878 h 72306"/>
                    <a:gd name="connsiteX49" fmla="*/ 60944 w 94316"/>
                    <a:gd name="connsiteY49" fmla="*/ 45394 h 72306"/>
                    <a:gd name="connsiteX50" fmla="*/ 61601 w 94316"/>
                    <a:gd name="connsiteY50" fmla="*/ 45095 h 72306"/>
                    <a:gd name="connsiteX51" fmla="*/ 45932 w 94316"/>
                    <a:gd name="connsiteY51" fmla="*/ 6579 h 7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4316" h="72306">
                      <a:moveTo>
                        <a:pt x="52391" y="68419"/>
                      </a:moveTo>
                      <a:cubicBezTo>
                        <a:pt x="50657" y="68838"/>
                        <a:pt x="48922" y="69257"/>
                        <a:pt x="46889" y="69735"/>
                      </a:cubicBezTo>
                      <a:cubicBezTo>
                        <a:pt x="38875" y="50118"/>
                        <a:pt x="30980" y="30681"/>
                        <a:pt x="23086" y="11244"/>
                      </a:cubicBezTo>
                      <a:cubicBezTo>
                        <a:pt x="22727" y="11363"/>
                        <a:pt x="22368" y="11543"/>
                        <a:pt x="22009" y="11662"/>
                      </a:cubicBezTo>
                      <a:cubicBezTo>
                        <a:pt x="29724" y="30681"/>
                        <a:pt x="37499" y="49700"/>
                        <a:pt x="45214" y="68778"/>
                      </a:cubicBezTo>
                      <a:cubicBezTo>
                        <a:pt x="44796" y="68958"/>
                        <a:pt x="44437" y="69137"/>
                        <a:pt x="44018" y="69257"/>
                      </a:cubicBezTo>
                      <a:cubicBezTo>
                        <a:pt x="42224" y="64891"/>
                        <a:pt x="40490" y="60525"/>
                        <a:pt x="38695" y="56219"/>
                      </a:cubicBezTo>
                      <a:cubicBezTo>
                        <a:pt x="33133" y="42702"/>
                        <a:pt x="27452" y="29246"/>
                        <a:pt x="22009" y="15610"/>
                      </a:cubicBezTo>
                      <a:cubicBezTo>
                        <a:pt x="20454" y="11662"/>
                        <a:pt x="18540" y="10287"/>
                        <a:pt x="14832" y="11304"/>
                      </a:cubicBezTo>
                      <a:cubicBezTo>
                        <a:pt x="10825" y="12380"/>
                        <a:pt x="6698" y="13038"/>
                        <a:pt x="2213" y="13935"/>
                      </a:cubicBezTo>
                      <a:cubicBezTo>
                        <a:pt x="9091" y="30860"/>
                        <a:pt x="15789" y="47248"/>
                        <a:pt x="22547" y="63994"/>
                      </a:cubicBezTo>
                      <a:cubicBezTo>
                        <a:pt x="27033" y="62140"/>
                        <a:pt x="31040" y="60525"/>
                        <a:pt x="34987" y="58910"/>
                      </a:cubicBezTo>
                      <a:cubicBezTo>
                        <a:pt x="35107" y="59149"/>
                        <a:pt x="35227" y="59389"/>
                        <a:pt x="35346" y="59628"/>
                      </a:cubicBezTo>
                      <a:cubicBezTo>
                        <a:pt x="31519" y="61482"/>
                        <a:pt x="27631" y="63336"/>
                        <a:pt x="22547" y="65788"/>
                      </a:cubicBezTo>
                      <a:cubicBezTo>
                        <a:pt x="24880" y="67941"/>
                        <a:pt x="26495" y="69496"/>
                        <a:pt x="27870" y="70812"/>
                      </a:cubicBezTo>
                      <a:cubicBezTo>
                        <a:pt x="27332" y="71051"/>
                        <a:pt x="26016" y="71589"/>
                        <a:pt x="24222" y="72307"/>
                      </a:cubicBezTo>
                      <a:cubicBezTo>
                        <a:pt x="16088" y="52331"/>
                        <a:pt x="8074" y="32655"/>
                        <a:pt x="0" y="12679"/>
                      </a:cubicBezTo>
                      <a:cubicBezTo>
                        <a:pt x="22428" y="8493"/>
                        <a:pt x="45274" y="4306"/>
                        <a:pt x="68419" y="0"/>
                      </a:cubicBezTo>
                      <a:cubicBezTo>
                        <a:pt x="76972" y="21052"/>
                        <a:pt x="85644" y="42403"/>
                        <a:pt x="94316" y="63695"/>
                      </a:cubicBezTo>
                      <a:cubicBezTo>
                        <a:pt x="93957" y="63814"/>
                        <a:pt x="93658" y="63994"/>
                        <a:pt x="93299" y="64113"/>
                      </a:cubicBezTo>
                      <a:cubicBezTo>
                        <a:pt x="84866" y="43360"/>
                        <a:pt x="76434" y="22607"/>
                        <a:pt x="67881" y="1555"/>
                      </a:cubicBezTo>
                      <a:cubicBezTo>
                        <a:pt x="60645" y="2871"/>
                        <a:pt x="54245" y="4067"/>
                        <a:pt x="47547" y="5263"/>
                      </a:cubicBezTo>
                      <a:cubicBezTo>
                        <a:pt x="52929" y="18480"/>
                        <a:pt x="58192" y="31399"/>
                        <a:pt x="63396" y="44198"/>
                      </a:cubicBezTo>
                      <a:cubicBezTo>
                        <a:pt x="68300" y="43898"/>
                        <a:pt x="69197" y="41745"/>
                        <a:pt x="67223" y="37140"/>
                      </a:cubicBezTo>
                      <a:cubicBezTo>
                        <a:pt x="63037" y="27392"/>
                        <a:pt x="59149" y="17464"/>
                        <a:pt x="55860" y="7296"/>
                      </a:cubicBezTo>
                      <a:cubicBezTo>
                        <a:pt x="60704" y="19138"/>
                        <a:pt x="65489" y="31040"/>
                        <a:pt x="70513" y="43360"/>
                      </a:cubicBezTo>
                      <a:cubicBezTo>
                        <a:pt x="68898" y="44018"/>
                        <a:pt x="66685" y="44915"/>
                        <a:pt x="63276" y="46291"/>
                      </a:cubicBezTo>
                      <a:cubicBezTo>
                        <a:pt x="65489" y="49461"/>
                        <a:pt x="67343" y="51913"/>
                        <a:pt x="69017" y="54484"/>
                      </a:cubicBezTo>
                      <a:cubicBezTo>
                        <a:pt x="69257" y="54843"/>
                        <a:pt x="69077" y="55561"/>
                        <a:pt x="68958" y="56099"/>
                      </a:cubicBezTo>
                      <a:cubicBezTo>
                        <a:pt x="68300" y="61063"/>
                        <a:pt x="71829" y="65250"/>
                        <a:pt x="76434" y="64891"/>
                      </a:cubicBezTo>
                      <a:cubicBezTo>
                        <a:pt x="80620" y="64532"/>
                        <a:pt x="84747" y="64173"/>
                        <a:pt x="88933" y="63814"/>
                      </a:cubicBezTo>
                      <a:cubicBezTo>
                        <a:pt x="88993" y="64293"/>
                        <a:pt x="89053" y="64771"/>
                        <a:pt x="89172" y="65250"/>
                      </a:cubicBezTo>
                      <a:cubicBezTo>
                        <a:pt x="76793" y="66266"/>
                        <a:pt x="64412" y="67223"/>
                        <a:pt x="52032" y="68240"/>
                      </a:cubicBezTo>
                      <a:cubicBezTo>
                        <a:pt x="56937" y="67343"/>
                        <a:pt x="61841" y="66446"/>
                        <a:pt x="66924" y="65489"/>
                      </a:cubicBezTo>
                      <a:cubicBezTo>
                        <a:pt x="65968" y="63156"/>
                        <a:pt x="65070" y="61003"/>
                        <a:pt x="64353" y="59149"/>
                      </a:cubicBezTo>
                      <a:cubicBezTo>
                        <a:pt x="58611" y="61482"/>
                        <a:pt x="53169" y="63695"/>
                        <a:pt x="46291" y="66506"/>
                      </a:cubicBezTo>
                      <a:cubicBezTo>
                        <a:pt x="49521" y="67522"/>
                        <a:pt x="50956" y="67941"/>
                        <a:pt x="52391" y="68419"/>
                      </a:cubicBezTo>
                      <a:close/>
                      <a:moveTo>
                        <a:pt x="42643" y="55082"/>
                      </a:moveTo>
                      <a:cubicBezTo>
                        <a:pt x="48803" y="51913"/>
                        <a:pt x="54066" y="49221"/>
                        <a:pt x="59209" y="46590"/>
                      </a:cubicBezTo>
                      <a:cubicBezTo>
                        <a:pt x="53587" y="32834"/>
                        <a:pt x="48264" y="19736"/>
                        <a:pt x="42822" y="6280"/>
                      </a:cubicBezTo>
                      <a:cubicBezTo>
                        <a:pt x="36542" y="7416"/>
                        <a:pt x="30502" y="8493"/>
                        <a:pt x="24162" y="9689"/>
                      </a:cubicBezTo>
                      <a:cubicBezTo>
                        <a:pt x="30322" y="24820"/>
                        <a:pt x="36303" y="39533"/>
                        <a:pt x="42643" y="55082"/>
                      </a:cubicBezTo>
                      <a:close/>
                      <a:moveTo>
                        <a:pt x="59987" y="48025"/>
                      </a:moveTo>
                      <a:cubicBezTo>
                        <a:pt x="54125" y="50836"/>
                        <a:pt x="48862" y="53408"/>
                        <a:pt x="43540" y="55980"/>
                      </a:cubicBezTo>
                      <a:cubicBezTo>
                        <a:pt x="44855" y="59149"/>
                        <a:pt x="45932" y="61841"/>
                        <a:pt x="47248" y="65070"/>
                      </a:cubicBezTo>
                      <a:cubicBezTo>
                        <a:pt x="52929" y="62259"/>
                        <a:pt x="58132" y="59628"/>
                        <a:pt x="63575" y="56877"/>
                      </a:cubicBezTo>
                      <a:cubicBezTo>
                        <a:pt x="62319" y="53826"/>
                        <a:pt x="61302" y="51315"/>
                        <a:pt x="59987" y="48025"/>
                      </a:cubicBezTo>
                      <a:close/>
                      <a:moveTo>
                        <a:pt x="45932" y="6579"/>
                      </a:moveTo>
                      <a:cubicBezTo>
                        <a:pt x="45693" y="6698"/>
                        <a:pt x="45513" y="6758"/>
                        <a:pt x="45274" y="6878"/>
                      </a:cubicBezTo>
                      <a:cubicBezTo>
                        <a:pt x="50477" y="19736"/>
                        <a:pt x="55740" y="32535"/>
                        <a:pt x="60944" y="45394"/>
                      </a:cubicBezTo>
                      <a:cubicBezTo>
                        <a:pt x="61183" y="45274"/>
                        <a:pt x="61362" y="45154"/>
                        <a:pt x="61601" y="45095"/>
                      </a:cubicBezTo>
                      <a:cubicBezTo>
                        <a:pt x="56398" y="32236"/>
                        <a:pt x="51135" y="19437"/>
                        <a:pt x="45932" y="65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38" name="Vrije vorm: vorm 9337">
                  <a:extLst>
                    <a:ext uri="{FF2B5EF4-FFF2-40B4-BE49-F238E27FC236}">
                      <a16:creationId xmlns:a16="http://schemas.microsoft.com/office/drawing/2014/main" id="{6C47A501-2EE7-4BA9-A63E-3A404D0C3BAB}"/>
                    </a:ext>
                  </a:extLst>
                </p:cNvPr>
                <p:cNvSpPr/>
                <p:nvPr/>
              </p:nvSpPr>
              <p:spPr>
                <a:xfrm>
                  <a:off x="4685377" y="1997481"/>
                  <a:ext cx="80500" cy="55979"/>
                </a:xfrm>
                <a:custGeom>
                  <a:avLst/>
                  <a:gdLst>
                    <a:gd name="connsiteX0" fmla="*/ 56398 w 80500"/>
                    <a:gd name="connsiteY0" fmla="*/ 54185 h 55979"/>
                    <a:gd name="connsiteX1" fmla="*/ 45154 w 80500"/>
                    <a:gd name="connsiteY1" fmla="*/ 52929 h 55979"/>
                    <a:gd name="connsiteX2" fmla="*/ 42643 w 80500"/>
                    <a:gd name="connsiteY2" fmla="*/ 39353 h 55979"/>
                    <a:gd name="connsiteX3" fmla="*/ 30442 w 80500"/>
                    <a:gd name="connsiteY3" fmla="*/ 45693 h 55979"/>
                    <a:gd name="connsiteX4" fmla="*/ 35765 w 80500"/>
                    <a:gd name="connsiteY4" fmla="*/ 51434 h 55979"/>
                    <a:gd name="connsiteX5" fmla="*/ 45393 w 80500"/>
                    <a:gd name="connsiteY5" fmla="*/ 52989 h 55979"/>
                    <a:gd name="connsiteX6" fmla="*/ 13935 w 80500"/>
                    <a:gd name="connsiteY6" fmla="*/ 49461 h 55979"/>
                    <a:gd name="connsiteX7" fmla="*/ 13875 w 80500"/>
                    <a:gd name="connsiteY7" fmla="*/ 49580 h 55979"/>
                    <a:gd name="connsiteX8" fmla="*/ 25717 w 80500"/>
                    <a:gd name="connsiteY8" fmla="*/ 47308 h 55979"/>
                    <a:gd name="connsiteX9" fmla="*/ 17105 w 80500"/>
                    <a:gd name="connsiteY9" fmla="*/ 44915 h 55979"/>
                    <a:gd name="connsiteX10" fmla="*/ 0 w 80500"/>
                    <a:gd name="connsiteY10" fmla="*/ 2811 h 55979"/>
                    <a:gd name="connsiteX11" fmla="*/ 897 w 80500"/>
                    <a:gd name="connsiteY11" fmla="*/ 2392 h 55979"/>
                    <a:gd name="connsiteX12" fmla="*/ 16985 w 80500"/>
                    <a:gd name="connsiteY12" fmla="*/ 41925 h 55979"/>
                    <a:gd name="connsiteX13" fmla="*/ 21411 w 80500"/>
                    <a:gd name="connsiteY13" fmla="*/ 35884 h 55979"/>
                    <a:gd name="connsiteX14" fmla="*/ 6758 w 80500"/>
                    <a:gd name="connsiteY14" fmla="*/ 0 h 55979"/>
                    <a:gd name="connsiteX15" fmla="*/ 22487 w 80500"/>
                    <a:gd name="connsiteY15" fmla="*/ 1077 h 55979"/>
                    <a:gd name="connsiteX16" fmla="*/ 12081 w 80500"/>
                    <a:gd name="connsiteY16" fmla="*/ 2153 h 55979"/>
                    <a:gd name="connsiteX17" fmla="*/ 26734 w 80500"/>
                    <a:gd name="connsiteY17" fmla="*/ 38157 h 55979"/>
                    <a:gd name="connsiteX18" fmla="*/ 34269 w 80500"/>
                    <a:gd name="connsiteY18" fmla="*/ 34688 h 55979"/>
                    <a:gd name="connsiteX19" fmla="*/ 36841 w 80500"/>
                    <a:gd name="connsiteY19" fmla="*/ 27153 h 55979"/>
                    <a:gd name="connsiteX20" fmla="*/ 28887 w 80500"/>
                    <a:gd name="connsiteY20" fmla="*/ 8074 h 55979"/>
                    <a:gd name="connsiteX21" fmla="*/ 28289 w 80500"/>
                    <a:gd name="connsiteY21" fmla="*/ 1974 h 55979"/>
                    <a:gd name="connsiteX22" fmla="*/ 39413 w 80500"/>
                    <a:gd name="connsiteY22" fmla="*/ 29365 h 55979"/>
                    <a:gd name="connsiteX23" fmla="*/ 28289 w 80500"/>
                    <a:gd name="connsiteY23" fmla="*/ 2093 h 55979"/>
                    <a:gd name="connsiteX24" fmla="*/ 22248 w 80500"/>
                    <a:gd name="connsiteY24" fmla="*/ 1017 h 55979"/>
                    <a:gd name="connsiteX25" fmla="*/ 33133 w 80500"/>
                    <a:gd name="connsiteY25" fmla="*/ 1316 h 55979"/>
                    <a:gd name="connsiteX26" fmla="*/ 30920 w 80500"/>
                    <a:gd name="connsiteY26" fmla="*/ 4127 h 55979"/>
                    <a:gd name="connsiteX27" fmla="*/ 41626 w 80500"/>
                    <a:gd name="connsiteY27" fmla="*/ 30861 h 55979"/>
                    <a:gd name="connsiteX28" fmla="*/ 54664 w 80500"/>
                    <a:gd name="connsiteY28" fmla="*/ 24043 h 55979"/>
                    <a:gd name="connsiteX29" fmla="*/ 46889 w 80500"/>
                    <a:gd name="connsiteY29" fmla="*/ 4964 h 55979"/>
                    <a:gd name="connsiteX30" fmla="*/ 47726 w 80500"/>
                    <a:gd name="connsiteY30" fmla="*/ 4665 h 55979"/>
                    <a:gd name="connsiteX31" fmla="*/ 54723 w 80500"/>
                    <a:gd name="connsiteY31" fmla="*/ 21949 h 55979"/>
                    <a:gd name="connsiteX32" fmla="*/ 49042 w 80500"/>
                    <a:gd name="connsiteY32" fmla="*/ 5622 h 55979"/>
                    <a:gd name="connsiteX33" fmla="*/ 44855 w 80500"/>
                    <a:gd name="connsiteY33" fmla="*/ 1256 h 55979"/>
                    <a:gd name="connsiteX34" fmla="*/ 51793 w 80500"/>
                    <a:gd name="connsiteY34" fmla="*/ 1316 h 55979"/>
                    <a:gd name="connsiteX35" fmla="*/ 50358 w 80500"/>
                    <a:gd name="connsiteY35" fmla="*/ 5263 h 55979"/>
                    <a:gd name="connsiteX36" fmla="*/ 56577 w 80500"/>
                    <a:gd name="connsiteY36" fmla="*/ 20933 h 55979"/>
                    <a:gd name="connsiteX37" fmla="*/ 57654 w 80500"/>
                    <a:gd name="connsiteY37" fmla="*/ 20514 h 55979"/>
                    <a:gd name="connsiteX38" fmla="*/ 51614 w 80500"/>
                    <a:gd name="connsiteY38" fmla="*/ 5742 h 55979"/>
                    <a:gd name="connsiteX39" fmla="*/ 59628 w 80500"/>
                    <a:gd name="connsiteY39" fmla="*/ 26435 h 55979"/>
                    <a:gd name="connsiteX40" fmla="*/ 69855 w 80500"/>
                    <a:gd name="connsiteY40" fmla="*/ 53169 h 55979"/>
                    <a:gd name="connsiteX41" fmla="*/ 71649 w 80500"/>
                    <a:gd name="connsiteY41" fmla="*/ 52391 h 55979"/>
                    <a:gd name="connsiteX42" fmla="*/ 62199 w 80500"/>
                    <a:gd name="connsiteY42" fmla="*/ 29126 h 55979"/>
                    <a:gd name="connsiteX43" fmla="*/ 68958 w 80500"/>
                    <a:gd name="connsiteY43" fmla="*/ 43360 h 55979"/>
                    <a:gd name="connsiteX44" fmla="*/ 80500 w 80500"/>
                    <a:gd name="connsiteY44" fmla="*/ 55980 h 55979"/>
                    <a:gd name="connsiteX45" fmla="*/ 57415 w 80500"/>
                    <a:gd name="connsiteY45" fmla="*/ 53228 h 55979"/>
                    <a:gd name="connsiteX46" fmla="*/ 66027 w 80500"/>
                    <a:gd name="connsiteY46" fmla="*/ 53408 h 55979"/>
                    <a:gd name="connsiteX47" fmla="*/ 55022 w 80500"/>
                    <a:gd name="connsiteY47" fmla="*/ 26375 h 55979"/>
                    <a:gd name="connsiteX48" fmla="*/ 44915 w 80500"/>
                    <a:gd name="connsiteY48" fmla="*/ 36363 h 55979"/>
                    <a:gd name="connsiteX49" fmla="*/ 54604 w 80500"/>
                    <a:gd name="connsiteY49" fmla="*/ 31638 h 55979"/>
                    <a:gd name="connsiteX50" fmla="*/ 54963 w 80500"/>
                    <a:gd name="connsiteY50" fmla="*/ 32415 h 55979"/>
                    <a:gd name="connsiteX51" fmla="*/ 45035 w 80500"/>
                    <a:gd name="connsiteY51" fmla="*/ 38336 h 55979"/>
                    <a:gd name="connsiteX52" fmla="*/ 56398 w 80500"/>
                    <a:gd name="connsiteY52" fmla="*/ 54185 h 55979"/>
                    <a:gd name="connsiteX53" fmla="*/ 40669 w 80500"/>
                    <a:gd name="connsiteY53" fmla="*/ 35286 h 55979"/>
                    <a:gd name="connsiteX54" fmla="*/ 38635 w 80500"/>
                    <a:gd name="connsiteY54" fmla="*/ 34030 h 55979"/>
                    <a:gd name="connsiteX55" fmla="*/ 30083 w 80500"/>
                    <a:gd name="connsiteY55" fmla="*/ 38576 h 55979"/>
                    <a:gd name="connsiteX56" fmla="*/ 28528 w 80500"/>
                    <a:gd name="connsiteY56" fmla="*/ 42583 h 55979"/>
                    <a:gd name="connsiteX57" fmla="*/ 32714 w 80500"/>
                    <a:gd name="connsiteY57" fmla="*/ 43061 h 55979"/>
                    <a:gd name="connsiteX58" fmla="*/ 38815 w 80500"/>
                    <a:gd name="connsiteY58" fmla="*/ 39592 h 55979"/>
                    <a:gd name="connsiteX59" fmla="*/ 40669 w 80500"/>
                    <a:gd name="connsiteY59" fmla="*/ 35286 h 55979"/>
                    <a:gd name="connsiteX60" fmla="*/ 23743 w 80500"/>
                    <a:gd name="connsiteY60" fmla="*/ 38695 h 55979"/>
                    <a:gd name="connsiteX61" fmla="*/ 24581 w 80500"/>
                    <a:gd name="connsiteY61" fmla="*/ 38456 h 55979"/>
                    <a:gd name="connsiteX62" fmla="*/ 9928 w 80500"/>
                    <a:gd name="connsiteY62" fmla="*/ 2392 h 55979"/>
                    <a:gd name="connsiteX63" fmla="*/ 9090 w 80500"/>
                    <a:gd name="connsiteY63" fmla="*/ 2751 h 55979"/>
                    <a:gd name="connsiteX64" fmla="*/ 23743 w 80500"/>
                    <a:gd name="connsiteY64" fmla="*/ 38695 h 55979"/>
                    <a:gd name="connsiteX65" fmla="*/ 67402 w 80500"/>
                    <a:gd name="connsiteY65" fmla="*/ 52032 h 55979"/>
                    <a:gd name="connsiteX66" fmla="*/ 68120 w 80500"/>
                    <a:gd name="connsiteY66" fmla="*/ 51972 h 55979"/>
                    <a:gd name="connsiteX67" fmla="*/ 58013 w 80500"/>
                    <a:gd name="connsiteY67" fmla="*/ 27093 h 55979"/>
                    <a:gd name="connsiteX68" fmla="*/ 57415 w 80500"/>
                    <a:gd name="connsiteY68" fmla="*/ 27392 h 55979"/>
                    <a:gd name="connsiteX69" fmla="*/ 67402 w 80500"/>
                    <a:gd name="connsiteY69" fmla="*/ 52032 h 5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0500" h="55979">
                      <a:moveTo>
                        <a:pt x="56398" y="54185"/>
                      </a:moveTo>
                      <a:cubicBezTo>
                        <a:pt x="52690" y="53767"/>
                        <a:pt x="48922" y="53348"/>
                        <a:pt x="45154" y="52929"/>
                      </a:cubicBezTo>
                      <a:cubicBezTo>
                        <a:pt x="44377" y="48683"/>
                        <a:pt x="43599" y="44437"/>
                        <a:pt x="42643" y="39353"/>
                      </a:cubicBezTo>
                      <a:cubicBezTo>
                        <a:pt x="37559" y="41985"/>
                        <a:pt x="33970" y="43898"/>
                        <a:pt x="30442" y="45693"/>
                      </a:cubicBezTo>
                      <a:cubicBezTo>
                        <a:pt x="30561" y="49760"/>
                        <a:pt x="32356" y="51255"/>
                        <a:pt x="35765" y="51434"/>
                      </a:cubicBezTo>
                      <a:cubicBezTo>
                        <a:pt x="38994" y="51614"/>
                        <a:pt x="42164" y="52451"/>
                        <a:pt x="45393" y="52989"/>
                      </a:cubicBezTo>
                      <a:cubicBezTo>
                        <a:pt x="34927" y="51793"/>
                        <a:pt x="24461" y="50657"/>
                        <a:pt x="13935" y="49461"/>
                      </a:cubicBezTo>
                      <a:cubicBezTo>
                        <a:pt x="13935" y="49461"/>
                        <a:pt x="13875" y="49580"/>
                        <a:pt x="13875" y="49580"/>
                      </a:cubicBezTo>
                      <a:cubicBezTo>
                        <a:pt x="17643" y="48862"/>
                        <a:pt x="21411" y="48085"/>
                        <a:pt x="25717" y="47308"/>
                      </a:cubicBezTo>
                      <a:cubicBezTo>
                        <a:pt x="22966" y="38516"/>
                        <a:pt x="19856" y="44915"/>
                        <a:pt x="17105" y="44915"/>
                      </a:cubicBezTo>
                      <a:cubicBezTo>
                        <a:pt x="11423" y="30920"/>
                        <a:pt x="5681" y="16866"/>
                        <a:pt x="0" y="2811"/>
                      </a:cubicBezTo>
                      <a:cubicBezTo>
                        <a:pt x="299" y="2691"/>
                        <a:pt x="598" y="2572"/>
                        <a:pt x="897" y="2392"/>
                      </a:cubicBezTo>
                      <a:cubicBezTo>
                        <a:pt x="6280" y="15550"/>
                        <a:pt x="11603" y="28767"/>
                        <a:pt x="16985" y="41925"/>
                      </a:cubicBezTo>
                      <a:cubicBezTo>
                        <a:pt x="21770" y="41985"/>
                        <a:pt x="23384" y="40669"/>
                        <a:pt x="21411" y="35884"/>
                      </a:cubicBezTo>
                      <a:cubicBezTo>
                        <a:pt x="16447" y="24102"/>
                        <a:pt x="11722" y="12201"/>
                        <a:pt x="6758" y="0"/>
                      </a:cubicBezTo>
                      <a:cubicBezTo>
                        <a:pt x="11782" y="359"/>
                        <a:pt x="17105" y="718"/>
                        <a:pt x="22487" y="1077"/>
                      </a:cubicBezTo>
                      <a:cubicBezTo>
                        <a:pt x="18959" y="1435"/>
                        <a:pt x="15371" y="1854"/>
                        <a:pt x="12081" y="2153"/>
                      </a:cubicBezTo>
                      <a:cubicBezTo>
                        <a:pt x="16985" y="14174"/>
                        <a:pt x="21770" y="26016"/>
                        <a:pt x="26734" y="38157"/>
                      </a:cubicBezTo>
                      <a:cubicBezTo>
                        <a:pt x="29664" y="36781"/>
                        <a:pt x="31877" y="35466"/>
                        <a:pt x="34269" y="34688"/>
                      </a:cubicBezTo>
                      <a:cubicBezTo>
                        <a:pt x="38037" y="33432"/>
                        <a:pt x="38815" y="31339"/>
                        <a:pt x="36841" y="27153"/>
                      </a:cubicBezTo>
                      <a:cubicBezTo>
                        <a:pt x="33911" y="20933"/>
                        <a:pt x="31339" y="14533"/>
                        <a:pt x="28887" y="8074"/>
                      </a:cubicBezTo>
                      <a:cubicBezTo>
                        <a:pt x="28169" y="6220"/>
                        <a:pt x="28468" y="3947"/>
                        <a:pt x="28289" y="1974"/>
                      </a:cubicBezTo>
                      <a:cubicBezTo>
                        <a:pt x="31997" y="11124"/>
                        <a:pt x="35705" y="20215"/>
                        <a:pt x="39413" y="29365"/>
                      </a:cubicBezTo>
                      <a:cubicBezTo>
                        <a:pt x="35705" y="20275"/>
                        <a:pt x="31997" y="11184"/>
                        <a:pt x="28289" y="2093"/>
                      </a:cubicBezTo>
                      <a:cubicBezTo>
                        <a:pt x="26255" y="1734"/>
                        <a:pt x="24282" y="1376"/>
                        <a:pt x="22248" y="1017"/>
                      </a:cubicBezTo>
                      <a:cubicBezTo>
                        <a:pt x="25896" y="1136"/>
                        <a:pt x="29545" y="1196"/>
                        <a:pt x="33133" y="1316"/>
                      </a:cubicBezTo>
                      <a:cubicBezTo>
                        <a:pt x="32356" y="2273"/>
                        <a:pt x="30681" y="3588"/>
                        <a:pt x="30920" y="4127"/>
                      </a:cubicBezTo>
                      <a:cubicBezTo>
                        <a:pt x="34269" y="12918"/>
                        <a:pt x="37918" y="21650"/>
                        <a:pt x="41626" y="30861"/>
                      </a:cubicBezTo>
                      <a:cubicBezTo>
                        <a:pt x="46410" y="28349"/>
                        <a:pt x="50358" y="26315"/>
                        <a:pt x="54664" y="24043"/>
                      </a:cubicBezTo>
                      <a:cubicBezTo>
                        <a:pt x="51853" y="17165"/>
                        <a:pt x="49400" y="11064"/>
                        <a:pt x="46889" y="4964"/>
                      </a:cubicBezTo>
                      <a:cubicBezTo>
                        <a:pt x="47188" y="4844"/>
                        <a:pt x="47487" y="4725"/>
                        <a:pt x="47726" y="4665"/>
                      </a:cubicBezTo>
                      <a:cubicBezTo>
                        <a:pt x="50059" y="10406"/>
                        <a:pt x="52391" y="16208"/>
                        <a:pt x="54723" y="21949"/>
                      </a:cubicBezTo>
                      <a:cubicBezTo>
                        <a:pt x="53468" y="16268"/>
                        <a:pt x="51434" y="10825"/>
                        <a:pt x="49042" y="5622"/>
                      </a:cubicBezTo>
                      <a:cubicBezTo>
                        <a:pt x="48205" y="3888"/>
                        <a:pt x="46291" y="2691"/>
                        <a:pt x="44855" y="1256"/>
                      </a:cubicBezTo>
                      <a:cubicBezTo>
                        <a:pt x="47188" y="1256"/>
                        <a:pt x="49460" y="1256"/>
                        <a:pt x="51793" y="1316"/>
                      </a:cubicBezTo>
                      <a:cubicBezTo>
                        <a:pt x="51255" y="2632"/>
                        <a:pt x="49999" y="4246"/>
                        <a:pt x="50358" y="5263"/>
                      </a:cubicBezTo>
                      <a:cubicBezTo>
                        <a:pt x="52212" y="10586"/>
                        <a:pt x="54484" y="15729"/>
                        <a:pt x="56577" y="20933"/>
                      </a:cubicBezTo>
                      <a:cubicBezTo>
                        <a:pt x="56936" y="20813"/>
                        <a:pt x="57295" y="20633"/>
                        <a:pt x="57654" y="20514"/>
                      </a:cubicBezTo>
                      <a:cubicBezTo>
                        <a:pt x="55621" y="15610"/>
                        <a:pt x="53647" y="10646"/>
                        <a:pt x="51614" y="5742"/>
                      </a:cubicBezTo>
                      <a:cubicBezTo>
                        <a:pt x="54006" y="12679"/>
                        <a:pt x="58850" y="18181"/>
                        <a:pt x="59628" y="26435"/>
                      </a:cubicBezTo>
                      <a:cubicBezTo>
                        <a:pt x="60465" y="35406"/>
                        <a:pt x="66266" y="44257"/>
                        <a:pt x="69855" y="53169"/>
                      </a:cubicBezTo>
                      <a:cubicBezTo>
                        <a:pt x="70453" y="52929"/>
                        <a:pt x="71051" y="52690"/>
                        <a:pt x="71649" y="52391"/>
                      </a:cubicBezTo>
                      <a:cubicBezTo>
                        <a:pt x="68479" y="44616"/>
                        <a:pt x="65309" y="36841"/>
                        <a:pt x="62199" y="29126"/>
                      </a:cubicBezTo>
                      <a:cubicBezTo>
                        <a:pt x="65070" y="33671"/>
                        <a:pt x="67283" y="38396"/>
                        <a:pt x="68958" y="43360"/>
                      </a:cubicBezTo>
                      <a:cubicBezTo>
                        <a:pt x="71051" y="49580"/>
                        <a:pt x="73383" y="55262"/>
                        <a:pt x="80500" y="55980"/>
                      </a:cubicBezTo>
                      <a:cubicBezTo>
                        <a:pt x="72785" y="55082"/>
                        <a:pt x="65130" y="54126"/>
                        <a:pt x="57415" y="53228"/>
                      </a:cubicBezTo>
                      <a:cubicBezTo>
                        <a:pt x="60166" y="53288"/>
                        <a:pt x="62857" y="53348"/>
                        <a:pt x="66027" y="53408"/>
                      </a:cubicBezTo>
                      <a:cubicBezTo>
                        <a:pt x="62199" y="44018"/>
                        <a:pt x="58611" y="35167"/>
                        <a:pt x="55022" y="26375"/>
                      </a:cubicBezTo>
                      <a:cubicBezTo>
                        <a:pt x="43300" y="29605"/>
                        <a:pt x="41446" y="31518"/>
                        <a:pt x="44915" y="36363"/>
                      </a:cubicBezTo>
                      <a:cubicBezTo>
                        <a:pt x="48145" y="34808"/>
                        <a:pt x="51374" y="33193"/>
                        <a:pt x="54604" y="31638"/>
                      </a:cubicBezTo>
                      <a:cubicBezTo>
                        <a:pt x="54723" y="31877"/>
                        <a:pt x="54843" y="32176"/>
                        <a:pt x="54963" y="32415"/>
                      </a:cubicBezTo>
                      <a:cubicBezTo>
                        <a:pt x="51733" y="34329"/>
                        <a:pt x="48504" y="36243"/>
                        <a:pt x="45035" y="38336"/>
                      </a:cubicBezTo>
                      <a:cubicBezTo>
                        <a:pt x="47726" y="44855"/>
                        <a:pt x="48264" y="52451"/>
                        <a:pt x="56398" y="54185"/>
                      </a:cubicBezTo>
                      <a:close/>
                      <a:moveTo>
                        <a:pt x="40669" y="35286"/>
                      </a:moveTo>
                      <a:cubicBezTo>
                        <a:pt x="40011" y="34868"/>
                        <a:pt x="39353" y="34449"/>
                        <a:pt x="38635" y="34030"/>
                      </a:cubicBezTo>
                      <a:cubicBezTo>
                        <a:pt x="35765" y="35526"/>
                        <a:pt x="32774" y="36722"/>
                        <a:pt x="30083" y="38576"/>
                      </a:cubicBezTo>
                      <a:cubicBezTo>
                        <a:pt x="29126" y="39234"/>
                        <a:pt x="29006" y="41207"/>
                        <a:pt x="28528" y="42583"/>
                      </a:cubicBezTo>
                      <a:cubicBezTo>
                        <a:pt x="29963" y="42762"/>
                        <a:pt x="31518" y="43480"/>
                        <a:pt x="32714" y="43061"/>
                      </a:cubicBezTo>
                      <a:cubicBezTo>
                        <a:pt x="34927" y="42284"/>
                        <a:pt x="37021" y="41088"/>
                        <a:pt x="38815" y="39592"/>
                      </a:cubicBezTo>
                      <a:cubicBezTo>
                        <a:pt x="39831" y="38636"/>
                        <a:pt x="40071" y="36722"/>
                        <a:pt x="40669" y="35286"/>
                      </a:cubicBezTo>
                      <a:close/>
                      <a:moveTo>
                        <a:pt x="23743" y="38695"/>
                      </a:moveTo>
                      <a:cubicBezTo>
                        <a:pt x="24042" y="38636"/>
                        <a:pt x="24342" y="38516"/>
                        <a:pt x="24581" y="38456"/>
                      </a:cubicBezTo>
                      <a:cubicBezTo>
                        <a:pt x="19676" y="26435"/>
                        <a:pt x="14772" y="14414"/>
                        <a:pt x="9928" y="2392"/>
                      </a:cubicBezTo>
                      <a:cubicBezTo>
                        <a:pt x="9629" y="2512"/>
                        <a:pt x="9390" y="2632"/>
                        <a:pt x="9090" y="2751"/>
                      </a:cubicBezTo>
                      <a:cubicBezTo>
                        <a:pt x="13995" y="14713"/>
                        <a:pt x="18899" y="26674"/>
                        <a:pt x="23743" y="38695"/>
                      </a:cubicBezTo>
                      <a:close/>
                      <a:moveTo>
                        <a:pt x="67402" y="52032"/>
                      </a:moveTo>
                      <a:cubicBezTo>
                        <a:pt x="67642" y="52032"/>
                        <a:pt x="67881" y="51972"/>
                        <a:pt x="68120" y="51972"/>
                      </a:cubicBezTo>
                      <a:cubicBezTo>
                        <a:pt x="64771" y="43659"/>
                        <a:pt x="61362" y="35406"/>
                        <a:pt x="58013" y="27093"/>
                      </a:cubicBezTo>
                      <a:cubicBezTo>
                        <a:pt x="57833" y="27212"/>
                        <a:pt x="57594" y="27272"/>
                        <a:pt x="57415" y="27392"/>
                      </a:cubicBezTo>
                      <a:cubicBezTo>
                        <a:pt x="60704" y="35585"/>
                        <a:pt x="64053" y="43779"/>
                        <a:pt x="67402" y="5203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39" name="Vrije vorm: vorm 9338">
                  <a:extLst>
                    <a:ext uri="{FF2B5EF4-FFF2-40B4-BE49-F238E27FC236}">
                      <a16:creationId xmlns:a16="http://schemas.microsoft.com/office/drawing/2014/main" id="{5AC01454-F8FB-4C67-845A-D99076641AAD}"/>
                    </a:ext>
                  </a:extLst>
                </p:cNvPr>
                <p:cNvSpPr/>
                <p:nvPr/>
              </p:nvSpPr>
              <p:spPr>
                <a:xfrm>
                  <a:off x="5502046" y="1938571"/>
                  <a:ext cx="55304" cy="85643"/>
                </a:xfrm>
                <a:custGeom>
                  <a:avLst/>
                  <a:gdLst>
                    <a:gd name="connsiteX0" fmla="*/ 16206 w 55304"/>
                    <a:gd name="connsiteY0" fmla="*/ 47547 h 85643"/>
                    <a:gd name="connsiteX1" fmla="*/ 28467 w 55304"/>
                    <a:gd name="connsiteY1" fmla="*/ 77690 h 85643"/>
                    <a:gd name="connsiteX2" fmla="*/ 29185 w 55304"/>
                    <a:gd name="connsiteY2" fmla="*/ 77450 h 85643"/>
                    <a:gd name="connsiteX3" fmla="*/ 18300 w 55304"/>
                    <a:gd name="connsiteY3" fmla="*/ 50716 h 85643"/>
                    <a:gd name="connsiteX4" fmla="*/ 19675 w 55304"/>
                    <a:gd name="connsiteY4" fmla="*/ 50118 h 85643"/>
                    <a:gd name="connsiteX5" fmla="*/ 30979 w 55304"/>
                    <a:gd name="connsiteY5" fmla="*/ 77929 h 85643"/>
                    <a:gd name="connsiteX6" fmla="*/ 45333 w 55304"/>
                    <a:gd name="connsiteY6" fmla="*/ 68659 h 85643"/>
                    <a:gd name="connsiteX7" fmla="*/ 45751 w 55304"/>
                    <a:gd name="connsiteY7" fmla="*/ 69376 h 85643"/>
                    <a:gd name="connsiteX8" fmla="*/ 29962 w 55304"/>
                    <a:gd name="connsiteY8" fmla="*/ 81039 h 85643"/>
                    <a:gd name="connsiteX9" fmla="*/ 30081 w 55304"/>
                    <a:gd name="connsiteY9" fmla="*/ 82295 h 85643"/>
                    <a:gd name="connsiteX10" fmla="*/ 52928 w 55304"/>
                    <a:gd name="connsiteY10" fmla="*/ 83192 h 85643"/>
                    <a:gd name="connsiteX11" fmla="*/ 53048 w 55304"/>
                    <a:gd name="connsiteY11" fmla="*/ 85106 h 85643"/>
                    <a:gd name="connsiteX12" fmla="*/ 28168 w 55304"/>
                    <a:gd name="connsiteY12" fmla="*/ 84986 h 85643"/>
                    <a:gd name="connsiteX13" fmla="*/ 16386 w 55304"/>
                    <a:gd name="connsiteY13" fmla="*/ 56279 h 85643"/>
                    <a:gd name="connsiteX14" fmla="*/ 9568 w 55304"/>
                    <a:gd name="connsiteY14" fmla="*/ 44257 h 85643"/>
                    <a:gd name="connsiteX15" fmla="*/ 8671 w 55304"/>
                    <a:gd name="connsiteY15" fmla="*/ 36542 h 85643"/>
                    <a:gd name="connsiteX16" fmla="*/ 178 w 55304"/>
                    <a:gd name="connsiteY16" fmla="*/ 14354 h 85643"/>
                    <a:gd name="connsiteX17" fmla="*/ 656 w 55304"/>
                    <a:gd name="connsiteY17" fmla="*/ 8911 h 85643"/>
                    <a:gd name="connsiteX18" fmla="*/ 3647 w 55304"/>
                    <a:gd name="connsiteY18" fmla="*/ 8911 h 85643"/>
                    <a:gd name="connsiteX19" fmla="*/ 9807 w 55304"/>
                    <a:gd name="connsiteY19" fmla="*/ 31638 h 85643"/>
                    <a:gd name="connsiteX20" fmla="*/ 21649 w 55304"/>
                    <a:gd name="connsiteY20" fmla="*/ 42762 h 85643"/>
                    <a:gd name="connsiteX21" fmla="*/ 38036 w 55304"/>
                    <a:gd name="connsiteY21" fmla="*/ 42523 h 85643"/>
                    <a:gd name="connsiteX22" fmla="*/ 21110 w 55304"/>
                    <a:gd name="connsiteY22" fmla="*/ 897 h 85643"/>
                    <a:gd name="connsiteX23" fmla="*/ 23264 w 55304"/>
                    <a:gd name="connsiteY23" fmla="*/ 0 h 85643"/>
                    <a:gd name="connsiteX24" fmla="*/ 34508 w 55304"/>
                    <a:gd name="connsiteY24" fmla="*/ 26794 h 85643"/>
                    <a:gd name="connsiteX25" fmla="*/ 36541 w 55304"/>
                    <a:gd name="connsiteY25" fmla="*/ 34270 h 85643"/>
                    <a:gd name="connsiteX26" fmla="*/ 53765 w 55304"/>
                    <a:gd name="connsiteY26" fmla="*/ 77929 h 85643"/>
                    <a:gd name="connsiteX27" fmla="*/ 55260 w 55304"/>
                    <a:gd name="connsiteY27" fmla="*/ 85644 h 85643"/>
                    <a:gd name="connsiteX28" fmla="*/ 49818 w 55304"/>
                    <a:gd name="connsiteY28" fmla="*/ 72247 h 85643"/>
                    <a:gd name="connsiteX29" fmla="*/ 40488 w 55304"/>
                    <a:gd name="connsiteY29" fmla="*/ 49042 h 85643"/>
                    <a:gd name="connsiteX30" fmla="*/ 34687 w 55304"/>
                    <a:gd name="connsiteY30" fmla="*/ 46291 h 85643"/>
                    <a:gd name="connsiteX31" fmla="*/ 24460 w 55304"/>
                    <a:gd name="connsiteY31" fmla="*/ 47068 h 85643"/>
                    <a:gd name="connsiteX32" fmla="*/ 16206 w 55304"/>
                    <a:gd name="connsiteY32" fmla="*/ 47547 h 8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5304" h="85643">
                      <a:moveTo>
                        <a:pt x="16206" y="47547"/>
                      </a:moveTo>
                      <a:cubicBezTo>
                        <a:pt x="20572" y="58252"/>
                        <a:pt x="24519" y="68001"/>
                        <a:pt x="28467" y="77690"/>
                      </a:cubicBezTo>
                      <a:cubicBezTo>
                        <a:pt x="28706" y="77630"/>
                        <a:pt x="28945" y="77510"/>
                        <a:pt x="29185" y="77450"/>
                      </a:cubicBezTo>
                      <a:cubicBezTo>
                        <a:pt x="25536" y="68539"/>
                        <a:pt x="21948" y="59628"/>
                        <a:pt x="18300" y="50716"/>
                      </a:cubicBezTo>
                      <a:cubicBezTo>
                        <a:pt x="18778" y="50537"/>
                        <a:pt x="19197" y="50298"/>
                        <a:pt x="19675" y="50118"/>
                      </a:cubicBezTo>
                      <a:cubicBezTo>
                        <a:pt x="23383" y="59149"/>
                        <a:pt x="27032" y="68240"/>
                        <a:pt x="30979" y="77929"/>
                      </a:cubicBezTo>
                      <a:cubicBezTo>
                        <a:pt x="36302" y="74520"/>
                        <a:pt x="40847" y="71589"/>
                        <a:pt x="45333" y="68659"/>
                      </a:cubicBezTo>
                      <a:cubicBezTo>
                        <a:pt x="45452" y="68898"/>
                        <a:pt x="45632" y="69137"/>
                        <a:pt x="45751" y="69376"/>
                      </a:cubicBezTo>
                      <a:cubicBezTo>
                        <a:pt x="40488" y="73264"/>
                        <a:pt x="35225" y="77151"/>
                        <a:pt x="29962" y="81039"/>
                      </a:cubicBezTo>
                      <a:cubicBezTo>
                        <a:pt x="30022" y="81457"/>
                        <a:pt x="30022" y="81876"/>
                        <a:pt x="30081" y="82295"/>
                      </a:cubicBezTo>
                      <a:cubicBezTo>
                        <a:pt x="37677" y="82594"/>
                        <a:pt x="45333" y="82893"/>
                        <a:pt x="52928" y="83192"/>
                      </a:cubicBezTo>
                      <a:cubicBezTo>
                        <a:pt x="52988" y="83850"/>
                        <a:pt x="52988" y="84448"/>
                        <a:pt x="53048" y="85106"/>
                      </a:cubicBezTo>
                      <a:cubicBezTo>
                        <a:pt x="44674" y="85046"/>
                        <a:pt x="36362" y="85046"/>
                        <a:pt x="28168" y="84986"/>
                      </a:cubicBezTo>
                      <a:cubicBezTo>
                        <a:pt x="24280" y="75357"/>
                        <a:pt x="20512" y="65728"/>
                        <a:pt x="16386" y="56279"/>
                      </a:cubicBezTo>
                      <a:cubicBezTo>
                        <a:pt x="14651" y="52271"/>
                        <a:pt x="12139" y="48683"/>
                        <a:pt x="9568" y="44257"/>
                      </a:cubicBezTo>
                      <a:cubicBezTo>
                        <a:pt x="9388" y="42403"/>
                        <a:pt x="9628" y="39234"/>
                        <a:pt x="8671" y="36542"/>
                      </a:cubicBezTo>
                      <a:cubicBezTo>
                        <a:pt x="6039" y="29066"/>
                        <a:pt x="2809" y="21830"/>
                        <a:pt x="178" y="14354"/>
                      </a:cubicBezTo>
                      <a:cubicBezTo>
                        <a:pt x="-360" y="12799"/>
                        <a:pt x="477" y="10765"/>
                        <a:pt x="656" y="8911"/>
                      </a:cubicBezTo>
                      <a:cubicBezTo>
                        <a:pt x="1673" y="8911"/>
                        <a:pt x="2630" y="8911"/>
                        <a:pt x="3647" y="8911"/>
                      </a:cubicBezTo>
                      <a:cubicBezTo>
                        <a:pt x="5740" y="16507"/>
                        <a:pt x="8312" y="23983"/>
                        <a:pt x="9807" y="31638"/>
                      </a:cubicBezTo>
                      <a:cubicBezTo>
                        <a:pt x="11242" y="39054"/>
                        <a:pt x="14651" y="42822"/>
                        <a:pt x="21649" y="42762"/>
                      </a:cubicBezTo>
                      <a:cubicBezTo>
                        <a:pt x="26792" y="42702"/>
                        <a:pt x="31876" y="42642"/>
                        <a:pt x="38036" y="42523"/>
                      </a:cubicBezTo>
                      <a:cubicBezTo>
                        <a:pt x="32175" y="28109"/>
                        <a:pt x="26613" y="14533"/>
                        <a:pt x="21110" y="897"/>
                      </a:cubicBezTo>
                      <a:cubicBezTo>
                        <a:pt x="21828" y="598"/>
                        <a:pt x="22546" y="299"/>
                        <a:pt x="23264" y="0"/>
                      </a:cubicBezTo>
                      <a:cubicBezTo>
                        <a:pt x="27032" y="8911"/>
                        <a:pt x="30859" y="17823"/>
                        <a:pt x="34508" y="26794"/>
                      </a:cubicBezTo>
                      <a:cubicBezTo>
                        <a:pt x="35464" y="29186"/>
                        <a:pt x="35584" y="31877"/>
                        <a:pt x="36541" y="34270"/>
                      </a:cubicBezTo>
                      <a:cubicBezTo>
                        <a:pt x="42223" y="48862"/>
                        <a:pt x="48024" y="63336"/>
                        <a:pt x="53765" y="77929"/>
                      </a:cubicBezTo>
                      <a:cubicBezTo>
                        <a:pt x="54722" y="80321"/>
                        <a:pt x="55500" y="82773"/>
                        <a:pt x="55260" y="85644"/>
                      </a:cubicBezTo>
                      <a:cubicBezTo>
                        <a:pt x="53466" y="81158"/>
                        <a:pt x="51612" y="76733"/>
                        <a:pt x="49818" y="72247"/>
                      </a:cubicBezTo>
                      <a:cubicBezTo>
                        <a:pt x="46708" y="64532"/>
                        <a:pt x="43598" y="56757"/>
                        <a:pt x="40488" y="49042"/>
                      </a:cubicBezTo>
                      <a:cubicBezTo>
                        <a:pt x="39292" y="46111"/>
                        <a:pt x="38694" y="43420"/>
                        <a:pt x="34687" y="46291"/>
                      </a:cubicBezTo>
                      <a:cubicBezTo>
                        <a:pt x="32235" y="48025"/>
                        <a:pt x="27928" y="46949"/>
                        <a:pt x="24460" y="47068"/>
                      </a:cubicBezTo>
                      <a:cubicBezTo>
                        <a:pt x="22008" y="47367"/>
                        <a:pt x="19496" y="47427"/>
                        <a:pt x="16206" y="4754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40" name="Vrije vorm: vorm 9339">
                  <a:extLst>
                    <a:ext uri="{FF2B5EF4-FFF2-40B4-BE49-F238E27FC236}">
                      <a16:creationId xmlns:a16="http://schemas.microsoft.com/office/drawing/2014/main" id="{F3D838A4-3F3A-415B-B0F2-49928F11B928}"/>
                    </a:ext>
                  </a:extLst>
                </p:cNvPr>
                <p:cNvSpPr/>
                <p:nvPr/>
              </p:nvSpPr>
              <p:spPr>
                <a:xfrm>
                  <a:off x="5463110" y="1960461"/>
                  <a:ext cx="55560" cy="84268"/>
                </a:xfrm>
                <a:custGeom>
                  <a:avLst/>
                  <a:gdLst>
                    <a:gd name="connsiteX0" fmla="*/ 54843 w 55560"/>
                    <a:gd name="connsiteY0" fmla="*/ 79843 h 84268"/>
                    <a:gd name="connsiteX1" fmla="*/ 50716 w 55560"/>
                    <a:gd name="connsiteY1" fmla="*/ 71230 h 84268"/>
                    <a:gd name="connsiteX2" fmla="*/ 32296 w 55560"/>
                    <a:gd name="connsiteY2" fmla="*/ 84268 h 84268"/>
                    <a:gd name="connsiteX3" fmla="*/ 0 w 55560"/>
                    <a:gd name="connsiteY3" fmla="*/ 4964 h 84268"/>
                    <a:gd name="connsiteX4" fmla="*/ 1316 w 55560"/>
                    <a:gd name="connsiteY4" fmla="*/ 4306 h 84268"/>
                    <a:gd name="connsiteX5" fmla="*/ 10048 w 55560"/>
                    <a:gd name="connsiteY5" fmla="*/ 21710 h 84268"/>
                    <a:gd name="connsiteX6" fmla="*/ 11423 w 55560"/>
                    <a:gd name="connsiteY6" fmla="*/ 21112 h 84268"/>
                    <a:gd name="connsiteX7" fmla="*/ 6100 w 55560"/>
                    <a:gd name="connsiteY7" fmla="*/ 7954 h 84268"/>
                    <a:gd name="connsiteX8" fmla="*/ 7596 w 55560"/>
                    <a:gd name="connsiteY8" fmla="*/ 7356 h 84268"/>
                    <a:gd name="connsiteX9" fmla="*/ 11543 w 55560"/>
                    <a:gd name="connsiteY9" fmla="*/ 17284 h 84268"/>
                    <a:gd name="connsiteX10" fmla="*/ 17404 w 55560"/>
                    <a:gd name="connsiteY10" fmla="*/ 21471 h 84268"/>
                    <a:gd name="connsiteX11" fmla="*/ 31100 w 55560"/>
                    <a:gd name="connsiteY11" fmla="*/ 21650 h 84268"/>
                    <a:gd name="connsiteX12" fmla="*/ 22428 w 55560"/>
                    <a:gd name="connsiteY12" fmla="*/ 299 h 84268"/>
                    <a:gd name="connsiteX13" fmla="*/ 23205 w 55560"/>
                    <a:gd name="connsiteY13" fmla="*/ 0 h 84268"/>
                    <a:gd name="connsiteX14" fmla="*/ 55561 w 55560"/>
                    <a:gd name="connsiteY14" fmla="*/ 79484 h 84268"/>
                    <a:gd name="connsiteX15" fmla="*/ 54843 w 55560"/>
                    <a:gd name="connsiteY15" fmla="*/ 79843 h 84268"/>
                    <a:gd name="connsiteX16" fmla="*/ 35047 w 55560"/>
                    <a:gd name="connsiteY16" fmla="*/ 32475 h 84268"/>
                    <a:gd name="connsiteX17" fmla="*/ 21830 w 55560"/>
                    <a:gd name="connsiteY17" fmla="*/ 41686 h 84268"/>
                    <a:gd name="connsiteX18" fmla="*/ 19916 w 55560"/>
                    <a:gd name="connsiteY18" fmla="*/ 48264 h 84268"/>
                    <a:gd name="connsiteX19" fmla="*/ 25717 w 55560"/>
                    <a:gd name="connsiteY19" fmla="*/ 62977 h 84268"/>
                    <a:gd name="connsiteX20" fmla="*/ 31937 w 55560"/>
                    <a:gd name="connsiteY20" fmla="*/ 67702 h 84268"/>
                    <a:gd name="connsiteX21" fmla="*/ 43001 w 55560"/>
                    <a:gd name="connsiteY21" fmla="*/ 68001 h 84268"/>
                    <a:gd name="connsiteX22" fmla="*/ 43061 w 55560"/>
                    <a:gd name="connsiteY22" fmla="*/ 69018 h 84268"/>
                    <a:gd name="connsiteX23" fmla="*/ 28648 w 55560"/>
                    <a:gd name="connsiteY23" fmla="*/ 69077 h 84268"/>
                    <a:gd name="connsiteX24" fmla="*/ 33612 w 55560"/>
                    <a:gd name="connsiteY24" fmla="*/ 81338 h 84268"/>
                    <a:gd name="connsiteX25" fmla="*/ 49820 w 55560"/>
                    <a:gd name="connsiteY25" fmla="*/ 70034 h 84268"/>
                    <a:gd name="connsiteX26" fmla="*/ 41745 w 55560"/>
                    <a:gd name="connsiteY26" fmla="*/ 62439 h 84268"/>
                    <a:gd name="connsiteX27" fmla="*/ 28648 w 55560"/>
                    <a:gd name="connsiteY27" fmla="*/ 62259 h 84268"/>
                    <a:gd name="connsiteX28" fmla="*/ 22368 w 55560"/>
                    <a:gd name="connsiteY28" fmla="*/ 46829 h 84268"/>
                    <a:gd name="connsiteX29" fmla="*/ 23684 w 55560"/>
                    <a:gd name="connsiteY29" fmla="*/ 46351 h 84268"/>
                    <a:gd name="connsiteX30" fmla="*/ 29545 w 55560"/>
                    <a:gd name="connsiteY30" fmla="*/ 60824 h 84268"/>
                    <a:gd name="connsiteX31" fmla="*/ 31100 w 55560"/>
                    <a:gd name="connsiteY31" fmla="*/ 60226 h 84268"/>
                    <a:gd name="connsiteX32" fmla="*/ 25418 w 55560"/>
                    <a:gd name="connsiteY32" fmla="*/ 46231 h 84268"/>
                    <a:gd name="connsiteX33" fmla="*/ 46410 w 55560"/>
                    <a:gd name="connsiteY33" fmla="*/ 60286 h 84268"/>
                    <a:gd name="connsiteX34" fmla="*/ 35047 w 55560"/>
                    <a:gd name="connsiteY34" fmla="*/ 32475 h 84268"/>
                    <a:gd name="connsiteX35" fmla="*/ 32714 w 55560"/>
                    <a:gd name="connsiteY35" fmla="*/ 26913 h 84268"/>
                    <a:gd name="connsiteX36" fmla="*/ 32236 w 55560"/>
                    <a:gd name="connsiteY36" fmla="*/ 25597 h 84268"/>
                    <a:gd name="connsiteX37" fmla="*/ 15371 w 55560"/>
                    <a:gd name="connsiteY37" fmla="*/ 25837 h 84268"/>
                    <a:gd name="connsiteX38" fmla="*/ 19318 w 55560"/>
                    <a:gd name="connsiteY38" fmla="*/ 35585 h 84268"/>
                    <a:gd name="connsiteX39" fmla="*/ 32714 w 55560"/>
                    <a:gd name="connsiteY39" fmla="*/ 26913 h 84268"/>
                    <a:gd name="connsiteX40" fmla="*/ 34210 w 55560"/>
                    <a:gd name="connsiteY40" fmla="*/ 30023 h 84268"/>
                    <a:gd name="connsiteX41" fmla="*/ 33133 w 55560"/>
                    <a:gd name="connsiteY41" fmla="*/ 28229 h 84268"/>
                    <a:gd name="connsiteX42" fmla="*/ 16806 w 55560"/>
                    <a:gd name="connsiteY42" fmla="*/ 39174 h 84268"/>
                    <a:gd name="connsiteX43" fmla="*/ 17882 w 55560"/>
                    <a:gd name="connsiteY43" fmla="*/ 40908 h 84268"/>
                    <a:gd name="connsiteX44" fmla="*/ 34210 w 55560"/>
                    <a:gd name="connsiteY44" fmla="*/ 30023 h 84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5560" h="84268">
                      <a:moveTo>
                        <a:pt x="54843" y="79843"/>
                      </a:moveTo>
                      <a:cubicBezTo>
                        <a:pt x="53587" y="77211"/>
                        <a:pt x="52331" y="74580"/>
                        <a:pt x="50716" y="71230"/>
                      </a:cubicBezTo>
                      <a:cubicBezTo>
                        <a:pt x="44437" y="75656"/>
                        <a:pt x="38456" y="79902"/>
                        <a:pt x="32296" y="84268"/>
                      </a:cubicBezTo>
                      <a:cubicBezTo>
                        <a:pt x="21650" y="58133"/>
                        <a:pt x="10825" y="31518"/>
                        <a:pt x="0" y="4964"/>
                      </a:cubicBezTo>
                      <a:cubicBezTo>
                        <a:pt x="419" y="4725"/>
                        <a:pt x="897" y="4545"/>
                        <a:pt x="1316" y="4306"/>
                      </a:cubicBezTo>
                      <a:cubicBezTo>
                        <a:pt x="4246" y="10107"/>
                        <a:pt x="7117" y="15909"/>
                        <a:pt x="10048" y="21710"/>
                      </a:cubicBezTo>
                      <a:cubicBezTo>
                        <a:pt x="10526" y="21531"/>
                        <a:pt x="11005" y="21351"/>
                        <a:pt x="11423" y="21112"/>
                      </a:cubicBezTo>
                      <a:cubicBezTo>
                        <a:pt x="9629" y="16746"/>
                        <a:pt x="7835" y="12320"/>
                        <a:pt x="6100" y="7954"/>
                      </a:cubicBezTo>
                      <a:cubicBezTo>
                        <a:pt x="6579" y="7775"/>
                        <a:pt x="7057" y="7536"/>
                        <a:pt x="7596" y="7356"/>
                      </a:cubicBezTo>
                      <a:cubicBezTo>
                        <a:pt x="8911" y="10646"/>
                        <a:pt x="10526" y="13875"/>
                        <a:pt x="11543" y="17284"/>
                      </a:cubicBezTo>
                      <a:cubicBezTo>
                        <a:pt x="12559" y="20634"/>
                        <a:pt x="14354" y="21650"/>
                        <a:pt x="17404" y="21471"/>
                      </a:cubicBezTo>
                      <a:cubicBezTo>
                        <a:pt x="21710" y="21291"/>
                        <a:pt x="26136" y="21531"/>
                        <a:pt x="31100" y="21650"/>
                      </a:cubicBezTo>
                      <a:cubicBezTo>
                        <a:pt x="28109" y="14294"/>
                        <a:pt x="25238" y="7296"/>
                        <a:pt x="22428" y="299"/>
                      </a:cubicBezTo>
                      <a:cubicBezTo>
                        <a:pt x="22667" y="179"/>
                        <a:pt x="22966" y="120"/>
                        <a:pt x="23205" y="0"/>
                      </a:cubicBezTo>
                      <a:cubicBezTo>
                        <a:pt x="33970" y="26495"/>
                        <a:pt x="44796" y="52989"/>
                        <a:pt x="55561" y="79484"/>
                      </a:cubicBezTo>
                      <a:cubicBezTo>
                        <a:pt x="55322" y="79603"/>
                        <a:pt x="55083" y="79723"/>
                        <a:pt x="54843" y="79843"/>
                      </a:cubicBezTo>
                      <a:close/>
                      <a:moveTo>
                        <a:pt x="35047" y="32475"/>
                      </a:moveTo>
                      <a:cubicBezTo>
                        <a:pt x="30561" y="35645"/>
                        <a:pt x="26375" y="38994"/>
                        <a:pt x="21830" y="41686"/>
                      </a:cubicBezTo>
                      <a:cubicBezTo>
                        <a:pt x="19019" y="43360"/>
                        <a:pt x="18481" y="45035"/>
                        <a:pt x="19916" y="48264"/>
                      </a:cubicBezTo>
                      <a:cubicBezTo>
                        <a:pt x="22069" y="53109"/>
                        <a:pt x="23983" y="58013"/>
                        <a:pt x="25717" y="62977"/>
                      </a:cubicBezTo>
                      <a:cubicBezTo>
                        <a:pt x="26913" y="66326"/>
                        <a:pt x="28468" y="67941"/>
                        <a:pt x="31937" y="67702"/>
                      </a:cubicBezTo>
                      <a:cubicBezTo>
                        <a:pt x="35585" y="67463"/>
                        <a:pt x="39293" y="67881"/>
                        <a:pt x="43001" y="68001"/>
                      </a:cubicBezTo>
                      <a:cubicBezTo>
                        <a:pt x="43001" y="68360"/>
                        <a:pt x="43061" y="68719"/>
                        <a:pt x="43061" y="69018"/>
                      </a:cubicBezTo>
                      <a:cubicBezTo>
                        <a:pt x="38396" y="69018"/>
                        <a:pt x="33791" y="69077"/>
                        <a:pt x="28648" y="69077"/>
                      </a:cubicBezTo>
                      <a:cubicBezTo>
                        <a:pt x="30442" y="73443"/>
                        <a:pt x="31877" y="77032"/>
                        <a:pt x="33612" y="81338"/>
                      </a:cubicBezTo>
                      <a:cubicBezTo>
                        <a:pt x="39473" y="77271"/>
                        <a:pt x="44915" y="73443"/>
                        <a:pt x="49820" y="70034"/>
                      </a:cubicBezTo>
                      <a:cubicBezTo>
                        <a:pt x="49401" y="63455"/>
                        <a:pt x="46410" y="62080"/>
                        <a:pt x="41745" y="62439"/>
                      </a:cubicBezTo>
                      <a:cubicBezTo>
                        <a:pt x="37260" y="62798"/>
                        <a:pt x="32655" y="62379"/>
                        <a:pt x="28648" y="62259"/>
                      </a:cubicBezTo>
                      <a:cubicBezTo>
                        <a:pt x="26435" y="56877"/>
                        <a:pt x="24401" y="51853"/>
                        <a:pt x="22368" y="46829"/>
                      </a:cubicBezTo>
                      <a:cubicBezTo>
                        <a:pt x="22787" y="46650"/>
                        <a:pt x="23205" y="46470"/>
                        <a:pt x="23684" y="46351"/>
                      </a:cubicBezTo>
                      <a:cubicBezTo>
                        <a:pt x="25657" y="51195"/>
                        <a:pt x="27631" y="55980"/>
                        <a:pt x="29545" y="60824"/>
                      </a:cubicBezTo>
                      <a:cubicBezTo>
                        <a:pt x="30083" y="60645"/>
                        <a:pt x="30561" y="60405"/>
                        <a:pt x="31100" y="60226"/>
                      </a:cubicBezTo>
                      <a:cubicBezTo>
                        <a:pt x="29186" y="55561"/>
                        <a:pt x="27272" y="50896"/>
                        <a:pt x="25418" y="46231"/>
                      </a:cubicBezTo>
                      <a:cubicBezTo>
                        <a:pt x="33671" y="62618"/>
                        <a:pt x="34748" y="63455"/>
                        <a:pt x="46410" y="60286"/>
                      </a:cubicBezTo>
                      <a:cubicBezTo>
                        <a:pt x="42463" y="50717"/>
                        <a:pt x="38636" y="41207"/>
                        <a:pt x="35047" y="32475"/>
                      </a:cubicBezTo>
                      <a:close/>
                      <a:moveTo>
                        <a:pt x="32714" y="26913"/>
                      </a:moveTo>
                      <a:cubicBezTo>
                        <a:pt x="32535" y="26495"/>
                        <a:pt x="32415" y="26016"/>
                        <a:pt x="32236" y="25597"/>
                      </a:cubicBezTo>
                      <a:cubicBezTo>
                        <a:pt x="26734" y="25657"/>
                        <a:pt x="21231" y="25777"/>
                        <a:pt x="15371" y="25837"/>
                      </a:cubicBezTo>
                      <a:cubicBezTo>
                        <a:pt x="16866" y="29545"/>
                        <a:pt x="18002" y="32236"/>
                        <a:pt x="19318" y="35585"/>
                      </a:cubicBezTo>
                      <a:cubicBezTo>
                        <a:pt x="24043" y="32535"/>
                        <a:pt x="28349" y="29724"/>
                        <a:pt x="32714" y="26913"/>
                      </a:cubicBezTo>
                      <a:close/>
                      <a:moveTo>
                        <a:pt x="34210" y="30023"/>
                      </a:moveTo>
                      <a:cubicBezTo>
                        <a:pt x="33851" y="29425"/>
                        <a:pt x="33492" y="28827"/>
                        <a:pt x="33133" y="28229"/>
                      </a:cubicBezTo>
                      <a:cubicBezTo>
                        <a:pt x="27691" y="31877"/>
                        <a:pt x="22248" y="35526"/>
                        <a:pt x="16806" y="39174"/>
                      </a:cubicBezTo>
                      <a:cubicBezTo>
                        <a:pt x="17165" y="39772"/>
                        <a:pt x="17523" y="40310"/>
                        <a:pt x="17882" y="40908"/>
                      </a:cubicBezTo>
                      <a:cubicBezTo>
                        <a:pt x="23265" y="37260"/>
                        <a:pt x="28707" y="33612"/>
                        <a:pt x="34210" y="3002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41" name="Vrije vorm: vorm 9340">
                  <a:extLst>
                    <a:ext uri="{FF2B5EF4-FFF2-40B4-BE49-F238E27FC236}">
                      <a16:creationId xmlns:a16="http://schemas.microsoft.com/office/drawing/2014/main" id="{9E22ECF5-FEB3-4734-95D1-CC3F65B997E8}"/>
                    </a:ext>
                  </a:extLst>
                </p:cNvPr>
                <p:cNvSpPr/>
                <p:nvPr/>
              </p:nvSpPr>
              <p:spPr>
                <a:xfrm>
                  <a:off x="4917728" y="1775597"/>
                  <a:ext cx="77749" cy="89411"/>
                </a:xfrm>
                <a:custGeom>
                  <a:avLst/>
                  <a:gdLst>
                    <a:gd name="connsiteX0" fmla="*/ 76912 w 77749"/>
                    <a:gd name="connsiteY0" fmla="*/ 63994 h 89411"/>
                    <a:gd name="connsiteX1" fmla="*/ 51793 w 77749"/>
                    <a:gd name="connsiteY1" fmla="*/ 2332 h 89411"/>
                    <a:gd name="connsiteX2" fmla="*/ 41865 w 77749"/>
                    <a:gd name="connsiteY2" fmla="*/ 6340 h 89411"/>
                    <a:gd name="connsiteX3" fmla="*/ 52810 w 77749"/>
                    <a:gd name="connsiteY3" fmla="*/ 33253 h 89411"/>
                    <a:gd name="connsiteX4" fmla="*/ 51554 w 77749"/>
                    <a:gd name="connsiteY4" fmla="*/ 33791 h 89411"/>
                    <a:gd name="connsiteX5" fmla="*/ 40549 w 77749"/>
                    <a:gd name="connsiteY5" fmla="*/ 6758 h 89411"/>
                    <a:gd name="connsiteX6" fmla="*/ 2572 w 77749"/>
                    <a:gd name="connsiteY6" fmla="*/ 24521 h 89411"/>
                    <a:gd name="connsiteX7" fmla="*/ 10825 w 77749"/>
                    <a:gd name="connsiteY7" fmla="*/ 31040 h 89411"/>
                    <a:gd name="connsiteX8" fmla="*/ 23265 w 77749"/>
                    <a:gd name="connsiteY8" fmla="*/ 29664 h 89411"/>
                    <a:gd name="connsiteX9" fmla="*/ 5861 w 77749"/>
                    <a:gd name="connsiteY9" fmla="*/ 33612 h 89411"/>
                    <a:gd name="connsiteX10" fmla="*/ 13098 w 77749"/>
                    <a:gd name="connsiteY10" fmla="*/ 51374 h 89411"/>
                    <a:gd name="connsiteX11" fmla="*/ 38636 w 77749"/>
                    <a:gd name="connsiteY11" fmla="*/ 39413 h 89411"/>
                    <a:gd name="connsiteX12" fmla="*/ 29246 w 77749"/>
                    <a:gd name="connsiteY12" fmla="*/ 16268 h 89411"/>
                    <a:gd name="connsiteX13" fmla="*/ 30442 w 77749"/>
                    <a:gd name="connsiteY13" fmla="*/ 15729 h 89411"/>
                    <a:gd name="connsiteX14" fmla="*/ 40370 w 77749"/>
                    <a:gd name="connsiteY14" fmla="*/ 40131 h 89411"/>
                    <a:gd name="connsiteX15" fmla="*/ 13696 w 77749"/>
                    <a:gd name="connsiteY15" fmla="*/ 52690 h 89411"/>
                    <a:gd name="connsiteX16" fmla="*/ 17165 w 77749"/>
                    <a:gd name="connsiteY16" fmla="*/ 61243 h 89411"/>
                    <a:gd name="connsiteX17" fmla="*/ 43420 w 77749"/>
                    <a:gd name="connsiteY17" fmla="*/ 48504 h 89411"/>
                    <a:gd name="connsiteX18" fmla="*/ 53528 w 77749"/>
                    <a:gd name="connsiteY18" fmla="*/ 73383 h 89411"/>
                    <a:gd name="connsiteX19" fmla="*/ 55441 w 77749"/>
                    <a:gd name="connsiteY19" fmla="*/ 73383 h 89411"/>
                    <a:gd name="connsiteX20" fmla="*/ 60645 w 77749"/>
                    <a:gd name="connsiteY20" fmla="*/ 58611 h 89411"/>
                    <a:gd name="connsiteX21" fmla="*/ 55441 w 77749"/>
                    <a:gd name="connsiteY21" fmla="*/ 43121 h 89411"/>
                    <a:gd name="connsiteX22" fmla="*/ 65190 w 77749"/>
                    <a:gd name="connsiteY22" fmla="*/ 67104 h 89411"/>
                    <a:gd name="connsiteX23" fmla="*/ 66267 w 77749"/>
                    <a:gd name="connsiteY23" fmla="*/ 66745 h 89411"/>
                    <a:gd name="connsiteX24" fmla="*/ 57893 w 77749"/>
                    <a:gd name="connsiteY24" fmla="*/ 46111 h 89411"/>
                    <a:gd name="connsiteX25" fmla="*/ 59209 w 77749"/>
                    <a:gd name="connsiteY25" fmla="*/ 45573 h 89411"/>
                    <a:gd name="connsiteX26" fmla="*/ 67941 w 77749"/>
                    <a:gd name="connsiteY26" fmla="*/ 66984 h 89411"/>
                    <a:gd name="connsiteX27" fmla="*/ 70154 w 77749"/>
                    <a:gd name="connsiteY27" fmla="*/ 66386 h 89411"/>
                    <a:gd name="connsiteX28" fmla="*/ 68180 w 77749"/>
                    <a:gd name="connsiteY28" fmla="*/ 59688 h 89411"/>
                    <a:gd name="connsiteX29" fmla="*/ 65190 w 77749"/>
                    <a:gd name="connsiteY29" fmla="*/ 52331 h 89411"/>
                    <a:gd name="connsiteX30" fmla="*/ 62379 w 77749"/>
                    <a:gd name="connsiteY30" fmla="*/ 44377 h 89411"/>
                    <a:gd name="connsiteX31" fmla="*/ 73085 w 77749"/>
                    <a:gd name="connsiteY31" fmla="*/ 66326 h 89411"/>
                    <a:gd name="connsiteX32" fmla="*/ 26554 w 77749"/>
                    <a:gd name="connsiteY32" fmla="*/ 89412 h 89411"/>
                    <a:gd name="connsiteX33" fmla="*/ 0 w 77749"/>
                    <a:gd name="connsiteY33" fmla="*/ 24042 h 89411"/>
                    <a:gd name="connsiteX34" fmla="*/ 51913 w 77749"/>
                    <a:gd name="connsiteY34" fmla="*/ 0 h 89411"/>
                    <a:gd name="connsiteX35" fmla="*/ 77749 w 77749"/>
                    <a:gd name="connsiteY35" fmla="*/ 63515 h 89411"/>
                    <a:gd name="connsiteX36" fmla="*/ 76912 w 77749"/>
                    <a:gd name="connsiteY36" fmla="*/ 63994 h 89411"/>
                    <a:gd name="connsiteX37" fmla="*/ 39054 w 77749"/>
                    <a:gd name="connsiteY37" fmla="*/ 77630 h 89411"/>
                    <a:gd name="connsiteX38" fmla="*/ 39114 w 77749"/>
                    <a:gd name="connsiteY38" fmla="*/ 78467 h 89411"/>
                    <a:gd name="connsiteX39" fmla="*/ 25418 w 77749"/>
                    <a:gd name="connsiteY39" fmla="*/ 80979 h 89411"/>
                    <a:gd name="connsiteX40" fmla="*/ 27990 w 77749"/>
                    <a:gd name="connsiteY40" fmla="*/ 87318 h 89411"/>
                    <a:gd name="connsiteX41" fmla="*/ 48085 w 77749"/>
                    <a:gd name="connsiteY41" fmla="*/ 77151 h 89411"/>
                    <a:gd name="connsiteX42" fmla="*/ 39772 w 77749"/>
                    <a:gd name="connsiteY42" fmla="*/ 56697 h 89411"/>
                    <a:gd name="connsiteX43" fmla="*/ 41088 w 77749"/>
                    <a:gd name="connsiteY43" fmla="*/ 56159 h 89411"/>
                    <a:gd name="connsiteX44" fmla="*/ 49461 w 77749"/>
                    <a:gd name="connsiteY44" fmla="*/ 76792 h 89411"/>
                    <a:gd name="connsiteX45" fmla="*/ 41985 w 77749"/>
                    <a:gd name="connsiteY45" fmla="*/ 50896 h 89411"/>
                    <a:gd name="connsiteX46" fmla="*/ 17942 w 77749"/>
                    <a:gd name="connsiteY46" fmla="*/ 62618 h 89411"/>
                    <a:gd name="connsiteX47" fmla="*/ 37439 w 77749"/>
                    <a:gd name="connsiteY47" fmla="*/ 77690 h 89411"/>
                    <a:gd name="connsiteX48" fmla="*/ 39054 w 77749"/>
                    <a:gd name="connsiteY48" fmla="*/ 77630 h 89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77749" h="89411">
                      <a:moveTo>
                        <a:pt x="76912" y="63994"/>
                      </a:moveTo>
                      <a:cubicBezTo>
                        <a:pt x="68599" y="43540"/>
                        <a:pt x="60286" y="23086"/>
                        <a:pt x="51793" y="2332"/>
                      </a:cubicBezTo>
                      <a:cubicBezTo>
                        <a:pt x="48264" y="3768"/>
                        <a:pt x="45334" y="4964"/>
                        <a:pt x="41865" y="6340"/>
                      </a:cubicBezTo>
                      <a:cubicBezTo>
                        <a:pt x="45573" y="15430"/>
                        <a:pt x="49221" y="24341"/>
                        <a:pt x="52810" y="33253"/>
                      </a:cubicBezTo>
                      <a:cubicBezTo>
                        <a:pt x="52391" y="33432"/>
                        <a:pt x="51972" y="33612"/>
                        <a:pt x="51554" y="33791"/>
                      </a:cubicBezTo>
                      <a:cubicBezTo>
                        <a:pt x="48025" y="25059"/>
                        <a:pt x="44437" y="16327"/>
                        <a:pt x="40549" y="6758"/>
                      </a:cubicBezTo>
                      <a:cubicBezTo>
                        <a:pt x="27332" y="12918"/>
                        <a:pt x="14952" y="18720"/>
                        <a:pt x="2572" y="24521"/>
                      </a:cubicBezTo>
                      <a:cubicBezTo>
                        <a:pt x="3349" y="30621"/>
                        <a:pt x="5502" y="32954"/>
                        <a:pt x="10825" y="31040"/>
                      </a:cubicBezTo>
                      <a:cubicBezTo>
                        <a:pt x="14653" y="29664"/>
                        <a:pt x="18959" y="29365"/>
                        <a:pt x="23265" y="29664"/>
                      </a:cubicBezTo>
                      <a:cubicBezTo>
                        <a:pt x="17583" y="30920"/>
                        <a:pt x="11902" y="32236"/>
                        <a:pt x="5861" y="33612"/>
                      </a:cubicBezTo>
                      <a:cubicBezTo>
                        <a:pt x="8313" y="39592"/>
                        <a:pt x="10526" y="45035"/>
                        <a:pt x="13098" y="51374"/>
                      </a:cubicBezTo>
                      <a:cubicBezTo>
                        <a:pt x="21530" y="47427"/>
                        <a:pt x="29844" y="43540"/>
                        <a:pt x="38636" y="39413"/>
                      </a:cubicBezTo>
                      <a:cubicBezTo>
                        <a:pt x="35406" y="31518"/>
                        <a:pt x="32356" y="23923"/>
                        <a:pt x="29246" y="16268"/>
                      </a:cubicBezTo>
                      <a:cubicBezTo>
                        <a:pt x="29665" y="16088"/>
                        <a:pt x="30083" y="15909"/>
                        <a:pt x="30442" y="15729"/>
                      </a:cubicBezTo>
                      <a:cubicBezTo>
                        <a:pt x="33731" y="23863"/>
                        <a:pt x="37021" y="31937"/>
                        <a:pt x="40370" y="40131"/>
                      </a:cubicBezTo>
                      <a:cubicBezTo>
                        <a:pt x="31758" y="44198"/>
                        <a:pt x="22846" y="48384"/>
                        <a:pt x="13696" y="52690"/>
                      </a:cubicBezTo>
                      <a:cubicBezTo>
                        <a:pt x="14892" y="55681"/>
                        <a:pt x="15849" y="58013"/>
                        <a:pt x="17165" y="61243"/>
                      </a:cubicBezTo>
                      <a:cubicBezTo>
                        <a:pt x="25956" y="56996"/>
                        <a:pt x="34509" y="52810"/>
                        <a:pt x="43420" y="48504"/>
                      </a:cubicBezTo>
                      <a:cubicBezTo>
                        <a:pt x="46709" y="56578"/>
                        <a:pt x="50118" y="64951"/>
                        <a:pt x="53528" y="73383"/>
                      </a:cubicBezTo>
                      <a:cubicBezTo>
                        <a:pt x="54424" y="73383"/>
                        <a:pt x="54963" y="73563"/>
                        <a:pt x="55441" y="73383"/>
                      </a:cubicBezTo>
                      <a:cubicBezTo>
                        <a:pt x="65130" y="69556"/>
                        <a:pt x="65130" y="69496"/>
                        <a:pt x="60645" y="58611"/>
                      </a:cubicBezTo>
                      <a:cubicBezTo>
                        <a:pt x="58611" y="53587"/>
                        <a:pt x="56518" y="48563"/>
                        <a:pt x="55441" y="43121"/>
                      </a:cubicBezTo>
                      <a:cubicBezTo>
                        <a:pt x="58671" y="51135"/>
                        <a:pt x="61960" y="59089"/>
                        <a:pt x="65190" y="67104"/>
                      </a:cubicBezTo>
                      <a:cubicBezTo>
                        <a:pt x="65549" y="66984"/>
                        <a:pt x="65908" y="66864"/>
                        <a:pt x="66267" y="66745"/>
                      </a:cubicBezTo>
                      <a:cubicBezTo>
                        <a:pt x="63455" y="59867"/>
                        <a:pt x="60704" y="52989"/>
                        <a:pt x="57893" y="46111"/>
                      </a:cubicBezTo>
                      <a:cubicBezTo>
                        <a:pt x="58312" y="45932"/>
                        <a:pt x="58731" y="45752"/>
                        <a:pt x="59209" y="45573"/>
                      </a:cubicBezTo>
                      <a:cubicBezTo>
                        <a:pt x="62140" y="52690"/>
                        <a:pt x="65010" y="59867"/>
                        <a:pt x="67941" y="66984"/>
                      </a:cubicBezTo>
                      <a:cubicBezTo>
                        <a:pt x="68659" y="66805"/>
                        <a:pt x="69436" y="66565"/>
                        <a:pt x="70154" y="66386"/>
                      </a:cubicBezTo>
                      <a:cubicBezTo>
                        <a:pt x="69496" y="64173"/>
                        <a:pt x="68958" y="61900"/>
                        <a:pt x="68180" y="59688"/>
                      </a:cubicBezTo>
                      <a:cubicBezTo>
                        <a:pt x="67283" y="57176"/>
                        <a:pt x="66207" y="54783"/>
                        <a:pt x="65190" y="52331"/>
                      </a:cubicBezTo>
                      <a:cubicBezTo>
                        <a:pt x="64114" y="49760"/>
                        <a:pt x="63097" y="47128"/>
                        <a:pt x="62379" y="44377"/>
                      </a:cubicBezTo>
                      <a:cubicBezTo>
                        <a:pt x="66565" y="51016"/>
                        <a:pt x="68061" y="59149"/>
                        <a:pt x="73085" y="66326"/>
                      </a:cubicBezTo>
                      <a:cubicBezTo>
                        <a:pt x="58611" y="73503"/>
                        <a:pt x="42942" y="81278"/>
                        <a:pt x="26554" y="89412"/>
                      </a:cubicBezTo>
                      <a:cubicBezTo>
                        <a:pt x="17763" y="67762"/>
                        <a:pt x="8911" y="45992"/>
                        <a:pt x="0" y="24042"/>
                      </a:cubicBezTo>
                      <a:cubicBezTo>
                        <a:pt x="17284" y="16028"/>
                        <a:pt x="34509" y="8074"/>
                        <a:pt x="51913" y="0"/>
                      </a:cubicBezTo>
                      <a:cubicBezTo>
                        <a:pt x="60465" y="20933"/>
                        <a:pt x="69077" y="42224"/>
                        <a:pt x="77749" y="63515"/>
                      </a:cubicBezTo>
                      <a:cubicBezTo>
                        <a:pt x="77510" y="63754"/>
                        <a:pt x="77211" y="63874"/>
                        <a:pt x="76912" y="63994"/>
                      </a:cubicBezTo>
                      <a:close/>
                      <a:moveTo>
                        <a:pt x="39054" y="77630"/>
                      </a:moveTo>
                      <a:cubicBezTo>
                        <a:pt x="39054" y="77929"/>
                        <a:pt x="39114" y="78168"/>
                        <a:pt x="39114" y="78467"/>
                      </a:cubicBezTo>
                      <a:cubicBezTo>
                        <a:pt x="34569" y="79304"/>
                        <a:pt x="30083" y="80142"/>
                        <a:pt x="25418" y="80979"/>
                      </a:cubicBezTo>
                      <a:cubicBezTo>
                        <a:pt x="26435" y="83431"/>
                        <a:pt x="27033" y="84986"/>
                        <a:pt x="27990" y="87318"/>
                      </a:cubicBezTo>
                      <a:cubicBezTo>
                        <a:pt x="34688" y="83910"/>
                        <a:pt x="41088" y="80680"/>
                        <a:pt x="48085" y="77151"/>
                      </a:cubicBezTo>
                      <a:cubicBezTo>
                        <a:pt x="45214" y="70154"/>
                        <a:pt x="42523" y="63396"/>
                        <a:pt x="39772" y="56697"/>
                      </a:cubicBezTo>
                      <a:cubicBezTo>
                        <a:pt x="40191" y="56518"/>
                        <a:pt x="40609" y="56338"/>
                        <a:pt x="41088" y="56159"/>
                      </a:cubicBezTo>
                      <a:cubicBezTo>
                        <a:pt x="43839" y="62977"/>
                        <a:pt x="46650" y="69735"/>
                        <a:pt x="49461" y="76792"/>
                      </a:cubicBezTo>
                      <a:cubicBezTo>
                        <a:pt x="52690" y="73443"/>
                        <a:pt x="49162" y="62140"/>
                        <a:pt x="41985" y="50896"/>
                      </a:cubicBezTo>
                      <a:cubicBezTo>
                        <a:pt x="33970" y="54783"/>
                        <a:pt x="25897" y="58731"/>
                        <a:pt x="17942" y="62618"/>
                      </a:cubicBezTo>
                      <a:cubicBezTo>
                        <a:pt x="23026" y="79005"/>
                        <a:pt x="23026" y="79005"/>
                        <a:pt x="37439" y="77690"/>
                      </a:cubicBezTo>
                      <a:cubicBezTo>
                        <a:pt x="37977" y="77570"/>
                        <a:pt x="38516" y="77630"/>
                        <a:pt x="39054" y="7763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42" name="Vrije vorm: vorm 9341">
                  <a:extLst>
                    <a:ext uri="{FF2B5EF4-FFF2-40B4-BE49-F238E27FC236}">
                      <a16:creationId xmlns:a16="http://schemas.microsoft.com/office/drawing/2014/main" id="{4B832BD2-C5F8-4177-9BB7-8F1D0248FD34}"/>
                    </a:ext>
                  </a:extLst>
                </p:cNvPr>
                <p:cNvSpPr/>
                <p:nvPr/>
              </p:nvSpPr>
              <p:spPr>
                <a:xfrm>
                  <a:off x="5292779" y="1416275"/>
                  <a:ext cx="67522" cy="78945"/>
                </a:xfrm>
                <a:custGeom>
                  <a:avLst/>
                  <a:gdLst>
                    <a:gd name="connsiteX0" fmla="*/ 67522 w 67522"/>
                    <a:gd name="connsiteY0" fmla="*/ 61721 h 78945"/>
                    <a:gd name="connsiteX1" fmla="*/ 25119 w 67522"/>
                    <a:gd name="connsiteY1" fmla="*/ 78946 h 78945"/>
                    <a:gd name="connsiteX2" fmla="*/ 0 w 67522"/>
                    <a:gd name="connsiteY2" fmla="*/ 17224 h 78945"/>
                    <a:gd name="connsiteX3" fmla="*/ 42403 w 67522"/>
                    <a:gd name="connsiteY3" fmla="*/ 0 h 78945"/>
                    <a:gd name="connsiteX4" fmla="*/ 67522 w 67522"/>
                    <a:gd name="connsiteY4" fmla="*/ 61721 h 78945"/>
                    <a:gd name="connsiteX5" fmla="*/ 29784 w 67522"/>
                    <a:gd name="connsiteY5" fmla="*/ 17643 h 78945"/>
                    <a:gd name="connsiteX6" fmla="*/ 30980 w 67522"/>
                    <a:gd name="connsiteY6" fmla="*/ 17165 h 78945"/>
                    <a:gd name="connsiteX7" fmla="*/ 51015 w 67522"/>
                    <a:gd name="connsiteY7" fmla="*/ 66386 h 78945"/>
                    <a:gd name="connsiteX8" fmla="*/ 60405 w 67522"/>
                    <a:gd name="connsiteY8" fmla="*/ 62618 h 78945"/>
                    <a:gd name="connsiteX9" fmla="*/ 62379 w 67522"/>
                    <a:gd name="connsiteY9" fmla="*/ 56697 h 78945"/>
                    <a:gd name="connsiteX10" fmla="*/ 57116 w 67522"/>
                    <a:gd name="connsiteY10" fmla="*/ 43061 h 78945"/>
                    <a:gd name="connsiteX11" fmla="*/ 43181 w 67522"/>
                    <a:gd name="connsiteY11" fmla="*/ 3529 h 78945"/>
                    <a:gd name="connsiteX12" fmla="*/ 9988 w 67522"/>
                    <a:gd name="connsiteY12" fmla="*/ 17045 h 78945"/>
                    <a:gd name="connsiteX13" fmla="*/ 33013 w 67522"/>
                    <a:gd name="connsiteY13" fmla="*/ 73623 h 78945"/>
                    <a:gd name="connsiteX14" fmla="*/ 36482 w 67522"/>
                    <a:gd name="connsiteY14" fmla="*/ 68120 h 78945"/>
                    <a:gd name="connsiteX15" fmla="*/ 21172 w 67522"/>
                    <a:gd name="connsiteY15" fmla="*/ 24521 h 78945"/>
                    <a:gd name="connsiteX16" fmla="*/ 20095 w 67522"/>
                    <a:gd name="connsiteY16" fmla="*/ 20873 h 78945"/>
                    <a:gd name="connsiteX17" fmla="*/ 20693 w 67522"/>
                    <a:gd name="connsiteY17" fmla="*/ 20633 h 78945"/>
                    <a:gd name="connsiteX18" fmla="*/ 40968 w 67522"/>
                    <a:gd name="connsiteY18" fmla="*/ 70393 h 78945"/>
                    <a:gd name="connsiteX19" fmla="*/ 49879 w 67522"/>
                    <a:gd name="connsiteY19" fmla="*/ 66745 h 78945"/>
                    <a:gd name="connsiteX20" fmla="*/ 29784 w 67522"/>
                    <a:gd name="connsiteY20" fmla="*/ 17643 h 78945"/>
                    <a:gd name="connsiteX21" fmla="*/ 2033 w 67522"/>
                    <a:gd name="connsiteY21" fmla="*/ 18062 h 78945"/>
                    <a:gd name="connsiteX22" fmla="*/ 25777 w 67522"/>
                    <a:gd name="connsiteY22" fmla="*/ 76434 h 78945"/>
                    <a:gd name="connsiteX23" fmla="*/ 27451 w 67522"/>
                    <a:gd name="connsiteY23" fmla="*/ 77391 h 78945"/>
                    <a:gd name="connsiteX24" fmla="*/ 30023 w 67522"/>
                    <a:gd name="connsiteY24" fmla="*/ 72008 h 78945"/>
                    <a:gd name="connsiteX25" fmla="*/ 9449 w 67522"/>
                    <a:gd name="connsiteY25" fmla="*/ 19378 h 78945"/>
                    <a:gd name="connsiteX26" fmla="*/ 6519 w 67522"/>
                    <a:gd name="connsiteY26" fmla="*/ 15729 h 78945"/>
                    <a:gd name="connsiteX27" fmla="*/ 2033 w 67522"/>
                    <a:gd name="connsiteY27" fmla="*/ 18062 h 7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522" h="78945">
                      <a:moveTo>
                        <a:pt x="67522" y="61721"/>
                      </a:moveTo>
                      <a:cubicBezTo>
                        <a:pt x="52810" y="67702"/>
                        <a:pt x="38994" y="73324"/>
                        <a:pt x="25119" y="78946"/>
                      </a:cubicBezTo>
                      <a:cubicBezTo>
                        <a:pt x="16686" y="58252"/>
                        <a:pt x="8313" y="37679"/>
                        <a:pt x="0" y="17224"/>
                      </a:cubicBezTo>
                      <a:cubicBezTo>
                        <a:pt x="14234" y="11423"/>
                        <a:pt x="28468" y="5622"/>
                        <a:pt x="42403" y="0"/>
                      </a:cubicBezTo>
                      <a:cubicBezTo>
                        <a:pt x="50716" y="20334"/>
                        <a:pt x="58850" y="40430"/>
                        <a:pt x="67522" y="61721"/>
                      </a:cubicBezTo>
                      <a:close/>
                      <a:moveTo>
                        <a:pt x="29784" y="17643"/>
                      </a:moveTo>
                      <a:cubicBezTo>
                        <a:pt x="30203" y="17464"/>
                        <a:pt x="30621" y="17344"/>
                        <a:pt x="30980" y="17165"/>
                      </a:cubicBezTo>
                      <a:cubicBezTo>
                        <a:pt x="37619" y="33432"/>
                        <a:pt x="44197" y="49640"/>
                        <a:pt x="51015" y="66386"/>
                      </a:cubicBezTo>
                      <a:cubicBezTo>
                        <a:pt x="54424" y="65010"/>
                        <a:pt x="57355" y="63635"/>
                        <a:pt x="60405" y="62618"/>
                      </a:cubicBezTo>
                      <a:cubicBezTo>
                        <a:pt x="63455" y="61601"/>
                        <a:pt x="63635" y="59628"/>
                        <a:pt x="62379" y="56697"/>
                      </a:cubicBezTo>
                      <a:cubicBezTo>
                        <a:pt x="60525" y="52212"/>
                        <a:pt x="58731" y="47666"/>
                        <a:pt x="57116" y="43061"/>
                      </a:cubicBezTo>
                      <a:cubicBezTo>
                        <a:pt x="52331" y="29605"/>
                        <a:pt x="47606" y="16148"/>
                        <a:pt x="43181" y="3529"/>
                      </a:cubicBezTo>
                      <a:cubicBezTo>
                        <a:pt x="31638" y="8253"/>
                        <a:pt x="20992" y="12560"/>
                        <a:pt x="9988" y="17045"/>
                      </a:cubicBezTo>
                      <a:cubicBezTo>
                        <a:pt x="18002" y="36662"/>
                        <a:pt x="25537" y="55202"/>
                        <a:pt x="33013" y="73623"/>
                      </a:cubicBezTo>
                      <a:cubicBezTo>
                        <a:pt x="36721" y="73383"/>
                        <a:pt x="37798" y="71888"/>
                        <a:pt x="36482" y="68120"/>
                      </a:cubicBezTo>
                      <a:cubicBezTo>
                        <a:pt x="31279" y="53647"/>
                        <a:pt x="26255" y="39054"/>
                        <a:pt x="21172" y="24521"/>
                      </a:cubicBezTo>
                      <a:cubicBezTo>
                        <a:pt x="20753" y="23325"/>
                        <a:pt x="20454" y="22069"/>
                        <a:pt x="20095" y="20873"/>
                      </a:cubicBezTo>
                      <a:cubicBezTo>
                        <a:pt x="20274" y="20813"/>
                        <a:pt x="20514" y="20753"/>
                        <a:pt x="20693" y="20633"/>
                      </a:cubicBezTo>
                      <a:cubicBezTo>
                        <a:pt x="27391" y="37080"/>
                        <a:pt x="34090" y="53587"/>
                        <a:pt x="40968" y="70393"/>
                      </a:cubicBezTo>
                      <a:cubicBezTo>
                        <a:pt x="43898" y="69197"/>
                        <a:pt x="46470" y="68180"/>
                        <a:pt x="49879" y="66745"/>
                      </a:cubicBezTo>
                      <a:cubicBezTo>
                        <a:pt x="43001" y="50178"/>
                        <a:pt x="36363" y="33911"/>
                        <a:pt x="29784" y="17643"/>
                      </a:cubicBezTo>
                      <a:close/>
                      <a:moveTo>
                        <a:pt x="2033" y="18062"/>
                      </a:moveTo>
                      <a:cubicBezTo>
                        <a:pt x="10107" y="37918"/>
                        <a:pt x="17942" y="57176"/>
                        <a:pt x="25777" y="76434"/>
                      </a:cubicBezTo>
                      <a:cubicBezTo>
                        <a:pt x="26315" y="76733"/>
                        <a:pt x="26913" y="77091"/>
                        <a:pt x="27451" y="77391"/>
                      </a:cubicBezTo>
                      <a:cubicBezTo>
                        <a:pt x="28349" y="75596"/>
                        <a:pt x="30502" y="73324"/>
                        <a:pt x="30023" y="72008"/>
                      </a:cubicBezTo>
                      <a:cubicBezTo>
                        <a:pt x="23384" y="54365"/>
                        <a:pt x="16447" y="36901"/>
                        <a:pt x="9449" y="19378"/>
                      </a:cubicBezTo>
                      <a:cubicBezTo>
                        <a:pt x="8911" y="18002"/>
                        <a:pt x="7595" y="16985"/>
                        <a:pt x="6519" y="15729"/>
                      </a:cubicBezTo>
                      <a:cubicBezTo>
                        <a:pt x="5083" y="16507"/>
                        <a:pt x="3827" y="17165"/>
                        <a:pt x="2033" y="1806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43" name="Vrije vorm: vorm 9342">
                  <a:extLst>
                    <a:ext uri="{FF2B5EF4-FFF2-40B4-BE49-F238E27FC236}">
                      <a16:creationId xmlns:a16="http://schemas.microsoft.com/office/drawing/2014/main" id="{42309611-87AA-47FF-9812-3CE0DDAD6D5E}"/>
                    </a:ext>
                  </a:extLst>
                </p:cNvPr>
                <p:cNvSpPr/>
                <p:nvPr/>
              </p:nvSpPr>
              <p:spPr>
                <a:xfrm>
                  <a:off x="5241046" y="1434696"/>
                  <a:ext cx="69197" cy="81218"/>
                </a:xfrm>
                <a:custGeom>
                  <a:avLst/>
                  <a:gdLst>
                    <a:gd name="connsiteX0" fmla="*/ 42224 w 69197"/>
                    <a:gd name="connsiteY0" fmla="*/ 71888 h 81218"/>
                    <a:gd name="connsiteX1" fmla="*/ 47966 w 69197"/>
                    <a:gd name="connsiteY1" fmla="*/ 69556 h 81218"/>
                    <a:gd name="connsiteX2" fmla="*/ 30083 w 69197"/>
                    <a:gd name="connsiteY2" fmla="*/ 25657 h 81218"/>
                    <a:gd name="connsiteX3" fmla="*/ 31220 w 69197"/>
                    <a:gd name="connsiteY3" fmla="*/ 25179 h 81218"/>
                    <a:gd name="connsiteX4" fmla="*/ 49042 w 69197"/>
                    <a:gd name="connsiteY4" fmla="*/ 69018 h 81218"/>
                    <a:gd name="connsiteX5" fmla="*/ 55023 w 69197"/>
                    <a:gd name="connsiteY5" fmla="*/ 66565 h 81218"/>
                    <a:gd name="connsiteX6" fmla="*/ 35047 w 69197"/>
                    <a:gd name="connsiteY6" fmla="*/ 17464 h 81218"/>
                    <a:gd name="connsiteX7" fmla="*/ 36123 w 69197"/>
                    <a:gd name="connsiteY7" fmla="*/ 17045 h 81218"/>
                    <a:gd name="connsiteX8" fmla="*/ 55561 w 69197"/>
                    <a:gd name="connsiteY8" fmla="*/ 64831 h 81218"/>
                    <a:gd name="connsiteX9" fmla="*/ 56578 w 69197"/>
                    <a:gd name="connsiteY9" fmla="*/ 64412 h 81218"/>
                    <a:gd name="connsiteX10" fmla="*/ 39532 w 69197"/>
                    <a:gd name="connsiteY10" fmla="*/ 22488 h 81218"/>
                    <a:gd name="connsiteX11" fmla="*/ 40549 w 69197"/>
                    <a:gd name="connsiteY11" fmla="*/ 22069 h 81218"/>
                    <a:gd name="connsiteX12" fmla="*/ 58073 w 69197"/>
                    <a:gd name="connsiteY12" fmla="*/ 65130 h 81218"/>
                    <a:gd name="connsiteX13" fmla="*/ 67582 w 69197"/>
                    <a:gd name="connsiteY13" fmla="*/ 61243 h 81218"/>
                    <a:gd name="connsiteX14" fmla="*/ 44915 w 69197"/>
                    <a:gd name="connsiteY14" fmla="*/ 5562 h 81218"/>
                    <a:gd name="connsiteX15" fmla="*/ 46052 w 69197"/>
                    <a:gd name="connsiteY15" fmla="*/ 5084 h 81218"/>
                    <a:gd name="connsiteX16" fmla="*/ 69197 w 69197"/>
                    <a:gd name="connsiteY16" fmla="*/ 61960 h 81218"/>
                    <a:gd name="connsiteX17" fmla="*/ 48743 w 69197"/>
                    <a:gd name="connsiteY17" fmla="*/ 71828 h 81218"/>
                    <a:gd name="connsiteX18" fmla="*/ 25837 w 69197"/>
                    <a:gd name="connsiteY18" fmla="*/ 81218 h 81218"/>
                    <a:gd name="connsiteX19" fmla="*/ 0 w 69197"/>
                    <a:gd name="connsiteY19" fmla="*/ 17763 h 81218"/>
                    <a:gd name="connsiteX20" fmla="*/ 43659 w 69197"/>
                    <a:gd name="connsiteY20" fmla="*/ 0 h 81218"/>
                    <a:gd name="connsiteX21" fmla="*/ 44078 w 69197"/>
                    <a:gd name="connsiteY21" fmla="*/ 1077 h 81218"/>
                    <a:gd name="connsiteX22" fmla="*/ 2093 w 69197"/>
                    <a:gd name="connsiteY22" fmla="*/ 18122 h 81218"/>
                    <a:gd name="connsiteX23" fmla="*/ 26495 w 69197"/>
                    <a:gd name="connsiteY23" fmla="*/ 78108 h 81218"/>
                    <a:gd name="connsiteX24" fmla="*/ 31519 w 69197"/>
                    <a:gd name="connsiteY24" fmla="*/ 76075 h 81218"/>
                    <a:gd name="connsiteX25" fmla="*/ 9629 w 69197"/>
                    <a:gd name="connsiteY25" fmla="*/ 22188 h 81218"/>
                    <a:gd name="connsiteX26" fmla="*/ 10705 w 69197"/>
                    <a:gd name="connsiteY26" fmla="*/ 21770 h 81218"/>
                    <a:gd name="connsiteX27" fmla="*/ 32595 w 69197"/>
                    <a:gd name="connsiteY27" fmla="*/ 75536 h 81218"/>
                    <a:gd name="connsiteX28" fmla="*/ 40310 w 69197"/>
                    <a:gd name="connsiteY28" fmla="*/ 72427 h 81218"/>
                    <a:gd name="connsiteX29" fmla="*/ 18062 w 69197"/>
                    <a:gd name="connsiteY29" fmla="*/ 17703 h 81218"/>
                    <a:gd name="connsiteX30" fmla="*/ 43121 w 69197"/>
                    <a:gd name="connsiteY30" fmla="*/ 7536 h 81218"/>
                    <a:gd name="connsiteX31" fmla="*/ 43360 w 69197"/>
                    <a:gd name="connsiteY31" fmla="*/ 7954 h 81218"/>
                    <a:gd name="connsiteX32" fmla="*/ 20514 w 69197"/>
                    <a:gd name="connsiteY32" fmla="*/ 18600 h 81218"/>
                    <a:gd name="connsiteX33" fmla="*/ 42224 w 69197"/>
                    <a:gd name="connsiteY33" fmla="*/ 71888 h 8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9197" h="81218">
                      <a:moveTo>
                        <a:pt x="42224" y="71888"/>
                      </a:moveTo>
                      <a:cubicBezTo>
                        <a:pt x="44138" y="71111"/>
                        <a:pt x="45753" y="70453"/>
                        <a:pt x="47966" y="69556"/>
                      </a:cubicBezTo>
                      <a:cubicBezTo>
                        <a:pt x="41985" y="54783"/>
                        <a:pt x="36064" y="40250"/>
                        <a:pt x="30083" y="25657"/>
                      </a:cubicBezTo>
                      <a:cubicBezTo>
                        <a:pt x="30442" y="25478"/>
                        <a:pt x="30861" y="25298"/>
                        <a:pt x="31220" y="25179"/>
                      </a:cubicBezTo>
                      <a:cubicBezTo>
                        <a:pt x="37140" y="39712"/>
                        <a:pt x="43061" y="54245"/>
                        <a:pt x="49042" y="69018"/>
                      </a:cubicBezTo>
                      <a:cubicBezTo>
                        <a:pt x="51255" y="68120"/>
                        <a:pt x="52870" y="67463"/>
                        <a:pt x="55023" y="66565"/>
                      </a:cubicBezTo>
                      <a:cubicBezTo>
                        <a:pt x="48324" y="50059"/>
                        <a:pt x="41686" y="33791"/>
                        <a:pt x="35047" y="17464"/>
                      </a:cubicBezTo>
                      <a:cubicBezTo>
                        <a:pt x="35406" y="17344"/>
                        <a:pt x="35765" y="17165"/>
                        <a:pt x="36123" y="17045"/>
                      </a:cubicBezTo>
                      <a:cubicBezTo>
                        <a:pt x="42583" y="32954"/>
                        <a:pt x="49102" y="48922"/>
                        <a:pt x="55561" y="64831"/>
                      </a:cubicBezTo>
                      <a:cubicBezTo>
                        <a:pt x="55920" y="64711"/>
                        <a:pt x="56279" y="64532"/>
                        <a:pt x="56578" y="64412"/>
                      </a:cubicBezTo>
                      <a:cubicBezTo>
                        <a:pt x="50896" y="50417"/>
                        <a:pt x="45214" y="36482"/>
                        <a:pt x="39532" y="22488"/>
                      </a:cubicBezTo>
                      <a:cubicBezTo>
                        <a:pt x="39891" y="22368"/>
                        <a:pt x="40250" y="22188"/>
                        <a:pt x="40549" y="22069"/>
                      </a:cubicBezTo>
                      <a:cubicBezTo>
                        <a:pt x="46351" y="36303"/>
                        <a:pt x="52152" y="50537"/>
                        <a:pt x="58073" y="65130"/>
                      </a:cubicBezTo>
                      <a:cubicBezTo>
                        <a:pt x="61302" y="63814"/>
                        <a:pt x="64054" y="62678"/>
                        <a:pt x="67582" y="61243"/>
                      </a:cubicBezTo>
                      <a:cubicBezTo>
                        <a:pt x="59987" y="42643"/>
                        <a:pt x="52451" y="24102"/>
                        <a:pt x="44915" y="5562"/>
                      </a:cubicBezTo>
                      <a:cubicBezTo>
                        <a:pt x="45274" y="5383"/>
                        <a:pt x="45693" y="5263"/>
                        <a:pt x="46052" y="5084"/>
                      </a:cubicBezTo>
                      <a:cubicBezTo>
                        <a:pt x="53827" y="24162"/>
                        <a:pt x="61601" y="43241"/>
                        <a:pt x="69197" y="61960"/>
                      </a:cubicBezTo>
                      <a:cubicBezTo>
                        <a:pt x="62379" y="65250"/>
                        <a:pt x="55681" y="68778"/>
                        <a:pt x="48743" y="71828"/>
                      </a:cubicBezTo>
                      <a:cubicBezTo>
                        <a:pt x="41207" y="75178"/>
                        <a:pt x="33432" y="78108"/>
                        <a:pt x="25837" y="81218"/>
                      </a:cubicBezTo>
                      <a:cubicBezTo>
                        <a:pt x="17105" y="59688"/>
                        <a:pt x="8552" y="38695"/>
                        <a:pt x="0" y="17763"/>
                      </a:cubicBezTo>
                      <a:cubicBezTo>
                        <a:pt x="14593" y="11842"/>
                        <a:pt x="29126" y="5921"/>
                        <a:pt x="43659" y="0"/>
                      </a:cubicBezTo>
                      <a:cubicBezTo>
                        <a:pt x="43779" y="359"/>
                        <a:pt x="43958" y="718"/>
                        <a:pt x="44078" y="1077"/>
                      </a:cubicBezTo>
                      <a:cubicBezTo>
                        <a:pt x="30322" y="6698"/>
                        <a:pt x="16567" y="12260"/>
                        <a:pt x="2093" y="18122"/>
                      </a:cubicBezTo>
                      <a:cubicBezTo>
                        <a:pt x="10287" y="38277"/>
                        <a:pt x="18361" y="58073"/>
                        <a:pt x="26495" y="78108"/>
                      </a:cubicBezTo>
                      <a:cubicBezTo>
                        <a:pt x="27870" y="77570"/>
                        <a:pt x="29306" y="76972"/>
                        <a:pt x="31519" y="76075"/>
                      </a:cubicBezTo>
                      <a:cubicBezTo>
                        <a:pt x="24162" y="58013"/>
                        <a:pt x="16866" y="40131"/>
                        <a:pt x="9629" y="22188"/>
                      </a:cubicBezTo>
                      <a:cubicBezTo>
                        <a:pt x="9988" y="22069"/>
                        <a:pt x="10347" y="21889"/>
                        <a:pt x="10705" y="21770"/>
                      </a:cubicBezTo>
                      <a:cubicBezTo>
                        <a:pt x="17942" y="39592"/>
                        <a:pt x="25179" y="57355"/>
                        <a:pt x="32595" y="75536"/>
                      </a:cubicBezTo>
                      <a:cubicBezTo>
                        <a:pt x="35227" y="74460"/>
                        <a:pt x="37499" y="73563"/>
                        <a:pt x="40310" y="72427"/>
                      </a:cubicBezTo>
                      <a:cubicBezTo>
                        <a:pt x="32954" y="54305"/>
                        <a:pt x="25538" y="36183"/>
                        <a:pt x="18062" y="17703"/>
                      </a:cubicBezTo>
                      <a:cubicBezTo>
                        <a:pt x="26734" y="14174"/>
                        <a:pt x="34928" y="10825"/>
                        <a:pt x="43121" y="7536"/>
                      </a:cubicBezTo>
                      <a:cubicBezTo>
                        <a:pt x="43181" y="7655"/>
                        <a:pt x="43300" y="7835"/>
                        <a:pt x="43360" y="7954"/>
                      </a:cubicBezTo>
                      <a:cubicBezTo>
                        <a:pt x="35884" y="11423"/>
                        <a:pt x="28349" y="14952"/>
                        <a:pt x="20514" y="18600"/>
                      </a:cubicBezTo>
                      <a:cubicBezTo>
                        <a:pt x="27811" y="36482"/>
                        <a:pt x="34928" y="53886"/>
                        <a:pt x="42224" y="7188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44" name="Vrije vorm: vorm 9343">
                  <a:extLst>
                    <a:ext uri="{FF2B5EF4-FFF2-40B4-BE49-F238E27FC236}">
                      <a16:creationId xmlns:a16="http://schemas.microsoft.com/office/drawing/2014/main" id="{2AA27BD8-DC73-42CB-AB70-9DCD78ED1DA2}"/>
                    </a:ext>
                  </a:extLst>
                </p:cNvPr>
                <p:cNvSpPr/>
                <p:nvPr/>
              </p:nvSpPr>
              <p:spPr>
                <a:xfrm>
                  <a:off x="4894283" y="1593544"/>
                  <a:ext cx="67582" cy="72067"/>
                </a:xfrm>
                <a:custGeom>
                  <a:avLst/>
                  <a:gdLst>
                    <a:gd name="connsiteX0" fmla="*/ 20992 w 67582"/>
                    <a:gd name="connsiteY0" fmla="*/ 69436 h 72067"/>
                    <a:gd name="connsiteX1" fmla="*/ 40370 w 67582"/>
                    <a:gd name="connsiteY1" fmla="*/ 61542 h 72067"/>
                    <a:gd name="connsiteX2" fmla="*/ 20394 w 67582"/>
                    <a:gd name="connsiteY2" fmla="*/ 12440 h 72067"/>
                    <a:gd name="connsiteX3" fmla="*/ 19138 w 67582"/>
                    <a:gd name="connsiteY3" fmla="*/ 12918 h 72067"/>
                    <a:gd name="connsiteX4" fmla="*/ 38037 w 67582"/>
                    <a:gd name="connsiteY4" fmla="*/ 59329 h 72067"/>
                    <a:gd name="connsiteX5" fmla="*/ 36841 w 67582"/>
                    <a:gd name="connsiteY5" fmla="*/ 59807 h 72067"/>
                    <a:gd name="connsiteX6" fmla="*/ 18121 w 67582"/>
                    <a:gd name="connsiteY6" fmla="*/ 13815 h 72067"/>
                    <a:gd name="connsiteX7" fmla="*/ 15430 w 67582"/>
                    <a:gd name="connsiteY7" fmla="*/ 19079 h 72067"/>
                    <a:gd name="connsiteX8" fmla="*/ 30442 w 67582"/>
                    <a:gd name="connsiteY8" fmla="*/ 55740 h 72067"/>
                    <a:gd name="connsiteX9" fmla="*/ 31698 w 67582"/>
                    <a:gd name="connsiteY9" fmla="*/ 61721 h 72067"/>
                    <a:gd name="connsiteX10" fmla="*/ 12799 w 67582"/>
                    <a:gd name="connsiteY10" fmla="*/ 15251 h 72067"/>
                    <a:gd name="connsiteX11" fmla="*/ 598 w 67582"/>
                    <a:gd name="connsiteY11" fmla="*/ 20215 h 72067"/>
                    <a:gd name="connsiteX12" fmla="*/ 0 w 67582"/>
                    <a:gd name="connsiteY12" fmla="*/ 18720 h 72067"/>
                    <a:gd name="connsiteX13" fmla="*/ 46052 w 67582"/>
                    <a:gd name="connsiteY13" fmla="*/ 0 h 72067"/>
                    <a:gd name="connsiteX14" fmla="*/ 67582 w 67582"/>
                    <a:gd name="connsiteY14" fmla="*/ 52989 h 72067"/>
                    <a:gd name="connsiteX15" fmla="*/ 20753 w 67582"/>
                    <a:gd name="connsiteY15" fmla="*/ 72068 h 72067"/>
                    <a:gd name="connsiteX16" fmla="*/ 1555 w 67582"/>
                    <a:gd name="connsiteY16" fmla="*/ 24880 h 72067"/>
                    <a:gd name="connsiteX17" fmla="*/ 2572 w 67582"/>
                    <a:gd name="connsiteY17" fmla="*/ 24401 h 72067"/>
                    <a:gd name="connsiteX18" fmla="*/ 20992 w 67582"/>
                    <a:gd name="connsiteY18" fmla="*/ 69436 h 72067"/>
                    <a:gd name="connsiteX19" fmla="*/ 43779 w 67582"/>
                    <a:gd name="connsiteY19" fmla="*/ 56398 h 72067"/>
                    <a:gd name="connsiteX20" fmla="*/ 61362 w 67582"/>
                    <a:gd name="connsiteY20" fmla="*/ 49221 h 72067"/>
                    <a:gd name="connsiteX21" fmla="*/ 61900 w 67582"/>
                    <a:gd name="connsiteY21" fmla="*/ 50657 h 72067"/>
                    <a:gd name="connsiteX22" fmla="*/ 44317 w 67582"/>
                    <a:gd name="connsiteY22" fmla="*/ 57834 h 72067"/>
                    <a:gd name="connsiteX23" fmla="*/ 45095 w 67582"/>
                    <a:gd name="connsiteY23" fmla="*/ 59807 h 72067"/>
                    <a:gd name="connsiteX24" fmla="*/ 65250 w 67582"/>
                    <a:gd name="connsiteY24" fmla="*/ 51614 h 72067"/>
                    <a:gd name="connsiteX25" fmla="*/ 45095 w 67582"/>
                    <a:gd name="connsiteY25" fmla="*/ 2093 h 72067"/>
                    <a:gd name="connsiteX26" fmla="*/ 25418 w 67582"/>
                    <a:gd name="connsiteY26" fmla="*/ 10107 h 72067"/>
                    <a:gd name="connsiteX27" fmla="*/ 26016 w 67582"/>
                    <a:gd name="connsiteY27" fmla="*/ 11543 h 72067"/>
                    <a:gd name="connsiteX28" fmla="*/ 43300 w 67582"/>
                    <a:gd name="connsiteY28" fmla="*/ 4486 h 72067"/>
                    <a:gd name="connsiteX29" fmla="*/ 43898 w 67582"/>
                    <a:gd name="connsiteY29" fmla="*/ 6040 h 72067"/>
                    <a:gd name="connsiteX30" fmla="*/ 26196 w 67582"/>
                    <a:gd name="connsiteY30" fmla="*/ 13217 h 72067"/>
                    <a:gd name="connsiteX31" fmla="*/ 43779 w 67582"/>
                    <a:gd name="connsiteY31" fmla="*/ 56398 h 72067"/>
                    <a:gd name="connsiteX32" fmla="*/ 42343 w 67582"/>
                    <a:gd name="connsiteY32" fmla="*/ 60704 h 72067"/>
                    <a:gd name="connsiteX33" fmla="*/ 43121 w 67582"/>
                    <a:gd name="connsiteY33" fmla="*/ 60345 h 72067"/>
                    <a:gd name="connsiteX34" fmla="*/ 23086 w 67582"/>
                    <a:gd name="connsiteY34" fmla="*/ 11124 h 72067"/>
                    <a:gd name="connsiteX35" fmla="*/ 22308 w 67582"/>
                    <a:gd name="connsiteY35" fmla="*/ 11483 h 72067"/>
                    <a:gd name="connsiteX36" fmla="*/ 42343 w 67582"/>
                    <a:gd name="connsiteY36" fmla="*/ 60704 h 7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7582" h="72067">
                      <a:moveTo>
                        <a:pt x="20992" y="69436"/>
                      </a:moveTo>
                      <a:cubicBezTo>
                        <a:pt x="28169" y="66506"/>
                        <a:pt x="34210" y="64053"/>
                        <a:pt x="40370" y="61542"/>
                      </a:cubicBezTo>
                      <a:cubicBezTo>
                        <a:pt x="33671" y="45095"/>
                        <a:pt x="27033" y="28767"/>
                        <a:pt x="20394" y="12440"/>
                      </a:cubicBezTo>
                      <a:cubicBezTo>
                        <a:pt x="19975" y="12619"/>
                        <a:pt x="19557" y="12739"/>
                        <a:pt x="19138" y="12918"/>
                      </a:cubicBezTo>
                      <a:cubicBezTo>
                        <a:pt x="25418" y="28408"/>
                        <a:pt x="31698" y="43839"/>
                        <a:pt x="38037" y="59329"/>
                      </a:cubicBezTo>
                      <a:cubicBezTo>
                        <a:pt x="37619" y="59508"/>
                        <a:pt x="37260" y="59628"/>
                        <a:pt x="36841" y="59807"/>
                      </a:cubicBezTo>
                      <a:cubicBezTo>
                        <a:pt x="30561" y="44437"/>
                        <a:pt x="24342" y="29066"/>
                        <a:pt x="18121" y="13815"/>
                      </a:cubicBezTo>
                      <a:cubicBezTo>
                        <a:pt x="13217" y="13516"/>
                        <a:pt x="14294" y="16268"/>
                        <a:pt x="15430" y="19079"/>
                      </a:cubicBezTo>
                      <a:cubicBezTo>
                        <a:pt x="20454" y="31279"/>
                        <a:pt x="25478" y="43480"/>
                        <a:pt x="30442" y="55740"/>
                      </a:cubicBezTo>
                      <a:cubicBezTo>
                        <a:pt x="31219" y="57594"/>
                        <a:pt x="31937" y="59448"/>
                        <a:pt x="31698" y="61721"/>
                      </a:cubicBezTo>
                      <a:cubicBezTo>
                        <a:pt x="25478" y="46410"/>
                        <a:pt x="19258" y="31100"/>
                        <a:pt x="12799" y="15251"/>
                      </a:cubicBezTo>
                      <a:cubicBezTo>
                        <a:pt x="8313" y="17105"/>
                        <a:pt x="4426" y="18660"/>
                        <a:pt x="598" y="20215"/>
                      </a:cubicBezTo>
                      <a:cubicBezTo>
                        <a:pt x="419" y="19736"/>
                        <a:pt x="239" y="19258"/>
                        <a:pt x="0" y="18720"/>
                      </a:cubicBezTo>
                      <a:cubicBezTo>
                        <a:pt x="15251" y="12500"/>
                        <a:pt x="30502" y="6280"/>
                        <a:pt x="46052" y="0"/>
                      </a:cubicBezTo>
                      <a:cubicBezTo>
                        <a:pt x="53169" y="17464"/>
                        <a:pt x="60525" y="35645"/>
                        <a:pt x="67582" y="52989"/>
                      </a:cubicBezTo>
                      <a:cubicBezTo>
                        <a:pt x="51972" y="59329"/>
                        <a:pt x="36482" y="65668"/>
                        <a:pt x="20753" y="72068"/>
                      </a:cubicBezTo>
                      <a:cubicBezTo>
                        <a:pt x="14174" y="55860"/>
                        <a:pt x="7835" y="40370"/>
                        <a:pt x="1555" y="24880"/>
                      </a:cubicBezTo>
                      <a:cubicBezTo>
                        <a:pt x="1914" y="24700"/>
                        <a:pt x="2213" y="24581"/>
                        <a:pt x="2572" y="24401"/>
                      </a:cubicBezTo>
                      <a:cubicBezTo>
                        <a:pt x="8672" y="39114"/>
                        <a:pt x="14712" y="53946"/>
                        <a:pt x="20992" y="69436"/>
                      </a:cubicBezTo>
                      <a:close/>
                      <a:moveTo>
                        <a:pt x="43779" y="56398"/>
                      </a:moveTo>
                      <a:cubicBezTo>
                        <a:pt x="50059" y="53826"/>
                        <a:pt x="55681" y="51554"/>
                        <a:pt x="61362" y="49221"/>
                      </a:cubicBezTo>
                      <a:cubicBezTo>
                        <a:pt x="61542" y="49700"/>
                        <a:pt x="61721" y="50178"/>
                        <a:pt x="61900" y="50657"/>
                      </a:cubicBezTo>
                      <a:cubicBezTo>
                        <a:pt x="56039" y="53049"/>
                        <a:pt x="50178" y="55441"/>
                        <a:pt x="44317" y="57834"/>
                      </a:cubicBezTo>
                      <a:cubicBezTo>
                        <a:pt x="44556" y="58491"/>
                        <a:pt x="44855" y="59149"/>
                        <a:pt x="45095" y="59807"/>
                      </a:cubicBezTo>
                      <a:cubicBezTo>
                        <a:pt x="51793" y="57056"/>
                        <a:pt x="58491" y="54365"/>
                        <a:pt x="65250" y="51614"/>
                      </a:cubicBezTo>
                      <a:cubicBezTo>
                        <a:pt x="58611" y="35346"/>
                        <a:pt x="51853" y="18720"/>
                        <a:pt x="45095" y="2093"/>
                      </a:cubicBezTo>
                      <a:cubicBezTo>
                        <a:pt x="38276" y="4844"/>
                        <a:pt x="31817" y="7476"/>
                        <a:pt x="25418" y="10107"/>
                      </a:cubicBezTo>
                      <a:cubicBezTo>
                        <a:pt x="25597" y="10586"/>
                        <a:pt x="25837" y="11064"/>
                        <a:pt x="26016" y="11543"/>
                      </a:cubicBezTo>
                      <a:cubicBezTo>
                        <a:pt x="31758" y="9210"/>
                        <a:pt x="37559" y="6878"/>
                        <a:pt x="43300" y="4486"/>
                      </a:cubicBezTo>
                      <a:cubicBezTo>
                        <a:pt x="43480" y="5024"/>
                        <a:pt x="43719" y="5502"/>
                        <a:pt x="43898" y="6040"/>
                      </a:cubicBezTo>
                      <a:cubicBezTo>
                        <a:pt x="37977" y="8433"/>
                        <a:pt x="32116" y="10825"/>
                        <a:pt x="26196" y="13217"/>
                      </a:cubicBezTo>
                      <a:cubicBezTo>
                        <a:pt x="32116" y="27810"/>
                        <a:pt x="37798" y="41626"/>
                        <a:pt x="43779" y="56398"/>
                      </a:cubicBezTo>
                      <a:close/>
                      <a:moveTo>
                        <a:pt x="42343" y="60704"/>
                      </a:moveTo>
                      <a:cubicBezTo>
                        <a:pt x="42583" y="60585"/>
                        <a:pt x="42822" y="60465"/>
                        <a:pt x="43121" y="60345"/>
                      </a:cubicBezTo>
                      <a:cubicBezTo>
                        <a:pt x="36422" y="43958"/>
                        <a:pt x="29784" y="27511"/>
                        <a:pt x="23086" y="11124"/>
                      </a:cubicBezTo>
                      <a:cubicBezTo>
                        <a:pt x="22846" y="11244"/>
                        <a:pt x="22607" y="11363"/>
                        <a:pt x="22308" y="11483"/>
                      </a:cubicBezTo>
                      <a:cubicBezTo>
                        <a:pt x="29006" y="27930"/>
                        <a:pt x="35705" y="44317"/>
                        <a:pt x="42343" y="6070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45" name="Vrije vorm: vorm 9344">
                  <a:extLst>
                    <a:ext uri="{FF2B5EF4-FFF2-40B4-BE49-F238E27FC236}">
                      <a16:creationId xmlns:a16="http://schemas.microsoft.com/office/drawing/2014/main" id="{728CF045-AC93-458C-966E-725B2499EF91}"/>
                    </a:ext>
                  </a:extLst>
                </p:cNvPr>
                <p:cNvSpPr/>
                <p:nvPr/>
              </p:nvSpPr>
              <p:spPr>
                <a:xfrm>
                  <a:off x="4852000" y="1806158"/>
                  <a:ext cx="80739" cy="91923"/>
                </a:xfrm>
                <a:custGeom>
                  <a:avLst/>
                  <a:gdLst>
                    <a:gd name="connsiteX0" fmla="*/ 0 w 80739"/>
                    <a:gd name="connsiteY0" fmla="*/ 25239 h 91923"/>
                    <a:gd name="connsiteX1" fmla="*/ 54066 w 80739"/>
                    <a:gd name="connsiteY1" fmla="*/ 0 h 91923"/>
                    <a:gd name="connsiteX2" fmla="*/ 80740 w 80739"/>
                    <a:gd name="connsiteY2" fmla="*/ 65609 h 91923"/>
                    <a:gd name="connsiteX3" fmla="*/ 27092 w 80739"/>
                    <a:gd name="connsiteY3" fmla="*/ 91924 h 91923"/>
                    <a:gd name="connsiteX4" fmla="*/ 0 w 80739"/>
                    <a:gd name="connsiteY4" fmla="*/ 25239 h 91923"/>
                    <a:gd name="connsiteX5" fmla="*/ 52630 w 80739"/>
                    <a:gd name="connsiteY5" fmla="*/ 44018 h 91923"/>
                    <a:gd name="connsiteX6" fmla="*/ 53109 w 80739"/>
                    <a:gd name="connsiteY6" fmla="*/ 45035 h 91923"/>
                    <a:gd name="connsiteX7" fmla="*/ 17105 w 80739"/>
                    <a:gd name="connsiteY7" fmla="*/ 62678 h 91923"/>
                    <a:gd name="connsiteX8" fmla="*/ 23384 w 80739"/>
                    <a:gd name="connsiteY8" fmla="*/ 78168 h 91923"/>
                    <a:gd name="connsiteX9" fmla="*/ 56697 w 80739"/>
                    <a:gd name="connsiteY9" fmla="*/ 62020 h 91923"/>
                    <a:gd name="connsiteX10" fmla="*/ 57355 w 80739"/>
                    <a:gd name="connsiteY10" fmla="*/ 63396 h 91923"/>
                    <a:gd name="connsiteX11" fmla="*/ 24282 w 80739"/>
                    <a:gd name="connsiteY11" fmla="*/ 79843 h 91923"/>
                    <a:gd name="connsiteX12" fmla="*/ 28349 w 80739"/>
                    <a:gd name="connsiteY12" fmla="*/ 89771 h 91923"/>
                    <a:gd name="connsiteX13" fmla="*/ 63694 w 80739"/>
                    <a:gd name="connsiteY13" fmla="*/ 72187 h 91923"/>
                    <a:gd name="connsiteX14" fmla="*/ 54305 w 80739"/>
                    <a:gd name="connsiteY14" fmla="*/ 49042 h 91923"/>
                    <a:gd name="connsiteX15" fmla="*/ 55561 w 80739"/>
                    <a:gd name="connsiteY15" fmla="*/ 48504 h 91923"/>
                    <a:gd name="connsiteX16" fmla="*/ 64951 w 80739"/>
                    <a:gd name="connsiteY16" fmla="*/ 71649 h 91923"/>
                    <a:gd name="connsiteX17" fmla="*/ 76075 w 80739"/>
                    <a:gd name="connsiteY17" fmla="*/ 65907 h 91923"/>
                    <a:gd name="connsiteX18" fmla="*/ 65250 w 80739"/>
                    <a:gd name="connsiteY18" fmla="*/ 39293 h 91923"/>
                    <a:gd name="connsiteX19" fmla="*/ 66625 w 80739"/>
                    <a:gd name="connsiteY19" fmla="*/ 38695 h 91923"/>
                    <a:gd name="connsiteX20" fmla="*/ 77331 w 80739"/>
                    <a:gd name="connsiteY20" fmla="*/ 64951 h 91923"/>
                    <a:gd name="connsiteX21" fmla="*/ 78587 w 80739"/>
                    <a:gd name="connsiteY21" fmla="*/ 64353 h 91923"/>
                    <a:gd name="connsiteX22" fmla="*/ 53109 w 80739"/>
                    <a:gd name="connsiteY22" fmla="*/ 1734 h 91923"/>
                    <a:gd name="connsiteX23" fmla="*/ 40011 w 80739"/>
                    <a:gd name="connsiteY23" fmla="*/ 8313 h 91923"/>
                    <a:gd name="connsiteX24" fmla="*/ 50716 w 80739"/>
                    <a:gd name="connsiteY24" fmla="*/ 34569 h 91923"/>
                    <a:gd name="connsiteX25" fmla="*/ 13098 w 80739"/>
                    <a:gd name="connsiteY25" fmla="*/ 52511 h 91923"/>
                    <a:gd name="connsiteX26" fmla="*/ 16626 w 80739"/>
                    <a:gd name="connsiteY26" fmla="*/ 61243 h 91923"/>
                    <a:gd name="connsiteX27" fmla="*/ 52630 w 80739"/>
                    <a:gd name="connsiteY27" fmla="*/ 44018 h 91923"/>
                    <a:gd name="connsiteX28" fmla="*/ 12320 w 80739"/>
                    <a:gd name="connsiteY28" fmla="*/ 51494 h 91923"/>
                    <a:gd name="connsiteX29" fmla="*/ 48444 w 80739"/>
                    <a:gd name="connsiteY29" fmla="*/ 34030 h 91923"/>
                    <a:gd name="connsiteX30" fmla="*/ 38217 w 80739"/>
                    <a:gd name="connsiteY30" fmla="*/ 8911 h 91923"/>
                    <a:gd name="connsiteX31" fmla="*/ 1914 w 80739"/>
                    <a:gd name="connsiteY31" fmla="*/ 25837 h 91923"/>
                    <a:gd name="connsiteX32" fmla="*/ 12320 w 80739"/>
                    <a:gd name="connsiteY32" fmla="*/ 51494 h 9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0739" h="91923">
                      <a:moveTo>
                        <a:pt x="0" y="25239"/>
                      </a:moveTo>
                      <a:cubicBezTo>
                        <a:pt x="17703" y="16985"/>
                        <a:pt x="35645" y="8612"/>
                        <a:pt x="54066" y="0"/>
                      </a:cubicBezTo>
                      <a:cubicBezTo>
                        <a:pt x="62857" y="21590"/>
                        <a:pt x="71709" y="43420"/>
                        <a:pt x="80740" y="65609"/>
                      </a:cubicBezTo>
                      <a:cubicBezTo>
                        <a:pt x="63336" y="74161"/>
                        <a:pt x="45393" y="82953"/>
                        <a:pt x="27092" y="91924"/>
                      </a:cubicBezTo>
                      <a:cubicBezTo>
                        <a:pt x="18121" y="69795"/>
                        <a:pt x="9031" y="47547"/>
                        <a:pt x="0" y="25239"/>
                      </a:cubicBezTo>
                      <a:close/>
                      <a:moveTo>
                        <a:pt x="52630" y="44018"/>
                      </a:moveTo>
                      <a:cubicBezTo>
                        <a:pt x="52810" y="44377"/>
                        <a:pt x="52929" y="44676"/>
                        <a:pt x="53109" y="45035"/>
                      </a:cubicBezTo>
                      <a:cubicBezTo>
                        <a:pt x="41147" y="50896"/>
                        <a:pt x="29186" y="56757"/>
                        <a:pt x="17105" y="62678"/>
                      </a:cubicBezTo>
                      <a:cubicBezTo>
                        <a:pt x="19258" y="68061"/>
                        <a:pt x="21231" y="72845"/>
                        <a:pt x="23384" y="78168"/>
                      </a:cubicBezTo>
                      <a:cubicBezTo>
                        <a:pt x="34688" y="72726"/>
                        <a:pt x="45693" y="67403"/>
                        <a:pt x="56697" y="62020"/>
                      </a:cubicBezTo>
                      <a:cubicBezTo>
                        <a:pt x="56937" y="62499"/>
                        <a:pt x="57116" y="62917"/>
                        <a:pt x="57355" y="63396"/>
                      </a:cubicBezTo>
                      <a:cubicBezTo>
                        <a:pt x="46291" y="68898"/>
                        <a:pt x="35167" y="74400"/>
                        <a:pt x="24282" y="79843"/>
                      </a:cubicBezTo>
                      <a:cubicBezTo>
                        <a:pt x="25777" y="83491"/>
                        <a:pt x="26973" y="86421"/>
                        <a:pt x="28349" y="89771"/>
                      </a:cubicBezTo>
                      <a:cubicBezTo>
                        <a:pt x="40250" y="83850"/>
                        <a:pt x="51733" y="78168"/>
                        <a:pt x="63694" y="72187"/>
                      </a:cubicBezTo>
                      <a:cubicBezTo>
                        <a:pt x="60405" y="64113"/>
                        <a:pt x="57355" y="56578"/>
                        <a:pt x="54305" y="49042"/>
                      </a:cubicBezTo>
                      <a:cubicBezTo>
                        <a:pt x="54723" y="48862"/>
                        <a:pt x="55142" y="48683"/>
                        <a:pt x="55561" y="48504"/>
                      </a:cubicBezTo>
                      <a:cubicBezTo>
                        <a:pt x="58671" y="56099"/>
                        <a:pt x="61721" y="63695"/>
                        <a:pt x="64951" y="71649"/>
                      </a:cubicBezTo>
                      <a:cubicBezTo>
                        <a:pt x="69017" y="69556"/>
                        <a:pt x="72367" y="67821"/>
                        <a:pt x="76075" y="65907"/>
                      </a:cubicBezTo>
                      <a:cubicBezTo>
                        <a:pt x="72367" y="56817"/>
                        <a:pt x="68838" y="48025"/>
                        <a:pt x="65250" y="39293"/>
                      </a:cubicBezTo>
                      <a:cubicBezTo>
                        <a:pt x="65728" y="39114"/>
                        <a:pt x="66147" y="38934"/>
                        <a:pt x="66625" y="38695"/>
                      </a:cubicBezTo>
                      <a:cubicBezTo>
                        <a:pt x="70214" y="47427"/>
                        <a:pt x="73742" y="56219"/>
                        <a:pt x="77331" y="64951"/>
                      </a:cubicBezTo>
                      <a:cubicBezTo>
                        <a:pt x="77749" y="64771"/>
                        <a:pt x="78168" y="64532"/>
                        <a:pt x="78587" y="64353"/>
                      </a:cubicBezTo>
                      <a:cubicBezTo>
                        <a:pt x="70214" y="43719"/>
                        <a:pt x="61781" y="23026"/>
                        <a:pt x="53109" y="1734"/>
                      </a:cubicBezTo>
                      <a:cubicBezTo>
                        <a:pt x="48444" y="4067"/>
                        <a:pt x="44198" y="6220"/>
                        <a:pt x="40011" y="8313"/>
                      </a:cubicBezTo>
                      <a:cubicBezTo>
                        <a:pt x="43839" y="17643"/>
                        <a:pt x="47307" y="26195"/>
                        <a:pt x="50716" y="34569"/>
                      </a:cubicBezTo>
                      <a:cubicBezTo>
                        <a:pt x="38097" y="40609"/>
                        <a:pt x="25538" y="46590"/>
                        <a:pt x="13098" y="52511"/>
                      </a:cubicBezTo>
                      <a:cubicBezTo>
                        <a:pt x="14413" y="55740"/>
                        <a:pt x="15430" y="58312"/>
                        <a:pt x="16626" y="61243"/>
                      </a:cubicBezTo>
                      <a:cubicBezTo>
                        <a:pt x="28827" y="55441"/>
                        <a:pt x="40729" y="49760"/>
                        <a:pt x="52630" y="44018"/>
                      </a:cubicBezTo>
                      <a:close/>
                      <a:moveTo>
                        <a:pt x="12320" y="51494"/>
                      </a:moveTo>
                      <a:cubicBezTo>
                        <a:pt x="24760" y="45453"/>
                        <a:pt x="36662" y="39712"/>
                        <a:pt x="48444" y="34030"/>
                      </a:cubicBezTo>
                      <a:cubicBezTo>
                        <a:pt x="44915" y="25298"/>
                        <a:pt x="41626" y="17344"/>
                        <a:pt x="38217" y="8911"/>
                      </a:cubicBezTo>
                      <a:cubicBezTo>
                        <a:pt x="25897" y="14653"/>
                        <a:pt x="13935" y="20215"/>
                        <a:pt x="1914" y="25837"/>
                      </a:cubicBezTo>
                      <a:cubicBezTo>
                        <a:pt x="5442" y="34628"/>
                        <a:pt x="8732" y="42642"/>
                        <a:pt x="12320" y="5149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46" name="Vrije vorm: vorm 9345">
                  <a:extLst>
                    <a:ext uri="{FF2B5EF4-FFF2-40B4-BE49-F238E27FC236}">
                      <a16:creationId xmlns:a16="http://schemas.microsoft.com/office/drawing/2014/main" id="{099636FB-2F4D-4D89-B70F-A0D1DBEF5F95}"/>
                    </a:ext>
                  </a:extLst>
                </p:cNvPr>
                <p:cNvSpPr/>
                <p:nvPr/>
              </p:nvSpPr>
              <p:spPr>
                <a:xfrm>
                  <a:off x="5092903" y="1227284"/>
                  <a:ext cx="73802" cy="79244"/>
                </a:xfrm>
                <a:custGeom>
                  <a:avLst/>
                  <a:gdLst>
                    <a:gd name="connsiteX0" fmla="*/ 26495 w 73802"/>
                    <a:gd name="connsiteY0" fmla="*/ 79245 h 79244"/>
                    <a:gd name="connsiteX1" fmla="*/ 0 w 73802"/>
                    <a:gd name="connsiteY1" fmla="*/ 14055 h 79244"/>
                    <a:gd name="connsiteX2" fmla="*/ 48205 w 73802"/>
                    <a:gd name="connsiteY2" fmla="*/ 0 h 79244"/>
                    <a:gd name="connsiteX3" fmla="*/ 73802 w 73802"/>
                    <a:gd name="connsiteY3" fmla="*/ 62917 h 79244"/>
                    <a:gd name="connsiteX4" fmla="*/ 72786 w 73802"/>
                    <a:gd name="connsiteY4" fmla="*/ 63336 h 79244"/>
                    <a:gd name="connsiteX5" fmla="*/ 56638 w 73802"/>
                    <a:gd name="connsiteY5" fmla="*/ 23624 h 79244"/>
                    <a:gd name="connsiteX6" fmla="*/ 41147 w 73802"/>
                    <a:gd name="connsiteY6" fmla="*/ 33731 h 79244"/>
                    <a:gd name="connsiteX7" fmla="*/ 35107 w 73802"/>
                    <a:gd name="connsiteY7" fmla="*/ 18899 h 79244"/>
                    <a:gd name="connsiteX8" fmla="*/ 28947 w 73802"/>
                    <a:gd name="connsiteY8" fmla="*/ 6639 h 79244"/>
                    <a:gd name="connsiteX9" fmla="*/ 26854 w 73802"/>
                    <a:gd name="connsiteY9" fmla="*/ 8074 h 79244"/>
                    <a:gd name="connsiteX10" fmla="*/ 51614 w 73802"/>
                    <a:gd name="connsiteY10" fmla="*/ 68659 h 79244"/>
                    <a:gd name="connsiteX11" fmla="*/ 55382 w 73802"/>
                    <a:gd name="connsiteY11" fmla="*/ 69376 h 79244"/>
                    <a:gd name="connsiteX12" fmla="*/ 45753 w 73802"/>
                    <a:gd name="connsiteY12" fmla="*/ 45753 h 79244"/>
                    <a:gd name="connsiteX13" fmla="*/ 47009 w 73802"/>
                    <a:gd name="connsiteY13" fmla="*/ 45274 h 79244"/>
                    <a:gd name="connsiteX14" fmla="*/ 56219 w 73802"/>
                    <a:gd name="connsiteY14" fmla="*/ 67881 h 79244"/>
                    <a:gd name="connsiteX15" fmla="*/ 69436 w 73802"/>
                    <a:gd name="connsiteY15" fmla="*/ 64532 h 79244"/>
                    <a:gd name="connsiteX16" fmla="*/ 69676 w 73802"/>
                    <a:gd name="connsiteY16" fmla="*/ 65310 h 79244"/>
                    <a:gd name="connsiteX17" fmla="*/ 26495 w 73802"/>
                    <a:gd name="connsiteY17" fmla="*/ 79245 h 79244"/>
                    <a:gd name="connsiteX18" fmla="*/ 50358 w 73802"/>
                    <a:gd name="connsiteY18" fmla="*/ 70034 h 79244"/>
                    <a:gd name="connsiteX19" fmla="*/ 25179 w 73802"/>
                    <a:gd name="connsiteY19" fmla="*/ 8194 h 79244"/>
                    <a:gd name="connsiteX20" fmla="*/ 2333 w 73802"/>
                    <a:gd name="connsiteY20" fmla="*/ 14713 h 79244"/>
                    <a:gd name="connsiteX21" fmla="*/ 14234 w 73802"/>
                    <a:gd name="connsiteY21" fmla="*/ 43958 h 79244"/>
                    <a:gd name="connsiteX22" fmla="*/ 28229 w 73802"/>
                    <a:gd name="connsiteY22" fmla="*/ 39592 h 79244"/>
                    <a:gd name="connsiteX23" fmla="*/ 17823 w 73802"/>
                    <a:gd name="connsiteY23" fmla="*/ 14055 h 79244"/>
                    <a:gd name="connsiteX24" fmla="*/ 18959 w 73802"/>
                    <a:gd name="connsiteY24" fmla="*/ 13636 h 79244"/>
                    <a:gd name="connsiteX25" fmla="*/ 30023 w 73802"/>
                    <a:gd name="connsiteY25" fmla="*/ 40789 h 79244"/>
                    <a:gd name="connsiteX26" fmla="*/ 14653 w 73802"/>
                    <a:gd name="connsiteY26" fmla="*/ 45214 h 79244"/>
                    <a:gd name="connsiteX27" fmla="*/ 19617 w 73802"/>
                    <a:gd name="connsiteY27" fmla="*/ 57475 h 79244"/>
                    <a:gd name="connsiteX28" fmla="*/ 35466 w 73802"/>
                    <a:gd name="connsiteY28" fmla="*/ 52989 h 79244"/>
                    <a:gd name="connsiteX29" fmla="*/ 35765 w 73802"/>
                    <a:gd name="connsiteY29" fmla="*/ 53946 h 79244"/>
                    <a:gd name="connsiteX30" fmla="*/ 19916 w 73802"/>
                    <a:gd name="connsiteY30" fmla="*/ 59149 h 79244"/>
                    <a:gd name="connsiteX31" fmla="*/ 27332 w 73802"/>
                    <a:gd name="connsiteY31" fmla="*/ 77331 h 79244"/>
                    <a:gd name="connsiteX32" fmla="*/ 50358 w 73802"/>
                    <a:gd name="connsiteY32" fmla="*/ 70034 h 79244"/>
                    <a:gd name="connsiteX33" fmla="*/ 31817 w 73802"/>
                    <a:gd name="connsiteY33" fmla="*/ 6399 h 79244"/>
                    <a:gd name="connsiteX34" fmla="*/ 41985 w 73802"/>
                    <a:gd name="connsiteY34" fmla="*/ 31459 h 79244"/>
                    <a:gd name="connsiteX35" fmla="*/ 55681 w 73802"/>
                    <a:gd name="connsiteY35" fmla="*/ 22368 h 79244"/>
                    <a:gd name="connsiteX36" fmla="*/ 47308 w 73802"/>
                    <a:gd name="connsiteY36" fmla="*/ 1794 h 79244"/>
                    <a:gd name="connsiteX37" fmla="*/ 31817 w 73802"/>
                    <a:gd name="connsiteY37" fmla="*/ 6399 h 7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3802" h="79244">
                      <a:moveTo>
                        <a:pt x="26495" y="79245"/>
                      </a:moveTo>
                      <a:cubicBezTo>
                        <a:pt x="17583" y="57295"/>
                        <a:pt x="8792" y="35765"/>
                        <a:pt x="0" y="14055"/>
                      </a:cubicBezTo>
                      <a:cubicBezTo>
                        <a:pt x="16208" y="9330"/>
                        <a:pt x="32296" y="4665"/>
                        <a:pt x="48205" y="0"/>
                      </a:cubicBezTo>
                      <a:cubicBezTo>
                        <a:pt x="56757" y="20992"/>
                        <a:pt x="65250" y="41925"/>
                        <a:pt x="73802" y="62917"/>
                      </a:cubicBezTo>
                      <a:cubicBezTo>
                        <a:pt x="73443" y="63037"/>
                        <a:pt x="73144" y="63216"/>
                        <a:pt x="72786" y="63336"/>
                      </a:cubicBezTo>
                      <a:cubicBezTo>
                        <a:pt x="67523" y="50417"/>
                        <a:pt x="62260" y="37499"/>
                        <a:pt x="56638" y="23624"/>
                      </a:cubicBezTo>
                      <a:cubicBezTo>
                        <a:pt x="51135" y="27212"/>
                        <a:pt x="46171" y="30442"/>
                        <a:pt x="41147" y="33731"/>
                      </a:cubicBezTo>
                      <a:cubicBezTo>
                        <a:pt x="39174" y="28887"/>
                        <a:pt x="37260" y="23863"/>
                        <a:pt x="35107" y="18899"/>
                      </a:cubicBezTo>
                      <a:cubicBezTo>
                        <a:pt x="33253" y="14713"/>
                        <a:pt x="32595" y="9509"/>
                        <a:pt x="28947" y="6639"/>
                      </a:cubicBezTo>
                      <a:cubicBezTo>
                        <a:pt x="28229" y="7117"/>
                        <a:pt x="27512" y="7596"/>
                        <a:pt x="26854" y="8074"/>
                      </a:cubicBezTo>
                      <a:cubicBezTo>
                        <a:pt x="35047" y="28289"/>
                        <a:pt x="43301" y="48504"/>
                        <a:pt x="51614" y="68659"/>
                      </a:cubicBezTo>
                      <a:cubicBezTo>
                        <a:pt x="51793" y="69077"/>
                        <a:pt x="53229" y="68958"/>
                        <a:pt x="55382" y="69376"/>
                      </a:cubicBezTo>
                      <a:cubicBezTo>
                        <a:pt x="51913" y="60944"/>
                        <a:pt x="48863" y="53348"/>
                        <a:pt x="45753" y="45753"/>
                      </a:cubicBezTo>
                      <a:cubicBezTo>
                        <a:pt x="46171" y="45573"/>
                        <a:pt x="46590" y="45454"/>
                        <a:pt x="47009" y="45274"/>
                      </a:cubicBezTo>
                      <a:cubicBezTo>
                        <a:pt x="49999" y="52630"/>
                        <a:pt x="52989" y="59987"/>
                        <a:pt x="56219" y="67881"/>
                      </a:cubicBezTo>
                      <a:cubicBezTo>
                        <a:pt x="60764" y="66745"/>
                        <a:pt x="65070" y="65668"/>
                        <a:pt x="69436" y="64532"/>
                      </a:cubicBezTo>
                      <a:cubicBezTo>
                        <a:pt x="69496" y="64771"/>
                        <a:pt x="69616" y="65070"/>
                        <a:pt x="69676" y="65310"/>
                      </a:cubicBezTo>
                      <a:cubicBezTo>
                        <a:pt x="55142" y="69974"/>
                        <a:pt x="40789" y="74639"/>
                        <a:pt x="26495" y="79245"/>
                      </a:cubicBezTo>
                      <a:close/>
                      <a:moveTo>
                        <a:pt x="50358" y="70034"/>
                      </a:moveTo>
                      <a:cubicBezTo>
                        <a:pt x="41746" y="48922"/>
                        <a:pt x="33552" y="28648"/>
                        <a:pt x="25179" y="8194"/>
                      </a:cubicBezTo>
                      <a:cubicBezTo>
                        <a:pt x="17464" y="10406"/>
                        <a:pt x="10048" y="12500"/>
                        <a:pt x="2333" y="14713"/>
                      </a:cubicBezTo>
                      <a:cubicBezTo>
                        <a:pt x="6459" y="24760"/>
                        <a:pt x="10287" y="34270"/>
                        <a:pt x="14234" y="43958"/>
                      </a:cubicBezTo>
                      <a:cubicBezTo>
                        <a:pt x="18899" y="42523"/>
                        <a:pt x="23205" y="41207"/>
                        <a:pt x="28229" y="39592"/>
                      </a:cubicBezTo>
                      <a:cubicBezTo>
                        <a:pt x="24641" y="30801"/>
                        <a:pt x="21232" y="22428"/>
                        <a:pt x="17823" y="14055"/>
                      </a:cubicBezTo>
                      <a:cubicBezTo>
                        <a:pt x="18182" y="13935"/>
                        <a:pt x="18540" y="13756"/>
                        <a:pt x="18959" y="13636"/>
                      </a:cubicBezTo>
                      <a:cubicBezTo>
                        <a:pt x="22667" y="22727"/>
                        <a:pt x="26315" y="31817"/>
                        <a:pt x="30023" y="40789"/>
                      </a:cubicBezTo>
                      <a:cubicBezTo>
                        <a:pt x="24880" y="42284"/>
                        <a:pt x="19856" y="43719"/>
                        <a:pt x="14653" y="45214"/>
                      </a:cubicBezTo>
                      <a:cubicBezTo>
                        <a:pt x="16507" y="49700"/>
                        <a:pt x="18062" y="53527"/>
                        <a:pt x="19617" y="57475"/>
                      </a:cubicBezTo>
                      <a:cubicBezTo>
                        <a:pt x="25119" y="55920"/>
                        <a:pt x="30322" y="54425"/>
                        <a:pt x="35466" y="52989"/>
                      </a:cubicBezTo>
                      <a:cubicBezTo>
                        <a:pt x="35585" y="53288"/>
                        <a:pt x="35705" y="53647"/>
                        <a:pt x="35765" y="53946"/>
                      </a:cubicBezTo>
                      <a:cubicBezTo>
                        <a:pt x="30562" y="55681"/>
                        <a:pt x="25299" y="57355"/>
                        <a:pt x="19916" y="59149"/>
                      </a:cubicBezTo>
                      <a:cubicBezTo>
                        <a:pt x="22547" y="65549"/>
                        <a:pt x="24820" y="71171"/>
                        <a:pt x="27332" y="77331"/>
                      </a:cubicBezTo>
                      <a:cubicBezTo>
                        <a:pt x="34928" y="74938"/>
                        <a:pt x="42344" y="72606"/>
                        <a:pt x="50358" y="70034"/>
                      </a:cubicBezTo>
                      <a:close/>
                      <a:moveTo>
                        <a:pt x="31817" y="6399"/>
                      </a:moveTo>
                      <a:cubicBezTo>
                        <a:pt x="35346" y="15012"/>
                        <a:pt x="38576" y="22966"/>
                        <a:pt x="41985" y="31459"/>
                      </a:cubicBezTo>
                      <a:cubicBezTo>
                        <a:pt x="46769" y="28289"/>
                        <a:pt x="51195" y="25298"/>
                        <a:pt x="55681" y="22368"/>
                      </a:cubicBezTo>
                      <a:cubicBezTo>
                        <a:pt x="52750" y="15251"/>
                        <a:pt x="50118" y="8732"/>
                        <a:pt x="47308" y="1794"/>
                      </a:cubicBezTo>
                      <a:cubicBezTo>
                        <a:pt x="42164" y="3289"/>
                        <a:pt x="37200" y="4785"/>
                        <a:pt x="31817" y="639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47" name="Vrije vorm: vorm 9346">
                  <a:extLst>
                    <a:ext uri="{FF2B5EF4-FFF2-40B4-BE49-F238E27FC236}">
                      <a16:creationId xmlns:a16="http://schemas.microsoft.com/office/drawing/2014/main" id="{51BD6F06-5600-4A12-ADBC-EEE0B3C63957}"/>
                    </a:ext>
                  </a:extLst>
                </p:cNvPr>
                <p:cNvSpPr/>
                <p:nvPr/>
              </p:nvSpPr>
              <p:spPr>
                <a:xfrm>
                  <a:off x="4723952" y="2059801"/>
                  <a:ext cx="66804" cy="58192"/>
                </a:xfrm>
                <a:custGeom>
                  <a:avLst/>
                  <a:gdLst>
                    <a:gd name="connsiteX0" fmla="*/ 30861 w 66804"/>
                    <a:gd name="connsiteY0" fmla="*/ 2452 h 58192"/>
                    <a:gd name="connsiteX1" fmla="*/ 40191 w 66804"/>
                    <a:gd name="connsiteY1" fmla="*/ 7954 h 58192"/>
                    <a:gd name="connsiteX2" fmla="*/ 57355 w 66804"/>
                    <a:gd name="connsiteY2" fmla="*/ 49640 h 58192"/>
                    <a:gd name="connsiteX3" fmla="*/ 60944 w 66804"/>
                    <a:gd name="connsiteY3" fmla="*/ 55262 h 58192"/>
                    <a:gd name="connsiteX4" fmla="*/ 46769 w 66804"/>
                    <a:gd name="connsiteY4" fmla="*/ 20394 h 58192"/>
                    <a:gd name="connsiteX5" fmla="*/ 48504 w 66804"/>
                    <a:gd name="connsiteY5" fmla="*/ 19677 h 58192"/>
                    <a:gd name="connsiteX6" fmla="*/ 61422 w 66804"/>
                    <a:gd name="connsiteY6" fmla="*/ 51075 h 58192"/>
                    <a:gd name="connsiteX7" fmla="*/ 66805 w 66804"/>
                    <a:gd name="connsiteY7" fmla="*/ 58192 h 58192"/>
                    <a:gd name="connsiteX8" fmla="*/ 57475 w 66804"/>
                    <a:gd name="connsiteY8" fmla="*/ 57355 h 58192"/>
                    <a:gd name="connsiteX9" fmla="*/ 55142 w 66804"/>
                    <a:gd name="connsiteY9" fmla="*/ 54903 h 58192"/>
                    <a:gd name="connsiteX10" fmla="*/ 42702 w 66804"/>
                    <a:gd name="connsiteY10" fmla="*/ 24461 h 58192"/>
                    <a:gd name="connsiteX11" fmla="*/ 41447 w 66804"/>
                    <a:gd name="connsiteY11" fmla="*/ 24282 h 58192"/>
                    <a:gd name="connsiteX12" fmla="*/ 35825 w 66804"/>
                    <a:gd name="connsiteY12" fmla="*/ 44616 h 58192"/>
                    <a:gd name="connsiteX13" fmla="*/ 39892 w 66804"/>
                    <a:gd name="connsiteY13" fmla="*/ 53528 h 58192"/>
                    <a:gd name="connsiteX14" fmla="*/ 32356 w 66804"/>
                    <a:gd name="connsiteY14" fmla="*/ 45095 h 58192"/>
                    <a:gd name="connsiteX15" fmla="*/ 26973 w 66804"/>
                    <a:gd name="connsiteY15" fmla="*/ 31877 h 58192"/>
                    <a:gd name="connsiteX16" fmla="*/ 15251 w 66804"/>
                    <a:gd name="connsiteY16" fmla="*/ 38277 h 58192"/>
                    <a:gd name="connsiteX17" fmla="*/ 19737 w 66804"/>
                    <a:gd name="connsiteY17" fmla="*/ 49281 h 58192"/>
                    <a:gd name="connsiteX18" fmla="*/ 18540 w 66804"/>
                    <a:gd name="connsiteY18" fmla="*/ 49760 h 58192"/>
                    <a:gd name="connsiteX19" fmla="*/ 0 w 66804"/>
                    <a:gd name="connsiteY19" fmla="*/ 4246 h 58192"/>
                    <a:gd name="connsiteX20" fmla="*/ 419 w 66804"/>
                    <a:gd name="connsiteY20" fmla="*/ 4007 h 58192"/>
                    <a:gd name="connsiteX21" fmla="*/ 11364 w 66804"/>
                    <a:gd name="connsiteY21" fmla="*/ 30920 h 58192"/>
                    <a:gd name="connsiteX22" fmla="*/ 23385 w 66804"/>
                    <a:gd name="connsiteY22" fmla="*/ 24401 h 58192"/>
                    <a:gd name="connsiteX23" fmla="*/ 13457 w 66804"/>
                    <a:gd name="connsiteY23" fmla="*/ 0 h 58192"/>
                    <a:gd name="connsiteX24" fmla="*/ 31160 w 66804"/>
                    <a:gd name="connsiteY24" fmla="*/ 2632 h 58192"/>
                    <a:gd name="connsiteX25" fmla="*/ 18361 w 66804"/>
                    <a:gd name="connsiteY25" fmla="*/ 2691 h 58192"/>
                    <a:gd name="connsiteX26" fmla="*/ 22368 w 66804"/>
                    <a:gd name="connsiteY26" fmla="*/ 12560 h 58192"/>
                    <a:gd name="connsiteX27" fmla="*/ 26495 w 66804"/>
                    <a:gd name="connsiteY27" fmla="*/ 22727 h 58192"/>
                    <a:gd name="connsiteX28" fmla="*/ 40609 w 66804"/>
                    <a:gd name="connsiteY28" fmla="*/ 15311 h 58192"/>
                    <a:gd name="connsiteX29" fmla="*/ 30861 w 66804"/>
                    <a:gd name="connsiteY29" fmla="*/ 2452 h 58192"/>
                    <a:gd name="connsiteX30" fmla="*/ 39473 w 66804"/>
                    <a:gd name="connsiteY30" fmla="*/ 17763 h 58192"/>
                    <a:gd name="connsiteX31" fmla="*/ 29724 w 66804"/>
                    <a:gd name="connsiteY31" fmla="*/ 28050 h 58192"/>
                    <a:gd name="connsiteX32" fmla="*/ 39473 w 66804"/>
                    <a:gd name="connsiteY32" fmla="*/ 17763 h 58192"/>
                    <a:gd name="connsiteX33" fmla="*/ 23684 w 66804"/>
                    <a:gd name="connsiteY33" fmla="*/ 26255 h 58192"/>
                    <a:gd name="connsiteX34" fmla="*/ 14952 w 66804"/>
                    <a:gd name="connsiteY34" fmla="*/ 36303 h 58192"/>
                    <a:gd name="connsiteX35" fmla="*/ 23684 w 66804"/>
                    <a:gd name="connsiteY35" fmla="*/ 26255 h 58192"/>
                    <a:gd name="connsiteX36" fmla="*/ 37918 w 66804"/>
                    <a:gd name="connsiteY36" fmla="*/ 6280 h 58192"/>
                    <a:gd name="connsiteX37" fmla="*/ 37320 w 66804"/>
                    <a:gd name="connsiteY37" fmla="*/ 6340 h 58192"/>
                    <a:gd name="connsiteX38" fmla="*/ 56638 w 66804"/>
                    <a:gd name="connsiteY38" fmla="*/ 53886 h 58192"/>
                    <a:gd name="connsiteX39" fmla="*/ 57176 w 66804"/>
                    <a:gd name="connsiteY39" fmla="*/ 53647 h 58192"/>
                    <a:gd name="connsiteX40" fmla="*/ 37918 w 66804"/>
                    <a:gd name="connsiteY40" fmla="*/ 6280 h 5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804" h="58192">
                      <a:moveTo>
                        <a:pt x="30861" y="2452"/>
                      </a:moveTo>
                      <a:cubicBezTo>
                        <a:pt x="35585" y="658"/>
                        <a:pt x="38157" y="2811"/>
                        <a:pt x="40191" y="7954"/>
                      </a:cubicBezTo>
                      <a:cubicBezTo>
                        <a:pt x="45693" y="21949"/>
                        <a:pt x="51614" y="35765"/>
                        <a:pt x="57355" y="49640"/>
                      </a:cubicBezTo>
                      <a:cubicBezTo>
                        <a:pt x="58193" y="51673"/>
                        <a:pt x="58970" y="53647"/>
                        <a:pt x="60944" y="55262"/>
                      </a:cubicBezTo>
                      <a:cubicBezTo>
                        <a:pt x="56219" y="43659"/>
                        <a:pt x="51494" y="31997"/>
                        <a:pt x="46769" y="20394"/>
                      </a:cubicBezTo>
                      <a:cubicBezTo>
                        <a:pt x="47368" y="20155"/>
                        <a:pt x="47966" y="19916"/>
                        <a:pt x="48504" y="19677"/>
                      </a:cubicBezTo>
                      <a:cubicBezTo>
                        <a:pt x="52750" y="30143"/>
                        <a:pt x="56877" y="40729"/>
                        <a:pt x="61422" y="51075"/>
                      </a:cubicBezTo>
                      <a:cubicBezTo>
                        <a:pt x="62678" y="53886"/>
                        <a:pt x="65250" y="56159"/>
                        <a:pt x="66805" y="58192"/>
                      </a:cubicBezTo>
                      <a:cubicBezTo>
                        <a:pt x="64831" y="58013"/>
                        <a:pt x="61123" y="57893"/>
                        <a:pt x="57475" y="57355"/>
                      </a:cubicBezTo>
                      <a:cubicBezTo>
                        <a:pt x="56638" y="57236"/>
                        <a:pt x="55561" y="55920"/>
                        <a:pt x="55142" y="54903"/>
                      </a:cubicBezTo>
                      <a:cubicBezTo>
                        <a:pt x="50896" y="44736"/>
                        <a:pt x="46769" y="34509"/>
                        <a:pt x="42702" y="24461"/>
                      </a:cubicBezTo>
                      <a:cubicBezTo>
                        <a:pt x="42105" y="24342"/>
                        <a:pt x="41686" y="24102"/>
                        <a:pt x="41447" y="24282"/>
                      </a:cubicBezTo>
                      <a:cubicBezTo>
                        <a:pt x="29007" y="30502"/>
                        <a:pt x="29067" y="30502"/>
                        <a:pt x="35825" y="44616"/>
                      </a:cubicBezTo>
                      <a:cubicBezTo>
                        <a:pt x="37260" y="47547"/>
                        <a:pt x="38516" y="50537"/>
                        <a:pt x="39892" y="53528"/>
                      </a:cubicBezTo>
                      <a:cubicBezTo>
                        <a:pt x="35944" y="53767"/>
                        <a:pt x="35944" y="53767"/>
                        <a:pt x="32356" y="45095"/>
                      </a:cubicBezTo>
                      <a:cubicBezTo>
                        <a:pt x="30681" y="40968"/>
                        <a:pt x="29007" y="36901"/>
                        <a:pt x="26973" y="31877"/>
                      </a:cubicBezTo>
                      <a:cubicBezTo>
                        <a:pt x="22906" y="34090"/>
                        <a:pt x="19318" y="36064"/>
                        <a:pt x="15251" y="38277"/>
                      </a:cubicBezTo>
                      <a:cubicBezTo>
                        <a:pt x="16746" y="41985"/>
                        <a:pt x="18241" y="45633"/>
                        <a:pt x="19737" y="49281"/>
                      </a:cubicBezTo>
                      <a:cubicBezTo>
                        <a:pt x="19318" y="49461"/>
                        <a:pt x="18959" y="49640"/>
                        <a:pt x="18540" y="49760"/>
                      </a:cubicBezTo>
                      <a:cubicBezTo>
                        <a:pt x="12380" y="34569"/>
                        <a:pt x="6220" y="19378"/>
                        <a:pt x="0" y="4246"/>
                      </a:cubicBezTo>
                      <a:cubicBezTo>
                        <a:pt x="120" y="4187"/>
                        <a:pt x="299" y="4067"/>
                        <a:pt x="419" y="4007"/>
                      </a:cubicBezTo>
                      <a:cubicBezTo>
                        <a:pt x="3947" y="12739"/>
                        <a:pt x="7536" y="21471"/>
                        <a:pt x="11364" y="30920"/>
                      </a:cubicBezTo>
                      <a:cubicBezTo>
                        <a:pt x="15909" y="28468"/>
                        <a:pt x="19497" y="26495"/>
                        <a:pt x="23385" y="24401"/>
                      </a:cubicBezTo>
                      <a:cubicBezTo>
                        <a:pt x="20215" y="16507"/>
                        <a:pt x="17045" y="8852"/>
                        <a:pt x="13457" y="0"/>
                      </a:cubicBezTo>
                      <a:cubicBezTo>
                        <a:pt x="19916" y="957"/>
                        <a:pt x="25538" y="1794"/>
                        <a:pt x="31160" y="2632"/>
                      </a:cubicBezTo>
                      <a:cubicBezTo>
                        <a:pt x="27093" y="2632"/>
                        <a:pt x="22966" y="2691"/>
                        <a:pt x="18361" y="2691"/>
                      </a:cubicBezTo>
                      <a:cubicBezTo>
                        <a:pt x="19796" y="6280"/>
                        <a:pt x="21112" y="9390"/>
                        <a:pt x="22368" y="12560"/>
                      </a:cubicBezTo>
                      <a:cubicBezTo>
                        <a:pt x="23684" y="15849"/>
                        <a:pt x="25059" y="19138"/>
                        <a:pt x="26495" y="22727"/>
                      </a:cubicBezTo>
                      <a:cubicBezTo>
                        <a:pt x="31220" y="20215"/>
                        <a:pt x="35167" y="18181"/>
                        <a:pt x="40609" y="15311"/>
                      </a:cubicBezTo>
                      <a:cubicBezTo>
                        <a:pt x="36901" y="10406"/>
                        <a:pt x="33851" y="6459"/>
                        <a:pt x="30861" y="2452"/>
                      </a:cubicBezTo>
                      <a:close/>
                      <a:moveTo>
                        <a:pt x="39473" y="17763"/>
                      </a:moveTo>
                      <a:cubicBezTo>
                        <a:pt x="28109" y="22189"/>
                        <a:pt x="26854" y="23564"/>
                        <a:pt x="29724" y="28050"/>
                      </a:cubicBezTo>
                      <a:cubicBezTo>
                        <a:pt x="39892" y="24760"/>
                        <a:pt x="41925" y="22667"/>
                        <a:pt x="39473" y="17763"/>
                      </a:cubicBezTo>
                      <a:close/>
                      <a:moveTo>
                        <a:pt x="23684" y="26255"/>
                      </a:moveTo>
                      <a:cubicBezTo>
                        <a:pt x="11842" y="31160"/>
                        <a:pt x="11842" y="31160"/>
                        <a:pt x="14952" y="36303"/>
                      </a:cubicBezTo>
                      <a:cubicBezTo>
                        <a:pt x="26674" y="31100"/>
                        <a:pt x="26674" y="31100"/>
                        <a:pt x="23684" y="26255"/>
                      </a:cubicBezTo>
                      <a:close/>
                      <a:moveTo>
                        <a:pt x="37918" y="6280"/>
                      </a:moveTo>
                      <a:cubicBezTo>
                        <a:pt x="37738" y="6280"/>
                        <a:pt x="37499" y="6340"/>
                        <a:pt x="37320" y="6340"/>
                      </a:cubicBezTo>
                      <a:cubicBezTo>
                        <a:pt x="43779" y="22189"/>
                        <a:pt x="50238" y="38037"/>
                        <a:pt x="56638" y="53886"/>
                      </a:cubicBezTo>
                      <a:cubicBezTo>
                        <a:pt x="56817" y="53826"/>
                        <a:pt x="56996" y="53707"/>
                        <a:pt x="57176" y="53647"/>
                      </a:cubicBezTo>
                      <a:cubicBezTo>
                        <a:pt x="50777" y="37858"/>
                        <a:pt x="44317" y="22069"/>
                        <a:pt x="37918" y="628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48" name="Vrije vorm: vorm 9347">
                  <a:extLst>
                    <a:ext uri="{FF2B5EF4-FFF2-40B4-BE49-F238E27FC236}">
                      <a16:creationId xmlns:a16="http://schemas.microsoft.com/office/drawing/2014/main" id="{8E0690AA-2B37-4634-A356-D10CED0FD3C9}"/>
                    </a:ext>
                  </a:extLst>
                </p:cNvPr>
                <p:cNvSpPr/>
                <p:nvPr/>
              </p:nvSpPr>
              <p:spPr>
                <a:xfrm>
                  <a:off x="5212577" y="1360056"/>
                  <a:ext cx="69795" cy="79663"/>
                </a:xfrm>
                <a:custGeom>
                  <a:avLst/>
                  <a:gdLst>
                    <a:gd name="connsiteX0" fmla="*/ 26016 w 69795"/>
                    <a:gd name="connsiteY0" fmla="*/ 79663 h 79663"/>
                    <a:gd name="connsiteX1" fmla="*/ 0 w 69795"/>
                    <a:gd name="connsiteY1" fmla="*/ 15729 h 79663"/>
                    <a:gd name="connsiteX2" fmla="*/ 44556 w 69795"/>
                    <a:gd name="connsiteY2" fmla="*/ 0 h 79663"/>
                    <a:gd name="connsiteX3" fmla="*/ 44796 w 69795"/>
                    <a:gd name="connsiteY3" fmla="*/ 598 h 79663"/>
                    <a:gd name="connsiteX4" fmla="*/ 16806 w 69795"/>
                    <a:gd name="connsiteY4" fmla="*/ 16268 h 79663"/>
                    <a:gd name="connsiteX5" fmla="*/ 16208 w 69795"/>
                    <a:gd name="connsiteY5" fmla="*/ 15131 h 79663"/>
                    <a:gd name="connsiteX6" fmla="*/ 31220 w 69795"/>
                    <a:gd name="connsiteY6" fmla="*/ 6997 h 79663"/>
                    <a:gd name="connsiteX7" fmla="*/ 30980 w 69795"/>
                    <a:gd name="connsiteY7" fmla="*/ 6340 h 79663"/>
                    <a:gd name="connsiteX8" fmla="*/ 2213 w 69795"/>
                    <a:gd name="connsiteY8" fmla="*/ 16327 h 79663"/>
                    <a:gd name="connsiteX9" fmla="*/ 26794 w 69795"/>
                    <a:gd name="connsiteY9" fmla="*/ 76733 h 79663"/>
                    <a:gd name="connsiteX10" fmla="*/ 28707 w 69795"/>
                    <a:gd name="connsiteY10" fmla="*/ 76493 h 79663"/>
                    <a:gd name="connsiteX11" fmla="*/ 27870 w 69795"/>
                    <a:gd name="connsiteY11" fmla="*/ 71051 h 79663"/>
                    <a:gd name="connsiteX12" fmla="*/ 14234 w 69795"/>
                    <a:gd name="connsiteY12" fmla="*/ 37140 h 79663"/>
                    <a:gd name="connsiteX13" fmla="*/ 12859 w 69795"/>
                    <a:gd name="connsiteY13" fmla="*/ 31279 h 79663"/>
                    <a:gd name="connsiteX14" fmla="*/ 30801 w 69795"/>
                    <a:gd name="connsiteY14" fmla="*/ 75417 h 79663"/>
                    <a:gd name="connsiteX15" fmla="*/ 38695 w 69795"/>
                    <a:gd name="connsiteY15" fmla="*/ 72666 h 79663"/>
                    <a:gd name="connsiteX16" fmla="*/ 20095 w 69795"/>
                    <a:gd name="connsiteY16" fmla="*/ 26973 h 79663"/>
                    <a:gd name="connsiteX17" fmla="*/ 45573 w 69795"/>
                    <a:gd name="connsiteY17" fmla="*/ 14473 h 79663"/>
                    <a:gd name="connsiteX18" fmla="*/ 46112 w 69795"/>
                    <a:gd name="connsiteY18" fmla="*/ 15550 h 79663"/>
                    <a:gd name="connsiteX19" fmla="*/ 26674 w 69795"/>
                    <a:gd name="connsiteY19" fmla="*/ 25119 h 79663"/>
                    <a:gd name="connsiteX20" fmla="*/ 24102 w 69795"/>
                    <a:gd name="connsiteY20" fmla="*/ 32834 h 79663"/>
                    <a:gd name="connsiteX21" fmla="*/ 40071 w 69795"/>
                    <a:gd name="connsiteY21" fmla="*/ 71888 h 79663"/>
                    <a:gd name="connsiteX22" fmla="*/ 47068 w 69795"/>
                    <a:gd name="connsiteY22" fmla="*/ 69077 h 79663"/>
                    <a:gd name="connsiteX23" fmla="*/ 30861 w 69795"/>
                    <a:gd name="connsiteY23" fmla="*/ 29306 h 79663"/>
                    <a:gd name="connsiteX24" fmla="*/ 31877 w 69795"/>
                    <a:gd name="connsiteY24" fmla="*/ 28887 h 79663"/>
                    <a:gd name="connsiteX25" fmla="*/ 48085 w 69795"/>
                    <a:gd name="connsiteY25" fmla="*/ 68718 h 79663"/>
                    <a:gd name="connsiteX26" fmla="*/ 54245 w 69795"/>
                    <a:gd name="connsiteY26" fmla="*/ 66625 h 79663"/>
                    <a:gd name="connsiteX27" fmla="*/ 37858 w 69795"/>
                    <a:gd name="connsiteY27" fmla="*/ 26315 h 79663"/>
                    <a:gd name="connsiteX28" fmla="*/ 39054 w 69795"/>
                    <a:gd name="connsiteY28" fmla="*/ 25777 h 79663"/>
                    <a:gd name="connsiteX29" fmla="*/ 55322 w 69795"/>
                    <a:gd name="connsiteY29" fmla="*/ 65788 h 79663"/>
                    <a:gd name="connsiteX30" fmla="*/ 56937 w 69795"/>
                    <a:gd name="connsiteY30" fmla="*/ 65190 h 79663"/>
                    <a:gd name="connsiteX31" fmla="*/ 48803 w 69795"/>
                    <a:gd name="connsiteY31" fmla="*/ 45214 h 79663"/>
                    <a:gd name="connsiteX32" fmla="*/ 50178 w 69795"/>
                    <a:gd name="connsiteY32" fmla="*/ 44676 h 79663"/>
                    <a:gd name="connsiteX33" fmla="*/ 58252 w 69795"/>
                    <a:gd name="connsiteY33" fmla="*/ 64532 h 79663"/>
                    <a:gd name="connsiteX34" fmla="*/ 68121 w 69795"/>
                    <a:gd name="connsiteY34" fmla="*/ 60525 h 79663"/>
                    <a:gd name="connsiteX35" fmla="*/ 45454 w 69795"/>
                    <a:gd name="connsiteY35" fmla="*/ 4844 h 79663"/>
                    <a:gd name="connsiteX36" fmla="*/ 46470 w 69795"/>
                    <a:gd name="connsiteY36" fmla="*/ 4426 h 79663"/>
                    <a:gd name="connsiteX37" fmla="*/ 69795 w 69795"/>
                    <a:gd name="connsiteY37" fmla="*/ 61781 h 79663"/>
                    <a:gd name="connsiteX38" fmla="*/ 26016 w 69795"/>
                    <a:gd name="connsiteY38" fmla="*/ 79663 h 7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9795" h="79663">
                      <a:moveTo>
                        <a:pt x="26016" y="79663"/>
                      </a:moveTo>
                      <a:cubicBezTo>
                        <a:pt x="17045" y="57654"/>
                        <a:pt x="8552" y="36722"/>
                        <a:pt x="0" y="15729"/>
                      </a:cubicBezTo>
                      <a:cubicBezTo>
                        <a:pt x="15012" y="10466"/>
                        <a:pt x="29784" y="5203"/>
                        <a:pt x="44556" y="0"/>
                      </a:cubicBezTo>
                      <a:cubicBezTo>
                        <a:pt x="44616" y="179"/>
                        <a:pt x="44736" y="419"/>
                        <a:pt x="44796" y="598"/>
                      </a:cubicBezTo>
                      <a:cubicBezTo>
                        <a:pt x="35466" y="5801"/>
                        <a:pt x="26136" y="11005"/>
                        <a:pt x="16806" y="16268"/>
                      </a:cubicBezTo>
                      <a:cubicBezTo>
                        <a:pt x="16627" y="15909"/>
                        <a:pt x="16387" y="15490"/>
                        <a:pt x="16208" y="15131"/>
                      </a:cubicBezTo>
                      <a:cubicBezTo>
                        <a:pt x="21231" y="12440"/>
                        <a:pt x="26196" y="9749"/>
                        <a:pt x="31220" y="6997"/>
                      </a:cubicBezTo>
                      <a:cubicBezTo>
                        <a:pt x="31160" y="6758"/>
                        <a:pt x="31040" y="6579"/>
                        <a:pt x="30980" y="6340"/>
                      </a:cubicBezTo>
                      <a:cubicBezTo>
                        <a:pt x="21531" y="9629"/>
                        <a:pt x="12141" y="12918"/>
                        <a:pt x="2213" y="16327"/>
                      </a:cubicBezTo>
                      <a:cubicBezTo>
                        <a:pt x="10526" y="36841"/>
                        <a:pt x="18660" y="56817"/>
                        <a:pt x="26794" y="76733"/>
                      </a:cubicBezTo>
                      <a:cubicBezTo>
                        <a:pt x="27452" y="76673"/>
                        <a:pt x="28050" y="76553"/>
                        <a:pt x="28707" y="76493"/>
                      </a:cubicBezTo>
                      <a:cubicBezTo>
                        <a:pt x="28468" y="74639"/>
                        <a:pt x="28528" y="72726"/>
                        <a:pt x="27870" y="71051"/>
                      </a:cubicBezTo>
                      <a:cubicBezTo>
                        <a:pt x="23445" y="59688"/>
                        <a:pt x="18839" y="48444"/>
                        <a:pt x="14234" y="37140"/>
                      </a:cubicBezTo>
                      <a:cubicBezTo>
                        <a:pt x="13516" y="35286"/>
                        <a:pt x="12739" y="33432"/>
                        <a:pt x="12859" y="31279"/>
                      </a:cubicBezTo>
                      <a:cubicBezTo>
                        <a:pt x="18780" y="45812"/>
                        <a:pt x="24700" y="60345"/>
                        <a:pt x="30801" y="75417"/>
                      </a:cubicBezTo>
                      <a:cubicBezTo>
                        <a:pt x="33552" y="74460"/>
                        <a:pt x="35884" y="73623"/>
                        <a:pt x="38695" y="72666"/>
                      </a:cubicBezTo>
                      <a:cubicBezTo>
                        <a:pt x="32475" y="57295"/>
                        <a:pt x="26375" y="42343"/>
                        <a:pt x="20095" y="26973"/>
                      </a:cubicBezTo>
                      <a:cubicBezTo>
                        <a:pt x="28827" y="22667"/>
                        <a:pt x="37200" y="18540"/>
                        <a:pt x="45573" y="14473"/>
                      </a:cubicBezTo>
                      <a:cubicBezTo>
                        <a:pt x="45753" y="14832"/>
                        <a:pt x="45932" y="15191"/>
                        <a:pt x="46112" y="15550"/>
                      </a:cubicBezTo>
                      <a:cubicBezTo>
                        <a:pt x="39652" y="18779"/>
                        <a:pt x="33253" y="22069"/>
                        <a:pt x="26674" y="25119"/>
                      </a:cubicBezTo>
                      <a:cubicBezTo>
                        <a:pt x="23205" y="26734"/>
                        <a:pt x="22248" y="28588"/>
                        <a:pt x="24102" y="32834"/>
                      </a:cubicBezTo>
                      <a:cubicBezTo>
                        <a:pt x="29605" y="45633"/>
                        <a:pt x="34688" y="58671"/>
                        <a:pt x="40071" y="71888"/>
                      </a:cubicBezTo>
                      <a:cubicBezTo>
                        <a:pt x="42523" y="70931"/>
                        <a:pt x="44437" y="70094"/>
                        <a:pt x="47068" y="69077"/>
                      </a:cubicBezTo>
                      <a:cubicBezTo>
                        <a:pt x="41686" y="55800"/>
                        <a:pt x="36243" y="42523"/>
                        <a:pt x="30861" y="29306"/>
                      </a:cubicBezTo>
                      <a:cubicBezTo>
                        <a:pt x="31220" y="29186"/>
                        <a:pt x="31519" y="29006"/>
                        <a:pt x="31877" y="28887"/>
                      </a:cubicBezTo>
                      <a:cubicBezTo>
                        <a:pt x="37200" y="41925"/>
                        <a:pt x="42523" y="55023"/>
                        <a:pt x="48085" y="68718"/>
                      </a:cubicBezTo>
                      <a:cubicBezTo>
                        <a:pt x="50178" y="68001"/>
                        <a:pt x="51972" y="67403"/>
                        <a:pt x="54245" y="66625"/>
                      </a:cubicBezTo>
                      <a:cubicBezTo>
                        <a:pt x="48683" y="52929"/>
                        <a:pt x="43241" y="39592"/>
                        <a:pt x="37858" y="26315"/>
                      </a:cubicBezTo>
                      <a:cubicBezTo>
                        <a:pt x="38277" y="26136"/>
                        <a:pt x="38636" y="25956"/>
                        <a:pt x="39054" y="25777"/>
                      </a:cubicBezTo>
                      <a:cubicBezTo>
                        <a:pt x="44497" y="39114"/>
                        <a:pt x="49879" y="52451"/>
                        <a:pt x="55322" y="65788"/>
                      </a:cubicBezTo>
                      <a:cubicBezTo>
                        <a:pt x="55860" y="65609"/>
                        <a:pt x="56398" y="65429"/>
                        <a:pt x="56937" y="65190"/>
                      </a:cubicBezTo>
                      <a:cubicBezTo>
                        <a:pt x="54245" y="58551"/>
                        <a:pt x="51494" y="51913"/>
                        <a:pt x="48803" y="45214"/>
                      </a:cubicBezTo>
                      <a:cubicBezTo>
                        <a:pt x="49281" y="45035"/>
                        <a:pt x="49700" y="44855"/>
                        <a:pt x="50178" y="44676"/>
                      </a:cubicBezTo>
                      <a:cubicBezTo>
                        <a:pt x="52810" y="51135"/>
                        <a:pt x="55441" y="57594"/>
                        <a:pt x="58252" y="64532"/>
                      </a:cubicBezTo>
                      <a:cubicBezTo>
                        <a:pt x="61601" y="63156"/>
                        <a:pt x="64532" y="61960"/>
                        <a:pt x="68121" y="60525"/>
                      </a:cubicBezTo>
                      <a:cubicBezTo>
                        <a:pt x="60585" y="41925"/>
                        <a:pt x="53049" y="23385"/>
                        <a:pt x="45454" y="4844"/>
                      </a:cubicBezTo>
                      <a:cubicBezTo>
                        <a:pt x="45813" y="4725"/>
                        <a:pt x="46112" y="4605"/>
                        <a:pt x="46470" y="4426"/>
                      </a:cubicBezTo>
                      <a:cubicBezTo>
                        <a:pt x="54245" y="23624"/>
                        <a:pt x="62080" y="42762"/>
                        <a:pt x="69795" y="61781"/>
                      </a:cubicBezTo>
                      <a:cubicBezTo>
                        <a:pt x="55382" y="67762"/>
                        <a:pt x="40729" y="73682"/>
                        <a:pt x="26016" y="7966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49" name="Vrije vorm: vorm 9348">
                  <a:extLst>
                    <a:ext uri="{FF2B5EF4-FFF2-40B4-BE49-F238E27FC236}">
                      <a16:creationId xmlns:a16="http://schemas.microsoft.com/office/drawing/2014/main" id="{88DC8B52-B162-4CC1-B672-2C15AB49C4E0}"/>
                    </a:ext>
                  </a:extLst>
                </p:cNvPr>
                <p:cNvSpPr/>
                <p:nvPr/>
              </p:nvSpPr>
              <p:spPr>
                <a:xfrm>
                  <a:off x="5264849" y="1343011"/>
                  <a:ext cx="68000" cy="78108"/>
                </a:xfrm>
                <a:custGeom>
                  <a:avLst/>
                  <a:gdLst>
                    <a:gd name="connsiteX0" fmla="*/ 43241 w 68000"/>
                    <a:gd name="connsiteY0" fmla="*/ 0 h 78108"/>
                    <a:gd name="connsiteX1" fmla="*/ 68001 w 68000"/>
                    <a:gd name="connsiteY1" fmla="*/ 60824 h 78108"/>
                    <a:gd name="connsiteX2" fmla="*/ 25478 w 68000"/>
                    <a:gd name="connsiteY2" fmla="*/ 78108 h 78108"/>
                    <a:gd name="connsiteX3" fmla="*/ 0 w 68000"/>
                    <a:gd name="connsiteY3" fmla="*/ 15430 h 78108"/>
                    <a:gd name="connsiteX4" fmla="*/ 43241 w 68000"/>
                    <a:gd name="connsiteY4" fmla="*/ 0 h 78108"/>
                    <a:gd name="connsiteX5" fmla="*/ 48923 w 68000"/>
                    <a:gd name="connsiteY5" fmla="*/ 66207 h 78108"/>
                    <a:gd name="connsiteX6" fmla="*/ 32535 w 68000"/>
                    <a:gd name="connsiteY6" fmla="*/ 25837 h 78108"/>
                    <a:gd name="connsiteX7" fmla="*/ 33851 w 68000"/>
                    <a:gd name="connsiteY7" fmla="*/ 25298 h 78108"/>
                    <a:gd name="connsiteX8" fmla="*/ 39772 w 68000"/>
                    <a:gd name="connsiteY8" fmla="*/ 39891 h 78108"/>
                    <a:gd name="connsiteX9" fmla="*/ 54963 w 68000"/>
                    <a:gd name="connsiteY9" fmla="*/ 32655 h 78108"/>
                    <a:gd name="connsiteX10" fmla="*/ 44138 w 68000"/>
                    <a:gd name="connsiteY10" fmla="*/ 5981 h 78108"/>
                    <a:gd name="connsiteX11" fmla="*/ 11184 w 68000"/>
                    <a:gd name="connsiteY11" fmla="*/ 22487 h 78108"/>
                    <a:gd name="connsiteX12" fmla="*/ 31817 w 68000"/>
                    <a:gd name="connsiteY12" fmla="*/ 73144 h 78108"/>
                    <a:gd name="connsiteX13" fmla="*/ 38815 w 68000"/>
                    <a:gd name="connsiteY13" fmla="*/ 70273 h 78108"/>
                    <a:gd name="connsiteX14" fmla="*/ 22308 w 68000"/>
                    <a:gd name="connsiteY14" fmla="*/ 29664 h 78108"/>
                    <a:gd name="connsiteX15" fmla="*/ 36841 w 68000"/>
                    <a:gd name="connsiteY15" fmla="*/ 62499 h 78108"/>
                    <a:gd name="connsiteX16" fmla="*/ 48923 w 68000"/>
                    <a:gd name="connsiteY16" fmla="*/ 66207 h 78108"/>
                    <a:gd name="connsiteX17" fmla="*/ 1914 w 68000"/>
                    <a:gd name="connsiteY17" fmla="*/ 16088 h 78108"/>
                    <a:gd name="connsiteX18" fmla="*/ 25897 w 68000"/>
                    <a:gd name="connsiteY18" fmla="*/ 75058 h 78108"/>
                    <a:gd name="connsiteX19" fmla="*/ 27811 w 68000"/>
                    <a:gd name="connsiteY19" fmla="*/ 69137 h 78108"/>
                    <a:gd name="connsiteX20" fmla="*/ 8792 w 68000"/>
                    <a:gd name="connsiteY20" fmla="*/ 22308 h 78108"/>
                    <a:gd name="connsiteX21" fmla="*/ 43899 w 68000"/>
                    <a:gd name="connsiteY21" fmla="*/ 4486 h 78108"/>
                    <a:gd name="connsiteX22" fmla="*/ 42702 w 68000"/>
                    <a:gd name="connsiteY22" fmla="*/ 1794 h 78108"/>
                    <a:gd name="connsiteX23" fmla="*/ 1914 w 68000"/>
                    <a:gd name="connsiteY23" fmla="*/ 16088 h 78108"/>
                    <a:gd name="connsiteX24" fmla="*/ 40430 w 68000"/>
                    <a:gd name="connsiteY24" fmla="*/ 41387 h 78108"/>
                    <a:gd name="connsiteX25" fmla="*/ 50477 w 68000"/>
                    <a:gd name="connsiteY25" fmla="*/ 66027 h 78108"/>
                    <a:gd name="connsiteX26" fmla="*/ 65549 w 68000"/>
                    <a:gd name="connsiteY26" fmla="*/ 59867 h 78108"/>
                    <a:gd name="connsiteX27" fmla="*/ 55023 w 68000"/>
                    <a:gd name="connsiteY27" fmla="*/ 33970 h 78108"/>
                    <a:gd name="connsiteX28" fmla="*/ 40430 w 68000"/>
                    <a:gd name="connsiteY28" fmla="*/ 41387 h 7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8000" h="78108">
                      <a:moveTo>
                        <a:pt x="43241" y="0"/>
                      </a:moveTo>
                      <a:cubicBezTo>
                        <a:pt x="51494" y="20334"/>
                        <a:pt x="59807" y="40729"/>
                        <a:pt x="68001" y="60824"/>
                      </a:cubicBezTo>
                      <a:cubicBezTo>
                        <a:pt x="53587" y="66685"/>
                        <a:pt x="39473" y="72426"/>
                        <a:pt x="25478" y="78108"/>
                      </a:cubicBezTo>
                      <a:cubicBezTo>
                        <a:pt x="16806" y="56817"/>
                        <a:pt x="8373" y="36064"/>
                        <a:pt x="0" y="15430"/>
                      </a:cubicBezTo>
                      <a:cubicBezTo>
                        <a:pt x="14533" y="10227"/>
                        <a:pt x="28827" y="5143"/>
                        <a:pt x="43241" y="0"/>
                      </a:cubicBezTo>
                      <a:close/>
                      <a:moveTo>
                        <a:pt x="48923" y="66207"/>
                      </a:moveTo>
                      <a:cubicBezTo>
                        <a:pt x="43420" y="52630"/>
                        <a:pt x="37978" y="39234"/>
                        <a:pt x="32535" y="25837"/>
                      </a:cubicBezTo>
                      <a:cubicBezTo>
                        <a:pt x="32954" y="25657"/>
                        <a:pt x="33373" y="25478"/>
                        <a:pt x="33851" y="25298"/>
                      </a:cubicBezTo>
                      <a:cubicBezTo>
                        <a:pt x="35765" y="30023"/>
                        <a:pt x="37679" y="34748"/>
                        <a:pt x="39772" y="39891"/>
                      </a:cubicBezTo>
                      <a:cubicBezTo>
                        <a:pt x="45035" y="37380"/>
                        <a:pt x="49820" y="35107"/>
                        <a:pt x="54963" y="32655"/>
                      </a:cubicBezTo>
                      <a:cubicBezTo>
                        <a:pt x="51255" y="23504"/>
                        <a:pt x="47786" y="14952"/>
                        <a:pt x="44138" y="5981"/>
                      </a:cubicBezTo>
                      <a:cubicBezTo>
                        <a:pt x="32775" y="11662"/>
                        <a:pt x="21830" y="17165"/>
                        <a:pt x="11184" y="22487"/>
                      </a:cubicBezTo>
                      <a:cubicBezTo>
                        <a:pt x="18182" y="39712"/>
                        <a:pt x="24940" y="56279"/>
                        <a:pt x="31817" y="73144"/>
                      </a:cubicBezTo>
                      <a:cubicBezTo>
                        <a:pt x="34449" y="72068"/>
                        <a:pt x="36184" y="71350"/>
                        <a:pt x="38815" y="70273"/>
                      </a:cubicBezTo>
                      <a:cubicBezTo>
                        <a:pt x="33193" y="56518"/>
                        <a:pt x="27751" y="43121"/>
                        <a:pt x="22308" y="29664"/>
                      </a:cubicBezTo>
                      <a:cubicBezTo>
                        <a:pt x="27811" y="40370"/>
                        <a:pt x="32356" y="51434"/>
                        <a:pt x="36841" y="62499"/>
                      </a:cubicBezTo>
                      <a:cubicBezTo>
                        <a:pt x="40191" y="71171"/>
                        <a:pt x="40191" y="71171"/>
                        <a:pt x="48923" y="66207"/>
                      </a:cubicBezTo>
                      <a:close/>
                      <a:moveTo>
                        <a:pt x="1914" y="16088"/>
                      </a:moveTo>
                      <a:cubicBezTo>
                        <a:pt x="10167" y="36363"/>
                        <a:pt x="18002" y="55621"/>
                        <a:pt x="25897" y="75058"/>
                      </a:cubicBezTo>
                      <a:cubicBezTo>
                        <a:pt x="30442" y="74639"/>
                        <a:pt x="28827" y="71709"/>
                        <a:pt x="27811" y="69137"/>
                      </a:cubicBezTo>
                      <a:cubicBezTo>
                        <a:pt x="21471" y="53408"/>
                        <a:pt x="15072" y="37738"/>
                        <a:pt x="8792" y="22308"/>
                      </a:cubicBezTo>
                      <a:cubicBezTo>
                        <a:pt x="20753" y="16208"/>
                        <a:pt x="32356" y="10347"/>
                        <a:pt x="43899" y="4486"/>
                      </a:cubicBezTo>
                      <a:cubicBezTo>
                        <a:pt x="43480" y="3588"/>
                        <a:pt x="43121" y="2691"/>
                        <a:pt x="42702" y="1794"/>
                      </a:cubicBezTo>
                      <a:cubicBezTo>
                        <a:pt x="29306" y="6459"/>
                        <a:pt x="15969" y="11124"/>
                        <a:pt x="1914" y="16088"/>
                      </a:cubicBezTo>
                      <a:close/>
                      <a:moveTo>
                        <a:pt x="40430" y="41387"/>
                      </a:moveTo>
                      <a:cubicBezTo>
                        <a:pt x="43779" y="49700"/>
                        <a:pt x="47068" y="57654"/>
                        <a:pt x="50477" y="66027"/>
                      </a:cubicBezTo>
                      <a:cubicBezTo>
                        <a:pt x="55561" y="63934"/>
                        <a:pt x="60465" y="61960"/>
                        <a:pt x="65549" y="59867"/>
                      </a:cubicBezTo>
                      <a:cubicBezTo>
                        <a:pt x="62020" y="51255"/>
                        <a:pt x="58671" y="42882"/>
                        <a:pt x="55023" y="33970"/>
                      </a:cubicBezTo>
                      <a:cubicBezTo>
                        <a:pt x="49999" y="36542"/>
                        <a:pt x="45334" y="38934"/>
                        <a:pt x="40430" y="4138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50" name="Vrije vorm: vorm 9349">
                  <a:extLst>
                    <a:ext uri="{FF2B5EF4-FFF2-40B4-BE49-F238E27FC236}">
                      <a16:creationId xmlns:a16="http://schemas.microsoft.com/office/drawing/2014/main" id="{2337AA2C-42B7-4610-AB8F-D179BB3DEDF6}"/>
                    </a:ext>
                  </a:extLst>
                </p:cNvPr>
                <p:cNvSpPr/>
                <p:nvPr/>
              </p:nvSpPr>
              <p:spPr>
                <a:xfrm>
                  <a:off x="4982559" y="1747009"/>
                  <a:ext cx="75117" cy="86421"/>
                </a:xfrm>
                <a:custGeom>
                  <a:avLst/>
                  <a:gdLst>
                    <a:gd name="connsiteX0" fmla="*/ 26016 w 75117"/>
                    <a:gd name="connsiteY0" fmla="*/ 86421 h 86421"/>
                    <a:gd name="connsiteX1" fmla="*/ 0 w 75117"/>
                    <a:gd name="connsiteY1" fmla="*/ 22547 h 86421"/>
                    <a:gd name="connsiteX2" fmla="*/ 48862 w 75117"/>
                    <a:gd name="connsiteY2" fmla="*/ 0 h 86421"/>
                    <a:gd name="connsiteX3" fmla="*/ 49341 w 75117"/>
                    <a:gd name="connsiteY3" fmla="*/ 957 h 86421"/>
                    <a:gd name="connsiteX4" fmla="*/ 28707 w 75117"/>
                    <a:gd name="connsiteY4" fmla="*/ 10885 h 86421"/>
                    <a:gd name="connsiteX5" fmla="*/ 53288 w 75117"/>
                    <a:gd name="connsiteY5" fmla="*/ 71350 h 86421"/>
                    <a:gd name="connsiteX6" fmla="*/ 73443 w 75117"/>
                    <a:gd name="connsiteY6" fmla="*/ 61422 h 86421"/>
                    <a:gd name="connsiteX7" fmla="*/ 50178 w 75117"/>
                    <a:gd name="connsiteY7" fmla="*/ 4246 h 86421"/>
                    <a:gd name="connsiteX8" fmla="*/ 51314 w 75117"/>
                    <a:gd name="connsiteY8" fmla="*/ 3828 h 86421"/>
                    <a:gd name="connsiteX9" fmla="*/ 75118 w 75117"/>
                    <a:gd name="connsiteY9" fmla="*/ 62259 h 86421"/>
                    <a:gd name="connsiteX10" fmla="*/ 26016 w 75117"/>
                    <a:gd name="connsiteY10" fmla="*/ 86421 h 86421"/>
                    <a:gd name="connsiteX11" fmla="*/ 2273 w 75117"/>
                    <a:gd name="connsiteY11" fmla="*/ 23205 h 86421"/>
                    <a:gd name="connsiteX12" fmla="*/ 12978 w 75117"/>
                    <a:gd name="connsiteY12" fmla="*/ 49461 h 86421"/>
                    <a:gd name="connsiteX13" fmla="*/ 27691 w 75117"/>
                    <a:gd name="connsiteY13" fmla="*/ 41985 h 86421"/>
                    <a:gd name="connsiteX14" fmla="*/ 18779 w 75117"/>
                    <a:gd name="connsiteY14" fmla="*/ 20095 h 86421"/>
                    <a:gd name="connsiteX15" fmla="*/ 19796 w 75117"/>
                    <a:gd name="connsiteY15" fmla="*/ 19736 h 86421"/>
                    <a:gd name="connsiteX16" fmla="*/ 29604 w 75117"/>
                    <a:gd name="connsiteY16" fmla="*/ 43898 h 86421"/>
                    <a:gd name="connsiteX17" fmla="*/ 13397 w 75117"/>
                    <a:gd name="connsiteY17" fmla="*/ 50477 h 86421"/>
                    <a:gd name="connsiteX18" fmla="*/ 27212 w 75117"/>
                    <a:gd name="connsiteY18" fmla="*/ 84388 h 86421"/>
                    <a:gd name="connsiteX19" fmla="*/ 41267 w 75117"/>
                    <a:gd name="connsiteY19" fmla="*/ 77032 h 86421"/>
                    <a:gd name="connsiteX20" fmla="*/ 31399 w 75117"/>
                    <a:gd name="connsiteY20" fmla="*/ 52750 h 86421"/>
                    <a:gd name="connsiteX21" fmla="*/ 32475 w 75117"/>
                    <a:gd name="connsiteY21" fmla="*/ 52331 h 86421"/>
                    <a:gd name="connsiteX22" fmla="*/ 42224 w 75117"/>
                    <a:gd name="connsiteY22" fmla="*/ 76254 h 86421"/>
                    <a:gd name="connsiteX23" fmla="*/ 44317 w 75117"/>
                    <a:gd name="connsiteY23" fmla="*/ 76314 h 86421"/>
                    <a:gd name="connsiteX24" fmla="*/ 44556 w 75117"/>
                    <a:gd name="connsiteY24" fmla="*/ 70752 h 86421"/>
                    <a:gd name="connsiteX25" fmla="*/ 23384 w 75117"/>
                    <a:gd name="connsiteY25" fmla="*/ 18899 h 86421"/>
                    <a:gd name="connsiteX26" fmla="*/ 20933 w 75117"/>
                    <a:gd name="connsiteY26" fmla="*/ 14174 h 86421"/>
                    <a:gd name="connsiteX27" fmla="*/ 2273 w 75117"/>
                    <a:gd name="connsiteY27" fmla="*/ 23205 h 86421"/>
                    <a:gd name="connsiteX28" fmla="*/ 27511 w 75117"/>
                    <a:gd name="connsiteY28" fmla="*/ 12201 h 86421"/>
                    <a:gd name="connsiteX29" fmla="*/ 24042 w 75117"/>
                    <a:gd name="connsiteY29" fmla="*/ 17703 h 86421"/>
                    <a:gd name="connsiteX30" fmla="*/ 36542 w 75117"/>
                    <a:gd name="connsiteY30" fmla="*/ 48145 h 86421"/>
                    <a:gd name="connsiteX31" fmla="*/ 47008 w 75117"/>
                    <a:gd name="connsiteY31" fmla="*/ 73922 h 86421"/>
                    <a:gd name="connsiteX32" fmla="*/ 50298 w 75117"/>
                    <a:gd name="connsiteY32" fmla="*/ 68120 h 86421"/>
                    <a:gd name="connsiteX33" fmla="*/ 27511 w 75117"/>
                    <a:gd name="connsiteY33" fmla="*/ 12201 h 8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5117" h="86421">
                      <a:moveTo>
                        <a:pt x="26016" y="86421"/>
                      </a:moveTo>
                      <a:cubicBezTo>
                        <a:pt x="17344" y="65070"/>
                        <a:pt x="8732" y="44018"/>
                        <a:pt x="0" y="22547"/>
                      </a:cubicBezTo>
                      <a:cubicBezTo>
                        <a:pt x="16148" y="15131"/>
                        <a:pt x="32475" y="7595"/>
                        <a:pt x="48862" y="0"/>
                      </a:cubicBezTo>
                      <a:cubicBezTo>
                        <a:pt x="49042" y="299"/>
                        <a:pt x="49161" y="598"/>
                        <a:pt x="49341" y="957"/>
                      </a:cubicBezTo>
                      <a:cubicBezTo>
                        <a:pt x="42523" y="4246"/>
                        <a:pt x="35705" y="7536"/>
                        <a:pt x="28707" y="10885"/>
                      </a:cubicBezTo>
                      <a:cubicBezTo>
                        <a:pt x="36961" y="31100"/>
                        <a:pt x="44915" y="50776"/>
                        <a:pt x="53288" y="71350"/>
                      </a:cubicBezTo>
                      <a:cubicBezTo>
                        <a:pt x="59986" y="68061"/>
                        <a:pt x="66446" y="64891"/>
                        <a:pt x="73443" y="61422"/>
                      </a:cubicBezTo>
                      <a:cubicBezTo>
                        <a:pt x="65608" y="42164"/>
                        <a:pt x="57893" y="23205"/>
                        <a:pt x="50178" y="4246"/>
                      </a:cubicBezTo>
                      <a:cubicBezTo>
                        <a:pt x="50537" y="4127"/>
                        <a:pt x="50896" y="3947"/>
                        <a:pt x="51314" y="3828"/>
                      </a:cubicBezTo>
                      <a:cubicBezTo>
                        <a:pt x="59209" y="23265"/>
                        <a:pt x="67104" y="42702"/>
                        <a:pt x="75118" y="62259"/>
                      </a:cubicBezTo>
                      <a:cubicBezTo>
                        <a:pt x="59149" y="70094"/>
                        <a:pt x="42762" y="78168"/>
                        <a:pt x="26016" y="86421"/>
                      </a:cubicBezTo>
                      <a:close/>
                      <a:moveTo>
                        <a:pt x="2273" y="23205"/>
                      </a:moveTo>
                      <a:cubicBezTo>
                        <a:pt x="5981" y="32236"/>
                        <a:pt x="9330" y="40609"/>
                        <a:pt x="12978" y="49461"/>
                      </a:cubicBezTo>
                      <a:cubicBezTo>
                        <a:pt x="18002" y="46889"/>
                        <a:pt x="22607" y="44556"/>
                        <a:pt x="27691" y="41985"/>
                      </a:cubicBezTo>
                      <a:cubicBezTo>
                        <a:pt x="24521" y="34210"/>
                        <a:pt x="21650" y="27152"/>
                        <a:pt x="18779" y="20095"/>
                      </a:cubicBezTo>
                      <a:cubicBezTo>
                        <a:pt x="19138" y="19976"/>
                        <a:pt x="19437" y="19856"/>
                        <a:pt x="19796" y="19736"/>
                      </a:cubicBezTo>
                      <a:cubicBezTo>
                        <a:pt x="22966" y="27511"/>
                        <a:pt x="26136" y="35346"/>
                        <a:pt x="29604" y="43898"/>
                      </a:cubicBezTo>
                      <a:cubicBezTo>
                        <a:pt x="24282" y="46052"/>
                        <a:pt x="18839" y="48264"/>
                        <a:pt x="13397" y="50477"/>
                      </a:cubicBezTo>
                      <a:cubicBezTo>
                        <a:pt x="18121" y="62080"/>
                        <a:pt x="22487" y="72905"/>
                        <a:pt x="27212" y="84388"/>
                      </a:cubicBezTo>
                      <a:cubicBezTo>
                        <a:pt x="31997" y="81876"/>
                        <a:pt x="36422" y="79603"/>
                        <a:pt x="41267" y="77032"/>
                      </a:cubicBezTo>
                      <a:cubicBezTo>
                        <a:pt x="37798" y="68479"/>
                        <a:pt x="34568" y="60645"/>
                        <a:pt x="31399" y="52750"/>
                      </a:cubicBezTo>
                      <a:cubicBezTo>
                        <a:pt x="31758" y="52630"/>
                        <a:pt x="32116" y="52451"/>
                        <a:pt x="32475" y="52331"/>
                      </a:cubicBezTo>
                      <a:cubicBezTo>
                        <a:pt x="35705" y="60286"/>
                        <a:pt x="38994" y="68300"/>
                        <a:pt x="42224" y="76254"/>
                      </a:cubicBezTo>
                      <a:cubicBezTo>
                        <a:pt x="42942" y="76254"/>
                        <a:pt x="43599" y="76314"/>
                        <a:pt x="44317" y="76314"/>
                      </a:cubicBezTo>
                      <a:cubicBezTo>
                        <a:pt x="44437" y="74460"/>
                        <a:pt x="45214" y="72307"/>
                        <a:pt x="44556" y="70752"/>
                      </a:cubicBezTo>
                      <a:cubicBezTo>
                        <a:pt x="37619" y="53408"/>
                        <a:pt x="30502" y="36124"/>
                        <a:pt x="23384" y="18899"/>
                      </a:cubicBezTo>
                      <a:cubicBezTo>
                        <a:pt x="22787" y="17464"/>
                        <a:pt x="21949" y="16088"/>
                        <a:pt x="20933" y="14174"/>
                      </a:cubicBezTo>
                      <a:cubicBezTo>
                        <a:pt x="14593" y="17284"/>
                        <a:pt x="8552" y="20215"/>
                        <a:pt x="2273" y="23205"/>
                      </a:cubicBezTo>
                      <a:close/>
                      <a:moveTo>
                        <a:pt x="27511" y="12201"/>
                      </a:moveTo>
                      <a:cubicBezTo>
                        <a:pt x="23026" y="12440"/>
                        <a:pt x="22547" y="14174"/>
                        <a:pt x="24042" y="17703"/>
                      </a:cubicBezTo>
                      <a:cubicBezTo>
                        <a:pt x="28349" y="27810"/>
                        <a:pt x="32415" y="37978"/>
                        <a:pt x="36542" y="48145"/>
                      </a:cubicBezTo>
                      <a:cubicBezTo>
                        <a:pt x="40071" y="56757"/>
                        <a:pt x="43539" y="65369"/>
                        <a:pt x="47008" y="73922"/>
                      </a:cubicBezTo>
                      <a:cubicBezTo>
                        <a:pt x="50776" y="73324"/>
                        <a:pt x="51793" y="71828"/>
                        <a:pt x="50298" y="68120"/>
                      </a:cubicBezTo>
                      <a:cubicBezTo>
                        <a:pt x="42643" y="49580"/>
                        <a:pt x="35107" y="30920"/>
                        <a:pt x="27511" y="1220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51" name="Vrije vorm: vorm 9350">
                  <a:extLst>
                    <a:ext uri="{FF2B5EF4-FFF2-40B4-BE49-F238E27FC236}">
                      <a16:creationId xmlns:a16="http://schemas.microsoft.com/office/drawing/2014/main" id="{FBE9CFAF-E1D6-491D-BD71-5DF58A0B318C}"/>
                    </a:ext>
                  </a:extLst>
                </p:cNvPr>
                <p:cNvSpPr/>
                <p:nvPr/>
              </p:nvSpPr>
              <p:spPr>
                <a:xfrm>
                  <a:off x="5269155" y="1508737"/>
                  <a:ext cx="69256" cy="80081"/>
                </a:xfrm>
                <a:custGeom>
                  <a:avLst/>
                  <a:gdLst>
                    <a:gd name="connsiteX0" fmla="*/ 25358 w 69256"/>
                    <a:gd name="connsiteY0" fmla="*/ 80082 h 80081"/>
                    <a:gd name="connsiteX1" fmla="*/ 0 w 69256"/>
                    <a:gd name="connsiteY1" fmla="*/ 17703 h 80081"/>
                    <a:gd name="connsiteX2" fmla="*/ 43599 w 69256"/>
                    <a:gd name="connsiteY2" fmla="*/ 0 h 80081"/>
                    <a:gd name="connsiteX3" fmla="*/ 43779 w 69256"/>
                    <a:gd name="connsiteY3" fmla="*/ 299 h 80081"/>
                    <a:gd name="connsiteX4" fmla="*/ 36482 w 69256"/>
                    <a:gd name="connsiteY4" fmla="*/ 4306 h 80081"/>
                    <a:gd name="connsiteX5" fmla="*/ 59030 w 69256"/>
                    <a:gd name="connsiteY5" fmla="*/ 59688 h 80081"/>
                    <a:gd name="connsiteX6" fmla="*/ 63635 w 69256"/>
                    <a:gd name="connsiteY6" fmla="*/ 59508 h 80081"/>
                    <a:gd name="connsiteX7" fmla="*/ 63754 w 69256"/>
                    <a:gd name="connsiteY7" fmla="*/ 60166 h 80081"/>
                    <a:gd name="connsiteX8" fmla="*/ 40430 w 69256"/>
                    <a:gd name="connsiteY8" fmla="*/ 68120 h 80081"/>
                    <a:gd name="connsiteX9" fmla="*/ 17822 w 69256"/>
                    <a:gd name="connsiteY9" fmla="*/ 12560 h 80081"/>
                    <a:gd name="connsiteX10" fmla="*/ 2333 w 69256"/>
                    <a:gd name="connsiteY10" fmla="*/ 18839 h 80081"/>
                    <a:gd name="connsiteX11" fmla="*/ 26495 w 69256"/>
                    <a:gd name="connsiteY11" fmla="*/ 78288 h 80081"/>
                    <a:gd name="connsiteX12" fmla="*/ 41865 w 69256"/>
                    <a:gd name="connsiteY12" fmla="*/ 72008 h 80081"/>
                    <a:gd name="connsiteX13" fmla="*/ 61781 w 69256"/>
                    <a:gd name="connsiteY13" fmla="*/ 63097 h 80081"/>
                    <a:gd name="connsiteX14" fmla="*/ 65010 w 69256"/>
                    <a:gd name="connsiteY14" fmla="*/ 54484 h 80081"/>
                    <a:gd name="connsiteX15" fmla="*/ 46949 w 69256"/>
                    <a:gd name="connsiteY15" fmla="*/ 9868 h 80081"/>
                    <a:gd name="connsiteX16" fmla="*/ 45573 w 69256"/>
                    <a:gd name="connsiteY16" fmla="*/ 4067 h 80081"/>
                    <a:gd name="connsiteX17" fmla="*/ 69257 w 69256"/>
                    <a:gd name="connsiteY17" fmla="*/ 62319 h 80081"/>
                    <a:gd name="connsiteX18" fmla="*/ 25358 w 69256"/>
                    <a:gd name="connsiteY18" fmla="*/ 80082 h 80081"/>
                    <a:gd name="connsiteX19" fmla="*/ 29305 w 69256"/>
                    <a:gd name="connsiteY19" fmla="*/ 10586 h 80081"/>
                    <a:gd name="connsiteX20" fmla="*/ 30561 w 69256"/>
                    <a:gd name="connsiteY20" fmla="*/ 10107 h 80081"/>
                    <a:gd name="connsiteX21" fmla="*/ 51853 w 69256"/>
                    <a:gd name="connsiteY21" fmla="*/ 62499 h 80081"/>
                    <a:gd name="connsiteX22" fmla="*/ 57475 w 69256"/>
                    <a:gd name="connsiteY22" fmla="*/ 60226 h 80081"/>
                    <a:gd name="connsiteX23" fmla="*/ 35047 w 69256"/>
                    <a:gd name="connsiteY23" fmla="*/ 5024 h 80081"/>
                    <a:gd name="connsiteX24" fmla="*/ 19318 w 69256"/>
                    <a:gd name="connsiteY24" fmla="*/ 11423 h 80081"/>
                    <a:gd name="connsiteX25" fmla="*/ 41446 w 69256"/>
                    <a:gd name="connsiteY25" fmla="*/ 65848 h 80081"/>
                    <a:gd name="connsiteX26" fmla="*/ 50597 w 69256"/>
                    <a:gd name="connsiteY26" fmla="*/ 63037 h 80081"/>
                    <a:gd name="connsiteX27" fmla="*/ 29305 w 69256"/>
                    <a:gd name="connsiteY27" fmla="*/ 10586 h 8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9256" h="80081">
                      <a:moveTo>
                        <a:pt x="25358" y="80082"/>
                      </a:moveTo>
                      <a:cubicBezTo>
                        <a:pt x="17105" y="59807"/>
                        <a:pt x="8672" y="38994"/>
                        <a:pt x="0" y="17703"/>
                      </a:cubicBezTo>
                      <a:cubicBezTo>
                        <a:pt x="14533" y="11782"/>
                        <a:pt x="29066" y="5861"/>
                        <a:pt x="43599" y="0"/>
                      </a:cubicBezTo>
                      <a:cubicBezTo>
                        <a:pt x="43659" y="120"/>
                        <a:pt x="43719" y="179"/>
                        <a:pt x="43779" y="299"/>
                      </a:cubicBezTo>
                      <a:cubicBezTo>
                        <a:pt x="41446" y="1555"/>
                        <a:pt x="39114" y="2871"/>
                        <a:pt x="36482" y="4306"/>
                      </a:cubicBezTo>
                      <a:cubicBezTo>
                        <a:pt x="43958" y="22727"/>
                        <a:pt x="51374" y="40908"/>
                        <a:pt x="59030" y="59688"/>
                      </a:cubicBezTo>
                      <a:cubicBezTo>
                        <a:pt x="60345" y="59628"/>
                        <a:pt x="62020" y="59568"/>
                        <a:pt x="63635" y="59508"/>
                      </a:cubicBezTo>
                      <a:cubicBezTo>
                        <a:pt x="63694" y="59747"/>
                        <a:pt x="63694" y="59927"/>
                        <a:pt x="63754" y="60166"/>
                      </a:cubicBezTo>
                      <a:cubicBezTo>
                        <a:pt x="55920" y="62857"/>
                        <a:pt x="48085" y="65489"/>
                        <a:pt x="40430" y="68120"/>
                      </a:cubicBezTo>
                      <a:cubicBezTo>
                        <a:pt x="32954" y="49700"/>
                        <a:pt x="25478" y="31339"/>
                        <a:pt x="17822" y="12560"/>
                      </a:cubicBezTo>
                      <a:cubicBezTo>
                        <a:pt x="12739" y="14653"/>
                        <a:pt x="7775" y="16626"/>
                        <a:pt x="2333" y="18839"/>
                      </a:cubicBezTo>
                      <a:cubicBezTo>
                        <a:pt x="10347" y="38576"/>
                        <a:pt x="18361" y="58192"/>
                        <a:pt x="26495" y="78288"/>
                      </a:cubicBezTo>
                      <a:cubicBezTo>
                        <a:pt x="31578" y="76254"/>
                        <a:pt x="36781" y="74221"/>
                        <a:pt x="41865" y="72008"/>
                      </a:cubicBezTo>
                      <a:cubicBezTo>
                        <a:pt x="48504" y="69077"/>
                        <a:pt x="55023" y="65668"/>
                        <a:pt x="61781" y="63097"/>
                      </a:cubicBezTo>
                      <a:cubicBezTo>
                        <a:pt x="66087" y="61422"/>
                        <a:pt x="67163" y="59568"/>
                        <a:pt x="65010" y="54484"/>
                      </a:cubicBezTo>
                      <a:cubicBezTo>
                        <a:pt x="58671" y="39712"/>
                        <a:pt x="52929" y="24760"/>
                        <a:pt x="46949" y="9868"/>
                      </a:cubicBezTo>
                      <a:cubicBezTo>
                        <a:pt x="46231" y="8014"/>
                        <a:pt x="45453" y="6220"/>
                        <a:pt x="45573" y="4067"/>
                      </a:cubicBezTo>
                      <a:cubicBezTo>
                        <a:pt x="53348" y="23145"/>
                        <a:pt x="61123" y="42224"/>
                        <a:pt x="69257" y="62319"/>
                      </a:cubicBezTo>
                      <a:cubicBezTo>
                        <a:pt x="54723" y="68120"/>
                        <a:pt x="40131" y="74041"/>
                        <a:pt x="25358" y="80082"/>
                      </a:cubicBezTo>
                      <a:close/>
                      <a:moveTo>
                        <a:pt x="29305" y="10586"/>
                      </a:moveTo>
                      <a:cubicBezTo>
                        <a:pt x="29724" y="10406"/>
                        <a:pt x="30143" y="10227"/>
                        <a:pt x="30561" y="10107"/>
                      </a:cubicBezTo>
                      <a:cubicBezTo>
                        <a:pt x="37619" y="27511"/>
                        <a:pt x="44736" y="44915"/>
                        <a:pt x="51853" y="62499"/>
                      </a:cubicBezTo>
                      <a:cubicBezTo>
                        <a:pt x="53886" y="61661"/>
                        <a:pt x="55441" y="61063"/>
                        <a:pt x="57475" y="60226"/>
                      </a:cubicBezTo>
                      <a:cubicBezTo>
                        <a:pt x="49939" y="41686"/>
                        <a:pt x="42523" y="23504"/>
                        <a:pt x="35047" y="5024"/>
                      </a:cubicBezTo>
                      <a:cubicBezTo>
                        <a:pt x="30023" y="7057"/>
                        <a:pt x="24880" y="9150"/>
                        <a:pt x="19318" y="11423"/>
                      </a:cubicBezTo>
                      <a:cubicBezTo>
                        <a:pt x="26734" y="29724"/>
                        <a:pt x="34030" y="47666"/>
                        <a:pt x="41446" y="65848"/>
                      </a:cubicBezTo>
                      <a:cubicBezTo>
                        <a:pt x="44317" y="64951"/>
                        <a:pt x="47008" y="64113"/>
                        <a:pt x="50597" y="63037"/>
                      </a:cubicBezTo>
                      <a:cubicBezTo>
                        <a:pt x="43360" y="45214"/>
                        <a:pt x="36303" y="27930"/>
                        <a:pt x="29305" y="1058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52" name="Vrije vorm: vorm 9351">
                  <a:extLst>
                    <a:ext uri="{FF2B5EF4-FFF2-40B4-BE49-F238E27FC236}">
                      <a16:creationId xmlns:a16="http://schemas.microsoft.com/office/drawing/2014/main" id="{3D3388CF-205F-43BF-AFCB-680507A8CB90}"/>
                    </a:ext>
                  </a:extLst>
                </p:cNvPr>
                <p:cNvSpPr/>
                <p:nvPr/>
              </p:nvSpPr>
              <p:spPr>
                <a:xfrm>
                  <a:off x="4770184" y="2141138"/>
                  <a:ext cx="178943" cy="275830"/>
                </a:xfrm>
                <a:custGeom>
                  <a:avLst/>
                  <a:gdLst>
                    <a:gd name="connsiteX0" fmla="*/ 72666 w 178943"/>
                    <a:gd name="connsiteY0" fmla="*/ 272781 h 275830"/>
                    <a:gd name="connsiteX1" fmla="*/ 85883 w 178943"/>
                    <a:gd name="connsiteY1" fmla="*/ 264408 h 275830"/>
                    <a:gd name="connsiteX2" fmla="*/ 86541 w 178943"/>
                    <a:gd name="connsiteY2" fmla="*/ 265484 h 275830"/>
                    <a:gd name="connsiteX3" fmla="*/ 71709 w 178943"/>
                    <a:gd name="connsiteY3" fmla="*/ 275831 h 275830"/>
                    <a:gd name="connsiteX4" fmla="*/ 38635 w 178943"/>
                    <a:gd name="connsiteY4" fmla="*/ 194553 h 275830"/>
                    <a:gd name="connsiteX5" fmla="*/ 4306 w 178943"/>
                    <a:gd name="connsiteY5" fmla="*/ 113095 h 275830"/>
                    <a:gd name="connsiteX6" fmla="*/ 0 w 178943"/>
                    <a:gd name="connsiteY6" fmla="*/ 107055 h 275830"/>
                    <a:gd name="connsiteX7" fmla="*/ 14952 w 178943"/>
                    <a:gd name="connsiteY7" fmla="*/ 99639 h 275830"/>
                    <a:gd name="connsiteX8" fmla="*/ 98682 w 178943"/>
                    <a:gd name="connsiteY8" fmla="*/ 50178 h 275830"/>
                    <a:gd name="connsiteX9" fmla="*/ 176670 w 178943"/>
                    <a:gd name="connsiteY9" fmla="*/ 3887 h 275830"/>
                    <a:gd name="connsiteX10" fmla="*/ 177328 w 178943"/>
                    <a:gd name="connsiteY10" fmla="*/ 2691 h 275830"/>
                    <a:gd name="connsiteX11" fmla="*/ 172604 w 178943"/>
                    <a:gd name="connsiteY11" fmla="*/ 1136 h 275830"/>
                    <a:gd name="connsiteX12" fmla="*/ 172962 w 178943"/>
                    <a:gd name="connsiteY12" fmla="*/ 0 h 275830"/>
                    <a:gd name="connsiteX13" fmla="*/ 178943 w 178943"/>
                    <a:gd name="connsiteY13" fmla="*/ 2452 h 275830"/>
                    <a:gd name="connsiteX14" fmla="*/ 178764 w 178943"/>
                    <a:gd name="connsiteY14" fmla="*/ 4186 h 275830"/>
                    <a:gd name="connsiteX15" fmla="*/ 129004 w 178943"/>
                    <a:gd name="connsiteY15" fmla="*/ 33671 h 275830"/>
                    <a:gd name="connsiteX16" fmla="*/ 45812 w 178943"/>
                    <a:gd name="connsiteY16" fmla="*/ 82953 h 275830"/>
                    <a:gd name="connsiteX17" fmla="*/ 8134 w 178943"/>
                    <a:gd name="connsiteY17" fmla="*/ 105081 h 275830"/>
                    <a:gd name="connsiteX18" fmla="*/ 5682 w 178943"/>
                    <a:gd name="connsiteY18" fmla="*/ 112976 h 275830"/>
                    <a:gd name="connsiteX19" fmla="*/ 43121 w 178943"/>
                    <a:gd name="connsiteY19" fmla="*/ 201730 h 275830"/>
                    <a:gd name="connsiteX20" fmla="*/ 69316 w 178943"/>
                    <a:gd name="connsiteY20" fmla="*/ 264109 h 275830"/>
                    <a:gd name="connsiteX21" fmla="*/ 72666 w 178943"/>
                    <a:gd name="connsiteY21" fmla="*/ 272781 h 27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8943" h="275830">
                      <a:moveTo>
                        <a:pt x="72666" y="272781"/>
                      </a:moveTo>
                      <a:cubicBezTo>
                        <a:pt x="77690" y="269611"/>
                        <a:pt x="81756" y="267039"/>
                        <a:pt x="85883" y="264408"/>
                      </a:cubicBezTo>
                      <a:cubicBezTo>
                        <a:pt x="86122" y="264767"/>
                        <a:pt x="86302" y="265125"/>
                        <a:pt x="86541" y="265484"/>
                      </a:cubicBezTo>
                      <a:cubicBezTo>
                        <a:pt x="81995" y="268654"/>
                        <a:pt x="77391" y="271884"/>
                        <a:pt x="71709" y="275831"/>
                      </a:cubicBezTo>
                      <a:cubicBezTo>
                        <a:pt x="60585" y="248499"/>
                        <a:pt x="49760" y="221466"/>
                        <a:pt x="38635" y="194553"/>
                      </a:cubicBezTo>
                      <a:cubicBezTo>
                        <a:pt x="27391" y="167341"/>
                        <a:pt x="15849" y="140188"/>
                        <a:pt x="4306" y="113095"/>
                      </a:cubicBezTo>
                      <a:cubicBezTo>
                        <a:pt x="3170" y="110404"/>
                        <a:pt x="837" y="108131"/>
                        <a:pt x="0" y="107055"/>
                      </a:cubicBezTo>
                      <a:cubicBezTo>
                        <a:pt x="4306" y="104962"/>
                        <a:pt x="9808" y="102629"/>
                        <a:pt x="14952" y="99639"/>
                      </a:cubicBezTo>
                      <a:cubicBezTo>
                        <a:pt x="42882" y="83252"/>
                        <a:pt x="70752" y="66685"/>
                        <a:pt x="98682" y="50178"/>
                      </a:cubicBezTo>
                      <a:cubicBezTo>
                        <a:pt x="124698" y="34748"/>
                        <a:pt x="150714" y="19378"/>
                        <a:pt x="176670" y="3887"/>
                      </a:cubicBezTo>
                      <a:cubicBezTo>
                        <a:pt x="176910" y="3768"/>
                        <a:pt x="176969" y="3349"/>
                        <a:pt x="177328" y="2691"/>
                      </a:cubicBezTo>
                      <a:cubicBezTo>
                        <a:pt x="175714" y="2153"/>
                        <a:pt x="174159" y="1675"/>
                        <a:pt x="172604" y="1136"/>
                      </a:cubicBezTo>
                      <a:cubicBezTo>
                        <a:pt x="172723" y="778"/>
                        <a:pt x="172843" y="419"/>
                        <a:pt x="172962" y="0"/>
                      </a:cubicBezTo>
                      <a:cubicBezTo>
                        <a:pt x="174936" y="837"/>
                        <a:pt x="176910" y="1615"/>
                        <a:pt x="178943" y="2452"/>
                      </a:cubicBezTo>
                      <a:cubicBezTo>
                        <a:pt x="178883" y="3050"/>
                        <a:pt x="178823" y="3648"/>
                        <a:pt x="178764" y="4186"/>
                      </a:cubicBezTo>
                      <a:cubicBezTo>
                        <a:pt x="162197" y="13995"/>
                        <a:pt x="145571" y="23863"/>
                        <a:pt x="129004" y="33671"/>
                      </a:cubicBezTo>
                      <a:cubicBezTo>
                        <a:pt x="101254" y="50118"/>
                        <a:pt x="73503" y="66506"/>
                        <a:pt x="45812" y="82953"/>
                      </a:cubicBezTo>
                      <a:cubicBezTo>
                        <a:pt x="33253" y="90369"/>
                        <a:pt x="20813" y="97964"/>
                        <a:pt x="8134" y="105081"/>
                      </a:cubicBezTo>
                      <a:cubicBezTo>
                        <a:pt x="4665" y="107055"/>
                        <a:pt x="3947" y="108909"/>
                        <a:pt x="5682" y="112976"/>
                      </a:cubicBezTo>
                      <a:cubicBezTo>
                        <a:pt x="18241" y="142521"/>
                        <a:pt x="30681" y="172125"/>
                        <a:pt x="43121" y="201730"/>
                      </a:cubicBezTo>
                      <a:cubicBezTo>
                        <a:pt x="51853" y="222543"/>
                        <a:pt x="60585" y="243296"/>
                        <a:pt x="69316" y="264109"/>
                      </a:cubicBezTo>
                      <a:cubicBezTo>
                        <a:pt x="70214" y="266800"/>
                        <a:pt x="71290" y="269372"/>
                        <a:pt x="72666" y="27278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53" name="Vrije vorm: vorm 9352">
                  <a:extLst>
                    <a:ext uri="{FF2B5EF4-FFF2-40B4-BE49-F238E27FC236}">
                      <a16:creationId xmlns:a16="http://schemas.microsoft.com/office/drawing/2014/main" id="{C02AD5A3-14E1-4798-B038-733BE0B222AB}"/>
                    </a:ext>
                  </a:extLst>
                </p:cNvPr>
                <p:cNvSpPr/>
                <p:nvPr/>
              </p:nvSpPr>
              <p:spPr>
                <a:xfrm>
                  <a:off x="5183990" y="1287331"/>
                  <a:ext cx="70931" cy="77928"/>
                </a:xfrm>
                <a:custGeom>
                  <a:avLst/>
                  <a:gdLst>
                    <a:gd name="connsiteX0" fmla="*/ 25837 w 70931"/>
                    <a:gd name="connsiteY0" fmla="*/ 77929 h 77928"/>
                    <a:gd name="connsiteX1" fmla="*/ 0 w 70931"/>
                    <a:gd name="connsiteY1" fmla="*/ 14473 h 77928"/>
                    <a:gd name="connsiteX2" fmla="*/ 45214 w 70931"/>
                    <a:gd name="connsiteY2" fmla="*/ 0 h 77928"/>
                    <a:gd name="connsiteX3" fmla="*/ 45393 w 70931"/>
                    <a:gd name="connsiteY3" fmla="*/ 658 h 77928"/>
                    <a:gd name="connsiteX4" fmla="*/ 14593 w 70931"/>
                    <a:gd name="connsiteY4" fmla="*/ 19677 h 77928"/>
                    <a:gd name="connsiteX5" fmla="*/ 13875 w 70931"/>
                    <a:gd name="connsiteY5" fmla="*/ 18480 h 77928"/>
                    <a:gd name="connsiteX6" fmla="*/ 35705 w 70931"/>
                    <a:gd name="connsiteY6" fmla="*/ 5442 h 77928"/>
                    <a:gd name="connsiteX7" fmla="*/ 35346 w 70931"/>
                    <a:gd name="connsiteY7" fmla="*/ 4605 h 77928"/>
                    <a:gd name="connsiteX8" fmla="*/ 2213 w 70931"/>
                    <a:gd name="connsiteY8" fmla="*/ 15191 h 77928"/>
                    <a:gd name="connsiteX9" fmla="*/ 26913 w 70931"/>
                    <a:gd name="connsiteY9" fmla="*/ 75895 h 77928"/>
                    <a:gd name="connsiteX10" fmla="*/ 28528 w 70931"/>
                    <a:gd name="connsiteY10" fmla="*/ 75297 h 77928"/>
                    <a:gd name="connsiteX11" fmla="*/ 13098 w 70931"/>
                    <a:gd name="connsiteY11" fmla="*/ 37380 h 77928"/>
                    <a:gd name="connsiteX12" fmla="*/ 14653 w 70931"/>
                    <a:gd name="connsiteY12" fmla="*/ 36781 h 77928"/>
                    <a:gd name="connsiteX13" fmla="*/ 30143 w 70931"/>
                    <a:gd name="connsiteY13" fmla="*/ 74819 h 77928"/>
                    <a:gd name="connsiteX14" fmla="*/ 37798 w 70931"/>
                    <a:gd name="connsiteY14" fmla="*/ 71709 h 77928"/>
                    <a:gd name="connsiteX15" fmla="*/ 21650 w 70931"/>
                    <a:gd name="connsiteY15" fmla="*/ 31937 h 77928"/>
                    <a:gd name="connsiteX16" fmla="*/ 48504 w 70931"/>
                    <a:gd name="connsiteY16" fmla="*/ 16985 h 77928"/>
                    <a:gd name="connsiteX17" fmla="*/ 49042 w 70931"/>
                    <a:gd name="connsiteY17" fmla="*/ 17942 h 77928"/>
                    <a:gd name="connsiteX18" fmla="*/ 29605 w 70931"/>
                    <a:gd name="connsiteY18" fmla="*/ 28947 h 77928"/>
                    <a:gd name="connsiteX19" fmla="*/ 26495 w 70931"/>
                    <a:gd name="connsiteY19" fmla="*/ 39293 h 77928"/>
                    <a:gd name="connsiteX20" fmla="*/ 39831 w 70931"/>
                    <a:gd name="connsiteY20" fmla="*/ 71828 h 77928"/>
                    <a:gd name="connsiteX21" fmla="*/ 68718 w 70931"/>
                    <a:gd name="connsiteY21" fmla="*/ 60046 h 77928"/>
                    <a:gd name="connsiteX22" fmla="*/ 46530 w 70931"/>
                    <a:gd name="connsiteY22" fmla="*/ 5502 h 77928"/>
                    <a:gd name="connsiteX23" fmla="*/ 47666 w 70931"/>
                    <a:gd name="connsiteY23" fmla="*/ 5084 h 77928"/>
                    <a:gd name="connsiteX24" fmla="*/ 70931 w 70931"/>
                    <a:gd name="connsiteY24" fmla="*/ 62200 h 77928"/>
                    <a:gd name="connsiteX25" fmla="*/ 25837 w 70931"/>
                    <a:gd name="connsiteY25" fmla="*/ 77929 h 7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931" h="77928">
                      <a:moveTo>
                        <a:pt x="25837" y="77929"/>
                      </a:moveTo>
                      <a:cubicBezTo>
                        <a:pt x="17225" y="56757"/>
                        <a:pt x="8612" y="35585"/>
                        <a:pt x="0" y="14473"/>
                      </a:cubicBezTo>
                      <a:cubicBezTo>
                        <a:pt x="15311" y="9569"/>
                        <a:pt x="30262" y="4785"/>
                        <a:pt x="45214" y="0"/>
                      </a:cubicBezTo>
                      <a:cubicBezTo>
                        <a:pt x="45274" y="239"/>
                        <a:pt x="45334" y="419"/>
                        <a:pt x="45393" y="658"/>
                      </a:cubicBezTo>
                      <a:cubicBezTo>
                        <a:pt x="35107" y="6997"/>
                        <a:pt x="24820" y="13337"/>
                        <a:pt x="14593" y="19677"/>
                      </a:cubicBezTo>
                      <a:cubicBezTo>
                        <a:pt x="14354" y="19258"/>
                        <a:pt x="14114" y="18899"/>
                        <a:pt x="13875" y="18480"/>
                      </a:cubicBezTo>
                      <a:cubicBezTo>
                        <a:pt x="21172" y="14115"/>
                        <a:pt x="28408" y="9808"/>
                        <a:pt x="35705" y="5442"/>
                      </a:cubicBezTo>
                      <a:cubicBezTo>
                        <a:pt x="35585" y="5143"/>
                        <a:pt x="35466" y="4904"/>
                        <a:pt x="35346" y="4605"/>
                      </a:cubicBezTo>
                      <a:cubicBezTo>
                        <a:pt x="24461" y="8074"/>
                        <a:pt x="13576" y="11543"/>
                        <a:pt x="2213" y="15191"/>
                      </a:cubicBezTo>
                      <a:cubicBezTo>
                        <a:pt x="10586" y="35765"/>
                        <a:pt x="18720" y="55800"/>
                        <a:pt x="26913" y="75895"/>
                      </a:cubicBezTo>
                      <a:cubicBezTo>
                        <a:pt x="27451" y="75716"/>
                        <a:pt x="27990" y="75537"/>
                        <a:pt x="28528" y="75297"/>
                      </a:cubicBezTo>
                      <a:cubicBezTo>
                        <a:pt x="23384" y="62678"/>
                        <a:pt x="18241" y="49999"/>
                        <a:pt x="13098" y="37380"/>
                      </a:cubicBezTo>
                      <a:cubicBezTo>
                        <a:pt x="13636" y="37200"/>
                        <a:pt x="14114" y="36961"/>
                        <a:pt x="14653" y="36781"/>
                      </a:cubicBezTo>
                      <a:cubicBezTo>
                        <a:pt x="19736" y="49341"/>
                        <a:pt x="24880" y="61841"/>
                        <a:pt x="30143" y="74819"/>
                      </a:cubicBezTo>
                      <a:cubicBezTo>
                        <a:pt x="32834" y="73742"/>
                        <a:pt x="35107" y="72785"/>
                        <a:pt x="37798" y="71709"/>
                      </a:cubicBezTo>
                      <a:cubicBezTo>
                        <a:pt x="32415" y="58491"/>
                        <a:pt x="27033" y="45214"/>
                        <a:pt x="21650" y="31937"/>
                      </a:cubicBezTo>
                      <a:cubicBezTo>
                        <a:pt x="30860" y="26794"/>
                        <a:pt x="39652" y="21889"/>
                        <a:pt x="48504" y="16985"/>
                      </a:cubicBezTo>
                      <a:cubicBezTo>
                        <a:pt x="48683" y="17284"/>
                        <a:pt x="48862" y="17643"/>
                        <a:pt x="49042" y="17942"/>
                      </a:cubicBezTo>
                      <a:cubicBezTo>
                        <a:pt x="42583" y="21650"/>
                        <a:pt x="36363" y="25897"/>
                        <a:pt x="29605" y="28947"/>
                      </a:cubicBezTo>
                      <a:cubicBezTo>
                        <a:pt x="24461" y="31279"/>
                        <a:pt x="24102" y="33971"/>
                        <a:pt x="26495" y="39293"/>
                      </a:cubicBezTo>
                      <a:cubicBezTo>
                        <a:pt x="31100" y="49640"/>
                        <a:pt x="35167" y="60226"/>
                        <a:pt x="39831" y="71828"/>
                      </a:cubicBezTo>
                      <a:cubicBezTo>
                        <a:pt x="49221" y="68001"/>
                        <a:pt x="58551" y="64233"/>
                        <a:pt x="68718" y="60046"/>
                      </a:cubicBezTo>
                      <a:cubicBezTo>
                        <a:pt x="61542" y="42403"/>
                        <a:pt x="54006" y="23923"/>
                        <a:pt x="46530" y="5502"/>
                      </a:cubicBezTo>
                      <a:cubicBezTo>
                        <a:pt x="46889" y="5383"/>
                        <a:pt x="47307" y="5203"/>
                        <a:pt x="47666" y="5084"/>
                      </a:cubicBezTo>
                      <a:cubicBezTo>
                        <a:pt x="55382" y="24102"/>
                        <a:pt x="63097" y="43061"/>
                        <a:pt x="70931" y="62200"/>
                      </a:cubicBezTo>
                      <a:cubicBezTo>
                        <a:pt x="56039" y="67403"/>
                        <a:pt x="41028" y="72606"/>
                        <a:pt x="25837" y="7792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54" name="Vrije vorm: vorm 9353">
                  <a:extLst>
                    <a:ext uri="{FF2B5EF4-FFF2-40B4-BE49-F238E27FC236}">
                      <a16:creationId xmlns:a16="http://schemas.microsoft.com/office/drawing/2014/main" id="{573BFD4F-B93C-41E6-A60A-4914EA90E8D9}"/>
                    </a:ext>
                  </a:extLst>
                </p:cNvPr>
                <p:cNvSpPr/>
                <p:nvPr/>
              </p:nvSpPr>
              <p:spPr>
                <a:xfrm>
                  <a:off x="5236799" y="1271900"/>
                  <a:ext cx="68539" cy="76134"/>
                </a:xfrm>
                <a:custGeom>
                  <a:avLst/>
                  <a:gdLst>
                    <a:gd name="connsiteX0" fmla="*/ 68539 w 68539"/>
                    <a:gd name="connsiteY0" fmla="*/ 61063 h 76134"/>
                    <a:gd name="connsiteX1" fmla="*/ 25299 w 68539"/>
                    <a:gd name="connsiteY1" fmla="*/ 76135 h 76134"/>
                    <a:gd name="connsiteX2" fmla="*/ 0 w 68539"/>
                    <a:gd name="connsiteY2" fmla="*/ 13935 h 76134"/>
                    <a:gd name="connsiteX3" fmla="*/ 43660 w 68539"/>
                    <a:gd name="connsiteY3" fmla="*/ 0 h 76134"/>
                    <a:gd name="connsiteX4" fmla="*/ 44078 w 68539"/>
                    <a:gd name="connsiteY4" fmla="*/ 1136 h 76134"/>
                    <a:gd name="connsiteX5" fmla="*/ 2572 w 68539"/>
                    <a:gd name="connsiteY5" fmla="*/ 14653 h 76134"/>
                    <a:gd name="connsiteX6" fmla="*/ 26016 w 68539"/>
                    <a:gd name="connsiteY6" fmla="*/ 74400 h 76134"/>
                    <a:gd name="connsiteX7" fmla="*/ 28588 w 68539"/>
                    <a:gd name="connsiteY7" fmla="*/ 73324 h 76134"/>
                    <a:gd name="connsiteX8" fmla="*/ 8373 w 68539"/>
                    <a:gd name="connsiteY8" fmla="*/ 23624 h 76134"/>
                    <a:gd name="connsiteX9" fmla="*/ 42583 w 68539"/>
                    <a:gd name="connsiteY9" fmla="*/ 3588 h 76134"/>
                    <a:gd name="connsiteX10" fmla="*/ 46650 w 68539"/>
                    <a:gd name="connsiteY10" fmla="*/ 6938 h 76134"/>
                    <a:gd name="connsiteX11" fmla="*/ 64532 w 68539"/>
                    <a:gd name="connsiteY11" fmla="*/ 51016 h 76134"/>
                    <a:gd name="connsiteX12" fmla="*/ 68539 w 68539"/>
                    <a:gd name="connsiteY12" fmla="*/ 61063 h 76134"/>
                    <a:gd name="connsiteX13" fmla="*/ 42164 w 68539"/>
                    <a:gd name="connsiteY13" fmla="*/ 5801 h 76134"/>
                    <a:gd name="connsiteX14" fmla="*/ 13457 w 68539"/>
                    <a:gd name="connsiteY14" fmla="*/ 22129 h 76134"/>
                    <a:gd name="connsiteX15" fmla="*/ 12081 w 68539"/>
                    <a:gd name="connsiteY15" fmla="*/ 26734 h 76134"/>
                    <a:gd name="connsiteX16" fmla="*/ 27631 w 68539"/>
                    <a:gd name="connsiteY16" fmla="*/ 66446 h 76134"/>
                    <a:gd name="connsiteX17" fmla="*/ 32176 w 68539"/>
                    <a:gd name="connsiteY17" fmla="*/ 68958 h 76134"/>
                    <a:gd name="connsiteX18" fmla="*/ 62917 w 68539"/>
                    <a:gd name="connsiteY18" fmla="*/ 56637 h 76134"/>
                    <a:gd name="connsiteX19" fmla="*/ 42164 w 68539"/>
                    <a:gd name="connsiteY19" fmla="*/ 5801 h 76134"/>
                    <a:gd name="connsiteX20" fmla="*/ 65310 w 68539"/>
                    <a:gd name="connsiteY20" fmla="*/ 57893 h 76134"/>
                    <a:gd name="connsiteX21" fmla="*/ 65968 w 68539"/>
                    <a:gd name="connsiteY21" fmla="*/ 58192 h 76134"/>
                    <a:gd name="connsiteX22" fmla="*/ 44616 w 68539"/>
                    <a:gd name="connsiteY22" fmla="*/ 5742 h 76134"/>
                    <a:gd name="connsiteX23" fmla="*/ 44138 w 68539"/>
                    <a:gd name="connsiteY23" fmla="*/ 5921 h 76134"/>
                    <a:gd name="connsiteX24" fmla="*/ 65310 w 68539"/>
                    <a:gd name="connsiteY24" fmla="*/ 57893 h 76134"/>
                    <a:gd name="connsiteX25" fmla="*/ 31160 w 68539"/>
                    <a:gd name="connsiteY25" fmla="*/ 72187 h 76134"/>
                    <a:gd name="connsiteX26" fmla="*/ 31459 w 68539"/>
                    <a:gd name="connsiteY26" fmla="*/ 73025 h 76134"/>
                    <a:gd name="connsiteX27" fmla="*/ 63396 w 68539"/>
                    <a:gd name="connsiteY27" fmla="*/ 60046 h 76134"/>
                    <a:gd name="connsiteX28" fmla="*/ 63097 w 68539"/>
                    <a:gd name="connsiteY28" fmla="*/ 59209 h 76134"/>
                    <a:gd name="connsiteX29" fmla="*/ 31160 w 68539"/>
                    <a:gd name="connsiteY29" fmla="*/ 72187 h 7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8539" h="76134">
                      <a:moveTo>
                        <a:pt x="68539" y="61063"/>
                      </a:moveTo>
                      <a:cubicBezTo>
                        <a:pt x="54185" y="66087"/>
                        <a:pt x="39832" y="71111"/>
                        <a:pt x="25299" y="76135"/>
                      </a:cubicBezTo>
                      <a:cubicBezTo>
                        <a:pt x="16985" y="55681"/>
                        <a:pt x="8553" y="34927"/>
                        <a:pt x="0" y="13935"/>
                      </a:cubicBezTo>
                      <a:cubicBezTo>
                        <a:pt x="14773" y="9210"/>
                        <a:pt x="29186" y="4605"/>
                        <a:pt x="43660" y="0"/>
                      </a:cubicBezTo>
                      <a:cubicBezTo>
                        <a:pt x="43779" y="359"/>
                        <a:pt x="43899" y="778"/>
                        <a:pt x="44078" y="1136"/>
                      </a:cubicBezTo>
                      <a:cubicBezTo>
                        <a:pt x="30442" y="5562"/>
                        <a:pt x="16806" y="10048"/>
                        <a:pt x="2572" y="14653"/>
                      </a:cubicBezTo>
                      <a:cubicBezTo>
                        <a:pt x="10048" y="34987"/>
                        <a:pt x="17763" y="54783"/>
                        <a:pt x="26016" y="74400"/>
                      </a:cubicBezTo>
                      <a:cubicBezTo>
                        <a:pt x="26854" y="74041"/>
                        <a:pt x="27751" y="73682"/>
                        <a:pt x="28588" y="73324"/>
                      </a:cubicBezTo>
                      <a:cubicBezTo>
                        <a:pt x="21830" y="56757"/>
                        <a:pt x="15131" y="40190"/>
                        <a:pt x="8373" y="23624"/>
                      </a:cubicBezTo>
                      <a:cubicBezTo>
                        <a:pt x="20096" y="16686"/>
                        <a:pt x="31279" y="9988"/>
                        <a:pt x="42583" y="3588"/>
                      </a:cubicBezTo>
                      <a:cubicBezTo>
                        <a:pt x="43181" y="3230"/>
                        <a:pt x="45992" y="5442"/>
                        <a:pt x="46650" y="6938"/>
                      </a:cubicBezTo>
                      <a:cubicBezTo>
                        <a:pt x="52750" y="21590"/>
                        <a:pt x="58611" y="36303"/>
                        <a:pt x="64532" y="51016"/>
                      </a:cubicBezTo>
                      <a:cubicBezTo>
                        <a:pt x="65848" y="54365"/>
                        <a:pt x="67224" y="57654"/>
                        <a:pt x="68539" y="61063"/>
                      </a:cubicBezTo>
                      <a:close/>
                      <a:moveTo>
                        <a:pt x="42164" y="5801"/>
                      </a:moveTo>
                      <a:cubicBezTo>
                        <a:pt x="32356" y="11304"/>
                        <a:pt x="22787" y="16567"/>
                        <a:pt x="13457" y="22129"/>
                      </a:cubicBezTo>
                      <a:cubicBezTo>
                        <a:pt x="12440" y="22727"/>
                        <a:pt x="11603" y="25478"/>
                        <a:pt x="12081" y="26734"/>
                      </a:cubicBezTo>
                      <a:cubicBezTo>
                        <a:pt x="17045" y="40011"/>
                        <a:pt x="22248" y="53288"/>
                        <a:pt x="27631" y="66446"/>
                      </a:cubicBezTo>
                      <a:cubicBezTo>
                        <a:pt x="28169" y="67762"/>
                        <a:pt x="31040" y="69376"/>
                        <a:pt x="32176" y="68958"/>
                      </a:cubicBezTo>
                      <a:cubicBezTo>
                        <a:pt x="42344" y="65130"/>
                        <a:pt x="52391" y="60944"/>
                        <a:pt x="62917" y="56637"/>
                      </a:cubicBezTo>
                      <a:cubicBezTo>
                        <a:pt x="56339" y="40669"/>
                        <a:pt x="49401" y="23624"/>
                        <a:pt x="42164" y="5801"/>
                      </a:cubicBezTo>
                      <a:close/>
                      <a:moveTo>
                        <a:pt x="65310" y="57893"/>
                      </a:moveTo>
                      <a:cubicBezTo>
                        <a:pt x="65549" y="58013"/>
                        <a:pt x="65788" y="58073"/>
                        <a:pt x="65968" y="58192"/>
                      </a:cubicBezTo>
                      <a:cubicBezTo>
                        <a:pt x="58850" y="40729"/>
                        <a:pt x="51733" y="23205"/>
                        <a:pt x="44616" y="5742"/>
                      </a:cubicBezTo>
                      <a:cubicBezTo>
                        <a:pt x="44437" y="5801"/>
                        <a:pt x="44317" y="5861"/>
                        <a:pt x="44138" y="5921"/>
                      </a:cubicBezTo>
                      <a:cubicBezTo>
                        <a:pt x="51195" y="23205"/>
                        <a:pt x="58253" y="40549"/>
                        <a:pt x="65310" y="57893"/>
                      </a:cubicBezTo>
                      <a:close/>
                      <a:moveTo>
                        <a:pt x="31160" y="72187"/>
                      </a:moveTo>
                      <a:cubicBezTo>
                        <a:pt x="31279" y="72486"/>
                        <a:pt x="31339" y="72785"/>
                        <a:pt x="31459" y="73025"/>
                      </a:cubicBezTo>
                      <a:cubicBezTo>
                        <a:pt x="42105" y="68719"/>
                        <a:pt x="52750" y="64353"/>
                        <a:pt x="63396" y="60046"/>
                      </a:cubicBezTo>
                      <a:cubicBezTo>
                        <a:pt x="63276" y="59747"/>
                        <a:pt x="63216" y="59508"/>
                        <a:pt x="63097" y="59209"/>
                      </a:cubicBezTo>
                      <a:cubicBezTo>
                        <a:pt x="52391" y="63575"/>
                        <a:pt x="41746" y="67881"/>
                        <a:pt x="31160" y="7218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55" name="Vrije vorm: vorm 9354">
                  <a:extLst>
                    <a:ext uri="{FF2B5EF4-FFF2-40B4-BE49-F238E27FC236}">
                      <a16:creationId xmlns:a16="http://schemas.microsoft.com/office/drawing/2014/main" id="{2E8B6445-4D6F-4820-AE21-87ECD1CD07C3}"/>
                    </a:ext>
                  </a:extLst>
                </p:cNvPr>
                <p:cNvSpPr/>
                <p:nvPr/>
              </p:nvSpPr>
              <p:spPr>
                <a:xfrm>
                  <a:off x="4931424" y="1182010"/>
                  <a:ext cx="80321" cy="81935"/>
                </a:xfrm>
                <a:custGeom>
                  <a:avLst/>
                  <a:gdLst>
                    <a:gd name="connsiteX0" fmla="*/ 53348 w 80321"/>
                    <a:gd name="connsiteY0" fmla="*/ 957 h 81935"/>
                    <a:gd name="connsiteX1" fmla="*/ 44377 w 80321"/>
                    <a:gd name="connsiteY1" fmla="*/ 3588 h 81935"/>
                    <a:gd name="connsiteX2" fmla="*/ 60645 w 80321"/>
                    <a:gd name="connsiteY2" fmla="*/ 43599 h 81935"/>
                    <a:gd name="connsiteX3" fmla="*/ 18899 w 80321"/>
                    <a:gd name="connsiteY3" fmla="*/ 55023 h 81935"/>
                    <a:gd name="connsiteX4" fmla="*/ 25239 w 80321"/>
                    <a:gd name="connsiteY4" fmla="*/ 70692 h 81935"/>
                    <a:gd name="connsiteX5" fmla="*/ 64293 w 80321"/>
                    <a:gd name="connsiteY5" fmla="*/ 59987 h 81935"/>
                    <a:gd name="connsiteX6" fmla="*/ 64652 w 80321"/>
                    <a:gd name="connsiteY6" fmla="*/ 61063 h 81935"/>
                    <a:gd name="connsiteX7" fmla="*/ 26196 w 80321"/>
                    <a:gd name="connsiteY7" fmla="*/ 72128 h 81935"/>
                    <a:gd name="connsiteX8" fmla="*/ 34569 w 80321"/>
                    <a:gd name="connsiteY8" fmla="*/ 78706 h 81935"/>
                    <a:gd name="connsiteX9" fmla="*/ 78647 w 80321"/>
                    <a:gd name="connsiteY9" fmla="*/ 66027 h 81935"/>
                    <a:gd name="connsiteX10" fmla="*/ 53647 w 80321"/>
                    <a:gd name="connsiteY10" fmla="*/ 4545 h 81935"/>
                    <a:gd name="connsiteX11" fmla="*/ 54724 w 80321"/>
                    <a:gd name="connsiteY11" fmla="*/ 4127 h 81935"/>
                    <a:gd name="connsiteX12" fmla="*/ 80321 w 80321"/>
                    <a:gd name="connsiteY12" fmla="*/ 66984 h 81935"/>
                    <a:gd name="connsiteX13" fmla="*/ 27811 w 80321"/>
                    <a:gd name="connsiteY13" fmla="*/ 81936 h 81935"/>
                    <a:gd name="connsiteX14" fmla="*/ 0 w 80321"/>
                    <a:gd name="connsiteY14" fmla="*/ 13516 h 81935"/>
                    <a:gd name="connsiteX15" fmla="*/ 52930 w 80321"/>
                    <a:gd name="connsiteY15" fmla="*/ 0 h 81935"/>
                    <a:gd name="connsiteX16" fmla="*/ 53348 w 80321"/>
                    <a:gd name="connsiteY16" fmla="*/ 957 h 81935"/>
                    <a:gd name="connsiteX17" fmla="*/ 18361 w 80321"/>
                    <a:gd name="connsiteY17" fmla="*/ 53767 h 81935"/>
                    <a:gd name="connsiteX18" fmla="*/ 58552 w 80321"/>
                    <a:gd name="connsiteY18" fmla="*/ 42702 h 81935"/>
                    <a:gd name="connsiteX19" fmla="*/ 42762 w 80321"/>
                    <a:gd name="connsiteY19" fmla="*/ 3828 h 81935"/>
                    <a:gd name="connsiteX20" fmla="*/ 2333 w 80321"/>
                    <a:gd name="connsiteY20" fmla="*/ 14294 h 81935"/>
                    <a:gd name="connsiteX21" fmla="*/ 18361 w 80321"/>
                    <a:gd name="connsiteY21" fmla="*/ 53767 h 8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0321" h="81935">
                      <a:moveTo>
                        <a:pt x="53348" y="957"/>
                      </a:moveTo>
                      <a:cubicBezTo>
                        <a:pt x="50477" y="1794"/>
                        <a:pt x="47547" y="2632"/>
                        <a:pt x="44377" y="3588"/>
                      </a:cubicBezTo>
                      <a:cubicBezTo>
                        <a:pt x="49879" y="17165"/>
                        <a:pt x="55262" y="30382"/>
                        <a:pt x="60645" y="43599"/>
                      </a:cubicBezTo>
                      <a:cubicBezTo>
                        <a:pt x="46829" y="47367"/>
                        <a:pt x="33074" y="51135"/>
                        <a:pt x="18899" y="55023"/>
                      </a:cubicBezTo>
                      <a:cubicBezTo>
                        <a:pt x="20992" y="60226"/>
                        <a:pt x="22966" y="65010"/>
                        <a:pt x="25239" y="70692"/>
                      </a:cubicBezTo>
                      <a:cubicBezTo>
                        <a:pt x="38157" y="67164"/>
                        <a:pt x="51195" y="63575"/>
                        <a:pt x="64293" y="59987"/>
                      </a:cubicBezTo>
                      <a:cubicBezTo>
                        <a:pt x="64412" y="60346"/>
                        <a:pt x="64532" y="60704"/>
                        <a:pt x="64652" y="61063"/>
                      </a:cubicBezTo>
                      <a:cubicBezTo>
                        <a:pt x="51793" y="64771"/>
                        <a:pt x="38994" y="68419"/>
                        <a:pt x="26196" y="72128"/>
                      </a:cubicBezTo>
                      <a:cubicBezTo>
                        <a:pt x="28169" y="80620"/>
                        <a:pt x="28229" y="80560"/>
                        <a:pt x="34569" y="78706"/>
                      </a:cubicBezTo>
                      <a:cubicBezTo>
                        <a:pt x="49042" y="74460"/>
                        <a:pt x="63575" y="70393"/>
                        <a:pt x="78647" y="66027"/>
                      </a:cubicBezTo>
                      <a:cubicBezTo>
                        <a:pt x="70214" y="45334"/>
                        <a:pt x="61961" y="24940"/>
                        <a:pt x="53647" y="4545"/>
                      </a:cubicBezTo>
                      <a:cubicBezTo>
                        <a:pt x="54006" y="4426"/>
                        <a:pt x="54365" y="4246"/>
                        <a:pt x="54724" y="4127"/>
                      </a:cubicBezTo>
                      <a:cubicBezTo>
                        <a:pt x="63216" y="25059"/>
                        <a:pt x="71769" y="45992"/>
                        <a:pt x="80321" y="66984"/>
                      </a:cubicBezTo>
                      <a:cubicBezTo>
                        <a:pt x="63097" y="71888"/>
                        <a:pt x="45573" y="76852"/>
                        <a:pt x="27811" y="81936"/>
                      </a:cubicBezTo>
                      <a:cubicBezTo>
                        <a:pt x="18540" y="59209"/>
                        <a:pt x="9330" y="36542"/>
                        <a:pt x="0" y="13516"/>
                      </a:cubicBezTo>
                      <a:cubicBezTo>
                        <a:pt x="17643" y="9031"/>
                        <a:pt x="35286" y="4486"/>
                        <a:pt x="52930" y="0"/>
                      </a:cubicBezTo>
                      <a:cubicBezTo>
                        <a:pt x="53049" y="299"/>
                        <a:pt x="53169" y="658"/>
                        <a:pt x="53348" y="957"/>
                      </a:cubicBezTo>
                      <a:close/>
                      <a:moveTo>
                        <a:pt x="18361" y="53767"/>
                      </a:moveTo>
                      <a:cubicBezTo>
                        <a:pt x="31817" y="50059"/>
                        <a:pt x="45035" y="46410"/>
                        <a:pt x="58552" y="42702"/>
                      </a:cubicBezTo>
                      <a:cubicBezTo>
                        <a:pt x="53109" y="29365"/>
                        <a:pt x="48025" y="16806"/>
                        <a:pt x="42762" y="3828"/>
                      </a:cubicBezTo>
                      <a:cubicBezTo>
                        <a:pt x="29306" y="7296"/>
                        <a:pt x="16029" y="10765"/>
                        <a:pt x="2333" y="14294"/>
                      </a:cubicBezTo>
                      <a:cubicBezTo>
                        <a:pt x="7715" y="27452"/>
                        <a:pt x="12859" y="40190"/>
                        <a:pt x="18361" y="5376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56" name="Vrije vorm: vorm 9355">
                  <a:extLst>
                    <a:ext uri="{FF2B5EF4-FFF2-40B4-BE49-F238E27FC236}">
                      <a16:creationId xmlns:a16="http://schemas.microsoft.com/office/drawing/2014/main" id="{8B74AAC3-AABF-4F1C-940A-D6FFF72D9CCA}"/>
                    </a:ext>
                  </a:extLst>
                </p:cNvPr>
                <p:cNvSpPr/>
                <p:nvPr/>
              </p:nvSpPr>
              <p:spPr>
                <a:xfrm>
                  <a:off x="5125498" y="1307007"/>
                  <a:ext cx="72725" cy="80201"/>
                </a:xfrm>
                <a:custGeom>
                  <a:avLst/>
                  <a:gdLst>
                    <a:gd name="connsiteX0" fmla="*/ 68898 w 72725"/>
                    <a:gd name="connsiteY0" fmla="*/ 65070 h 80201"/>
                    <a:gd name="connsiteX1" fmla="*/ 26435 w 72725"/>
                    <a:gd name="connsiteY1" fmla="*/ 80201 h 80201"/>
                    <a:gd name="connsiteX2" fmla="*/ 0 w 72725"/>
                    <a:gd name="connsiteY2" fmla="*/ 15251 h 80201"/>
                    <a:gd name="connsiteX3" fmla="*/ 47188 w 72725"/>
                    <a:gd name="connsiteY3" fmla="*/ 0 h 80201"/>
                    <a:gd name="connsiteX4" fmla="*/ 72726 w 72725"/>
                    <a:gd name="connsiteY4" fmla="*/ 62798 h 80201"/>
                    <a:gd name="connsiteX5" fmla="*/ 72008 w 72725"/>
                    <a:gd name="connsiteY5" fmla="*/ 63037 h 80201"/>
                    <a:gd name="connsiteX6" fmla="*/ 51195 w 72725"/>
                    <a:gd name="connsiteY6" fmla="*/ 11782 h 80201"/>
                    <a:gd name="connsiteX7" fmla="*/ 38097 w 72725"/>
                    <a:gd name="connsiteY7" fmla="*/ 4486 h 80201"/>
                    <a:gd name="connsiteX8" fmla="*/ 2273 w 72725"/>
                    <a:gd name="connsiteY8" fmla="*/ 15909 h 80201"/>
                    <a:gd name="connsiteX9" fmla="*/ 8911 w 72725"/>
                    <a:gd name="connsiteY9" fmla="*/ 32176 h 80201"/>
                    <a:gd name="connsiteX10" fmla="*/ 24820 w 72725"/>
                    <a:gd name="connsiteY10" fmla="*/ 27571 h 80201"/>
                    <a:gd name="connsiteX11" fmla="*/ 25179 w 72725"/>
                    <a:gd name="connsiteY11" fmla="*/ 28588 h 80201"/>
                    <a:gd name="connsiteX12" fmla="*/ 9390 w 72725"/>
                    <a:gd name="connsiteY12" fmla="*/ 33791 h 80201"/>
                    <a:gd name="connsiteX13" fmla="*/ 26196 w 72725"/>
                    <a:gd name="connsiteY13" fmla="*/ 75178 h 80201"/>
                    <a:gd name="connsiteX14" fmla="*/ 48145 w 72725"/>
                    <a:gd name="connsiteY14" fmla="*/ 66266 h 80201"/>
                    <a:gd name="connsiteX15" fmla="*/ 26375 w 72725"/>
                    <a:gd name="connsiteY15" fmla="*/ 12799 h 80201"/>
                    <a:gd name="connsiteX16" fmla="*/ 27930 w 72725"/>
                    <a:gd name="connsiteY16" fmla="*/ 12141 h 80201"/>
                    <a:gd name="connsiteX17" fmla="*/ 30143 w 72725"/>
                    <a:gd name="connsiteY17" fmla="*/ 17583 h 80201"/>
                    <a:gd name="connsiteX18" fmla="*/ 49162 w 72725"/>
                    <a:gd name="connsiteY18" fmla="*/ 65070 h 80201"/>
                    <a:gd name="connsiteX19" fmla="*/ 56518 w 72725"/>
                    <a:gd name="connsiteY19" fmla="*/ 67463 h 80201"/>
                    <a:gd name="connsiteX20" fmla="*/ 43121 w 72725"/>
                    <a:gd name="connsiteY20" fmla="*/ 34509 h 80201"/>
                    <a:gd name="connsiteX21" fmla="*/ 44138 w 72725"/>
                    <a:gd name="connsiteY21" fmla="*/ 34030 h 80201"/>
                    <a:gd name="connsiteX22" fmla="*/ 57774 w 72725"/>
                    <a:gd name="connsiteY22" fmla="*/ 67522 h 80201"/>
                    <a:gd name="connsiteX23" fmla="*/ 68360 w 72725"/>
                    <a:gd name="connsiteY23" fmla="*/ 63994 h 80201"/>
                    <a:gd name="connsiteX24" fmla="*/ 68898 w 72725"/>
                    <a:gd name="connsiteY24" fmla="*/ 65070 h 80201"/>
                    <a:gd name="connsiteX25" fmla="*/ 48623 w 72725"/>
                    <a:gd name="connsiteY25" fmla="*/ 69855 h 80201"/>
                    <a:gd name="connsiteX26" fmla="*/ 48145 w 72725"/>
                    <a:gd name="connsiteY26" fmla="*/ 69197 h 80201"/>
                    <a:gd name="connsiteX27" fmla="*/ 27212 w 72725"/>
                    <a:gd name="connsiteY27" fmla="*/ 76374 h 80201"/>
                    <a:gd name="connsiteX28" fmla="*/ 27930 w 72725"/>
                    <a:gd name="connsiteY28" fmla="*/ 78288 h 80201"/>
                    <a:gd name="connsiteX29" fmla="*/ 48623 w 72725"/>
                    <a:gd name="connsiteY29" fmla="*/ 69855 h 80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725" h="80201">
                      <a:moveTo>
                        <a:pt x="68898" y="65070"/>
                      </a:moveTo>
                      <a:cubicBezTo>
                        <a:pt x="54784" y="70094"/>
                        <a:pt x="40669" y="75178"/>
                        <a:pt x="26435" y="80201"/>
                      </a:cubicBezTo>
                      <a:cubicBezTo>
                        <a:pt x="17643" y="58551"/>
                        <a:pt x="8852" y="36961"/>
                        <a:pt x="0" y="15251"/>
                      </a:cubicBezTo>
                      <a:cubicBezTo>
                        <a:pt x="16088" y="10048"/>
                        <a:pt x="31877" y="4904"/>
                        <a:pt x="47188" y="0"/>
                      </a:cubicBezTo>
                      <a:cubicBezTo>
                        <a:pt x="55681" y="20933"/>
                        <a:pt x="64233" y="41865"/>
                        <a:pt x="72726" y="62798"/>
                      </a:cubicBezTo>
                      <a:cubicBezTo>
                        <a:pt x="72486" y="62857"/>
                        <a:pt x="72247" y="62977"/>
                        <a:pt x="72008" y="63037"/>
                      </a:cubicBezTo>
                      <a:cubicBezTo>
                        <a:pt x="65070" y="45932"/>
                        <a:pt x="58013" y="28887"/>
                        <a:pt x="51195" y="11782"/>
                      </a:cubicBezTo>
                      <a:cubicBezTo>
                        <a:pt x="47128" y="1615"/>
                        <a:pt x="47248" y="1555"/>
                        <a:pt x="38097" y="4486"/>
                      </a:cubicBezTo>
                      <a:cubicBezTo>
                        <a:pt x="26315" y="8253"/>
                        <a:pt x="14533" y="12021"/>
                        <a:pt x="2273" y="15909"/>
                      </a:cubicBezTo>
                      <a:cubicBezTo>
                        <a:pt x="4545" y="21471"/>
                        <a:pt x="6639" y="26614"/>
                        <a:pt x="8911" y="32176"/>
                      </a:cubicBezTo>
                      <a:cubicBezTo>
                        <a:pt x="14174" y="30621"/>
                        <a:pt x="19497" y="29066"/>
                        <a:pt x="24820" y="27571"/>
                      </a:cubicBezTo>
                      <a:cubicBezTo>
                        <a:pt x="24940" y="27930"/>
                        <a:pt x="25059" y="28229"/>
                        <a:pt x="25179" y="28588"/>
                      </a:cubicBezTo>
                      <a:cubicBezTo>
                        <a:pt x="20095" y="30262"/>
                        <a:pt x="15012" y="31937"/>
                        <a:pt x="9390" y="33791"/>
                      </a:cubicBezTo>
                      <a:cubicBezTo>
                        <a:pt x="15012" y="47547"/>
                        <a:pt x="20454" y="60944"/>
                        <a:pt x="26196" y="75178"/>
                      </a:cubicBezTo>
                      <a:cubicBezTo>
                        <a:pt x="33193" y="72307"/>
                        <a:pt x="40251" y="69496"/>
                        <a:pt x="48145" y="66266"/>
                      </a:cubicBezTo>
                      <a:cubicBezTo>
                        <a:pt x="41088" y="48982"/>
                        <a:pt x="33731" y="30861"/>
                        <a:pt x="26375" y="12799"/>
                      </a:cubicBezTo>
                      <a:cubicBezTo>
                        <a:pt x="26913" y="12560"/>
                        <a:pt x="27392" y="12380"/>
                        <a:pt x="27930" y="12141"/>
                      </a:cubicBezTo>
                      <a:cubicBezTo>
                        <a:pt x="28648" y="13935"/>
                        <a:pt x="29425" y="15729"/>
                        <a:pt x="30143" y="17583"/>
                      </a:cubicBezTo>
                      <a:cubicBezTo>
                        <a:pt x="36483" y="33432"/>
                        <a:pt x="42942" y="49221"/>
                        <a:pt x="49162" y="65070"/>
                      </a:cubicBezTo>
                      <a:cubicBezTo>
                        <a:pt x="50836" y="69376"/>
                        <a:pt x="52810" y="70453"/>
                        <a:pt x="56518" y="67463"/>
                      </a:cubicBezTo>
                      <a:cubicBezTo>
                        <a:pt x="52092" y="56518"/>
                        <a:pt x="47607" y="45513"/>
                        <a:pt x="43121" y="34509"/>
                      </a:cubicBezTo>
                      <a:cubicBezTo>
                        <a:pt x="43480" y="34329"/>
                        <a:pt x="43839" y="34210"/>
                        <a:pt x="44138" y="34030"/>
                      </a:cubicBezTo>
                      <a:cubicBezTo>
                        <a:pt x="48623" y="44975"/>
                        <a:pt x="53049" y="55980"/>
                        <a:pt x="57774" y="67522"/>
                      </a:cubicBezTo>
                      <a:cubicBezTo>
                        <a:pt x="61661" y="66207"/>
                        <a:pt x="65010" y="65130"/>
                        <a:pt x="68360" y="63994"/>
                      </a:cubicBezTo>
                      <a:cubicBezTo>
                        <a:pt x="68539" y="64353"/>
                        <a:pt x="68718" y="64711"/>
                        <a:pt x="68898" y="65070"/>
                      </a:cubicBezTo>
                      <a:close/>
                      <a:moveTo>
                        <a:pt x="48623" y="69855"/>
                      </a:moveTo>
                      <a:cubicBezTo>
                        <a:pt x="48444" y="69616"/>
                        <a:pt x="48324" y="69436"/>
                        <a:pt x="48145" y="69197"/>
                      </a:cubicBezTo>
                      <a:cubicBezTo>
                        <a:pt x="41147" y="71589"/>
                        <a:pt x="34210" y="73982"/>
                        <a:pt x="27212" y="76374"/>
                      </a:cubicBezTo>
                      <a:cubicBezTo>
                        <a:pt x="27452" y="77032"/>
                        <a:pt x="27691" y="77630"/>
                        <a:pt x="27930" y="78288"/>
                      </a:cubicBezTo>
                      <a:cubicBezTo>
                        <a:pt x="34808" y="75477"/>
                        <a:pt x="41686" y="72666"/>
                        <a:pt x="48623" y="6985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57" name="Vrije vorm: vorm 9356">
                  <a:extLst>
                    <a:ext uri="{FF2B5EF4-FFF2-40B4-BE49-F238E27FC236}">
                      <a16:creationId xmlns:a16="http://schemas.microsoft.com/office/drawing/2014/main" id="{63F446C0-27E7-4A08-99FF-341E8ECF1644}"/>
                    </a:ext>
                  </a:extLst>
                </p:cNvPr>
                <p:cNvSpPr/>
                <p:nvPr/>
              </p:nvSpPr>
              <p:spPr>
                <a:xfrm>
                  <a:off x="5060189" y="1148757"/>
                  <a:ext cx="75177" cy="77928"/>
                </a:xfrm>
                <a:custGeom>
                  <a:avLst/>
                  <a:gdLst>
                    <a:gd name="connsiteX0" fmla="*/ 49042 w 75177"/>
                    <a:gd name="connsiteY0" fmla="*/ 0 h 77928"/>
                    <a:gd name="connsiteX1" fmla="*/ 75178 w 75177"/>
                    <a:gd name="connsiteY1" fmla="*/ 64233 h 77928"/>
                    <a:gd name="connsiteX2" fmla="*/ 26614 w 75177"/>
                    <a:gd name="connsiteY2" fmla="*/ 77929 h 77928"/>
                    <a:gd name="connsiteX3" fmla="*/ 0 w 75177"/>
                    <a:gd name="connsiteY3" fmla="*/ 12560 h 77928"/>
                    <a:gd name="connsiteX4" fmla="*/ 49042 w 75177"/>
                    <a:gd name="connsiteY4" fmla="*/ 0 h 77928"/>
                    <a:gd name="connsiteX5" fmla="*/ 20693 w 75177"/>
                    <a:gd name="connsiteY5" fmla="*/ 12799 h 77928"/>
                    <a:gd name="connsiteX6" fmla="*/ 21650 w 75177"/>
                    <a:gd name="connsiteY6" fmla="*/ 12440 h 77928"/>
                    <a:gd name="connsiteX7" fmla="*/ 36123 w 75177"/>
                    <a:gd name="connsiteY7" fmla="*/ 48085 h 77928"/>
                    <a:gd name="connsiteX8" fmla="*/ 17763 w 75177"/>
                    <a:gd name="connsiteY8" fmla="*/ 53109 h 77928"/>
                    <a:gd name="connsiteX9" fmla="*/ 21650 w 75177"/>
                    <a:gd name="connsiteY9" fmla="*/ 62798 h 77928"/>
                    <a:gd name="connsiteX10" fmla="*/ 28767 w 75177"/>
                    <a:gd name="connsiteY10" fmla="*/ 66924 h 77928"/>
                    <a:gd name="connsiteX11" fmla="*/ 40310 w 75177"/>
                    <a:gd name="connsiteY11" fmla="*/ 63695 h 77928"/>
                    <a:gd name="connsiteX12" fmla="*/ 40609 w 75177"/>
                    <a:gd name="connsiteY12" fmla="*/ 64711 h 77928"/>
                    <a:gd name="connsiteX13" fmla="*/ 24282 w 75177"/>
                    <a:gd name="connsiteY13" fmla="*/ 69675 h 77928"/>
                    <a:gd name="connsiteX14" fmla="*/ 30382 w 75177"/>
                    <a:gd name="connsiteY14" fmla="*/ 75716 h 77928"/>
                    <a:gd name="connsiteX15" fmla="*/ 51733 w 75177"/>
                    <a:gd name="connsiteY15" fmla="*/ 69436 h 77928"/>
                    <a:gd name="connsiteX16" fmla="*/ 27511 w 75177"/>
                    <a:gd name="connsiteY16" fmla="*/ 9868 h 77928"/>
                    <a:gd name="connsiteX17" fmla="*/ 28648 w 75177"/>
                    <a:gd name="connsiteY17" fmla="*/ 9450 h 77928"/>
                    <a:gd name="connsiteX18" fmla="*/ 52929 w 75177"/>
                    <a:gd name="connsiteY18" fmla="*/ 69137 h 77928"/>
                    <a:gd name="connsiteX19" fmla="*/ 73084 w 75177"/>
                    <a:gd name="connsiteY19" fmla="*/ 63455 h 77928"/>
                    <a:gd name="connsiteX20" fmla="*/ 48025 w 75177"/>
                    <a:gd name="connsiteY20" fmla="*/ 1794 h 77928"/>
                    <a:gd name="connsiteX21" fmla="*/ 2093 w 75177"/>
                    <a:gd name="connsiteY21" fmla="*/ 13636 h 77928"/>
                    <a:gd name="connsiteX22" fmla="*/ 16626 w 75177"/>
                    <a:gd name="connsiteY22" fmla="*/ 49102 h 77928"/>
                    <a:gd name="connsiteX23" fmla="*/ 19497 w 75177"/>
                    <a:gd name="connsiteY23" fmla="*/ 51135 h 77928"/>
                    <a:gd name="connsiteX24" fmla="*/ 34628 w 75177"/>
                    <a:gd name="connsiteY24" fmla="*/ 46949 h 77928"/>
                    <a:gd name="connsiteX25" fmla="*/ 20693 w 75177"/>
                    <a:gd name="connsiteY25" fmla="*/ 12799 h 7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177" h="77928">
                      <a:moveTo>
                        <a:pt x="49042" y="0"/>
                      </a:moveTo>
                      <a:cubicBezTo>
                        <a:pt x="57833" y="21531"/>
                        <a:pt x="66506" y="42882"/>
                        <a:pt x="75178" y="64233"/>
                      </a:cubicBezTo>
                      <a:cubicBezTo>
                        <a:pt x="58910" y="68838"/>
                        <a:pt x="42942" y="73324"/>
                        <a:pt x="26614" y="77929"/>
                      </a:cubicBezTo>
                      <a:cubicBezTo>
                        <a:pt x="17882" y="56398"/>
                        <a:pt x="8971" y="34569"/>
                        <a:pt x="0" y="12560"/>
                      </a:cubicBezTo>
                      <a:cubicBezTo>
                        <a:pt x="16387" y="8373"/>
                        <a:pt x="32595" y="4246"/>
                        <a:pt x="49042" y="0"/>
                      </a:cubicBezTo>
                      <a:close/>
                      <a:moveTo>
                        <a:pt x="20693" y="12799"/>
                      </a:moveTo>
                      <a:cubicBezTo>
                        <a:pt x="20992" y="12679"/>
                        <a:pt x="21291" y="12560"/>
                        <a:pt x="21650" y="12440"/>
                      </a:cubicBezTo>
                      <a:cubicBezTo>
                        <a:pt x="26495" y="24342"/>
                        <a:pt x="31339" y="36243"/>
                        <a:pt x="36123" y="48085"/>
                      </a:cubicBezTo>
                      <a:cubicBezTo>
                        <a:pt x="30143" y="49700"/>
                        <a:pt x="24282" y="51315"/>
                        <a:pt x="17763" y="53109"/>
                      </a:cubicBezTo>
                      <a:cubicBezTo>
                        <a:pt x="19258" y="56817"/>
                        <a:pt x="20753" y="59747"/>
                        <a:pt x="21650" y="62798"/>
                      </a:cubicBezTo>
                      <a:cubicBezTo>
                        <a:pt x="22906" y="67104"/>
                        <a:pt x="25059" y="68180"/>
                        <a:pt x="28767" y="66924"/>
                      </a:cubicBezTo>
                      <a:cubicBezTo>
                        <a:pt x="32535" y="65668"/>
                        <a:pt x="36422" y="64771"/>
                        <a:pt x="40310" y="63695"/>
                      </a:cubicBezTo>
                      <a:cubicBezTo>
                        <a:pt x="40430" y="64054"/>
                        <a:pt x="40490" y="64353"/>
                        <a:pt x="40609" y="64711"/>
                      </a:cubicBezTo>
                      <a:cubicBezTo>
                        <a:pt x="35466" y="66266"/>
                        <a:pt x="30322" y="67821"/>
                        <a:pt x="24282" y="69675"/>
                      </a:cubicBezTo>
                      <a:cubicBezTo>
                        <a:pt x="26375" y="72486"/>
                        <a:pt x="25418" y="77091"/>
                        <a:pt x="30382" y="75716"/>
                      </a:cubicBezTo>
                      <a:cubicBezTo>
                        <a:pt x="37140" y="73742"/>
                        <a:pt x="43958" y="71769"/>
                        <a:pt x="51733" y="69436"/>
                      </a:cubicBezTo>
                      <a:cubicBezTo>
                        <a:pt x="43539" y="49341"/>
                        <a:pt x="35526" y="29605"/>
                        <a:pt x="27511" y="9868"/>
                      </a:cubicBezTo>
                      <a:cubicBezTo>
                        <a:pt x="27870" y="9749"/>
                        <a:pt x="28289" y="9569"/>
                        <a:pt x="28648" y="9450"/>
                      </a:cubicBezTo>
                      <a:cubicBezTo>
                        <a:pt x="36722" y="29246"/>
                        <a:pt x="44796" y="49102"/>
                        <a:pt x="52929" y="69137"/>
                      </a:cubicBezTo>
                      <a:cubicBezTo>
                        <a:pt x="59747" y="67223"/>
                        <a:pt x="66147" y="65369"/>
                        <a:pt x="73084" y="63455"/>
                      </a:cubicBezTo>
                      <a:cubicBezTo>
                        <a:pt x="64592" y="42643"/>
                        <a:pt x="56398" y="22428"/>
                        <a:pt x="48025" y="1794"/>
                      </a:cubicBezTo>
                      <a:cubicBezTo>
                        <a:pt x="32894" y="5682"/>
                        <a:pt x="17882" y="9569"/>
                        <a:pt x="2093" y="13636"/>
                      </a:cubicBezTo>
                      <a:cubicBezTo>
                        <a:pt x="7057" y="25897"/>
                        <a:pt x="11782" y="37559"/>
                        <a:pt x="16626" y="49102"/>
                      </a:cubicBezTo>
                      <a:cubicBezTo>
                        <a:pt x="17045" y="50059"/>
                        <a:pt x="18720" y="51315"/>
                        <a:pt x="19497" y="51135"/>
                      </a:cubicBezTo>
                      <a:cubicBezTo>
                        <a:pt x="24342" y="49999"/>
                        <a:pt x="29126" y="48504"/>
                        <a:pt x="34628" y="46949"/>
                      </a:cubicBezTo>
                      <a:cubicBezTo>
                        <a:pt x="29665" y="34868"/>
                        <a:pt x="25179" y="23803"/>
                        <a:pt x="20693" y="1279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58" name="Vrije vorm: vorm 9357">
                  <a:extLst>
                    <a:ext uri="{FF2B5EF4-FFF2-40B4-BE49-F238E27FC236}">
                      <a16:creationId xmlns:a16="http://schemas.microsoft.com/office/drawing/2014/main" id="{1822D970-F3C2-4862-A422-DD359C4A6695}"/>
                    </a:ext>
                  </a:extLst>
                </p:cNvPr>
                <p:cNvSpPr/>
                <p:nvPr/>
              </p:nvSpPr>
              <p:spPr>
                <a:xfrm>
                  <a:off x="4696202" y="2237368"/>
                  <a:ext cx="68359" cy="132173"/>
                </a:xfrm>
                <a:custGeom>
                  <a:avLst/>
                  <a:gdLst>
                    <a:gd name="connsiteX0" fmla="*/ 19916 w 68359"/>
                    <a:gd name="connsiteY0" fmla="*/ 20992 h 132173"/>
                    <a:gd name="connsiteX1" fmla="*/ 63097 w 68359"/>
                    <a:gd name="connsiteY1" fmla="*/ 127090 h 132173"/>
                    <a:gd name="connsiteX2" fmla="*/ 61900 w 68359"/>
                    <a:gd name="connsiteY2" fmla="*/ 127569 h 132173"/>
                    <a:gd name="connsiteX3" fmla="*/ 18361 w 68359"/>
                    <a:gd name="connsiteY3" fmla="*/ 20574 h 132173"/>
                    <a:gd name="connsiteX4" fmla="*/ 12141 w 68359"/>
                    <a:gd name="connsiteY4" fmla="*/ 24401 h 132173"/>
                    <a:gd name="connsiteX5" fmla="*/ 51554 w 68359"/>
                    <a:gd name="connsiteY5" fmla="*/ 121289 h 132173"/>
                    <a:gd name="connsiteX6" fmla="*/ 51195 w 68359"/>
                    <a:gd name="connsiteY6" fmla="*/ 121469 h 132173"/>
                    <a:gd name="connsiteX7" fmla="*/ 0 w 68359"/>
                    <a:gd name="connsiteY7" fmla="*/ 538 h 132173"/>
                    <a:gd name="connsiteX8" fmla="*/ 1076 w 68359"/>
                    <a:gd name="connsiteY8" fmla="*/ 0 h 132173"/>
                    <a:gd name="connsiteX9" fmla="*/ 10586 w 68359"/>
                    <a:gd name="connsiteY9" fmla="*/ 23385 h 132173"/>
                    <a:gd name="connsiteX10" fmla="*/ 16866 w 68359"/>
                    <a:gd name="connsiteY10" fmla="*/ 19856 h 132173"/>
                    <a:gd name="connsiteX11" fmla="*/ 10705 w 68359"/>
                    <a:gd name="connsiteY11" fmla="*/ 4665 h 132173"/>
                    <a:gd name="connsiteX12" fmla="*/ 11543 w 68359"/>
                    <a:gd name="connsiteY12" fmla="*/ 4246 h 132173"/>
                    <a:gd name="connsiteX13" fmla="*/ 17942 w 68359"/>
                    <a:gd name="connsiteY13" fmla="*/ 18002 h 132173"/>
                    <a:gd name="connsiteX14" fmla="*/ 19198 w 68359"/>
                    <a:gd name="connsiteY14" fmla="*/ 17464 h 132173"/>
                    <a:gd name="connsiteX15" fmla="*/ 15371 w 68359"/>
                    <a:gd name="connsiteY15" fmla="*/ 8014 h 132173"/>
                    <a:gd name="connsiteX16" fmla="*/ 16387 w 68359"/>
                    <a:gd name="connsiteY16" fmla="*/ 7596 h 132173"/>
                    <a:gd name="connsiteX17" fmla="*/ 20215 w 68359"/>
                    <a:gd name="connsiteY17" fmla="*/ 17045 h 132173"/>
                    <a:gd name="connsiteX18" fmla="*/ 23026 w 68359"/>
                    <a:gd name="connsiteY18" fmla="*/ 16327 h 132173"/>
                    <a:gd name="connsiteX19" fmla="*/ 23325 w 68359"/>
                    <a:gd name="connsiteY19" fmla="*/ 23923 h 132173"/>
                    <a:gd name="connsiteX20" fmla="*/ 66207 w 68359"/>
                    <a:gd name="connsiteY20" fmla="*/ 126193 h 132173"/>
                    <a:gd name="connsiteX21" fmla="*/ 68360 w 68359"/>
                    <a:gd name="connsiteY21" fmla="*/ 131456 h 132173"/>
                    <a:gd name="connsiteX22" fmla="*/ 66625 w 68359"/>
                    <a:gd name="connsiteY22" fmla="*/ 132174 h 132173"/>
                    <a:gd name="connsiteX23" fmla="*/ 21172 w 68359"/>
                    <a:gd name="connsiteY23" fmla="*/ 20454 h 132173"/>
                    <a:gd name="connsiteX24" fmla="*/ 19916 w 68359"/>
                    <a:gd name="connsiteY24" fmla="*/ 20992 h 13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359" h="132173">
                      <a:moveTo>
                        <a:pt x="19916" y="20992"/>
                      </a:moveTo>
                      <a:cubicBezTo>
                        <a:pt x="34329" y="56338"/>
                        <a:pt x="48683" y="91684"/>
                        <a:pt x="63097" y="127090"/>
                      </a:cubicBezTo>
                      <a:cubicBezTo>
                        <a:pt x="62678" y="127270"/>
                        <a:pt x="62319" y="127449"/>
                        <a:pt x="61900" y="127569"/>
                      </a:cubicBezTo>
                      <a:cubicBezTo>
                        <a:pt x="47487" y="92103"/>
                        <a:pt x="33073" y="56697"/>
                        <a:pt x="18361" y="20574"/>
                      </a:cubicBezTo>
                      <a:cubicBezTo>
                        <a:pt x="15430" y="22368"/>
                        <a:pt x="13756" y="23385"/>
                        <a:pt x="12141" y="24401"/>
                      </a:cubicBezTo>
                      <a:cubicBezTo>
                        <a:pt x="25358" y="56877"/>
                        <a:pt x="38456" y="89113"/>
                        <a:pt x="51554" y="121289"/>
                      </a:cubicBezTo>
                      <a:cubicBezTo>
                        <a:pt x="51434" y="121349"/>
                        <a:pt x="51314" y="121409"/>
                        <a:pt x="51195" y="121469"/>
                      </a:cubicBezTo>
                      <a:cubicBezTo>
                        <a:pt x="34150" y="81158"/>
                        <a:pt x="17045" y="40848"/>
                        <a:pt x="0" y="538"/>
                      </a:cubicBezTo>
                      <a:cubicBezTo>
                        <a:pt x="359" y="359"/>
                        <a:pt x="718" y="179"/>
                        <a:pt x="1076" y="0"/>
                      </a:cubicBezTo>
                      <a:cubicBezTo>
                        <a:pt x="4186" y="7655"/>
                        <a:pt x="7296" y="15311"/>
                        <a:pt x="10586" y="23385"/>
                      </a:cubicBezTo>
                      <a:cubicBezTo>
                        <a:pt x="13098" y="21949"/>
                        <a:pt x="14832" y="20992"/>
                        <a:pt x="16866" y="19856"/>
                      </a:cubicBezTo>
                      <a:cubicBezTo>
                        <a:pt x="14772" y="14713"/>
                        <a:pt x="12739" y="9689"/>
                        <a:pt x="10705" y="4665"/>
                      </a:cubicBezTo>
                      <a:cubicBezTo>
                        <a:pt x="11004" y="4545"/>
                        <a:pt x="11244" y="4366"/>
                        <a:pt x="11543" y="4246"/>
                      </a:cubicBezTo>
                      <a:cubicBezTo>
                        <a:pt x="13696" y="8851"/>
                        <a:pt x="15789" y="13457"/>
                        <a:pt x="17942" y="18002"/>
                      </a:cubicBezTo>
                      <a:cubicBezTo>
                        <a:pt x="18361" y="17823"/>
                        <a:pt x="18779" y="17643"/>
                        <a:pt x="19198" y="17464"/>
                      </a:cubicBezTo>
                      <a:cubicBezTo>
                        <a:pt x="17942" y="14294"/>
                        <a:pt x="16626" y="11124"/>
                        <a:pt x="15371" y="8014"/>
                      </a:cubicBezTo>
                      <a:cubicBezTo>
                        <a:pt x="15729" y="7895"/>
                        <a:pt x="16028" y="7775"/>
                        <a:pt x="16387" y="7596"/>
                      </a:cubicBezTo>
                      <a:cubicBezTo>
                        <a:pt x="17643" y="10646"/>
                        <a:pt x="18899" y="13756"/>
                        <a:pt x="20215" y="17045"/>
                      </a:cubicBezTo>
                      <a:cubicBezTo>
                        <a:pt x="21889" y="16626"/>
                        <a:pt x="23205" y="16327"/>
                        <a:pt x="23026" y="16327"/>
                      </a:cubicBezTo>
                      <a:cubicBezTo>
                        <a:pt x="23086" y="18779"/>
                        <a:pt x="22428" y="21650"/>
                        <a:pt x="23325" y="23923"/>
                      </a:cubicBezTo>
                      <a:cubicBezTo>
                        <a:pt x="37499" y="58073"/>
                        <a:pt x="51913" y="92103"/>
                        <a:pt x="66207" y="126193"/>
                      </a:cubicBezTo>
                      <a:cubicBezTo>
                        <a:pt x="66924" y="127928"/>
                        <a:pt x="67642" y="129722"/>
                        <a:pt x="68360" y="131456"/>
                      </a:cubicBezTo>
                      <a:cubicBezTo>
                        <a:pt x="67761" y="131696"/>
                        <a:pt x="67223" y="131935"/>
                        <a:pt x="66625" y="132174"/>
                      </a:cubicBezTo>
                      <a:cubicBezTo>
                        <a:pt x="51494" y="94914"/>
                        <a:pt x="36303" y="57714"/>
                        <a:pt x="21172" y="20454"/>
                      </a:cubicBezTo>
                      <a:cubicBezTo>
                        <a:pt x="20753" y="20633"/>
                        <a:pt x="20334" y="20813"/>
                        <a:pt x="19916" y="2099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59" name="Vrije vorm: vorm 9358">
                  <a:extLst>
                    <a:ext uri="{FF2B5EF4-FFF2-40B4-BE49-F238E27FC236}">
                      <a16:creationId xmlns:a16="http://schemas.microsoft.com/office/drawing/2014/main" id="{1D9E4238-6681-44CE-94E1-BA344A615336}"/>
                    </a:ext>
                  </a:extLst>
                </p:cNvPr>
                <p:cNvSpPr/>
                <p:nvPr/>
              </p:nvSpPr>
              <p:spPr>
                <a:xfrm>
                  <a:off x="5048885" y="1906395"/>
                  <a:ext cx="73622" cy="89232"/>
                </a:xfrm>
                <a:custGeom>
                  <a:avLst/>
                  <a:gdLst>
                    <a:gd name="connsiteX0" fmla="*/ 0 w 73622"/>
                    <a:gd name="connsiteY0" fmla="*/ 25897 h 89232"/>
                    <a:gd name="connsiteX1" fmla="*/ 48324 w 73622"/>
                    <a:gd name="connsiteY1" fmla="*/ 0 h 89232"/>
                    <a:gd name="connsiteX2" fmla="*/ 73623 w 73622"/>
                    <a:gd name="connsiteY2" fmla="*/ 62259 h 89232"/>
                    <a:gd name="connsiteX3" fmla="*/ 25777 w 73622"/>
                    <a:gd name="connsiteY3" fmla="*/ 89232 h 89232"/>
                    <a:gd name="connsiteX4" fmla="*/ 0 w 73622"/>
                    <a:gd name="connsiteY4" fmla="*/ 25897 h 89232"/>
                    <a:gd name="connsiteX5" fmla="*/ 71470 w 73622"/>
                    <a:gd name="connsiteY5" fmla="*/ 61841 h 89232"/>
                    <a:gd name="connsiteX6" fmla="*/ 47188 w 73622"/>
                    <a:gd name="connsiteY6" fmla="*/ 2153 h 89232"/>
                    <a:gd name="connsiteX7" fmla="*/ 2034 w 73622"/>
                    <a:gd name="connsiteY7" fmla="*/ 26375 h 89232"/>
                    <a:gd name="connsiteX8" fmla="*/ 26674 w 73622"/>
                    <a:gd name="connsiteY8" fmla="*/ 86960 h 89232"/>
                    <a:gd name="connsiteX9" fmla="*/ 45753 w 73622"/>
                    <a:gd name="connsiteY9" fmla="*/ 76314 h 89232"/>
                    <a:gd name="connsiteX10" fmla="*/ 22368 w 73622"/>
                    <a:gd name="connsiteY10" fmla="*/ 18779 h 89232"/>
                    <a:gd name="connsiteX11" fmla="*/ 23325 w 73622"/>
                    <a:gd name="connsiteY11" fmla="*/ 18361 h 89232"/>
                    <a:gd name="connsiteX12" fmla="*/ 46351 w 73622"/>
                    <a:gd name="connsiteY12" fmla="*/ 74998 h 89232"/>
                    <a:gd name="connsiteX13" fmla="*/ 49580 w 73622"/>
                    <a:gd name="connsiteY13" fmla="*/ 68958 h 89232"/>
                    <a:gd name="connsiteX14" fmla="*/ 29963 w 73622"/>
                    <a:gd name="connsiteY14" fmla="*/ 20992 h 89232"/>
                    <a:gd name="connsiteX15" fmla="*/ 27930 w 73622"/>
                    <a:gd name="connsiteY15" fmla="*/ 15969 h 89232"/>
                    <a:gd name="connsiteX16" fmla="*/ 29306 w 73622"/>
                    <a:gd name="connsiteY16" fmla="*/ 15430 h 89232"/>
                    <a:gd name="connsiteX17" fmla="*/ 52451 w 73622"/>
                    <a:gd name="connsiteY17" fmla="*/ 72367 h 89232"/>
                    <a:gd name="connsiteX18" fmla="*/ 71470 w 73622"/>
                    <a:gd name="connsiteY18" fmla="*/ 61841 h 8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622" h="89232">
                      <a:moveTo>
                        <a:pt x="0" y="25897"/>
                      </a:moveTo>
                      <a:cubicBezTo>
                        <a:pt x="16148" y="17225"/>
                        <a:pt x="32116" y="8672"/>
                        <a:pt x="48324" y="0"/>
                      </a:cubicBezTo>
                      <a:cubicBezTo>
                        <a:pt x="56697" y="20514"/>
                        <a:pt x="65130" y="41267"/>
                        <a:pt x="73623" y="62259"/>
                      </a:cubicBezTo>
                      <a:cubicBezTo>
                        <a:pt x="57833" y="71171"/>
                        <a:pt x="41925" y="80082"/>
                        <a:pt x="25777" y="89232"/>
                      </a:cubicBezTo>
                      <a:cubicBezTo>
                        <a:pt x="17225" y="68240"/>
                        <a:pt x="8612" y="47128"/>
                        <a:pt x="0" y="25897"/>
                      </a:cubicBezTo>
                      <a:close/>
                      <a:moveTo>
                        <a:pt x="71470" y="61841"/>
                      </a:moveTo>
                      <a:cubicBezTo>
                        <a:pt x="63276" y="41686"/>
                        <a:pt x="55382" y="22248"/>
                        <a:pt x="47188" y="2153"/>
                      </a:cubicBezTo>
                      <a:cubicBezTo>
                        <a:pt x="31817" y="10406"/>
                        <a:pt x="16866" y="18421"/>
                        <a:pt x="2034" y="26375"/>
                      </a:cubicBezTo>
                      <a:cubicBezTo>
                        <a:pt x="10406" y="46889"/>
                        <a:pt x="18361" y="66565"/>
                        <a:pt x="26674" y="86960"/>
                      </a:cubicBezTo>
                      <a:cubicBezTo>
                        <a:pt x="33193" y="83311"/>
                        <a:pt x="39293" y="79902"/>
                        <a:pt x="45753" y="76314"/>
                      </a:cubicBezTo>
                      <a:cubicBezTo>
                        <a:pt x="37738" y="56697"/>
                        <a:pt x="30083" y="37738"/>
                        <a:pt x="22368" y="18779"/>
                      </a:cubicBezTo>
                      <a:cubicBezTo>
                        <a:pt x="22667" y="18660"/>
                        <a:pt x="23026" y="18540"/>
                        <a:pt x="23325" y="18361"/>
                      </a:cubicBezTo>
                      <a:cubicBezTo>
                        <a:pt x="31040" y="37320"/>
                        <a:pt x="38755" y="56219"/>
                        <a:pt x="46351" y="74998"/>
                      </a:cubicBezTo>
                      <a:cubicBezTo>
                        <a:pt x="50896" y="74699"/>
                        <a:pt x="51076" y="72606"/>
                        <a:pt x="49580" y="68958"/>
                      </a:cubicBezTo>
                      <a:cubicBezTo>
                        <a:pt x="42942" y="52989"/>
                        <a:pt x="36483" y="37021"/>
                        <a:pt x="29963" y="20992"/>
                      </a:cubicBezTo>
                      <a:cubicBezTo>
                        <a:pt x="29306" y="19318"/>
                        <a:pt x="28588" y="17643"/>
                        <a:pt x="27930" y="15969"/>
                      </a:cubicBezTo>
                      <a:cubicBezTo>
                        <a:pt x="28408" y="15789"/>
                        <a:pt x="28827" y="15610"/>
                        <a:pt x="29306" y="15430"/>
                      </a:cubicBezTo>
                      <a:cubicBezTo>
                        <a:pt x="36901" y="34150"/>
                        <a:pt x="44556" y="52870"/>
                        <a:pt x="52451" y="72367"/>
                      </a:cubicBezTo>
                      <a:cubicBezTo>
                        <a:pt x="59209" y="68719"/>
                        <a:pt x="65309" y="65309"/>
                        <a:pt x="71470" y="6184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60" name="Vrije vorm: vorm 9359">
                  <a:extLst>
                    <a:ext uri="{FF2B5EF4-FFF2-40B4-BE49-F238E27FC236}">
                      <a16:creationId xmlns:a16="http://schemas.microsoft.com/office/drawing/2014/main" id="{B6CC9F9B-6C21-4547-AB1B-F8894FA9CA09}"/>
                    </a:ext>
                  </a:extLst>
                </p:cNvPr>
                <p:cNvSpPr/>
                <p:nvPr/>
              </p:nvSpPr>
              <p:spPr>
                <a:xfrm>
                  <a:off x="4965873" y="1263946"/>
                  <a:ext cx="79304" cy="83431"/>
                </a:xfrm>
                <a:custGeom>
                  <a:avLst/>
                  <a:gdLst>
                    <a:gd name="connsiteX0" fmla="*/ 27751 w 79304"/>
                    <a:gd name="connsiteY0" fmla="*/ 83431 h 83431"/>
                    <a:gd name="connsiteX1" fmla="*/ 0 w 79304"/>
                    <a:gd name="connsiteY1" fmla="*/ 15251 h 83431"/>
                    <a:gd name="connsiteX2" fmla="*/ 52331 w 79304"/>
                    <a:gd name="connsiteY2" fmla="*/ 0 h 83431"/>
                    <a:gd name="connsiteX3" fmla="*/ 79304 w 79304"/>
                    <a:gd name="connsiteY3" fmla="*/ 66266 h 83431"/>
                    <a:gd name="connsiteX4" fmla="*/ 78288 w 79304"/>
                    <a:gd name="connsiteY4" fmla="*/ 66685 h 83431"/>
                    <a:gd name="connsiteX5" fmla="*/ 51793 w 79304"/>
                    <a:gd name="connsiteY5" fmla="*/ 1615 h 83431"/>
                    <a:gd name="connsiteX6" fmla="*/ 2153 w 79304"/>
                    <a:gd name="connsiteY6" fmla="*/ 16028 h 83431"/>
                    <a:gd name="connsiteX7" fmla="*/ 14354 w 79304"/>
                    <a:gd name="connsiteY7" fmla="*/ 46052 h 83431"/>
                    <a:gd name="connsiteX8" fmla="*/ 51853 w 79304"/>
                    <a:gd name="connsiteY8" fmla="*/ 34748 h 83431"/>
                    <a:gd name="connsiteX9" fmla="*/ 41446 w 79304"/>
                    <a:gd name="connsiteY9" fmla="*/ 9210 h 83431"/>
                    <a:gd name="connsiteX10" fmla="*/ 42523 w 79304"/>
                    <a:gd name="connsiteY10" fmla="*/ 8732 h 83431"/>
                    <a:gd name="connsiteX11" fmla="*/ 53468 w 79304"/>
                    <a:gd name="connsiteY11" fmla="*/ 35645 h 83431"/>
                    <a:gd name="connsiteX12" fmla="*/ 14832 w 79304"/>
                    <a:gd name="connsiteY12" fmla="*/ 47307 h 83431"/>
                    <a:gd name="connsiteX13" fmla="*/ 20155 w 79304"/>
                    <a:gd name="connsiteY13" fmla="*/ 60345 h 83431"/>
                    <a:gd name="connsiteX14" fmla="*/ 59030 w 79304"/>
                    <a:gd name="connsiteY14" fmla="*/ 48384 h 83431"/>
                    <a:gd name="connsiteX15" fmla="*/ 59448 w 79304"/>
                    <a:gd name="connsiteY15" fmla="*/ 49520 h 83431"/>
                    <a:gd name="connsiteX16" fmla="*/ 20634 w 79304"/>
                    <a:gd name="connsiteY16" fmla="*/ 61781 h 83431"/>
                    <a:gd name="connsiteX17" fmla="*/ 28707 w 79304"/>
                    <a:gd name="connsiteY17" fmla="*/ 81577 h 83431"/>
                    <a:gd name="connsiteX18" fmla="*/ 75297 w 79304"/>
                    <a:gd name="connsiteY18" fmla="*/ 66864 h 83431"/>
                    <a:gd name="connsiteX19" fmla="*/ 75656 w 79304"/>
                    <a:gd name="connsiteY19" fmla="*/ 68001 h 83431"/>
                    <a:gd name="connsiteX20" fmla="*/ 27751 w 79304"/>
                    <a:gd name="connsiteY20" fmla="*/ 83431 h 8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304" h="83431">
                      <a:moveTo>
                        <a:pt x="27751" y="83431"/>
                      </a:moveTo>
                      <a:cubicBezTo>
                        <a:pt x="18481" y="60585"/>
                        <a:pt x="9330" y="38097"/>
                        <a:pt x="0" y="15251"/>
                      </a:cubicBezTo>
                      <a:cubicBezTo>
                        <a:pt x="17344" y="10227"/>
                        <a:pt x="34808" y="5084"/>
                        <a:pt x="52331" y="0"/>
                      </a:cubicBezTo>
                      <a:cubicBezTo>
                        <a:pt x="61243" y="21949"/>
                        <a:pt x="70273" y="44138"/>
                        <a:pt x="79304" y="66266"/>
                      </a:cubicBezTo>
                      <a:cubicBezTo>
                        <a:pt x="78946" y="66386"/>
                        <a:pt x="78647" y="66506"/>
                        <a:pt x="78288" y="66685"/>
                      </a:cubicBezTo>
                      <a:cubicBezTo>
                        <a:pt x="69616" y="45334"/>
                        <a:pt x="60884" y="23923"/>
                        <a:pt x="51793" y="1615"/>
                      </a:cubicBezTo>
                      <a:cubicBezTo>
                        <a:pt x="35227" y="6459"/>
                        <a:pt x="18899" y="11184"/>
                        <a:pt x="2153" y="16028"/>
                      </a:cubicBezTo>
                      <a:cubicBezTo>
                        <a:pt x="6280" y="26076"/>
                        <a:pt x="10167" y="35765"/>
                        <a:pt x="14354" y="46052"/>
                      </a:cubicBezTo>
                      <a:cubicBezTo>
                        <a:pt x="26734" y="42343"/>
                        <a:pt x="38994" y="38635"/>
                        <a:pt x="51853" y="34748"/>
                      </a:cubicBezTo>
                      <a:cubicBezTo>
                        <a:pt x="48264" y="25956"/>
                        <a:pt x="44855" y="17583"/>
                        <a:pt x="41446" y="9210"/>
                      </a:cubicBezTo>
                      <a:cubicBezTo>
                        <a:pt x="41805" y="9031"/>
                        <a:pt x="42164" y="8911"/>
                        <a:pt x="42523" y="8732"/>
                      </a:cubicBezTo>
                      <a:cubicBezTo>
                        <a:pt x="46171" y="17703"/>
                        <a:pt x="49820" y="26614"/>
                        <a:pt x="53468" y="35645"/>
                      </a:cubicBezTo>
                      <a:cubicBezTo>
                        <a:pt x="40848" y="39413"/>
                        <a:pt x="28050" y="43300"/>
                        <a:pt x="14832" y="47307"/>
                      </a:cubicBezTo>
                      <a:cubicBezTo>
                        <a:pt x="16627" y="51673"/>
                        <a:pt x="18241" y="55740"/>
                        <a:pt x="20155" y="60345"/>
                      </a:cubicBezTo>
                      <a:cubicBezTo>
                        <a:pt x="33133" y="56338"/>
                        <a:pt x="46052" y="52331"/>
                        <a:pt x="59030" y="48384"/>
                      </a:cubicBezTo>
                      <a:cubicBezTo>
                        <a:pt x="59149" y="48743"/>
                        <a:pt x="59269" y="49162"/>
                        <a:pt x="59448" y="49520"/>
                      </a:cubicBezTo>
                      <a:cubicBezTo>
                        <a:pt x="46590" y="53587"/>
                        <a:pt x="33791" y="57654"/>
                        <a:pt x="20634" y="61781"/>
                      </a:cubicBezTo>
                      <a:cubicBezTo>
                        <a:pt x="23385" y="68599"/>
                        <a:pt x="25897" y="74699"/>
                        <a:pt x="28707" y="81577"/>
                      </a:cubicBezTo>
                      <a:cubicBezTo>
                        <a:pt x="44257" y="76673"/>
                        <a:pt x="59807" y="71769"/>
                        <a:pt x="75297" y="66864"/>
                      </a:cubicBezTo>
                      <a:cubicBezTo>
                        <a:pt x="75417" y="67223"/>
                        <a:pt x="75537" y="67642"/>
                        <a:pt x="75656" y="68001"/>
                      </a:cubicBezTo>
                      <a:cubicBezTo>
                        <a:pt x="59747" y="73084"/>
                        <a:pt x="43779" y="78228"/>
                        <a:pt x="27751" y="8343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61" name="Vrije vorm: vorm 9360">
                  <a:extLst>
                    <a:ext uri="{FF2B5EF4-FFF2-40B4-BE49-F238E27FC236}">
                      <a16:creationId xmlns:a16="http://schemas.microsoft.com/office/drawing/2014/main" id="{35D28500-0FE6-4F69-83E6-F94989290CD1}"/>
                    </a:ext>
                  </a:extLst>
                </p:cNvPr>
                <p:cNvSpPr/>
                <p:nvPr/>
              </p:nvSpPr>
              <p:spPr>
                <a:xfrm>
                  <a:off x="5360540" y="1730263"/>
                  <a:ext cx="66804" cy="83969"/>
                </a:xfrm>
                <a:custGeom>
                  <a:avLst/>
                  <a:gdLst>
                    <a:gd name="connsiteX0" fmla="*/ 34629 w 66804"/>
                    <a:gd name="connsiteY0" fmla="*/ 59209 h 83969"/>
                    <a:gd name="connsiteX1" fmla="*/ 62798 w 66804"/>
                    <a:gd name="connsiteY1" fmla="*/ 54903 h 83969"/>
                    <a:gd name="connsiteX2" fmla="*/ 58372 w 66804"/>
                    <a:gd name="connsiteY2" fmla="*/ 44018 h 83969"/>
                    <a:gd name="connsiteX3" fmla="*/ 29724 w 66804"/>
                    <a:gd name="connsiteY3" fmla="*/ 48683 h 83969"/>
                    <a:gd name="connsiteX4" fmla="*/ 17165 w 66804"/>
                    <a:gd name="connsiteY4" fmla="*/ 17882 h 83969"/>
                    <a:gd name="connsiteX5" fmla="*/ 18122 w 66804"/>
                    <a:gd name="connsiteY5" fmla="*/ 17464 h 83969"/>
                    <a:gd name="connsiteX6" fmla="*/ 30203 w 66804"/>
                    <a:gd name="connsiteY6" fmla="*/ 47068 h 83969"/>
                    <a:gd name="connsiteX7" fmla="*/ 58312 w 66804"/>
                    <a:gd name="connsiteY7" fmla="*/ 42702 h 83969"/>
                    <a:gd name="connsiteX8" fmla="*/ 42822 w 66804"/>
                    <a:gd name="connsiteY8" fmla="*/ 4545 h 83969"/>
                    <a:gd name="connsiteX9" fmla="*/ 43839 w 66804"/>
                    <a:gd name="connsiteY9" fmla="*/ 4127 h 83969"/>
                    <a:gd name="connsiteX10" fmla="*/ 66805 w 66804"/>
                    <a:gd name="connsiteY10" fmla="*/ 60645 h 83969"/>
                    <a:gd name="connsiteX11" fmla="*/ 25299 w 66804"/>
                    <a:gd name="connsiteY11" fmla="*/ 83969 h 83969"/>
                    <a:gd name="connsiteX12" fmla="*/ 0 w 66804"/>
                    <a:gd name="connsiteY12" fmla="*/ 21830 h 83969"/>
                    <a:gd name="connsiteX13" fmla="*/ 41506 w 66804"/>
                    <a:gd name="connsiteY13" fmla="*/ 0 h 83969"/>
                    <a:gd name="connsiteX14" fmla="*/ 42045 w 66804"/>
                    <a:gd name="connsiteY14" fmla="*/ 1017 h 83969"/>
                    <a:gd name="connsiteX15" fmla="*/ 8612 w 66804"/>
                    <a:gd name="connsiteY15" fmla="*/ 18899 h 83969"/>
                    <a:gd name="connsiteX16" fmla="*/ 20933 w 66804"/>
                    <a:gd name="connsiteY16" fmla="*/ 49221 h 83969"/>
                    <a:gd name="connsiteX17" fmla="*/ 19677 w 66804"/>
                    <a:gd name="connsiteY17" fmla="*/ 49700 h 83969"/>
                    <a:gd name="connsiteX18" fmla="*/ 7536 w 66804"/>
                    <a:gd name="connsiteY18" fmla="*/ 19796 h 83969"/>
                    <a:gd name="connsiteX19" fmla="*/ 3409 w 66804"/>
                    <a:gd name="connsiteY19" fmla="*/ 25597 h 83969"/>
                    <a:gd name="connsiteX20" fmla="*/ 24461 w 66804"/>
                    <a:gd name="connsiteY20" fmla="*/ 78886 h 83969"/>
                    <a:gd name="connsiteX21" fmla="*/ 26255 w 66804"/>
                    <a:gd name="connsiteY21" fmla="*/ 81637 h 83969"/>
                    <a:gd name="connsiteX22" fmla="*/ 55740 w 66804"/>
                    <a:gd name="connsiteY22" fmla="*/ 65369 h 83969"/>
                    <a:gd name="connsiteX23" fmla="*/ 62379 w 66804"/>
                    <a:gd name="connsiteY23" fmla="*/ 61542 h 83969"/>
                    <a:gd name="connsiteX24" fmla="*/ 64173 w 66804"/>
                    <a:gd name="connsiteY24" fmla="*/ 58013 h 83969"/>
                    <a:gd name="connsiteX25" fmla="*/ 60465 w 66804"/>
                    <a:gd name="connsiteY25" fmla="*/ 56637 h 83969"/>
                    <a:gd name="connsiteX26" fmla="*/ 36662 w 66804"/>
                    <a:gd name="connsiteY26" fmla="*/ 60286 h 83969"/>
                    <a:gd name="connsiteX27" fmla="*/ 34688 w 66804"/>
                    <a:gd name="connsiteY27" fmla="*/ 60345 h 83969"/>
                    <a:gd name="connsiteX28" fmla="*/ 34629 w 66804"/>
                    <a:gd name="connsiteY28" fmla="*/ 59209 h 83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6804" h="83969">
                      <a:moveTo>
                        <a:pt x="34629" y="59209"/>
                      </a:moveTo>
                      <a:cubicBezTo>
                        <a:pt x="43899" y="57774"/>
                        <a:pt x="53169" y="56398"/>
                        <a:pt x="62798" y="54903"/>
                      </a:cubicBezTo>
                      <a:cubicBezTo>
                        <a:pt x="61243" y="51135"/>
                        <a:pt x="59927" y="47786"/>
                        <a:pt x="58372" y="44018"/>
                      </a:cubicBezTo>
                      <a:cubicBezTo>
                        <a:pt x="48863" y="45573"/>
                        <a:pt x="39413" y="47128"/>
                        <a:pt x="29724" y="48683"/>
                      </a:cubicBezTo>
                      <a:cubicBezTo>
                        <a:pt x="25658" y="38695"/>
                        <a:pt x="21411" y="28289"/>
                        <a:pt x="17165" y="17882"/>
                      </a:cubicBezTo>
                      <a:cubicBezTo>
                        <a:pt x="17464" y="17763"/>
                        <a:pt x="17763" y="17583"/>
                        <a:pt x="18122" y="17464"/>
                      </a:cubicBezTo>
                      <a:cubicBezTo>
                        <a:pt x="22069" y="27212"/>
                        <a:pt x="26076" y="36961"/>
                        <a:pt x="30203" y="47068"/>
                      </a:cubicBezTo>
                      <a:cubicBezTo>
                        <a:pt x="39592" y="45633"/>
                        <a:pt x="48563" y="44198"/>
                        <a:pt x="58312" y="42702"/>
                      </a:cubicBezTo>
                      <a:cubicBezTo>
                        <a:pt x="52989" y="29605"/>
                        <a:pt x="47906" y="17105"/>
                        <a:pt x="42822" y="4545"/>
                      </a:cubicBezTo>
                      <a:cubicBezTo>
                        <a:pt x="43181" y="4426"/>
                        <a:pt x="43540" y="4246"/>
                        <a:pt x="43839" y="4127"/>
                      </a:cubicBezTo>
                      <a:cubicBezTo>
                        <a:pt x="51434" y="22846"/>
                        <a:pt x="59090" y="41566"/>
                        <a:pt x="66805" y="60645"/>
                      </a:cubicBezTo>
                      <a:cubicBezTo>
                        <a:pt x="53229" y="68300"/>
                        <a:pt x="39353" y="76075"/>
                        <a:pt x="25299" y="83969"/>
                      </a:cubicBezTo>
                      <a:cubicBezTo>
                        <a:pt x="16926" y="63455"/>
                        <a:pt x="8493" y="42702"/>
                        <a:pt x="0" y="21830"/>
                      </a:cubicBezTo>
                      <a:cubicBezTo>
                        <a:pt x="13995" y="14473"/>
                        <a:pt x="27751" y="7237"/>
                        <a:pt x="41506" y="0"/>
                      </a:cubicBezTo>
                      <a:cubicBezTo>
                        <a:pt x="41686" y="359"/>
                        <a:pt x="41865" y="658"/>
                        <a:pt x="42045" y="1017"/>
                      </a:cubicBezTo>
                      <a:cubicBezTo>
                        <a:pt x="31100" y="6878"/>
                        <a:pt x="20215" y="12679"/>
                        <a:pt x="8612" y="18899"/>
                      </a:cubicBezTo>
                      <a:cubicBezTo>
                        <a:pt x="12799" y="29126"/>
                        <a:pt x="16866" y="39174"/>
                        <a:pt x="20933" y="49221"/>
                      </a:cubicBezTo>
                      <a:cubicBezTo>
                        <a:pt x="20514" y="49401"/>
                        <a:pt x="20096" y="49520"/>
                        <a:pt x="19677" y="49700"/>
                      </a:cubicBezTo>
                      <a:cubicBezTo>
                        <a:pt x="15669" y="39891"/>
                        <a:pt x="11662" y="30023"/>
                        <a:pt x="7536" y="19796"/>
                      </a:cubicBezTo>
                      <a:cubicBezTo>
                        <a:pt x="4605" y="20873"/>
                        <a:pt x="1555" y="20933"/>
                        <a:pt x="3409" y="25597"/>
                      </a:cubicBezTo>
                      <a:cubicBezTo>
                        <a:pt x="10466" y="43360"/>
                        <a:pt x="17464" y="61123"/>
                        <a:pt x="24461" y="78886"/>
                      </a:cubicBezTo>
                      <a:cubicBezTo>
                        <a:pt x="24820" y="79783"/>
                        <a:pt x="25538" y="80560"/>
                        <a:pt x="26255" y="81637"/>
                      </a:cubicBezTo>
                      <a:cubicBezTo>
                        <a:pt x="36184" y="76135"/>
                        <a:pt x="45992" y="70752"/>
                        <a:pt x="55740" y="65369"/>
                      </a:cubicBezTo>
                      <a:cubicBezTo>
                        <a:pt x="57953" y="64113"/>
                        <a:pt x="60346" y="63097"/>
                        <a:pt x="62379" y="61542"/>
                      </a:cubicBezTo>
                      <a:cubicBezTo>
                        <a:pt x="63276" y="60824"/>
                        <a:pt x="63575" y="59209"/>
                        <a:pt x="64173" y="58013"/>
                      </a:cubicBezTo>
                      <a:cubicBezTo>
                        <a:pt x="62917" y="57535"/>
                        <a:pt x="61602" y="56458"/>
                        <a:pt x="60465" y="56637"/>
                      </a:cubicBezTo>
                      <a:cubicBezTo>
                        <a:pt x="52511" y="57714"/>
                        <a:pt x="44616" y="59030"/>
                        <a:pt x="36662" y="60286"/>
                      </a:cubicBezTo>
                      <a:cubicBezTo>
                        <a:pt x="36004" y="60405"/>
                        <a:pt x="35346" y="60345"/>
                        <a:pt x="34688" y="60345"/>
                      </a:cubicBezTo>
                      <a:cubicBezTo>
                        <a:pt x="34748" y="59987"/>
                        <a:pt x="34688" y="59628"/>
                        <a:pt x="34629" y="5920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62" name="Vrije vorm: vorm 9361">
                  <a:extLst>
                    <a:ext uri="{FF2B5EF4-FFF2-40B4-BE49-F238E27FC236}">
                      <a16:creationId xmlns:a16="http://schemas.microsoft.com/office/drawing/2014/main" id="{F3894A7C-0A47-43A3-AA76-FE0AFCD5AE5E}"/>
                    </a:ext>
                  </a:extLst>
                </p:cNvPr>
                <p:cNvSpPr/>
                <p:nvPr/>
              </p:nvSpPr>
              <p:spPr>
                <a:xfrm>
                  <a:off x="5154684" y="1381168"/>
                  <a:ext cx="72785" cy="82115"/>
                </a:xfrm>
                <a:custGeom>
                  <a:avLst/>
                  <a:gdLst>
                    <a:gd name="connsiteX0" fmla="*/ 0 w 72785"/>
                    <a:gd name="connsiteY0" fmla="*/ 16866 h 82115"/>
                    <a:gd name="connsiteX1" fmla="*/ 47008 w 72785"/>
                    <a:gd name="connsiteY1" fmla="*/ 0 h 82115"/>
                    <a:gd name="connsiteX2" fmla="*/ 72785 w 72785"/>
                    <a:gd name="connsiteY2" fmla="*/ 63336 h 82115"/>
                    <a:gd name="connsiteX3" fmla="*/ 26554 w 72785"/>
                    <a:gd name="connsiteY3" fmla="*/ 82115 h 82115"/>
                    <a:gd name="connsiteX4" fmla="*/ 0 w 72785"/>
                    <a:gd name="connsiteY4" fmla="*/ 16866 h 82115"/>
                    <a:gd name="connsiteX5" fmla="*/ 51554 w 72785"/>
                    <a:gd name="connsiteY5" fmla="*/ 21949 h 82115"/>
                    <a:gd name="connsiteX6" fmla="*/ 52810 w 72785"/>
                    <a:gd name="connsiteY6" fmla="*/ 21471 h 82115"/>
                    <a:gd name="connsiteX7" fmla="*/ 69496 w 72785"/>
                    <a:gd name="connsiteY7" fmla="*/ 62499 h 82115"/>
                    <a:gd name="connsiteX8" fmla="*/ 70393 w 72785"/>
                    <a:gd name="connsiteY8" fmla="*/ 62140 h 82115"/>
                    <a:gd name="connsiteX9" fmla="*/ 45872 w 72785"/>
                    <a:gd name="connsiteY9" fmla="*/ 1914 h 82115"/>
                    <a:gd name="connsiteX10" fmla="*/ 2093 w 72785"/>
                    <a:gd name="connsiteY10" fmla="*/ 17583 h 82115"/>
                    <a:gd name="connsiteX11" fmla="*/ 27272 w 72785"/>
                    <a:gd name="connsiteY11" fmla="*/ 79544 h 82115"/>
                    <a:gd name="connsiteX12" fmla="*/ 50537 w 72785"/>
                    <a:gd name="connsiteY12" fmla="*/ 70094 h 82115"/>
                    <a:gd name="connsiteX13" fmla="*/ 27152 w 72785"/>
                    <a:gd name="connsiteY13" fmla="*/ 12560 h 82115"/>
                    <a:gd name="connsiteX14" fmla="*/ 28169 w 72785"/>
                    <a:gd name="connsiteY14" fmla="*/ 12141 h 82115"/>
                    <a:gd name="connsiteX15" fmla="*/ 51793 w 72785"/>
                    <a:gd name="connsiteY15" fmla="*/ 70214 h 82115"/>
                    <a:gd name="connsiteX16" fmla="*/ 57535 w 72785"/>
                    <a:gd name="connsiteY16" fmla="*/ 67463 h 82115"/>
                    <a:gd name="connsiteX17" fmla="*/ 40729 w 72785"/>
                    <a:gd name="connsiteY17" fmla="*/ 26196 h 82115"/>
                    <a:gd name="connsiteX18" fmla="*/ 41865 w 72785"/>
                    <a:gd name="connsiteY18" fmla="*/ 25777 h 82115"/>
                    <a:gd name="connsiteX19" fmla="*/ 58671 w 72785"/>
                    <a:gd name="connsiteY19" fmla="*/ 67104 h 82115"/>
                    <a:gd name="connsiteX20" fmla="*/ 68240 w 72785"/>
                    <a:gd name="connsiteY20" fmla="*/ 63216 h 82115"/>
                    <a:gd name="connsiteX21" fmla="*/ 51554 w 72785"/>
                    <a:gd name="connsiteY21" fmla="*/ 21949 h 8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785" h="82115">
                      <a:moveTo>
                        <a:pt x="0" y="16866"/>
                      </a:moveTo>
                      <a:cubicBezTo>
                        <a:pt x="16148" y="11064"/>
                        <a:pt x="31638" y="5562"/>
                        <a:pt x="47008" y="0"/>
                      </a:cubicBezTo>
                      <a:cubicBezTo>
                        <a:pt x="55621" y="21172"/>
                        <a:pt x="64233" y="42284"/>
                        <a:pt x="72785" y="63336"/>
                      </a:cubicBezTo>
                      <a:cubicBezTo>
                        <a:pt x="57355" y="69616"/>
                        <a:pt x="42045" y="75836"/>
                        <a:pt x="26554" y="82115"/>
                      </a:cubicBezTo>
                      <a:cubicBezTo>
                        <a:pt x="17583" y="60046"/>
                        <a:pt x="8792" y="38456"/>
                        <a:pt x="0" y="16866"/>
                      </a:cubicBezTo>
                      <a:close/>
                      <a:moveTo>
                        <a:pt x="51554" y="21949"/>
                      </a:moveTo>
                      <a:cubicBezTo>
                        <a:pt x="51972" y="21770"/>
                        <a:pt x="52391" y="21650"/>
                        <a:pt x="52810" y="21471"/>
                      </a:cubicBezTo>
                      <a:cubicBezTo>
                        <a:pt x="58372" y="35167"/>
                        <a:pt x="63934" y="48803"/>
                        <a:pt x="69496" y="62499"/>
                      </a:cubicBezTo>
                      <a:cubicBezTo>
                        <a:pt x="69795" y="62379"/>
                        <a:pt x="70094" y="62259"/>
                        <a:pt x="70393" y="62140"/>
                      </a:cubicBezTo>
                      <a:cubicBezTo>
                        <a:pt x="62319" y="42344"/>
                        <a:pt x="54305" y="22547"/>
                        <a:pt x="45872" y="1914"/>
                      </a:cubicBezTo>
                      <a:cubicBezTo>
                        <a:pt x="31339" y="7117"/>
                        <a:pt x="16746" y="12320"/>
                        <a:pt x="2093" y="17583"/>
                      </a:cubicBezTo>
                      <a:cubicBezTo>
                        <a:pt x="10705" y="38815"/>
                        <a:pt x="18959" y="59030"/>
                        <a:pt x="27272" y="79544"/>
                      </a:cubicBezTo>
                      <a:cubicBezTo>
                        <a:pt x="35107" y="76374"/>
                        <a:pt x="42583" y="73324"/>
                        <a:pt x="50537" y="70094"/>
                      </a:cubicBezTo>
                      <a:cubicBezTo>
                        <a:pt x="42643" y="50657"/>
                        <a:pt x="34868" y="31578"/>
                        <a:pt x="27152" y="12560"/>
                      </a:cubicBezTo>
                      <a:cubicBezTo>
                        <a:pt x="27512" y="12440"/>
                        <a:pt x="27870" y="12260"/>
                        <a:pt x="28169" y="12141"/>
                      </a:cubicBezTo>
                      <a:cubicBezTo>
                        <a:pt x="36004" y="31399"/>
                        <a:pt x="43839" y="50597"/>
                        <a:pt x="51793" y="70214"/>
                      </a:cubicBezTo>
                      <a:cubicBezTo>
                        <a:pt x="53886" y="69197"/>
                        <a:pt x="55441" y="68479"/>
                        <a:pt x="57535" y="67463"/>
                      </a:cubicBezTo>
                      <a:cubicBezTo>
                        <a:pt x="51793" y="53408"/>
                        <a:pt x="46291" y="39832"/>
                        <a:pt x="40729" y="26196"/>
                      </a:cubicBezTo>
                      <a:cubicBezTo>
                        <a:pt x="41088" y="26076"/>
                        <a:pt x="41506" y="25897"/>
                        <a:pt x="41865" y="25777"/>
                      </a:cubicBezTo>
                      <a:cubicBezTo>
                        <a:pt x="47487" y="39592"/>
                        <a:pt x="53109" y="53408"/>
                        <a:pt x="58671" y="67104"/>
                      </a:cubicBezTo>
                      <a:cubicBezTo>
                        <a:pt x="61960" y="65788"/>
                        <a:pt x="64711" y="64652"/>
                        <a:pt x="68240" y="63216"/>
                      </a:cubicBezTo>
                      <a:cubicBezTo>
                        <a:pt x="62618" y="49102"/>
                        <a:pt x="57056" y="35526"/>
                        <a:pt x="51554" y="2194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63" name="Vrije vorm: vorm 9362">
                  <a:extLst>
                    <a:ext uri="{FF2B5EF4-FFF2-40B4-BE49-F238E27FC236}">
                      <a16:creationId xmlns:a16="http://schemas.microsoft.com/office/drawing/2014/main" id="{04A8FBCA-CD13-44C7-91EA-C2F9539E1981}"/>
                    </a:ext>
                  </a:extLst>
                </p:cNvPr>
                <p:cNvSpPr/>
                <p:nvPr/>
              </p:nvSpPr>
              <p:spPr>
                <a:xfrm>
                  <a:off x="5030105" y="1244987"/>
                  <a:ext cx="76971" cy="81158"/>
                </a:xfrm>
                <a:custGeom>
                  <a:avLst/>
                  <a:gdLst>
                    <a:gd name="connsiteX0" fmla="*/ 76972 w 76971"/>
                    <a:gd name="connsiteY0" fmla="*/ 65429 h 81158"/>
                    <a:gd name="connsiteX1" fmla="*/ 27093 w 76971"/>
                    <a:gd name="connsiteY1" fmla="*/ 81158 h 81158"/>
                    <a:gd name="connsiteX2" fmla="*/ 0 w 76971"/>
                    <a:gd name="connsiteY2" fmla="*/ 14593 h 81158"/>
                    <a:gd name="connsiteX3" fmla="*/ 50358 w 76971"/>
                    <a:gd name="connsiteY3" fmla="*/ 0 h 81158"/>
                    <a:gd name="connsiteX4" fmla="*/ 76972 w 76971"/>
                    <a:gd name="connsiteY4" fmla="*/ 65429 h 81158"/>
                    <a:gd name="connsiteX5" fmla="*/ 31997 w 76971"/>
                    <a:gd name="connsiteY5" fmla="*/ 11005 h 81158"/>
                    <a:gd name="connsiteX6" fmla="*/ 32954 w 76971"/>
                    <a:gd name="connsiteY6" fmla="*/ 10646 h 81158"/>
                    <a:gd name="connsiteX7" fmla="*/ 43600 w 76971"/>
                    <a:gd name="connsiteY7" fmla="*/ 36901 h 81158"/>
                    <a:gd name="connsiteX8" fmla="*/ 14354 w 76971"/>
                    <a:gd name="connsiteY8" fmla="*/ 45693 h 81158"/>
                    <a:gd name="connsiteX9" fmla="*/ 19497 w 76971"/>
                    <a:gd name="connsiteY9" fmla="*/ 58312 h 81158"/>
                    <a:gd name="connsiteX10" fmla="*/ 49162 w 76971"/>
                    <a:gd name="connsiteY10" fmla="*/ 49341 h 81158"/>
                    <a:gd name="connsiteX11" fmla="*/ 49521 w 76971"/>
                    <a:gd name="connsiteY11" fmla="*/ 50417 h 81158"/>
                    <a:gd name="connsiteX12" fmla="*/ 20036 w 76971"/>
                    <a:gd name="connsiteY12" fmla="*/ 59867 h 81158"/>
                    <a:gd name="connsiteX13" fmla="*/ 28050 w 76971"/>
                    <a:gd name="connsiteY13" fmla="*/ 79544 h 81158"/>
                    <a:gd name="connsiteX14" fmla="*/ 64472 w 76971"/>
                    <a:gd name="connsiteY14" fmla="*/ 67881 h 81158"/>
                    <a:gd name="connsiteX15" fmla="*/ 56697 w 76971"/>
                    <a:gd name="connsiteY15" fmla="*/ 48803 h 81158"/>
                    <a:gd name="connsiteX16" fmla="*/ 57654 w 76971"/>
                    <a:gd name="connsiteY16" fmla="*/ 48444 h 81158"/>
                    <a:gd name="connsiteX17" fmla="*/ 65489 w 76971"/>
                    <a:gd name="connsiteY17" fmla="*/ 67642 h 81158"/>
                    <a:gd name="connsiteX18" fmla="*/ 75238 w 76971"/>
                    <a:gd name="connsiteY18" fmla="*/ 64353 h 81158"/>
                    <a:gd name="connsiteX19" fmla="*/ 50896 w 76971"/>
                    <a:gd name="connsiteY19" fmla="*/ 4964 h 81158"/>
                    <a:gd name="connsiteX20" fmla="*/ 45753 w 76971"/>
                    <a:gd name="connsiteY20" fmla="*/ 2811 h 81158"/>
                    <a:gd name="connsiteX21" fmla="*/ 24222 w 76971"/>
                    <a:gd name="connsiteY21" fmla="*/ 8911 h 81158"/>
                    <a:gd name="connsiteX22" fmla="*/ 2273 w 76971"/>
                    <a:gd name="connsiteY22" fmla="*/ 15670 h 81158"/>
                    <a:gd name="connsiteX23" fmla="*/ 13995 w 76971"/>
                    <a:gd name="connsiteY23" fmla="*/ 44437 h 81158"/>
                    <a:gd name="connsiteX24" fmla="*/ 42224 w 76971"/>
                    <a:gd name="connsiteY24" fmla="*/ 35944 h 81158"/>
                    <a:gd name="connsiteX25" fmla="*/ 31997 w 76971"/>
                    <a:gd name="connsiteY25" fmla="*/ 11005 h 8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6971" h="81158">
                      <a:moveTo>
                        <a:pt x="76972" y="65429"/>
                      </a:moveTo>
                      <a:cubicBezTo>
                        <a:pt x="60166" y="70752"/>
                        <a:pt x="43779" y="75895"/>
                        <a:pt x="27093" y="81158"/>
                      </a:cubicBezTo>
                      <a:cubicBezTo>
                        <a:pt x="18182" y="59209"/>
                        <a:pt x="9091" y="36961"/>
                        <a:pt x="0" y="14593"/>
                      </a:cubicBezTo>
                      <a:cubicBezTo>
                        <a:pt x="16627" y="9808"/>
                        <a:pt x="33313" y="4964"/>
                        <a:pt x="50358" y="0"/>
                      </a:cubicBezTo>
                      <a:cubicBezTo>
                        <a:pt x="59149" y="21590"/>
                        <a:pt x="68001" y="43420"/>
                        <a:pt x="76972" y="65429"/>
                      </a:cubicBezTo>
                      <a:close/>
                      <a:moveTo>
                        <a:pt x="31997" y="11005"/>
                      </a:moveTo>
                      <a:cubicBezTo>
                        <a:pt x="32296" y="10885"/>
                        <a:pt x="32595" y="10765"/>
                        <a:pt x="32954" y="10646"/>
                      </a:cubicBezTo>
                      <a:cubicBezTo>
                        <a:pt x="36542" y="19497"/>
                        <a:pt x="40131" y="28349"/>
                        <a:pt x="43600" y="36901"/>
                      </a:cubicBezTo>
                      <a:cubicBezTo>
                        <a:pt x="33851" y="39832"/>
                        <a:pt x="24222" y="42762"/>
                        <a:pt x="14354" y="45693"/>
                      </a:cubicBezTo>
                      <a:cubicBezTo>
                        <a:pt x="16208" y="50238"/>
                        <a:pt x="17763" y="54066"/>
                        <a:pt x="19497" y="58312"/>
                      </a:cubicBezTo>
                      <a:cubicBezTo>
                        <a:pt x="29605" y="55262"/>
                        <a:pt x="39353" y="52272"/>
                        <a:pt x="49162" y="49341"/>
                      </a:cubicBezTo>
                      <a:cubicBezTo>
                        <a:pt x="49281" y="49700"/>
                        <a:pt x="49401" y="50059"/>
                        <a:pt x="49521" y="50417"/>
                      </a:cubicBezTo>
                      <a:cubicBezTo>
                        <a:pt x="39772" y="53527"/>
                        <a:pt x="30083" y="56637"/>
                        <a:pt x="20036" y="59867"/>
                      </a:cubicBezTo>
                      <a:cubicBezTo>
                        <a:pt x="22846" y="66745"/>
                        <a:pt x="25359" y="72905"/>
                        <a:pt x="28050" y="79544"/>
                      </a:cubicBezTo>
                      <a:cubicBezTo>
                        <a:pt x="40131" y="75656"/>
                        <a:pt x="51972" y="71888"/>
                        <a:pt x="64472" y="67881"/>
                      </a:cubicBezTo>
                      <a:cubicBezTo>
                        <a:pt x="61661" y="61003"/>
                        <a:pt x="59209" y="54903"/>
                        <a:pt x="56697" y="48803"/>
                      </a:cubicBezTo>
                      <a:cubicBezTo>
                        <a:pt x="56996" y="48683"/>
                        <a:pt x="57355" y="48563"/>
                        <a:pt x="57654" y="48444"/>
                      </a:cubicBezTo>
                      <a:cubicBezTo>
                        <a:pt x="60166" y="54604"/>
                        <a:pt x="62678" y="60764"/>
                        <a:pt x="65489" y="67642"/>
                      </a:cubicBezTo>
                      <a:cubicBezTo>
                        <a:pt x="68719" y="66565"/>
                        <a:pt x="71649" y="65549"/>
                        <a:pt x="75238" y="64353"/>
                      </a:cubicBezTo>
                      <a:cubicBezTo>
                        <a:pt x="66924" y="43958"/>
                        <a:pt x="59090" y="24401"/>
                        <a:pt x="50896" y="4964"/>
                      </a:cubicBezTo>
                      <a:cubicBezTo>
                        <a:pt x="50358" y="3708"/>
                        <a:pt x="47248" y="2452"/>
                        <a:pt x="45753" y="2811"/>
                      </a:cubicBezTo>
                      <a:cubicBezTo>
                        <a:pt x="38516" y="4545"/>
                        <a:pt x="31339" y="6758"/>
                        <a:pt x="24222" y="8911"/>
                      </a:cubicBezTo>
                      <a:cubicBezTo>
                        <a:pt x="16985" y="11064"/>
                        <a:pt x="9749" y="13337"/>
                        <a:pt x="2273" y="15670"/>
                      </a:cubicBezTo>
                      <a:cubicBezTo>
                        <a:pt x="6340" y="25598"/>
                        <a:pt x="10107" y="34868"/>
                        <a:pt x="13995" y="44437"/>
                      </a:cubicBezTo>
                      <a:cubicBezTo>
                        <a:pt x="23445" y="41566"/>
                        <a:pt x="32595" y="38815"/>
                        <a:pt x="42224" y="35944"/>
                      </a:cubicBezTo>
                      <a:cubicBezTo>
                        <a:pt x="38516" y="26913"/>
                        <a:pt x="35227" y="18959"/>
                        <a:pt x="31997" y="1100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64" name="Vrije vorm: vorm 9363">
                  <a:extLst>
                    <a:ext uri="{FF2B5EF4-FFF2-40B4-BE49-F238E27FC236}">
                      <a16:creationId xmlns:a16="http://schemas.microsoft.com/office/drawing/2014/main" id="{08EE4E9C-2515-4658-8980-2EB392CB92EE}"/>
                    </a:ext>
                  </a:extLst>
                </p:cNvPr>
                <p:cNvSpPr/>
                <p:nvPr/>
              </p:nvSpPr>
              <p:spPr>
                <a:xfrm>
                  <a:off x="5152232" y="1209103"/>
                  <a:ext cx="71947" cy="77211"/>
                </a:xfrm>
                <a:custGeom>
                  <a:avLst/>
                  <a:gdLst>
                    <a:gd name="connsiteX0" fmla="*/ 71948 w 71947"/>
                    <a:gd name="connsiteY0" fmla="*/ 62678 h 77211"/>
                    <a:gd name="connsiteX1" fmla="*/ 25896 w 71947"/>
                    <a:gd name="connsiteY1" fmla="*/ 77211 h 77211"/>
                    <a:gd name="connsiteX2" fmla="*/ 0 w 71947"/>
                    <a:gd name="connsiteY2" fmla="*/ 13516 h 77211"/>
                    <a:gd name="connsiteX3" fmla="*/ 46470 w 71947"/>
                    <a:gd name="connsiteY3" fmla="*/ 0 h 77211"/>
                    <a:gd name="connsiteX4" fmla="*/ 71948 w 71947"/>
                    <a:gd name="connsiteY4" fmla="*/ 62678 h 77211"/>
                    <a:gd name="connsiteX5" fmla="*/ 48085 w 71947"/>
                    <a:gd name="connsiteY5" fmla="*/ 8194 h 77211"/>
                    <a:gd name="connsiteX6" fmla="*/ 18540 w 71947"/>
                    <a:gd name="connsiteY6" fmla="*/ 27452 h 77211"/>
                    <a:gd name="connsiteX7" fmla="*/ 44317 w 71947"/>
                    <a:gd name="connsiteY7" fmla="*/ 9031 h 77211"/>
                    <a:gd name="connsiteX8" fmla="*/ 44975 w 71947"/>
                    <a:gd name="connsiteY8" fmla="*/ 1854 h 77211"/>
                    <a:gd name="connsiteX9" fmla="*/ 2153 w 71947"/>
                    <a:gd name="connsiteY9" fmla="*/ 14234 h 77211"/>
                    <a:gd name="connsiteX10" fmla="*/ 26973 w 71947"/>
                    <a:gd name="connsiteY10" fmla="*/ 75178 h 77211"/>
                    <a:gd name="connsiteX11" fmla="*/ 35705 w 71947"/>
                    <a:gd name="connsiteY11" fmla="*/ 72606 h 77211"/>
                    <a:gd name="connsiteX12" fmla="*/ 22727 w 71947"/>
                    <a:gd name="connsiteY12" fmla="*/ 40669 h 77211"/>
                    <a:gd name="connsiteX13" fmla="*/ 53288 w 71947"/>
                    <a:gd name="connsiteY13" fmla="*/ 20873 h 77211"/>
                    <a:gd name="connsiteX14" fmla="*/ 48085 w 71947"/>
                    <a:gd name="connsiteY14" fmla="*/ 8194 h 77211"/>
                    <a:gd name="connsiteX15" fmla="*/ 25478 w 71947"/>
                    <a:gd name="connsiteY15" fmla="*/ 40549 h 77211"/>
                    <a:gd name="connsiteX16" fmla="*/ 25597 w 71947"/>
                    <a:gd name="connsiteY16" fmla="*/ 42463 h 77211"/>
                    <a:gd name="connsiteX17" fmla="*/ 32236 w 71947"/>
                    <a:gd name="connsiteY17" fmla="*/ 59508 h 77211"/>
                    <a:gd name="connsiteX18" fmla="*/ 48264 w 71947"/>
                    <a:gd name="connsiteY18" fmla="*/ 68778 h 77211"/>
                    <a:gd name="connsiteX19" fmla="*/ 69735 w 71947"/>
                    <a:gd name="connsiteY19" fmla="*/ 61901 h 77211"/>
                    <a:gd name="connsiteX20" fmla="*/ 53707 w 71947"/>
                    <a:gd name="connsiteY20" fmla="*/ 22488 h 77211"/>
                    <a:gd name="connsiteX21" fmla="*/ 25478 w 71947"/>
                    <a:gd name="connsiteY21" fmla="*/ 40549 h 7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947" h="77211">
                      <a:moveTo>
                        <a:pt x="71948" y="62678"/>
                      </a:moveTo>
                      <a:cubicBezTo>
                        <a:pt x="56278" y="67642"/>
                        <a:pt x="41267" y="72367"/>
                        <a:pt x="25896" y="77211"/>
                      </a:cubicBezTo>
                      <a:cubicBezTo>
                        <a:pt x="17404" y="56279"/>
                        <a:pt x="8732" y="34987"/>
                        <a:pt x="0" y="13516"/>
                      </a:cubicBezTo>
                      <a:cubicBezTo>
                        <a:pt x="15669" y="8971"/>
                        <a:pt x="31040" y="4486"/>
                        <a:pt x="46470" y="0"/>
                      </a:cubicBezTo>
                      <a:cubicBezTo>
                        <a:pt x="54903" y="20813"/>
                        <a:pt x="63396" y="41626"/>
                        <a:pt x="71948" y="62678"/>
                      </a:cubicBezTo>
                      <a:close/>
                      <a:moveTo>
                        <a:pt x="48085" y="8194"/>
                      </a:moveTo>
                      <a:cubicBezTo>
                        <a:pt x="37858" y="14892"/>
                        <a:pt x="28169" y="21172"/>
                        <a:pt x="18540" y="27452"/>
                      </a:cubicBezTo>
                      <a:cubicBezTo>
                        <a:pt x="26734" y="20634"/>
                        <a:pt x="35466" y="14772"/>
                        <a:pt x="44317" y="9031"/>
                      </a:cubicBezTo>
                      <a:cubicBezTo>
                        <a:pt x="47128" y="7237"/>
                        <a:pt x="48324" y="5383"/>
                        <a:pt x="44975" y="1854"/>
                      </a:cubicBezTo>
                      <a:cubicBezTo>
                        <a:pt x="30980" y="5921"/>
                        <a:pt x="16925" y="9988"/>
                        <a:pt x="2153" y="14234"/>
                      </a:cubicBezTo>
                      <a:cubicBezTo>
                        <a:pt x="10526" y="34808"/>
                        <a:pt x="18660" y="54843"/>
                        <a:pt x="26973" y="75178"/>
                      </a:cubicBezTo>
                      <a:cubicBezTo>
                        <a:pt x="29664" y="74400"/>
                        <a:pt x="32415" y="73563"/>
                        <a:pt x="35705" y="72606"/>
                      </a:cubicBezTo>
                      <a:cubicBezTo>
                        <a:pt x="31219" y="61601"/>
                        <a:pt x="26913" y="51016"/>
                        <a:pt x="22727" y="40669"/>
                      </a:cubicBezTo>
                      <a:cubicBezTo>
                        <a:pt x="33253" y="33851"/>
                        <a:pt x="43241" y="27392"/>
                        <a:pt x="53288" y="20873"/>
                      </a:cubicBezTo>
                      <a:cubicBezTo>
                        <a:pt x="51494" y="16507"/>
                        <a:pt x="49999" y="12799"/>
                        <a:pt x="48085" y="8194"/>
                      </a:cubicBezTo>
                      <a:close/>
                      <a:moveTo>
                        <a:pt x="25478" y="40549"/>
                      </a:moveTo>
                      <a:cubicBezTo>
                        <a:pt x="25537" y="41686"/>
                        <a:pt x="25478" y="42104"/>
                        <a:pt x="25597" y="42463"/>
                      </a:cubicBezTo>
                      <a:cubicBezTo>
                        <a:pt x="27810" y="48145"/>
                        <a:pt x="29963" y="53826"/>
                        <a:pt x="32236" y="59508"/>
                      </a:cubicBezTo>
                      <a:cubicBezTo>
                        <a:pt x="37021" y="71709"/>
                        <a:pt x="37080" y="71828"/>
                        <a:pt x="48264" y="68778"/>
                      </a:cubicBezTo>
                      <a:cubicBezTo>
                        <a:pt x="55382" y="66805"/>
                        <a:pt x="62319" y="64293"/>
                        <a:pt x="69735" y="61901"/>
                      </a:cubicBezTo>
                      <a:cubicBezTo>
                        <a:pt x="64233" y="48444"/>
                        <a:pt x="59090" y="35705"/>
                        <a:pt x="53707" y="22488"/>
                      </a:cubicBezTo>
                      <a:cubicBezTo>
                        <a:pt x="44138" y="28588"/>
                        <a:pt x="34867" y="34569"/>
                        <a:pt x="25478" y="4054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65" name="Vrije vorm: vorm 9364">
                  <a:extLst>
                    <a:ext uri="{FF2B5EF4-FFF2-40B4-BE49-F238E27FC236}">
                      <a16:creationId xmlns:a16="http://schemas.microsoft.com/office/drawing/2014/main" id="{734DACCD-47E0-46C3-A53F-3B5E491FFA25}"/>
                    </a:ext>
                  </a:extLst>
                </p:cNvPr>
                <p:cNvSpPr/>
                <p:nvPr/>
              </p:nvSpPr>
              <p:spPr>
                <a:xfrm>
                  <a:off x="4782564" y="1925713"/>
                  <a:ext cx="71230" cy="65249"/>
                </a:xfrm>
                <a:custGeom>
                  <a:avLst/>
                  <a:gdLst>
                    <a:gd name="connsiteX0" fmla="*/ 7356 w 71230"/>
                    <a:gd name="connsiteY0" fmla="*/ 3947 h 65249"/>
                    <a:gd name="connsiteX1" fmla="*/ 45393 w 71230"/>
                    <a:gd name="connsiteY1" fmla="*/ 0 h 65249"/>
                    <a:gd name="connsiteX2" fmla="*/ 71230 w 71230"/>
                    <a:gd name="connsiteY2" fmla="*/ 63515 h 65249"/>
                    <a:gd name="connsiteX3" fmla="*/ 70393 w 71230"/>
                    <a:gd name="connsiteY3" fmla="*/ 63874 h 65249"/>
                    <a:gd name="connsiteX4" fmla="*/ 62439 w 71230"/>
                    <a:gd name="connsiteY4" fmla="*/ 44377 h 65249"/>
                    <a:gd name="connsiteX5" fmla="*/ 47427 w 71230"/>
                    <a:gd name="connsiteY5" fmla="*/ 8433 h 65249"/>
                    <a:gd name="connsiteX6" fmla="*/ 36363 w 71230"/>
                    <a:gd name="connsiteY6" fmla="*/ 3050 h 65249"/>
                    <a:gd name="connsiteX7" fmla="*/ 47188 w 71230"/>
                    <a:gd name="connsiteY7" fmla="*/ 29724 h 65249"/>
                    <a:gd name="connsiteX8" fmla="*/ 46231 w 71230"/>
                    <a:gd name="connsiteY8" fmla="*/ 30143 h 65249"/>
                    <a:gd name="connsiteX9" fmla="*/ 35047 w 71230"/>
                    <a:gd name="connsiteY9" fmla="*/ 2632 h 65249"/>
                    <a:gd name="connsiteX10" fmla="*/ 28528 w 71230"/>
                    <a:gd name="connsiteY10" fmla="*/ 3110 h 65249"/>
                    <a:gd name="connsiteX11" fmla="*/ 40908 w 71230"/>
                    <a:gd name="connsiteY11" fmla="*/ 33612 h 65249"/>
                    <a:gd name="connsiteX12" fmla="*/ 36662 w 71230"/>
                    <a:gd name="connsiteY12" fmla="*/ 35825 h 65249"/>
                    <a:gd name="connsiteX13" fmla="*/ 46949 w 71230"/>
                    <a:gd name="connsiteY13" fmla="*/ 60704 h 65249"/>
                    <a:gd name="connsiteX14" fmla="*/ 52152 w 71230"/>
                    <a:gd name="connsiteY14" fmla="*/ 64353 h 65249"/>
                    <a:gd name="connsiteX15" fmla="*/ 47188 w 71230"/>
                    <a:gd name="connsiteY15" fmla="*/ 65250 h 65249"/>
                    <a:gd name="connsiteX16" fmla="*/ 35526 w 71230"/>
                    <a:gd name="connsiteY16" fmla="*/ 36662 h 65249"/>
                    <a:gd name="connsiteX17" fmla="*/ 34329 w 71230"/>
                    <a:gd name="connsiteY17" fmla="*/ 37080 h 65249"/>
                    <a:gd name="connsiteX18" fmla="*/ 44915 w 71230"/>
                    <a:gd name="connsiteY18" fmla="*/ 63097 h 65249"/>
                    <a:gd name="connsiteX19" fmla="*/ 43480 w 71230"/>
                    <a:gd name="connsiteY19" fmla="*/ 63695 h 65249"/>
                    <a:gd name="connsiteX20" fmla="*/ 32834 w 71230"/>
                    <a:gd name="connsiteY20" fmla="*/ 37499 h 65249"/>
                    <a:gd name="connsiteX21" fmla="*/ 16028 w 71230"/>
                    <a:gd name="connsiteY21" fmla="*/ 45753 h 65249"/>
                    <a:gd name="connsiteX22" fmla="*/ 23743 w 71230"/>
                    <a:gd name="connsiteY22" fmla="*/ 64652 h 65249"/>
                    <a:gd name="connsiteX23" fmla="*/ 22787 w 71230"/>
                    <a:gd name="connsiteY23" fmla="*/ 65130 h 65249"/>
                    <a:gd name="connsiteX24" fmla="*/ 0 w 71230"/>
                    <a:gd name="connsiteY24" fmla="*/ 9150 h 65249"/>
                    <a:gd name="connsiteX25" fmla="*/ 119 w 71230"/>
                    <a:gd name="connsiteY25" fmla="*/ 9031 h 65249"/>
                    <a:gd name="connsiteX26" fmla="*/ 14712 w 71230"/>
                    <a:gd name="connsiteY26" fmla="*/ 44915 h 65249"/>
                    <a:gd name="connsiteX27" fmla="*/ 31997 w 71230"/>
                    <a:gd name="connsiteY27" fmla="*/ 36243 h 65249"/>
                    <a:gd name="connsiteX28" fmla="*/ 19676 w 71230"/>
                    <a:gd name="connsiteY28" fmla="*/ 6340 h 65249"/>
                    <a:gd name="connsiteX29" fmla="*/ 15669 w 71230"/>
                    <a:gd name="connsiteY29" fmla="*/ 4306 h 65249"/>
                    <a:gd name="connsiteX30" fmla="*/ 7356 w 71230"/>
                    <a:gd name="connsiteY30" fmla="*/ 3768 h 65249"/>
                    <a:gd name="connsiteX31" fmla="*/ 7356 w 71230"/>
                    <a:gd name="connsiteY31" fmla="*/ 3947 h 65249"/>
                    <a:gd name="connsiteX32" fmla="*/ 36064 w 71230"/>
                    <a:gd name="connsiteY32" fmla="*/ 33851 h 65249"/>
                    <a:gd name="connsiteX33" fmla="*/ 38456 w 71230"/>
                    <a:gd name="connsiteY33" fmla="*/ 33193 h 65249"/>
                    <a:gd name="connsiteX34" fmla="*/ 27631 w 71230"/>
                    <a:gd name="connsiteY34" fmla="*/ 5143 h 65249"/>
                    <a:gd name="connsiteX35" fmla="*/ 23384 w 71230"/>
                    <a:gd name="connsiteY35" fmla="*/ 2632 h 65249"/>
                    <a:gd name="connsiteX36" fmla="*/ 36064 w 71230"/>
                    <a:gd name="connsiteY36" fmla="*/ 33851 h 65249"/>
                    <a:gd name="connsiteX37" fmla="*/ 21770 w 71230"/>
                    <a:gd name="connsiteY37" fmla="*/ 4186 h 65249"/>
                    <a:gd name="connsiteX38" fmla="*/ 21052 w 71230"/>
                    <a:gd name="connsiteY38" fmla="*/ 4545 h 65249"/>
                    <a:gd name="connsiteX39" fmla="*/ 33432 w 71230"/>
                    <a:gd name="connsiteY39" fmla="*/ 34987 h 65249"/>
                    <a:gd name="connsiteX40" fmla="*/ 34150 w 71230"/>
                    <a:gd name="connsiteY40" fmla="*/ 34628 h 65249"/>
                    <a:gd name="connsiteX41" fmla="*/ 21770 w 71230"/>
                    <a:gd name="connsiteY41" fmla="*/ 4186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230" h="65249">
                      <a:moveTo>
                        <a:pt x="7356" y="3947"/>
                      </a:moveTo>
                      <a:cubicBezTo>
                        <a:pt x="19975" y="2632"/>
                        <a:pt x="32535" y="1316"/>
                        <a:pt x="45393" y="0"/>
                      </a:cubicBezTo>
                      <a:cubicBezTo>
                        <a:pt x="54006" y="21232"/>
                        <a:pt x="62618" y="42403"/>
                        <a:pt x="71230" y="63515"/>
                      </a:cubicBezTo>
                      <a:cubicBezTo>
                        <a:pt x="70931" y="63635"/>
                        <a:pt x="70692" y="63755"/>
                        <a:pt x="70393" y="63874"/>
                      </a:cubicBezTo>
                      <a:cubicBezTo>
                        <a:pt x="67761" y="57355"/>
                        <a:pt x="65190" y="50896"/>
                        <a:pt x="62439" y="44377"/>
                      </a:cubicBezTo>
                      <a:cubicBezTo>
                        <a:pt x="57415" y="32415"/>
                        <a:pt x="51972" y="20574"/>
                        <a:pt x="47427" y="8433"/>
                      </a:cubicBezTo>
                      <a:cubicBezTo>
                        <a:pt x="45095" y="2153"/>
                        <a:pt x="42044" y="538"/>
                        <a:pt x="36363" y="3050"/>
                      </a:cubicBezTo>
                      <a:cubicBezTo>
                        <a:pt x="39951" y="11902"/>
                        <a:pt x="43599" y="20813"/>
                        <a:pt x="47188" y="29724"/>
                      </a:cubicBezTo>
                      <a:cubicBezTo>
                        <a:pt x="46889" y="29844"/>
                        <a:pt x="46530" y="29963"/>
                        <a:pt x="46231" y="30143"/>
                      </a:cubicBezTo>
                      <a:cubicBezTo>
                        <a:pt x="42523" y="21052"/>
                        <a:pt x="38815" y="11902"/>
                        <a:pt x="35047" y="2632"/>
                      </a:cubicBezTo>
                      <a:cubicBezTo>
                        <a:pt x="32714" y="2811"/>
                        <a:pt x="30741" y="2990"/>
                        <a:pt x="28528" y="3110"/>
                      </a:cubicBezTo>
                      <a:cubicBezTo>
                        <a:pt x="32774" y="13576"/>
                        <a:pt x="36781" y="23444"/>
                        <a:pt x="40908" y="33612"/>
                      </a:cubicBezTo>
                      <a:cubicBezTo>
                        <a:pt x="39712" y="34210"/>
                        <a:pt x="38396" y="34927"/>
                        <a:pt x="36662" y="35825"/>
                      </a:cubicBezTo>
                      <a:cubicBezTo>
                        <a:pt x="40130" y="44317"/>
                        <a:pt x="43241" y="52630"/>
                        <a:pt x="46949" y="60704"/>
                      </a:cubicBezTo>
                      <a:cubicBezTo>
                        <a:pt x="47786" y="62499"/>
                        <a:pt x="50597" y="63276"/>
                        <a:pt x="52152" y="64353"/>
                      </a:cubicBezTo>
                      <a:cubicBezTo>
                        <a:pt x="51195" y="64532"/>
                        <a:pt x="49341" y="64891"/>
                        <a:pt x="47188" y="65250"/>
                      </a:cubicBezTo>
                      <a:cubicBezTo>
                        <a:pt x="43300" y="55621"/>
                        <a:pt x="39413" y="46171"/>
                        <a:pt x="35526" y="36662"/>
                      </a:cubicBezTo>
                      <a:cubicBezTo>
                        <a:pt x="35107" y="36781"/>
                        <a:pt x="34688" y="36901"/>
                        <a:pt x="34329" y="37080"/>
                      </a:cubicBezTo>
                      <a:cubicBezTo>
                        <a:pt x="37858" y="45753"/>
                        <a:pt x="41386" y="54425"/>
                        <a:pt x="44915" y="63097"/>
                      </a:cubicBezTo>
                      <a:cubicBezTo>
                        <a:pt x="44437" y="63276"/>
                        <a:pt x="43958" y="63515"/>
                        <a:pt x="43480" y="63695"/>
                      </a:cubicBezTo>
                      <a:cubicBezTo>
                        <a:pt x="40011" y="55142"/>
                        <a:pt x="36542" y="46650"/>
                        <a:pt x="32834" y="37499"/>
                      </a:cubicBezTo>
                      <a:cubicBezTo>
                        <a:pt x="26913" y="40370"/>
                        <a:pt x="21650" y="43001"/>
                        <a:pt x="16028" y="45753"/>
                      </a:cubicBezTo>
                      <a:cubicBezTo>
                        <a:pt x="18660" y="52272"/>
                        <a:pt x="21231" y="58491"/>
                        <a:pt x="23743" y="64652"/>
                      </a:cubicBezTo>
                      <a:cubicBezTo>
                        <a:pt x="23444" y="64831"/>
                        <a:pt x="23086" y="64951"/>
                        <a:pt x="22787" y="65130"/>
                      </a:cubicBezTo>
                      <a:cubicBezTo>
                        <a:pt x="15191" y="46470"/>
                        <a:pt x="7595" y="27810"/>
                        <a:pt x="0" y="9150"/>
                      </a:cubicBezTo>
                      <a:cubicBezTo>
                        <a:pt x="60" y="9091"/>
                        <a:pt x="60" y="9091"/>
                        <a:pt x="119" y="9031"/>
                      </a:cubicBezTo>
                      <a:cubicBezTo>
                        <a:pt x="4904" y="20753"/>
                        <a:pt x="9629" y="32415"/>
                        <a:pt x="14712" y="44915"/>
                      </a:cubicBezTo>
                      <a:cubicBezTo>
                        <a:pt x="20933" y="41805"/>
                        <a:pt x="26196" y="39174"/>
                        <a:pt x="31997" y="36243"/>
                      </a:cubicBezTo>
                      <a:cubicBezTo>
                        <a:pt x="27870" y="26136"/>
                        <a:pt x="23923" y="16148"/>
                        <a:pt x="19676" y="6340"/>
                      </a:cubicBezTo>
                      <a:cubicBezTo>
                        <a:pt x="19198" y="5263"/>
                        <a:pt x="17105" y="4545"/>
                        <a:pt x="15669" y="4306"/>
                      </a:cubicBezTo>
                      <a:cubicBezTo>
                        <a:pt x="12918" y="3888"/>
                        <a:pt x="10107" y="3888"/>
                        <a:pt x="7356" y="3768"/>
                      </a:cubicBezTo>
                      <a:cubicBezTo>
                        <a:pt x="7356" y="3828"/>
                        <a:pt x="7356" y="3947"/>
                        <a:pt x="7356" y="3947"/>
                      </a:cubicBezTo>
                      <a:close/>
                      <a:moveTo>
                        <a:pt x="36064" y="33851"/>
                      </a:moveTo>
                      <a:cubicBezTo>
                        <a:pt x="36841" y="33612"/>
                        <a:pt x="37678" y="33432"/>
                        <a:pt x="38456" y="33193"/>
                      </a:cubicBezTo>
                      <a:cubicBezTo>
                        <a:pt x="36303" y="23385"/>
                        <a:pt x="31219" y="14473"/>
                        <a:pt x="27631" y="5143"/>
                      </a:cubicBezTo>
                      <a:cubicBezTo>
                        <a:pt x="27272" y="4246"/>
                        <a:pt x="25597" y="3888"/>
                        <a:pt x="23384" y="2632"/>
                      </a:cubicBezTo>
                      <a:cubicBezTo>
                        <a:pt x="27990" y="14115"/>
                        <a:pt x="32057" y="23983"/>
                        <a:pt x="36064" y="33851"/>
                      </a:cubicBezTo>
                      <a:close/>
                      <a:moveTo>
                        <a:pt x="21770" y="4186"/>
                      </a:moveTo>
                      <a:cubicBezTo>
                        <a:pt x="21530" y="4306"/>
                        <a:pt x="21291" y="4426"/>
                        <a:pt x="21052" y="4545"/>
                      </a:cubicBezTo>
                      <a:cubicBezTo>
                        <a:pt x="25179" y="14713"/>
                        <a:pt x="29305" y="24820"/>
                        <a:pt x="33432" y="34987"/>
                      </a:cubicBezTo>
                      <a:cubicBezTo>
                        <a:pt x="33671" y="34868"/>
                        <a:pt x="33911" y="34748"/>
                        <a:pt x="34150" y="34628"/>
                      </a:cubicBezTo>
                      <a:cubicBezTo>
                        <a:pt x="30023" y="24461"/>
                        <a:pt x="25896" y="14354"/>
                        <a:pt x="21770" y="418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66" name="Vrije vorm: vorm 9365">
                  <a:extLst>
                    <a:ext uri="{FF2B5EF4-FFF2-40B4-BE49-F238E27FC236}">
                      <a16:creationId xmlns:a16="http://schemas.microsoft.com/office/drawing/2014/main" id="{D60296A2-5A8E-41FF-B186-8DE77FBEC325}"/>
                    </a:ext>
                  </a:extLst>
                </p:cNvPr>
                <p:cNvSpPr/>
                <p:nvPr/>
              </p:nvSpPr>
              <p:spPr>
                <a:xfrm>
                  <a:off x="4996494" y="1164666"/>
                  <a:ext cx="77809" cy="80022"/>
                </a:xfrm>
                <a:custGeom>
                  <a:avLst/>
                  <a:gdLst>
                    <a:gd name="connsiteX0" fmla="*/ 0 w 77809"/>
                    <a:gd name="connsiteY0" fmla="*/ 13158 h 80022"/>
                    <a:gd name="connsiteX1" fmla="*/ 51135 w 77809"/>
                    <a:gd name="connsiteY1" fmla="*/ 0 h 80022"/>
                    <a:gd name="connsiteX2" fmla="*/ 77809 w 77809"/>
                    <a:gd name="connsiteY2" fmla="*/ 65668 h 80022"/>
                    <a:gd name="connsiteX3" fmla="*/ 27153 w 77809"/>
                    <a:gd name="connsiteY3" fmla="*/ 80022 h 80022"/>
                    <a:gd name="connsiteX4" fmla="*/ 0 w 77809"/>
                    <a:gd name="connsiteY4" fmla="*/ 13158 h 80022"/>
                    <a:gd name="connsiteX5" fmla="*/ 42702 w 77809"/>
                    <a:gd name="connsiteY5" fmla="*/ 3947 h 80022"/>
                    <a:gd name="connsiteX6" fmla="*/ 58372 w 77809"/>
                    <a:gd name="connsiteY6" fmla="*/ 42463 h 80022"/>
                    <a:gd name="connsiteX7" fmla="*/ 57176 w 77809"/>
                    <a:gd name="connsiteY7" fmla="*/ 42942 h 80022"/>
                    <a:gd name="connsiteX8" fmla="*/ 41267 w 77809"/>
                    <a:gd name="connsiteY8" fmla="*/ 3887 h 80022"/>
                    <a:gd name="connsiteX9" fmla="*/ 2333 w 77809"/>
                    <a:gd name="connsiteY9" fmla="*/ 13935 h 80022"/>
                    <a:gd name="connsiteX10" fmla="*/ 17882 w 77809"/>
                    <a:gd name="connsiteY10" fmla="*/ 52152 h 80022"/>
                    <a:gd name="connsiteX11" fmla="*/ 48444 w 77809"/>
                    <a:gd name="connsiteY11" fmla="*/ 43599 h 80022"/>
                    <a:gd name="connsiteX12" fmla="*/ 34449 w 77809"/>
                    <a:gd name="connsiteY12" fmla="*/ 9210 h 80022"/>
                    <a:gd name="connsiteX13" fmla="*/ 35406 w 77809"/>
                    <a:gd name="connsiteY13" fmla="*/ 8792 h 80022"/>
                    <a:gd name="connsiteX14" fmla="*/ 50059 w 77809"/>
                    <a:gd name="connsiteY14" fmla="*/ 44736 h 80022"/>
                    <a:gd name="connsiteX15" fmla="*/ 18182 w 77809"/>
                    <a:gd name="connsiteY15" fmla="*/ 53348 h 80022"/>
                    <a:gd name="connsiteX16" fmla="*/ 24401 w 77809"/>
                    <a:gd name="connsiteY16" fmla="*/ 68659 h 80022"/>
                    <a:gd name="connsiteX17" fmla="*/ 54126 w 77809"/>
                    <a:gd name="connsiteY17" fmla="*/ 60585 h 80022"/>
                    <a:gd name="connsiteX18" fmla="*/ 54425 w 77809"/>
                    <a:gd name="connsiteY18" fmla="*/ 61601 h 80022"/>
                    <a:gd name="connsiteX19" fmla="*/ 24999 w 77809"/>
                    <a:gd name="connsiteY19" fmla="*/ 70154 h 80022"/>
                    <a:gd name="connsiteX20" fmla="*/ 28289 w 77809"/>
                    <a:gd name="connsiteY20" fmla="*/ 78228 h 80022"/>
                    <a:gd name="connsiteX21" fmla="*/ 75477 w 77809"/>
                    <a:gd name="connsiteY21" fmla="*/ 64831 h 80022"/>
                    <a:gd name="connsiteX22" fmla="*/ 49760 w 77809"/>
                    <a:gd name="connsiteY22" fmla="*/ 1555 h 80022"/>
                    <a:gd name="connsiteX23" fmla="*/ 42702 w 77809"/>
                    <a:gd name="connsiteY23" fmla="*/ 3947 h 8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7809" h="80022">
                      <a:moveTo>
                        <a:pt x="0" y="13158"/>
                      </a:moveTo>
                      <a:cubicBezTo>
                        <a:pt x="17404" y="8672"/>
                        <a:pt x="34210" y="4366"/>
                        <a:pt x="51135" y="0"/>
                      </a:cubicBezTo>
                      <a:cubicBezTo>
                        <a:pt x="59987" y="21710"/>
                        <a:pt x="68838" y="43599"/>
                        <a:pt x="77809" y="65668"/>
                      </a:cubicBezTo>
                      <a:cubicBezTo>
                        <a:pt x="60824" y="70513"/>
                        <a:pt x="44018" y="75237"/>
                        <a:pt x="27153" y="80022"/>
                      </a:cubicBezTo>
                      <a:cubicBezTo>
                        <a:pt x="18182" y="57774"/>
                        <a:pt x="9091" y="35466"/>
                        <a:pt x="0" y="13158"/>
                      </a:cubicBezTo>
                      <a:close/>
                      <a:moveTo>
                        <a:pt x="42702" y="3947"/>
                      </a:moveTo>
                      <a:cubicBezTo>
                        <a:pt x="48025" y="17045"/>
                        <a:pt x="53229" y="29784"/>
                        <a:pt x="58372" y="42463"/>
                      </a:cubicBezTo>
                      <a:cubicBezTo>
                        <a:pt x="57953" y="42643"/>
                        <a:pt x="57594" y="42822"/>
                        <a:pt x="57176" y="42942"/>
                      </a:cubicBezTo>
                      <a:cubicBezTo>
                        <a:pt x="51853" y="29904"/>
                        <a:pt x="46590" y="16925"/>
                        <a:pt x="41267" y="3887"/>
                      </a:cubicBezTo>
                      <a:cubicBezTo>
                        <a:pt x="27930" y="7296"/>
                        <a:pt x="15311" y="10586"/>
                        <a:pt x="2333" y="13935"/>
                      </a:cubicBezTo>
                      <a:cubicBezTo>
                        <a:pt x="7596" y="26913"/>
                        <a:pt x="12679" y="39353"/>
                        <a:pt x="17882" y="52152"/>
                      </a:cubicBezTo>
                      <a:cubicBezTo>
                        <a:pt x="28109" y="49281"/>
                        <a:pt x="38038" y="46530"/>
                        <a:pt x="48444" y="43599"/>
                      </a:cubicBezTo>
                      <a:cubicBezTo>
                        <a:pt x="43600" y="31638"/>
                        <a:pt x="38994" y="20454"/>
                        <a:pt x="34449" y="9210"/>
                      </a:cubicBezTo>
                      <a:cubicBezTo>
                        <a:pt x="34748" y="9091"/>
                        <a:pt x="35107" y="8911"/>
                        <a:pt x="35406" y="8792"/>
                      </a:cubicBezTo>
                      <a:cubicBezTo>
                        <a:pt x="40310" y="20813"/>
                        <a:pt x="45155" y="32834"/>
                        <a:pt x="50059" y="44736"/>
                      </a:cubicBezTo>
                      <a:cubicBezTo>
                        <a:pt x="39652" y="47547"/>
                        <a:pt x="29067" y="50417"/>
                        <a:pt x="18182" y="53348"/>
                      </a:cubicBezTo>
                      <a:cubicBezTo>
                        <a:pt x="20394" y="58791"/>
                        <a:pt x="22248" y="63396"/>
                        <a:pt x="24401" y="68659"/>
                      </a:cubicBezTo>
                      <a:cubicBezTo>
                        <a:pt x="34389" y="65967"/>
                        <a:pt x="44257" y="63276"/>
                        <a:pt x="54126" y="60585"/>
                      </a:cubicBezTo>
                      <a:cubicBezTo>
                        <a:pt x="54245" y="60944"/>
                        <a:pt x="54305" y="61243"/>
                        <a:pt x="54425" y="61601"/>
                      </a:cubicBezTo>
                      <a:cubicBezTo>
                        <a:pt x="44736" y="64412"/>
                        <a:pt x="35047" y="67223"/>
                        <a:pt x="24999" y="70154"/>
                      </a:cubicBezTo>
                      <a:cubicBezTo>
                        <a:pt x="26196" y="73144"/>
                        <a:pt x="27153" y="75477"/>
                        <a:pt x="28289" y="78228"/>
                      </a:cubicBezTo>
                      <a:cubicBezTo>
                        <a:pt x="44138" y="73742"/>
                        <a:pt x="59747" y="69317"/>
                        <a:pt x="75477" y="64831"/>
                      </a:cubicBezTo>
                      <a:cubicBezTo>
                        <a:pt x="66685" y="43241"/>
                        <a:pt x="58252" y="22488"/>
                        <a:pt x="49760" y="1555"/>
                      </a:cubicBezTo>
                      <a:cubicBezTo>
                        <a:pt x="47308" y="2392"/>
                        <a:pt x="45334" y="3110"/>
                        <a:pt x="42702" y="394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67" name="Vrije vorm: vorm 9366">
                  <a:extLst>
                    <a:ext uri="{FF2B5EF4-FFF2-40B4-BE49-F238E27FC236}">
                      <a16:creationId xmlns:a16="http://schemas.microsoft.com/office/drawing/2014/main" id="{4956C794-F486-443D-9A05-E53418EE0E6C}"/>
                    </a:ext>
                  </a:extLst>
                </p:cNvPr>
                <p:cNvSpPr/>
                <p:nvPr/>
              </p:nvSpPr>
              <p:spPr>
                <a:xfrm>
                  <a:off x="5205879" y="1195287"/>
                  <a:ext cx="69376" cy="75357"/>
                </a:xfrm>
                <a:custGeom>
                  <a:avLst/>
                  <a:gdLst>
                    <a:gd name="connsiteX0" fmla="*/ 69377 w 69376"/>
                    <a:gd name="connsiteY0" fmla="*/ 61422 h 75357"/>
                    <a:gd name="connsiteX1" fmla="*/ 25418 w 69376"/>
                    <a:gd name="connsiteY1" fmla="*/ 75357 h 75357"/>
                    <a:gd name="connsiteX2" fmla="*/ 0 w 69376"/>
                    <a:gd name="connsiteY2" fmla="*/ 12918 h 75357"/>
                    <a:gd name="connsiteX3" fmla="*/ 44377 w 69376"/>
                    <a:gd name="connsiteY3" fmla="*/ 0 h 75357"/>
                    <a:gd name="connsiteX4" fmla="*/ 69377 w 69376"/>
                    <a:gd name="connsiteY4" fmla="*/ 61422 h 75357"/>
                    <a:gd name="connsiteX5" fmla="*/ 9330 w 69376"/>
                    <a:gd name="connsiteY5" fmla="*/ 28707 h 75357"/>
                    <a:gd name="connsiteX6" fmla="*/ 26315 w 69376"/>
                    <a:gd name="connsiteY6" fmla="*/ 70094 h 75357"/>
                    <a:gd name="connsiteX7" fmla="*/ 30023 w 69376"/>
                    <a:gd name="connsiteY7" fmla="*/ 72427 h 75357"/>
                    <a:gd name="connsiteX8" fmla="*/ 62260 w 69376"/>
                    <a:gd name="connsiteY8" fmla="*/ 62259 h 75357"/>
                    <a:gd name="connsiteX9" fmla="*/ 40430 w 69376"/>
                    <a:gd name="connsiteY9" fmla="*/ 8672 h 75357"/>
                    <a:gd name="connsiteX10" fmla="*/ 9330 w 69376"/>
                    <a:gd name="connsiteY10" fmla="*/ 28707 h 75357"/>
                    <a:gd name="connsiteX11" fmla="*/ 41147 w 69376"/>
                    <a:gd name="connsiteY11" fmla="*/ 6519 h 75357"/>
                    <a:gd name="connsiteX12" fmla="*/ 62200 w 69376"/>
                    <a:gd name="connsiteY12" fmla="*/ 58073 h 75357"/>
                    <a:gd name="connsiteX13" fmla="*/ 65609 w 69376"/>
                    <a:gd name="connsiteY13" fmla="*/ 60884 h 75357"/>
                    <a:gd name="connsiteX14" fmla="*/ 65668 w 69376"/>
                    <a:gd name="connsiteY14" fmla="*/ 56817 h 75357"/>
                    <a:gd name="connsiteX15" fmla="*/ 45813 w 69376"/>
                    <a:gd name="connsiteY15" fmla="*/ 5801 h 75357"/>
                    <a:gd name="connsiteX16" fmla="*/ 39891 w 69376"/>
                    <a:gd name="connsiteY16" fmla="*/ 2632 h 75357"/>
                    <a:gd name="connsiteX17" fmla="*/ 21052 w 69376"/>
                    <a:gd name="connsiteY17" fmla="*/ 8074 h 75357"/>
                    <a:gd name="connsiteX18" fmla="*/ 2034 w 69376"/>
                    <a:gd name="connsiteY18" fmla="*/ 13995 h 75357"/>
                    <a:gd name="connsiteX19" fmla="*/ 5502 w 69376"/>
                    <a:gd name="connsiteY19" fmla="*/ 22547 h 75357"/>
                    <a:gd name="connsiteX20" fmla="*/ 12440 w 69376"/>
                    <a:gd name="connsiteY20" fmla="*/ 25119 h 75357"/>
                    <a:gd name="connsiteX21" fmla="*/ 41147 w 69376"/>
                    <a:gd name="connsiteY21" fmla="*/ 6519 h 7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376" h="75357">
                      <a:moveTo>
                        <a:pt x="69377" y="61422"/>
                      </a:moveTo>
                      <a:cubicBezTo>
                        <a:pt x="54365" y="66207"/>
                        <a:pt x="39891" y="70812"/>
                        <a:pt x="25418" y="75357"/>
                      </a:cubicBezTo>
                      <a:cubicBezTo>
                        <a:pt x="16985" y="54664"/>
                        <a:pt x="8552" y="33911"/>
                        <a:pt x="0" y="12918"/>
                      </a:cubicBezTo>
                      <a:cubicBezTo>
                        <a:pt x="14892" y="8552"/>
                        <a:pt x="29605" y="4306"/>
                        <a:pt x="44377" y="0"/>
                      </a:cubicBezTo>
                      <a:cubicBezTo>
                        <a:pt x="52630" y="20394"/>
                        <a:pt x="61063" y="41028"/>
                        <a:pt x="69377" y="61422"/>
                      </a:cubicBezTo>
                      <a:close/>
                      <a:moveTo>
                        <a:pt x="9330" y="28707"/>
                      </a:moveTo>
                      <a:cubicBezTo>
                        <a:pt x="15072" y="42762"/>
                        <a:pt x="20574" y="56518"/>
                        <a:pt x="26315" y="70094"/>
                      </a:cubicBezTo>
                      <a:cubicBezTo>
                        <a:pt x="26794" y="71230"/>
                        <a:pt x="29066" y="72666"/>
                        <a:pt x="30023" y="72427"/>
                      </a:cubicBezTo>
                      <a:cubicBezTo>
                        <a:pt x="40609" y="69257"/>
                        <a:pt x="51076" y="65848"/>
                        <a:pt x="62260" y="62259"/>
                      </a:cubicBezTo>
                      <a:cubicBezTo>
                        <a:pt x="54903" y="44257"/>
                        <a:pt x="47786" y="26734"/>
                        <a:pt x="40430" y="8672"/>
                      </a:cubicBezTo>
                      <a:cubicBezTo>
                        <a:pt x="30262" y="15191"/>
                        <a:pt x="20335" y="21590"/>
                        <a:pt x="9330" y="28707"/>
                      </a:cubicBezTo>
                      <a:close/>
                      <a:moveTo>
                        <a:pt x="41147" y="6519"/>
                      </a:moveTo>
                      <a:cubicBezTo>
                        <a:pt x="48145" y="23684"/>
                        <a:pt x="55083" y="40908"/>
                        <a:pt x="62200" y="58073"/>
                      </a:cubicBezTo>
                      <a:cubicBezTo>
                        <a:pt x="62678" y="59269"/>
                        <a:pt x="64412" y="59927"/>
                        <a:pt x="65609" y="60884"/>
                      </a:cubicBezTo>
                      <a:cubicBezTo>
                        <a:pt x="65668" y="59508"/>
                        <a:pt x="66147" y="57953"/>
                        <a:pt x="65668" y="56817"/>
                      </a:cubicBezTo>
                      <a:cubicBezTo>
                        <a:pt x="59090" y="39772"/>
                        <a:pt x="52331" y="22846"/>
                        <a:pt x="45813" y="5801"/>
                      </a:cubicBezTo>
                      <a:cubicBezTo>
                        <a:pt x="44497" y="2392"/>
                        <a:pt x="43001" y="1555"/>
                        <a:pt x="39891" y="2632"/>
                      </a:cubicBezTo>
                      <a:cubicBezTo>
                        <a:pt x="33671" y="4665"/>
                        <a:pt x="27332" y="6220"/>
                        <a:pt x="21052" y="8074"/>
                      </a:cubicBezTo>
                      <a:cubicBezTo>
                        <a:pt x="14832" y="9928"/>
                        <a:pt x="8732" y="11902"/>
                        <a:pt x="2034" y="13995"/>
                      </a:cubicBezTo>
                      <a:cubicBezTo>
                        <a:pt x="3409" y="17344"/>
                        <a:pt x="4605" y="19916"/>
                        <a:pt x="5502" y="22547"/>
                      </a:cubicBezTo>
                      <a:cubicBezTo>
                        <a:pt x="6997" y="27033"/>
                        <a:pt x="8851" y="27571"/>
                        <a:pt x="12440" y="25119"/>
                      </a:cubicBezTo>
                      <a:cubicBezTo>
                        <a:pt x="22009" y="18600"/>
                        <a:pt x="31817" y="12560"/>
                        <a:pt x="41147" y="651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68" name="Vrije vorm: vorm 9367">
                  <a:extLst>
                    <a:ext uri="{FF2B5EF4-FFF2-40B4-BE49-F238E27FC236}">
                      <a16:creationId xmlns:a16="http://schemas.microsoft.com/office/drawing/2014/main" id="{C84C855F-E2D1-44FE-87AC-3326FB94B418}"/>
                    </a:ext>
                  </a:extLst>
                </p:cNvPr>
                <p:cNvSpPr/>
                <p:nvPr/>
              </p:nvSpPr>
              <p:spPr>
                <a:xfrm>
                  <a:off x="5225077" y="1897245"/>
                  <a:ext cx="73562" cy="92880"/>
                </a:xfrm>
                <a:custGeom>
                  <a:avLst/>
                  <a:gdLst>
                    <a:gd name="connsiteX0" fmla="*/ 73563 w 73562"/>
                    <a:gd name="connsiteY0" fmla="*/ 64831 h 92880"/>
                    <a:gd name="connsiteX1" fmla="*/ 26794 w 73562"/>
                    <a:gd name="connsiteY1" fmla="*/ 92881 h 92880"/>
                    <a:gd name="connsiteX2" fmla="*/ 0 w 73562"/>
                    <a:gd name="connsiteY2" fmla="*/ 26913 h 92880"/>
                    <a:gd name="connsiteX3" fmla="*/ 47188 w 73562"/>
                    <a:gd name="connsiteY3" fmla="*/ 0 h 92880"/>
                    <a:gd name="connsiteX4" fmla="*/ 73563 w 73562"/>
                    <a:gd name="connsiteY4" fmla="*/ 64831 h 92880"/>
                    <a:gd name="connsiteX5" fmla="*/ 46530 w 73562"/>
                    <a:gd name="connsiteY5" fmla="*/ 1974 h 92880"/>
                    <a:gd name="connsiteX6" fmla="*/ 1914 w 73562"/>
                    <a:gd name="connsiteY6" fmla="*/ 27332 h 92880"/>
                    <a:gd name="connsiteX7" fmla="*/ 23384 w 73562"/>
                    <a:gd name="connsiteY7" fmla="*/ 80082 h 92880"/>
                    <a:gd name="connsiteX8" fmla="*/ 66147 w 73562"/>
                    <a:gd name="connsiteY8" fmla="*/ 56159 h 92880"/>
                    <a:gd name="connsiteX9" fmla="*/ 66864 w 73562"/>
                    <a:gd name="connsiteY9" fmla="*/ 52272 h 92880"/>
                    <a:gd name="connsiteX10" fmla="*/ 46530 w 73562"/>
                    <a:gd name="connsiteY10" fmla="*/ 1974 h 92880"/>
                    <a:gd name="connsiteX11" fmla="*/ 69556 w 73562"/>
                    <a:gd name="connsiteY11" fmla="*/ 57834 h 92880"/>
                    <a:gd name="connsiteX12" fmla="*/ 67762 w 73562"/>
                    <a:gd name="connsiteY12" fmla="*/ 56936 h 92880"/>
                    <a:gd name="connsiteX13" fmla="*/ 26554 w 73562"/>
                    <a:gd name="connsiteY13" fmla="*/ 81697 h 92880"/>
                    <a:gd name="connsiteX14" fmla="*/ 24940 w 73562"/>
                    <a:gd name="connsiteY14" fmla="*/ 85943 h 92880"/>
                    <a:gd name="connsiteX15" fmla="*/ 26554 w 73562"/>
                    <a:gd name="connsiteY15" fmla="*/ 86960 h 92880"/>
                    <a:gd name="connsiteX16" fmla="*/ 68180 w 73562"/>
                    <a:gd name="connsiteY16" fmla="*/ 61960 h 92880"/>
                    <a:gd name="connsiteX17" fmla="*/ 69556 w 73562"/>
                    <a:gd name="connsiteY17" fmla="*/ 57834 h 92880"/>
                    <a:gd name="connsiteX18" fmla="*/ 26853 w 73562"/>
                    <a:gd name="connsiteY18" fmla="*/ 88874 h 92880"/>
                    <a:gd name="connsiteX19" fmla="*/ 27870 w 73562"/>
                    <a:gd name="connsiteY19" fmla="*/ 90668 h 92880"/>
                    <a:gd name="connsiteX20" fmla="*/ 71529 w 73562"/>
                    <a:gd name="connsiteY20" fmla="*/ 64412 h 92880"/>
                    <a:gd name="connsiteX21" fmla="*/ 70513 w 73562"/>
                    <a:gd name="connsiteY21" fmla="*/ 62678 h 92880"/>
                    <a:gd name="connsiteX22" fmla="*/ 26853 w 73562"/>
                    <a:gd name="connsiteY22" fmla="*/ 88874 h 9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3562" h="92880">
                      <a:moveTo>
                        <a:pt x="73563" y="64831"/>
                      </a:moveTo>
                      <a:cubicBezTo>
                        <a:pt x="57953" y="74221"/>
                        <a:pt x="42403" y="83491"/>
                        <a:pt x="26794" y="92881"/>
                      </a:cubicBezTo>
                      <a:cubicBezTo>
                        <a:pt x="17882" y="70991"/>
                        <a:pt x="8911" y="48922"/>
                        <a:pt x="0" y="26913"/>
                      </a:cubicBezTo>
                      <a:cubicBezTo>
                        <a:pt x="15789" y="17882"/>
                        <a:pt x="31518" y="8971"/>
                        <a:pt x="47188" y="0"/>
                      </a:cubicBezTo>
                      <a:cubicBezTo>
                        <a:pt x="55979" y="21650"/>
                        <a:pt x="64831" y="43300"/>
                        <a:pt x="73563" y="64831"/>
                      </a:cubicBezTo>
                      <a:close/>
                      <a:moveTo>
                        <a:pt x="46530" y="1974"/>
                      </a:moveTo>
                      <a:cubicBezTo>
                        <a:pt x="31399" y="10586"/>
                        <a:pt x="16806" y="18899"/>
                        <a:pt x="1914" y="27332"/>
                      </a:cubicBezTo>
                      <a:cubicBezTo>
                        <a:pt x="9090" y="44915"/>
                        <a:pt x="16028" y="62080"/>
                        <a:pt x="23384" y="80082"/>
                      </a:cubicBezTo>
                      <a:cubicBezTo>
                        <a:pt x="37798" y="72068"/>
                        <a:pt x="52032" y="64233"/>
                        <a:pt x="66147" y="56159"/>
                      </a:cubicBezTo>
                      <a:cubicBezTo>
                        <a:pt x="66924" y="55740"/>
                        <a:pt x="67343" y="53348"/>
                        <a:pt x="66864" y="52272"/>
                      </a:cubicBezTo>
                      <a:cubicBezTo>
                        <a:pt x="60286" y="35765"/>
                        <a:pt x="53587" y="19258"/>
                        <a:pt x="46530" y="1974"/>
                      </a:cubicBezTo>
                      <a:close/>
                      <a:moveTo>
                        <a:pt x="69556" y="57834"/>
                      </a:moveTo>
                      <a:cubicBezTo>
                        <a:pt x="68958" y="57535"/>
                        <a:pt x="68360" y="57235"/>
                        <a:pt x="67762" y="56936"/>
                      </a:cubicBezTo>
                      <a:cubicBezTo>
                        <a:pt x="54006" y="65130"/>
                        <a:pt x="40250" y="73324"/>
                        <a:pt x="26554" y="81697"/>
                      </a:cubicBezTo>
                      <a:cubicBezTo>
                        <a:pt x="25537" y="82295"/>
                        <a:pt x="25478" y="84508"/>
                        <a:pt x="24940" y="85943"/>
                      </a:cubicBezTo>
                      <a:cubicBezTo>
                        <a:pt x="25478" y="86302"/>
                        <a:pt x="26016" y="86601"/>
                        <a:pt x="26554" y="86960"/>
                      </a:cubicBezTo>
                      <a:cubicBezTo>
                        <a:pt x="40430" y="78646"/>
                        <a:pt x="54365" y="70453"/>
                        <a:pt x="68180" y="61960"/>
                      </a:cubicBezTo>
                      <a:cubicBezTo>
                        <a:pt x="69137" y="61362"/>
                        <a:pt x="69137" y="59209"/>
                        <a:pt x="69556" y="57834"/>
                      </a:cubicBezTo>
                      <a:close/>
                      <a:moveTo>
                        <a:pt x="26853" y="88874"/>
                      </a:moveTo>
                      <a:cubicBezTo>
                        <a:pt x="27212" y="89472"/>
                        <a:pt x="27511" y="90070"/>
                        <a:pt x="27870" y="90668"/>
                      </a:cubicBezTo>
                      <a:cubicBezTo>
                        <a:pt x="42403" y="81936"/>
                        <a:pt x="56936" y="73144"/>
                        <a:pt x="71529" y="64412"/>
                      </a:cubicBezTo>
                      <a:cubicBezTo>
                        <a:pt x="71170" y="63814"/>
                        <a:pt x="70871" y="63216"/>
                        <a:pt x="70513" y="62678"/>
                      </a:cubicBezTo>
                      <a:cubicBezTo>
                        <a:pt x="55979" y="71350"/>
                        <a:pt x="41446" y="80142"/>
                        <a:pt x="26853" y="8887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69" name="Vrije vorm: vorm 9368">
                  <a:extLst>
                    <a:ext uri="{FF2B5EF4-FFF2-40B4-BE49-F238E27FC236}">
                      <a16:creationId xmlns:a16="http://schemas.microsoft.com/office/drawing/2014/main" id="{5211310E-0F9C-40BF-8B13-43A355A0A354}"/>
                    </a:ext>
                  </a:extLst>
                </p:cNvPr>
                <p:cNvSpPr/>
                <p:nvPr/>
              </p:nvSpPr>
              <p:spPr>
                <a:xfrm>
                  <a:off x="4921137" y="1661963"/>
                  <a:ext cx="65010" cy="67881"/>
                </a:xfrm>
                <a:custGeom>
                  <a:avLst/>
                  <a:gdLst>
                    <a:gd name="connsiteX0" fmla="*/ 20275 w 65010"/>
                    <a:gd name="connsiteY0" fmla="*/ 67881 h 67881"/>
                    <a:gd name="connsiteX1" fmla="*/ 1256 w 65010"/>
                    <a:gd name="connsiteY1" fmla="*/ 21172 h 67881"/>
                    <a:gd name="connsiteX2" fmla="*/ 2273 w 65010"/>
                    <a:gd name="connsiteY2" fmla="*/ 20753 h 67881"/>
                    <a:gd name="connsiteX3" fmla="*/ 20933 w 65010"/>
                    <a:gd name="connsiteY3" fmla="*/ 66625 h 67881"/>
                    <a:gd name="connsiteX4" fmla="*/ 40310 w 65010"/>
                    <a:gd name="connsiteY4" fmla="*/ 58731 h 67881"/>
                    <a:gd name="connsiteX5" fmla="*/ 35645 w 65010"/>
                    <a:gd name="connsiteY5" fmla="*/ 47188 h 67881"/>
                    <a:gd name="connsiteX6" fmla="*/ 31877 w 65010"/>
                    <a:gd name="connsiteY6" fmla="*/ 48683 h 67881"/>
                    <a:gd name="connsiteX7" fmla="*/ 17942 w 65010"/>
                    <a:gd name="connsiteY7" fmla="*/ 14354 h 67881"/>
                    <a:gd name="connsiteX8" fmla="*/ 18959 w 65010"/>
                    <a:gd name="connsiteY8" fmla="*/ 13875 h 67881"/>
                    <a:gd name="connsiteX9" fmla="*/ 25777 w 65010"/>
                    <a:gd name="connsiteY9" fmla="*/ 30561 h 67881"/>
                    <a:gd name="connsiteX10" fmla="*/ 32774 w 65010"/>
                    <a:gd name="connsiteY10" fmla="*/ 45932 h 67881"/>
                    <a:gd name="connsiteX11" fmla="*/ 34509 w 65010"/>
                    <a:gd name="connsiteY11" fmla="*/ 45035 h 67881"/>
                    <a:gd name="connsiteX12" fmla="*/ 20454 w 65010"/>
                    <a:gd name="connsiteY12" fmla="*/ 10466 h 67881"/>
                    <a:gd name="connsiteX13" fmla="*/ 419 w 65010"/>
                    <a:gd name="connsiteY13" fmla="*/ 17464 h 67881"/>
                    <a:gd name="connsiteX14" fmla="*/ 0 w 65010"/>
                    <a:gd name="connsiteY14" fmla="*/ 16268 h 67881"/>
                    <a:gd name="connsiteX15" fmla="*/ 45992 w 65010"/>
                    <a:gd name="connsiteY15" fmla="*/ 0 h 67881"/>
                    <a:gd name="connsiteX16" fmla="*/ 46291 w 65010"/>
                    <a:gd name="connsiteY16" fmla="*/ 718 h 67881"/>
                    <a:gd name="connsiteX17" fmla="*/ 25597 w 65010"/>
                    <a:gd name="connsiteY17" fmla="*/ 9150 h 67881"/>
                    <a:gd name="connsiteX18" fmla="*/ 39293 w 65010"/>
                    <a:gd name="connsiteY18" fmla="*/ 42762 h 67881"/>
                    <a:gd name="connsiteX19" fmla="*/ 56697 w 65010"/>
                    <a:gd name="connsiteY19" fmla="*/ 35705 h 67881"/>
                    <a:gd name="connsiteX20" fmla="*/ 57236 w 65010"/>
                    <a:gd name="connsiteY20" fmla="*/ 36961 h 67881"/>
                    <a:gd name="connsiteX21" fmla="*/ 39951 w 65010"/>
                    <a:gd name="connsiteY21" fmla="*/ 43958 h 67881"/>
                    <a:gd name="connsiteX22" fmla="*/ 44915 w 65010"/>
                    <a:gd name="connsiteY22" fmla="*/ 56159 h 67881"/>
                    <a:gd name="connsiteX23" fmla="*/ 62618 w 65010"/>
                    <a:gd name="connsiteY23" fmla="*/ 48982 h 67881"/>
                    <a:gd name="connsiteX24" fmla="*/ 63097 w 65010"/>
                    <a:gd name="connsiteY24" fmla="*/ 50178 h 67881"/>
                    <a:gd name="connsiteX25" fmla="*/ 46291 w 65010"/>
                    <a:gd name="connsiteY25" fmla="*/ 56996 h 67881"/>
                    <a:gd name="connsiteX26" fmla="*/ 46769 w 65010"/>
                    <a:gd name="connsiteY26" fmla="*/ 58432 h 67881"/>
                    <a:gd name="connsiteX27" fmla="*/ 64711 w 65010"/>
                    <a:gd name="connsiteY27" fmla="*/ 53767 h 67881"/>
                    <a:gd name="connsiteX28" fmla="*/ 65010 w 65010"/>
                    <a:gd name="connsiteY28" fmla="*/ 54843 h 67881"/>
                    <a:gd name="connsiteX29" fmla="*/ 20275 w 65010"/>
                    <a:gd name="connsiteY29" fmla="*/ 67881 h 67881"/>
                    <a:gd name="connsiteX30" fmla="*/ 36422 w 65010"/>
                    <a:gd name="connsiteY30" fmla="*/ 44078 h 67881"/>
                    <a:gd name="connsiteX31" fmla="*/ 37260 w 65010"/>
                    <a:gd name="connsiteY31" fmla="*/ 43719 h 67881"/>
                    <a:gd name="connsiteX32" fmla="*/ 23624 w 65010"/>
                    <a:gd name="connsiteY32" fmla="*/ 10167 h 67881"/>
                    <a:gd name="connsiteX33" fmla="*/ 22787 w 65010"/>
                    <a:gd name="connsiteY33" fmla="*/ 10586 h 67881"/>
                    <a:gd name="connsiteX34" fmla="*/ 36422 w 65010"/>
                    <a:gd name="connsiteY34" fmla="*/ 44078 h 6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5010" h="67881">
                      <a:moveTo>
                        <a:pt x="20275" y="67881"/>
                      </a:moveTo>
                      <a:cubicBezTo>
                        <a:pt x="13875" y="52212"/>
                        <a:pt x="7596" y="36662"/>
                        <a:pt x="1256" y="21172"/>
                      </a:cubicBezTo>
                      <a:cubicBezTo>
                        <a:pt x="1615" y="21052"/>
                        <a:pt x="1914" y="20873"/>
                        <a:pt x="2273" y="20753"/>
                      </a:cubicBezTo>
                      <a:cubicBezTo>
                        <a:pt x="8373" y="35765"/>
                        <a:pt x="14473" y="50716"/>
                        <a:pt x="20933" y="66625"/>
                      </a:cubicBezTo>
                      <a:cubicBezTo>
                        <a:pt x="27751" y="63874"/>
                        <a:pt x="33851" y="61362"/>
                        <a:pt x="40310" y="58731"/>
                      </a:cubicBezTo>
                      <a:cubicBezTo>
                        <a:pt x="38755" y="54903"/>
                        <a:pt x="37260" y="51255"/>
                        <a:pt x="35645" y="47188"/>
                      </a:cubicBezTo>
                      <a:cubicBezTo>
                        <a:pt x="34509" y="47666"/>
                        <a:pt x="33253" y="48145"/>
                        <a:pt x="31877" y="48683"/>
                      </a:cubicBezTo>
                      <a:cubicBezTo>
                        <a:pt x="27152" y="37080"/>
                        <a:pt x="22547" y="25717"/>
                        <a:pt x="17942" y="14354"/>
                      </a:cubicBezTo>
                      <a:cubicBezTo>
                        <a:pt x="18301" y="14174"/>
                        <a:pt x="18600" y="14055"/>
                        <a:pt x="18959" y="13875"/>
                      </a:cubicBezTo>
                      <a:cubicBezTo>
                        <a:pt x="21231" y="19437"/>
                        <a:pt x="23325" y="25059"/>
                        <a:pt x="25777" y="30561"/>
                      </a:cubicBezTo>
                      <a:cubicBezTo>
                        <a:pt x="28050" y="35705"/>
                        <a:pt x="29306" y="41506"/>
                        <a:pt x="32774" y="45932"/>
                      </a:cubicBezTo>
                      <a:cubicBezTo>
                        <a:pt x="33373" y="45633"/>
                        <a:pt x="33911" y="45334"/>
                        <a:pt x="34509" y="45035"/>
                      </a:cubicBezTo>
                      <a:cubicBezTo>
                        <a:pt x="29904" y="33791"/>
                        <a:pt x="25358" y="22547"/>
                        <a:pt x="20454" y="10466"/>
                      </a:cubicBezTo>
                      <a:cubicBezTo>
                        <a:pt x="13935" y="12739"/>
                        <a:pt x="7177" y="15131"/>
                        <a:pt x="419" y="17464"/>
                      </a:cubicBezTo>
                      <a:cubicBezTo>
                        <a:pt x="299" y="17045"/>
                        <a:pt x="120" y="16686"/>
                        <a:pt x="0" y="16268"/>
                      </a:cubicBezTo>
                      <a:cubicBezTo>
                        <a:pt x="15311" y="10825"/>
                        <a:pt x="30681" y="5383"/>
                        <a:pt x="45992" y="0"/>
                      </a:cubicBezTo>
                      <a:cubicBezTo>
                        <a:pt x="46112" y="239"/>
                        <a:pt x="46171" y="478"/>
                        <a:pt x="46291" y="718"/>
                      </a:cubicBezTo>
                      <a:cubicBezTo>
                        <a:pt x="39473" y="3469"/>
                        <a:pt x="32714" y="6220"/>
                        <a:pt x="25597" y="9150"/>
                      </a:cubicBezTo>
                      <a:cubicBezTo>
                        <a:pt x="30143" y="20275"/>
                        <a:pt x="34568" y="31279"/>
                        <a:pt x="39293" y="42762"/>
                      </a:cubicBezTo>
                      <a:cubicBezTo>
                        <a:pt x="45095" y="40430"/>
                        <a:pt x="50896" y="38037"/>
                        <a:pt x="56697" y="35705"/>
                      </a:cubicBezTo>
                      <a:cubicBezTo>
                        <a:pt x="56877" y="36124"/>
                        <a:pt x="57056" y="36542"/>
                        <a:pt x="57236" y="36961"/>
                      </a:cubicBezTo>
                      <a:cubicBezTo>
                        <a:pt x="51614" y="39234"/>
                        <a:pt x="45992" y="41506"/>
                        <a:pt x="39951" y="43958"/>
                      </a:cubicBezTo>
                      <a:cubicBezTo>
                        <a:pt x="41745" y="48324"/>
                        <a:pt x="43241" y="51972"/>
                        <a:pt x="44915" y="56159"/>
                      </a:cubicBezTo>
                      <a:cubicBezTo>
                        <a:pt x="50657" y="53826"/>
                        <a:pt x="56637" y="51374"/>
                        <a:pt x="62618" y="48982"/>
                      </a:cubicBezTo>
                      <a:cubicBezTo>
                        <a:pt x="62798" y="49401"/>
                        <a:pt x="62977" y="49760"/>
                        <a:pt x="63097" y="50178"/>
                      </a:cubicBezTo>
                      <a:cubicBezTo>
                        <a:pt x="57475" y="52451"/>
                        <a:pt x="51913" y="54724"/>
                        <a:pt x="46291" y="56996"/>
                      </a:cubicBezTo>
                      <a:cubicBezTo>
                        <a:pt x="46470" y="57475"/>
                        <a:pt x="46590" y="57953"/>
                        <a:pt x="46769" y="58432"/>
                      </a:cubicBezTo>
                      <a:cubicBezTo>
                        <a:pt x="52750" y="56877"/>
                        <a:pt x="58731" y="55322"/>
                        <a:pt x="64711" y="53767"/>
                      </a:cubicBezTo>
                      <a:cubicBezTo>
                        <a:pt x="64831" y="54125"/>
                        <a:pt x="64891" y="54484"/>
                        <a:pt x="65010" y="54843"/>
                      </a:cubicBezTo>
                      <a:cubicBezTo>
                        <a:pt x="50238" y="59209"/>
                        <a:pt x="35346" y="63515"/>
                        <a:pt x="20275" y="67881"/>
                      </a:cubicBezTo>
                      <a:close/>
                      <a:moveTo>
                        <a:pt x="36422" y="44078"/>
                      </a:moveTo>
                      <a:cubicBezTo>
                        <a:pt x="36722" y="43958"/>
                        <a:pt x="37021" y="43839"/>
                        <a:pt x="37260" y="43719"/>
                      </a:cubicBezTo>
                      <a:cubicBezTo>
                        <a:pt x="32714" y="32535"/>
                        <a:pt x="28169" y="21351"/>
                        <a:pt x="23624" y="10167"/>
                      </a:cubicBezTo>
                      <a:cubicBezTo>
                        <a:pt x="23325" y="10287"/>
                        <a:pt x="23086" y="10466"/>
                        <a:pt x="22787" y="10586"/>
                      </a:cubicBezTo>
                      <a:cubicBezTo>
                        <a:pt x="27332" y="21710"/>
                        <a:pt x="31877" y="32894"/>
                        <a:pt x="36422" y="4407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70" name="Vrije vorm: vorm 9369">
                  <a:extLst>
                    <a:ext uri="{FF2B5EF4-FFF2-40B4-BE49-F238E27FC236}">
                      <a16:creationId xmlns:a16="http://schemas.microsoft.com/office/drawing/2014/main" id="{E3EDE561-E5C0-4296-B4F5-F3159F1E463D}"/>
                    </a:ext>
                  </a:extLst>
                </p:cNvPr>
                <p:cNvSpPr/>
                <p:nvPr/>
              </p:nvSpPr>
              <p:spPr>
                <a:xfrm>
                  <a:off x="5184050" y="1457542"/>
                  <a:ext cx="72186" cy="82773"/>
                </a:xfrm>
                <a:custGeom>
                  <a:avLst/>
                  <a:gdLst>
                    <a:gd name="connsiteX0" fmla="*/ 0 w 72186"/>
                    <a:gd name="connsiteY0" fmla="*/ 18779 h 82773"/>
                    <a:gd name="connsiteX1" fmla="*/ 46171 w 72186"/>
                    <a:gd name="connsiteY1" fmla="*/ 0 h 82773"/>
                    <a:gd name="connsiteX2" fmla="*/ 72187 w 72186"/>
                    <a:gd name="connsiteY2" fmla="*/ 63994 h 82773"/>
                    <a:gd name="connsiteX3" fmla="*/ 26016 w 72186"/>
                    <a:gd name="connsiteY3" fmla="*/ 82773 h 82773"/>
                    <a:gd name="connsiteX4" fmla="*/ 0 w 72186"/>
                    <a:gd name="connsiteY4" fmla="*/ 18779 h 82773"/>
                    <a:gd name="connsiteX5" fmla="*/ 59927 w 72186"/>
                    <a:gd name="connsiteY5" fmla="*/ 66745 h 82773"/>
                    <a:gd name="connsiteX6" fmla="*/ 69436 w 72186"/>
                    <a:gd name="connsiteY6" fmla="*/ 62857 h 82773"/>
                    <a:gd name="connsiteX7" fmla="*/ 44796 w 72186"/>
                    <a:gd name="connsiteY7" fmla="*/ 2332 h 82773"/>
                    <a:gd name="connsiteX8" fmla="*/ 2213 w 72186"/>
                    <a:gd name="connsiteY8" fmla="*/ 19677 h 82773"/>
                    <a:gd name="connsiteX9" fmla="*/ 27152 w 72186"/>
                    <a:gd name="connsiteY9" fmla="*/ 80979 h 82773"/>
                    <a:gd name="connsiteX10" fmla="*/ 44616 w 72186"/>
                    <a:gd name="connsiteY10" fmla="*/ 73862 h 82773"/>
                    <a:gd name="connsiteX11" fmla="*/ 48803 w 72186"/>
                    <a:gd name="connsiteY11" fmla="*/ 62678 h 82773"/>
                    <a:gd name="connsiteX12" fmla="*/ 28408 w 72186"/>
                    <a:gd name="connsiteY12" fmla="*/ 12619 h 82773"/>
                    <a:gd name="connsiteX13" fmla="*/ 29545 w 72186"/>
                    <a:gd name="connsiteY13" fmla="*/ 12141 h 82773"/>
                    <a:gd name="connsiteX14" fmla="*/ 52929 w 72186"/>
                    <a:gd name="connsiteY14" fmla="*/ 69616 h 82773"/>
                    <a:gd name="connsiteX15" fmla="*/ 57176 w 72186"/>
                    <a:gd name="connsiteY15" fmla="*/ 62678 h 82773"/>
                    <a:gd name="connsiteX16" fmla="*/ 50716 w 72186"/>
                    <a:gd name="connsiteY16" fmla="*/ 46889 h 82773"/>
                    <a:gd name="connsiteX17" fmla="*/ 36901 w 72186"/>
                    <a:gd name="connsiteY17" fmla="*/ 12859 h 82773"/>
                    <a:gd name="connsiteX18" fmla="*/ 37858 w 72186"/>
                    <a:gd name="connsiteY18" fmla="*/ 12440 h 82773"/>
                    <a:gd name="connsiteX19" fmla="*/ 59927 w 72186"/>
                    <a:gd name="connsiteY19" fmla="*/ 66745 h 8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186" h="82773">
                      <a:moveTo>
                        <a:pt x="0" y="18779"/>
                      </a:moveTo>
                      <a:cubicBezTo>
                        <a:pt x="15490" y="12500"/>
                        <a:pt x="30741" y="6280"/>
                        <a:pt x="46171" y="0"/>
                      </a:cubicBezTo>
                      <a:cubicBezTo>
                        <a:pt x="54783" y="21232"/>
                        <a:pt x="63396" y="42344"/>
                        <a:pt x="72187" y="63994"/>
                      </a:cubicBezTo>
                      <a:cubicBezTo>
                        <a:pt x="56697" y="70273"/>
                        <a:pt x="41327" y="76553"/>
                        <a:pt x="26016" y="82773"/>
                      </a:cubicBezTo>
                      <a:cubicBezTo>
                        <a:pt x="17404" y="61482"/>
                        <a:pt x="8612" y="40011"/>
                        <a:pt x="0" y="18779"/>
                      </a:cubicBezTo>
                      <a:close/>
                      <a:moveTo>
                        <a:pt x="59927" y="66745"/>
                      </a:moveTo>
                      <a:cubicBezTo>
                        <a:pt x="63754" y="65190"/>
                        <a:pt x="66805" y="63934"/>
                        <a:pt x="69436" y="62857"/>
                      </a:cubicBezTo>
                      <a:cubicBezTo>
                        <a:pt x="61123" y="42463"/>
                        <a:pt x="53108" y="22727"/>
                        <a:pt x="44796" y="2332"/>
                      </a:cubicBezTo>
                      <a:cubicBezTo>
                        <a:pt x="30681" y="8074"/>
                        <a:pt x="16447" y="13875"/>
                        <a:pt x="2213" y="19677"/>
                      </a:cubicBezTo>
                      <a:cubicBezTo>
                        <a:pt x="10586" y="40190"/>
                        <a:pt x="18779" y="60405"/>
                        <a:pt x="27152" y="80979"/>
                      </a:cubicBezTo>
                      <a:cubicBezTo>
                        <a:pt x="33253" y="78527"/>
                        <a:pt x="38934" y="76194"/>
                        <a:pt x="44616" y="73862"/>
                      </a:cubicBezTo>
                      <a:cubicBezTo>
                        <a:pt x="52032" y="70812"/>
                        <a:pt x="52092" y="70812"/>
                        <a:pt x="48803" y="62678"/>
                      </a:cubicBezTo>
                      <a:cubicBezTo>
                        <a:pt x="42044" y="45992"/>
                        <a:pt x="35226" y="29306"/>
                        <a:pt x="28408" y="12619"/>
                      </a:cubicBezTo>
                      <a:cubicBezTo>
                        <a:pt x="28767" y="12440"/>
                        <a:pt x="29126" y="12320"/>
                        <a:pt x="29545" y="12141"/>
                      </a:cubicBezTo>
                      <a:cubicBezTo>
                        <a:pt x="37380" y="31339"/>
                        <a:pt x="45154" y="50537"/>
                        <a:pt x="52929" y="69616"/>
                      </a:cubicBezTo>
                      <a:cubicBezTo>
                        <a:pt x="57774" y="69317"/>
                        <a:pt x="59389" y="67522"/>
                        <a:pt x="57176" y="62678"/>
                      </a:cubicBezTo>
                      <a:cubicBezTo>
                        <a:pt x="54843" y="57535"/>
                        <a:pt x="52869" y="52152"/>
                        <a:pt x="50716" y="46889"/>
                      </a:cubicBezTo>
                      <a:cubicBezTo>
                        <a:pt x="46111" y="35526"/>
                        <a:pt x="41506" y="24222"/>
                        <a:pt x="36901" y="12859"/>
                      </a:cubicBezTo>
                      <a:cubicBezTo>
                        <a:pt x="37200" y="12739"/>
                        <a:pt x="37559" y="12619"/>
                        <a:pt x="37858" y="12440"/>
                      </a:cubicBezTo>
                      <a:cubicBezTo>
                        <a:pt x="45214" y="30442"/>
                        <a:pt x="52511" y="48444"/>
                        <a:pt x="59927" y="6674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71" name="Vrije vorm: vorm 9370">
                  <a:extLst>
                    <a:ext uri="{FF2B5EF4-FFF2-40B4-BE49-F238E27FC236}">
                      <a16:creationId xmlns:a16="http://schemas.microsoft.com/office/drawing/2014/main" id="{020BD0F5-7E30-45DD-98B6-AD791C079171}"/>
                    </a:ext>
                  </a:extLst>
                </p:cNvPr>
                <p:cNvSpPr/>
                <p:nvPr/>
              </p:nvSpPr>
              <p:spPr>
                <a:xfrm>
                  <a:off x="5409463" y="1705862"/>
                  <a:ext cx="65069" cy="82474"/>
                </a:xfrm>
                <a:custGeom>
                  <a:avLst/>
                  <a:gdLst>
                    <a:gd name="connsiteX0" fmla="*/ 65070 w 65069"/>
                    <a:gd name="connsiteY0" fmla="*/ 59867 h 82474"/>
                    <a:gd name="connsiteX1" fmla="*/ 24760 w 65069"/>
                    <a:gd name="connsiteY1" fmla="*/ 82474 h 82474"/>
                    <a:gd name="connsiteX2" fmla="*/ 0 w 65069"/>
                    <a:gd name="connsiteY2" fmla="*/ 21650 h 82474"/>
                    <a:gd name="connsiteX3" fmla="*/ 40729 w 65069"/>
                    <a:gd name="connsiteY3" fmla="*/ 0 h 82474"/>
                    <a:gd name="connsiteX4" fmla="*/ 65070 w 65069"/>
                    <a:gd name="connsiteY4" fmla="*/ 59867 h 82474"/>
                    <a:gd name="connsiteX5" fmla="*/ 25657 w 65069"/>
                    <a:gd name="connsiteY5" fmla="*/ 80441 h 82474"/>
                    <a:gd name="connsiteX6" fmla="*/ 61840 w 65069"/>
                    <a:gd name="connsiteY6" fmla="*/ 60106 h 82474"/>
                    <a:gd name="connsiteX7" fmla="*/ 61482 w 65069"/>
                    <a:gd name="connsiteY7" fmla="*/ 59090 h 82474"/>
                    <a:gd name="connsiteX8" fmla="*/ 26614 w 65069"/>
                    <a:gd name="connsiteY8" fmla="*/ 64592 h 82474"/>
                    <a:gd name="connsiteX9" fmla="*/ 9629 w 65069"/>
                    <a:gd name="connsiteY9" fmla="*/ 22787 h 82474"/>
                    <a:gd name="connsiteX10" fmla="*/ 23803 w 65069"/>
                    <a:gd name="connsiteY10" fmla="*/ 55142 h 82474"/>
                    <a:gd name="connsiteX11" fmla="*/ 37020 w 65069"/>
                    <a:gd name="connsiteY11" fmla="*/ 60704 h 82474"/>
                    <a:gd name="connsiteX12" fmla="*/ 29006 w 65069"/>
                    <a:gd name="connsiteY12" fmla="*/ 40968 h 82474"/>
                    <a:gd name="connsiteX13" fmla="*/ 30083 w 65069"/>
                    <a:gd name="connsiteY13" fmla="*/ 40549 h 82474"/>
                    <a:gd name="connsiteX14" fmla="*/ 38575 w 65069"/>
                    <a:gd name="connsiteY14" fmla="*/ 61422 h 82474"/>
                    <a:gd name="connsiteX15" fmla="*/ 48264 w 65069"/>
                    <a:gd name="connsiteY15" fmla="*/ 59389 h 82474"/>
                    <a:gd name="connsiteX16" fmla="*/ 38994 w 65069"/>
                    <a:gd name="connsiteY16" fmla="*/ 36662 h 82474"/>
                    <a:gd name="connsiteX17" fmla="*/ 40011 w 65069"/>
                    <a:gd name="connsiteY17" fmla="*/ 36243 h 82474"/>
                    <a:gd name="connsiteX18" fmla="*/ 49520 w 65069"/>
                    <a:gd name="connsiteY18" fmla="*/ 59568 h 82474"/>
                    <a:gd name="connsiteX19" fmla="*/ 62139 w 65069"/>
                    <a:gd name="connsiteY19" fmla="*/ 57654 h 82474"/>
                    <a:gd name="connsiteX20" fmla="*/ 39592 w 65069"/>
                    <a:gd name="connsiteY20" fmla="*/ 2273 h 82474"/>
                    <a:gd name="connsiteX21" fmla="*/ 1973 w 65069"/>
                    <a:gd name="connsiteY21" fmla="*/ 22308 h 82474"/>
                    <a:gd name="connsiteX22" fmla="*/ 25657 w 65069"/>
                    <a:gd name="connsiteY22" fmla="*/ 80441 h 82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069" h="82474">
                      <a:moveTo>
                        <a:pt x="65070" y="59867"/>
                      </a:moveTo>
                      <a:cubicBezTo>
                        <a:pt x="51195" y="67642"/>
                        <a:pt x="37977" y="75058"/>
                        <a:pt x="24760" y="82474"/>
                      </a:cubicBezTo>
                      <a:cubicBezTo>
                        <a:pt x="16566" y="62319"/>
                        <a:pt x="8313" y="42104"/>
                        <a:pt x="0" y="21650"/>
                      </a:cubicBezTo>
                      <a:cubicBezTo>
                        <a:pt x="13696" y="14354"/>
                        <a:pt x="27212" y="7177"/>
                        <a:pt x="40729" y="0"/>
                      </a:cubicBezTo>
                      <a:cubicBezTo>
                        <a:pt x="48803" y="19916"/>
                        <a:pt x="56936" y="39891"/>
                        <a:pt x="65070" y="59867"/>
                      </a:cubicBezTo>
                      <a:close/>
                      <a:moveTo>
                        <a:pt x="25657" y="80441"/>
                      </a:moveTo>
                      <a:cubicBezTo>
                        <a:pt x="37858" y="73563"/>
                        <a:pt x="49819" y="66864"/>
                        <a:pt x="61840" y="60106"/>
                      </a:cubicBezTo>
                      <a:cubicBezTo>
                        <a:pt x="61721" y="59747"/>
                        <a:pt x="61601" y="59448"/>
                        <a:pt x="61482" y="59090"/>
                      </a:cubicBezTo>
                      <a:cubicBezTo>
                        <a:pt x="49580" y="60944"/>
                        <a:pt x="37678" y="62857"/>
                        <a:pt x="26614" y="64592"/>
                      </a:cubicBezTo>
                      <a:cubicBezTo>
                        <a:pt x="20813" y="50358"/>
                        <a:pt x="15251" y="36602"/>
                        <a:pt x="9629" y="22787"/>
                      </a:cubicBezTo>
                      <a:cubicBezTo>
                        <a:pt x="14952" y="33372"/>
                        <a:pt x="19437" y="44198"/>
                        <a:pt x="23803" y="55142"/>
                      </a:cubicBezTo>
                      <a:cubicBezTo>
                        <a:pt x="27511" y="64353"/>
                        <a:pt x="27810" y="64532"/>
                        <a:pt x="37020" y="60704"/>
                      </a:cubicBezTo>
                      <a:cubicBezTo>
                        <a:pt x="34329" y="54126"/>
                        <a:pt x="31698" y="47547"/>
                        <a:pt x="29006" y="40968"/>
                      </a:cubicBezTo>
                      <a:cubicBezTo>
                        <a:pt x="29365" y="40848"/>
                        <a:pt x="29724" y="40669"/>
                        <a:pt x="30083" y="40549"/>
                      </a:cubicBezTo>
                      <a:cubicBezTo>
                        <a:pt x="32894" y="47427"/>
                        <a:pt x="35705" y="54305"/>
                        <a:pt x="38575" y="61422"/>
                      </a:cubicBezTo>
                      <a:cubicBezTo>
                        <a:pt x="41925" y="60704"/>
                        <a:pt x="44796" y="60106"/>
                        <a:pt x="48264" y="59389"/>
                      </a:cubicBezTo>
                      <a:cubicBezTo>
                        <a:pt x="44915" y="51195"/>
                        <a:pt x="41984" y="43958"/>
                        <a:pt x="38994" y="36662"/>
                      </a:cubicBezTo>
                      <a:cubicBezTo>
                        <a:pt x="39353" y="36542"/>
                        <a:pt x="39652" y="36363"/>
                        <a:pt x="40011" y="36243"/>
                      </a:cubicBezTo>
                      <a:cubicBezTo>
                        <a:pt x="43181" y="44018"/>
                        <a:pt x="46351" y="51793"/>
                        <a:pt x="49520" y="59568"/>
                      </a:cubicBezTo>
                      <a:cubicBezTo>
                        <a:pt x="53827" y="58910"/>
                        <a:pt x="57594" y="58312"/>
                        <a:pt x="62139" y="57654"/>
                      </a:cubicBezTo>
                      <a:cubicBezTo>
                        <a:pt x="54604" y="39054"/>
                        <a:pt x="47188" y="20933"/>
                        <a:pt x="39592" y="2273"/>
                      </a:cubicBezTo>
                      <a:cubicBezTo>
                        <a:pt x="27152" y="8851"/>
                        <a:pt x="14772" y="15490"/>
                        <a:pt x="1973" y="22308"/>
                      </a:cubicBezTo>
                      <a:cubicBezTo>
                        <a:pt x="9988" y="41925"/>
                        <a:pt x="17703" y="60824"/>
                        <a:pt x="25657" y="8044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72" name="Vrije vorm: vorm 9371">
                  <a:extLst>
                    <a:ext uri="{FF2B5EF4-FFF2-40B4-BE49-F238E27FC236}">
                      <a16:creationId xmlns:a16="http://schemas.microsoft.com/office/drawing/2014/main" id="{59033B2F-8F35-428C-BA12-36FD72C11C14}"/>
                    </a:ext>
                  </a:extLst>
                </p:cNvPr>
                <p:cNvSpPr/>
                <p:nvPr/>
              </p:nvSpPr>
              <p:spPr>
                <a:xfrm>
                  <a:off x="5027893" y="1073520"/>
                  <a:ext cx="75476" cy="76792"/>
                </a:xfrm>
                <a:custGeom>
                  <a:avLst/>
                  <a:gdLst>
                    <a:gd name="connsiteX0" fmla="*/ 0 w 75476"/>
                    <a:gd name="connsiteY0" fmla="*/ 11005 h 76792"/>
                    <a:gd name="connsiteX1" fmla="*/ 49222 w 75476"/>
                    <a:gd name="connsiteY1" fmla="*/ 0 h 76792"/>
                    <a:gd name="connsiteX2" fmla="*/ 49521 w 75476"/>
                    <a:gd name="connsiteY2" fmla="*/ 1136 h 76792"/>
                    <a:gd name="connsiteX3" fmla="*/ 2452 w 75476"/>
                    <a:gd name="connsiteY3" fmla="*/ 11961 h 76792"/>
                    <a:gd name="connsiteX4" fmla="*/ 18122 w 75476"/>
                    <a:gd name="connsiteY4" fmla="*/ 50537 h 76792"/>
                    <a:gd name="connsiteX5" fmla="*/ 40490 w 75476"/>
                    <a:gd name="connsiteY5" fmla="*/ 45453 h 76792"/>
                    <a:gd name="connsiteX6" fmla="*/ 40789 w 75476"/>
                    <a:gd name="connsiteY6" fmla="*/ 46470 h 76792"/>
                    <a:gd name="connsiteX7" fmla="*/ 18720 w 75476"/>
                    <a:gd name="connsiteY7" fmla="*/ 52092 h 76792"/>
                    <a:gd name="connsiteX8" fmla="*/ 26853 w 75476"/>
                    <a:gd name="connsiteY8" fmla="*/ 72068 h 76792"/>
                    <a:gd name="connsiteX9" fmla="*/ 44915 w 75476"/>
                    <a:gd name="connsiteY9" fmla="*/ 67881 h 76792"/>
                    <a:gd name="connsiteX10" fmla="*/ 45155 w 75476"/>
                    <a:gd name="connsiteY10" fmla="*/ 68778 h 76792"/>
                    <a:gd name="connsiteX11" fmla="*/ 28050 w 75476"/>
                    <a:gd name="connsiteY11" fmla="*/ 73443 h 76792"/>
                    <a:gd name="connsiteX12" fmla="*/ 28468 w 75476"/>
                    <a:gd name="connsiteY12" fmla="*/ 74879 h 76792"/>
                    <a:gd name="connsiteX13" fmla="*/ 52870 w 75476"/>
                    <a:gd name="connsiteY13" fmla="*/ 68778 h 76792"/>
                    <a:gd name="connsiteX14" fmla="*/ 43181 w 75476"/>
                    <a:gd name="connsiteY14" fmla="*/ 45035 h 76792"/>
                    <a:gd name="connsiteX15" fmla="*/ 57774 w 75476"/>
                    <a:gd name="connsiteY15" fmla="*/ 33073 h 76792"/>
                    <a:gd name="connsiteX16" fmla="*/ 58432 w 75476"/>
                    <a:gd name="connsiteY16" fmla="*/ 33911 h 76792"/>
                    <a:gd name="connsiteX17" fmla="*/ 48145 w 75476"/>
                    <a:gd name="connsiteY17" fmla="*/ 42523 h 76792"/>
                    <a:gd name="connsiteX18" fmla="*/ 46709 w 75476"/>
                    <a:gd name="connsiteY18" fmla="*/ 49520 h 76792"/>
                    <a:gd name="connsiteX19" fmla="*/ 54425 w 75476"/>
                    <a:gd name="connsiteY19" fmla="*/ 68300 h 76792"/>
                    <a:gd name="connsiteX20" fmla="*/ 73862 w 75476"/>
                    <a:gd name="connsiteY20" fmla="*/ 63396 h 76792"/>
                    <a:gd name="connsiteX21" fmla="*/ 50059 w 75476"/>
                    <a:gd name="connsiteY21" fmla="*/ 4904 h 76792"/>
                    <a:gd name="connsiteX22" fmla="*/ 51076 w 75476"/>
                    <a:gd name="connsiteY22" fmla="*/ 4486 h 76792"/>
                    <a:gd name="connsiteX23" fmla="*/ 75477 w 75476"/>
                    <a:gd name="connsiteY23" fmla="*/ 64472 h 76792"/>
                    <a:gd name="connsiteX24" fmla="*/ 26734 w 75476"/>
                    <a:gd name="connsiteY24" fmla="*/ 76792 h 76792"/>
                    <a:gd name="connsiteX25" fmla="*/ 0 w 75476"/>
                    <a:gd name="connsiteY25" fmla="*/ 11005 h 76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476" h="76792">
                      <a:moveTo>
                        <a:pt x="0" y="11005"/>
                      </a:moveTo>
                      <a:cubicBezTo>
                        <a:pt x="16686" y="7296"/>
                        <a:pt x="32954" y="3648"/>
                        <a:pt x="49222" y="0"/>
                      </a:cubicBezTo>
                      <a:cubicBezTo>
                        <a:pt x="49341" y="359"/>
                        <a:pt x="49401" y="778"/>
                        <a:pt x="49521" y="1136"/>
                      </a:cubicBezTo>
                      <a:cubicBezTo>
                        <a:pt x="34030" y="4725"/>
                        <a:pt x="18481" y="8253"/>
                        <a:pt x="2452" y="11961"/>
                      </a:cubicBezTo>
                      <a:cubicBezTo>
                        <a:pt x="7656" y="24760"/>
                        <a:pt x="12739" y="37260"/>
                        <a:pt x="18122" y="50537"/>
                      </a:cubicBezTo>
                      <a:cubicBezTo>
                        <a:pt x="25418" y="48862"/>
                        <a:pt x="32954" y="47188"/>
                        <a:pt x="40490" y="45453"/>
                      </a:cubicBezTo>
                      <a:cubicBezTo>
                        <a:pt x="40609" y="45812"/>
                        <a:pt x="40669" y="46111"/>
                        <a:pt x="40789" y="46470"/>
                      </a:cubicBezTo>
                      <a:cubicBezTo>
                        <a:pt x="33612" y="48324"/>
                        <a:pt x="26435" y="50118"/>
                        <a:pt x="18720" y="52092"/>
                      </a:cubicBezTo>
                      <a:cubicBezTo>
                        <a:pt x="21411" y="58671"/>
                        <a:pt x="23983" y="65130"/>
                        <a:pt x="26853" y="72068"/>
                      </a:cubicBezTo>
                      <a:cubicBezTo>
                        <a:pt x="32715" y="70692"/>
                        <a:pt x="38815" y="69317"/>
                        <a:pt x="44915" y="67881"/>
                      </a:cubicBezTo>
                      <a:cubicBezTo>
                        <a:pt x="44975" y="68180"/>
                        <a:pt x="45095" y="68479"/>
                        <a:pt x="45155" y="68778"/>
                      </a:cubicBezTo>
                      <a:cubicBezTo>
                        <a:pt x="39473" y="70333"/>
                        <a:pt x="33791" y="71888"/>
                        <a:pt x="28050" y="73443"/>
                      </a:cubicBezTo>
                      <a:cubicBezTo>
                        <a:pt x="28169" y="73922"/>
                        <a:pt x="28289" y="74400"/>
                        <a:pt x="28468" y="74879"/>
                      </a:cubicBezTo>
                      <a:cubicBezTo>
                        <a:pt x="36423" y="72905"/>
                        <a:pt x="44317" y="70931"/>
                        <a:pt x="52870" y="68778"/>
                      </a:cubicBezTo>
                      <a:cubicBezTo>
                        <a:pt x="49521" y="60585"/>
                        <a:pt x="46410" y="52989"/>
                        <a:pt x="43181" y="45035"/>
                      </a:cubicBezTo>
                      <a:cubicBezTo>
                        <a:pt x="48025" y="41088"/>
                        <a:pt x="52870" y="37080"/>
                        <a:pt x="57774" y="33073"/>
                      </a:cubicBezTo>
                      <a:cubicBezTo>
                        <a:pt x="58013" y="33372"/>
                        <a:pt x="58252" y="33671"/>
                        <a:pt x="58432" y="33911"/>
                      </a:cubicBezTo>
                      <a:cubicBezTo>
                        <a:pt x="55023" y="36781"/>
                        <a:pt x="51733" y="39832"/>
                        <a:pt x="48145" y="42523"/>
                      </a:cubicBezTo>
                      <a:cubicBezTo>
                        <a:pt x="45693" y="44377"/>
                        <a:pt x="45274" y="46291"/>
                        <a:pt x="46709" y="49520"/>
                      </a:cubicBezTo>
                      <a:cubicBezTo>
                        <a:pt x="49461" y="55561"/>
                        <a:pt x="51793" y="61781"/>
                        <a:pt x="54425" y="68300"/>
                      </a:cubicBezTo>
                      <a:cubicBezTo>
                        <a:pt x="61063" y="66625"/>
                        <a:pt x="67104" y="65130"/>
                        <a:pt x="73862" y="63396"/>
                      </a:cubicBezTo>
                      <a:cubicBezTo>
                        <a:pt x="65788" y="43480"/>
                        <a:pt x="57893" y="24222"/>
                        <a:pt x="50059" y="4904"/>
                      </a:cubicBezTo>
                      <a:cubicBezTo>
                        <a:pt x="50417" y="4785"/>
                        <a:pt x="50717" y="4605"/>
                        <a:pt x="51076" y="4486"/>
                      </a:cubicBezTo>
                      <a:cubicBezTo>
                        <a:pt x="59209" y="24401"/>
                        <a:pt x="67283" y="44317"/>
                        <a:pt x="75477" y="64472"/>
                      </a:cubicBezTo>
                      <a:cubicBezTo>
                        <a:pt x="59448" y="68539"/>
                        <a:pt x="43181" y="72606"/>
                        <a:pt x="26734" y="76792"/>
                      </a:cubicBezTo>
                      <a:cubicBezTo>
                        <a:pt x="17942" y="55082"/>
                        <a:pt x="9031" y="33193"/>
                        <a:pt x="0" y="1100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73" name="Vrije vorm: vorm 9372">
                  <a:extLst>
                    <a:ext uri="{FF2B5EF4-FFF2-40B4-BE49-F238E27FC236}">
                      <a16:creationId xmlns:a16="http://schemas.microsoft.com/office/drawing/2014/main" id="{1F990B28-68C0-4A07-BCED-07EB2F740C87}"/>
                    </a:ext>
                  </a:extLst>
                </p:cNvPr>
                <p:cNvSpPr/>
                <p:nvPr/>
              </p:nvSpPr>
              <p:spPr>
                <a:xfrm>
                  <a:off x="5221847" y="2008905"/>
                  <a:ext cx="43898" cy="66146"/>
                </a:xfrm>
                <a:custGeom>
                  <a:avLst/>
                  <a:gdLst>
                    <a:gd name="connsiteX0" fmla="*/ 21830 w 43898"/>
                    <a:gd name="connsiteY0" fmla="*/ 64113 h 66146"/>
                    <a:gd name="connsiteX1" fmla="*/ 29605 w 43898"/>
                    <a:gd name="connsiteY1" fmla="*/ 63037 h 66146"/>
                    <a:gd name="connsiteX2" fmla="*/ 5921 w 43898"/>
                    <a:gd name="connsiteY2" fmla="*/ 4844 h 66146"/>
                    <a:gd name="connsiteX3" fmla="*/ 7297 w 43898"/>
                    <a:gd name="connsiteY3" fmla="*/ 4306 h 66146"/>
                    <a:gd name="connsiteX4" fmla="*/ 31459 w 43898"/>
                    <a:gd name="connsiteY4" fmla="*/ 63695 h 66146"/>
                    <a:gd name="connsiteX5" fmla="*/ 32954 w 43898"/>
                    <a:gd name="connsiteY5" fmla="*/ 63156 h 66146"/>
                    <a:gd name="connsiteX6" fmla="*/ 8014 w 43898"/>
                    <a:gd name="connsiteY6" fmla="*/ 1794 h 66146"/>
                    <a:gd name="connsiteX7" fmla="*/ 0 w 43898"/>
                    <a:gd name="connsiteY7" fmla="*/ 0 h 66146"/>
                    <a:gd name="connsiteX8" fmla="*/ 17284 w 43898"/>
                    <a:gd name="connsiteY8" fmla="*/ 0 h 66146"/>
                    <a:gd name="connsiteX9" fmla="*/ 43899 w 43898"/>
                    <a:gd name="connsiteY9" fmla="*/ 65369 h 66146"/>
                    <a:gd name="connsiteX10" fmla="*/ 43061 w 43898"/>
                    <a:gd name="connsiteY10" fmla="*/ 65848 h 66146"/>
                    <a:gd name="connsiteX11" fmla="*/ 41147 w 43898"/>
                    <a:gd name="connsiteY11" fmla="*/ 62080 h 66146"/>
                    <a:gd name="connsiteX12" fmla="*/ 18481 w 43898"/>
                    <a:gd name="connsiteY12" fmla="*/ 6160 h 66146"/>
                    <a:gd name="connsiteX13" fmla="*/ 10766 w 43898"/>
                    <a:gd name="connsiteY13" fmla="*/ 1914 h 66146"/>
                    <a:gd name="connsiteX14" fmla="*/ 39054 w 43898"/>
                    <a:gd name="connsiteY14" fmla="*/ 64353 h 66146"/>
                    <a:gd name="connsiteX15" fmla="*/ 14533 w 43898"/>
                    <a:gd name="connsiteY15" fmla="*/ 4007 h 66146"/>
                    <a:gd name="connsiteX16" fmla="*/ 15610 w 43898"/>
                    <a:gd name="connsiteY16" fmla="*/ 3588 h 66146"/>
                    <a:gd name="connsiteX17" fmla="*/ 41028 w 43898"/>
                    <a:gd name="connsiteY17" fmla="*/ 66147 h 66146"/>
                    <a:gd name="connsiteX18" fmla="*/ 21830 w 43898"/>
                    <a:gd name="connsiteY18" fmla="*/ 64113 h 6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898" h="66146">
                      <a:moveTo>
                        <a:pt x="21830" y="64113"/>
                      </a:moveTo>
                      <a:cubicBezTo>
                        <a:pt x="24162" y="63814"/>
                        <a:pt x="26435" y="63455"/>
                        <a:pt x="29605" y="63037"/>
                      </a:cubicBezTo>
                      <a:cubicBezTo>
                        <a:pt x="21710" y="43599"/>
                        <a:pt x="13815" y="24222"/>
                        <a:pt x="5921" y="4844"/>
                      </a:cubicBezTo>
                      <a:cubicBezTo>
                        <a:pt x="6399" y="4665"/>
                        <a:pt x="6818" y="4486"/>
                        <a:pt x="7297" y="4306"/>
                      </a:cubicBezTo>
                      <a:cubicBezTo>
                        <a:pt x="15371" y="24102"/>
                        <a:pt x="23385" y="43898"/>
                        <a:pt x="31459" y="63695"/>
                      </a:cubicBezTo>
                      <a:cubicBezTo>
                        <a:pt x="31937" y="63515"/>
                        <a:pt x="32416" y="63336"/>
                        <a:pt x="32954" y="63156"/>
                      </a:cubicBezTo>
                      <a:cubicBezTo>
                        <a:pt x="24700" y="42822"/>
                        <a:pt x="16447" y="22547"/>
                        <a:pt x="8014" y="1794"/>
                      </a:cubicBezTo>
                      <a:cubicBezTo>
                        <a:pt x="5921" y="1316"/>
                        <a:pt x="2931" y="658"/>
                        <a:pt x="0" y="0"/>
                      </a:cubicBezTo>
                      <a:cubicBezTo>
                        <a:pt x="5682" y="0"/>
                        <a:pt x="11364" y="0"/>
                        <a:pt x="17284" y="0"/>
                      </a:cubicBezTo>
                      <a:cubicBezTo>
                        <a:pt x="26076" y="21590"/>
                        <a:pt x="34987" y="43480"/>
                        <a:pt x="43899" y="65369"/>
                      </a:cubicBezTo>
                      <a:cubicBezTo>
                        <a:pt x="43600" y="65549"/>
                        <a:pt x="43360" y="65668"/>
                        <a:pt x="43061" y="65848"/>
                      </a:cubicBezTo>
                      <a:cubicBezTo>
                        <a:pt x="42403" y="64592"/>
                        <a:pt x="41626" y="63396"/>
                        <a:pt x="41147" y="62080"/>
                      </a:cubicBezTo>
                      <a:cubicBezTo>
                        <a:pt x="33552" y="43480"/>
                        <a:pt x="25897" y="24880"/>
                        <a:pt x="18481" y="6160"/>
                      </a:cubicBezTo>
                      <a:cubicBezTo>
                        <a:pt x="16806" y="1854"/>
                        <a:pt x="14533" y="478"/>
                        <a:pt x="10766" y="1914"/>
                      </a:cubicBezTo>
                      <a:cubicBezTo>
                        <a:pt x="14593" y="17225"/>
                        <a:pt x="34569" y="62678"/>
                        <a:pt x="39054" y="64353"/>
                      </a:cubicBezTo>
                      <a:cubicBezTo>
                        <a:pt x="30681" y="43779"/>
                        <a:pt x="22607" y="23923"/>
                        <a:pt x="14533" y="4007"/>
                      </a:cubicBezTo>
                      <a:cubicBezTo>
                        <a:pt x="14892" y="3887"/>
                        <a:pt x="15251" y="3708"/>
                        <a:pt x="15610" y="3588"/>
                      </a:cubicBezTo>
                      <a:cubicBezTo>
                        <a:pt x="23983" y="24162"/>
                        <a:pt x="32356" y="44676"/>
                        <a:pt x="41028" y="66147"/>
                      </a:cubicBezTo>
                      <a:cubicBezTo>
                        <a:pt x="34330" y="65369"/>
                        <a:pt x="28109" y="64711"/>
                        <a:pt x="21830" y="6411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74" name="Vrije vorm: vorm 9373">
                  <a:extLst>
                    <a:ext uri="{FF2B5EF4-FFF2-40B4-BE49-F238E27FC236}">
                      <a16:creationId xmlns:a16="http://schemas.microsoft.com/office/drawing/2014/main" id="{138CCCAA-F195-45C0-BB6E-B86C7D5C5499}"/>
                    </a:ext>
                  </a:extLst>
                </p:cNvPr>
                <p:cNvSpPr/>
                <p:nvPr/>
              </p:nvSpPr>
              <p:spPr>
                <a:xfrm>
                  <a:off x="5273402" y="1684092"/>
                  <a:ext cx="70093" cy="85763"/>
                </a:xfrm>
                <a:custGeom>
                  <a:avLst/>
                  <a:gdLst>
                    <a:gd name="connsiteX0" fmla="*/ 25956 w 70093"/>
                    <a:gd name="connsiteY0" fmla="*/ 85764 h 85763"/>
                    <a:gd name="connsiteX1" fmla="*/ 0 w 70093"/>
                    <a:gd name="connsiteY1" fmla="*/ 22009 h 85763"/>
                    <a:gd name="connsiteX2" fmla="*/ 44676 w 70093"/>
                    <a:gd name="connsiteY2" fmla="*/ 0 h 85763"/>
                    <a:gd name="connsiteX3" fmla="*/ 70094 w 70093"/>
                    <a:gd name="connsiteY3" fmla="*/ 62558 h 85763"/>
                    <a:gd name="connsiteX4" fmla="*/ 25956 w 70093"/>
                    <a:gd name="connsiteY4" fmla="*/ 85764 h 85763"/>
                    <a:gd name="connsiteX5" fmla="*/ 43838 w 70093"/>
                    <a:gd name="connsiteY5" fmla="*/ 1974 h 85763"/>
                    <a:gd name="connsiteX6" fmla="*/ 4964 w 70093"/>
                    <a:gd name="connsiteY6" fmla="*/ 20873 h 85763"/>
                    <a:gd name="connsiteX7" fmla="*/ 4067 w 70093"/>
                    <a:gd name="connsiteY7" fmla="*/ 27332 h 85763"/>
                    <a:gd name="connsiteX8" fmla="*/ 24042 w 70093"/>
                    <a:gd name="connsiteY8" fmla="*/ 77749 h 85763"/>
                    <a:gd name="connsiteX9" fmla="*/ 26495 w 70093"/>
                    <a:gd name="connsiteY9" fmla="*/ 83730 h 85763"/>
                    <a:gd name="connsiteX10" fmla="*/ 49042 w 70093"/>
                    <a:gd name="connsiteY10" fmla="*/ 72307 h 85763"/>
                    <a:gd name="connsiteX11" fmla="*/ 51195 w 70093"/>
                    <a:gd name="connsiteY11" fmla="*/ 64293 h 85763"/>
                    <a:gd name="connsiteX12" fmla="*/ 36602 w 70093"/>
                    <a:gd name="connsiteY12" fmla="*/ 28169 h 85763"/>
                    <a:gd name="connsiteX13" fmla="*/ 30143 w 70093"/>
                    <a:gd name="connsiteY13" fmla="*/ 12260 h 85763"/>
                    <a:gd name="connsiteX14" fmla="*/ 31099 w 70093"/>
                    <a:gd name="connsiteY14" fmla="*/ 11902 h 85763"/>
                    <a:gd name="connsiteX15" fmla="*/ 54365 w 70093"/>
                    <a:gd name="connsiteY15" fmla="*/ 69137 h 85763"/>
                    <a:gd name="connsiteX16" fmla="*/ 60046 w 70093"/>
                    <a:gd name="connsiteY16" fmla="*/ 66326 h 85763"/>
                    <a:gd name="connsiteX17" fmla="*/ 52570 w 70093"/>
                    <a:gd name="connsiteY17" fmla="*/ 47906 h 85763"/>
                    <a:gd name="connsiteX18" fmla="*/ 53827 w 70093"/>
                    <a:gd name="connsiteY18" fmla="*/ 47427 h 85763"/>
                    <a:gd name="connsiteX19" fmla="*/ 61183 w 70093"/>
                    <a:gd name="connsiteY19" fmla="*/ 65489 h 85763"/>
                    <a:gd name="connsiteX20" fmla="*/ 68240 w 70093"/>
                    <a:gd name="connsiteY20" fmla="*/ 61960 h 85763"/>
                    <a:gd name="connsiteX21" fmla="*/ 43838 w 70093"/>
                    <a:gd name="connsiteY21" fmla="*/ 1974 h 8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0093" h="85763">
                      <a:moveTo>
                        <a:pt x="25956" y="85764"/>
                      </a:moveTo>
                      <a:cubicBezTo>
                        <a:pt x="17284" y="64412"/>
                        <a:pt x="8672" y="43241"/>
                        <a:pt x="0" y="22009"/>
                      </a:cubicBezTo>
                      <a:cubicBezTo>
                        <a:pt x="14952" y="14653"/>
                        <a:pt x="29724" y="7356"/>
                        <a:pt x="44676" y="0"/>
                      </a:cubicBezTo>
                      <a:cubicBezTo>
                        <a:pt x="53049" y="20574"/>
                        <a:pt x="61542" y="41446"/>
                        <a:pt x="70094" y="62558"/>
                      </a:cubicBezTo>
                      <a:cubicBezTo>
                        <a:pt x="55501" y="70214"/>
                        <a:pt x="40788" y="77989"/>
                        <a:pt x="25956" y="85764"/>
                      </a:cubicBezTo>
                      <a:close/>
                      <a:moveTo>
                        <a:pt x="43838" y="1974"/>
                      </a:moveTo>
                      <a:cubicBezTo>
                        <a:pt x="30741" y="8313"/>
                        <a:pt x="17882" y="14653"/>
                        <a:pt x="4964" y="20873"/>
                      </a:cubicBezTo>
                      <a:cubicBezTo>
                        <a:pt x="1734" y="22428"/>
                        <a:pt x="3110" y="24820"/>
                        <a:pt x="4067" y="27332"/>
                      </a:cubicBezTo>
                      <a:cubicBezTo>
                        <a:pt x="10765" y="44138"/>
                        <a:pt x="17404" y="60944"/>
                        <a:pt x="24042" y="77749"/>
                      </a:cubicBezTo>
                      <a:cubicBezTo>
                        <a:pt x="24760" y="79544"/>
                        <a:pt x="25537" y="81398"/>
                        <a:pt x="26495" y="83730"/>
                      </a:cubicBezTo>
                      <a:cubicBezTo>
                        <a:pt x="34449" y="79663"/>
                        <a:pt x="41685" y="75836"/>
                        <a:pt x="49042" y="72307"/>
                      </a:cubicBezTo>
                      <a:cubicBezTo>
                        <a:pt x="52690" y="70573"/>
                        <a:pt x="52810" y="68240"/>
                        <a:pt x="51195" y="64293"/>
                      </a:cubicBezTo>
                      <a:cubicBezTo>
                        <a:pt x="46171" y="52331"/>
                        <a:pt x="41446" y="40190"/>
                        <a:pt x="36602" y="28169"/>
                      </a:cubicBezTo>
                      <a:cubicBezTo>
                        <a:pt x="34449" y="22846"/>
                        <a:pt x="32296" y="17583"/>
                        <a:pt x="30143" y="12260"/>
                      </a:cubicBezTo>
                      <a:cubicBezTo>
                        <a:pt x="30442" y="12141"/>
                        <a:pt x="30801" y="12021"/>
                        <a:pt x="31099" y="11902"/>
                      </a:cubicBezTo>
                      <a:cubicBezTo>
                        <a:pt x="38815" y="30861"/>
                        <a:pt x="46530" y="49760"/>
                        <a:pt x="54365" y="69137"/>
                      </a:cubicBezTo>
                      <a:cubicBezTo>
                        <a:pt x="56278" y="68180"/>
                        <a:pt x="57833" y="67463"/>
                        <a:pt x="60046" y="66326"/>
                      </a:cubicBezTo>
                      <a:cubicBezTo>
                        <a:pt x="57475" y="59927"/>
                        <a:pt x="55022" y="53886"/>
                        <a:pt x="52570" y="47906"/>
                      </a:cubicBezTo>
                      <a:cubicBezTo>
                        <a:pt x="52989" y="47726"/>
                        <a:pt x="53408" y="47547"/>
                        <a:pt x="53827" y="47427"/>
                      </a:cubicBezTo>
                      <a:cubicBezTo>
                        <a:pt x="56219" y="53348"/>
                        <a:pt x="58671" y="59269"/>
                        <a:pt x="61183" y="65489"/>
                      </a:cubicBezTo>
                      <a:cubicBezTo>
                        <a:pt x="63754" y="64233"/>
                        <a:pt x="65847" y="63156"/>
                        <a:pt x="68240" y="61960"/>
                      </a:cubicBezTo>
                      <a:cubicBezTo>
                        <a:pt x="60046" y="41925"/>
                        <a:pt x="52152" y="22368"/>
                        <a:pt x="43838" y="197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75" name="Vrije vorm: vorm 9374">
                  <a:extLst>
                    <a:ext uri="{FF2B5EF4-FFF2-40B4-BE49-F238E27FC236}">
                      <a16:creationId xmlns:a16="http://schemas.microsoft.com/office/drawing/2014/main" id="{99D5B7CA-4018-4770-A7DE-CC8520D9B5BE}"/>
                    </a:ext>
                  </a:extLst>
                </p:cNvPr>
                <p:cNvSpPr/>
                <p:nvPr/>
              </p:nvSpPr>
              <p:spPr>
                <a:xfrm>
                  <a:off x="5174839" y="1119870"/>
                  <a:ext cx="70273" cy="74340"/>
                </a:xfrm>
                <a:custGeom>
                  <a:avLst/>
                  <a:gdLst>
                    <a:gd name="connsiteX0" fmla="*/ 45154 w 70273"/>
                    <a:gd name="connsiteY0" fmla="*/ 0 h 74340"/>
                    <a:gd name="connsiteX1" fmla="*/ 70273 w 70273"/>
                    <a:gd name="connsiteY1" fmla="*/ 61661 h 74340"/>
                    <a:gd name="connsiteX2" fmla="*/ 25478 w 70273"/>
                    <a:gd name="connsiteY2" fmla="*/ 74340 h 74340"/>
                    <a:gd name="connsiteX3" fmla="*/ 0 w 70273"/>
                    <a:gd name="connsiteY3" fmla="*/ 11662 h 74340"/>
                    <a:gd name="connsiteX4" fmla="*/ 45154 w 70273"/>
                    <a:gd name="connsiteY4" fmla="*/ 0 h 74340"/>
                    <a:gd name="connsiteX5" fmla="*/ 12859 w 70273"/>
                    <a:gd name="connsiteY5" fmla="*/ 30262 h 74340"/>
                    <a:gd name="connsiteX6" fmla="*/ 16447 w 70273"/>
                    <a:gd name="connsiteY6" fmla="*/ 26315 h 74340"/>
                    <a:gd name="connsiteX7" fmla="*/ 42284 w 70273"/>
                    <a:gd name="connsiteY7" fmla="*/ 7356 h 74340"/>
                    <a:gd name="connsiteX8" fmla="*/ 62439 w 70273"/>
                    <a:gd name="connsiteY8" fmla="*/ 56757 h 74340"/>
                    <a:gd name="connsiteX9" fmla="*/ 66805 w 70273"/>
                    <a:gd name="connsiteY9" fmla="*/ 62857 h 74340"/>
                    <a:gd name="connsiteX10" fmla="*/ 67223 w 70273"/>
                    <a:gd name="connsiteY10" fmla="*/ 59508 h 74340"/>
                    <a:gd name="connsiteX11" fmla="*/ 45633 w 70273"/>
                    <a:gd name="connsiteY11" fmla="*/ 4605 h 74340"/>
                    <a:gd name="connsiteX12" fmla="*/ 40370 w 70273"/>
                    <a:gd name="connsiteY12" fmla="*/ 2632 h 74340"/>
                    <a:gd name="connsiteX13" fmla="*/ 23444 w 70273"/>
                    <a:gd name="connsiteY13" fmla="*/ 6818 h 74340"/>
                    <a:gd name="connsiteX14" fmla="*/ 1974 w 70273"/>
                    <a:gd name="connsiteY14" fmla="*/ 12679 h 74340"/>
                    <a:gd name="connsiteX15" fmla="*/ 6519 w 70273"/>
                    <a:gd name="connsiteY15" fmla="*/ 23923 h 74340"/>
                    <a:gd name="connsiteX16" fmla="*/ 12859 w 70273"/>
                    <a:gd name="connsiteY16" fmla="*/ 30262 h 74340"/>
                    <a:gd name="connsiteX17" fmla="*/ 12380 w 70273"/>
                    <a:gd name="connsiteY17" fmla="*/ 32356 h 74340"/>
                    <a:gd name="connsiteX18" fmla="*/ 28468 w 70273"/>
                    <a:gd name="connsiteY18" fmla="*/ 72128 h 74340"/>
                    <a:gd name="connsiteX19" fmla="*/ 63336 w 70273"/>
                    <a:gd name="connsiteY19" fmla="*/ 62140 h 74340"/>
                    <a:gd name="connsiteX20" fmla="*/ 41925 w 70273"/>
                    <a:gd name="connsiteY20" fmla="*/ 9509 h 74340"/>
                    <a:gd name="connsiteX21" fmla="*/ 12859 w 70273"/>
                    <a:gd name="connsiteY21" fmla="*/ 30262 h 74340"/>
                    <a:gd name="connsiteX22" fmla="*/ 11782 w 70273"/>
                    <a:gd name="connsiteY22" fmla="*/ 34688 h 74340"/>
                    <a:gd name="connsiteX23" fmla="*/ 11364 w 70273"/>
                    <a:gd name="connsiteY23" fmla="*/ 34868 h 74340"/>
                    <a:gd name="connsiteX24" fmla="*/ 25717 w 70273"/>
                    <a:gd name="connsiteY24" fmla="*/ 70154 h 74340"/>
                    <a:gd name="connsiteX25" fmla="*/ 26136 w 70273"/>
                    <a:gd name="connsiteY25" fmla="*/ 69974 h 74340"/>
                    <a:gd name="connsiteX26" fmla="*/ 11782 w 70273"/>
                    <a:gd name="connsiteY26" fmla="*/ 34688 h 7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0273" h="74340">
                      <a:moveTo>
                        <a:pt x="45154" y="0"/>
                      </a:moveTo>
                      <a:cubicBezTo>
                        <a:pt x="53528" y="20574"/>
                        <a:pt x="61901" y="41088"/>
                        <a:pt x="70273" y="61661"/>
                      </a:cubicBezTo>
                      <a:cubicBezTo>
                        <a:pt x="55023" y="65967"/>
                        <a:pt x="40310" y="70154"/>
                        <a:pt x="25478" y="74340"/>
                      </a:cubicBezTo>
                      <a:cubicBezTo>
                        <a:pt x="17045" y="53587"/>
                        <a:pt x="8552" y="32715"/>
                        <a:pt x="0" y="11662"/>
                      </a:cubicBezTo>
                      <a:cubicBezTo>
                        <a:pt x="15251" y="7715"/>
                        <a:pt x="30203" y="3828"/>
                        <a:pt x="45154" y="0"/>
                      </a:cubicBezTo>
                      <a:close/>
                      <a:moveTo>
                        <a:pt x="12859" y="30262"/>
                      </a:moveTo>
                      <a:cubicBezTo>
                        <a:pt x="14055" y="28947"/>
                        <a:pt x="15072" y="27332"/>
                        <a:pt x="16447" y="26315"/>
                      </a:cubicBezTo>
                      <a:cubicBezTo>
                        <a:pt x="25179" y="19796"/>
                        <a:pt x="34030" y="13457"/>
                        <a:pt x="42284" y="7356"/>
                      </a:cubicBezTo>
                      <a:cubicBezTo>
                        <a:pt x="48982" y="23803"/>
                        <a:pt x="55621" y="40310"/>
                        <a:pt x="62439" y="56757"/>
                      </a:cubicBezTo>
                      <a:cubicBezTo>
                        <a:pt x="63216" y="58611"/>
                        <a:pt x="64771" y="60046"/>
                        <a:pt x="66805" y="62857"/>
                      </a:cubicBezTo>
                      <a:cubicBezTo>
                        <a:pt x="67104" y="60286"/>
                        <a:pt x="67343" y="59807"/>
                        <a:pt x="67223" y="59508"/>
                      </a:cubicBezTo>
                      <a:cubicBezTo>
                        <a:pt x="60106" y="41207"/>
                        <a:pt x="53049" y="22846"/>
                        <a:pt x="45633" y="4605"/>
                      </a:cubicBezTo>
                      <a:cubicBezTo>
                        <a:pt x="45154" y="3409"/>
                        <a:pt x="41985" y="2332"/>
                        <a:pt x="40370" y="2632"/>
                      </a:cubicBezTo>
                      <a:cubicBezTo>
                        <a:pt x="34629" y="3708"/>
                        <a:pt x="29066" y="5323"/>
                        <a:pt x="23444" y="6818"/>
                      </a:cubicBezTo>
                      <a:cubicBezTo>
                        <a:pt x="16507" y="8672"/>
                        <a:pt x="9569" y="10586"/>
                        <a:pt x="1974" y="12679"/>
                      </a:cubicBezTo>
                      <a:cubicBezTo>
                        <a:pt x="3648" y="16866"/>
                        <a:pt x="5203" y="20334"/>
                        <a:pt x="6519" y="23923"/>
                      </a:cubicBezTo>
                      <a:cubicBezTo>
                        <a:pt x="7715" y="27272"/>
                        <a:pt x="8852" y="30442"/>
                        <a:pt x="12859" y="30262"/>
                      </a:cubicBezTo>
                      <a:cubicBezTo>
                        <a:pt x="12679" y="30920"/>
                        <a:pt x="12141" y="31817"/>
                        <a:pt x="12380" y="32356"/>
                      </a:cubicBezTo>
                      <a:cubicBezTo>
                        <a:pt x="17643" y="45453"/>
                        <a:pt x="22966" y="58551"/>
                        <a:pt x="28468" y="72128"/>
                      </a:cubicBezTo>
                      <a:cubicBezTo>
                        <a:pt x="40191" y="68778"/>
                        <a:pt x="51614" y="65489"/>
                        <a:pt x="63336" y="62140"/>
                      </a:cubicBezTo>
                      <a:cubicBezTo>
                        <a:pt x="55979" y="44078"/>
                        <a:pt x="49102" y="27093"/>
                        <a:pt x="41925" y="9509"/>
                      </a:cubicBezTo>
                      <a:cubicBezTo>
                        <a:pt x="31997" y="16567"/>
                        <a:pt x="22428" y="23444"/>
                        <a:pt x="12859" y="30262"/>
                      </a:cubicBezTo>
                      <a:close/>
                      <a:moveTo>
                        <a:pt x="11782" y="34688"/>
                      </a:moveTo>
                      <a:cubicBezTo>
                        <a:pt x="11662" y="34748"/>
                        <a:pt x="11543" y="34808"/>
                        <a:pt x="11364" y="34868"/>
                      </a:cubicBezTo>
                      <a:cubicBezTo>
                        <a:pt x="16148" y="46650"/>
                        <a:pt x="20933" y="58372"/>
                        <a:pt x="25717" y="70154"/>
                      </a:cubicBezTo>
                      <a:cubicBezTo>
                        <a:pt x="25837" y="70094"/>
                        <a:pt x="25956" y="70034"/>
                        <a:pt x="26136" y="69974"/>
                      </a:cubicBezTo>
                      <a:cubicBezTo>
                        <a:pt x="21351" y="58192"/>
                        <a:pt x="16567" y="46470"/>
                        <a:pt x="11782" y="3468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76" name="Vrije vorm: vorm 9375">
                  <a:extLst>
                    <a:ext uri="{FF2B5EF4-FFF2-40B4-BE49-F238E27FC236}">
                      <a16:creationId xmlns:a16="http://schemas.microsoft.com/office/drawing/2014/main" id="{166EAFBB-D00B-4208-9C36-B32CD79DE109}"/>
                    </a:ext>
                  </a:extLst>
                </p:cNvPr>
                <p:cNvSpPr/>
                <p:nvPr/>
              </p:nvSpPr>
              <p:spPr>
                <a:xfrm>
                  <a:off x="4897034" y="1102766"/>
                  <a:ext cx="81935" cy="81218"/>
                </a:xfrm>
                <a:custGeom>
                  <a:avLst/>
                  <a:gdLst>
                    <a:gd name="connsiteX0" fmla="*/ 27930 w 81935"/>
                    <a:gd name="connsiteY0" fmla="*/ 81218 h 81218"/>
                    <a:gd name="connsiteX1" fmla="*/ 0 w 81935"/>
                    <a:gd name="connsiteY1" fmla="*/ 12500 h 81218"/>
                    <a:gd name="connsiteX2" fmla="*/ 54485 w 81935"/>
                    <a:gd name="connsiteY2" fmla="*/ 0 h 81218"/>
                    <a:gd name="connsiteX3" fmla="*/ 81936 w 81935"/>
                    <a:gd name="connsiteY3" fmla="*/ 67463 h 81218"/>
                    <a:gd name="connsiteX4" fmla="*/ 27930 w 81935"/>
                    <a:gd name="connsiteY4" fmla="*/ 81218 h 81218"/>
                    <a:gd name="connsiteX5" fmla="*/ 69137 w 81935"/>
                    <a:gd name="connsiteY5" fmla="*/ 40848 h 81218"/>
                    <a:gd name="connsiteX6" fmla="*/ 53229 w 81935"/>
                    <a:gd name="connsiteY6" fmla="*/ 1734 h 81218"/>
                    <a:gd name="connsiteX7" fmla="*/ 1974 w 81935"/>
                    <a:gd name="connsiteY7" fmla="*/ 13516 h 81218"/>
                    <a:gd name="connsiteX8" fmla="*/ 11782 w 81935"/>
                    <a:gd name="connsiteY8" fmla="*/ 37559 h 81218"/>
                    <a:gd name="connsiteX9" fmla="*/ 18241 w 81935"/>
                    <a:gd name="connsiteY9" fmla="*/ 51494 h 81218"/>
                    <a:gd name="connsiteX10" fmla="*/ 32236 w 81935"/>
                    <a:gd name="connsiteY10" fmla="*/ 49879 h 81218"/>
                    <a:gd name="connsiteX11" fmla="*/ 69137 w 81935"/>
                    <a:gd name="connsiteY11" fmla="*/ 40848 h 81218"/>
                    <a:gd name="connsiteX12" fmla="*/ 80082 w 81935"/>
                    <a:gd name="connsiteY12" fmla="*/ 66625 h 81218"/>
                    <a:gd name="connsiteX13" fmla="*/ 71171 w 81935"/>
                    <a:gd name="connsiteY13" fmla="*/ 45095 h 81218"/>
                    <a:gd name="connsiteX14" fmla="*/ 66984 w 81935"/>
                    <a:gd name="connsiteY14" fmla="*/ 42882 h 81218"/>
                    <a:gd name="connsiteX15" fmla="*/ 54185 w 81935"/>
                    <a:gd name="connsiteY15" fmla="*/ 45812 h 81218"/>
                    <a:gd name="connsiteX16" fmla="*/ 19019 w 81935"/>
                    <a:gd name="connsiteY16" fmla="*/ 54484 h 81218"/>
                    <a:gd name="connsiteX17" fmla="*/ 27691 w 81935"/>
                    <a:gd name="connsiteY17" fmla="*/ 75836 h 81218"/>
                    <a:gd name="connsiteX18" fmla="*/ 70752 w 81935"/>
                    <a:gd name="connsiteY18" fmla="*/ 65190 h 81218"/>
                    <a:gd name="connsiteX19" fmla="*/ 71051 w 81935"/>
                    <a:gd name="connsiteY19" fmla="*/ 66266 h 81218"/>
                    <a:gd name="connsiteX20" fmla="*/ 28528 w 81935"/>
                    <a:gd name="connsiteY20" fmla="*/ 77271 h 81218"/>
                    <a:gd name="connsiteX21" fmla="*/ 29186 w 81935"/>
                    <a:gd name="connsiteY21" fmla="*/ 79424 h 81218"/>
                    <a:gd name="connsiteX22" fmla="*/ 80082 w 81935"/>
                    <a:gd name="connsiteY22" fmla="*/ 66625 h 8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1935" h="81218">
                      <a:moveTo>
                        <a:pt x="27930" y="81218"/>
                      </a:moveTo>
                      <a:cubicBezTo>
                        <a:pt x="18660" y="58372"/>
                        <a:pt x="9330" y="35466"/>
                        <a:pt x="0" y="12500"/>
                      </a:cubicBezTo>
                      <a:cubicBezTo>
                        <a:pt x="18421" y="8253"/>
                        <a:pt x="36423" y="4186"/>
                        <a:pt x="54485" y="0"/>
                      </a:cubicBezTo>
                      <a:cubicBezTo>
                        <a:pt x="63635" y="22547"/>
                        <a:pt x="72846" y="45095"/>
                        <a:pt x="81936" y="67463"/>
                      </a:cubicBezTo>
                      <a:cubicBezTo>
                        <a:pt x="63874" y="72128"/>
                        <a:pt x="46171" y="76613"/>
                        <a:pt x="27930" y="81218"/>
                      </a:cubicBezTo>
                      <a:close/>
                      <a:moveTo>
                        <a:pt x="69137" y="40848"/>
                      </a:moveTo>
                      <a:cubicBezTo>
                        <a:pt x="63635" y="27332"/>
                        <a:pt x="58492" y="14713"/>
                        <a:pt x="53229" y="1734"/>
                      </a:cubicBezTo>
                      <a:cubicBezTo>
                        <a:pt x="36124" y="5682"/>
                        <a:pt x="19378" y="9509"/>
                        <a:pt x="1974" y="13516"/>
                      </a:cubicBezTo>
                      <a:cubicBezTo>
                        <a:pt x="5503" y="22188"/>
                        <a:pt x="8612" y="29904"/>
                        <a:pt x="11782" y="37559"/>
                      </a:cubicBezTo>
                      <a:cubicBezTo>
                        <a:pt x="13815" y="42403"/>
                        <a:pt x="14892" y="49520"/>
                        <a:pt x="18241" y="51494"/>
                      </a:cubicBezTo>
                      <a:cubicBezTo>
                        <a:pt x="21770" y="53527"/>
                        <a:pt x="27571" y="50956"/>
                        <a:pt x="32236" y="49879"/>
                      </a:cubicBezTo>
                      <a:cubicBezTo>
                        <a:pt x="44437" y="47068"/>
                        <a:pt x="56578" y="43898"/>
                        <a:pt x="69137" y="40848"/>
                      </a:cubicBezTo>
                      <a:close/>
                      <a:moveTo>
                        <a:pt x="80082" y="66625"/>
                      </a:moveTo>
                      <a:cubicBezTo>
                        <a:pt x="76972" y="58910"/>
                        <a:pt x="74281" y="51913"/>
                        <a:pt x="71171" y="45095"/>
                      </a:cubicBezTo>
                      <a:cubicBezTo>
                        <a:pt x="70632" y="43898"/>
                        <a:pt x="68240" y="42702"/>
                        <a:pt x="66984" y="42882"/>
                      </a:cubicBezTo>
                      <a:cubicBezTo>
                        <a:pt x="62678" y="43540"/>
                        <a:pt x="58432" y="44736"/>
                        <a:pt x="54185" y="45812"/>
                      </a:cubicBezTo>
                      <a:cubicBezTo>
                        <a:pt x="42583" y="48683"/>
                        <a:pt x="30980" y="51554"/>
                        <a:pt x="19019" y="54484"/>
                      </a:cubicBezTo>
                      <a:cubicBezTo>
                        <a:pt x="22069" y="61900"/>
                        <a:pt x="24820" y="68719"/>
                        <a:pt x="27691" y="75836"/>
                      </a:cubicBezTo>
                      <a:cubicBezTo>
                        <a:pt x="42284" y="72247"/>
                        <a:pt x="56518" y="68719"/>
                        <a:pt x="70752" y="65190"/>
                      </a:cubicBezTo>
                      <a:cubicBezTo>
                        <a:pt x="70872" y="65549"/>
                        <a:pt x="70932" y="65908"/>
                        <a:pt x="71051" y="66266"/>
                      </a:cubicBezTo>
                      <a:cubicBezTo>
                        <a:pt x="56877" y="69915"/>
                        <a:pt x="42702" y="73563"/>
                        <a:pt x="28528" y="77271"/>
                      </a:cubicBezTo>
                      <a:cubicBezTo>
                        <a:pt x="28767" y="77989"/>
                        <a:pt x="28947" y="78706"/>
                        <a:pt x="29186" y="79424"/>
                      </a:cubicBezTo>
                      <a:cubicBezTo>
                        <a:pt x="45813" y="75237"/>
                        <a:pt x="62499" y="71051"/>
                        <a:pt x="80082" y="6662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77" name="Vrije vorm: vorm 9376">
                  <a:extLst>
                    <a:ext uri="{FF2B5EF4-FFF2-40B4-BE49-F238E27FC236}">
                      <a16:creationId xmlns:a16="http://schemas.microsoft.com/office/drawing/2014/main" id="{D034CEC7-5DD6-4C6F-B891-A65BEB56CC1F}"/>
                    </a:ext>
                  </a:extLst>
                </p:cNvPr>
                <p:cNvSpPr/>
                <p:nvPr/>
              </p:nvSpPr>
              <p:spPr>
                <a:xfrm>
                  <a:off x="5000322" y="1347078"/>
                  <a:ext cx="78467" cy="84507"/>
                </a:xfrm>
                <a:custGeom>
                  <a:avLst/>
                  <a:gdLst>
                    <a:gd name="connsiteX0" fmla="*/ 27571 w 78467"/>
                    <a:gd name="connsiteY0" fmla="*/ 84508 h 84507"/>
                    <a:gd name="connsiteX1" fmla="*/ 0 w 78467"/>
                    <a:gd name="connsiteY1" fmla="*/ 16686 h 84507"/>
                    <a:gd name="connsiteX2" fmla="*/ 51614 w 78467"/>
                    <a:gd name="connsiteY2" fmla="*/ 0 h 84507"/>
                    <a:gd name="connsiteX3" fmla="*/ 78467 w 78467"/>
                    <a:gd name="connsiteY3" fmla="*/ 66027 h 84507"/>
                    <a:gd name="connsiteX4" fmla="*/ 77510 w 78467"/>
                    <a:gd name="connsiteY4" fmla="*/ 66386 h 84507"/>
                    <a:gd name="connsiteX5" fmla="*/ 51135 w 78467"/>
                    <a:gd name="connsiteY5" fmla="*/ 1555 h 84507"/>
                    <a:gd name="connsiteX6" fmla="*/ 2333 w 78467"/>
                    <a:gd name="connsiteY6" fmla="*/ 17344 h 84507"/>
                    <a:gd name="connsiteX7" fmla="*/ 9151 w 78467"/>
                    <a:gd name="connsiteY7" fmla="*/ 34030 h 84507"/>
                    <a:gd name="connsiteX8" fmla="*/ 47667 w 78467"/>
                    <a:gd name="connsiteY8" fmla="*/ 21471 h 84507"/>
                    <a:gd name="connsiteX9" fmla="*/ 48025 w 78467"/>
                    <a:gd name="connsiteY9" fmla="*/ 22547 h 84507"/>
                    <a:gd name="connsiteX10" fmla="*/ 9629 w 78467"/>
                    <a:gd name="connsiteY10" fmla="*/ 35526 h 84507"/>
                    <a:gd name="connsiteX11" fmla="*/ 27033 w 78467"/>
                    <a:gd name="connsiteY11" fmla="*/ 78288 h 84507"/>
                    <a:gd name="connsiteX12" fmla="*/ 73085 w 78467"/>
                    <a:gd name="connsiteY12" fmla="*/ 62319 h 84507"/>
                    <a:gd name="connsiteX13" fmla="*/ 73623 w 78467"/>
                    <a:gd name="connsiteY13" fmla="*/ 63695 h 84507"/>
                    <a:gd name="connsiteX14" fmla="*/ 27691 w 78467"/>
                    <a:gd name="connsiteY14" fmla="*/ 80082 h 84507"/>
                    <a:gd name="connsiteX15" fmla="*/ 28528 w 78467"/>
                    <a:gd name="connsiteY15" fmla="*/ 82414 h 84507"/>
                    <a:gd name="connsiteX16" fmla="*/ 74819 w 78467"/>
                    <a:gd name="connsiteY16" fmla="*/ 66565 h 84507"/>
                    <a:gd name="connsiteX17" fmla="*/ 75178 w 78467"/>
                    <a:gd name="connsiteY17" fmla="*/ 67642 h 84507"/>
                    <a:gd name="connsiteX18" fmla="*/ 27571 w 78467"/>
                    <a:gd name="connsiteY18" fmla="*/ 84508 h 8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467" h="84507">
                      <a:moveTo>
                        <a:pt x="27571" y="84508"/>
                      </a:moveTo>
                      <a:cubicBezTo>
                        <a:pt x="18421" y="61960"/>
                        <a:pt x="9210" y="39353"/>
                        <a:pt x="0" y="16686"/>
                      </a:cubicBezTo>
                      <a:cubicBezTo>
                        <a:pt x="17344" y="11064"/>
                        <a:pt x="34628" y="5502"/>
                        <a:pt x="51614" y="0"/>
                      </a:cubicBezTo>
                      <a:cubicBezTo>
                        <a:pt x="60525" y="21949"/>
                        <a:pt x="69496" y="44018"/>
                        <a:pt x="78467" y="66027"/>
                      </a:cubicBezTo>
                      <a:cubicBezTo>
                        <a:pt x="78168" y="66147"/>
                        <a:pt x="77809" y="66266"/>
                        <a:pt x="77510" y="66386"/>
                      </a:cubicBezTo>
                      <a:cubicBezTo>
                        <a:pt x="68838" y="44975"/>
                        <a:pt x="60106" y="23624"/>
                        <a:pt x="51135" y="1555"/>
                      </a:cubicBezTo>
                      <a:cubicBezTo>
                        <a:pt x="34808" y="6818"/>
                        <a:pt x="18780" y="12021"/>
                        <a:pt x="2333" y="17344"/>
                      </a:cubicBezTo>
                      <a:cubicBezTo>
                        <a:pt x="4605" y="22906"/>
                        <a:pt x="6758" y="28169"/>
                        <a:pt x="9151" y="34030"/>
                      </a:cubicBezTo>
                      <a:cubicBezTo>
                        <a:pt x="22009" y="29844"/>
                        <a:pt x="34868" y="25657"/>
                        <a:pt x="47667" y="21471"/>
                      </a:cubicBezTo>
                      <a:cubicBezTo>
                        <a:pt x="47786" y="21830"/>
                        <a:pt x="47906" y="22189"/>
                        <a:pt x="48025" y="22547"/>
                      </a:cubicBezTo>
                      <a:cubicBezTo>
                        <a:pt x="35346" y="26853"/>
                        <a:pt x="22727" y="31100"/>
                        <a:pt x="9629" y="35526"/>
                      </a:cubicBezTo>
                      <a:cubicBezTo>
                        <a:pt x="15371" y="49700"/>
                        <a:pt x="21052" y="63695"/>
                        <a:pt x="27033" y="78288"/>
                      </a:cubicBezTo>
                      <a:cubicBezTo>
                        <a:pt x="42403" y="72965"/>
                        <a:pt x="57774" y="67642"/>
                        <a:pt x="73085" y="62319"/>
                      </a:cubicBezTo>
                      <a:cubicBezTo>
                        <a:pt x="73264" y="62798"/>
                        <a:pt x="73443" y="63216"/>
                        <a:pt x="73623" y="63695"/>
                      </a:cubicBezTo>
                      <a:cubicBezTo>
                        <a:pt x="58312" y="69137"/>
                        <a:pt x="43001" y="74639"/>
                        <a:pt x="27691" y="80082"/>
                      </a:cubicBezTo>
                      <a:cubicBezTo>
                        <a:pt x="27990" y="80859"/>
                        <a:pt x="28229" y="81637"/>
                        <a:pt x="28528" y="82414"/>
                      </a:cubicBezTo>
                      <a:cubicBezTo>
                        <a:pt x="43958" y="77151"/>
                        <a:pt x="59389" y="71828"/>
                        <a:pt x="74819" y="66565"/>
                      </a:cubicBezTo>
                      <a:cubicBezTo>
                        <a:pt x="74939" y="66924"/>
                        <a:pt x="75058" y="67283"/>
                        <a:pt x="75178" y="67642"/>
                      </a:cubicBezTo>
                      <a:cubicBezTo>
                        <a:pt x="59329" y="73324"/>
                        <a:pt x="43420" y="78886"/>
                        <a:pt x="27571" y="8450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78" name="Vrije vorm: vorm 9377">
                  <a:extLst>
                    <a:ext uri="{FF2B5EF4-FFF2-40B4-BE49-F238E27FC236}">
                      <a16:creationId xmlns:a16="http://schemas.microsoft.com/office/drawing/2014/main" id="{DA0F9393-D4A9-4DF0-9DA0-1AEBB0A216AF}"/>
                    </a:ext>
                  </a:extLst>
                </p:cNvPr>
                <p:cNvSpPr/>
                <p:nvPr/>
              </p:nvSpPr>
              <p:spPr>
                <a:xfrm>
                  <a:off x="5114015" y="2043832"/>
                  <a:ext cx="71708" cy="90607"/>
                </a:xfrm>
                <a:custGeom>
                  <a:avLst/>
                  <a:gdLst>
                    <a:gd name="connsiteX0" fmla="*/ 42942 w 71708"/>
                    <a:gd name="connsiteY0" fmla="*/ 77869 h 90607"/>
                    <a:gd name="connsiteX1" fmla="*/ 27152 w 71708"/>
                    <a:gd name="connsiteY1" fmla="*/ 39054 h 90607"/>
                    <a:gd name="connsiteX2" fmla="*/ 28229 w 71708"/>
                    <a:gd name="connsiteY2" fmla="*/ 38576 h 90607"/>
                    <a:gd name="connsiteX3" fmla="*/ 43958 w 71708"/>
                    <a:gd name="connsiteY3" fmla="*/ 77211 h 90607"/>
                    <a:gd name="connsiteX4" fmla="*/ 70154 w 71708"/>
                    <a:gd name="connsiteY4" fmla="*/ 60824 h 90607"/>
                    <a:gd name="connsiteX5" fmla="*/ 57654 w 71708"/>
                    <a:gd name="connsiteY5" fmla="*/ 30681 h 90607"/>
                    <a:gd name="connsiteX6" fmla="*/ 51793 w 71708"/>
                    <a:gd name="connsiteY6" fmla="*/ 29425 h 90607"/>
                    <a:gd name="connsiteX7" fmla="*/ 25956 w 71708"/>
                    <a:gd name="connsiteY7" fmla="*/ 34270 h 90607"/>
                    <a:gd name="connsiteX8" fmla="*/ 46470 w 71708"/>
                    <a:gd name="connsiteY8" fmla="*/ 29066 h 90607"/>
                    <a:gd name="connsiteX9" fmla="*/ 34449 w 71708"/>
                    <a:gd name="connsiteY9" fmla="*/ 26734 h 90607"/>
                    <a:gd name="connsiteX10" fmla="*/ 34748 w 71708"/>
                    <a:gd name="connsiteY10" fmla="*/ 23923 h 90607"/>
                    <a:gd name="connsiteX11" fmla="*/ 55979 w 71708"/>
                    <a:gd name="connsiteY11" fmla="*/ 25837 h 90607"/>
                    <a:gd name="connsiteX12" fmla="*/ 47487 w 71708"/>
                    <a:gd name="connsiteY12" fmla="*/ 4964 h 90607"/>
                    <a:gd name="connsiteX13" fmla="*/ 48563 w 71708"/>
                    <a:gd name="connsiteY13" fmla="*/ 4545 h 90607"/>
                    <a:gd name="connsiteX14" fmla="*/ 71709 w 71708"/>
                    <a:gd name="connsiteY14" fmla="*/ 61482 h 90607"/>
                    <a:gd name="connsiteX15" fmla="*/ 25538 w 71708"/>
                    <a:gd name="connsiteY15" fmla="*/ 90608 h 90607"/>
                    <a:gd name="connsiteX16" fmla="*/ 0 w 71708"/>
                    <a:gd name="connsiteY16" fmla="*/ 27751 h 90607"/>
                    <a:gd name="connsiteX17" fmla="*/ 46530 w 71708"/>
                    <a:gd name="connsiteY17" fmla="*/ 0 h 90607"/>
                    <a:gd name="connsiteX18" fmla="*/ 47128 w 71708"/>
                    <a:gd name="connsiteY18" fmla="*/ 1017 h 90607"/>
                    <a:gd name="connsiteX19" fmla="*/ 1974 w 71708"/>
                    <a:gd name="connsiteY19" fmla="*/ 28349 h 90607"/>
                    <a:gd name="connsiteX20" fmla="*/ 26375 w 71708"/>
                    <a:gd name="connsiteY20" fmla="*/ 88395 h 90607"/>
                    <a:gd name="connsiteX21" fmla="*/ 42942 w 71708"/>
                    <a:gd name="connsiteY21" fmla="*/ 77869 h 90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708" h="90607">
                      <a:moveTo>
                        <a:pt x="42942" y="77869"/>
                      </a:moveTo>
                      <a:cubicBezTo>
                        <a:pt x="37499" y="64472"/>
                        <a:pt x="32296" y="51733"/>
                        <a:pt x="27152" y="39054"/>
                      </a:cubicBezTo>
                      <a:cubicBezTo>
                        <a:pt x="27511" y="38875"/>
                        <a:pt x="27870" y="38755"/>
                        <a:pt x="28229" y="38576"/>
                      </a:cubicBezTo>
                      <a:cubicBezTo>
                        <a:pt x="33373" y="51255"/>
                        <a:pt x="38516" y="63874"/>
                        <a:pt x="43958" y="77211"/>
                      </a:cubicBezTo>
                      <a:cubicBezTo>
                        <a:pt x="52929" y="71589"/>
                        <a:pt x="61183" y="66446"/>
                        <a:pt x="70154" y="60824"/>
                      </a:cubicBezTo>
                      <a:cubicBezTo>
                        <a:pt x="66027" y="50717"/>
                        <a:pt x="62080" y="40549"/>
                        <a:pt x="57654" y="30681"/>
                      </a:cubicBezTo>
                      <a:cubicBezTo>
                        <a:pt x="57176" y="29545"/>
                        <a:pt x="53647" y="29066"/>
                        <a:pt x="51793" y="29425"/>
                      </a:cubicBezTo>
                      <a:cubicBezTo>
                        <a:pt x="43241" y="31160"/>
                        <a:pt x="34808" y="33253"/>
                        <a:pt x="25956" y="34270"/>
                      </a:cubicBezTo>
                      <a:cubicBezTo>
                        <a:pt x="32356" y="32655"/>
                        <a:pt x="38755" y="30980"/>
                        <a:pt x="46470" y="29066"/>
                      </a:cubicBezTo>
                      <a:cubicBezTo>
                        <a:pt x="41566" y="28109"/>
                        <a:pt x="38037" y="27451"/>
                        <a:pt x="34449" y="26734"/>
                      </a:cubicBezTo>
                      <a:cubicBezTo>
                        <a:pt x="34568" y="25777"/>
                        <a:pt x="34628" y="24820"/>
                        <a:pt x="34748" y="23923"/>
                      </a:cubicBezTo>
                      <a:cubicBezTo>
                        <a:pt x="41685" y="24581"/>
                        <a:pt x="48623" y="25179"/>
                        <a:pt x="55979" y="25837"/>
                      </a:cubicBezTo>
                      <a:cubicBezTo>
                        <a:pt x="53229" y="19019"/>
                        <a:pt x="50358" y="11961"/>
                        <a:pt x="47487" y="4964"/>
                      </a:cubicBezTo>
                      <a:cubicBezTo>
                        <a:pt x="47846" y="4844"/>
                        <a:pt x="48205" y="4665"/>
                        <a:pt x="48563" y="4545"/>
                      </a:cubicBezTo>
                      <a:cubicBezTo>
                        <a:pt x="56219" y="23444"/>
                        <a:pt x="63934" y="42284"/>
                        <a:pt x="71709" y="61482"/>
                      </a:cubicBezTo>
                      <a:cubicBezTo>
                        <a:pt x="56757" y="70931"/>
                        <a:pt x="41327" y="80680"/>
                        <a:pt x="25538" y="90608"/>
                      </a:cubicBezTo>
                      <a:cubicBezTo>
                        <a:pt x="16985" y="69675"/>
                        <a:pt x="8493" y="48683"/>
                        <a:pt x="0" y="27751"/>
                      </a:cubicBezTo>
                      <a:cubicBezTo>
                        <a:pt x="15550" y="18480"/>
                        <a:pt x="31040" y="9270"/>
                        <a:pt x="46530" y="0"/>
                      </a:cubicBezTo>
                      <a:cubicBezTo>
                        <a:pt x="46709" y="359"/>
                        <a:pt x="46889" y="658"/>
                        <a:pt x="47128" y="1017"/>
                      </a:cubicBezTo>
                      <a:cubicBezTo>
                        <a:pt x="32057" y="10107"/>
                        <a:pt x="17045" y="19198"/>
                        <a:pt x="1974" y="28349"/>
                      </a:cubicBezTo>
                      <a:cubicBezTo>
                        <a:pt x="10167" y="48564"/>
                        <a:pt x="18181" y="68180"/>
                        <a:pt x="26375" y="88395"/>
                      </a:cubicBezTo>
                      <a:cubicBezTo>
                        <a:pt x="31937" y="84807"/>
                        <a:pt x="37140" y="81577"/>
                        <a:pt x="42942" y="7786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79" name="Vrije vorm: vorm 9378">
                  <a:extLst>
                    <a:ext uri="{FF2B5EF4-FFF2-40B4-BE49-F238E27FC236}">
                      <a16:creationId xmlns:a16="http://schemas.microsoft.com/office/drawing/2014/main" id="{7611028F-216D-488C-B081-37C77FC6FB43}"/>
                    </a:ext>
                  </a:extLst>
                </p:cNvPr>
                <p:cNvSpPr/>
                <p:nvPr/>
              </p:nvSpPr>
              <p:spPr>
                <a:xfrm>
                  <a:off x="5282492" y="1864709"/>
                  <a:ext cx="70991" cy="90308"/>
                </a:xfrm>
                <a:custGeom>
                  <a:avLst/>
                  <a:gdLst>
                    <a:gd name="connsiteX0" fmla="*/ 26255 w 70991"/>
                    <a:gd name="connsiteY0" fmla="*/ 90309 h 90308"/>
                    <a:gd name="connsiteX1" fmla="*/ 0 w 70991"/>
                    <a:gd name="connsiteY1" fmla="*/ 25777 h 90308"/>
                    <a:gd name="connsiteX2" fmla="*/ 45214 w 70991"/>
                    <a:gd name="connsiteY2" fmla="*/ 0 h 90308"/>
                    <a:gd name="connsiteX3" fmla="*/ 70991 w 70991"/>
                    <a:gd name="connsiteY3" fmla="*/ 63455 h 90308"/>
                    <a:gd name="connsiteX4" fmla="*/ 26255 w 70991"/>
                    <a:gd name="connsiteY4" fmla="*/ 90309 h 90308"/>
                    <a:gd name="connsiteX5" fmla="*/ 68958 w 70991"/>
                    <a:gd name="connsiteY5" fmla="*/ 63156 h 90308"/>
                    <a:gd name="connsiteX6" fmla="*/ 44138 w 70991"/>
                    <a:gd name="connsiteY6" fmla="*/ 2213 h 90308"/>
                    <a:gd name="connsiteX7" fmla="*/ 5801 w 70991"/>
                    <a:gd name="connsiteY7" fmla="*/ 23983 h 90308"/>
                    <a:gd name="connsiteX8" fmla="*/ 3708 w 70991"/>
                    <a:gd name="connsiteY8" fmla="*/ 30861 h 90308"/>
                    <a:gd name="connsiteX9" fmla="*/ 22009 w 70991"/>
                    <a:gd name="connsiteY9" fmla="*/ 76015 h 90308"/>
                    <a:gd name="connsiteX10" fmla="*/ 24102 w 70991"/>
                    <a:gd name="connsiteY10" fmla="*/ 79544 h 90308"/>
                    <a:gd name="connsiteX11" fmla="*/ 45394 w 70991"/>
                    <a:gd name="connsiteY11" fmla="*/ 67223 h 90308"/>
                    <a:gd name="connsiteX12" fmla="*/ 27272 w 70991"/>
                    <a:gd name="connsiteY12" fmla="*/ 79364 h 90308"/>
                    <a:gd name="connsiteX13" fmla="*/ 26674 w 70991"/>
                    <a:gd name="connsiteY13" fmla="*/ 84926 h 90308"/>
                    <a:gd name="connsiteX14" fmla="*/ 44556 w 70991"/>
                    <a:gd name="connsiteY14" fmla="*/ 74460 h 90308"/>
                    <a:gd name="connsiteX15" fmla="*/ 45154 w 70991"/>
                    <a:gd name="connsiteY15" fmla="*/ 75477 h 90308"/>
                    <a:gd name="connsiteX16" fmla="*/ 38935 w 70991"/>
                    <a:gd name="connsiteY16" fmla="*/ 80022 h 90308"/>
                    <a:gd name="connsiteX17" fmla="*/ 39353 w 70991"/>
                    <a:gd name="connsiteY17" fmla="*/ 80800 h 90308"/>
                    <a:gd name="connsiteX18" fmla="*/ 68958 w 70991"/>
                    <a:gd name="connsiteY18" fmla="*/ 63156 h 9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991" h="90308">
                      <a:moveTo>
                        <a:pt x="26255" y="90309"/>
                      </a:moveTo>
                      <a:cubicBezTo>
                        <a:pt x="17523" y="68898"/>
                        <a:pt x="8792" y="47367"/>
                        <a:pt x="0" y="25777"/>
                      </a:cubicBezTo>
                      <a:cubicBezTo>
                        <a:pt x="15072" y="17165"/>
                        <a:pt x="30143" y="8612"/>
                        <a:pt x="45214" y="0"/>
                      </a:cubicBezTo>
                      <a:cubicBezTo>
                        <a:pt x="53827" y="21112"/>
                        <a:pt x="62439" y="42344"/>
                        <a:pt x="70991" y="63455"/>
                      </a:cubicBezTo>
                      <a:cubicBezTo>
                        <a:pt x="55979" y="72486"/>
                        <a:pt x="41147" y="81398"/>
                        <a:pt x="26255" y="90309"/>
                      </a:cubicBezTo>
                      <a:close/>
                      <a:moveTo>
                        <a:pt x="68958" y="63156"/>
                      </a:moveTo>
                      <a:cubicBezTo>
                        <a:pt x="60525" y="42463"/>
                        <a:pt x="52391" y="22487"/>
                        <a:pt x="44138" y="2213"/>
                      </a:cubicBezTo>
                      <a:cubicBezTo>
                        <a:pt x="31100" y="9689"/>
                        <a:pt x="18600" y="17045"/>
                        <a:pt x="5801" y="23983"/>
                      </a:cubicBezTo>
                      <a:cubicBezTo>
                        <a:pt x="2691" y="25717"/>
                        <a:pt x="2213" y="27272"/>
                        <a:pt x="3708" y="30861"/>
                      </a:cubicBezTo>
                      <a:cubicBezTo>
                        <a:pt x="9928" y="45872"/>
                        <a:pt x="15909" y="60944"/>
                        <a:pt x="22009" y="76015"/>
                      </a:cubicBezTo>
                      <a:cubicBezTo>
                        <a:pt x="22488" y="77211"/>
                        <a:pt x="23325" y="78288"/>
                        <a:pt x="24102" y="79544"/>
                      </a:cubicBezTo>
                      <a:cubicBezTo>
                        <a:pt x="31399" y="75297"/>
                        <a:pt x="38396" y="71290"/>
                        <a:pt x="45394" y="67223"/>
                      </a:cubicBezTo>
                      <a:cubicBezTo>
                        <a:pt x="39712" y="71888"/>
                        <a:pt x="33432" y="75537"/>
                        <a:pt x="27272" y="79364"/>
                      </a:cubicBezTo>
                      <a:cubicBezTo>
                        <a:pt x="25239" y="80620"/>
                        <a:pt x="23086" y="82175"/>
                        <a:pt x="26674" y="84926"/>
                      </a:cubicBezTo>
                      <a:cubicBezTo>
                        <a:pt x="32655" y="81398"/>
                        <a:pt x="38636" y="77929"/>
                        <a:pt x="44556" y="74460"/>
                      </a:cubicBezTo>
                      <a:cubicBezTo>
                        <a:pt x="44736" y="74819"/>
                        <a:pt x="44975" y="75118"/>
                        <a:pt x="45154" y="75477"/>
                      </a:cubicBezTo>
                      <a:cubicBezTo>
                        <a:pt x="43061" y="76972"/>
                        <a:pt x="41028" y="78527"/>
                        <a:pt x="38935" y="80022"/>
                      </a:cubicBezTo>
                      <a:cubicBezTo>
                        <a:pt x="39054" y="80261"/>
                        <a:pt x="39234" y="80560"/>
                        <a:pt x="39353" y="80800"/>
                      </a:cubicBezTo>
                      <a:cubicBezTo>
                        <a:pt x="49162" y="74998"/>
                        <a:pt x="58910" y="69197"/>
                        <a:pt x="68958" y="6315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80" name="Vrije vorm: vorm 9379">
                  <a:extLst>
                    <a:ext uri="{FF2B5EF4-FFF2-40B4-BE49-F238E27FC236}">
                      <a16:creationId xmlns:a16="http://schemas.microsoft.com/office/drawing/2014/main" id="{B99431A3-BCBA-4C58-AB08-C69192CCAD0E}"/>
                    </a:ext>
                  </a:extLst>
                </p:cNvPr>
                <p:cNvSpPr/>
                <p:nvPr/>
              </p:nvSpPr>
              <p:spPr>
                <a:xfrm>
                  <a:off x="5120415" y="1132310"/>
                  <a:ext cx="72546" cy="76254"/>
                </a:xfrm>
                <a:custGeom>
                  <a:avLst/>
                  <a:gdLst>
                    <a:gd name="connsiteX0" fmla="*/ 72546 w 72546"/>
                    <a:gd name="connsiteY0" fmla="*/ 62798 h 76254"/>
                    <a:gd name="connsiteX1" fmla="*/ 26076 w 72546"/>
                    <a:gd name="connsiteY1" fmla="*/ 76254 h 76254"/>
                    <a:gd name="connsiteX2" fmla="*/ 0 w 72546"/>
                    <a:gd name="connsiteY2" fmla="*/ 12141 h 76254"/>
                    <a:gd name="connsiteX3" fmla="*/ 46949 w 72546"/>
                    <a:gd name="connsiteY3" fmla="*/ 0 h 76254"/>
                    <a:gd name="connsiteX4" fmla="*/ 72546 w 72546"/>
                    <a:gd name="connsiteY4" fmla="*/ 62798 h 76254"/>
                    <a:gd name="connsiteX5" fmla="*/ 45992 w 72546"/>
                    <a:gd name="connsiteY5" fmla="*/ 1615 h 76254"/>
                    <a:gd name="connsiteX6" fmla="*/ 1734 w 72546"/>
                    <a:gd name="connsiteY6" fmla="*/ 13038 h 76254"/>
                    <a:gd name="connsiteX7" fmla="*/ 28468 w 72546"/>
                    <a:gd name="connsiteY7" fmla="*/ 73682 h 76254"/>
                    <a:gd name="connsiteX8" fmla="*/ 36722 w 72546"/>
                    <a:gd name="connsiteY8" fmla="*/ 71529 h 76254"/>
                    <a:gd name="connsiteX9" fmla="*/ 26734 w 72546"/>
                    <a:gd name="connsiteY9" fmla="*/ 47008 h 76254"/>
                    <a:gd name="connsiteX10" fmla="*/ 50716 w 72546"/>
                    <a:gd name="connsiteY10" fmla="*/ 30023 h 76254"/>
                    <a:gd name="connsiteX11" fmla="*/ 51315 w 72546"/>
                    <a:gd name="connsiteY11" fmla="*/ 30920 h 76254"/>
                    <a:gd name="connsiteX12" fmla="*/ 28767 w 72546"/>
                    <a:gd name="connsiteY12" fmla="*/ 47547 h 76254"/>
                    <a:gd name="connsiteX13" fmla="*/ 38336 w 72546"/>
                    <a:gd name="connsiteY13" fmla="*/ 71051 h 76254"/>
                    <a:gd name="connsiteX14" fmla="*/ 70572 w 72546"/>
                    <a:gd name="connsiteY14" fmla="*/ 61841 h 76254"/>
                    <a:gd name="connsiteX15" fmla="*/ 45992 w 72546"/>
                    <a:gd name="connsiteY15" fmla="*/ 1615 h 7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546" h="76254">
                      <a:moveTo>
                        <a:pt x="72546" y="62798"/>
                      </a:moveTo>
                      <a:cubicBezTo>
                        <a:pt x="56817" y="67343"/>
                        <a:pt x="41566" y="71769"/>
                        <a:pt x="26076" y="76254"/>
                      </a:cubicBezTo>
                      <a:cubicBezTo>
                        <a:pt x="17464" y="55082"/>
                        <a:pt x="8732" y="33671"/>
                        <a:pt x="0" y="12141"/>
                      </a:cubicBezTo>
                      <a:cubicBezTo>
                        <a:pt x="15849" y="8074"/>
                        <a:pt x="31339" y="4007"/>
                        <a:pt x="46949" y="0"/>
                      </a:cubicBezTo>
                      <a:cubicBezTo>
                        <a:pt x="55441" y="20753"/>
                        <a:pt x="64053" y="41805"/>
                        <a:pt x="72546" y="62798"/>
                      </a:cubicBezTo>
                      <a:close/>
                      <a:moveTo>
                        <a:pt x="45992" y="1615"/>
                      </a:moveTo>
                      <a:cubicBezTo>
                        <a:pt x="31518" y="5383"/>
                        <a:pt x="17165" y="9031"/>
                        <a:pt x="1734" y="13038"/>
                      </a:cubicBezTo>
                      <a:cubicBezTo>
                        <a:pt x="10885" y="33731"/>
                        <a:pt x="19617" y="53527"/>
                        <a:pt x="28468" y="73682"/>
                      </a:cubicBezTo>
                      <a:cubicBezTo>
                        <a:pt x="31279" y="72965"/>
                        <a:pt x="33851" y="72307"/>
                        <a:pt x="36722" y="71529"/>
                      </a:cubicBezTo>
                      <a:cubicBezTo>
                        <a:pt x="33193" y="62917"/>
                        <a:pt x="29963" y="54903"/>
                        <a:pt x="26734" y="47008"/>
                      </a:cubicBezTo>
                      <a:cubicBezTo>
                        <a:pt x="34808" y="41267"/>
                        <a:pt x="42762" y="35645"/>
                        <a:pt x="50716" y="30023"/>
                      </a:cubicBezTo>
                      <a:cubicBezTo>
                        <a:pt x="50896" y="30322"/>
                        <a:pt x="51075" y="30621"/>
                        <a:pt x="51315" y="30920"/>
                      </a:cubicBezTo>
                      <a:cubicBezTo>
                        <a:pt x="43779" y="36482"/>
                        <a:pt x="36183" y="42044"/>
                        <a:pt x="28767" y="47547"/>
                      </a:cubicBezTo>
                      <a:cubicBezTo>
                        <a:pt x="32057" y="55681"/>
                        <a:pt x="35107" y="63156"/>
                        <a:pt x="38336" y="71051"/>
                      </a:cubicBezTo>
                      <a:cubicBezTo>
                        <a:pt x="49101" y="68001"/>
                        <a:pt x="59628" y="65010"/>
                        <a:pt x="70572" y="61841"/>
                      </a:cubicBezTo>
                      <a:cubicBezTo>
                        <a:pt x="62199" y="41506"/>
                        <a:pt x="54245" y="22009"/>
                        <a:pt x="45992" y="161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81" name="Vrije vorm: vorm 9380">
                  <a:extLst>
                    <a:ext uri="{FF2B5EF4-FFF2-40B4-BE49-F238E27FC236}">
                      <a16:creationId xmlns:a16="http://schemas.microsoft.com/office/drawing/2014/main" id="{4574D9DC-6EB6-41A8-A186-11C2B718D750}"/>
                    </a:ext>
                  </a:extLst>
                </p:cNvPr>
                <p:cNvSpPr/>
                <p:nvPr/>
              </p:nvSpPr>
              <p:spPr>
                <a:xfrm>
                  <a:off x="5078011" y="1975891"/>
                  <a:ext cx="72845" cy="90129"/>
                </a:xfrm>
                <a:custGeom>
                  <a:avLst/>
                  <a:gdLst>
                    <a:gd name="connsiteX0" fmla="*/ 72845 w 72845"/>
                    <a:gd name="connsiteY0" fmla="*/ 61960 h 90129"/>
                    <a:gd name="connsiteX1" fmla="*/ 25658 w 72845"/>
                    <a:gd name="connsiteY1" fmla="*/ 90130 h 90129"/>
                    <a:gd name="connsiteX2" fmla="*/ 0 w 72845"/>
                    <a:gd name="connsiteY2" fmla="*/ 27093 h 90129"/>
                    <a:gd name="connsiteX3" fmla="*/ 47607 w 72845"/>
                    <a:gd name="connsiteY3" fmla="*/ 0 h 90129"/>
                    <a:gd name="connsiteX4" fmla="*/ 72845 w 72845"/>
                    <a:gd name="connsiteY4" fmla="*/ 61960 h 90129"/>
                    <a:gd name="connsiteX5" fmla="*/ 45753 w 72845"/>
                    <a:gd name="connsiteY5" fmla="*/ 75596 h 90129"/>
                    <a:gd name="connsiteX6" fmla="*/ 48803 w 72845"/>
                    <a:gd name="connsiteY6" fmla="*/ 68958 h 90129"/>
                    <a:gd name="connsiteX7" fmla="*/ 29665 w 72845"/>
                    <a:gd name="connsiteY7" fmla="*/ 22189 h 90129"/>
                    <a:gd name="connsiteX8" fmla="*/ 27392 w 72845"/>
                    <a:gd name="connsiteY8" fmla="*/ 16507 h 90129"/>
                    <a:gd name="connsiteX9" fmla="*/ 28767 w 72845"/>
                    <a:gd name="connsiteY9" fmla="*/ 15969 h 90129"/>
                    <a:gd name="connsiteX10" fmla="*/ 51913 w 72845"/>
                    <a:gd name="connsiteY10" fmla="*/ 72785 h 90129"/>
                    <a:gd name="connsiteX11" fmla="*/ 67044 w 72845"/>
                    <a:gd name="connsiteY11" fmla="*/ 63934 h 90129"/>
                    <a:gd name="connsiteX12" fmla="*/ 69257 w 72845"/>
                    <a:gd name="connsiteY12" fmla="*/ 56099 h 90129"/>
                    <a:gd name="connsiteX13" fmla="*/ 48982 w 72845"/>
                    <a:gd name="connsiteY13" fmla="*/ 7117 h 90129"/>
                    <a:gd name="connsiteX14" fmla="*/ 46530 w 72845"/>
                    <a:gd name="connsiteY14" fmla="*/ 2213 h 90129"/>
                    <a:gd name="connsiteX15" fmla="*/ 4306 w 72845"/>
                    <a:gd name="connsiteY15" fmla="*/ 25956 h 90129"/>
                    <a:gd name="connsiteX16" fmla="*/ 3349 w 72845"/>
                    <a:gd name="connsiteY16" fmla="*/ 32415 h 90129"/>
                    <a:gd name="connsiteX17" fmla="*/ 22906 w 72845"/>
                    <a:gd name="connsiteY17" fmla="*/ 79723 h 90129"/>
                    <a:gd name="connsiteX18" fmla="*/ 26674 w 72845"/>
                    <a:gd name="connsiteY18" fmla="*/ 87857 h 90129"/>
                    <a:gd name="connsiteX19" fmla="*/ 36782 w 72845"/>
                    <a:gd name="connsiteY19" fmla="*/ 81876 h 90129"/>
                    <a:gd name="connsiteX20" fmla="*/ 40848 w 72845"/>
                    <a:gd name="connsiteY20" fmla="*/ 66446 h 90129"/>
                    <a:gd name="connsiteX21" fmla="*/ 21590 w 72845"/>
                    <a:gd name="connsiteY21" fmla="*/ 19198 h 90129"/>
                    <a:gd name="connsiteX22" fmla="*/ 22607 w 72845"/>
                    <a:gd name="connsiteY22" fmla="*/ 18779 h 90129"/>
                    <a:gd name="connsiteX23" fmla="*/ 45753 w 72845"/>
                    <a:gd name="connsiteY23" fmla="*/ 75596 h 9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845" h="90129">
                      <a:moveTo>
                        <a:pt x="72845" y="61960"/>
                      </a:moveTo>
                      <a:cubicBezTo>
                        <a:pt x="56996" y="71410"/>
                        <a:pt x="41387" y="80680"/>
                        <a:pt x="25658" y="90130"/>
                      </a:cubicBezTo>
                      <a:cubicBezTo>
                        <a:pt x="17165" y="69257"/>
                        <a:pt x="8612" y="48264"/>
                        <a:pt x="0" y="27093"/>
                      </a:cubicBezTo>
                      <a:cubicBezTo>
                        <a:pt x="15789" y="18122"/>
                        <a:pt x="31638" y="9091"/>
                        <a:pt x="47607" y="0"/>
                      </a:cubicBezTo>
                      <a:cubicBezTo>
                        <a:pt x="55979" y="20514"/>
                        <a:pt x="64353" y="41088"/>
                        <a:pt x="72845" y="61960"/>
                      </a:cubicBezTo>
                      <a:close/>
                      <a:moveTo>
                        <a:pt x="45753" y="75596"/>
                      </a:moveTo>
                      <a:cubicBezTo>
                        <a:pt x="51135" y="74819"/>
                        <a:pt x="50118" y="72127"/>
                        <a:pt x="48803" y="68958"/>
                      </a:cubicBezTo>
                      <a:cubicBezTo>
                        <a:pt x="42403" y="53408"/>
                        <a:pt x="36064" y="37738"/>
                        <a:pt x="29665" y="22189"/>
                      </a:cubicBezTo>
                      <a:cubicBezTo>
                        <a:pt x="28887" y="20335"/>
                        <a:pt x="28109" y="18421"/>
                        <a:pt x="27392" y="16507"/>
                      </a:cubicBezTo>
                      <a:cubicBezTo>
                        <a:pt x="27870" y="16327"/>
                        <a:pt x="28349" y="16148"/>
                        <a:pt x="28767" y="15969"/>
                      </a:cubicBezTo>
                      <a:cubicBezTo>
                        <a:pt x="36363" y="34688"/>
                        <a:pt x="44018" y="53408"/>
                        <a:pt x="51913" y="72785"/>
                      </a:cubicBezTo>
                      <a:cubicBezTo>
                        <a:pt x="57355" y="69556"/>
                        <a:pt x="62020" y="66266"/>
                        <a:pt x="67044" y="63934"/>
                      </a:cubicBezTo>
                      <a:cubicBezTo>
                        <a:pt x="70872" y="62140"/>
                        <a:pt x="70872" y="59927"/>
                        <a:pt x="69257" y="56099"/>
                      </a:cubicBezTo>
                      <a:cubicBezTo>
                        <a:pt x="62379" y="39832"/>
                        <a:pt x="55740" y="23444"/>
                        <a:pt x="48982" y="7117"/>
                      </a:cubicBezTo>
                      <a:cubicBezTo>
                        <a:pt x="48324" y="5502"/>
                        <a:pt x="47427" y="3947"/>
                        <a:pt x="46530" y="2213"/>
                      </a:cubicBezTo>
                      <a:cubicBezTo>
                        <a:pt x="32176" y="10287"/>
                        <a:pt x="18241" y="18181"/>
                        <a:pt x="4306" y="25956"/>
                      </a:cubicBezTo>
                      <a:cubicBezTo>
                        <a:pt x="1256" y="27631"/>
                        <a:pt x="2273" y="29904"/>
                        <a:pt x="3349" y="32415"/>
                      </a:cubicBezTo>
                      <a:cubicBezTo>
                        <a:pt x="9868" y="48145"/>
                        <a:pt x="16328" y="63934"/>
                        <a:pt x="22906" y="79723"/>
                      </a:cubicBezTo>
                      <a:cubicBezTo>
                        <a:pt x="24043" y="82414"/>
                        <a:pt x="25358" y="85046"/>
                        <a:pt x="26674" y="87857"/>
                      </a:cubicBezTo>
                      <a:cubicBezTo>
                        <a:pt x="30561" y="85584"/>
                        <a:pt x="33731" y="83850"/>
                        <a:pt x="36782" y="81876"/>
                      </a:cubicBezTo>
                      <a:cubicBezTo>
                        <a:pt x="44975" y="76613"/>
                        <a:pt x="44975" y="76553"/>
                        <a:pt x="40848" y="66446"/>
                      </a:cubicBezTo>
                      <a:cubicBezTo>
                        <a:pt x="34449" y="50717"/>
                        <a:pt x="28050" y="34927"/>
                        <a:pt x="21590" y="19198"/>
                      </a:cubicBezTo>
                      <a:cubicBezTo>
                        <a:pt x="21950" y="19079"/>
                        <a:pt x="22248" y="18899"/>
                        <a:pt x="22607" y="18779"/>
                      </a:cubicBezTo>
                      <a:cubicBezTo>
                        <a:pt x="30322" y="37619"/>
                        <a:pt x="37978" y="56578"/>
                        <a:pt x="45753" y="7559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82" name="Vrije vorm: vorm 9381">
                  <a:extLst>
                    <a:ext uri="{FF2B5EF4-FFF2-40B4-BE49-F238E27FC236}">
                      <a16:creationId xmlns:a16="http://schemas.microsoft.com/office/drawing/2014/main" id="{3E5C0C05-7BCD-4DD0-9D35-6B9FC154EB5B}"/>
                    </a:ext>
                  </a:extLst>
                </p:cNvPr>
                <p:cNvSpPr/>
                <p:nvPr/>
              </p:nvSpPr>
              <p:spPr>
                <a:xfrm>
                  <a:off x="5404080" y="2002266"/>
                  <a:ext cx="85823" cy="100416"/>
                </a:xfrm>
                <a:custGeom>
                  <a:avLst/>
                  <a:gdLst>
                    <a:gd name="connsiteX0" fmla="*/ 36303 w 85823"/>
                    <a:gd name="connsiteY0" fmla="*/ 85883 h 100416"/>
                    <a:gd name="connsiteX1" fmla="*/ 84986 w 85823"/>
                    <a:gd name="connsiteY1" fmla="*/ 52391 h 100416"/>
                    <a:gd name="connsiteX2" fmla="*/ 85823 w 85823"/>
                    <a:gd name="connsiteY2" fmla="*/ 53587 h 100416"/>
                    <a:gd name="connsiteX3" fmla="*/ 73563 w 85823"/>
                    <a:gd name="connsiteY3" fmla="*/ 62379 h 100416"/>
                    <a:gd name="connsiteX4" fmla="*/ 42762 w 85823"/>
                    <a:gd name="connsiteY4" fmla="*/ 83371 h 100416"/>
                    <a:gd name="connsiteX5" fmla="*/ 39772 w 85823"/>
                    <a:gd name="connsiteY5" fmla="*/ 95034 h 100416"/>
                    <a:gd name="connsiteX6" fmla="*/ 40669 w 85823"/>
                    <a:gd name="connsiteY6" fmla="*/ 100117 h 100416"/>
                    <a:gd name="connsiteX7" fmla="*/ 39054 w 85823"/>
                    <a:gd name="connsiteY7" fmla="*/ 100416 h 100416"/>
                    <a:gd name="connsiteX8" fmla="*/ 37021 w 85823"/>
                    <a:gd name="connsiteY8" fmla="*/ 96290 h 100416"/>
                    <a:gd name="connsiteX9" fmla="*/ 1017 w 85823"/>
                    <a:gd name="connsiteY9" fmla="*/ 6938 h 100416"/>
                    <a:gd name="connsiteX10" fmla="*/ 0 w 85823"/>
                    <a:gd name="connsiteY10" fmla="*/ 239 h 100416"/>
                    <a:gd name="connsiteX11" fmla="*/ 1316 w 85823"/>
                    <a:gd name="connsiteY11" fmla="*/ 0 h 100416"/>
                    <a:gd name="connsiteX12" fmla="*/ 36303 w 85823"/>
                    <a:gd name="connsiteY12" fmla="*/ 85883 h 100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823" h="100416">
                      <a:moveTo>
                        <a:pt x="36303" y="85883"/>
                      </a:moveTo>
                      <a:cubicBezTo>
                        <a:pt x="52929" y="74460"/>
                        <a:pt x="68958" y="63396"/>
                        <a:pt x="84986" y="52391"/>
                      </a:cubicBezTo>
                      <a:cubicBezTo>
                        <a:pt x="85285" y="52810"/>
                        <a:pt x="85524" y="53169"/>
                        <a:pt x="85823" y="53587"/>
                      </a:cubicBezTo>
                      <a:cubicBezTo>
                        <a:pt x="81756" y="56518"/>
                        <a:pt x="77690" y="59508"/>
                        <a:pt x="73563" y="62379"/>
                      </a:cubicBezTo>
                      <a:cubicBezTo>
                        <a:pt x="63336" y="69436"/>
                        <a:pt x="53229" y="76733"/>
                        <a:pt x="42762" y="83371"/>
                      </a:cubicBezTo>
                      <a:cubicBezTo>
                        <a:pt x="38037" y="86362"/>
                        <a:pt x="36422" y="89352"/>
                        <a:pt x="39772" y="95034"/>
                      </a:cubicBezTo>
                      <a:cubicBezTo>
                        <a:pt x="40609" y="96409"/>
                        <a:pt x="40430" y="98443"/>
                        <a:pt x="40669" y="100117"/>
                      </a:cubicBezTo>
                      <a:cubicBezTo>
                        <a:pt x="40131" y="100237"/>
                        <a:pt x="39592" y="100297"/>
                        <a:pt x="39054" y="100416"/>
                      </a:cubicBezTo>
                      <a:cubicBezTo>
                        <a:pt x="38396" y="99041"/>
                        <a:pt x="37619" y="97725"/>
                        <a:pt x="37021" y="96290"/>
                      </a:cubicBezTo>
                      <a:cubicBezTo>
                        <a:pt x="24999" y="66506"/>
                        <a:pt x="12918" y="36781"/>
                        <a:pt x="1017" y="6938"/>
                      </a:cubicBezTo>
                      <a:cubicBezTo>
                        <a:pt x="179" y="4904"/>
                        <a:pt x="299" y="2452"/>
                        <a:pt x="0" y="239"/>
                      </a:cubicBezTo>
                      <a:cubicBezTo>
                        <a:pt x="419" y="179"/>
                        <a:pt x="897" y="60"/>
                        <a:pt x="1316" y="0"/>
                      </a:cubicBezTo>
                      <a:cubicBezTo>
                        <a:pt x="12859" y="28289"/>
                        <a:pt x="24401" y="56637"/>
                        <a:pt x="36303" y="8588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83" name="Vrije vorm: vorm 9382">
                  <a:extLst>
                    <a:ext uri="{FF2B5EF4-FFF2-40B4-BE49-F238E27FC236}">
                      <a16:creationId xmlns:a16="http://schemas.microsoft.com/office/drawing/2014/main" id="{FF7699AD-6278-4FCD-91BE-9412D0699CAB}"/>
                    </a:ext>
                  </a:extLst>
                </p:cNvPr>
                <p:cNvSpPr/>
                <p:nvPr/>
              </p:nvSpPr>
              <p:spPr>
                <a:xfrm>
                  <a:off x="5306475" y="1759568"/>
                  <a:ext cx="69077" cy="86421"/>
                </a:xfrm>
                <a:custGeom>
                  <a:avLst/>
                  <a:gdLst>
                    <a:gd name="connsiteX0" fmla="*/ 26495 w 69077"/>
                    <a:gd name="connsiteY0" fmla="*/ 84268 h 86421"/>
                    <a:gd name="connsiteX1" fmla="*/ 50657 w 69077"/>
                    <a:gd name="connsiteY1" fmla="*/ 70812 h 86421"/>
                    <a:gd name="connsiteX2" fmla="*/ 27452 w 69077"/>
                    <a:gd name="connsiteY2" fmla="*/ 13815 h 86421"/>
                    <a:gd name="connsiteX3" fmla="*/ 28707 w 69077"/>
                    <a:gd name="connsiteY3" fmla="*/ 13337 h 86421"/>
                    <a:gd name="connsiteX4" fmla="*/ 51674 w 69077"/>
                    <a:gd name="connsiteY4" fmla="*/ 69735 h 86421"/>
                    <a:gd name="connsiteX5" fmla="*/ 57654 w 69077"/>
                    <a:gd name="connsiteY5" fmla="*/ 66805 h 86421"/>
                    <a:gd name="connsiteX6" fmla="*/ 45633 w 69077"/>
                    <a:gd name="connsiteY6" fmla="*/ 37260 h 86421"/>
                    <a:gd name="connsiteX7" fmla="*/ 46829 w 69077"/>
                    <a:gd name="connsiteY7" fmla="*/ 36781 h 86421"/>
                    <a:gd name="connsiteX8" fmla="*/ 58731 w 69077"/>
                    <a:gd name="connsiteY8" fmla="*/ 66027 h 86421"/>
                    <a:gd name="connsiteX9" fmla="*/ 67522 w 69077"/>
                    <a:gd name="connsiteY9" fmla="*/ 61422 h 86421"/>
                    <a:gd name="connsiteX10" fmla="*/ 44377 w 69077"/>
                    <a:gd name="connsiteY10" fmla="*/ 4486 h 86421"/>
                    <a:gd name="connsiteX11" fmla="*/ 45453 w 69077"/>
                    <a:gd name="connsiteY11" fmla="*/ 4067 h 86421"/>
                    <a:gd name="connsiteX12" fmla="*/ 69077 w 69077"/>
                    <a:gd name="connsiteY12" fmla="*/ 62200 h 86421"/>
                    <a:gd name="connsiteX13" fmla="*/ 25837 w 69077"/>
                    <a:gd name="connsiteY13" fmla="*/ 86421 h 86421"/>
                    <a:gd name="connsiteX14" fmla="*/ 0 w 69077"/>
                    <a:gd name="connsiteY14" fmla="*/ 22906 h 86421"/>
                    <a:gd name="connsiteX15" fmla="*/ 43659 w 69077"/>
                    <a:gd name="connsiteY15" fmla="*/ 0 h 86421"/>
                    <a:gd name="connsiteX16" fmla="*/ 44198 w 69077"/>
                    <a:gd name="connsiteY16" fmla="*/ 1017 h 86421"/>
                    <a:gd name="connsiteX17" fmla="*/ 20634 w 69077"/>
                    <a:gd name="connsiteY17" fmla="*/ 13576 h 86421"/>
                    <a:gd name="connsiteX18" fmla="*/ 5622 w 69077"/>
                    <a:gd name="connsiteY18" fmla="*/ 21411 h 86421"/>
                    <a:gd name="connsiteX19" fmla="*/ 3289 w 69077"/>
                    <a:gd name="connsiteY19" fmla="*/ 27392 h 86421"/>
                    <a:gd name="connsiteX20" fmla="*/ 26495 w 69077"/>
                    <a:gd name="connsiteY20" fmla="*/ 84268 h 8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077" h="86421">
                      <a:moveTo>
                        <a:pt x="26495" y="84268"/>
                      </a:moveTo>
                      <a:cubicBezTo>
                        <a:pt x="34569" y="79783"/>
                        <a:pt x="42164" y="75537"/>
                        <a:pt x="50657" y="70812"/>
                      </a:cubicBezTo>
                      <a:cubicBezTo>
                        <a:pt x="42882" y="51793"/>
                        <a:pt x="35167" y="32774"/>
                        <a:pt x="27452" y="13815"/>
                      </a:cubicBezTo>
                      <a:cubicBezTo>
                        <a:pt x="27870" y="13636"/>
                        <a:pt x="28289" y="13516"/>
                        <a:pt x="28707" y="13337"/>
                      </a:cubicBezTo>
                      <a:cubicBezTo>
                        <a:pt x="36303" y="31997"/>
                        <a:pt x="43839" y="50597"/>
                        <a:pt x="51674" y="69735"/>
                      </a:cubicBezTo>
                      <a:cubicBezTo>
                        <a:pt x="53707" y="68719"/>
                        <a:pt x="55441" y="67881"/>
                        <a:pt x="57654" y="66805"/>
                      </a:cubicBezTo>
                      <a:cubicBezTo>
                        <a:pt x="53528" y="56697"/>
                        <a:pt x="49580" y="47008"/>
                        <a:pt x="45633" y="37260"/>
                      </a:cubicBezTo>
                      <a:cubicBezTo>
                        <a:pt x="46052" y="37080"/>
                        <a:pt x="46410" y="36901"/>
                        <a:pt x="46829" y="36781"/>
                      </a:cubicBezTo>
                      <a:cubicBezTo>
                        <a:pt x="50716" y="46410"/>
                        <a:pt x="54664" y="56039"/>
                        <a:pt x="58731" y="66027"/>
                      </a:cubicBezTo>
                      <a:cubicBezTo>
                        <a:pt x="61900" y="64353"/>
                        <a:pt x="64412" y="63037"/>
                        <a:pt x="67522" y="61422"/>
                      </a:cubicBezTo>
                      <a:cubicBezTo>
                        <a:pt x="59747" y="42284"/>
                        <a:pt x="52032" y="23385"/>
                        <a:pt x="44377" y="4486"/>
                      </a:cubicBezTo>
                      <a:cubicBezTo>
                        <a:pt x="44736" y="4366"/>
                        <a:pt x="45095" y="4186"/>
                        <a:pt x="45453" y="4067"/>
                      </a:cubicBezTo>
                      <a:cubicBezTo>
                        <a:pt x="53348" y="23385"/>
                        <a:pt x="61183" y="42762"/>
                        <a:pt x="69077" y="62200"/>
                      </a:cubicBezTo>
                      <a:cubicBezTo>
                        <a:pt x="54903" y="70154"/>
                        <a:pt x="40430" y="78288"/>
                        <a:pt x="25837" y="86421"/>
                      </a:cubicBezTo>
                      <a:cubicBezTo>
                        <a:pt x="17344" y="65489"/>
                        <a:pt x="8732" y="44377"/>
                        <a:pt x="0" y="22906"/>
                      </a:cubicBezTo>
                      <a:cubicBezTo>
                        <a:pt x="14593" y="15251"/>
                        <a:pt x="29126" y="7596"/>
                        <a:pt x="43659" y="0"/>
                      </a:cubicBezTo>
                      <a:cubicBezTo>
                        <a:pt x="43839" y="359"/>
                        <a:pt x="44018" y="718"/>
                        <a:pt x="44198" y="1017"/>
                      </a:cubicBezTo>
                      <a:cubicBezTo>
                        <a:pt x="36363" y="5203"/>
                        <a:pt x="28468" y="9450"/>
                        <a:pt x="20634" y="13576"/>
                      </a:cubicBezTo>
                      <a:cubicBezTo>
                        <a:pt x="15669" y="16208"/>
                        <a:pt x="10646" y="18779"/>
                        <a:pt x="5622" y="21411"/>
                      </a:cubicBezTo>
                      <a:cubicBezTo>
                        <a:pt x="3349" y="22607"/>
                        <a:pt x="1914" y="23983"/>
                        <a:pt x="3289" y="27392"/>
                      </a:cubicBezTo>
                      <a:cubicBezTo>
                        <a:pt x="10945" y="45932"/>
                        <a:pt x="18481" y="64532"/>
                        <a:pt x="26495" y="8426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84" name="Vrije vorm: vorm 9383">
                  <a:extLst>
                    <a:ext uri="{FF2B5EF4-FFF2-40B4-BE49-F238E27FC236}">
                      <a16:creationId xmlns:a16="http://schemas.microsoft.com/office/drawing/2014/main" id="{7BC0C63A-8397-49A5-AD31-12065F38F311}"/>
                    </a:ext>
                  </a:extLst>
                </p:cNvPr>
                <p:cNvSpPr/>
                <p:nvPr/>
              </p:nvSpPr>
              <p:spPr>
                <a:xfrm>
                  <a:off x="4802719" y="2184200"/>
                  <a:ext cx="145211" cy="216262"/>
                </a:xfrm>
                <a:custGeom>
                  <a:avLst/>
                  <a:gdLst>
                    <a:gd name="connsiteX0" fmla="*/ 55023 w 145211"/>
                    <a:gd name="connsiteY0" fmla="*/ 216263 h 216262"/>
                    <a:gd name="connsiteX1" fmla="*/ 0 w 145211"/>
                    <a:gd name="connsiteY1" fmla="*/ 87378 h 216262"/>
                    <a:gd name="connsiteX2" fmla="*/ 144614 w 145211"/>
                    <a:gd name="connsiteY2" fmla="*/ 0 h 216262"/>
                    <a:gd name="connsiteX3" fmla="*/ 145212 w 145211"/>
                    <a:gd name="connsiteY3" fmla="*/ 1077 h 216262"/>
                    <a:gd name="connsiteX4" fmla="*/ 2572 w 145211"/>
                    <a:gd name="connsiteY4" fmla="*/ 87378 h 216262"/>
                    <a:gd name="connsiteX5" fmla="*/ 55023 w 145211"/>
                    <a:gd name="connsiteY5" fmla="*/ 216263 h 216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211" h="216262">
                      <a:moveTo>
                        <a:pt x="55023" y="216263"/>
                      </a:moveTo>
                      <a:cubicBezTo>
                        <a:pt x="37918" y="176132"/>
                        <a:pt x="18779" y="131396"/>
                        <a:pt x="0" y="87378"/>
                      </a:cubicBezTo>
                      <a:cubicBezTo>
                        <a:pt x="48324" y="58192"/>
                        <a:pt x="96469" y="29066"/>
                        <a:pt x="144614" y="0"/>
                      </a:cubicBezTo>
                      <a:cubicBezTo>
                        <a:pt x="144793" y="359"/>
                        <a:pt x="145033" y="718"/>
                        <a:pt x="145212" y="1077"/>
                      </a:cubicBezTo>
                      <a:cubicBezTo>
                        <a:pt x="97486" y="29963"/>
                        <a:pt x="49819" y="58791"/>
                        <a:pt x="2572" y="87378"/>
                      </a:cubicBezTo>
                      <a:cubicBezTo>
                        <a:pt x="20873" y="132234"/>
                        <a:pt x="38875" y="176551"/>
                        <a:pt x="55023" y="21626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85" name="Vrije vorm: vorm 9384">
                  <a:extLst>
                    <a:ext uri="{FF2B5EF4-FFF2-40B4-BE49-F238E27FC236}">
                      <a16:creationId xmlns:a16="http://schemas.microsoft.com/office/drawing/2014/main" id="{81215FDC-4045-4C9F-B645-36D44B1C6768}"/>
                    </a:ext>
                  </a:extLst>
                </p:cNvPr>
                <p:cNvSpPr/>
                <p:nvPr/>
              </p:nvSpPr>
              <p:spPr>
                <a:xfrm>
                  <a:off x="5013718" y="1825117"/>
                  <a:ext cx="74340" cy="88095"/>
                </a:xfrm>
                <a:custGeom>
                  <a:avLst/>
                  <a:gdLst>
                    <a:gd name="connsiteX0" fmla="*/ 0 w 74340"/>
                    <a:gd name="connsiteY0" fmla="*/ 24521 h 88095"/>
                    <a:gd name="connsiteX1" fmla="*/ 48922 w 74340"/>
                    <a:gd name="connsiteY1" fmla="*/ 0 h 88095"/>
                    <a:gd name="connsiteX2" fmla="*/ 74340 w 74340"/>
                    <a:gd name="connsiteY2" fmla="*/ 62558 h 88095"/>
                    <a:gd name="connsiteX3" fmla="*/ 25837 w 74340"/>
                    <a:gd name="connsiteY3" fmla="*/ 88096 h 88095"/>
                    <a:gd name="connsiteX4" fmla="*/ 0 w 74340"/>
                    <a:gd name="connsiteY4" fmla="*/ 24521 h 88095"/>
                    <a:gd name="connsiteX5" fmla="*/ 29066 w 74340"/>
                    <a:gd name="connsiteY5" fmla="*/ 13935 h 88095"/>
                    <a:gd name="connsiteX6" fmla="*/ 30561 w 74340"/>
                    <a:gd name="connsiteY6" fmla="*/ 13397 h 88095"/>
                    <a:gd name="connsiteX7" fmla="*/ 54185 w 74340"/>
                    <a:gd name="connsiteY7" fmla="*/ 71529 h 88095"/>
                    <a:gd name="connsiteX8" fmla="*/ 72187 w 74340"/>
                    <a:gd name="connsiteY8" fmla="*/ 61900 h 88095"/>
                    <a:gd name="connsiteX9" fmla="*/ 47786 w 74340"/>
                    <a:gd name="connsiteY9" fmla="*/ 1974 h 88095"/>
                    <a:gd name="connsiteX10" fmla="*/ 2213 w 74340"/>
                    <a:gd name="connsiteY10" fmla="*/ 24880 h 88095"/>
                    <a:gd name="connsiteX11" fmla="*/ 27033 w 74340"/>
                    <a:gd name="connsiteY11" fmla="*/ 85883 h 88095"/>
                    <a:gd name="connsiteX12" fmla="*/ 47188 w 74340"/>
                    <a:gd name="connsiteY12" fmla="*/ 75058 h 88095"/>
                    <a:gd name="connsiteX13" fmla="*/ 27930 w 74340"/>
                    <a:gd name="connsiteY13" fmla="*/ 27691 h 88095"/>
                    <a:gd name="connsiteX14" fmla="*/ 28887 w 74340"/>
                    <a:gd name="connsiteY14" fmla="*/ 27272 h 88095"/>
                    <a:gd name="connsiteX15" fmla="*/ 47906 w 74340"/>
                    <a:gd name="connsiteY15" fmla="*/ 73981 h 88095"/>
                    <a:gd name="connsiteX16" fmla="*/ 51135 w 74340"/>
                    <a:gd name="connsiteY16" fmla="*/ 67762 h 88095"/>
                    <a:gd name="connsiteX17" fmla="*/ 39772 w 74340"/>
                    <a:gd name="connsiteY17" fmla="*/ 40131 h 88095"/>
                    <a:gd name="connsiteX18" fmla="*/ 29066 w 74340"/>
                    <a:gd name="connsiteY18" fmla="*/ 13935 h 8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4340" h="88095">
                      <a:moveTo>
                        <a:pt x="0" y="24521"/>
                      </a:moveTo>
                      <a:cubicBezTo>
                        <a:pt x="16328" y="16327"/>
                        <a:pt x="32535" y="8194"/>
                        <a:pt x="48922" y="0"/>
                      </a:cubicBezTo>
                      <a:cubicBezTo>
                        <a:pt x="57355" y="20753"/>
                        <a:pt x="65848" y="41626"/>
                        <a:pt x="74340" y="62558"/>
                      </a:cubicBezTo>
                      <a:cubicBezTo>
                        <a:pt x="58252" y="71051"/>
                        <a:pt x="42164" y="79484"/>
                        <a:pt x="25837" y="88096"/>
                      </a:cubicBezTo>
                      <a:cubicBezTo>
                        <a:pt x="17225" y="66864"/>
                        <a:pt x="8672" y="45752"/>
                        <a:pt x="0" y="24521"/>
                      </a:cubicBezTo>
                      <a:close/>
                      <a:moveTo>
                        <a:pt x="29066" y="13935"/>
                      </a:moveTo>
                      <a:cubicBezTo>
                        <a:pt x="29545" y="13756"/>
                        <a:pt x="30083" y="13576"/>
                        <a:pt x="30561" y="13397"/>
                      </a:cubicBezTo>
                      <a:cubicBezTo>
                        <a:pt x="38397" y="32655"/>
                        <a:pt x="46231" y="51853"/>
                        <a:pt x="54185" y="71529"/>
                      </a:cubicBezTo>
                      <a:cubicBezTo>
                        <a:pt x="60645" y="68061"/>
                        <a:pt x="66506" y="64951"/>
                        <a:pt x="72187" y="61900"/>
                      </a:cubicBezTo>
                      <a:cubicBezTo>
                        <a:pt x="63934" y="41566"/>
                        <a:pt x="55920" y="21889"/>
                        <a:pt x="47786" y="1974"/>
                      </a:cubicBezTo>
                      <a:cubicBezTo>
                        <a:pt x="32296" y="9749"/>
                        <a:pt x="17284" y="17284"/>
                        <a:pt x="2213" y="24880"/>
                      </a:cubicBezTo>
                      <a:cubicBezTo>
                        <a:pt x="10586" y="45453"/>
                        <a:pt x="18720" y="65429"/>
                        <a:pt x="27033" y="85883"/>
                      </a:cubicBezTo>
                      <a:cubicBezTo>
                        <a:pt x="33970" y="82175"/>
                        <a:pt x="40430" y="78706"/>
                        <a:pt x="47188" y="75058"/>
                      </a:cubicBezTo>
                      <a:cubicBezTo>
                        <a:pt x="40549" y="58791"/>
                        <a:pt x="34210" y="43241"/>
                        <a:pt x="27930" y="27691"/>
                      </a:cubicBezTo>
                      <a:cubicBezTo>
                        <a:pt x="28229" y="27571"/>
                        <a:pt x="28588" y="27451"/>
                        <a:pt x="28887" y="27272"/>
                      </a:cubicBezTo>
                      <a:cubicBezTo>
                        <a:pt x="35227" y="42942"/>
                        <a:pt x="41626" y="58551"/>
                        <a:pt x="47906" y="73981"/>
                      </a:cubicBezTo>
                      <a:cubicBezTo>
                        <a:pt x="52511" y="73563"/>
                        <a:pt x="52690" y="71410"/>
                        <a:pt x="51135" y="67762"/>
                      </a:cubicBezTo>
                      <a:cubicBezTo>
                        <a:pt x="47248" y="58611"/>
                        <a:pt x="43540" y="49341"/>
                        <a:pt x="39772" y="40131"/>
                      </a:cubicBezTo>
                      <a:cubicBezTo>
                        <a:pt x="36183" y="31518"/>
                        <a:pt x="32595" y="22727"/>
                        <a:pt x="29066" y="1393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86" name="Vrije vorm: vorm 9385">
                  <a:extLst>
                    <a:ext uri="{FF2B5EF4-FFF2-40B4-BE49-F238E27FC236}">
                      <a16:creationId xmlns:a16="http://schemas.microsoft.com/office/drawing/2014/main" id="{B497FD12-9D1F-4AE3-87DA-EC7FA1A01F56}"/>
                    </a:ext>
                  </a:extLst>
                </p:cNvPr>
                <p:cNvSpPr/>
                <p:nvPr/>
              </p:nvSpPr>
              <p:spPr>
                <a:xfrm>
                  <a:off x="5063478" y="1326205"/>
                  <a:ext cx="76373" cy="82414"/>
                </a:xfrm>
                <a:custGeom>
                  <a:avLst/>
                  <a:gdLst>
                    <a:gd name="connsiteX0" fmla="*/ 0 w 76373"/>
                    <a:gd name="connsiteY0" fmla="*/ 16208 h 82414"/>
                    <a:gd name="connsiteX1" fmla="*/ 49879 w 76373"/>
                    <a:gd name="connsiteY1" fmla="*/ 0 h 82414"/>
                    <a:gd name="connsiteX2" fmla="*/ 76374 w 76373"/>
                    <a:gd name="connsiteY2" fmla="*/ 65130 h 82414"/>
                    <a:gd name="connsiteX3" fmla="*/ 26973 w 76373"/>
                    <a:gd name="connsiteY3" fmla="*/ 82414 h 82414"/>
                    <a:gd name="connsiteX4" fmla="*/ 0 w 76373"/>
                    <a:gd name="connsiteY4" fmla="*/ 16208 h 82414"/>
                    <a:gd name="connsiteX5" fmla="*/ 26734 w 76373"/>
                    <a:gd name="connsiteY5" fmla="*/ 77211 h 82414"/>
                    <a:gd name="connsiteX6" fmla="*/ 72785 w 76373"/>
                    <a:gd name="connsiteY6" fmla="*/ 61183 h 82414"/>
                    <a:gd name="connsiteX7" fmla="*/ 48623 w 76373"/>
                    <a:gd name="connsiteY7" fmla="*/ 1794 h 82414"/>
                    <a:gd name="connsiteX8" fmla="*/ 2392 w 76373"/>
                    <a:gd name="connsiteY8" fmla="*/ 16925 h 82414"/>
                    <a:gd name="connsiteX9" fmla="*/ 8851 w 76373"/>
                    <a:gd name="connsiteY9" fmla="*/ 32834 h 82414"/>
                    <a:gd name="connsiteX10" fmla="*/ 37798 w 76373"/>
                    <a:gd name="connsiteY10" fmla="*/ 23385 h 82414"/>
                    <a:gd name="connsiteX11" fmla="*/ 38157 w 76373"/>
                    <a:gd name="connsiteY11" fmla="*/ 24461 h 82414"/>
                    <a:gd name="connsiteX12" fmla="*/ 9210 w 76373"/>
                    <a:gd name="connsiteY12" fmla="*/ 34210 h 82414"/>
                    <a:gd name="connsiteX13" fmla="*/ 26734 w 76373"/>
                    <a:gd name="connsiteY13" fmla="*/ 77211 h 82414"/>
                    <a:gd name="connsiteX14" fmla="*/ 73922 w 76373"/>
                    <a:gd name="connsiteY14" fmla="*/ 64592 h 82414"/>
                    <a:gd name="connsiteX15" fmla="*/ 73264 w 76373"/>
                    <a:gd name="connsiteY15" fmla="*/ 62738 h 82414"/>
                    <a:gd name="connsiteX16" fmla="*/ 27870 w 76373"/>
                    <a:gd name="connsiteY16" fmla="*/ 78766 h 82414"/>
                    <a:gd name="connsiteX17" fmla="*/ 28528 w 76373"/>
                    <a:gd name="connsiteY17" fmla="*/ 80501 h 82414"/>
                    <a:gd name="connsiteX18" fmla="*/ 73922 w 76373"/>
                    <a:gd name="connsiteY18" fmla="*/ 64592 h 8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373" h="82414">
                      <a:moveTo>
                        <a:pt x="0" y="16208"/>
                      </a:moveTo>
                      <a:cubicBezTo>
                        <a:pt x="17045" y="10705"/>
                        <a:pt x="33432" y="5383"/>
                        <a:pt x="49879" y="0"/>
                      </a:cubicBezTo>
                      <a:cubicBezTo>
                        <a:pt x="58671" y="21590"/>
                        <a:pt x="67463" y="43300"/>
                        <a:pt x="76374" y="65130"/>
                      </a:cubicBezTo>
                      <a:cubicBezTo>
                        <a:pt x="60046" y="70872"/>
                        <a:pt x="43659" y="76553"/>
                        <a:pt x="26973" y="82414"/>
                      </a:cubicBezTo>
                      <a:cubicBezTo>
                        <a:pt x="18122" y="60645"/>
                        <a:pt x="9091" y="38576"/>
                        <a:pt x="0" y="16208"/>
                      </a:cubicBezTo>
                      <a:close/>
                      <a:moveTo>
                        <a:pt x="26734" y="77211"/>
                      </a:moveTo>
                      <a:cubicBezTo>
                        <a:pt x="42164" y="71828"/>
                        <a:pt x="57355" y="66565"/>
                        <a:pt x="72785" y="61183"/>
                      </a:cubicBezTo>
                      <a:cubicBezTo>
                        <a:pt x="64592" y="41088"/>
                        <a:pt x="56697" y="21650"/>
                        <a:pt x="48623" y="1794"/>
                      </a:cubicBezTo>
                      <a:cubicBezTo>
                        <a:pt x="33014" y="6878"/>
                        <a:pt x="17763" y="11902"/>
                        <a:pt x="2392" y="16925"/>
                      </a:cubicBezTo>
                      <a:cubicBezTo>
                        <a:pt x="4785" y="22727"/>
                        <a:pt x="6758" y="27691"/>
                        <a:pt x="8851" y="32834"/>
                      </a:cubicBezTo>
                      <a:cubicBezTo>
                        <a:pt x="18780" y="29605"/>
                        <a:pt x="28289" y="26495"/>
                        <a:pt x="37798" y="23385"/>
                      </a:cubicBezTo>
                      <a:cubicBezTo>
                        <a:pt x="37918" y="23743"/>
                        <a:pt x="38037" y="24102"/>
                        <a:pt x="38157" y="24461"/>
                      </a:cubicBezTo>
                      <a:cubicBezTo>
                        <a:pt x="28648" y="27691"/>
                        <a:pt x="19079" y="30920"/>
                        <a:pt x="9210" y="34210"/>
                      </a:cubicBezTo>
                      <a:cubicBezTo>
                        <a:pt x="15131" y="48683"/>
                        <a:pt x="20753" y="62558"/>
                        <a:pt x="26734" y="77211"/>
                      </a:cubicBezTo>
                      <a:close/>
                      <a:moveTo>
                        <a:pt x="73922" y="64592"/>
                      </a:moveTo>
                      <a:cubicBezTo>
                        <a:pt x="73683" y="63994"/>
                        <a:pt x="73443" y="63396"/>
                        <a:pt x="73264" y="62738"/>
                      </a:cubicBezTo>
                      <a:cubicBezTo>
                        <a:pt x="58133" y="68061"/>
                        <a:pt x="43001" y="73443"/>
                        <a:pt x="27870" y="78766"/>
                      </a:cubicBezTo>
                      <a:cubicBezTo>
                        <a:pt x="28109" y="79364"/>
                        <a:pt x="28289" y="79902"/>
                        <a:pt x="28528" y="80501"/>
                      </a:cubicBezTo>
                      <a:cubicBezTo>
                        <a:pt x="43599" y="75237"/>
                        <a:pt x="58731" y="69915"/>
                        <a:pt x="73922" y="6459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87" name="Vrije vorm: vorm 9386">
                  <a:extLst>
                    <a:ext uri="{FF2B5EF4-FFF2-40B4-BE49-F238E27FC236}">
                      <a16:creationId xmlns:a16="http://schemas.microsoft.com/office/drawing/2014/main" id="{49D081F1-D153-4933-9CE7-910570E913CC}"/>
                    </a:ext>
                  </a:extLst>
                </p:cNvPr>
                <p:cNvSpPr/>
                <p:nvPr/>
              </p:nvSpPr>
              <p:spPr>
                <a:xfrm>
                  <a:off x="4947691" y="1367652"/>
                  <a:ext cx="56936" cy="85045"/>
                </a:xfrm>
                <a:custGeom>
                  <a:avLst/>
                  <a:gdLst>
                    <a:gd name="connsiteX0" fmla="*/ 56937 w 56936"/>
                    <a:gd name="connsiteY0" fmla="*/ 67941 h 85045"/>
                    <a:gd name="connsiteX1" fmla="*/ 26794 w 56936"/>
                    <a:gd name="connsiteY1" fmla="*/ 85046 h 85045"/>
                    <a:gd name="connsiteX2" fmla="*/ 0 w 56936"/>
                    <a:gd name="connsiteY2" fmla="*/ 19258 h 85045"/>
                    <a:gd name="connsiteX3" fmla="*/ 29246 w 56936"/>
                    <a:gd name="connsiteY3" fmla="*/ 0 h 85045"/>
                    <a:gd name="connsiteX4" fmla="*/ 56937 w 56936"/>
                    <a:gd name="connsiteY4" fmla="*/ 67941 h 85045"/>
                    <a:gd name="connsiteX5" fmla="*/ 24999 w 56936"/>
                    <a:gd name="connsiteY5" fmla="*/ 76194 h 85045"/>
                    <a:gd name="connsiteX6" fmla="*/ 52451 w 56936"/>
                    <a:gd name="connsiteY6" fmla="*/ 68659 h 85045"/>
                    <a:gd name="connsiteX7" fmla="*/ 53886 w 56936"/>
                    <a:gd name="connsiteY7" fmla="*/ 64771 h 85045"/>
                    <a:gd name="connsiteX8" fmla="*/ 37140 w 56936"/>
                    <a:gd name="connsiteY8" fmla="*/ 23325 h 85045"/>
                    <a:gd name="connsiteX9" fmla="*/ 7416 w 56936"/>
                    <a:gd name="connsiteY9" fmla="*/ 33133 h 85045"/>
                    <a:gd name="connsiteX10" fmla="*/ 24999 w 56936"/>
                    <a:gd name="connsiteY10" fmla="*/ 76194 h 85045"/>
                    <a:gd name="connsiteX11" fmla="*/ 28408 w 56936"/>
                    <a:gd name="connsiteY11" fmla="*/ 2392 h 85045"/>
                    <a:gd name="connsiteX12" fmla="*/ 2033 w 56936"/>
                    <a:gd name="connsiteY12" fmla="*/ 19617 h 85045"/>
                    <a:gd name="connsiteX13" fmla="*/ 6997 w 56936"/>
                    <a:gd name="connsiteY13" fmla="*/ 31817 h 85045"/>
                    <a:gd name="connsiteX14" fmla="*/ 36363 w 56936"/>
                    <a:gd name="connsiteY14" fmla="*/ 22069 h 85045"/>
                    <a:gd name="connsiteX15" fmla="*/ 28408 w 56936"/>
                    <a:gd name="connsiteY15" fmla="*/ 2392 h 85045"/>
                    <a:gd name="connsiteX16" fmla="*/ 46470 w 56936"/>
                    <a:gd name="connsiteY16" fmla="*/ 72187 h 85045"/>
                    <a:gd name="connsiteX17" fmla="*/ 45992 w 56936"/>
                    <a:gd name="connsiteY17" fmla="*/ 71529 h 85045"/>
                    <a:gd name="connsiteX18" fmla="*/ 29006 w 56936"/>
                    <a:gd name="connsiteY18" fmla="*/ 77391 h 85045"/>
                    <a:gd name="connsiteX19" fmla="*/ 26794 w 56936"/>
                    <a:gd name="connsiteY19" fmla="*/ 80859 h 85045"/>
                    <a:gd name="connsiteX20" fmla="*/ 30980 w 56936"/>
                    <a:gd name="connsiteY20" fmla="*/ 81158 h 85045"/>
                    <a:gd name="connsiteX21" fmla="*/ 46470 w 56936"/>
                    <a:gd name="connsiteY21" fmla="*/ 72187 h 8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936" h="85045">
                      <a:moveTo>
                        <a:pt x="56937" y="67941"/>
                      </a:moveTo>
                      <a:cubicBezTo>
                        <a:pt x="47008" y="73623"/>
                        <a:pt x="37021" y="79304"/>
                        <a:pt x="26794" y="85046"/>
                      </a:cubicBezTo>
                      <a:cubicBezTo>
                        <a:pt x="17882" y="63156"/>
                        <a:pt x="8971" y="41267"/>
                        <a:pt x="0" y="19258"/>
                      </a:cubicBezTo>
                      <a:cubicBezTo>
                        <a:pt x="9689" y="12918"/>
                        <a:pt x="19318" y="6519"/>
                        <a:pt x="29246" y="0"/>
                      </a:cubicBezTo>
                      <a:cubicBezTo>
                        <a:pt x="38516" y="22607"/>
                        <a:pt x="47786" y="45334"/>
                        <a:pt x="56937" y="67941"/>
                      </a:cubicBezTo>
                      <a:close/>
                      <a:moveTo>
                        <a:pt x="24999" y="76194"/>
                      </a:moveTo>
                      <a:cubicBezTo>
                        <a:pt x="34688" y="73563"/>
                        <a:pt x="43659" y="71290"/>
                        <a:pt x="52451" y="68659"/>
                      </a:cubicBezTo>
                      <a:cubicBezTo>
                        <a:pt x="53288" y="68419"/>
                        <a:pt x="54305" y="65788"/>
                        <a:pt x="53886" y="64771"/>
                      </a:cubicBezTo>
                      <a:cubicBezTo>
                        <a:pt x="48504" y="51016"/>
                        <a:pt x="42882" y="37380"/>
                        <a:pt x="37140" y="23325"/>
                      </a:cubicBezTo>
                      <a:cubicBezTo>
                        <a:pt x="26973" y="26674"/>
                        <a:pt x="17404" y="29844"/>
                        <a:pt x="7416" y="33133"/>
                      </a:cubicBezTo>
                      <a:cubicBezTo>
                        <a:pt x="13516" y="47906"/>
                        <a:pt x="19258" y="62140"/>
                        <a:pt x="24999" y="76194"/>
                      </a:cubicBezTo>
                      <a:close/>
                      <a:moveTo>
                        <a:pt x="28408" y="2392"/>
                      </a:moveTo>
                      <a:cubicBezTo>
                        <a:pt x="19437" y="8253"/>
                        <a:pt x="10825" y="13875"/>
                        <a:pt x="2033" y="19617"/>
                      </a:cubicBezTo>
                      <a:cubicBezTo>
                        <a:pt x="3768" y="23863"/>
                        <a:pt x="5323" y="27691"/>
                        <a:pt x="6997" y="31817"/>
                      </a:cubicBezTo>
                      <a:cubicBezTo>
                        <a:pt x="16926" y="28528"/>
                        <a:pt x="26495" y="25358"/>
                        <a:pt x="36363" y="22069"/>
                      </a:cubicBezTo>
                      <a:cubicBezTo>
                        <a:pt x="33671" y="15370"/>
                        <a:pt x="31160" y="9091"/>
                        <a:pt x="28408" y="2392"/>
                      </a:cubicBezTo>
                      <a:close/>
                      <a:moveTo>
                        <a:pt x="46470" y="72187"/>
                      </a:moveTo>
                      <a:cubicBezTo>
                        <a:pt x="46291" y="71948"/>
                        <a:pt x="46171" y="71769"/>
                        <a:pt x="45992" y="71529"/>
                      </a:cubicBezTo>
                      <a:cubicBezTo>
                        <a:pt x="40310" y="73443"/>
                        <a:pt x="34568" y="75237"/>
                        <a:pt x="29006" y="77391"/>
                      </a:cubicBezTo>
                      <a:cubicBezTo>
                        <a:pt x="27990" y="77809"/>
                        <a:pt x="27511" y="79663"/>
                        <a:pt x="26794" y="80859"/>
                      </a:cubicBezTo>
                      <a:cubicBezTo>
                        <a:pt x="28169" y="80979"/>
                        <a:pt x="29904" y="81697"/>
                        <a:pt x="30980" y="81158"/>
                      </a:cubicBezTo>
                      <a:cubicBezTo>
                        <a:pt x="36183" y="78347"/>
                        <a:pt x="41327" y="75237"/>
                        <a:pt x="46470" y="7218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88" name="Vrije vorm: vorm 9387">
                  <a:extLst>
                    <a:ext uri="{FF2B5EF4-FFF2-40B4-BE49-F238E27FC236}">
                      <a16:creationId xmlns:a16="http://schemas.microsoft.com/office/drawing/2014/main" id="{7D8B3EC5-EB1F-4D87-B91E-91B62D6EF261}"/>
                    </a:ext>
                  </a:extLst>
                </p:cNvPr>
                <p:cNvSpPr/>
                <p:nvPr/>
              </p:nvSpPr>
              <p:spPr>
                <a:xfrm>
                  <a:off x="5342479" y="1339602"/>
                  <a:ext cx="55560" cy="65369"/>
                </a:xfrm>
                <a:custGeom>
                  <a:avLst/>
                  <a:gdLst>
                    <a:gd name="connsiteX0" fmla="*/ 11961 w 55560"/>
                    <a:gd name="connsiteY0" fmla="*/ 20275 h 65369"/>
                    <a:gd name="connsiteX1" fmla="*/ 28229 w 55560"/>
                    <a:gd name="connsiteY1" fmla="*/ 60226 h 65369"/>
                    <a:gd name="connsiteX2" fmla="*/ 35047 w 55560"/>
                    <a:gd name="connsiteY2" fmla="*/ 57475 h 65369"/>
                    <a:gd name="connsiteX3" fmla="*/ 17882 w 55560"/>
                    <a:gd name="connsiteY3" fmla="*/ 15370 h 65369"/>
                    <a:gd name="connsiteX4" fmla="*/ 33612 w 55560"/>
                    <a:gd name="connsiteY4" fmla="*/ 8971 h 65369"/>
                    <a:gd name="connsiteX5" fmla="*/ 33791 w 55560"/>
                    <a:gd name="connsiteY5" fmla="*/ 9210 h 65369"/>
                    <a:gd name="connsiteX6" fmla="*/ 20514 w 55560"/>
                    <a:gd name="connsiteY6" fmla="*/ 16327 h 65369"/>
                    <a:gd name="connsiteX7" fmla="*/ 37021 w 55560"/>
                    <a:gd name="connsiteY7" fmla="*/ 56877 h 65369"/>
                    <a:gd name="connsiteX8" fmla="*/ 53886 w 55560"/>
                    <a:gd name="connsiteY8" fmla="*/ 49999 h 65369"/>
                    <a:gd name="connsiteX9" fmla="*/ 36064 w 55560"/>
                    <a:gd name="connsiteY9" fmla="*/ 6220 h 65369"/>
                    <a:gd name="connsiteX10" fmla="*/ 37081 w 55560"/>
                    <a:gd name="connsiteY10" fmla="*/ 5801 h 65369"/>
                    <a:gd name="connsiteX11" fmla="*/ 55561 w 55560"/>
                    <a:gd name="connsiteY11" fmla="*/ 51255 h 65369"/>
                    <a:gd name="connsiteX12" fmla="*/ 20933 w 55560"/>
                    <a:gd name="connsiteY12" fmla="*/ 65369 h 65369"/>
                    <a:gd name="connsiteX13" fmla="*/ 0 w 55560"/>
                    <a:gd name="connsiteY13" fmla="*/ 13935 h 65369"/>
                    <a:gd name="connsiteX14" fmla="*/ 34210 w 55560"/>
                    <a:gd name="connsiteY14" fmla="*/ 0 h 65369"/>
                    <a:gd name="connsiteX15" fmla="*/ 34688 w 55560"/>
                    <a:gd name="connsiteY15" fmla="*/ 1256 h 65369"/>
                    <a:gd name="connsiteX16" fmla="*/ 2153 w 55560"/>
                    <a:gd name="connsiteY16" fmla="*/ 14473 h 65369"/>
                    <a:gd name="connsiteX17" fmla="*/ 21770 w 55560"/>
                    <a:gd name="connsiteY17" fmla="*/ 62738 h 65369"/>
                    <a:gd name="connsiteX18" fmla="*/ 27033 w 55560"/>
                    <a:gd name="connsiteY18" fmla="*/ 60585 h 65369"/>
                    <a:gd name="connsiteX19" fmla="*/ 10765 w 55560"/>
                    <a:gd name="connsiteY19" fmla="*/ 20634 h 65369"/>
                    <a:gd name="connsiteX20" fmla="*/ 11961 w 55560"/>
                    <a:gd name="connsiteY20" fmla="*/ 20275 h 65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560" h="65369">
                      <a:moveTo>
                        <a:pt x="11961" y="20275"/>
                      </a:moveTo>
                      <a:cubicBezTo>
                        <a:pt x="17344" y="33492"/>
                        <a:pt x="22667" y="46650"/>
                        <a:pt x="28229" y="60226"/>
                      </a:cubicBezTo>
                      <a:cubicBezTo>
                        <a:pt x="30561" y="59269"/>
                        <a:pt x="32475" y="58491"/>
                        <a:pt x="35047" y="57475"/>
                      </a:cubicBezTo>
                      <a:cubicBezTo>
                        <a:pt x="29425" y="43659"/>
                        <a:pt x="23743" y="29664"/>
                        <a:pt x="17882" y="15370"/>
                      </a:cubicBezTo>
                      <a:cubicBezTo>
                        <a:pt x="23444" y="13098"/>
                        <a:pt x="28528" y="11064"/>
                        <a:pt x="33612" y="8971"/>
                      </a:cubicBezTo>
                      <a:cubicBezTo>
                        <a:pt x="33671" y="9031"/>
                        <a:pt x="33731" y="9151"/>
                        <a:pt x="33791" y="9210"/>
                      </a:cubicBezTo>
                      <a:cubicBezTo>
                        <a:pt x="29605" y="11483"/>
                        <a:pt x="25358" y="13696"/>
                        <a:pt x="20514" y="16327"/>
                      </a:cubicBezTo>
                      <a:cubicBezTo>
                        <a:pt x="25956" y="29724"/>
                        <a:pt x="31399" y="43121"/>
                        <a:pt x="37021" y="56877"/>
                      </a:cubicBezTo>
                      <a:cubicBezTo>
                        <a:pt x="42343" y="54724"/>
                        <a:pt x="47606" y="52571"/>
                        <a:pt x="53886" y="49999"/>
                      </a:cubicBezTo>
                      <a:cubicBezTo>
                        <a:pt x="47906" y="35286"/>
                        <a:pt x="41984" y="20753"/>
                        <a:pt x="36064" y="6220"/>
                      </a:cubicBezTo>
                      <a:cubicBezTo>
                        <a:pt x="36422" y="6100"/>
                        <a:pt x="36721" y="5981"/>
                        <a:pt x="37081" y="5801"/>
                      </a:cubicBezTo>
                      <a:cubicBezTo>
                        <a:pt x="43241" y="20933"/>
                        <a:pt x="49401" y="36124"/>
                        <a:pt x="55561" y="51255"/>
                      </a:cubicBezTo>
                      <a:cubicBezTo>
                        <a:pt x="44018" y="55980"/>
                        <a:pt x="32415" y="60645"/>
                        <a:pt x="20933" y="65369"/>
                      </a:cubicBezTo>
                      <a:cubicBezTo>
                        <a:pt x="13815" y="47906"/>
                        <a:pt x="6758" y="30561"/>
                        <a:pt x="0" y="13935"/>
                      </a:cubicBezTo>
                      <a:cubicBezTo>
                        <a:pt x="11603" y="9210"/>
                        <a:pt x="22906" y="4605"/>
                        <a:pt x="34210" y="0"/>
                      </a:cubicBezTo>
                      <a:cubicBezTo>
                        <a:pt x="34389" y="419"/>
                        <a:pt x="34509" y="837"/>
                        <a:pt x="34688" y="1256"/>
                      </a:cubicBezTo>
                      <a:cubicBezTo>
                        <a:pt x="24042" y="5562"/>
                        <a:pt x="13397" y="9928"/>
                        <a:pt x="2153" y="14473"/>
                      </a:cubicBezTo>
                      <a:cubicBezTo>
                        <a:pt x="8612" y="30382"/>
                        <a:pt x="15191" y="46470"/>
                        <a:pt x="21770" y="62738"/>
                      </a:cubicBezTo>
                      <a:cubicBezTo>
                        <a:pt x="23265" y="62140"/>
                        <a:pt x="24760" y="61542"/>
                        <a:pt x="27033" y="60585"/>
                      </a:cubicBezTo>
                      <a:cubicBezTo>
                        <a:pt x="21590" y="47308"/>
                        <a:pt x="16208" y="33971"/>
                        <a:pt x="10765" y="20634"/>
                      </a:cubicBezTo>
                      <a:cubicBezTo>
                        <a:pt x="11184" y="20574"/>
                        <a:pt x="11603" y="20454"/>
                        <a:pt x="11961" y="2027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89" name="Vrije vorm: vorm 9388">
                  <a:extLst>
                    <a:ext uri="{FF2B5EF4-FFF2-40B4-BE49-F238E27FC236}">
                      <a16:creationId xmlns:a16="http://schemas.microsoft.com/office/drawing/2014/main" id="{0831F9B9-54A3-4A16-BD41-47100A0E4CBE}"/>
                    </a:ext>
                  </a:extLst>
                </p:cNvPr>
                <p:cNvSpPr/>
                <p:nvPr/>
              </p:nvSpPr>
              <p:spPr>
                <a:xfrm>
                  <a:off x="5366940" y="1402161"/>
                  <a:ext cx="55620" cy="65668"/>
                </a:xfrm>
                <a:custGeom>
                  <a:avLst/>
                  <a:gdLst>
                    <a:gd name="connsiteX0" fmla="*/ 0 w 55620"/>
                    <a:gd name="connsiteY0" fmla="*/ 14115 h 65668"/>
                    <a:gd name="connsiteX1" fmla="*/ 34629 w 55620"/>
                    <a:gd name="connsiteY1" fmla="*/ 0 h 65668"/>
                    <a:gd name="connsiteX2" fmla="*/ 55621 w 55620"/>
                    <a:gd name="connsiteY2" fmla="*/ 51554 h 65668"/>
                    <a:gd name="connsiteX3" fmla="*/ 20992 w 55620"/>
                    <a:gd name="connsiteY3" fmla="*/ 65668 h 65668"/>
                    <a:gd name="connsiteX4" fmla="*/ 0 w 55620"/>
                    <a:gd name="connsiteY4" fmla="*/ 14115 h 65668"/>
                    <a:gd name="connsiteX5" fmla="*/ 34150 w 55620"/>
                    <a:gd name="connsiteY5" fmla="*/ 2631 h 65668"/>
                    <a:gd name="connsiteX6" fmla="*/ 15969 w 55620"/>
                    <a:gd name="connsiteY6" fmla="*/ 9988 h 65668"/>
                    <a:gd name="connsiteX7" fmla="*/ 34210 w 55620"/>
                    <a:gd name="connsiteY7" fmla="*/ 54903 h 65668"/>
                    <a:gd name="connsiteX8" fmla="*/ 52391 w 55620"/>
                    <a:gd name="connsiteY8" fmla="*/ 47547 h 65668"/>
                    <a:gd name="connsiteX9" fmla="*/ 34150 w 55620"/>
                    <a:gd name="connsiteY9" fmla="*/ 2631 h 65668"/>
                    <a:gd name="connsiteX10" fmla="*/ 27033 w 55620"/>
                    <a:gd name="connsiteY10" fmla="*/ 60944 h 65668"/>
                    <a:gd name="connsiteX11" fmla="*/ 52511 w 55620"/>
                    <a:gd name="connsiteY11" fmla="*/ 50597 h 65668"/>
                    <a:gd name="connsiteX12" fmla="*/ 52032 w 55620"/>
                    <a:gd name="connsiteY12" fmla="*/ 49461 h 65668"/>
                    <a:gd name="connsiteX13" fmla="*/ 33373 w 55620"/>
                    <a:gd name="connsiteY13" fmla="*/ 57056 h 65668"/>
                    <a:gd name="connsiteX14" fmla="*/ 14414 w 55620"/>
                    <a:gd name="connsiteY14" fmla="*/ 10466 h 65668"/>
                    <a:gd name="connsiteX15" fmla="*/ 7656 w 55620"/>
                    <a:gd name="connsiteY15" fmla="*/ 13217 h 65668"/>
                    <a:gd name="connsiteX16" fmla="*/ 27033 w 55620"/>
                    <a:gd name="connsiteY16" fmla="*/ 60944 h 65668"/>
                    <a:gd name="connsiteX17" fmla="*/ 15969 w 55620"/>
                    <a:gd name="connsiteY17" fmla="*/ 37380 h 65668"/>
                    <a:gd name="connsiteX18" fmla="*/ 16148 w 55620"/>
                    <a:gd name="connsiteY18" fmla="*/ 37320 h 65668"/>
                    <a:gd name="connsiteX19" fmla="*/ 7775 w 55620"/>
                    <a:gd name="connsiteY19" fmla="*/ 17045 h 65668"/>
                    <a:gd name="connsiteX20" fmla="*/ 3947 w 55620"/>
                    <a:gd name="connsiteY20" fmla="*/ 14055 h 65668"/>
                    <a:gd name="connsiteX21" fmla="*/ 3589 w 55620"/>
                    <a:gd name="connsiteY21" fmla="*/ 18540 h 65668"/>
                    <a:gd name="connsiteX22" fmla="*/ 19796 w 55620"/>
                    <a:gd name="connsiteY22" fmla="*/ 59927 h 65668"/>
                    <a:gd name="connsiteX23" fmla="*/ 23564 w 55620"/>
                    <a:gd name="connsiteY23" fmla="*/ 63216 h 65668"/>
                    <a:gd name="connsiteX24" fmla="*/ 24282 w 55620"/>
                    <a:gd name="connsiteY24" fmla="*/ 58252 h 65668"/>
                    <a:gd name="connsiteX25" fmla="*/ 15969 w 55620"/>
                    <a:gd name="connsiteY25" fmla="*/ 37380 h 6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5620" h="65668">
                      <a:moveTo>
                        <a:pt x="0" y="14115"/>
                      </a:moveTo>
                      <a:cubicBezTo>
                        <a:pt x="11662" y="9390"/>
                        <a:pt x="23086" y="4725"/>
                        <a:pt x="34629" y="0"/>
                      </a:cubicBezTo>
                      <a:cubicBezTo>
                        <a:pt x="41626" y="17165"/>
                        <a:pt x="48504" y="34090"/>
                        <a:pt x="55621" y="51554"/>
                      </a:cubicBezTo>
                      <a:cubicBezTo>
                        <a:pt x="44078" y="56219"/>
                        <a:pt x="32595" y="60944"/>
                        <a:pt x="20992" y="65668"/>
                      </a:cubicBezTo>
                      <a:cubicBezTo>
                        <a:pt x="14174" y="48922"/>
                        <a:pt x="7177" y="31698"/>
                        <a:pt x="0" y="14115"/>
                      </a:cubicBezTo>
                      <a:close/>
                      <a:moveTo>
                        <a:pt x="34150" y="2631"/>
                      </a:moveTo>
                      <a:cubicBezTo>
                        <a:pt x="28050" y="5084"/>
                        <a:pt x="22129" y="7536"/>
                        <a:pt x="15969" y="9988"/>
                      </a:cubicBezTo>
                      <a:cubicBezTo>
                        <a:pt x="22189" y="25179"/>
                        <a:pt x="28169" y="39951"/>
                        <a:pt x="34210" y="54903"/>
                      </a:cubicBezTo>
                      <a:cubicBezTo>
                        <a:pt x="40370" y="52391"/>
                        <a:pt x="46112" y="50059"/>
                        <a:pt x="52391" y="47547"/>
                      </a:cubicBezTo>
                      <a:cubicBezTo>
                        <a:pt x="46231" y="32415"/>
                        <a:pt x="40251" y="17643"/>
                        <a:pt x="34150" y="2631"/>
                      </a:cubicBezTo>
                      <a:close/>
                      <a:moveTo>
                        <a:pt x="27033" y="60944"/>
                      </a:moveTo>
                      <a:cubicBezTo>
                        <a:pt x="35884" y="57355"/>
                        <a:pt x="44198" y="53946"/>
                        <a:pt x="52511" y="50597"/>
                      </a:cubicBezTo>
                      <a:cubicBezTo>
                        <a:pt x="52331" y="50238"/>
                        <a:pt x="52212" y="49879"/>
                        <a:pt x="52032" y="49461"/>
                      </a:cubicBezTo>
                      <a:cubicBezTo>
                        <a:pt x="45753" y="52032"/>
                        <a:pt x="39473" y="54604"/>
                        <a:pt x="33373" y="57056"/>
                      </a:cubicBezTo>
                      <a:cubicBezTo>
                        <a:pt x="26973" y="41267"/>
                        <a:pt x="20634" y="25837"/>
                        <a:pt x="14414" y="10466"/>
                      </a:cubicBezTo>
                      <a:cubicBezTo>
                        <a:pt x="12021" y="11423"/>
                        <a:pt x="9928" y="12260"/>
                        <a:pt x="7656" y="13217"/>
                      </a:cubicBezTo>
                      <a:cubicBezTo>
                        <a:pt x="14234" y="29485"/>
                        <a:pt x="20634" y="45214"/>
                        <a:pt x="27033" y="60944"/>
                      </a:cubicBezTo>
                      <a:close/>
                      <a:moveTo>
                        <a:pt x="15969" y="37380"/>
                      </a:moveTo>
                      <a:cubicBezTo>
                        <a:pt x="16028" y="37380"/>
                        <a:pt x="16088" y="37320"/>
                        <a:pt x="16148" y="37320"/>
                      </a:cubicBezTo>
                      <a:cubicBezTo>
                        <a:pt x="13397" y="30561"/>
                        <a:pt x="10765" y="23743"/>
                        <a:pt x="7775" y="17045"/>
                      </a:cubicBezTo>
                      <a:cubicBezTo>
                        <a:pt x="7177" y="15729"/>
                        <a:pt x="5263" y="15012"/>
                        <a:pt x="3947" y="14055"/>
                      </a:cubicBezTo>
                      <a:cubicBezTo>
                        <a:pt x="3828" y="15550"/>
                        <a:pt x="3110" y="17284"/>
                        <a:pt x="3589" y="18540"/>
                      </a:cubicBezTo>
                      <a:cubicBezTo>
                        <a:pt x="8852" y="32415"/>
                        <a:pt x="14234" y="46231"/>
                        <a:pt x="19796" y="59927"/>
                      </a:cubicBezTo>
                      <a:cubicBezTo>
                        <a:pt x="20335" y="61302"/>
                        <a:pt x="22308" y="62140"/>
                        <a:pt x="23564" y="63216"/>
                      </a:cubicBezTo>
                      <a:cubicBezTo>
                        <a:pt x="23863" y="61542"/>
                        <a:pt x="24820" y="59628"/>
                        <a:pt x="24282" y="58252"/>
                      </a:cubicBezTo>
                      <a:cubicBezTo>
                        <a:pt x="21770" y="51255"/>
                        <a:pt x="18839" y="44377"/>
                        <a:pt x="15969" y="3738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90" name="Vrije vorm: vorm 9389">
                  <a:extLst>
                    <a:ext uri="{FF2B5EF4-FFF2-40B4-BE49-F238E27FC236}">
                      <a16:creationId xmlns:a16="http://schemas.microsoft.com/office/drawing/2014/main" id="{83E9BB4A-09F3-4BA9-960D-D48A8D4014DD}"/>
                    </a:ext>
                  </a:extLst>
                </p:cNvPr>
                <p:cNvSpPr/>
                <p:nvPr/>
              </p:nvSpPr>
              <p:spPr>
                <a:xfrm>
                  <a:off x="5212458" y="1532720"/>
                  <a:ext cx="71828" cy="83550"/>
                </a:xfrm>
                <a:custGeom>
                  <a:avLst/>
                  <a:gdLst>
                    <a:gd name="connsiteX0" fmla="*/ 0 w 71828"/>
                    <a:gd name="connsiteY0" fmla="*/ 18779 h 83550"/>
                    <a:gd name="connsiteX1" fmla="*/ 46231 w 71828"/>
                    <a:gd name="connsiteY1" fmla="*/ 0 h 83550"/>
                    <a:gd name="connsiteX2" fmla="*/ 71828 w 71828"/>
                    <a:gd name="connsiteY2" fmla="*/ 62917 h 83550"/>
                    <a:gd name="connsiteX3" fmla="*/ 26375 w 71828"/>
                    <a:gd name="connsiteY3" fmla="*/ 83551 h 83550"/>
                    <a:gd name="connsiteX4" fmla="*/ 0 w 71828"/>
                    <a:gd name="connsiteY4" fmla="*/ 18779 h 83550"/>
                    <a:gd name="connsiteX5" fmla="*/ 2213 w 71828"/>
                    <a:gd name="connsiteY5" fmla="*/ 19856 h 83550"/>
                    <a:gd name="connsiteX6" fmla="*/ 26913 w 71828"/>
                    <a:gd name="connsiteY6" fmla="*/ 80560 h 83550"/>
                    <a:gd name="connsiteX7" fmla="*/ 53527 w 71828"/>
                    <a:gd name="connsiteY7" fmla="*/ 69735 h 83550"/>
                    <a:gd name="connsiteX8" fmla="*/ 30143 w 71828"/>
                    <a:gd name="connsiteY8" fmla="*/ 12320 h 83550"/>
                    <a:gd name="connsiteX9" fmla="*/ 31279 w 71828"/>
                    <a:gd name="connsiteY9" fmla="*/ 11842 h 83550"/>
                    <a:gd name="connsiteX10" fmla="*/ 54305 w 71828"/>
                    <a:gd name="connsiteY10" fmla="*/ 68419 h 83550"/>
                    <a:gd name="connsiteX11" fmla="*/ 69675 w 71828"/>
                    <a:gd name="connsiteY11" fmla="*/ 62199 h 83550"/>
                    <a:gd name="connsiteX12" fmla="*/ 45334 w 71828"/>
                    <a:gd name="connsiteY12" fmla="*/ 2332 h 83550"/>
                    <a:gd name="connsiteX13" fmla="*/ 2213 w 71828"/>
                    <a:gd name="connsiteY13" fmla="*/ 19856 h 8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828" h="83550">
                      <a:moveTo>
                        <a:pt x="0" y="18779"/>
                      </a:moveTo>
                      <a:cubicBezTo>
                        <a:pt x="15729" y="12380"/>
                        <a:pt x="30980" y="6160"/>
                        <a:pt x="46231" y="0"/>
                      </a:cubicBezTo>
                      <a:cubicBezTo>
                        <a:pt x="54664" y="20753"/>
                        <a:pt x="63216" y="41686"/>
                        <a:pt x="71828" y="62917"/>
                      </a:cubicBezTo>
                      <a:cubicBezTo>
                        <a:pt x="56817" y="69735"/>
                        <a:pt x="41685" y="76553"/>
                        <a:pt x="26375" y="83551"/>
                      </a:cubicBezTo>
                      <a:cubicBezTo>
                        <a:pt x="17703" y="62379"/>
                        <a:pt x="8971" y="40848"/>
                        <a:pt x="0" y="18779"/>
                      </a:cubicBezTo>
                      <a:close/>
                      <a:moveTo>
                        <a:pt x="2213" y="19856"/>
                      </a:moveTo>
                      <a:cubicBezTo>
                        <a:pt x="10825" y="40968"/>
                        <a:pt x="18959" y="60944"/>
                        <a:pt x="26913" y="80560"/>
                      </a:cubicBezTo>
                      <a:cubicBezTo>
                        <a:pt x="35765" y="76972"/>
                        <a:pt x="44257" y="73503"/>
                        <a:pt x="53527" y="69735"/>
                      </a:cubicBezTo>
                      <a:cubicBezTo>
                        <a:pt x="45513" y="50059"/>
                        <a:pt x="37858" y="31160"/>
                        <a:pt x="30143" y="12320"/>
                      </a:cubicBezTo>
                      <a:cubicBezTo>
                        <a:pt x="30502" y="12141"/>
                        <a:pt x="30920" y="12021"/>
                        <a:pt x="31279" y="11842"/>
                      </a:cubicBezTo>
                      <a:cubicBezTo>
                        <a:pt x="38934" y="30681"/>
                        <a:pt x="46590" y="49520"/>
                        <a:pt x="54305" y="68419"/>
                      </a:cubicBezTo>
                      <a:cubicBezTo>
                        <a:pt x="59568" y="66266"/>
                        <a:pt x="64532" y="64233"/>
                        <a:pt x="69675" y="62199"/>
                      </a:cubicBezTo>
                      <a:cubicBezTo>
                        <a:pt x="61422" y="41865"/>
                        <a:pt x="53348" y="22009"/>
                        <a:pt x="45334" y="2332"/>
                      </a:cubicBezTo>
                      <a:cubicBezTo>
                        <a:pt x="30860" y="8194"/>
                        <a:pt x="16746" y="13935"/>
                        <a:pt x="2213" y="1985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91" name="Vrije vorm: vorm 9390">
                  <a:extLst>
                    <a:ext uri="{FF2B5EF4-FFF2-40B4-BE49-F238E27FC236}">
                      <a16:creationId xmlns:a16="http://schemas.microsoft.com/office/drawing/2014/main" id="{0D868CF5-4AAB-4F46-8BA9-66424F97C32E}"/>
                    </a:ext>
                  </a:extLst>
                </p:cNvPr>
                <p:cNvSpPr/>
                <p:nvPr/>
              </p:nvSpPr>
              <p:spPr>
                <a:xfrm>
                  <a:off x="4884595" y="1888393"/>
                  <a:ext cx="79902" cy="93119"/>
                </a:xfrm>
                <a:custGeom>
                  <a:avLst/>
                  <a:gdLst>
                    <a:gd name="connsiteX0" fmla="*/ 0 w 79902"/>
                    <a:gd name="connsiteY0" fmla="*/ 26674 h 93119"/>
                    <a:gd name="connsiteX1" fmla="*/ 53348 w 79902"/>
                    <a:gd name="connsiteY1" fmla="*/ 0 h 93119"/>
                    <a:gd name="connsiteX2" fmla="*/ 79902 w 79902"/>
                    <a:gd name="connsiteY2" fmla="*/ 65250 h 93119"/>
                    <a:gd name="connsiteX3" fmla="*/ 27033 w 79902"/>
                    <a:gd name="connsiteY3" fmla="*/ 93120 h 93119"/>
                    <a:gd name="connsiteX4" fmla="*/ 0 w 79902"/>
                    <a:gd name="connsiteY4" fmla="*/ 26674 h 93119"/>
                    <a:gd name="connsiteX5" fmla="*/ 52511 w 79902"/>
                    <a:gd name="connsiteY5" fmla="*/ 1974 h 93119"/>
                    <a:gd name="connsiteX6" fmla="*/ 1674 w 79902"/>
                    <a:gd name="connsiteY6" fmla="*/ 27392 h 93119"/>
                    <a:gd name="connsiteX7" fmla="*/ 5024 w 79902"/>
                    <a:gd name="connsiteY7" fmla="*/ 34688 h 93119"/>
                    <a:gd name="connsiteX8" fmla="*/ 42044 w 79902"/>
                    <a:gd name="connsiteY8" fmla="*/ 16208 h 93119"/>
                    <a:gd name="connsiteX9" fmla="*/ 42583 w 79902"/>
                    <a:gd name="connsiteY9" fmla="*/ 17404 h 93119"/>
                    <a:gd name="connsiteX10" fmla="*/ 5801 w 79902"/>
                    <a:gd name="connsiteY10" fmla="*/ 36124 h 93119"/>
                    <a:gd name="connsiteX11" fmla="*/ 28109 w 79902"/>
                    <a:gd name="connsiteY11" fmla="*/ 91027 h 93119"/>
                    <a:gd name="connsiteX12" fmla="*/ 77988 w 79902"/>
                    <a:gd name="connsiteY12" fmla="*/ 64711 h 93119"/>
                    <a:gd name="connsiteX13" fmla="*/ 52511 w 79902"/>
                    <a:gd name="connsiteY13" fmla="*/ 1974 h 93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02" h="93119">
                      <a:moveTo>
                        <a:pt x="0" y="26674"/>
                      </a:moveTo>
                      <a:cubicBezTo>
                        <a:pt x="17523" y="17882"/>
                        <a:pt x="35226" y="9091"/>
                        <a:pt x="53348" y="0"/>
                      </a:cubicBezTo>
                      <a:cubicBezTo>
                        <a:pt x="62139" y="21590"/>
                        <a:pt x="70991" y="43420"/>
                        <a:pt x="79902" y="65250"/>
                      </a:cubicBezTo>
                      <a:cubicBezTo>
                        <a:pt x="62618" y="74400"/>
                        <a:pt x="45035" y="83610"/>
                        <a:pt x="27033" y="93120"/>
                      </a:cubicBezTo>
                      <a:cubicBezTo>
                        <a:pt x="18062" y="70991"/>
                        <a:pt x="9031" y="48743"/>
                        <a:pt x="0" y="26674"/>
                      </a:cubicBezTo>
                      <a:close/>
                      <a:moveTo>
                        <a:pt x="52511" y="1974"/>
                      </a:moveTo>
                      <a:cubicBezTo>
                        <a:pt x="35286" y="10586"/>
                        <a:pt x="18660" y="18899"/>
                        <a:pt x="1674" y="27392"/>
                      </a:cubicBezTo>
                      <a:cubicBezTo>
                        <a:pt x="2990" y="30203"/>
                        <a:pt x="3947" y="32296"/>
                        <a:pt x="5024" y="34688"/>
                      </a:cubicBezTo>
                      <a:cubicBezTo>
                        <a:pt x="17763" y="28349"/>
                        <a:pt x="29904" y="22308"/>
                        <a:pt x="42044" y="16208"/>
                      </a:cubicBezTo>
                      <a:cubicBezTo>
                        <a:pt x="42224" y="16626"/>
                        <a:pt x="42403" y="16985"/>
                        <a:pt x="42583" y="17404"/>
                      </a:cubicBezTo>
                      <a:cubicBezTo>
                        <a:pt x="30322" y="23624"/>
                        <a:pt x="18062" y="29904"/>
                        <a:pt x="5801" y="36124"/>
                      </a:cubicBezTo>
                      <a:cubicBezTo>
                        <a:pt x="13277" y="54544"/>
                        <a:pt x="20574" y="72486"/>
                        <a:pt x="28109" y="91027"/>
                      </a:cubicBezTo>
                      <a:cubicBezTo>
                        <a:pt x="45035" y="82115"/>
                        <a:pt x="61542" y="73383"/>
                        <a:pt x="77988" y="64711"/>
                      </a:cubicBezTo>
                      <a:cubicBezTo>
                        <a:pt x="69436" y="43540"/>
                        <a:pt x="61123" y="23145"/>
                        <a:pt x="52511" y="197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92" name="Vrije vorm: vorm 9391">
                  <a:extLst>
                    <a:ext uri="{FF2B5EF4-FFF2-40B4-BE49-F238E27FC236}">
                      <a16:creationId xmlns:a16="http://schemas.microsoft.com/office/drawing/2014/main" id="{39D852B4-D572-436D-B4A8-8060B311AA07}"/>
                    </a:ext>
                  </a:extLst>
                </p:cNvPr>
                <p:cNvSpPr/>
                <p:nvPr/>
              </p:nvSpPr>
              <p:spPr>
                <a:xfrm>
                  <a:off x="5089076" y="1058448"/>
                  <a:ext cx="73203" cy="74998"/>
                </a:xfrm>
                <a:custGeom>
                  <a:avLst/>
                  <a:gdLst>
                    <a:gd name="connsiteX0" fmla="*/ 73204 w 73203"/>
                    <a:gd name="connsiteY0" fmla="*/ 63156 h 74998"/>
                    <a:gd name="connsiteX1" fmla="*/ 26136 w 73203"/>
                    <a:gd name="connsiteY1" fmla="*/ 74998 h 74998"/>
                    <a:gd name="connsiteX2" fmla="*/ 0 w 73203"/>
                    <a:gd name="connsiteY2" fmla="*/ 10765 h 74998"/>
                    <a:gd name="connsiteX3" fmla="*/ 47546 w 73203"/>
                    <a:gd name="connsiteY3" fmla="*/ 0 h 74998"/>
                    <a:gd name="connsiteX4" fmla="*/ 73204 w 73203"/>
                    <a:gd name="connsiteY4" fmla="*/ 63156 h 74998"/>
                    <a:gd name="connsiteX5" fmla="*/ 13696 w 73203"/>
                    <a:gd name="connsiteY5" fmla="*/ 34509 h 74998"/>
                    <a:gd name="connsiteX6" fmla="*/ 13576 w 73203"/>
                    <a:gd name="connsiteY6" fmla="*/ 34449 h 74998"/>
                    <a:gd name="connsiteX7" fmla="*/ 13756 w 73203"/>
                    <a:gd name="connsiteY7" fmla="*/ 40430 h 74998"/>
                    <a:gd name="connsiteX8" fmla="*/ 25298 w 73203"/>
                    <a:gd name="connsiteY8" fmla="*/ 69317 h 74998"/>
                    <a:gd name="connsiteX9" fmla="*/ 27750 w 73203"/>
                    <a:gd name="connsiteY9" fmla="*/ 73324 h 74998"/>
                    <a:gd name="connsiteX10" fmla="*/ 29245 w 73203"/>
                    <a:gd name="connsiteY10" fmla="*/ 72546 h 74998"/>
                    <a:gd name="connsiteX11" fmla="*/ 23145 w 73203"/>
                    <a:gd name="connsiteY11" fmla="*/ 57594 h 74998"/>
                    <a:gd name="connsiteX12" fmla="*/ 27272 w 73203"/>
                    <a:gd name="connsiteY12" fmla="*/ 65130 h 74998"/>
                    <a:gd name="connsiteX13" fmla="*/ 38815 w 73203"/>
                    <a:gd name="connsiteY13" fmla="*/ 69675 h 74998"/>
                    <a:gd name="connsiteX14" fmla="*/ 30502 w 73203"/>
                    <a:gd name="connsiteY14" fmla="*/ 49281 h 74998"/>
                    <a:gd name="connsiteX15" fmla="*/ 52630 w 73203"/>
                    <a:gd name="connsiteY15" fmla="*/ 31817 h 74998"/>
                    <a:gd name="connsiteX16" fmla="*/ 35406 w 73203"/>
                    <a:gd name="connsiteY16" fmla="*/ 47248 h 74998"/>
                    <a:gd name="connsiteX17" fmla="*/ 33492 w 73203"/>
                    <a:gd name="connsiteY17" fmla="*/ 52331 h 74998"/>
                    <a:gd name="connsiteX18" fmla="*/ 40489 w 73203"/>
                    <a:gd name="connsiteY18" fmla="*/ 69974 h 74998"/>
                    <a:gd name="connsiteX19" fmla="*/ 70991 w 73203"/>
                    <a:gd name="connsiteY19" fmla="*/ 62319 h 74998"/>
                    <a:gd name="connsiteX20" fmla="*/ 46351 w 73203"/>
                    <a:gd name="connsiteY20" fmla="*/ 1734 h 74998"/>
                    <a:gd name="connsiteX21" fmla="*/ 2093 w 73203"/>
                    <a:gd name="connsiteY21" fmla="*/ 11782 h 74998"/>
                    <a:gd name="connsiteX22" fmla="*/ 11004 w 73203"/>
                    <a:gd name="connsiteY22" fmla="*/ 33432 h 74998"/>
                    <a:gd name="connsiteX23" fmla="*/ 13696 w 73203"/>
                    <a:gd name="connsiteY23" fmla="*/ 34509 h 7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203" h="74998">
                      <a:moveTo>
                        <a:pt x="73204" y="63156"/>
                      </a:moveTo>
                      <a:cubicBezTo>
                        <a:pt x="57236" y="67163"/>
                        <a:pt x="41805" y="71051"/>
                        <a:pt x="26136" y="74998"/>
                      </a:cubicBezTo>
                      <a:cubicBezTo>
                        <a:pt x="17523" y="53826"/>
                        <a:pt x="8791" y="32415"/>
                        <a:pt x="0" y="10765"/>
                      </a:cubicBezTo>
                      <a:cubicBezTo>
                        <a:pt x="15789" y="7177"/>
                        <a:pt x="31578" y="3588"/>
                        <a:pt x="47546" y="0"/>
                      </a:cubicBezTo>
                      <a:cubicBezTo>
                        <a:pt x="55979" y="20753"/>
                        <a:pt x="64532" y="41805"/>
                        <a:pt x="73204" y="63156"/>
                      </a:cubicBezTo>
                      <a:close/>
                      <a:moveTo>
                        <a:pt x="13696" y="34509"/>
                      </a:moveTo>
                      <a:cubicBezTo>
                        <a:pt x="13696" y="34509"/>
                        <a:pt x="13576" y="34449"/>
                        <a:pt x="13576" y="34449"/>
                      </a:cubicBezTo>
                      <a:cubicBezTo>
                        <a:pt x="13576" y="36482"/>
                        <a:pt x="13098" y="38695"/>
                        <a:pt x="13756" y="40430"/>
                      </a:cubicBezTo>
                      <a:cubicBezTo>
                        <a:pt x="17404" y="50118"/>
                        <a:pt x="21351" y="59688"/>
                        <a:pt x="25298" y="69317"/>
                      </a:cubicBezTo>
                      <a:cubicBezTo>
                        <a:pt x="25896" y="70752"/>
                        <a:pt x="26913" y="72008"/>
                        <a:pt x="27750" y="73324"/>
                      </a:cubicBezTo>
                      <a:cubicBezTo>
                        <a:pt x="28229" y="73084"/>
                        <a:pt x="28707" y="72785"/>
                        <a:pt x="29245" y="72546"/>
                      </a:cubicBezTo>
                      <a:cubicBezTo>
                        <a:pt x="27212" y="67582"/>
                        <a:pt x="25179" y="62618"/>
                        <a:pt x="23145" y="57594"/>
                      </a:cubicBezTo>
                      <a:cubicBezTo>
                        <a:pt x="25119" y="59867"/>
                        <a:pt x="26196" y="62499"/>
                        <a:pt x="27272" y="65130"/>
                      </a:cubicBezTo>
                      <a:cubicBezTo>
                        <a:pt x="30621" y="73383"/>
                        <a:pt x="31099" y="73563"/>
                        <a:pt x="38815" y="69675"/>
                      </a:cubicBezTo>
                      <a:cubicBezTo>
                        <a:pt x="36004" y="62798"/>
                        <a:pt x="33193" y="55920"/>
                        <a:pt x="30502" y="49281"/>
                      </a:cubicBezTo>
                      <a:cubicBezTo>
                        <a:pt x="38097" y="43300"/>
                        <a:pt x="45393" y="37559"/>
                        <a:pt x="52630" y="31817"/>
                      </a:cubicBezTo>
                      <a:cubicBezTo>
                        <a:pt x="47307" y="37559"/>
                        <a:pt x="41207" y="42224"/>
                        <a:pt x="35406" y="47248"/>
                      </a:cubicBezTo>
                      <a:cubicBezTo>
                        <a:pt x="34210" y="48264"/>
                        <a:pt x="33013" y="50956"/>
                        <a:pt x="33492" y="52331"/>
                      </a:cubicBezTo>
                      <a:cubicBezTo>
                        <a:pt x="35346" y="58073"/>
                        <a:pt x="37918" y="63635"/>
                        <a:pt x="40489" y="69974"/>
                      </a:cubicBezTo>
                      <a:cubicBezTo>
                        <a:pt x="50657" y="67403"/>
                        <a:pt x="60585" y="64891"/>
                        <a:pt x="70991" y="62319"/>
                      </a:cubicBezTo>
                      <a:cubicBezTo>
                        <a:pt x="62678" y="41805"/>
                        <a:pt x="54604" y="22009"/>
                        <a:pt x="46351" y="1734"/>
                      </a:cubicBezTo>
                      <a:cubicBezTo>
                        <a:pt x="31758" y="5024"/>
                        <a:pt x="17225" y="8313"/>
                        <a:pt x="2093" y="11782"/>
                      </a:cubicBezTo>
                      <a:cubicBezTo>
                        <a:pt x="5143" y="19258"/>
                        <a:pt x="7954" y="26375"/>
                        <a:pt x="11004" y="33432"/>
                      </a:cubicBezTo>
                      <a:cubicBezTo>
                        <a:pt x="11244" y="34030"/>
                        <a:pt x="12739" y="34150"/>
                        <a:pt x="13696" y="3450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93" name="Vrije vorm: vorm 9392">
                  <a:extLst>
                    <a:ext uri="{FF2B5EF4-FFF2-40B4-BE49-F238E27FC236}">
                      <a16:creationId xmlns:a16="http://schemas.microsoft.com/office/drawing/2014/main" id="{11C9FA7D-A267-43CE-9168-CBCFFF7155B3}"/>
                    </a:ext>
                  </a:extLst>
                </p:cNvPr>
                <p:cNvSpPr/>
                <p:nvPr/>
              </p:nvSpPr>
              <p:spPr>
                <a:xfrm>
                  <a:off x="5244216" y="1608196"/>
                  <a:ext cx="70751" cy="84687"/>
                </a:xfrm>
                <a:custGeom>
                  <a:avLst/>
                  <a:gdLst>
                    <a:gd name="connsiteX0" fmla="*/ 0 w 70751"/>
                    <a:gd name="connsiteY0" fmla="*/ 20813 h 84687"/>
                    <a:gd name="connsiteX1" fmla="*/ 45154 w 70751"/>
                    <a:gd name="connsiteY1" fmla="*/ 0 h 84687"/>
                    <a:gd name="connsiteX2" fmla="*/ 70752 w 70751"/>
                    <a:gd name="connsiteY2" fmla="*/ 62857 h 84687"/>
                    <a:gd name="connsiteX3" fmla="*/ 25956 w 70751"/>
                    <a:gd name="connsiteY3" fmla="*/ 84687 h 84687"/>
                    <a:gd name="connsiteX4" fmla="*/ 0 w 70751"/>
                    <a:gd name="connsiteY4" fmla="*/ 20813 h 84687"/>
                    <a:gd name="connsiteX5" fmla="*/ 26853 w 70751"/>
                    <a:gd name="connsiteY5" fmla="*/ 82773 h 84687"/>
                    <a:gd name="connsiteX6" fmla="*/ 51853 w 70751"/>
                    <a:gd name="connsiteY6" fmla="*/ 70573 h 84687"/>
                    <a:gd name="connsiteX7" fmla="*/ 27092 w 70751"/>
                    <a:gd name="connsiteY7" fmla="*/ 9689 h 84687"/>
                    <a:gd name="connsiteX8" fmla="*/ 1973 w 70751"/>
                    <a:gd name="connsiteY8" fmla="*/ 21590 h 84687"/>
                    <a:gd name="connsiteX9" fmla="*/ 26853 w 70751"/>
                    <a:gd name="connsiteY9" fmla="*/ 82773 h 84687"/>
                    <a:gd name="connsiteX10" fmla="*/ 28827 w 70751"/>
                    <a:gd name="connsiteY10" fmla="*/ 9390 h 84687"/>
                    <a:gd name="connsiteX11" fmla="*/ 52989 w 70751"/>
                    <a:gd name="connsiteY11" fmla="*/ 68838 h 84687"/>
                    <a:gd name="connsiteX12" fmla="*/ 68659 w 70751"/>
                    <a:gd name="connsiteY12" fmla="*/ 62439 h 84687"/>
                    <a:gd name="connsiteX13" fmla="*/ 44018 w 70751"/>
                    <a:gd name="connsiteY13" fmla="*/ 1854 h 84687"/>
                    <a:gd name="connsiteX14" fmla="*/ 35286 w 70751"/>
                    <a:gd name="connsiteY14" fmla="*/ 6639 h 84687"/>
                    <a:gd name="connsiteX15" fmla="*/ 50776 w 70751"/>
                    <a:gd name="connsiteY15" fmla="*/ 44676 h 84687"/>
                    <a:gd name="connsiteX16" fmla="*/ 49819 w 70751"/>
                    <a:gd name="connsiteY16" fmla="*/ 45095 h 84687"/>
                    <a:gd name="connsiteX17" fmla="*/ 34269 w 70751"/>
                    <a:gd name="connsiteY17" fmla="*/ 6878 h 84687"/>
                    <a:gd name="connsiteX18" fmla="*/ 28827 w 70751"/>
                    <a:gd name="connsiteY18" fmla="*/ 9390 h 8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751" h="84687">
                      <a:moveTo>
                        <a:pt x="0" y="20813"/>
                      </a:moveTo>
                      <a:cubicBezTo>
                        <a:pt x="15191" y="13815"/>
                        <a:pt x="30083" y="6938"/>
                        <a:pt x="45154" y="0"/>
                      </a:cubicBezTo>
                      <a:cubicBezTo>
                        <a:pt x="53647" y="20933"/>
                        <a:pt x="62199" y="41925"/>
                        <a:pt x="70752" y="62857"/>
                      </a:cubicBezTo>
                      <a:cubicBezTo>
                        <a:pt x="55800" y="70154"/>
                        <a:pt x="41028" y="77331"/>
                        <a:pt x="25956" y="84687"/>
                      </a:cubicBezTo>
                      <a:cubicBezTo>
                        <a:pt x="17344" y="63575"/>
                        <a:pt x="8612" y="42104"/>
                        <a:pt x="0" y="20813"/>
                      </a:cubicBezTo>
                      <a:close/>
                      <a:moveTo>
                        <a:pt x="26853" y="82773"/>
                      </a:moveTo>
                      <a:cubicBezTo>
                        <a:pt x="35346" y="78587"/>
                        <a:pt x="43480" y="74639"/>
                        <a:pt x="51853" y="70573"/>
                      </a:cubicBezTo>
                      <a:cubicBezTo>
                        <a:pt x="43539" y="50118"/>
                        <a:pt x="35406" y="30143"/>
                        <a:pt x="27092" y="9689"/>
                      </a:cubicBezTo>
                      <a:cubicBezTo>
                        <a:pt x="18540" y="13756"/>
                        <a:pt x="10406" y="17583"/>
                        <a:pt x="1973" y="21590"/>
                      </a:cubicBezTo>
                      <a:cubicBezTo>
                        <a:pt x="10347" y="42164"/>
                        <a:pt x="18420" y="62020"/>
                        <a:pt x="26853" y="82773"/>
                      </a:cubicBezTo>
                      <a:close/>
                      <a:moveTo>
                        <a:pt x="28827" y="9390"/>
                      </a:moveTo>
                      <a:cubicBezTo>
                        <a:pt x="37080" y="29724"/>
                        <a:pt x="45095" y="49341"/>
                        <a:pt x="52989" y="68838"/>
                      </a:cubicBezTo>
                      <a:cubicBezTo>
                        <a:pt x="58312" y="66685"/>
                        <a:pt x="63396" y="64592"/>
                        <a:pt x="68659" y="62439"/>
                      </a:cubicBezTo>
                      <a:cubicBezTo>
                        <a:pt x="60345" y="41925"/>
                        <a:pt x="52271" y="22129"/>
                        <a:pt x="44018" y="1854"/>
                      </a:cubicBezTo>
                      <a:cubicBezTo>
                        <a:pt x="40968" y="3529"/>
                        <a:pt x="38396" y="4964"/>
                        <a:pt x="35286" y="6639"/>
                      </a:cubicBezTo>
                      <a:cubicBezTo>
                        <a:pt x="40549" y="19617"/>
                        <a:pt x="45692" y="32176"/>
                        <a:pt x="50776" y="44676"/>
                      </a:cubicBezTo>
                      <a:cubicBezTo>
                        <a:pt x="50477" y="44796"/>
                        <a:pt x="50118" y="44915"/>
                        <a:pt x="49819" y="45095"/>
                      </a:cubicBezTo>
                      <a:cubicBezTo>
                        <a:pt x="44676" y="32415"/>
                        <a:pt x="39532" y="19736"/>
                        <a:pt x="34269" y="6878"/>
                      </a:cubicBezTo>
                      <a:cubicBezTo>
                        <a:pt x="32356" y="7715"/>
                        <a:pt x="30860" y="8373"/>
                        <a:pt x="28827" y="939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94" name="Vrije vorm: vorm 9393">
                  <a:extLst>
                    <a:ext uri="{FF2B5EF4-FFF2-40B4-BE49-F238E27FC236}">
                      <a16:creationId xmlns:a16="http://schemas.microsoft.com/office/drawing/2014/main" id="{49E5FBCD-8775-4DA5-8A4F-11CC651E435E}"/>
                    </a:ext>
                  </a:extLst>
                </p:cNvPr>
                <p:cNvSpPr/>
                <p:nvPr/>
              </p:nvSpPr>
              <p:spPr>
                <a:xfrm>
                  <a:off x="5215568" y="1711782"/>
                  <a:ext cx="72127" cy="88095"/>
                </a:xfrm>
                <a:custGeom>
                  <a:avLst/>
                  <a:gdLst>
                    <a:gd name="connsiteX0" fmla="*/ 27392 w 72127"/>
                    <a:gd name="connsiteY0" fmla="*/ 86003 h 88095"/>
                    <a:gd name="connsiteX1" fmla="*/ 68419 w 72127"/>
                    <a:gd name="connsiteY1" fmla="*/ 64592 h 88095"/>
                    <a:gd name="connsiteX2" fmla="*/ 68958 w 72127"/>
                    <a:gd name="connsiteY2" fmla="*/ 65608 h 88095"/>
                    <a:gd name="connsiteX3" fmla="*/ 26495 w 72127"/>
                    <a:gd name="connsiteY3" fmla="*/ 88096 h 88095"/>
                    <a:gd name="connsiteX4" fmla="*/ 0 w 72127"/>
                    <a:gd name="connsiteY4" fmla="*/ 22966 h 88095"/>
                    <a:gd name="connsiteX5" fmla="*/ 46291 w 72127"/>
                    <a:gd name="connsiteY5" fmla="*/ 0 h 88095"/>
                    <a:gd name="connsiteX6" fmla="*/ 72128 w 72127"/>
                    <a:gd name="connsiteY6" fmla="*/ 63515 h 88095"/>
                    <a:gd name="connsiteX7" fmla="*/ 71051 w 72127"/>
                    <a:gd name="connsiteY7" fmla="*/ 63934 h 88095"/>
                    <a:gd name="connsiteX8" fmla="*/ 45813 w 72127"/>
                    <a:gd name="connsiteY8" fmla="*/ 1854 h 88095"/>
                    <a:gd name="connsiteX9" fmla="*/ 16028 w 72127"/>
                    <a:gd name="connsiteY9" fmla="*/ 16387 h 88095"/>
                    <a:gd name="connsiteX10" fmla="*/ 5323 w 72127"/>
                    <a:gd name="connsiteY10" fmla="*/ 21770 h 88095"/>
                    <a:gd name="connsiteX11" fmla="*/ 3170 w 72127"/>
                    <a:gd name="connsiteY11" fmla="*/ 25896 h 88095"/>
                    <a:gd name="connsiteX12" fmla="*/ 27392 w 72127"/>
                    <a:gd name="connsiteY12" fmla="*/ 86003 h 8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127" h="88095">
                      <a:moveTo>
                        <a:pt x="27392" y="86003"/>
                      </a:moveTo>
                      <a:cubicBezTo>
                        <a:pt x="41446" y="78646"/>
                        <a:pt x="54963" y="71649"/>
                        <a:pt x="68419" y="64592"/>
                      </a:cubicBezTo>
                      <a:cubicBezTo>
                        <a:pt x="68599" y="64951"/>
                        <a:pt x="68778" y="65309"/>
                        <a:pt x="68958" y="65608"/>
                      </a:cubicBezTo>
                      <a:cubicBezTo>
                        <a:pt x="54903" y="73084"/>
                        <a:pt x="40789" y="80560"/>
                        <a:pt x="26495" y="88096"/>
                      </a:cubicBezTo>
                      <a:cubicBezTo>
                        <a:pt x="17763" y="66565"/>
                        <a:pt x="8911" y="44855"/>
                        <a:pt x="0" y="22966"/>
                      </a:cubicBezTo>
                      <a:cubicBezTo>
                        <a:pt x="15550" y="15251"/>
                        <a:pt x="30980" y="7595"/>
                        <a:pt x="46291" y="0"/>
                      </a:cubicBezTo>
                      <a:cubicBezTo>
                        <a:pt x="54843" y="20992"/>
                        <a:pt x="63515" y="42284"/>
                        <a:pt x="72128" y="63515"/>
                      </a:cubicBezTo>
                      <a:cubicBezTo>
                        <a:pt x="71769" y="63635"/>
                        <a:pt x="71410" y="63814"/>
                        <a:pt x="71051" y="63934"/>
                      </a:cubicBezTo>
                      <a:cubicBezTo>
                        <a:pt x="62738" y="43420"/>
                        <a:pt x="54365" y="22966"/>
                        <a:pt x="45813" y="1854"/>
                      </a:cubicBezTo>
                      <a:cubicBezTo>
                        <a:pt x="35585" y="6878"/>
                        <a:pt x="25777" y="11603"/>
                        <a:pt x="16028" y="16387"/>
                      </a:cubicBezTo>
                      <a:cubicBezTo>
                        <a:pt x="12440" y="18122"/>
                        <a:pt x="8732" y="19736"/>
                        <a:pt x="5323" y="21770"/>
                      </a:cubicBezTo>
                      <a:cubicBezTo>
                        <a:pt x="4187" y="22487"/>
                        <a:pt x="2751" y="24940"/>
                        <a:pt x="3170" y="25896"/>
                      </a:cubicBezTo>
                      <a:cubicBezTo>
                        <a:pt x="10945" y="45812"/>
                        <a:pt x="19019" y="65489"/>
                        <a:pt x="27392" y="8600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95" name="Vrije vorm: vorm 9394">
                  <a:extLst>
                    <a:ext uri="{FF2B5EF4-FFF2-40B4-BE49-F238E27FC236}">
                      <a16:creationId xmlns:a16="http://schemas.microsoft.com/office/drawing/2014/main" id="{69EB7FED-ED06-463C-BF5A-2272C6030F07}"/>
                    </a:ext>
                  </a:extLst>
                </p:cNvPr>
                <p:cNvSpPr/>
                <p:nvPr/>
              </p:nvSpPr>
              <p:spPr>
                <a:xfrm>
                  <a:off x="5349715" y="1562085"/>
                  <a:ext cx="62857" cy="79424"/>
                </a:xfrm>
                <a:custGeom>
                  <a:avLst/>
                  <a:gdLst>
                    <a:gd name="connsiteX0" fmla="*/ 26315 w 62857"/>
                    <a:gd name="connsiteY0" fmla="*/ 77271 h 79424"/>
                    <a:gd name="connsiteX1" fmla="*/ 58193 w 62857"/>
                    <a:gd name="connsiteY1" fmla="*/ 61960 h 79424"/>
                    <a:gd name="connsiteX2" fmla="*/ 57714 w 62857"/>
                    <a:gd name="connsiteY2" fmla="*/ 60585 h 79424"/>
                    <a:gd name="connsiteX3" fmla="*/ 30262 w 62857"/>
                    <a:gd name="connsiteY3" fmla="*/ 68001 h 79424"/>
                    <a:gd name="connsiteX4" fmla="*/ 10407 w 62857"/>
                    <a:gd name="connsiteY4" fmla="*/ 19198 h 79424"/>
                    <a:gd name="connsiteX5" fmla="*/ 11005 w 62857"/>
                    <a:gd name="connsiteY5" fmla="*/ 19019 h 79424"/>
                    <a:gd name="connsiteX6" fmla="*/ 27631 w 62857"/>
                    <a:gd name="connsiteY6" fmla="*/ 60166 h 79424"/>
                    <a:gd name="connsiteX7" fmla="*/ 36243 w 62857"/>
                    <a:gd name="connsiteY7" fmla="*/ 65070 h 79424"/>
                    <a:gd name="connsiteX8" fmla="*/ 56219 w 62857"/>
                    <a:gd name="connsiteY8" fmla="*/ 59508 h 79424"/>
                    <a:gd name="connsiteX9" fmla="*/ 62857 w 62857"/>
                    <a:gd name="connsiteY9" fmla="*/ 60944 h 79424"/>
                    <a:gd name="connsiteX10" fmla="*/ 25299 w 62857"/>
                    <a:gd name="connsiteY10" fmla="*/ 79424 h 79424"/>
                    <a:gd name="connsiteX11" fmla="*/ 0 w 62857"/>
                    <a:gd name="connsiteY11" fmla="*/ 17225 h 79424"/>
                    <a:gd name="connsiteX12" fmla="*/ 42284 w 62857"/>
                    <a:gd name="connsiteY12" fmla="*/ 0 h 79424"/>
                    <a:gd name="connsiteX13" fmla="*/ 30562 w 62857"/>
                    <a:gd name="connsiteY13" fmla="*/ 5682 h 79424"/>
                    <a:gd name="connsiteX14" fmla="*/ 48563 w 62857"/>
                    <a:gd name="connsiteY14" fmla="*/ 49999 h 79424"/>
                    <a:gd name="connsiteX15" fmla="*/ 47368 w 62857"/>
                    <a:gd name="connsiteY15" fmla="*/ 50477 h 79424"/>
                    <a:gd name="connsiteX16" fmla="*/ 29784 w 62857"/>
                    <a:gd name="connsiteY16" fmla="*/ 7237 h 79424"/>
                    <a:gd name="connsiteX17" fmla="*/ 2273 w 62857"/>
                    <a:gd name="connsiteY17" fmla="*/ 18421 h 79424"/>
                    <a:gd name="connsiteX18" fmla="*/ 26315 w 62857"/>
                    <a:gd name="connsiteY18" fmla="*/ 77271 h 79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857" h="79424">
                      <a:moveTo>
                        <a:pt x="26315" y="77271"/>
                      </a:moveTo>
                      <a:cubicBezTo>
                        <a:pt x="37260" y="72008"/>
                        <a:pt x="47726" y="66984"/>
                        <a:pt x="58193" y="61960"/>
                      </a:cubicBezTo>
                      <a:cubicBezTo>
                        <a:pt x="58013" y="61482"/>
                        <a:pt x="57893" y="61003"/>
                        <a:pt x="57714" y="60585"/>
                      </a:cubicBezTo>
                      <a:cubicBezTo>
                        <a:pt x="48504" y="63037"/>
                        <a:pt x="39353" y="65549"/>
                        <a:pt x="30262" y="68001"/>
                      </a:cubicBezTo>
                      <a:cubicBezTo>
                        <a:pt x="23684" y="51853"/>
                        <a:pt x="17045" y="35526"/>
                        <a:pt x="10407" y="19198"/>
                      </a:cubicBezTo>
                      <a:cubicBezTo>
                        <a:pt x="10586" y="19138"/>
                        <a:pt x="10766" y="19079"/>
                        <a:pt x="11005" y="19019"/>
                      </a:cubicBezTo>
                      <a:cubicBezTo>
                        <a:pt x="16567" y="32715"/>
                        <a:pt x="22308" y="46351"/>
                        <a:pt x="27631" y="60166"/>
                      </a:cubicBezTo>
                      <a:cubicBezTo>
                        <a:pt x="29485" y="65011"/>
                        <a:pt x="31279" y="66984"/>
                        <a:pt x="36243" y="65070"/>
                      </a:cubicBezTo>
                      <a:cubicBezTo>
                        <a:pt x="42702" y="62618"/>
                        <a:pt x="49521" y="61123"/>
                        <a:pt x="56219" y="59508"/>
                      </a:cubicBezTo>
                      <a:cubicBezTo>
                        <a:pt x="58193" y="59030"/>
                        <a:pt x="60406" y="59508"/>
                        <a:pt x="62857" y="60944"/>
                      </a:cubicBezTo>
                      <a:cubicBezTo>
                        <a:pt x="50417" y="67044"/>
                        <a:pt x="37918" y="73204"/>
                        <a:pt x="25299" y="79424"/>
                      </a:cubicBezTo>
                      <a:cubicBezTo>
                        <a:pt x="17045" y="59090"/>
                        <a:pt x="8672" y="38576"/>
                        <a:pt x="0" y="17225"/>
                      </a:cubicBezTo>
                      <a:cubicBezTo>
                        <a:pt x="14055" y="11483"/>
                        <a:pt x="27811" y="5921"/>
                        <a:pt x="42284" y="0"/>
                      </a:cubicBezTo>
                      <a:cubicBezTo>
                        <a:pt x="38277" y="1974"/>
                        <a:pt x="34868" y="3588"/>
                        <a:pt x="30562" y="5682"/>
                      </a:cubicBezTo>
                      <a:cubicBezTo>
                        <a:pt x="36662" y="20634"/>
                        <a:pt x="42583" y="35286"/>
                        <a:pt x="48563" y="49999"/>
                      </a:cubicBezTo>
                      <a:cubicBezTo>
                        <a:pt x="48145" y="50178"/>
                        <a:pt x="47786" y="50298"/>
                        <a:pt x="47368" y="50477"/>
                      </a:cubicBezTo>
                      <a:cubicBezTo>
                        <a:pt x="41506" y="36064"/>
                        <a:pt x="35645" y="21590"/>
                        <a:pt x="29784" y="7237"/>
                      </a:cubicBezTo>
                      <a:cubicBezTo>
                        <a:pt x="20574" y="11005"/>
                        <a:pt x="11603" y="14653"/>
                        <a:pt x="2273" y="18421"/>
                      </a:cubicBezTo>
                      <a:cubicBezTo>
                        <a:pt x="10466" y="38336"/>
                        <a:pt x="18241" y="57415"/>
                        <a:pt x="26315" y="7727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96" name="Vrije vorm: vorm 9395">
                  <a:extLst>
                    <a:ext uri="{FF2B5EF4-FFF2-40B4-BE49-F238E27FC236}">
                      <a16:creationId xmlns:a16="http://schemas.microsoft.com/office/drawing/2014/main" id="{5ED2E869-D138-4715-93F0-4D60BF025DC8}"/>
                    </a:ext>
                  </a:extLst>
                </p:cNvPr>
                <p:cNvSpPr/>
                <p:nvPr/>
              </p:nvSpPr>
              <p:spPr>
                <a:xfrm>
                  <a:off x="5385121" y="1324471"/>
                  <a:ext cx="54364" cy="65189"/>
                </a:xfrm>
                <a:custGeom>
                  <a:avLst/>
                  <a:gdLst>
                    <a:gd name="connsiteX0" fmla="*/ 20933 w 54364"/>
                    <a:gd name="connsiteY0" fmla="*/ 65190 h 65189"/>
                    <a:gd name="connsiteX1" fmla="*/ 0 w 54364"/>
                    <a:gd name="connsiteY1" fmla="*/ 13756 h 65189"/>
                    <a:gd name="connsiteX2" fmla="*/ 33851 w 54364"/>
                    <a:gd name="connsiteY2" fmla="*/ 0 h 65189"/>
                    <a:gd name="connsiteX3" fmla="*/ 54365 w 54364"/>
                    <a:gd name="connsiteY3" fmla="*/ 50477 h 65189"/>
                    <a:gd name="connsiteX4" fmla="*/ 28827 w 54364"/>
                    <a:gd name="connsiteY4" fmla="*/ 60944 h 65189"/>
                    <a:gd name="connsiteX5" fmla="*/ 20933 w 54364"/>
                    <a:gd name="connsiteY5" fmla="*/ 65190 h 65189"/>
                    <a:gd name="connsiteX6" fmla="*/ 32774 w 54364"/>
                    <a:gd name="connsiteY6" fmla="*/ 1675 h 65189"/>
                    <a:gd name="connsiteX7" fmla="*/ 5024 w 54364"/>
                    <a:gd name="connsiteY7" fmla="*/ 13158 h 65189"/>
                    <a:gd name="connsiteX8" fmla="*/ 3648 w 54364"/>
                    <a:gd name="connsiteY8" fmla="*/ 18122 h 65189"/>
                    <a:gd name="connsiteX9" fmla="*/ 11184 w 54364"/>
                    <a:gd name="connsiteY9" fmla="*/ 37439 h 65189"/>
                    <a:gd name="connsiteX10" fmla="*/ 20933 w 54364"/>
                    <a:gd name="connsiteY10" fmla="*/ 61422 h 65189"/>
                    <a:gd name="connsiteX11" fmla="*/ 22428 w 54364"/>
                    <a:gd name="connsiteY11" fmla="*/ 60824 h 65189"/>
                    <a:gd name="connsiteX12" fmla="*/ 4665 w 54364"/>
                    <a:gd name="connsiteY12" fmla="*/ 17105 h 65189"/>
                    <a:gd name="connsiteX13" fmla="*/ 6040 w 54364"/>
                    <a:gd name="connsiteY13" fmla="*/ 16507 h 65189"/>
                    <a:gd name="connsiteX14" fmla="*/ 8194 w 54364"/>
                    <a:gd name="connsiteY14" fmla="*/ 21830 h 65189"/>
                    <a:gd name="connsiteX15" fmla="*/ 21829 w 54364"/>
                    <a:gd name="connsiteY15" fmla="*/ 57056 h 65189"/>
                    <a:gd name="connsiteX16" fmla="*/ 28169 w 54364"/>
                    <a:gd name="connsiteY16" fmla="*/ 58611 h 65189"/>
                    <a:gd name="connsiteX17" fmla="*/ 10227 w 54364"/>
                    <a:gd name="connsiteY17" fmla="*/ 14473 h 65189"/>
                    <a:gd name="connsiteX18" fmla="*/ 32116 w 54364"/>
                    <a:gd name="connsiteY18" fmla="*/ 5562 h 65189"/>
                    <a:gd name="connsiteX19" fmla="*/ 32296 w 54364"/>
                    <a:gd name="connsiteY19" fmla="*/ 5981 h 65189"/>
                    <a:gd name="connsiteX20" fmla="*/ 12440 w 54364"/>
                    <a:gd name="connsiteY20" fmla="*/ 15729 h 65189"/>
                    <a:gd name="connsiteX21" fmla="*/ 30023 w 54364"/>
                    <a:gd name="connsiteY21" fmla="*/ 58970 h 65189"/>
                    <a:gd name="connsiteX22" fmla="*/ 52391 w 54364"/>
                    <a:gd name="connsiteY22" fmla="*/ 49879 h 65189"/>
                    <a:gd name="connsiteX23" fmla="*/ 32774 w 54364"/>
                    <a:gd name="connsiteY23" fmla="*/ 1675 h 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364" h="65189">
                      <a:moveTo>
                        <a:pt x="20933" y="65190"/>
                      </a:moveTo>
                      <a:cubicBezTo>
                        <a:pt x="13636" y="47248"/>
                        <a:pt x="6818" y="30442"/>
                        <a:pt x="0" y="13756"/>
                      </a:cubicBezTo>
                      <a:cubicBezTo>
                        <a:pt x="11483" y="9091"/>
                        <a:pt x="22667" y="4545"/>
                        <a:pt x="33851" y="0"/>
                      </a:cubicBezTo>
                      <a:cubicBezTo>
                        <a:pt x="40968" y="17464"/>
                        <a:pt x="47726" y="34210"/>
                        <a:pt x="54365" y="50477"/>
                      </a:cubicBezTo>
                      <a:cubicBezTo>
                        <a:pt x="45513" y="54066"/>
                        <a:pt x="37140" y="57415"/>
                        <a:pt x="28827" y="60944"/>
                      </a:cubicBezTo>
                      <a:cubicBezTo>
                        <a:pt x="26136" y="62080"/>
                        <a:pt x="23504" y="63814"/>
                        <a:pt x="20933" y="65190"/>
                      </a:cubicBezTo>
                      <a:close/>
                      <a:moveTo>
                        <a:pt x="32774" y="1675"/>
                      </a:moveTo>
                      <a:cubicBezTo>
                        <a:pt x="23145" y="5622"/>
                        <a:pt x="13995" y="9150"/>
                        <a:pt x="5024" y="13158"/>
                      </a:cubicBezTo>
                      <a:cubicBezTo>
                        <a:pt x="4007" y="13636"/>
                        <a:pt x="3170" y="16746"/>
                        <a:pt x="3648" y="18122"/>
                      </a:cubicBezTo>
                      <a:cubicBezTo>
                        <a:pt x="5921" y="24641"/>
                        <a:pt x="8612" y="30980"/>
                        <a:pt x="11184" y="37439"/>
                      </a:cubicBezTo>
                      <a:cubicBezTo>
                        <a:pt x="14413" y="45454"/>
                        <a:pt x="17703" y="53468"/>
                        <a:pt x="20933" y="61422"/>
                      </a:cubicBezTo>
                      <a:cubicBezTo>
                        <a:pt x="21411" y="61243"/>
                        <a:pt x="21889" y="61003"/>
                        <a:pt x="22428" y="60824"/>
                      </a:cubicBezTo>
                      <a:cubicBezTo>
                        <a:pt x="16506" y="46231"/>
                        <a:pt x="10586" y="31638"/>
                        <a:pt x="4665" y="17105"/>
                      </a:cubicBezTo>
                      <a:cubicBezTo>
                        <a:pt x="5143" y="16925"/>
                        <a:pt x="5562" y="16746"/>
                        <a:pt x="6040" y="16507"/>
                      </a:cubicBezTo>
                      <a:cubicBezTo>
                        <a:pt x="6758" y="18301"/>
                        <a:pt x="7476" y="20035"/>
                        <a:pt x="8194" y="21830"/>
                      </a:cubicBezTo>
                      <a:cubicBezTo>
                        <a:pt x="12739" y="33552"/>
                        <a:pt x="17344" y="45274"/>
                        <a:pt x="21829" y="57056"/>
                      </a:cubicBezTo>
                      <a:cubicBezTo>
                        <a:pt x="23384" y="61123"/>
                        <a:pt x="25119" y="62259"/>
                        <a:pt x="28169" y="58611"/>
                      </a:cubicBezTo>
                      <a:cubicBezTo>
                        <a:pt x="22188" y="43958"/>
                        <a:pt x="16267" y="29365"/>
                        <a:pt x="10227" y="14473"/>
                      </a:cubicBezTo>
                      <a:cubicBezTo>
                        <a:pt x="17763" y="11423"/>
                        <a:pt x="24940" y="8493"/>
                        <a:pt x="32116" y="5562"/>
                      </a:cubicBezTo>
                      <a:cubicBezTo>
                        <a:pt x="32176" y="5682"/>
                        <a:pt x="32236" y="5801"/>
                        <a:pt x="32296" y="5981"/>
                      </a:cubicBezTo>
                      <a:cubicBezTo>
                        <a:pt x="25837" y="9150"/>
                        <a:pt x="19377" y="12320"/>
                        <a:pt x="12440" y="15729"/>
                      </a:cubicBezTo>
                      <a:cubicBezTo>
                        <a:pt x="18361" y="30322"/>
                        <a:pt x="24162" y="44497"/>
                        <a:pt x="30023" y="58970"/>
                      </a:cubicBezTo>
                      <a:cubicBezTo>
                        <a:pt x="37499" y="55920"/>
                        <a:pt x="44736" y="52989"/>
                        <a:pt x="52391" y="49879"/>
                      </a:cubicBezTo>
                      <a:cubicBezTo>
                        <a:pt x="45992" y="34150"/>
                        <a:pt x="39652" y="18660"/>
                        <a:pt x="32774" y="167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97" name="Vrije vorm: vorm 9396">
                  <a:extLst>
                    <a:ext uri="{FF2B5EF4-FFF2-40B4-BE49-F238E27FC236}">
                      <a16:creationId xmlns:a16="http://schemas.microsoft.com/office/drawing/2014/main" id="{6E875866-69D7-4C1B-8FDA-DD4B576EC7B9}"/>
                    </a:ext>
                  </a:extLst>
                </p:cNvPr>
                <p:cNvSpPr/>
                <p:nvPr/>
              </p:nvSpPr>
              <p:spPr>
                <a:xfrm>
                  <a:off x="5053012" y="2078879"/>
                  <a:ext cx="74579" cy="93538"/>
                </a:xfrm>
                <a:custGeom>
                  <a:avLst/>
                  <a:gdLst>
                    <a:gd name="connsiteX0" fmla="*/ 26076 w 74579"/>
                    <a:gd name="connsiteY0" fmla="*/ 93538 h 93538"/>
                    <a:gd name="connsiteX1" fmla="*/ 0 w 74579"/>
                    <a:gd name="connsiteY1" fmla="*/ 29365 h 93538"/>
                    <a:gd name="connsiteX2" fmla="*/ 48982 w 74579"/>
                    <a:gd name="connsiteY2" fmla="*/ 0 h 93538"/>
                    <a:gd name="connsiteX3" fmla="*/ 74580 w 74579"/>
                    <a:gd name="connsiteY3" fmla="*/ 62977 h 93538"/>
                    <a:gd name="connsiteX4" fmla="*/ 26076 w 74579"/>
                    <a:gd name="connsiteY4" fmla="*/ 93538 h 93538"/>
                    <a:gd name="connsiteX5" fmla="*/ 17404 w 74579"/>
                    <a:gd name="connsiteY5" fmla="*/ 68061 h 93538"/>
                    <a:gd name="connsiteX6" fmla="*/ 61003 w 74579"/>
                    <a:gd name="connsiteY6" fmla="*/ 41327 h 93538"/>
                    <a:gd name="connsiteX7" fmla="*/ 61542 w 74579"/>
                    <a:gd name="connsiteY7" fmla="*/ 42344 h 93538"/>
                    <a:gd name="connsiteX8" fmla="*/ 18122 w 74579"/>
                    <a:gd name="connsiteY8" fmla="*/ 69376 h 93538"/>
                    <a:gd name="connsiteX9" fmla="*/ 26794 w 74579"/>
                    <a:gd name="connsiteY9" fmla="*/ 90728 h 93538"/>
                    <a:gd name="connsiteX10" fmla="*/ 28588 w 74579"/>
                    <a:gd name="connsiteY10" fmla="*/ 90309 h 93538"/>
                    <a:gd name="connsiteX11" fmla="*/ 70154 w 74579"/>
                    <a:gd name="connsiteY11" fmla="*/ 63994 h 93538"/>
                    <a:gd name="connsiteX12" fmla="*/ 71051 w 74579"/>
                    <a:gd name="connsiteY12" fmla="*/ 58252 h 93538"/>
                    <a:gd name="connsiteX13" fmla="*/ 55740 w 74579"/>
                    <a:gd name="connsiteY13" fmla="*/ 20394 h 93538"/>
                    <a:gd name="connsiteX14" fmla="*/ 48264 w 74579"/>
                    <a:gd name="connsiteY14" fmla="*/ 1974 h 93538"/>
                    <a:gd name="connsiteX15" fmla="*/ 1854 w 74579"/>
                    <a:gd name="connsiteY15" fmla="*/ 29904 h 93538"/>
                    <a:gd name="connsiteX16" fmla="*/ 17404 w 74579"/>
                    <a:gd name="connsiteY16" fmla="*/ 68061 h 9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579" h="93538">
                      <a:moveTo>
                        <a:pt x="26076" y="93538"/>
                      </a:moveTo>
                      <a:cubicBezTo>
                        <a:pt x="17284" y="72008"/>
                        <a:pt x="8612" y="50657"/>
                        <a:pt x="0" y="29365"/>
                      </a:cubicBezTo>
                      <a:cubicBezTo>
                        <a:pt x="16208" y="19677"/>
                        <a:pt x="32535" y="9868"/>
                        <a:pt x="48982" y="0"/>
                      </a:cubicBezTo>
                      <a:cubicBezTo>
                        <a:pt x="57475" y="20933"/>
                        <a:pt x="66027" y="41865"/>
                        <a:pt x="74580" y="62977"/>
                      </a:cubicBezTo>
                      <a:cubicBezTo>
                        <a:pt x="58611" y="73025"/>
                        <a:pt x="42523" y="83192"/>
                        <a:pt x="26076" y="93538"/>
                      </a:cubicBezTo>
                      <a:close/>
                      <a:moveTo>
                        <a:pt x="17404" y="68061"/>
                      </a:moveTo>
                      <a:cubicBezTo>
                        <a:pt x="32296" y="58970"/>
                        <a:pt x="46650" y="50118"/>
                        <a:pt x="61003" y="41327"/>
                      </a:cubicBezTo>
                      <a:cubicBezTo>
                        <a:pt x="61183" y="41686"/>
                        <a:pt x="61362" y="41985"/>
                        <a:pt x="61542" y="42344"/>
                      </a:cubicBezTo>
                      <a:cubicBezTo>
                        <a:pt x="47068" y="51374"/>
                        <a:pt x="32595" y="60345"/>
                        <a:pt x="18122" y="69376"/>
                      </a:cubicBezTo>
                      <a:cubicBezTo>
                        <a:pt x="21172" y="76912"/>
                        <a:pt x="23983" y="83850"/>
                        <a:pt x="26794" y="90728"/>
                      </a:cubicBezTo>
                      <a:cubicBezTo>
                        <a:pt x="27571" y="90548"/>
                        <a:pt x="28169" y="90548"/>
                        <a:pt x="28588" y="90309"/>
                      </a:cubicBezTo>
                      <a:cubicBezTo>
                        <a:pt x="42523" y="81637"/>
                        <a:pt x="56458" y="72965"/>
                        <a:pt x="70154" y="63994"/>
                      </a:cubicBezTo>
                      <a:cubicBezTo>
                        <a:pt x="71231" y="63276"/>
                        <a:pt x="71649" y="59927"/>
                        <a:pt x="71051" y="58252"/>
                      </a:cubicBezTo>
                      <a:cubicBezTo>
                        <a:pt x="66147" y="45573"/>
                        <a:pt x="60884" y="33014"/>
                        <a:pt x="55740" y="20394"/>
                      </a:cubicBezTo>
                      <a:cubicBezTo>
                        <a:pt x="53288" y="14414"/>
                        <a:pt x="50896" y="8433"/>
                        <a:pt x="48264" y="1974"/>
                      </a:cubicBezTo>
                      <a:cubicBezTo>
                        <a:pt x="32415" y="11543"/>
                        <a:pt x="17165" y="20693"/>
                        <a:pt x="1854" y="29904"/>
                      </a:cubicBezTo>
                      <a:cubicBezTo>
                        <a:pt x="7057" y="42762"/>
                        <a:pt x="12021" y="54903"/>
                        <a:pt x="17404" y="6806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98" name="Vrije vorm: vorm 9397">
                  <a:extLst>
                    <a:ext uri="{FF2B5EF4-FFF2-40B4-BE49-F238E27FC236}">
                      <a16:creationId xmlns:a16="http://schemas.microsoft.com/office/drawing/2014/main" id="{2C66FFC9-7B1B-46EE-93A0-2BA32F34EB6F}"/>
                    </a:ext>
                  </a:extLst>
                </p:cNvPr>
                <p:cNvSpPr/>
                <p:nvPr/>
              </p:nvSpPr>
              <p:spPr>
                <a:xfrm>
                  <a:off x="4921855" y="1973200"/>
                  <a:ext cx="78945" cy="94315"/>
                </a:xfrm>
                <a:custGeom>
                  <a:avLst/>
                  <a:gdLst>
                    <a:gd name="connsiteX0" fmla="*/ 0 w 78945"/>
                    <a:gd name="connsiteY0" fmla="*/ 28169 h 94315"/>
                    <a:gd name="connsiteX1" fmla="*/ 52511 w 78945"/>
                    <a:gd name="connsiteY1" fmla="*/ 0 h 94315"/>
                    <a:gd name="connsiteX2" fmla="*/ 78946 w 78945"/>
                    <a:gd name="connsiteY2" fmla="*/ 65010 h 94315"/>
                    <a:gd name="connsiteX3" fmla="*/ 26913 w 78945"/>
                    <a:gd name="connsiteY3" fmla="*/ 94316 h 94315"/>
                    <a:gd name="connsiteX4" fmla="*/ 0 w 78945"/>
                    <a:gd name="connsiteY4" fmla="*/ 28169 h 94315"/>
                    <a:gd name="connsiteX5" fmla="*/ 1974 w 78945"/>
                    <a:gd name="connsiteY5" fmla="*/ 28648 h 94315"/>
                    <a:gd name="connsiteX6" fmla="*/ 27571 w 78945"/>
                    <a:gd name="connsiteY6" fmla="*/ 91625 h 94315"/>
                    <a:gd name="connsiteX7" fmla="*/ 29784 w 78945"/>
                    <a:gd name="connsiteY7" fmla="*/ 91086 h 94315"/>
                    <a:gd name="connsiteX8" fmla="*/ 74520 w 78945"/>
                    <a:gd name="connsiteY8" fmla="*/ 66087 h 94315"/>
                    <a:gd name="connsiteX9" fmla="*/ 75357 w 78945"/>
                    <a:gd name="connsiteY9" fmla="*/ 59568 h 94315"/>
                    <a:gd name="connsiteX10" fmla="*/ 56338 w 78945"/>
                    <a:gd name="connsiteY10" fmla="*/ 13457 h 94315"/>
                    <a:gd name="connsiteX11" fmla="*/ 51674 w 78945"/>
                    <a:gd name="connsiteY11" fmla="*/ 1974 h 94315"/>
                    <a:gd name="connsiteX12" fmla="*/ 1974 w 78945"/>
                    <a:gd name="connsiteY12" fmla="*/ 28648 h 9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945" h="94315">
                      <a:moveTo>
                        <a:pt x="0" y="28169"/>
                      </a:moveTo>
                      <a:cubicBezTo>
                        <a:pt x="17344" y="18839"/>
                        <a:pt x="34868" y="9450"/>
                        <a:pt x="52511" y="0"/>
                      </a:cubicBezTo>
                      <a:cubicBezTo>
                        <a:pt x="61302" y="21650"/>
                        <a:pt x="70154" y="43360"/>
                        <a:pt x="78946" y="65010"/>
                      </a:cubicBezTo>
                      <a:cubicBezTo>
                        <a:pt x="61781" y="74699"/>
                        <a:pt x="44556" y="84388"/>
                        <a:pt x="26913" y="94316"/>
                      </a:cubicBezTo>
                      <a:cubicBezTo>
                        <a:pt x="18002" y="72367"/>
                        <a:pt x="8971" y="50178"/>
                        <a:pt x="0" y="28169"/>
                      </a:cubicBezTo>
                      <a:close/>
                      <a:moveTo>
                        <a:pt x="1974" y="28648"/>
                      </a:moveTo>
                      <a:cubicBezTo>
                        <a:pt x="10705" y="50118"/>
                        <a:pt x="19138" y="70872"/>
                        <a:pt x="27571" y="91625"/>
                      </a:cubicBezTo>
                      <a:cubicBezTo>
                        <a:pt x="28767" y="91326"/>
                        <a:pt x="29306" y="91326"/>
                        <a:pt x="29784" y="91086"/>
                      </a:cubicBezTo>
                      <a:cubicBezTo>
                        <a:pt x="44676" y="82773"/>
                        <a:pt x="59568" y="74400"/>
                        <a:pt x="74520" y="66087"/>
                      </a:cubicBezTo>
                      <a:cubicBezTo>
                        <a:pt x="77570" y="64412"/>
                        <a:pt x="76374" y="62080"/>
                        <a:pt x="75357" y="59568"/>
                      </a:cubicBezTo>
                      <a:cubicBezTo>
                        <a:pt x="69017" y="44198"/>
                        <a:pt x="62678" y="28827"/>
                        <a:pt x="56338" y="13457"/>
                      </a:cubicBezTo>
                      <a:cubicBezTo>
                        <a:pt x="54843" y="9749"/>
                        <a:pt x="53348" y="6040"/>
                        <a:pt x="51674" y="1974"/>
                      </a:cubicBezTo>
                      <a:cubicBezTo>
                        <a:pt x="34688" y="11064"/>
                        <a:pt x="18421" y="19796"/>
                        <a:pt x="1974" y="2864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99" name="Vrije vorm: vorm 9398">
                  <a:extLst>
                    <a:ext uri="{FF2B5EF4-FFF2-40B4-BE49-F238E27FC236}">
                      <a16:creationId xmlns:a16="http://schemas.microsoft.com/office/drawing/2014/main" id="{F5C87E24-FFF7-4038-ADAE-E4E3584978AB}"/>
                    </a:ext>
                  </a:extLst>
                </p:cNvPr>
                <p:cNvSpPr/>
                <p:nvPr/>
              </p:nvSpPr>
              <p:spPr>
                <a:xfrm>
                  <a:off x="5328424" y="1656281"/>
                  <a:ext cx="67821" cy="83431"/>
                </a:xfrm>
                <a:custGeom>
                  <a:avLst/>
                  <a:gdLst>
                    <a:gd name="connsiteX0" fmla="*/ 0 w 67821"/>
                    <a:gd name="connsiteY0" fmla="*/ 21052 h 83431"/>
                    <a:gd name="connsiteX1" fmla="*/ 42882 w 67821"/>
                    <a:gd name="connsiteY1" fmla="*/ 0 h 83431"/>
                    <a:gd name="connsiteX2" fmla="*/ 67822 w 67821"/>
                    <a:gd name="connsiteY2" fmla="*/ 61243 h 83431"/>
                    <a:gd name="connsiteX3" fmla="*/ 25418 w 67821"/>
                    <a:gd name="connsiteY3" fmla="*/ 83431 h 83431"/>
                    <a:gd name="connsiteX4" fmla="*/ 0 w 67821"/>
                    <a:gd name="connsiteY4" fmla="*/ 21052 h 83431"/>
                    <a:gd name="connsiteX5" fmla="*/ 26255 w 67821"/>
                    <a:gd name="connsiteY5" fmla="*/ 81457 h 83431"/>
                    <a:gd name="connsiteX6" fmla="*/ 56817 w 67821"/>
                    <a:gd name="connsiteY6" fmla="*/ 65489 h 83431"/>
                    <a:gd name="connsiteX7" fmla="*/ 56458 w 67821"/>
                    <a:gd name="connsiteY7" fmla="*/ 64592 h 83431"/>
                    <a:gd name="connsiteX8" fmla="*/ 40071 w 67821"/>
                    <a:gd name="connsiteY8" fmla="*/ 67463 h 83431"/>
                    <a:gd name="connsiteX9" fmla="*/ 39892 w 67821"/>
                    <a:gd name="connsiteY9" fmla="*/ 66446 h 83431"/>
                    <a:gd name="connsiteX10" fmla="*/ 65908 w 67821"/>
                    <a:gd name="connsiteY10" fmla="*/ 61123 h 83431"/>
                    <a:gd name="connsiteX11" fmla="*/ 41746 w 67821"/>
                    <a:gd name="connsiteY11" fmla="*/ 1794 h 83431"/>
                    <a:gd name="connsiteX12" fmla="*/ 34210 w 67821"/>
                    <a:gd name="connsiteY12" fmla="*/ 6340 h 83431"/>
                    <a:gd name="connsiteX13" fmla="*/ 45992 w 67821"/>
                    <a:gd name="connsiteY13" fmla="*/ 35346 h 83431"/>
                    <a:gd name="connsiteX14" fmla="*/ 44975 w 67821"/>
                    <a:gd name="connsiteY14" fmla="*/ 35765 h 83431"/>
                    <a:gd name="connsiteX15" fmla="*/ 33133 w 67821"/>
                    <a:gd name="connsiteY15" fmla="*/ 6698 h 83431"/>
                    <a:gd name="connsiteX16" fmla="*/ 29605 w 67821"/>
                    <a:gd name="connsiteY16" fmla="*/ 8134 h 83431"/>
                    <a:gd name="connsiteX17" fmla="*/ 25717 w 67821"/>
                    <a:gd name="connsiteY17" fmla="*/ 19497 h 83431"/>
                    <a:gd name="connsiteX18" fmla="*/ 34987 w 67821"/>
                    <a:gd name="connsiteY18" fmla="*/ 42284 h 83431"/>
                    <a:gd name="connsiteX19" fmla="*/ 33731 w 67821"/>
                    <a:gd name="connsiteY19" fmla="*/ 42762 h 83431"/>
                    <a:gd name="connsiteX20" fmla="*/ 21291 w 67821"/>
                    <a:gd name="connsiteY20" fmla="*/ 12201 h 83431"/>
                    <a:gd name="connsiteX21" fmla="*/ 1974 w 67821"/>
                    <a:gd name="connsiteY21" fmla="*/ 21830 h 83431"/>
                    <a:gd name="connsiteX22" fmla="*/ 26255 w 67821"/>
                    <a:gd name="connsiteY22" fmla="*/ 81457 h 8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821" h="83431">
                      <a:moveTo>
                        <a:pt x="0" y="21052"/>
                      </a:moveTo>
                      <a:cubicBezTo>
                        <a:pt x="14653" y="13816"/>
                        <a:pt x="28767" y="6878"/>
                        <a:pt x="42882" y="0"/>
                      </a:cubicBezTo>
                      <a:cubicBezTo>
                        <a:pt x="51195" y="20394"/>
                        <a:pt x="59448" y="40729"/>
                        <a:pt x="67822" y="61243"/>
                      </a:cubicBezTo>
                      <a:cubicBezTo>
                        <a:pt x="53587" y="68659"/>
                        <a:pt x="39413" y="76075"/>
                        <a:pt x="25418" y="83431"/>
                      </a:cubicBezTo>
                      <a:cubicBezTo>
                        <a:pt x="16926" y="62678"/>
                        <a:pt x="8493" y="41925"/>
                        <a:pt x="0" y="21052"/>
                      </a:cubicBezTo>
                      <a:close/>
                      <a:moveTo>
                        <a:pt x="26255" y="81457"/>
                      </a:moveTo>
                      <a:cubicBezTo>
                        <a:pt x="36841" y="75955"/>
                        <a:pt x="46829" y="70692"/>
                        <a:pt x="56817" y="65489"/>
                      </a:cubicBezTo>
                      <a:cubicBezTo>
                        <a:pt x="56697" y="65190"/>
                        <a:pt x="56578" y="64891"/>
                        <a:pt x="56458" y="64592"/>
                      </a:cubicBezTo>
                      <a:cubicBezTo>
                        <a:pt x="51016" y="65549"/>
                        <a:pt x="45514" y="66506"/>
                        <a:pt x="40071" y="67463"/>
                      </a:cubicBezTo>
                      <a:cubicBezTo>
                        <a:pt x="40011" y="67104"/>
                        <a:pt x="39951" y="66805"/>
                        <a:pt x="39892" y="66446"/>
                      </a:cubicBezTo>
                      <a:cubicBezTo>
                        <a:pt x="48384" y="64711"/>
                        <a:pt x="56877" y="62977"/>
                        <a:pt x="65908" y="61123"/>
                      </a:cubicBezTo>
                      <a:cubicBezTo>
                        <a:pt x="57714" y="41028"/>
                        <a:pt x="49820" y="21650"/>
                        <a:pt x="41746" y="1794"/>
                      </a:cubicBezTo>
                      <a:cubicBezTo>
                        <a:pt x="39114" y="3409"/>
                        <a:pt x="36841" y="4725"/>
                        <a:pt x="34210" y="6340"/>
                      </a:cubicBezTo>
                      <a:cubicBezTo>
                        <a:pt x="38277" y="16387"/>
                        <a:pt x="42164" y="25897"/>
                        <a:pt x="45992" y="35346"/>
                      </a:cubicBezTo>
                      <a:cubicBezTo>
                        <a:pt x="45633" y="35466"/>
                        <a:pt x="45274" y="35645"/>
                        <a:pt x="44975" y="35765"/>
                      </a:cubicBezTo>
                      <a:cubicBezTo>
                        <a:pt x="41028" y="26136"/>
                        <a:pt x="37140" y="16447"/>
                        <a:pt x="33133" y="6698"/>
                      </a:cubicBezTo>
                      <a:cubicBezTo>
                        <a:pt x="31578" y="7296"/>
                        <a:pt x="30562" y="7715"/>
                        <a:pt x="29605" y="8134"/>
                      </a:cubicBezTo>
                      <a:cubicBezTo>
                        <a:pt x="22368" y="11244"/>
                        <a:pt x="22368" y="11244"/>
                        <a:pt x="25717" y="19497"/>
                      </a:cubicBezTo>
                      <a:cubicBezTo>
                        <a:pt x="28767" y="27093"/>
                        <a:pt x="31877" y="34688"/>
                        <a:pt x="34987" y="42284"/>
                      </a:cubicBezTo>
                      <a:cubicBezTo>
                        <a:pt x="34569" y="42463"/>
                        <a:pt x="34150" y="42583"/>
                        <a:pt x="33731" y="42762"/>
                      </a:cubicBezTo>
                      <a:cubicBezTo>
                        <a:pt x="29665" y="32715"/>
                        <a:pt x="25538" y="22667"/>
                        <a:pt x="21291" y="12201"/>
                      </a:cubicBezTo>
                      <a:cubicBezTo>
                        <a:pt x="14593" y="15550"/>
                        <a:pt x="8373" y="18660"/>
                        <a:pt x="1974" y="21830"/>
                      </a:cubicBezTo>
                      <a:cubicBezTo>
                        <a:pt x="10227" y="42045"/>
                        <a:pt x="18062" y="61362"/>
                        <a:pt x="26255" y="8145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00" name="Vrije vorm: vorm 9399">
                  <a:extLst>
                    <a:ext uri="{FF2B5EF4-FFF2-40B4-BE49-F238E27FC236}">
                      <a16:creationId xmlns:a16="http://schemas.microsoft.com/office/drawing/2014/main" id="{E5F3A636-302E-47CB-A1AB-C0133C1EB569}"/>
                    </a:ext>
                  </a:extLst>
                </p:cNvPr>
                <p:cNvSpPr/>
                <p:nvPr/>
              </p:nvSpPr>
              <p:spPr>
                <a:xfrm>
                  <a:off x="5316582" y="2050889"/>
                  <a:ext cx="50716" cy="86182"/>
                </a:xfrm>
                <a:custGeom>
                  <a:avLst/>
                  <a:gdLst>
                    <a:gd name="connsiteX0" fmla="*/ 34808 w 50716"/>
                    <a:gd name="connsiteY0" fmla="*/ 86182 h 86182"/>
                    <a:gd name="connsiteX1" fmla="*/ 0 w 50716"/>
                    <a:gd name="connsiteY1" fmla="*/ 598 h 86182"/>
                    <a:gd name="connsiteX2" fmla="*/ 1435 w 50716"/>
                    <a:gd name="connsiteY2" fmla="*/ 0 h 86182"/>
                    <a:gd name="connsiteX3" fmla="*/ 16567 w 50716"/>
                    <a:gd name="connsiteY3" fmla="*/ 37260 h 86182"/>
                    <a:gd name="connsiteX4" fmla="*/ 22129 w 50716"/>
                    <a:gd name="connsiteY4" fmla="*/ 33911 h 86182"/>
                    <a:gd name="connsiteX5" fmla="*/ 9988 w 50716"/>
                    <a:gd name="connsiteY5" fmla="*/ 4007 h 86182"/>
                    <a:gd name="connsiteX6" fmla="*/ 11124 w 50716"/>
                    <a:gd name="connsiteY6" fmla="*/ 3529 h 86182"/>
                    <a:gd name="connsiteX7" fmla="*/ 22906 w 50716"/>
                    <a:gd name="connsiteY7" fmla="*/ 32535 h 86182"/>
                    <a:gd name="connsiteX8" fmla="*/ 24999 w 50716"/>
                    <a:gd name="connsiteY8" fmla="*/ 31937 h 86182"/>
                    <a:gd name="connsiteX9" fmla="*/ 22428 w 50716"/>
                    <a:gd name="connsiteY9" fmla="*/ 23923 h 86182"/>
                    <a:gd name="connsiteX10" fmla="*/ 18600 w 50716"/>
                    <a:gd name="connsiteY10" fmla="*/ 14294 h 86182"/>
                    <a:gd name="connsiteX11" fmla="*/ 16148 w 50716"/>
                    <a:gd name="connsiteY11" fmla="*/ 4904 h 86182"/>
                    <a:gd name="connsiteX12" fmla="*/ 26435 w 50716"/>
                    <a:gd name="connsiteY12" fmla="*/ 30143 h 86182"/>
                    <a:gd name="connsiteX13" fmla="*/ 28169 w 50716"/>
                    <a:gd name="connsiteY13" fmla="*/ 29545 h 86182"/>
                    <a:gd name="connsiteX14" fmla="*/ 17523 w 50716"/>
                    <a:gd name="connsiteY14" fmla="*/ 3469 h 86182"/>
                    <a:gd name="connsiteX15" fmla="*/ 18839 w 50716"/>
                    <a:gd name="connsiteY15" fmla="*/ 2930 h 86182"/>
                    <a:gd name="connsiteX16" fmla="*/ 31279 w 50716"/>
                    <a:gd name="connsiteY16" fmla="*/ 29305 h 86182"/>
                    <a:gd name="connsiteX17" fmla="*/ 17703 w 50716"/>
                    <a:gd name="connsiteY17" fmla="*/ 38755 h 86182"/>
                    <a:gd name="connsiteX18" fmla="*/ 18720 w 50716"/>
                    <a:gd name="connsiteY18" fmla="*/ 40370 h 86182"/>
                    <a:gd name="connsiteX19" fmla="*/ 32655 w 50716"/>
                    <a:gd name="connsiteY19" fmla="*/ 31758 h 86182"/>
                    <a:gd name="connsiteX20" fmla="*/ 33432 w 50716"/>
                    <a:gd name="connsiteY20" fmla="*/ 33073 h 86182"/>
                    <a:gd name="connsiteX21" fmla="*/ 21949 w 50716"/>
                    <a:gd name="connsiteY21" fmla="*/ 40609 h 86182"/>
                    <a:gd name="connsiteX22" fmla="*/ 20095 w 50716"/>
                    <a:gd name="connsiteY22" fmla="*/ 44975 h 86182"/>
                    <a:gd name="connsiteX23" fmla="*/ 35585 w 50716"/>
                    <a:gd name="connsiteY23" fmla="*/ 83371 h 86182"/>
                    <a:gd name="connsiteX24" fmla="*/ 50238 w 50716"/>
                    <a:gd name="connsiteY24" fmla="*/ 73742 h 86182"/>
                    <a:gd name="connsiteX25" fmla="*/ 50716 w 50716"/>
                    <a:gd name="connsiteY25" fmla="*/ 74520 h 86182"/>
                    <a:gd name="connsiteX26" fmla="*/ 34808 w 50716"/>
                    <a:gd name="connsiteY26" fmla="*/ 86182 h 8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0716" h="86182">
                      <a:moveTo>
                        <a:pt x="34808" y="86182"/>
                      </a:moveTo>
                      <a:cubicBezTo>
                        <a:pt x="23205" y="57654"/>
                        <a:pt x="11603" y="29126"/>
                        <a:pt x="0" y="598"/>
                      </a:cubicBezTo>
                      <a:cubicBezTo>
                        <a:pt x="479" y="419"/>
                        <a:pt x="957" y="179"/>
                        <a:pt x="1435" y="0"/>
                      </a:cubicBezTo>
                      <a:cubicBezTo>
                        <a:pt x="6399" y="12201"/>
                        <a:pt x="11364" y="24341"/>
                        <a:pt x="16567" y="37260"/>
                      </a:cubicBezTo>
                      <a:cubicBezTo>
                        <a:pt x="18780" y="35944"/>
                        <a:pt x="20275" y="35047"/>
                        <a:pt x="22129" y="33911"/>
                      </a:cubicBezTo>
                      <a:cubicBezTo>
                        <a:pt x="18002" y="23743"/>
                        <a:pt x="13995" y="13875"/>
                        <a:pt x="9988" y="4007"/>
                      </a:cubicBezTo>
                      <a:cubicBezTo>
                        <a:pt x="10347" y="3828"/>
                        <a:pt x="10765" y="3708"/>
                        <a:pt x="11124" y="3529"/>
                      </a:cubicBezTo>
                      <a:cubicBezTo>
                        <a:pt x="15072" y="13217"/>
                        <a:pt x="19019" y="22846"/>
                        <a:pt x="22906" y="32535"/>
                      </a:cubicBezTo>
                      <a:cubicBezTo>
                        <a:pt x="23624" y="32356"/>
                        <a:pt x="24342" y="32176"/>
                        <a:pt x="24999" y="31937"/>
                      </a:cubicBezTo>
                      <a:cubicBezTo>
                        <a:pt x="24162" y="29246"/>
                        <a:pt x="23384" y="26554"/>
                        <a:pt x="22428" y="23923"/>
                      </a:cubicBezTo>
                      <a:cubicBezTo>
                        <a:pt x="21231" y="20693"/>
                        <a:pt x="19856" y="17523"/>
                        <a:pt x="18600" y="14294"/>
                      </a:cubicBezTo>
                      <a:cubicBezTo>
                        <a:pt x="17404" y="11304"/>
                        <a:pt x="16208" y="8373"/>
                        <a:pt x="16148" y="4904"/>
                      </a:cubicBezTo>
                      <a:cubicBezTo>
                        <a:pt x="19557" y="13337"/>
                        <a:pt x="22966" y="21710"/>
                        <a:pt x="26435" y="30143"/>
                      </a:cubicBezTo>
                      <a:cubicBezTo>
                        <a:pt x="27033" y="29963"/>
                        <a:pt x="27571" y="29724"/>
                        <a:pt x="28169" y="29545"/>
                      </a:cubicBezTo>
                      <a:cubicBezTo>
                        <a:pt x="24641" y="20873"/>
                        <a:pt x="21112" y="12141"/>
                        <a:pt x="17523" y="3469"/>
                      </a:cubicBezTo>
                      <a:cubicBezTo>
                        <a:pt x="17942" y="3289"/>
                        <a:pt x="18421" y="3110"/>
                        <a:pt x="18839" y="2930"/>
                      </a:cubicBezTo>
                      <a:cubicBezTo>
                        <a:pt x="23863" y="11064"/>
                        <a:pt x="25119" y="21291"/>
                        <a:pt x="31279" y="29305"/>
                      </a:cubicBezTo>
                      <a:cubicBezTo>
                        <a:pt x="27212" y="32116"/>
                        <a:pt x="22428" y="35466"/>
                        <a:pt x="17703" y="38755"/>
                      </a:cubicBezTo>
                      <a:cubicBezTo>
                        <a:pt x="18062" y="39293"/>
                        <a:pt x="18421" y="39832"/>
                        <a:pt x="18720" y="40370"/>
                      </a:cubicBezTo>
                      <a:cubicBezTo>
                        <a:pt x="23384" y="37499"/>
                        <a:pt x="27990" y="34628"/>
                        <a:pt x="32655" y="31758"/>
                      </a:cubicBezTo>
                      <a:cubicBezTo>
                        <a:pt x="32894" y="32176"/>
                        <a:pt x="33193" y="32595"/>
                        <a:pt x="33432" y="33073"/>
                      </a:cubicBezTo>
                      <a:cubicBezTo>
                        <a:pt x="29605" y="35526"/>
                        <a:pt x="25598" y="37858"/>
                        <a:pt x="21949" y="40609"/>
                      </a:cubicBezTo>
                      <a:cubicBezTo>
                        <a:pt x="20873" y="41446"/>
                        <a:pt x="19676" y="43839"/>
                        <a:pt x="20095" y="44975"/>
                      </a:cubicBezTo>
                      <a:cubicBezTo>
                        <a:pt x="24999" y="57654"/>
                        <a:pt x="30203" y="70214"/>
                        <a:pt x="35585" y="83371"/>
                      </a:cubicBezTo>
                      <a:cubicBezTo>
                        <a:pt x="40729" y="79962"/>
                        <a:pt x="45513" y="76852"/>
                        <a:pt x="50238" y="73742"/>
                      </a:cubicBezTo>
                      <a:cubicBezTo>
                        <a:pt x="50417" y="73981"/>
                        <a:pt x="50537" y="74281"/>
                        <a:pt x="50716" y="74520"/>
                      </a:cubicBezTo>
                      <a:cubicBezTo>
                        <a:pt x="45394" y="78347"/>
                        <a:pt x="40011" y="82295"/>
                        <a:pt x="34808" y="8618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01" name="Vrije vorm: vorm 9400">
                  <a:extLst>
                    <a:ext uri="{FF2B5EF4-FFF2-40B4-BE49-F238E27FC236}">
                      <a16:creationId xmlns:a16="http://schemas.microsoft.com/office/drawing/2014/main" id="{5BB21B1B-341C-4675-B8F7-35B289B2D85F}"/>
                    </a:ext>
                  </a:extLst>
                </p:cNvPr>
                <p:cNvSpPr/>
                <p:nvPr/>
              </p:nvSpPr>
              <p:spPr>
                <a:xfrm>
                  <a:off x="5489903" y="1701137"/>
                  <a:ext cx="53527" cy="69017"/>
                </a:xfrm>
                <a:custGeom>
                  <a:avLst/>
                  <a:gdLst>
                    <a:gd name="connsiteX0" fmla="*/ 33133 w 53527"/>
                    <a:gd name="connsiteY0" fmla="*/ 0 h 69017"/>
                    <a:gd name="connsiteX1" fmla="*/ 53528 w 53527"/>
                    <a:gd name="connsiteY1" fmla="*/ 50178 h 69017"/>
                    <a:gd name="connsiteX2" fmla="*/ 20634 w 53527"/>
                    <a:gd name="connsiteY2" fmla="*/ 69018 h 69017"/>
                    <a:gd name="connsiteX3" fmla="*/ 0 w 53527"/>
                    <a:gd name="connsiteY3" fmla="*/ 18301 h 69017"/>
                    <a:gd name="connsiteX4" fmla="*/ 33133 w 53527"/>
                    <a:gd name="connsiteY4" fmla="*/ 0 h 69017"/>
                    <a:gd name="connsiteX5" fmla="*/ 43899 w 53527"/>
                    <a:gd name="connsiteY5" fmla="*/ 31758 h 69017"/>
                    <a:gd name="connsiteX6" fmla="*/ 14713 w 53527"/>
                    <a:gd name="connsiteY6" fmla="*/ 36901 h 69017"/>
                    <a:gd name="connsiteX7" fmla="*/ 7476 w 53527"/>
                    <a:gd name="connsiteY7" fmla="*/ 19138 h 69017"/>
                    <a:gd name="connsiteX8" fmla="*/ 13756 w 53527"/>
                    <a:gd name="connsiteY8" fmla="*/ 31638 h 69017"/>
                    <a:gd name="connsiteX9" fmla="*/ 18182 w 53527"/>
                    <a:gd name="connsiteY9" fmla="*/ 34748 h 69017"/>
                    <a:gd name="connsiteX10" fmla="*/ 43360 w 53527"/>
                    <a:gd name="connsiteY10" fmla="*/ 30382 h 69017"/>
                    <a:gd name="connsiteX11" fmla="*/ 31937 w 53527"/>
                    <a:gd name="connsiteY11" fmla="*/ 2332 h 69017"/>
                    <a:gd name="connsiteX12" fmla="*/ 10706 w 53527"/>
                    <a:gd name="connsiteY12" fmla="*/ 13816 h 69017"/>
                    <a:gd name="connsiteX13" fmla="*/ 6041 w 53527"/>
                    <a:gd name="connsiteY13" fmla="*/ 29425 h 69017"/>
                    <a:gd name="connsiteX14" fmla="*/ 21052 w 53527"/>
                    <a:gd name="connsiteY14" fmla="*/ 66506 h 69017"/>
                    <a:gd name="connsiteX15" fmla="*/ 23863 w 53527"/>
                    <a:gd name="connsiteY15" fmla="*/ 65967 h 69017"/>
                    <a:gd name="connsiteX16" fmla="*/ 17165 w 53527"/>
                    <a:gd name="connsiteY16" fmla="*/ 44975 h 69017"/>
                    <a:gd name="connsiteX17" fmla="*/ 47188 w 53527"/>
                    <a:gd name="connsiteY17" fmla="*/ 39832 h 69017"/>
                    <a:gd name="connsiteX18" fmla="*/ 43899 w 53527"/>
                    <a:gd name="connsiteY18" fmla="*/ 31758 h 69017"/>
                    <a:gd name="connsiteX19" fmla="*/ 26554 w 53527"/>
                    <a:gd name="connsiteY19" fmla="*/ 63934 h 69017"/>
                    <a:gd name="connsiteX20" fmla="*/ 48863 w 53527"/>
                    <a:gd name="connsiteY20" fmla="*/ 50896 h 69017"/>
                    <a:gd name="connsiteX21" fmla="*/ 49580 w 53527"/>
                    <a:gd name="connsiteY21" fmla="*/ 45633 h 69017"/>
                    <a:gd name="connsiteX22" fmla="*/ 45573 w 53527"/>
                    <a:gd name="connsiteY22" fmla="*/ 41805 h 69017"/>
                    <a:gd name="connsiteX23" fmla="*/ 19258 w 53527"/>
                    <a:gd name="connsiteY23" fmla="*/ 46111 h 69017"/>
                    <a:gd name="connsiteX24" fmla="*/ 26554 w 53527"/>
                    <a:gd name="connsiteY24" fmla="*/ 63934 h 6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527" h="69017">
                      <a:moveTo>
                        <a:pt x="33133" y="0"/>
                      </a:moveTo>
                      <a:cubicBezTo>
                        <a:pt x="40011" y="16866"/>
                        <a:pt x="46769" y="33492"/>
                        <a:pt x="53528" y="50178"/>
                      </a:cubicBezTo>
                      <a:cubicBezTo>
                        <a:pt x="42164" y="56637"/>
                        <a:pt x="31399" y="62857"/>
                        <a:pt x="20634" y="69018"/>
                      </a:cubicBezTo>
                      <a:cubicBezTo>
                        <a:pt x="13815" y="52212"/>
                        <a:pt x="6878" y="35226"/>
                        <a:pt x="0" y="18301"/>
                      </a:cubicBezTo>
                      <a:cubicBezTo>
                        <a:pt x="11184" y="12081"/>
                        <a:pt x="21950" y="6160"/>
                        <a:pt x="33133" y="0"/>
                      </a:cubicBezTo>
                      <a:close/>
                      <a:moveTo>
                        <a:pt x="43899" y="31758"/>
                      </a:moveTo>
                      <a:cubicBezTo>
                        <a:pt x="33970" y="33492"/>
                        <a:pt x="24162" y="35226"/>
                        <a:pt x="14713" y="36901"/>
                      </a:cubicBezTo>
                      <a:cubicBezTo>
                        <a:pt x="12320" y="30920"/>
                        <a:pt x="9868" y="25059"/>
                        <a:pt x="7476" y="19138"/>
                      </a:cubicBezTo>
                      <a:cubicBezTo>
                        <a:pt x="10107" y="23086"/>
                        <a:pt x="11662" y="27511"/>
                        <a:pt x="13756" y="31638"/>
                      </a:cubicBezTo>
                      <a:cubicBezTo>
                        <a:pt x="14533" y="33133"/>
                        <a:pt x="16866" y="34927"/>
                        <a:pt x="18182" y="34748"/>
                      </a:cubicBezTo>
                      <a:cubicBezTo>
                        <a:pt x="26435" y="33612"/>
                        <a:pt x="34629" y="31997"/>
                        <a:pt x="43360" y="30382"/>
                      </a:cubicBezTo>
                      <a:cubicBezTo>
                        <a:pt x="39473" y="20813"/>
                        <a:pt x="35765" y="11722"/>
                        <a:pt x="31937" y="2332"/>
                      </a:cubicBezTo>
                      <a:cubicBezTo>
                        <a:pt x="24700" y="6220"/>
                        <a:pt x="17583" y="9808"/>
                        <a:pt x="10706" y="13816"/>
                      </a:cubicBezTo>
                      <a:cubicBezTo>
                        <a:pt x="2034" y="18839"/>
                        <a:pt x="1974" y="19019"/>
                        <a:pt x="6041" y="29425"/>
                      </a:cubicBezTo>
                      <a:cubicBezTo>
                        <a:pt x="10885" y="41865"/>
                        <a:pt x="16028" y="54126"/>
                        <a:pt x="21052" y="66506"/>
                      </a:cubicBezTo>
                      <a:cubicBezTo>
                        <a:pt x="22009" y="66326"/>
                        <a:pt x="22906" y="66147"/>
                        <a:pt x="23863" y="65967"/>
                      </a:cubicBezTo>
                      <a:cubicBezTo>
                        <a:pt x="24282" y="58551"/>
                        <a:pt x="18899" y="52092"/>
                        <a:pt x="17165" y="44975"/>
                      </a:cubicBezTo>
                      <a:cubicBezTo>
                        <a:pt x="27033" y="43300"/>
                        <a:pt x="36961" y="41626"/>
                        <a:pt x="47188" y="39832"/>
                      </a:cubicBezTo>
                      <a:cubicBezTo>
                        <a:pt x="45872" y="36602"/>
                        <a:pt x="45035" y="34389"/>
                        <a:pt x="43899" y="31758"/>
                      </a:cubicBezTo>
                      <a:close/>
                      <a:moveTo>
                        <a:pt x="26554" y="63934"/>
                      </a:moveTo>
                      <a:cubicBezTo>
                        <a:pt x="34210" y="59508"/>
                        <a:pt x="41686" y="55441"/>
                        <a:pt x="48863" y="50896"/>
                      </a:cubicBezTo>
                      <a:cubicBezTo>
                        <a:pt x="49820" y="50298"/>
                        <a:pt x="50178" y="47128"/>
                        <a:pt x="49580" y="45633"/>
                      </a:cubicBezTo>
                      <a:cubicBezTo>
                        <a:pt x="48982" y="44018"/>
                        <a:pt x="46709" y="41626"/>
                        <a:pt x="45573" y="41805"/>
                      </a:cubicBezTo>
                      <a:cubicBezTo>
                        <a:pt x="36961" y="42882"/>
                        <a:pt x="28408" y="44556"/>
                        <a:pt x="19258" y="46111"/>
                      </a:cubicBezTo>
                      <a:cubicBezTo>
                        <a:pt x="21830" y="52272"/>
                        <a:pt x="24043" y="57834"/>
                        <a:pt x="26554" y="6393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02" name="Vrije vorm: vorm 9401">
                  <a:extLst>
                    <a:ext uri="{FF2B5EF4-FFF2-40B4-BE49-F238E27FC236}">
                      <a16:creationId xmlns:a16="http://schemas.microsoft.com/office/drawing/2014/main" id="{666D7699-BD64-4F17-91E8-F7AED6629F38}"/>
                    </a:ext>
                  </a:extLst>
                </p:cNvPr>
                <p:cNvSpPr/>
                <p:nvPr/>
              </p:nvSpPr>
              <p:spPr>
                <a:xfrm>
                  <a:off x="4949904" y="1855978"/>
                  <a:ext cx="77031" cy="90488"/>
                </a:xfrm>
                <a:custGeom>
                  <a:avLst/>
                  <a:gdLst>
                    <a:gd name="connsiteX0" fmla="*/ 51075 w 77031"/>
                    <a:gd name="connsiteY0" fmla="*/ 0 h 90488"/>
                    <a:gd name="connsiteX1" fmla="*/ 77032 w 77031"/>
                    <a:gd name="connsiteY1" fmla="*/ 63814 h 90488"/>
                    <a:gd name="connsiteX2" fmla="*/ 26435 w 77031"/>
                    <a:gd name="connsiteY2" fmla="*/ 90488 h 90488"/>
                    <a:gd name="connsiteX3" fmla="*/ 0 w 77031"/>
                    <a:gd name="connsiteY3" fmla="*/ 25418 h 90488"/>
                    <a:gd name="connsiteX4" fmla="*/ 51075 w 77031"/>
                    <a:gd name="connsiteY4" fmla="*/ 0 h 90488"/>
                    <a:gd name="connsiteX5" fmla="*/ 27332 w 77031"/>
                    <a:gd name="connsiteY5" fmla="*/ 87976 h 90488"/>
                    <a:gd name="connsiteX6" fmla="*/ 29306 w 77031"/>
                    <a:gd name="connsiteY6" fmla="*/ 87558 h 90488"/>
                    <a:gd name="connsiteX7" fmla="*/ 72307 w 77031"/>
                    <a:gd name="connsiteY7" fmla="*/ 65011 h 90488"/>
                    <a:gd name="connsiteX8" fmla="*/ 73563 w 77031"/>
                    <a:gd name="connsiteY8" fmla="*/ 58731 h 90488"/>
                    <a:gd name="connsiteX9" fmla="*/ 60824 w 77031"/>
                    <a:gd name="connsiteY9" fmla="*/ 27751 h 90488"/>
                    <a:gd name="connsiteX10" fmla="*/ 50298 w 77031"/>
                    <a:gd name="connsiteY10" fmla="*/ 1914 h 90488"/>
                    <a:gd name="connsiteX11" fmla="*/ 2093 w 77031"/>
                    <a:gd name="connsiteY11" fmla="*/ 25956 h 90488"/>
                    <a:gd name="connsiteX12" fmla="*/ 27332 w 77031"/>
                    <a:gd name="connsiteY12" fmla="*/ 87976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031" h="90488">
                      <a:moveTo>
                        <a:pt x="51075" y="0"/>
                      </a:moveTo>
                      <a:cubicBezTo>
                        <a:pt x="59747" y="21351"/>
                        <a:pt x="68360" y="42523"/>
                        <a:pt x="77032" y="63814"/>
                      </a:cubicBezTo>
                      <a:cubicBezTo>
                        <a:pt x="60405" y="72606"/>
                        <a:pt x="43599" y="81457"/>
                        <a:pt x="26435" y="90488"/>
                      </a:cubicBezTo>
                      <a:cubicBezTo>
                        <a:pt x="17703" y="69077"/>
                        <a:pt x="8911" y="47367"/>
                        <a:pt x="0" y="25418"/>
                      </a:cubicBezTo>
                      <a:cubicBezTo>
                        <a:pt x="16746" y="17105"/>
                        <a:pt x="33731" y="8672"/>
                        <a:pt x="51075" y="0"/>
                      </a:cubicBezTo>
                      <a:close/>
                      <a:moveTo>
                        <a:pt x="27332" y="87976"/>
                      </a:moveTo>
                      <a:cubicBezTo>
                        <a:pt x="28289" y="87797"/>
                        <a:pt x="28827" y="87797"/>
                        <a:pt x="29306" y="87558"/>
                      </a:cubicBezTo>
                      <a:cubicBezTo>
                        <a:pt x="43659" y="80022"/>
                        <a:pt x="57893" y="72367"/>
                        <a:pt x="72307" y="65011"/>
                      </a:cubicBezTo>
                      <a:cubicBezTo>
                        <a:pt x="75417" y="63396"/>
                        <a:pt x="74699" y="61362"/>
                        <a:pt x="73563" y="58731"/>
                      </a:cubicBezTo>
                      <a:cubicBezTo>
                        <a:pt x="69257" y="48444"/>
                        <a:pt x="65070" y="38097"/>
                        <a:pt x="60824" y="27751"/>
                      </a:cubicBezTo>
                      <a:cubicBezTo>
                        <a:pt x="57355" y="19318"/>
                        <a:pt x="53946" y="10945"/>
                        <a:pt x="50298" y="1914"/>
                      </a:cubicBezTo>
                      <a:cubicBezTo>
                        <a:pt x="33791" y="10167"/>
                        <a:pt x="17942" y="18062"/>
                        <a:pt x="2093" y="25956"/>
                      </a:cubicBezTo>
                      <a:cubicBezTo>
                        <a:pt x="10765" y="47128"/>
                        <a:pt x="19019" y="67522"/>
                        <a:pt x="27332" y="8797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03" name="Vrije vorm: vorm 9402">
                  <a:extLst>
                    <a:ext uri="{FF2B5EF4-FFF2-40B4-BE49-F238E27FC236}">
                      <a16:creationId xmlns:a16="http://schemas.microsoft.com/office/drawing/2014/main" id="{2F213051-BF1F-4E66-8F07-55EBE72E7666}"/>
                    </a:ext>
                  </a:extLst>
                </p:cNvPr>
                <p:cNvSpPr/>
                <p:nvPr/>
              </p:nvSpPr>
              <p:spPr>
                <a:xfrm>
                  <a:off x="5125498" y="1662023"/>
                  <a:ext cx="75835" cy="89172"/>
                </a:xfrm>
                <a:custGeom>
                  <a:avLst/>
                  <a:gdLst>
                    <a:gd name="connsiteX0" fmla="*/ 28050 w 75835"/>
                    <a:gd name="connsiteY0" fmla="*/ 87259 h 89172"/>
                    <a:gd name="connsiteX1" fmla="*/ 74161 w 75835"/>
                    <a:gd name="connsiteY1" fmla="*/ 64771 h 89172"/>
                    <a:gd name="connsiteX2" fmla="*/ 49879 w 75835"/>
                    <a:gd name="connsiteY2" fmla="*/ 5084 h 89172"/>
                    <a:gd name="connsiteX3" fmla="*/ 51076 w 75835"/>
                    <a:gd name="connsiteY3" fmla="*/ 4605 h 89172"/>
                    <a:gd name="connsiteX4" fmla="*/ 75836 w 75835"/>
                    <a:gd name="connsiteY4" fmla="*/ 65489 h 89172"/>
                    <a:gd name="connsiteX5" fmla="*/ 27153 w 75835"/>
                    <a:gd name="connsiteY5" fmla="*/ 89173 h 89172"/>
                    <a:gd name="connsiteX6" fmla="*/ 0 w 75835"/>
                    <a:gd name="connsiteY6" fmla="*/ 22368 h 89172"/>
                    <a:gd name="connsiteX7" fmla="*/ 48922 w 75835"/>
                    <a:gd name="connsiteY7" fmla="*/ 0 h 89172"/>
                    <a:gd name="connsiteX8" fmla="*/ 49401 w 75835"/>
                    <a:gd name="connsiteY8" fmla="*/ 957 h 89172"/>
                    <a:gd name="connsiteX9" fmla="*/ 43360 w 75835"/>
                    <a:gd name="connsiteY9" fmla="*/ 4127 h 89172"/>
                    <a:gd name="connsiteX10" fmla="*/ 6997 w 75835"/>
                    <a:gd name="connsiteY10" fmla="*/ 20454 h 89172"/>
                    <a:gd name="connsiteX11" fmla="*/ 3888 w 75835"/>
                    <a:gd name="connsiteY11" fmla="*/ 28767 h 89172"/>
                    <a:gd name="connsiteX12" fmla="*/ 25538 w 75835"/>
                    <a:gd name="connsiteY12" fmla="*/ 81816 h 89172"/>
                    <a:gd name="connsiteX13" fmla="*/ 28050 w 75835"/>
                    <a:gd name="connsiteY13" fmla="*/ 87259 h 8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835" h="89172">
                      <a:moveTo>
                        <a:pt x="28050" y="87259"/>
                      </a:moveTo>
                      <a:cubicBezTo>
                        <a:pt x="43360" y="79783"/>
                        <a:pt x="58372" y="72486"/>
                        <a:pt x="74161" y="64771"/>
                      </a:cubicBezTo>
                      <a:cubicBezTo>
                        <a:pt x="65968" y="44556"/>
                        <a:pt x="57893" y="24820"/>
                        <a:pt x="49879" y="5084"/>
                      </a:cubicBezTo>
                      <a:cubicBezTo>
                        <a:pt x="50298" y="4904"/>
                        <a:pt x="50657" y="4785"/>
                        <a:pt x="51076" y="4605"/>
                      </a:cubicBezTo>
                      <a:cubicBezTo>
                        <a:pt x="59329" y="24940"/>
                        <a:pt x="67642" y="45274"/>
                        <a:pt x="75836" y="65489"/>
                      </a:cubicBezTo>
                      <a:cubicBezTo>
                        <a:pt x="59747" y="73324"/>
                        <a:pt x="43600" y="81158"/>
                        <a:pt x="27153" y="89173"/>
                      </a:cubicBezTo>
                      <a:cubicBezTo>
                        <a:pt x="18182" y="67163"/>
                        <a:pt x="9091" y="44736"/>
                        <a:pt x="0" y="22368"/>
                      </a:cubicBezTo>
                      <a:cubicBezTo>
                        <a:pt x="16328" y="14892"/>
                        <a:pt x="32595" y="7476"/>
                        <a:pt x="48922" y="0"/>
                      </a:cubicBezTo>
                      <a:cubicBezTo>
                        <a:pt x="49102" y="299"/>
                        <a:pt x="49222" y="658"/>
                        <a:pt x="49401" y="957"/>
                      </a:cubicBezTo>
                      <a:cubicBezTo>
                        <a:pt x="47367" y="2033"/>
                        <a:pt x="45394" y="3170"/>
                        <a:pt x="43360" y="4127"/>
                      </a:cubicBezTo>
                      <a:cubicBezTo>
                        <a:pt x="31279" y="9629"/>
                        <a:pt x="19198" y="15251"/>
                        <a:pt x="6997" y="20454"/>
                      </a:cubicBezTo>
                      <a:cubicBezTo>
                        <a:pt x="2990" y="22129"/>
                        <a:pt x="1854" y="23923"/>
                        <a:pt x="3888" y="28767"/>
                      </a:cubicBezTo>
                      <a:cubicBezTo>
                        <a:pt x="11304" y="46351"/>
                        <a:pt x="18301" y="64113"/>
                        <a:pt x="25538" y="81816"/>
                      </a:cubicBezTo>
                      <a:cubicBezTo>
                        <a:pt x="26076" y="83491"/>
                        <a:pt x="26973" y="85046"/>
                        <a:pt x="28050" y="8725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04" name="Vrije vorm: vorm 9403">
                  <a:extLst>
                    <a:ext uri="{FF2B5EF4-FFF2-40B4-BE49-F238E27FC236}">
                      <a16:creationId xmlns:a16="http://schemas.microsoft.com/office/drawing/2014/main" id="{D4F2729E-07B2-4997-9B5E-64D9ED5971D9}"/>
                    </a:ext>
                  </a:extLst>
                </p:cNvPr>
                <p:cNvSpPr/>
                <p:nvPr/>
              </p:nvSpPr>
              <p:spPr>
                <a:xfrm>
                  <a:off x="5455096" y="1911029"/>
                  <a:ext cx="71649" cy="45125"/>
                </a:xfrm>
                <a:custGeom>
                  <a:avLst/>
                  <a:gdLst>
                    <a:gd name="connsiteX0" fmla="*/ 0 w 71649"/>
                    <a:gd name="connsiteY0" fmla="*/ 43152 h 45125"/>
                    <a:gd name="connsiteX1" fmla="*/ 15371 w 71649"/>
                    <a:gd name="connsiteY1" fmla="*/ 32028 h 45125"/>
                    <a:gd name="connsiteX2" fmla="*/ 63874 w 71649"/>
                    <a:gd name="connsiteY2" fmla="*/ 1347 h 45125"/>
                    <a:gd name="connsiteX3" fmla="*/ 71649 w 71649"/>
                    <a:gd name="connsiteY3" fmla="*/ 150 h 45125"/>
                    <a:gd name="connsiteX4" fmla="*/ 42523 w 71649"/>
                    <a:gd name="connsiteY4" fmla="*/ 18930 h 45125"/>
                    <a:gd name="connsiteX5" fmla="*/ 42942 w 71649"/>
                    <a:gd name="connsiteY5" fmla="*/ 19947 h 45125"/>
                    <a:gd name="connsiteX6" fmla="*/ 67463 w 71649"/>
                    <a:gd name="connsiteY6" fmla="*/ 19349 h 45125"/>
                    <a:gd name="connsiteX7" fmla="*/ 67702 w 71649"/>
                    <a:gd name="connsiteY7" fmla="*/ 21920 h 45125"/>
                    <a:gd name="connsiteX8" fmla="*/ 56279 w 71649"/>
                    <a:gd name="connsiteY8" fmla="*/ 22459 h 45125"/>
                    <a:gd name="connsiteX9" fmla="*/ 15909 w 71649"/>
                    <a:gd name="connsiteY9" fmla="*/ 35676 h 45125"/>
                    <a:gd name="connsiteX10" fmla="*/ 1256 w 71649"/>
                    <a:gd name="connsiteY10" fmla="*/ 45125 h 45125"/>
                    <a:gd name="connsiteX11" fmla="*/ 0 w 71649"/>
                    <a:gd name="connsiteY11" fmla="*/ 43152 h 4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649" h="45125">
                      <a:moveTo>
                        <a:pt x="0" y="43152"/>
                      </a:moveTo>
                      <a:cubicBezTo>
                        <a:pt x="5144" y="39444"/>
                        <a:pt x="10107" y="35437"/>
                        <a:pt x="15371" y="32028"/>
                      </a:cubicBezTo>
                      <a:cubicBezTo>
                        <a:pt x="31459" y="21681"/>
                        <a:pt x="47607" y="11454"/>
                        <a:pt x="63874" y="1347"/>
                      </a:cubicBezTo>
                      <a:cubicBezTo>
                        <a:pt x="66027" y="31"/>
                        <a:pt x="68778" y="-208"/>
                        <a:pt x="71649" y="150"/>
                      </a:cubicBezTo>
                      <a:cubicBezTo>
                        <a:pt x="61961" y="6430"/>
                        <a:pt x="52212" y="12650"/>
                        <a:pt x="42523" y="18930"/>
                      </a:cubicBezTo>
                      <a:cubicBezTo>
                        <a:pt x="42643" y="19289"/>
                        <a:pt x="42822" y="19588"/>
                        <a:pt x="42942" y="19947"/>
                      </a:cubicBezTo>
                      <a:cubicBezTo>
                        <a:pt x="51135" y="19767"/>
                        <a:pt x="59269" y="19528"/>
                        <a:pt x="67463" y="19349"/>
                      </a:cubicBezTo>
                      <a:cubicBezTo>
                        <a:pt x="67523" y="20186"/>
                        <a:pt x="67642" y="21083"/>
                        <a:pt x="67702" y="21920"/>
                      </a:cubicBezTo>
                      <a:cubicBezTo>
                        <a:pt x="63874" y="22159"/>
                        <a:pt x="60047" y="22877"/>
                        <a:pt x="56279" y="22459"/>
                      </a:cubicBezTo>
                      <a:cubicBezTo>
                        <a:pt x="40729" y="20844"/>
                        <a:pt x="27811" y="26585"/>
                        <a:pt x="15909" y="35676"/>
                      </a:cubicBezTo>
                      <a:cubicBezTo>
                        <a:pt x="11304" y="39205"/>
                        <a:pt x="6160" y="42015"/>
                        <a:pt x="1256" y="45125"/>
                      </a:cubicBezTo>
                      <a:cubicBezTo>
                        <a:pt x="837" y="44527"/>
                        <a:pt x="419" y="43810"/>
                        <a:pt x="0" y="4315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05" name="Vrije vorm: vorm 9404">
                  <a:extLst>
                    <a:ext uri="{FF2B5EF4-FFF2-40B4-BE49-F238E27FC236}">
                      <a16:creationId xmlns:a16="http://schemas.microsoft.com/office/drawing/2014/main" id="{EACDAC46-72E7-4B16-A2B0-387F5EB83B36}"/>
                    </a:ext>
                  </a:extLst>
                </p:cNvPr>
                <p:cNvSpPr/>
                <p:nvPr/>
              </p:nvSpPr>
              <p:spPr>
                <a:xfrm>
                  <a:off x="5305219" y="1988690"/>
                  <a:ext cx="84627" cy="55022"/>
                </a:xfrm>
                <a:custGeom>
                  <a:avLst/>
                  <a:gdLst>
                    <a:gd name="connsiteX0" fmla="*/ 84627 w 84627"/>
                    <a:gd name="connsiteY0" fmla="*/ 1435 h 55022"/>
                    <a:gd name="connsiteX1" fmla="*/ 81817 w 84627"/>
                    <a:gd name="connsiteY1" fmla="*/ 5024 h 55022"/>
                    <a:gd name="connsiteX2" fmla="*/ 54724 w 84627"/>
                    <a:gd name="connsiteY2" fmla="*/ 22428 h 55022"/>
                    <a:gd name="connsiteX3" fmla="*/ 50418 w 84627"/>
                    <a:gd name="connsiteY3" fmla="*/ 25358 h 55022"/>
                    <a:gd name="connsiteX4" fmla="*/ 54305 w 84627"/>
                    <a:gd name="connsiteY4" fmla="*/ 28528 h 55022"/>
                    <a:gd name="connsiteX5" fmla="*/ 53408 w 84627"/>
                    <a:gd name="connsiteY5" fmla="*/ 29545 h 55022"/>
                    <a:gd name="connsiteX6" fmla="*/ 23385 w 84627"/>
                    <a:gd name="connsiteY6" fmla="*/ 42344 h 55022"/>
                    <a:gd name="connsiteX7" fmla="*/ 1136 w 84627"/>
                    <a:gd name="connsiteY7" fmla="*/ 55023 h 55022"/>
                    <a:gd name="connsiteX8" fmla="*/ 0 w 84627"/>
                    <a:gd name="connsiteY8" fmla="*/ 52989 h 55022"/>
                    <a:gd name="connsiteX9" fmla="*/ 83491 w 84627"/>
                    <a:gd name="connsiteY9" fmla="*/ 0 h 55022"/>
                    <a:gd name="connsiteX10" fmla="*/ 84627 w 84627"/>
                    <a:gd name="connsiteY10" fmla="*/ 1435 h 55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7" h="55022">
                      <a:moveTo>
                        <a:pt x="84627" y="1435"/>
                      </a:moveTo>
                      <a:cubicBezTo>
                        <a:pt x="83671" y="2632"/>
                        <a:pt x="83012" y="4246"/>
                        <a:pt x="81817" y="5024"/>
                      </a:cubicBezTo>
                      <a:cubicBezTo>
                        <a:pt x="72846" y="10945"/>
                        <a:pt x="63755" y="16626"/>
                        <a:pt x="54724" y="22428"/>
                      </a:cubicBezTo>
                      <a:cubicBezTo>
                        <a:pt x="53348" y="23325"/>
                        <a:pt x="52032" y="24282"/>
                        <a:pt x="50418" y="25358"/>
                      </a:cubicBezTo>
                      <a:cubicBezTo>
                        <a:pt x="51853" y="26554"/>
                        <a:pt x="53049" y="27511"/>
                        <a:pt x="54305" y="28528"/>
                      </a:cubicBezTo>
                      <a:cubicBezTo>
                        <a:pt x="53886" y="29066"/>
                        <a:pt x="53647" y="29545"/>
                        <a:pt x="53408" y="29545"/>
                      </a:cubicBezTo>
                      <a:cubicBezTo>
                        <a:pt x="40848" y="27810"/>
                        <a:pt x="32954" y="37021"/>
                        <a:pt x="23385" y="42344"/>
                      </a:cubicBezTo>
                      <a:cubicBezTo>
                        <a:pt x="15909" y="46470"/>
                        <a:pt x="8553" y="50776"/>
                        <a:pt x="1136" y="55023"/>
                      </a:cubicBezTo>
                      <a:cubicBezTo>
                        <a:pt x="778" y="54365"/>
                        <a:pt x="359" y="53647"/>
                        <a:pt x="0" y="52989"/>
                      </a:cubicBezTo>
                      <a:cubicBezTo>
                        <a:pt x="27811" y="35346"/>
                        <a:pt x="55621" y="17703"/>
                        <a:pt x="83491" y="0"/>
                      </a:cubicBezTo>
                      <a:cubicBezTo>
                        <a:pt x="83790" y="538"/>
                        <a:pt x="84209" y="1017"/>
                        <a:pt x="84627" y="143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06" name="Vrije vorm: vorm 9405">
                  <a:extLst>
                    <a:ext uri="{FF2B5EF4-FFF2-40B4-BE49-F238E27FC236}">
                      <a16:creationId xmlns:a16="http://schemas.microsoft.com/office/drawing/2014/main" id="{71C78CA6-6FE3-4D21-AEE5-11248CBA5C92}"/>
                    </a:ext>
                  </a:extLst>
                </p:cNvPr>
                <p:cNvSpPr/>
                <p:nvPr/>
              </p:nvSpPr>
              <p:spPr>
                <a:xfrm>
                  <a:off x="4851079" y="1114308"/>
                  <a:ext cx="54029" cy="94734"/>
                </a:xfrm>
                <a:custGeom>
                  <a:avLst/>
                  <a:gdLst>
                    <a:gd name="connsiteX0" fmla="*/ 2356 w 54029"/>
                    <a:gd name="connsiteY0" fmla="*/ 26196 h 94734"/>
                    <a:gd name="connsiteX1" fmla="*/ 6303 w 54029"/>
                    <a:gd name="connsiteY1" fmla="*/ 39772 h 94734"/>
                    <a:gd name="connsiteX2" fmla="*/ 26219 w 54029"/>
                    <a:gd name="connsiteY2" fmla="*/ 50956 h 94734"/>
                    <a:gd name="connsiteX3" fmla="*/ 41649 w 54029"/>
                    <a:gd name="connsiteY3" fmla="*/ 48504 h 94734"/>
                    <a:gd name="connsiteX4" fmla="*/ 13002 w 54029"/>
                    <a:gd name="connsiteY4" fmla="*/ 55740 h 94734"/>
                    <a:gd name="connsiteX5" fmla="*/ 21734 w 54029"/>
                    <a:gd name="connsiteY5" fmla="*/ 77211 h 94734"/>
                    <a:gd name="connsiteX6" fmla="*/ 49903 w 54029"/>
                    <a:gd name="connsiteY6" fmla="*/ 70872 h 94734"/>
                    <a:gd name="connsiteX7" fmla="*/ 51398 w 54029"/>
                    <a:gd name="connsiteY7" fmla="*/ 66625 h 94734"/>
                    <a:gd name="connsiteX8" fmla="*/ 25860 w 54029"/>
                    <a:gd name="connsiteY8" fmla="*/ 3469 h 94734"/>
                    <a:gd name="connsiteX9" fmla="*/ 21494 w 54029"/>
                    <a:gd name="connsiteY9" fmla="*/ 7356 h 94734"/>
                    <a:gd name="connsiteX10" fmla="*/ 25621 w 54029"/>
                    <a:gd name="connsiteY10" fmla="*/ 0 h 94734"/>
                    <a:gd name="connsiteX11" fmla="*/ 54030 w 54029"/>
                    <a:gd name="connsiteY11" fmla="*/ 69855 h 94734"/>
                    <a:gd name="connsiteX12" fmla="*/ 26937 w 54029"/>
                    <a:gd name="connsiteY12" fmla="*/ 94735 h 94734"/>
                    <a:gd name="connsiteX13" fmla="*/ 741 w 54029"/>
                    <a:gd name="connsiteY13" fmla="*/ 30621 h 94734"/>
                    <a:gd name="connsiteX14" fmla="*/ 2356 w 54029"/>
                    <a:gd name="connsiteY14" fmla="*/ 26196 h 94734"/>
                    <a:gd name="connsiteX15" fmla="*/ 47989 w 54029"/>
                    <a:gd name="connsiteY15" fmla="*/ 73503 h 94734"/>
                    <a:gd name="connsiteX16" fmla="*/ 47391 w 54029"/>
                    <a:gd name="connsiteY16" fmla="*/ 72486 h 94734"/>
                    <a:gd name="connsiteX17" fmla="*/ 22451 w 54029"/>
                    <a:gd name="connsiteY17" fmla="*/ 78766 h 94734"/>
                    <a:gd name="connsiteX18" fmla="*/ 27834 w 54029"/>
                    <a:gd name="connsiteY18" fmla="*/ 92043 h 94734"/>
                    <a:gd name="connsiteX19" fmla="*/ 47989 w 54029"/>
                    <a:gd name="connsiteY19" fmla="*/ 73503 h 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029" h="94734">
                      <a:moveTo>
                        <a:pt x="2356" y="26196"/>
                      </a:moveTo>
                      <a:cubicBezTo>
                        <a:pt x="3672" y="30741"/>
                        <a:pt x="4569" y="35406"/>
                        <a:pt x="6303" y="39772"/>
                      </a:cubicBezTo>
                      <a:cubicBezTo>
                        <a:pt x="12165" y="54664"/>
                        <a:pt x="12284" y="54604"/>
                        <a:pt x="26219" y="50956"/>
                      </a:cubicBezTo>
                      <a:cubicBezTo>
                        <a:pt x="31243" y="49640"/>
                        <a:pt x="36326" y="48623"/>
                        <a:pt x="41649" y="48504"/>
                      </a:cubicBezTo>
                      <a:cubicBezTo>
                        <a:pt x="32260" y="50896"/>
                        <a:pt x="22810" y="53228"/>
                        <a:pt x="13002" y="55740"/>
                      </a:cubicBezTo>
                      <a:cubicBezTo>
                        <a:pt x="16052" y="63276"/>
                        <a:pt x="18863" y="70094"/>
                        <a:pt x="21734" y="77211"/>
                      </a:cubicBezTo>
                      <a:cubicBezTo>
                        <a:pt x="31243" y="75118"/>
                        <a:pt x="40633" y="73204"/>
                        <a:pt x="49903" y="70872"/>
                      </a:cubicBezTo>
                      <a:cubicBezTo>
                        <a:pt x="50800" y="70632"/>
                        <a:pt x="51877" y="67762"/>
                        <a:pt x="51398" y="66625"/>
                      </a:cubicBezTo>
                      <a:cubicBezTo>
                        <a:pt x="43085" y="45693"/>
                        <a:pt x="34592" y="24880"/>
                        <a:pt x="25860" y="3469"/>
                      </a:cubicBezTo>
                      <a:cubicBezTo>
                        <a:pt x="24186" y="4964"/>
                        <a:pt x="22810" y="6160"/>
                        <a:pt x="21494" y="7356"/>
                      </a:cubicBezTo>
                      <a:cubicBezTo>
                        <a:pt x="22750" y="5143"/>
                        <a:pt x="23946" y="2931"/>
                        <a:pt x="25621" y="0"/>
                      </a:cubicBezTo>
                      <a:cubicBezTo>
                        <a:pt x="35310" y="23803"/>
                        <a:pt x="44640" y="46709"/>
                        <a:pt x="54030" y="69855"/>
                      </a:cubicBezTo>
                      <a:cubicBezTo>
                        <a:pt x="45178" y="77989"/>
                        <a:pt x="36087" y="86362"/>
                        <a:pt x="26937" y="94735"/>
                      </a:cubicBezTo>
                      <a:cubicBezTo>
                        <a:pt x="18205" y="73324"/>
                        <a:pt x="9653" y="51913"/>
                        <a:pt x="741" y="30621"/>
                      </a:cubicBezTo>
                      <a:cubicBezTo>
                        <a:pt x="-455" y="27571"/>
                        <a:pt x="-395" y="26614"/>
                        <a:pt x="2356" y="26196"/>
                      </a:cubicBezTo>
                      <a:close/>
                      <a:moveTo>
                        <a:pt x="47989" y="73503"/>
                      </a:moveTo>
                      <a:cubicBezTo>
                        <a:pt x="47809" y="73144"/>
                        <a:pt x="47570" y="72785"/>
                        <a:pt x="47391" y="72486"/>
                      </a:cubicBezTo>
                      <a:cubicBezTo>
                        <a:pt x="39197" y="74520"/>
                        <a:pt x="31004" y="76613"/>
                        <a:pt x="22451" y="78766"/>
                      </a:cubicBezTo>
                      <a:cubicBezTo>
                        <a:pt x="24245" y="83192"/>
                        <a:pt x="25920" y="87259"/>
                        <a:pt x="27834" y="92043"/>
                      </a:cubicBezTo>
                      <a:cubicBezTo>
                        <a:pt x="34712" y="85704"/>
                        <a:pt x="41350" y="79603"/>
                        <a:pt x="47989" y="7350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07" name="Vrije vorm: vorm 9406">
                  <a:extLst>
                    <a:ext uri="{FF2B5EF4-FFF2-40B4-BE49-F238E27FC236}">
                      <a16:creationId xmlns:a16="http://schemas.microsoft.com/office/drawing/2014/main" id="{04A61F42-9082-4145-A99A-16250078C1E4}"/>
                    </a:ext>
                  </a:extLst>
                </p:cNvPr>
                <p:cNvSpPr/>
                <p:nvPr/>
              </p:nvSpPr>
              <p:spPr>
                <a:xfrm>
                  <a:off x="4850026" y="1230334"/>
                  <a:ext cx="52092" cy="85285"/>
                </a:xfrm>
                <a:custGeom>
                  <a:avLst/>
                  <a:gdLst>
                    <a:gd name="connsiteX0" fmla="*/ 5682 w 52092"/>
                    <a:gd name="connsiteY0" fmla="*/ 16985 h 85285"/>
                    <a:gd name="connsiteX1" fmla="*/ 23564 w 52092"/>
                    <a:gd name="connsiteY1" fmla="*/ 0 h 85285"/>
                    <a:gd name="connsiteX2" fmla="*/ 23624 w 52092"/>
                    <a:gd name="connsiteY2" fmla="*/ 1854 h 85285"/>
                    <a:gd name="connsiteX3" fmla="*/ 21112 w 52092"/>
                    <a:gd name="connsiteY3" fmla="*/ 15969 h 85285"/>
                    <a:gd name="connsiteX4" fmla="*/ 26076 w 52092"/>
                    <a:gd name="connsiteY4" fmla="*/ 27930 h 85285"/>
                    <a:gd name="connsiteX5" fmla="*/ 6698 w 52092"/>
                    <a:gd name="connsiteY5" fmla="*/ 33313 h 85285"/>
                    <a:gd name="connsiteX6" fmla="*/ 13277 w 52092"/>
                    <a:gd name="connsiteY6" fmla="*/ 49461 h 85285"/>
                    <a:gd name="connsiteX7" fmla="*/ 30801 w 52092"/>
                    <a:gd name="connsiteY7" fmla="*/ 44556 h 85285"/>
                    <a:gd name="connsiteX8" fmla="*/ 41446 w 52092"/>
                    <a:gd name="connsiteY8" fmla="*/ 70752 h 85285"/>
                    <a:gd name="connsiteX9" fmla="*/ 46590 w 52092"/>
                    <a:gd name="connsiteY9" fmla="*/ 54066 h 85285"/>
                    <a:gd name="connsiteX10" fmla="*/ 27212 w 52092"/>
                    <a:gd name="connsiteY10" fmla="*/ 3529 h 85285"/>
                    <a:gd name="connsiteX11" fmla="*/ 52092 w 52092"/>
                    <a:gd name="connsiteY11" fmla="*/ 64711 h 85285"/>
                    <a:gd name="connsiteX12" fmla="*/ 26196 w 52092"/>
                    <a:gd name="connsiteY12" fmla="*/ 85285 h 85285"/>
                    <a:gd name="connsiteX13" fmla="*/ 0 w 52092"/>
                    <a:gd name="connsiteY13" fmla="*/ 20873 h 85285"/>
                    <a:gd name="connsiteX14" fmla="*/ 5742 w 52092"/>
                    <a:gd name="connsiteY14" fmla="*/ 16866 h 85285"/>
                    <a:gd name="connsiteX15" fmla="*/ 6519 w 52092"/>
                    <a:gd name="connsiteY15" fmla="*/ 31817 h 85285"/>
                    <a:gd name="connsiteX16" fmla="*/ 23744 w 52092"/>
                    <a:gd name="connsiteY16" fmla="*/ 27152 h 85285"/>
                    <a:gd name="connsiteX17" fmla="*/ 16387 w 52092"/>
                    <a:gd name="connsiteY17" fmla="*/ 9091 h 85285"/>
                    <a:gd name="connsiteX18" fmla="*/ 5682 w 52092"/>
                    <a:gd name="connsiteY18" fmla="*/ 16985 h 85285"/>
                    <a:gd name="connsiteX19" fmla="*/ 13875 w 52092"/>
                    <a:gd name="connsiteY19" fmla="*/ 50956 h 85285"/>
                    <a:gd name="connsiteX20" fmla="*/ 26794 w 52092"/>
                    <a:gd name="connsiteY20" fmla="*/ 82654 h 85285"/>
                    <a:gd name="connsiteX21" fmla="*/ 31937 w 52092"/>
                    <a:gd name="connsiteY21" fmla="*/ 78946 h 85285"/>
                    <a:gd name="connsiteX22" fmla="*/ 35884 w 52092"/>
                    <a:gd name="connsiteY22" fmla="*/ 60824 h 85285"/>
                    <a:gd name="connsiteX23" fmla="*/ 16447 w 52092"/>
                    <a:gd name="connsiteY23" fmla="*/ 49879 h 85285"/>
                    <a:gd name="connsiteX24" fmla="*/ 13875 w 52092"/>
                    <a:gd name="connsiteY24" fmla="*/ 50956 h 8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2092" h="85285">
                      <a:moveTo>
                        <a:pt x="5682" y="16985"/>
                      </a:moveTo>
                      <a:cubicBezTo>
                        <a:pt x="11483" y="11483"/>
                        <a:pt x="17225" y="5981"/>
                        <a:pt x="23564" y="0"/>
                      </a:cubicBezTo>
                      <a:cubicBezTo>
                        <a:pt x="23624" y="1316"/>
                        <a:pt x="23744" y="1794"/>
                        <a:pt x="23624" y="1854"/>
                      </a:cubicBezTo>
                      <a:cubicBezTo>
                        <a:pt x="17763" y="5143"/>
                        <a:pt x="17822" y="9868"/>
                        <a:pt x="21112" y="15969"/>
                      </a:cubicBezTo>
                      <a:cubicBezTo>
                        <a:pt x="23145" y="19677"/>
                        <a:pt x="24401" y="23803"/>
                        <a:pt x="26076" y="27930"/>
                      </a:cubicBezTo>
                      <a:cubicBezTo>
                        <a:pt x="19796" y="29664"/>
                        <a:pt x="13457" y="31459"/>
                        <a:pt x="6698" y="33313"/>
                      </a:cubicBezTo>
                      <a:cubicBezTo>
                        <a:pt x="8971" y="38875"/>
                        <a:pt x="11005" y="43839"/>
                        <a:pt x="13277" y="49461"/>
                      </a:cubicBezTo>
                      <a:cubicBezTo>
                        <a:pt x="19079" y="47846"/>
                        <a:pt x="24760" y="46231"/>
                        <a:pt x="30801" y="44556"/>
                      </a:cubicBezTo>
                      <a:cubicBezTo>
                        <a:pt x="34329" y="53228"/>
                        <a:pt x="37918" y="61960"/>
                        <a:pt x="41446" y="70752"/>
                      </a:cubicBezTo>
                      <a:cubicBezTo>
                        <a:pt x="51016" y="64951"/>
                        <a:pt x="51016" y="64891"/>
                        <a:pt x="46590" y="54066"/>
                      </a:cubicBezTo>
                      <a:cubicBezTo>
                        <a:pt x="39772" y="37380"/>
                        <a:pt x="33014" y="20633"/>
                        <a:pt x="27212" y="3529"/>
                      </a:cubicBezTo>
                      <a:cubicBezTo>
                        <a:pt x="35466" y="23863"/>
                        <a:pt x="43779" y="44198"/>
                        <a:pt x="52092" y="64711"/>
                      </a:cubicBezTo>
                      <a:cubicBezTo>
                        <a:pt x="43839" y="71290"/>
                        <a:pt x="35167" y="78168"/>
                        <a:pt x="26196" y="85285"/>
                      </a:cubicBezTo>
                      <a:cubicBezTo>
                        <a:pt x="17583" y="64054"/>
                        <a:pt x="8911" y="42762"/>
                        <a:pt x="0" y="20873"/>
                      </a:cubicBezTo>
                      <a:cubicBezTo>
                        <a:pt x="1675" y="19677"/>
                        <a:pt x="3708" y="18241"/>
                        <a:pt x="5742" y="16866"/>
                      </a:cubicBezTo>
                      <a:cubicBezTo>
                        <a:pt x="1196" y="21471"/>
                        <a:pt x="1854" y="26315"/>
                        <a:pt x="6519" y="31817"/>
                      </a:cubicBezTo>
                      <a:cubicBezTo>
                        <a:pt x="12021" y="30322"/>
                        <a:pt x="17763" y="28767"/>
                        <a:pt x="23744" y="27152"/>
                      </a:cubicBezTo>
                      <a:cubicBezTo>
                        <a:pt x="21172" y="20813"/>
                        <a:pt x="18780" y="15012"/>
                        <a:pt x="16387" y="9091"/>
                      </a:cubicBezTo>
                      <a:cubicBezTo>
                        <a:pt x="12560" y="11902"/>
                        <a:pt x="9091" y="14414"/>
                        <a:pt x="5682" y="16985"/>
                      </a:cubicBezTo>
                      <a:close/>
                      <a:moveTo>
                        <a:pt x="13875" y="50956"/>
                      </a:moveTo>
                      <a:cubicBezTo>
                        <a:pt x="18241" y="61721"/>
                        <a:pt x="22368" y="71888"/>
                        <a:pt x="26794" y="82654"/>
                      </a:cubicBezTo>
                      <a:cubicBezTo>
                        <a:pt x="28767" y="81218"/>
                        <a:pt x="30442" y="80261"/>
                        <a:pt x="31937" y="78946"/>
                      </a:cubicBezTo>
                      <a:cubicBezTo>
                        <a:pt x="42045" y="70273"/>
                        <a:pt x="41566" y="74879"/>
                        <a:pt x="35884" y="60824"/>
                      </a:cubicBezTo>
                      <a:cubicBezTo>
                        <a:pt x="30083" y="46291"/>
                        <a:pt x="29904" y="46351"/>
                        <a:pt x="16447" y="49879"/>
                      </a:cubicBezTo>
                      <a:cubicBezTo>
                        <a:pt x="15729" y="50118"/>
                        <a:pt x="15072" y="50477"/>
                        <a:pt x="13875" y="5095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08" name="Vrije vorm: vorm 9407">
                  <a:extLst>
                    <a:ext uri="{FF2B5EF4-FFF2-40B4-BE49-F238E27FC236}">
                      <a16:creationId xmlns:a16="http://schemas.microsoft.com/office/drawing/2014/main" id="{63A5C30A-2293-4F23-8EDE-C66F9474791D}"/>
                    </a:ext>
                  </a:extLst>
                </p:cNvPr>
                <p:cNvSpPr/>
                <p:nvPr/>
              </p:nvSpPr>
              <p:spPr>
                <a:xfrm>
                  <a:off x="5460359" y="1508498"/>
                  <a:ext cx="53647" cy="64950"/>
                </a:xfrm>
                <a:custGeom>
                  <a:avLst/>
                  <a:gdLst>
                    <a:gd name="connsiteX0" fmla="*/ 53647 w 53647"/>
                    <a:gd name="connsiteY0" fmla="*/ 49102 h 64950"/>
                    <a:gd name="connsiteX1" fmla="*/ 20873 w 53647"/>
                    <a:gd name="connsiteY1" fmla="*/ 64951 h 64950"/>
                    <a:gd name="connsiteX2" fmla="*/ 0 w 53647"/>
                    <a:gd name="connsiteY2" fmla="*/ 13696 h 64950"/>
                    <a:gd name="connsiteX3" fmla="*/ 33671 w 53647"/>
                    <a:gd name="connsiteY3" fmla="*/ 0 h 64950"/>
                    <a:gd name="connsiteX4" fmla="*/ 53647 w 53647"/>
                    <a:gd name="connsiteY4" fmla="*/ 49102 h 64950"/>
                    <a:gd name="connsiteX5" fmla="*/ 50477 w 53647"/>
                    <a:gd name="connsiteY5" fmla="*/ 45932 h 64950"/>
                    <a:gd name="connsiteX6" fmla="*/ 32775 w 53647"/>
                    <a:gd name="connsiteY6" fmla="*/ 2392 h 64950"/>
                    <a:gd name="connsiteX7" fmla="*/ 3768 w 53647"/>
                    <a:gd name="connsiteY7" fmla="*/ 14174 h 64950"/>
                    <a:gd name="connsiteX8" fmla="*/ 20335 w 53647"/>
                    <a:gd name="connsiteY8" fmla="*/ 54903 h 64950"/>
                    <a:gd name="connsiteX9" fmla="*/ 50477 w 53647"/>
                    <a:gd name="connsiteY9" fmla="*/ 45932 h 64950"/>
                    <a:gd name="connsiteX10" fmla="*/ 50777 w 53647"/>
                    <a:gd name="connsiteY10" fmla="*/ 48982 h 64950"/>
                    <a:gd name="connsiteX11" fmla="*/ 50178 w 53647"/>
                    <a:gd name="connsiteY11" fmla="*/ 47547 h 64950"/>
                    <a:gd name="connsiteX12" fmla="*/ 22189 w 53647"/>
                    <a:gd name="connsiteY12" fmla="*/ 55860 h 64950"/>
                    <a:gd name="connsiteX13" fmla="*/ 21950 w 53647"/>
                    <a:gd name="connsiteY13" fmla="*/ 62738 h 64950"/>
                    <a:gd name="connsiteX14" fmla="*/ 50777 w 53647"/>
                    <a:gd name="connsiteY14" fmla="*/ 48982 h 6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647" h="64950">
                      <a:moveTo>
                        <a:pt x="53647" y="49102"/>
                      </a:moveTo>
                      <a:cubicBezTo>
                        <a:pt x="42164" y="54604"/>
                        <a:pt x="31459" y="59807"/>
                        <a:pt x="20873" y="64951"/>
                      </a:cubicBezTo>
                      <a:cubicBezTo>
                        <a:pt x="14055" y="48205"/>
                        <a:pt x="7237" y="31399"/>
                        <a:pt x="0" y="13696"/>
                      </a:cubicBezTo>
                      <a:cubicBezTo>
                        <a:pt x="11423" y="9031"/>
                        <a:pt x="22488" y="4545"/>
                        <a:pt x="33671" y="0"/>
                      </a:cubicBezTo>
                      <a:cubicBezTo>
                        <a:pt x="40191" y="15909"/>
                        <a:pt x="46949" y="32595"/>
                        <a:pt x="53647" y="49102"/>
                      </a:cubicBezTo>
                      <a:close/>
                      <a:moveTo>
                        <a:pt x="50477" y="45932"/>
                      </a:moveTo>
                      <a:cubicBezTo>
                        <a:pt x="44257" y="30621"/>
                        <a:pt x="38337" y="16148"/>
                        <a:pt x="32775" y="2392"/>
                      </a:cubicBezTo>
                      <a:cubicBezTo>
                        <a:pt x="22667" y="6519"/>
                        <a:pt x="13038" y="10406"/>
                        <a:pt x="3768" y="14174"/>
                      </a:cubicBezTo>
                      <a:cubicBezTo>
                        <a:pt x="9510" y="28229"/>
                        <a:pt x="14832" y="41327"/>
                        <a:pt x="20335" y="54903"/>
                      </a:cubicBezTo>
                      <a:cubicBezTo>
                        <a:pt x="30502" y="51853"/>
                        <a:pt x="40310" y="48922"/>
                        <a:pt x="50477" y="45932"/>
                      </a:cubicBezTo>
                      <a:close/>
                      <a:moveTo>
                        <a:pt x="50777" y="48982"/>
                      </a:moveTo>
                      <a:cubicBezTo>
                        <a:pt x="50597" y="48504"/>
                        <a:pt x="50358" y="48025"/>
                        <a:pt x="50178" y="47547"/>
                      </a:cubicBezTo>
                      <a:cubicBezTo>
                        <a:pt x="40848" y="50298"/>
                        <a:pt x="31399" y="52810"/>
                        <a:pt x="22189" y="55860"/>
                      </a:cubicBezTo>
                      <a:cubicBezTo>
                        <a:pt x="19198" y="56817"/>
                        <a:pt x="19138" y="59628"/>
                        <a:pt x="21950" y="62738"/>
                      </a:cubicBezTo>
                      <a:cubicBezTo>
                        <a:pt x="31519" y="58192"/>
                        <a:pt x="41147" y="53587"/>
                        <a:pt x="50777" y="4898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09" name="Vrije vorm: vorm 9408">
                  <a:extLst>
                    <a:ext uri="{FF2B5EF4-FFF2-40B4-BE49-F238E27FC236}">
                      <a16:creationId xmlns:a16="http://schemas.microsoft.com/office/drawing/2014/main" id="{FFC3F635-C502-4C17-8064-1AB764E78DB2}"/>
                    </a:ext>
                  </a:extLst>
                </p:cNvPr>
                <p:cNvSpPr/>
                <p:nvPr/>
              </p:nvSpPr>
              <p:spPr>
                <a:xfrm>
                  <a:off x="5062043" y="1504431"/>
                  <a:ext cx="77510" cy="87318"/>
                </a:xfrm>
                <a:custGeom>
                  <a:avLst/>
                  <a:gdLst>
                    <a:gd name="connsiteX0" fmla="*/ 50298 w 77510"/>
                    <a:gd name="connsiteY0" fmla="*/ 0 h 87318"/>
                    <a:gd name="connsiteX1" fmla="*/ 77510 w 77510"/>
                    <a:gd name="connsiteY1" fmla="*/ 66865 h 87318"/>
                    <a:gd name="connsiteX2" fmla="*/ 27212 w 77510"/>
                    <a:gd name="connsiteY2" fmla="*/ 87319 h 87318"/>
                    <a:gd name="connsiteX3" fmla="*/ 0 w 77510"/>
                    <a:gd name="connsiteY3" fmla="*/ 20454 h 87318"/>
                    <a:gd name="connsiteX4" fmla="*/ 50298 w 77510"/>
                    <a:gd name="connsiteY4" fmla="*/ 0 h 87318"/>
                    <a:gd name="connsiteX5" fmla="*/ 75417 w 77510"/>
                    <a:gd name="connsiteY5" fmla="*/ 65967 h 87318"/>
                    <a:gd name="connsiteX6" fmla="*/ 49461 w 77510"/>
                    <a:gd name="connsiteY6" fmla="*/ 2093 h 87318"/>
                    <a:gd name="connsiteX7" fmla="*/ 2273 w 77510"/>
                    <a:gd name="connsiteY7" fmla="*/ 21291 h 87318"/>
                    <a:gd name="connsiteX8" fmla="*/ 28229 w 77510"/>
                    <a:gd name="connsiteY8" fmla="*/ 85166 h 87318"/>
                    <a:gd name="connsiteX9" fmla="*/ 75417 w 77510"/>
                    <a:gd name="connsiteY9" fmla="*/ 65967 h 8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510" h="87318">
                      <a:moveTo>
                        <a:pt x="50298" y="0"/>
                      </a:moveTo>
                      <a:cubicBezTo>
                        <a:pt x="59508" y="22547"/>
                        <a:pt x="68479" y="44676"/>
                        <a:pt x="77510" y="66865"/>
                      </a:cubicBezTo>
                      <a:cubicBezTo>
                        <a:pt x="60585" y="73742"/>
                        <a:pt x="43958" y="80501"/>
                        <a:pt x="27212" y="87319"/>
                      </a:cubicBezTo>
                      <a:cubicBezTo>
                        <a:pt x="18181" y="65130"/>
                        <a:pt x="9091" y="42822"/>
                        <a:pt x="0" y="20454"/>
                      </a:cubicBezTo>
                      <a:cubicBezTo>
                        <a:pt x="16567" y="13696"/>
                        <a:pt x="33313" y="6878"/>
                        <a:pt x="50298" y="0"/>
                      </a:cubicBezTo>
                      <a:close/>
                      <a:moveTo>
                        <a:pt x="75417" y="65967"/>
                      </a:moveTo>
                      <a:cubicBezTo>
                        <a:pt x="66565" y="44257"/>
                        <a:pt x="58132" y="23504"/>
                        <a:pt x="49461" y="2093"/>
                      </a:cubicBezTo>
                      <a:cubicBezTo>
                        <a:pt x="33552" y="8552"/>
                        <a:pt x="18002" y="14892"/>
                        <a:pt x="2273" y="21291"/>
                      </a:cubicBezTo>
                      <a:cubicBezTo>
                        <a:pt x="11005" y="42702"/>
                        <a:pt x="19557" y="63874"/>
                        <a:pt x="28229" y="85166"/>
                      </a:cubicBezTo>
                      <a:cubicBezTo>
                        <a:pt x="43958" y="78766"/>
                        <a:pt x="59448" y="72486"/>
                        <a:pt x="75417" y="6596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10" name="Vrije vorm: vorm 9409">
                  <a:extLst>
                    <a:ext uri="{FF2B5EF4-FFF2-40B4-BE49-F238E27FC236}">
                      <a16:creationId xmlns:a16="http://schemas.microsoft.com/office/drawing/2014/main" id="{17E8720F-F1B3-451F-86A8-50567C11F774}"/>
                    </a:ext>
                  </a:extLst>
                </p:cNvPr>
                <p:cNvSpPr/>
                <p:nvPr/>
              </p:nvSpPr>
              <p:spPr>
                <a:xfrm>
                  <a:off x="5015931" y="2009921"/>
                  <a:ext cx="75476" cy="92701"/>
                </a:xfrm>
                <a:custGeom>
                  <a:avLst/>
                  <a:gdLst>
                    <a:gd name="connsiteX0" fmla="*/ 26255 w 75476"/>
                    <a:gd name="connsiteY0" fmla="*/ 92701 h 92701"/>
                    <a:gd name="connsiteX1" fmla="*/ 0 w 75476"/>
                    <a:gd name="connsiteY1" fmla="*/ 28229 h 92701"/>
                    <a:gd name="connsiteX2" fmla="*/ 49700 w 75476"/>
                    <a:gd name="connsiteY2" fmla="*/ 0 h 92701"/>
                    <a:gd name="connsiteX3" fmla="*/ 75477 w 75476"/>
                    <a:gd name="connsiteY3" fmla="*/ 63396 h 92701"/>
                    <a:gd name="connsiteX4" fmla="*/ 26255 w 75476"/>
                    <a:gd name="connsiteY4" fmla="*/ 92701 h 92701"/>
                    <a:gd name="connsiteX5" fmla="*/ 48863 w 75476"/>
                    <a:gd name="connsiteY5" fmla="*/ 2033 h 92701"/>
                    <a:gd name="connsiteX6" fmla="*/ 2213 w 75476"/>
                    <a:gd name="connsiteY6" fmla="*/ 28528 h 92701"/>
                    <a:gd name="connsiteX7" fmla="*/ 27392 w 75476"/>
                    <a:gd name="connsiteY7" fmla="*/ 90428 h 92701"/>
                    <a:gd name="connsiteX8" fmla="*/ 73563 w 75476"/>
                    <a:gd name="connsiteY8" fmla="*/ 62798 h 92701"/>
                    <a:gd name="connsiteX9" fmla="*/ 48863 w 75476"/>
                    <a:gd name="connsiteY9" fmla="*/ 2033 h 92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476" h="92701">
                      <a:moveTo>
                        <a:pt x="26255" y="92701"/>
                      </a:moveTo>
                      <a:cubicBezTo>
                        <a:pt x="17464" y="71111"/>
                        <a:pt x="8792" y="49700"/>
                        <a:pt x="0" y="28229"/>
                      </a:cubicBezTo>
                      <a:cubicBezTo>
                        <a:pt x="16268" y="18959"/>
                        <a:pt x="32834" y="9569"/>
                        <a:pt x="49700" y="0"/>
                      </a:cubicBezTo>
                      <a:cubicBezTo>
                        <a:pt x="58252" y="21052"/>
                        <a:pt x="66864" y="42284"/>
                        <a:pt x="75477" y="63396"/>
                      </a:cubicBezTo>
                      <a:cubicBezTo>
                        <a:pt x="59209" y="73084"/>
                        <a:pt x="42882" y="82773"/>
                        <a:pt x="26255" y="92701"/>
                      </a:cubicBezTo>
                      <a:close/>
                      <a:moveTo>
                        <a:pt x="48863" y="2033"/>
                      </a:moveTo>
                      <a:cubicBezTo>
                        <a:pt x="32834" y="11124"/>
                        <a:pt x="17404" y="19916"/>
                        <a:pt x="2213" y="28528"/>
                      </a:cubicBezTo>
                      <a:cubicBezTo>
                        <a:pt x="10766" y="49520"/>
                        <a:pt x="19019" y="69855"/>
                        <a:pt x="27392" y="90428"/>
                      </a:cubicBezTo>
                      <a:cubicBezTo>
                        <a:pt x="43181" y="80979"/>
                        <a:pt x="58432" y="71888"/>
                        <a:pt x="73563" y="62798"/>
                      </a:cubicBezTo>
                      <a:cubicBezTo>
                        <a:pt x="65250" y="42284"/>
                        <a:pt x="57236" y="22607"/>
                        <a:pt x="48863" y="203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11" name="Vrije vorm: vorm 9410">
                  <a:extLst>
                    <a:ext uri="{FF2B5EF4-FFF2-40B4-BE49-F238E27FC236}">
                      <a16:creationId xmlns:a16="http://schemas.microsoft.com/office/drawing/2014/main" id="{C4F82436-FAED-486B-A860-51BE036CCC00}"/>
                    </a:ext>
                  </a:extLst>
                </p:cNvPr>
                <p:cNvSpPr/>
                <p:nvPr/>
              </p:nvSpPr>
              <p:spPr>
                <a:xfrm>
                  <a:off x="5394571" y="1463882"/>
                  <a:ext cx="55441" cy="65249"/>
                </a:xfrm>
                <a:custGeom>
                  <a:avLst/>
                  <a:gdLst>
                    <a:gd name="connsiteX0" fmla="*/ 20813 w 55441"/>
                    <a:gd name="connsiteY0" fmla="*/ 65250 h 65249"/>
                    <a:gd name="connsiteX1" fmla="*/ 0 w 55441"/>
                    <a:gd name="connsiteY1" fmla="*/ 14055 h 65249"/>
                    <a:gd name="connsiteX2" fmla="*/ 34629 w 55441"/>
                    <a:gd name="connsiteY2" fmla="*/ 0 h 65249"/>
                    <a:gd name="connsiteX3" fmla="*/ 55441 w 55441"/>
                    <a:gd name="connsiteY3" fmla="*/ 51195 h 65249"/>
                    <a:gd name="connsiteX4" fmla="*/ 20813 w 55441"/>
                    <a:gd name="connsiteY4" fmla="*/ 65250 h 65249"/>
                    <a:gd name="connsiteX5" fmla="*/ 2153 w 55441"/>
                    <a:gd name="connsiteY5" fmla="*/ 15012 h 65249"/>
                    <a:gd name="connsiteX6" fmla="*/ 21531 w 55441"/>
                    <a:gd name="connsiteY6" fmla="*/ 62678 h 65249"/>
                    <a:gd name="connsiteX7" fmla="*/ 50537 w 55441"/>
                    <a:gd name="connsiteY7" fmla="*/ 50776 h 65249"/>
                    <a:gd name="connsiteX8" fmla="*/ 52092 w 55441"/>
                    <a:gd name="connsiteY8" fmla="*/ 47906 h 65249"/>
                    <a:gd name="connsiteX9" fmla="*/ 48803 w 55441"/>
                    <a:gd name="connsiteY9" fmla="*/ 47367 h 65249"/>
                    <a:gd name="connsiteX10" fmla="*/ 28827 w 55441"/>
                    <a:gd name="connsiteY10" fmla="*/ 53826 h 65249"/>
                    <a:gd name="connsiteX11" fmla="*/ 12859 w 55441"/>
                    <a:gd name="connsiteY11" fmla="*/ 14593 h 65249"/>
                    <a:gd name="connsiteX12" fmla="*/ 13935 w 55441"/>
                    <a:gd name="connsiteY12" fmla="*/ 14174 h 65249"/>
                    <a:gd name="connsiteX13" fmla="*/ 29425 w 55441"/>
                    <a:gd name="connsiteY13" fmla="*/ 52331 h 65249"/>
                    <a:gd name="connsiteX14" fmla="*/ 51135 w 55441"/>
                    <a:gd name="connsiteY14" fmla="*/ 44855 h 65249"/>
                    <a:gd name="connsiteX15" fmla="*/ 33791 w 55441"/>
                    <a:gd name="connsiteY15" fmla="*/ 2213 h 65249"/>
                    <a:gd name="connsiteX16" fmla="*/ 2153 w 55441"/>
                    <a:gd name="connsiteY16" fmla="*/ 15012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441" h="65249">
                      <a:moveTo>
                        <a:pt x="20813" y="65250"/>
                      </a:moveTo>
                      <a:cubicBezTo>
                        <a:pt x="14115" y="48743"/>
                        <a:pt x="7177" y="31698"/>
                        <a:pt x="0" y="14055"/>
                      </a:cubicBezTo>
                      <a:cubicBezTo>
                        <a:pt x="11543" y="9330"/>
                        <a:pt x="23205" y="4605"/>
                        <a:pt x="34629" y="0"/>
                      </a:cubicBezTo>
                      <a:cubicBezTo>
                        <a:pt x="41387" y="16626"/>
                        <a:pt x="48205" y="33432"/>
                        <a:pt x="55441" y="51195"/>
                      </a:cubicBezTo>
                      <a:cubicBezTo>
                        <a:pt x="43899" y="55860"/>
                        <a:pt x="32416" y="60525"/>
                        <a:pt x="20813" y="65250"/>
                      </a:cubicBezTo>
                      <a:close/>
                      <a:moveTo>
                        <a:pt x="2153" y="15012"/>
                      </a:moveTo>
                      <a:cubicBezTo>
                        <a:pt x="8912" y="31638"/>
                        <a:pt x="15371" y="47487"/>
                        <a:pt x="21531" y="62678"/>
                      </a:cubicBezTo>
                      <a:cubicBezTo>
                        <a:pt x="31459" y="58611"/>
                        <a:pt x="41028" y="54783"/>
                        <a:pt x="50537" y="50776"/>
                      </a:cubicBezTo>
                      <a:cubicBezTo>
                        <a:pt x="51315" y="50417"/>
                        <a:pt x="51614" y="48862"/>
                        <a:pt x="52092" y="47906"/>
                      </a:cubicBezTo>
                      <a:cubicBezTo>
                        <a:pt x="50956" y="47726"/>
                        <a:pt x="49760" y="47068"/>
                        <a:pt x="48803" y="47367"/>
                      </a:cubicBezTo>
                      <a:cubicBezTo>
                        <a:pt x="41925" y="49461"/>
                        <a:pt x="35107" y="51793"/>
                        <a:pt x="28827" y="53826"/>
                      </a:cubicBezTo>
                      <a:cubicBezTo>
                        <a:pt x="23445" y="40609"/>
                        <a:pt x="18182" y="27571"/>
                        <a:pt x="12859" y="14593"/>
                      </a:cubicBezTo>
                      <a:cubicBezTo>
                        <a:pt x="13218" y="14473"/>
                        <a:pt x="13576" y="14294"/>
                        <a:pt x="13935" y="14174"/>
                      </a:cubicBezTo>
                      <a:cubicBezTo>
                        <a:pt x="19079" y="26734"/>
                        <a:pt x="24162" y="39353"/>
                        <a:pt x="29425" y="52331"/>
                      </a:cubicBezTo>
                      <a:cubicBezTo>
                        <a:pt x="36782" y="49819"/>
                        <a:pt x="43719" y="47427"/>
                        <a:pt x="51135" y="44855"/>
                      </a:cubicBezTo>
                      <a:cubicBezTo>
                        <a:pt x="45214" y="30262"/>
                        <a:pt x="39533" y="16268"/>
                        <a:pt x="33791" y="2213"/>
                      </a:cubicBezTo>
                      <a:cubicBezTo>
                        <a:pt x="23265" y="6459"/>
                        <a:pt x="13038" y="10586"/>
                        <a:pt x="2153" y="1501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12" name="Vrije vorm: vorm 9411">
                  <a:extLst>
                    <a:ext uri="{FF2B5EF4-FFF2-40B4-BE49-F238E27FC236}">
                      <a16:creationId xmlns:a16="http://schemas.microsoft.com/office/drawing/2014/main" id="{71663ECF-37CF-49AE-912A-495A786940FD}"/>
                    </a:ext>
                  </a:extLst>
                </p:cNvPr>
                <p:cNvSpPr/>
                <p:nvPr/>
              </p:nvSpPr>
              <p:spPr>
                <a:xfrm>
                  <a:off x="4792671" y="1184163"/>
                  <a:ext cx="49101" cy="80859"/>
                </a:xfrm>
                <a:custGeom>
                  <a:avLst/>
                  <a:gdLst>
                    <a:gd name="connsiteX0" fmla="*/ 25478 w 49101"/>
                    <a:gd name="connsiteY0" fmla="*/ 80859 h 80859"/>
                    <a:gd name="connsiteX1" fmla="*/ 0 w 49101"/>
                    <a:gd name="connsiteY1" fmla="*/ 18241 h 80859"/>
                    <a:gd name="connsiteX2" fmla="*/ 3110 w 49101"/>
                    <a:gd name="connsiteY2" fmla="*/ 15789 h 80859"/>
                    <a:gd name="connsiteX3" fmla="*/ 4067 w 49101"/>
                    <a:gd name="connsiteY3" fmla="*/ 24043 h 80859"/>
                    <a:gd name="connsiteX4" fmla="*/ 23624 w 49101"/>
                    <a:gd name="connsiteY4" fmla="*/ 72008 h 80859"/>
                    <a:gd name="connsiteX5" fmla="*/ 25896 w 49101"/>
                    <a:gd name="connsiteY5" fmla="*/ 77510 h 80859"/>
                    <a:gd name="connsiteX6" fmla="*/ 27810 w 49101"/>
                    <a:gd name="connsiteY6" fmla="*/ 77391 h 80859"/>
                    <a:gd name="connsiteX7" fmla="*/ 27691 w 49101"/>
                    <a:gd name="connsiteY7" fmla="*/ 72367 h 80859"/>
                    <a:gd name="connsiteX8" fmla="*/ 9031 w 49101"/>
                    <a:gd name="connsiteY8" fmla="*/ 26315 h 80859"/>
                    <a:gd name="connsiteX9" fmla="*/ 30143 w 49101"/>
                    <a:gd name="connsiteY9" fmla="*/ 21112 h 80859"/>
                    <a:gd name="connsiteX10" fmla="*/ 30442 w 49101"/>
                    <a:gd name="connsiteY10" fmla="*/ 22129 h 80859"/>
                    <a:gd name="connsiteX11" fmla="*/ 11004 w 49101"/>
                    <a:gd name="connsiteY11" fmla="*/ 27452 h 80859"/>
                    <a:gd name="connsiteX12" fmla="*/ 30203 w 49101"/>
                    <a:gd name="connsiteY12" fmla="*/ 74639 h 80859"/>
                    <a:gd name="connsiteX13" fmla="*/ 45812 w 49101"/>
                    <a:gd name="connsiteY13" fmla="*/ 59987 h 80859"/>
                    <a:gd name="connsiteX14" fmla="*/ 45812 w 49101"/>
                    <a:gd name="connsiteY14" fmla="*/ 53826 h 80859"/>
                    <a:gd name="connsiteX15" fmla="*/ 26554 w 49101"/>
                    <a:gd name="connsiteY15" fmla="*/ 6399 h 80859"/>
                    <a:gd name="connsiteX16" fmla="*/ 25059 w 49101"/>
                    <a:gd name="connsiteY16" fmla="*/ 0 h 80859"/>
                    <a:gd name="connsiteX17" fmla="*/ 49101 w 49101"/>
                    <a:gd name="connsiteY17" fmla="*/ 59149 h 80859"/>
                    <a:gd name="connsiteX18" fmla="*/ 25478 w 49101"/>
                    <a:gd name="connsiteY18" fmla="*/ 80859 h 80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101" h="80859">
                      <a:moveTo>
                        <a:pt x="25478" y="80859"/>
                      </a:moveTo>
                      <a:cubicBezTo>
                        <a:pt x="16985" y="59987"/>
                        <a:pt x="8552" y="39174"/>
                        <a:pt x="0" y="18241"/>
                      </a:cubicBezTo>
                      <a:cubicBezTo>
                        <a:pt x="1316" y="17225"/>
                        <a:pt x="2691" y="16088"/>
                        <a:pt x="3110" y="15789"/>
                      </a:cubicBezTo>
                      <a:cubicBezTo>
                        <a:pt x="3409" y="18361"/>
                        <a:pt x="3050" y="21471"/>
                        <a:pt x="4067" y="24043"/>
                      </a:cubicBezTo>
                      <a:cubicBezTo>
                        <a:pt x="10406" y="40071"/>
                        <a:pt x="17045" y="56039"/>
                        <a:pt x="23624" y="72008"/>
                      </a:cubicBezTo>
                      <a:cubicBezTo>
                        <a:pt x="24401" y="73862"/>
                        <a:pt x="25119" y="75656"/>
                        <a:pt x="25896" y="77510"/>
                      </a:cubicBezTo>
                      <a:cubicBezTo>
                        <a:pt x="26554" y="77450"/>
                        <a:pt x="27152" y="77450"/>
                        <a:pt x="27810" y="77391"/>
                      </a:cubicBezTo>
                      <a:cubicBezTo>
                        <a:pt x="27810" y="75716"/>
                        <a:pt x="28229" y="73802"/>
                        <a:pt x="27691" y="72367"/>
                      </a:cubicBezTo>
                      <a:cubicBezTo>
                        <a:pt x="21650" y="57116"/>
                        <a:pt x="15370" y="41925"/>
                        <a:pt x="9031" y="26315"/>
                      </a:cubicBezTo>
                      <a:cubicBezTo>
                        <a:pt x="15968" y="24581"/>
                        <a:pt x="23026" y="22846"/>
                        <a:pt x="30143" y="21112"/>
                      </a:cubicBezTo>
                      <a:cubicBezTo>
                        <a:pt x="30262" y="21471"/>
                        <a:pt x="30382" y="21830"/>
                        <a:pt x="30442" y="22129"/>
                      </a:cubicBezTo>
                      <a:cubicBezTo>
                        <a:pt x="24042" y="23863"/>
                        <a:pt x="17703" y="25597"/>
                        <a:pt x="11004" y="27452"/>
                      </a:cubicBezTo>
                      <a:cubicBezTo>
                        <a:pt x="17464" y="43300"/>
                        <a:pt x="23683" y="58611"/>
                        <a:pt x="30203" y="74639"/>
                      </a:cubicBezTo>
                      <a:cubicBezTo>
                        <a:pt x="35765" y="69556"/>
                        <a:pt x="41028" y="65070"/>
                        <a:pt x="45812" y="59987"/>
                      </a:cubicBezTo>
                      <a:cubicBezTo>
                        <a:pt x="46769" y="58970"/>
                        <a:pt x="46530" y="55681"/>
                        <a:pt x="45812" y="53826"/>
                      </a:cubicBezTo>
                      <a:cubicBezTo>
                        <a:pt x="39532" y="37978"/>
                        <a:pt x="33013" y="22188"/>
                        <a:pt x="26554" y="6399"/>
                      </a:cubicBezTo>
                      <a:cubicBezTo>
                        <a:pt x="25717" y="4426"/>
                        <a:pt x="24940" y="2392"/>
                        <a:pt x="25059" y="0"/>
                      </a:cubicBezTo>
                      <a:cubicBezTo>
                        <a:pt x="33073" y="19677"/>
                        <a:pt x="41088" y="39353"/>
                        <a:pt x="49101" y="59149"/>
                      </a:cubicBezTo>
                      <a:cubicBezTo>
                        <a:pt x="41386" y="66266"/>
                        <a:pt x="33492" y="73503"/>
                        <a:pt x="25478" y="8085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13" name="Vrije vorm: vorm 9412">
                  <a:extLst>
                    <a:ext uri="{FF2B5EF4-FFF2-40B4-BE49-F238E27FC236}">
                      <a16:creationId xmlns:a16="http://schemas.microsoft.com/office/drawing/2014/main" id="{3F64833F-44C9-4F86-AD6C-43A5F4E4CEEE}"/>
                    </a:ext>
                  </a:extLst>
                </p:cNvPr>
                <p:cNvSpPr/>
                <p:nvPr/>
              </p:nvSpPr>
              <p:spPr>
                <a:xfrm>
                  <a:off x="4820182" y="1147501"/>
                  <a:ext cx="51792" cy="90368"/>
                </a:xfrm>
                <a:custGeom>
                  <a:avLst/>
                  <a:gdLst>
                    <a:gd name="connsiteX0" fmla="*/ 5801 w 51792"/>
                    <a:gd name="connsiteY0" fmla="*/ 21232 h 90368"/>
                    <a:gd name="connsiteX1" fmla="*/ 4366 w 51792"/>
                    <a:gd name="connsiteY1" fmla="*/ 23504 h 90368"/>
                    <a:gd name="connsiteX2" fmla="*/ 2871 w 51792"/>
                    <a:gd name="connsiteY2" fmla="*/ 28947 h 90368"/>
                    <a:gd name="connsiteX3" fmla="*/ 7775 w 51792"/>
                    <a:gd name="connsiteY3" fmla="*/ 29664 h 90368"/>
                    <a:gd name="connsiteX4" fmla="*/ 32356 w 51792"/>
                    <a:gd name="connsiteY4" fmla="*/ 23743 h 90368"/>
                    <a:gd name="connsiteX5" fmla="*/ 24162 w 51792"/>
                    <a:gd name="connsiteY5" fmla="*/ 3648 h 90368"/>
                    <a:gd name="connsiteX6" fmla="*/ 18301 w 51792"/>
                    <a:gd name="connsiteY6" fmla="*/ 9091 h 90368"/>
                    <a:gd name="connsiteX7" fmla="*/ 24461 w 51792"/>
                    <a:gd name="connsiteY7" fmla="*/ 0 h 90368"/>
                    <a:gd name="connsiteX8" fmla="*/ 51793 w 51792"/>
                    <a:gd name="connsiteY8" fmla="*/ 67223 h 90368"/>
                    <a:gd name="connsiteX9" fmla="*/ 26435 w 51792"/>
                    <a:gd name="connsiteY9" fmla="*/ 90369 h 90368"/>
                    <a:gd name="connsiteX10" fmla="*/ 0 w 51792"/>
                    <a:gd name="connsiteY10" fmla="*/ 25418 h 90368"/>
                    <a:gd name="connsiteX11" fmla="*/ 5801 w 51792"/>
                    <a:gd name="connsiteY11" fmla="*/ 21232 h 90368"/>
                    <a:gd name="connsiteX12" fmla="*/ 4486 w 51792"/>
                    <a:gd name="connsiteY12" fmla="*/ 31997 h 90368"/>
                    <a:gd name="connsiteX13" fmla="*/ 13815 w 51792"/>
                    <a:gd name="connsiteY13" fmla="*/ 54843 h 90368"/>
                    <a:gd name="connsiteX14" fmla="*/ 31638 w 51792"/>
                    <a:gd name="connsiteY14" fmla="*/ 50298 h 90368"/>
                    <a:gd name="connsiteX15" fmla="*/ 41207 w 51792"/>
                    <a:gd name="connsiteY15" fmla="*/ 73862 h 90368"/>
                    <a:gd name="connsiteX16" fmla="*/ 46709 w 51792"/>
                    <a:gd name="connsiteY16" fmla="*/ 58073 h 90368"/>
                    <a:gd name="connsiteX17" fmla="*/ 40250 w 51792"/>
                    <a:gd name="connsiteY17" fmla="*/ 42284 h 90368"/>
                    <a:gd name="connsiteX18" fmla="*/ 33193 w 51792"/>
                    <a:gd name="connsiteY18" fmla="*/ 24999 h 90368"/>
                    <a:gd name="connsiteX19" fmla="*/ 4486 w 51792"/>
                    <a:gd name="connsiteY19" fmla="*/ 31997 h 90368"/>
                    <a:gd name="connsiteX20" fmla="*/ 14354 w 51792"/>
                    <a:gd name="connsiteY20" fmla="*/ 56099 h 90368"/>
                    <a:gd name="connsiteX21" fmla="*/ 27212 w 51792"/>
                    <a:gd name="connsiteY21" fmla="*/ 87677 h 90368"/>
                    <a:gd name="connsiteX22" fmla="*/ 37619 w 51792"/>
                    <a:gd name="connsiteY22" fmla="*/ 78048 h 90368"/>
                    <a:gd name="connsiteX23" fmla="*/ 38875 w 51792"/>
                    <a:gd name="connsiteY23" fmla="*/ 73144 h 90368"/>
                    <a:gd name="connsiteX24" fmla="*/ 30502 w 51792"/>
                    <a:gd name="connsiteY24" fmla="*/ 52152 h 90368"/>
                    <a:gd name="connsiteX25" fmla="*/ 14354 w 51792"/>
                    <a:gd name="connsiteY25" fmla="*/ 56099 h 90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1792" h="90368">
                      <a:moveTo>
                        <a:pt x="5801" y="21232"/>
                      </a:moveTo>
                      <a:cubicBezTo>
                        <a:pt x="5323" y="22009"/>
                        <a:pt x="4665" y="22667"/>
                        <a:pt x="4366" y="23504"/>
                      </a:cubicBezTo>
                      <a:cubicBezTo>
                        <a:pt x="3768" y="25298"/>
                        <a:pt x="3349" y="27152"/>
                        <a:pt x="2871" y="28947"/>
                      </a:cubicBezTo>
                      <a:cubicBezTo>
                        <a:pt x="4486" y="29246"/>
                        <a:pt x="6280" y="30023"/>
                        <a:pt x="7775" y="29664"/>
                      </a:cubicBezTo>
                      <a:cubicBezTo>
                        <a:pt x="15909" y="27870"/>
                        <a:pt x="23983" y="25777"/>
                        <a:pt x="32356" y="23743"/>
                      </a:cubicBezTo>
                      <a:cubicBezTo>
                        <a:pt x="29605" y="16925"/>
                        <a:pt x="26973" y="10526"/>
                        <a:pt x="24162" y="3648"/>
                      </a:cubicBezTo>
                      <a:cubicBezTo>
                        <a:pt x="22009" y="5622"/>
                        <a:pt x="20155" y="7356"/>
                        <a:pt x="18301" y="9091"/>
                      </a:cubicBezTo>
                      <a:cubicBezTo>
                        <a:pt x="20215" y="6280"/>
                        <a:pt x="22129" y="3409"/>
                        <a:pt x="24461" y="0"/>
                      </a:cubicBezTo>
                      <a:cubicBezTo>
                        <a:pt x="33791" y="22906"/>
                        <a:pt x="42822" y="45095"/>
                        <a:pt x="51793" y="67223"/>
                      </a:cubicBezTo>
                      <a:cubicBezTo>
                        <a:pt x="43420" y="74879"/>
                        <a:pt x="35107" y="82474"/>
                        <a:pt x="26435" y="90369"/>
                      </a:cubicBezTo>
                      <a:cubicBezTo>
                        <a:pt x="17703" y="68958"/>
                        <a:pt x="8971" y="47487"/>
                        <a:pt x="0" y="25418"/>
                      </a:cubicBezTo>
                      <a:cubicBezTo>
                        <a:pt x="1794" y="24102"/>
                        <a:pt x="3768" y="22667"/>
                        <a:pt x="5801" y="21232"/>
                      </a:cubicBezTo>
                      <a:close/>
                      <a:moveTo>
                        <a:pt x="4486" y="31997"/>
                      </a:moveTo>
                      <a:cubicBezTo>
                        <a:pt x="7835" y="40190"/>
                        <a:pt x="10765" y="47427"/>
                        <a:pt x="13815" y="54843"/>
                      </a:cubicBezTo>
                      <a:cubicBezTo>
                        <a:pt x="19916" y="53288"/>
                        <a:pt x="25657" y="51793"/>
                        <a:pt x="31638" y="50298"/>
                      </a:cubicBezTo>
                      <a:cubicBezTo>
                        <a:pt x="34868" y="58192"/>
                        <a:pt x="38037" y="66027"/>
                        <a:pt x="41207" y="73862"/>
                      </a:cubicBezTo>
                      <a:cubicBezTo>
                        <a:pt x="50417" y="68718"/>
                        <a:pt x="50716" y="67941"/>
                        <a:pt x="46709" y="58073"/>
                      </a:cubicBezTo>
                      <a:cubicBezTo>
                        <a:pt x="44556" y="52810"/>
                        <a:pt x="42403" y="47547"/>
                        <a:pt x="40250" y="42284"/>
                      </a:cubicBezTo>
                      <a:cubicBezTo>
                        <a:pt x="37918" y="36542"/>
                        <a:pt x="35585" y="30741"/>
                        <a:pt x="33193" y="24999"/>
                      </a:cubicBezTo>
                      <a:cubicBezTo>
                        <a:pt x="23205" y="27392"/>
                        <a:pt x="13995" y="29664"/>
                        <a:pt x="4486" y="31997"/>
                      </a:cubicBezTo>
                      <a:close/>
                      <a:moveTo>
                        <a:pt x="14354" y="56099"/>
                      </a:moveTo>
                      <a:cubicBezTo>
                        <a:pt x="18780" y="66984"/>
                        <a:pt x="22906" y="77091"/>
                        <a:pt x="27212" y="87677"/>
                      </a:cubicBezTo>
                      <a:cubicBezTo>
                        <a:pt x="30980" y="84268"/>
                        <a:pt x="34509" y="81338"/>
                        <a:pt x="37619" y="78048"/>
                      </a:cubicBezTo>
                      <a:cubicBezTo>
                        <a:pt x="38636" y="76972"/>
                        <a:pt x="39353" y="74520"/>
                        <a:pt x="38875" y="73144"/>
                      </a:cubicBezTo>
                      <a:cubicBezTo>
                        <a:pt x="36363" y="66147"/>
                        <a:pt x="33432" y="59329"/>
                        <a:pt x="30502" y="52152"/>
                      </a:cubicBezTo>
                      <a:cubicBezTo>
                        <a:pt x="24880" y="53527"/>
                        <a:pt x="19796" y="54783"/>
                        <a:pt x="14354" y="5609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14" name="Vrije vorm: vorm 9413">
                  <a:extLst>
                    <a:ext uri="{FF2B5EF4-FFF2-40B4-BE49-F238E27FC236}">
                      <a16:creationId xmlns:a16="http://schemas.microsoft.com/office/drawing/2014/main" id="{6484EE27-9512-4FA6-9D09-DE2A693ADF5D}"/>
                    </a:ext>
                  </a:extLst>
                </p:cNvPr>
                <p:cNvSpPr/>
                <p:nvPr/>
              </p:nvSpPr>
              <p:spPr>
                <a:xfrm>
                  <a:off x="5338651" y="1833849"/>
                  <a:ext cx="68718" cy="88036"/>
                </a:xfrm>
                <a:custGeom>
                  <a:avLst/>
                  <a:gdLst>
                    <a:gd name="connsiteX0" fmla="*/ 57475 w 68718"/>
                    <a:gd name="connsiteY0" fmla="*/ 68300 h 88036"/>
                    <a:gd name="connsiteX1" fmla="*/ 25777 w 68718"/>
                    <a:gd name="connsiteY1" fmla="*/ 88036 h 88036"/>
                    <a:gd name="connsiteX2" fmla="*/ 0 w 68718"/>
                    <a:gd name="connsiteY2" fmla="*/ 24700 h 88036"/>
                    <a:gd name="connsiteX3" fmla="*/ 43360 w 68718"/>
                    <a:gd name="connsiteY3" fmla="*/ 0 h 88036"/>
                    <a:gd name="connsiteX4" fmla="*/ 68718 w 68718"/>
                    <a:gd name="connsiteY4" fmla="*/ 62319 h 88036"/>
                    <a:gd name="connsiteX5" fmla="*/ 57295 w 68718"/>
                    <a:gd name="connsiteY5" fmla="*/ 68419 h 88036"/>
                    <a:gd name="connsiteX6" fmla="*/ 66446 w 68718"/>
                    <a:gd name="connsiteY6" fmla="*/ 60944 h 88036"/>
                    <a:gd name="connsiteX7" fmla="*/ 42523 w 68718"/>
                    <a:gd name="connsiteY7" fmla="*/ 2153 h 88036"/>
                    <a:gd name="connsiteX8" fmla="*/ 25717 w 68718"/>
                    <a:gd name="connsiteY8" fmla="*/ 11543 h 88036"/>
                    <a:gd name="connsiteX9" fmla="*/ 49879 w 68718"/>
                    <a:gd name="connsiteY9" fmla="*/ 70872 h 88036"/>
                    <a:gd name="connsiteX10" fmla="*/ 57475 w 68718"/>
                    <a:gd name="connsiteY10" fmla="*/ 68300 h 88036"/>
                    <a:gd name="connsiteX11" fmla="*/ 26375 w 68718"/>
                    <a:gd name="connsiteY11" fmla="*/ 85883 h 88036"/>
                    <a:gd name="connsiteX12" fmla="*/ 44855 w 68718"/>
                    <a:gd name="connsiteY12" fmla="*/ 74819 h 88036"/>
                    <a:gd name="connsiteX13" fmla="*/ 46889 w 68718"/>
                    <a:gd name="connsiteY13" fmla="*/ 66924 h 88036"/>
                    <a:gd name="connsiteX14" fmla="*/ 35167 w 68718"/>
                    <a:gd name="connsiteY14" fmla="*/ 38157 h 88036"/>
                    <a:gd name="connsiteX15" fmla="*/ 24700 w 68718"/>
                    <a:gd name="connsiteY15" fmla="*/ 12440 h 88036"/>
                    <a:gd name="connsiteX16" fmla="*/ 12260 w 68718"/>
                    <a:gd name="connsiteY16" fmla="*/ 19198 h 88036"/>
                    <a:gd name="connsiteX17" fmla="*/ 6579 w 68718"/>
                    <a:gd name="connsiteY17" fmla="*/ 37260 h 88036"/>
                    <a:gd name="connsiteX18" fmla="*/ 12500 w 68718"/>
                    <a:gd name="connsiteY18" fmla="*/ 51972 h 88036"/>
                    <a:gd name="connsiteX19" fmla="*/ 26375 w 68718"/>
                    <a:gd name="connsiteY19" fmla="*/ 85883 h 8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718" h="88036">
                      <a:moveTo>
                        <a:pt x="57475" y="68300"/>
                      </a:moveTo>
                      <a:cubicBezTo>
                        <a:pt x="46949" y="74879"/>
                        <a:pt x="36363" y="81457"/>
                        <a:pt x="25777" y="88036"/>
                      </a:cubicBezTo>
                      <a:cubicBezTo>
                        <a:pt x="17165" y="66924"/>
                        <a:pt x="8672" y="45932"/>
                        <a:pt x="0" y="24700"/>
                      </a:cubicBezTo>
                      <a:cubicBezTo>
                        <a:pt x="14473" y="16447"/>
                        <a:pt x="28887" y="8253"/>
                        <a:pt x="43360" y="0"/>
                      </a:cubicBezTo>
                      <a:cubicBezTo>
                        <a:pt x="51733" y="20574"/>
                        <a:pt x="60166" y="41267"/>
                        <a:pt x="68718" y="62319"/>
                      </a:cubicBezTo>
                      <a:cubicBezTo>
                        <a:pt x="64831" y="64412"/>
                        <a:pt x="61063" y="66446"/>
                        <a:pt x="57295" y="68419"/>
                      </a:cubicBezTo>
                      <a:cubicBezTo>
                        <a:pt x="60286" y="65967"/>
                        <a:pt x="63336" y="63515"/>
                        <a:pt x="66446" y="60944"/>
                      </a:cubicBezTo>
                      <a:cubicBezTo>
                        <a:pt x="58491" y="41327"/>
                        <a:pt x="50657" y="22069"/>
                        <a:pt x="42523" y="2153"/>
                      </a:cubicBezTo>
                      <a:cubicBezTo>
                        <a:pt x="36782" y="5383"/>
                        <a:pt x="31339" y="8433"/>
                        <a:pt x="25717" y="11543"/>
                      </a:cubicBezTo>
                      <a:cubicBezTo>
                        <a:pt x="33911" y="31698"/>
                        <a:pt x="41925" y="51315"/>
                        <a:pt x="49879" y="70872"/>
                      </a:cubicBezTo>
                      <a:cubicBezTo>
                        <a:pt x="52750" y="69915"/>
                        <a:pt x="55142" y="69077"/>
                        <a:pt x="57475" y="68300"/>
                      </a:cubicBezTo>
                      <a:close/>
                      <a:moveTo>
                        <a:pt x="26375" y="85883"/>
                      </a:moveTo>
                      <a:cubicBezTo>
                        <a:pt x="33014" y="81816"/>
                        <a:pt x="38755" y="77869"/>
                        <a:pt x="44855" y="74819"/>
                      </a:cubicBezTo>
                      <a:cubicBezTo>
                        <a:pt x="48683" y="72905"/>
                        <a:pt x="48563" y="70752"/>
                        <a:pt x="46889" y="66924"/>
                      </a:cubicBezTo>
                      <a:cubicBezTo>
                        <a:pt x="42822" y="57415"/>
                        <a:pt x="39054" y="47726"/>
                        <a:pt x="35167" y="38157"/>
                      </a:cubicBezTo>
                      <a:cubicBezTo>
                        <a:pt x="31758" y="29724"/>
                        <a:pt x="28349" y="21351"/>
                        <a:pt x="24700" y="12440"/>
                      </a:cubicBezTo>
                      <a:cubicBezTo>
                        <a:pt x="20215" y="14892"/>
                        <a:pt x="16267" y="17045"/>
                        <a:pt x="12260" y="19198"/>
                      </a:cubicBezTo>
                      <a:cubicBezTo>
                        <a:pt x="1615" y="24880"/>
                        <a:pt x="1615" y="24880"/>
                        <a:pt x="6579" y="37260"/>
                      </a:cubicBezTo>
                      <a:cubicBezTo>
                        <a:pt x="8552" y="42164"/>
                        <a:pt x="10526" y="47068"/>
                        <a:pt x="12500" y="51972"/>
                      </a:cubicBezTo>
                      <a:cubicBezTo>
                        <a:pt x="17045" y="63037"/>
                        <a:pt x="21530" y="74101"/>
                        <a:pt x="26375" y="8588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15" name="Vrije vorm: vorm 9414">
                  <a:extLst>
                    <a:ext uri="{FF2B5EF4-FFF2-40B4-BE49-F238E27FC236}">
                      <a16:creationId xmlns:a16="http://schemas.microsoft.com/office/drawing/2014/main" id="{557572C2-8969-4B21-9B2F-EB51CED4707E}"/>
                    </a:ext>
                  </a:extLst>
                </p:cNvPr>
                <p:cNvSpPr/>
                <p:nvPr/>
              </p:nvSpPr>
              <p:spPr>
                <a:xfrm>
                  <a:off x="5123764" y="1480209"/>
                  <a:ext cx="74818" cy="85105"/>
                </a:xfrm>
                <a:custGeom>
                  <a:avLst/>
                  <a:gdLst>
                    <a:gd name="connsiteX0" fmla="*/ 74819 w 74818"/>
                    <a:gd name="connsiteY0" fmla="*/ 65489 h 85105"/>
                    <a:gd name="connsiteX1" fmla="*/ 26614 w 74818"/>
                    <a:gd name="connsiteY1" fmla="*/ 85106 h 85105"/>
                    <a:gd name="connsiteX2" fmla="*/ 0 w 74818"/>
                    <a:gd name="connsiteY2" fmla="*/ 19617 h 85105"/>
                    <a:gd name="connsiteX3" fmla="*/ 48205 w 74818"/>
                    <a:gd name="connsiteY3" fmla="*/ 0 h 85105"/>
                    <a:gd name="connsiteX4" fmla="*/ 74819 w 74818"/>
                    <a:gd name="connsiteY4" fmla="*/ 65489 h 85105"/>
                    <a:gd name="connsiteX5" fmla="*/ 72666 w 74818"/>
                    <a:gd name="connsiteY5" fmla="*/ 64472 h 85105"/>
                    <a:gd name="connsiteX6" fmla="*/ 47307 w 74818"/>
                    <a:gd name="connsiteY6" fmla="*/ 2213 h 85105"/>
                    <a:gd name="connsiteX7" fmla="*/ 2333 w 74818"/>
                    <a:gd name="connsiteY7" fmla="*/ 20514 h 85105"/>
                    <a:gd name="connsiteX8" fmla="*/ 27691 w 74818"/>
                    <a:gd name="connsiteY8" fmla="*/ 82773 h 85105"/>
                    <a:gd name="connsiteX9" fmla="*/ 72666 w 74818"/>
                    <a:gd name="connsiteY9" fmla="*/ 64472 h 85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18" h="85105">
                      <a:moveTo>
                        <a:pt x="74819" y="65489"/>
                      </a:moveTo>
                      <a:cubicBezTo>
                        <a:pt x="58671" y="72068"/>
                        <a:pt x="42762" y="78527"/>
                        <a:pt x="26614" y="85106"/>
                      </a:cubicBezTo>
                      <a:cubicBezTo>
                        <a:pt x="17763" y="63396"/>
                        <a:pt x="8851" y="41446"/>
                        <a:pt x="0" y="19617"/>
                      </a:cubicBezTo>
                      <a:cubicBezTo>
                        <a:pt x="15909" y="13158"/>
                        <a:pt x="31997" y="6579"/>
                        <a:pt x="48205" y="0"/>
                      </a:cubicBezTo>
                      <a:cubicBezTo>
                        <a:pt x="57116" y="21949"/>
                        <a:pt x="65967" y="43659"/>
                        <a:pt x="74819" y="65489"/>
                      </a:cubicBezTo>
                      <a:close/>
                      <a:moveTo>
                        <a:pt x="72666" y="64472"/>
                      </a:moveTo>
                      <a:cubicBezTo>
                        <a:pt x="64053" y="43360"/>
                        <a:pt x="55800" y="23026"/>
                        <a:pt x="47307" y="2213"/>
                      </a:cubicBezTo>
                      <a:cubicBezTo>
                        <a:pt x="32116" y="8373"/>
                        <a:pt x="17344" y="14414"/>
                        <a:pt x="2333" y="20514"/>
                      </a:cubicBezTo>
                      <a:cubicBezTo>
                        <a:pt x="10825" y="41327"/>
                        <a:pt x="19258" y="62080"/>
                        <a:pt x="27691" y="82773"/>
                      </a:cubicBezTo>
                      <a:cubicBezTo>
                        <a:pt x="42762" y="76673"/>
                        <a:pt x="57355" y="70692"/>
                        <a:pt x="72666" y="6447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16" name="Vrije vorm: vorm 9415">
                  <a:extLst>
                    <a:ext uri="{FF2B5EF4-FFF2-40B4-BE49-F238E27FC236}">
                      <a16:creationId xmlns:a16="http://schemas.microsoft.com/office/drawing/2014/main" id="{F8ABF363-0B44-4058-A503-1BC9279979C3}"/>
                    </a:ext>
                  </a:extLst>
                </p:cNvPr>
                <p:cNvSpPr/>
                <p:nvPr/>
              </p:nvSpPr>
              <p:spPr>
                <a:xfrm>
                  <a:off x="5040094" y="1700000"/>
                  <a:ext cx="56936" cy="71290"/>
                </a:xfrm>
                <a:custGeom>
                  <a:avLst/>
                  <a:gdLst>
                    <a:gd name="connsiteX0" fmla="*/ 26375 w 56936"/>
                    <a:gd name="connsiteY0" fmla="*/ 69556 h 71290"/>
                    <a:gd name="connsiteX1" fmla="*/ 52869 w 56936"/>
                    <a:gd name="connsiteY1" fmla="*/ 64113 h 71290"/>
                    <a:gd name="connsiteX2" fmla="*/ 53109 w 56936"/>
                    <a:gd name="connsiteY2" fmla="*/ 65190 h 71290"/>
                    <a:gd name="connsiteX3" fmla="*/ 25537 w 56936"/>
                    <a:gd name="connsiteY3" fmla="*/ 71290 h 71290"/>
                    <a:gd name="connsiteX4" fmla="*/ 0 w 56936"/>
                    <a:gd name="connsiteY4" fmla="*/ 8493 h 71290"/>
                    <a:gd name="connsiteX5" fmla="*/ 30741 w 56936"/>
                    <a:gd name="connsiteY5" fmla="*/ 0 h 71290"/>
                    <a:gd name="connsiteX6" fmla="*/ 56936 w 56936"/>
                    <a:gd name="connsiteY6" fmla="*/ 64353 h 71290"/>
                    <a:gd name="connsiteX7" fmla="*/ 55920 w 56936"/>
                    <a:gd name="connsiteY7" fmla="*/ 64771 h 71290"/>
                    <a:gd name="connsiteX8" fmla="*/ 30203 w 56936"/>
                    <a:gd name="connsiteY8" fmla="*/ 1615 h 71290"/>
                    <a:gd name="connsiteX9" fmla="*/ 2273 w 56936"/>
                    <a:gd name="connsiteY9" fmla="*/ 9390 h 71290"/>
                    <a:gd name="connsiteX10" fmla="*/ 4306 w 56936"/>
                    <a:gd name="connsiteY10" fmla="*/ 15430 h 71290"/>
                    <a:gd name="connsiteX11" fmla="*/ 28588 w 56936"/>
                    <a:gd name="connsiteY11" fmla="*/ 5562 h 71290"/>
                    <a:gd name="connsiteX12" fmla="*/ 29245 w 56936"/>
                    <a:gd name="connsiteY12" fmla="*/ 6997 h 71290"/>
                    <a:gd name="connsiteX13" fmla="*/ 11961 w 56936"/>
                    <a:gd name="connsiteY13" fmla="*/ 14055 h 71290"/>
                    <a:gd name="connsiteX14" fmla="*/ 8194 w 56936"/>
                    <a:gd name="connsiteY14" fmla="*/ 24940 h 71290"/>
                    <a:gd name="connsiteX15" fmla="*/ 26375 w 56936"/>
                    <a:gd name="connsiteY15" fmla="*/ 69556 h 71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936" h="71290">
                      <a:moveTo>
                        <a:pt x="26375" y="69556"/>
                      </a:moveTo>
                      <a:cubicBezTo>
                        <a:pt x="35526" y="67642"/>
                        <a:pt x="44197" y="65907"/>
                        <a:pt x="52869" y="64113"/>
                      </a:cubicBezTo>
                      <a:cubicBezTo>
                        <a:pt x="52929" y="64472"/>
                        <a:pt x="53049" y="64831"/>
                        <a:pt x="53109" y="65190"/>
                      </a:cubicBezTo>
                      <a:cubicBezTo>
                        <a:pt x="43958" y="67223"/>
                        <a:pt x="34748" y="69257"/>
                        <a:pt x="25537" y="71290"/>
                      </a:cubicBezTo>
                      <a:cubicBezTo>
                        <a:pt x="16985" y="50298"/>
                        <a:pt x="8493" y="29425"/>
                        <a:pt x="0" y="8493"/>
                      </a:cubicBezTo>
                      <a:cubicBezTo>
                        <a:pt x="10227" y="5682"/>
                        <a:pt x="20514" y="2811"/>
                        <a:pt x="30741" y="0"/>
                      </a:cubicBezTo>
                      <a:cubicBezTo>
                        <a:pt x="39473" y="21411"/>
                        <a:pt x="48205" y="42882"/>
                        <a:pt x="56936" y="64353"/>
                      </a:cubicBezTo>
                      <a:cubicBezTo>
                        <a:pt x="56577" y="64472"/>
                        <a:pt x="56219" y="64652"/>
                        <a:pt x="55920" y="64771"/>
                      </a:cubicBezTo>
                      <a:cubicBezTo>
                        <a:pt x="47427" y="43839"/>
                        <a:pt x="38875" y="22906"/>
                        <a:pt x="30203" y="1615"/>
                      </a:cubicBezTo>
                      <a:cubicBezTo>
                        <a:pt x="20633" y="4246"/>
                        <a:pt x="11722" y="6758"/>
                        <a:pt x="2273" y="9390"/>
                      </a:cubicBezTo>
                      <a:cubicBezTo>
                        <a:pt x="3050" y="11603"/>
                        <a:pt x="3648" y="13397"/>
                        <a:pt x="4306" y="15430"/>
                      </a:cubicBezTo>
                      <a:cubicBezTo>
                        <a:pt x="12679" y="12021"/>
                        <a:pt x="20633" y="8792"/>
                        <a:pt x="28588" y="5562"/>
                      </a:cubicBezTo>
                      <a:cubicBezTo>
                        <a:pt x="28827" y="6040"/>
                        <a:pt x="29006" y="6519"/>
                        <a:pt x="29245" y="6997"/>
                      </a:cubicBezTo>
                      <a:cubicBezTo>
                        <a:pt x="23504" y="9330"/>
                        <a:pt x="17703" y="11603"/>
                        <a:pt x="11961" y="14055"/>
                      </a:cubicBezTo>
                      <a:cubicBezTo>
                        <a:pt x="4964" y="17045"/>
                        <a:pt x="4964" y="17105"/>
                        <a:pt x="8194" y="24940"/>
                      </a:cubicBezTo>
                      <a:cubicBezTo>
                        <a:pt x="14234" y="39652"/>
                        <a:pt x="20274" y="54484"/>
                        <a:pt x="26375" y="6955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17" name="Vrije vorm: vorm 9416">
                  <a:extLst>
                    <a:ext uri="{FF2B5EF4-FFF2-40B4-BE49-F238E27FC236}">
                      <a16:creationId xmlns:a16="http://schemas.microsoft.com/office/drawing/2014/main" id="{9B6D56AE-8015-41C8-BFCD-D9B8E03E079E}"/>
                    </a:ext>
                  </a:extLst>
                </p:cNvPr>
                <p:cNvSpPr/>
                <p:nvPr/>
              </p:nvSpPr>
              <p:spPr>
                <a:xfrm>
                  <a:off x="4963361" y="1087634"/>
                  <a:ext cx="74460" cy="78945"/>
                </a:xfrm>
                <a:custGeom>
                  <a:avLst/>
                  <a:gdLst>
                    <a:gd name="connsiteX0" fmla="*/ 27392 w 74460"/>
                    <a:gd name="connsiteY0" fmla="*/ 78946 h 78945"/>
                    <a:gd name="connsiteX1" fmla="*/ 0 w 74460"/>
                    <a:gd name="connsiteY1" fmla="*/ 11603 h 78945"/>
                    <a:gd name="connsiteX2" fmla="*/ 51614 w 74460"/>
                    <a:gd name="connsiteY2" fmla="*/ 0 h 78945"/>
                    <a:gd name="connsiteX3" fmla="*/ 51913 w 74460"/>
                    <a:gd name="connsiteY3" fmla="*/ 1136 h 78945"/>
                    <a:gd name="connsiteX4" fmla="*/ 2333 w 74460"/>
                    <a:gd name="connsiteY4" fmla="*/ 12500 h 78945"/>
                    <a:gd name="connsiteX5" fmla="*/ 18421 w 74460"/>
                    <a:gd name="connsiteY5" fmla="*/ 52092 h 78945"/>
                    <a:gd name="connsiteX6" fmla="*/ 64233 w 74460"/>
                    <a:gd name="connsiteY6" fmla="*/ 41147 h 78945"/>
                    <a:gd name="connsiteX7" fmla="*/ 64532 w 74460"/>
                    <a:gd name="connsiteY7" fmla="*/ 42284 h 78945"/>
                    <a:gd name="connsiteX8" fmla="*/ 18959 w 74460"/>
                    <a:gd name="connsiteY8" fmla="*/ 53468 h 78945"/>
                    <a:gd name="connsiteX9" fmla="*/ 26973 w 74460"/>
                    <a:gd name="connsiteY9" fmla="*/ 73144 h 78945"/>
                    <a:gd name="connsiteX10" fmla="*/ 60226 w 74460"/>
                    <a:gd name="connsiteY10" fmla="*/ 65010 h 78945"/>
                    <a:gd name="connsiteX11" fmla="*/ 60525 w 74460"/>
                    <a:gd name="connsiteY11" fmla="*/ 66147 h 78945"/>
                    <a:gd name="connsiteX12" fmla="*/ 27511 w 74460"/>
                    <a:gd name="connsiteY12" fmla="*/ 74580 h 78945"/>
                    <a:gd name="connsiteX13" fmla="*/ 28169 w 74460"/>
                    <a:gd name="connsiteY13" fmla="*/ 76972 h 78945"/>
                    <a:gd name="connsiteX14" fmla="*/ 74161 w 74460"/>
                    <a:gd name="connsiteY14" fmla="*/ 65668 h 78945"/>
                    <a:gd name="connsiteX15" fmla="*/ 74460 w 74460"/>
                    <a:gd name="connsiteY15" fmla="*/ 66745 h 78945"/>
                    <a:gd name="connsiteX16" fmla="*/ 27392 w 74460"/>
                    <a:gd name="connsiteY16" fmla="*/ 78946 h 7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460" h="78945">
                      <a:moveTo>
                        <a:pt x="27392" y="78946"/>
                      </a:moveTo>
                      <a:cubicBezTo>
                        <a:pt x="18301" y="56518"/>
                        <a:pt x="9210" y="34270"/>
                        <a:pt x="0" y="11603"/>
                      </a:cubicBezTo>
                      <a:cubicBezTo>
                        <a:pt x="17165" y="7715"/>
                        <a:pt x="34389" y="3887"/>
                        <a:pt x="51614" y="0"/>
                      </a:cubicBezTo>
                      <a:cubicBezTo>
                        <a:pt x="51733" y="359"/>
                        <a:pt x="51793" y="778"/>
                        <a:pt x="51913" y="1136"/>
                      </a:cubicBezTo>
                      <a:cubicBezTo>
                        <a:pt x="35526" y="4904"/>
                        <a:pt x="19138" y="8672"/>
                        <a:pt x="2333" y="12500"/>
                      </a:cubicBezTo>
                      <a:cubicBezTo>
                        <a:pt x="7655" y="25657"/>
                        <a:pt x="12918" y="38516"/>
                        <a:pt x="18421" y="52092"/>
                      </a:cubicBezTo>
                      <a:cubicBezTo>
                        <a:pt x="33612" y="48444"/>
                        <a:pt x="48922" y="44796"/>
                        <a:pt x="64233" y="41147"/>
                      </a:cubicBezTo>
                      <a:cubicBezTo>
                        <a:pt x="64353" y="41506"/>
                        <a:pt x="64412" y="41925"/>
                        <a:pt x="64532" y="42284"/>
                      </a:cubicBezTo>
                      <a:cubicBezTo>
                        <a:pt x="49461" y="45992"/>
                        <a:pt x="34449" y="49640"/>
                        <a:pt x="18959" y="53468"/>
                      </a:cubicBezTo>
                      <a:cubicBezTo>
                        <a:pt x="21590" y="59987"/>
                        <a:pt x="24162" y="66266"/>
                        <a:pt x="26973" y="73144"/>
                      </a:cubicBezTo>
                      <a:cubicBezTo>
                        <a:pt x="37977" y="70453"/>
                        <a:pt x="49102" y="67762"/>
                        <a:pt x="60226" y="65010"/>
                      </a:cubicBezTo>
                      <a:cubicBezTo>
                        <a:pt x="60346" y="65369"/>
                        <a:pt x="60405" y="65728"/>
                        <a:pt x="60525" y="66147"/>
                      </a:cubicBezTo>
                      <a:cubicBezTo>
                        <a:pt x="49520" y="68958"/>
                        <a:pt x="38516" y="71769"/>
                        <a:pt x="27511" y="74580"/>
                      </a:cubicBezTo>
                      <a:cubicBezTo>
                        <a:pt x="27751" y="75357"/>
                        <a:pt x="27930" y="76194"/>
                        <a:pt x="28169" y="76972"/>
                      </a:cubicBezTo>
                      <a:cubicBezTo>
                        <a:pt x="43480" y="73204"/>
                        <a:pt x="58850" y="69436"/>
                        <a:pt x="74161" y="65668"/>
                      </a:cubicBezTo>
                      <a:cubicBezTo>
                        <a:pt x="74280" y="66027"/>
                        <a:pt x="74340" y="66386"/>
                        <a:pt x="74460" y="66745"/>
                      </a:cubicBezTo>
                      <a:cubicBezTo>
                        <a:pt x="58850" y="70752"/>
                        <a:pt x="43241" y="74819"/>
                        <a:pt x="27392" y="7894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18" name="Vrije vorm: vorm 9417">
                  <a:extLst>
                    <a:ext uri="{FF2B5EF4-FFF2-40B4-BE49-F238E27FC236}">
                      <a16:creationId xmlns:a16="http://schemas.microsoft.com/office/drawing/2014/main" id="{35A7E977-FF0A-459F-ADBB-0DC5FAE2EA8D}"/>
                    </a:ext>
                  </a:extLst>
                </p:cNvPr>
                <p:cNvSpPr/>
                <p:nvPr/>
              </p:nvSpPr>
              <p:spPr>
                <a:xfrm>
                  <a:off x="4797515" y="1840428"/>
                  <a:ext cx="52151" cy="69735"/>
                </a:xfrm>
                <a:custGeom>
                  <a:avLst/>
                  <a:gdLst>
                    <a:gd name="connsiteX0" fmla="*/ 52152 w 52151"/>
                    <a:gd name="connsiteY0" fmla="*/ 67044 h 69735"/>
                    <a:gd name="connsiteX1" fmla="*/ 26375 w 52151"/>
                    <a:gd name="connsiteY1" fmla="*/ 69735 h 69735"/>
                    <a:gd name="connsiteX2" fmla="*/ 0 w 52151"/>
                    <a:gd name="connsiteY2" fmla="*/ 4844 h 69735"/>
                    <a:gd name="connsiteX3" fmla="*/ 24880 w 52151"/>
                    <a:gd name="connsiteY3" fmla="*/ 0 h 69735"/>
                    <a:gd name="connsiteX4" fmla="*/ 52152 w 52151"/>
                    <a:gd name="connsiteY4" fmla="*/ 67044 h 69735"/>
                    <a:gd name="connsiteX5" fmla="*/ 23803 w 52151"/>
                    <a:gd name="connsiteY5" fmla="*/ 1734 h 69735"/>
                    <a:gd name="connsiteX6" fmla="*/ 2332 w 52151"/>
                    <a:gd name="connsiteY6" fmla="*/ 5921 h 69735"/>
                    <a:gd name="connsiteX7" fmla="*/ 16925 w 52151"/>
                    <a:gd name="connsiteY7" fmla="*/ 41865 h 69735"/>
                    <a:gd name="connsiteX8" fmla="*/ 36422 w 52151"/>
                    <a:gd name="connsiteY8" fmla="*/ 32774 h 69735"/>
                    <a:gd name="connsiteX9" fmla="*/ 23803 w 52151"/>
                    <a:gd name="connsiteY9" fmla="*/ 1734 h 69735"/>
                    <a:gd name="connsiteX10" fmla="*/ 41088 w 52151"/>
                    <a:gd name="connsiteY10" fmla="*/ 44078 h 69735"/>
                    <a:gd name="connsiteX11" fmla="*/ 21471 w 52151"/>
                    <a:gd name="connsiteY11" fmla="*/ 53527 h 69735"/>
                    <a:gd name="connsiteX12" fmla="*/ 26554 w 52151"/>
                    <a:gd name="connsiteY12" fmla="*/ 65728 h 69735"/>
                    <a:gd name="connsiteX13" fmla="*/ 30442 w 52151"/>
                    <a:gd name="connsiteY13" fmla="*/ 67343 h 69735"/>
                    <a:gd name="connsiteX14" fmla="*/ 47128 w 52151"/>
                    <a:gd name="connsiteY14" fmla="*/ 58970 h 69735"/>
                    <a:gd name="connsiteX15" fmla="*/ 41088 w 52151"/>
                    <a:gd name="connsiteY15" fmla="*/ 44078 h 69735"/>
                    <a:gd name="connsiteX16" fmla="*/ 20813 w 52151"/>
                    <a:gd name="connsiteY16" fmla="*/ 51494 h 69735"/>
                    <a:gd name="connsiteX17" fmla="*/ 34389 w 52151"/>
                    <a:gd name="connsiteY17" fmla="*/ 45932 h 69735"/>
                    <a:gd name="connsiteX18" fmla="*/ 36243 w 52151"/>
                    <a:gd name="connsiteY18" fmla="*/ 34329 h 69735"/>
                    <a:gd name="connsiteX19" fmla="*/ 17523 w 52151"/>
                    <a:gd name="connsiteY19" fmla="*/ 43420 h 69735"/>
                    <a:gd name="connsiteX20" fmla="*/ 20813 w 52151"/>
                    <a:gd name="connsiteY20" fmla="*/ 51494 h 69735"/>
                    <a:gd name="connsiteX21" fmla="*/ 36422 w 52151"/>
                    <a:gd name="connsiteY21" fmla="*/ 66207 h 69735"/>
                    <a:gd name="connsiteX22" fmla="*/ 36781 w 52151"/>
                    <a:gd name="connsiteY22" fmla="*/ 67223 h 69735"/>
                    <a:gd name="connsiteX23" fmla="*/ 49879 w 52151"/>
                    <a:gd name="connsiteY23" fmla="*/ 65788 h 69735"/>
                    <a:gd name="connsiteX24" fmla="*/ 47666 w 52151"/>
                    <a:gd name="connsiteY24" fmla="*/ 60286 h 69735"/>
                    <a:gd name="connsiteX25" fmla="*/ 36422 w 52151"/>
                    <a:gd name="connsiteY25" fmla="*/ 66207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2151" h="69735">
                      <a:moveTo>
                        <a:pt x="52152" y="67044"/>
                      </a:moveTo>
                      <a:cubicBezTo>
                        <a:pt x="43719" y="67941"/>
                        <a:pt x="35286" y="68838"/>
                        <a:pt x="26375" y="69735"/>
                      </a:cubicBezTo>
                      <a:cubicBezTo>
                        <a:pt x="17643" y="48324"/>
                        <a:pt x="8851" y="26614"/>
                        <a:pt x="0" y="4844"/>
                      </a:cubicBezTo>
                      <a:cubicBezTo>
                        <a:pt x="8194" y="3230"/>
                        <a:pt x="16447" y="1615"/>
                        <a:pt x="24880" y="0"/>
                      </a:cubicBezTo>
                      <a:cubicBezTo>
                        <a:pt x="33970" y="22248"/>
                        <a:pt x="43001" y="44556"/>
                        <a:pt x="52152" y="67044"/>
                      </a:cubicBezTo>
                      <a:close/>
                      <a:moveTo>
                        <a:pt x="23803" y="1734"/>
                      </a:moveTo>
                      <a:cubicBezTo>
                        <a:pt x="16387" y="3170"/>
                        <a:pt x="9390" y="4545"/>
                        <a:pt x="2332" y="5921"/>
                      </a:cubicBezTo>
                      <a:cubicBezTo>
                        <a:pt x="7416" y="18361"/>
                        <a:pt x="12081" y="29904"/>
                        <a:pt x="16925" y="41865"/>
                      </a:cubicBezTo>
                      <a:cubicBezTo>
                        <a:pt x="23743" y="38695"/>
                        <a:pt x="30023" y="35765"/>
                        <a:pt x="36422" y="32774"/>
                      </a:cubicBezTo>
                      <a:cubicBezTo>
                        <a:pt x="32057" y="22009"/>
                        <a:pt x="28109" y="12260"/>
                        <a:pt x="23803" y="1734"/>
                      </a:cubicBezTo>
                      <a:close/>
                      <a:moveTo>
                        <a:pt x="41088" y="44078"/>
                      </a:moveTo>
                      <a:cubicBezTo>
                        <a:pt x="34269" y="47367"/>
                        <a:pt x="28109" y="50358"/>
                        <a:pt x="21471" y="53527"/>
                      </a:cubicBezTo>
                      <a:cubicBezTo>
                        <a:pt x="23265" y="57953"/>
                        <a:pt x="24700" y="61960"/>
                        <a:pt x="26554" y="65728"/>
                      </a:cubicBezTo>
                      <a:cubicBezTo>
                        <a:pt x="27092" y="66745"/>
                        <a:pt x="29485" y="67762"/>
                        <a:pt x="30442" y="67343"/>
                      </a:cubicBezTo>
                      <a:cubicBezTo>
                        <a:pt x="36004" y="64831"/>
                        <a:pt x="41446" y="61900"/>
                        <a:pt x="47128" y="58970"/>
                      </a:cubicBezTo>
                      <a:cubicBezTo>
                        <a:pt x="45154" y="54066"/>
                        <a:pt x="43300" y="49520"/>
                        <a:pt x="41088" y="44078"/>
                      </a:cubicBezTo>
                      <a:close/>
                      <a:moveTo>
                        <a:pt x="20813" y="51494"/>
                      </a:moveTo>
                      <a:cubicBezTo>
                        <a:pt x="25717" y="49461"/>
                        <a:pt x="30143" y="47846"/>
                        <a:pt x="34389" y="45932"/>
                      </a:cubicBezTo>
                      <a:cubicBezTo>
                        <a:pt x="41566" y="42762"/>
                        <a:pt x="41685" y="41925"/>
                        <a:pt x="36243" y="34329"/>
                      </a:cubicBezTo>
                      <a:cubicBezTo>
                        <a:pt x="30083" y="37320"/>
                        <a:pt x="23803" y="40310"/>
                        <a:pt x="17523" y="43420"/>
                      </a:cubicBezTo>
                      <a:cubicBezTo>
                        <a:pt x="18779" y="46530"/>
                        <a:pt x="19736" y="48862"/>
                        <a:pt x="20813" y="51494"/>
                      </a:cubicBezTo>
                      <a:close/>
                      <a:moveTo>
                        <a:pt x="36422" y="66207"/>
                      </a:moveTo>
                      <a:cubicBezTo>
                        <a:pt x="36542" y="66565"/>
                        <a:pt x="36662" y="66924"/>
                        <a:pt x="36781" y="67223"/>
                      </a:cubicBezTo>
                      <a:cubicBezTo>
                        <a:pt x="41028" y="66745"/>
                        <a:pt x="45274" y="66326"/>
                        <a:pt x="49879" y="65788"/>
                      </a:cubicBezTo>
                      <a:cubicBezTo>
                        <a:pt x="49101" y="63814"/>
                        <a:pt x="48444" y="62319"/>
                        <a:pt x="47666" y="60286"/>
                      </a:cubicBezTo>
                      <a:cubicBezTo>
                        <a:pt x="43659" y="62439"/>
                        <a:pt x="40071" y="64353"/>
                        <a:pt x="36422" y="6620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19" name="Vrije vorm: vorm 9418">
                  <a:extLst>
                    <a:ext uri="{FF2B5EF4-FFF2-40B4-BE49-F238E27FC236}">
                      <a16:creationId xmlns:a16="http://schemas.microsoft.com/office/drawing/2014/main" id="{E249C744-4D73-40E2-8F26-FCCA43405970}"/>
                    </a:ext>
                  </a:extLst>
                </p:cNvPr>
                <p:cNvSpPr/>
                <p:nvPr/>
              </p:nvSpPr>
              <p:spPr>
                <a:xfrm>
                  <a:off x="5143859" y="1051929"/>
                  <a:ext cx="68359" cy="69077"/>
                </a:xfrm>
                <a:custGeom>
                  <a:avLst/>
                  <a:gdLst>
                    <a:gd name="connsiteX0" fmla="*/ 3529 w 68359"/>
                    <a:gd name="connsiteY0" fmla="*/ 6280 h 69077"/>
                    <a:gd name="connsiteX1" fmla="*/ 4127 w 68359"/>
                    <a:gd name="connsiteY1" fmla="*/ 10825 h 69077"/>
                    <a:gd name="connsiteX2" fmla="*/ 24700 w 68359"/>
                    <a:gd name="connsiteY2" fmla="*/ 62917 h 69077"/>
                    <a:gd name="connsiteX3" fmla="*/ 27811 w 68359"/>
                    <a:gd name="connsiteY3" fmla="*/ 67283 h 69077"/>
                    <a:gd name="connsiteX4" fmla="*/ 29306 w 68359"/>
                    <a:gd name="connsiteY4" fmla="*/ 66266 h 69077"/>
                    <a:gd name="connsiteX5" fmla="*/ 12380 w 68359"/>
                    <a:gd name="connsiteY5" fmla="*/ 24641 h 69077"/>
                    <a:gd name="connsiteX6" fmla="*/ 40071 w 68359"/>
                    <a:gd name="connsiteY6" fmla="*/ 2632 h 69077"/>
                    <a:gd name="connsiteX7" fmla="*/ 40729 w 68359"/>
                    <a:gd name="connsiteY7" fmla="*/ 3529 h 69077"/>
                    <a:gd name="connsiteX8" fmla="*/ 17822 w 68359"/>
                    <a:gd name="connsiteY8" fmla="*/ 22129 h 69077"/>
                    <a:gd name="connsiteX9" fmla="*/ 15968 w 68359"/>
                    <a:gd name="connsiteY9" fmla="*/ 28468 h 69077"/>
                    <a:gd name="connsiteX10" fmla="*/ 29186 w 68359"/>
                    <a:gd name="connsiteY10" fmla="*/ 61900 h 69077"/>
                    <a:gd name="connsiteX11" fmla="*/ 33313 w 68359"/>
                    <a:gd name="connsiteY11" fmla="*/ 65549 h 69077"/>
                    <a:gd name="connsiteX12" fmla="*/ 66864 w 68359"/>
                    <a:gd name="connsiteY12" fmla="*/ 57176 h 69077"/>
                    <a:gd name="connsiteX13" fmla="*/ 43779 w 68359"/>
                    <a:gd name="connsiteY13" fmla="*/ 359 h 69077"/>
                    <a:gd name="connsiteX14" fmla="*/ 44736 w 68359"/>
                    <a:gd name="connsiteY14" fmla="*/ 0 h 69077"/>
                    <a:gd name="connsiteX15" fmla="*/ 68360 w 68359"/>
                    <a:gd name="connsiteY15" fmla="*/ 58133 h 69077"/>
                    <a:gd name="connsiteX16" fmla="*/ 26016 w 68359"/>
                    <a:gd name="connsiteY16" fmla="*/ 69077 h 69077"/>
                    <a:gd name="connsiteX17" fmla="*/ 0 w 68359"/>
                    <a:gd name="connsiteY17" fmla="*/ 5084 h 69077"/>
                    <a:gd name="connsiteX18" fmla="*/ 3648 w 68359"/>
                    <a:gd name="connsiteY18" fmla="*/ 6519 h 69077"/>
                    <a:gd name="connsiteX19" fmla="*/ 3529 w 68359"/>
                    <a:gd name="connsiteY19" fmla="*/ 6280 h 69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359" h="69077">
                      <a:moveTo>
                        <a:pt x="3529" y="6280"/>
                      </a:moveTo>
                      <a:cubicBezTo>
                        <a:pt x="3708" y="7775"/>
                        <a:pt x="3588" y="9450"/>
                        <a:pt x="4127" y="10825"/>
                      </a:cubicBezTo>
                      <a:cubicBezTo>
                        <a:pt x="10885" y="28229"/>
                        <a:pt x="17763" y="45573"/>
                        <a:pt x="24700" y="62917"/>
                      </a:cubicBezTo>
                      <a:cubicBezTo>
                        <a:pt x="25358" y="64532"/>
                        <a:pt x="26734" y="65848"/>
                        <a:pt x="27811" y="67283"/>
                      </a:cubicBezTo>
                      <a:cubicBezTo>
                        <a:pt x="28289" y="66924"/>
                        <a:pt x="28827" y="66625"/>
                        <a:pt x="29306" y="66266"/>
                      </a:cubicBezTo>
                      <a:cubicBezTo>
                        <a:pt x="23624" y="52331"/>
                        <a:pt x="18002" y="38396"/>
                        <a:pt x="12380" y="24641"/>
                      </a:cubicBezTo>
                      <a:cubicBezTo>
                        <a:pt x="21949" y="17045"/>
                        <a:pt x="31040" y="9868"/>
                        <a:pt x="40071" y="2632"/>
                      </a:cubicBezTo>
                      <a:cubicBezTo>
                        <a:pt x="40310" y="2931"/>
                        <a:pt x="40490" y="3230"/>
                        <a:pt x="40729" y="3529"/>
                      </a:cubicBezTo>
                      <a:cubicBezTo>
                        <a:pt x="33133" y="9749"/>
                        <a:pt x="25538" y="16028"/>
                        <a:pt x="17822" y="22129"/>
                      </a:cubicBezTo>
                      <a:cubicBezTo>
                        <a:pt x="15669" y="23803"/>
                        <a:pt x="14713" y="25298"/>
                        <a:pt x="15968" y="28468"/>
                      </a:cubicBezTo>
                      <a:cubicBezTo>
                        <a:pt x="20454" y="39592"/>
                        <a:pt x="24641" y="50776"/>
                        <a:pt x="29186" y="61900"/>
                      </a:cubicBezTo>
                      <a:cubicBezTo>
                        <a:pt x="29844" y="63515"/>
                        <a:pt x="32296" y="65788"/>
                        <a:pt x="33313" y="65549"/>
                      </a:cubicBezTo>
                      <a:cubicBezTo>
                        <a:pt x="44257" y="63097"/>
                        <a:pt x="55142" y="60166"/>
                        <a:pt x="66864" y="57176"/>
                      </a:cubicBezTo>
                      <a:cubicBezTo>
                        <a:pt x="58970" y="37738"/>
                        <a:pt x="51375" y="19078"/>
                        <a:pt x="43779" y="359"/>
                      </a:cubicBezTo>
                      <a:cubicBezTo>
                        <a:pt x="44078" y="239"/>
                        <a:pt x="44377" y="120"/>
                        <a:pt x="44736" y="0"/>
                      </a:cubicBezTo>
                      <a:cubicBezTo>
                        <a:pt x="52511" y="19078"/>
                        <a:pt x="60286" y="38157"/>
                        <a:pt x="68360" y="58133"/>
                      </a:cubicBezTo>
                      <a:cubicBezTo>
                        <a:pt x="54006" y="61841"/>
                        <a:pt x="40071" y="65429"/>
                        <a:pt x="26016" y="69077"/>
                      </a:cubicBezTo>
                      <a:cubicBezTo>
                        <a:pt x="17583" y="48324"/>
                        <a:pt x="9031" y="27272"/>
                        <a:pt x="0" y="5084"/>
                      </a:cubicBezTo>
                      <a:cubicBezTo>
                        <a:pt x="1914" y="5801"/>
                        <a:pt x="2751" y="6160"/>
                        <a:pt x="3648" y="6519"/>
                      </a:cubicBezTo>
                      <a:lnTo>
                        <a:pt x="3529" y="6280"/>
                      </a:lnTo>
                      <a:close/>
                    </a:path>
                  </a:pathLst>
                </a:custGeom>
                <a:grpFill/>
                <a:ln w="6350" cap="flat">
                  <a:solidFill>
                    <a:schemeClr val="bg1">
                      <a:alpha val="40000"/>
                    </a:schemeClr>
                  </a:solidFill>
                  <a:prstDash val="solid"/>
                  <a:miter/>
                </a:ln>
              </p:spPr>
              <p:txBody>
                <a:bodyPr rtlCol="0" anchor="ctr"/>
                <a:lstStyle/>
                <a:p>
                  <a:endParaRPr lang="en-GB"/>
                </a:p>
              </p:txBody>
            </p:sp>
            <p:sp>
              <p:nvSpPr>
                <p:cNvPr id="9420" name="Vrije vorm: vorm 9419">
                  <a:extLst>
                    <a:ext uri="{FF2B5EF4-FFF2-40B4-BE49-F238E27FC236}">
                      <a16:creationId xmlns:a16="http://schemas.microsoft.com/office/drawing/2014/main" id="{55758A84-592F-47AB-BC2D-A816728D5C18}"/>
                    </a:ext>
                  </a:extLst>
                </p:cNvPr>
                <p:cNvSpPr/>
                <p:nvPr/>
              </p:nvSpPr>
              <p:spPr>
                <a:xfrm>
                  <a:off x="5553419" y="1744198"/>
                  <a:ext cx="51912" cy="68299"/>
                </a:xfrm>
                <a:custGeom>
                  <a:avLst/>
                  <a:gdLst>
                    <a:gd name="connsiteX0" fmla="*/ 48025 w 51912"/>
                    <a:gd name="connsiteY0" fmla="*/ 50716 h 68299"/>
                    <a:gd name="connsiteX1" fmla="*/ 20335 w 51912"/>
                    <a:gd name="connsiteY1" fmla="*/ 68300 h 68299"/>
                    <a:gd name="connsiteX2" fmla="*/ 0 w 51912"/>
                    <a:gd name="connsiteY2" fmla="*/ 18301 h 68299"/>
                    <a:gd name="connsiteX3" fmla="*/ 31638 w 51912"/>
                    <a:gd name="connsiteY3" fmla="*/ 0 h 68299"/>
                    <a:gd name="connsiteX4" fmla="*/ 51913 w 51912"/>
                    <a:gd name="connsiteY4" fmla="*/ 49819 h 68299"/>
                    <a:gd name="connsiteX5" fmla="*/ 47906 w 51912"/>
                    <a:gd name="connsiteY5" fmla="*/ 50896 h 68299"/>
                    <a:gd name="connsiteX6" fmla="*/ 39892 w 51912"/>
                    <a:gd name="connsiteY6" fmla="*/ 40011 h 68299"/>
                    <a:gd name="connsiteX7" fmla="*/ 19617 w 51912"/>
                    <a:gd name="connsiteY7" fmla="*/ 41805 h 68299"/>
                    <a:gd name="connsiteX8" fmla="*/ 43420 w 51912"/>
                    <a:gd name="connsiteY8" fmla="*/ 37858 h 68299"/>
                    <a:gd name="connsiteX9" fmla="*/ 30681 w 51912"/>
                    <a:gd name="connsiteY9" fmla="*/ 6579 h 68299"/>
                    <a:gd name="connsiteX10" fmla="*/ 31758 w 51912"/>
                    <a:gd name="connsiteY10" fmla="*/ 6160 h 68299"/>
                    <a:gd name="connsiteX11" fmla="*/ 43660 w 51912"/>
                    <a:gd name="connsiteY11" fmla="*/ 35406 h 68299"/>
                    <a:gd name="connsiteX12" fmla="*/ 44138 w 51912"/>
                    <a:gd name="connsiteY12" fmla="*/ 35226 h 68299"/>
                    <a:gd name="connsiteX13" fmla="*/ 30621 w 51912"/>
                    <a:gd name="connsiteY13" fmla="*/ 2033 h 68299"/>
                    <a:gd name="connsiteX14" fmla="*/ 2153 w 51912"/>
                    <a:gd name="connsiteY14" fmla="*/ 18720 h 68299"/>
                    <a:gd name="connsiteX15" fmla="*/ 11603 w 51912"/>
                    <a:gd name="connsiteY15" fmla="*/ 41865 h 68299"/>
                    <a:gd name="connsiteX16" fmla="*/ 19856 w 51912"/>
                    <a:gd name="connsiteY16" fmla="*/ 41865 h 68299"/>
                    <a:gd name="connsiteX17" fmla="*/ 12261 w 51912"/>
                    <a:gd name="connsiteY17" fmla="*/ 44078 h 68299"/>
                    <a:gd name="connsiteX18" fmla="*/ 21052 w 51912"/>
                    <a:gd name="connsiteY18" fmla="*/ 65609 h 68299"/>
                    <a:gd name="connsiteX19" fmla="*/ 27751 w 51912"/>
                    <a:gd name="connsiteY19" fmla="*/ 61841 h 68299"/>
                    <a:gd name="connsiteX20" fmla="*/ 48025 w 51912"/>
                    <a:gd name="connsiteY20" fmla="*/ 50716 h 6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912" h="68299">
                      <a:moveTo>
                        <a:pt x="48025" y="50716"/>
                      </a:moveTo>
                      <a:cubicBezTo>
                        <a:pt x="38875" y="56518"/>
                        <a:pt x="29665" y="62379"/>
                        <a:pt x="20335" y="68300"/>
                      </a:cubicBezTo>
                      <a:cubicBezTo>
                        <a:pt x="13576" y="51673"/>
                        <a:pt x="6818" y="34987"/>
                        <a:pt x="0" y="18301"/>
                      </a:cubicBezTo>
                      <a:cubicBezTo>
                        <a:pt x="10706" y="12081"/>
                        <a:pt x="21172" y="6040"/>
                        <a:pt x="31638" y="0"/>
                      </a:cubicBezTo>
                      <a:cubicBezTo>
                        <a:pt x="38277" y="16327"/>
                        <a:pt x="45035" y="32894"/>
                        <a:pt x="51913" y="49819"/>
                      </a:cubicBezTo>
                      <a:cubicBezTo>
                        <a:pt x="50298" y="50298"/>
                        <a:pt x="49102" y="50597"/>
                        <a:pt x="47906" y="50896"/>
                      </a:cubicBezTo>
                      <a:cubicBezTo>
                        <a:pt x="50238" y="43540"/>
                        <a:pt x="47068" y="39293"/>
                        <a:pt x="39892" y="40011"/>
                      </a:cubicBezTo>
                      <a:cubicBezTo>
                        <a:pt x="33133" y="40669"/>
                        <a:pt x="26375" y="41207"/>
                        <a:pt x="19617" y="41805"/>
                      </a:cubicBezTo>
                      <a:cubicBezTo>
                        <a:pt x="27272" y="40549"/>
                        <a:pt x="34987" y="39293"/>
                        <a:pt x="43420" y="37858"/>
                      </a:cubicBezTo>
                      <a:cubicBezTo>
                        <a:pt x="39054" y="27093"/>
                        <a:pt x="34868" y="16866"/>
                        <a:pt x="30681" y="6579"/>
                      </a:cubicBezTo>
                      <a:cubicBezTo>
                        <a:pt x="31040" y="6459"/>
                        <a:pt x="31399" y="6280"/>
                        <a:pt x="31758" y="6160"/>
                      </a:cubicBezTo>
                      <a:cubicBezTo>
                        <a:pt x="35705" y="15909"/>
                        <a:pt x="39712" y="25657"/>
                        <a:pt x="43660" y="35406"/>
                      </a:cubicBezTo>
                      <a:cubicBezTo>
                        <a:pt x="43839" y="35346"/>
                        <a:pt x="43959" y="35286"/>
                        <a:pt x="44138" y="35226"/>
                      </a:cubicBezTo>
                      <a:cubicBezTo>
                        <a:pt x="39652" y="24282"/>
                        <a:pt x="35227" y="13277"/>
                        <a:pt x="30621" y="2033"/>
                      </a:cubicBezTo>
                      <a:cubicBezTo>
                        <a:pt x="20992" y="7715"/>
                        <a:pt x="11662" y="13158"/>
                        <a:pt x="2153" y="18720"/>
                      </a:cubicBezTo>
                      <a:cubicBezTo>
                        <a:pt x="5562" y="27033"/>
                        <a:pt x="8553" y="34509"/>
                        <a:pt x="11603" y="41865"/>
                      </a:cubicBezTo>
                      <a:cubicBezTo>
                        <a:pt x="14474" y="41865"/>
                        <a:pt x="17165" y="41865"/>
                        <a:pt x="19856" y="41865"/>
                      </a:cubicBezTo>
                      <a:cubicBezTo>
                        <a:pt x="17524" y="42583"/>
                        <a:pt x="15131" y="43241"/>
                        <a:pt x="12261" y="44078"/>
                      </a:cubicBezTo>
                      <a:cubicBezTo>
                        <a:pt x="15131" y="51195"/>
                        <a:pt x="18002" y="58133"/>
                        <a:pt x="21052" y="65609"/>
                      </a:cubicBezTo>
                      <a:cubicBezTo>
                        <a:pt x="23385" y="64293"/>
                        <a:pt x="25598" y="63037"/>
                        <a:pt x="27751" y="61841"/>
                      </a:cubicBezTo>
                      <a:cubicBezTo>
                        <a:pt x="34509" y="58192"/>
                        <a:pt x="41267" y="54484"/>
                        <a:pt x="48025" y="5071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21" name="Vrije vorm: vorm 9420">
                  <a:extLst>
                    <a:ext uri="{FF2B5EF4-FFF2-40B4-BE49-F238E27FC236}">
                      <a16:creationId xmlns:a16="http://schemas.microsoft.com/office/drawing/2014/main" id="{0FDA4330-F8F8-4D71-93F4-5AA9F2717128}"/>
                    </a:ext>
                  </a:extLst>
                </p:cNvPr>
                <p:cNvSpPr/>
                <p:nvPr/>
              </p:nvSpPr>
              <p:spPr>
                <a:xfrm>
                  <a:off x="5409403" y="1386850"/>
                  <a:ext cx="53826" cy="63933"/>
                </a:xfrm>
                <a:custGeom>
                  <a:avLst/>
                  <a:gdLst>
                    <a:gd name="connsiteX0" fmla="*/ 35585 w 53826"/>
                    <a:gd name="connsiteY0" fmla="*/ 5502 h 63933"/>
                    <a:gd name="connsiteX1" fmla="*/ 53827 w 53826"/>
                    <a:gd name="connsiteY1" fmla="*/ 50358 h 63933"/>
                    <a:gd name="connsiteX2" fmla="*/ 20514 w 53826"/>
                    <a:gd name="connsiteY2" fmla="*/ 63934 h 63933"/>
                    <a:gd name="connsiteX3" fmla="*/ 0 w 53826"/>
                    <a:gd name="connsiteY3" fmla="*/ 13516 h 63933"/>
                    <a:gd name="connsiteX4" fmla="*/ 33193 w 53826"/>
                    <a:gd name="connsiteY4" fmla="*/ 0 h 63933"/>
                    <a:gd name="connsiteX5" fmla="*/ 33671 w 53826"/>
                    <a:gd name="connsiteY5" fmla="*/ 1017 h 63933"/>
                    <a:gd name="connsiteX6" fmla="*/ 2572 w 53826"/>
                    <a:gd name="connsiteY6" fmla="*/ 13636 h 63933"/>
                    <a:gd name="connsiteX7" fmla="*/ 22069 w 53826"/>
                    <a:gd name="connsiteY7" fmla="*/ 61601 h 63933"/>
                    <a:gd name="connsiteX8" fmla="*/ 24880 w 53826"/>
                    <a:gd name="connsiteY8" fmla="*/ 55561 h 63933"/>
                    <a:gd name="connsiteX9" fmla="*/ 8612 w 53826"/>
                    <a:gd name="connsiteY9" fmla="*/ 15610 h 63933"/>
                    <a:gd name="connsiteX10" fmla="*/ 9928 w 53826"/>
                    <a:gd name="connsiteY10" fmla="*/ 15071 h 63933"/>
                    <a:gd name="connsiteX11" fmla="*/ 27990 w 53826"/>
                    <a:gd name="connsiteY11" fmla="*/ 59448 h 63933"/>
                    <a:gd name="connsiteX12" fmla="*/ 49401 w 53826"/>
                    <a:gd name="connsiteY12" fmla="*/ 50477 h 63933"/>
                    <a:gd name="connsiteX13" fmla="*/ 50298 w 53826"/>
                    <a:gd name="connsiteY13" fmla="*/ 44796 h 63933"/>
                    <a:gd name="connsiteX14" fmla="*/ 37320 w 53826"/>
                    <a:gd name="connsiteY14" fmla="*/ 11902 h 63933"/>
                    <a:gd name="connsiteX15" fmla="*/ 34867 w 53826"/>
                    <a:gd name="connsiteY15" fmla="*/ 5801 h 63933"/>
                    <a:gd name="connsiteX16" fmla="*/ 35585 w 53826"/>
                    <a:gd name="connsiteY16" fmla="*/ 5502 h 63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826" h="63933">
                      <a:moveTo>
                        <a:pt x="35585" y="5502"/>
                      </a:moveTo>
                      <a:cubicBezTo>
                        <a:pt x="41626" y="20275"/>
                        <a:pt x="47606" y="35047"/>
                        <a:pt x="53827" y="50358"/>
                      </a:cubicBezTo>
                      <a:cubicBezTo>
                        <a:pt x="42762" y="54843"/>
                        <a:pt x="31578" y="59389"/>
                        <a:pt x="20514" y="63934"/>
                      </a:cubicBezTo>
                      <a:cubicBezTo>
                        <a:pt x="13696" y="47248"/>
                        <a:pt x="6878" y="30382"/>
                        <a:pt x="0" y="13516"/>
                      </a:cubicBezTo>
                      <a:cubicBezTo>
                        <a:pt x="11124" y="8971"/>
                        <a:pt x="22188" y="4486"/>
                        <a:pt x="33193" y="0"/>
                      </a:cubicBezTo>
                      <a:cubicBezTo>
                        <a:pt x="33372" y="359"/>
                        <a:pt x="33492" y="658"/>
                        <a:pt x="33671" y="1017"/>
                      </a:cubicBezTo>
                      <a:cubicBezTo>
                        <a:pt x="23384" y="5203"/>
                        <a:pt x="13098" y="9390"/>
                        <a:pt x="2572" y="13636"/>
                      </a:cubicBezTo>
                      <a:cubicBezTo>
                        <a:pt x="9210" y="29904"/>
                        <a:pt x="15610" y="45633"/>
                        <a:pt x="22069" y="61601"/>
                      </a:cubicBezTo>
                      <a:cubicBezTo>
                        <a:pt x="26255" y="61601"/>
                        <a:pt x="26495" y="59448"/>
                        <a:pt x="24880" y="55561"/>
                      </a:cubicBezTo>
                      <a:cubicBezTo>
                        <a:pt x="19377" y="42284"/>
                        <a:pt x="13995" y="28947"/>
                        <a:pt x="8612" y="15610"/>
                      </a:cubicBezTo>
                      <a:cubicBezTo>
                        <a:pt x="9031" y="15430"/>
                        <a:pt x="9509" y="15251"/>
                        <a:pt x="9928" y="15071"/>
                      </a:cubicBezTo>
                      <a:cubicBezTo>
                        <a:pt x="15849" y="29664"/>
                        <a:pt x="21829" y="44317"/>
                        <a:pt x="27990" y="59448"/>
                      </a:cubicBezTo>
                      <a:cubicBezTo>
                        <a:pt x="35466" y="56398"/>
                        <a:pt x="42523" y="53767"/>
                        <a:pt x="49401" y="50477"/>
                      </a:cubicBezTo>
                      <a:cubicBezTo>
                        <a:pt x="50417" y="49999"/>
                        <a:pt x="50896" y="46410"/>
                        <a:pt x="50298" y="44796"/>
                      </a:cubicBezTo>
                      <a:cubicBezTo>
                        <a:pt x="46171" y="33791"/>
                        <a:pt x="41685" y="22846"/>
                        <a:pt x="37320" y="11902"/>
                      </a:cubicBezTo>
                      <a:cubicBezTo>
                        <a:pt x="36482" y="9868"/>
                        <a:pt x="35645" y="7835"/>
                        <a:pt x="34867" y="5801"/>
                      </a:cubicBezTo>
                      <a:cubicBezTo>
                        <a:pt x="35107" y="5741"/>
                        <a:pt x="35346" y="5622"/>
                        <a:pt x="35585" y="550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22" name="Vrije vorm: vorm 9421">
                  <a:extLst>
                    <a:ext uri="{FF2B5EF4-FFF2-40B4-BE49-F238E27FC236}">
                      <a16:creationId xmlns:a16="http://schemas.microsoft.com/office/drawing/2014/main" id="{287FA651-818A-410C-8FA1-72451ED277FE}"/>
                    </a:ext>
                  </a:extLst>
                </p:cNvPr>
                <p:cNvSpPr/>
                <p:nvPr/>
              </p:nvSpPr>
              <p:spPr>
                <a:xfrm>
                  <a:off x="4883100" y="1310536"/>
                  <a:ext cx="52809" cy="84088"/>
                </a:xfrm>
                <a:custGeom>
                  <a:avLst/>
                  <a:gdLst>
                    <a:gd name="connsiteX0" fmla="*/ 11423 w 52809"/>
                    <a:gd name="connsiteY0" fmla="*/ 44497 h 84088"/>
                    <a:gd name="connsiteX1" fmla="*/ 26554 w 52809"/>
                    <a:gd name="connsiteY1" fmla="*/ 81637 h 84088"/>
                    <a:gd name="connsiteX2" fmla="*/ 40549 w 52809"/>
                    <a:gd name="connsiteY2" fmla="*/ 72486 h 84088"/>
                    <a:gd name="connsiteX3" fmla="*/ 28767 w 52809"/>
                    <a:gd name="connsiteY3" fmla="*/ 43599 h 84088"/>
                    <a:gd name="connsiteX4" fmla="*/ 29784 w 52809"/>
                    <a:gd name="connsiteY4" fmla="*/ 43181 h 84088"/>
                    <a:gd name="connsiteX5" fmla="*/ 41327 w 52809"/>
                    <a:gd name="connsiteY5" fmla="*/ 71529 h 84088"/>
                    <a:gd name="connsiteX6" fmla="*/ 49520 w 52809"/>
                    <a:gd name="connsiteY6" fmla="*/ 66207 h 84088"/>
                    <a:gd name="connsiteX7" fmla="*/ 50118 w 52809"/>
                    <a:gd name="connsiteY7" fmla="*/ 62199 h 84088"/>
                    <a:gd name="connsiteX8" fmla="*/ 25777 w 52809"/>
                    <a:gd name="connsiteY8" fmla="*/ 2153 h 84088"/>
                    <a:gd name="connsiteX9" fmla="*/ 658 w 52809"/>
                    <a:gd name="connsiteY9" fmla="*/ 21232 h 84088"/>
                    <a:gd name="connsiteX10" fmla="*/ 0 w 52809"/>
                    <a:gd name="connsiteY10" fmla="*/ 20334 h 84088"/>
                    <a:gd name="connsiteX11" fmla="*/ 26076 w 52809"/>
                    <a:gd name="connsiteY11" fmla="*/ 0 h 84088"/>
                    <a:gd name="connsiteX12" fmla="*/ 52810 w 52809"/>
                    <a:gd name="connsiteY12" fmla="*/ 65788 h 84088"/>
                    <a:gd name="connsiteX13" fmla="*/ 25956 w 52809"/>
                    <a:gd name="connsiteY13" fmla="*/ 84089 h 84088"/>
                    <a:gd name="connsiteX14" fmla="*/ 1854 w 52809"/>
                    <a:gd name="connsiteY14" fmla="*/ 24880 h 84088"/>
                    <a:gd name="connsiteX15" fmla="*/ 11064 w 52809"/>
                    <a:gd name="connsiteY15" fmla="*/ 26614 h 84088"/>
                    <a:gd name="connsiteX16" fmla="*/ 21052 w 52809"/>
                    <a:gd name="connsiteY16" fmla="*/ 24641 h 84088"/>
                    <a:gd name="connsiteX17" fmla="*/ 5562 w 52809"/>
                    <a:gd name="connsiteY17" fmla="*/ 29784 h 84088"/>
                    <a:gd name="connsiteX18" fmla="*/ 10885 w 52809"/>
                    <a:gd name="connsiteY18" fmla="*/ 42882 h 84088"/>
                    <a:gd name="connsiteX19" fmla="*/ 27272 w 52809"/>
                    <a:gd name="connsiteY19" fmla="*/ 38097 h 84088"/>
                    <a:gd name="connsiteX20" fmla="*/ 27631 w 52809"/>
                    <a:gd name="connsiteY20" fmla="*/ 39054 h 84088"/>
                    <a:gd name="connsiteX21" fmla="*/ 11423 w 52809"/>
                    <a:gd name="connsiteY21" fmla="*/ 44497 h 8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809" h="84088">
                      <a:moveTo>
                        <a:pt x="11423" y="44497"/>
                      </a:moveTo>
                      <a:cubicBezTo>
                        <a:pt x="16566" y="57236"/>
                        <a:pt x="21411" y="69017"/>
                        <a:pt x="26554" y="81637"/>
                      </a:cubicBezTo>
                      <a:cubicBezTo>
                        <a:pt x="31279" y="78527"/>
                        <a:pt x="35705" y="75596"/>
                        <a:pt x="40549" y="72486"/>
                      </a:cubicBezTo>
                      <a:cubicBezTo>
                        <a:pt x="36542" y="62678"/>
                        <a:pt x="32655" y="53109"/>
                        <a:pt x="28767" y="43599"/>
                      </a:cubicBezTo>
                      <a:cubicBezTo>
                        <a:pt x="29126" y="43480"/>
                        <a:pt x="29425" y="43300"/>
                        <a:pt x="29784" y="43181"/>
                      </a:cubicBezTo>
                      <a:cubicBezTo>
                        <a:pt x="33552" y="52391"/>
                        <a:pt x="37260" y="61542"/>
                        <a:pt x="41327" y="71529"/>
                      </a:cubicBezTo>
                      <a:cubicBezTo>
                        <a:pt x="44497" y="69556"/>
                        <a:pt x="47188" y="68180"/>
                        <a:pt x="49520" y="66207"/>
                      </a:cubicBezTo>
                      <a:cubicBezTo>
                        <a:pt x="50298" y="65549"/>
                        <a:pt x="50597" y="63336"/>
                        <a:pt x="50118" y="62199"/>
                      </a:cubicBezTo>
                      <a:cubicBezTo>
                        <a:pt x="42224" y="42403"/>
                        <a:pt x="34150" y="22727"/>
                        <a:pt x="25777" y="2153"/>
                      </a:cubicBezTo>
                      <a:cubicBezTo>
                        <a:pt x="17045" y="8792"/>
                        <a:pt x="8851" y="15012"/>
                        <a:pt x="658" y="21232"/>
                      </a:cubicBezTo>
                      <a:cubicBezTo>
                        <a:pt x="419" y="20933"/>
                        <a:pt x="239" y="20633"/>
                        <a:pt x="0" y="20334"/>
                      </a:cubicBezTo>
                      <a:cubicBezTo>
                        <a:pt x="8612" y="13576"/>
                        <a:pt x="17225" y="6878"/>
                        <a:pt x="26076" y="0"/>
                      </a:cubicBezTo>
                      <a:cubicBezTo>
                        <a:pt x="34987" y="21949"/>
                        <a:pt x="43898" y="43839"/>
                        <a:pt x="52810" y="65788"/>
                      </a:cubicBezTo>
                      <a:cubicBezTo>
                        <a:pt x="43898" y="71888"/>
                        <a:pt x="34987" y="77929"/>
                        <a:pt x="25956" y="84089"/>
                      </a:cubicBezTo>
                      <a:cubicBezTo>
                        <a:pt x="18002" y="64472"/>
                        <a:pt x="9928" y="44676"/>
                        <a:pt x="1854" y="24880"/>
                      </a:cubicBezTo>
                      <a:cubicBezTo>
                        <a:pt x="4725" y="29545"/>
                        <a:pt x="7954" y="27571"/>
                        <a:pt x="11064" y="26614"/>
                      </a:cubicBezTo>
                      <a:cubicBezTo>
                        <a:pt x="14294" y="25597"/>
                        <a:pt x="17523" y="24581"/>
                        <a:pt x="21052" y="24641"/>
                      </a:cubicBezTo>
                      <a:cubicBezTo>
                        <a:pt x="16028" y="26315"/>
                        <a:pt x="10944" y="27990"/>
                        <a:pt x="5562" y="29784"/>
                      </a:cubicBezTo>
                      <a:cubicBezTo>
                        <a:pt x="7296" y="34090"/>
                        <a:pt x="8971" y="38157"/>
                        <a:pt x="10885" y="42882"/>
                      </a:cubicBezTo>
                      <a:cubicBezTo>
                        <a:pt x="16327" y="41267"/>
                        <a:pt x="21829" y="39712"/>
                        <a:pt x="27272" y="38097"/>
                      </a:cubicBezTo>
                      <a:cubicBezTo>
                        <a:pt x="27391" y="38396"/>
                        <a:pt x="27511" y="38755"/>
                        <a:pt x="27631" y="39054"/>
                      </a:cubicBezTo>
                      <a:cubicBezTo>
                        <a:pt x="22428" y="40729"/>
                        <a:pt x="17165" y="42523"/>
                        <a:pt x="11423" y="4449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23" name="Vrije vorm: vorm 9422">
                  <a:extLst>
                    <a:ext uri="{FF2B5EF4-FFF2-40B4-BE49-F238E27FC236}">
                      <a16:creationId xmlns:a16="http://schemas.microsoft.com/office/drawing/2014/main" id="{1DE671FC-A3E1-4219-AA16-B6D23C8F7AFD}"/>
                    </a:ext>
                  </a:extLst>
                </p:cNvPr>
                <p:cNvSpPr/>
                <p:nvPr/>
              </p:nvSpPr>
              <p:spPr>
                <a:xfrm>
                  <a:off x="4883937" y="1204438"/>
                  <a:ext cx="52630" cy="85105"/>
                </a:xfrm>
                <a:custGeom>
                  <a:avLst/>
                  <a:gdLst>
                    <a:gd name="connsiteX0" fmla="*/ 39473 w 52630"/>
                    <a:gd name="connsiteY0" fmla="*/ 39891 h 85105"/>
                    <a:gd name="connsiteX1" fmla="*/ 11364 w 52630"/>
                    <a:gd name="connsiteY1" fmla="*/ 47726 h 85105"/>
                    <a:gd name="connsiteX2" fmla="*/ 17823 w 52630"/>
                    <a:gd name="connsiteY2" fmla="*/ 63635 h 85105"/>
                    <a:gd name="connsiteX3" fmla="*/ 46291 w 52630"/>
                    <a:gd name="connsiteY3" fmla="*/ 55980 h 85105"/>
                    <a:gd name="connsiteX4" fmla="*/ 46590 w 52630"/>
                    <a:gd name="connsiteY4" fmla="*/ 57056 h 85105"/>
                    <a:gd name="connsiteX5" fmla="*/ 18361 w 52630"/>
                    <a:gd name="connsiteY5" fmla="*/ 65070 h 85105"/>
                    <a:gd name="connsiteX6" fmla="*/ 25538 w 52630"/>
                    <a:gd name="connsiteY6" fmla="*/ 82773 h 85105"/>
                    <a:gd name="connsiteX7" fmla="*/ 49521 w 52630"/>
                    <a:gd name="connsiteY7" fmla="*/ 63635 h 85105"/>
                    <a:gd name="connsiteX8" fmla="*/ 49281 w 52630"/>
                    <a:gd name="connsiteY8" fmla="*/ 57834 h 85105"/>
                    <a:gd name="connsiteX9" fmla="*/ 28289 w 52630"/>
                    <a:gd name="connsiteY9" fmla="*/ 5921 h 85105"/>
                    <a:gd name="connsiteX10" fmla="*/ 26913 w 52630"/>
                    <a:gd name="connsiteY10" fmla="*/ 0 h 85105"/>
                    <a:gd name="connsiteX11" fmla="*/ 52631 w 52630"/>
                    <a:gd name="connsiteY11" fmla="*/ 63156 h 85105"/>
                    <a:gd name="connsiteX12" fmla="*/ 24940 w 52630"/>
                    <a:gd name="connsiteY12" fmla="*/ 85106 h 85105"/>
                    <a:gd name="connsiteX13" fmla="*/ 0 w 52630"/>
                    <a:gd name="connsiteY13" fmla="*/ 23863 h 85105"/>
                    <a:gd name="connsiteX14" fmla="*/ 1017 w 52630"/>
                    <a:gd name="connsiteY14" fmla="*/ 23444 h 85105"/>
                    <a:gd name="connsiteX15" fmla="*/ 8373 w 52630"/>
                    <a:gd name="connsiteY15" fmla="*/ 41686 h 85105"/>
                    <a:gd name="connsiteX16" fmla="*/ 15072 w 52630"/>
                    <a:gd name="connsiteY16" fmla="*/ 45334 h 85105"/>
                    <a:gd name="connsiteX17" fmla="*/ 39054 w 52630"/>
                    <a:gd name="connsiteY17" fmla="*/ 38635 h 85105"/>
                    <a:gd name="connsiteX18" fmla="*/ 39473 w 52630"/>
                    <a:gd name="connsiteY18" fmla="*/ 39891 h 85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630" h="85105">
                      <a:moveTo>
                        <a:pt x="39473" y="39891"/>
                      </a:moveTo>
                      <a:cubicBezTo>
                        <a:pt x="30262" y="42463"/>
                        <a:pt x="20992" y="45035"/>
                        <a:pt x="11364" y="47726"/>
                      </a:cubicBezTo>
                      <a:cubicBezTo>
                        <a:pt x="13516" y="53049"/>
                        <a:pt x="15550" y="58013"/>
                        <a:pt x="17823" y="63635"/>
                      </a:cubicBezTo>
                      <a:cubicBezTo>
                        <a:pt x="27213" y="61123"/>
                        <a:pt x="36722" y="58551"/>
                        <a:pt x="46291" y="55980"/>
                      </a:cubicBezTo>
                      <a:cubicBezTo>
                        <a:pt x="46410" y="56338"/>
                        <a:pt x="46530" y="56697"/>
                        <a:pt x="46590" y="57056"/>
                      </a:cubicBezTo>
                      <a:cubicBezTo>
                        <a:pt x="37320" y="59688"/>
                        <a:pt x="28050" y="62319"/>
                        <a:pt x="18361" y="65070"/>
                      </a:cubicBezTo>
                      <a:cubicBezTo>
                        <a:pt x="20753" y="70872"/>
                        <a:pt x="22966" y="76434"/>
                        <a:pt x="25538" y="82773"/>
                      </a:cubicBezTo>
                      <a:cubicBezTo>
                        <a:pt x="33671" y="76374"/>
                        <a:pt x="41746" y="70214"/>
                        <a:pt x="49521" y="63635"/>
                      </a:cubicBezTo>
                      <a:cubicBezTo>
                        <a:pt x="50358" y="62917"/>
                        <a:pt x="49999" y="59628"/>
                        <a:pt x="49281" y="57834"/>
                      </a:cubicBezTo>
                      <a:cubicBezTo>
                        <a:pt x="42403" y="40490"/>
                        <a:pt x="35346" y="23205"/>
                        <a:pt x="28289" y="5921"/>
                      </a:cubicBezTo>
                      <a:cubicBezTo>
                        <a:pt x="27512" y="4067"/>
                        <a:pt x="26794" y="2213"/>
                        <a:pt x="26913" y="0"/>
                      </a:cubicBezTo>
                      <a:cubicBezTo>
                        <a:pt x="35466" y="20992"/>
                        <a:pt x="44018" y="42044"/>
                        <a:pt x="52631" y="63156"/>
                      </a:cubicBezTo>
                      <a:cubicBezTo>
                        <a:pt x="43480" y="70393"/>
                        <a:pt x="34150" y="77809"/>
                        <a:pt x="24940" y="85106"/>
                      </a:cubicBezTo>
                      <a:cubicBezTo>
                        <a:pt x="16686" y="64771"/>
                        <a:pt x="8373" y="44317"/>
                        <a:pt x="0" y="23863"/>
                      </a:cubicBezTo>
                      <a:cubicBezTo>
                        <a:pt x="359" y="23743"/>
                        <a:pt x="658" y="23564"/>
                        <a:pt x="1017" y="23444"/>
                      </a:cubicBezTo>
                      <a:cubicBezTo>
                        <a:pt x="3469" y="29545"/>
                        <a:pt x="6160" y="35526"/>
                        <a:pt x="8373" y="41686"/>
                      </a:cubicBezTo>
                      <a:cubicBezTo>
                        <a:pt x="9808" y="45573"/>
                        <a:pt x="11483" y="46530"/>
                        <a:pt x="15072" y="45334"/>
                      </a:cubicBezTo>
                      <a:cubicBezTo>
                        <a:pt x="22966" y="42762"/>
                        <a:pt x="31040" y="40848"/>
                        <a:pt x="39054" y="38635"/>
                      </a:cubicBezTo>
                      <a:cubicBezTo>
                        <a:pt x="39234" y="39114"/>
                        <a:pt x="39353" y="39473"/>
                        <a:pt x="39473" y="3989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24" name="Vrije vorm: vorm 9423">
                  <a:extLst>
                    <a:ext uri="{FF2B5EF4-FFF2-40B4-BE49-F238E27FC236}">
                      <a16:creationId xmlns:a16="http://schemas.microsoft.com/office/drawing/2014/main" id="{5378561F-B326-4BAD-952B-D7D2DFFC77ED}"/>
                    </a:ext>
                  </a:extLst>
                </p:cNvPr>
                <p:cNvSpPr/>
                <p:nvPr/>
              </p:nvSpPr>
              <p:spPr>
                <a:xfrm>
                  <a:off x="5320051" y="1489180"/>
                  <a:ext cx="62916" cy="77570"/>
                </a:xfrm>
                <a:custGeom>
                  <a:avLst/>
                  <a:gdLst>
                    <a:gd name="connsiteX0" fmla="*/ 20215 w 62916"/>
                    <a:gd name="connsiteY0" fmla="*/ 10227 h 77570"/>
                    <a:gd name="connsiteX1" fmla="*/ 10765 w 62916"/>
                    <a:gd name="connsiteY1" fmla="*/ 14055 h 77570"/>
                    <a:gd name="connsiteX2" fmla="*/ 34449 w 62916"/>
                    <a:gd name="connsiteY2" fmla="*/ 72247 h 77570"/>
                    <a:gd name="connsiteX3" fmla="*/ 62439 w 62916"/>
                    <a:gd name="connsiteY3" fmla="*/ 60884 h 77570"/>
                    <a:gd name="connsiteX4" fmla="*/ 62917 w 62916"/>
                    <a:gd name="connsiteY4" fmla="*/ 62020 h 77570"/>
                    <a:gd name="connsiteX5" fmla="*/ 24700 w 62916"/>
                    <a:gd name="connsiteY5" fmla="*/ 77570 h 77570"/>
                    <a:gd name="connsiteX6" fmla="*/ 0 w 62916"/>
                    <a:gd name="connsiteY6" fmla="*/ 16925 h 77570"/>
                    <a:gd name="connsiteX7" fmla="*/ 41626 w 62916"/>
                    <a:gd name="connsiteY7" fmla="*/ 0 h 77570"/>
                    <a:gd name="connsiteX8" fmla="*/ 42044 w 62916"/>
                    <a:gd name="connsiteY8" fmla="*/ 957 h 77570"/>
                    <a:gd name="connsiteX9" fmla="*/ 21052 w 62916"/>
                    <a:gd name="connsiteY9" fmla="*/ 9509 h 77570"/>
                    <a:gd name="connsiteX10" fmla="*/ 42643 w 62916"/>
                    <a:gd name="connsiteY10" fmla="*/ 62558 h 77570"/>
                    <a:gd name="connsiteX11" fmla="*/ 41626 w 62916"/>
                    <a:gd name="connsiteY11" fmla="*/ 62977 h 77570"/>
                    <a:gd name="connsiteX12" fmla="*/ 20215 w 62916"/>
                    <a:gd name="connsiteY12" fmla="*/ 10227 h 77570"/>
                    <a:gd name="connsiteX13" fmla="*/ 32714 w 62916"/>
                    <a:gd name="connsiteY13" fmla="*/ 73443 h 77570"/>
                    <a:gd name="connsiteX14" fmla="*/ 9031 w 62916"/>
                    <a:gd name="connsiteY14" fmla="*/ 15191 h 77570"/>
                    <a:gd name="connsiteX15" fmla="*/ 2213 w 62916"/>
                    <a:gd name="connsiteY15" fmla="*/ 17942 h 77570"/>
                    <a:gd name="connsiteX16" fmla="*/ 25896 w 62916"/>
                    <a:gd name="connsiteY16" fmla="*/ 76194 h 77570"/>
                    <a:gd name="connsiteX17" fmla="*/ 32714 w 62916"/>
                    <a:gd name="connsiteY17" fmla="*/ 73443 h 7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16" h="77570">
                      <a:moveTo>
                        <a:pt x="20215" y="10227"/>
                      </a:moveTo>
                      <a:cubicBezTo>
                        <a:pt x="16806" y="11603"/>
                        <a:pt x="14174" y="12679"/>
                        <a:pt x="10765" y="14055"/>
                      </a:cubicBezTo>
                      <a:cubicBezTo>
                        <a:pt x="18600" y="33313"/>
                        <a:pt x="26435" y="52571"/>
                        <a:pt x="34449" y="72247"/>
                      </a:cubicBezTo>
                      <a:cubicBezTo>
                        <a:pt x="43420" y="68599"/>
                        <a:pt x="52929" y="64711"/>
                        <a:pt x="62439" y="60884"/>
                      </a:cubicBezTo>
                      <a:cubicBezTo>
                        <a:pt x="62618" y="61243"/>
                        <a:pt x="62798" y="61601"/>
                        <a:pt x="62917" y="62020"/>
                      </a:cubicBezTo>
                      <a:cubicBezTo>
                        <a:pt x="50238" y="67164"/>
                        <a:pt x="37559" y="72307"/>
                        <a:pt x="24700" y="77570"/>
                      </a:cubicBezTo>
                      <a:cubicBezTo>
                        <a:pt x="16925" y="58432"/>
                        <a:pt x="8552" y="37858"/>
                        <a:pt x="0" y="16925"/>
                      </a:cubicBezTo>
                      <a:cubicBezTo>
                        <a:pt x="13935" y="11244"/>
                        <a:pt x="27750" y="5622"/>
                        <a:pt x="41626" y="0"/>
                      </a:cubicBezTo>
                      <a:cubicBezTo>
                        <a:pt x="41745" y="299"/>
                        <a:pt x="41925" y="598"/>
                        <a:pt x="42044" y="957"/>
                      </a:cubicBezTo>
                      <a:cubicBezTo>
                        <a:pt x="35226" y="3708"/>
                        <a:pt x="28468" y="6459"/>
                        <a:pt x="21052" y="9509"/>
                      </a:cubicBezTo>
                      <a:cubicBezTo>
                        <a:pt x="28468" y="27751"/>
                        <a:pt x="35585" y="45154"/>
                        <a:pt x="42643" y="62558"/>
                      </a:cubicBezTo>
                      <a:cubicBezTo>
                        <a:pt x="42284" y="62678"/>
                        <a:pt x="41984" y="62857"/>
                        <a:pt x="41626" y="62977"/>
                      </a:cubicBezTo>
                      <a:cubicBezTo>
                        <a:pt x="34568" y="45513"/>
                        <a:pt x="27511" y="28169"/>
                        <a:pt x="20215" y="10227"/>
                      </a:cubicBezTo>
                      <a:close/>
                      <a:moveTo>
                        <a:pt x="32714" y="73443"/>
                      </a:moveTo>
                      <a:cubicBezTo>
                        <a:pt x="24641" y="53587"/>
                        <a:pt x="16806" y="34389"/>
                        <a:pt x="9031" y="15191"/>
                      </a:cubicBezTo>
                      <a:cubicBezTo>
                        <a:pt x="6579" y="16208"/>
                        <a:pt x="4545" y="17045"/>
                        <a:pt x="2213" y="17942"/>
                      </a:cubicBezTo>
                      <a:cubicBezTo>
                        <a:pt x="10227" y="37619"/>
                        <a:pt x="18062" y="56877"/>
                        <a:pt x="25896" y="76194"/>
                      </a:cubicBezTo>
                      <a:cubicBezTo>
                        <a:pt x="28289" y="75297"/>
                        <a:pt x="30262" y="74460"/>
                        <a:pt x="32714" y="7344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25" name="Vrije vorm: vorm 9424">
                  <a:extLst>
                    <a:ext uri="{FF2B5EF4-FFF2-40B4-BE49-F238E27FC236}">
                      <a16:creationId xmlns:a16="http://schemas.microsoft.com/office/drawing/2014/main" id="{0EF5304D-8EEF-47B4-9E33-29644D379D79}"/>
                    </a:ext>
                  </a:extLst>
                </p:cNvPr>
                <p:cNvSpPr/>
                <p:nvPr/>
              </p:nvSpPr>
              <p:spPr>
                <a:xfrm>
                  <a:off x="4952297" y="2045626"/>
                  <a:ext cx="78287" cy="95452"/>
                </a:xfrm>
                <a:custGeom>
                  <a:avLst/>
                  <a:gdLst>
                    <a:gd name="connsiteX0" fmla="*/ 26853 w 78287"/>
                    <a:gd name="connsiteY0" fmla="*/ 95452 h 95452"/>
                    <a:gd name="connsiteX1" fmla="*/ 0 w 78287"/>
                    <a:gd name="connsiteY1" fmla="*/ 29485 h 95452"/>
                    <a:gd name="connsiteX2" fmla="*/ 51972 w 78287"/>
                    <a:gd name="connsiteY2" fmla="*/ 0 h 95452"/>
                    <a:gd name="connsiteX3" fmla="*/ 78287 w 78287"/>
                    <a:gd name="connsiteY3" fmla="*/ 64711 h 95452"/>
                    <a:gd name="connsiteX4" fmla="*/ 26853 w 78287"/>
                    <a:gd name="connsiteY4" fmla="*/ 95452 h 95452"/>
                    <a:gd name="connsiteX5" fmla="*/ 27332 w 78287"/>
                    <a:gd name="connsiteY5" fmla="*/ 93120 h 95452"/>
                    <a:gd name="connsiteX6" fmla="*/ 34030 w 78287"/>
                    <a:gd name="connsiteY6" fmla="*/ 89711 h 95452"/>
                    <a:gd name="connsiteX7" fmla="*/ 72905 w 78287"/>
                    <a:gd name="connsiteY7" fmla="*/ 66506 h 95452"/>
                    <a:gd name="connsiteX8" fmla="*/ 74998 w 78287"/>
                    <a:gd name="connsiteY8" fmla="*/ 59149 h 95452"/>
                    <a:gd name="connsiteX9" fmla="*/ 53587 w 78287"/>
                    <a:gd name="connsiteY9" fmla="*/ 7416 h 95452"/>
                    <a:gd name="connsiteX10" fmla="*/ 51135 w 78287"/>
                    <a:gd name="connsiteY10" fmla="*/ 2691 h 95452"/>
                    <a:gd name="connsiteX11" fmla="*/ 48683 w 78287"/>
                    <a:gd name="connsiteY11" fmla="*/ 3529 h 95452"/>
                    <a:gd name="connsiteX12" fmla="*/ 4545 w 78287"/>
                    <a:gd name="connsiteY12" fmla="*/ 28528 h 95452"/>
                    <a:gd name="connsiteX13" fmla="*/ 3050 w 78287"/>
                    <a:gd name="connsiteY13" fmla="*/ 33073 h 95452"/>
                    <a:gd name="connsiteX14" fmla="*/ 27332 w 78287"/>
                    <a:gd name="connsiteY14" fmla="*/ 93120 h 9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87" h="95452">
                      <a:moveTo>
                        <a:pt x="26853" y="95452"/>
                      </a:moveTo>
                      <a:cubicBezTo>
                        <a:pt x="17942" y="73563"/>
                        <a:pt x="8971" y="51554"/>
                        <a:pt x="0" y="29485"/>
                      </a:cubicBezTo>
                      <a:cubicBezTo>
                        <a:pt x="17105" y="19796"/>
                        <a:pt x="34329" y="10048"/>
                        <a:pt x="51972" y="0"/>
                      </a:cubicBezTo>
                      <a:cubicBezTo>
                        <a:pt x="60704" y="21471"/>
                        <a:pt x="69496" y="43121"/>
                        <a:pt x="78287" y="64711"/>
                      </a:cubicBezTo>
                      <a:cubicBezTo>
                        <a:pt x="61362" y="74879"/>
                        <a:pt x="44257" y="85046"/>
                        <a:pt x="26853" y="95452"/>
                      </a:cubicBezTo>
                      <a:close/>
                      <a:moveTo>
                        <a:pt x="27332" y="93120"/>
                      </a:moveTo>
                      <a:cubicBezTo>
                        <a:pt x="30203" y="91684"/>
                        <a:pt x="32176" y="90787"/>
                        <a:pt x="34030" y="89711"/>
                      </a:cubicBezTo>
                      <a:cubicBezTo>
                        <a:pt x="47008" y="81996"/>
                        <a:pt x="59807" y="74041"/>
                        <a:pt x="72905" y="66506"/>
                      </a:cubicBezTo>
                      <a:cubicBezTo>
                        <a:pt x="76254" y="64592"/>
                        <a:pt x="76613" y="62857"/>
                        <a:pt x="74998" y="59149"/>
                      </a:cubicBezTo>
                      <a:cubicBezTo>
                        <a:pt x="67761" y="41925"/>
                        <a:pt x="60764" y="24641"/>
                        <a:pt x="53587" y="7416"/>
                      </a:cubicBezTo>
                      <a:cubicBezTo>
                        <a:pt x="52929" y="5801"/>
                        <a:pt x="51972" y="4306"/>
                        <a:pt x="51135" y="2691"/>
                      </a:cubicBezTo>
                      <a:cubicBezTo>
                        <a:pt x="49999" y="3050"/>
                        <a:pt x="49281" y="3170"/>
                        <a:pt x="48683" y="3529"/>
                      </a:cubicBezTo>
                      <a:cubicBezTo>
                        <a:pt x="33911" y="11782"/>
                        <a:pt x="19198" y="20035"/>
                        <a:pt x="4545" y="28528"/>
                      </a:cubicBezTo>
                      <a:cubicBezTo>
                        <a:pt x="3528" y="29126"/>
                        <a:pt x="2572" y="31877"/>
                        <a:pt x="3050" y="33073"/>
                      </a:cubicBezTo>
                      <a:cubicBezTo>
                        <a:pt x="10885" y="52870"/>
                        <a:pt x="18959" y="72546"/>
                        <a:pt x="27332" y="9312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26" name="Vrije vorm: vorm 9425">
                  <a:extLst>
                    <a:ext uri="{FF2B5EF4-FFF2-40B4-BE49-F238E27FC236}">
                      <a16:creationId xmlns:a16="http://schemas.microsoft.com/office/drawing/2014/main" id="{61384C6B-283A-4D24-899D-FE46660AE7ED}"/>
                    </a:ext>
                  </a:extLst>
                </p:cNvPr>
                <p:cNvSpPr/>
                <p:nvPr/>
              </p:nvSpPr>
              <p:spPr>
                <a:xfrm>
                  <a:off x="5044519" y="1611546"/>
                  <a:ext cx="59149" cy="77390"/>
                </a:xfrm>
                <a:custGeom>
                  <a:avLst/>
                  <a:gdLst>
                    <a:gd name="connsiteX0" fmla="*/ 0 w 59149"/>
                    <a:gd name="connsiteY0" fmla="*/ 12859 h 77390"/>
                    <a:gd name="connsiteX1" fmla="*/ 31578 w 59149"/>
                    <a:gd name="connsiteY1" fmla="*/ 0 h 77390"/>
                    <a:gd name="connsiteX2" fmla="*/ 59149 w 59149"/>
                    <a:gd name="connsiteY2" fmla="*/ 67821 h 77390"/>
                    <a:gd name="connsiteX3" fmla="*/ 26255 w 59149"/>
                    <a:gd name="connsiteY3" fmla="*/ 77391 h 77390"/>
                    <a:gd name="connsiteX4" fmla="*/ 0 w 59149"/>
                    <a:gd name="connsiteY4" fmla="*/ 12859 h 77390"/>
                    <a:gd name="connsiteX5" fmla="*/ 56877 w 59149"/>
                    <a:gd name="connsiteY5" fmla="*/ 67044 h 77390"/>
                    <a:gd name="connsiteX6" fmla="*/ 30561 w 59149"/>
                    <a:gd name="connsiteY6" fmla="*/ 2452 h 77390"/>
                    <a:gd name="connsiteX7" fmla="*/ 2392 w 59149"/>
                    <a:gd name="connsiteY7" fmla="*/ 13935 h 77390"/>
                    <a:gd name="connsiteX8" fmla="*/ 27511 w 59149"/>
                    <a:gd name="connsiteY8" fmla="*/ 75716 h 77390"/>
                    <a:gd name="connsiteX9" fmla="*/ 56877 w 59149"/>
                    <a:gd name="connsiteY9" fmla="*/ 67044 h 7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149" h="77390">
                      <a:moveTo>
                        <a:pt x="0" y="12859"/>
                      </a:moveTo>
                      <a:cubicBezTo>
                        <a:pt x="10705" y="8493"/>
                        <a:pt x="21112" y="4246"/>
                        <a:pt x="31578" y="0"/>
                      </a:cubicBezTo>
                      <a:cubicBezTo>
                        <a:pt x="40908" y="22966"/>
                        <a:pt x="49939" y="45214"/>
                        <a:pt x="59149" y="67821"/>
                      </a:cubicBezTo>
                      <a:cubicBezTo>
                        <a:pt x="48384" y="70931"/>
                        <a:pt x="37439" y="74161"/>
                        <a:pt x="26255" y="77391"/>
                      </a:cubicBezTo>
                      <a:cubicBezTo>
                        <a:pt x="17523" y="55920"/>
                        <a:pt x="8732" y="34329"/>
                        <a:pt x="0" y="12859"/>
                      </a:cubicBezTo>
                      <a:close/>
                      <a:moveTo>
                        <a:pt x="56877" y="67044"/>
                      </a:moveTo>
                      <a:cubicBezTo>
                        <a:pt x="48025" y="45274"/>
                        <a:pt x="39413" y="24162"/>
                        <a:pt x="30561" y="2452"/>
                      </a:cubicBezTo>
                      <a:cubicBezTo>
                        <a:pt x="20992" y="6340"/>
                        <a:pt x="11842" y="10048"/>
                        <a:pt x="2392" y="13935"/>
                      </a:cubicBezTo>
                      <a:cubicBezTo>
                        <a:pt x="10705" y="34270"/>
                        <a:pt x="19019" y="54843"/>
                        <a:pt x="27511" y="75716"/>
                      </a:cubicBezTo>
                      <a:cubicBezTo>
                        <a:pt x="37499" y="72726"/>
                        <a:pt x="47008" y="69915"/>
                        <a:pt x="56877" y="6704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27" name="Vrije vorm: vorm 9426">
                  <a:extLst>
                    <a:ext uri="{FF2B5EF4-FFF2-40B4-BE49-F238E27FC236}">
                      <a16:creationId xmlns:a16="http://schemas.microsoft.com/office/drawing/2014/main" id="{7BF24F27-00D0-469F-BFB0-E658FE374856}"/>
                    </a:ext>
                  </a:extLst>
                </p:cNvPr>
                <p:cNvSpPr/>
                <p:nvPr/>
              </p:nvSpPr>
              <p:spPr>
                <a:xfrm>
                  <a:off x="5092006" y="1583077"/>
                  <a:ext cx="76912" cy="87976"/>
                </a:xfrm>
                <a:custGeom>
                  <a:avLst/>
                  <a:gdLst>
                    <a:gd name="connsiteX0" fmla="*/ 27451 w 76912"/>
                    <a:gd name="connsiteY0" fmla="*/ 87976 h 87976"/>
                    <a:gd name="connsiteX1" fmla="*/ 0 w 76912"/>
                    <a:gd name="connsiteY1" fmla="*/ 20454 h 87976"/>
                    <a:gd name="connsiteX2" fmla="*/ 50238 w 76912"/>
                    <a:gd name="connsiteY2" fmla="*/ 0 h 87976"/>
                    <a:gd name="connsiteX3" fmla="*/ 76912 w 76912"/>
                    <a:gd name="connsiteY3" fmla="*/ 65609 h 87976"/>
                    <a:gd name="connsiteX4" fmla="*/ 27451 w 76912"/>
                    <a:gd name="connsiteY4" fmla="*/ 87976 h 87976"/>
                    <a:gd name="connsiteX5" fmla="*/ 49520 w 76912"/>
                    <a:gd name="connsiteY5" fmla="*/ 2332 h 87976"/>
                    <a:gd name="connsiteX6" fmla="*/ 2333 w 76912"/>
                    <a:gd name="connsiteY6" fmla="*/ 21531 h 87976"/>
                    <a:gd name="connsiteX7" fmla="*/ 28588 w 76912"/>
                    <a:gd name="connsiteY7" fmla="*/ 86063 h 87976"/>
                    <a:gd name="connsiteX8" fmla="*/ 75058 w 76912"/>
                    <a:gd name="connsiteY8" fmla="*/ 64951 h 87976"/>
                    <a:gd name="connsiteX9" fmla="*/ 49520 w 76912"/>
                    <a:gd name="connsiteY9" fmla="*/ 2332 h 8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12" h="87976">
                      <a:moveTo>
                        <a:pt x="27451" y="87976"/>
                      </a:moveTo>
                      <a:cubicBezTo>
                        <a:pt x="18301" y="65429"/>
                        <a:pt x="9210" y="43181"/>
                        <a:pt x="0" y="20454"/>
                      </a:cubicBezTo>
                      <a:cubicBezTo>
                        <a:pt x="16806" y="13636"/>
                        <a:pt x="33552" y="6818"/>
                        <a:pt x="50238" y="0"/>
                      </a:cubicBezTo>
                      <a:cubicBezTo>
                        <a:pt x="59030" y="21710"/>
                        <a:pt x="67941" y="43599"/>
                        <a:pt x="76912" y="65609"/>
                      </a:cubicBezTo>
                      <a:cubicBezTo>
                        <a:pt x="60585" y="73025"/>
                        <a:pt x="44138" y="80500"/>
                        <a:pt x="27451" y="87976"/>
                      </a:cubicBezTo>
                      <a:close/>
                      <a:moveTo>
                        <a:pt x="49520" y="2332"/>
                      </a:moveTo>
                      <a:cubicBezTo>
                        <a:pt x="33432" y="8851"/>
                        <a:pt x="17882" y="15191"/>
                        <a:pt x="2333" y="21531"/>
                      </a:cubicBezTo>
                      <a:cubicBezTo>
                        <a:pt x="11244" y="43420"/>
                        <a:pt x="19856" y="64532"/>
                        <a:pt x="28588" y="86063"/>
                      </a:cubicBezTo>
                      <a:cubicBezTo>
                        <a:pt x="44257" y="78946"/>
                        <a:pt x="59568" y="72008"/>
                        <a:pt x="75058" y="64951"/>
                      </a:cubicBezTo>
                      <a:cubicBezTo>
                        <a:pt x="66267" y="43540"/>
                        <a:pt x="57893" y="22906"/>
                        <a:pt x="49520" y="233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28" name="Vrije vorm: vorm 9427">
                  <a:extLst>
                    <a:ext uri="{FF2B5EF4-FFF2-40B4-BE49-F238E27FC236}">
                      <a16:creationId xmlns:a16="http://schemas.microsoft.com/office/drawing/2014/main" id="{95F204C4-51A7-4ED8-8018-95840DC37E03}"/>
                    </a:ext>
                  </a:extLst>
                </p:cNvPr>
                <p:cNvSpPr/>
                <p:nvPr/>
              </p:nvSpPr>
              <p:spPr>
                <a:xfrm>
                  <a:off x="5031122" y="1424528"/>
                  <a:ext cx="78168" cy="86660"/>
                </a:xfrm>
                <a:custGeom>
                  <a:avLst/>
                  <a:gdLst>
                    <a:gd name="connsiteX0" fmla="*/ 78168 w 78168"/>
                    <a:gd name="connsiteY0" fmla="*/ 66147 h 86660"/>
                    <a:gd name="connsiteX1" fmla="*/ 27750 w 78168"/>
                    <a:gd name="connsiteY1" fmla="*/ 86661 h 86660"/>
                    <a:gd name="connsiteX2" fmla="*/ 0 w 78168"/>
                    <a:gd name="connsiteY2" fmla="*/ 18421 h 86660"/>
                    <a:gd name="connsiteX3" fmla="*/ 51255 w 78168"/>
                    <a:gd name="connsiteY3" fmla="*/ 0 h 86660"/>
                    <a:gd name="connsiteX4" fmla="*/ 78168 w 78168"/>
                    <a:gd name="connsiteY4" fmla="*/ 66147 h 86660"/>
                    <a:gd name="connsiteX5" fmla="*/ 28648 w 78168"/>
                    <a:gd name="connsiteY5" fmla="*/ 84328 h 86660"/>
                    <a:gd name="connsiteX6" fmla="*/ 75955 w 78168"/>
                    <a:gd name="connsiteY6" fmla="*/ 65070 h 86660"/>
                    <a:gd name="connsiteX7" fmla="*/ 50238 w 78168"/>
                    <a:gd name="connsiteY7" fmla="*/ 1854 h 86660"/>
                    <a:gd name="connsiteX8" fmla="*/ 2093 w 78168"/>
                    <a:gd name="connsiteY8" fmla="*/ 19019 h 86660"/>
                    <a:gd name="connsiteX9" fmla="*/ 28648 w 78168"/>
                    <a:gd name="connsiteY9" fmla="*/ 84328 h 8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68" h="86660">
                      <a:moveTo>
                        <a:pt x="78168" y="66147"/>
                      </a:moveTo>
                      <a:cubicBezTo>
                        <a:pt x="61003" y="73144"/>
                        <a:pt x="44377" y="79902"/>
                        <a:pt x="27750" y="86661"/>
                      </a:cubicBezTo>
                      <a:cubicBezTo>
                        <a:pt x="18301" y="63515"/>
                        <a:pt x="9210" y="41028"/>
                        <a:pt x="0" y="18421"/>
                      </a:cubicBezTo>
                      <a:cubicBezTo>
                        <a:pt x="16925" y="12320"/>
                        <a:pt x="33911" y="6220"/>
                        <a:pt x="51255" y="0"/>
                      </a:cubicBezTo>
                      <a:cubicBezTo>
                        <a:pt x="60226" y="22009"/>
                        <a:pt x="69257" y="44198"/>
                        <a:pt x="78168" y="66147"/>
                      </a:cubicBezTo>
                      <a:close/>
                      <a:moveTo>
                        <a:pt x="28648" y="84328"/>
                      </a:moveTo>
                      <a:cubicBezTo>
                        <a:pt x="44796" y="77749"/>
                        <a:pt x="60345" y="71410"/>
                        <a:pt x="75955" y="65070"/>
                      </a:cubicBezTo>
                      <a:cubicBezTo>
                        <a:pt x="67343" y="43898"/>
                        <a:pt x="58910" y="23145"/>
                        <a:pt x="50238" y="1854"/>
                      </a:cubicBezTo>
                      <a:cubicBezTo>
                        <a:pt x="34090" y="7595"/>
                        <a:pt x="18241" y="13277"/>
                        <a:pt x="2093" y="19019"/>
                      </a:cubicBezTo>
                      <a:cubicBezTo>
                        <a:pt x="11004" y="41028"/>
                        <a:pt x="19617" y="62200"/>
                        <a:pt x="28648" y="8432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29" name="Vrije vorm: vorm 9428">
                  <a:extLst>
                    <a:ext uri="{FF2B5EF4-FFF2-40B4-BE49-F238E27FC236}">
                      <a16:creationId xmlns:a16="http://schemas.microsoft.com/office/drawing/2014/main" id="{53E483BF-F528-4B5F-AC40-85AD36893055}"/>
                    </a:ext>
                  </a:extLst>
                </p:cNvPr>
                <p:cNvSpPr/>
                <p:nvPr/>
              </p:nvSpPr>
              <p:spPr>
                <a:xfrm>
                  <a:off x="5419032" y="1526201"/>
                  <a:ext cx="55022" cy="66206"/>
                </a:xfrm>
                <a:custGeom>
                  <a:avLst/>
                  <a:gdLst>
                    <a:gd name="connsiteX0" fmla="*/ 34748 w 55022"/>
                    <a:gd name="connsiteY0" fmla="*/ 0 h 66206"/>
                    <a:gd name="connsiteX1" fmla="*/ 55023 w 55022"/>
                    <a:gd name="connsiteY1" fmla="*/ 49879 h 66206"/>
                    <a:gd name="connsiteX2" fmla="*/ 21172 w 55022"/>
                    <a:gd name="connsiteY2" fmla="*/ 66207 h 66206"/>
                    <a:gd name="connsiteX3" fmla="*/ 0 w 55022"/>
                    <a:gd name="connsiteY3" fmla="*/ 14174 h 66206"/>
                    <a:gd name="connsiteX4" fmla="*/ 34748 w 55022"/>
                    <a:gd name="connsiteY4" fmla="*/ 0 h 66206"/>
                    <a:gd name="connsiteX5" fmla="*/ 11184 w 55022"/>
                    <a:gd name="connsiteY5" fmla="*/ 11722 h 66206"/>
                    <a:gd name="connsiteX6" fmla="*/ 25478 w 55022"/>
                    <a:gd name="connsiteY6" fmla="*/ 46829 h 66206"/>
                    <a:gd name="connsiteX7" fmla="*/ 46052 w 55022"/>
                    <a:gd name="connsiteY7" fmla="*/ 41147 h 66206"/>
                    <a:gd name="connsiteX8" fmla="*/ 46351 w 55022"/>
                    <a:gd name="connsiteY8" fmla="*/ 42104 h 66206"/>
                    <a:gd name="connsiteX9" fmla="*/ 24521 w 55022"/>
                    <a:gd name="connsiteY9" fmla="*/ 48863 h 66206"/>
                    <a:gd name="connsiteX10" fmla="*/ 9330 w 55022"/>
                    <a:gd name="connsiteY10" fmla="*/ 11543 h 66206"/>
                    <a:gd name="connsiteX11" fmla="*/ 3528 w 55022"/>
                    <a:gd name="connsiteY11" fmla="*/ 18421 h 66206"/>
                    <a:gd name="connsiteX12" fmla="*/ 22009 w 55022"/>
                    <a:gd name="connsiteY12" fmla="*/ 64173 h 66206"/>
                    <a:gd name="connsiteX13" fmla="*/ 53049 w 55022"/>
                    <a:gd name="connsiteY13" fmla="*/ 49401 h 66206"/>
                    <a:gd name="connsiteX14" fmla="*/ 33492 w 55022"/>
                    <a:gd name="connsiteY14" fmla="*/ 1256 h 66206"/>
                    <a:gd name="connsiteX15" fmla="*/ 11184 w 55022"/>
                    <a:gd name="connsiteY15" fmla="*/ 11722 h 6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022" h="66206">
                      <a:moveTo>
                        <a:pt x="34748" y="0"/>
                      </a:moveTo>
                      <a:cubicBezTo>
                        <a:pt x="41386" y="16268"/>
                        <a:pt x="48145" y="32954"/>
                        <a:pt x="55023" y="49879"/>
                      </a:cubicBezTo>
                      <a:cubicBezTo>
                        <a:pt x="43480" y="55441"/>
                        <a:pt x="32296" y="60824"/>
                        <a:pt x="21172" y="66207"/>
                      </a:cubicBezTo>
                      <a:cubicBezTo>
                        <a:pt x="14234" y="49162"/>
                        <a:pt x="7296" y="32117"/>
                        <a:pt x="0" y="14174"/>
                      </a:cubicBezTo>
                      <a:cubicBezTo>
                        <a:pt x="11603" y="9450"/>
                        <a:pt x="23145" y="4725"/>
                        <a:pt x="34748" y="0"/>
                      </a:cubicBezTo>
                      <a:close/>
                      <a:moveTo>
                        <a:pt x="11184" y="11722"/>
                      </a:moveTo>
                      <a:cubicBezTo>
                        <a:pt x="16088" y="23743"/>
                        <a:pt x="20693" y="35167"/>
                        <a:pt x="25478" y="46829"/>
                      </a:cubicBezTo>
                      <a:cubicBezTo>
                        <a:pt x="32535" y="44855"/>
                        <a:pt x="39293" y="43001"/>
                        <a:pt x="46052" y="41147"/>
                      </a:cubicBezTo>
                      <a:cubicBezTo>
                        <a:pt x="46171" y="41446"/>
                        <a:pt x="46231" y="41805"/>
                        <a:pt x="46351" y="42104"/>
                      </a:cubicBezTo>
                      <a:cubicBezTo>
                        <a:pt x="38994" y="44377"/>
                        <a:pt x="31578" y="46650"/>
                        <a:pt x="24521" y="48863"/>
                      </a:cubicBezTo>
                      <a:cubicBezTo>
                        <a:pt x="19497" y="36602"/>
                        <a:pt x="14653" y="24641"/>
                        <a:pt x="9330" y="11543"/>
                      </a:cubicBezTo>
                      <a:cubicBezTo>
                        <a:pt x="7536" y="14713"/>
                        <a:pt x="1375" y="12619"/>
                        <a:pt x="3528" y="18421"/>
                      </a:cubicBezTo>
                      <a:cubicBezTo>
                        <a:pt x="9210" y="33552"/>
                        <a:pt x="15610" y="48444"/>
                        <a:pt x="22009" y="64173"/>
                      </a:cubicBezTo>
                      <a:cubicBezTo>
                        <a:pt x="32415" y="59209"/>
                        <a:pt x="42463" y="54425"/>
                        <a:pt x="53049" y="49401"/>
                      </a:cubicBezTo>
                      <a:cubicBezTo>
                        <a:pt x="46410" y="33133"/>
                        <a:pt x="40071" y="17464"/>
                        <a:pt x="33492" y="1256"/>
                      </a:cubicBezTo>
                      <a:cubicBezTo>
                        <a:pt x="25956" y="4785"/>
                        <a:pt x="18780" y="8134"/>
                        <a:pt x="11184" y="1172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30" name="Vrije vorm: vorm 9429">
                  <a:extLst>
                    <a:ext uri="{FF2B5EF4-FFF2-40B4-BE49-F238E27FC236}">
                      <a16:creationId xmlns:a16="http://schemas.microsoft.com/office/drawing/2014/main" id="{05347BB6-4311-4A19-8E2A-8F660510A7F9}"/>
                    </a:ext>
                  </a:extLst>
                </p:cNvPr>
                <p:cNvSpPr/>
                <p:nvPr/>
              </p:nvSpPr>
              <p:spPr>
                <a:xfrm>
                  <a:off x="4945837" y="1470819"/>
                  <a:ext cx="54544" cy="78048"/>
                </a:xfrm>
                <a:custGeom>
                  <a:avLst/>
                  <a:gdLst>
                    <a:gd name="connsiteX0" fmla="*/ 53109 w 54544"/>
                    <a:gd name="connsiteY0" fmla="*/ 64173 h 78048"/>
                    <a:gd name="connsiteX1" fmla="*/ 29006 w 54544"/>
                    <a:gd name="connsiteY1" fmla="*/ 4964 h 78048"/>
                    <a:gd name="connsiteX2" fmla="*/ 30083 w 54544"/>
                    <a:gd name="connsiteY2" fmla="*/ 4545 h 78048"/>
                    <a:gd name="connsiteX3" fmla="*/ 54544 w 54544"/>
                    <a:gd name="connsiteY3" fmla="*/ 64652 h 78048"/>
                    <a:gd name="connsiteX4" fmla="*/ 25777 w 54544"/>
                    <a:gd name="connsiteY4" fmla="*/ 78048 h 78048"/>
                    <a:gd name="connsiteX5" fmla="*/ 0 w 54544"/>
                    <a:gd name="connsiteY5" fmla="*/ 14713 h 78048"/>
                    <a:gd name="connsiteX6" fmla="*/ 27451 w 54544"/>
                    <a:gd name="connsiteY6" fmla="*/ 0 h 78048"/>
                    <a:gd name="connsiteX7" fmla="*/ 27930 w 54544"/>
                    <a:gd name="connsiteY7" fmla="*/ 957 h 78048"/>
                    <a:gd name="connsiteX8" fmla="*/ 2213 w 54544"/>
                    <a:gd name="connsiteY8" fmla="*/ 15311 h 78048"/>
                    <a:gd name="connsiteX9" fmla="*/ 26554 w 54544"/>
                    <a:gd name="connsiteY9" fmla="*/ 75118 h 78048"/>
                    <a:gd name="connsiteX10" fmla="*/ 53109 w 54544"/>
                    <a:gd name="connsiteY10" fmla="*/ 64173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544" h="78048">
                      <a:moveTo>
                        <a:pt x="53109" y="64173"/>
                      </a:moveTo>
                      <a:cubicBezTo>
                        <a:pt x="44796" y="43659"/>
                        <a:pt x="36901" y="24342"/>
                        <a:pt x="29006" y="4964"/>
                      </a:cubicBezTo>
                      <a:cubicBezTo>
                        <a:pt x="29365" y="4844"/>
                        <a:pt x="29724" y="4665"/>
                        <a:pt x="30083" y="4545"/>
                      </a:cubicBezTo>
                      <a:cubicBezTo>
                        <a:pt x="38217" y="24521"/>
                        <a:pt x="46351" y="44497"/>
                        <a:pt x="54544" y="64652"/>
                      </a:cubicBezTo>
                      <a:cubicBezTo>
                        <a:pt x="45214" y="69018"/>
                        <a:pt x="35585" y="73443"/>
                        <a:pt x="25777" y="78048"/>
                      </a:cubicBezTo>
                      <a:cubicBezTo>
                        <a:pt x="17284" y="57176"/>
                        <a:pt x="8732" y="36064"/>
                        <a:pt x="0" y="14713"/>
                      </a:cubicBezTo>
                      <a:cubicBezTo>
                        <a:pt x="9031" y="9868"/>
                        <a:pt x="18241" y="4904"/>
                        <a:pt x="27451" y="0"/>
                      </a:cubicBezTo>
                      <a:cubicBezTo>
                        <a:pt x="27631" y="299"/>
                        <a:pt x="27810" y="658"/>
                        <a:pt x="27930" y="957"/>
                      </a:cubicBezTo>
                      <a:cubicBezTo>
                        <a:pt x="19437" y="5682"/>
                        <a:pt x="10945" y="10406"/>
                        <a:pt x="2213" y="15311"/>
                      </a:cubicBezTo>
                      <a:cubicBezTo>
                        <a:pt x="10406" y="35526"/>
                        <a:pt x="18480" y="55322"/>
                        <a:pt x="26554" y="75118"/>
                      </a:cubicBezTo>
                      <a:cubicBezTo>
                        <a:pt x="35167" y="71470"/>
                        <a:pt x="43659" y="68001"/>
                        <a:pt x="53109" y="6417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31" name="Vrije vorm: vorm 9430">
                  <a:extLst>
                    <a:ext uri="{FF2B5EF4-FFF2-40B4-BE49-F238E27FC236}">
                      <a16:creationId xmlns:a16="http://schemas.microsoft.com/office/drawing/2014/main" id="{63675B1F-40FE-4A7F-80D1-80DF334CA216}"/>
                    </a:ext>
                  </a:extLst>
                </p:cNvPr>
                <p:cNvSpPr/>
                <p:nvPr/>
              </p:nvSpPr>
              <p:spPr>
                <a:xfrm>
                  <a:off x="5441041" y="1582479"/>
                  <a:ext cx="53766" cy="67283"/>
                </a:xfrm>
                <a:custGeom>
                  <a:avLst/>
                  <a:gdLst>
                    <a:gd name="connsiteX0" fmla="*/ 25717 w 53766"/>
                    <a:gd name="connsiteY0" fmla="*/ 56039 h 67283"/>
                    <a:gd name="connsiteX1" fmla="*/ 51554 w 53766"/>
                    <a:gd name="connsiteY1" fmla="*/ 49640 h 67283"/>
                    <a:gd name="connsiteX2" fmla="*/ 32236 w 53766"/>
                    <a:gd name="connsiteY2" fmla="*/ 2153 h 67283"/>
                    <a:gd name="connsiteX3" fmla="*/ 538 w 53766"/>
                    <a:gd name="connsiteY3" fmla="*/ 17404 h 67283"/>
                    <a:gd name="connsiteX4" fmla="*/ 0 w 53766"/>
                    <a:gd name="connsiteY4" fmla="*/ 16327 h 67283"/>
                    <a:gd name="connsiteX5" fmla="*/ 33253 w 53766"/>
                    <a:gd name="connsiteY5" fmla="*/ 0 h 67283"/>
                    <a:gd name="connsiteX6" fmla="*/ 53767 w 53766"/>
                    <a:gd name="connsiteY6" fmla="*/ 50477 h 67283"/>
                    <a:gd name="connsiteX7" fmla="*/ 20753 w 53766"/>
                    <a:gd name="connsiteY7" fmla="*/ 67283 h 67283"/>
                    <a:gd name="connsiteX8" fmla="*/ 1196 w 53766"/>
                    <a:gd name="connsiteY8" fmla="*/ 19258 h 67283"/>
                    <a:gd name="connsiteX9" fmla="*/ 2512 w 53766"/>
                    <a:gd name="connsiteY9" fmla="*/ 18779 h 67283"/>
                    <a:gd name="connsiteX10" fmla="*/ 21411 w 53766"/>
                    <a:gd name="connsiteY10" fmla="*/ 65250 h 67283"/>
                    <a:gd name="connsiteX11" fmla="*/ 43839 w 53766"/>
                    <a:gd name="connsiteY11" fmla="*/ 53946 h 67283"/>
                    <a:gd name="connsiteX12" fmla="*/ 43540 w 53766"/>
                    <a:gd name="connsiteY12" fmla="*/ 53109 h 67283"/>
                    <a:gd name="connsiteX13" fmla="*/ 25777 w 53766"/>
                    <a:gd name="connsiteY13" fmla="*/ 57116 h 67283"/>
                    <a:gd name="connsiteX14" fmla="*/ 25717 w 53766"/>
                    <a:gd name="connsiteY14" fmla="*/ 56039 h 6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766" h="67283">
                      <a:moveTo>
                        <a:pt x="25717" y="56039"/>
                      </a:moveTo>
                      <a:cubicBezTo>
                        <a:pt x="34150" y="53946"/>
                        <a:pt x="42523" y="51913"/>
                        <a:pt x="51554" y="49640"/>
                      </a:cubicBezTo>
                      <a:cubicBezTo>
                        <a:pt x="45154" y="33851"/>
                        <a:pt x="38815" y="18361"/>
                        <a:pt x="32236" y="2153"/>
                      </a:cubicBezTo>
                      <a:cubicBezTo>
                        <a:pt x="21650" y="7237"/>
                        <a:pt x="11064" y="12320"/>
                        <a:pt x="538" y="17404"/>
                      </a:cubicBezTo>
                      <a:cubicBezTo>
                        <a:pt x="359" y="17045"/>
                        <a:pt x="180" y="16686"/>
                        <a:pt x="0" y="16327"/>
                      </a:cubicBezTo>
                      <a:cubicBezTo>
                        <a:pt x="11124" y="10885"/>
                        <a:pt x="22189" y="5442"/>
                        <a:pt x="33253" y="0"/>
                      </a:cubicBezTo>
                      <a:cubicBezTo>
                        <a:pt x="40071" y="16806"/>
                        <a:pt x="46949" y="33612"/>
                        <a:pt x="53767" y="50477"/>
                      </a:cubicBezTo>
                      <a:cubicBezTo>
                        <a:pt x="42403" y="56279"/>
                        <a:pt x="31339" y="61901"/>
                        <a:pt x="20753" y="67283"/>
                      </a:cubicBezTo>
                      <a:cubicBezTo>
                        <a:pt x="14294" y="51315"/>
                        <a:pt x="7715" y="35286"/>
                        <a:pt x="1196" y="19258"/>
                      </a:cubicBezTo>
                      <a:cubicBezTo>
                        <a:pt x="1615" y="19079"/>
                        <a:pt x="2093" y="18899"/>
                        <a:pt x="2512" y="18779"/>
                      </a:cubicBezTo>
                      <a:cubicBezTo>
                        <a:pt x="8732" y="34030"/>
                        <a:pt x="14952" y="49341"/>
                        <a:pt x="21411" y="65250"/>
                      </a:cubicBezTo>
                      <a:cubicBezTo>
                        <a:pt x="28767" y="61542"/>
                        <a:pt x="36303" y="57774"/>
                        <a:pt x="43839" y="53946"/>
                      </a:cubicBezTo>
                      <a:cubicBezTo>
                        <a:pt x="43719" y="53647"/>
                        <a:pt x="43659" y="53348"/>
                        <a:pt x="43540" y="53109"/>
                      </a:cubicBezTo>
                      <a:cubicBezTo>
                        <a:pt x="37619" y="54425"/>
                        <a:pt x="31698" y="55740"/>
                        <a:pt x="25777" y="57116"/>
                      </a:cubicBezTo>
                      <a:cubicBezTo>
                        <a:pt x="25777" y="56757"/>
                        <a:pt x="25777" y="56398"/>
                        <a:pt x="25717" y="5603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32" name="Vrije vorm: vorm 9431">
                  <a:extLst>
                    <a:ext uri="{FF2B5EF4-FFF2-40B4-BE49-F238E27FC236}">
                      <a16:creationId xmlns:a16="http://schemas.microsoft.com/office/drawing/2014/main" id="{C9AA55B2-9C53-4FCF-BA44-0DFA2802C82D}"/>
                    </a:ext>
                  </a:extLst>
                </p:cNvPr>
                <p:cNvSpPr/>
                <p:nvPr/>
              </p:nvSpPr>
              <p:spPr>
                <a:xfrm>
                  <a:off x="5093561" y="1402280"/>
                  <a:ext cx="75536" cy="84328"/>
                </a:xfrm>
                <a:custGeom>
                  <a:avLst/>
                  <a:gdLst>
                    <a:gd name="connsiteX0" fmla="*/ 0 w 75536"/>
                    <a:gd name="connsiteY0" fmla="*/ 17524 h 84328"/>
                    <a:gd name="connsiteX1" fmla="*/ 49221 w 75536"/>
                    <a:gd name="connsiteY1" fmla="*/ 0 h 84328"/>
                    <a:gd name="connsiteX2" fmla="*/ 75537 w 75536"/>
                    <a:gd name="connsiteY2" fmla="*/ 64652 h 84328"/>
                    <a:gd name="connsiteX3" fmla="*/ 27212 w 75536"/>
                    <a:gd name="connsiteY3" fmla="*/ 84328 h 84328"/>
                    <a:gd name="connsiteX4" fmla="*/ 0 w 75536"/>
                    <a:gd name="connsiteY4" fmla="*/ 17524 h 84328"/>
                    <a:gd name="connsiteX5" fmla="*/ 28050 w 75536"/>
                    <a:gd name="connsiteY5" fmla="*/ 81876 h 84328"/>
                    <a:gd name="connsiteX6" fmla="*/ 73264 w 75536"/>
                    <a:gd name="connsiteY6" fmla="*/ 63455 h 84328"/>
                    <a:gd name="connsiteX7" fmla="*/ 48145 w 75536"/>
                    <a:gd name="connsiteY7" fmla="*/ 1675 h 84328"/>
                    <a:gd name="connsiteX8" fmla="*/ 2213 w 75536"/>
                    <a:gd name="connsiteY8" fmla="*/ 18241 h 84328"/>
                    <a:gd name="connsiteX9" fmla="*/ 28050 w 75536"/>
                    <a:gd name="connsiteY9" fmla="*/ 81876 h 8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536" h="84328">
                      <a:moveTo>
                        <a:pt x="0" y="17524"/>
                      </a:moveTo>
                      <a:cubicBezTo>
                        <a:pt x="16566" y="11603"/>
                        <a:pt x="32774" y="5801"/>
                        <a:pt x="49221" y="0"/>
                      </a:cubicBezTo>
                      <a:cubicBezTo>
                        <a:pt x="57893" y="21351"/>
                        <a:pt x="66745" y="43001"/>
                        <a:pt x="75537" y="64652"/>
                      </a:cubicBezTo>
                      <a:cubicBezTo>
                        <a:pt x="59389" y="71230"/>
                        <a:pt x="43360" y="77749"/>
                        <a:pt x="27212" y="84328"/>
                      </a:cubicBezTo>
                      <a:cubicBezTo>
                        <a:pt x="18002" y="61781"/>
                        <a:pt x="9090" y="39772"/>
                        <a:pt x="0" y="17524"/>
                      </a:cubicBezTo>
                      <a:close/>
                      <a:moveTo>
                        <a:pt x="28050" y="81876"/>
                      </a:moveTo>
                      <a:cubicBezTo>
                        <a:pt x="43420" y="75656"/>
                        <a:pt x="58132" y="69616"/>
                        <a:pt x="73264" y="63455"/>
                      </a:cubicBezTo>
                      <a:cubicBezTo>
                        <a:pt x="64891" y="42822"/>
                        <a:pt x="56577" y="22488"/>
                        <a:pt x="48145" y="1675"/>
                      </a:cubicBezTo>
                      <a:cubicBezTo>
                        <a:pt x="32714" y="7237"/>
                        <a:pt x="17583" y="12679"/>
                        <a:pt x="2213" y="18241"/>
                      </a:cubicBezTo>
                      <a:cubicBezTo>
                        <a:pt x="10944" y="39772"/>
                        <a:pt x="19318" y="60405"/>
                        <a:pt x="28050" y="8187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33" name="Vrije vorm: vorm 9432">
                  <a:extLst>
                    <a:ext uri="{FF2B5EF4-FFF2-40B4-BE49-F238E27FC236}">
                      <a16:creationId xmlns:a16="http://schemas.microsoft.com/office/drawing/2014/main" id="{30771252-BE3C-449D-8586-BB719CA6D7AF}"/>
                    </a:ext>
                  </a:extLst>
                </p:cNvPr>
                <p:cNvSpPr/>
                <p:nvPr/>
              </p:nvSpPr>
              <p:spPr>
                <a:xfrm>
                  <a:off x="5191167" y="1819196"/>
                  <a:ext cx="74399" cy="91804"/>
                </a:xfrm>
                <a:custGeom>
                  <a:avLst/>
                  <a:gdLst>
                    <a:gd name="connsiteX0" fmla="*/ 26973 w 74399"/>
                    <a:gd name="connsiteY0" fmla="*/ 91804 h 91804"/>
                    <a:gd name="connsiteX1" fmla="*/ 0 w 74399"/>
                    <a:gd name="connsiteY1" fmla="*/ 25597 h 91804"/>
                    <a:gd name="connsiteX2" fmla="*/ 47905 w 74399"/>
                    <a:gd name="connsiteY2" fmla="*/ 0 h 91804"/>
                    <a:gd name="connsiteX3" fmla="*/ 74400 w 74399"/>
                    <a:gd name="connsiteY3" fmla="*/ 65130 h 91804"/>
                    <a:gd name="connsiteX4" fmla="*/ 26973 w 74399"/>
                    <a:gd name="connsiteY4" fmla="*/ 91804 h 91804"/>
                    <a:gd name="connsiteX5" fmla="*/ 2033 w 74399"/>
                    <a:gd name="connsiteY5" fmla="*/ 26016 h 91804"/>
                    <a:gd name="connsiteX6" fmla="*/ 27930 w 74399"/>
                    <a:gd name="connsiteY6" fmla="*/ 89591 h 91804"/>
                    <a:gd name="connsiteX7" fmla="*/ 69675 w 74399"/>
                    <a:gd name="connsiteY7" fmla="*/ 66446 h 91804"/>
                    <a:gd name="connsiteX8" fmla="*/ 70692 w 74399"/>
                    <a:gd name="connsiteY8" fmla="*/ 59448 h 91804"/>
                    <a:gd name="connsiteX9" fmla="*/ 49221 w 74399"/>
                    <a:gd name="connsiteY9" fmla="*/ 6399 h 91804"/>
                    <a:gd name="connsiteX10" fmla="*/ 46889 w 74399"/>
                    <a:gd name="connsiteY10" fmla="*/ 2153 h 91804"/>
                    <a:gd name="connsiteX11" fmla="*/ 2033 w 74399"/>
                    <a:gd name="connsiteY11" fmla="*/ 26016 h 9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99" h="91804">
                      <a:moveTo>
                        <a:pt x="26973" y="91804"/>
                      </a:moveTo>
                      <a:cubicBezTo>
                        <a:pt x="17942" y="69616"/>
                        <a:pt x="9031" y="47666"/>
                        <a:pt x="0" y="25597"/>
                      </a:cubicBezTo>
                      <a:cubicBezTo>
                        <a:pt x="15789" y="17165"/>
                        <a:pt x="31758" y="8612"/>
                        <a:pt x="47905" y="0"/>
                      </a:cubicBezTo>
                      <a:cubicBezTo>
                        <a:pt x="56637" y="21471"/>
                        <a:pt x="65489" y="43241"/>
                        <a:pt x="74400" y="65130"/>
                      </a:cubicBezTo>
                      <a:cubicBezTo>
                        <a:pt x="58611" y="74041"/>
                        <a:pt x="42822" y="82893"/>
                        <a:pt x="26973" y="91804"/>
                      </a:cubicBezTo>
                      <a:close/>
                      <a:moveTo>
                        <a:pt x="2033" y="26016"/>
                      </a:moveTo>
                      <a:cubicBezTo>
                        <a:pt x="10705" y="47367"/>
                        <a:pt x="19258" y="68300"/>
                        <a:pt x="27930" y="89591"/>
                      </a:cubicBezTo>
                      <a:cubicBezTo>
                        <a:pt x="42044" y="81756"/>
                        <a:pt x="55860" y="73981"/>
                        <a:pt x="69675" y="66446"/>
                      </a:cubicBezTo>
                      <a:cubicBezTo>
                        <a:pt x="73024" y="64652"/>
                        <a:pt x="71769" y="62140"/>
                        <a:pt x="70692" y="59448"/>
                      </a:cubicBezTo>
                      <a:cubicBezTo>
                        <a:pt x="63515" y="41745"/>
                        <a:pt x="56398" y="24102"/>
                        <a:pt x="49221" y="6399"/>
                      </a:cubicBezTo>
                      <a:cubicBezTo>
                        <a:pt x="48623" y="5024"/>
                        <a:pt x="47786" y="3708"/>
                        <a:pt x="46889" y="2153"/>
                      </a:cubicBezTo>
                      <a:cubicBezTo>
                        <a:pt x="31758" y="10167"/>
                        <a:pt x="17045" y="18002"/>
                        <a:pt x="2033" y="2601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34" name="Vrije vorm: vorm 9433">
                  <a:extLst>
                    <a:ext uri="{FF2B5EF4-FFF2-40B4-BE49-F238E27FC236}">
                      <a16:creationId xmlns:a16="http://schemas.microsoft.com/office/drawing/2014/main" id="{677619BC-9908-4B17-8794-605D9F53DA9F}"/>
                    </a:ext>
                  </a:extLst>
                </p:cNvPr>
                <p:cNvSpPr/>
                <p:nvPr/>
              </p:nvSpPr>
              <p:spPr>
                <a:xfrm>
                  <a:off x="5156299" y="1740909"/>
                  <a:ext cx="75237" cy="90667"/>
                </a:xfrm>
                <a:custGeom>
                  <a:avLst/>
                  <a:gdLst>
                    <a:gd name="connsiteX0" fmla="*/ 0 w 75237"/>
                    <a:gd name="connsiteY0" fmla="*/ 24102 h 90667"/>
                    <a:gd name="connsiteX1" fmla="*/ 48623 w 75237"/>
                    <a:gd name="connsiteY1" fmla="*/ 0 h 90667"/>
                    <a:gd name="connsiteX2" fmla="*/ 75238 w 75237"/>
                    <a:gd name="connsiteY2" fmla="*/ 65429 h 90667"/>
                    <a:gd name="connsiteX3" fmla="*/ 27092 w 75237"/>
                    <a:gd name="connsiteY3" fmla="*/ 90668 h 90667"/>
                    <a:gd name="connsiteX4" fmla="*/ 0 w 75237"/>
                    <a:gd name="connsiteY4" fmla="*/ 24102 h 90667"/>
                    <a:gd name="connsiteX5" fmla="*/ 48025 w 75237"/>
                    <a:gd name="connsiteY5" fmla="*/ 1794 h 90667"/>
                    <a:gd name="connsiteX6" fmla="*/ 2033 w 75237"/>
                    <a:gd name="connsiteY6" fmla="*/ 24581 h 90667"/>
                    <a:gd name="connsiteX7" fmla="*/ 28050 w 75237"/>
                    <a:gd name="connsiteY7" fmla="*/ 88455 h 90667"/>
                    <a:gd name="connsiteX8" fmla="*/ 70871 w 75237"/>
                    <a:gd name="connsiteY8" fmla="*/ 66266 h 90667"/>
                    <a:gd name="connsiteX9" fmla="*/ 71589 w 75237"/>
                    <a:gd name="connsiteY9" fmla="*/ 59747 h 90667"/>
                    <a:gd name="connsiteX10" fmla="*/ 54185 w 75237"/>
                    <a:gd name="connsiteY10" fmla="*/ 16866 h 90667"/>
                    <a:gd name="connsiteX11" fmla="*/ 48025 w 75237"/>
                    <a:gd name="connsiteY11" fmla="*/ 1794 h 9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237" h="90667">
                      <a:moveTo>
                        <a:pt x="0" y="24102"/>
                      </a:moveTo>
                      <a:cubicBezTo>
                        <a:pt x="16267" y="16028"/>
                        <a:pt x="32356" y="8074"/>
                        <a:pt x="48623" y="0"/>
                      </a:cubicBezTo>
                      <a:cubicBezTo>
                        <a:pt x="57415" y="21590"/>
                        <a:pt x="66326" y="43480"/>
                        <a:pt x="75238" y="65429"/>
                      </a:cubicBezTo>
                      <a:cubicBezTo>
                        <a:pt x="59389" y="73742"/>
                        <a:pt x="43360" y="82175"/>
                        <a:pt x="27092" y="90668"/>
                      </a:cubicBezTo>
                      <a:cubicBezTo>
                        <a:pt x="18121" y="68659"/>
                        <a:pt x="9090" y="46410"/>
                        <a:pt x="0" y="24102"/>
                      </a:cubicBezTo>
                      <a:close/>
                      <a:moveTo>
                        <a:pt x="48025" y="1794"/>
                      </a:moveTo>
                      <a:cubicBezTo>
                        <a:pt x="32356" y="9569"/>
                        <a:pt x="17284" y="17045"/>
                        <a:pt x="2033" y="24581"/>
                      </a:cubicBezTo>
                      <a:cubicBezTo>
                        <a:pt x="10765" y="46052"/>
                        <a:pt x="19318" y="67044"/>
                        <a:pt x="28050" y="88455"/>
                      </a:cubicBezTo>
                      <a:cubicBezTo>
                        <a:pt x="42523" y="80919"/>
                        <a:pt x="56637" y="73563"/>
                        <a:pt x="70871" y="66266"/>
                      </a:cubicBezTo>
                      <a:cubicBezTo>
                        <a:pt x="74101" y="64592"/>
                        <a:pt x="72546" y="62140"/>
                        <a:pt x="71589" y="59747"/>
                      </a:cubicBezTo>
                      <a:cubicBezTo>
                        <a:pt x="65788" y="45453"/>
                        <a:pt x="59986" y="31160"/>
                        <a:pt x="54185" y="16866"/>
                      </a:cubicBezTo>
                      <a:cubicBezTo>
                        <a:pt x="52212" y="12081"/>
                        <a:pt x="50238" y="7237"/>
                        <a:pt x="48025" y="179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35" name="Vrije vorm: vorm 9434">
                  <a:extLst>
                    <a:ext uri="{FF2B5EF4-FFF2-40B4-BE49-F238E27FC236}">
                      <a16:creationId xmlns:a16="http://schemas.microsoft.com/office/drawing/2014/main" id="{D96C59B7-ACFA-4784-BD64-7DE8AD79E76D}"/>
                    </a:ext>
                  </a:extLst>
                </p:cNvPr>
                <p:cNvSpPr/>
                <p:nvPr/>
              </p:nvSpPr>
              <p:spPr>
                <a:xfrm>
                  <a:off x="4824129" y="1635349"/>
                  <a:ext cx="38635" cy="56099"/>
                </a:xfrm>
                <a:custGeom>
                  <a:avLst/>
                  <a:gdLst>
                    <a:gd name="connsiteX0" fmla="*/ 18959 w 38635"/>
                    <a:gd name="connsiteY0" fmla="*/ 0 h 56099"/>
                    <a:gd name="connsiteX1" fmla="*/ 38636 w 38635"/>
                    <a:gd name="connsiteY1" fmla="*/ 48384 h 56099"/>
                    <a:gd name="connsiteX2" fmla="*/ 19677 w 38635"/>
                    <a:gd name="connsiteY2" fmla="*/ 56099 h 56099"/>
                    <a:gd name="connsiteX3" fmla="*/ 0 w 38635"/>
                    <a:gd name="connsiteY3" fmla="*/ 7715 h 56099"/>
                    <a:gd name="connsiteX4" fmla="*/ 18959 w 38635"/>
                    <a:gd name="connsiteY4" fmla="*/ 0 h 56099"/>
                    <a:gd name="connsiteX5" fmla="*/ 36363 w 38635"/>
                    <a:gd name="connsiteY5" fmla="*/ 47547 h 56099"/>
                    <a:gd name="connsiteX6" fmla="*/ 18062 w 38635"/>
                    <a:gd name="connsiteY6" fmla="*/ 2572 h 56099"/>
                    <a:gd name="connsiteX7" fmla="*/ 6938 w 38635"/>
                    <a:gd name="connsiteY7" fmla="*/ 7057 h 56099"/>
                    <a:gd name="connsiteX8" fmla="*/ 25239 w 38635"/>
                    <a:gd name="connsiteY8" fmla="*/ 52032 h 56099"/>
                    <a:gd name="connsiteX9" fmla="*/ 36363 w 38635"/>
                    <a:gd name="connsiteY9" fmla="*/ 47547 h 56099"/>
                    <a:gd name="connsiteX10" fmla="*/ 2990 w 38635"/>
                    <a:gd name="connsiteY10" fmla="*/ 6340 h 56099"/>
                    <a:gd name="connsiteX11" fmla="*/ 3170 w 38635"/>
                    <a:gd name="connsiteY11" fmla="*/ 12380 h 56099"/>
                    <a:gd name="connsiteX12" fmla="*/ 18780 w 38635"/>
                    <a:gd name="connsiteY12" fmla="*/ 50059 h 56099"/>
                    <a:gd name="connsiteX13" fmla="*/ 22189 w 38635"/>
                    <a:gd name="connsiteY13" fmla="*/ 53049 h 56099"/>
                    <a:gd name="connsiteX14" fmla="*/ 22189 w 38635"/>
                    <a:gd name="connsiteY14" fmla="*/ 48863 h 56099"/>
                    <a:gd name="connsiteX15" fmla="*/ 5921 w 38635"/>
                    <a:gd name="connsiteY15" fmla="*/ 10167 h 56099"/>
                    <a:gd name="connsiteX16" fmla="*/ 2990 w 38635"/>
                    <a:gd name="connsiteY16" fmla="*/ 6340 h 5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35" h="56099">
                      <a:moveTo>
                        <a:pt x="18959" y="0"/>
                      </a:moveTo>
                      <a:cubicBezTo>
                        <a:pt x="25598" y="16387"/>
                        <a:pt x="32176" y="32475"/>
                        <a:pt x="38636" y="48384"/>
                      </a:cubicBezTo>
                      <a:cubicBezTo>
                        <a:pt x="32356" y="50956"/>
                        <a:pt x="26255" y="53408"/>
                        <a:pt x="19677" y="56099"/>
                      </a:cubicBezTo>
                      <a:cubicBezTo>
                        <a:pt x="13158" y="40071"/>
                        <a:pt x="6639" y="24043"/>
                        <a:pt x="0" y="7715"/>
                      </a:cubicBezTo>
                      <a:cubicBezTo>
                        <a:pt x="6100" y="5263"/>
                        <a:pt x="12380" y="2691"/>
                        <a:pt x="18959" y="0"/>
                      </a:cubicBezTo>
                      <a:close/>
                      <a:moveTo>
                        <a:pt x="36363" y="47547"/>
                      </a:moveTo>
                      <a:cubicBezTo>
                        <a:pt x="30083" y="32117"/>
                        <a:pt x="24102" y="17344"/>
                        <a:pt x="18062" y="2572"/>
                      </a:cubicBezTo>
                      <a:cubicBezTo>
                        <a:pt x="14055" y="4187"/>
                        <a:pt x="10466" y="5682"/>
                        <a:pt x="6938" y="7057"/>
                      </a:cubicBezTo>
                      <a:cubicBezTo>
                        <a:pt x="13158" y="22308"/>
                        <a:pt x="19138" y="37081"/>
                        <a:pt x="25239" y="52032"/>
                      </a:cubicBezTo>
                      <a:cubicBezTo>
                        <a:pt x="29186" y="50418"/>
                        <a:pt x="32715" y="49042"/>
                        <a:pt x="36363" y="47547"/>
                      </a:cubicBezTo>
                      <a:close/>
                      <a:moveTo>
                        <a:pt x="2990" y="6340"/>
                      </a:moveTo>
                      <a:cubicBezTo>
                        <a:pt x="3050" y="9509"/>
                        <a:pt x="2691" y="11124"/>
                        <a:pt x="3170" y="12380"/>
                      </a:cubicBezTo>
                      <a:cubicBezTo>
                        <a:pt x="8253" y="24999"/>
                        <a:pt x="13457" y="37559"/>
                        <a:pt x="18780" y="50059"/>
                      </a:cubicBezTo>
                      <a:cubicBezTo>
                        <a:pt x="19318" y="51315"/>
                        <a:pt x="21052" y="52032"/>
                        <a:pt x="22189" y="53049"/>
                      </a:cubicBezTo>
                      <a:cubicBezTo>
                        <a:pt x="22189" y="51614"/>
                        <a:pt x="22667" y="50059"/>
                        <a:pt x="22189" y="48863"/>
                      </a:cubicBezTo>
                      <a:cubicBezTo>
                        <a:pt x="16866" y="35944"/>
                        <a:pt x="11423" y="23026"/>
                        <a:pt x="5921" y="10167"/>
                      </a:cubicBezTo>
                      <a:cubicBezTo>
                        <a:pt x="5682" y="9270"/>
                        <a:pt x="4904" y="8672"/>
                        <a:pt x="2990" y="634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36" name="Vrije vorm: vorm 9435">
                  <a:extLst>
                    <a:ext uri="{FF2B5EF4-FFF2-40B4-BE49-F238E27FC236}">
                      <a16:creationId xmlns:a16="http://schemas.microsoft.com/office/drawing/2014/main" id="{57DEF24F-1417-4F03-BFF2-EBC412AD4A76}"/>
                    </a:ext>
                  </a:extLst>
                </p:cNvPr>
                <p:cNvSpPr/>
                <p:nvPr/>
              </p:nvSpPr>
              <p:spPr>
                <a:xfrm>
                  <a:off x="5185485" y="1634332"/>
                  <a:ext cx="73323" cy="87019"/>
                </a:xfrm>
                <a:custGeom>
                  <a:avLst/>
                  <a:gdLst>
                    <a:gd name="connsiteX0" fmla="*/ 73324 w 73323"/>
                    <a:gd name="connsiteY0" fmla="*/ 64173 h 87019"/>
                    <a:gd name="connsiteX1" fmla="*/ 26554 w 73323"/>
                    <a:gd name="connsiteY1" fmla="*/ 87020 h 87019"/>
                    <a:gd name="connsiteX2" fmla="*/ 0 w 73323"/>
                    <a:gd name="connsiteY2" fmla="*/ 21710 h 87019"/>
                    <a:gd name="connsiteX3" fmla="*/ 47247 w 73323"/>
                    <a:gd name="connsiteY3" fmla="*/ 0 h 87019"/>
                    <a:gd name="connsiteX4" fmla="*/ 73324 w 73323"/>
                    <a:gd name="connsiteY4" fmla="*/ 64173 h 87019"/>
                    <a:gd name="connsiteX5" fmla="*/ 46889 w 73323"/>
                    <a:gd name="connsiteY5" fmla="*/ 3588 h 87019"/>
                    <a:gd name="connsiteX6" fmla="*/ 6280 w 73323"/>
                    <a:gd name="connsiteY6" fmla="*/ 20035 h 87019"/>
                    <a:gd name="connsiteX7" fmla="*/ 3708 w 73323"/>
                    <a:gd name="connsiteY7" fmla="*/ 27511 h 87019"/>
                    <a:gd name="connsiteX8" fmla="*/ 25298 w 73323"/>
                    <a:gd name="connsiteY8" fmla="*/ 80501 h 87019"/>
                    <a:gd name="connsiteX9" fmla="*/ 27571 w 73323"/>
                    <a:gd name="connsiteY9" fmla="*/ 84986 h 87019"/>
                    <a:gd name="connsiteX10" fmla="*/ 71230 w 73323"/>
                    <a:gd name="connsiteY10" fmla="*/ 63515 h 87019"/>
                    <a:gd name="connsiteX11" fmla="*/ 46889 w 73323"/>
                    <a:gd name="connsiteY11" fmla="*/ 3588 h 87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323" h="87019">
                      <a:moveTo>
                        <a:pt x="73324" y="64173"/>
                      </a:moveTo>
                      <a:cubicBezTo>
                        <a:pt x="57654" y="71829"/>
                        <a:pt x="42104" y="79424"/>
                        <a:pt x="26554" y="87020"/>
                      </a:cubicBezTo>
                      <a:cubicBezTo>
                        <a:pt x="17703" y="65250"/>
                        <a:pt x="8851" y="43540"/>
                        <a:pt x="0" y="21710"/>
                      </a:cubicBezTo>
                      <a:cubicBezTo>
                        <a:pt x="15729" y="14473"/>
                        <a:pt x="31459" y="7237"/>
                        <a:pt x="47247" y="0"/>
                      </a:cubicBezTo>
                      <a:cubicBezTo>
                        <a:pt x="55920" y="21411"/>
                        <a:pt x="64652" y="42822"/>
                        <a:pt x="73324" y="64173"/>
                      </a:cubicBezTo>
                      <a:close/>
                      <a:moveTo>
                        <a:pt x="46889" y="3588"/>
                      </a:moveTo>
                      <a:cubicBezTo>
                        <a:pt x="33133" y="9210"/>
                        <a:pt x="19736" y="14772"/>
                        <a:pt x="6280" y="20035"/>
                      </a:cubicBezTo>
                      <a:cubicBezTo>
                        <a:pt x="2452" y="21531"/>
                        <a:pt x="1973" y="23385"/>
                        <a:pt x="3708" y="27511"/>
                      </a:cubicBezTo>
                      <a:cubicBezTo>
                        <a:pt x="11064" y="45095"/>
                        <a:pt x="18121" y="62857"/>
                        <a:pt x="25298" y="80501"/>
                      </a:cubicBezTo>
                      <a:cubicBezTo>
                        <a:pt x="25896" y="81936"/>
                        <a:pt x="26734" y="83252"/>
                        <a:pt x="27571" y="84986"/>
                      </a:cubicBezTo>
                      <a:cubicBezTo>
                        <a:pt x="42343" y="77749"/>
                        <a:pt x="56757" y="70632"/>
                        <a:pt x="71230" y="63515"/>
                      </a:cubicBezTo>
                      <a:cubicBezTo>
                        <a:pt x="62798" y="42702"/>
                        <a:pt x="54664" y="22667"/>
                        <a:pt x="46889" y="358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37" name="Vrije vorm: vorm 9436">
                  <a:extLst>
                    <a:ext uri="{FF2B5EF4-FFF2-40B4-BE49-F238E27FC236}">
                      <a16:creationId xmlns:a16="http://schemas.microsoft.com/office/drawing/2014/main" id="{838E52DC-1D6E-4443-ADA2-AD2013E02CF8}"/>
                    </a:ext>
                  </a:extLst>
                </p:cNvPr>
                <p:cNvSpPr/>
                <p:nvPr/>
              </p:nvSpPr>
              <p:spPr>
                <a:xfrm>
                  <a:off x="5007678" y="1625959"/>
                  <a:ext cx="55800" cy="74101"/>
                </a:xfrm>
                <a:custGeom>
                  <a:avLst/>
                  <a:gdLst>
                    <a:gd name="connsiteX0" fmla="*/ 55800 w 55800"/>
                    <a:gd name="connsiteY0" fmla="*/ 65250 h 74101"/>
                    <a:gd name="connsiteX1" fmla="*/ 25299 w 55800"/>
                    <a:gd name="connsiteY1" fmla="*/ 74101 h 74101"/>
                    <a:gd name="connsiteX2" fmla="*/ 1914 w 55800"/>
                    <a:gd name="connsiteY2" fmla="*/ 16626 h 74101"/>
                    <a:gd name="connsiteX3" fmla="*/ 2512 w 55800"/>
                    <a:gd name="connsiteY3" fmla="*/ 16208 h 74101"/>
                    <a:gd name="connsiteX4" fmla="*/ 4665 w 55800"/>
                    <a:gd name="connsiteY4" fmla="*/ 20454 h 74101"/>
                    <a:gd name="connsiteX5" fmla="*/ 23983 w 55800"/>
                    <a:gd name="connsiteY5" fmla="*/ 67762 h 74101"/>
                    <a:gd name="connsiteX6" fmla="*/ 30681 w 55800"/>
                    <a:gd name="connsiteY6" fmla="*/ 71290 h 74101"/>
                    <a:gd name="connsiteX7" fmla="*/ 53468 w 55800"/>
                    <a:gd name="connsiteY7" fmla="*/ 64353 h 74101"/>
                    <a:gd name="connsiteX8" fmla="*/ 28349 w 55800"/>
                    <a:gd name="connsiteY8" fmla="*/ 2632 h 74101"/>
                    <a:gd name="connsiteX9" fmla="*/ 180 w 55800"/>
                    <a:gd name="connsiteY9" fmla="*/ 12380 h 74101"/>
                    <a:gd name="connsiteX10" fmla="*/ 0 w 55800"/>
                    <a:gd name="connsiteY10" fmla="*/ 11902 h 74101"/>
                    <a:gd name="connsiteX11" fmla="*/ 29186 w 55800"/>
                    <a:gd name="connsiteY11" fmla="*/ 0 h 74101"/>
                    <a:gd name="connsiteX12" fmla="*/ 55800 w 55800"/>
                    <a:gd name="connsiteY12" fmla="*/ 65250 h 7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800" h="74101">
                      <a:moveTo>
                        <a:pt x="55800" y="65250"/>
                      </a:moveTo>
                      <a:cubicBezTo>
                        <a:pt x="45693" y="68180"/>
                        <a:pt x="35645" y="71051"/>
                        <a:pt x="25299" y="74101"/>
                      </a:cubicBezTo>
                      <a:cubicBezTo>
                        <a:pt x="17583" y="55142"/>
                        <a:pt x="9749" y="35884"/>
                        <a:pt x="1914" y="16626"/>
                      </a:cubicBezTo>
                      <a:cubicBezTo>
                        <a:pt x="2093" y="16507"/>
                        <a:pt x="2333" y="16327"/>
                        <a:pt x="2512" y="16208"/>
                      </a:cubicBezTo>
                      <a:cubicBezTo>
                        <a:pt x="3230" y="17643"/>
                        <a:pt x="4067" y="19019"/>
                        <a:pt x="4665" y="20454"/>
                      </a:cubicBezTo>
                      <a:cubicBezTo>
                        <a:pt x="11184" y="36183"/>
                        <a:pt x="17703" y="51913"/>
                        <a:pt x="23983" y="67762"/>
                      </a:cubicBezTo>
                      <a:cubicBezTo>
                        <a:pt x="25538" y="71709"/>
                        <a:pt x="27153" y="72486"/>
                        <a:pt x="30681" y="71290"/>
                      </a:cubicBezTo>
                      <a:cubicBezTo>
                        <a:pt x="38038" y="68778"/>
                        <a:pt x="45633" y="66745"/>
                        <a:pt x="53468" y="64353"/>
                      </a:cubicBezTo>
                      <a:cubicBezTo>
                        <a:pt x="45095" y="43779"/>
                        <a:pt x="36841" y="23444"/>
                        <a:pt x="28349" y="2632"/>
                      </a:cubicBezTo>
                      <a:cubicBezTo>
                        <a:pt x="18899" y="5921"/>
                        <a:pt x="9510" y="9150"/>
                        <a:pt x="180" y="12380"/>
                      </a:cubicBezTo>
                      <a:cubicBezTo>
                        <a:pt x="120" y="12201"/>
                        <a:pt x="60" y="12081"/>
                        <a:pt x="0" y="11902"/>
                      </a:cubicBezTo>
                      <a:cubicBezTo>
                        <a:pt x="9689" y="7954"/>
                        <a:pt x="19378" y="4007"/>
                        <a:pt x="29186" y="0"/>
                      </a:cubicBezTo>
                      <a:cubicBezTo>
                        <a:pt x="38217" y="21949"/>
                        <a:pt x="47009" y="43599"/>
                        <a:pt x="55800" y="6525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38" name="Vrije vorm: vorm 9437">
                  <a:extLst>
                    <a:ext uri="{FF2B5EF4-FFF2-40B4-BE49-F238E27FC236}">
                      <a16:creationId xmlns:a16="http://schemas.microsoft.com/office/drawing/2014/main" id="{F832C91F-B0A2-4973-BE16-BF1B36DAAC01}"/>
                    </a:ext>
                  </a:extLst>
                </p:cNvPr>
                <p:cNvSpPr/>
                <p:nvPr/>
              </p:nvSpPr>
              <p:spPr>
                <a:xfrm>
                  <a:off x="5440024" y="1778109"/>
                  <a:ext cx="63634" cy="83251"/>
                </a:xfrm>
                <a:custGeom>
                  <a:avLst/>
                  <a:gdLst>
                    <a:gd name="connsiteX0" fmla="*/ 62259 w 63634"/>
                    <a:gd name="connsiteY0" fmla="*/ 58910 h 83251"/>
                    <a:gd name="connsiteX1" fmla="*/ 39054 w 63634"/>
                    <a:gd name="connsiteY1" fmla="*/ 1914 h 83251"/>
                    <a:gd name="connsiteX2" fmla="*/ 5083 w 63634"/>
                    <a:gd name="connsiteY2" fmla="*/ 21232 h 83251"/>
                    <a:gd name="connsiteX3" fmla="*/ 3289 w 63634"/>
                    <a:gd name="connsiteY3" fmla="*/ 26255 h 83251"/>
                    <a:gd name="connsiteX4" fmla="*/ 25418 w 63634"/>
                    <a:gd name="connsiteY4" fmla="*/ 81039 h 83251"/>
                    <a:gd name="connsiteX5" fmla="*/ 60046 w 63634"/>
                    <a:gd name="connsiteY5" fmla="*/ 60405 h 83251"/>
                    <a:gd name="connsiteX6" fmla="*/ 60585 w 63634"/>
                    <a:gd name="connsiteY6" fmla="*/ 61362 h 83251"/>
                    <a:gd name="connsiteX7" fmla="*/ 24700 w 63634"/>
                    <a:gd name="connsiteY7" fmla="*/ 83252 h 83251"/>
                    <a:gd name="connsiteX8" fmla="*/ 0 w 63634"/>
                    <a:gd name="connsiteY8" fmla="*/ 22547 h 83251"/>
                    <a:gd name="connsiteX9" fmla="*/ 39712 w 63634"/>
                    <a:gd name="connsiteY9" fmla="*/ 0 h 83251"/>
                    <a:gd name="connsiteX10" fmla="*/ 63635 w 63634"/>
                    <a:gd name="connsiteY10" fmla="*/ 58731 h 83251"/>
                    <a:gd name="connsiteX11" fmla="*/ 62259 w 63634"/>
                    <a:gd name="connsiteY11" fmla="*/ 58910 h 8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634" h="83251">
                      <a:moveTo>
                        <a:pt x="62259" y="58910"/>
                      </a:moveTo>
                      <a:cubicBezTo>
                        <a:pt x="54544" y="40011"/>
                        <a:pt x="46889" y="21112"/>
                        <a:pt x="39054" y="1914"/>
                      </a:cubicBezTo>
                      <a:cubicBezTo>
                        <a:pt x="27451" y="8433"/>
                        <a:pt x="16148" y="14653"/>
                        <a:pt x="5083" y="21232"/>
                      </a:cubicBezTo>
                      <a:cubicBezTo>
                        <a:pt x="3887" y="21949"/>
                        <a:pt x="2811" y="24940"/>
                        <a:pt x="3289" y="26255"/>
                      </a:cubicBezTo>
                      <a:cubicBezTo>
                        <a:pt x="10406" y="44377"/>
                        <a:pt x="17822" y="62379"/>
                        <a:pt x="25418" y="81039"/>
                      </a:cubicBezTo>
                      <a:cubicBezTo>
                        <a:pt x="37140" y="74041"/>
                        <a:pt x="48623" y="67223"/>
                        <a:pt x="60046" y="60405"/>
                      </a:cubicBezTo>
                      <a:cubicBezTo>
                        <a:pt x="60226" y="60704"/>
                        <a:pt x="60405" y="61063"/>
                        <a:pt x="60585" y="61362"/>
                      </a:cubicBezTo>
                      <a:cubicBezTo>
                        <a:pt x="48683" y="68659"/>
                        <a:pt x="36722" y="75895"/>
                        <a:pt x="24700" y="83252"/>
                      </a:cubicBezTo>
                      <a:cubicBezTo>
                        <a:pt x="16507" y="63097"/>
                        <a:pt x="8253" y="42762"/>
                        <a:pt x="0" y="22547"/>
                      </a:cubicBezTo>
                      <a:cubicBezTo>
                        <a:pt x="13576" y="14832"/>
                        <a:pt x="26794" y="7296"/>
                        <a:pt x="39712" y="0"/>
                      </a:cubicBezTo>
                      <a:cubicBezTo>
                        <a:pt x="47606" y="19437"/>
                        <a:pt x="55621" y="39054"/>
                        <a:pt x="63635" y="58731"/>
                      </a:cubicBezTo>
                      <a:cubicBezTo>
                        <a:pt x="63216" y="58671"/>
                        <a:pt x="62738" y="58791"/>
                        <a:pt x="62259" y="5891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39" name="Vrije vorm: vorm 9438">
                  <a:extLst>
                    <a:ext uri="{FF2B5EF4-FFF2-40B4-BE49-F238E27FC236}">
                      <a16:creationId xmlns:a16="http://schemas.microsoft.com/office/drawing/2014/main" id="{0F31C507-1F93-46D0-BD21-66B455C0F6C6}"/>
                    </a:ext>
                  </a:extLst>
                </p:cNvPr>
                <p:cNvSpPr/>
                <p:nvPr/>
              </p:nvSpPr>
              <p:spPr>
                <a:xfrm>
                  <a:off x="5299896" y="1582061"/>
                  <a:ext cx="68478" cy="82414"/>
                </a:xfrm>
                <a:custGeom>
                  <a:avLst/>
                  <a:gdLst>
                    <a:gd name="connsiteX0" fmla="*/ 0 w 68478"/>
                    <a:gd name="connsiteY0" fmla="*/ 19856 h 82414"/>
                    <a:gd name="connsiteX1" fmla="*/ 43420 w 68478"/>
                    <a:gd name="connsiteY1" fmla="*/ 0 h 82414"/>
                    <a:gd name="connsiteX2" fmla="*/ 68479 w 68478"/>
                    <a:gd name="connsiteY2" fmla="*/ 61542 h 82414"/>
                    <a:gd name="connsiteX3" fmla="*/ 25478 w 68478"/>
                    <a:gd name="connsiteY3" fmla="*/ 82414 h 82414"/>
                    <a:gd name="connsiteX4" fmla="*/ 0 w 68478"/>
                    <a:gd name="connsiteY4" fmla="*/ 19856 h 82414"/>
                    <a:gd name="connsiteX5" fmla="*/ 66446 w 68478"/>
                    <a:gd name="connsiteY5" fmla="*/ 60944 h 82414"/>
                    <a:gd name="connsiteX6" fmla="*/ 42403 w 68478"/>
                    <a:gd name="connsiteY6" fmla="*/ 1854 h 82414"/>
                    <a:gd name="connsiteX7" fmla="*/ 2213 w 68478"/>
                    <a:gd name="connsiteY7" fmla="*/ 20394 h 82414"/>
                    <a:gd name="connsiteX8" fmla="*/ 26614 w 68478"/>
                    <a:gd name="connsiteY8" fmla="*/ 80321 h 82414"/>
                    <a:gd name="connsiteX9" fmla="*/ 66446 w 68478"/>
                    <a:gd name="connsiteY9" fmla="*/ 60944 h 8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78" h="82414">
                      <a:moveTo>
                        <a:pt x="0" y="19856"/>
                      </a:moveTo>
                      <a:cubicBezTo>
                        <a:pt x="14473" y="13217"/>
                        <a:pt x="28827" y="6698"/>
                        <a:pt x="43420" y="0"/>
                      </a:cubicBezTo>
                      <a:cubicBezTo>
                        <a:pt x="51614" y="20215"/>
                        <a:pt x="59986" y="40729"/>
                        <a:pt x="68479" y="61542"/>
                      </a:cubicBezTo>
                      <a:cubicBezTo>
                        <a:pt x="54125" y="68539"/>
                        <a:pt x="39831" y="75477"/>
                        <a:pt x="25478" y="82414"/>
                      </a:cubicBezTo>
                      <a:cubicBezTo>
                        <a:pt x="17045" y="61781"/>
                        <a:pt x="8493" y="40848"/>
                        <a:pt x="0" y="19856"/>
                      </a:cubicBezTo>
                      <a:close/>
                      <a:moveTo>
                        <a:pt x="66446" y="60944"/>
                      </a:moveTo>
                      <a:cubicBezTo>
                        <a:pt x="58252" y="40848"/>
                        <a:pt x="50477" y="21590"/>
                        <a:pt x="42403" y="1854"/>
                      </a:cubicBezTo>
                      <a:cubicBezTo>
                        <a:pt x="28767" y="8134"/>
                        <a:pt x="15490" y="14234"/>
                        <a:pt x="2213" y="20394"/>
                      </a:cubicBezTo>
                      <a:cubicBezTo>
                        <a:pt x="10526" y="40848"/>
                        <a:pt x="18480" y="60465"/>
                        <a:pt x="26614" y="80321"/>
                      </a:cubicBezTo>
                      <a:cubicBezTo>
                        <a:pt x="39951" y="73862"/>
                        <a:pt x="52810" y="67582"/>
                        <a:pt x="66446" y="6094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40" name="Vrije vorm: vorm 9439">
                  <a:extLst>
                    <a:ext uri="{FF2B5EF4-FFF2-40B4-BE49-F238E27FC236}">
                      <a16:creationId xmlns:a16="http://schemas.microsoft.com/office/drawing/2014/main" id="{62BFFDD3-00C6-4CE7-85F8-626A17CAB2BB}"/>
                    </a:ext>
                  </a:extLst>
                </p:cNvPr>
                <p:cNvSpPr/>
                <p:nvPr/>
              </p:nvSpPr>
              <p:spPr>
                <a:xfrm>
                  <a:off x="5509819" y="1626079"/>
                  <a:ext cx="49161" cy="61720"/>
                </a:xfrm>
                <a:custGeom>
                  <a:avLst/>
                  <a:gdLst>
                    <a:gd name="connsiteX0" fmla="*/ 49162 w 49161"/>
                    <a:gd name="connsiteY0" fmla="*/ 44437 h 61720"/>
                    <a:gd name="connsiteX1" fmla="*/ 17404 w 49161"/>
                    <a:gd name="connsiteY1" fmla="*/ 61721 h 61720"/>
                    <a:gd name="connsiteX2" fmla="*/ 8792 w 49161"/>
                    <a:gd name="connsiteY2" fmla="*/ 39533 h 61720"/>
                    <a:gd name="connsiteX3" fmla="*/ 0 w 49161"/>
                    <a:gd name="connsiteY3" fmla="*/ 15131 h 61720"/>
                    <a:gd name="connsiteX4" fmla="*/ 12260 w 49161"/>
                    <a:gd name="connsiteY4" fmla="*/ 45453 h 61720"/>
                    <a:gd name="connsiteX5" fmla="*/ 18959 w 49161"/>
                    <a:gd name="connsiteY5" fmla="*/ 49461 h 61720"/>
                    <a:gd name="connsiteX6" fmla="*/ 43779 w 49161"/>
                    <a:gd name="connsiteY6" fmla="*/ 43958 h 61720"/>
                    <a:gd name="connsiteX7" fmla="*/ 26554 w 49161"/>
                    <a:gd name="connsiteY7" fmla="*/ 1675 h 61720"/>
                    <a:gd name="connsiteX8" fmla="*/ 28169 w 49161"/>
                    <a:gd name="connsiteY8" fmla="*/ 1017 h 61720"/>
                    <a:gd name="connsiteX9" fmla="*/ 45633 w 49161"/>
                    <a:gd name="connsiteY9" fmla="*/ 43898 h 61720"/>
                    <a:gd name="connsiteX10" fmla="*/ 47427 w 49161"/>
                    <a:gd name="connsiteY10" fmla="*/ 43121 h 61720"/>
                    <a:gd name="connsiteX11" fmla="*/ 30023 w 49161"/>
                    <a:gd name="connsiteY11" fmla="*/ 359 h 61720"/>
                    <a:gd name="connsiteX12" fmla="*/ 31100 w 49161"/>
                    <a:gd name="connsiteY12" fmla="*/ 0 h 61720"/>
                    <a:gd name="connsiteX13" fmla="*/ 49162 w 49161"/>
                    <a:gd name="connsiteY13" fmla="*/ 44437 h 61720"/>
                    <a:gd name="connsiteX14" fmla="*/ 18301 w 49161"/>
                    <a:gd name="connsiteY14" fmla="*/ 59568 h 61720"/>
                    <a:gd name="connsiteX15" fmla="*/ 41267 w 49161"/>
                    <a:gd name="connsiteY15" fmla="*/ 47188 h 61720"/>
                    <a:gd name="connsiteX16" fmla="*/ 40729 w 49161"/>
                    <a:gd name="connsiteY16" fmla="*/ 45992 h 61720"/>
                    <a:gd name="connsiteX17" fmla="*/ 15072 w 49161"/>
                    <a:gd name="connsiteY17" fmla="*/ 51614 h 61720"/>
                    <a:gd name="connsiteX18" fmla="*/ 18301 w 49161"/>
                    <a:gd name="connsiteY18" fmla="*/ 59568 h 6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161" h="61720">
                      <a:moveTo>
                        <a:pt x="49162" y="44437"/>
                      </a:moveTo>
                      <a:cubicBezTo>
                        <a:pt x="38336" y="50298"/>
                        <a:pt x="27870" y="55980"/>
                        <a:pt x="17404" y="61721"/>
                      </a:cubicBezTo>
                      <a:cubicBezTo>
                        <a:pt x="13576" y="54783"/>
                        <a:pt x="11782" y="46889"/>
                        <a:pt x="8792" y="39533"/>
                      </a:cubicBezTo>
                      <a:cubicBezTo>
                        <a:pt x="5502" y="31518"/>
                        <a:pt x="2273" y="23504"/>
                        <a:pt x="0" y="15131"/>
                      </a:cubicBezTo>
                      <a:cubicBezTo>
                        <a:pt x="4127" y="25239"/>
                        <a:pt x="8373" y="35286"/>
                        <a:pt x="12260" y="45453"/>
                      </a:cubicBezTo>
                      <a:cubicBezTo>
                        <a:pt x="13696" y="49221"/>
                        <a:pt x="15311" y="50417"/>
                        <a:pt x="18959" y="49461"/>
                      </a:cubicBezTo>
                      <a:cubicBezTo>
                        <a:pt x="26853" y="47427"/>
                        <a:pt x="34868" y="45872"/>
                        <a:pt x="43779" y="43958"/>
                      </a:cubicBezTo>
                      <a:cubicBezTo>
                        <a:pt x="37858" y="29485"/>
                        <a:pt x="32236" y="15550"/>
                        <a:pt x="26554" y="1675"/>
                      </a:cubicBezTo>
                      <a:cubicBezTo>
                        <a:pt x="27093" y="1435"/>
                        <a:pt x="27631" y="1256"/>
                        <a:pt x="28169" y="1017"/>
                      </a:cubicBezTo>
                      <a:cubicBezTo>
                        <a:pt x="33970" y="15311"/>
                        <a:pt x="39772" y="29605"/>
                        <a:pt x="45633" y="43898"/>
                      </a:cubicBezTo>
                      <a:cubicBezTo>
                        <a:pt x="46231" y="43659"/>
                        <a:pt x="46829" y="43360"/>
                        <a:pt x="47427" y="43121"/>
                      </a:cubicBezTo>
                      <a:cubicBezTo>
                        <a:pt x="41626" y="28887"/>
                        <a:pt x="35824" y="14653"/>
                        <a:pt x="30023" y="359"/>
                      </a:cubicBezTo>
                      <a:cubicBezTo>
                        <a:pt x="30382" y="239"/>
                        <a:pt x="30741" y="120"/>
                        <a:pt x="31100" y="0"/>
                      </a:cubicBezTo>
                      <a:cubicBezTo>
                        <a:pt x="37021" y="14713"/>
                        <a:pt x="43061" y="29485"/>
                        <a:pt x="49162" y="44437"/>
                      </a:cubicBezTo>
                      <a:close/>
                      <a:moveTo>
                        <a:pt x="18301" y="59568"/>
                      </a:moveTo>
                      <a:cubicBezTo>
                        <a:pt x="26136" y="55322"/>
                        <a:pt x="33671" y="51255"/>
                        <a:pt x="41267" y="47188"/>
                      </a:cubicBezTo>
                      <a:cubicBezTo>
                        <a:pt x="41088" y="46769"/>
                        <a:pt x="40908" y="46410"/>
                        <a:pt x="40729" y="45992"/>
                      </a:cubicBezTo>
                      <a:cubicBezTo>
                        <a:pt x="32236" y="47846"/>
                        <a:pt x="23744" y="49700"/>
                        <a:pt x="15072" y="51614"/>
                      </a:cubicBezTo>
                      <a:cubicBezTo>
                        <a:pt x="16268" y="54724"/>
                        <a:pt x="17165" y="56877"/>
                        <a:pt x="18301" y="5956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41" name="Vrije vorm: vorm 9440">
                  <a:extLst>
                    <a:ext uri="{FF2B5EF4-FFF2-40B4-BE49-F238E27FC236}">
                      <a16:creationId xmlns:a16="http://schemas.microsoft.com/office/drawing/2014/main" id="{1354E8C8-8F60-4703-BE89-BC4B107BA50D}"/>
                    </a:ext>
                  </a:extLst>
                </p:cNvPr>
                <p:cNvSpPr/>
                <p:nvPr/>
              </p:nvSpPr>
              <p:spPr>
                <a:xfrm>
                  <a:off x="5391880" y="1803228"/>
                  <a:ext cx="65787" cy="85344"/>
                </a:xfrm>
                <a:custGeom>
                  <a:avLst/>
                  <a:gdLst>
                    <a:gd name="connsiteX0" fmla="*/ 26016 w 65787"/>
                    <a:gd name="connsiteY0" fmla="*/ 83132 h 85344"/>
                    <a:gd name="connsiteX1" fmla="*/ 62199 w 65787"/>
                    <a:gd name="connsiteY1" fmla="*/ 61601 h 85344"/>
                    <a:gd name="connsiteX2" fmla="*/ 62738 w 65787"/>
                    <a:gd name="connsiteY2" fmla="*/ 62618 h 85344"/>
                    <a:gd name="connsiteX3" fmla="*/ 25179 w 65787"/>
                    <a:gd name="connsiteY3" fmla="*/ 85345 h 85344"/>
                    <a:gd name="connsiteX4" fmla="*/ 0 w 65787"/>
                    <a:gd name="connsiteY4" fmla="*/ 23504 h 85344"/>
                    <a:gd name="connsiteX5" fmla="*/ 41386 w 65787"/>
                    <a:gd name="connsiteY5" fmla="*/ 0 h 85344"/>
                    <a:gd name="connsiteX6" fmla="*/ 65788 w 65787"/>
                    <a:gd name="connsiteY6" fmla="*/ 60046 h 85344"/>
                    <a:gd name="connsiteX7" fmla="*/ 64711 w 65787"/>
                    <a:gd name="connsiteY7" fmla="*/ 60465 h 85344"/>
                    <a:gd name="connsiteX8" fmla="*/ 40848 w 65787"/>
                    <a:gd name="connsiteY8" fmla="*/ 1854 h 85344"/>
                    <a:gd name="connsiteX9" fmla="*/ 12021 w 65787"/>
                    <a:gd name="connsiteY9" fmla="*/ 18181 h 85344"/>
                    <a:gd name="connsiteX10" fmla="*/ 6937 w 65787"/>
                    <a:gd name="connsiteY10" fmla="*/ 36542 h 85344"/>
                    <a:gd name="connsiteX11" fmla="*/ 23624 w 65787"/>
                    <a:gd name="connsiteY11" fmla="*/ 78407 h 85344"/>
                    <a:gd name="connsiteX12" fmla="*/ 26016 w 65787"/>
                    <a:gd name="connsiteY12" fmla="*/ 83132 h 85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787" h="85344">
                      <a:moveTo>
                        <a:pt x="26016" y="83132"/>
                      </a:moveTo>
                      <a:cubicBezTo>
                        <a:pt x="38575" y="75656"/>
                        <a:pt x="50358" y="68599"/>
                        <a:pt x="62199" y="61601"/>
                      </a:cubicBezTo>
                      <a:cubicBezTo>
                        <a:pt x="62379" y="61960"/>
                        <a:pt x="62558" y="62259"/>
                        <a:pt x="62738" y="62618"/>
                      </a:cubicBezTo>
                      <a:cubicBezTo>
                        <a:pt x="50238" y="70154"/>
                        <a:pt x="37738" y="77749"/>
                        <a:pt x="25179" y="85345"/>
                      </a:cubicBezTo>
                      <a:cubicBezTo>
                        <a:pt x="16865" y="64831"/>
                        <a:pt x="8433" y="44198"/>
                        <a:pt x="0" y="23504"/>
                      </a:cubicBezTo>
                      <a:cubicBezTo>
                        <a:pt x="14055" y="15550"/>
                        <a:pt x="27810" y="7715"/>
                        <a:pt x="41386" y="0"/>
                      </a:cubicBezTo>
                      <a:cubicBezTo>
                        <a:pt x="49520" y="20035"/>
                        <a:pt x="57654" y="40011"/>
                        <a:pt x="65788" y="60046"/>
                      </a:cubicBezTo>
                      <a:cubicBezTo>
                        <a:pt x="65429" y="60166"/>
                        <a:pt x="65070" y="60345"/>
                        <a:pt x="64711" y="60465"/>
                      </a:cubicBezTo>
                      <a:cubicBezTo>
                        <a:pt x="56817" y="41088"/>
                        <a:pt x="48982" y="21770"/>
                        <a:pt x="40848" y="1854"/>
                      </a:cubicBezTo>
                      <a:cubicBezTo>
                        <a:pt x="30920" y="7476"/>
                        <a:pt x="21351" y="12619"/>
                        <a:pt x="12021" y="18181"/>
                      </a:cubicBezTo>
                      <a:cubicBezTo>
                        <a:pt x="2153" y="24043"/>
                        <a:pt x="2213" y="24282"/>
                        <a:pt x="6937" y="36542"/>
                      </a:cubicBezTo>
                      <a:cubicBezTo>
                        <a:pt x="12380" y="50537"/>
                        <a:pt x="18002" y="64472"/>
                        <a:pt x="23624" y="78407"/>
                      </a:cubicBezTo>
                      <a:cubicBezTo>
                        <a:pt x="24282" y="79902"/>
                        <a:pt x="25119" y="81278"/>
                        <a:pt x="26016" y="8313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42" name="Vrije vorm: vorm 9441">
                  <a:extLst>
                    <a:ext uri="{FF2B5EF4-FFF2-40B4-BE49-F238E27FC236}">
                      <a16:creationId xmlns:a16="http://schemas.microsoft.com/office/drawing/2014/main" id="{96429CA3-F8DD-4075-8E3E-8B57382D64AE}"/>
                    </a:ext>
                  </a:extLst>
                </p:cNvPr>
                <p:cNvSpPr/>
                <p:nvPr/>
              </p:nvSpPr>
              <p:spPr>
                <a:xfrm>
                  <a:off x="5153069" y="1557659"/>
                  <a:ext cx="73802" cy="85165"/>
                </a:xfrm>
                <a:custGeom>
                  <a:avLst/>
                  <a:gdLst>
                    <a:gd name="connsiteX0" fmla="*/ 26734 w 73802"/>
                    <a:gd name="connsiteY0" fmla="*/ 85165 h 85165"/>
                    <a:gd name="connsiteX1" fmla="*/ 0 w 73802"/>
                    <a:gd name="connsiteY1" fmla="*/ 19377 h 85165"/>
                    <a:gd name="connsiteX2" fmla="*/ 47667 w 73802"/>
                    <a:gd name="connsiteY2" fmla="*/ 0 h 85165"/>
                    <a:gd name="connsiteX3" fmla="*/ 48145 w 73802"/>
                    <a:gd name="connsiteY3" fmla="*/ 1136 h 85165"/>
                    <a:gd name="connsiteX4" fmla="*/ 2034 w 73802"/>
                    <a:gd name="connsiteY4" fmla="*/ 19916 h 85165"/>
                    <a:gd name="connsiteX5" fmla="*/ 27332 w 73802"/>
                    <a:gd name="connsiteY5" fmla="*/ 82175 h 85165"/>
                    <a:gd name="connsiteX6" fmla="*/ 72487 w 73802"/>
                    <a:gd name="connsiteY6" fmla="*/ 63814 h 85165"/>
                    <a:gd name="connsiteX7" fmla="*/ 48145 w 73802"/>
                    <a:gd name="connsiteY7" fmla="*/ 3947 h 85165"/>
                    <a:gd name="connsiteX8" fmla="*/ 49222 w 73802"/>
                    <a:gd name="connsiteY8" fmla="*/ 3529 h 85165"/>
                    <a:gd name="connsiteX9" fmla="*/ 73802 w 73802"/>
                    <a:gd name="connsiteY9" fmla="*/ 63934 h 85165"/>
                    <a:gd name="connsiteX10" fmla="*/ 26734 w 73802"/>
                    <a:gd name="connsiteY10" fmla="*/ 85165 h 8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802" h="85165">
                      <a:moveTo>
                        <a:pt x="26734" y="85165"/>
                      </a:moveTo>
                      <a:cubicBezTo>
                        <a:pt x="17823" y="63216"/>
                        <a:pt x="8912" y="41327"/>
                        <a:pt x="0" y="19377"/>
                      </a:cubicBezTo>
                      <a:cubicBezTo>
                        <a:pt x="15909" y="12918"/>
                        <a:pt x="31758" y="6459"/>
                        <a:pt x="47667" y="0"/>
                      </a:cubicBezTo>
                      <a:cubicBezTo>
                        <a:pt x="47846" y="359"/>
                        <a:pt x="47966" y="777"/>
                        <a:pt x="48145" y="1136"/>
                      </a:cubicBezTo>
                      <a:cubicBezTo>
                        <a:pt x="32834" y="7356"/>
                        <a:pt x="17583" y="13576"/>
                        <a:pt x="2034" y="19916"/>
                      </a:cubicBezTo>
                      <a:cubicBezTo>
                        <a:pt x="10766" y="41327"/>
                        <a:pt x="19138" y="61960"/>
                        <a:pt x="27332" y="82175"/>
                      </a:cubicBezTo>
                      <a:cubicBezTo>
                        <a:pt x="42344" y="76075"/>
                        <a:pt x="57116" y="70034"/>
                        <a:pt x="72487" y="63814"/>
                      </a:cubicBezTo>
                      <a:cubicBezTo>
                        <a:pt x="64114" y="43241"/>
                        <a:pt x="56159" y="23624"/>
                        <a:pt x="48145" y="3947"/>
                      </a:cubicBezTo>
                      <a:cubicBezTo>
                        <a:pt x="48504" y="3828"/>
                        <a:pt x="48863" y="3648"/>
                        <a:pt x="49222" y="3529"/>
                      </a:cubicBezTo>
                      <a:cubicBezTo>
                        <a:pt x="57415" y="23624"/>
                        <a:pt x="65609" y="43779"/>
                        <a:pt x="73802" y="63934"/>
                      </a:cubicBezTo>
                      <a:cubicBezTo>
                        <a:pt x="58432" y="70871"/>
                        <a:pt x="42762" y="77929"/>
                        <a:pt x="26734" y="8516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43" name="Vrije vorm: vorm 9442">
                  <a:extLst>
                    <a:ext uri="{FF2B5EF4-FFF2-40B4-BE49-F238E27FC236}">
                      <a16:creationId xmlns:a16="http://schemas.microsoft.com/office/drawing/2014/main" id="{0B116645-5F78-4E86-B257-29068BC667A7}"/>
                    </a:ext>
                  </a:extLst>
                </p:cNvPr>
                <p:cNvSpPr/>
                <p:nvPr/>
              </p:nvSpPr>
              <p:spPr>
                <a:xfrm>
                  <a:off x="4849248" y="1696292"/>
                  <a:ext cx="38635" cy="54783"/>
                </a:xfrm>
                <a:custGeom>
                  <a:avLst/>
                  <a:gdLst>
                    <a:gd name="connsiteX0" fmla="*/ 0 w 38635"/>
                    <a:gd name="connsiteY0" fmla="*/ 7536 h 54783"/>
                    <a:gd name="connsiteX1" fmla="*/ 18600 w 38635"/>
                    <a:gd name="connsiteY1" fmla="*/ 0 h 54783"/>
                    <a:gd name="connsiteX2" fmla="*/ 38636 w 38635"/>
                    <a:gd name="connsiteY2" fmla="*/ 49221 h 54783"/>
                    <a:gd name="connsiteX3" fmla="*/ 19258 w 38635"/>
                    <a:gd name="connsiteY3" fmla="*/ 54783 h 54783"/>
                    <a:gd name="connsiteX4" fmla="*/ 0 w 38635"/>
                    <a:gd name="connsiteY4" fmla="*/ 7536 h 54783"/>
                    <a:gd name="connsiteX5" fmla="*/ 4725 w 38635"/>
                    <a:gd name="connsiteY5" fmla="*/ 7715 h 54783"/>
                    <a:gd name="connsiteX6" fmla="*/ 21650 w 38635"/>
                    <a:gd name="connsiteY6" fmla="*/ 49341 h 54783"/>
                    <a:gd name="connsiteX7" fmla="*/ 20394 w 38635"/>
                    <a:gd name="connsiteY7" fmla="*/ 49879 h 54783"/>
                    <a:gd name="connsiteX8" fmla="*/ 3289 w 38635"/>
                    <a:gd name="connsiteY8" fmla="*/ 7895 h 54783"/>
                    <a:gd name="connsiteX9" fmla="*/ 2273 w 38635"/>
                    <a:gd name="connsiteY9" fmla="*/ 9150 h 54783"/>
                    <a:gd name="connsiteX10" fmla="*/ 19258 w 38635"/>
                    <a:gd name="connsiteY10" fmla="*/ 50717 h 54783"/>
                    <a:gd name="connsiteX11" fmla="*/ 22846 w 38635"/>
                    <a:gd name="connsiteY11" fmla="*/ 52331 h 54783"/>
                    <a:gd name="connsiteX12" fmla="*/ 36483 w 38635"/>
                    <a:gd name="connsiteY12" fmla="*/ 48205 h 54783"/>
                    <a:gd name="connsiteX13" fmla="*/ 17823 w 38635"/>
                    <a:gd name="connsiteY13" fmla="*/ 2392 h 54783"/>
                    <a:gd name="connsiteX14" fmla="*/ 4725 w 38635"/>
                    <a:gd name="connsiteY14" fmla="*/ 7715 h 5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35" h="54783">
                      <a:moveTo>
                        <a:pt x="0" y="7536"/>
                      </a:moveTo>
                      <a:cubicBezTo>
                        <a:pt x="6100" y="5084"/>
                        <a:pt x="12141" y="2632"/>
                        <a:pt x="18600" y="0"/>
                      </a:cubicBezTo>
                      <a:cubicBezTo>
                        <a:pt x="25358" y="16686"/>
                        <a:pt x="31997" y="32894"/>
                        <a:pt x="38636" y="49221"/>
                      </a:cubicBezTo>
                      <a:cubicBezTo>
                        <a:pt x="32475" y="51016"/>
                        <a:pt x="26076" y="52810"/>
                        <a:pt x="19258" y="54783"/>
                      </a:cubicBezTo>
                      <a:cubicBezTo>
                        <a:pt x="12919" y="39174"/>
                        <a:pt x="6459" y="23325"/>
                        <a:pt x="0" y="7536"/>
                      </a:cubicBezTo>
                      <a:close/>
                      <a:moveTo>
                        <a:pt x="4725" y="7715"/>
                      </a:moveTo>
                      <a:cubicBezTo>
                        <a:pt x="10526" y="21949"/>
                        <a:pt x="16088" y="35645"/>
                        <a:pt x="21650" y="49341"/>
                      </a:cubicBezTo>
                      <a:cubicBezTo>
                        <a:pt x="21231" y="49520"/>
                        <a:pt x="20813" y="49700"/>
                        <a:pt x="20394" y="49879"/>
                      </a:cubicBezTo>
                      <a:cubicBezTo>
                        <a:pt x="14773" y="36004"/>
                        <a:pt x="9151" y="22189"/>
                        <a:pt x="3289" y="7895"/>
                      </a:cubicBezTo>
                      <a:cubicBezTo>
                        <a:pt x="2452" y="8911"/>
                        <a:pt x="2213" y="9091"/>
                        <a:pt x="2273" y="9150"/>
                      </a:cubicBezTo>
                      <a:cubicBezTo>
                        <a:pt x="7895" y="23026"/>
                        <a:pt x="13457" y="36901"/>
                        <a:pt x="19258" y="50717"/>
                      </a:cubicBezTo>
                      <a:cubicBezTo>
                        <a:pt x="19617" y="51614"/>
                        <a:pt x="21830" y="52571"/>
                        <a:pt x="22846" y="52331"/>
                      </a:cubicBezTo>
                      <a:cubicBezTo>
                        <a:pt x="27392" y="51195"/>
                        <a:pt x="31817" y="49640"/>
                        <a:pt x="36483" y="48205"/>
                      </a:cubicBezTo>
                      <a:cubicBezTo>
                        <a:pt x="30203" y="32834"/>
                        <a:pt x="24102" y="17763"/>
                        <a:pt x="17823" y="2392"/>
                      </a:cubicBezTo>
                      <a:cubicBezTo>
                        <a:pt x="13277" y="4246"/>
                        <a:pt x="9270" y="5861"/>
                        <a:pt x="4725" y="771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44" name="Vrije vorm: vorm 9443">
                  <a:extLst>
                    <a:ext uri="{FF2B5EF4-FFF2-40B4-BE49-F238E27FC236}">
                      <a16:creationId xmlns:a16="http://schemas.microsoft.com/office/drawing/2014/main" id="{7071253B-056D-453B-9985-F2795A666631}"/>
                    </a:ext>
                  </a:extLst>
                </p:cNvPr>
                <p:cNvSpPr/>
                <p:nvPr/>
              </p:nvSpPr>
              <p:spPr>
                <a:xfrm>
                  <a:off x="5481650" y="1563760"/>
                  <a:ext cx="52929" cy="66326"/>
                </a:xfrm>
                <a:custGeom>
                  <a:avLst/>
                  <a:gdLst>
                    <a:gd name="connsiteX0" fmla="*/ 0 w 52929"/>
                    <a:gd name="connsiteY0" fmla="*/ 16208 h 66326"/>
                    <a:gd name="connsiteX1" fmla="*/ 32715 w 52929"/>
                    <a:gd name="connsiteY1" fmla="*/ 0 h 66326"/>
                    <a:gd name="connsiteX2" fmla="*/ 52930 w 52929"/>
                    <a:gd name="connsiteY2" fmla="*/ 49640 h 66326"/>
                    <a:gd name="connsiteX3" fmla="*/ 20394 w 52929"/>
                    <a:gd name="connsiteY3" fmla="*/ 66326 h 66326"/>
                    <a:gd name="connsiteX4" fmla="*/ 1974 w 52929"/>
                    <a:gd name="connsiteY4" fmla="*/ 21112 h 66326"/>
                    <a:gd name="connsiteX5" fmla="*/ 2931 w 52929"/>
                    <a:gd name="connsiteY5" fmla="*/ 20693 h 66326"/>
                    <a:gd name="connsiteX6" fmla="*/ 20693 w 52929"/>
                    <a:gd name="connsiteY6" fmla="*/ 64412 h 66326"/>
                    <a:gd name="connsiteX7" fmla="*/ 38875 w 52929"/>
                    <a:gd name="connsiteY7" fmla="*/ 55381 h 66326"/>
                    <a:gd name="connsiteX8" fmla="*/ 49341 w 52929"/>
                    <a:gd name="connsiteY8" fmla="*/ 48563 h 66326"/>
                    <a:gd name="connsiteX9" fmla="*/ 44915 w 52929"/>
                    <a:gd name="connsiteY9" fmla="*/ 34569 h 66326"/>
                    <a:gd name="connsiteX10" fmla="*/ 36004 w 52929"/>
                    <a:gd name="connsiteY10" fmla="*/ 11902 h 66326"/>
                    <a:gd name="connsiteX11" fmla="*/ 27811 w 52929"/>
                    <a:gd name="connsiteY11" fmla="*/ 7356 h 66326"/>
                    <a:gd name="connsiteX12" fmla="*/ 0 w 52929"/>
                    <a:gd name="connsiteY12" fmla="*/ 16208 h 6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929" h="66326">
                      <a:moveTo>
                        <a:pt x="0" y="16208"/>
                      </a:moveTo>
                      <a:cubicBezTo>
                        <a:pt x="11364" y="10586"/>
                        <a:pt x="21830" y="5383"/>
                        <a:pt x="32715" y="0"/>
                      </a:cubicBezTo>
                      <a:cubicBezTo>
                        <a:pt x="39413" y="16447"/>
                        <a:pt x="46112" y="32954"/>
                        <a:pt x="52930" y="49640"/>
                      </a:cubicBezTo>
                      <a:cubicBezTo>
                        <a:pt x="41925" y="55322"/>
                        <a:pt x="31160" y="60824"/>
                        <a:pt x="20394" y="66326"/>
                      </a:cubicBezTo>
                      <a:cubicBezTo>
                        <a:pt x="14354" y="51434"/>
                        <a:pt x="8194" y="36243"/>
                        <a:pt x="1974" y="21112"/>
                      </a:cubicBezTo>
                      <a:cubicBezTo>
                        <a:pt x="2273" y="20992"/>
                        <a:pt x="2632" y="20813"/>
                        <a:pt x="2931" y="20693"/>
                      </a:cubicBezTo>
                      <a:cubicBezTo>
                        <a:pt x="8732" y="34987"/>
                        <a:pt x="14593" y="49341"/>
                        <a:pt x="20693" y="64412"/>
                      </a:cubicBezTo>
                      <a:cubicBezTo>
                        <a:pt x="27033" y="61302"/>
                        <a:pt x="33014" y="58491"/>
                        <a:pt x="38875" y="55381"/>
                      </a:cubicBezTo>
                      <a:cubicBezTo>
                        <a:pt x="42702" y="53408"/>
                        <a:pt x="48623" y="51793"/>
                        <a:pt x="49341" y="48563"/>
                      </a:cubicBezTo>
                      <a:cubicBezTo>
                        <a:pt x="50238" y="44736"/>
                        <a:pt x="46709" y="39234"/>
                        <a:pt x="44915" y="34569"/>
                      </a:cubicBezTo>
                      <a:cubicBezTo>
                        <a:pt x="41985" y="26973"/>
                        <a:pt x="38636" y="19557"/>
                        <a:pt x="36004" y="11902"/>
                      </a:cubicBezTo>
                      <a:cubicBezTo>
                        <a:pt x="34330" y="7057"/>
                        <a:pt x="32476" y="5622"/>
                        <a:pt x="27811" y="7356"/>
                      </a:cubicBezTo>
                      <a:cubicBezTo>
                        <a:pt x="19079" y="10586"/>
                        <a:pt x="9988" y="13098"/>
                        <a:pt x="0" y="1620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45" name="Vrije vorm: vorm 9444">
                  <a:extLst>
                    <a:ext uri="{FF2B5EF4-FFF2-40B4-BE49-F238E27FC236}">
                      <a16:creationId xmlns:a16="http://schemas.microsoft.com/office/drawing/2014/main" id="{9B924818-3EF4-43A0-A275-C2AB7EF886AC}"/>
                    </a:ext>
                  </a:extLst>
                </p:cNvPr>
                <p:cNvSpPr/>
                <p:nvPr/>
              </p:nvSpPr>
              <p:spPr>
                <a:xfrm>
                  <a:off x="4990421" y="2145684"/>
                  <a:ext cx="74372" cy="66685"/>
                </a:xfrm>
                <a:custGeom>
                  <a:avLst/>
                  <a:gdLst>
                    <a:gd name="connsiteX0" fmla="*/ 2424 w 74372"/>
                    <a:gd name="connsiteY0" fmla="*/ 0 h 66685"/>
                    <a:gd name="connsiteX1" fmla="*/ 4518 w 74372"/>
                    <a:gd name="connsiteY1" fmla="*/ 8074 h 66685"/>
                    <a:gd name="connsiteX2" fmla="*/ 17436 w 74372"/>
                    <a:gd name="connsiteY2" fmla="*/ 39951 h 66685"/>
                    <a:gd name="connsiteX3" fmla="*/ 64086 w 74372"/>
                    <a:gd name="connsiteY3" fmla="*/ 11244 h 66685"/>
                    <a:gd name="connsiteX4" fmla="*/ 64684 w 74372"/>
                    <a:gd name="connsiteY4" fmla="*/ 12260 h 66685"/>
                    <a:gd name="connsiteX5" fmla="*/ 18393 w 74372"/>
                    <a:gd name="connsiteY5" fmla="*/ 41028 h 66685"/>
                    <a:gd name="connsiteX6" fmla="*/ 27843 w 74372"/>
                    <a:gd name="connsiteY6" fmla="*/ 64173 h 66685"/>
                    <a:gd name="connsiteX7" fmla="*/ 73774 w 74372"/>
                    <a:gd name="connsiteY7" fmla="*/ 35526 h 66685"/>
                    <a:gd name="connsiteX8" fmla="*/ 74373 w 74372"/>
                    <a:gd name="connsiteY8" fmla="*/ 36542 h 66685"/>
                    <a:gd name="connsiteX9" fmla="*/ 26766 w 74372"/>
                    <a:gd name="connsiteY9" fmla="*/ 66685 h 66685"/>
                    <a:gd name="connsiteX10" fmla="*/ 1168 w 74372"/>
                    <a:gd name="connsiteY10" fmla="*/ 3947 h 66685"/>
                    <a:gd name="connsiteX11" fmla="*/ 2604 w 74372"/>
                    <a:gd name="connsiteY11" fmla="*/ 120 h 66685"/>
                    <a:gd name="connsiteX12" fmla="*/ 2424 w 74372"/>
                    <a:gd name="connsiteY12" fmla="*/ 0 h 6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372" h="66685">
                      <a:moveTo>
                        <a:pt x="2424" y="0"/>
                      </a:moveTo>
                      <a:cubicBezTo>
                        <a:pt x="3142" y="2691"/>
                        <a:pt x="3501" y="5502"/>
                        <a:pt x="4518" y="8074"/>
                      </a:cubicBezTo>
                      <a:cubicBezTo>
                        <a:pt x="8585" y="18421"/>
                        <a:pt x="12831" y="28707"/>
                        <a:pt x="17436" y="39951"/>
                      </a:cubicBezTo>
                      <a:cubicBezTo>
                        <a:pt x="33345" y="30143"/>
                        <a:pt x="48715" y="20693"/>
                        <a:pt x="64086" y="11244"/>
                      </a:cubicBezTo>
                      <a:cubicBezTo>
                        <a:pt x="64265" y="11603"/>
                        <a:pt x="64504" y="11902"/>
                        <a:pt x="64684" y="12260"/>
                      </a:cubicBezTo>
                      <a:cubicBezTo>
                        <a:pt x="49313" y="21830"/>
                        <a:pt x="33943" y="31399"/>
                        <a:pt x="18393" y="41028"/>
                      </a:cubicBezTo>
                      <a:cubicBezTo>
                        <a:pt x="21503" y="48683"/>
                        <a:pt x="24493" y="55980"/>
                        <a:pt x="27843" y="64173"/>
                      </a:cubicBezTo>
                      <a:cubicBezTo>
                        <a:pt x="43333" y="54544"/>
                        <a:pt x="58524" y="45035"/>
                        <a:pt x="73774" y="35526"/>
                      </a:cubicBezTo>
                      <a:cubicBezTo>
                        <a:pt x="73954" y="35884"/>
                        <a:pt x="74133" y="36183"/>
                        <a:pt x="74373" y="36542"/>
                      </a:cubicBezTo>
                      <a:cubicBezTo>
                        <a:pt x="58643" y="46530"/>
                        <a:pt x="42914" y="56458"/>
                        <a:pt x="26766" y="66685"/>
                      </a:cubicBezTo>
                      <a:cubicBezTo>
                        <a:pt x="18274" y="45812"/>
                        <a:pt x="9781" y="24820"/>
                        <a:pt x="1168" y="3947"/>
                      </a:cubicBezTo>
                      <a:cubicBezTo>
                        <a:pt x="271" y="1734"/>
                        <a:pt x="-1523" y="-359"/>
                        <a:pt x="2604" y="120"/>
                      </a:cubicBezTo>
                      <a:lnTo>
                        <a:pt x="2424" y="0"/>
                      </a:lnTo>
                      <a:close/>
                    </a:path>
                  </a:pathLst>
                </a:custGeom>
                <a:grpFill/>
                <a:ln w="6350" cap="flat">
                  <a:solidFill>
                    <a:schemeClr val="bg1">
                      <a:alpha val="40000"/>
                    </a:schemeClr>
                  </a:solidFill>
                  <a:prstDash val="solid"/>
                  <a:miter/>
                </a:ln>
              </p:spPr>
              <p:txBody>
                <a:bodyPr rtlCol="0" anchor="ctr"/>
                <a:lstStyle/>
                <a:p>
                  <a:endParaRPr lang="en-GB"/>
                </a:p>
              </p:txBody>
            </p:sp>
            <p:sp>
              <p:nvSpPr>
                <p:cNvPr id="9446" name="Vrije vorm: vorm 9445">
                  <a:extLst>
                    <a:ext uri="{FF2B5EF4-FFF2-40B4-BE49-F238E27FC236}">
                      <a16:creationId xmlns:a16="http://schemas.microsoft.com/office/drawing/2014/main" id="{BC715F82-F6DF-4960-A89C-7B1426A0A629}"/>
                    </a:ext>
                  </a:extLst>
                </p:cNvPr>
                <p:cNvSpPr/>
                <p:nvPr/>
              </p:nvSpPr>
              <p:spPr>
                <a:xfrm>
                  <a:off x="5466459" y="1641688"/>
                  <a:ext cx="53288" cy="66984"/>
                </a:xfrm>
                <a:custGeom>
                  <a:avLst/>
                  <a:gdLst>
                    <a:gd name="connsiteX0" fmla="*/ 53288 w 53288"/>
                    <a:gd name="connsiteY0" fmla="*/ 49461 h 66984"/>
                    <a:gd name="connsiteX1" fmla="*/ 20693 w 53288"/>
                    <a:gd name="connsiteY1" fmla="*/ 66984 h 66984"/>
                    <a:gd name="connsiteX2" fmla="*/ 0 w 53288"/>
                    <a:gd name="connsiteY2" fmla="*/ 16088 h 66984"/>
                    <a:gd name="connsiteX3" fmla="*/ 29605 w 53288"/>
                    <a:gd name="connsiteY3" fmla="*/ 1017 h 66984"/>
                    <a:gd name="connsiteX4" fmla="*/ 30143 w 53288"/>
                    <a:gd name="connsiteY4" fmla="*/ 2033 h 66984"/>
                    <a:gd name="connsiteX5" fmla="*/ 2213 w 53288"/>
                    <a:gd name="connsiteY5" fmla="*/ 16567 h 66984"/>
                    <a:gd name="connsiteX6" fmla="*/ 21830 w 53288"/>
                    <a:gd name="connsiteY6" fmla="*/ 64831 h 66984"/>
                    <a:gd name="connsiteX7" fmla="*/ 51733 w 53288"/>
                    <a:gd name="connsiteY7" fmla="*/ 48623 h 66984"/>
                    <a:gd name="connsiteX8" fmla="*/ 32116 w 53288"/>
                    <a:gd name="connsiteY8" fmla="*/ 419 h 66984"/>
                    <a:gd name="connsiteX9" fmla="*/ 33193 w 53288"/>
                    <a:gd name="connsiteY9" fmla="*/ 0 h 66984"/>
                    <a:gd name="connsiteX10" fmla="*/ 53288 w 53288"/>
                    <a:gd name="connsiteY10" fmla="*/ 49461 h 6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88" h="66984">
                      <a:moveTo>
                        <a:pt x="53288" y="49461"/>
                      </a:moveTo>
                      <a:cubicBezTo>
                        <a:pt x="42463" y="55262"/>
                        <a:pt x="31638" y="61063"/>
                        <a:pt x="20693" y="66984"/>
                      </a:cubicBezTo>
                      <a:cubicBezTo>
                        <a:pt x="13875" y="50178"/>
                        <a:pt x="6878" y="33073"/>
                        <a:pt x="0" y="16088"/>
                      </a:cubicBezTo>
                      <a:cubicBezTo>
                        <a:pt x="9988" y="11005"/>
                        <a:pt x="19796" y="6040"/>
                        <a:pt x="29605" y="1017"/>
                      </a:cubicBezTo>
                      <a:cubicBezTo>
                        <a:pt x="29784" y="1376"/>
                        <a:pt x="29963" y="1734"/>
                        <a:pt x="30143" y="2033"/>
                      </a:cubicBezTo>
                      <a:cubicBezTo>
                        <a:pt x="20992" y="6758"/>
                        <a:pt x="11902" y="11543"/>
                        <a:pt x="2213" y="16567"/>
                      </a:cubicBezTo>
                      <a:cubicBezTo>
                        <a:pt x="8732" y="32535"/>
                        <a:pt x="15131" y="48384"/>
                        <a:pt x="21830" y="64831"/>
                      </a:cubicBezTo>
                      <a:cubicBezTo>
                        <a:pt x="31578" y="59568"/>
                        <a:pt x="41446" y="54245"/>
                        <a:pt x="51733" y="48623"/>
                      </a:cubicBezTo>
                      <a:cubicBezTo>
                        <a:pt x="45095" y="32296"/>
                        <a:pt x="38576" y="16327"/>
                        <a:pt x="32116" y="419"/>
                      </a:cubicBezTo>
                      <a:cubicBezTo>
                        <a:pt x="32475" y="299"/>
                        <a:pt x="32834" y="120"/>
                        <a:pt x="33193" y="0"/>
                      </a:cubicBezTo>
                      <a:cubicBezTo>
                        <a:pt x="39831" y="16327"/>
                        <a:pt x="46470" y="32715"/>
                        <a:pt x="53288" y="4946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47" name="Vrije vorm: vorm 9446">
                  <a:extLst>
                    <a:ext uri="{FF2B5EF4-FFF2-40B4-BE49-F238E27FC236}">
                      <a16:creationId xmlns:a16="http://schemas.microsoft.com/office/drawing/2014/main" id="{964C2395-5A11-4F6D-B11C-685880CC75C7}"/>
                    </a:ext>
                  </a:extLst>
                </p:cNvPr>
                <p:cNvSpPr/>
                <p:nvPr/>
              </p:nvSpPr>
              <p:spPr>
                <a:xfrm>
                  <a:off x="4980585" y="1450305"/>
                  <a:ext cx="57713" cy="81816"/>
                </a:xfrm>
                <a:custGeom>
                  <a:avLst/>
                  <a:gdLst>
                    <a:gd name="connsiteX0" fmla="*/ 56338 w 57713"/>
                    <a:gd name="connsiteY0" fmla="*/ 66326 h 81816"/>
                    <a:gd name="connsiteX1" fmla="*/ 31040 w 57713"/>
                    <a:gd name="connsiteY1" fmla="*/ 4187 h 81816"/>
                    <a:gd name="connsiteX2" fmla="*/ 31937 w 57713"/>
                    <a:gd name="connsiteY2" fmla="*/ 3828 h 81816"/>
                    <a:gd name="connsiteX3" fmla="*/ 57714 w 57713"/>
                    <a:gd name="connsiteY3" fmla="*/ 67283 h 81816"/>
                    <a:gd name="connsiteX4" fmla="*/ 26734 w 57713"/>
                    <a:gd name="connsiteY4" fmla="*/ 81816 h 81816"/>
                    <a:gd name="connsiteX5" fmla="*/ 0 w 57713"/>
                    <a:gd name="connsiteY5" fmla="*/ 16088 h 81816"/>
                    <a:gd name="connsiteX6" fmla="*/ 29963 w 57713"/>
                    <a:gd name="connsiteY6" fmla="*/ 0 h 81816"/>
                    <a:gd name="connsiteX7" fmla="*/ 30442 w 57713"/>
                    <a:gd name="connsiteY7" fmla="*/ 957 h 81816"/>
                    <a:gd name="connsiteX8" fmla="*/ 2153 w 57713"/>
                    <a:gd name="connsiteY8" fmla="*/ 16746 h 81816"/>
                    <a:gd name="connsiteX9" fmla="*/ 27810 w 57713"/>
                    <a:gd name="connsiteY9" fmla="*/ 79783 h 81816"/>
                    <a:gd name="connsiteX10" fmla="*/ 56338 w 57713"/>
                    <a:gd name="connsiteY10" fmla="*/ 66326 h 8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13" h="81816">
                      <a:moveTo>
                        <a:pt x="56338" y="66326"/>
                      </a:moveTo>
                      <a:cubicBezTo>
                        <a:pt x="47666" y="45095"/>
                        <a:pt x="39353" y="24641"/>
                        <a:pt x="31040" y="4187"/>
                      </a:cubicBezTo>
                      <a:cubicBezTo>
                        <a:pt x="31339" y="4067"/>
                        <a:pt x="31638" y="3947"/>
                        <a:pt x="31937" y="3828"/>
                      </a:cubicBezTo>
                      <a:cubicBezTo>
                        <a:pt x="40549" y="24940"/>
                        <a:pt x="49102" y="46111"/>
                        <a:pt x="57714" y="67283"/>
                      </a:cubicBezTo>
                      <a:cubicBezTo>
                        <a:pt x="47547" y="72068"/>
                        <a:pt x="37260" y="76852"/>
                        <a:pt x="26734" y="81816"/>
                      </a:cubicBezTo>
                      <a:cubicBezTo>
                        <a:pt x="17882" y="60046"/>
                        <a:pt x="8971" y="38217"/>
                        <a:pt x="0" y="16088"/>
                      </a:cubicBezTo>
                      <a:cubicBezTo>
                        <a:pt x="9868" y="10825"/>
                        <a:pt x="19916" y="5383"/>
                        <a:pt x="29963" y="0"/>
                      </a:cubicBezTo>
                      <a:cubicBezTo>
                        <a:pt x="30143" y="299"/>
                        <a:pt x="30262" y="658"/>
                        <a:pt x="30442" y="957"/>
                      </a:cubicBezTo>
                      <a:cubicBezTo>
                        <a:pt x="21112" y="6160"/>
                        <a:pt x="11722" y="11363"/>
                        <a:pt x="2153" y="16746"/>
                      </a:cubicBezTo>
                      <a:cubicBezTo>
                        <a:pt x="10705" y="37738"/>
                        <a:pt x="19138" y="58491"/>
                        <a:pt x="27810" y="79783"/>
                      </a:cubicBezTo>
                      <a:cubicBezTo>
                        <a:pt x="37380" y="75237"/>
                        <a:pt x="46650" y="70872"/>
                        <a:pt x="56338" y="6632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48" name="Vrije vorm: vorm 9447">
                  <a:extLst>
                    <a:ext uri="{FF2B5EF4-FFF2-40B4-BE49-F238E27FC236}">
                      <a16:creationId xmlns:a16="http://schemas.microsoft.com/office/drawing/2014/main" id="{74D5CD59-380E-4CF0-A239-342ED7D0F9B2}"/>
                    </a:ext>
                  </a:extLst>
                </p:cNvPr>
                <p:cNvSpPr/>
                <p:nvPr/>
              </p:nvSpPr>
              <p:spPr>
                <a:xfrm>
                  <a:off x="5529556" y="1680802"/>
                  <a:ext cx="52211" cy="67462"/>
                </a:xfrm>
                <a:custGeom>
                  <a:avLst/>
                  <a:gdLst>
                    <a:gd name="connsiteX0" fmla="*/ 52212 w 52211"/>
                    <a:gd name="connsiteY0" fmla="*/ 49162 h 67462"/>
                    <a:gd name="connsiteX1" fmla="*/ 20335 w 52211"/>
                    <a:gd name="connsiteY1" fmla="*/ 67463 h 67462"/>
                    <a:gd name="connsiteX2" fmla="*/ 0 w 52211"/>
                    <a:gd name="connsiteY2" fmla="*/ 17524 h 67462"/>
                    <a:gd name="connsiteX3" fmla="*/ 32236 w 52211"/>
                    <a:gd name="connsiteY3" fmla="*/ 0 h 67462"/>
                    <a:gd name="connsiteX4" fmla="*/ 52212 w 52211"/>
                    <a:gd name="connsiteY4" fmla="*/ 49162 h 67462"/>
                    <a:gd name="connsiteX5" fmla="*/ 18899 w 52211"/>
                    <a:gd name="connsiteY5" fmla="*/ 49999 h 67462"/>
                    <a:gd name="connsiteX6" fmla="*/ 16447 w 52211"/>
                    <a:gd name="connsiteY6" fmla="*/ 53169 h 67462"/>
                    <a:gd name="connsiteX7" fmla="*/ 21231 w 52211"/>
                    <a:gd name="connsiteY7" fmla="*/ 65309 h 67462"/>
                    <a:gd name="connsiteX8" fmla="*/ 50298 w 52211"/>
                    <a:gd name="connsiteY8" fmla="*/ 48563 h 67462"/>
                    <a:gd name="connsiteX9" fmla="*/ 31339 w 52211"/>
                    <a:gd name="connsiteY9" fmla="*/ 2033 h 67462"/>
                    <a:gd name="connsiteX10" fmla="*/ 4904 w 52211"/>
                    <a:gd name="connsiteY10" fmla="*/ 16567 h 67462"/>
                    <a:gd name="connsiteX11" fmla="*/ 4187 w 52211"/>
                    <a:gd name="connsiteY11" fmla="*/ 21889 h 67462"/>
                    <a:gd name="connsiteX12" fmla="*/ 12619 w 52211"/>
                    <a:gd name="connsiteY12" fmla="*/ 44018 h 67462"/>
                    <a:gd name="connsiteX13" fmla="*/ 18899 w 52211"/>
                    <a:gd name="connsiteY13" fmla="*/ 50118 h 67462"/>
                    <a:gd name="connsiteX14" fmla="*/ 18899 w 52211"/>
                    <a:gd name="connsiteY14" fmla="*/ 49999 h 6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211" h="67462">
                      <a:moveTo>
                        <a:pt x="52212" y="49162"/>
                      </a:moveTo>
                      <a:cubicBezTo>
                        <a:pt x="41327" y="55381"/>
                        <a:pt x="30980" y="61362"/>
                        <a:pt x="20335" y="67463"/>
                      </a:cubicBezTo>
                      <a:cubicBezTo>
                        <a:pt x="13636" y="51016"/>
                        <a:pt x="6878" y="34329"/>
                        <a:pt x="0" y="17524"/>
                      </a:cubicBezTo>
                      <a:cubicBezTo>
                        <a:pt x="11005" y="11543"/>
                        <a:pt x="21590" y="5801"/>
                        <a:pt x="32236" y="0"/>
                      </a:cubicBezTo>
                      <a:cubicBezTo>
                        <a:pt x="38875" y="16327"/>
                        <a:pt x="45513" y="32715"/>
                        <a:pt x="52212" y="49162"/>
                      </a:cubicBezTo>
                      <a:close/>
                      <a:moveTo>
                        <a:pt x="18899" y="49999"/>
                      </a:moveTo>
                      <a:cubicBezTo>
                        <a:pt x="18002" y="51075"/>
                        <a:pt x="16208" y="52451"/>
                        <a:pt x="16447" y="53169"/>
                      </a:cubicBezTo>
                      <a:cubicBezTo>
                        <a:pt x="17643" y="57056"/>
                        <a:pt x="19377" y="60824"/>
                        <a:pt x="21231" y="65309"/>
                      </a:cubicBezTo>
                      <a:cubicBezTo>
                        <a:pt x="31339" y="59508"/>
                        <a:pt x="40669" y="54126"/>
                        <a:pt x="50298" y="48563"/>
                      </a:cubicBezTo>
                      <a:cubicBezTo>
                        <a:pt x="43899" y="32774"/>
                        <a:pt x="37738" y="17703"/>
                        <a:pt x="31339" y="2033"/>
                      </a:cubicBezTo>
                      <a:cubicBezTo>
                        <a:pt x="22308" y="6938"/>
                        <a:pt x="13457" y="11543"/>
                        <a:pt x="4904" y="16567"/>
                      </a:cubicBezTo>
                      <a:cubicBezTo>
                        <a:pt x="3947" y="17105"/>
                        <a:pt x="3648" y="20275"/>
                        <a:pt x="4187" y="21889"/>
                      </a:cubicBezTo>
                      <a:cubicBezTo>
                        <a:pt x="6818" y="29305"/>
                        <a:pt x="10107" y="36542"/>
                        <a:pt x="12619" y="44018"/>
                      </a:cubicBezTo>
                      <a:cubicBezTo>
                        <a:pt x="13815" y="47547"/>
                        <a:pt x="15669" y="49461"/>
                        <a:pt x="18899" y="50118"/>
                      </a:cubicBezTo>
                      <a:lnTo>
                        <a:pt x="18899" y="49999"/>
                      </a:lnTo>
                      <a:close/>
                    </a:path>
                  </a:pathLst>
                </a:custGeom>
                <a:grpFill/>
                <a:ln w="6350" cap="flat">
                  <a:solidFill>
                    <a:schemeClr val="bg1">
                      <a:alpha val="40000"/>
                    </a:schemeClr>
                  </a:solidFill>
                  <a:prstDash val="solid"/>
                  <a:miter/>
                </a:ln>
              </p:spPr>
              <p:txBody>
                <a:bodyPr rtlCol="0" anchor="ctr"/>
                <a:lstStyle/>
                <a:p>
                  <a:endParaRPr lang="en-GB"/>
                </a:p>
              </p:txBody>
            </p:sp>
            <p:sp>
              <p:nvSpPr>
                <p:cNvPr id="9449" name="Vrije vorm: vorm 9448">
                  <a:extLst>
                    <a:ext uri="{FF2B5EF4-FFF2-40B4-BE49-F238E27FC236}">
                      <a16:creationId xmlns:a16="http://schemas.microsoft.com/office/drawing/2014/main" id="{5D73D5DE-CCE0-494E-B39C-D7CE54C1549F}"/>
                    </a:ext>
                  </a:extLst>
                </p:cNvPr>
                <p:cNvSpPr/>
                <p:nvPr/>
              </p:nvSpPr>
              <p:spPr>
                <a:xfrm>
                  <a:off x="5069100" y="1774520"/>
                  <a:ext cx="57534" cy="69017"/>
                </a:xfrm>
                <a:custGeom>
                  <a:avLst/>
                  <a:gdLst>
                    <a:gd name="connsiteX0" fmla="*/ 54006 w 57534"/>
                    <a:gd name="connsiteY0" fmla="*/ 64771 h 69017"/>
                    <a:gd name="connsiteX1" fmla="*/ 25478 w 57534"/>
                    <a:gd name="connsiteY1" fmla="*/ 69018 h 69017"/>
                    <a:gd name="connsiteX2" fmla="*/ 0 w 57534"/>
                    <a:gd name="connsiteY2" fmla="*/ 6459 h 69017"/>
                    <a:gd name="connsiteX3" fmla="*/ 31638 w 57534"/>
                    <a:gd name="connsiteY3" fmla="*/ 0 h 69017"/>
                    <a:gd name="connsiteX4" fmla="*/ 57535 w 57534"/>
                    <a:gd name="connsiteY4" fmla="*/ 63695 h 69017"/>
                    <a:gd name="connsiteX5" fmla="*/ 56638 w 57534"/>
                    <a:gd name="connsiteY5" fmla="*/ 64054 h 69017"/>
                    <a:gd name="connsiteX6" fmla="*/ 31220 w 57534"/>
                    <a:gd name="connsiteY6" fmla="*/ 1555 h 69017"/>
                    <a:gd name="connsiteX7" fmla="*/ 2093 w 57534"/>
                    <a:gd name="connsiteY7" fmla="*/ 7416 h 69017"/>
                    <a:gd name="connsiteX8" fmla="*/ 4725 w 57534"/>
                    <a:gd name="connsiteY8" fmla="*/ 14713 h 69017"/>
                    <a:gd name="connsiteX9" fmla="*/ 24282 w 57534"/>
                    <a:gd name="connsiteY9" fmla="*/ 62618 h 69017"/>
                    <a:gd name="connsiteX10" fmla="*/ 31040 w 57534"/>
                    <a:gd name="connsiteY10" fmla="*/ 66805 h 69017"/>
                    <a:gd name="connsiteX11" fmla="*/ 53707 w 57534"/>
                    <a:gd name="connsiteY11" fmla="*/ 63575 h 69017"/>
                    <a:gd name="connsiteX12" fmla="*/ 54006 w 57534"/>
                    <a:gd name="connsiteY12" fmla="*/ 64771 h 6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34" h="69017">
                      <a:moveTo>
                        <a:pt x="54006" y="64771"/>
                      </a:moveTo>
                      <a:cubicBezTo>
                        <a:pt x="44556" y="66207"/>
                        <a:pt x="35167" y="67582"/>
                        <a:pt x="25478" y="69018"/>
                      </a:cubicBezTo>
                      <a:cubicBezTo>
                        <a:pt x="17045" y="48205"/>
                        <a:pt x="8552" y="27451"/>
                        <a:pt x="0" y="6459"/>
                      </a:cubicBezTo>
                      <a:cubicBezTo>
                        <a:pt x="10526" y="4306"/>
                        <a:pt x="21052" y="2153"/>
                        <a:pt x="31638" y="0"/>
                      </a:cubicBezTo>
                      <a:cubicBezTo>
                        <a:pt x="40191" y="21052"/>
                        <a:pt x="48862" y="42344"/>
                        <a:pt x="57535" y="63695"/>
                      </a:cubicBezTo>
                      <a:cubicBezTo>
                        <a:pt x="57236" y="63814"/>
                        <a:pt x="56937" y="63934"/>
                        <a:pt x="56638" y="64054"/>
                      </a:cubicBezTo>
                      <a:cubicBezTo>
                        <a:pt x="48264" y="43420"/>
                        <a:pt x="39832" y="22787"/>
                        <a:pt x="31220" y="1555"/>
                      </a:cubicBezTo>
                      <a:cubicBezTo>
                        <a:pt x="21471" y="3529"/>
                        <a:pt x="12141" y="5383"/>
                        <a:pt x="2093" y="7416"/>
                      </a:cubicBezTo>
                      <a:cubicBezTo>
                        <a:pt x="3170" y="10347"/>
                        <a:pt x="3888" y="12560"/>
                        <a:pt x="4725" y="14713"/>
                      </a:cubicBezTo>
                      <a:cubicBezTo>
                        <a:pt x="11244" y="30681"/>
                        <a:pt x="17942" y="46590"/>
                        <a:pt x="24282" y="62618"/>
                      </a:cubicBezTo>
                      <a:cubicBezTo>
                        <a:pt x="25777" y="66446"/>
                        <a:pt x="27571" y="67403"/>
                        <a:pt x="31040" y="66805"/>
                      </a:cubicBezTo>
                      <a:cubicBezTo>
                        <a:pt x="38576" y="65489"/>
                        <a:pt x="46171" y="64592"/>
                        <a:pt x="53707" y="63575"/>
                      </a:cubicBezTo>
                      <a:cubicBezTo>
                        <a:pt x="53827" y="63994"/>
                        <a:pt x="53886" y="64412"/>
                        <a:pt x="54006" y="6477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50" name="Vrije vorm: vorm 9449">
                  <a:extLst>
                    <a:ext uri="{FF2B5EF4-FFF2-40B4-BE49-F238E27FC236}">
                      <a16:creationId xmlns:a16="http://schemas.microsoft.com/office/drawing/2014/main" id="{E8EA9CF3-6E7F-4FA5-B8C5-0ED3FB41F298}"/>
                    </a:ext>
                  </a:extLst>
                </p:cNvPr>
                <p:cNvSpPr/>
                <p:nvPr/>
              </p:nvSpPr>
              <p:spPr>
                <a:xfrm>
                  <a:off x="4896018" y="1677872"/>
                  <a:ext cx="42223" cy="58312"/>
                </a:xfrm>
                <a:custGeom>
                  <a:avLst/>
                  <a:gdLst>
                    <a:gd name="connsiteX0" fmla="*/ 42224 w 42223"/>
                    <a:gd name="connsiteY0" fmla="*/ 51972 h 58312"/>
                    <a:gd name="connsiteX1" fmla="*/ 20275 w 42223"/>
                    <a:gd name="connsiteY1" fmla="*/ 58312 h 58312"/>
                    <a:gd name="connsiteX2" fmla="*/ 0 w 42223"/>
                    <a:gd name="connsiteY2" fmla="*/ 8552 h 58312"/>
                    <a:gd name="connsiteX3" fmla="*/ 21052 w 42223"/>
                    <a:gd name="connsiteY3" fmla="*/ 0 h 58312"/>
                    <a:gd name="connsiteX4" fmla="*/ 42224 w 42223"/>
                    <a:gd name="connsiteY4" fmla="*/ 51972 h 58312"/>
                    <a:gd name="connsiteX5" fmla="*/ 2512 w 42223"/>
                    <a:gd name="connsiteY5" fmla="*/ 9450 h 58312"/>
                    <a:gd name="connsiteX6" fmla="*/ 18062 w 42223"/>
                    <a:gd name="connsiteY6" fmla="*/ 47726 h 58312"/>
                    <a:gd name="connsiteX7" fmla="*/ 34030 w 42223"/>
                    <a:gd name="connsiteY7" fmla="*/ 41267 h 58312"/>
                    <a:gd name="connsiteX8" fmla="*/ 34509 w 42223"/>
                    <a:gd name="connsiteY8" fmla="*/ 42523 h 58312"/>
                    <a:gd name="connsiteX9" fmla="*/ 18780 w 42223"/>
                    <a:gd name="connsiteY9" fmla="*/ 48922 h 58312"/>
                    <a:gd name="connsiteX10" fmla="*/ 21830 w 42223"/>
                    <a:gd name="connsiteY10" fmla="*/ 56458 h 58312"/>
                    <a:gd name="connsiteX11" fmla="*/ 40549 w 42223"/>
                    <a:gd name="connsiteY11" fmla="*/ 50836 h 58312"/>
                    <a:gd name="connsiteX12" fmla="*/ 27870 w 42223"/>
                    <a:gd name="connsiteY12" fmla="*/ 19617 h 58312"/>
                    <a:gd name="connsiteX13" fmla="*/ 3648 w 42223"/>
                    <a:gd name="connsiteY13" fmla="*/ 8612 h 58312"/>
                    <a:gd name="connsiteX14" fmla="*/ 2512 w 42223"/>
                    <a:gd name="connsiteY14" fmla="*/ 9450 h 5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223" h="58312">
                      <a:moveTo>
                        <a:pt x="42224" y="51972"/>
                      </a:moveTo>
                      <a:cubicBezTo>
                        <a:pt x="34987" y="54066"/>
                        <a:pt x="27870" y="56099"/>
                        <a:pt x="20275" y="58312"/>
                      </a:cubicBezTo>
                      <a:cubicBezTo>
                        <a:pt x="13576" y="41865"/>
                        <a:pt x="6818" y="25179"/>
                        <a:pt x="0" y="8552"/>
                      </a:cubicBezTo>
                      <a:cubicBezTo>
                        <a:pt x="6938" y="5742"/>
                        <a:pt x="13756" y="2931"/>
                        <a:pt x="21052" y="0"/>
                      </a:cubicBezTo>
                      <a:cubicBezTo>
                        <a:pt x="28229" y="17643"/>
                        <a:pt x="35227" y="34748"/>
                        <a:pt x="42224" y="51972"/>
                      </a:cubicBezTo>
                      <a:close/>
                      <a:moveTo>
                        <a:pt x="2512" y="9450"/>
                      </a:moveTo>
                      <a:cubicBezTo>
                        <a:pt x="7715" y="22248"/>
                        <a:pt x="12799" y="34748"/>
                        <a:pt x="18062" y="47726"/>
                      </a:cubicBezTo>
                      <a:cubicBezTo>
                        <a:pt x="23684" y="45454"/>
                        <a:pt x="28887" y="43360"/>
                        <a:pt x="34030" y="41267"/>
                      </a:cubicBezTo>
                      <a:cubicBezTo>
                        <a:pt x="34210" y="41686"/>
                        <a:pt x="34329" y="42104"/>
                        <a:pt x="34509" y="42523"/>
                      </a:cubicBezTo>
                      <a:cubicBezTo>
                        <a:pt x="29366" y="44616"/>
                        <a:pt x="24162" y="46710"/>
                        <a:pt x="18780" y="48922"/>
                      </a:cubicBezTo>
                      <a:cubicBezTo>
                        <a:pt x="19916" y="51793"/>
                        <a:pt x="20813" y="53886"/>
                        <a:pt x="21830" y="56458"/>
                      </a:cubicBezTo>
                      <a:cubicBezTo>
                        <a:pt x="28169" y="54544"/>
                        <a:pt x="34150" y="52750"/>
                        <a:pt x="40549" y="50836"/>
                      </a:cubicBezTo>
                      <a:cubicBezTo>
                        <a:pt x="36064" y="39832"/>
                        <a:pt x="31997" y="29724"/>
                        <a:pt x="27870" y="19617"/>
                      </a:cubicBezTo>
                      <a:cubicBezTo>
                        <a:pt x="20275" y="1017"/>
                        <a:pt x="20215" y="1017"/>
                        <a:pt x="3648" y="8612"/>
                      </a:cubicBezTo>
                      <a:cubicBezTo>
                        <a:pt x="3349" y="8672"/>
                        <a:pt x="3110" y="8971"/>
                        <a:pt x="2512" y="945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51" name="Vrije vorm: vorm 9450">
                  <a:extLst>
                    <a:ext uri="{FF2B5EF4-FFF2-40B4-BE49-F238E27FC236}">
                      <a16:creationId xmlns:a16="http://schemas.microsoft.com/office/drawing/2014/main" id="{43ADB821-4A00-4FF5-A4A3-CEFB0EC49218}"/>
                    </a:ext>
                  </a:extLst>
                </p:cNvPr>
                <p:cNvSpPr/>
                <p:nvPr/>
              </p:nvSpPr>
              <p:spPr>
                <a:xfrm>
                  <a:off x="4915455" y="1292175"/>
                  <a:ext cx="52929" cy="79782"/>
                </a:xfrm>
                <a:custGeom>
                  <a:avLst/>
                  <a:gdLst>
                    <a:gd name="connsiteX0" fmla="*/ 27751 w 52929"/>
                    <a:gd name="connsiteY0" fmla="*/ 77331 h 79782"/>
                    <a:gd name="connsiteX1" fmla="*/ 52391 w 52929"/>
                    <a:gd name="connsiteY1" fmla="*/ 61003 h 79782"/>
                    <a:gd name="connsiteX2" fmla="*/ 52930 w 52929"/>
                    <a:gd name="connsiteY2" fmla="*/ 61900 h 79782"/>
                    <a:gd name="connsiteX3" fmla="*/ 27033 w 52929"/>
                    <a:gd name="connsiteY3" fmla="*/ 79783 h 79782"/>
                    <a:gd name="connsiteX4" fmla="*/ 0 w 52929"/>
                    <a:gd name="connsiteY4" fmla="*/ 13397 h 79782"/>
                    <a:gd name="connsiteX5" fmla="*/ 17822 w 52929"/>
                    <a:gd name="connsiteY5" fmla="*/ 0 h 79782"/>
                    <a:gd name="connsiteX6" fmla="*/ 18421 w 52929"/>
                    <a:gd name="connsiteY6" fmla="*/ 897 h 79782"/>
                    <a:gd name="connsiteX7" fmla="*/ 4844 w 52929"/>
                    <a:gd name="connsiteY7" fmla="*/ 11483 h 79782"/>
                    <a:gd name="connsiteX8" fmla="*/ 3349 w 52929"/>
                    <a:gd name="connsiteY8" fmla="*/ 18301 h 79782"/>
                    <a:gd name="connsiteX9" fmla="*/ 24999 w 52929"/>
                    <a:gd name="connsiteY9" fmla="*/ 30083 h 79782"/>
                    <a:gd name="connsiteX10" fmla="*/ 38636 w 52929"/>
                    <a:gd name="connsiteY10" fmla="*/ 27152 h 79782"/>
                    <a:gd name="connsiteX11" fmla="*/ 11483 w 52929"/>
                    <a:gd name="connsiteY11" fmla="*/ 35466 h 79782"/>
                    <a:gd name="connsiteX12" fmla="*/ 11364 w 52929"/>
                    <a:gd name="connsiteY12" fmla="*/ 37320 h 79782"/>
                    <a:gd name="connsiteX13" fmla="*/ 26255 w 52929"/>
                    <a:gd name="connsiteY13" fmla="*/ 45752 h 79782"/>
                    <a:gd name="connsiteX14" fmla="*/ 42463 w 52929"/>
                    <a:gd name="connsiteY14" fmla="*/ 40848 h 79782"/>
                    <a:gd name="connsiteX15" fmla="*/ 44257 w 52929"/>
                    <a:gd name="connsiteY15" fmla="*/ 41566 h 79782"/>
                    <a:gd name="connsiteX16" fmla="*/ 16746 w 52929"/>
                    <a:gd name="connsiteY16" fmla="*/ 50298 h 79782"/>
                    <a:gd name="connsiteX17" fmla="*/ 27751 w 52929"/>
                    <a:gd name="connsiteY17" fmla="*/ 77331 h 7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929" h="79782">
                      <a:moveTo>
                        <a:pt x="27751" y="77331"/>
                      </a:moveTo>
                      <a:cubicBezTo>
                        <a:pt x="36183" y="71769"/>
                        <a:pt x="44257" y="66386"/>
                        <a:pt x="52391" y="61003"/>
                      </a:cubicBezTo>
                      <a:cubicBezTo>
                        <a:pt x="52570" y="61302"/>
                        <a:pt x="52750" y="61601"/>
                        <a:pt x="52930" y="61900"/>
                      </a:cubicBezTo>
                      <a:cubicBezTo>
                        <a:pt x="44317" y="67821"/>
                        <a:pt x="35765" y="73742"/>
                        <a:pt x="27033" y="79783"/>
                      </a:cubicBezTo>
                      <a:cubicBezTo>
                        <a:pt x="18002" y="57654"/>
                        <a:pt x="9031" y="35585"/>
                        <a:pt x="0" y="13397"/>
                      </a:cubicBezTo>
                      <a:cubicBezTo>
                        <a:pt x="5981" y="8911"/>
                        <a:pt x="11902" y="4486"/>
                        <a:pt x="17822" y="0"/>
                      </a:cubicBezTo>
                      <a:cubicBezTo>
                        <a:pt x="18002" y="299"/>
                        <a:pt x="18241" y="598"/>
                        <a:pt x="18421" y="897"/>
                      </a:cubicBezTo>
                      <a:cubicBezTo>
                        <a:pt x="13875" y="4426"/>
                        <a:pt x="9510" y="8253"/>
                        <a:pt x="4844" y="11483"/>
                      </a:cubicBezTo>
                      <a:cubicBezTo>
                        <a:pt x="2153" y="13337"/>
                        <a:pt x="2093" y="15131"/>
                        <a:pt x="3349" y="18301"/>
                      </a:cubicBezTo>
                      <a:cubicBezTo>
                        <a:pt x="9808" y="34868"/>
                        <a:pt x="9749" y="34868"/>
                        <a:pt x="24999" y="30083"/>
                      </a:cubicBezTo>
                      <a:cubicBezTo>
                        <a:pt x="29425" y="28707"/>
                        <a:pt x="33851" y="27392"/>
                        <a:pt x="38636" y="27152"/>
                      </a:cubicBezTo>
                      <a:cubicBezTo>
                        <a:pt x="29485" y="29963"/>
                        <a:pt x="20335" y="32774"/>
                        <a:pt x="11483" y="35466"/>
                      </a:cubicBezTo>
                      <a:cubicBezTo>
                        <a:pt x="11364" y="36542"/>
                        <a:pt x="11244" y="36961"/>
                        <a:pt x="11364" y="37320"/>
                      </a:cubicBezTo>
                      <a:cubicBezTo>
                        <a:pt x="15430" y="49221"/>
                        <a:pt x="15430" y="49161"/>
                        <a:pt x="26255" y="45752"/>
                      </a:cubicBezTo>
                      <a:cubicBezTo>
                        <a:pt x="31638" y="44078"/>
                        <a:pt x="37021" y="42463"/>
                        <a:pt x="42463" y="40848"/>
                      </a:cubicBezTo>
                      <a:cubicBezTo>
                        <a:pt x="42942" y="40729"/>
                        <a:pt x="43540" y="40848"/>
                        <a:pt x="44257" y="41566"/>
                      </a:cubicBezTo>
                      <a:cubicBezTo>
                        <a:pt x="35167" y="44437"/>
                        <a:pt x="26136" y="47367"/>
                        <a:pt x="16746" y="50298"/>
                      </a:cubicBezTo>
                      <a:cubicBezTo>
                        <a:pt x="20514" y="59568"/>
                        <a:pt x="24043" y="68120"/>
                        <a:pt x="27751" y="7733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52" name="Vrije vorm: vorm 9451">
                  <a:extLst>
                    <a:ext uri="{FF2B5EF4-FFF2-40B4-BE49-F238E27FC236}">
                      <a16:creationId xmlns:a16="http://schemas.microsoft.com/office/drawing/2014/main" id="{F8F76697-0059-47C1-BCEA-1FB4D88557C1}"/>
                    </a:ext>
                  </a:extLst>
                </p:cNvPr>
                <p:cNvSpPr/>
                <p:nvPr/>
              </p:nvSpPr>
              <p:spPr>
                <a:xfrm>
                  <a:off x="4975861" y="1546655"/>
                  <a:ext cx="55799" cy="76373"/>
                </a:xfrm>
                <a:custGeom>
                  <a:avLst/>
                  <a:gdLst>
                    <a:gd name="connsiteX0" fmla="*/ 0 w 55799"/>
                    <a:gd name="connsiteY0" fmla="*/ 12021 h 76373"/>
                    <a:gd name="connsiteX1" fmla="*/ 29604 w 55799"/>
                    <a:gd name="connsiteY1" fmla="*/ 0 h 76373"/>
                    <a:gd name="connsiteX2" fmla="*/ 55800 w 55799"/>
                    <a:gd name="connsiteY2" fmla="*/ 64353 h 76373"/>
                    <a:gd name="connsiteX3" fmla="*/ 26195 w 55799"/>
                    <a:gd name="connsiteY3" fmla="*/ 76374 h 76373"/>
                    <a:gd name="connsiteX4" fmla="*/ 0 w 55799"/>
                    <a:gd name="connsiteY4" fmla="*/ 12021 h 76373"/>
                    <a:gd name="connsiteX5" fmla="*/ 28887 w 55799"/>
                    <a:gd name="connsiteY5" fmla="*/ 2452 h 76373"/>
                    <a:gd name="connsiteX6" fmla="*/ 2272 w 55799"/>
                    <a:gd name="connsiteY6" fmla="*/ 13277 h 76373"/>
                    <a:gd name="connsiteX7" fmla="*/ 26973 w 55799"/>
                    <a:gd name="connsiteY7" fmla="*/ 74041 h 76373"/>
                    <a:gd name="connsiteX8" fmla="*/ 53587 w 55799"/>
                    <a:gd name="connsiteY8" fmla="*/ 63216 h 76373"/>
                    <a:gd name="connsiteX9" fmla="*/ 28887 w 55799"/>
                    <a:gd name="connsiteY9" fmla="*/ 2452 h 76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799" h="76373">
                      <a:moveTo>
                        <a:pt x="0" y="12021"/>
                      </a:moveTo>
                      <a:cubicBezTo>
                        <a:pt x="9988" y="7954"/>
                        <a:pt x="19676" y="4007"/>
                        <a:pt x="29604" y="0"/>
                      </a:cubicBezTo>
                      <a:cubicBezTo>
                        <a:pt x="38157" y="21112"/>
                        <a:pt x="46949" y="42642"/>
                        <a:pt x="55800" y="64353"/>
                      </a:cubicBezTo>
                      <a:cubicBezTo>
                        <a:pt x="46051" y="68300"/>
                        <a:pt x="36303" y="72307"/>
                        <a:pt x="26195" y="76374"/>
                      </a:cubicBezTo>
                      <a:cubicBezTo>
                        <a:pt x="17464" y="55082"/>
                        <a:pt x="8911" y="34030"/>
                        <a:pt x="0" y="12021"/>
                      </a:cubicBezTo>
                      <a:close/>
                      <a:moveTo>
                        <a:pt x="28887" y="2452"/>
                      </a:moveTo>
                      <a:cubicBezTo>
                        <a:pt x="19676" y="6220"/>
                        <a:pt x="11004" y="9749"/>
                        <a:pt x="2272" y="13277"/>
                      </a:cubicBezTo>
                      <a:cubicBezTo>
                        <a:pt x="10645" y="33911"/>
                        <a:pt x="18719" y="53707"/>
                        <a:pt x="26973" y="74041"/>
                      </a:cubicBezTo>
                      <a:cubicBezTo>
                        <a:pt x="35944" y="70393"/>
                        <a:pt x="44616" y="66864"/>
                        <a:pt x="53587" y="63216"/>
                      </a:cubicBezTo>
                      <a:cubicBezTo>
                        <a:pt x="45334" y="42822"/>
                        <a:pt x="37140" y="22667"/>
                        <a:pt x="28887" y="245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53" name="Vrije vorm: vorm 9452">
                  <a:extLst>
                    <a:ext uri="{FF2B5EF4-FFF2-40B4-BE49-F238E27FC236}">
                      <a16:creationId xmlns:a16="http://schemas.microsoft.com/office/drawing/2014/main" id="{D090F999-823B-4E67-B65C-3F14F42D2D10}"/>
                    </a:ext>
                  </a:extLst>
                </p:cNvPr>
                <p:cNvSpPr/>
                <p:nvPr/>
              </p:nvSpPr>
              <p:spPr>
                <a:xfrm>
                  <a:off x="5012044" y="1529909"/>
                  <a:ext cx="58431" cy="79184"/>
                </a:xfrm>
                <a:custGeom>
                  <a:avLst/>
                  <a:gdLst>
                    <a:gd name="connsiteX0" fmla="*/ 0 w 58431"/>
                    <a:gd name="connsiteY0" fmla="*/ 12679 h 79184"/>
                    <a:gd name="connsiteX1" fmla="*/ 31219 w 58431"/>
                    <a:gd name="connsiteY1" fmla="*/ 0 h 79184"/>
                    <a:gd name="connsiteX2" fmla="*/ 31399 w 58431"/>
                    <a:gd name="connsiteY2" fmla="*/ 299 h 79184"/>
                    <a:gd name="connsiteX3" fmla="*/ 1854 w 58431"/>
                    <a:gd name="connsiteY3" fmla="*/ 14174 h 79184"/>
                    <a:gd name="connsiteX4" fmla="*/ 7177 w 58431"/>
                    <a:gd name="connsiteY4" fmla="*/ 27332 h 79184"/>
                    <a:gd name="connsiteX5" fmla="*/ 25537 w 58431"/>
                    <a:gd name="connsiteY5" fmla="*/ 72486 h 79184"/>
                    <a:gd name="connsiteX6" fmla="*/ 30860 w 58431"/>
                    <a:gd name="connsiteY6" fmla="*/ 75776 h 79184"/>
                    <a:gd name="connsiteX7" fmla="*/ 56697 w 58431"/>
                    <a:gd name="connsiteY7" fmla="*/ 65190 h 79184"/>
                    <a:gd name="connsiteX8" fmla="*/ 31638 w 58431"/>
                    <a:gd name="connsiteY8" fmla="*/ 3588 h 79184"/>
                    <a:gd name="connsiteX9" fmla="*/ 32714 w 58431"/>
                    <a:gd name="connsiteY9" fmla="*/ 3170 h 79184"/>
                    <a:gd name="connsiteX10" fmla="*/ 58431 w 58431"/>
                    <a:gd name="connsiteY10" fmla="*/ 66386 h 79184"/>
                    <a:gd name="connsiteX11" fmla="*/ 27033 w 58431"/>
                    <a:gd name="connsiteY11" fmla="*/ 79185 h 79184"/>
                    <a:gd name="connsiteX12" fmla="*/ 0 w 58431"/>
                    <a:gd name="connsiteY12" fmla="*/ 12679 h 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431" h="79184">
                      <a:moveTo>
                        <a:pt x="0" y="12679"/>
                      </a:moveTo>
                      <a:cubicBezTo>
                        <a:pt x="10466" y="8433"/>
                        <a:pt x="20873" y="4186"/>
                        <a:pt x="31219" y="0"/>
                      </a:cubicBezTo>
                      <a:cubicBezTo>
                        <a:pt x="31279" y="120"/>
                        <a:pt x="31339" y="239"/>
                        <a:pt x="31399" y="299"/>
                      </a:cubicBezTo>
                      <a:cubicBezTo>
                        <a:pt x="21770" y="4844"/>
                        <a:pt x="12081" y="9330"/>
                        <a:pt x="1854" y="14174"/>
                      </a:cubicBezTo>
                      <a:cubicBezTo>
                        <a:pt x="3708" y="18779"/>
                        <a:pt x="5442" y="23026"/>
                        <a:pt x="7177" y="27332"/>
                      </a:cubicBezTo>
                      <a:cubicBezTo>
                        <a:pt x="13277" y="42403"/>
                        <a:pt x="19437" y="57415"/>
                        <a:pt x="25537" y="72486"/>
                      </a:cubicBezTo>
                      <a:cubicBezTo>
                        <a:pt x="26674" y="75297"/>
                        <a:pt x="27691" y="77091"/>
                        <a:pt x="30860" y="75776"/>
                      </a:cubicBezTo>
                      <a:cubicBezTo>
                        <a:pt x="39234" y="72247"/>
                        <a:pt x="47666" y="68898"/>
                        <a:pt x="56697" y="65190"/>
                      </a:cubicBezTo>
                      <a:cubicBezTo>
                        <a:pt x="48324" y="44616"/>
                        <a:pt x="39951" y="24102"/>
                        <a:pt x="31638" y="3588"/>
                      </a:cubicBezTo>
                      <a:cubicBezTo>
                        <a:pt x="31997" y="3469"/>
                        <a:pt x="32356" y="3289"/>
                        <a:pt x="32714" y="3170"/>
                      </a:cubicBezTo>
                      <a:cubicBezTo>
                        <a:pt x="41327" y="24341"/>
                        <a:pt x="49939" y="45453"/>
                        <a:pt x="58431" y="66386"/>
                      </a:cubicBezTo>
                      <a:cubicBezTo>
                        <a:pt x="48085" y="70573"/>
                        <a:pt x="37738" y="74819"/>
                        <a:pt x="27033" y="79185"/>
                      </a:cubicBezTo>
                      <a:cubicBezTo>
                        <a:pt x="18121" y="57176"/>
                        <a:pt x="9210" y="35286"/>
                        <a:pt x="0" y="126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54" name="Vrije vorm: vorm 9453">
                  <a:extLst>
                    <a:ext uri="{FF2B5EF4-FFF2-40B4-BE49-F238E27FC236}">
                      <a16:creationId xmlns:a16="http://schemas.microsoft.com/office/drawing/2014/main" id="{051B92BF-7F63-405B-B99E-2C94FD1D81D2}"/>
                    </a:ext>
                  </a:extLst>
                </p:cNvPr>
                <p:cNvSpPr/>
                <p:nvPr/>
              </p:nvSpPr>
              <p:spPr>
                <a:xfrm>
                  <a:off x="4869882" y="1613280"/>
                  <a:ext cx="41865" cy="59866"/>
                </a:xfrm>
                <a:custGeom>
                  <a:avLst/>
                  <a:gdLst>
                    <a:gd name="connsiteX0" fmla="*/ 0 w 41865"/>
                    <a:gd name="connsiteY0" fmla="*/ 8552 h 59866"/>
                    <a:gd name="connsiteX1" fmla="*/ 20992 w 41865"/>
                    <a:gd name="connsiteY1" fmla="*/ 0 h 59866"/>
                    <a:gd name="connsiteX2" fmla="*/ 41865 w 41865"/>
                    <a:gd name="connsiteY2" fmla="*/ 51315 h 59866"/>
                    <a:gd name="connsiteX3" fmla="*/ 20873 w 41865"/>
                    <a:gd name="connsiteY3" fmla="*/ 59867 h 59866"/>
                    <a:gd name="connsiteX4" fmla="*/ 0 w 41865"/>
                    <a:gd name="connsiteY4" fmla="*/ 8552 h 59866"/>
                    <a:gd name="connsiteX5" fmla="*/ 39652 w 41865"/>
                    <a:gd name="connsiteY5" fmla="*/ 50238 h 59866"/>
                    <a:gd name="connsiteX6" fmla="*/ 21052 w 41865"/>
                    <a:gd name="connsiteY6" fmla="*/ 4545 h 59866"/>
                    <a:gd name="connsiteX7" fmla="*/ 6997 w 41865"/>
                    <a:gd name="connsiteY7" fmla="*/ 10227 h 59866"/>
                    <a:gd name="connsiteX8" fmla="*/ 4605 w 41865"/>
                    <a:gd name="connsiteY8" fmla="*/ 16866 h 59866"/>
                    <a:gd name="connsiteX9" fmla="*/ 14413 w 41865"/>
                    <a:gd name="connsiteY9" fmla="*/ 40430 h 59866"/>
                    <a:gd name="connsiteX10" fmla="*/ 38516 w 41865"/>
                    <a:gd name="connsiteY10" fmla="*/ 51135 h 59866"/>
                    <a:gd name="connsiteX11" fmla="*/ 39652 w 41865"/>
                    <a:gd name="connsiteY11" fmla="*/ 50238 h 5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65" h="59866">
                      <a:moveTo>
                        <a:pt x="0" y="8552"/>
                      </a:moveTo>
                      <a:cubicBezTo>
                        <a:pt x="6997" y="5682"/>
                        <a:pt x="13815" y="2930"/>
                        <a:pt x="20992" y="0"/>
                      </a:cubicBezTo>
                      <a:cubicBezTo>
                        <a:pt x="27870" y="16866"/>
                        <a:pt x="34868" y="34090"/>
                        <a:pt x="41865" y="51315"/>
                      </a:cubicBezTo>
                      <a:cubicBezTo>
                        <a:pt x="35107" y="54066"/>
                        <a:pt x="28229" y="56877"/>
                        <a:pt x="20873" y="59867"/>
                      </a:cubicBezTo>
                      <a:cubicBezTo>
                        <a:pt x="13875" y="42642"/>
                        <a:pt x="7057" y="25837"/>
                        <a:pt x="0" y="8552"/>
                      </a:cubicBezTo>
                      <a:close/>
                      <a:moveTo>
                        <a:pt x="39652" y="50238"/>
                      </a:moveTo>
                      <a:cubicBezTo>
                        <a:pt x="33432" y="35047"/>
                        <a:pt x="27392" y="20155"/>
                        <a:pt x="21052" y="4545"/>
                      </a:cubicBezTo>
                      <a:cubicBezTo>
                        <a:pt x="16028" y="6579"/>
                        <a:pt x="11543" y="8552"/>
                        <a:pt x="6997" y="10227"/>
                      </a:cubicBezTo>
                      <a:cubicBezTo>
                        <a:pt x="3708" y="11423"/>
                        <a:pt x="2990" y="13158"/>
                        <a:pt x="4605" y="16866"/>
                      </a:cubicBezTo>
                      <a:cubicBezTo>
                        <a:pt x="8014" y="24641"/>
                        <a:pt x="11124" y="32595"/>
                        <a:pt x="14413" y="40430"/>
                      </a:cubicBezTo>
                      <a:cubicBezTo>
                        <a:pt x="22069" y="58850"/>
                        <a:pt x="22069" y="58850"/>
                        <a:pt x="38516" y="51135"/>
                      </a:cubicBezTo>
                      <a:cubicBezTo>
                        <a:pt x="38815" y="51016"/>
                        <a:pt x="39054" y="50716"/>
                        <a:pt x="39652" y="5023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55" name="Vrije vorm: vorm 9454">
                  <a:extLst>
                    <a:ext uri="{FF2B5EF4-FFF2-40B4-BE49-F238E27FC236}">
                      <a16:creationId xmlns:a16="http://schemas.microsoft.com/office/drawing/2014/main" id="{76C9DDBB-70EE-4295-8F4A-83675669BBEF}"/>
                    </a:ext>
                  </a:extLst>
                </p:cNvPr>
                <p:cNvSpPr/>
                <p:nvPr/>
              </p:nvSpPr>
              <p:spPr>
                <a:xfrm>
                  <a:off x="4913900" y="1392053"/>
                  <a:ext cx="53766" cy="80500"/>
                </a:xfrm>
                <a:custGeom>
                  <a:avLst/>
                  <a:gdLst>
                    <a:gd name="connsiteX0" fmla="*/ 52331 w 53766"/>
                    <a:gd name="connsiteY0" fmla="*/ 63874 h 80500"/>
                    <a:gd name="connsiteX1" fmla="*/ 26495 w 53766"/>
                    <a:gd name="connsiteY1" fmla="*/ 359 h 80500"/>
                    <a:gd name="connsiteX2" fmla="*/ 27452 w 53766"/>
                    <a:gd name="connsiteY2" fmla="*/ 0 h 80500"/>
                    <a:gd name="connsiteX3" fmla="*/ 53767 w 53766"/>
                    <a:gd name="connsiteY3" fmla="*/ 64652 h 80500"/>
                    <a:gd name="connsiteX4" fmla="*/ 25897 w 53766"/>
                    <a:gd name="connsiteY4" fmla="*/ 80501 h 80500"/>
                    <a:gd name="connsiteX5" fmla="*/ 0 w 53766"/>
                    <a:gd name="connsiteY5" fmla="*/ 16925 h 80500"/>
                    <a:gd name="connsiteX6" fmla="*/ 23026 w 53766"/>
                    <a:gd name="connsiteY6" fmla="*/ 2153 h 80500"/>
                    <a:gd name="connsiteX7" fmla="*/ 23624 w 53766"/>
                    <a:gd name="connsiteY7" fmla="*/ 3050 h 80500"/>
                    <a:gd name="connsiteX8" fmla="*/ 6041 w 53766"/>
                    <a:gd name="connsiteY8" fmla="*/ 14593 h 80500"/>
                    <a:gd name="connsiteX9" fmla="*/ 3828 w 53766"/>
                    <a:gd name="connsiteY9" fmla="*/ 23026 h 80500"/>
                    <a:gd name="connsiteX10" fmla="*/ 24581 w 53766"/>
                    <a:gd name="connsiteY10" fmla="*/ 73742 h 80500"/>
                    <a:gd name="connsiteX11" fmla="*/ 26853 w 53766"/>
                    <a:gd name="connsiteY11" fmla="*/ 78288 h 80500"/>
                    <a:gd name="connsiteX12" fmla="*/ 52331 w 53766"/>
                    <a:gd name="connsiteY12" fmla="*/ 63874 h 8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766" h="80500">
                      <a:moveTo>
                        <a:pt x="52331" y="63874"/>
                      </a:moveTo>
                      <a:cubicBezTo>
                        <a:pt x="43540" y="42344"/>
                        <a:pt x="35047" y="21351"/>
                        <a:pt x="26495" y="359"/>
                      </a:cubicBezTo>
                      <a:cubicBezTo>
                        <a:pt x="26794" y="239"/>
                        <a:pt x="27153" y="120"/>
                        <a:pt x="27452" y="0"/>
                      </a:cubicBezTo>
                      <a:cubicBezTo>
                        <a:pt x="36183" y="21471"/>
                        <a:pt x="44915" y="42942"/>
                        <a:pt x="53767" y="64652"/>
                      </a:cubicBezTo>
                      <a:cubicBezTo>
                        <a:pt x="44796" y="69735"/>
                        <a:pt x="35466" y="75058"/>
                        <a:pt x="25897" y="80501"/>
                      </a:cubicBezTo>
                      <a:cubicBezTo>
                        <a:pt x="17344" y="59389"/>
                        <a:pt x="8732" y="38277"/>
                        <a:pt x="0" y="16925"/>
                      </a:cubicBezTo>
                      <a:cubicBezTo>
                        <a:pt x="7656" y="12021"/>
                        <a:pt x="15311" y="7057"/>
                        <a:pt x="23026" y="2153"/>
                      </a:cubicBezTo>
                      <a:cubicBezTo>
                        <a:pt x="23205" y="2452"/>
                        <a:pt x="23445" y="2751"/>
                        <a:pt x="23624" y="3050"/>
                      </a:cubicBezTo>
                      <a:cubicBezTo>
                        <a:pt x="17763" y="6938"/>
                        <a:pt x="12141" y="11184"/>
                        <a:pt x="6041" y="14593"/>
                      </a:cubicBezTo>
                      <a:cubicBezTo>
                        <a:pt x="2213" y="16746"/>
                        <a:pt x="2093" y="18899"/>
                        <a:pt x="3828" y="23026"/>
                      </a:cubicBezTo>
                      <a:cubicBezTo>
                        <a:pt x="10885" y="39891"/>
                        <a:pt x="17643" y="56817"/>
                        <a:pt x="24581" y="73742"/>
                      </a:cubicBezTo>
                      <a:cubicBezTo>
                        <a:pt x="25119" y="74998"/>
                        <a:pt x="25837" y="76194"/>
                        <a:pt x="26853" y="78288"/>
                      </a:cubicBezTo>
                      <a:cubicBezTo>
                        <a:pt x="35406" y="73383"/>
                        <a:pt x="43719" y="68718"/>
                        <a:pt x="52331" y="6387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56" name="Vrije vorm: vorm 9455">
                  <a:extLst>
                    <a:ext uri="{FF2B5EF4-FFF2-40B4-BE49-F238E27FC236}">
                      <a16:creationId xmlns:a16="http://schemas.microsoft.com/office/drawing/2014/main" id="{8E695F94-2F3C-46E7-98E3-76B00B940836}"/>
                    </a:ext>
                  </a:extLst>
                </p:cNvPr>
                <p:cNvSpPr/>
                <p:nvPr/>
              </p:nvSpPr>
              <p:spPr>
                <a:xfrm>
                  <a:off x="4801403" y="1577814"/>
                  <a:ext cx="35525" cy="53228"/>
                </a:xfrm>
                <a:custGeom>
                  <a:avLst/>
                  <a:gdLst>
                    <a:gd name="connsiteX0" fmla="*/ 19019 w 35525"/>
                    <a:gd name="connsiteY0" fmla="*/ 49520 h 53228"/>
                    <a:gd name="connsiteX1" fmla="*/ 2452 w 35525"/>
                    <a:gd name="connsiteY1" fmla="*/ 8792 h 53228"/>
                    <a:gd name="connsiteX2" fmla="*/ 3648 w 35525"/>
                    <a:gd name="connsiteY2" fmla="*/ 8313 h 53228"/>
                    <a:gd name="connsiteX3" fmla="*/ 20335 w 35525"/>
                    <a:gd name="connsiteY3" fmla="*/ 49281 h 53228"/>
                    <a:gd name="connsiteX4" fmla="*/ 34030 w 35525"/>
                    <a:gd name="connsiteY4" fmla="*/ 43719 h 53228"/>
                    <a:gd name="connsiteX5" fmla="*/ 16387 w 35525"/>
                    <a:gd name="connsiteY5" fmla="*/ 419 h 53228"/>
                    <a:gd name="connsiteX6" fmla="*/ 17464 w 35525"/>
                    <a:gd name="connsiteY6" fmla="*/ 0 h 53228"/>
                    <a:gd name="connsiteX7" fmla="*/ 35526 w 35525"/>
                    <a:gd name="connsiteY7" fmla="*/ 44497 h 53228"/>
                    <a:gd name="connsiteX8" fmla="*/ 17344 w 35525"/>
                    <a:gd name="connsiteY8" fmla="*/ 53228 h 53228"/>
                    <a:gd name="connsiteX9" fmla="*/ 0 w 35525"/>
                    <a:gd name="connsiteY9" fmla="*/ 10526 h 53228"/>
                    <a:gd name="connsiteX10" fmla="*/ 1136 w 35525"/>
                    <a:gd name="connsiteY10" fmla="*/ 10048 h 53228"/>
                    <a:gd name="connsiteX11" fmla="*/ 17464 w 35525"/>
                    <a:gd name="connsiteY11" fmla="*/ 50238 h 53228"/>
                    <a:gd name="connsiteX12" fmla="*/ 19019 w 35525"/>
                    <a:gd name="connsiteY12" fmla="*/ 49520 h 5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25" h="53228">
                      <a:moveTo>
                        <a:pt x="19019" y="49520"/>
                      </a:moveTo>
                      <a:cubicBezTo>
                        <a:pt x="13516" y="35944"/>
                        <a:pt x="7954" y="22368"/>
                        <a:pt x="2452" y="8792"/>
                      </a:cubicBezTo>
                      <a:cubicBezTo>
                        <a:pt x="2871" y="8612"/>
                        <a:pt x="3230" y="8433"/>
                        <a:pt x="3648" y="8313"/>
                      </a:cubicBezTo>
                      <a:cubicBezTo>
                        <a:pt x="9151" y="21889"/>
                        <a:pt x="14713" y="35526"/>
                        <a:pt x="20335" y="49281"/>
                      </a:cubicBezTo>
                      <a:cubicBezTo>
                        <a:pt x="25239" y="47248"/>
                        <a:pt x="29366" y="45633"/>
                        <a:pt x="34030" y="43719"/>
                      </a:cubicBezTo>
                      <a:cubicBezTo>
                        <a:pt x="28050" y="29007"/>
                        <a:pt x="22248" y="14713"/>
                        <a:pt x="16387" y="419"/>
                      </a:cubicBezTo>
                      <a:cubicBezTo>
                        <a:pt x="16746" y="299"/>
                        <a:pt x="17105" y="120"/>
                        <a:pt x="17464" y="0"/>
                      </a:cubicBezTo>
                      <a:cubicBezTo>
                        <a:pt x="23504" y="14772"/>
                        <a:pt x="29485" y="29605"/>
                        <a:pt x="35526" y="44497"/>
                      </a:cubicBezTo>
                      <a:cubicBezTo>
                        <a:pt x="29724" y="47248"/>
                        <a:pt x="23504" y="50298"/>
                        <a:pt x="17344" y="53228"/>
                      </a:cubicBezTo>
                      <a:cubicBezTo>
                        <a:pt x="11543" y="38934"/>
                        <a:pt x="5742" y="24760"/>
                        <a:pt x="0" y="10526"/>
                      </a:cubicBezTo>
                      <a:cubicBezTo>
                        <a:pt x="359" y="10347"/>
                        <a:pt x="718" y="10227"/>
                        <a:pt x="1136" y="10048"/>
                      </a:cubicBezTo>
                      <a:cubicBezTo>
                        <a:pt x="6579" y="23444"/>
                        <a:pt x="12021" y="36841"/>
                        <a:pt x="17464" y="50238"/>
                      </a:cubicBezTo>
                      <a:cubicBezTo>
                        <a:pt x="17942" y="49939"/>
                        <a:pt x="18481" y="49700"/>
                        <a:pt x="19019" y="4952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57" name="Vrije vorm: vorm 9456">
                  <a:extLst>
                    <a:ext uri="{FF2B5EF4-FFF2-40B4-BE49-F238E27FC236}">
                      <a16:creationId xmlns:a16="http://schemas.microsoft.com/office/drawing/2014/main" id="{897DDCE2-07F6-4DE3-BFEE-6E54C71E2FCB}"/>
                    </a:ext>
                  </a:extLst>
                </p:cNvPr>
                <p:cNvSpPr/>
                <p:nvPr/>
              </p:nvSpPr>
              <p:spPr>
                <a:xfrm>
                  <a:off x="4883399" y="1413165"/>
                  <a:ext cx="51314" cy="78108"/>
                </a:xfrm>
                <a:custGeom>
                  <a:avLst/>
                  <a:gdLst>
                    <a:gd name="connsiteX0" fmla="*/ 24999 w 51314"/>
                    <a:gd name="connsiteY0" fmla="*/ 78108 h 78108"/>
                    <a:gd name="connsiteX1" fmla="*/ 0 w 51314"/>
                    <a:gd name="connsiteY1" fmla="*/ 16686 h 78108"/>
                    <a:gd name="connsiteX2" fmla="*/ 25597 w 51314"/>
                    <a:gd name="connsiteY2" fmla="*/ 0 h 78108"/>
                    <a:gd name="connsiteX3" fmla="*/ 51315 w 51314"/>
                    <a:gd name="connsiteY3" fmla="*/ 63156 h 78108"/>
                    <a:gd name="connsiteX4" fmla="*/ 24999 w 51314"/>
                    <a:gd name="connsiteY4" fmla="*/ 78108 h 78108"/>
                    <a:gd name="connsiteX5" fmla="*/ 2153 w 51314"/>
                    <a:gd name="connsiteY5" fmla="*/ 17045 h 78108"/>
                    <a:gd name="connsiteX6" fmla="*/ 26136 w 51314"/>
                    <a:gd name="connsiteY6" fmla="*/ 75955 h 78108"/>
                    <a:gd name="connsiteX7" fmla="*/ 49281 w 51314"/>
                    <a:gd name="connsiteY7" fmla="*/ 62678 h 78108"/>
                    <a:gd name="connsiteX8" fmla="*/ 24700 w 51314"/>
                    <a:gd name="connsiteY8" fmla="*/ 2273 h 78108"/>
                    <a:gd name="connsiteX9" fmla="*/ 2153 w 51314"/>
                    <a:gd name="connsiteY9" fmla="*/ 17045 h 7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14" h="78108">
                      <a:moveTo>
                        <a:pt x="24999" y="78108"/>
                      </a:moveTo>
                      <a:cubicBezTo>
                        <a:pt x="16626" y="57535"/>
                        <a:pt x="8313" y="37140"/>
                        <a:pt x="0" y="16686"/>
                      </a:cubicBezTo>
                      <a:cubicBezTo>
                        <a:pt x="8373" y="11244"/>
                        <a:pt x="16806" y="5741"/>
                        <a:pt x="25597" y="0"/>
                      </a:cubicBezTo>
                      <a:cubicBezTo>
                        <a:pt x="34150" y="20992"/>
                        <a:pt x="42702" y="42104"/>
                        <a:pt x="51315" y="63156"/>
                      </a:cubicBezTo>
                      <a:cubicBezTo>
                        <a:pt x="42583" y="68120"/>
                        <a:pt x="33970" y="73025"/>
                        <a:pt x="24999" y="78108"/>
                      </a:cubicBezTo>
                      <a:close/>
                      <a:moveTo>
                        <a:pt x="2153" y="17045"/>
                      </a:moveTo>
                      <a:cubicBezTo>
                        <a:pt x="10347" y="37140"/>
                        <a:pt x="18121" y="56338"/>
                        <a:pt x="26136" y="75955"/>
                      </a:cubicBezTo>
                      <a:cubicBezTo>
                        <a:pt x="34150" y="71350"/>
                        <a:pt x="41685" y="67044"/>
                        <a:pt x="49281" y="62678"/>
                      </a:cubicBezTo>
                      <a:cubicBezTo>
                        <a:pt x="41028" y="42403"/>
                        <a:pt x="33014" y="22607"/>
                        <a:pt x="24700" y="2273"/>
                      </a:cubicBezTo>
                      <a:cubicBezTo>
                        <a:pt x="16866" y="7416"/>
                        <a:pt x="9450" y="12260"/>
                        <a:pt x="2153" y="1704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58" name="Vrije vorm: vorm 9457">
                  <a:extLst>
                    <a:ext uri="{FF2B5EF4-FFF2-40B4-BE49-F238E27FC236}">
                      <a16:creationId xmlns:a16="http://schemas.microsoft.com/office/drawing/2014/main" id="{9B5D59C2-07D5-4960-A723-3AE8935BE816}"/>
                    </a:ext>
                  </a:extLst>
                </p:cNvPr>
                <p:cNvSpPr/>
                <p:nvPr/>
              </p:nvSpPr>
              <p:spPr>
                <a:xfrm>
                  <a:off x="5377944" y="1634452"/>
                  <a:ext cx="62020" cy="80799"/>
                </a:xfrm>
                <a:custGeom>
                  <a:avLst/>
                  <a:gdLst>
                    <a:gd name="connsiteX0" fmla="*/ 28767 w 62020"/>
                    <a:gd name="connsiteY0" fmla="*/ 7177 h 80799"/>
                    <a:gd name="connsiteX1" fmla="*/ 4725 w 62020"/>
                    <a:gd name="connsiteY1" fmla="*/ 18899 h 80799"/>
                    <a:gd name="connsiteX2" fmla="*/ 3229 w 62020"/>
                    <a:gd name="connsiteY2" fmla="*/ 22966 h 80799"/>
                    <a:gd name="connsiteX3" fmla="*/ 25777 w 62020"/>
                    <a:gd name="connsiteY3" fmla="*/ 78766 h 80799"/>
                    <a:gd name="connsiteX4" fmla="*/ 61482 w 62020"/>
                    <a:gd name="connsiteY4" fmla="*/ 60046 h 80799"/>
                    <a:gd name="connsiteX5" fmla="*/ 62020 w 62020"/>
                    <a:gd name="connsiteY5" fmla="*/ 61183 h 80799"/>
                    <a:gd name="connsiteX6" fmla="*/ 24940 w 62020"/>
                    <a:gd name="connsiteY6" fmla="*/ 80800 h 80799"/>
                    <a:gd name="connsiteX7" fmla="*/ 0 w 62020"/>
                    <a:gd name="connsiteY7" fmla="*/ 19557 h 80799"/>
                    <a:gd name="connsiteX8" fmla="*/ 40011 w 62020"/>
                    <a:gd name="connsiteY8" fmla="*/ 0 h 80799"/>
                    <a:gd name="connsiteX9" fmla="*/ 40490 w 62020"/>
                    <a:gd name="connsiteY9" fmla="*/ 1017 h 80799"/>
                    <a:gd name="connsiteX10" fmla="*/ 29485 w 62020"/>
                    <a:gd name="connsiteY10" fmla="*/ 6399 h 80799"/>
                    <a:gd name="connsiteX11" fmla="*/ 41626 w 62020"/>
                    <a:gd name="connsiteY11" fmla="*/ 36303 h 80799"/>
                    <a:gd name="connsiteX12" fmla="*/ 40609 w 62020"/>
                    <a:gd name="connsiteY12" fmla="*/ 36722 h 80799"/>
                    <a:gd name="connsiteX13" fmla="*/ 28767 w 62020"/>
                    <a:gd name="connsiteY13" fmla="*/ 7177 h 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20" h="80799">
                      <a:moveTo>
                        <a:pt x="28767" y="7177"/>
                      </a:moveTo>
                      <a:cubicBezTo>
                        <a:pt x="20275" y="11244"/>
                        <a:pt x="12440" y="14952"/>
                        <a:pt x="4725" y="18899"/>
                      </a:cubicBezTo>
                      <a:cubicBezTo>
                        <a:pt x="3768" y="19378"/>
                        <a:pt x="2811" y="21949"/>
                        <a:pt x="3229" y="22966"/>
                      </a:cubicBezTo>
                      <a:cubicBezTo>
                        <a:pt x="10526" y="41387"/>
                        <a:pt x="18062" y="59747"/>
                        <a:pt x="25777" y="78766"/>
                      </a:cubicBezTo>
                      <a:cubicBezTo>
                        <a:pt x="37918" y="72427"/>
                        <a:pt x="49700" y="66207"/>
                        <a:pt x="61482" y="60046"/>
                      </a:cubicBezTo>
                      <a:cubicBezTo>
                        <a:pt x="61661" y="60405"/>
                        <a:pt x="61840" y="60824"/>
                        <a:pt x="62020" y="61183"/>
                      </a:cubicBezTo>
                      <a:cubicBezTo>
                        <a:pt x="49640" y="67702"/>
                        <a:pt x="37260" y="74281"/>
                        <a:pt x="24940" y="80800"/>
                      </a:cubicBezTo>
                      <a:cubicBezTo>
                        <a:pt x="16626" y="60345"/>
                        <a:pt x="8313" y="40011"/>
                        <a:pt x="0" y="19557"/>
                      </a:cubicBezTo>
                      <a:cubicBezTo>
                        <a:pt x="13397" y="12978"/>
                        <a:pt x="26734" y="6519"/>
                        <a:pt x="40011" y="0"/>
                      </a:cubicBezTo>
                      <a:cubicBezTo>
                        <a:pt x="40190" y="359"/>
                        <a:pt x="40370" y="718"/>
                        <a:pt x="40490" y="1017"/>
                      </a:cubicBezTo>
                      <a:cubicBezTo>
                        <a:pt x="37081" y="2691"/>
                        <a:pt x="33612" y="4366"/>
                        <a:pt x="29485" y="6399"/>
                      </a:cubicBezTo>
                      <a:cubicBezTo>
                        <a:pt x="33612" y="16567"/>
                        <a:pt x="37619" y="26435"/>
                        <a:pt x="41626" y="36303"/>
                      </a:cubicBezTo>
                      <a:cubicBezTo>
                        <a:pt x="41267" y="36423"/>
                        <a:pt x="40968" y="36542"/>
                        <a:pt x="40609" y="36722"/>
                      </a:cubicBezTo>
                      <a:cubicBezTo>
                        <a:pt x="36901" y="27272"/>
                        <a:pt x="33014" y="17763"/>
                        <a:pt x="28767" y="717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59" name="Vrije vorm: vorm 9458">
                  <a:extLst>
                    <a:ext uri="{FF2B5EF4-FFF2-40B4-BE49-F238E27FC236}">
                      <a16:creationId xmlns:a16="http://schemas.microsoft.com/office/drawing/2014/main" id="{B06F3380-4666-4A9E-9258-4C724421AFB0}"/>
                    </a:ext>
                  </a:extLst>
                </p:cNvPr>
                <p:cNvSpPr/>
                <p:nvPr/>
              </p:nvSpPr>
              <p:spPr>
                <a:xfrm>
                  <a:off x="4825864" y="2001369"/>
                  <a:ext cx="45513" cy="62857"/>
                </a:xfrm>
                <a:custGeom>
                  <a:avLst/>
                  <a:gdLst>
                    <a:gd name="connsiteX0" fmla="*/ 18540 w 45513"/>
                    <a:gd name="connsiteY0" fmla="*/ 60286 h 62857"/>
                    <a:gd name="connsiteX1" fmla="*/ 28946 w 45513"/>
                    <a:gd name="connsiteY1" fmla="*/ 60046 h 62857"/>
                    <a:gd name="connsiteX2" fmla="*/ 6041 w 45513"/>
                    <a:gd name="connsiteY2" fmla="*/ 4246 h 62857"/>
                    <a:gd name="connsiteX3" fmla="*/ 0 w 45513"/>
                    <a:gd name="connsiteY3" fmla="*/ 0 h 62857"/>
                    <a:gd name="connsiteX4" fmla="*/ 18002 w 45513"/>
                    <a:gd name="connsiteY4" fmla="*/ 60 h 62857"/>
                    <a:gd name="connsiteX5" fmla="*/ 18121 w 45513"/>
                    <a:gd name="connsiteY5" fmla="*/ 1076 h 62857"/>
                    <a:gd name="connsiteX6" fmla="*/ 9988 w 45513"/>
                    <a:gd name="connsiteY6" fmla="*/ 1794 h 62857"/>
                    <a:gd name="connsiteX7" fmla="*/ 21112 w 45513"/>
                    <a:gd name="connsiteY7" fmla="*/ 29126 h 62857"/>
                    <a:gd name="connsiteX8" fmla="*/ 31638 w 45513"/>
                    <a:gd name="connsiteY8" fmla="*/ 55023 h 62857"/>
                    <a:gd name="connsiteX9" fmla="*/ 40370 w 45513"/>
                    <a:gd name="connsiteY9" fmla="*/ 61542 h 62857"/>
                    <a:gd name="connsiteX10" fmla="*/ 45453 w 45513"/>
                    <a:gd name="connsiteY10" fmla="*/ 62857 h 62857"/>
                    <a:gd name="connsiteX11" fmla="*/ 45513 w 45513"/>
                    <a:gd name="connsiteY11" fmla="*/ 62738 h 62857"/>
                    <a:gd name="connsiteX12" fmla="*/ 18540 w 45513"/>
                    <a:gd name="connsiteY12" fmla="*/ 60286 h 62857"/>
                    <a:gd name="connsiteX13" fmla="*/ 30920 w 45513"/>
                    <a:gd name="connsiteY13" fmla="*/ 60166 h 62857"/>
                    <a:gd name="connsiteX14" fmla="*/ 31758 w 45513"/>
                    <a:gd name="connsiteY14" fmla="*/ 59867 h 62857"/>
                    <a:gd name="connsiteX15" fmla="*/ 8313 w 45513"/>
                    <a:gd name="connsiteY15" fmla="*/ 2273 h 62857"/>
                    <a:gd name="connsiteX16" fmla="*/ 7536 w 45513"/>
                    <a:gd name="connsiteY16" fmla="*/ 2631 h 62857"/>
                    <a:gd name="connsiteX17" fmla="*/ 30920 w 45513"/>
                    <a:gd name="connsiteY17" fmla="*/ 60166 h 62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513" h="62857">
                      <a:moveTo>
                        <a:pt x="18540" y="60286"/>
                      </a:moveTo>
                      <a:cubicBezTo>
                        <a:pt x="21949" y="60226"/>
                        <a:pt x="25358" y="60106"/>
                        <a:pt x="28946" y="60046"/>
                      </a:cubicBezTo>
                      <a:cubicBezTo>
                        <a:pt x="21291" y="41147"/>
                        <a:pt x="13875" y="22607"/>
                        <a:pt x="6041" y="4246"/>
                      </a:cubicBezTo>
                      <a:cubicBezTo>
                        <a:pt x="5203" y="2332"/>
                        <a:pt x="2093" y="1435"/>
                        <a:pt x="0" y="0"/>
                      </a:cubicBezTo>
                      <a:cubicBezTo>
                        <a:pt x="5981" y="0"/>
                        <a:pt x="12021" y="0"/>
                        <a:pt x="18002" y="60"/>
                      </a:cubicBezTo>
                      <a:cubicBezTo>
                        <a:pt x="18062" y="419"/>
                        <a:pt x="18121" y="718"/>
                        <a:pt x="18121" y="1076"/>
                      </a:cubicBezTo>
                      <a:cubicBezTo>
                        <a:pt x="15550" y="1316"/>
                        <a:pt x="12918" y="1555"/>
                        <a:pt x="9988" y="1794"/>
                      </a:cubicBezTo>
                      <a:cubicBezTo>
                        <a:pt x="13815" y="11184"/>
                        <a:pt x="17464" y="20155"/>
                        <a:pt x="21112" y="29126"/>
                      </a:cubicBezTo>
                      <a:cubicBezTo>
                        <a:pt x="24641" y="37738"/>
                        <a:pt x="28468" y="46291"/>
                        <a:pt x="31638" y="55023"/>
                      </a:cubicBezTo>
                      <a:cubicBezTo>
                        <a:pt x="33373" y="59927"/>
                        <a:pt x="35884" y="61781"/>
                        <a:pt x="40370" y="61542"/>
                      </a:cubicBezTo>
                      <a:cubicBezTo>
                        <a:pt x="41984" y="61482"/>
                        <a:pt x="43719" y="62379"/>
                        <a:pt x="45453" y="62857"/>
                      </a:cubicBezTo>
                      <a:lnTo>
                        <a:pt x="45513" y="62738"/>
                      </a:lnTo>
                      <a:cubicBezTo>
                        <a:pt x="36542" y="61841"/>
                        <a:pt x="27571" y="61063"/>
                        <a:pt x="18540" y="60286"/>
                      </a:cubicBezTo>
                      <a:close/>
                      <a:moveTo>
                        <a:pt x="30920" y="60166"/>
                      </a:moveTo>
                      <a:cubicBezTo>
                        <a:pt x="31219" y="60046"/>
                        <a:pt x="31459" y="59987"/>
                        <a:pt x="31758" y="59867"/>
                      </a:cubicBezTo>
                      <a:cubicBezTo>
                        <a:pt x="23923" y="40669"/>
                        <a:pt x="16148" y="21471"/>
                        <a:pt x="8313" y="2273"/>
                      </a:cubicBezTo>
                      <a:cubicBezTo>
                        <a:pt x="8074" y="2392"/>
                        <a:pt x="7775" y="2512"/>
                        <a:pt x="7536" y="2631"/>
                      </a:cubicBezTo>
                      <a:cubicBezTo>
                        <a:pt x="15311" y="21830"/>
                        <a:pt x="23086" y="40968"/>
                        <a:pt x="30920" y="6016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60" name="Vrije vorm: vorm 9459">
                  <a:extLst>
                    <a:ext uri="{FF2B5EF4-FFF2-40B4-BE49-F238E27FC236}">
                      <a16:creationId xmlns:a16="http://schemas.microsoft.com/office/drawing/2014/main" id="{86F7548C-7C61-473B-91F4-A02E9864BEDE}"/>
                    </a:ext>
                  </a:extLst>
                </p:cNvPr>
                <p:cNvSpPr/>
                <p:nvPr/>
              </p:nvSpPr>
              <p:spPr>
                <a:xfrm>
                  <a:off x="5343256" y="2023557"/>
                  <a:ext cx="72665" cy="118119"/>
                </a:xfrm>
                <a:custGeom>
                  <a:avLst/>
                  <a:gdLst>
                    <a:gd name="connsiteX0" fmla="*/ 0 w 72665"/>
                    <a:gd name="connsiteY0" fmla="*/ 11842 h 118119"/>
                    <a:gd name="connsiteX1" fmla="*/ 29126 w 72665"/>
                    <a:gd name="connsiteY1" fmla="*/ 0 h 118119"/>
                    <a:gd name="connsiteX2" fmla="*/ 29485 w 72665"/>
                    <a:gd name="connsiteY2" fmla="*/ 897 h 118119"/>
                    <a:gd name="connsiteX3" fmla="*/ 2033 w 72665"/>
                    <a:gd name="connsiteY3" fmla="*/ 12081 h 118119"/>
                    <a:gd name="connsiteX4" fmla="*/ 44257 w 72665"/>
                    <a:gd name="connsiteY4" fmla="*/ 115847 h 118119"/>
                    <a:gd name="connsiteX5" fmla="*/ 72068 w 72665"/>
                    <a:gd name="connsiteY5" fmla="*/ 104543 h 118119"/>
                    <a:gd name="connsiteX6" fmla="*/ 72666 w 72665"/>
                    <a:gd name="connsiteY6" fmla="*/ 106098 h 118119"/>
                    <a:gd name="connsiteX7" fmla="*/ 43181 w 72665"/>
                    <a:gd name="connsiteY7" fmla="*/ 118119 h 118119"/>
                    <a:gd name="connsiteX8" fmla="*/ 0 w 72665"/>
                    <a:gd name="connsiteY8" fmla="*/ 11842 h 11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665" h="118119">
                      <a:moveTo>
                        <a:pt x="0" y="11842"/>
                      </a:moveTo>
                      <a:cubicBezTo>
                        <a:pt x="10048" y="7775"/>
                        <a:pt x="19557" y="3888"/>
                        <a:pt x="29126" y="0"/>
                      </a:cubicBezTo>
                      <a:cubicBezTo>
                        <a:pt x="29245" y="299"/>
                        <a:pt x="29365" y="598"/>
                        <a:pt x="29485" y="897"/>
                      </a:cubicBezTo>
                      <a:cubicBezTo>
                        <a:pt x="20454" y="4545"/>
                        <a:pt x="11483" y="8194"/>
                        <a:pt x="2033" y="12081"/>
                      </a:cubicBezTo>
                      <a:cubicBezTo>
                        <a:pt x="16208" y="46829"/>
                        <a:pt x="30083" y="81039"/>
                        <a:pt x="44257" y="115847"/>
                      </a:cubicBezTo>
                      <a:cubicBezTo>
                        <a:pt x="53408" y="112139"/>
                        <a:pt x="62738" y="108311"/>
                        <a:pt x="72068" y="104543"/>
                      </a:cubicBezTo>
                      <a:cubicBezTo>
                        <a:pt x="72247" y="105081"/>
                        <a:pt x="72486" y="105560"/>
                        <a:pt x="72666" y="106098"/>
                      </a:cubicBezTo>
                      <a:cubicBezTo>
                        <a:pt x="62917" y="110045"/>
                        <a:pt x="53168" y="114052"/>
                        <a:pt x="43181" y="118119"/>
                      </a:cubicBezTo>
                      <a:cubicBezTo>
                        <a:pt x="29006" y="83072"/>
                        <a:pt x="14593" y="47726"/>
                        <a:pt x="0" y="1184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61" name="Vrije vorm: vorm 9460">
                  <a:extLst>
                    <a:ext uri="{FF2B5EF4-FFF2-40B4-BE49-F238E27FC236}">
                      <a16:creationId xmlns:a16="http://schemas.microsoft.com/office/drawing/2014/main" id="{1D654DEB-BFC5-4C26-BBC6-F5F29817CBBB}"/>
                    </a:ext>
                  </a:extLst>
                </p:cNvPr>
                <p:cNvSpPr/>
                <p:nvPr/>
              </p:nvSpPr>
              <p:spPr>
                <a:xfrm>
                  <a:off x="4943385" y="1563401"/>
                  <a:ext cx="52630" cy="73144"/>
                </a:xfrm>
                <a:custGeom>
                  <a:avLst/>
                  <a:gdLst>
                    <a:gd name="connsiteX0" fmla="*/ 0 w 52630"/>
                    <a:gd name="connsiteY0" fmla="*/ 11244 h 73144"/>
                    <a:gd name="connsiteX1" fmla="*/ 23145 w 52630"/>
                    <a:gd name="connsiteY1" fmla="*/ 1854 h 73144"/>
                    <a:gd name="connsiteX2" fmla="*/ 23624 w 52630"/>
                    <a:gd name="connsiteY2" fmla="*/ 2871 h 73144"/>
                    <a:gd name="connsiteX3" fmla="*/ 1974 w 52630"/>
                    <a:gd name="connsiteY3" fmla="*/ 11662 h 73144"/>
                    <a:gd name="connsiteX4" fmla="*/ 25956 w 52630"/>
                    <a:gd name="connsiteY4" fmla="*/ 70573 h 73144"/>
                    <a:gd name="connsiteX5" fmla="*/ 50836 w 52630"/>
                    <a:gd name="connsiteY5" fmla="*/ 60465 h 73144"/>
                    <a:gd name="connsiteX6" fmla="*/ 26435 w 52630"/>
                    <a:gd name="connsiteY6" fmla="*/ 419 h 73144"/>
                    <a:gd name="connsiteX7" fmla="*/ 27392 w 52630"/>
                    <a:gd name="connsiteY7" fmla="*/ 0 h 73144"/>
                    <a:gd name="connsiteX8" fmla="*/ 52631 w 52630"/>
                    <a:gd name="connsiteY8" fmla="*/ 62020 h 73144"/>
                    <a:gd name="connsiteX9" fmla="*/ 25239 w 52630"/>
                    <a:gd name="connsiteY9" fmla="*/ 73144 h 73144"/>
                    <a:gd name="connsiteX10" fmla="*/ 0 w 52630"/>
                    <a:gd name="connsiteY10" fmla="*/ 11244 h 7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630" h="73144">
                      <a:moveTo>
                        <a:pt x="0" y="11244"/>
                      </a:moveTo>
                      <a:cubicBezTo>
                        <a:pt x="7835" y="8074"/>
                        <a:pt x="15490" y="4964"/>
                        <a:pt x="23145" y="1854"/>
                      </a:cubicBezTo>
                      <a:cubicBezTo>
                        <a:pt x="23325" y="2213"/>
                        <a:pt x="23445" y="2512"/>
                        <a:pt x="23624" y="2871"/>
                      </a:cubicBezTo>
                      <a:cubicBezTo>
                        <a:pt x="16507" y="5742"/>
                        <a:pt x="9390" y="8672"/>
                        <a:pt x="1974" y="11662"/>
                      </a:cubicBezTo>
                      <a:cubicBezTo>
                        <a:pt x="10167" y="31817"/>
                        <a:pt x="17942" y="50896"/>
                        <a:pt x="25956" y="70573"/>
                      </a:cubicBezTo>
                      <a:cubicBezTo>
                        <a:pt x="34090" y="67283"/>
                        <a:pt x="42224" y="63934"/>
                        <a:pt x="50836" y="60465"/>
                      </a:cubicBezTo>
                      <a:cubicBezTo>
                        <a:pt x="42702" y="40430"/>
                        <a:pt x="34569" y="20454"/>
                        <a:pt x="26435" y="419"/>
                      </a:cubicBezTo>
                      <a:cubicBezTo>
                        <a:pt x="26734" y="299"/>
                        <a:pt x="27093" y="179"/>
                        <a:pt x="27392" y="0"/>
                      </a:cubicBezTo>
                      <a:cubicBezTo>
                        <a:pt x="35765" y="20634"/>
                        <a:pt x="44198" y="41267"/>
                        <a:pt x="52631" y="62020"/>
                      </a:cubicBezTo>
                      <a:cubicBezTo>
                        <a:pt x="43839" y="65609"/>
                        <a:pt x="34688" y="69317"/>
                        <a:pt x="25239" y="73144"/>
                      </a:cubicBezTo>
                      <a:cubicBezTo>
                        <a:pt x="16806" y="52571"/>
                        <a:pt x="8553" y="32236"/>
                        <a:pt x="0" y="1124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62" name="Vrije vorm: vorm 9461">
                  <a:extLst>
                    <a:ext uri="{FF2B5EF4-FFF2-40B4-BE49-F238E27FC236}">
                      <a16:creationId xmlns:a16="http://schemas.microsoft.com/office/drawing/2014/main" id="{1FAF7935-8EEC-4675-A49F-FC5A1A7745F5}"/>
                    </a:ext>
                  </a:extLst>
                </p:cNvPr>
                <p:cNvSpPr/>
                <p:nvPr/>
              </p:nvSpPr>
              <p:spPr>
                <a:xfrm>
                  <a:off x="4986028" y="1939648"/>
                  <a:ext cx="66146" cy="91146"/>
                </a:xfrm>
                <a:custGeom>
                  <a:avLst/>
                  <a:gdLst>
                    <a:gd name="connsiteX0" fmla="*/ 66027 w 66146"/>
                    <a:gd name="connsiteY0" fmla="*/ 67463 h 91146"/>
                    <a:gd name="connsiteX1" fmla="*/ 46530 w 66146"/>
                    <a:gd name="connsiteY1" fmla="*/ 79603 h 91146"/>
                    <a:gd name="connsiteX2" fmla="*/ 26375 w 66146"/>
                    <a:gd name="connsiteY2" fmla="*/ 91146 h 91146"/>
                    <a:gd name="connsiteX3" fmla="*/ 0 w 66146"/>
                    <a:gd name="connsiteY3" fmla="*/ 26375 h 91146"/>
                    <a:gd name="connsiteX4" fmla="*/ 49401 w 66146"/>
                    <a:gd name="connsiteY4" fmla="*/ 0 h 91146"/>
                    <a:gd name="connsiteX5" fmla="*/ 49939 w 66146"/>
                    <a:gd name="connsiteY5" fmla="*/ 1077 h 91146"/>
                    <a:gd name="connsiteX6" fmla="*/ 1974 w 66146"/>
                    <a:gd name="connsiteY6" fmla="*/ 26973 h 91146"/>
                    <a:gd name="connsiteX7" fmla="*/ 27153 w 66146"/>
                    <a:gd name="connsiteY7" fmla="*/ 88874 h 91146"/>
                    <a:gd name="connsiteX8" fmla="*/ 66147 w 66146"/>
                    <a:gd name="connsiteY8" fmla="*/ 67582 h 91146"/>
                    <a:gd name="connsiteX9" fmla="*/ 66027 w 66146"/>
                    <a:gd name="connsiteY9" fmla="*/ 67463 h 9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46" h="91146">
                      <a:moveTo>
                        <a:pt x="66027" y="67463"/>
                      </a:moveTo>
                      <a:cubicBezTo>
                        <a:pt x="59508" y="71529"/>
                        <a:pt x="53109" y="75716"/>
                        <a:pt x="46530" y="79603"/>
                      </a:cubicBezTo>
                      <a:cubicBezTo>
                        <a:pt x="40011" y="83491"/>
                        <a:pt x="33313" y="87139"/>
                        <a:pt x="26375" y="91146"/>
                      </a:cubicBezTo>
                      <a:cubicBezTo>
                        <a:pt x="17643" y="69675"/>
                        <a:pt x="8852" y="48145"/>
                        <a:pt x="0" y="26375"/>
                      </a:cubicBezTo>
                      <a:cubicBezTo>
                        <a:pt x="16208" y="17703"/>
                        <a:pt x="32775" y="8851"/>
                        <a:pt x="49401" y="0"/>
                      </a:cubicBezTo>
                      <a:cubicBezTo>
                        <a:pt x="49580" y="359"/>
                        <a:pt x="49760" y="718"/>
                        <a:pt x="49939" y="1077"/>
                      </a:cubicBezTo>
                      <a:cubicBezTo>
                        <a:pt x="34030" y="9689"/>
                        <a:pt x="18182" y="18241"/>
                        <a:pt x="1974" y="26973"/>
                      </a:cubicBezTo>
                      <a:cubicBezTo>
                        <a:pt x="10347" y="47607"/>
                        <a:pt x="18660" y="68001"/>
                        <a:pt x="27153" y="88874"/>
                      </a:cubicBezTo>
                      <a:cubicBezTo>
                        <a:pt x="40430" y="81637"/>
                        <a:pt x="53288" y="74639"/>
                        <a:pt x="66147" y="67582"/>
                      </a:cubicBezTo>
                      <a:lnTo>
                        <a:pt x="66027" y="67463"/>
                      </a:lnTo>
                      <a:close/>
                    </a:path>
                  </a:pathLst>
                </a:custGeom>
                <a:grpFill/>
                <a:ln w="6350" cap="flat">
                  <a:solidFill>
                    <a:schemeClr val="bg1">
                      <a:alpha val="40000"/>
                    </a:schemeClr>
                  </a:solidFill>
                  <a:prstDash val="solid"/>
                  <a:miter/>
                </a:ln>
              </p:spPr>
              <p:txBody>
                <a:bodyPr rtlCol="0" anchor="ctr"/>
                <a:lstStyle/>
                <a:p>
                  <a:endParaRPr lang="en-GB"/>
                </a:p>
              </p:txBody>
            </p:sp>
            <p:sp>
              <p:nvSpPr>
                <p:cNvPr id="9463" name="Vrije vorm: vorm 9462">
                  <a:extLst>
                    <a:ext uri="{FF2B5EF4-FFF2-40B4-BE49-F238E27FC236}">
                      <a16:creationId xmlns:a16="http://schemas.microsoft.com/office/drawing/2014/main" id="{17AF8AC8-4850-44E4-BAC2-77E1648F2C69}"/>
                    </a:ext>
                  </a:extLst>
                </p:cNvPr>
                <p:cNvSpPr/>
                <p:nvPr/>
              </p:nvSpPr>
              <p:spPr>
                <a:xfrm>
                  <a:off x="4820721" y="1562145"/>
                  <a:ext cx="38934" cy="58730"/>
                </a:xfrm>
                <a:custGeom>
                  <a:avLst/>
                  <a:gdLst>
                    <a:gd name="connsiteX0" fmla="*/ 20873 w 38934"/>
                    <a:gd name="connsiteY0" fmla="*/ 56039 h 58730"/>
                    <a:gd name="connsiteX1" fmla="*/ 35346 w 38934"/>
                    <a:gd name="connsiteY1" fmla="*/ 50118 h 58730"/>
                    <a:gd name="connsiteX2" fmla="*/ 35645 w 38934"/>
                    <a:gd name="connsiteY2" fmla="*/ 50836 h 58730"/>
                    <a:gd name="connsiteX3" fmla="*/ 20095 w 38934"/>
                    <a:gd name="connsiteY3" fmla="*/ 58731 h 58730"/>
                    <a:gd name="connsiteX4" fmla="*/ 0 w 38934"/>
                    <a:gd name="connsiteY4" fmla="*/ 9390 h 58730"/>
                    <a:gd name="connsiteX5" fmla="*/ 18301 w 38934"/>
                    <a:gd name="connsiteY5" fmla="*/ 0 h 58730"/>
                    <a:gd name="connsiteX6" fmla="*/ 18779 w 38934"/>
                    <a:gd name="connsiteY6" fmla="*/ 837 h 58730"/>
                    <a:gd name="connsiteX7" fmla="*/ 2093 w 38934"/>
                    <a:gd name="connsiteY7" fmla="*/ 10107 h 58730"/>
                    <a:gd name="connsiteX8" fmla="*/ 2811 w 38934"/>
                    <a:gd name="connsiteY8" fmla="*/ 11483 h 58730"/>
                    <a:gd name="connsiteX9" fmla="*/ 20693 w 38934"/>
                    <a:gd name="connsiteY9" fmla="*/ 4186 h 58730"/>
                    <a:gd name="connsiteX10" fmla="*/ 38934 w 38934"/>
                    <a:gd name="connsiteY10" fmla="*/ 49042 h 58730"/>
                    <a:gd name="connsiteX11" fmla="*/ 38097 w 38934"/>
                    <a:gd name="connsiteY11" fmla="*/ 49401 h 58730"/>
                    <a:gd name="connsiteX12" fmla="*/ 20633 w 38934"/>
                    <a:gd name="connsiteY12" fmla="*/ 6519 h 58730"/>
                    <a:gd name="connsiteX13" fmla="*/ 3528 w 38934"/>
                    <a:gd name="connsiteY13" fmla="*/ 13516 h 58730"/>
                    <a:gd name="connsiteX14" fmla="*/ 20873 w 38934"/>
                    <a:gd name="connsiteY14" fmla="*/ 56039 h 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934" h="58730">
                      <a:moveTo>
                        <a:pt x="20873" y="56039"/>
                      </a:moveTo>
                      <a:cubicBezTo>
                        <a:pt x="26016" y="53946"/>
                        <a:pt x="30681" y="52032"/>
                        <a:pt x="35346" y="50118"/>
                      </a:cubicBezTo>
                      <a:cubicBezTo>
                        <a:pt x="35466" y="50358"/>
                        <a:pt x="35585" y="50597"/>
                        <a:pt x="35645" y="50836"/>
                      </a:cubicBezTo>
                      <a:cubicBezTo>
                        <a:pt x="30561" y="53408"/>
                        <a:pt x="25537" y="55980"/>
                        <a:pt x="20095" y="58731"/>
                      </a:cubicBezTo>
                      <a:cubicBezTo>
                        <a:pt x="13397" y="42284"/>
                        <a:pt x="6818" y="26016"/>
                        <a:pt x="0" y="9390"/>
                      </a:cubicBezTo>
                      <a:cubicBezTo>
                        <a:pt x="5861" y="6399"/>
                        <a:pt x="12081" y="3170"/>
                        <a:pt x="18301" y="0"/>
                      </a:cubicBezTo>
                      <a:cubicBezTo>
                        <a:pt x="18480" y="299"/>
                        <a:pt x="18600" y="598"/>
                        <a:pt x="18779" y="837"/>
                      </a:cubicBezTo>
                      <a:cubicBezTo>
                        <a:pt x="13217" y="3947"/>
                        <a:pt x="7655" y="7057"/>
                        <a:pt x="2093" y="10107"/>
                      </a:cubicBezTo>
                      <a:cubicBezTo>
                        <a:pt x="2332" y="10586"/>
                        <a:pt x="2572" y="11005"/>
                        <a:pt x="2811" y="11483"/>
                      </a:cubicBezTo>
                      <a:cubicBezTo>
                        <a:pt x="8612" y="9150"/>
                        <a:pt x="14413" y="6758"/>
                        <a:pt x="20693" y="4186"/>
                      </a:cubicBezTo>
                      <a:cubicBezTo>
                        <a:pt x="26674" y="18959"/>
                        <a:pt x="32834" y="33970"/>
                        <a:pt x="38934" y="49042"/>
                      </a:cubicBezTo>
                      <a:cubicBezTo>
                        <a:pt x="38635" y="49162"/>
                        <a:pt x="38336" y="49281"/>
                        <a:pt x="38097" y="49401"/>
                      </a:cubicBezTo>
                      <a:cubicBezTo>
                        <a:pt x="32356" y="35286"/>
                        <a:pt x="26614" y="21112"/>
                        <a:pt x="20633" y="6519"/>
                      </a:cubicBezTo>
                      <a:cubicBezTo>
                        <a:pt x="14593" y="8971"/>
                        <a:pt x="9270" y="11124"/>
                        <a:pt x="3528" y="13516"/>
                      </a:cubicBezTo>
                      <a:cubicBezTo>
                        <a:pt x="9210" y="27332"/>
                        <a:pt x="14892" y="41327"/>
                        <a:pt x="20873" y="5603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64" name="Vrije vorm: vorm 9463">
                  <a:extLst>
                    <a:ext uri="{FF2B5EF4-FFF2-40B4-BE49-F238E27FC236}">
                      <a16:creationId xmlns:a16="http://schemas.microsoft.com/office/drawing/2014/main" id="{5C772459-7FCF-4BFF-91E5-3745B9AF60BE}"/>
                    </a:ext>
                  </a:extLst>
                </p:cNvPr>
                <p:cNvSpPr/>
                <p:nvPr/>
              </p:nvSpPr>
              <p:spPr>
                <a:xfrm>
                  <a:off x="4805410" y="2001010"/>
                  <a:ext cx="37319" cy="60160"/>
                </a:xfrm>
                <a:custGeom>
                  <a:avLst/>
                  <a:gdLst>
                    <a:gd name="connsiteX0" fmla="*/ 11902 w 37319"/>
                    <a:gd name="connsiteY0" fmla="*/ 658 h 60160"/>
                    <a:gd name="connsiteX1" fmla="*/ 4844 w 37319"/>
                    <a:gd name="connsiteY1" fmla="*/ 2153 h 60160"/>
                    <a:gd name="connsiteX2" fmla="*/ 7535 w 37319"/>
                    <a:gd name="connsiteY2" fmla="*/ 8732 h 60160"/>
                    <a:gd name="connsiteX3" fmla="*/ 24641 w 37319"/>
                    <a:gd name="connsiteY3" fmla="*/ 49520 h 60160"/>
                    <a:gd name="connsiteX4" fmla="*/ 37320 w 37319"/>
                    <a:gd name="connsiteY4" fmla="*/ 60106 h 60160"/>
                    <a:gd name="connsiteX5" fmla="*/ 15729 w 37319"/>
                    <a:gd name="connsiteY5" fmla="*/ 59867 h 60160"/>
                    <a:gd name="connsiteX6" fmla="*/ 15610 w 37319"/>
                    <a:gd name="connsiteY6" fmla="*/ 58432 h 60160"/>
                    <a:gd name="connsiteX7" fmla="*/ 23683 w 37319"/>
                    <a:gd name="connsiteY7" fmla="*/ 58252 h 60160"/>
                    <a:gd name="connsiteX8" fmla="*/ 0 w 37319"/>
                    <a:gd name="connsiteY8" fmla="*/ 0 h 60160"/>
                    <a:gd name="connsiteX9" fmla="*/ 11902 w 37319"/>
                    <a:gd name="connsiteY9" fmla="*/ 658 h 60160"/>
                    <a:gd name="connsiteX10" fmla="*/ 25418 w 37319"/>
                    <a:gd name="connsiteY10" fmla="*/ 58252 h 60160"/>
                    <a:gd name="connsiteX11" fmla="*/ 26195 w 37319"/>
                    <a:gd name="connsiteY11" fmla="*/ 57893 h 60160"/>
                    <a:gd name="connsiteX12" fmla="*/ 3588 w 37319"/>
                    <a:gd name="connsiteY12" fmla="*/ 2273 h 60160"/>
                    <a:gd name="connsiteX13" fmla="*/ 2811 w 37319"/>
                    <a:gd name="connsiteY13" fmla="*/ 2632 h 60160"/>
                    <a:gd name="connsiteX14" fmla="*/ 25418 w 37319"/>
                    <a:gd name="connsiteY14" fmla="*/ 5825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319" h="60160">
                      <a:moveTo>
                        <a:pt x="11902" y="658"/>
                      </a:moveTo>
                      <a:cubicBezTo>
                        <a:pt x="9808" y="1077"/>
                        <a:pt x="7715" y="1555"/>
                        <a:pt x="4844" y="2153"/>
                      </a:cubicBezTo>
                      <a:cubicBezTo>
                        <a:pt x="5801" y="4486"/>
                        <a:pt x="6639" y="6639"/>
                        <a:pt x="7535" y="8732"/>
                      </a:cubicBezTo>
                      <a:cubicBezTo>
                        <a:pt x="13277" y="22308"/>
                        <a:pt x="19377" y="35705"/>
                        <a:pt x="24641" y="49520"/>
                      </a:cubicBezTo>
                      <a:cubicBezTo>
                        <a:pt x="27212" y="56279"/>
                        <a:pt x="30203" y="60704"/>
                        <a:pt x="37320" y="60106"/>
                      </a:cubicBezTo>
                      <a:cubicBezTo>
                        <a:pt x="30143" y="60046"/>
                        <a:pt x="22966" y="59927"/>
                        <a:pt x="15729" y="59867"/>
                      </a:cubicBezTo>
                      <a:cubicBezTo>
                        <a:pt x="15669" y="59389"/>
                        <a:pt x="15669" y="58910"/>
                        <a:pt x="15610" y="58432"/>
                      </a:cubicBezTo>
                      <a:cubicBezTo>
                        <a:pt x="18241" y="58372"/>
                        <a:pt x="20813" y="58312"/>
                        <a:pt x="23683" y="58252"/>
                      </a:cubicBezTo>
                      <a:cubicBezTo>
                        <a:pt x="15789" y="38875"/>
                        <a:pt x="8134" y="19976"/>
                        <a:pt x="0" y="0"/>
                      </a:cubicBezTo>
                      <a:cubicBezTo>
                        <a:pt x="4067" y="180"/>
                        <a:pt x="8014" y="419"/>
                        <a:pt x="11902" y="658"/>
                      </a:cubicBezTo>
                      <a:close/>
                      <a:moveTo>
                        <a:pt x="25418" y="58252"/>
                      </a:moveTo>
                      <a:cubicBezTo>
                        <a:pt x="25657" y="58133"/>
                        <a:pt x="25956" y="58013"/>
                        <a:pt x="26195" y="57893"/>
                      </a:cubicBezTo>
                      <a:cubicBezTo>
                        <a:pt x="18660" y="39353"/>
                        <a:pt x="11124" y="20813"/>
                        <a:pt x="3588" y="2273"/>
                      </a:cubicBezTo>
                      <a:cubicBezTo>
                        <a:pt x="3349" y="2392"/>
                        <a:pt x="3050" y="2512"/>
                        <a:pt x="2811" y="2632"/>
                      </a:cubicBezTo>
                      <a:cubicBezTo>
                        <a:pt x="10287" y="21172"/>
                        <a:pt x="17822" y="39712"/>
                        <a:pt x="25418" y="5825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65" name="Vrije vorm: vorm 9464">
                  <a:extLst>
                    <a:ext uri="{FF2B5EF4-FFF2-40B4-BE49-F238E27FC236}">
                      <a16:creationId xmlns:a16="http://schemas.microsoft.com/office/drawing/2014/main" id="{5DC31658-2AB5-4A25-A312-24BC6CA53773}"/>
                    </a:ext>
                  </a:extLst>
                </p:cNvPr>
                <p:cNvSpPr/>
                <p:nvPr/>
              </p:nvSpPr>
              <p:spPr>
                <a:xfrm>
                  <a:off x="5249598" y="1788874"/>
                  <a:ext cx="68120" cy="88574"/>
                </a:xfrm>
                <a:custGeom>
                  <a:avLst/>
                  <a:gdLst>
                    <a:gd name="connsiteX0" fmla="*/ 0 w 68120"/>
                    <a:gd name="connsiteY0" fmla="*/ 23863 h 88574"/>
                    <a:gd name="connsiteX1" fmla="*/ 45035 w 68120"/>
                    <a:gd name="connsiteY1" fmla="*/ 0 h 88574"/>
                    <a:gd name="connsiteX2" fmla="*/ 45573 w 68120"/>
                    <a:gd name="connsiteY2" fmla="*/ 1017 h 88574"/>
                    <a:gd name="connsiteX3" fmla="*/ 2034 w 68120"/>
                    <a:gd name="connsiteY3" fmla="*/ 24341 h 88574"/>
                    <a:gd name="connsiteX4" fmla="*/ 27272 w 68120"/>
                    <a:gd name="connsiteY4" fmla="*/ 86421 h 88574"/>
                    <a:gd name="connsiteX5" fmla="*/ 67582 w 68120"/>
                    <a:gd name="connsiteY5" fmla="*/ 63994 h 88574"/>
                    <a:gd name="connsiteX6" fmla="*/ 68121 w 68120"/>
                    <a:gd name="connsiteY6" fmla="*/ 65010 h 88574"/>
                    <a:gd name="connsiteX7" fmla="*/ 26375 w 68120"/>
                    <a:gd name="connsiteY7" fmla="*/ 88574 h 88574"/>
                    <a:gd name="connsiteX8" fmla="*/ 0 w 68120"/>
                    <a:gd name="connsiteY8" fmla="*/ 23863 h 88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20" h="88574">
                      <a:moveTo>
                        <a:pt x="0" y="23863"/>
                      </a:moveTo>
                      <a:cubicBezTo>
                        <a:pt x="15251" y="15789"/>
                        <a:pt x="30143" y="7895"/>
                        <a:pt x="45035" y="0"/>
                      </a:cubicBezTo>
                      <a:cubicBezTo>
                        <a:pt x="45214" y="359"/>
                        <a:pt x="45394" y="718"/>
                        <a:pt x="45573" y="1017"/>
                      </a:cubicBezTo>
                      <a:cubicBezTo>
                        <a:pt x="31220" y="8732"/>
                        <a:pt x="16926" y="16387"/>
                        <a:pt x="2034" y="24341"/>
                      </a:cubicBezTo>
                      <a:cubicBezTo>
                        <a:pt x="10347" y="44855"/>
                        <a:pt x="18660" y="65190"/>
                        <a:pt x="27272" y="86421"/>
                      </a:cubicBezTo>
                      <a:cubicBezTo>
                        <a:pt x="40669" y="79005"/>
                        <a:pt x="54125" y="71470"/>
                        <a:pt x="67582" y="63994"/>
                      </a:cubicBezTo>
                      <a:cubicBezTo>
                        <a:pt x="67762" y="64353"/>
                        <a:pt x="67941" y="64711"/>
                        <a:pt x="68121" y="65010"/>
                      </a:cubicBezTo>
                      <a:cubicBezTo>
                        <a:pt x="54305" y="72845"/>
                        <a:pt x="40430" y="80620"/>
                        <a:pt x="26375" y="88574"/>
                      </a:cubicBezTo>
                      <a:cubicBezTo>
                        <a:pt x="17643" y="67283"/>
                        <a:pt x="8792" y="45633"/>
                        <a:pt x="0" y="2386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66" name="Vrije vorm: vorm 9465">
                  <a:extLst>
                    <a:ext uri="{FF2B5EF4-FFF2-40B4-BE49-F238E27FC236}">
                      <a16:creationId xmlns:a16="http://schemas.microsoft.com/office/drawing/2014/main" id="{9D607A3F-DE4C-40CD-A9FB-BDDE203E081C}"/>
                    </a:ext>
                  </a:extLst>
                </p:cNvPr>
                <p:cNvSpPr/>
                <p:nvPr/>
              </p:nvSpPr>
              <p:spPr>
                <a:xfrm>
                  <a:off x="4973947" y="1639954"/>
                  <a:ext cx="48862" cy="71050"/>
                </a:xfrm>
                <a:custGeom>
                  <a:avLst/>
                  <a:gdLst>
                    <a:gd name="connsiteX0" fmla="*/ 0 w 48862"/>
                    <a:gd name="connsiteY0" fmla="*/ 11064 h 71050"/>
                    <a:gd name="connsiteX1" fmla="*/ 27152 w 48862"/>
                    <a:gd name="connsiteY1" fmla="*/ 0 h 71050"/>
                    <a:gd name="connsiteX2" fmla="*/ 27631 w 48862"/>
                    <a:gd name="connsiteY2" fmla="*/ 1196 h 71050"/>
                    <a:gd name="connsiteX3" fmla="*/ 2093 w 48862"/>
                    <a:gd name="connsiteY3" fmla="*/ 11603 h 71050"/>
                    <a:gd name="connsiteX4" fmla="*/ 25478 w 48862"/>
                    <a:gd name="connsiteY4" fmla="*/ 69018 h 71050"/>
                    <a:gd name="connsiteX5" fmla="*/ 48563 w 48862"/>
                    <a:gd name="connsiteY5" fmla="*/ 62618 h 71050"/>
                    <a:gd name="connsiteX6" fmla="*/ 48862 w 48862"/>
                    <a:gd name="connsiteY6" fmla="*/ 63515 h 71050"/>
                    <a:gd name="connsiteX7" fmla="*/ 24461 w 48862"/>
                    <a:gd name="connsiteY7" fmla="*/ 71051 h 71050"/>
                    <a:gd name="connsiteX8" fmla="*/ 0 w 48862"/>
                    <a:gd name="connsiteY8" fmla="*/ 11064 h 7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862" h="71050">
                      <a:moveTo>
                        <a:pt x="0" y="11064"/>
                      </a:moveTo>
                      <a:cubicBezTo>
                        <a:pt x="9270" y="7296"/>
                        <a:pt x="18181" y="3648"/>
                        <a:pt x="27152" y="0"/>
                      </a:cubicBezTo>
                      <a:cubicBezTo>
                        <a:pt x="27332" y="419"/>
                        <a:pt x="27451" y="837"/>
                        <a:pt x="27631" y="1196"/>
                      </a:cubicBezTo>
                      <a:cubicBezTo>
                        <a:pt x="19198" y="4665"/>
                        <a:pt x="10705" y="8074"/>
                        <a:pt x="2093" y="11603"/>
                      </a:cubicBezTo>
                      <a:cubicBezTo>
                        <a:pt x="9868" y="30681"/>
                        <a:pt x="17523" y="49580"/>
                        <a:pt x="25478" y="69018"/>
                      </a:cubicBezTo>
                      <a:cubicBezTo>
                        <a:pt x="33313" y="66865"/>
                        <a:pt x="40968" y="64771"/>
                        <a:pt x="48563" y="62618"/>
                      </a:cubicBezTo>
                      <a:cubicBezTo>
                        <a:pt x="48683" y="62917"/>
                        <a:pt x="48803" y="63216"/>
                        <a:pt x="48862" y="63515"/>
                      </a:cubicBezTo>
                      <a:cubicBezTo>
                        <a:pt x="40789" y="65967"/>
                        <a:pt x="32714" y="68479"/>
                        <a:pt x="24461" y="71051"/>
                      </a:cubicBezTo>
                      <a:cubicBezTo>
                        <a:pt x="16267" y="50956"/>
                        <a:pt x="8014" y="30741"/>
                        <a:pt x="0" y="1106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67" name="Vrije vorm: vorm 9466">
                  <a:extLst>
                    <a:ext uri="{FF2B5EF4-FFF2-40B4-BE49-F238E27FC236}">
                      <a16:creationId xmlns:a16="http://schemas.microsoft.com/office/drawing/2014/main" id="{A1FC1E93-FEE6-4E63-A396-D275815714B5}"/>
                    </a:ext>
                  </a:extLst>
                </p:cNvPr>
                <p:cNvSpPr/>
                <p:nvPr/>
              </p:nvSpPr>
              <p:spPr>
                <a:xfrm>
                  <a:off x="4951040" y="2181568"/>
                  <a:ext cx="52989" cy="129064"/>
                </a:xfrm>
                <a:custGeom>
                  <a:avLst/>
                  <a:gdLst>
                    <a:gd name="connsiteX0" fmla="*/ 598 w 52989"/>
                    <a:gd name="connsiteY0" fmla="*/ 0 h 129064"/>
                    <a:gd name="connsiteX1" fmla="*/ 52989 w 52989"/>
                    <a:gd name="connsiteY1" fmla="*/ 128765 h 129064"/>
                    <a:gd name="connsiteX2" fmla="*/ 52331 w 52989"/>
                    <a:gd name="connsiteY2" fmla="*/ 129064 h 129064"/>
                    <a:gd name="connsiteX3" fmla="*/ 0 w 52989"/>
                    <a:gd name="connsiteY3" fmla="*/ 359 h 129064"/>
                    <a:gd name="connsiteX4" fmla="*/ 598 w 52989"/>
                    <a:gd name="connsiteY4" fmla="*/ 0 h 12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89" h="129064">
                      <a:moveTo>
                        <a:pt x="598" y="0"/>
                      </a:moveTo>
                      <a:cubicBezTo>
                        <a:pt x="18062" y="42942"/>
                        <a:pt x="35526" y="85823"/>
                        <a:pt x="52989" y="128765"/>
                      </a:cubicBezTo>
                      <a:cubicBezTo>
                        <a:pt x="52750" y="128885"/>
                        <a:pt x="52511" y="128944"/>
                        <a:pt x="52331" y="129064"/>
                      </a:cubicBezTo>
                      <a:cubicBezTo>
                        <a:pt x="34868" y="86182"/>
                        <a:pt x="17404" y="43241"/>
                        <a:pt x="0" y="359"/>
                      </a:cubicBezTo>
                      <a:cubicBezTo>
                        <a:pt x="120" y="239"/>
                        <a:pt x="359" y="120"/>
                        <a:pt x="59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68" name="Vrije vorm: vorm 9467">
                  <a:extLst>
                    <a:ext uri="{FF2B5EF4-FFF2-40B4-BE49-F238E27FC236}">
                      <a16:creationId xmlns:a16="http://schemas.microsoft.com/office/drawing/2014/main" id="{D79C4984-47A8-4919-8621-830F010BF16E}"/>
                    </a:ext>
                  </a:extLst>
                </p:cNvPr>
                <p:cNvSpPr/>
                <p:nvPr/>
              </p:nvSpPr>
              <p:spPr>
                <a:xfrm>
                  <a:off x="4821618" y="1271123"/>
                  <a:ext cx="44676" cy="69017"/>
                </a:xfrm>
                <a:custGeom>
                  <a:avLst/>
                  <a:gdLst>
                    <a:gd name="connsiteX0" fmla="*/ 44437 w 44676"/>
                    <a:gd name="connsiteY0" fmla="*/ 52212 h 69017"/>
                    <a:gd name="connsiteX1" fmla="*/ 34269 w 44676"/>
                    <a:gd name="connsiteY1" fmla="*/ 61661 h 69017"/>
                    <a:gd name="connsiteX2" fmla="*/ 25298 w 44676"/>
                    <a:gd name="connsiteY2" fmla="*/ 69018 h 69017"/>
                    <a:gd name="connsiteX3" fmla="*/ 0 w 44676"/>
                    <a:gd name="connsiteY3" fmla="*/ 6758 h 69017"/>
                    <a:gd name="connsiteX4" fmla="*/ 8194 w 44676"/>
                    <a:gd name="connsiteY4" fmla="*/ 0 h 69017"/>
                    <a:gd name="connsiteX5" fmla="*/ 8253 w 44676"/>
                    <a:gd name="connsiteY5" fmla="*/ 1256 h 69017"/>
                    <a:gd name="connsiteX6" fmla="*/ 5682 w 44676"/>
                    <a:gd name="connsiteY6" fmla="*/ 17224 h 69017"/>
                    <a:gd name="connsiteX7" fmla="*/ 25418 w 44676"/>
                    <a:gd name="connsiteY7" fmla="*/ 65728 h 69017"/>
                    <a:gd name="connsiteX8" fmla="*/ 27272 w 44676"/>
                    <a:gd name="connsiteY8" fmla="*/ 65609 h 69017"/>
                    <a:gd name="connsiteX9" fmla="*/ 26734 w 44676"/>
                    <a:gd name="connsiteY9" fmla="*/ 59867 h 69017"/>
                    <a:gd name="connsiteX10" fmla="*/ 9629 w 44676"/>
                    <a:gd name="connsiteY10" fmla="*/ 17583 h 69017"/>
                    <a:gd name="connsiteX11" fmla="*/ 30801 w 44676"/>
                    <a:gd name="connsiteY11" fmla="*/ 12081 h 69017"/>
                    <a:gd name="connsiteX12" fmla="*/ 31100 w 44676"/>
                    <a:gd name="connsiteY12" fmla="*/ 13098 h 69017"/>
                    <a:gd name="connsiteX13" fmla="*/ 11842 w 44676"/>
                    <a:gd name="connsiteY13" fmla="*/ 18660 h 69017"/>
                    <a:gd name="connsiteX14" fmla="*/ 29904 w 44676"/>
                    <a:gd name="connsiteY14" fmla="*/ 63037 h 69017"/>
                    <a:gd name="connsiteX15" fmla="*/ 44676 w 44676"/>
                    <a:gd name="connsiteY15" fmla="*/ 52391 h 69017"/>
                    <a:gd name="connsiteX16" fmla="*/ 44437 w 44676"/>
                    <a:gd name="connsiteY16" fmla="*/ 52212 h 6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676" h="69017">
                      <a:moveTo>
                        <a:pt x="44437" y="52212"/>
                      </a:moveTo>
                      <a:cubicBezTo>
                        <a:pt x="41028" y="55381"/>
                        <a:pt x="37738" y="58611"/>
                        <a:pt x="34269" y="61661"/>
                      </a:cubicBezTo>
                      <a:cubicBezTo>
                        <a:pt x="31399" y="64173"/>
                        <a:pt x="28408" y="66446"/>
                        <a:pt x="25298" y="69018"/>
                      </a:cubicBezTo>
                      <a:cubicBezTo>
                        <a:pt x="16866" y="48384"/>
                        <a:pt x="8493" y="27751"/>
                        <a:pt x="0" y="6758"/>
                      </a:cubicBezTo>
                      <a:cubicBezTo>
                        <a:pt x="2512" y="4725"/>
                        <a:pt x="5203" y="2452"/>
                        <a:pt x="8194" y="0"/>
                      </a:cubicBezTo>
                      <a:cubicBezTo>
                        <a:pt x="8253" y="777"/>
                        <a:pt x="8373" y="1136"/>
                        <a:pt x="8253" y="1256"/>
                      </a:cubicBezTo>
                      <a:cubicBezTo>
                        <a:pt x="1854" y="7835"/>
                        <a:pt x="1854" y="7835"/>
                        <a:pt x="5682" y="17224"/>
                      </a:cubicBezTo>
                      <a:cubicBezTo>
                        <a:pt x="12260" y="33372"/>
                        <a:pt x="18839" y="49580"/>
                        <a:pt x="25418" y="65728"/>
                      </a:cubicBezTo>
                      <a:cubicBezTo>
                        <a:pt x="26016" y="65668"/>
                        <a:pt x="26674" y="65668"/>
                        <a:pt x="27272" y="65609"/>
                      </a:cubicBezTo>
                      <a:cubicBezTo>
                        <a:pt x="27093" y="63695"/>
                        <a:pt x="27392" y="61601"/>
                        <a:pt x="26734" y="59867"/>
                      </a:cubicBezTo>
                      <a:cubicBezTo>
                        <a:pt x="21112" y="45753"/>
                        <a:pt x="15371" y="31698"/>
                        <a:pt x="9629" y="17583"/>
                      </a:cubicBezTo>
                      <a:cubicBezTo>
                        <a:pt x="16686" y="15789"/>
                        <a:pt x="23744" y="13935"/>
                        <a:pt x="30801" y="12081"/>
                      </a:cubicBezTo>
                      <a:cubicBezTo>
                        <a:pt x="30920" y="12440"/>
                        <a:pt x="30980" y="12739"/>
                        <a:pt x="31100" y="13098"/>
                      </a:cubicBezTo>
                      <a:cubicBezTo>
                        <a:pt x="24880" y="14892"/>
                        <a:pt x="18600" y="16686"/>
                        <a:pt x="11842" y="18660"/>
                      </a:cubicBezTo>
                      <a:cubicBezTo>
                        <a:pt x="17882" y="33432"/>
                        <a:pt x="23744" y="47906"/>
                        <a:pt x="29904" y="63037"/>
                      </a:cubicBezTo>
                      <a:cubicBezTo>
                        <a:pt x="35047" y="59329"/>
                        <a:pt x="39891" y="55860"/>
                        <a:pt x="44676" y="52391"/>
                      </a:cubicBezTo>
                      <a:lnTo>
                        <a:pt x="44437" y="52212"/>
                      </a:lnTo>
                      <a:close/>
                    </a:path>
                  </a:pathLst>
                </a:custGeom>
                <a:grpFill/>
                <a:ln w="6350" cap="flat">
                  <a:solidFill>
                    <a:schemeClr val="bg1">
                      <a:alpha val="40000"/>
                    </a:schemeClr>
                  </a:solidFill>
                  <a:prstDash val="solid"/>
                  <a:miter/>
                </a:ln>
              </p:spPr>
              <p:txBody>
                <a:bodyPr rtlCol="0" anchor="ctr"/>
                <a:lstStyle/>
                <a:p>
                  <a:endParaRPr lang="en-GB"/>
                </a:p>
              </p:txBody>
            </p:sp>
            <p:sp>
              <p:nvSpPr>
                <p:cNvPr id="9469" name="Vrije vorm: vorm 9468">
                  <a:extLst>
                    <a:ext uri="{FF2B5EF4-FFF2-40B4-BE49-F238E27FC236}">
                      <a16:creationId xmlns:a16="http://schemas.microsoft.com/office/drawing/2014/main" id="{BCE90724-FF82-4BE1-A6C6-F122E48947A7}"/>
                    </a:ext>
                  </a:extLst>
                </p:cNvPr>
                <p:cNvSpPr/>
                <p:nvPr/>
              </p:nvSpPr>
              <p:spPr>
                <a:xfrm>
                  <a:off x="4846617" y="1625301"/>
                  <a:ext cx="40130" cy="57833"/>
                </a:xfrm>
                <a:custGeom>
                  <a:avLst/>
                  <a:gdLst>
                    <a:gd name="connsiteX0" fmla="*/ 0 w 40130"/>
                    <a:gd name="connsiteY0" fmla="*/ 8074 h 57833"/>
                    <a:gd name="connsiteX1" fmla="*/ 19916 w 40130"/>
                    <a:gd name="connsiteY1" fmla="*/ 0 h 57833"/>
                    <a:gd name="connsiteX2" fmla="*/ 40131 w 40130"/>
                    <a:gd name="connsiteY2" fmla="*/ 49760 h 57833"/>
                    <a:gd name="connsiteX3" fmla="*/ 20215 w 40130"/>
                    <a:gd name="connsiteY3" fmla="*/ 57834 h 57833"/>
                    <a:gd name="connsiteX4" fmla="*/ 0 w 40130"/>
                    <a:gd name="connsiteY4" fmla="*/ 8074 h 57833"/>
                    <a:gd name="connsiteX5" fmla="*/ 21172 w 40130"/>
                    <a:gd name="connsiteY5" fmla="*/ 55322 h 57833"/>
                    <a:gd name="connsiteX6" fmla="*/ 37978 w 40130"/>
                    <a:gd name="connsiteY6" fmla="*/ 48504 h 57833"/>
                    <a:gd name="connsiteX7" fmla="*/ 19437 w 40130"/>
                    <a:gd name="connsiteY7" fmla="*/ 2871 h 57833"/>
                    <a:gd name="connsiteX8" fmla="*/ 2632 w 40130"/>
                    <a:gd name="connsiteY8" fmla="*/ 9689 h 57833"/>
                    <a:gd name="connsiteX9" fmla="*/ 21172 w 40130"/>
                    <a:gd name="connsiteY9" fmla="*/ 55322 h 5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30" h="57833">
                      <a:moveTo>
                        <a:pt x="0" y="8074"/>
                      </a:moveTo>
                      <a:cubicBezTo>
                        <a:pt x="6519" y="5442"/>
                        <a:pt x="13038" y="2751"/>
                        <a:pt x="19916" y="0"/>
                      </a:cubicBezTo>
                      <a:cubicBezTo>
                        <a:pt x="26554" y="16327"/>
                        <a:pt x="33313" y="32954"/>
                        <a:pt x="40131" y="49760"/>
                      </a:cubicBezTo>
                      <a:cubicBezTo>
                        <a:pt x="33791" y="52331"/>
                        <a:pt x="27153" y="55023"/>
                        <a:pt x="20215" y="57834"/>
                      </a:cubicBezTo>
                      <a:cubicBezTo>
                        <a:pt x="13457" y="41147"/>
                        <a:pt x="6818" y="24940"/>
                        <a:pt x="0" y="8074"/>
                      </a:cubicBezTo>
                      <a:close/>
                      <a:moveTo>
                        <a:pt x="21172" y="55322"/>
                      </a:moveTo>
                      <a:cubicBezTo>
                        <a:pt x="26973" y="52929"/>
                        <a:pt x="32416" y="50716"/>
                        <a:pt x="37978" y="48504"/>
                      </a:cubicBezTo>
                      <a:cubicBezTo>
                        <a:pt x="31698" y="33073"/>
                        <a:pt x="25538" y="17942"/>
                        <a:pt x="19437" y="2871"/>
                      </a:cubicBezTo>
                      <a:cubicBezTo>
                        <a:pt x="13696" y="5203"/>
                        <a:pt x="8194" y="7416"/>
                        <a:pt x="2632" y="9689"/>
                      </a:cubicBezTo>
                      <a:cubicBezTo>
                        <a:pt x="8852" y="25059"/>
                        <a:pt x="14952" y="39951"/>
                        <a:pt x="21172" y="5532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70" name="Vrije vorm: vorm 9469">
                  <a:extLst>
                    <a:ext uri="{FF2B5EF4-FFF2-40B4-BE49-F238E27FC236}">
                      <a16:creationId xmlns:a16="http://schemas.microsoft.com/office/drawing/2014/main" id="{ED5054EB-E95B-447E-87E5-65545C9F004B}"/>
                    </a:ext>
                  </a:extLst>
                </p:cNvPr>
                <p:cNvSpPr/>
                <p:nvPr/>
              </p:nvSpPr>
              <p:spPr>
                <a:xfrm>
                  <a:off x="4831127" y="2069669"/>
                  <a:ext cx="34568" cy="59687"/>
                </a:xfrm>
                <a:custGeom>
                  <a:avLst/>
                  <a:gdLst>
                    <a:gd name="connsiteX0" fmla="*/ 24880 w 34568"/>
                    <a:gd name="connsiteY0" fmla="*/ 58312 h 59687"/>
                    <a:gd name="connsiteX1" fmla="*/ 25837 w 34568"/>
                    <a:gd name="connsiteY1" fmla="*/ 54365 h 59687"/>
                    <a:gd name="connsiteX2" fmla="*/ 5024 w 34568"/>
                    <a:gd name="connsiteY2" fmla="*/ 3947 h 59687"/>
                    <a:gd name="connsiteX3" fmla="*/ 0 w 34568"/>
                    <a:gd name="connsiteY3" fmla="*/ 0 h 59687"/>
                    <a:gd name="connsiteX4" fmla="*/ 19198 w 34568"/>
                    <a:gd name="connsiteY4" fmla="*/ 1495 h 59687"/>
                    <a:gd name="connsiteX5" fmla="*/ 9031 w 34568"/>
                    <a:gd name="connsiteY5" fmla="*/ 1974 h 59687"/>
                    <a:gd name="connsiteX6" fmla="*/ 9988 w 34568"/>
                    <a:gd name="connsiteY6" fmla="*/ 5562 h 59687"/>
                    <a:gd name="connsiteX7" fmla="*/ 30203 w 34568"/>
                    <a:gd name="connsiteY7" fmla="*/ 53707 h 59687"/>
                    <a:gd name="connsiteX8" fmla="*/ 34568 w 34568"/>
                    <a:gd name="connsiteY8" fmla="*/ 59688 h 59687"/>
                    <a:gd name="connsiteX9" fmla="*/ 24880 w 34568"/>
                    <a:gd name="connsiteY9" fmla="*/ 58312 h 59687"/>
                    <a:gd name="connsiteX10" fmla="*/ 7177 w 34568"/>
                    <a:gd name="connsiteY10" fmla="*/ 2033 h 59687"/>
                    <a:gd name="connsiteX11" fmla="*/ 6519 w 34568"/>
                    <a:gd name="connsiteY11" fmla="*/ 2332 h 59687"/>
                    <a:gd name="connsiteX12" fmla="*/ 29126 w 34568"/>
                    <a:gd name="connsiteY12" fmla="*/ 57893 h 59687"/>
                    <a:gd name="connsiteX13" fmla="*/ 29784 w 34568"/>
                    <a:gd name="connsiteY13" fmla="*/ 57594 h 59687"/>
                    <a:gd name="connsiteX14" fmla="*/ 7177 w 34568"/>
                    <a:gd name="connsiteY14" fmla="*/ 2033 h 5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68" h="59687">
                      <a:moveTo>
                        <a:pt x="24880" y="58312"/>
                      </a:moveTo>
                      <a:cubicBezTo>
                        <a:pt x="25238" y="56996"/>
                        <a:pt x="26255" y="55381"/>
                        <a:pt x="25837" y="54365"/>
                      </a:cubicBezTo>
                      <a:cubicBezTo>
                        <a:pt x="19019" y="37499"/>
                        <a:pt x="12141" y="20693"/>
                        <a:pt x="5024" y="3947"/>
                      </a:cubicBezTo>
                      <a:cubicBezTo>
                        <a:pt x="4306" y="2213"/>
                        <a:pt x="1734" y="1316"/>
                        <a:pt x="0" y="0"/>
                      </a:cubicBezTo>
                      <a:cubicBezTo>
                        <a:pt x="6399" y="478"/>
                        <a:pt x="12798" y="1017"/>
                        <a:pt x="19198" y="1495"/>
                      </a:cubicBezTo>
                      <a:cubicBezTo>
                        <a:pt x="15968" y="1675"/>
                        <a:pt x="12739" y="1794"/>
                        <a:pt x="9031" y="1974"/>
                      </a:cubicBezTo>
                      <a:cubicBezTo>
                        <a:pt x="9330" y="3110"/>
                        <a:pt x="9509" y="4426"/>
                        <a:pt x="9988" y="5562"/>
                      </a:cubicBezTo>
                      <a:cubicBezTo>
                        <a:pt x="16686" y="21650"/>
                        <a:pt x="23384" y="37679"/>
                        <a:pt x="30203" y="53707"/>
                      </a:cubicBezTo>
                      <a:cubicBezTo>
                        <a:pt x="31159" y="55920"/>
                        <a:pt x="33073" y="57714"/>
                        <a:pt x="34568" y="59688"/>
                      </a:cubicBezTo>
                      <a:cubicBezTo>
                        <a:pt x="31399" y="59269"/>
                        <a:pt x="28169" y="58791"/>
                        <a:pt x="24880" y="58312"/>
                      </a:cubicBezTo>
                      <a:close/>
                      <a:moveTo>
                        <a:pt x="7177" y="2033"/>
                      </a:moveTo>
                      <a:cubicBezTo>
                        <a:pt x="6937" y="2153"/>
                        <a:pt x="6698" y="2213"/>
                        <a:pt x="6519" y="2332"/>
                      </a:cubicBezTo>
                      <a:cubicBezTo>
                        <a:pt x="14055" y="20873"/>
                        <a:pt x="21590" y="39413"/>
                        <a:pt x="29126" y="57893"/>
                      </a:cubicBezTo>
                      <a:cubicBezTo>
                        <a:pt x="29365" y="57774"/>
                        <a:pt x="29605" y="57714"/>
                        <a:pt x="29784" y="57594"/>
                      </a:cubicBezTo>
                      <a:cubicBezTo>
                        <a:pt x="22248" y="39054"/>
                        <a:pt x="14712" y="20574"/>
                        <a:pt x="7177" y="203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71" name="Vrije vorm: vorm 9470">
                  <a:extLst>
                    <a:ext uri="{FF2B5EF4-FFF2-40B4-BE49-F238E27FC236}">
                      <a16:creationId xmlns:a16="http://schemas.microsoft.com/office/drawing/2014/main" id="{5488342B-04C3-4B61-8BB0-55FFFD7BE85C}"/>
                    </a:ext>
                  </a:extLst>
                </p:cNvPr>
                <p:cNvSpPr/>
                <p:nvPr/>
              </p:nvSpPr>
              <p:spPr>
                <a:xfrm>
                  <a:off x="4914140" y="1489957"/>
                  <a:ext cx="48025" cy="75177"/>
                </a:xfrm>
                <a:custGeom>
                  <a:avLst/>
                  <a:gdLst>
                    <a:gd name="connsiteX0" fmla="*/ 48025 w 48025"/>
                    <a:gd name="connsiteY0" fmla="*/ 63934 h 75177"/>
                    <a:gd name="connsiteX1" fmla="*/ 24999 w 48025"/>
                    <a:gd name="connsiteY1" fmla="*/ 75178 h 75177"/>
                    <a:gd name="connsiteX2" fmla="*/ 0 w 48025"/>
                    <a:gd name="connsiteY2" fmla="*/ 13756 h 75177"/>
                    <a:gd name="connsiteX3" fmla="*/ 25537 w 48025"/>
                    <a:gd name="connsiteY3" fmla="*/ 0 h 75177"/>
                    <a:gd name="connsiteX4" fmla="*/ 26016 w 48025"/>
                    <a:gd name="connsiteY4" fmla="*/ 897 h 75177"/>
                    <a:gd name="connsiteX5" fmla="*/ 2213 w 48025"/>
                    <a:gd name="connsiteY5" fmla="*/ 14354 h 75177"/>
                    <a:gd name="connsiteX6" fmla="*/ 25837 w 48025"/>
                    <a:gd name="connsiteY6" fmla="*/ 72426 h 75177"/>
                    <a:gd name="connsiteX7" fmla="*/ 47726 w 48025"/>
                    <a:gd name="connsiteY7" fmla="*/ 63515 h 75177"/>
                    <a:gd name="connsiteX8" fmla="*/ 48025 w 48025"/>
                    <a:gd name="connsiteY8" fmla="*/ 63934 h 75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25" h="75177">
                      <a:moveTo>
                        <a:pt x="48025" y="63934"/>
                      </a:moveTo>
                      <a:cubicBezTo>
                        <a:pt x="40429" y="67642"/>
                        <a:pt x="32894" y="71350"/>
                        <a:pt x="24999" y="75178"/>
                      </a:cubicBezTo>
                      <a:cubicBezTo>
                        <a:pt x="16686" y="54783"/>
                        <a:pt x="8433" y="34449"/>
                        <a:pt x="0" y="13756"/>
                      </a:cubicBezTo>
                      <a:cubicBezTo>
                        <a:pt x="8433" y="9210"/>
                        <a:pt x="16985" y="4605"/>
                        <a:pt x="25537" y="0"/>
                      </a:cubicBezTo>
                      <a:cubicBezTo>
                        <a:pt x="25717" y="299"/>
                        <a:pt x="25896" y="598"/>
                        <a:pt x="26016" y="897"/>
                      </a:cubicBezTo>
                      <a:cubicBezTo>
                        <a:pt x="18121" y="5383"/>
                        <a:pt x="10167" y="9868"/>
                        <a:pt x="2213" y="14354"/>
                      </a:cubicBezTo>
                      <a:cubicBezTo>
                        <a:pt x="10227" y="34090"/>
                        <a:pt x="18062" y="53348"/>
                        <a:pt x="25837" y="72426"/>
                      </a:cubicBezTo>
                      <a:cubicBezTo>
                        <a:pt x="33432" y="69376"/>
                        <a:pt x="40549" y="66446"/>
                        <a:pt x="47726" y="63515"/>
                      </a:cubicBezTo>
                      <a:cubicBezTo>
                        <a:pt x="47905" y="63695"/>
                        <a:pt x="47965" y="63814"/>
                        <a:pt x="48025" y="6393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72" name="Vrije vorm: vorm 9471">
                  <a:extLst>
                    <a:ext uri="{FF2B5EF4-FFF2-40B4-BE49-F238E27FC236}">
                      <a16:creationId xmlns:a16="http://schemas.microsoft.com/office/drawing/2014/main" id="{6DB40AC7-3EC0-4193-940D-B33C90F0E4A4}"/>
                    </a:ext>
                  </a:extLst>
                </p:cNvPr>
                <p:cNvSpPr/>
                <p:nvPr/>
              </p:nvSpPr>
              <p:spPr>
                <a:xfrm>
                  <a:off x="4872215" y="1687680"/>
                  <a:ext cx="40429" cy="56637"/>
                </a:xfrm>
                <a:custGeom>
                  <a:avLst/>
                  <a:gdLst>
                    <a:gd name="connsiteX0" fmla="*/ 40430 w 40429"/>
                    <a:gd name="connsiteY0" fmla="*/ 50657 h 56637"/>
                    <a:gd name="connsiteX1" fmla="*/ 19736 w 40429"/>
                    <a:gd name="connsiteY1" fmla="*/ 56637 h 56637"/>
                    <a:gd name="connsiteX2" fmla="*/ 0 w 40429"/>
                    <a:gd name="connsiteY2" fmla="*/ 8074 h 56637"/>
                    <a:gd name="connsiteX3" fmla="*/ 19796 w 40429"/>
                    <a:gd name="connsiteY3" fmla="*/ 0 h 56637"/>
                    <a:gd name="connsiteX4" fmla="*/ 40430 w 40429"/>
                    <a:gd name="connsiteY4" fmla="*/ 50657 h 56637"/>
                    <a:gd name="connsiteX5" fmla="*/ 17942 w 40429"/>
                    <a:gd name="connsiteY5" fmla="*/ 47846 h 56637"/>
                    <a:gd name="connsiteX6" fmla="*/ 35047 w 40429"/>
                    <a:gd name="connsiteY6" fmla="*/ 40908 h 56637"/>
                    <a:gd name="connsiteX7" fmla="*/ 20634 w 40429"/>
                    <a:gd name="connsiteY7" fmla="*/ 5921 h 56637"/>
                    <a:gd name="connsiteX8" fmla="*/ 16507 w 40429"/>
                    <a:gd name="connsiteY8" fmla="*/ 3648 h 56637"/>
                    <a:gd name="connsiteX9" fmla="*/ 2213 w 40429"/>
                    <a:gd name="connsiteY9" fmla="*/ 9270 h 56637"/>
                    <a:gd name="connsiteX10" fmla="*/ 17942 w 40429"/>
                    <a:gd name="connsiteY10" fmla="*/ 47846 h 56637"/>
                    <a:gd name="connsiteX11" fmla="*/ 19377 w 40429"/>
                    <a:gd name="connsiteY11" fmla="*/ 49461 h 56637"/>
                    <a:gd name="connsiteX12" fmla="*/ 18600 w 40429"/>
                    <a:gd name="connsiteY12" fmla="*/ 51255 h 56637"/>
                    <a:gd name="connsiteX13" fmla="*/ 22787 w 40429"/>
                    <a:gd name="connsiteY13" fmla="*/ 54185 h 56637"/>
                    <a:gd name="connsiteX14" fmla="*/ 38456 w 40429"/>
                    <a:gd name="connsiteY14" fmla="*/ 49640 h 56637"/>
                    <a:gd name="connsiteX15" fmla="*/ 35705 w 40429"/>
                    <a:gd name="connsiteY15" fmla="*/ 42822 h 56637"/>
                    <a:gd name="connsiteX16" fmla="*/ 19377 w 40429"/>
                    <a:gd name="connsiteY16" fmla="*/ 49461 h 5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429" h="56637">
                      <a:moveTo>
                        <a:pt x="40430" y="50657"/>
                      </a:moveTo>
                      <a:cubicBezTo>
                        <a:pt x="33552" y="52630"/>
                        <a:pt x="26794" y="54604"/>
                        <a:pt x="19736" y="56637"/>
                      </a:cubicBezTo>
                      <a:cubicBezTo>
                        <a:pt x="13217" y="40609"/>
                        <a:pt x="6639" y="24461"/>
                        <a:pt x="0" y="8074"/>
                      </a:cubicBezTo>
                      <a:cubicBezTo>
                        <a:pt x="6340" y="5502"/>
                        <a:pt x="12918" y="2811"/>
                        <a:pt x="19796" y="0"/>
                      </a:cubicBezTo>
                      <a:cubicBezTo>
                        <a:pt x="26794" y="17165"/>
                        <a:pt x="33552" y="33791"/>
                        <a:pt x="40430" y="50657"/>
                      </a:cubicBezTo>
                      <a:close/>
                      <a:moveTo>
                        <a:pt x="17942" y="47846"/>
                      </a:moveTo>
                      <a:cubicBezTo>
                        <a:pt x="23923" y="45394"/>
                        <a:pt x="29365" y="43181"/>
                        <a:pt x="35047" y="40908"/>
                      </a:cubicBezTo>
                      <a:cubicBezTo>
                        <a:pt x="30083" y="28767"/>
                        <a:pt x="25537" y="17284"/>
                        <a:pt x="20634" y="5921"/>
                      </a:cubicBezTo>
                      <a:cubicBezTo>
                        <a:pt x="20095" y="4725"/>
                        <a:pt x="17583" y="3289"/>
                        <a:pt x="16507" y="3648"/>
                      </a:cubicBezTo>
                      <a:cubicBezTo>
                        <a:pt x="11722" y="5143"/>
                        <a:pt x="7117" y="7296"/>
                        <a:pt x="2213" y="9270"/>
                      </a:cubicBezTo>
                      <a:cubicBezTo>
                        <a:pt x="7476" y="22189"/>
                        <a:pt x="12679" y="34927"/>
                        <a:pt x="17942" y="47846"/>
                      </a:cubicBezTo>
                      <a:close/>
                      <a:moveTo>
                        <a:pt x="19377" y="49461"/>
                      </a:moveTo>
                      <a:cubicBezTo>
                        <a:pt x="19138" y="50059"/>
                        <a:pt x="18839" y="50657"/>
                        <a:pt x="18600" y="51255"/>
                      </a:cubicBezTo>
                      <a:cubicBezTo>
                        <a:pt x="20035" y="52272"/>
                        <a:pt x="21710" y="54425"/>
                        <a:pt x="22787" y="54185"/>
                      </a:cubicBezTo>
                      <a:cubicBezTo>
                        <a:pt x="28050" y="53049"/>
                        <a:pt x="33133" y="51255"/>
                        <a:pt x="38456" y="49640"/>
                      </a:cubicBezTo>
                      <a:cubicBezTo>
                        <a:pt x="37380" y="47008"/>
                        <a:pt x="36602" y="45035"/>
                        <a:pt x="35705" y="42822"/>
                      </a:cubicBezTo>
                      <a:cubicBezTo>
                        <a:pt x="30023" y="45154"/>
                        <a:pt x="24700" y="47308"/>
                        <a:pt x="19377" y="4946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73" name="Vrije vorm: vorm 9472">
                  <a:extLst>
                    <a:ext uri="{FF2B5EF4-FFF2-40B4-BE49-F238E27FC236}">
                      <a16:creationId xmlns:a16="http://schemas.microsoft.com/office/drawing/2014/main" id="{98BD3B9B-350A-4334-A914-7009D242D308}"/>
                    </a:ext>
                  </a:extLst>
                </p:cNvPr>
                <p:cNvSpPr/>
                <p:nvPr/>
              </p:nvSpPr>
              <p:spPr>
                <a:xfrm>
                  <a:off x="5400772" y="2009443"/>
                  <a:ext cx="30401" cy="74699"/>
                </a:xfrm>
                <a:custGeom>
                  <a:avLst/>
                  <a:gdLst>
                    <a:gd name="connsiteX0" fmla="*/ 19 w 30401"/>
                    <a:gd name="connsiteY0" fmla="*/ 0 h 74699"/>
                    <a:gd name="connsiteX1" fmla="*/ 30401 w 30401"/>
                    <a:gd name="connsiteY1" fmla="*/ 74699 h 74699"/>
                    <a:gd name="connsiteX2" fmla="*/ 19 w 30401"/>
                    <a:gd name="connsiteY2" fmla="*/ 0 h 74699"/>
                  </a:gdLst>
                  <a:ahLst/>
                  <a:cxnLst>
                    <a:cxn ang="0">
                      <a:pos x="connsiteX0" y="connsiteY0"/>
                    </a:cxn>
                    <a:cxn ang="0">
                      <a:pos x="connsiteX1" y="connsiteY1"/>
                    </a:cxn>
                    <a:cxn ang="0">
                      <a:pos x="connsiteX2" y="connsiteY2"/>
                    </a:cxn>
                  </a:cxnLst>
                  <a:rect l="l" t="t" r="r" b="b"/>
                  <a:pathLst>
                    <a:path w="30401" h="74699">
                      <a:moveTo>
                        <a:pt x="19" y="0"/>
                      </a:moveTo>
                      <a:cubicBezTo>
                        <a:pt x="10127" y="24760"/>
                        <a:pt x="20114" y="49341"/>
                        <a:pt x="30401" y="74699"/>
                      </a:cubicBezTo>
                      <a:cubicBezTo>
                        <a:pt x="25856" y="71829"/>
                        <a:pt x="-818" y="4785"/>
                        <a:pt x="1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74" name="Vrije vorm: vorm 9473">
                  <a:extLst>
                    <a:ext uri="{FF2B5EF4-FFF2-40B4-BE49-F238E27FC236}">
                      <a16:creationId xmlns:a16="http://schemas.microsoft.com/office/drawing/2014/main" id="{17CEBCBB-1328-41C0-B5B3-EB792A961EFA}"/>
                    </a:ext>
                  </a:extLst>
                </p:cNvPr>
                <p:cNvSpPr/>
                <p:nvPr/>
              </p:nvSpPr>
              <p:spPr>
                <a:xfrm>
                  <a:off x="4743330" y="2255789"/>
                  <a:ext cx="55620" cy="129841"/>
                </a:xfrm>
                <a:custGeom>
                  <a:avLst/>
                  <a:gdLst>
                    <a:gd name="connsiteX0" fmla="*/ 957 w 55620"/>
                    <a:gd name="connsiteY0" fmla="*/ 0 h 129841"/>
                    <a:gd name="connsiteX1" fmla="*/ 55621 w 55620"/>
                    <a:gd name="connsiteY1" fmla="*/ 129363 h 129841"/>
                    <a:gd name="connsiteX2" fmla="*/ 54484 w 55620"/>
                    <a:gd name="connsiteY2" fmla="*/ 129841 h 129841"/>
                    <a:gd name="connsiteX3" fmla="*/ 0 w 55620"/>
                    <a:gd name="connsiteY3" fmla="*/ 658 h 129841"/>
                    <a:gd name="connsiteX4" fmla="*/ 957 w 55620"/>
                    <a:gd name="connsiteY4" fmla="*/ 0 h 129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0" h="129841">
                      <a:moveTo>
                        <a:pt x="957" y="0"/>
                      </a:moveTo>
                      <a:cubicBezTo>
                        <a:pt x="19198" y="43121"/>
                        <a:pt x="37380" y="86242"/>
                        <a:pt x="55621" y="129363"/>
                      </a:cubicBezTo>
                      <a:cubicBezTo>
                        <a:pt x="55262" y="129542"/>
                        <a:pt x="54903" y="129662"/>
                        <a:pt x="54484" y="129841"/>
                      </a:cubicBezTo>
                      <a:cubicBezTo>
                        <a:pt x="36303" y="86780"/>
                        <a:pt x="18121" y="43719"/>
                        <a:pt x="0" y="658"/>
                      </a:cubicBezTo>
                      <a:cubicBezTo>
                        <a:pt x="359" y="419"/>
                        <a:pt x="658" y="239"/>
                        <a:pt x="957"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75" name="Vrije vorm: vorm 9474">
                  <a:extLst>
                    <a:ext uri="{FF2B5EF4-FFF2-40B4-BE49-F238E27FC236}">
                      <a16:creationId xmlns:a16="http://schemas.microsoft.com/office/drawing/2014/main" id="{AA2B9C4D-ADFD-472C-87B2-B12A593B869E}"/>
                    </a:ext>
                  </a:extLst>
                </p:cNvPr>
                <p:cNvSpPr/>
                <p:nvPr/>
              </p:nvSpPr>
              <p:spPr>
                <a:xfrm>
                  <a:off x="5448278" y="1800656"/>
                  <a:ext cx="50417" cy="38814"/>
                </a:xfrm>
                <a:custGeom>
                  <a:avLst/>
                  <a:gdLst>
                    <a:gd name="connsiteX0" fmla="*/ 15789 w 50417"/>
                    <a:gd name="connsiteY0" fmla="*/ 12320 h 38814"/>
                    <a:gd name="connsiteX1" fmla="*/ 25478 w 50417"/>
                    <a:gd name="connsiteY1" fmla="*/ 36183 h 38814"/>
                    <a:gd name="connsiteX2" fmla="*/ 35466 w 50417"/>
                    <a:gd name="connsiteY2" fmla="*/ 34927 h 38814"/>
                    <a:gd name="connsiteX3" fmla="*/ 24521 w 50417"/>
                    <a:gd name="connsiteY3" fmla="*/ 8014 h 38814"/>
                    <a:gd name="connsiteX4" fmla="*/ 25537 w 50417"/>
                    <a:gd name="connsiteY4" fmla="*/ 7596 h 38814"/>
                    <a:gd name="connsiteX5" fmla="*/ 34269 w 50417"/>
                    <a:gd name="connsiteY5" fmla="*/ 29306 h 38814"/>
                    <a:gd name="connsiteX6" fmla="*/ 42104 w 50417"/>
                    <a:gd name="connsiteY6" fmla="*/ 34509 h 38814"/>
                    <a:gd name="connsiteX7" fmla="*/ 50417 w 50417"/>
                    <a:gd name="connsiteY7" fmla="*/ 34808 h 38814"/>
                    <a:gd name="connsiteX8" fmla="*/ 15669 w 50417"/>
                    <a:gd name="connsiteY8" fmla="*/ 38815 h 38814"/>
                    <a:gd name="connsiteX9" fmla="*/ 0 w 50417"/>
                    <a:gd name="connsiteY9" fmla="*/ 359 h 38814"/>
                    <a:gd name="connsiteX10" fmla="*/ 897 w 50417"/>
                    <a:gd name="connsiteY10" fmla="*/ 0 h 38814"/>
                    <a:gd name="connsiteX11" fmla="*/ 13457 w 50417"/>
                    <a:gd name="connsiteY11" fmla="*/ 30920 h 38814"/>
                    <a:gd name="connsiteX12" fmla="*/ 23863 w 50417"/>
                    <a:gd name="connsiteY12" fmla="*/ 35765 h 38814"/>
                    <a:gd name="connsiteX13" fmla="*/ 14593 w 50417"/>
                    <a:gd name="connsiteY13" fmla="*/ 12918 h 38814"/>
                    <a:gd name="connsiteX14" fmla="*/ 15789 w 50417"/>
                    <a:gd name="connsiteY14" fmla="*/ 12320 h 38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417" h="38814">
                      <a:moveTo>
                        <a:pt x="15789" y="12320"/>
                      </a:moveTo>
                      <a:cubicBezTo>
                        <a:pt x="18959" y="20155"/>
                        <a:pt x="22188" y="27990"/>
                        <a:pt x="25478" y="36183"/>
                      </a:cubicBezTo>
                      <a:cubicBezTo>
                        <a:pt x="28707" y="35765"/>
                        <a:pt x="31698" y="35406"/>
                        <a:pt x="35466" y="34927"/>
                      </a:cubicBezTo>
                      <a:cubicBezTo>
                        <a:pt x="31638" y="25478"/>
                        <a:pt x="28050" y="16746"/>
                        <a:pt x="24521" y="8014"/>
                      </a:cubicBezTo>
                      <a:cubicBezTo>
                        <a:pt x="24880" y="7895"/>
                        <a:pt x="25238" y="7715"/>
                        <a:pt x="25537" y="7596"/>
                      </a:cubicBezTo>
                      <a:cubicBezTo>
                        <a:pt x="28468" y="14832"/>
                        <a:pt x="31638" y="21949"/>
                        <a:pt x="34269" y="29306"/>
                      </a:cubicBezTo>
                      <a:cubicBezTo>
                        <a:pt x="35824" y="33671"/>
                        <a:pt x="37738" y="35705"/>
                        <a:pt x="42104" y="34509"/>
                      </a:cubicBezTo>
                      <a:cubicBezTo>
                        <a:pt x="44676" y="33791"/>
                        <a:pt x="47487" y="33971"/>
                        <a:pt x="50417" y="34808"/>
                      </a:cubicBezTo>
                      <a:cubicBezTo>
                        <a:pt x="38755" y="36124"/>
                        <a:pt x="27092" y="37499"/>
                        <a:pt x="15669" y="38815"/>
                      </a:cubicBezTo>
                      <a:cubicBezTo>
                        <a:pt x="10466" y="26016"/>
                        <a:pt x="5263" y="13158"/>
                        <a:pt x="0" y="359"/>
                      </a:cubicBezTo>
                      <a:cubicBezTo>
                        <a:pt x="299" y="239"/>
                        <a:pt x="598" y="120"/>
                        <a:pt x="897" y="0"/>
                      </a:cubicBezTo>
                      <a:cubicBezTo>
                        <a:pt x="5083" y="10287"/>
                        <a:pt x="9270" y="20574"/>
                        <a:pt x="13457" y="30920"/>
                      </a:cubicBezTo>
                      <a:cubicBezTo>
                        <a:pt x="16327" y="37978"/>
                        <a:pt x="16267" y="37978"/>
                        <a:pt x="23863" y="35765"/>
                      </a:cubicBezTo>
                      <a:cubicBezTo>
                        <a:pt x="20753" y="28109"/>
                        <a:pt x="17643" y="20514"/>
                        <a:pt x="14593" y="12918"/>
                      </a:cubicBezTo>
                      <a:cubicBezTo>
                        <a:pt x="15012" y="12619"/>
                        <a:pt x="15430" y="12440"/>
                        <a:pt x="15789" y="1232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76" name="Vrije vorm: vorm 9475">
                  <a:extLst>
                    <a:ext uri="{FF2B5EF4-FFF2-40B4-BE49-F238E27FC236}">
                      <a16:creationId xmlns:a16="http://schemas.microsoft.com/office/drawing/2014/main" id="{9C6CD944-A796-4838-B287-B79FE6B2572B}"/>
                    </a:ext>
                  </a:extLst>
                </p:cNvPr>
                <p:cNvSpPr/>
                <p:nvPr/>
              </p:nvSpPr>
              <p:spPr>
                <a:xfrm>
                  <a:off x="4853315" y="1336133"/>
                  <a:ext cx="27272" cy="80799"/>
                </a:xfrm>
                <a:custGeom>
                  <a:avLst/>
                  <a:gdLst>
                    <a:gd name="connsiteX0" fmla="*/ 26973 w 27272"/>
                    <a:gd name="connsiteY0" fmla="*/ 77450 h 80799"/>
                    <a:gd name="connsiteX1" fmla="*/ 27272 w 27272"/>
                    <a:gd name="connsiteY1" fmla="*/ 80800 h 80799"/>
                    <a:gd name="connsiteX2" fmla="*/ 25179 w 27272"/>
                    <a:gd name="connsiteY2" fmla="*/ 80082 h 80799"/>
                    <a:gd name="connsiteX3" fmla="*/ 0 w 27272"/>
                    <a:gd name="connsiteY3" fmla="*/ 18181 h 80799"/>
                    <a:gd name="connsiteX4" fmla="*/ 23923 w 27272"/>
                    <a:gd name="connsiteY4" fmla="*/ 0 h 80799"/>
                    <a:gd name="connsiteX5" fmla="*/ 24581 w 27272"/>
                    <a:gd name="connsiteY5" fmla="*/ 897 h 80799"/>
                    <a:gd name="connsiteX6" fmla="*/ 1735 w 27272"/>
                    <a:gd name="connsiteY6" fmla="*/ 18720 h 80799"/>
                    <a:gd name="connsiteX7" fmla="*/ 12500 w 27272"/>
                    <a:gd name="connsiteY7" fmla="*/ 45095 h 80799"/>
                    <a:gd name="connsiteX8" fmla="*/ 23624 w 27272"/>
                    <a:gd name="connsiteY8" fmla="*/ 72127 h 80799"/>
                    <a:gd name="connsiteX9" fmla="*/ 27093 w 27272"/>
                    <a:gd name="connsiteY9" fmla="*/ 77510 h 80799"/>
                    <a:gd name="connsiteX10" fmla="*/ 26973 w 27272"/>
                    <a:gd name="connsiteY10" fmla="*/ 77450 h 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72" h="80799">
                      <a:moveTo>
                        <a:pt x="26973" y="77450"/>
                      </a:moveTo>
                      <a:cubicBezTo>
                        <a:pt x="27093" y="78587"/>
                        <a:pt x="27213" y="79723"/>
                        <a:pt x="27272" y="80800"/>
                      </a:cubicBezTo>
                      <a:cubicBezTo>
                        <a:pt x="26554" y="80560"/>
                        <a:pt x="25897" y="80321"/>
                        <a:pt x="25179" y="80082"/>
                      </a:cubicBezTo>
                      <a:cubicBezTo>
                        <a:pt x="16806" y="59568"/>
                        <a:pt x="8493" y="39054"/>
                        <a:pt x="0" y="18181"/>
                      </a:cubicBezTo>
                      <a:cubicBezTo>
                        <a:pt x="7835" y="12201"/>
                        <a:pt x="15849" y="6100"/>
                        <a:pt x="23923" y="0"/>
                      </a:cubicBezTo>
                      <a:cubicBezTo>
                        <a:pt x="24162" y="299"/>
                        <a:pt x="24342" y="598"/>
                        <a:pt x="24581" y="897"/>
                      </a:cubicBezTo>
                      <a:cubicBezTo>
                        <a:pt x="17105" y="6698"/>
                        <a:pt x="9629" y="12560"/>
                        <a:pt x="1735" y="18720"/>
                      </a:cubicBezTo>
                      <a:cubicBezTo>
                        <a:pt x="5323" y="27571"/>
                        <a:pt x="8912" y="36363"/>
                        <a:pt x="12500" y="45095"/>
                      </a:cubicBezTo>
                      <a:cubicBezTo>
                        <a:pt x="16208" y="54126"/>
                        <a:pt x="19796" y="63156"/>
                        <a:pt x="23624" y="72127"/>
                      </a:cubicBezTo>
                      <a:cubicBezTo>
                        <a:pt x="24461" y="74041"/>
                        <a:pt x="25897" y="75716"/>
                        <a:pt x="27093" y="77510"/>
                      </a:cubicBezTo>
                      <a:lnTo>
                        <a:pt x="26973" y="77450"/>
                      </a:lnTo>
                      <a:close/>
                    </a:path>
                  </a:pathLst>
                </a:custGeom>
                <a:grpFill/>
                <a:ln w="6350" cap="flat">
                  <a:solidFill>
                    <a:schemeClr val="bg1">
                      <a:alpha val="40000"/>
                    </a:schemeClr>
                  </a:solidFill>
                  <a:prstDash val="solid"/>
                  <a:miter/>
                </a:ln>
              </p:spPr>
              <p:txBody>
                <a:bodyPr rtlCol="0" anchor="ctr"/>
                <a:lstStyle/>
                <a:p>
                  <a:endParaRPr lang="en-GB"/>
                </a:p>
              </p:txBody>
            </p:sp>
            <p:sp>
              <p:nvSpPr>
                <p:cNvPr id="9477" name="Vrije vorm: vorm 9476">
                  <a:extLst>
                    <a:ext uri="{FF2B5EF4-FFF2-40B4-BE49-F238E27FC236}">
                      <a16:creationId xmlns:a16="http://schemas.microsoft.com/office/drawing/2014/main" id="{6C3D5629-8385-4155-A8A4-A751199A3712}"/>
                    </a:ext>
                  </a:extLst>
                </p:cNvPr>
                <p:cNvSpPr/>
                <p:nvPr/>
              </p:nvSpPr>
              <p:spPr>
                <a:xfrm>
                  <a:off x="5514963" y="1765729"/>
                  <a:ext cx="51972" cy="62259"/>
                </a:xfrm>
                <a:custGeom>
                  <a:avLst/>
                  <a:gdLst>
                    <a:gd name="connsiteX0" fmla="*/ 31160 w 51972"/>
                    <a:gd name="connsiteY0" fmla="*/ 62259 h 62259"/>
                    <a:gd name="connsiteX1" fmla="*/ 46112 w 51972"/>
                    <a:gd name="connsiteY1" fmla="*/ 52092 h 62259"/>
                    <a:gd name="connsiteX2" fmla="*/ 48384 w 51972"/>
                    <a:gd name="connsiteY2" fmla="*/ 45035 h 62259"/>
                    <a:gd name="connsiteX3" fmla="*/ 41207 w 51972"/>
                    <a:gd name="connsiteY3" fmla="*/ 26913 h 62259"/>
                    <a:gd name="connsiteX4" fmla="*/ 35167 w 51972"/>
                    <a:gd name="connsiteY4" fmla="*/ 23325 h 62259"/>
                    <a:gd name="connsiteX5" fmla="*/ 10586 w 51972"/>
                    <a:gd name="connsiteY5" fmla="*/ 25538 h 62259"/>
                    <a:gd name="connsiteX6" fmla="*/ 38755 w 51972"/>
                    <a:gd name="connsiteY6" fmla="*/ 21411 h 62259"/>
                    <a:gd name="connsiteX7" fmla="*/ 30921 w 51972"/>
                    <a:gd name="connsiteY7" fmla="*/ 2213 h 62259"/>
                    <a:gd name="connsiteX8" fmla="*/ 538 w 51972"/>
                    <a:gd name="connsiteY8" fmla="*/ 19497 h 62259"/>
                    <a:gd name="connsiteX9" fmla="*/ 0 w 51972"/>
                    <a:gd name="connsiteY9" fmla="*/ 18540 h 62259"/>
                    <a:gd name="connsiteX10" fmla="*/ 31578 w 51972"/>
                    <a:gd name="connsiteY10" fmla="*/ 0 h 62259"/>
                    <a:gd name="connsiteX11" fmla="*/ 51972 w 51972"/>
                    <a:gd name="connsiteY11" fmla="*/ 50178 h 62259"/>
                    <a:gd name="connsiteX12" fmla="*/ 30980 w 51972"/>
                    <a:gd name="connsiteY12" fmla="*/ 62140 h 62259"/>
                    <a:gd name="connsiteX13" fmla="*/ 31160 w 51972"/>
                    <a:gd name="connsiteY13" fmla="*/ 62259 h 62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972" h="62259">
                      <a:moveTo>
                        <a:pt x="31160" y="62259"/>
                      </a:moveTo>
                      <a:cubicBezTo>
                        <a:pt x="36124" y="58850"/>
                        <a:pt x="40908" y="55142"/>
                        <a:pt x="46112" y="52092"/>
                      </a:cubicBezTo>
                      <a:cubicBezTo>
                        <a:pt x="49102" y="50358"/>
                        <a:pt x="49879" y="48623"/>
                        <a:pt x="48384" y="45035"/>
                      </a:cubicBezTo>
                      <a:cubicBezTo>
                        <a:pt x="45813" y="39054"/>
                        <a:pt x="43360" y="33014"/>
                        <a:pt x="41207" y="26913"/>
                      </a:cubicBezTo>
                      <a:cubicBezTo>
                        <a:pt x="39951" y="23385"/>
                        <a:pt x="38097" y="22906"/>
                        <a:pt x="35167" y="23325"/>
                      </a:cubicBezTo>
                      <a:cubicBezTo>
                        <a:pt x="27093" y="24581"/>
                        <a:pt x="18899" y="25538"/>
                        <a:pt x="10586" y="25538"/>
                      </a:cubicBezTo>
                      <a:cubicBezTo>
                        <a:pt x="19856" y="24162"/>
                        <a:pt x="29126" y="22846"/>
                        <a:pt x="38755" y="21411"/>
                      </a:cubicBezTo>
                      <a:cubicBezTo>
                        <a:pt x="36064" y="14832"/>
                        <a:pt x="33671" y="8852"/>
                        <a:pt x="30921" y="2213"/>
                      </a:cubicBezTo>
                      <a:cubicBezTo>
                        <a:pt x="20634" y="8074"/>
                        <a:pt x="10586" y="13815"/>
                        <a:pt x="538" y="19497"/>
                      </a:cubicBezTo>
                      <a:cubicBezTo>
                        <a:pt x="359" y="19198"/>
                        <a:pt x="180" y="18839"/>
                        <a:pt x="0" y="18540"/>
                      </a:cubicBezTo>
                      <a:cubicBezTo>
                        <a:pt x="10526" y="12380"/>
                        <a:pt x="21052" y="6220"/>
                        <a:pt x="31578" y="0"/>
                      </a:cubicBezTo>
                      <a:cubicBezTo>
                        <a:pt x="38337" y="16626"/>
                        <a:pt x="45095" y="33253"/>
                        <a:pt x="51972" y="50178"/>
                      </a:cubicBezTo>
                      <a:cubicBezTo>
                        <a:pt x="44796" y="54305"/>
                        <a:pt x="37858" y="58192"/>
                        <a:pt x="30980" y="62140"/>
                      </a:cubicBezTo>
                      <a:lnTo>
                        <a:pt x="31160" y="62259"/>
                      </a:lnTo>
                      <a:close/>
                    </a:path>
                  </a:pathLst>
                </a:custGeom>
                <a:grpFill/>
                <a:ln w="6350" cap="flat">
                  <a:solidFill>
                    <a:schemeClr val="bg1">
                      <a:alpha val="40000"/>
                    </a:schemeClr>
                  </a:solidFill>
                  <a:prstDash val="solid"/>
                  <a:miter/>
                </a:ln>
              </p:spPr>
              <p:txBody>
                <a:bodyPr rtlCol="0" anchor="ctr"/>
                <a:lstStyle/>
                <a:p>
                  <a:endParaRPr lang="en-GB"/>
                </a:p>
              </p:txBody>
            </p:sp>
            <p:sp>
              <p:nvSpPr>
                <p:cNvPr id="9478" name="Vrije vorm: vorm 9477">
                  <a:extLst>
                    <a:ext uri="{FF2B5EF4-FFF2-40B4-BE49-F238E27FC236}">
                      <a16:creationId xmlns:a16="http://schemas.microsoft.com/office/drawing/2014/main" id="{A9347156-772B-42C3-B95A-83CE351B2CF8}"/>
                    </a:ext>
                  </a:extLst>
                </p:cNvPr>
                <p:cNvSpPr/>
                <p:nvPr/>
              </p:nvSpPr>
              <p:spPr>
                <a:xfrm>
                  <a:off x="5396425" y="2012852"/>
                  <a:ext cx="33073" cy="79723"/>
                </a:xfrm>
                <a:custGeom>
                  <a:avLst/>
                  <a:gdLst>
                    <a:gd name="connsiteX0" fmla="*/ 778 w 33073"/>
                    <a:gd name="connsiteY0" fmla="*/ 0 h 79723"/>
                    <a:gd name="connsiteX1" fmla="*/ 33074 w 33073"/>
                    <a:gd name="connsiteY1" fmla="*/ 79424 h 79723"/>
                    <a:gd name="connsiteX2" fmla="*/ 32296 w 33073"/>
                    <a:gd name="connsiteY2" fmla="*/ 79723 h 79723"/>
                    <a:gd name="connsiteX3" fmla="*/ 0 w 33073"/>
                    <a:gd name="connsiteY3" fmla="*/ 359 h 79723"/>
                    <a:gd name="connsiteX4" fmla="*/ 778 w 33073"/>
                    <a:gd name="connsiteY4" fmla="*/ 0 h 79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73" h="79723">
                      <a:moveTo>
                        <a:pt x="778" y="0"/>
                      </a:moveTo>
                      <a:cubicBezTo>
                        <a:pt x="11543" y="26495"/>
                        <a:pt x="22308" y="52989"/>
                        <a:pt x="33074" y="79424"/>
                      </a:cubicBezTo>
                      <a:cubicBezTo>
                        <a:pt x="32834" y="79544"/>
                        <a:pt x="32595" y="79603"/>
                        <a:pt x="32296" y="79723"/>
                      </a:cubicBezTo>
                      <a:cubicBezTo>
                        <a:pt x="21531" y="53288"/>
                        <a:pt x="10766" y="26853"/>
                        <a:pt x="0" y="359"/>
                      </a:cubicBezTo>
                      <a:cubicBezTo>
                        <a:pt x="299" y="239"/>
                        <a:pt x="538" y="120"/>
                        <a:pt x="77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79" name="Vrije vorm: vorm 9478">
                  <a:extLst>
                    <a:ext uri="{FF2B5EF4-FFF2-40B4-BE49-F238E27FC236}">
                      <a16:creationId xmlns:a16="http://schemas.microsoft.com/office/drawing/2014/main" id="{E1953767-88C7-4D45-958F-8AD1BF992317}"/>
                    </a:ext>
                  </a:extLst>
                </p:cNvPr>
                <p:cNvSpPr/>
                <p:nvPr/>
              </p:nvSpPr>
              <p:spPr>
                <a:xfrm>
                  <a:off x="5373579" y="2015663"/>
                  <a:ext cx="51613" cy="107234"/>
                </a:xfrm>
                <a:custGeom>
                  <a:avLst/>
                  <a:gdLst>
                    <a:gd name="connsiteX0" fmla="*/ 50597 w 51613"/>
                    <a:gd name="connsiteY0" fmla="*/ 107234 h 107234"/>
                    <a:gd name="connsiteX1" fmla="*/ 26076 w 51613"/>
                    <a:gd name="connsiteY1" fmla="*/ 46949 h 107234"/>
                    <a:gd name="connsiteX2" fmla="*/ 11064 w 51613"/>
                    <a:gd name="connsiteY2" fmla="*/ 9629 h 107234"/>
                    <a:gd name="connsiteX3" fmla="*/ 0 w 51613"/>
                    <a:gd name="connsiteY3" fmla="*/ 478 h 107234"/>
                    <a:gd name="connsiteX4" fmla="*/ 8253 w 51613"/>
                    <a:gd name="connsiteY4" fmla="*/ 0 h 107234"/>
                    <a:gd name="connsiteX5" fmla="*/ 51613 w 51613"/>
                    <a:gd name="connsiteY5" fmla="*/ 106576 h 107234"/>
                    <a:gd name="connsiteX6" fmla="*/ 50597 w 51613"/>
                    <a:gd name="connsiteY6" fmla="*/ 107234 h 10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13" h="107234">
                      <a:moveTo>
                        <a:pt x="50597" y="107234"/>
                      </a:moveTo>
                      <a:cubicBezTo>
                        <a:pt x="42403" y="87139"/>
                        <a:pt x="34210" y="67044"/>
                        <a:pt x="26076" y="46949"/>
                      </a:cubicBezTo>
                      <a:cubicBezTo>
                        <a:pt x="21052" y="34509"/>
                        <a:pt x="16088" y="22069"/>
                        <a:pt x="11064" y="9629"/>
                      </a:cubicBezTo>
                      <a:cubicBezTo>
                        <a:pt x="7715" y="1316"/>
                        <a:pt x="7715" y="1316"/>
                        <a:pt x="0" y="478"/>
                      </a:cubicBezTo>
                      <a:cubicBezTo>
                        <a:pt x="2871" y="299"/>
                        <a:pt x="5741" y="120"/>
                        <a:pt x="8253" y="0"/>
                      </a:cubicBezTo>
                      <a:cubicBezTo>
                        <a:pt x="22846" y="35884"/>
                        <a:pt x="37260" y="71230"/>
                        <a:pt x="51613" y="106576"/>
                      </a:cubicBezTo>
                      <a:cubicBezTo>
                        <a:pt x="51195" y="106756"/>
                        <a:pt x="50896" y="106995"/>
                        <a:pt x="50597" y="10723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80" name="Vrije vorm: vorm 9479">
                  <a:extLst>
                    <a:ext uri="{FF2B5EF4-FFF2-40B4-BE49-F238E27FC236}">
                      <a16:creationId xmlns:a16="http://schemas.microsoft.com/office/drawing/2014/main" id="{699D26C0-8B1F-4922-AE54-4C48B60F59E4}"/>
                    </a:ext>
                  </a:extLst>
                </p:cNvPr>
                <p:cNvSpPr/>
                <p:nvPr/>
              </p:nvSpPr>
              <p:spPr>
                <a:xfrm>
                  <a:off x="4755830" y="2260813"/>
                  <a:ext cx="56218" cy="131516"/>
                </a:xfrm>
                <a:custGeom>
                  <a:avLst/>
                  <a:gdLst>
                    <a:gd name="connsiteX0" fmla="*/ 957 w 56218"/>
                    <a:gd name="connsiteY0" fmla="*/ 0 h 131516"/>
                    <a:gd name="connsiteX1" fmla="*/ 56219 w 56218"/>
                    <a:gd name="connsiteY1" fmla="*/ 131097 h 131516"/>
                    <a:gd name="connsiteX2" fmla="*/ 55202 w 56218"/>
                    <a:gd name="connsiteY2" fmla="*/ 131516 h 131516"/>
                    <a:gd name="connsiteX3" fmla="*/ 0 w 56218"/>
                    <a:gd name="connsiteY3" fmla="*/ 419 h 131516"/>
                    <a:gd name="connsiteX4" fmla="*/ 957 w 56218"/>
                    <a:gd name="connsiteY4" fmla="*/ 0 h 131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18" h="131516">
                      <a:moveTo>
                        <a:pt x="957" y="0"/>
                      </a:moveTo>
                      <a:cubicBezTo>
                        <a:pt x="19377" y="43719"/>
                        <a:pt x="37798" y="87378"/>
                        <a:pt x="56219" y="131097"/>
                      </a:cubicBezTo>
                      <a:cubicBezTo>
                        <a:pt x="55860" y="131217"/>
                        <a:pt x="55501" y="131396"/>
                        <a:pt x="55202" y="131516"/>
                      </a:cubicBezTo>
                      <a:cubicBezTo>
                        <a:pt x="36782" y="87797"/>
                        <a:pt x="18421" y="44138"/>
                        <a:pt x="0" y="419"/>
                      </a:cubicBezTo>
                      <a:cubicBezTo>
                        <a:pt x="299" y="239"/>
                        <a:pt x="598" y="120"/>
                        <a:pt x="957"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81" name="Vrije vorm: vorm 9480">
                  <a:extLst>
                    <a:ext uri="{FF2B5EF4-FFF2-40B4-BE49-F238E27FC236}">
                      <a16:creationId xmlns:a16="http://schemas.microsoft.com/office/drawing/2014/main" id="{5713B4AB-6364-46EF-BD85-5C4919DCD6BD}"/>
                    </a:ext>
                  </a:extLst>
                </p:cNvPr>
                <p:cNvSpPr/>
                <p:nvPr/>
              </p:nvSpPr>
              <p:spPr>
                <a:xfrm>
                  <a:off x="4772396" y="2267332"/>
                  <a:ext cx="57414" cy="134626"/>
                </a:xfrm>
                <a:custGeom>
                  <a:avLst/>
                  <a:gdLst>
                    <a:gd name="connsiteX0" fmla="*/ 56398 w 57414"/>
                    <a:gd name="connsiteY0" fmla="*/ 134626 h 134626"/>
                    <a:gd name="connsiteX1" fmla="*/ 0 w 57414"/>
                    <a:gd name="connsiteY1" fmla="*/ 419 h 134626"/>
                    <a:gd name="connsiteX2" fmla="*/ 1017 w 57414"/>
                    <a:gd name="connsiteY2" fmla="*/ 0 h 134626"/>
                    <a:gd name="connsiteX3" fmla="*/ 57415 w 57414"/>
                    <a:gd name="connsiteY3" fmla="*/ 134207 h 134626"/>
                    <a:gd name="connsiteX4" fmla="*/ 56398 w 57414"/>
                    <a:gd name="connsiteY4" fmla="*/ 134626 h 134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14" h="134626">
                      <a:moveTo>
                        <a:pt x="56398" y="134626"/>
                      </a:moveTo>
                      <a:cubicBezTo>
                        <a:pt x="37619" y="89890"/>
                        <a:pt x="18780" y="45155"/>
                        <a:pt x="0" y="419"/>
                      </a:cubicBezTo>
                      <a:cubicBezTo>
                        <a:pt x="359" y="299"/>
                        <a:pt x="718" y="120"/>
                        <a:pt x="1017" y="0"/>
                      </a:cubicBezTo>
                      <a:cubicBezTo>
                        <a:pt x="19796" y="44736"/>
                        <a:pt x="38635" y="89472"/>
                        <a:pt x="57415" y="134207"/>
                      </a:cubicBezTo>
                      <a:cubicBezTo>
                        <a:pt x="57116" y="134327"/>
                        <a:pt x="56757" y="134507"/>
                        <a:pt x="56398" y="13462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82" name="Vrije vorm: vorm 9481">
                  <a:extLst>
                    <a:ext uri="{FF2B5EF4-FFF2-40B4-BE49-F238E27FC236}">
                      <a16:creationId xmlns:a16="http://schemas.microsoft.com/office/drawing/2014/main" id="{41DB4E74-8E81-4DAA-BEC1-59EF19B53104}"/>
                    </a:ext>
                  </a:extLst>
                </p:cNvPr>
                <p:cNvSpPr/>
                <p:nvPr/>
              </p:nvSpPr>
              <p:spPr>
                <a:xfrm>
                  <a:off x="4851880" y="2071104"/>
                  <a:ext cx="44137" cy="63096"/>
                </a:xfrm>
                <a:custGeom>
                  <a:avLst/>
                  <a:gdLst>
                    <a:gd name="connsiteX0" fmla="*/ 31937 w 44137"/>
                    <a:gd name="connsiteY0" fmla="*/ 61422 h 63096"/>
                    <a:gd name="connsiteX1" fmla="*/ 30801 w 44137"/>
                    <a:gd name="connsiteY1" fmla="*/ 54783 h 63096"/>
                    <a:gd name="connsiteX2" fmla="*/ 12141 w 44137"/>
                    <a:gd name="connsiteY2" fmla="*/ 9091 h 63096"/>
                    <a:gd name="connsiteX3" fmla="*/ 2930 w 44137"/>
                    <a:gd name="connsiteY3" fmla="*/ 1376 h 63096"/>
                    <a:gd name="connsiteX4" fmla="*/ 0 w 44137"/>
                    <a:gd name="connsiteY4" fmla="*/ 0 h 63096"/>
                    <a:gd name="connsiteX5" fmla="*/ 14354 w 44137"/>
                    <a:gd name="connsiteY5" fmla="*/ 1495 h 63096"/>
                    <a:gd name="connsiteX6" fmla="*/ 11782 w 44137"/>
                    <a:gd name="connsiteY6" fmla="*/ 5742 h 63096"/>
                    <a:gd name="connsiteX7" fmla="*/ 34509 w 44137"/>
                    <a:gd name="connsiteY7" fmla="*/ 59628 h 63096"/>
                    <a:gd name="connsiteX8" fmla="*/ 36303 w 44137"/>
                    <a:gd name="connsiteY8" fmla="*/ 60346 h 63096"/>
                    <a:gd name="connsiteX9" fmla="*/ 14174 w 44137"/>
                    <a:gd name="connsiteY9" fmla="*/ 5921 h 63096"/>
                    <a:gd name="connsiteX10" fmla="*/ 15371 w 44137"/>
                    <a:gd name="connsiteY10" fmla="*/ 5442 h 63096"/>
                    <a:gd name="connsiteX11" fmla="*/ 35406 w 44137"/>
                    <a:gd name="connsiteY11" fmla="*/ 55023 h 63096"/>
                    <a:gd name="connsiteX12" fmla="*/ 44138 w 44137"/>
                    <a:gd name="connsiteY12" fmla="*/ 63097 h 63096"/>
                    <a:gd name="connsiteX13" fmla="*/ 31937 w 44137"/>
                    <a:gd name="connsiteY13" fmla="*/ 61422 h 6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137" h="63096">
                      <a:moveTo>
                        <a:pt x="31937" y="61422"/>
                      </a:moveTo>
                      <a:cubicBezTo>
                        <a:pt x="31578" y="59209"/>
                        <a:pt x="31638" y="56817"/>
                        <a:pt x="30801" y="54783"/>
                      </a:cubicBezTo>
                      <a:cubicBezTo>
                        <a:pt x="24641" y="39533"/>
                        <a:pt x="18182" y="24401"/>
                        <a:pt x="12141" y="9091"/>
                      </a:cubicBezTo>
                      <a:cubicBezTo>
                        <a:pt x="10287" y="4366"/>
                        <a:pt x="8313" y="718"/>
                        <a:pt x="2930" y="1376"/>
                      </a:cubicBezTo>
                      <a:cubicBezTo>
                        <a:pt x="2034" y="1495"/>
                        <a:pt x="957" y="478"/>
                        <a:pt x="0" y="0"/>
                      </a:cubicBezTo>
                      <a:cubicBezTo>
                        <a:pt x="4785" y="478"/>
                        <a:pt x="9569" y="1017"/>
                        <a:pt x="14354" y="1495"/>
                      </a:cubicBezTo>
                      <a:cubicBezTo>
                        <a:pt x="12859" y="2392"/>
                        <a:pt x="10287" y="2273"/>
                        <a:pt x="11782" y="5742"/>
                      </a:cubicBezTo>
                      <a:cubicBezTo>
                        <a:pt x="19437" y="23684"/>
                        <a:pt x="26913" y="41686"/>
                        <a:pt x="34509" y="59628"/>
                      </a:cubicBezTo>
                      <a:cubicBezTo>
                        <a:pt x="34688" y="60046"/>
                        <a:pt x="35227" y="60346"/>
                        <a:pt x="36303" y="60346"/>
                      </a:cubicBezTo>
                      <a:cubicBezTo>
                        <a:pt x="28947" y="42224"/>
                        <a:pt x="21531" y="24102"/>
                        <a:pt x="14174" y="5921"/>
                      </a:cubicBezTo>
                      <a:cubicBezTo>
                        <a:pt x="14593" y="5742"/>
                        <a:pt x="14952" y="5622"/>
                        <a:pt x="15371" y="5442"/>
                      </a:cubicBezTo>
                      <a:cubicBezTo>
                        <a:pt x="22069" y="21949"/>
                        <a:pt x="28947" y="38396"/>
                        <a:pt x="35406" y="55023"/>
                      </a:cubicBezTo>
                      <a:cubicBezTo>
                        <a:pt x="37200" y="59688"/>
                        <a:pt x="39473" y="62618"/>
                        <a:pt x="44138" y="63097"/>
                      </a:cubicBezTo>
                      <a:cubicBezTo>
                        <a:pt x="40071" y="62558"/>
                        <a:pt x="36004" y="61960"/>
                        <a:pt x="31937" y="6142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83" name="Vrije vorm: vorm 9482">
                  <a:extLst>
                    <a:ext uri="{FF2B5EF4-FFF2-40B4-BE49-F238E27FC236}">
                      <a16:creationId xmlns:a16="http://schemas.microsoft.com/office/drawing/2014/main" id="{DFDEF00B-4CC8-4DF5-AF55-9275EB90BBED}"/>
                    </a:ext>
                  </a:extLst>
                </p:cNvPr>
                <p:cNvSpPr/>
                <p:nvPr/>
              </p:nvSpPr>
              <p:spPr>
                <a:xfrm>
                  <a:off x="4726046" y="2250944"/>
                  <a:ext cx="54364" cy="126552"/>
                </a:xfrm>
                <a:custGeom>
                  <a:avLst/>
                  <a:gdLst>
                    <a:gd name="connsiteX0" fmla="*/ 1017 w 54364"/>
                    <a:gd name="connsiteY0" fmla="*/ 0 h 126552"/>
                    <a:gd name="connsiteX1" fmla="*/ 54365 w 54364"/>
                    <a:gd name="connsiteY1" fmla="*/ 126074 h 126552"/>
                    <a:gd name="connsiteX2" fmla="*/ 53288 w 54364"/>
                    <a:gd name="connsiteY2" fmla="*/ 126552 h 126552"/>
                    <a:gd name="connsiteX3" fmla="*/ 0 w 54364"/>
                    <a:gd name="connsiteY3" fmla="*/ 598 h 126552"/>
                    <a:gd name="connsiteX4" fmla="*/ 1017 w 54364"/>
                    <a:gd name="connsiteY4" fmla="*/ 0 h 126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4" h="126552">
                      <a:moveTo>
                        <a:pt x="1017" y="0"/>
                      </a:moveTo>
                      <a:cubicBezTo>
                        <a:pt x="18780" y="42044"/>
                        <a:pt x="36542" y="84029"/>
                        <a:pt x="54365" y="126074"/>
                      </a:cubicBezTo>
                      <a:cubicBezTo>
                        <a:pt x="54006" y="126253"/>
                        <a:pt x="53647" y="126373"/>
                        <a:pt x="53288" y="126552"/>
                      </a:cubicBezTo>
                      <a:cubicBezTo>
                        <a:pt x="35526" y="84567"/>
                        <a:pt x="17763" y="42583"/>
                        <a:pt x="0" y="598"/>
                      </a:cubicBezTo>
                      <a:cubicBezTo>
                        <a:pt x="359" y="359"/>
                        <a:pt x="658" y="179"/>
                        <a:pt x="1017"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84" name="Vrije vorm: vorm 9483">
                  <a:extLst>
                    <a:ext uri="{FF2B5EF4-FFF2-40B4-BE49-F238E27FC236}">
                      <a16:creationId xmlns:a16="http://schemas.microsoft.com/office/drawing/2014/main" id="{A6E5AE34-36E9-4E27-AF50-41C4A54F89D2}"/>
                    </a:ext>
                  </a:extLst>
                </p:cNvPr>
                <p:cNvSpPr/>
                <p:nvPr/>
              </p:nvSpPr>
              <p:spPr>
                <a:xfrm>
                  <a:off x="5077473" y="1688278"/>
                  <a:ext cx="56338" cy="74101"/>
                </a:xfrm>
                <a:custGeom>
                  <a:avLst/>
                  <a:gdLst>
                    <a:gd name="connsiteX0" fmla="*/ 27571 w 56338"/>
                    <a:gd name="connsiteY0" fmla="*/ 72247 h 74101"/>
                    <a:gd name="connsiteX1" fmla="*/ 56039 w 56338"/>
                    <a:gd name="connsiteY1" fmla="*/ 66326 h 74101"/>
                    <a:gd name="connsiteX2" fmla="*/ 56338 w 56338"/>
                    <a:gd name="connsiteY2" fmla="*/ 67403 h 74101"/>
                    <a:gd name="connsiteX3" fmla="*/ 26495 w 56338"/>
                    <a:gd name="connsiteY3" fmla="*/ 74101 h 74101"/>
                    <a:gd name="connsiteX4" fmla="*/ 0 w 56338"/>
                    <a:gd name="connsiteY4" fmla="*/ 8911 h 74101"/>
                    <a:gd name="connsiteX5" fmla="*/ 32535 w 56338"/>
                    <a:gd name="connsiteY5" fmla="*/ 0 h 74101"/>
                    <a:gd name="connsiteX6" fmla="*/ 32834 w 56338"/>
                    <a:gd name="connsiteY6" fmla="*/ 1017 h 74101"/>
                    <a:gd name="connsiteX7" fmla="*/ 2273 w 56338"/>
                    <a:gd name="connsiteY7" fmla="*/ 9928 h 74101"/>
                    <a:gd name="connsiteX8" fmla="*/ 27571 w 56338"/>
                    <a:gd name="connsiteY8" fmla="*/ 72247 h 7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38" h="74101">
                      <a:moveTo>
                        <a:pt x="27571" y="72247"/>
                      </a:moveTo>
                      <a:cubicBezTo>
                        <a:pt x="37200" y="70214"/>
                        <a:pt x="46650" y="68240"/>
                        <a:pt x="56039" y="66326"/>
                      </a:cubicBezTo>
                      <a:cubicBezTo>
                        <a:pt x="56159" y="66685"/>
                        <a:pt x="56219" y="67044"/>
                        <a:pt x="56338" y="67403"/>
                      </a:cubicBezTo>
                      <a:cubicBezTo>
                        <a:pt x="46530" y="69616"/>
                        <a:pt x="36662" y="71828"/>
                        <a:pt x="26495" y="74101"/>
                      </a:cubicBezTo>
                      <a:cubicBezTo>
                        <a:pt x="17763" y="52630"/>
                        <a:pt x="8851" y="30741"/>
                        <a:pt x="0" y="8911"/>
                      </a:cubicBezTo>
                      <a:cubicBezTo>
                        <a:pt x="10885" y="5921"/>
                        <a:pt x="21710" y="2990"/>
                        <a:pt x="32535" y="0"/>
                      </a:cubicBezTo>
                      <a:cubicBezTo>
                        <a:pt x="32655" y="359"/>
                        <a:pt x="32774" y="658"/>
                        <a:pt x="32834" y="1017"/>
                      </a:cubicBezTo>
                      <a:cubicBezTo>
                        <a:pt x="22846" y="3947"/>
                        <a:pt x="12798" y="6878"/>
                        <a:pt x="2273" y="9928"/>
                      </a:cubicBezTo>
                      <a:cubicBezTo>
                        <a:pt x="10765" y="30920"/>
                        <a:pt x="19138" y="51434"/>
                        <a:pt x="27571" y="7224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85" name="Vrije vorm: vorm 9484">
                  <a:extLst>
                    <a:ext uri="{FF2B5EF4-FFF2-40B4-BE49-F238E27FC236}">
                      <a16:creationId xmlns:a16="http://schemas.microsoft.com/office/drawing/2014/main" id="{3C9FA15D-77AF-4E55-8277-7364D4407C55}"/>
                    </a:ext>
                  </a:extLst>
                </p:cNvPr>
                <p:cNvSpPr/>
                <p:nvPr/>
              </p:nvSpPr>
              <p:spPr>
                <a:xfrm>
                  <a:off x="4779032" y="2063509"/>
                  <a:ext cx="33614" cy="57235"/>
                </a:xfrm>
                <a:custGeom>
                  <a:avLst/>
                  <a:gdLst>
                    <a:gd name="connsiteX0" fmla="*/ 15792 w 33614"/>
                    <a:gd name="connsiteY0" fmla="*/ 3289 h 57235"/>
                    <a:gd name="connsiteX1" fmla="*/ 7299 w 33614"/>
                    <a:gd name="connsiteY1" fmla="*/ 2871 h 57235"/>
                    <a:gd name="connsiteX2" fmla="*/ 14536 w 33614"/>
                    <a:gd name="connsiteY2" fmla="*/ 20693 h 57235"/>
                    <a:gd name="connsiteX3" fmla="*/ 27095 w 33614"/>
                    <a:gd name="connsiteY3" fmla="*/ 50417 h 57235"/>
                    <a:gd name="connsiteX4" fmla="*/ 33614 w 33614"/>
                    <a:gd name="connsiteY4" fmla="*/ 57235 h 57235"/>
                    <a:gd name="connsiteX5" fmla="*/ 20277 w 33614"/>
                    <a:gd name="connsiteY5" fmla="*/ 56877 h 57235"/>
                    <a:gd name="connsiteX6" fmla="*/ 21294 w 33614"/>
                    <a:gd name="connsiteY6" fmla="*/ 51913 h 57235"/>
                    <a:gd name="connsiteX7" fmla="*/ 1438 w 33614"/>
                    <a:gd name="connsiteY7" fmla="*/ 4067 h 57235"/>
                    <a:gd name="connsiteX8" fmla="*/ 3 w 33614"/>
                    <a:gd name="connsiteY8" fmla="*/ 0 h 57235"/>
                    <a:gd name="connsiteX9" fmla="*/ 2455 w 33614"/>
                    <a:gd name="connsiteY9" fmla="*/ 3050 h 57235"/>
                    <a:gd name="connsiteX10" fmla="*/ 22012 w 33614"/>
                    <a:gd name="connsiteY10" fmla="*/ 50358 h 57235"/>
                    <a:gd name="connsiteX11" fmla="*/ 25660 w 33614"/>
                    <a:gd name="connsiteY11" fmla="*/ 56219 h 57235"/>
                    <a:gd name="connsiteX12" fmla="*/ 27155 w 33614"/>
                    <a:gd name="connsiteY12" fmla="*/ 55262 h 57235"/>
                    <a:gd name="connsiteX13" fmla="*/ 4847 w 33614"/>
                    <a:gd name="connsiteY13" fmla="*/ 359 h 57235"/>
                    <a:gd name="connsiteX14" fmla="*/ 15792 w 33614"/>
                    <a:gd name="connsiteY14" fmla="*/ 3289 h 57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614" h="57235">
                      <a:moveTo>
                        <a:pt x="15792" y="3289"/>
                      </a:moveTo>
                      <a:cubicBezTo>
                        <a:pt x="13280" y="3170"/>
                        <a:pt x="10708" y="3050"/>
                        <a:pt x="7299" y="2871"/>
                      </a:cubicBezTo>
                      <a:cubicBezTo>
                        <a:pt x="9871" y="9210"/>
                        <a:pt x="12203" y="14952"/>
                        <a:pt x="14536" y="20693"/>
                      </a:cubicBezTo>
                      <a:cubicBezTo>
                        <a:pt x="18662" y="30621"/>
                        <a:pt x="22550" y="40669"/>
                        <a:pt x="27095" y="50417"/>
                      </a:cubicBezTo>
                      <a:cubicBezTo>
                        <a:pt x="28351" y="53109"/>
                        <a:pt x="31401" y="54963"/>
                        <a:pt x="33614" y="57235"/>
                      </a:cubicBezTo>
                      <a:cubicBezTo>
                        <a:pt x="29129" y="57116"/>
                        <a:pt x="24703" y="56996"/>
                        <a:pt x="20277" y="56877"/>
                      </a:cubicBezTo>
                      <a:cubicBezTo>
                        <a:pt x="20815" y="54544"/>
                        <a:pt x="21713" y="52929"/>
                        <a:pt x="21294" y="51913"/>
                      </a:cubicBezTo>
                      <a:cubicBezTo>
                        <a:pt x="14775" y="35944"/>
                        <a:pt x="8136" y="19976"/>
                        <a:pt x="1438" y="4067"/>
                      </a:cubicBezTo>
                      <a:cubicBezTo>
                        <a:pt x="960" y="2871"/>
                        <a:pt x="-57" y="1914"/>
                        <a:pt x="3" y="0"/>
                      </a:cubicBezTo>
                      <a:cubicBezTo>
                        <a:pt x="840" y="1017"/>
                        <a:pt x="1976" y="1914"/>
                        <a:pt x="2455" y="3050"/>
                      </a:cubicBezTo>
                      <a:cubicBezTo>
                        <a:pt x="9033" y="18779"/>
                        <a:pt x="15433" y="34628"/>
                        <a:pt x="22012" y="50358"/>
                      </a:cubicBezTo>
                      <a:cubicBezTo>
                        <a:pt x="22909" y="52451"/>
                        <a:pt x="24404" y="54245"/>
                        <a:pt x="25660" y="56219"/>
                      </a:cubicBezTo>
                      <a:cubicBezTo>
                        <a:pt x="26138" y="55920"/>
                        <a:pt x="26677" y="55561"/>
                        <a:pt x="27155" y="55262"/>
                      </a:cubicBezTo>
                      <a:cubicBezTo>
                        <a:pt x="19859" y="37260"/>
                        <a:pt x="12502" y="19258"/>
                        <a:pt x="4847" y="359"/>
                      </a:cubicBezTo>
                      <a:cubicBezTo>
                        <a:pt x="8675" y="1376"/>
                        <a:pt x="12263" y="2332"/>
                        <a:pt x="15792" y="328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86" name="Vrije vorm: vorm 9485">
                  <a:extLst>
                    <a:ext uri="{FF2B5EF4-FFF2-40B4-BE49-F238E27FC236}">
                      <a16:creationId xmlns:a16="http://schemas.microsoft.com/office/drawing/2014/main" id="{D6386CB9-2192-42EF-ACD9-620766F0DA5C}"/>
                    </a:ext>
                  </a:extLst>
                </p:cNvPr>
                <p:cNvSpPr/>
                <p:nvPr/>
              </p:nvSpPr>
              <p:spPr>
                <a:xfrm>
                  <a:off x="4761392" y="2266793"/>
                  <a:ext cx="54902" cy="128585"/>
                </a:xfrm>
                <a:custGeom>
                  <a:avLst/>
                  <a:gdLst>
                    <a:gd name="connsiteX0" fmla="*/ 53946 w 54902"/>
                    <a:gd name="connsiteY0" fmla="*/ 128586 h 128585"/>
                    <a:gd name="connsiteX1" fmla="*/ 0 w 54902"/>
                    <a:gd name="connsiteY1" fmla="*/ 419 h 128585"/>
                    <a:gd name="connsiteX2" fmla="*/ 1017 w 54902"/>
                    <a:gd name="connsiteY2" fmla="*/ 0 h 128585"/>
                    <a:gd name="connsiteX3" fmla="*/ 54903 w 54902"/>
                    <a:gd name="connsiteY3" fmla="*/ 128047 h 128585"/>
                    <a:gd name="connsiteX4" fmla="*/ 53946 w 54902"/>
                    <a:gd name="connsiteY4" fmla="*/ 128586 h 128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02" h="128585">
                      <a:moveTo>
                        <a:pt x="53946" y="128586"/>
                      </a:moveTo>
                      <a:cubicBezTo>
                        <a:pt x="35944" y="85883"/>
                        <a:pt x="18002" y="43121"/>
                        <a:pt x="0" y="419"/>
                      </a:cubicBezTo>
                      <a:cubicBezTo>
                        <a:pt x="359" y="299"/>
                        <a:pt x="658" y="120"/>
                        <a:pt x="1017" y="0"/>
                      </a:cubicBezTo>
                      <a:cubicBezTo>
                        <a:pt x="18959" y="42702"/>
                        <a:pt x="36961" y="85345"/>
                        <a:pt x="54903" y="128047"/>
                      </a:cubicBezTo>
                      <a:cubicBezTo>
                        <a:pt x="54544" y="128227"/>
                        <a:pt x="54245" y="128406"/>
                        <a:pt x="53946" y="12858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87" name="Vrije vorm: vorm 9486">
                  <a:extLst>
                    <a:ext uri="{FF2B5EF4-FFF2-40B4-BE49-F238E27FC236}">
                      <a16:creationId xmlns:a16="http://schemas.microsoft.com/office/drawing/2014/main" id="{2164C71B-2466-4116-A6AD-B48089EC306A}"/>
                    </a:ext>
                  </a:extLst>
                </p:cNvPr>
                <p:cNvSpPr/>
                <p:nvPr/>
              </p:nvSpPr>
              <p:spPr>
                <a:xfrm>
                  <a:off x="4738127" y="2255908"/>
                  <a:ext cx="54843" cy="128226"/>
                </a:xfrm>
                <a:custGeom>
                  <a:avLst/>
                  <a:gdLst>
                    <a:gd name="connsiteX0" fmla="*/ 53827 w 54843"/>
                    <a:gd name="connsiteY0" fmla="*/ 128227 h 128226"/>
                    <a:gd name="connsiteX1" fmla="*/ 0 w 54843"/>
                    <a:gd name="connsiteY1" fmla="*/ 419 h 128226"/>
                    <a:gd name="connsiteX2" fmla="*/ 1017 w 54843"/>
                    <a:gd name="connsiteY2" fmla="*/ 0 h 128226"/>
                    <a:gd name="connsiteX3" fmla="*/ 54843 w 54843"/>
                    <a:gd name="connsiteY3" fmla="*/ 127808 h 128226"/>
                    <a:gd name="connsiteX4" fmla="*/ 53827 w 54843"/>
                    <a:gd name="connsiteY4" fmla="*/ 128227 h 128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43" h="128226">
                      <a:moveTo>
                        <a:pt x="53827" y="128227"/>
                      </a:moveTo>
                      <a:cubicBezTo>
                        <a:pt x="35884" y="85644"/>
                        <a:pt x="17942" y="43001"/>
                        <a:pt x="0" y="419"/>
                      </a:cubicBezTo>
                      <a:cubicBezTo>
                        <a:pt x="359" y="299"/>
                        <a:pt x="718" y="120"/>
                        <a:pt x="1017" y="0"/>
                      </a:cubicBezTo>
                      <a:cubicBezTo>
                        <a:pt x="18959" y="42583"/>
                        <a:pt x="36901" y="85225"/>
                        <a:pt x="54843" y="127808"/>
                      </a:cubicBezTo>
                      <a:cubicBezTo>
                        <a:pt x="54484" y="127928"/>
                        <a:pt x="54125" y="128047"/>
                        <a:pt x="53827" y="12822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88" name="Vrije vorm: vorm 9487">
                  <a:extLst>
                    <a:ext uri="{FF2B5EF4-FFF2-40B4-BE49-F238E27FC236}">
                      <a16:creationId xmlns:a16="http://schemas.microsoft.com/office/drawing/2014/main" id="{EE79BE03-AF2A-4185-A800-68151E699E21}"/>
                    </a:ext>
                  </a:extLst>
                </p:cNvPr>
                <p:cNvSpPr/>
                <p:nvPr/>
              </p:nvSpPr>
              <p:spPr>
                <a:xfrm>
                  <a:off x="5438350" y="1448152"/>
                  <a:ext cx="51733" cy="62977"/>
                </a:xfrm>
                <a:custGeom>
                  <a:avLst/>
                  <a:gdLst>
                    <a:gd name="connsiteX0" fmla="*/ 18660 w 51733"/>
                    <a:gd name="connsiteY0" fmla="*/ 62977 h 62977"/>
                    <a:gd name="connsiteX1" fmla="*/ 0 w 51733"/>
                    <a:gd name="connsiteY1" fmla="*/ 17045 h 62977"/>
                    <a:gd name="connsiteX2" fmla="*/ 957 w 51733"/>
                    <a:gd name="connsiteY2" fmla="*/ 16686 h 62977"/>
                    <a:gd name="connsiteX3" fmla="*/ 18899 w 51733"/>
                    <a:gd name="connsiteY3" fmla="*/ 60824 h 62977"/>
                    <a:gd name="connsiteX4" fmla="*/ 49939 w 51733"/>
                    <a:gd name="connsiteY4" fmla="*/ 48205 h 62977"/>
                    <a:gd name="connsiteX5" fmla="*/ 30502 w 51733"/>
                    <a:gd name="connsiteY5" fmla="*/ 419 h 62977"/>
                    <a:gd name="connsiteX6" fmla="*/ 31578 w 51733"/>
                    <a:gd name="connsiteY6" fmla="*/ 0 h 62977"/>
                    <a:gd name="connsiteX7" fmla="*/ 51733 w 51733"/>
                    <a:gd name="connsiteY7" fmla="*/ 49520 h 62977"/>
                    <a:gd name="connsiteX8" fmla="*/ 18660 w 51733"/>
                    <a:gd name="connsiteY8" fmla="*/ 62977 h 62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33" h="62977">
                      <a:moveTo>
                        <a:pt x="18660" y="62977"/>
                      </a:moveTo>
                      <a:cubicBezTo>
                        <a:pt x="12560" y="48025"/>
                        <a:pt x="6280" y="32535"/>
                        <a:pt x="0" y="17045"/>
                      </a:cubicBezTo>
                      <a:cubicBezTo>
                        <a:pt x="299" y="16925"/>
                        <a:pt x="658" y="16806"/>
                        <a:pt x="957" y="16686"/>
                      </a:cubicBezTo>
                      <a:cubicBezTo>
                        <a:pt x="6938" y="31399"/>
                        <a:pt x="12919" y="46111"/>
                        <a:pt x="18899" y="60824"/>
                      </a:cubicBezTo>
                      <a:cubicBezTo>
                        <a:pt x="29246" y="56637"/>
                        <a:pt x="39234" y="52571"/>
                        <a:pt x="49939" y="48205"/>
                      </a:cubicBezTo>
                      <a:cubicBezTo>
                        <a:pt x="43241" y="31817"/>
                        <a:pt x="36901" y="16148"/>
                        <a:pt x="30502" y="419"/>
                      </a:cubicBezTo>
                      <a:cubicBezTo>
                        <a:pt x="30861" y="299"/>
                        <a:pt x="31220" y="120"/>
                        <a:pt x="31578" y="0"/>
                      </a:cubicBezTo>
                      <a:cubicBezTo>
                        <a:pt x="38157" y="16208"/>
                        <a:pt x="44736" y="32356"/>
                        <a:pt x="51733" y="49520"/>
                      </a:cubicBezTo>
                      <a:cubicBezTo>
                        <a:pt x="40669" y="54006"/>
                        <a:pt x="29545" y="58551"/>
                        <a:pt x="18660" y="6297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89" name="Vrije vorm: vorm 9488">
                  <a:extLst>
                    <a:ext uri="{FF2B5EF4-FFF2-40B4-BE49-F238E27FC236}">
                      <a16:creationId xmlns:a16="http://schemas.microsoft.com/office/drawing/2014/main" id="{32015CC5-4DDF-4321-8845-626D43A931C5}"/>
                    </a:ext>
                  </a:extLst>
                </p:cNvPr>
                <p:cNvSpPr/>
                <p:nvPr/>
              </p:nvSpPr>
              <p:spPr>
                <a:xfrm>
                  <a:off x="5169516" y="1928643"/>
                  <a:ext cx="36542" cy="65429"/>
                </a:xfrm>
                <a:custGeom>
                  <a:avLst/>
                  <a:gdLst>
                    <a:gd name="connsiteX0" fmla="*/ 4844 w 36542"/>
                    <a:gd name="connsiteY0" fmla="*/ 1734 h 65429"/>
                    <a:gd name="connsiteX1" fmla="*/ 4067 w 36542"/>
                    <a:gd name="connsiteY1" fmla="*/ 5861 h 65429"/>
                    <a:gd name="connsiteX2" fmla="*/ 26375 w 36542"/>
                    <a:gd name="connsiteY2" fmla="*/ 60525 h 65429"/>
                    <a:gd name="connsiteX3" fmla="*/ 30980 w 36542"/>
                    <a:gd name="connsiteY3" fmla="*/ 63575 h 65429"/>
                    <a:gd name="connsiteX4" fmla="*/ 36542 w 36542"/>
                    <a:gd name="connsiteY4" fmla="*/ 64771 h 65429"/>
                    <a:gd name="connsiteX5" fmla="*/ 26614 w 36542"/>
                    <a:gd name="connsiteY5" fmla="*/ 65429 h 65429"/>
                    <a:gd name="connsiteX6" fmla="*/ 0 w 36542"/>
                    <a:gd name="connsiteY6" fmla="*/ 0 h 65429"/>
                    <a:gd name="connsiteX7" fmla="*/ 4725 w 36542"/>
                    <a:gd name="connsiteY7" fmla="*/ 1854 h 65429"/>
                    <a:gd name="connsiteX8" fmla="*/ 4844 w 36542"/>
                    <a:gd name="connsiteY8" fmla="*/ 1734 h 6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42" h="65429">
                      <a:moveTo>
                        <a:pt x="4844" y="1734"/>
                      </a:moveTo>
                      <a:cubicBezTo>
                        <a:pt x="4545" y="3110"/>
                        <a:pt x="3589" y="4785"/>
                        <a:pt x="4067" y="5861"/>
                      </a:cubicBezTo>
                      <a:cubicBezTo>
                        <a:pt x="11364" y="24162"/>
                        <a:pt x="18780" y="42403"/>
                        <a:pt x="26375" y="60525"/>
                      </a:cubicBezTo>
                      <a:cubicBezTo>
                        <a:pt x="26973" y="61960"/>
                        <a:pt x="29306" y="63037"/>
                        <a:pt x="30980" y="63575"/>
                      </a:cubicBezTo>
                      <a:cubicBezTo>
                        <a:pt x="32715" y="64113"/>
                        <a:pt x="34629" y="63814"/>
                        <a:pt x="36542" y="64771"/>
                      </a:cubicBezTo>
                      <a:cubicBezTo>
                        <a:pt x="33373" y="65010"/>
                        <a:pt x="30143" y="65190"/>
                        <a:pt x="26614" y="65429"/>
                      </a:cubicBezTo>
                      <a:cubicBezTo>
                        <a:pt x="17883" y="44018"/>
                        <a:pt x="9151" y="22487"/>
                        <a:pt x="0" y="0"/>
                      </a:cubicBezTo>
                      <a:cubicBezTo>
                        <a:pt x="2034" y="778"/>
                        <a:pt x="3349" y="1316"/>
                        <a:pt x="4725" y="1854"/>
                      </a:cubicBezTo>
                      <a:lnTo>
                        <a:pt x="4844" y="1734"/>
                      </a:lnTo>
                      <a:close/>
                    </a:path>
                  </a:pathLst>
                </a:custGeom>
                <a:grpFill/>
                <a:ln w="6350" cap="flat">
                  <a:solidFill>
                    <a:schemeClr val="bg1">
                      <a:alpha val="40000"/>
                    </a:schemeClr>
                  </a:solidFill>
                  <a:prstDash val="solid"/>
                  <a:miter/>
                </a:ln>
              </p:spPr>
              <p:txBody>
                <a:bodyPr rtlCol="0" anchor="ctr"/>
                <a:lstStyle/>
                <a:p>
                  <a:endParaRPr lang="en-GB"/>
                </a:p>
              </p:txBody>
            </p:sp>
            <p:sp>
              <p:nvSpPr>
                <p:cNvPr id="9490" name="Vrije vorm: vorm 9489">
                  <a:extLst>
                    <a:ext uri="{FF2B5EF4-FFF2-40B4-BE49-F238E27FC236}">
                      <a16:creationId xmlns:a16="http://schemas.microsoft.com/office/drawing/2014/main" id="{2A9FB546-2EFD-4E90-BBFE-3A5AF08DF66E}"/>
                    </a:ext>
                  </a:extLst>
                </p:cNvPr>
                <p:cNvSpPr/>
                <p:nvPr/>
              </p:nvSpPr>
              <p:spPr>
                <a:xfrm>
                  <a:off x="4722697" y="2249270"/>
                  <a:ext cx="53945" cy="126073"/>
                </a:xfrm>
                <a:custGeom>
                  <a:avLst/>
                  <a:gdLst>
                    <a:gd name="connsiteX0" fmla="*/ 1017 w 53945"/>
                    <a:gd name="connsiteY0" fmla="*/ 0 h 126073"/>
                    <a:gd name="connsiteX1" fmla="*/ 53946 w 53945"/>
                    <a:gd name="connsiteY1" fmla="*/ 125655 h 126073"/>
                    <a:gd name="connsiteX2" fmla="*/ 52929 w 53945"/>
                    <a:gd name="connsiteY2" fmla="*/ 126074 h 126073"/>
                    <a:gd name="connsiteX3" fmla="*/ 0 w 53945"/>
                    <a:gd name="connsiteY3" fmla="*/ 419 h 126073"/>
                    <a:gd name="connsiteX4" fmla="*/ 1017 w 53945"/>
                    <a:gd name="connsiteY4" fmla="*/ 0 h 126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45" h="126073">
                      <a:moveTo>
                        <a:pt x="1017" y="0"/>
                      </a:moveTo>
                      <a:cubicBezTo>
                        <a:pt x="18660" y="41865"/>
                        <a:pt x="36303" y="83790"/>
                        <a:pt x="53946" y="125655"/>
                      </a:cubicBezTo>
                      <a:cubicBezTo>
                        <a:pt x="53587" y="125775"/>
                        <a:pt x="53288" y="125954"/>
                        <a:pt x="52929" y="126074"/>
                      </a:cubicBezTo>
                      <a:cubicBezTo>
                        <a:pt x="35286" y="84208"/>
                        <a:pt x="17643" y="42284"/>
                        <a:pt x="0" y="419"/>
                      </a:cubicBezTo>
                      <a:cubicBezTo>
                        <a:pt x="359" y="299"/>
                        <a:pt x="718" y="179"/>
                        <a:pt x="1017"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91" name="Vrije vorm: vorm 9490">
                  <a:extLst>
                    <a:ext uri="{FF2B5EF4-FFF2-40B4-BE49-F238E27FC236}">
                      <a16:creationId xmlns:a16="http://schemas.microsoft.com/office/drawing/2014/main" id="{5E55CD8A-9536-43DA-87EB-C227F62C357D}"/>
                    </a:ext>
                  </a:extLst>
                </p:cNvPr>
                <p:cNvSpPr/>
                <p:nvPr/>
              </p:nvSpPr>
              <p:spPr>
                <a:xfrm>
                  <a:off x="4683343" y="2237607"/>
                  <a:ext cx="48862" cy="113514"/>
                </a:xfrm>
                <a:custGeom>
                  <a:avLst/>
                  <a:gdLst>
                    <a:gd name="connsiteX0" fmla="*/ 47846 w 48862"/>
                    <a:gd name="connsiteY0" fmla="*/ 113514 h 113514"/>
                    <a:gd name="connsiteX1" fmla="*/ 0 w 48862"/>
                    <a:gd name="connsiteY1" fmla="*/ 478 h 113514"/>
                    <a:gd name="connsiteX2" fmla="*/ 1076 w 48862"/>
                    <a:gd name="connsiteY2" fmla="*/ 0 h 113514"/>
                    <a:gd name="connsiteX3" fmla="*/ 48862 w 48862"/>
                    <a:gd name="connsiteY3" fmla="*/ 113095 h 113514"/>
                    <a:gd name="connsiteX4" fmla="*/ 47846 w 48862"/>
                    <a:gd name="connsiteY4" fmla="*/ 113514 h 113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2" h="113514">
                      <a:moveTo>
                        <a:pt x="47846" y="113514"/>
                      </a:moveTo>
                      <a:cubicBezTo>
                        <a:pt x="31877" y="75836"/>
                        <a:pt x="15909" y="38157"/>
                        <a:pt x="0" y="478"/>
                      </a:cubicBezTo>
                      <a:cubicBezTo>
                        <a:pt x="359" y="299"/>
                        <a:pt x="718" y="179"/>
                        <a:pt x="1076" y="0"/>
                      </a:cubicBezTo>
                      <a:cubicBezTo>
                        <a:pt x="16985" y="37679"/>
                        <a:pt x="32954" y="75417"/>
                        <a:pt x="48862" y="113095"/>
                      </a:cubicBezTo>
                      <a:cubicBezTo>
                        <a:pt x="48504" y="113215"/>
                        <a:pt x="48205" y="113395"/>
                        <a:pt x="47846" y="11351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92" name="Vrije vorm: vorm 9491">
                  <a:extLst>
                    <a:ext uri="{FF2B5EF4-FFF2-40B4-BE49-F238E27FC236}">
                      <a16:creationId xmlns:a16="http://schemas.microsoft.com/office/drawing/2014/main" id="{CB978019-E9BA-484E-BEE0-12370DC5300E}"/>
                    </a:ext>
                  </a:extLst>
                </p:cNvPr>
                <p:cNvSpPr/>
                <p:nvPr/>
              </p:nvSpPr>
              <p:spPr>
                <a:xfrm>
                  <a:off x="4749251" y="1998977"/>
                  <a:ext cx="26195" cy="56278"/>
                </a:xfrm>
                <a:custGeom>
                  <a:avLst/>
                  <a:gdLst>
                    <a:gd name="connsiteX0" fmla="*/ 18480 w 26195"/>
                    <a:gd name="connsiteY0" fmla="*/ 53707 h 56278"/>
                    <a:gd name="connsiteX1" fmla="*/ 20992 w 26195"/>
                    <a:gd name="connsiteY1" fmla="*/ 50537 h 56278"/>
                    <a:gd name="connsiteX2" fmla="*/ 19377 w 26195"/>
                    <a:gd name="connsiteY2" fmla="*/ 46590 h 56278"/>
                    <a:gd name="connsiteX3" fmla="*/ 3887 w 26195"/>
                    <a:gd name="connsiteY3" fmla="*/ 5801 h 56278"/>
                    <a:gd name="connsiteX4" fmla="*/ 0 w 26195"/>
                    <a:gd name="connsiteY4" fmla="*/ 0 h 56278"/>
                    <a:gd name="connsiteX5" fmla="*/ 3528 w 26195"/>
                    <a:gd name="connsiteY5" fmla="*/ 837 h 56278"/>
                    <a:gd name="connsiteX6" fmla="*/ 26196 w 26195"/>
                    <a:gd name="connsiteY6" fmla="*/ 56279 h 56278"/>
                    <a:gd name="connsiteX7" fmla="*/ 18480 w 26195"/>
                    <a:gd name="connsiteY7" fmla="*/ 53707 h 5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95" h="56278">
                      <a:moveTo>
                        <a:pt x="18480" y="53707"/>
                      </a:moveTo>
                      <a:cubicBezTo>
                        <a:pt x="20514" y="53767"/>
                        <a:pt x="22368" y="53707"/>
                        <a:pt x="20992" y="50537"/>
                      </a:cubicBezTo>
                      <a:cubicBezTo>
                        <a:pt x="20454" y="49221"/>
                        <a:pt x="19916" y="47906"/>
                        <a:pt x="19377" y="46590"/>
                      </a:cubicBezTo>
                      <a:cubicBezTo>
                        <a:pt x="14234" y="33014"/>
                        <a:pt x="9150" y="19378"/>
                        <a:pt x="3887" y="5801"/>
                      </a:cubicBezTo>
                      <a:cubicBezTo>
                        <a:pt x="3050" y="3708"/>
                        <a:pt x="1316" y="1914"/>
                        <a:pt x="0" y="0"/>
                      </a:cubicBezTo>
                      <a:cubicBezTo>
                        <a:pt x="1196" y="239"/>
                        <a:pt x="3229" y="179"/>
                        <a:pt x="3528" y="837"/>
                      </a:cubicBezTo>
                      <a:cubicBezTo>
                        <a:pt x="11124" y="19079"/>
                        <a:pt x="18540" y="37380"/>
                        <a:pt x="26196" y="56279"/>
                      </a:cubicBezTo>
                      <a:cubicBezTo>
                        <a:pt x="23504" y="55382"/>
                        <a:pt x="20992" y="54544"/>
                        <a:pt x="18480" y="5370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93" name="Vrije vorm: vorm 9492">
                  <a:extLst>
                    <a:ext uri="{FF2B5EF4-FFF2-40B4-BE49-F238E27FC236}">
                      <a16:creationId xmlns:a16="http://schemas.microsoft.com/office/drawing/2014/main" id="{5085227C-1082-4187-A282-1DD53A5791E1}"/>
                    </a:ext>
                  </a:extLst>
                </p:cNvPr>
                <p:cNvSpPr/>
                <p:nvPr/>
              </p:nvSpPr>
              <p:spPr>
                <a:xfrm>
                  <a:off x="4691358" y="2236052"/>
                  <a:ext cx="51852" cy="120750"/>
                </a:xfrm>
                <a:custGeom>
                  <a:avLst/>
                  <a:gdLst>
                    <a:gd name="connsiteX0" fmla="*/ 1017 w 51852"/>
                    <a:gd name="connsiteY0" fmla="*/ 0 h 120750"/>
                    <a:gd name="connsiteX1" fmla="*/ 51853 w 51852"/>
                    <a:gd name="connsiteY1" fmla="*/ 120272 h 120750"/>
                    <a:gd name="connsiteX2" fmla="*/ 50776 w 51852"/>
                    <a:gd name="connsiteY2" fmla="*/ 120751 h 120750"/>
                    <a:gd name="connsiteX3" fmla="*/ 0 w 51852"/>
                    <a:gd name="connsiteY3" fmla="*/ 478 h 120750"/>
                    <a:gd name="connsiteX4" fmla="*/ 1017 w 51852"/>
                    <a:gd name="connsiteY4" fmla="*/ 0 h 12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52" h="120750">
                      <a:moveTo>
                        <a:pt x="1017" y="0"/>
                      </a:moveTo>
                      <a:cubicBezTo>
                        <a:pt x="17942" y="40071"/>
                        <a:pt x="34867" y="80202"/>
                        <a:pt x="51853" y="120272"/>
                      </a:cubicBezTo>
                      <a:cubicBezTo>
                        <a:pt x="51494" y="120452"/>
                        <a:pt x="51135" y="120571"/>
                        <a:pt x="50776" y="120751"/>
                      </a:cubicBezTo>
                      <a:cubicBezTo>
                        <a:pt x="33851" y="80680"/>
                        <a:pt x="16925" y="40549"/>
                        <a:pt x="0" y="478"/>
                      </a:cubicBezTo>
                      <a:cubicBezTo>
                        <a:pt x="359" y="299"/>
                        <a:pt x="718" y="179"/>
                        <a:pt x="1017"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94" name="Vrije vorm: vorm 9493">
                  <a:extLst>
                    <a:ext uri="{FF2B5EF4-FFF2-40B4-BE49-F238E27FC236}">
                      <a16:creationId xmlns:a16="http://schemas.microsoft.com/office/drawing/2014/main" id="{E2008C44-6857-4146-9580-9F1368F73393}"/>
                    </a:ext>
                  </a:extLst>
                </p:cNvPr>
                <p:cNvSpPr/>
                <p:nvPr/>
              </p:nvSpPr>
              <p:spPr>
                <a:xfrm>
                  <a:off x="5185545" y="2041201"/>
                  <a:ext cx="26314" cy="30561"/>
                </a:xfrm>
                <a:custGeom>
                  <a:avLst/>
                  <a:gdLst>
                    <a:gd name="connsiteX0" fmla="*/ 26315 w 26314"/>
                    <a:gd name="connsiteY0" fmla="*/ 30442 h 30561"/>
                    <a:gd name="connsiteX1" fmla="*/ 9868 w 26314"/>
                    <a:gd name="connsiteY1" fmla="*/ 29904 h 30561"/>
                    <a:gd name="connsiteX2" fmla="*/ 0 w 26314"/>
                    <a:gd name="connsiteY2" fmla="*/ 5562 h 30561"/>
                    <a:gd name="connsiteX3" fmla="*/ 1914 w 26314"/>
                    <a:gd name="connsiteY3" fmla="*/ 4725 h 30561"/>
                    <a:gd name="connsiteX4" fmla="*/ 11543 w 26314"/>
                    <a:gd name="connsiteY4" fmla="*/ 28408 h 30561"/>
                    <a:gd name="connsiteX5" fmla="*/ 12978 w 26314"/>
                    <a:gd name="connsiteY5" fmla="*/ 27870 h 30561"/>
                    <a:gd name="connsiteX6" fmla="*/ 4067 w 26314"/>
                    <a:gd name="connsiteY6" fmla="*/ 478 h 30561"/>
                    <a:gd name="connsiteX7" fmla="*/ 5681 w 26314"/>
                    <a:gd name="connsiteY7" fmla="*/ 0 h 30561"/>
                    <a:gd name="connsiteX8" fmla="*/ 14413 w 26314"/>
                    <a:gd name="connsiteY8" fmla="*/ 21710 h 30561"/>
                    <a:gd name="connsiteX9" fmla="*/ 24102 w 26314"/>
                    <a:gd name="connsiteY9" fmla="*/ 29485 h 30561"/>
                    <a:gd name="connsiteX10" fmla="*/ 26315 w 26314"/>
                    <a:gd name="connsiteY10" fmla="*/ 30561 h 30561"/>
                    <a:gd name="connsiteX11" fmla="*/ 26315 w 26314"/>
                    <a:gd name="connsiteY11" fmla="*/ 30442 h 3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14" h="30561">
                      <a:moveTo>
                        <a:pt x="26315" y="30442"/>
                      </a:moveTo>
                      <a:cubicBezTo>
                        <a:pt x="20274" y="30263"/>
                        <a:pt x="14294" y="30023"/>
                        <a:pt x="9868" y="29904"/>
                      </a:cubicBezTo>
                      <a:cubicBezTo>
                        <a:pt x="6280" y="21112"/>
                        <a:pt x="3110" y="13337"/>
                        <a:pt x="0" y="5562"/>
                      </a:cubicBezTo>
                      <a:cubicBezTo>
                        <a:pt x="658" y="5263"/>
                        <a:pt x="1316" y="5024"/>
                        <a:pt x="1914" y="4725"/>
                      </a:cubicBezTo>
                      <a:cubicBezTo>
                        <a:pt x="5143" y="12619"/>
                        <a:pt x="8373" y="20514"/>
                        <a:pt x="11543" y="28408"/>
                      </a:cubicBezTo>
                      <a:cubicBezTo>
                        <a:pt x="12021" y="28229"/>
                        <a:pt x="12500" y="28050"/>
                        <a:pt x="12978" y="27870"/>
                      </a:cubicBezTo>
                      <a:cubicBezTo>
                        <a:pt x="11543" y="18421"/>
                        <a:pt x="4306" y="10227"/>
                        <a:pt x="4067" y="478"/>
                      </a:cubicBezTo>
                      <a:cubicBezTo>
                        <a:pt x="4605" y="299"/>
                        <a:pt x="5143" y="179"/>
                        <a:pt x="5681" y="0"/>
                      </a:cubicBezTo>
                      <a:cubicBezTo>
                        <a:pt x="8612" y="7237"/>
                        <a:pt x="11842" y="14354"/>
                        <a:pt x="14413" y="21710"/>
                      </a:cubicBezTo>
                      <a:cubicBezTo>
                        <a:pt x="16208" y="26913"/>
                        <a:pt x="18660" y="30143"/>
                        <a:pt x="24102" y="29485"/>
                      </a:cubicBezTo>
                      <a:cubicBezTo>
                        <a:pt x="24760" y="29425"/>
                        <a:pt x="25537" y="30203"/>
                        <a:pt x="26315" y="30561"/>
                      </a:cubicBezTo>
                      <a:lnTo>
                        <a:pt x="26315" y="30442"/>
                      </a:lnTo>
                      <a:close/>
                    </a:path>
                  </a:pathLst>
                </a:custGeom>
                <a:grpFill/>
                <a:ln w="6350" cap="flat">
                  <a:solidFill>
                    <a:schemeClr val="bg1">
                      <a:alpha val="40000"/>
                    </a:schemeClr>
                  </a:solidFill>
                  <a:prstDash val="solid"/>
                  <a:miter/>
                </a:ln>
              </p:spPr>
              <p:txBody>
                <a:bodyPr rtlCol="0" anchor="ctr"/>
                <a:lstStyle/>
                <a:p>
                  <a:endParaRPr lang="en-GB"/>
                </a:p>
              </p:txBody>
            </p:sp>
            <p:sp>
              <p:nvSpPr>
                <p:cNvPr id="9495" name="Vrije vorm: vorm 9494">
                  <a:extLst>
                    <a:ext uri="{FF2B5EF4-FFF2-40B4-BE49-F238E27FC236}">
                      <a16:creationId xmlns:a16="http://schemas.microsoft.com/office/drawing/2014/main" id="{431DDCA6-35F7-4812-A476-DF385859540F}"/>
                    </a:ext>
                  </a:extLst>
                </p:cNvPr>
                <p:cNvSpPr/>
                <p:nvPr/>
              </p:nvSpPr>
              <p:spPr>
                <a:xfrm>
                  <a:off x="5490920" y="1949038"/>
                  <a:ext cx="40250" cy="97605"/>
                </a:xfrm>
                <a:custGeom>
                  <a:avLst/>
                  <a:gdLst>
                    <a:gd name="connsiteX0" fmla="*/ 39592 w 40250"/>
                    <a:gd name="connsiteY0" fmla="*/ 97605 h 97605"/>
                    <a:gd name="connsiteX1" fmla="*/ 0 w 40250"/>
                    <a:gd name="connsiteY1" fmla="*/ 239 h 97605"/>
                    <a:gd name="connsiteX2" fmla="*/ 658 w 40250"/>
                    <a:gd name="connsiteY2" fmla="*/ 0 h 97605"/>
                    <a:gd name="connsiteX3" fmla="*/ 40250 w 40250"/>
                    <a:gd name="connsiteY3" fmla="*/ 97426 h 97605"/>
                    <a:gd name="connsiteX4" fmla="*/ 39592 w 40250"/>
                    <a:gd name="connsiteY4" fmla="*/ 97605 h 97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50" h="97605">
                      <a:moveTo>
                        <a:pt x="39592" y="97605"/>
                      </a:moveTo>
                      <a:cubicBezTo>
                        <a:pt x="26375" y="65130"/>
                        <a:pt x="13217" y="32715"/>
                        <a:pt x="0" y="239"/>
                      </a:cubicBezTo>
                      <a:cubicBezTo>
                        <a:pt x="239" y="179"/>
                        <a:pt x="418" y="60"/>
                        <a:pt x="658" y="0"/>
                      </a:cubicBezTo>
                      <a:cubicBezTo>
                        <a:pt x="13875" y="32475"/>
                        <a:pt x="27092" y="64951"/>
                        <a:pt x="40250" y="97426"/>
                      </a:cubicBezTo>
                      <a:cubicBezTo>
                        <a:pt x="40011" y="97486"/>
                        <a:pt x="39772" y="97546"/>
                        <a:pt x="39592" y="9760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96" name="Vrije vorm: vorm 9495">
                  <a:extLst>
                    <a:ext uri="{FF2B5EF4-FFF2-40B4-BE49-F238E27FC236}">
                      <a16:creationId xmlns:a16="http://schemas.microsoft.com/office/drawing/2014/main" id="{CA8A10B3-ACC3-44F9-855D-5895194E12E6}"/>
                    </a:ext>
                  </a:extLst>
                </p:cNvPr>
                <p:cNvSpPr/>
                <p:nvPr/>
              </p:nvSpPr>
              <p:spPr>
                <a:xfrm>
                  <a:off x="5174899" y="1850954"/>
                  <a:ext cx="26374" cy="62678"/>
                </a:xfrm>
                <a:custGeom>
                  <a:avLst/>
                  <a:gdLst>
                    <a:gd name="connsiteX0" fmla="*/ 1076 w 26374"/>
                    <a:gd name="connsiteY0" fmla="*/ 0 h 62678"/>
                    <a:gd name="connsiteX1" fmla="*/ 26375 w 26374"/>
                    <a:gd name="connsiteY1" fmla="*/ 62200 h 62678"/>
                    <a:gd name="connsiteX2" fmla="*/ 25298 w 26374"/>
                    <a:gd name="connsiteY2" fmla="*/ 62678 h 62678"/>
                    <a:gd name="connsiteX3" fmla="*/ 0 w 26374"/>
                    <a:gd name="connsiteY3" fmla="*/ 478 h 62678"/>
                    <a:gd name="connsiteX4" fmla="*/ 1076 w 26374"/>
                    <a:gd name="connsiteY4" fmla="*/ 0 h 62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 h="62678">
                      <a:moveTo>
                        <a:pt x="1076" y="0"/>
                      </a:moveTo>
                      <a:cubicBezTo>
                        <a:pt x="9510" y="20753"/>
                        <a:pt x="17942" y="41446"/>
                        <a:pt x="26375" y="62200"/>
                      </a:cubicBezTo>
                      <a:cubicBezTo>
                        <a:pt x="26016" y="62379"/>
                        <a:pt x="25657" y="62499"/>
                        <a:pt x="25298" y="62678"/>
                      </a:cubicBezTo>
                      <a:cubicBezTo>
                        <a:pt x="16866" y="41925"/>
                        <a:pt x="8433" y="21172"/>
                        <a:pt x="0" y="478"/>
                      </a:cubicBezTo>
                      <a:cubicBezTo>
                        <a:pt x="359" y="239"/>
                        <a:pt x="718" y="120"/>
                        <a:pt x="1076"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97" name="Vrije vorm: vorm 9496">
                  <a:extLst>
                    <a:ext uri="{FF2B5EF4-FFF2-40B4-BE49-F238E27FC236}">
                      <a16:creationId xmlns:a16="http://schemas.microsoft.com/office/drawing/2014/main" id="{1DA1B1FB-984E-4DDC-AA0D-A099DC061799}"/>
                    </a:ext>
                  </a:extLst>
                </p:cNvPr>
                <p:cNvSpPr/>
                <p:nvPr/>
              </p:nvSpPr>
              <p:spPr>
                <a:xfrm>
                  <a:off x="5536673" y="1926490"/>
                  <a:ext cx="28049" cy="69376"/>
                </a:xfrm>
                <a:custGeom>
                  <a:avLst/>
                  <a:gdLst>
                    <a:gd name="connsiteX0" fmla="*/ 28050 w 28049"/>
                    <a:gd name="connsiteY0" fmla="*/ 69376 h 69376"/>
                    <a:gd name="connsiteX1" fmla="*/ 0 w 28049"/>
                    <a:gd name="connsiteY1" fmla="*/ 957 h 69376"/>
                    <a:gd name="connsiteX2" fmla="*/ 2632 w 28049"/>
                    <a:gd name="connsiteY2" fmla="*/ 0 h 69376"/>
                    <a:gd name="connsiteX3" fmla="*/ 28050 w 28049"/>
                    <a:gd name="connsiteY3" fmla="*/ 69376 h 69376"/>
                  </a:gdLst>
                  <a:ahLst/>
                  <a:cxnLst>
                    <a:cxn ang="0">
                      <a:pos x="connsiteX0" y="connsiteY0"/>
                    </a:cxn>
                    <a:cxn ang="0">
                      <a:pos x="connsiteX1" y="connsiteY1"/>
                    </a:cxn>
                    <a:cxn ang="0">
                      <a:pos x="connsiteX2" y="connsiteY2"/>
                    </a:cxn>
                    <a:cxn ang="0">
                      <a:pos x="connsiteX3" y="connsiteY3"/>
                    </a:cxn>
                  </a:cxnLst>
                  <a:rect l="l" t="t" r="r" b="b"/>
                  <a:pathLst>
                    <a:path w="28049" h="69376">
                      <a:moveTo>
                        <a:pt x="28050" y="69376"/>
                      </a:moveTo>
                      <a:cubicBezTo>
                        <a:pt x="17823" y="46949"/>
                        <a:pt x="9151" y="23863"/>
                        <a:pt x="0" y="957"/>
                      </a:cubicBezTo>
                      <a:cubicBezTo>
                        <a:pt x="897" y="658"/>
                        <a:pt x="1735" y="359"/>
                        <a:pt x="2632" y="0"/>
                      </a:cubicBezTo>
                      <a:cubicBezTo>
                        <a:pt x="11065" y="23205"/>
                        <a:pt x="19557" y="46291"/>
                        <a:pt x="28050" y="6937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98" name="Vrije vorm: vorm 9497">
                  <a:extLst>
                    <a:ext uri="{FF2B5EF4-FFF2-40B4-BE49-F238E27FC236}">
                      <a16:creationId xmlns:a16="http://schemas.microsoft.com/office/drawing/2014/main" id="{59299F6E-A211-444A-886B-9BF1A3D4C0FF}"/>
                    </a:ext>
                  </a:extLst>
                </p:cNvPr>
                <p:cNvSpPr/>
                <p:nvPr/>
              </p:nvSpPr>
              <p:spPr>
                <a:xfrm>
                  <a:off x="5147328" y="1047444"/>
                  <a:ext cx="67283" cy="62020"/>
                </a:xfrm>
                <a:custGeom>
                  <a:avLst/>
                  <a:gdLst>
                    <a:gd name="connsiteX0" fmla="*/ 0 w 67283"/>
                    <a:gd name="connsiteY0" fmla="*/ 10885 h 62020"/>
                    <a:gd name="connsiteX1" fmla="*/ 22428 w 67283"/>
                    <a:gd name="connsiteY1" fmla="*/ 4605 h 62020"/>
                    <a:gd name="connsiteX2" fmla="*/ 42224 w 67283"/>
                    <a:gd name="connsiteY2" fmla="*/ 0 h 62020"/>
                    <a:gd name="connsiteX3" fmla="*/ 67283 w 67283"/>
                    <a:gd name="connsiteY3" fmla="*/ 61601 h 62020"/>
                    <a:gd name="connsiteX4" fmla="*/ 66267 w 67283"/>
                    <a:gd name="connsiteY4" fmla="*/ 62020 h 62020"/>
                    <a:gd name="connsiteX5" fmla="*/ 41805 w 67283"/>
                    <a:gd name="connsiteY5" fmla="*/ 1854 h 62020"/>
                    <a:gd name="connsiteX6" fmla="*/ 60 w 67283"/>
                    <a:gd name="connsiteY6" fmla="*/ 10765 h 62020"/>
                    <a:gd name="connsiteX7" fmla="*/ 0 w 67283"/>
                    <a:gd name="connsiteY7" fmla="*/ 10885 h 6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83" h="62020">
                      <a:moveTo>
                        <a:pt x="0" y="10885"/>
                      </a:moveTo>
                      <a:cubicBezTo>
                        <a:pt x="7476" y="8792"/>
                        <a:pt x="14952" y="6579"/>
                        <a:pt x="22428" y="4605"/>
                      </a:cubicBezTo>
                      <a:cubicBezTo>
                        <a:pt x="29066" y="2871"/>
                        <a:pt x="35824" y="1495"/>
                        <a:pt x="42224" y="0"/>
                      </a:cubicBezTo>
                      <a:cubicBezTo>
                        <a:pt x="50537" y="20454"/>
                        <a:pt x="58910" y="41028"/>
                        <a:pt x="67283" y="61601"/>
                      </a:cubicBezTo>
                      <a:cubicBezTo>
                        <a:pt x="66924" y="61721"/>
                        <a:pt x="66565" y="61900"/>
                        <a:pt x="66267" y="62020"/>
                      </a:cubicBezTo>
                      <a:cubicBezTo>
                        <a:pt x="58192" y="42164"/>
                        <a:pt x="50118" y="22308"/>
                        <a:pt x="41805" y="1854"/>
                      </a:cubicBezTo>
                      <a:cubicBezTo>
                        <a:pt x="27691" y="4844"/>
                        <a:pt x="13875" y="7775"/>
                        <a:pt x="60" y="10765"/>
                      </a:cubicBezTo>
                      <a:cubicBezTo>
                        <a:pt x="60" y="10765"/>
                        <a:pt x="0" y="10885"/>
                        <a:pt x="0" y="1088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499" name="Vrije vorm: vorm 9498">
                  <a:extLst>
                    <a:ext uri="{FF2B5EF4-FFF2-40B4-BE49-F238E27FC236}">
                      <a16:creationId xmlns:a16="http://schemas.microsoft.com/office/drawing/2014/main" id="{48E7EE35-5A62-4589-BC3A-CDC050377734}"/>
                    </a:ext>
                  </a:extLst>
                </p:cNvPr>
                <p:cNvSpPr/>
                <p:nvPr/>
              </p:nvSpPr>
              <p:spPr>
                <a:xfrm>
                  <a:off x="5527463" y="1936717"/>
                  <a:ext cx="38336" cy="93299"/>
                </a:xfrm>
                <a:custGeom>
                  <a:avLst/>
                  <a:gdLst>
                    <a:gd name="connsiteX0" fmla="*/ 479 w 38336"/>
                    <a:gd name="connsiteY0" fmla="*/ 0 h 93299"/>
                    <a:gd name="connsiteX1" fmla="*/ 38336 w 38336"/>
                    <a:gd name="connsiteY1" fmla="*/ 93120 h 93299"/>
                    <a:gd name="connsiteX2" fmla="*/ 37858 w 38336"/>
                    <a:gd name="connsiteY2" fmla="*/ 93299 h 93299"/>
                    <a:gd name="connsiteX3" fmla="*/ 0 w 38336"/>
                    <a:gd name="connsiteY3" fmla="*/ 180 h 93299"/>
                    <a:gd name="connsiteX4" fmla="*/ 479 w 38336"/>
                    <a:gd name="connsiteY4" fmla="*/ 0 h 93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6" h="93299">
                      <a:moveTo>
                        <a:pt x="479" y="0"/>
                      </a:moveTo>
                      <a:cubicBezTo>
                        <a:pt x="13098" y="31040"/>
                        <a:pt x="25717" y="62080"/>
                        <a:pt x="38336" y="93120"/>
                      </a:cubicBezTo>
                      <a:cubicBezTo>
                        <a:pt x="38157" y="93180"/>
                        <a:pt x="38037" y="93240"/>
                        <a:pt x="37858" y="93299"/>
                      </a:cubicBezTo>
                      <a:cubicBezTo>
                        <a:pt x="25238" y="62259"/>
                        <a:pt x="12619" y="31219"/>
                        <a:pt x="0" y="180"/>
                      </a:cubicBezTo>
                      <a:cubicBezTo>
                        <a:pt x="120" y="120"/>
                        <a:pt x="299" y="60"/>
                        <a:pt x="47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00" name="Vrije vorm: vorm 9499">
                  <a:extLst>
                    <a:ext uri="{FF2B5EF4-FFF2-40B4-BE49-F238E27FC236}">
                      <a16:creationId xmlns:a16="http://schemas.microsoft.com/office/drawing/2014/main" id="{20BECE0B-2E58-43C2-8DB5-69068F14BB01}"/>
                    </a:ext>
                  </a:extLst>
                </p:cNvPr>
                <p:cNvSpPr/>
                <p:nvPr/>
              </p:nvSpPr>
              <p:spPr>
                <a:xfrm>
                  <a:off x="5530333" y="1934863"/>
                  <a:ext cx="39114" cy="94196"/>
                </a:xfrm>
                <a:custGeom>
                  <a:avLst/>
                  <a:gdLst>
                    <a:gd name="connsiteX0" fmla="*/ 957 w 39114"/>
                    <a:gd name="connsiteY0" fmla="*/ 0 h 94196"/>
                    <a:gd name="connsiteX1" fmla="*/ 39114 w 39114"/>
                    <a:gd name="connsiteY1" fmla="*/ 93778 h 94196"/>
                    <a:gd name="connsiteX2" fmla="*/ 38097 w 39114"/>
                    <a:gd name="connsiteY2" fmla="*/ 94196 h 94196"/>
                    <a:gd name="connsiteX3" fmla="*/ 0 w 39114"/>
                    <a:gd name="connsiteY3" fmla="*/ 538 h 94196"/>
                    <a:gd name="connsiteX4" fmla="*/ 957 w 39114"/>
                    <a:gd name="connsiteY4" fmla="*/ 0 h 94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14" h="94196">
                      <a:moveTo>
                        <a:pt x="957" y="0"/>
                      </a:moveTo>
                      <a:cubicBezTo>
                        <a:pt x="13696" y="31279"/>
                        <a:pt x="26375" y="62499"/>
                        <a:pt x="39114" y="93778"/>
                      </a:cubicBezTo>
                      <a:cubicBezTo>
                        <a:pt x="38755" y="93897"/>
                        <a:pt x="38456" y="94077"/>
                        <a:pt x="38097" y="94196"/>
                      </a:cubicBezTo>
                      <a:cubicBezTo>
                        <a:pt x="25418" y="62977"/>
                        <a:pt x="12679" y="31758"/>
                        <a:pt x="0" y="538"/>
                      </a:cubicBezTo>
                      <a:cubicBezTo>
                        <a:pt x="299" y="359"/>
                        <a:pt x="658" y="179"/>
                        <a:pt x="957"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01" name="Vrije vorm: vorm 9500">
                  <a:extLst>
                    <a:ext uri="{FF2B5EF4-FFF2-40B4-BE49-F238E27FC236}">
                      <a16:creationId xmlns:a16="http://schemas.microsoft.com/office/drawing/2014/main" id="{2DFA8B19-897A-410A-83D8-498C97144D1E}"/>
                    </a:ext>
                  </a:extLst>
                </p:cNvPr>
                <p:cNvSpPr/>
                <p:nvPr/>
              </p:nvSpPr>
              <p:spPr>
                <a:xfrm>
                  <a:off x="4756248" y="1931335"/>
                  <a:ext cx="32236" cy="59747"/>
                </a:xfrm>
                <a:custGeom>
                  <a:avLst/>
                  <a:gdLst>
                    <a:gd name="connsiteX0" fmla="*/ 4964 w 32236"/>
                    <a:gd name="connsiteY0" fmla="*/ 1136 h 59747"/>
                    <a:gd name="connsiteX1" fmla="*/ 4725 w 32236"/>
                    <a:gd name="connsiteY1" fmla="*/ 9150 h 59747"/>
                    <a:gd name="connsiteX2" fmla="*/ 18241 w 32236"/>
                    <a:gd name="connsiteY2" fmla="*/ 2452 h 59747"/>
                    <a:gd name="connsiteX3" fmla="*/ 18959 w 32236"/>
                    <a:gd name="connsiteY3" fmla="*/ 3708 h 59747"/>
                    <a:gd name="connsiteX4" fmla="*/ 9928 w 32236"/>
                    <a:gd name="connsiteY4" fmla="*/ 8074 h 59747"/>
                    <a:gd name="connsiteX5" fmla="*/ 7297 w 32236"/>
                    <a:gd name="connsiteY5" fmla="*/ 15131 h 59747"/>
                    <a:gd name="connsiteX6" fmla="*/ 24581 w 32236"/>
                    <a:gd name="connsiteY6" fmla="*/ 54724 h 59747"/>
                    <a:gd name="connsiteX7" fmla="*/ 32236 w 32236"/>
                    <a:gd name="connsiteY7" fmla="*/ 59149 h 59747"/>
                    <a:gd name="connsiteX8" fmla="*/ 24282 w 32236"/>
                    <a:gd name="connsiteY8" fmla="*/ 59747 h 59747"/>
                    <a:gd name="connsiteX9" fmla="*/ 0 w 32236"/>
                    <a:gd name="connsiteY9" fmla="*/ 0 h 59747"/>
                    <a:gd name="connsiteX10" fmla="*/ 4904 w 32236"/>
                    <a:gd name="connsiteY10" fmla="*/ 1316 h 59747"/>
                    <a:gd name="connsiteX11" fmla="*/ 4964 w 32236"/>
                    <a:gd name="connsiteY11" fmla="*/ 1136 h 5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36" h="59747">
                      <a:moveTo>
                        <a:pt x="4964" y="1136"/>
                      </a:moveTo>
                      <a:cubicBezTo>
                        <a:pt x="60" y="2990"/>
                        <a:pt x="4366" y="5682"/>
                        <a:pt x="4725" y="9150"/>
                      </a:cubicBezTo>
                      <a:cubicBezTo>
                        <a:pt x="9629" y="6758"/>
                        <a:pt x="13935" y="4605"/>
                        <a:pt x="18241" y="2452"/>
                      </a:cubicBezTo>
                      <a:cubicBezTo>
                        <a:pt x="18481" y="2871"/>
                        <a:pt x="18720" y="3289"/>
                        <a:pt x="18959" y="3708"/>
                      </a:cubicBezTo>
                      <a:cubicBezTo>
                        <a:pt x="15968" y="5203"/>
                        <a:pt x="13038" y="6878"/>
                        <a:pt x="9928" y="8074"/>
                      </a:cubicBezTo>
                      <a:cubicBezTo>
                        <a:pt x="6519" y="9330"/>
                        <a:pt x="5502" y="11064"/>
                        <a:pt x="7297" y="15131"/>
                      </a:cubicBezTo>
                      <a:cubicBezTo>
                        <a:pt x="13158" y="28289"/>
                        <a:pt x="18361" y="41745"/>
                        <a:pt x="24581" y="54724"/>
                      </a:cubicBezTo>
                      <a:cubicBezTo>
                        <a:pt x="25717" y="57176"/>
                        <a:pt x="30083" y="58013"/>
                        <a:pt x="32236" y="59149"/>
                      </a:cubicBezTo>
                      <a:cubicBezTo>
                        <a:pt x="30561" y="59269"/>
                        <a:pt x="27631" y="59508"/>
                        <a:pt x="24282" y="59747"/>
                      </a:cubicBezTo>
                      <a:cubicBezTo>
                        <a:pt x="16268" y="40071"/>
                        <a:pt x="8313" y="20454"/>
                        <a:pt x="0" y="0"/>
                      </a:cubicBezTo>
                      <a:cubicBezTo>
                        <a:pt x="1854" y="478"/>
                        <a:pt x="3349" y="897"/>
                        <a:pt x="4904" y="1316"/>
                      </a:cubicBezTo>
                      <a:lnTo>
                        <a:pt x="4964" y="1136"/>
                      </a:lnTo>
                      <a:close/>
                    </a:path>
                  </a:pathLst>
                </a:custGeom>
                <a:grpFill/>
                <a:ln w="6350" cap="flat">
                  <a:solidFill>
                    <a:schemeClr val="bg1">
                      <a:alpha val="40000"/>
                    </a:schemeClr>
                  </a:solidFill>
                  <a:prstDash val="solid"/>
                  <a:miter/>
                </a:ln>
              </p:spPr>
              <p:txBody>
                <a:bodyPr rtlCol="0" anchor="ctr"/>
                <a:lstStyle/>
                <a:p>
                  <a:endParaRPr lang="en-GB"/>
                </a:p>
              </p:txBody>
            </p:sp>
            <p:sp>
              <p:nvSpPr>
                <p:cNvPr id="9502" name="Vrije vorm: vorm 9501">
                  <a:extLst>
                    <a:ext uri="{FF2B5EF4-FFF2-40B4-BE49-F238E27FC236}">
                      <a16:creationId xmlns:a16="http://schemas.microsoft.com/office/drawing/2014/main" id="{A9DF5E63-268C-4BFE-ABE6-D1F3928175E0}"/>
                    </a:ext>
                  </a:extLst>
                </p:cNvPr>
                <p:cNvSpPr/>
                <p:nvPr/>
              </p:nvSpPr>
              <p:spPr>
                <a:xfrm>
                  <a:off x="5444207" y="1936682"/>
                  <a:ext cx="56524" cy="136909"/>
                </a:xfrm>
                <a:custGeom>
                  <a:avLst/>
                  <a:gdLst>
                    <a:gd name="connsiteX0" fmla="*/ 28761 w 56524"/>
                    <a:gd name="connsiteY0" fmla="*/ 68252 h 136909"/>
                    <a:gd name="connsiteX1" fmla="*/ 56026 w 56524"/>
                    <a:gd name="connsiteY1" fmla="*/ 136707 h 136909"/>
                    <a:gd name="connsiteX2" fmla="*/ 27763 w 56524"/>
                    <a:gd name="connsiteY2" fmla="*/ 68658 h 136909"/>
                    <a:gd name="connsiteX3" fmla="*/ 499 w 56524"/>
                    <a:gd name="connsiteY3" fmla="*/ 203 h 136909"/>
                    <a:gd name="connsiteX4" fmla="*/ 28761 w 56524"/>
                    <a:gd name="connsiteY4" fmla="*/ 68252 h 136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24" h="136909">
                      <a:moveTo>
                        <a:pt x="28761" y="68252"/>
                      </a:moveTo>
                      <a:cubicBezTo>
                        <a:pt x="44094" y="105947"/>
                        <a:pt x="56301" y="136595"/>
                        <a:pt x="56026" y="136707"/>
                      </a:cubicBezTo>
                      <a:cubicBezTo>
                        <a:pt x="55750" y="136819"/>
                        <a:pt x="43097" y="106352"/>
                        <a:pt x="27763" y="68658"/>
                      </a:cubicBezTo>
                      <a:cubicBezTo>
                        <a:pt x="12430" y="30963"/>
                        <a:pt x="223" y="315"/>
                        <a:pt x="499" y="203"/>
                      </a:cubicBezTo>
                      <a:cubicBezTo>
                        <a:pt x="774" y="91"/>
                        <a:pt x="13427" y="30557"/>
                        <a:pt x="28761" y="6825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03" name="Vrije vorm: vorm 9502">
                  <a:extLst>
                    <a:ext uri="{FF2B5EF4-FFF2-40B4-BE49-F238E27FC236}">
                      <a16:creationId xmlns:a16="http://schemas.microsoft.com/office/drawing/2014/main" id="{A1D7A8CA-47D1-4DFD-A17C-AB0D18B56808}"/>
                    </a:ext>
                  </a:extLst>
                </p:cNvPr>
                <p:cNvSpPr/>
                <p:nvPr/>
              </p:nvSpPr>
              <p:spPr>
                <a:xfrm>
                  <a:off x="4596025" y="2204773"/>
                  <a:ext cx="41326" cy="97844"/>
                </a:xfrm>
                <a:custGeom>
                  <a:avLst/>
                  <a:gdLst>
                    <a:gd name="connsiteX0" fmla="*/ 0 w 41326"/>
                    <a:gd name="connsiteY0" fmla="*/ 0 h 97844"/>
                    <a:gd name="connsiteX1" fmla="*/ 41327 w 41326"/>
                    <a:gd name="connsiteY1" fmla="*/ 97187 h 97844"/>
                    <a:gd name="connsiteX2" fmla="*/ 39772 w 41326"/>
                    <a:gd name="connsiteY2" fmla="*/ 97845 h 97844"/>
                    <a:gd name="connsiteX3" fmla="*/ 0 w 41326"/>
                    <a:gd name="connsiteY3" fmla="*/ 0 h 97844"/>
                  </a:gdLst>
                  <a:ahLst/>
                  <a:cxnLst>
                    <a:cxn ang="0">
                      <a:pos x="connsiteX0" y="connsiteY0"/>
                    </a:cxn>
                    <a:cxn ang="0">
                      <a:pos x="connsiteX1" y="connsiteY1"/>
                    </a:cxn>
                    <a:cxn ang="0">
                      <a:pos x="connsiteX2" y="connsiteY2"/>
                    </a:cxn>
                    <a:cxn ang="0">
                      <a:pos x="connsiteX3" y="connsiteY3"/>
                    </a:cxn>
                  </a:cxnLst>
                  <a:rect l="l" t="t" r="r" b="b"/>
                  <a:pathLst>
                    <a:path w="41326" h="97844">
                      <a:moveTo>
                        <a:pt x="0" y="0"/>
                      </a:moveTo>
                      <a:cubicBezTo>
                        <a:pt x="13277" y="31160"/>
                        <a:pt x="27272" y="64173"/>
                        <a:pt x="41327" y="97187"/>
                      </a:cubicBezTo>
                      <a:cubicBezTo>
                        <a:pt x="40789" y="97426"/>
                        <a:pt x="40310" y="97605"/>
                        <a:pt x="39772" y="97845"/>
                      </a:cubicBezTo>
                      <a:cubicBezTo>
                        <a:pt x="26255" y="64592"/>
                        <a:pt x="12739" y="31339"/>
                        <a:pt x="0"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04" name="Vrije vorm: vorm 9503">
                  <a:extLst>
                    <a:ext uri="{FF2B5EF4-FFF2-40B4-BE49-F238E27FC236}">
                      <a16:creationId xmlns:a16="http://schemas.microsoft.com/office/drawing/2014/main" id="{F37BFEAB-661C-4BDB-866E-1BD32F2C779C}"/>
                    </a:ext>
                  </a:extLst>
                </p:cNvPr>
                <p:cNvSpPr/>
                <p:nvPr/>
              </p:nvSpPr>
              <p:spPr>
                <a:xfrm>
                  <a:off x="4879033" y="1340679"/>
                  <a:ext cx="24042" cy="58132"/>
                </a:xfrm>
                <a:custGeom>
                  <a:avLst/>
                  <a:gdLst>
                    <a:gd name="connsiteX0" fmla="*/ 23564 w 24042"/>
                    <a:gd name="connsiteY0" fmla="*/ 58133 h 58132"/>
                    <a:gd name="connsiteX1" fmla="*/ 0 w 24042"/>
                    <a:gd name="connsiteY1" fmla="*/ 239 h 58132"/>
                    <a:gd name="connsiteX2" fmla="*/ 538 w 24042"/>
                    <a:gd name="connsiteY2" fmla="*/ 0 h 58132"/>
                    <a:gd name="connsiteX3" fmla="*/ 24042 w 24042"/>
                    <a:gd name="connsiteY3" fmla="*/ 57834 h 58132"/>
                    <a:gd name="connsiteX4" fmla="*/ 23564 w 24042"/>
                    <a:gd name="connsiteY4" fmla="*/ 58133 h 58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2" h="58132">
                      <a:moveTo>
                        <a:pt x="23564" y="58133"/>
                      </a:moveTo>
                      <a:cubicBezTo>
                        <a:pt x="15729" y="38815"/>
                        <a:pt x="7894" y="19557"/>
                        <a:pt x="0" y="239"/>
                      </a:cubicBezTo>
                      <a:cubicBezTo>
                        <a:pt x="179" y="179"/>
                        <a:pt x="359" y="60"/>
                        <a:pt x="538" y="0"/>
                      </a:cubicBezTo>
                      <a:cubicBezTo>
                        <a:pt x="8373" y="19258"/>
                        <a:pt x="16208" y="38516"/>
                        <a:pt x="24042" y="57834"/>
                      </a:cubicBezTo>
                      <a:cubicBezTo>
                        <a:pt x="23923" y="57893"/>
                        <a:pt x="23743" y="58013"/>
                        <a:pt x="23564" y="5813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05" name="Vrije vorm: vorm 9504">
                  <a:extLst>
                    <a:ext uri="{FF2B5EF4-FFF2-40B4-BE49-F238E27FC236}">
                      <a16:creationId xmlns:a16="http://schemas.microsoft.com/office/drawing/2014/main" id="{CC58F1F0-F701-4223-9CD2-9400821B9620}"/>
                    </a:ext>
                  </a:extLst>
                </p:cNvPr>
                <p:cNvSpPr/>
                <p:nvPr/>
              </p:nvSpPr>
              <p:spPr>
                <a:xfrm>
                  <a:off x="4941651" y="1494204"/>
                  <a:ext cx="23803" cy="57474"/>
                </a:xfrm>
                <a:custGeom>
                  <a:avLst/>
                  <a:gdLst>
                    <a:gd name="connsiteX0" fmla="*/ 538 w 23803"/>
                    <a:gd name="connsiteY0" fmla="*/ 0 h 57474"/>
                    <a:gd name="connsiteX1" fmla="*/ 23803 w 23803"/>
                    <a:gd name="connsiteY1" fmla="*/ 57235 h 57474"/>
                    <a:gd name="connsiteX2" fmla="*/ 23325 w 23803"/>
                    <a:gd name="connsiteY2" fmla="*/ 57475 h 57474"/>
                    <a:gd name="connsiteX3" fmla="*/ 0 w 23803"/>
                    <a:gd name="connsiteY3" fmla="*/ 179 h 57474"/>
                    <a:gd name="connsiteX4" fmla="*/ 538 w 23803"/>
                    <a:gd name="connsiteY4" fmla="*/ 0 h 57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03" h="57474">
                      <a:moveTo>
                        <a:pt x="538" y="0"/>
                      </a:moveTo>
                      <a:cubicBezTo>
                        <a:pt x="8313" y="19079"/>
                        <a:pt x="16088" y="38157"/>
                        <a:pt x="23803" y="57235"/>
                      </a:cubicBezTo>
                      <a:cubicBezTo>
                        <a:pt x="23624" y="57295"/>
                        <a:pt x="23444" y="57415"/>
                        <a:pt x="23325" y="57475"/>
                      </a:cubicBezTo>
                      <a:cubicBezTo>
                        <a:pt x="15550" y="38396"/>
                        <a:pt x="7775" y="19258"/>
                        <a:pt x="0" y="179"/>
                      </a:cubicBezTo>
                      <a:cubicBezTo>
                        <a:pt x="180" y="179"/>
                        <a:pt x="359" y="60"/>
                        <a:pt x="53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06" name="Vrije vorm: vorm 9505">
                  <a:extLst>
                    <a:ext uri="{FF2B5EF4-FFF2-40B4-BE49-F238E27FC236}">
                      <a16:creationId xmlns:a16="http://schemas.microsoft.com/office/drawing/2014/main" id="{4A924587-4712-4F7A-8195-531CF9923173}"/>
                    </a:ext>
                  </a:extLst>
                </p:cNvPr>
                <p:cNvSpPr/>
                <p:nvPr/>
              </p:nvSpPr>
              <p:spPr>
                <a:xfrm>
                  <a:off x="5139254" y="1847485"/>
                  <a:ext cx="38097" cy="68359"/>
                </a:xfrm>
                <a:custGeom>
                  <a:avLst/>
                  <a:gdLst>
                    <a:gd name="connsiteX0" fmla="*/ 0 w 38097"/>
                    <a:gd name="connsiteY0" fmla="*/ 3469 h 68359"/>
                    <a:gd name="connsiteX1" fmla="*/ 28648 w 38097"/>
                    <a:gd name="connsiteY1" fmla="*/ 0 h 68359"/>
                    <a:gd name="connsiteX2" fmla="*/ 28887 w 38097"/>
                    <a:gd name="connsiteY2" fmla="*/ 1077 h 68359"/>
                    <a:gd name="connsiteX3" fmla="*/ 2751 w 38097"/>
                    <a:gd name="connsiteY3" fmla="*/ 4665 h 68359"/>
                    <a:gd name="connsiteX4" fmla="*/ 3649 w 38097"/>
                    <a:gd name="connsiteY4" fmla="*/ 8313 h 68359"/>
                    <a:gd name="connsiteX5" fmla="*/ 25538 w 38097"/>
                    <a:gd name="connsiteY5" fmla="*/ 62439 h 68359"/>
                    <a:gd name="connsiteX6" fmla="*/ 31399 w 38097"/>
                    <a:gd name="connsiteY6" fmla="*/ 66386 h 68359"/>
                    <a:gd name="connsiteX7" fmla="*/ 38097 w 38097"/>
                    <a:gd name="connsiteY7" fmla="*/ 66924 h 68359"/>
                    <a:gd name="connsiteX8" fmla="*/ 26375 w 38097"/>
                    <a:gd name="connsiteY8" fmla="*/ 68360 h 68359"/>
                    <a:gd name="connsiteX9" fmla="*/ 0 w 38097"/>
                    <a:gd name="connsiteY9" fmla="*/ 3469 h 6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097" h="68359">
                      <a:moveTo>
                        <a:pt x="0" y="3469"/>
                      </a:moveTo>
                      <a:cubicBezTo>
                        <a:pt x="9868" y="2273"/>
                        <a:pt x="19258" y="1136"/>
                        <a:pt x="28648" y="0"/>
                      </a:cubicBezTo>
                      <a:cubicBezTo>
                        <a:pt x="28708" y="359"/>
                        <a:pt x="28767" y="718"/>
                        <a:pt x="28887" y="1077"/>
                      </a:cubicBezTo>
                      <a:cubicBezTo>
                        <a:pt x="20275" y="2273"/>
                        <a:pt x="11722" y="3469"/>
                        <a:pt x="2751" y="4665"/>
                      </a:cubicBezTo>
                      <a:cubicBezTo>
                        <a:pt x="3110" y="6100"/>
                        <a:pt x="3230" y="7237"/>
                        <a:pt x="3649" y="8313"/>
                      </a:cubicBezTo>
                      <a:cubicBezTo>
                        <a:pt x="10945" y="26375"/>
                        <a:pt x="18361" y="44377"/>
                        <a:pt x="25538" y="62439"/>
                      </a:cubicBezTo>
                      <a:cubicBezTo>
                        <a:pt x="26794" y="65668"/>
                        <a:pt x="28289" y="66984"/>
                        <a:pt x="31399" y="66386"/>
                      </a:cubicBezTo>
                      <a:cubicBezTo>
                        <a:pt x="33492" y="65967"/>
                        <a:pt x="35765" y="66147"/>
                        <a:pt x="38097" y="66924"/>
                      </a:cubicBezTo>
                      <a:cubicBezTo>
                        <a:pt x="34210" y="67403"/>
                        <a:pt x="30322" y="67881"/>
                        <a:pt x="26375" y="68360"/>
                      </a:cubicBezTo>
                      <a:cubicBezTo>
                        <a:pt x="17524" y="46650"/>
                        <a:pt x="8792" y="25179"/>
                        <a:pt x="0" y="346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07" name="Vrije vorm: vorm 9506">
                  <a:extLst>
                    <a:ext uri="{FF2B5EF4-FFF2-40B4-BE49-F238E27FC236}">
                      <a16:creationId xmlns:a16="http://schemas.microsoft.com/office/drawing/2014/main" id="{2F187580-B746-4F84-84E1-476F250388CE}"/>
                    </a:ext>
                  </a:extLst>
                </p:cNvPr>
                <p:cNvSpPr/>
                <p:nvPr/>
              </p:nvSpPr>
              <p:spPr>
                <a:xfrm>
                  <a:off x="5107437" y="1765609"/>
                  <a:ext cx="34508" cy="71828"/>
                </a:xfrm>
                <a:custGeom>
                  <a:avLst/>
                  <a:gdLst>
                    <a:gd name="connsiteX0" fmla="*/ 29784 w 34508"/>
                    <a:gd name="connsiteY0" fmla="*/ 70513 h 71828"/>
                    <a:gd name="connsiteX1" fmla="*/ 26495 w 34508"/>
                    <a:gd name="connsiteY1" fmla="*/ 71828 h 71828"/>
                    <a:gd name="connsiteX2" fmla="*/ 0 w 34508"/>
                    <a:gd name="connsiteY2" fmla="*/ 6698 h 71828"/>
                    <a:gd name="connsiteX3" fmla="*/ 34210 w 34508"/>
                    <a:gd name="connsiteY3" fmla="*/ 0 h 71828"/>
                    <a:gd name="connsiteX4" fmla="*/ 34509 w 34508"/>
                    <a:gd name="connsiteY4" fmla="*/ 1136 h 71828"/>
                    <a:gd name="connsiteX5" fmla="*/ 1973 w 34508"/>
                    <a:gd name="connsiteY5" fmla="*/ 7835 h 71828"/>
                    <a:gd name="connsiteX6" fmla="*/ 6639 w 34508"/>
                    <a:gd name="connsiteY6" fmla="*/ 19377 h 71828"/>
                    <a:gd name="connsiteX7" fmla="*/ 25358 w 34508"/>
                    <a:gd name="connsiteY7" fmla="*/ 65070 h 71828"/>
                    <a:gd name="connsiteX8" fmla="*/ 29784 w 34508"/>
                    <a:gd name="connsiteY8" fmla="*/ 70692 h 71828"/>
                    <a:gd name="connsiteX9" fmla="*/ 29784 w 34508"/>
                    <a:gd name="connsiteY9" fmla="*/ 70513 h 7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08" h="71828">
                      <a:moveTo>
                        <a:pt x="29784" y="70513"/>
                      </a:moveTo>
                      <a:cubicBezTo>
                        <a:pt x="28707" y="70931"/>
                        <a:pt x="27571" y="71410"/>
                        <a:pt x="26495" y="71828"/>
                      </a:cubicBezTo>
                      <a:cubicBezTo>
                        <a:pt x="17643" y="50059"/>
                        <a:pt x="8911" y="28528"/>
                        <a:pt x="0" y="6698"/>
                      </a:cubicBezTo>
                      <a:cubicBezTo>
                        <a:pt x="11363" y="4486"/>
                        <a:pt x="22787" y="2213"/>
                        <a:pt x="34210" y="0"/>
                      </a:cubicBezTo>
                      <a:cubicBezTo>
                        <a:pt x="34329" y="359"/>
                        <a:pt x="34389" y="777"/>
                        <a:pt x="34509" y="1136"/>
                      </a:cubicBezTo>
                      <a:cubicBezTo>
                        <a:pt x="23923" y="3349"/>
                        <a:pt x="13277" y="5502"/>
                        <a:pt x="1973" y="7835"/>
                      </a:cubicBezTo>
                      <a:cubicBezTo>
                        <a:pt x="3648" y="11961"/>
                        <a:pt x="5143" y="15669"/>
                        <a:pt x="6639" y="19377"/>
                      </a:cubicBezTo>
                      <a:cubicBezTo>
                        <a:pt x="12858" y="34628"/>
                        <a:pt x="18959" y="49879"/>
                        <a:pt x="25358" y="65070"/>
                      </a:cubicBezTo>
                      <a:cubicBezTo>
                        <a:pt x="26255" y="67223"/>
                        <a:pt x="28289" y="68838"/>
                        <a:pt x="29784" y="70692"/>
                      </a:cubicBezTo>
                      <a:lnTo>
                        <a:pt x="29784" y="70513"/>
                      </a:lnTo>
                      <a:close/>
                    </a:path>
                  </a:pathLst>
                </a:custGeom>
                <a:grpFill/>
                <a:ln w="6350" cap="flat">
                  <a:solidFill>
                    <a:schemeClr val="bg1">
                      <a:alpha val="40000"/>
                    </a:schemeClr>
                  </a:solidFill>
                  <a:prstDash val="solid"/>
                  <a:miter/>
                </a:ln>
              </p:spPr>
              <p:txBody>
                <a:bodyPr rtlCol="0" anchor="ctr"/>
                <a:lstStyle/>
                <a:p>
                  <a:endParaRPr lang="en-GB"/>
                </a:p>
              </p:txBody>
            </p:sp>
            <p:sp>
              <p:nvSpPr>
                <p:cNvPr id="9508" name="Vrije vorm: vorm 9507">
                  <a:extLst>
                    <a:ext uri="{FF2B5EF4-FFF2-40B4-BE49-F238E27FC236}">
                      <a16:creationId xmlns:a16="http://schemas.microsoft.com/office/drawing/2014/main" id="{5BEE7DDB-87E3-474A-86E6-C576F6FD07CF}"/>
                    </a:ext>
                  </a:extLst>
                </p:cNvPr>
                <p:cNvSpPr/>
                <p:nvPr/>
              </p:nvSpPr>
              <p:spPr>
                <a:xfrm>
                  <a:off x="5099961" y="1852808"/>
                  <a:ext cx="32295" cy="66744"/>
                </a:xfrm>
                <a:custGeom>
                  <a:avLst/>
                  <a:gdLst>
                    <a:gd name="connsiteX0" fmla="*/ 27152 w 32295"/>
                    <a:gd name="connsiteY0" fmla="*/ 66745 h 66744"/>
                    <a:gd name="connsiteX1" fmla="*/ 24282 w 32295"/>
                    <a:gd name="connsiteY1" fmla="*/ 63396 h 66744"/>
                    <a:gd name="connsiteX2" fmla="*/ 0 w 32295"/>
                    <a:gd name="connsiteY2" fmla="*/ 3888 h 66744"/>
                    <a:gd name="connsiteX3" fmla="*/ 32057 w 32295"/>
                    <a:gd name="connsiteY3" fmla="*/ 0 h 66744"/>
                    <a:gd name="connsiteX4" fmla="*/ 32296 w 32295"/>
                    <a:gd name="connsiteY4" fmla="*/ 1077 h 66744"/>
                    <a:gd name="connsiteX5" fmla="*/ 1794 w 32295"/>
                    <a:gd name="connsiteY5" fmla="*/ 5203 h 66744"/>
                    <a:gd name="connsiteX6" fmla="*/ 27152 w 32295"/>
                    <a:gd name="connsiteY6" fmla="*/ 66745 h 6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95" h="66744">
                      <a:moveTo>
                        <a:pt x="27152" y="66745"/>
                      </a:moveTo>
                      <a:cubicBezTo>
                        <a:pt x="26136" y="65609"/>
                        <a:pt x="24820" y="64652"/>
                        <a:pt x="24282" y="63396"/>
                      </a:cubicBezTo>
                      <a:cubicBezTo>
                        <a:pt x="16148" y="43719"/>
                        <a:pt x="8194" y="23983"/>
                        <a:pt x="0" y="3888"/>
                      </a:cubicBezTo>
                      <a:cubicBezTo>
                        <a:pt x="10586" y="2572"/>
                        <a:pt x="21351" y="1316"/>
                        <a:pt x="32057" y="0"/>
                      </a:cubicBezTo>
                      <a:cubicBezTo>
                        <a:pt x="32116" y="359"/>
                        <a:pt x="32176" y="718"/>
                        <a:pt x="32296" y="1077"/>
                      </a:cubicBezTo>
                      <a:cubicBezTo>
                        <a:pt x="22428" y="2392"/>
                        <a:pt x="12559" y="3708"/>
                        <a:pt x="1794" y="5203"/>
                      </a:cubicBezTo>
                      <a:cubicBezTo>
                        <a:pt x="10287" y="25897"/>
                        <a:pt x="18121" y="46231"/>
                        <a:pt x="27152" y="6674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09" name="Vrije vorm: vorm 9508">
                  <a:extLst>
                    <a:ext uri="{FF2B5EF4-FFF2-40B4-BE49-F238E27FC236}">
                      <a16:creationId xmlns:a16="http://schemas.microsoft.com/office/drawing/2014/main" id="{544E61BD-E605-4ED5-9AE9-2A3C10D1880B}"/>
                    </a:ext>
                  </a:extLst>
                </p:cNvPr>
                <p:cNvSpPr/>
                <p:nvPr/>
              </p:nvSpPr>
              <p:spPr>
                <a:xfrm>
                  <a:off x="4862406" y="1357365"/>
                  <a:ext cx="38216" cy="56338"/>
                </a:xfrm>
                <a:custGeom>
                  <a:avLst/>
                  <a:gdLst>
                    <a:gd name="connsiteX0" fmla="*/ 18062 w 38216"/>
                    <a:gd name="connsiteY0" fmla="*/ 56338 h 56338"/>
                    <a:gd name="connsiteX1" fmla="*/ 18720 w 38216"/>
                    <a:gd name="connsiteY1" fmla="*/ 52152 h 56338"/>
                    <a:gd name="connsiteX2" fmla="*/ 0 w 38216"/>
                    <a:gd name="connsiteY2" fmla="*/ 5861 h 56338"/>
                    <a:gd name="connsiteX3" fmla="*/ 19557 w 38216"/>
                    <a:gd name="connsiteY3" fmla="*/ 0 h 56338"/>
                    <a:gd name="connsiteX4" fmla="*/ 19916 w 38216"/>
                    <a:gd name="connsiteY4" fmla="*/ 957 h 56338"/>
                    <a:gd name="connsiteX5" fmla="*/ 2153 w 38216"/>
                    <a:gd name="connsiteY5" fmla="*/ 6938 h 56338"/>
                    <a:gd name="connsiteX6" fmla="*/ 21052 w 38216"/>
                    <a:gd name="connsiteY6" fmla="*/ 53468 h 56338"/>
                    <a:gd name="connsiteX7" fmla="*/ 37439 w 38216"/>
                    <a:gd name="connsiteY7" fmla="*/ 42882 h 56338"/>
                    <a:gd name="connsiteX8" fmla="*/ 38217 w 38216"/>
                    <a:gd name="connsiteY8" fmla="*/ 44198 h 56338"/>
                    <a:gd name="connsiteX9" fmla="*/ 17942 w 38216"/>
                    <a:gd name="connsiteY9" fmla="*/ 56279 h 56338"/>
                    <a:gd name="connsiteX10" fmla="*/ 18062 w 38216"/>
                    <a:gd name="connsiteY10" fmla="*/ 56338 h 5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16" h="56338">
                      <a:moveTo>
                        <a:pt x="18062" y="56338"/>
                      </a:moveTo>
                      <a:cubicBezTo>
                        <a:pt x="18301" y="54903"/>
                        <a:pt x="19198" y="53288"/>
                        <a:pt x="18720" y="52152"/>
                      </a:cubicBezTo>
                      <a:cubicBezTo>
                        <a:pt x="12619" y="36722"/>
                        <a:pt x="6340" y="21411"/>
                        <a:pt x="0" y="5861"/>
                      </a:cubicBezTo>
                      <a:cubicBezTo>
                        <a:pt x="6220" y="4007"/>
                        <a:pt x="12918" y="2033"/>
                        <a:pt x="19557" y="0"/>
                      </a:cubicBezTo>
                      <a:cubicBezTo>
                        <a:pt x="19676" y="299"/>
                        <a:pt x="19796" y="658"/>
                        <a:pt x="19916" y="957"/>
                      </a:cubicBezTo>
                      <a:cubicBezTo>
                        <a:pt x="14114" y="2871"/>
                        <a:pt x="8373" y="4844"/>
                        <a:pt x="2153" y="6938"/>
                      </a:cubicBezTo>
                      <a:cubicBezTo>
                        <a:pt x="8373" y="22248"/>
                        <a:pt x="14593" y="37499"/>
                        <a:pt x="21052" y="53468"/>
                      </a:cubicBezTo>
                      <a:cubicBezTo>
                        <a:pt x="26495" y="49939"/>
                        <a:pt x="31997" y="46410"/>
                        <a:pt x="37439" y="42882"/>
                      </a:cubicBezTo>
                      <a:cubicBezTo>
                        <a:pt x="37678" y="43300"/>
                        <a:pt x="37918" y="43779"/>
                        <a:pt x="38217" y="44198"/>
                      </a:cubicBezTo>
                      <a:cubicBezTo>
                        <a:pt x="31459" y="48205"/>
                        <a:pt x="24700" y="52212"/>
                        <a:pt x="17942" y="56279"/>
                      </a:cubicBezTo>
                      <a:cubicBezTo>
                        <a:pt x="17882" y="56219"/>
                        <a:pt x="18062" y="56338"/>
                        <a:pt x="18062" y="5633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10" name="Vrije vorm: vorm 9509">
                  <a:extLst>
                    <a:ext uri="{FF2B5EF4-FFF2-40B4-BE49-F238E27FC236}">
                      <a16:creationId xmlns:a16="http://schemas.microsoft.com/office/drawing/2014/main" id="{79E736FF-6D15-4882-A2F2-625918F78EBC}"/>
                    </a:ext>
                  </a:extLst>
                </p:cNvPr>
                <p:cNvSpPr/>
                <p:nvPr/>
              </p:nvSpPr>
              <p:spPr>
                <a:xfrm>
                  <a:off x="5174301" y="1927567"/>
                  <a:ext cx="57773" cy="66027"/>
                </a:xfrm>
                <a:custGeom>
                  <a:avLst/>
                  <a:gdLst>
                    <a:gd name="connsiteX0" fmla="*/ 0 w 57773"/>
                    <a:gd name="connsiteY0" fmla="*/ 2990 h 66027"/>
                    <a:gd name="connsiteX1" fmla="*/ 12260 w 57773"/>
                    <a:gd name="connsiteY1" fmla="*/ 1256 h 66027"/>
                    <a:gd name="connsiteX2" fmla="*/ 31099 w 57773"/>
                    <a:gd name="connsiteY2" fmla="*/ 0 h 66027"/>
                    <a:gd name="connsiteX3" fmla="*/ 57774 w 57773"/>
                    <a:gd name="connsiteY3" fmla="*/ 65609 h 66027"/>
                    <a:gd name="connsiteX4" fmla="*/ 56817 w 57773"/>
                    <a:gd name="connsiteY4" fmla="*/ 66027 h 66027"/>
                    <a:gd name="connsiteX5" fmla="*/ 35286 w 57773"/>
                    <a:gd name="connsiteY5" fmla="*/ 13098 h 66027"/>
                    <a:gd name="connsiteX6" fmla="*/ 19318 w 57773"/>
                    <a:gd name="connsiteY6" fmla="*/ 2213 h 66027"/>
                    <a:gd name="connsiteX7" fmla="*/ 119 w 57773"/>
                    <a:gd name="connsiteY7" fmla="*/ 2871 h 66027"/>
                    <a:gd name="connsiteX8" fmla="*/ 0 w 57773"/>
                    <a:gd name="connsiteY8" fmla="*/ 2990 h 6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73" h="66027">
                      <a:moveTo>
                        <a:pt x="0" y="2990"/>
                      </a:moveTo>
                      <a:cubicBezTo>
                        <a:pt x="4067" y="2392"/>
                        <a:pt x="8134" y="1675"/>
                        <a:pt x="12260" y="1256"/>
                      </a:cubicBezTo>
                      <a:cubicBezTo>
                        <a:pt x="18600" y="658"/>
                        <a:pt x="24999" y="359"/>
                        <a:pt x="31099" y="0"/>
                      </a:cubicBezTo>
                      <a:cubicBezTo>
                        <a:pt x="40011" y="21949"/>
                        <a:pt x="48922" y="43779"/>
                        <a:pt x="57774" y="65609"/>
                      </a:cubicBezTo>
                      <a:cubicBezTo>
                        <a:pt x="57475" y="65728"/>
                        <a:pt x="57116" y="65848"/>
                        <a:pt x="56817" y="66027"/>
                      </a:cubicBezTo>
                      <a:cubicBezTo>
                        <a:pt x="49640" y="48384"/>
                        <a:pt x="42463" y="30741"/>
                        <a:pt x="35286" y="13098"/>
                      </a:cubicBezTo>
                      <a:cubicBezTo>
                        <a:pt x="30621" y="1675"/>
                        <a:pt x="30621" y="1675"/>
                        <a:pt x="19318" y="2213"/>
                      </a:cubicBezTo>
                      <a:cubicBezTo>
                        <a:pt x="12918" y="2512"/>
                        <a:pt x="6519" y="2691"/>
                        <a:pt x="119" y="2871"/>
                      </a:cubicBezTo>
                      <a:cubicBezTo>
                        <a:pt x="60" y="2811"/>
                        <a:pt x="0" y="2990"/>
                        <a:pt x="0" y="299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11" name="Vrije vorm: vorm 9510">
                  <a:extLst>
                    <a:ext uri="{FF2B5EF4-FFF2-40B4-BE49-F238E27FC236}">
                      <a16:creationId xmlns:a16="http://schemas.microsoft.com/office/drawing/2014/main" id="{C74D9A90-9961-4828-881B-1BED75D7BC01}"/>
                    </a:ext>
                  </a:extLst>
                </p:cNvPr>
                <p:cNvSpPr/>
                <p:nvPr/>
              </p:nvSpPr>
              <p:spPr>
                <a:xfrm>
                  <a:off x="4859177" y="2005974"/>
                  <a:ext cx="25298" cy="59807"/>
                </a:xfrm>
                <a:custGeom>
                  <a:avLst/>
                  <a:gdLst>
                    <a:gd name="connsiteX0" fmla="*/ 12141 w 25298"/>
                    <a:gd name="connsiteY0" fmla="*/ 58133 h 59807"/>
                    <a:gd name="connsiteX1" fmla="*/ 23205 w 25298"/>
                    <a:gd name="connsiteY1" fmla="*/ 57415 h 59807"/>
                    <a:gd name="connsiteX2" fmla="*/ 0 w 25298"/>
                    <a:gd name="connsiteY2" fmla="*/ 359 h 59807"/>
                    <a:gd name="connsiteX3" fmla="*/ 957 w 25298"/>
                    <a:gd name="connsiteY3" fmla="*/ 0 h 59807"/>
                    <a:gd name="connsiteX4" fmla="*/ 25298 w 25298"/>
                    <a:gd name="connsiteY4" fmla="*/ 59807 h 59807"/>
                    <a:gd name="connsiteX5" fmla="*/ 12260 w 25298"/>
                    <a:gd name="connsiteY5" fmla="*/ 58013 h 59807"/>
                    <a:gd name="connsiteX6" fmla="*/ 12141 w 25298"/>
                    <a:gd name="connsiteY6" fmla="*/ 58133 h 59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8" h="59807">
                      <a:moveTo>
                        <a:pt x="12141" y="58133"/>
                      </a:moveTo>
                      <a:cubicBezTo>
                        <a:pt x="15669" y="57893"/>
                        <a:pt x="19198" y="57654"/>
                        <a:pt x="23205" y="57415"/>
                      </a:cubicBezTo>
                      <a:cubicBezTo>
                        <a:pt x="15371" y="38217"/>
                        <a:pt x="7715" y="19258"/>
                        <a:pt x="0" y="359"/>
                      </a:cubicBezTo>
                      <a:cubicBezTo>
                        <a:pt x="299" y="239"/>
                        <a:pt x="658" y="120"/>
                        <a:pt x="957" y="0"/>
                      </a:cubicBezTo>
                      <a:cubicBezTo>
                        <a:pt x="9031" y="19796"/>
                        <a:pt x="17105" y="39652"/>
                        <a:pt x="25298" y="59807"/>
                      </a:cubicBezTo>
                      <a:cubicBezTo>
                        <a:pt x="21172" y="59209"/>
                        <a:pt x="16686" y="58611"/>
                        <a:pt x="12260" y="58013"/>
                      </a:cubicBezTo>
                      <a:cubicBezTo>
                        <a:pt x="12201" y="58013"/>
                        <a:pt x="12141" y="58133"/>
                        <a:pt x="12141" y="5813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12" name="Vrije vorm: vorm 9511">
                  <a:extLst>
                    <a:ext uri="{FF2B5EF4-FFF2-40B4-BE49-F238E27FC236}">
                      <a16:creationId xmlns:a16="http://schemas.microsoft.com/office/drawing/2014/main" id="{97EB1347-1BC9-4FBD-A36C-4A5789A3A6E1}"/>
                    </a:ext>
                  </a:extLst>
                </p:cNvPr>
                <p:cNvSpPr/>
                <p:nvPr/>
              </p:nvSpPr>
              <p:spPr>
                <a:xfrm>
                  <a:off x="5388471" y="1653829"/>
                  <a:ext cx="49998" cy="45573"/>
                </a:xfrm>
                <a:custGeom>
                  <a:avLst/>
                  <a:gdLst>
                    <a:gd name="connsiteX0" fmla="*/ 598 w 49998"/>
                    <a:gd name="connsiteY0" fmla="*/ 0 h 45573"/>
                    <a:gd name="connsiteX1" fmla="*/ 15968 w 49998"/>
                    <a:gd name="connsiteY1" fmla="*/ 38097 h 45573"/>
                    <a:gd name="connsiteX2" fmla="*/ 24222 w 49998"/>
                    <a:gd name="connsiteY2" fmla="*/ 42942 h 45573"/>
                    <a:gd name="connsiteX3" fmla="*/ 49999 w 49998"/>
                    <a:gd name="connsiteY3" fmla="*/ 38635 h 45573"/>
                    <a:gd name="connsiteX4" fmla="*/ 18480 w 49998"/>
                    <a:gd name="connsiteY4" fmla="*/ 45573 h 45573"/>
                    <a:gd name="connsiteX5" fmla="*/ 0 w 49998"/>
                    <a:gd name="connsiteY5" fmla="*/ 179 h 45573"/>
                    <a:gd name="connsiteX6" fmla="*/ 598 w 49998"/>
                    <a:gd name="connsiteY6" fmla="*/ 0 h 4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98" h="45573">
                      <a:moveTo>
                        <a:pt x="598" y="0"/>
                      </a:moveTo>
                      <a:cubicBezTo>
                        <a:pt x="5741" y="12679"/>
                        <a:pt x="11124" y="25298"/>
                        <a:pt x="15968" y="38097"/>
                      </a:cubicBezTo>
                      <a:cubicBezTo>
                        <a:pt x="17763" y="42822"/>
                        <a:pt x="19557" y="44257"/>
                        <a:pt x="24222" y="42942"/>
                      </a:cubicBezTo>
                      <a:cubicBezTo>
                        <a:pt x="32535" y="40609"/>
                        <a:pt x="41207" y="39234"/>
                        <a:pt x="49999" y="38635"/>
                      </a:cubicBezTo>
                      <a:cubicBezTo>
                        <a:pt x="39413" y="40968"/>
                        <a:pt x="28827" y="43300"/>
                        <a:pt x="18480" y="45573"/>
                      </a:cubicBezTo>
                      <a:cubicBezTo>
                        <a:pt x="12380" y="30561"/>
                        <a:pt x="6220" y="15370"/>
                        <a:pt x="0" y="179"/>
                      </a:cubicBezTo>
                      <a:cubicBezTo>
                        <a:pt x="179" y="179"/>
                        <a:pt x="419" y="120"/>
                        <a:pt x="59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13" name="Vrije vorm: vorm 9512">
                  <a:extLst>
                    <a:ext uri="{FF2B5EF4-FFF2-40B4-BE49-F238E27FC236}">
                      <a16:creationId xmlns:a16="http://schemas.microsoft.com/office/drawing/2014/main" id="{22893A41-F8CB-4F7A-8600-CFDC9411E951}"/>
                    </a:ext>
                  </a:extLst>
                </p:cNvPr>
                <p:cNvSpPr/>
                <p:nvPr/>
              </p:nvSpPr>
              <p:spPr>
                <a:xfrm>
                  <a:off x="5137220" y="1769496"/>
                  <a:ext cx="31518" cy="66744"/>
                </a:xfrm>
                <a:custGeom>
                  <a:avLst/>
                  <a:gdLst>
                    <a:gd name="connsiteX0" fmla="*/ 0 w 31518"/>
                    <a:gd name="connsiteY0" fmla="*/ 66745 h 66744"/>
                    <a:gd name="connsiteX1" fmla="*/ 24581 w 31518"/>
                    <a:gd name="connsiteY1" fmla="*/ 62259 h 66744"/>
                    <a:gd name="connsiteX2" fmla="*/ 29545 w 31518"/>
                    <a:gd name="connsiteY2" fmla="*/ 61362 h 66744"/>
                    <a:gd name="connsiteX3" fmla="*/ 4785 w 31518"/>
                    <a:gd name="connsiteY3" fmla="*/ 419 h 66744"/>
                    <a:gd name="connsiteX4" fmla="*/ 5861 w 31518"/>
                    <a:gd name="connsiteY4" fmla="*/ 0 h 66744"/>
                    <a:gd name="connsiteX5" fmla="*/ 31519 w 31518"/>
                    <a:gd name="connsiteY5" fmla="*/ 63037 h 66744"/>
                    <a:gd name="connsiteX6" fmla="*/ 120 w 31518"/>
                    <a:gd name="connsiteY6" fmla="*/ 66625 h 66744"/>
                    <a:gd name="connsiteX7" fmla="*/ 0 w 31518"/>
                    <a:gd name="connsiteY7" fmla="*/ 66745 h 6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18" h="66744">
                      <a:moveTo>
                        <a:pt x="0" y="66745"/>
                      </a:moveTo>
                      <a:cubicBezTo>
                        <a:pt x="8194" y="65250"/>
                        <a:pt x="16387" y="63755"/>
                        <a:pt x="24581" y="62259"/>
                      </a:cubicBezTo>
                      <a:cubicBezTo>
                        <a:pt x="25956" y="62020"/>
                        <a:pt x="27392" y="61721"/>
                        <a:pt x="29545" y="61362"/>
                      </a:cubicBezTo>
                      <a:cubicBezTo>
                        <a:pt x="21172" y="40729"/>
                        <a:pt x="12978" y="20574"/>
                        <a:pt x="4785" y="419"/>
                      </a:cubicBezTo>
                      <a:cubicBezTo>
                        <a:pt x="5143" y="299"/>
                        <a:pt x="5502" y="120"/>
                        <a:pt x="5861" y="0"/>
                      </a:cubicBezTo>
                      <a:cubicBezTo>
                        <a:pt x="14354" y="20873"/>
                        <a:pt x="22846" y="41745"/>
                        <a:pt x="31519" y="63037"/>
                      </a:cubicBezTo>
                      <a:cubicBezTo>
                        <a:pt x="21172" y="64233"/>
                        <a:pt x="10645" y="65429"/>
                        <a:pt x="120" y="66625"/>
                      </a:cubicBezTo>
                      <a:cubicBezTo>
                        <a:pt x="0" y="66625"/>
                        <a:pt x="0" y="66745"/>
                        <a:pt x="0" y="6674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14" name="Vrije vorm: vorm 9513">
                  <a:extLst>
                    <a:ext uri="{FF2B5EF4-FFF2-40B4-BE49-F238E27FC236}">
                      <a16:creationId xmlns:a16="http://schemas.microsoft.com/office/drawing/2014/main" id="{BB6F6433-206D-4F78-9BBA-73C4309317DE}"/>
                    </a:ext>
                  </a:extLst>
                </p:cNvPr>
                <p:cNvSpPr/>
                <p:nvPr/>
              </p:nvSpPr>
              <p:spPr>
                <a:xfrm>
                  <a:off x="5378152" y="1998655"/>
                  <a:ext cx="59093" cy="143225"/>
                </a:xfrm>
                <a:custGeom>
                  <a:avLst/>
                  <a:gdLst>
                    <a:gd name="connsiteX0" fmla="*/ 30045 w 59093"/>
                    <a:gd name="connsiteY0" fmla="*/ 71410 h 143225"/>
                    <a:gd name="connsiteX1" fmla="*/ 58595 w 59093"/>
                    <a:gd name="connsiteY1" fmla="*/ 143023 h 143225"/>
                    <a:gd name="connsiteX2" fmla="*/ 29048 w 59093"/>
                    <a:gd name="connsiteY2" fmla="*/ 71816 h 143225"/>
                    <a:gd name="connsiteX3" fmla="*/ 498 w 59093"/>
                    <a:gd name="connsiteY3" fmla="*/ 203 h 143225"/>
                    <a:gd name="connsiteX4" fmla="*/ 30045 w 59093"/>
                    <a:gd name="connsiteY4" fmla="*/ 71410 h 143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3" h="143225">
                      <a:moveTo>
                        <a:pt x="30045" y="71410"/>
                      </a:moveTo>
                      <a:cubicBezTo>
                        <a:pt x="46088" y="110848"/>
                        <a:pt x="58870" y="142910"/>
                        <a:pt x="58595" y="143023"/>
                      </a:cubicBezTo>
                      <a:cubicBezTo>
                        <a:pt x="58319" y="143135"/>
                        <a:pt x="45091" y="111254"/>
                        <a:pt x="29048" y="71816"/>
                      </a:cubicBezTo>
                      <a:cubicBezTo>
                        <a:pt x="13005" y="32377"/>
                        <a:pt x="223" y="315"/>
                        <a:pt x="498" y="203"/>
                      </a:cubicBezTo>
                      <a:cubicBezTo>
                        <a:pt x="774" y="91"/>
                        <a:pt x="14003" y="31971"/>
                        <a:pt x="30045" y="7141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15" name="Vrije vorm: vorm 9514">
                  <a:extLst>
                    <a:ext uri="{FF2B5EF4-FFF2-40B4-BE49-F238E27FC236}">
                      <a16:creationId xmlns:a16="http://schemas.microsoft.com/office/drawing/2014/main" id="{60AC7987-C194-4577-8AE2-4ECFFEB2CA3D}"/>
                    </a:ext>
                  </a:extLst>
                </p:cNvPr>
                <p:cNvSpPr/>
                <p:nvPr/>
              </p:nvSpPr>
              <p:spPr>
                <a:xfrm>
                  <a:off x="5299036" y="2026602"/>
                  <a:ext cx="57634" cy="140320"/>
                </a:xfrm>
                <a:custGeom>
                  <a:avLst/>
                  <a:gdLst>
                    <a:gd name="connsiteX0" fmla="*/ 29149 w 57634"/>
                    <a:gd name="connsiteY0" fmla="*/ 70025 h 140320"/>
                    <a:gd name="connsiteX1" fmla="*/ 57302 w 57634"/>
                    <a:gd name="connsiteY1" fmla="*/ 140185 h 140320"/>
                    <a:gd name="connsiteX2" fmla="*/ 28485 w 57634"/>
                    <a:gd name="connsiteY2" fmla="*/ 70295 h 140320"/>
                    <a:gd name="connsiteX3" fmla="*/ 332 w 57634"/>
                    <a:gd name="connsiteY3" fmla="*/ 135 h 140320"/>
                    <a:gd name="connsiteX4" fmla="*/ 29149 w 57634"/>
                    <a:gd name="connsiteY4" fmla="*/ 70025 h 140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34" h="140320">
                      <a:moveTo>
                        <a:pt x="29149" y="70025"/>
                      </a:moveTo>
                      <a:cubicBezTo>
                        <a:pt x="44881" y="108699"/>
                        <a:pt x="57485" y="140110"/>
                        <a:pt x="57302" y="140185"/>
                      </a:cubicBezTo>
                      <a:cubicBezTo>
                        <a:pt x="57118" y="140260"/>
                        <a:pt x="44216" y="108969"/>
                        <a:pt x="28485" y="70295"/>
                      </a:cubicBezTo>
                      <a:cubicBezTo>
                        <a:pt x="12753" y="31622"/>
                        <a:pt x="149" y="210"/>
                        <a:pt x="332" y="135"/>
                      </a:cubicBezTo>
                      <a:cubicBezTo>
                        <a:pt x="516" y="60"/>
                        <a:pt x="13418" y="31351"/>
                        <a:pt x="29149" y="7002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16" name="Vrije vorm: vorm 9515">
                  <a:extLst>
                    <a:ext uri="{FF2B5EF4-FFF2-40B4-BE49-F238E27FC236}">
                      <a16:creationId xmlns:a16="http://schemas.microsoft.com/office/drawing/2014/main" id="{77AFDE00-CFFD-4D0C-AE11-016FBD3148E5}"/>
                    </a:ext>
                  </a:extLst>
                </p:cNvPr>
                <p:cNvSpPr/>
                <p:nvPr/>
              </p:nvSpPr>
              <p:spPr>
                <a:xfrm>
                  <a:off x="4813065" y="2067097"/>
                  <a:ext cx="27391" cy="58072"/>
                </a:xfrm>
                <a:custGeom>
                  <a:avLst/>
                  <a:gdLst>
                    <a:gd name="connsiteX0" fmla="*/ 16387 w 27391"/>
                    <a:gd name="connsiteY0" fmla="*/ 2034 h 58072"/>
                    <a:gd name="connsiteX1" fmla="*/ 1974 w 27391"/>
                    <a:gd name="connsiteY1" fmla="*/ 2392 h 58072"/>
                    <a:gd name="connsiteX2" fmla="*/ 4486 w 27391"/>
                    <a:gd name="connsiteY2" fmla="*/ 8493 h 58072"/>
                    <a:gd name="connsiteX3" fmla="*/ 23265 w 27391"/>
                    <a:gd name="connsiteY3" fmla="*/ 52690 h 58072"/>
                    <a:gd name="connsiteX4" fmla="*/ 27392 w 27391"/>
                    <a:gd name="connsiteY4" fmla="*/ 58073 h 58072"/>
                    <a:gd name="connsiteX5" fmla="*/ 23325 w 27391"/>
                    <a:gd name="connsiteY5" fmla="*/ 56996 h 58072"/>
                    <a:gd name="connsiteX6" fmla="*/ 0 w 27391"/>
                    <a:gd name="connsiteY6" fmla="*/ 0 h 58072"/>
                    <a:gd name="connsiteX7" fmla="*/ 16387 w 27391"/>
                    <a:gd name="connsiteY7" fmla="*/ 2034 h 5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91" h="58072">
                      <a:moveTo>
                        <a:pt x="16387" y="2034"/>
                      </a:moveTo>
                      <a:cubicBezTo>
                        <a:pt x="11902" y="2153"/>
                        <a:pt x="7416" y="2273"/>
                        <a:pt x="1974" y="2392"/>
                      </a:cubicBezTo>
                      <a:cubicBezTo>
                        <a:pt x="2871" y="4665"/>
                        <a:pt x="3648" y="6579"/>
                        <a:pt x="4486" y="8493"/>
                      </a:cubicBezTo>
                      <a:cubicBezTo>
                        <a:pt x="10705" y="23205"/>
                        <a:pt x="16926" y="37978"/>
                        <a:pt x="23265" y="52690"/>
                      </a:cubicBezTo>
                      <a:cubicBezTo>
                        <a:pt x="24162" y="54724"/>
                        <a:pt x="26016" y="56279"/>
                        <a:pt x="27392" y="58073"/>
                      </a:cubicBezTo>
                      <a:cubicBezTo>
                        <a:pt x="26016" y="57714"/>
                        <a:pt x="23684" y="57774"/>
                        <a:pt x="23325" y="56996"/>
                      </a:cubicBezTo>
                      <a:cubicBezTo>
                        <a:pt x="15490" y="38157"/>
                        <a:pt x="7835" y="19258"/>
                        <a:pt x="0" y="0"/>
                      </a:cubicBezTo>
                      <a:cubicBezTo>
                        <a:pt x="5323" y="658"/>
                        <a:pt x="10825" y="1376"/>
                        <a:pt x="16387" y="203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17" name="Vrije vorm: vorm 9516">
                  <a:extLst>
                    <a:ext uri="{FF2B5EF4-FFF2-40B4-BE49-F238E27FC236}">
                      <a16:creationId xmlns:a16="http://schemas.microsoft.com/office/drawing/2014/main" id="{75D2FEBC-A9AF-45D5-B993-196359B60871}"/>
                    </a:ext>
                  </a:extLst>
                </p:cNvPr>
                <p:cNvSpPr/>
                <p:nvPr/>
              </p:nvSpPr>
              <p:spPr>
                <a:xfrm>
                  <a:off x="4784537" y="2000651"/>
                  <a:ext cx="29484" cy="59029"/>
                </a:xfrm>
                <a:custGeom>
                  <a:avLst/>
                  <a:gdLst>
                    <a:gd name="connsiteX0" fmla="*/ 29485 w 29484"/>
                    <a:gd name="connsiteY0" fmla="*/ 58910 h 59029"/>
                    <a:gd name="connsiteX1" fmla="*/ 23983 w 29484"/>
                    <a:gd name="connsiteY1" fmla="*/ 59030 h 59029"/>
                    <a:gd name="connsiteX2" fmla="*/ 0 w 29484"/>
                    <a:gd name="connsiteY2" fmla="*/ 0 h 59029"/>
                    <a:gd name="connsiteX3" fmla="*/ 12261 w 29484"/>
                    <a:gd name="connsiteY3" fmla="*/ 419 h 59029"/>
                    <a:gd name="connsiteX4" fmla="*/ 12380 w 29484"/>
                    <a:gd name="connsiteY4" fmla="*/ 1316 h 59029"/>
                    <a:gd name="connsiteX5" fmla="*/ 2572 w 29484"/>
                    <a:gd name="connsiteY5" fmla="*/ 1794 h 59029"/>
                    <a:gd name="connsiteX6" fmla="*/ 24342 w 29484"/>
                    <a:gd name="connsiteY6" fmla="*/ 54903 h 59029"/>
                    <a:gd name="connsiteX7" fmla="*/ 29485 w 29484"/>
                    <a:gd name="connsiteY7" fmla="*/ 58910 h 5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84" h="59029">
                      <a:moveTo>
                        <a:pt x="29485" y="58910"/>
                      </a:moveTo>
                      <a:cubicBezTo>
                        <a:pt x="27691" y="58970"/>
                        <a:pt x="26076" y="58970"/>
                        <a:pt x="23983" y="59030"/>
                      </a:cubicBezTo>
                      <a:cubicBezTo>
                        <a:pt x="16028" y="39413"/>
                        <a:pt x="8014" y="19796"/>
                        <a:pt x="0" y="0"/>
                      </a:cubicBezTo>
                      <a:cubicBezTo>
                        <a:pt x="4007" y="120"/>
                        <a:pt x="8134" y="299"/>
                        <a:pt x="12261" y="419"/>
                      </a:cubicBezTo>
                      <a:cubicBezTo>
                        <a:pt x="12320" y="718"/>
                        <a:pt x="12320" y="1017"/>
                        <a:pt x="12380" y="1316"/>
                      </a:cubicBezTo>
                      <a:cubicBezTo>
                        <a:pt x="9031" y="1495"/>
                        <a:pt x="5682" y="1675"/>
                        <a:pt x="2572" y="1794"/>
                      </a:cubicBezTo>
                      <a:cubicBezTo>
                        <a:pt x="9868" y="19736"/>
                        <a:pt x="16926" y="37380"/>
                        <a:pt x="24342" y="54903"/>
                      </a:cubicBezTo>
                      <a:cubicBezTo>
                        <a:pt x="25059" y="56637"/>
                        <a:pt x="27571" y="57535"/>
                        <a:pt x="29485" y="5891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18" name="Vrije vorm: vorm 9517">
                  <a:extLst>
                    <a:ext uri="{FF2B5EF4-FFF2-40B4-BE49-F238E27FC236}">
                      <a16:creationId xmlns:a16="http://schemas.microsoft.com/office/drawing/2014/main" id="{7D242426-6B5F-493E-A699-7C45BAF7EF5E}"/>
                    </a:ext>
                  </a:extLst>
                </p:cNvPr>
                <p:cNvSpPr/>
                <p:nvPr/>
              </p:nvSpPr>
              <p:spPr>
                <a:xfrm>
                  <a:off x="4964921" y="1656324"/>
                  <a:ext cx="28764" cy="69121"/>
                </a:xfrm>
                <a:custGeom>
                  <a:avLst/>
                  <a:gdLst>
                    <a:gd name="connsiteX0" fmla="*/ 14770 w 28764"/>
                    <a:gd name="connsiteY0" fmla="*/ 34403 h 69121"/>
                    <a:gd name="connsiteX1" fmla="*/ 28377 w 28764"/>
                    <a:gd name="connsiteY1" fmla="*/ 68964 h 69121"/>
                    <a:gd name="connsiteX2" fmla="*/ 13994 w 28764"/>
                    <a:gd name="connsiteY2" fmla="*/ 34719 h 69121"/>
                    <a:gd name="connsiteX3" fmla="*/ 388 w 28764"/>
                    <a:gd name="connsiteY3" fmla="*/ 158 h 69121"/>
                    <a:gd name="connsiteX4" fmla="*/ 14770 w 28764"/>
                    <a:gd name="connsiteY4" fmla="*/ 34403 h 69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64" h="69121">
                      <a:moveTo>
                        <a:pt x="14770" y="34403"/>
                      </a:moveTo>
                      <a:cubicBezTo>
                        <a:pt x="22499" y="53403"/>
                        <a:pt x="28591" y="68877"/>
                        <a:pt x="28377" y="68964"/>
                      </a:cubicBezTo>
                      <a:cubicBezTo>
                        <a:pt x="28163" y="69051"/>
                        <a:pt x="21723" y="53719"/>
                        <a:pt x="13994" y="34719"/>
                      </a:cubicBezTo>
                      <a:cubicBezTo>
                        <a:pt x="6265" y="15718"/>
                        <a:pt x="173" y="245"/>
                        <a:pt x="388" y="158"/>
                      </a:cubicBezTo>
                      <a:cubicBezTo>
                        <a:pt x="602" y="71"/>
                        <a:pt x="7041" y="15403"/>
                        <a:pt x="14770" y="3440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19" name="Vrije vorm: vorm 9518">
                  <a:extLst>
                    <a:ext uri="{FF2B5EF4-FFF2-40B4-BE49-F238E27FC236}">
                      <a16:creationId xmlns:a16="http://schemas.microsoft.com/office/drawing/2014/main" id="{9D37AA1F-9B4A-4275-91C5-F6E8BF3FADF5}"/>
                    </a:ext>
                  </a:extLst>
                </p:cNvPr>
                <p:cNvSpPr/>
                <p:nvPr/>
              </p:nvSpPr>
              <p:spPr>
                <a:xfrm>
                  <a:off x="5346007" y="2089465"/>
                  <a:ext cx="11255" cy="21231"/>
                </a:xfrm>
                <a:custGeom>
                  <a:avLst/>
                  <a:gdLst>
                    <a:gd name="connsiteX0" fmla="*/ 0 w 11255"/>
                    <a:gd name="connsiteY0" fmla="*/ 1675 h 21231"/>
                    <a:gd name="connsiteX1" fmla="*/ 4067 w 11255"/>
                    <a:gd name="connsiteY1" fmla="*/ 0 h 21231"/>
                    <a:gd name="connsiteX2" fmla="*/ 11244 w 11255"/>
                    <a:gd name="connsiteY2" fmla="*/ 18062 h 21231"/>
                    <a:gd name="connsiteX3" fmla="*/ 7954 w 11255"/>
                    <a:gd name="connsiteY3" fmla="*/ 21232 h 21231"/>
                    <a:gd name="connsiteX4" fmla="*/ 0 w 11255"/>
                    <a:gd name="connsiteY4" fmla="*/ 1675 h 21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5" h="21231">
                      <a:moveTo>
                        <a:pt x="0" y="1675"/>
                      </a:moveTo>
                      <a:cubicBezTo>
                        <a:pt x="1316" y="1136"/>
                        <a:pt x="2632" y="598"/>
                        <a:pt x="4067" y="0"/>
                      </a:cubicBezTo>
                      <a:cubicBezTo>
                        <a:pt x="6579" y="6100"/>
                        <a:pt x="9091" y="12021"/>
                        <a:pt x="11244" y="18062"/>
                      </a:cubicBezTo>
                      <a:cubicBezTo>
                        <a:pt x="11423" y="18600"/>
                        <a:pt x="9450" y="19856"/>
                        <a:pt x="7954" y="21232"/>
                      </a:cubicBezTo>
                      <a:cubicBezTo>
                        <a:pt x="5144" y="14354"/>
                        <a:pt x="2572" y="8134"/>
                        <a:pt x="0" y="167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20" name="Vrije vorm: vorm 9519">
                  <a:extLst>
                    <a:ext uri="{FF2B5EF4-FFF2-40B4-BE49-F238E27FC236}">
                      <a16:creationId xmlns:a16="http://schemas.microsoft.com/office/drawing/2014/main" id="{AF101816-17E4-44FC-9F07-B609D3307D78}"/>
                    </a:ext>
                  </a:extLst>
                </p:cNvPr>
                <p:cNvSpPr/>
                <p:nvPr/>
              </p:nvSpPr>
              <p:spPr>
                <a:xfrm>
                  <a:off x="5332288" y="2031197"/>
                  <a:ext cx="49403" cy="119403"/>
                </a:xfrm>
                <a:custGeom>
                  <a:avLst/>
                  <a:gdLst>
                    <a:gd name="connsiteX0" fmla="*/ 25200 w 49403"/>
                    <a:gd name="connsiteY0" fmla="*/ 59499 h 119403"/>
                    <a:gd name="connsiteX1" fmla="*/ 48905 w 49403"/>
                    <a:gd name="connsiteY1" fmla="*/ 119201 h 119403"/>
                    <a:gd name="connsiteX2" fmla="*/ 24203 w 49403"/>
                    <a:gd name="connsiteY2" fmla="*/ 59905 h 119403"/>
                    <a:gd name="connsiteX3" fmla="*/ 499 w 49403"/>
                    <a:gd name="connsiteY3" fmla="*/ 203 h 119403"/>
                    <a:gd name="connsiteX4" fmla="*/ 25200 w 49403"/>
                    <a:gd name="connsiteY4" fmla="*/ 59499 h 119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03" h="119403">
                      <a:moveTo>
                        <a:pt x="25200" y="59499"/>
                      </a:moveTo>
                      <a:cubicBezTo>
                        <a:pt x="38567" y="92359"/>
                        <a:pt x="49180" y="119089"/>
                        <a:pt x="48905" y="119201"/>
                      </a:cubicBezTo>
                      <a:cubicBezTo>
                        <a:pt x="48629" y="119313"/>
                        <a:pt x="37570" y="92765"/>
                        <a:pt x="24203" y="59905"/>
                      </a:cubicBezTo>
                      <a:cubicBezTo>
                        <a:pt x="10836" y="27044"/>
                        <a:pt x="223" y="315"/>
                        <a:pt x="499" y="203"/>
                      </a:cubicBezTo>
                      <a:cubicBezTo>
                        <a:pt x="774" y="91"/>
                        <a:pt x="11833" y="26638"/>
                        <a:pt x="25200" y="5949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21" name="Vrije vorm: vorm 9520">
                  <a:extLst>
                    <a:ext uri="{FF2B5EF4-FFF2-40B4-BE49-F238E27FC236}">
                      <a16:creationId xmlns:a16="http://schemas.microsoft.com/office/drawing/2014/main" id="{7EB636E7-D6A8-488B-8DD1-98F94079B642}"/>
                    </a:ext>
                  </a:extLst>
                </p:cNvPr>
                <p:cNvSpPr/>
                <p:nvPr/>
              </p:nvSpPr>
              <p:spPr>
                <a:xfrm>
                  <a:off x="5392597" y="2018115"/>
                  <a:ext cx="28767" cy="69436"/>
                </a:xfrm>
                <a:custGeom>
                  <a:avLst/>
                  <a:gdLst>
                    <a:gd name="connsiteX0" fmla="*/ 28169 w 28767"/>
                    <a:gd name="connsiteY0" fmla="*/ 69436 h 69436"/>
                    <a:gd name="connsiteX1" fmla="*/ 0 w 28767"/>
                    <a:gd name="connsiteY1" fmla="*/ 239 h 69436"/>
                    <a:gd name="connsiteX2" fmla="*/ 598 w 28767"/>
                    <a:gd name="connsiteY2" fmla="*/ 0 h 69436"/>
                    <a:gd name="connsiteX3" fmla="*/ 28767 w 28767"/>
                    <a:gd name="connsiteY3" fmla="*/ 69197 h 69436"/>
                    <a:gd name="connsiteX4" fmla="*/ 28169 w 28767"/>
                    <a:gd name="connsiteY4" fmla="*/ 69436 h 69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67" h="69436">
                      <a:moveTo>
                        <a:pt x="28169" y="69436"/>
                      </a:moveTo>
                      <a:cubicBezTo>
                        <a:pt x="18779" y="46351"/>
                        <a:pt x="9390" y="23265"/>
                        <a:pt x="0" y="239"/>
                      </a:cubicBezTo>
                      <a:cubicBezTo>
                        <a:pt x="179" y="180"/>
                        <a:pt x="419" y="60"/>
                        <a:pt x="598" y="0"/>
                      </a:cubicBezTo>
                      <a:cubicBezTo>
                        <a:pt x="9988" y="23086"/>
                        <a:pt x="19377" y="46171"/>
                        <a:pt x="28767" y="69197"/>
                      </a:cubicBezTo>
                      <a:cubicBezTo>
                        <a:pt x="28588" y="69257"/>
                        <a:pt x="28408" y="69376"/>
                        <a:pt x="28169" y="6943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22" name="Vrije vorm: vorm 9521">
                  <a:extLst>
                    <a:ext uri="{FF2B5EF4-FFF2-40B4-BE49-F238E27FC236}">
                      <a16:creationId xmlns:a16="http://schemas.microsoft.com/office/drawing/2014/main" id="{F448AE7A-1B9B-4584-A045-4DC726798A65}"/>
                    </a:ext>
                  </a:extLst>
                </p:cNvPr>
                <p:cNvSpPr/>
                <p:nvPr/>
              </p:nvSpPr>
              <p:spPr>
                <a:xfrm>
                  <a:off x="4761153" y="1929481"/>
                  <a:ext cx="41386" cy="61063"/>
                </a:xfrm>
                <a:custGeom>
                  <a:avLst/>
                  <a:gdLst>
                    <a:gd name="connsiteX0" fmla="*/ 0 w 41386"/>
                    <a:gd name="connsiteY0" fmla="*/ 3110 h 61063"/>
                    <a:gd name="connsiteX1" fmla="*/ 28707 w 41386"/>
                    <a:gd name="connsiteY1" fmla="*/ 179 h 61063"/>
                    <a:gd name="connsiteX2" fmla="*/ 28767 w 41386"/>
                    <a:gd name="connsiteY2" fmla="*/ 0 h 61063"/>
                    <a:gd name="connsiteX3" fmla="*/ 17822 w 41386"/>
                    <a:gd name="connsiteY3" fmla="*/ 2632 h 61063"/>
                    <a:gd name="connsiteX4" fmla="*/ 41386 w 41386"/>
                    <a:gd name="connsiteY4" fmla="*/ 60585 h 61063"/>
                    <a:gd name="connsiteX5" fmla="*/ 40131 w 41386"/>
                    <a:gd name="connsiteY5" fmla="*/ 61063 h 61063"/>
                    <a:gd name="connsiteX6" fmla="*/ 22069 w 41386"/>
                    <a:gd name="connsiteY6" fmla="*/ 16626 h 61063"/>
                    <a:gd name="connsiteX7" fmla="*/ 2691 w 41386"/>
                    <a:gd name="connsiteY7" fmla="*/ 3170 h 61063"/>
                    <a:gd name="connsiteX8" fmla="*/ 0 w 41386"/>
                    <a:gd name="connsiteY8" fmla="*/ 2990 h 61063"/>
                    <a:gd name="connsiteX9" fmla="*/ 0 w 41386"/>
                    <a:gd name="connsiteY9" fmla="*/ 3110 h 6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386" h="61063">
                      <a:moveTo>
                        <a:pt x="0" y="3110"/>
                      </a:moveTo>
                      <a:cubicBezTo>
                        <a:pt x="9569" y="2153"/>
                        <a:pt x="19138" y="1136"/>
                        <a:pt x="28707" y="179"/>
                      </a:cubicBezTo>
                      <a:cubicBezTo>
                        <a:pt x="28707" y="179"/>
                        <a:pt x="28767" y="0"/>
                        <a:pt x="28767" y="0"/>
                      </a:cubicBezTo>
                      <a:cubicBezTo>
                        <a:pt x="25298" y="837"/>
                        <a:pt x="21830" y="1675"/>
                        <a:pt x="17822" y="2632"/>
                      </a:cubicBezTo>
                      <a:cubicBezTo>
                        <a:pt x="25657" y="21889"/>
                        <a:pt x="33492" y="41207"/>
                        <a:pt x="41386" y="60585"/>
                      </a:cubicBezTo>
                      <a:cubicBezTo>
                        <a:pt x="40968" y="60764"/>
                        <a:pt x="40549" y="60944"/>
                        <a:pt x="40131" y="61063"/>
                      </a:cubicBezTo>
                      <a:cubicBezTo>
                        <a:pt x="34090" y="46231"/>
                        <a:pt x="28109" y="31399"/>
                        <a:pt x="22069" y="16626"/>
                      </a:cubicBezTo>
                      <a:cubicBezTo>
                        <a:pt x="16267" y="2452"/>
                        <a:pt x="16208" y="2452"/>
                        <a:pt x="2691" y="3170"/>
                      </a:cubicBezTo>
                      <a:cubicBezTo>
                        <a:pt x="1794" y="3230"/>
                        <a:pt x="897" y="3050"/>
                        <a:pt x="0" y="2990"/>
                      </a:cubicBezTo>
                      <a:cubicBezTo>
                        <a:pt x="60" y="2990"/>
                        <a:pt x="0" y="3110"/>
                        <a:pt x="0" y="311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23" name="Vrije vorm: vorm 9522">
                  <a:extLst>
                    <a:ext uri="{FF2B5EF4-FFF2-40B4-BE49-F238E27FC236}">
                      <a16:creationId xmlns:a16="http://schemas.microsoft.com/office/drawing/2014/main" id="{A0C23D34-DB90-4A9A-ABC9-6C484C47BEDA}"/>
                    </a:ext>
                  </a:extLst>
                </p:cNvPr>
                <p:cNvSpPr/>
                <p:nvPr/>
              </p:nvSpPr>
              <p:spPr>
                <a:xfrm>
                  <a:off x="5533622" y="1930378"/>
                  <a:ext cx="31398" cy="75536"/>
                </a:xfrm>
                <a:custGeom>
                  <a:avLst/>
                  <a:gdLst>
                    <a:gd name="connsiteX0" fmla="*/ 778 w 31398"/>
                    <a:gd name="connsiteY0" fmla="*/ 0 h 75536"/>
                    <a:gd name="connsiteX1" fmla="*/ 31399 w 31398"/>
                    <a:gd name="connsiteY1" fmla="*/ 75237 h 75536"/>
                    <a:gd name="connsiteX2" fmla="*/ 30621 w 31398"/>
                    <a:gd name="connsiteY2" fmla="*/ 75537 h 75536"/>
                    <a:gd name="connsiteX3" fmla="*/ 0 w 31398"/>
                    <a:gd name="connsiteY3" fmla="*/ 299 h 75536"/>
                    <a:gd name="connsiteX4" fmla="*/ 778 w 31398"/>
                    <a:gd name="connsiteY4" fmla="*/ 0 h 75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75536">
                      <a:moveTo>
                        <a:pt x="778" y="0"/>
                      </a:moveTo>
                      <a:cubicBezTo>
                        <a:pt x="11005" y="25059"/>
                        <a:pt x="21172" y="50178"/>
                        <a:pt x="31399" y="75237"/>
                      </a:cubicBezTo>
                      <a:cubicBezTo>
                        <a:pt x="31160" y="75357"/>
                        <a:pt x="30861" y="75477"/>
                        <a:pt x="30621" y="75537"/>
                      </a:cubicBezTo>
                      <a:cubicBezTo>
                        <a:pt x="20394" y="50477"/>
                        <a:pt x="10227" y="25358"/>
                        <a:pt x="0" y="299"/>
                      </a:cubicBezTo>
                      <a:cubicBezTo>
                        <a:pt x="299" y="239"/>
                        <a:pt x="538" y="120"/>
                        <a:pt x="77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24" name="Vrije vorm: vorm 9523">
                  <a:extLst>
                    <a:ext uri="{FF2B5EF4-FFF2-40B4-BE49-F238E27FC236}">
                      <a16:creationId xmlns:a16="http://schemas.microsoft.com/office/drawing/2014/main" id="{60EA7684-699F-4A49-81F9-E63C19411162}"/>
                    </a:ext>
                  </a:extLst>
                </p:cNvPr>
                <p:cNvSpPr/>
                <p:nvPr/>
              </p:nvSpPr>
              <p:spPr>
                <a:xfrm>
                  <a:off x="4755949" y="1998139"/>
                  <a:ext cx="26135" cy="56039"/>
                </a:xfrm>
                <a:custGeom>
                  <a:avLst/>
                  <a:gdLst>
                    <a:gd name="connsiteX0" fmla="*/ 9569 w 26135"/>
                    <a:gd name="connsiteY0" fmla="*/ 897 h 56039"/>
                    <a:gd name="connsiteX1" fmla="*/ 2213 w 26135"/>
                    <a:gd name="connsiteY1" fmla="*/ 2332 h 56039"/>
                    <a:gd name="connsiteX2" fmla="*/ 9330 w 26135"/>
                    <a:gd name="connsiteY2" fmla="*/ 19736 h 56039"/>
                    <a:gd name="connsiteX3" fmla="*/ 22069 w 26135"/>
                    <a:gd name="connsiteY3" fmla="*/ 50537 h 56039"/>
                    <a:gd name="connsiteX4" fmla="*/ 26136 w 26135"/>
                    <a:gd name="connsiteY4" fmla="*/ 56039 h 56039"/>
                    <a:gd name="connsiteX5" fmla="*/ 22428 w 26135"/>
                    <a:gd name="connsiteY5" fmla="*/ 54843 h 56039"/>
                    <a:gd name="connsiteX6" fmla="*/ 0 w 26135"/>
                    <a:gd name="connsiteY6" fmla="*/ 0 h 56039"/>
                    <a:gd name="connsiteX7" fmla="*/ 9569 w 26135"/>
                    <a:gd name="connsiteY7" fmla="*/ 897 h 5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35" h="56039">
                      <a:moveTo>
                        <a:pt x="9569" y="897"/>
                      </a:moveTo>
                      <a:cubicBezTo>
                        <a:pt x="7296" y="1316"/>
                        <a:pt x="5024" y="1794"/>
                        <a:pt x="2213" y="2332"/>
                      </a:cubicBezTo>
                      <a:cubicBezTo>
                        <a:pt x="4605" y="8313"/>
                        <a:pt x="6937" y="13995"/>
                        <a:pt x="9330" y="19736"/>
                      </a:cubicBezTo>
                      <a:cubicBezTo>
                        <a:pt x="13516" y="30023"/>
                        <a:pt x="17703" y="40310"/>
                        <a:pt x="22069" y="50537"/>
                      </a:cubicBezTo>
                      <a:cubicBezTo>
                        <a:pt x="22966" y="52571"/>
                        <a:pt x="24760" y="54185"/>
                        <a:pt x="26136" y="56039"/>
                      </a:cubicBezTo>
                      <a:cubicBezTo>
                        <a:pt x="24880" y="55681"/>
                        <a:pt x="22727" y="55621"/>
                        <a:pt x="22428" y="54843"/>
                      </a:cubicBezTo>
                      <a:cubicBezTo>
                        <a:pt x="14892" y="36722"/>
                        <a:pt x="7536" y="18540"/>
                        <a:pt x="0" y="0"/>
                      </a:cubicBezTo>
                      <a:cubicBezTo>
                        <a:pt x="2871" y="299"/>
                        <a:pt x="6220" y="598"/>
                        <a:pt x="9569" y="89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25" name="Vrije vorm: vorm 9524">
                  <a:extLst>
                    <a:ext uri="{FF2B5EF4-FFF2-40B4-BE49-F238E27FC236}">
                      <a16:creationId xmlns:a16="http://schemas.microsoft.com/office/drawing/2014/main" id="{2A9420FE-731C-468F-A249-0E8DD641252A}"/>
                    </a:ext>
                  </a:extLst>
                </p:cNvPr>
                <p:cNvSpPr/>
                <p:nvPr/>
              </p:nvSpPr>
              <p:spPr>
                <a:xfrm>
                  <a:off x="4886329" y="2074098"/>
                  <a:ext cx="32355" cy="64887"/>
                </a:xfrm>
                <a:custGeom>
                  <a:avLst/>
                  <a:gdLst>
                    <a:gd name="connsiteX0" fmla="*/ 25298 w 32355"/>
                    <a:gd name="connsiteY0" fmla="*/ 62854 h 64887"/>
                    <a:gd name="connsiteX1" fmla="*/ 26076 w 32355"/>
                    <a:gd name="connsiteY1" fmla="*/ 58847 h 64887"/>
                    <a:gd name="connsiteX2" fmla="*/ 3349 w 32355"/>
                    <a:gd name="connsiteY2" fmla="*/ 4661 h 64887"/>
                    <a:gd name="connsiteX3" fmla="*/ 0 w 32355"/>
                    <a:gd name="connsiteY3" fmla="*/ 774 h 64887"/>
                    <a:gd name="connsiteX4" fmla="*/ 4366 w 32355"/>
                    <a:gd name="connsiteY4" fmla="*/ 2867 h 64887"/>
                    <a:gd name="connsiteX5" fmla="*/ 26554 w 32355"/>
                    <a:gd name="connsiteY5" fmla="*/ 56813 h 64887"/>
                    <a:gd name="connsiteX6" fmla="*/ 32356 w 32355"/>
                    <a:gd name="connsiteY6" fmla="*/ 64887 h 64887"/>
                    <a:gd name="connsiteX7" fmla="*/ 25298 w 32355"/>
                    <a:gd name="connsiteY7" fmla="*/ 62854 h 6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5" h="64887">
                      <a:moveTo>
                        <a:pt x="25298" y="62854"/>
                      </a:moveTo>
                      <a:cubicBezTo>
                        <a:pt x="25598" y="61478"/>
                        <a:pt x="26495" y="59863"/>
                        <a:pt x="26076" y="58847"/>
                      </a:cubicBezTo>
                      <a:cubicBezTo>
                        <a:pt x="18600" y="40725"/>
                        <a:pt x="11064" y="22663"/>
                        <a:pt x="3349" y="4661"/>
                      </a:cubicBezTo>
                      <a:cubicBezTo>
                        <a:pt x="2691" y="3166"/>
                        <a:pt x="1136" y="2090"/>
                        <a:pt x="0" y="774"/>
                      </a:cubicBezTo>
                      <a:cubicBezTo>
                        <a:pt x="2213" y="-721"/>
                        <a:pt x="3170" y="-63"/>
                        <a:pt x="4366" y="2867"/>
                      </a:cubicBezTo>
                      <a:cubicBezTo>
                        <a:pt x="11603" y="20929"/>
                        <a:pt x="18959" y="38931"/>
                        <a:pt x="26554" y="56813"/>
                      </a:cubicBezTo>
                      <a:cubicBezTo>
                        <a:pt x="27811" y="59803"/>
                        <a:pt x="30382" y="62256"/>
                        <a:pt x="32356" y="64887"/>
                      </a:cubicBezTo>
                      <a:cubicBezTo>
                        <a:pt x="30621" y="64409"/>
                        <a:pt x="27990" y="63631"/>
                        <a:pt x="25298" y="6285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26" name="Vrije vorm: vorm 9525">
                  <a:extLst>
                    <a:ext uri="{FF2B5EF4-FFF2-40B4-BE49-F238E27FC236}">
                      <a16:creationId xmlns:a16="http://schemas.microsoft.com/office/drawing/2014/main" id="{04F76FA8-FC2D-498D-BA89-C8BD886FB78C}"/>
                    </a:ext>
                  </a:extLst>
                </p:cNvPr>
                <p:cNvSpPr/>
                <p:nvPr/>
              </p:nvSpPr>
              <p:spPr>
                <a:xfrm>
                  <a:off x="4862346" y="1998020"/>
                  <a:ext cx="30202" cy="64841"/>
                </a:xfrm>
                <a:custGeom>
                  <a:avLst/>
                  <a:gdLst>
                    <a:gd name="connsiteX0" fmla="*/ 13935 w 30202"/>
                    <a:gd name="connsiteY0" fmla="*/ 718 h 64841"/>
                    <a:gd name="connsiteX1" fmla="*/ 2034 w 30202"/>
                    <a:gd name="connsiteY1" fmla="*/ 2093 h 64841"/>
                    <a:gd name="connsiteX2" fmla="*/ 25956 w 30202"/>
                    <a:gd name="connsiteY2" fmla="*/ 60585 h 64841"/>
                    <a:gd name="connsiteX3" fmla="*/ 30203 w 30202"/>
                    <a:gd name="connsiteY3" fmla="*/ 63814 h 64841"/>
                    <a:gd name="connsiteX4" fmla="*/ 24820 w 30202"/>
                    <a:gd name="connsiteY4" fmla="*/ 61422 h 64841"/>
                    <a:gd name="connsiteX5" fmla="*/ 0 w 30202"/>
                    <a:gd name="connsiteY5" fmla="*/ 0 h 64841"/>
                    <a:gd name="connsiteX6" fmla="*/ 13935 w 30202"/>
                    <a:gd name="connsiteY6" fmla="*/ 718 h 6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02" h="64841">
                      <a:moveTo>
                        <a:pt x="13935" y="718"/>
                      </a:moveTo>
                      <a:cubicBezTo>
                        <a:pt x="10048" y="1196"/>
                        <a:pt x="6160" y="1615"/>
                        <a:pt x="2034" y="2093"/>
                      </a:cubicBezTo>
                      <a:cubicBezTo>
                        <a:pt x="10048" y="21710"/>
                        <a:pt x="17882" y="41207"/>
                        <a:pt x="25956" y="60585"/>
                      </a:cubicBezTo>
                      <a:cubicBezTo>
                        <a:pt x="26554" y="62020"/>
                        <a:pt x="28707" y="62798"/>
                        <a:pt x="30203" y="63814"/>
                      </a:cubicBezTo>
                      <a:cubicBezTo>
                        <a:pt x="27631" y="65429"/>
                        <a:pt x="26375" y="65489"/>
                        <a:pt x="24820" y="61422"/>
                      </a:cubicBezTo>
                      <a:cubicBezTo>
                        <a:pt x="16866" y="40908"/>
                        <a:pt x="8373" y="20574"/>
                        <a:pt x="0" y="0"/>
                      </a:cubicBezTo>
                      <a:cubicBezTo>
                        <a:pt x="4246" y="239"/>
                        <a:pt x="9091" y="478"/>
                        <a:pt x="13935" y="71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27" name="Vrije vorm: vorm 9526">
                  <a:extLst>
                    <a:ext uri="{FF2B5EF4-FFF2-40B4-BE49-F238E27FC236}">
                      <a16:creationId xmlns:a16="http://schemas.microsoft.com/office/drawing/2014/main" id="{E306BD1A-59C3-45CD-93EB-757AE1DE7920}"/>
                    </a:ext>
                  </a:extLst>
                </p:cNvPr>
                <p:cNvSpPr/>
                <p:nvPr/>
              </p:nvSpPr>
              <p:spPr>
                <a:xfrm>
                  <a:off x="5191286" y="2008725"/>
                  <a:ext cx="29963" cy="64232"/>
                </a:xfrm>
                <a:custGeom>
                  <a:avLst/>
                  <a:gdLst>
                    <a:gd name="connsiteX0" fmla="*/ 20514 w 29963"/>
                    <a:gd name="connsiteY0" fmla="*/ 63097 h 64232"/>
                    <a:gd name="connsiteX1" fmla="*/ 27452 w 29963"/>
                    <a:gd name="connsiteY1" fmla="*/ 61721 h 64232"/>
                    <a:gd name="connsiteX2" fmla="*/ 24102 w 29963"/>
                    <a:gd name="connsiteY2" fmla="*/ 53468 h 64232"/>
                    <a:gd name="connsiteX3" fmla="*/ 4964 w 29963"/>
                    <a:gd name="connsiteY3" fmla="*/ 6758 h 64232"/>
                    <a:gd name="connsiteX4" fmla="*/ 0 w 29963"/>
                    <a:gd name="connsiteY4" fmla="*/ 538 h 64232"/>
                    <a:gd name="connsiteX5" fmla="*/ 3828 w 29963"/>
                    <a:gd name="connsiteY5" fmla="*/ 0 h 64232"/>
                    <a:gd name="connsiteX6" fmla="*/ 29963 w 29963"/>
                    <a:gd name="connsiteY6" fmla="*/ 64233 h 64232"/>
                    <a:gd name="connsiteX7" fmla="*/ 20514 w 29963"/>
                    <a:gd name="connsiteY7" fmla="*/ 62857 h 64232"/>
                    <a:gd name="connsiteX8" fmla="*/ 20514 w 29963"/>
                    <a:gd name="connsiteY8" fmla="*/ 63097 h 6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3" h="64232">
                      <a:moveTo>
                        <a:pt x="20514" y="63097"/>
                      </a:moveTo>
                      <a:cubicBezTo>
                        <a:pt x="22607" y="62678"/>
                        <a:pt x="24641" y="62259"/>
                        <a:pt x="27452" y="61721"/>
                      </a:cubicBezTo>
                      <a:cubicBezTo>
                        <a:pt x="26315" y="58910"/>
                        <a:pt x="25179" y="56219"/>
                        <a:pt x="24102" y="53468"/>
                      </a:cubicBezTo>
                      <a:cubicBezTo>
                        <a:pt x="17763" y="37858"/>
                        <a:pt x="11483" y="22248"/>
                        <a:pt x="4964" y="6758"/>
                      </a:cubicBezTo>
                      <a:cubicBezTo>
                        <a:pt x="3947" y="4366"/>
                        <a:pt x="1615" y="2512"/>
                        <a:pt x="0" y="538"/>
                      </a:cubicBezTo>
                      <a:cubicBezTo>
                        <a:pt x="538" y="478"/>
                        <a:pt x="2213" y="239"/>
                        <a:pt x="3828" y="0"/>
                      </a:cubicBezTo>
                      <a:cubicBezTo>
                        <a:pt x="12500" y="21411"/>
                        <a:pt x="21112" y="42463"/>
                        <a:pt x="29963" y="64233"/>
                      </a:cubicBezTo>
                      <a:cubicBezTo>
                        <a:pt x="26734" y="63755"/>
                        <a:pt x="23624" y="63336"/>
                        <a:pt x="20514" y="62857"/>
                      </a:cubicBezTo>
                      <a:cubicBezTo>
                        <a:pt x="20574" y="62917"/>
                        <a:pt x="20514" y="63097"/>
                        <a:pt x="20514" y="6309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28" name="Vrije vorm: vorm 9527">
                  <a:extLst>
                    <a:ext uri="{FF2B5EF4-FFF2-40B4-BE49-F238E27FC236}">
                      <a16:creationId xmlns:a16="http://schemas.microsoft.com/office/drawing/2014/main" id="{9989A626-0F05-4FFD-844D-4684DBF5EBCB}"/>
                    </a:ext>
                  </a:extLst>
                </p:cNvPr>
                <p:cNvSpPr/>
                <p:nvPr/>
              </p:nvSpPr>
              <p:spPr>
                <a:xfrm>
                  <a:off x="5363352" y="1493307"/>
                  <a:ext cx="23085" cy="55560"/>
                </a:xfrm>
                <a:custGeom>
                  <a:avLst/>
                  <a:gdLst>
                    <a:gd name="connsiteX0" fmla="*/ 22488 w 23085"/>
                    <a:gd name="connsiteY0" fmla="*/ 55561 h 55560"/>
                    <a:gd name="connsiteX1" fmla="*/ 0 w 23085"/>
                    <a:gd name="connsiteY1" fmla="*/ 239 h 55560"/>
                    <a:gd name="connsiteX2" fmla="*/ 598 w 23085"/>
                    <a:gd name="connsiteY2" fmla="*/ 0 h 55560"/>
                    <a:gd name="connsiteX3" fmla="*/ 23086 w 23085"/>
                    <a:gd name="connsiteY3" fmla="*/ 55322 h 55560"/>
                    <a:gd name="connsiteX4" fmla="*/ 22488 w 23085"/>
                    <a:gd name="connsiteY4" fmla="*/ 55561 h 5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5" h="55560">
                      <a:moveTo>
                        <a:pt x="22488" y="55561"/>
                      </a:moveTo>
                      <a:cubicBezTo>
                        <a:pt x="15012" y="37140"/>
                        <a:pt x="7476" y="18660"/>
                        <a:pt x="0" y="239"/>
                      </a:cubicBezTo>
                      <a:cubicBezTo>
                        <a:pt x="179" y="179"/>
                        <a:pt x="419" y="60"/>
                        <a:pt x="598" y="0"/>
                      </a:cubicBezTo>
                      <a:cubicBezTo>
                        <a:pt x="8074" y="18421"/>
                        <a:pt x="15610" y="36901"/>
                        <a:pt x="23086" y="55322"/>
                      </a:cubicBezTo>
                      <a:cubicBezTo>
                        <a:pt x="22846" y="55441"/>
                        <a:pt x="22667" y="55501"/>
                        <a:pt x="22488" y="5556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29" name="Vrije vorm: vorm 9528">
                  <a:extLst>
                    <a:ext uri="{FF2B5EF4-FFF2-40B4-BE49-F238E27FC236}">
                      <a16:creationId xmlns:a16="http://schemas.microsoft.com/office/drawing/2014/main" id="{A66751E4-E43C-49EC-B71D-6756CFB1B5A2}"/>
                    </a:ext>
                  </a:extLst>
                </p:cNvPr>
                <p:cNvSpPr/>
                <p:nvPr/>
              </p:nvSpPr>
              <p:spPr>
                <a:xfrm>
                  <a:off x="5419929" y="1638100"/>
                  <a:ext cx="23085" cy="55560"/>
                </a:xfrm>
                <a:custGeom>
                  <a:avLst/>
                  <a:gdLst>
                    <a:gd name="connsiteX0" fmla="*/ 22547 w 23085"/>
                    <a:gd name="connsiteY0" fmla="*/ 55561 h 55560"/>
                    <a:gd name="connsiteX1" fmla="*/ 0 w 23085"/>
                    <a:gd name="connsiteY1" fmla="*/ 179 h 55560"/>
                    <a:gd name="connsiteX2" fmla="*/ 538 w 23085"/>
                    <a:gd name="connsiteY2" fmla="*/ 0 h 55560"/>
                    <a:gd name="connsiteX3" fmla="*/ 23086 w 23085"/>
                    <a:gd name="connsiteY3" fmla="*/ 55501 h 55560"/>
                    <a:gd name="connsiteX4" fmla="*/ 22547 w 23085"/>
                    <a:gd name="connsiteY4" fmla="*/ 55561 h 5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5" h="55560">
                      <a:moveTo>
                        <a:pt x="22547" y="55561"/>
                      </a:moveTo>
                      <a:cubicBezTo>
                        <a:pt x="15011" y="37080"/>
                        <a:pt x="7535" y="18600"/>
                        <a:pt x="0" y="179"/>
                      </a:cubicBezTo>
                      <a:cubicBezTo>
                        <a:pt x="179" y="120"/>
                        <a:pt x="359" y="60"/>
                        <a:pt x="538" y="0"/>
                      </a:cubicBezTo>
                      <a:cubicBezTo>
                        <a:pt x="8074" y="18480"/>
                        <a:pt x="15610" y="36961"/>
                        <a:pt x="23086" y="55501"/>
                      </a:cubicBezTo>
                      <a:cubicBezTo>
                        <a:pt x="22966" y="55441"/>
                        <a:pt x="22727" y="55501"/>
                        <a:pt x="22547" y="5556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30" name="Vrije vorm: vorm 9529">
                  <a:extLst>
                    <a:ext uri="{FF2B5EF4-FFF2-40B4-BE49-F238E27FC236}">
                      <a16:creationId xmlns:a16="http://schemas.microsoft.com/office/drawing/2014/main" id="{E51ECCEA-70FE-4040-A6F2-B0AA3652F58C}"/>
                    </a:ext>
                  </a:extLst>
                </p:cNvPr>
                <p:cNvSpPr/>
                <p:nvPr/>
              </p:nvSpPr>
              <p:spPr>
                <a:xfrm>
                  <a:off x="4884834" y="1998242"/>
                  <a:ext cx="31757" cy="67419"/>
                </a:xfrm>
                <a:custGeom>
                  <a:avLst/>
                  <a:gdLst>
                    <a:gd name="connsiteX0" fmla="*/ 22727 w 31757"/>
                    <a:gd name="connsiteY0" fmla="*/ 64668 h 67419"/>
                    <a:gd name="connsiteX1" fmla="*/ 28827 w 31757"/>
                    <a:gd name="connsiteY1" fmla="*/ 64668 h 67419"/>
                    <a:gd name="connsiteX2" fmla="*/ 22248 w 31757"/>
                    <a:gd name="connsiteY2" fmla="*/ 48520 h 67419"/>
                    <a:gd name="connsiteX3" fmla="*/ 5083 w 31757"/>
                    <a:gd name="connsiteY3" fmla="*/ 7014 h 67419"/>
                    <a:gd name="connsiteX4" fmla="*/ 0 w 31757"/>
                    <a:gd name="connsiteY4" fmla="*/ 196 h 67419"/>
                    <a:gd name="connsiteX5" fmla="*/ 4844 w 31757"/>
                    <a:gd name="connsiteY5" fmla="*/ 3007 h 67419"/>
                    <a:gd name="connsiteX6" fmla="*/ 28528 w 31757"/>
                    <a:gd name="connsiteY6" fmla="*/ 60960 h 67419"/>
                    <a:gd name="connsiteX7" fmla="*/ 31758 w 31757"/>
                    <a:gd name="connsiteY7" fmla="*/ 67419 h 67419"/>
                    <a:gd name="connsiteX8" fmla="*/ 22727 w 31757"/>
                    <a:gd name="connsiteY8" fmla="*/ 64668 h 67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57" h="67419">
                      <a:moveTo>
                        <a:pt x="22727" y="64668"/>
                      </a:moveTo>
                      <a:cubicBezTo>
                        <a:pt x="24521" y="64668"/>
                        <a:pt x="26315" y="64668"/>
                        <a:pt x="28827" y="64668"/>
                      </a:cubicBezTo>
                      <a:cubicBezTo>
                        <a:pt x="26435" y="58867"/>
                        <a:pt x="24342" y="53664"/>
                        <a:pt x="22248" y="48520"/>
                      </a:cubicBezTo>
                      <a:cubicBezTo>
                        <a:pt x="16567" y="34645"/>
                        <a:pt x="10945" y="20770"/>
                        <a:pt x="5083" y="7014"/>
                      </a:cubicBezTo>
                      <a:cubicBezTo>
                        <a:pt x="4007" y="4502"/>
                        <a:pt x="1734" y="2469"/>
                        <a:pt x="0" y="196"/>
                      </a:cubicBezTo>
                      <a:cubicBezTo>
                        <a:pt x="2153" y="-163"/>
                        <a:pt x="3529" y="-402"/>
                        <a:pt x="4844" y="3007"/>
                      </a:cubicBezTo>
                      <a:cubicBezTo>
                        <a:pt x="12440" y="22444"/>
                        <a:pt x="20574" y="41642"/>
                        <a:pt x="28528" y="60960"/>
                      </a:cubicBezTo>
                      <a:cubicBezTo>
                        <a:pt x="29306" y="62814"/>
                        <a:pt x="30322" y="64489"/>
                        <a:pt x="31758" y="67419"/>
                      </a:cubicBezTo>
                      <a:cubicBezTo>
                        <a:pt x="28349" y="66343"/>
                        <a:pt x="25538" y="65505"/>
                        <a:pt x="22727" y="6466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31" name="Vrije vorm: vorm 9530">
                  <a:extLst>
                    <a:ext uri="{FF2B5EF4-FFF2-40B4-BE49-F238E27FC236}">
                      <a16:creationId xmlns:a16="http://schemas.microsoft.com/office/drawing/2014/main" id="{9319DA48-F499-434E-80BE-08EDAB50524C}"/>
                    </a:ext>
                  </a:extLst>
                </p:cNvPr>
                <p:cNvSpPr/>
                <p:nvPr/>
              </p:nvSpPr>
              <p:spPr>
                <a:xfrm>
                  <a:off x="4892788" y="2071164"/>
                  <a:ext cx="30322" cy="65668"/>
                </a:xfrm>
                <a:custGeom>
                  <a:avLst/>
                  <a:gdLst>
                    <a:gd name="connsiteX0" fmla="*/ 0 w 30322"/>
                    <a:gd name="connsiteY0" fmla="*/ 0 h 65668"/>
                    <a:gd name="connsiteX1" fmla="*/ 8791 w 30322"/>
                    <a:gd name="connsiteY1" fmla="*/ 1495 h 65668"/>
                    <a:gd name="connsiteX2" fmla="*/ 3229 w 30322"/>
                    <a:gd name="connsiteY2" fmla="*/ 2512 h 65668"/>
                    <a:gd name="connsiteX3" fmla="*/ 30322 w 30322"/>
                    <a:gd name="connsiteY3" fmla="*/ 64592 h 65668"/>
                    <a:gd name="connsiteX4" fmla="*/ 29305 w 30322"/>
                    <a:gd name="connsiteY4" fmla="*/ 65668 h 65668"/>
                    <a:gd name="connsiteX5" fmla="*/ 25777 w 30322"/>
                    <a:gd name="connsiteY5" fmla="*/ 61601 h 65668"/>
                    <a:gd name="connsiteX6" fmla="*/ 2811 w 30322"/>
                    <a:gd name="connsiteY6" fmla="*/ 5861 h 65668"/>
                    <a:gd name="connsiteX7" fmla="*/ 0 w 30322"/>
                    <a:gd name="connsiteY7" fmla="*/ 0 h 6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22" h="65668">
                      <a:moveTo>
                        <a:pt x="0" y="0"/>
                      </a:moveTo>
                      <a:cubicBezTo>
                        <a:pt x="2871" y="478"/>
                        <a:pt x="5024" y="837"/>
                        <a:pt x="8791" y="1495"/>
                      </a:cubicBezTo>
                      <a:cubicBezTo>
                        <a:pt x="5861" y="2033"/>
                        <a:pt x="4545" y="2273"/>
                        <a:pt x="3229" y="2512"/>
                      </a:cubicBezTo>
                      <a:cubicBezTo>
                        <a:pt x="6579" y="15789"/>
                        <a:pt x="26674" y="61900"/>
                        <a:pt x="30322" y="64592"/>
                      </a:cubicBezTo>
                      <a:cubicBezTo>
                        <a:pt x="29963" y="64951"/>
                        <a:pt x="29664" y="65309"/>
                        <a:pt x="29305" y="65668"/>
                      </a:cubicBezTo>
                      <a:cubicBezTo>
                        <a:pt x="28109" y="64353"/>
                        <a:pt x="26435" y="63156"/>
                        <a:pt x="25777" y="61601"/>
                      </a:cubicBezTo>
                      <a:cubicBezTo>
                        <a:pt x="18062" y="43061"/>
                        <a:pt x="10466" y="24461"/>
                        <a:pt x="2811" y="5861"/>
                      </a:cubicBezTo>
                      <a:cubicBezTo>
                        <a:pt x="2093" y="4067"/>
                        <a:pt x="1136" y="2332"/>
                        <a:pt x="0"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32" name="Vrije vorm: vorm 9531">
                  <a:extLst>
                    <a:ext uri="{FF2B5EF4-FFF2-40B4-BE49-F238E27FC236}">
                      <a16:creationId xmlns:a16="http://schemas.microsoft.com/office/drawing/2014/main" id="{5404C61D-200B-4D70-9514-7B3A8F694D15}"/>
                    </a:ext>
                  </a:extLst>
                </p:cNvPr>
                <p:cNvSpPr/>
                <p:nvPr/>
              </p:nvSpPr>
              <p:spPr>
                <a:xfrm>
                  <a:off x="5342885" y="2021887"/>
                  <a:ext cx="45305" cy="109784"/>
                </a:xfrm>
                <a:custGeom>
                  <a:avLst/>
                  <a:gdLst>
                    <a:gd name="connsiteX0" fmla="*/ 23041 w 45305"/>
                    <a:gd name="connsiteY0" fmla="*/ 54735 h 109784"/>
                    <a:gd name="connsiteX1" fmla="*/ 44918 w 45305"/>
                    <a:gd name="connsiteY1" fmla="*/ 109627 h 109784"/>
                    <a:gd name="connsiteX2" fmla="*/ 22265 w 45305"/>
                    <a:gd name="connsiteY2" fmla="*/ 55050 h 109784"/>
                    <a:gd name="connsiteX3" fmla="*/ 388 w 45305"/>
                    <a:gd name="connsiteY3" fmla="*/ 158 h 109784"/>
                    <a:gd name="connsiteX4" fmla="*/ 23041 w 45305"/>
                    <a:gd name="connsiteY4" fmla="*/ 54735 h 109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05" h="109784">
                      <a:moveTo>
                        <a:pt x="23041" y="54735"/>
                      </a:moveTo>
                      <a:cubicBezTo>
                        <a:pt x="35337" y="84964"/>
                        <a:pt x="45132" y="109540"/>
                        <a:pt x="44918" y="109627"/>
                      </a:cubicBezTo>
                      <a:cubicBezTo>
                        <a:pt x="44704" y="109714"/>
                        <a:pt x="34561" y="85279"/>
                        <a:pt x="22265" y="55050"/>
                      </a:cubicBezTo>
                      <a:cubicBezTo>
                        <a:pt x="9968" y="24821"/>
                        <a:pt x="173" y="245"/>
                        <a:pt x="388" y="158"/>
                      </a:cubicBezTo>
                      <a:cubicBezTo>
                        <a:pt x="602" y="71"/>
                        <a:pt x="10744" y="24506"/>
                        <a:pt x="23041" y="5473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33" name="Vrije vorm: vorm 9532">
                  <a:extLst>
                    <a:ext uri="{FF2B5EF4-FFF2-40B4-BE49-F238E27FC236}">
                      <a16:creationId xmlns:a16="http://schemas.microsoft.com/office/drawing/2014/main" id="{4A28617E-4BAD-4546-A2ED-062E49E26A32}"/>
                    </a:ext>
                  </a:extLst>
                </p:cNvPr>
                <p:cNvSpPr/>
                <p:nvPr/>
              </p:nvSpPr>
              <p:spPr>
                <a:xfrm>
                  <a:off x="5505513" y="1790309"/>
                  <a:ext cx="20513" cy="49400"/>
                </a:xfrm>
                <a:custGeom>
                  <a:avLst/>
                  <a:gdLst>
                    <a:gd name="connsiteX0" fmla="*/ 20035 w 20513"/>
                    <a:gd name="connsiteY0" fmla="*/ 49401 h 49400"/>
                    <a:gd name="connsiteX1" fmla="*/ 0 w 20513"/>
                    <a:gd name="connsiteY1" fmla="*/ 179 h 49400"/>
                    <a:gd name="connsiteX2" fmla="*/ 538 w 20513"/>
                    <a:gd name="connsiteY2" fmla="*/ 0 h 49400"/>
                    <a:gd name="connsiteX3" fmla="*/ 20514 w 20513"/>
                    <a:gd name="connsiteY3" fmla="*/ 49042 h 49400"/>
                    <a:gd name="connsiteX4" fmla="*/ 20035 w 20513"/>
                    <a:gd name="connsiteY4" fmla="*/ 49401 h 4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3" h="49400">
                      <a:moveTo>
                        <a:pt x="20035" y="49401"/>
                      </a:moveTo>
                      <a:cubicBezTo>
                        <a:pt x="13337" y="33014"/>
                        <a:pt x="6698" y="16567"/>
                        <a:pt x="0" y="179"/>
                      </a:cubicBezTo>
                      <a:cubicBezTo>
                        <a:pt x="179" y="120"/>
                        <a:pt x="359" y="60"/>
                        <a:pt x="538" y="0"/>
                      </a:cubicBezTo>
                      <a:cubicBezTo>
                        <a:pt x="7177" y="16327"/>
                        <a:pt x="13875" y="32715"/>
                        <a:pt x="20514" y="49042"/>
                      </a:cubicBezTo>
                      <a:cubicBezTo>
                        <a:pt x="20394" y="49162"/>
                        <a:pt x="20215" y="49281"/>
                        <a:pt x="20035" y="4940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34" name="Vrije vorm: vorm 9533">
                  <a:extLst>
                    <a:ext uri="{FF2B5EF4-FFF2-40B4-BE49-F238E27FC236}">
                      <a16:creationId xmlns:a16="http://schemas.microsoft.com/office/drawing/2014/main" id="{37C3A4AB-12E4-43EF-8449-4B21020C14F1}"/>
                    </a:ext>
                  </a:extLst>
                </p:cNvPr>
                <p:cNvSpPr/>
                <p:nvPr/>
              </p:nvSpPr>
              <p:spPr>
                <a:xfrm>
                  <a:off x="5159289" y="1930139"/>
                  <a:ext cx="29664" cy="64412"/>
                </a:xfrm>
                <a:custGeom>
                  <a:avLst/>
                  <a:gdLst>
                    <a:gd name="connsiteX0" fmla="*/ 0 w 29664"/>
                    <a:gd name="connsiteY0" fmla="*/ 957 h 64412"/>
                    <a:gd name="connsiteX1" fmla="*/ 3469 w 29664"/>
                    <a:gd name="connsiteY1" fmla="*/ 0 h 64412"/>
                    <a:gd name="connsiteX2" fmla="*/ 29664 w 29664"/>
                    <a:gd name="connsiteY2" fmla="*/ 64412 h 64412"/>
                    <a:gd name="connsiteX3" fmla="*/ 25597 w 29664"/>
                    <a:gd name="connsiteY3" fmla="*/ 64233 h 64412"/>
                    <a:gd name="connsiteX4" fmla="*/ 25837 w 29664"/>
                    <a:gd name="connsiteY4" fmla="*/ 58671 h 64412"/>
                    <a:gd name="connsiteX5" fmla="*/ 4246 w 29664"/>
                    <a:gd name="connsiteY5" fmla="*/ 5622 h 64412"/>
                    <a:gd name="connsiteX6" fmla="*/ 0 w 29664"/>
                    <a:gd name="connsiteY6" fmla="*/ 957 h 6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64" h="64412">
                      <a:moveTo>
                        <a:pt x="0" y="957"/>
                      </a:moveTo>
                      <a:cubicBezTo>
                        <a:pt x="718" y="778"/>
                        <a:pt x="2033" y="419"/>
                        <a:pt x="3469" y="0"/>
                      </a:cubicBezTo>
                      <a:cubicBezTo>
                        <a:pt x="12201" y="21471"/>
                        <a:pt x="20813" y="42702"/>
                        <a:pt x="29664" y="64412"/>
                      </a:cubicBezTo>
                      <a:cubicBezTo>
                        <a:pt x="27870" y="64353"/>
                        <a:pt x="26375" y="64293"/>
                        <a:pt x="25597" y="64233"/>
                      </a:cubicBezTo>
                      <a:cubicBezTo>
                        <a:pt x="25717" y="62140"/>
                        <a:pt x="26435" y="60166"/>
                        <a:pt x="25837" y="58671"/>
                      </a:cubicBezTo>
                      <a:cubicBezTo>
                        <a:pt x="18780" y="40968"/>
                        <a:pt x="11603" y="23265"/>
                        <a:pt x="4246" y="5622"/>
                      </a:cubicBezTo>
                      <a:cubicBezTo>
                        <a:pt x="3588" y="3887"/>
                        <a:pt x="1555" y="2572"/>
                        <a:pt x="0" y="95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35" name="Vrije vorm: vorm 9534">
                  <a:extLst>
                    <a:ext uri="{FF2B5EF4-FFF2-40B4-BE49-F238E27FC236}">
                      <a16:creationId xmlns:a16="http://schemas.microsoft.com/office/drawing/2014/main" id="{6C9257F5-D8B7-4B59-8333-556E19C0FF16}"/>
                    </a:ext>
                  </a:extLst>
                </p:cNvPr>
                <p:cNvSpPr/>
                <p:nvPr/>
              </p:nvSpPr>
              <p:spPr>
                <a:xfrm>
                  <a:off x="5202171" y="2007888"/>
                  <a:ext cx="34269" cy="65189"/>
                </a:xfrm>
                <a:custGeom>
                  <a:avLst/>
                  <a:gdLst>
                    <a:gd name="connsiteX0" fmla="*/ 5024 w 34269"/>
                    <a:gd name="connsiteY0" fmla="*/ 1017 h 65189"/>
                    <a:gd name="connsiteX1" fmla="*/ 3947 w 34269"/>
                    <a:gd name="connsiteY1" fmla="*/ 5682 h 65189"/>
                    <a:gd name="connsiteX2" fmla="*/ 25777 w 34269"/>
                    <a:gd name="connsiteY2" fmla="*/ 59927 h 65189"/>
                    <a:gd name="connsiteX3" fmla="*/ 34269 w 34269"/>
                    <a:gd name="connsiteY3" fmla="*/ 64173 h 65189"/>
                    <a:gd name="connsiteX4" fmla="*/ 26554 w 34269"/>
                    <a:gd name="connsiteY4" fmla="*/ 65190 h 65189"/>
                    <a:gd name="connsiteX5" fmla="*/ 0 w 34269"/>
                    <a:gd name="connsiteY5" fmla="*/ 0 h 65189"/>
                    <a:gd name="connsiteX6" fmla="*/ 5024 w 34269"/>
                    <a:gd name="connsiteY6" fmla="*/ 1017 h 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69" h="65189">
                      <a:moveTo>
                        <a:pt x="5024" y="1017"/>
                      </a:moveTo>
                      <a:cubicBezTo>
                        <a:pt x="4605" y="2572"/>
                        <a:pt x="3469" y="4486"/>
                        <a:pt x="3947" y="5682"/>
                      </a:cubicBezTo>
                      <a:cubicBezTo>
                        <a:pt x="11124" y="23803"/>
                        <a:pt x="18720" y="41805"/>
                        <a:pt x="25777" y="59927"/>
                      </a:cubicBezTo>
                      <a:cubicBezTo>
                        <a:pt x="27751" y="65010"/>
                        <a:pt x="31578" y="62499"/>
                        <a:pt x="34269" y="64173"/>
                      </a:cubicBezTo>
                      <a:cubicBezTo>
                        <a:pt x="31758" y="64472"/>
                        <a:pt x="29246" y="64831"/>
                        <a:pt x="26554" y="65190"/>
                      </a:cubicBezTo>
                      <a:cubicBezTo>
                        <a:pt x="17703" y="43480"/>
                        <a:pt x="8971" y="22009"/>
                        <a:pt x="0" y="0"/>
                      </a:cubicBezTo>
                      <a:cubicBezTo>
                        <a:pt x="1914" y="419"/>
                        <a:pt x="3469" y="718"/>
                        <a:pt x="5024" y="101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36" name="Vrije vorm: vorm 9535">
                  <a:extLst>
                    <a:ext uri="{FF2B5EF4-FFF2-40B4-BE49-F238E27FC236}">
                      <a16:creationId xmlns:a16="http://schemas.microsoft.com/office/drawing/2014/main" id="{D3D23DB1-ED1A-47BE-9D15-2D3154208FFF}"/>
                    </a:ext>
                  </a:extLst>
                </p:cNvPr>
                <p:cNvSpPr/>
                <p:nvPr/>
              </p:nvSpPr>
              <p:spPr>
                <a:xfrm>
                  <a:off x="5131718" y="1937196"/>
                  <a:ext cx="36900" cy="57654"/>
                </a:xfrm>
                <a:custGeom>
                  <a:avLst/>
                  <a:gdLst>
                    <a:gd name="connsiteX0" fmla="*/ 36841 w 36900"/>
                    <a:gd name="connsiteY0" fmla="*/ 57176 h 57654"/>
                    <a:gd name="connsiteX1" fmla="*/ 23265 w 36900"/>
                    <a:gd name="connsiteY1" fmla="*/ 57654 h 57654"/>
                    <a:gd name="connsiteX2" fmla="*/ 0 w 36900"/>
                    <a:gd name="connsiteY2" fmla="*/ 478 h 57654"/>
                    <a:gd name="connsiteX3" fmla="*/ 957 w 36900"/>
                    <a:gd name="connsiteY3" fmla="*/ 0 h 57654"/>
                    <a:gd name="connsiteX4" fmla="*/ 3409 w 36900"/>
                    <a:gd name="connsiteY4" fmla="*/ 6041 h 57654"/>
                    <a:gd name="connsiteX5" fmla="*/ 20933 w 36900"/>
                    <a:gd name="connsiteY5" fmla="*/ 49401 h 57654"/>
                    <a:gd name="connsiteX6" fmla="*/ 30382 w 36900"/>
                    <a:gd name="connsiteY6" fmla="*/ 56099 h 57654"/>
                    <a:gd name="connsiteX7" fmla="*/ 36901 w 36900"/>
                    <a:gd name="connsiteY7" fmla="*/ 56219 h 57654"/>
                    <a:gd name="connsiteX8" fmla="*/ 36841 w 36900"/>
                    <a:gd name="connsiteY8" fmla="*/ 57176 h 5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00" h="57654">
                      <a:moveTo>
                        <a:pt x="36841" y="57176"/>
                      </a:moveTo>
                      <a:cubicBezTo>
                        <a:pt x="32356" y="57355"/>
                        <a:pt x="27870" y="57475"/>
                        <a:pt x="23265" y="57654"/>
                      </a:cubicBezTo>
                      <a:cubicBezTo>
                        <a:pt x="15550" y="38636"/>
                        <a:pt x="7775" y="19557"/>
                        <a:pt x="0" y="478"/>
                      </a:cubicBezTo>
                      <a:cubicBezTo>
                        <a:pt x="299" y="299"/>
                        <a:pt x="598" y="179"/>
                        <a:pt x="957" y="0"/>
                      </a:cubicBezTo>
                      <a:cubicBezTo>
                        <a:pt x="1794" y="2034"/>
                        <a:pt x="2572" y="4007"/>
                        <a:pt x="3409" y="6041"/>
                      </a:cubicBezTo>
                      <a:cubicBezTo>
                        <a:pt x="9270" y="20454"/>
                        <a:pt x="15430" y="34808"/>
                        <a:pt x="20933" y="49401"/>
                      </a:cubicBezTo>
                      <a:cubicBezTo>
                        <a:pt x="22906" y="54664"/>
                        <a:pt x="25298" y="56996"/>
                        <a:pt x="30382" y="56099"/>
                      </a:cubicBezTo>
                      <a:cubicBezTo>
                        <a:pt x="32475" y="55740"/>
                        <a:pt x="34748" y="56159"/>
                        <a:pt x="36901" y="56219"/>
                      </a:cubicBezTo>
                      <a:cubicBezTo>
                        <a:pt x="36901" y="56518"/>
                        <a:pt x="36841" y="56817"/>
                        <a:pt x="36841" y="5717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37" name="Vrije vorm: vorm 9536">
                  <a:extLst>
                    <a:ext uri="{FF2B5EF4-FFF2-40B4-BE49-F238E27FC236}">
                      <a16:creationId xmlns:a16="http://schemas.microsoft.com/office/drawing/2014/main" id="{AFBD79CC-2EA6-46DD-BAC2-1197B1C4F244}"/>
                    </a:ext>
                  </a:extLst>
                </p:cNvPr>
                <p:cNvSpPr/>
                <p:nvPr/>
              </p:nvSpPr>
              <p:spPr>
                <a:xfrm>
                  <a:off x="5279382" y="1527098"/>
                  <a:ext cx="21291" cy="51374"/>
                </a:xfrm>
                <a:custGeom>
                  <a:avLst/>
                  <a:gdLst>
                    <a:gd name="connsiteX0" fmla="*/ 478 w 21291"/>
                    <a:gd name="connsiteY0" fmla="*/ 0 h 51374"/>
                    <a:gd name="connsiteX1" fmla="*/ 21291 w 21291"/>
                    <a:gd name="connsiteY1" fmla="*/ 51195 h 51374"/>
                    <a:gd name="connsiteX2" fmla="*/ 20813 w 21291"/>
                    <a:gd name="connsiteY2" fmla="*/ 51374 h 51374"/>
                    <a:gd name="connsiteX3" fmla="*/ 0 w 21291"/>
                    <a:gd name="connsiteY3" fmla="*/ 179 h 51374"/>
                    <a:gd name="connsiteX4" fmla="*/ 478 w 21291"/>
                    <a:gd name="connsiteY4" fmla="*/ 0 h 51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91" h="51374">
                      <a:moveTo>
                        <a:pt x="478" y="0"/>
                      </a:moveTo>
                      <a:cubicBezTo>
                        <a:pt x="7416" y="17045"/>
                        <a:pt x="14354" y="34150"/>
                        <a:pt x="21291" y="51195"/>
                      </a:cubicBezTo>
                      <a:cubicBezTo>
                        <a:pt x="21112" y="51255"/>
                        <a:pt x="20992" y="51315"/>
                        <a:pt x="20813" y="51374"/>
                      </a:cubicBezTo>
                      <a:cubicBezTo>
                        <a:pt x="13875" y="34329"/>
                        <a:pt x="6937" y="17225"/>
                        <a:pt x="0" y="179"/>
                      </a:cubicBezTo>
                      <a:cubicBezTo>
                        <a:pt x="179" y="120"/>
                        <a:pt x="359" y="60"/>
                        <a:pt x="47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38" name="Vrije vorm: vorm 9537">
                  <a:extLst>
                    <a:ext uri="{FF2B5EF4-FFF2-40B4-BE49-F238E27FC236}">
                      <a16:creationId xmlns:a16="http://schemas.microsoft.com/office/drawing/2014/main" id="{DE3B8031-B9B8-444B-BA78-FBAAFB420F77}"/>
                    </a:ext>
                  </a:extLst>
                </p:cNvPr>
                <p:cNvSpPr/>
                <p:nvPr/>
              </p:nvSpPr>
              <p:spPr>
                <a:xfrm>
                  <a:off x="5016051" y="1092598"/>
                  <a:ext cx="25238" cy="60764"/>
                </a:xfrm>
                <a:custGeom>
                  <a:avLst/>
                  <a:gdLst>
                    <a:gd name="connsiteX0" fmla="*/ 24641 w 25238"/>
                    <a:gd name="connsiteY0" fmla="*/ 60764 h 60764"/>
                    <a:gd name="connsiteX1" fmla="*/ 0 w 25238"/>
                    <a:gd name="connsiteY1" fmla="*/ 239 h 60764"/>
                    <a:gd name="connsiteX2" fmla="*/ 598 w 25238"/>
                    <a:gd name="connsiteY2" fmla="*/ 0 h 60764"/>
                    <a:gd name="connsiteX3" fmla="*/ 25238 w 25238"/>
                    <a:gd name="connsiteY3" fmla="*/ 60525 h 60764"/>
                    <a:gd name="connsiteX4" fmla="*/ 24641 w 25238"/>
                    <a:gd name="connsiteY4" fmla="*/ 60764 h 60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8" h="60764">
                      <a:moveTo>
                        <a:pt x="24641" y="60764"/>
                      </a:moveTo>
                      <a:cubicBezTo>
                        <a:pt x="16447" y="40609"/>
                        <a:pt x="8194" y="20394"/>
                        <a:pt x="0" y="239"/>
                      </a:cubicBezTo>
                      <a:cubicBezTo>
                        <a:pt x="180" y="179"/>
                        <a:pt x="419" y="60"/>
                        <a:pt x="598" y="0"/>
                      </a:cubicBezTo>
                      <a:cubicBezTo>
                        <a:pt x="8791" y="20155"/>
                        <a:pt x="17045" y="40370"/>
                        <a:pt x="25238" y="60525"/>
                      </a:cubicBezTo>
                      <a:cubicBezTo>
                        <a:pt x="25059" y="60645"/>
                        <a:pt x="24880" y="60704"/>
                        <a:pt x="24641" y="6076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39" name="Vrije vorm: vorm 9538">
                  <a:extLst>
                    <a:ext uri="{FF2B5EF4-FFF2-40B4-BE49-F238E27FC236}">
                      <a16:creationId xmlns:a16="http://schemas.microsoft.com/office/drawing/2014/main" id="{4B375168-67C4-454D-B187-96FA6D9EB31B}"/>
                    </a:ext>
                  </a:extLst>
                </p:cNvPr>
                <p:cNvSpPr/>
                <p:nvPr/>
              </p:nvSpPr>
              <p:spPr>
                <a:xfrm>
                  <a:off x="5392836" y="1566092"/>
                  <a:ext cx="22846" cy="54843"/>
                </a:xfrm>
                <a:custGeom>
                  <a:avLst/>
                  <a:gdLst>
                    <a:gd name="connsiteX0" fmla="*/ 22248 w 22846"/>
                    <a:gd name="connsiteY0" fmla="*/ 54843 h 54843"/>
                    <a:gd name="connsiteX1" fmla="*/ 0 w 22846"/>
                    <a:gd name="connsiteY1" fmla="*/ 239 h 54843"/>
                    <a:gd name="connsiteX2" fmla="*/ 598 w 22846"/>
                    <a:gd name="connsiteY2" fmla="*/ 0 h 54843"/>
                    <a:gd name="connsiteX3" fmla="*/ 22846 w 22846"/>
                    <a:gd name="connsiteY3" fmla="*/ 54724 h 54843"/>
                    <a:gd name="connsiteX4" fmla="*/ 22248 w 22846"/>
                    <a:gd name="connsiteY4" fmla="*/ 54843 h 54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46" h="54843">
                      <a:moveTo>
                        <a:pt x="22248" y="54843"/>
                      </a:moveTo>
                      <a:cubicBezTo>
                        <a:pt x="14832" y="36662"/>
                        <a:pt x="7416" y="18421"/>
                        <a:pt x="0" y="239"/>
                      </a:cubicBezTo>
                      <a:cubicBezTo>
                        <a:pt x="180" y="179"/>
                        <a:pt x="419" y="60"/>
                        <a:pt x="598" y="0"/>
                      </a:cubicBezTo>
                      <a:cubicBezTo>
                        <a:pt x="8014" y="18241"/>
                        <a:pt x="15430" y="36482"/>
                        <a:pt x="22846" y="54724"/>
                      </a:cubicBezTo>
                      <a:cubicBezTo>
                        <a:pt x="22667" y="54724"/>
                        <a:pt x="22428" y="54783"/>
                        <a:pt x="22248" y="5484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40" name="Vrije vorm: vorm 9539">
                  <a:extLst>
                    <a:ext uri="{FF2B5EF4-FFF2-40B4-BE49-F238E27FC236}">
                      <a16:creationId xmlns:a16="http://schemas.microsoft.com/office/drawing/2014/main" id="{1CA228AA-7D87-4095-A6A2-3B4BB1AF093C}"/>
                    </a:ext>
                  </a:extLst>
                </p:cNvPr>
                <p:cNvSpPr/>
                <p:nvPr/>
              </p:nvSpPr>
              <p:spPr>
                <a:xfrm>
                  <a:off x="5038289" y="1943954"/>
                  <a:ext cx="24052" cy="63216"/>
                </a:xfrm>
                <a:custGeom>
                  <a:avLst/>
                  <a:gdLst>
                    <a:gd name="connsiteX0" fmla="*/ 13885 w 24052"/>
                    <a:gd name="connsiteY0" fmla="*/ 63216 h 63216"/>
                    <a:gd name="connsiteX1" fmla="*/ 17534 w 24052"/>
                    <a:gd name="connsiteY1" fmla="*/ 45693 h 63216"/>
                    <a:gd name="connsiteX2" fmla="*/ 1206 w 24052"/>
                    <a:gd name="connsiteY2" fmla="*/ 5801 h 63216"/>
                    <a:gd name="connsiteX3" fmla="*/ 70 w 24052"/>
                    <a:gd name="connsiteY3" fmla="*/ 0 h 63216"/>
                    <a:gd name="connsiteX4" fmla="*/ 24052 w 24052"/>
                    <a:gd name="connsiteY4" fmla="*/ 59030 h 63216"/>
                    <a:gd name="connsiteX5" fmla="*/ 13826 w 24052"/>
                    <a:gd name="connsiteY5" fmla="*/ 63216 h 63216"/>
                    <a:gd name="connsiteX6" fmla="*/ 13885 w 24052"/>
                    <a:gd name="connsiteY6" fmla="*/ 63216 h 6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52" h="63216">
                      <a:moveTo>
                        <a:pt x="13885" y="63216"/>
                      </a:moveTo>
                      <a:cubicBezTo>
                        <a:pt x="22198" y="57116"/>
                        <a:pt x="22198" y="57116"/>
                        <a:pt x="17534" y="45693"/>
                      </a:cubicBezTo>
                      <a:cubicBezTo>
                        <a:pt x="12091" y="32415"/>
                        <a:pt x="6649" y="19079"/>
                        <a:pt x="1206" y="5801"/>
                      </a:cubicBezTo>
                      <a:cubicBezTo>
                        <a:pt x="488" y="4007"/>
                        <a:pt x="-229" y="2213"/>
                        <a:pt x="70" y="0"/>
                      </a:cubicBezTo>
                      <a:cubicBezTo>
                        <a:pt x="8024" y="19617"/>
                        <a:pt x="15979" y="39174"/>
                        <a:pt x="24052" y="59030"/>
                      </a:cubicBezTo>
                      <a:cubicBezTo>
                        <a:pt x="20703" y="60405"/>
                        <a:pt x="17234" y="61781"/>
                        <a:pt x="13826" y="63216"/>
                      </a:cubicBezTo>
                      <a:cubicBezTo>
                        <a:pt x="13766" y="63156"/>
                        <a:pt x="13885" y="63216"/>
                        <a:pt x="13885" y="6321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41" name="Vrije vorm: vorm 9540">
                  <a:extLst>
                    <a:ext uri="{FF2B5EF4-FFF2-40B4-BE49-F238E27FC236}">
                      <a16:creationId xmlns:a16="http://schemas.microsoft.com/office/drawing/2014/main" id="{C0383C84-6A9D-4C68-AA3F-FB1FB38FFFAD}"/>
                    </a:ext>
                  </a:extLst>
                </p:cNvPr>
                <p:cNvSpPr/>
                <p:nvPr/>
              </p:nvSpPr>
              <p:spPr>
                <a:xfrm>
                  <a:off x="5383871" y="2003987"/>
                  <a:ext cx="40974" cy="98684"/>
                </a:xfrm>
                <a:custGeom>
                  <a:avLst/>
                  <a:gdLst>
                    <a:gd name="connsiteX0" fmla="*/ 20986 w 40974"/>
                    <a:gd name="connsiteY0" fmla="*/ 49139 h 98684"/>
                    <a:gd name="connsiteX1" fmla="*/ 40476 w 40974"/>
                    <a:gd name="connsiteY1" fmla="*/ 98481 h 98684"/>
                    <a:gd name="connsiteX2" fmla="*/ 19989 w 40974"/>
                    <a:gd name="connsiteY2" fmla="*/ 49545 h 98684"/>
                    <a:gd name="connsiteX3" fmla="*/ 499 w 40974"/>
                    <a:gd name="connsiteY3" fmla="*/ 203 h 98684"/>
                    <a:gd name="connsiteX4" fmla="*/ 20986 w 40974"/>
                    <a:gd name="connsiteY4" fmla="*/ 49139 h 98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74" h="98684">
                      <a:moveTo>
                        <a:pt x="20986" y="49139"/>
                      </a:moveTo>
                      <a:cubicBezTo>
                        <a:pt x="32026" y="76278"/>
                        <a:pt x="40752" y="98369"/>
                        <a:pt x="40476" y="98481"/>
                      </a:cubicBezTo>
                      <a:cubicBezTo>
                        <a:pt x="40201" y="98593"/>
                        <a:pt x="31028" y="76684"/>
                        <a:pt x="19989" y="49545"/>
                      </a:cubicBezTo>
                      <a:cubicBezTo>
                        <a:pt x="8949" y="22406"/>
                        <a:pt x="223" y="315"/>
                        <a:pt x="499" y="203"/>
                      </a:cubicBezTo>
                      <a:cubicBezTo>
                        <a:pt x="774" y="91"/>
                        <a:pt x="9947" y="22000"/>
                        <a:pt x="20986" y="4913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42" name="Vrije vorm: vorm 9541">
                  <a:extLst>
                    <a:ext uri="{FF2B5EF4-FFF2-40B4-BE49-F238E27FC236}">
                      <a16:creationId xmlns:a16="http://schemas.microsoft.com/office/drawing/2014/main" id="{0D72B72C-7331-43AA-8AE7-E7F25BA56EDE}"/>
                    </a:ext>
                  </a:extLst>
                </p:cNvPr>
                <p:cNvSpPr/>
                <p:nvPr/>
              </p:nvSpPr>
              <p:spPr>
                <a:xfrm>
                  <a:off x="5133154" y="1857174"/>
                  <a:ext cx="25418" cy="59866"/>
                </a:xfrm>
                <a:custGeom>
                  <a:avLst/>
                  <a:gdLst>
                    <a:gd name="connsiteX0" fmla="*/ 1076 w 25418"/>
                    <a:gd name="connsiteY0" fmla="*/ 0 h 59866"/>
                    <a:gd name="connsiteX1" fmla="*/ 25418 w 25418"/>
                    <a:gd name="connsiteY1" fmla="*/ 59807 h 59866"/>
                    <a:gd name="connsiteX2" fmla="*/ 17225 w 25418"/>
                    <a:gd name="connsiteY2" fmla="*/ 59867 h 59866"/>
                    <a:gd name="connsiteX3" fmla="*/ 17045 w 25418"/>
                    <a:gd name="connsiteY3" fmla="*/ 59209 h 59866"/>
                    <a:gd name="connsiteX4" fmla="*/ 23384 w 25418"/>
                    <a:gd name="connsiteY4" fmla="*/ 57893 h 59866"/>
                    <a:gd name="connsiteX5" fmla="*/ 0 w 25418"/>
                    <a:gd name="connsiteY5" fmla="*/ 419 h 59866"/>
                    <a:gd name="connsiteX6" fmla="*/ 1076 w 25418"/>
                    <a:gd name="connsiteY6" fmla="*/ 0 h 5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18" h="59866">
                      <a:moveTo>
                        <a:pt x="1076" y="0"/>
                      </a:moveTo>
                      <a:cubicBezTo>
                        <a:pt x="9150" y="19796"/>
                        <a:pt x="17225" y="39652"/>
                        <a:pt x="25418" y="59807"/>
                      </a:cubicBezTo>
                      <a:cubicBezTo>
                        <a:pt x="22787" y="59807"/>
                        <a:pt x="19975" y="59867"/>
                        <a:pt x="17225" y="59867"/>
                      </a:cubicBezTo>
                      <a:cubicBezTo>
                        <a:pt x="17165" y="59628"/>
                        <a:pt x="17105" y="59448"/>
                        <a:pt x="17045" y="59209"/>
                      </a:cubicBezTo>
                      <a:cubicBezTo>
                        <a:pt x="18959" y="58791"/>
                        <a:pt x="20873" y="58432"/>
                        <a:pt x="23384" y="57893"/>
                      </a:cubicBezTo>
                      <a:cubicBezTo>
                        <a:pt x="15490" y="38456"/>
                        <a:pt x="7715" y="19437"/>
                        <a:pt x="0" y="419"/>
                      </a:cubicBezTo>
                      <a:cubicBezTo>
                        <a:pt x="359" y="299"/>
                        <a:pt x="718" y="179"/>
                        <a:pt x="1076"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43" name="Vrije vorm: vorm 9542">
                  <a:extLst>
                    <a:ext uri="{FF2B5EF4-FFF2-40B4-BE49-F238E27FC236}">
                      <a16:creationId xmlns:a16="http://schemas.microsoft.com/office/drawing/2014/main" id="{099B8FFF-B494-435A-A125-85AA4A41DA5B}"/>
                    </a:ext>
                  </a:extLst>
                </p:cNvPr>
                <p:cNvSpPr/>
                <p:nvPr/>
              </p:nvSpPr>
              <p:spPr>
                <a:xfrm>
                  <a:off x="4942548" y="1283682"/>
                  <a:ext cx="28587" cy="68359"/>
                </a:xfrm>
                <a:custGeom>
                  <a:avLst/>
                  <a:gdLst>
                    <a:gd name="connsiteX0" fmla="*/ 27691 w 28587"/>
                    <a:gd name="connsiteY0" fmla="*/ 68360 h 68359"/>
                    <a:gd name="connsiteX1" fmla="*/ 0 w 28587"/>
                    <a:gd name="connsiteY1" fmla="*/ 359 h 68359"/>
                    <a:gd name="connsiteX2" fmla="*/ 897 w 28587"/>
                    <a:gd name="connsiteY2" fmla="*/ 0 h 68359"/>
                    <a:gd name="connsiteX3" fmla="*/ 28588 w 28587"/>
                    <a:gd name="connsiteY3" fmla="*/ 68001 h 68359"/>
                    <a:gd name="connsiteX4" fmla="*/ 27691 w 28587"/>
                    <a:gd name="connsiteY4" fmla="*/ 68360 h 68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87" h="68359">
                      <a:moveTo>
                        <a:pt x="27691" y="68360"/>
                      </a:moveTo>
                      <a:cubicBezTo>
                        <a:pt x="18480" y="45693"/>
                        <a:pt x="9270" y="23026"/>
                        <a:pt x="0" y="359"/>
                      </a:cubicBezTo>
                      <a:cubicBezTo>
                        <a:pt x="299" y="239"/>
                        <a:pt x="598" y="120"/>
                        <a:pt x="897" y="0"/>
                      </a:cubicBezTo>
                      <a:cubicBezTo>
                        <a:pt x="10107" y="22667"/>
                        <a:pt x="19318" y="45334"/>
                        <a:pt x="28588" y="68001"/>
                      </a:cubicBezTo>
                      <a:cubicBezTo>
                        <a:pt x="28349" y="68120"/>
                        <a:pt x="28050" y="68240"/>
                        <a:pt x="27691" y="6836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44" name="Vrije vorm: vorm 9543">
                  <a:extLst>
                    <a:ext uri="{FF2B5EF4-FFF2-40B4-BE49-F238E27FC236}">
                      <a16:creationId xmlns:a16="http://schemas.microsoft.com/office/drawing/2014/main" id="{B539E102-F406-4851-B876-BECAA49FCAB6}"/>
                    </a:ext>
                  </a:extLst>
                </p:cNvPr>
                <p:cNvSpPr/>
                <p:nvPr/>
              </p:nvSpPr>
              <p:spPr>
                <a:xfrm>
                  <a:off x="5480932" y="1723804"/>
                  <a:ext cx="21470" cy="51075"/>
                </a:xfrm>
                <a:custGeom>
                  <a:avLst/>
                  <a:gdLst>
                    <a:gd name="connsiteX0" fmla="*/ 20634 w 21470"/>
                    <a:gd name="connsiteY0" fmla="*/ 51075 h 51075"/>
                    <a:gd name="connsiteX1" fmla="*/ 0 w 21470"/>
                    <a:gd name="connsiteY1" fmla="*/ 299 h 51075"/>
                    <a:gd name="connsiteX2" fmla="*/ 837 w 21470"/>
                    <a:gd name="connsiteY2" fmla="*/ 0 h 51075"/>
                    <a:gd name="connsiteX3" fmla="*/ 21471 w 21470"/>
                    <a:gd name="connsiteY3" fmla="*/ 50716 h 51075"/>
                    <a:gd name="connsiteX4" fmla="*/ 20634 w 21470"/>
                    <a:gd name="connsiteY4" fmla="*/ 51075 h 5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70" h="51075">
                      <a:moveTo>
                        <a:pt x="20634" y="51075"/>
                      </a:moveTo>
                      <a:cubicBezTo>
                        <a:pt x="13756" y="34150"/>
                        <a:pt x="6878" y="17225"/>
                        <a:pt x="0" y="299"/>
                      </a:cubicBezTo>
                      <a:cubicBezTo>
                        <a:pt x="299" y="179"/>
                        <a:pt x="538" y="60"/>
                        <a:pt x="837" y="0"/>
                      </a:cubicBezTo>
                      <a:cubicBezTo>
                        <a:pt x="7715" y="16925"/>
                        <a:pt x="14593" y="33851"/>
                        <a:pt x="21471" y="50716"/>
                      </a:cubicBezTo>
                      <a:cubicBezTo>
                        <a:pt x="21172" y="50836"/>
                        <a:pt x="20873" y="50956"/>
                        <a:pt x="20634" y="5107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45" name="Vrije vorm: vorm 9544">
                  <a:extLst>
                    <a:ext uri="{FF2B5EF4-FFF2-40B4-BE49-F238E27FC236}">
                      <a16:creationId xmlns:a16="http://schemas.microsoft.com/office/drawing/2014/main" id="{E7201A7F-DACA-4878-9E4D-E0637F23A5E0}"/>
                    </a:ext>
                  </a:extLst>
                </p:cNvPr>
                <p:cNvSpPr/>
                <p:nvPr/>
              </p:nvSpPr>
              <p:spPr>
                <a:xfrm>
                  <a:off x="5431950" y="1604010"/>
                  <a:ext cx="20693" cy="49580"/>
                </a:xfrm>
                <a:custGeom>
                  <a:avLst/>
                  <a:gdLst>
                    <a:gd name="connsiteX0" fmla="*/ 20096 w 20693"/>
                    <a:gd name="connsiteY0" fmla="*/ 49580 h 49580"/>
                    <a:gd name="connsiteX1" fmla="*/ 0 w 20693"/>
                    <a:gd name="connsiteY1" fmla="*/ 179 h 49580"/>
                    <a:gd name="connsiteX2" fmla="*/ 538 w 20693"/>
                    <a:gd name="connsiteY2" fmla="*/ 0 h 49580"/>
                    <a:gd name="connsiteX3" fmla="*/ 20693 w 20693"/>
                    <a:gd name="connsiteY3" fmla="*/ 49520 h 49580"/>
                    <a:gd name="connsiteX4" fmla="*/ 20096 w 20693"/>
                    <a:gd name="connsiteY4" fmla="*/ 49580 h 49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93" h="49580">
                      <a:moveTo>
                        <a:pt x="20096" y="49580"/>
                      </a:moveTo>
                      <a:cubicBezTo>
                        <a:pt x="13397" y="33133"/>
                        <a:pt x="6698" y="16626"/>
                        <a:pt x="0" y="179"/>
                      </a:cubicBezTo>
                      <a:cubicBezTo>
                        <a:pt x="180" y="120"/>
                        <a:pt x="359" y="60"/>
                        <a:pt x="538" y="0"/>
                      </a:cubicBezTo>
                      <a:cubicBezTo>
                        <a:pt x="7237" y="16507"/>
                        <a:pt x="13935" y="33014"/>
                        <a:pt x="20693" y="49520"/>
                      </a:cubicBezTo>
                      <a:cubicBezTo>
                        <a:pt x="20454" y="49520"/>
                        <a:pt x="20275" y="49580"/>
                        <a:pt x="20096" y="4958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46" name="Vrije vorm: vorm 9545">
                  <a:extLst>
                    <a:ext uri="{FF2B5EF4-FFF2-40B4-BE49-F238E27FC236}">
                      <a16:creationId xmlns:a16="http://schemas.microsoft.com/office/drawing/2014/main" id="{73973E60-71B0-476F-A6C8-301D8ADB83F6}"/>
                    </a:ext>
                  </a:extLst>
                </p:cNvPr>
                <p:cNvSpPr/>
                <p:nvPr/>
              </p:nvSpPr>
              <p:spPr>
                <a:xfrm>
                  <a:off x="4847155" y="1261853"/>
                  <a:ext cx="24161" cy="61601"/>
                </a:xfrm>
                <a:custGeom>
                  <a:avLst/>
                  <a:gdLst>
                    <a:gd name="connsiteX0" fmla="*/ 19019 w 24161"/>
                    <a:gd name="connsiteY0" fmla="*/ 61601 h 61601"/>
                    <a:gd name="connsiteX1" fmla="*/ 20394 w 24161"/>
                    <a:gd name="connsiteY1" fmla="*/ 52571 h 61601"/>
                    <a:gd name="connsiteX2" fmla="*/ 0 w 24161"/>
                    <a:gd name="connsiteY2" fmla="*/ 0 h 61601"/>
                    <a:gd name="connsiteX3" fmla="*/ 24162 w 24161"/>
                    <a:gd name="connsiteY3" fmla="*/ 59389 h 61601"/>
                    <a:gd name="connsiteX4" fmla="*/ 18959 w 24161"/>
                    <a:gd name="connsiteY4" fmla="*/ 61482 h 61601"/>
                    <a:gd name="connsiteX5" fmla="*/ 19019 w 24161"/>
                    <a:gd name="connsiteY5" fmla="*/ 61601 h 6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61" h="61601">
                      <a:moveTo>
                        <a:pt x="19019" y="61601"/>
                      </a:moveTo>
                      <a:cubicBezTo>
                        <a:pt x="21949" y="59209"/>
                        <a:pt x="22069" y="56578"/>
                        <a:pt x="20394" y="52571"/>
                      </a:cubicBezTo>
                      <a:cubicBezTo>
                        <a:pt x="13098" y="35286"/>
                        <a:pt x="6160" y="17823"/>
                        <a:pt x="0" y="0"/>
                      </a:cubicBezTo>
                      <a:cubicBezTo>
                        <a:pt x="7954" y="19497"/>
                        <a:pt x="15849" y="38994"/>
                        <a:pt x="24162" y="59389"/>
                      </a:cubicBezTo>
                      <a:cubicBezTo>
                        <a:pt x="22727" y="59987"/>
                        <a:pt x="20813" y="60764"/>
                        <a:pt x="18959" y="61482"/>
                      </a:cubicBezTo>
                      <a:cubicBezTo>
                        <a:pt x="18899" y="61482"/>
                        <a:pt x="19019" y="61601"/>
                        <a:pt x="19019" y="6160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47" name="Vrije vorm: vorm 9546">
                  <a:extLst>
                    <a:ext uri="{FF2B5EF4-FFF2-40B4-BE49-F238E27FC236}">
                      <a16:creationId xmlns:a16="http://schemas.microsoft.com/office/drawing/2014/main" id="{8F60C768-94D4-4FC4-A466-1951F3733928}"/>
                    </a:ext>
                  </a:extLst>
                </p:cNvPr>
                <p:cNvSpPr/>
                <p:nvPr/>
              </p:nvSpPr>
              <p:spPr>
                <a:xfrm>
                  <a:off x="4992786" y="2117574"/>
                  <a:ext cx="46769" cy="28229"/>
                </a:xfrm>
                <a:custGeom>
                  <a:avLst/>
                  <a:gdLst>
                    <a:gd name="connsiteX0" fmla="*/ 180 w 46769"/>
                    <a:gd name="connsiteY0" fmla="*/ 28229 h 28229"/>
                    <a:gd name="connsiteX1" fmla="*/ 46052 w 46769"/>
                    <a:gd name="connsiteY1" fmla="*/ 0 h 28229"/>
                    <a:gd name="connsiteX2" fmla="*/ 46769 w 46769"/>
                    <a:gd name="connsiteY2" fmla="*/ 1256 h 28229"/>
                    <a:gd name="connsiteX3" fmla="*/ 11124 w 46769"/>
                    <a:gd name="connsiteY3" fmla="*/ 22607 h 28229"/>
                    <a:gd name="connsiteX4" fmla="*/ 0 w 46769"/>
                    <a:gd name="connsiteY4" fmla="*/ 28169 h 28229"/>
                    <a:gd name="connsiteX5" fmla="*/ 180 w 46769"/>
                    <a:gd name="connsiteY5" fmla="*/ 28229 h 2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769" h="28229">
                      <a:moveTo>
                        <a:pt x="180" y="28229"/>
                      </a:moveTo>
                      <a:cubicBezTo>
                        <a:pt x="15490" y="18839"/>
                        <a:pt x="30801" y="9450"/>
                        <a:pt x="46052" y="0"/>
                      </a:cubicBezTo>
                      <a:cubicBezTo>
                        <a:pt x="46291" y="419"/>
                        <a:pt x="46530" y="837"/>
                        <a:pt x="46769" y="1256"/>
                      </a:cubicBezTo>
                      <a:cubicBezTo>
                        <a:pt x="34928" y="8373"/>
                        <a:pt x="23086" y="15550"/>
                        <a:pt x="11124" y="22607"/>
                      </a:cubicBezTo>
                      <a:cubicBezTo>
                        <a:pt x="7536" y="24700"/>
                        <a:pt x="3708" y="26315"/>
                        <a:pt x="0" y="28169"/>
                      </a:cubicBezTo>
                      <a:cubicBezTo>
                        <a:pt x="60" y="28109"/>
                        <a:pt x="180" y="28229"/>
                        <a:pt x="180" y="2822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48" name="Vrije vorm: vorm 9547">
                  <a:extLst>
                    <a:ext uri="{FF2B5EF4-FFF2-40B4-BE49-F238E27FC236}">
                      <a16:creationId xmlns:a16="http://schemas.microsoft.com/office/drawing/2014/main" id="{1D886975-F694-494A-BF9E-AE45FEF7B5BF}"/>
                    </a:ext>
                  </a:extLst>
                </p:cNvPr>
                <p:cNvSpPr/>
                <p:nvPr/>
              </p:nvSpPr>
              <p:spPr>
                <a:xfrm>
                  <a:off x="5473456" y="1658554"/>
                  <a:ext cx="37379" cy="26913"/>
                </a:xfrm>
                <a:custGeom>
                  <a:avLst/>
                  <a:gdLst>
                    <a:gd name="connsiteX0" fmla="*/ 10766 w 37379"/>
                    <a:gd name="connsiteY0" fmla="*/ 26913 h 26913"/>
                    <a:gd name="connsiteX1" fmla="*/ 0 w 37379"/>
                    <a:gd name="connsiteY1" fmla="*/ 419 h 26913"/>
                    <a:gd name="connsiteX2" fmla="*/ 1017 w 37379"/>
                    <a:gd name="connsiteY2" fmla="*/ 0 h 26913"/>
                    <a:gd name="connsiteX3" fmla="*/ 11304 w 37379"/>
                    <a:gd name="connsiteY3" fmla="*/ 25239 h 26913"/>
                    <a:gd name="connsiteX4" fmla="*/ 37140 w 37379"/>
                    <a:gd name="connsiteY4" fmla="*/ 19976 h 26913"/>
                    <a:gd name="connsiteX5" fmla="*/ 37380 w 37379"/>
                    <a:gd name="connsiteY5" fmla="*/ 21052 h 26913"/>
                    <a:gd name="connsiteX6" fmla="*/ 10766 w 37379"/>
                    <a:gd name="connsiteY6" fmla="*/ 26913 h 2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79" h="26913">
                      <a:moveTo>
                        <a:pt x="10766" y="26913"/>
                      </a:moveTo>
                      <a:cubicBezTo>
                        <a:pt x="7117" y="17882"/>
                        <a:pt x="3529" y="9150"/>
                        <a:pt x="0" y="419"/>
                      </a:cubicBezTo>
                      <a:cubicBezTo>
                        <a:pt x="359" y="299"/>
                        <a:pt x="658" y="120"/>
                        <a:pt x="1017" y="0"/>
                      </a:cubicBezTo>
                      <a:cubicBezTo>
                        <a:pt x="4366" y="8313"/>
                        <a:pt x="7775" y="16626"/>
                        <a:pt x="11304" y="25239"/>
                      </a:cubicBezTo>
                      <a:cubicBezTo>
                        <a:pt x="20215" y="23444"/>
                        <a:pt x="28708" y="21710"/>
                        <a:pt x="37140" y="19976"/>
                      </a:cubicBezTo>
                      <a:cubicBezTo>
                        <a:pt x="37200" y="20335"/>
                        <a:pt x="37320" y="20693"/>
                        <a:pt x="37380" y="21052"/>
                      </a:cubicBezTo>
                      <a:cubicBezTo>
                        <a:pt x="28468" y="22966"/>
                        <a:pt x="19557" y="24940"/>
                        <a:pt x="10766" y="2691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49" name="Vrije vorm: vorm 9548">
                  <a:extLst>
                    <a:ext uri="{FF2B5EF4-FFF2-40B4-BE49-F238E27FC236}">
                      <a16:creationId xmlns:a16="http://schemas.microsoft.com/office/drawing/2014/main" id="{8FBE3696-66B7-47C1-8F9E-3B3978E31A3E}"/>
                    </a:ext>
                  </a:extLst>
                </p:cNvPr>
                <p:cNvSpPr/>
                <p:nvPr/>
              </p:nvSpPr>
              <p:spPr>
                <a:xfrm>
                  <a:off x="5106340" y="1680380"/>
                  <a:ext cx="35865" cy="86804"/>
                </a:xfrm>
                <a:custGeom>
                  <a:avLst/>
                  <a:gdLst>
                    <a:gd name="connsiteX0" fmla="*/ 18265 w 35865"/>
                    <a:gd name="connsiteY0" fmla="*/ 43267 h 86804"/>
                    <a:gd name="connsiteX1" fmla="*/ 35533 w 35865"/>
                    <a:gd name="connsiteY1" fmla="*/ 86669 h 86804"/>
                    <a:gd name="connsiteX2" fmla="*/ 17600 w 35865"/>
                    <a:gd name="connsiteY2" fmla="*/ 43537 h 86804"/>
                    <a:gd name="connsiteX3" fmla="*/ 333 w 35865"/>
                    <a:gd name="connsiteY3" fmla="*/ 135 h 86804"/>
                    <a:gd name="connsiteX4" fmla="*/ 18265 w 35865"/>
                    <a:gd name="connsiteY4" fmla="*/ 43267 h 8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65" h="86804">
                      <a:moveTo>
                        <a:pt x="18265" y="43267"/>
                      </a:moveTo>
                      <a:cubicBezTo>
                        <a:pt x="27985" y="67163"/>
                        <a:pt x="35716" y="86594"/>
                        <a:pt x="35533" y="86669"/>
                      </a:cubicBezTo>
                      <a:cubicBezTo>
                        <a:pt x="35349" y="86744"/>
                        <a:pt x="27321" y="67433"/>
                        <a:pt x="17600" y="43537"/>
                      </a:cubicBezTo>
                      <a:cubicBezTo>
                        <a:pt x="7880" y="19642"/>
                        <a:pt x="149" y="210"/>
                        <a:pt x="333" y="135"/>
                      </a:cubicBezTo>
                      <a:cubicBezTo>
                        <a:pt x="516" y="61"/>
                        <a:pt x="8545" y="19371"/>
                        <a:pt x="18265" y="4326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50" name="Vrije vorm: vorm 9549">
                  <a:extLst>
                    <a:ext uri="{FF2B5EF4-FFF2-40B4-BE49-F238E27FC236}">
                      <a16:creationId xmlns:a16="http://schemas.microsoft.com/office/drawing/2014/main" id="{8E263EAB-0EE3-4BCC-8DE8-067E750FF458}"/>
                    </a:ext>
                  </a:extLst>
                </p:cNvPr>
                <p:cNvSpPr/>
                <p:nvPr/>
              </p:nvSpPr>
              <p:spPr>
                <a:xfrm>
                  <a:off x="5515920" y="1788754"/>
                  <a:ext cx="30202" cy="46829"/>
                </a:xfrm>
                <a:custGeom>
                  <a:avLst/>
                  <a:gdLst>
                    <a:gd name="connsiteX0" fmla="*/ 30083 w 30202"/>
                    <a:gd name="connsiteY0" fmla="*/ 39174 h 46829"/>
                    <a:gd name="connsiteX1" fmla="*/ 18899 w 30202"/>
                    <a:gd name="connsiteY1" fmla="*/ 46829 h 46829"/>
                    <a:gd name="connsiteX2" fmla="*/ 0 w 30202"/>
                    <a:gd name="connsiteY2" fmla="*/ 419 h 46829"/>
                    <a:gd name="connsiteX3" fmla="*/ 1017 w 30202"/>
                    <a:gd name="connsiteY3" fmla="*/ 0 h 46829"/>
                    <a:gd name="connsiteX4" fmla="*/ 18839 w 30202"/>
                    <a:gd name="connsiteY4" fmla="*/ 43839 h 46829"/>
                    <a:gd name="connsiteX5" fmla="*/ 30203 w 30202"/>
                    <a:gd name="connsiteY5" fmla="*/ 39234 h 46829"/>
                    <a:gd name="connsiteX6" fmla="*/ 30083 w 30202"/>
                    <a:gd name="connsiteY6" fmla="*/ 39174 h 4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02" h="46829">
                      <a:moveTo>
                        <a:pt x="30083" y="39174"/>
                      </a:moveTo>
                      <a:cubicBezTo>
                        <a:pt x="26375" y="41745"/>
                        <a:pt x="22607" y="44257"/>
                        <a:pt x="18899" y="46829"/>
                      </a:cubicBezTo>
                      <a:cubicBezTo>
                        <a:pt x="12559" y="31339"/>
                        <a:pt x="6280" y="15849"/>
                        <a:pt x="0" y="419"/>
                      </a:cubicBezTo>
                      <a:cubicBezTo>
                        <a:pt x="359" y="299"/>
                        <a:pt x="658" y="120"/>
                        <a:pt x="1017" y="0"/>
                      </a:cubicBezTo>
                      <a:cubicBezTo>
                        <a:pt x="6997" y="14713"/>
                        <a:pt x="12978" y="29485"/>
                        <a:pt x="18839" y="43839"/>
                      </a:cubicBezTo>
                      <a:cubicBezTo>
                        <a:pt x="22906" y="42164"/>
                        <a:pt x="26554" y="40729"/>
                        <a:pt x="30203" y="39234"/>
                      </a:cubicBezTo>
                      <a:cubicBezTo>
                        <a:pt x="30203" y="39234"/>
                        <a:pt x="30083" y="39174"/>
                        <a:pt x="30083" y="3917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51" name="Vrije vorm: vorm 9550">
                  <a:extLst>
                    <a:ext uri="{FF2B5EF4-FFF2-40B4-BE49-F238E27FC236}">
                      <a16:creationId xmlns:a16="http://schemas.microsoft.com/office/drawing/2014/main" id="{EE2B1AF7-770C-4349-9234-61D9FE337E17}"/>
                    </a:ext>
                  </a:extLst>
                </p:cNvPr>
                <p:cNvSpPr/>
                <p:nvPr/>
              </p:nvSpPr>
              <p:spPr>
                <a:xfrm>
                  <a:off x="5451627" y="1599046"/>
                  <a:ext cx="35644" cy="34628"/>
                </a:xfrm>
                <a:custGeom>
                  <a:avLst/>
                  <a:gdLst>
                    <a:gd name="connsiteX0" fmla="*/ 1196 w 35644"/>
                    <a:gd name="connsiteY0" fmla="*/ 0 h 34628"/>
                    <a:gd name="connsiteX1" fmla="*/ 14533 w 35644"/>
                    <a:gd name="connsiteY1" fmla="*/ 32834 h 34628"/>
                    <a:gd name="connsiteX2" fmla="*/ 35346 w 35644"/>
                    <a:gd name="connsiteY2" fmla="*/ 27870 h 34628"/>
                    <a:gd name="connsiteX3" fmla="*/ 35645 w 35644"/>
                    <a:gd name="connsiteY3" fmla="*/ 28827 h 34628"/>
                    <a:gd name="connsiteX4" fmla="*/ 13935 w 35644"/>
                    <a:gd name="connsiteY4" fmla="*/ 34628 h 34628"/>
                    <a:gd name="connsiteX5" fmla="*/ 0 w 35644"/>
                    <a:gd name="connsiteY5" fmla="*/ 359 h 34628"/>
                    <a:gd name="connsiteX6" fmla="*/ 1196 w 35644"/>
                    <a:gd name="connsiteY6" fmla="*/ 0 h 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44" h="34628">
                      <a:moveTo>
                        <a:pt x="1196" y="0"/>
                      </a:moveTo>
                      <a:cubicBezTo>
                        <a:pt x="5622" y="10825"/>
                        <a:pt x="9988" y="21650"/>
                        <a:pt x="14533" y="32834"/>
                      </a:cubicBezTo>
                      <a:cubicBezTo>
                        <a:pt x="21710" y="31100"/>
                        <a:pt x="28528" y="29485"/>
                        <a:pt x="35346" y="27870"/>
                      </a:cubicBezTo>
                      <a:cubicBezTo>
                        <a:pt x="35466" y="28169"/>
                        <a:pt x="35526" y="28528"/>
                        <a:pt x="35645" y="28827"/>
                      </a:cubicBezTo>
                      <a:cubicBezTo>
                        <a:pt x="28349" y="30801"/>
                        <a:pt x="21052" y="32715"/>
                        <a:pt x="13935" y="34628"/>
                      </a:cubicBezTo>
                      <a:cubicBezTo>
                        <a:pt x="9270" y="23145"/>
                        <a:pt x="4605" y="11722"/>
                        <a:pt x="0" y="359"/>
                      </a:cubicBezTo>
                      <a:cubicBezTo>
                        <a:pt x="419" y="239"/>
                        <a:pt x="778" y="120"/>
                        <a:pt x="1196"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52" name="Vrije vorm: vorm 9551">
                  <a:extLst>
                    <a:ext uri="{FF2B5EF4-FFF2-40B4-BE49-F238E27FC236}">
                      <a16:creationId xmlns:a16="http://schemas.microsoft.com/office/drawing/2014/main" id="{E0993EC1-412D-4A4A-9051-6E12E2C3BCE5}"/>
                    </a:ext>
                  </a:extLst>
                </p:cNvPr>
                <p:cNvSpPr/>
                <p:nvPr/>
              </p:nvSpPr>
              <p:spPr>
                <a:xfrm>
                  <a:off x="5163416" y="2013629"/>
                  <a:ext cx="24580" cy="57162"/>
                </a:xfrm>
                <a:custGeom>
                  <a:avLst/>
                  <a:gdLst>
                    <a:gd name="connsiteX0" fmla="*/ 24581 w 24580"/>
                    <a:gd name="connsiteY0" fmla="*/ 57056 h 57162"/>
                    <a:gd name="connsiteX1" fmla="*/ 23086 w 24580"/>
                    <a:gd name="connsiteY1" fmla="*/ 57056 h 57162"/>
                    <a:gd name="connsiteX2" fmla="*/ 0 w 24580"/>
                    <a:gd name="connsiteY2" fmla="*/ 538 h 57162"/>
                    <a:gd name="connsiteX3" fmla="*/ 1316 w 24580"/>
                    <a:gd name="connsiteY3" fmla="*/ 0 h 57162"/>
                    <a:gd name="connsiteX4" fmla="*/ 24581 w 24580"/>
                    <a:gd name="connsiteY4" fmla="*/ 57056 h 57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 h="57162">
                      <a:moveTo>
                        <a:pt x="24581" y="57056"/>
                      </a:moveTo>
                      <a:cubicBezTo>
                        <a:pt x="24401" y="57056"/>
                        <a:pt x="23205" y="57295"/>
                        <a:pt x="23086" y="57056"/>
                      </a:cubicBezTo>
                      <a:cubicBezTo>
                        <a:pt x="15371" y="38217"/>
                        <a:pt x="7655" y="19378"/>
                        <a:pt x="0" y="538"/>
                      </a:cubicBezTo>
                      <a:cubicBezTo>
                        <a:pt x="419" y="359"/>
                        <a:pt x="897" y="180"/>
                        <a:pt x="1316" y="0"/>
                      </a:cubicBezTo>
                      <a:cubicBezTo>
                        <a:pt x="9090" y="19019"/>
                        <a:pt x="16806" y="37978"/>
                        <a:pt x="24581" y="5705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53" name="Vrije vorm: vorm 9552">
                  <a:extLst>
                    <a:ext uri="{FF2B5EF4-FFF2-40B4-BE49-F238E27FC236}">
                      <a16:creationId xmlns:a16="http://schemas.microsoft.com/office/drawing/2014/main" id="{49398F44-F1EF-4FDB-8161-D7EF1DD80F3D}"/>
                    </a:ext>
                  </a:extLst>
                </p:cNvPr>
                <p:cNvSpPr/>
                <p:nvPr/>
              </p:nvSpPr>
              <p:spPr>
                <a:xfrm>
                  <a:off x="5412274" y="1550303"/>
                  <a:ext cx="19317" cy="45872"/>
                </a:xfrm>
                <a:custGeom>
                  <a:avLst/>
                  <a:gdLst>
                    <a:gd name="connsiteX0" fmla="*/ 18600 w 19317"/>
                    <a:gd name="connsiteY0" fmla="*/ 45872 h 45872"/>
                    <a:gd name="connsiteX1" fmla="*/ 0 w 19317"/>
                    <a:gd name="connsiteY1" fmla="*/ 239 h 45872"/>
                    <a:gd name="connsiteX2" fmla="*/ 658 w 19317"/>
                    <a:gd name="connsiteY2" fmla="*/ 0 h 45872"/>
                    <a:gd name="connsiteX3" fmla="*/ 19318 w 19317"/>
                    <a:gd name="connsiteY3" fmla="*/ 45872 h 45872"/>
                    <a:gd name="connsiteX4" fmla="*/ 18600 w 19317"/>
                    <a:gd name="connsiteY4" fmla="*/ 45872 h 45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17" h="45872">
                      <a:moveTo>
                        <a:pt x="18600" y="45872"/>
                      </a:moveTo>
                      <a:cubicBezTo>
                        <a:pt x="12380" y="30681"/>
                        <a:pt x="6220" y="15430"/>
                        <a:pt x="0" y="239"/>
                      </a:cubicBezTo>
                      <a:cubicBezTo>
                        <a:pt x="239" y="179"/>
                        <a:pt x="419" y="60"/>
                        <a:pt x="658" y="0"/>
                      </a:cubicBezTo>
                      <a:cubicBezTo>
                        <a:pt x="6878" y="15311"/>
                        <a:pt x="13098" y="30561"/>
                        <a:pt x="19318" y="45872"/>
                      </a:cubicBezTo>
                      <a:cubicBezTo>
                        <a:pt x="19079" y="45872"/>
                        <a:pt x="18839" y="45872"/>
                        <a:pt x="18600" y="4587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54" name="Vrije vorm: vorm 9553">
                  <a:extLst>
                    <a:ext uri="{FF2B5EF4-FFF2-40B4-BE49-F238E27FC236}">
                      <a16:creationId xmlns:a16="http://schemas.microsoft.com/office/drawing/2014/main" id="{5713F842-0A28-482C-8715-AE95A04015D6}"/>
                    </a:ext>
                  </a:extLst>
                </p:cNvPr>
                <p:cNvSpPr/>
                <p:nvPr/>
              </p:nvSpPr>
              <p:spPr>
                <a:xfrm>
                  <a:off x="5042725" y="2120744"/>
                  <a:ext cx="24341" cy="59149"/>
                </a:xfrm>
                <a:custGeom>
                  <a:avLst/>
                  <a:gdLst>
                    <a:gd name="connsiteX0" fmla="*/ 359 w 24341"/>
                    <a:gd name="connsiteY0" fmla="*/ 0 h 59149"/>
                    <a:gd name="connsiteX1" fmla="*/ 24342 w 24341"/>
                    <a:gd name="connsiteY1" fmla="*/ 58970 h 59149"/>
                    <a:gd name="connsiteX2" fmla="*/ 23923 w 24341"/>
                    <a:gd name="connsiteY2" fmla="*/ 59149 h 59149"/>
                    <a:gd name="connsiteX3" fmla="*/ 0 w 24341"/>
                    <a:gd name="connsiteY3" fmla="*/ 359 h 59149"/>
                    <a:gd name="connsiteX4" fmla="*/ 359 w 24341"/>
                    <a:gd name="connsiteY4" fmla="*/ 0 h 5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41" h="59149">
                      <a:moveTo>
                        <a:pt x="359" y="0"/>
                      </a:moveTo>
                      <a:cubicBezTo>
                        <a:pt x="8373" y="19677"/>
                        <a:pt x="16327" y="39353"/>
                        <a:pt x="24342" y="58970"/>
                      </a:cubicBezTo>
                      <a:cubicBezTo>
                        <a:pt x="24222" y="59030"/>
                        <a:pt x="24042" y="59090"/>
                        <a:pt x="23923" y="59149"/>
                      </a:cubicBezTo>
                      <a:cubicBezTo>
                        <a:pt x="15968" y="39533"/>
                        <a:pt x="7954" y="19976"/>
                        <a:pt x="0" y="359"/>
                      </a:cubicBezTo>
                      <a:cubicBezTo>
                        <a:pt x="119" y="239"/>
                        <a:pt x="239" y="120"/>
                        <a:pt x="35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55" name="Vrije vorm: vorm 9554">
                  <a:extLst>
                    <a:ext uri="{FF2B5EF4-FFF2-40B4-BE49-F238E27FC236}">
                      <a16:creationId xmlns:a16="http://schemas.microsoft.com/office/drawing/2014/main" id="{4099D23E-EBBC-4F7E-BEEC-665688B91B53}"/>
                    </a:ext>
                  </a:extLst>
                </p:cNvPr>
                <p:cNvSpPr/>
                <p:nvPr/>
              </p:nvSpPr>
              <p:spPr>
                <a:xfrm>
                  <a:off x="5291505" y="1782035"/>
                  <a:ext cx="34082" cy="82195"/>
                </a:xfrm>
                <a:custGeom>
                  <a:avLst/>
                  <a:gdLst>
                    <a:gd name="connsiteX0" fmla="*/ 17429 w 34082"/>
                    <a:gd name="connsiteY0" fmla="*/ 40940 h 82195"/>
                    <a:gd name="connsiteX1" fmla="*/ 33695 w 34082"/>
                    <a:gd name="connsiteY1" fmla="*/ 82038 h 82195"/>
                    <a:gd name="connsiteX2" fmla="*/ 16653 w 34082"/>
                    <a:gd name="connsiteY2" fmla="*/ 41256 h 82195"/>
                    <a:gd name="connsiteX3" fmla="*/ 388 w 34082"/>
                    <a:gd name="connsiteY3" fmla="*/ 158 h 82195"/>
                    <a:gd name="connsiteX4" fmla="*/ 17429 w 34082"/>
                    <a:gd name="connsiteY4" fmla="*/ 40940 h 8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82" h="82195">
                      <a:moveTo>
                        <a:pt x="17429" y="40940"/>
                      </a:moveTo>
                      <a:cubicBezTo>
                        <a:pt x="26627" y="63551"/>
                        <a:pt x="33909" y="81951"/>
                        <a:pt x="33695" y="82038"/>
                      </a:cubicBezTo>
                      <a:cubicBezTo>
                        <a:pt x="33481" y="82125"/>
                        <a:pt x="25851" y="63866"/>
                        <a:pt x="16653" y="41256"/>
                      </a:cubicBezTo>
                      <a:cubicBezTo>
                        <a:pt x="7456" y="18645"/>
                        <a:pt x="173" y="245"/>
                        <a:pt x="388" y="158"/>
                      </a:cubicBezTo>
                      <a:cubicBezTo>
                        <a:pt x="602" y="71"/>
                        <a:pt x="8231" y="18330"/>
                        <a:pt x="17429" y="4094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56" name="Vrije vorm: vorm 9555">
                  <a:extLst>
                    <a:ext uri="{FF2B5EF4-FFF2-40B4-BE49-F238E27FC236}">
                      <a16:creationId xmlns:a16="http://schemas.microsoft.com/office/drawing/2014/main" id="{097F1488-94EF-465B-9D81-B9D034F6451F}"/>
                    </a:ext>
                  </a:extLst>
                </p:cNvPr>
                <p:cNvSpPr/>
                <p:nvPr/>
              </p:nvSpPr>
              <p:spPr>
                <a:xfrm>
                  <a:off x="5516039" y="1967578"/>
                  <a:ext cx="20214" cy="12200"/>
                </a:xfrm>
                <a:custGeom>
                  <a:avLst/>
                  <a:gdLst>
                    <a:gd name="connsiteX0" fmla="*/ 3947 w 20214"/>
                    <a:gd name="connsiteY0" fmla="*/ 9689 h 12200"/>
                    <a:gd name="connsiteX1" fmla="*/ 20155 w 20214"/>
                    <a:gd name="connsiteY1" fmla="*/ 10406 h 12200"/>
                    <a:gd name="connsiteX2" fmla="*/ 20215 w 20214"/>
                    <a:gd name="connsiteY2" fmla="*/ 12021 h 12200"/>
                    <a:gd name="connsiteX3" fmla="*/ 658 w 20214"/>
                    <a:gd name="connsiteY3" fmla="*/ 12201 h 12200"/>
                    <a:gd name="connsiteX4" fmla="*/ 0 w 20214"/>
                    <a:gd name="connsiteY4" fmla="*/ 10646 h 12200"/>
                    <a:gd name="connsiteX5" fmla="*/ 15550 w 20214"/>
                    <a:gd name="connsiteY5" fmla="*/ 0 h 12200"/>
                    <a:gd name="connsiteX6" fmla="*/ 16208 w 20214"/>
                    <a:gd name="connsiteY6" fmla="*/ 957 h 12200"/>
                    <a:gd name="connsiteX7" fmla="*/ 3947 w 20214"/>
                    <a:gd name="connsiteY7" fmla="*/ 9689 h 1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14" h="12200">
                      <a:moveTo>
                        <a:pt x="3947" y="9689"/>
                      </a:moveTo>
                      <a:cubicBezTo>
                        <a:pt x="10287" y="9988"/>
                        <a:pt x="15191" y="10167"/>
                        <a:pt x="20155" y="10406"/>
                      </a:cubicBezTo>
                      <a:cubicBezTo>
                        <a:pt x="20155" y="10945"/>
                        <a:pt x="20215" y="11483"/>
                        <a:pt x="20215" y="12021"/>
                      </a:cubicBezTo>
                      <a:cubicBezTo>
                        <a:pt x="13696" y="12081"/>
                        <a:pt x="7177" y="12141"/>
                        <a:pt x="658" y="12201"/>
                      </a:cubicBezTo>
                      <a:cubicBezTo>
                        <a:pt x="419" y="11662"/>
                        <a:pt x="239" y="11184"/>
                        <a:pt x="0" y="10646"/>
                      </a:cubicBezTo>
                      <a:cubicBezTo>
                        <a:pt x="5203" y="7117"/>
                        <a:pt x="10347" y="3588"/>
                        <a:pt x="15550" y="0"/>
                      </a:cubicBezTo>
                      <a:cubicBezTo>
                        <a:pt x="15789" y="299"/>
                        <a:pt x="15969" y="658"/>
                        <a:pt x="16208" y="957"/>
                      </a:cubicBezTo>
                      <a:cubicBezTo>
                        <a:pt x="12500" y="3648"/>
                        <a:pt x="8792" y="6280"/>
                        <a:pt x="3947" y="968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57" name="Vrije vorm: vorm 9556">
                  <a:extLst>
                    <a:ext uri="{FF2B5EF4-FFF2-40B4-BE49-F238E27FC236}">
                      <a16:creationId xmlns:a16="http://schemas.microsoft.com/office/drawing/2014/main" id="{9E554048-45AE-4C4A-A4A2-2045294A94BD}"/>
                    </a:ext>
                  </a:extLst>
                </p:cNvPr>
                <p:cNvSpPr/>
                <p:nvPr/>
              </p:nvSpPr>
              <p:spPr>
                <a:xfrm>
                  <a:off x="5002654" y="1644978"/>
                  <a:ext cx="23384" cy="56757"/>
                </a:xfrm>
                <a:custGeom>
                  <a:avLst/>
                  <a:gdLst>
                    <a:gd name="connsiteX0" fmla="*/ 359 w 23384"/>
                    <a:gd name="connsiteY0" fmla="*/ 0 h 56757"/>
                    <a:gd name="connsiteX1" fmla="*/ 23384 w 23384"/>
                    <a:gd name="connsiteY1" fmla="*/ 56578 h 56757"/>
                    <a:gd name="connsiteX2" fmla="*/ 22906 w 23384"/>
                    <a:gd name="connsiteY2" fmla="*/ 56757 h 56757"/>
                    <a:gd name="connsiteX3" fmla="*/ 0 w 23384"/>
                    <a:gd name="connsiteY3" fmla="*/ 359 h 56757"/>
                    <a:gd name="connsiteX4" fmla="*/ 359 w 23384"/>
                    <a:gd name="connsiteY4" fmla="*/ 0 h 56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84" h="56757">
                      <a:moveTo>
                        <a:pt x="359" y="0"/>
                      </a:moveTo>
                      <a:cubicBezTo>
                        <a:pt x="8014" y="18839"/>
                        <a:pt x="15729" y="37738"/>
                        <a:pt x="23384" y="56578"/>
                      </a:cubicBezTo>
                      <a:cubicBezTo>
                        <a:pt x="23205" y="56637"/>
                        <a:pt x="23086" y="56697"/>
                        <a:pt x="22906" y="56757"/>
                      </a:cubicBezTo>
                      <a:cubicBezTo>
                        <a:pt x="15251" y="37978"/>
                        <a:pt x="7596" y="19198"/>
                        <a:pt x="0" y="359"/>
                      </a:cubicBezTo>
                      <a:cubicBezTo>
                        <a:pt x="60" y="239"/>
                        <a:pt x="239" y="120"/>
                        <a:pt x="35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58" name="Vrije vorm: vorm 9557">
                  <a:extLst>
                    <a:ext uri="{FF2B5EF4-FFF2-40B4-BE49-F238E27FC236}">
                      <a16:creationId xmlns:a16="http://schemas.microsoft.com/office/drawing/2014/main" id="{DE07E08D-8C3B-492C-8595-B040FA5F53F4}"/>
                    </a:ext>
                  </a:extLst>
                </p:cNvPr>
                <p:cNvSpPr/>
                <p:nvPr/>
              </p:nvSpPr>
              <p:spPr>
                <a:xfrm>
                  <a:off x="4714144" y="2057229"/>
                  <a:ext cx="26075" cy="53527"/>
                </a:xfrm>
                <a:custGeom>
                  <a:avLst/>
                  <a:gdLst>
                    <a:gd name="connsiteX0" fmla="*/ 22846 w 26075"/>
                    <a:gd name="connsiteY0" fmla="*/ 50776 h 53527"/>
                    <a:gd name="connsiteX1" fmla="*/ 21829 w 26075"/>
                    <a:gd name="connsiteY1" fmla="*/ 44736 h 53527"/>
                    <a:gd name="connsiteX2" fmla="*/ 6459 w 26075"/>
                    <a:gd name="connsiteY2" fmla="*/ 7775 h 53527"/>
                    <a:gd name="connsiteX3" fmla="*/ 0 w 26075"/>
                    <a:gd name="connsiteY3" fmla="*/ 120 h 53527"/>
                    <a:gd name="connsiteX4" fmla="*/ 4904 w 26075"/>
                    <a:gd name="connsiteY4" fmla="*/ 0 h 53527"/>
                    <a:gd name="connsiteX5" fmla="*/ 26076 w 26075"/>
                    <a:gd name="connsiteY5" fmla="*/ 51972 h 53527"/>
                    <a:gd name="connsiteX6" fmla="*/ 25717 w 26075"/>
                    <a:gd name="connsiteY6" fmla="*/ 53527 h 53527"/>
                    <a:gd name="connsiteX7" fmla="*/ 22846 w 26075"/>
                    <a:gd name="connsiteY7" fmla="*/ 50776 h 5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5" h="53527">
                      <a:moveTo>
                        <a:pt x="22846" y="50776"/>
                      </a:moveTo>
                      <a:cubicBezTo>
                        <a:pt x="22547" y="48743"/>
                        <a:pt x="22607" y="46590"/>
                        <a:pt x="21829" y="44736"/>
                      </a:cubicBezTo>
                      <a:cubicBezTo>
                        <a:pt x="16866" y="32356"/>
                        <a:pt x="11842" y="19976"/>
                        <a:pt x="6459" y="7775"/>
                      </a:cubicBezTo>
                      <a:cubicBezTo>
                        <a:pt x="5143" y="4844"/>
                        <a:pt x="2213" y="2632"/>
                        <a:pt x="0" y="120"/>
                      </a:cubicBezTo>
                      <a:cubicBezTo>
                        <a:pt x="1435" y="60"/>
                        <a:pt x="2871" y="60"/>
                        <a:pt x="4904" y="0"/>
                      </a:cubicBezTo>
                      <a:cubicBezTo>
                        <a:pt x="11961" y="17284"/>
                        <a:pt x="19019" y="34628"/>
                        <a:pt x="26076" y="51972"/>
                      </a:cubicBezTo>
                      <a:cubicBezTo>
                        <a:pt x="25956" y="52511"/>
                        <a:pt x="25837" y="52989"/>
                        <a:pt x="25717" y="53527"/>
                      </a:cubicBezTo>
                      <a:cubicBezTo>
                        <a:pt x="24760" y="52571"/>
                        <a:pt x="23803" y="51673"/>
                        <a:pt x="22846" y="5077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59" name="Vrije vorm: vorm 9558">
                  <a:extLst>
                    <a:ext uri="{FF2B5EF4-FFF2-40B4-BE49-F238E27FC236}">
                      <a16:creationId xmlns:a16="http://schemas.microsoft.com/office/drawing/2014/main" id="{D4294726-5E75-4B7F-9A06-0B84DF3D141E}"/>
                    </a:ext>
                  </a:extLst>
                </p:cNvPr>
                <p:cNvSpPr/>
                <p:nvPr/>
              </p:nvSpPr>
              <p:spPr>
                <a:xfrm>
                  <a:off x="5485956" y="1583137"/>
                  <a:ext cx="17104" cy="40609"/>
                </a:xfrm>
                <a:custGeom>
                  <a:avLst/>
                  <a:gdLst>
                    <a:gd name="connsiteX0" fmla="*/ 658 w 17104"/>
                    <a:gd name="connsiteY0" fmla="*/ 0 h 40609"/>
                    <a:gd name="connsiteX1" fmla="*/ 17105 w 17104"/>
                    <a:gd name="connsiteY1" fmla="*/ 40370 h 40609"/>
                    <a:gd name="connsiteX2" fmla="*/ 16507 w 17104"/>
                    <a:gd name="connsiteY2" fmla="*/ 40609 h 40609"/>
                    <a:gd name="connsiteX3" fmla="*/ 0 w 17104"/>
                    <a:gd name="connsiteY3" fmla="*/ 60 h 40609"/>
                    <a:gd name="connsiteX4" fmla="*/ 658 w 17104"/>
                    <a:gd name="connsiteY4" fmla="*/ 0 h 4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04" h="40609">
                      <a:moveTo>
                        <a:pt x="658" y="0"/>
                      </a:moveTo>
                      <a:cubicBezTo>
                        <a:pt x="6160" y="13457"/>
                        <a:pt x="11603" y="26913"/>
                        <a:pt x="17105" y="40370"/>
                      </a:cubicBezTo>
                      <a:cubicBezTo>
                        <a:pt x="16926" y="40430"/>
                        <a:pt x="16686" y="40549"/>
                        <a:pt x="16507" y="40609"/>
                      </a:cubicBezTo>
                      <a:cubicBezTo>
                        <a:pt x="11004" y="27093"/>
                        <a:pt x="5502" y="13576"/>
                        <a:pt x="0" y="60"/>
                      </a:cubicBezTo>
                      <a:cubicBezTo>
                        <a:pt x="179" y="0"/>
                        <a:pt x="419" y="0"/>
                        <a:pt x="65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60" name="Vrije vorm: vorm 9559">
                  <a:extLst>
                    <a:ext uri="{FF2B5EF4-FFF2-40B4-BE49-F238E27FC236}">
                      <a16:creationId xmlns:a16="http://schemas.microsoft.com/office/drawing/2014/main" id="{D36E45E1-B369-4797-BF00-7B3E9BD99733}"/>
                    </a:ext>
                  </a:extLst>
                </p:cNvPr>
                <p:cNvSpPr/>
                <p:nvPr/>
              </p:nvSpPr>
              <p:spPr>
                <a:xfrm>
                  <a:off x="5370409" y="1575183"/>
                  <a:ext cx="17104" cy="40489"/>
                </a:xfrm>
                <a:custGeom>
                  <a:avLst/>
                  <a:gdLst>
                    <a:gd name="connsiteX0" fmla="*/ 16327 w 17104"/>
                    <a:gd name="connsiteY0" fmla="*/ 40490 h 40489"/>
                    <a:gd name="connsiteX1" fmla="*/ 0 w 17104"/>
                    <a:gd name="connsiteY1" fmla="*/ 299 h 40489"/>
                    <a:gd name="connsiteX2" fmla="*/ 778 w 17104"/>
                    <a:gd name="connsiteY2" fmla="*/ 0 h 40489"/>
                    <a:gd name="connsiteX3" fmla="*/ 17105 w 17104"/>
                    <a:gd name="connsiteY3" fmla="*/ 40071 h 40489"/>
                    <a:gd name="connsiteX4" fmla="*/ 16327 w 17104"/>
                    <a:gd name="connsiteY4" fmla="*/ 40490 h 4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04" h="40489">
                      <a:moveTo>
                        <a:pt x="16327" y="40490"/>
                      </a:moveTo>
                      <a:cubicBezTo>
                        <a:pt x="10885" y="27093"/>
                        <a:pt x="5442" y="13696"/>
                        <a:pt x="0" y="299"/>
                      </a:cubicBezTo>
                      <a:cubicBezTo>
                        <a:pt x="239" y="179"/>
                        <a:pt x="538" y="120"/>
                        <a:pt x="778" y="0"/>
                      </a:cubicBezTo>
                      <a:cubicBezTo>
                        <a:pt x="6220" y="13337"/>
                        <a:pt x="11662" y="26734"/>
                        <a:pt x="17105" y="40071"/>
                      </a:cubicBezTo>
                      <a:cubicBezTo>
                        <a:pt x="16806" y="40190"/>
                        <a:pt x="16567" y="40310"/>
                        <a:pt x="16327" y="4049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61" name="Vrije vorm: vorm 9560">
                  <a:extLst>
                    <a:ext uri="{FF2B5EF4-FFF2-40B4-BE49-F238E27FC236}">
                      <a16:creationId xmlns:a16="http://schemas.microsoft.com/office/drawing/2014/main" id="{BACCEDED-9783-439E-9B7C-F2005EEC454A}"/>
                    </a:ext>
                  </a:extLst>
                </p:cNvPr>
                <p:cNvSpPr/>
                <p:nvPr/>
              </p:nvSpPr>
              <p:spPr>
                <a:xfrm>
                  <a:off x="5357730" y="1420043"/>
                  <a:ext cx="21171" cy="50836"/>
                </a:xfrm>
                <a:custGeom>
                  <a:avLst/>
                  <a:gdLst>
                    <a:gd name="connsiteX0" fmla="*/ 598 w 21171"/>
                    <a:gd name="connsiteY0" fmla="*/ 0 h 50836"/>
                    <a:gd name="connsiteX1" fmla="*/ 21172 w 21171"/>
                    <a:gd name="connsiteY1" fmla="*/ 50597 h 50836"/>
                    <a:gd name="connsiteX2" fmla="*/ 20514 w 21171"/>
                    <a:gd name="connsiteY2" fmla="*/ 50836 h 50836"/>
                    <a:gd name="connsiteX3" fmla="*/ 0 w 21171"/>
                    <a:gd name="connsiteY3" fmla="*/ 359 h 50836"/>
                    <a:gd name="connsiteX4" fmla="*/ 598 w 21171"/>
                    <a:gd name="connsiteY4" fmla="*/ 0 h 50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 h="50836">
                      <a:moveTo>
                        <a:pt x="598" y="0"/>
                      </a:moveTo>
                      <a:cubicBezTo>
                        <a:pt x="7476" y="16866"/>
                        <a:pt x="14294" y="33731"/>
                        <a:pt x="21172" y="50597"/>
                      </a:cubicBezTo>
                      <a:cubicBezTo>
                        <a:pt x="20933" y="50657"/>
                        <a:pt x="20753" y="50776"/>
                        <a:pt x="20514" y="50836"/>
                      </a:cubicBezTo>
                      <a:cubicBezTo>
                        <a:pt x="13696" y="34030"/>
                        <a:pt x="6818" y="17224"/>
                        <a:pt x="0" y="359"/>
                      </a:cubicBezTo>
                      <a:cubicBezTo>
                        <a:pt x="179" y="299"/>
                        <a:pt x="419" y="179"/>
                        <a:pt x="59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62" name="Vrije vorm: vorm 9561">
                  <a:extLst>
                    <a:ext uri="{FF2B5EF4-FFF2-40B4-BE49-F238E27FC236}">
                      <a16:creationId xmlns:a16="http://schemas.microsoft.com/office/drawing/2014/main" id="{364F0D6C-5875-46A2-BD67-744D40450729}"/>
                    </a:ext>
                  </a:extLst>
                </p:cNvPr>
                <p:cNvSpPr/>
                <p:nvPr/>
              </p:nvSpPr>
              <p:spPr>
                <a:xfrm>
                  <a:off x="5332969" y="1356528"/>
                  <a:ext cx="21231" cy="50836"/>
                </a:xfrm>
                <a:custGeom>
                  <a:avLst/>
                  <a:gdLst>
                    <a:gd name="connsiteX0" fmla="*/ 20574 w 21231"/>
                    <a:gd name="connsiteY0" fmla="*/ 50836 h 50836"/>
                    <a:gd name="connsiteX1" fmla="*/ 0 w 21231"/>
                    <a:gd name="connsiteY1" fmla="*/ 239 h 50836"/>
                    <a:gd name="connsiteX2" fmla="*/ 598 w 21231"/>
                    <a:gd name="connsiteY2" fmla="*/ 0 h 50836"/>
                    <a:gd name="connsiteX3" fmla="*/ 21231 w 21231"/>
                    <a:gd name="connsiteY3" fmla="*/ 50776 h 50836"/>
                    <a:gd name="connsiteX4" fmla="*/ 20574 w 21231"/>
                    <a:gd name="connsiteY4" fmla="*/ 50836 h 50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1" h="50836">
                      <a:moveTo>
                        <a:pt x="20574" y="50836"/>
                      </a:moveTo>
                      <a:cubicBezTo>
                        <a:pt x="13696" y="33971"/>
                        <a:pt x="6878" y="17105"/>
                        <a:pt x="0" y="239"/>
                      </a:cubicBezTo>
                      <a:cubicBezTo>
                        <a:pt x="180" y="179"/>
                        <a:pt x="419" y="60"/>
                        <a:pt x="598" y="0"/>
                      </a:cubicBezTo>
                      <a:cubicBezTo>
                        <a:pt x="7476" y="16925"/>
                        <a:pt x="14354" y="33851"/>
                        <a:pt x="21231" y="50776"/>
                      </a:cubicBezTo>
                      <a:cubicBezTo>
                        <a:pt x="20992" y="50776"/>
                        <a:pt x="20813" y="50776"/>
                        <a:pt x="20574" y="5083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63" name="Vrije vorm: vorm 9562">
                  <a:extLst>
                    <a:ext uri="{FF2B5EF4-FFF2-40B4-BE49-F238E27FC236}">
                      <a16:creationId xmlns:a16="http://schemas.microsoft.com/office/drawing/2014/main" id="{DBE876AD-4447-499F-98FE-6CA46756A309}"/>
                    </a:ext>
                  </a:extLst>
                </p:cNvPr>
                <p:cNvSpPr/>
                <p:nvPr/>
              </p:nvSpPr>
              <p:spPr>
                <a:xfrm>
                  <a:off x="4788604" y="1855439"/>
                  <a:ext cx="14054" cy="33432"/>
                </a:xfrm>
                <a:custGeom>
                  <a:avLst/>
                  <a:gdLst>
                    <a:gd name="connsiteX0" fmla="*/ 13516 w 14054"/>
                    <a:gd name="connsiteY0" fmla="*/ 33432 h 33432"/>
                    <a:gd name="connsiteX1" fmla="*/ 0 w 14054"/>
                    <a:gd name="connsiteY1" fmla="*/ 239 h 33432"/>
                    <a:gd name="connsiteX2" fmla="*/ 538 w 14054"/>
                    <a:gd name="connsiteY2" fmla="*/ 0 h 33432"/>
                    <a:gd name="connsiteX3" fmla="*/ 14055 w 14054"/>
                    <a:gd name="connsiteY3" fmla="*/ 33193 h 33432"/>
                    <a:gd name="connsiteX4" fmla="*/ 13516 w 14054"/>
                    <a:gd name="connsiteY4" fmla="*/ 33432 h 33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4" h="33432">
                      <a:moveTo>
                        <a:pt x="13516" y="33432"/>
                      </a:moveTo>
                      <a:cubicBezTo>
                        <a:pt x="9031" y="22368"/>
                        <a:pt x="4486" y="11304"/>
                        <a:pt x="0" y="239"/>
                      </a:cubicBezTo>
                      <a:cubicBezTo>
                        <a:pt x="180" y="179"/>
                        <a:pt x="359" y="60"/>
                        <a:pt x="538" y="0"/>
                      </a:cubicBezTo>
                      <a:cubicBezTo>
                        <a:pt x="5024" y="11064"/>
                        <a:pt x="9510" y="22129"/>
                        <a:pt x="14055" y="33193"/>
                      </a:cubicBezTo>
                      <a:cubicBezTo>
                        <a:pt x="13875" y="33313"/>
                        <a:pt x="13696" y="33372"/>
                        <a:pt x="13516" y="3343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64" name="Vrije vorm: vorm 9563">
                  <a:extLst>
                    <a:ext uri="{FF2B5EF4-FFF2-40B4-BE49-F238E27FC236}">
                      <a16:creationId xmlns:a16="http://schemas.microsoft.com/office/drawing/2014/main" id="{BB3BF5FD-1FD6-45F7-9D3B-85E5754DFB17}"/>
                    </a:ext>
                  </a:extLst>
                </p:cNvPr>
                <p:cNvSpPr/>
                <p:nvPr/>
              </p:nvSpPr>
              <p:spPr>
                <a:xfrm>
                  <a:off x="5381150" y="1471481"/>
                  <a:ext cx="30026" cy="72223"/>
                </a:xfrm>
                <a:custGeom>
                  <a:avLst/>
                  <a:gdLst>
                    <a:gd name="connsiteX0" fmla="*/ 15401 w 30026"/>
                    <a:gd name="connsiteY0" fmla="*/ 35954 h 72223"/>
                    <a:gd name="connsiteX1" fmla="*/ 29639 w 30026"/>
                    <a:gd name="connsiteY1" fmla="*/ 72066 h 72223"/>
                    <a:gd name="connsiteX2" fmla="*/ 14625 w 30026"/>
                    <a:gd name="connsiteY2" fmla="*/ 36270 h 72223"/>
                    <a:gd name="connsiteX3" fmla="*/ 388 w 30026"/>
                    <a:gd name="connsiteY3" fmla="*/ 158 h 72223"/>
                    <a:gd name="connsiteX4" fmla="*/ 15401 w 30026"/>
                    <a:gd name="connsiteY4" fmla="*/ 35954 h 7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26" h="72223">
                      <a:moveTo>
                        <a:pt x="15401" y="35954"/>
                      </a:moveTo>
                      <a:cubicBezTo>
                        <a:pt x="23478" y="55811"/>
                        <a:pt x="29853" y="71979"/>
                        <a:pt x="29639" y="72066"/>
                      </a:cubicBezTo>
                      <a:cubicBezTo>
                        <a:pt x="29425" y="72153"/>
                        <a:pt x="22703" y="56127"/>
                        <a:pt x="14625" y="36270"/>
                      </a:cubicBezTo>
                      <a:cubicBezTo>
                        <a:pt x="6548" y="16413"/>
                        <a:pt x="173" y="245"/>
                        <a:pt x="388" y="158"/>
                      </a:cubicBezTo>
                      <a:cubicBezTo>
                        <a:pt x="602" y="71"/>
                        <a:pt x="7324" y="16097"/>
                        <a:pt x="15401" y="3595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65" name="Vrije vorm: vorm 9564">
                  <a:extLst>
                    <a:ext uri="{FF2B5EF4-FFF2-40B4-BE49-F238E27FC236}">
                      <a16:creationId xmlns:a16="http://schemas.microsoft.com/office/drawing/2014/main" id="{A92F8C8B-013E-4D5B-97E7-97E279F2B464}"/>
                    </a:ext>
                  </a:extLst>
                </p:cNvPr>
                <p:cNvSpPr/>
                <p:nvPr/>
              </p:nvSpPr>
              <p:spPr>
                <a:xfrm>
                  <a:off x="4726943" y="2355248"/>
                  <a:ext cx="36063" cy="19018"/>
                </a:xfrm>
                <a:custGeom>
                  <a:avLst/>
                  <a:gdLst>
                    <a:gd name="connsiteX0" fmla="*/ 35765 w 36063"/>
                    <a:gd name="connsiteY0" fmla="*/ 19019 h 19018"/>
                    <a:gd name="connsiteX1" fmla="*/ 0 w 36063"/>
                    <a:gd name="connsiteY1" fmla="*/ 718 h 19018"/>
                    <a:gd name="connsiteX2" fmla="*/ 299 w 36063"/>
                    <a:gd name="connsiteY2" fmla="*/ 0 h 19018"/>
                    <a:gd name="connsiteX3" fmla="*/ 36064 w 36063"/>
                    <a:gd name="connsiteY3" fmla="*/ 18301 h 19018"/>
                    <a:gd name="connsiteX4" fmla="*/ 35765 w 36063"/>
                    <a:gd name="connsiteY4" fmla="*/ 19019 h 19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63" h="19018">
                      <a:moveTo>
                        <a:pt x="35765" y="19019"/>
                      </a:moveTo>
                      <a:cubicBezTo>
                        <a:pt x="23863" y="12918"/>
                        <a:pt x="11902" y="6818"/>
                        <a:pt x="0" y="718"/>
                      </a:cubicBezTo>
                      <a:cubicBezTo>
                        <a:pt x="120" y="478"/>
                        <a:pt x="180" y="239"/>
                        <a:pt x="299" y="0"/>
                      </a:cubicBezTo>
                      <a:cubicBezTo>
                        <a:pt x="12201" y="6100"/>
                        <a:pt x="24162" y="12201"/>
                        <a:pt x="36064" y="18301"/>
                      </a:cubicBezTo>
                      <a:cubicBezTo>
                        <a:pt x="35944" y="18600"/>
                        <a:pt x="35825" y="18779"/>
                        <a:pt x="35765" y="1901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66" name="Vrije vorm: vorm 9565">
                  <a:extLst>
                    <a:ext uri="{FF2B5EF4-FFF2-40B4-BE49-F238E27FC236}">
                      <a16:creationId xmlns:a16="http://schemas.microsoft.com/office/drawing/2014/main" id="{46C8CAD2-0C32-4B8E-944E-29D03642FDA9}"/>
                    </a:ext>
                  </a:extLst>
                </p:cNvPr>
                <p:cNvSpPr/>
                <p:nvPr/>
              </p:nvSpPr>
              <p:spPr>
                <a:xfrm>
                  <a:off x="5347171" y="1486884"/>
                  <a:ext cx="29801" cy="71669"/>
                </a:xfrm>
                <a:custGeom>
                  <a:avLst/>
                  <a:gdLst>
                    <a:gd name="connsiteX0" fmla="*/ 15288 w 29801"/>
                    <a:gd name="connsiteY0" fmla="*/ 35677 h 71669"/>
                    <a:gd name="connsiteX1" fmla="*/ 29413 w 29801"/>
                    <a:gd name="connsiteY1" fmla="*/ 71512 h 71669"/>
                    <a:gd name="connsiteX2" fmla="*/ 14513 w 29801"/>
                    <a:gd name="connsiteY2" fmla="*/ 35993 h 71669"/>
                    <a:gd name="connsiteX3" fmla="*/ 388 w 29801"/>
                    <a:gd name="connsiteY3" fmla="*/ 158 h 71669"/>
                    <a:gd name="connsiteX4" fmla="*/ 15288 w 29801"/>
                    <a:gd name="connsiteY4" fmla="*/ 35677 h 71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01" h="71669">
                      <a:moveTo>
                        <a:pt x="15288" y="35677"/>
                      </a:moveTo>
                      <a:cubicBezTo>
                        <a:pt x="23303" y="55381"/>
                        <a:pt x="29628" y="71425"/>
                        <a:pt x="29413" y="71512"/>
                      </a:cubicBezTo>
                      <a:cubicBezTo>
                        <a:pt x="29199" y="71599"/>
                        <a:pt x="22528" y="55697"/>
                        <a:pt x="14513" y="35993"/>
                      </a:cubicBezTo>
                      <a:cubicBezTo>
                        <a:pt x="6497" y="16289"/>
                        <a:pt x="173" y="245"/>
                        <a:pt x="388" y="158"/>
                      </a:cubicBezTo>
                      <a:cubicBezTo>
                        <a:pt x="602" y="71"/>
                        <a:pt x="7273" y="15973"/>
                        <a:pt x="15288" y="3567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67" name="Vrije vorm: vorm 9566">
                  <a:extLst>
                    <a:ext uri="{FF2B5EF4-FFF2-40B4-BE49-F238E27FC236}">
                      <a16:creationId xmlns:a16="http://schemas.microsoft.com/office/drawing/2014/main" id="{64CBFDB5-6D43-4BA7-A064-43B030E8F779}"/>
                    </a:ext>
                  </a:extLst>
                </p:cNvPr>
                <p:cNvSpPr/>
                <p:nvPr/>
              </p:nvSpPr>
              <p:spPr>
                <a:xfrm>
                  <a:off x="4692793" y="2337306"/>
                  <a:ext cx="34449" cy="18659"/>
                </a:xfrm>
                <a:custGeom>
                  <a:avLst/>
                  <a:gdLst>
                    <a:gd name="connsiteX0" fmla="*/ 34150 w 34449"/>
                    <a:gd name="connsiteY0" fmla="*/ 18660 h 18659"/>
                    <a:gd name="connsiteX1" fmla="*/ 0 w 34449"/>
                    <a:gd name="connsiteY1" fmla="*/ 1734 h 18659"/>
                    <a:gd name="connsiteX2" fmla="*/ 658 w 34449"/>
                    <a:gd name="connsiteY2" fmla="*/ 0 h 18659"/>
                    <a:gd name="connsiteX3" fmla="*/ 34449 w 34449"/>
                    <a:gd name="connsiteY3" fmla="*/ 17942 h 18659"/>
                    <a:gd name="connsiteX4" fmla="*/ 34150 w 34449"/>
                    <a:gd name="connsiteY4" fmla="*/ 18660 h 18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49" h="18659">
                      <a:moveTo>
                        <a:pt x="34150" y="18660"/>
                      </a:moveTo>
                      <a:cubicBezTo>
                        <a:pt x="22787" y="13038"/>
                        <a:pt x="11363" y="7356"/>
                        <a:pt x="0" y="1734"/>
                      </a:cubicBezTo>
                      <a:cubicBezTo>
                        <a:pt x="239" y="1136"/>
                        <a:pt x="419" y="598"/>
                        <a:pt x="658" y="0"/>
                      </a:cubicBezTo>
                      <a:cubicBezTo>
                        <a:pt x="11902" y="5981"/>
                        <a:pt x="23205" y="11961"/>
                        <a:pt x="34449" y="17942"/>
                      </a:cubicBezTo>
                      <a:cubicBezTo>
                        <a:pt x="34329" y="18181"/>
                        <a:pt x="34210" y="18421"/>
                        <a:pt x="34150" y="1866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68" name="Vrije vorm: vorm 9567">
                  <a:extLst>
                    <a:ext uri="{FF2B5EF4-FFF2-40B4-BE49-F238E27FC236}">
                      <a16:creationId xmlns:a16="http://schemas.microsoft.com/office/drawing/2014/main" id="{B68C41A0-6141-4615-800F-E377BDE8B535}"/>
                    </a:ext>
                  </a:extLst>
                </p:cNvPr>
                <p:cNvSpPr/>
                <p:nvPr/>
              </p:nvSpPr>
              <p:spPr>
                <a:xfrm>
                  <a:off x="4762648" y="2373609"/>
                  <a:ext cx="34449" cy="18659"/>
                </a:xfrm>
                <a:custGeom>
                  <a:avLst/>
                  <a:gdLst>
                    <a:gd name="connsiteX0" fmla="*/ 299 w 34449"/>
                    <a:gd name="connsiteY0" fmla="*/ 0 h 18659"/>
                    <a:gd name="connsiteX1" fmla="*/ 34449 w 34449"/>
                    <a:gd name="connsiteY1" fmla="*/ 16925 h 18659"/>
                    <a:gd name="connsiteX2" fmla="*/ 33791 w 34449"/>
                    <a:gd name="connsiteY2" fmla="*/ 18660 h 18659"/>
                    <a:gd name="connsiteX3" fmla="*/ 0 w 34449"/>
                    <a:gd name="connsiteY3" fmla="*/ 718 h 18659"/>
                    <a:gd name="connsiteX4" fmla="*/ 299 w 34449"/>
                    <a:gd name="connsiteY4" fmla="*/ 0 h 18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49" h="18659">
                      <a:moveTo>
                        <a:pt x="299" y="0"/>
                      </a:moveTo>
                      <a:cubicBezTo>
                        <a:pt x="11662" y="5622"/>
                        <a:pt x="23086" y="11303"/>
                        <a:pt x="34449" y="16925"/>
                      </a:cubicBezTo>
                      <a:cubicBezTo>
                        <a:pt x="34210" y="17523"/>
                        <a:pt x="34030" y="18062"/>
                        <a:pt x="33791" y="18660"/>
                      </a:cubicBezTo>
                      <a:cubicBezTo>
                        <a:pt x="22547" y="12679"/>
                        <a:pt x="11304" y="6698"/>
                        <a:pt x="0" y="718"/>
                      </a:cubicBezTo>
                      <a:cubicBezTo>
                        <a:pt x="120" y="419"/>
                        <a:pt x="239" y="239"/>
                        <a:pt x="299"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69" name="Vrije vorm: vorm 9568">
                  <a:extLst>
                    <a:ext uri="{FF2B5EF4-FFF2-40B4-BE49-F238E27FC236}">
                      <a16:creationId xmlns:a16="http://schemas.microsoft.com/office/drawing/2014/main" id="{6932BCDC-583D-4A71-8FDC-722622775728}"/>
                    </a:ext>
                  </a:extLst>
                </p:cNvPr>
                <p:cNvSpPr/>
                <p:nvPr/>
              </p:nvSpPr>
              <p:spPr>
                <a:xfrm>
                  <a:off x="4655413" y="2320201"/>
                  <a:ext cx="34568" cy="14832"/>
                </a:xfrm>
                <a:custGeom>
                  <a:avLst/>
                  <a:gdLst>
                    <a:gd name="connsiteX0" fmla="*/ 34568 w 34568"/>
                    <a:gd name="connsiteY0" fmla="*/ 14713 h 14832"/>
                    <a:gd name="connsiteX1" fmla="*/ 0 w 34568"/>
                    <a:gd name="connsiteY1" fmla="*/ 60 h 14832"/>
                    <a:gd name="connsiteX2" fmla="*/ 60 w 34568"/>
                    <a:gd name="connsiteY2" fmla="*/ 0 h 14832"/>
                    <a:gd name="connsiteX3" fmla="*/ 34568 w 34568"/>
                    <a:gd name="connsiteY3" fmla="*/ 14832 h 14832"/>
                    <a:gd name="connsiteX4" fmla="*/ 34568 w 34568"/>
                    <a:gd name="connsiteY4" fmla="*/ 14713 h 14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68" h="14832">
                      <a:moveTo>
                        <a:pt x="34568" y="14713"/>
                      </a:moveTo>
                      <a:cubicBezTo>
                        <a:pt x="23026" y="9808"/>
                        <a:pt x="11543" y="4964"/>
                        <a:pt x="0" y="60"/>
                      </a:cubicBezTo>
                      <a:cubicBezTo>
                        <a:pt x="0" y="60"/>
                        <a:pt x="0" y="60"/>
                        <a:pt x="60" y="0"/>
                      </a:cubicBezTo>
                      <a:cubicBezTo>
                        <a:pt x="11543" y="4964"/>
                        <a:pt x="23026" y="9868"/>
                        <a:pt x="34568" y="14832"/>
                      </a:cubicBezTo>
                      <a:cubicBezTo>
                        <a:pt x="34509" y="14832"/>
                        <a:pt x="34568" y="14772"/>
                        <a:pt x="34568" y="1471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70" name="Vrije vorm: vorm 9569">
                  <a:extLst>
                    <a:ext uri="{FF2B5EF4-FFF2-40B4-BE49-F238E27FC236}">
                      <a16:creationId xmlns:a16="http://schemas.microsoft.com/office/drawing/2014/main" id="{977E126C-F6AA-4597-B769-62AA3833A8B4}"/>
                    </a:ext>
                  </a:extLst>
                </p:cNvPr>
                <p:cNvSpPr/>
                <p:nvPr/>
              </p:nvSpPr>
              <p:spPr>
                <a:xfrm>
                  <a:off x="5459222" y="1667226"/>
                  <a:ext cx="19497" cy="46470"/>
                </a:xfrm>
                <a:custGeom>
                  <a:avLst/>
                  <a:gdLst>
                    <a:gd name="connsiteX0" fmla="*/ 718 w 19497"/>
                    <a:gd name="connsiteY0" fmla="*/ 0 h 46470"/>
                    <a:gd name="connsiteX1" fmla="*/ 19497 w 19497"/>
                    <a:gd name="connsiteY1" fmla="*/ 46231 h 46470"/>
                    <a:gd name="connsiteX2" fmla="*/ 18839 w 19497"/>
                    <a:gd name="connsiteY2" fmla="*/ 46470 h 46470"/>
                    <a:gd name="connsiteX3" fmla="*/ 0 w 19497"/>
                    <a:gd name="connsiteY3" fmla="*/ 239 h 46470"/>
                    <a:gd name="connsiteX4" fmla="*/ 718 w 19497"/>
                    <a:gd name="connsiteY4" fmla="*/ 0 h 4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97" h="46470">
                      <a:moveTo>
                        <a:pt x="718" y="0"/>
                      </a:moveTo>
                      <a:cubicBezTo>
                        <a:pt x="6998" y="15430"/>
                        <a:pt x="13277" y="30801"/>
                        <a:pt x="19497" y="46231"/>
                      </a:cubicBezTo>
                      <a:cubicBezTo>
                        <a:pt x="19258" y="46291"/>
                        <a:pt x="19079" y="46410"/>
                        <a:pt x="18839" y="46470"/>
                      </a:cubicBezTo>
                      <a:cubicBezTo>
                        <a:pt x="12560" y="31040"/>
                        <a:pt x="6280" y="15670"/>
                        <a:pt x="0" y="239"/>
                      </a:cubicBezTo>
                      <a:cubicBezTo>
                        <a:pt x="299" y="120"/>
                        <a:pt x="538" y="60"/>
                        <a:pt x="71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71" name="Vrije vorm: vorm 9570">
                  <a:extLst>
                    <a:ext uri="{FF2B5EF4-FFF2-40B4-BE49-F238E27FC236}">
                      <a16:creationId xmlns:a16="http://schemas.microsoft.com/office/drawing/2014/main" id="{BAF1EB64-9453-44C8-A56D-C4A6D0F40AD9}"/>
                    </a:ext>
                  </a:extLst>
                </p:cNvPr>
                <p:cNvSpPr/>
                <p:nvPr/>
              </p:nvSpPr>
              <p:spPr>
                <a:xfrm>
                  <a:off x="5129386" y="2067157"/>
                  <a:ext cx="14951" cy="35465"/>
                </a:xfrm>
                <a:custGeom>
                  <a:avLst/>
                  <a:gdLst>
                    <a:gd name="connsiteX0" fmla="*/ 14294 w 14951"/>
                    <a:gd name="connsiteY0" fmla="*/ 35466 h 35465"/>
                    <a:gd name="connsiteX1" fmla="*/ 0 w 14951"/>
                    <a:gd name="connsiteY1" fmla="*/ 299 h 35465"/>
                    <a:gd name="connsiteX2" fmla="*/ 658 w 14951"/>
                    <a:gd name="connsiteY2" fmla="*/ 0 h 35465"/>
                    <a:gd name="connsiteX3" fmla="*/ 14952 w 14951"/>
                    <a:gd name="connsiteY3" fmla="*/ 35107 h 35465"/>
                    <a:gd name="connsiteX4" fmla="*/ 14294 w 14951"/>
                    <a:gd name="connsiteY4" fmla="*/ 35466 h 3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51" h="35465">
                      <a:moveTo>
                        <a:pt x="14294" y="35466"/>
                      </a:moveTo>
                      <a:cubicBezTo>
                        <a:pt x="9509" y="23743"/>
                        <a:pt x="4785" y="12021"/>
                        <a:pt x="0" y="299"/>
                      </a:cubicBezTo>
                      <a:cubicBezTo>
                        <a:pt x="239" y="179"/>
                        <a:pt x="419" y="120"/>
                        <a:pt x="658" y="0"/>
                      </a:cubicBezTo>
                      <a:cubicBezTo>
                        <a:pt x="5442" y="11722"/>
                        <a:pt x="10167" y="23385"/>
                        <a:pt x="14952" y="35107"/>
                      </a:cubicBezTo>
                      <a:cubicBezTo>
                        <a:pt x="14772" y="35226"/>
                        <a:pt x="14533" y="35346"/>
                        <a:pt x="14294" y="3546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72" name="Vrije vorm: vorm 9571">
                  <a:extLst>
                    <a:ext uri="{FF2B5EF4-FFF2-40B4-BE49-F238E27FC236}">
                      <a16:creationId xmlns:a16="http://schemas.microsoft.com/office/drawing/2014/main" id="{09881151-1ECB-4C1B-BDCF-C7A811195351}"/>
                    </a:ext>
                  </a:extLst>
                </p:cNvPr>
                <p:cNvSpPr/>
                <p:nvPr/>
              </p:nvSpPr>
              <p:spPr>
                <a:xfrm>
                  <a:off x="4801522" y="2394482"/>
                  <a:ext cx="33133" cy="14473"/>
                </a:xfrm>
                <a:custGeom>
                  <a:avLst/>
                  <a:gdLst>
                    <a:gd name="connsiteX0" fmla="*/ 0 w 33133"/>
                    <a:gd name="connsiteY0" fmla="*/ 658 h 14473"/>
                    <a:gd name="connsiteX1" fmla="*/ 32954 w 33133"/>
                    <a:gd name="connsiteY1" fmla="*/ 14473 h 14473"/>
                    <a:gd name="connsiteX2" fmla="*/ 33133 w 33133"/>
                    <a:gd name="connsiteY2" fmla="*/ 13995 h 14473"/>
                    <a:gd name="connsiteX3" fmla="*/ 239 w 33133"/>
                    <a:gd name="connsiteY3" fmla="*/ 0 h 14473"/>
                    <a:gd name="connsiteX4" fmla="*/ 0 w 33133"/>
                    <a:gd name="connsiteY4" fmla="*/ 658 h 14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33" h="14473">
                      <a:moveTo>
                        <a:pt x="0" y="658"/>
                      </a:moveTo>
                      <a:cubicBezTo>
                        <a:pt x="11004" y="5263"/>
                        <a:pt x="21949" y="9868"/>
                        <a:pt x="32954" y="14473"/>
                      </a:cubicBezTo>
                      <a:cubicBezTo>
                        <a:pt x="33014" y="14294"/>
                        <a:pt x="33073" y="14174"/>
                        <a:pt x="33133" y="13995"/>
                      </a:cubicBezTo>
                      <a:cubicBezTo>
                        <a:pt x="22189" y="9330"/>
                        <a:pt x="11184" y="4665"/>
                        <a:pt x="239" y="0"/>
                      </a:cubicBezTo>
                      <a:cubicBezTo>
                        <a:pt x="120" y="239"/>
                        <a:pt x="60" y="478"/>
                        <a:pt x="0" y="65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73" name="Vrije vorm: vorm 9572">
                  <a:extLst>
                    <a:ext uri="{FF2B5EF4-FFF2-40B4-BE49-F238E27FC236}">
                      <a16:creationId xmlns:a16="http://schemas.microsoft.com/office/drawing/2014/main" id="{D56515DF-22AD-4FDA-A17F-74F1DA8A552A}"/>
                    </a:ext>
                  </a:extLst>
                </p:cNvPr>
                <p:cNvSpPr/>
                <p:nvPr/>
              </p:nvSpPr>
              <p:spPr>
                <a:xfrm>
                  <a:off x="5432278" y="1446682"/>
                  <a:ext cx="40424" cy="17091"/>
                </a:xfrm>
                <a:custGeom>
                  <a:avLst/>
                  <a:gdLst>
                    <a:gd name="connsiteX0" fmla="*/ 40267 w 40424"/>
                    <a:gd name="connsiteY0" fmla="*/ 388 h 17091"/>
                    <a:gd name="connsiteX1" fmla="*/ 20370 w 40424"/>
                    <a:gd name="connsiteY1" fmla="*/ 8933 h 17091"/>
                    <a:gd name="connsiteX2" fmla="*/ 158 w 40424"/>
                    <a:gd name="connsiteY2" fmla="*/ 16703 h 17091"/>
                    <a:gd name="connsiteX3" fmla="*/ 20055 w 40424"/>
                    <a:gd name="connsiteY3" fmla="*/ 8158 h 17091"/>
                    <a:gd name="connsiteX4" fmla="*/ 40267 w 40424"/>
                    <a:gd name="connsiteY4" fmla="*/ 388 h 17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24" h="17091">
                      <a:moveTo>
                        <a:pt x="40267" y="388"/>
                      </a:moveTo>
                      <a:cubicBezTo>
                        <a:pt x="40354" y="602"/>
                        <a:pt x="31446" y="4428"/>
                        <a:pt x="20370" y="8933"/>
                      </a:cubicBezTo>
                      <a:cubicBezTo>
                        <a:pt x="9294" y="13439"/>
                        <a:pt x="245" y="16917"/>
                        <a:pt x="158" y="16703"/>
                      </a:cubicBezTo>
                      <a:cubicBezTo>
                        <a:pt x="71" y="16489"/>
                        <a:pt x="8979" y="12663"/>
                        <a:pt x="20055" y="8158"/>
                      </a:cubicBezTo>
                      <a:cubicBezTo>
                        <a:pt x="31131" y="3652"/>
                        <a:pt x="40180" y="174"/>
                        <a:pt x="40267" y="38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74" name="Vrije vorm: vorm 9573">
                  <a:extLst>
                    <a:ext uri="{FF2B5EF4-FFF2-40B4-BE49-F238E27FC236}">
                      <a16:creationId xmlns:a16="http://schemas.microsoft.com/office/drawing/2014/main" id="{48E6F1E0-7285-4C73-BDC8-39FC534E08A9}"/>
                    </a:ext>
                  </a:extLst>
                </p:cNvPr>
                <p:cNvSpPr/>
                <p:nvPr/>
              </p:nvSpPr>
              <p:spPr>
                <a:xfrm>
                  <a:off x="5507786" y="1621234"/>
                  <a:ext cx="31757" cy="17284"/>
                </a:xfrm>
                <a:custGeom>
                  <a:avLst/>
                  <a:gdLst>
                    <a:gd name="connsiteX0" fmla="*/ 31758 w 31757"/>
                    <a:gd name="connsiteY0" fmla="*/ 1077 h 17284"/>
                    <a:gd name="connsiteX1" fmla="*/ 598 w 31757"/>
                    <a:gd name="connsiteY1" fmla="*/ 17284 h 17284"/>
                    <a:gd name="connsiteX2" fmla="*/ 0 w 31757"/>
                    <a:gd name="connsiteY2" fmla="*/ 16148 h 17284"/>
                    <a:gd name="connsiteX3" fmla="*/ 31220 w 31757"/>
                    <a:gd name="connsiteY3" fmla="*/ 0 h 17284"/>
                    <a:gd name="connsiteX4" fmla="*/ 31758 w 31757"/>
                    <a:gd name="connsiteY4" fmla="*/ 1077 h 1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7" h="17284">
                      <a:moveTo>
                        <a:pt x="31758" y="1077"/>
                      </a:moveTo>
                      <a:cubicBezTo>
                        <a:pt x="21351" y="6459"/>
                        <a:pt x="10945" y="11902"/>
                        <a:pt x="598" y="17284"/>
                      </a:cubicBezTo>
                      <a:cubicBezTo>
                        <a:pt x="419" y="16925"/>
                        <a:pt x="239" y="16507"/>
                        <a:pt x="0" y="16148"/>
                      </a:cubicBezTo>
                      <a:cubicBezTo>
                        <a:pt x="10407" y="10765"/>
                        <a:pt x="20813" y="5383"/>
                        <a:pt x="31220" y="0"/>
                      </a:cubicBezTo>
                      <a:cubicBezTo>
                        <a:pt x="31399" y="299"/>
                        <a:pt x="31578" y="718"/>
                        <a:pt x="31758" y="107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75" name="Vrije vorm: vorm 9574">
                  <a:extLst>
                    <a:ext uri="{FF2B5EF4-FFF2-40B4-BE49-F238E27FC236}">
                      <a16:creationId xmlns:a16="http://schemas.microsoft.com/office/drawing/2014/main" id="{D2E94D77-5727-4A59-8C0E-C01867804609}"/>
                    </a:ext>
                  </a:extLst>
                </p:cNvPr>
                <p:cNvSpPr/>
                <p:nvPr/>
              </p:nvSpPr>
              <p:spPr>
                <a:xfrm>
                  <a:off x="5442177" y="1463104"/>
                  <a:ext cx="18241" cy="43420"/>
                </a:xfrm>
                <a:custGeom>
                  <a:avLst/>
                  <a:gdLst>
                    <a:gd name="connsiteX0" fmla="*/ 17523 w 18241"/>
                    <a:gd name="connsiteY0" fmla="*/ 43420 h 43420"/>
                    <a:gd name="connsiteX1" fmla="*/ 0 w 18241"/>
                    <a:gd name="connsiteY1" fmla="*/ 299 h 43420"/>
                    <a:gd name="connsiteX2" fmla="*/ 718 w 18241"/>
                    <a:gd name="connsiteY2" fmla="*/ 0 h 43420"/>
                    <a:gd name="connsiteX3" fmla="*/ 18241 w 18241"/>
                    <a:gd name="connsiteY3" fmla="*/ 43121 h 43420"/>
                    <a:gd name="connsiteX4" fmla="*/ 17523 w 18241"/>
                    <a:gd name="connsiteY4" fmla="*/ 43420 h 43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1" h="43420">
                      <a:moveTo>
                        <a:pt x="17523" y="43420"/>
                      </a:moveTo>
                      <a:cubicBezTo>
                        <a:pt x="11662" y="29066"/>
                        <a:pt x="5801" y="14653"/>
                        <a:pt x="0" y="299"/>
                      </a:cubicBezTo>
                      <a:cubicBezTo>
                        <a:pt x="239" y="179"/>
                        <a:pt x="479" y="120"/>
                        <a:pt x="718" y="0"/>
                      </a:cubicBezTo>
                      <a:cubicBezTo>
                        <a:pt x="6579" y="14354"/>
                        <a:pt x="12440" y="28767"/>
                        <a:pt x="18241" y="43121"/>
                      </a:cubicBezTo>
                      <a:cubicBezTo>
                        <a:pt x="18002" y="43241"/>
                        <a:pt x="17763" y="43360"/>
                        <a:pt x="17523" y="4342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76" name="Vrije vorm: vorm 9575">
                  <a:extLst>
                    <a:ext uri="{FF2B5EF4-FFF2-40B4-BE49-F238E27FC236}">
                      <a16:creationId xmlns:a16="http://schemas.microsoft.com/office/drawing/2014/main" id="{0F4E6871-5E1E-47E7-85B3-9D810EDEFD80}"/>
                    </a:ext>
                  </a:extLst>
                </p:cNvPr>
                <p:cNvSpPr/>
                <p:nvPr/>
              </p:nvSpPr>
              <p:spPr>
                <a:xfrm>
                  <a:off x="5334403" y="1498796"/>
                  <a:ext cx="21487" cy="51459"/>
                </a:xfrm>
                <a:custGeom>
                  <a:avLst/>
                  <a:gdLst>
                    <a:gd name="connsiteX0" fmla="*/ 11076 w 21487"/>
                    <a:gd name="connsiteY0" fmla="*/ 25594 h 51459"/>
                    <a:gd name="connsiteX1" fmla="*/ 21155 w 21487"/>
                    <a:gd name="connsiteY1" fmla="*/ 51324 h 51459"/>
                    <a:gd name="connsiteX2" fmla="*/ 10411 w 21487"/>
                    <a:gd name="connsiteY2" fmla="*/ 25865 h 51459"/>
                    <a:gd name="connsiteX3" fmla="*/ 333 w 21487"/>
                    <a:gd name="connsiteY3" fmla="*/ 135 h 51459"/>
                    <a:gd name="connsiteX4" fmla="*/ 11076 w 21487"/>
                    <a:gd name="connsiteY4" fmla="*/ 25594 h 51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7" h="51459">
                      <a:moveTo>
                        <a:pt x="11076" y="25594"/>
                      </a:moveTo>
                      <a:cubicBezTo>
                        <a:pt x="16826" y="39730"/>
                        <a:pt x="21339" y="51250"/>
                        <a:pt x="21155" y="51324"/>
                      </a:cubicBezTo>
                      <a:cubicBezTo>
                        <a:pt x="20972" y="51399"/>
                        <a:pt x="16161" y="40000"/>
                        <a:pt x="10411" y="25865"/>
                      </a:cubicBezTo>
                      <a:cubicBezTo>
                        <a:pt x="4661" y="11729"/>
                        <a:pt x="149" y="210"/>
                        <a:pt x="333" y="135"/>
                      </a:cubicBezTo>
                      <a:cubicBezTo>
                        <a:pt x="516" y="61"/>
                        <a:pt x="5326" y="11459"/>
                        <a:pt x="11076" y="2559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77" name="Vrije vorm: vorm 9576">
                  <a:extLst>
                    <a:ext uri="{FF2B5EF4-FFF2-40B4-BE49-F238E27FC236}">
                      <a16:creationId xmlns:a16="http://schemas.microsoft.com/office/drawing/2014/main" id="{55DA8A22-F203-4F25-AFB4-FC72BB2438A8}"/>
                    </a:ext>
                  </a:extLst>
                </p:cNvPr>
                <p:cNvSpPr/>
                <p:nvPr/>
              </p:nvSpPr>
              <p:spPr>
                <a:xfrm>
                  <a:off x="5486494" y="1685886"/>
                  <a:ext cx="27092" cy="6698"/>
                </a:xfrm>
                <a:custGeom>
                  <a:avLst/>
                  <a:gdLst>
                    <a:gd name="connsiteX0" fmla="*/ 0 w 27092"/>
                    <a:gd name="connsiteY0" fmla="*/ 5502 h 6698"/>
                    <a:gd name="connsiteX1" fmla="*/ 26794 w 27092"/>
                    <a:gd name="connsiteY1" fmla="*/ 0 h 6698"/>
                    <a:gd name="connsiteX2" fmla="*/ 27093 w 27092"/>
                    <a:gd name="connsiteY2" fmla="*/ 1136 h 6698"/>
                    <a:gd name="connsiteX3" fmla="*/ 299 w 27092"/>
                    <a:gd name="connsiteY3" fmla="*/ 6698 h 6698"/>
                    <a:gd name="connsiteX4" fmla="*/ 0 w 27092"/>
                    <a:gd name="connsiteY4" fmla="*/ 5502 h 6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2" h="6698">
                      <a:moveTo>
                        <a:pt x="0" y="5502"/>
                      </a:moveTo>
                      <a:cubicBezTo>
                        <a:pt x="8912" y="3648"/>
                        <a:pt x="17883" y="1854"/>
                        <a:pt x="26794" y="0"/>
                      </a:cubicBezTo>
                      <a:cubicBezTo>
                        <a:pt x="26913" y="359"/>
                        <a:pt x="26973" y="777"/>
                        <a:pt x="27093" y="1136"/>
                      </a:cubicBezTo>
                      <a:cubicBezTo>
                        <a:pt x="18182" y="2990"/>
                        <a:pt x="9211" y="4844"/>
                        <a:pt x="299" y="6698"/>
                      </a:cubicBezTo>
                      <a:cubicBezTo>
                        <a:pt x="239" y="6340"/>
                        <a:pt x="120" y="5921"/>
                        <a:pt x="0" y="550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78" name="Vrije vorm: vorm 9577">
                  <a:extLst>
                    <a:ext uri="{FF2B5EF4-FFF2-40B4-BE49-F238E27FC236}">
                      <a16:creationId xmlns:a16="http://schemas.microsoft.com/office/drawing/2014/main" id="{E8E83BDE-64CD-46C3-88E8-FA0D5C85F097}"/>
                    </a:ext>
                  </a:extLst>
                </p:cNvPr>
                <p:cNvSpPr/>
                <p:nvPr/>
              </p:nvSpPr>
              <p:spPr>
                <a:xfrm>
                  <a:off x="5341103" y="1768839"/>
                  <a:ext cx="7117" cy="16267"/>
                </a:xfrm>
                <a:custGeom>
                  <a:avLst/>
                  <a:gdLst>
                    <a:gd name="connsiteX0" fmla="*/ 598 w 7117"/>
                    <a:gd name="connsiteY0" fmla="*/ 0 h 16267"/>
                    <a:gd name="connsiteX1" fmla="*/ 7117 w 7117"/>
                    <a:gd name="connsiteY1" fmla="*/ 16028 h 16267"/>
                    <a:gd name="connsiteX2" fmla="*/ 6519 w 7117"/>
                    <a:gd name="connsiteY2" fmla="*/ 16268 h 16267"/>
                    <a:gd name="connsiteX3" fmla="*/ 0 w 7117"/>
                    <a:gd name="connsiteY3" fmla="*/ 239 h 16267"/>
                    <a:gd name="connsiteX4" fmla="*/ 598 w 7117"/>
                    <a:gd name="connsiteY4" fmla="*/ 0 h 16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7" h="16267">
                      <a:moveTo>
                        <a:pt x="598" y="0"/>
                      </a:moveTo>
                      <a:cubicBezTo>
                        <a:pt x="2751" y="5323"/>
                        <a:pt x="4964" y="10705"/>
                        <a:pt x="7117" y="16028"/>
                      </a:cubicBezTo>
                      <a:cubicBezTo>
                        <a:pt x="6938" y="16088"/>
                        <a:pt x="6698" y="16208"/>
                        <a:pt x="6519" y="16268"/>
                      </a:cubicBezTo>
                      <a:cubicBezTo>
                        <a:pt x="4366" y="10945"/>
                        <a:pt x="2153" y="5562"/>
                        <a:pt x="0" y="239"/>
                      </a:cubicBezTo>
                      <a:cubicBezTo>
                        <a:pt x="180" y="120"/>
                        <a:pt x="359" y="60"/>
                        <a:pt x="59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79" name="Vrije vorm: vorm 9578">
                  <a:extLst>
                    <a:ext uri="{FF2B5EF4-FFF2-40B4-BE49-F238E27FC236}">
                      <a16:creationId xmlns:a16="http://schemas.microsoft.com/office/drawing/2014/main" id="{DEBD16A2-3F7D-4773-9F85-4BE016A6B442}"/>
                    </a:ext>
                  </a:extLst>
                </p:cNvPr>
                <p:cNvSpPr/>
                <p:nvPr/>
              </p:nvSpPr>
              <p:spPr>
                <a:xfrm>
                  <a:off x="4934594" y="1678948"/>
                  <a:ext cx="14054" cy="33312"/>
                </a:xfrm>
                <a:custGeom>
                  <a:avLst/>
                  <a:gdLst>
                    <a:gd name="connsiteX0" fmla="*/ 718 w 14054"/>
                    <a:gd name="connsiteY0" fmla="*/ 299 h 33312"/>
                    <a:gd name="connsiteX1" fmla="*/ 14055 w 14054"/>
                    <a:gd name="connsiteY1" fmla="*/ 33133 h 33312"/>
                    <a:gd name="connsiteX2" fmla="*/ 13576 w 14054"/>
                    <a:gd name="connsiteY2" fmla="*/ 33313 h 33312"/>
                    <a:gd name="connsiteX3" fmla="*/ 0 w 14054"/>
                    <a:gd name="connsiteY3" fmla="*/ 0 h 33312"/>
                    <a:gd name="connsiteX4" fmla="*/ 718 w 14054"/>
                    <a:gd name="connsiteY4" fmla="*/ 299 h 33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4" h="33312">
                      <a:moveTo>
                        <a:pt x="718" y="299"/>
                      </a:moveTo>
                      <a:cubicBezTo>
                        <a:pt x="5143" y="11244"/>
                        <a:pt x="9629" y="22188"/>
                        <a:pt x="14055" y="33133"/>
                      </a:cubicBezTo>
                      <a:cubicBezTo>
                        <a:pt x="13875" y="33193"/>
                        <a:pt x="13756" y="33253"/>
                        <a:pt x="13576" y="33313"/>
                      </a:cubicBezTo>
                      <a:cubicBezTo>
                        <a:pt x="9031" y="22188"/>
                        <a:pt x="4545" y="11124"/>
                        <a:pt x="0" y="0"/>
                      </a:cubicBezTo>
                      <a:cubicBezTo>
                        <a:pt x="239" y="120"/>
                        <a:pt x="479" y="239"/>
                        <a:pt x="718" y="29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80" name="Vrije vorm: vorm 9579">
                  <a:extLst>
                    <a:ext uri="{FF2B5EF4-FFF2-40B4-BE49-F238E27FC236}">
                      <a16:creationId xmlns:a16="http://schemas.microsoft.com/office/drawing/2014/main" id="{EAD4171C-9425-4EB1-BADF-4E8CC327A365}"/>
                    </a:ext>
                  </a:extLst>
                </p:cNvPr>
                <p:cNvSpPr/>
                <p:nvPr/>
              </p:nvSpPr>
              <p:spPr>
                <a:xfrm>
                  <a:off x="4881784" y="1206890"/>
                  <a:ext cx="19078" cy="17403"/>
                </a:xfrm>
                <a:custGeom>
                  <a:avLst/>
                  <a:gdLst>
                    <a:gd name="connsiteX0" fmla="*/ 19079 w 19078"/>
                    <a:gd name="connsiteY0" fmla="*/ 957 h 17403"/>
                    <a:gd name="connsiteX1" fmla="*/ 778 w 19078"/>
                    <a:gd name="connsiteY1" fmla="*/ 17404 h 17403"/>
                    <a:gd name="connsiteX2" fmla="*/ 0 w 19078"/>
                    <a:gd name="connsiteY2" fmla="*/ 16447 h 17403"/>
                    <a:gd name="connsiteX3" fmla="*/ 18361 w 19078"/>
                    <a:gd name="connsiteY3" fmla="*/ 0 h 17403"/>
                    <a:gd name="connsiteX4" fmla="*/ 19079 w 19078"/>
                    <a:gd name="connsiteY4" fmla="*/ 957 h 17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8" h="17403">
                      <a:moveTo>
                        <a:pt x="19079" y="957"/>
                      </a:moveTo>
                      <a:cubicBezTo>
                        <a:pt x="12978" y="6459"/>
                        <a:pt x="6878" y="11961"/>
                        <a:pt x="778" y="17404"/>
                      </a:cubicBezTo>
                      <a:cubicBezTo>
                        <a:pt x="538" y="17105"/>
                        <a:pt x="239" y="16746"/>
                        <a:pt x="0" y="16447"/>
                      </a:cubicBezTo>
                      <a:cubicBezTo>
                        <a:pt x="6100" y="10945"/>
                        <a:pt x="12201" y="5502"/>
                        <a:pt x="18361" y="0"/>
                      </a:cubicBezTo>
                      <a:cubicBezTo>
                        <a:pt x="18600" y="299"/>
                        <a:pt x="18839" y="598"/>
                        <a:pt x="19079" y="95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81" name="Vrije vorm: vorm 9580">
                  <a:extLst>
                    <a:ext uri="{FF2B5EF4-FFF2-40B4-BE49-F238E27FC236}">
                      <a16:creationId xmlns:a16="http://schemas.microsoft.com/office/drawing/2014/main" id="{6D803990-E1F0-46F0-96F5-C0D50379D782}"/>
                    </a:ext>
                  </a:extLst>
                </p:cNvPr>
                <p:cNvSpPr/>
                <p:nvPr/>
              </p:nvSpPr>
              <p:spPr>
                <a:xfrm>
                  <a:off x="4944402" y="1732356"/>
                  <a:ext cx="22367" cy="7356"/>
                </a:xfrm>
                <a:custGeom>
                  <a:avLst/>
                  <a:gdLst>
                    <a:gd name="connsiteX0" fmla="*/ 0 w 22367"/>
                    <a:gd name="connsiteY0" fmla="*/ 6100 h 7356"/>
                    <a:gd name="connsiteX1" fmla="*/ 22009 w 22367"/>
                    <a:gd name="connsiteY1" fmla="*/ 0 h 7356"/>
                    <a:gd name="connsiteX2" fmla="*/ 22368 w 22367"/>
                    <a:gd name="connsiteY2" fmla="*/ 1136 h 7356"/>
                    <a:gd name="connsiteX3" fmla="*/ 359 w 22367"/>
                    <a:gd name="connsiteY3" fmla="*/ 7356 h 7356"/>
                    <a:gd name="connsiteX4" fmla="*/ 0 w 22367"/>
                    <a:gd name="connsiteY4" fmla="*/ 6100 h 7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7" h="7356">
                      <a:moveTo>
                        <a:pt x="0" y="6100"/>
                      </a:moveTo>
                      <a:cubicBezTo>
                        <a:pt x="7356" y="4067"/>
                        <a:pt x="14652" y="2034"/>
                        <a:pt x="22009" y="0"/>
                      </a:cubicBezTo>
                      <a:cubicBezTo>
                        <a:pt x="22128" y="359"/>
                        <a:pt x="22248" y="778"/>
                        <a:pt x="22368" y="1136"/>
                      </a:cubicBezTo>
                      <a:cubicBezTo>
                        <a:pt x="15012" y="3230"/>
                        <a:pt x="7715" y="5263"/>
                        <a:pt x="359" y="7356"/>
                      </a:cubicBezTo>
                      <a:cubicBezTo>
                        <a:pt x="239" y="6878"/>
                        <a:pt x="119" y="6459"/>
                        <a:pt x="0" y="610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82" name="Vrije vorm: vorm 9581">
                  <a:extLst>
                    <a:ext uri="{FF2B5EF4-FFF2-40B4-BE49-F238E27FC236}">
                      <a16:creationId xmlns:a16="http://schemas.microsoft.com/office/drawing/2014/main" id="{F050EA07-7620-4E0F-9E27-08913B3FE677}"/>
                    </a:ext>
                  </a:extLst>
                </p:cNvPr>
                <p:cNvSpPr/>
                <p:nvPr/>
              </p:nvSpPr>
              <p:spPr>
                <a:xfrm>
                  <a:off x="5484341" y="2027325"/>
                  <a:ext cx="11243" cy="26375"/>
                </a:xfrm>
                <a:custGeom>
                  <a:avLst/>
                  <a:gdLst>
                    <a:gd name="connsiteX0" fmla="*/ 658 w 11243"/>
                    <a:gd name="connsiteY0" fmla="*/ 0 h 26375"/>
                    <a:gd name="connsiteX1" fmla="*/ 11244 w 11243"/>
                    <a:gd name="connsiteY1" fmla="*/ 26076 h 26375"/>
                    <a:gd name="connsiteX2" fmla="*/ 10586 w 11243"/>
                    <a:gd name="connsiteY2" fmla="*/ 26375 h 26375"/>
                    <a:gd name="connsiteX3" fmla="*/ 0 w 11243"/>
                    <a:gd name="connsiteY3" fmla="*/ 299 h 26375"/>
                    <a:gd name="connsiteX4" fmla="*/ 658 w 11243"/>
                    <a:gd name="connsiteY4" fmla="*/ 0 h 2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3" h="26375">
                      <a:moveTo>
                        <a:pt x="658" y="0"/>
                      </a:moveTo>
                      <a:cubicBezTo>
                        <a:pt x="4187" y="8672"/>
                        <a:pt x="7715" y="17404"/>
                        <a:pt x="11244" y="26076"/>
                      </a:cubicBezTo>
                      <a:cubicBezTo>
                        <a:pt x="11005" y="26196"/>
                        <a:pt x="10765" y="26255"/>
                        <a:pt x="10586" y="26375"/>
                      </a:cubicBezTo>
                      <a:cubicBezTo>
                        <a:pt x="7057" y="17703"/>
                        <a:pt x="3529" y="8971"/>
                        <a:pt x="0" y="299"/>
                      </a:cubicBezTo>
                      <a:cubicBezTo>
                        <a:pt x="180" y="179"/>
                        <a:pt x="419" y="60"/>
                        <a:pt x="65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83" name="Vrije vorm: vorm 9582">
                  <a:extLst>
                    <a:ext uri="{FF2B5EF4-FFF2-40B4-BE49-F238E27FC236}">
                      <a16:creationId xmlns:a16="http://schemas.microsoft.com/office/drawing/2014/main" id="{028EACA2-23D5-4BC8-B052-1A1E78E67D0E}"/>
                    </a:ext>
                  </a:extLst>
                </p:cNvPr>
                <p:cNvSpPr/>
                <p:nvPr/>
              </p:nvSpPr>
              <p:spPr>
                <a:xfrm>
                  <a:off x="4691896" y="1984862"/>
                  <a:ext cx="24221" cy="538"/>
                </a:xfrm>
                <a:custGeom>
                  <a:avLst/>
                  <a:gdLst>
                    <a:gd name="connsiteX0" fmla="*/ 0 w 24221"/>
                    <a:gd name="connsiteY0" fmla="*/ 538 h 538"/>
                    <a:gd name="connsiteX1" fmla="*/ 24222 w 24221"/>
                    <a:gd name="connsiteY1" fmla="*/ 0 h 538"/>
                    <a:gd name="connsiteX2" fmla="*/ 0 w 24221"/>
                    <a:gd name="connsiteY2" fmla="*/ 538 h 538"/>
                  </a:gdLst>
                  <a:ahLst/>
                  <a:cxnLst>
                    <a:cxn ang="0">
                      <a:pos x="connsiteX0" y="connsiteY0"/>
                    </a:cxn>
                    <a:cxn ang="0">
                      <a:pos x="connsiteX1" y="connsiteY1"/>
                    </a:cxn>
                    <a:cxn ang="0">
                      <a:pos x="connsiteX2" y="connsiteY2"/>
                    </a:cxn>
                  </a:cxnLst>
                  <a:rect l="l" t="t" r="r" b="b"/>
                  <a:pathLst>
                    <a:path w="24221" h="538">
                      <a:moveTo>
                        <a:pt x="0" y="538"/>
                      </a:moveTo>
                      <a:cubicBezTo>
                        <a:pt x="8074" y="359"/>
                        <a:pt x="16148" y="179"/>
                        <a:pt x="24222" y="0"/>
                      </a:cubicBezTo>
                      <a:cubicBezTo>
                        <a:pt x="16148" y="239"/>
                        <a:pt x="8074" y="419"/>
                        <a:pt x="0" y="53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84" name="Vrije vorm: vorm 9583">
                  <a:extLst>
                    <a:ext uri="{FF2B5EF4-FFF2-40B4-BE49-F238E27FC236}">
                      <a16:creationId xmlns:a16="http://schemas.microsoft.com/office/drawing/2014/main" id="{EC1D2391-C02A-4FC2-AA8E-DEC01B529791}"/>
                    </a:ext>
                  </a:extLst>
                </p:cNvPr>
                <p:cNvSpPr/>
                <p:nvPr/>
              </p:nvSpPr>
              <p:spPr>
                <a:xfrm>
                  <a:off x="4895300" y="1746829"/>
                  <a:ext cx="19736" cy="6578"/>
                </a:xfrm>
                <a:custGeom>
                  <a:avLst/>
                  <a:gdLst>
                    <a:gd name="connsiteX0" fmla="*/ 0 w 19736"/>
                    <a:gd name="connsiteY0" fmla="*/ 5442 h 6578"/>
                    <a:gd name="connsiteX1" fmla="*/ 19377 w 19736"/>
                    <a:gd name="connsiteY1" fmla="*/ 0 h 6578"/>
                    <a:gd name="connsiteX2" fmla="*/ 19736 w 19736"/>
                    <a:gd name="connsiteY2" fmla="*/ 1196 h 6578"/>
                    <a:gd name="connsiteX3" fmla="*/ 299 w 19736"/>
                    <a:gd name="connsiteY3" fmla="*/ 6579 h 6578"/>
                    <a:gd name="connsiteX4" fmla="*/ 0 w 19736"/>
                    <a:gd name="connsiteY4" fmla="*/ 5442 h 6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6" h="6578">
                      <a:moveTo>
                        <a:pt x="0" y="5442"/>
                      </a:moveTo>
                      <a:cubicBezTo>
                        <a:pt x="6459" y="3648"/>
                        <a:pt x="12918" y="1794"/>
                        <a:pt x="19377" y="0"/>
                      </a:cubicBezTo>
                      <a:cubicBezTo>
                        <a:pt x="19497" y="419"/>
                        <a:pt x="19617" y="778"/>
                        <a:pt x="19736" y="1196"/>
                      </a:cubicBezTo>
                      <a:cubicBezTo>
                        <a:pt x="13277" y="2990"/>
                        <a:pt x="6758" y="4785"/>
                        <a:pt x="299" y="6579"/>
                      </a:cubicBezTo>
                      <a:cubicBezTo>
                        <a:pt x="239" y="6160"/>
                        <a:pt x="120" y="5801"/>
                        <a:pt x="0" y="544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85" name="Vrije vorm: vorm 9584">
                  <a:extLst>
                    <a:ext uri="{FF2B5EF4-FFF2-40B4-BE49-F238E27FC236}">
                      <a16:creationId xmlns:a16="http://schemas.microsoft.com/office/drawing/2014/main" id="{F638AC25-35B6-416C-8163-0C5D50374D07}"/>
                    </a:ext>
                  </a:extLst>
                </p:cNvPr>
                <p:cNvSpPr/>
                <p:nvPr/>
              </p:nvSpPr>
              <p:spPr>
                <a:xfrm>
                  <a:off x="5372083" y="2028880"/>
                  <a:ext cx="10765" cy="25178"/>
                </a:xfrm>
                <a:custGeom>
                  <a:avLst/>
                  <a:gdLst>
                    <a:gd name="connsiteX0" fmla="*/ 10167 w 10765"/>
                    <a:gd name="connsiteY0" fmla="*/ 25179 h 25178"/>
                    <a:gd name="connsiteX1" fmla="*/ 0 w 10765"/>
                    <a:gd name="connsiteY1" fmla="*/ 239 h 25178"/>
                    <a:gd name="connsiteX2" fmla="*/ 538 w 10765"/>
                    <a:gd name="connsiteY2" fmla="*/ 0 h 25178"/>
                    <a:gd name="connsiteX3" fmla="*/ 10765 w 10765"/>
                    <a:gd name="connsiteY3" fmla="*/ 25119 h 25178"/>
                    <a:gd name="connsiteX4" fmla="*/ 10167 w 10765"/>
                    <a:gd name="connsiteY4" fmla="*/ 25179 h 2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5" h="25178">
                      <a:moveTo>
                        <a:pt x="10167" y="25179"/>
                      </a:moveTo>
                      <a:cubicBezTo>
                        <a:pt x="6758" y="16866"/>
                        <a:pt x="3409" y="8552"/>
                        <a:pt x="0" y="239"/>
                      </a:cubicBezTo>
                      <a:cubicBezTo>
                        <a:pt x="179" y="179"/>
                        <a:pt x="359" y="120"/>
                        <a:pt x="538" y="0"/>
                      </a:cubicBezTo>
                      <a:cubicBezTo>
                        <a:pt x="3947" y="8373"/>
                        <a:pt x="7356" y="16746"/>
                        <a:pt x="10765" y="25119"/>
                      </a:cubicBezTo>
                      <a:cubicBezTo>
                        <a:pt x="10586" y="25179"/>
                        <a:pt x="10406" y="25179"/>
                        <a:pt x="10167" y="251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86" name="Vrije vorm: vorm 9585">
                  <a:extLst>
                    <a:ext uri="{FF2B5EF4-FFF2-40B4-BE49-F238E27FC236}">
                      <a16:creationId xmlns:a16="http://schemas.microsoft.com/office/drawing/2014/main" id="{FB483694-8FEB-42F0-ADA9-6F0A005FC856}"/>
                    </a:ext>
                  </a:extLst>
                </p:cNvPr>
                <p:cNvSpPr/>
                <p:nvPr/>
              </p:nvSpPr>
              <p:spPr>
                <a:xfrm>
                  <a:off x="5340505" y="2120385"/>
                  <a:ext cx="11004" cy="25896"/>
                </a:xfrm>
                <a:custGeom>
                  <a:avLst/>
                  <a:gdLst>
                    <a:gd name="connsiteX0" fmla="*/ 10466 w 11004"/>
                    <a:gd name="connsiteY0" fmla="*/ 25897 h 25896"/>
                    <a:gd name="connsiteX1" fmla="*/ 0 w 11004"/>
                    <a:gd name="connsiteY1" fmla="*/ 239 h 25896"/>
                    <a:gd name="connsiteX2" fmla="*/ 598 w 11004"/>
                    <a:gd name="connsiteY2" fmla="*/ 0 h 25896"/>
                    <a:gd name="connsiteX3" fmla="*/ 11005 w 11004"/>
                    <a:gd name="connsiteY3" fmla="*/ 25597 h 25896"/>
                    <a:gd name="connsiteX4" fmla="*/ 10466 w 11004"/>
                    <a:gd name="connsiteY4" fmla="*/ 25897 h 25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4" h="25896">
                      <a:moveTo>
                        <a:pt x="10466" y="25897"/>
                      </a:moveTo>
                      <a:cubicBezTo>
                        <a:pt x="6997" y="17344"/>
                        <a:pt x="3529" y="8792"/>
                        <a:pt x="0" y="239"/>
                      </a:cubicBezTo>
                      <a:cubicBezTo>
                        <a:pt x="180" y="179"/>
                        <a:pt x="419" y="60"/>
                        <a:pt x="598" y="0"/>
                      </a:cubicBezTo>
                      <a:cubicBezTo>
                        <a:pt x="4067" y="8552"/>
                        <a:pt x="7536" y="17105"/>
                        <a:pt x="11005" y="25597"/>
                      </a:cubicBezTo>
                      <a:cubicBezTo>
                        <a:pt x="10825" y="25657"/>
                        <a:pt x="10646" y="25777"/>
                        <a:pt x="10466" y="2589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87" name="Vrije vorm: vorm 9586">
                  <a:extLst>
                    <a:ext uri="{FF2B5EF4-FFF2-40B4-BE49-F238E27FC236}">
                      <a16:creationId xmlns:a16="http://schemas.microsoft.com/office/drawing/2014/main" id="{C5755CA4-A5FE-447B-8762-04979B5553F7}"/>
                    </a:ext>
                  </a:extLst>
                </p:cNvPr>
                <p:cNvSpPr/>
                <p:nvPr/>
              </p:nvSpPr>
              <p:spPr>
                <a:xfrm>
                  <a:off x="5398398" y="1649942"/>
                  <a:ext cx="10705" cy="25119"/>
                </a:xfrm>
                <a:custGeom>
                  <a:avLst/>
                  <a:gdLst>
                    <a:gd name="connsiteX0" fmla="*/ 10107 w 10705"/>
                    <a:gd name="connsiteY0" fmla="*/ 25119 h 25119"/>
                    <a:gd name="connsiteX1" fmla="*/ 0 w 10705"/>
                    <a:gd name="connsiteY1" fmla="*/ 239 h 25119"/>
                    <a:gd name="connsiteX2" fmla="*/ 598 w 10705"/>
                    <a:gd name="connsiteY2" fmla="*/ 0 h 25119"/>
                    <a:gd name="connsiteX3" fmla="*/ 10705 w 10705"/>
                    <a:gd name="connsiteY3" fmla="*/ 24820 h 25119"/>
                    <a:gd name="connsiteX4" fmla="*/ 10107 w 10705"/>
                    <a:gd name="connsiteY4" fmla="*/ 25119 h 2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05" h="25119">
                      <a:moveTo>
                        <a:pt x="10107" y="25119"/>
                      </a:moveTo>
                      <a:cubicBezTo>
                        <a:pt x="6758" y="16806"/>
                        <a:pt x="3349" y="8493"/>
                        <a:pt x="0" y="239"/>
                      </a:cubicBezTo>
                      <a:cubicBezTo>
                        <a:pt x="180" y="179"/>
                        <a:pt x="359" y="60"/>
                        <a:pt x="598" y="0"/>
                      </a:cubicBezTo>
                      <a:cubicBezTo>
                        <a:pt x="3947" y="8253"/>
                        <a:pt x="7356" y="16567"/>
                        <a:pt x="10705" y="24820"/>
                      </a:cubicBezTo>
                      <a:cubicBezTo>
                        <a:pt x="10526" y="24880"/>
                        <a:pt x="10347" y="24999"/>
                        <a:pt x="10107" y="2511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88" name="Vrije vorm: vorm 9587">
                  <a:extLst>
                    <a:ext uri="{FF2B5EF4-FFF2-40B4-BE49-F238E27FC236}">
                      <a16:creationId xmlns:a16="http://schemas.microsoft.com/office/drawing/2014/main" id="{9F45D468-488F-43F1-A9C4-63156266D67C}"/>
                    </a:ext>
                  </a:extLst>
                </p:cNvPr>
                <p:cNvSpPr/>
                <p:nvPr/>
              </p:nvSpPr>
              <p:spPr>
                <a:xfrm>
                  <a:off x="4711273" y="2060578"/>
                  <a:ext cx="15191" cy="35884"/>
                </a:xfrm>
                <a:custGeom>
                  <a:avLst/>
                  <a:gdLst>
                    <a:gd name="connsiteX0" fmla="*/ 14474 w 15191"/>
                    <a:gd name="connsiteY0" fmla="*/ 35884 h 35884"/>
                    <a:gd name="connsiteX1" fmla="*/ 0 w 15191"/>
                    <a:gd name="connsiteY1" fmla="*/ 239 h 35884"/>
                    <a:gd name="connsiteX2" fmla="*/ 658 w 15191"/>
                    <a:gd name="connsiteY2" fmla="*/ 0 h 35884"/>
                    <a:gd name="connsiteX3" fmla="*/ 15191 w 15191"/>
                    <a:gd name="connsiteY3" fmla="*/ 35765 h 35884"/>
                    <a:gd name="connsiteX4" fmla="*/ 14474 w 15191"/>
                    <a:gd name="connsiteY4" fmla="*/ 35884 h 35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91" h="35884">
                      <a:moveTo>
                        <a:pt x="14474" y="35884"/>
                      </a:moveTo>
                      <a:cubicBezTo>
                        <a:pt x="9629" y="23983"/>
                        <a:pt x="4785" y="12141"/>
                        <a:pt x="0" y="239"/>
                      </a:cubicBezTo>
                      <a:cubicBezTo>
                        <a:pt x="239" y="179"/>
                        <a:pt x="419" y="60"/>
                        <a:pt x="658" y="0"/>
                      </a:cubicBezTo>
                      <a:cubicBezTo>
                        <a:pt x="5503" y="11902"/>
                        <a:pt x="10347" y="23863"/>
                        <a:pt x="15191" y="35765"/>
                      </a:cubicBezTo>
                      <a:cubicBezTo>
                        <a:pt x="14952" y="35825"/>
                        <a:pt x="14713" y="35825"/>
                        <a:pt x="14474" y="3588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89" name="Vrije vorm: vorm 9588">
                  <a:extLst>
                    <a:ext uri="{FF2B5EF4-FFF2-40B4-BE49-F238E27FC236}">
                      <a16:creationId xmlns:a16="http://schemas.microsoft.com/office/drawing/2014/main" id="{775480A0-6FD0-4CCB-A367-FAD216333C7C}"/>
                    </a:ext>
                  </a:extLst>
                </p:cNvPr>
                <p:cNvSpPr/>
                <p:nvPr/>
              </p:nvSpPr>
              <p:spPr>
                <a:xfrm>
                  <a:off x="4935670" y="2204414"/>
                  <a:ext cx="41984" cy="99937"/>
                </a:xfrm>
                <a:custGeom>
                  <a:avLst/>
                  <a:gdLst>
                    <a:gd name="connsiteX0" fmla="*/ 1316 w 41984"/>
                    <a:gd name="connsiteY0" fmla="*/ 0 h 99937"/>
                    <a:gd name="connsiteX1" fmla="*/ 41985 w 41984"/>
                    <a:gd name="connsiteY1" fmla="*/ 99938 h 99937"/>
                    <a:gd name="connsiteX2" fmla="*/ 27212 w 41984"/>
                    <a:gd name="connsiteY2" fmla="*/ 79424 h 99937"/>
                    <a:gd name="connsiteX3" fmla="*/ 32236 w 41984"/>
                    <a:gd name="connsiteY3" fmla="*/ 79663 h 99937"/>
                    <a:gd name="connsiteX4" fmla="*/ 0 w 41984"/>
                    <a:gd name="connsiteY4" fmla="*/ 478 h 99937"/>
                    <a:gd name="connsiteX5" fmla="*/ 1316 w 41984"/>
                    <a:gd name="connsiteY5" fmla="*/ 0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84" h="99937">
                      <a:moveTo>
                        <a:pt x="1316" y="0"/>
                      </a:moveTo>
                      <a:cubicBezTo>
                        <a:pt x="14653" y="32834"/>
                        <a:pt x="28050" y="65728"/>
                        <a:pt x="41985" y="99938"/>
                      </a:cubicBezTo>
                      <a:cubicBezTo>
                        <a:pt x="35705" y="93060"/>
                        <a:pt x="37738" y="81338"/>
                        <a:pt x="27212" y="79424"/>
                      </a:cubicBezTo>
                      <a:cubicBezTo>
                        <a:pt x="28767" y="79484"/>
                        <a:pt x="30262" y="79603"/>
                        <a:pt x="32236" y="79663"/>
                      </a:cubicBezTo>
                      <a:cubicBezTo>
                        <a:pt x="21411" y="52989"/>
                        <a:pt x="10705" y="26734"/>
                        <a:pt x="0" y="478"/>
                      </a:cubicBezTo>
                      <a:cubicBezTo>
                        <a:pt x="419" y="359"/>
                        <a:pt x="837" y="179"/>
                        <a:pt x="1316"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90" name="Vrije vorm: vorm 9589">
                  <a:extLst>
                    <a:ext uri="{FF2B5EF4-FFF2-40B4-BE49-F238E27FC236}">
                      <a16:creationId xmlns:a16="http://schemas.microsoft.com/office/drawing/2014/main" id="{821CA900-F829-42C6-92A6-04187D5214DA}"/>
                    </a:ext>
                  </a:extLst>
                </p:cNvPr>
                <p:cNvSpPr/>
                <p:nvPr/>
              </p:nvSpPr>
              <p:spPr>
                <a:xfrm>
                  <a:off x="5297265" y="1525304"/>
                  <a:ext cx="13635" cy="32056"/>
                </a:xfrm>
                <a:custGeom>
                  <a:avLst/>
                  <a:gdLst>
                    <a:gd name="connsiteX0" fmla="*/ 12918 w 13635"/>
                    <a:gd name="connsiteY0" fmla="*/ 32057 h 32056"/>
                    <a:gd name="connsiteX1" fmla="*/ 0 w 13635"/>
                    <a:gd name="connsiteY1" fmla="*/ 239 h 32056"/>
                    <a:gd name="connsiteX2" fmla="*/ 718 w 13635"/>
                    <a:gd name="connsiteY2" fmla="*/ 0 h 32056"/>
                    <a:gd name="connsiteX3" fmla="*/ 13636 w 13635"/>
                    <a:gd name="connsiteY3" fmla="*/ 31817 h 32056"/>
                    <a:gd name="connsiteX4" fmla="*/ 12918 w 13635"/>
                    <a:gd name="connsiteY4" fmla="*/ 32057 h 32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 h="32056">
                      <a:moveTo>
                        <a:pt x="12918" y="32057"/>
                      </a:moveTo>
                      <a:cubicBezTo>
                        <a:pt x="8612" y="21471"/>
                        <a:pt x="4306" y="10885"/>
                        <a:pt x="0" y="239"/>
                      </a:cubicBezTo>
                      <a:cubicBezTo>
                        <a:pt x="239" y="179"/>
                        <a:pt x="478" y="60"/>
                        <a:pt x="718" y="0"/>
                      </a:cubicBezTo>
                      <a:cubicBezTo>
                        <a:pt x="5024" y="10586"/>
                        <a:pt x="9330" y="21232"/>
                        <a:pt x="13636" y="31817"/>
                      </a:cubicBezTo>
                      <a:cubicBezTo>
                        <a:pt x="13397" y="31877"/>
                        <a:pt x="13157" y="31937"/>
                        <a:pt x="12918" y="3205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91" name="Vrije vorm: vorm 9590">
                  <a:extLst>
                    <a:ext uri="{FF2B5EF4-FFF2-40B4-BE49-F238E27FC236}">
                      <a16:creationId xmlns:a16="http://schemas.microsoft.com/office/drawing/2014/main" id="{8F3C105F-93F0-48EF-812D-D24E12DD7A37}"/>
                    </a:ext>
                  </a:extLst>
                </p:cNvPr>
                <p:cNvSpPr/>
                <p:nvPr/>
              </p:nvSpPr>
              <p:spPr>
                <a:xfrm>
                  <a:off x="5091639" y="1151963"/>
                  <a:ext cx="19233" cy="45919"/>
                </a:xfrm>
                <a:custGeom>
                  <a:avLst/>
                  <a:gdLst>
                    <a:gd name="connsiteX0" fmla="*/ 9949 w 19233"/>
                    <a:gd name="connsiteY0" fmla="*/ 22825 h 45919"/>
                    <a:gd name="connsiteX1" fmla="*/ 18901 w 19233"/>
                    <a:gd name="connsiteY1" fmla="*/ 45784 h 45919"/>
                    <a:gd name="connsiteX2" fmla="*/ 9285 w 19233"/>
                    <a:gd name="connsiteY2" fmla="*/ 23095 h 45919"/>
                    <a:gd name="connsiteX3" fmla="*/ 332 w 19233"/>
                    <a:gd name="connsiteY3" fmla="*/ 135 h 45919"/>
                    <a:gd name="connsiteX4" fmla="*/ 9949 w 19233"/>
                    <a:gd name="connsiteY4" fmla="*/ 22825 h 45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33" h="45919">
                      <a:moveTo>
                        <a:pt x="9949" y="22825"/>
                      </a:moveTo>
                      <a:cubicBezTo>
                        <a:pt x="15077" y="35430"/>
                        <a:pt x="19085" y="45710"/>
                        <a:pt x="18901" y="45784"/>
                      </a:cubicBezTo>
                      <a:cubicBezTo>
                        <a:pt x="18718" y="45859"/>
                        <a:pt x="14412" y="35701"/>
                        <a:pt x="9285" y="23095"/>
                      </a:cubicBezTo>
                      <a:cubicBezTo>
                        <a:pt x="4157" y="10489"/>
                        <a:pt x="149" y="210"/>
                        <a:pt x="332" y="135"/>
                      </a:cubicBezTo>
                      <a:cubicBezTo>
                        <a:pt x="516" y="61"/>
                        <a:pt x="4822" y="10219"/>
                        <a:pt x="9949" y="2282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92" name="Vrije vorm: vorm 9591">
                  <a:extLst>
                    <a:ext uri="{FF2B5EF4-FFF2-40B4-BE49-F238E27FC236}">
                      <a16:creationId xmlns:a16="http://schemas.microsoft.com/office/drawing/2014/main" id="{ABCD4CB8-74B4-456D-8BFC-9022191FF215}"/>
                    </a:ext>
                  </a:extLst>
                </p:cNvPr>
                <p:cNvSpPr/>
                <p:nvPr/>
              </p:nvSpPr>
              <p:spPr>
                <a:xfrm>
                  <a:off x="5070117" y="1252523"/>
                  <a:ext cx="11662" cy="27451"/>
                </a:xfrm>
                <a:custGeom>
                  <a:avLst/>
                  <a:gdLst>
                    <a:gd name="connsiteX0" fmla="*/ 11124 w 11662"/>
                    <a:gd name="connsiteY0" fmla="*/ 27452 h 27451"/>
                    <a:gd name="connsiteX1" fmla="*/ 0 w 11662"/>
                    <a:gd name="connsiteY1" fmla="*/ 179 h 27451"/>
                    <a:gd name="connsiteX2" fmla="*/ 538 w 11662"/>
                    <a:gd name="connsiteY2" fmla="*/ 0 h 27451"/>
                    <a:gd name="connsiteX3" fmla="*/ 11662 w 11662"/>
                    <a:gd name="connsiteY3" fmla="*/ 27392 h 27451"/>
                    <a:gd name="connsiteX4" fmla="*/ 11124 w 11662"/>
                    <a:gd name="connsiteY4" fmla="*/ 27452 h 27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62" h="27451">
                      <a:moveTo>
                        <a:pt x="11124" y="27452"/>
                      </a:moveTo>
                      <a:cubicBezTo>
                        <a:pt x="7416" y="18361"/>
                        <a:pt x="3708" y="9270"/>
                        <a:pt x="0" y="179"/>
                      </a:cubicBezTo>
                      <a:cubicBezTo>
                        <a:pt x="180" y="120"/>
                        <a:pt x="359" y="60"/>
                        <a:pt x="538" y="0"/>
                      </a:cubicBezTo>
                      <a:cubicBezTo>
                        <a:pt x="4246" y="9150"/>
                        <a:pt x="7954" y="18241"/>
                        <a:pt x="11662" y="27392"/>
                      </a:cubicBezTo>
                      <a:cubicBezTo>
                        <a:pt x="11483" y="27332"/>
                        <a:pt x="11304" y="27392"/>
                        <a:pt x="11124" y="2745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93" name="Vrije vorm: vorm 9592">
                  <a:extLst>
                    <a:ext uri="{FF2B5EF4-FFF2-40B4-BE49-F238E27FC236}">
                      <a16:creationId xmlns:a16="http://schemas.microsoft.com/office/drawing/2014/main" id="{8FE3EB9E-F6C4-42BE-8C49-F22922176B3E}"/>
                    </a:ext>
                  </a:extLst>
                </p:cNvPr>
                <p:cNvSpPr/>
                <p:nvPr/>
              </p:nvSpPr>
              <p:spPr>
                <a:xfrm>
                  <a:off x="5309884" y="1693780"/>
                  <a:ext cx="10765" cy="25238"/>
                </a:xfrm>
                <a:custGeom>
                  <a:avLst/>
                  <a:gdLst>
                    <a:gd name="connsiteX0" fmla="*/ 598 w 10765"/>
                    <a:gd name="connsiteY0" fmla="*/ 0 h 25238"/>
                    <a:gd name="connsiteX1" fmla="*/ 10765 w 10765"/>
                    <a:gd name="connsiteY1" fmla="*/ 25059 h 25238"/>
                    <a:gd name="connsiteX2" fmla="*/ 10227 w 10765"/>
                    <a:gd name="connsiteY2" fmla="*/ 25239 h 25238"/>
                    <a:gd name="connsiteX3" fmla="*/ 0 w 10765"/>
                    <a:gd name="connsiteY3" fmla="*/ 120 h 25238"/>
                    <a:gd name="connsiteX4" fmla="*/ 598 w 10765"/>
                    <a:gd name="connsiteY4" fmla="*/ 0 h 2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5" h="25238">
                      <a:moveTo>
                        <a:pt x="598" y="0"/>
                      </a:moveTo>
                      <a:cubicBezTo>
                        <a:pt x="4007" y="8373"/>
                        <a:pt x="7416" y="16686"/>
                        <a:pt x="10765" y="25059"/>
                      </a:cubicBezTo>
                      <a:cubicBezTo>
                        <a:pt x="10586" y="25119"/>
                        <a:pt x="10406" y="25179"/>
                        <a:pt x="10227" y="25239"/>
                      </a:cubicBezTo>
                      <a:cubicBezTo>
                        <a:pt x="6818" y="16866"/>
                        <a:pt x="3409" y="8493"/>
                        <a:pt x="0" y="120"/>
                      </a:cubicBezTo>
                      <a:cubicBezTo>
                        <a:pt x="239" y="60"/>
                        <a:pt x="419" y="0"/>
                        <a:pt x="59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94" name="Vrije vorm: vorm 9593">
                  <a:extLst>
                    <a:ext uri="{FF2B5EF4-FFF2-40B4-BE49-F238E27FC236}">
                      <a16:creationId xmlns:a16="http://schemas.microsoft.com/office/drawing/2014/main" id="{48BC6994-3225-40CE-9207-C4B8BA5026A2}"/>
                    </a:ext>
                  </a:extLst>
                </p:cNvPr>
                <p:cNvSpPr/>
                <p:nvPr/>
              </p:nvSpPr>
              <p:spPr>
                <a:xfrm>
                  <a:off x="5134709" y="1144511"/>
                  <a:ext cx="34269" cy="20992"/>
                </a:xfrm>
                <a:custGeom>
                  <a:avLst/>
                  <a:gdLst>
                    <a:gd name="connsiteX0" fmla="*/ 34269 w 34269"/>
                    <a:gd name="connsiteY0" fmla="*/ 1615 h 20992"/>
                    <a:gd name="connsiteX1" fmla="*/ 8433 w 34269"/>
                    <a:gd name="connsiteY1" fmla="*/ 20992 h 20992"/>
                    <a:gd name="connsiteX2" fmla="*/ 0 w 34269"/>
                    <a:gd name="connsiteY2" fmla="*/ 299 h 20992"/>
                    <a:gd name="connsiteX3" fmla="*/ 718 w 34269"/>
                    <a:gd name="connsiteY3" fmla="*/ 0 h 20992"/>
                    <a:gd name="connsiteX4" fmla="*/ 8433 w 34269"/>
                    <a:gd name="connsiteY4" fmla="*/ 19019 h 20992"/>
                    <a:gd name="connsiteX5" fmla="*/ 33492 w 34269"/>
                    <a:gd name="connsiteY5" fmla="*/ 777 h 20992"/>
                    <a:gd name="connsiteX6" fmla="*/ 34269 w 34269"/>
                    <a:gd name="connsiteY6" fmla="*/ 1615 h 2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69" h="20992">
                      <a:moveTo>
                        <a:pt x="34269" y="1615"/>
                      </a:moveTo>
                      <a:cubicBezTo>
                        <a:pt x="25717" y="8014"/>
                        <a:pt x="17165" y="14473"/>
                        <a:pt x="8433" y="20992"/>
                      </a:cubicBezTo>
                      <a:cubicBezTo>
                        <a:pt x="5681" y="14174"/>
                        <a:pt x="2811" y="7237"/>
                        <a:pt x="0" y="299"/>
                      </a:cubicBezTo>
                      <a:cubicBezTo>
                        <a:pt x="239" y="179"/>
                        <a:pt x="478" y="120"/>
                        <a:pt x="718" y="0"/>
                      </a:cubicBezTo>
                      <a:cubicBezTo>
                        <a:pt x="3110" y="5921"/>
                        <a:pt x="5562" y="11842"/>
                        <a:pt x="8433" y="19019"/>
                      </a:cubicBezTo>
                      <a:cubicBezTo>
                        <a:pt x="17105" y="12739"/>
                        <a:pt x="25298" y="6758"/>
                        <a:pt x="33492" y="777"/>
                      </a:cubicBezTo>
                      <a:cubicBezTo>
                        <a:pt x="33851" y="1017"/>
                        <a:pt x="34030" y="1316"/>
                        <a:pt x="34269" y="161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95" name="Vrije vorm: vorm 9594">
                  <a:extLst>
                    <a:ext uri="{FF2B5EF4-FFF2-40B4-BE49-F238E27FC236}">
                      <a16:creationId xmlns:a16="http://schemas.microsoft.com/office/drawing/2014/main" id="{E17BBD12-5861-4D7E-9E30-1CE1FC1D4036}"/>
                    </a:ext>
                  </a:extLst>
                </p:cNvPr>
                <p:cNvSpPr/>
                <p:nvPr/>
              </p:nvSpPr>
              <p:spPr>
                <a:xfrm>
                  <a:off x="5250256" y="1542468"/>
                  <a:ext cx="19258" cy="46111"/>
                </a:xfrm>
                <a:custGeom>
                  <a:avLst/>
                  <a:gdLst>
                    <a:gd name="connsiteX0" fmla="*/ 18660 w 19258"/>
                    <a:gd name="connsiteY0" fmla="*/ 46111 h 46111"/>
                    <a:gd name="connsiteX1" fmla="*/ 0 w 19258"/>
                    <a:gd name="connsiteY1" fmla="*/ 239 h 46111"/>
                    <a:gd name="connsiteX2" fmla="*/ 598 w 19258"/>
                    <a:gd name="connsiteY2" fmla="*/ 0 h 46111"/>
                    <a:gd name="connsiteX3" fmla="*/ 19258 w 19258"/>
                    <a:gd name="connsiteY3" fmla="*/ 45812 h 46111"/>
                    <a:gd name="connsiteX4" fmla="*/ 18660 w 19258"/>
                    <a:gd name="connsiteY4" fmla="*/ 46111 h 4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8" h="46111">
                      <a:moveTo>
                        <a:pt x="18660" y="46111"/>
                      </a:moveTo>
                      <a:cubicBezTo>
                        <a:pt x="12440" y="30801"/>
                        <a:pt x="6220" y="15490"/>
                        <a:pt x="0" y="239"/>
                      </a:cubicBezTo>
                      <a:cubicBezTo>
                        <a:pt x="180" y="179"/>
                        <a:pt x="419" y="60"/>
                        <a:pt x="598" y="0"/>
                      </a:cubicBezTo>
                      <a:cubicBezTo>
                        <a:pt x="6818" y="15251"/>
                        <a:pt x="13038" y="30561"/>
                        <a:pt x="19258" y="45812"/>
                      </a:cubicBezTo>
                      <a:cubicBezTo>
                        <a:pt x="19019" y="45932"/>
                        <a:pt x="18839" y="46052"/>
                        <a:pt x="18660" y="4611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96" name="Vrije vorm: vorm 9595">
                  <a:extLst>
                    <a:ext uri="{FF2B5EF4-FFF2-40B4-BE49-F238E27FC236}">
                      <a16:creationId xmlns:a16="http://schemas.microsoft.com/office/drawing/2014/main" id="{67034711-3D58-41B1-BFC2-0B0B1290D3A6}"/>
                    </a:ext>
                  </a:extLst>
                </p:cNvPr>
                <p:cNvSpPr/>
                <p:nvPr/>
              </p:nvSpPr>
              <p:spPr>
                <a:xfrm>
                  <a:off x="5102652" y="1065087"/>
                  <a:ext cx="33133" cy="27929"/>
                </a:xfrm>
                <a:custGeom>
                  <a:avLst/>
                  <a:gdLst>
                    <a:gd name="connsiteX0" fmla="*/ 120 w 33133"/>
                    <a:gd name="connsiteY0" fmla="*/ 27930 h 27929"/>
                    <a:gd name="connsiteX1" fmla="*/ 32236 w 33133"/>
                    <a:gd name="connsiteY1" fmla="*/ 0 h 27929"/>
                    <a:gd name="connsiteX2" fmla="*/ 33133 w 33133"/>
                    <a:gd name="connsiteY2" fmla="*/ 1196 h 27929"/>
                    <a:gd name="connsiteX3" fmla="*/ 14713 w 33133"/>
                    <a:gd name="connsiteY3" fmla="*/ 16686 h 27929"/>
                    <a:gd name="connsiteX4" fmla="*/ 0 w 33133"/>
                    <a:gd name="connsiteY4" fmla="*/ 27930 h 27929"/>
                    <a:gd name="connsiteX5" fmla="*/ 120 w 33133"/>
                    <a:gd name="connsiteY5" fmla="*/ 27930 h 2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33" h="27929">
                      <a:moveTo>
                        <a:pt x="120" y="27930"/>
                      </a:moveTo>
                      <a:cubicBezTo>
                        <a:pt x="10825" y="18600"/>
                        <a:pt x="21531" y="9270"/>
                        <a:pt x="32236" y="0"/>
                      </a:cubicBezTo>
                      <a:cubicBezTo>
                        <a:pt x="32535" y="419"/>
                        <a:pt x="32834" y="778"/>
                        <a:pt x="33133" y="1196"/>
                      </a:cubicBezTo>
                      <a:cubicBezTo>
                        <a:pt x="26973" y="6340"/>
                        <a:pt x="20933" y="11603"/>
                        <a:pt x="14713" y="16686"/>
                      </a:cubicBezTo>
                      <a:cubicBezTo>
                        <a:pt x="9928" y="20574"/>
                        <a:pt x="4904" y="24162"/>
                        <a:pt x="0" y="27930"/>
                      </a:cubicBezTo>
                      <a:cubicBezTo>
                        <a:pt x="0" y="27810"/>
                        <a:pt x="120" y="27870"/>
                        <a:pt x="120" y="2793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97" name="Vrije vorm: vorm 9596">
                  <a:extLst>
                    <a:ext uri="{FF2B5EF4-FFF2-40B4-BE49-F238E27FC236}">
                      <a16:creationId xmlns:a16="http://schemas.microsoft.com/office/drawing/2014/main" id="{1AC05164-C8FE-4F81-8237-5ACD21436BD4}"/>
                    </a:ext>
                  </a:extLst>
                </p:cNvPr>
                <p:cNvSpPr/>
                <p:nvPr/>
              </p:nvSpPr>
              <p:spPr>
                <a:xfrm>
                  <a:off x="5347144" y="1672968"/>
                  <a:ext cx="39413" cy="37259"/>
                </a:xfrm>
                <a:custGeom>
                  <a:avLst/>
                  <a:gdLst>
                    <a:gd name="connsiteX0" fmla="*/ 1076 w 39413"/>
                    <a:gd name="connsiteY0" fmla="*/ 0 h 37259"/>
                    <a:gd name="connsiteX1" fmla="*/ 15550 w 39413"/>
                    <a:gd name="connsiteY1" fmla="*/ 35526 h 37259"/>
                    <a:gd name="connsiteX2" fmla="*/ 39174 w 39413"/>
                    <a:gd name="connsiteY2" fmla="*/ 30741 h 37259"/>
                    <a:gd name="connsiteX3" fmla="*/ 39413 w 39413"/>
                    <a:gd name="connsiteY3" fmla="*/ 31758 h 37259"/>
                    <a:gd name="connsiteX4" fmla="*/ 15012 w 39413"/>
                    <a:gd name="connsiteY4" fmla="*/ 37260 h 37259"/>
                    <a:gd name="connsiteX5" fmla="*/ 0 w 39413"/>
                    <a:gd name="connsiteY5" fmla="*/ 359 h 37259"/>
                    <a:gd name="connsiteX6" fmla="*/ 1076 w 39413"/>
                    <a:gd name="connsiteY6" fmla="*/ 0 h 37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13" h="37259">
                      <a:moveTo>
                        <a:pt x="1076" y="0"/>
                      </a:moveTo>
                      <a:cubicBezTo>
                        <a:pt x="5861" y="11782"/>
                        <a:pt x="10646" y="23504"/>
                        <a:pt x="15550" y="35526"/>
                      </a:cubicBezTo>
                      <a:cubicBezTo>
                        <a:pt x="23684" y="33851"/>
                        <a:pt x="31459" y="32296"/>
                        <a:pt x="39174" y="30741"/>
                      </a:cubicBezTo>
                      <a:cubicBezTo>
                        <a:pt x="39234" y="31100"/>
                        <a:pt x="39353" y="31459"/>
                        <a:pt x="39413" y="31758"/>
                      </a:cubicBezTo>
                      <a:cubicBezTo>
                        <a:pt x="31160" y="33612"/>
                        <a:pt x="22906" y="35466"/>
                        <a:pt x="15012" y="37260"/>
                      </a:cubicBezTo>
                      <a:cubicBezTo>
                        <a:pt x="9988" y="24880"/>
                        <a:pt x="5024" y="12619"/>
                        <a:pt x="0" y="359"/>
                      </a:cubicBezTo>
                      <a:cubicBezTo>
                        <a:pt x="419" y="299"/>
                        <a:pt x="718" y="120"/>
                        <a:pt x="1076"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98" name="Vrije vorm: vorm 9597">
                  <a:extLst>
                    <a:ext uri="{FF2B5EF4-FFF2-40B4-BE49-F238E27FC236}">
                      <a16:creationId xmlns:a16="http://schemas.microsoft.com/office/drawing/2014/main" id="{FAEF8AF4-9629-470C-A2EB-DA792BA54B61}"/>
                    </a:ext>
                  </a:extLst>
                </p:cNvPr>
                <p:cNvSpPr/>
                <p:nvPr/>
              </p:nvSpPr>
              <p:spPr>
                <a:xfrm>
                  <a:off x="5338412" y="1676975"/>
                  <a:ext cx="14293" cy="34389"/>
                </a:xfrm>
                <a:custGeom>
                  <a:avLst/>
                  <a:gdLst>
                    <a:gd name="connsiteX0" fmla="*/ 13935 w 14293"/>
                    <a:gd name="connsiteY0" fmla="*/ 34389 h 34389"/>
                    <a:gd name="connsiteX1" fmla="*/ 0 w 14293"/>
                    <a:gd name="connsiteY1" fmla="*/ 179 h 34389"/>
                    <a:gd name="connsiteX2" fmla="*/ 478 w 14293"/>
                    <a:gd name="connsiteY2" fmla="*/ 0 h 34389"/>
                    <a:gd name="connsiteX3" fmla="*/ 14294 w 14293"/>
                    <a:gd name="connsiteY3" fmla="*/ 33911 h 34389"/>
                    <a:gd name="connsiteX4" fmla="*/ 13935 w 14293"/>
                    <a:gd name="connsiteY4" fmla="*/ 34389 h 34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93" h="34389">
                      <a:moveTo>
                        <a:pt x="13935" y="34389"/>
                      </a:moveTo>
                      <a:cubicBezTo>
                        <a:pt x="9270" y="22966"/>
                        <a:pt x="4665" y="11603"/>
                        <a:pt x="0" y="179"/>
                      </a:cubicBezTo>
                      <a:cubicBezTo>
                        <a:pt x="179" y="120"/>
                        <a:pt x="299" y="60"/>
                        <a:pt x="478" y="0"/>
                      </a:cubicBezTo>
                      <a:cubicBezTo>
                        <a:pt x="5083" y="11304"/>
                        <a:pt x="9689" y="22607"/>
                        <a:pt x="14294" y="33911"/>
                      </a:cubicBezTo>
                      <a:cubicBezTo>
                        <a:pt x="14174" y="34090"/>
                        <a:pt x="14055" y="34270"/>
                        <a:pt x="13935" y="3438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599" name="Vrije vorm: vorm 9598">
                  <a:extLst>
                    <a:ext uri="{FF2B5EF4-FFF2-40B4-BE49-F238E27FC236}">
                      <a16:creationId xmlns:a16="http://schemas.microsoft.com/office/drawing/2014/main" id="{FFBD2D67-A023-49A2-9E68-D5EB472A164E}"/>
                    </a:ext>
                  </a:extLst>
                </p:cNvPr>
                <p:cNvSpPr/>
                <p:nvPr/>
              </p:nvSpPr>
              <p:spPr>
                <a:xfrm>
                  <a:off x="5356713" y="1669738"/>
                  <a:ext cx="11602" cy="27272"/>
                </a:xfrm>
                <a:custGeom>
                  <a:avLst/>
                  <a:gdLst>
                    <a:gd name="connsiteX0" fmla="*/ 718 w 11602"/>
                    <a:gd name="connsiteY0" fmla="*/ 299 h 27272"/>
                    <a:gd name="connsiteX1" fmla="*/ 11603 w 11602"/>
                    <a:gd name="connsiteY1" fmla="*/ 27093 h 27272"/>
                    <a:gd name="connsiteX2" fmla="*/ 11124 w 11602"/>
                    <a:gd name="connsiteY2" fmla="*/ 27272 h 27272"/>
                    <a:gd name="connsiteX3" fmla="*/ 0 w 11602"/>
                    <a:gd name="connsiteY3" fmla="*/ 0 h 27272"/>
                    <a:gd name="connsiteX4" fmla="*/ 718 w 11602"/>
                    <a:gd name="connsiteY4" fmla="*/ 299 h 27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02" h="27272">
                      <a:moveTo>
                        <a:pt x="718" y="299"/>
                      </a:moveTo>
                      <a:cubicBezTo>
                        <a:pt x="4366" y="9210"/>
                        <a:pt x="8014" y="18181"/>
                        <a:pt x="11603" y="27093"/>
                      </a:cubicBezTo>
                      <a:cubicBezTo>
                        <a:pt x="11423" y="27153"/>
                        <a:pt x="11303" y="27212"/>
                        <a:pt x="11124" y="27272"/>
                      </a:cubicBezTo>
                      <a:cubicBezTo>
                        <a:pt x="7416" y="18181"/>
                        <a:pt x="3708" y="9091"/>
                        <a:pt x="0" y="0"/>
                      </a:cubicBezTo>
                      <a:cubicBezTo>
                        <a:pt x="299" y="120"/>
                        <a:pt x="538" y="180"/>
                        <a:pt x="718" y="29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600" name="Vrije vorm: vorm 9599">
                  <a:extLst>
                    <a:ext uri="{FF2B5EF4-FFF2-40B4-BE49-F238E27FC236}">
                      <a16:creationId xmlns:a16="http://schemas.microsoft.com/office/drawing/2014/main" id="{BA073B51-1BD3-469C-B4DC-0DFB68210554}"/>
                    </a:ext>
                  </a:extLst>
                </p:cNvPr>
                <p:cNvSpPr/>
                <p:nvPr/>
              </p:nvSpPr>
              <p:spPr>
                <a:xfrm>
                  <a:off x="5399655" y="1482003"/>
                  <a:ext cx="16207" cy="38814"/>
                </a:xfrm>
                <a:custGeom>
                  <a:avLst/>
                  <a:gdLst>
                    <a:gd name="connsiteX0" fmla="*/ 538 w 16207"/>
                    <a:gd name="connsiteY0" fmla="*/ 0 h 38814"/>
                    <a:gd name="connsiteX1" fmla="*/ 16208 w 16207"/>
                    <a:gd name="connsiteY1" fmla="*/ 38576 h 38814"/>
                    <a:gd name="connsiteX2" fmla="*/ 15669 w 16207"/>
                    <a:gd name="connsiteY2" fmla="*/ 38815 h 38814"/>
                    <a:gd name="connsiteX3" fmla="*/ 0 w 16207"/>
                    <a:gd name="connsiteY3" fmla="*/ 239 h 38814"/>
                    <a:gd name="connsiteX4" fmla="*/ 538 w 16207"/>
                    <a:gd name="connsiteY4" fmla="*/ 0 h 38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7" h="38814">
                      <a:moveTo>
                        <a:pt x="538" y="0"/>
                      </a:moveTo>
                      <a:cubicBezTo>
                        <a:pt x="5741" y="12859"/>
                        <a:pt x="11004" y="25717"/>
                        <a:pt x="16208" y="38576"/>
                      </a:cubicBezTo>
                      <a:cubicBezTo>
                        <a:pt x="16028" y="38635"/>
                        <a:pt x="15849" y="38755"/>
                        <a:pt x="15669" y="38815"/>
                      </a:cubicBezTo>
                      <a:cubicBezTo>
                        <a:pt x="10466" y="25956"/>
                        <a:pt x="5203" y="13098"/>
                        <a:pt x="0" y="239"/>
                      </a:cubicBezTo>
                      <a:cubicBezTo>
                        <a:pt x="179" y="179"/>
                        <a:pt x="359" y="60"/>
                        <a:pt x="53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601" name="Vrije vorm: vorm 9600">
                  <a:extLst>
                    <a:ext uri="{FF2B5EF4-FFF2-40B4-BE49-F238E27FC236}">
                      <a16:creationId xmlns:a16="http://schemas.microsoft.com/office/drawing/2014/main" id="{A0198B42-88EB-45E2-B16A-48F00A52AFFF}"/>
                    </a:ext>
                  </a:extLst>
                </p:cNvPr>
                <p:cNvSpPr/>
                <p:nvPr/>
              </p:nvSpPr>
              <p:spPr>
                <a:xfrm>
                  <a:off x="5317778" y="1598029"/>
                  <a:ext cx="43240" cy="45214"/>
                </a:xfrm>
                <a:custGeom>
                  <a:avLst/>
                  <a:gdLst>
                    <a:gd name="connsiteX0" fmla="*/ 18241 w 43240"/>
                    <a:gd name="connsiteY0" fmla="*/ 45214 h 45214"/>
                    <a:gd name="connsiteX1" fmla="*/ 0 w 43240"/>
                    <a:gd name="connsiteY1" fmla="*/ 419 h 45214"/>
                    <a:gd name="connsiteX2" fmla="*/ 1017 w 43240"/>
                    <a:gd name="connsiteY2" fmla="*/ 0 h 45214"/>
                    <a:gd name="connsiteX3" fmla="*/ 18660 w 43240"/>
                    <a:gd name="connsiteY3" fmla="*/ 43420 h 45214"/>
                    <a:gd name="connsiteX4" fmla="*/ 42942 w 43240"/>
                    <a:gd name="connsiteY4" fmla="*/ 37200 h 45214"/>
                    <a:gd name="connsiteX5" fmla="*/ 43241 w 43240"/>
                    <a:gd name="connsiteY5" fmla="*/ 38277 h 45214"/>
                    <a:gd name="connsiteX6" fmla="*/ 18241 w 43240"/>
                    <a:gd name="connsiteY6" fmla="*/ 45214 h 4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40" h="45214">
                      <a:moveTo>
                        <a:pt x="18241" y="45214"/>
                      </a:moveTo>
                      <a:cubicBezTo>
                        <a:pt x="12141" y="30203"/>
                        <a:pt x="6100" y="15311"/>
                        <a:pt x="0" y="419"/>
                      </a:cubicBezTo>
                      <a:cubicBezTo>
                        <a:pt x="359" y="299"/>
                        <a:pt x="658" y="120"/>
                        <a:pt x="1017" y="0"/>
                      </a:cubicBezTo>
                      <a:cubicBezTo>
                        <a:pt x="6818" y="14354"/>
                        <a:pt x="12679" y="28648"/>
                        <a:pt x="18660" y="43420"/>
                      </a:cubicBezTo>
                      <a:cubicBezTo>
                        <a:pt x="27033" y="41267"/>
                        <a:pt x="34987" y="39234"/>
                        <a:pt x="42942" y="37200"/>
                      </a:cubicBezTo>
                      <a:cubicBezTo>
                        <a:pt x="43061" y="37559"/>
                        <a:pt x="43121" y="37918"/>
                        <a:pt x="43241" y="38277"/>
                      </a:cubicBezTo>
                      <a:cubicBezTo>
                        <a:pt x="34868" y="40609"/>
                        <a:pt x="26375" y="42942"/>
                        <a:pt x="18241" y="4521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602" name="Vrije vorm: vorm 9601">
                  <a:extLst>
                    <a:ext uri="{FF2B5EF4-FFF2-40B4-BE49-F238E27FC236}">
                      <a16:creationId xmlns:a16="http://schemas.microsoft.com/office/drawing/2014/main" id="{ED489640-03C7-4FF0-8343-D70C6A65F62D}"/>
                    </a:ext>
                  </a:extLst>
                </p:cNvPr>
                <p:cNvSpPr/>
                <p:nvPr/>
              </p:nvSpPr>
              <p:spPr>
                <a:xfrm>
                  <a:off x="5328604" y="1594261"/>
                  <a:ext cx="17583" cy="42164"/>
                </a:xfrm>
                <a:custGeom>
                  <a:avLst/>
                  <a:gdLst>
                    <a:gd name="connsiteX0" fmla="*/ 538 w 17583"/>
                    <a:gd name="connsiteY0" fmla="*/ 0 h 42164"/>
                    <a:gd name="connsiteX1" fmla="*/ 17583 w 17583"/>
                    <a:gd name="connsiteY1" fmla="*/ 41925 h 42164"/>
                    <a:gd name="connsiteX2" fmla="*/ 16985 w 17583"/>
                    <a:gd name="connsiteY2" fmla="*/ 42164 h 42164"/>
                    <a:gd name="connsiteX3" fmla="*/ 0 w 17583"/>
                    <a:gd name="connsiteY3" fmla="*/ 478 h 42164"/>
                    <a:gd name="connsiteX4" fmla="*/ 538 w 17583"/>
                    <a:gd name="connsiteY4" fmla="*/ 0 h 42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3" h="42164">
                      <a:moveTo>
                        <a:pt x="538" y="0"/>
                      </a:moveTo>
                      <a:cubicBezTo>
                        <a:pt x="6220" y="13995"/>
                        <a:pt x="11902" y="27930"/>
                        <a:pt x="17583" y="41925"/>
                      </a:cubicBezTo>
                      <a:cubicBezTo>
                        <a:pt x="17404" y="41985"/>
                        <a:pt x="17165" y="42104"/>
                        <a:pt x="16985" y="42164"/>
                      </a:cubicBezTo>
                      <a:cubicBezTo>
                        <a:pt x="11304" y="28289"/>
                        <a:pt x="5682" y="14354"/>
                        <a:pt x="0" y="478"/>
                      </a:cubicBezTo>
                      <a:cubicBezTo>
                        <a:pt x="179" y="299"/>
                        <a:pt x="359" y="120"/>
                        <a:pt x="53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603" name="Vrije vorm: vorm 9602">
                  <a:extLst>
                    <a:ext uri="{FF2B5EF4-FFF2-40B4-BE49-F238E27FC236}">
                      <a16:creationId xmlns:a16="http://schemas.microsoft.com/office/drawing/2014/main" id="{0A63D90F-B290-4E4D-8CCF-564E23333517}"/>
                    </a:ext>
                  </a:extLst>
                </p:cNvPr>
                <p:cNvSpPr/>
                <p:nvPr/>
              </p:nvSpPr>
              <p:spPr>
                <a:xfrm>
                  <a:off x="5305744" y="1593885"/>
                  <a:ext cx="25093" cy="60323"/>
                </a:xfrm>
                <a:custGeom>
                  <a:avLst/>
                  <a:gdLst>
                    <a:gd name="connsiteX0" fmla="*/ 12879 w 25093"/>
                    <a:gd name="connsiteY0" fmla="*/ 30026 h 60323"/>
                    <a:gd name="connsiteX1" fmla="*/ 24761 w 25093"/>
                    <a:gd name="connsiteY1" fmla="*/ 60188 h 60323"/>
                    <a:gd name="connsiteX2" fmla="*/ 12214 w 25093"/>
                    <a:gd name="connsiteY2" fmla="*/ 30297 h 60323"/>
                    <a:gd name="connsiteX3" fmla="*/ 333 w 25093"/>
                    <a:gd name="connsiteY3" fmla="*/ 135 h 60323"/>
                    <a:gd name="connsiteX4" fmla="*/ 12879 w 25093"/>
                    <a:gd name="connsiteY4" fmla="*/ 30026 h 60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93" h="60323">
                      <a:moveTo>
                        <a:pt x="12879" y="30026"/>
                      </a:moveTo>
                      <a:cubicBezTo>
                        <a:pt x="19625" y="46610"/>
                        <a:pt x="24944" y="60113"/>
                        <a:pt x="24761" y="60188"/>
                      </a:cubicBezTo>
                      <a:cubicBezTo>
                        <a:pt x="24577" y="60263"/>
                        <a:pt x="18960" y="46880"/>
                        <a:pt x="12214" y="30297"/>
                      </a:cubicBezTo>
                      <a:cubicBezTo>
                        <a:pt x="5469" y="13714"/>
                        <a:pt x="149" y="210"/>
                        <a:pt x="333" y="135"/>
                      </a:cubicBezTo>
                      <a:cubicBezTo>
                        <a:pt x="516" y="60"/>
                        <a:pt x="6133" y="13443"/>
                        <a:pt x="12879" y="3002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604" name="Vrije vorm: vorm 9603">
                  <a:extLst>
                    <a:ext uri="{FF2B5EF4-FFF2-40B4-BE49-F238E27FC236}">
                      <a16:creationId xmlns:a16="http://schemas.microsoft.com/office/drawing/2014/main" id="{E9CECDEA-0696-4E55-B13B-67A99ACFA8C4}"/>
                    </a:ext>
                  </a:extLst>
                </p:cNvPr>
                <p:cNvSpPr/>
                <p:nvPr/>
              </p:nvSpPr>
              <p:spPr>
                <a:xfrm>
                  <a:off x="5331795" y="1582358"/>
                  <a:ext cx="24527" cy="58706"/>
                </a:xfrm>
                <a:custGeom>
                  <a:avLst/>
                  <a:gdLst>
                    <a:gd name="connsiteX0" fmla="*/ 12652 w 24527"/>
                    <a:gd name="connsiteY0" fmla="*/ 29196 h 58706"/>
                    <a:gd name="connsiteX1" fmla="*/ 24140 w 24527"/>
                    <a:gd name="connsiteY1" fmla="*/ 58549 h 58706"/>
                    <a:gd name="connsiteX2" fmla="*/ 11876 w 24527"/>
                    <a:gd name="connsiteY2" fmla="*/ 29511 h 58706"/>
                    <a:gd name="connsiteX3" fmla="*/ 388 w 24527"/>
                    <a:gd name="connsiteY3" fmla="*/ 158 h 58706"/>
                    <a:gd name="connsiteX4" fmla="*/ 12652 w 24527"/>
                    <a:gd name="connsiteY4" fmla="*/ 29196 h 58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7" h="58706">
                      <a:moveTo>
                        <a:pt x="12652" y="29196"/>
                      </a:moveTo>
                      <a:cubicBezTo>
                        <a:pt x="19211" y="45320"/>
                        <a:pt x="24354" y="58462"/>
                        <a:pt x="24140" y="58549"/>
                      </a:cubicBezTo>
                      <a:cubicBezTo>
                        <a:pt x="23926" y="58636"/>
                        <a:pt x="18435" y="45635"/>
                        <a:pt x="11876" y="29511"/>
                      </a:cubicBezTo>
                      <a:cubicBezTo>
                        <a:pt x="5317" y="13387"/>
                        <a:pt x="173" y="245"/>
                        <a:pt x="388" y="158"/>
                      </a:cubicBezTo>
                      <a:cubicBezTo>
                        <a:pt x="602" y="71"/>
                        <a:pt x="6093" y="13071"/>
                        <a:pt x="12652" y="2919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605" name="Vrije vorm: vorm 9604">
                  <a:extLst>
                    <a:ext uri="{FF2B5EF4-FFF2-40B4-BE49-F238E27FC236}">
                      <a16:creationId xmlns:a16="http://schemas.microsoft.com/office/drawing/2014/main" id="{38449079-D3E2-4223-963C-6B01CF5DC090}"/>
                    </a:ext>
                  </a:extLst>
                </p:cNvPr>
                <p:cNvSpPr/>
                <p:nvPr/>
              </p:nvSpPr>
              <p:spPr>
                <a:xfrm>
                  <a:off x="5559639" y="1687202"/>
                  <a:ext cx="16267" cy="38755"/>
                </a:xfrm>
                <a:custGeom>
                  <a:avLst/>
                  <a:gdLst>
                    <a:gd name="connsiteX0" fmla="*/ 598 w 16267"/>
                    <a:gd name="connsiteY0" fmla="*/ 0 h 38755"/>
                    <a:gd name="connsiteX1" fmla="*/ 16267 w 16267"/>
                    <a:gd name="connsiteY1" fmla="*/ 38516 h 38755"/>
                    <a:gd name="connsiteX2" fmla="*/ 15729 w 16267"/>
                    <a:gd name="connsiteY2" fmla="*/ 38755 h 38755"/>
                    <a:gd name="connsiteX3" fmla="*/ 0 w 16267"/>
                    <a:gd name="connsiteY3" fmla="*/ 120 h 38755"/>
                    <a:gd name="connsiteX4" fmla="*/ 598 w 16267"/>
                    <a:gd name="connsiteY4" fmla="*/ 0 h 38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67" h="38755">
                      <a:moveTo>
                        <a:pt x="598" y="0"/>
                      </a:moveTo>
                      <a:cubicBezTo>
                        <a:pt x="5801" y="12859"/>
                        <a:pt x="11064" y="25657"/>
                        <a:pt x="16267" y="38516"/>
                      </a:cubicBezTo>
                      <a:cubicBezTo>
                        <a:pt x="16088" y="38576"/>
                        <a:pt x="15909" y="38635"/>
                        <a:pt x="15729" y="38755"/>
                      </a:cubicBezTo>
                      <a:cubicBezTo>
                        <a:pt x="10466" y="25896"/>
                        <a:pt x="5263" y="12978"/>
                        <a:pt x="0" y="120"/>
                      </a:cubicBezTo>
                      <a:cubicBezTo>
                        <a:pt x="179" y="0"/>
                        <a:pt x="419" y="0"/>
                        <a:pt x="598" y="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606" name="Vrije vorm: vorm 9605">
                  <a:extLst>
                    <a:ext uri="{FF2B5EF4-FFF2-40B4-BE49-F238E27FC236}">
                      <a16:creationId xmlns:a16="http://schemas.microsoft.com/office/drawing/2014/main" id="{5CBB65E3-3EF7-4CEF-BA8F-54F6E52D23B4}"/>
                    </a:ext>
                  </a:extLst>
                </p:cNvPr>
                <p:cNvSpPr/>
                <p:nvPr/>
              </p:nvSpPr>
              <p:spPr>
                <a:xfrm>
                  <a:off x="5548395" y="1725239"/>
                  <a:ext cx="24221" cy="5741"/>
                </a:xfrm>
                <a:custGeom>
                  <a:avLst/>
                  <a:gdLst>
                    <a:gd name="connsiteX0" fmla="*/ 0 w 24221"/>
                    <a:gd name="connsiteY0" fmla="*/ 5741 h 5741"/>
                    <a:gd name="connsiteX1" fmla="*/ 23803 w 24221"/>
                    <a:gd name="connsiteY1" fmla="*/ 0 h 5741"/>
                    <a:gd name="connsiteX2" fmla="*/ 24222 w 24221"/>
                    <a:gd name="connsiteY2" fmla="*/ 1854 h 5741"/>
                    <a:gd name="connsiteX3" fmla="*/ 0 w 24221"/>
                    <a:gd name="connsiteY3" fmla="*/ 5562 h 5741"/>
                    <a:gd name="connsiteX4" fmla="*/ 0 w 24221"/>
                    <a:gd name="connsiteY4" fmla="*/ 5741 h 5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1" h="5741">
                      <a:moveTo>
                        <a:pt x="0" y="5741"/>
                      </a:moveTo>
                      <a:cubicBezTo>
                        <a:pt x="7954" y="3828"/>
                        <a:pt x="15909" y="1914"/>
                        <a:pt x="23803" y="0"/>
                      </a:cubicBezTo>
                      <a:cubicBezTo>
                        <a:pt x="23923" y="598"/>
                        <a:pt x="24102" y="1256"/>
                        <a:pt x="24222" y="1854"/>
                      </a:cubicBezTo>
                      <a:cubicBezTo>
                        <a:pt x="16148" y="3110"/>
                        <a:pt x="8074" y="4306"/>
                        <a:pt x="0" y="5562"/>
                      </a:cubicBezTo>
                      <a:cubicBezTo>
                        <a:pt x="60" y="5562"/>
                        <a:pt x="0" y="5741"/>
                        <a:pt x="0" y="5741"/>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048" name="Graphic 3">
                <a:extLst>
                  <a:ext uri="{FF2B5EF4-FFF2-40B4-BE49-F238E27FC236}">
                    <a16:creationId xmlns:a16="http://schemas.microsoft.com/office/drawing/2014/main" id="{299C9A01-1CEF-473D-A396-1AECB2F84785}"/>
                  </a:ext>
                </a:extLst>
              </p:cNvPr>
              <p:cNvGrpSpPr/>
              <p:nvPr/>
            </p:nvGrpSpPr>
            <p:grpSpPr>
              <a:xfrm>
                <a:off x="4496875" y="1692322"/>
                <a:ext cx="279946" cy="149734"/>
                <a:chOff x="4496875" y="1692322"/>
                <a:chExt cx="279946" cy="149734"/>
              </a:xfrm>
              <a:grpFill/>
            </p:grpSpPr>
            <p:sp>
              <p:nvSpPr>
                <p:cNvPr id="9321" name="Vrije vorm: vorm 9320">
                  <a:extLst>
                    <a:ext uri="{FF2B5EF4-FFF2-40B4-BE49-F238E27FC236}">
                      <a16:creationId xmlns:a16="http://schemas.microsoft.com/office/drawing/2014/main" id="{328E4618-A672-4A7A-A67E-1947BCDA3705}"/>
                    </a:ext>
                  </a:extLst>
                </p:cNvPr>
                <p:cNvSpPr/>
                <p:nvPr/>
              </p:nvSpPr>
              <p:spPr>
                <a:xfrm>
                  <a:off x="4652842" y="1696412"/>
                  <a:ext cx="90009" cy="33312"/>
                </a:xfrm>
                <a:custGeom>
                  <a:avLst/>
                  <a:gdLst>
                    <a:gd name="connsiteX0" fmla="*/ 90010 w 90009"/>
                    <a:gd name="connsiteY0" fmla="*/ 5383 h 33312"/>
                    <a:gd name="connsiteX1" fmla="*/ 2033 w 90009"/>
                    <a:gd name="connsiteY1" fmla="*/ 33313 h 33312"/>
                    <a:gd name="connsiteX2" fmla="*/ 0 w 90009"/>
                    <a:gd name="connsiteY2" fmla="*/ 27870 h 33312"/>
                    <a:gd name="connsiteX3" fmla="*/ 88036 w 90009"/>
                    <a:gd name="connsiteY3" fmla="*/ 0 h 33312"/>
                  </a:gdLst>
                  <a:ahLst/>
                  <a:cxnLst>
                    <a:cxn ang="0">
                      <a:pos x="connsiteX0" y="connsiteY0"/>
                    </a:cxn>
                    <a:cxn ang="0">
                      <a:pos x="connsiteX1" y="connsiteY1"/>
                    </a:cxn>
                    <a:cxn ang="0">
                      <a:pos x="connsiteX2" y="connsiteY2"/>
                    </a:cxn>
                    <a:cxn ang="0">
                      <a:pos x="connsiteX3" y="connsiteY3"/>
                    </a:cxn>
                  </a:cxnLst>
                  <a:rect l="l" t="t" r="r" b="b"/>
                  <a:pathLst>
                    <a:path w="90009" h="33312">
                      <a:moveTo>
                        <a:pt x="90010" y="5383"/>
                      </a:moveTo>
                      <a:lnTo>
                        <a:pt x="2033" y="33313"/>
                      </a:lnTo>
                      <a:lnTo>
                        <a:pt x="0" y="27870"/>
                      </a:lnTo>
                      <a:lnTo>
                        <a:pt x="88036" y="0"/>
                      </a:lnTo>
                      <a:close/>
                    </a:path>
                  </a:pathLst>
                </a:custGeom>
                <a:grpFill/>
                <a:ln w="6350" cap="flat">
                  <a:solidFill>
                    <a:schemeClr val="bg1">
                      <a:alpha val="40000"/>
                    </a:schemeClr>
                  </a:solidFill>
                  <a:prstDash val="solid"/>
                  <a:miter/>
                </a:ln>
              </p:spPr>
              <p:txBody>
                <a:bodyPr rtlCol="0" anchor="ctr"/>
                <a:lstStyle/>
                <a:p>
                  <a:endParaRPr lang="en-GB"/>
                </a:p>
              </p:txBody>
            </p:sp>
            <p:sp>
              <p:nvSpPr>
                <p:cNvPr id="9322" name="Vrije vorm: vorm 9321">
                  <a:extLst>
                    <a:ext uri="{FF2B5EF4-FFF2-40B4-BE49-F238E27FC236}">
                      <a16:creationId xmlns:a16="http://schemas.microsoft.com/office/drawing/2014/main" id="{253B2050-1872-4C7A-939D-1A11BD27DFED}"/>
                    </a:ext>
                  </a:extLst>
                </p:cNvPr>
                <p:cNvSpPr/>
                <p:nvPr/>
              </p:nvSpPr>
              <p:spPr>
                <a:xfrm>
                  <a:off x="4657327" y="1699223"/>
                  <a:ext cx="119494" cy="42702"/>
                </a:xfrm>
                <a:custGeom>
                  <a:avLst/>
                  <a:gdLst>
                    <a:gd name="connsiteX0" fmla="*/ 119495 w 119494"/>
                    <a:gd name="connsiteY0" fmla="*/ 5442 h 42702"/>
                    <a:gd name="connsiteX1" fmla="*/ 1973 w 119494"/>
                    <a:gd name="connsiteY1" fmla="*/ 42702 h 42702"/>
                    <a:gd name="connsiteX2" fmla="*/ 0 w 119494"/>
                    <a:gd name="connsiteY2" fmla="*/ 37260 h 42702"/>
                    <a:gd name="connsiteX3" fmla="*/ 117521 w 119494"/>
                    <a:gd name="connsiteY3" fmla="*/ 0 h 42702"/>
                  </a:gdLst>
                  <a:ahLst/>
                  <a:cxnLst>
                    <a:cxn ang="0">
                      <a:pos x="connsiteX0" y="connsiteY0"/>
                    </a:cxn>
                    <a:cxn ang="0">
                      <a:pos x="connsiteX1" y="connsiteY1"/>
                    </a:cxn>
                    <a:cxn ang="0">
                      <a:pos x="connsiteX2" y="connsiteY2"/>
                    </a:cxn>
                    <a:cxn ang="0">
                      <a:pos x="connsiteX3" y="connsiteY3"/>
                    </a:cxn>
                  </a:cxnLst>
                  <a:rect l="l" t="t" r="r" b="b"/>
                  <a:pathLst>
                    <a:path w="119494" h="42702">
                      <a:moveTo>
                        <a:pt x="119495" y="5442"/>
                      </a:moveTo>
                      <a:lnTo>
                        <a:pt x="1973" y="42702"/>
                      </a:lnTo>
                      <a:lnTo>
                        <a:pt x="0" y="37260"/>
                      </a:lnTo>
                      <a:lnTo>
                        <a:pt x="117521" y="0"/>
                      </a:lnTo>
                      <a:close/>
                    </a:path>
                  </a:pathLst>
                </a:custGeom>
                <a:grpFill/>
                <a:ln w="6350" cap="flat">
                  <a:solidFill>
                    <a:schemeClr val="bg1">
                      <a:alpha val="40000"/>
                    </a:schemeClr>
                  </a:solidFill>
                  <a:prstDash val="solid"/>
                  <a:miter/>
                </a:ln>
              </p:spPr>
              <p:txBody>
                <a:bodyPr rtlCol="0" anchor="ctr"/>
                <a:lstStyle/>
                <a:p>
                  <a:endParaRPr lang="en-GB"/>
                </a:p>
              </p:txBody>
            </p:sp>
            <p:sp>
              <p:nvSpPr>
                <p:cNvPr id="9323" name="Vrije vorm: vorm 9322">
                  <a:extLst>
                    <a:ext uri="{FF2B5EF4-FFF2-40B4-BE49-F238E27FC236}">
                      <a16:creationId xmlns:a16="http://schemas.microsoft.com/office/drawing/2014/main" id="{27E2FCEC-F173-4DC7-A5DC-40DF4B0589DF}"/>
                    </a:ext>
                  </a:extLst>
                </p:cNvPr>
                <p:cNvSpPr/>
                <p:nvPr/>
              </p:nvSpPr>
              <p:spPr>
                <a:xfrm>
                  <a:off x="4661573" y="1730382"/>
                  <a:ext cx="57654" cy="23085"/>
                </a:xfrm>
                <a:custGeom>
                  <a:avLst/>
                  <a:gdLst>
                    <a:gd name="connsiteX0" fmla="*/ 57654 w 57654"/>
                    <a:gd name="connsiteY0" fmla="*/ 5442 h 23085"/>
                    <a:gd name="connsiteX1" fmla="*/ 1974 w 57654"/>
                    <a:gd name="connsiteY1" fmla="*/ 23086 h 23085"/>
                    <a:gd name="connsiteX2" fmla="*/ 0 w 57654"/>
                    <a:gd name="connsiteY2" fmla="*/ 17643 h 23085"/>
                    <a:gd name="connsiteX3" fmla="*/ 55621 w 57654"/>
                    <a:gd name="connsiteY3" fmla="*/ 0 h 23085"/>
                  </a:gdLst>
                  <a:ahLst/>
                  <a:cxnLst>
                    <a:cxn ang="0">
                      <a:pos x="connsiteX0" y="connsiteY0"/>
                    </a:cxn>
                    <a:cxn ang="0">
                      <a:pos x="connsiteX1" y="connsiteY1"/>
                    </a:cxn>
                    <a:cxn ang="0">
                      <a:pos x="connsiteX2" y="connsiteY2"/>
                    </a:cxn>
                    <a:cxn ang="0">
                      <a:pos x="connsiteX3" y="connsiteY3"/>
                    </a:cxn>
                  </a:cxnLst>
                  <a:rect l="l" t="t" r="r" b="b"/>
                  <a:pathLst>
                    <a:path w="57654" h="23085">
                      <a:moveTo>
                        <a:pt x="57654" y="5442"/>
                      </a:moveTo>
                      <a:lnTo>
                        <a:pt x="1974" y="23086"/>
                      </a:lnTo>
                      <a:lnTo>
                        <a:pt x="0" y="17643"/>
                      </a:lnTo>
                      <a:lnTo>
                        <a:pt x="55621" y="0"/>
                      </a:lnTo>
                      <a:close/>
                    </a:path>
                  </a:pathLst>
                </a:custGeom>
                <a:grpFill/>
                <a:ln w="6350" cap="flat">
                  <a:solidFill>
                    <a:schemeClr val="bg1">
                      <a:alpha val="40000"/>
                    </a:schemeClr>
                  </a:solidFill>
                  <a:prstDash val="solid"/>
                  <a:miter/>
                </a:ln>
              </p:spPr>
              <p:txBody>
                <a:bodyPr rtlCol="0" anchor="ctr"/>
                <a:lstStyle/>
                <a:p>
                  <a:endParaRPr lang="en-GB"/>
                </a:p>
              </p:txBody>
            </p:sp>
            <p:grpSp>
              <p:nvGrpSpPr>
                <p:cNvPr id="9324" name="Graphic 3">
                  <a:extLst>
                    <a:ext uri="{FF2B5EF4-FFF2-40B4-BE49-F238E27FC236}">
                      <a16:creationId xmlns:a16="http://schemas.microsoft.com/office/drawing/2014/main" id="{F776F3F4-CC95-4AD0-8469-5CA001846011}"/>
                    </a:ext>
                  </a:extLst>
                </p:cNvPr>
                <p:cNvGrpSpPr/>
                <p:nvPr/>
              </p:nvGrpSpPr>
              <p:grpSpPr>
                <a:xfrm>
                  <a:off x="4496875" y="1692322"/>
                  <a:ext cx="148010" cy="149734"/>
                  <a:chOff x="4496875" y="1692322"/>
                  <a:chExt cx="148010" cy="149734"/>
                </a:xfrm>
                <a:grpFill/>
              </p:grpSpPr>
              <p:sp>
                <p:nvSpPr>
                  <p:cNvPr id="9325" name="Vrije vorm: vorm 9324">
                    <a:extLst>
                      <a:ext uri="{FF2B5EF4-FFF2-40B4-BE49-F238E27FC236}">
                        <a16:creationId xmlns:a16="http://schemas.microsoft.com/office/drawing/2014/main" id="{22C30025-1702-4C94-9D2D-AC7AFC875848}"/>
                      </a:ext>
                    </a:extLst>
                  </p:cNvPr>
                  <p:cNvSpPr/>
                  <p:nvPr/>
                </p:nvSpPr>
                <p:spPr>
                  <a:xfrm>
                    <a:off x="4496875" y="1738815"/>
                    <a:ext cx="98551" cy="103241"/>
                  </a:xfrm>
                  <a:custGeom>
                    <a:avLst/>
                    <a:gdLst>
                      <a:gd name="connsiteX0" fmla="*/ 84557 w 98551"/>
                      <a:gd name="connsiteY0" fmla="*/ 62798 h 103241"/>
                      <a:gd name="connsiteX1" fmla="*/ 41196 w 98551"/>
                      <a:gd name="connsiteY1" fmla="*/ 38815 h 103241"/>
                      <a:gd name="connsiteX2" fmla="*/ 40479 w 98551"/>
                      <a:gd name="connsiteY2" fmla="*/ 16028 h 103241"/>
                      <a:gd name="connsiteX3" fmla="*/ 3936 w 98551"/>
                      <a:gd name="connsiteY3" fmla="*/ 0 h 103241"/>
                      <a:gd name="connsiteX4" fmla="*/ 4774 w 98551"/>
                      <a:gd name="connsiteY4" fmla="*/ 50358 h 103241"/>
                      <a:gd name="connsiteX5" fmla="*/ 98551 w 98551"/>
                      <a:gd name="connsiteY5" fmla="*/ 100416 h 103241"/>
                      <a:gd name="connsiteX6" fmla="*/ 84557 w 98551"/>
                      <a:gd name="connsiteY6" fmla="*/ 62798 h 10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51" h="103241">
                        <a:moveTo>
                          <a:pt x="84557" y="62798"/>
                        </a:moveTo>
                        <a:cubicBezTo>
                          <a:pt x="66914" y="67283"/>
                          <a:pt x="47835" y="56936"/>
                          <a:pt x="41196" y="38815"/>
                        </a:cubicBezTo>
                        <a:cubicBezTo>
                          <a:pt x="38385" y="31040"/>
                          <a:pt x="38325" y="23086"/>
                          <a:pt x="40479" y="16028"/>
                        </a:cubicBezTo>
                        <a:lnTo>
                          <a:pt x="3936" y="0"/>
                        </a:lnTo>
                        <a:cubicBezTo>
                          <a:pt x="-1386" y="15490"/>
                          <a:pt x="-1506" y="33133"/>
                          <a:pt x="4774" y="50358"/>
                        </a:cubicBezTo>
                        <a:cubicBezTo>
                          <a:pt x="19008" y="89352"/>
                          <a:pt x="60753" y="111421"/>
                          <a:pt x="98551" y="100416"/>
                        </a:cubicBezTo>
                        <a:lnTo>
                          <a:pt x="84557" y="62798"/>
                        </a:lnTo>
                        <a:close/>
                      </a:path>
                    </a:pathLst>
                  </a:custGeom>
                  <a:grpFill/>
                  <a:ln w="6350" cap="flat">
                    <a:solidFill>
                      <a:schemeClr val="bg1">
                        <a:alpha val="40000"/>
                      </a:schemeClr>
                    </a:solidFill>
                    <a:prstDash val="solid"/>
                    <a:miter/>
                  </a:ln>
                </p:spPr>
                <p:txBody>
                  <a:bodyPr rtlCol="0" anchor="ctr"/>
                  <a:lstStyle/>
                  <a:p>
                    <a:endParaRPr lang="en-GB"/>
                  </a:p>
                </p:txBody>
              </p:sp>
              <p:sp>
                <p:nvSpPr>
                  <p:cNvPr id="9326" name="Vrije vorm: vorm 9325">
                    <a:extLst>
                      <a:ext uri="{FF2B5EF4-FFF2-40B4-BE49-F238E27FC236}">
                        <a16:creationId xmlns:a16="http://schemas.microsoft.com/office/drawing/2014/main" id="{96245075-F1B9-45BC-863B-744E5E06B393}"/>
                      </a:ext>
                    </a:extLst>
                  </p:cNvPr>
                  <p:cNvSpPr/>
                  <p:nvPr/>
                </p:nvSpPr>
                <p:spPr>
                  <a:xfrm>
                    <a:off x="4502307" y="1692322"/>
                    <a:ext cx="103944" cy="58514"/>
                  </a:xfrm>
                  <a:custGeom>
                    <a:avLst/>
                    <a:gdLst>
                      <a:gd name="connsiteX0" fmla="*/ 36542 w 103944"/>
                      <a:gd name="connsiteY0" fmla="*/ 58514 h 58514"/>
                      <a:gd name="connsiteX1" fmla="*/ 56219 w 103944"/>
                      <a:gd name="connsiteY1" fmla="*/ 40991 h 58514"/>
                      <a:gd name="connsiteX2" fmla="*/ 84328 w 103944"/>
                      <a:gd name="connsiteY2" fmla="*/ 44280 h 58514"/>
                      <a:gd name="connsiteX3" fmla="*/ 103945 w 103944"/>
                      <a:gd name="connsiteY3" fmla="*/ 11506 h 58514"/>
                      <a:gd name="connsiteX4" fmla="*/ 42463 w 103944"/>
                      <a:gd name="connsiteY4" fmla="*/ 3312 h 58514"/>
                      <a:gd name="connsiteX5" fmla="*/ 0 w 103944"/>
                      <a:gd name="connsiteY5" fmla="*/ 42426 h 58514"/>
                      <a:gd name="connsiteX6" fmla="*/ 36542 w 103944"/>
                      <a:gd name="connsiteY6" fmla="*/ 58514 h 58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44" h="58514">
                        <a:moveTo>
                          <a:pt x="36542" y="58514"/>
                        </a:moveTo>
                        <a:cubicBezTo>
                          <a:pt x="40191" y="50380"/>
                          <a:pt x="47068" y="43921"/>
                          <a:pt x="56219" y="40991"/>
                        </a:cubicBezTo>
                        <a:cubicBezTo>
                          <a:pt x="65788" y="37941"/>
                          <a:pt x="75895" y="39496"/>
                          <a:pt x="84328" y="44280"/>
                        </a:cubicBezTo>
                        <a:lnTo>
                          <a:pt x="103945" y="11506"/>
                        </a:lnTo>
                        <a:cubicBezTo>
                          <a:pt x="85704" y="322"/>
                          <a:pt x="63456" y="-3326"/>
                          <a:pt x="42463" y="3312"/>
                        </a:cubicBezTo>
                        <a:cubicBezTo>
                          <a:pt x="22368" y="9712"/>
                          <a:pt x="7536" y="24305"/>
                          <a:pt x="0" y="42426"/>
                        </a:cubicBezTo>
                        <a:lnTo>
                          <a:pt x="36542" y="58514"/>
                        </a:lnTo>
                        <a:close/>
                      </a:path>
                    </a:pathLst>
                  </a:custGeom>
                  <a:grpFill/>
                  <a:ln w="6350" cap="flat">
                    <a:solidFill>
                      <a:schemeClr val="bg1">
                        <a:alpha val="40000"/>
                      </a:schemeClr>
                    </a:solidFill>
                    <a:prstDash val="solid"/>
                    <a:miter/>
                  </a:ln>
                </p:spPr>
                <p:txBody>
                  <a:bodyPr rtlCol="0" anchor="ctr"/>
                  <a:lstStyle/>
                  <a:p>
                    <a:endParaRPr lang="en-GB"/>
                  </a:p>
                </p:txBody>
              </p:sp>
              <p:sp>
                <p:nvSpPr>
                  <p:cNvPr id="9327" name="Vrije vorm: vorm 9326">
                    <a:extLst>
                      <a:ext uri="{FF2B5EF4-FFF2-40B4-BE49-F238E27FC236}">
                        <a16:creationId xmlns:a16="http://schemas.microsoft.com/office/drawing/2014/main" id="{A5FB9FBB-708C-4D24-A271-6ED61EA9CC96}"/>
                      </a:ext>
                    </a:extLst>
                  </p:cNvPr>
                  <p:cNvSpPr/>
                  <p:nvPr/>
                </p:nvSpPr>
                <p:spPr>
                  <a:xfrm>
                    <a:off x="4585499" y="1706400"/>
                    <a:ext cx="59387" cy="131575"/>
                  </a:xfrm>
                  <a:custGeom>
                    <a:avLst/>
                    <a:gdLst>
                      <a:gd name="connsiteX0" fmla="*/ 4844 w 59387"/>
                      <a:gd name="connsiteY0" fmla="*/ 32715 h 131575"/>
                      <a:gd name="connsiteX1" fmla="*/ 18181 w 59387"/>
                      <a:gd name="connsiteY1" fmla="*/ 50477 h 131575"/>
                      <a:gd name="connsiteX2" fmla="*/ 0 w 59387"/>
                      <a:gd name="connsiteY2" fmla="*/ 93957 h 131575"/>
                      <a:gd name="connsiteX3" fmla="*/ 13995 w 59387"/>
                      <a:gd name="connsiteY3" fmla="*/ 131576 h 131575"/>
                      <a:gd name="connsiteX4" fmla="*/ 54604 w 59387"/>
                      <a:gd name="connsiteY4" fmla="*/ 38934 h 131575"/>
                      <a:gd name="connsiteX5" fmla="*/ 24461 w 59387"/>
                      <a:gd name="connsiteY5" fmla="*/ 0 h 131575"/>
                      <a:gd name="connsiteX6" fmla="*/ 4844 w 59387"/>
                      <a:gd name="connsiteY6" fmla="*/ 32715 h 13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387" h="131575">
                        <a:moveTo>
                          <a:pt x="4844" y="32715"/>
                        </a:moveTo>
                        <a:cubicBezTo>
                          <a:pt x="10705" y="37021"/>
                          <a:pt x="15490" y="43121"/>
                          <a:pt x="18181" y="50477"/>
                        </a:cubicBezTo>
                        <a:cubicBezTo>
                          <a:pt x="24760" y="68419"/>
                          <a:pt x="16567" y="87319"/>
                          <a:pt x="0" y="93957"/>
                        </a:cubicBezTo>
                        <a:lnTo>
                          <a:pt x="13995" y="131576"/>
                        </a:lnTo>
                        <a:cubicBezTo>
                          <a:pt x="50537" y="118478"/>
                          <a:pt x="68718" y="77570"/>
                          <a:pt x="54604" y="38934"/>
                        </a:cubicBezTo>
                        <a:cubicBezTo>
                          <a:pt x="48623" y="22547"/>
                          <a:pt x="37798" y="9210"/>
                          <a:pt x="24461" y="0"/>
                        </a:cubicBezTo>
                        <a:lnTo>
                          <a:pt x="4844" y="32715"/>
                        </a:lnTo>
                        <a:close/>
                      </a:path>
                    </a:pathLst>
                  </a:custGeom>
                  <a:grpFill/>
                  <a:ln w="6350" cap="flat">
                    <a:solidFill>
                      <a:schemeClr val="bg1">
                        <a:alpha val="40000"/>
                      </a:schemeClr>
                    </a:solidFill>
                    <a:prstDash val="solid"/>
                    <a:miter/>
                  </a:ln>
                </p:spPr>
                <p:txBody>
                  <a:bodyPr rtlCol="0" anchor="ctr"/>
                  <a:lstStyle/>
                  <a:p>
                    <a:endParaRPr lang="en-GB"/>
                  </a:p>
                </p:txBody>
              </p:sp>
            </p:grpSp>
          </p:grpSp>
          <p:grpSp>
            <p:nvGrpSpPr>
              <p:cNvPr id="9049" name="Graphic 3">
                <a:extLst>
                  <a:ext uri="{FF2B5EF4-FFF2-40B4-BE49-F238E27FC236}">
                    <a16:creationId xmlns:a16="http://schemas.microsoft.com/office/drawing/2014/main" id="{1D7811AF-3D56-4350-9827-34DDB3288374}"/>
                  </a:ext>
                </a:extLst>
              </p:cNvPr>
              <p:cNvGrpSpPr/>
              <p:nvPr/>
            </p:nvGrpSpPr>
            <p:grpSpPr>
              <a:xfrm>
                <a:off x="4797541" y="922047"/>
                <a:ext cx="314081" cy="205179"/>
                <a:chOff x="4797541" y="922047"/>
                <a:chExt cx="314081" cy="205179"/>
              </a:xfrm>
              <a:grpFill/>
            </p:grpSpPr>
            <p:sp>
              <p:nvSpPr>
                <p:cNvPr id="9305" name="Vrije vorm: vorm 9304">
                  <a:extLst>
                    <a:ext uri="{FF2B5EF4-FFF2-40B4-BE49-F238E27FC236}">
                      <a16:creationId xmlns:a16="http://schemas.microsoft.com/office/drawing/2014/main" id="{D4E7EC7C-356F-4BA5-B016-1D1A3543C98D}"/>
                    </a:ext>
                  </a:extLst>
                </p:cNvPr>
                <p:cNvSpPr/>
                <p:nvPr/>
              </p:nvSpPr>
              <p:spPr>
                <a:xfrm>
                  <a:off x="4821139" y="995797"/>
                  <a:ext cx="290423" cy="131429"/>
                </a:xfrm>
                <a:custGeom>
                  <a:avLst/>
                  <a:gdLst>
                    <a:gd name="connsiteX0" fmla="*/ 0 w 290423"/>
                    <a:gd name="connsiteY0" fmla="*/ 58824 h 131429"/>
                    <a:gd name="connsiteX1" fmla="*/ 15371 w 290423"/>
                    <a:gd name="connsiteY1" fmla="*/ 50809 h 131429"/>
                    <a:gd name="connsiteX2" fmla="*/ 62738 w 290423"/>
                    <a:gd name="connsiteY2" fmla="*/ 85079 h 131429"/>
                    <a:gd name="connsiteX3" fmla="*/ 74879 w 290423"/>
                    <a:gd name="connsiteY3" fmla="*/ 58525 h 131429"/>
                    <a:gd name="connsiteX4" fmla="*/ 97366 w 290423"/>
                    <a:gd name="connsiteY4" fmla="*/ 59123 h 131429"/>
                    <a:gd name="connsiteX5" fmla="*/ 147186 w 290423"/>
                    <a:gd name="connsiteY5" fmla="*/ 9363 h 131429"/>
                    <a:gd name="connsiteX6" fmla="*/ 202089 w 290423"/>
                    <a:gd name="connsiteY6" fmla="*/ 44111 h 131429"/>
                    <a:gd name="connsiteX7" fmla="*/ 214947 w 290423"/>
                    <a:gd name="connsiteY7" fmla="*/ 29877 h 131429"/>
                    <a:gd name="connsiteX8" fmla="*/ 235760 w 290423"/>
                    <a:gd name="connsiteY8" fmla="*/ 36097 h 131429"/>
                    <a:gd name="connsiteX9" fmla="*/ 249037 w 290423"/>
                    <a:gd name="connsiteY9" fmla="*/ 153 h 131429"/>
                    <a:gd name="connsiteX10" fmla="*/ 257650 w 290423"/>
                    <a:gd name="connsiteY10" fmla="*/ 2605 h 131429"/>
                    <a:gd name="connsiteX11" fmla="*/ 290424 w 290423"/>
                    <a:gd name="connsiteY11" fmla="*/ 85318 h 131429"/>
                    <a:gd name="connsiteX12" fmla="*/ 28708 w 290423"/>
                    <a:gd name="connsiteY12" fmla="*/ 131430 h 131429"/>
                    <a:gd name="connsiteX13" fmla="*/ 0 w 290423"/>
                    <a:gd name="connsiteY13" fmla="*/ 58824 h 13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423" h="131429">
                      <a:moveTo>
                        <a:pt x="0" y="58824"/>
                      </a:moveTo>
                      <a:cubicBezTo>
                        <a:pt x="0" y="58824"/>
                        <a:pt x="1256" y="50510"/>
                        <a:pt x="15371" y="50809"/>
                      </a:cubicBezTo>
                      <a:cubicBezTo>
                        <a:pt x="31817" y="51108"/>
                        <a:pt x="51135" y="87112"/>
                        <a:pt x="62738" y="85079"/>
                      </a:cubicBezTo>
                      <a:cubicBezTo>
                        <a:pt x="74341" y="83045"/>
                        <a:pt x="68121" y="59721"/>
                        <a:pt x="74879" y="58525"/>
                      </a:cubicBezTo>
                      <a:cubicBezTo>
                        <a:pt x="81637" y="57328"/>
                        <a:pt x="84986" y="61276"/>
                        <a:pt x="97366" y="59123"/>
                      </a:cubicBezTo>
                      <a:cubicBezTo>
                        <a:pt x="109746" y="56970"/>
                        <a:pt x="128227" y="12712"/>
                        <a:pt x="147186" y="9363"/>
                      </a:cubicBezTo>
                      <a:cubicBezTo>
                        <a:pt x="166145" y="6014"/>
                        <a:pt x="195331" y="45307"/>
                        <a:pt x="202089" y="44111"/>
                      </a:cubicBezTo>
                      <a:cubicBezTo>
                        <a:pt x="208847" y="42915"/>
                        <a:pt x="208548" y="31013"/>
                        <a:pt x="214947" y="29877"/>
                      </a:cubicBezTo>
                      <a:cubicBezTo>
                        <a:pt x="221406" y="28741"/>
                        <a:pt x="228165" y="37472"/>
                        <a:pt x="235760" y="36097"/>
                      </a:cubicBezTo>
                      <a:cubicBezTo>
                        <a:pt x="243356" y="34781"/>
                        <a:pt x="243954" y="1050"/>
                        <a:pt x="249037" y="153"/>
                      </a:cubicBezTo>
                      <a:cubicBezTo>
                        <a:pt x="254121" y="-744"/>
                        <a:pt x="257650" y="2605"/>
                        <a:pt x="257650" y="2605"/>
                      </a:cubicBezTo>
                      <a:lnTo>
                        <a:pt x="290424" y="85318"/>
                      </a:lnTo>
                      <a:lnTo>
                        <a:pt x="28708" y="131430"/>
                      </a:lnTo>
                      <a:lnTo>
                        <a:pt x="0" y="58824"/>
                      </a:lnTo>
                      <a:close/>
                    </a:path>
                  </a:pathLst>
                </a:custGeom>
                <a:grpFill/>
                <a:ln w="6350" cap="flat">
                  <a:solidFill>
                    <a:schemeClr val="bg1">
                      <a:alpha val="40000"/>
                    </a:schemeClr>
                  </a:solidFill>
                  <a:prstDash val="solid"/>
                  <a:miter/>
                </a:ln>
              </p:spPr>
              <p:txBody>
                <a:bodyPr rtlCol="0" anchor="ctr"/>
                <a:lstStyle/>
                <a:p>
                  <a:endParaRPr lang="en-GB"/>
                </a:p>
              </p:txBody>
            </p:sp>
            <p:sp>
              <p:nvSpPr>
                <p:cNvPr id="9306" name="Vrije vorm: vorm 9305">
                  <a:extLst>
                    <a:ext uri="{FF2B5EF4-FFF2-40B4-BE49-F238E27FC236}">
                      <a16:creationId xmlns:a16="http://schemas.microsoft.com/office/drawing/2014/main" id="{FDE82443-2E4E-493E-8C90-3C7AD1FD779A}"/>
                    </a:ext>
                  </a:extLst>
                </p:cNvPr>
                <p:cNvSpPr/>
                <p:nvPr/>
              </p:nvSpPr>
              <p:spPr>
                <a:xfrm>
                  <a:off x="4825983" y="980784"/>
                  <a:ext cx="285639" cy="146442"/>
                </a:xfrm>
                <a:custGeom>
                  <a:avLst/>
                  <a:gdLst>
                    <a:gd name="connsiteX0" fmla="*/ 261597 w 285639"/>
                    <a:gd name="connsiteY0" fmla="*/ 39687 h 146442"/>
                    <a:gd name="connsiteX1" fmla="*/ 210522 w 285639"/>
                    <a:gd name="connsiteY1" fmla="*/ 35 h 146442"/>
                    <a:gd name="connsiteX2" fmla="*/ 175235 w 285639"/>
                    <a:gd name="connsiteY2" fmla="*/ 45249 h 146442"/>
                    <a:gd name="connsiteX3" fmla="*/ 114531 w 285639"/>
                    <a:gd name="connsiteY3" fmla="*/ 31613 h 146442"/>
                    <a:gd name="connsiteX4" fmla="*/ 81458 w 285639"/>
                    <a:gd name="connsiteY4" fmla="*/ 84243 h 146442"/>
                    <a:gd name="connsiteX5" fmla="*/ 46112 w 285639"/>
                    <a:gd name="connsiteY5" fmla="*/ 76169 h 146442"/>
                    <a:gd name="connsiteX6" fmla="*/ 0 w 285639"/>
                    <a:gd name="connsiteY6" fmla="*/ 86157 h 146442"/>
                    <a:gd name="connsiteX7" fmla="*/ 23923 w 285639"/>
                    <a:gd name="connsiteY7" fmla="*/ 146443 h 146442"/>
                    <a:gd name="connsiteX8" fmla="*/ 285639 w 285639"/>
                    <a:gd name="connsiteY8" fmla="*/ 100332 h 146442"/>
                    <a:gd name="connsiteX9" fmla="*/ 261597 w 285639"/>
                    <a:gd name="connsiteY9" fmla="*/ 39687 h 14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639" h="146442">
                      <a:moveTo>
                        <a:pt x="261597" y="39687"/>
                      </a:moveTo>
                      <a:cubicBezTo>
                        <a:pt x="248260" y="42019"/>
                        <a:pt x="218656" y="-1401"/>
                        <a:pt x="210522" y="35"/>
                      </a:cubicBezTo>
                      <a:cubicBezTo>
                        <a:pt x="202328" y="1470"/>
                        <a:pt x="208488" y="39448"/>
                        <a:pt x="175235" y="45249"/>
                      </a:cubicBezTo>
                      <a:cubicBezTo>
                        <a:pt x="156037" y="48658"/>
                        <a:pt x="133908" y="28204"/>
                        <a:pt x="114531" y="31613"/>
                      </a:cubicBezTo>
                      <a:cubicBezTo>
                        <a:pt x="80620" y="37594"/>
                        <a:pt x="101672" y="80655"/>
                        <a:pt x="81458" y="84243"/>
                      </a:cubicBezTo>
                      <a:cubicBezTo>
                        <a:pt x="72726" y="85798"/>
                        <a:pt x="62678" y="73239"/>
                        <a:pt x="46112" y="76169"/>
                      </a:cubicBezTo>
                      <a:cubicBezTo>
                        <a:pt x="25658" y="79758"/>
                        <a:pt x="24282" y="101408"/>
                        <a:pt x="0" y="86157"/>
                      </a:cubicBezTo>
                      <a:lnTo>
                        <a:pt x="23923" y="146443"/>
                      </a:lnTo>
                      <a:lnTo>
                        <a:pt x="285639" y="100332"/>
                      </a:lnTo>
                      <a:lnTo>
                        <a:pt x="261597" y="39687"/>
                      </a:lnTo>
                      <a:close/>
                    </a:path>
                  </a:pathLst>
                </a:custGeom>
                <a:grpFill/>
                <a:ln w="6350" cap="flat">
                  <a:solidFill>
                    <a:schemeClr val="bg1">
                      <a:alpha val="40000"/>
                    </a:schemeClr>
                  </a:solidFill>
                  <a:prstDash val="solid"/>
                  <a:miter/>
                </a:ln>
              </p:spPr>
              <p:txBody>
                <a:bodyPr rtlCol="0" anchor="ctr"/>
                <a:lstStyle/>
                <a:p>
                  <a:endParaRPr lang="en-GB"/>
                </a:p>
              </p:txBody>
            </p:sp>
            <p:sp>
              <p:nvSpPr>
                <p:cNvPr id="9307" name="Vrije vorm: vorm 9306">
                  <a:extLst>
                    <a:ext uri="{FF2B5EF4-FFF2-40B4-BE49-F238E27FC236}">
                      <a16:creationId xmlns:a16="http://schemas.microsoft.com/office/drawing/2014/main" id="{471E27FC-09C0-4309-A412-96EBF2235017}"/>
                    </a:ext>
                  </a:extLst>
                </p:cNvPr>
                <p:cNvSpPr/>
                <p:nvPr/>
              </p:nvSpPr>
              <p:spPr>
                <a:xfrm>
                  <a:off x="4811630" y="1007515"/>
                  <a:ext cx="299992" cy="119711"/>
                </a:xfrm>
                <a:custGeom>
                  <a:avLst/>
                  <a:gdLst>
                    <a:gd name="connsiteX0" fmla="*/ 0 w 299992"/>
                    <a:gd name="connsiteY0" fmla="*/ 23243 h 119711"/>
                    <a:gd name="connsiteX1" fmla="*/ 71948 w 299992"/>
                    <a:gd name="connsiteY1" fmla="*/ 42261 h 119711"/>
                    <a:gd name="connsiteX2" fmla="*/ 94615 w 299992"/>
                    <a:gd name="connsiteY2" fmla="*/ 21867 h 119711"/>
                    <a:gd name="connsiteX3" fmla="*/ 168896 w 299992"/>
                    <a:gd name="connsiteY3" fmla="*/ 47166 h 119711"/>
                    <a:gd name="connsiteX4" fmla="*/ 194433 w 299992"/>
                    <a:gd name="connsiteY4" fmla="*/ 38 h 119711"/>
                    <a:gd name="connsiteX5" fmla="*/ 242698 w 299992"/>
                    <a:gd name="connsiteY5" fmla="*/ 47764 h 119711"/>
                    <a:gd name="connsiteX6" fmla="*/ 258845 w 299992"/>
                    <a:gd name="connsiteY6" fmla="*/ 29821 h 119711"/>
                    <a:gd name="connsiteX7" fmla="*/ 287254 w 299992"/>
                    <a:gd name="connsiteY7" fmla="*/ 41484 h 119711"/>
                    <a:gd name="connsiteX8" fmla="*/ 299993 w 299992"/>
                    <a:gd name="connsiteY8" fmla="*/ 73600 h 119711"/>
                    <a:gd name="connsiteX9" fmla="*/ 38276 w 299992"/>
                    <a:gd name="connsiteY9" fmla="*/ 119712 h 119711"/>
                    <a:gd name="connsiteX10" fmla="*/ 0 w 299992"/>
                    <a:gd name="connsiteY10" fmla="*/ 23243 h 119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9992" h="119711">
                      <a:moveTo>
                        <a:pt x="0" y="23243"/>
                      </a:moveTo>
                      <a:cubicBezTo>
                        <a:pt x="22787" y="19236"/>
                        <a:pt x="55740" y="45132"/>
                        <a:pt x="71948" y="42261"/>
                      </a:cubicBezTo>
                      <a:cubicBezTo>
                        <a:pt x="88156" y="39391"/>
                        <a:pt x="77690" y="24858"/>
                        <a:pt x="94615" y="21867"/>
                      </a:cubicBezTo>
                      <a:cubicBezTo>
                        <a:pt x="111540" y="18877"/>
                        <a:pt x="147245" y="50993"/>
                        <a:pt x="168896" y="47166"/>
                      </a:cubicBezTo>
                      <a:cubicBezTo>
                        <a:pt x="190606" y="43338"/>
                        <a:pt x="185283" y="1652"/>
                        <a:pt x="194433" y="38"/>
                      </a:cubicBezTo>
                      <a:cubicBezTo>
                        <a:pt x="203584" y="-1577"/>
                        <a:pt x="232829" y="49498"/>
                        <a:pt x="242698" y="47764"/>
                      </a:cubicBezTo>
                      <a:cubicBezTo>
                        <a:pt x="252566" y="46029"/>
                        <a:pt x="242100" y="32812"/>
                        <a:pt x="258845" y="29821"/>
                      </a:cubicBezTo>
                      <a:cubicBezTo>
                        <a:pt x="275592" y="26891"/>
                        <a:pt x="287254" y="41484"/>
                        <a:pt x="287254" y="41484"/>
                      </a:cubicBezTo>
                      <a:lnTo>
                        <a:pt x="299993" y="73600"/>
                      </a:lnTo>
                      <a:lnTo>
                        <a:pt x="38276" y="119712"/>
                      </a:lnTo>
                      <a:lnTo>
                        <a:pt x="0" y="23243"/>
                      </a:lnTo>
                      <a:close/>
                    </a:path>
                  </a:pathLst>
                </a:custGeom>
                <a:grpFill/>
                <a:ln w="6350" cap="flat">
                  <a:solidFill>
                    <a:schemeClr val="bg1">
                      <a:alpha val="40000"/>
                    </a:schemeClr>
                  </a:solidFill>
                  <a:prstDash val="solid"/>
                  <a:miter/>
                </a:ln>
              </p:spPr>
              <p:txBody>
                <a:bodyPr rtlCol="0" anchor="ctr"/>
                <a:lstStyle/>
                <a:p>
                  <a:endParaRPr lang="en-GB"/>
                </a:p>
              </p:txBody>
            </p:sp>
            <p:sp>
              <p:nvSpPr>
                <p:cNvPr id="9308" name="Vrije vorm: vorm 9307">
                  <a:extLst>
                    <a:ext uri="{FF2B5EF4-FFF2-40B4-BE49-F238E27FC236}">
                      <a16:creationId xmlns:a16="http://schemas.microsoft.com/office/drawing/2014/main" id="{4EF1FE9F-A8AB-46FF-8C1E-8886F2999F69}"/>
                    </a:ext>
                  </a:extLst>
                </p:cNvPr>
                <p:cNvSpPr/>
                <p:nvPr/>
              </p:nvSpPr>
              <p:spPr>
                <a:xfrm>
                  <a:off x="4820840" y="995501"/>
                  <a:ext cx="258367" cy="85698"/>
                </a:xfrm>
                <a:custGeom>
                  <a:avLst/>
                  <a:gdLst>
                    <a:gd name="connsiteX0" fmla="*/ 60047 w 258367"/>
                    <a:gd name="connsiteY0" fmla="*/ 85375 h 85698"/>
                    <a:gd name="connsiteX1" fmla="*/ 42045 w 258367"/>
                    <a:gd name="connsiteY1" fmla="*/ 70304 h 85698"/>
                    <a:gd name="connsiteX2" fmla="*/ 15909 w 258367"/>
                    <a:gd name="connsiteY2" fmla="*/ 51345 h 85698"/>
                    <a:gd name="connsiteX3" fmla="*/ 658 w 258367"/>
                    <a:gd name="connsiteY3" fmla="*/ 59299 h 85698"/>
                    <a:gd name="connsiteX4" fmla="*/ 0 w 258367"/>
                    <a:gd name="connsiteY4" fmla="*/ 58941 h 85698"/>
                    <a:gd name="connsiteX5" fmla="*/ 15550 w 258367"/>
                    <a:gd name="connsiteY5" fmla="*/ 50807 h 85698"/>
                    <a:gd name="connsiteX6" fmla="*/ 42583 w 258367"/>
                    <a:gd name="connsiteY6" fmla="*/ 70184 h 85698"/>
                    <a:gd name="connsiteX7" fmla="*/ 62917 w 258367"/>
                    <a:gd name="connsiteY7" fmla="*/ 85076 h 85698"/>
                    <a:gd name="connsiteX8" fmla="*/ 70991 w 258367"/>
                    <a:gd name="connsiteY8" fmla="*/ 69048 h 85698"/>
                    <a:gd name="connsiteX9" fmla="*/ 75058 w 258367"/>
                    <a:gd name="connsiteY9" fmla="*/ 58522 h 85698"/>
                    <a:gd name="connsiteX10" fmla="*/ 82893 w 258367"/>
                    <a:gd name="connsiteY10" fmla="*/ 58941 h 85698"/>
                    <a:gd name="connsiteX11" fmla="*/ 97546 w 258367"/>
                    <a:gd name="connsiteY11" fmla="*/ 59120 h 85698"/>
                    <a:gd name="connsiteX12" fmla="*/ 117222 w 258367"/>
                    <a:gd name="connsiteY12" fmla="*/ 38427 h 85698"/>
                    <a:gd name="connsiteX13" fmla="*/ 147365 w 258367"/>
                    <a:gd name="connsiteY13" fmla="*/ 9360 h 85698"/>
                    <a:gd name="connsiteX14" fmla="*/ 187436 w 258367"/>
                    <a:gd name="connsiteY14" fmla="*/ 32984 h 85698"/>
                    <a:gd name="connsiteX15" fmla="*/ 202268 w 258367"/>
                    <a:gd name="connsiteY15" fmla="*/ 44108 h 85698"/>
                    <a:gd name="connsiteX16" fmla="*/ 208787 w 258367"/>
                    <a:gd name="connsiteY16" fmla="*/ 36872 h 85698"/>
                    <a:gd name="connsiteX17" fmla="*/ 215127 w 258367"/>
                    <a:gd name="connsiteY17" fmla="*/ 29815 h 85698"/>
                    <a:gd name="connsiteX18" fmla="*/ 224935 w 258367"/>
                    <a:gd name="connsiteY18" fmla="*/ 32865 h 85698"/>
                    <a:gd name="connsiteX19" fmla="*/ 235940 w 258367"/>
                    <a:gd name="connsiteY19" fmla="*/ 36094 h 85698"/>
                    <a:gd name="connsiteX20" fmla="*/ 243954 w 258367"/>
                    <a:gd name="connsiteY20" fmla="*/ 15461 h 85698"/>
                    <a:gd name="connsiteX21" fmla="*/ 249276 w 258367"/>
                    <a:gd name="connsiteY21" fmla="*/ 150 h 85698"/>
                    <a:gd name="connsiteX22" fmla="*/ 258367 w 258367"/>
                    <a:gd name="connsiteY22" fmla="*/ 2841 h 85698"/>
                    <a:gd name="connsiteX23" fmla="*/ 257949 w 258367"/>
                    <a:gd name="connsiteY23" fmla="*/ 2961 h 85698"/>
                    <a:gd name="connsiteX24" fmla="*/ 249815 w 258367"/>
                    <a:gd name="connsiteY24" fmla="*/ 688 h 85698"/>
                    <a:gd name="connsiteX25" fmla="*/ 244672 w 258367"/>
                    <a:gd name="connsiteY25" fmla="*/ 15879 h 85698"/>
                    <a:gd name="connsiteX26" fmla="*/ 236538 w 258367"/>
                    <a:gd name="connsiteY26" fmla="*/ 36633 h 85698"/>
                    <a:gd name="connsiteX27" fmla="*/ 224995 w 258367"/>
                    <a:gd name="connsiteY27" fmla="*/ 33283 h 85698"/>
                    <a:gd name="connsiteX28" fmla="*/ 215725 w 258367"/>
                    <a:gd name="connsiteY28" fmla="*/ 30413 h 85698"/>
                    <a:gd name="connsiteX29" fmla="*/ 209565 w 258367"/>
                    <a:gd name="connsiteY29" fmla="*/ 37350 h 85698"/>
                    <a:gd name="connsiteX30" fmla="*/ 202866 w 258367"/>
                    <a:gd name="connsiteY30" fmla="*/ 44706 h 85698"/>
                    <a:gd name="connsiteX31" fmla="*/ 187137 w 258367"/>
                    <a:gd name="connsiteY31" fmla="*/ 33224 h 85698"/>
                    <a:gd name="connsiteX32" fmla="*/ 147963 w 258367"/>
                    <a:gd name="connsiteY32" fmla="*/ 9959 h 85698"/>
                    <a:gd name="connsiteX33" fmla="*/ 117940 w 258367"/>
                    <a:gd name="connsiteY33" fmla="*/ 38965 h 85698"/>
                    <a:gd name="connsiteX34" fmla="*/ 98144 w 258367"/>
                    <a:gd name="connsiteY34" fmla="*/ 59718 h 85698"/>
                    <a:gd name="connsiteX35" fmla="*/ 83311 w 258367"/>
                    <a:gd name="connsiteY35" fmla="*/ 59539 h 85698"/>
                    <a:gd name="connsiteX36" fmla="*/ 75656 w 258367"/>
                    <a:gd name="connsiteY36" fmla="*/ 59120 h 85698"/>
                    <a:gd name="connsiteX37" fmla="*/ 71769 w 258367"/>
                    <a:gd name="connsiteY37" fmla="*/ 69467 h 85698"/>
                    <a:gd name="connsiteX38" fmla="*/ 63515 w 258367"/>
                    <a:gd name="connsiteY38" fmla="*/ 85615 h 85698"/>
                    <a:gd name="connsiteX39" fmla="*/ 60047 w 258367"/>
                    <a:gd name="connsiteY39" fmla="*/ 85375 h 85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367" h="85698">
                      <a:moveTo>
                        <a:pt x="60047" y="85375"/>
                      </a:moveTo>
                      <a:cubicBezTo>
                        <a:pt x="54784" y="83820"/>
                        <a:pt x="48563" y="77242"/>
                        <a:pt x="42045" y="70304"/>
                      </a:cubicBezTo>
                      <a:cubicBezTo>
                        <a:pt x="33313" y="61094"/>
                        <a:pt x="24222" y="51525"/>
                        <a:pt x="15909" y="51345"/>
                      </a:cubicBezTo>
                      <a:cubicBezTo>
                        <a:pt x="2034" y="51106"/>
                        <a:pt x="658" y="59180"/>
                        <a:pt x="658" y="59299"/>
                      </a:cubicBezTo>
                      <a:lnTo>
                        <a:pt x="0" y="58941"/>
                      </a:lnTo>
                      <a:cubicBezTo>
                        <a:pt x="0" y="58881"/>
                        <a:pt x="1435" y="50568"/>
                        <a:pt x="15550" y="50807"/>
                      </a:cubicBezTo>
                      <a:cubicBezTo>
                        <a:pt x="24342" y="50986"/>
                        <a:pt x="34030" y="61153"/>
                        <a:pt x="42583" y="70184"/>
                      </a:cubicBezTo>
                      <a:cubicBezTo>
                        <a:pt x="50298" y="78318"/>
                        <a:pt x="57594" y="86033"/>
                        <a:pt x="62917" y="85076"/>
                      </a:cubicBezTo>
                      <a:cubicBezTo>
                        <a:pt x="69436" y="83940"/>
                        <a:pt x="70273" y="76045"/>
                        <a:pt x="70991" y="69048"/>
                      </a:cubicBezTo>
                      <a:cubicBezTo>
                        <a:pt x="71530" y="63665"/>
                        <a:pt x="72068" y="59060"/>
                        <a:pt x="75058" y="58522"/>
                      </a:cubicBezTo>
                      <a:cubicBezTo>
                        <a:pt x="77989" y="57984"/>
                        <a:pt x="80262" y="58462"/>
                        <a:pt x="82893" y="58941"/>
                      </a:cubicBezTo>
                      <a:cubicBezTo>
                        <a:pt x="86422" y="59598"/>
                        <a:pt x="90488" y="60376"/>
                        <a:pt x="97546" y="59120"/>
                      </a:cubicBezTo>
                      <a:cubicBezTo>
                        <a:pt x="102988" y="58163"/>
                        <a:pt x="109926" y="48594"/>
                        <a:pt x="117222" y="38427"/>
                      </a:cubicBezTo>
                      <a:cubicBezTo>
                        <a:pt x="126433" y="25688"/>
                        <a:pt x="136839" y="11214"/>
                        <a:pt x="147365" y="9360"/>
                      </a:cubicBezTo>
                      <a:cubicBezTo>
                        <a:pt x="159446" y="7207"/>
                        <a:pt x="175594" y="22099"/>
                        <a:pt x="187436" y="32984"/>
                      </a:cubicBezTo>
                      <a:cubicBezTo>
                        <a:pt x="194134" y="39144"/>
                        <a:pt x="199936" y="44527"/>
                        <a:pt x="202268" y="44108"/>
                      </a:cubicBezTo>
                      <a:cubicBezTo>
                        <a:pt x="205617" y="43510"/>
                        <a:pt x="207232" y="40161"/>
                        <a:pt x="208787" y="36872"/>
                      </a:cubicBezTo>
                      <a:cubicBezTo>
                        <a:pt x="210402" y="33523"/>
                        <a:pt x="211897" y="30413"/>
                        <a:pt x="215127" y="29815"/>
                      </a:cubicBezTo>
                      <a:cubicBezTo>
                        <a:pt x="218296" y="29276"/>
                        <a:pt x="221705" y="31070"/>
                        <a:pt x="224935" y="32865"/>
                      </a:cubicBezTo>
                      <a:cubicBezTo>
                        <a:pt x="228464" y="34778"/>
                        <a:pt x="232112" y="36752"/>
                        <a:pt x="235940" y="36094"/>
                      </a:cubicBezTo>
                      <a:cubicBezTo>
                        <a:pt x="240006" y="35377"/>
                        <a:pt x="242100" y="24791"/>
                        <a:pt x="243954" y="15461"/>
                      </a:cubicBezTo>
                      <a:cubicBezTo>
                        <a:pt x="245509" y="7447"/>
                        <a:pt x="246884" y="569"/>
                        <a:pt x="249276" y="150"/>
                      </a:cubicBezTo>
                      <a:cubicBezTo>
                        <a:pt x="254540" y="-747"/>
                        <a:pt x="258188" y="2662"/>
                        <a:pt x="258367" y="2841"/>
                      </a:cubicBezTo>
                      <a:lnTo>
                        <a:pt x="257949" y="2961"/>
                      </a:lnTo>
                      <a:cubicBezTo>
                        <a:pt x="257829" y="2841"/>
                        <a:pt x="254599" y="-149"/>
                        <a:pt x="249815" y="688"/>
                      </a:cubicBezTo>
                      <a:cubicBezTo>
                        <a:pt x="247602" y="1107"/>
                        <a:pt x="246167" y="8284"/>
                        <a:pt x="244672" y="15879"/>
                      </a:cubicBezTo>
                      <a:cubicBezTo>
                        <a:pt x="242818" y="25269"/>
                        <a:pt x="240784" y="35915"/>
                        <a:pt x="236538" y="36633"/>
                      </a:cubicBezTo>
                      <a:cubicBezTo>
                        <a:pt x="232471" y="37350"/>
                        <a:pt x="228643" y="35257"/>
                        <a:pt x="224995" y="33283"/>
                      </a:cubicBezTo>
                      <a:cubicBezTo>
                        <a:pt x="221765" y="31549"/>
                        <a:pt x="218715" y="29874"/>
                        <a:pt x="215725" y="30413"/>
                      </a:cubicBezTo>
                      <a:cubicBezTo>
                        <a:pt x="212615" y="30951"/>
                        <a:pt x="211060" y="34180"/>
                        <a:pt x="209565" y="37350"/>
                      </a:cubicBezTo>
                      <a:cubicBezTo>
                        <a:pt x="208010" y="40640"/>
                        <a:pt x="206335" y="44049"/>
                        <a:pt x="202866" y="44706"/>
                      </a:cubicBezTo>
                      <a:cubicBezTo>
                        <a:pt x="200115" y="45185"/>
                        <a:pt x="194433" y="39922"/>
                        <a:pt x="187137" y="33224"/>
                      </a:cubicBezTo>
                      <a:cubicBezTo>
                        <a:pt x="175534" y="22518"/>
                        <a:pt x="159626" y="7925"/>
                        <a:pt x="147963" y="9959"/>
                      </a:cubicBezTo>
                      <a:cubicBezTo>
                        <a:pt x="137497" y="11813"/>
                        <a:pt x="127150" y="26226"/>
                        <a:pt x="117940" y="38965"/>
                      </a:cubicBezTo>
                      <a:cubicBezTo>
                        <a:pt x="110285" y="49551"/>
                        <a:pt x="103706" y="58761"/>
                        <a:pt x="98144" y="59718"/>
                      </a:cubicBezTo>
                      <a:cubicBezTo>
                        <a:pt x="90967" y="60974"/>
                        <a:pt x="86900" y="60197"/>
                        <a:pt x="83311" y="59539"/>
                      </a:cubicBezTo>
                      <a:cubicBezTo>
                        <a:pt x="80740" y="59060"/>
                        <a:pt x="78527" y="58642"/>
                        <a:pt x="75656" y="59120"/>
                      </a:cubicBezTo>
                      <a:cubicBezTo>
                        <a:pt x="72845" y="59598"/>
                        <a:pt x="72307" y="64204"/>
                        <a:pt x="71769" y="69467"/>
                      </a:cubicBezTo>
                      <a:cubicBezTo>
                        <a:pt x="71051" y="76524"/>
                        <a:pt x="70154" y="84478"/>
                        <a:pt x="63515" y="85615"/>
                      </a:cubicBezTo>
                      <a:cubicBezTo>
                        <a:pt x="62260" y="85794"/>
                        <a:pt x="61183" y="85674"/>
                        <a:pt x="60047" y="8537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09" name="Vrije vorm: vorm 9308">
                  <a:extLst>
                    <a:ext uri="{FF2B5EF4-FFF2-40B4-BE49-F238E27FC236}">
                      <a16:creationId xmlns:a16="http://schemas.microsoft.com/office/drawing/2014/main" id="{8C9978A6-2916-4E48-AF0B-5492F07F7863}"/>
                    </a:ext>
                  </a:extLst>
                </p:cNvPr>
                <p:cNvSpPr/>
                <p:nvPr/>
              </p:nvSpPr>
              <p:spPr>
                <a:xfrm>
                  <a:off x="4825924" y="980482"/>
                  <a:ext cx="261835" cy="92112"/>
                </a:xfrm>
                <a:custGeom>
                  <a:avLst/>
                  <a:gdLst>
                    <a:gd name="connsiteX0" fmla="*/ 9629 w 261835"/>
                    <a:gd name="connsiteY0" fmla="*/ 91244 h 92112"/>
                    <a:gd name="connsiteX1" fmla="*/ 0 w 261835"/>
                    <a:gd name="connsiteY1" fmla="*/ 86639 h 92112"/>
                    <a:gd name="connsiteX2" fmla="*/ 179 w 261835"/>
                    <a:gd name="connsiteY2" fmla="*/ 86280 h 92112"/>
                    <a:gd name="connsiteX3" fmla="*/ 28707 w 261835"/>
                    <a:gd name="connsiteY3" fmla="*/ 85024 h 92112"/>
                    <a:gd name="connsiteX4" fmla="*/ 45932 w 261835"/>
                    <a:gd name="connsiteY4" fmla="*/ 76233 h 92112"/>
                    <a:gd name="connsiteX5" fmla="*/ 69376 w 261835"/>
                    <a:gd name="connsiteY5" fmla="*/ 81017 h 92112"/>
                    <a:gd name="connsiteX6" fmla="*/ 81218 w 261835"/>
                    <a:gd name="connsiteY6" fmla="*/ 84306 h 92112"/>
                    <a:gd name="connsiteX7" fmla="*/ 92043 w 261835"/>
                    <a:gd name="connsiteY7" fmla="*/ 63553 h 92112"/>
                    <a:gd name="connsiteX8" fmla="*/ 114351 w 261835"/>
                    <a:gd name="connsiteY8" fmla="*/ 31676 h 92112"/>
                    <a:gd name="connsiteX9" fmla="*/ 145033 w 261835"/>
                    <a:gd name="connsiteY9" fmla="*/ 38554 h 92112"/>
                    <a:gd name="connsiteX10" fmla="*/ 175056 w 261835"/>
                    <a:gd name="connsiteY10" fmla="*/ 45312 h 92112"/>
                    <a:gd name="connsiteX11" fmla="*/ 204840 w 261835"/>
                    <a:gd name="connsiteY11" fmla="*/ 11102 h 92112"/>
                    <a:gd name="connsiteX12" fmla="*/ 210282 w 261835"/>
                    <a:gd name="connsiteY12" fmla="*/ 38 h 92112"/>
                    <a:gd name="connsiteX13" fmla="*/ 230677 w 261835"/>
                    <a:gd name="connsiteY13" fmla="*/ 16605 h 92112"/>
                    <a:gd name="connsiteX14" fmla="*/ 261357 w 261835"/>
                    <a:gd name="connsiteY14" fmla="*/ 39630 h 92112"/>
                    <a:gd name="connsiteX15" fmla="*/ 261836 w 261835"/>
                    <a:gd name="connsiteY15" fmla="*/ 40169 h 92112"/>
                    <a:gd name="connsiteX16" fmla="*/ 230198 w 261835"/>
                    <a:gd name="connsiteY16" fmla="*/ 16665 h 92112"/>
                    <a:gd name="connsiteX17" fmla="*/ 210701 w 261835"/>
                    <a:gd name="connsiteY17" fmla="*/ 517 h 92112"/>
                    <a:gd name="connsiteX18" fmla="*/ 205438 w 261835"/>
                    <a:gd name="connsiteY18" fmla="*/ 11401 h 92112"/>
                    <a:gd name="connsiteX19" fmla="*/ 175474 w 261835"/>
                    <a:gd name="connsiteY19" fmla="*/ 45731 h 92112"/>
                    <a:gd name="connsiteX20" fmla="*/ 145033 w 261835"/>
                    <a:gd name="connsiteY20" fmla="*/ 38913 h 92112"/>
                    <a:gd name="connsiteX21" fmla="*/ 114770 w 261835"/>
                    <a:gd name="connsiteY21" fmla="*/ 32095 h 92112"/>
                    <a:gd name="connsiteX22" fmla="*/ 92641 w 261835"/>
                    <a:gd name="connsiteY22" fmla="*/ 63793 h 92112"/>
                    <a:gd name="connsiteX23" fmla="*/ 81637 w 261835"/>
                    <a:gd name="connsiteY23" fmla="*/ 84725 h 92112"/>
                    <a:gd name="connsiteX24" fmla="*/ 69316 w 261835"/>
                    <a:gd name="connsiteY24" fmla="*/ 81316 h 92112"/>
                    <a:gd name="connsiteX25" fmla="*/ 46351 w 261835"/>
                    <a:gd name="connsiteY25" fmla="*/ 76591 h 92112"/>
                    <a:gd name="connsiteX26" fmla="*/ 29245 w 261835"/>
                    <a:gd name="connsiteY26" fmla="*/ 85323 h 92112"/>
                    <a:gd name="connsiteX27" fmla="*/ 9629 w 261835"/>
                    <a:gd name="connsiteY27" fmla="*/ 91244 h 9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1835" h="92112">
                      <a:moveTo>
                        <a:pt x="9629" y="91244"/>
                      </a:moveTo>
                      <a:cubicBezTo>
                        <a:pt x="6818" y="90407"/>
                        <a:pt x="3648" y="88912"/>
                        <a:pt x="0" y="86639"/>
                      </a:cubicBezTo>
                      <a:lnTo>
                        <a:pt x="179" y="86280"/>
                      </a:lnTo>
                      <a:cubicBezTo>
                        <a:pt x="15071" y="95670"/>
                        <a:pt x="21112" y="90945"/>
                        <a:pt x="28707" y="85024"/>
                      </a:cubicBezTo>
                      <a:cubicBezTo>
                        <a:pt x="33193" y="81555"/>
                        <a:pt x="38217" y="77608"/>
                        <a:pt x="45932" y="76233"/>
                      </a:cubicBezTo>
                      <a:cubicBezTo>
                        <a:pt x="55621" y="74558"/>
                        <a:pt x="63276" y="78146"/>
                        <a:pt x="69376" y="81017"/>
                      </a:cubicBezTo>
                      <a:cubicBezTo>
                        <a:pt x="73802" y="83110"/>
                        <a:pt x="77690" y="84905"/>
                        <a:pt x="81218" y="84306"/>
                      </a:cubicBezTo>
                      <a:cubicBezTo>
                        <a:pt x="89950" y="82751"/>
                        <a:pt x="90907" y="73840"/>
                        <a:pt x="92043" y="63553"/>
                      </a:cubicBezTo>
                      <a:cubicBezTo>
                        <a:pt x="93479" y="50216"/>
                        <a:pt x="95093" y="35085"/>
                        <a:pt x="114351" y="31676"/>
                      </a:cubicBezTo>
                      <a:cubicBezTo>
                        <a:pt x="124159" y="29942"/>
                        <a:pt x="134745" y="34308"/>
                        <a:pt x="145033" y="38554"/>
                      </a:cubicBezTo>
                      <a:cubicBezTo>
                        <a:pt x="155140" y="42681"/>
                        <a:pt x="165546" y="46987"/>
                        <a:pt x="175056" y="45312"/>
                      </a:cubicBezTo>
                      <a:cubicBezTo>
                        <a:pt x="197184" y="41425"/>
                        <a:pt x="201790" y="23183"/>
                        <a:pt x="204840" y="11102"/>
                      </a:cubicBezTo>
                      <a:cubicBezTo>
                        <a:pt x="206394" y="5002"/>
                        <a:pt x="207531" y="576"/>
                        <a:pt x="210282" y="38"/>
                      </a:cubicBezTo>
                      <a:cubicBezTo>
                        <a:pt x="214110" y="-620"/>
                        <a:pt x="221765" y="7335"/>
                        <a:pt x="230677" y="16605"/>
                      </a:cubicBezTo>
                      <a:cubicBezTo>
                        <a:pt x="241681" y="28028"/>
                        <a:pt x="254121" y="40946"/>
                        <a:pt x="261357" y="39630"/>
                      </a:cubicBezTo>
                      <a:lnTo>
                        <a:pt x="261836" y="40169"/>
                      </a:lnTo>
                      <a:cubicBezTo>
                        <a:pt x="254121" y="41544"/>
                        <a:pt x="241382" y="28327"/>
                        <a:pt x="230198" y="16665"/>
                      </a:cubicBezTo>
                      <a:cubicBezTo>
                        <a:pt x="221885" y="8052"/>
                        <a:pt x="214110" y="-82"/>
                        <a:pt x="210701" y="517"/>
                      </a:cubicBezTo>
                      <a:cubicBezTo>
                        <a:pt x="208069" y="995"/>
                        <a:pt x="206873" y="5600"/>
                        <a:pt x="205438" y="11401"/>
                      </a:cubicBezTo>
                      <a:cubicBezTo>
                        <a:pt x="202387" y="23542"/>
                        <a:pt x="197723" y="41843"/>
                        <a:pt x="175474" y="45731"/>
                      </a:cubicBezTo>
                      <a:cubicBezTo>
                        <a:pt x="165845" y="47405"/>
                        <a:pt x="155259" y="43099"/>
                        <a:pt x="145033" y="38913"/>
                      </a:cubicBezTo>
                      <a:cubicBezTo>
                        <a:pt x="134865" y="34726"/>
                        <a:pt x="124339" y="30420"/>
                        <a:pt x="114770" y="32095"/>
                      </a:cubicBezTo>
                      <a:cubicBezTo>
                        <a:pt x="95692" y="35444"/>
                        <a:pt x="94077" y="50515"/>
                        <a:pt x="92641" y="63793"/>
                      </a:cubicBezTo>
                      <a:cubicBezTo>
                        <a:pt x="91505" y="74199"/>
                        <a:pt x="90548" y="83170"/>
                        <a:pt x="81637" y="84725"/>
                      </a:cubicBezTo>
                      <a:cubicBezTo>
                        <a:pt x="77869" y="85383"/>
                        <a:pt x="73922" y="83529"/>
                        <a:pt x="69316" y="81316"/>
                      </a:cubicBezTo>
                      <a:cubicBezTo>
                        <a:pt x="62977" y="78326"/>
                        <a:pt x="55800" y="74917"/>
                        <a:pt x="46351" y="76591"/>
                      </a:cubicBezTo>
                      <a:cubicBezTo>
                        <a:pt x="38695" y="77907"/>
                        <a:pt x="33671" y="81854"/>
                        <a:pt x="29245" y="85323"/>
                      </a:cubicBezTo>
                      <a:cubicBezTo>
                        <a:pt x="23624" y="89928"/>
                        <a:pt x="18540" y="93935"/>
                        <a:pt x="9629" y="9124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10" name="Vrije vorm: vorm 9309">
                  <a:extLst>
                    <a:ext uri="{FF2B5EF4-FFF2-40B4-BE49-F238E27FC236}">
                      <a16:creationId xmlns:a16="http://schemas.microsoft.com/office/drawing/2014/main" id="{A7558BC5-D975-47EE-A19D-1079007CA3AB}"/>
                    </a:ext>
                  </a:extLst>
                </p:cNvPr>
                <p:cNvSpPr/>
                <p:nvPr/>
              </p:nvSpPr>
              <p:spPr>
                <a:xfrm>
                  <a:off x="4811391" y="1007278"/>
                  <a:ext cx="287792" cy="48231"/>
                </a:xfrm>
                <a:custGeom>
                  <a:avLst/>
                  <a:gdLst>
                    <a:gd name="connsiteX0" fmla="*/ 478 w 287792"/>
                    <a:gd name="connsiteY0" fmla="*/ 23719 h 48231"/>
                    <a:gd name="connsiteX1" fmla="*/ 0 w 287792"/>
                    <a:gd name="connsiteY1" fmla="*/ 23180 h 48231"/>
                    <a:gd name="connsiteX2" fmla="*/ 41984 w 287792"/>
                    <a:gd name="connsiteY2" fmla="*/ 33706 h 48231"/>
                    <a:gd name="connsiteX3" fmla="*/ 71948 w 287792"/>
                    <a:gd name="connsiteY3" fmla="*/ 42199 h 48231"/>
                    <a:gd name="connsiteX4" fmla="*/ 82893 w 287792"/>
                    <a:gd name="connsiteY4" fmla="*/ 32271 h 48231"/>
                    <a:gd name="connsiteX5" fmla="*/ 94615 w 287792"/>
                    <a:gd name="connsiteY5" fmla="*/ 21805 h 48231"/>
                    <a:gd name="connsiteX6" fmla="*/ 127688 w 287792"/>
                    <a:gd name="connsiteY6" fmla="*/ 33527 h 48231"/>
                    <a:gd name="connsiteX7" fmla="*/ 168896 w 287792"/>
                    <a:gd name="connsiteY7" fmla="*/ 47163 h 48231"/>
                    <a:gd name="connsiteX8" fmla="*/ 187735 w 287792"/>
                    <a:gd name="connsiteY8" fmla="*/ 15884 h 48231"/>
                    <a:gd name="connsiteX9" fmla="*/ 194433 w 287792"/>
                    <a:gd name="connsiteY9" fmla="*/ 35 h 48231"/>
                    <a:gd name="connsiteX10" fmla="*/ 197304 w 287792"/>
                    <a:gd name="connsiteY10" fmla="*/ 693 h 48231"/>
                    <a:gd name="connsiteX11" fmla="*/ 218237 w 287792"/>
                    <a:gd name="connsiteY11" fmla="*/ 23479 h 48231"/>
                    <a:gd name="connsiteX12" fmla="*/ 239947 w 287792"/>
                    <a:gd name="connsiteY12" fmla="*/ 47103 h 48231"/>
                    <a:gd name="connsiteX13" fmla="*/ 242697 w 287792"/>
                    <a:gd name="connsiteY13" fmla="*/ 47701 h 48231"/>
                    <a:gd name="connsiteX14" fmla="*/ 247841 w 287792"/>
                    <a:gd name="connsiteY14" fmla="*/ 40764 h 48231"/>
                    <a:gd name="connsiteX15" fmla="*/ 258845 w 287792"/>
                    <a:gd name="connsiteY15" fmla="*/ 29759 h 48231"/>
                    <a:gd name="connsiteX16" fmla="*/ 276249 w 287792"/>
                    <a:gd name="connsiteY16" fmla="*/ 32630 h 48231"/>
                    <a:gd name="connsiteX17" fmla="*/ 287792 w 287792"/>
                    <a:gd name="connsiteY17" fmla="*/ 41721 h 48231"/>
                    <a:gd name="connsiteX18" fmla="*/ 287254 w 287792"/>
                    <a:gd name="connsiteY18" fmla="*/ 41721 h 48231"/>
                    <a:gd name="connsiteX19" fmla="*/ 276190 w 287792"/>
                    <a:gd name="connsiteY19" fmla="*/ 33049 h 48231"/>
                    <a:gd name="connsiteX20" fmla="*/ 259324 w 287792"/>
                    <a:gd name="connsiteY20" fmla="*/ 30297 h 48231"/>
                    <a:gd name="connsiteX21" fmla="*/ 248499 w 287792"/>
                    <a:gd name="connsiteY21" fmla="*/ 41123 h 48231"/>
                    <a:gd name="connsiteX22" fmla="*/ 243176 w 287792"/>
                    <a:gd name="connsiteY22" fmla="*/ 48180 h 48231"/>
                    <a:gd name="connsiteX23" fmla="*/ 239947 w 287792"/>
                    <a:gd name="connsiteY23" fmla="*/ 47462 h 48231"/>
                    <a:gd name="connsiteX24" fmla="*/ 217698 w 287792"/>
                    <a:gd name="connsiteY24" fmla="*/ 23420 h 48231"/>
                    <a:gd name="connsiteX25" fmla="*/ 197244 w 287792"/>
                    <a:gd name="connsiteY25" fmla="*/ 992 h 48231"/>
                    <a:gd name="connsiteX26" fmla="*/ 194912 w 287792"/>
                    <a:gd name="connsiteY26" fmla="*/ 454 h 48231"/>
                    <a:gd name="connsiteX27" fmla="*/ 188393 w 287792"/>
                    <a:gd name="connsiteY27" fmla="*/ 16123 h 48231"/>
                    <a:gd name="connsiteX28" fmla="*/ 169374 w 287792"/>
                    <a:gd name="connsiteY28" fmla="*/ 47522 h 48231"/>
                    <a:gd name="connsiteX29" fmla="*/ 127628 w 287792"/>
                    <a:gd name="connsiteY29" fmla="*/ 33766 h 48231"/>
                    <a:gd name="connsiteX30" fmla="*/ 95093 w 287792"/>
                    <a:gd name="connsiteY30" fmla="*/ 22164 h 48231"/>
                    <a:gd name="connsiteX31" fmla="*/ 83491 w 287792"/>
                    <a:gd name="connsiteY31" fmla="*/ 32510 h 48231"/>
                    <a:gd name="connsiteX32" fmla="*/ 72426 w 287792"/>
                    <a:gd name="connsiteY32" fmla="*/ 42558 h 48231"/>
                    <a:gd name="connsiteX33" fmla="*/ 42044 w 287792"/>
                    <a:gd name="connsiteY33" fmla="*/ 34005 h 48231"/>
                    <a:gd name="connsiteX34" fmla="*/ 478 w 287792"/>
                    <a:gd name="connsiteY34" fmla="*/ 23719 h 48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87792" h="48231">
                      <a:moveTo>
                        <a:pt x="478" y="23719"/>
                      </a:moveTo>
                      <a:lnTo>
                        <a:pt x="0" y="23180"/>
                      </a:lnTo>
                      <a:cubicBezTo>
                        <a:pt x="12440" y="20968"/>
                        <a:pt x="28109" y="27726"/>
                        <a:pt x="41984" y="33706"/>
                      </a:cubicBezTo>
                      <a:cubicBezTo>
                        <a:pt x="53647" y="38730"/>
                        <a:pt x="64652" y="43455"/>
                        <a:pt x="71948" y="42199"/>
                      </a:cubicBezTo>
                      <a:cubicBezTo>
                        <a:pt x="79902" y="40823"/>
                        <a:pt x="81338" y="36637"/>
                        <a:pt x="82893" y="32271"/>
                      </a:cubicBezTo>
                      <a:cubicBezTo>
                        <a:pt x="84448" y="27905"/>
                        <a:pt x="86002" y="23360"/>
                        <a:pt x="94615" y="21805"/>
                      </a:cubicBezTo>
                      <a:cubicBezTo>
                        <a:pt x="102689" y="20369"/>
                        <a:pt x="114830" y="26769"/>
                        <a:pt x="127688" y="33527"/>
                      </a:cubicBezTo>
                      <a:cubicBezTo>
                        <a:pt x="142341" y="41182"/>
                        <a:pt x="157472" y="49137"/>
                        <a:pt x="168896" y="47163"/>
                      </a:cubicBezTo>
                      <a:cubicBezTo>
                        <a:pt x="181993" y="44831"/>
                        <a:pt x="185163" y="28802"/>
                        <a:pt x="187735" y="15884"/>
                      </a:cubicBezTo>
                      <a:cubicBezTo>
                        <a:pt x="189409" y="7391"/>
                        <a:pt x="190785" y="693"/>
                        <a:pt x="194433" y="35"/>
                      </a:cubicBezTo>
                      <a:cubicBezTo>
                        <a:pt x="195211" y="-85"/>
                        <a:pt x="196168" y="95"/>
                        <a:pt x="197304" y="693"/>
                      </a:cubicBezTo>
                      <a:cubicBezTo>
                        <a:pt x="202447" y="3324"/>
                        <a:pt x="210102" y="13133"/>
                        <a:pt x="218237" y="23479"/>
                      </a:cubicBezTo>
                      <a:cubicBezTo>
                        <a:pt x="226310" y="33766"/>
                        <a:pt x="234624" y="44412"/>
                        <a:pt x="239947" y="47103"/>
                      </a:cubicBezTo>
                      <a:cubicBezTo>
                        <a:pt x="241023" y="47642"/>
                        <a:pt x="241920" y="47821"/>
                        <a:pt x="242697" y="47701"/>
                      </a:cubicBezTo>
                      <a:cubicBezTo>
                        <a:pt x="246884" y="46984"/>
                        <a:pt x="247363" y="44113"/>
                        <a:pt x="247841" y="40764"/>
                      </a:cubicBezTo>
                      <a:cubicBezTo>
                        <a:pt x="248499" y="36398"/>
                        <a:pt x="249276" y="31434"/>
                        <a:pt x="258845" y="29759"/>
                      </a:cubicBezTo>
                      <a:cubicBezTo>
                        <a:pt x="264647" y="28742"/>
                        <a:pt x="270508" y="29699"/>
                        <a:pt x="276249" y="32630"/>
                      </a:cubicBezTo>
                      <a:cubicBezTo>
                        <a:pt x="283366" y="36218"/>
                        <a:pt x="287613" y="41481"/>
                        <a:pt x="287792" y="41721"/>
                      </a:cubicBezTo>
                      <a:lnTo>
                        <a:pt x="287254" y="41721"/>
                      </a:lnTo>
                      <a:cubicBezTo>
                        <a:pt x="287194" y="41661"/>
                        <a:pt x="283007" y="36517"/>
                        <a:pt x="276190" y="33049"/>
                      </a:cubicBezTo>
                      <a:cubicBezTo>
                        <a:pt x="270628" y="30238"/>
                        <a:pt x="265006" y="29341"/>
                        <a:pt x="259324" y="30297"/>
                      </a:cubicBezTo>
                      <a:cubicBezTo>
                        <a:pt x="249934" y="31972"/>
                        <a:pt x="249157" y="36816"/>
                        <a:pt x="248499" y="41123"/>
                      </a:cubicBezTo>
                      <a:cubicBezTo>
                        <a:pt x="247961" y="44532"/>
                        <a:pt x="247542" y="47402"/>
                        <a:pt x="243176" y="48180"/>
                      </a:cubicBezTo>
                      <a:cubicBezTo>
                        <a:pt x="242279" y="48359"/>
                        <a:pt x="241202" y="48060"/>
                        <a:pt x="239947" y="47462"/>
                      </a:cubicBezTo>
                      <a:cubicBezTo>
                        <a:pt x="234325" y="44591"/>
                        <a:pt x="225892" y="33826"/>
                        <a:pt x="217698" y="23420"/>
                      </a:cubicBezTo>
                      <a:cubicBezTo>
                        <a:pt x="209983" y="13611"/>
                        <a:pt x="202029" y="3504"/>
                        <a:pt x="197244" y="992"/>
                      </a:cubicBezTo>
                      <a:cubicBezTo>
                        <a:pt x="196347" y="513"/>
                        <a:pt x="195569" y="334"/>
                        <a:pt x="194912" y="454"/>
                      </a:cubicBezTo>
                      <a:cubicBezTo>
                        <a:pt x="191383" y="1052"/>
                        <a:pt x="190007" y="8049"/>
                        <a:pt x="188393" y="16123"/>
                      </a:cubicBezTo>
                      <a:cubicBezTo>
                        <a:pt x="185821" y="29101"/>
                        <a:pt x="182651" y="45189"/>
                        <a:pt x="169374" y="47522"/>
                      </a:cubicBezTo>
                      <a:cubicBezTo>
                        <a:pt x="157771" y="49555"/>
                        <a:pt x="142460" y="41541"/>
                        <a:pt x="127628" y="33766"/>
                      </a:cubicBezTo>
                      <a:cubicBezTo>
                        <a:pt x="114889" y="27128"/>
                        <a:pt x="102928" y="20788"/>
                        <a:pt x="95093" y="22164"/>
                      </a:cubicBezTo>
                      <a:cubicBezTo>
                        <a:pt x="86601" y="23659"/>
                        <a:pt x="85046" y="28144"/>
                        <a:pt x="83491" y="32510"/>
                      </a:cubicBezTo>
                      <a:cubicBezTo>
                        <a:pt x="81995" y="36757"/>
                        <a:pt x="80500" y="41182"/>
                        <a:pt x="72426" y="42558"/>
                      </a:cubicBezTo>
                      <a:cubicBezTo>
                        <a:pt x="64891" y="43874"/>
                        <a:pt x="53827" y="39089"/>
                        <a:pt x="42044" y="34005"/>
                      </a:cubicBezTo>
                      <a:cubicBezTo>
                        <a:pt x="28349" y="28264"/>
                        <a:pt x="12798" y="21566"/>
                        <a:pt x="478" y="2371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11" name="Vrije vorm: vorm 9310">
                  <a:extLst>
                    <a:ext uri="{FF2B5EF4-FFF2-40B4-BE49-F238E27FC236}">
                      <a16:creationId xmlns:a16="http://schemas.microsoft.com/office/drawing/2014/main" id="{CE1A95B4-FD25-4E67-8A3A-1A304E456A4B}"/>
                    </a:ext>
                  </a:extLst>
                </p:cNvPr>
                <p:cNvSpPr/>
                <p:nvPr/>
              </p:nvSpPr>
              <p:spPr>
                <a:xfrm>
                  <a:off x="4923914" y="943278"/>
                  <a:ext cx="12925" cy="12761"/>
                </a:xfrm>
                <a:custGeom>
                  <a:avLst/>
                  <a:gdLst>
                    <a:gd name="connsiteX0" fmla="*/ 512 w 12925"/>
                    <a:gd name="connsiteY0" fmla="*/ 7278 h 12761"/>
                    <a:gd name="connsiteX1" fmla="*/ 3801 w 12925"/>
                    <a:gd name="connsiteY1" fmla="*/ 101 h 12761"/>
                    <a:gd name="connsiteX2" fmla="*/ 6732 w 12925"/>
                    <a:gd name="connsiteY2" fmla="*/ 280 h 12761"/>
                    <a:gd name="connsiteX3" fmla="*/ 12414 w 12925"/>
                    <a:gd name="connsiteY3" fmla="*/ 5484 h 12761"/>
                    <a:gd name="connsiteX4" fmla="*/ 9124 w 12925"/>
                    <a:gd name="connsiteY4" fmla="*/ 12660 h 12761"/>
                    <a:gd name="connsiteX5" fmla="*/ 6194 w 12925"/>
                    <a:gd name="connsiteY5" fmla="*/ 12481 h 12761"/>
                    <a:gd name="connsiteX6" fmla="*/ 512 w 12925"/>
                    <a:gd name="connsiteY6" fmla="*/ 7278 h 12761"/>
                    <a:gd name="connsiteX7" fmla="*/ 4280 w 12925"/>
                    <a:gd name="connsiteY7" fmla="*/ 639 h 12761"/>
                    <a:gd name="connsiteX8" fmla="*/ 1110 w 12925"/>
                    <a:gd name="connsiteY8" fmla="*/ 7517 h 12761"/>
                    <a:gd name="connsiteX9" fmla="*/ 5955 w 12925"/>
                    <a:gd name="connsiteY9" fmla="*/ 12062 h 12761"/>
                    <a:gd name="connsiteX10" fmla="*/ 8586 w 12925"/>
                    <a:gd name="connsiteY10" fmla="*/ 12242 h 12761"/>
                    <a:gd name="connsiteX11" fmla="*/ 11756 w 12925"/>
                    <a:gd name="connsiteY11" fmla="*/ 5364 h 12761"/>
                    <a:gd name="connsiteX12" fmla="*/ 6912 w 12925"/>
                    <a:gd name="connsiteY12" fmla="*/ 819 h 12761"/>
                    <a:gd name="connsiteX13" fmla="*/ 4280 w 12925"/>
                    <a:gd name="connsiteY13" fmla="*/ 639 h 1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25" h="12761">
                      <a:moveTo>
                        <a:pt x="512" y="7278"/>
                      </a:moveTo>
                      <a:cubicBezTo>
                        <a:pt x="-863" y="3869"/>
                        <a:pt x="632" y="639"/>
                        <a:pt x="3801" y="101"/>
                      </a:cubicBezTo>
                      <a:cubicBezTo>
                        <a:pt x="4759" y="-78"/>
                        <a:pt x="5715" y="-19"/>
                        <a:pt x="6732" y="280"/>
                      </a:cubicBezTo>
                      <a:cubicBezTo>
                        <a:pt x="9244" y="998"/>
                        <a:pt x="11457" y="3091"/>
                        <a:pt x="12414" y="5484"/>
                      </a:cubicBezTo>
                      <a:cubicBezTo>
                        <a:pt x="13789" y="8893"/>
                        <a:pt x="12294" y="12122"/>
                        <a:pt x="9124" y="12660"/>
                      </a:cubicBezTo>
                      <a:cubicBezTo>
                        <a:pt x="8227" y="12840"/>
                        <a:pt x="7210" y="12780"/>
                        <a:pt x="6194" y="12481"/>
                      </a:cubicBezTo>
                      <a:cubicBezTo>
                        <a:pt x="3682" y="11763"/>
                        <a:pt x="1469" y="9730"/>
                        <a:pt x="512" y="7278"/>
                      </a:cubicBezTo>
                      <a:close/>
                      <a:moveTo>
                        <a:pt x="4280" y="639"/>
                      </a:moveTo>
                      <a:cubicBezTo>
                        <a:pt x="1230" y="1177"/>
                        <a:pt x="-146" y="4228"/>
                        <a:pt x="1110" y="7517"/>
                      </a:cubicBezTo>
                      <a:cubicBezTo>
                        <a:pt x="1947" y="9670"/>
                        <a:pt x="3801" y="11404"/>
                        <a:pt x="5955" y="12062"/>
                      </a:cubicBezTo>
                      <a:cubicBezTo>
                        <a:pt x="6852" y="12302"/>
                        <a:pt x="7749" y="12361"/>
                        <a:pt x="8586" y="12242"/>
                      </a:cubicBezTo>
                      <a:cubicBezTo>
                        <a:pt x="11636" y="11704"/>
                        <a:pt x="13012" y="8653"/>
                        <a:pt x="11756" y="5364"/>
                      </a:cubicBezTo>
                      <a:cubicBezTo>
                        <a:pt x="10918" y="3211"/>
                        <a:pt x="9064" y="1476"/>
                        <a:pt x="6912" y="819"/>
                      </a:cubicBezTo>
                      <a:cubicBezTo>
                        <a:pt x="6014" y="520"/>
                        <a:pt x="5117" y="460"/>
                        <a:pt x="4280" y="63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12" name="Vrije vorm: vorm 9311">
                  <a:extLst>
                    <a:ext uri="{FF2B5EF4-FFF2-40B4-BE49-F238E27FC236}">
                      <a16:creationId xmlns:a16="http://schemas.microsoft.com/office/drawing/2014/main" id="{FA63A9D9-56B0-4559-8E43-991D662D9237}"/>
                    </a:ext>
                  </a:extLst>
                </p:cNvPr>
                <p:cNvSpPr/>
                <p:nvPr/>
              </p:nvSpPr>
              <p:spPr>
                <a:xfrm>
                  <a:off x="4931543" y="955580"/>
                  <a:ext cx="23982" cy="59149"/>
                </a:xfrm>
                <a:custGeom>
                  <a:avLst/>
                  <a:gdLst>
                    <a:gd name="connsiteX0" fmla="*/ 23325 w 23982"/>
                    <a:gd name="connsiteY0" fmla="*/ 58910 h 59149"/>
                    <a:gd name="connsiteX1" fmla="*/ 23983 w 23982"/>
                    <a:gd name="connsiteY1" fmla="*/ 59149 h 59149"/>
                    <a:gd name="connsiteX2" fmla="*/ 598 w 23982"/>
                    <a:gd name="connsiteY2" fmla="*/ 179 h 59149"/>
                    <a:gd name="connsiteX3" fmla="*/ 0 w 23982"/>
                    <a:gd name="connsiteY3" fmla="*/ 0 h 59149"/>
                  </a:gdLst>
                  <a:ahLst/>
                  <a:cxnLst>
                    <a:cxn ang="0">
                      <a:pos x="connsiteX0" y="connsiteY0"/>
                    </a:cxn>
                    <a:cxn ang="0">
                      <a:pos x="connsiteX1" y="connsiteY1"/>
                    </a:cxn>
                    <a:cxn ang="0">
                      <a:pos x="connsiteX2" y="connsiteY2"/>
                    </a:cxn>
                    <a:cxn ang="0">
                      <a:pos x="connsiteX3" y="connsiteY3"/>
                    </a:cxn>
                  </a:cxnLst>
                  <a:rect l="l" t="t" r="r" b="b"/>
                  <a:pathLst>
                    <a:path w="23982" h="59149">
                      <a:moveTo>
                        <a:pt x="23325" y="58910"/>
                      </a:moveTo>
                      <a:lnTo>
                        <a:pt x="23983" y="59149"/>
                      </a:lnTo>
                      <a:lnTo>
                        <a:pt x="598" y="179"/>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9313" name="Vrije vorm: vorm 9312">
                  <a:extLst>
                    <a:ext uri="{FF2B5EF4-FFF2-40B4-BE49-F238E27FC236}">
                      <a16:creationId xmlns:a16="http://schemas.microsoft.com/office/drawing/2014/main" id="{8BC50812-9694-40A7-B8CE-1269F0E0BF75}"/>
                    </a:ext>
                  </a:extLst>
                </p:cNvPr>
                <p:cNvSpPr/>
                <p:nvPr/>
              </p:nvSpPr>
              <p:spPr>
                <a:xfrm>
                  <a:off x="4969966" y="922047"/>
                  <a:ext cx="12925" cy="12818"/>
                </a:xfrm>
                <a:custGeom>
                  <a:avLst/>
                  <a:gdLst>
                    <a:gd name="connsiteX0" fmla="*/ 512 w 12925"/>
                    <a:gd name="connsiteY0" fmla="*/ 7278 h 12818"/>
                    <a:gd name="connsiteX1" fmla="*/ 3801 w 12925"/>
                    <a:gd name="connsiteY1" fmla="*/ 101 h 12818"/>
                    <a:gd name="connsiteX2" fmla="*/ 6732 w 12925"/>
                    <a:gd name="connsiteY2" fmla="*/ 280 h 12818"/>
                    <a:gd name="connsiteX3" fmla="*/ 12414 w 12925"/>
                    <a:gd name="connsiteY3" fmla="*/ 5484 h 12818"/>
                    <a:gd name="connsiteX4" fmla="*/ 9124 w 12925"/>
                    <a:gd name="connsiteY4" fmla="*/ 12720 h 12818"/>
                    <a:gd name="connsiteX5" fmla="*/ 6194 w 12925"/>
                    <a:gd name="connsiteY5" fmla="*/ 12481 h 12818"/>
                    <a:gd name="connsiteX6" fmla="*/ 512 w 12925"/>
                    <a:gd name="connsiteY6" fmla="*/ 7278 h 12818"/>
                    <a:gd name="connsiteX7" fmla="*/ 4340 w 12925"/>
                    <a:gd name="connsiteY7" fmla="*/ 639 h 12818"/>
                    <a:gd name="connsiteX8" fmla="*/ 1170 w 12925"/>
                    <a:gd name="connsiteY8" fmla="*/ 7517 h 12818"/>
                    <a:gd name="connsiteX9" fmla="*/ 6014 w 12925"/>
                    <a:gd name="connsiteY9" fmla="*/ 12062 h 12818"/>
                    <a:gd name="connsiteX10" fmla="*/ 8646 w 12925"/>
                    <a:gd name="connsiteY10" fmla="*/ 12242 h 12818"/>
                    <a:gd name="connsiteX11" fmla="*/ 11816 w 12925"/>
                    <a:gd name="connsiteY11" fmla="*/ 5364 h 12818"/>
                    <a:gd name="connsiteX12" fmla="*/ 6971 w 12925"/>
                    <a:gd name="connsiteY12" fmla="*/ 819 h 12818"/>
                    <a:gd name="connsiteX13" fmla="*/ 4340 w 12925"/>
                    <a:gd name="connsiteY13" fmla="*/ 639 h 1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25" h="12818">
                      <a:moveTo>
                        <a:pt x="512" y="7278"/>
                      </a:moveTo>
                      <a:cubicBezTo>
                        <a:pt x="-863" y="3869"/>
                        <a:pt x="632" y="639"/>
                        <a:pt x="3801" y="101"/>
                      </a:cubicBezTo>
                      <a:cubicBezTo>
                        <a:pt x="4699" y="-79"/>
                        <a:pt x="5715" y="-19"/>
                        <a:pt x="6732" y="280"/>
                      </a:cubicBezTo>
                      <a:cubicBezTo>
                        <a:pt x="9244" y="998"/>
                        <a:pt x="11457" y="3091"/>
                        <a:pt x="12414" y="5484"/>
                      </a:cubicBezTo>
                      <a:cubicBezTo>
                        <a:pt x="13789" y="8893"/>
                        <a:pt x="12294" y="12122"/>
                        <a:pt x="9124" y="12720"/>
                      </a:cubicBezTo>
                      <a:cubicBezTo>
                        <a:pt x="8227" y="12900"/>
                        <a:pt x="7210" y="12840"/>
                        <a:pt x="6194" y="12481"/>
                      </a:cubicBezTo>
                      <a:cubicBezTo>
                        <a:pt x="3682" y="11763"/>
                        <a:pt x="1469" y="9730"/>
                        <a:pt x="512" y="7278"/>
                      </a:cubicBezTo>
                      <a:close/>
                      <a:moveTo>
                        <a:pt x="4340" y="639"/>
                      </a:moveTo>
                      <a:cubicBezTo>
                        <a:pt x="1290" y="1177"/>
                        <a:pt x="-86" y="4228"/>
                        <a:pt x="1170" y="7517"/>
                      </a:cubicBezTo>
                      <a:cubicBezTo>
                        <a:pt x="2007" y="9670"/>
                        <a:pt x="3861" y="11404"/>
                        <a:pt x="6014" y="12062"/>
                      </a:cubicBezTo>
                      <a:cubicBezTo>
                        <a:pt x="6912" y="12302"/>
                        <a:pt x="7808" y="12361"/>
                        <a:pt x="8646" y="12242"/>
                      </a:cubicBezTo>
                      <a:cubicBezTo>
                        <a:pt x="11696" y="11704"/>
                        <a:pt x="13071" y="8594"/>
                        <a:pt x="11816" y="5364"/>
                      </a:cubicBezTo>
                      <a:cubicBezTo>
                        <a:pt x="10978" y="3211"/>
                        <a:pt x="9124" y="1476"/>
                        <a:pt x="6971" y="819"/>
                      </a:cubicBezTo>
                      <a:cubicBezTo>
                        <a:pt x="6014" y="520"/>
                        <a:pt x="5177" y="460"/>
                        <a:pt x="4340" y="63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14" name="Vrije vorm: vorm 9313">
                  <a:extLst>
                    <a:ext uri="{FF2B5EF4-FFF2-40B4-BE49-F238E27FC236}">
                      <a16:creationId xmlns:a16="http://schemas.microsoft.com/office/drawing/2014/main" id="{07F8C61F-3807-4C4D-990B-9709A9CD0CCE}"/>
                    </a:ext>
                  </a:extLst>
                </p:cNvPr>
                <p:cNvSpPr/>
                <p:nvPr/>
              </p:nvSpPr>
              <p:spPr>
                <a:xfrm>
                  <a:off x="4977595" y="934348"/>
                  <a:ext cx="29604" cy="73263"/>
                </a:xfrm>
                <a:custGeom>
                  <a:avLst/>
                  <a:gdLst>
                    <a:gd name="connsiteX0" fmla="*/ 28946 w 29604"/>
                    <a:gd name="connsiteY0" fmla="*/ 73025 h 73263"/>
                    <a:gd name="connsiteX1" fmla="*/ 29605 w 29604"/>
                    <a:gd name="connsiteY1" fmla="*/ 73264 h 73263"/>
                    <a:gd name="connsiteX2" fmla="*/ 658 w 29604"/>
                    <a:gd name="connsiteY2" fmla="*/ 179 h 73263"/>
                    <a:gd name="connsiteX3" fmla="*/ 0 w 29604"/>
                    <a:gd name="connsiteY3" fmla="*/ 0 h 73263"/>
                  </a:gdLst>
                  <a:ahLst/>
                  <a:cxnLst>
                    <a:cxn ang="0">
                      <a:pos x="connsiteX0" y="connsiteY0"/>
                    </a:cxn>
                    <a:cxn ang="0">
                      <a:pos x="connsiteX1" y="connsiteY1"/>
                    </a:cxn>
                    <a:cxn ang="0">
                      <a:pos x="connsiteX2" y="connsiteY2"/>
                    </a:cxn>
                    <a:cxn ang="0">
                      <a:pos x="connsiteX3" y="connsiteY3"/>
                    </a:cxn>
                  </a:cxnLst>
                  <a:rect l="l" t="t" r="r" b="b"/>
                  <a:pathLst>
                    <a:path w="29604" h="73263">
                      <a:moveTo>
                        <a:pt x="28946" y="73025"/>
                      </a:moveTo>
                      <a:lnTo>
                        <a:pt x="29605" y="73264"/>
                      </a:lnTo>
                      <a:lnTo>
                        <a:pt x="658" y="179"/>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9315" name="Vrije vorm: vorm 9314">
                  <a:extLst>
                    <a:ext uri="{FF2B5EF4-FFF2-40B4-BE49-F238E27FC236}">
                      <a16:creationId xmlns:a16="http://schemas.microsoft.com/office/drawing/2014/main" id="{82D907D9-4E10-483E-B107-6AD06D9A4499}"/>
                    </a:ext>
                  </a:extLst>
                </p:cNvPr>
                <p:cNvSpPr/>
                <p:nvPr/>
              </p:nvSpPr>
              <p:spPr>
                <a:xfrm>
                  <a:off x="4797541" y="931855"/>
                  <a:ext cx="12925" cy="12761"/>
                </a:xfrm>
                <a:custGeom>
                  <a:avLst/>
                  <a:gdLst>
                    <a:gd name="connsiteX0" fmla="*/ 512 w 12925"/>
                    <a:gd name="connsiteY0" fmla="*/ 7278 h 12761"/>
                    <a:gd name="connsiteX1" fmla="*/ 3801 w 12925"/>
                    <a:gd name="connsiteY1" fmla="*/ 101 h 12761"/>
                    <a:gd name="connsiteX2" fmla="*/ 6732 w 12925"/>
                    <a:gd name="connsiteY2" fmla="*/ 280 h 12761"/>
                    <a:gd name="connsiteX3" fmla="*/ 12414 w 12925"/>
                    <a:gd name="connsiteY3" fmla="*/ 5484 h 12761"/>
                    <a:gd name="connsiteX4" fmla="*/ 9124 w 12925"/>
                    <a:gd name="connsiteY4" fmla="*/ 12660 h 12761"/>
                    <a:gd name="connsiteX5" fmla="*/ 6194 w 12925"/>
                    <a:gd name="connsiteY5" fmla="*/ 12481 h 12761"/>
                    <a:gd name="connsiteX6" fmla="*/ 512 w 12925"/>
                    <a:gd name="connsiteY6" fmla="*/ 7278 h 12761"/>
                    <a:gd name="connsiteX7" fmla="*/ 4340 w 12925"/>
                    <a:gd name="connsiteY7" fmla="*/ 579 h 12761"/>
                    <a:gd name="connsiteX8" fmla="*/ 1170 w 12925"/>
                    <a:gd name="connsiteY8" fmla="*/ 7457 h 12761"/>
                    <a:gd name="connsiteX9" fmla="*/ 6014 w 12925"/>
                    <a:gd name="connsiteY9" fmla="*/ 12003 h 12761"/>
                    <a:gd name="connsiteX10" fmla="*/ 8646 w 12925"/>
                    <a:gd name="connsiteY10" fmla="*/ 12182 h 12761"/>
                    <a:gd name="connsiteX11" fmla="*/ 11816 w 12925"/>
                    <a:gd name="connsiteY11" fmla="*/ 5304 h 12761"/>
                    <a:gd name="connsiteX12" fmla="*/ 6971 w 12925"/>
                    <a:gd name="connsiteY12" fmla="*/ 759 h 12761"/>
                    <a:gd name="connsiteX13" fmla="*/ 4340 w 12925"/>
                    <a:gd name="connsiteY13" fmla="*/ 579 h 1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25" h="12761">
                      <a:moveTo>
                        <a:pt x="512" y="7278"/>
                      </a:moveTo>
                      <a:cubicBezTo>
                        <a:pt x="-863" y="3869"/>
                        <a:pt x="632" y="639"/>
                        <a:pt x="3801" y="101"/>
                      </a:cubicBezTo>
                      <a:cubicBezTo>
                        <a:pt x="4699" y="-78"/>
                        <a:pt x="5715" y="-19"/>
                        <a:pt x="6732" y="280"/>
                      </a:cubicBezTo>
                      <a:cubicBezTo>
                        <a:pt x="9244" y="998"/>
                        <a:pt x="11457" y="3091"/>
                        <a:pt x="12414" y="5484"/>
                      </a:cubicBezTo>
                      <a:cubicBezTo>
                        <a:pt x="13789" y="8893"/>
                        <a:pt x="12294" y="12122"/>
                        <a:pt x="9124" y="12660"/>
                      </a:cubicBezTo>
                      <a:cubicBezTo>
                        <a:pt x="8168" y="12840"/>
                        <a:pt x="7210" y="12780"/>
                        <a:pt x="6194" y="12481"/>
                      </a:cubicBezTo>
                      <a:cubicBezTo>
                        <a:pt x="3682" y="11704"/>
                        <a:pt x="1469" y="9670"/>
                        <a:pt x="512" y="7278"/>
                      </a:cubicBezTo>
                      <a:close/>
                      <a:moveTo>
                        <a:pt x="4340" y="579"/>
                      </a:moveTo>
                      <a:cubicBezTo>
                        <a:pt x="1290" y="1118"/>
                        <a:pt x="-86" y="4168"/>
                        <a:pt x="1170" y="7457"/>
                      </a:cubicBezTo>
                      <a:cubicBezTo>
                        <a:pt x="2007" y="9610"/>
                        <a:pt x="3861" y="11345"/>
                        <a:pt x="6014" y="12003"/>
                      </a:cubicBezTo>
                      <a:cubicBezTo>
                        <a:pt x="6912" y="12242"/>
                        <a:pt x="7809" y="12302"/>
                        <a:pt x="8646" y="12182"/>
                      </a:cubicBezTo>
                      <a:cubicBezTo>
                        <a:pt x="11696" y="11644"/>
                        <a:pt x="13072" y="8594"/>
                        <a:pt x="11816" y="5304"/>
                      </a:cubicBezTo>
                      <a:cubicBezTo>
                        <a:pt x="10978" y="3151"/>
                        <a:pt x="9124" y="1417"/>
                        <a:pt x="6971" y="759"/>
                      </a:cubicBezTo>
                      <a:cubicBezTo>
                        <a:pt x="6014" y="520"/>
                        <a:pt x="5177" y="460"/>
                        <a:pt x="4340" y="5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16" name="Vrije vorm: vorm 9315">
                  <a:extLst>
                    <a:ext uri="{FF2B5EF4-FFF2-40B4-BE49-F238E27FC236}">
                      <a16:creationId xmlns:a16="http://schemas.microsoft.com/office/drawing/2014/main" id="{84BFD525-A25A-4908-8F80-0493626A4E83}"/>
                    </a:ext>
                  </a:extLst>
                </p:cNvPr>
                <p:cNvSpPr/>
                <p:nvPr/>
              </p:nvSpPr>
              <p:spPr>
                <a:xfrm>
                  <a:off x="4805171" y="944097"/>
                  <a:ext cx="37140" cy="92162"/>
                </a:xfrm>
                <a:custGeom>
                  <a:avLst/>
                  <a:gdLst>
                    <a:gd name="connsiteX0" fmla="*/ 36483 w 37140"/>
                    <a:gd name="connsiteY0" fmla="*/ 91984 h 92162"/>
                    <a:gd name="connsiteX1" fmla="*/ 37140 w 37140"/>
                    <a:gd name="connsiteY1" fmla="*/ 92163 h 92162"/>
                    <a:gd name="connsiteX2" fmla="*/ 658 w 37140"/>
                    <a:gd name="connsiteY2" fmla="*/ 239 h 92162"/>
                    <a:gd name="connsiteX3" fmla="*/ 0 w 37140"/>
                    <a:gd name="connsiteY3" fmla="*/ 0 h 92162"/>
                  </a:gdLst>
                  <a:ahLst/>
                  <a:cxnLst>
                    <a:cxn ang="0">
                      <a:pos x="connsiteX0" y="connsiteY0"/>
                    </a:cxn>
                    <a:cxn ang="0">
                      <a:pos x="connsiteX1" y="connsiteY1"/>
                    </a:cxn>
                    <a:cxn ang="0">
                      <a:pos x="connsiteX2" y="connsiteY2"/>
                    </a:cxn>
                    <a:cxn ang="0">
                      <a:pos x="connsiteX3" y="connsiteY3"/>
                    </a:cxn>
                  </a:cxnLst>
                  <a:rect l="l" t="t" r="r" b="b"/>
                  <a:pathLst>
                    <a:path w="37140" h="92162">
                      <a:moveTo>
                        <a:pt x="36483" y="91984"/>
                      </a:moveTo>
                      <a:lnTo>
                        <a:pt x="37140" y="92163"/>
                      </a:lnTo>
                      <a:lnTo>
                        <a:pt x="658" y="239"/>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9317" name="Vrije vorm: vorm 9316">
                  <a:extLst>
                    <a:ext uri="{FF2B5EF4-FFF2-40B4-BE49-F238E27FC236}">
                      <a16:creationId xmlns:a16="http://schemas.microsoft.com/office/drawing/2014/main" id="{025F5284-0117-4F59-B7F4-04C45AB99BCE}"/>
                    </a:ext>
                  </a:extLst>
                </p:cNvPr>
                <p:cNvSpPr/>
                <p:nvPr/>
              </p:nvSpPr>
              <p:spPr>
                <a:xfrm>
                  <a:off x="4881272" y="974617"/>
                  <a:ext cx="12925" cy="12818"/>
                </a:xfrm>
                <a:custGeom>
                  <a:avLst/>
                  <a:gdLst>
                    <a:gd name="connsiteX0" fmla="*/ 512 w 12925"/>
                    <a:gd name="connsiteY0" fmla="*/ 7278 h 12818"/>
                    <a:gd name="connsiteX1" fmla="*/ 3801 w 12925"/>
                    <a:gd name="connsiteY1" fmla="*/ 101 h 12818"/>
                    <a:gd name="connsiteX2" fmla="*/ 6732 w 12925"/>
                    <a:gd name="connsiteY2" fmla="*/ 280 h 12818"/>
                    <a:gd name="connsiteX3" fmla="*/ 12414 w 12925"/>
                    <a:gd name="connsiteY3" fmla="*/ 5484 h 12818"/>
                    <a:gd name="connsiteX4" fmla="*/ 9124 w 12925"/>
                    <a:gd name="connsiteY4" fmla="*/ 12720 h 12818"/>
                    <a:gd name="connsiteX5" fmla="*/ 6194 w 12925"/>
                    <a:gd name="connsiteY5" fmla="*/ 12481 h 12818"/>
                    <a:gd name="connsiteX6" fmla="*/ 512 w 12925"/>
                    <a:gd name="connsiteY6" fmla="*/ 7278 h 12818"/>
                    <a:gd name="connsiteX7" fmla="*/ 4280 w 12925"/>
                    <a:gd name="connsiteY7" fmla="*/ 579 h 12818"/>
                    <a:gd name="connsiteX8" fmla="*/ 1110 w 12925"/>
                    <a:gd name="connsiteY8" fmla="*/ 7457 h 12818"/>
                    <a:gd name="connsiteX9" fmla="*/ 5955 w 12925"/>
                    <a:gd name="connsiteY9" fmla="*/ 12003 h 12818"/>
                    <a:gd name="connsiteX10" fmla="*/ 8586 w 12925"/>
                    <a:gd name="connsiteY10" fmla="*/ 12182 h 12818"/>
                    <a:gd name="connsiteX11" fmla="*/ 11756 w 12925"/>
                    <a:gd name="connsiteY11" fmla="*/ 5304 h 12818"/>
                    <a:gd name="connsiteX12" fmla="*/ 6912 w 12925"/>
                    <a:gd name="connsiteY12" fmla="*/ 759 h 12818"/>
                    <a:gd name="connsiteX13" fmla="*/ 4280 w 12925"/>
                    <a:gd name="connsiteY13" fmla="*/ 579 h 1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25" h="12818">
                      <a:moveTo>
                        <a:pt x="512" y="7278"/>
                      </a:moveTo>
                      <a:cubicBezTo>
                        <a:pt x="-863" y="3869"/>
                        <a:pt x="632" y="639"/>
                        <a:pt x="3801" y="101"/>
                      </a:cubicBezTo>
                      <a:cubicBezTo>
                        <a:pt x="4759" y="-79"/>
                        <a:pt x="5715" y="-19"/>
                        <a:pt x="6732" y="280"/>
                      </a:cubicBezTo>
                      <a:cubicBezTo>
                        <a:pt x="9244" y="998"/>
                        <a:pt x="11457" y="3091"/>
                        <a:pt x="12414" y="5484"/>
                      </a:cubicBezTo>
                      <a:cubicBezTo>
                        <a:pt x="13789" y="8893"/>
                        <a:pt x="12294" y="12122"/>
                        <a:pt x="9124" y="12720"/>
                      </a:cubicBezTo>
                      <a:cubicBezTo>
                        <a:pt x="8227" y="12900"/>
                        <a:pt x="7210" y="12840"/>
                        <a:pt x="6194" y="12481"/>
                      </a:cubicBezTo>
                      <a:cubicBezTo>
                        <a:pt x="3682" y="11763"/>
                        <a:pt x="1469" y="9670"/>
                        <a:pt x="512" y="7278"/>
                      </a:cubicBezTo>
                      <a:close/>
                      <a:moveTo>
                        <a:pt x="4280" y="579"/>
                      </a:moveTo>
                      <a:cubicBezTo>
                        <a:pt x="1230" y="1118"/>
                        <a:pt x="-146" y="4168"/>
                        <a:pt x="1110" y="7457"/>
                      </a:cubicBezTo>
                      <a:cubicBezTo>
                        <a:pt x="1947" y="9610"/>
                        <a:pt x="3801" y="11345"/>
                        <a:pt x="5955" y="12003"/>
                      </a:cubicBezTo>
                      <a:cubicBezTo>
                        <a:pt x="6852" y="12242"/>
                        <a:pt x="7749" y="12302"/>
                        <a:pt x="8586" y="12182"/>
                      </a:cubicBezTo>
                      <a:cubicBezTo>
                        <a:pt x="11636" y="11644"/>
                        <a:pt x="13012" y="8594"/>
                        <a:pt x="11756" y="5304"/>
                      </a:cubicBezTo>
                      <a:cubicBezTo>
                        <a:pt x="10918" y="3151"/>
                        <a:pt x="9064" y="1417"/>
                        <a:pt x="6912" y="759"/>
                      </a:cubicBezTo>
                      <a:cubicBezTo>
                        <a:pt x="6014" y="520"/>
                        <a:pt x="5177" y="460"/>
                        <a:pt x="4280" y="5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18" name="Vrije vorm: vorm 9317">
                  <a:extLst>
                    <a:ext uri="{FF2B5EF4-FFF2-40B4-BE49-F238E27FC236}">
                      <a16:creationId xmlns:a16="http://schemas.microsoft.com/office/drawing/2014/main" id="{E7F7CCEE-C691-4F22-B51D-CB6359C0CF8A}"/>
                    </a:ext>
                  </a:extLst>
                </p:cNvPr>
                <p:cNvSpPr/>
                <p:nvPr/>
              </p:nvSpPr>
              <p:spPr>
                <a:xfrm>
                  <a:off x="4888901" y="986919"/>
                  <a:ext cx="17164" cy="41865"/>
                </a:xfrm>
                <a:custGeom>
                  <a:avLst/>
                  <a:gdLst>
                    <a:gd name="connsiteX0" fmla="*/ 16507 w 17164"/>
                    <a:gd name="connsiteY0" fmla="*/ 41686 h 41865"/>
                    <a:gd name="connsiteX1" fmla="*/ 17165 w 17164"/>
                    <a:gd name="connsiteY1" fmla="*/ 41865 h 41865"/>
                    <a:gd name="connsiteX2" fmla="*/ 658 w 17164"/>
                    <a:gd name="connsiteY2" fmla="*/ 179 h 41865"/>
                    <a:gd name="connsiteX3" fmla="*/ 0 w 17164"/>
                    <a:gd name="connsiteY3" fmla="*/ 0 h 41865"/>
                  </a:gdLst>
                  <a:ahLst/>
                  <a:cxnLst>
                    <a:cxn ang="0">
                      <a:pos x="connsiteX0" y="connsiteY0"/>
                    </a:cxn>
                    <a:cxn ang="0">
                      <a:pos x="connsiteX1" y="connsiteY1"/>
                    </a:cxn>
                    <a:cxn ang="0">
                      <a:pos x="connsiteX2" y="connsiteY2"/>
                    </a:cxn>
                    <a:cxn ang="0">
                      <a:pos x="connsiteX3" y="connsiteY3"/>
                    </a:cxn>
                  </a:cxnLst>
                  <a:rect l="l" t="t" r="r" b="b"/>
                  <a:pathLst>
                    <a:path w="17164" h="41865">
                      <a:moveTo>
                        <a:pt x="16507" y="41686"/>
                      </a:moveTo>
                      <a:lnTo>
                        <a:pt x="17165" y="41865"/>
                      </a:lnTo>
                      <a:lnTo>
                        <a:pt x="658" y="179"/>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9319" name="Vrije vorm: vorm 9318">
                  <a:extLst>
                    <a:ext uri="{FF2B5EF4-FFF2-40B4-BE49-F238E27FC236}">
                      <a16:creationId xmlns:a16="http://schemas.microsoft.com/office/drawing/2014/main" id="{5A5E3DF9-E151-4B9C-A495-FA659A19A6FD}"/>
                    </a:ext>
                  </a:extLst>
                </p:cNvPr>
                <p:cNvSpPr/>
                <p:nvPr/>
              </p:nvSpPr>
              <p:spPr>
                <a:xfrm>
                  <a:off x="5012608" y="926712"/>
                  <a:ext cx="12925" cy="12761"/>
                </a:xfrm>
                <a:custGeom>
                  <a:avLst/>
                  <a:gdLst>
                    <a:gd name="connsiteX0" fmla="*/ 512 w 12925"/>
                    <a:gd name="connsiteY0" fmla="*/ 7278 h 12761"/>
                    <a:gd name="connsiteX1" fmla="*/ 3801 w 12925"/>
                    <a:gd name="connsiteY1" fmla="*/ 101 h 12761"/>
                    <a:gd name="connsiteX2" fmla="*/ 6732 w 12925"/>
                    <a:gd name="connsiteY2" fmla="*/ 280 h 12761"/>
                    <a:gd name="connsiteX3" fmla="*/ 12414 w 12925"/>
                    <a:gd name="connsiteY3" fmla="*/ 5484 h 12761"/>
                    <a:gd name="connsiteX4" fmla="*/ 9124 w 12925"/>
                    <a:gd name="connsiteY4" fmla="*/ 12660 h 12761"/>
                    <a:gd name="connsiteX5" fmla="*/ 6194 w 12925"/>
                    <a:gd name="connsiteY5" fmla="*/ 12481 h 12761"/>
                    <a:gd name="connsiteX6" fmla="*/ 512 w 12925"/>
                    <a:gd name="connsiteY6" fmla="*/ 7278 h 12761"/>
                    <a:gd name="connsiteX7" fmla="*/ 4340 w 12925"/>
                    <a:gd name="connsiteY7" fmla="*/ 579 h 12761"/>
                    <a:gd name="connsiteX8" fmla="*/ 1230 w 12925"/>
                    <a:gd name="connsiteY8" fmla="*/ 7457 h 12761"/>
                    <a:gd name="connsiteX9" fmla="*/ 6074 w 12925"/>
                    <a:gd name="connsiteY9" fmla="*/ 11943 h 12761"/>
                    <a:gd name="connsiteX10" fmla="*/ 8706 w 12925"/>
                    <a:gd name="connsiteY10" fmla="*/ 12122 h 12761"/>
                    <a:gd name="connsiteX11" fmla="*/ 11875 w 12925"/>
                    <a:gd name="connsiteY11" fmla="*/ 5244 h 12761"/>
                    <a:gd name="connsiteX12" fmla="*/ 7031 w 12925"/>
                    <a:gd name="connsiteY12" fmla="*/ 699 h 12761"/>
                    <a:gd name="connsiteX13" fmla="*/ 4340 w 12925"/>
                    <a:gd name="connsiteY13" fmla="*/ 579 h 1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25" h="12761">
                      <a:moveTo>
                        <a:pt x="512" y="7278"/>
                      </a:moveTo>
                      <a:cubicBezTo>
                        <a:pt x="-863" y="3869"/>
                        <a:pt x="632" y="639"/>
                        <a:pt x="3801" y="101"/>
                      </a:cubicBezTo>
                      <a:cubicBezTo>
                        <a:pt x="4758" y="-78"/>
                        <a:pt x="5715" y="-19"/>
                        <a:pt x="6732" y="280"/>
                      </a:cubicBezTo>
                      <a:cubicBezTo>
                        <a:pt x="9244" y="998"/>
                        <a:pt x="11457" y="3091"/>
                        <a:pt x="12414" y="5484"/>
                      </a:cubicBezTo>
                      <a:cubicBezTo>
                        <a:pt x="13789" y="8893"/>
                        <a:pt x="12294" y="12122"/>
                        <a:pt x="9124" y="12660"/>
                      </a:cubicBezTo>
                      <a:cubicBezTo>
                        <a:pt x="8227" y="12840"/>
                        <a:pt x="7210" y="12780"/>
                        <a:pt x="6194" y="12481"/>
                      </a:cubicBezTo>
                      <a:cubicBezTo>
                        <a:pt x="3742" y="11763"/>
                        <a:pt x="1529" y="9670"/>
                        <a:pt x="512" y="7278"/>
                      </a:cubicBezTo>
                      <a:close/>
                      <a:moveTo>
                        <a:pt x="4340" y="579"/>
                      </a:moveTo>
                      <a:cubicBezTo>
                        <a:pt x="1290" y="1118"/>
                        <a:pt x="-86" y="4228"/>
                        <a:pt x="1230" y="7457"/>
                      </a:cubicBezTo>
                      <a:cubicBezTo>
                        <a:pt x="2067" y="9610"/>
                        <a:pt x="3921" y="11345"/>
                        <a:pt x="6074" y="11943"/>
                      </a:cubicBezTo>
                      <a:cubicBezTo>
                        <a:pt x="6971" y="12182"/>
                        <a:pt x="7868" y="12302"/>
                        <a:pt x="8706" y="12122"/>
                      </a:cubicBezTo>
                      <a:cubicBezTo>
                        <a:pt x="11756" y="11584"/>
                        <a:pt x="13131" y="8474"/>
                        <a:pt x="11875" y="5244"/>
                      </a:cubicBezTo>
                      <a:cubicBezTo>
                        <a:pt x="11038" y="3091"/>
                        <a:pt x="9184" y="1357"/>
                        <a:pt x="7031" y="699"/>
                      </a:cubicBezTo>
                      <a:cubicBezTo>
                        <a:pt x="6074" y="520"/>
                        <a:pt x="5177" y="460"/>
                        <a:pt x="4340" y="5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320" name="Vrije vorm: vorm 9319">
                  <a:extLst>
                    <a:ext uri="{FF2B5EF4-FFF2-40B4-BE49-F238E27FC236}">
                      <a16:creationId xmlns:a16="http://schemas.microsoft.com/office/drawing/2014/main" id="{29E1778D-486F-49C4-96AC-F762FF49BD35}"/>
                    </a:ext>
                  </a:extLst>
                </p:cNvPr>
                <p:cNvSpPr/>
                <p:nvPr/>
              </p:nvSpPr>
              <p:spPr>
                <a:xfrm>
                  <a:off x="5020237" y="938954"/>
                  <a:ext cx="17224" cy="41924"/>
                </a:xfrm>
                <a:custGeom>
                  <a:avLst/>
                  <a:gdLst>
                    <a:gd name="connsiteX0" fmla="*/ 16566 w 17224"/>
                    <a:gd name="connsiteY0" fmla="*/ 41745 h 41924"/>
                    <a:gd name="connsiteX1" fmla="*/ 17225 w 17224"/>
                    <a:gd name="connsiteY1" fmla="*/ 41925 h 41924"/>
                    <a:gd name="connsiteX2" fmla="*/ 658 w 17224"/>
                    <a:gd name="connsiteY2" fmla="*/ 239 h 41924"/>
                    <a:gd name="connsiteX3" fmla="*/ 0 w 17224"/>
                    <a:gd name="connsiteY3" fmla="*/ 0 h 41924"/>
                  </a:gdLst>
                  <a:ahLst/>
                  <a:cxnLst>
                    <a:cxn ang="0">
                      <a:pos x="connsiteX0" y="connsiteY0"/>
                    </a:cxn>
                    <a:cxn ang="0">
                      <a:pos x="connsiteX1" y="connsiteY1"/>
                    </a:cxn>
                    <a:cxn ang="0">
                      <a:pos x="connsiteX2" y="connsiteY2"/>
                    </a:cxn>
                    <a:cxn ang="0">
                      <a:pos x="connsiteX3" y="connsiteY3"/>
                    </a:cxn>
                  </a:cxnLst>
                  <a:rect l="l" t="t" r="r" b="b"/>
                  <a:pathLst>
                    <a:path w="17224" h="41924">
                      <a:moveTo>
                        <a:pt x="16566" y="41745"/>
                      </a:moveTo>
                      <a:lnTo>
                        <a:pt x="17225" y="41925"/>
                      </a:lnTo>
                      <a:lnTo>
                        <a:pt x="658" y="239"/>
                      </a:lnTo>
                      <a:lnTo>
                        <a:pt x="0" y="0"/>
                      </a:ln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050" name="Graphic 3">
                <a:extLst>
                  <a:ext uri="{FF2B5EF4-FFF2-40B4-BE49-F238E27FC236}">
                    <a16:creationId xmlns:a16="http://schemas.microsoft.com/office/drawing/2014/main" id="{A7880903-1706-42B0-A6D8-44BF87108164}"/>
                  </a:ext>
                </a:extLst>
              </p:cNvPr>
              <p:cNvGrpSpPr/>
              <p:nvPr/>
            </p:nvGrpSpPr>
            <p:grpSpPr>
              <a:xfrm>
                <a:off x="5353962" y="1131054"/>
                <a:ext cx="181036" cy="169852"/>
                <a:chOff x="5353962" y="1131054"/>
                <a:chExt cx="181036" cy="169852"/>
              </a:xfrm>
              <a:grpFill/>
            </p:grpSpPr>
            <p:grpSp>
              <p:nvGrpSpPr>
                <p:cNvPr id="9284" name="Graphic 3">
                  <a:extLst>
                    <a:ext uri="{FF2B5EF4-FFF2-40B4-BE49-F238E27FC236}">
                      <a16:creationId xmlns:a16="http://schemas.microsoft.com/office/drawing/2014/main" id="{EC3E4491-A717-4E24-A640-3F51CDB4DBEE}"/>
                    </a:ext>
                  </a:extLst>
                </p:cNvPr>
                <p:cNvGrpSpPr/>
                <p:nvPr/>
              </p:nvGrpSpPr>
              <p:grpSpPr>
                <a:xfrm>
                  <a:off x="5353962" y="1131054"/>
                  <a:ext cx="181036" cy="169852"/>
                  <a:chOff x="5353962" y="1131054"/>
                  <a:chExt cx="181036" cy="169852"/>
                </a:xfrm>
                <a:grpFill/>
              </p:grpSpPr>
              <p:sp>
                <p:nvSpPr>
                  <p:cNvPr id="9288" name="Vrije vorm: vorm 9287">
                    <a:extLst>
                      <a:ext uri="{FF2B5EF4-FFF2-40B4-BE49-F238E27FC236}">
                        <a16:creationId xmlns:a16="http://schemas.microsoft.com/office/drawing/2014/main" id="{39F52F04-C9CD-40F2-8F67-18A52B3AB234}"/>
                      </a:ext>
                    </a:extLst>
                  </p:cNvPr>
                  <p:cNvSpPr/>
                  <p:nvPr/>
                </p:nvSpPr>
                <p:spPr>
                  <a:xfrm>
                    <a:off x="5397621" y="1248635"/>
                    <a:ext cx="137377" cy="52271"/>
                  </a:xfrm>
                  <a:custGeom>
                    <a:avLst/>
                    <a:gdLst>
                      <a:gd name="connsiteX0" fmla="*/ 137377 w 137377"/>
                      <a:gd name="connsiteY0" fmla="*/ 299 h 52271"/>
                      <a:gd name="connsiteX1" fmla="*/ 120 w 137377"/>
                      <a:gd name="connsiteY1" fmla="*/ 52272 h 52271"/>
                      <a:gd name="connsiteX2" fmla="*/ 0 w 137377"/>
                      <a:gd name="connsiteY2" fmla="*/ 51972 h 52271"/>
                      <a:gd name="connsiteX3" fmla="*/ 137258 w 13737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77" h="52271">
                        <a:moveTo>
                          <a:pt x="137377" y="299"/>
                        </a:moveTo>
                        <a:lnTo>
                          <a:pt x="120" y="52272"/>
                        </a:lnTo>
                        <a:lnTo>
                          <a:pt x="0" y="51972"/>
                        </a:lnTo>
                        <a:lnTo>
                          <a:pt x="137258" y="0"/>
                        </a:lnTo>
                        <a:close/>
                      </a:path>
                    </a:pathLst>
                  </a:custGeom>
                  <a:grpFill/>
                  <a:ln w="6350" cap="flat">
                    <a:solidFill>
                      <a:schemeClr val="bg1">
                        <a:alpha val="40000"/>
                      </a:schemeClr>
                    </a:solidFill>
                    <a:prstDash val="solid"/>
                    <a:miter/>
                  </a:ln>
                </p:spPr>
                <p:txBody>
                  <a:bodyPr rtlCol="0" anchor="ctr"/>
                  <a:lstStyle/>
                  <a:p>
                    <a:endParaRPr lang="en-GB"/>
                  </a:p>
                </p:txBody>
              </p:sp>
              <p:sp>
                <p:nvSpPr>
                  <p:cNvPr id="9289" name="Vrije vorm: vorm 9288">
                    <a:extLst>
                      <a:ext uri="{FF2B5EF4-FFF2-40B4-BE49-F238E27FC236}">
                        <a16:creationId xmlns:a16="http://schemas.microsoft.com/office/drawing/2014/main" id="{3A1BBA13-C177-451A-8C28-66AF06EF1D3A}"/>
                      </a:ext>
                    </a:extLst>
                  </p:cNvPr>
                  <p:cNvSpPr/>
                  <p:nvPr/>
                </p:nvSpPr>
                <p:spPr>
                  <a:xfrm>
                    <a:off x="5390384" y="1229078"/>
                    <a:ext cx="137317" cy="52271"/>
                  </a:xfrm>
                  <a:custGeom>
                    <a:avLst/>
                    <a:gdLst>
                      <a:gd name="connsiteX0" fmla="*/ 137317 w 137317"/>
                      <a:gd name="connsiteY0" fmla="*/ 299 h 52271"/>
                      <a:gd name="connsiteX1" fmla="*/ 119 w 137317"/>
                      <a:gd name="connsiteY1" fmla="*/ 52271 h 52271"/>
                      <a:gd name="connsiteX2" fmla="*/ 0 w 137317"/>
                      <a:gd name="connsiteY2" fmla="*/ 51972 h 52271"/>
                      <a:gd name="connsiteX3" fmla="*/ 137257 w 13731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17" h="52271">
                        <a:moveTo>
                          <a:pt x="137317" y="299"/>
                        </a:moveTo>
                        <a:lnTo>
                          <a:pt x="119" y="52271"/>
                        </a:lnTo>
                        <a:lnTo>
                          <a:pt x="0" y="51972"/>
                        </a:lnTo>
                        <a:lnTo>
                          <a:pt x="137257" y="0"/>
                        </a:lnTo>
                        <a:close/>
                      </a:path>
                    </a:pathLst>
                  </a:custGeom>
                  <a:grpFill/>
                  <a:ln w="6350" cap="flat">
                    <a:solidFill>
                      <a:schemeClr val="bg1">
                        <a:alpha val="40000"/>
                      </a:schemeClr>
                    </a:solidFill>
                    <a:prstDash val="solid"/>
                    <a:miter/>
                  </a:ln>
                </p:spPr>
                <p:txBody>
                  <a:bodyPr rtlCol="0" anchor="ctr"/>
                  <a:lstStyle/>
                  <a:p>
                    <a:endParaRPr lang="en-GB"/>
                  </a:p>
                </p:txBody>
              </p:sp>
              <p:sp>
                <p:nvSpPr>
                  <p:cNvPr id="9290" name="Vrije vorm: vorm 9289">
                    <a:extLst>
                      <a:ext uri="{FF2B5EF4-FFF2-40B4-BE49-F238E27FC236}">
                        <a16:creationId xmlns:a16="http://schemas.microsoft.com/office/drawing/2014/main" id="{6B61DEE9-2FE8-404D-AC50-3BAF64B1E6CD}"/>
                      </a:ext>
                    </a:extLst>
                  </p:cNvPr>
                  <p:cNvSpPr/>
                  <p:nvPr/>
                </p:nvSpPr>
                <p:spPr>
                  <a:xfrm>
                    <a:off x="5383088" y="1209462"/>
                    <a:ext cx="137377" cy="52271"/>
                  </a:xfrm>
                  <a:custGeom>
                    <a:avLst/>
                    <a:gdLst>
                      <a:gd name="connsiteX0" fmla="*/ 137377 w 137377"/>
                      <a:gd name="connsiteY0" fmla="*/ 299 h 52271"/>
                      <a:gd name="connsiteX1" fmla="*/ 120 w 137377"/>
                      <a:gd name="connsiteY1" fmla="*/ 52271 h 52271"/>
                      <a:gd name="connsiteX2" fmla="*/ 0 w 137377"/>
                      <a:gd name="connsiteY2" fmla="*/ 51972 h 52271"/>
                      <a:gd name="connsiteX3" fmla="*/ 137258 w 13737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77" h="52271">
                        <a:moveTo>
                          <a:pt x="137377" y="299"/>
                        </a:moveTo>
                        <a:lnTo>
                          <a:pt x="120" y="52271"/>
                        </a:lnTo>
                        <a:lnTo>
                          <a:pt x="0" y="51972"/>
                        </a:lnTo>
                        <a:lnTo>
                          <a:pt x="137258" y="0"/>
                        </a:lnTo>
                        <a:close/>
                      </a:path>
                    </a:pathLst>
                  </a:custGeom>
                  <a:grpFill/>
                  <a:ln w="6350" cap="flat">
                    <a:solidFill>
                      <a:schemeClr val="bg1">
                        <a:alpha val="40000"/>
                      </a:schemeClr>
                    </a:solidFill>
                    <a:prstDash val="solid"/>
                    <a:miter/>
                  </a:ln>
                </p:spPr>
                <p:txBody>
                  <a:bodyPr rtlCol="0" anchor="ctr"/>
                  <a:lstStyle/>
                  <a:p>
                    <a:endParaRPr lang="en-GB"/>
                  </a:p>
                </p:txBody>
              </p:sp>
              <p:sp>
                <p:nvSpPr>
                  <p:cNvPr id="9291" name="Vrije vorm: vorm 9290">
                    <a:extLst>
                      <a:ext uri="{FF2B5EF4-FFF2-40B4-BE49-F238E27FC236}">
                        <a16:creationId xmlns:a16="http://schemas.microsoft.com/office/drawing/2014/main" id="{290E870B-355C-48FB-9B96-1B016072B7AD}"/>
                      </a:ext>
                    </a:extLst>
                  </p:cNvPr>
                  <p:cNvSpPr/>
                  <p:nvPr/>
                </p:nvSpPr>
                <p:spPr>
                  <a:xfrm>
                    <a:off x="5375851" y="1189905"/>
                    <a:ext cx="137377" cy="52271"/>
                  </a:xfrm>
                  <a:custGeom>
                    <a:avLst/>
                    <a:gdLst>
                      <a:gd name="connsiteX0" fmla="*/ 137377 w 137377"/>
                      <a:gd name="connsiteY0" fmla="*/ 299 h 52271"/>
                      <a:gd name="connsiteX1" fmla="*/ 120 w 137377"/>
                      <a:gd name="connsiteY1" fmla="*/ 52272 h 52271"/>
                      <a:gd name="connsiteX2" fmla="*/ 0 w 137377"/>
                      <a:gd name="connsiteY2" fmla="*/ 51972 h 52271"/>
                      <a:gd name="connsiteX3" fmla="*/ 137258 w 13737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77" h="52271">
                        <a:moveTo>
                          <a:pt x="137377" y="299"/>
                        </a:moveTo>
                        <a:lnTo>
                          <a:pt x="120" y="52272"/>
                        </a:lnTo>
                        <a:lnTo>
                          <a:pt x="0" y="51972"/>
                        </a:lnTo>
                        <a:lnTo>
                          <a:pt x="137258" y="0"/>
                        </a:lnTo>
                        <a:close/>
                      </a:path>
                    </a:pathLst>
                  </a:custGeom>
                  <a:grpFill/>
                  <a:ln w="6350" cap="flat">
                    <a:solidFill>
                      <a:schemeClr val="bg1">
                        <a:alpha val="40000"/>
                      </a:schemeClr>
                    </a:solidFill>
                    <a:prstDash val="solid"/>
                    <a:miter/>
                  </a:ln>
                </p:spPr>
                <p:txBody>
                  <a:bodyPr rtlCol="0" anchor="ctr"/>
                  <a:lstStyle/>
                  <a:p>
                    <a:endParaRPr lang="en-GB"/>
                  </a:p>
                </p:txBody>
              </p:sp>
              <p:sp>
                <p:nvSpPr>
                  <p:cNvPr id="9292" name="Vrije vorm: vorm 9291">
                    <a:extLst>
                      <a:ext uri="{FF2B5EF4-FFF2-40B4-BE49-F238E27FC236}">
                        <a16:creationId xmlns:a16="http://schemas.microsoft.com/office/drawing/2014/main" id="{4CDDCF99-19F3-4626-A41D-9009CE9BB2E8}"/>
                      </a:ext>
                    </a:extLst>
                  </p:cNvPr>
                  <p:cNvSpPr/>
                  <p:nvPr/>
                </p:nvSpPr>
                <p:spPr>
                  <a:xfrm>
                    <a:off x="5368615" y="1170288"/>
                    <a:ext cx="137377" cy="52331"/>
                  </a:xfrm>
                  <a:custGeom>
                    <a:avLst/>
                    <a:gdLst>
                      <a:gd name="connsiteX0" fmla="*/ 137377 w 137377"/>
                      <a:gd name="connsiteY0" fmla="*/ 359 h 52331"/>
                      <a:gd name="connsiteX1" fmla="*/ 119 w 137377"/>
                      <a:gd name="connsiteY1" fmla="*/ 52331 h 52331"/>
                      <a:gd name="connsiteX2" fmla="*/ 0 w 137377"/>
                      <a:gd name="connsiteY2" fmla="*/ 52032 h 52331"/>
                      <a:gd name="connsiteX3" fmla="*/ 137258 w 137377"/>
                      <a:gd name="connsiteY3" fmla="*/ 0 h 52331"/>
                    </a:gdLst>
                    <a:ahLst/>
                    <a:cxnLst>
                      <a:cxn ang="0">
                        <a:pos x="connsiteX0" y="connsiteY0"/>
                      </a:cxn>
                      <a:cxn ang="0">
                        <a:pos x="connsiteX1" y="connsiteY1"/>
                      </a:cxn>
                      <a:cxn ang="0">
                        <a:pos x="connsiteX2" y="connsiteY2"/>
                      </a:cxn>
                      <a:cxn ang="0">
                        <a:pos x="connsiteX3" y="connsiteY3"/>
                      </a:cxn>
                    </a:cxnLst>
                    <a:rect l="l" t="t" r="r" b="b"/>
                    <a:pathLst>
                      <a:path w="137377" h="52331">
                        <a:moveTo>
                          <a:pt x="137377" y="359"/>
                        </a:moveTo>
                        <a:lnTo>
                          <a:pt x="119" y="52331"/>
                        </a:lnTo>
                        <a:lnTo>
                          <a:pt x="0" y="52032"/>
                        </a:lnTo>
                        <a:lnTo>
                          <a:pt x="137258" y="0"/>
                        </a:lnTo>
                        <a:close/>
                      </a:path>
                    </a:pathLst>
                  </a:custGeom>
                  <a:grpFill/>
                  <a:ln w="6350" cap="flat">
                    <a:solidFill>
                      <a:schemeClr val="bg1">
                        <a:alpha val="40000"/>
                      </a:schemeClr>
                    </a:solidFill>
                    <a:prstDash val="solid"/>
                    <a:miter/>
                  </a:ln>
                </p:spPr>
                <p:txBody>
                  <a:bodyPr rtlCol="0" anchor="ctr"/>
                  <a:lstStyle/>
                  <a:p>
                    <a:endParaRPr lang="en-GB"/>
                  </a:p>
                </p:txBody>
              </p:sp>
              <p:sp>
                <p:nvSpPr>
                  <p:cNvPr id="9293" name="Vrije vorm: vorm 9292">
                    <a:extLst>
                      <a:ext uri="{FF2B5EF4-FFF2-40B4-BE49-F238E27FC236}">
                        <a16:creationId xmlns:a16="http://schemas.microsoft.com/office/drawing/2014/main" id="{F3CF3D32-858E-4407-9AE1-AD173F9C41CC}"/>
                      </a:ext>
                    </a:extLst>
                  </p:cNvPr>
                  <p:cNvSpPr/>
                  <p:nvPr/>
                </p:nvSpPr>
                <p:spPr>
                  <a:xfrm>
                    <a:off x="5361378" y="1150731"/>
                    <a:ext cx="137377" cy="52271"/>
                  </a:xfrm>
                  <a:custGeom>
                    <a:avLst/>
                    <a:gdLst>
                      <a:gd name="connsiteX0" fmla="*/ 137377 w 137377"/>
                      <a:gd name="connsiteY0" fmla="*/ 299 h 52271"/>
                      <a:gd name="connsiteX1" fmla="*/ 120 w 137377"/>
                      <a:gd name="connsiteY1" fmla="*/ 52271 h 52271"/>
                      <a:gd name="connsiteX2" fmla="*/ 0 w 137377"/>
                      <a:gd name="connsiteY2" fmla="*/ 51972 h 52271"/>
                      <a:gd name="connsiteX3" fmla="*/ 137258 w 13737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77" h="52271">
                        <a:moveTo>
                          <a:pt x="137377" y="299"/>
                        </a:moveTo>
                        <a:lnTo>
                          <a:pt x="120" y="52271"/>
                        </a:lnTo>
                        <a:lnTo>
                          <a:pt x="0" y="51972"/>
                        </a:lnTo>
                        <a:lnTo>
                          <a:pt x="137258" y="0"/>
                        </a:lnTo>
                        <a:close/>
                      </a:path>
                    </a:pathLst>
                  </a:custGeom>
                  <a:grpFill/>
                  <a:ln w="6350" cap="flat">
                    <a:solidFill>
                      <a:schemeClr val="bg1">
                        <a:alpha val="40000"/>
                      </a:schemeClr>
                    </a:solidFill>
                    <a:prstDash val="solid"/>
                    <a:miter/>
                  </a:ln>
                </p:spPr>
                <p:txBody>
                  <a:bodyPr rtlCol="0" anchor="ctr"/>
                  <a:lstStyle/>
                  <a:p>
                    <a:endParaRPr lang="en-GB"/>
                  </a:p>
                </p:txBody>
              </p:sp>
              <p:sp>
                <p:nvSpPr>
                  <p:cNvPr id="9294" name="Vrije vorm: vorm 9293">
                    <a:extLst>
                      <a:ext uri="{FF2B5EF4-FFF2-40B4-BE49-F238E27FC236}">
                        <a16:creationId xmlns:a16="http://schemas.microsoft.com/office/drawing/2014/main" id="{25F5C4AE-4FCD-4EB3-8521-5A9E35D3B232}"/>
                      </a:ext>
                    </a:extLst>
                  </p:cNvPr>
                  <p:cNvSpPr/>
                  <p:nvPr/>
                </p:nvSpPr>
                <p:spPr>
                  <a:xfrm>
                    <a:off x="5354141" y="1131174"/>
                    <a:ext cx="137317" cy="52271"/>
                  </a:xfrm>
                  <a:custGeom>
                    <a:avLst/>
                    <a:gdLst>
                      <a:gd name="connsiteX0" fmla="*/ 137317 w 137317"/>
                      <a:gd name="connsiteY0" fmla="*/ 299 h 52271"/>
                      <a:gd name="connsiteX1" fmla="*/ 119 w 137317"/>
                      <a:gd name="connsiteY1" fmla="*/ 52272 h 52271"/>
                      <a:gd name="connsiteX2" fmla="*/ 0 w 137317"/>
                      <a:gd name="connsiteY2" fmla="*/ 51972 h 52271"/>
                      <a:gd name="connsiteX3" fmla="*/ 137257 w 13731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17" h="52271">
                        <a:moveTo>
                          <a:pt x="137317" y="299"/>
                        </a:moveTo>
                        <a:lnTo>
                          <a:pt x="119" y="52272"/>
                        </a:lnTo>
                        <a:lnTo>
                          <a:pt x="0" y="51972"/>
                        </a:lnTo>
                        <a:lnTo>
                          <a:pt x="137257" y="0"/>
                        </a:lnTo>
                        <a:close/>
                      </a:path>
                    </a:pathLst>
                  </a:custGeom>
                  <a:grpFill/>
                  <a:ln w="6350" cap="flat">
                    <a:solidFill>
                      <a:schemeClr val="bg1">
                        <a:alpha val="40000"/>
                      </a:schemeClr>
                    </a:solidFill>
                    <a:prstDash val="solid"/>
                    <a:miter/>
                  </a:ln>
                </p:spPr>
                <p:txBody>
                  <a:bodyPr rtlCol="0" anchor="ctr"/>
                  <a:lstStyle/>
                  <a:p>
                    <a:endParaRPr lang="en-GB"/>
                  </a:p>
                </p:txBody>
              </p:sp>
              <p:sp>
                <p:nvSpPr>
                  <p:cNvPr id="9295" name="Vrije vorm: vorm 9294">
                    <a:extLst>
                      <a:ext uri="{FF2B5EF4-FFF2-40B4-BE49-F238E27FC236}">
                        <a16:creationId xmlns:a16="http://schemas.microsoft.com/office/drawing/2014/main" id="{805551C6-E9BB-4617-BDAE-67FCB578EEA5}"/>
                      </a:ext>
                    </a:extLst>
                  </p:cNvPr>
                  <p:cNvSpPr/>
                  <p:nvPr/>
                </p:nvSpPr>
                <p:spPr>
                  <a:xfrm>
                    <a:off x="5353962" y="1183087"/>
                    <a:ext cx="43659" cy="117162"/>
                  </a:xfrm>
                  <a:custGeom>
                    <a:avLst/>
                    <a:gdLst>
                      <a:gd name="connsiteX0" fmla="*/ 43659 w 43659"/>
                      <a:gd name="connsiteY0" fmla="*/ 117103 h 117162"/>
                      <a:gd name="connsiteX1" fmla="*/ 43360 w 43659"/>
                      <a:gd name="connsiteY1" fmla="*/ 117162 h 117162"/>
                      <a:gd name="connsiteX2" fmla="*/ 0 w 43659"/>
                      <a:gd name="connsiteY2" fmla="*/ 60 h 117162"/>
                      <a:gd name="connsiteX3" fmla="*/ 299 w 43659"/>
                      <a:gd name="connsiteY3" fmla="*/ 0 h 117162"/>
                    </a:gdLst>
                    <a:ahLst/>
                    <a:cxnLst>
                      <a:cxn ang="0">
                        <a:pos x="connsiteX0" y="connsiteY0"/>
                      </a:cxn>
                      <a:cxn ang="0">
                        <a:pos x="connsiteX1" y="connsiteY1"/>
                      </a:cxn>
                      <a:cxn ang="0">
                        <a:pos x="connsiteX2" y="connsiteY2"/>
                      </a:cxn>
                      <a:cxn ang="0">
                        <a:pos x="connsiteX3" y="connsiteY3"/>
                      </a:cxn>
                    </a:cxnLst>
                    <a:rect l="l" t="t" r="r" b="b"/>
                    <a:pathLst>
                      <a:path w="43659" h="117162">
                        <a:moveTo>
                          <a:pt x="43659" y="117103"/>
                        </a:moveTo>
                        <a:lnTo>
                          <a:pt x="43360" y="117162"/>
                        </a:lnTo>
                        <a:lnTo>
                          <a:pt x="0" y="60"/>
                        </a:lnTo>
                        <a:lnTo>
                          <a:pt x="299" y="0"/>
                        </a:lnTo>
                        <a:close/>
                      </a:path>
                    </a:pathLst>
                  </a:custGeom>
                  <a:grpFill/>
                  <a:ln w="6350" cap="flat">
                    <a:solidFill>
                      <a:schemeClr val="bg1">
                        <a:alpha val="40000"/>
                      </a:schemeClr>
                    </a:solidFill>
                    <a:prstDash val="solid"/>
                    <a:miter/>
                  </a:ln>
                </p:spPr>
                <p:txBody>
                  <a:bodyPr rtlCol="0" anchor="ctr"/>
                  <a:lstStyle/>
                  <a:p>
                    <a:endParaRPr lang="en-GB"/>
                  </a:p>
                </p:txBody>
              </p:sp>
              <p:sp>
                <p:nvSpPr>
                  <p:cNvPr id="9296" name="Vrije vorm: vorm 9295">
                    <a:extLst>
                      <a:ext uri="{FF2B5EF4-FFF2-40B4-BE49-F238E27FC236}">
                        <a16:creationId xmlns:a16="http://schemas.microsoft.com/office/drawing/2014/main" id="{3B1B6EF6-1E13-46BE-809B-1E85D1AF3F9E}"/>
                      </a:ext>
                    </a:extLst>
                  </p:cNvPr>
                  <p:cNvSpPr/>
                  <p:nvPr/>
                </p:nvSpPr>
                <p:spPr>
                  <a:xfrm>
                    <a:off x="5369212" y="1177285"/>
                    <a:ext cx="43659" cy="117222"/>
                  </a:xfrm>
                  <a:custGeom>
                    <a:avLst/>
                    <a:gdLst>
                      <a:gd name="connsiteX0" fmla="*/ 43659 w 43659"/>
                      <a:gd name="connsiteY0" fmla="*/ 117103 h 117222"/>
                      <a:gd name="connsiteX1" fmla="*/ 43360 w 43659"/>
                      <a:gd name="connsiteY1" fmla="*/ 117222 h 117222"/>
                      <a:gd name="connsiteX2" fmla="*/ 0 w 43659"/>
                      <a:gd name="connsiteY2" fmla="*/ 120 h 117222"/>
                      <a:gd name="connsiteX3" fmla="*/ 299 w 43659"/>
                      <a:gd name="connsiteY3" fmla="*/ 0 h 117222"/>
                    </a:gdLst>
                    <a:ahLst/>
                    <a:cxnLst>
                      <a:cxn ang="0">
                        <a:pos x="connsiteX0" y="connsiteY0"/>
                      </a:cxn>
                      <a:cxn ang="0">
                        <a:pos x="connsiteX1" y="connsiteY1"/>
                      </a:cxn>
                      <a:cxn ang="0">
                        <a:pos x="connsiteX2" y="connsiteY2"/>
                      </a:cxn>
                      <a:cxn ang="0">
                        <a:pos x="connsiteX3" y="connsiteY3"/>
                      </a:cxn>
                    </a:cxnLst>
                    <a:rect l="l" t="t" r="r" b="b"/>
                    <a:pathLst>
                      <a:path w="43659" h="117222">
                        <a:moveTo>
                          <a:pt x="43659" y="117103"/>
                        </a:moveTo>
                        <a:lnTo>
                          <a:pt x="43360" y="117222"/>
                        </a:lnTo>
                        <a:lnTo>
                          <a:pt x="0" y="120"/>
                        </a:lnTo>
                        <a:lnTo>
                          <a:pt x="299" y="0"/>
                        </a:lnTo>
                        <a:close/>
                      </a:path>
                    </a:pathLst>
                  </a:custGeom>
                  <a:grpFill/>
                  <a:ln w="6350" cap="flat">
                    <a:solidFill>
                      <a:schemeClr val="bg1">
                        <a:alpha val="40000"/>
                      </a:schemeClr>
                    </a:solidFill>
                    <a:prstDash val="solid"/>
                    <a:miter/>
                  </a:ln>
                </p:spPr>
                <p:txBody>
                  <a:bodyPr rtlCol="0" anchor="ctr"/>
                  <a:lstStyle/>
                  <a:p>
                    <a:endParaRPr lang="en-GB"/>
                  </a:p>
                </p:txBody>
              </p:sp>
              <p:sp>
                <p:nvSpPr>
                  <p:cNvPr id="9297" name="Vrije vorm: vorm 9296">
                    <a:extLst>
                      <a:ext uri="{FF2B5EF4-FFF2-40B4-BE49-F238E27FC236}">
                        <a16:creationId xmlns:a16="http://schemas.microsoft.com/office/drawing/2014/main" id="{155D4949-1844-4DFB-88F4-3DB02D57BD11}"/>
                      </a:ext>
                    </a:extLst>
                  </p:cNvPr>
                  <p:cNvSpPr/>
                  <p:nvPr/>
                </p:nvSpPr>
                <p:spPr>
                  <a:xfrm>
                    <a:off x="5384463" y="1171484"/>
                    <a:ext cx="43659" cy="117222"/>
                  </a:xfrm>
                  <a:custGeom>
                    <a:avLst/>
                    <a:gdLst>
                      <a:gd name="connsiteX0" fmla="*/ 43660 w 43659"/>
                      <a:gd name="connsiteY0" fmla="*/ 117162 h 117222"/>
                      <a:gd name="connsiteX1" fmla="*/ 43360 w 43659"/>
                      <a:gd name="connsiteY1" fmla="*/ 117222 h 117222"/>
                      <a:gd name="connsiteX2" fmla="*/ 0 w 43659"/>
                      <a:gd name="connsiteY2" fmla="*/ 120 h 117222"/>
                      <a:gd name="connsiteX3" fmla="*/ 299 w 43659"/>
                      <a:gd name="connsiteY3" fmla="*/ 0 h 117222"/>
                    </a:gdLst>
                    <a:ahLst/>
                    <a:cxnLst>
                      <a:cxn ang="0">
                        <a:pos x="connsiteX0" y="connsiteY0"/>
                      </a:cxn>
                      <a:cxn ang="0">
                        <a:pos x="connsiteX1" y="connsiteY1"/>
                      </a:cxn>
                      <a:cxn ang="0">
                        <a:pos x="connsiteX2" y="connsiteY2"/>
                      </a:cxn>
                      <a:cxn ang="0">
                        <a:pos x="connsiteX3" y="connsiteY3"/>
                      </a:cxn>
                    </a:cxnLst>
                    <a:rect l="l" t="t" r="r" b="b"/>
                    <a:pathLst>
                      <a:path w="43659" h="117222">
                        <a:moveTo>
                          <a:pt x="43660" y="117162"/>
                        </a:moveTo>
                        <a:lnTo>
                          <a:pt x="43360" y="117222"/>
                        </a:lnTo>
                        <a:lnTo>
                          <a:pt x="0" y="120"/>
                        </a:lnTo>
                        <a:lnTo>
                          <a:pt x="299" y="0"/>
                        </a:lnTo>
                        <a:close/>
                      </a:path>
                    </a:pathLst>
                  </a:custGeom>
                  <a:grpFill/>
                  <a:ln w="6350" cap="flat">
                    <a:solidFill>
                      <a:schemeClr val="bg1">
                        <a:alpha val="40000"/>
                      </a:schemeClr>
                    </a:solidFill>
                    <a:prstDash val="solid"/>
                    <a:miter/>
                  </a:ln>
                </p:spPr>
                <p:txBody>
                  <a:bodyPr rtlCol="0" anchor="ctr"/>
                  <a:lstStyle/>
                  <a:p>
                    <a:endParaRPr lang="en-GB"/>
                  </a:p>
                </p:txBody>
              </p:sp>
              <p:sp>
                <p:nvSpPr>
                  <p:cNvPr id="9298" name="Vrije vorm: vorm 9297">
                    <a:extLst>
                      <a:ext uri="{FF2B5EF4-FFF2-40B4-BE49-F238E27FC236}">
                        <a16:creationId xmlns:a16="http://schemas.microsoft.com/office/drawing/2014/main" id="{B0D8EFFE-6993-419B-A2AC-DB6555162EFE}"/>
                      </a:ext>
                    </a:extLst>
                  </p:cNvPr>
                  <p:cNvSpPr/>
                  <p:nvPr/>
                </p:nvSpPr>
                <p:spPr>
                  <a:xfrm>
                    <a:off x="5399714" y="1165743"/>
                    <a:ext cx="43659" cy="117222"/>
                  </a:xfrm>
                  <a:custGeom>
                    <a:avLst/>
                    <a:gdLst>
                      <a:gd name="connsiteX0" fmla="*/ 43659 w 43659"/>
                      <a:gd name="connsiteY0" fmla="*/ 117103 h 117222"/>
                      <a:gd name="connsiteX1" fmla="*/ 43360 w 43659"/>
                      <a:gd name="connsiteY1" fmla="*/ 117222 h 117222"/>
                      <a:gd name="connsiteX2" fmla="*/ 0 w 43659"/>
                      <a:gd name="connsiteY2" fmla="*/ 60 h 117222"/>
                      <a:gd name="connsiteX3" fmla="*/ 299 w 43659"/>
                      <a:gd name="connsiteY3" fmla="*/ 0 h 117222"/>
                    </a:gdLst>
                    <a:ahLst/>
                    <a:cxnLst>
                      <a:cxn ang="0">
                        <a:pos x="connsiteX0" y="connsiteY0"/>
                      </a:cxn>
                      <a:cxn ang="0">
                        <a:pos x="connsiteX1" y="connsiteY1"/>
                      </a:cxn>
                      <a:cxn ang="0">
                        <a:pos x="connsiteX2" y="connsiteY2"/>
                      </a:cxn>
                      <a:cxn ang="0">
                        <a:pos x="connsiteX3" y="connsiteY3"/>
                      </a:cxn>
                    </a:cxnLst>
                    <a:rect l="l" t="t" r="r" b="b"/>
                    <a:pathLst>
                      <a:path w="43659" h="117222">
                        <a:moveTo>
                          <a:pt x="43659" y="117103"/>
                        </a:moveTo>
                        <a:lnTo>
                          <a:pt x="43360" y="117222"/>
                        </a:lnTo>
                        <a:lnTo>
                          <a:pt x="0" y="60"/>
                        </a:lnTo>
                        <a:lnTo>
                          <a:pt x="299" y="0"/>
                        </a:lnTo>
                        <a:close/>
                      </a:path>
                    </a:pathLst>
                  </a:custGeom>
                  <a:grpFill/>
                  <a:ln w="6350" cap="flat">
                    <a:solidFill>
                      <a:schemeClr val="bg1">
                        <a:alpha val="40000"/>
                      </a:schemeClr>
                    </a:solidFill>
                    <a:prstDash val="solid"/>
                    <a:miter/>
                  </a:ln>
                </p:spPr>
                <p:txBody>
                  <a:bodyPr rtlCol="0" anchor="ctr"/>
                  <a:lstStyle/>
                  <a:p>
                    <a:endParaRPr lang="en-GB"/>
                  </a:p>
                </p:txBody>
              </p:sp>
              <p:sp>
                <p:nvSpPr>
                  <p:cNvPr id="9299" name="Vrije vorm: vorm 9298">
                    <a:extLst>
                      <a:ext uri="{FF2B5EF4-FFF2-40B4-BE49-F238E27FC236}">
                        <a16:creationId xmlns:a16="http://schemas.microsoft.com/office/drawing/2014/main" id="{6BAD3D8F-E974-4886-8F13-C2CE4291E5D2}"/>
                      </a:ext>
                    </a:extLst>
                  </p:cNvPr>
                  <p:cNvSpPr/>
                  <p:nvPr/>
                </p:nvSpPr>
                <p:spPr>
                  <a:xfrm>
                    <a:off x="5414965" y="1159941"/>
                    <a:ext cx="43659" cy="117222"/>
                  </a:xfrm>
                  <a:custGeom>
                    <a:avLst/>
                    <a:gdLst>
                      <a:gd name="connsiteX0" fmla="*/ 43659 w 43659"/>
                      <a:gd name="connsiteY0" fmla="*/ 117102 h 117222"/>
                      <a:gd name="connsiteX1" fmla="*/ 43360 w 43659"/>
                      <a:gd name="connsiteY1" fmla="*/ 117222 h 117222"/>
                      <a:gd name="connsiteX2" fmla="*/ 0 w 43659"/>
                      <a:gd name="connsiteY2" fmla="*/ 120 h 117222"/>
                      <a:gd name="connsiteX3" fmla="*/ 299 w 43659"/>
                      <a:gd name="connsiteY3" fmla="*/ 0 h 117222"/>
                    </a:gdLst>
                    <a:ahLst/>
                    <a:cxnLst>
                      <a:cxn ang="0">
                        <a:pos x="connsiteX0" y="connsiteY0"/>
                      </a:cxn>
                      <a:cxn ang="0">
                        <a:pos x="connsiteX1" y="connsiteY1"/>
                      </a:cxn>
                      <a:cxn ang="0">
                        <a:pos x="connsiteX2" y="connsiteY2"/>
                      </a:cxn>
                      <a:cxn ang="0">
                        <a:pos x="connsiteX3" y="connsiteY3"/>
                      </a:cxn>
                    </a:cxnLst>
                    <a:rect l="l" t="t" r="r" b="b"/>
                    <a:pathLst>
                      <a:path w="43659" h="117222">
                        <a:moveTo>
                          <a:pt x="43659" y="117102"/>
                        </a:moveTo>
                        <a:lnTo>
                          <a:pt x="43360" y="117222"/>
                        </a:lnTo>
                        <a:lnTo>
                          <a:pt x="0" y="120"/>
                        </a:lnTo>
                        <a:lnTo>
                          <a:pt x="299" y="0"/>
                        </a:lnTo>
                        <a:close/>
                      </a:path>
                    </a:pathLst>
                  </a:custGeom>
                  <a:grpFill/>
                  <a:ln w="6350" cap="flat">
                    <a:solidFill>
                      <a:schemeClr val="bg1">
                        <a:alpha val="40000"/>
                      </a:schemeClr>
                    </a:solidFill>
                    <a:prstDash val="solid"/>
                    <a:miter/>
                  </a:ln>
                </p:spPr>
                <p:txBody>
                  <a:bodyPr rtlCol="0" anchor="ctr"/>
                  <a:lstStyle/>
                  <a:p>
                    <a:endParaRPr lang="en-GB"/>
                  </a:p>
                </p:txBody>
              </p:sp>
              <p:sp>
                <p:nvSpPr>
                  <p:cNvPr id="9300" name="Vrije vorm: vorm 9299">
                    <a:extLst>
                      <a:ext uri="{FF2B5EF4-FFF2-40B4-BE49-F238E27FC236}">
                        <a16:creationId xmlns:a16="http://schemas.microsoft.com/office/drawing/2014/main" id="{040AE51B-E07C-4043-A6A3-9F558053AE37}"/>
                      </a:ext>
                    </a:extLst>
                  </p:cNvPr>
                  <p:cNvSpPr/>
                  <p:nvPr/>
                </p:nvSpPr>
                <p:spPr>
                  <a:xfrm>
                    <a:off x="5430216" y="1154200"/>
                    <a:ext cx="43659" cy="117162"/>
                  </a:xfrm>
                  <a:custGeom>
                    <a:avLst/>
                    <a:gdLst>
                      <a:gd name="connsiteX0" fmla="*/ 43659 w 43659"/>
                      <a:gd name="connsiteY0" fmla="*/ 117103 h 117162"/>
                      <a:gd name="connsiteX1" fmla="*/ 43360 w 43659"/>
                      <a:gd name="connsiteY1" fmla="*/ 117162 h 117162"/>
                      <a:gd name="connsiteX2" fmla="*/ 0 w 43659"/>
                      <a:gd name="connsiteY2" fmla="*/ 60 h 117162"/>
                      <a:gd name="connsiteX3" fmla="*/ 299 w 43659"/>
                      <a:gd name="connsiteY3" fmla="*/ 0 h 117162"/>
                    </a:gdLst>
                    <a:ahLst/>
                    <a:cxnLst>
                      <a:cxn ang="0">
                        <a:pos x="connsiteX0" y="connsiteY0"/>
                      </a:cxn>
                      <a:cxn ang="0">
                        <a:pos x="connsiteX1" y="connsiteY1"/>
                      </a:cxn>
                      <a:cxn ang="0">
                        <a:pos x="connsiteX2" y="connsiteY2"/>
                      </a:cxn>
                      <a:cxn ang="0">
                        <a:pos x="connsiteX3" y="connsiteY3"/>
                      </a:cxn>
                    </a:cxnLst>
                    <a:rect l="l" t="t" r="r" b="b"/>
                    <a:pathLst>
                      <a:path w="43659" h="117162">
                        <a:moveTo>
                          <a:pt x="43659" y="117103"/>
                        </a:moveTo>
                        <a:lnTo>
                          <a:pt x="43360" y="117162"/>
                        </a:lnTo>
                        <a:lnTo>
                          <a:pt x="0" y="60"/>
                        </a:lnTo>
                        <a:lnTo>
                          <a:pt x="299" y="0"/>
                        </a:lnTo>
                        <a:close/>
                      </a:path>
                    </a:pathLst>
                  </a:custGeom>
                  <a:grpFill/>
                  <a:ln w="6350" cap="flat">
                    <a:solidFill>
                      <a:schemeClr val="bg1">
                        <a:alpha val="40000"/>
                      </a:schemeClr>
                    </a:solidFill>
                    <a:prstDash val="solid"/>
                    <a:miter/>
                  </a:ln>
                </p:spPr>
                <p:txBody>
                  <a:bodyPr rtlCol="0" anchor="ctr"/>
                  <a:lstStyle/>
                  <a:p>
                    <a:endParaRPr lang="en-GB"/>
                  </a:p>
                </p:txBody>
              </p:sp>
              <p:sp>
                <p:nvSpPr>
                  <p:cNvPr id="9301" name="Vrije vorm: vorm 9300">
                    <a:extLst>
                      <a:ext uri="{FF2B5EF4-FFF2-40B4-BE49-F238E27FC236}">
                        <a16:creationId xmlns:a16="http://schemas.microsoft.com/office/drawing/2014/main" id="{DDF0FE4D-FD48-4189-96E1-A4261D2ADE59}"/>
                      </a:ext>
                    </a:extLst>
                  </p:cNvPr>
                  <p:cNvSpPr/>
                  <p:nvPr/>
                </p:nvSpPr>
                <p:spPr>
                  <a:xfrm>
                    <a:off x="5445467" y="1148399"/>
                    <a:ext cx="43659" cy="117222"/>
                  </a:xfrm>
                  <a:custGeom>
                    <a:avLst/>
                    <a:gdLst>
                      <a:gd name="connsiteX0" fmla="*/ 43659 w 43659"/>
                      <a:gd name="connsiteY0" fmla="*/ 117102 h 117222"/>
                      <a:gd name="connsiteX1" fmla="*/ 43360 w 43659"/>
                      <a:gd name="connsiteY1" fmla="*/ 117222 h 117222"/>
                      <a:gd name="connsiteX2" fmla="*/ 0 w 43659"/>
                      <a:gd name="connsiteY2" fmla="*/ 120 h 117222"/>
                      <a:gd name="connsiteX3" fmla="*/ 299 w 43659"/>
                      <a:gd name="connsiteY3" fmla="*/ 0 h 117222"/>
                    </a:gdLst>
                    <a:ahLst/>
                    <a:cxnLst>
                      <a:cxn ang="0">
                        <a:pos x="connsiteX0" y="connsiteY0"/>
                      </a:cxn>
                      <a:cxn ang="0">
                        <a:pos x="connsiteX1" y="connsiteY1"/>
                      </a:cxn>
                      <a:cxn ang="0">
                        <a:pos x="connsiteX2" y="connsiteY2"/>
                      </a:cxn>
                      <a:cxn ang="0">
                        <a:pos x="connsiteX3" y="connsiteY3"/>
                      </a:cxn>
                    </a:cxnLst>
                    <a:rect l="l" t="t" r="r" b="b"/>
                    <a:pathLst>
                      <a:path w="43659" h="117222">
                        <a:moveTo>
                          <a:pt x="43659" y="117102"/>
                        </a:moveTo>
                        <a:lnTo>
                          <a:pt x="43360" y="117222"/>
                        </a:lnTo>
                        <a:lnTo>
                          <a:pt x="0" y="120"/>
                        </a:lnTo>
                        <a:lnTo>
                          <a:pt x="299" y="0"/>
                        </a:lnTo>
                        <a:close/>
                      </a:path>
                    </a:pathLst>
                  </a:custGeom>
                  <a:grpFill/>
                  <a:ln w="6350" cap="flat">
                    <a:solidFill>
                      <a:schemeClr val="bg1">
                        <a:alpha val="40000"/>
                      </a:schemeClr>
                    </a:solidFill>
                    <a:prstDash val="solid"/>
                    <a:miter/>
                  </a:ln>
                </p:spPr>
                <p:txBody>
                  <a:bodyPr rtlCol="0" anchor="ctr"/>
                  <a:lstStyle/>
                  <a:p>
                    <a:endParaRPr lang="en-GB"/>
                  </a:p>
                </p:txBody>
              </p:sp>
              <p:sp>
                <p:nvSpPr>
                  <p:cNvPr id="9302" name="Vrije vorm: vorm 9301">
                    <a:extLst>
                      <a:ext uri="{FF2B5EF4-FFF2-40B4-BE49-F238E27FC236}">
                        <a16:creationId xmlns:a16="http://schemas.microsoft.com/office/drawing/2014/main" id="{64419973-EB8D-42EA-B049-0E3D98B26487}"/>
                      </a:ext>
                    </a:extLst>
                  </p:cNvPr>
                  <p:cNvSpPr/>
                  <p:nvPr/>
                </p:nvSpPr>
                <p:spPr>
                  <a:xfrm>
                    <a:off x="5460717" y="1142657"/>
                    <a:ext cx="43599" cy="117162"/>
                  </a:xfrm>
                  <a:custGeom>
                    <a:avLst/>
                    <a:gdLst>
                      <a:gd name="connsiteX0" fmla="*/ 43600 w 43599"/>
                      <a:gd name="connsiteY0" fmla="*/ 117102 h 117162"/>
                      <a:gd name="connsiteX1" fmla="*/ 43360 w 43599"/>
                      <a:gd name="connsiteY1" fmla="*/ 117162 h 117162"/>
                      <a:gd name="connsiteX2" fmla="*/ 0 w 43599"/>
                      <a:gd name="connsiteY2" fmla="*/ 60 h 117162"/>
                      <a:gd name="connsiteX3" fmla="*/ 299 w 43599"/>
                      <a:gd name="connsiteY3" fmla="*/ 0 h 117162"/>
                    </a:gdLst>
                    <a:ahLst/>
                    <a:cxnLst>
                      <a:cxn ang="0">
                        <a:pos x="connsiteX0" y="connsiteY0"/>
                      </a:cxn>
                      <a:cxn ang="0">
                        <a:pos x="connsiteX1" y="connsiteY1"/>
                      </a:cxn>
                      <a:cxn ang="0">
                        <a:pos x="connsiteX2" y="connsiteY2"/>
                      </a:cxn>
                      <a:cxn ang="0">
                        <a:pos x="connsiteX3" y="connsiteY3"/>
                      </a:cxn>
                    </a:cxnLst>
                    <a:rect l="l" t="t" r="r" b="b"/>
                    <a:pathLst>
                      <a:path w="43599" h="117162">
                        <a:moveTo>
                          <a:pt x="43600" y="117102"/>
                        </a:moveTo>
                        <a:lnTo>
                          <a:pt x="43360" y="117162"/>
                        </a:lnTo>
                        <a:lnTo>
                          <a:pt x="0" y="60"/>
                        </a:lnTo>
                        <a:lnTo>
                          <a:pt x="299" y="0"/>
                        </a:lnTo>
                        <a:close/>
                      </a:path>
                    </a:pathLst>
                  </a:custGeom>
                  <a:grpFill/>
                  <a:ln w="6350" cap="flat">
                    <a:solidFill>
                      <a:schemeClr val="bg1">
                        <a:alpha val="40000"/>
                      </a:schemeClr>
                    </a:solidFill>
                    <a:prstDash val="solid"/>
                    <a:miter/>
                  </a:ln>
                </p:spPr>
                <p:txBody>
                  <a:bodyPr rtlCol="0" anchor="ctr"/>
                  <a:lstStyle/>
                  <a:p>
                    <a:endParaRPr lang="en-GB"/>
                  </a:p>
                </p:txBody>
              </p:sp>
              <p:sp>
                <p:nvSpPr>
                  <p:cNvPr id="9303" name="Vrije vorm: vorm 9302">
                    <a:extLst>
                      <a:ext uri="{FF2B5EF4-FFF2-40B4-BE49-F238E27FC236}">
                        <a16:creationId xmlns:a16="http://schemas.microsoft.com/office/drawing/2014/main" id="{875F9EB3-4530-4A64-BBA3-BF167F5565BC}"/>
                      </a:ext>
                    </a:extLst>
                  </p:cNvPr>
                  <p:cNvSpPr/>
                  <p:nvPr/>
                </p:nvSpPr>
                <p:spPr>
                  <a:xfrm>
                    <a:off x="5475969" y="1136856"/>
                    <a:ext cx="43599" cy="117222"/>
                  </a:xfrm>
                  <a:custGeom>
                    <a:avLst/>
                    <a:gdLst>
                      <a:gd name="connsiteX0" fmla="*/ 43599 w 43599"/>
                      <a:gd name="connsiteY0" fmla="*/ 117102 h 117222"/>
                      <a:gd name="connsiteX1" fmla="*/ 43360 w 43599"/>
                      <a:gd name="connsiteY1" fmla="*/ 117222 h 117222"/>
                      <a:gd name="connsiteX2" fmla="*/ 0 w 43599"/>
                      <a:gd name="connsiteY2" fmla="*/ 120 h 117222"/>
                      <a:gd name="connsiteX3" fmla="*/ 299 w 43599"/>
                      <a:gd name="connsiteY3" fmla="*/ 0 h 117222"/>
                    </a:gdLst>
                    <a:ahLst/>
                    <a:cxnLst>
                      <a:cxn ang="0">
                        <a:pos x="connsiteX0" y="connsiteY0"/>
                      </a:cxn>
                      <a:cxn ang="0">
                        <a:pos x="connsiteX1" y="connsiteY1"/>
                      </a:cxn>
                      <a:cxn ang="0">
                        <a:pos x="connsiteX2" y="connsiteY2"/>
                      </a:cxn>
                      <a:cxn ang="0">
                        <a:pos x="connsiteX3" y="connsiteY3"/>
                      </a:cxn>
                    </a:cxnLst>
                    <a:rect l="l" t="t" r="r" b="b"/>
                    <a:pathLst>
                      <a:path w="43599" h="117222">
                        <a:moveTo>
                          <a:pt x="43599" y="117102"/>
                        </a:moveTo>
                        <a:lnTo>
                          <a:pt x="43360" y="117222"/>
                        </a:lnTo>
                        <a:lnTo>
                          <a:pt x="0" y="120"/>
                        </a:lnTo>
                        <a:lnTo>
                          <a:pt x="299" y="0"/>
                        </a:lnTo>
                        <a:close/>
                      </a:path>
                    </a:pathLst>
                  </a:custGeom>
                  <a:grpFill/>
                  <a:ln w="6350" cap="flat">
                    <a:solidFill>
                      <a:schemeClr val="bg1">
                        <a:alpha val="40000"/>
                      </a:schemeClr>
                    </a:solidFill>
                    <a:prstDash val="solid"/>
                    <a:miter/>
                  </a:ln>
                </p:spPr>
                <p:txBody>
                  <a:bodyPr rtlCol="0" anchor="ctr"/>
                  <a:lstStyle/>
                  <a:p>
                    <a:endParaRPr lang="en-GB"/>
                  </a:p>
                </p:txBody>
              </p:sp>
              <p:sp>
                <p:nvSpPr>
                  <p:cNvPr id="9304" name="Vrije vorm: vorm 9303">
                    <a:extLst>
                      <a:ext uri="{FF2B5EF4-FFF2-40B4-BE49-F238E27FC236}">
                        <a16:creationId xmlns:a16="http://schemas.microsoft.com/office/drawing/2014/main" id="{4555799E-822D-449B-B68C-1027E3E441E1}"/>
                      </a:ext>
                    </a:extLst>
                  </p:cNvPr>
                  <p:cNvSpPr/>
                  <p:nvPr/>
                </p:nvSpPr>
                <p:spPr>
                  <a:xfrm>
                    <a:off x="5491219" y="1131054"/>
                    <a:ext cx="43599" cy="117222"/>
                  </a:xfrm>
                  <a:custGeom>
                    <a:avLst/>
                    <a:gdLst>
                      <a:gd name="connsiteX0" fmla="*/ 43599 w 43599"/>
                      <a:gd name="connsiteY0" fmla="*/ 117162 h 117222"/>
                      <a:gd name="connsiteX1" fmla="*/ 43360 w 43599"/>
                      <a:gd name="connsiteY1" fmla="*/ 117222 h 117222"/>
                      <a:gd name="connsiteX2" fmla="*/ 0 w 43599"/>
                      <a:gd name="connsiteY2" fmla="*/ 120 h 117222"/>
                      <a:gd name="connsiteX3" fmla="*/ 239 w 43599"/>
                      <a:gd name="connsiteY3" fmla="*/ 0 h 117222"/>
                    </a:gdLst>
                    <a:ahLst/>
                    <a:cxnLst>
                      <a:cxn ang="0">
                        <a:pos x="connsiteX0" y="connsiteY0"/>
                      </a:cxn>
                      <a:cxn ang="0">
                        <a:pos x="connsiteX1" y="connsiteY1"/>
                      </a:cxn>
                      <a:cxn ang="0">
                        <a:pos x="connsiteX2" y="connsiteY2"/>
                      </a:cxn>
                      <a:cxn ang="0">
                        <a:pos x="connsiteX3" y="connsiteY3"/>
                      </a:cxn>
                    </a:cxnLst>
                    <a:rect l="l" t="t" r="r" b="b"/>
                    <a:pathLst>
                      <a:path w="43599" h="117222">
                        <a:moveTo>
                          <a:pt x="43599" y="117162"/>
                        </a:moveTo>
                        <a:lnTo>
                          <a:pt x="43360" y="117222"/>
                        </a:lnTo>
                        <a:lnTo>
                          <a:pt x="0" y="120"/>
                        </a:lnTo>
                        <a:lnTo>
                          <a:pt x="239" y="0"/>
                        </a:lnTo>
                        <a:close/>
                      </a:path>
                    </a:pathLst>
                  </a:custGeom>
                  <a:grpFill/>
                  <a:ln w="6350" cap="flat">
                    <a:solidFill>
                      <a:schemeClr val="bg1">
                        <a:alpha val="40000"/>
                      </a:schemeClr>
                    </a:solidFill>
                    <a:prstDash val="solid"/>
                    <a:miter/>
                  </a:ln>
                </p:spPr>
                <p:txBody>
                  <a:bodyPr rtlCol="0" anchor="ctr"/>
                  <a:lstStyle/>
                  <a:p>
                    <a:endParaRPr lang="en-GB"/>
                  </a:p>
                </p:txBody>
              </p:sp>
            </p:grpSp>
            <p:sp>
              <p:nvSpPr>
                <p:cNvPr id="9285" name="Vrije vorm: vorm 9284">
                  <a:extLst>
                    <a:ext uri="{FF2B5EF4-FFF2-40B4-BE49-F238E27FC236}">
                      <a16:creationId xmlns:a16="http://schemas.microsoft.com/office/drawing/2014/main" id="{95C37B87-50B9-4F19-9FE2-BB4CF9E2F890}"/>
                    </a:ext>
                  </a:extLst>
                </p:cNvPr>
                <p:cNvSpPr/>
                <p:nvPr/>
              </p:nvSpPr>
              <p:spPr>
                <a:xfrm>
                  <a:off x="5379067" y="1148376"/>
                  <a:ext cx="106903" cy="117566"/>
                </a:xfrm>
                <a:custGeom>
                  <a:avLst/>
                  <a:gdLst>
                    <a:gd name="connsiteX0" fmla="*/ 101507 w 106903"/>
                    <a:gd name="connsiteY0" fmla="*/ 202 h 117566"/>
                    <a:gd name="connsiteX1" fmla="*/ 99474 w 106903"/>
                    <a:gd name="connsiteY1" fmla="*/ 5704 h 117566"/>
                    <a:gd name="connsiteX2" fmla="*/ 100789 w 106903"/>
                    <a:gd name="connsiteY2" fmla="*/ 7678 h 117566"/>
                    <a:gd name="connsiteX3" fmla="*/ 94629 w 106903"/>
                    <a:gd name="connsiteY3" fmla="*/ 22151 h 117566"/>
                    <a:gd name="connsiteX4" fmla="*/ 91818 w 106903"/>
                    <a:gd name="connsiteY4" fmla="*/ 21972 h 117566"/>
                    <a:gd name="connsiteX5" fmla="*/ 89605 w 106903"/>
                    <a:gd name="connsiteY5" fmla="*/ 26876 h 117566"/>
                    <a:gd name="connsiteX6" fmla="*/ 81531 w 106903"/>
                    <a:gd name="connsiteY6" fmla="*/ 29926 h 117566"/>
                    <a:gd name="connsiteX7" fmla="*/ 76687 w 106903"/>
                    <a:gd name="connsiteY7" fmla="*/ 27713 h 117566"/>
                    <a:gd name="connsiteX8" fmla="*/ 74653 w 106903"/>
                    <a:gd name="connsiteY8" fmla="*/ 33215 h 117566"/>
                    <a:gd name="connsiteX9" fmla="*/ 75072 w 106903"/>
                    <a:gd name="connsiteY9" fmla="*/ 34053 h 117566"/>
                    <a:gd name="connsiteX10" fmla="*/ 67835 w 106903"/>
                    <a:gd name="connsiteY10" fmla="*/ 42007 h 117566"/>
                    <a:gd name="connsiteX11" fmla="*/ 64187 w 106903"/>
                    <a:gd name="connsiteY11" fmla="*/ 41289 h 117566"/>
                    <a:gd name="connsiteX12" fmla="*/ 62273 w 106903"/>
                    <a:gd name="connsiteY12" fmla="*/ 43084 h 117566"/>
                    <a:gd name="connsiteX13" fmla="*/ 50133 w 106903"/>
                    <a:gd name="connsiteY13" fmla="*/ 39615 h 117566"/>
                    <a:gd name="connsiteX14" fmla="*/ 49953 w 106903"/>
                    <a:gd name="connsiteY14" fmla="*/ 38837 h 117566"/>
                    <a:gd name="connsiteX15" fmla="*/ 44870 w 106903"/>
                    <a:gd name="connsiteY15" fmla="*/ 36026 h 117566"/>
                    <a:gd name="connsiteX16" fmla="*/ 42836 w 106903"/>
                    <a:gd name="connsiteY16" fmla="*/ 41529 h 117566"/>
                    <a:gd name="connsiteX17" fmla="*/ 44810 w 106903"/>
                    <a:gd name="connsiteY17" fmla="*/ 43921 h 117566"/>
                    <a:gd name="connsiteX18" fmla="*/ 44152 w 106903"/>
                    <a:gd name="connsiteY18" fmla="*/ 72808 h 117566"/>
                    <a:gd name="connsiteX19" fmla="*/ 40922 w 106903"/>
                    <a:gd name="connsiteY19" fmla="*/ 72389 h 117566"/>
                    <a:gd name="connsiteX20" fmla="*/ 38590 w 106903"/>
                    <a:gd name="connsiteY20" fmla="*/ 76336 h 117566"/>
                    <a:gd name="connsiteX21" fmla="*/ 29798 w 106903"/>
                    <a:gd name="connsiteY21" fmla="*/ 77533 h 117566"/>
                    <a:gd name="connsiteX22" fmla="*/ 24774 w 106903"/>
                    <a:gd name="connsiteY22" fmla="*/ 74841 h 117566"/>
                    <a:gd name="connsiteX23" fmla="*/ 22741 w 106903"/>
                    <a:gd name="connsiteY23" fmla="*/ 80344 h 117566"/>
                    <a:gd name="connsiteX24" fmla="*/ 23399 w 106903"/>
                    <a:gd name="connsiteY24" fmla="*/ 81480 h 117566"/>
                    <a:gd name="connsiteX25" fmla="*/ 16162 w 106903"/>
                    <a:gd name="connsiteY25" fmla="*/ 91408 h 117566"/>
                    <a:gd name="connsiteX26" fmla="*/ 13112 w 106903"/>
                    <a:gd name="connsiteY26" fmla="*/ 91109 h 117566"/>
                    <a:gd name="connsiteX27" fmla="*/ 11078 w 106903"/>
                    <a:gd name="connsiteY27" fmla="*/ 96611 h 117566"/>
                    <a:gd name="connsiteX28" fmla="*/ 12035 w 106903"/>
                    <a:gd name="connsiteY28" fmla="*/ 98166 h 117566"/>
                    <a:gd name="connsiteX29" fmla="*/ 4918 w 106903"/>
                    <a:gd name="connsiteY29" fmla="*/ 109111 h 117566"/>
                    <a:gd name="connsiteX30" fmla="*/ 2347 w 106903"/>
                    <a:gd name="connsiteY30" fmla="*/ 109051 h 117566"/>
                    <a:gd name="connsiteX31" fmla="*/ 313 w 106903"/>
                    <a:gd name="connsiteY31" fmla="*/ 114553 h 117566"/>
                    <a:gd name="connsiteX32" fmla="*/ 5397 w 106903"/>
                    <a:gd name="connsiteY32" fmla="*/ 117364 h 117566"/>
                    <a:gd name="connsiteX33" fmla="*/ 7430 w 106903"/>
                    <a:gd name="connsiteY33" fmla="*/ 111862 h 117566"/>
                    <a:gd name="connsiteX34" fmla="*/ 6414 w 106903"/>
                    <a:gd name="connsiteY34" fmla="*/ 110187 h 117566"/>
                    <a:gd name="connsiteX35" fmla="*/ 13531 w 106903"/>
                    <a:gd name="connsiteY35" fmla="*/ 99302 h 117566"/>
                    <a:gd name="connsiteX36" fmla="*/ 16222 w 106903"/>
                    <a:gd name="connsiteY36" fmla="*/ 99422 h 117566"/>
                    <a:gd name="connsiteX37" fmla="*/ 18255 w 106903"/>
                    <a:gd name="connsiteY37" fmla="*/ 93920 h 117566"/>
                    <a:gd name="connsiteX38" fmla="*/ 17598 w 106903"/>
                    <a:gd name="connsiteY38" fmla="*/ 92664 h 117566"/>
                    <a:gd name="connsiteX39" fmla="*/ 24834 w 106903"/>
                    <a:gd name="connsiteY39" fmla="*/ 82796 h 117566"/>
                    <a:gd name="connsiteX40" fmla="*/ 27944 w 106903"/>
                    <a:gd name="connsiteY40" fmla="*/ 83154 h 117566"/>
                    <a:gd name="connsiteX41" fmla="*/ 30277 w 106903"/>
                    <a:gd name="connsiteY41" fmla="*/ 79446 h 117566"/>
                    <a:gd name="connsiteX42" fmla="*/ 39188 w 106903"/>
                    <a:gd name="connsiteY42" fmla="*/ 78250 h 117566"/>
                    <a:gd name="connsiteX43" fmla="*/ 44092 w 106903"/>
                    <a:gd name="connsiteY43" fmla="*/ 80702 h 117566"/>
                    <a:gd name="connsiteX44" fmla="*/ 46125 w 106903"/>
                    <a:gd name="connsiteY44" fmla="*/ 75200 h 117566"/>
                    <a:gd name="connsiteX45" fmla="*/ 45886 w 106903"/>
                    <a:gd name="connsiteY45" fmla="*/ 74722 h 117566"/>
                    <a:gd name="connsiteX46" fmla="*/ 46544 w 106903"/>
                    <a:gd name="connsiteY46" fmla="*/ 44519 h 117566"/>
                    <a:gd name="connsiteX47" fmla="*/ 47979 w 106903"/>
                    <a:gd name="connsiteY47" fmla="*/ 44340 h 117566"/>
                    <a:gd name="connsiteX48" fmla="*/ 50193 w 106903"/>
                    <a:gd name="connsiteY48" fmla="*/ 41529 h 117566"/>
                    <a:gd name="connsiteX49" fmla="*/ 61855 w 106903"/>
                    <a:gd name="connsiteY49" fmla="*/ 44878 h 117566"/>
                    <a:gd name="connsiteX50" fmla="*/ 62154 w 106903"/>
                    <a:gd name="connsiteY50" fmla="*/ 46792 h 117566"/>
                    <a:gd name="connsiteX51" fmla="*/ 67237 w 106903"/>
                    <a:gd name="connsiteY51" fmla="*/ 49603 h 117566"/>
                    <a:gd name="connsiteX52" fmla="*/ 69271 w 106903"/>
                    <a:gd name="connsiteY52" fmla="*/ 44100 h 117566"/>
                    <a:gd name="connsiteX53" fmla="*/ 68972 w 106903"/>
                    <a:gd name="connsiteY53" fmla="*/ 43502 h 117566"/>
                    <a:gd name="connsiteX54" fmla="*/ 76328 w 106903"/>
                    <a:gd name="connsiteY54" fmla="*/ 35428 h 117566"/>
                    <a:gd name="connsiteX55" fmla="*/ 79737 w 106903"/>
                    <a:gd name="connsiteY55" fmla="*/ 35967 h 117566"/>
                    <a:gd name="connsiteX56" fmla="*/ 82070 w 106903"/>
                    <a:gd name="connsiteY56" fmla="*/ 31780 h 117566"/>
                    <a:gd name="connsiteX57" fmla="*/ 90443 w 106903"/>
                    <a:gd name="connsiteY57" fmla="*/ 28610 h 117566"/>
                    <a:gd name="connsiteX58" fmla="*/ 94868 w 106903"/>
                    <a:gd name="connsiteY58" fmla="*/ 30225 h 117566"/>
                    <a:gd name="connsiteX59" fmla="*/ 96902 w 106903"/>
                    <a:gd name="connsiteY59" fmla="*/ 24723 h 117566"/>
                    <a:gd name="connsiteX60" fmla="*/ 96065 w 106903"/>
                    <a:gd name="connsiteY60" fmla="*/ 23287 h 117566"/>
                    <a:gd name="connsiteX61" fmla="*/ 102344 w 106903"/>
                    <a:gd name="connsiteY61" fmla="*/ 8575 h 117566"/>
                    <a:gd name="connsiteX62" fmla="*/ 104557 w 106903"/>
                    <a:gd name="connsiteY62" fmla="*/ 8515 h 117566"/>
                    <a:gd name="connsiteX63" fmla="*/ 106591 w 106903"/>
                    <a:gd name="connsiteY63" fmla="*/ 3013 h 117566"/>
                    <a:gd name="connsiteX64" fmla="*/ 101507 w 106903"/>
                    <a:gd name="connsiteY64" fmla="*/ 202 h 117566"/>
                    <a:gd name="connsiteX65" fmla="*/ 4799 w 106903"/>
                    <a:gd name="connsiteY65" fmla="*/ 115450 h 117566"/>
                    <a:gd name="connsiteX66" fmla="*/ 1928 w 106903"/>
                    <a:gd name="connsiteY66" fmla="*/ 113895 h 117566"/>
                    <a:gd name="connsiteX67" fmla="*/ 3064 w 106903"/>
                    <a:gd name="connsiteY67" fmla="*/ 110785 h 117566"/>
                    <a:gd name="connsiteX68" fmla="*/ 5935 w 106903"/>
                    <a:gd name="connsiteY68" fmla="*/ 112340 h 117566"/>
                    <a:gd name="connsiteX69" fmla="*/ 4799 w 106903"/>
                    <a:gd name="connsiteY69" fmla="*/ 115450 h 117566"/>
                    <a:gd name="connsiteX70" fmla="*/ 15564 w 106903"/>
                    <a:gd name="connsiteY70" fmla="*/ 97568 h 117566"/>
                    <a:gd name="connsiteX71" fmla="*/ 12693 w 106903"/>
                    <a:gd name="connsiteY71" fmla="*/ 96013 h 117566"/>
                    <a:gd name="connsiteX72" fmla="*/ 13830 w 106903"/>
                    <a:gd name="connsiteY72" fmla="*/ 92903 h 117566"/>
                    <a:gd name="connsiteX73" fmla="*/ 16700 w 106903"/>
                    <a:gd name="connsiteY73" fmla="*/ 94458 h 117566"/>
                    <a:gd name="connsiteX74" fmla="*/ 15564 w 106903"/>
                    <a:gd name="connsiteY74" fmla="*/ 97568 h 117566"/>
                    <a:gd name="connsiteX75" fmla="*/ 27226 w 106903"/>
                    <a:gd name="connsiteY75" fmla="*/ 81300 h 117566"/>
                    <a:gd name="connsiteX76" fmla="*/ 24356 w 106903"/>
                    <a:gd name="connsiteY76" fmla="*/ 79745 h 117566"/>
                    <a:gd name="connsiteX77" fmla="*/ 25492 w 106903"/>
                    <a:gd name="connsiteY77" fmla="*/ 76636 h 117566"/>
                    <a:gd name="connsiteX78" fmla="*/ 28363 w 106903"/>
                    <a:gd name="connsiteY78" fmla="*/ 78191 h 117566"/>
                    <a:gd name="connsiteX79" fmla="*/ 27226 w 106903"/>
                    <a:gd name="connsiteY79" fmla="*/ 81300 h 117566"/>
                    <a:gd name="connsiteX80" fmla="*/ 43374 w 106903"/>
                    <a:gd name="connsiteY80" fmla="*/ 78848 h 117566"/>
                    <a:gd name="connsiteX81" fmla="*/ 40503 w 106903"/>
                    <a:gd name="connsiteY81" fmla="*/ 77293 h 117566"/>
                    <a:gd name="connsiteX82" fmla="*/ 41640 w 106903"/>
                    <a:gd name="connsiteY82" fmla="*/ 74183 h 117566"/>
                    <a:gd name="connsiteX83" fmla="*/ 44511 w 106903"/>
                    <a:gd name="connsiteY83" fmla="*/ 75738 h 117566"/>
                    <a:gd name="connsiteX84" fmla="*/ 43374 w 106903"/>
                    <a:gd name="connsiteY84" fmla="*/ 78848 h 117566"/>
                    <a:gd name="connsiteX85" fmla="*/ 47322 w 106903"/>
                    <a:gd name="connsiteY85" fmla="*/ 42486 h 117566"/>
                    <a:gd name="connsiteX86" fmla="*/ 44451 w 106903"/>
                    <a:gd name="connsiteY86" fmla="*/ 40931 h 117566"/>
                    <a:gd name="connsiteX87" fmla="*/ 45587 w 106903"/>
                    <a:gd name="connsiteY87" fmla="*/ 37821 h 117566"/>
                    <a:gd name="connsiteX88" fmla="*/ 48458 w 106903"/>
                    <a:gd name="connsiteY88" fmla="*/ 39376 h 117566"/>
                    <a:gd name="connsiteX89" fmla="*/ 47322 w 106903"/>
                    <a:gd name="connsiteY89" fmla="*/ 42486 h 117566"/>
                    <a:gd name="connsiteX90" fmla="*/ 66640 w 106903"/>
                    <a:gd name="connsiteY90" fmla="*/ 47749 h 117566"/>
                    <a:gd name="connsiteX91" fmla="*/ 63769 w 106903"/>
                    <a:gd name="connsiteY91" fmla="*/ 46194 h 117566"/>
                    <a:gd name="connsiteX92" fmla="*/ 64905 w 106903"/>
                    <a:gd name="connsiteY92" fmla="*/ 43084 h 117566"/>
                    <a:gd name="connsiteX93" fmla="*/ 67776 w 106903"/>
                    <a:gd name="connsiteY93" fmla="*/ 44639 h 117566"/>
                    <a:gd name="connsiteX94" fmla="*/ 66640 w 106903"/>
                    <a:gd name="connsiteY94" fmla="*/ 47749 h 117566"/>
                    <a:gd name="connsiteX95" fmla="*/ 79139 w 106903"/>
                    <a:gd name="connsiteY95" fmla="*/ 34172 h 117566"/>
                    <a:gd name="connsiteX96" fmla="*/ 76268 w 106903"/>
                    <a:gd name="connsiteY96" fmla="*/ 32617 h 117566"/>
                    <a:gd name="connsiteX97" fmla="*/ 77405 w 106903"/>
                    <a:gd name="connsiteY97" fmla="*/ 29507 h 117566"/>
                    <a:gd name="connsiteX98" fmla="*/ 80275 w 106903"/>
                    <a:gd name="connsiteY98" fmla="*/ 31062 h 117566"/>
                    <a:gd name="connsiteX99" fmla="*/ 79139 w 106903"/>
                    <a:gd name="connsiteY99" fmla="*/ 34172 h 117566"/>
                    <a:gd name="connsiteX100" fmla="*/ 94270 w 106903"/>
                    <a:gd name="connsiteY100" fmla="*/ 28431 h 117566"/>
                    <a:gd name="connsiteX101" fmla="*/ 91399 w 106903"/>
                    <a:gd name="connsiteY101" fmla="*/ 26876 h 117566"/>
                    <a:gd name="connsiteX102" fmla="*/ 92536 w 106903"/>
                    <a:gd name="connsiteY102" fmla="*/ 23766 h 117566"/>
                    <a:gd name="connsiteX103" fmla="*/ 95407 w 106903"/>
                    <a:gd name="connsiteY103" fmla="*/ 25321 h 117566"/>
                    <a:gd name="connsiteX104" fmla="*/ 94270 w 106903"/>
                    <a:gd name="connsiteY104" fmla="*/ 28431 h 117566"/>
                    <a:gd name="connsiteX105" fmla="*/ 103899 w 106903"/>
                    <a:gd name="connsiteY105" fmla="*/ 6661 h 117566"/>
                    <a:gd name="connsiteX106" fmla="*/ 101029 w 106903"/>
                    <a:gd name="connsiteY106" fmla="*/ 5106 h 117566"/>
                    <a:gd name="connsiteX107" fmla="*/ 102165 w 106903"/>
                    <a:gd name="connsiteY107" fmla="*/ 1996 h 117566"/>
                    <a:gd name="connsiteX108" fmla="*/ 105036 w 106903"/>
                    <a:gd name="connsiteY108" fmla="*/ 3551 h 117566"/>
                    <a:gd name="connsiteX109" fmla="*/ 103899 w 106903"/>
                    <a:gd name="connsiteY109" fmla="*/ 6661 h 117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06903" h="117566">
                      <a:moveTo>
                        <a:pt x="101507" y="202"/>
                      </a:moveTo>
                      <a:cubicBezTo>
                        <a:pt x="99533" y="920"/>
                        <a:pt x="98636" y="3432"/>
                        <a:pt x="99474" y="5704"/>
                      </a:cubicBezTo>
                      <a:cubicBezTo>
                        <a:pt x="99773" y="6482"/>
                        <a:pt x="100251" y="7140"/>
                        <a:pt x="100789" y="7678"/>
                      </a:cubicBezTo>
                      <a:lnTo>
                        <a:pt x="94629" y="22151"/>
                      </a:lnTo>
                      <a:cubicBezTo>
                        <a:pt x="93732" y="21732"/>
                        <a:pt x="92775" y="21613"/>
                        <a:pt x="91818" y="21972"/>
                      </a:cubicBezTo>
                      <a:cubicBezTo>
                        <a:pt x="90024" y="22630"/>
                        <a:pt x="89127" y="24783"/>
                        <a:pt x="89605" y="26876"/>
                      </a:cubicBezTo>
                      <a:lnTo>
                        <a:pt x="81531" y="29926"/>
                      </a:lnTo>
                      <a:cubicBezTo>
                        <a:pt x="80574" y="28012"/>
                        <a:pt x="78481" y="26996"/>
                        <a:pt x="76687" y="27713"/>
                      </a:cubicBezTo>
                      <a:cubicBezTo>
                        <a:pt x="74713" y="28431"/>
                        <a:pt x="73816" y="30943"/>
                        <a:pt x="74653" y="33215"/>
                      </a:cubicBezTo>
                      <a:cubicBezTo>
                        <a:pt x="74773" y="33515"/>
                        <a:pt x="74893" y="33814"/>
                        <a:pt x="75072" y="34053"/>
                      </a:cubicBezTo>
                      <a:lnTo>
                        <a:pt x="67835" y="42007"/>
                      </a:lnTo>
                      <a:cubicBezTo>
                        <a:pt x="66759" y="41170"/>
                        <a:pt x="65443" y="40811"/>
                        <a:pt x="64187" y="41289"/>
                      </a:cubicBezTo>
                      <a:cubicBezTo>
                        <a:pt x="63350" y="41588"/>
                        <a:pt x="62692" y="42246"/>
                        <a:pt x="62273" y="43084"/>
                      </a:cubicBezTo>
                      <a:lnTo>
                        <a:pt x="50133" y="39615"/>
                      </a:lnTo>
                      <a:cubicBezTo>
                        <a:pt x="50073" y="39376"/>
                        <a:pt x="50013" y="39136"/>
                        <a:pt x="49953" y="38837"/>
                      </a:cubicBezTo>
                      <a:cubicBezTo>
                        <a:pt x="49116" y="36565"/>
                        <a:pt x="46843" y="35309"/>
                        <a:pt x="44870" y="36026"/>
                      </a:cubicBezTo>
                      <a:cubicBezTo>
                        <a:pt x="42896" y="36744"/>
                        <a:pt x="41999" y="39256"/>
                        <a:pt x="42836" y="41529"/>
                      </a:cubicBezTo>
                      <a:cubicBezTo>
                        <a:pt x="43255" y="42605"/>
                        <a:pt x="43912" y="43443"/>
                        <a:pt x="44810" y="43921"/>
                      </a:cubicBezTo>
                      <a:lnTo>
                        <a:pt x="44152" y="72808"/>
                      </a:lnTo>
                      <a:cubicBezTo>
                        <a:pt x="43195" y="72150"/>
                        <a:pt x="41999" y="71971"/>
                        <a:pt x="40922" y="72389"/>
                      </a:cubicBezTo>
                      <a:cubicBezTo>
                        <a:pt x="39427" y="72987"/>
                        <a:pt x="38530" y="74602"/>
                        <a:pt x="38590" y="76336"/>
                      </a:cubicBezTo>
                      <a:lnTo>
                        <a:pt x="29798" y="77533"/>
                      </a:lnTo>
                      <a:cubicBezTo>
                        <a:pt x="28901" y="75320"/>
                        <a:pt x="26688" y="74124"/>
                        <a:pt x="24774" y="74841"/>
                      </a:cubicBezTo>
                      <a:cubicBezTo>
                        <a:pt x="22801" y="75559"/>
                        <a:pt x="21903" y="78071"/>
                        <a:pt x="22741" y="80344"/>
                      </a:cubicBezTo>
                      <a:cubicBezTo>
                        <a:pt x="22920" y="80762"/>
                        <a:pt x="23100" y="81181"/>
                        <a:pt x="23399" y="81480"/>
                      </a:cubicBezTo>
                      <a:lnTo>
                        <a:pt x="16162" y="91408"/>
                      </a:lnTo>
                      <a:cubicBezTo>
                        <a:pt x="15205" y="90870"/>
                        <a:pt x="14129" y="90690"/>
                        <a:pt x="13112" y="91109"/>
                      </a:cubicBezTo>
                      <a:cubicBezTo>
                        <a:pt x="11138" y="91827"/>
                        <a:pt x="10241" y="94338"/>
                        <a:pt x="11078" y="96611"/>
                      </a:cubicBezTo>
                      <a:cubicBezTo>
                        <a:pt x="11318" y="97209"/>
                        <a:pt x="11617" y="97747"/>
                        <a:pt x="12035" y="98166"/>
                      </a:cubicBezTo>
                      <a:lnTo>
                        <a:pt x="4918" y="109111"/>
                      </a:lnTo>
                      <a:cubicBezTo>
                        <a:pt x="4081" y="108752"/>
                        <a:pt x="3184" y="108692"/>
                        <a:pt x="2347" y="109051"/>
                      </a:cubicBezTo>
                      <a:cubicBezTo>
                        <a:pt x="373" y="109769"/>
                        <a:pt x="-524" y="112281"/>
                        <a:pt x="313" y="114553"/>
                      </a:cubicBezTo>
                      <a:cubicBezTo>
                        <a:pt x="1151" y="116826"/>
                        <a:pt x="3423" y="118082"/>
                        <a:pt x="5397" y="117364"/>
                      </a:cubicBezTo>
                      <a:cubicBezTo>
                        <a:pt x="7370" y="116647"/>
                        <a:pt x="8268" y="114135"/>
                        <a:pt x="7430" y="111862"/>
                      </a:cubicBezTo>
                      <a:cubicBezTo>
                        <a:pt x="7191" y="111204"/>
                        <a:pt x="6832" y="110666"/>
                        <a:pt x="6414" y="110187"/>
                      </a:cubicBezTo>
                      <a:lnTo>
                        <a:pt x="13531" y="99302"/>
                      </a:lnTo>
                      <a:cubicBezTo>
                        <a:pt x="14368" y="99661"/>
                        <a:pt x="15325" y="99781"/>
                        <a:pt x="16222" y="99422"/>
                      </a:cubicBezTo>
                      <a:cubicBezTo>
                        <a:pt x="18195" y="98704"/>
                        <a:pt x="19093" y="96192"/>
                        <a:pt x="18255" y="93920"/>
                      </a:cubicBezTo>
                      <a:cubicBezTo>
                        <a:pt x="18076" y="93441"/>
                        <a:pt x="17837" y="93083"/>
                        <a:pt x="17598" y="92664"/>
                      </a:cubicBezTo>
                      <a:lnTo>
                        <a:pt x="24834" y="82796"/>
                      </a:lnTo>
                      <a:cubicBezTo>
                        <a:pt x="25791" y="83394"/>
                        <a:pt x="26927" y="83513"/>
                        <a:pt x="27944" y="83154"/>
                      </a:cubicBezTo>
                      <a:cubicBezTo>
                        <a:pt x="29379" y="82616"/>
                        <a:pt x="30277" y="81121"/>
                        <a:pt x="30277" y="79446"/>
                      </a:cubicBezTo>
                      <a:lnTo>
                        <a:pt x="39188" y="78250"/>
                      </a:lnTo>
                      <a:cubicBezTo>
                        <a:pt x="40145" y="80284"/>
                        <a:pt x="42238" y="81420"/>
                        <a:pt x="44092" y="80702"/>
                      </a:cubicBezTo>
                      <a:cubicBezTo>
                        <a:pt x="46066" y="79985"/>
                        <a:pt x="46963" y="77473"/>
                        <a:pt x="46125" y="75200"/>
                      </a:cubicBezTo>
                      <a:cubicBezTo>
                        <a:pt x="46066" y="75021"/>
                        <a:pt x="46006" y="74901"/>
                        <a:pt x="45886" y="74722"/>
                      </a:cubicBezTo>
                      <a:lnTo>
                        <a:pt x="46544" y="44519"/>
                      </a:lnTo>
                      <a:cubicBezTo>
                        <a:pt x="47023" y="44579"/>
                        <a:pt x="47501" y="44519"/>
                        <a:pt x="47979" y="44340"/>
                      </a:cubicBezTo>
                      <a:cubicBezTo>
                        <a:pt x="49176" y="43921"/>
                        <a:pt x="49953" y="42844"/>
                        <a:pt x="50193" y="41529"/>
                      </a:cubicBezTo>
                      <a:lnTo>
                        <a:pt x="61855" y="44878"/>
                      </a:lnTo>
                      <a:cubicBezTo>
                        <a:pt x="61855" y="45476"/>
                        <a:pt x="61915" y="46134"/>
                        <a:pt x="62154" y="46792"/>
                      </a:cubicBezTo>
                      <a:cubicBezTo>
                        <a:pt x="62991" y="49064"/>
                        <a:pt x="65264" y="50320"/>
                        <a:pt x="67237" y="49603"/>
                      </a:cubicBezTo>
                      <a:cubicBezTo>
                        <a:pt x="69211" y="48885"/>
                        <a:pt x="70108" y="46373"/>
                        <a:pt x="69271" y="44100"/>
                      </a:cubicBezTo>
                      <a:cubicBezTo>
                        <a:pt x="69211" y="43921"/>
                        <a:pt x="69091" y="43682"/>
                        <a:pt x="68972" y="43502"/>
                      </a:cubicBezTo>
                      <a:lnTo>
                        <a:pt x="76328" y="35428"/>
                      </a:lnTo>
                      <a:cubicBezTo>
                        <a:pt x="77345" y="36146"/>
                        <a:pt x="78601" y="36445"/>
                        <a:pt x="79737" y="35967"/>
                      </a:cubicBezTo>
                      <a:cubicBezTo>
                        <a:pt x="81352" y="35369"/>
                        <a:pt x="82189" y="33634"/>
                        <a:pt x="82070" y="31780"/>
                      </a:cubicBezTo>
                      <a:lnTo>
                        <a:pt x="90443" y="28610"/>
                      </a:lnTo>
                      <a:cubicBezTo>
                        <a:pt x="91519" y="30106"/>
                        <a:pt x="93313" y="30823"/>
                        <a:pt x="94868" y="30225"/>
                      </a:cubicBezTo>
                      <a:cubicBezTo>
                        <a:pt x="96842" y="29507"/>
                        <a:pt x="97739" y="26996"/>
                        <a:pt x="96902" y="24723"/>
                      </a:cubicBezTo>
                      <a:cubicBezTo>
                        <a:pt x="96722" y="24185"/>
                        <a:pt x="96423" y="23706"/>
                        <a:pt x="96065" y="23287"/>
                      </a:cubicBezTo>
                      <a:lnTo>
                        <a:pt x="102344" y="8575"/>
                      </a:lnTo>
                      <a:cubicBezTo>
                        <a:pt x="103062" y="8814"/>
                        <a:pt x="103839" y="8814"/>
                        <a:pt x="104557" y="8515"/>
                      </a:cubicBezTo>
                      <a:cubicBezTo>
                        <a:pt x="106531" y="7797"/>
                        <a:pt x="107428" y="5286"/>
                        <a:pt x="106591" y="3013"/>
                      </a:cubicBezTo>
                      <a:cubicBezTo>
                        <a:pt x="105753" y="740"/>
                        <a:pt x="103481" y="-516"/>
                        <a:pt x="101507" y="202"/>
                      </a:cubicBezTo>
                      <a:close/>
                      <a:moveTo>
                        <a:pt x="4799" y="115450"/>
                      </a:moveTo>
                      <a:cubicBezTo>
                        <a:pt x="3722" y="115869"/>
                        <a:pt x="2406" y="115151"/>
                        <a:pt x="1928" y="113895"/>
                      </a:cubicBezTo>
                      <a:cubicBezTo>
                        <a:pt x="1449" y="112639"/>
                        <a:pt x="1988" y="111204"/>
                        <a:pt x="3064" y="110785"/>
                      </a:cubicBezTo>
                      <a:cubicBezTo>
                        <a:pt x="4141" y="110367"/>
                        <a:pt x="5456" y="111084"/>
                        <a:pt x="5935" y="112340"/>
                      </a:cubicBezTo>
                      <a:cubicBezTo>
                        <a:pt x="6414" y="113656"/>
                        <a:pt x="5875" y="115032"/>
                        <a:pt x="4799" y="115450"/>
                      </a:cubicBezTo>
                      <a:close/>
                      <a:moveTo>
                        <a:pt x="15564" y="97568"/>
                      </a:moveTo>
                      <a:cubicBezTo>
                        <a:pt x="14487" y="97987"/>
                        <a:pt x="13172" y="97269"/>
                        <a:pt x="12693" y="96013"/>
                      </a:cubicBezTo>
                      <a:cubicBezTo>
                        <a:pt x="12215" y="94757"/>
                        <a:pt x="12753" y="93322"/>
                        <a:pt x="13830" y="92903"/>
                      </a:cubicBezTo>
                      <a:cubicBezTo>
                        <a:pt x="14906" y="92484"/>
                        <a:pt x="16222" y="93202"/>
                        <a:pt x="16700" y="94458"/>
                      </a:cubicBezTo>
                      <a:cubicBezTo>
                        <a:pt x="17179" y="95714"/>
                        <a:pt x="16640" y="97149"/>
                        <a:pt x="15564" y="97568"/>
                      </a:cubicBezTo>
                      <a:close/>
                      <a:moveTo>
                        <a:pt x="27226" y="81300"/>
                      </a:moveTo>
                      <a:cubicBezTo>
                        <a:pt x="26150" y="81719"/>
                        <a:pt x="24834" y="81001"/>
                        <a:pt x="24356" y="79745"/>
                      </a:cubicBezTo>
                      <a:cubicBezTo>
                        <a:pt x="23877" y="78490"/>
                        <a:pt x="24416" y="77054"/>
                        <a:pt x="25492" y="76636"/>
                      </a:cubicBezTo>
                      <a:cubicBezTo>
                        <a:pt x="26569" y="76217"/>
                        <a:pt x="27884" y="76935"/>
                        <a:pt x="28363" y="78191"/>
                      </a:cubicBezTo>
                      <a:cubicBezTo>
                        <a:pt x="28841" y="79506"/>
                        <a:pt x="28303" y="80882"/>
                        <a:pt x="27226" y="81300"/>
                      </a:cubicBezTo>
                      <a:close/>
                      <a:moveTo>
                        <a:pt x="43374" y="78848"/>
                      </a:moveTo>
                      <a:cubicBezTo>
                        <a:pt x="42298" y="79267"/>
                        <a:pt x="40982" y="78549"/>
                        <a:pt x="40503" y="77293"/>
                      </a:cubicBezTo>
                      <a:cubicBezTo>
                        <a:pt x="40025" y="76037"/>
                        <a:pt x="40563" y="74602"/>
                        <a:pt x="41640" y="74183"/>
                      </a:cubicBezTo>
                      <a:cubicBezTo>
                        <a:pt x="42717" y="73765"/>
                        <a:pt x="44032" y="74482"/>
                        <a:pt x="44511" y="75738"/>
                      </a:cubicBezTo>
                      <a:cubicBezTo>
                        <a:pt x="44989" y="77054"/>
                        <a:pt x="44511" y="78430"/>
                        <a:pt x="43374" y="78848"/>
                      </a:cubicBezTo>
                      <a:close/>
                      <a:moveTo>
                        <a:pt x="47322" y="42486"/>
                      </a:moveTo>
                      <a:cubicBezTo>
                        <a:pt x="46245" y="42904"/>
                        <a:pt x="44929" y="42187"/>
                        <a:pt x="44451" y="40931"/>
                      </a:cubicBezTo>
                      <a:cubicBezTo>
                        <a:pt x="43972" y="39675"/>
                        <a:pt x="44511" y="38239"/>
                        <a:pt x="45587" y="37821"/>
                      </a:cubicBezTo>
                      <a:cubicBezTo>
                        <a:pt x="46664" y="37402"/>
                        <a:pt x="47979" y="38120"/>
                        <a:pt x="48458" y="39376"/>
                      </a:cubicBezTo>
                      <a:cubicBezTo>
                        <a:pt x="48936" y="40691"/>
                        <a:pt x="48458" y="42067"/>
                        <a:pt x="47322" y="42486"/>
                      </a:cubicBezTo>
                      <a:close/>
                      <a:moveTo>
                        <a:pt x="66640" y="47749"/>
                      </a:moveTo>
                      <a:cubicBezTo>
                        <a:pt x="65563" y="48167"/>
                        <a:pt x="64247" y="47450"/>
                        <a:pt x="63769" y="46194"/>
                      </a:cubicBezTo>
                      <a:cubicBezTo>
                        <a:pt x="63290" y="44938"/>
                        <a:pt x="63828" y="43502"/>
                        <a:pt x="64905" y="43084"/>
                      </a:cubicBezTo>
                      <a:cubicBezTo>
                        <a:pt x="65981" y="42665"/>
                        <a:pt x="67297" y="43383"/>
                        <a:pt x="67776" y="44639"/>
                      </a:cubicBezTo>
                      <a:cubicBezTo>
                        <a:pt x="68254" y="45895"/>
                        <a:pt x="67776" y="47330"/>
                        <a:pt x="66640" y="47749"/>
                      </a:cubicBezTo>
                      <a:close/>
                      <a:moveTo>
                        <a:pt x="79139" y="34172"/>
                      </a:moveTo>
                      <a:cubicBezTo>
                        <a:pt x="78063" y="34591"/>
                        <a:pt x="76747" y="33873"/>
                        <a:pt x="76268" y="32617"/>
                      </a:cubicBezTo>
                      <a:cubicBezTo>
                        <a:pt x="75790" y="31361"/>
                        <a:pt x="76328" y="29926"/>
                        <a:pt x="77405" y="29507"/>
                      </a:cubicBezTo>
                      <a:cubicBezTo>
                        <a:pt x="78481" y="29089"/>
                        <a:pt x="79797" y="29806"/>
                        <a:pt x="80275" y="31062"/>
                      </a:cubicBezTo>
                      <a:cubicBezTo>
                        <a:pt x="80754" y="32318"/>
                        <a:pt x="80275" y="33754"/>
                        <a:pt x="79139" y="34172"/>
                      </a:cubicBezTo>
                      <a:close/>
                      <a:moveTo>
                        <a:pt x="94270" y="28431"/>
                      </a:moveTo>
                      <a:cubicBezTo>
                        <a:pt x="93194" y="28850"/>
                        <a:pt x="91878" y="28132"/>
                        <a:pt x="91399" y="26876"/>
                      </a:cubicBezTo>
                      <a:cubicBezTo>
                        <a:pt x="90921" y="25620"/>
                        <a:pt x="91459" y="24185"/>
                        <a:pt x="92536" y="23766"/>
                      </a:cubicBezTo>
                      <a:cubicBezTo>
                        <a:pt x="93612" y="23347"/>
                        <a:pt x="94928" y="24065"/>
                        <a:pt x="95407" y="25321"/>
                      </a:cubicBezTo>
                      <a:cubicBezTo>
                        <a:pt x="95885" y="26637"/>
                        <a:pt x="95347" y="28012"/>
                        <a:pt x="94270" y="28431"/>
                      </a:cubicBezTo>
                      <a:close/>
                      <a:moveTo>
                        <a:pt x="103899" y="6661"/>
                      </a:moveTo>
                      <a:cubicBezTo>
                        <a:pt x="102823" y="7080"/>
                        <a:pt x="101507" y="6362"/>
                        <a:pt x="101029" y="5106"/>
                      </a:cubicBezTo>
                      <a:cubicBezTo>
                        <a:pt x="100550" y="3850"/>
                        <a:pt x="101088" y="2415"/>
                        <a:pt x="102165" y="1996"/>
                      </a:cubicBezTo>
                      <a:cubicBezTo>
                        <a:pt x="103242" y="1577"/>
                        <a:pt x="104557" y="2295"/>
                        <a:pt x="105036" y="3551"/>
                      </a:cubicBezTo>
                      <a:cubicBezTo>
                        <a:pt x="105514" y="4867"/>
                        <a:pt x="105036" y="6242"/>
                        <a:pt x="103899" y="666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86" name="Vrije vorm: vorm 9285">
                  <a:extLst>
                    <a:ext uri="{FF2B5EF4-FFF2-40B4-BE49-F238E27FC236}">
                      <a16:creationId xmlns:a16="http://schemas.microsoft.com/office/drawing/2014/main" id="{1B11E838-D97F-40F3-A6EB-634FB50D8692}"/>
                    </a:ext>
                  </a:extLst>
                </p:cNvPr>
                <p:cNvSpPr/>
                <p:nvPr/>
              </p:nvSpPr>
              <p:spPr>
                <a:xfrm>
                  <a:off x="5381878" y="1176904"/>
                  <a:ext cx="115097" cy="96155"/>
                </a:xfrm>
                <a:custGeom>
                  <a:avLst/>
                  <a:gdLst>
                    <a:gd name="connsiteX0" fmla="*/ 109820 w 115097"/>
                    <a:gd name="connsiteY0" fmla="*/ 1757 h 96155"/>
                    <a:gd name="connsiteX1" fmla="*/ 107488 w 115097"/>
                    <a:gd name="connsiteY1" fmla="*/ 5166 h 96155"/>
                    <a:gd name="connsiteX2" fmla="*/ 97201 w 115097"/>
                    <a:gd name="connsiteY2" fmla="*/ 4687 h 96155"/>
                    <a:gd name="connsiteX3" fmla="*/ 97022 w 115097"/>
                    <a:gd name="connsiteY3" fmla="*/ 3970 h 96155"/>
                    <a:gd name="connsiteX4" fmla="*/ 91938 w 115097"/>
                    <a:gd name="connsiteY4" fmla="*/ 1159 h 96155"/>
                    <a:gd name="connsiteX5" fmla="*/ 89904 w 115097"/>
                    <a:gd name="connsiteY5" fmla="*/ 6661 h 96155"/>
                    <a:gd name="connsiteX6" fmla="*/ 89964 w 115097"/>
                    <a:gd name="connsiteY6" fmla="*/ 6840 h 96155"/>
                    <a:gd name="connsiteX7" fmla="*/ 82249 w 115097"/>
                    <a:gd name="connsiteY7" fmla="*/ 13838 h 96155"/>
                    <a:gd name="connsiteX8" fmla="*/ 79019 w 115097"/>
                    <a:gd name="connsiteY8" fmla="*/ 13419 h 96155"/>
                    <a:gd name="connsiteX9" fmla="*/ 76687 w 115097"/>
                    <a:gd name="connsiteY9" fmla="*/ 17307 h 96155"/>
                    <a:gd name="connsiteX10" fmla="*/ 61855 w 115097"/>
                    <a:gd name="connsiteY10" fmla="*/ 6661 h 96155"/>
                    <a:gd name="connsiteX11" fmla="*/ 61975 w 115097"/>
                    <a:gd name="connsiteY11" fmla="*/ 3013 h 96155"/>
                    <a:gd name="connsiteX12" fmla="*/ 56891 w 115097"/>
                    <a:gd name="connsiteY12" fmla="*/ 202 h 96155"/>
                    <a:gd name="connsiteX13" fmla="*/ 54858 w 115097"/>
                    <a:gd name="connsiteY13" fmla="*/ 5704 h 96155"/>
                    <a:gd name="connsiteX14" fmla="*/ 56891 w 115097"/>
                    <a:gd name="connsiteY14" fmla="*/ 8156 h 96155"/>
                    <a:gd name="connsiteX15" fmla="*/ 56293 w 115097"/>
                    <a:gd name="connsiteY15" fmla="*/ 45297 h 96155"/>
                    <a:gd name="connsiteX16" fmla="*/ 55276 w 115097"/>
                    <a:gd name="connsiteY16" fmla="*/ 45476 h 96155"/>
                    <a:gd name="connsiteX17" fmla="*/ 53243 w 115097"/>
                    <a:gd name="connsiteY17" fmla="*/ 50978 h 96155"/>
                    <a:gd name="connsiteX18" fmla="*/ 54618 w 115097"/>
                    <a:gd name="connsiteY18" fmla="*/ 53012 h 96155"/>
                    <a:gd name="connsiteX19" fmla="*/ 48757 w 115097"/>
                    <a:gd name="connsiteY19" fmla="*/ 63538 h 96155"/>
                    <a:gd name="connsiteX20" fmla="*/ 45468 w 115097"/>
                    <a:gd name="connsiteY20" fmla="*/ 63059 h 96155"/>
                    <a:gd name="connsiteX21" fmla="*/ 43255 w 115097"/>
                    <a:gd name="connsiteY21" fmla="*/ 65631 h 96155"/>
                    <a:gd name="connsiteX22" fmla="*/ 31592 w 115097"/>
                    <a:gd name="connsiteY22" fmla="*/ 62461 h 96155"/>
                    <a:gd name="connsiteX23" fmla="*/ 31293 w 115097"/>
                    <a:gd name="connsiteY23" fmla="*/ 60787 h 96155"/>
                    <a:gd name="connsiteX24" fmla="*/ 26210 w 115097"/>
                    <a:gd name="connsiteY24" fmla="*/ 57976 h 96155"/>
                    <a:gd name="connsiteX25" fmla="*/ 24176 w 115097"/>
                    <a:gd name="connsiteY25" fmla="*/ 63478 h 96155"/>
                    <a:gd name="connsiteX26" fmla="*/ 25013 w 115097"/>
                    <a:gd name="connsiteY26" fmla="*/ 64973 h 96155"/>
                    <a:gd name="connsiteX27" fmla="*/ 18375 w 115097"/>
                    <a:gd name="connsiteY27" fmla="*/ 75380 h 96155"/>
                    <a:gd name="connsiteX28" fmla="*/ 15086 w 115097"/>
                    <a:gd name="connsiteY28" fmla="*/ 74901 h 96155"/>
                    <a:gd name="connsiteX29" fmla="*/ 13052 w 115097"/>
                    <a:gd name="connsiteY29" fmla="*/ 80403 h 96155"/>
                    <a:gd name="connsiteX30" fmla="*/ 13531 w 115097"/>
                    <a:gd name="connsiteY30" fmla="*/ 81360 h 96155"/>
                    <a:gd name="connsiteX31" fmla="*/ 6772 w 115097"/>
                    <a:gd name="connsiteY31" fmla="*/ 89195 h 96155"/>
                    <a:gd name="connsiteX32" fmla="*/ 2347 w 115097"/>
                    <a:gd name="connsiteY32" fmla="*/ 87640 h 96155"/>
                    <a:gd name="connsiteX33" fmla="*/ 313 w 115097"/>
                    <a:gd name="connsiteY33" fmla="*/ 93142 h 96155"/>
                    <a:gd name="connsiteX34" fmla="*/ 5397 w 115097"/>
                    <a:gd name="connsiteY34" fmla="*/ 95953 h 96155"/>
                    <a:gd name="connsiteX35" fmla="*/ 7610 w 115097"/>
                    <a:gd name="connsiteY35" fmla="*/ 91109 h 96155"/>
                    <a:gd name="connsiteX36" fmla="*/ 14787 w 115097"/>
                    <a:gd name="connsiteY36" fmla="*/ 82736 h 96155"/>
                    <a:gd name="connsiteX37" fmla="*/ 18076 w 115097"/>
                    <a:gd name="connsiteY37" fmla="*/ 83214 h 96155"/>
                    <a:gd name="connsiteX38" fmla="*/ 20110 w 115097"/>
                    <a:gd name="connsiteY38" fmla="*/ 77712 h 96155"/>
                    <a:gd name="connsiteX39" fmla="*/ 19631 w 115097"/>
                    <a:gd name="connsiteY39" fmla="*/ 76755 h 96155"/>
                    <a:gd name="connsiteX40" fmla="*/ 26449 w 115097"/>
                    <a:gd name="connsiteY40" fmla="*/ 66109 h 96155"/>
                    <a:gd name="connsiteX41" fmla="*/ 29200 w 115097"/>
                    <a:gd name="connsiteY41" fmla="*/ 66289 h 96155"/>
                    <a:gd name="connsiteX42" fmla="*/ 31174 w 115097"/>
                    <a:gd name="connsiteY42" fmla="*/ 64315 h 96155"/>
                    <a:gd name="connsiteX43" fmla="*/ 43075 w 115097"/>
                    <a:gd name="connsiteY43" fmla="*/ 67545 h 96155"/>
                    <a:gd name="connsiteX44" fmla="*/ 43314 w 115097"/>
                    <a:gd name="connsiteY44" fmla="*/ 68562 h 96155"/>
                    <a:gd name="connsiteX45" fmla="*/ 48398 w 115097"/>
                    <a:gd name="connsiteY45" fmla="*/ 71372 h 96155"/>
                    <a:gd name="connsiteX46" fmla="*/ 50431 w 115097"/>
                    <a:gd name="connsiteY46" fmla="*/ 65870 h 96155"/>
                    <a:gd name="connsiteX47" fmla="*/ 49953 w 115097"/>
                    <a:gd name="connsiteY47" fmla="*/ 64913 h 96155"/>
                    <a:gd name="connsiteX48" fmla="*/ 56053 w 115097"/>
                    <a:gd name="connsiteY48" fmla="*/ 53909 h 96155"/>
                    <a:gd name="connsiteX49" fmla="*/ 58147 w 115097"/>
                    <a:gd name="connsiteY49" fmla="*/ 53849 h 96155"/>
                    <a:gd name="connsiteX50" fmla="*/ 60180 w 115097"/>
                    <a:gd name="connsiteY50" fmla="*/ 48347 h 96155"/>
                    <a:gd name="connsiteX51" fmla="*/ 57848 w 115097"/>
                    <a:gd name="connsiteY51" fmla="*/ 45715 h 96155"/>
                    <a:gd name="connsiteX52" fmla="*/ 58446 w 115097"/>
                    <a:gd name="connsiteY52" fmla="*/ 8754 h 96155"/>
                    <a:gd name="connsiteX53" fmla="*/ 59821 w 115097"/>
                    <a:gd name="connsiteY53" fmla="*/ 8575 h 96155"/>
                    <a:gd name="connsiteX54" fmla="*/ 60599 w 115097"/>
                    <a:gd name="connsiteY54" fmla="*/ 8096 h 96155"/>
                    <a:gd name="connsiteX55" fmla="*/ 77584 w 115097"/>
                    <a:gd name="connsiteY55" fmla="*/ 20297 h 96155"/>
                    <a:gd name="connsiteX56" fmla="*/ 81950 w 115097"/>
                    <a:gd name="connsiteY56" fmla="*/ 21792 h 96155"/>
                    <a:gd name="connsiteX57" fmla="*/ 83984 w 115097"/>
                    <a:gd name="connsiteY57" fmla="*/ 16290 h 96155"/>
                    <a:gd name="connsiteX58" fmla="*/ 83445 w 115097"/>
                    <a:gd name="connsiteY58" fmla="*/ 15273 h 96155"/>
                    <a:gd name="connsiteX59" fmla="*/ 90861 w 115097"/>
                    <a:gd name="connsiteY59" fmla="*/ 8515 h 96155"/>
                    <a:gd name="connsiteX60" fmla="*/ 94809 w 115097"/>
                    <a:gd name="connsiteY60" fmla="*/ 9532 h 96155"/>
                    <a:gd name="connsiteX61" fmla="*/ 97081 w 115097"/>
                    <a:gd name="connsiteY61" fmla="*/ 6661 h 96155"/>
                    <a:gd name="connsiteX62" fmla="*/ 107607 w 115097"/>
                    <a:gd name="connsiteY62" fmla="*/ 7140 h 96155"/>
                    <a:gd name="connsiteX63" fmla="*/ 107667 w 115097"/>
                    <a:gd name="connsiteY63" fmla="*/ 7319 h 96155"/>
                    <a:gd name="connsiteX64" fmla="*/ 112751 w 115097"/>
                    <a:gd name="connsiteY64" fmla="*/ 10130 h 96155"/>
                    <a:gd name="connsiteX65" fmla="*/ 114784 w 115097"/>
                    <a:gd name="connsiteY65" fmla="*/ 4628 h 96155"/>
                    <a:gd name="connsiteX66" fmla="*/ 109820 w 115097"/>
                    <a:gd name="connsiteY66" fmla="*/ 1757 h 96155"/>
                    <a:gd name="connsiteX67" fmla="*/ 4918 w 115097"/>
                    <a:gd name="connsiteY67" fmla="*/ 94099 h 96155"/>
                    <a:gd name="connsiteX68" fmla="*/ 2048 w 115097"/>
                    <a:gd name="connsiteY68" fmla="*/ 92544 h 96155"/>
                    <a:gd name="connsiteX69" fmla="*/ 3184 w 115097"/>
                    <a:gd name="connsiteY69" fmla="*/ 89434 h 96155"/>
                    <a:gd name="connsiteX70" fmla="*/ 6055 w 115097"/>
                    <a:gd name="connsiteY70" fmla="*/ 90989 h 96155"/>
                    <a:gd name="connsiteX71" fmla="*/ 4918 w 115097"/>
                    <a:gd name="connsiteY71" fmla="*/ 94099 h 96155"/>
                    <a:gd name="connsiteX72" fmla="*/ 17597 w 115097"/>
                    <a:gd name="connsiteY72" fmla="*/ 81360 h 96155"/>
                    <a:gd name="connsiteX73" fmla="*/ 14727 w 115097"/>
                    <a:gd name="connsiteY73" fmla="*/ 79805 h 96155"/>
                    <a:gd name="connsiteX74" fmla="*/ 15863 w 115097"/>
                    <a:gd name="connsiteY74" fmla="*/ 76695 h 96155"/>
                    <a:gd name="connsiteX75" fmla="*/ 18734 w 115097"/>
                    <a:gd name="connsiteY75" fmla="*/ 78250 h 96155"/>
                    <a:gd name="connsiteX76" fmla="*/ 17597 w 115097"/>
                    <a:gd name="connsiteY76" fmla="*/ 81360 h 96155"/>
                    <a:gd name="connsiteX77" fmla="*/ 28721 w 115097"/>
                    <a:gd name="connsiteY77" fmla="*/ 64495 h 96155"/>
                    <a:gd name="connsiteX78" fmla="*/ 25851 w 115097"/>
                    <a:gd name="connsiteY78" fmla="*/ 62940 h 96155"/>
                    <a:gd name="connsiteX79" fmla="*/ 26987 w 115097"/>
                    <a:gd name="connsiteY79" fmla="*/ 59830 h 96155"/>
                    <a:gd name="connsiteX80" fmla="*/ 29858 w 115097"/>
                    <a:gd name="connsiteY80" fmla="*/ 61385 h 96155"/>
                    <a:gd name="connsiteX81" fmla="*/ 28721 w 115097"/>
                    <a:gd name="connsiteY81" fmla="*/ 64495 h 96155"/>
                    <a:gd name="connsiteX82" fmla="*/ 47980 w 115097"/>
                    <a:gd name="connsiteY82" fmla="*/ 69518 h 96155"/>
                    <a:gd name="connsiteX83" fmla="*/ 45109 w 115097"/>
                    <a:gd name="connsiteY83" fmla="*/ 67963 h 96155"/>
                    <a:gd name="connsiteX84" fmla="*/ 46245 w 115097"/>
                    <a:gd name="connsiteY84" fmla="*/ 64854 h 96155"/>
                    <a:gd name="connsiteX85" fmla="*/ 49116 w 115097"/>
                    <a:gd name="connsiteY85" fmla="*/ 66408 h 96155"/>
                    <a:gd name="connsiteX86" fmla="*/ 47980 w 115097"/>
                    <a:gd name="connsiteY86" fmla="*/ 69518 h 96155"/>
                    <a:gd name="connsiteX87" fmla="*/ 57728 w 115097"/>
                    <a:gd name="connsiteY87" fmla="*/ 51995 h 96155"/>
                    <a:gd name="connsiteX88" fmla="*/ 54858 w 115097"/>
                    <a:gd name="connsiteY88" fmla="*/ 50440 h 96155"/>
                    <a:gd name="connsiteX89" fmla="*/ 55994 w 115097"/>
                    <a:gd name="connsiteY89" fmla="*/ 47330 h 96155"/>
                    <a:gd name="connsiteX90" fmla="*/ 58864 w 115097"/>
                    <a:gd name="connsiteY90" fmla="*/ 48885 h 96155"/>
                    <a:gd name="connsiteX91" fmla="*/ 57728 w 115097"/>
                    <a:gd name="connsiteY91" fmla="*/ 51995 h 96155"/>
                    <a:gd name="connsiteX92" fmla="*/ 57608 w 115097"/>
                    <a:gd name="connsiteY92" fmla="*/ 2056 h 96155"/>
                    <a:gd name="connsiteX93" fmla="*/ 60479 w 115097"/>
                    <a:gd name="connsiteY93" fmla="*/ 3611 h 96155"/>
                    <a:gd name="connsiteX94" fmla="*/ 60180 w 115097"/>
                    <a:gd name="connsiteY94" fmla="*/ 6003 h 96155"/>
                    <a:gd name="connsiteX95" fmla="*/ 57788 w 115097"/>
                    <a:gd name="connsiteY95" fmla="*/ 6601 h 96155"/>
                    <a:gd name="connsiteX96" fmla="*/ 56472 w 115097"/>
                    <a:gd name="connsiteY96" fmla="*/ 5106 h 96155"/>
                    <a:gd name="connsiteX97" fmla="*/ 57608 w 115097"/>
                    <a:gd name="connsiteY97" fmla="*/ 2056 h 96155"/>
                    <a:gd name="connsiteX98" fmla="*/ 81471 w 115097"/>
                    <a:gd name="connsiteY98" fmla="*/ 19878 h 96155"/>
                    <a:gd name="connsiteX99" fmla="*/ 78601 w 115097"/>
                    <a:gd name="connsiteY99" fmla="*/ 18323 h 96155"/>
                    <a:gd name="connsiteX100" fmla="*/ 79737 w 115097"/>
                    <a:gd name="connsiteY100" fmla="*/ 15214 h 96155"/>
                    <a:gd name="connsiteX101" fmla="*/ 82608 w 115097"/>
                    <a:gd name="connsiteY101" fmla="*/ 16769 h 96155"/>
                    <a:gd name="connsiteX102" fmla="*/ 81471 w 115097"/>
                    <a:gd name="connsiteY102" fmla="*/ 19878 h 96155"/>
                    <a:gd name="connsiteX103" fmla="*/ 94330 w 115097"/>
                    <a:gd name="connsiteY103" fmla="*/ 7618 h 96155"/>
                    <a:gd name="connsiteX104" fmla="*/ 91460 w 115097"/>
                    <a:gd name="connsiteY104" fmla="*/ 6063 h 96155"/>
                    <a:gd name="connsiteX105" fmla="*/ 92596 w 115097"/>
                    <a:gd name="connsiteY105" fmla="*/ 2953 h 96155"/>
                    <a:gd name="connsiteX106" fmla="*/ 95466 w 115097"/>
                    <a:gd name="connsiteY106" fmla="*/ 4508 h 96155"/>
                    <a:gd name="connsiteX107" fmla="*/ 94330 w 115097"/>
                    <a:gd name="connsiteY107" fmla="*/ 7618 h 96155"/>
                    <a:gd name="connsiteX108" fmla="*/ 112212 w 115097"/>
                    <a:gd name="connsiteY108" fmla="*/ 8216 h 96155"/>
                    <a:gd name="connsiteX109" fmla="*/ 109342 w 115097"/>
                    <a:gd name="connsiteY109" fmla="*/ 6661 h 96155"/>
                    <a:gd name="connsiteX110" fmla="*/ 110478 w 115097"/>
                    <a:gd name="connsiteY110" fmla="*/ 3551 h 96155"/>
                    <a:gd name="connsiteX111" fmla="*/ 113349 w 115097"/>
                    <a:gd name="connsiteY111" fmla="*/ 5106 h 96155"/>
                    <a:gd name="connsiteX112" fmla="*/ 112212 w 115097"/>
                    <a:gd name="connsiteY112" fmla="*/ 8216 h 9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15097" h="96155">
                      <a:moveTo>
                        <a:pt x="109820" y="1757"/>
                      </a:moveTo>
                      <a:cubicBezTo>
                        <a:pt x="108445" y="2295"/>
                        <a:pt x="107607" y="3611"/>
                        <a:pt x="107488" y="5166"/>
                      </a:cubicBezTo>
                      <a:lnTo>
                        <a:pt x="97201" y="4687"/>
                      </a:lnTo>
                      <a:cubicBezTo>
                        <a:pt x="97141" y="4448"/>
                        <a:pt x="97081" y="4209"/>
                        <a:pt x="97022" y="3970"/>
                      </a:cubicBezTo>
                      <a:cubicBezTo>
                        <a:pt x="96184" y="1697"/>
                        <a:pt x="93911" y="441"/>
                        <a:pt x="91938" y="1159"/>
                      </a:cubicBezTo>
                      <a:cubicBezTo>
                        <a:pt x="89964" y="1876"/>
                        <a:pt x="89067" y="4388"/>
                        <a:pt x="89904" y="6661"/>
                      </a:cubicBezTo>
                      <a:cubicBezTo>
                        <a:pt x="89904" y="6721"/>
                        <a:pt x="89964" y="6781"/>
                        <a:pt x="89964" y="6840"/>
                      </a:cubicBezTo>
                      <a:lnTo>
                        <a:pt x="82249" y="13838"/>
                      </a:lnTo>
                      <a:cubicBezTo>
                        <a:pt x="81292" y="13180"/>
                        <a:pt x="80096" y="13001"/>
                        <a:pt x="79019" y="13419"/>
                      </a:cubicBezTo>
                      <a:cubicBezTo>
                        <a:pt x="77524" y="14017"/>
                        <a:pt x="76627" y="15572"/>
                        <a:pt x="76687" y="17307"/>
                      </a:cubicBezTo>
                      <a:lnTo>
                        <a:pt x="61855" y="6661"/>
                      </a:lnTo>
                      <a:cubicBezTo>
                        <a:pt x="62333" y="5585"/>
                        <a:pt x="62453" y="4269"/>
                        <a:pt x="61975" y="3013"/>
                      </a:cubicBezTo>
                      <a:cubicBezTo>
                        <a:pt x="61137" y="740"/>
                        <a:pt x="58864" y="-516"/>
                        <a:pt x="56891" y="202"/>
                      </a:cubicBezTo>
                      <a:cubicBezTo>
                        <a:pt x="54917" y="920"/>
                        <a:pt x="54020" y="3431"/>
                        <a:pt x="54858" y="5704"/>
                      </a:cubicBezTo>
                      <a:cubicBezTo>
                        <a:pt x="55276" y="6840"/>
                        <a:pt x="55994" y="7678"/>
                        <a:pt x="56891" y="8156"/>
                      </a:cubicBezTo>
                      <a:lnTo>
                        <a:pt x="56293" y="45297"/>
                      </a:lnTo>
                      <a:cubicBezTo>
                        <a:pt x="55934" y="45297"/>
                        <a:pt x="55575" y="45356"/>
                        <a:pt x="55276" y="45476"/>
                      </a:cubicBezTo>
                      <a:cubicBezTo>
                        <a:pt x="53302" y="46194"/>
                        <a:pt x="52405" y="48706"/>
                        <a:pt x="53243" y="50978"/>
                      </a:cubicBezTo>
                      <a:cubicBezTo>
                        <a:pt x="53542" y="51816"/>
                        <a:pt x="54020" y="52473"/>
                        <a:pt x="54618" y="53012"/>
                      </a:cubicBezTo>
                      <a:lnTo>
                        <a:pt x="48757" y="63538"/>
                      </a:lnTo>
                      <a:cubicBezTo>
                        <a:pt x="47740" y="62880"/>
                        <a:pt x="46604" y="62641"/>
                        <a:pt x="45468" y="63059"/>
                      </a:cubicBezTo>
                      <a:cubicBezTo>
                        <a:pt x="44331" y="63478"/>
                        <a:pt x="43614" y="64495"/>
                        <a:pt x="43255" y="65631"/>
                      </a:cubicBezTo>
                      <a:lnTo>
                        <a:pt x="31592" y="62461"/>
                      </a:lnTo>
                      <a:cubicBezTo>
                        <a:pt x="31592" y="61923"/>
                        <a:pt x="31473" y="61325"/>
                        <a:pt x="31293" y="60787"/>
                      </a:cubicBezTo>
                      <a:cubicBezTo>
                        <a:pt x="30456" y="58514"/>
                        <a:pt x="28183" y="57258"/>
                        <a:pt x="26210" y="57976"/>
                      </a:cubicBezTo>
                      <a:cubicBezTo>
                        <a:pt x="24236" y="58693"/>
                        <a:pt x="23339" y="61205"/>
                        <a:pt x="24176" y="63478"/>
                      </a:cubicBezTo>
                      <a:cubicBezTo>
                        <a:pt x="24356" y="64016"/>
                        <a:pt x="24655" y="64554"/>
                        <a:pt x="25013" y="64973"/>
                      </a:cubicBezTo>
                      <a:lnTo>
                        <a:pt x="18375" y="75380"/>
                      </a:lnTo>
                      <a:cubicBezTo>
                        <a:pt x="17358" y="74722"/>
                        <a:pt x="16162" y="74482"/>
                        <a:pt x="15086" y="74901"/>
                      </a:cubicBezTo>
                      <a:cubicBezTo>
                        <a:pt x="13112" y="75679"/>
                        <a:pt x="12215" y="78131"/>
                        <a:pt x="13052" y="80403"/>
                      </a:cubicBezTo>
                      <a:cubicBezTo>
                        <a:pt x="13172" y="80762"/>
                        <a:pt x="13351" y="81061"/>
                        <a:pt x="13531" y="81360"/>
                      </a:cubicBezTo>
                      <a:lnTo>
                        <a:pt x="6772" y="89195"/>
                      </a:lnTo>
                      <a:cubicBezTo>
                        <a:pt x="5696" y="87760"/>
                        <a:pt x="3962" y="87042"/>
                        <a:pt x="2347" y="87640"/>
                      </a:cubicBezTo>
                      <a:cubicBezTo>
                        <a:pt x="373" y="88358"/>
                        <a:pt x="-524" y="90870"/>
                        <a:pt x="313" y="93142"/>
                      </a:cubicBezTo>
                      <a:cubicBezTo>
                        <a:pt x="1150" y="95415"/>
                        <a:pt x="3423" y="96671"/>
                        <a:pt x="5397" y="95953"/>
                      </a:cubicBezTo>
                      <a:cubicBezTo>
                        <a:pt x="7191" y="95295"/>
                        <a:pt x="8088" y="93202"/>
                        <a:pt x="7610" y="91109"/>
                      </a:cubicBezTo>
                      <a:lnTo>
                        <a:pt x="14787" y="82736"/>
                      </a:lnTo>
                      <a:cubicBezTo>
                        <a:pt x="15803" y="83394"/>
                        <a:pt x="16940" y="83633"/>
                        <a:pt x="18076" y="83214"/>
                      </a:cubicBezTo>
                      <a:cubicBezTo>
                        <a:pt x="20050" y="82497"/>
                        <a:pt x="20947" y="79985"/>
                        <a:pt x="20110" y="77712"/>
                      </a:cubicBezTo>
                      <a:cubicBezTo>
                        <a:pt x="19990" y="77353"/>
                        <a:pt x="19810" y="77054"/>
                        <a:pt x="19631" y="76755"/>
                      </a:cubicBezTo>
                      <a:lnTo>
                        <a:pt x="26449" y="66109"/>
                      </a:lnTo>
                      <a:cubicBezTo>
                        <a:pt x="27346" y="66528"/>
                        <a:pt x="28303" y="66648"/>
                        <a:pt x="29200" y="66289"/>
                      </a:cubicBezTo>
                      <a:cubicBezTo>
                        <a:pt x="30097" y="65930"/>
                        <a:pt x="30815" y="65212"/>
                        <a:pt x="31174" y="64315"/>
                      </a:cubicBezTo>
                      <a:lnTo>
                        <a:pt x="43075" y="67545"/>
                      </a:lnTo>
                      <a:cubicBezTo>
                        <a:pt x="43135" y="67904"/>
                        <a:pt x="43195" y="68203"/>
                        <a:pt x="43314" y="68562"/>
                      </a:cubicBezTo>
                      <a:cubicBezTo>
                        <a:pt x="44152" y="70834"/>
                        <a:pt x="46424" y="72090"/>
                        <a:pt x="48398" y="71372"/>
                      </a:cubicBezTo>
                      <a:cubicBezTo>
                        <a:pt x="50372" y="70655"/>
                        <a:pt x="51269" y="68143"/>
                        <a:pt x="50431" y="65870"/>
                      </a:cubicBezTo>
                      <a:cubicBezTo>
                        <a:pt x="50312" y="65511"/>
                        <a:pt x="50133" y="65212"/>
                        <a:pt x="49953" y="64913"/>
                      </a:cubicBezTo>
                      <a:lnTo>
                        <a:pt x="56053" y="53909"/>
                      </a:lnTo>
                      <a:cubicBezTo>
                        <a:pt x="56771" y="54088"/>
                        <a:pt x="57489" y="54088"/>
                        <a:pt x="58147" y="53849"/>
                      </a:cubicBezTo>
                      <a:cubicBezTo>
                        <a:pt x="60120" y="53131"/>
                        <a:pt x="61017" y="50619"/>
                        <a:pt x="60180" y="48347"/>
                      </a:cubicBezTo>
                      <a:cubicBezTo>
                        <a:pt x="59702" y="47091"/>
                        <a:pt x="58864" y="46194"/>
                        <a:pt x="57848" y="45715"/>
                      </a:cubicBezTo>
                      <a:lnTo>
                        <a:pt x="58446" y="8754"/>
                      </a:lnTo>
                      <a:cubicBezTo>
                        <a:pt x="58924" y="8754"/>
                        <a:pt x="59343" y="8695"/>
                        <a:pt x="59821" y="8575"/>
                      </a:cubicBezTo>
                      <a:cubicBezTo>
                        <a:pt x="60120" y="8455"/>
                        <a:pt x="60360" y="8276"/>
                        <a:pt x="60599" y="8096"/>
                      </a:cubicBezTo>
                      <a:lnTo>
                        <a:pt x="77584" y="20297"/>
                      </a:lnTo>
                      <a:cubicBezTo>
                        <a:pt x="78661" y="21673"/>
                        <a:pt x="80395" y="22331"/>
                        <a:pt x="81950" y="21792"/>
                      </a:cubicBezTo>
                      <a:cubicBezTo>
                        <a:pt x="83924" y="21075"/>
                        <a:pt x="84821" y="18563"/>
                        <a:pt x="83984" y="16290"/>
                      </a:cubicBezTo>
                      <a:cubicBezTo>
                        <a:pt x="83864" y="15931"/>
                        <a:pt x="83684" y="15572"/>
                        <a:pt x="83445" y="15273"/>
                      </a:cubicBezTo>
                      <a:lnTo>
                        <a:pt x="90861" y="8515"/>
                      </a:lnTo>
                      <a:cubicBezTo>
                        <a:pt x="91938" y="9592"/>
                        <a:pt x="93433" y="10070"/>
                        <a:pt x="94809" y="9532"/>
                      </a:cubicBezTo>
                      <a:cubicBezTo>
                        <a:pt x="96005" y="9053"/>
                        <a:pt x="96782" y="7977"/>
                        <a:pt x="97081" y="6661"/>
                      </a:cubicBezTo>
                      <a:lnTo>
                        <a:pt x="107607" y="7140"/>
                      </a:lnTo>
                      <a:cubicBezTo>
                        <a:pt x="107607" y="7199"/>
                        <a:pt x="107607" y="7259"/>
                        <a:pt x="107667" y="7319"/>
                      </a:cubicBezTo>
                      <a:cubicBezTo>
                        <a:pt x="108504" y="9592"/>
                        <a:pt x="110777" y="10848"/>
                        <a:pt x="112751" y="10130"/>
                      </a:cubicBezTo>
                      <a:cubicBezTo>
                        <a:pt x="114724" y="9412"/>
                        <a:pt x="115621" y="6900"/>
                        <a:pt x="114784" y="4628"/>
                      </a:cubicBezTo>
                      <a:cubicBezTo>
                        <a:pt x="114066" y="2295"/>
                        <a:pt x="111794" y="1039"/>
                        <a:pt x="109820" y="1757"/>
                      </a:cubicBezTo>
                      <a:close/>
                      <a:moveTo>
                        <a:pt x="4918" y="94099"/>
                      </a:moveTo>
                      <a:cubicBezTo>
                        <a:pt x="3842" y="94518"/>
                        <a:pt x="2526" y="93800"/>
                        <a:pt x="2048" y="92544"/>
                      </a:cubicBezTo>
                      <a:cubicBezTo>
                        <a:pt x="1569" y="91288"/>
                        <a:pt x="2107" y="89853"/>
                        <a:pt x="3184" y="89434"/>
                      </a:cubicBezTo>
                      <a:cubicBezTo>
                        <a:pt x="4260" y="89016"/>
                        <a:pt x="5576" y="89733"/>
                        <a:pt x="6055" y="90989"/>
                      </a:cubicBezTo>
                      <a:cubicBezTo>
                        <a:pt x="6533" y="92305"/>
                        <a:pt x="6055" y="93681"/>
                        <a:pt x="4918" y="94099"/>
                      </a:cubicBezTo>
                      <a:close/>
                      <a:moveTo>
                        <a:pt x="17597" y="81360"/>
                      </a:moveTo>
                      <a:cubicBezTo>
                        <a:pt x="16521" y="81779"/>
                        <a:pt x="15205" y="81061"/>
                        <a:pt x="14727" y="79805"/>
                      </a:cubicBezTo>
                      <a:cubicBezTo>
                        <a:pt x="14248" y="78549"/>
                        <a:pt x="14787" y="77114"/>
                        <a:pt x="15863" y="76695"/>
                      </a:cubicBezTo>
                      <a:cubicBezTo>
                        <a:pt x="16940" y="76277"/>
                        <a:pt x="18255" y="76994"/>
                        <a:pt x="18734" y="78250"/>
                      </a:cubicBezTo>
                      <a:cubicBezTo>
                        <a:pt x="19212" y="79566"/>
                        <a:pt x="18674" y="80942"/>
                        <a:pt x="17597" y="81360"/>
                      </a:cubicBezTo>
                      <a:close/>
                      <a:moveTo>
                        <a:pt x="28721" y="64495"/>
                      </a:moveTo>
                      <a:cubicBezTo>
                        <a:pt x="27645" y="64913"/>
                        <a:pt x="26329" y="64196"/>
                        <a:pt x="25851" y="62940"/>
                      </a:cubicBezTo>
                      <a:cubicBezTo>
                        <a:pt x="25372" y="61684"/>
                        <a:pt x="25911" y="60248"/>
                        <a:pt x="26987" y="59830"/>
                      </a:cubicBezTo>
                      <a:cubicBezTo>
                        <a:pt x="28064" y="59411"/>
                        <a:pt x="29380" y="60129"/>
                        <a:pt x="29858" y="61385"/>
                      </a:cubicBezTo>
                      <a:cubicBezTo>
                        <a:pt x="30336" y="62700"/>
                        <a:pt x="29858" y="64076"/>
                        <a:pt x="28721" y="64495"/>
                      </a:cubicBezTo>
                      <a:close/>
                      <a:moveTo>
                        <a:pt x="47980" y="69518"/>
                      </a:moveTo>
                      <a:cubicBezTo>
                        <a:pt x="46903" y="69937"/>
                        <a:pt x="45587" y="69219"/>
                        <a:pt x="45109" y="67963"/>
                      </a:cubicBezTo>
                      <a:cubicBezTo>
                        <a:pt x="44630" y="66708"/>
                        <a:pt x="45168" y="65272"/>
                        <a:pt x="46245" y="64854"/>
                      </a:cubicBezTo>
                      <a:cubicBezTo>
                        <a:pt x="47322" y="64435"/>
                        <a:pt x="48637" y="65153"/>
                        <a:pt x="49116" y="66408"/>
                      </a:cubicBezTo>
                      <a:cubicBezTo>
                        <a:pt x="49594" y="67724"/>
                        <a:pt x="49056" y="69100"/>
                        <a:pt x="47980" y="69518"/>
                      </a:cubicBezTo>
                      <a:close/>
                      <a:moveTo>
                        <a:pt x="57728" y="51995"/>
                      </a:moveTo>
                      <a:cubicBezTo>
                        <a:pt x="56652" y="52414"/>
                        <a:pt x="55336" y="51696"/>
                        <a:pt x="54858" y="50440"/>
                      </a:cubicBezTo>
                      <a:cubicBezTo>
                        <a:pt x="54379" y="49184"/>
                        <a:pt x="54917" y="47749"/>
                        <a:pt x="55994" y="47330"/>
                      </a:cubicBezTo>
                      <a:cubicBezTo>
                        <a:pt x="57070" y="46911"/>
                        <a:pt x="58386" y="47629"/>
                        <a:pt x="58864" y="48885"/>
                      </a:cubicBezTo>
                      <a:cubicBezTo>
                        <a:pt x="59343" y="50141"/>
                        <a:pt x="58864" y="51576"/>
                        <a:pt x="57728" y="51995"/>
                      </a:cubicBezTo>
                      <a:close/>
                      <a:moveTo>
                        <a:pt x="57608" y="2056"/>
                      </a:moveTo>
                      <a:cubicBezTo>
                        <a:pt x="58685" y="1637"/>
                        <a:pt x="60001" y="2355"/>
                        <a:pt x="60479" y="3611"/>
                      </a:cubicBezTo>
                      <a:cubicBezTo>
                        <a:pt x="60778" y="4508"/>
                        <a:pt x="60659" y="5405"/>
                        <a:pt x="60180" y="6003"/>
                      </a:cubicBezTo>
                      <a:lnTo>
                        <a:pt x="57788" y="6601"/>
                      </a:lnTo>
                      <a:cubicBezTo>
                        <a:pt x="57190" y="6362"/>
                        <a:pt x="56712" y="5824"/>
                        <a:pt x="56472" y="5106"/>
                      </a:cubicBezTo>
                      <a:cubicBezTo>
                        <a:pt x="55994" y="3850"/>
                        <a:pt x="56532" y="2415"/>
                        <a:pt x="57608" y="2056"/>
                      </a:cubicBezTo>
                      <a:close/>
                      <a:moveTo>
                        <a:pt x="81471" y="19878"/>
                      </a:moveTo>
                      <a:cubicBezTo>
                        <a:pt x="80395" y="20297"/>
                        <a:pt x="79079" y="19579"/>
                        <a:pt x="78601" y="18323"/>
                      </a:cubicBezTo>
                      <a:cubicBezTo>
                        <a:pt x="78122" y="17068"/>
                        <a:pt x="78661" y="15632"/>
                        <a:pt x="79737" y="15214"/>
                      </a:cubicBezTo>
                      <a:cubicBezTo>
                        <a:pt x="80814" y="14795"/>
                        <a:pt x="82130" y="15513"/>
                        <a:pt x="82608" y="16769"/>
                      </a:cubicBezTo>
                      <a:cubicBezTo>
                        <a:pt x="83086" y="18084"/>
                        <a:pt x="82608" y="19460"/>
                        <a:pt x="81471" y="19878"/>
                      </a:cubicBezTo>
                      <a:close/>
                      <a:moveTo>
                        <a:pt x="94330" y="7618"/>
                      </a:moveTo>
                      <a:cubicBezTo>
                        <a:pt x="93254" y="8037"/>
                        <a:pt x="91938" y="7319"/>
                        <a:pt x="91460" y="6063"/>
                      </a:cubicBezTo>
                      <a:cubicBezTo>
                        <a:pt x="90981" y="4807"/>
                        <a:pt x="91519" y="3372"/>
                        <a:pt x="92596" y="2953"/>
                      </a:cubicBezTo>
                      <a:cubicBezTo>
                        <a:pt x="93672" y="2534"/>
                        <a:pt x="94988" y="3252"/>
                        <a:pt x="95466" y="4508"/>
                      </a:cubicBezTo>
                      <a:cubicBezTo>
                        <a:pt x="95945" y="5824"/>
                        <a:pt x="95466" y="7199"/>
                        <a:pt x="94330" y="7618"/>
                      </a:cubicBezTo>
                      <a:close/>
                      <a:moveTo>
                        <a:pt x="112212" y="8216"/>
                      </a:moveTo>
                      <a:cubicBezTo>
                        <a:pt x="111136" y="8635"/>
                        <a:pt x="109820" y="7917"/>
                        <a:pt x="109342" y="6661"/>
                      </a:cubicBezTo>
                      <a:cubicBezTo>
                        <a:pt x="108863" y="5405"/>
                        <a:pt x="109402" y="3970"/>
                        <a:pt x="110478" y="3551"/>
                      </a:cubicBezTo>
                      <a:cubicBezTo>
                        <a:pt x="111555" y="3132"/>
                        <a:pt x="112870" y="3850"/>
                        <a:pt x="113349" y="5106"/>
                      </a:cubicBezTo>
                      <a:cubicBezTo>
                        <a:pt x="113827" y="6422"/>
                        <a:pt x="113349" y="7797"/>
                        <a:pt x="112212" y="821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87" name="Vrije vorm: vorm 9286">
                  <a:extLst>
                    <a:ext uri="{FF2B5EF4-FFF2-40B4-BE49-F238E27FC236}">
                      <a16:creationId xmlns:a16="http://schemas.microsoft.com/office/drawing/2014/main" id="{11958D04-B767-4C53-8CED-04F0C88556D8}"/>
                    </a:ext>
                  </a:extLst>
                </p:cNvPr>
                <p:cNvSpPr/>
                <p:nvPr/>
              </p:nvSpPr>
              <p:spPr>
                <a:xfrm>
                  <a:off x="5385466" y="1203279"/>
                  <a:ext cx="123709" cy="79588"/>
                </a:xfrm>
                <a:custGeom>
                  <a:avLst/>
                  <a:gdLst>
                    <a:gd name="connsiteX0" fmla="*/ 118373 w 123709"/>
                    <a:gd name="connsiteY0" fmla="*/ 8096 h 79588"/>
                    <a:gd name="connsiteX1" fmla="*/ 116279 w 123709"/>
                    <a:gd name="connsiteY1" fmla="*/ 10250 h 79588"/>
                    <a:gd name="connsiteX2" fmla="*/ 103122 w 123709"/>
                    <a:gd name="connsiteY2" fmla="*/ 5106 h 79588"/>
                    <a:gd name="connsiteX3" fmla="*/ 102823 w 123709"/>
                    <a:gd name="connsiteY3" fmla="*/ 3013 h 79588"/>
                    <a:gd name="connsiteX4" fmla="*/ 97739 w 123709"/>
                    <a:gd name="connsiteY4" fmla="*/ 202 h 79588"/>
                    <a:gd name="connsiteX5" fmla="*/ 95706 w 123709"/>
                    <a:gd name="connsiteY5" fmla="*/ 5704 h 79588"/>
                    <a:gd name="connsiteX6" fmla="*/ 96065 w 123709"/>
                    <a:gd name="connsiteY6" fmla="*/ 6422 h 79588"/>
                    <a:gd name="connsiteX7" fmla="*/ 89127 w 123709"/>
                    <a:gd name="connsiteY7" fmla="*/ 14137 h 79588"/>
                    <a:gd name="connsiteX8" fmla="*/ 85359 w 123709"/>
                    <a:gd name="connsiteY8" fmla="*/ 13300 h 79588"/>
                    <a:gd name="connsiteX9" fmla="*/ 83206 w 123709"/>
                    <a:gd name="connsiteY9" fmla="*/ 15812 h 79588"/>
                    <a:gd name="connsiteX10" fmla="*/ 71902 w 123709"/>
                    <a:gd name="connsiteY10" fmla="*/ 13419 h 79588"/>
                    <a:gd name="connsiteX11" fmla="*/ 71663 w 123709"/>
                    <a:gd name="connsiteY11" fmla="*/ 12642 h 79588"/>
                    <a:gd name="connsiteX12" fmla="*/ 66580 w 123709"/>
                    <a:gd name="connsiteY12" fmla="*/ 9831 h 79588"/>
                    <a:gd name="connsiteX13" fmla="*/ 64546 w 123709"/>
                    <a:gd name="connsiteY13" fmla="*/ 15333 h 79588"/>
                    <a:gd name="connsiteX14" fmla="*/ 67178 w 123709"/>
                    <a:gd name="connsiteY14" fmla="*/ 18084 h 79588"/>
                    <a:gd name="connsiteX15" fmla="*/ 62812 w 123709"/>
                    <a:gd name="connsiteY15" fmla="*/ 39196 h 79588"/>
                    <a:gd name="connsiteX16" fmla="*/ 59702 w 123709"/>
                    <a:gd name="connsiteY16" fmla="*/ 38837 h 79588"/>
                    <a:gd name="connsiteX17" fmla="*/ 57668 w 123709"/>
                    <a:gd name="connsiteY17" fmla="*/ 44340 h 79588"/>
                    <a:gd name="connsiteX18" fmla="*/ 57728 w 123709"/>
                    <a:gd name="connsiteY18" fmla="*/ 44399 h 79588"/>
                    <a:gd name="connsiteX19" fmla="*/ 50432 w 123709"/>
                    <a:gd name="connsiteY19" fmla="*/ 51217 h 79588"/>
                    <a:gd name="connsiteX20" fmla="*/ 46843 w 123709"/>
                    <a:gd name="connsiteY20" fmla="*/ 50560 h 79588"/>
                    <a:gd name="connsiteX21" fmla="*/ 44810 w 123709"/>
                    <a:gd name="connsiteY21" fmla="*/ 56062 h 79588"/>
                    <a:gd name="connsiteX22" fmla="*/ 45766 w 123709"/>
                    <a:gd name="connsiteY22" fmla="*/ 57617 h 79588"/>
                    <a:gd name="connsiteX23" fmla="*/ 40085 w 123709"/>
                    <a:gd name="connsiteY23" fmla="*/ 70774 h 79588"/>
                    <a:gd name="connsiteX24" fmla="*/ 36736 w 123709"/>
                    <a:gd name="connsiteY24" fmla="*/ 70236 h 79588"/>
                    <a:gd name="connsiteX25" fmla="*/ 34523 w 123709"/>
                    <a:gd name="connsiteY25" fmla="*/ 72868 h 79588"/>
                    <a:gd name="connsiteX26" fmla="*/ 23578 w 123709"/>
                    <a:gd name="connsiteY26" fmla="*/ 70894 h 79588"/>
                    <a:gd name="connsiteX27" fmla="*/ 23459 w 123709"/>
                    <a:gd name="connsiteY27" fmla="*/ 70356 h 79588"/>
                    <a:gd name="connsiteX28" fmla="*/ 18375 w 123709"/>
                    <a:gd name="connsiteY28" fmla="*/ 67545 h 79588"/>
                    <a:gd name="connsiteX29" fmla="*/ 16102 w 123709"/>
                    <a:gd name="connsiteY29" fmla="*/ 71911 h 79588"/>
                    <a:gd name="connsiteX30" fmla="*/ 7191 w 123709"/>
                    <a:gd name="connsiteY30" fmla="*/ 73346 h 79588"/>
                    <a:gd name="connsiteX31" fmla="*/ 2346 w 123709"/>
                    <a:gd name="connsiteY31" fmla="*/ 71073 h 79588"/>
                    <a:gd name="connsiteX32" fmla="*/ 313 w 123709"/>
                    <a:gd name="connsiteY32" fmla="*/ 76576 h 79588"/>
                    <a:gd name="connsiteX33" fmla="*/ 5397 w 123709"/>
                    <a:gd name="connsiteY33" fmla="*/ 79387 h 79588"/>
                    <a:gd name="connsiteX34" fmla="*/ 7729 w 123709"/>
                    <a:gd name="connsiteY34" fmla="*/ 75260 h 79588"/>
                    <a:gd name="connsiteX35" fmla="*/ 16760 w 123709"/>
                    <a:gd name="connsiteY35" fmla="*/ 73825 h 79588"/>
                    <a:gd name="connsiteX36" fmla="*/ 21485 w 123709"/>
                    <a:gd name="connsiteY36" fmla="*/ 75858 h 79588"/>
                    <a:gd name="connsiteX37" fmla="*/ 23757 w 123709"/>
                    <a:gd name="connsiteY37" fmla="*/ 72808 h 79588"/>
                    <a:gd name="connsiteX38" fmla="*/ 34523 w 123709"/>
                    <a:gd name="connsiteY38" fmla="*/ 74782 h 79588"/>
                    <a:gd name="connsiteX39" fmla="*/ 34762 w 123709"/>
                    <a:gd name="connsiteY39" fmla="*/ 75738 h 79588"/>
                    <a:gd name="connsiteX40" fmla="*/ 39846 w 123709"/>
                    <a:gd name="connsiteY40" fmla="*/ 78549 h 79588"/>
                    <a:gd name="connsiteX41" fmla="*/ 41879 w 123709"/>
                    <a:gd name="connsiteY41" fmla="*/ 73047 h 79588"/>
                    <a:gd name="connsiteX42" fmla="*/ 41461 w 123709"/>
                    <a:gd name="connsiteY42" fmla="*/ 72210 h 79588"/>
                    <a:gd name="connsiteX43" fmla="*/ 47262 w 123709"/>
                    <a:gd name="connsiteY43" fmla="*/ 58693 h 79588"/>
                    <a:gd name="connsiteX44" fmla="*/ 49953 w 123709"/>
                    <a:gd name="connsiteY44" fmla="*/ 58813 h 79588"/>
                    <a:gd name="connsiteX45" fmla="*/ 51987 w 123709"/>
                    <a:gd name="connsiteY45" fmla="*/ 53311 h 79588"/>
                    <a:gd name="connsiteX46" fmla="*/ 51687 w 123709"/>
                    <a:gd name="connsiteY46" fmla="*/ 52653 h 79588"/>
                    <a:gd name="connsiteX47" fmla="*/ 58804 w 123709"/>
                    <a:gd name="connsiteY47" fmla="*/ 46014 h 79588"/>
                    <a:gd name="connsiteX48" fmla="*/ 62812 w 123709"/>
                    <a:gd name="connsiteY48" fmla="*/ 47151 h 79588"/>
                    <a:gd name="connsiteX49" fmla="*/ 64845 w 123709"/>
                    <a:gd name="connsiteY49" fmla="*/ 41648 h 79588"/>
                    <a:gd name="connsiteX50" fmla="*/ 64307 w 123709"/>
                    <a:gd name="connsiteY50" fmla="*/ 40632 h 79588"/>
                    <a:gd name="connsiteX51" fmla="*/ 68912 w 123709"/>
                    <a:gd name="connsiteY51" fmla="*/ 18323 h 79588"/>
                    <a:gd name="connsiteX52" fmla="*/ 69630 w 123709"/>
                    <a:gd name="connsiteY52" fmla="*/ 18144 h 79588"/>
                    <a:gd name="connsiteX53" fmla="*/ 71843 w 123709"/>
                    <a:gd name="connsiteY53" fmla="*/ 15333 h 79588"/>
                    <a:gd name="connsiteX54" fmla="*/ 83086 w 123709"/>
                    <a:gd name="connsiteY54" fmla="*/ 17725 h 79588"/>
                    <a:gd name="connsiteX55" fmla="*/ 83326 w 123709"/>
                    <a:gd name="connsiteY55" fmla="*/ 18802 h 79588"/>
                    <a:gd name="connsiteX56" fmla="*/ 88409 w 123709"/>
                    <a:gd name="connsiteY56" fmla="*/ 21613 h 79588"/>
                    <a:gd name="connsiteX57" fmla="*/ 90443 w 123709"/>
                    <a:gd name="connsiteY57" fmla="*/ 16111 h 79588"/>
                    <a:gd name="connsiteX58" fmla="*/ 90263 w 123709"/>
                    <a:gd name="connsiteY58" fmla="*/ 15752 h 79588"/>
                    <a:gd name="connsiteX59" fmla="*/ 97261 w 123709"/>
                    <a:gd name="connsiteY59" fmla="*/ 7917 h 79588"/>
                    <a:gd name="connsiteX60" fmla="*/ 100789 w 123709"/>
                    <a:gd name="connsiteY60" fmla="*/ 8575 h 79588"/>
                    <a:gd name="connsiteX61" fmla="*/ 102583 w 123709"/>
                    <a:gd name="connsiteY61" fmla="*/ 6960 h 79588"/>
                    <a:gd name="connsiteX62" fmla="*/ 115980 w 123709"/>
                    <a:gd name="connsiteY62" fmla="*/ 12223 h 79588"/>
                    <a:gd name="connsiteX63" fmla="*/ 116279 w 123709"/>
                    <a:gd name="connsiteY63" fmla="*/ 13659 h 79588"/>
                    <a:gd name="connsiteX64" fmla="*/ 121363 w 123709"/>
                    <a:gd name="connsiteY64" fmla="*/ 16469 h 79588"/>
                    <a:gd name="connsiteX65" fmla="*/ 123397 w 123709"/>
                    <a:gd name="connsiteY65" fmla="*/ 10967 h 79588"/>
                    <a:gd name="connsiteX66" fmla="*/ 118373 w 123709"/>
                    <a:gd name="connsiteY66" fmla="*/ 8096 h 79588"/>
                    <a:gd name="connsiteX67" fmla="*/ 4679 w 123709"/>
                    <a:gd name="connsiteY67" fmla="*/ 77533 h 79588"/>
                    <a:gd name="connsiteX68" fmla="*/ 1808 w 123709"/>
                    <a:gd name="connsiteY68" fmla="*/ 75978 h 79588"/>
                    <a:gd name="connsiteX69" fmla="*/ 2945 w 123709"/>
                    <a:gd name="connsiteY69" fmla="*/ 72868 h 79588"/>
                    <a:gd name="connsiteX70" fmla="*/ 5815 w 123709"/>
                    <a:gd name="connsiteY70" fmla="*/ 74423 h 79588"/>
                    <a:gd name="connsiteX71" fmla="*/ 4679 w 123709"/>
                    <a:gd name="connsiteY71" fmla="*/ 77533 h 79588"/>
                    <a:gd name="connsiteX72" fmla="*/ 20767 w 123709"/>
                    <a:gd name="connsiteY72" fmla="*/ 74004 h 79588"/>
                    <a:gd name="connsiteX73" fmla="*/ 17896 w 123709"/>
                    <a:gd name="connsiteY73" fmla="*/ 72449 h 79588"/>
                    <a:gd name="connsiteX74" fmla="*/ 19033 w 123709"/>
                    <a:gd name="connsiteY74" fmla="*/ 69339 h 79588"/>
                    <a:gd name="connsiteX75" fmla="*/ 21903 w 123709"/>
                    <a:gd name="connsiteY75" fmla="*/ 70894 h 79588"/>
                    <a:gd name="connsiteX76" fmla="*/ 20767 w 123709"/>
                    <a:gd name="connsiteY76" fmla="*/ 74004 h 79588"/>
                    <a:gd name="connsiteX77" fmla="*/ 39128 w 123709"/>
                    <a:gd name="connsiteY77" fmla="*/ 76636 h 79588"/>
                    <a:gd name="connsiteX78" fmla="*/ 36257 w 123709"/>
                    <a:gd name="connsiteY78" fmla="*/ 75081 h 79588"/>
                    <a:gd name="connsiteX79" fmla="*/ 37394 w 123709"/>
                    <a:gd name="connsiteY79" fmla="*/ 71971 h 79588"/>
                    <a:gd name="connsiteX80" fmla="*/ 40264 w 123709"/>
                    <a:gd name="connsiteY80" fmla="*/ 73526 h 79588"/>
                    <a:gd name="connsiteX81" fmla="*/ 39128 w 123709"/>
                    <a:gd name="connsiteY81" fmla="*/ 76636 h 79588"/>
                    <a:gd name="connsiteX82" fmla="*/ 49235 w 123709"/>
                    <a:gd name="connsiteY82" fmla="*/ 56959 h 79588"/>
                    <a:gd name="connsiteX83" fmla="*/ 46365 w 123709"/>
                    <a:gd name="connsiteY83" fmla="*/ 55404 h 79588"/>
                    <a:gd name="connsiteX84" fmla="*/ 47501 w 123709"/>
                    <a:gd name="connsiteY84" fmla="*/ 52294 h 79588"/>
                    <a:gd name="connsiteX85" fmla="*/ 50372 w 123709"/>
                    <a:gd name="connsiteY85" fmla="*/ 53849 h 79588"/>
                    <a:gd name="connsiteX86" fmla="*/ 49235 w 123709"/>
                    <a:gd name="connsiteY86" fmla="*/ 56959 h 79588"/>
                    <a:gd name="connsiteX87" fmla="*/ 62094 w 123709"/>
                    <a:gd name="connsiteY87" fmla="*/ 45297 h 79588"/>
                    <a:gd name="connsiteX88" fmla="*/ 59223 w 123709"/>
                    <a:gd name="connsiteY88" fmla="*/ 43742 h 79588"/>
                    <a:gd name="connsiteX89" fmla="*/ 60359 w 123709"/>
                    <a:gd name="connsiteY89" fmla="*/ 40632 h 79588"/>
                    <a:gd name="connsiteX90" fmla="*/ 63230 w 123709"/>
                    <a:gd name="connsiteY90" fmla="*/ 42187 h 79588"/>
                    <a:gd name="connsiteX91" fmla="*/ 62094 w 123709"/>
                    <a:gd name="connsiteY91" fmla="*/ 45297 h 79588"/>
                    <a:gd name="connsiteX92" fmla="*/ 68912 w 123709"/>
                    <a:gd name="connsiteY92" fmla="*/ 16290 h 79588"/>
                    <a:gd name="connsiteX93" fmla="*/ 66041 w 123709"/>
                    <a:gd name="connsiteY93" fmla="*/ 14735 h 79588"/>
                    <a:gd name="connsiteX94" fmla="*/ 67178 w 123709"/>
                    <a:gd name="connsiteY94" fmla="*/ 11625 h 79588"/>
                    <a:gd name="connsiteX95" fmla="*/ 70048 w 123709"/>
                    <a:gd name="connsiteY95" fmla="*/ 13180 h 79588"/>
                    <a:gd name="connsiteX96" fmla="*/ 68912 w 123709"/>
                    <a:gd name="connsiteY96" fmla="*/ 16290 h 79588"/>
                    <a:gd name="connsiteX97" fmla="*/ 87751 w 123709"/>
                    <a:gd name="connsiteY97" fmla="*/ 19759 h 79588"/>
                    <a:gd name="connsiteX98" fmla="*/ 84881 w 123709"/>
                    <a:gd name="connsiteY98" fmla="*/ 18204 h 79588"/>
                    <a:gd name="connsiteX99" fmla="*/ 86017 w 123709"/>
                    <a:gd name="connsiteY99" fmla="*/ 15094 h 79588"/>
                    <a:gd name="connsiteX100" fmla="*/ 88888 w 123709"/>
                    <a:gd name="connsiteY100" fmla="*/ 16649 h 79588"/>
                    <a:gd name="connsiteX101" fmla="*/ 87751 w 123709"/>
                    <a:gd name="connsiteY101" fmla="*/ 19759 h 79588"/>
                    <a:gd name="connsiteX102" fmla="*/ 100131 w 123709"/>
                    <a:gd name="connsiteY102" fmla="*/ 6661 h 79588"/>
                    <a:gd name="connsiteX103" fmla="*/ 97261 w 123709"/>
                    <a:gd name="connsiteY103" fmla="*/ 5106 h 79588"/>
                    <a:gd name="connsiteX104" fmla="*/ 98397 w 123709"/>
                    <a:gd name="connsiteY104" fmla="*/ 1996 h 79588"/>
                    <a:gd name="connsiteX105" fmla="*/ 101268 w 123709"/>
                    <a:gd name="connsiteY105" fmla="*/ 3551 h 79588"/>
                    <a:gd name="connsiteX106" fmla="*/ 100131 w 123709"/>
                    <a:gd name="connsiteY106" fmla="*/ 6661 h 79588"/>
                    <a:gd name="connsiteX107" fmla="*/ 120765 w 123709"/>
                    <a:gd name="connsiteY107" fmla="*/ 14556 h 79588"/>
                    <a:gd name="connsiteX108" fmla="*/ 117894 w 123709"/>
                    <a:gd name="connsiteY108" fmla="*/ 13001 h 79588"/>
                    <a:gd name="connsiteX109" fmla="*/ 119030 w 123709"/>
                    <a:gd name="connsiteY109" fmla="*/ 9891 h 79588"/>
                    <a:gd name="connsiteX110" fmla="*/ 121901 w 123709"/>
                    <a:gd name="connsiteY110" fmla="*/ 11446 h 79588"/>
                    <a:gd name="connsiteX111" fmla="*/ 120765 w 123709"/>
                    <a:gd name="connsiteY111" fmla="*/ 14556 h 7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23709" h="79588">
                      <a:moveTo>
                        <a:pt x="118373" y="8096"/>
                      </a:moveTo>
                      <a:cubicBezTo>
                        <a:pt x="117416" y="8455"/>
                        <a:pt x="116698" y="9293"/>
                        <a:pt x="116279" y="10250"/>
                      </a:cubicBezTo>
                      <a:lnTo>
                        <a:pt x="103122" y="5106"/>
                      </a:lnTo>
                      <a:cubicBezTo>
                        <a:pt x="103182" y="4448"/>
                        <a:pt x="103122" y="3731"/>
                        <a:pt x="102823" y="3013"/>
                      </a:cubicBezTo>
                      <a:cubicBezTo>
                        <a:pt x="101985" y="740"/>
                        <a:pt x="99713" y="-516"/>
                        <a:pt x="97739" y="202"/>
                      </a:cubicBezTo>
                      <a:cubicBezTo>
                        <a:pt x="95766" y="920"/>
                        <a:pt x="94868" y="3432"/>
                        <a:pt x="95706" y="5704"/>
                      </a:cubicBezTo>
                      <a:cubicBezTo>
                        <a:pt x="95825" y="5943"/>
                        <a:pt x="95885" y="6183"/>
                        <a:pt x="96065" y="6422"/>
                      </a:cubicBezTo>
                      <a:lnTo>
                        <a:pt x="89127" y="14137"/>
                      </a:lnTo>
                      <a:cubicBezTo>
                        <a:pt x="88050" y="13180"/>
                        <a:pt x="86615" y="12761"/>
                        <a:pt x="85359" y="13300"/>
                      </a:cubicBezTo>
                      <a:cubicBezTo>
                        <a:pt x="84282" y="13718"/>
                        <a:pt x="83505" y="14675"/>
                        <a:pt x="83206" y="15812"/>
                      </a:cubicBezTo>
                      <a:lnTo>
                        <a:pt x="71902" y="13419"/>
                      </a:lnTo>
                      <a:cubicBezTo>
                        <a:pt x="71843" y="13180"/>
                        <a:pt x="71783" y="12881"/>
                        <a:pt x="71663" y="12642"/>
                      </a:cubicBezTo>
                      <a:cubicBezTo>
                        <a:pt x="70826" y="10369"/>
                        <a:pt x="68553" y="9113"/>
                        <a:pt x="66580" y="9831"/>
                      </a:cubicBezTo>
                      <a:cubicBezTo>
                        <a:pt x="64606" y="10549"/>
                        <a:pt x="63709" y="13060"/>
                        <a:pt x="64546" y="15333"/>
                      </a:cubicBezTo>
                      <a:cubicBezTo>
                        <a:pt x="65025" y="16649"/>
                        <a:pt x="66041" y="17666"/>
                        <a:pt x="67178" y="18084"/>
                      </a:cubicBezTo>
                      <a:lnTo>
                        <a:pt x="62812" y="39196"/>
                      </a:lnTo>
                      <a:cubicBezTo>
                        <a:pt x="61855" y="38658"/>
                        <a:pt x="60778" y="38479"/>
                        <a:pt x="59702" y="38837"/>
                      </a:cubicBezTo>
                      <a:cubicBezTo>
                        <a:pt x="57728" y="39555"/>
                        <a:pt x="56831" y="42067"/>
                        <a:pt x="57668" y="44340"/>
                      </a:cubicBezTo>
                      <a:cubicBezTo>
                        <a:pt x="57668" y="44340"/>
                        <a:pt x="57668" y="44399"/>
                        <a:pt x="57728" y="44399"/>
                      </a:cubicBezTo>
                      <a:lnTo>
                        <a:pt x="50432" y="51217"/>
                      </a:lnTo>
                      <a:cubicBezTo>
                        <a:pt x="49415" y="50380"/>
                        <a:pt x="48039" y="50081"/>
                        <a:pt x="46843" y="50560"/>
                      </a:cubicBezTo>
                      <a:cubicBezTo>
                        <a:pt x="44870" y="51277"/>
                        <a:pt x="43972" y="53789"/>
                        <a:pt x="44810" y="56062"/>
                      </a:cubicBezTo>
                      <a:cubicBezTo>
                        <a:pt x="45049" y="56660"/>
                        <a:pt x="45348" y="57198"/>
                        <a:pt x="45766" y="57617"/>
                      </a:cubicBezTo>
                      <a:lnTo>
                        <a:pt x="40085" y="70774"/>
                      </a:lnTo>
                      <a:cubicBezTo>
                        <a:pt x="39068" y="70057"/>
                        <a:pt x="37872" y="69818"/>
                        <a:pt x="36736" y="70236"/>
                      </a:cubicBezTo>
                      <a:cubicBezTo>
                        <a:pt x="35599" y="70655"/>
                        <a:pt x="34822" y="71672"/>
                        <a:pt x="34523" y="72868"/>
                      </a:cubicBezTo>
                      <a:lnTo>
                        <a:pt x="23578" y="70894"/>
                      </a:lnTo>
                      <a:cubicBezTo>
                        <a:pt x="23518" y="70715"/>
                        <a:pt x="23518" y="70535"/>
                        <a:pt x="23459" y="70356"/>
                      </a:cubicBezTo>
                      <a:cubicBezTo>
                        <a:pt x="22621" y="68083"/>
                        <a:pt x="20348" y="66827"/>
                        <a:pt x="18375" y="67545"/>
                      </a:cubicBezTo>
                      <a:cubicBezTo>
                        <a:pt x="16700" y="68143"/>
                        <a:pt x="15863" y="69997"/>
                        <a:pt x="16102" y="71911"/>
                      </a:cubicBezTo>
                      <a:lnTo>
                        <a:pt x="7191" y="73346"/>
                      </a:lnTo>
                      <a:cubicBezTo>
                        <a:pt x="6234" y="71373"/>
                        <a:pt x="4141" y="70356"/>
                        <a:pt x="2346" y="71073"/>
                      </a:cubicBezTo>
                      <a:cubicBezTo>
                        <a:pt x="373" y="71791"/>
                        <a:pt x="-524" y="74303"/>
                        <a:pt x="313" y="76576"/>
                      </a:cubicBezTo>
                      <a:cubicBezTo>
                        <a:pt x="1151" y="78848"/>
                        <a:pt x="3423" y="80104"/>
                        <a:pt x="5397" y="79387"/>
                      </a:cubicBezTo>
                      <a:cubicBezTo>
                        <a:pt x="6952" y="78789"/>
                        <a:pt x="7849" y="77114"/>
                        <a:pt x="7729" y="75260"/>
                      </a:cubicBezTo>
                      <a:lnTo>
                        <a:pt x="16760" y="73825"/>
                      </a:lnTo>
                      <a:cubicBezTo>
                        <a:pt x="17777" y="75619"/>
                        <a:pt x="19750" y="76516"/>
                        <a:pt x="21485" y="75858"/>
                      </a:cubicBezTo>
                      <a:cubicBezTo>
                        <a:pt x="22741" y="75380"/>
                        <a:pt x="23578" y="74183"/>
                        <a:pt x="23757" y="72808"/>
                      </a:cubicBezTo>
                      <a:lnTo>
                        <a:pt x="34523" y="74782"/>
                      </a:lnTo>
                      <a:cubicBezTo>
                        <a:pt x="34583" y="75081"/>
                        <a:pt x="34642" y="75380"/>
                        <a:pt x="34762" y="75738"/>
                      </a:cubicBezTo>
                      <a:cubicBezTo>
                        <a:pt x="35599" y="78011"/>
                        <a:pt x="37872" y="79267"/>
                        <a:pt x="39846" y="78549"/>
                      </a:cubicBezTo>
                      <a:cubicBezTo>
                        <a:pt x="41819" y="77832"/>
                        <a:pt x="42716" y="75320"/>
                        <a:pt x="41879" y="73047"/>
                      </a:cubicBezTo>
                      <a:cubicBezTo>
                        <a:pt x="41760" y="72748"/>
                        <a:pt x="41640" y="72449"/>
                        <a:pt x="41461" y="72210"/>
                      </a:cubicBezTo>
                      <a:lnTo>
                        <a:pt x="47262" y="58693"/>
                      </a:lnTo>
                      <a:cubicBezTo>
                        <a:pt x="48099" y="59052"/>
                        <a:pt x="49056" y="59172"/>
                        <a:pt x="49953" y="58813"/>
                      </a:cubicBezTo>
                      <a:cubicBezTo>
                        <a:pt x="51927" y="58095"/>
                        <a:pt x="52824" y="55583"/>
                        <a:pt x="51987" y="53311"/>
                      </a:cubicBezTo>
                      <a:cubicBezTo>
                        <a:pt x="51927" y="53071"/>
                        <a:pt x="51807" y="52832"/>
                        <a:pt x="51687" y="52653"/>
                      </a:cubicBezTo>
                      <a:lnTo>
                        <a:pt x="58804" y="46014"/>
                      </a:lnTo>
                      <a:cubicBezTo>
                        <a:pt x="59881" y="47151"/>
                        <a:pt x="61436" y="47629"/>
                        <a:pt x="62812" y="47151"/>
                      </a:cubicBezTo>
                      <a:cubicBezTo>
                        <a:pt x="64785" y="46433"/>
                        <a:pt x="65682" y="43921"/>
                        <a:pt x="64845" y="41648"/>
                      </a:cubicBezTo>
                      <a:cubicBezTo>
                        <a:pt x="64726" y="41289"/>
                        <a:pt x="64546" y="40931"/>
                        <a:pt x="64307" y="40632"/>
                      </a:cubicBezTo>
                      <a:lnTo>
                        <a:pt x="68912" y="18323"/>
                      </a:lnTo>
                      <a:cubicBezTo>
                        <a:pt x="69151" y="18264"/>
                        <a:pt x="69390" y="18204"/>
                        <a:pt x="69630" y="18144"/>
                      </a:cubicBezTo>
                      <a:cubicBezTo>
                        <a:pt x="70826" y="17725"/>
                        <a:pt x="71603" y="16649"/>
                        <a:pt x="71843" y="15333"/>
                      </a:cubicBezTo>
                      <a:lnTo>
                        <a:pt x="83086" y="17725"/>
                      </a:lnTo>
                      <a:cubicBezTo>
                        <a:pt x="83146" y="18084"/>
                        <a:pt x="83206" y="18443"/>
                        <a:pt x="83326" y="18802"/>
                      </a:cubicBezTo>
                      <a:cubicBezTo>
                        <a:pt x="84163" y="21075"/>
                        <a:pt x="86435" y="22331"/>
                        <a:pt x="88409" y="21613"/>
                      </a:cubicBezTo>
                      <a:cubicBezTo>
                        <a:pt x="90383" y="20895"/>
                        <a:pt x="91280" y="18383"/>
                        <a:pt x="90443" y="16111"/>
                      </a:cubicBezTo>
                      <a:cubicBezTo>
                        <a:pt x="90383" y="15991"/>
                        <a:pt x="90323" y="15871"/>
                        <a:pt x="90263" y="15752"/>
                      </a:cubicBezTo>
                      <a:lnTo>
                        <a:pt x="97261" y="7917"/>
                      </a:lnTo>
                      <a:cubicBezTo>
                        <a:pt x="98277" y="8695"/>
                        <a:pt x="99593" y="8994"/>
                        <a:pt x="100789" y="8575"/>
                      </a:cubicBezTo>
                      <a:cubicBezTo>
                        <a:pt x="101567" y="8276"/>
                        <a:pt x="102225" y="7678"/>
                        <a:pt x="102583" y="6960"/>
                      </a:cubicBezTo>
                      <a:lnTo>
                        <a:pt x="115980" y="12223"/>
                      </a:lnTo>
                      <a:cubicBezTo>
                        <a:pt x="115980" y="12702"/>
                        <a:pt x="116100" y="13180"/>
                        <a:pt x="116279" y="13659"/>
                      </a:cubicBezTo>
                      <a:cubicBezTo>
                        <a:pt x="117116" y="15931"/>
                        <a:pt x="119389" y="17187"/>
                        <a:pt x="121363" y="16469"/>
                      </a:cubicBezTo>
                      <a:cubicBezTo>
                        <a:pt x="123337" y="15752"/>
                        <a:pt x="124234" y="13240"/>
                        <a:pt x="123397" y="10967"/>
                      </a:cubicBezTo>
                      <a:cubicBezTo>
                        <a:pt x="122619" y="8575"/>
                        <a:pt x="120346" y="7319"/>
                        <a:pt x="118373" y="8096"/>
                      </a:cubicBezTo>
                      <a:close/>
                      <a:moveTo>
                        <a:pt x="4679" y="77533"/>
                      </a:moveTo>
                      <a:cubicBezTo>
                        <a:pt x="3602" y="77951"/>
                        <a:pt x="2287" y="77234"/>
                        <a:pt x="1808" y="75978"/>
                      </a:cubicBezTo>
                      <a:cubicBezTo>
                        <a:pt x="1330" y="74722"/>
                        <a:pt x="1868" y="73286"/>
                        <a:pt x="2945" y="72868"/>
                      </a:cubicBezTo>
                      <a:cubicBezTo>
                        <a:pt x="4021" y="72449"/>
                        <a:pt x="5337" y="73167"/>
                        <a:pt x="5815" y="74423"/>
                      </a:cubicBezTo>
                      <a:cubicBezTo>
                        <a:pt x="6294" y="75738"/>
                        <a:pt x="5755" y="77114"/>
                        <a:pt x="4679" y="77533"/>
                      </a:cubicBezTo>
                      <a:close/>
                      <a:moveTo>
                        <a:pt x="20767" y="74004"/>
                      </a:moveTo>
                      <a:cubicBezTo>
                        <a:pt x="19691" y="74423"/>
                        <a:pt x="18375" y="73705"/>
                        <a:pt x="17896" y="72449"/>
                      </a:cubicBezTo>
                      <a:cubicBezTo>
                        <a:pt x="17418" y="71193"/>
                        <a:pt x="17956" y="69758"/>
                        <a:pt x="19033" y="69339"/>
                      </a:cubicBezTo>
                      <a:cubicBezTo>
                        <a:pt x="20109" y="68920"/>
                        <a:pt x="21425" y="69638"/>
                        <a:pt x="21903" y="70894"/>
                      </a:cubicBezTo>
                      <a:cubicBezTo>
                        <a:pt x="22382" y="72210"/>
                        <a:pt x="21844" y="73585"/>
                        <a:pt x="20767" y="74004"/>
                      </a:cubicBezTo>
                      <a:close/>
                      <a:moveTo>
                        <a:pt x="39128" y="76636"/>
                      </a:moveTo>
                      <a:cubicBezTo>
                        <a:pt x="38051" y="77054"/>
                        <a:pt x="36736" y="76336"/>
                        <a:pt x="36257" y="75081"/>
                      </a:cubicBezTo>
                      <a:cubicBezTo>
                        <a:pt x="35779" y="73825"/>
                        <a:pt x="36317" y="72389"/>
                        <a:pt x="37394" y="71971"/>
                      </a:cubicBezTo>
                      <a:cubicBezTo>
                        <a:pt x="38470" y="71552"/>
                        <a:pt x="39786" y="72270"/>
                        <a:pt x="40264" y="73526"/>
                      </a:cubicBezTo>
                      <a:cubicBezTo>
                        <a:pt x="40743" y="74841"/>
                        <a:pt x="40204" y="76217"/>
                        <a:pt x="39128" y="76636"/>
                      </a:cubicBezTo>
                      <a:close/>
                      <a:moveTo>
                        <a:pt x="49235" y="56959"/>
                      </a:moveTo>
                      <a:cubicBezTo>
                        <a:pt x="48159" y="57378"/>
                        <a:pt x="46843" y="56660"/>
                        <a:pt x="46365" y="55404"/>
                      </a:cubicBezTo>
                      <a:cubicBezTo>
                        <a:pt x="45886" y="54148"/>
                        <a:pt x="46425" y="52713"/>
                        <a:pt x="47501" y="52294"/>
                      </a:cubicBezTo>
                      <a:cubicBezTo>
                        <a:pt x="48578" y="51875"/>
                        <a:pt x="49893" y="52593"/>
                        <a:pt x="50372" y="53849"/>
                      </a:cubicBezTo>
                      <a:cubicBezTo>
                        <a:pt x="50850" y="55165"/>
                        <a:pt x="50312" y="56540"/>
                        <a:pt x="49235" y="56959"/>
                      </a:cubicBezTo>
                      <a:close/>
                      <a:moveTo>
                        <a:pt x="62094" y="45297"/>
                      </a:moveTo>
                      <a:cubicBezTo>
                        <a:pt x="61017" y="45715"/>
                        <a:pt x="59702" y="44998"/>
                        <a:pt x="59223" y="43742"/>
                      </a:cubicBezTo>
                      <a:cubicBezTo>
                        <a:pt x="58745" y="42486"/>
                        <a:pt x="59283" y="41050"/>
                        <a:pt x="60359" y="40632"/>
                      </a:cubicBezTo>
                      <a:cubicBezTo>
                        <a:pt x="61436" y="40213"/>
                        <a:pt x="62752" y="40931"/>
                        <a:pt x="63230" y="42187"/>
                      </a:cubicBezTo>
                      <a:cubicBezTo>
                        <a:pt x="63709" y="43502"/>
                        <a:pt x="63171" y="44878"/>
                        <a:pt x="62094" y="45297"/>
                      </a:cubicBezTo>
                      <a:close/>
                      <a:moveTo>
                        <a:pt x="68912" y="16290"/>
                      </a:moveTo>
                      <a:cubicBezTo>
                        <a:pt x="67835" y="16709"/>
                        <a:pt x="66520" y="15991"/>
                        <a:pt x="66041" y="14735"/>
                      </a:cubicBezTo>
                      <a:cubicBezTo>
                        <a:pt x="65563" y="13479"/>
                        <a:pt x="66101" y="12044"/>
                        <a:pt x="67178" y="11625"/>
                      </a:cubicBezTo>
                      <a:cubicBezTo>
                        <a:pt x="68254" y="11206"/>
                        <a:pt x="69570" y="11924"/>
                        <a:pt x="70048" y="13180"/>
                      </a:cubicBezTo>
                      <a:cubicBezTo>
                        <a:pt x="70527" y="14496"/>
                        <a:pt x="70048" y="15871"/>
                        <a:pt x="68912" y="16290"/>
                      </a:cubicBezTo>
                      <a:close/>
                      <a:moveTo>
                        <a:pt x="87751" y="19759"/>
                      </a:moveTo>
                      <a:cubicBezTo>
                        <a:pt x="86675" y="20177"/>
                        <a:pt x="85359" y="19460"/>
                        <a:pt x="84881" y="18204"/>
                      </a:cubicBezTo>
                      <a:cubicBezTo>
                        <a:pt x="84402" y="16948"/>
                        <a:pt x="84940" y="15513"/>
                        <a:pt x="86017" y="15094"/>
                      </a:cubicBezTo>
                      <a:cubicBezTo>
                        <a:pt x="87093" y="14675"/>
                        <a:pt x="88409" y="15393"/>
                        <a:pt x="88888" y="16649"/>
                      </a:cubicBezTo>
                      <a:cubicBezTo>
                        <a:pt x="89366" y="17905"/>
                        <a:pt x="88828" y="19340"/>
                        <a:pt x="87751" y="19759"/>
                      </a:cubicBezTo>
                      <a:close/>
                      <a:moveTo>
                        <a:pt x="100131" y="6661"/>
                      </a:moveTo>
                      <a:cubicBezTo>
                        <a:pt x="99055" y="7080"/>
                        <a:pt x="97739" y="6362"/>
                        <a:pt x="97261" y="5106"/>
                      </a:cubicBezTo>
                      <a:cubicBezTo>
                        <a:pt x="96782" y="3850"/>
                        <a:pt x="97320" y="2415"/>
                        <a:pt x="98397" y="1996"/>
                      </a:cubicBezTo>
                      <a:cubicBezTo>
                        <a:pt x="99474" y="1577"/>
                        <a:pt x="100789" y="2295"/>
                        <a:pt x="101268" y="3551"/>
                      </a:cubicBezTo>
                      <a:cubicBezTo>
                        <a:pt x="101746" y="4867"/>
                        <a:pt x="101268" y="6242"/>
                        <a:pt x="100131" y="6661"/>
                      </a:cubicBezTo>
                      <a:close/>
                      <a:moveTo>
                        <a:pt x="120765" y="14556"/>
                      </a:moveTo>
                      <a:cubicBezTo>
                        <a:pt x="119688" y="14974"/>
                        <a:pt x="118373" y="14257"/>
                        <a:pt x="117894" y="13001"/>
                      </a:cubicBezTo>
                      <a:cubicBezTo>
                        <a:pt x="117416" y="11745"/>
                        <a:pt x="117954" y="10309"/>
                        <a:pt x="119030" y="9891"/>
                      </a:cubicBezTo>
                      <a:cubicBezTo>
                        <a:pt x="120107" y="9472"/>
                        <a:pt x="121423" y="10190"/>
                        <a:pt x="121901" y="11446"/>
                      </a:cubicBezTo>
                      <a:cubicBezTo>
                        <a:pt x="122380" y="12761"/>
                        <a:pt x="121841" y="14137"/>
                        <a:pt x="120765" y="14556"/>
                      </a:cubicBezTo>
                      <a:close/>
                    </a:path>
                  </a:pathLst>
                </a:custGeom>
                <a:grpFill/>
                <a:ln w="6350" cap="flat">
                  <a:solidFill>
                    <a:schemeClr val="bg1">
                      <a:alpha val="40000"/>
                    </a:schemeClr>
                  </a:solidFill>
                  <a:prstDash val="solid"/>
                  <a:miter/>
                </a:ln>
              </p:spPr>
              <p:txBody>
                <a:bodyPr rtlCol="0" anchor="ctr"/>
                <a:lstStyle/>
                <a:p>
                  <a:endParaRPr lang="en-GB"/>
                </a:p>
              </p:txBody>
            </p:sp>
          </p:grpSp>
          <p:sp>
            <p:nvSpPr>
              <p:cNvPr id="9051" name="Vrije vorm: vorm 9050">
                <a:extLst>
                  <a:ext uri="{FF2B5EF4-FFF2-40B4-BE49-F238E27FC236}">
                    <a16:creationId xmlns:a16="http://schemas.microsoft.com/office/drawing/2014/main" id="{838B147D-8AA5-4B25-A6C9-0E699B504A01}"/>
                  </a:ext>
                </a:extLst>
              </p:cNvPr>
              <p:cNvSpPr/>
              <p:nvPr/>
            </p:nvSpPr>
            <p:spPr>
              <a:xfrm>
                <a:off x="4710974" y="1603113"/>
                <a:ext cx="53831" cy="33186"/>
              </a:xfrm>
              <a:custGeom>
                <a:avLst/>
                <a:gdLst>
                  <a:gd name="connsiteX0" fmla="*/ 52690 w 53831"/>
                  <a:gd name="connsiteY0" fmla="*/ 897 h 33186"/>
                  <a:gd name="connsiteX1" fmla="*/ 3110 w 53831"/>
                  <a:gd name="connsiteY1" fmla="*/ 5622 h 33186"/>
                  <a:gd name="connsiteX2" fmla="*/ 43959 w 53831"/>
                  <a:gd name="connsiteY2" fmla="*/ 11961 h 33186"/>
                  <a:gd name="connsiteX3" fmla="*/ 52690 w 53831"/>
                  <a:gd name="connsiteY3" fmla="*/ 897 h 33186"/>
                  <a:gd name="connsiteX4" fmla="*/ 37918 w 53831"/>
                  <a:gd name="connsiteY4" fmla="*/ 20275 h 33186"/>
                  <a:gd name="connsiteX5" fmla="*/ 1974 w 53831"/>
                  <a:gd name="connsiteY5" fmla="*/ 6579 h 33186"/>
                  <a:gd name="connsiteX6" fmla="*/ 30920 w 53831"/>
                  <a:gd name="connsiteY6" fmla="*/ 32356 h 33186"/>
                  <a:gd name="connsiteX7" fmla="*/ 37918 w 53831"/>
                  <a:gd name="connsiteY7" fmla="*/ 20275 h 33186"/>
                  <a:gd name="connsiteX8" fmla="*/ 43719 w 53831"/>
                  <a:gd name="connsiteY8" fmla="*/ 12619 h 33186"/>
                  <a:gd name="connsiteX9" fmla="*/ 3529 w 53831"/>
                  <a:gd name="connsiteY9" fmla="*/ 6399 h 33186"/>
                  <a:gd name="connsiteX10" fmla="*/ 38576 w 53831"/>
                  <a:gd name="connsiteY10" fmla="*/ 19796 h 33186"/>
                  <a:gd name="connsiteX11" fmla="*/ 45633 w 53831"/>
                  <a:gd name="connsiteY11" fmla="*/ 20634 h 33186"/>
                  <a:gd name="connsiteX12" fmla="*/ 43719 w 53831"/>
                  <a:gd name="connsiteY12" fmla="*/ 12619 h 33186"/>
                  <a:gd name="connsiteX13" fmla="*/ 53767 w 53831"/>
                  <a:gd name="connsiteY13" fmla="*/ 718 h 33186"/>
                  <a:gd name="connsiteX14" fmla="*/ 44437 w 53831"/>
                  <a:gd name="connsiteY14" fmla="*/ 12440 h 33186"/>
                  <a:gd name="connsiteX15" fmla="*/ 46470 w 53831"/>
                  <a:gd name="connsiteY15" fmla="*/ 20933 h 33186"/>
                  <a:gd name="connsiteX16" fmla="*/ 46470 w 53831"/>
                  <a:gd name="connsiteY16" fmla="*/ 21052 h 33186"/>
                  <a:gd name="connsiteX17" fmla="*/ 46052 w 53831"/>
                  <a:gd name="connsiteY17" fmla="*/ 21351 h 33186"/>
                  <a:gd name="connsiteX18" fmla="*/ 38695 w 53831"/>
                  <a:gd name="connsiteY18" fmla="*/ 20454 h 33186"/>
                  <a:gd name="connsiteX19" fmla="*/ 31459 w 53831"/>
                  <a:gd name="connsiteY19" fmla="*/ 33014 h 33186"/>
                  <a:gd name="connsiteX20" fmla="*/ 31399 w 53831"/>
                  <a:gd name="connsiteY20" fmla="*/ 33073 h 33186"/>
                  <a:gd name="connsiteX21" fmla="*/ 30861 w 53831"/>
                  <a:gd name="connsiteY21" fmla="*/ 33073 h 33186"/>
                  <a:gd name="connsiteX22" fmla="*/ 120 w 53831"/>
                  <a:gd name="connsiteY22" fmla="*/ 5682 h 33186"/>
                  <a:gd name="connsiteX23" fmla="*/ 60 w 53831"/>
                  <a:gd name="connsiteY23" fmla="*/ 5562 h 33186"/>
                  <a:gd name="connsiteX24" fmla="*/ 0 w 53831"/>
                  <a:gd name="connsiteY24" fmla="*/ 5442 h 33186"/>
                  <a:gd name="connsiteX25" fmla="*/ 0 w 53831"/>
                  <a:gd name="connsiteY25" fmla="*/ 5323 h 33186"/>
                  <a:gd name="connsiteX26" fmla="*/ 60 w 53831"/>
                  <a:gd name="connsiteY26" fmla="*/ 5203 h 33186"/>
                  <a:gd name="connsiteX27" fmla="*/ 180 w 53831"/>
                  <a:gd name="connsiteY27" fmla="*/ 5084 h 33186"/>
                  <a:gd name="connsiteX28" fmla="*/ 53468 w 53831"/>
                  <a:gd name="connsiteY28" fmla="*/ 0 h 33186"/>
                  <a:gd name="connsiteX29" fmla="*/ 53707 w 53831"/>
                  <a:gd name="connsiteY29" fmla="*/ 60 h 33186"/>
                  <a:gd name="connsiteX30" fmla="*/ 53767 w 53831"/>
                  <a:gd name="connsiteY30" fmla="*/ 718 h 3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831" h="33186">
                    <a:moveTo>
                      <a:pt x="52690" y="897"/>
                    </a:moveTo>
                    <a:lnTo>
                      <a:pt x="3110" y="5622"/>
                    </a:lnTo>
                    <a:lnTo>
                      <a:pt x="43959" y="11961"/>
                    </a:lnTo>
                    <a:lnTo>
                      <a:pt x="52690" y="897"/>
                    </a:lnTo>
                    <a:close/>
                    <a:moveTo>
                      <a:pt x="37918" y="20275"/>
                    </a:moveTo>
                    <a:lnTo>
                      <a:pt x="1974" y="6579"/>
                    </a:lnTo>
                    <a:lnTo>
                      <a:pt x="30920" y="32356"/>
                    </a:lnTo>
                    <a:lnTo>
                      <a:pt x="37918" y="20275"/>
                    </a:lnTo>
                    <a:close/>
                    <a:moveTo>
                      <a:pt x="43719" y="12619"/>
                    </a:moveTo>
                    <a:lnTo>
                      <a:pt x="3529" y="6399"/>
                    </a:lnTo>
                    <a:lnTo>
                      <a:pt x="38576" y="19796"/>
                    </a:lnTo>
                    <a:lnTo>
                      <a:pt x="45633" y="20634"/>
                    </a:lnTo>
                    <a:lnTo>
                      <a:pt x="43719" y="12619"/>
                    </a:lnTo>
                    <a:close/>
                    <a:moveTo>
                      <a:pt x="53767" y="718"/>
                    </a:moveTo>
                    <a:lnTo>
                      <a:pt x="44437" y="12440"/>
                    </a:lnTo>
                    <a:lnTo>
                      <a:pt x="46470" y="20933"/>
                    </a:lnTo>
                    <a:cubicBezTo>
                      <a:pt x="46470" y="20992"/>
                      <a:pt x="46470" y="21052"/>
                      <a:pt x="46470" y="21052"/>
                    </a:cubicBezTo>
                    <a:cubicBezTo>
                      <a:pt x="46410" y="21232"/>
                      <a:pt x="46231" y="21351"/>
                      <a:pt x="46052" y="21351"/>
                    </a:cubicBezTo>
                    <a:lnTo>
                      <a:pt x="38695" y="20454"/>
                    </a:lnTo>
                    <a:lnTo>
                      <a:pt x="31459" y="33014"/>
                    </a:lnTo>
                    <a:cubicBezTo>
                      <a:pt x="31459" y="33014"/>
                      <a:pt x="31399" y="33073"/>
                      <a:pt x="31399" y="33073"/>
                    </a:cubicBezTo>
                    <a:cubicBezTo>
                      <a:pt x="31279" y="33193"/>
                      <a:pt x="31040" y="33253"/>
                      <a:pt x="30861" y="33073"/>
                    </a:cubicBezTo>
                    <a:lnTo>
                      <a:pt x="120" y="5682"/>
                    </a:lnTo>
                    <a:cubicBezTo>
                      <a:pt x="60" y="5682"/>
                      <a:pt x="60" y="5622"/>
                      <a:pt x="60" y="5562"/>
                    </a:cubicBezTo>
                    <a:cubicBezTo>
                      <a:pt x="60" y="5502"/>
                      <a:pt x="0" y="5502"/>
                      <a:pt x="0" y="5442"/>
                    </a:cubicBezTo>
                    <a:cubicBezTo>
                      <a:pt x="0" y="5383"/>
                      <a:pt x="0" y="5323"/>
                      <a:pt x="0" y="5323"/>
                    </a:cubicBezTo>
                    <a:cubicBezTo>
                      <a:pt x="0" y="5263"/>
                      <a:pt x="60" y="5263"/>
                      <a:pt x="60" y="5203"/>
                    </a:cubicBezTo>
                    <a:cubicBezTo>
                      <a:pt x="120" y="5143"/>
                      <a:pt x="120" y="5143"/>
                      <a:pt x="180" y="5084"/>
                    </a:cubicBezTo>
                    <a:lnTo>
                      <a:pt x="53468" y="0"/>
                    </a:lnTo>
                    <a:cubicBezTo>
                      <a:pt x="53528" y="0"/>
                      <a:pt x="53647" y="0"/>
                      <a:pt x="53707" y="60"/>
                    </a:cubicBezTo>
                    <a:cubicBezTo>
                      <a:pt x="53827" y="299"/>
                      <a:pt x="53886" y="538"/>
                      <a:pt x="53767" y="71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52" name="Vrije vorm: vorm 9051">
                <a:extLst>
                  <a:ext uri="{FF2B5EF4-FFF2-40B4-BE49-F238E27FC236}">
                    <a16:creationId xmlns:a16="http://schemas.microsoft.com/office/drawing/2014/main" id="{7CCACCB1-8A08-4CDE-AFE4-3C645453EC31}"/>
                  </a:ext>
                </a:extLst>
              </p:cNvPr>
              <p:cNvSpPr/>
              <p:nvPr/>
            </p:nvSpPr>
            <p:spPr>
              <a:xfrm>
                <a:off x="5509999" y="1445162"/>
                <a:ext cx="41162" cy="46578"/>
              </a:xfrm>
              <a:custGeom>
                <a:avLst/>
                <a:gdLst>
                  <a:gd name="connsiteX0" fmla="*/ 15490 w 41162"/>
                  <a:gd name="connsiteY0" fmla="*/ 39712 h 46578"/>
                  <a:gd name="connsiteX1" fmla="*/ 30860 w 41162"/>
                  <a:gd name="connsiteY1" fmla="*/ 2632 h 46578"/>
                  <a:gd name="connsiteX2" fmla="*/ 1196 w 41162"/>
                  <a:gd name="connsiteY2" fmla="*/ 41267 h 46578"/>
                  <a:gd name="connsiteX3" fmla="*/ 15490 w 41162"/>
                  <a:gd name="connsiteY3" fmla="*/ 39712 h 46578"/>
                  <a:gd name="connsiteX4" fmla="*/ 40250 w 41162"/>
                  <a:gd name="connsiteY4" fmla="*/ 39473 h 46578"/>
                  <a:gd name="connsiteX5" fmla="*/ 32236 w 41162"/>
                  <a:gd name="connsiteY5" fmla="*/ 2273 h 46578"/>
                  <a:gd name="connsiteX6" fmla="*/ 25956 w 41162"/>
                  <a:gd name="connsiteY6" fmla="*/ 39054 h 46578"/>
                  <a:gd name="connsiteX7" fmla="*/ 40250 w 41162"/>
                  <a:gd name="connsiteY7" fmla="*/ 39473 h 46578"/>
                  <a:gd name="connsiteX8" fmla="*/ 22308 w 41162"/>
                  <a:gd name="connsiteY8" fmla="*/ 45573 h 46578"/>
                  <a:gd name="connsiteX9" fmla="*/ 25179 w 41162"/>
                  <a:gd name="connsiteY9" fmla="*/ 39293 h 46578"/>
                  <a:gd name="connsiteX10" fmla="*/ 31279 w 41162"/>
                  <a:gd name="connsiteY10" fmla="*/ 3409 h 46578"/>
                  <a:gd name="connsiteX11" fmla="*/ 16148 w 41162"/>
                  <a:gd name="connsiteY11" fmla="*/ 39891 h 46578"/>
                  <a:gd name="connsiteX12" fmla="*/ 22308 w 41162"/>
                  <a:gd name="connsiteY12" fmla="*/ 45573 h 46578"/>
                  <a:gd name="connsiteX13" fmla="*/ 0 w 41162"/>
                  <a:gd name="connsiteY13" fmla="*/ 41745 h 46578"/>
                  <a:gd name="connsiteX14" fmla="*/ 119 w 41162"/>
                  <a:gd name="connsiteY14" fmla="*/ 41506 h 46578"/>
                  <a:gd name="connsiteX15" fmla="*/ 31997 w 41162"/>
                  <a:gd name="connsiteY15" fmla="*/ 60 h 46578"/>
                  <a:gd name="connsiteX16" fmla="*/ 32176 w 41162"/>
                  <a:gd name="connsiteY16" fmla="*/ 0 h 46578"/>
                  <a:gd name="connsiteX17" fmla="*/ 32296 w 41162"/>
                  <a:gd name="connsiteY17" fmla="*/ 0 h 46578"/>
                  <a:gd name="connsiteX18" fmla="*/ 32415 w 41162"/>
                  <a:gd name="connsiteY18" fmla="*/ 60 h 46578"/>
                  <a:gd name="connsiteX19" fmla="*/ 32535 w 41162"/>
                  <a:gd name="connsiteY19" fmla="*/ 179 h 46578"/>
                  <a:gd name="connsiteX20" fmla="*/ 32595 w 41162"/>
                  <a:gd name="connsiteY20" fmla="*/ 299 h 46578"/>
                  <a:gd name="connsiteX21" fmla="*/ 41147 w 41162"/>
                  <a:gd name="connsiteY21" fmla="*/ 39832 h 46578"/>
                  <a:gd name="connsiteX22" fmla="*/ 40848 w 41162"/>
                  <a:gd name="connsiteY22" fmla="*/ 40250 h 46578"/>
                  <a:gd name="connsiteX23" fmla="*/ 40729 w 41162"/>
                  <a:gd name="connsiteY23" fmla="*/ 40250 h 46578"/>
                  <a:gd name="connsiteX24" fmla="*/ 25836 w 41162"/>
                  <a:gd name="connsiteY24" fmla="*/ 39772 h 46578"/>
                  <a:gd name="connsiteX25" fmla="*/ 22846 w 41162"/>
                  <a:gd name="connsiteY25" fmla="*/ 46351 h 46578"/>
                  <a:gd name="connsiteX26" fmla="*/ 22368 w 41162"/>
                  <a:gd name="connsiteY26" fmla="*/ 46530 h 46578"/>
                  <a:gd name="connsiteX27" fmla="*/ 22248 w 41162"/>
                  <a:gd name="connsiteY27" fmla="*/ 46470 h 46578"/>
                  <a:gd name="connsiteX28" fmla="*/ 15729 w 41162"/>
                  <a:gd name="connsiteY28" fmla="*/ 40430 h 46578"/>
                  <a:gd name="connsiteX29" fmla="*/ 538 w 41162"/>
                  <a:gd name="connsiteY29" fmla="*/ 42104 h 46578"/>
                  <a:gd name="connsiteX30" fmla="*/ 0 w 41162"/>
                  <a:gd name="connsiteY30" fmla="*/ 41745 h 46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162" h="46578">
                    <a:moveTo>
                      <a:pt x="15490" y="39712"/>
                    </a:moveTo>
                    <a:lnTo>
                      <a:pt x="30860" y="2632"/>
                    </a:lnTo>
                    <a:lnTo>
                      <a:pt x="1196" y="41267"/>
                    </a:lnTo>
                    <a:lnTo>
                      <a:pt x="15490" y="39712"/>
                    </a:lnTo>
                    <a:close/>
                    <a:moveTo>
                      <a:pt x="40250" y="39473"/>
                    </a:moveTo>
                    <a:lnTo>
                      <a:pt x="32236" y="2273"/>
                    </a:lnTo>
                    <a:lnTo>
                      <a:pt x="25956" y="39054"/>
                    </a:lnTo>
                    <a:lnTo>
                      <a:pt x="40250" y="39473"/>
                    </a:lnTo>
                    <a:close/>
                    <a:moveTo>
                      <a:pt x="22308" y="45573"/>
                    </a:moveTo>
                    <a:lnTo>
                      <a:pt x="25179" y="39293"/>
                    </a:lnTo>
                    <a:lnTo>
                      <a:pt x="31279" y="3409"/>
                    </a:lnTo>
                    <a:lnTo>
                      <a:pt x="16148" y="39891"/>
                    </a:lnTo>
                    <a:lnTo>
                      <a:pt x="22308" y="45573"/>
                    </a:lnTo>
                    <a:close/>
                    <a:moveTo>
                      <a:pt x="0" y="41745"/>
                    </a:moveTo>
                    <a:cubicBezTo>
                      <a:pt x="0" y="41626"/>
                      <a:pt x="60" y="41566"/>
                      <a:pt x="119" y="41506"/>
                    </a:cubicBezTo>
                    <a:lnTo>
                      <a:pt x="31997" y="60"/>
                    </a:lnTo>
                    <a:cubicBezTo>
                      <a:pt x="32057" y="0"/>
                      <a:pt x="32116" y="0"/>
                      <a:pt x="32176" y="0"/>
                    </a:cubicBezTo>
                    <a:cubicBezTo>
                      <a:pt x="32236" y="0"/>
                      <a:pt x="32236" y="0"/>
                      <a:pt x="32296" y="0"/>
                    </a:cubicBezTo>
                    <a:cubicBezTo>
                      <a:pt x="32356" y="0"/>
                      <a:pt x="32415" y="0"/>
                      <a:pt x="32415" y="60"/>
                    </a:cubicBezTo>
                    <a:cubicBezTo>
                      <a:pt x="32475" y="60"/>
                      <a:pt x="32475" y="120"/>
                      <a:pt x="32535" y="179"/>
                    </a:cubicBezTo>
                    <a:cubicBezTo>
                      <a:pt x="32535" y="239"/>
                      <a:pt x="32595" y="239"/>
                      <a:pt x="32595" y="299"/>
                    </a:cubicBezTo>
                    <a:lnTo>
                      <a:pt x="41147" y="39832"/>
                    </a:lnTo>
                    <a:cubicBezTo>
                      <a:pt x="41207" y="40011"/>
                      <a:pt x="41088" y="40190"/>
                      <a:pt x="40848" y="40250"/>
                    </a:cubicBezTo>
                    <a:cubicBezTo>
                      <a:pt x="40788" y="40250"/>
                      <a:pt x="40788" y="40250"/>
                      <a:pt x="40729" y="40250"/>
                    </a:cubicBezTo>
                    <a:lnTo>
                      <a:pt x="25836" y="39772"/>
                    </a:lnTo>
                    <a:lnTo>
                      <a:pt x="22846" y="46351"/>
                    </a:lnTo>
                    <a:cubicBezTo>
                      <a:pt x="22787" y="46530"/>
                      <a:pt x="22547" y="46650"/>
                      <a:pt x="22368" y="46530"/>
                    </a:cubicBezTo>
                    <a:cubicBezTo>
                      <a:pt x="22308" y="46530"/>
                      <a:pt x="22308" y="46470"/>
                      <a:pt x="22248" y="46470"/>
                    </a:cubicBezTo>
                    <a:lnTo>
                      <a:pt x="15729" y="40430"/>
                    </a:lnTo>
                    <a:lnTo>
                      <a:pt x="538" y="42104"/>
                    </a:lnTo>
                    <a:cubicBezTo>
                      <a:pt x="179" y="42044"/>
                      <a:pt x="0" y="41925"/>
                      <a:pt x="0" y="41745"/>
                    </a:cubicBezTo>
                    <a:close/>
                  </a:path>
                </a:pathLst>
              </a:custGeom>
              <a:grpFill/>
              <a:ln w="6350" cap="flat">
                <a:solidFill>
                  <a:schemeClr val="bg1">
                    <a:alpha val="40000"/>
                  </a:schemeClr>
                </a:solidFill>
                <a:prstDash val="solid"/>
                <a:miter/>
              </a:ln>
            </p:spPr>
            <p:txBody>
              <a:bodyPr rtlCol="0" anchor="ctr"/>
              <a:lstStyle/>
              <a:p>
                <a:endParaRPr lang="en-GB"/>
              </a:p>
            </p:txBody>
          </p:sp>
          <p:grpSp>
            <p:nvGrpSpPr>
              <p:cNvPr id="9053" name="Graphic 3">
                <a:extLst>
                  <a:ext uri="{FF2B5EF4-FFF2-40B4-BE49-F238E27FC236}">
                    <a16:creationId xmlns:a16="http://schemas.microsoft.com/office/drawing/2014/main" id="{A772E9EC-7917-4C1E-80EA-3211C76B5339}"/>
                  </a:ext>
                </a:extLst>
              </p:cNvPr>
              <p:cNvGrpSpPr/>
              <p:nvPr/>
            </p:nvGrpSpPr>
            <p:grpSpPr>
              <a:xfrm>
                <a:off x="5751722" y="1403416"/>
                <a:ext cx="189606" cy="363448"/>
                <a:chOff x="5751722" y="1403416"/>
                <a:chExt cx="189606" cy="363448"/>
              </a:xfrm>
              <a:grpFill/>
            </p:grpSpPr>
            <p:sp>
              <p:nvSpPr>
                <p:cNvPr id="9224" name="Vrije vorm: vorm 9223">
                  <a:extLst>
                    <a:ext uri="{FF2B5EF4-FFF2-40B4-BE49-F238E27FC236}">
                      <a16:creationId xmlns:a16="http://schemas.microsoft.com/office/drawing/2014/main" id="{867F8BF5-F056-4D26-8330-319820200C79}"/>
                    </a:ext>
                  </a:extLst>
                </p:cNvPr>
                <p:cNvSpPr/>
                <p:nvPr/>
              </p:nvSpPr>
              <p:spPr>
                <a:xfrm>
                  <a:off x="5870694" y="1546639"/>
                  <a:ext cx="28474" cy="35230"/>
                </a:xfrm>
                <a:custGeom>
                  <a:avLst/>
                  <a:gdLst>
                    <a:gd name="connsiteX0" fmla="*/ 26854 w 28474"/>
                    <a:gd name="connsiteY0" fmla="*/ 16366 h 35230"/>
                    <a:gd name="connsiteX1" fmla="*/ 15857 w 28474"/>
                    <a:gd name="connsiteY1" fmla="*/ 33982 h 35230"/>
                    <a:gd name="connsiteX2" fmla="*/ 1620 w 28474"/>
                    <a:gd name="connsiteY2" fmla="*/ 18864 h 35230"/>
                    <a:gd name="connsiteX3" fmla="*/ 12617 w 28474"/>
                    <a:gd name="connsiteY3" fmla="*/ 1249 h 35230"/>
                    <a:gd name="connsiteX4" fmla="*/ 26854 w 28474"/>
                    <a:gd name="connsiteY4" fmla="*/ 16366 h 35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74" h="35230">
                      <a:moveTo>
                        <a:pt x="26854" y="16366"/>
                      </a:moveTo>
                      <a:cubicBezTo>
                        <a:pt x="27749" y="25405"/>
                        <a:pt x="22825" y="33292"/>
                        <a:pt x="15857" y="33982"/>
                      </a:cubicBezTo>
                      <a:cubicBezTo>
                        <a:pt x="8889" y="34671"/>
                        <a:pt x="2515" y="27903"/>
                        <a:pt x="1620" y="18864"/>
                      </a:cubicBezTo>
                      <a:cubicBezTo>
                        <a:pt x="725" y="9825"/>
                        <a:pt x="5649" y="1939"/>
                        <a:pt x="12617" y="1249"/>
                      </a:cubicBezTo>
                      <a:cubicBezTo>
                        <a:pt x="19585" y="559"/>
                        <a:pt x="25959" y="7327"/>
                        <a:pt x="26854" y="1636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25" name="Vrije vorm: vorm 9224">
                  <a:extLst>
                    <a:ext uri="{FF2B5EF4-FFF2-40B4-BE49-F238E27FC236}">
                      <a16:creationId xmlns:a16="http://schemas.microsoft.com/office/drawing/2014/main" id="{917568AF-D887-48C9-9A96-66BACE33DF9C}"/>
                    </a:ext>
                  </a:extLst>
                </p:cNvPr>
                <p:cNvSpPr/>
                <p:nvPr/>
              </p:nvSpPr>
              <p:spPr>
                <a:xfrm>
                  <a:off x="5802808" y="1513106"/>
                  <a:ext cx="25606" cy="33650"/>
                </a:xfrm>
                <a:custGeom>
                  <a:avLst/>
                  <a:gdLst>
                    <a:gd name="connsiteX0" fmla="*/ 24051 w 25606"/>
                    <a:gd name="connsiteY0" fmla="*/ 15712 h 33650"/>
                    <a:gd name="connsiteX1" fmla="*/ 14358 w 25606"/>
                    <a:gd name="connsiteY1" fmla="*/ 32537 h 33650"/>
                    <a:gd name="connsiteX2" fmla="*/ 1555 w 25606"/>
                    <a:gd name="connsiteY2" fmla="*/ 17939 h 33650"/>
                    <a:gd name="connsiteX3" fmla="*/ 11248 w 25606"/>
                    <a:gd name="connsiteY3" fmla="*/ 1113 h 33650"/>
                    <a:gd name="connsiteX4" fmla="*/ 24051 w 25606"/>
                    <a:gd name="connsiteY4" fmla="*/ 15712 h 3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6" h="33650">
                      <a:moveTo>
                        <a:pt x="24051" y="15712"/>
                      </a:moveTo>
                      <a:cubicBezTo>
                        <a:pt x="24910" y="24389"/>
                        <a:pt x="20571" y="31922"/>
                        <a:pt x="14358" y="32537"/>
                      </a:cubicBezTo>
                      <a:cubicBezTo>
                        <a:pt x="8146" y="33152"/>
                        <a:pt x="2414" y="26616"/>
                        <a:pt x="1555" y="17939"/>
                      </a:cubicBezTo>
                      <a:cubicBezTo>
                        <a:pt x="696" y="9261"/>
                        <a:pt x="5036" y="1728"/>
                        <a:pt x="11248" y="1113"/>
                      </a:cubicBezTo>
                      <a:cubicBezTo>
                        <a:pt x="17460" y="498"/>
                        <a:pt x="23193" y="7034"/>
                        <a:pt x="24051" y="1571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26" name="Vrije vorm: vorm 9225">
                  <a:extLst>
                    <a:ext uri="{FF2B5EF4-FFF2-40B4-BE49-F238E27FC236}">
                      <a16:creationId xmlns:a16="http://schemas.microsoft.com/office/drawing/2014/main" id="{DDB5F3E5-F050-43D9-A9A9-2A0F1DD675AE}"/>
                    </a:ext>
                  </a:extLst>
                </p:cNvPr>
                <p:cNvSpPr/>
                <p:nvPr/>
              </p:nvSpPr>
              <p:spPr>
                <a:xfrm>
                  <a:off x="5815787" y="1449033"/>
                  <a:ext cx="23095" cy="21379"/>
                </a:xfrm>
                <a:custGeom>
                  <a:avLst/>
                  <a:gdLst>
                    <a:gd name="connsiteX0" fmla="*/ 22142 w 23095"/>
                    <a:gd name="connsiteY0" fmla="*/ 9641 h 21379"/>
                    <a:gd name="connsiteX1" fmla="*/ 12502 w 23095"/>
                    <a:gd name="connsiteY1" fmla="*/ 20331 h 21379"/>
                    <a:gd name="connsiteX2" fmla="*/ 954 w 23095"/>
                    <a:gd name="connsiteY2" fmla="*/ 11739 h 21379"/>
                    <a:gd name="connsiteX3" fmla="*/ 10593 w 23095"/>
                    <a:gd name="connsiteY3" fmla="*/ 1049 h 21379"/>
                    <a:gd name="connsiteX4" fmla="*/ 22142 w 23095"/>
                    <a:gd name="connsiteY4" fmla="*/ 9641 h 21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5" h="21379">
                      <a:moveTo>
                        <a:pt x="22142" y="9641"/>
                      </a:moveTo>
                      <a:cubicBezTo>
                        <a:pt x="22669" y="14966"/>
                        <a:pt x="18353" y="19752"/>
                        <a:pt x="12502" y="20331"/>
                      </a:cubicBezTo>
                      <a:cubicBezTo>
                        <a:pt x="6651" y="20910"/>
                        <a:pt x="1481" y="17063"/>
                        <a:pt x="954" y="11739"/>
                      </a:cubicBezTo>
                      <a:cubicBezTo>
                        <a:pt x="427" y="6414"/>
                        <a:pt x="4743" y="1628"/>
                        <a:pt x="10593" y="1049"/>
                      </a:cubicBezTo>
                      <a:cubicBezTo>
                        <a:pt x="16444" y="469"/>
                        <a:pt x="21614" y="4317"/>
                        <a:pt x="22142" y="964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27" name="Vrije vorm: vorm 9226">
                  <a:extLst>
                    <a:ext uri="{FF2B5EF4-FFF2-40B4-BE49-F238E27FC236}">
                      <a16:creationId xmlns:a16="http://schemas.microsoft.com/office/drawing/2014/main" id="{89B12912-7369-49CD-AA68-DA24588C02A3}"/>
                    </a:ext>
                  </a:extLst>
                </p:cNvPr>
                <p:cNvSpPr/>
                <p:nvPr/>
              </p:nvSpPr>
              <p:spPr>
                <a:xfrm>
                  <a:off x="5815255" y="1469444"/>
                  <a:ext cx="7595" cy="44137"/>
                </a:xfrm>
                <a:custGeom>
                  <a:avLst/>
                  <a:gdLst>
                    <a:gd name="connsiteX0" fmla="*/ 7596 w 7595"/>
                    <a:gd name="connsiteY0" fmla="*/ 0 h 44137"/>
                    <a:gd name="connsiteX1" fmla="*/ 0 w 7595"/>
                    <a:gd name="connsiteY1" fmla="*/ 44138 h 44137"/>
                  </a:gdLst>
                  <a:ahLst/>
                  <a:cxnLst>
                    <a:cxn ang="0">
                      <a:pos x="connsiteX0" y="connsiteY0"/>
                    </a:cxn>
                    <a:cxn ang="0">
                      <a:pos x="connsiteX1" y="connsiteY1"/>
                    </a:cxn>
                  </a:cxnLst>
                  <a:rect l="l" t="t" r="r" b="b"/>
                  <a:pathLst>
                    <a:path w="7595" h="44137">
                      <a:moveTo>
                        <a:pt x="7596" y="0"/>
                      </a:moveTo>
                      <a:lnTo>
                        <a:pt x="0" y="44138"/>
                      </a:lnTo>
                    </a:path>
                  </a:pathLst>
                </a:custGeom>
                <a:grpFill/>
                <a:ln w="6350" cap="flat">
                  <a:solidFill>
                    <a:schemeClr val="bg1">
                      <a:alpha val="40000"/>
                    </a:schemeClr>
                  </a:solidFill>
                  <a:prstDash val="solid"/>
                  <a:miter/>
                </a:ln>
              </p:spPr>
              <p:txBody>
                <a:bodyPr rtlCol="0" anchor="ctr"/>
                <a:lstStyle/>
                <a:p>
                  <a:endParaRPr lang="en-GB"/>
                </a:p>
              </p:txBody>
            </p:sp>
            <p:sp>
              <p:nvSpPr>
                <p:cNvPr id="9228" name="Vrije vorm: vorm 9227">
                  <a:extLst>
                    <a:ext uri="{FF2B5EF4-FFF2-40B4-BE49-F238E27FC236}">
                      <a16:creationId xmlns:a16="http://schemas.microsoft.com/office/drawing/2014/main" id="{4B7FAEB7-A16B-4258-AC9B-1A008586A7F0}"/>
                    </a:ext>
                  </a:extLst>
                </p:cNvPr>
                <p:cNvSpPr/>
                <p:nvPr/>
              </p:nvSpPr>
              <p:spPr>
                <a:xfrm>
                  <a:off x="5833735" y="1467889"/>
                  <a:ext cx="36422" cy="93777"/>
                </a:xfrm>
                <a:custGeom>
                  <a:avLst/>
                  <a:gdLst>
                    <a:gd name="connsiteX0" fmla="*/ 0 w 36422"/>
                    <a:gd name="connsiteY0" fmla="*/ 0 h 93777"/>
                    <a:gd name="connsiteX1" fmla="*/ 36423 w 36422"/>
                    <a:gd name="connsiteY1" fmla="*/ 93778 h 93777"/>
                  </a:gdLst>
                  <a:ahLst/>
                  <a:cxnLst>
                    <a:cxn ang="0">
                      <a:pos x="connsiteX0" y="connsiteY0"/>
                    </a:cxn>
                    <a:cxn ang="0">
                      <a:pos x="connsiteX1" y="connsiteY1"/>
                    </a:cxn>
                  </a:cxnLst>
                  <a:rect l="l" t="t" r="r" b="b"/>
                  <a:pathLst>
                    <a:path w="36422" h="93777">
                      <a:moveTo>
                        <a:pt x="0" y="0"/>
                      </a:moveTo>
                      <a:lnTo>
                        <a:pt x="36423" y="93778"/>
                      </a:lnTo>
                    </a:path>
                  </a:pathLst>
                </a:custGeom>
                <a:grpFill/>
                <a:ln w="6350" cap="flat">
                  <a:solidFill>
                    <a:schemeClr val="bg1">
                      <a:alpha val="40000"/>
                    </a:schemeClr>
                  </a:solidFill>
                  <a:prstDash val="solid"/>
                  <a:miter/>
                </a:ln>
              </p:spPr>
              <p:txBody>
                <a:bodyPr rtlCol="0" anchor="ctr"/>
                <a:lstStyle/>
                <a:p>
                  <a:endParaRPr lang="en-GB"/>
                </a:p>
              </p:txBody>
            </p:sp>
            <p:sp>
              <p:nvSpPr>
                <p:cNvPr id="9229" name="Vrije vorm: vorm 9228">
                  <a:extLst>
                    <a:ext uri="{FF2B5EF4-FFF2-40B4-BE49-F238E27FC236}">
                      <a16:creationId xmlns:a16="http://schemas.microsoft.com/office/drawing/2014/main" id="{A6F90578-449D-4961-AF37-70CA94AE3488}"/>
                    </a:ext>
                  </a:extLst>
                </p:cNvPr>
                <p:cNvSpPr/>
                <p:nvPr/>
              </p:nvSpPr>
              <p:spPr>
                <a:xfrm>
                  <a:off x="5870158" y="1549884"/>
                  <a:ext cx="8253" cy="11782"/>
                </a:xfrm>
                <a:custGeom>
                  <a:avLst/>
                  <a:gdLst>
                    <a:gd name="connsiteX0" fmla="*/ 8253 w 8253"/>
                    <a:gd name="connsiteY0" fmla="*/ 0 h 11782"/>
                    <a:gd name="connsiteX1" fmla="*/ 0 w 8253"/>
                    <a:gd name="connsiteY1" fmla="*/ 11782 h 11782"/>
                  </a:gdLst>
                  <a:ahLst/>
                  <a:cxnLst>
                    <a:cxn ang="0">
                      <a:pos x="connsiteX0" y="connsiteY0"/>
                    </a:cxn>
                    <a:cxn ang="0">
                      <a:pos x="connsiteX1" y="connsiteY1"/>
                    </a:cxn>
                  </a:cxnLst>
                  <a:rect l="l" t="t" r="r" b="b"/>
                  <a:pathLst>
                    <a:path w="8253" h="11782">
                      <a:moveTo>
                        <a:pt x="8253" y="0"/>
                      </a:moveTo>
                      <a:lnTo>
                        <a:pt x="0" y="11782"/>
                      </a:lnTo>
                    </a:path>
                  </a:pathLst>
                </a:custGeom>
                <a:grpFill/>
                <a:ln w="6350" cap="flat">
                  <a:solidFill>
                    <a:schemeClr val="bg1">
                      <a:alpha val="40000"/>
                    </a:schemeClr>
                  </a:solidFill>
                  <a:prstDash val="solid"/>
                  <a:miter/>
                </a:ln>
              </p:spPr>
              <p:txBody>
                <a:bodyPr rtlCol="0" anchor="ctr"/>
                <a:lstStyle/>
                <a:p>
                  <a:endParaRPr lang="en-GB"/>
                </a:p>
              </p:txBody>
            </p:sp>
            <p:sp>
              <p:nvSpPr>
                <p:cNvPr id="9230" name="Vrije vorm: vorm 9229">
                  <a:extLst>
                    <a:ext uri="{FF2B5EF4-FFF2-40B4-BE49-F238E27FC236}">
                      <a16:creationId xmlns:a16="http://schemas.microsoft.com/office/drawing/2014/main" id="{29169BD3-E753-4DF0-8E99-F39705B8022C}"/>
                    </a:ext>
                  </a:extLst>
                </p:cNvPr>
                <p:cNvSpPr/>
                <p:nvPr/>
              </p:nvSpPr>
              <p:spPr>
                <a:xfrm>
                  <a:off x="5870457" y="1565913"/>
                  <a:ext cx="4904" cy="8971"/>
                </a:xfrm>
                <a:custGeom>
                  <a:avLst/>
                  <a:gdLst>
                    <a:gd name="connsiteX0" fmla="*/ 4904 w 4904"/>
                    <a:gd name="connsiteY0" fmla="*/ 8971 h 8971"/>
                    <a:gd name="connsiteX1" fmla="*/ 0 w 4904"/>
                    <a:gd name="connsiteY1" fmla="*/ 0 h 8971"/>
                  </a:gdLst>
                  <a:ahLst/>
                  <a:cxnLst>
                    <a:cxn ang="0">
                      <a:pos x="connsiteX0" y="connsiteY0"/>
                    </a:cxn>
                    <a:cxn ang="0">
                      <a:pos x="connsiteX1" y="connsiteY1"/>
                    </a:cxn>
                  </a:cxnLst>
                  <a:rect l="l" t="t" r="r" b="b"/>
                  <a:pathLst>
                    <a:path w="4904" h="8971">
                      <a:moveTo>
                        <a:pt x="4904" y="8971"/>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31" name="Vrije vorm: vorm 9230">
                  <a:extLst>
                    <a:ext uri="{FF2B5EF4-FFF2-40B4-BE49-F238E27FC236}">
                      <a16:creationId xmlns:a16="http://schemas.microsoft.com/office/drawing/2014/main" id="{9141817F-FBE7-49C2-ABDE-5058C9D215D5}"/>
                    </a:ext>
                  </a:extLst>
                </p:cNvPr>
                <p:cNvSpPr/>
                <p:nvPr/>
              </p:nvSpPr>
              <p:spPr>
                <a:xfrm>
                  <a:off x="5819023" y="1514658"/>
                  <a:ext cx="12679" cy="12081"/>
                </a:xfrm>
                <a:custGeom>
                  <a:avLst/>
                  <a:gdLst>
                    <a:gd name="connsiteX0" fmla="*/ 0 w 12679"/>
                    <a:gd name="connsiteY0" fmla="*/ 0 h 12081"/>
                    <a:gd name="connsiteX1" fmla="*/ 12679 w 12679"/>
                    <a:gd name="connsiteY1" fmla="*/ 12081 h 12081"/>
                  </a:gdLst>
                  <a:ahLst/>
                  <a:cxnLst>
                    <a:cxn ang="0">
                      <a:pos x="connsiteX0" y="connsiteY0"/>
                    </a:cxn>
                    <a:cxn ang="0">
                      <a:pos x="connsiteX1" y="connsiteY1"/>
                    </a:cxn>
                  </a:cxnLst>
                  <a:rect l="l" t="t" r="r" b="b"/>
                  <a:pathLst>
                    <a:path w="12679" h="12081">
                      <a:moveTo>
                        <a:pt x="0" y="0"/>
                      </a:moveTo>
                      <a:lnTo>
                        <a:pt x="12679" y="12081"/>
                      </a:lnTo>
                    </a:path>
                  </a:pathLst>
                </a:custGeom>
                <a:grpFill/>
                <a:ln w="6350" cap="flat">
                  <a:solidFill>
                    <a:schemeClr val="bg1">
                      <a:alpha val="40000"/>
                    </a:schemeClr>
                  </a:solidFill>
                  <a:prstDash val="solid"/>
                  <a:miter/>
                </a:ln>
              </p:spPr>
              <p:txBody>
                <a:bodyPr rtlCol="0" anchor="ctr"/>
                <a:lstStyle/>
                <a:p>
                  <a:endParaRPr lang="en-GB"/>
                </a:p>
              </p:txBody>
            </p:sp>
            <p:sp>
              <p:nvSpPr>
                <p:cNvPr id="9232" name="Vrije vorm: vorm 9231">
                  <a:extLst>
                    <a:ext uri="{FF2B5EF4-FFF2-40B4-BE49-F238E27FC236}">
                      <a16:creationId xmlns:a16="http://schemas.microsoft.com/office/drawing/2014/main" id="{B48E7506-20C7-4144-98B0-BD7AA81445A9}"/>
                    </a:ext>
                  </a:extLst>
                </p:cNvPr>
                <p:cNvSpPr/>
                <p:nvPr/>
              </p:nvSpPr>
              <p:spPr>
                <a:xfrm>
                  <a:off x="5822910" y="1533437"/>
                  <a:ext cx="8791" cy="10825"/>
                </a:xfrm>
                <a:custGeom>
                  <a:avLst/>
                  <a:gdLst>
                    <a:gd name="connsiteX0" fmla="*/ 8792 w 8791"/>
                    <a:gd name="connsiteY0" fmla="*/ 0 h 10825"/>
                    <a:gd name="connsiteX1" fmla="*/ 0 w 8791"/>
                    <a:gd name="connsiteY1" fmla="*/ 10825 h 10825"/>
                  </a:gdLst>
                  <a:ahLst/>
                  <a:cxnLst>
                    <a:cxn ang="0">
                      <a:pos x="connsiteX0" y="connsiteY0"/>
                    </a:cxn>
                    <a:cxn ang="0">
                      <a:pos x="connsiteX1" y="connsiteY1"/>
                    </a:cxn>
                  </a:cxnLst>
                  <a:rect l="l" t="t" r="r" b="b"/>
                  <a:pathLst>
                    <a:path w="8791" h="10825">
                      <a:moveTo>
                        <a:pt x="8792" y="0"/>
                      </a:moveTo>
                      <a:lnTo>
                        <a:pt x="0" y="10825"/>
                      </a:lnTo>
                    </a:path>
                  </a:pathLst>
                </a:custGeom>
                <a:grpFill/>
                <a:ln w="6350" cap="flat">
                  <a:solidFill>
                    <a:schemeClr val="bg1">
                      <a:alpha val="40000"/>
                    </a:schemeClr>
                  </a:solidFill>
                  <a:prstDash val="solid"/>
                  <a:miter/>
                </a:ln>
              </p:spPr>
              <p:txBody>
                <a:bodyPr rtlCol="0" anchor="ctr"/>
                <a:lstStyle/>
                <a:p>
                  <a:endParaRPr lang="en-GB"/>
                </a:p>
              </p:txBody>
            </p:sp>
            <p:sp>
              <p:nvSpPr>
                <p:cNvPr id="9233" name="Vrije vorm: vorm 9232">
                  <a:extLst>
                    <a:ext uri="{FF2B5EF4-FFF2-40B4-BE49-F238E27FC236}">
                      <a16:creationId xmlns:a16="http://schemas.microsoft.com/office/drawing/2014/main" id="{55724287-58DD-4613-A4B1-0897885B8D3C}"/>
                    </a:ext>
                  </a:extLst>
                </p:cNvPr>
                <p:cNvSpPr/>
                <p:nvPr/>
              </p:nvSpPr>
              <p:spPr>
                <a:xfrm>
                  <a:off x="5827216" y="1470281"/>
                  <a:ext cx="23504" cy="296284"/>
                </a:xfrm>
                <a:custGeom>
                  <a:avLst/>
                  <a:gdLst>
                    <a:gd name="connsiteX0" fmla="*/ 0 w 23504"/>
                    <a:gd name="connsiteY0" fmla="*/ 0 h 296284"/>
                    <a:gd name="connsiteX1" fmla="*/ 23504 w 23504"/>
                    <a:gd name="connsiteY1" fmla="*/ 296285 h 296284"/>
                  </a:gdLst>
                  <a:ahLst/>
                  <a:cxnLst>
                    <a:cxn ang="0">
                      <a:pos x="connsiteX0" y="connsiteY0"/>
                    </a:cxn>
                    <a:cxn ang="0">
                      <a:pos x="connsiteX1" y="connsiteY1"/>
                    </a:cxn>
                  </a:cxnLst>
                  <a:rect l="l" t="t" r="r" b="b"/>
                  <a:pathLst>
                    <a:path w="23504" h="296284">
                      <a:moveTo>
                        <a:pt x="0" y="0"/>
                      </a:moveTo>
                      <a:lnTo>
                        <a:pt x="23504" y="296285"/>
                      </a:lnTo>
                    </a:path>
                  </a:pathLst>
                </a:custGeom>
                <a:grpFill/>
                <a:ln w="6350" cap="flat">
                  <a:solidFill>
                    <a:schemeClr val="bg1">
                      <a:alpha val="40000"/>
                    </a:schemeClr>
                  </a:solidFill>
                  <a:prstDash val="solid"/>
                  <a:miter/>
                </a:ln>
              </p:spPr>
              <p:txBody>
                <a:bodyPr rtlCol="0" anchor="ctr"/>
                <a:lstStyle/>
                <a:p>
                  <a:endParaRPr lang="en-GB"/>
                </a:p>
              </p:txBody>
            </p:sp>
            <p:sp>
              <p:nvSpPr>
                <p:cNvPr id="9234" name="Vrije vorm: vorm 9233">
                  <a:extLst>
                    <a:ext uri="{FF2B5EF4-FFF2-40B4-BE49-F238E27FC236}">
                      <a16:creationId xmlns:a16="http://schemas.microsoft.com/office/drawing/2014/main" id="{2F1F4144-5D54-41AE-A2C3-A8333BC8DD49}"/>
                    </a:ext>
                  </a:extLst>
                </p:cNvPr>
                <p:cNvSpPr/>
                <p:nvPr/>
              </p:nvSpPr>
              <p:spPr>
                <a:xfrm>
                  <a:off x="5874045" y="1573269"/>
                  <a:ext cx="62737" cy="164290"/>
                </a:xfrm>
                <a:custGeom>
                  <a:avLst/>
                  <a:gdLst>
                    <a:gd name="connsiteX0" fmla="*/ 62738 w 62737"/>
                    <a:gd name="connsiteY0" fmla="*/ 164290 h 164290"/>
                    <a:gd name="connsiteX1" fmla="*/ 0 w 62737"/>
                    <a:gd name="connsiteY1" fmla="*/ 0 h 164290"/>
                  </a:gdLst>
                  <a:ahLst/>
                  <a:cxnLst>
                    <a:cxn ang="0">
                      <a:pos x="connsiteX0" y="connsiteY0"/>
                    </a:cxn>
                    <a:cxn ang="0">
                      <a:pos x="connsiteX1" y="connsiteY1"/>
                    </a:cxn>
                  </a:cxnLst>
                  <a:rect l="l" t="t" r="r" b="b"/>
                  <a:pathLst>
                    <a:path w="62737" h="164290">
                      <a:moveTo>
                        <a:pt x="62738" y="164290"/>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35" name="Vrije vorm: vorm 9234">
                  <a:extLst>
                    <a:ext uri="{FF2B5EF4-FFF2-40B4-BE49-F238E27FC236}">
                      <a16:creationId xmlns:a16="http://schemas.microsoft.com/office/drawing/2014/main" id="{187522EC-B2DA-416C-A086-230754D64280}"/>
                    </a:ext>
                  </a:extLst>
                </p:cNvPr>
                <p:cNvSpPr/>
                <p:nvPr/>
              </p:nvSpPr>
              <p:spPr>
                <a:xfrm>
                  <a:off x="5773270" y="1545219"/>
                  <a:ext cx="36960" cy="203942"/>
                </a:xfrm>
                <a:custGeom>
                  <a:avLst/>
                  <a:gdLst>
                    <a:gd name="connsiteX0" fmla="*/ 36961 w 36960"/>
                    <a:gd name="connsiteY0" fmla="*/ 0 h 203942"/>
                    <a:gd name="connsiteX1" fmla="*/ 0 w 36960"/>
                    <a:gd name="connsiteY1" fmla="*/ 203943 h 203942"/>
                  </a:gdLst>
                  <a:ahLst/>
                  <a:cxnLst>
                    <a:cxn ang="0">
                      <a:pos x="connsiteX0" y="connsiteY0"/>
                    </a:cxn>
                    <a:cxn ang="0">
                      <a:pos x="connsiteX1" y="connsiteY1"/>
                    </a:cxn>
                  </a:cxnLst>
                  <a:rect l="l" t="t" r="r" b="b"/>
                  <a:pathLst>
                    <a:path w="36960" h="203942">
                      <a:moveTo>
                        <a:pt x="36961" y="0"/>
                      </a:moveTo>
                      <a:lnTo>
                        <a:pt x="0" y="203943"/>
                      </a:lnTo>
                    </a:path>
                  </a:pathLst>
                </a:custGeom>
                <a:grpFill/>
                <a:ln w="6350" cap="flat">
                  <a:solidFill>
                    <a:schemeClr val="bg1">
                      <a:alpha val="40000"/>
                    </a:schemeClr>
                  </a:solidFill>
                  <a:prstDash val="solid"/>
                  <a:miter/>
                </a:ln>
              </p:spPr>
              <p:txBody>
                <a:bodyPr rtlCol="0" anchor="ctr"/>
                <a:lstStyle/>
                <a:p>
                  <a:endParaRPr lang="en-GB"/>
                </a:p>
              </p:txBody>
            </p:sp>
            <p:sp>
              <p:nvSpPr>
                <p:cNvPr id="9236" name="Vrije vorm: vorm 9235">
                  <a:extLst>
                    <a:ext uri="{FF2B5EF4-FFF2-40B4-BE49-F238E27FC236}">
                      <a16:creationId xmlns:a16="http://schemas.microsoft.com/office/drawing/2014/main" id="{F2D17645-F9DE-4C0F-B532-0C86E64A3330}"/>
                    </a:ext>
                  </a:extLst>
                </p:cNvPr>
                <p:cNvSpPr/>
                <p:nvPr/>
              </p:nvSpPr>
              <p:spPr>
                <a:xfrm>
                  <a:off x="5827276" y="1471417"/>
                  <a:ext cx="15071" cy="295447"/>
                </a:xfrm>
                <a:custGeom>
                  <a:avLst/>
                  <a:gdLst>
                    <a:gd name="connsiteX0" fmla="*/ 15071 w 15071"/>
                    <a:gd name="connsiteY0" fmla="*/ 295448 h 295447"/>
                    <a:gd name="connsiteX1" fmla="*/ 0 w 15071"/>
                    <a:gd name="connsiteY1" fmla="*/ 0 h 295447"/>
                  </a:gdLst>
                  <a:ahLst/>
                  <a:cxnLst>
                    <a:cxn ang="0">
                      <a:pos x="connsiteX0" y="connsiteY0"/>
                    </a:cxn>
                    <a:cxn ang="0">
                      <a:pos x="connsiteX1" y="connsiteY1"/>
                    </a:cxn>
                  </a:cxnLst>
                  <a:rect l="l" t="t" r="r" b="b"/>
                  <a:pathLst>
                    <a:path w="15071" h="295447">
                      <a:moveTo>
                        <a:pt x="15071" y="295448"/>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37" name="Vrije vorm: vorm 9236">
                  <a:extLst>
                    <a:ext uri="{FF2B5EF4-FFF2-40B4-BE49-F238E27FC236}">
                      <a16:creationId xmlns:a16="http://schemas.microsoft.com/office/drawing/2014/main" id="{1F666053-6BA7-4CD9-A670-A7877ADE3971}"/>
                    </a:ext>
                  </a:extLst>
                </p:cNvPr>
                <p:cNvSpPr/>
                <p:nvPr/>
              </p:nvSpPr>
              <p:spPr>
                <a:xfrm>
                  <a:off x="5833496" y="1465975"/>
                  <a:ext cx="107832" cy="269431"/>
                </a:xfrm>
                <a:custGeom>
                  <a:avLst/>
                  <a:gdLst>
                    <a:gd name="connsiteX0" fmla="*/ 107833 w 107832"/>
                    <a:gd name="connsiteY0" fmla="*/ 269432 h 269431"/>
                    <a:gd name="connsiteX1" fmla="*/ 0 w 107832"/>
                    <a:gd name="connsiteY1" fmla="*/ 0 h 269431"/>
                  </a:gdLst>
                  <a:ahLst/>
                  <a:cxnLst>
                    <a:cxn ang="0">
                      <a:pos x="connsiteX0" y="connsiteY0"/>
                    </a:cxn>
                    <a:cxn ang="0">
                      <a:pos x="connsiteX1" y="connsiteY1"/>
                    </a:cxn>
                  </a:cxnLst>
                  <a:rect l="l" t="t" r="r" b="b"/>
                  <a:pathLst>
                    <a:path w="107832" h="269431">
                      <a:moveTo>
                        <a:pt x="107833" y="269432"/>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38" name="Vrije vorm: vorm 9237">
                  <a:extLst>
                    <a:ext uri="{FF2B5EF4-FFF2-40B4-BE49-F238E27FC236}">
                      <a16:creationId xmlns:a16="http://schemas.microsoft.com/office/drawing/2014/main" id="{CCA3F2B8-AF19-4EFC-91F0-B39C94742C22}"/>
                    </a:ext>
                  </a:extLst>
                </p:cNvPr>
                <p:cNvSpPr/>
                <p:nvPr/>
              </p:nvSpPr>
              <p:spPr>
                <a:xfrm>
                  <a:off x="5769383" y="1543425"/>
                  <a:ext cx="38994" cy="204301"/>
                </a:xfrm>
                <a:custGeom>
                  <a:avLst/>
                  <a:gdLst>
                    <a:gd name="connsiteX0" fmla="*/ 0 w 38994"/>
                    <a:gd name="connsiteY0" fmla="*/ 204301 h 204301"/>
                    <a:gd name="connsiteX1" fmla="*/ 38994 w 38994"/>
                    <a:gd name="connsiteY1" fmla="*/ 0 h 204301"/>
                  </a:gdLst>
                  <a:ahLst/>
                  <a:cxnLst>
                    <a:cxn ang="0">
                      <a:pos x="connsiteX0" y="connsiteY0"/>
                    </a:cxn>
                    <a:cxn ang="0">
                      <a:pos x="connsiteX1" y="connsiteY1"/>
                    </a:cxn>
                  </a:cxnLst>
                  <a:rect l="l" t="t" r="r" b="b"/>
                  <a:pathLst>
                    <a:path w="38994" h="204301">
                      <a:moveTo>
                        <a:pt x="0" y="204301"/>
                      </a:moveTo>
                      <a:lnTo>
                        <a:pt x="38994" y="0"/>
                      </a:lnTo>
                    </a:path>
                  </a:pathLst>
                </a:custGeom>
                <a:grpFill/>
                <a:ln w="6350" cap="flat">
                  <a:solidFill>
                    <a:schemeClr val="bg1">
                      <a:alpha val="40000"/>
                    </a:schemeClr>
                  </a:solidFill>
                  <a:prstDash val="solid"/>
                  <a:miter/>
                </a:ln>
              </p:spPr>
              <p:txBody>
                <a:bodyPr rtlCol="0" anchor="ctr"/>
                <a:lstStyle/>
                <a:p>
                  <a:endParaRPr lang="en-GB"/>
                </a:p>
              </p:txBody>
            </p:sp>
            <p:sp>
              <p:nvSpPr>
                <p:cNvPr id="9239" name="Vrije vorm: vorm 9238">
                  <a:extLst>
                    <a:ext uri="{FF2B5EF4-FFF2-40B4-BE49-F238E27FC236}">
                      <a16:creationId xmlns:a16="http://schemas.microsoft.com/office/drawing/2014/main" id="{F845F74F-E314-4914-B7AE-C5756BCCBB82}"/>
                    </a:ext>
                  </a:extLst>
                </p:cNvPr>
                <p:cNvSpPr/>
                <p:nvPr/>
              </p:nvSpPr>
              <p:spPr>
                <a:xfrm>
                  <a:off x="5814238" y="1469444"/>
                  <a:ext cx="8612" cy="44975"/>
                </a:xfrm>
                <a:custGeom>
                  <a:avLst/>
                  <a:gdLst>
                    <a:gd name="connsiteX0" fmla="*/ 0 w 8612"/>
                    <a:gd name="connsiteY0" fmla="*/ 44975 h 44975"/>
                    <a:gd name="connsiteX1" fmla="*/ 8612 w 8612"/>
                    <a:gd name="connsiteY1" fmla="*/ 0 h 44975"/>
                  </a:gdLst>
                  <a:ahLst/>
                  <a:cxnLst>
                    <a:cxn ang="0">
                      <a:pos x="connsiteX0" y="connsiteY0"/>
                    </a:cxn>
                    <a:cxn ang="0">
                      <a:pos x="connsiteX1" y="connsiteY1"/>
                    </a:cxn>
                  </a:cxnLst>
                  <a:rect l="l" t="t" r="r" b="b"/>
                  <a:pathLst>
                    <a:path w="8612" h="44975">
                      <a:moveTo>
                        <a:pt x="0" y="44975"/>
                      </a:moveTo>
                      <a:lnTo>
                        <a:pt x="8612" y="0"/>
                      </a:lnTo>
                    </a:path>
                  </a:pathLst>
                </a:custGeom>
                <a:grpFill/>
                <a:ln w="6350" cap="flat">
                  <a:solidFill>
                    <a:schemeClr val="bg1">
                      <a:alpha val="40000"/>
                    </a:schemeClr>
                  </a:solidFill>
                  <a:prstDash val="solid"/>
                  <a:miter/>
                </a:ln>
              </p:spPr>
              <p:txBody>
                <a:bodyPr rtlCol="0" anchor="ctr"/>
                <a:lstStyle/>
                <a:p>
                  <a:endParaRPr lang="en-GB"/>
                </a:p>
              </p:txBody>
            </p:sp>
            <p:sp>
              <p:nvSpPr>
                <p:cNvPr id="9240" name="Vrije vorm: vorm 9239">
                  <a:extLst>
                    <a:ext uri="{FF2B5EF4-FFF2-40B4-BE49-F238E27FC236}">
                      <a16:creationId xmlns:a16="http://schemas.microsoft.com/office/drawing/2014/main" id="{A014CEB4-B8FA-4328-8271-E1F2C9407DAC}"/>
                    </a:ext>
                  </a:extLst>
                </p:cNvPr>
                <p:cNvSpPr/>
                <p:nvPr/>
              </p:nvSpPr>
              <p:spPr>
                <a:xfrm>
                  <a:off x="5828472" y="1469563"/>
                  <a:ext cx="37678" cy="227865"/>
                </a:xfrm>
                <a:custGeom>
                  <a:avLst/>
                  <a:gdLst>
                    <a:gd name="connsiteX0" fmla="*/ 37679 w 37678"/>
                    <a:gd name="connsiteY0" fmla="*/ 227865 h 227865"/>
                    <a:gd name="connsiteX1" fmla="*/ 0 w 37678"/>
                    <a:gd name="connsiteY1" fmla="*/ 0 h 227865"/>
                  </a:gdLst>
                  <a:ahLst/>
                  <a:cxnLst>
                    <a:cxn ang="0">
                      <a:pos x="connsiteX0" y="connsiteY0"/>
                    </a:cxn>
                    <a:cxn ang="0">
                      <a:pos x="connsiteX1" y="connsiteY1"/>
                    </a:cxn>
                  </a:cxnLst>
                  <a:rect l="l" t="t" r="r" b="b"/>
                  <a:pathLst>
                    <a:path w="37678" h="227865">
                      <a:moveTo>
                        <a:pt x="37679" y="227865"/>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41" name="Vrije vorm: vorm 9240">
                  <a:extLst>
                    <a:ext uri="{FF2B5EF4-FFF2-40B4-BE49-F238E27FC236}">
                      <a16:creationId xmlns:a16="http://schemas.microsoft.com/office/drawing/2014/main" id="{F4760CA0-1A7E-4D72-84F9-BD2BD74F58FE}"/>
                    </a:ext>
                  </a:extLst>
                </p:cNvPr>
                <p:cNvSpPr/>
                <p:nvPr/>
              </p:nvSpPr>
              <p:spPr>
                <a:xfrm>
                  <a:off x="5828472" y="1469563"/>
                  <a:ext cx="29006" cy="227985"/>
                </a:xfrm>
                <a:custGeom>
                  <a:avLst/>
                  <a:gdLst>
                    <a:gd name="connsiteX0" fmla="*/ 29007 w 29006"/>
                    <a:gd name="connsiteY0" fmla="*/ 227985 h 227985"/>
                    <a:gd name="connsiteX1" fmla="*/ 0 w 29006"/>
                    <a:gd name="connsiteY1" fmla="*/ 0 h 227985"/>
                  </a:gdLst>
                  <a:ahLst/>
                  <a:cxnLst>
                    <a:cxn ang="0">
                      <a:pos x="connsiteX0" y="connsiteY0"/>
                    </a:cxn>
                    <a:cxn ang="0">
                      <a:pos x="connsiteX1" y="connsiteY1"/>
                    </a:cxn>
                  </a:cxnLst>
                  <a:rect l="l" t="t" r="r" b="b"/>
                  <a:pathLst>
                    <a:path w="29006" h="227985">
                      <a:moveTo>
                        <a:pt x="29007" y="227985"/>
                      </a:moveTo>
                      <a:lnTo>
                        <a:pt x="0" y="0"/>
                      </a:lnTo>
                    </a:path>
                  </a:pathLst>
                </a:custGeom>
                <a:grpFill/>
                <a:ln w="6350" cap="flat">
                  <a:solidFill>
                    <a:schemeClr val="bg1">
                      <a:alpha val="40000"/>
                    </a:schemeClr>
                  </a:solidFill>
                  <a:prstDash val="solid"/>
                  <a:miter/>
                </a:ln>
              </p:spPr>
              <p:txBody>
                <a:bodyPr rtlCol="0" anchor="ctr"/>
                <a:lstStyle/>
                <a:p>
                  <a:endParaRPr lang="en-GB"/>
                </a:p>
              </p:txBody>
            </p:sp>
            <p:grpSp>
              <p:nvGrpSpPr>
                <p:cNvPr id="9242" name="Graphic 3">
                  <a:extLst>
                    <a:ext uri="{FF2B5EF4-FFF2-40B4-BE49-F238E27FC236}">
                      <a16:creationId xmlns:a16="http://schemas.microsoft.com/office/drawing/2014/main" id="{D54E6EB2-5085-43FA-B8D1-F127F2C8683F}"/>
                    </a:ext>
                  </a:extLst>
                </p:cNvPr>
                <p:cNvGrpSpPr/>
                <p:nvPr/>
              </p:nvGrpSpPr>
              <p:grpSpPr>
                <a:xfrm>
                  <a:off x="5782660" y="1663040"/>
                  <a:ext cx="135642" cy="54065"/>
                  <a:chOff x="5782660" y="1663040"/>
                  <a:chExt cx="135642" cy="54065"/>
                </a:xfrm>
                <a:grpFill/>
              </p:grpSpPr>
              <p:sp>
                <p:nvSpPr>
                  <p:cNvPr id="9276" name="Vrije vorm: vorm 9275">
                    <a:extLst>
                      <a:ext uri="{FF2B5EF4-FFF2-40B4-BE49-F238E27FC236}">
                        <a16:creationId xmlns:a16="http://schemas.microsoft.com/office/drawing/2014/main" id="{A4A96E5B-F7B8-4328-987F-76E6D68FBB54}"/>
                      </a:ext>
                    </a:extLst>
                  </p:cNvPr>
                  <p:cNvSpPr/>
                  <p:nvPr/>
                </p:nvSpPr>
                <p:spPr>
                  <a:xfrm>
                    <a:off x="5782660" y="1697548"/>
                    <a:ext cx="57115" cy="18061"/>
                  </a:xfrm>
                  <a:custGeom>
                    <a:avLst/>
                    <a:gdLst>
                      <a:gd name="connsiteX0" fmla="*/ 0 w 57115"/>
                      <a:gd name="connsiteY0" fmla="*/ 0 h 18061"/>
                      <a:gd name="connsiteX1" fmla="*/ 57116 w 57115"/>
                      <a:gd name="connsiteY1" fmla="*/ 18062 h 18061"/>
                    </a:gdLst>
                    <a:ahLst/>
                    <a:cxnLst>
                      <a:cxn ang="0">
                        <a:pos x="connsiteX0" y="connsiteY0"/>
                      </a:cxn>
                      <a:cxn ang="0">
                        <a:pos x="connsiteX1" y="connsiteY1"/>
                      </a:cxn>
                    </a:cxnLst>
                    <a:rect l="l" t="t" r="r" b="b"/>
                    <a:pathLst>
                      <a:path w="57115" h="18061">
                        <a:moveTo>
                          <a:pt x="0" y="0"/>
                        </a:moveTo>
                        <a:lnTo>
                          <a:pt x="57116" y="18062"/>
                        </a:lnTo>
                      </a:path>
                    </a:pathLst>
                  </a:custGeom>
                  <a:grpFill/>
                  <a:ln w="6350" cap="flat">
                    <a:solidFill>
                      <a:schemeClr val="bg1">
                        <a:alpha val="40000"/>
                      </a:schemeClr>
                    </a:solidFill>
                    <a:prstDash val="solid"/>
                    <a:miter/>
                  </a:ln>
                </p:spPr>
                <p:txBody>
                  <a:bodyPr rtlCol="0" anchor="ctr"/>
                  <a:lstStyle/>
                  <a:p>
                    <a:endParaRPr lang="en-GB"/>
                  </a:p>
                </p:txBody>
              </p:sp>
              <p:sp>
                <p:nvSpPr>
                  <p:cNvPr id="9277" name="Vrije vorm: vorm 9276">
                    <a:extLst>
                      <a:ext uri="{FF2B5EF4-FFF2-40B4-BE49-F238E27FC236}">
                        <a16:creationId xmlns:a16="http://schemas.microsoft.com/office/drawing/2014/main" id="{1B648A1D-5C98-40CA-AFE2-46320BACCD94}"/>
                      </a:ext>
                    </a:extLst>
                  </p:cNvPr>
                  <p:cNvSpPr/>
                  <p:nvPr/>
                </p:nvSpPr>
                <p:spPr>
                  <a:xfrm>
                    <a:off x="5785949" y="1695216"/>
                    <a:ext cx="52690" cy="15549"/>
                  </a:xfrm>
                  <a:custGeom>
                    <a:avLst/>
                    <a:gdLst>
                      <a:gd name="connsiteX0" fmla="*/ 0 w 52690"/>
                      <a:gd name="connsiteY0" fmla="*/ 0 h 15549"/>
                      <a:gd name="connsiteX1" fmla="*/ 52690 w 52690"/>
                      <a:gd name="connsiteY1" fmla="*/ 15550 h 15549"/>
                    </a:gdLst>
                    <a:ahLst/>
                    <a:cxnLst>
                      <a:cxn ang="0">
                        <a:pos x="connsiteX0" y="connsiteY0"/>
                      </a:cxn>
                      <a:cxn ang="0">
                        <a:pos x="connsiteX1" y="connsiteY1"/>
                      </a:cxn>
                    </a:cxnLst>
                    <a:rect l="l" t="t" r="r" b="b"/>
                    <a:pathLst>
                      <a:path w="52690" h="15549">
                        <a:moveTo>
                          <a:pt x="0" y="0"/>
                        </a:moveTo>
                        <a:lnTo>
                          <a:pt x="52690" y="15550"/>
                        </a:lnTo>
                      </a:path>
                    </a:pathLst>
                  </a:custGeom>
                  <a:grpFill/>
                  <a:ln w="6350" cap="flat">
                    <a:solidFill>
                      <a:schemeClr val="bg1">
                        <a:alpha val="40000"/>
                      </a:schemeClr>
                    </a:solidFill>
                    <a:prstDash val="solid"/>
                    <a:miter/>
                  </a:ln>
                </p:spPr>
                <p:txBody>
                  <a:bodyPr rtlCol="0" anchor="ctr"/>
                  <a:lstStyle/>
                  <a:p>
                    <a:endParaRPr lang="en-GB"/>
                  </a:p>
                </p:txBody>
              </p:sp>
              <p:sp>
                <p:nvSpPr>
                  <p:cNvPr id="9278" name="Vrije vorm: vorm 9277">
                    <a:extLst>
                      <a:ext uri="{FF2B5EF4-FFF2-40B4-BE49-F238E27FC236}">
                        <a16:creationId xmlns:a16="http://schemas.microsoft.com/office/drawing/2014/main" id="{C1475077-B52D-4F85-8538-CDF8EB9CA6C8}"/>
                      </a:ext>
                    </a:extLst>
                  </p:cNvPr>
                  <p:cNvSpPr/>
                  <p:nvPr/>
                </p:nvSpPr>
                <p:spPr>
                  <a:xfrm>
                    <a:off x="5847431" y="1689115"/>
                    <a:ext cx="70871" cy="27989"/>
                  </a:xfrm>
                  <a:custGeom>
                    <a:avLst/>
                    <a:gdLst>
                      <a:gd name="connsiteX0" fmla="*/ 0 w 70871"/>
                      <a:gd name="connsiteY0" fmla="*/ 27990 h 27989"/>
                      <a:gd name="connsiteX1" fmla="*/ 70871 w 70871"/>
                      <a:gd name="connsiteY1" fmla="*/ 0 h 27989"/>
                    </a:gdLst>
                    <a:ahLst/>
                    <a:cxnLst>
                      <a:cxn ang="0">
                        <a:pos x="connsiteX0" y="connsiteY0"/>
                      </a:cxn>
                      <a:cxn ang="0">
                        <a:pos x="connsiteX1" y="connsiteY1"/>
                      </a:cxn>
                    </a:cxnLst>
                    <a:rect l="l" t="t" r="r" b="b"/>
                    <a:pathLst>
                      <a:path w="70871" h="27989">
                        <a:moveTo>
                          <a:pt x="0" y="27990"/>
                        </a:moveTo>
                        <a:lnTo>
                          <a:pt x="70871" y="0"/>
                        </a:lnTo>
                      </a:path>
                    </a:pathLst>
                  </a:custGeom>
                  <a:grpFill/>
                  <a:ln w="6350" cap="flat">
                    <a:solidFill>
                      <a:schemeClr val="bg1">
                        <a:alpha val="40000"/>
                      </a:schemeClr>
                    </a:solidFill>
                    <a:prstDash val="solid"/>
                    <a:miter/>
                  </a:ln>
                </p:spPr>
                <p:txBody>
                  <a:bodyPr rtlCol="0" anchor="ctr"/>
                  <a:lstStyle/>
                  <a:p>
                    <a:endParaRPr lang="en-GB"/>
                  </a:p>
                </p:txBody>
              </p:sp>
              <p:sp>
                <p:nvSpPr>
                  <p:cNvPr id="9279" name="Vrije vorm: vorm 9278">
                    <a:extLst>
                      <a:ext uri="{FF2B5EF4-FFF2-40B4-BE49-F238E27FC236}">
                        <a16:creationId xmlns:a16="http://schemas.microsoft.com/office/drawing/2014/main" id="{12353290-7A8D-4FAB-A33B-82691B5B27F9}"/>
                      </a:ext>
                    </a:extLst>
                  </p:cNvPr>
                  <p:cNvSpPr/>
                  <p:nvPr/>
                </p:nvSpPr>
                <p:spPr>
                  <a:xfrm>
                    <a:off x="5846474" y="1686065"/>
                    <a:ext cx="70632" cy="26016"/>
                  </a:xfrm>
                  <a:custGeom>
                    <a:avLst/>
                    <a:gdLst>
                      <a:gd name="connsiteX0" fmla="*/ 0 w 70632"/>
                      <a:gd name="connsiteY0" fmla="*/ 26016 h 26016"/>
                      <a:gd name="connsiteX1" fmla="*/ 70632 w 70632"/>
                      <a:gd name="connsiteY1" fmla="*/ 0 h 26016"/>
                    </a:gdLst>
                    <a:ahLst/>
                    <a:cxnLst>
                      <a:cxn ang="0">
                        <a:pos x="connsiteX0" y="connsiteY0"/>
                      </a:cxn>
                      <a:cxn ang="0">
                        <a:pos x="connsiteX1" y="connsiteY1"/>
                      </a:cxn>
                    </a:cxnLst>
                    <a:rect l="l" t="t" r="r" b="b"/>
                    <a:pathLst>
                      <a:path w="70632" h="26016">
                        <a:moveTo>
                          <a:pt x="0" y="26016"/>
                        </a:moveTo>
                        <a:lnTo>
                          <a:pt x="70632" y="0"/>
                        </a:lnTo>
                      </a:path>
                    </a:pathLst>
                  </a:custGeom>
                  <a:grpFill/>
                  <a:ln w="6350" cap="flat">
                    <a:solidFill>
                      <a:schemeClr val="bg1">
                        <a:alpha val="40000"/>
                      </a:schemeClr>
                    </a:solidFill>
                    <a:prstDash val="solid"/>
                    <a:miter/>
                  </a:ln>
                </p:spPr>
                <p:txBody>
                  <a:bodyPr rtlCol="0" anchor="ctr"/>
                  <a:lstStyle/>
                  <a:p>
                    <a:endParaRPr lang="en-GB"/>
                  </a:p>
                </p:txBody>
              </p:sp>
              <p:sp>
                <p:nvSpPr>
                  <p:cNvPr id="9280" name="Vrije vorm: vorm 9279">
                    <a:extLst>
                      <a:ext uri="{FF2B5EF4-FFF2-40B4-BE49-F238E27FC236}">
                        <a16:creationId xmlns:a16="http://schemas.microsoft.com/office/drawing/2014/main" id="{2B6C63BE-EAE7-4674-B013-85024A5F77BA}"/>
                      </a:ext>
                    </a:extLst>
                  </p:cNvPr>
                  <p:cNvSpPr/>
                  <p:nvPr/>
                </p:nvSpPr>
                <p:spPr>
                  <a:xfrm>
                    <a:off x="5861247" y="1667585"/>
                    <a:ext cx="54544" cy="14951"/>
                  </a:xfrm>
                  <a:custGeom>
                    <a:avLst/>
                    <a:gdLst>
                      <a:gd name="connsiteX0" fmla="*/ 54544 w 54544"/>
                      <a:gd name="connsiteY0" fmla="*/ 14952 h 14951"/>
                      <a:gd name="connsiteX1" fmla="*/ 0 w 54544"/>
                      <a:gd name="connsiteY1" fmla="*/ 0 h 14951"/>
                    </a:gdLst>
                    <a:ahLst/>
                    <a:cxnLst>
                      <a:cxn ang="0">
                        <a:pos x="connsiteX0" y="connsiteY0"/>
                      </a:cxn>
                      <a:cxn ang="0">
                        <a:pos x="connsiteX1" y="connsiteY1"/>
                      </a:cxn>
                    </a:cxnLst>
                    <a:rect l="l" t="t" r="r" b="b"/>
                    <a:pathLst>
                      <a:path w="54544" h="14951">
                        <a:moveTo>
                          <a:pt x="54544" y="14952"/>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81" name="Vrije vorm: vorm 9280">
                    <a:extLst>
                      <a:ext uri="{FF2B5EF4-FFF2-40B4-BE49-F238E27FC236}">
                        <a16:creationId xmlns:a16="http://schemas.microsoft.com/office/drawing/2014/main" id="{110F84B1-8CC5-4D01-A5EA-5DA44485C30E}"/>
                      </a:ext>
                    </a:extLst>
                  </p:cNvPr>
                  <p:cNvSpPr/>
                  <p:nvPr/>
                </p:nvSpPr>
                <p:spPr>
                  <a:xfrm>
                    <a:off x="5860469" y="1663040"/>
                    <a:ext cx="52869" cy="13157"/>
                  </a:xfrm>
                  <a:custGeom>
                    <a:avLst/>
                    <a:gdLst>
                      <a:gd name="connsiteX0" fmla="*/ 52870 w 52869"/>
                      <a:gd name="connsiteY0" fmla="*/ 13158 h 13157"/>
                      <a:gd name="connsiteX1" fmla="*/ 0 w 52869"/>
                      <a:gd name="connsiteY1" fmla="*/ 0 h 13157"/>
                    </a:gdLst>
                    <a:ahLst/>
                    <a:cxnLst>
                      <a:cxn ang="0">
                        <a:pos x="connsiteX0" y="connsiteY0"/>
                      </a:cxn>
                      <a:cxn ang="0">
                        <a:pos x="connsiteX1" y="connsiteY1"/>
                      </a:cxn>
                    </a:cxnLst>
                    <a:rect l="l" t="t" r="r" b="b"/>
                    <a:pathLst>
                      <a:path w="52869" h="13157">
                        <a:moveTo>
                          <a:pt x="52870" y="13158"/>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82" name="Vrije vorm: vorm 9281">
                    <a:extLst>
                      <a:ext uri="{FF2B5EF4-FFF2-40B4-BE49-F238E27FC236}">
                        <a16:creationId xmlns:a16="http://schemas.microsoft.com/office/drawing/2014/main" id="{FB41E4F2-0A12-4B81-9D3A-95F3BC64CBD4}"/>
                      </a:ext>
                    </a:extLst>
                  </p:cNvPr>
                  <p:cNvSpPr/>
                  <p:nvPr/>
                </p:nvSpPr>
                <p:spPr>
                  <a:xfrm>
                    <a:off x="5785949" y="1668303"/>
                    <a:ext cx="67821" cy="26913"/>
                  </a:xfrm>
                  <a:custGeom>
                    <a:avLst/>
                    <a:gdLst>
                      <a:gd name="connsiteX0" fmla="*/ 0 w 67821"/>
                      <a:gd name="connsiteY0" fmla="*/ 26913 h 26913"/>
                      <a:gd name="connsiteX1" fmla="*/ 67821 w 67821"/>
                      <a:gd name="connsiteY1" fmla="*/ 0 h 26913"/>
                    </a:gdLst>
                    <a:ahLst/>
                    <a:cxnLst>
                      <a:cxn ang="0">
                        <a:pos x="connsiteX0" y="connsiteY0"/>
                      </a:cxn>
                      <a:cxn ang="0">
                        <a:pos x="connsiteX1" y="connsiteY1"/>
                      </a:cxn>
                    </a:cxnLst>
                    <a:rect l="l" t="t" r="r" b="b"/>
                    <a:pathLst>
                      <a:path w="67821" h="26913">
                        <a:moveTo>
                          <a:pt x="0" y="26913"/>
                        </a:moveTo>
                        <a:lnTo>
                          <a:pt x="67821" y="0"/>
                        </a:lnTo>
                      </a:path>
                    </a:pathLst>
                  </a:custGeom>
                  <a:grpFill/>
                  <a:ln w="6350" cap="flat">
                    <a:solidFill>
                      <a:schemeClr val="bg1">
                        <a:alpha val="40000"/>
                      </a:schemeClr>
                    </a:solidFill>
                    <a:prstDash val="solid"/>
                    <a:miter/>
                  </a:ln>
                </p:spPr>
                <p:txBody>
                  <a:bodyPr rtlCol="0" anchor="ctr"/>
                  <a:lstStyle/>
                  <a:p>
                    <a:endParaRPr lang="en-GB"/>
                  </a:p>
                </p:txBody>
              </p:sp>
              <p:sp>
                <p:nvSpPr>
                  <p:cNvPr id="9283" name="Vrije vorm: vorm 9282">
                    <a:extLst>
                      <a:ext uri="{FF2B5EF4-FFF2-40B4-BE49-F238E27FC236}">
                        <a16:creationId xmlns:a16="http://schemas.microsoft.com/office/drawing/2014/main" id="{790B4BC4-5AD6-41BC-A000-221757A6C7BC}"/>
                      </a:ext>
                    </a:extLst>
                  </p:cNvPr>
                  <p:cNvSpPr/>
                  <p:nvPr/>
                </p:nvSpPr>
                <p:spPr>
                  <a:xfrm>
                    <a:off x="5784035" y="1663757"/>
                    <a:ext cx="69137" cy="26016"/>
                  </a:xfrm>
                  <a:custGeom>
                    <a:avLst/>
                    <a:gdLst>
                      <a:gd name="connsiteX0" fmla="*/ 0 w 69137"/>
                      <a:gd name="connsiteY0" fmla="*/ 26016 h 26016"/>
                      <a:gd name="connsiteX1" fmla="*/ 69137 w 69137"/>
                      <a:gd name="connsiteY1" fmla="*/ 0 h 26016"/>
                    </a:gdLst>
                    <a:ahLst/>
                    <a:cxnLst>
                      <a:cxn ang="0">
                        <a:pos x="connsiteX0" y="connsiteY0"/>
                      </a:cxn>
                      <a:cxn ang="0">
                        <a:pos x="connsiteX1" y="connsiteY1"/>
                      </a:cxn>
                    </a:cxnLst>
                    <a:rect l="l" t="t" r="r" b="b"/>
                    <a:pathLst>
                      <a:path w="69137" h="26016">
                        <a:moveTo>
                          <a:pt x="0" y="26016"/>
                        </a:moveTo>
                        <a:lnTo>
                          <a:pt x="69137" y="0"/>
                        </a:lnTo>
                      </a:path>
                    </a:pathLst>
                  </a:custGeom>
                  <a:grpFill/>
                  <a:ln w="6350" cap="flat">
                    <a:solidFill>
                      <a:schemeClr val="bg1">
                        <a:alpha val="40000"/>
                      </a:schemeClr>
                    </a:solidFill>
                    <a:prstDash val="solid"/>
                    <a:miter/>
                  </a:ln>
                </p:spPr>
                <p:txBody>
                  <a:bodyPr rtlCol="0" anchor="ctr"/>
                  <a:lstStyle/>
                  <a:p>
                    <a:endParaRPr lang="en-GB"/>
                  </a:p>
                </p:txBody>
              </p:sp>
            </p:grpSp>
            <p:grpSp>
              <p:nvGrpSpPr>
                <p:cNvPr id="9243" name="Graphic 3">
                  <a:extLst>
                    <a:ext uri="{FF2B5EF4-FFF2-40B4-BE49-F238E27FC236}">
                      <a16:creationId xmlns:a16="http://schemas.microsoft.com/office/drawing/2014/main" id="{C9C40A7B-711E-4709-AB62-88CC12B091BA}"/>
                    </a:ext>
                  </a:extLst>
                </p:cNvPr>
                <p:cNvGrpSpPr/>
                <p:nvPr/>
              </p:nvGrpSpPr>
              <p:grpSpPr>
                <a:xfrm>
                  <a:off x="5790794" y="1618005"/>
                  <a:ext cx="108310" cy="34747"/>
                  <a:chOff x="5790794" y="1618005"/>
                  <a:chExt cx="108310" cy="34747"/>
                </a:xfrm>
                <a:grpFill/>
              </p:grpSpPr>
              <p:sp>
                <p:nvSpPr>
                  <p:cNvPr id="9268" name="Vrije vorm: vorm 9267">
                    <a:extLst>
                      <a:ext uri="{FF2B5EF4-FFF2-40B4-BE49-F238E27FC236}">
                        <a16:creationId xmlns:a16="http://schemas.microsoft.com/office/drawing/2014/main" id="{970B3834-A957-4980-A89B-8054D06F34D5}"/>
                      </a:ext>
                    </a:extLst>
                  </p:cNvPr>
                  <p:cNvSpPr/>
                  <p:nvPr/>
                </p:nvSpPr>
                <p:spPr>
                  <a:xfrm>
                    <a:off x="5790794" y="1641270"/>
                    <a:ext cx="45274" cy="10645"/>
                  </a:xfrm>
                  <a:custGeom>
                    <a:avLst/>
                    <a:gdLst>
                      <a:gd name="connsiteX0" fmla="*/ 0 w 45274"/>
                      <a:gd name="connsiteY0" fmla="*/ 0 h 10645"/>
                      <a:gd name="connsiteX1" fmla="*/ 45274 w 45274"/>
                      <a:gd name="connsiteY1" fmla="*/ 10646 h 10645"/>
                    </a:gdLst>
                    <a:ahLst/>
                    <a:cxnLst>
                      <a:cxn ang="0">
                        <a:pos x="connsiteX0" y="connsiteY0"/>
                      </a:cxn>
                      <a:cxn ang="0">
                        <a:pos x="connsiteX1" y="connsiteY1"/>
                      </a:cxn>
                    </a:cxnLst>
                    <a:rect l="l" t="t" r="r" b="b"/>
                    <a:pathLst>
                      <a:path w="45274" h="10645">
                        <a:moveTo>
                          <a:pt x="0" y="0"/>
                        </a:moveTo>
                        <a:lnTo>
                          <a:pt x="45274" y="10646"/>
                        </a:lnTo>
                      </a:path>
                    </a:pathLst>
                  </a:custGeom>
                  <a:grpFill/>
                  <a:ln w="6350" cap="flat">
                    <a:solidFill>
                      <a:schemeClr val="bg1">
                        <a:alpha val="40000"/>
                      </a:schemeClr>
                    </a:solidFill>
                    <a:prstDash val="solid"/>
                    <a:miter/>
                  </a:ln>
                </p:spPr>
                <p:txBody>
                  <a:bodyPr rtlCol="0" anchor="ctr"/>
                  <a:lstStyle/>
                  <a:p>
                    <a:endParaRPr lang="en-GB"/>
                  </a:p>
                </p:txBody>
              </p:sp>
              <p:sp>
                <p:nvSpPr>
                  <p:cNvPr id="9269" name="Vrije vorm: vorm 9268">
                    <a:extLst>
                      <a:ext uri="{FF2B5EF4-FFF2-40B4-BE49-F238E27FC236}">
                        <a16:creationId xmlns:a16="http://schemas.microsoft.com/office/drawing/2014/main" id="{C053E77A-D119-468B-A252-8285E1F64019}"/>
                      </a:ext>
                    </a:extLst>
                  </p:cNvPr>
                  <p:cNvSpPr/>
                  <p:nvPr/>
                </p:nvSpPr>
                <p:spPr>
                  <a:xfrm>
                    <a:off x="5793425" y="1639715"/>
                    <a:ext cx="41805" cy="9090"/>
                  </a:xfrm>
                  <a:custGeom>
                    <a:avLst/>
                    <a:gdLst>
                      <a:gd name="connsiteX0" fmla="*/ 0 w 41805"/>
                      <a:gd name="connsiteY0" fmla="*/ 0 h 9090"/>
                      <a:gd name="connsiteX1" fmla="*/ 41805 w 41805"/>
                      <a:gd name="connsiteY1" fmla="*/ 9091 h 9090"/>
                    </a:gdLst>
                    <a:ahLst/>
                    <a:cxnLst>
                      <a:cxn ang="0">
                        <a:pos x="connsiteX0" y="connsiteY0"/>
                      </a:cxn>
                      <a:cxn ang="0">
                        <a:pos x="connsiteX1" y="connsiteY1"/>
                      </a:cxn>
                    </a:cxnLst>
                    <a:rect l="l" t="t" r="r" b="b"/>
                    <a:pathLst>
                      <a:path w="41805" h="9090">
                        <a:moveTo>
                          <a:pt x="0" y="0"/>
                        </a:moveTo>
                        <a:lnTo>
                          <a:pt x="41805" y="9091"/>
                        </a:lnTo>
                      </a:path>
                    </a:pathLst>
                  </a:custGeom>
                  <a:grpFill/>
                  <a:ln w="6350" cap="flat">
                    <a:solidFill>
                      <a:schemeClr val="bg1">
                        <a:alpha val="40000"/>
                      </a:schemeClr>
                    </a:solidFill>
                    <a:prstDash val="solid"/>
                    <a:miter/>
                  </a:ln>
                </p:spPr>
                <p:txBody>
                  <a:bodyPr rtlCol="0" anchor="ctr"/>
                  <a:lstStyle/>
                  <a:p>
                    <a:endParaRPr lang="en-GB"/>
                  </a:p>
                </p:txBody>
              </p:sp>
              <p:sp>
                <p:nvSpPr>
                  <p:cNvPr id="9270" name="Vrije vorm: vorm 9269">
                    <a:extLst>
                      <a:ext uri="{FF2B5EF4-FFF2-40B4-BE49-F238E27FC236}">
                        <a16:creationId xmlns:a16="http://schemas.microsoft.com/office/drawing/2014/main" id="{97A6589B-AD19-4612-A8A3-F5F0831AE252}"/>
                      </a:ext>
                    </a:extLst>
                  </p:cNvPr>
                  <p:cNvSpPr/>
                  <p:nvPr/>
                </p:nvSpPr>
                <p:spPr>
                  <a:xfrm>
                    <a:off x="5842108" y="1633734"/>
                    <a:ext cx="56996" cy="19018"/>
                  </a:xfrm>
                  <a:custGeom>
                    <a:avLst/>
                    <a:gdLst>
                      <a:gd name="connsiteX0" fmla="*/ 0 w 56996"/>
                      <a:gd name="connsiteY0" fmla="*/ 19019 h 19018"/>
                      <a:gd name="connsiteX1" fmla="*/ 56996 w 56996"/>
                      <a:gd name="connsiteY1" fmla="*/ 0 h 19018"/>
                    </a:gdLst>
                    <a:ahLst/>
                    <a:cxnLst>
                      <a:cxn ang="0">
                        <a:pos x="connsiteX0" y="connsiteY0"/>
                      </a:cxn>
                      <a:cxn ang="0">
                        <a:pos x="connsiteX1" y="connsiteY1"/>
                      </a:cxn>
                    </a:cxnLst>
                    <a:rect l="l" t="t" r="r" b="b"/>
                    <a:pathLst>
                      <a:path w="56996" h="19018">
                        <a:moveTo>
                          <a:pt x="0" y="19019"/>
                        </a:moveTo>
                        <a:lnTo>
                          <a:pt x="56996" y="0"/>
                        </a:lnTo>
                      </a:path>
                    </a:pathLst>
                  </a:custGeom>
                  <a:grpFill/>
                  <a:ln w="6350" cap="flat">
                    <a:solidFill>
                      <a:schemeClr val="bg1">
                        <a:alpha val="40000"/>
                      </a:schemeClr>
                    </a:solidFill>
                    <a:prstDash val="solid"/>
                    <a:miter/>
                  </a:ln>
                </p:spPr>
                <p:txBody>
                  <a:bodyPr rtlCol="0" anchor="ctr"/>
                  <a:lstStyle/>
                  <a:p>
                    <a:endParaRPr lang="en-GB"/>
                  </a:p>
                </p:txBody>
              </p:sp>
              <p:sp>
                <p:nvSpPr>
                  <p:cNvPr id="9271" name="Vrije vorm: vorm 9270">
                    <a:extLst>
                      <a:ext uri="{FF2B5EF4-FFF2-40B4-BE49-F238E27FC236}">
                        <a16:creationId xmlns:a16="http://schemas.microsoft.com/office/drawing/2014/main" id="{0FF45512-1B4C-4B79-98B1-CF2A3183A97E}"/>
                      </a:ext>
                    </a:extLst>
                  </p:cNvPr>
                  <p:cNvSpPr/>
                  <p:nvPr/>
                </p:nvSpPr>
                <p:spPr>
                  <a:xfrm>
                    <a:off x="5841450" y="1631760"/>
                    <a:ext cx="56757" cy="17762"/>
                  </a:xfrm>
                  <a:custGeom>
                    <a:avLst/>
                    <a:gdLst>
                      <a:gd name="connsiteX0" fmla="*/ 0 w 56757"/>
                      <a:gd name="connsiteY0" fmla="*/ 17763 h 17762"/>
                      <a:gd name="connsiteX1" fmla="*/ 56757 w 56757"/>
                      <a:gd name="connsiteY1" fmla="*/ 0 h 17762"/>
                    </a:gdLst>
                    <a:ahLst/>
                    <a:cxnLst>
                      <a:cxn ang="0">
                        <a:pos x="connsiteX0" y="connsiteY0"/>
                      </a:cxn>
                      <a:cxn ang="0">
                        <a:pos x="connsiteX1" y="connsiteY1"/>
                      </a:cxn>
                    </a:cxnLst>
                    <a:rect l="l" t="t" r="r" b="b"/>
                    <a:pathLst>
                      <a:path w="56757" h="17762">
                        <a:moveTo>
                          <a:pt x="0" y="17763"/>
                        </a:moveTo>
                        <a:lnTo>
                          <a:pt x="56757" y="0"/>
                        </a:lnTo>
                      </a:path>
                    </a:pathLst>
                  </a:custGeom>
                  <a:grpFill/>
                  <a:ln w="6350" cap="flat">
                    <a:solidFill>
                      <a:schemeClr val="bg1">
                        <a:alpha val="40000"/>
                      </a:schemeClr>
                    </a:solidFill>
                    <a:prstDash val="solid"/>
                    <a:miter/>
                  </a:ln>
                </p:spPr>
                <p:txBody>
                  <a:bodyPr rtlCol="0" anchor="ctr"/>
                  <a:lstStyle/>
                  <a:p>
                    <a:endParaRPr lang="en-GB"/>
                  </a:p>
                </p:txBody>
              </p:sp>
              <p:sp>
                <p:nvSpPr>
                  <p:cNvPr id="9272" name="Vrije vorm: vorm 9271">
                    <a:extLst>
                      <a:ext uri="{FF2B5EF4-FFF2-40B4-BE49-F238E27FC236}">
                        <a16:creationId xmlns:a16="http://schemas.microsoft.com/office/drawing/2014/main" id="{1B1D5D03-973B-4FF2-8AB0-6CD787DA1E7A}"/>
                      </a:ext>
                    </a:extLst>
                  </p:cNvPr>
                  <p:cNvSpPr/>
                  <p:nvPr/>
                </p:nvSpPr>
                <p:spPr>
                  <a:xfrm>
                    <a:off x="5853950" y="1620875"/>
                    <a:ext cx="43300" cy="8731"/>
                  </a:xfrm>
                  <a:custGeom>
                    <a:avLst/>
                    <a:gdLst>
                      <a:gd name="connsiteX0" fmla="*/ 43301 w 43300"/>
                      <a:gd name="connsiteY0" fmla="*/ 8732 h 8731"/>
                      <a:gd name="connsiteX1" fmla="*/ 0 w 43300"/>
                      <a:gd name="connsiteY1" fmla="*/ 0 h 8731"/>
                    </a:gdLst>
                    <a:ahLst/>
                    <a:cxnLst>
                      <a:cxn ang="0">
                        <a:pos x="connsiteX0" y="connsiteY0"/>
                      </a:cxn>
                      <a:cxn ang="0">
                        <a:pos x="connsiteX1" y="connsiteY1"/>
                      </a:cxn>
                    </a:cxnLst>
                    <a:rect l="l" t="t" r="r" b="b"/>
                    <a:pathLst>
                      <a:path w="43300" h="8731">
                        <a:moveTo>
                          <a:pt x="43301" y="8732"/>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73" name="Vrije vorm: vorm 9272">
                    <a:extLst>
                      <a:ext uri="{FF2B5EF4-FFF2-40B4-BE49-F238E27FC236}">
                        <a16:creationId xmlns:a16="http://schemas.microsoft.com/office/drawing/2014/main" id="{F2A9957A-1D05-4D9B-B69E-EF3D2561AE2C}"/>
                      </a:ext>
                    </a:extLst>
                  </p:cNvPr>
                  <p:cNvSpPr/>
                  <p:nvPr/>
                </p:nvSpPr>
                <p:spPr>
                  <a:xfrm>
                    <a:off x="5853412" y="1618005"/>
                    <a:ext cx="41984" cy="7535"/>
                  </a:xfrm>
                  <a:custGeom>
                    <a:avLst/>
                    <a:gdLst>
                      <a:gd name="connsiteX0" fmla="*/ 41985 w 41984"/>
                      <a:gd name="connsiteY0" fmla="*/ 7536 h 7535"/>
                      <a:gd name="connsiteX1" fmla="*/ 0 w 41984"/>
                      <a:gd name="connsiteY1" fmla="*/ 0 h 7535"/>
                    </a:gdLst>
                    <a:ahLst/>
                    <a:cxnLst>
                      <a:cxn ang="0">
                        <a:pos x="connsiteX0" y="connsiteY0"/>
                      </a:cxn>
                      <a:cxn ang="0">
                        <a:pos x="connsiteX1" y="connsiteY1"/>
                      </a:cxn>
                    </a:cxnLst>
                    <a:rect l="l" t="t" r="r" b="b"/>
                    <a:pathLst>
                      <a:path w="41984" h="7535">
                        <a:moveTo>
                          <a:pt x="41985" y="7536"/>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74" name="Vrije vorm: vorm 9273">
                    <a:extLst>
                      <a:ext uri="{FF2B5EF4-FFF2-40B4-BE49-F238E27FC236}">
                        <a16:creationId xmlns:a16="http://schemas.microsoft.com/office/drawing/2014/main" id="{D6279471-0D6D-4364-9943-5CC28184A75C}"/>
                      </a:ext>
                    </a:extLst>
                  </p:cNvPr>
                  <p:cNvSpPr/>
                  <p:nvPr/>
                </p:nvSpPr>
                <p:spPr>
                  <a:xfrm>
                    <a:off x="5793425" y="1621474"/>
                    <a:ext cx="54544" cy="18241"/>
                  </a:xfrm>
                  <a:custGeom>
                    <a:avLst/>
                    <a:gdLst>
                      <a:gd name="connsiteX0" fmla="*/ 0 w 54544"/>
                      <a:gd name="connsiteY0" fmla="*/ 18241 h 18241"/>
                      <a:gd name="connsiteX1" fmla="*/ 54544 w 54544"/>
                      <a:gd name="connsiteY1" fmla="*/ 0 h 18241"/>
                    </a:gdLst>
                    <a:ahLst/>
                    <a:cxnLst>
                      <a:cxn ang="0">
                        <a:pos x="connsiteX0" y="connsiteY0"/>
                      </a:cxn>
                      <a:cxn ang="0">
                        <a:pos x="connsiteX1" y="connsiteY1"/>
                      </a:cxn>
                    </a:cxnLst>
                    <a:rect l="l" t="t" r="r" b="b"/>
                    <a:pathLst>
                      <a:path w="54544" h="18241">
                        <a:moveTo>
                          <a:pt x="0" y="18241"/>
                        </a:moveTo>
                        <a:lnTo>
                          <a:pt x="54544" y="0"/>
                        </a:lnTo>
                      </a:path>
                    </a:pathLst>
                  </a:custGeom>
                  <a:grpFill/>
                  <a:ln w="6350" cap="flat">
                    <a:solidFill>
                      <a:schemeClr val="bg1">
                        <a:alpha val="40000"/>
                      </a:schemeClr>
                    </a:solidFill>
                    <a:prstDash val="solid"/>
                    <a:miter/>
                  </a:ln>
                </p:spPr>
                <p:txBody>
                  <a:bodyPr rtlCol="0" anchor="ctr"/>
                  <a:lstStyle/>
                  <a:p>
                    <a:endParaRPr lang="en-GB"/>
                  </a:p>
                </p:txBody>
              </p:sp>
              <p:sp>
                <p:nvSpPr>
                  <p:cNvPr id="9275" name="Vrije vorm: vorm 9274">
                    <a:extLst>
                      <a:ext uri="{FF2B5EF4-FFF2-40B4-BE49-F238E27FC236}">
                        <a16:creationId xmlns:a16="http://schemas.microsoft.com/office/drawing/2014/main" id="{E256F853-4305-44C4-9578-D47760F13045}"/>
                      </a:ext>
                    </a:extLst>
                  </p:cNvPr>
                  <p:cNvSpPr/>
                  <p:nvPr/>
                </p:nvSpPr>
                <p:spPr>
                  <a:xfrm>
                    <a:off x="5791990" y="1618603"/>
                    <a:ext cx="55560" cy="17702"/>
                  </a:xfrm>
                  <a:custGeom>
                    <a:avLst/>
                    <a:gdLst>
                      <a:gd name="connsiteX0" fmla="*/ 0 w 55560"/>
                      <a:gd name="connsiteY0" fmla="*/ 17703 h 17702"/>
                      <a:gd name="connsiteX1" fmla="*/ 55561 w 55560"/>
                      <a:gd name="connsiteY1" fmla="*/ 0 h 17702"/>
                    </a:gdLst>
                    <a:ahLst/>
                    <a:cxnLst>
                      <a:cxn ang="0">
                        <a:pos x="connsiteX0" y="connsiteY0"/>
                      </a:cxn>
                      <a:cxn ang="0">
                        <a:pos x="connsiteX1" y="connsiteY1"/>
                      </a:cxn>
                    </a:cxnLst>
                    <a:rect l="l" t="t" r="r" b="b"/>
                    <a:pathLst>
                      <a:path w="55560" h="17702">
                        <a:moveTo>
                          <a:pt x="0" y="17703"/>
                        </a:moveTo>
                        <a:lnTo>
                          <a:pt x="55561" y="0"/>
                        </a:lnTo>
                      </a:path>
                    </a:pathLst>
                  </a:custGeom>
                  <a:grpFill/>
                  <a:ln w="6350" cap="flat">
                    <a:solidFill>
                      <a:schemeClr val="bg1">
                        <a:alpha val="40000"/>
                      </a:schemeClr>
                    </a:solidFill>
                    <a:prstDash val="solid"/>
                    <a:miter/>
                  </a:ln>
                </p:spPr>
                <p:txBody>
                  <a:bodyPr rtlCol="0" anchor="ctr"/>
                  <a:lstStyle/>
                  <a:p>
                    <a:endParaRPr lang="en-GB"/>
                  </a:p>
                </p:txBody>
              </p:sp>
            </p:grpSp>
            <p:grpSp>
              <p:nvGrpSpPr>
                <p:cNvPr id="9244" name="Graphic 3">
                  <a:extLst>
                    <a:ext uri="{FF2B5EF4-FFF2-40B4-BE49-F238E27FC236}">
                      <a16:creationId xmlns:a16="http://schemas.microsoft.com/office/drawing/2014/main" id="{F1D5FA72-3A0E-4B86-8E09-6DBA4FCFA89E}"/>
                    </a:ext>
                  </a:extLst>
                </p:cNvPr>
                <p:cNvGrpSpPr/>
                <p:nvPr/>
              </p:nvGrpSpPr>
              <p:grpSpPr>
                <a:xfrm>
                  <a:off x="5801798" y="1575781"/>
                  <a:ext cx="75297" cy="11124"/>
                  <a:chOff x="5801798" y="1575781"/>
                  <a:chExt cx="75297" cy="11124"/>
                </a:xfrm>
                <a:grpFill/>
              </p:grpSpPr>
              <p:sp>
                <p:nvSpPr>
                  <p:cNvPr id="9260" name="Vrije vorm: vorm 9259">
                    <a:extLst>
                      <a:ext uri="{FF2B5EF4-FFF2-40B4-BE49-F238E27FC236}">
                        <a16:creationId xmlns:a16="http://schemas.microsoft.com/office/drawing/2014/main" id="{CE8A1BE0-8C96-4501-958B-7DD5204EE487}"/>
                      </a:ext>
                    </a:extLst>
                  </p:cNvPr>
                  <p:cNvSpPr/>
                  <p:nvPr/>
                </p:nvSpPr>
                <p:spPr>
                  <a:xfrm>
                    <a:off x="5801798" y="1585350"/>
                    <a:ext cx="30980" cy="1554"/>
                  </a:xfrm>
                  <a:custGeom>
                    <a:avLst/>
                    <a:gdLst>
                      <a:gd name="connsiteX0" fmla="*/ 0 w 30980"/>
                      <a:gd name="connsiteY0" fmla="*/ 0 h 1554"/>
                      <a:gd name="connsiteX1" fmla="*/ 30980 w 30980"/>
                      <a:gd name="connsiteY1" fmla="*/ 1555 h 1554"/>
                    </a:gdLst>
                    <a:ahLst/>
                    <a:cxnLst>
                      <a:cxn ang="0">
                        <a:pos x="connsiteX0" y="connsiteY0"/>
                      </a:cxn>
                      <a:cxn ang="0">
                        <a:pos x="connsiteX1" y="connsiteY1"/>
                      </a:cxn>
                    </a:cxnLst>
                    <a:rect l="l" t="t" r="r" b="b"/>
                    <a:pathLst>
                      <a:path w="30980" h="1554">
                        <a:moveTo>
                          <a:pt x="0" y="0"/>
                        </a:moveTo>
                        <a:lnTo>
                          <a:pt x="30980" y="1555"/>
                        </a:lnTo>
                      </a:path>
                    </a:pathLst>
                  </a:custGeom>
                  <a:grpFill/>
                  <a:ln w="6350" cap="flat">
                    <a:solidFill>
                      <a:schemeClr val="bg1">
                        <a:alpha val="40000"/>
                      </a:schemeClr>
                    </a:solidFill>
                    <a:prstDash val="solid"/>
                    <a:miter/>
                  </a:ln>
                </p:spPr>
                <p:txBody>
                  <a:bodyPr rtlCol="0" anchor="ctr"/>
                  <a:lstStyle/>
                  <a:p>
                    <a:endParaRPr lang="en-GB"/>
                  </a:p>
                </p:txBody>
              </p:sp>
              <p:sp>
                <p:nvSpPr>
                  <p:cNvPr id="9261" name="Vrije vorm: vorm 9260">
                    <a:extLst>
                      <a:ext uri="{FF2B5EF4-FFF2-40B4-BE49-F238E27FC236}">
                        <a16:creationId xmlns:a16="http://schemas.microsoft.com/office/drawing/2014/main" id="{4A797B42-D7A8-4EE5-A761-071538BD8B3E}"/>
                      </a:ext>
                    </a:extLst>
                  </p:cNvPr>
                  <p:cNvSpPr/>
                  <p:nvPr/>
                </p:nvSpPr>
                <p:spPr>
                  <a:xfrm>
                    <a:off x="5803712" y="1584752"/>
                    <a:ext cx="28587" cy="1255"/>
                  </a:xfrm>
                  <a:custGeom>
                    <a:avLst/>
                    <a:gdLst>
                      <a:gd name="connsiteX0" fmla="*/ 0 w 28587"/>
                      <a:gd name="connsiteY0" fmla="*/ 0 h 1255"/>
                      <a:gd name="connsiteX1" fmla="*/ 28588 w 28587"/>
                      <a:gd name="connsiteY1" fmla="*/ 1256 h 1255"/>
                    </a:gdLst>
                    <a:ahLst/>
                    <a:cxnLst>
                      <a:cxn ang="0">
                        <a:pos x="connsiteX0" y="connsiteY0"/>
                      </a:cxn>
                      <a:cxn ang="0">
                        <a:pos x="connsiteX1" y="connsiteY1"/>
                      </a:cxn>
                    </a:cxnLst>
                    <a:rect l="l" t="t" r="r" b="b"/>
                    <a:pathLst>
                      <a:path w="28587" h="1255">
                        <a:moveTo>
                          <a:pt x="0" y="0"/>
                        </a:moveTo>
                        <a:lnTo>
                          <a:pt x="28588" y="1256"/>
                        </a:lnTo>
                      </a:path>
                    </a:pathLst>
                  </a:custGeom>
                  <a:grpFill/>
                  <a:ln w="6350" cap="flat">
                    <a:solidFill>
                      <a:schemeClr val="bg1">
                        <a:alpha val="40000"/>
                      </a:schemeClr>
                    </a:solidFill>
                    <a:prstDash val="solid"/>
                    <a:miter/>
                  </a:ln>
                </p:spPr>
                <p:txBody>
                  <a:bodyPr rtlCol="0" anchor="ctr"/>
                  <a:lstStyle/>
                  <a:p>
                    <a:endParaRPr lang="en-GB"/>
                  </a:p>
                </p:txBody>
              </p:sp>
              <p:sp>
                <p:nvSpPr>
                  <p:cNvPr id="9262" name="Vrije vorm: vorm 9261">
                    <a:extLst>
                      <a:ext uri="{FF2B5EF4-FFF2-40B4-BE49-F238E27FC236}">
                        <a16:creationId xmlns:a16="http://schemas.microsoft.com/office/drawing/2014/main" id="{72C74AFE-4917-4B31-8F72-512B45D3BADC}"/>
                      </a:ext>
                    </a:extLst>
                  </p:cNvPr>
                  <p:cNvSpPr/>
                  <p:nvPr/>
                </p:nvSpPr>
                <p:spPr>
                  <a:xfrm>
                    <a:off x="5836905" y="1578891"/>
                    <a:ext cx="40190" cy="8014"/>
                  </a:xfrm>
                  <a:custGeom>
                    <a:avLst/>
                    <a:gdLst>
                      <a:gd name="connsiteX0" fmla="*/ 0 w 40190"/>
                      <a:gd name="connsiteY0" fmla="*/ 8014 h 8014"/>
                      <a:gd name="connsiteX1" fmla="*/ 40190 w 40190"/>
                      <a:gd name="connsiteY1" fmla="*/ 0 h 8014"/>
                    </a:gdLst>
                    <a:ahLst/>
                    <a:cxnLst>
                      <a:cxn ang="0">
                        <a:pos x="connsiteX0" y="connsiteY0"/>
                      </a:cxn>
                      <a:cxn ang="0">
                        <a:pos x="connsiteX1" y="connsiteY1"/>
                      </a:cxn>
                    </a:cxnLst>
                    <a:rect l="l" t="t" r="r" b="b"/>
                    <a:pathLst>
                      <a:path w="40190" h="8014">
                        <a:moveTo>
                          <a:pt x="0" y="8014"/>
                        </a:moveTo>
                        <a:lnTo>
                          <a:pt x="40190" y="0"/>
                        </a:lnTo>
                      </a:path>
                    </a:pathLst>
                  </a:custGeom>
                  <a:grpFill/>
                  <a:ln w="6350" cap="flat">
                    <a:solidFill>
                      <a:schemeClr val="bg1">
                        <a:alpha val="40000"/>
                      </a:schemeClr>
                    </a:solidFill>
                    <a:prstDash val="solid"/>
                    <a:miter/>
                  </a:ln>
                </p:spPr>
                <p:txBody>
                  <a:bodyPr rtlCol="0" anchor="ctr"/>
                  <a:lstStyle/>
                  <a:p>
                    <a:endParaRPr lang="en-GB"/>
                  </a:p>
                </p:txBody>
              </p:sp>
              <p:sp>
                <p:nvSpPr>
                  <p:cNvPr id="9263" name="Vrije vorm: vorm 9262">
                    <a:extLst>
                      <a:ext uri="{FF2B5EF4-FFF2-40B4-BE49-F238E27FC236}">
                        <a16:creationId xmlns:a16="http://schemas.microsoft.com/office/drawing/2014/main" id="{1549BF94-7F7C-4096-A2E4-AE356FF2F2BE}"/>
                      </a:ext>
                    </a:extLst>
                  </p:cNvPr>
                  <p:cNvSpPr/>
                  <p:nvPr/>
                </p:nvSpPr>
                <p:spPr>
                  <a:xfrm>
                    <a:off x="5836606" y="1578293"/>
                    <a:ext cx="39951" cy="7655"/>
                  </a:xfrm>
                  <a:custGeom>
                    <a:avLst/>
                    <a:gdLst>
                      <a:gd name="connsiteX0" fmla="*/ 0 w 39951"/>
                      <a:gd name="connsiteY0" fmla="*/ 7655 h 7655"/>
                      <a:gd name="connsiteX1" fmla="*/ 39951 w 39951"/>
                      <a:gd name="connsiteY1" fmla="*/ 0 h 7655"/>
                    </a:gdLst>
                    <a:ahLst/>
                    <a:cxnLst>
                      <a:cxn ang="0">
                        <a:pos x="connsiteX0" y="connsiteY0"/>
                      </a:cxn>
                      <a:cxn ang="0">
                        <a:pos x="connsiteX1" y="connsiteY1"/>
                      </a:cxn>
                    </a:cxnLst>
                    <a:rect l="l" t="t" r="r" b="b"/>
                    <a:pathLst>
                      <a:path w="39951" h="7655">
                        <a:moveTo>
                          <a:pt x="0" y="7655"/>
                        </a:moveTo>
                        <a:lnTo>
                          <a:pt x="39951" y="0"/>
                        </a:lnTo>
                      </a:path>
                    </a:pathLst>
                  </a:custGeom>
                  <a:grpFill/>
                  <a:ln w="6350" cap="flat">
                    <a:solidFill>
                      <a:schemeClr val="bg1">
                        <a:alpha val="40000"/>
                      </a:schemeClr>
                    </a:solidFill>
                    <a:prstDash val="solid"/>
                    <a:miter/>
                  </a:ln>
                </p:spPr>
                <p:txBody>
                  <a:bodyPr rtlCol="0" anchor="ctr"/>
                  <a:lstStyle/>
                  <a:p>
                    <a:endParaRPr lang="en-GB"/>
                  </a:p>
                </p:txBody>
              </p:sp>
              <p:sp>
                <p:nvSpPr>
                  <p:cNvPr id="9264" name="Vrije vorm: vorm 9263">
                    <a:extLst>
                      <a:ext uri="{FF2B5EF4-FFF2-40B4-BE49-F238E27FC236}">
                        <a16:creationId xmlns:a16="http://schemas.microsoft.com/office/drawing/2014/main" id="{5D597556-A5A9-423F-A99E-F0E8839588A4}"/>
                      </a:ext>
                    </a:extLst>
                  </p:cNvPr>
                  <p:cNvSpPr/>
                  <p:nvPr/>
                </p:nvSpPr>
                <p:spPr>
                  <a:xfrm>
                    <a:off x="5846295" y="1576678"/>
                    <a:ext cx="29664" cy="1016"/>
                  </a:xfrm>
                  <a:custGeom>
                    <a:avLst/>
                    <a:gdLst>
                      <a:gd name="connsiteX0" fmla="*/ 29665 w 29664"/>
                      <a:gd name="connsiteY0" fmla="*/ 1017 h 1016"/>
                      <a:gd name="connsiteX1" fmla="*/ 0 w 29664"/>
                      <a:gd name="connsiteY1" fmla="*/ 0 h 1016"/>
                    </a:gdLst>
                    <a:ahLst/>
                    <a:cxnLst>
                      <a:cxn ang="0">
                        <a:pos x="connsiteX0" y="connsiteY0"/>
                      </a:cxn>
                      <a:cxn ang="0">
                        <a:pos x="connsiteX1" y="connsiteY1"/>
                      </a:cxn>
                    </a:cxnLst>
                    <a:rect l="l" t="t" r="r" b="b"/>
                    <a:pathLst>
                      <a:path w="29664" h="1016">
                        <a:moveTo>
                          <a:pt x="29665" y="1017"/>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65" name="Vrije vorm: vorm 9264">
                    <a:extLst>
                      <a:ext uri="{FF2B5EF4-FFF2-40B4-BE49-F238E27FC236}">
                        <a16:creationId xmlns:a16="http://schemas.microsoft.com/office/drawing/2014/main" id="{5B79FE4B-B304-4AF6-A8D1-B8DA0405752C}"/>
                      </a:ext>
                    </a:extLst>
                  </p:cNvPr>
                  <p:cNvSpPr/>
                  <p:nvPr/>
                </p:nvSpPr>
                <p:spPr>
                  <a:xfrm>
                    <a:off x="5846056" y="1575781"/>
                    <a:ext cx="28767" cy="717"/>
                  </a:xfrm>
                  <a:custGeom>
                    <a:avLst/>
                    <a:gdLst>
                      <a:gd name="connsiteX0" fmla="*/ 28767 w 28767"/>
                      <a:gd name="connsiteY0" fmla="*/ 718 h 717"/>
                      <a:gd name="connsiteX1" fmla="*/ 0 w 28767"/>
                      <a:gd name="connsiteY1" fmla="*/ 0 h 717"/>
                    </a:gdLst>
                    <a:ahLst/>
                    <a:cxnLst>
                      <a:cxn ang="0">
                        <a:pos x="connsiteX0" y="connsiteY0"/>
                      </a:cxn>
                      <a:cxn ang="0">
                        <a:pos x="connsiteX1" y="connsiteY1"/>
                      </a:cxn>
                    </a:cxnLst>
                    <a:rect l="l" t="t" r="r" b="b"/>
                    <a:pathLst>
                      <a:path w="28767" h="717">
                        <a:moveTo>
                          <a:pt x="28767" y="718"/>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66" name="Vrije vorm: vorm 9265">
                    <a:extLst>
                      <a:ext uri="{FF2B5EF4-FFF2-40B4-BE49-F238E27FC236}">
                        <a16:creationId xmlns:a16="http://schemas.microsoft.com/office/drawing/2014/main" id="{1FA3A8EC-AB8F-4403-BD2F-3F4192169F12}"/>
                      </a:ext>
                    </a:extLst>
                  </p:cNvPr>
                  <p:cNvSpPr/>
                  <p:nvPr/>
                </p:nvSpPr>
                <p:spPr>
                  <a:xfrm>
                    <a:off x="5803712" y="1577037"/>
                    <a:ext cx="38456" cy="7715"/>
                  </a:xfrm>
                  <a:custGeom>
                    <a:avLst/>
                    <a:gdLst>
                      <a:gd name="connsiteX0" fmla="*/ 0 w 38456"/>
                      <a:gd name="connsiteY0" fmla="*/ 7715 h 7715"/>
                      <a:gd name="connsiteX1" fmla="*/ 38456 w 38456"/>
                      <a:gd name="connsiteY1" fmla="*/ 0 h 7715"/>
                    </a:gdLst>
                    <a:ahLst/>
                    <a:cxnLst>
                      <a:cxn ang="0">
                        <a:pos x="connsiteX0" y="connsiteY0"/>
                      </a:cxn>
                      <a:cxn ang="0">
                        <a:pos x="connsiteX1" y="connsiteY1"/>
                      </a:cxn>
                    </a:cxnLst>
                    <a:rect l="l" t="t" r="r" b="b"/>
                    <a:pathLst>
                      <a:path w="38456" h="7715">
                        <a:moveTo>
                          <a:pt x="0" y="7715"/>
                        </a:moveTo>
                        <a:lnTo>
                          <a:pt x="38456" y="0"/>
                        </a:lnTo>
                      </a:path>
                    </a:pathLst>
                  </a:custGeom>
                  <a:grpFill/>
                  <a:ln w="6350" cap="flat">
                    <a:solidFill>
                      <a:schemeClr val="bg1">
                        <a:alpha val="40000"/>
                      </a:schemeClr>
                    </a:solidFill>
                    <a:prstDash val="solid"/>
                    <a:miter/>
                  </a:ln>
                </p:spPr>
                <p:txBody>
                  <a:bodyPr rtlCol="0" anchor="ctr"/>
                  <a:lstStyle/>
                  <a:p>
                    <a:endParaRPr lang="en-GB"/>
                  </a:p>
                </p:txBody>
              </p:sp>
              <p:sp>
                <p:nvSpPr>
                  <p:cNvPr id="9267" name="Vrije vorm: vorm 9266">
                    <a:extLst>
                      <a:ext uri="{FF2B5EF4-FFF2-40B4-BE49-F238E27FC236}">
                        <a16:creationId xmlns:a16="http://schemas.microsoft.com/office/drawing/2014/main" id="{3B93B8C3-99CE-4E8D-BDB5-4944E12E4842}"/>
                      </a:ext>
                    </a:extLst>
                  </p:cNvPr>
                  <p:cNvSpPr/>
                  <p:nvPr/>
                </p:nvSpPr>
                <p:spPr>
                  <a:xfrm>
                    <a:off x="5802875" y="1576199"/>
                    <a:ext cx="39113" cy="7595"/>
                  </a:xfrm>
                  <a:custGeom>
                    <a:avLst/>
                    <a:gdLst>
                      <a:gd name="connsiteX0" fmla="*/ 0 w 39113"/>
                      <a:gd name="connsiteY0" fmla="*/ 7596 h 7595"/>
                      <a:gd name="connsiteX1" fmla="*/ 39114 w 39113"/>
                      <a:gd name="connsiteY1" fmla="*/ 0 h 7595"/>
                    </a:gdLst>
                    <a:ahLst/>
                    <a:cxnLst>
                      <a:cxn ang="0">
                        <a:pos x="connsiteX0" y="connsiteY0"/>
                      </a:cxn>
                      <a:cxn ang="0">
                        <a:pos x="connsiteX1" y="connsiteY1"/>
                      </a:cxn>
                    </a:cxnLst>
                    <a:rect l="l" t="t" r="r" b="b"/>
                    <a:pathLst>
                      <a:path w="39113" h="7595">
                        <a:moveTo>
                          <a:pt x="0" y="7596"/>
                        </a:moveTo>
                        <a:lnTo>
                          <a:pt x="39114" y="0"/>
                        </a:lnTo>
                      </a:path>
                    </a:pathLst>
                  </a:custGeom>
                  <a:grpFill/>
                  <a:ln w="6350" cap="flat">
                    <a:solidFill>
                      <a:schemeClr val="bg1">
                        <a:alpha val="40000"/>
                      </a:schemeClr>
                    </a:solidFill>
                    <a:prstDash val="solid"/>
                    <a:miter/>
                  </a:ln>
                </p:spPr>
                <p:txBody>
                  <a:bodyPr rtlCol="0" anchor="ctr"/>
                  <a:lstStyle/>
                  <a:p>
                    <a:endParaRPr lang="en-GB"/>
                  </a:p>
                </p:txBody>
              </p:sp>
            </p:grpSp>
            <p:grpSp>
              <p:nvGrpSpPr>
                <p:cNvPr id="9245" name="Graphic 3">
                  <a:extLst>
                    <a:ext uri="{FF2B5EF4-FFF2-40B4-BE49-F238E27FC236}">
                      <a16:creationId xmlns:a16="http://schemas.microsoft.com/office/drawing/2014/main" id="{D342D526-AE60-447C-89FA-4A78B95E154D}"/>
                    </a:ext>
                  </a:extLst>
                </p:cNvPr>
                <p:cNvGrpSpPr/>
                <p:nvPr/>
              </p:nvGrpSpPr>
              <p:grpSpPr>
                <a:xfrm>
                  <a:off x="5821176" y="1516213"/>
                  <a:ext cx="32834" cy="7176"/>
                  <a:chOff x="5821176" y="1516213"/>
                  <a:chExt cx="32834" cy="7176"/>
                </a:xfrm>
                <a:grpFill/>
              </p:grpSpPr>
              <p:sp>
                <p:nvSpPr>
                  <p:cNvPr id="9257" name="Vrije vorm: vorm 9256">
                    <a:extLst>
                      <a:ext uri="{FF2B5EF4-FFF2-40B4-BE49-F238E27FC236}">
                        <a16:creationId xmlns:a16="http://schemas.microsoft.com/office/drawing/2014/main" id="{94163018-42B4-4462-A040-D76EFFF5B3E9}"/>
                      </a:ext>
                    </a:extLst>
                  </p:cNvPr>
                  <p:cNvSpPr/>
                  <p:nvPr/>
                </p:nvSpPr>
                <p:spPr>
                  <a:xfrm>
                    <a:off x="5827814" y="1517887"/>
                    <a:ext cx="26195" cy="5502"/>
                  </a:xfrm>
                  <a:custGeom>
                    <a:avLst/>
                    <a:gdLst>
                      <a:gd name="connsiteX0" fmla="*/ 0 w 26195"/>
                      <a:gd name="connsiteY0" fmla="*/ 5502 h 5502"/>
                      <a:gd name="connsiteX1" fmla="*/ 26195 w 26195"/>
                      <a:gd name="connsiteY1" fmla="*/ 0 h 5502"/>
                    </a:gdLst>
                    <a:ahLst/>
                    <a:cxnLst>
                      <a:cxn ang="0">
                        <a:pos x="connsiteX0" y="connsiteY0"/>
                      </a:cxn>
                      <a:cxn ang="0">
                        <a:pos x="connsiteX1" y="connsiteY1"/>
                      </a:cxn>
                    </a:cxnLst>
                    <a:rect l="l" t="t" r="r" b="b"/>
                    <a:pathLst>
                      <a:path w="26195" h="5502">
                        <a:moveTo>
                          <a:pt x="0" y="5502"/>
                        </a:moveTo>
                        <a:lnTo>
                          <a:pt x="26195" y="0"/>
                        </a:lnTo>
                      </a:path>
                    </a:pathLst>
                  </a:custGeom>
                  <a:grpFill/>
                  <a:ln w="6350" cap="flat">
                    <a:solidFill>
                      <a:schemeClr val="bg1">
                        <a:alpha val="40000"/>
                      </a:schemeClr>
                    </a:solidFill>
                    <a:prstDash val="solid"/>
                    <a:miter/>
                  </a:ln>
                </p:spPr>
                <p:txBody>
                  <a:bodyPr rtlCol="0" anchor="ctr"/>
                  <a:lstStyle/>
                  <a:p>
                    <a:endParaRPr lang="en-GB"/>
                  </a:p>
                </p:txBody>
              </p:sp>
              <p:sp>
                <p:nvSpPr>
                  <p:cNvPr id="9258" name="Vrije vorm: vorm 9257">
                    <a:extLst>
                      <a:ext uri="{FF2B5EF4-FFF2-40B4-BE49-F238E27FC236}">
                        <a16:creationId xmlns:a16="http://schemas.microsoft.com/office/drawing/2014/main" id="{EDBE74BC-47D3-4481-BD57-2B6572211D0D}"/>
                      </a:ext>
                    </a:extLst>
                  </p:cNvPr>
                  <p:cNvSpPr/>
                  <p:nvPr/>
                </p:nvSpPr>
                <p:spPr>
                  <a:xfrm>
                    <a:off x="5833915" y="1516213"/>
                    <a:ext cx="19317" cy="837"/>
                  </a:xfrm>
                  <a:custGeom>
                    <a:avLst/>
                    <a:gdLst>
                      <a:gd name="connsiteX0" fmla="*/ 19318 w 19317"/>
                      <a:gd name="connsiteY0" fmla="*/ 837 h 837"/>
                      <a:gd name="connsiteX1" fmla="*/ 0 w 19317"/>
                      <a:gd name="connsiteY1" fmla="*/ 0 h 837"/>
                    </a:gdLst>
                    <a:ahLst/>
                    <a:cxnLst>
                      <a:cxn ang="0">
                        <a:pos x="connsiteX0" y="connsiteY0"/>
                      </a:cxn>
                      <a:cxn ang="0">
                        <a:pos x="connsiteX1" y="connsiteY1"/>
                      </a:cxn>
                    </a:cxnLst>
                    <a:rect l="l" t="t" r="r" b="b"/>
                    <a:pathLst>
                      <a:path w="19317" h="837">
                        <a:moveTo>
                          <a:pt x="19318" y="837"/>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59" name="Vrije vorm: vorm 9258">
                    <a:extLst>
                      <a:ext uri="{FF2B5EF4-FFF2-40B4-BE49-F238E27FC236}">
                        <a16:creationId xmlns:a16="http://schemas.microsoft.com/office/drawing/2014/main" id="{972F78BD-46B0-43E6-8DAB-140B4D9714A8}"/>
                      </a:ext>
                    </a:extLst>
                  </p:cNvPr>
                  <p:cNvSpPr/>
                  <p:nvPr/>
                </p:nvSpPr>
                <p:spPr>
                  <a:xfrm>
                    <a:off x="5821176" y="1516452"/>
                    <a:ext cx="10047" cy="2093"/>
                  </a:xfrm>
                  <a:custGeom>
                    <a:avLst/>
                    <a:gdLst>
                      <a:gd name="connsiteX0" fmla="*/ 0 w 10047"/>
                      <a:gd name="connsiteY0" fmla="*/ 2093 h 2093"/>
                      <a:gd name="connsiteX1" fmla="*/ 10048 w 10047"/>
                      <a:gd name="connsiteY1" fmla="*/ 0 h 2093"/>
                    </a:gdLst>
                    <a:ahLst/>
                    <a:cxnLst>
                      <a:cxn ang="0">
                        <a:pos x="connsiteX0" y="connsiteY0"/>
                      </a:cxn>
                      <a:cxn ang="0">
                        <a:pos x="connsiteX1" y="connsiteY1"/>
                      </a:cxn>
                    </a:cxnLst>
                    <a:rect l="l" t="t" r="r" b="b"/>
                    <a:pathLst>
                      <a:path w="10047" h="2093">
                        <a:moveTo>
                          <a:pt x="0" y="2093"/>
                        </a:moveTo>
                        <a:lnTo>
                          <a:pt x="10048" y="0"/>
                        </a:lnTo>
                      </a:path>
                    </a:pathLst>
                  </a:custGeom>
                  <a:grpFill/>
                  <a:ln w="6350" cap="flat">
                    <a:solidFill>
                      <a:schemeClr val="bg1">
                        <a:alpha val="40000"/>
                      </a:schemeClr>
                    </a:solidFill>
                    <a:prstDash val="solid"/>
                    <a:miter/>
                  </a:ln>
                </p:spPr>
                <p:txBody>
                  <a:bodyPr rtlCol="0" anchor="ctr"/>
                  <a:lstStyle/>
                  <a:p>
                    <a:endParaRPr lang="en-GB"/>
                  </a:p>
                </p:txBody>
              </p:sp>
            </p:grpSp>
            <p:grpSp>
              <p:nvGrpSpPr>
                <p:cNvPr id="9246" name="Graphic 3">
                  <a:extLst>
                    <a:ext uri="{FF2B5EF4-FFF2-40B4-BE49-F238E27FC236}">
                      <a16:creationId xmlns:a16="http://schemas.microsoft.com/office/drawing/2014/main" id="{F9D038C8-0D75-4D31-A89D-9F24E9B3F312}"/>
                    </a:ext>
                  </a:extLst>
                </p:cNvPr>
                <p:cNvGrpSpPr/>
                <p:nvPr/>
              </p:nvGrpSpPr>
              <p:grpSpPr>
                <a:xfrm>
                  <a:off x="5818903" y="1480568"/>
                  <a:ext cx="22188" cy="8313"/>
                  <a:chOff x="5818903" y="1480568"/>
                  <a:chExt cx="22188" cy="8313"/>
                </a:xfrm>
                <a:grpFill/>
              </p:grpSpPr>
              <p:sp>
                <p:nvSpPr>
                  <p:cNvPr id="9253" name="Vrije vorm: vorm 9252">
                    <a:extLst>
                      <a:ext uri="{FF2B5EF4-FFF2-40B4-BE49-F238E27FC236}">
                        <a16:creationId xmlns:a16="http://schemas.microsoft.com/office/drawing/2014/main" id="{F426EFE5-3D23-42A4-82DB-C61F8C1D8448}"/>
                      </a:ext>
                    </a:extLst>
                  </p:cNvPr>
                  <p:cNvSpPr/>
                  <p:nvPr/>
                </p:nvSpPr>
                <p:spPr>
                  <a:xfrm>
                    <a:off x="5818903" y="1485233"/>
                    <a:ext cx="8851" cy="2631"/>
                  </a:xfrm>
                  <a:custGeom>
                    <a:avLst/>
                    <a:gdLst>
                      <a:gd name="connsiteX0" fmla="*/ 0 w 8851"/>
                      <a:gd name="connsiteY0" fmla="*/ 0 h 2631"/>
                      <a:gd name="connsiteX1" fmla="*/ 8851 w 8851"/>
                      <a:gd name="connsiteY1" fmla="*/ 2632 h 2631"/>
                    </a:gdLst>
                    <a:ahLst/>
                    <a:cxnLst>
                      <a:cxn ang="0">
                        <a:pos x="connsiteX0" y="connsiteY0"/>
                      </a:cxn>
                      <a:cxn ang="0">
                        <a:pos x="connsiteX1" y="connsiteY1"/>
                      </a:cxn>
                    </a:cxnLst>
                    <a:rect l="l" t="t" r="r" b="b"/>
                    <a:pathLst>
                      <a:path w="8851" h="2631">
                        <a:moveTo>
                          <a:pt x="0" y="0"/>
                        </a:moveTo>
                        <a:lnTo>
                          <a:pt x="8851" y="2632"/>
                        </a:lnTo>
                      </a:path>
                    </a:pathLst>
                  </a:custGeom>
                  <a:grpFill/>
                  <a:ln w="6350" cap="flat">
                    <a:solidFill>
                      <a:schemeClr val="bg1">
                        <a:alpha val="40000"/>
                      </a:schemeClr>
                    </a:solidFill>
                    <a:prstDash val="solid"/>
                    <a:miter/>
                  </a:ln>
                </p:spPr>
                <p:txBody>
                  <a:bodyPr rtlCol="0" anchor="ctr"/>
                  <a:lstStyle/>
                  <a:p>
                    <a:endParaRPr lang="en-GB"/>
                  </a:p>
                </p:txBody>
              </p:sp>
              <p:sp>
                <p:nvSpPr>
                  <p:cNvPr id="9254" name="Vrije vorm: vorm 9253">
                    <a:extLst>
                      <a:ext uri="{FF2B5EF4-FFF2-40B4-BE49-F238E27FC236}">
                        <a16:creationId xmlns:a16="http://schemas.microsoft.com/office/drawing/2014/main" id="{5220A60E-E5CD-46B9-A2C4-83EB7C765537}"/>
                      </a:ext>
                    </a:extLst>
                  </p:cNvPr>
                  <p:cNvSpPr/>
                  <p:nvPr/>
                </p:nvSpPr>
                <p:spPr>
                  <a:xfrm>
                    <a:off x="5829190" y="1484216"/>
                    <a:ext cx="11901" cy="4664"/>
                  </a:xfrm>
                  <a:custGeom>
                    <a:avLst/>
                    <a:gdLst>
                      <a:gd name="connsiteX0" fmla="*/ 0 w 11901"/>
                      <a:gd name="connsiteY0" fmla="*/ 4665 h 4664"/>
                      <a:gd name="connsiteX1" fmla="*/ 11902 w 11901"/>
                      <a:gd name="connsiteY1" fmla="*/ 0 h 4664"/>
                    </a:gdLst>
                    <a:ahLst/>
                    <a:cxnLst>
                      <a:cxn ang="0">
                        <a:pos x="connsiteX0" y="connsiteY0"/>
                      </a:cxn>
                      <a:cxn ang="0">
                        <a:pos x="connsiteX1" y="connsiteY1"/>
                      </a:cxn>
                    </a:cxnLst>
                    <a:rect l="l" t="t" r="r" b="b"/>
                    <a:pathLst>
                      <a:path w="11901" h="4664">
                        <a:moveTo>
                          <a:pt x="0" y="4665"/>
                        </a:moveTo>
                        <a:lnTo>
                          <a:pt x="11902" y="0"/>
                        </a:lnTo>
                      </a:path>
                    </a:pathLst>
                  </a:custGeom>
                  <a:grpFill/>
                  <a:ln w="6350" cap="flat">
                    <a:solidFill>
                      <a:schemeClr val="bg1">
                        <a:alpha val="40000"/>
                      </a:schemeClr>
                    </a:solidFill>
                    <a:prstDash val="solid"/>
                    <a:miter/>
                  </a:ln>
                </p:spPr>
                <p:txBody>
                  <a:bodyPr rtlCol="0" anchor="ctr"/>
                  <a:lstStyle/>
                  <a:p>
                    <a:endParaRPr lang="en-GB"/>
                  </a:p>
                </p:txBody>
              </p:sp>
              <p:sp>
                <p:nvSpPr>
                  <p:cNvPr id="9255" name="Vrije vorm: vorm 9254">
                    <a:extLst>
                      <a:ext uri="{FF2B5EF4-FFF2-40B4-BE49-F238E27FC236}">
                        <a16:creationId xmlns:a16="http://schemas.microsoft.com/office/drawing/2014/main" id="{216F9AFA-3A64-4EEB-ADE5-D64628ABB1AD}"/>
                      </a:ext>
                    </a:extLst>
                  </p:cNvPr>
                  <p:cNvSpPr/>
                  <p:nvPr/>
                </p:nvSpPr>
                <p:spPr>
                  <a:xfrm>
                    <a:off x="5831522" y="1480568"/>
                    <a:ext cx="9150" cy="2511"/>
                  </a:xfrm>
                  <a:custGeom>
                    <a:avLst/>
                    <a:gdLst>
                      <a:gd name="connsiteX0" fmla="*/ 9151 w 9150"/>
                      <a:gd name="connsiteY0" fmla="*/ 2512 h 2511"/>
                      <a:gd name="connsiteX1" fmla="*/ 0 w 9150"/>
                      <a:gd name="connsiteY1" fmla="*/ 0 h 2511"/>
                    </a:gdLst>
                    <a:ahLst/>
                    <a:cxnLst>
                      <a:cxn ang="0">
                        <a:pos x="connsiteX0" y="connsiteY0"/>
                      </a:cxn>
                      <a:cxn ang="0">
                        <a:pos x="connsiteX1" y="connsiteY1"/>
                      </a:cxn>
                    </a:cxnLst>
                    <a:rect l="l" t="t" r="r" b="b"/>
                    <a:pathLst>
                      <a:path w="9150" h="2511">
                        <a:moveTo>
                          <a:pt x="9151" y="2512"/>
                        </a:moveTo>
                        <a:lnTo>
                          <a:pt x="0" y="0"/>
                        </a:lnTo>
                      </a:path>
                    </a:pathLst>
                  </a:custGeom>
                  <a:grpFill/>
                  <a:ln w="6350" cap="flat">
                    <a:solidFill>
                      <a:schemeClr val="bg1">
                        <a:alpha val="40000"/>
                      </a:schemeClr>
                    </a:solidFill>
                    <a:prstDash val="solid"/>
                    <a:miter/>
                  </a:ln>
                </p:spPr>
                <p:txBody>
                  <a:bodyPr rtlCol="0" anchor="ctr"/>
                  <a:lstStyle/>
                  <a:p>
                    <a:endParaRPr lang="en-GB"/>
                  </a:p>
                </p:txBody>
              </p:sp>
              <p:sp>
                <p:nvSpPr>
                  <p:cNvPr id="9256" name="Vrije vorm: vorm 9255">
                    <a:extLst>
                      <a:ext uri="{FF2B5EF4-FFF2-40B4-BE49-F238E27FC236}">
                        <a16:creationId xmlns:a16="http://schemas.microsoft.com/office/drawing/2014/main" id="{F5B3F02E-6D32-4118-9109-6B824A077407}"/>
                      </a:ext>
                    </a:extLst>
                  </p:cNvPr>
                  <p:cNvSpPr/>
                  <p:nvPr/>
                </p:nvSpPr>
                <p:spPr>
                  <a:xfrm>
                    <a:off x="5818903" y="1480687"/>
                    <a:ext cx="11363" cy="4545"/>
                  </a:xfrm>
                  <a:custGeom>
                    <a:avLst/>
                    <a:gdLst>
                      <a:gd name="connsiteX0" fmla="*/ 0 w 11363"/>
                      <a:gd name="connsiteY0" fmla="*/ 4545 h 4545"/>
                      <a:gd name="connsiteX1" fmla="*/ 11363 w 11363"/>
                      <a:gd name="connsiteY1" fmla="*/ 0 h 4545"/>
                    </a:gdLst>
                    <a:ahLst/>
                    <a:cxnLst>
                      <a:cxn ang="0">
                        <a:pos x="connsiteX0" y="connsiteY0"/>
                      </a:cxn>
                      <a:cxn ang="0">
                        <a:pos x="connsiteX1" y="connsiteY1"/>
                      </a:cxn>
                    </a:cxnLst>
                    <a:rect l="l" t="t" r="r" b="b"/>
                    <a:pathLst>
                      <a:path w="11363" h="4545">
                        <a:moveTo>
                          <a:pt x="0" y="4545"/>
                        </a:moveTo>
                        <a:lnTo>
                          <a:pt x="11363" y="0"/>
                        </a:lnTo>
                      </a:path>
                    </a:pathLst>
                  </a:custGeom>
                  <a:grpFill/>
                  <a:ln w="6350" cap="flat">
                    <a:solidFill>
                      <a:schemeClr val="bg1">
                        <a:alpha val="40000"/>
                      </a:schemeClr>
                    </a:solidFill>
                    <a:prstDash val="solid"/>
                    <a:miter/>
                  </a:ln>
                </p:spPr>
                <p:txBody>
                  <a:bodyPr rtlCol="0" anchor="ctr"/>
                  <a:lstStyle/>
                  <a:p>
                    <a:endParaRPr lang="en-GB"/>
                  </a:p>
                </p:txBody>
              </p:sp>
            </p:grpSp>
            <p:sp>
              <p:nvSpPr>
                <p:cNvPr id="9247" name="Vrije vorm: vorm 9246">
                  <a:extLst>
                    <a:ext uri="{FF2B5EF4-FFF2-40B4-BE49-F238E27FC236}">
                      <a16:creationId xmlns:a16="http://schemas.microsoft.com/office/drawing/2014/main" id="{9FFD1D63-3576-4998-85FD-6B66B28D3827}"/>
                    </a:ext>
                  </a:extLst>
                </p:cNvPr>
                <p:cNvSpPr/>
                <p:nvPr/>
              </p:nvSpPr>
              <p:spPr>
                <a:xfrm>
                  <a:off x="5804208" y="1444325"/>
                  <a:ext cx="8056" cy="31877"/>
                </a:xfrm>
                <a:custGeom>
                  <a:avLst/>
                  <a:gdLst>
                    <a:gd name="connsiteX0" fmla="*/ 8057 w 8056"/>
                    <a:gd name="connsiteY0" fmla="*/ 31877 h 31877"/>
                    <a:gd name="connsiteX1" fmla="*/ 102 w 8056"/>
                    <a:gd name="connsiteY1" fmla="*/ 17882 h 31877"/>
                    <a:gd name="connsiteX2" fmla="*/ 7818 w 8056"/>
                    <a:gd name="connsiteY2" fmla="*/ 0 h 31877"/>
                  </a:gdLst>
                  <a:ahLst/>
                  <a:cxnLst>
                    <a:cxn ang="0">
                      <a:pos x="connsiteX0" y="connsiteY0"/>
                    </a:cxn>
                    <a:cxn ang="0">
                      <a:pos x="connsiteX1" y="connsiteY1"/>
                    </a:cxn>
                    <a:cxn ang="0">
                      <a:pos x="connsiteX2" y="connsiteY2"/>
                    </a:cxn>
                  </a:cxnLst>
                  <a:rect l="l" t="t" r="r" b="b"/>
                  <a:pathLst>
                    <a:path w="8056" h="31877">
                      <a:moveTo>
                        <a:pt x="8057" y="31877"/>
                      </a:moveTo>
                      <a:cubicBezTo>
                        <a:pt x="3691" y="28468"/>
                        <a:pt x="701" y="23564"/>
                        <a:pt x="102" y="17882"/>
                      </a:cubicBezTo>
                      <a:cubicBezTo>
                        <a:pt x="-615" y="10945"/>
                        <a:pt x="2495" y="4366"/>
                        <a:pt x="7818" y="0"/>
                      </a:cubicBezTo>
                    </a:path>
                  </a:pathLst>
                </a:custGeom>
                <a:grpFill/>
                <a:ln w="6350" cap="flat">
                  <a:solidFill>
                    <a:schemeClr val="bg1">
                      <a:alpha val="40000"/>
                    </a:schemeClr>
                  </a:solidFill>
                  <a:prstDash val="solid"/>
                  <a:miter/>
                </a:ln>
              </p:spPr>
              <p:txBody>
                <a:bodyPr rtlCol="0" anchor="ctr"/>
                <a:lstStyle/>
                <a:p>
                  <a:endParaRPr lang="en-GB"/>
                </a:p>
              </p:txBody>
            </p:sp>
            <p:sp>
              <p:nvSpPr>
                <p:cNvPr id="9248" name="Vrije vorm: vorm 9247">
                  <a:extLst>
                    <a:ext uri="{FF2B5EF4-FFF2-40B4-BE49-F238E27FC236}">
                      <a16:creationId xmlns:a16="http://schemas.microsoft.com/office/drawing/2014/main" id="{153FDC57-5074-41AC-AF75-6982620FE56D}"/>
                    </a:ext>
                  </a:extLst>
                </p:cNvPr>
                <p:cNvSpPr/>
                <p:nvPr/>
              </p:nvSpPr>
              <p:spPr>
                <a:xfrm>
                  <a:off x="5840075" y="1441813"/>
                  <a:ext cx="10794" cy="31099"/>
                </a:xfrm>
                <a:custGeom>
                  <a:avLst/>
                  <a:gdLst>
                    <a:gd name="connsiteX0" fmla="*/ 0 w 10794"/>
                    <a:gd name="connsiteY0" fmla="*/ 0 h 31099"/>
                    <a:gd name="connsiteX1" fmla="*/ 10705 w 10794"/>
                    <a:gd name="connsiteY1" fmla="*/ 15849 h 31099"/>
                    <a:gd name="connsiteX2" fmla="*/ 5681 w 10794"/>
                    <a:gd name="connsiteY2" fmla="*/ 31100 h 31099"/>
                  </a:gdLst>
                  <a:ahLst/>
                  <a:cxnLst>
                    <a:cxn ang="0">
                      <a:pos x="connsiteX0" y="connsiteY0"/>
                    </a:cxn>
                    <a:cxn ang="0">
                      <a:pos x="connsiteX1" y="connsiteY1"/>
                    </a:cxn>
                    <a:cxn ang="0">
                      <a:pos x="connsiteX2" y="connsiteY2"/>
                    </a:cxn>
                  </a:cxnLst>
                  <a:rect l="l" t="t" r="r" b="b"/>
                  <a:pathLst>
                    <a:path w="10794" h="31099">
                      <a:moveTo>
                        <a:pt x="0" y="0"/>
                      </a:moveTo>
                      <a:cubicBezTo>
                        <a:pt x="5861" y="3289"/>
                        <a:pt x="10048" y="9031"/>
                        <a:pt x="10705" y="15849"/>
                      </a:cubicBezTo>
                      <a:cubicBezTo>
                        <a:pt x="11243" y="21531"/>
                        <a:pt x="9330" y="26913"/>
                        <a:pt x="5681" y="31100"/>
                      </a:cubicBezTo>
                    </a:path>
                  </a:pathLst>
                </a:custGeom>
                <a:grpFill/>
                <a:ln w="6350" cap="flat">
                  <a:solidFill>
                    <a:schemeClr val="bg1">
                      <a:alpha val="40000"/>
                    </a:schemeClr>
                  </a:solidFill>
                  <a:prstDash val="solid"/>
                  <a:miter/>
                </a:ln>
              </p:spPr>
              <p:txBody>
                <a:bodyPr rtlCol="0" anchor="ctr"/>
                <a:lstStyle/>
                <a:p>
                  <a:endParaRPr lang="en-GB"/>
                </a:p>
              </p:txBody>
            </p:sp>
            <p:sp>
              <p:nvSpPr>
                <p:cNvPr id="9249" name="Vrije vorm: vorm 9248">
                  <a:extLst>
                    <a:ext uri="{FF2B5EF4-FFF2-40B4-BE49-F238E27FC236}">
                      <a16:creationId xmlns:a16="http://schemas.microsoft.com/office/drawing/2014/main" id="{393527ED-7B58-4C2C-872D-ADC30BF069A1}"/>
                    </a:ext>
                  </a:extLst>
                </p:cNvPr>
                <p:cNvSpPr/>
                <p:nvPr/>
              </p:nvSpPr>
              <p:spPr>
                <a:xfrm>
                  <a:off x="5780974" y="1429851"/>
                  <a:ext cx="16099" cy="63814"/>
                </a:xfrm>
                <a:custGeom>
                  <a:avLst/>
                  <a:gdLst>
                    <a:gd name="connsiteX0" fmla="*/ 16100 w 16099"/>
                    <a:gd name="connsiteY0" fmla="*/ 63814 h 63814"/>
                    <a:gd name="connsiteX1" fmla="*/ 191 w 16099"/>
                    <a:gd name="connsiteY1" fmla="*/ 35825 h 63814"/>
                    <a:gd name="connsiteX2" fmla="*/ 15621 w 16099"/>
                    <a:gd name="connsiteY2" fmla="*/ 0 h 63814"/>
                  </a:gdLst>
                  <a:ahLst/>
                  <a:cxnLst>
                    <a:cxn ang="0">
                      <a:pos x="connsiteX0" y="connsiteY0"/>
                    </a:cxn>
                    <a:cxn ang="0">
                      <a:pos x="connsiteX1" y="connsiteY1"/>
                    </a:cxn>
                    <a:cxn ang="0">
                      <a:pos x="connsiteX2" y="connsiteY2"/>
                    </a:cxn>
                  </a:cxnLst>
                  <a:rect l="l" t="t" r="r" b="b"/>
                  <a:pathLst>
                    <a:path w="16099" h="63814">
                      <a:moveTo>
                        <a:pt x="16100" y="63814"/>
                      </a:moveTo>
                      <a:cubicBezTo>
                        <a:pt x="7308" y="56996"/>
                        <a:pt x="1327" y="47188"/>
                        <a:pt x="191" y="35825"/>
                      </a:cubicBezTo>
                      <a:cubicBezTo>
                        <a:pt x="-1185" y="21889"/>
                        <a:pt x="4975" y="8851"/>
                        <a:pt x="15621" y="0"/>
                      </a:cubicBezTo>
                    </a:path>
                  </a:pathLst>
                </a:custGeom>
                <a:grpFill/>
                <a:ln w="6350" cap="flat">
                  <a:solidFill>
                    <a:schemeClr val="bg1">
                      <a:alpha val="40000"/>
                    </a:schemeClr>
                  </a:solidFill>
                  <a:prstDash val="solid"/>
                  <a:miter/>
                </a:ln>
              </p:spPr>
              <p:txBody>
                <a:bodyPr rtlCol="0" anchor="ctr"/>
                <a:lstStyle/>
                <a:p>
                  <a:endParaRPr lang="en-GB"/>
                </a:p>
              </p:txBody>
            </p:sp>
            <p:sp>
              <p:nvSpPr>
                <p:cNvPr id="9250" name="Vrije vorm: vorm 9249">
                  <a:extLst>
                    <a:ext uri="{FF2B5EF4-FFF2-40B4-BE49-F238E27FC236}">
                      <a16:creationId xmlns:a16="http://schemas.microsoft.com/office/drawing/2014/main" id="{BA4E2B06-EE05-4D7B-BB21-4B0B9DF646E8}"/>
                    </a:ext>
                  </a:extLst>
                </p:cNvPr>
                <p:cNvSpPr/>
                <p:nvPr/>
              </p:nvSpPr>
              <p:spPr>
                <a:xfrm>
                  <a:off x="5852694" y="1424827"/>
                  <a:ext cx="21603" cy="62199"/>
                </a:xfrm>
                <a:custGeom>
                  <a:avLst/>
                  <a:gdLst>
                    <a:gd name="connsiteX0" fmla="*/ 0 w 21603"/>
                    <a:gd name="connsiteY0" fmla="*/ 0 h 62199"/>
                    <a:gd name="connsiteX1" fmla="*/ 21411 w 21603"/>
                    <a:gd name="connsiteY1" fmla="*/ 31638 h 62199"/>
                    <a:gd name="connsiteX2" fmla="*/ 11363 w 21603"/>
                    <a:gd name="connsiteY2" fmla="*/ 62200 h 62199"/>
                  </a:gdLst>
                  <a:ahLst/>
                  <a:cxnLst>
                    <a:cxn ang="0">
                      <a:pos x="connsiteX0" y="connsiteY0"/>
                    </a:cxn>
                    <a:cxn ang="0">
                      <a:pos x="connsiteX1" y="connsiteY1"/>
                    </a:cxn>
                    <a:cxn ang="0">
                      <a:pos x="connsiteX2" y="connsiteY2"/>
                    </a:cxn>
                  </a:cxnLst>
                  <a:rect l="l" t="t" r="r" b="b"/>
                  <a:pathLst>
                    <a:path w="21603" h="62199">
                      <a:moveTo>
                        <a:pt x="0" y="0"/>
                      </a:moveTo>
                      <a:cubicBezTo>
                        <a:pt x="11782" y="6639"/>
                        <a:pt x="20035" y="18062"/>
                        <a:pt x="21411" y="31638"/>
                      </a:cubicBezTo>
                      <a:cubicBezTo>
                        <a:pt x="22547" y="43001"/>
                        <a:pt x="18600" y="53826"/>
                        <a:pt x="11363" y="62200"/>
                      </a:cubicBezTo>
                    </a:path>
                  </a:pathLst>
                </a:custGeom>
                <a:grpFill/>
                <a:ln w="6350" cap="flat">
                  <a:solidFill>
                    <a:schemeClr val="bg1">
                      <a:alpha val="40000"/>
                    </a:schemeClr>
                  </a:solidFill>
                  <a:prstDash val="solid"/>
                  <a:miter/>
                </a:ln>
              </p:spPr>
              <p:txBody>
                <a:bodyPr rtlCol="0" anchor="ctr"/>
                <a:lstStyle/>
                <a:p>
                  <a:endParaRPr lang="en-GB"/>
                </a:p>
              </p:txBody>
            </p:sp>
            <p:sp>
              <p:nvSpPr>
                <p:cNvPr id="9251" name="Vrije vorm: vorm 9250">
                  <a:extLst>
                    <a:ext uri="{FF2B5EF4-FFF2-40B4-BE49-F238E27FC236}">
                      <a16:creationId xmlns:a16="http://schemas.microsoft.com/office/drawing/2014/main" id="{83F5BCB1-3D4E-4C48-834C-7C4E24076306}"/>
                    </a:ext>
                  </a:extLst>
                </p:cNvPr>
                <p:cNvSpPr/>
                <p:nvPr/>
              </p:nvSpPr>
              <p:spPr>
                <a:xfrm>
                  <a:off x="5751722" y="1411670"/>
                  <a:ext cx="26213" cy="104004"/>
                </a:xfrm>
                <a:custGeom>
                  <a:avLst/>
                  <a:gdLst>
                    <a:gd name="connsiteX0" fmla="*/ 26214 w 26213"/>
                    <a:gd name="connsiteY0" fmla="*/ 104005 h 104004"/>
                    <a:gd name="connsiteX1" fmla="*/ 317 w 26213"/>
                    <a:gd name="connsiteY1" fmla="*/ 58372 h 104004"/>
                    <a:gd name="connsiteX2" fmla="*/ 25496 w 26213"/>
                    <a:gd name="connsiteY2" fmla="*/ 0 h 104004"/>
                  </a:gdLst>
                  <a:ahLst/>
                  <a:cxnLst>
                    <a:cxn ang="0">
                      <a:pos x="connsiteX0" y="connsiteY0"/>
                    </a:cxn>
                    <a:cxn ang="0">
                      <a:pos x="connsiteX1" y="connsiteY1"/>
                    </a:cxn>
                    <a:cxn ang="0">
                      <a:pos x="connsiteX2" y="connsiteY2"/>
                    </a:cxn>
                  </a:cxnLst>
                  <a:rect l="l" t="t" r="r" b="b"/>
                  <a:pathLst>
                    <a:path w="26213" h="104004">
                      <a:moveTo>
                        <a:pt x="26214" y="104005"/>
                      </a:moveTo>
                      <a:cubicBezTo>
                        <a:pt x="11860" y="92940"/>
                        <a:pt x="2171" y="76912"/>
                        <a:pt x="317" y="58372"/>
                      </a:cubicBezTo>
                      <a:cubicBezTo>
                        <a:pt x="-1956" y="35705"/>
                        <a:pt x="8152" y="14414"/>
                        <a:pt x="25496" y="0"/>
                      </a:cubicBezTo>
                    </a:path>
                  </a:pathLst>
                </a:custGeom>
                <a:grpFill/>
                <a:ln w="6350" cap="flat">
                  <a:solidFill>
                    <a:schemeClr val="bg1">
                      <a:alpha val="40000"/>
                    </a:schemeClr>
                  </a:solidFill>
                  <a:prstDash val="solid"/>
                  <a:miter/>
                </a:ln>
              </p:spPr>
              <p:txBody>
                <a:bodyPr rtlCol="0" anchor="ctr"/>
                <a:lstStyle/>
                <a:p>
                  <a:endParaRPr lang="en-GB"/>
                </a:p>
              </p:txBody>
            </p:sp>
            <p:sp>
              <p:nvSpPr>
                <p:cNvPr id="9252" name="Vrije vorm: vorm 9251">
                  <a:extLst>
                    <a:ext uri="{FF2B5EF4-FFF2-40B4-BE49-F238E27FC236}">
                      <a16:creationId xmlns:a16="http://schemas.microsoft.com/office/drawing/2014/main" id="{53D23ED0-5E2F-496F-ACD7-46FEA14CF76C}"/>
                    </a:ext>
                  </a:extLst>
                </p:cNvPr>
                <p:cNvSpPr/>
                <p:nvPr/>
              </p:nvSpPr>
              <p:spPr>
                <a:xfrm>
                  <a:off x="5868663" y="1403416"/>
                  <a:ext cx="35184" cy="101433"/>
                </a:xfrm>
                <a:custGeom>
                  <a:avLst/>
                  <a:gdLst>
                    <a:gd name="connsiteX0" fmla="*/ 0 w 35184"/>
                    <a:gd name="connsiteY0" fmla="*/ 0 h 101433"/>
                    <a:gd name="connsiteX1" fmla="*/ 34868 w 35184"/>
                    <a:gd name="connsiteY1" fmla="*/ 51614 h 101433"/>
                    <a:gd name="connsiteX2" fmla="*/ 18481 w 35184"/>
                    <a:gd name="connsiteY2" fmla="*/ 101433 h 101433"/>
                  </a:gdLst>
                  <a:ahLst/>
                  <a:cxnLst>
                    <a:cxn ang="0">
                      <a:pos x="connsiteX0" y="connsiteY0"/>
                    </a:cxn>
                    <a:cxn ang="0">
                      <a:pos x="connsiteX1" y="connsiteY1"/>
                    </a:cxn>
                    <a:cxn ang="0">
                      <a:pos x="connsiteX2" y="connsiteY2"/>
                    </a:cxn>
                  </a:cxnLst>
                  <a:rect l="l" t="t" r="r" b="b"/>
                  <a:pathLst>
                    <a:path w="35184" h="101433">
                      <a:moveTo>
                        <a:pt x="0" y="0"/>
                      </a:moveTo>
                      <a:cubicBezTo>
                        <a:pt x="19198" y="10825"/>
                        <a:pt x="32715" y="29425"/>
                        <a:pt x="34868" y="51614"/>
                      </a:cubicBezTo>
                      <a:cubicBezTo>
                        <a:pt x="36722" y="70154"/>
                        <a:pt x="30322" y="87737"/>
                        <a:pt x="18481" y="101433"/>
                      </a:cubicBezTo>
                    </a:path>
                  </a:pathLst>
                </a:custGeom>
                <a:grpFill/>
                <a:ln w="6350" cap="flat">
                  <a:solidFill>
                    <a:schemeClr val="bg1">
                      <a:alpha val="40000"/>
                    </a:schemeClr>
                  </a:solidFill>
                  <a:prstDash val="solid"/>
                  <a:miter/>
                </a:ln>
              </p:spPr>
              <p:txBody>
                <a:bodyPr rtlCol="0" anchor="ctr"/>
                <a:lstStyle/>
                <a:p>
                  <a:endParaRPr lang="en-GB"/>
                </a:p>
              </p:txBody>
            </p:sp>
          </p:grpSp>
          <p:grpSp>
            <p:nvGrpSpPr>
              <p:cNvPr id="9054" name="Graphic 3">
                <a:extLst>
                  <a:ext uri="{FF2B5EF4-FFF2-40B4-BE49-F238E27FC236}">
                    <a16:creationId xmlns:a16="http://schemas.microsoft.com/office/drawing/2014/main" id="{5926BBC6-21A3-45E7-8C05-154F0B7C31D8}"/>
                  </a:ext>
                </a:extLst>
              </p:cNvPr>
              <p:cNvGrpSpPr/>
              <p:nvPr/>
            </p:nvGrpSpPr>
            <p:grpSpPr>
              <a:xfrm>
                <a:off x="4479700" y="1908728"/>
                <a:ext cx="150654" cy="209564"/>
                <a:chOff x="4479700" y="1908728"/>
                <a:chExt cx="150654" cy="209564"/>
              </a:xfrm>
              <a:grpFill/>
            </p:grpSpPr>
            <p:sp>
              <p:nvSpPr>
                <p:cNvPr id="9211" name="Vrije vorm: vorm 9210">
                  <a:extLst>
                    <a:ext uri="{FF2B5EF4-FFF2-40B4-BE49-F238E27FC236}">
                      <a16:creationId xmlns:a16="http://schemas.microsoft.com/office/drawing/2014/main" id="{646FB20D-327F-4FDD-9D0D-E271747F3291}"/>
                    </a:ext>
                  </a:extLst>
                </p:cNvPr>
                <p:cNvSpPr/>
                <p:nvPr/>
              </p:nvSpPr>
              <p:spPr>
                <a:xfrm>
                  <a:off x="4479700" y="1908728"/>
                  <a:ext cx="150654" cy="209564"/>
                </a:xfrm>
                <a:custGeom>
                  <a:avLst/>
                  <a:gdLst>
                    <a:gd name="connsiteX0" fmla="*/ 65429 w 150654"/>
                    <a:gd name="connsiteY0" fmla="*/ 178704 h 209564"/>
                    <a:gd name="connsiteX1" fmla="*/ 65309 w 150654"/>
                    <a:gd name="connsiteY1" fmla="*/ 178644 h 209564"/>
                    <a:gd name="connsiteX2" fmla="*/ 0 w 150654"/>
                    <a:gd name="connsiteY2" fmla="*/ 0 h 209564"/>
                    <a:gd name="connsiteX3" fmla="*/ 85225 w 150654"/>
                    <a:gd name="connsiteY3" fmla="*/ 30861 h 209564"/>
                    <a:gd name="connsiteX4" fmla="*/ 85345 w 150654"/>
                    <a:gd name="connsiteY4" fmla="*/ 30920 h 209564"/>
                    <a:gd name="connsiteX5" fmla="*/ 150654 w 150654"/>
                    <a:gd name="connsiteY5" fmla="*/ 209564 h 209564"/>
                    <a:gd name="connsiteX6" fmla="*/ 65429 w 150654"/>
                    <a:gd name="connsiteY6" fmla="*/ 178704 h 209564"/>
                    <a:gd name="connsiteX7" fmla="*/ 538 w 150654"/>
                    <a:gd name="connsiteY7" fmla="*/ 658 h 209564"/>
                    <a:gd name="connsiteX8" fmla="*/ 65489 w 150654"/>
                    <a:gd name="connsiteY8" fmla="*/ 178226 h 209564"/>
                    <a:gd name="connsiteX9" fmla="*/ 150056 w 150654"/>
                    <a:gd name="connsiteY9" fmla="*/ 208847 h 209564"/>
                    <a:gd name="connsiteX10" fmla="*/ 85106 w 150654"/>
                    <a:gd name="connsiteY10" fmla="*/ 31279 h 209564"/>
                    <a:gd name="connsiteX11" fmla="*/ 538 w 150654"/>
                    <a:gd name="connsiteY11" fmla="*/ 658 h 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654" h="209564">
                      <a:moveTo>
                        <a:pt x="65429" y="178704"/>
                      </a:moveTo>
                      <a:lnTo>
                        <a:pt x="65309" y="178644"/>
                      </a:lnTo>
                      <a:lnTo>
                        <a:pt x="0" y="0"/>
                      </a:lnTo>
                      <a:lnTo>
                        <a:pt x="85225" y="30861"/>
                      </a:lnTo>
                      <a:lnTo>
                        <a:pt x="85345" y="30920"/>
                      </a:lnTo>
                      <a:lnTo>
                        <a:pt x="150654" y="209564"/>
                      </a:lnTo>
                      <a:lnTo>
                        <a:pt x="65429" y="178704"/>
                      </a:lnTo>
                      <a:close/>
                      <a:moveTo>
                        <a:pt x="538" y="658"/>
                      </a:moveTo>
                      <a:lnTo>
                        <a:pt x="65489" y="178226"/>
                      </a:lnTo>
                      <a:lnTo>
                        <a:pt x="150056" y="208847"/>
                      </a:lnTo>
                      <a:lnTo>
                        <a:pt x="85106" y="31279"/>
                      </a:lnTo>
                      <a:lnTo>
                        <a:pt x="538" y="658"/>
                      </a:lnTo>
                      <a:close/>
                    </a:path>
                  </a:pathLst>
                </a:custGeom>
                <a:grpFill/>
                <a:ln w="6350" cap="flat">
                  <a:solidFill>
                    <a:schemeClr val="bg1">
                      <a:alpha val="40000"/>
                    </a:schemeClr>
                  </a:solidFill>
                  <a:prstDash val="solid"/>
                  <a:miter/>
                </a:ln>
              </p:spPr>
              <p:txBody>
                <a:bodyPr rtlCol="0" anchor="ctr"/>
                <a:lstStyle/>
                <a:p>
                  <a:endParaRPr lang="en-GB"/>
                </a:p>
              </p:txBody>
            </p:sp>
            <p:sp>
              <p:nvSpPr>
                <p:cNvPr id="9212" name="Vrije vorm: vorm 9211">
                  <a:extLst>
                    <a:ext uri="{FF2B5EF4-FFF2-40B4-BE49-F238E27FC236}">
                      <a16:creationId xmlns:a16="http://schemas.microsoft.com/office/drawing/2014/main" id="{095F0943-F782-49CC-9846-7D27BD398A2F}"/>
                    </a:ext>
                  </a:extLst>
                </p:cNvPr>
                <p:cNvSpPr/>
                <p:nvPr/>
              </p:nvSpPr>
              <p:spPr>
                <a:xfrm>
                  <a:off x="4510261" y="1955856"/>
                  <a:ext cx="59627" cy="25717"/>
                </a:xfrm>
                <a:custGeom>
                  <a:avLst/>
                  <a:gdLst>
                    <a:gd name="connsiteX0" fmla="*/ 57833 w 59627"/>
                    <a:gd name="connsiteY0" fmla="*/ 20933 h 25717"/>
                    <a:gd name="connsiteX1" fmla="*/ 59628 w 59627"/>
                    <a:gd name="connsiteY1" fmla="*/ 25717 h 25717"/>
                    <a:gd name="connsiteX2" fmla="*/ 1734 w 59627"/>
                    <a:gd name="connsiteY2" fmla="*/ 4785 h 25717"/>
                    <a:gd name="connsiteX3" fmla="*/ 0 w 59627"/>
                    <a:gd name="connsiteY3" fmla="*/ 0 h 25717"/>
                  </a:gdLst>
                  <a:ahLst/>
                  <a:cxnLst>
                    <a:cxn ang="0">
                      <a:pos x="connsiteX0" y="connsiteY0"/>
                    </a:cxn>
                    <a:cxn ang="0">
                      <a:pos x="connsiteX1" y="connsiteY1"/>
                    </a:cxn>
                    <a:cxn ang="0">
                      <a:pos x="connsiteX2" y="connsiteY2"/>
                    </a:cxn>
                    <a:cxn ang="0">
                      <a:pos x="connsiteX3" y="connsiteY3"/>
                    </a:cxn>
                  </a:cxnLst>
                  <a:rect l="l" t="t" r="r" b="b"/>
                  <a:pathLst>
                    <a:path w="59627" h="25717">
                      <a:moveTo>
                        <a:pt x="57833" y="20933"/>
                      </a:moveTo>
                      <a:lnTo>
                        <a:pt x="59628" y="25717"/>
                      </a:lnTo>
                      <a:lnTo>
                        <a:pt x="1734" y="4785"/>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9213" name="Vrije vorm: vorm 9212">
                  <a:extLst>
                    <a:ext uri="{FF2B5EF4-FFF2-40B4-BE49-F238E27FC236}">
                      <a16:creationId xmlns:a16="http://schemas.microsoft.com/office/drawing/2014/main" id="{76DE3007-CA03-4914-A9A9-EF9D010BE3C5}"/>
                    </a:ext>
                  </a:extLst>
                </p:cNvPr>
                <p:cNvSpPr/>
                <p:nvPr/>
              </p:nvSpPr>
              <p:spPr>
                <a:xfrm>
                  <a:off x="4518156" y="1977446"/>
                  <a:ext cx="59627" cy="25776"/>
                </a:xfrm>
                <a:custGeom>
                  <a:avLst/>
                  <a:gdLst>
                    <a:gd name="connsiteX0" fmla="*/ 57893 w 59627"/>
                    <a:gd name="connsiteY0" fmla="*/ 20992 h 25776"/>
                    <a:gd name="connsiteX1" fmla="*/ 59628 w 59627"/>
                    <a:gd name="connsiteY1" fmla="*/ 25777 h 25776"/>
                    <a:gd name="connsiteX2" fmla="*/ 1734 w 59627"/>
                    <a:gd name="connsiteY2" fmla="*/ 4844 h 25776"/>
                    <a:gd name="connsiteX3" fmla="*/ 0 w 59627"/>
                    <a:gd name="connsiteY3" fmla="*/ 0 h 25776"/>
                  </a:gdLst>
                  <a:ahLst/>
                  <a:cxnLst>
                    <a:cxn ang="0">
                      <a:pos x="connsiteX0" y="connsiteY0"/>
                    </a:cxn>
                    <a:cxn ang="0">
                      <a:pos x="connsiteX1" y="connsiteY1"/>
                    </a:cxn>
                    <a:cxn ang="0">
                      <a:pos x="connsiteX2" y="connsiteY2"/>
                    </a:cxn>
                    <a:cxn ang="0">
                      <a:pos x="connsiteX3" y="connsiteY3"/>
                    </a:cxn>
                  </a:cxnLst>
                  <a:rect l="l" t="t" r="r" b="b"/>
                  <a:pathLst>
                    <a:path w="59627" h="25776">
                      <a:moveTo>
                        <a:pt x="57893" y="20992"/>
                      </a:moveTo>
                      <a:lnTo>
                        <a:pt x="59628" y="25777"/>
                      </a:lnTo>
                      <a:lnTo>
                        <a:pt x="1734" y="4844"/>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9214" name="Vrije vorm: vorm 9213">
                  <a:extLst>
                    <a:ext uri="{FF2B5EF4-FFF2-40B4-BE49-F238E27FC236}">
                      <a16:creationId xmlns:a16="http://schemas.microsoft.com/office/drawing/2014/main" id="{8FAA3264-A7B3-4109-A4DE-AE68C6A1753C}"/>
                    </a:ext>
                  </a:extLst>
                </p:cNvPr>
                <p:cNvSpPr/>
                <p:nvPr/>
              </p:nvSpPr>
              <p:spPr>
                <a:xfrm>
                  <a:off x="4526050" y="1999156"/>
                  <a:ext cx="59627" cy="25717"/>
                </a:xfrm>
                <a:custGeom>
                  <a:avLst/>
                  <a:gdLst>
                    <a:gd name="connsiteX0" fmla="*/ 57893 w 59627"/>
                    <a:gd name="connsiteY0" fmla="*/ 20933 h 25717"/>
                    <a:gd name="connsiteX1" fmla="*/ 59628 w 59627"/>
                    <a:gd name="connsiteY1" fmla="*/ 25717 h 25717"/>
                    <a:gd name="connsiteX2" fmla="*/ 1794 w 59627"/>
                    <a:gd name="connsiteY2" fmla="*/ 4785 h 25717"/>
                    <a:gd name="connsiteX3" fmla="*/ 0 w 59627"/>
                    <a:gd name="connsiteY3" fmla="*/ 0 h 25717"/>
                  </a:gdLst>
                  <a:ahLst/>
                  <a:cxnLst>
                    <a:cxn ang="0">
                      <a:pos x="connsiteX0" y="connsiteY0"/>
                    </a:cxn>
                    <a:cxn ang="0">
                      <a:pos x="connsiteX1" y="connsiteY1"/>
                    </a:cxn>
                    <a:cxn ang="0">
                      <a:pos x="connsiteX2" y="connsiteY2"/>
                    </a:cxn>
                    <a:cxn ang="0">
                      <a:pos x="connsiteX3" y="connsiteY3"/>
                    </a:cxn>
                  </a:cxnLst>
                  <a:rect l="l" t="t" r="r" b="b"/>
                  <a:pathLst>
                    <a:path w="59627" h="25717">
                      <a:moveTo>
                        <a:pt x="57893" y="20933"/>
                      </a:moveTo>
                      <a:lnTo>
                        <a:pt x="59628" y="25717"/>
                      </a:lnTo>
                      <a:lnTo>
                        <a:pt x="1794" y="4785"/>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9215" name="Vrije vorm: vorm 9214">
                  <a:extLst>
                    <a:ext uri="{FF2B5EF4-FFF2-40B4-BE49-F238E27FC236}">
                      <a16:creationId xmlns:a16="http://schemas.microsoft.com/office/drawing/2014/main" id="{D1304C16-C39B-4A7B-9AFA-B5A90C01931A}"/>
                    </a:ext>
                  </a:extLst>
                </p:cNvPr>
                <p:cNvSpPr/>
                <p:nvPr/>
              </p:nvSpPr>
              <p:spPr>
                <a:xfrm>
                  <a:off x="4534005" y="2020746"/>
                  <a:ext cx="59567" cy="25776"/>
                </a:xfrm>
                <a:custGeom>
                  <a:avLst/>
                  <a:gdLst>
                    <a:gd name="connsiteX0" fmla="*/ 57833 w 59567"/>
                    <a:gd name="connsiteY0" fmla="*/ 20992 h 25776"/>
                    <a:gd name="connsiteX1" fmla="*/ 59568 w 59567"/>
                    <a:gd name="connsiteY1" fmla="*/ 25777 h 25776"/>
                    <a:gd name="connsiteX2" fmla="*/ 1734 w 59567"/>
                    <a:gd name="connsiteY2" fmla="*/ 4785 h 25776"/>
                    <a:gd name="connsiteX3" fmla="*/ 0 w 59567"/>
                    <a:gd name="connsiteY3" fmla="*/ 0 h 25776"/>
                  </a:gdLst>
                  <a:ahLst/>
                  <a:cxnLst>
                    <a:cxn ang="0">
                      <a:pos x="connsiteX0" y="connsiteY0"/>
                    </a:cxn>
                    <a:cxn ang="0">
                      <a:pos x="connsiteX1" y="connsiteY1"/>
                    </a:cxn>
                    <a:cxn ang="0">
                      <a:pos x="connsiteX2" y="connsiteY2"/>
                    </a:cxn>
                    <a:cxn ang="0">
                      <a:pos x="connsiteX3" y="connsiteY3"/>
                    </a:cxn>
                  </a:cxnLst>
                  <a:rect l="l" t="t" r="r" b="b"/>
                  <a:pathLst>
                    <a:path w="59567" h="25776">
                      <a:moveTo>
                        <a:pt x="57833" y="20992"/>
                      </a:moveTo>
                      <a:lnTo>
                        <a:pt x="59568" y="25777"/>
                      </a:lnTo>
                      <a:lnTo>
                        <a:pt x="1734" y="4785"/>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9216" name="Vrije vorm: vorm 9215">
                  <a:extLst>
                    <a:ext uri="{FF2B5EF4-FFF2-40B4-BE49-F238E27FC236}">
                      <a16:creationId xmlns:a16="http://schemas.microsoft.com/office/drawing/2014/main" id="{0CB00814-B329-4A04-A1EA-6DFA8606BC65}"/>
                    </a:ext>
                  </a:extLst>
                </p:cNvPr>
                <p:cNvSpPr/>
                <p:nvPr/>
              </p:nvSpPr>
              <p:spPr>
                <a:xfrm>
                  <a:off x="4541122" y="2040244"/>
                  <a:ext cx="59567" cy="25717"/>
                </a:xfrm>
                <a:custGeom>
                  <a:avLst/>
                  <a:gdLst>
                    <a:gd name="connsiteX0" fmla="*/ 57833 w 59567"/>
                    <a:gd name="connsiteY0" fmla="*/ 20933 h 25717"/>
                    <a:gd name="connsiteX1" fmla="*/ 59568 w 59567"/>
                    <a:gd name="connsiteY1" fmla="*/ 25717 h 25717"/>
                    <a:gd name="connsiteX2" fmla="*/ 1734 w 59567"/>
                    <a:gd name="connsiteY2" fmla="*/ 4785 h 25717"/>
                    <a:gd name="connsiteX3" fmla="*/ 0 w 59567"/>
                    <a:gd name="connsiteY3" fmla="*/ 0 h 25717"/>
                  </a:gdLst>
                  <a:ahLst/>
                  <a:cxnLst>
                    <a:cxn ang="0">
                      <a:pos x="connsiteX0" y="connsiteY0"/>
                    </a:cxn>
                    <a:cxn ang="0">
                      <a:pos x="connsiteX1" y="connsiteY1"/>
                    </a:cxn>
                    <a:cxn ang="0">
                      <a:pos x="connsiteX2" y="connsiteY2"/>
                    </a:cxn>
                    <a:cxn ang="0">
                      <a:pos x="connsiteX3" y="connsiteY3"/>
                    </a:cxn>
                  </a:cxnLst>
                  <a:rect l="l" t="t" r="r" b="b"/>
                  <a:pathLst>
                    <a:path w="59567" h="25717">
                      <a:moveTo>
                        <a:pt x="57833" y="20933"/>
                      </a:moveTo>
                      <a:lnTo>
                        <a:pt x="59568" y="25717"/>
                      </a:lnTo>
                      <a:lnTo>
                        <a:pt x="1734" y="4785"/>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9217" name="Vrije vorm: vorm 9216">
                  <a:extLst>
                    <a:ext uri="{FF2B5EF4-FFF2-40B4-BE49-F238E27FC236}">
                      <a16:creationId xmlns:a16="http://schemas.microsoft.com/office/drawing/2014/main" id="{8EC26EF2-3E26-4430-B8E4-6F35F4B8B7F7}"/>
                    </a:ext>
                  </a:extLst>
                </p:cNvPr>
                <p:cNvSpPr/>
                <p:nvPr/>
              </p:nvSpPr>
              <p:spPr>
                <a:xfrm>
                  <a:off x="4548179" y="2059681"/>
                  <a:ext cx="59627" cy="25717"/>
                </a:xfrm>
                <a:custGeom>
                  <a:avLst/>
                  <a:gdLst>
                    <a:gd name="connsiteX0" fmla="*/ 57893 w 59627"/>
                    <a:gd name="connsiteY0" fmla="*/ 20933 h 25717"/>
                    <a:gd name="connsiteX1" fmla="*/ 59628 w 59627"/>
                    <a:gd name="connsiteY1" fmla="*/ 25717 h 25717"/>
                    <a:gd name="connsiteX2" fmla="*/ 1794 w 59627"/>
                    <a:gd name="connsiteY2" fmla="*/ 4785 h 25717"/>
                    <a:gd name="connsiteX3" fmla="*/ 0 w 59627"/>
                    <a:gd name="connsiteY3" fmla="*/ 0 h 25717"/>
                  </a:gdLst>
                  <a:ahLst/>
                  <a:cxnLst>
                    <a:cxn ang="0">
                      <a:pos x="connsiteX0" y="connsiteY0"/>
                    </a:cxn>
                    <a:cxn ang="0">
                      <a:pos x="connsiteX1" y="connsiteY1"/>
                    </a:cxn>
                    <a:cxn ang="0">
                      <a:pos x="connsiteX2" y="connsiteY2"/>
                    </a:cxn>
                    <a:cxn ang="0">
                      <a:pos x="connsiteX3" y="connsiteY3"/>
                    </a:cxn>
                  </a:cxnLst>
                  <a:rect l="l" t="t" r="r" b="b"/>
                  <a:pathLst>
                    <a:path w="59627" h="25717">
                      <a:moveTo>
                        <a:pt x="57893" y="20933"/>
                      </a:moveTo>
                      <a:lnTo>
                        <a:pt x="59628" y="25717"/>
                      </a:lnTo>
                      <a:lnTo>
                        <a:pt x="1794" y="4785"/>
                      </a:lnTo>
                      <a:lnTo>
                        <a:pt x="0" y="0"/>
                      </a:lnTo>
                      <a:close/>
                    </a:path>
                  </a:pathLst>
                </a:custGeom>
                <a:grpFill/>
                <a:ln w="6350" cap="flat">
                  <a:solidFill>
                    <a:schemeClr val="bg1">
                      <a:alpha val="40000"/>
                    </a:schemeClr>
                  </a:solidFill>
                  <a:prstDash val="solid"/>
                  <a:miter/>
                </a:ln>
              </p:spPr>
              <p:txBody>
                <a:bodyPr rtlCol="0" anchor="ctr"/>
                <a:lstStyle/>
                <a:p>
                  <a:endParaRPr lang="en-GB"/>
                </a:p>
              </p:txBody>
            </p:sp>
            <p:sp>
              <p:nvSpPr>
                <p:cNvPr id="9218" name="Vrije vorm: vorm 9217">
                  <a:extLst>
                    <a:ext uri="{FF2B5EF4-FFF2-40B4-BE49-F238E27FC236}">
                      <a16:creationId xmlns:a16="http://schemas.microsoft.com/office/drawing/2014/main" id="{E042555A-3DED-4D00-8A82-4C77CA501CD7}"/>
                    </a:ext>
                  </a:extLst>
                </p:cNvPr>
                <p:cNvSpPr/>
                <p:nvPr/>
              </p:nvSpPr>
              <p:spPr>
                <a:xfrm>
                  <a:off x="4502780" y="1953334"/>
                  <a:ext cx="5811" cy="7375"/>
                </a:xfrm>
                <a:custGeom>
                  <a:avLst/>
                  <a:gdLst>
                    <a:gd name="connsiteX0" fmla="*/ 5507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7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7" y="4615"/>
                      </a:moveTo>
                      <a:cubicBezTo>
                        <a:pt x="6225" y="6588"/>
                        <a:pt x="5627" y="7784"/>
                        <a:pt x="4192" y="7246"/>
                      </a:cubicBezTo>
                      <a:cubicBezTo>
                        <a:pt x="2756" y="6708"/>
                        <a:pt x="1022" y="4675"/>
                        <a:pt x="304" y="2761"/>
                      </a:cubicBezTo>
                      <a:cubicBezTo>
                        <a:pt x="-414" y="787"/>
                        <a:pt x="185" y="-409"/>
                        <a:pt x="1620" y="129"/>
                      </a:cubicBezTo>
                      <a:cubicBezTo>
                        <a:pt x="2995" y="667"/>
                        <a:pt x="4730" y="2641"/>
                        <a:pt x="5507" y="461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19" name="Vrije vorm: vorm 9218">
                  <a:extLst>
                    <a:ext uri="{FF2B5EF4-FFF2-40B4-BE49-F238E27FC236}">
                      <a16:creationId xmlns:a16="http://schemas.microsoft.com/office/drawing/2014/main" id="{DFBD46D7-BD21-45B4-A248-645FBDCEF129}"/>
                    </a:ext>
                  </a:extLst>
                </p:cNvPr>
                <p:cNvSpPr/>
                <p:nvPr/>
              </p:nvSpPr>
              <p:spPr>
                <a:xfrm>
                  <a:off x="4510675" y="1974984"/>
                  <a:ext cx="5811" cy="7375"/>
                </a:xfrm>
                <a:custGeom>
                  <a:avLst/>
                  <a:gdLst>
                    <a:gd name="connsiteX0" fmla="*/ 5507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7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7" y="4615"/>
                      </a:moveTo>
                      <a:cubicBezTo>
                        <a:pt x="6225" y="6588"/>
                        <a:pt x="5627" y="7784"/>
                        <a:pt x="4192" y="7246"/>
                      </a:cubicBezTo>
                      <a:cubicBezTo>
                        <a:pt x="2756" y="6708"/>
                        <a:pt x="1022" y="4674"/>
                        <a:pt x="304" y="2761"/>
                      </a:cubicBezTo>
                      <a:cubicBezTo>
                        <a:pt x="-414" y="787"/>
                        <a:pt x="185" y="-409"/>
                        <a:pt x="1620" y="129"/>
                      </a:cubicBezTo>
                      <a:cubicBezTo>
                        <a:pt x="2995" y="608"/>
                        <a:pt x="4790" y="2641"/>
                        <a:pt x="5507" y="461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20" name="Vrije vorm: vorm 9219">
                  <a:extLst>
                    <a:ext uri="{FF2B5EF4-FFF2-40B4-BE49-F238E27FC236}">
                      <a16:creationId xmlns:a16="http://schemas.microsoft.com/office/drawing/2014/main" id="{A189FF90-D67B-4DBB-B033-024FE7EFAF3C}"/>
                    </a:ext>
                  </a:extLst>
                </p:cNvPr>
                <p:cNvSpPr/>
                <p:nvPr/>
              </p:nvSpPr>
              <p:spPr>
                <a:xfrm>
                  <a:off x="4518808" y="1997352"/>
                  <a:ext cx="5811" cy="7375"/>
                </a:xfrm>
                <a:custGeom>
                  <a:avLst/>
                  <a:gdLst>
                    <a:gd name="connsiteX0" fmla="*/ 5508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8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8" y="4615"/>
                      </a:moveTo>
                      <a:cubicBezTo>
                        <a:pt x="6225" y="6588"/>
                        <a:pt x="5627" y="7784"/>
                        <a:pt x="4192" y="7246"/>
                      </a:cubicBezTo>
                      <a:cubicBezTo>
                        <a:pt x="2756" y="6708"/>
                        <a:pt x="1022" y="4675"/>
                        <a:pt x="304" y="2761"/>
                      </a:cubicBezTo>
                      <a:cubicBezTo>
                        <a:pt x="-414" y="787"/>
                        <a:pt x="185" y="-409"/>
                        <a:pt x="1620" y="129"/>
                      </a:cubicBezTo>
                      <a:cubicBezTo>
                        <a:pt x="3055" y="608"/>
                        <a:pt x="4790" y="2641"/>
                        <a:pt x="5508" y="461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21" name="Vrije vorm: vorm 9220">
                  <a:extLst>
                    <a:ext uri="{FF2B5EF4-FFF2-40B4-BE49-F238E27FC236}">
                      <a16:creationId xmlns:a16="http://schemas.microsoft.com/office/drawing/2014/main" id="{39110ADA-8BFF-45FE-BB22-0D0ABCAE2A6E}"/>
                    </a:ext>
                  </a:extLst>
                </p:cNvPr>
                <p:cNvSpPr/>
                <p:nvPr/>
              </p:nvSpPr>
              <p:spPr>
                <a:xfrm>
                  <a:off x="4526763" y="2018943"/>
                  <a:ext cx="5811" cy="7375"/>
                </a:xfrm>
                <a:custGeom>
                  <a:avLst/>
                  <a:gdLst>
                    <a:gd name="connsiteX0" fmla="*/ 5507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7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7" y="4615"/>
                      </a:moveTo>
                      <a:cubicBezTo>
                        <a:pt x="6225" y="6588"/>
                        <a:pt x="5627" y="7784"/>
                        <a:pt x="4192" y="7246"/>
                      </a:cubicBezTo>
                      <a:cubicBezTo>
                        <a:pt x="2756" y="6708"/>
                        <a:pt x="1022" y="4675"/>
                        <a:pt x="304" y="2761"/>
                      </a:cubicBezTo>
                      <a:cubicBezTo>
                        <a:pt x="-414" y="787"/>
                        <a:pt x="184" y="-409"/>
                        <a:pt x="1620" y="129"/>
                      </a:cubicBezTo>
                      <a:cubicBezTo>
                        <a:pt x="2996" y="667"/>
                        <a:pt x="4790" y="2701"/>
                        <a:pt x="5507" y="461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22" name="Vrije vorm: vorm 9221">
                  <a:extLst>
                    <a:ext uri="{FF2B5EF4-FFF2-40B4-BE49-F238E27FC236}">
                      <a16:creationId xmlns:a16="http://schemas.microsoft.com/office/drawing/2014/main" id="{0BF13905-F2AC-467C-9DF4-40AADFBBF3CD}"/>
                    </a:ext>
                  </a:extLst>
                </p:cNvPr>
                <p:cNvSpPr/>
                <p:nvPr/>
              </p:nvSpPr>
              <p:spPr>
                <a:xfrm>
                  <a:off x="4534119" y="2039217"/>
                  <a:ext cx="5811" cy="7375"/>
                </a:xfrm>
                <a:custGeom>
                  <a:avLst/>
                  <a:gdLst>
                    <a:gd name="connsiteX0" fmla="*/ 5508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8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8" y="4615"/>
                      </a:moveTo>
                      <a:cubicBezTo>
                        <a:pt x="6225" y="6588"/>
                        <a:pt x="5627" y="7784"/>
                        <a:pt x="4192" y="7246"/>
                      </a:cubicBezTo>
                      <a:cubicBezTo>
                        <a:pt x="2756" y="6708"/>
                        <a:pt x="1022" y="4675"/>
                        <a:pt x="304" y="2761"/>
                      </a:cubicBezTo>
                      <a:cubicBezTo>
                        <a:pt x="-414" y="787"/>
                        <a:pt x="185" y="-409"/>
                        <a:pt x="1620" y="129"/>
                      </a:cubicBezTo>
                      <a:cubicBezTo>
                        <a:pt x="3055" y="608"/>
                        <a:pt x="4790" y="2641"/>
                        <a:pt x="5508" y="461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23" name="Vrije vorm: vorm 9222">
                  <a:extLst>
                    <a:ext uri="{FF2B5EF4-FFF2-40B4-BE49-F238E27FC236}">
                      <a16:creationId xmlns:a16="http://schemas.microsoft.com/office/drawing/2014/main" id="{B637FF9B-F06C-4B56-AEF9-313162D3F2F1}"/>
                    </a:ext>
                  </a:extLst>
                </p:cNvPr>
                <p:cNvSpPr/>
                <p:nvPr/>
              </p:nvSpPr>
              <p:spPr>
                <a:xfrm>
                  <a:off x="4540937" y="2057877"/>
                  <a:ext cx="5811" cy="7375"/>
                </a:xfrm>
                <a:custGeom>
                  <a:avLst/>
                  <a:gdLst>
                    <a:gd name="connsiteX0" fmla="*/ 5507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7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7" y="4615"/>
                      </a:moveTo>
                      <a:cubicBezTo>
                        <a:pt x="6225" y="6588"/>
                        <a:pt x="5627" y="7784"/>
                        <a:pt x="4192" y="7246"/>
                      </a:cubicBezTo>
                      <a:cubicBezTo>
                        <a:pt x="2756" y="6708"/>
                        <a:pt x="1022" y="4674"/>
                        <a:pt x="304" y="2761"/>
                      </a:cubicBezTo>
                      <a:cubicBezTo>
                        <a:pt x="-414" y="787"/>
                        <a:pt x="185" y="-409"/>
                        <a:pt x="1620" y="129"/>
                      </a:cubicBezTo>
                      <a:cubicBezTo>
                        <a:pt x="3055" y="608"/>
                        <a:pt x="4790" y="2641"/>
                        <a:pt x="5507" y="4615"/>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055" name="Graphic 3">
                <a:extLst>
                  <a:ext uri="{FF2B5EF4-FFF2-40B4-BE49-F238E27FC236}">
                    <a16:creationId xmlns:a16="http://schemas.microsoft.com/office/drawing/2014/main" id="{E4D6E34C-D27A-480C-8D14-73C2A71DEC20}"/>
                  </a:ext>
                </a:extLst>
              </p:cNvPr>
              <p:cNvGrpSpPr/>
              <p:nvPr/>
            </p:nvGrpSpPr>
            <p:grpSpPr>
              <a:xfrm>
                <a:off x="6187173" y="1624732"/>
                <a:ext cx="33423" cy="119884"/>
                <a:chOff x="6187173" y="1624732"/>
                <a:chExt cx="33423" cy="119884"/>
              </a:xfrm>
              <a:grpFill/>
            </p:grpSpPr>
            <p:sp>
              <p:nvSpPr>
                <p:cNvPr id="9196" name="Vrije vorm: vorm 9195">
                  <a:extLst>
                    <a:ext uri="{FF2B5EF4-FFF2-40B4-BE49-F238E27FC236}">
                      <a16:creationId xmlns:a16="http://schemas.microsoft.com/office/drawing/2014/main" id="{8EAED8FB-6204-4A10-9C34-0FAD05D98D75}"/>
                    </a:ext>
                  </a:extLst>
                </p:cNvPr>
                <p:cNvSpPr/>
                <p:nvPr/>
              </p:nvSpPr>
              <p:spPr>
                <a:xfrm>
                  <a:off x="6187173" y="1646283"/>
                  <a:ext cx="33423" cy="48035"/>
                </a:xfrm>
                <a:custGeom>
                  <a:avLst/>
                  <a:gdLst>
                    <a:gd name="connsiteX0" fmla="*/ 5047 w 33423"/>
                    <a:gd name="connsiteY0" fmla="*/ 47916 h 48035"/>
                    <a:gd name="connsiteX1" fmla="*/ 1040 w 33423"/>
                    <a:gd name="connsiteY1" fmla="*/ 43610 h 48035"/>
                    <a:gd name="connsiteX2" fmla="*/ 861 w 33423"/>
                    <a:gd name="connsiteY2" fmla="*/ 29435 h 48035"/>
                    <a:gd name="connsiteX3" fmla="*/ 1638 w 33423"/>
                    <a:gd name="connsiteY3" fmla="*/ 23156 h 48035"/>
                    <a:gd name="connsiteX4" fmla="*/ 1817 w 33423"/>
                    <a:gd name="connsiteY4" fmla="*/ 17893 h 48035"/>
                    <a:gd name="connsiteX5" fmla="*/ 2954 w 33423"/>
                    <a:gd name="connsiteY5" fmla="*/ 6410 h 48035"/>
                    <a:gd name="connsiteX6" fmla="*/ 17248 w 33423"/>
                    <a:gd name="connsiteY6" fmla="*/ 10 h 48035"/>
                    <a:gd name="connsiteX7" fmla="*/ 32259 w 33423"/>
                    <a:gd name="connsiteY7" fmla="*/ 6470 h 48035"/>
                    <a:gd name="connsiteX8" fmla="*/ 33216 w 33423"/>
                    <a:gd name="connsiteY8" fmla="*/ 24830 h 48035"/>
                    <a:gd name="connsiteX9" fmla="*/ 33156 w 33423"/>
                    <a:gd name="connsiteY9" fmla="*/ 25787 h 48035"/>
                    <a:gd name="connsiteX10" fmla="*/ 31003 w 33423"/>
                    <a:gd name="connsiteY10" fmla="*/ 32007 h 48035"/>
                    <a:gd name="connsiteX11" fmla="*/ 26518 w 33423"/>
                    <a:gd name="connsiteY11" fmla="*/ 31888 h 48035"/>
                    <a:gd name="connsiteX12" fmla="*/ 14616 w 33423"/>
                    <a:gd name="connsiteY12" fmla="*/ 21541 h 48035"/>
                    <a:gd name="connsiteX13" fmla="*/ 12762 w 33423"/>
                    <a:gd name="connsiteY13" fmla="*/ 16697 h 48035"/>
                    <a:gd name="connsiteX14" fmla="*/ 13121 w 33423"/>
                    <a:gd name="connsiteY14" fmla="*/ 15859 h 48035"/>
                    <a:gd name="connsiteX15" fmla="*/ 14078 w 33423"/>
                    <a:gd name="connsiteY15" fmla="*/ 15680 h 48035"/>
                    <a:gd name="connsiteX16" fmla="*/ 17068 w 33423"/>
                    <a:gd name="connsiteY16" fmla="*/ 15919 h 48035"/>
                    <a:gd name="connsiteX17" fmla="*/ 20298 w 33423"/>
                    <a:gd name="connsiteY17" fmla="*/ 14783 h 48035"/>
                    <a:gd name="connsiteX18" fmla="*/ 21554 w 33423"/>
                    <a:gd name="connsiteY18" fmla="*/ 15740 h 48035"/>
                    <a:gd name="connsiteX19" fmla="*/ 22092 w 33423"/>
                    <a:gd name="connsiteY19" fmla="*/ 17654 h 48035"/>
                    <a:gd name="connsiteX20" fmla="*/ 23109 w 33423"/>
                    <a:gd name="connsiteY20" fmla="*/ 20644 h 48035"/>
                    <a:gd name="connsiteX21" fmla="*/ 27714 w 33423"/>
                    <a:gd name="connsiteY21" fmla="*/ 23993 h 48035"/>
                    <a:gd name="connsiteX22" fmla="*/ 28133 w 33423"/>
                    <a:gd name="connsiteY22" fmla="*/ 25249 h 48035"/>
                    <a:gd name="connsiteX23" fmla="*/ 26757 w 33423"/>
                    <a:gd name="connsiteY23" fmla="*/ 25608 h 48035"/>
                    <a:gd name="connsiteX24" fmla="*/ 21614 w 33423"/>
                    <a:gd name="connsiteY24" fmla="*/ 21900 h 48035"/>
                    <a:gd name="connsiteX25" fmla="*/ 20059 w 33423"/>
                    <a:gd name="connsiteY25" fmla="*/ 17953 h 48035"/>
                    <a:gd name="connsiteX26" fmla="*/ 19760 w 33423"/>
                    <a:gd name="connsiteY26" fmla="*/ 16637 h 48035"/>
                    <a:gd name="connsiteX27" fmla="*/ 18384 w 33423"/>
                    <a:gd name="connsiteY27" fmla="*/ 17414 h 48035"/>
                    <a:gd name="connsiteX28" fmla="*/ 15214 w 33423"/>
                    <a:gd name="connsiteY28" fmla="*/ 17833 h 48035"/>
                    <a:gd name="connsiteX29" fmla="*/ 16470 w 33423"/>
                    <a:gd name="connsiteY29" fmla="*/ 20704 h 48035"/>
                    <a:gd name="connsiteX30" fmla="*/ 27295 w 33423"/>
                    <a:gd name="connsiteY30" fmla="*/ 30153 h 48035"/>
                    <a:gd name="connsiteX31" fmla="*/ 29927 w 33423"/>
                    <a:gd name="connsiteY31" fmla="*/ 30452 h 48035"/>
                    <a:gd name="connsiteX32" fmla="*/ 31123 w 33423"/>
                    <a:gd name="connsiteY32" fmla="*/ 25727 h 48035"/>
                    <a:gd name="connsiteX33" fmla="*/ 31183 w 33423"/>
                    <a:gd name="connsiteY33" fmla="*/ 24711 h 48035"/>
                    <a:gd name="connsiteX34" fmla="*/ 30286 w 33423"/>
                    <a:gd name="connsiteY34" fmla="*/ 7008 h 48035"/>
                    <a:gd name="connsiteX35" fmla="*/ 17248 w 33423"/>
                    <a:gd name="connsiteY35" fmla="*/ 1924 h 48035"/>
                    <a:gd name="connsiteX36" fmla="*/ 4987 w 33423"/>
                    <a:gd name="connsiteY36" fmla="*/ 6948 h 48035"/>
                    <a:gd name="connsiteX37" fmla="*/ 3970 w 33423"/>
                    <a:gd name="connsiteY37" fmla="*/ 17953 h 48035"/>
                    <a:gd name="connsiteX38" fmla="*/ 3791 w 33423"/>
                    <a:gd name="connsiteY38" fmla="*/ 23335 h 48035"/>
                    <a:gd name="connsiteX39" fmla="*/ 3014 w 33423"/>
                    <a:gd name="connsiteY39" fmla="*/ 29735 h 48035"/>
                    <a:gd name="connsiteX40" fmla="*/ 3014 w 33423"/>
                    <a:gd name="connsiteY40" fmla="*/ 42892 h 48035"/>
                    <a:gd name="connsiteX41" fmla="*/ 5406 w 33423"/>
                    <a:gd name="connsiteY41" fmla="*/ 46182 h 48035"/>
                    <a:gd name="connsiteX42" fmla="*/ 6243 w 33423"/>
                    <a:gd name="connsiteY42" fmla="*/ 46959 h 48035"/>
                    <a:gd name="connsiteX43" fmla="*/ 5346 w 33423"/>
                    <a:gd name="connsiteY43" fmla="*/ 48036 h 48035"/>
                    <a:gd name="connsiteX44" fmla="*/ 5047 w 33423"/>
                    <a:gd name="connsiteY44" fmla="*/ 47916 h 48035"/>
                    <a:gd name="connsiteX45" fmla="*/ 5286 w 33423"/>
                    <a:gd name="connsiteY45" fmla="*/ 46122 h 48035"/>
                    <a:gd name="connsiteX46" fmla="*/ 5286 w 33423"/>
                    <a:gd name="connsiteY46" fmla="*/ 46122 h 48035"/>
                    <a:gd name="connsiteX47" fmla="*/ 5286 w 33423"/>
                    <a:gd name="connsiteY47" fmla="*/ 46122 h 48035"/>
                    <a:gd name="connsiteX48" fmla="*/ 4927 w 33423"/>
                    <a:gd name="connsiteY48" fmla="*/ 46062 h 48035"/>
                    <a:gd name="connsiteX49" fmla="*/ 4927 w 33423"/>
                    <a:gd name="connsiteY49" fmla="*/ 46062 h 48035"/>
                    <a:gd name="connsiteX50" fmla="*/ 4927 w 33423"/>
                    <a:gd name="connsiteY50" fmla="*/ 46062 h 48035"/>
                    <a:gd name="connsiteX51" fmla="*/ 4927 w 33423"/>
                    <a:gd name="connsiteY51" fmla="*/ 46062 h 48035"/>
                    <a:gd name="connsiteX52" fmla="*/ 4927 w 33423"/>
                    <a:gd name="connsiteY52" fmla="*/ 46062 h 48035"/>
                    <a:gd name="connsiteX53" fmla="*/ 4927 w 33423"/>
                    <a:gd name="connsiteY53" fmla="*/ 46062 h 48035"/>
                    <a:gd name="connsiteX54" fmla="*/ 4927 w 33423"/>
                    <a:gd name="connsiteY54" fmla="*/ 46062 h 48035"/>
                    <a:gd name="connsiteX55" fmla="*/ 4927 w 33423"/>
                    <a:gd name="connsiteY55" fmla="*/ 46062 h 48035"/>
                    <a:gd name="connsiteX56" fmla="*/ 4927 w 33423"/>
                    <a:gd name="connsiteY56" fmla="*/ 46062 h 48035"/>
                    <a:gd name="connsiteX57" fmla="*/ 4927 w 33423"/>
                    <a:gd name="connsiteY57" fmla="*/ 46062 h 48035"/>
                    <a:gd name="connsiteX58" fmla="*/ 4927 w 33423"/>
                    <a:gd name="connsiteY58" fmla="*/ 46062 h 48035"/>
                    <a:gd name="connsiteX59" fmla="*/ 4927 w 33423"/>
                    <a:gd name="connsiteY59" fmla="*/ 46062 h 48035"/>
                    <a:gd name="connsiteX60" fmla="*/ 4927 w 33423"/>
                    <a:gd name="connsiteY60" fmla="*/ 46062 h 48035"/>
                    <a:gd name="connsiteX61" fmla="*/ 4927 w 33423"/>
                    <a:gd name="connsiteY61" fmla="*/ 46062 h 48035"/>
                    <a:gd name="connsiteX62" fmla="*/ 4927 w 33423"/>
                    <a:gd name="connsiteY62" fmla="*/ 46062 h 4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3423" h="48035">
                      <a:moveTo>
                        <a:pt x="5047" y="47916"/>
                      </a:moveTo>
                      <a:cubicBezTo>
                        <a:pt x="3910" y="47916"/>
                        <a:pt x="2595" y="46421"/>
                        <a:pt x="1040" y="43610"/>
                      </a:cubicBezTo>
                      <a:cubicBezTo>
                        <a:pt x="-635" y="40500"/>
                        <a:pt x="23" y="35356"/>
                        <a:pt x="861" y="29435"/>
                      </a:cubicBezTo>
                      <a:cubicBezTo>
                        <a:pt x="1160" y="27342"/>
                        <a:pt x="1399" y="25249"/>
                        <a:pt x="1638" y="23156"/>
                      </a:cubicBezTo>
                      <a:cubicBezTo>
                        <a:pt x="1758" y="21601"/>
                        <a:pt x="1817" y="19807"/>
                        <a:pt x="1817" y="17893"/>
                      </a:cubicBezTo>
                      <a:cubicBezTo>
                        <a:pt x="1877" y="14125"/>
                        <a:pt x="1937" y="9819"/>
                        <a:pt x="2954" y="6410"/>
                      </a:cubicBezTo>
                      <a:cubicBezTo>
                        <a:pt x="4270" y="1984"/>
                        <a:pt x="9114" y="-169"/>
                        <a:pt x="17248" y="10"/>
                      </a:cubicBezTo>
                      <a:cubicBezTo>
                        <a:pt x="21733" y="130"/>
                        <a:pt x="30645" y="1625"/>
                        <a:pt x="32259" y="6470"/>
                      </a:cubicBezTo>
                      <a:cubicBezTo>
                        <a:pt x="33695" y="10895"/>
                        <a:pt x="33515" y="20405"/>
                        <a:pt x="33216" y="24830"/>
                      </a:cubicBezTo>
                      <a:cubicBezTo>
                        <a:pt x="33216" y="25129"/>
                        <a:pt x="33156" y="25488"/>
                        <a:pt x="33156" y="25787"/>
                      </a:cubicBezTo>
                      <a:cubicBezTo>
                        <a:pt x="33037" y="28419"/>
                        <a:pt x="32857" y="30931"/>
                        <a:pt x="31003" y="32007"/>
                      </a:cubicBezTo>
                      <a:cubicBezTo>
                        <a:pt x="29867" y="32665"/>
                        <a:pt x="28432" y="32605"/>
                        <a:pt x="26518" y="31888"/>
                      </a:cubicBezTo>
                      <a:cubicBezTo>
                        <a:pt x="21195" y="29854"/>
                        <a:pt x="16291" y="24531"/>
                        <a:pt x="14616" y="21541"/>
                      </a:cubicBezTo>
                      <a:cubicBezTo>
                        <a:pt x="13061" y="18790"/>
                        <a:pt x="12762" y="16816"/>
                        <a:pt x="12762" y="16697"/>
                      </a:cubicBezTo>
                      <a:cubicBezTo>
                        <a:pt x="12702" y="16398"/>
                        <a:pt x="12822" y="16039"/>
                        <a:pt x="13121" y="15859"/>
                      </a:cubicBezTo>
                      <a:cubicBezTo>
                        <a:pt x="13360" y="15680"/>
                        <a:pt x="13779" y="15560"/>
                        <a:pt x="14078" y="15680"/>
                      </a:cubicBezTo>
                      <a:cubicBezTo>
                        <a:pt x="15274" y="16039"/>
                        <a:pt x="16769" y="16158"/>
                        <a:pt x="17068" y="15919"/>
                      </a:cubicBezTo>
                      <a:cubicBezTo>
                        <a:pt x="18444" y="14962"/>
                        <a:pt x="19461" y="14603"/>
                        <a:pt x="20298" y="14783"/>
                      </a:cubicBezTo>
                      <a:cubicBezTo>
                        <a:pt x="20836" y="14902"/>
                        <a:pt x="21255" y="15201"/>
                        <a:pt x="21554" y="15740"/>
                      </a:cubicBezTo>
                      <a:cubicBezTo>
                        <a:pt x="21793" y="16218"/>
                        <a:pt x="21913" y="16816"/>
                        <a:pt x="22092" y="17654"/>
                      </a:cubicBezTo>
                      <a:cubicBezTo>
                        <a:pt x="22331" y="18730"/>
                        <a:pt x="22571" y="20165"/>
                        <a:pt x="23109" y="20644"/>
                      </a:cubicBezTo>
                      <a:cubicBezTo>
                        <a:pt x="24245" y="21720"/>
                        <a:pt x="27176" y="23754"/>
                        <a:pt x="27714" y="23993"/>
                      </a:cubicBezTo>
                      <a:cubicBezTo>
                        <a:pt x="28193" y="24232"/>
                        <a:pt x="28432" y="24771"/>
                        <a:pt x="28133" y="25249"/>
                      </a:cubicBezTo>
                      <a:cubicBezTo>
                        <a:pt x="27893" y="25727"/>
                        <a:pt x="27235" y="25847"/>
                        <a:pt x="26757" y="25608"/>
                      </a:cubicBezTo>
                      <a:cubicBezTo>
                        <a:pt x="25920" y="25189"/>
                        <a:pt x="22810" y="23036"/>
                        <a:pt x="21614" y="21900"/>
                      </a:cubicBezTo>
                      <a:cubicBezTo>
                        <a:pt x="20657" y="21003"/>
                        <a:pt x="20298" y="19388"/>
                        <a:pt x="20059" y="17953"/>
                      </a:cubicBezTo>
                      <a:cubicBezTo>
                        <a:pt x="19939" y="17474"/>
                        <a:pt x="19879" y="16936"/>
                        <a:pt x="19760" y="16637"/>
                      </a:cubicBezTo>
                      <a:cubicBezTo>
                        <a:pt x="19580" y="16697"/>
                        <a:pt x="19102" y="16876"/>
                        <a:pt x="18384" y="17414"/>
                      </a:cubicBezTo>
                      <a:cubicBezTo>
                        <a:pt x="17547" y="18012"/>
                        <a:pt x="16291" y="18012"/>
                        <a:pt x="15214" y="17833"/>
                      </a:cubicBezTo>
                      <a:cubicBezTo>
                        <a:pt x="15454" y="18551"/>
                        <a:pt x="15872" y="19567"/>
                        <a:pt x="16470" y="20704"/>
                      </a:cubicBezTo>
                      <a:cubicBezTo>
                        <a:pt x="17786" y="23036"/>
                        <a:pt x="22271" y="28239"/>
                        <a:pt x="27295" y="30153"/>
                      </a:cubicBezTo>
                      <a:cubicBezTo>
                        <a:pt x="28133" y="30452"/>
                        <a:pt x="29269" y="30811"/>
                        <a:pt x="29927" y="30452"/>
                      </a:cubicBezTo>
                      <a:cubicBezTo>
                        <a:pt x="30884" y="29914"/>
                        <a:pt x="31003" y="27701"/>
                        <a:pt x="31123" y="25727"/>
                      </a:cubicBezTo>
                      <a:cubicBezTo>
                        <a:pt x="31123" y="25369"/>
                        <a:pt x="31183" y="25070"/>
                        <a:pt x="31183" y="24711"/>
                      </a:cubicBezTo>
                      <a:cubicBezTo>
                        <a:pt x="31482" y="20405"/>
                        <a:pt x="31661" y="11194"/>
                        <a:pt x="30286" y="7008"/>
                      </a:cubicBezTo>
                      <a:cubicBezTo>
                        <a:pt x="29149" y="3479"/>
                        <a:pt x="21673" y="1984"/>
                        <a:pt x="17248" y="1924"/>
                      </a:cubicBezTo>
                      <a:cubicBezTo>
                        <a:pt x="10191" y="1745"/>
                        <a:pt x="6064" y="3479"/>
                        <a:pt x="4987" y="6948"/>
                      </a:cubicBezTo>
                      <a:cubicBezTo>
                        <a:pt x="4030" y="10118"/>
                        <a:pt x="3970" y="14304"/>
                        <a:pt x="3970" y="17953"/>
                      </a:cubicBezTo>
                      <a:cubicBezTo>
                        <a:pt x="3970" y="19926"/>
                        <a:pt x="3910" y="21720"/>
                        <a:pt x="3791" y="23335"/>
                      </a:cubicBezTo>
                      <a:cubicBezTo>
                        <a:pt x="3612" y="25488"/>
                        <a:pt x="3313" y="27641"/>
                        <a:pt x="3014" y="29735"/>
                      </a:cubicBezTo>
                      <a:cubicBezTo>
                        <a:pt x="2296" y="35117"/>
                        <a:pt x="1578" y="40261"/>
                        <a:pt x="3014" y="42892"/>
                      </a:cubicBezTo>
                      <a:cubicBezTo>
                        <a:pt x="4449" y="45524"/>
                        <a:pt x="5226" y="46062"/>
                        <a:pt x="5406" y="46182"/>
                      </a:cubicBezTo>
                      <a:cubicBezTo>
                        <a:pt x="5824" y="46241"/>
                        <a:pt x="6183" y="46540"/>
                        <a:pt x="6243" y="46959"/>
                      </a:cubicBezTo>
                      <a:cubicBezTo>
                        <a:pt x="6303" y="47497"/>
                        <a:pt x="5944" y="47916"/>
                        <a:pt x="5346" y="48036"/>
                      </a:cubicBezTo>
                      <a:cubicBezTo>
                        <a:pt x="5167" y="47916"/>
                        <a:pt x="5107" y="47916"/>
                        <a:pt x="5047" y="47916"/>
                      </a:cubicBezTo>
                      <a:close/>
                      <a:moveTo>
                        <a:pt x="5286" y="46122"/>
                      </a:moveTo>
                      <a:lnTo>
                        <a:pt x="5286" y="46122"/>
                      </a:lnTo>
                      <a:lnTo>
                        <a:pt x="5286" y="46122"/>
                      </a:lnTo>
                      <a:close/>
                      <a:moveTo>
                        <a:pt x="4927" y="46062"/>
                      </a:moveTo>
                      <a:cubicBezTo>
                        <a:pt x="4927" y="46062"/>
                        <a:pt x="4927" y="46062"/>
                        <a:pt x="4927" y="46062"/>
                      </a:cubicBezTo>
                      <a:cubicBezTo>
                        <a:pt x="4927" y="46062"/>
                        <a:pt x="4927" y="46062"/>
                        <a:pt x="4927" y="46062"/>
                      </a:cubicBezTo>
                      <a:close/>
                      <a:moveTo>
                        <a:pt x="4927" y="46062"/>
                      </a:moveTo>
                      <a:cubicBezTo>
                        <a:pt x="4927" y="46062"/>
                        <a:pt x="4927" y="46062"/>
                        <a:pt x="4927" y="46062"/>
                      </a:cubicBezTo>
                      <a:cubicBezTo>
                        <a:pt x="4927" y="46062"/>
                        <a:pt x="4927" y="46062"/>
                        <a:pt x="4927" y="46062"/>
                      </a:cubicBezTo>
                      <a:close/>
                      <a:moveTo>
                        <a:pt x="4927" y="46062"/>
                      </a:moveTo>
                      <a:cubicBezTo>
                        <a:pt x="4927" y="46062"/>
                        <a:pt x="4927" y="46062"/>
                        <a:pt x="4927" y="46062"/>
                      </a:cubicBezTo>
                      <a:cubicBezTo>
                        <a:pt x="4927" y="46062"/>
                        <a:pt x="4927" y="46062"/>
                        <a:pt x="4927" y="46062"/>
                      </a:cubicBezTo>
                      <a:close/>
                      <a:moveTo>
                        <a:pt x="4927" y="46062"/>
                      </a:moveTo>
                      <a:cubicBezTo>
                        <a:pt x="4927" y="46062"/>
                        <a:pt x="4927" y="46062"/>
                        <a:pt x="4927" y="46062"/>
                      </a:cubicBezTo>
                      <a:cubicBezTo>
                        <a:pt x="4927" y="46062"/>
                        <a:pt x="4927" y="46062"/>
                        <a:pt x="4927" y="46062"/>
                      </a:cubicBezTo>
                      <a:close/>
                      <a:moveTo>
                        <a:pt x="4927" y="46062"/>
                      </a:moveTo>
                      <a:lnTo>
                        <a:pt x="4927" y="46062"/>
                      </a:lnTo>
                      <a:lnTo>
                        <a:pt x="4927" y="46062"/>
                      </a:lnTo>
                      <a:close/>
                    </a:path>
                  </a:pathLst>
                </a:custGeom>
                <a:grpFill/>
                <a:ln w="6350" cap="flat">
                  <a:solidFill>
                    <a:schemeClr val="bg1">
                      <a:alpha val="40000"/>
                    </a:schemeClr>
                  </a:solidFill>
                  <a:prstDash val="solid"/>
                  <a:miter/>
                </a:ln>
              </p:spPr>
              <p:txBody>
                <a:bodyPr rtlCol="0" anchor="ctr"/>
                <a:lstStyle/>
                <a:p>
                  <a:endParaRPr lang="en-GB"/>
                </a:p>
              </p:txBody>
            </p:sp>
            <p:sp>
              <p:nvSpPr>
                <p:cNvPr id="9197" name="Vrije vorm: vorm 9196">
                  <a:extLst>
                    <a:ext uri="{FF2B5EF4-FFF2-40B4-BE49-F238E27FC236}">
                      <a16:creationId xmlns:a16="http://schemas.microsoft.com/office/drawing/2014/main" id="{00D00A5E-8C0A-449B-BFA0-C724E4778199}"/>
                    </a:ext>
                  </a:extLst>
                </p:cNvPr>
                <p:cNvSpPr/>
                <p:nvPr/>
              </p:nvSpPr>
              <p:spPr>
                <a:xfrm>
                  <a:off x="6212434" y="1657836"/>
                  <a:ext cx="2257" cy="13636"/>
                </a:xfrm>
                <a:custGeom>
                  <a:avLst/>
                  <a:gdLst>
                    <a:gd name="connsiteX0" fmla="*/ 1017 w 2257"/>
                    <a:gd name="connsiteY0" fmla="*/ 13636 h 13636"/>
                    <a:gd name="connsiteX1" fmla="*/ 897 w 2257"/>
                    <a:gd name="connsiteY1" fmla="*/ 13636 h 13636"/>
                    <a:gd name="connsiteX2" fmla="*/ 60 w 2257"/>
                    <a:gd name="connsiteY2" fmla="*/ 12559 h 13636"/>
                    <a:gd name="connsiteX3" fmla="*/ 0 w 2257"/>
                    <a:gd name="connsiteY3" fmla="*/ 957 h 13636"/>
                    <a:gd name="connsiteX4" fmla="*/ 1017 w 2257"/>
                    <a:gd name="connsiteY4" fmla="*/ 0 h 13636"/>
                    <a:gd name="connsiteX5" fmla="*/ 2093 w 2257"/>
                    <a:gd name="connsiteY5" fmla="*/ 897 h 13636"/>
                    <a:gd name="connsiteX6" fmla="*/ 2153 w 2257"/>
                    <a:gd name="connsiteY6" fmla="*/ 12859 h 13636"/>
                    <a:gd name="connsiteX7" fmla="*/ 1017 w 2257"/>
                    <a:gd name="connsiteY7" fmla="*/ 13636 h 1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7" h="13636">
                      <a:moveTo>
                        <a:pt x="1017" y="13636"/>
                      </a:moveTo>
                      <a:cubicBezTo>
                        <a:pt x="957" y="13636"/>
                        <a:pt x="897" y="13636"/>
                        <a:pt x="897" y="13636"/>
                      </a:cubicBezTo>
                      <a:cubicBezTo>
                        <a:pt x="359" y="13576"/>
                        <a:pt x="-60" y="13098"/>
                        <a:pt x="60" y="12559"/>
                      </a:cubicBezTo>
                      <a:cubicBezTo>
                        <a:pt x="239" y="11662"/>
                        <a:pt x="120" y="4426"/>
                        <a:pt x="0" y="957"/>
                      </a:cubicBezTo>
                      <a:cubicBezTo>
                        <a:pt x="0" y="419"/>
                        <a:pt x="419" y="0"/>
                        <a:pt x="1017" y="0"/>
                      </a:cubicBezTo>
                      <a:cubicBezTo>
                        <a:pt x="1555" y="0"/>
                        <a:pt x="2034" y="419"/>
                        <a:pt x="2093" y="897"/>
                      </a:cubicBezTo>
                      <a:cubicBezTo>
                        <a:pt x="2153" y="3170"/>
                        <a:pt x="2392" y="11603"/>
                        <a:pt x="2153" y="12859"/>
                      </a:cubicBezTo>
                      <a:cubicBezTo>
                        <a:pt x="1974" y="13277"/>
                        <a:pt x="1495" y="13636"/>
                        <a:pt x="1017" y="1363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98" name="Vrije vorm: vorm 9197">
                  <a:extLst>
                    <a:ext uri="{FF2B5EF4-FFF2-40B4-BE49-F238E27FC236}">
                      <a16:creationId xmlns:a16="http://schemas.microsoft.com/office/drawing/2014/main" id="{926C2C33-7554-496E-926E-EDA2CA3FA525}"/>
                    </a:ext>
                  </a:extLst>
                </p:cNvPr>
                <p:cNvSpPr/>
                <p:nvPr/>
              </p:nvSpPr>
              <p:spPr>
                <a:xfrm>
                  <a:off x="6190773" y="1657956"/>
                  <a:ext cx="4800" cy="84866"/>
                </a:xfrm>
                <a:custGeom>
                  <a:avLst/>
                  <a:gdLst>
                    <a:gd name="connsiteX0" fmla="*/ 1985 w 4800"/>
                    <a:gd name="connsiteY0" fmla="*/ 84866 h 84866"/>
                    <a:gd name="connsiteX1" fmla="*/ 1028 w 4800"/>
                    <a:gd name="connsiteY1" fmla="*/ 84089 h 84866"/>
                    <a:gd name="connsiteX2" fmla="*/ 131 w 4800"/>
                    <a:gd name="connsiteY2" fmla="*/ 49819 h 84866"/>
                    <a:gd name="connsiteX3" fmla="*/ 669 w 4800"/>
                    <a:gd name="connsiteY3" fmla="*/ 41745 h 84866"/>
                    <a:gd name="connsiteX4" fmla="*/ 2105 w 4800"/>
                    <a:gd name="connsiteY4" fmla="*/ 19796 h 84866"/>
                    <a:gd name="connsiteX5" fmla="*/ 2762 w 4800"/>
                    <a:gd name="connsiteY5" fmla="*/ 957 h 84866"/>
                    <a:gd name="connsiteX6" fmla="*/ 3779 w 4800"/>
                    <a:gd name="connsiteY6" fmla="*/ 0 h 84866"/>
                    <a:gd name="connsiteX7" fmla="*/ 4796 w 4800"/>
                    <a:gd name="connsiteY7" fmla="*/ 897 h 84866"/>
                    <a:gd name="connsiteX8" fmla="*/ 4138 w 4800"/>
                    <a:gd name="connsiteY8" fmla="*/ 19916 h 84866"/>
                    <a:gd name="connsiteX9" fmla="*/ 2702 w 4800"/>
                    <a:gd name="connsiteY9" fmla="*/ 41865 h 84866"/>
                    <a:gd name="connsiteX10" fmla="*/ 2164 w 4800"/>
                    <a:gd name="connsiteY10" fmla="*/ 49939 h 84866"/>
                    <a:gd name="connsiteX11" fmla="*/ 3061 w 4800"/>
                    <a:gd name="connsiteY11" fmla="*/ 83790 h 84866"/>
                    <a:gd name="connsiteX12" fmla="*/ 2224 w 4800"/>
                    <a:gd name="connsiteY12" fmla="*/ 84866 h 84866"/>
                    <a:gd name="connsiteX13" fmla="*/ 1985 w 4800"/>
                    <a:gd name="connsiteY13" fmla="*/ 84866 h 8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00" h="84866">
                      <a:moveTo>
                        <a:pt x="1985" y="84866"/>
                      </a:moveTo>
                      <a:cubicBezTo>
                        <a:pt x="1506" y="84866"/>
                        <a:pt x="1088" y="84508"/>
                        <a:pt x="1028" y="84089"/>
                      </a:cubicBezTo>
                      <a:cubicBezTo>
                        <a:pt x="11" y="78168"/>
                        <a:pt x="-168" y="53946"/>
                        <a:pt x="131" y="49819"/>
                      </a:cubicBezTo>
                      <a:cubicBezTo>
                        <a:pt x="191" y="48504"/>
                        <a:pt x="430" y="45453"/>
                        <a:pt x="669" y="41745"/>
                      </a:cubicBezTo>
                      <a:cubicBezTo>
                        <a:pt x="1207" y="33432"/>
                        <a:pt x="1925" y="22009"/>
                        <a:pt x="2105" y="19796"/>
                      </a:cubicBezTo>
                      <a:cubicBezTo>
                        <a:pt x="2344" y="16746"/>
                        <a:pt x="2762" y="5861"/>
                        <a:pt x="2762" y="957"/>
                      </a:cubicBezTo>
                      <a:cubicBezTo>
                        <a:pt x="2762" y="419"/>
                        <a:pt x="3181" y="0"/>
                        <a:pt x="3779" y="0"/>
                      </a:cubicBezTo>
                      <a:cubicBezTo>
                        <a:pt x="4317" y="0"/>
                        <a:pt x="4796" y="419"/>
                        <a:pt x="4796" y="897"/>
                      </a:cubicBezTo>
                      <a:cubicBezTo>
                        <a:pt x="4855" y="5861"/>
                        <a:pt x="4377" y="16806"/>
                        <a:pt x="4138" y="19916"/>
                      </a:cubicBezTo>
                      <a:cubicBezTo>
                        <a:pt x="3959" y="22129"/>
                        <a:pt x="3241" y="33552"/>
                        <a:pt x="2702" y="41865"/>
                      </a:cubicBezTo>
                      <a:cubicBezTo>
                        <a:pt x="2463" y="45573"/>
                        <a:pt x="2284" y="48683"/>
                        <a:pt x="2164" y="49939"/>
                      </a:cubicBezTo>
                      <a:cubicBezTo>
                        <a:pt x="1865" y="54305"/>
                        <a:pt x="2105" y="78288"/>
                        <a:pt x="3061" y="83790"/>
                      </a:cubicBezTo>
                      <a:cubicBezTo>
                        <a:pt x="3121" y="84268"/>
                        <a:pt x="2762" y="84747"/>
                        <a:pt x="2224" y="84866"/>
                      </a:cubicBezTo>
                      <a:cubicBezTo>
                        <a:pt x="2105" y="84866"/>
                        <a:pt x="2045" y="84866"/>
                        <a:pt x="1985" y="8486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99" name="Vrije vorm: vorm 9198">
                  <a:extLst>
                    <a:ext uri="{FF2B5EF4-FFF2-40B4-BE49-F238E27FC236}">
                      <a16:creationId xmlns:a16="http://schemas.microsoft.com/office/drawing/2014/main" id="{555618F0-933F-4B38-904E-2BCEC0447F5E}"/>
                    </a:ext>
                  </a:extLst>
                </p:cNvPr>
                <p:cNvSpPr/>
                <p:nvPr/>
              </p:nvSpPr>
              <p:spPr>
                <a:xfrm>
                  <a:off x="6187489" y="1689415"/>
                  <a:ext cx="29848" cy="55201"/>
                </a:xfrm>
                <a:custGeom>
                  <a:avLst/>
                  <a:gdLst>
                    <a:gd name="connsiteX0" fmla="*/ 1022 w 29848"/>
                    <a:gd name="connsiteY0" fmla="*/ 54544 h 55201"/>
                    <a:gd name="connsiteX1" fmla="*/ 6 w 29848"/>
                    <a:gd name="connsiteY1" fmla="*/ 53707 h 55201"/>
                    <a:gd name="connsiteX2" fmla="*/ 903 w 29848"/>
                    <a:gd name="connsiteY2" fmla="*/ 52690 h 55201"/>
                    <a:gd name="connsiteX3" fmla="*/ 6465 w 29848"/>
                    <a:gd name="connsiteY3" fmla="*/ 52212 h 55201"/>
                    <a:gd name="connsiteX4" fmla="*/ 11070 w 29848"/>
                    <a:gd name="connsiteY4" fmla="*/ 51255 h 55201"/>
                    <a:gd name="connsiteX5" fmla="*/ 12027 w 29848"/>
                    <a:gd name="connsiteY5" fmla="*/ 26255 h 55201"/>
                    <a:gd name="connsiteX6" fmla="*/ 12565 w 29848"/>
                    <a:gd name="connsiteY6" fmla="*/ 11483 h 55201"/>
                    <a:gd name="connsiteX7" fmla="*/ 12984 w 29848"/>
                    <a:gd name="connsiteY7" fmla="*/ 1017 h 55201"/>
                    <a:gd name="connsiteX8" fmla="*/ 13283 w 29848"/>
                    <a:gd name="connsiteY8" fmla="*/ 359 h 55201"/>
                    <a:gd name="connsiteX9" fmla="*/ 14001 w 29848"/>
                    <a:gd name="connsiteY9" fmla="*/ 60 h 55201"/>
                    <a:gd name="connsiteX10" fmla="*/ 18127 w 29848"/>
                    <a:gd name="connsiteY10" fmla="*/ 0 h 55201"/>
                    <a:gd name="connsiteX11" fmla="*/ 18845 w 29848"/>
                    <a:gd name="connsiteY11" fmla="*/ 239 h 55201"/>
                    <a:gd name="connsiteX12" fmla="*/ 19144 w 29848"/>
                    <a:gd name="connsiteY12" fmla="*/ 897 h 55201"/>
                    <a:gd name="connsiteX13" fmla="*/ 19323 w 29848"/>
                    <a:gd name="connsiteY13" fmla="*/ 20454 h 55201"/>
                    <a:gd name="connsiteX14" fmla="*/ 18486 w 29848"/>
                    <a:gd name="connsiteY14" fmla="*/ 50657 h 55201"/>
                    <a:gd name="connsiteX15" fmla="*/ 18426 w 29848"/>
                    <a:gd name="connsiteY15" fmla="*/ 51853 h 55201"/>
                    <a:gd name="connsiteX16" fmla="*/ 29192 w 29848"/>
                    <a:gd name="connsiteY16" fmla="*/ 53408 h 55201"/>
                    <a:gd name="connsiteX17" fmla="*/ 29790 w 29848"/>
                    <a:gd name="connsiteY17" fmla="*/ 54604 h 55201"/>
                    <a:gd name="connsiteX18" fmla="*/ 28474 w 29848"/>
                    <a:gd name="connsiteY18" fmla="*/ 55142 h 55201"/>
                    <a:gd name="connsiteX19" fmla="*/ 17290 w 29848"/>
                    <a:gd name="connsiteY19" fmla="*/ 53647 h 55201"/>
                    <a:gd name="connsiteX20" fmla="*/ 16333 w 29848"/>
                    <a:gd name="connsiteY20" fmla="*/ 52690 h 55201"/>
                    <a:gd name="connsiteX21" fmla="*/ 16393 w 29848"/>
                    <a:gd name="connsiteY21" fmla="*/ 50657 h 55201"/>
                    <a:gd name="connsiteX22" fmla="*/ 17230 w 29848"/>
                    <a:gd name="connsiteY22" fmla="*/ 20514 h 55201"/>
                    <a:gd name="connsiteX23" fmla="*/ 17051 w 29848"/>
                    <a:gd name="connsiteY23" fmla="*/ 1914 h 55201"/>
                    <a:gd name="connsiteX24" fmla="*/ 15017 w 29848"/>
                    <a:gd name="connsiteY24" fmla="*/ 1914 h 55201"/>
                    <a:gd name="connsiteX25" fmla="*/ 14599 w 29848"/>
                    <a:gd name="connsiteY25" fmla="*/ 11603 h 55201"/>
                    <a:gd name="connsiteX26" fmla="*/ 14060 w 29848"/>
                    <a:gd name="connsiteY26" fmla="*/ 26255 h 55201"/>
                    <a:gd name="connsiteX27" fmla="*/ 12685 w 29848"/>
                    <a:gd name="connsiteY27" fmla="*/ 52451 h 55201"/>
                    <a:gd name="connsiteX28" fmla="*/ 12266 w 29848"/>
                    <a:gd name="connsiteY28" fmla="*/ 52750 h 55201"/>
                    <a:gd name="connsiteX29" fmla="*/ 6644 w 29848"/>
                    <a:gd name="connsiteY29" fmla="*/ 54006 h 55201"/>
                    <a:gd name="connsiteX30" fmla="*/ 1082 w 29848"/>
                    <a:gd name="connsiteY30" fmla="*/ 54484 h 55201"/>
                    <a:gd name="connsiteX31" fmla="*/ 1022 w 29848"/>
                    <a:gd name="connsiteY31" fmla="*/ 54544 h 5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848" h="55201">
                      <a:moveTo>
                        <a:pt x="1022" y="54544"/>
                      </a:moveTo>
                      <a:cubicBezTo>
                        <a:pt x="544" y="54544"/>
                        <a:pt x="66" y="54185"/>
                        <a:pt x="6" y="53707"/>
                      </a:cubicBezTo>
                      <a:cubicBezTo>
                        <a:pt x="-54" y="53169"/>
                        <a:pt x="365" y="52750"/>
                        <a:pt x="903" y="52690"/>
                      </a:cubicBezTo>
                      <a:cubicBezTo>
                        <a:pt x="903" y="52690"/>
                        <a:pt x="3235" y="52451"/>
                        <a:pt x="6465" y="52212"/>
                      </a:cubicBezTo>
                      <a:cubicBezTo>
                        <a:pt x="8798" y="52032"/>
                        <a:pt x="10412" y="51494"/>
                        <a:pt x="11070" y="51255"/>
                      </a:cubicBezTo>
                      <a:cubicBezTo>
                        <a:pt x="11728" y="49042"/>
                        <a:pt x="12027" y="35585"/>
                        <a:pt x="12027" y="26255"/>
                      </a:cubicBezTo>
                      <a:cubicBezTo>
                        <a:pt x="12027" y="22906"/>
                        <a:pt x="12326" y="16866"/>
                        <a:pt x="12565" y="11483"/>
                      </a:cubicBezTo>
                      <a:cubicBezTo>
                        <a:pt x="12805" y="6878"/>
                        <a:pt x="12984" y="2512"/>
                        <a:pt x="12984" y="1017"/>
                      </a:cubicBezTo>
                      <a:cubicBezTo>
                        <a:pt x="12984" y="778"/>
                        <a:pt x="13104" y="538"/>
                        <a:pt x="13283" y="359"/>
                      </a:cubicBezTo>
                      <a:cubicBezTo>
                        <a:pt x="13462" y="179"/>
                        <a:pt x="13701" y="60"/>
                        <a:pt x="14001" y="60"/>
                      </a:cubicBezTo>
                      <a:lnTo>
                        <a:pt x="18127" y="0"/>
                      </a:lnTo>
                      <a:cubicBezTo>
                        <a:pt x="18426" y="0"/>
                        <a:pt x="18666" y="120"/>
                        <a:pt x="18845" y="239"/>
                      </a:cubicBezTo>
                      <a:cubicBezTo>
                        <a:pt x="19024" y="419"/>
                        <a:pt x="19144" y="658"/>
                        <a:pt x="19144" y="897"/>
                      </a:cubicBezTo>
                      <a:cubicBezTo>
                        <a:pt x="19144" y="897"/>
                        <a:pt x="19264" y="15969"/>
                        <a:pt x="19323" y="20454"/>
                      </a:cubicBezTo>
                      <a:cubicBezTo>
                        <a:pt x="19383" y="24401"/>
                        <a:pt x="18725" y="44198"/>
                        <a:pt x="18486" y="50657"/>
                      </a:cubicBezTo>
                      <a:lnTo>
                        <a:pt x="18426" y="51853"/>
                      </a:lnTo>
                      <a:cubicBezTo>
                        <a:pt x="20938" y="52032"/>
                        <a:pt x="27039" y="52630"/>
                        <a:pt x="29192" y="53408"/>
                      </a:cubicBezTo>
                      <a:cubicBezTo>
                        <a:pt x="29730" y="53587"/>
                        <a:pt x="29969" y="54126"/>
                        <a:pt x="29790" y="54604"/>
                      </a:cubicBezTo>
                      <a:cubicBezTo>
                        <a:pt x="29610" y="55082"/>
                        <a:pt x="29012" y="55322"/>
                        <a:pt x="28474" y="55142"/>
                      </a:cubicBezTo>
                      <a:cubicBezTo>
                        <a:pt x="26560" y="54484"/>
                        <a:pt x="19742" y="53826"/>
                        <a:pt x="17290" y="53647"/>
                      </a:cubicBezTo>
                      <a:cubicBezTo>
                        <a:pt x="16752" y="53587"/>
                        <a:pt x="16333" y="53169"/>
                        <a:pt x="16333" y="52690"/>
                      </a:cubicBezTo>
                      <a:lnTo>
                        <a:pt x="16393" y="50657"/>
                      </a:lnTo>
                      <a:cubicBezTo>
                        <a:pt x="16632" y="44138"/>
                        <a:pt x="17290" y="24401"/>
                        <a:pt x="17230" y="20514"/>
                      </a:cubicBezTo>
                      <a:cubicBezTo>
                        <a:pt x="17170" y="16686"/>
                        <a:pt x="17051" y="5263"/>
                        <a:pt x="17051" y="1914"/>
                      </a:cubicBezTo>
                      <a:lnTo>
                        <a:pt x="15017" y="1914"/>
                      </a:lnTo>
                      <a:cubicBezTo>
                        <a:pt x="15017" y="3887"/>
                        <a:pt x="14838" y="7476"/>
                        <a:pt x="14599" y="11603"/>
                      </a:cubicBezTo>
                      <a:cubicBezTo>
                        <a:pt x="14360" y="16925"/>
                        <a:pt x="14060" y="23026"/>
                        <a:pt x="14060" y="26255"/>
                      </a:cubicBezTo>
                      <a:cubicBezTo>
                        <a:pt x="14060" y="28707"/>
                        <a:pt x="14120" y="50537"/>
                        <a:pt x="12685" y="52451"/>
                      </a:cubicBezTo>
                      <a:cubicBezTo>
                        <a:pt x="12565" y="52571"/>
                        <a:pt x="12446" y="52690"/>
                        <a:pt x="12266" y="52750"/>
                      </a:cubicBezTo>
                      <a:cubicBezTo>
                        <a:pt x="12206" y="52810"/>
                        <a:pt x="10053" y="53707"/>
                        <a:pt x="6644" y="54006"/>
                      </a:cubicBezTo>
                      <a:cubicBezTo>
                        <a:pt x="3415" y="54245"/>
                        <a:pt x="1142" y="54484"/>
                        <a:pt x="1082" y="54484"/>
                      </a:cubicBezTo>
                      <a:cubicBezTo>
                        <a:pt x="1142" y="54544"/>
                        <a:pt x="1082" y="54544"/>
                        <a:pt x="1022" y="5454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00" name="Vrije vorm: vorm 9199">
                  <a:extLst>
                    <a:ext uri="{FF2B5EF4-FFF2-40B4-BE49-F238E27FC236}">
                      <a16:creationId xmlns:a16="http://schemas.microsoft.com/office/drawing/2014/main" id="{C1801CC2-D47E-49BA-90A1-5A94E6B2E019}"/>
                    </a:ext>
                  </a:extLst>
                </p:cNvPr>
                <p:cNvSpPr/>
                <p:nvPr/>
              </p:nvSpPr>
              <p:spPr>
                <a:xfrm>
                  <a:off x="6212190" y="1676197"/>
                  <a:ext cx="3247" cy="67110"/>
                </a:xfrm>
                <a:custGeom>
                  <a:avLst/>
                  <a:gdLst>
                    <a:gd name="connsiteX0" fmla="*/ 962 w 3247"/>
                    <a:gd name="connsiteY0" fmla="*/ 67104 h 67110"/>
                    <a:gd name="connsiteX1" fmla="*/ 903 w 3247"/>
                    <a:gd name="connsiteY1" fmla="*/ 67104 h 67110"/>
                    <a:gd name="connsiteX2" fmla="*/ 6 w 3247"/>
                    <a:gd name="connsiteY2" fmla="*/ 66087 h 67110"/>
                    <a:gd name="connsiteX3" fmla="*/ 962 w 3247"/>
                    <a:gd name="connsiteY3" fmla="*/ 56279 h 67110"/>
                    <a:gd name="connsiteX4" fmla="*/ 962 w 3247"/>
                    <a:gd name="connsiteY4" fmla="*/ 20394 h 67110"/>
                    <a:gd name="connsiteX5" fmla="*/ 723 w 3247"/>
                    <a:gd name="connsiteY5" fmla="*/ 897 h 67110"/>
                    <a:gd name="connsiteX6" fmla="*/ 1800 w 3247"/>
                    <a:gd name="connsiteY6" fmla="*/ 0 h 67110"/>
                    <a:gd name="connsiteX7" fmla="*/ 2757 w 3247"/>
                    <a:gd name="connsiteY7" fmla="*/ 1017 h 67110"/>
                    <a:gd name="connsiteX8" fmla="*/ 2996 w 3247"/>
                    <a:gd name="connsiteY8" fmla="*/ 20335 h 67110"/>
                    <a:gd name="connsiteX9" fmla="*/ 2996 w 3247"/>
                    <a:gd name="connsiteY9" fmla="*/ 56458 h 67110"/>
                    <a:gd name="connsiteX10" fmla="*/ 2039 w 3247"/>
                    <a:gd name="connsiteY10" fmla="*/ 66266 h 67110"/>
                    <a:gd name="connsiteX11" fmla="*/ 962 w 3247"/>
                    <a:gd name="connsiteY11" fmla="*/ 67104 h 6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7" h="67110">
                      <a:moveTo>
                        <a:pt x="962" y="67104"/>
                      </a:moveTo>
                      <a:cubicBezTo>
                        <a:pt x="962" y="67104"/>
                        <a:pt x="903" y="67104"/>
                        <a:pt x="903" y="67104"/>
                      </a:cubicBezTo>
                      <a:cubicBezTo>
                        <a:pt x="365" y="67044"/>
                        <a:pt x="-54" y="66565"/>
                        <a:pt x="6" y="66087"/>
                      </a:cubicBezTo>
                      <a:cubicBezTo>
                        <a:pt x="6" y="66027"/>
                        <a:pt x="544" y="61183"/>
                        <a:pt x="962" y="56279"/>
                      </a:cubicBezTo>
                      <a:cubicBezTo>
                        <a:pt x="1441" y="51315"/>
                        <a:pt x="1202" y="23863"/>
                        <a:pt x="962" y="20394"/>
                      </a:cubicBezTo>
                      <a:cubicBezTo>
                        <a:pt x="723" y="16746"/>
                        <a:pt x="484" y="5383"/>
                        <a:pt x="723" y="897"/>
                      </a:cubicBezTo>
                      <a:cubicBezTo>
                        <a:pt x="783" y="359"/>
                        <a:pt x="1202" y="0"/>
                        <a:pt x="1800" y="0"/>
                      </a:cubicBezTo>
                      <a:cubicBezTo>
                        <a:pt x="2338" y="60"/>
                        <a:pt x="2816" y="478"/>
                        <a:pt x="2757" y="1017"/>
                      </a:cubicBezTo>
                      <a:cubicBezTo>
                        <a:pt x="2458" y="5383"/>
                        <a:pt x="2757" y="16806"/>
                        <a:pt x="2996" y="20335"/>
                      </a:cubicBezTo>
                      <a:cubicBezTo>
                        <a:pt x="3235" y="24162"/>
                        <a:pt x="3415" y="51434"/>
                        <a:pt x="2996" y="56458"/>
                      </a:cubicBezTo>
                      <a:cubicBezTo>
                        <a:pt x="2518" y="61362"/>
                        <a:pt x="2039" y="66207"/>
                        <a:pt x="2039" y="66266"/>
                      </a:cubicBezTo>
                      <a:cubicBezTo>
                        <a:pt x="1979" y="66805"/>
                        <a:pt x="1501" y="67164"/>
                        <a:pt x="962" y="6710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01" name="Vrije vorm: vorm 9200">
                  <a:extLst>
                    <a:ext uri="{FF2B5EF4-FFF2-40B4-BE49-F238E27FC236}">
                      <a16:creationId xmlns:a16="http://schemas.microsoft.com/office/drawing/2014/main" id="{A0FAAB50-39E1-440A-9DB3-80D11C2941D4}"/>
                    </a:ext>
                  </a:extLst>
                </p:cNvPr>
                <p:cNvSpPr/>
                <p:nvPr/>
              </p:nvSpPr>
              <p:spPr>
                <a:xfrm>
                  <a:off x="6192752" y="1684906"/>
                  <a:ext cx="21499" cy="2213"/>
                </a:xfrm>
                <a:custGeom>
                  <a:avLst/>
                  <a:gdLst>
                    <a:gd name="connsiteX0" fmla="*/ 5867 w 21499"/>
                    <a:gd name="connsiteY0" fmla="*/ 2176 h 2213"/>
                    <a:gd name="connsiteX1" fmla="*/ 903 w 21499"/>
                    <a:gd name="connsiteY1" fmla="*/ 1877 h 2213"/>
                    <a:gd name="connsiteX2" fmla="*/ 6 w 21499"/>
                    <a:gd name="connsiteY2" fmla="*/ 801 h 2213"/>
                    <a:gd name="connsiteX3" fmla="*/ 1142 w 21499"/>
                    <a:gd name="connsiteY3" fmla="*/ 23 h 2213"/>
                    <a:gd name="connsiteX4" fmla="*/ 20280 w 21499"/>
                    <a:gd name="connsiteY4" fmla="*/ 23 h 2213"/>
                    <a:gd name="connsiteX5" fmla="*/ 21477 w 21499"/>
                    <a:gd name="connsiteY5" fmla="*/ 741 h 2213"/>
                    <a:gd name="connsiteX6" fmla="*/ 20699 w 21499"/>
                    <a:gd name="connsiteY6" fmla="*/ 1817 h 2213"/>
                    <a:gd name="connsiteX7" fmla="*/ 5867 w 21499"/>
                    <a:gd name="connsiteY7" fmla="*/ 2176 h 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9" h="2213">
                      <a:moveTo>
                        <a:pt x="5867" y="2176"/>
                      </a:moveTo>
                      <a:cubicBezTo>
                        <a:pt x="3833" y="2116"/>
                        <a:pt x="2039" y="2057"/>
                        <a:pt x="903" y="1877"/>
                      </a:cubicBezTo>
                      <a:cubicBezTo>
                        <a:pt x="365" y="1817"/>
                        <a:pt x="-54" y="1339"/>
                        <a:pt x="6" y="801"/>
                      </a:cubicBezTo>
                      <a:cubicBezTo>
                        <a:pt x="66" y="262"/>
                        <a:pt x="604" y="-37"/>
                        <a:pt x="1142" y="23"/>
                      </a:cubicBezTo>
                      <a:cubicBezTo>
                        <a:pt x="5329" y="561"/>
                        <a:pt x="18785" y="322"/>
                        <a:pt x="20280" y="23"/>
                      </a:cubicBezTo>
                      <a:cubicBezTo>
                        <a:pt x="20819" y="-96"/>
                        <a:pt x="21357" y="262"/>
                        <a:pt x="21477" y="741"/>
                      </a:cubicBezTo>
                      <a:cubicBezTo>
                        <a:pt x="21596" y="1219"/>
                        <a:pt x="21237" y="1758"/>
                        <a:pt x="20699" y="1817"/>
                      </a:cubicBezTo>
                      <a:cubicBezTo>
                        <a:pt x="19383" y="2116"/>
                        <a:pt x="11548" y="2296"/>
                        <a:pt x="5867" y="217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02" name="Vrije vorm: vorm 9201">
                  <a:extLst>
                    <a:ext uri="{FF2B5EF4-FFF2-40B4-BE49-F238E27FC236}">
                      <a16:creationId xmlns:a16="http://schemas.microsoft.com/office/drawing/2014/main" id="{4E190567-265E-416C-BD6B-A1D5AAA1A07B}"/>
                    </a:ext>
                  </a:extLst>
                </p:cNvPr>
                <p:cNvSpPr/>
                <p:nvPr/>
              </p:nvSpPr>
              <p:spPr>
                <a:xfrm>
                  <a:off x="6189402" y="1662717"/>
                  <a:ext cx="5711" cy="1996"/>
                </a:xfrm>
                <a:custGeom>
                  <a:avLst/>
                  <a:gdLst>
                    <a:gd name="connsiteX0" fmla="*/ 2698 w 5711"/>
                    <a:gd name="connsiteY0" fmla="*/ 1997 h 1996"/>
                    <a:gd name="connsiteX1" fmla="*/ 844 w 5711"/>
                    <a:gd name="connsiteY1" fmla="*/ 1817 h 1996"/>
                    <a:gd name="connsiteX2" fmla="*/ 7 w 5711"/>
                    <a:gd name="connsiteY2" fmla="*/ 741 h 1996"/>
                    <a:gd name="connsiteX3" fmla="*/ 1203 w 5711"/>
                    <a:gd name="connsiteY3" fmla="*/ 23 h 1996"/>
                    <a:gd name="connsiteX4" fmla="*/ 4492 w 5711"/>
                    <a:gd name="connsiteY4" fmla="*/ 83 h 1996"/>
                    <a:gd name="connsiteX5" fmla="*/ 5688 w 5711"/>
                    <a:gd name="connsiteY5" fmla="*/ 801 h 1996"/>
                    <a:gd name="connsiteX6" fmla="*/ 4911 w 5711"/>
                    <a:gd name="connsiteY6" fmla="*/ 1877 h 1996"/>
                    <a:gd name="connsiteX7" fmla="*/ 2698 w 5711"/>
                    <a:gd name="connsiteY7" fmla="*/ 1997 h 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1" h="1996">
                      <a:moveTo>
                        <a:pt x="2698" y="1997"/>
                      </a:moveTo>
                      <a:cubicBezTo>
                        <a:pt x="2159" y="1997"/>
                        <a:pt x="1502" y="1937"/>
                        <a:pt x="844" y="1817"/>
                      </a:cubicBezTo>
                      <a:cubicBezTo>
                        <a:pt x="305" y="1698"/>
                        <a:pt x="-53" y="1219"/>
                        <a:pt x="7" y="741"/>
                      </a:cubicBezTo>
                      <a:cubicBezTo>
                        <a:pt x="126" y="262"/>
                        <a:pt x="664" y="-96"/>
                        <a:pt x="1203" y="23"/>
                      </a:cubicBezTo>
                      <a:cubicBezTo>
                        <a:pt x="2997" y="322"/>
                        <a:pt x="4492" y="83"/>
                        <a:pt x="4492" y="83"/>
                      </a:cubicBezTo>
                      <a:cubicBezTo>
                        <a:pt x="5030" y="-37"/>
                        <a:pt x="5569" y="322"/>
                        <a:pt x="5688" y="801"/>
                      </a:cubicBezTo>
                      <a:cubicBezTo>
                        <a:pt x="5808" y="1279"/>
                        <a:pt x="5449" y="1817"/>
                        <a:pt x="4911" y="1877"/>
                      </a:cubicBezTo>
                      <a:cubicBezTo>
                        <a:pt x="4851" y="1817"/>
                        <a:pt x="3954" y="1997"/>
                        <a:pt x="2698" y="199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03" name="Vrije vorm: vorm 9202">
                  <a:extLst>
                    <a:ext uri="{FF2B5EF4-FFF2-40B4-BE49-F238E27FC236}">
                      <a16:creationId xmlns:a16="http://schemas.microsoft.com/office/drawing/2014/main" id="{35578E61-B833-4350-A2C9-7676C789962F}"/>
                    </a:ext>
                  </a:extLst>
                </p:cNvPr>
                <p:cNvSpPr/>
                <p:nvPr/>
              </p:nvSpPr>
              <p:spPr>
                <a:xfrm>
                  <a:off x="6212788" y="1662794"/>
                  <a:ext cx="7308" cy="2166"/>
                </a:xfrm>
                <a:custGeom>
                  <a:avLst/>
                  <a:gdLst>
                    <a:gd name="connsiteX0" fmla="*/ 1441 w 7308"/>
                    <a:gd name="connsiteY0" fmla="*/ 2160 h 2166"/>
                    <a:gd name="connsiteX1" fmla="*/ 903 w 7308"/>
                    <a:gd name="connsiteY1" fmla="*/ 2160 h 2166"/>
                    <a:gd name="connsiteX2" fmla="*/ 6 w 7308"/>
                    <a:gd name="connsiteY2" fmla="*/ 1143 h 2166"/>
                    <a:gd name="connsiteX3" fmla="*/ 1142 w 7308"/>
                    <a:gd name="connsiteY3" fmla="*/ 305 h 2166"/>
                    <a:gd name="connsiteX4" fmla="*/ 6166 w 7308"/>
                    <a:gd name="connsiteY4" fmla="*/ 7 h 2166"/>
                    <a:gd name="connsiteX5" fmla="*/ 7302 w 7308"/>
                    <a:gd name="connsiteY5" fmla="*/ 784 h 2166"/>
                    <a:gd name="connsiteX6" fmla="*/ 6405 w 7308"/>
                    <a:gd name="connsiteY6" fmla="*/ 1801 h 2166"/>
                    <a:gd name="connsiteX7" fmla="*/ 1441 w 7308"/>
                    <a:gd name="connsiteY7" fmla="*/ 2160 h 2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08" h="2166">
                      <a:moveTo>
                        <a:pt x="1441" y="2160"/>
                      </a:moveTo>
                      <a:cubicBezTo>
                        <a:pt x="1262" y="2160"/>
                        <a:pt x="1082" y="2160"/>
                        <a:pt x="903" y="2160"/>
                      </a:cubicBezTo>
                      <a:cubicBezTo>
                        <a:pt x="364" y="2100"/>
                        <a:pt x="-54" y="1681"/>
                        <a:pt x="6" y="1143"/>
                      </a:cubicBezTo>
                      <a:cubicBezTo>
                        <a:pt x="66" y="605"/>
                        <a:pt x="544" y="246"/>
                        <a:pt x="1142" y="305"/>
                      </a:cubicBezTo>
                      <a:cubicBezTo>
                        <a:pt x="2338" y="425"/>
                        <a:pt x="5149" y="126"/>
                        <a:pt x="6166" y="7"/>
                      </a:cubicBezTo>
                      <a:cubicBezTo>
                        <a:pt x="6704" y="-53"/>
                        <a:pt x="7242" y="305"/>
                        <a:pt x="7302" y="784"/>
                      </a:cubicBezTo>
                      <a:cubicBezTo>
                        <a:pt x="7362" y="1322"/>
                        <a:pt x="7003" y="1741"/>
                        <a:pt x="6405" y="1801"/>
                      </a:cubicBezTo>
                      <a:cubicBezTo>
                        <a:pt x="6226" y="1861"/>
                        <a:pt x="3295" y="2219"/>
                        <a:pt x="1441" y="216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04" name="Vrije vorm: vorm 9203">
                  <a:extLst>
                    <a:ext uri="{FF2B5EF4-FFF2-40B4-BE49-F238E27FC236}">
                      <a16:creationId xmlns:a16="http://schemas.microsoft.com/office/drawing/2014/main" id="{36DB5F5D-9861-48AD-B12F-12F0217562C8}"/>
                    </a:ext>
                  </a:extLst>
                </p:cNvPr>
                <p:cNvSpPr/>
                <p:nvPr/>
              </p:nvSpPr>
              <p:spPr>
                <a:xfrm>
                  <a:off x="6196799" y="1624732"/>
                  <a:ext cx="16180" cy="20135"/>
                </a:xfrm>
                <a:custGeom>
                  <a:avLst/>
                  <a:gdLst>
                    <a:gd name="connsiteX0" fmla="*/ 7203 w 16180"/>
                    <a:gd name="connsiteY0" fmla="*/ 20127 h 20135"/>
                    <a:gd name="connsiteX1" fmla="*/ 4811 w 16180"/>
                    <a:gd name="connsiteY1" fmla="*/ 19648 h 20135"/>
                    <a:gd name="connsiteX2" fmla="*/ 146 w 16180"/>
                    <a:gd name="connsiteY2" fmla="*/ 6909 h 20135"/>
                    <a:gd name="connsiteX3" fmla="*/ 2837 w 16180"/>
                    <a:gd name="connsiteY3" fmla="*/ 1586 h 20135"/>
                    <a:gd name="connsiteX4" fmla="*/ 8399 w 16180"/>
                    <a:gd name="connsiteY4" fmla="*/ 31 h 20135"/>
                    <a:gd name="connsiteX5" fmla="*/ 8399 w 16180"/>
                    <a:gd name="connsiteY5" fmla="*/ 31 h 20135"/>
                    <a:gd name="connsiteX6" fmla="*/ 14320 w 16180"/>
                    <a:gd name="connsiteY6" fmla="*/ 2723 h 20135"/>
                    <a:gd name="connsiteX7" fmla="*/ 15756 w 16180"/>
                    <a:gd name="connsiteY7" fmla="*/ 12471 h 20135"/>
                    <a:gd name="connsiteX8" fmla="*/ 10552 w 16180"/>
                    <a:gd name="connsiteY8" fmla="*/ 19349 h 20135"/>
                    <a:gd name="connsiteX9" fmla="*/ 7203 w 16180"/>
                    <a:gd name="connsiteY9" fmla="*/ 20127 h 20135"/>
                    <a:gd name="connsiteX10" fmla="*/ 7921 w 16180"/>
                    <a:gd name="connsiteY10" fmla="*/ 1945 h 20135"/>
                    <a:gd name="connsiteX11" fmla="*/ 4213 w 16180"/>
                    <a:gd name="connsiteY11" fmla="*/ 3082 h 20135"/>
                    <a:gd name="connsiteX12" fmla="*/ 2179 w 16180"/>
                    <a:gd name="connsiteY12" fmla="*/ 7149 h 20135"/>
                    <a:gd name="connsiteX13" fmla="*/ 5588 w 16180"/>
                    <a:gd name="connsiteY13" fmla="*/ 18033 h 20135"/>
                    <a:gd name="connsiteX14" fmla="*/ 9655 w 16180"/>
                    <a:gd name="connsiteY14" fmla="*/ 17794 h 20135"/>
                    <a:gd name="connsiteX15" fmla="*/ 13842 w 16180"/>
                    <a:gd name="connsiteY15" fmla="*/ 12232 h 20135"/>
                    <a:gd name="connsiteX16" fmla="*/ 12765 w 16180"/>
                    <a:gd name="connsiteY16" fmla="*/ 3979 h 20135"/>
                    <a:gd name="connsiteX17" fmla="*/ 8340 w 16180"/>
                    <a:gd name="connsiteY17" fmla="*/ 2005 h 20135"/>
                    <a:gd name="connsiteX18" fmla="*/ 7921 w 16180"/>
                    <a:gd name="connsiteY18" fmla="*/ 1945 h 2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80" h="20135">
                      <a:moveTo>
                        <a:pt x="7203" y="20127"/>
                      </a:moveTo>
                      <a:cubicBezTo>
                        <a:pt x="6426" y="20127"/>
                        <a:pt x="5588" y="19947"/>
                        <a:pt x="4811" y="19648"/>
                      </a:cubicBezTo>
                      <a:cubicBezTo>
                        <a:pt x="-691" y="17555"/>
                        <a:pt x="-93" y="9840"/>
                        <a:pt x="146" y="6909"/>
                      </a:cubicBezTo>
                      <a:cubicBezTo>
                        <a:pt x="325" y="4637"/>
                        <a:pt x="1282" y="2842"/>
                        <a:pt x="2837" y="1586"/>
                      </a:cubicBezTo>
                      <a:cubicBezTo>
                        <a:pt x="4333" y="450"/>
                        <a:pt x="6306" y="-148"/>
                        <a:pt x="8399" y="31"/>
                      </a:cubicBezTo>
                      <a:lnTo>
                        <a:pt x="8399" y="31"/>
                      </a:lnTo>
                      <a:cubicBezTo>
                        <a:pt x="10971" y="211"/>
                        <a:pt x="13004" y="1108"/>
                        <a:pt x="14320" y="2723"/>
                      </a:cubicBezTo>
                      <a:cubicBezTo>
                        <a:pt x="16653" y="5474"/>
                        <a:pt x="16354" y="9541"/>
                        <a:pt x="15756" y="12471"/>
                      </a:cubicBezTo>
                      <a:cubicBezTo>
                        <a:pt x="15158" y="15402"/>
                        <a:pt x="13124" y="18093"/>
                        <a:pt x="10552" y="19349"/>
                      </a:cubicBezTo>
                      <a:cubicBezTo>
                        <a:pt x="9476" y="19947"/>
                        <a:pt x="8340" y="20186"/>
                        <a:pt x="7203" y="20127"/>
                      </a:cubicBezTo>
                      <a:close/>
                      <a:moveTo>
                        <a:pt x="7921" y="1945"/>
                      </a:moveTo>
                      <a:cubicBezTo>
                        <a:pt x="6486" y="1885"/>
                        <a:pt x="5170" y="2304"/>
                        <a:pt x="4213" y="3082"/>
                      </a:cubicBezTo>
                      <a:cubicBezTo>
                        <a:pt x="3017" y="3979"/>
                        <a:pt x="2359" y="5414"/>
                        <a:pt x="2179" y="7149"/>
                      </a:cubicBezTo>
                      <a:cubicBezTo>
                        <a:pt x="1880" y="11156"/>
                        <a:pt x="1880" y="16598"/>
                        <a:pt x="5588" y="18033"/>
                      </a:cubicBezTo>
                      <a:cubicBezTo>
                        <a:pt x="7263" y="18631"/>
                        <a:pt x="8698" y="18273"/>
                        <a:pt x="9655" y="17794"/>
                      </a:cubicBezTo>
                      <a:cubicBezTo>
                        <a:pt x="11689" y="16777"/>
                        <a:pt x="13304" y="14624"/>
                        <a:pt x="13842" y="12232"/>
                      </a:cubicBezTo>
                      <a:cubicBezTo>
                        <a:pt x="14260" y="10139"/>
                        <a:pt x="14739" y="6251"/>
                        <a:pt x="12765" y="3979"/>
                      </a:cubicBezTo>
                      <a:cubicBezTo>
                        <a:pt x="11809" y="2842"/>
                        <a:pt x="10313" y="2184"/>
                        <a:pt x="8340" y="2005"/>
                      </a:cubicBezTo>
                      <a:cubicBezTo>
                        <a:pt x="8160" y="1945"/>
                        <a:pt x="8041" y="1945"/>
                        <a:pt x="7921" y="194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05" name="Vrije vorm: vorm 9204">
                  <a:extLst>
                    <a:ext uri="{FF2B5EF4-FFF2-40B4-BE49-F238E27FC236}">
                      <a16:creationId xmlns:a16="http://schemas.microsoft.com/office/drawing/2014/main" id="{96611440-1F15-4BE1-8085-EE331586F52F}"/>
                    </a:ext>
                  </a:extLst>
                </p:cNvPr>
                <p:cNvSpPr/>
                <p:nvPr/>
              </p:nvSpPr>
              <p:spPr>
                <a:xfrm>
                  <a:off x="6196331" y="1635266"/>
                  <a:ext cx="16342" cy="18040"/>
                </a:xfrm>
                <a:custGeom>
                  <a:avLst/>
                  <a:gdLst>
                    <a:gd name="connsiteX0" fmla="*/ 7252 w 16342"/>
                    <a:gd name="connsiteY0" fmla="*/ 18025 h 18040"/>
                    <a:gd name="connsiteX1" fmla="*/ 6594 w 16342"/>
                    <a:gd name="connsiteY1" fmla="*/ 17786 h 18040"/>
                    <a:gd name="connsiteX2" fmla="*/ 1331 w 16342"/>
                    <a:gd name="connsiteY2" fmla="*/ 12164 h 18040"/>
                    <a:gd name="connsiteX3" fmla="*/ 553 w 16342"/>
                    <a:gd name="connsiteY3" fmla="*/ 741 h 18040"/>
                    <a:gd name="connsiteX4" fmla="*/ 1750 w 16342"/>
                    <a:gd name="connsiteY4" fmla="*/ 23 h 18040"/>
                    <a:gd name="connsiteX5" fmla="*/ 2527 w 16342"/>
                    <a:gd name="connsiteY5" fmla="*/ 1100 h 18040"/>
                    <a:gd name="connsiteX6" fmla="*/ 3065 w 16342"/>
                    <a:gd name="connsiteY6" fmla="*/ 11207 h 18040"/>
                    <a:gd name="connsiteX7" fmla="*/ 7312 w 16342"/>
                    <a:gd name="connsiteY7" fmla="*/ 15812 h 18040"/>
                    <a:gd name="connsiteX8" fmla="*/ 12335 w 16342"/>
                    <a:gd name="connsiteY8" fmla="*/ 10489 h 18040"/>
                    <a:gd name="connsiteX9" fmla="*/ 14309 w 16342"/>
                    <a:gd name="connsiteY9" fmla="*/ 1638 h 18040"/>
                    <a:gd name="connsiteX10" fmla="*/ 15385 w 16342"/>
                    <a:gd name="connsiteY10" fmla="*/ 801 h 18040"/>
                    <a:gd name="connsiteX11" fmla="*/ 16342 w 16342"/>
                    <a:gd name="connsiteY11" fmla="*/ 1817 h 18040"/>
                    <a:gd name="connsiteX12" fmla="*/ 14189 w 16342"/>
                    <a:gd name="connsiteY12" fmla="*/ 11267 h 18040"/>
                    <a:gd name="connsiteX13" fmla="*/ 7969 w 16342"/>
                    <a:gd name="connsiteY13" fmla="*/ 17726 h 18040"/>
                    <a:gd name="connsiteX14" fmla="*/ 7252 w 16342"/>
                    <a:gd name="connsiteY14" fmla="*/ 18025 h 1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42" h="18040">
                      <a:moveTo>
                        <a:pt x="7252" y="18025"/>
                      </a:moveTo>
                      <a:cubicBezTo>
                        <a:pt x="7013" y="18025"/>
                        <a:pt x="6773" y="17965"/>
                        <a:pt x="6594" y="17786"/>
                      </a:cubicBezTo>
                      <a:cubicBezTo>
                        <a:pt x="6474" y="17666"/>
                        <a:pt x="3125" y="14915"/>
                        <a:pt x="1331" y="12164"/>
                      </a:cubicBezTo>
                      <a:cubicBezTo>
                        <a:pt x="-703" y="9174"/>
                        <a:pt x="75" y="2894"/>
                        <a:pt x="553" y="741"/>
                      </a:cubicBezTo>
                      <a:cubicBezTo>
                        <a:pt x="673" y="262"/>
                        <a:pt x="1211" y="-96"/>
                        <a:pt x="1750" y="23"/>
                      </a:cubicBezTo>
                      <a:cubicBezTo>
                        <a:pt x="2288" y="143"/>
                        <a:pt x="2646" y="621"/>
                        <a:pt x="2527" y="1100"/>
                      </a:cubicBezTo>
                      <a:cubicBezTo>
                        <a:pt x="2048" y="3372"/>
                        <a:pt x="1510" y="8875"/>
                        <a:pt x="3065" y="11207"/>
                      </a:cubicBezTo>
                      <a:cubicBezTo>
                        <a:pt x="4261" y="13001"/>
                        <a:pt x="6295" y="14915"/>
                        <a:pt x="7312" y="15812"/>
                      </a:cubicBezTo>
                      <a:cubicBezTo>
                        <a:pt x="8627" y="14736"/>
                        <a:pt x="11378" y="12284"/>
                        <a:pt x="12335" y="10489"/>
                      </a:cubicBezTo>
                      <a:cubicBezTo>
                        <a:pt x="13651" y="7918"/>
                        <a:pt x="14189" y="2655"/>
                        <a:pt x="14309" y="1638"/>
                      </a:cubicBezTo>
                      <a:cubicBezTo>
                        <a:pt x="14369" y="1100"/>
                        <a:pt x="14847" y="741"/>
                        <a:pt x="15385" y="801"/>
                      </a:cubicBezTo>
                      <a:cubicBezTo>
                        <a:pt x="15924" y="860"/>
                        <a:pt x="16342" y="1279"/>
                        <a:pt x="16342" y="1817"/>
                      </a:cubicBezTo>
                      <a:cubicBezTo>
                        <a:pt x="16223" y="3313"/>
                        <a:pt x="15625" y="8516"/>
                        <a:pt x="14189" y="11267"/>
                      </a:cubicBezTo>
                      <a:cubicBezTo>
                        <a:pt x="12814" y="13958"/>
                        <a:pt x="8149" y="17607"/>
                        <a:pt x="7969" y="17726"/>
                      </a:cubicBezTo>
                      <a:cubicBezTo>
                        <a:pt x="7730" y="17965"/>
                        <a:pt x="7491" y="18085"/>
                        <a:pt x="7252" y="1802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06" name="Vrije vorm: vorm 9205">
                  <a:extLst>
                    <a:ext uri="{FF2B5EF4-FFF2-40B4-BE49-F238E27FC236}">
                      <a16:creationId xmlns:a16="http://schemas.microsoft.com/office/drawing/2014/main" id="{B3E02940-5444-4EFD-ACA2-0E5DFF49AC39}"/>
                    </a:ext>
                  </a:extLst>
                </p:cNvPr>
                <p:cNvSpPr/>
                <p:nvPr/>
              </p:nvSpPr>
              <p:spPr>
                <a:xfrm>
                  <a:off x="6202377" y="1651437"/>
                  <a:ext cx="2227" cy="9210"/>
                </a:xfrm>
                <a:custGeom>
                  <a:avLst/>
                  <a:gdLst>
                    <a:gd name="connsiteX0" fmla="*/ 1027 w 2227"/>
                    <a:gd name="connsiteY0" fmla="*/ 9210 h 9210"/>
                    <a:gd name="connsiteX1" fmla="*/ 10 w 2227"/>
                    <a:gd name="connsiteY1" fmla="*/ 8313 h 9210"/>
                    <a:gd name="connsiteX2" fmla="*/ 189 w 2227"/>
                    <a:gd name="connsiteY2" fmla="*/ 897 h 9210"/>
                    <a:gd name="connsiteX3" fmla="*/ 1266 w 2227"/>
                    <a:gd name="connsiteY3" fmla="*/ 0 h 9210"/>
                    <a:gd name="connsiteX4" fmla="*/ 2222 w 2227"/>
                    <a:gd name="connsiteY4" fmla="*/ 957 h 9210"/>
                    <a:gd name="connsiteX5" fmla="*/ 2043 w 2227"/>
                    <a:gd name="connsiteY5" fmla="*/ 8194 h 9210"/>
                    <a:gd name="connsiteX6" fmla="*/ 1086 w 2227"/>
                    <a:gd name="connsiteY6" fmla="*/ 9150 h 9210"/>
                    <a:gd name="connsiteX7" fmla="*/ 1027 w 2227"/>
                    <a:gd name="connsiteY7" fmla="*/ 9210 h 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7" h="9210">
                      <a:moveTo>
                        <a:pt x="1027" y="9210"/>
                      </a:moveTo>
                      <a:cubicBezTo>
                        <a:pt x="488" y="9210"/>
                        <a:pt x="69" y="8792"/>
                        <a:pt x="10" y="8313"/>
                      </a:cubicBezTo>
                      <a:cubicBezTo>
                        <a:pt x="-50" y="6639"/>
                        <a:pt x="189" y="1136"/>
                        <a:pt x="189" y="897"/>
                      </a:cubicBezTo>
                      <a:cubicBezTo>
                        <a:pt x="189" y="359"/>
                        <a:pt x="667" y="0"/>
                        <a:pt x="1266" y="0"/>
                      </a:cubicBezTo>
                      <a:cubicBezTo>
                        <a:pt x="1804" y="0"/>
                        <a:pt x="2282" y="478"/>
                        <a:pt x="2222" y="957"/>
                      </a:cubicBezTo>
                      <a:cubicBezTo>
                        <a:pt x="2222" y="1017"/>
                        <a:pt x="1983" y="6639"/>
                        <a:pt x="2043" y="8194"/>
                      </a:cubicBezTo>
                      <a:cubicBezTo>
                        <a:pt x="2043" y="8732"/>
                        <a:pt x="1625" y="9150"/>
                        <a:pt x="1086" y="9150"/>
                      </a:cubicBezTo>
                      <a:cubicBezTo>
                        <a:pt x="1086" y="9210"/>
                        <a:pt x="1027" y="9210"/>
                        <a:pt x="1027" y="921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07" name="Vrije vorm: vorm 9206">
                  <a:extLst>
                    <a:ext uri="{FF2B5EF4-FFF2-40B4-BE49-F238E27FC236}">
                      <a16:creationId xmlns:a16="http://schemas.microsoft.com/office/drawing/2014/main" id="{1B6AEEDF-8414-484E-8A33-2AF93AEBDA75}"/>
                    </a:ext>
                  </a:extLst>
                </p:cNvPr>
                <p:cNvSpPr/>
                <p:nvPr/>
              </p:nvSpPr>
              <p:spPr>
                <a:xfrm>
                  <a:off x="6200906" y="1666442"/>
                  <a:ext cx="7105" cy="14001"/>
                </a:xfrm>
                <a:custGeom>
                  <a:avLst/>
                  <a:gdLst>
                    <a:gd name="connsiteX0" fmla="*/ 3993 w 7105"/>
                    <a:gd name="connsiteY0" fmla="*/ 14001 h 14001"/>
                    <a:gd name="connsiteX1" fmla="*/ 2916 w 7105"/>
                    <a:gd name="connsiteY1" fmla="*/ 13762 h 14001"/>
                    <a:gd name="connsiteX2" fmla="*/ 404 w 7105"/>
                    <a:gd name="connsiteY2" fmla="*/ 10772 h 14001"/>
                    <a:gd name="connsiteX3" fmla="*/ 643 w 7105"/>
                    <a:gd name="connsiteY3" fmla="*/ 784 h 14001"/>
                    <a:gd name="connsiteX4" fmla="*/ 1839 w 7105"/>
                    <a:gd name="connsiteY4" fmla="*/ 7 h 14001"/>
                    <a:gd name="connsiteX5" fmla="*/ 2677 w 7105"/>
                    <a:gd name="connsiteY5" fmla="*/ 1083 h 14001"/>
                    <a:gd name="connsiteX6" fmla="*/ 2318 w 7105"/>
                    <a:gd name="connsiteY6" fmla="*/ 10174 h 14001"/>
                    <a:gd name="connsiteX7" fmla="*/ 3753 w 7105"/>
                    <a:gd name="connsiteY7" fmla="*/ 12088 h 14001"/>
                    <a:gd name="connsiteX8" fmla="*/ 3933 w 7105"/>
                    <a:gd name="connsiteY8" fmla="*/ 12147 h 14001"/>
                    <a:gd name="connsiteX9" fmla="*/ 5009 w 7105"/>
                    <a:gd name="connsiteY9" fmla="*/ 7004 h 14001"/>
                    <a:gd name="connsiteX10" fmla="*/ 5847 w 7105"/>
                    <a:gd name="connsiteY10" fmla="*/ 5927 h 14001"/>
                    <a:gd name="connsiteX11" fmla="*/ 7043 w 7105"/>
                    <a:gd name="connsiteY11" fmla="*/ 6705 h 14001"/>
                    <a:gd name="connsiteX12" fmla="*/ 4770 w 7105"/>
                    <a:gd name="connsiteY12" fmla="*/ 13882 h 14001"/>
                    <a:gd name="connsiteX13" fmla="*/ 3993 w 7105"/>
                    <a:gd name="connsiteY13" fmla="*/ 14001 h 14001"/>
                    <a:gd name="connsiteX14" fmla="*/ 3933 w 7105"/>
                    <a:gd name="connsiteY14" fmla="*/ 12207 h 14001"/>
                    <a:gd name="connsiteX15" fmla="*/ 3933 w 7105"/>
                    <a:gd name="connsiteY15" fmla="*/ 12207 h 14001"/>
                    <a:gd name="connsiteX16" fmla="*/ 3933 w 7105"/>
                    <a:gd name="connsiteY16" fmla="*/ 12207 h 1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05" h="14001">
                      <a:moveTo>
                        <a:pt x="3993" y="14001"/>
                      </a:moveTo>
                      <a:cubicBezTo>
                        <a:pt x="3634" y="14001"/>
                        <a:pt x="3275" y="13882"/>
                        <a:pt x="2916" y="13762"/>
                      </a:cubicBezTo>
                      <a:cubicBezTo>
                        <a:pt x="1839" y="13284"/>
                        <a:pt x="942" y="12207"/>
                        <a:pt x="404" y="10772"/>
                      </a:cubicBezTo>
                      <a:cubicBezTo>
                        <a:pt x="-433" y="8559"/>
                        <a:pt x="225" y="3236"/>
                        <a:pt x="643" y="784"/>
                      </a:cubicBezTo>
                      <a:cubicBezTo>
                        <a:pt x="763" y="305"/>
                        <a:pt x="1241" y="-53"/>
                        <a:pt x="1839" y="7"/>
                      </a:cubicBezTo>
                      <a:cubicBezTo>
                        <a:pt x="2378" y="66"/>
                        <a:pt x="2796" y="545"/>
                        <a:pt x="2677" y="1083"/>
                      </a:cubicBezTo>
                      <a:cubicBezTo>
                        <a:pt x="2138" y="3894"/>
                        <a:pt x="1720" y="8559"/>
                        <a:pt x="2318" y="10174"/>
                      </a:cubicBezTo>
                      <a:cubicBezTo>
                        <a:pt x="2737" y="11310"/>
                        <a:pt x="3335" y="11908"/>
                        <a:pt x="3753" y="12088"/>
                      </a:cubicBezTo>
                      <a:cubicBezTo>
                        <a:pt x="3813" y="12088"/>
                        <a:pt x="3873" y="12147"/>
                        <a:pt x="3933" y="12147"/>
                      </a:cubicBezTo>
                      <a:cubicBezTo>
                        <a:pt x="4471" y="11370"/>
                        <a:pt x="5248" y="8200"/>
                        <a:pt x="5009" y="7004"/>
                      </a:cubicBezTo>
                      <a:cubicBezTo>
                        <a:pt x="4890" y="6525"/>
                        <a:pt x="5308" y="5987"/>
                        <a:pt x="5847" y="5927"/>
                      </a:cubicBezTo>
                      <a:cubicBezTo>
                        <a:pt x="6385" y="5868"/>
                        <a:pt x="6923" y="6167"/>
                        <a:pt x="7043" y="6705"/>
                      </a:cubicBezTo>
                      <a:cubicBezTo>
                        <a:pt x="7342" y="8140"/>
                        <a:pt x="6564" y="13344"/>
                        <a:pt x="4770" y="13882"/>
                      </a:cubicBezTo>
                      <a:cubicBezTo>
                        <a:pt x="4531" y="13942"/>
                        <a:pt x="4292" y="14001"/>
                        <a:pt x="3993" y="14001"/>
                      </a:cubicBezTo>
                      <a:close/>
                      <a:moveTo>
                        <a:pt x="3933" y="12207"/>
                      </a:moveTo>
                      <a:lnTo>
                        <a:pt x="3933" y="12207"/>
                      </a:lnTo>
                      <a:lnTo>
                        <a:pt x="3933" y="12207"/>
                      </a:lnTo>
                      <a:close/>
                    </a:path>
                  </a:pathLst>
                </a:custGeom>
                <a:grpFill/>
                <a:ln w="6350" cap="flat">
                  <a:solidFill>
                    <a:schemeClr val="bg1">
                      <a:alpha val="40000"/>
                    </a:schemeClr>
                  </a:solidFill>
                  <a:prstDash val="solid"/>
                  <a:miter/>
                </a:ln>
              </p:spPr>
              <p:txBody>
                <a:bodyPr rtlCol="0" anchor="ctr"/>
                <a:lstStyle/>
                <a:p>
                  <a:endParaRPr lang="en-GB"/>
                </a:p>
              </p:txBody>
            </p:sp>
            <p:sp>
              <p:nvSpPr>
                <p:cNvPr id="9208" name="Vrije vorm: vorm 9207">
                  <a:extLst>
                    <a:ext uri="{FF2B5EF4-FFF2-40B4-BE49-F238E27FC236}">
                      <a16:creationId xmlns:a16="http://schemas.microsoft.com/office/drawing/2014/main" id="{47ECE631-44DE-4A80-B575-A441CEE0849A}"/>
                    </a:ext>
                  </a:extLst>
                </p:cNvPr>
                <p:cNvSpPr/>
                <p:nvPr/>
              </p:nvSpPr>
              <p:spPr>
                <a:xfrm>
                  <a:off x="6199935" y="1657214"/>
                  <a:ext cx="6997" cy="6184"/>
                </a:xfrm>
                <a:custGeom>
                  <a:avLst/>
                  <a:gdLst>
                    <a:gd name="connsiteX0" fmla="*/ 1675 w 6997"/>
                    <a:gd name="connsiteY0" fmla="*/ 6185 h 6184"/>
                    <a:gd name="connsiteX1" fmla="*/ 658 w 6997"/>
                    <a:gd name="connsiteY1" fmla="*/ 5407 h 6184"/>
                    <a:gd name="connsiteX2" fmla="*/ 359 w 6997"/>
                    <a:gd name="connsiteY2" fmla="*/ 4331 h 6184"/>
                    <a:gd name="connsiteX3" fmla="*/ 419 w 6997"/>
                    <a:gd name="connsiteY3" fmla="*/ 922 h 6184"/>
                    <a:gd name="connsiteX4" fmla="*/ 2572 w 6997"/>
                    <a:gd name="connsiteY4" fmla="*/ 24 h 6184"/>
                    <a:gd name="connsiteX5" fmla="*/ 5981 w 6997"/>
                    <a:gd name="connsiteY5" fmla="*/ 623 h 6184"/>
                    <a:gd name="connsiteX6" fmla="*/ 6998 w 6997"/>
                    <a:gd name="connsiteY6" fmla="*/ 3792 h 6184"/>
                    <a:gd name="connsiteX7" fmla="*/ 6041 w 6997"/>
                    <a:gd name="connsiteY7" fmla="*/ 4749 h 6184"/>
                    <a:gd name="connsiteX8" fmla="*/ 4964 w 6997"/>
                    <a:gd name="connsiteY8" fmla="*/ 3852 h 6184"/>
                    <a:gd name="connsiteX9" fmla="*/ 4605 w 6997"/>
                    <a:gd name="connsiteY9" fmla="*/ 1938 h 6184"/>
                    <a:gd name="connsiteX10" fmla="*/ 2692 w 6997"/>
                    <a:gd name="connsiteY10" fmla="*/ 1819 h 6184"/>
                    <a:gd name="connsiteX11" fmla="*/ 2093 w 6997"/>
                    <a:gd name="connsiteY11" fmla="*/ 1998 h 6184"/>
                    <a:gd name="connsiteX12" fmla="*/ 2333 w 6997"/>
                    <a:gd name="connsiteY12" fmla="*/ 3852 h 6184"/>
                    <a:gd name="connsiteX13" fmla="*/ 2632 w 6997"/>
                    <a:gd name="connsiteY13" fmla="*/ 5108 h 6184"/>
                    <a:gd name="connsiteX14" fmla="*/ 1794 w 6997"/>
                    <a:gd name="connsiteY14" fmla="*/ 6185 h 6184"/>
                    <a:gd name="connsiteX15" fmla="*/ 1675 w 6997"/>
                    <a:gd name="connsiteY15" fmla="*/ 6185 h 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97" h="6184">
                      <a:moveTo>
                        <a:pt x="1675" y="6185"/>
                      </a:moveTo>
                      <a:cubicBezTo>
                        <a:pt x="1197" y="6185"/>
                        <a:pt x="778" y="5826"/>
                        <a:pt x="658" y="5407"/>
                      </a:cubicBezTo>
                      <a:cubicBezTo>
                        <a:pt x="598" y="5108"/>
                        <a:pt x="479" y="4689"/>
                        <a:pt x="359" y="4331"/>
                      </a:cubicBezTo>
                      <a:cubicBezTo>
                        <a:pt x="60" y="3194"/>
                        <a:pt x="-299" y="1878"/>
                        <a:pt x="419" y="922"/>
                      </a:cubicBezTo>
                      <a:cubicBezTo>
                        <a:pt x="838" y="383"/>
                        <a:pt x="1615" y="84"/>
                        <a:pt x="2572" y="24"/>
                      </a:cubicBezTo>
                      <a:cubicBezTo>
                        <a:pt x="4067" y="-35"/>
                        <a:pt x="5144" y="-35"/>
                        <a:pt x="5981" y="623"/>
                      </a:cubicBezTo>
                      <a:cubicBezTo>
                        <a:pt x="6759" y="1221"/>
                        <a:pt x="6938" y="2237"/>
                        <a:pt x="6998" y="3792"/>
                      </a:cubicBezTo>
                      <a:cubicBezTo>
                        <a:pt x="6998" y="4331"/>
                        <a:pt x="6579" y="4749"/>
                        <a:pt x="6041" y="4749"/>
                      </a:cubicBezTo>
                      <a:cubicBezTo>
                        <a:pt x="5502" y="4749"/>
                        <a:pt x="5024" y="4390"/>
                        <a:pt x="4964" y="3852"/>
                      </a:cubicBezTo>
                      <a:cubicBezTo>
                        <a:pt x="4905" y="2716"/>
                        <a:pt x="4785" y="2118"/>
                        <a:pt x="4605" y="1938"/>
                      </a:cubicBezTo>
                      <a:cubicBezTo>
                        <a:pt x="4366" y="1759"/>
                        <a:pt x="3230" y="1819"/>
                        <a:pt x="2692" y="1819"/>
                      </a:cubicBezTo>
                      <a:cubicBezTo>
                        <a:pt x="2273" y="1819"/>
                        <a:pt x="2093" y="1938"/>
                        <a:pt x="2093" y="1998"/>
                      </a:cubicBezTo>
                      <a:cubicBezTo>
                        <a:pt x="1914" y="2237"/>
                        <a:pt x="2153" y="3254"/>
                        <a:pt x="2333" y="3852"/>
                      </a:cubicBezTo>
                      <a:cubicBezTo>
                        <a:pt x="2452" y="4271"/>
                        <a:pt x="2572" y="4689"/>
                        <a:pt x="2632" y="5108"/>
                      </a:cubicBezTo>
                      <a:cubicBezTo>
                        <a:pt x="2692" y="5646"/>
                        <a:pt x="2333" y="6065"/>
                        <a:pt x="1794" y="6185"/>
                      </a:cubicBezTo>
                      <a:cubicBezTo>
                        <a:pt x="1794" y="6185"/>
                        <a:pt x="1735" y="6185"/>
                        <a:pt x="1675" y="618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209" name="Vrije vorm: vorm 9208">
                  <a:extLst>
                    <a:ext uri="{FF2B5EF4-FFF2-40B4-BE49-F238E27FC236}">
                      <a16:creationId xmlns:a16="http://schemas.microsoft.com/office/drawing/2014/main" id="{47635C1F-FD5A-4304-9F30-40FD59A0164C}"/>
                    </a:ext>
                  </a:extLst>
                </p:cNvPr>
                <p:cNvSpPr/>
                <p:nvPr/>
              </p:nvSpPr>
              <p:spPr>
                <a:xfrm>
                  <a:off x="6201029" y="1658169"/>
                  <a:ext cx="5006" cy="4751"/>
                </a:xfrm>
                <a:custGeom>
                  <a:avLst/>
                  <a:gdLst>
                    <a:gd name="connsiteX0" fmla="*/ 641 w 5006"/>
                    <a:gd name="connsiteY0" fmla="*/ 4333 h 4751"/>
                    <a:gd name="connsiteX1" fmla="*/ 1657 w 5006"/>
                    <a:gd name="connsiteY1" fmla="*/ 26 h 4751"/>
                    <a:gd name="connsiteX2" fmla="*/ 5006 w 5006"/>
                    <a:gd name="connsiteY2" fmla="*/ 2897 h 4751"/>
                    <a:gd name="connsiteX3" fmla="*/ 3511 w 5006"/>
                    <a:gd name="connsiteY3" fmla="*/ 4751 h 4751"/>
                    <a:gd name="connsiteX4" fmla="*/ 641 w 5006"/>
                    <a:gd name="connsiteY4" fmla="*/ 4333 h 4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6" h="4751">
                      <a:moveTo>
                        <a:pt x="641" y="4333"/>
                      </a:moveTo>
                      <a:cubicBezTo>
                        <a:pt x="342" y="2538"/>
                        <a:pt x="-1094" y="146"/>
                        <a:pt x="1657" y="26"/>
                      </a:cubicBezTo>
                      <a:cubicBezTo>
                        <a:pt x="4408" y="-93"/>
                        <a:pt x="4827" y="86"/>
                        <a:pt x="5006" y="2897"/>
                      </a:cubicBezTo>
                      <a:lnTo>
                        <a:pt x="3511" y="4751"/>
                      </a:lnTo>
                      <a:lnTo>
                        <a:pt x="641" y="4333"/>
                      </a:lnTo>
                      <a:close/>
                    </a:path>
                  </a:pathLst>
                </a:custGeom>
                <a:grpFill/>
                <a:ln w="6350" cap="flat">
                  <a:solidFill>
                    <a:schemeClr val="bg1">
                      <a:alpha val="40000"/>
                    </a:schemeClr>
                  </a:solidFill>
                  <a:prstDash val="solid"/>
                  <a:miter/>
                </a:ln>
              </p:spPr>
              <p:txBody>
                <a:bodyPr rtlCol="0" anchor="ctr"/>
                <a:lstStyle/>
                <a:p>
                  <a:endParaRPr lang="en-GB"/>
                </a:p>
              </p:txBody>
            </p:sp>
            <p:sp>
              <p:nvSpPr>
                <p:cNvPr id="9210" name="Vrije vorm: vorm 9209">
                  <a:extLst>
                    <a:ext uri="{FF2B5EF4-FFF2-40B4-BE49-F238E27FC236}">
                      <a16:creationId xmlns:a16="http://schemas.microsoft.com/office/drawing/2014/main" id="{FF8A2BF6-E0B1-4EB7-BED6-EFDBD1F5FF4B}"/>
                    </a:ext>
                  </a:extLst>
                </p:cNvPr>
                <p:cNvSpPr/>
                <p:nvPr/>
              </p:nvSpPr>
              <p:spPr>
                <a:xfrm>
                  <a:off x="6198063" y="1626112"/>
                  <a:ext cx="15896" cy="7442"/>
                </a:xfrm>
                <a:custGeom>
                  <a:avLst/>
                  <a:gdLst>
                    <a:gd name="connsiteX0" fmla="*/ 14252 w 15896"/>
                    <a:gd name="connsiteY0" fmla="*/ 1582 h 7442"/>
                    <a:gd name="connsiteX1" fmla="*/ 14491 w 15896"/>
                    <a:gd name="connsiteY1" fmla="*/ 1701 h 7442"/>
                    <a:gd name="connsiteX2" fmla="*/ 15687 w 15896"/>
                    <a:gd name="connsiteY2" fmla="*/ 4811 h 7442"/>
                    <a:gd name="connsiteX3" fmla="*/ 7912 w 15896"/>
                    <a:gd name="connsiteY3" fmla="*/ 3675 h 7442"/>
                    <a:gd name="connsiteX4" fmla="*/ 197 w 15896"/>
                    <a:gd name="connsiteY4" fmla="*/ 7443 h 7442"/>
                    <a:gd name="connsiteX5" fmla="*/ 2769 w 15896"/>
                    <a:gd name="connsiteY5" fmla="*/ 1223 h 7442"/>
                    <a:gd name="connsiteX6" fmla="*/ 11022 w 15896"/>
                    <a:gd name="connsiteY6" fmla="*/ 1641 h 7442"/>
                    <a:gd name="connsiteX7" fmla="*/ 14252 w 15896"/>
                    <a:gd name="connsiteY7" fmla="*/ 1582 h 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96" h="7442">
                      <a:moveTo>
                        <a:pt x="14252" y="1582"/>
                      </a:moveTo>
                      <a:cubicBezTo>
                        <a:pt x="14312" y="1641"/>
                        <a:pt x="14431" y="1641"/>
                        <a:pt x="14491" y="1701"/>
                      </a:cubicBezTo>
                      <a:cubicBezTo>
                        <a:pt x="15687" y="2240"/>
                        <a:pt x="16225" y="3735"/>
                        <a:pt x="15687" y="4811"/>
                      </a:cubicBezTo>
                      <a:cubicBezTo>
                        <a:pt x="14132" y="7921"/>
                        <a:pt x="9587" y="5170"/>
                        <a:pt x="7912" y="3675"/>
                      </a:cubicBezTo>
                      <a:cubicBezTo>
                        <a:pt x="7195" y="5290"/>
                        <a:pt x="3486" y="7204"/>
                        <a:pt x="197" y="7443"/>
                      </a:cubicBezTo>
                      <a:cubicBezTo>
                        <a:pt x="197" y="7443"/>
                        <a:pt x="-1059" y="3017"/>
                        <a:pt x="2769" y="1223"/>
                      </a:cubicBezTo>
                      <a:cubicBezTo>
                        <a:pt x="5041" y="206"/>
                        <a:pt x="9527" y="-1110"/>
                        <a:pt x="11022" y="1641"/>
                      </a:cubicBezTo>
                      <a:cubicBezTo>
                        <a:pt x="12099" y="1402"/>
                        <a:pt x="13295" y="1223"/>
                        <a:pt x="14252" y="1582"/>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056" name="Graphic 3">
                <a:extLst>
                  <a:ext uri="{FF2B5EF4-FFF2-40B4-BE49-F238E27FC236}">
                    <a16:creationId xmlns:a16="http://schemas.microsoft.com/office/drawing/2014/main" id="{83E2C348-0C17-4AF1-9695-8906C68129DC}"/>
                  </a:ext>
                </a:extLst>
              </p:cNvPr>
              <p:cNvGrpSpPr/>
              <p:nvPr/>
            </p:nvGrpSpPr>
            <p:grpSpPr>
              <a:xfrm>
                <a:off x="5038708" y="2288729"/>
                <a:ext cx="62455" cy="97345"/>
                <a:chOff x="5038708" y="2288729"/>
                <a:chExt cx="62455" cy="97345"/>
              </a:xfrm>
              <a:grpFill/>
            </p:grpSpPr>
            <p:sp>
              <p:nvSpPr>
                <p:cNvPr id="9180" name="Vrije vorm: vorm 9179">
                  <a:extLst>
                    <a:ext uri="{FF2B5EF4-FFF2-40B4-BE49-F238E27FC236}">
                      <a16:creationId xmlns:a16="http://schemas.microsoft.com/office/drawing/2014/main" id="{198D5B16-3420-4CDA-AC55-1F4B5706E641}"/>
                    </a:ext>
                  </a:extLst>
                </p:cNvPr>
                <p:cNvSpPr/>
                <p:nvPr/>
              </p:nvSpPr>
              <p:spPr>
                <a:xfrm>
                  <a:off x="5041921" y="2298028"/>
                  <a:ext cx="16906" cy="10760"/>
                </a:xfrm>
                <a:custGeom>
                  <a:avLst/>
                  <a:gdLst>
                    <a:gd name="connsiteX0" fmla="*/ 12825 w 16906"/>
                    <a:gd name="connsiteY0" fmla="*/ 10451 h 10760"/>
                    <a:gd name="connsiteX1" fmla="*/ 146 w 16906"/>
                    <a:gd name="connsiteY1" fmla="*/ 4290 h 10760"/>
                    <a:gd name="connsiteX2" fmla="*/ 505 w 16906"/>
                    <a:gd name="connsiteY2" fmla="*/ 2915 h 10760"/>
                    <a:gd name="connsiteX3" fmla="*/ 2000 w 16906"/>
                    <a:gd name="connsiteY3" fmla="*/ 3154 h 10760"/>
                    <a:gd name="connsiteX4" fmla="*/ 12526 w 16906"/>
                    <a:gd name="connsiteY4" fmla="*/ 8477 h 10760"/>
                    <a:gd name="connsiteX5" fmla="*/ 14380 w 16906"/>
                    <a:gd name="connsiteY5" fmla="*/ 1420 h 10760"/>
                    <a:gd name="connsiteX6" fmla="*/ 14979 w 16906"/>
                    <a:gd name="connsiteY6" fmla="*/ 104 h 10760"/>
                    <a:gd name="connsiteX7" fmla="*/ 16354 w 16906"/>
                    <a:gd name="connsiteY7" fmla="*/ 582 h 10760"/>
                    <a:gd name="connsiteX8" fmla="*/ 13603 w 16906"/>
                    <a:gd name="connsiteY8" fmla="*/ 10211 h 10760"/>
                    <a:gd name="connsiteX9" fmla="*/ 12825 w 16906"/>
                    <a:gd name="connsiteY9" fmla="*/ 10451 h 1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06" h="10760">
                      <a:moveTo>
                        <a:pt x="12825" y="10451"/>
                      </a:moveTo>
                      <a:cubicBezTo>
                        <a:pt x="8998" y="11826"/>
                        <a:pt x="2957" y="8417"/>
                        <a:pt x="146" y="4290"/>
                      </a:cubicBezTo>
                      <a:cubicBezTo>
                        <a:pt x="-153" y="3812"/>
                        <a:pt x="27" y="3214"/>
                        <a:pt x="505" y="2915"/>
                      </a:cubicBezTo>
                      <a:cubicBezTo>
                        <a:pt x="983" y="2616"/>
                        <a:pt x="1641" y="2735"/>
                        <a:pt x="2000" y="3154"/>
                      </a:cubicBezTo>
                      <a:cubicBezTo>
                        <a:pt x="4871" y="7400"/>
                        <a:pt x="10373" y="9733"/>
                        <a:pt x="12526" y="8477"/>
                      </a:cubicBezTo>
                      <a:cubicBezTo>
                        <a:pt x="15038" y="6982"/>
                        <a:pt x="15158" y="3035"/>
                        <a:pt x="14380" y="1420"/>
                      </a:cubicBezTo>
                      <a:cubicBezTo>
                        <a:pt x="14141" y="941"/>
                        <a:pt x="14440" y="343"/>
                        <a:pt x="14979" y="104"/>
                      </a:cubicBezTo>
                      <a:cubicBezTo>
                        <a:pt x="15517" y="-135"/>
                        <a:pt x="16175" y="44"/>
                        <a:pt x="16354" y="582"/>
                      </a:cubicBezTo>
                      <a:cubicBezTo>
                        <a:pt x="17490" y="3154"/>
                        <a:pt x="17012" y="8118"/>
                        <a:pt x="13603" y="10211"/>
                      </a:cubicBezTo>
                      <a:cubicBezTo>
                        <a:pt x="13364" y="10271"/>
                        <a:pt x="13065" y="10391"/>
                        <a:pt x="12825" y="10451"/>
                      </a:cubicBezTo>
                      <a:close/>
                    </a:path>
                  </a:pathLst>
                </a:custGeom>
                <a:grpFill/>
                <a:ln w="6350" cap="flat">
                  <a:solidFill>
                    <a:schemeClr val="bg1">
                      <a:alpha val="40000"/>
                    </a:schemeClr>
                  </a:solidFill>
                  <a:prstDash val="solid"/>
                  <a:miter/>
                </a:ln>
              </p:spPr>
              <p:txBody>
                <a:bodyPr rtlCol="0" anchor="ctr"/>
                <a:lstStyle/>
                <a:p>
                  <a:endParaRPr lang="en-GB"/>
                </a:p>
              </p:txBody>
            </p:sp>
            <p:grpSp>
              <p:nvGrpSpPr>
                <p:cNvPr id="9181" name="Graphic 3">
                  <a:extLst>
                    <a:ext uri="{FF2B5EF4-FFF2-40B4-BE49-F238E27FC236}">
                      <a16:creationId xmlns:a16="http://schemas.microsoft.com/office/drawing/2014/main" id="{0B695956-CCA9-49FD-A38E-FC0384D68908}"/>
                    </a:ext>
                  </a:extLst>
                </p:cNvPr>
                <p:cNvGrpSpPr/>
                <p:nvPr/>
              </p:nvGrpSpPr>
              <p:grpSpPr>
                <a:xfrm>
                  <a:off x="5038708" y="2288729"/>
                  <a:ext cx="19753" cy="13789"/>
                  <a:chOff x="5038708" y="2288729"/>
                  <a:chExt cx="19753" cy="13789"/>
                </a:xfrm>
                <a:grpFill/>
              </p:grpSpPr>
              <p:sp>
                <p:nvSpPr>
                  <p:cNvPr id="9194" name="Vrije vorm: vorm 9193">
                    <a:extLst>
                      <a:ext uri="{FF2B5EF4-FFF2-40B4-BE49-F238E27FC236}">
                        <a16:creationId xmlns:a16="http://schemas.microsoft.com/office/drawing/2014/main" id="{16EFCFBE-9217-4D10-ABD1-25F4FF574207}"/>
                      </a:ext>
                    </a:extLst>
                  </p:cNvPr>
                  <p:cNvSpPr/>
                  <p:nvPr/>
                </p:nvSpPr>
                <p:spPr>
                  <a:xfrm>
                    <a:off x="5039739" y="2289799"/>
                    <a:ext cx="17638" cy="11689"/>
                  </a:xfrm>
                  <a:custGeom>
                    <a:avLst/>
                    <a:gdLst>
                      <a:gd name="connsiteX0" fmla="*/ 10701 w 17638"/>
                      <a:gd name="connsiteY0" fmla="*/ 5164 h 11689"/>
                      <a:gd name="connsiteX1" fmla="*/ 4481 w 17638"/>
                      <a:gd name="connsiteY1" fmla="*/ 11264 h 11689"/>
                      <a:gd name="connsiteX2" fmla="*/ 175 w 17638"/>
                      <a:gd name="connsiteY2" fmla="*/ 10068 h 11689"/>
                      <a:gd name="connsiteX3" fmla="*/ 2806 w 17638"/>
                      <a:gd name="connsiteY3" fmla="*/ 3190 h 11689"/>
                      <a:gd name="connsiteX4" fmla="*/ 12854 w 17638"/>
                      <a:gd name="connsiteY4" fmla="*/ 738 h 11689"/>
                      <a:gd name="connsiteX5" fmla="*/ 17638 w 17638"/>
                      <a:gd name="connsiteY5" fmla="*/ 9649 h 11689"/>
                      <a:gd name="connsiteX6" fmla="*/ 10701 w 17638"/>
                      <a:gd name="connsiteY6" fmla="*/ 5164 h 1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8" h="11689">
                        <a:moveTo>
                          <a:pt x="10701" y="5164"/>
                        </a:moveTo>
                        <a:cubicBezTo>
                          <a:pt x="9146" y="6599"/>
                          <a:pt x="6514" y="10546"/>
                          <a:pt x="4481" y="11264"/>
                        </a:cubicBezTo>
                        <a:cubicBezTo>
                          <a:pt x="2447" y="11982"/>
                          <a:pt x="713" y="11922"/>
                          <a:pt x="175" y="10068"/>
                        </a:cubicBezTo>
                        <a:cubicBezTo>
                          <a:pt x="-363" y="8214"/>
                          <a:pt x="294" y="5642"/>
                          <a:pt x="2806" y="3190"/>
                        </a:cubicBezTo>
                        <a:cubicBezTo>
                          <a:pt x="5318" y="678"/>
                          <a:pt x="10641" y="-1056"/>
                          <a:pt x="12854" y="738"/>
                        </a:cubicBezTo>
                        <a:cubicBezTo>
                          <a:pt x="15067" y="2532"/>
                          <a:pt x="17100" y="4685"/>
                          <a:pt x="17638" y="9649"/>
                        </a:cubicBezTo>
                        <a:cubicBezTo>
                          <a:pt x="17698" y="9589"/>
                          <a:pt x="12854" y="4207"/>
                          <a:pt x="10701" y="516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95" name="Vrije vorm: vorm 9194">
                    <a:extLst>
                      <a:ext uri="{FF2B5EF4-FFF2-40B4-BE49-F238E27FC236}">
                        <a16:creationId xmlns:a16="http://schemas.microsoft.com/office/drawing/2014/main" id="{FA2EE8F7-8ED3-4D21-8CAC-29FC3E3E247D}"/>
                      </a:ext>
                    </a:extLst>
                  </p:cNvPr>
                  <p:cNvSpPr/>
                  <p:nvPr/>
                </p:nvSpPr>
                <p:spPr>
                  <a:xfrm>
                    <a:off x="5038708" y="2288729"/>
                    <a:ext cx="19753" cy="13789"/>
                  </a:xfrm>
                  <a:custGeom>
                    <a:avLst/>
                    <a:gdLst>
                      <a:gd name="connsiteX0" fmla="*/ 19088 w 19753"/>
                      <a:gd name="connsiteY0" fmla="*/ 11617 h 13789"/>
                      <a:gd name="connsiteX1" fmla="*/ 17892 w 19753"/>
                      <a:gd name="connsiteY1" fmla="*/ 11377 h 13789"/>
                      <a:gd name="connsiteX2" fmla="*/ 12270 w 19753"/>
                      <a:gd name="connsiteY2" fmla="*/ 7131 h 13789"/>
                      <a:gd name="connsiteX3" fmla="*/ 10655 w 19753"/>
                      <a:gd name="connsiteY3" fmla="*/ 8925 h 13789"/>
                      <a:gd name="connsiteX4" fmla="*/ 5811 w 19753"/>
                      <a:gd name="connsiteY4" fmla="*/ 13291 h 13789"/>
                      <a:gd name="connsiteX5" fmla="*/ 1804 w 19753"/>
                      <a:gd name="connsiteY5" fmla="*/ 13471 h 13789"/>
                      <a:gd name="connsiteX6" fmla="*/ 189 w 19753"/>
                      <a:gd name="connsiteY6" fmla="*/ 11377 h 13789"/>
                      <a:gd name="connsiteX7" fmla="*/ 3120 w 19753"/>
                      <a:gd name="connsiteY7" fmla="*/ 3543 h 13789"/>
                      <a:gd name="connsiteX8" fmla="*/ 14662 w 19753"/>
                      <a:gd name="connsiteY8" fmla="*/ 971 h 13789"/>
                      <a:gd name="connsiteX9" fmla="*/ 19746 w 19753"/>
                      <a:gd name="connsiteY9" fmla="*/ 10480 h 13789"/>
                      <a:gd name="connsiteX10" fmla="*/ 19088 w 19753"/>
                      <a:gd name="connsiteY10" fmla="*/ 11557 h 13789"/>
                      <a:gd name="connsiteX11" fmla="*/ 19088 w 19753"/>
                      <a:gd name="connsiteY11" fmla="*/ 11617 h 13789"/>
                      <a:gd name="connsiteX12" fmla="*/ 11493 w 19753"/>
                      <a:gd name="connsiteY12" fmla="*/ 5277 h 13789"/>
                      <a:gd name="connsiteX13" fmla="*/ 16935 w 19753"/>
                      <a:gd name="connsiteY13" fmla="*/ 7370 h 13789"/>
                      <a:gd name="connsiteX14" fmla="*/ 13227 w 19753"/>
                      <a:gd name="connsiteY14" fmla="*/ 2526 h 13789"/>
                      <a:gd name="connsiteX15" fmla="*/ 4675 w 19753"/>
                      <a:gd name="connsiteY15" fmla="*/ 4859 h 13789"/>
                      <a:gd name="connsiteX16" fmla="*/ 2282 w 19753"/>
                      <a:gd name="connsiteY16" fmla="*/ 10779 h 13789"/>
                      <a:gd name="connsiteX17" fmla="*/ 2881 w 19753"/>
                      <a:gd name="connsiteY17" fmla="*/ 11617 h 13789"/>
                      <a:gd name="connsiteX18" fmla="*/ 5213 w 19753"/>
                      <a:gd name="connsiteY18" fmla="*/ 11377 h 13789"/>
                      <a:gd name="connsiteX19" fmla="*/ 9041 w 19753"/>
                      <a:gd name="connsiteY19" fmla="*/ 7669 h 13789"/>
                      <a:gd name="connsiteX20" fmla="*/ 11014 w 19753"/>
                      <a:gd name="connsiteY20" fmla="*/ 5516 h 13789"/>
                      <a:gd name="connsiteX21" fmla="*/ 11313 w 19753"/>
                      <a:gd name="connsiteY21" fmla="*/ 5337 h 13789"/>
                      <a:gd name="connsiteX22" fmla="*/ 11493 w 19753"/>
                      <a:gd name="connsiteY22" fmla="*/ 5277 h 1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53" h="13789">
                        <a:moveTo>
                          <a:pt x="19088" y="11617"/>
                        </a:moveTo>
                        <a:cubicBezTo>
                          <a:pt x="18669" y="11796"/>
                          <a:pt x="18191" y="11676"/>
                          <a:pt x="17892" y="11377"/>
                        </a:cubicBezTo>
                        <a:cubicBezTo>
                          <a:pt x="15620" y="8865"/>
                          <a:pt x="13107" y="7131"/>
                          <a:pt x="12270" y="7131"/>
                        </a:cubicBezTo>
                        <a:cubicBezTo>
                          <a:pt x="11792" y="7550"/>
                          <a:pt x="11253" y="8208"/>
                          <a:pt x="10655" y="8925"/>
                        </a:cubicBezTo>
                        <a:cubicBezTo>
                          <a:pt x="9100" y="10779"/>
                          <a:pt x="7486" y="12693"/>
                          <a:pt x="5811" y="13291"/>
                        </a:cubicBezTo>
                        <a:cubicBezTo>
                          <a:pt x="4136" y="13889"/>
                          <a:pt x="2821" y="13949"/>
                          <a:pt x="1804" y="13471"/>
                        </a:cubicBezTo>
                        <a:cubicBezTo>
                          <a:pt x="967" y="13112"/>
                          <a:pt x="428" y="12394"/>
                          <a:pt x="189" y="11377"/>
                        </a:cubicBezTo>
                        <a:cubicBezTo>
                          <a:pt x="-469" y="8865"/>
                          <a:pt x="608" y="5995"/>
                          <a:pt x="3120" y="3543"/>
                        </a:cubicBezTo>
                        <a:cubicBezTo>
                          <a:pt x="5811" y="911"/>
                          <a:pt x="11852" y="-1362"/>
                          <a:pt x="14662" y="971"/>
                        </a:cubicBezTo>
                        <a:cubicBezTo>
                          <a:pt x="16815" y="2765"/>
                          <a:pt x="19148" y="5098"/>
                          <a:pt x="19746" y="10480"/>
                        </a:cubicBezTo>
                        <a:cubicBezTo>
                          <a:pt x="19806" y="10899"/>
                          <a:pt x="19507" y="11377"/>
                          <a:pt x="19088" y="11557"/>
                        </a:cubicBezTo>
                        <a:cubicBezTo>
                          <a:pt x="19148" y="11617"/>
                          <a:pt x="19088" y="11617"/>
                          <a:pt x="19088" y="11617"/>
                        </a:cubicBezTo>
                        <a:close/>
                        <a:moveTo>
                          <a:pt x="11493" y="5277"/>
                        </a:moveTo>
                        <a:cubicBezTo>
                          <a:pt x="13107" y="4679"/>
                          <a:pt x="15201" y="5935"/>
                          <a:pt x="16935" y="7370"/>
                        </a:cubicBezTo>
                        <a:cubicBezTo>
                          <a:pt x="16098" y="5038"/>
                          <a:pt x="14722" y="3722"/>
                          <a:pt x="13227" y="2526"/>
                        </a:cubicBezTo>
                        <a:cubicBezTo>
                          <a:pt x="11552" y="1150"/>
                          <a:pt x="6828" y="2705"/>
                          <a:pt x="4675" y="4859"/>
                        </a:cubicBezTo>
                        <a:cubicBezTo>
                          <a:pt x="2701" y="6832"/>
                          <a:pt x="1804" y="8985"/>
                          <a:pt x="2282" y="10779"/>
                        </a:cubicBezTo>
                        <a:cubicBezTo>
                          <a:pt x="2462" y="11437"/>
                          <a:pt x="2761" y="11557"/>
                          <a:pt x="2881" y="11617"/>
                        </a:cubicBezTo>
                        <a:cubicBezTo>
                          <a:pt x="3359" y="11796"/>
                          <a:pt x="4136" y="11736"/>
                          <a:pt x="5213" y="11377"/>
                        </a:cubicBezTo>
                        <a:cubicBezTo>
                          <a:pt x="6290" y="11019"/>
                          <a:pt x="7904" y="9105"/>
                          <a:pt x="9041" y="7669"/>
                        </a:cubicBezTo>
                        <a:cubicBezTo>
                          <a:pt x="9758" y="6832"/>
                          <a:pt x="10416" y="6055"/>
                          <a:pt x="11014" y="5516"/>
                        </a:cubicBezTo>
                        <a:cubicBezTo>
                          <a:pt x="11134" y="5457"/>
                          <a:pt x="11194" y="5337"/>
                          <a:pt x="11313" y="5337"/>
                        </a:cubicBezTo>
                        <a:cubicBezTo>
                          <a:pt x="11373" y="5337"/>
                          <a:pt x="11433" y="5337"/>
                          <a:pt x="11493" y="5277"/>
                        </a:cubicBezTo>
                        <a:close/>
                      </a:path>
                    </a:pathLst>
                  </a:custGeom>
                  <a:grpFill/>
                  <a:ln w="6350" cap="flat">
                    <a:solidFill>
                      <a:schemeClr val="bg1">
                        <a:alpha val="40000"/>
                      </a:schemeClr>
                    </a:solidFill>
                    <a:prstDash val="solid"/>
                    <a:miter/>
                  </a:ln>
                </p:spPr>
                <p:txBody>
                  <a:bodyPr rtlCol="0" anchor="ctr"/>
                  <a:lstStyle/>
                  <a:p>
                    <a:endParaRPr lang="en-GB"/>
                  </a:p>
                </p:txBody>
              </p:sp>
            </p:grpSp>
            <p:sp>
              <p:nvSpPr>
                <p:cNvPr id="9182" name="Vrije vorm: vorm 9181">
                  <a:extLst>
                    <a:ext uri="{FF2B5EF4-FFF2-40B4-BE49-F238E27FC236}">
                      <a16:creationId xmlns:a16="http://schemas.microsoft.com/office/drawing/2014/main" id="{FDB2037A-44DA-475F-B6BB-00E03D6F8C00}"/>
                    </a:ext>
                  </a:extLst>
                </p:cNvPr>
                <p:cNvSpPr/>
                <p:nvPr/>
              </p:nvSpPr>
              <p:spPr>
                <a:xfrm>
                  <a:off x="5057035" y="2301123"/>
                  <a:ext cx="27375" cy="41094"/>
                </a:xfrm>
                <a:custGeom>
                  <a:avLst/>
                  <a:gdLst>
                    <a:gd name="connsiteX0" fmla="*/ 26658 w 27375"/>
                    <a:gd name="connsiteY0" fmla="*/ 38575 h 41094"/>
                    <a:gd name="connsiteX1" fmla="*/ 26419 w 27375"/>
                    <a:gd name="connsiteY1" fmla="*/ 38635 h 41094"/>
                    <a:gd name="connsiteX2" fmla="*/ 7759 w 27375"/>
                    <a:gd name="connsiteY2" fmla="*/ 41087 h 41094"/>
                    <a:gd name="connsiteX3" fmla="*/ 6623 w 27375"/>
                    <a:gd name="connsiteY3" fmla="*/ 40310 h 41094"/>
                    <a:gd name="connsiteX4" fmla="*/ 4111 w 27375"/>
                    <a:gd name="connsiteY4" fmla="*/ 28767 h 41094"/>
                    <a:gd name="connsiteX5" fmla="*/ 4709 w 27375"/>
                    <a:gd name="connsiteY5" fmla="*/ 27451 h 41094"/>
                    <a:gd name="connsiteX6" fmla="*/ 6085 w 27375"/>
                    <a:gd name="connsiteY6" fmla="*/ 27930 h 41094"/>
                    <a:gd name="connsiteX7" fmla="*/ 8596 w 27375"/>
                    <a:gd name="connsiteY7" fmla="*/ 39054 h 41094"/>
                    <a:gd name="connsiteX8" fmla="*/ 25163 w 27375"/>
                    <a:gd name="connsiteY8" fmla="*/ 36841 h 41094"/>
                    <a:gd name="connsiteX9" fmla="*/ 14936 w 27375"/>
                    <a:gd name="connsiteY9" fmla="*/ 11662 h 41094"/>
                    <a:gd name="connsiteX10" fmla="*/ 2377 w 27375"/>
                    <a:gd name="connsiteY10" fmla="*/ 2512 h 41094"/>
                    <a:gd name="connsiteX11" fmla="*/ 582 w 27375"/>
                    <a:gd name="connsiteY11" fmla="*/ 1914 h 41094"/>
                    <a:gd name="connsiteX12" fmla="*/ 104 w 27375"/>
                    <a:gd name="connsiteY12" fmla="*/ 598 h 41094"/>
                    <a:gd name="connsiteX13" fmla="*/ 1539 w 27375"/>
                    <a:gd name="connsiteY13" fmla="*/ 60 h 41094"/>
                    <a:gd name="connsiteX14" fmla="*/ 3094 w 27375"/>
                    <a:gd name="connsiteY14" fmla="*/ 538 h 41094"/>
                    <a:gd name="connsiteX15" fmla="*/ 16790 w 27375"/>
                    <a:gd name="connsiteY15" fmla="*/ 10526 h 41094"/>
                    <a:gd name="connsiteX16" fmla="*/ 27376 w 27375"/>
                    <a:gd name="connsiteY16" fmla="*/ 37499 h 41094"/>
                    <a:gd name="connsiteX17" fmla="*/ 26658 w 27375"/>
                    <a:gd name="connsiteY17" fmla="*/ 38575 h 41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375" h="41094">
                      <a:moveTo>
                        <a:pt x="26658" y="38575"/>
                      </a:moveTo>
                      <a:cubicBezTo>
                        <a:pt x="26598" y="38575"/>
                        <a:pt x="26479" y="38635"/>
                        <a:pt x="26419" y="38635"/>
                      </a:cubicBezTo>
                      <a:lnTo>
                        <a:pt x="7759" y="41087"/>
                      </a:lnTo>
                      <a:cubicBezTo>
                        <a:pt x="7221" y="41147"/>
                        <a:pt x="6683" y="40848"/>
                        <a:pt x="6623" y="40310"/>
                      </a:cubicBezTo>
                      <a:cubicBezTo>
                        <a:pt x="6145" y="37618"/>
                        <a:pt x="4829" y="30262"/>
                        <a:pt x="4111" y="28767"/>
                      </a:cubicBezTo>
                      <a:cubicBezTo>
                        <a:pt x="3872" y="28289"/>
                        <a:pt x="4111" y="27690"/>
                        <a:pt x="4709" y="27451"/>
                      </a:cubicBezTo>
                      <a:cubicBezTo>
                        <a:pt x="5247" y="27212"/>
                        <a:pt x="5905" y="27392"/>
                        <a:pt x="6085" y="27930"/>
                      </a:cubicBezTo>
                      <a:cubicBezTo>
                        <a:pt x="6862" y="29604"/>
                        <a:pt x="8118" y="36482"/>
                        <a:pt x="8596" y="39054"/>
                      </a:cubicBezTo>
                      <a:lnTo>
                        <a:pt x="25163" y="36841"/>
                      </a:lnTo>
                      <a:cubicBezTo>
                        <a:pt x="24266" y="32116"/>
                        <a:pt x="17986" y="16865"/>
                        <a:pt x="14936" y="11662"/>
                      </a:cubicBezTo>
                      <a:cubicBezTo>
                        <a:pt x="10989" y="4964"/>
                        <a:pt x="5606" y="3409"/>
                        <a:pt x="2377" y="2512"/>
                      </a:cubicBezTo>
                      <a:cubicBezTo>
                        <a:pt x="1659" y="2332"/>
                        <a:pt x="1061" y="2153"/>
                        <a:pt x="582" y="1914"/>
                      </a:cubicBezTo>
                      <a:cubicBezTo>
                        <a:pt x="44" y="1674"/>
                        <a:pt x="-135" y="1136"/>
                        <a:pt x="104" y="598"/>
                      </a:cubicBezTo>
                      <a:cubicBezTo>
                        <a:pt x="343" y="119"/>
                        <a:pt x="1001" y="-120"/>
                        <a:pt x="1539" y="60"/>
                      </a:cubicBezTo>
                      <a:cubicBezTo>
                        <a:pt x="1898" y="239"/>
                        <a:pt x="2436" y="359"/>
                        <a:pt x="3094" y="538"/>
                      </a:cubicBezTo>
                      <a:cubicBezTo>
                        <a:pt x="6384" y="1495"/>
                        <a:pt x="12484" y="3229"/>
                        <a:pt x="16790" y="10526"/>
                      </a:cubicBezTo>
                      <a:cubicBezTo>
                        <a:pt x="19721" y="15430"/>
                        <a:pt x="27376" y="33492"/>
                        <a:pt x="27376" y="37499"/>
                      </a:cubicBezTo>
                      <a:cubicBezTo>
                        <a:pt x="27376" y="38037"/>
                        <a:pt x="27077" y="38456"/>
                        <a:pt x="26658" y="3857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83" name="Vrije vorm: vorm 9182">
                  <a:extLst>
                    <a:ext uri="{FF2B5EF4-FFF2-40B4-BE49-F238E27FC236}">
                      <a16:creationId xmlns:a16="http://schemas.microsoft.com/office/drawing/2014/main" id="{E3D10707-52AF-43EE-931E-8A154AB9E03E}"/>
                    </a:ext>
                  </a:extLst>
                </p:cNvPr>
                <p:cNvSpPr/>
                <p:nvPr/>
              </p:nvSpPr>
              <p:spPr>
                <a:xfrm>
                  <a:off x="5043039" y="2303780"/>
                  <a:ext cx="27005" cy="26752"/>
                </a:xfrm>
                <a:custGeom>
                  <a:avLst/>
                  <a:gdLst>
                    <a:gd name="connsiteX0" fmla="*/ 23370 w 27005"/>
                    <a:gd name="connsiteY0" fmla="*/ 26529 h 26752"/>
                    <a:gd name="connsiteX1" fmla="*/ 21157 w 27005"/>
                    <a:gd name="connsiteY1" fmla="*/ 26648 h 26752"/>
                    <a:gd name="connsiteX2" fmla="*/ 15894 w 27005"/>
                    <a:gd name="connsiteY2" fmla="*/ 25033 h 26752"/>
                    <a:gd name="connsiteX3" fmla="*/ 7461 w 27005"/>
                    <a:gd name="connsiteY3" fmla="*/ 20249 h 26752"/>
                    <a:gd name="connsiteX4" fmla="*/ 45 w 27005"/>
                    <a:gd name="connsiteY4" fmla="*/ 16421 h 26752"/>
                    <a:gd name="connsiteX5" fmla="*/ 404 w 27005"/>
                    <a:gd name="connsiteY5" fmla="*/ 15345 h 26752"/>
                    <a:gd name="connsiteX6" fmla="*/ 1600 w 27005"/>
                    <a:gd name="connsiteY6" fmla="*/ 15225 h 26752"/>
                    <a:gd name="connsiteX7" fmla="*/ 4172 w 27005"/>
                    <a:gd name="connsiteY7" fmla="*/ 14567 h 26752"/>
                    <a:gd name="connsiteX8" fmla="*/ 5128 w 27005"/>
                    <a:gd name="connsiteY8" fmla="*/ 14208 h 26752"/>
                    <a:gd name="connsiteX9" fmla="*/ 9255 w 27005"/>
                    <a:gd name="connsiteY9" fmla="*/ 14388 h 26752"/>
                    <a:gd name="connsiteX10" fmla="*/ 9853 w 27005"/>
                    <a:gd name="connsiteY10" fmla="*/ 14687 h 26752"/>
                    <a:gd name="connsiteX11" fmla="*/ 11648 w 27005"/>
                    <a:gd name="connsiteY11" fmla="*/ 15703 h 26752"/>
                    <a:gd name="connsiteX12" fmla="*/ 19482 w 27005"/>
                    <a:gd name="connsiteY12" fmla="*/ 19591 h 26752"/>
                    <a:gd name="connsiteX13" fmla="*/ 18765 w 27005"/>
                    <a:gd name="connsiteY13" fmla="*/ 14747 h 26752"/>
                    <a:gd name="connsiteX14" fmla="*/ 17150 w 27005"/>
                    <a:gd name="connsiteY14" fmla="*/ 3742 h 26752"/>
                    <a:gd name="connsiteX15" fmla="*/ 20678 w 27005"/>
                    <a:gd name="connsiteY15" fmla="*/ 94 h 26752"/>
                    <a:gd name="connsiteX16" fmla="*/ 22054 w 27005"/>
                    <a:gd name="connsiteY16" fmla="*/ 572 h 26752"/>
                    <a:gd name="connsiteX17" fmla="*/ 21456 w 27005"/>
                    <a:gd name="connsiteY17" fmla="*/ 1888 h 26752"/>
                    <a:gd name="connsiteX18" fmla="*/ 19183 w 27005"/>
                    <a:gd name="connsiteY18" fmla="*/ 4340 h 26752"/>
                    <a:gd name="connsiteX19" fmla="*/ 20798 w 27005"/>
                    <a:gd name="connsiteY19" fmla="*/ 13849 h 26752"/>
                    <a:gd name="connsiteX20" fmla="*/ 20858 w 27005"/>
                    <a:gd name="connsiteY20" fmla="*/ 14029 h 26752"/>
                    <a:gd name="connsiteX21" fmla="*/ 21276 w 27005"/>
                    <a:gd name="connsiteY21" fmla="*/ 20727 h 26752"/>
                    <a:gd name="connsiteX22" fmla="*/ 20200 w 27005"/>
                    <a:gd name="connsiteY22" fmla="*/ 21505 h 26752"/>
                    <a:gd name="connsiteX23" fmla="*/ 10511 w 27005"/>
                    <a:gd name="connsiteY23" fmla="*/ 17378 h 26752"/>
                    <a:gd name="connsiteX24" fmla="*/ 8777 w 27005"/>
                    <a:gd name="connsiteY24" fmla="*/ 16421 h 26752"/>
                    <a:gd name="connsiteX25" fmla="*/ 8179 w 27005"/>
                    <a:gd name="connsiteY25" fmla="*/ 16122 h 26752"/>
                    <a:gd name="connsiteX26" fmla="*/ 5966 w 27005"/>
                    <a:gd name="connsiteY26" fmla="*/ 16062 h 26752"/>
                    <a:gd name="connsiteX27" fmla="*/ 2916 w 27005"/>
                    <a:gd name="connsiteY27" fmla="*/ 17079 h 26752"/>
                    <a:gd name="connsiteX28" fmla="*/ 7700 w 27005"/>
                    <a:gd name="connsiteY28" fmla="*/ 18335 h 26752"/>
                    <a:gd name="connsiteX29" fmla="*/ 8597 w 27005"/>
                    <a:gd name="connsiteY29" fmla="*/ 18514 h 26752"/>
                    <a:gd name="connsiteX30" fmla="*/ 16791 w 27005"/>
                    <a:gd name="connsiteY30" fmla="*/ 23299 h 26752"/>
                    <a:gd name="connsiteX31" fmla="*/ 21934 w 27005"/>
                    <a:gd name="connsiteY31" fmla="*/ 24914 h 26752"/>
                    <a:gd name="connsiteX32" fmla="*/ 23429 w 27005"/>
                    <a:gd name="connsiteY32" fmla="*/ 24196 h 26752"/>
                    <a:gd name="connsiteX33" fmla="*/ 24506 w 27005"/>
                    <a:gd name="connsiteY33" fmla="*/ 13431 h 26752"/>
                    <a:gd name="connsiteX34" fmla="*/ 25343 w 27005"/>
                    <a:gd name="connsiteY34" fmla="*/ 12235 h 26752"/>
                    <a:gd name="connsiteX35" fmla="*/ 26599 w 27005"/>
                    <a:gd name="connsiteY35" fmla="*/ 12952 h 26752"/>
                    <a:gd name="connsiteX36" fmla="*/ 25403 w 27005"/>
                    <a:gd name="connsiteY36" fmla="*/ 24854 h 26752"/>
                    <a:gd name="connsiteX37" fmla="*/ 23370 w 27005"/>
                    <a:gd name="connsiteY37" fmla="*/ 26529 h 2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7005" h="26752">
                      <a:moveTo>
                        <a:pt x="23370" y="26529"/>
                      </a:moveTo>
                      <a:cubicBezTo>
                        <a:pt x="22652" y="26768"/>
                        <a:pt x="21934" y="26828"/>
                        <a:pt x="21157" y="26648"/>
                      </a:cubicBezTo>
                      <a:cubicBezTo>
                        <a:pt x="19960" y="26289"/>
                        <a:pt x="18047" y="25751"/>
                        <a:pt x="15894" y="25033"/>
                      </a:cubicBezTo>
                      <a:cubicBezTo>
                        <a:pt x="12425" y="23837"/>
                        <a:pt x="8657" y="21146"/>
                        <a:pt x="7461" y="20249"/>
                      </a:cubicBezTo>
                      <a:cubicBezTo>
                        <a:pt x="2856" y="20967"/>
                        <a:pt x="583" y="18096"/>
                        <a:pt x="45" y="16421"/>
                      </a:cubicBezTo>
                      <a:cubicBezTo>
                        <a:pt x="-75" y="16062"/>
                        <a:pt x="45" y="15584"/>
                        <a:pt x="404" y="15345"/>
                      </a:cubicBezTo>
                      <a:cubicBezTo>
                        <a:pt x="763" y="15046"/>
                        <a:pt x="1241" y="15046"/>
                        <a:pt x="1600" y="15225"/>
                      </a:cubicBezTo>
                      <a:cubicBezTo>
                        <a:pt x="1600" y="15225"/>
                        <a:pt x="2138" y="15285"/>
                        <a:pt x="4172" y="14567"/>
                      </a:cubicBezTo>
                      <a:cubicBezTo>
                        <a:pt x="4471" y="14448"/>
                        <a:pt x="4770" y="14328"/>
                        <a:pt x="5128" y="14208"/>
                      </a:cubicBezTo>
                      <a:cubicBezTo>
                        <a:pt x="6504" y="13670"/>
                        <a:pt x="7999" y="13730"/>
                        <a:pt x="9255" y="14388"/>
                      </a:cubicBezTo>
                      <a:lnTo>
                        <a:pt x="9853" y="14687"/>
                      </a:lnTo>
                      <a:cubicBezTo>
                        <a:pt x="10272" y="14926"/>
                        <a:pt x="10930" y="15285"/>
                        <a:pt x="11648" y="15703"/>
                      </a:cubicBezTo>
                      <a:cubicBezTo>
                        <a:pt x="13442" y="16720"/>
                        <a:pt x="17987" y="19292"/>
                        <a:pt x="19482" y="19591"/>
                      </a:cubicBezTo>
                      <a:cubicBezTo>
                        <a:pt x="19661" y="18814"/>
                        <a:pt x="19303" y="16720"/>
                        <a:pt x="18765" y="14747"/>
                      </a:cubicBezTo>
                      <a:cubicBezTo>
                        <a:pt x="16492" y="10620"/>
                        <a:pt x="15894" y="6732"/>
                        <a:pt x="17150" y="3742"/>
                      </a:cubicBezTo>
                      <a:cubicBezTo>
                        <a:pt x="17867" y="2067"/>
                        <a:pt x="19064" y="752"/>
                        <a:pt x="20678" y="94"/>
                      </a:cubicBezTo>
                      <a:cubicBezTo>
                        <a:pt x="21217" y="-145"/>
                        <a:pt x="21874" y="94"/>
                        <a:pt x="22054" y="572"/>
                      </a:cubicBezTo>
                      <a:cubicBezTo>
                        <a:pt x="22293" y="1051"/>
                        <a:pt x="21994" y="1649"/>
                        <a:pt x="21456" y="1888"/>
                      </a:cubicBezTo>
                      <a:cubicBezTo>
                        <a:pt x="20439" y="2307"/>
                        <a:pt x="19661" y="3144"/>
                        <a:pt x="19183" y="4340"/>
                      </a:cubicBezTo>
                      <a:cubicBezTo>
                        <a:pt x="18585" y="5775"/>
                        <a:pt x="18047" y="8945"/>
                        <a:pt x="20798" y="13849"/>
                      </a:cubicBezTo>
                      <a:cubicBezTo>
                        <a:pt x="20858" y="13909"/>
                        <a:pt x="20858" y="13969"/>
                        <a:pt x="20858" y="14029"/>
                      </a:cubicBezTo>
                      <a:cubicBezTo>
                        <a:pt x="21336" y="15524"/>
                        <a:pt x="22233" y="19232"/>
                        <a:pt x="21276" y="20727"/>
                      </a:cubicBezTo>
                      <a:cubicBezTo>
                        <a:pt x="21037" y="21146"/>
                        <a:pt x="20619" y="21445"/>
                        <a:pt x="20200" y="21505"/>
                      </a:cubicBezTo>
                      <a:cubicBezTo>
                        <a:pt x="18765" y="21864"/>
                        <a:pt x="15894" y="20488"/>
                        <a:pt x="10511" y="17378"/>
                      </a:cubicBezTo>
                      <a:cubicBezTo>
                        <a:pt x="9794" y="16960"/>
                        <a:pt x="9195" y="16601"/>
                        <a:pt x="8777" y="16421"/>
                      </a:cubicBezTo>
                      <a:lnTo>
                        <a:pt x="8179" y="16122"/>
                      </a:lnTo>
                      <a:cubicBezTo>
                        <a:pt x="7521" y="15763"/>
                        <a:pt x="6683" y="15763"/>
                        <a:pt x="5966" y="16062"/>
                      </a:cubicBezTo>
                      <a:cubicBezTo>
                        <a:pt x="4650" y="16601"/>
                        <a:pt x="3633" y="16900"/>
                        <a:pt x="2916" y="17079"/>
                      </a:cubicBezTo>
                      <a:cubicBezTo>
                        <a:pt x="3693" y="17916"/>
                        <a:pt x="5128" y="18814"/>
                        <a:pt x="7700" y="18335"/>
                      </a:cubicBezTo>
                      <a:cubicBezTo>
                        <a:pt x="7999" y="18275"/>
                        <a:pt x="8358" y="18335"/>
                        <a:pt x="8597" y="18514"/>
                      </a:cubicBezTo>
                      <a:cubicBezTo>
                        <a:pt x="8657" y="18574"/>
                        <a:pt x="13083" y="21983"/>
                        <a:pt x="16791" y="23299"/>
                      </a:cubicBezTo>
                      <a:cubicBezTo>
                        <a:pt x="18884" y="24017"/>
                        <a:pt x="20738" y="24555"/>
                        <a:pt x="21934" y="24914"/>
                      </a:cubicBezTo>
                      <a:cubicBezTo>
                        <a:pt x="22532" y="25093"/>
                        <a:pt x="23190" y="24794"/>
                        <a:pt x="23429" y="24196"/>
                      </a:cubicBezTo>
                      <a:cubicBezTo>
                        <a:pt x="24267" y="22342"/>
                        <a:pt x="25463" y="18455"/>
                        <a:pt x="24506" y="13431"/>
                      </a:cubicBezTo>
                      <a:cubicBezTo>
                        <a:pt x="24386" y="12893"/>
                        <a:pt x="24805" y="12354"/>
                        <a:pt x="25343" y="12235"/>
                      </a:cubicBezTo>
                      <a:cubicBezTo>
                        <a:pt x="25941" y="12115"/>
                        <a:pt x="26480" y="12414"/>
                        <a:pt x="26599" y="12952"/>
                      </a:cubicBezTo>
                      <a:cubicBezTo>
                        <a:pt x="27616" y="18215"/>
                        <a:pt x="26539" y="22342"/>
                        <a:pt x="25403" y="24854"/>
                      </a:cubicBezTo>
                      <a:cubicBezTo>
                        <a:pt x="25044" y="25512"/>
                        <a:pt x="24267" y="26170"/>
                        <a:pt x="23370" y="2652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84" name="Vrije vorm: vorm 9183">
                  <a:extLst>
                    <a:ext uri="{FF2B5EF4-FFF2-40B4-BE49-F238E27FC236}">
                      <a16:creationId xmlns:a16="http://schemas.microsoft.com/office/drawing/2014/main" id="{82F93E19-FE96-447F-AB13-F298B335B06C}"/>
                    </a:ext>
                  </a:extLst>
                </p:cNvPr>
                <p:cNvSpPr/>
                <p:nvPr/>
              </p:nvSpPr>
              <p:spPr>
                <a:xfrm>
                  <a:off x="5048859" y="2322979"/>
                  <a:ext cx="13833" cy="10552"/>
                </a:xfrm>
                <a:custGeom>
                  <a:avLst/>
                  <a:gdLst>
                    <a:gd name="connsiteX0" fmla="*/ 10013 w 13833"/>
                    <a:gd name="connsiteY0" fmla="*/ 10380 h 10552"/>
                    <a:gd name="connsiteX1" fmla="*/ 8040 w 13833"/>
                    <a:gd name="connsiteY1" fmla="*/ 10320 h 10552"/>
                    <a:gd name="connsiteX2" fmla="*/ 1581 w 13833"/>
                    <a:gd name="connsiteY2" fmla="*/ 3442 h 10552"/>
                    <a:gd name="connsiteX3" fmla="*/ 205 w 13833"/>
                    <a:gd name="connsiteY3" fmla="*/ 1588 h 10552"/>
                    <a:gd name="connsiteX4" fmla="*/ 504 w 13833"/>
                    <a:gd name="connsiteY4" fmla="*/ 212 h 10552"/>
                    <a:gd name="connsiteX5" fmla="*/ 1999 w 13833"/>
                    <a:gd name="connsiteY5" fmla="*/ 392 h 10552"/>
                    <a:gd name="connsiteX6" fmla="*/ 3435 w 13833"/>
                    <a:gd name="connsiteY6" fmla="*/ 2246 h 10552"/>
                    <a:gd name="connsiteX7" fmla="*/ 9176 w 13833"/>
                    <a:gd name="connsiteY7" fmla="*/ 8526 h 10552"/>
                    <a:gd name="connsiteX8" fmla="*/ 9415 w 13833"/>
                    <a:gd name="connsiteY8" fmla="*/ 8526 h 10552"/>
                    <a:gd name="connsiteX9" fmla="*/ 11748 w 13833"/>
                    <a:gd name="connsiteY9" fmla="*/ 5715 h 10552"/>
                    <a:gd name="connsiteX10" fmla="*/ 13123 w 13833"/>
                    <a:gd name="connsiteY10" fmla="*/ 5057 h 10552"/>
                    <a:gd name="connsiteX11" fmla="*/ 13781 w 13833"/>
                    <a:gd name="connsiteY11" fmla="*/ 6313 h 10552"/>
                    <a:gd name="connsiteX12" fmla="*/ 10193 w 13833"/>
                    <a:gd name="connsiteY12" fmla="*/ 10380 h 10552"/>
                    <a:gd name="connsiteX13" fmla="*/ 10013 w 13833"/>
                    <a:gd name="connsiteY13" fmla="*/ 10380 h 10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33" h="10552">
                      <a:moveTo>
                        <a:pt x="10013" y="10380"/>
                      </a:moveTo>
                      <a:cubicBezTo>
                        <a:pt x="9296" y="10619"/>
                        <a:pt x="8638" y="10619"/>
                        <a:pt x="8040" y="10320"/>
                      </a:cubicBezTo>
                      <a:cubicBezTo>
                        <a:pt x="6126" y="9423"/>
                        <a:pt x="3913" y="6492"/>
                        <a:pt x="1581" y="3442"/>
                      </a:cubicBezTo>
                      <a:cubicBezTo>
                        <a:pt x="1102" y="2844"/>
                        <a:pt x="624" y="2186"/>
                        <a:pt x="205" y="1588"/>
                      </a:cubicBezTo>
                      <a:cubicBezTo>
                        <a:pt x="-154" y="1169"/>
                        <a:pt x="-34" y="512"/>
                        <a:pt x="504" y="212"/>
                      </a:cubicBezTo>
                      <a:cubicBezTo>
                        <a:pt x="983" y="-146"/>
                        <a:pt x="1640" y="-27"/>
                        <a:pt x="1999" y="392"/>
                      </a:cubicBezTo>
                      <a:cubicBezTo>
                        <a:pt x="2478" y="990"/>
                        <a:pt x="2956" y="1588"/>
                        <a:pt x="3435" y="2246"/>
                      </a:cubicBezTo>
                      <a:cubicBezTo>
                        <a:pt x="5408" y="4877"/>
                        <a:pt x="7681" y="7868"/>
                        <a:pt x="9176" y="8526"/>
                      </a:cubicBezTo>
                      <a:cubicBezTo>
                        <a:pt x="9236" y="8526"/>
                        <a:pt x="9236" y="8586"/>
                        <a:pt x="9415" y="8526"/>
                      </a:cubicBezTo>
                      <a:cubicBezTo>
                        <a:pt x="10253" y="8167"/>
                        <a:pt x="11449" y="6492"/>
                        <a:pt x="11748" y="5715"/>
                      </a:cubicBezTo>
                      <a:cubicBezTo>
                        <a:pt x="11927" y="5177"/>
                        <a:pt x="12585" y="4877"/>
                        <a:pt x="13123" y="5057"/>
                      </a:cubicBezTo>
                      <a:cubicBezTo>
                        <a:pt x="13662" y="5236"/>
                        <a:pt x="13961" y="5775"/>
                        <a:pt x="13781" y="6313"/>
                      </a:cubicBezTo>
                      <a:cubicBezTo>
                        <a:pt x="13482" y="7150"/>
                        <a:pt x="11987" y="9662"/>
                        <a:pt x="10193" y="10380"/>
                      </a:cubicBezTo>
                      <a:cubicBezTo>
                        <a:pt x="10073" y="10320"/>
                        <a:pt x="10013" y="10320"/>
                        <a:pt x="10013" y="1038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85" name="Vrije vorm: vorm 9184">
                  <a:extLst>
                    <a:ext uri="{FF2B5EF4-FFF2-40B4-BE49-F238E27FC236}">
                      <a16:creationId xmlns:a16="http://schemas.microsoft.com/office/drawing/2014/main" id="{6E7F80BF-1758-4FC6-95D2-A3900E7EF7AE}"/>
                    </a:ext>
                  </a:extLst>
                </p:cNvPr>
                <p:cNvSpPr/>
                <p:nvPr/>
              </p:nvSpPr>
              <p:spPr>
                <a:xfrm>
                  <a:off x="5062435" y="2317606"/>
                  <a:ext cx="6597" cy="2333"/>
                </a:xfrm>
                <a:custGeom>
                  <a:avLst/>
                  <a:gdLst>
                    <a:gd name="connsiteX0" fmla="*/ 5887 w 6597"/>
                    <a:gd name="connsiteY0" fmla="*/ 2056 h 2333"/>
                    <a:gd name="connsiteX1" fmla="*/ 804 w 6597"/>
                    <a:gd name="connsiteY1" fmla="*/ 1997 h 2333"/>
                    <a:gd name="connsiteX2" fmla="*/ 26 w 6597"/>
                    <a:gd name="connsiteY2" fmla="*/ 801 h 2333"/>
                    <a:gd name="connsiteX3" fmla="*/ 1342 w 6597"/>
                    <a:gd name="connsiteY3" fmla="*/ 23 h 2333"/>
                    <a:gd name="connsiteX4" fmla="*/ 5169 w 6597"/>
                    <a:gd name="connsiteY4" fmla="*/ 202 h 2333"/>
                    <a:gd name="connsiteX5" fmla="*/ 6545 w 6597"/>
                    <a:gd name="connsiteY5" fmla="*/ 741 h 2333"/>
                    <a:gd name="connsiteX6" fmla="*/ 5887 w 6597"/>
                    <a:gd name="connsiteY6" fmla="*/ 2056 h 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97" h="2333">
                      <a:moveTo>
                        <a:pt x="5887" y="2056"/>
                      </a:moveTo>
                      <a:cubicBezTo>
                        <a:pt x="4332" y="2655"/>
                        <a:pt x="1401" y="2116"/>
                        <a:pt x="804" y="1997"/>
                      </a:cubicBezTo>
                      <a:cubicBezTo>
                        <a:pt x="205" y="1877"/>
                        <a:pt x="-94" y="1339"/>
                        <a:pt x="26" y="801"/>
                      </a:cubicBezTo>
                      <a:cubicBezTo>
                        <a:pt x="205" y="262"/>
                        <a:pt x="744" y="-97"/>
                        <a:pt x="1342" y="23"/>
                      </a:cubicBezTo>
                      <a:cubicBezTo>
                        <a:pt x="2478" y="262"/>
                        <a:pt x="4452" y="442"/>
                        <a:pt x="5169" y="202"/>
                      </a:cubicBezTo>
                      <a:cubicBezTo>
                        <a:pt x="5708" y="23"/>
                        <a:pt x="6366" y="262"/>
                        <a:pt x="6545" y="741"/>
                      </a:cubicBezTo>
                      <a:cubicBezTo>
                        <a:pt x="6724" y="1279"/>
                        <a:pt x="6425" y="1877"/>
                        <a:pt x="5887" y="205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86" name="Vrije vorm: vorm 9185">
                  <a:extLst>
                    <a:ext uri="{FF2B5EF4-FFF2-40B4-BE49-F238E27FC236}">
                      <a16:creationId xmlns:a16="http://schemas.microsoft.com/office/drawing/2014/main" id="{50EE9FF9-E108-4CEA-B8CA-1A6414782074}"/>
                    </a:ext>
                  </a:extLst>
                </p:cNvPr>
                <p:cNvSpPr/>
                <p:nvPr/>
              </p:nvSpPr>
              <p:spPr>
                <a:xfrm>
                  <a:off x="5055982" y="2308121"/>
                  <a:ext cx="5056" cy="15797"/>
                </a:xfrm>
                <a:custGeom>
                  <a:avLst/>
                  <a:gdLst>
                    <a:gd name="connsiteX0" fmla="*/ 4267 w 5056"/>
                    <a:gd name="connsiteY0" fmla="*/ 15728 h 15797"/>
                    <a:gd name="connsiteX1" fmla="*/ 3011 w 5056"/>
                    <a:gd name="connsiteY1" fmla="*/ 15310 h 15797"/>
                    <a:gd name="connsiteX2" fmla="*/ 619 w 5056"/>
                    <a:gd name="connsiteY2" fmla="*/ 657 h 15797"/>
                    <a:gd name="connsiteX3" fmla="*/ 2054 w 5056"/>
                    <a:gd name="connsiteY3" fmla="*/ 59 h 15797"/>
                    <a:gd name="connsiteX4" fmla="*/ 2592 w 5056"/>
                    <a:gd name="connsiteY4" fmla="*/ 1315 h 15797"/>
                    <a:gd name="connsiteX5" fmla="*/ 4925 w 5056"/>
                    <a:gd name="connsiteY5" fmla="*/ 14233 h 15797"/>
                    <a:gd name="connsiteX6" fmla="*/ 4506 w 5056"/>
                    <a:gd name="connsiteY6" fmla="*/ 15609 h 15797"/>
                    <a:gd name="connsiteX7" fmla="*/ 4267 w 5056"/>
                    <a:gd name="connsiteY7" fmla="*/ 15728 h 1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56" h="15797">
                      <a:moveTo>
                        <a:pt x="4267" y="15728"/>
                      </a:moveTo>
                      <a:cubicBezTo>
                        <a:pt x="3788" y="15908"/>
                        <a:pt x="3250" y="15728"/>
                        <a:pt x="3011" y="15310"/>
                      </a:cubicBezTo>
                      <a:cubicBezTo>
                        <a:pt x="80" y="10346"/>
                        <a:pt x="-697" y="3468"/>
                        <a:pt x="619" y="657"/>
                      </a:cubicBezTo>
                      <a:cubicBezTo>
                        <a:pt x="858" y="119"/>
                        <a:pt x="1515" y="-120"/>
                        <a:pt x="2054" y="59"/>
                      </a:cubicBezTo>
                      <a:cubicBezTo>
                        <a:pt x="2592" y="238"/>
                        <a:pt x="2831" y="836"/>
                        <a:pt x="2592" y="1315"/>
                      </a:cubicBezTo>
                      <a:cubicBezTo>
                        <a:pt x="1635" y="3348"/>
                        <a:pt x="2114" y="9508"/>
                        <a:pt x="4925" y="14233"/>
                      </a:cubicBezTo>
                      <a:cubicBezTo>
                        <a:pt x="5223" y="14712"/>
                        <a:pt x="4984" y="15310"/>
                        <a:pt x="4506" y="15609"/>
                      </a:cubicBezTo>
                      <a:cubicBezTo>
                        <a:pt x="4386" y="15669"/>
                        <a:pt x="4327" y="15728"/>
                        <a:pt x="4267" y="1572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87" name="Vrije vorm: vorm 9186">
                  <a:extLst>
                    <a:ext uri="{FF2B5EF4-FFF2-40B4-BE49-F238E27FC236}">
                      <a16:creationId xmlns:a16="http://schemas.microsoft.com/office/drawing/2014/main" id="{3B9D8188-2801-4755-B532-C875FD1831F9}"/>
                    </a:ext>
                  </a:extLst>
                </p:cNvPr>
                <p:cNvSpPr/>
                <p:nvPr/>
              </p:nvSpPr>
              <p:spPr>
                <a:xfrm>
                  <a:off x="5040333" y="2313839"/>
                  <a:ext cx="8962" cy="5850"/>
                </a:xfrm>
                <a:custGeom>
                  <a:avLst/>
                  <a:gdLst>
                    <a:gd name="connsiteX0" fmla="*/ 8253 w 8962"/>
                    <a:gd name="connsiteY0" fmla="*/ 5406 h 5850"/>
                    <a:gd name="connsiteX1" fmla="*/ 7237 w 8962"/>
                    <a:gd name="connsiteY1" fmla="*/ 5286 h 5850"/>
                    <a:gd name="connsiteX2" fmla="*/ 6937 w 8962"/>
                    <a:gd name="connsiteY2" fmla="*/ 5107 h 5850"/>
                    <a:gd name="connsiteX3" fmla="*/ 6818 w 8962"/>
                    <a:gd name="connsiteY3" fmla="*/ 5346 h 5850"/>
                    <a:gd name="connsiteX4" fmla="*/ 5323 w 8962"/>
                    <a:gd name="connsiteY4" fmla="*/ 5705 h 5850"/>
                    <a:gd name="connsiteX5" fmla="*/ 479 w 8962"/>
                    <a:gd name="connsiteY5" fmla="*/ 2954 h 5850"/>
                    <a:gd name="connsiteX6" fmla="*/ 0 w 8962"/>
                    <a:gd name="connsiteY6" fmla="*/ 2176 h 5850"/>
                    <a:gd name="connsiteX7" fmla="*/ 479 w 8962"/>
                    <a:gd name="connsiteY7" fmla="*/ 1339 h 5850"/>
                    <a:gd name="connsiteX8" fmla="*/ 2153 w 8962"/>
                    <a:gd name="connsiteY8" fmla="*/ 202 h 5850"/>
                    <a:gd name="connsiteX9" fmla="*/ 3409 w 8962"/>
                    <a:gd name="connsiteY9" fmla="*/ 202 h 5850"/>
                    <a:gd name="connsiteX10" fmla="*/ 8552 w 8962"/>
                    <a:gd name="connsiteY10" fmla="*/ 3731 h 5850"/>
                    <a:gd name="connsiteX11" fmla="*/ 8732 w 8962"/>
                    <a:gd name="connsiteY11" fmla="*/ 5107 h 5850"/>
                    <a:gd name="connsiteX12" fmla="*/ 8253 w 8962"/>
                    <a:gd name="connsiteY12" fmla="*/ 5406 h 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62" h="5850">
                      <a:moveTo>
                        <a:pt x="8253" y="5406"/>
                      </a:moveTo>
                      <a:cubicBezTo>
                        <a:pt x="7895" y="5525"/>
                        <a:pt x="7536" y="5525"/>
                        <a:pt x="7237" y="5286"/>
                      </a:cubicBezTo>
                      <a:lnTo>
                        <a:pt x="6937" y="5107"/>
                      </a:lnTo>
                      <a:cubicBezTo>
                        <a:pt x="6878" y="5166"/>
                        <a:pt x="6878" y="5286"/>
                        <a:pt x="6818" y="5346"/>
                      </a:cubicBezTo>
                      <a:cubicBezTo>
                        <a:pt x="6459" y="5824"/>
                        <a:pt x="5801" y="6004"/>
                        <a:pt x="5323" y="5705"/>
                      </a:cubicBezTo>
                      <a:lnTo>
                        <a:pt x="479" y="2954"/>
                      </a:lnTo>
                      <a:cubicBezTo>
                        <a:pt x="180" y="2774"/>
                        <a:pt x="0" y="2475"/>
                        <a:pt x="0" y="2176"/>
                      </a:cubicBezTo>
                      <a:cubicBezTo>
                        <a:pt x="0" y="1817"/>
                        <a:pt x="180" y="1518"/>
                        <a:pt x="479" y="1339"/>
                      </a:cubicBezTo>
                      <a:lnTo>
                        <a:pt x="2153" y="202"/>
                      </a:lnTo>
                      <a:cubicBezTo>
                        <a:pt x="2572" y="-37"/>
                        <a:pt x="3050" y="-97"/>
                        <a:pt x="3409" y="202"/>
                      </a:cubicBezTo>
                      <a:lnTo>
                        <a:pt x="8552" y="3731"/>
                      </a:lnTo>
                      <a:cubicBezTo>
                        <a:pt x="9031" y="4030"/>
                        <a:pt x="9091" y="4688"/>
                        <a:pt x="8732" y="5107"/>
                      </a:cubicBezTo>
                      <a:cubicBezTo>
                        <a:pt x="8612" y="5226"/>
                        <a:pt x="8433" y="5286"/>
                        <a:pt x="8253" y="540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88" name="Vrije vorm: vorm 9187">
                  <a:extLst>
                    <a:ext uri="{FF2B5EF4-FFF2-40B4-BE49-F238E27FC236}">
                      <a16:creationId xmlns:a16="http://schemas.microsoft.com/office/drawing/2014/main" id="{51AB0544-9EB1-4CC3-AE91-685D9ADBD1B3}"/>
                    </a:ext>
                  </a:extLst>
                </p:cNvPr>
                <p:cNvSpPr/>
                <p:nvPr/>
              </p:nvSpPr>
              <p:spPr>
                <a:xfrm>
                  <a:off x="5068278" y="2320261"/>
                  <a:ext cx="9553" cy="5059"/>
                </a:xfrm>
                <a:custGeom>
                  <a:avLst/>
                  <a:gdLst>
                    <a:gd name="connsiteX0" fmla="*/ 5905 w 9553"/>
                    <a:gd name="connsiteY0" fmla="*/ 4486 h 5059"/>
                    <a:gd name="connsiteX1" fmla="*/ 582 w 9553"/>
                    <a:gd name="connsiteY1" fmla="*/ 4665 h 5059"/>
                    <a:gd name="connsiteX2" fmla="*/ 104 w 9553"/>
                    <a:gd name="connsiteY2" fmla="*/ 3349 h 5059"/>
                    <a:gd name="connsiteX3" fmla="*/ 1539 w 9553"/>
                    <a:gd name="connsiteY3" fmla="*/ 2811 h 5059"/>
                    <a:gd name="connsiteX4" fmla="*/ 6324 w 9553"/>
                    <a:gd name="connsiteY4" fmla="*/ 2093 h 5059"/>
                    <a:gd name="connsiteX5" fmla="*/ 7400 w 9553"/>
                    <a:gd name="connsiteY5" fmla="*/ 1017 h 5059"/>
                    <a:gd name="connsiteX6" fmla="*/ 8537 w 9553"/>
                    <a:gd name="connsiteY6" fmla="*/ 0 h 5059"/>
                    <a:gd name="connsiteX7" fmla="*/ 9554 w 9553"/>
                    <a:gd name="connsiteY7" fmla="*/ 1017 h 5059"/>
                    <a:gd name="connsiteX8" fmla="*/ 7400 w 9553"/>
                    <a:gd name="connsiteY8" fmla="*/ 3768 h 5059"/>
                    <a:gd name="connsiteX9" fmla="*/ 5905 w 9553"/>
                    <a:gd name="connsiteY9" fmla="*/ 4486 h 5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53" h="5059">
                      <a:moveTo>
                        <a:pt x="5905" y="4486"/>
                      </a:moveTo>
                      <a:cubicBezTo>
                        <a:pt x="4231" y="5084"/>
                        <a:pt x="2197" y="5323"/>
                        <a:pt x="582" y="4665"/>
                      </a:cubicBezTo>
                      <a:cubicBezTo>
                        <a:pt x="44" y="4426"/>
                        <a:pt x="-135" y="3887"/>
                        <a:pt x="104" y="3349"/>
                      </a:cubicBezTo>
                      <a:cubicBezTo>
                        <a:pt x="343" y="2811"/>
                        <a:pt x="1001" y="2632"/>
                        <a:pt x="1539" y="2811"/>
                      </a:cubicBezTo>
                      <a:cubicBezTo>
                        <a:pt x="2915" y="3349"/>
                        <a:pt x="5008" y="2871"/>
                        <a:pt x="6324" y="2093"/>
                      </a:cubicBezTo>
                      <a:cubicBezTo>
                        <a:pt x="7101" y="1615"/>
                        <a:pt x="7400" y="1196"/>
                        <a:pt x="7400" y="1017"/>
                      </a:cubicBezTo>
                      <a:cubicBezTo>
                        <a:pt x="7460" y="479"/>
                        <a:pt x="7939" y="0"/>
                        <a:pt x="8537" y="0"/>
                      </a:cubicBezTo>
                      <a:cubicBezTo>
                        <a:pt x="9135" y="0"/>
                        <a:pt x="9554" y="419"/>
                        <a:pt x="9554" y="1017"/>
                      </a:cubicBezTo>
                      <a:cubicBezTo>
                        <a:pt x="9494" y="1974"/>
                        <a:pt x="8716" y="2930"/>
                        <a:pt x="7400" y="3768"/>
                      </a:cubicBezTo>
                      <a:cubicBezTo>
                        <a:pt x="6982" y="4067"/>
                        <a:pt x="6443" y="4306"/>
                        <a:pt x="5905" y="448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89" name="Vrije vorm: vorm 9188">
                  <a:extLst>
                    <a:ext uri="{FF2B5EF4-FFF2-40B4-BE49-F238E27FC236}">
                      <a16:creationId xmlns:a16="http://schemas.microsoft.com/office/drawing/2014/main" id="{3263278D-5E18-42BD-8F07-0682405DB2A3}"/>
                    </a:ext>
                  </a:extLst>
                </p:cNvPr>
                <p:cNvSpPr/>
                <p:nvPr/>
              </p:nvSpPr>
              <p:spPr>
                <a:xfrm>
                  <a:off x="5060063" y="2340177"/>
                  <a:ext cx="6769" cy="43419"/>
                </a:xfrm>
                <a:custGeom>
                  <a:avLst/>
                  <a:gdLst>
                    <a:gd name="connsiteX0" fmla="*/ 1441 w 6769"/>
                    <a:gd name="connsiteY0" fmla="*/ 43360 h 43419"/>
                    <a:gd name="connsiteX1" fmla="*/ 963 w 6769"/>
                    <a:gd name="connsiteY1" fmla="*/ 43420 h 43419"/>
                    <a:gd name="connsiteX2" fmla="*/ 6 w 6769"/>
                    <a:gd name="connsiteY2" fmla="*/ 42403 h 43419"/>
                    <a:gd name="connsiteX3" fmla="*/ 4611 w 6769"/>
                    <a:gd name="connsiteY3" fmla="*/ 957 h 43419"/>
                    <a:gd name="connsiteX4" fmla="*/ 5807 w 6769"/>
                    <a:gd name="connsiteY4" fmla="*/ 0 h 43419"/>
                    <a:gd name="connsiteX5" fmla="*/ 6764 w 6769"/>
                    <a:gd name="connsiteY5" fmla="*/ 1017 h 43419"/>
                    <a:gd name="connsiteX6" fmla="*/ 2159 w 6769"/>
                    <a:gd name="connsiteY6" fmla="*/ 42463 h 43419"/>
                    <a:gd name="connsiteX7" fmla="*/ 1441 w 6769"/>
                    <a:gd name="connsiteY7" fmla="*/ 43360 h 4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9" h="43419">
                      <a:moveTo>
                        <a:pt x="1441" y="43360"/>
                      </a:moveTo>
                      <a:cubicBezTo>
                        <a:pt x="1322" y="43420"/>
                        <a:pt x="1142" y="43420"/>
                        <a:pt x="963" y="43420"/>
                      </a:cubicBezTo>
                      <a:cubicBezTo>
                        <a:pt x="365" y="43420"/>
                        <a:pt x="-54" y="42942"/>
                        <a:pt x="6" y="42403"/>
                      </a:cubicBezTo>
                      <a:cubicBezTo>
                        <a:pt x="963" y="34150"/>
                        <a:pt x="4611" y="1316"/>
                        <a:pt x="4611" y="957"/>
                      </a:cubicBezTo>
                      <a:cubicBezTo>
                        <a:pt x="4671" y="419"/>
                        <a:pt x="5209" y="0"/>
                        <a:pt x="5807" y="0"/>
                      </a:cubicBezTo>
                      <a:cubicBezTo>
                        <a:pt x="6405" y="0"/>
                        <a:pt x="6824" y="478"/>
                        <a:pt x="6764" y="1017"/>
                      </a:cubicBezTo>
                      <a:cubicBezTo>
                        <a:pt x="6704" y="1375"/>
                        <a:pt x="3116" y="34210"/>
                        <a:pt x="2159" y="42463"/>
                      </a:cubicBezTo>
                      <a:cubicBezTo>
                        <a:pt x="2159" y="42882"/>
                        <a:pt x="1860" y="43240"/>
                        <a:pt x="1441" y="4336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90" name="Vrije vorm: vorm 9189">
                  <a:extLst>
                    <a:ext uri="{FF2B5EF4-FFF2-40B4-BE49-F238E27FC236}">
                      <a16:creationId xmlns:a16="http://schemas.microsoft.com/office/drawing/2014/main" id="{675417F2-D80A-471C-B9A0-83854CB2BB13}"/>
                    </a:ext>
                  </a:extLst>
                </p:cNvPr>
                <p:cNvSpPr/>
                <p:nvPr/>
              </p:nvSpPr>
              <p:spPr>
                <a:xfrm>
                  <a:off x="5056129" y="2366500"/>
                  <a:ext cx="21725" cy="19574"/>
                </a:xfrm>
                <a:custGeom>
                  <a:avLst/>
                  <a:gdLst>
                    <a:gd name="connsiteX0" fmla="*/ 12073 w 21725"/>
                    <a:gd name="connsiteY0" fmla="*/ 19489 h 19574"/>
                    <a:gd name="connsiteX1" fmla="*/ 11356 w 21725"/>
                    <a:gd name="connsiteY1" fmla="*/ 19549 h 19574"/>
                    <a:gd name="connsiteX2" fmla="*/ 710 w 21725"/>
                    <a:gd name="connsiteY2" fmla="*/ 16619 h 19574"/>
                    <a:gd name="connsiteX3" fmla="*/ 52 w 21725"/>
                    <a:gd name="connsiteY3" fmla="*/ 15363 h 19574"/>
                    <a:gd name="connsiteX4" fmla="*/ 1428 w 21725"/>
                    <a:gd name="connsiteY4" fmla="*/ 14705 h 19574"/>
                    <a:gd name="connsiteX5" fmla="*/ 11475 w 21725"/>
                    <a:gd name="connsiteY5" fmla="*/ 17456 h 19574"/>
                    <a:gd name="connsiteX6" fmla="*/ 19669 w 21725"/>
                    <a:gd name="connsiteY6" fmla="*/ 710 h 19574"/>
                    <a:gd name="connsiteX7" fmla="*/ 21044 w 21725"/>
                    <a:gd name="connsiteY7" fmla="*/ 52 h 19574"/>
                    <a:gd name="connsiteX8" fmla="*/ 21643 w 21725"/>
                    <a:gd name="connsiteY8" fmla="*/ 1308 h 19574"/>
                    <a:gd name="connsiteX9" fmla="*/ 12373 w 21725"/>
                    <a:gd name="connsiteY9" fmla="*/ 19310 h 19574"/>
                    <a:gd name="connsiteX10" fmla="*/ 12073 w 21725"/>
                    <a:gd name="connsiteY10" fmla="*/ 19489 h 1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725" h="19574">
                      <a:moveTo>
                        <a:pt x="12073" y="19489"/>
                      </a:moveTo>
                      <a:cubicBezTo>
                        <a:pt x="11834" y="19549"/>
                        <a:pt x="11595" y="19609"/>
                        <a:pt x="11356" y="19549"/>
                      </a:cubicBezTo>
                      <a:lnTo>
                        <a:pt x="710" y="16619"/>
                      </a:lnTo>
                      <a:cubicBezTo>
                        <a:pt x="172" y="16439"/>
                        <a:pt x="-127" y="15901"/>
                        <a:pt x="52" y="15363"/>
                      </a:cubicBezTo>
                      <a:cubicBezTo>
                        <a:pt x="231" y="14825"/>
                        <a:pt x="889" y="14526"/>
                        <a:pt x="1428" y="14705"/>
                      </a:cubicBezTo>
                      <a:lnTo>
                        <a:pt x="11475" y="17456"/>
                      </a:lnTo>
                      <a:cubicBezTo>
                        <a:pt x="12432" y="16380"/>
                        <a:pt x="14884" y="12731"/>
                        <a:pt x="19669" y="710"/>
                      </a:cubicBezTo>
                      <a:cubicBezTo>
                        <a:pt x="19908" y="172"/>
                        <a:pt x="20506" y="-127"/>
                        <a:pt x="21044" y="52"/>
                      </a:cubicBezTo>
                      <a:cubicBezTo>
                        <a:pt x="21583" y="232"/>
                        <a:pt x="21882" y="770"/>
                        <a:pt x="21643" y="1308"/>
                      </a:cubicBezTo>
                      <a:cubicBezTo>
                        <a:pt x="17456" y="11774"/>
                        <a:pt x="14346" y="17815"/>
                        <a:pt x="12373" y="19310"/>
                      </a:cubicBezTo>
                      <a:cubicBezTo>
                        <a:pt x="12253" y="19430"/>
                        <a:pt x="12133" y="19489"/>
                        <a:pt x="12073" y="1948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91" name="Vrije vorm: vorm 9190">
                  <a:extLst>
                    <a:ext uri="{FF2B5EF4-FFF2-40B4-BE49-F238E27FC236}">
                      <a16:creationId xmlns:a16="http://schemas.microsoft.com/office/drawing/2014/main" id="{5098DBFC-8017-4015-9D46-3D31C20D8262}"/>
                    </a:ext>
                  </a:extLst>
                </p:cNvPr>
                <p:cNvSpPr/>
                <p:nvPr/>
              </p:nvSpPr>
              <p:spPr>
                <a:xfrm>
                  <a:off x="5068616" y="2346673"/>
                  <a:ext cx="23262" cy="34556"/>
                </a:xfrm>
                <a:custGeom>
                  <a:avLst/>
                  <a:gdLst>
                    <a:gd name="connsiteX0" fmla="*/ 22493 w 23262"/>
                    <a:gd name="connsiteY0" fmla="*/ 34472 h 34556"/>
                    <a:gd name="connsiteX1" fmla="*/ 21297 w 23262"/>
                    <a:gd name="connsiteY1" fmla="*/ 34233 h 34556"/>
                    <a:gd name="connsiteX2" fmla="*/ 17589 w 23262"/>
                    <a:gd name="connsiteY2" fmla="*/ 30584 h 34556"/>
                    <a:gd name="connsiteX3" fmla="*/ 6286 w 23262"/>
                    <a:gd name="connsiteY3" fmla="*/ 18862 h 34556"/>
                    <a:gd name="connsiteX4" fmla="*/ 6 w 23262"/>
                    <a:gd name="connsiteY4" fmla="*/ 1159 h 34556"/>
                    <a:gd name="connsiteX5" fmla="*/ 963 w 23262"/>
                    <a:gd name="connsiteY5" fmla="*/ 23 h 34556"/>
                    <a:gd name="connsiteX6" fmla="*/ 2159 w 23262"/>
                    <a:gd name="connsiteY6" fmla="*/ 800 h 34556"/>
                    <a:gd name="connsiteX7" fmla="*/ 8140 w 23262"/>
                    <a:gd name="connsiteY7" fmla="*/ 17726 h 34556"/>
                    <a:gd name="connsiteX8" fmla="*/ 19204 w 23262"/>
                    <a:gd name="connsiteY8" fmla="*/ 29149 h 34556"/>
                    <a:gd name="connsiteX9" fmla="*/ 23032 w 23262"/>
                    <a:gd name="connsiteY9" fmla="*/ 32917 h 34556"/>
                    <a:gd name="connsiteX10" fmla="*/ 22852 w 23262"/>
                    <a:gd name="connsiteY10" fmla="*/ 34352 h 34556"/>
                    <a:gd name="connsiteX11" fmla="*/ 22493 w 23262"/>
                    <a:gd name="connsiteY11" fmla="*/ 34472 h 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62" h="34556">
                      <a:moveTo>
                        <a:pt x="22493" y="34472"/>
                      </a:moveTo>
                      <a:cubicBezTo>
                        <a:pt x="22075" y="34651"/>
                        <a:pt x="21596" y="34532"/>
                        <a:pt x="21297" y="34233"/>
                      </a:cubicBezTo>
                      <a:cubicBezTo>
                        <a:pt x="20699" y="33575"/>
                        <a:pt x="19264" y="32199"/>
                        <a:pt x="17589" y="30584"/>
                      </a:cubicBezTo>
                      <a:cubicBezTo>
                        <a:pt x="13642" y="26817"/>
                        <a:pt x="8199" y="21613"/>
                        <a:pt x="6286" y="18862"/>
                      </a:cubicBezTo>
                      <a:cubicBezTo>
                        <a:pt x="3475" y="14855"/>
                        <a:pt x="723" y="6363"/>
                        <a:pt x="6" y="1159"/>
                      </a:cubicBezTo>
                      <a:cubicBezTo>
                        <a:pt x="-54" y="621"/>
                        <a:pt x="364" y="83"/>
                        <a:pt x="963" y="23"/>
                      </a:cubicBezTo>
                      <a:cubicBezTo>
                        <a:pt x="1561" y="-97"/>
                        <a:pt x="2099" y="262"/>
                        <a:pt x="2159" y="800"/>
                      </a:cubicBezTo>
                      <a:cubicBezTo>
                        <a:pt x="2817" y="5765"/>
                        <a:pt x="5508" y="14018"/>
                        <a:pt x="8140" y="17726"/>
                      </a:cubicBezTo>
                      <a:cubicBezTo>
                        <a:pt x="9994" y="20298"/>
                        <a:pt x="15556" y="25621"/>
                        <a:pt x="19204" y="29149"/>
                      </a:cubicBezTo>
                      <a:cubicBezTo>
                        <a:pt x="20998" y="30884"/>
                        <a:pt x="22433" y="32199"/>
                        <a:pt x="23032" y="32917"/>
                      </a:cubicBezTo>
                      <a:cubicBezTo>
                        <a:pt x="23390" y="33336"/>
                        <a:pt x="23331" y="33934"/>
                        <a:pt x="22852" y="34352"/>
                      </a:cubicBezTo>
                      <a:cubicBezTo>
                        <a:pt x="22733" y="34352"/>
                        <a:pt x="22613" y="34412"/>
                        <a:pt x="22493" y="3447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92" name="Vrije vorm: vorm 9191">
                  <a:extLst>
                    <a:ext uri="{FF2B5EF4-FFF2-40B4-BE49-F238E27FC236}">
                      <a16:creationId xmlns:a16="http://schemas.microsoft.com/office/drawing/2014/main" id="{9E464824-75DF-4469-9354-82DCB0DCA477}"/>
                    </a:ext>
                  </a:extLst>
                </p:cNvPr>
                <p:cNvSpPr/>
                <p:nvPr/>
              </p:nvSpPr>
              <p:spPr>
                <a:xfrm>
                  <a:off x="5081254" y="2338384"/>
                  <a:ext cx="19910" cy="45699"/>
                </a:xfrm>
                <a:custGeom>
                  <a:avLst/>
                  <a:gdLst>
                    <a:gd name="connsiteX0" fmla="*/ 5370 w 19910"/>
                    <a:gd name="connsiteY0" fmla="*/ 45632 h 45699"/>
                    <a:gd name="connsiteX1" fmla="*/ 4054 w 19910"/>
                    <a:gd name="connsiteY1" fmla="*/ 45094 h 45699"/>
                    <a:gd name="connsiteX2" fmla="*/ 4712 w 19910"/>
                    <a:gd name="connsiteY2" fmla="*/ 43778 h 45699"/>
                    <a:gd name="connsiteX3" fmla="*/ 17570 w 19910"/>
                    <a:gd name="connsiteY3" fmla="*/ 38575 h 45699"/>
                    <a:gd name="connsiteX4" fmla="*/ 9496 w 19910"/>
                    <a:gd name="connsiteY4" fmla="*/ 26015 h 45699"/>
                    <a:gd name="connsiteX5" fmla="*/ 5011 w 19910"/>
                    <a:gd name="connsiteY5" fmla="*/ 19137 h 45699"/>
                    <a:gd name="connsiteX6" fmla="*/ 4652 w 19910"/>
                    <a:gd name="connsiteY6" fmla="*/ 17822 h 45699"/>
                    <a:gd name="connsiteX7" fmla="*/ 47 w 19910"/>
                    <a:gd name="connsiteY7" fmla="*/ 1315 h 45699"/>
                    <a:gd name="connsiteX8" fmla="*/ 765 w 19910"/>
                    <a:gd name="connsiteY8" fmla="*/ 59 h 45699"/>
                    <a:gd name="connsiteX9" fmla="*/ 2080 w 19910"/>
                    <a:gd name="connsiteY9" fmla="*/ 657 h 45699"/>
                    <a:gd name="connsiteX10" fmla="*/ 6745 w 19910"/>
                    <a:gd name="connsiteY10" fmla="*/ 17283 h 45699"/>
                    <a:gd name="connsiteX11" fmla="*/ 7104 w 19910"/>
                    <a:gd name="connsiteY11" fmla="*/ 18599 h 45699"/>
                    <a:gd name="connsiteX12" fmla="*/ 11350 w 19910"/>
                    <a:gd name="connsiteY12" fmla="*/ 24879 h 45699"/>
                    <a:gd name="connsiteX13" fmla="*/ 19903 w 19910"/>
                    <a:gd name="connsiteY13" fmla="*/ 38993 h 45699"/>
                    <a:gd name="connsiteX14" fmla="*/ 19185 w 19910"/>
                    <a:gd name="connsiteY14" fmla="*/ 40070 h 45699"/>
                    <a:gd name="connsiteX15" fmla="*/ 5370 w 19910"/>
                    <a:gd name="connsiteY15" fmla="*/ 45632 h 45699"/>
                    <a:gd name="connsiteX16" fmla="*/ 5370 w 19910"/>
                    <a:gd name="connsiteY16" fmla="*/ 45632 h 4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910" h="45699">
                      <a:moveTo>
                        <a:pt x="5370" y="45632"/>
                      </a:moveTo>
                      <a:cubicBezTo>
                        <a:pt x="4831" y="45811"/>
                        <a:pt x="4233" y="45632"/>
                        <a:pt x="4054" y="45094"/>
                      </a:cubicBezTo>
                      <a:cubicBezTo>
                        <a:pt x="3874" y="44615"/>
                        <a:pt x="4114" y="44017"/>
                        <a:pt x="4712" y="43778"/>
                      </a:cubicBezTo>
                      <a:lnTo>
                        <a:pt x="17570" y="38575"/>
                      </a:lnTo>
                      <a:cubicBezTo>
                        <a:pt x="16613" y="35943"/>
                        <a:pt x="12427" y="30022"/>
                        <a:pt x="9496" y="26015"/>
                      </a:cubicBezTo>
                      <a:cubicBezTo>
                        <a:pt x="6685" y="22128"/>
                        <a:pt x="5250" y="20035"/>
                        <a:pt x="5011" y="19137"/>
                      </a:cubicBezTo>
                      <a:lnTo>
                        <a:pt x="4652" y="17822"/>
                      </a:lnTo>
                      <a:cubicBezTo>
                        <a:pt x="3575" y="13934"/>
                        <a:pt x="1123" y="4784"/>
                        <a:pt x="47" y="1315"/>
                      </a:cubicBezTo>
                      <a:cubicBezTo>
                        <a:pt x="-133" y="777"/>
                        <a:pt x="226" y="238"/>
                        <a:pt x="765" y="59"/>
                      </a:cubicBezTo>
                      <a:cubicBezTo>
                        <a:pt x="1303" y="-120"/>
                        <a:pt x="1901" y="119"/>
                        <a:pt x="2080" y="657"/>
                      </a:cubicBezTo>
                      <a:cubicBezTo>
                        <a:pt x="3217" y="4186"/>
                        <a:pt x="5668" y="13336"/>
                        <a:pt x="6745" y="17283"/>
                      </a:cubicBezTo>
                      <a:lnTo>
                        <a:pt x="7104" y="18599"/>
                      </a:lnTo>
                      <a:cubicBezTo>
                        <a:pt x="7283" y="19257"/>
                        <a:pt x="9436" y="22247"/>
                        <a:pt x="11350" y="24879"/>
                      </a:cubicBezTo>
                      <a:cubicBezTo>
                        <a:pt x="16015" y="31398"/>
                        <a:pt x="19664" y="36601"/>
                        <a:pt x="19903" y="38993"/>
                      </a:cubicBezTo>
                      <a:cubicBezTo>
                        <a:pt x="19962" y="39412"/>
                        <a:pt x="19664" y="39891"/>
                        <a:pt x="19185" y="40070"/>
                      </a:cubicBezTo>
                      <a:lnTo>
                        <a:pt x="5370" y="45632"/>
                      </a:lnTo>
                      <a:cubicBezTo>
                        <a:pt x="5370" y="45572"/>
                        <a:pt x="5370" y="45572"/>
                        <a:pt x="5370" y="4563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93" name="Vrije vorm: vorm 9192">
                  <a:extLst>
                    <a:ext uri="{FF2B5EF4-FFF2-40B4-BE49-F238E27FC236}">
                      <a16:creationId xmlns:a16="http://schemas.microsoft.com/office/drawing/2014/main" id="{20B392AE-1CC8-4CE4-A934-89DD49B044BB}"/>
                    </a:ext>
                  </a:extLst>
                </p:cNvPr>
                <p:cNvSpPr/>
                <p:nvPr/>
              </p:nvSpPr>
              <p:spPr>
                <a:xfrm>
                  <a:off x="5061206" y="2299136"/>
                  <a:ext cx="25169" cy="25909"/>
                </a:xfrm>
                <a:custGeom>
                  <a:avLst/>
                  <a:gdLst>
                    <a:gd name="connsiteX0" fmla="*/ 20453 w 25169"/>
                    <a:gd name="connsiteY0" fmla="*/ 25311 h 25909"/>
                    <a:gd name="connsiteX1" fmla="*/ 17642 w 25169"/>
                    <a:gd name="connsiteY1" fmla="*/ 25909 h 25909"/>
                    <a:gd name="connsiteX2" fmla="*/ 16626 w 25169"/>
                    <a:gd name="connsiteY2" fmla="*/ 24953 h 25909"/>
                    <a:gd name="connsiteX3" fmla="*/ 17762 w 25169"/>
                    <a:gd name="connsiteY3" fmla="*/ 23936 h 25909"/>
                    <a:gd name="connsiteX4" fmla="*/ 21829 w 25169"/>
                    <a:gd name="connsiteY4" fmla="*/ 22261 h 25909"/>
                    <a:gd name="connsiteX5" fmla="*/ 23025 w 25169"/>
                    <a:gd name="connsiteY5" fmla="*/ 17836 h 25909"/>
                    <a:gd name="connsiteX6" fmla="*/ 12319 w 25169"/>
                    <a:gd name="connsiteY6" fmla="*/ 3243 h 25909"/>
                    <a:gd name="connsiteX7" fmla="*/ 4425 w 25169"/>
                    <a:gd name="connsiteY7" fmla="*/ 2405 h 25909"/>
                    <a:gd name="connsiteX8" fmla="*/ 2033 w 25169"/>
                    <a:gd name="connsiteY8" fmla="*/ 4319 h 25909"/>
                    <a:gd name="connsiteX9" fmla="*/ 657 w 25169"/>
                    <a:gd name="connsiteY9" fmla="*/ 4917 h 25909"/>
                    <a:gd name="connsiteX10" fmla="*/ 59 w 25169"/>
                    <a:gd name="connsiteY10" fmla="*/ 3661 h 25909"/>
                    <a:gd name="connsiteX11" fmla="*/ 3827 w 25169"/>
                    <a:gd name="connsiteY11" fmla="*/ 551 h 25909"/>
                    <a:gd name="connsiteX12" fmla="*/ 13515 w 25169"/>
                    <a:gd name="connsiteY12" fmla="*/ 1568 h 25909"/>
                    <a:gd name="connsiteX13" fmla="*/ 25118 w 25169"/>
                    <a:gd name="connsiteY13" fmla="*/ 17596 h 25909"/>
                    <a:gd name="connsiteX14" fmla="*/ 23324 w 25169"/>
                    <a:gd name="connsiteY14" fmla="*/ 23577 h 25909"/>
                    <a:gd name="connsiteX15" fmla="*/ 20453 w 25169"/>
                    <a:gd name="connsiteY15" fmla="*/ 25311 h 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69" h="25909">
                      <a:moveTo>
                        <a:pt x="20453" y="25311"/>
                      </a:moveTo>
                      <a:cubicBezTo>
                        <a:pt x="18958" y="25850"/>
                        <a:pt x="17702" y="25909"/>
                        <a:pt x="17642" y="25909"/>
                      </a:cubicBezTo>
                      <a:cubicBezTo>
                        <a:pt x="17044" y="25909"/>
                        <a:pt x="16566" y="25491"/>
                        <a:pt x="16626" y="24953"/>
                      </a:cubicBezTo>
                      <a:cubicBezTo>
                        <a:pt x="16626" y="24414"/>
                        <a:pt x="17164" y="23936"/>
                        <a:pt x="17762" y="23936"/>
                      </a:cubicBezTo>
                      <a:cubicBezTo>
                        <a:pt x="17762" y="23936"/>
                        <a:pt x="20274" y="23876"/>
                        <a:pt x="21829" y="22261"/>
                      </a:cubicBezTo>
                      <a:cubicBezTo>
                        <a:pt x="22845" y="21244"/>
                        <a:pt x="23204" y="19749"/>
                        <a:pt x="23025" y="17836"/>
                      </a:cubicBezTo>
                      <a:cubicBezTo>
                        <a:pt x="22487" y="11915"/>
                        <a:pt x="15788" y="5216"/>
                        <a:pt x="12319" y="3243"/>
                      </a:cubicBezTo>
                      <a:cubicBezTo>
                        <a:pt x="10047" y="1927"/>
                        <a:pt x="6757" y="1568"/>
                        <a:pt x="4425" y="2405"/>
                      </a:cubicBezTo>
                      <a:cubicBezTo>
                        <a:pt x="3588" y="2704"/>
                        <a:pt x="2451" y="3243"/>
                        <a:pt x="2033" y="4319"/>
                      </a:cubicBezTo>
                      <a:cubicBezTo>
                        <a:pt x="1793" y="4857"/>
                        <a:pt x="1195" y="5097"/>
                        <a:pt x="657" y="4917"/>
                      </a:cubicBezTo>
                      <a:cubicBezTo>
                        <a:pt x="119" y="4738"/>
                        <a:pt x="-120" y="4140"/>
                        <a:pt x="59" y="3661"/>
                      </a:cubicBezTo>
                      <a:cubicBezTo>
                        <a:pt x="657" y="2226"/>
                        <a:pt x="1973" y="1149"/>
                        <a:pt x="3827" y="551"/>
                      </a:cubicBezTo>
                      <a:cubicBezTo>
                        <a:pt x="6817" y="-465"/>
                        <a:pt x="10705" y="-47"/>
                        <a:pt x="13515" y="1568"/>
                      </a:cubicBezTo>
                      <a:cubicBezTo>
                        <a:pt x="17343" y="3721"/>
                        <a:pt x="24520" y="10958"/>
                        <a:pt x="25118" y="17596"/>
                      </a:cubicBezTo>
                      <a:cubicBezTo>
                        <a:pt x="25357" y="20108"/>
                        <a:pt x="24759" y="22082"/>
                        <a:pt x="23324" y="23577"/>
                      </a:cubicBezTo>
                      <a:cubicBezTo>
                        <a:pt x="22487" y="24414"/>
                        <a:pt x="21410" y="24953"/>
                        <a:pt x="20453" y="25311"/>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057" name="Graphic 3">
                <a:extLst>
                  <a:ext uri="{FF2B5EF4-FFF2-40B4-BE49-F238E27FC236}">
                    <a16:creationId xmlns:a16="http://schemas.microsoft.com/office/drawing/2014/main" id="{676DB1D4-00B0-452A-BB91-565E31D6A390}"/>
                  </a:ext>
                </a:extLst>
              </p:cNvPr>
              <p:cNvGrpSpPr/>
              <p:nvPr/>
            </p:nvGrpSpPr>
            <p:grpSpPr>
              <a:xfrm>
                <a:off x="6017818" y="1619735"/>
                <a:ext cx="59033" cy="115815"/>
                <a:chOff x="6017818" y="1619735"/>
                <a:chExt cx="59033" cy="115815"/>
              </a:xfrm>
              <a:grpFill/>
            </p:grpSpPr>
            <p:sp>
              <p:nvSpPr>
                <p:cNvPr id="9166" name="Vrije vorm: vorm 9165">
                  <a:extLst>
                    <a:ext uri="{FF2B5EF4-FFF2-40B4-BE49-F238E27FC236}">
                      <a16:creationId xmlns:a16="http://schemas.microsoft.com/office/drawing/2014/main" id="{E3A879FE-45A6-4B5B-9694-ABB42E197109}"/>
                    </a:ext>
                  </a:extLst>
                </p:cNvPr>
                <p:cNvSpPr/>
                <p:nvPr/>
              </p:nvSpPr>
              <p:spPr>
                <a:xfrm>
                  <a:off x="6017818" y="1619735"/>
                  <a:ext cx="22174" cy="34841"/>
                </a:xfrm>
                <a:custGeom>
                  <a:avLst/>
                  <a:gdLst>
                    <a:gd name="connsiteX0" fmla="*/ 8496 w 22174"/>
                    <a:gd name="connsiteY0" fmla="*/ 34752 h 34841"/>
                    <a:gd name="connsiteX1" fmla="*/ 7659 w 22174"/>
                    <a:gd name="connsiteY1" fmla="*/ 34752 h 34841"/>
                    <a:gd name="connsiteX2" fmla="*/ 3832 w 22174"/>
                    <a:gd name="connsiteY2" fmla="*/ 28831 h 34841"/>
                    <a:gd name="connsiteX3" fmla="*/ 2456 w 22174"/>
                    <a:gd name="connsiteY3" fmla="*/ 24943 h 34841"/>
                    <a:gd name="connsiteX4" fmla="*/ 722 w 22174"/>
                    <a:gd name="connsiteY4" fmla="*/ 14537 h 34841"/>
                    <a:gd name="connsiteX5" fmla="*/ 961 w 22174"/>
                    <a:gd name="connsiteY5" fmla="*/ 11726 h 34841"/>
                    <a:gd name="connsiteX6" fmla="*/ 5925 w 22174"/>
                    <a:gd name="connsiteY6" fmla="*/ 1977 h 34841"/>
                    <a:gd name="connsiteX7" fmla="*/ 15075 w 22174"/>
                    <a:gd name="connsiteY7" fmla="*/ 422 h 34841"/>
                    <a:gd name="connsiteX8" fmla="*/ 18843 w 22174"/>
                    <a:gd name="connsiteY8" fmla="*/ 4310 h 34841"/>
                    <a:gd name="connsiteX9" fmla="*/ 21714 w 22174"/>
                    <a:gd name="connsiteY9" fmla="*/ 16690 h 34841"/>
                    <a:gd name="connsiteX10" fmla="*/ 18425 w 22174"/>
                    <a:gd name="connsiteY10" fmla="*/ 19979 h 34841"/>
                    <a:gd name="connsiteX11" fmla="*/ 7659 w 22174"/>
                    <a:gd name="connsiteY11" fmla="*/ 17168 h 34841"/>
                    <a:gd name="connsiteX12" fmla="*/ 7181 w 22174"/>
                    <a:gd name="connsiteY12" fmla="*/ 16570 h 34841"/>
                    <a:gd name="connsiteX13" fmla="*/ 7300 w 22174"/>
                    <a:gd name="connsiteY13" fmla="*/ 15255 h 34841"/>
                    <a:gd name="connsiteX14" fmla="*/ 8855 w 22174"/>
                    <a:gd name="connsiteY14" fmla="*/ 12503 h 34841"/>
                    <a:gd name="connsiteX15" fmla="*/ 8257 w 22174"/>
                    <a:gd name="connsiteY15" fmla="*/ 8496 h 34841"/>
                    <a:gd name="connsiteX16" fmla="*/ 11965 w 22174"/>
                    <a:gd name="connsiteY16" fmla="*/ 4310 h 34841"/>
                    <a:gd name="connsiteX17" fmla="*/ 15793 w 22174"/>
                    <a:gd name="connsiteY17" fmla="*/ 3233 h 34841"/>
                    <a:gd name="connsiteX18" fmla="*/ 14178 w 22174"/>
                    <a:gd name="connsiteY18" fmla="*/ 2276 h 34841"/>
                    <a:gd name="connsiteX19" fmla="*/ 6941 w 22174"/>
                    <a:gd name="connsiteY19" fmla="*/ 3592 h 34841"/>
                    <a:gd name="connsiteX20" fmla="*/ 3054 w 22174"/>
                    <a:gd name="connsiteY20" fmla="*/ 11487 h 34841"/>
                    <a:gd name="connsiteX21" fmla="*/ 2695 w 22174"/>
                    <a:gd name="connsiteY21" fmla="*/ 15075 h 34841"/>
                    <a:gd name="connsiteX22" fmla="*/ 4190 w 22174"/>
                    <a:gd name="connsiteY22" fmla="*/ 23687 h 34841"/>
                    <a:gd name="connsiteX23" fmla="*/ 5865 w 22174"/>
                    <a:gd name="connsiteY23" fmla="*/ 28352 h 34841"/>
                    <a:gd name="connsiteX24" fmla="*/ 8616 w 22174"/>
                    <a:gd name="connsiteY24" fmla="*/ 32957 h 34841"/>
                    <a:gd name="connsiteX25" fmla="*/ 9035 w 22174"/>
                    <a:gd name="connsiteY25" fmla="*/ 34273 h 34841"/>
                    <a:gd name="connsiteX26" fmla="*/ 8496 w 22174"/>
                    <a:gd name="connsiteY26" fmla="*/ 34752 h 34841"/>
                    <a:gd name="connsiteX27" fmla="*/ 9394 w 22174"/>
                    <a:gd name="connsiteY27" fmla="*/ 15972 h 34841"/>
                    <a:gd name="connsiteX28" fmla="*/ 17707 w 22174"/>
                    <a:gd name="connsiteY28" fmla="*/ 18125 h 34841"/>
                    <a:gd name="connsiteX29" fmla="*/ 19680 w 22174"/>
                    <a:gd name="connsiteY29" fmla="*/ 16092 h 34841"/>
                    <a:gd name="connsiteX30" fmla="*/ 17049 w 22174"/>
                    <a:gd name="connsiteY30" fmla="*/ 5446 h 34841"/>
                    <a:gd name="connsiteX31" fmla="*/ 12982 w 22174"/>
                    <a:gd name="connsiteY31" fmla="*/ 5984 h 34841"/>
                    <a:gd name="connsiteX32" fmla="*/ 10291 w 22174"/>
                    <a:gd name="connsiteY32" fmla="*/ 8915 h 34841"/>
                    <a:gd name="connsiteX33" fmla="*/ 10650 w 22174"/>
                    <a:gd name="connsiteY33" fmla="*/ 11367 h 34841"/>
                    <a:gd name="connsiteX34" fmla="*/ 9394 w 22174"/>
                    <a:gd name="connsiteY34" fmla="*/ 15972 h 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174" h="34841">
                      <a:moveTo>
                        <a:pt x="8496" y="34752"/>
                      </a:moveTo>
                      <a:cubicBezTo>
                        <a:pt x="8197" y="34871"/>
                        <a:pt x="7898" y="34871"/>
                        <a:pt x="7659" y="34752"/>
                      </a:cubicBezTo>
                      <a:cubicBezTo>
                        <a:pt x="4609" y="33376"/>
                        <a:pt x="4190" y="30984"/>
                        <a:pt x="3832" y="28831"/>
                      </a:cubicBezTo>
                      <a:cubicBezTo>
                        <a:pt x="3592" y="27455"/>
                        <a:pt x="3353" y="26080"/>
                        <a:pt x="2456" y="24943"/>
                      </a:cubicBezTo>
                      <a:cubicBezTo>
                        <a:pt x="-56" y="21594"/>
                        <a:pt x="-654" y="18006"/>
                        <a:pt x="722" y="14537"/>
                      </a:cubicBezTo>
                      <a:cubicBezTo>
                        <a:pt x="1021" y="13819"/>
                        <a:pt x="961" y="12802"/>
                        <a:pt x="961" y="11726"/>
                      </a:cubicBezTo>
                      <a:cubicBezTo>
                        <a:pt x="901" y="8915"/>
                        <a:pt x="781" y="5028"/>
                        <a:pt x="5925" y="1977"/>
                      </a:cubicBezTo>
                      <a:cubicBezTo>
                        <a:pt x="9095" y="64"/>
                        <a:pt x="12444" y="-475"/>
                        <a:pt x="15075" y="422"/>
                      </a:cubicBezTo>
                      <a:cubicBezTo>
                        <a:pt x="16989" y="1080"/>
                        <a:pt x="18365" y="2516"/>
                        <a:pt x="18843" y="4310"/>
                      </a:cubicBezTo>
                      <a:cubicBezTo>
                        <a:pt x="21714" y="8436"/>
                        <a:pt x="22910" y="13520"/>
                        <a:pt x="21714" y="16690"/>
                      </a:cubicBezTo>
                      <a:cubicBezTo>
                        <a:pt x="21116" y="18245"/>
                        <a:pt x="19980" y="19381"/>
                        <a:pt x="18425" y="19979"/>
                      </a:cubicBezTo>
                      <a:cubicBezTo>
                        <a:pt x="13221" y="21893"/>
                        <a:pt x="9214" y="19082"/>
                        <a:pt x="7659" y="17168"/>
                      </a:cubicBezTo>
                      <a:lnTo>
                        <a:pt x="7181" y="16570"/>
                      </a:lnTo>
                      <a:cubicBezTo>
                        <a:pt x="6882" y="16211"/>
                        <a:pt x="6941" y="15673"/>
                        <a:pt x="7300" y="15255"/>
                      </a:cubicBezTo>
                      <a:cubicBezTo>
                        <a:pt x="8257" y="14298"/>
                        <a:pt x="9155" y="12922"/>
                        <a:pt x="8855" y="12503"/>
                      </a:cubicBezTo>
                      <a:cubicBezTo>
                        <a:pt x="8377" y="11846"/>
                        <a:pt x="7779" y="10290"/>
                        <a:pt x="8257" y="8496"/>
                      </a:cubicBezTo>
                      <a:cubicBezTo>
                        <a:pt x="8736" y="6822"/>
                        <a:pt x="9992" y="5386"/>
                        <a:pt x="11965" y="4310"/>
                      </a:cubicBezTo>
                      <a:cubicBezTo>
                        <a:pt x="13401" y="3472"/>
                        <a:pt x="14717" y="3233"/>
                        <a:pt x="15793" y="3233"/>
                      </a:cubicBezTo>
                      <a:cubicBezTo>
                        <a:pt x="15374" y="2815"/>
                        <a:pt x="14836" y="2456"/>
                        <a:pt x="14178" y="2276"/>
                      </a:cubicBezTo>
                      <a:cubicBezTo>
                        <a:pt x="12204" y="1559"/>
                        <a:pt x="9513" y="2037"/>
                        <a:pt x="6941" y="3592"/>
                      </a:cubicBezTo>
                      <a:cubicBezTo>
                        <a:pt x="2875" y="5984"/>
                        <a:pt x="2994" y="8795"/>
                        <a:pt x="3054" y="11487"/>
                      </a:cubicBezTo>
                      <a:cubicBezTo>
                        <a:pt x="3114" y="12802"/>
                        <a:pt x="3114" y="13999"/>
                        <a:pt x="2695" y="15075"/>
                      </a:cubicBezTo>
                      <a:cubicBezTo>
                        <a:pt x="1559" y="17946"/>
                        <a:pt x="2038" y="20817"/>
                        <a:pt x="4190" y="23687"/>
                      </a:cubicBezTo>
                      <a:cubicBezTo>
                        <a:pt x="5327" y="25183"/>
                        <a:pt x="5626" y="26857"/>
                        <a:pt x="5865" y="28352"/>
                      </a:cubicBezTo>
                      <a:cubicBezTo>
                        <a:pt x="6224" y="30386"/>
                        <a:pt x="6523" y="32001"/>
                        <a:pt x="8616" y="32957"/>
                      </a:cubicBezTo>
                      <a:cubicBezTo>
                        <a:pt x="9155" y="33197"/>
                        <a:pt x="9334" y="33795"/>
                        <a:pt x="9035" y="34273"/>
                      </a:cubicBezTo>
                      <a:cubicBezTo>
                        <a:pt x="8975" y="34512"/>
                        <a:pt x="8736" y="34632"/>
                        <a:pt x="8496" y="34752"/>
                      </a:cubicBezTo>
                      <a:close/>
                      <a:moveTo>
                        <a:pt x="9394" y="15972"/>
                      </a:moveTo>
                      <a:cubicBezTo>
                        <a:pt x="10650" y="17467"/>
                        <a:pt x="13759" y="19621"/>
                        <a:pt x="17707" y="18125"/>
                      </a:cubicBezTo>
                      <a:cubicBezTo>
                        <a:pt x="18664" y="17766"/>
                        <a:pt x="19322" y="17109"/>
                        <a:pt x="19680" y="16092"/>
                      </a:cubicBezTo>
                      <a:cubicBezTo>
                        <a:pt x="20637" y="13520"/>
                        <a:pt x="19561" y="9035"/>
                        <a:pt x="17049" y="5446"/>
                      </a:cubicBezTo>
                      <a:cubicBezTo>
                        <a:pt x="16511" y="5147"/>
                        <a:pt x="15016" y="4848"/>
                        <a:pt x="12982" y="5984"/>
                      </a:cubicBezTo>
                      <a:cubicBezTo>
                        <a:pt x="11487" y="6822"/>
                        <a:pt x="10590" y="7779"/>
                        <a:pt x="10291" y="8915"/>
                      </a:cubicBezTo>
                      <a:cubicBezTo>
                        <a:pt x="9992" y="10111"/>
                        <a:pt x="10410" y="11068"/>
                        <a:pt x="10650" y="11367"/>
                      </a:cubicBezTo>
                      <a:cubicBezTo>
                        <a:pt x="11726" y="12862"/>
                        <a:pt x="10291" y="14896"/>
                        <a:pt x="9394" y="1597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67" name="Vrije vorm: vorm 9166">
                  <a:extLst>
                    <a:ext uri="{FF2B5EF4-FFF2-40B4-BE49-F238E27FC236}">
                      <a16:creationId xmlns:a16="http://schemas.microsoft.com/office/drawing/2014/main" id="{0119F4EE-906B-45C3-A5DF-1D7B4E1F3ADF}"/>
                    </a:ext>
                  </a:extLst>
                </p:cNvPr>
                <p:cNvSpPr/>
                <p:nvPr/>
              </p:nvSpPr>
              <p:spPr>
                <a:xfrm>
                  <a:off x="6030289" y="1637648"/>
                  <a:ext cx="9301" cy="8012"/>
                </a:xfrm>
                <a:custGeom>
                  <a:avLst/>
                  <a:gdLst>
                    <a:gd name="connsiteX0" fmla="*/ 6432 w 9301"/>
                    <a:gd name="connsiteY0" fmla="*/ 7569 h 8012"/>
                    <a:gd name="connsiteX1" fmla="*/ 3203 w 9301"/>
                    <a:gd name="connsiteY1" fmla="*/ 7987 h 8012"/>
                    <a:gd name="connsiteX2" fmla="*/ 2425 w 9301"/>
                    <a:gd name="connsiteY2" fmla="*/ 7449 h 8012"/>
                    <a:gd name="connsiteX3" fmla="*/ 93 w 9301"/>
                    <a:gd name="connsiteY3" fmla="*/ 2545 h 8012"/>
                    <a:gd name="connsiteX4" fmla="*/ 631 w 9301"/>
                    <a:gd name="connsiteY4" fmla="*/ 1229 h 8012"/>
                    <a:gd name="connsiteX5" fmla="*/ 2007 w 9301"/>
                    <a:gd name="connsiteY5" fmla="*/ 1648 h 8012"/>
                    <a:gd name="connsiteX6" fmla="*/ 4100 w 9301"/>
                    <a:gd name="connsiteY6" fmla="*/ 6073 h 8012"/>
                    <a:gd name="connsiteX7" fmla="*/ 6971 w 9301"/>
                    <a:gd name="connsiteY7" fmla="*/ 5057 h 8012"/>
                    <a:gd name="connsiteX8" fmla="*/ 5535 w 9301"/>
                    <a:gd name="connsiteY8" fmla="*/ 1409 h 8012"/>
                    <a:gd name="connsiteX9" fmla="*/ 6193 w 9301"/>
                    <a:gd name="connsiteY9" fmla="*/ 93 h 8012"/>
                    <a:gd name="connsiteX10" fmla="*/ 7569 w 9301"/>
                    <a:gd name="connsiteY10" fmla="*/ 631 h 8012"/>
                    <a:gd name="connsiteX11" fmla="*/ 9243 w 9301"/>
                    <a:gd name="connsiteY11" fmla="*/ 4877 h 8012"/>
                    <a:gd name="connsiteX12" fmla="*/ 9004 w 9301"/>
                    <a:gd name="connsiteY12" fmla="*/ 5894 h 8012"/>
                    <a:gd name="connsiteX13" fmla="*/ 6432 w 9301"/>
                    <a:gd name="connsiteY13" fmla="*/ 7569 h 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01" h="8012">
                      <a:moveTo>
                        <a:pt x="6432" y="7569"/>
                      </a:moveTo>
                      <a:cubicBezTo>
                        <a:pt x="4758" y="8167"/>
                        <a:pt x="3322" y="7987"/>
                        <a:pt x="3203" y="7987"/>
                      </a:cubicBezTo>
                      <a:cubicBezTo>
                        <a:pt x="2844" y="7927"/>
                        <a:pt x="2545" y="7748"/>
                        <a:pt x="2425" y="7449"/>
                      </a:cubicBezTo>
                      <a:lnTo>
                        <a:pt x="93" y="2545"/>
                      </a:lnTo>
                      <a:cubicBezTo>
                        <a:pt x="-146" y="2066"/>
                        <a:pt x="93" y="1468"/>
                        <a:pt x="631" y="1229"/>
                      </a:cubicBezTo>
                      <a:cubicBezTo>
                        <a:pt x="1170" y="990"/>
                        <a:pt x="1767" y="1169"/>
                        <a:pt x="2007" y="1648"/>
                      </a:cubicBezTo>
                      <a:lnTo>
                        <a:pt x="4100" y="6073"/>
                      </a:lnTo>
                      <a:cubicBezTo>
                        <a:pt x="4758" y="6073"/>
                        <a:pt x="5894" y="5894"/>
                        <a:pt x="6971" y="5057"/>
                      </a:cubicBezTo>
                      <a:lnTo>
                        <a:pt x="5535" y="1409"/>
                      </a:lnTo>
                      <a:cubicBezTo>
                        <a:pt x="5356" y="930"/>
                        <a:pt x="5595" y="332"/>
                        <a:pt x="6193" y="93"/>
                      </a:cubicBezTo>
                      <a:cubicBezTo>
                        <a:pt x="6791" y="-147"/>
                        <a:pt x="7329" y="93"/>
                        <a:pt x="7569" y="631"/>
                      </a:cubicBezTo>
                      <a:lnTo>
                        <a:pt x="9243" y="4877"/>
                      </a:lnTo>
                      <a:cubicBezTo>
                        <a:pt x="9363" y="5236"/>
                        <a:pt x="9303" y="5595"/>
                        <a:pt x="9004" y="5894"/>
                      </a:cubicBezTo>
                      <a:cubicBezTo>
                        <a:pt x="8227" y="6731"/>
                        <a:pt x="7270" y="7270"/>
                        <a:pt x="6432" y="756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68" name="Vrije vorm: vorm 9167">
                  <a:extLst>
                    <a:ext uri="{FF2B5EF4-FFF2-40B4-BE49-F238E27FC236}">
                      <a16:creationId xmlns:a16="http://schemas.microsoft.com/office/drawing/2014/main" id="{64998E15-4EF8-4391-A24F-AD6A56FADC60}"/>
                    </a:ext>
                  </a:extLst>
                </p:cNvPr>
                <p:cNvSpPr/>
                <p:nvPr/>
              </p:nvSpPr>
              <p:spPr>
                <a:xfrm>
                  <a:off x="6025108" y="1642589"/>
                  <a:ext cx="15129" cy="27988"/>
                </a:xfrm>
                <a:custGeom>
                  <a:avLst/>
                  <a:gdLst>
                    <a:gd name="connsiteX0" fmla="*/ 5274 w 15129"/>
                    <a:gd name="connsiteY0" fmla="*/ 27807 h 27988"/>
                    <a:gd name="connsiteX1" fmla="*/ 3958 w 15129"/>
                    <a:gd name="connsiteY1" fmla="*/ 27926 h 27988"/>
                    <a:gd name="connsiteX2" fmla="*/ 70 w 15129"/>
                    <a:gd name="connsiteY2" fmla="*/ 13094 h 27988"/>
                    <a:gd name="connsiteX3" fmla="*/ 6111 w 15129"/>
                    <a:gd name="connsiteY3" fmla="*/ 834 h 27988"/>
                    <a:gd name="connsiteX4" fmla="*/ 7008 w 15129"/>
                    <a:gd name="connsiteY4" fmla="*/ 236 h 27988"/>
                    <a:gd name="connsiteX5" fmla="*/ 8503 w 15129"/>
                    <a:gd name="connsiteY5" fmla="*/ 355 h 27988"/>
                    <a:gd name="connsiteX6" fmla="*/ 8264 w 15129"/>
                    <a:gd name="connsiteY6" fmla="*/ 1731 h 27988"/>
                    <a:gd name="connsiteX7" fmla="*/ 7307 w 15129"/>
                    <a:gd name="connsiteY7" fmla="*/ 2389 h 27988"/>
                    <a:gd name="connsiteX8" fmla="*/ 2164 w 15129"/>
                    <a:gd name="connsiteY8" fmla="*/ 13034 h 27988"/>
                    <a:gd name="connsiteX9" fmla="*/ 4377 w 15129"/>
                    <a:gd name="connsiteY9" fmla="*/ 26013 h 27988"/>
                    <a:gd name="connsiteX10" fmla="*/ 10776 w 15129"/>
                    <a:gd name="connsiteY10" fmla="*/ 17699 h 27988"/>
                    <a:gd name="connsiteX11" fmla="*/ 12152 w 15129"/>
                    <a:gd name="connsiteY11" fmla="*/ 15427 h 27988"/>
                    <a:gd name="connsiteX12" fmla="*/ 12869 w 15129"/>
                    <a:gd name="connsiteY12" fmla="*/ 12197 h 27988"/>
                    <a:gd name="connsiteX13" fmla="*/ 10836 w 15129"/>
                    <a:gd name="connsiteY13" fmla="*/ 9924 h 27988"/>
                    <a:gd name="connsiteX14" fmla="*/ 8802 w 15129"/>
                    <a:gd name="connsiteY14" fmla="*/ 13094 h 27988"/>
                    <a:gd name="connsiteX15" fmla="*/ 4915 w 15129"/>
                    <a:gd name="connsiteY15" fmla="*/ 20450 h 27988"/>
                    <a:gd name="connsiteX16" fmla="*/ 3420 w 15129"/>
                    <a:gd name="connsiteY16" fmla="*/ 20750 h 27988"/>
                    <a:gd name="connsiteX17" fmla="*/ 3240 w 15129"/>
                    <a:gd name="connsiteY17" fmla="*/ 19374 h 27988"/>
                    <a:gd name="connsiteX18" fmla="*/ 6709 w 15129"/>
                    <a:gd name="connsiteY18" fmla="*/ 13393 h 27988"/>
                    <a:gd name="connsiteX19" fmla="*/ 9819 w 15129"/>
                    <a:gd name="connsiteY19" fmla="*/ 8310 h 27988"/>
                    <a:gd name="connsiteX20" fmla="*/ 11912 w 15129"/>
                    <a:gd name="connsiteY20" fmla="*/ 8130 h 27988"/>
                    <a:gd name="connsiteX21" fmla="*/ 14723 w 15129"/>
                    <a:gd name="connsiteY21" fmla="*/ 11180 h 27988"/>
                    <a:gd name="connsiteX22" fmla="*/ 14783 w 15129"/>
                    <a:gd name="connsiteY22" fmla="*/ 11300 h 27988"/>
                    <a:gd name="connsiteX23" fmla="*/ 13946 w 15129"/>
                    <a:gd name="connsiteY23" fmla="*/ 16443 h 27988"/>
                    <a:gd name="connsiteX24" fmla="*/ 12630 w 15129"/>
                    <a:gd name="connsiteY24" fmla="*/ 18656 h 27988"/>
                    <a:gd name="connsiteX25" fmla="*/ 5274 w 15129"/>
                    <a:gd name="connsiteY25" fmla="*/ 27807 h 2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129" h="27988">
                      <a:moveTo>
                        <a:pt x="5274" y="27807"/>
                      </a:moveTo>
                      <a:cubicBezTo>
                        <a:pt x="4855" y="27986"/>
                        <a:pt x="4437" y="28046"/>
                        <a:pt x="3958" y="27926"/>
                      </a:cubicBezTo>
                      <a:cubicBezTo>
                        <a:pt x="310" y="27388"/>
                        <a:pt x="-229" y="21826"/>
                        <a:pt x="70" y="13094"/>
                      </a:cubicBezTo>
                      <a:cubicBezTo>
                        <a:pt x="370" y="4781"/>
                        <a:pt x="3719" y="2508"/>
                        <a:pt x="6111" y="834"/>
                      </a:cubicBezTo>
                      <a:cubicBezTo>
                        <a:pt x="6410" y="595"/>
                        <a:pt x="6709" y="415"/>
                        <a:pt x="7008" y="236"/>
                      </a:cubicBezTo>
                      <a:cubicBezTo>
                        <a:pt x="7486" y="-123"/>
                        <a:pt x="8145" y="-63"/>
                        <a:pt x="8503" y="355"/>
                      </a:cubicBezTo>
                      <a:cubicBezTo>
                        <a:pt x="8862" y="774"/>
                        <a:pt x="8742" y="1372"/>
                        <a:pt x="8264" y="1731"/>
                      </a:cubicBezTo>
                      <a:cubicBezTo>
                        <a:pt x="7965" y="1970"/>
                        <a:pt x="7606" y="2209"/>
                        <a:pt x="7307" y="2389"/>
                      </a:cubicBezTo>
                      <a:cubicBezTo>
                        <a:pt x="5034" y="3944"/>
                        <a:pt x="2463" y="5678"/>
                        <a:pt x="2164" y="13034"/>
                      </a:cubicBezTo>
                      <a:cubicBezTo>
                        <a:pt x="1984" y="18417"/>
                        <a:pt x="1984" y="25654"/>
                        <a:pt x="4377" y="26013"/>
                      </a:cubicBezTo>
                      <a:cubicBezTo>
                        <a:pt x="5274" y="26132"/>
                        <a:pt x="7427" y="23321"/>
                        <a:pt x="10776" y="17699"/>
                      </a:cubicBezTo>
                      <a:cubicBezTo>
                        <a:pt x="11314" y="16742"/>
                        <a:pt x="11793" y="15965"/>
                        <a:pt x="12152" y="15427"/>
                      </a:cubicBezTo>
                      <a:cubicBezTo>
                        <a:pt x="13288" y="13692"/>
                        <a:pt x="12929" y="12496"/>
                        <a:pt x="12869" y="12197"/>
                      </a:cubicBezTo>
                      <a:cubicBezTo>
                        <a:pt x="12331" y="11420"/>
                        <a:pt x="11434" y="10343"/>
                        <a:pt x="10836" y="9924"/>
                      </a:cubicBezTo>
                      <a:cubicBezTo>
                        <a:pt x="10118" y="10283"/>
                        <a:pt x="8742" y="12077"/>
                        <a:pt x="8802" y="13094"/>
                      </a:cubicBezTo>
                      <a:cubicBezTo>
                        <a:pt x="8982" y="15128"/>
                        <a:pt x="5872" y="19195"/>
                        <a:pt x="4915" y="20450"/>
                      </a:cubicBezTo>
                      <a:cubicBezTo>
                        <a:pt x="4556" y="20929"/>
                        <a:pt x="3898" y="21049"/>
                        <a:pt x="3420" y="20750"/>
                      </a:cubicBezTo>
                      <a:cubicBezTo>
                        <a:pt x="2941" y="20450"/>
                        <a:pt x="2881" y="19852"/>
                        <a:pt x="3240" y="19374"/>
                      </a:cubicBezTo>
                      <a:cubicBezTo>
                        <a:pt x="4975" y="17161"/>
                        <a:pt x="6769" y="14290"/>
                        <a:pt x="6709" y="13393"/>
                      </a:cubicBezTo>
                      <a:cubicBezTo>
                        <a:pt x="6589" y="11659"/>
                        <a:pt x="8264" y="9207"/>
                        <a:pt x="9819" y="8310"/>
                      </a:cubicBezTo>
                      <a:cubicBezTo>
                        <a:pt x="10836" y="7711"/>
                        <a:pt x="11554" y="7951"/>
                        <a:pt x="11912" y="8130"/>
                      </a:cubicBezTo>
                      <a:cubicBezTo>
                        <a:pt x="12989" y="8788"/>
                        <a:pt x="14484" y="10762"/>
                        <a:pt x="14723" y="11180"/>
                      </a:cubicBezTo>
                      <a:cubicBezTo>
                        <a:pt x="14723" y="11240"/>
                        <a:pt x="14783" y="11240"/>
                        <a:pt x="14783" y="11300"/>
                      </a:cubicBezTo>
                      <a:cubicBezTo>
                        <a:pt x="14843" y="11420"/>
                        <a:pt x="15919" y="13573"/>
                        <a:pt x="13946" y="16443"/>
                      </a:cubicBezTo>
                      <a:cubicBezTo>
                        <a:pt x="13647" y="16922"/>
                        <a:pt x="13168" y="17699"/>
                        <a:pt x="12630" y="18656"/>
                      </a:cubicBezTo>
                      <a:cubicBezTo>
                        <a:pt x="9939" y="23261"/>
                        <a:pt x="7546" y="26969"/>
                        <a:pt x="5274" y="2780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69" name="Vrije vorm: vorm 9168">
                  <a:extLst>
                    <a:ext uri="{FF2B5EF4-FFF2-40B4-BE49-F238E27FC236}">
                      <a16:creationId xmlns:a16="http://schemas.microsoft.com/office/drawing/2014/main" id="{68754349-5CF6-45CB-9621-BFD2A507F21C}"/>
                    </a:ext>
                  </a:extLst>
                </p:cNvPr>
                <p:cNvSpPr/>
                <p:nvPr/>
              </p:nvSpPr>
              <p:spPr>
                <a:xfrm>
                  <a:off x="6027751" y="1646175"/>
                  <a:ext cx="7501" cy="7714"/>
                </a:xfrm>
                <a:custGeom>
                  <a:avLst/>
                  <a:gdLst>
                    <a:gd name="connsiteX0" fmla="*/ 6757 w 7501"/>
                    <a:gd name="connsiteY0" fmla="*/ 7654 h 7714"/>
                    <a:gd name="connsiteX1" fmla="*/ 5442 w 7501"/>
                    <a:gd name="connsiteY1" fmla="*/ 7116 h 7714"/>
                    <a:gd name="connsiteX2" fmla="*/ 657 w 7501"/>
                    <a:gd name="connsiteY2" fmla="*/ 1913 h 7714"/>
                    <a:gd name="connsiteX3" fmla="*/ 59 w 7501"/>
                    <a:gd name="connsiteY3" fmla="*/ 657 h 7714"/>
                    <a:gd name="connsiteX4" fmla="*/ 1435 w 7501"/>
                    <a:gd name="connsiteY4" fmla="*/ 59 h 7714"/>
                    <a:gd name="connsiteX5" fmla="*/ 7475 w 7501"/>
                    <a:gd name="connsiteY5" fmla="*/ 6398 h 7714"/>
                    <a:gd name="connsiteX6" fmla="*/ 6757 w 7501"/>
                    <a:gd name="connsiteY6" fmla="*/ 7654 h 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7714">
                      <a:moveTo>
                        <a:pt x="6757" y="7654"/>
                      </a:moveTo>
                      <a:cubicBezTo>
                        <a:pt x="6219" y="7834"/>
                        <a:pt x="5621" y="7595"/>
                        <a:pt x="5442" y="7116"/>
                      </a:cubicBezTo>
                      <a:cubicBezTo>
                        <a:pt x="5023" y="6040"/>
                        <a:pt x="2272" y="2451"/>
                        <a:pt x="657" y="1913"/>
                      </a:cubicBezTo>
                      <a:cubicBezTo>
                        <a:pt x="119" y="1734"/>
                        <a:pt x="-120" y="1195"/>
                        <a:pt x="59" y="657"/>
                      </a:cubicBezTo>
                      <a:cubicBezTo>
                        <a:pt x="298" y="119"/>
                        <a:pt x="896" y="-121"/>
                        <a:pt x="1435" y="59"/>
                      </a:cubicBezTo>
                      <a:cubicBezTo>
                        <a:pt x="3827" y="836"/>
                        <a:pt x="6937" y="4963"/>
                        <a:pt x="7475" y="6398"/>
                      </a:cubicBezTo>
                      <a:cubicBezTo>
                        <a:pt x="7595" y="6877"/>
                        <a:pt x="7296" y="7475"/>
                        <a:pt x="6757" y="765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70" name="Vrije vorm: vorm 9169">
                  <a:extLst>
                    <a:ext uri="{FF2B5EF4-FFF2-40B4-BE49-F238E27FC236}">
                      <a16:creationId xmlns:a16="http://schemas.microsoft.com/office/drawing/2014/main" id="{94D23D01-3856-4B0D-8F8D-27EC3C8FFFBA}"/>
                    </a:ext>
                  </a:extLst>
                </p:cNvPr>
                <p:cNvSpPr/>
                <p:nvPr/>
              </p:nvSpPr>
              <p:spPr>
                <a:xfrm>
                  <a:off x="6034060" y="1644286"/>
                  <a:ext cx="38542" cy="89417"/>
                </a:xfrm>
                <a:custGeom>
                  <a:avLst/>
                  <a:gdLst>
                    <a:gd name="connsiteX0" fmla="*/ 29096 w 38542"/>
                    <a:gd name="connsiteY0" fmla="*/ 88908 h 89417"/>
                    <a:gd name="connsiteX1" fmla="*/ 26045 w 38542"/>
                    <a:gd name="connsiteY1" fmla="*/ 89386 h 89417"/>
                    <a:gd name="connsiteX2" fmla="*/ 25208 w 38542"/>
                    <a:gd name="connsiteY2" fmla="*/ 88848 h 89417"/>
                    <a:gd name="connsiteX3" fmla="*/ 9957 w 38542"/>
                    <a:gd name="connsiteY3" fmla="*/ 49196 h 89417"/>
                    <a:gd name="connsiteX4" fmla="*/ 5950 w 38542"/>
                    <a:gd name="connsiteY4" fmla="*/ 33287 h 89417"/>
                    <a:gd name="connsiteX5" fmla="*/ 209 w 38542"/>
                    <a:gd name="connsiteY5" fmla="*/ 20129 h 89417"/>
                    <a:gd name="connsiteX6" fmla="*/ 448 w 38542"/>
                    <a:gd name="connsiteY6" fmla="*/ 18754 h 89417"/>
                    <a:gd name="connsiteX7" fmla="*/ 1943 w 38542"/>
                    <a:gd name="connsiteY7" fmla="*/ 18873 h 89417"/>
                    <a:gd name="connsiteX8" fmla="*/ 8103 w 38542"/>
                    <a:gd name="connsiteY8" fmla="*/ 32808 h 89417"/>
                    <a:gd name="connsiteX9" fmla="*/ 12110 w 38542"/>
                    <a:gd name="connsiteY9" fmla="*/ 48598 h 89417"/>
                    <a:gd name="connsiteX10" fmla="*/ 27002 w 38542"/>
                    <a:gd name="connsiteY10" fmla="*/ 87412 h 89417"/>
                    <a:gd name="connsiteX11" fmla="*/ 31009 w 38542"/>
                    <a:gd name="connsiteY11" fmla="*/ 85678 h 89417"/>
                    <a:gd name="connsiteX12" fmla="*/ 31906 w 38542"/>
                    <a:gd name="connsiteY12" fmla="*/ 85439 h 89417"/>
                    <a:gd name="connsiteX13" fmla="*/ 36332 w 38542"/>
                    <a:gd name="connsiteY13" fmla="*/ 82867 h 89417"/>
                    <a:gd name="connsiteX14" fmla="*/ 26942 w 38542"/>
                    <a:gd name="connsiteY14" fmla="*/ 40583 h 89417"/>
                    <a:gd name="connsiteX15" fmla="*/ 26105 w 38542"/>
                    <a:gd name="connsiteY15" fmla="*/ 36038 h 89417"/>
                    <a:gd name="connsiteX16" fmla="*/ 18151 w 38542"/>
                    <a:gd name="connsiteY16" fmla="*/ 21266 h 89417"/>
                    <a:gd name="connsiteX17" fmla="*/ 15878 w 38542"/>
                    <a:gd name="connsiteY17" fmla="*/ 18455 h 89417"/>
                    <a:gd name="connsiteX18" fmla="*/ 11931 w 38542"/>
                    <a:gd name="connsiteY18" fmla="*/ 9125 h 89417"/>
                    <a:gd name="connsiteX19" fmla="*/ 12170 w 38542"/>
                    <a:gd name="connsiteY19" fmla="*/ 8287 h 89417"/>
                    <a:gd name="connsiteX20" fmla="*/ 12768 w 38542"/>
                    <a:gd name="connsiteY20" fmla="*/ 5895 h 89417"/>
                    <a:gd name="connsiteX21" fmla="*/ 9299 w 38542"/>
                    <a:gd name="connsiteY21" fmla="*/ 1888 h 89417"/>
                    <a:gd name="connsiteX22" fmla="*/ 8881 w 38542"/>
                    <a:gd name="connsiteY22" fmla="*/ 572 h 89417"/>
                    <a:gd name="connsiteX23" fmla="*/ 10316 w 38542"/>
                    <a:gd name="connsiteY23" fmla="*/ 94 h 89417"/>
                    <a:gd name="connsiteX24" fmla="*/ 14802 w 38542"/>
                    <a:gd name="connsiteY24" fmla="*/ 5357 h 89417"/>
                    <a:gd name="connsiteX25" fmla="*/ 14024 w 38542"/>
                    <a:gd name="connsiteY25" fmla="*/ 9005 h 89417"/>
                    <a:gd name="connsiteX26" fmla="*/ 17612 w 38542"/>
                    <a:gd name="connsiteY26" fmla="*/ 17318 h 89417"/>
                    <a:gd name="connsiteX27" fmla="*/ 19766 w 38542"/>
                    <a:gd name="connsiteY27" fmla="*/ 19950 h 89417"/>
                    <a:gd name="connsiteX28" fmla="*/ 28138 w 38542"/>
                    <a:gd name="connsiteY28" fmla="*/ 35619 h 89417"/>
                    <a:gd name="connsiteX29" fmla="*/ 28976 w 38542"/>
                    <a:gd name="connsiteY29" fmla="*/ 40165 h 89417"/>
                    <a:gd name="connsiteX30" fmla="*/ 38485 w 38542"/>
                    <a:gd name="connsiteY30" fmla="*/ 82688 h 89417"/>
                    <a:gd name="connsiteX31" fmla="*/ 38246 w 38542"/>
                    <a:gd name="connsiteY31" fmla="*/ 83704 h 89417"/>
                    <a:gd name="connsiteX32" fmla="*/ 31847 w 38542"/>
                    <a:gd name="connsiteY32" fmla="*/ 87353 h 89417"/>
                    <a:gd name="connsiteX33" fmla="*/ 29096 w 38542"/>
                    <a:gd name="connsiteY33" fmla="*/ 88908 h 8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542" h="89417">
                      <a:moveTo>
                        <a:pt x="29096" y="88908"/>
                      </a:moveTo>
                      <a:cubicBezTo>
                        <a:pt x="28138" y="89266"/>
                        <a:pt x="27122" y="89506"/>
                        <a:pt x="26045" y="89386"/>
                      </a:cubicBezTo>
                      <a:cubicBezTo>
                        <a:pt x="25687" y="89386"/>
                        <a:pt x="25328" y="89147"/>
                        <a:pt x="25208" y="88848"/>
                      </a:cubicBezTo>
                      <a:cubicBezTo>
                        <a:pt x="25088" y="88609"/>
                        <a:pt x="14622" y="65403"/>
                        <a:pt x="9957" y="49196"/>
                      </a:cubicBezTo>
                      <a:cubicBezTo>
                        <a:pt x="8043" y="42617"/>
                        <a:pt x="7146" y="38670"/>
                        <a:pt x="5950" y="33287"/>
                      </a:cubicBezTo>
                      <a:cubicBezTo>
                        <a:pt x="4096" y="24854"/>
                        <a:pt x="209" y="20189"/>
                        <a:pt x="209" y="20129"/>
                      </a:cubicBezTo>
                      <a:cubicBezTo>
                        <a:pt x="-150" y="19711"/>
                        <a:pt x="-30" y="19113"/>
                        <a:pt x="448" y="18754"/>
                      </a:cubicBezTo>
                      <a:cubicBezTo>
                        <a:pt x="926" y="18395"/>
                        <a:pt x="1584" y="18455"/>
                        <a:pt x="1943" y="18873"/>
                      </a:cubicBezTo>
                      <a:cubicBezTo>
                        <a:pt x="2122" y="19053"/>
                        <a:pt x="6129" y="23897"/>
                        <a:pt x="8103" y="32808"/>
                      </a:cubicBezTo>
                      <a:cubicBezTo>
                        <a:pt x="9299" y="38191"/>
                        <a:pt x="10256" y="42079"/>
                        <a:pt x="12110" y="48598"/>
                      </a:cubicBezTo>
                      <a:cubicBezTo>
                        <a:pt x="16297" y="63250"/>
                        <a:pt x="25388" y="83824"/>
                        <a:pt x="27002" y="87412"/>
                      </a:cubicBezTo>
                      <a:cubicBezTo>
                        <a:pt x="28617" y="87293"/>
                        <a:pt x="30411" y="86156"/>
                        <a:pt x="31009" y="85678"/>
                      </a:cubicBezTo>
                      <a:cubicBezTo>
                        <a:pt x="31249" y="85499"/>
                        <a:pt x="31607" y="85379"/>
                        <a:pt x="31906" y="85439"/>
                      </a:cubicBezTo>
                      <a:cubicBezTo>
                        <a:pt x="32863" y="85618"/>
                        <a:pt x="34957" y="84123"/>
                        <a:pt x="36332" y="82867"/>
                      </a:cubicBezTo>
                      <a:cubicBezTo>
                        <a:pt x="33342" y="74673"/>
                        <a:pt x="29215" y="52605"/>
                        <a:pt x="26942" y="40583"/>
                      </a:cubicBezTo>
                      <a:cubicBezTo>
                        <a:pt x="26643" y="38849"/>
                        <a:pt x="26344" y="37294"/>
                        <a:pt x="26105" y="36038"/>
                      </a:cubicBezTo>
                      <a:cubicBezTo>
                        <a:pt x="24670" y="28622"/>
                        <a:pt x="20902" y="24376"/>
                        <a:pt x="18151" y="21266"/>
                      </a:cubicBezTo>
                      <a:cubicBezTo>
                        <a:pt x="17194" y="20189"/>
                        <a:pt x="16417" y="19292"/>
                        <a:pt x="15878" y="18455"/>
                      </a:cubicBezTo>
                      <a:cubicBezTo>
                        <a:pt x="12888" y="13850"/>
                        <a:pt x="11990" y="9304"/>
                        <a:pt x="11931" y="9125"/>
                      </a:cubicBezTo>
                      <a:cubicBezTo>
                        <a:pt x="11871" y="8826"/>
                        <a:pt x="11931" y="8527"/>
                        <a:pt x="12170" y="8287"/>
                      </a:cubicBezTo>
                      <a:cubicBezTo>
                        <a:pt x="12768" y="7630"/>
                        <a:pt x="12948" y="6792"/>
                        <a:pt x="12768" y="5895"/>
                      </a:cubicBezTo>
                      <a:cubicBezTo>
                        <a:pt x="12469" y="4340"/>
                        <a:pt x="11034" y="2725"/>
                        <a:pt x="9299" y="1888"/>
                      </a:cubicBezTo>
                      <a:cubicBezTo>
                        <a:pt x="8761" y="1649"/>
                        <a:pt x="8582" y="1051"/>
                        <a:pt x="8881" y="572"/>
                      </a:cubicBezTo>
                      <a:cubicBezTo>
                        <a:pt x="9180" y="94"/>
                        <a:pt x="9837" y="-145"/>
                        <a:pt x="10316" y="94"/>
                      </a:cubicBezTo>
                      <a:cubicBezTo>
                        <a:pt x="12589" y="1170"/>
                        <a:pt x="14383" y="3264"/>
                        <a:pt x="14802" y="5357"/>
                      </a:cubicBezTo>
                      <a:cubicBezTo>
                        <a:pt x="15041" y="6673"/>
                        <a:pt x="14802" y="7929"/>
                        <a:pt x="14024" y="9005"/>
                      </a:cubicBezTo>
                      <a:cubicBezTo>
                        <a:pt x="14323" y="10201"/>
                        <a:pt x="15340" y="13790"/>
                        <a:pt x="17612" y="17318"/>
                      </a:cubicBezTo>
                      <a:cubicBezTo>
                        <a:pt x="18091" y="18036"/>
                        <a:pt x="18868" y="18933"/>
                        <a:pt x="19766" y="19950"/>
                      </a:cubicBezTo>
                      <a:cubicBezTo>
                        <a:pt x="22517" y="23060"/>
                        <a:pt x="26643" y="27725"/>
                        <a:pt x="28138" y="35619"/>
                      </a:cubicBezTo>
                      <a:cubicBezTo>
                        <a:pt x="28378" y="36875"/>
                        <a:pt x="28677" y="38430"/>
                        <a:pt x="28976" y="40165"/>
                      </a:cubicBezTo>
                      <a:cubicBezTo>
                        <a:pt x="31249" y="52425"/>
                        <a:pt x="35495" y="75212"/>
                        <a:pt x="38485" y="82688"/>
                      </a:cubicBezTo>
                      <a:cubicBezTo>
                        <a:pt x="38605" y="83046"/>
                        <a:pt x="38545" y="83465"/>
                        <a:pt x="38246" y="83704"/>
                      </a:cubicBezTo>
                      <a:cubicBezTo>
                        <a:pt x="37588" y="84362"/>
                        <a:pt x="34418" y="87353"/>
                        <a:pt x="31847" y="87353"/>
                      </a:cubicBezTo>
                      <a:cubicBezTo>
                        <a:pt x="31368" y="87831"/>
                        <a:pt x="30351" y="88429"/>
                        <a:pt x="29096" y="8890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71" name="Vrije vorm: vorm 9170">
                  <a:extLst>
                    <a:ext uri="{FF2B5EF4-FFF2-40B4-BE49-F238E27FC236}">
                      <a16:creationId xmlns:a16="http://schemas.microsoft.com/office/drawing/2014/main" id="{8D5803E3-6958-4FB6-8F46-9862AB01411D}"/>
                    </a:ext>
                  </a:extLst>
                </p:cNvPr>
                <p:cNvSpPr/>
                <p:nvPr/>
              </p:nvSpPr>
              <p:spPr>
                <a:xfrm>
                  <a:off x="6040005" y="1669141"/>
                  <a:ext cx="17501" cy="9209"/>
                </a:xfrm>
                <a:custGeom>
                  <a:avLst/>
                  <a:gdLst>
                    <a:gd name="connsiteX0" fmla="*/ 7361 w 17501"/>
                    <a:gd name="connsiteY0" fmla="*/ 7654 h 9209"/>
                    <a:gd name="connsiteX1" fmla="*/ 1022 w 17501"/>
                    <a:gd name="connsiteY1" fmla="*/ 9209 h 9209"/>
                    <a:gd name="connsiteX2" fmla="*/ 5 w 17501"/>
                    <a:gd name="connsiteY2" fmla="*/ 8253 h 9209"/>
                    <a:gd name="connsiteX3" fmla="*/ 1082 w 17501"/>
                    <a:gd name="connsiteY3" fmla="*/ 7236 h 9209"/>
                    <a:gd name="connsiteX4" fmla="*/ 15495 w 17501"/>
                    <a:gd name="connsiteY4" fmla="*/ 657 h 9209"/>
                    <a:gd name="connsiteX5" fmla="*/ 16871 w 17501"/>
                    <a:gd name="connsiteY5" fmla="*/ 59 h 9209"/>
                    <a:gd name="connsiteX6" fmla="*/ 17409 w 17501"/>
                    <a:gd name="connsiteY6" fmla="*/ 1315 h 9209"/>
                    <a:gd name="connsiteX7" fmla="*/ 7361 w 17501"/>
                    <a:gd name="connsiteY7" fmla="*/ 7654 h 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01" h="9209">
                      <a:moveTo>
                        <a:pt x="7361" y="7654"/>
                      </a:moveTo>
                      <a:cubicBezTo>
                        <a:pt x="4909" y="8552"/>
                        <a:pt x="2577" y="9150"/>
                        <a:pt x="1022" y="9209"/>
                      </a:cubicBezTo>
                      <a:cubicBezTo>
                        <a:pt x="424" y="9209"/>
                        <a:pt x="-55" y="8791"/>
                        <a:pt x="5" y="8253"/>
                      </a:cubicBezTo>
                      <a:cubicBezTo>
                        <a:pt x="5" y="7714"/>
                        <a:pt x="483" y="7236"/>
                        <a:pt x="1082" y="7236"/>
                      </a:cubicBezTo>
                      <a:cubicBezTo>
                        <a:pt x="5208" y="7056"/>
                        <a:pt x="14478" y="2810"/>
                        <a:pt x="15495" y="657"/>
                      </a:cubicBezTo>
                      <a:cubicBezTo>
                        <a:pt x="15734" y="119"/>
                        <a:pt x="16332" y="-121"/>
                        <a:pt x="16871" y="59"/>
                      </a:cubicBezTo>
                      <a:cubicBezTo>
                        <a:pt x="17409" y="238"/>
                        <a:pt x="17648" y="836"/>
                        <a:pt x="17409" y="1315"/>
                      </a:cubicBezTo>
                      <a:cubicBezTo>
                        <a:pt x="16452" y="3468"/>
                        <a:pt x="11727" y="6040"/>
                        <a:pt x="7361" y="765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72" name="Vrije vorm: vorm 9171">
                  <a:extLst>
                    <a:ext uri="{FF2B5EF4-FFF2-40B4-BE49-F238E27FC236}">
                      <a16:creationId xmlns:a16="http://schemas.microsoft.com/office/drawing/2014/main" id="{21B46AF7-EBDB-4962-859C-93DB9DD62DE0}"/>
                    </a:ext>
                  </a:extLst>
                </p:cNvPr>
                <p:cNvSpPr/>
                <p:nvPr/>
              </p:nvSpPr>
              <p:spPr>
                <a:xfrm>
                  <a:off x="6031534" y="1666505"/>
                  <a:ext cx="8012" cy="4429"/>
                </a:xfrm>
                <a:custGeom>
                  <a:avLst/>
                  <a:gdLst>
                    <a:gd name="connsiteX0" fmla="*/ 6742 w 8012"/>
                    <a:gd name="connsiteY0" fmla="*/ 4190 h 4429"/>
                    <a:gd name="connsiteX1" fmla="*/ 5067 w 8012"/>
                    <a:gd name="connsiteY1" fmla="*/ 4429 h 4429"/>
                    <a:gd name="connsiteX2" fmla="*/ 163 w 8012"/>
                    <a:gd name="connsiteY2" fmla="*/ 1558 h 4429"/>
                    <a:gd name="connsiteX3" fmla="*/ 462 w 8012"/>
                    <a:gd name="connsiteY3" fmla="*/ 183 h 4429"/>
                    <a:gd name="connsiteX4" fmla="*/ 1957 w 8012"/>
                    <a:gd name="connsiteY4" fmla="*/ 422 h 4429"/>
                    <a:gd name="connsiteX5" fmla="*/ 5067 w 8012"/>
                    <a:gd name="connsiteY5" fmla="*/ 2455 h 4429"/>
                    <a:gd name="connsiteX6" fmla="*/ 6204 w 8012"/>
                    <a:gd name="connsiteY6" fmla="*/ 2336 h 4429"/>
                    <a:gd name="connsiteX7" fmla="*/ 7699 w 8012"/>
                    <a:gd name="connsiteY7" fmla="*/ 2276 h 4429"/>
                    <a:gd name="connsiteX8" fmla="*/ 7699 w 8012"/>
                    <a:gd name="connsiteY8" fmla="*/ 3652 h 4429"/>
                    <a:gd name="connsiteX9" fmla="*/ 6742 w 8012"/>
                    <a:gd name="connsiteY9" fmla="*/ 4190 h 4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2" h="4429">
                      <a:moveTo>
                        <a:pt x="6742" y="4190"/>
                      </a:moveTo>
                      <a:cubicBezTo>
                        <a:pt x="6264" y="4369"/>
                        <a:pt x="5665" y="4429"/>
                        <a:pt x="5067" y="4429"/>
                      </a:cubicBezTo>
                      <a:cubicBezTo>
                        <a:pt x="3213" y="4369"/>
                        <a:pt x="1419" y="3293"/>
                        <a:pt x="163" y="1558"/>
                      </a:cubicBezTo>
                      <a:cubicBezTo>
                        <a:pt x="-136" y="1140"/>
                        <a:pt x="-17" y="482"/>
                        <a:pt x="462" y="183"/>
                      </a:cubicBezTo>
                      <a:cubicBezTo>
                        <a:pt x="941" y="-116"/>
                        <a:pt x="1598" y="-56"/>
                        <a:pt x="1957" y="422"/>
                      </a:cubicBezTo>
                      <a:cubicBezTo>
                        <a:pt x="3094" y="2037"/>
                        <a:pt x="4350" y="2396"/>
                        <a:pt x="5067" y="2455"/>
                      </a:cubicBezTo>
                      <a:cubicBezTo>
                        <a:pt x="5665" y="2515"/>
                        <a:pt x="6084" y="2396"/>
                        <a:pt x="6204" y="2336"/>
                      </a:cubicBezTo>
                      <a:cubicBezTo>
                        <a:pt x="6622" y="1917"/>
                        <a:pt x="7280" y="1917"/>
                        <a:pt x="7699" y="2276"/>
                      </a:cubicBezTo>
                      <a:cubicBezTo>
                        <a:pt x="8118" y="2635"/>
                        <a:pt x="8118" y="3293"/>
                        <a:pt x="7699" y="3652"/>
                      </a:cubicBezTo>
                      <a:cubicBezTo>
                        <a:pt x="7459" y="3891"/>
                        <a:pt x="7101" y="4070"/>
                        <a:pt x="6742" y="419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73" name="Vrije vorm: vorm 9172">
                  <a:extLst>
                    <a:ext uri="{FF2B5EF4-FFF2-40B4-BE49-F238E27FC236}">
                      <a16:creationId xmlns:a16="http://schemas.microsoft.com/office/drawing/2014/main" id="{CD394718-D3BC-42C1-AD70-AE62A64F6E16}"/>
                    </a:ext>
                  </a:extLst>
                </p:cNvPr>
                <p:cNvSpPr/>
                <p:nvPr/>
              </p:nvSpPr>
              <p:spPr>
                <a:xfrm>
                  <a:off x="6037327" y="1627925"/>
                  <a:ext cx="27884" cy="25021"/>
                </a:xfrm>
                <a:custGeom>
                  <a:avLst/>
                  <a:gdLst>
                    <a:gd name="connsiteX0" fmla="*/ 18413 w 27884"/>
                    <a:gd name="connsiteY0" fmla="*/ 24828 h 25021"/>
                    <a:gd name="connsiteX1" fmla="*/ 10339 w 27884"/>
                    <a:gd name="connsiteY1" fmla="*/ 22675 h 25021"/>
                    <a:gd name="connsiteX2" fmla="*/ 10040 w 27884"/>
                    <a:gd name="connsiteY2" fmla="*/ 21299 h 25021"/>
                    <a:gd name="connsiteX3" fmla="*/ 11535 w 27884"/>
                    <a:gd name="connsiteY3" fmla="*/ 20940 h 25021"/>
                    <a:gd name="connsiteX4" fmla="*/ 17755 w 27884"/>
                    <a:gd name="connsiteY4" fmla="*/ 23033 h 25021"/>
                    <a:gd name="connsiteX5" fmla="*/ 25291 w 27884"/>
                    <a:gd name="connsiteY5" fmla="*/ 7484 h 25021"/>
                    <a:gd name="connsiteX6" fmla="*/ 25530 w 27884"/>
                    <a:gd name="connsiteY6" fmla="*/ 3596 h 25021"/>
                    <a:gd name="connsiteX7" fmla="*/ 24095 w 27884"/>
                    <a:gd name="connsiteY7" fmla="*/ 4912 h 25021"/>
                    <a:gd name="connsiteX8" fmla="*/ 23317 w 27884"/>
                    <a:gd name="connsiteY8" fmla="*/ 5630 h 25021"/>
                    <a:gd name="connsiteX9" fmla="*/ 16798 w 27884"/>
                    <a:gd name="connsiteY9" fmla="*/ 17711 h 25021"/>
                    <a:gd name="connsiteX10" fmla="*/ 15662 w 27884"/>
                    <a:gd name="connsiteY10" fmla="*/ 18129 h 25021"/>
                    <a:gd name="connsiteX11" fmla="*/ 11116 w 27884"/>
                    <a:gd name="connsiteY11" fmla="*/ 16096 h 25021"/>
                    <a:gd name="connsiteX12" fmla="*/ 1368 w 27884"/>
                    <a:gd name="connsiteY12" fmla="*/ 14062 h 25021"/>
                    <a:gd name="connsiteX13" fmla="*/ 52 w 27884"/>
                    <a:gd name="connsiteY13" fmla="*/ 13524 h 25021"/>
                    <a:gd name="connsiteX14" fmla="*/ 710 w 27884"/>
                    <a:gd name="connsiteY14" fmla="*/ 12208 h 25021"/>
                    <a:gd name="connsiteX15" fmla="*/ 12313 w 27884"/>
                    <a:gd name="connsiteY15" fmla="*/ 14361 h 25021"/>
                    <a:gd name="connsiteX16" fmla="*/ 15602 w 27884"/>
                    <a:gd name="connsiteY16" fmla="*/ 15916 h 25021"/>
                    <a:gd name="connsiteX17" fmla="*/ 21344 w 27884"/>
                    <a:gd name="connsiteY17" fmla="*/ 5031 h 25021"/>
                    <a:gd name="connsiteX18" fmla="*/ 22899 w 27884"/>
                    <a:gd name="connsiteY18" fmla="*/ 3297 h 25021"/>
                    <a:gd name="connsiteX19" fmla="*/ 24095 w 27884"/>
                    <a:gd name="connsiteY19" fmla="*/ 1622 h 25021"/>
                    <a:gd name="connsiteX20" fmla="*/ 24932 w 27884"/>
                    <a:gd name="connsiteY20" fmla="*/ 127 h 25021"/>
                    <a:gd name="connsiteX21" fmla="*/ 26367 w 27884"/>
                    <a:gd name="connsiteY21" fmla="*/ 307 h 25021"/>
                    <a:gd name="connsiteX22" fmla="*/ 27384 w 27884"/>
                    <a:gd name="connsiteY22" fmla="*/ 7842 h 25021"/>
                    <a:gd name="connsiteX23" fmla="*/ 19370 w 27884"/>
                    <a:gd name="connsiteY23" fmla="*/ 24110 h 25021"/>
                    <a:gd name="connsiteX24" fmla="*/ 18413 w 27884"/>
                    <a:gd name="connsiteY24" fmla="*/ 24828 h 2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884" h="25021">
                      <a:moveTo>
                        <a:pt x="18413" y="24828"/>
                      </a:moveTo>
                      <a:cubicBezTo>
                        <a:pt x="16320" y="25605"/>
                        <a:pt x="12612" y="23871"/>
                        <a:pt x="10339" y="22675"/>
                      </a:cubicBezTo>
                      <a:cubicBezTo>
                        <a:pt x="9860" y="22435"/>
                        <a:pt x="9681" y="21777"/>
                        <a:pt x="10040" y="21299"/>
                      </a:cubicBezTo>
                      <a:cubicBezTo>
                        <a:pt x="10339" y="20821"/>
                        <a:pt x="10997" y="20641"/>
                        <a:pt x="11535" y="20940"/>
                      </a:cubicBezTo>
                      <a:cubicBezTo>
                        <a:pt x="14107" y="22316"/>
                        <a:pt x="17097" y="23332"/>
                        <a:pt x="17755" y="23033"/>
                      </a:cubicBezTo>
                      <a:cubicBezTo>
                        <a:pt x="20865" y="19505"/>
                        <a:pt x="24334" y="10235"/>
                        <a:pt x="25291" y="7484"/>
                      </a:cubicBezTo>
                      <a:cubicBezTo>
                        <a:pt x="25829" y="6048"/>
                        <a:pt x="25769" y="4613"/>
                        <a:pt x="25530" y="3596"/>
                      </a:cubicBezTo>
                      <a:cubicBezTo>
                        <a:pt x="25111" y="4194"/>
                        <a:pt x="24513" y="4613"/>
                        <a:pt x="24095" y="4912"/>
                      </a:cubicBezTo>
                      <a:cubicBezTo>
                        <a:pt x="23736" y="5151"/>
                        <a:pt x="23377" y="5450"/>
                        <a:pt x="23317" y="5630"/>
                      </a:cubicBezTo>
                      <a:cubicBezTo>
                        <a:pt x="21045" y="12089"/>
                        <a:pt x="16977" y="17471"/>
                        <a:pt x="16798" y="17711"/>
                      </a:cubicBezTo>
                      <a:cubicBezTo>
                        <a:pt x="16559" y="18069"/>
                        <a:pt x="16081" y="18249"/>
                        <a:pt x="15662" y="18129"/>
                      </a:cubicBezTo>
                      <a:cubicBezTo>
                        <a:pt x="15542" y="18069"/>
                        <a:pt x="14107" y="17770"/>
                        <a:pt x="11116" y="16096"/>
                      </a:cubicBezTo>
                      <a:cubicBezTo>
                        <a:pt x="7289" y="14003"/>
                        <a:pt x="3641" y="13225"/>
                        <a:pt x="1368" y="14062"/>
                      </a:cubicBezTo>
                      <a:cubicBezTo>
                        <a:pt x="830" y="14242"/>
                        <a:pt x="231" y="14003"/>
                        <a:pt x="52" y="13524"/>
                      </a:cubicBezTo>
                      <a:cubicBezTo>
                        <a:pt x="-127" y="13046"/>
                        <a:pt x="172" y="12448"/>
                        <a:pt x="710" y="12208"/>
                      </a:cubicBezTo>
                      <a:cubicBezTo>
                        <a:pt x="3641" y="11132"/>
                        <a:pt x="7887" y="11909"/>
                        <a:pt x="12313" y="14361"/>
                      </a:cubicBezTo>
                      <a:cubicBezTo>
                        <a:pt x="13868" y="15259"/>
                        <a:pt x="14944" y="15677"/>
                        <a:pt x="15602" y="15916"/>
                      </a:cubicBezTo>
                      <a:cubicBezTo>
                        <a:pt x="16738" y="14302"/>
                        <a:pt x="19609" y="9936"/>
                        <a:pt x="21344" y="5031"/>
                      </a:cubicBezTo>
                      <a:cubicBezTo>
                        <a:pt x="21643" y="4254"/>
                        <a:pt x="22300" y="3716"/>
                        <a:pt x="22899" y="3297"/>
                      </a:cubicBezTo>
                      <a:cubicBezTo>
                        <a:pt x="23676" y="2699"/>
                        <a:pt x="24095" y="2340"/>
                        <a:pt x="24095" y="1622"/>
                      </a:cubicBezTo>
                      <a:cubicBezTo>
                        <a:pt x="24095" y="666"/>
                        <a:pt x="24513" y="307"/>
                        <a:pt x="24932" y="127"/>
                      </a:cubicBezTo>
                      <a:cubicBezTo>
                        <a:pt x="25410" y="-112"/>
                        <a:pt x="25949" y="8"/>
                        <a:pt x="26367" y="307"/>
                      </a:cubicBezTo>
                      <a:cubicBezTo>
                        <a:pt x="27384" y="1084"/>
                        <a:pt x="28580" y="4374"/>
                        <a:pt x="27384" y="7842"/>
                      </a:cubicBezTo>
                      <a:cubicBezTo>
                        <a:pt x="26068" y="11491"/>
                        <a:pt x="22719" y="20402"/>
                        <a:pt x="19370" y="24110"/>
                      </a:cubicBezTo>
                      <a:cubicBezTo>
                        <a:pt x="19071" y="24529"/>
                        <a:pt x="18772" y="24708"/>
                        <a:pt x="18413" y="24828"/>
                      </a:cubicBezTo>
                      <a:close/>
                    </a:path>
                  </a:pathLst>
                </a:custGeom>
                <a:grpFill/>
                <a:ln w="6350" cap="flat">
                  <a:solidFill>
                    <a:schemeClr val="bg1">
                      <a:alpha val="40000"/>
                    </a:schemeClr>
                  </a:solidFill>
                  <a:prstDash val="solid"/>
                  <a:miter/>
                </a:ln>
              </p:spPr>
              <p:txBody>
                <a:bodyPr rtlCol="0" anchor="ctr"/>
                <a:lstStyle/>
                <a:p>
                  <a:endParaRPr lang="en-GB"/>
                </a:p>
              </p:txBody>
            </p:sp>
            <p:grpSp>
              <p:nvGrpSpPr>
                <p:cNvPr id="9174" name="Graphic 3">
                  <a:extLst>
                    <a:ext uri="{FF2B5EF4-FFF2-40B4-BE49-F238E27FC236}">
                      <a16:creationId xmlns:a16="http://schemas.microsoft.com/office/drawing/2014/main" id="{4EC0393B-F749-40E5-9195-B44FD6D6D315}"/>
                    </a:ext>
                  </a:extLst>
                </p:cNvPr>
                <p:cNvGrpSpPr/>
                <p:nvPr/>
              </p:nvGrpSpPr>
              <p:grpSpPr>
                <a:xfrm>
                  <a:off x="6057079" y="1623026"/>
                  <a:ext cx="6487" cy="11223"/>
                  <a:chOff x="6057079" y="1623026"/>
                  <a:chExt cx="6487" cy="11223"/>
                </a:xfrm>
                <a:grpFill/>
              </p:grpSpPr>
              <p:sp>
                <p:nvSpPr>
                  <p:cNvPr id="9178" name="Vrije vorm: vorm 9177">
                    <a:extLst>
                      <a:ext uri="{FF2B5EF4-FFF2-40B4-BE49-F238E27FC236}">
                        <a16:creationId xmlns:a16="http://schemas.microsoft.com/office/drawing/2014/main" id="{7F4F4202-E73A-4434-930D-C80D1A1C1198}"/>
                      </a:ext>
                    </a:extLst>
                  </p:cNvPr>
                  <p:cNvSpPr/>
                  <p:nvPr/>
                </p:nvSpPr>
                <p:spPr>
                  <a:xfrm>
                    <a:off x="6058132" y="1623985"/>
                    <a:ext cx="5049" cy="10264"/>
                  </a:xfrm>
                  <a:custGeom>
                    <a:avLst/>
                    <a:gdLst>
                      <a:gd name="connsiteX0" fmla="*/ 2333 w 5049"/>
                      <a:gd name="connsiteY0" fmla="*/ 8373 h 10264"/>
                      <a:gd name="connsiteX1" fmla="*/ 0 w 5049"/>
                      <a:gd name="connsiteY1" fmla="*/ 1376 h 10264"/>
                      <a:gd name="connsiteX2" fmla="*/ 2153 w 5049"/>
                      <a:gd name="connsiteY2" fmla="*/ 0 h 10264"/>
                      <a:gd name="connsiteX3" fmla="*/ 4306 w 5049"/>
                      <a:gd name="connsiteY3" fmla="*/ 5682 h 10264"/>
                      <a:gd name="connsiteX4" fmla="*/ 2333 w 5049"/>
                      <a:gd name="connsiteY4" fmla="*/ 8373 h 10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 h="10264">
                        <a:moveTo>
                          <a:pt x="2333" y="8373"/>
                        </a:moveTo>
                        <a:cubicBezTo>
                          <a:pt x="1316" y="5502"/>
                          <a:pt x="0" y="1376"/>
                          <a:pt x="0" y="1376"/>
                        </a:cubicBezTo>
                        <a:lnTo>
                          <a:pt x="2153" y="0"/>
                        </a:lnTo>
                        <a:cubicBezTo>
                          <a:pt x="2153" y="0"/>
                          <a:pt x="3289" y="3050"/>
                          <a:pt x="4306" y="5682"/>
                        </a:cubicBezTo>
                        <a:cubicBezTo>
                          <a:pt x="6459" y="11304"/>
                          <a:pt x="3349" y="11184"/>
                          <a:pt x="2333" y="837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79" name="Vrije vorm: vorm 9178">
                    <a:extLst>
                      <a:ext uri="{FF2B5EF4-FFF2-40B4-BE49-F238E27FC236}">
                        <a16:creationId xmlns:a16="http://schemas.microsoft.com/office/drawing/2014/main" id="{4EBD4FB7-74FE-4FBF-A024-AE6216207981}"/>
                      </a:ext>
                    </a:extLst>
                  </p:cNvPr>
                  <p:cNvSpPr/>
                  <p:nvPr/>
                </p:nvSpPr>
                <p:spPr>
                  <a:xfrm>
                    <a:off x="6057079" y="1623026"/>
                    <a:ext cx="6487" cy="10289"/>
                  </a:xfrm>
                  <a:custGeom>
                    <a:avLst/>
                    <a:gdLst>
                      <a:gd name="connsiteX0" fmla="*/ 3744 w 6487"/>
                      <a:gd name="connsiteY0" fmla="*/ 10229 h 10289"/>
                      <a:gd name="connsiteX1" fmla="*/ 2428 w 6487"/>
                      <a:gd name="connsiteY1" fmla="*/ 9691 h 10289"/>
                      <a:gd name="connsiteX2" fmla="*/ 36 w 6487"/>
                      <a:gd name="connsiteY2" fmla="*/ 2694 h 10289"/>
                      <a:gd name="connsiteX3" fmla="*/ 515 w 6487"/>
                      <a:gd name="connsiteY3" fmla="*/ 1557 h 10289"/>
                      <a:gd name="connsiteX4" fmla="*/ 2668 w 6487"/>
                      <a:gd name="connsiteY4" fmla="*/ 182 h 10289"/>
                      <a:gd name="connsiteX5" fmla="*/ 3625 w 6487"/>
                      <a:gd name="connsiteY5" fmla="*/ 62 h 10289"/>
                      <a:gd name="connsiteX6" fmla="*/ 4283 w 6487"/>
                      <a:gd name="connsiteY6" fmla="*/ 660 h 10289"/>
                      <a:gd name="connsiteX7" fmla="*/ 6436 w 6487"/>
                      <a:gd name="connsiteY7" fmla="*/ 6282 h 10289"/>
                      <a:gd name="connsiteX8" fmla="*/ 5778 w 6487"/>
                      <a:gd name="connsiteY8" fmla="*/ 7598 h 10289"/>
                      <a:gd name="connsiteX9" fmla="*/ 4402 w 6487"/>
                      <a:gd name="connsiteY9" fmla="*/ 7060 h 10289"/>
                      <a:gd name="connsiteX10" fmla="*/ 2668 w 6487"/>
                      <a:gd name="connsiteY10" fmla="*/ 2574 h 10289"/>
                      <a:gd name="connsiteX11" fmla="*/ 2309 w 6487"/>
                      <a:gd name="connsiteY11" fmla="*/ 2813 h 10289"/>
                      <a:gd name="connsiteX12" fmla="*/ 4402 w 6487"/>
                      <a:gd name="connsiteY12" fmla="*/ 9033 h 10289"/>
                      <a:gd name="connsiteX13" fmla="*/ 3744 w 6487"/>
                      <a:gd name="connsiteY13" fmla="*/ 10229 h 1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87" h="10289">
                        <a:moveTo>
                          <a:pt x="3744" y="10229"/>
                        </a:moveTo>
                        <a:cubicBezTo>
                          <a:pt x="3206" y="10409"/>
                          <a:pt x="2608" y="10170"/>
                          <a:pt x="2428" y="9691"/>
                        </a:cubicBezTo>
                        <a:cubicBezTo>
                          <a:pt x="1412" y="6880"/>
                          <a:pt x="96" y="2754"/>
                          <a:pt x="36" y="2694"/>
                        </a:cubicBezTo>
                        <a:cubicBezTo>
                          <a:pt x="-83" y="2275"/>
                          <a:pt x="96" y="1797"/>
                          <a:pt x="515" y="1557"/>
                        </a:cubicBezTo>
                        <a:lnTo>
                          <a:pt x="2668" y="182"/>
                        </a:lnTo>
                        <a:cubicBezTo>
                          <a:pt x="2967" y="2"/>
                          <a:pt x="3266" y="-57"/>
                          <a:pt x="3625" y="62"/>
                        </a:cubicBezTo>
                        <a:cubicBezTo>
                          <a:pt x="3924" y="122"/>
                          <a:pt x="4163" y="361"/>
                          <a:pt x="4283" y="660"/>
                        </a:cubicBezTo>
                        <a:cubicBezTo>
                          <a:pt x="4283" y="720"/>
                          <a:pt x="5419" y="3711"/>
                          <a:pt x="6436" y="6282"/>
                        </a:cubicBezTo>
                        <a:cubicBezTo>
                          <a:pt x="6615" y="6761"/>
                          <a:pt x="6316" y="7359"/>
                          <a:pt x="5778" y="7598"/>
                        </a:cubicBezTo>
                        <a:cubicBezTo>
                          <a:pt x="5240" y="7837"/>
                          <a:pt x="4642" y="7598"/>
                          <a:pt x="4402" y="7060"/>
                        </a:cubicBezTo>
                        <a:cubicBezTo>
                          <a:pt x="3804" y="5445"/>
                          <a:pt x="3147" y="3711"/>
                          <a:pt x="2668" y="2574"/>
                        </a:cubicBezTo>
                        <a:lnTo>
                          <a:pt x="2309" y="2813"/>
                        </a:lnTo>
                        <a:cubicBezTo>
                          <a:pt x="2728" y="4129"/>
                          <a:pt x="3685" y="6940"/>
                          <a:pt x="4402" y="9033"/>
                        </a:cubicBezTo>
                        <a:cubicBezTo>
                          <a:pt x="4582" y="9452"/>
                          <a:pt x="4283" y="10050"/>
                          <a:pt x="3744" y="10229"/>
                        </a:cubicBezTo>
                        <a:close/>
                      </a:path>
                    </a:pathLst>
                  </a:custGeom>
                  <a:grpFill/>
                  <a:ln w="6350" cap="flat">
                    <a:solidFill>
                      <a:schemeClr val="bg1">
                        <a:alpha val="40000"/>
                      </a:schemeClr>
                    </a:solidFill>
                    <a:prstDash val="solid"/>
                    <a:miter/>
                  </a:ln>
                </p:spPr>
                <p:txBody>
                  <a:bodyPr rtlCol="0" anchor="ctr"/>
                  <a:lstStyle/>
                  <a:p>
                    <a:endParaRPr lang="en-GB"/>
                  </a:p>
                </p:txBody>
              </p:sp>
            </p:grpSp>
            <p:sp>
              <p:nvSpPr>
                <p:cNvPr id="9175" name="Vrije vorm: vorm 9174">
                  <a:extLst>
                    <a:ext uri="{FF2B5EF4-FFF2-40B4-BE49-F238E27FC236}">
                      <a16:creationId xmlns:a16="http://schemas.microsoft.com/office/drawing/2014/main" id="{4C982526-3BC3-474E-90BA-49E7355A11C8}"/>
                    </a:ext>
                  </a:extLst>
                </p:cNvPr>
                <p:cNvSpPr/>
                <p:nvPr/>
              </p:nvSpPr>
              <p:spPr>
                <a:xfrm>
                  <a:off x="6050908" y="1679069"/>
                  <a:ext cx="15798" cy="51253"/>
                </a:xfrm>
                <a:custGeom>
                  <a:avLst/>
                  <a:gdLst>
                    <a:gd name="connsiteX0" fmla="*/ 15058 w 15798"/>
                    <a:gd name="connsiteY0" fmla="*/ 51194 h 51253"/>
                    <a:gd name="connsiteX1" fmla="*/ 13743 w 15798"/>
                    <a:gd name="connsiteY1" fmla="*/ 50656 h 51253"/>
                    <a:gd name="connsiteX2" fmla="*/ 4712 w 15798"/>
                    <a:gd name="connsiteY2" fmla="*/ 19735 h 51253"/>
                    <a:gd name="connsiteX3" fmla="*/ 47 w 15798"/>
                    <a:gd name="connsiteY3" fmla="*/ 1315 h 51253"/>
                    <a:gd name="connsiteX4" fmla="*/ 764 w 15798"/>
                    <a:gd name="connsiteY4" fmla="*/ 59 h 51253"/>
                    <a:gd name="connsiteX5" fmla="*/ 2080 w 15798"/>
                    <a:gd name="connsiteY5" fmla="*/ 657 h 51253"/>
                    <a:gd name="connsiteX6" fmla="*/ 6805 w 15798"/>
                    <a:gd name="connsiteY6" fmla="*/ 19257 h 51253"/>
                    <a:gd name="connsiteX7" fmla="*/ 15716 w 15798"/>
                    <a:gd name="connsiteY7" fmla="*/ 49938 h 51253"/>
                    <a:gd name="connsiteX8" fmla="*/ 15058 w 15798"/>
                    <a:gd name="connsiteY8" fmla="*/ 51194 h 51253"/>
                    <a:gd name="connsiteX9" fmla="*/ 15058 w 15798"/>
                    <a:gd name="connsiteY9" fmla="*/ 51194 h 5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98" h="51253">
                      <a:moveTo>
                        <a:pt x="15058" y="51194"/>
                      </a:moveTo>
                      <a:cubicBezTo>
                        <a:pt x="14520" y="51374"/>
                        <a:pt x="13922" y="51134"/>
                        <a:pt x="13743" y="50656"/>
                      </a:cubicBezTo>
                      <a:cubicBezTo>
                        <a:pt x="9018" y="38934"/>
                        <a:pt x="6805" y="29125"/>
                        <a:pt x="4712" y="19735"/>
                      </a:cubicBezTo>
                      <a:cubicBezTo>
                        <a:pt x="3336" y="13516"/>
                        <a:pt x="2020" y="7595"/>
                        <a:pt x="47" y="1315"/>
                      </a:cubicBezTo>
                      <a:cubicBezTo>
                        <a:pt x="-133" y="777"/>
                        <a:pt x="226" y="238"/>
                        <a:pt x="764" y="59"/>
                      </a:cubicBezTo>
                      <a:cubicBezTo>
                        <a:pt x="1303" y="-121"/>
                        <a:pt x="1901" y="119"/>
                        <a:pt x="2080" y="657"/>
                      </a:cubicBezTo>
                      <a:cubicBezTo>
                        <a:pt x="4113" y="6997"/>
                        <a:pt x="5429" y="12917"/>
                        <a:pt x="6805" y="19257"/>
                      </a:cubicBezTo>
                      <a:cubicBezTo>
                        <a:pt x="8898" y="28647"/>
                        <a:pt x="11051" y="38335"/>
                        <a:pt x="15716" y="49938"/>
                      </a:cubicBezTo>
                      <a:cubicBezTo>
                        <a:pt x="15956" y="50357"/>
                        <a:pt x="15657" y="50955"/>
                        <a:pt x="15058" y="51194"/>
                      </a:cubicBezTo>
                      <a:cubicBezTo>
                        <a:pt x="15118" y="51194"/>
                        <a:pt x="15058" y="51194"/>
                        <a:pt x="15058" y="5119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76" name="Vrije vorm: vorm 9175">
                  <a:extLst>
                    <a:ext uri="{FF2B5EF4-FFF2-40B4-BE49-F238E27FC236}">
                      <a16:creationId xmlns:a16="http://schemas.microsoft.com/office/drawing/2014/main" id="{8510DE3A-4448-4E72-A4DF-03BF557B3B2D}"/>
                    </a:ext>
                  </a:extLst>
                </p:cNvPr>
                <p:cNvSpPr/>
                <p:nvPr/>
              </p:nvSpPr>
              <p:spPr>
                <a:xfrm>
                  <a:off x="6061309" y="1731945"/>
                  <a:ext cx="8357" cy="3605"/>
                </a:xfrm>
                <a:custGeom>
                  <a:avLst/>
                  <a:gdLst>
                    <a:gd name="connsiteX0" fmla="*/ 7588 w 8357"/>
                    <a:gd name="connsiteY0" fmla="*/ 3521 h 3605"/>
                    <a:gd name="connsiteX1" fmla="*/ 6930 w 8357"/>
                    <a:gd name="connsiteY1" fmla="*/ 3581 h 3605"/>
                    <a:gd name="connsiteX2" fmla="*/ 710 w 8357"/>
                    <a:gd name="connsiteY2" fmla="*/ 1906 h 3605"/>
                    <a:gd name="connsiteX3" fmla="*/ 52 w 8357"/>
                    <a:gd name="connsiteY3" fmla="*/ 710 h 3605"/>
                    <a:gd name="connsiteX4" fmla="*/ 1428 w 8357"/>
                    <a:gd name="connsiteY4" fmla="*/ 52 h 3605"/>
                    <a:gd name="connsiteX5" fmla="*/ 7648 w 8357"/>
                    <a:gd name="connsiteY5" fmla="*/ 1727 h 3605"/>
                    <a:gd name="connsiteX6" fmla="*/ 8305 w 8357"/>
                    <a:gd name="connsiteY6" fmla="*/ 2923 h 3605"/>
                    <a:gd name="connsiteX7" fmla="*/ 7588 w 8357"/>
                    <a:gd name="connsiteY7" fmla="*/ 3521 h 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57" h="3605">
                      <a:moveTo>
                        <a:pt x="7588" y="3521"/>
                      </a:moveTo>
                      <a:cubicBezTo>
                        <a:pt x="7349" y="3581"/>
                        <a:pt x="7109" y="3641"/>
                        <a:pt x="6930" y="3581"/>
                      </a:cubicBezTo>
                      <a:lnTo>
                        <a:pt x="710" y="1906"/>
                      </a:lnTo>
                      <a:cubicBezTo>
                        <a:pt x="172" y="1787"/>
                        <a:pt x="-127" y="1189"/>
                        <a:pt x="52" y="710"/>
                      </a:cubicBezTo>
                      <a:cubicBezTo>
                        <a:pt x="231" y="172"/>
                        <a:pt x="829" y="-127"/>
                        <a:pt x="1428" y="52"/>
                      </a:cubicBezTo>
                      <a:lnTo>
                        <a:pt x="7648" y="1727"/>
                      </a:lnTo>
                      <a:cubicBezTo>
                        <a:pt x="8186" y="1846"/>
                        <a:pt x="8485" y="2445"/>
                        <a:pt x="8305" y="2923"/>
                      </a:cubicBezTo>
                      <a:cubicBezTo>
                        <a:pt x="8126" y="3162"/>
                        <a:pt x="7887" y="3401"/>
                        <a:pt x="7588" y="352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77" name="Vrije vorm: vorm 9176">
                  <a:extLst>
                    <a:ext uri="{FF2B5EF4-FFF2-40B4-BE49-F238E27FC236}">
                      <a16:creationId xmlns:a16="http://schemas.microsoft.com/office/drawing/2014/main" id="{C263882D-4135-44D1-87B0-1D04DA3FB3EE}"/>
                    </a:ext>
                  </a:extLst>
                </p:cNvPr>
                <p:cNvSpPr/>
                <p:nvPr/>
              </p:nvSpPr>
              <p:spPr>
                <a:xfrm>
                  <a:off x="6068000" y="1728284"/>
                  <a:ext cx="8851" cy="2403"/>
                </a:xfrm>
                <a:custGeom>
                  <a:avLst/>
                  <a:gdLst>
                    <a:gd name="connsiteX0" fmla="*/ 8134 w 8851"/>
                    <a:gd name="connsiteY0" fmla="*/ 1979 h 2403"/>
                    <a:gd name="connsiteX1" fmla="*/ 7775 w 8851"/>
                    <a:gd name="connsiteY1" fmla="*/ 2039 h 2403"/>
                    <a:gd name="connsiteX2" fmla="*/ 1076 w 8851"/>
                    <a:gd name="connsiteY2" fmla="*/ 2398 h 2403"/>
                    <a:gd name="connsiteX3" fmla="*/ 0 w 8851"/>
                    <a:gd name="connsiteY3" fmla="*/ 1441 h 2403"/>
                    <a:gd name="connsiteX4" fmla="*/ 1076 w 8851"/>
                    <a:gd name="connsiteY4" fmla="*/ 365 h 2403"/>
                    <a:gd name="connsiteX5" fmla="*/ 7775 w 8851"/>
                    <a:gd name="connsiteY5" fmla="*/ 6 h 2403"/>
                    <a:gd name="connsiteX6" fmla="*/ 8851 w 8851"/>
                    <a:gd name="connsiteY6" fmla="*/ 963 h 2403"/>
                    <a:gd name="connsiteX7" fmla="*/ 8134 w 8851"/>
                    <a:gd name="connsiteY7" fmla="*/ 1979 h 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1" h="2403">
                      <a:moveTo>
                        <a:pt x="8134" y="1979"/>
                      </a:moveTo>
                      <a:cubicBezTo>
                        <a:pt x="8014" y="2039"/>
                        <a:pt x="7895" y="2039"/>
                        <a:pt x="7775" y="2039"/>
                      </a:cubicBezTo>
                      <a:lnTo>
                        <a:pt x="1076" y="2398"/>
                      </a:lnTo>
                      <a:cubicBezTo>
                        <a:pt x="478" y="2458"/>
                        <a:pt x="0" y="2039"/>
                        <a:pt x="0" y="1441"/>
                      </a:cubicBezTo>
                      <a:cubicBezTo>
                        <a:pt x="0" y="903"/>
                        <a:pt x="478" y="424"/>
                        <a:pt x="1076" y="365"/>
                      </a:cubicBezTo>
                      <a:lnTo>
                        <a:pt x="7775" y="6"/>
                      </a:lnTo>
                      <a:cubicBezTo>
                        <a:pt x="8373" y="-54"/>
                        <a:pt x="8851" y="365"/>
                        <a:pt x="8851" y="963"/>
                      </a:cubicBezTo>
                      <a:cubicBezTo>
                        <a:pt x="8851" y="1441"/>
                        <a:pt x="8552" y="1800"/>
                        <a:pt x="8134" y="1979"/>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058" name="Graphic 3">
                <a:extLst>
                  <a:ext uri="{FF2B5EF4-FFF2-40B4-BE49-F238E27FC236}">
                    <a16:creationId xmlns:a16="http://schemas.microsoft.com/office/drawing/2014/main" id="{17F6A708-9355-4B89-A16A-FAAAF752862A}"/>
                  </a:ext>
                </a:extLst>
              </p:cNvPr>
              <p:cNvGrpSpPr/>
              <p:nvPr/>
            </p:nvGrpSpPr>
            <p:grpSpPr>
              <a:xfrm>
                <a:off x="5693483" y="1702756"/>
                <a:ext cx="73036" cy="97543"/>
                <a:chOff x="5693483" y="1702756"/>
                <a:chExt cx="73036" cy="97543"/>
              </a:xfrm>
              <a:grpFill/>
            </p:grpSpPr>
            <p:sp>
              <p:nvSpPr>
                <p:cNvPr id="9147" name="Vrije vorm: vorm 9146">
                  <a:extLst>
                    <a:ext uri="{FF2B5EF4-FFF2-40B4-BE49-F238E27FC236}">
                      <a16:creationId xmlns:a16="http://schemas.microsoft.com/office/drawing/2014/main" id="{CAC93D39-3AF3-4411-84B7-E2D0B6011BA0}"/>
                    </a:ext>
                  </a:extLst>
                </p:cNvPr>
                <p:cNvSpPr/>
                <p:nvPr/>
              </p:nvSpPr>
              <p:spPr>
                <a:xfrm>
                  <a:off x="5720154" y="1708962"/>
                  <a:ext cx="9935" cy="8582"/>
                </a:xfrm>
                <a:custGeom>
                  <a:avLst/>
                  <a:gdLst>
                    <a:gd name="connsiteX0" fmla="*/ 6647 w 9935"/>
                    <a:gd name="connsiteY0" fmla="*/ 8263 h 8582"/>
                    <a:gd name="connsiteX1" fmla="*/ 5869 w 9935"/>
                    <a:gd name="connsiteY1" fmla="*/ 8502 h 8582"/>
                    <a:gd name="connsiteX2" fmla="*/ 3596 w 9935"/>
                    <a:gd name="connsiteY2" fmla="*/ 8143 h 8582"/>
                    <a:gd name="connsiteX3" fmla="*/ 8 w 9935"/>
                    <a:gd name="connsiteY3" fmla="*/ 846 h 8582"/>
                    <a:gd name="connsiteX4" fmla="*/ 666 w 9935"/>
                    <a:gd name="connsiteY4" fmla="*/ 9 h 8582"/>
                    <a:gd name="connsiteX5" fmla="*/ 1503 w 9935"/>
                    <a:gd name="connsiteY5" fmla="*/ 547 h 8582"/>
                    <a:gd name="connsiteX6" fmla="*/ 4433 w 9935"/>
                    <a:gd name="connsiteY6" fmla="*/ 6887 h 8582"/>
                    <a:gd name="connsiteX7" fmla="*/ 5570 w 9935"/>
                    <a:gd name="connsiteY7" fmla="*/ 7066 h 8582"/>
                    <a:gd name="connsiteX8" fmla="*/ 8441 w 9935"/>
                    <a:gd name="connsiteY8" fmla="*/ 4435 h 8582"/>
                    <a:gd name="connsiteX9" fmla="*/ 9218 w 9935"/>
                    <a:gd name="connsiteY9" fmla="*/ 3717 h 8582"/>
                    <a:gd name="connsiteX10" fmla="*/ 9936 w 9935"/>
                    <a:gd name="connsiteY10" fmla="*/ 4435 h 8582"/>
                    <a:gd name="connsiteX11" fmla="*/ 6647 w 9935"/>
                    <a:gd name="connsiteY11" fmla="*/ 8263 h 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35" h="8582">
                      <a:moveTo>
                        <a:pt x="6647" y="8263"/>
                      </a:moveTo>
                      <a:cubicBezTo>
                        <a:pt x="6407" y="8382"/>
                        <a:pt x="6168" y="8442"/>
                        <a:pt x="5869" y="8502"/>
                      </a:cubicBezTo>
                      <a:cubicBezTo>
                        <a:pt x="5091" y="8681"/>
                        <a:pt x="4314" y="8562"/>
                        <a:pt x="3596" y="8143"/>
                      </a:cubicBezTo>
                      <a:cubicBezTo>
                        <a:pt x="1623" y="6947"/>
                        <a:pt x="486" y="3598"/>
                        <a:pt x="8" y="846"/>
                      </a:cubicBezTo>
                      <a:cubicBezTo>
                        <a:pt x="-52" y="488"/>
                        <a:pt x="247" y="69"/>
                        <a:pt x="666" y="9"/>
                      </a:cubicBezTo>
                      <a:cubicBezTo>
                        <a:pt x="1084" y="-51"/>
                        <a:pt x="1443" y="189"/>
                        <a:pt x="1503" y="547"/>
                      </a:cubicBezTo>
                      <a:cubicBezTo>
                        <a:pt x="1862" y="3000"/>
                        <a:pt x="2938" y="6050"/>
                        <a:pt x="4433" y="6887"/>
                      </a:cubicBezTo>
                      <a:cubicBezTo>
                        <a:pt x="4792" y="7126"/>
                        <a:pt x="5151" y="7186"/>
                        <a:pt x="5570" y="7066"/>
                      </a:cubicBezTo>
                      <a:cubicBezTo>
                        <a:pt x="8321" y="6408"/>
                        <a:pt x="8441" y="4435"/>
                        <a:pt x="8441" y="4435"/>
                      </a:cubicBezTo>
                      <a:cubicBezTo>
                        <a:pt x="8441" y="4016"/>
                        <a:pt x="8799" y="3717"/>
                        <a:pt x="9218" y="3717"/>
                      </a:cubicBezTo>
                      <a:cubicBezTo>
                        <a:pt x="9637" y="3717"/>
                        <a:pt x="9936" y="4016"/>
                        <a:pt x="9936" y="4435"/>
                      </a:cubicBezTo>
                      <a:cubicBezTo>
                        <a:pt x="9936" y="5452"/>
                        <a:pt x="9098" y="7365"/>
                        <a:pt x="6647" y="826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48" name="Vrije vorm: vorm 9147">
                  <a:extLst>
                    <a:ext uri="{FF2B5EF4-FFF2-40B4-BE49-F238E27FC236}">
                      <a16:creationId xmlns:a16="http://schemas.microsoft.com/office/drawing/2014/main" id="{9848F025-4801-497D-AA40-9B0FFFD60A11}"/>
                    </a:ext>
                  </a:extLst>
                </p:cNvPr>
                <p:cNvSpPr/>
                <p:nvPr/>
              </p:nvSpPr>
              <p:spPr>
                <a:xfrm>
                  <a:off x="5719516" y="1702756"/>
                  <a:ext cx="40204" cy="65254"/>
                </a:xfrm>
                <a:custGeom>
                  <a:avLst/>
                  <a:gdLst>
                    <a:gd name="connsiteX0" fmla="*/ 24508 w 40204"/>
                    <a:gd name="connsiteY0" fmla="*/ 63690 h 65254"/>
                    <a:gd name="connsiteX1" fmla="*/ 17570 w 40204"/>
                    <a:gd name="connsiteY1" fmla="*/ 65245 h 65254"/>
                    <a:gd name="connsiteX2" fmla="*/ 16793 w 40204"/>
                    <a:gd name="connsiteY2" fmla="*/ 64707 h 65254"/>
                    <a:gd name="connsiteX3" fmla="*/ 10154 w 40204"/>
                    <a:gd name="connsiteY3" fmla="*/ 36597 h 65254"/>
                    <a:gd name="connsiteX4" fmla="*/ 8061 w 40204"/>
                    <a:gd name="connsiteY4" fmla="*/ 28942 h 65254"/>
                    <a:gd name="connsiteX5" fmla="*/ 8599 w 40204"/>
                    <a:gd name="connsiteY5" fmla="*/ 28045 h 65254"/>
                    <a:gd name="connsiteX6" fmla="*/ 9497 w 40204"/>
                    <a:gd name="connsiteY6" fmla="*/ 28523 h 65254"/>
                    <a:gd name="connsiteX7" fmla="*/ 11590 w 40204"/>
                    <a:gd name="connsiteY7" fmla="*/ 36179 h 65254"/>
                    <a:gd name="connsiteX8" fmla="*/ 18109 w 40204"/>
                    <a:gd name="connsiteY8" fmla="*/ 63690 h 65254"/>
                    <a:gd name="connsiteX9" fmla="*/ 38264 w 40204"/>
                    <a:gd name="connsiteY9" fmla="*/ 51071 h 65254"/>
                    <a:gd name="connsiteX10" fmla="*/ 33838 w 40204"/>
                    <a:gd name="connsiteY10" fmla="*/ 47423 h 65254"/>
                    <a:gd name="connsiteX11" fmla="*/ 33180 w 40204"/>
                    <a:gd name="connsiteY11" fmla="*/ 46884 h 65254"/>
                    <a:gd name="connsiteX12" fmla="*/ 16255 w 40204"/>
                    <a:gd name="connsiteY12" fmla="*/ 31873 h 65254"/>
                    <a:gd name="connsiteX13" fmla="*/ 14460 w 40204"/>
                    <a:gd name="connsiteY13" fmla="*/ 24576 h 65254"/>
                    <a:gd name="connsiteX14" fmla="*/ 13922 w 40204"/>
                    <a:gd name="connsiteY14" fmla="*/ 20988 h 65254"/>
                    <a:gd name="connsiteX15" fmla="*/ 11231 w 40204"/>
                    <a:gd name="connsiteY15" fmla="*/ 15605 h 65254"/>
                    <a:gd name="connsiteX16" fmla="*/ 9915 w 40204"/>
                    <a:gd name="connsiteY16" fmla="*/ 13631 h 65254"/>
                    <a:gd name="connsiteX17" fmla="*/ 8898 w 40204"/>
                    <a:gd name="connsiteY17" fmla="*/ 9923 h 65254"/>
                    <a:gd name="connsiteX18" fmla="*/ 7942 w 40204"/>
                    <a:gd name="connsiteY18" fmla="*/ 6933 h 65254"/>
                    <a:gd name="connsiteX19" fmla="*/ 824 w 40204"/>
                    <a:gd name="connsiteY19" fmla="*/ 7112 h 65254"/>
                    <a:gd name="connsiteX20" fmla="*/ 47 w 40204"/>
                    <a:gd name="connsiteY20" fmla="*/ 6574 h 65254"/>
                    <a:gd name="connsiteX21" fmla="*/ 2080 w 40204"/>
                    <a:gd name="connsiteY21" fmla="*/ 1371 h 65254"/>
                    <a:gd name="connsiteX22" fmla="*/ 8240 w 40204"/>
                    <a:gd name="connsiteY22" fmla="*/ 175 h 65254"/>
                    <a:gd name="connsiteX23" fmla="*/ 12307 w 40204"/>
                    <a:gd name="connsiteY23" fmla="*/ 3285 h 65254"/>
                    <a:gd name="connsiteX24" fmla="*/ 18527 w 40204"/>
                    <a:gd name="connsiteY24" fmla="*/ 11777 h 65254"/>
                    <a:gd name="connsiteX25" fmla="*/ 21338 w 40204"/>
                    <a:gd name="connsiteY25" fmla="*/ 15246 h 65254"/>
                    <a:gd name="connsiteX26" fmla="*/ 21099 w 40204"/>
                    <a:gd name="connsiteY26" fmla="*/ 16323 h 65254"/>
                    <a:gd name="connsiteX27" fmla="*/ 22475 w 40204"/>
                    <a:gd name="connsiteY27" fmla="*/ 21945 h 65254"/>
                    <a:gd name="connsiteX28" fmla="*/ 19185 w 40204"/>
                    <a:gd name="connsiteY28" fmla="*/ 25174 h 65254"/>
                    <a:gd name="connsiteX29" fmla="*/ 16255 w 40204"/>
                    <a:gd name="connsiteY29" fmla="*/ 25413 h 65254"/>
                    <a:gd name="connsiteX30" fmla="*/ 17750 w 40204"/>
                    <a:gd name="connsiteY30" fmla="*/ 31155 h 65254"/>
                    <a:gd name="connsiteX31" fmla="*/ 34376 w 40204"/>
                    <a:gd name="connsiteY31" fmla="*/ 45867 h 65254"/>
                    <a:gd name="connsiteX32" fmla="*/ 35034 w 40204"/>
                    <a:gd name="connsiteY32" fmla="*/ 46406 h 65254"/>
                    <a:gd name="connsiteX33" fmla="*/ 39938 w 40204"/>
                    <a:gd name="connsiteY33" fmla="*/ 50353 h 65254"/>
                    <a:gd name="connsiteX34" fmla="*/ 40118 w 40204"/>
                    <a:gd name="connsiteY34" fmla="*/ 51190 h 65254"/>
                    <a:gd name="connsiteX35" fmla="*/ 24508 w 40204"/>
                    <a:gd name="connsiteY35" fmla="*/ 63690 h 65254"/>
                    <a:gd name="connsiteX36" fmla="*/ 15896 w 40204"/>
                    <a:gd name="connsiteY36" fmla="*/ 23918 h 65254"/>
                    <a:gd name="connsiteX37" fmla="*/ 16075 w 40204"/>
                    <a:gd name="connsiteY37" fmla="*/ 23978 h 65254"/>
                    <a:gd name="connsiteX38" fmla="*/ 18527 w 40204"/>
                    <a:gd name="connsiteY38" fmla="*/ 23978 h 65254"/>
                    <a:gd name="connsiteX39" fmla="*/ 20920 w 40204"/>
                    <a:gd name="connsiteY39" fmla="*/ 21646 h 65254"/>
                    <a:gd name="connsiteX40" fmla="*/ 19484 w 40204"/>
                    <a:gd name="connsiteY40" fmla="*/ 16921 h 65254"/>
                    <a:gd name="connsiteX41" fmla="*/ 19544 w 40204"/>
                    <a:gd name="connsiteY41" fmla="*/ 16024 h 65254"/>
                    <a:gd name="connsiteX42" fmla="*/ 19723 w 40204"/>
                    <a:gd name="connsiteY42" fmla="*/ 15485 h 65254"/>
                    <a:gd name="connsiteX43" fmla="*/ 17451 w 40204"/>
                    <a:gd name="connsiteY43" fmla="*/ 12973 h 65254"/>
                    <a:gd name="connsiteX44" fmla="*/ 10752 w 40204"/>
                    <a:gd name="connsiteY44" fmla="*/ 3943 h 65254"/>
                    <a:gd name="connsiteX45" fmla="*/ 7702 w 40204"/>
                    <a:gd name="connsiteY45" fmla="*/ 1610 h 65254"/>
                    <a:gd name="connsiteX46" fmla="*/ 2858 w 40204"/>
                    <a:gd name="connsiteY46" fmla="*/ 2507 h 65254"/>
                    <a:gd name="connsiteX47" fmla="*/ 1362 w 40204"/>
                    <a:gd name="connsiteY47" fmla="*/ 5677 h 65254"/>
                    <a:gd name="connsiteX48" fmla="*/ 8599 w 40204"/>
                    <a:gd name="connsiteY48" fmla="*/ 5737 h 65254"/>
                    <a:gd name="connsiteX49" fmla="*/ 10274 w 40204"/>
                    <a:gd name="connsiteY49" fmla="*/ 9684 h 65254"/>
                    <a:gd name="connsiteX50" fmla="*/ 11171 w 40204"/>
                    <a:gd name="connsiteY50" fmla="*/ 13033 h 65254"/>
                    <a:gd name="connsiteX51" fmla="*/ 12367 w 40204"/>
                    <a:gd name="connsiteY51" fmla="*/ 14768 h 65254"/>
                    <a:gd name="connsiteX52" fmla="*/ 15358 w 40204"/>
                    <a:gd name="connsiteY52" fmla="*/ 20748 h 65254"/>
                    <a:gd name="connsiteX53" fmla="*/ 15896 w 40204"/>
                    <a:gd name="connsiteY53" fmla="*/ 23918 h 6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0204" h="65254">
                      <a:moveTo>
                        <a:pt x="24508" y="63690"/>
                      </a:moveTo>
                      <a:cubicBezTo>
                        <a:pt x="22415" y="64468"/>
                        <a:pt x="20082" y="65006"/>
                        <a:pt x="17570" y="65245"/>
                      </a:cubicBezTo>
                      <a:cubicBezTo>
                        <a:pt x="17212" y="65305"/>
                        <a:pt x="16853" y="65066"/>
                        <a:pt x="16793" y="64707"/>
                      </a:cubicBezTo>
                      <a:cubicBezTo>
                        <a:pt x="16733" y="64527"/>
                        <a:pt x="12068" y="44731"/>
                        <a:pt x="10154" y="36597"/>
                      </a:cubicBezTo>
                      <a:lnTo>
                        <a:pt x="8061" y="28942"/>
                      </a:lnTo>
                      <a:cubicBezTo>
                        <a:pt x="7942" y="28583"/>
                        <a:pt x="8181" y="28165"/>
                        <a:pt x="8599" y="28045"/>
                      </a:cubicBezTo>
                      <a:cubicBezTo>
                        <a:pt x="9018" y="27925"/>
                        <a:pt x="9437" y="28165"/>
                        <a:pt x="9497" y="28523"/>
                      </a:cubicBezTo>
                      <a:lnTo>
                        <a:pt x="11590" y="36179"/>
                      </a:lnTo>
                      <a:cubicBezTo>
                        <a:pt x="13324" y="43535"/>
                        <a:pt x="17271" y="60401"/>
                        <a:pt x="18109" y="63690"/>
                      </a:cubicBezTo>
                      <a:cubicBezTo>
                        <a:pt x="29891" y="62314"/>
                        <a:pt x="36709" y="53284"/>
                        <a:pt x="38264" y="51071"/>
                      </a:cubicBezTo>
                      <a:cubicBezTo>
                        <a:pt x="37666" y="50592"/>
                        <a:pt x="36350" y="49516"/>
                        <a:pt x="33838" y="47423"/>
                      </a:cubicBezTo>
                      <a:lnTo>
                        <a:pt x="33180" y="46884"/>
                      </a:lnTo>
                      <a:cubicBezTo>
                        <a:pt x="25944" y="40963"/>
                        <a:pt x="17511" y="33846"/>
                        <a:pt x="16255" y="31873"/>
                      </a:cubicBezTo>
                      <a:cubicBezTo>
                        <a:pt x="15238" y="30138"/>
                        <a:pt x="14819" y="27447"/>
                        <a:pt x="14460" y="24576"/>
                      </a:cubicBezTo>
                      <a:cubicBezTo>
                        <a:pt x="14281" y="23380"/>
                        <a:pt x="14161" y="22184"/>
                        <a:pt x="13922" y="20988"/>
                      </a:cubicBezTo>
                      <a:cubicBezTo>
                        <a:pt x="13444" y="18416"/>
                        <a:pt x="12247" y="16921"/>
                        <a:pt x="11231" y="15605"/>
                      </a:cubicBezTo>
                      <a:cubicBezTo>
                        <a:pt x="10692" y="14947"/>
                        <a:pt x="10214" y="14289"/>
                        <a:pt x="9915" y="13631"/>
                      </a:cubicBezTo>
                      <a:cubicBezTo>
                        <a:pt x="9377" y="12555"/>
                        <a:pt x="9138" y="11239"/>
                        <a:pt x="8898" y="9923"/>
                      </a:cubicBezTo>
                      <a:cubicBezTo>
                        <a:pt x="8659" y="8727"/>
                        <a:pt x="8360" y="7172"/>
                        <a:pt x="7942" y="6933"/>
                      </a:cubicBezTo>
                      <a:cubicBezTo>
                        <a:pt x="7224" y="6574"/>
                        <a:pt x="3695" y="6754"/>
                        <a:pt x="824" y="7112"/>
                      </a:cubicBezTo>
                      <a:cubicBezTo>
                        <a:pt x="406" y="7172"/>
                        <a:pt x="107" y="6933"/>
                        <a:pt x="47" y="6574"/>
                      </a:cubicBezTo>
                      <a:cubicBezTo>
                        <a:pt x="47" y="6455"/>
                        <a:pt x="-492" y="3285"/>
                        <a:pt x="2080" y="1371"/>
                      </a:cubicBezTo>
                      <a:cubicBezTo>
                        <a:pt x="3635" y="235"/>
                        <a:pt x="6087" y="-304"/>
                        <a:pt x="8240" y="175"/>
                      </a:cubicBezTo>
                      <a:cubicBezTo>
                        <a:pt x="10154" y="593"/>
                        <a:pt x="11590" y="1670"/>
                        <a:pt x="12307" y="3285"/>
                      </a:cubicBezTo>
                      <a:cubicBezTo>
                        <a:pt x="13982" y="7053"/>
                        <a:pt x="16255" y="10163"/>
                        <a:pt x="18527" y="11777"/>
                      </a:cubicBezTo>
                      <a:cubicBezTo>
                        <a:pt x="20382" y="13033"/>
                        <a:pt x="21278" y="14170"/>
                        <a:pt x="21338" y="15246"/>
                      </a:cubicBezTo>
                      <a:cubicBezTo>
                        <a:pt x="21398" y="15605"/>
                        <a:pt x="21278" y="16024"/>
                        <a:pt x="21099" y="16323"/>
                      </a:cubicBezTo>
                      <a:cubicBezTo>
                        <a:pt x="21757" y="17280"/>
                        <a:pt x="23312" y="19792"/>
                        <a:pt x="22475" y="21945"/>
                      </a:cubicBezTo>
                      <a:cubicBezTo>
                        <a:pt x="21936" y="23320"/>
                        <a:pt x="20680" y="24576"/>
                        <a:pt x="19185" y="25174"/>
                      </a:cubicBezTo>
                      <a:cubicBezTo>
                        <a:pt x="18168" y="25593"/>
                        <a:pt x="17152" y="25653"/>
                        <a:pt x="16255" y="25413"/>
                      </a:cubicBezTo>
                      <a:cubicBezTo>
                        <a:pt x="16554" y="27746"/>
                        <a:pt x="16972" y="29839"/>
                        <a:pt x="17750" y="31155"/>
                      </a:cubicBezTo>
                      <a:cubicBezTo>
                        <a:pt x="19006" y="33248"/>
                        <a:pt x="30130" y="42399"/>
                        <a:pt x="34376" y="45867"/>
                      </a:cubicBezTo>
                      <a:lnTo>
                        <a:pt x="35034" y="46406"/>
                      </a:lnTo>
                      <a:cubicBezTo>
                        <a:pt x="38862" y="49576"/>
                        <a:pt x="39938" y="50353"/>
                        <a:pt x="39938" y="50353"/>
                      </a:cubicBezTo>
                      <a:cubicBezTo>
                        <a:pt x="40178" y="50532"/>
                        <a:pt x="40297" y="50951"/>
                        <a:pt x="40118" y="51190"/>
                      </a:cubicBezTo>
                      <a:cubicBezTo>
                        <a:pt x="39878" y="51430"/>
                        <a:pt x="34615" y="60042"/>
                        <a:pt x="24508" y="63690"/>
                      </a:cubicBezTo>
                      <a:close/>
                      <a:moveTo>
                        <a:pt x="15896" y="23918"/>
                      </a:moveTo>
                      <a:cubicBezTo>
                        <a:pt x="15955" y="23918"/>
                        <a:pt x="16015" y="23918"/>
                        <a:pt x="16075" y="23978"/>
                      </a:cubicBezTo>
                      <a:cubicBezTo>
                        <a:pt x="17032" y="24397"/>
                        <a:pt x="17929" y="24217"/>
                        <a:pt x="18527" y="23978"/>
                      </a:cubicBezTo>
                      <a:cubicBezTo>
                        <a:pt x="19604" y="23559"/>
                        <a:pt x="20561" y="22602"/>
                        <a:pt x="20920" y="21646"/>
                      </a:cubicBezTo>
                      <a:cubicBezTo>
                        <a:pt x="21577" y="20031"/>
                        <a:pt x="20082" y="17698"/>
                        <a:pt x="19484" y="16921"/>
                      </a:cubicBezTo>
                      <a:cubicBezTo>
                        <a:pt x="19245" y="16682"/>
                        <a:pt x="19305" y="16263"/>
                        <a:pt x="19544" y="16024"/>
                      </a:cubicBezTo>
                      <a:cubicBezTo>
                        <a:pt x="19723" y="15844"/>
                        <a:pt x="19783" y="15725"/>
                        <a:pt x="19723" y="15485"/>
                      </a:cubicBezTo>
                      <a:cubicBezTo>
                        <a:pt x="19723" y="15127"/>
                        <a:pt x="19365" y="14349"/>
                        <a:pt x="17451" y="12973"/>
                      </a:cubicBezTo>
                      <a:cubicBezTo>
                        <a:pt x="14939" y="11239"/>
                        <a:pt x="12546" y="7950"/>
                        <a:pt x="10752" y="3943"/>
                      </a:cubicBezTo>
                      <a:cubicBezTo>
                        <a:pt x="10094" y="2388"/>
                        <a:pt x="8719" y="1849"/>
                        <a:pt x="7702" y="1610"/>
                      </a:cubicBezTo>
                      <a:cubicBezTo>
                        <a:pt x="5848" y="1251"/>
                        <a:pt x="3875" y="1790"/>
                        <a:pt x="2858" y="2507"/>
                      </a:cubicBezTo>
                      <a:cubicBezTo>
                        <a:pt x="1602" y="3464"/>
                        <a:pt x="1362" y="4900"/>
                        <a:pt x="1362" y="5677"/>
                      </a:cubicBezTo>
                      <a:cubicBezTo>
                        <a:pt x="3276" y="5438"/>
                        <a:pt x="7343" y="5079"/>
                        <a:pt x="8599" y="5737"/>
                      </a:cubicBezTo>
                      <a:cubicBezTo>
                        <a:pt x="9676" y="6275"/>
                        <a:pt x="9975" y="7830"/>
                        <a:pt x="10274" y="9684"/>
                      </a:cubicBezTo>
                      <a:cubicBezTo>
                        <a:pt x="10513" y="10880"/>
                        <a:pt x="10752" y="12136"/>
                        <a:pt x="11171" y="13033"/>
                      </a:cubicBezTo>
                      <a:cubicBezTo>
                        <a:pt x="11410" y="13572"/>
                        <a:pt x="11889" y="14110"/>
                        <a:pt x="12367" y="14768"/>
                      </a:cubicBezTo>
                      <a:cubicBezTo>
                        <a:pt x="13444" y="16143"/>
                        <a:pt x="14819" y="17878"/>
                        <a:pt x="15358" y="20748"/>
                      </a:cubicBezTo>
                      <a:cubicBezTo>
                        <a:pt x="15597" y="21825"/>
                        <a:pt x="15776" y="22902"/>
                        <a:pt x="15896" y="2391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49" name="Vrije vorm: vorm 9148">
                  <a:extLst>
                    <a:ext uri="{FF2B5EF4-FFF2-40B4-BE49-F238E27FC236}">
                      <a16:creationId xmlns:a16="http://schemas.microsoft.com/office/drawing/2014/main" id="{E7292C9A-48D3-483A-A47A-E80EFA2B0C0C}"/>
                    </a:ext>
                  </a:extLst>
                </p:cNvPr>
                <p:cNvSpPr/>
                <p:nvPr/>
              </p:nvSpPr>
              <p:spPr>
                <a:xfrm>
                  <a:off x="5720237" y="1703473"/>
                  <a:ext cx="21173" cy="24235"/>
                </a:xfrm>
                <a:custGeom>
                  <a:avLst/>
                  <a:gdLst>
                    <a:gd name="connsiteX0" fmla="*/ 15055 w 21173"/>
                    <a:gd name="connsiteY0" fmla="*/ 23919 h 24235"/>
                    <a:gd name="connsiteX1" fmla="*/ 20976 w 21173"/>
                    <a:gd name="connsiteY1" fmla="*/ 21109 h 24235"/>
                    <a:gd name="connsiteX2" fmla="*/ 19421 w 21173"/>
                    <a:gd name="connsiteY2" fmla="*/ 15726 h 24235"/>
                    <a:gd name="connsiteX3" fmla="*/ 17268 w 21173"/>
                    <a:gd name="connsiteY3" fmla="*/ 11659 h 24235"/>
                    <a:gd name="connsiteX4" fmla="*/ 10809 w 21173"/>
                    <a:gd name="connsiteY4" fmla="*/ 2867 h 24235"/>
                    <a:gd name="connsiteX5" fmla="*/ 1778 w 21173"/>
                    <a:gd name="connsiteY5" fmla="*/ 1193 h 24235"/>
                    <a:gd name="connsiteX6" fmla="*/ 44 w 21173"/>
                    <a:gd name="connsiteY6" fmla="*/ 5738 h 24235"/>
                    <a:gd name="connsiteX7" fmla="*/ 7639 w 21173"/>
                    <a:gd name="connsiteY7" fmla="*/ 5618 h 24235"/>
                    <a:gd name="connsiteX8" fmla="*/ 9912 w 21173"/>
                    <a:gd name="connsiteY8" fmla="*/ 12616 h 24235"/>
                    <a:gd name="connsiteX9" fmla="*/ 14039 w 21173"/>
                    <a:gd name="connsiteY9" fmla="*/ 20152 h 24235"/>
                    <a:gd name="connsiteX10" fmla="*/ 14637 w 21173"/>
                    <a:gd name="connsiteY10" fmla="*/ 23919 h 24235"/>
                    <a:gd name="connsiteX11" fmla="*/ 14756 w 21173"/>
                    <a:gd name="connsiteY11" fmla="*/ 24039 h 24235"/>
                    <a:gd name="connsiteX12" fmla="*/ 15055 w 21173"/>
                    <a:gd name="connsiteY12" fmla="*/ 23919 h 2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173" h="24235">
                      <a:moveTo>
                        <a:pt x="15055" y="23919"/>
                      </a:moveTo>
                      <a:cubicBezTo>
                        <a:pt x="17507" y="24996"/>
                        <a:pt x="20199" y="23142"/>
                        <a:pt x="20976" y="21109"/>
                      </a:cubicBezTo>
                      <a:cubicBezTo>
                        <a:pt x="21873" y="18776"/>
                        <a:pt x="19421" y="15726"/>
                        <a:pt x="19421" y="15726"/>
                      </a:cubicBezTo>
                      <a:cubicBezTo>
                        <a:pt x="20318" y="14769"/>
                        <a:pt x="19840" y="13453"/>
                        <a:pt x="17268" y="11659"/>
                      </a:cubicBezTo>
                      <a:cubicBezTo>
                        <a:pt x="14696" y="9865"/>
                        <a:pt x="12424" y="6516"/>
                        <a:pt x="10809" y="2867"/>
                      </a:cubicBezTo>
                      <a:cubicBezTo>
                        <a:pt x="9194" y="-781"/>
                        <a:pt x="3991" y="-482"/>
                        <a:pt x="1778" y="1193"/>
                      </a:cubicBezTo>
                      <a:cubicBezTo>
                        <a:pt x="-435" y="2867"/>
                        <a:pt x="44" y="5738"/>
                        <a:pt x="44" y="5738"/>
                      </a:cubicBezTo>
                      <a:cubicBezTo>
                        <a:pt x="44" y="5738"/>
                        <a:pt x="6263" y="4961"/>
                        <a:pt x="7639" y="5618"/>
                      </a:cubicBezTo>
                      <a:cubicBezTo>
                        <a:pt x="8955" y="6276"/>
                        <a:pt x="8835" y="10283"/>
                        <a:pt x="9912" y="12616"/>
                      </a:cubicBezTo>
                      <a:cubicBezTo>
                        <a:pt x="10809" y="14470"/>
                        <a:pt x="13261" y="16145"/>
                        <a:pt x="14039" y="20152"/>
                      </a:cubicBezTo>
                      <a:cubicBezTo>
                        <a:pt x="14278" y="21408"/>
                        <a:pt x="14457" y="22723"/>
                        <a:pt x="14637" y="23919"/>
                      </a:cubicBezTo>
                      <a:cubicBezTo>
                        <a:pt x="14696" y="23979"/>
                        <a:pt x="14756" y="23979"/>
                        <a:pt x="14756" y="24039"/>
                      </a:cubicBezTo>
                      <a:lnTo>
                        <a:pt x="15055" y="23919"/>
                      </a:lnTo>
                      <a:close/>
                    </a:path>
                  </a:pathLst>
                </a:custGeom>
                <a:grpFill/>
                <a:ln w="6350" cap="flat">
                  <a:solidFill>
                    <a:schemeClr val="bg1">
                      <a:alpha val="40000"/>
                    </a:schemeClr>
                  </a:solidFill>
                  <a:prstDash val="solid"/>
                  <a:miter/>
                </a:ln>
              </p:spPr>
              <p:txBody>
                <a:bodyPr rtlCol="0" anchor="ctr"/>
                <a:lstStyle/>
                <a:p>
                  <a:endParaRPr lang="en-GB"/>
                </a:p>
              </p:txBody>
            </p:sp>
            <p:sp>
              <p:nvSpPr>
                <p:cNvPr id="9150" name="Vrije vorm: vorm 9149">
                  <a:extLst>
                    <a:ext uri="{FF2B5EF4-FFF2-40B4-BE49-F238E27FC236}">
                      <a16:creationId xmlns:a16="http://schemas.microsoft.com/office/drawing/2014/main" id="{2FA13F36-0C92-4593-AE05-BA4299574B8D}"/>
                    </a:ext>
                  </a:extLst>
                </p:cNvPr>
                <p:cNvSpPr/>
                <p:nvPr/>
              </p:nvSpPr>
              <p:spPr>
                <a:xfrm>
                  <a:off x="5729587" y="1733644"/>
                  <a:ext cx="7703" cy="5889"/>
                </a:xfrm>
                <a:custGeom>
                  <a:avLst/>
                  <a:gdLst>
                    <a:gd name="connsiteX0" fmla="*/ 981 w 7703"/>
                    <a:gd name="connsiteY0" fmla="*/ 5829 h 5889"/>
                    <a:gd name="connsiteX1" fmla="*/ 144 w 7703"/>
                    <a:gd name="connsiteY1" fmla="*/ 5650 h 5889"/>
                    <a:gd name="connsiteX2" fmla="*/ 323 w 7703"/>
                    <a:gd name="connsiteY2" fmla="*/ 4633 h 5889"/>
                    <a:gd name="connsiteX3" fmla="*/ 6483 w 7703"/>
                    <a:gd name="connsiteY3" fmla="*/ 148 h 5889"/>
                    <a:gd name="connsiteX4" fmla="*/ 7560 w 7703"/>
                    <a:gd name="connsiteY4" fmla="*/ 267 h 5889"/>
                    <a:gd name="connsiteX5" fmla="*/ 7380 w 7703"/>
                    <a:gd name="connsiteY5" fmla="*/ 1284 h 5889"/>
                    <a:gd name="connsiteX6" fmla="*/ 1280 w 7703"/>
                    <a:gd name="connsiteY6" fmla="*/ 5769 h 5889"/>
                    <a:gd name="connsiteX7" fmla="*/ 981 w 7703"/>
                    <a:gd name="connsiteY7" fmla="*/ 5829 h 5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3" h="5889">
                      <a:moveTo>
                        <a:pt x="981" y="5829"/>
                      </a:moveTo>
                      <a:cubicBezTo>
                        <a:pt x="682" y="5949"/>
                        <a:pt x="323" y="5889"/>
                        <a:pt x="144" y="5650"/>
                      </a:cubicBezTo>
                      <a:cubicBezTo>
                        <a:pt x="-96" y="5351"/>
                        <a:pt x="-36" y="4932"/>
                        <a:pt x="323" y="4633"/>
                      </a:cubicBezTo>
                      <a:cubicBezTo>
                        <a:pt x="622" y="4394"/>
                        <a:pt x="6244" y="327"/>
                        <a:pt x="6483" y="148"/>
                      </a:cubicBezTo>
                      <a:cubicBezTo>
                        <a:pt x="6842" y="-92"/>
                        <a:pt x="7321" y="-32"/>
                        <a:pt x="7560" y="267"/>
                      </a:cubicBezTo>
                      <a:cubicBezTo>
                        <a:pt x="7799" y="566"/>
                        <a:pt x="7739" y="985"/>
                        <a:pt x="7380" y="1284"/>
                      </a:cubicBezTo>
                      <a:cubicBezTo>
                        <a:pt x="5347" y="2719"/>
                        <a:pt x="1519" y="5530"/>
                        <a:pt x="1280" y="5769"/>
                      </a:cubicBezTo>
                      <a:cubicBezTo>
                        <a:pt x="1160" y="5769"/>
                        <a:pt x="1041" y="5829"/>
                        <a:pt x="981" y="582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51" name="Vrije vorm: vorm 9150">
                  <a:extLst>
                    <a:ext uri="{FF2B5EF4-FFF2-40B4-BE49-F238E27FC236}">
                      <a16:creationId xmlns:a16="http://schemas.microsoft.com/office/drawing/2014/main" id="{361A5859-3ACD-4D08-A746-A27C5D3C6D8D}"/>
                    </a:ext>
                  </a:extLst>
                </p:cNvPr>
                <p:cNvSpPr/>
                <p:nvPr/>
              </p:nvSpPr>
              <p:spPr>
                <a:xfrm>
                  <a:off x="5718358" y="1718122"/>
                  <a:ext cx="12402" cy="34325"/>
                </a:xfrm>
                <a:custGeom>
                  <a:avLst/>
                  <a:gdLst>
                    <a:gd name="connsiteX0" fmla="*/ 3119 w 12402"/>
                    <a:gd name="connsiteY0" fmla="*/ 34150 h 34325"/>
                    <a:gd name="connsiteX1" fmla="*/ 2820 w 12402"/>
                    <a:gd name="connsiteY1" fmla="*/ 34270 h 34325"/>
                    <a:gd name="connsiteX2" fmla="*/ 1325 w 12402"/>
                    <a:gd name="connsiteY2" fmla="*/ 33970 h 34325"/>
                    <a:gd name="connsiteX3" fmla="*/ 9 w 12402"/>
                    <a:gd name="connsiteY3" fmla="*/ 28349 h 34325"/>
                    <a:gd name="connsiteX4" fmla="*/ 2880 w 12402"/>
                    <a:gd name="connsiteY4" fmla="*/ 18600 h 34325"/>
                    <a:gd name="connsiteX5" fmla="*/ 4196 w 12402"/>
                    <a:gd name="connsiteY5" fmla="*/ 14653 h 34325"/>
                    <a:gd name="connsiteX6" fmla="*/ 5930 w 12402"/>
                    <a:gd name="connsiteY6" fmla="*/ 7237 h 34325"/>
                    <a:gd name="connsiteX7" fmla="*/ 6648 w 12402"/>
                    <a:gd name="connsiteY7" fmla="*/ 3887 h 34325"/>
                    <a:gd name="connsiteX8" fmla="*/ 10655 w 12402"/>
                    <a:gd name="connsiteY8" fmla="*/ 0 h 34325"/>
                    <a:gd name="connsiteX9" fmla="*/ 11433 w 12402"/>
                    <a:gd name="connsiteY9" fmla="*/ 658 h 34325"/>
                    <a:gd name="connsiteX10" fmla="*/ 10655 w 12402"/>
                    <a:gd name="connsiteY10" fmla="*/ 1376 h 34325"/>
                    <a:gd name="connsiteX11" fmla="*/ 8083 w 12402"/>
                    <a:gd name="connsiteY11" fmla="*/ 4127 h 34325"/>
                    <a:gd name="connsiteX12" fmla="*/ 7365 w 12402"/>
                    <a:gd name="connsiteY12" fmla="*/ 7416 h 34325"/>
                    <a:gd name="connsiteX13" fmla="*/ 5631 w 12402"/>
                    <a:gd name="connsiteY13" fmla="*/ 14952 h 34325"/>
                    <a:gd name="connsiteX14" fmla="*/ 4316 w 12402"/>
                    <a:gd name="connsiteY14" fmla="*/ 18959 h 34325"/>
                    <a:gd name="connsiteX15" fmla="*/ 1504 w 12402"/>
                    <a:gd name="connsiteY15" fmla="*/ 28289 h 34325"/>
                    <a:gd name="connsiteX16" fmla="*/ 2282 w 12402"/>
                    <a:gd name="connsiteY16" fmla="*/ 32834 h 34325"/>
                    <a:gd name="connsiteX17" fmla="*/ 2521 w 12402"/>
                    <a:gd name="connsiteY17" fmla="*/ 32894 h 34325"/>
                    <a:gd name="connsiteX18" fmla="*/ 3299 w 12402"/>
                    <a:gd name="connsiteY18" fmla="*/ 30262 h 34325"/>
                    <a:gd name="connsiteX19" fmla="*/ 3418 w 12402"/>
                    <a:gd name="connsiteY19" fmla="*/ 28827 h 34325"/>
                    <a:gd name="connsiteX20" fmla="*/ 8502 w 12402"/>
                    <a:gd name="connsiteY20" fmla="*/ 14892 h 34325"/>
                    <a:gd name="connsiteX21" fmla="*/ 10894 w 12402"/>
                    <a:gd name="connsiteY21" fmla="*/ 5562 h 34325"/>
                    <a:gd name="connsiteX22" fmla="*/ 11552 w 12402"/>
                    <a:gd name="connsiteY22" fmla="*/ 4785 h 34325"/>
                    <a:gd name="connsiteX23" fmla="*/ 12389 w 12402"/>
                    <a:gd name="connsiteY23" fmla="*/ 5323 h 34325"/>
                    <a:gd name="connsiteX24" fmla="*/ 9878 w 12402"/>
                    <a:gd name="connsiteY24" fmla="*/ 15370 h 34325"/>
                    <a:gd name="connsiteX25" fmla="*/ 4913 w 12402"/>
                    <a:gd name="connsiteY25" fmla="*/ 29066 h 34325"/>
                    <a:gd name="connsiteX26" fmla="*/ 4854 w 12402"/>
                    <a:gd name="connsiteY26" fmla="*/ 30143 h 34325"/>
                    <a:gd name="connsiteX27" fmla="*/ 3119 w 12402"/>
                    <a:gd name="connsiteY27" fmla="*/ 34150 h 3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02" h="34325">
                      <a:moveTo>
                        <a:pt x="3119" y="34150"/>
                      </a:moveTo>
                      <a:cubicBezTo>
                        <a:pt x="3000" y="34210"/>
                        <a:pt x="2940" y="34210"/>
                        <a:pt x="2820" y="34270"/>
                      </a:cubicBezTo>
                      <a:cubicBezTo>
                        <a:pt x="2282" y="34389"/>
                        <a:pt x="1744" y="34329"/>
                        <a:pt x="1325" y="33970"/>
                      </a:cubicBezTo>
                      <a:cubicBezTo>
                        <a:pt x="966" y="33731"/>
                        <a:pt x="-110" y="32954"/>
                        <a:pt x="9" y="28349"/>
                      </a:cubicBezTo>
                      <a:cubicBezTo>
                        <a:pt x="69" y="27093"/>
                        <a:pt x="1205" y="23504"/>
                        <a:pt x="2880" y="18600"/>
                      </a:cubicBezTo>
                      <a:cubicBezTo>
                        <a:pt x="3358" y="17165"/>
                        <a:pt x="3837" y="15789"/>
                        <a:pt x="4196" y="14653"/>
                      </a:cubicBezTo>
                      <a:cubicBezTo>
                        <a:pt x="4674" y="13217"/>
                        <a:pt x="5332" y="9868"/>
                        <a:pt x="5930" y="7237"/>
                      </a:cubicBezTo>
                      <a:cubicBezTo>
                        <a:pt x="6229" y="5682"/>
                        <a:pt x="6528" y="4426"/>
                        <a:pt x="6648" y="3887"/>
                      </a:cubicBezTo>
                      <a:cubicBezTo>
                        <a:pt x="7485" y="837"/>
                        <a:pt x="9279" y="60"/>
                        <a:pt x="10655" y="0"/>
                      </a:cubicBezTo>
                      <a:cubicBezTo>
                        <a:pt x="11074" y="0"/>
                        <a:pt x="11433" y="299"/>
                        <a:pt x="11433" y="658"/>
                      </a:cubicBezTo>
                      <a:cubicBezTo>
                        <a:pt x="11433" y="1017"/>
                        <a:pt x="11074" y="1376"/>
                        <a:pt x="10655" y="1376"/>
                      </a:cubicBezTo>
                      <a:cubicBezTo>
                        <a:pt x="10177" y="1376"/>
                        <a:pt x="8801" y="1495"/>
                        <a:pt x="8083" y="4127"/>
                      </a:cubicBezTo>
                      <a:cubicBezTo>
                        <a:pt x="7964" y="4665"/>
                        <a:pt x="7665" y="5921"/>
                        <a:pt x="7365" y="7416"/>
                      </a:cubicBezTo>
                      <a:cubicBezTo>
                        <a:pt x="6827" y="10107"/>
                        <a:pt x="6110" y="13457"/>
                        <a:pt x="5631" y="14952"/>
                      </a:cubicBezTo>
                      <a:cubicBezTo>
                        <a:pt x="5272" y="16148"/>
                        <a:pt x="4794" y="17523"/>
                        <a:pt x="4316" y="18959"/>
                      </a:cubicBezTo>
                      <a:cubicBezTo>
                        <a:pt x="3059" y="22607"/>
                        <a:pt x="1564" y="27093"/>
                        <a:pt x="1504" y="28289"/>
                      </a:cubicBezTo>
                      <a:cubicBezTo>
                        <a:pt x="1445" y="31160"/>
                        <a:pt x="1863" y="32535"/>
                        <a:pt x="2282" y="32834"/>
                      </a:cubicBezTo>
                      <a:cubicBezTo>
                        <a:pt x="2342" y="32894"/>
                        <a:pt x="2402" y="32894"/>
                        <a:pt x="2521" y="32894"/>
                      </a:cubicBezTo>
                      <a:cubicBezTo>
                        <a:pt x="3179" y="32715"/>
                        <a:pt x="3239" y="31578"/>
                        <a:pt x="3299" y="30262"/>
                      </a:cubicBezTo>
                      <a:cubicBezTo>
                        <a:pt x="3299" y="29724"/>
                        <a:pt x="3299" y="29186"/>
                        <a:pt x="3418" y="28827"/>
                      </a:cubicBezTo>
                      <a:cubicBezTo>
                        <a:pt x="3717" y="27571"/>
                        <a:pt x="6170" y="20095"/>
                        <a:pt x="8502" y="14892"/>
                      </a:cubicBezTo>
                      <a:cubicBezTo>
                        <a:pt x="10296" y="10945"/>
                        <a:pt x="10954" y="6160"/>
                        <a:pt x="10894" y="5562"/>
                      </a:cubicBezTo>
                      <a:cubicBezTo>
                        <a:pt x="10834" y="5203"/>
                        <a:pt x="11193" y="4844"/>
                        <a:pt x="11552" y="4785"/>
                      </a:cubicBezTo>
                      <a:cubicBezTo>
                        <a:pt x="11971" y="4725"/>
                        <a:pt x="12330" y="4964"/>
                        <a:pt x="12389" y="5323"/>
                      </a:cubicBezTo>
                      <a:cubicBezTo>
                        <a:pt x="12509" y="6040"/>
                        <a:pt x="11791" y="11184"/>
                        <a:pt x="9878" y="15370"/>
                      </a:cubicBezTo>
                      <a:cubicBezTo>
                        <a:pt x="7605" y="20394"/>
                        <a:pt x="5212" y="27930"/>
                        <a:pt x="4913" y="29066"/>
                      </a:cubicBezTo>
                      <a:cubicBezTo>
                        <a:pt x="4854" y="29305"/>
                        <a:pt x="4854" y="29724"/>
                        <a:pt x="4854" y="30143"/>
                      </a:cubicBezTo>
                      <a:cubicBezTo>
                        <a:pt x="4794" y="31518"/>
                        <a:pt x="4734" y="33492"/>
                        <a:pt x="3119" y="3415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52" name="Vrije vorm: vorm 9151">
                  <a:extLst>
                    <a:ext uri="{FF2B5EF4-FFF2-40B4-BE49-F238E27FC236}">
                      <a16:creationId xmlns:a16="http://schemas.microsoft.com/office/drawing/2014/main" id="{F420FBED-739B-43FB-9F15-35F39FFCA2B4}"/>
                    </a:ext>
                  </a:extLst>
                </p:cNvPr>
                <p:cNvSpPr/>
                <p:nvPr/>
              </p:nvSpPr>
              <p:spPr>
                <a:xfrm>
                  <a:off x="5724100" y="1727803"/>
                  <a:ext cx="5341" cy="1861"/>
                </a:xfrm>
                <a:custGeom>
                  <a:avLst/>
                  <a:gdLst>
                    <a:gd name="connsiteX0" fmla="*/ 4794 w 5341"/>
                    <a:gd name="connsiteY0" fmla="*/ 1802 h 1861"/>
                    <a:gd name="connsiteX1" fmla="*/ 4435 w 5341"/>
                    <a:gd name="connsiteY1" fmla="*/ 1862 h 1861"/>
                    <a:gd name="connsiteX2" fmla="*/ 607 w 5341"/>
                    <a:gd name="connsiteY2" fmla="*/ 1383 h 1861"/>
                    <a:gd name="connsiteX3" fmla="*/ 9 w 5341"/>
                    <a:gd name="connsiteY3" fmla="*/ 606 h 1861"/>
                    <a:gd name="connsiteX4" fmla="*/ 906 w 5341"/>
                    <a:gd name="connsiteY4" fmla="*/ 8 h 1861"/>
                    <a:gd name="connsiteX5" fmla="*/ 4734 w 5341"/>
                    <a:gd name="connsiteY5" fmla="*/ 486 h 1861"/>
                    <a:gd name="connsiteX6" fmla="*/ 5332 w 5341"/>
                    <a:gd name="connsiteY6" fmla="*/ 1264 h 1861"/>
                    <a:gd name="connsiteX7" fmla="*/ 4794 w 5341"/>
                    <a:gd name="connsiteY7" fmla="*/ 1802 h 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1" h="1861">
                      <a:moveTo>
                        <a:pt x="4794" y="1802"/>
                      </a:moveTo>
                      <a:cubicBezTo>
                        <a:pt x="4674" y="1862"/>
                        <a:pt x="4555" y="1862"/>
                        <a:pt x="4435" y="1862"/>
                      </a:cubicBezTo>
                      <a:lnTo>
                        <a:pt x="607" y="1383"/>
                      </a:lnTo>
                      <a:cubicBezTo>
                        <a:pt x="188" y="1323"/>
                        <a:pt x="-51" y="965"/>
                        <a:pt x="9" y="606"/>
                      </a:cubicBezTo>
                      <a:cubicBezTo>
                        <a:pt x="69" y="247"/>
                        <a:pt x="487" y="-52"/>
                        <a:pt x="906" y="8"/>
                      </a:cubicBezTo>
                      <a:lnTo>
                        <a:pt x="4734" y="486"/>
                      </a:lnTo>
                      <a:cubicBezTo>
                        <a:pt x="5152" y="546"/>
                        <a:pt x="5392" y="905"/>
                        <a:pt x="5332" y="1264"/>
                      </a:cubicBezTo>
                      <a:cubicBezTo>
                        <a:pt x="5212" y="1503"/>
                        <a:pt x="5033" y="1742"/>
                        <a:pt x="4794" y="180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53" name="Vrije vorm: vorm 9152">
                  <a:extLst>
                    <a:ext uri="{FF2B5EF4-FFF2-40B4-BE49-F238E27FC236}">
                      <a16:creationId xmlns:a16="http://schemas.microsoft.com/office/drawing/2014/main" id="{AC5E0E25-A128-4879-98B7-BB2A6C8A14EB}"/>
                    </a:ext>
                  </a:extLst>
                </p:cNvPr>
                <p:cNvSpPr/>
                <p:nvPr/>
              </p:nvSpPr>
              <p:spPr>
                <a:xfrm>
                  <a:off x="5701023" y="1781458"/>
                  <a:ext cx="7409" cy="6880"/>
                </a:xfrm>
                <a:custGeom>
                  <a:avLst/>
                  <a:gdLst>
                    <a:gd name="connsiteX0" fmla="*/ 2332 w 7409"/>
                    <a:gd name="connsiteY0" fmla="*/ 6818 h 6880"/>
                    <a:gd name="connsiteX1" fmla="*/ 1555 w 7409"/>
                    <a:gd name="connsiteY1" fmla="*/ 6698 h 6880"/>
                    <a:gd name="connsiteX2" fmla="*/ 239 w 7409"/>
                    <a:gd name="connsiteY2" fmla="*/ 5562 h 6880"/>
                    <a:gd name="connsiteX3" fmla="*/ 0 w 7409"/>
                    <a:gd name="connsiteY3" fmla="*/ 5084 h 6880"/>
                    <a:gd name="connsiteX4" fmla="*/ 239 w 7409"/>
                    <a:gd name="connsiteY4" fmla="*/ 4545 h 6880"/>
                    <a:gd name="connsiteX5" fmla="*/ 4844 w 7409"/>
                    <a:gd name="connsiteY5" fmla="*/ 239 h 6880"/>
                    <a:gd name="connsiteX6" fmla="*/ 5382 w 7409"/>
                    <a:gd name="connsiteY6" fmla="*/ 0 h 6880"/>
                    <a:gd name="connsiteX7" fmla="*/ 5921 w 7409"/>
                    <a:gd name="connsiteY7" fmla="*/ 239 h 6880"/>
                    <a:gd name="connsiteX8" fmla="*/ 7236 w 7409"/>
                    <a:gd name="connsiteY8" fmla="*/ 1615 h 6880"/>
                    <a:gd name="connsiteX9" fmla="*/ 7177 w 7409"/>
                    <a:gd name="connsiteY9" fmla="*/ 2632 h 6880"/>
                    <a:gd name="connsiteX10" fmla="*/ 2512 w 7409"/>
                    <a:gd name="connsiteY10" fmla="*/ 6698 h 6880"/>
                    <a:gd name="connsiteX11" fmla="*/ 2332 w 7409"/>
                    <a:gd name="connsiteY11" fmla="*/ 6818 h 6880"/>
                    <a:gd name="connsiteX12" fmla="*/ 1854 w 7409"/>
                    <a:gd name="connsiteY12" fmla="*/ 5024 h 6880"/>
                    <a:gd name="connsiteX13" fmla="*/ 2093 w 7409"/>
                    <a:gd name="connsiteY13" fmla="*/ 5263 h 6880"/>
                    <a:gd name="connsiteX14" fmla="*/ 5622 w 7409"/>
                    <a:gd name="connsiteY14" fmla="*/ 2153 h 6880"/>
                    <a:gd name="connsiteX15" fmla="*/ 5323 w 7409"/>
                    <a:gd name="connsiteY15" fmla="*/ 1794 h 6880"/>
                    <a:gd name="connsiteX16" fmla="*/ 1854 w 7409"/>
                    <a:gd name="connsiteY16" fmla="*/ 5024 h 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09" h="6880">
                      <a:moveTo>
                        <a:pt x="2332" y="6818"/>
                      </a:moveTo>
                      <a:cubicBezTo>
                        <a:pt x="2093" y="6938"/>
                        <a:pt x="1794" y="6878"/>
                        <a:pt x="1555" y="6698"/>
                      </a:cubicBezTo>
                      <a:lnTo>
                        <a:pt x="239" y="5562"/>
                      </a:lnTo>
                      <a:cubicBezTo>
                        <a:pt x="119" y="5442"/>
                        <a:pt x="0" y="5263"/>
                        <a:pt x="0" y="5084"/>
                      </a:cubicBezTo>
                      <a:cubicBezTo>
                        <a:pt x="0" y="4904"/>
                        <a:pt x="119" y="4725"/>
                        <a:pt x="239" y="4545"/>
                      </a:cubicBezTo>
                      <a:lnTo>
                        <a:pt x="4844" y="239"/>
                      </a:lnTo>
                      <a:cubicBezTo>
                        <a:pt x="5024" y="120"/>
                        <a:pt x="5203" y="0"/>
                        <a:pt x="5382" y="0"/>
                      </a:cubicBezTo>
                      <a:cubicBezTo>
                        <a:pt x="5562" y="0"/>
                        <a:pt x="5801" y="60"/>
                        <a:pt x="5921" y="239"/>
                      </a:cubicBezTo>
                      <a:lnTo>
                        <a:pt x="7236" y="1615"/>
                      </a:lnTo>
                      <a:cubicBezTo>
                        <a:pt x="7476" y="1914"/>
                        <a:pt x="7476" y="2332"/>
                        <a:pt x="7177" y="2632"/>
                      </a:cubicBezTo>
                      <a:lnTo>
                        <a:pt x="2512" y="6698"/>
                      </a:lnTo>
                      <a:cubicBezTo>
                        <a:pt x="2512" y="6758"/>
                        <a:pt x="2452" y="6818"/>
                        <a:pt x="2332" y="6818"/>
                      </a:cubicBezTo>
                      <a:close/>
                      <a:moveTo>
                        <a:pt x="1854" y="5024"/>
                      </a:moveTo>
                      <a:lnTo>
                        <a:pt x="2093" y="5263"/>
                      </a:lnTo>
                      <a:lnTo>
                        <a:pt x="5622" y="2153"/>
                      </a:lnTo>
                      <a:lnTo>
                        <a:pt x="5323" y="1794"/>
                      </a:lnTo>
                      <a:lnTo>
                        <a:pt x="1854" y="5024"/>
                      </a:lnTo>
                      <a:close/>
                    </a:path>
                  </a:pathLst>
                </a:custGeom>
                <a:grpFill/>
                <a:ln w="6350" cap="flat">
                  <a:solidFill>
                    <a:schemeClr val="bg1">
                      <a:alpha val="40000"/>
                    </a:schemeClr>
                  </a:solidFill>
                  <a:prstDash val="solid"/>
                  <a:miter/>
                </a:ln>
              </p:spPr>
              <p:txBody>
                <a:bodyPr rtlCol="0" anchor="ctr"/>
                <a:lstStyle/>
                <a:p>
                  <a:endParaRPr lang="en-GB"/>
                </a:p>
              </p:txBody>
            </p:sp>
            <p:sp>
              <p:nvSpPr>
                <p:cNvPr id="9154" name="Vrije vorm: vorm 9153">
                  <a:extLst>
                    <a:ext uri="{FF2B5EF4-FFF2-40B4-BE49-F238E27FC236}">
                      <a16:creationId xmlns:a16="http://schemas.microsoft.com/office/drawing/2014/main" id="{942F8763-DA05-4B51-9387-CDBC6A5EA950}"/>
                    </a:ext>
                  </a:extLst>
                </p:cNvPr>
                <p:cNvSpPr/>
                <p:nvPr/>
              </p:nvSpPr>
              <p:spPr>
                <a:xfrm>
                  <a:off x="5693483" y="1774002"/>
                  <a:ext cx="13252" cy="14109"/>
                </a:xfrm>
                <a:custGeom>
                  <a:avLst/>
                  <a:gdLst>
                    <a:gd name="connsiteX0" fmla="*/ 8557 w 13252"/>
                    <a:gd name="connsiteY0" fmla="*/ 13137 h 14109"/>
                    <a:gd name="connsiteX1" fmla="*/ 7839 w 13252"/>
                    <a:gd name="connsiteY1" fmla="*/ 13077 h 14109"/>
                    <a:gd name="connsiteX2" fmla="*/ 7540 w 13252"/>
                    <a:gd name="connsiteY2" fmla="*/ 13137 h 14109"/>
                    <a:gd name="connsiteX3" fmla="*/ 1440 w 13252"/>
                    <a:gd name="connsiteY3" fmla="*/ 13795 h 14109"/>
                    <a:gd name="connsiteX4" fmla="*/ 363 w 13252"/>
                    <a:gd name="connsiteY4" fmla="*/ 12419 h 14109"/>
                    <a:gd name="connsiteX5" fmla="*/ 1499 w 13252"/>
                    <a:gd name="connsiteY5" fmla="*/ 7037 h 14109"/>
                    <a:gd name="connsiteX6" fmla="*/ 6822 w 13252"/>
                    <a:gd name="connsiteY6" fmla="*/ 4525 h 14109"/>
                    <a:gd name="connsiteX7" fmla="*/ 7659 w 13252"/>
                    <a:gd name="connsiteY7" fmla="*/ 578 h 14109"/>
                    <a:gd name="connsiteX8" fmla="*/ 8078 w 13252"/>
                    <a:gd name="connsiteY8" fmla="*/ 99 h 14109"/>
                    <a:gd name="connsiteX9" fmla="*/ 8736 w 13252"/>
                    <a:gd name="connsiteY9" fmla="*/ 39 h 14109"/>
                    <a:gd name="connsiteX10" fmla="*/ 10650 w 13252"/>
                    <a:gd name="connsiteY10" fmla="*/ 1774 h 14109"/>
                    <a:gd name="connsiteX11" fmla="*/ 13221 w 13252"/>
                    <a:gd name="connsiteY11" fmla="*/ 7635 h 14109"/>
                    <a:gd name="connsiteX12" fmla="*/ 12743 w 13252"/>
                    <a:gd name="connsiteY12" fmla="*/ 8532 h 14109"/>
                    <a:gd name="connsiteX13" fmla="*/ 12743 w 13252"/>
                    <a:gd name="connsiteY13" fmla="*/ 8532 h 14109"/>
                    <a:gd name="connsiteX14" fmla="*/ 11786 w 13252"/>
                    <a:gd name="connsiteY14" fmla="*/ 8113 h 14109"/>
                    <a:gd name="connsiteX15" fmla="*/ 9394 w 13252"/>
                    <a:gd name="connsiteY15" fmla="*/ 2671 h 14109"/>
                    <a:gd name="connsiteX16" fmla="*/ 8856 w 13252"/>
                    <a:gd name="connsiteY16" fmla="*/ 2013 h 14109"/>
                    <a:gd name="connsiteX17" fmla="*/ 8258 w 13252"/>
                    <a:gd name="connsiteY17" fmla="*/ 4884 h 14109"/>
                    <a:gd name="connsiteX18" fmla="*/ 7779 w 13252"/>
                    <a:gd name="connsiteY18" fmla="*/ 5601 h 14109"/>
                    <a:gd name="connsiteX19" fmla="*/ 2157 w 13252"/>
                    <a:gd name="connsiteY19" fmla="*/ 8293 h 14109"/>
                    <a:gd name="connsiteX20" fmla="*/ 1798 w 13252"/>
                    <a:gd name="connsiteY20" fmla="*/ 12120 h 14109"/>
                    <a:gd name="connsiteX21" fmla="*/ 2157 w 13252"/>
                    <a:gd name="connsiteY21" fmla="*/ 12539 h 14109"/>
                    <a:gd name="connsiteX22" fmla="*/ 7002 w 13252"/>
                    <a:gd name="connsiteY22" fmla="*/ 11821 h 14109"/>
                    <a:gd name="connsiteX23" fmla="*/ 8796 w 13252"/>
                    <a:gd name="connsiteY23" fmla="*/ 11941 h 14109"/>
                    <a:gd name="connsiteX24" fmla="*/ 8796 w 13252"/>
                    <a:gd name="connsiteY24" fmla="*/ 12958 h 14109"/>
                    <a:gd name="connsiteX25" fmla="*/ 8557 w 13252"/>
                    <a:gd name="connsiteY25" fmla="*/ 13137 h 14109"/>
                    <a:gd name="connsiteX26" fmla="*/ 7779 w 13252"/>
                    <a:gd name="connsiteY26" fmla="*/ 13017 h 14109"/>
                    <a:gd name="connsiteX27" fmla="*/ 7779 w 13252"/>
                    <a:gd name="connsiteY27" fmla="*/ 13017 h 14109"/>
                    <a:gd name="connsiteX28" fmla="*/ 7779 w 13252"/>
                    <a:gd name="connsiteY28" fmla="*/ 13017 h 14109"/>
                    <a:gd name="connsiteX29" fmla="*/ 7779 w 13252"/>
                    <a:gd name="connsiteY29" fmla="*/ 13017 h 14109"/>
                    <a:gd name="connsiteX30" fmla="*/ 7779 w 13252"/>
                    <a:gd name="connsiteY30" fmla="*/ 13017 h 14109"/>
                    <a:gd name="connsiteX31" fmla="*/ 7779 w 13252"/>
                    <a:gd name="connsiteY31" fmla="*/ 13017 h 1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252" h="14109">
                      <a:moveTo>
                        <a:pt x="8557" y="13137"/>
                      </a:moveTo>
                      <a:cubicBezTo>
                        <a:pt x="8317" y="13197"/>
                        <a:pt x="8078" y="13197"/>
                        <a:pt x="7839" y="13077"/>
                      </a:cubicBezTo>
                      <a:cubicBezTo>
                        <a:pt x="7779" y="13077"/>
                        <a:pt x="7719" y="13077"/>
                        <a:pt x="7540" y="13137"/>
                      </a:cubicBezTo>
                      <a:cubicBezTo>
                        <a:pt x="5925" y="13735"/>
                        <a:pt x="3054" y="14572"/>
                        <a:pt x="1440" y="13795"/>
                      </a:cubicBezTo>
                      <a:cubicBezTo>
                        <a:pt x="841" y="13496"/>
                        <a:pt x="482" y="13077"/>
                        <a:pt x="363" y="12419"/>
                      </a:cubicBezTo>
                      <a:cubicBezTo>
                        <a:pt x="4" y="10805"/>
                        <a:pt x="-594" y="8113"/>
                        <a:pt x="1499" y="7037"/>
                      </a:cubicBezTo>
                      <a:cubicBezTo>
                        <a:pt x="2755" y="6379"/>
                        <a:pt x="5686" y="5003"/>
                        <a:pt x="6822" y="4525"/>
                      </a:cubicBezTo>
                      <a:cubicBezTo>
                        <a:pt x="6942" y="3568"/>
                        <a:pt x="7420" y="1714"/>
                        <a:pt x="7659" y="578"/>
                      </a:cubicBezTo>
                      <a:cubicBezTo>
                        <a:pt x="7719" y="338"/>
                        <a:pt x="7839" y="159"/>
                        <a:pt x="8078" y="99"/>
                      </a:cubicBezTo>
                      <a:cubicBezTo>
                        <a:pt x="8258" y="-21"/>
                        <a:pt x="8557" y="-21"/>
                        <a:pt x="8736" y="39"/>
                      </a:cubicBezTo>
                      <a:cubicBezTo>
                        <a:pt x="8856" y="99"/>
                        <a:pt x="9573" y="458"/>
                        <a:pt x="10650" y="1774"/>
                      </a:cubicBezTo>
                      <a:cubicBezTo>
                        <a:pt x="11666" y="3089"/>
                        <a:pt x="13102" y="7156"/>
                        <a:pt x="13221" y="7635"/>
                      </a:cubicBezTo>
                      <a:cubicBezTo>
                        <a:pt x="13341" y="7994"/>
                        <a:pt x="13102" y="8412"/>
                        <a:pt x="12743" y="8532"/>
                      </a:cubicBezTo>
                      <a:cubicBezTo>
                        <a:pt x="12743" y="8532"/>
                        <a:pt x="12743" y="8532"/>
                        <a:pt x="12743" y="8532"/>
                      </a:cubicBezTo>
                      <a:cubicBezTo>
                        <a:pt x="12324" y="8652"/>
                        <a:pt x="11906" y="8472"/>
                        <a:pt x="11786" y="8113"/>
                      </a:cubicBezTo>
                      <a:cubicBezTo>
                        <a:pt x="11367" y="6917"/>
                        <a:pt x="10171" y="3628"/>
                        <a:pt x="9394" y="2671"/>
                      </a:cubicBezTo>
                      <a:cubicBezTo>
                        <a:pt x="9214" y="2432"/>
                        <a:pt x="8975" y="2192"/>
                        <a:pt x="8856" y="2013"/>
                      </a:cubicBezTo>
                      <a:cubicBezTo>
                        <a:pt x="8557" y="3388"/>
                        <a:pt x="8258" y="4644"/>
                        <a:pt x="8258" y="4884"/>
                      </a:cubicBezTo>
                      <a:cubicBezTo>
                        <a:pt x="8258" y="5183"/>
                        <a:pt x="8078" y="5482"/>
                        <a:pt x="7779" y="5601"/>
                      </a:cubicBezTo>
                      <a:cubicBezTo>
                        <a:pt x="7719" y="5601"/>
                        <a:pt x="3593" y="7515"/>
                        <a:pt x="2157" y="8293"/>
                      </a:cubicBezTo>
                      <a:cubicBezTo>
                        <a:pt x="1260" y="8771"/>
                        <a:pt x="1380" y="10147"/>
                        <a:pt x="1798" y="12120"/>
                      </a:cubicBezTo>
                      <a:cubicBezTo>
                        <a:pt x="1858" y="12360"/>
                        <a:pt x="1978" y="12479"/>
                        <a:pt x="2157" y="12539"/>
                      </a:cubicBezTo>
                      <a:cubicBezTo>
                        <a:pt x="2935" y="12898"/>
                        <a:pt x="4789" y="12659"/>
                        <a:pt x="7002" y="11821"/>
                      </a:cubicBezTo>
                      <a:cubicBezTo>
                        <a:pt x="8138" y="11403"/>
                        <a:pt x="8676" y="11881"/>
                        <a:pt x="8796" y="11941"/>
                      </a:cubicBezTo>
                      <a:cubicBezTo>
                        <a:pt x="9095" y="12180"/>
                        <a:pt x="9095" y="12659"/>
                        <a:pt x="8796" y="12958"/>
                      </a:cubicBezTo>
                      <a:cubicBezTo>
                        <a:pt x="8796" y="13077"/>
                        <a:pt x="8676" y="13137"/>
                        <a:pt x="8557" y="13137"/>
                      </a:cubicBezTo>
                      <a:close/>
                      <a:moveTo>
                        <a:pt x="7779" y="13017"/>
                      </a:moveTo>
                      <a:cubicBezTo>
                        <a:pt x="7779" y="13017"/>
                        <a:pt x="7779" y="13017"/>
                        <a:pt x="7779" y="13017"/>
                      </a:cubicBezTo>
                      <a:cubicBezTo>
                        <a:pt x="7779" y="13017"/>
                        <a:pt x="7779" y="13017"/>
                        <a:pt x="7779" y="13017"/>
                      </a:cubicBezTo>
                      <a:close/>
                      <a:moveTo>
                        <a:pt x="7779" y="13017"/>
                      </a:moveTo>
                      <a:cubicBezTo>
                        <a:pt x="7779" y="13017"/>
                        <a:pt x="7779" y="13017"/>
                        <a:pt x="7779" y="13017"/>
                      </a:cubicBezTo>
                      <a:cubicBezTo>
                        <a:pt x="7779" y="13017"/>
                        <a:pt x="7779" y="13017"/>
                        <a:pt x="7779" y="1301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55" name="Vrije vorm: vorm 9154">
                  <a:extLst>
                    <a:ext uri="{FF2B5EF4-FFF2-40B4-BE49-F238E27FC236}">
                      <a16:creationId xmlns:a16="http://schemas.microsoft.com/office/drawing/2014/main" id="{1D2749BB-D87E-460A-85CB-D1D002A9B29F}"/>
                    </a:ext>
                  </a:extLst>
                </p:cNvPr>
                <p:cNvSpPr/>
                <p:nvPr/>
              </p:nvSpPr>
              <p:spPr>
                <a:xfrm>
                  <a:off x="5698245" y="1775148"/>
                  <a:ext cx="3637" cy="4934"/>
                </a:xfrm>
                <a:custGeom>
                  <a:avLst/>
                  <a:gdLst>
                    <a:gd name="connsiteX0" fmla="*/ 983 w 3637"/>
                    <a:gd name="connsiteY0" fmla="*/ 4874 h 4934"/>
                    <a:gd name="connsiteX1" fmla="*/ 625 w 3637"/>
                    <a:gd name="connsiteY1" fmla="*/ 4934 h 4934"/>
                    <a:gd name="connsiteX2" fmla="*/ 27 w 3637"/>
                    <a:gd name="connsiteY2" fmla="*/ 4157 h 4934"/>
                    <a:gd name="connsiteX3" fmla="*/ 625 w 3637"/>
                    <a:gd name="connsiteY3" fmla="*/ 628 h 4934"/>
                    <a:gd name="connsiteX4" fmla="*/ 1043 w 3637"/>
                    <a:gd name="connsiteY4" fmla="*/ 90 h 4934"/>
                    <a:gd name="connsiteX5" fmla="*/ 1761 w 3637"/>
                    <a:gd name="connsiteY5" fmla="*/ 90 h 4934"/>
                    <a:gd name="connsiteX6" fmla="*/ 3256 w 3637"/>
                    <a:gd name="connsiteY6" fmla="*/ 807 h 4934"/>
                    <a:gd name="connsiteX7" fmla="*/ 3555 w 3637"/>
                    <a:gd name="connsiteY7" fmla="*/ 1764 h 4934"/>
                    <a:gd name="connsiteX8" fmla="*/ 2538 w 3637"/>
                    <a:gd name="connsiteY8" fmla="*/ 2063 h 4934"/>
                    <a:gd name="connsiteX9" fmla="*/ 2000 w 3637"/>
                    <a:gd name="connsiteY9" fmla="*/ 1824 h 4934"/>
                    <a:gd name="connsiteX10" fmla="*/ 1582 w 3637"/>
                    <a:gd name="connsiteY10" fmla="*/ 4396 h 4934"/>
                    <a:gd name="connsiteX11" fmla="*/ 983 w 3637"/>
                    <a:gd name="connsiteY11" fmla="*/ 4874 h 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37" h="4934">
                      <a:moveTo>
                        <a:pt x="983" y="4874"/>
                      </a:moveTo>
                      <a:cubicBezTo>
                        <a:pt x="864" y="4934"/>
                        <a:pt x="744" y="4934"/>
                        <a:pt x="625" y="4934"/>
                      </a:cubicBezTo>
                      <a:cubicBezTo>
                        <a:pt x="206" y="4874"/>
                        <a:pt x="-93" y="4575"/>
                        <a:pt x="27" y="4157"/>
                      </a:cubicBezTo>
                      <a:cubicBezTo>
                        <a:pt x="445" y="1704"/>
                        <a:pt x="625" y="628"/>
                        <a:pt x="625" y="628"/>
                      </a:cubicBezTo>
                      <a:cubicBezTo>
                        <a:pt x="684" y="389"/>
                        <a:pt x="804" y="209"/>
                        <a:pt x="1043" y="90"/>
                      </a:cubicBezTo>
                      <a:cubicBezTo>
                        <a:pt x="1283" y="-30"/>
                        <a:pt x="1522" y="-30"/>
                        <a:pt x="1761" y="90"/>
                      </a:cubicBezTo>
                      <a:lnTo>
                        <a:pt x="3256" y="807"/>
                      </a:lnTo>
                      <a:cubicBezTo>
                        <a:pt x="3615" y="987"/>
                        <a:pt x="3735" y="1405"/>
                        <a:pt x="3555" y="1764"/>
                      </a:cubicBezTo>
                      <a:cubicBezTo>
                        <a:pt x="3376" y="2123"/>
                        <a:pt x="2897" y="2243"/>
                        <a:pt x="2538" y="2063"/>
                      </a:cubicBezTo>
                      <a:lnTo>
                        <a:pt x="2000" y="1824"/>
                      </a:lnTo>
                      <a:cubicBezTo>
                        <a:pt x="1881" y="2422"/>
                        <a:pt x="1761" y="3260"/>
                        <a:pt x="1582" y="4396"/>
                      </a:cubicBezTo>
                      <a:cubicBezTo>
                        <a:pt x="1462" y="4575"/>
                        <a:pt x="1283" y="4755"/>
                        <a:pt x="983" y="487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56" name="Vrije vorm: vorm 9155">
                  <a:extLst>
                    <a:ext uri="{FF2B5EF4-FFF2-40B4-BE49-F238E27FC236}">
                      <a16:creationId xmlns:a16="http://schemas.microsoft.com/office/drawing/2014/main" id="{7FAD9C73-4E5D-46FA-B2A2-B800E7E1611B}"/>
                    </a:ext>
                  </a:extLst>
                </p:cNvPr>
                <p:cNvSpPr/>
                <p:nvPr/>
              </p:nvSpPr>
              <p:spPr>
                <a:xfrm>
                  <a:off x="5694272" y="1781030"/>
                  <a:ext cx="1831" cy="3119"/>
                </a:xfrm>
                <a:custGeom>
                  <a:avLst/>
                  <a:gdLst>
                    <a:gd name="connsiteX0" fmla="*/ 1010 w 1831"/>
                    <a:gd name="connsiteY0" fmla="*/ 3059 h 3119"/>
                    <a:gd name="connsiteX1" fmla="*/ 172 w 1831"/>
                    <a:gd name="connsiteY1" fmla="*/ 2880 h 3119"/>
                    <a:gd name="connsiteX2" fmla="*/ 232 w 1831"/>
                    <a:gd name="connsiteY2" fmla="*/ 1923 h 3119"/>
                    <a:gd name="connsiteX3" fmla="*/ 292 w 1831"/>
                    <a:gd name="connsiteY3" fmla="*/ 846 h 3119"/>
                    <a:gd name="connsiteX4" fmla="*/ 950 w 1831"/>
                    <a:gd name="connsiteY4" fmla="*/ 9 h 3119"/>
                    <a:gd name="connsiteX5" fmla="*/ 1787 w 1831"/>
                    <a:gd name="connsiteY5" fmla="*/ 547 h 3119"/>
                    <a:gd name="connsiteX6" fmla="*/ 1189 w 1831"/>
                    <a:gd name="connsiteY6" fmla="*/ 2940 h 3119"/>
                    <a:gd name="connsiteX7" fmla="*/ 1010 w 1831"/>
                    <a:gd name="connsiteY7" fmla="*/ 3059 h 3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1" h="3119">
                      <a:moveTo>
                        <a:pt x="1010" y="3059"/>
                      </a:moveTo>
                      <a:cubicBezTo>
                        <a:pt x="711" y="3179"/>
                        <a:pt x="412" y="3119"/>
                        <a:pt x="172" y="2880"/>
                      </a:cubicBezTo>
                      <a:cubicBezTo>
                        <a:pt x="-67" y="2581"/>
                        <a:pt x="-67" y="2162"/>
                        <a:pt x="232" y="1923"/>
                      </a:cubicBezTo>
                      <a:cubicBezTo>
                        <a:pt x="352" y="1803"/>
                        <a:pt x="352" y="1265"/>
                        <a:pt x="292" y="846"/>
                      </a:cubicBezTo>
                      <a:cubicBezTo>
                        <a:pt x="232" y="488"/>
                        <a:pt x="531" y="69"/>
                        <a:pt x="950" y="9"/>
                      </a:cubicBezTo>
                      <a:cubicBezTo>
                        <a:pt x="1369" y="-51"/>
                        <a:pt x="1728" y="189"/>
                        <a:pt x="1787" y="547"/>
                      </a:cubicBezTo>
                      <a:cubicBezTo>
                        <a:pt x="1847" y="966"/>
                        <a:pt x="1967" y="2282"/>
                        <a:pt x="1189" y="2940"/>
                      </a:cubicBezTo>
                      <a:cubicBezTo>
                        <a:pt x="1189" y="2940"/>
                        <a:pt x="1070" y="3000"/>
                        <a:pt x="1010" y="305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57" name="Vrije vorm: vorm 9156">
                  <a:extLst>
                    <a:ext uri="{FF2B5EF4-FFF2-40B4-BE49-F238E27FC236}">
                      <a16:creationId xmlns:a16="http://schemas.microsoft.com/office/drawing/2014/main" id="{CEBBE08F-ACA0-404E-8D6D-C3F01F72CC29}"/>
                    </a:ext>
                  </a:extLst>
                </p:cNvPr>
                <p:cNvSpPr/>
                <p:nvPr/>
              </p:nvSpPr>
              <p:spPr>
                <a:xfrm>
                  <a:off x="5699312" y="1780942"/>
                  <a:ext cx="1981" cy="1569"/>
                </a:xfrm>
                <a:custGeom>
                  <a:avLst/>
                  <a:gdLst>
                    <a:gd name="connsiteX0" fmla="*/ 1472 w 1981"/>
                    <a:gd name="connsiteY0" fmla="*/ 1353 h 1569"/>
                    <a:gd name="connsiteX1" fmla="*/ 993 w 1981"/>
                    <a:gd name="connsiteY1" fmla="*/ 1532 h 1569"/>
                    <a:gd name="connsiteX2" fmla="*/ 36 w 1981"/>
                    <a:gd name="connsiteY2" fmla="*/ 1113 h 1569"/>
                    <a:gd name="connsiteX3" fmla="*/ 515 w 1981"/>
                    <a:gd name="connsiteY3" fmla="*/ 216 h 1569"/>
                    <a:gd name="connsiteX4" fmla="*/ 993 w 1981"/>
                    <a:gd name="connsiteY4" fmla="*/ 37 h 1569"/>
                    <a:gd name="connsiteX5" fmla="*/ 1950 w 1981"/>
                    <a:gd name="connsiteY5" fmla="*/ 456 h 1569"/>
                    <a:gd name="connsiteX6" fmla="*/ 1472 w 1981"/>
                    <a:gd name="connsiteY6" fmla="*/ 1353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1" h="1569">
                      <a:moveTo>
                        <a:pt x="1472" y="1353"/>
                      </a:moveTo>
                      <a:lnTo>
                        <a:pt x="993" y="1532"/>
                      </a:lnTo>
                      <a:cubicBezTo>
                        <a:pt x="575" y="1652"/>
                        <a:pt x="156" y="1472"/>
                        <a:pt x="36" y="1113"/>
                      </a:cubicBezTo>
                      <a:cubicBezTo>
                        <a:pt x="-83" y="755"/>
                        <a:pt x="96" y="336"/>
                        <a:pt x="515" y="216"/>
                      </a:cubicBezTo>
                      <a:lnTo>
                        <a:pt x="993" y="37"/>
                      </a:lnTo>
                      <a:cubicBezTo>
                        <a:pt x="1412" y="-83"/>
                        <a:pt x="1831" y="97"/>
                        <a:pt x="1950" y="456"/>
                      </a:cubicBezTo>
                      <a:cubicBezTo>
                        <a:pt x="2070" y="814"/>
                        <a:pt x="1831" y="1233"/>
                        <a:pt x="1472" y="135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58" name="Vrije vorm: vorm 9157">
                  <a:extLst>
                    <a:ext uri="{FF2B5EF4-FFF2-40B4-BE49-F238E27FC236}">
                      <a16:creationId xmlns:a16="http://schemas.microsoft.com/office/drawing/2014/main" id="{7DC2BF3B-DC73-4878-8743-7297911E1216}"/>
                    </a:ext>
                  </a:extLst>
                </p:cNvPr>
                <p:cNvSpPr/>
                <p:nvPr/>
              </p:nvSpPr>
              <p:spPr>
                <a:xfrm>
                  <a:off x="5702781" y="1772714"/>
                  <a:ext cx="20385" cy="27585"/>
                </a:xfrm>
                <a:custGeom>
                  <a:avLst/>
                  <a:gdLst>
                    <a:gd name="connsiteX0" fmla="*/ 8709 w 20385"/>
                    <a:gd name="connsiteY0" fmla="*/ 27224 h 27585"/>
                    <a:gd name="connsiteX1" fmla="*/ 5838 w 20385"/>
                    <a:gd name="connsiteY1" fmla="*/ 27583 h 27585"/>
                    <a:gd name="connsiteX2" fmla="*/ 5180 w 20385"/>
                    <a:gd name="connsiteY2" fmla="*/ 27104 h 27585"/>
                    <a:gd name="connsiteX3" fmla="*/ 3445 w 20385"/>
                    <a:gd name="connsiteY3" fmla="*/ 19927 h 27585"/>
                    <a:gd name="connsiteX4" fmla="*/ 36 w 20385"/>
                    <a:gd name="connsiteY4" fmla="*/ 15442 h 27585"/>
                    <a:gd name="connsiteX5" fmla="*/ 515 w 20385"/>
                    <a:gd name="connsiteY5" fmla="*/ 14545 h 27585"/>
                    <a:gd name="connsiteX6" fmla="*/ 1472 w 20385"/>
                    <a:gd name="connsiteY6" fmla="*/ 14963 h 27585"/>
                    <a:gd name="connsiteX7" fmla="*/ 4582 w 20385"/>
                    <a:gd name="connsiteY7" fmla="*/ 18970 h 27585"/>
                    <a:gd name="connsiteX8" fmla="*/ 4881 w 20385"/>
                    <a:gd name="connsiteY8" fmla="*/ 19389 h 27585"/>
                    <a:gd name="connsiteX9" fmla="*/ 6436 w 20385"/>
                    <a:gd name="connsiteY9" fmla="*/ 26207 h 27585"/>
                    <a:gd name="connsiteX10" fmla="*/ 7632 w 20385"/>
                    <a:gd name="connsiteY10" fmla="*/ 26087 h 27585"/>
                    <a:gd name="connsiteX11" fmla="*/ 7811 w 20385"/>
                    <a:gd name="connsiteY11" fmla="*/ 18611 h 27585"/>
                    <a:gd name="connsiteX12" fmla="*/ 8050 w 20385"/>
                    <a:gd name="connsiteY12" fmla="*/ 18432 h 27585"/>
                    <a:gd name="connsiteX13" fmla="*/ 14091 w 20385"/>
                    <a:gd name="connsiteY13" fmla="*/ 15681 h 27585"/>
                    <a:gd name="connsiteX14" fmla="*/ 14689 w 20385"/>
                    <a:gd name="connsiteY14" fmla="*/ 15621 h 27585"/>
                    <a:gd name="connsiteX15" fmla="*/ 15108 w 20385"/>
                    <a:gd name="connsiteY15" fmla="*/ 16040 h 27585"/>
                    <a:gd name="connsiteX16" fmla="*/ 17380 w 20385"/>
                    <a:gd name="connsiteY16" fmla="*/ 22320 h 27585"/>
                    <a:gd name="connsiteX17" fmla="*/ 18636 w 20385"/>
                    <a:gd name="connsiteY17" fmla="*/ 22021 h 27585"/>
                    <a:gd name="connsiteX18" fmla="*/ 15646 w 20385"/>
                    <a:gd name="connsiteY18" fmla="*/ 10418 h 27585"/>
                    <a:gd name="connsiteX19" fmla="*/ 15706 w 20385"/>
                    <a:gd name="connsiteY19" fmla="*/ 9760 h 27585"/>
                    <a:gd name="connsiteX20" fmla="*/ 17141 w 20385"/>
                    <a:gd name="connsiteY20" fmla="*/ 3361 h 27585"/>
                    <a:gd name="connsiteX21" fmla="*/ 13672 w 20385"/>
                    <a:gd name="connsiteY21" fmla="*/ 8983 h 27585"/>
                    <a:gd name="connsiteX22" fmla="*/ 4881 w 20385"/>
                    <a:gd name="connsiteY22" fmla="*/ 11913 h 27585"/>
                    <a:gd name="connsiteX23" fmla="*/ 4342 w 20385"/>
                    <a:gd name="connsiteY23" fmla="*/ 11076 h 27585"/>
                    <a:gd name="connsiteX24" fmla="*/ 5299 w 20385"/>
                    <a:gd name="connsiteY24" fmla="*/ 10538 h 27585"/>
                    <a:gd name="connsiteX25" fmla="*/ 13134 w 20385"/>
                    <a:gd name="connsiteY25" fmla="*/ 7667 h 27585"/>
                    <a:gd name="connsiteX26" fmla="*/ 16543 w 20385"/>
                    <a:gd name="connsiteY26" fmla="*/ 550 h 27585"/>
                    <a:gd name="connsiteX27" fmla="*/ 17261 w 20385"/>
                    <a:gd name="connsiteY27" fmla="*/ 11 h 27585"/>
                    <a:gd name="connsiteX28" fmla="*/ 18038 w 20385"/>
                    <a:gd name="connsiteY28" fmla="*/ 430 h 27585"/>
                    <a:gd name="connsiteX29" fmla="*/ 17320 w 20385"/>
                    <a:gd name="connsiteY29" fmla="*/ 10119 h 27585"/>
                    <a:gd name="connsiteX30" fmla="*/ 20371 w 20385"/>
                    <a:gd name="connsiteY30" fmla="*/ 22200 h 27585"/>
                    <a:gd name="connsiteX31" fmla="*/ 20072 w 20385"/>
                    <a:gd name="connsiteY31" fmla="*/ 22918 h 27585"/>
                    <a:gd name="connsiteX32" fmla="*/ 17021 w 20385"/>
                    <a:gd name="connsiteY32" fmla="*/ 23815 h 27585"/>
                    <a:gd name="connsiteX33" fmla="*/ 16304 w 20385"/>
                    <a:gd name="connsiteY33" fmla="*/ 23396 h 27585"/>
                    <a:gd name="connsiteX34" fmla="*/ 14091 w 20385"/>
                    <a:gd name="connsiteY34" fmla="*/ 17356 h 27585"/>
                    <a:gd name="connsiteX35" fmla="*/ 9008 w 20385"/>
                    <a:gd name="connsiteY35" fmla="*/ 19688 h 27585"/>
                    <a:gd name="connsiteX36" fmla="*/ 9366 w 20385"/>
                    <a:gd name="connsiteY36" fmla="*/ 26506 h 27585"/>
                    <a:gd name="connsiteX37" fmla="*/ 8888 w 20385"/>
                    <a:gd name="connsiteY37" fmla="*/ 27284 h 27585"/>
                    <a:gd name="connsiteX38" fmla="*/ 8709 w 20385"/>
                    <a:gd name="connsiteY38" fmla="*/ 27224 h 2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385" h="27585">
                      <a:moveTo>
                        <a:pt x="8709" y="27224"/>
                      </a:moveTo>
                      <a:cubicBezTo>
                        <a:pt x="7632" y="27642"/>
                        <a:pt x="6017" y="27583"/>
                        <a:pt x="5838" y="27583"/>
                      </a:cubicBezTo>
                      <a:cubicBezTo>
                        <a:pt x="5539" y="27583"/>
                        <a:pt x="5299" y="27403"/>
                        <a:pt x="5180" y="27104"/>
                      </a:cubicBezTo>
                      <a:cubicBezTo>
                        <a:pt x="4582" y="25430"/>
                        <a:pt x="3685" y="21064"/>
                        <a:pt x="3445" y="19927"/>
                      </a:cubicBezTo>
                      <a:cubicBezTo>
                        <a:pt x="1950" y="18911"/>
                        <a:pt x="694" y="17236"/>
                        <a:pt x="36" y="15442"/>
                      </a:cubicBezTo>
                      <a:cubicBezTo>
                        <a:pt x="-83" y="15083"/>
                        <a:pt x="96" y="14664"/>
                        <a:pt x="515" y="14545"/>
                      </a:cubicBezTo>
                      <a:cubicBezTo>
                        <a:pt x="933" y="14425"/>
                        <a:pt x="1352" y="14604"/>
                        <a:pt x="1472" y="14963"/>
                      </a:cubicBezTo>
                      <a:cubicBezTo>
                        <a:pt x="2070" y="16578"/>
                        <a:pt x="3266" y="18133"/>
                        <a:pt x="4582" y="18970"/>
                      </a:cubicBezTo>
                      <a:cubicBezTo>
                        <a:pt x="4761" y="19090"/>
                        <a:pt x="4821" y="19210"/>
                        <a:pt x="4881" y="19389"/>
                      </a:cubicBezTo>
                      <a:cubicBezTo>
                        <a:pt x="4881" y="19449"/>
                        <a:pt x="5838" y="24054"/>
                        <a:pt x="6436" y="26207"/>
                      </a:cubicBezTo>
                      <a:cubicBezTo>
                        <a:pt x="6795" y="26207"/>
                        <a:pt x="7273" y="26147"/>
                        <a:pt x="7632" y="26087"/>
                      </a:cubicBezTo>
                      <a:cubicBezTo>
                        <a:pt x="7213" y="23037"/>
                        <a:pt x="6914" y="19509"/>
                        <a:pt x="7811" y="18611"/>
                      </a:cubicBezTo>
                      <a:cubicBezTo>
                        <a:pt x="7871" y="18552"/>
                        <a:pt x="7931" y="18492"/>
                        <a:pt x="8050" y="18432"/>
                      </a:cubicBezTo>
                      <a:lnTo>
                        <a:pt x="14091" y="15681"/>
                      </a:lnTo>
                      <a:cubicBezTo>
                        <a:pt x="14271" y="15561"/>
                        <a:pt x="14510" y="15561"/>
                        <a:pt x="14689" y="15621"/>
                      </a:cubicBezTo>
                      <a:cubicBezTo>
                        <a:pt x="14868" y="15681"/>
                        <a:pt x="15048" y="15860"/>
                        <a:pt x="15108" y="16040"/>
                      </a:cubicBezTo>
                      <a:lnTo>
                        <a:pt x="17380" y="22320"/>
                      </a:lnTo>
                      <a:cubicBezTo>
                        <a:pt x="17799" y="22260"/>
                        <a:pt x="18278" y="22140"/>
                        <a:pt x="18636" y="22021"/>
                      </a:cubicBezTo>
                      <a:cubicBezTo>
                        <a:pt x="18218" y="20047"/>
                        <a:pt x="16782" y="12870"/>
                        <a:pt x="15646" y="10418"/>
                      </a:cubicBezTo>
                      <a:cubicBezTo>
                        <a:pt x="15526" y="10239"/>
                        <a:pt x="15586" y="9939"/>
                        <a:pt x="15706" y="9760"/>
                      </a:cubicBezTo>
                      <a:cubicBezTo>
                        <a:pt x="15706" y="9700"/>
                        <a:pt x="17560" y="6889"/>
                        <a:pt x="17141" y="3361"/>
                      </a:cubicBezTo>
                      <a:cubicBezTo>
                        <a:pt x="16364" y="5633"/>
                        <a:pt x="15108" y="8385"/>
                        <a:pt x="13672" y="8983"/>
                      </a:cubicBezTo>
                      <a:cubicBezTo>
                        <a:pt x="11519" y="9939"/>
                        <a:pt x="6316" y="12212"/>
                        <a:pt x="4881" y="11913"/>
                      </a:cubicBezTo>
                      <a:cubicBezTo>
                        <a:pt x="4462" y="11853"/>
                        <a:pt x="4223" y="11435"/>
                        <a:pt x="4342" y="11076"/>
                      </a:cubicBezTo>
                      <a:cubicBezTo>
                        <a:pt x="4462" y="10717"/>
                        <a:pt x="4881" y="10478"/>
                        <a:pt x="5299" y="10538"/>
                      </a:cubicBezTo>
                      <a:cubicBezTo>
                        <a:pt x="6017" y="10657"/>
                        <a:pt x="9964" y="9102"/>
                        <a:pt x="13134" y="7667"/>
                      </a:cubicBezTo>
                      <a:cubicBezTo>
                        <a:pt x="14091" y="7248"/>
                        <a:pt x="15646" y="3660"/>
                        <a:pt x="16543" y="550"/>
                      </a:cubicBezTo>
                      <a:cubicBezTo>
                        <a:pt x="16603" y="251"/>
                        <a:pt x="16902" y="11"/>
                        <a:pt x="17261" y="11"/>
                      </a:cubicBezTo>
                      <a:cubicBezTo>
                        <a:pt x="17560" y="-48"/>
                        <a:pt x="17919" y="131"/>
                        <a:pt x="18038" y="430"/>
                      </a:cubicBezTo>
                      <a:cubicBezTo>
                        <a:pt x="19952" y="4856"/>
                        <a:pt x="17979" y="8983"/>
                        <a:pt x="17320" y="10119"/>
                      </a:cubicBezTo>
                      <a:cubicBezTo>
                        <a:pt x="18696" y="13408"/>
                        <a:pt x="20311" y="21841"/>
                        <a:pt x="20371" y="22200"/>
                      </a:cubicBezTo>
                      <a:cubicBezTo>
                        <a:pt x="20431" y="22439"/>
                        <a:pt x="20311" y="22738"/>
                        <a:pt x="20072" y="22918"/>
                      </a:cubicBezTo>
                      <a:cubicBezTo>
                        <a:pt x="19175" y="23576"/>
                        <a:pt x="17380" y="23755"/>
                        <a:pt x="17021" y="23815"/>
                      </a:cubicBezTo>
                      <a:cubicBezTo>
                        <a:pt x="16663" y="23815"/>
                        <a:pt x="16364" y="23635"/>
                        <a:pt x="16304" y="23396"/>
                      </a:cubicBezTo>
                      <a:lnTo>
                        <a:pt x="14091" y="17356"/>
                      </a:lnTo>
                      <a:lnTo>
                        <a:pt x="9008" y="19688"/>
                      </a:lnTo>
                      <a:cubicBezTo>
                        <a:pt x="8709" y="20525"/>
                        <a:pt x="8948" y="23755"/>
                        <a:pt x="9366" y="26506"/>
                      </a:cubicBezTo>
                      <a:cubicBezTo>
                        <a:pt x="9426" y="26805"/>
                        <a:pt x="9247" y="27164"/>
                        <a:pt x="8888" y="27284"/>
                      </a:cubicBezTo>
                      <a:cubicBezTo>
                        <a:pt x="8828" y="27224"/>
                        <a:pt x="8768" y="27224"/>
                        <a:pt x="8709" y="2722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59" name="Vrije vorm: vorm 9158">
                  <a:extLst>
                    <a:ext uri="{FF2B5EF4-FFF2-40B4-BE49-F238E27FC236}">
                      <a16:creationId xmlns:a16="http://schemas.microsoft.com/office/drawing/2014/main" id="{2C01143A-1408-4E5A-AF84-1F3CAF5FA783}"/>
                    </a:ext>
                  </a:extLst>
                </p:cNvPr>
                <p:cNvSpPr/>
                <p:nvPr/>
              </p:nvSpPr>
              <p:spPr>
                <a:xfrm>
                  <a:off x="5701678" y="1790563"/>
                  <a:ext cx="6227" cy="8582"/>
                </a:xfrm>
                <a:custGeom>
                  <a:avLst/>
                  <a:gdLst>
                    <a:gd name="connsiteX0" fmla="*/ 2813 w 6227"/>
                    <a:gd name="connsiteY0" fmla="*/ 8537 h 8582"/>
                    <a:gd name="connsiteX1" fmla="*/ 2813 w 6227"/>
                    <a:gd name="connsiteY1" fmla="*/ 8537 h 8582"/>
                    <a:gd name="connsiteX2" fmla="*/ 2215 w 6227"/>
                    <a:gd name="connsiteY2" fmla="*/ 8537 h 8582"/>
                    <a:gd name="connsiteX3" fmla="*/ 481 w 6227"/>
                    <a:gd name="connsiteY3" fmla="*/ 7760 h 8582"/>
                    <a:gd name="connsiteX4" fmla="*/ 122 w 6227"/>
                    <a:gd name="connsiteY4" fmla="*/ 7401 h 8582"/>
                    <a:gd name="connsiteX5" fmla="*/ 3292 w 6227"/>
                    <a:gd name="connsiteY5" fmla="*/ 224 h 8582"/>
                    <a:gd name="connsiteX6" fmla="*/ 4368 w 6227"/>
                    <a:gd name="connsiteY6" fmla="*/ 224 h 8582"/>
                    <a:gd name="connsiteX7" fmla="*/ 4309 w 6227"/>
                    <a:gd name="connsiteY7" fmla="*/ 1241 h 8582"/>
                    <a:gd name="connsiteX8" fmla="*/ 1498 w 6227"/>
                    <a:gd name="connsiteY8" fmla="*/ 6624 h 8582"/>
                    <a:gd name="connsiteX9" fmla="*/ 2275 w 6227"/>
                    <a:gd name="connsiteY9" fmla="*/ 6983 h 8582"/>
                    <a:gd name="connsiteX10" fmla="*/ 5026 w 6227"/>
                    <a:gd name="connsiteY10" fmla="*/ 3274 h 8582"/>
                    <a:gd name="connsiteX11" fmla="*/ 6103 w 6227"/>
                    <a:gd name="connsiteY11" fmla="*/ 3394 h 8582"/>
                    <a:gd name="connsiteX12" fmla="*/ 5864 w 6227"/>
                    <a:gd name="connsiteY12" fmla="*/ 4411 h 8582"/>
                    <a:gd name="connsiteX13" fmla="*/ 3292 w 6227"/>
                    <a:gd name="connsiteY13" fmla="*/ 8238 h 8582"/>
                    <a:gd name="connsiteX14" fmla="*/ 2813 w 6227"/>
                    <a:gd name="connsiteY14" fmla="*/ 8537 h 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27" h="8582">
                      <a:moveTo>
                        <a:pt x="2813" y="8537"/>
                      </a:moveTo>
                      <a:cubicBezTo>
                        <a:pt x="2753" y="8537"/>
                        <a:pt x="2753" y="8537"/>
                        <a:pt x="2813" y="8537"/>
                      </a:cubicBezTo>
                      <a:cubicBezTo>
                        <a:pt x="2574" y="8597"/>
                        <a:pt x="2395" y="8597"/>
                        <a:pt x="2215" y="8537"/>
                      </a:cubicBezTo>
                      <a:lnTo>
                        <a:pt x="481" y="7760"/>
                      </a:lnTo>
                      <a:cubicBezTo>
                        <a:pt x="302" y="7700"/>
                        <a:pt x="182" y="7581"/>
                        <a:pt x="122" y="7401"/>
                      </a:cubicBezTo>
                      <a:cubicBezTo>
                        <a:pt x="-596" y="5667"/>
                        <a:pt x="2036" y="1361"/>
                        <a:pt x="3292" y="224"/>
                      </a:cubicBezTo>
                      <a:cubicBezTo>
                        <a:pt x="3591" y="-75"/>
                        <a:pt x="4069" y="-75"/>
                        <a:pt x="4368" y="224"/>
                      </a:cubicBezTo>
                      <a:cubicBezTo>
                        <a:pt x="4667" y="523"/>
                        <a:pt x="4607" y="942"/>
                        <a:pt x="4309" y="1241"/>
                      </a:cubicBezTo>
                      <a:cubicBezTo>
                        <a:pt x="3053" y="2377"/>
                        <a:pt x="1438" y="5547"/>
                        <a:pt x="1498" y="6624"/>
                      </a:cubicBezTo>
                      <a:lnTo>
                        <a:pt x="2275" y="6983"/>
                      </a:lnTo>
                      <a:cubicBezTo>
                        <a:pt x="2933" y="5846"/>
                        <a:pt x="4129" y="3873"/>
                        <a:pt x="5026" y="3274"/>
                      </a:cubicBezTo>
                      <a:cubicBezTo>
                        <a:pt x="5385" y="3035"/>
                        <a:pt x="5864" y="3095"/>
                        <a:pt x="6103" y="3394"/>
                      </a:cubicBezTo>
                      <a:cubicBezTo>
                        <a:pt x="6342" y="3693"/>
                        <a:pt x="6222" y="4172"/>
                        <a:pt x="5864" y="4411"/>
                      </a:cubicBezTo>
                      <a:cubicBezTo>
                        <a:pt x="5385" y="4770"/>
                        <a:pt x="4129" y="6624"/>
                        <a:pt x="3292" y="8238"/>
                      </a:cubicBezTo>
                      <a:cubicBezTo>
                        <a:pt x="3112" y="8358"/>
                        <a:pt x="2993" y="8478"/>
                        <a:pt x="2813" y="853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60" name="Vrije vorm: vorm 9159">
                  <a:extLst>
                    <a:ext uri="{FF2B5EF4-FFF2-40B4-BE49-F238E27FC236}">
                      <a16:creationId xmlns:a16="http://schemas.microsoft.com/office/drawing/2014/main" id="{EAAA35C4-214D-48D6-A7FF-A7B62F3AF638}"/>
                    </a:ext>
                  </a:extLst>
                </p:cNvPr>
                <p:cNvSpPr/>
                <p:nvPr/>
              </p:nvSpPr>
              <p:spPr>
                <a:xfrm>
                  <a:off x="5719427" y="1785078"/>
                  <a:ext cx="8764" cy="5679"/>
                </a:xfrm>
                <a:custGeom>
                  <a:avLst/>
                  <a:gdLst>
                    <a:gd name="connsiteX0" fmla="*/ 7613 w 8764"/>
                    <a:gd name="connsiteY0" fmla="*/ 5351 h 5679"/>
                    <a:gd name="connsiteX1" fmla="*/ 4981 w 8764"/>
                    <a:gd name="connsiteY1" fmla="*/ 5650 h 5679"/>
                    <a:gd name="connsiteX2" fmla="*/ 1153 w 8764"/>
                    <a:gd name="connsiteY2" fmla="*/ 4155 h 5679"/>
                    <a:gd name="connsiteX3" fmla="*/ 1452 w 8764"/>
                    <a:gd name="connsiteY3" fmla="*/ 3198 h 5679"/>
                    <a:gd name="connsiteX4" fmla="*/ 2469 w 8764"/>
                    <a:gd name="connsiteY4" fmla="*/ 3437 h 5679"/>
                    <a:gd name="connsiteX5" fmla="*/ 5160 w 8764"/>
                    <a:gd name="connsiteY5" fmla="*/ 4334 h 5679"/>
                    <a:gd name="connsiteX6" fmla="*/ 7194 w 8764"/>
                    <a:gd name="connsiteY6" fmla="*/ 4095 h 5679"/>
                    <a:gd name="connsiteX7" fmla="*/ 7015 w 8764"/>
                    <a:gd name="connsiteY7" fmla="*/ 2959 h 5679"/>
                    <a:gd name="connsiteX8" fmla="*/ 257 w 8764"/>
                    <a:gd name="connsiteY8" fmla="*/ 1284 h 5679"/>
                    <a:gd name="connsiteX9" fmla="*/ 197 w 8764"/>
                    <a:gd name="connsiteY9" fmla="*/ 267 h 5679"/>
                    <a:gd name="connsiteX10" fmla="*/ 1273 w 8764"/>
                    <a:gd name="connsiteY10" fmla="*/ 148 h 5679"/>
                    <a:gd name="connsiteX11" fmla="*/ 7673 w 8764"/>
                    <a:gd name="connsiteY11" fmla="*/ 1523 h 5679"/>
                    <a:gd name="connsiteX12" fmla="*/ 8390 w 8764"/>
                    <a:gd name="connsiteY12" fmla="*/ 2061 h 5679"/>
                    <a:gd name="connsiteX13" fmla="*/ 8749 w 8764"/>
                    <a:gd name="connsiteY13" fmla="*/ 4155 h 5679"/>
                    <a:gd name="connsiteX14" fmla="*/ 8569 w 8764"/>
                    <a:gd name="connsiteY14" fmla="*/ 4753 h 5679"/>
                    <a:gd name="connsiteX15" fmla="*/ 7613 w 8764"/>
                    <a:gd name="connsiteY15" fmla="*/ 5351 h 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64" h="5679">
                      <a:moveTo>
                        <a:pt x="7613" y="5351"/>
                      </a:moveTo>
                      <a:cubicBezTo>
                        <a:pt x="6656" y="5710"/>
                        <a:pt x="5400" y="5710"/>
                        <a:pt x="4981" y="5650"/>
                      </a:cubicBezTo>
                      <a:cubicBezTo>
                        <a:pt x="4263" y="5590"/>
                        <a:pt x="1931" y="5411"/>
                        <a:pt x="1153" y="4155"/>
                      </a:cubicBezTo>
                      <a:cubicBezTo>
                        <a:pt x="974" y="3856"/>
                        <a:pt x="1094" y="3377"/>
                        <a:pt x="1452" y="3198"/>
                      </a:cubicBezTo>
                      <a:cubicBezTo>
                        <a:pt x="1811" y="2959"/>
                        <a:pt x="2290" y="3078"/>
                        <a:pt x="2469" y="3437"/>
                      </a:cubicBezTo>
                      <a:cubicBezTo>
                        <a:pt x="2708" y="3796"/>
                        <a:pt x="3725" y="4214"/>
                        <a:pt x="5160" y="4334"/>
                      </a:cubicBezTo>
                      <a:cubicBezTo>
                        <a:pt x="6118" y="4394"/>
                        <a:pt x="6835" y="4274"/>
                        <a:pt x="7194" y="4095"/>
                      </a:cubicBezTo>
                      <a:lnTo>
                        <a:pt x="7015" y="2959"/>
                      </a:lnTo>
                      <a:cubicBezTo>
                        <a:pt x="5579" y="2959"/>
                        <a:pt x="2230" y="2719"/>
                        <a:pt x="257" y="1284"/>
                      </a:cubicBezTo>
                      <a:cubicBezTo>
                        <a:pt x="-43" y="1045"/>
                        <a:pt x="-102" y="626"/>
                        <a:pt x="197" y="267"/>
                      </a:cubicBezTo>
                      <a:cubicBezTo>
                        <a:pt x="496" y="-32"/>
                        <a:pt x="974" y="-92"/>
                        <a:pt x="1273" y="148"/>
                      </a:cubicBezTo>
                      <a:cubicBezTo>
                        <a:pt x="3306" y="1643"/>
                        <a:pt x="7673" y="1523"/>
                        <a:pt x="7673" y="1523"/>
                      </a:cubicBezTo>
                      <a:cubicBezTo>
                        <a:pt x="8031" y="1523"/>
                        <a:pt x="8330" y="1762"/>
                        <a:pt x="8390" y="2061"/>
                      </a:cubicBezTo>
                      <a:lnTo>
                        <a:pt x="8749" y="4155"/>
                      </a:lnTo>
                      <a:cubicBezTo>
                        <a:pt x="8809" y="4334"/>
                        <a:pt x="8689" y="4573"/>
                        <a:pt x="8569" y="4753"/>
                      </a:cubicBezTo>
                      <a:cubicBezTo>
                        <a:pt x="8330" y="5052"/>
                        <a:pt x="8031" y="5231"/>
                        <a:pt x="7613" y="535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61" name="Vrije vorm: vorm 9160">
                  <a:extLst>
                    <a:ext uri="{FF2B5EF4-FFF2-40B4-BE49-F238E27FC236}">
                      <a16:creationId xmlns:a16="http://schemas.microsoft.com/office/drawing/2014/main" id="{DDBF8A4F-F3C1-42FE-9F29-6A73397EAB93}"/>
                    </a:ext>
                  </a:extLst>
                </p:cNvPr>
                <p:cNvSpPr/>
                <p:nvPr/>
              </p:nvSpPr>
              <p:spPr>
                <a:xfrm>
                  <a:off x="5706401" y="1749968"/>
                  <a:ext cx="13916" cy="33024"/>
                </a:xfrm>
                <a:custGeom>
                  <a:avLst/>
                  <a:gdLst>
                    <a:gd name="connsiteX0" fmla="*/ 1021 w 13916"/>
                    <a:gd name="connsiteY0" fmla="*/ 32985 h 33024"/>
                    <a:gd name="connsiteX1" fmla="*/ 364 w 13916"/>
                    <a:gd name="connsiteY1" fmla="*/ 32925 h 33024"/>
                    <a:gd name="connsiteX2" fmla="*/ 125 w 13916"/>
                    <a:gd name="connsiteY2" fmla="*/ 31968 h 33024"/>
                    <a:gd name="connsiteX3" fmla="*/ 12445 w 13916"/>
                    <a:gd name="connsiteY3" fmla="*/ 510 h 33024"/>
                    <a:gd name="connsiteX4" fmla="*/ 13402 w 13916"/>
                    <a:gd name="connsiteY4" fmla="*/ 31 h 33024"/>
                    <a:gd name="connsiteX5" fmla="*/ 13880 w 13916"/>
                    <a:gd name="connsiteY5" fmla="*/ 928 h 33024"/>
                    <a:gd name="connsiteX6" fmla="*/ 1380 w 13916"/>
                    <a:gd name="connsiteY6" fmla="*/ 32686 h 33024"/>
                    <a:gd name="connsiteX7" fmla="*/ 1021 w 13916"/>
                    <a:gd name="connsiteY7" fmla="*/ 32985 h 3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16" h="33024">
                      <a:moveTo>
                        <a:pt x="1021" y="32985"/>
                      </a:moveTo>
                      <a:cubicBezTo>
                        <a:pt x="782" y="33045"/>
                        <a:pt x="543" y="33045"/>
                        <a:pt x="364" y="32925"/>
                      </a:cubicBezTo>
                      <a:cubicBezTo>
                        <a:pt x="5" y="32746"/>
                        <a:pt x="-115" y="32327"/>
                        <a:pt x="125" y="31968"/>
                      </a:cubicBezTo>
                      <a:cubicBezTo>
                        <a:pt x="1560" y="29875"/>
                        <a:pt x="9514" y="8524"/>
                        <a:pt x="12445" y="510"/>
                      </a:cubicBezTo>
                      <a:cubicBezTo>
                        <a:pt x="12565" y="151"/>
                        <a:pt x="13043" y="-89"/>
                        <a:pt x="13402" y="31"/>
                      </a:cubicBezTo>
                      <a:cubicBezTo>
                        <a:pt x="13820" y="151"/>
                        <a:pt x="14000" y="510"/>
                        <a:pt x="13880" y="928"/>
                      </a:cubicBezTo>
                      <a:cubicBezTo>
                        <a:pt x="13461" y="2124"/>
                        <a:pt x="3175" y="30054"/>
                        <a:pt x="1380" y="32686"/>
                      </a:cubicBezTo>
                      <a:cubicBezTo>
                        <a:pt x="1321" y="32865"/>
                        <a:pt x="1141" y="32925"/>
                        <a:pt x="1021" y="3298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62" name="Vrije vorm: vorm 9161">
                  <a:extLst>
                    <a:ext uri="{FF2B5EF4-FFF2-40B4-BE49-F238E27FC236}">
                      <a16:creationId xmlns:a16="http://schemas.microsoft.com/office/drawing/2014/main" id="{3AC2D8DB-C31A-4949-A797-773C65664095}"/>
                    </a:ext>
                  </a:extLst>
                </p:cNvPr>
                <p:cNvSpPr/>
                <p:nvPr/>
              </p:nvSpPr>
              <p:spPr>
                <a:xfrm>
                  <a:off x="5741476" y="1765778"/>
                  <a:ext cx="8778" cy="19963"/>
                </a:xfrm>
                <a:custGeom>
                  <a:avLst/>
                  <a:gdLst>
                    <a:gd name="connsiteX0" fmla="*/ 8290 w 8778"/>
                    <a:gd name="connsiteY0" fmla="*/ 19926 h 19963"/>
                    <a:gd name="connsiteX1" fmla="*/ 7333 w 8778"/>
                    <a:gd name="connsiteY1" fmla="*/ 19508 h 19963"/>
                    <a:gd name="connsiteX2" fmla="*/ 37 w 8778"/>
                    <a:gd name="connsiteY2" fmla="*/ 1027 h 19963"/>
                    <a:gd name="connsiteX3" fmla="*/ 455 w 8778"/>
                    <a:gd name="connsiteY3" fmla="*/ 70 h 19963"/>
                    <a:gd name="connsiteX4" fmla="*/ 1413 w 8778"/>
                    <a:gd name="connsiteY4" fmla="*/ 429 h 19963"/>
                    <a:gd name="connsiteX5" fmla="*/ 8709 w 8778"/>
                    <a:gd name="connsiteY5" fmla="*/ 18969 h 19963"/>
                    <a:gd name="connsiteX6" fmla="*/ 8290 w 8778"/>
                    <a:gd name="connsiteY6" fmla="*/ 19926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8" h="19963">
                      <a:moveTo>
                        <a:pt x="8290" y="19926"/>
                      </a:moveTo>
                      <a:cubicBezTo>
                        <a:pt x="7872" y="20046"/>
                        <a:pt x="7453" y="19867"/>
                        <a:pt x="7333" y="19508"/>
                      </a:cubicBezTo>
                      <a:cubicBezTo>
                        <a:pt x="6257" y="16577"/>
                        <a:pt x="1173" y="3719"/>
                        <a:pt x="37" y="1027"/>
                      </a:cubicBezTo>
                      <a:cubicBezTo>
                        <a:pt x="-83" y="668"/>
                        <a:pt x="97" y="250"/>
                        <a:pt x="455" y="70"/>
                      </a:cubicBezTo>
                      <a:cubicBezTo>
                        <a:pt x="874" y="-109"/>
                        <a:pt x="1293" y="70"/>
                        <a:pt x="1413" y="429"/>
                      </a:cubicBezTo>
                      <a:cubicBezTo>
                        <a:pt x="2549" y="3121"/>
                        <a:pt x="7632" y="15979"/>
                        <a:pt x="8709" y="18969"/>
                      </a:cubicBezTo>
                      <a:cubicBezTo>
                        <a:pt x="8889" y="19328"/>
                        <a:pt x="8709" y="19747"/>
                        <a:pt x="8290" y="1992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63" name="Vrije vorm: vorm 9162">
                  <a:extLst>
                    <a:ext uri="{FF2B5EF4-FFF2-40B4-BE49-F238E27FC236}">
                      <a16:creationId xmlns:a16="http://schemas.microsoft.com/office/drawing/2014/main" id="{F5978BCD-D87F-46E3-8A05-1EC665AC6270}"/>
                    </a:ext>
                  </a:extLst>
                </p:cNvPr>
                <p:cNvSpPr/>
                <p:nvPr/>
              </p:nvSpPr>
              <p:spPr>
                <a:xfrm>
                  <a:off x="5745124" y="1764211"/>
                  <a:ext cx="8062" cy="23444"/>
                </a:xfrm>
                <a:custGeom>
                  <a:avLst/>
                  <a:gdLst>
                    <a:gd name="connsiteX0" fmla="*/ 993 w 8062"/>
                    <a:gd name="connsiteY0" fmla="*/ 23407 h 23444"/>
                    <a:gd name="connsiteX1" fmla="*/ 36 w 8062"/>
                    <a:gd name="connsiteY1" fmla="*/ 22989 h 23444"/>
                    <a:gd name="connsiteX2" fmla="*/ 515 w 8062"/>
                    <a:gd name="connsiteY2" fmla="*/ 22091 h 23444"/>
                    <a:gd name="connsiteX3" fmla="*/ 6376 w 8062"/>
                    <a:gd name="connsiteY3" fmla="*/ 19221 h 23444"/>
                    <a:gd name="connsiteX4" fmla="*/ 874 w 8062"/>
                    <a:gd name="connsiteY4" fmla="*/ 1039 h 23444"/>
                    <a:gd name="connsiteX5" fmla="*/ 1292 w 8062"/>
                    <a:gd name="connsiteY5" fmla="*/ 82 h 23444"/>
                    <a:gd name="connsiteX6" fmla="*/ 2309 w 8062"/>
                    <a:gd name="connsiteY6" fmla="*/ 381 h 23444"/>
                    <a:gd name="connsiteX7" fmla="*/ 8051 w 8062"/>
                    <a:gd name="connsiteY7" fmla="*/ 19400 h 23444"/>
                    <a:gd name="connsiteX8" fmla="*/ 7632 w 8062"/>
                    <a:gd name="connsiteY8" fmla="*/ 20118 h 23444"/>
                    <a:gd name="connsiteX9" fmla="*/ 993 w 8062"/>
                    <a:gd name="connsiteY9" fmla="*/ 23407 h 23444"/>
                    <a:gd name="connsiteX10" fmla="*/ 7213 w 8062"/>
                    <a:gd name="connsiteY10" fmla="*/ 19580 h 23444"/>
                    <a:gd name="connsiteX11" fmla="*/ 7213 w 8062"/>
                    <a:gd name="connsiteY11" fmla="*/ 19580 h 23444"/>
                    <a:gd name="connsiteX12" fmla="*/ 7213 w 8062"/>
                    <a:gd name="connsiteY12" fmla="*/ 19580 h 2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62" h="23444">
                      <a:moveTo>
                        <a:pt x="993" y="23407"/>
                      </a:moveTo>
                      <a:cubicBezTo>
                        <a:pt x="575" y="23527"/>
                        <a:pt x="156" y="23347"/>
                        <a:pt x="36" y="22989"/>
                      </a:cubicBezTo>
                      <a:cubicBezTo>
                        <a:pt x="-83" y="22630"/>
                        <a:pt x="96" y="22211"/>
                        <a:pt x="515" y="22091"/>
                      </a:cubicBezTo>
                      <a:cubicBezTo>
                        <a:pt x="1711" y="21673"/>
                        <a:pt x="5060" y="19879"/>
                        <a:pt x="6376" y="19221"/>
                      </a:cubicBezTo>
                      <a:cubicBezTo>
                        <a:pt x="5718" y="16470"/>
                        <a:pt x="2369" y="4149"/>
                        <a:pt x="874" y="1039"/>
                      </a:cubicBezTo>
                      <a:cubicBezTo>
                        <a:pt x="694" y="680"/>
                        <a:pt x="874" y="262"/>
                        <a:pt x="1292" y="82"/>
                      </a:cubicBezTo>
                      <a:cubicBezTo>
                        <a:pt x="1651" y="-97"/>
                        <a:pt x="2130" y="23"/>
                        <a:pt x="2309" y="381"/>
                      </a:cubicBezTo>
                      <a:cubicBezTo>
                        <a:pt x="4044" y="3970"/>
                        <a:pt x="7812" y="18144"/>
                        <a:pt x="8051" y="19400"/>
                      </a:cubicBezTo>
                      <a:cubicBezTo>
                        <a:pt x="8110" y="19699"/>
                        <a:pt x="7931" y="19998"/>
                        <a:pt x="7632" y="20118"/>
                      </a:cubicBezTo>
                      <a:cubicBezTo>
                        <a:pt x="7333" y="20237"/>
                        <a:pt x="2608" y="22869"/>
                        <a:pt x="993" y="23407"/>
                      </a:cubicBezTo>
                      <a:close/>
                      <a:moveTo>
                        <a:pt x="7213" y="19580"/>
                      </a:moveTo>
                      <a:lnTo>
                        <a:pt x="7213" y="19580"/>
                      </a:lnTo>
                      <a:lnTo>
                        <a:pt x="7213" y="19580"/>
                      </a:lnTo>
                      <a:close/>
                    </a:path>
                  </a:pathLst>
                </a:custGeom>
                <a:grpFill/>
                <a:ln w="6350" cap="flat">
                  <a:solidFill>
                    <a:schemeClr val="bg1">
                      <a:alpha val="40000"/>
                    </a:schemeClr>
                  </a:solidFill>
                  <a:prstDash val="solid"/>
                  <a:miter/>
                </a:ln>
              </p:spPr>
              <p:txBody>
                <a:bodyPr rtlCol="0" anchor="ctr"/>
                <a:lstStyle/>
                <a:p>
                  <a:endParaRPr lang="en-GB"/>
                </a:p>
              </p:txBody>
            </p:sp>
            <p:sp>
              <p:nvSpPr>
                <p:cNvPr id="9164" name="Vrije vorm: vorm 9163">
                  <a:extLst>
                    <a:ext uri="{FF2B5EF4-FFF2-40B4-BE49-F238E27FC236}">
                      <a16:creationId xmlns:a16="http://schemas.microsoft.com/office/drawing/2014/main" id="{015BEA4A-5F4C-41A5-A248-5A313693950C}"/>
                    </a:ext>
                  </a:extLst>
                </p:cNvPr>
                <p:cNvSpPr/>
                <p:nvPr/>
              </p:nvSpPr>
              <p:spPr>
                <a:xfrm>
                  <a:off x="5748486" y="1763069"/>
                  <a:ext cx="16020" cy="15258"/>
                </a:xfrm>
                <a:custGeom>
                  <a:avLst/>
                  <a:gdLst>
                    <a:gd name="connsiteX0" fmla="*/ 15454 w 16020"/>
                    <a:gd name="connsiteY0" fmla="*/ 15219 h 15258"/>
                    <a:gd name="connsiteX1" fmla="*/ 14736 w 16020"/>
                    <a:gd name="connsiteY1" fmla="*/ 15159 h 15258"/>
                    <a:gd name="connsiteX2" fmla="*/ 143 w 16020"/>
                    <a:gd name="connsiteY2" fmla="*/ 1164 h 15258"/>
                    <a:gd name="connsiteX3" fmla="*/ 323 w 16020"/>
                    <a:gd name="connsiteY3" fmla="*/ 148 h 15258"/>
                    <a:gd name="connsiteX4" fmla="*/ 1399 w 16020"/>
                    <a:gd name="connsiteY4" fmla="*/ 267 h 15258"/>
                    <a:gd name="connsiteX5" fmla="*/ 15753 w 16020"/>
                    <a:gd name="connsiteY5" fmla="*/ 14023 h 15258"/>
                    <a:gd name="connsiteX6" fmla="*/ 15873 w 16020"/>
                    <a:gd name="connsiteY6" fmla="*/ 14980 h 15258"/>
                    <a:gd name="connsiteX7" fmla="*/ 15454 w 16020"/>
                    <a:gd name="connsiteY7" fmla="*/ 15219 h 1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20" h="15258">
                      <a:moveTo>
                        <a:pt x="15454" y="15219"/>
                      </a:moveTo>
                      <a:cubicBezTo>
                        <a:pt x="15215" y="15279"/>
                        <a:pt x="14916" y="15279"/>
                        <a:pt x="14736" y="15159"/>
                      </a:cubicBezTo>
                      <a:cubicBezTo>
                        <a:pt x="11267" y="12707"/>
                        <a:pt x="1938" y="3377"/>
                        <a:pt x="143" y="1164"/>
                      </a:cubicBezTo>
                      <a:cubicBezTo>
                        <a:pt x="-96" y="865"/>
                        <a:pt x="-36" y="387"/>
                        <a:pt x="323" y="148"/>
                      </a:cubicBezTo>
                      <a:cubicBezTo>
                        <a:pt x="682" y="-92"/>
                        <a:pt x="1160" y="-32"/>
                        <a:pt x="1399" y="267"/>
                      </a:cubicBezTo>
                      <a:cubicBezTo>
                        <a:pt x="3074" y="2420"/>
                        <a:pt x="12404" y="11690"/>
                        <a:pt x="15753" y="14023"/>
                      </a:cubicBezTo>
                      <a:cubicBezTo>
                        <a:pt x="16052" y="14262"/>
                        <a:pt x="16112" y="14681"/>
                        <a:pt x="15873" y="14980"/>
                      </a:cubicBezTo>
                      <a:cubicBezTo>
                        <a:pt x="15694" y="15099"/>
                        <a:pt x="15574" y="15159"/>
                        <a:pt x="15454" y="1521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65" name="Vrije vorm: vorm 9164">
                  <a:extLst>
                    <a:ext uri="{FF2B5EF4-FFF2-40B4-BE49-F238E27FC236}">
                      <a16:creationId xmlns:a16="http://schemas.microsoft.com/office/drawing/2014/main" id="{41EEA6D0-BF4F-45BB-AA75-0B237D7B88EF}"/>
                    </a:ext>
                  </a:extLst>
                </p:cNvPr>
                <p:cNvSpPr/>
                <p:nvPr/>
              </p:nvSpPr>
              <p:spPr>
                <a:xfrm>
                  <a:off x="5752261" y="1760024"/>
                  <a:ext cx="14258" cy="21359"/>
                </a:xfrm>
                <a:custGeom>
                  <a:avLst/>
                  <a:gdLst>
                    <a:gd name="connsiteX0" fmla="*/ 9407 w 14258"/>
                    <a:gd name="connsiteY0" fmla="*/ 21314 h 21359"/>
                    <a:gd name="connsiteX1" fmla="*/ 8450 w 14258"/>
                    <a:gd name="connsiteY1" fmla="*/ 20956 h 21359"/>
                    <a:gd name="connsiteX2" fmla="*/ 8869 w 14258"/>
                    <a:gd name="connsiteY2" fmla="*/ 19999 h 21359"/>
                    <a:gd name="connsiteX3" fmla="*/ 10842 w 14258"/>
                    <a:gd name="connsiteY3" fmla="*/ 18503 h 21359"/>
                    <a:gd name="connsiteX4" fmla="*/ 12577 w 14258"/>
                    <a:gd name="connsiteY4" fmla="*/ 15633 h 21359"/>
                    <a:gd name="connsiteX5" fmla="*/ 7015 w 14258"/>
                    <a:gd name="connsiteY5" fmla="*/ 9174 h 21359"/>
                    <a:gd name="connsiteX6" fmla="*/ 197 w 14258"/>
                    <a:gd name="connsiteY6" fmla="*/ 1219 h 21359"/>
                    <a:gd name="connsiteX7" fmla="*/ 256 w 14258"/>
                    <a:gd name="connsiteY7" fmla="*/ 202 h 21359"/>
                    <a:gd name="connsiteX8" fmla="*/ 1333 w 14258"/>
                    <a:gd name="connsiteY8" fmla="*/ 202 h 21359"/>
                    <a:gd name="connsiteX9" fmla="*/ 8210 w 14258"/>
                    <a:gd name="connsiteY9" fmla="*/ 8217 h 21359"/>
                    <a:gd name="connsiteX10" fmla="*/ 13952 w 14258"/>
                    <a:gd name="connsiteY10" fmla="*/ 14855 h 21359"/>
                    <a:gd name="connsiteX11" fmla="*/ 14132 w 14258"/>
                    <a:gd name="connsiteY11" fmla="*/ 15752 h 21359"/>
                    <a:gd name="connsiteX12" fmla="*/ 12098 w 14258"/>
                    <a:gd name="connsiteY12" fmla="*/ 19102 h 21359"/>
                    <a:gd name="connsiteX13" fmla="*/ 9407 w 14258"/>
                    <a:gd name="connsiteY13" fmla="*/ 21314 h 21359"/>
                    <a:gd name="connsiteX14" fmla="*/ 9407 w 14258"/>
                    <a:gd name="connsiteY14" fmla="*/ 21314 h 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58" h="21359">
                      <a:moveTo>
                        <a:pt x="9407" y="21314"/>
                      </a:moveTo>
                      <a:cubicBezTo>
                        <a:pt x="9048" y="21434"/>
                        <a:pt x="8629" y="21314"/>
                        <a:pt x="8450" y="20956"/>
                      </a:cubicBezTo>
                      <a:cubicBezTo>
                        <a:pt x="8270" y="20597"/>
                        <a:pt x="8450" y="20178"/>
                        <a:pt x="8869" y="19999"/>
                      </a:cubicBezTo>
                      <a:cubicBezTo>
                        <a:pt x="9287" y="19819"/>
                        <a:pt x="10364" y="19221"/>
                        <a:pt x="10842" y="18503"/>
                      </a:cubicBezTo>
                      <a:lnTo>
                        <a:pt x="12577" y="15633"/>
                      </a:lnTo>
                      <a:cubicBezTo>
                        <a:pt x="11739" y="14795"/>
                        <a:pt x="10065" y="12822"/>
                        <a:pt x="7015" y="9174"/>
                      </a:cubicBezTo>
                      <a:cubicBezTo>
                        <a:pt x="4263" y="5884"/>
                        <a:pt x="1453" y="2535"/>
                        <a:pt x="197" y="1219"/>
                      </a:cubicBezTo>
                      <a:cubicBezTo>
                        <a:pt x="-102" y="920"/>
                        <a:pt x="-43" y="502"/>
                        <a:pt x="256" y="202"/>
                      </a:cubicBezTo>
                      <a:cubicBezTo>
                        <a:pt x="555" y="-97"/>
                        <a:pt x="1034" y="-37"/>
                        <a:pt x="1333" y="202"/>
                      </a:cubicBezTo>
                      <a:cubicBezTo>
                        <a:pt x="2648" y="1518"/>
                        <a:pt x="5460" y="4927"/>
                        <a:pt x="8210" y="8217"/>
                      </a:cubicBezTo>
                      <a:cubicBezTo>
                        <a:pt x="10663" y="11147"/>
                        <a:pt x="13474" y="14556"/>
                        <a:pt x="13952" y="14855"/>
                      </a:cubicBezTo>
                      <a:cubicBezTo>
                        <a:pt x="14251" y="15035"/>
                        <a:pt x="14371" y="15453"/>
                        <a:pt x="14132" y="15752"/>
                      </a:cubicBezTo>
                      <a:lnTo>
                        <a:pt x="12098" y="19102"/>
                      </a:lnTo>
                      <a:cubicBezTo>
                        <a:pt x="11321" y="20417"/>
                        <a:pt x="9646" y="21195"/>
                        <a:pt x="9407" y="21314"/>
                      </a:cubicBezTo>
                      <a:cubicBezTo>
                        <a:pt x="9407" y="21314"/>
                        <a:pt x="9407" y="21314"/>
                        <a:pt x="9407" y="21314"/>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059" name="Graphic 3">
                <a:extLst>
                  <a:ext uri="{FF2B5EF4-FFF2-40B4-BE49-F238E27FC236}">
                    <a16:creationId xmlns:a16="http://schemas.microsoft.com/office/drawing/2014/main" id="{5161C64B-67EF-4A56-A7B7-E0BE45B21D3A}"/>
                  </a:ext>
                </a:extLst>
              </p:cNvPr>
              <p:cNvGrpSpPr/>
              <p:nvPr/>
            </p:nvGrpSpPr>
            <p:grpSpPr>
              <a:xfrm>
                <a:off x="5695301" y="1901921"/>
                <a:ext cx="63323" cy="123994"/>
                <a:chOff x="5695301" y="1901921"/>
                <a:chExt cx="63323" cy="123994"/>
              </a:xfrm>
              <a:grpFill/>
            </p:grpSpPr>
            <p:sp>
              <p:nvSpPr>
                <p:cNvPr id="9134" name="Vrije vorm: vorm 9133">
                  <a:extLst>
                    <a:ext uri="{FF2B5EF4-FFF2-40B4-BE49-F238E27FC236}">
                      <a16:creationId xmlns:a16="http://schemas.microsoft.com/office/drawing/2014/main" id="{D546FE22-BF31-4331-BCED-8A567F27C23A}"/>
                    </a:ext>
                  </a:extLst>
                </p:cNvPr>
                <p:cNvSpPr/>
                <p:nvPr/>
              </p:nvSpPr>
              <p:spPr>
                <a:xfrm>
                  <a:off x="5696237" y="1901921"/>
                  <a:ext cx="18633" cy="21803"/>
                </a:xfrm>
                <a:custGeom>
                  <a:avLst/>
                  <a:gdLst>
                    <a:gd name="connsiteX0" fmla="*/ 14176 w 18633"/>
                    <a:gd name="connsiteY0" fmla="*/ 21460 h 21803"/>
                    <a:gd name="connsiteX1" fmla="*/ 12800 w 18633"/>
                    <a:gd name="connsiteY1" fmla="*/ 21759 h 21803"/>
                    <a:gd name="connsiteX2" fmla="*/ 4667 w 18633"/>
                    <a:gd name="connsiteY2" fmla="*/ 18529 h 21803"/>
                    <a:gd name="connsiteX3" fmla="*/ 600 w 18633"/>
                    <a:gd name="connsiteY3" fmla="*/ 5611 h 21803"/>
                    <a:gd name="connsiteX4" fmla="*/ 7358 w 18633"/>
                    <a:gd name="connsiteY4" fmla="*/ 348 h 21803"/>
                    <a:gd name="connsiteX5" fmla="*/ 15073 w 18633"/>
                    <a:gd name="connsiteY5" fmla="*/ 1843 h 21803"/>
                    <a:gd name="connsiteX6" fmla="*/ 15073 w 18633"/>
                    <a:gd name="connsiteY6" fmla="*/ 1843 h 21803"/>
                    <a:gd name="connsiteX7" fmla="*/ 18004 w 18633"/>
                    <a:gd name="connsiteY7" fmla="*/ 8123 h 21803"/>
                    <a:gd name="connsiteX8" fmla="*/ 16508 w 18633"/>
                    <a:gd name="connsiteY8" fmla="*/ 19606 h 21803"/>
                    <a:gd name="connsiteX9" fmla="*/ 14176 w 18633"/>
                    <a:gd name="connsiteY9" fmla="*/ 21460 h 21803"/>
                    <a:gd name="connsiteX10" fmla="*/ 6939 w 18633"/>
                    <a:gd name="connsiteY10" fmla="*/ 2680 h 21803"/>
                    <a:gd name="connsiteX11" fmla="*/ 2813 w 18633"/>
                    <a:gd name="connsiteY11" fmla="*/ 6209 h 21803"/>
                    <a:gd name="connsiteX12" fmla="*/ 6401 w 18633"/>
                    <a:gd name="connsiteY12" fmla="*/ 17034 h 21803"/>
                    <a:gd name="connsiteX13" fmla="*/ 12681 w 18633"/>
                    <a:gd name="connsiteY13" fmla="*/ 19665 h 21803"/>
                    <a:gd name="connsiteX14" fmla="*/ 14714 w 18633"/>
                    <a:gd name="connsiteY14" fmla="*/ 18529 h 21803"/>
                    <a:gd name="connsiteX15" fmla="*/ 15791 w 18633"/>
                    <a:gd name="connsiteY15" fmla="*/ 8601 h 21803"/>
                    <a:gd name="connsiteX16" fmla="*/ 15791 w 18633"/>
                    <a:gd name="connsiteY16" fmla="*/ 7883 h 21803"/>
                    <a:gd name="connsiteX17" fmla="*/ 13458 w 18633"/>
                    <a:gd name="connsiteY17" fmla="*/ 3398 h 21803"/>
                    <a:gd name="connsiteX18" fmla="*/ 7836 w 18633"/>
                    <a:gd name="connsiteY18" fmla="*/ 2441 h 21803"/>
                    <a:gd name="connsiteX19" fmla="*/ 6939 w 18633"/>
                    <a:gd name="connsiteY19" fmla="*/ 2680 h 21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633" h="21803">
                      <a:moveTo>
                        <a:pt x="14176" y="21460"/>
                      </a:moveTo>
                      <a:cubicBezTo>
                        <a:pt x="13757" y="21639"/>
                        <a:pt x="13279" y="21699"/>
                        <a:pt x="12800" y="21759"/>
                      </a:cubicBezTo>
                      <a:cubicBezTo>
                        <a:pt x="10169" y="22058"/>
                        <a:pt x="7059" y="20862"/>
                        <a:pt x="4667" y="18529"/>
                      </a:cubicBezTo>
                      <a:cubicBezTo>
                        <a:pt x="1497" y="15479"/>
                        <a:pt x="-1254" y="10455"/>
                        <a:pt x="600" y="5611"/>
                      </a:cubicBezTo>
                      <a:cubicBezTo>
                        <a:pt x="1557" y="3218"/>
                        <a:pt x="4188" y="1125"/>
                        <a:pt x="7358" y="348"/>
                      </a:cubicBezTo>
                      <a:cubicBezTo>
                        <a:pt x="10408" y="-430"/>
                        <a:pt x="13219" y="109"/>
                        <a:pt x="15073" y="1843"/>
                      </a:cubicBezTo>
                      <a:lnTo>
                        <a:pt x="15073" y="1843"/>
                      </a:lnTo>
                      <a:cubicBezTo>
                        <a:pt x="16568" y="3218"/>
                        <a:pt x="18482" y="6089"/>
                        <a:pt x="18004" y="8123"/>
                      </a:cubicBezTo>
                      <a:cubicBezTo>
                        <a:pt x="19499" y="12548"/>
                        <a:pt x="18063" y="17512"/>
                        <a:pt x="16508" y="19606"/>
                      </a:cubicBezTo>
                      <a:cubicBezTo>
                        <a:pt x="15970" y="20503"/>
                        <a:pt x="15133" y="21101"/>
                        <a:pt x="14176" y="21460"/>
                      </a:cubicBezTo>
                      <a:close/>
                      <a:moveTo>
                        <a:pt x="6939" y="2680"/>
                      </a:moveTo>
                      <a:cubicBezTo>
                        <a:pt x="4966" y="3398"/>
                        <a:pt x="3411" y="4714"/>
                        <a:pt x="2813" y="6209"/>
                      </a:cubicBezTo>
                      <a:cubicBezTo>
                        <a:pt x="1258" y="10156"/>
                        <a:pt x="3769" y="14462"/>
                        <a:pt x="6401" y="17034"/>
                      </a:cubicBezTo>
                      <a:cubicBezTo>
                        <a:pt x="8255" y="18828"/>
                        <a:pt x="10767" y="19905"/>
                        <a:pt x="12681" y="19665"/>
                      </a:cubicBezTo>
                      <a:cubicBezTo>
                        <a:pt x="13578" y="19546"/>
                        <a:pt x="14236" y="19187"/>
                        <a:pt x="14714" y="18529"/>
                      </a:cubicBezTo>
                      <a:cubicBezTo>
                        <a:pt x="15970" y="16795"/>
                        <a:pt x="17166" y="12429"/>
                        <a:pt x="15791" y="8601"/>
                      </a:cubicBezTo>
                      <a:cubicBezTo>
                        <a:pt x="15731" y="8362"/>
                        <a:pt x="15731" y="8123"/>
                        <a:pt x="15791" y="7883"/>
                      </a:cubicBezTo>
                      <a:cubicBezTo>
                        <a:pt x="16090" y="7106"/>
                        <a:pt x="15013" y="4773"/>
                        <a:pt x="13458" y="3398"/>
                      </a:cubicBezTo>
                      <a:cubicBezTo>
                        <a:pt x="12143" y="2202"/>
                        <a:pt x="10109" y="1843"/>
                        <a:pt x="7836" y="2441"/>
                      </a:cubicBezTo>
                      <a:cubicBezTo>
                        <a:pt x="7597" y="2501"/>
                        <a:pt x="7238" y="2561"/>
                        <a:pt x="6939" y="268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35" name="Vrije vorm: vorm 9134">
                  <a:extLst>
                    <a:ext uri="{FF2B5EF4-FFF2-40B4-BE49-F238E27FC236}">
                      <a16:creationId xmlns:a16="http://schemas.microsoft.com/office/drawing/2014/main" id="{903F7556-B381-465C-A469-290C06A3BCCB}"/>
                    </a:ext>
                  </a:extLst>
                </p:cNvPr>
                <p:cNvSpPr/>
                <p:nvPr/>
              </p:nvSpPr>
              <p:spPr>
                <a:xfrm>
                  <a:off x="5697086" y="1903003"/>
                  <a:ext cx="16059" cy="14696"/>
                </a:xfrm>
                <a:custGeom>
                  <a:avLst/>
                  <a:gdLst>
                    <a:gd name="connsiteX0" fmla="*/ 16018 w 16059"/>
                    <a:gd name="connsiteY0" fmla="*/ 7101 h 14696"/>
                    <a:gd name="connsiteX1" fmla="*/ 3398 w 16059"/>
                    <a:gd name="connsiteY1" fmla="*/ 8895 h 14696"/>
                    <a:gd name="connsiteX2" fmla="*/ 3578 w 16059"/>
                    <a:gd name="connsiteY2" fmla="*/ 14696 h 14696"/>
                    <a:gd name="connsiteX3" fmla="*/ 109 w 16059"/>
                    <a:gd name="connsiteY3" fmla="*/ 9433 h 14696"/>
                    <a:gd name="connsiteX4" fmla="*/ 5372 w 16059"/>
                    <a:gd name="connsiteY4" fmla="*/ 821 h 14696"/>
                    <a:gd name="connsiteX5" fmla="*/ 16018 w 16059"/>
                    <a:gd name="connsiteY5" fmla="*/ 7101 h 1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59" h="14696">
                      <a:moveTo>
                        <a:pt x="16018" y="7101"/>
                      </a:moveTo>
                      <a:cubicBezTo>
                        <a:pt x="9439" y="10151"/>
                        <a:pt x="3398" y="8895"/>
                        <a:pt x="3398" y="8895"/>
                      </a:cubicBezTo>
                      <a:cubicBezTo>
                        <a:pt x="3398" y="8895"/>
                        <a:pt x="3219" y="10569"/>
                        <a:pt x="3578" y="14696"/>
                      </a:cubicBezTo>
                      <a:cubicBezTo>
                        <a:pt x="3578" y="14696"/>
                        <a:pt x="468" y="12124"/>
                        <a:pt x="109" y="9433"/>
                      </a:cubicBezTo>
                      <a:cubicBezTo>
                        <a:pt x="-250" y="6742"/>
                        <a:pt x="-11" y="3452"/>
                        <a:pt x="5372" y="821"/>
                      </a:cubicBezTo>
                      <a:cubicBezTo>
                        <a:pt x="10755" y="-1811"/>
                        <a:pt x="16616" y="2316"/>
                        <a:pt x="16018" y="710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36" name="Vrije vorm: vorm 9135">
                  <a:extLst>
                    <a:ext uri="{FF2B5EF4-FFF2-40B4-BE49-F238E27FC236}">
                      <a16:creationId xmlns:a16="http://schemas.microsoft.com/office/drawing/2014/main" id="{36D4334B-39B6-4E12-9506-1C91533C1079}"/>
                    </a:ext>
                  </a:extLst>
                </p:cNvPr>
                <p:cNvSpPr/>
                <p:nvPr/>
              </p:nvSpPr>
              <p:spPr>
                <a:xfrm>
                  <a:off x="5695301" y="1921314"/>
                  <a:ext cx="27952" cy="34018"/>
                </a:xfrm>
                <a:custGeom>
                  <a:avLst/>
                  <a:gdLst>
                    <a:gd name="connsiteX0" fmla="*/ 15171 w 27952"/>
                    <a:gd name="connsiteY0" fmla="*/ 33645 h 34018"/>
                    <a:gd name="connsiteX1" fmla="*/ 12600 w 27952"/>
                    <a:gd name="connsiteY1" fmla="*/ 34003 h 34018"/>
                    <a:gd name="connsiteX2" fmla="*/ 8294 w 27952"/>
                    <a:gd name="connsiteY2" fmla="*/ 31073 h 34018"/>
                    <a:gd name="connsiteX3" fmla="*/ 40 w 27952"/>
                    <a:gd name="connsiteY3" fmla="*/ 11396 h 34018"/>
                    <a:gd name="connsiteX4" fmla="*/ 9609 w 27952"/>
                    <a:gd name="connsiteY4" fmla="*/ 93 h 34018"/>
                    <a:gd name="connsiteX5" fmla="*/ 11104 w 27952"/>
                    <a:gd name="connsiteY5" fmla="*/ 631 h 34018"/>
                    <a:gd name="connsiteX6" fmla="*/ 10447 w 27952"/>
                    <a:gd name="connsiteY6" fmla="*/ 2066 h 34018"/>
                    <a:gd name="connsiteX7" fmla="*/ 2313 w 27952"/>
                    <a:gd name="connsiteY7" fmla="*/ 11097 h 34018"/>
                    <a:gd name="connsiteX8" fmla="*/ 10327 w 27952"/>
                    <a:gd name="connsiteY8" fmla="*/ 30056 h 34018"/>
                    <a:gd name="connsiteX9" fmla="*/ 12958 w 27952"/>
                    <a:gd name="connsiteY9" fmla="*/ 31970 h 34018"/>
                    <a:gd name="connsiteX10" fmla="*/ 16367 w 27952"/>
                    <a:gd name="connsiteY10" fmla="*/ 30535 h 34018"/>
                    <a:gd name="connsiteX11" fmla="*/ 22946 w 27952"/>
                    <a:gd name="connsiteY11" fmla="*/ 15045 h 34018"/>
                    <a:gd name="connsiteX12" fmla="*/ 24621 w 27952"/>
                    <a:gd name="connsiteY12" fmla="*/ 10200 h 34018"/>
                    <a:gd name="connsiteX13" fmla="*/ 25398 w 27952"/>
                    <a:gd name="connsiteY13" fmla="*/ 8406 h 34018"/>
                    <a:gd name="connsiteX14" fmla="*/ 20614 w 27952"/>
                    <a:gd name="connsiteY14" fmla="*/ 10559 h 34018"/>
                    <a:gd name="connsiteX15" fmla="*/ 20195 w 27952"/>
                    <a:gd name="connsiteY15" fmla="*/ 11935 h 34018"/>
                    <a:gd name="connsiteX16" fmla="*/ 20135 w 27952"/>
                    <a:gd name="connsiteY16" fmla="*/ 13250 h 34018"/>
                    <a:gd name="connsiteX17" fmla="*/ 14812 w 27952"/>
                    <a:gd name="connsiteY17" fmla="*/ 24913 h 34018"/>
                    <a:gd name="connsiteX18" fmla="*/ 13736 w 27952"/>
                    <a:gd name="connsiteY18" fmla="*/ 25272 h 34018"/>
                    <a:gd name="connsiteX19" fmla="*/ 12898 w 27952"/>
                    <a:gd name="connsiteY19" fmla="*/ 24614 h 34018"/>
                    <a:gd name="connsiteX20" fmla="*/ 9250 w 27952"/>
                    <a:gd name="connsiteY20" fmla="*/ 15284 h 34018"/>
                    <a:gd name="connsiteX21" fmla="*/ 9968 w 27952"/>
                    <a:gd name="connsiteY21" fmla="*/ 13908 h 34018"/>
                    <a:gd name="connsiteX22" fmla="*/ 11403 w 27952"/>
                    <a:gd name="connsiteY22" fmla="*/ 14446 h 34018"/>
                    <a:gd name="connsiteX23" fmla="*/ 14334 w 27952"/>
                    <a:gd name="connsiteY23" fmla="*/ 21863 h 34018"/>
                    <a:gd name="connsiteX24" fmla="*/ 17863 w 27952"/>
                    <a:gd name="connsiteY24" fmla="*/ 13131 h 34018"/>
                    <a:gd name="connsiteX25" fmla="*/ 17922 w 27952"/>
                    <a:gd name="connsiteY25" fmla="*/ 11994 h 34018"/>
                    <a:gd name="connsiteX26" fmla="*/ 20195 w 27952"/>
                    <a:gd name="connsiteY26" fmla="*/ 8406 h 34018"/>
                    <a:gd name="connsiteX27" fmla="*/ 26056 w 27952"/>
                    <a:gd name="connsiteY27" fmla="*/ 5535 h 34018"/>
                    <a:gd name="connsiteX28" fmla="*/ 26953 w 27952"/>
                    <a:gd name="connsiteY28" fmla="*/ 5416 h 34018"/>
                    <a:gd name="connsiteX29" fmla="*/ 27671 w 27952"/>
                    <a:gd name="connsiteY29" fmla="*/ 5954 h 34018"/>
                    <a:gd name="connsiteX30" fmla="*/ 26714 w 27952"/>
                    <a:gd name="connsiteY30" fmla="*/ 10918 h 34018"/>
                    <a:gd name="connsiteX31" fmla="*/ 25219 w 27952"/>
                    <a:gd name="connsiteY31" fmla="*/ 15164 h 34018"/>
                    <a:gd name="connsiteX32" fmla="*/ 17982 w 27952"/>
                    <a:gd name="connsiteY32" fmla="*/ 31970 h 34018"/>
                    <a:gd name="connsiteX33" fmla="*/ 15171 w 27952"/>
                    <a:gd name="connsiteY33" fmla="*/ 33645 h 3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952" h="34018">
                      <a:moveTo>
                        <a:pt x="15171" y="33645"/>
                      </a:moveTo>
                      <a:cubicBezTo>
                        <a:pt x="14334" y="33944"/>
                        <a:pt x="13437" y="34063"/>
                        <a:pt x="12600" y="34003"/>
                      </a:cubicBezTo>
                      <a:cubicBezTo>
                        <a:pt x="10805" y="33824"/>
                        <a:pt x="9250" y="32747"/>
                        <a:pt x="8294" y="31073"/>
                      </a:cubicBezTo>
                      <a:cubicBezTo>
                        <a:pt x="6499" y="27843"/>
                        <a:pt x="698" y="17018"/>
                        <a:pt x="40" y="11396"/>
                      </a:cubicBezTo>
                      <a:cubicBezTo>
                        <a:pt x="-498" y="6791"/>
                        <a:pt x="4466" y="2246"/>
                        <a:pt x="9609" y="93"/>
                      </a:cubicBezTo>
                      <a:cubicBezTo>
                        <a:pt x="10207" y="-146"/>
                        <a:pt x="10865" y="93"/>
                        <a:pt x="11104" y="631"/>
                      </a:cubicBezTo>
                      <a:cubicBezTo>
                        <a:pt x="11343" y="1169"/>
                        <a:pt x="11044" y="1767"/>
                        <a:pt x="10447" y="2066"/>
                      </a:cubicBezTo>
                      <a:cubicBezTo>
                        <a:pt x="6140" y="3861"/>
                        <a:pt x="1954" y="7748"/>
                        <a:pt x="2313" y="11097"/>
                      </a:cubicBezTo>
                      <a:cubicBezTo>
                        <a:pt x="2791" y="15284"/>
                        <a:pt x="6798" y="23657"/>
                        <a:pt x="10327" y="30056"/>
                      </a:cubicBezTo>
                      <a:cubicBezTo>
                        <a:pt x="10925" y="31193"/>
                        <a:pt x="11882" y="31850"/>
                        <a:pt x="12958" y="31970"/>
                      </a:cubicBezTo>
                      <a:cubicBezTo>
                        <a:pt x="14095" y="32090"/>
                        <a:pt x="15291" y="31551"/>
                        <a:pt x="16367" y="30535"/>
                      </a:cubicBezTo>
                      <a:cubicBezTo>
                        <a:pt x="18999" y="27963"/>
                        <a:pt x="22587" y="18155"/>
                        <a:pt x="22946" y="15045"/>
                      </a:cubicBezTo>
                      <a:cubicBezTo>
                        <a:pt x="23126" y="13370"/>
                        <a:pt x="23903" y="11695"/>
                        <a:pt x="24621" y="10200"/>
                      </a:cubicBezTo>
                      <a:cubicBezTo>
                        <a:pt x="24920" y="9602"/>
                        <a:pt x="25219" y="8944"/>
                        <a:pt x="25398" y="8406"/>
                      </a:cubicBezTo>
                      <a:cubicBezTo>
                        <a:pt x="23903" y="9243"/>
                        <a:pt x="21810" y="10260"/>
                        <a:pt x="20614" y="10559"/>
                      </a:cubicBezTo>
                      <a:cubicBezTo>
                        <a:pt x="20255" y="10619"/>
                        <a:pt x="20195" y="10679"/>
                        <a:pt x="20195" y="11935"/>
                      </a:cubicBezTo>
                      <a:cubicBezTo>
                        <a:pt x="20195" y="12353"/>
                        <a:pt x="20195" y="12772"/>
                        <a:pt x="20135" y="13250"/>
                      </a:cubicBezTo>
                      <a:cubicBezTo>
                        <a:pt x="19956" y="15284"/>
                        <a:pt x="17025" y="22760"/>
                        <a:pt x="14812" y="24913"/>
                      </a:cubicBezTo>
                      <a:cubicBezTo>
                        <a:pt x="14513" y="25212"/>
                        <a:pt x="14155" y="25331"/>
                        <a:pt x="13736" y="25272"/>
                      </a:cubicBezTo>
                      <a:cubicBezTo>
                        <a:pt x="13377" y="25212"/>
                        <a:pt x="13018" y="24973"/>
                        <a:pt x="12898" y="24614"/>
                      </a:cubicBezTo>
                      <a:lnTo>
                        <a:pt x="9250" y="15284"/>
                      </a:lnTo>
                      <a:cubicBezTo>
                        <a:pt x="9011" y="14746"/>
                        <a:pt x="9370" y="14147"/>
                        <a:pt x="9968" y="13908"/>
                      </a:cubicBezTo>
                      <a:cubicBezTo>
                        <a:pt x="10566" y="13669"/>
                        <a:pt x="11224" y="13908"/>
                        <a:pt x="11403" y="14446"/>
                      </a:cubicBezTo>
                      <a:lnTo>
                        <a:pt x="14334" y="21863"/>
                      </a:lnTo>
                      <a:cubicBezTo>
                        <a:pt x="15949" y="19171"/>
                        <a:pt x="17743" y="14446"/>
                        <a:pt x="17863" y="13131"/>
                      </a:cubicBezTo>
                      <a:cubicBezTo>
                        <a:pt x="17922" y="12772"/>
                        <a:pt x="17922" y="12353"/>
                        <a:pt x="17922" y="11994"/>
                      </a:cubicBezTo>
                      <a:cubicBezTo>
                        <a:pt x="17922" y="10738"/>
                        <a:pt x="17922" y="8884"/>
                        <a:pt x="20195" y="8406"/>
                      </a:cubicBezTo>
                      <a:cubicBezTo>
                        <a:pt x="21332" y="8167"/>
                        <a:pt x="24441" y="6492"/>
                        <a:pt x="26056" y="5535"/>
                      </a:cubicBezTo>
                      <a:cubicBezTo>
                        <a:pt x="26355" y="5356"/>
                        <a:pt x="26654" y="5296"/>
                        <a:pt x="26953" y="5416"/>
                      </a:cubicBezTo>
                      <a:cubicBezTo>
                        <a:pt x="27252" y="5535"/>
                        <a:pt x="27491" y="5655"/>
                        <a:pt x="27671" y="5954"/>
                      </a:cubicBezTo>
                      <a:cubicBezTo>
                        <a:pt x="28389" y="7270"/>
                        <a:pt x="27611" y="8944"/>
                        <a:pt x="26714" y="10918"/>
                      </a:cubicBezTo>
                      <a:cubicBezTo>
                        <a:pt x="26116" y="12234"/>
                        <a:pt x="25398" y="13789"/>
                        <a:pt x="25219" y="15164"/>
                      </a:cubicBezTo>
                      <a:cubicBezTo>
                        <a:pt x="24800" y="18573"/>
                        <a:pt x="21033" y="28980"/>
                        <a:pt x="17982" y="31970"/>
                      </a:cubicBezTo>
                      <a:cubicBezTo>
                        <a:pt x="17145" y="32688"/>
                        <a:pt x="16188" y="33286"/>
                        <a:pt x="15171" y="3364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37" name="Vrije vorm: vorm 9136">
                  <a:extLst>
                    <a:ext uri="{FF2B5EF4-FFF2-40B4-BE49-F238E27FC236}">
                      <a16:creationId xmlns:a16="http://schemas.microsoft.com/office/drawing/2014/main" id="{1AC3DBAB-432C-4D9D-83DA-61498F1052C7}"/>
                    </a:ext>
                  </a:extLst>
                </p:cNvPr>
                <p:cNvSpPr/>
                <p:nvPr/>
              </p:nvSpPr>
              <p:spPr>
                <a:xfrm>
                  <a:off x="5713697" y="1917579"/>
                  <a:ext cx="22866" cy="24501"/>
                </a:xfrm>
                <a:custGeom>
                  <a:avLst/>
                  <a:gdLst>
                    <a:gd name="connsiteX0" fmla="*/ 20698 w 22866"/>
                    <a:gd name="connsiteY0" fmla="*/ 24043 h 24501"/>
                    <a:gd name="connsiteX1" fmla="*/ 20339 w 22866"/>
                    <a:gd name="connsiteY1" fmla="*/ 24162 h 24501"/>
                    <a:gd name="connsiteX2" fmla="*/ 4969 w 22866"/>
                    <a:gd name="connsiteY2" fmla="*/ 19617 h 24501"/>
                    <a:gd name="connsiteX3" fmla="*/ 4730 w 22866"/>
                    <a:gd name="connsiteY3" fmla="*/ 18122 h 24501"/>
                    <a:gd name="connsiteX4" fmla="*/ 6345 w 22866"/>
                    <a:gd name="connsiteY4" fmla="*/ 17823 h 24501"/>
                    <a:gd name="connsiteX5" fmla="*/ 19801 w 22866"/>
                    <a:gd name="connsiteY5" fmla="*/ 22069 h 24501"/>
                    <a:gd name="connsiteX6" fmla="*/ 19921 w 22866"/>
                    <a:gd name="connsiteY6" fmla="*/ 22009 h 24501"/>
                    <a:gd name="connsiteX7" fmla="*/ 19921 w 22866"/>
                    <a:gd name="connsiteY7" fmla="*/ 22009 h 24501"/>
                    <a:gd name="connsiteX8" fmla="*/ 20459 w 22866"/>
                    <a:gd name="connsiteY8" fmla="*/ 21650 h 24501"/>
                    <a:gd name="connsiteX9" fmla="*/ 20040 w 22866"/>
                    <a:gd name="connsiteY9" fmla="*/ 19497 h 24501"/>
                    <a:gd name="connsiteX10" fmla="*/ 16332 w 22866"/>
                    <a:gd name="connsiteY10" fmla="*/ 14593 h 24501"/>
                    <a:gd name="connsiteX11" fmla="*/ 12325 w 22866"/>
                    <a:gd name="connsiteY11" fmla="*/ 9569 h 24501"/>
                    <a:gd name="connsiteX12" fmla="*/ 1022 w 22866"/>
                    <a:gd name="connsiteY12" fmla="*/ 2093 h 24501"/>
                    <a:gd name="connsiteX13" fmla="*/ 5 w 22866"/>
                    <a:gd name="connsiteY13" fmla="*/ 1017 h 24501"/>
                    <a:gd name="connsiteX14" fmla="*/ 1261 w 22866"/>
                    <a:gd name="connsiteY14" fmla="*/ 0 h 24501"/>
                    <a:gd name="connsiteX15" fmla="*/ 14299 w 22866"/>
                    <a:gd name="connsiteY15" fmla="*/ 8373 h 24501"/>
                    <a:gd name="connsiteX16" fmla="*/ 18186 w 22866"/>
                    <a:gd name="connsiteY16" fmla="*/ 13217 h 24501"/>
                    <a:gd name="connsiteX17" fmla="*/ 22133 w 22866"/>
                    <a:gd name="connsiteY17" fmla="*/ 18540 h 24501"/>
                    <a:gd name="connsiteX18" fmla="*/ 22492 w 22866"/>
                    <a:gd name="connsiteY18" fmla="*/ 22607 h 24501"/>
                    <a:gd name="connsiteX19" fmla="*/ 20698 w 22866"/>
                    <a:gd name="connsiteY19" fmla="*/ 24043 h 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866" h="24501">
                      <a:moveTo>
                        <a:pt x="20698" y="24043"/>
                      </a:moveTo>
                      <a:cubicBezTo>
                        <a:pt x="20519" y="24102"/>
                        <a:pt x="20399" y="24162"/>
                        <a:pt x="20339" y="24162"/>
                      </a:cubicBezTo>
                      <a:cubicBezTo>
                        <a:pt x="15196" y="25717"/>
                        <a:pt x="7899" y="21531"/>
                        <a:pt x="4969" y="19617"/>
                      </a:cubicBezTo>
                      <a:cubicBezTo>
                        <a:pt x="4491" y="19318"/>
                        <a:pt x="4371" y="18660"/>
                        <a:pt x="4730" y="18122"/>
                      </a:cubicBezTo>
                      <a:cubicBezTo>
                        <a:pt x="5089" y="17643"/>
                        <a:pt x="5806" y="17524"/>
                        <a:pt x="6345" y="17823"/>
                      </a:cubicBezTo>
                      <a:cubicBezTo>
                        <a:pt x="10591" y="20574"/>
                        <a:pt x="16392" y="23145"/>
                        <a:pt x="19801" y="22069"/>
                      </a:cubicBezTo>
                      <a:cubicBezTo>
                        <a:pt x="19861" y="22069"/>
                        <a:pt x="19921" y="22069"/>
                        <a:pt x="19921" y="22009"/>
                      </a:cubicBezTo>
                      <a:lnTo>
                        <a:pt x="19921" y="22009"/>
                      </a:lnTo>
                      <a:cubicBezTo>
                        <a:pt x="19921" y="22009"/>
                        <a:pt x="20279" y="21889"/>
                        <a:pt x="20459" y="21650"/>
                      </a:cubicBezTo>
                      <a:cubicBezTo>
                        <a:pt x="20579" y="21471"/>
                        <a:pt x="20758" y="20873"/>
                        <a:pt x="20040" y="19497"/>
                      </a:cubicBezTo>
                      <a:cubicBezTo>
                        <a:pt x="19084" y="17703"/>
                        <a:pt x="17828" y="16208"/>
                        <a:pt x="16332" y="14593"/>
                      </a:cubicBezTo>
                      <a:cubicBezTo>
                        <a:pt x="15076" y="13217"/>
                        <a:pt x="13701" y="11603"/>
                        <a:pt x="12325" y="9569"/>
                      </a:cubicBezTo>
                      <a:cubicBezTo>
                        <a:pt x="9514" y="5442"/>
                        <a:pt x="6883" y="2213"/>
                        <a:pt x="1022" y="2093"/>
                      </a:cubicBezTo>
                      <a:cubicBezTo>
                        <a:pt x="423" y="2093"/>
                        <a:pt x="-55" y="1615"/>
                        <a:pt x="5" y="1017"/>
                      </a:cubicBezTo>
                      <a:cubicBezTo>
                        <a:pt x="65" y="419"/>
                        <a:pt x="603" y="0"/>
                        <a:pt x="1261" y="0"/>
                      </a:cubicBezTo>
                      <a:cubicBezTo>
                        <a:pt x="8199" y="179"/>
                        <a:pt x="11368" y="4067"/>
                        <a:pt x="14299" y="8373"/>
                      </a:cubicBezTo>
                      <a:cubicBezTo>
                        <a:pt x="15615" y="10287"/>
                        <a:pt x="16930" y="11782"/>
                        <a:pt x="18186" y="13217"/>
                      </a:cubicBezTo>
                      <a:cubicBezTo>
                        <a:pt x="19682" y="14892"/>
                        <a:pt x="21057" y="16507"/>
                        <a:pt x="22133" y="18540"/>
                      </a:cubicBezTo>
                      <a:cubicBezTo>
                        <a:pt x="22971" y="20155"/>
                        <a:pt x="23091" y="21531"/>
                        <a:pt x="22492" y="22607"/>
                      </a:cubicBezTo>
                      <a:cubicBezTo>
                        <a:pt x="21954" y="23444"/>
                        <a:pt x="21237" y="23863"/>
                        <a:pt x="20698" y="2404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38" name="Vrije vorm: vorm 9137">
                  <a:extLst>
                    <a:ext uri="{FF2B5EF4-FFF2-40B4-BE49-F238E27FC236}">
                      <a16:creationId xmlns:a16="http://schemas.microsoft.com/office/drawing/2014/main" id="{E2FC1EB7-1F87-419D-BBEA-E43786784979}"/>
                    </a:ext>
                  </a:extLst>
                </p:cNvPr>
                <p:cNvSpPr/>
                <p:nvPr/>
              </p:nvSpPr>
              <p:spPr>
                <a:xfrm>
                  <a:off x="5720488" y="1930206"/>
                  <a:ext cx="8197" cy="4208"/>
                </a:xfrm>
                <a:custGeom>
                  <a:avLst/>
                  <a:gdLst>
                    <a:gd name="connsiteX0" fmla="*/ 7448 w 8197"/>
                    <a:gd name="connsiteY0" fmla="*/ 4119 h 4208"/>
                    <a:gd name="connsiteX1" fmla="*/ 6611 w 8197"/>
                    <a:gd name="connsiteY1" fmla="*/ 4119 h 4208"/>
                    <a:gd name="connsiteX2" fmla="*/ 690 w 8197"/>
                    <a:gd name="connsiteY2" fmla="*/ 2086 h 4208"/>
                    <a:gd name="connsiteX3" fmla="*/ 92 w 8197"/>
                    <a:gd name="connsiteY3" fmla="*/ 710 h 4208"/>
                    <a:gd name="connsiteX4" fmla="*/ 1587 w 8197"/>
                    <a:gd name="connsiteY4" fmla="*/ 52 h 4208"/>
                    <a:gd name="connsiteX5" fmla="*/ 7508 w 8197"/>
                    <a:gd name="connsiteY5" fmla="*/ 2086 h 4208"/>
                    <a:gd name="connsiteX6" fmla="*/ 8106 w 8197"/>
                    <a:gd name="connsiteY6" fmla="*/ 3461 h 4208"/>
                    <a:gd name="connsiteX7" fmla="*/ 7448 w 8197"/>
                    <a:gd name="connsiteY7" fmla="*/ 4119 h 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7" h="4208">
                      <a:moveTo>
                        <a:pt x="7448" y="4119"/>
                      </a:moveTo>
                      <a:cubicBezTo>
                        <a:pt x="7209" y="4239"/>
                        <a:pt x="6910" y="4239"/>
                        <a:pt x="6611" y="4119"/>
                      </a:cubicBezTo>
                      <a:lnTo>
                        <a:pt x="690" y="2086"/>
                      </a:lnTo>
                      <a:cubicBezTo>
                        <a:pt x="92" y="1906"/>
                        <a:pt x="-147" y="1248"/>
                        <a:pt x="92" y="710"/>
                      </a:cubicBezTo>
                      <a:cubicBezTo>
                        <a:pt x="331" y="172"/>
                        <a:pt x="989" y="-127"/>
                        <a:pt x="1587" y="52"/>
                      </a:cubicBezTo>
                      <a:lnTo>
                        <a:pt x="7508" y="2086"/>
                      </a:lnTo>
                      <a:cubicBezTo>
                        <a:pt x="8106" y="2265"/>
                        <a:pt x="8345" y="2923"/>
                        <a:pt x="8106" y="3461"/>
                      </a:cubicBezTo>
                      <a:cubicBezTo>
                        <a:pt x="7986" y="3760"/>
                        <a:pt x="7747" y="3999"/>
                        <a:pt x="7448" y="411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39" name="Vrije vorm: vorm 9138">
                  <a:extLst>
                    <a:ext uri="{FF2B5EF4-FFF2-40B4-BE49-F238E27FC236}">
                      <a16:creationId xmlns:a16="http://schemas.microsoft.com/office/drawing/2014/main" id="{B103C3F0-FDA6-4CFE-B578-9E63F3EA03A6}"/>
                    </a:ext>
                  </a:extLst>
                </p:cNvPr>
                <p:cNvSpPr/>
                <p:nvPr/>
              </p:nvSpPr>
              <p:spPr>
                <a:xfrm>
                  <a:off x="5711347" y="1940153"/>
                  <a:ext cx="41947" cy="84747"/>
                </a:xfrm>
                <a:custGeom>
                  <a:avLst/>
                  <a:gdLst>
                    <a:gd name="connsiteX0" fmla="*/ 30644 w 41947"/>
                    <a:gd name="connsiteY0" fmla="*/ 84002 h 84747"/>
                    <a:gd name="connsiteX1" fmla="*/ 24783 w 41947"/>
                    <a:gd name="connsiteY1" fmla="*/ 84660 h 84747"/>
                    <a:gd name="connsiteX2" fmla="*/ 23886 w 41947"/>
                    <a:gd name="connsiteY2" fmla="*/ 83943 h 84747"/>
                    <a:gd name="connsiteX3" fmla="*/ 8754 w 41947"/>
                    <a:gd name="connsiteY3" fmla="*/ 33525 h 84747"/>
                    <a:gd name="connsiteX4" fmla="*/ 142 w 41947"/>
                    <a:gd name="connsiteY4" fmla="*/ 12832 h 84747"/>
                    <a:gd name="connsiteX5" fmla="*/ 620 w 41947"/>
                    <a:gd name="connsiteY5" fmla="*/ 11396 h 84747"/>
                    <a:gd name="connsiteX6" fmla="*/ 2175 w 41947"/>
                    <a:gd name="connsiteY6" fmla="*/ 11755 h 84747"/>
                    <a:gd name="connsiteX7" fmla="*/ 10967 w 41947"/>
                    <a:gd name="connsiteY7" fmla="*/ 32807 h 84747"/>
                    <a:gd name="connsiteX8" fmla="*/ 25979 w 41947"/>
                    <a:gd name="connsiteY8" fmla="*/ 82627 h 84747"/>
                    <a:gd name="connsiteX9" fmla="*/ 32498 w 41947"/>
                    <a:gd name="connsiteY9" fmla="*/ 80115 h 84747"/>
                    <a:gd name="connsiteX10" fmla="*/ 33574 w 41947"/>
                    <a:gd name="connsiteY10" fmla="*/ 79517 h 84747"/>
                    <a:gd name="connsiteX11" fmla="*/ 39675 w 41947"/>
                    <a:gd name="connsiteY11" fmla="*/ 76826 h 84747"/>
                    <a:gd name="connsiteX12" fmla="*/ 32677 w 41947"/>
                    <a:gd name="connsiteY12" fmla="*/ 42915 h 84747"/>
                    <a:gd name="connsiteX13" fmla="*/ 31062 w 41947"/>
                    <a:gd name="connsiteY13" fmla="*/ 37114 h 84747"/>
                    <a:gd name="connsiteX14" fmla="*/ 15512 w 41947"/>
                    <a:gd name="connsiteY14" fmla="*/ 1708 h 84747"/>
                    <a:gd name="connsiteX15" fmla="*/ 15812 w 41947"/>
                    <a:gd name="connsiteY15" fmla="*/ 212 h 84747"/>
                    <a:gd name="connsiteX16" fmla="*/ 17366 w 41947"/>
                    <a:gd name="connsiteY16" fmla="*/ 392 h 84747"/>
                    <a:gd name="connsiteX17" fmla="*/ 33215 w 41947"/>
                    <a:gd name="connsiteY17" fmla="*/ 36396 h 84747"/>
                    <a:gd name="connsiteX18" fmla="*/ 34830 w 41947"/>
                    <a:gd name="connsiteY18" fmla="*/ 42137 h 84747"/>
                    <a:gd name="connsiteX19" fmla="*/ 41947 w 41947"/>
                    <a:gd name="connsiteY19" fmla="*/ 76586 h 84747"/>
                    <a:gd name="connsiteX20" fmla="*/ 41888 w 41947"/>
                    <a:gd name="connsiteY20" fmla="*/ 77065 h 84747"/>
                    <a:gd name="connsiteX21" fmla="*/ 34053 w 41947"/>
                    <a:gd name="connsiteY21" fmla="*/ 81491 h 84747"/>
                    <a:gd name="connsiteX22" fmla="*/ 30644 w 41947"/>
                    <a:gd name="connsiteY22" fmla="*/ 84002 h 8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947" h="84747">
                      <a:moveTo>
                        <a:pt x="30644" y="84002"/>
                      </a:moveTo>
                      <a:cubicBezTo>
                        <a:pt x="27892" y="85019"/>
                        <a:pt x="24962" y="84720"/>
                        <a:pt x="24783" y="84660"/>
                      </a:cubicBezTo>
                      <a:cubicBezTo>
                        <a:pt x="24364" y="84600"/>
                        <a:pt x="24005" y="84361"/>
                        <a:pt x="23886" y="83943"/>
                      </a:cubicBezTo>
                      <a:cubicBezTo>
                        <a:pt x="23766" y="83524"/>
                        <a:pt x="11326" y="40642"/>
                        <a:pt x="8754" y="33525"/>
                      </a:cubicBezTo>
                      <a:cubicBezTo>
                        <a:pt x="6123" y="26288"/>
                        <a:pt x="2773" y="17198"/>
                        <a:pt x="142" y="12832"/>
                      </a:cubicBezTo>
                      <a:cubicBezTo>
                        <a:pt x="-157" y="12353"/>
                        <a:pt x="22" y="11696"/>
                        <a:pt x="620" y="11396"/>
                      </a:cubicBezTo>
                      <a:cubicBezTo>
                        <a:pt x="1159" y="11097"/>
                        <a:pt x="1876" y="11217"/>
                        <a:pt x="2175" y="11755"/>
                      </a:cubicBezTo>
                      <a:cubicBezTo>
                        <a:pt x="4927" y="16301"/>
                        <a:pt x="8276" y="25451"/>
                        <a:pt x="10967" y="32807"/>
                      </a:cubicBezTo>
                      <a:cubicBezTo>
                        <a:pt x="13419" y="39566"/>
                        <a:pt x="24304" y="76885"/>
                        <a:pt x="25979" y="82627"/>
                      </a:cubicBezTo>
                      <a:cubicBezTo>
                        <a:pt x="27534" y="82687"/>
                        <a:pt x="31122" y="82507"/>
                        <a:pt x="32498" y="80115"/>
                      </a:cubicBezTo>
                      <a:cubicBezTo>
                        <a:pt x="32737" y="79756"/>
                        <a:pt x="33156" y="79517"/>
                        <a:pt x="33574" y="79517"/>
                      </a:cubicBezTo>
                      <a:cubicBezTo>
                        <a:pt x="33634" y="79517"/>
                        <a:pt x="38478" y="79517"/>
                        <a:pt x="39675" y="76826"/>
                      </a:cubicBezTo>
                      <a:cubicBezTo>
                        <a:pt x="39256" y="74194"/>
                        <a:pt x="35847" y="53620"/>
                        <a:pt x="32677" y="42915"/>
                      </a:cubicBezTo>
                      <a:cubicBezTo>
                        <a:pt x="32139" y="41061"/>
                        <a:pt x="31601" y="39147"/>
                        <a:pt x="31062" y="37114"/>
                      </a:cubicBezTo>
                      <a:cubicBezTo>
                        <a:pt x="28132" y="26288"/>
                        <a:pt x="24723" y="14028"/>
                        <a:pt x="15512" y="1708"/>
                      </a:cubicBezTo>
                      <a:cubicBezTo>
                        <a:pt x="15154" y="1229"/>
                        <a:pt x="15273" y="571"/>
                        <a:pt x="15812" y="212"/>
                      </a:cubicBezTo>
                      <a:cubicBezTo>
                        <a:pt x="16350" y="-146"/>
                        <a:pt x="17067" y="-27"/>
                        <a:pt x="17366" y="392"/>
                      </a:cubicBezTo>
                      <a:cubicBezTo>
                        <a:pt x="26816" y="12951"/>
                        <a:pt x="30405" y="25989"/>
                        <a:pt x="33215" y="36396"/>
                      </a:cubicBezTo>
                      <a:cubicBezTo>
                        <a:pt x="33754" y="38429"/>
                        <a:pt x="34292" y="40343"/>
                        <a:pt x="34830" y="42137"/>
                      </a:cubicBezTo>
                      <a:cubicBezTo>
                        <a:pt x="38239" y="53680"/>
                        <a:pt x="41888" y="76347"/>
                        <a:pt x="41947" y="76586"/>
                      </a:cubicBezTo>
                      <a:cubicBezTo>
                        <a:pt x="41947" y="76766"/>
                        <a:pt x="41947" y="76945"/>
                        <a:pt x="41888" y="77065"/>
                      </a:cubicBezTo>
                      <a:cubicBezTo>
                        <a:pt x="40572" y="80713"/>
                        <a:pt x="35847" y="81371"/>
                        <a:pt x="34053" y="81491"/>
                      </a:cubicBezTo>
                      <a:cubicBezTo>
                        <a:pt x="33156" y="82806"/>
                        <a:pt x="31900" y="83524"/>
                        <a:pt x="30644" y="8400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40" name="Vrije vorm: vorm 9139">
                  <a:extLst>
                    <a:ext uri="{FF2B5EF4-FFF2-40B4-BE49-F238E27FC236}">
                      <a16:creationId xmlns:a16="http://schemas.microsoft.com/office/drawing/2014/main" id="{74DB5B54-BB28-4E0F-B783-1ECA036A879E}"/>
                    </a:ext>
                  </a:extLst>
                </p:cNvPr>
                <p:cNvSpPr/>
                <p:nvPr/>
              </p:nvSpPr>
              <p:spPr>
                <a:xfrm>
                  <a:off x="5717345" y="1955772"/>
                  <a:ext cx="20490" cy="11207"/>
                </a:xfrm>
                <a:custGeom>
                  <a:avLst/>
                  <a:gdLst>
                    <a:gd name="connsiteX0" fmla="*/ 7002 w 20490"/>
                    <a:gd name="connsiteY0" fmla="*/ 9772 h 11207"/>
                    <a:gd name="connsiteX1" fmla="*/ 1022 w 20490"/>
                    <a:gd name="connsiteY1" fmla="*/ 11208 h 11207"/>
                    <a:gd name="connsiteX2" fmla="*/ 5 w 20490"/>
                    <a:gd name="connsiteY2" fmla="*/ 10131 h 11207"/>
                    <a:gd name="connsiteX3" fmla="*/ 1261 w 20490"/>
                    <a:gd name="connsiteY3" fmla="*/ 9114 h 11207"/>
                    <a:gd name="connsiteX4" fmla="*/ 18306 w 20490"/>
                    <a:gd name="connsiteY4" fmla="*/ 681 h 11207"/>
                    <a:gd name="connsiteX5" fmla="*/ 19801 w 20490"/>
                    <a:gd name="connsiteY5" fmla="*/ 83 h 11207"/>
                    <a:gd name="connsiteX6" fmla="*/ 20399 w 20490"/>
                    <a:gd name="connsiteY6" fmla="*/ 1459 h 11207"/>
                    <a:gd name="connsiteX7" fmla="*/ 7002 w 20490"/>
                    <a:gd name="connsiteY7" fmla="*/ 9772 h 1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90" h="11207">
                      <a:moveTo>
                        <a:pt x="7002" y="9772"/>
                      </a:moveTo>
                      <a:cubicBezTo>
                        <a:pt x="4550" y="10669"/>
                        <a:pt x="2338" y="11208"/>
                        <a:pt x="1022" y="11208"/>
                      </a:cubicBezTo>
                      <a:cubicBezTo>
                        <a:pt x="424" y="11208"/>
                        <a:pt x="-55" y="10729"/>
                        <a:pt x="5" y="10131"/>
                      </a:cubicBezTo>
                      <a:cubicBezTo>
                        <a:pt x="65" y="9533"/>
                        <a:pt x="603" y="9054"/>
                        <a:pt x="1261" y="9114"/>
                      </a:cubicBezTo>
                      <a:cubicBezTo>
                        <a:pt x="4909" y="9174"/>
                        <a:pt x="16931" y="3612"/>
                        <a:pt x="18306" y="681"/>
                      </a:cubicBezTo>
                      <a:cubicBezTo>
                        <a:pt x="18545" y="143"/>
                        <a:pt x="19263" y="-156"/>
                        <a:pt x="19801" y="83"/>
                      </a:cubicBezTo>
                      <a:cubicBezTo>
                        <a:pt x="20399" y="263"/>
                        <a:pt x="20639" y="921"/>
                        <a:pt x="20399" y="1459"/>
                      </a:cubicBezTo>
                      <a:cubicBezTo>
                        <a:pt x="19084" y="4150"/>
                        <a:pt x="12385" y="7798"/>
                        <a:pt x="7002" y="977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41" name="Vrije vorm: vorm 9140">
                  <a:extLst>
                    <a:ext uri="{FF2B5EF4-FFF2-40B4-BE49-F238E27FC236}">
                      <a16:creationId xmlns:a16="http://schemas.microsoft.com/office/drawing/2014/main" id="{398EF4DB-6B89-4635-B52A-79E6BADF5B0E}"/>
                    </a:ext>
                  </a:extLst>
                </p:cNvPr>
                <p:cNvSpPr/>
                <p:nvPr/>
              </p:nvSpPr>
              <p:spPr>
                <a:xfrm>
                  <a:off x="5730217" y="1966562"/>
                  <a:ext cx="15720" cy="55221"/>
                </a:xfrm>
                <a:custGeom>
                  <a:avLst/>
                  <a:gdLst>
                    <a:gd name="connsiteX0" fmla="*/ 14884 w 15720"/>
                    <a:gd name="connsiteY0" fmla="*/ 55141 h 55221"/>
                    <a:gd name="connsiteX1" fmla="*/ 14644 w 15720"/>
                    <a:gd name="connsiteY1" fmla="*/ 55201 h 55221"/>
                    <a:gd name="connsiteX2" fmla="*/ 13388 w 15720"/>
                    <a:gd name="connsiteY2" fmla="*/ 54364 h 55221"/>
                    <a:gd name="connsiteX3" fmla="*/ 51 w 15720"/>
                    <a:gd name="connsiteY3" fmla="*/ 1435 h 55221"/>
                    <a:gd name="connsiteX4" fmla="*/ 829 w 15720"/>
                    <a:gd name="connsiteY4" fmla="*/ 59 h 55221"/>
                    <a:gd name="connsiteX5" fmla="*/ 2264 w 15720"/>
                    <a:gd name="connsiteY5" fmla="*/ 657 h 55221"/>
                    <a:gd name="connsiteX6" fmla="*/ 15721 w 15720"/>
                    <a:gd name="connsiteY6" fmla="*/ 53945 h 55221"/>
                    <a:gd name="connsiteX7" fmla="*/ 14884 w 15720"/>
                    <a:gd name="connsiteY7" fmla="*/ 55141 h 5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20" h="55221">
                      <a:moveTo>
                        <a:pt x="14884" y="55141"/>
                      </a:moveTo>
                      <a:cubicBezTo>
                        <a:pt x="14824" y="55141"/>
                        <a:pt x="14764" y="55201"/>
                        <a:pt x="14644" y="55201"/>
                      </a:cubicBezTo>
                      <a:cubicBezTo>
                        <a:pt x="14046" y="55321"/>
                        <a:pt x="13448" y="54902"/>
                        <a:pt x="13388" y="54364"/>
                      </a:cubicBezTo>
                      <a:cubicBezTo>
                        <a:pt x="13388" y="54184"/>
                        <a:pt x="10637" y="33491"/>
                        <a:pt x="51" y="1435"/>
                      </a:cubicBezTo>
                      <a:cubicBezTo>
                        <a:pt x="-128" y="896"/>
                        <a:pt x="171" y="238"/>
                        <a:pt x="829" y="59"/>
                      </a:cubicBezTo>
                      <a:cubicBezTo>
                        <a:pt x="1427" y="-121"/>
                        <a:pt x="2085" y="119"/>
                        <a:pt x="2264" y="657"/>
                      </a:cubicBezTo>
                      <a:cubicBezTo>
                        <a:pt x="12970" y="32833"/>
                        <a:pt x="15661" y="53706"/>
                        <a:pt x="15721" y="53945"/>
                      </a:cubicBezTo>
                      <a:cubicBezTo>
                        <a:pt x="15721" y="54483"/>
                        <a:pt x="15422" y="54962"/>
                        <a:pt x="14884" y="5514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42" name="Vrije vorm: vorm 9141">
                  <a:extLst>
                    <a:ext uri="{FF2B5EF4-FFF2-40B4-BE49-F238E27FC236}">
                      <a16:creationId xmlns:a16="http://schemas.microsoft.com/office/drawing/2014/main" id="{5CD25618-C732-405F-98B2-2E9B4066E42D}"/>
                    </a:ext>
                  </a:extLst>
                </p:cNvPr>
                <p:cNvSpPr/>
                <p:nvPr/>
              </p:nvSpPr>
              <p:spPr>
                <a:xfrm>
                  <a:off x="5738741" y="2022879"/>
                  <a:ext cx="9968" cy="3035"/>
                </a:xfrm>
                <a:custGeom>
                  <a:avLst/>
                  <a:gdLst>
                    <a:gd name="connsiteX0" fmla="*/ 9231 w 9968"/>
                    <a:gd name="connsiteY0" fmla="*/ 2951 h 3035"/>
                    <a:gd name="connsiteX1" fmla="*/ 8633 w 9968"/>
                    <a:gd name="connsiteY1" fmla="*/ 3011 h 3035"/>
                    <a:gd name="connsiteX2" fmla="*/ 917 w 9968"/>
                    <a:gd name="connsiteY2" fmla="*/ 2114 h 3035"/>
                    <a:gd name="connsiteX3" fmla="*/ 20 w 9968"/>
                    <a:gd name="connsiteY3" fmla="*/ 918 h 3035"/>
                    <a:gd name="connsiteX4" fmla="*/ 1336 w 9968"/>
                    <a:gd name="connsiteY4" fmla="*/ 20 h 3035"/>
                    <a:gd name="connsiteX5" fmla="*/ 9051 w 9968"/>
                    <a:gd name="connsiteY5" fmla="*/ 918 h 3035"/>
                    <a:gd name="connsiteX6" fmla="*/ 9948 w 9968"/>
                    <a:gd name="connsiteY6" fmla="*/ 2114 h 3035"/>
                    <a:gd name="connsiteX7" fmla="*/ 9231 w 9968"/>
                    <a:gd name="connsiteY7" fmla="*/ 2951 h 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8" h="3035">
                      <a:moveTo>
                        <a:pt x="9231" y="2951"/>
                      </a:moveTo>
                      <a:cubicBezTo>
                        <a:pt x="9051" y="3011"/>
                        <a:pt x="8872" y="3071"/>
                        <a:pt x="8633" y="3011"/>
                      </a:cubicBezTo>
                      <a:lnTo>
                        <a:pt x="917" y="2114"/>
                      </a:lnTo>
                      <a:cubicBezTo>
                        <a:pt x="319" y="2054"/>
                        <a:pt x="-99" y="1516"/>
                        <a:pt x="20" y="918"/>
                      </a:cubicBezTo>
                      <a:cubicBezTo>
                        <a:pt x="140" y="319"/>
                        <a:pt x="738" y="-99"/>
                        <a:pt x="1336" y="20"/>
                      </a:cubicBezTo>
                      <a:lnTo>
                        <a:pt x="9051" y="918"/>
                      </a:lnTo>
                      <a:cubicBezTo>
                        <a:pt x="9649" y="977"/>
                        <a:pt x="10068" y="1516"/>
                        <a:pt x="9948" y="2114"/>
                      </a:cubicBezTo>
                      <a:cubicBezTo>
                        <a:pt x="9948" y="2532"/>
                        <a:pt x="9649" y="2831"/>
                        <a:pt x="9231" y="295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43" name="Vrije vorm: vorm 9142">
                  <a:extLst>
                    <a:ext uri="{FF2B5EF4-FFF2-40B4-BE49-F238E27FC236}">
                      <a16:creationId xmlns:a16="http://schemas.microsoft.com/office/drawing/2014/main" id="{9FC65067-EC55-47CC-B98F-DA08034AD0BB}"/>
                    </a:ext>
                  </a:extLst>
                </p:cNvPr>
                <p:cNvSpPr/>
                <p:nvPr/>
              </p:nvSpPr>
              <p:spPr>
                <a:xfrm>
                  <a:off x="5749714" y="2017197"/>
                  <a:ext cx="8910" cy="3308"/>
                </a:xfrm>
                <a:custGeom>
                  <a:avLst/>
                  <a:gdLst>
                    <a:gd name="connsiteX0" fmla="*/ 8126 w 8910"/>
                    <a:gd name="connsiteY0" fmla="*/ 2054 h 3308"/>
                    <a:gd name="connsiteX1" fmla="*/ 7886 w 8910"/>
                    <a:gd name="connsiteY1" fmla="*/ 2114 h 3308"/>
                    <a:gd name="connsiteX2" fmla="*/ 1487 w 8910"/>
                    <a:gd name="connsiteY2" fmla="*/ 3250 h 3308"/>
                    <a:gd name="connsiteX3" fmla="*/ 52 w 8910"/>
                    <a:gd name="connsiteY3" fmla="*/ 2652 h 3308"/>
                    <a:gd name="connsiteX4" fmla="*/ 769 w 8910"/>
                    <a:gd name="connsiteY4" fmla="*/ 1276 h 3308"/>
                    <a:gd name="connsiteX5" fmla="*/ 7647 w 8910"/>
                    <a:gd name="connsiteY5" fmla="*/ 20 h 3308"/>
                    <a:gd name="connsiteX6" fmla="*/ 8903 w 8910"/>
                    <a:gd name="connsiteY6" fmla="*/ 918 h 3308"/>
                    <a:gd name="connsiteX7" fmla="*/ 8126 w 8910"/>
                    <a:gd name="connsiteY7" fmla="*/ 2054 h 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10" h="3308">
                      <a:moveTo>
                        <a:pt x="8126" y="2054"/>
                      </a:moveTo>
                      <a:cubicBezTo>
                        <a:pt x="8066" y="2054"/>
                        <a:pt x="7946" y="2114"/>
                        <a:pt x="7886" y="2114"/>
                      </a:cubicBezTo>
                      <a:cubicBezTo>
                        <a:pt x="5076" y="2532"/>
                        <a:pt x="1906" y="3071"/>
                        <a:pt x="1487" y="3250"/>
                      </a:cubicBezTo>
                      <a:cubicBezTo>
                        <a:pt x="889" y="3430"/>
                        <a:pt x="231" y="3190"/>
                        <a:pt x="52" y="2652"/>
                      </a:cubicBezTo>
                      <a:cubicBezTo>
                        <a:pt x="-128" y="2114"/>
                        <a:pt x="171" y="1516"/>
                        <a:pt x="769" y="1276"/>
                      </a:cubicBezTo>
                      <a:cubicBezTo>
                        <a:pt x="1547" y="977"/>
                        <a:pt x="5853" y="320"/>
                        <a:pt x="7647" y="20"/>
                      </a:cubicBezTo>
                      <a:cubicBezTo>
                        <a:pt x="8245" y="-99"/>
                        <a:pt x="8843" y="320"/>
                        <a:pt x="8903" y="918"/>
                      </a:cubicBezTo>
                      <a:cubicBezTo>
                        <a:pt x="8963" y="1396"/>
                        <a:pt x="8664" y="1874"/>
                        <a:pt x="8126" y="2054"/>
                      </a:cubicBezTo>
                      <a:close/>
                    </a:path>
                  </a:pathLst>
                </a:custGeom>
                <a:grpFill/>
                <a:ln w="6350" cap="flat">
                  <a:solidFill>
                    <a:schemeClr val="bg1">
                      <a:alpha val="40000"/>
                    </a:schemeClr>
                  </a:solidFill>
                  <a:prstDash val="solid"/>
                  <a:miter/>
                </a:ln>
              </p:spPr>
              <p:txBody>
                <a:bodyPr rtlCol="0" anchor="ctr"/>
                <a:lstStyle/>
                <a:p>
                  <a:endParaRPr lang="en-GB"/>
                </a:p>
              </p:txBody>
            </p:sp>
            <p:grpSp>
              <p:nvGrpSpPr>
                <p:cNvPr id="9144" name="Graphic 3">
                  <a:extLst>
                    <a:ext uri="{FF2B5EF4-FFF2-40B4-BE49-F238E27FC236}">
                      <a16:creationId xmlns:a16="http://schemas.microsoft.com/office/drawing/2014/main" id="{2CDBF556-4D65-45AA-9516-B2D8EB6904A9}"/>
                    </a:ext>
                  </a:extLst>
                </p:cNvPr>
                <p:cNvGrpSpPr/>
                <p:nvPr/>
              </p:nvGrpSpPr>
              <p:grpSpPr>
                <a:xfrm>
                  <a:off x="5714294" y="1924074"/>
                  <a:ext cx="7130" cy="6921"/>
                  <a:chOff x="5714294" y="1924074"/>
                  <a:chExt cx="7130" cy="6921"/>
                </a:xfrm>
                <a:grpFill/>
              </p:grpSpPr>
              <p:sp>
                <p:nvSpPr>
                  <p:cNvPr id="9145" name="Vrije vorm: vorm 9144">
                    <a:extLst>
                      <a:ext uri="{FF2B5EF4-FFF2-40B4-BE49-F238E27FC236}">
                        <a16:creationId xmlns:a16="http://schemas.microsoft.com/office/drawing/2014/main" id="{9F03FC0E-62E3-4667-8062-4B7B14A4AB5F}"/>
                      </a:ext>
                    </a:extLst>
                  </p:cNvPr>
                  <p:cNvSpPr/>
                  <p:nvPr/>
                </p:nvSpPr>
                <p:spPr>
                  <a:xfrm>
                    <a:off x="5715377" y="1925175"/>
                    <a:ext cx="4904" cy="4784"/>
                  </a:xfrm>
                  <a:custGeom>
                    <a:avLst/>
                    <a:gdLst>
                      <a:gd name="connsiteX0" fmla="*/ 359 w 4904"/>
                      <a:gd name="connsiteY0" fmla="*/ 4785 h 4784"/>
                      <a:gd name="connsiteX1" fmla="*/ 0 w 4904"/>
                      <a:gd name="connsiteY1" fmla="*/ 1675 h 4784"/>
                      <a:gd name="connsiteX2" fmla="*/ 4605 w 4904"/>
                      <a:gd name="connsiteY2" fmla="*/ 0 h 4784"/>
                      <a:gd name="connsiteX3" fmla="*/ 4904 w 4904"/>
                      <a:gd name="connsiteY3" fmla="*/ 3110 h 4784"/>
                    </a:gdLst>
                    <a:ahLst/>
                    <a:cxnLst>
                      <a:cxn ang="0">
                        <a:pos x="connsiteX0" y="connsiteY0"/>
                      </a:cxn>
                      <a:cxn ang="0">
                        <a:pos x="connsiteX1" y="connsiteY1"/>
                      </a:cxn>
                      <a:cxn ang="0">
                        <a:pos x="connsiteX2" y="connsiteY2"/>
                      </a:cxn>
                      <a:cxn ang="0">
                        <a:pos x="connsiteX3" y="connsiteY3"/>
                      </a:cxn>
                    </a:cxnLst>
                    <a:rect l="l" t="t" r="r" b="b"/>
                    <a:pathLst>
                      <a:path w="4904" h="4784">
                        <a:moveTo>
                          <a:pt x="359" y="4785"/>
                        </a:moveTo>
                        <a:lnTo>
                          <a:pt x="0" y="1675"/>
                        </a:lnTo>
                        <a:lnTo>
                          <a:pt x="4605" y="0"/>
                        </a:lnTo>
                        <a:lnTo>
                          <a:pt x="4904" y="3110"/>
                        </a:lnTo>
                        <a:close/>
                      </a:path>
                    </a:pathLst>
                  </a:custGeom>
                  <a:grpFill/>
                  <a:ln w="6350" cap="flat">
                    <a:solidFill>
                      <a:schemeClr val="bg1">
                        <a:alpha val="40000"/>
                      </a:schemeClr>
                    </a:solidFill>
                    <a:prstDash val="solid"/>
                    <a:miter/>
                  </a:ln>
                </p:spPr>
                <p:txBody>
                  <a:bodyPr rtlCol="0" anchor="ctr"/>
                  <a:lstStyle/>
                  <a:p>
                    <a:endParaRPr lang="en-GB"/>
                  </a:p>
                </p:txBody>
              </p:sp>
              <p:sp>
                <p:nvSpPr>
                  <p:cNvPr id="9146" name="Vrije vorm: vorm 9145">
                    <a:extLst>
                      <a:ext uri="{FF2B5EF4-FFF2-40B4-BE49-F238E27FC236}">
                        <a16:creationId xmlns:a16="http://schemas.microsoft.com/office/drawing/2014/main" id="{FFB2A433-8F24-452E-9D32-7DD8E4CA3A41}"/>
                      </a:ext>
                    </a:extLst>
                  </p:cNvPr>
                  <p:cNvSpPr/>
                  <p:nvPr/>
                </p:nvSpPr>
                <p:spPr>
                  <a:xfrm>
                    <a:off x="5714294" y="1924074"/>
                    <a:ext cx="7130" cy="6921"/>
                  </a:xfrm>
                  <a:custGeom>
                    <a:avLst/>
                    <a:gdLst>
                      <a:gd name="connsiteX0" fmla="*/ 6346 w 7130"/>
                      <a:gd name="connsiteY0" fmla="*/ 5227 h 6921"/>
                      <a:gd name="connsiteX1" fmla="*/ 6107 w 7130"/>
                      <a:gd name="connsiteY1" fmla="*/ 5287 h 6921"/>
                      <a:gd name="connsiteX2" fmla="*/ 4851 w 7130"/>
                      <a:gd name="connsiteY2" fmla="*/ 4390 h 6921"/>
                      <a:gd name="connsiteX3" fmla="*/ 4672 w 7130"/>
                      <a:gd name="connsiteY3" fmla="*/ 2595 h 6921"/>
                      <a:gd name="connsiteX4" fmla="*/ 2339 w 7130"/>
                      <a:gd name="connsiteY4" fmla="*/ 3433 h 6921"/>
                      <a:gd name="connsiteX5" fmla="*/ 2578 w 7130"/>
                      <a:gd name="connsiteY5" fmla="*/ 5705 h 6921"/>
                      <a:gd name="connsiteX6" fmla="*/ 1562 w 7130"/>
                      <a:gd name="connsiteY6" fmla="*/ 6901 h 6921"/>
                      <a:gd name="connsiteX7" fmla="*/ 305 w 7130"/>
                      <a:gd name="connsiteY7" fmla="*/ 6004 h 6921"/>
                      <a:gd name="connsiteX8" fmla="*/ 7 w 7130"/>
                      <a:gd name="connsiteY8" fmla="*/ 2894 h 6921"/>
                      <a:gd name="connsiteX9" fmla="*/ 784 w 7130"/>
                      <a:gd name="connsiteY9" fmla="*/ 1758 h 6921"/>
                      <a:gd name="connsiteX10" fmla="*/ 5329 w 7130"/>
                      <a:gd name="connsiteY10" fmla="*/ 83 h 6921"/>
                      <a:gd name="connsiteX11" fmla="*/ 6286 w 7130"/>
                      <a:gd name="connsiteY11" fmla="*/ 143 h 6921"/>
                      <a:gd name="connsiteX12" fmla="*/ 6825 w 7130"/>
                      <a:gd name="connsiteY12" fmla="*/ 921 h 6921"/>
                      <a:gd name="connsiteX13" fmla="*/ 7124 w 7130"/>
                      <a:gd name="connsiteY13" fmla="*/ 4031 h 6921"/>
                      <a:gd name="connsiteX14" fmla="*/ 6346 w 7130"/>
                      <a:gd name="connsiteY14" fmla="*/ 5227 h 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30" h="6921">
                        <a:moveTo>
                          <a:pt x="6346" y="5227"/>
                        </a:moveTo>
                        <a:cubicBezTo>
                          <a:pt x="6286" y="5227"/>
                          <a:pt x="6167" y="5287"/>
                          <a:pt x="6107" y="5287"/>
                        </a:cubicBezTo>
                        <a:cubicBezTo>
                          <a:pt x="5509" y="5406"/>
                          <a:pt x="4911" y="4988"/>
                          <a:pt x="4851" y="4390"/>
                        </a:cubicBezTo>
                        <a:lnTo>
                          <a:pt x="4672" y="2595"/>
                        </a:lnTo>
                        <a:lnTo>
                          <a:pt x="2339" y="3433"/>
                        </a:lnTo>
                        <a:lnTo>
                          <a:pt x="2578" y="5705"/>
                        </a:lnTo>
                        <a:cubicBezTo>
                          <a:pt x="2638" y="6303"/>
                          <a:pt x="2160" y="6842"/>
                          <a:pt x="1562" y="6901"/>
                        </a:cubicBezTo>
                        <a:cubicBezTo>
                          <a:pt x="963" y="7021"/>
                          <a:pt x="365" y="6602"/>
                          <a:pt x="305" y="6004"/>
                        </a:cubicBezTo>
                        <a:lnTo>
                          <a:pt x="7" y="2894"/>
                        </a:lnTo>
                        <a:cubicBezTo>
                          <a:pt x="-53" y="2416"/>
                          <a:pt x="305" y="1937"/>
                          <a:pt x="784" y="1758"/>
                        </a:cubicBezTo>
                        <a:lnTo>
                          <a:pt x="5329" y="83"/>
                        </a:lnTo>
                        <a:cubicBezTo>
                          <a:pt x="5688" y="-36"/>
                          <a:pt x="6047" y="-36"/>
                          <a:pt x="6286" y="143"/>
                        </a:cubicBezTo>
                        <a:cubicBezTo>
                          <a:pt x="6585" y="323"/>
                          <a:pt x="6765" y="562"/>
                          <a:pt x="6825" y="921"/>
                        </a:cubicBezTo>
                        <a:lnTo>
                          <a:pt x="7124" y="4031"/>
                        </a:lnTo>
                        <a:cubicBezTo>
                          <a:pt x="7183" y="4569"/>
                          <a:pt x="6825" y="5047"/>
                          <a:pt x="6346" y="5227"/>
                        </a:cubicBezTo>
                        <a:close/>
                      </a:path>
                    </a:pathLst>
                  </a:custGeom>
                  <a:grpFill/>
                  <a:ln w="6350" cap="flat">
                    <a:solidFill>
                      <a:schemeClr val="bg1">
                        <a:alpha val="40000"/>
                      </a:schemeClr>
                    </a:solidFill>
                    <a:prstDash val="solid"/>
                    <a:miter/>
                  </a:ln>
                </p:spPr>
                <p:txBody>
                  <a:bodyPr rtlCol="0" anchor="ctr"/>
                  <a:lstStyle/>
                  <a:p>
                    <a:endParaRPr lang="en-GB"/>
                  </a:p>
                </p:txBody>
              </p:sp>
            </p:grpSp>
          </p:grpSp>
          <p:grpSp>
            <p:nvGrpSpPr>
              <p:cNvPr id="9060" name="Graphic 3">
                <a:extLst>
                  <a:ext uri="{FF2B5EF4-FFF2-40B4-BE49-F238E27FC236}">
                    <a16:creationId xmlns:a16="http://schemas.microsoft.com/office/drawing/2014/main" id="{94E0435B-89D1-4974-B6CF-409607C693C0}"/>
                  </a:ext>
                </a:extLst>
              </p:cNvPr>
              <p:cNvGrpSpPr/>
              <p:nvPr/>
            </p:nvGrpSpPr>
            <p:grpSpPr>
              <a:xfrm>
                <a:off x="5368971" y="2201602"/>
                <a:ext cx="74904" cy="123659"/>
                <a:chOff x="5368971" y="2201602"/>
                <a:chExt cx="74904" cy="123659"/>
              </a:xfrm>
              <a:grpFill/>
            </p:grpSpPr>
            <p:sp>
              <p:nvSpPr>
                <p:cNvPr id="9108" name="Vrije vorm: vorm 9107">
                  <a:extLst>
                    <a:ext uri="{FF2B5EF4-FFF2-40B4-BE49-F238E27FC236}">
                      <a16:creationId xmlns:a16="http://schemas.microsoft.com/office/drawing/2014/main" id="{C1A51F76-08E4-4B9D-BEBE-D15E6E642C2B}"/>
                    </a:ext>
                  </a:extLst>
                </p:cNvPr>
                <p:cNvSpPr/>
                <p:nvPr/>
              </p:nvSpPr>
              <p:spPr>
                <a:xfrm>
                  <a:off x="5375530" y="2201602"/>
                  <a:ext cx="19428" cy="19025"/>
                </a:xfrm>
                <a:custGeom>
                  <a:avLst/>
                  <a:gdLst>
                    <a:gd name="connsiteX0" fmla="*/ 15692 w 19428"/>
                    <a:gd name="connsiteY0" fmla="*/ 18183 h 19025"/>
                    <a:gd name="connsiteX1" fmla="*/ 19220 w 19428"/>
                    <a:gd name="connsiteY1" fmla="*/ 15313 h 19025"/>
                    <a:gd name="connsiteX2" fmla="*/ 14196 w 19428"/>
                    <a:gd name="connsiteY2" fmla="*/ 2574 h 19025"/>
                    <a:gd name="connsiteX3" fmla="*/ 6063 w 19428"/>
                    <a:gd name="connsiteY3" fmla="*/ 122 h 19025"/>
                    <a:gd name="connsiteX4" fmla="*/ 1218 w 19428"/>
                    <a:gd name="connsiteY4" fmla="*/ 3531 h 19025"/>
                    <a:gd name="connsiteX5" fmla="*/ 1218 w 19428"/>
                    <a:gd name="connsiteY5" fmla="*/ 3531 h 19025"/>
                    <a:gd name="connsiteX6" fmla="*/ 5644 w 19428"/>
                    <a:gd name="connsiteY6" fmla="*/ 17466 h 19025"/>
                    <a:gd name="connsiteX7" fmla="*/ 15094 w 19428"/>
                    <a:gd name="connsiteY7" fmla="*/ 18423 h 19025"/>
                    <a:gd name="connsiteX8" fmla="*/ 15692 w 19428"/>
                    <a:gd name="connsiteY8" fmla="*/ 18183 h 19025"/>
                    <a:gd name="connsiteX9" fmla="*/ 5465 w 19428"/>
                    <a:gd name="connsiteY9" fmla="*/ 2454 h 19025"/>
                    <a:gd name="connsiteX10" fmla="*/ 6421 w 19428"/>
                    <a:gd name="connsiteY10" fmla="*/ 2215 h 19025"/>
                    <a:gd name="connsiteX11" fmla="*/ 12761 w 19428"/>
                    <a:gd name="connsiteY11" fmla="*/ 4129 h 19025"/>
                    <a:gd name="connsiteX12" fmla="*/ 17247 w 19428"/>
                    <a:gd name="connsiteY12" fmla="*/ 14715 h 19025"/>
                    <a:gd name="connsiteX13" fmla="*/ 14496 w 19428"/>
                    <a:gd name="connsiteY13" fmla="*/ 16449 h 19025"/>
                    <a:gd name="connsiteX14" fmla="*/ 6960 w 19428"/>
                    <a:gd name="connsiteY14" fmla="*/ 15851 h 19025"/>
                    <a:gd name="connsiteX15" fmla="*/ 3132 w 19428"/>
                    <a:gd name="connsiteY15" fmla="*/ 4547 h 19025"/>
                    <a:gd name="connsiteX16" fmla="*/ 3132 w 19428"/>
                    <a:gd name="connsiteY16" fmla="*/ 4547 h 19025"/>
                    <a:gd name="connsiteX17" fmla="*/ 5465 w 19428"/>
                    <a:gd name="connsiteY17" fmla="*/ 2454 h 1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428" h="19025">
                      <a:moveTo>
                        <a:pt x="15692" y="18183"/>
                      </a:moveTo>
                      <a:cubicBezTo>
                        <a:pt x="17007" y="17705"/>
                        <a:pt x="18742" y="16808"/>
                        <a:pt x="19220" y="15313"/>
                      </a:cubicBezTo>
                      <a:cubicBezTo>
                        <a:pt x="20177" y="12203"/>
                        <a:pt x="17725" y="5923"/>
                        <a:pt x="14196" y="2574"/>
                      </a:cubicBezTo>
                      <a:cubicBezTo>
                        <a:pt x="12103" y="600"/>
                        <a:pt x="8874" y="-357"/>
                        <a:pt x="6063" y="122"/>
                      </a:cubicBezTo>
                      <a:cubicBezTo>
                        <a:pt x="3850" y="540"/>
                        <a:pt x="2116" y="1736"/>
                        <a:pt x="1218" y="3531"/>
                      </a:cubicBezTo>
                      <a:lnTo>
                        <a:pt x="1218" y="3531"/>
                      </a:lnTo>
                      <a:cubicBezTo>
                        <a:pt x="-2131" y="10289"/>
                        <a:pt x="2116" y="14715"/>
                        <a:pt x="5644" y="17466"/>
                      </a:cubicBezTo>
                      <a:cubicBezTo>
                        <a:pt x="8096" y="19380"/>
                        <a:pt x="12163" y="19320"/>
                        <a:pt x="15094" y="18423"/>
                      </a:cubicBezTo>
                      <a:cubicBezTo>
                        <a:pt x="15273" y="18363"/>
                        <a:pt x="15512" y="18303"/>
                        <a:pt x="15692" y="18183"/>
                      </a:cubicBezTo>
                      <a:close/>
                      <a:moveTo>
                        <a:pt x="5465" y="2454"/>
                      </a:moveTo>
                      <a:cubicBezTo>
                        <a:pt x="5764" y="2334"/>
                        <a:pt x="6123" y="2275"/>
                        <a:pt x="6421" y="2215"/>
                      </a:cubicBezTo>
                      <a:cubicBezTo>
                        <a:pt x="8634" y="1796"/>
                        <a:pt x="11146" y="2574"/>
                        <a:pt x="12761" y="4129"/>
                      </a:cubicBezTo>
                      <a:cubicBezTo>
                        <a:pt x="16050" y="7298"/>
                        <a:pt x="17845" y="12801"/>
                        <a:pt x="17247" y="14715"/>
                      </a:cubicBezTo>
                      <a:cubicBezTo>
                        <a:pt x="17127" y="15193"/>
                        <a:pt x="16170" y="15911"/>
                        <a:pt x="14496" y="16449"/>
                      </a:cubicBezTo>
                      <a:cubicBezTo>
                        <a:pt x="12163" y="17167"/>
                        <a:pt x="8754" y="17286"/>
                        <a:pt x="6960" y="15851"/>
                      </a:cubicBezTo>
                      <a:cubicBezTo>
                        <a:pt x="3611" y="13219"/>
                        <a:pt x="561" y="9810"/>
                        <a:pt x="3132" y="4547"/>
                      </a:cubicBezTo>
                      <a:lnTo>
                        <a:pt x="3132" y="4547"/>
                      </a:lnTo>
                      <a:cubicBezTo>
                        <a:pt x="3551" y="3531"/>
                        <a:pt x="4388" y="2873"/>
                        <a:pt x="5465" y="2454"/>
                      </a:cubicBezTo>
                      <a:close/>
                    </a:path>
                  </a:pathLst>
                </a:custGeom>
                <a:grpFill/>
                <a:ln w="6350" cap="flat">
                  <a:solidFill>
                    <a:schemeClr val="bg1">
                      <a:alpha val="40000"/>
                    </a:schemeClr>
                  </a:solidFill>
                  <a:prstDash val="solid"/>
                  <a:miter/>
                </a:ln>
              </p:spPr>
              <p:txBody>
                <a:bodyPr rtlCol="0" anchor="ctr"/>
                <a:lstStyle/>
                <a:p>
                  <a:endParaRPr lang="en-GB"/>
                </a:p>
              </p:txBody>
            </p:sp>
            <p:grpSp>
              <p:nvGrpSpPr>
                <p:cNvPr id="9109" name="Graphic 3">
                  <a:extLst>
                    <a:ext uri="{FF2B5EF4-FFF2-40B4-BE49-F238E27FC236}">
                      <a16:creationId xmlns:a16="http://schemas.microsoft.com/office/drawing/2014/main" id="{915C2C3D-6DB9-4F42-AD76-7A75BB54F04D}"/>
                    </a:ext>
                  </a:extLst>
                </p:cNvPr>
                <p:cNvGrpSpPr/>
                <p:nvPr/>
              </p:nvGrpSpPr>
              <p:grpSpPr>
                <a:xfrm>
                  <a:off x="5368971" y="2203039"/>
                  <a:ext cx="10690" cy="12071"/>
                  <a:chOff x="5368971" y="2203039"/>
                  <a:chExt cx="10690" cy="12071"/>
                </a:xfrm>
                <a:grpFill/>
              </p:grpSpPr>
              <p:sp>
                <p:nvSpPr>
                  <p:cNvPr id="9132" name="Vrije vorm: vorm 9131">
                    <a:extLst>
                      <a:ext uri="{FF2B5EF4-FFF2-40B4-BE49-F238E27FC236}">
                        <a16:creationId xmlns:a16="http://schemas.microsoft.com/office/drawing/2014/main" id="{EEE56DEE-8910-4F37-95C8-B61B45AEBEA2}"/>
                      </a:ext>
                    </a:extLst>
                  </p:cNvPr>
                  <p:cNvSpPr/>
                  <p:nvPr/>
                </p:nvSpPr>
                <p:spPr>
                  <a:xfrm>
                    <a:off x="5369928" y="2204157"/>
                    <a:ext cx="9733" cy="9876"/>
                  </a:xfrm>
                  <a:custGeom>
                    <a:avLst/>
                    <a:gdLst>
                      <a:gd name="connsiteX0" fmla="*/ 6880 w 9733"/>
                      <a:gd name="connsiteY0" fmla="*/ 8451 h 9876"/>
                      <a:gd name="connsiteX1" fmla="*/ 2 w 9733"/>
                      <a:gd name="connsiteY1" fmla="*/ 3786 h 9876"/>
                      <a:gd name="connsiteX2" fmla="*/ 7119 w 9733"/>
                      <a:gd name="connsiteY2" fmla="*/ 1693 h 9876"/>
                      <a:gd name="connsiteX3" fmla="*/ 6880 w 9733"/>
                      <a:gd name="connsiteY3" fmla="*/ 8451 h 9876"/>
                    </a:gdLst>
                    <a:ahLst/>
                    <a:cxnLst>
                      <a:cxn ang="0">
                        <a:pos x="connsiteX0" y="connsiteY0"/>
                      </a:cxn>
                      <a:cxn ang="0">
                        <a:pos x="connsiteX1" y="connsiteY1"/>
                      </a:cxn>
                      <a:cxn ang="0">
                        <a:pos x="connsiteX2" y="connsiteY2"/>
                      </a:cxn>
                      <a:cxn ang="0">
                        <a:pos x="connsiteX3" y="connsiteY3"/>
                      </a:cxn>
                    </a:cxnLst>
                    <a:rect l="l" t="t" r="r" b="b"/>
                    <a:pathLst>
                      <a:path w="9733" h="9876">
                        <a:moveTo>
                          <a:pt x="6880" y="8451"/>
                        </a:moveTo>
                        <a:cubicBezTo>
                          <a:pt x="2395" y="12339"/>
                          <a:pt x="122" y="7434"/>
                          <a:pt x="2" y="3786"/>
                        </a:cubicBezTo>
                        <a:cubicBezTo>
                          <a:pt x="-117" y="138"/>
                          <a:pt x="4249" y="-1477"/>
                          <a:pt x="7119" y="1693"/>
                        </a:cubicBezTo>
                        <a:cubicBezTo>
                          <a:pt x="9871" y="4743"/>
                          <a:pt x="11366" y="4623"/>
                          <a:pt x="6880" y="845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33" name="Vrije vorm: vorm 9132">
                    <a:extLst>
                      <a:ext uri="{FF2B5EF4-FFF2-40B4-BE49-F238E27FC236}">
                        <a16:creationId xmlns:a16="http://schemas.microsoft.com/office/drawing/2014/main" id="{84962CDF-73E1-4557-A050-B615A33260C8}"/>
                      </a:ext>
                    </a:extLst>
                  </p:cNvPr>
                  <p:cNvSpPr/>
                  <p:nvPr/>
                </p:nvSpPr>
                <p:spPr>
                  <a:xfrm>
                    <a:off x="5368971" y="2203039"/>
                    <a:ext cx="9199" cy="12071"/>
                  </a:xfrm>
                  <a:custGeom>
                    <a:avLst/>
                    <a:gdLst>
                      <a:gd name="connsiteX0" fmla="*/ 6282 w 9199"/>
                      <a:gd name="connsiteY0" fmla="*/ 11782 h 12071"/>
                      <a:gd name="connsiteX1" fmla="*/ 8555 w 9199"/>
                      <a:gd name="connsiteY1" fmla="*/ 10406 h 12071"/>
                      <a:gd name="connsiteX2" fmla="*/ 8674 w 9199"/>
                      <a:gd name="connsiteY2" fmla="*/ 8911 h 12071"/>
                      <a:gd name="connsiteX3" fmla="*/ 7179 w 9199"/>
                      <a:gd name="connsiteY3" fmla="*/ 8791 h 12071"/>
                      <a:gd name="connsiteX4" fmla="*/ 4189 w 9199"/>
                      <a:gd name="connsiteY4" fmla="*/ 9808 h 12071"/>
                      <a:gd name="connsiteX5" fmla="*/ 2036 w 9199"/>
                      <a:gd name="connsiteY5" fmla="*/ 4844 h 12071"/>
                      <a:gd name="connsiteX6" fmla="*/ 3591 w 9199"/>
                      <a:gd name="connsiteY6" fmla="*/ 2332 h 12071"/>
                      <a:gd name="connsiteX7" fmla="*/ 7359 w 9199"/>
                      <a:gd name="connsiteY7" fmla="*/ 3468 h 12071"/>
                      <a:gd name="connsiteX8" fmla="*/ 8854 w 9199"/>
                      <a:gd name="connsiteY8" fmla="*/ 3528 h 12071"/>
                      <a:gd name="connsiteX9" fmla="*/ 8914 w 9199"/>
                      <a:gd name="connsiteY9" fmla="*/ 2033 h 12071"/>
                      <a:gd name="connsiteX10" fmla="*/ 2813 w 9199"/>
                      <a:gd name="connsiteY10" fmla="*/ 359 h 12071"/>
                      <a:gd name="connsiteX11" fmla="*/ 2 w 9199"/>
                      <a:gd name="connsiteY11" fmla="*/ 4904 h 12071"/>
                      <a:gd name="connsiteX12" fmla="*/ 3411 w 9199"/>
                      <a:gd name="connsiteY12" fmla="*/ 11722 h 12071"/>
                      <a:gd name="connsiteX13" fmla="*/ 6282 w 9199"/>
                      <a:gd name="connsiteY13" fmla="*/ 11782 h 1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99" h="12071">
                        <a:moveTo>
                          <a:pt x="6282" y="11782"/>
                        </a:moveTo>
                        <a:cubicBezTo>
                          <a:pt x="6940" y="11542"/>
                          <a:pt x="7717" y="11124"/>
                          <a:pt x="8555" y="10406"/>
                        </a:cubicBezTo>
                        <a:cubicBezTo>
                          <a:pt x="8973" y="10047"/>
                          <a:pt x="9033" y="9389"/>
                          <a:pt x="8674" y="8911"/>
                        </a:cubicBezTo>
                        <a:cubicBezTo>
                          <a:pt x="8316" y="8492"/>
                          <a:pt x="7658" y="8432"/>
                          <a:pt x="7179" y="8791"/>
                        </a:cubicBezTo>
                        <a:cubicBezTo>
                          <a:pt x="6342" y="9509"/>
                          <a:pt x="5146" y="10286"/>
                          <a:pt x="4189" y="9808"/>
                        </a:cubicBezTo>
                        <a:cubicBezTo>
                          <a:pt x="2873" y="9210"/>
                          <a:pt x="2095" y="6818"/>
                          <a:pt x="2036" y="4844"/>
                        </a:cubicBezTo>
                        <a:cubicBezTo>
                          <a:pt x="1976" y="3648"/>
                          <a:pt x="2574" y="2751"/>
                          <a:pt x="3591" y="2332"/>
                        </a:cubicBezTo>
                        <a:cubicBezTo>
                          <a:pt x="4548" y="1913"/>
                          <a:pt x="6043" y="2033"/>
                          <a:pt x="7359" y="3468"/>
                        </a:cubicBezTo>
                        <a:cubicBezTo>
                          <a:pt x="7717" y="3887"/>
                          <a:pt x="8375" y="3947"/>
                          <a:pt x="8854" y="3528"/>
                        </a:cubicBezTo>
                        <a:cubicBezTo>
                          <a:pt x="9272" y="3110"/>
                          <a:pt x="9332" y="2452"/>
                          <a:pt x="8914" y="2033"/>
                        </a:cubicBezTo>
                        <a:cubicBezTo>
                          <a:pt x="7239" y="179"/>
                          <a:pt x="4847" y="-479"/>
                          <a:pt x="2813" y="359"/>
                        </a:cubicBezTo>
                        <a:cubicBezTo>
                          <a:pt x="1019" y="1076"/>
                          <a:pt x="-57" y="2811"/>
                          <a:pt x="2" y="4904"/>
                        </a:cubicBezTo>
                        <a:cubicBezTo>
                          <a:pt x="62" y="7595"/>
                          <a:pt x="1139" y="10705"/>
                          <a:pt x="3411" y="11722"/>
                        </a:cubicBezTo>
                        <a:cubicBezTo>
                          <a:pt x="4009" y="12081"/>
                          <a:pt x="5026" y="12260"/>
                          <a:pt x="6282" y="11782"/>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110" name="Graphic 3">
                  <a:extLst>
                    <a:ext uri="{FF2B5EF4-FFF2-40B4-BE49-F238E27FC236}">
                      <a16:creationId xmlns:a16="http://schemas.microsoft.com/office/drawing/2014/main" id="{614A2DF5-9387-455B-BEE0-062CB0332427}"/>
                    </a:ext>
                  </a:extLst>
                </p:cNvPr>
                <p:cNvGrpSpPr/>
                <p:nvPr/>
              </p:nvGrpSpPr>
              <p:grpSpPr>
                <a:xfrm>
                  <a:off x="5387269" y="2218822"/>
                  <a:ext cx="4225" cy="7482"/>
                  <a:chOff x="5387269" y="2218822"/>
                  <a:chExt cx="4225" cy="7482"/>
                </a:xfrm>
                <a:grpFill/>
              </p:grpSpPr>
              <p:sp>
                <p:nvSpPr>
                  <p:cNvPr id="9130" name="Vrije vorm: vorm 9129">
                    <a:extLst>
                      <a:ext uri="{FF2B5EF4-FFF2-40B4-BE49-F238E27FC236}">
                        <a16:creationId xmlns:a16="http://schemas.microsoft.com/office/drawing/2014/main" id="{264AF0F3-1B16-4461-B6DE-3F994BDFEC40}"/>
                      </a:ext>
                    </a:extLst>
                  </p:cNvPr>
                  <p:cNvSpPr/>
                  <p:nvPr/>
                </p:nvSpPr>
                <p:spPr>
                  <a:xfrm>
                    <a:off x="5388291" y="2219845"/>
                    <a:ext cx="2093" cy="5442"/>
                  </a:xfrm>
                  <a:custGeom>
                    <a:avLst/>
                    <a:gdLst>
                      <a:gd name="connsiteX0" fmla="*/ 0 w 2093"/>
                      <a:gd name="connsiteY0" fmla="*/ 0 h 5442"/>
                      <a:gd name="connsiteX1" fmla="*/ 2093 w 2093"/>
                      <a:gd name="connsiteY1" fmla="*/ 5442 h 5442"/>
                    </a:gdLst>
                    <a:ahLst/>
                    <a:cxnLst>
                      <a:cxn ang="0">
                        <a:pos x="connsiteX0" y="connsiteY0"/>
                      </a:cxn>
                      <a:cxn ang="0">
                        <a:pos x="connsiteX1" y="connsiteY1"/>
                      </a:cxn>
                    </a:cxnLst>
                    <a:rect l="l" t="t" r="r" b="b"/>
                    <a:pathLst>
                      <a:path w="2093" h="5442">
                        <a:moveTo>
                          <a:pt x="0" y="0"/>
                        </a:moveTo>
                        <a:cubicBezTo>
                          <a:pt x="180" y="1196"/>
                          <a:pt x="2093" y="5442"/>
                          <a:pt x="2093" y="5442"/>
                        </a:cubicBezTo>
                      </a:path>
                    </a:pathLst>
                  </a:custGeom>
                  <a:grpFill/>
                  <a:ln w="6350" cap="flat">
                    <a:solidFill>
                      <a:schemeClr val="bg1">
                        <a:alpha val="40000"/>
                      </a:schemeClr>
                    </a:solidFill>
                    <a:prstDash val="solid"/>
                    <a:miter/>
                  </a:ln>
                </p:spPr>
                <p:txBody>
                  <a:bodyPr rtlCol="0" anchor="ctr"/>
                  <a:lstStyle/>
                  <a:p>
                    <a:endParaRPr lang="en-GB"/>
                  </a:p>
                </p:txBody>
              </p:sp>
              <p:sp>
                <p:nvSpPr>
                  <p:cNvPr id="9131" name="Vrije vorm: vorm 9130">
                    <a:extLst>
                      <a:ext uri="{FF2B5EF4-FFF2-40B4-BE49-F238E27FC236}">
                        <a16:creationId xmlns:a16="http://schemas.microsoft.com/office/drawing/2014/main" id="{41459B63-47CD-4F90-B399-C811C48F4854}"/>
                      </a:ext>
                    </a:extLst>
                  </p:cNvPr>
                  <p:cNvSpPr/>
                  <p:nvPr/>
                </p:nvSpPr>
                <p:spPr>
                  <a:xfrm>
                    <a:off x="5387269" y="2218822"/>
                    <a:ext cx="4225" cy="7482"/>
                  </a:xfrm>
                  <a:custGeom>
                    <a:avLst/>
                    <a:gdLst>
                      <a:gd name="connsiteX0" fmla="*/ 3534 w 4225"/>
                      <a:gd name="connsiteY0" fmla="*/ 7423 h 7482"/>
                      <a:gd name="connsiteX1" fmla="*/ 3594 w 4225"/>
                      <a:gd name="connsiteY1" fmla="*/ 7423 h 7482"/>
                      <a:gd name="connsiteX2" fmla="*/ 4132 w 4225"/>
                      <a:gd name="connsiteY2" fmla="*/ 6047 h 7482"/>
                      <a:gd name="connsiteX3" fmla="*/ 2099 w 4225"/>
                      <a:gd name="connsiteY3" fmla="*/ 904 h 7482"/>
                      <a:gd name="connsiteX4" fmla="*/ 903 w 4225"/>
                      <a:gd name="connsiteY4" fmla="*/ 6 h 7482"/>
                      <a:gd name="connsiteX5" fmla="*/ 6 w 4225"/>
                      <a:gd name="connsiteY5" fmla="*/ 1203 h 7482"/>
                      <a:gd name="connsiteX6" fmla="*/ 2219 w 4225"/>
                      <a:gd name="connsiteY6" fmla="*/ 6884 h 7482"/>
                      <a:gd name="connsiteX7" fmla="*/ 3534 w 4225"/>
                      <a:gd name="connsiteY7" fmla="*/ 7423 h 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5" h="7482">
                        <a:moveTo>
                          <a:pt x="3534" y="7423"/>
                        </a:moveTo>
                        <a:cubicBezTo>
                          <a:pt x="3534" y="7423"/>
                          <a:pt x="3594" y="7423"/>
                          <a:pt x="3594" y="7423"/>
                        </a:cubicBezTo>
                        <a:cubicBezTo>
                          <a:pt x="4132" y="7183"/>
                          <a:pt x="4372" y="6585"/>
                          <a:pt x="4132" y="6047"/>
                        </a:cubicBezTo>
                        <a:cubicBezTo>
                          <a:pt x="3355" y="4313"/>
                          <a:pt x="2219" y="1621"/>
                          <a:pt x="2099" y="904"/>
                        </a:cubicBezTo>
                        <a:cubicBezTo>
                          <a:pt x="2039" y="305"/>
                          <a:pt x="1501" y="-53"/>
                          <a:pt x="903" y="6"/>
                        </a:cubicBezTo>
                        <a:cubicBezTo>
                          <a:pt x="365" y="66"/>
                          <a:pt x="-54" y="605"/>
                          <a:pt x="6" y="1203"/>
                        </a:cubicBezTo>
                        <a:cubicBezTo>
                          <a:pt x="185" y="2459"/>
                          <a:pt x="1860" y="6167"/>
                          <a:pt x="2219" y="6884"/>
                        </a:cubicBezTo>
                        <a:cubicBezTo>
                          <a:pt x="2398" y="7363"/>
                          <a:pt x="2996" y="7602"/>
                          <a:pt x="3534" y="7423"/>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111" name="Graphic 3">
                  <a:extLst>
                    <a:ext uri="{FF2B5EF4-FFF2-40B4-BE49-F238E27FC236}">
                      <a16:creationId xmlns:a16="http://schemas.microsoft.com/office/drawing/2014/main" id="{920E869C-8290-4912-A743-8B1143EA4E95}"/>
                    </a:ext>
                  </a:extLst>
                </p:cNvPr>
                <p:cNvGrpSpPr/>
                <p:nvPr/>
              </p:nvGrpSpPr>
              <p:grpSpPr>
                <a:xfrm>
                  <a:off x="5382419" y="2218402"/>
                  <a:ext cx="3984" cy="8455"/>
                  <a:chOff x="5382419" y="2218402"/>
                  <a:chExt cx="3984" cy="8455"/>
                </a:xfrm>
                <a:grpFill/>
              </p:grpSpPr>
              <p:sp>
                <p:nvSpPr>
                  <p:cNvPr id="9128" name="Vrije vorm: vorm 9127">
                    <a:extLst>
                      <a:ext uri="{FF2B5EF4-FFF2-40B4-BE49-F238E27FC236}">
                        <a16:creationId xmlns:a16="http://schemas.microsoft.com/office/drawing/2014/main" id="{D6CF4BB6-6EC6-4E89-BEDC-879C62CB0E61}"/>
                      </a:ext>
                    </a:extLst>
                  </p:cNvPr>
                  <p:cNvSpPr/>
                  <p:nvPr/>
                </p:nvSpPr>
                <p:spPr>
                  <a:xfrm>
                    <a:off x="5383447" y="2219486"/>
                    <a:ext cx="1913" cy="6339"/>
                  </a:xfrm>
                  <a:custGeom>
                    <a:avLst/>
                    <a:gdLst>
                      <a:gd name="connsiteX0" fmla="*/ 0 w 1913"/>
                      <a:gd name="connsiteY0" fmla="*/ 0 h 6339"/>
                      <a:gd name="connsiteX1" fmla="*/ 1914 w 1913"/>
                      <a:gd name="connsiteY1" fmla="*/ 6340 h 6339"/>
                    </a:gdLst>
                    <a:ahLst/>
                    <a:cxnLst>
                      <a:cxn ang="0">
                        <a:pos x="connsiteX0" y="connsiteY0"/>
                      </a:cxn>
                      <a:cxn ang="0">
                        <a:pos x="connsiteX1" y="connsiteY1"/>
                      </a:cxn>
                    </a:cxnLst>
                    <a:rect l="l" t="t" r="r" b="b"/>
                    <a:pathLst>
                      <a:path w="1913" h="6339">
                        <a:moveTo>
                          <a:pt x="0" y="0"/>
                        </a:moveTo>
                        <a:cubicBezTo>
                          <a:pt x="1196" y="2572"/>
                          <a:pt x="1914" y="6340"/>
                          <a:pt x="1914" y="6340"/>
                        </a:cubicBezTo>
                      </a:path>
                    </a:pathLst>
                  </a:custGeom>
                  <a:grpFill/>
                  <a:ln w="6350" cap="flat">
                    <a:solidFill>
                      <a:schemeClr val="bg1">
                        <a:alpha val="40000"/>
                      </a:schemeClr>
                    </a:solidFill>
                    <a:prstDash val="solid"/>
                    <a:miter/>
                  </a:ln>
                </p:spPr>
                <p:txBody>
                  <a:bodyPr rtlCol="0" anchor="ctr"/>
                  <a:lstStyle/>
                  <a:p>
                    <a:endParaRPr lang="en-GB"/>
                  </a:p>
                </p:txBody>
              </p:sp>
              <p:sp>
                <p:nvSpPr>
                  <p:cNvPr id="9129" name="Vrije vorm: vorm 9128">
                    <a:extLst>
                      <a:ext uri="{FF2B5EF4-FFF2-40B4-BE49-F238E27FC236}">
                        <a16:creationId xmlns:a16="http://schemas.microsoft.com/office/drawing/2014/main" id="{7D1EAF72-F69C-4DE4-8289-0C62D70A6F54}"/>
                      </a:ext>
                    </a:extLst>
                  </p:cNvPr>
                  <p:cNvSpPr/>
                  <p:nvPr/>
                </p:nvSpPr>
                <p:spPr>
                  <a:xfrm>
                    <a:off x="5382419" y="2218402"/>
                    <a:ext cx="3984" cy="8455"/>
                  </a:xfrm>
                  <a:custGeom>
                    <a:avLst/>
                    <a:gdLst>
                      <a:gd name="connsiteX0" fmla="*/ 3300 w 3984"/>
                      <a:gd name="connsiteY0" fmla="*/ 8440 h 8455"/>
                      <a:gd name="connsiteX1" fmla="*/ 3958 w 3984"/>
                      <a:gd name="connsiteY1" fmla="*/ 7244 h 8455"/>
                      <a:gd name="connsiteX2" fmla="*/ 1984 w 3984"/>
                      <a:gd name="connsiteY2" fmla="*/ 606 h 8455"/>
                      <a:gd name="connsiteX3" fmla="*/ 609 w 3984"/>
                      <a:gd name="connsiteY3" fmla="*/ 67 h 8455"/>
                      <a:gd name="connsiteX4" fmla="*/ 130 w 3984"/>
                      <a:gd name="connsiteY4" fmla="*/ 1443 h 8455"/>
                      <a:gd name="connsiteX5" fmla="*/ 1925 w 3984"/>
                      <a:gd name="connsiteY5" fmla="*/ 7543 h 8455"/>
                      <a:gd name="connsiteX6" fmla="*/ 3121 w 3984"/>
                      <a:gd name="connsiteY6" fmla="*/ 8380 h 8455"/>
                      <a:gd name="connsiteX7" fmla="*/ 3300 w 3984"/>
                      <a:gd name="connsiteY7" fmla="*/ 8440 h 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4" h="8455">
                        <a:moveTo>
                          <a:pt x="3300" y="8440"/>
                        </a:moveTo>
                        <a:cubicBezTo>
                          <a:pt x="3779" y="8261"/>
                          <a:pt x="4078" y="7782"/>
                          <a:pt x="3958" y="7244"/>
                        </a:cubicBezTo>
                        <a:cubicBezTo>
                          <a:pt x="3898" y="7065"/>
                          <a:pt x="3180" y="3237"/>
                          <a:pt x="1984" y="606"/>
                        </a:cubicBezTo>
                        <a:cubicBezTo>
                          <a:pt x="1745" y="67"/>
                          <a:pt x="1087" y="-112"/>
                          <a:pt x="609" y="67"/>
                        </a:cubicBezTo>
                        <a:cubicBezTo>
                          <a:pt x="71" y="307"/>
                          <a:pt x="-169" y="905"/>
                          <a:pt x="130" y="1443"/>
                        </a:cubicBezTo>
                        <a:cubicBezTo>
                          <a:pt x="1207" y="3835"/>
                          <a:pt x="1925" y="7543"/>
                          <a:pt x="1925" y="7543"/>
                        </a:cubicBezTo>
                        <a:cubicBezTo>
                          <a:pt x="2044" y="8141"/>
                          <a:pt x="2582" y="8500"/>
                          <a:pt x="3121" y="8380"/>
                        </a:cubicBezTo>
                        <a:cubicBezTo>
                          <a:pt x="3180" y="8500"/>
                          <a:pt x="3240" y="8440"/>
                          <a:pt x="3300" y="8440"/>
                        </a:cubicBezTo>
                        <a:close/>
                      </a:path>
                    </a:pathLst>
                  </a:custGeom>
                  <a:grpFill/>
                  <a:ln w="6350" cap="flat">
                    <a:solidFill>
                      <a:schemeClr val="bg1">
                        <a:alpha val="40000"/>
                      </a:schemeClr>
                    </a:solidFill>
                    <a:prstDash val="solid"/>
                    <a:miter/>
                  </a:ln>
                </p:spPr>
                <p:txBody>
                  <a:bodyPr rtlCol="0" anchor="ctr"/>
                  <a:lstStyle/>
                  <a:p>
                    <a:endParaRPr lang="en-GB"/>
                  </a:p>
                </p:txBody>
              </p:sp>
            </p:grpSp>
            <p:sp>
              <p:nvSpPr>
                <p:cNvPr id="9112" name="Vrije vorm: vorm 9111">
                  <a:extLst>
                    <a:ext uri="{FF2B5EF4-FFF2-40B4-BE49-F238E27FC236}">
                      <a16:creationId xmlns:a16="http://schemas.microsoft.com/office/drawing/2014/main" id="{4EBEB396-5E4F-438D-8CF2-8D601173F97E}"/>
                    </a:ext>
                  </a:extLst>
                </p:cNvPr>
                <p:cNvSpPr/>
                <p:nvPr/>
              </p:nvSpPr>
              <p:spPr>
                <a:xfrm>
                  <a:off x="5383874" y="2223819"/>
                  <a:ext cx="21611" cy="23961"/>
                </a:xfrm>
                <a:custGeom>
                  <a:avLst/>
                  <a:gdLst>
                    <a:gd name="connsiteX0" fmla="*/ 20924 w 21611"/>
                    <a:gd name="connsiteY0" fmla="*/ 19948 h 23961"/>
                    <a:gd name="connsiteX1" fmla="*/ 21163 w 21611"/>
                    <a:gd name="connsiteY1" fmla="*/ 19829 h 23961"/>
                    <a:gd name="connsiteX2" fmla="*/ 21403 w 21611"/>
                    <a:gd name="connsiteY2" fmla="*/ 18393 h 23961"/>
                    <a:gd name="connsiteX3" fmla="*/ 8006 w 21611"/>
                    <a:gd name="connsiteY3" fmla="*/ 1468 h 23961"/>
                    <a:gd name="connsiteX4" fmla="*/ 2563 w 21611"/>
                    <a:gd name="connsiteY4" fmla="*/ 332 h 23961"/>
                    <a:gd name="connsiteX5" fmla="*/ 112 w 21611"/>
                    <a:gd name="connsiteY5" fmla="*/ 4219 h 23961"/>
                    <a:gd name="connsiteX6" fmla="*/ 530 w 21611"/>
                    <a:gd name="connsiteY6" fmla="*/ 16838 h 23961"/>
                    <a:gd name="connsiteX7" fmla="*/ 2384 w 21611"/>
                    <a:gd name="connsiteY7" fmla="*/ 23955 h 23961"/>
                    <a:gd name="connsiteX8" fmla="*/ 3580 w 21611"/>
                    <a:gd name="connsiteY8" fmla="*/ 23118 h 23961"/>
                    <a:gd name="connsiteX9" fmla="*/ 3401 w 21611"/>
                    <a:gd name="connsiteY9" fmla="*/ 22341 h 23961"/>
                    <a:gd name="connsiteX10" fmla="*/ 2205 w 21611"/>
                    <a:gd name="connsiteY10" fmla="*/ 4398 h 23961"/>
                    <a:gd name="connsiteX11" fmla="*/ 3401 w 21611"/>
                    <a:gd name="connsiteY11" fmla="*/ 2305 h 23961"/>
                    <a:gd name="connsiteX12" fmla="*/ 3461 w 21611"/>
                    <a:gd name="connsiteY12" fmla="*/ 2305 h 23961"/>
                    <a:gd name="connsiteX13" fmla="*/ 6630 w 21611"/>
                    <a:gd name="connsiteY13" fmla="*/ 3143 h 23961"/>
                    <a:gd name="connsiteX14" fmla="*/ 19728 w 21611"/>
                    <a:gd name="connsiteY14" fmla="*/ 19649 h 23961"/>
                    <a:gd name="connsiteX15" fmla="*/ 20924 w 21611"/>
                    <a:gd name="connsiteY15" fmla="*/ 19948 h 2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611" h="23961">
                      <a:moveTo>
                        <a:pt x="20924" y="19948"/>
                      </a:moveTo>
                      <a:cubicBezTo>
                        <a:pt x="20984" y="19888"/>
                        <a:pt x="21104" y="19888"/>
                        <a:pt x="21163" y="19829"/>
                      </a:cubicBezTo>
                      <a:cubicBezTo>
                        <a:pt x="21642" y="19470"/>
                        <a:pt x="21762" y="18872"/>
                        <a:pt x="21403" y="18393"/>
                      </a:cubicBezTo>
                      <a:cubicBezTo>
                        <a:pt x="21044" y="17855"/>
                        <a:pt x="12192" y="5236"/>
                        <a:pt x="8006" y="1468"/>
                      </a:cubicBezTo>
                      <a:cubicBezTo>
                        <a:pt x="6451" y="92"/>
                        <a:pt x="4238" y="-386"/>
                        <a:pt x="2563" y="332"/>
                      </a:cubicBezTo>
                      <a:cubicBezTo>
                        <a:pt x="1726" y="690"/>
                        <a:pt x="291" y="1647"/>
                        <a:pt x="112" y="4219"/>
                      </a:cubicBezTo>
                      <a:cubicBezTo>
                        <a:pt x="-188" y="8764"/>
                        <a:pt x="171" y="13549"/>
                        <a:pt x="530" y="16838"/>
                      </a:cubicBezTo>
                      <a:cubicBezTo>
                        <a:pt x="1248" y="23836"/>
                        <a:pt x="1607" y="23836"/>
                        <a:pt x="2384" y="23955"/>
                      </a:cubicBezTo>
                      <a:cubicBezTo>
                        <a:pt x="2922" y="24015"/>
                        <a:pt x="3461" y="23656"/>
                        <a:pt x="3580" y="23118"/>
                      </a:cubicBezTo>
                      <a:cubicBezTo>
                        <a:pt x="3640" y="22819"/>
                        <a:pt x="3580" y="22580"/>
                        <a:pt x="3401" y="22341"/>
                      </a:cubicBezTo>
                      <a:cubicBezTo>
                        <a:pt x="2982" y="20726"/>
                        <a:pt x="1726" y="11874"/>
                        <a:pt x="2205" y="4398"/>
                      </a:cubicBezTo>
                      <a:cubicBezTo>
                        <a:pt x="2264" y="3322"/>
                        <a:pt x="2683" y="2604"/>
                        <a:pt x="3401" y="2305"/>
                      </a:cubicBezTo>
                      <a:cubicBezTo>
                        <a:pt x="3401" y="2305"/>
                        <a:pt x="3461" y="2305"/>
                        <a:pt x="3461" y="2305"/>
                      </a:cubicBezTo>
                      <a:cubicBezTo>
                        <a:pt x="4417" y="1946"/>
                        <a:pt x="5733" y="2305"/>
                        <a:pt x="6630" y="3143"/>
                      </a:cubicBezTo>
                      <a:cubicBezTo>
                        <a:pt x="10638" y="6671"/>
                        <a:pt x="19609" y="19530"/>
                        <a:pt x="19728" y="19649"/>
                      </a:cubicBezTo>
                      <a:cubicBezTo>
                        <a:pt x="20027" y="19948"/>
                        <a:pt x="20506" y="20128"/>
                        <a:pt x="20924" y="19948"/>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13" name="Vrije vorm: vorm 9112">
                  <a:extLst>
                    <a:ext uri="{FF2B5EF4-FFF2-40B4-BE49-F238E27FC236}">
                      <a16:creationId xmlns:a16="http://schemas.microsoft.com/office/drawing/2014/main" id="{EC525BE0-86C6-4F7B-A5F2-D125393AA284}"/>
                    </a:ext>
                  </a:extLst>
                </p:cNvPr>
                <p:cNvSpPr/>
                <p:nvPr/>
              </p:nvSpPr>
              <p:spPr>
                <a:xfrm>
                  <a:off x="5390461" y="2225064"/>
                  <a:ext cx="14406" cy="14982"/>
                </a:xfrm>
                <a:custGeom>
                  <a:avLst/>
                  <a:gdLst>
                    <a:gd name="connsiteX0" fmla="*/ 10390 w 14406"/>
                    <a:gd name="connsiteY0" fmla="*/ 14816 h 14982"/>
                    <a:gd name="connsiteX1" fmla="*/ 14397 w 14406"/>
                    <a:gd name="connsiteY1" fmla="*/ 8656 h 14982"/>
                    <a:gd name="connsiteX2" fmla="*/ 6443 w 14406"/>
                    <a:gd name="connsiteY2" fmla="*/ 2496 h 14982"/>
                    <a:gd name="connsiteX3" fmla="*/ 1598 w 14406"/>
                    <a:gd name="connsiteY3" fmla="*/ 163 h 14982"/>
                    <a:gd name="connsiteX4" fmla="*/ 163 w 14406"/>
                    <a:gd name="connsiteY4" fmla="*/ 462 h 14982"/>
                    <a:gd name="connsiteX5" fmla="*/ 462 w 14406"/>
                    <a:gd name="connsiteY5" fmla="*/ 1897 h 14982"/>
                    <a:gd name="connsiteX6" fmla="*/ 5725 w 14406"/>
                    <a:gd name="connsiteY6" fmla="*/ 4409 h 14982"/>
                    <a:gd name="connsiteX7" fmla="*/ 12364 w 14406"/>
                    <a:gd name="connsiteY7" fmla="*/ 8775 h 14982"/>
                    <a:gd name="connsiteX8" fmla="*/ 9553 w 14406"/>
                    <a:gd name="connsiteY8" fmla="*/ 12902 h 14982"/>
                    <a:gd name="connsiteX9" fmla="*/ 8835 w 14406"/>
                    <a:gd name="connsiteY9" fmla="*/ 14218 h 14982"/>
                    <a:gd name="connsiteX10" fmla="*/ 10151 w 14406"/>
                    <a:gd name="connsiteY10" fmla="*/ 14935 h 14982"/>
                    <a:gd name="connsiteX11" fmla="*/ 10390 w 14406"/>
                    <a:gd name="connsiteY11" fmla="*/ 14816 h 1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06" h="14982">
                      <a:moveTo>
                        <a:pt x="10390" y="14816"/>
                      </a:moveTo>
                      <a:cubicBezTo>
                        <a:pt x="12005" y="14218"/>
                        <a:pt x="14576" y="12364"/>
                        <a:pt x="14397" y="8656"/>
                      </a:cubicBezTo>
                      <a:cubicBezTo>
                        <a:pt x="14277" y="5665"/>
                        <a:pt x="10270" y="4051"/>
                        <a:pt x="6443" y="2496"/>
                      </a:cubicBezTo>
                      <a:cubicBezTo>
                        <a:pt x="4649" y="1778"/>
                        <a:pt x="2795" y="1000"/>
                        <a:pt x="1598" y="163"/>
                      </a:cubicBezTo>
                      <a:cubicBezTo>
                        <a:pt x="1120" y="-136"/>
                        <a:pt x="462" y="-16"/>
                        <a:pt x="163" y="462"/>
                      </a:cubicBezTo>
                      <a:cubicBezTo>
                        <a:pt x="-136" y="941"/>
                        <a:pt x="-17" y="1598"/>
                        <a:pt x="462" y="1897"/>
                      </a:cubicBezTo>
                      <a:cubicBezTo>
                        <a:pt x="1837" y="2854"/>
                        <a:pt x="3811" y="3632"/>
                        <a:pt x="5725" y="4409"/>
                      </a:cubicBezTo>
                      <a:cubicBezTo>
                        <a:pt x="8656" y="5606"/>
                        <a:pt x="12304" y="7101"/>
                        <a:pt x="12364" y="8775"/>
                      </a:cubicBezTo>
                      <a:cubicBezTo>
                        <a:pt x="12543" y="12005"/>
                        <a:pt x="9672" y="12902"/>
                        <a:pt x="9553" y="12902"/>
                      </a:cubicBezTo>
                      <a:cubicBezTo>
                        <a:pt x="9014" y="13081"/>
                        <a:pt x="8715" y="13620"/>
                        <a:pt x="8835" y="14218"/>
                      </a:cubicBezTo>
                      <a:cubicBezTo>
                        <a:pt x="9014" y="14756"/>
                        <a:pt x="9553" y="15115"/>
                        <a:pt x="10151" y="14935"/>
                      </a:cubicBezTo>
                      <a:cubicBezTo>
                        <a:pt x="10211" y="14876"/>
                        <a:pt x="10330" y="14876"/>
                        <a:pt x="10390" y="1481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14" name="Vrije vorm: vorm 9113">
                  <a:extLst>
                    <a:ext uri="{FF2B5EF4-FFF2-40B4-BE49-F238E27FC236}">
                      <a16:creationId xmlns:a16="http://schemas.microsoft.com/office/drawing/2014/main" id="{F0F28386-FF3C-4D5C-A721-33161E24D6E2}"/>
                    </a:ext>
                  </a:extLst>
                </p:cNvPr>
                <p:cNvSpPr/>
                <p:nvPr/>
              </p:nvSpPr>
              <p:spPr>
                <a:xfrm>
                  <a:off x="5383058" y="2242123"/>
                  <a:ext cx="29540" cy="20569"/>
                </a:xfrm>
                <a:custGeom>
                  <a:avLst/>
                  <a:gdLst>
                    <a:gd name="connsiteX0" fmla="*/ 27182 w 29540"/>
                    <a:gd name="connsiteY0" fmla="*/ 15340 h 20569"/>
                    <a:gd name="connsiteX1" fmla="*/ 28917 w 29540"/>
                    <a:gd name="connsiteY1" fmla="*/ 14443 h 20569"/>
                    <a:gd name="connsiteX2" fmla="*/ 24670 w 29540"/>
                    <a:gd name="connsiteY2" fmla="*/ 1525 h 20569"/>
                    <a:gd name="connsiteX3" fmla="*/ 12768 w 29540"/>
                    <a:gd name="connsiteY3" fmla="*/ 1226 h 20569"/>
                    <a:gd name="connsiteX4" fmla="*/ 12768 w 29540"/>
                    <a:gd name="connsiteY4" fmla="*/ 1226 h 20569"/>
                    <a:gd name="connsiteX5" fmla="*/ 10137 w 29540"/>
                    <a:gd name="connsiteY5" fmla="*/ 1824 h 20569"/>
                    <a:gd name="connsiteX6" fmla="*/ 747 w 29540"/>
                    <a:gd name="connsiteY6" fmla="*/ 6489 h 20569"/>
                    <a:gd name="connsiteX7" fmla="*/ 1286 w 29540"/>
                    <a:gd name="connsiteY7" fmla="*/ 19706 h 20569"/>
                    <a:gd name="connsiteX8" fmla="*/ 3379 w 29540"/>
                    <a:gd name="connsiteY8" fmla="*/ 20544 h 20569"/>
                    <a:gd name="connsiteX9" fmla="*/ 27182 w 29540"/>
                    <a:gd name="connsiteY9" fmla="*/ 15340 h 20569"/>
                    <a:gd name="connsiteX10" fmla="*/ 27302 w 29540"/>
                    <a:gd name="connsiteY10" fmla="*/ 13068 h 20569"/>
                    <a:gd name="connsiteX11" fmla="*/ 3080 w 29540"/>
                    <a:gd name="connsiteY11" fmla="*/ 18450 h 20569"/>
                    <a:gd name="connsiteX12" fmla="*/ 2781 w 29540"/>
                    <a:gd name="connsiteY12" fmla="*/ 18331 h 20569"/>
                    <a:gd name="connsiteX13" fmla="*/ 2661 w 29540"/>
                    <a:gd name="connsiteY13" fmla="*/ 6967 h 20569"/>
                    <a:gd name="connsiteX14" fmla="*/ 10496 w 29540"/>
                    <a:gd name="connsiteY14" fmla="*/ 3857 h 20569"/>
                    <a:gd name="connsiteX15" fmla="*/ 13187 w 29540"/>
                    <a:gd name="connsiteY15" fmla="*/ 3259 h 20569"/>
                    <a:gd name="connsiteX16" fmla="*/ 13187 w 29540"/>
                    <a:gd name="connsiteY16" fmla="*/ 3259 h 20569"/>
                    <a:gd name="connsiteX17" fmla="*/ 22996 w 29540"/>
                    <a:gd name="connsiteY17" fmla="*/ 2781 h 20569"/>
                    <a:gd name="connsiteX18" fmla="*/ 27302 w 29540"/>
                    <a:gd name="connsiteY18" fmla="*/ 13068 h 20569"/>
                    <a:gd name="connsiteX19" fmla="*/ 27302 w 29540"/>
                    <a:gd name="connsiteY19" fmla="*/ 13128 h 20569"/>
                    <a:gd name="connsiteX20" fmla="*/ 27302 w 29540"/>
                    <a:gd name="connsiteY20" fmla="*/ 13128 h 20569"/>
                    <a:gd name="connsiteX21" fmla="*/ 27302 w 29540"/>
                    <a:gd name="connsiteY21" fmla="*/ 13128 h 20569"/>
                    <a:gd name="connsiteX22" fmla="*/ 12948 w 29540"/>
                    <a:gd name="connsiteY22" fmla="*/ 2183 h 20569"/>
                    <a:gd name="connsiteX23" fmla="*/ 12948 w 29540"/>
                    <a:gd name="connsiteY23" fmla="*/ 2183 h 20569"/>
                    <a:gd name="connsiteX24" fmla="*/ 12948 w 29540"/>
                    <a:gd name="connsiteY24" fmla="*/ 2183 h 20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540" h="20569">
                      <a:moveTo>
                        <a:pt x="27182" y="15340"/>
                      </a:moveTo>
                      <a:cubicBezTo>
                        <a:pt x="28079" y="14982"/>
                        <a:pt x="28737" y="14682"/>
                        <a:pt x="28917" y="14443"/>
                      </a:cubicBezTo>
                      <a:cubicBezTo>
                        <a:pt x="31608" y="11034"/>
                        <a:pt x="24730" y="1585"/>
                        <a:pt x="24670" y="1525"/>
                      </a:cubicBezTo>
                      <a:cubicBezTo>
                        <a:pt x="22876" y="-867"/>
                        <a:pt x="18211" y="-30"/>
                        <a:pt x="12768" y="1226"/>
                      </a:cubicBezTo>
                      <a:lnTo>
                        <a:pt x="12768" y="1226"/>
                      </a:lnTo>
                      <a:cubicBezTo>
                        <a:pt x="11812" y="1465"/>
                        <a:pt x="10914" y="1645"/>
                        <a:pt x="10137" y="1824"/>
                      </a:cubicBezTo>
                      <a:cubicBezTo>
                        <a:pt x="3977" y="3140"/>
                        <a:pt x="1405" y="3738"/>
                        <a:pt x="747" y="6489"/>
                      </a:cubicBezTo>
                      <a:cubicBezTo>
                        <a:pt x="448" y="7805"/>
                        <a:pt x="-1047" y="16955"/>
                        <a:pt x="1286" y="19706"/>
                      </a:cubicBezTo>
                      <a:cubicBezTo>
                        <a:pt x="1824" y="20364"/>
                        <a:pt x="2541" y="20663"/>
                        <a:pt x="3379" y="20544"/>
                      </a:cubicBezTo>
                      <a:cubicBezTo>
                        <a:pt x="4934" y="20424"/>
                        <a:pt x="21560" y="17374"/>
                        <a:pt x="27182" y="15340"/>
                      </a:cubicBezTo>
                      <a:close/>
                      <a:moveTo>
                        <a:pt x="27302" y="13068"/>
                      </a:moveTo>
                      <a:cubicBezTo>
                        <a:pt x="25388" y="14204"/>
                        <a:pt x="6788" y="18151"/>
                        <a:pt x="3080" y="18450"/>
                      </a:cubicBezTo>
                      <a:cubicBezTo>
                        <a:pt x="2960" y="18450"/>
                        <a:pt x="2900" y="18450"/>
                        <a:pt x="2781" y="18331"/>
                      </a:cubicBezTo>
                      <a:cubicBezTo>
                        <a:pt x="1405" y="16776"/>
                        <a:pt x="2063" y="9539"/>
                        <a:pt x="2661" y="6967"/>
                      </a:cubicBezTo>
                      <a:cubicBezTo>
                        <a:pt x="3020" y="5532"/>
                        <a:pt x="4814" y="5053"/>
                        <a:pt x="10496" y="3857"/>
                      </a:cubicBezTo>
                      <a:cubicBezTo>
                        <a:pt x="11333" y="3678"/>
                        <a:pt x="12230" y="3499"/>
                        <a:pt x="13187" y="3259"/>
                      </a:cubicBezTo>
                      <a:lnTo>
                        <a:pt x="13187" y="3259"/>
                      </a:lnTo>
                      <a:cubicBezTo>
                        <a:pt x="15998" y="2601"/>
                        <a:pt x="21859" y="1345"/>
                        <a:pt x="22996" y="2781"/>
                      </a:cubicBezTo>
                      <a:cubicBezTo>
                        <a:pt x="26165" y="6967"/>
                        <a:pt x="28019" y="11931"/>
                        <a:pt x="27302" y="13068"/>
                      </a:cubicBezTo>
                      <a:close/>
                      <a:moveTo>
                        <a:pt x="27302" y="13128"/>
                      </a:moveTo>
                      <a:lnTo>
                        <a:pt x="27302" y="13128"/>
                      </a:lnTo>
                      <a:lnTo>
                        <a:pt x="27302" y="13128"/>
                      </a:lnTo>
                      <a:close/>
                      <a:moveTo>
                        <a:pt x="12948" y="2183"/>
                      </a:moveTo>
                      <a:lnTo>
                        <a:pt x="12948" y="2183"/>
                      </a:lnTo>
                      <a:lnTo>
                        <a:pt x="12948" y="2183"/>
                      </a:lnTo>
                      <a:close/>
                    </a:path>
                  </a:pathLst>
                </a:custGeom>
                <a:grpFill/>
                <a:ln w="6350" cap="flat">
                  <a:solidFill>
                    <a:schemeClr val="bg1">
                      <a:alpha val="40000"/>
                    </a:schemeClr>
                  </a:solidFill>
                  <a:prstDash val="solid"/>
                  <a:miter/>
                </a:ln>
              </p:spPr>
              <p:txBody>
                <a:bodyPr rtlCol="0" anchor="ctr"/>
                <a:lstStyle/>
                <a:p>
                  <a:endParaRPr lang="en-GB"/>
                </a:p>
              </p:txBody>
            </p:sp>
            <p:grpSp>
              <p:nvGrpSpPr>
                <p:cNvPr id="9115" name="Graphic 3">
                  <a:extLst>
                    <a:ext uri="{FF2B5EF4-FFF2-40B4-BE49-F238E27FC236}">
                      <a16:creationId xmlns:a16="http://schemas.microsoft.com/office/drawing/2014/main" id="{24E55160-4D84-4B0A-ADE7-AC5D7AF951F4}"/>
                    </a:ext>
                  </a:extLst>
                </p:cNvPr>
                <p:cNvGrpSpPr/>
                <p:nvPr/>
              </p:nvGrpSpPr>
              <p:grpSpPr>
                <a:xfrm>
                  <a:off x="5388159" y="2224901"/>
                  <a:ext cx="23741" cy="41448"/>
                  <a:chOff x="5388159" y="2224901"/>
                  <a:chExt cx="23741" cy="41448"/>
                </a:xfrm>
                <a:grpFill/>
              </p:grpSpPr>
              <p:sp>
                <p:nvSpPr>
                  <p:cNvPr id="9126" name="Vrije vorm: vorm 9125">
                    <a:extLst>
                      <a:ext uri="{FF2B5EF4-FFF2-40B4-BE49-F238E27FC236}">
                        <a16:creationId xmlns:a16="http://schemas.microsoft.com/office/drawing/2014/main" id="{69F83D8D-173B-4B87-8624-630A21DD6FBA}"/>
                      </a:ext>
                    </a:extLst>
                  </p:cNvPr>
                  <p:cNvSpPr/>
                  <p:nvPr/>
                </p:nvSpPr>
                <p:spPr>
                  <a:xfrm>
                    <a:off x="5388159" y="2224901"/>
                    <a:ext cx="22768" cy="40407"/>
                  </a:xfrm>
                  <a:custGeom>
                    <a:avLst/>
                    <a:gdLst>
                      <a:gd name="connsiteX0" fmla="*/ 3063 w 22768"/>
                      <a:gd name="connsiteY0" fmla="*/ 1164 h 40407"/>
                      <a:gd name="connsiteX1" fmla="*/ 16161 w 22768"/>
                      <a:gd name="connsiteY1" fmla="*/ 23532 h 40407"/>
                      <a:gd name="connsiteX2" fmla="*/ 22740 w 22768"/>
                      <a:gd name="connsiteY2" fmla="*/ 38125 h 40407"/>
                      <a:gd name="connsiteX3" fmla="*/ 17237 w 22768"/>
                      <a:gd name="connsiteY3" fmla="*/ 39381 h 40407"/>
                      <a:gd name="connsiteX4" fmla="*/ 15324 w 22768"/>
                      <a:gd name="connsiteY4" fmla="*/ 33579 h 40407"/>
                      <a:gd name="connsiteX5" fmla="*/ 1089 w 22768"/>
                      <a:gd name="connsiteY5" fmla="*/ 9298 h 40407"/>
                      <a:gd name="connsiteX6" fmla="*/ 3063 w 22768"/>
                      <a:gd name="connsiteY6" fmla="*/ 1164 h 4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68" h="40407">
                        <a:moveTo>
                          <a:pt x="3063" y="1164"/>
                        </a:moveTo>
                        <a:cubicBezTo>
                          <a:pt x="6891" y="4752"/>
                          <a:pt x="13410" y="18448"/>
                          <a:pt x="16161" y="23532"/>
                        </a:cubicBezTo>
                        <a:cubicBezTo>
                          <a:pt x="18912" y="28615"/>
                          <a:pt x="23158" y="35852"/>
                          <a:pt x="22740" y="38125"/>
                        </a:cubicBezTo>
                        <a:cubicBezTo>
                          <a:pt x="22321" y="40337"/>
                          <a:pt x="19450" y="41294"/>
                          <a:pt x="17237" y="39381"/>
                        </a:cubicBezTo>
                        <a:cubicBezTo>
                          <a:pt x="16220" y="38483"/>
                          <a:pt x="16759" y="35792"/>
                          <a:pt x="15324" y="33579"/>
                        </a:cubicBezTo>
                        <a:cubicBezTo>
                          <a:pt x="13888" y="31366"/>
                          <a:pt x="1089" y="9298"/>
                          <a:pt x="1089" y="9298"/>
                        </a:cubicBezTo>
                        <a:cubicBezTo>
                          <a:pt x="1089" y="9298"/>
                          <a:pt x="-2380" y="-3920"/>
                          <a:pt x="3063" y="116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27" name="Vrije vorm: vorm 9126">
                    <a:extLst>
                      <a:ext uri="{FF2B5EF4-FFF2-40B4-BE49-F238E27FC236}">
                        <a16:creationId xmlns:a16="http://schemas.microsoft.com/office/drawing/2014/main" id="{5F302AA7-7527-4BBC-B4B9-620363168E98}"/>
                      </a:ext>
                    </a:extLst>
                  </p:cNvPr>
                  <p:cNvSpPr/>
                  <p:nvPr/>
                </p:nvSpPr>
                <p:spPr>
                  <a:xfrm>
                    <a:off x="5388205" y="2225061"/>
                    <a:ext cx="23695" cy="41288"/>
                  </a:xfrm>
                  <a:custGeom>
                    <a:avLst/>
                    <a:gdLst>
                      <a:gd name="connsiteX0" fmla="*/ 21198 w 23695"/>
                      <a:gd name="connsiteY0" fmla="*/ 41014 h 41288"/>
                      <a:gd name="connsiteX1" fmla="*/ 23650 w 23695"/>
                      <a:gd name="connsiteY1" fmla="*/ 38144 h 41288"/>
                      <a:gd name="connsiteX2" fmla="*/ 18028 w 23695"/>
                      <a:gd name="connsiteY2" fmla="*/ 24747 h 41288"/>
                      <a:gd name="connsiteX3" fmla="*/ 17012 w 23695"/>
                      <a:gd name="connsiteY3" fmla="*/ 22893 h 41288"/>
                      <a:gd name="connsiteX4" fmla="*/ 14799 w 23695"/>
                      <a:gd name="connsiteY4" fmla="*/ 18587 h 41288"/>
                      <a:gd name="connsiteX5" fmla="*/ 3734 w 23695"/>
                      <a:gd name="connsiteY5" fmla="*/ 286 h 41288"/>
                      <a:gd name="connsiteX6" fmla="*/ 2239 w 23695"/>
                      <a:gd name="connsiteY6" fmla="*/ 345 h 41288"/>
                      <a:gd name="connsiteX7" fmla="*/ 2299 w 23695"/>
                      <a:gd name="connsiteY7" fmla="*/ 1841 h 41288"/>
                      <a:gd name="connsiteX8" fmla="*/ 12945 w 23695"/>
                      <a:gd name="connsiteY8" fmla="*/ 19603 h 41288"/>
                      <a:gd name="connsiteX9" fmla="*/ 15218 w 23695"/>
                      <a:gd name="connsiteY9" fmla="*/ 23969 h 41288"/>
                      <a:gd name="connsiteX10" fmla="*/ 16234 w 23695"/>
                      <a:gd name="connsiteY10" fmla="*/ 25823 h 41288"/>
                      <a:gd name="connsiteX11" fmla="*/ 21677 w 23695"/>
                      <a:gd name="connsiteY11" fmla="*/ 37845 h 41288"/>
                      <a:gd name="connsiteX12" fmla="*/ 20540 w 23695"/>
                      <a:gd name="connsiteY12" fmla="*/ 39160 h 41288"/>
                      <a:gd name="connsiteX13" fmla="*/ 17909 w 23695"/>
                      <a:gd name="connsiteY13" fmla="*/ 38502 h 41288"/>
                      <a:gd name="connsiteX14" fmla="*/ 17490 w 23695"/>
                      <a:gd name="connsiteY14" fmla="*/ 36948 h 41288"/>
                      <a:gd name="connsiteX15" fmla="*/ 16174 w 23695"/>
                      <a:gd name="connsiteY15" fmla="*/ 32940 h 41288"/>
                      <a:gd name="connsiteX16" fmla="*/ 1940 w 23695"/>
                      <a:gd name="connsiteY16" fmla="*/ 8719 h 41288"/>
                      <a:gd name="connsiteX17" fmla="*/ 505 w 23695"/>
                      <a:gd name="connsiteY17" fmla="*/ 8360 h 41288"/>
                      <a:gd name="connsiteX18" fmla="*/ 146 w 23695"/>
                      <a:gd name="connsiteY18" fmla="*/ 9795 h 41288"/>
                      <a:gd name="connsiteX19" fmla="*/ 14380 w 23695"/>
                      <a:gd name="connsiteY19" fmla="*/ 34137 h 41288"/>
                      <a:gd name="connsiteX20" fmla="*/ 15397 w 23695"/>
                      <a:gd name="connsiteY20" fmla="*/ 37306 h 41288"/>
                      <a:gd name="connsiteX21" fmla="*/ 16533 w 23695"/>
                      <a:gd name="connsiteY21" fmla="*/ 40117 h 41288"/>
                      <a:gd name="connsiteX22" fmla="*/ 21198 w 23695"/>
                      <a:gd name="connsiteY22" fmla="*/ 41014 h 41288"/>
                      <a:gd name="connsiteX23" fmla="*/ 21198 w 23695"/>
                      <a:gd name="connsiteY23" fmla="*/ 41014 h 4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95" h="41288">
                        <a:moveTo>
                          <a:pt x="21198" y="41014"/>
                        </a:moveTo>
                        <a:cubicBezTo>
                          <a:pt x="22514" y="40536"/>
                          <a:pt x="23411" y="39459"/>
                          <a:pt x="23650" y="38144"/>
                        </a:cubicBezTo>
                        <a:cubicBezTo>
                          <a:pt x="24069" y="35991"/>
                          <a:pt x="21557" y="31206"/>
                          <a:pt x="18028" y="24747"/>
                        </a:cubicBezTo>
                        <a:cubicBezTo>
                          <a:pt x="17670" y="24089"/>
                          <a:pt x="17311" y="23491"/>
                          <a:pt x="17012" y="22893"/>
                        </a:cubicBezTo>
                        <a:cubicBezTo>
                          <a:pt x="16414" y="21816"/>
                          <a:pt x="15636" y="20321"/>
                          <a:pt x="14799" y="18587"/>
                        </a:cubicBezTo>
                        <a:cubicBezTo>
                          <a:pt x="11450" y="12127"/>
                          <a:pt x="6904" y="3216"/>
                          <a:pt x="3734" y="286"/>
                        </a:cubicBezTo>
                        <a:cubicBezTo>
                          <a:pt x="3316" y="-133"/>
                          <a:pt x="2658" y="-73"/>
                          <a:pt x="2239" y="345"/>
                        </a:cubicBezTo>
                        <a:cubicBezTo>
                          <a:pt x="1821" y="764"/>
                          <a:pt x="1880" y="1422"/>
                          <a:pt x="2299" y="1841"/>
                        </a:cubicBezTo>
                        <a:cubicBezTo>
                          <a:pt x="5170" y="4532"/>
                          <a:pt x="9835" y="13623"/>
                          <a:pt x="12945" y="19603"/>
                        </a:cubicBezTo>
                        <a:cubicBezTo>
                          <a:pt x="13842" y="21338"/>
                          <a:pt x="14619" y="22833"/>
                          <a:pt x="15218" y="23969"/>
                        </a:cubicBezTo>
                        <a:cubicBezTo>
                          <a:pt x="15517" y="24567"/>
                          <a:pt x="15876" y="25166"/>
                          <a:pt x="16234" y="25823"/>
                        </a:cubicBezTo>
                        <a:cubicBezTo>
                          <a:pt x="18387" y="29711"/>
                          <a:pt x="21976" y="36230"/>
                          <a:pt x="21677" y="37845"/>
                        </a:cubicBezTo>
                        <a:cubicBezTo>
                          <a:pt x="21557" y="38443"/>
                          <a:pt x="21139" y="38921"/>
                          <a:pt x="20540" y="39160"/>
                        </a:cubicBezTo>
                        <a:cubicBezTo>
                          <a:pt x="19703" y="39459"/>
                          <a:pt x="18686" y="39220"/>
                          <a:pt x="17909" y="38502"/>
                        </a:cubicBezTo>
                        <a:cubicBezTo>
                          <a:pt x="17730" y="38323"/>
                          <a:pt x="17610" y="37546"/>
                          <a:pt x="17490" y="36948"/>
                        </a:cubicBezTo>
                        <a:cubicBezTo>
                          <a:pt x="17311" y="35751"/>
                          <a:pt x="17072" y="34316"/>
                          <a:pt x="16174" y="32940"/>
                        </a:cubicBezTo>
                        <a:cubicBezTo>
                          <a:pt x="14739" y="30728"/>
                          <a:pt x="2120" y="8958"/>
                          <a:pt x="1940" y="8719"/>
                        </a:cubicBezTo>
                        <a:cubicBezTo>
                          <a:pt x="1641" y="8240"/>
                          <a:pt x="1043" y="8061"/>
                          <a:pt x="505" y="8360"/>
                        </a:cubicBezTo>
                        <a:cubicBezTo>
                          <a:pt x="26" y="8659"/>
                          <a:pt x="-153" y="9317"/>
                          <a:pt x="146" y="9795"/>
                        </a:cubicBezTo>
                        <a:cubicBezTo>
                          <a:pt x="685" y="10692"/>
                          <a:pt x="12945" y="31864"/>
                          <a:pt x="14380" y="34137"/>
                        </a:cubicBezTo>
                        <a:cubicBezTo>
                          <a:pt x="15038" y="35153"/>
                          <a:pt x="15218" y="36290"/>
                          <a:pt x="15397" y="37306"/>
                        </a:cubicBezTo>
                        <a:cubicBezTo>
                          <a:pt x="15577" y="38443"/>
                          <a:pt x="15756" y="39459"/>
                          <a:pt x="16533" y="40117"/>
                        </a:cubicBezTo>
                        <a:cubicBezTo>
                          <a:pt x="17849" y="41194"/>
                          <a:pt x="19643" y="41613"/>
                          <a:pt x="21198" y="41014"/>
                        </a:cubicBezTo>
                        <a:cubicBezTo>
                          <a:pt x="21198" y="41014"/>
                          <a:pt x="21198" y="41014"/>
                          <a:pt x="21198" y="41014"/>
                        </a:cubicBezTo>
                        <a:close/>
                      </a:path>
                    </a:pathLst>
                  </a:custGeom>
                  <a:grpFill/>
                  <a:ln w="6350" cap="flat">
                    <a:solidFill>
                      <a:schemeClr val="bg1">
                        <a:alpha val="40000"/>
                      </a:schemeClr>
                    </a:solidFill>
                    <a:prstDash val="solid"/>
                    <a:miter/>
                  </a:ln>
                </p:spPr>
                <p:txBody>
                  <a:bodyPr rtlCol="0" anchor="ctr"/>
                  <a:lstStyle/>
                  <a:p>
                    <a:endParaRPr lang="en-GB"/>
                  </a:p>
                </p:txBody>
              </p:sp>
            </p:grpSp>
            <p:sp>
              <p:nvSpPr>
                <p:cNvPr id="9116" name="Vrije vorm: vorm 9115">
                  <a:extLst>
                    <a:ext uri="{FF2B5EF4-FFF2-40B4-BE49-F238E27FC236}">
                      <a16:creationId xmlns:a16="http://schemas.microsoft.com/office/drawing/2014/main" id="{DFF99D5B-8D55-4FF5-AB74-77EA7880C2AB}"/>
                    </a:ext>
                  </a:extLst>
                </p:cNvPr>
                <p:cNvSpPr/>
                <p:nvPr/>
              </p:nvSpPr>
              <p:spPr>
                <a:xfrm>
                  <a:off x="5409792" y="2264491"/>
                  <a:ext cx="31314" cy="52898"/>
                </a:xfrm>
                <a:custGeom>
                  <a:avLst/>
                  <a:gdLst>
                    <a:gd name="connsiteX0" fmla="*/ 30651 w 31314"/>
                    <a:gd name="connsiteY0" fmla="*/ 52839 h 52898"/>
                    <a:gd name="connsiteX1" fmla="*/ 31308 w 31314"/>
                    <a:gd name="connsiteY1" fmla="*/ 52002 h 52898"/>
                    <a:gd name="connsiteX2" fmla="*/ 30411 w 31314"/>
                    <a:gd name="connsiteY2" fmla="*/ 50806 h 52898"/>
                    <a:gd name="connsiteX3" fmla="*/ 24849 w 31314"/>
                    <a:gd name="connsiteY3" fmla="*/ 45782 h 52898"/>
                    <a:gd name="connsiteX4" fmla="*/ 16835 w 31314"/>
                    <a:gd name="connsiteY4" fmla="*/ 28617 h 52898"/>
                    <a:gd name="connsiteX5" fmla="*/ 1883 w 31314"/>
                    <a:gd name="connsiteY5" fmla="*/ 448 h 52898"/>
                    <a:gd name="connsiteX6" fmla="*/ 448 w 31314"/>
                    <a:gd name="connsiteY6" fmla="*/ 209 h 52898"/>
                    <a:gd name="connsiteX7" fmla="*/ 209 w 31314"/>
                    <a:gd name="connsiteY7" fmla="*/ 1644 h 52898"/>
                    <a:gd name="connsiteX8" fmla="*/ 14981 w 31314"/>
                    <a:gd name="connsiteY8" fmla="*/ 29454 h 52898"/>
                    <a:gd name="connsiteX9" fmla="*/ 23055 w 31314"/>
                    <a:gd name="connsiteY9" fmla="*/ 46739 h 52898"/>
                    <a:gd name="connsiteX10" fmla="*/ 30172 w 31314"/>
                    <a:gd name="connsiteY10" fmla="*/ 52899 h 52898"/>
                    <a:gd name="connsiteX11" fmla="*/ 30651 w 31314"/>
                    <a:gd name="connsiteY11" fmla="*/ 52839 h 5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14" h="52898">
                      <a:moveTo>
                        <a:pt x="30651" y="52839"/>
                      </a:moveTo>
                      <a:cubicBezTo>
                        <a:pt x="31009" y="52719"/>
                        <a:pt x="31249" y="52420"/>
                        <a:pt x="31308" y="52002"/>
                      </a:cubicBezTo>
                      <a:cubicBezTo>
                        <a:pt x="31368" y="51404"/>
                        <a:pt x="31009" y="50925"/>
                        <a:pt x="30411" y="50806"/>
                      </a:cubicBezTo>
                      <a:cubicBezTo>
                        <a:pt x="28737" y="50566"/>
                        <a:pt x="25806" y="47755"/>
                        <a:pt x="24849" y="45782"/>
                      </a:cubicBezTo>
                      <a:cubicBezTo>
                        <a:pt x="21799" y="39681"/>
                        <a:pt x="19227" y="34060"/>
                        <a:pt x="16835" y="28617"/>
                      </a:cubicBezTo>
                      <a:cubicBezTo>
                        <a:pt x="12170" y="18211"/>
                        <a:pt x="8163" y="9240"/>
                        <a:pt x="1883" y="448"/>
                      </a:cubicBezTo>
                      <a:cubicBezTo>
                        <a:pt x="1525" y="-30"/>
                        <a:pt x="866" y="-150"/>
                        <a:pt x="448" y="209"/>
                      </a:cubicBezTo>
                      <a:cubicBezTo>
                        <a:pt x="-30" y="567"/>
                        <a:pt x="-150" y="1225"/>
                        <a:pt x="209" y="1644"/>
                      </a:cubicBezTo>
                      <a:cubicBezTo>
                        <a:pt x="6369" y="10256"/>
                        <a:pt x="10316" y="19168"/>
                        <a:pt x="14981" y="29454"/>
                      </a:cubicBezTo>
                      <a:cubicBezTo>
                        <a:pt x="17433" y="34897"/>
                        <a:pt x="19945" y="40519"/>
                        <a:pt x="23055" y="46739"/>
                      </a:cubicBezTo>
                      <a:cubicBezTo>
                        <a:pt x="24191" y="49011"/>
                        <a:pt x="27541" y="52480"/>
                        <a:pt x="30172" y="52899"/>
                      </a:cubicBezTo>
                      <a:cubicBezTo>
                        <a:pt x="30292" y="52899"/>
                        <a:pt x="30471" y="52899"/>
                        <a:pt x="30651" y="5283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17" name="Vrije vorm: vorm 9116">
                  <a:extLst>
                    <a:ext uri="{FF2B5EF4-FFF2-40B4-BE49-F238E27FC236}">
                      <a16:creationId xmlns:a16="http://schemas.microsoft.com/office/drawing/2014/main" id="{9E29C3E1-E1BB-4710-8F66-DD2A13DAE61D}"/>
                    </a:ext>
                  </a:extLst>
                </p:cNvPr>
                <p:cNvSpPr/>
                <p:nvPr/>
              </p:nvSpPr>
              <p:spPr>
                <a:xfrm>
                  <a:off x="5392717" y="2259856"/>
                  <a:ext cx="38931" cy="60846"/>
                </a:xfrm>
                <a:custGeom>
                  <a:avLst/>
                  <a:gdLst>
                    <a:gd name="connsiteX0" fmla="*/ 38277 w 38931"/>
                    <a:gd name="connsiteY0" fmla="*/ 60764 h 60846"/>
                    <a:gd name="connsiteX1" fmla="*/ 38576 w 38931"/>
                    <a:gd name="connsiteY1" fmla="*/ 60585 h 60846"/>
                    <a:gd name="connsiteX2" fmla="*/ 38695 w 38931"/>
                    <a:gd name="connsiteY2" fmla="*/ 59089 h 60846"/>
                    <a:gd name="connsiteX3" fmla="*/ 36961 w 38931"/>
                    <a:gd name="connsiteY3" fmla="*/ 56099 h 60846"/>
                    <a:gd name="connsiteX4" fmla="*/ 35466 w 38931"/>
                    <a:gd name="connsiteY4" fmla="*/ 53288 h 60846"/>
                    <a:gd name="connsiteX5" fmla="*/ 32715 w 38931"/>
                    <a:gd name="connsiteY5" fmla="*/ 49042 h 60846"/>
                    <a:gd name="connsiteX6" fmla="*/ 27153 w 38931"/>
                    <a:gd name="connsiteY6" fmla="*/ 40011 h 60846"/>
                    <a:gd name="connsiteX7" fmla="*/ 18361 w 38931"/>
                    <a:gd name="connsiteY7" fmla="*/ 24162 h 60846"/>
                    <a:gd name="connsiteX8" fmla="*/ 7117 w 38931"/>
                    <a:gd name="connsiteY8" fmla="*/ 10406 h 60846"/>
                    <a:gd name="connsiteX9" fmla="*/ 2093 w 38931"/>
                    <a:gd name="connsiteY9" fmla="*/ 1017 h 60846"/>
                    <a:gd name="connsiteX10" fmla="*/ 1017 w 38931"/>
                    <a:gd name="connsiteY10" fmla="*/ 0 h 60846"/>
                    <a:gd name="connsiteX11" fmla="*/ 0 w 38931"/>
                    <a:gd name="connsiteY11" fmla="*/ 1076 h 60846"/>
                    <a:gd name="connsiteX12" fmla="*/ 5742 w 38931"/>
                    <a:gd name="connsiteY12" fmla="*/ 11961 h 60846"/>
                    <a:gd name="connsiteX13" fmla="*/ 16507 w 38931"/>
                    <a:gd name="connsiteY13" fmla="*/ 25119 h 60846"/>
                    <a:gd name="connsiteX14" fmla="*/ 25299 w 38931"/>
                    <a:gd name="connsiteY14" fmla="*/ 41028 h 60846"/>
                    <a:gd name="connsiteX15" fmla="*/ 30980 w 38931"/>
                    <a:gd name="connsiteY15" fmla="*/ 50178 h 60846"/>
                    <a:gd name="connsiteX16" fmla="*/ 33731 w 38931"/>
                    <a:gd name="connsiteY16" fmla="*/ 54425 h 60846"/>
                    <a:gd name="connsiteX17" fmla="*/ 35107 w 38931"/>
                    <a:gd name="connsiteY17" fmla="*/ 57056 h 60846"/>
                    <a:gd name="connsiteX18" fmla="*/ 37140 w 38931"/>
                    <a:gd name="connsiteY18" fmla="*/ 60465 h 60846"/>
                    <a:gd name="connsiteX19" fmla="*/ 38277 w 38931"/>
                    <a:gd name="connsiteY19" fmla="*/ 60764 h 60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931" h="60846">
                      <a:moveTo>
                        <a:pt x="38277" y="60764"/>
                      </a:moveTo>
                      <a:cubicBezTo>
                        <a:pt x="38397" y="60704"/>
                        <a:pt x="38516" y="60645"/>
                        <a:pt x="38576" y="60585"/>
                      </a:cubicBezTo>
                      <a:cubicBezTo>
                        <a:pt x="38994" y="60226"/>
                        <a:pt x="39054" y="59568"/>
                        <a:pt x="38695" y="59089"/>
                      </a:cubicBezTo>
                      <a:cubicBezTo>
                        <a:pt x="38097" y="58432"/>
                        <a:pt x="37559" y="57295"/>
                        <a:pt x="36961" y="56099"/>
                      </a:cubicBezTo>
                      <a:cubicBezTo>
                        <a:pt x="36483" y="55142"/>
                        <a:pt x="36004" y="54185"/>
                        <a:pt x="35466" y="53288"/>
                      </a:cubicBezTo>
                      <a:cubicBezTo>
                        <a:pt x="34449" y="51733"/>
                        <a:pt x="33552" y="50358"/>
                        <a:pt x="32715" y="49042"/>
                      </a:cubicBezTo>
                      <a:cubicBezTo>
                        <a:pt x="30621" y="45812"/>
                        <a:pt x="29007" y="43300"/>
                        <a:pt x="27153" y="40011"/>
                      </a:cubicBezTo>
                      <a:cubicBezTo>
                        <a:pt x="22428" y="31638"/>
                        <a:pt x="19617" y="26495"/>
                        <a:pt x="18361" y="24162"/>
                      </a:cubicBezTo>
                      <a:cubicBezTo>
                        <a:pt x="15669" y="19019"/>
                        <a:pt x="10825" y="13696"/>
                        <a:pt x="7117" y="10406"/>
                      </a:cubicBezTo>
                      <a:cubicBezTo>
                        <a:pt x="2333" y="6160"/>
                        <a:pt x="2093" y="1076"/>
                        <a:pt x="2093" y="1017"/>
                      </a:cubicBezTo>
                      <a:cubicBezTo>
                        <a:pt x="2093" y="419"/>
                        <a:pt x="1615" y="0"/>
                        <a:pt x="1017" y="0"/>
                      </a:cubicBezTo>
                      <a:cubicBezTo>
                        <a:pt x="419" y="0"/>
                        <a:pt x="0" y="478"/>
                        <a:pt x="0" y="1076"/>
                      </a:cubicBezTo>
                      <a:cubicBezTo>
                        <a:pt x="0" y="1316"/>
                        <a:pt x="239" y="7117"/>
                        <a:pt x="5742" y="11961"/>
                      </a:cubicBezTo>
                      <a:cubicBezTo>
                        <a:pt x="9270" y="15131"/>
                        <a:pt x="13995" y="20215"/>
                        <a:pt x="16507" y="25119"/>
                      </a:cubicBezTo>
                      <a:cubicBezTo>
                        <a:pt x="17703" y="27451"/>
                        <a:pt x="20574" y="32655"/>
                        <a:pt x="25299" y="41028"/>
                      </a:cubicBezTo>
                      <a:cubicBezTo>
                        <a:pt x="27213" y="44377"/>
                        <a:pt x="28827" y="46949"/>
                        <a:pt x="30980" y="50178"/>
                      </a:cubicBezTo>
                      <a:cubicBezTo>
                        <a:pt x="31817" y="51494"/>
                        <a:pt x="32715" y="52869"/>
                        <a:pt x="33731" y="54425"/>
                      </a:cubicBezTo>
                      <a:cubicBezTo>
                        <a:pt x="34210" y="55202"/>
                        <a:pt x="34688" y="56159"/>
                        <a:pt x="35107" y="57056"/>
                      </a:cubicBezTo>
                      <a:cubicBezTo>
                        <a:pt x="35765" y="58372"/>
                        <a:pt x="36363" y="59568"/>
                        <a:pt x="37140" y="60465"/>
                      </a:cubicBezTo>
                      <a:cubicBezTo>
                        <a:pt x="37380" y="60824"/>
                        <a:pt x="37858" y="60943"/>
                        <a:pt x="38277" y="6076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18" name="Vrije vorm: vorm 9117">
                  <a:extLst>
                    <a:ext uri="{FF2B5EF4-FFF2-40B4-BE49-F238E27FC236}">
                      <a16:creationId xmlns:a16="http://schemas.microsoft.com/office/drawing/2014/main" id="{A39D29C2-4ACA-459A-BF22-71B7A84B9179}"/>
                    </a:ext>
                  </a:extLst>
                </p:cNvPr>
                <p:cNvSpPr/>
                <p:nvPr/>
              </p:nvSpPr>
              <p:spPr>
                <a:xfrm>
                  <a:off x="5428236" y="2314675"/>
                  <a:ext cx="15639" cy="4399"/>
                </a:xfrm>
                <a:custGeom>
                  <a:avLst/>
                  <a:gdLst>
                    <a:gd name="connsiteX0" fmla="*/ 12984 w 15639"/>
                    <a:gd name="connsiteY0" fmla="*/ 2715 h 4399"/>
                    <a:gd name="connsiteX1" fmla="*/ 14001 w 15639"/>
                    <a:gd name="connsiteY1" fmla="*/ 2356 h 4399"/>
                    <a:gd name="connsiteX2" fmla="*/ 14958 w 15639"/>
                    <a:gd name="connsiteY2" fmla="*/ 1997 h 4399"/>
                    <a:gd name="connsiteX3" fmla="*/ 15556 w 15639"/>
                    <a:gd name="connsiteY3" fmla="*/ 681 h 4399"/>
                    <a:gd name="connsiteX4" fmla="*/ 14240 w 15639"/>
                    <a:gd name="connsiteY4" fmla="*/ 83 h 4399"/>
                    <a:gd name="connsiteX5" fmla="*/ 13283 w 15639"/>
                    <a:gd name="connsiteY5" fmla="*/ 442 h 4399"/>
                    <a:gd name="connsiteX6" fmla="*/ 7422 w 15639"/>
                    <a:gd name="connsiteY6" fmla="*/ 2236 h 4399"/>
                    <a:gd name="connsiteX7" fmla="*/ 5149 w 15639"/>
                    <a:gd name="connsiteY7" fmla="*/ 1758 h 4399"/>
                    <a:gd name="connsiteX8" fmla="*/ 903 w 15639"/>
                    <a:gd name="connsiteY8" fmla="*/ 1040 h 4399"/>
                    <a:gd name="connsiteX9" fmla="*/ 6 w 15639"/>
                    <a:gd name="connsiteY9" fmla="*/ 2236 h 4399"/>
                    <a:gd name="connsiteX10" fmla="*/ 1202 w 15639"/>
                    <a:gd name="connsiteY10" fmla="*/ 3133 h 4399"/>
                    <a:gd name="connsiteX11" fmla="*/ 4372 w 15639"/>
                    <a:gd name="connsiteY11" fmla="*/ 3732 h 4399"/>
                    <a:gd name="connsiteX12" fmla="*/ 7781 w 15639"/>
                    <a:gd name="connsiteY12" fmla="*/ 4330 h 4399"/>
                    <a:gd name="connsiteX13" fmla="*/ 12984 w 15639"/>
                    <a:gd name="connsiteY13" fmla="*/ 2715 h 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39" h="4399">
                      <a:moveTo>
                        <a:pt x="12984" y="2715"/>
                      </a:moveTo>
                      <a:cubicBezTo>
                        <a:pt x="13343" y="2595"/>
                        <a:pt x="13642" y="2476"/>
                        <a:pt x="14001" y="2356"/>
                      </a:cubicBezTo>
                      <a:lnTo>
                        <a:pt x="14958" y="1997"/>
                      </a:lnTo>
                      <a:cubicBezTo>
                        <a:pt x="15496" y="1818"/>
                        <a:pt x="15795" y="1220"/>
                        <a:pt x="15556" y="681"/>
                      </a:cubicBezTo>
                      <a:cubicBezTo>
                        <a:pt x="15376" y="143"/>
                        <a:pt x="14778" y="-156"/>
                        <a:pt x="14240" y="83"/>
                      </a:cubicBezTo>
                      <a:lnTo>
                        <a:pt x="13283" y="442"/>
                      </a:lnTo>
                      <a:cubicBezTo>
                        <a:pt x="11489" y="1100"/>
                        <a:pt x="9575" y="1818"/>
                        <a:pt x="7422" y="2236"/>
                      </a:cubicBezTo>
                      <a:cubicBezTo>
                        <a:pt x="6764" y="2356"/>
                        <a:pt x="6046" y="2117"/>
                        <a:pt x="5149" y="1758"/>
                      </a:cubicBezTo>
                      <a:cubicBezTo>
                        <a:pt x="4013" y="1339"/>
                        <a:pt x="2637" y="801"/>
                        <a:pt x="903" y="1040"/>
                      </a:cubicBezTo>
                      <a:cubicBezTo>
                        <a:pt x="365" y="1100"/>
                        <a:pt x="-54" y="1638"/>
                        <a:pt x="6" y="2236"/>
                      </a:cubicBezTo>
                      <a:cubicBezTo>
                        <a:pt x="66" y="2834"/>
                        <a:pt x="604" y="3193"/>
                        <a:pt x="1202" y="3133"/>
                      </a:cubicBezTo>
                      <a:cubicBezTo>
                        <a:pt x="2398" y="2954"/>
                        <a:pt x="3355" y="3313"/>
                        <a:pt x="4372" y="3732"/>
                      </a:cubicBezTo>
                      <a:cubicBezTo>
                        <a:pt x="5389" y="4150"/>
                        <a:pt x="6465" y="4569"/>
                        <a:pt x="7781" y="4330"/>
                      </a:cubicBezTo>
                      <a:cubicBezTo>
                        <a:pt x="9694" y="3851"/>
                        <a:pt x="11369" y="3313"/>
                        <a:pt x="12984" y="271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19" name="Vrije vorm: vorm 9118">
                  <a:extLst>
                    <a:ext uri="{FF2B5EF4-FFF2-40B4-BE49-F238E27FC236}">
                      <a16:creationId xmlns:a16="http://schemas.microsoft.com/office/drawing/2014/main" id="{17B9E5FC-A395-4751-ABA3-93EDEA6EEE18}"/>
                    </a:ext>
                  </a:extLst>
                </p:cNvPr>
                <p:cNvSpPr/>
                <p:nvPr/>
              </p:nvSpPr>
              <p:spPr>
                <a:xfrm>
                  <a:off x="5405815" y="2285789"/>
                  <a:ext cx="6929" cy="38126"/>
                </a:xfrm>
                <a:custGeom>
                  <a:avLst/>
                  <a:gdLst>
                    <a:gd name="connsiteX0" fmla="*/ 1494 w 6929"/>
                    <a:gd name="connsiteY0" fmla="*/ 38060 h 38126"/>
                    <a:gd name="connsiteX1" fmla="*/ 2153 w 6929"/>
                    <a:gd name="connsiteY1" fmla="*/ 36924 h 38126"/>
                    <a:gd name="connsiteX2" fmla="*/ 2093 w 6929"/>
                    <a:gd name="connsiteY2" fmla="*/ 32977 h 38126"/>
                    <a:gd name="connsiteX3" fmla="*/ 3887 w 6929"/>
                    <a:gd name="connsiteY3" fmla="*/ 24364 h 38126"/>
                    <a:gd name="connsiteX4" fmla="*/ 6578 w 6929"/>
                    <a:gd name="connsiteY4" fmla="*/ 860 h 38126"/>
                    <a:gd name="connsiteX5" fmla="*/ 5382 w 6929"/>
                    <a:gd name="connsiteY5" fmla="*/ 23 h 38126"/>
                    <a:gd name="connsiteX6" fmla="*/ 4545 w 6929"/>
                    <a:gd name="connsiteY6" fmla="*/ 1219 h 38126"/>
                    <a:gd name="connsiteX7" fmla="*/ 1913 w 6929"/>
                    <a:gd name="connsiteY7" fmla="*/ 23886 h 38126"/>
                    <a:gd name="connsiteX8" fmla="*/ 119 w 6929"/>
                    <a:gd name="connsiteY8" fmla="*/ 32678 h 38126"/>
                    <a:gd name="connsiteX9" fmla="*/ 179 w 6929"/>
                    <a:gd name="connsiteY9" fmla="*/ 37223 h 38126"/>
                    <a:gd name="connsiteX10" fmla="*/ 1375 w 6929"/>
                    <a:gd name="connsiteY10" fmla="*/ 38120 h 38126"/>
                    <a:gd name="connsiteX11" fmla="*/ 1494 w 6929"/>
                    <a:gd name="connsiteY11" fmla="*/ 38060 h 3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29" h="38126">
                      <a:moveTo>
                        <a:pt x="1494" y="38060"/>
                      </a:moveTo>
                      <a:cubicBezTo>
                        <a:pt x="1973" y="37881"/>
                        <a:pt x="2272" y="37402"/>
                        <a:pt x="2153" y="36924"/>
                      </a:cubicBezTo>
                      <a:cubicBezTo>
                        <a:pt x="2153" y="36924"/>
                        <a:pt x="1853" y="34831"/>
                        <a:pt x="2093" y="32977"/>
                      </a:cubicBezTo>
                      <a:cubicBezTo>
                        <a:pt x="2452" y="30584"/>
                        <a:pt x="3109" y="27594"/>
                        <a:pt x="3887" y="24364"/>
                      </a:cubicBezTo>
                      <a:cubicBezTo>
                        <a:pt x="5681" y="16590"/>
                        <a:pt x="7774" y="7798"/>
                        <a:pt x="6578" y="860"/>
                      </a:cubicBezTo>
                      <a:cubicBezTo>
                        <a:pt x="6459" y="262"/>
                        <a:pt x="5920" y="-97"/>
                        <a:pt x="5382" y="23"/>
                      </a:cubicBezTo>
                      <a:cubicBezTo>
                        <a:pt x="4844" y="143"/>
                        <a:pt x="4425" y="681"/>
                        <a:pt x="4545" y="1219"/>
                      </a:cubicBezTo>
                      <a:cubicBezTo>
                        <a:pt x="5681" y="7738"/>
                        <a:pt x="3588" y="16709"/>
                        <a:pt x="1913" y="23886"/>
                      </a:cubicBezTo>
                      <a:cubicBezTo>
                        <a:pt x="1136" y="27116"/>
                        <a:pt x="418" y="30166"/>
                        <a:pt x="119" y="32678"/>
                      </a:cubicBezTo>
                      <a:cubicBezTo>
                        <a:pt x="-180" y="34831"/>
                        <a:pt x="179" y="37163"/>
                        <a:pt x="179" y="37223"/>
                      </a:cubicBezTo>
                      <a:cubicBezTo>
                        <a:pt x="298" y="37821"/>
                        <a:pt x="777" y="38180"/>
                        <a:pt x="1375" y="38120"/>
                      </a:cubicBezTo>
                      <a:cubicBezTo>
                        <a:pt x="1375" y="38060"/>
                        <a:pt x="1435" y="38060"/>
                        <a:pt x="1494" y="3806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20" name="Vrije vorm: vorm 9119">
                  <a:extLst>
                    <a:ext uri="{FF2B5EF4-FFF2-40B4-BE49-F238E27FC236}">
                      <a16:creationId xmlns:a16="http://schemas.microsoft.com/office/drawing/2014/main" id="{99E7A238-1C2C-4ED2-B6F6-16E471898984}"/>
                    </a:ext>
                  </a:extLst>
                </p:cNvPr>
                <p:cNvSpPr/>
                <p:nvPr/>
              </p:nvSpPr>
              <p:spPr>
                <a:xfrm>
                  <a:off x="5397518" y="2272483"/>
                  <a:ext cx="6854" cy="45747"/>
                </a:xfrm>
                <a:custGeom>
                  <a:avLst/>
                  <a:gdLst>
                    <a:gd name="connsiteX0" fmla="*/ 1359 w 6854"/>
                    <a:gd name="connsiteY0" fmla="*/ 45685 h 45747"/>
                    <a:gd name="connsiteX1" fmla="*/ 1897 w 6854"/>
                    <a:gd name="connsiteY1" fmla="*/ 45267 h 45747"/>
                    <a:gd name="connsiteX2" fmla="*/ 4170 w 6854"/>
                    <a:gd name="connsiteY2" fmla="*/ 38807 h 45747"/>
                    <a:gd name="connsiteX3" fmla="*/ 4828 w 6854"/>
                    <a:gd name="connsiteY3" fmla="*/ 30434 h 45747"/>
                    <a:gd name="connsiteX4" fmla="*/ 6443 w 6854"/>
                    <a:gd name="connsiteY4" fmla="*/ 15124 h 45747"/>
                    <a:gd name="connsiteX5" fmla="*/ 5007 w 6854"/>
                    <a:gd name="connsiteY5" fmla="*/ 710 h 45747"/>
                    <a:gd name="connsiteX6" fmla="*/ 3692 w 6854"/>
                    <a:gd name="connsiteY6" fmla="*/ 52 h 45747"/>
                    <a:gd name="connsiteX7" fmla="*/ 3034 w 6854"/>
                    <a:gd name="connsiteY7" fmla="*/ 1368 h 45747"/>
                    <a:gd name="connsiteX8" fmla="*/ 4409 w 6854"/>
                    <a:gd name="connsiteY8" fmla="*/ 14765 h 45747"/>
                    <a:gd name="connsiteX9" fmla="*/ 2794 w 6854"/>
                    <a:gd name="connsiteY9" fmla="*/ 30315 h 45747"/>
                    <a:gd name="connsiteX10" fmla="*/ 2137 w 6854"/>
                    <a:gd name="connsiteY10" fmla="*/ 38628 h 45747"/>
                    <a:gd name="connsiteX11" fmla="*/ 163 w 6854"/>
                    <a:gd name="connsiteY11" fmla="*/ 44130 h 45747"/>
                    <a:gd name="connsiteX12" fmla="*/ 462 w 6854"/>
                    <a:gd name="connsiteY12" fmla="*/ 45566 h 45747"/>
                    <a:gd name="connsiteX13" fmla="*/ 1359 w 6854"/>
                    <a:gd name="connsiteY13" fmla="*/ 45685 h 4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54" h="45747">
                      <a:moveTo>
                        <a:pt x="1359" y="45685"/>
                      </a:moveTo>
                      <a:cubicBezTo>
                        <a:pt x="1538" y="45625"/>
                        <a:pt x="1718" y="45446"/>
                        <a:pt x="1897" y="45267"/>
                      </a:cubicBezTo>
                      <a:cubicBezTo>
                        <a:pt x="1957" y="45147"/>
                        <a:pt x="3871" y="42216"/>
                        <a:pt x="4170" y="38807"/>
                      </a:cubicBezTo>
                      <a:cubicBezTo>
                        <a:pt x="4469" y="35936"/>
                        <a:pt x="4648" y="33126"/>
                        <a:pt x="4828" y="30434"/>
                      </a:cubicBezTo>
                      <a:cubicBezTo>
                        <a:pt x="5246" y="25111"/>
                        <a:pt x="5605" y="20088"/>
                        <a:pt x="6443" y="15124"/>
                      </a:cubicBezTo>
                      <a:cubicBezTo>
                        <a:pt x="7280" y="10279"/>
                        <a:pt x="6861" y="6272"/>
                        <a:pt x="5007" y="710"/>
                      </a:cubicBezTo>
                      <a:cubicBezTo>
                        <a:pt x="4828" y="172"/>
                        <a:pt x="4230" y="-127"/>
                        <a:pt x="3692" y="52"/>
                      </a:cubicBezTo>
                      <a:cubicBezTo>
                        <a:pt x="3153" y="232"/>
                        <a:pt x="2854" y="830"/>
                        <a:pt x="3034" y="1368"/>
                      </a:cubicBezTo>
                      <a:cubicBezTo>
                        <a:pt x="4768" y="6631"/>
                        <a:pt x="5127" y="10279"/>
                        <a:pt x="4409" y="14765"/>
                      </a:cubicBezTo>
                      <a:cubicBezTo>
                        <a:pt x="3572" y="19849"/>
                        <a:pt x="3153" y="24932"/>
                        <a:pt x="2794" y="30315"/>
                      </a:cubicBezTo>
                      <a:cubicBezTo>
                        <a:pt x="2615" y="33006"/>
                        <a:pt x="2376" y="35757"/>
                        <a:pt x="2137" y="38628"/>
                      </a:cubicBezTo>
                      <a:cubicBezTo>
                        <a:pt x="1838" y="41499"/>
                        <a:pt x="223" y="44130"/>
                        <a:pt x="163" y="44130"/>
                      </a:cubicBezTo>
                      <a:cubicBezTo>
                        <a:pt x="-136" y="44609"/>
                        <a:pt x="-16" y="45267"/>
                        <a:pt x="462" y="45566"/>
                      </a:cubicBezTo>
                      <a:cubicBezTo>
                        <a:pt x="701" y="45745"/>
                        <a:pt x="1060" y="45805"/>
                        <a:pt x="1359" y="4568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21" name="Vrije vorm: vorm 9120">
                  <a:extLst>
                    <a:ext uri="{FF2B5EF4-FFF2-40B4-BE49-F238E27FC236}">
                      <a16:creationId xmlns:a16="http://schemas.microsoft.com/office/drawing/2014/main" id="{90EA478D-9879-4F4A-AC51-A87BA1DFFBF6}"/>
                    </a:ext>
                  </a:extLst>
                </p:cNvPr>
                <p:cNvSpPr/>
                <p:nvPr/>
              </p:nvSpPr>
              <p:spPr>
                <a:xfrm>
                  <a:off x="5399333" y="2311805"/>
                  <a:ext cx="10472" cy="13455"/>
                </a:xfrm>
                <a:custGeom>
                  <a:avLst/>
                  <a:gdLst>
                    <a:gd name="connsiteX0" fmla="*/ 9771 w 10472"/>
                    <a:gd name="connsiteY0" fmla="*/ 13420 h 13455"/>
                    <a:gd name="connsiteX1" fmla="*/ 10310 w 10472"/>
                    <a:gd name="connsiteY1" fmla="*/ 13001 h 13455"/>
                    <a:gd name="connsiteX2" fmla="*/ 10011 w 10472"/>
                    <a:gd name="connsiteY2" fmla="*/ 11566 h 13455"/>
                    <a:gd name="connsiteX3" fmla="*/ 4209 w 10472"/>
                    <a:gd name="connsiteY3" fmla="*/ 7559 h 13455"/>
                    <a:gd name="connsiteX4" fmla="*/ 2056 w 10472"/>
                    <a:gd name="connsiteY4" fmla="*/ 860 h 13455"/>
                    <a:gd name="connsiteX5" fmla="*/ 860 w 10472"/>
                    <a:gd name="connsiteY5" fmla="*/ 23 h 13455"/>
                    <a:gd name="connsiteX6" fmla="*/ 23 w 10472"/>
                    <a:gd name="connsiteY6" fmla="*/ 1219 h 13455"/>
                    <a:gd name="connsiteX7" fmla="*/ 2834 w 10472"/>
                    <a:gd name="connsiteY7" fmla="*/ 9054 h 13455"/>
                    <a:gd name="connsiteX8" fmla="*/ 8934 w 10472"/>
                    <a:gd name="connsiteY8" fmla="*/ 13300 h 13455"/>
                    <a:gd name="connsiteX9" fmla="*/ 9771 w 10472"/>
                    <a:gd name="connsiteY9" fmla="*/ 13420 h 1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2" h="13455">
                      <a:moveTo>
                        <a:pt x="9771" y="13420"/>
                      </a:moveTo>
                      <a:cubicBezTo>
                        <a:pt x="9951" y="13360"/>
                        <a:pt x="10190" y="13181"/>
                        <a:pt x="10310" y="13001"/>
                      </a:cubicBezTo>
                      <a:cubicBezTo>
                        <a:pt x="10609" y="12523"/>
                        <a:pt x="10489" y="11865"/>
                        <a:pt x="10011" y="11566"/>
                      </a:cubicBezTo>
                      <a:cubicBezTo>
                        <a:pt x="8695" y="10728"/>
                        <a:pt x="5106" y="8396"/>
                        <a:pt x="4209" y="7559"/>
                      </a:cubicBezTo>
                      <a:cubicBezTo>
                        <a:pt x="3133" y="6542"/>
                        <a:pt x="2535" y="3611"/>
                        <a:pt x="2056" y="860"/>
                      </a:cubicBezTo>
                      <a:cubicBezTo>
                        <a:pt x="1936" y="262"/>
                        <a:pt x="1398" y="-97"/>
                        <a:pt x="860" y="23"/>
                      </a:cubicBezTo>
                      <a:cubicBezTo>
                        <a:pt x="262" y="143"/>
                        <a:pt x="-97" y="681"/>
                        <a:pt x="23" y="1219"/>
                      </a:cubicBezTo>
                      <a:cubicBezTo>
                        <a:pt x="681" y="5047"/>
                        <a:pt x="1398" y="7738"/>
                        <a:pt x="2834" y="9054"/>
                      </a:cubicBezTo>
                      <a:cubicBezTo>
                        <a:pt x="4030" y="10190"/>
                        <a:pt x="8456" y="13001"/>
                        <a:pt x="8934" y="13300"/>
                      </a:cubicBezTo>
                      <a:cubicBezTo>
                        <a:pt x="9173" y="13480"/>
                        <a:pt x="9532" y="13480"/>
                        <a:pt x="9771" y="1342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22" name="Vrije vorm: vorm 9121">
                  <a:extLst>
                    <a:ext uri="{FF2B5EF4-FFF2-40B4-BE49-F238E27FC236}">
                      <a16:creationId xmlns:a16="http://schemas.microsoft.com/office/drawing/2014/main" id="{FD61F012-C230-4920-8F69-86C567BED68A}"/>
                    </a:ext>
                  </a:extLst>
                </p:cNvPr>
                <p:cNvSpPr/>
                <p:nvPr/>
              </p:nvSpPr>
              <p:spPr>
                <a:xfrm>
                  <a:off x="5376149" y="2202702"/>
                  <a:ext cx="12859" cy="15155"/>
                </a:xfrm>
                <a:custGeom>
                  <a:avLst/>
                  <a:gdLst>
                    <a:gd name="connsiteX0" fmla="*/ 12860 w 12859"/>
                    <a:gd name="connsiteY0" fmla="*/ 2250 h 15155"/>
                    <a:gd name="connsiteX1" fmla="*/ 4128 w 12859"/>
                    <a:gd name="connsiteY1" fmla="*/ 5958 h 15155"/>
                    <a:gd name="connsiteX2" fmla="*/ 6700 w 12859"/>
                    <a:gd name="connsiteY2" fmla="*/ 14929 h 15155"/>
                    <a:gd name="connsiteX3" fmla="*/ 3051 w 12859"/>
                    <a:gd name="connsiteY3" fmla="*/ 13016 h 15155"/>
                    <a:gd name="connsiteX4" fmla="*/ 1556 w 12859"/>
                    <a:gd name="connsiteY4" fmla="*/ 2908 h 15155"/>
                    <a:gd name="connsiteX5" fmla="*/ 12860 w 12859"/>
                    <a:gd name="connsiteY5" fmla="*/ 2250 h 1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9" h="15155">
                      <a:moveTo>
                        <a:pt x="12860" y="2250"/>
                      </a:moveTo>
                      <a:cubicBezTo>
                        <a:pt x="7836" y="5300"/>
                        <a:pt x="4128" y="5958"/>
                        <a:pt x="4128" y="5958"/>
                      </a:cubicBezTo>
                      <a:cubicBezTo>
                        <a:pt x="4128" y="5958"/>
                        <a:pt x="6401" y="8829"/>
                        <a:pt x="6700" y="14929"/>
                      </a:cubicBezTo>
                      <a:cubicBezTo>
                        <a:pt x="6700" y="14929"/>
                        <a:pt x="5444" y="16126"/>
                        <a:pt x="3051" y="13016"/>
                      </a:cubicBezTo>
                      <a:cubicBezTo>
                        <a:pt x="659" y="9906"/>
                        <a:pt x="-1613" y="7035"/>
                        <a:pt x="1556" y="2908"/>
                      </a:cubicBezTo>
                      <a:cubicBezTo>
                        <a:pt x="4726" y="-1219"/>
                        <a:pt x="10169" y="-501"/>
                        <a:pt x="12860" y="2250"/>
                      </a:cubicBezTo>
                      <a:close/>
                    </a:path>
                  </a:pathLst>
                </a:custGeom>
                <a:grpFill/>
                <a:ln w="6350" cap="flat">
                  <a:solidFill>
                    <a:schemeClr val="bg1">
                      <a:alpha val="40000"/>
                    </a:schemeClr>
                  </a:solidFill>
                  <a:prstDash val="solid"/>
                  <a:miter/>
                </a:ln>
              </p:spPr>
              <p:txBody>
                <a:bodyPr rtlCol="0" anchor="ctr"/>
                <a:lstStyle/>
                <a:p>
                  <a:endParaRPr lang="en-GB"/>
                </a:p>
              </p:txBody>
            </p:sp>
            <p:grpSp>
              <p:nvGrpSpPr>
                <p:cNvPr id="9123" name="Graphic 3">
                  <a:extLst>
                    <a:ext uri="{FF2B5EF4-FFF2-40B4-BE49-F238E27FC236}">
                      <a16:creationId xmlns:a16="http://schemas.microsoft.com/office/drawing/2014/main" id="{B2F2406A-DEBE-471D-9656-D40A8FA2FFB2}"/>
                    </a:ext>
                  </a:extLst>
                </p:cNvPr>
                <p:cNvGrpSpPr/>
                <p:nvPr/>
              </p:nvGrpSpPr>
              <p:grpSpPr>
                <a:xfrm>
                  <a:off x="5383345" y="2225005"/>
                  <a:ext cx="8986" cy="21521"/>
                  <a:chOff x="5383345" y="2225005"/>
                  <a:chExt cx="8986" cy="21521"/>
                </a:xfrm>
                <a:grpFill/>
              </p:grpSpPr>
              <p:sp>
                <p:nvSpPr>
                  <p:cNvPr id="9124" name="Vrije vorm: vorm 9123">
                    <a:extLst>
                      <a:ext uri="{FF2B5EF4-FFF2-40B4-BE49-F238E27FC236}">
                        <a16:creationId xmlns:a16="http://schemas.microsoft.com/office/drawing/2014/main" id="{7792C1E6-CA87-45EB-997B-C7B43AE93A42}"/>
                      </a:ext>
                    </a:extLst>
                  </p:cNvPr>
                  <p:cNvSpPr/>
                  <p:nvPr/>
                </p:nvSpPr>
                <p:spPr>
                  <a:xfrm>
                    <a:off x="5384366" y="2225829"/>
                    <a:ext cx="7035" cy="19802"/>
                  </a:xfrm>
                  <a:custGeom>
                    <a:avLst/>
                    <a:gdLst>
                      <a:gd name="connsiteX0" fmla="*/ 6916 w 7035"/>
                      <a:gd name="connsiteY0" fmla="*/ 19673 h 19802"/>
                      <a:gd name="connsiteX1" fmla="*/ 756 w 7035"/>
                      <a:gd name="connsiteY1" fmla="*/ 9446 h 19802"/>
                      <a:gd name="connsiteX2" fmla="*/ 1234 w 7035"/>
                      <a:gd name="connsiteY2" fmla="*/ 176 h 19802"/>
                      <a:gd name="connsiteX3" fmla="*/ 6916 w 7035"/>
                      <a:gd name="connsiteY3" fmla="*/ 19673 h 19802"/>
                    </a:gdLst>
                    <a:ahLst/>
                    <a:cxnLst>
                      <a:cxn ang="0">
                        <a:pos x="connsiteX0" y="connsiteY0"/>
                      </a:cxn>
                      <a:cxn ang="0">
                        <a:pos x="connsiteX1" y="connsiteY1"/>
                      </a:cxn>
                      <a:cxn ang="0">
                        <a:pos x="connsiteX2" y="connsiteY2"/>
                      </a:cxn>
                      <a:cxn ang="0">
                        <a:pos x="connsiteX3" y="connsiteY3"/>
                      </a:cxn>
                    </a:cxnLst>
                    <a:rect l="l" t="t" r="r" b="b"/>
                    <a:pathLst>
                      <a:path w="7035" h="19802">
                        <a:moveTo>
                          <a:pt x="6916" y="19673"/>
                        </a:moveTo>
                        <a:cubicBezTo>
                          <a:pt x="5959" y="17580"/>
                          <a:pt x="2191" y="13812"/>
                          <a:pt x="756" y="9446"/>
                        </a:cubicBezTo>
                        <a:cubicBezTo>
                          <a:pt x="-321" y="6097"/>
                          <a:pt x="-321" y="2568"/>
                          <a:pt x="1234" y="176"/>
                        </a:cubicBezTo>
                        <a:cubicBezTo>
                          <a:pt x="2849" y="-2276"/>
                          <a:pt x="7873" y="21766"/>
                          <a:pt x="6916" y="1967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25" name="Vrije vorm: vorm 9124">
                    <a:extLst>
                      <a:ext uri="{FF2B5EF4-FFF2-40B4-BE49-F238E27FC236}">
                        <a16:creationId xmlns:a16="http://schemas.microsoft.com/office/drawing/2014/main" id="{1FBF0730-679D-416D-894E-5D1BFDE01527}"/>
                      </a:ext>
                    </a:extLst>
                  </p:cNvPr>
                  <p:cNvSpPr/>
                  <p:nvPr/>
                </p:nvSpPr>
                <p:spPr>
                  <a:xfrm>
                    <a:off x="5383345" y="2225005"/>
                    <a:ext cx="8986" cy="21521"/>
                  </a:xfrm>
                  <a:custGeom>
                    <a:avLst/>
                    <a:gdLst>
                      <a:gd name="connsiteX0" fmla="*/ 8295 w 8986"/>
                      <a:gd name="connsiteY0" fmla="*/ 21454 h 21521"/>
                      <a:gd name="connsiteX1" fmla="*/ 8355 w 8986"/>
                      <a:gd name="connsiteY1" fmla="*/ 21395 h 21521"/>
                      <a:gd name="connsiteX2" fmla="*/ 8893 w 8986"/>
                      <a:gd name="connsiteY2" fmla="*/ 20019 h 21521"/>
                      <a:gd name="connsiteX3" fmla="*/ 6860 w 8986"/>
                      <a:gd name="connsiteY3" fmla="*/ 16969 h 21521"/>
                      <a:gd name="connsiteX4" fmla="*/ 2793 w 8986"/>
                      <a:gd name="connsiteY4" fmla="*/ 9971 h 21521"/>
                      <a:gd name="connsiteX5" fmla="*/ 3152 w 8986"/>
                      <a:gd name="connsiteY5" fmla="*/ 1598 h 21521"/>
                      <a:gd name="connsiteX6" fmla="*/ 2853 w 8986"/>
                      <a:gd name="connsiteY6" fmla="*/ 163 h 21521"/>
                      <a:gd name="connsiteX7" fmla="*/ 1417 w 8986"/>
                      <a:gd name="connsiteY7" fmla="*/ 462 h 21521"/>
                      <a:gd name="connsiteX8" fmla="*/ 819 w 8986"/>
                      <a:gd name="connsiteY8" fmla="*/ 10629 h 21521"/>
                      <a:gd name="connsiteX9" fmla="*/ 5185 w 8986"/>
                      <a:gd name="connsiteY9" fmla="*/ 18225 h 21521"/>
                      <a:gd name="connsiteX10" fmla="*/ 6979 w 8986"/>
                      <a:gd name="connsiteY10" fmla="*/ 20916 h 21521"/>
                      <a:gd name="connsiteX11" fmla="*/ 8295 w 8986"/>
                      <a:gd name="connsiteY11" fmla="*/ 21454 h 21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86" h="21521">
                        <a:moveTo>
                          <a:pt x="8295" y="21454"/>
                        </a:moveTo>
                        <a:cubicBezTo>
                          <a:pt x="8295" y="21454"/>
                          <a:pt x="8355" y="21454"/>
                          <a:pt x="8355" y="21395"/>
                        </a:cubicBezTo>
                        <a:cubicBezTo>
                          <a:pt x="8893" y="21155"/>
                          <a:pt x="9132" y="20557"/>
                          <a:pt x="8893" y="20019"/>
                        </a:cubicBezTo>
                        <a:cubicBezTo>
                          <a:pt x="8535" y="19182"/>
                          <a:pt x="7757" y="18165"/>
                          <a:pt x="6860" y="16969"/>
                        </a:cubicBezTo>
                        <a:cubicBezTo>
                          <a:pt x="5424" y="14995"/>
                          <a:pt x="3630" y="12543"/>
                          <a:pt x="2793" y="9971"/>
                        </a:cubicBezTo>
                        <a:cubicBezTo>
                          <a:pt x="1716" y="6682"/>
                          <a:pt x="1896" y="3572"/>
                          <a:pt x="3152" y="1598"/>
                        </a:cubicBezTo>
                        <a:cubicBezTo>
                          <a:pt x="3451" y="1120"/>
                          <a:pt x="3331" y="462"/>
                          <a:pt x="2853" y="163"/>
                        </a:cubicBezTo>
                        <a:cubicBezTo>
                          <a:pt x="2374" y="-136"/>
                          <a:pt x="1716" y="-16"/>
                          <a:pt x="1417" y="462"/>
                        </a:cubicBezTo>
                        <a:cubicBezTo>
                          <a:pt x="-257" y="3034"/>
                          <a:pt x="-437" y="6742"/>
                          <a:pt x="819" y="10629"/>
                        </a:cubicBezTo>
                        <a:cubicBezTo>
                          <a:pt x="1776" y="13560"/>
                          <a:pt x="3690" y="16132"/>
                          <a:pt x="5185" y="18225"/>
                        </a:cubicBezTo>
                        <a:cubicBezTo>
                          <a:pt x="5962" y="19301"/>
                          <a:pt x="6681" y="20258"/>
                          <a:pt x="6979" y="20916"/>
                        </a:cubicBezTo>
                        <a:cubicBezTo>
                          <a:pt x="7219" y="21454"/>
                          <a:pt x="7816" y="21634"/>
                          <a:pt x="8295" y="21454"/>
                        </a:cubicBezTo>
                        <a:close/>
                      </a:path>
                    </a:pathLst>
                  </a:custGeom>
                  <a:grpFill/>
                  <a:ln w="6350" cap="flat">
                    <a:solidFill>
                      <a:schemeClr val="bg1">
                        <a:alpha val="40000"/>
                      </a:schemeClr>
                    </a:solidFill>
                    <a:prstDash val="solid"/>
                    <a:miter/>
                  </a:ln>
                </p:spPr>
                <p:txBody>
                  <a:bodyPr rtlCol="0" anchor="ctr"/>
                  <a:lstStyle/>
                  <a:p>
                    <a:endParaRPr lang="en-GB"/>
                  </a:p>
                </p:txBody>
              </p:sp>
            </p:grpSp>
          </p:grpSp>
          <p:grpSp>
            <p:nvGrpSpPr>
              <p:cNvPr id="9061" name="Graphic 3">
                <a:extLst>
                  <a:ext uri="{FF2B5EF4-FFF2-40B4-BE49-F238E27FC236}">
                    <a16:creationId xmlns:a16="http://schemas.microsoft.com/office/drawing/2014/main" id="{7FA6D58E-A65B-491C-A5B8-81CB8A6DF627}"/>
                  </a:ext>
                </a:extLst>
              </p:cNvPr>
              <p:cNvGrpSpPr/>
              <p:nvPr/>
            </p:nvGrpSpPr>
            <p:grpSpPr>
              <a:xfrm>
                <a:off x="5777326" y="1884581"/>
                <a:ext cx="84344" cy="128116"/>
                <a:chOff x="5777326" y="1884581"/>
                <a:chExt cx="84344" cy="128116"/>
              </a:xfrm>
              <a:grpFill/>
            </p:grpSpPr>
            <p:sp>
              <p:nvSpPr>
                <p:cNvPr id="9093" name="Vrije vorm: vorm 9092">
                  <a:extLst>
                    <a:ext uri="{FF2B5EF4-FFF2-40B4-BE49-F238E27FC236}">
                      <a16:creationId xmlns:a16="http://schemas.microsoft.com/office/drawing/2014/main" id="{C815BF1C-0A87-4B39-92ED-181EAA5E6289}"/>
                    </a:ext>
                  </a:extLst>
                </p:cNvPr>
                <p:cNvSpPr/>
                <p:nvPr/>
              </p:nvSpPr>
              <p:spPr>
                <a:xfrm>
                  <a:off x="5793419" y="1884581"/>
                  <a:ext cx="18600" cy="26497"/>
                </a:xfrm>
                <a:custGeom>
                  <a:avLst/>
                  <a:gdLst>
                    <a:gd name="connsiteX0" fmla="*/ 15197 w 18600"/>
                    <a:gd name="connsiteY0" fmla="*/ 26419 h 26497"/>
                    <a:gd name="connsiteX1" fmla="*/ 14120 w 18600"/>
                    <a:gd name="connsiteY1" fmla="*/ 26300 h 26497"/>
                    <a:gd name="connsiteX2" fmla="*/ 13941 w 18600"/>
                    <a:gd name="connsiteY2" fmla="*/ 24804 h 26497"/>
                    <a:gd name="connsiteX3" fmla="*/ 11429 w 18600"/>
                    <a:gd name="connsiteY3" fmla="*/ 6085 h 26497"/>
                    <a:gd name="connsiteX4" fmla="*/ 1262 w 18600"/>
                    <a:gd name="connsiteY4" fmla="*/ 2496 h 26497"/>
                    <a:gd name="connsiteX5" fmla="*/ 6 w 18600"/>
                    <a:gd name="connsiteY5" fmla="*/ 1659 h 26497"/>
                    <a:gd name="connsiteX6" fmla="*/ 1023 w 18600"/>
                    <a:gd name="connsiteY6" fmla="*/ 403 h 26497"/>
                    <a:gd name="connsiteX7" fmla="*/ 13402 w 18600"/>
                    <a:gd name="connsiteY7" fmla="*/ 4889 h 26497"/>
                    <a:gd name="connsiteX8" fmla="*/ 15735 w 18600"/>
                    <a:gd name="connsiteY8" fmla="*/ 26001 h 26497"/>
                    <a:gd name="connsiteX9" fmla="*/ 15197 w 18600"/>
                    <a:gd name="connsiteY9" fmla="*/ 26419 h 2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00" h="26497">
                      <a:moveTo>
                        <a:pt x="15197" y="26419"/>
                      </a:moveTo>
                      <a:cubicBezTo>
                        <a:pt x="14838" y="26539"/>
                        <a:pt x="14419" y="26539"/>
                        <a:pt x="14120" y="26300"/>
                      </a:cubicBezTo>
                      <a:cubicBezTo>
                        <a:pt x="13642" y="25941"/>
                        <a:pt x="13522" y="25283"/>
                        <a:pt x="13941" y="24804"/>
                      </a:cubicBezTo>
                      <a:cubicBezTo>
                        <a:pt x="19383" y="18226"/>
                        <a:pt x="14180" y="10331"/>
                        <a:pt x="11429" y="6085"/>
                      </a:cubicBezTo>
                      <a:cubicBezTo>
                        <a:pt x="8499" y="1659"/>
                        <a:pt x="5628" y="1779"/>
                        <a:pt x="1262" y="2496"/>
                      </a:cubicBezTo>
                      <a:cubicBezTo>
                        <a:pt x="664" y="2616"/>
                        <a:pt x="66" y="2197"/>
                        <a:pt x="6" y="1659"/>
                      </a:cubicBezTo>
                      <a:cubicBezTo>
                        <a:pt x="-54" y="1061"/>
                        <a:pt x="365" y="523"/>
                        <a:pt x="1023" y="403"/>
                      </a:cubicBezTo>
                      <a:cubicBezTo>
                        <a:pt x="5867" y="-374"/>
                        <a:pt x="9874" y="-554"/>
                        <a:pt x="13402" y="4889"/>
                      </a:cubicBezTo>
                      <a:cubicBezTo>
                        <a:pt x="16214" y="9254"/>
                        <a:pt x="22134" y="18285"/>
                        <a:pt x="15735" y="26001"/>
                      </a:cubicBezTo>
                      <a:cubicBezTo>
                        <a:pt x="15556" y="26240"/>
                        <a:pt x="15376" y="26359"/>
                        <a:pt x="15197" y="2641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94" name="Vrije vorm: vorm 9093">
                  <a:extLst>
                    <a:ext uri="{FF2B5EF4-FFF2-40B4-BE49-F238E27FC236}">
                      <a16:creationId xmlns:a16="http://schemas.microsoft.com/office/drawing/2014/main" id="{F6790CFD-1D3C-42DE-821A-3B9864C7B600}"/>
                    </a:ext>
                  </a:extLst>
                </p:cNvPr>
                <p:cNvSpPr/>
                <p:nvPr/>
              </p:nvSpPr>
              <p:spPr>
                <a:xfrm>
                  <a:off x="5786488" y="1884932"/>
                  <a:ext cx="9192" cy="23615"/>
                </a:xfrm>
                <a:custGeom>
                  <a:avLst/>
                  <a:gdLst>
                    <a:gd name="connsiteX0" fmla="*/ 7057 w 9192"/>
                    <a:gd name="connsiteY0" fmla="*/ 23556 h 23615"/>
                    <a:gd name="connsiteX1" fmla="*/ 6579 w 9192"/>
                    <a:gd name="connsiteY1" fmla="*/ 23616 h 23615"/>
                    <a:gd name="connsiteX2" fmla="*/ 0 w 9192"/>
                    <a:gd name="connsiteY2" fmla="*/ 10159 h 23615"/>
                    <a:gd name="connsiteX3" fmla="*/ 7775 w 9192"/>
                    <a:gd name="connsiteY3" fmla="*/ 52 h 23615"/>
                    <a:gd name="connsiteX4" fmla="*/ 9150 w 9192"/>
                    <a:gd name="connsiteY4" fmla="*/ 769 h 23615"/>
                    <a:gd name="connsiteX5" fmla="*/ 8313 w 9192"/>
                    <a:gd name="connsiteY5" fmla="*/ 2085 h 23615"/>
                    <a:gd name="connsiteX6" fmla="*/ 2273 w 9192"/>
                    <a:gd name="connsiteY6" fmla="*/ 10040 h 23615"/>
                    <a:gd name="connsiteX7" fmla="*/ 6818 w 9192"/>
                    <a:gd name="connsiteY7" fmla="*/ 21522 h 23615"/>
                    <a:gd name="connsiteX8" fmla="*/ 7835 w 9192"/>
                    <a:gd name="connsiteY8" fmla="*/ 22659 h 23615"/>
                    <a:gd name="connsiteX9" fmla="*/ 7057 w 9192"/>
                    <a:gd name="connsiteY9" fmla="*/ 23556 h 2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92" h="23615">
                      <a:moveTo>
                        <a:pt x="7057" y="23556"/>
                      </a:moveTo>
                      <a:cubicBezTo>
                        <a:pt x="6878" y="23616"/>
                        <a:pt x="6758" y="23616"/>
                        <a:pt x="6579" y="23616"/>
                      </a:cubicBezTo>
                      <a:cubicBezTo>
                        <a:pt x="1674" y="23317"/>
                        <a:pt x="0" y="14286"/>
                        <a:pt x="0" y="10159"/>
                      </a:cubicBezTo>
                      <a:cubicBezTo>
                        <a:pt x="0" y="5255"/>
                        <a:pt x="2930" y="1427"/>
                        <a:pt x="7775" y="52"/>
                      </a:cubicBezTo>
                      <a:cubicBezTo>
                        <a:pt x="8373" y="-128"/>
                        <a:pt x="9031" y="171"/>
                        <a:pt x="9150" y="769"/>
                      </a:cubicBezTo>
                      <a:cubicBezTo>
                        <a:pt x="9330" y="1308"/>
                        <a:pt x="8911" y="1906"/>
                        <a:pt x="8313" y="2085"/>
                      </a:cubicBezTo>
                      <a:cubicBezTo>
                        <a:pt x="2871" y="3640"/>
                        <a:pt x="2273" y="8185"/>
                        <a:pt x="2273" y="10040"/>
                      </a:cubicBezTo>
                      <a:cubicBezTo>
                        <a:pt x="2273" y="14525"/>
                        <a:pt x="4067" y="21343"/>
                        <a:pt x="6818" y="21522"/>
                      </a:cubicBezTo>
                      <a:cubicBezTo>
                        <a:pt x="7416" y="21582"/>
                        <a:pt x="7895" y="22061"/>
                        <a:pt x="7835" y="22659"/>
                      </a:cubicBezTo>
                      <a:cubicBezTo>
                        <a:pt x="7775" y="23078"/>
                        <a:pt x="7416" y="23436"/>
                        <a:pt x="7057" y="2355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95" name="Vrije vorm: vorm 9094">
                  <a:extLst>
                    <a:ext uri="{FF2B5EF4-FFF2-40B4-BE49-F238E27FC236}">
                      <a16:creationId xmlns:a16="http://schemas.microsoft.com/office/drawing/2014/main" id="{E2A609BC-FE5D-43D7-8E2C-4A494B0B1F16}"/>
                    </a:ext>
                  </a:extLst>
                </p:cNvPr>
                <p:cNvSpPr/>
                <p:nvPr/>
              </p:nvSpPr>
              <p:spPr>
                <a:xfrm>
                  <a:off x="5787344" y="1890316"/>
                  <a:ext cx="15331" cy="20355"/>
                </a:xfrm>
                <a:custGeom>
                  <a:avLst/>
                  <a:gdLst>
                    <a:gd name="connsiteX0" fmla="*/ 12660 w 15331"/>
                    <a:gd name="connsiteY0" fmla="*/ 20266 h 20355"/>
                    <a:gd name="connsiteX1" fmla="*/ 11823 w 15331"/>
                    <a:gd name="connsiteY1" fmla="*/ 20266 h 20355"/>
                    <a:gd name="connsiteX2" fmla="*/ 11284 w 15331"/>
                    <a:gd name="connsiteY2" fmla="*/ 18891 h 20355"/>
                    <a:gd name="connsiteX3" fmla="*/ 12421 w 15331"/>
                    <a:gd name="connsiteY3" fmla="*/ 4896 h 20355"/>
                    <a:gd name="connsiteX4" fmla="*/ 400 w 15331"/>
                    <a:gd name="connsiteY4" fmla="*/ 1905 h 20355"/>
                    <a:gd name="connsiteX5" fmla="*/ 280 w 15331"/>
                    <a:gd name="connsiteY5" fmla="*/ 410 h 20355"/>
                    <a:gd name="connsiteX6" fmla="*/ 1895 w 15331"/>
                    <a:gd name="connsiteY6" fmla="*/ 231 h 20355"/>
                    <a:gd name="connsiteX7" fmla="*/ 13438 w 15331"/>
                    <a:gd name="connsiteY7" fmla="*/ 2802 h 20355"/>
                    <a:gd name="connsiteX8" fmla="*/ 14574 w 15331"/>
                    <a:gd name="connsiteY8" fmla="*/ 3640 h 20355"/>
                    <a:gd name="connsiteX9" fmla="*/ 13378 w 15331"/>
                    <a:gd name="connsiteY9" fmla="*/ 19728 h 20355"/>
                    <a:gd name="connsiteX10" fmla="*/ 12660 w 15331"/>
                    <a:gd name="connsiteY10" fmla="*/ 20266 h 2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31" h="20355">
                      <a:moveTo>
                        <a:pt x="12660" y="20266"/>
                      </a:moveTo>
                      <a:cubicBezTo>
                        <a:pt x="12421" y="20386"/>
                        <a:pt x="12122" y="20386"/>
                        <a:pt x="11823" y="20266"/>
                      </a:cubicBezTo>
                      <a:cubicBezTo>
                        <a:pt x="11225" y="20027"/>
                        <a:pt x="10985" y="19429"/>
                        <a:pt x="11284" y="18891"/>
                      </a:cubicBezTo>
                      <a:cubicBezTo>
                        <a:pt x="13557" y="14166"/>
                        <a:pt x="13198" y="9381"/>
                        <a:pt x="12421" y="4896"/>
                      </a:cubicBezTo>
                      <a:cubicBezTo>
                        <a:pt x="7457" y="4955"/>
                        <a:pt x="3031" y="3879"/>
                        <a:pt x="400" y="1905"/>
                      </a:cubicBezTo>
                      <a:cubicBezTo>
                        <a:pt x="-79" y="1546"/>
                        <a:pt x="-139" y="889"/>
                        <a:pt x="280" y="410"/>
                      </a:cubicBezTo>
                      <a:cubicBezTo>
                        <a:pt x="699" y="-68"/>
                        <a:pt x="1416" y="-128"/>
                        <a:pt x="1895" y="231"/>
                      </a:cubicBezTo>
                      <a:cubicBezTo>
                        <a:pt x="4287" y="2025"/>
                        <a:pt x="8593" y="2982"/>
                        <a:pt x="13438" y="2802"/>
                      </a:cubicBezTo>
                      <a:cubicBezTo>
                        <a:pt x="13976" y="2802"/>
                        <a:pt x="14454" y="3101"/>
                        <a:pt x="14574" y="3640"/>
                      </a:cubicBezTo>
                      <a:cubicBezTo>
                        <a:pt x="15471" y="8723"/>
                        <a:pt x="16069" y="14106"/>
                        <a:pt x="13378" y="19728"/>
                      </a:cubicBezTo>
                      <a:cubicBezTo>
                        <a:pt x="13198" y="19967"/>
                        <a:pt x="12959" y="20206"/>
                        <a:pt x="12660" y="2026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96" name="Vrije vorm: vorm 9095">
                  <a:extLst>
                    <a:ext uri="{FF2B5EF4-FFF2-40B4-BE49-F238E27FC236}">
                      <a16:creationId xmlns:a16="http://schemas.microsoft.com/office/drawing/2014/main" id="{9126C8A4-420D-46C7-BE89-B37B09285F37}"/>
                    </a:ext>
                  </a:extLst>
                </p:cNvPr>
                <p:cNvSpPr/>
                <p:nvPr/>
              </p:nvSpPr>
              <p:spPr>
                <a:xfrm>
                  <a:off x="5792896" y="1901207"/>
                  <a:ext cx="17228" cy="30489"/>
                </a:xfrm>
                <a:custGeom>
                  <a:avLst/>
                  <a:gdLst>
                    <a:gd name="connsiteX0" fmla="*/ 6928 w 17228"/>
                    <a:gd name="connsiteY0" fmla="*/ 30187 h 30489"/>
                    <a:gd name="connsiteX1" fmla="*/ 3041 w 17228"/>
                    <a:gd name="connsiteY1" fmla="*/ 29649 h 30489"/>
                    <a:gd name="connsiteX2" fmla="*/ 230 w 17228"/>
                    <a:gd name="connsiteY2" fmla="*/ 10152 h 30489"/>
                    <a:gd name="connsiteX3" fmla="*/ 6809 w 17228"/>
                    <a:gd name="connsiteY3" fmla="*/ 104 h 30489"/>
                    <a:gd name="connsiteX4" fmla="*/ 9560 w 17228"/>
                    <a:gd name="connsiteY4" fmla="*/ 1001 h 30489"/>
                    <a:gd name="connsiteX5" fmla="*/ 7885 w 17228"/>
                    <a:gd name="connsiteY5" fmla="*/ 8417 h 30489"/>
                    <a:gd name="connsiteX6" fmla="*/ 9141 w 17228"/>
                    <a:gd name="connsiteY6" fmla="*/ 19781 h 30489"/>
                    <a:gd name="connsiteX7" fmla="*/ 8244 w 17228"/>
                    <a:gd name="connsiteY7" fmla="*/ 21097 h 30489"/>
                    <a:gd name="connsiteX8" fmla="*/ 6928 w 17228"/>
                    <a:gd name="connsiteY8" fmla="*/ 20319 h 30489"/>
                    <a:gd name="connsiteX9" fmla="*/ 5613 w 17228"/>
                    <a:gd name="connsiteY9" fmla="*/ 8477 h 30489"/>
                    <a:gd name="connsiteX10" fmla="*/ 5672 w 17228"/>
                    <a:gd name="connsiteY10" fmla="*/ 8058 h 30489"/>
                    <a:gd name="connsiteX11" fmla="*/ 7467 w 17228"/>
                    <a:gd name="connsiteY11" fmla="*/ 2138 h 30489"/>
                    <a:gd name="connsiteX12" fmla="*/ 6390 w 17228"/>
                    <a:gd name="connsiteY12" fmla="*/ 2616 h 30489"/>
                    <a:gd name="connsiteX13" fmla="*/ 2503 w 17228"/>
                    <a:gd name="connsiteY13" fmla="*/ 10152 h 30489"/>
                    <a:gd name="connsiteX14" fmla="*/ 4596 w 17228"/>
                    <a:gd name="connsiteY14" fmla="*/ 28034 h 30489"/>
                    <a:gd name="connsiteX15" fmla="*/ 6629 w 17228"/>
                    <a:gd name="connsiteY15" fmla="*/ 28034 h 30489"/>
                    <a:gd name="connsiteX16" fmla="*/ 14943 w 17228"/>
                    <a:gd name="connsiteY16" fmla="*/ 12424 h 30489"/>
                    <a:gd name="connsiteX17" fmla="*/ 13507 w 17228"/>
                    <a:gd name="connsiteY17" fmla="*/ 10152 h 30489"/>
                    <a:gd name="connsiteX18" fmla="*/ 11235 w 17228"/>
                    <a:gd name="connsiteY18" fmla="*/ 10511 h 30489"/>
                    <a:gd name="connsiteX19" fmla="*/ 9620 w 17228"/>
                    <a:gd name="connsiteY19" fmla="*/ 10570 h 30489"/>
                    <a:gd name="connsiteX20" fmla="*/ 9620 w 17228"/>
                    <a:gd name="connsiteY20" fmla="*/ 9075 h 30489"/>
                    <a:gd name="connsiteX21" fmla="*/ 14105 w 17228"/>
                    <a:gd name="connsiteY21" fmla="*/ 8058 h 30489"/>
                    <a:gd name="connsiteX22" fmla="*/ 17155 w 17228"/>
                    <a:gd name="connsiteY22" fmla="*/ 12006 h 30489"/>
                    <a:gd name="connsiteX23" fmla="*/ 7586 w 17228"/>
                    <a:gd name="connsiteY23" fmla="*/ 29888 h 30489"/>
                    <a:gd name="connsiteX24" fmla="*/ 6928 w 17228"/>
                    <a:gd name="connsiteY24" fmla="*/ 30187 h 3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228" h="30489">
                      <a:moveTo>
                        <a:pt x="6928" y="30187"/>
                      </a:moveTo>
                      <a:cubicBezTo>
                        <a:pt x="5493" y="30725"/>
                        <a:pt x="4117" y="30546"/>
                        <a:pt x="3041" y="29649"/>
                      </a:cubicBezTo>
                      <a:cubicBezTo>
                        <a:pt x="-548" y="26659"/>
                        <a:pt x="-129" y="14996"/>
                        <a:pt x="230" y="10152"/>
                      </a:cubicBezTo>
                      <a:cubicBezTo>
                        <a:pt x="649" y="4350"/>
                        <a:pt x="4416" y="702"/>
                        <a:pt x="6809" y="104"/>
                      </a:cubicBezTo>
                      <a:cubicBezTo>
                        <a:pt x="8005" y="-195"/>
                        <a:pt x="9022" y="164"/>
                        <a:pt x="9560" y="1001"/>
                      </a:cubicBezTo>
                      <a:cubicBezTo>
                        <a:pt x="9739" y="1360"/>
                        <a:pt x="10277" y="2257"/>
                        <a:pt x="7885" y="8417"/>
                      </a:cubicBezTo>
                      <a:cubicBezTo>
                        <a:pt x="8005" y="9733"/>
                        <a:pt x="8483" y="16731"/>
                        <a:pt x="9141" y="19781"/>
                      </a:cubicBezTo>
                      <a:cubicBezTo>
                        <a:pt x="9261" y="20319"/>
                        <a:pt x="8842" y="20917"/>
                        <a:pt x="8244" y="21097"/>
                      </a:cubicBezTo>
                      <a:cubicBezTo>
                        <a:pt x="7646" y="21216"/>
                        <a:pt x="7048" y="20917"/>
                        <a:pt x="6928" y="20319"/>
                      </a:cubicBezTo>
                      <a:cubicBezTo>
                        <a:pt x="6211" y="16850"/>
                        <a:pt x="5672" y="8776"/>
                        <a:pt x="5613" y="8477"/>
                      </a:cubicBezTo>
                      <a:cubicBezTo>
                        <a:pt x="5613" y="8358"/>
                        <a:pt x="5613" y="8178"/>
                        <a:pt x="5672" y="8058"/>
                      </a:cubicBezTo>
                      <a:cubicBezTo>
                        <a:pt x="6569" y="5786"/>
                        <a:pt x="7467" y="2975"/>
                        <a:pt x="7467" y="2138"/>
                      </a:cubicBezTo>
                      <a:cubicBezTo>
                        <a:pt x="7347" y="2138"/>
                        <a:pt x="6988" y="2197"/>
                        <a:pt x="6390" y="2616"/>
                      </a:cubicBezTo>
                      <a:cubicBezTo>
                        <a:pt x="4655" y="3752"/>
                        <a:pt x="2742" y="6563"/>
                        <a:pt x="2503" y="10152"/>
                      </a:cubicBezTo>
                      <a:cubicBezTo>
                        <a:pt x="1845" y="19362"/>
                        <a:pt x="2682" y="26359"/>
                        <a:pt x="4596" y="28034"/>
                      </a:cubicBezTo>
                      <a:cubicBezTo>
                        <a:pt x="4954" y="28333"/>
                        <a:pt x="5493" y="28632"/>
                        <a:pt x="6629" y="28034"/>
                      </a:cubicBezTo>
                      <a:cubicBezTo>
                        <a:pt x="10517" y="26001"/>
                        <a:pt x="15540" y="16491"/>
                        <a:pt x="14943" y="12424"/>
                      </a:cubicBezTo>
                      <a:cubicBezTo>
                        <a:pt x="14763" y="11168"/>
                        <a:pt x="14285" y="10391"/>
                        <a:pt x="13507" y="10152"/>
                      </a:cubicBezTo>
                      <a:cubicBezTo>
                        <a:pt x="12610" y="9853"/>
                        <a:pt x="11474" y="10331"/>
                        <a:pt x="11235" y="10511"/>
                      </a:cubicBezTo>
                      <a:cubicBezTo>
                        <a:pt x="10816" y="10929"/>
                        <a:pt x="10098" y="10989"/>
                        <a:pt x="9620" y="10570"/>
                      </a:cubicBezTo>
                      <a:cubicBezTo>
                        <a:pt x="9201" y="10212"/>
                        <a:pt x="9201" y="9494"/>
                        <a:pt x="9620" y="9075"/>
                      </a:cubicBezTo>
                      <a:cubicBezTo>
                        <a:pt x="10218" y="8477"/>
                        <a:pt x="12191" y="7580"/>
                        <a:pt x="14105" y="8058"/>
                      </a:cubicBezTo>
                      <a:cubicBezTo>
                        <a:pt x="15241" y="8358"/>
                        <a:pt x="16737" y="9255"/>
                        <a:pt x="17155" y="12006"/>
                      </a:cubicBezTo>
                      <a:cubicBezTo>
                        <a:pt x="17933" y="17030"/>
                        <a:pt x="12371" y="27316"/>
                        <a:pt x="7586" y="29888"/>
                      </a:cubicBezTo>
                      <a:cubicBezTo>
                        <a:pt x="7467" y="30008"/>
                        <a:pt x="7168" y="30127"/>
                        <a:pt x="6928" y="3018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97" name="Vrije vorm: vorm 9096">
                  <a:extLst>
                    <a:ext uri="{FF2B5EF4-FFF2-40B4-BE49-F238E27FC236}">
                      <a16:creationId xmlns:a16="http://schemas.microsoft.com/office/drawing/2014/main" id="{7C78C4DC-7C95-4A61-8644-29C16CC74693}"/>
                    </a:ext>
                  </a:extLst>
                </p:cNvPr>
                <p:cNvSpPr/>
                <p:nvPr/>
              </p:nvSpPr>
              <p:spPr>
                <a:xfrm>
                  <a:off x="5804208" y="1915719"/>
                  <a:ext cx="17711" cy="96977"/>
                </a:xfrm>
                <a:custGeom>
                  <a:avLst/>
                  <a:gdLst>
                    <a:gd name="connsiteX0" fmla="*/ 16130 w 17711"/>
                    <a:gd name="connsiteY0" fmla="*/ 96893 h 96977"/>
                    <a:gd name="connsiteX1" fmla="*/ 15532 w 17711"/>
                    <a:gd name="connsiteY1" fmla="*/ 96953 h 96977"/>
                    <a:gd name="connsiteX2" fmla="*/ 879 w 17711"/>
                    <a:gd name="connsiteY2" fmla="*/ 94740 h 96977"/>
                    <a:gd name="connsiteX3" fmla="*/ 42 w 17711"/>
                    <a:gd name="connsiteY3" fmla="*/ 93544 h 96977"/>
                    <a:gd name="connsiteX4" fmla="*/ 1418 w 17711"/>
                    <a:gd name="connsiteY4" fmla="*/ 92647 h 96977"/>
                    <a:gd name="connsiteX5" fmla="*/ 14635 w 17711"/>
                    <a:gd name="connsiteY5" fmla="*/ 94621 h 96977"/>
                    <a:gd name="connsiteX6" fmla="*/ 14635 w 17711"/>
                    <a:gd name="connsiteY6" fmla="*/ 82360 h 96977"/>
                    <a:gd name="connsiteX7" fmla="*/ 13259 w 17711"/>
                    <a:gd name="connsiteY7" fmla="*/ 54610 h 96977"/>
                    <a:gd name="connsiteX8" fmla="*/ 14515 w 17711"/>
                    <a:gd name="connsiteY8" fmla="*/ 38522 h 96977"/>
                    <a:gd name="connsiteX9" fmla="*/ 15352 w 17711"/>
                    <a:gd name="connsiteY9" fmla="*/ 32660 h 96977"/>
                    <a:gd name="connsiteX10" fmla="*/ 9073 w 17711"/>
                    <a:gd name="connsiteY10" fmla="*/ 20400 h 96977"/>
                    <a:gd name="connsiteX11" fmla="*/ 3571 w 17711"/>
                    <a:gd name="connsiteY11" fmla="*/ 1142 h 96977"/>
                    <a:gd name="connsiteX12" fmla="*/ 4647 w 17711"/>
                    <a:gd name="connsiteY12" fmla="*/ 6 h 96977"/>
                    <a:gd name="connsiteX13" fmla="*/ 5843 w 17711"/>
                    <a:gd name="connsiteY13" fmla="*/ 963 h 96977"/>
                    <a:gd name="connsiteX14" fmla="*/ 10568 w 17711"/>
                    <a:gd name="connsiteY14" fmla="*/ 18725 h 96977"/>
                    <a:gd name="connsiteX15" fmla="*/ 17625 w 17711"/>
                    <a:gd name="connsiteY15" fmla="*/ 32780 h 96977"/>
                    <a:gd name="connsiteX16" fmla="*/ 16788 w 17711"/>
                    <a:gd name="connsiteY16" fmla="*/ 38701 h 96977"/>
                    <a:gd name="connsiteX17" fmla="*/ 15592 w 17711"/>
                    <a:gd name="connsiteY17" fmla="*/ 54311 h 96977"/>
                    <a:gd name="connsiteX18" fmla="*/ 17027 w 17711"/>
                    <a:gd name="connsiteY18" fmla="*/ 82360 h 96977"/>
                    <a:gd name="connsiteX19" fmla="*/ 17087 w 17711"/>
                    <a:gd name="connsiteY19" fmla="*/ 95817 h 96977"/>
                    <a:gd name="connsiteX20" fmla="*/ 16668 w 17711"/>
                    <a:gd name="connsiteY20" fmla="*/ 96714 h 96977"/>
                    <a:gd name="connsiteX21" fmla="*/ 16130 w 17711"/>
                    <a:gd name="connsiteY21" fmla="*/ 96893 h 9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711" h="96977">
                      <a:moveTo>
                        <a:pt x="16130" y="96893"/>
                      </a:moveTo>
                      <a:cubicBezTo>
                        <a:pt x="15951" y="96953"/>
                        <a:pt x="15711" y="97013"/>
                        <a:pt x="15532" y="96953"/>
                      </a:cubicBezTo>
                      <a:lnTo>
                        <a:pt x="879" y="94740"/>
                      </a:lnTo>
                      <a:cubicBezTo>
                        <a:pt x="281" y="94621"/>
                        <a:pt x="-137" y="94082"/>
                        <a:pt x="42" y="93544"/>
                      </a:cubicBezTo>
                      <a:cubicBezTo>
                        <a:pt x="162" y="92946"/>
                        <a:pt x="819" y="92587"/>
                        <a:pt x="1418" y="92647"/>
                      </a:cubicBezTo>
                      <a:lnTo>
                        <a:pt x="14635" y="94621"/>
                      </a:lnTo>
                      <a:cubicBezTo>
                        <a:pt x="14575" y="92228"/>
                        <a:pt x="14396" y="87085"/>
                        <a:pt x="14635" y="82360"/>
                      </a:cubicBezTo>
                      <a:cubicBezTo>
                        <a:pt x="14934" y="75841"/>
                        <a:pt x="13917" y="60650"/>
                        <a:pt x="13259" y="54610"/>
                      </a:cubicBezTo>
                      <a:cubicBezTo>
                        <a:pt x="12721" y="49885"/>
                        <a:pt x="13678" y="43844"/>
                        <a:pt x="14515" y="38522"/>
                      </a:cubicBezTo>
                      <a:cubicBezTo>
                        <a:pt x="14814" y="36428"/>
                        <a:pt x="15173" y="34455"/>
                        <a:pt x="15352" y="32660"/>
                      </a:cubicBezTo>
                      <a:cubicBezTo>
                        <a:pt x="16070" y="26201"/>
                        <a:pt x="11226" y="21895"/>
                        <a:pt x="9073" y="20400"/>
                      </a:cubicBezTo>
                      <a:cubicBezTo>
                        <a:pt x="6621" y="18606"/>
                        <a:pt x="3870" y="10891"/>
                        <a:pt x="3571" y="1142"/>
                      </a:cubicBezTo>
                      <a:cubicBezTo>
                        <a:pt x="3571" y="544"/>
                        <a:pt x="4049" y="65"/>
                        <a:pt x="4647" y="6"/>
                      </a:cubicBezTo>
                      <a:cubicBezTo>
                        <a:pt x="5305" y="-54"/>
                        <a:pt x="5783" y="365"/>
                        <a:pt x="5843" y="963"/>
                      </a:cubicBezTo>
                      <a:cubicBezTo>
                        <a:pt x="6142" y="11190"/>
                        <a:pt x="9133" y="17649"/>
                        <a:pt x="10568" y="18725"/>
                      </a:cubicBezTo>
                      <a:cubicBezTo>
                        <a:pt x="12960" y="20460"/>
                        <a:pt x="18463" y="25364"/>
                        <a:pt x="17625" y="32780"/>
                      </a:cubicBezTo>
                      <a:cubicBezTo>
                        <a:pt x="17446" y="34574"/>
                        <a:pt x="17087" y="36608"/>
                        <a:pt x="16788" y="38701"/>
                      </a:cubicBezTo>
                      <a:cubicBezTo>
                        <a:pt x="15951" y="43904"/>
                        <a:pt x="15054" y="49825"/>
                        <a:pt x="15592" y="54311"/>
                      </a:cubicBezTo>
                      <a:cubicBezTo>
                        <a:pt x="16250" y="60411"/>
                        <a:pt x="17326" y="75722"/>
                        <a:pt x="17027" y="82360"/>
                      </a:cubicBezTo>
                      <a:cubicBezTo>
                        <a:pt x="16728" y="88700"/>
                        <a:pt x="17087" y="95757"/>
                        <a:pt x="17087" y="95817"/>
                      </a:cubicBezTo>
                      <a:cubicBezTo>
                        <a:pt x="17087" y="96116"/>
                        <a:pt x="16967" y="96475"/>
                        <a:pt x="16668" y="96714"/>
                      </a:cubicBezTo>
                      <a:cubicBezTo>
                        <a:pt x="16369" y="96774"/>
                        <a:pt x="16250" y="96893"/>
                        <a:pt x="16130" y="9689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98" name="Vrije vorm: vorm 9097">
                  <a:extLst>
                    <a:ext uri="{FF2B5EF4-FFF2-40B4-BE49-F238E27FC236}">
                      <a16:creationId xmlns:a16="http://schemas.microsoft.com/office/drawing/2014/main" id="{913367E7-0D2C-4170-A307-9C4B488B0451}"/>
                    </a:ext>
                  </a:extLst>
                </p:cNvPr>
                <p:cNvSpPr/>
                <p:nvPr/>
              </p:nvSpPr>
              <p:spPr>
                <a:xfrm>
                  <a:off x="5797846" y="1930371"/>
                  <a:ext cx="16048" cy="79991"/>
                </a:xfrm>
                <a:custGeom>
                  <a:avLst/>
                  <a:gdLst>
                    <a:gd name="connsiteX0" fmla="*/ 14658 w 16048"/>
                    <a:gd name="connsiteY0" fmla="*/ 79909 h 79991"/>
                    <a:gd name="connsiteX1" fmla="*/ 13402 w 16048"/>
                    <a:gd name="connsiteY1" fmla="*/ 79610 h 79991"/>
                    <a:gd name="connsiteX2" fmla="*/ 13521 w 16048"/>
                    <a:gd name="connsiteY2" fmla="*/ 78175 h 79991"/>
                    <a:gd name="connsiteX3" fmla="*/ 11847 w 16048"/>
                    <a:gd name="connsiteY3" fmla="*/ 59754 h 79991"/>
                    <a:gd name="connsiteX4" fmla="*/ 9813 w 16048"/>
                    <a:gd name="connsiteY4" fmla="*/ 42410 h 79991"/>
                    <a:gd name="connsiteX5" fmla="*/ 8737 w 16048"/>
                    <a:gd name="connsiteY5" fmla="*/ 32781 h 79991"/>
                    <a:gd name="connsiteX6" fmla="*/ 4491 w 16048"/>
                    <a:gd name="connsiteY6" fmla="*/ 15138 h 79991"/>
                    <a:gd name="connsiteX7" fmla="*/ 5 w 16048"/>
                    <a:gd name="connsiteY7" fmla="*/ 1203 h 79991"/>
                    <a:gd name="connsiteX8" fmla="*/ 1082 w 16048"/>
                    <a:gd name="connsiteY8" fmla="*/ 6 h 79991"/>
                    <a:gd name="connsiteX9" fmla="*/ 2278 w 16048"/>
                    <a:gd name="connsiteY9" fmla="*/ 904 h 79991"/>
                    <a:gd name="connsiteX10" fmla="*/ 6524 w 16048"/>
                    <a:gd name="connsiteY10" fmla="*/ 14001 h 79991"/>
                    <a:gd name="connsiteX11" fmla="*/ 11010 w 16048"/>
                    <a:gd name="connsiteY11" fmla="*/ 32302 h 79991"/>
                    <a:gd name="connsiteX12" fmla="*/ 12086 w 16048"/>
                    <a:gd name="connsiteY12" fmla="*/ 41991 h 79991"/>
                    <a:gd name="connsiteX13" fmla="*/ 14120 w 16048"/>
                    <a:gd name="connsiteY13" fmla="*/ 59156 h 79991"/>
                    <a:gd name="connsiteX14" fmla="*/ 15017 w 16048"/>
                    <a:gd name="connsiteY14" fmla="*/ 79550 h 79991"/>
                    <a:gd name="connsiteX15" fmla="*/ 14658 w 16048"/>
                    <a:gd name="connsiteY15" fmla="*/ 79909 h 79991"/>
                    <a:gd name="connsiteX16" fmla="*/ 13641 w 16048"/>
                    <a:gd name="connsiteY16" fmla="*/ 78115 h 79991"/>
                    <a:gd name="connsiteX17" fmla="*/ 13641 w 16048"/>
                    <a:gd name="connsiteY17" fmla="*/ 78115 h 79991"/>
                    <a:gd name="connsiteX18" fmla="*/ 13641 w 16048"/>
                    <a:gd name="connsiteY18" fmla="*/ 78115 h 7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48" h="79991">
                      <a:moveTo>
                        <a:pt x="14658" y="79909"/>
                      </a:moveTo>
                      <a:cubicBezTo>
                        <a:pt x="14180" y="80088"/>
                        <a:pt x="13701" y="79969"/>
                        <a:pt x="13402" y="79610"/>
                      </a:cubicBezTo>
                      <a:cubicBezTo>
                        <a:pt x="13043" y="79191"/>
                        <a:pt x="13103" y="78593"/>
                        <a:pt x="13521" y="78175"/>
                      </a:cubicBezTo>
                      <a:cubicBezTo>
                        <a:pt x="13880" y="77457"/>
                        <a:pt x="14180" y="74048"/>
                        <a:pt x="11847" y="59754"/>
                      </a:cubicBezTo>
                      <a:cubicBezTo>
                        <a:pt x="10950" y="54252"/>
                        <a:pt x="10352" y="47972"/>
                        <a:pt x="9813" y="42410"/>
                      </a:cubicBezTo>
                      <a:cubicBezTo>
                        <a:pt x="9455" y="38762"/>
                        <a:pt x="9096" y="35293"/>
                        <a:pt x="8737" y="32781"/>
                      </a:cubicBezTo>
                      <a:cubicBezTo>
                        <a:pt x="7780" y="25783"/>
                        <a:pt x="6584" y="18786"/>
                        <a:pt x="4491" y="15138"/>
                      </a:cubicBezTo>
                      <a:cubicBezTo>
                        <a:pt x="3594" y="13523"/>
                        <a:pt x="484" y="7722"/>
                        <a:pt x="5" y="1203"/>
                      </a:cubicBezTo>
                      <a:cubicBezTo>
                        <a:pt x="-55" y="605"/>
                        <a:pt x="424" y="66"/>
                        <a:pt x="1082" y="6"/>
                      </a:cubicBezTo>
                      <a:cubicBezTo>
                        <a:pt x="1680" y="-53"/>
                        <a:pt x="2278" y="306"/>
                        <a:pt x="2278" y="904"/>
                      </a:cubicBezTo>
                      <a:cubicBezTo>
                        <a:pt x="2816" y="7183"/>
                        <a:pt x="5926" y="12925"/>
                        <a:pt x="6524" y="14001"/>
                      </a:cubicBezTo>
                      <a:cubicBezTo>
                        <a:pt x="8797" y="17949"/>
                        <a:pt x="9993" y="25126"/>
                        <a:pt x="11010" y="32302"/>
                      </a:cubicBezTo>
                      <a:cubicBezTo>
                        <a:pt x="11369" y="34874"/>
                        <a:pt x="11727" y="38343"/>
                        <a:pt x="12086" y="41991"/>
                      </a:cubicBezTo>
                      <a:cubicBezTo>
                        <a:pt x="12625" y="47493"/>
                        <a:pt x="13223" y="53773"/>
                        <a:pt x="14120" y="59156"/>
                      </a:cubicBezTo>
                      <a:cubicBezTo>
                        <a:pt x="16931" y="76500"/>
                        <a:pt x="16153" y="78713"/>
                        <a:pt x="15017" y="79550"/>
                      </a:cubicBezTo>
                      <a:cubicBezTo>
                        <a:pt x="14897" y="79789"/>
                        <a:pt x="14778" y="79849"/>
                        <a:pt x="14658" y="79909"/>
                      </a:cubicBezTo>
                      <a:close/>
                      <a:moveTo>
                        <a:pt x="13641" y="78115"/>
                      </a:moveTo>
                      <a:cubicBezTo>
                        <a:pt x="13641" y="78115"/>
                        <a:pt x="13641" y="78115"/>
                        <a:pt x="13641" y="78115"/>
                      </a:cubicBezTo>
                      <a:cubicBezTo>
                        <a:pt x="13641" y="78115"/>
                        <a:pt x="13641" y="78115"/>
                        <a:pt x="13641" y="7811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99" name="Vrije vorm: vorm 9098">
                  <a:extLst>
                    <a:ext uri="{FF2B5EF4-FFF2-40B4-BE49-F238E27FC236}">
                      <a16:creationId xmlns:a16="http://schemas.microsoft.com/office/drawing/2014/main" id="{D158AF55-9E82-4654-AAFD-2068A4DE548A}"/>
                    </a:ext>
                  </a:extLst>
                </p:cNvPr>
                <p:cNvSpPr/>
                <p:nvPr/>
              </p:nvSpPr>
              <p:spPr>
                <a:xfrm>
                  <a:off x="5817511" y="1963465"/>
                  <a:ext cx="40965" cy="25369"/>
                </a:xfrm>
                <a:custGeom>
                  <a:avLst/>
                  <a:gdLst>
                    <a:gd name="connsiteX0" fmla="*/ 40267 w 40965"/>
                    <a:gd name="connsiteY0" fmla="*/ 25285 h 25369"/>
                    <a:gd name="connsiteX1" fmla="*/ 39011 w 40965"/>
                    <a:gd name="connsiteY1" fmla="*/ 25046 h 25369"/>
                    <a:gd name="connsiteX2" fmla="*/ 33210 w 40965"/>
                    <a:gd name="connsiteY2" fmla="*/ 22175 h 25369"/>
                    <a:gd name="connsiteX3" fmla="*/ 21906 w 40965"/>
                    <a:gd name="connsiteY3" fmla="*/ 16613 h 25369"/>
                    <a:gd name="connsiteX4" fmla="*/ 16464 w 40965"/>
                    <a:gd name="connsiteY4" fmla="*/ 13264 h 25369"/>
                    <a:gd name="connsiteX5" fmla="*/ 256 w 40965"/>
                    <a:gd name="connsiteY5" fmla="*/ 1781 h 25369"/>
                    <a:gd name="connsiteX6" fmla="*/ 436 w 40965"/>
                    <a:gd name="connsiteY6" fmla="*/ 286 h 25369"/>
                    <a:gd name="connsiteX7" fmla="*/ 2050 w 40965"/>
                    <a:gd name="connsiteY7" fmla="*/ 346 h 25369"/>
                    <a:gd name="connsiteX8" fmla="*/ 17839 w 40965"/>
                    <a:gd name="connsiteY8" fmla="*/ 11410 h 25369"/>
                    <a:gd name="connsiteX9" fmla="*/ 23282 w 40965"/>
                    <a:gd name="connsiteY9" fmla="*/ 14819 h 25369"/>
                    <a:gd name="connsiteX10" fmla="*/ 34226 w 40965"/>
                    <a:gd name="connsiteY10" fmla="*/ 20201 h 25369"/>
                    <a:gd name="connsiteX11" fmla="*/ 40686 w 40965"/>
                    <a:gd name="connsiteY11" fmla="*/ 23551 h 25369"/>
                    <a:gd name="connsiteX12" fmla="*/ 40566 w 40965"/>
                    <a:gd name="connsiteY12" fmla="*/ 25046 h 25369"/>
                    <a:gd name="connsiteX13" fmla="*/ 40267 w 40965"/>
                    <a:gd name="connsiteY13" fmla="*/ 25285 h 25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65" h="25369">
                      <a:moveTo>
                        <a:pt x="40267" y="25285"/>
                      </a:moveTo>
                      <a:cubicBezTo>
                        <a:pt x="39848" y="25465"/>
                        <a:pt x="39370" y="25345"/>
                        <a:pt x="39011" y="25046"/>
                      </a:cubicBezTo>
                      <a:cubicBezTo>
                        <a:pt x="38353" y="24388"/>
                        <a:pt x="35841" y="23311"/>
                        <a:pt x="33210" y="22175"/>
                      </a:cubicBezTo>
                      <a:cubicBezTo>
                        <a:pt x="29741" y="20740"/>
                        <a:pt x="25435" y="18886"/>
                        <a:pt x="21906" y="16613"/>
                      </a:cubicBezTo>
                      <a:cubicBezTo>
                        <a:pt x="20351" y="15596"/>
                        <a:pt x="18438" y="14460"/>
                        <a:pt x="16464" y="13264"/>
                      </a:cubicBezTo>
                      <a:cubicBezTo>
                        <a:pt x="10304" y="9496"/>
                        <a:pt x="3366" y="5250"/>
                        <a:pt x="256" y="1781"/>
                      </a:cubicBezTo>
                      <a:cubicBezTo>
                        <a:pt x="-163" y="1362"/>
                        <a:pt x="-43" y="644"/>
                        <a:pt x="436" y="286"/>
                      </a:cubicBezTo>
                      <a:cubicBezTo>
                        <a:pt x="914" y="-133"/>
                        <a:pt x="1632" y="-73"/>
                        <a:pt x="2050" y="346"/>
                      </a:cubicBezTo>
                      <a:cubicBezTo>
                        <a:pt x="4981" y="3635"/>
                        <a:pt x="11799" y="7762"/>
                        <a:pt x="17839" y="11410"/>
                      </a:cubicBezTo>
                      <a:cubicBezTo>
                        <a:pt x="19813" y="12606"/>
                        <a:pt x="21727" y="13742"/>
                        <a:pt x="23282" y="14819"/>
                      </a:cubicBezTo>
                      <a:cubicBezTo>
                        <a:pt x="26691" y="16972"/>
                        <a:pt x="30877" y="18766"/>
                        <a:pt x="34226" y="20201"/>
                      </a:cubicBezTo>
                      <a:cubicBezTo>
                        <a:pt x="37456" y="21577"/>
                        <a:pt x="39788" y="22534"/>
                        <a:pt x="40686" y="23551"/>
                      </a:cubicBezTo>
                      <a:cubicBezTo>
                        <a:pt x="41104" y="23969"/>
                        <a:pt x="41045" y="24627"/>
                        <a:pt x="40566" y="25046"/>
                      </a:cubicBezTo>
                      <a:cubicBezTo>
                        <a:pt x="40506" y="25165"/>
                        <a:pt x="40387" y="25225"/>
                        <a:pt x="40267" y="2528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00" name="Vrije vorm: vorm 9099">
                  <a:extLst>
                    <a:ext uri="{FF2B5EF4-FFF2-40B4-BE49-F238E27FC236}">
                      <a16:creationId xmlns:a16="http://schemas.microsoft.com/office/drawing/2014/main" id="{D63FDAFE-0D1A-4CDD-8EEF-645E184C1BD0}"/>
                    </a:ext>
                  </a:extLst>
                </p:cNvPr>
                <p:cNvSpPr/>
                <p:nvPr/>
              </p:nvSpPr>
              <p:spPr>
                <a:xfrm>
                  <a:off x="5818956" y="1951042"/>
                  <a:ext cx="42714" cy="43359"/>
                </a:xfrm>
                <a:custGeom>
                  <a:avLst/>
                  <a:gdLst>
                    <a:gd name="connsiteX0" fmla="*/ 36789 w 42714"/>
                    <a:gd name="connsiteY0" fmla="*/ 43270 h 43359"/>
                    <a:gd name="connsiteX1" fmla="*/ 35951 w 42714"/>
                    <a:gd name="connsiteY1" fmla="*/ 43270 h 43359"/>
                    <a:gd name="connsiteX2" fmla="*/ 35413 w 42714"/>
                    <a:gd name="connsiteY2" fmla="*/ 41894 h 43359"/>
                    <a:gd name="connsiteX3" fmla="*/ 40198 w 42714"/>
                    <a:gd name="connsiteY3" fmla="*/ 32385 h 43359"/>
                    <a:gd name="connsiteX4" fmla="*/ 20820 w 42714"/>
                    <a:gd name="connsiteY4" fmla="*/ 19287 h 43359"/>
                    <a:gd name="connsiteX5" fmla="*/ 187 w 42714"/>
                    <a:gd name="connsiteY5" fmla="*/ 1704 h 43359"/>
                    <a:gd name="connsiteX6" fmla="*/ 546 w 42714"/>
                    <a:gd name="connsiteY6" fmla="*/ 209 h 43359"/>
                    <a:gd name="connsiteX7" fmla="*/ 2100 w 42714"/>
                    <a:gd name="connsiteY7" fmla="*/ 448 h 43359"/>
                    <a:gd name="connsiteX8" fmla="*/ 22136 w 42714"/>
                    <a:gd name="connsiteY8" fmla="*/ 17493 h 43359"/>
                    <a:gd name="connsiteX9" fmla="*/ 42351 w 42714"/>
                    <a:gd name="connsiteY9" fmla="*/ 31189 h 43359"/>
                    <a:gd name="connsiteX10" fmla="*/ 42590 w 42714"/>
                    <a:gd name="connsiteY10" fmla="*/ 32445 h 43359"/>
                    <a:gd name="connsiteX11" fmla="*/ 37387 w 42714"/>
                    <a:gd name="connsiteY11" fmla="*/ 42732 h 43359"/>
                    <a:gd name="connsiteX12" fmla="*/ 36789 w 42714"/>
                    <a:gd name="connsiteY12" fmla="*/ 43270 h 43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714" h="43359">
                      <a:moveTo>
                        <a:pt x="36789" y="43270"/>
                      </a:moveTo>
                      <a:cubicBezTo>
                        <a:pt x="36490" y="43389"/>
                        <a:pt x="36191" y="43389"/>
                        <a:pt x="35951" y="43270"/>
                      </a:cubicBezTo>
                      <a:cubicBezTo>
                        <a:pt x="35413" y="43031"/>
                        <a:pt x="35174" y="42433"/>
                        <a:pt x="35413" y="41894"/>
                      </a:cubicBezTo>
                      <a:lnTo>
                        <a:pt x="40198" y="32385"/>
                      </a:lnTo>
                      <a:cubicBezTo>
                        <a:pt x="36191" y="29395"/>
                        <a:pt x="26622" y="22876"/>
                        <a:pt x="20820" y="19287"/>
                      </a:cubicBezTo>
                      <a:cubicBezTo>
                        <a:pt x="14481" y="15400"/>
                        <a:pt x="3715" y="6548"/>
                        <a:pt x="187" y="1704"/>
                      </a:cubicBezTo>
                      <a:cubicBezTo>
                        <a:pt x="-172" y="1225"/>
                        <a:pt x="7" y="567"/>
                        <a:pt x="546" y="209"/>
                      </a:cubicBezTo>
                      <a:cubicBezTo>
                        <a:pt x="1084" y="-150"/>
                        <a:pt x="1801" y="-31"/>
                        <a:pt x="2100" y="448"/>
                      </a:cubicBezTo>
                      <a:cubicBezTo>
                        <a:pt x="5450" y="4993"/>
                        <a:pt x="16095" y="13725"/>
                        <a:pt x="22136" y="17493"/>
                      </a:cubicBezTo>
                      <a:cubicBezTo>
                        <a:pt x="28356" y="21321"/>
                        <a:pt x="38822" y="28438"/>
                        <a:pt x="42351" y="31189"/>
                      </a:cubicBezTo>
                      <a:cubicBezTo>
                        <a:pt x="42710" y="31488"/>
                        <a:pt x="42829" y="31966"/>
                        <a:pt x="42590" y="32445"/>
                      </a:cubicBezTo>
                      <a:lnTo>
                        <a:pt x="37387" y="42732"/>
                      </a:lnTo>
                      <a:cubicBezTo>
                        <a:pt x="37267" y="42971"/>
                        <a:pt x="37028" y="43150"/>
                        <a:pt x="36789" y="4327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01" name="Vrije vorm: vorm 9100">
                  <a:extLst>
                    <a:ext uri="{FF2B5EF4-FFF2-40B4-BE49-F238E27FC236}">
                      <a16:creationId xmlns:a16="http://schemas.microsoft.com/office/drawing/2014/main" id="{6C7AD34D-F42E-4817-99A2-836B5D67B23E}"/>
                    </a:ext>
                  </a:extLst>
                </p:cNvPr>
                <p:cNvSpPr/>
                <p:nvPr/>
              </p:nvSpPr>
              <p:spPr>
                <a:xfrm>
                  <a:off x="5810761" y="1993423"/>
                  <a:ext cx="9756" cy="2728"/>
                </a:xfrm>
                <a:custGeom>
                  <a:avLst/>
                  <a:gdLst>
                    <a:gd name="connsiteX0" fmla="*/ 8919 w 9756"/>
                    <a:gd name="connsiteY0" fmla="*/ 2324 h 2728"/>
                    <a:gd name="connsiteX1" fmla="*/ 8680 w 9756"/>
                    <a:gd name="connsiteY1" fmla="*/ 2384 h 2728"/>
                    <a:gd name="connsiteX2" fmla="*/ 367 w 9756"/>
                    <a:gd name="connsiteY2" fmla="*/ 1905 h 2728"/>
                    <a:gd name="connsiteX3" fmla="*/ 307 w 9756"/>
                    <a:gd name="connsiteY3" fmla="*/ 410 h 2728"/>
                    <a:gd name="connsiteX4" fmla="*/ 1922 w 9756"/>
                    <a:gd name="connsiteY4" fmla="*/ 231 h 2728"/>
                    <a:gd name="connsiteX5" fmla="*/ 8500 w 9756"/>
                    <a:gd name="connsiteY5" fmla="*/ 231 h 2728"/>
                    <a:gd name="connsiteX6" fmla="*/ 9757 w 9756"/>
                    <a:gd name="connsiteY6" fmla="*/ 1128 h 2728"/>
                    <a:gd name="connsiteX7" fmla="*/ 8919 w 9756"/>
                    <a:gd name="connsiteY7" fmla="*/ 2324 h 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6" h="2728">
                      <a:moveTo>
                        <a:pt x="8919" y="2324"/>
                      </a:moveTo>
                      <a:cubicBezTo>
                        <a:pt x="8859" y="2324"/>
                        <a:pt x="8740" y="2384"/>
                        <a:pt x="8680" y="2384"/>
                      </a:cubicBezTo>
                      <a:cubicBezTo>
                        <a:pt x="7125" y="2623"/>
                        <a:pt x="2041" y="3221"/>
                        <a:pt x="367" y="1905"/>
                      </a:cubicBezTo>
                      <a:cubicBezTo>
                        <a:pt x="-112" y="1546"/>
                        <a:pt x="-112" y="889"/>
                        <a:pt x="307" y="410"/>
                      </a:cubicBezTo>
                      <a:cubicBezTo>
                        <a:pt x="726" y="-68"/>
                        <a:pt x="1443" y="-128"/>
                        <a:pt x="1922" y="231"/>
                      </a:cubicBezTo>
                      <a:cubicBezTo>
                        <a:pt x="2520" y="709"/>
                        <a:pt x="5869" y="649"/>
                        <a:pt x="8500" y="231"/>
                      </a:cubicBezTo>
                      <a:cubicBezTo>
                        <a:pt x="9099" y="111"/>
                        <a:pt x="9697" y="530"/>
                        <a:pt x="9757" y="1128"/>
                      </a:cubicBezTo>
                      <a:cubicBezTo>
                        <a:pt x="9757" y="1726"/>
                        <a:pt x="9398" y="2145"/>
                        <a:pt x="8919" y="232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02" name="Vrije vorm: vorm 9101">
                  <a:extLst>
                    <a:ext uri="{FF2B5EF4-FFF2-40B4-BE49-F238E27FC236}">
                      <a16:creationId xmlns:a16="http://schemas.microsoft.com/office/drawing/2014/main" id="{4123B031-4996-4C6B-9F67-95246BD9E6FC}"/>
                    </a:ext>
                  </a:extLst>
                </p:cNvPr>
                <p:cNvSpPr/>
                <p:nvPr/>
              </p:nvSpPr>
              <p:spPr>
                <a:xfrm>
                  <a:off x="5842666" y="1973313"/>
                  <a:ext cx="5264" cy="8762"/>
                </a:xfrm>
                <a:custGeom>
                  <a:avLst/>
                  <a:gdLst>
                    <a:gd name="connsiteX0" fmla="*/ 1476 w 5264"/>
                    <a:gd name="connsiteY0" fmla="*/ 8679 h 8762"/>
                    <a:gd name="connsiteX1" fmla="*/ 280 w 5264"/>
                    <a:gd name="connsiteY1" fmla="*/ 8439 h 8762"/>
                    <a:gd name="connsiteX2" fmla="*/ 400 w 5264"/>
                    <a:gd name="connsiteY2" fmla="*/ 6944 h 8762"/>
                    <a:gd name="connsiteX3" fmla="*/ 2971 w 5264"/>
                    <a:gd name="connsiteY3" fmla="*/ 904 h 8762"/>
                    <a:gd name="connsiteX4" fmla="*/ 4347 w 5264"/>
                    <a:gd name="connsiteY4" fmla="*/ 6 h 8762"/>
                    <a:gd name="connsiteX5" fmla="*/ 5244 w 5264"/>
                    <a:gd name="connsiteY5" fmla="*/ 1203 h 8762"/>
                    <a:gd name="connsiteX6" fmla="*/ 1954 w 5264"/>
                    <a:gd name="connsiteY6" fmla="*/ 8439 h 8762"/>
                    <a:gd name="connsiteX7" fmla="*/ 1476 w 5264"/>
                    <a:gd name="connsiteY7" fmla="*/ 8679 h 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4" h="8762">
                      <a:moveTo>
                        <a:pt x="1476" y="8679"/>
                      </a:moveTo>
                      <a:cubicBezTo>
                        <a:pt x="1057" y="8858"/>
                        <a:pt x="579" y="8738"/>
                        <a:pt x="280" y="8439"/>
                      </a:cubicBezTo>
                      <a:cubicBezTo>
                        <a:pt x="-139" y="8021"/>
                        <a:pt x="-79" y="7363"/>
                        <a:pt x="400" y="6944"/>
                      </a:cubicBezTo>
                      <a:cubicBezTo>
                        <a:pt x="1476" y="5987"/>
                        <a:pt x="2553" y="2698"/>
                        <a:pt x="2971" y="904"/>
                      </a:cubicBezTo>
                      <a:cubicBezTo>
                        <a:pt x="3091" y="306"/>
                        <a:pt x="3689" y="-53"/>
                        <a:pt x="4347" y="6"/>
                      </a:cubicBezTo>
                      <a:cubicBezTo>
                        <a:pt x="4945" y="66"/>
                        <a:pt x="5363" y="605"/>
                        <a:pt x="5244" y="1203"/>
                      </a:cubicBezTo>
                      <a:cubicBezTo>
                        <a:pt x="5124" y="1741"/>
                        <a:pt x="3928" y="6645"/>
                        <a:pt x="1954" y="8439"/>
                      </a:cubicBezTo>
                      <a:cubicBezTo>
                        <a:pt x="1775" y="8559"/>
                        <a:pt x="1655" y="8619"/>
                        <a:pt x="1476" y="867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103" name="Vrije vorm: vorm 9102">
                  <a:extLst>
                    <a:ext uri="{FF2B5EF4-FFF2-40B4-BE49-F238E27FC236}">
                      <a16:creationId xmlns:a16="http://schemas.microsoft.com/office/drawing/2014/main" id="{9795C59B-EE63-48BF-8497-9B2AA2EFB878}"/>
                    </a:ext>
                  </a:extLst>
                </p:cNvPr>
                <p:cNvSpPr/>
                <p:nvPr/>
              </p:nvSpPr>
              <p:spPr>
                <a:xfrm>
                  <a:off x="5804365" y="1941755"/>
                  <a:ext cx="16229" cy="7223"/>
                </a:xfrm>
                <a:custGeom>
                  <a:avLst/>
                  <a:gdLst>
                    <a:gd name="connsiteX0" fmla="*/ 8617 w 16229"/>
                    <a:gd name="connsiteY0" fmla="*/ 5788 h 7223"/>
                    <a:gd name="connsiteX1" fmla="*/ 1082 w 16229"/>
                    <a:gd name="connsiteY1" fmla="*/ 7223 h 7223"/>
                    <a:gd name="connsiteX2" fmla="*/ 5 w 16229"/>
                    <a:gd name="connsiteY2" fmla="*/ 6207 h 7223"/>
                    <a:gd name="connsiteX3" fmla="*/ 1201 w 16229"/>
                    <a:gd name="connsiteY3" fmla="*/ 5130 h 7223"/>
                    <a:gd name="connsiteX4" fmla="*/ 14359 w 16229"/>
                    <a:gd name="connsiteY4" fmla="*/ 286 h 7223"/>
                    <a:gd name="connsiteX5" fmla="*/ 15973 w 16229"/>
                    <a:gd name="connsiteY5" fmla="*/ 346 h 7223"/>
                    <a:gd name="connsiteX6" fmla="*/ 15794 w 16229"/>
                    <a:gd name="connsiteY6" fmla="*/ 1841 h 7223"/>
                    <a:gd name="connsiteX7" fmla="*/ 8617 w 16229"/>
                    <a:gd name="connsiteY7" fmla="*/ 5788 h 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29" h="7223">
                      <a:moveTo>
                        <a:pt x="8617" y="5788"/>
                      </a:moveTo>
                      <a:cubicBezTo>
                        <a:pt x="6464" y="6565"/>
                        <a:pt x="3893" y="7223"/>
                        <a:pt x="1082" y="7223"/>
                      </a:cubicBezTo>
                      <a:cubicBezTo>
                        <a:pt x="424" y="7223"/>
                        <a:pt x="-55" y="6745"/>
                        <a:pt x="5" y="6207"/>
                      </a:cubicBezTo>
                      <a:cubicBezTo>
                        <a:pt x="5" y="5609"/>
                        <a:pt x="543" y="5130"/>
                        <a:pt x="1201" y="5130"/>
                      </a:cubicBezTo>
                      <a:cubicBezTo>
                        <a:pt x="8498" y="5010"/>
                        <a:pt x="14299" y="346"/>
                        <a:pt x="14359" y="286"/>
                      </a:cubicBezTo>
                      <a:cubicBezTo>
                        <a:pt x="14837" y="-133"/>
                        <a:pt x="15555" y="-73"/>
                        <a:pt x="15973" y="346"/>
                      </a:cubicBezTo>
                      <a:cubicBezTo>
                        <a:pt x="16392" y="764"/>
                        <a:pt x="16273" y="1422"/>
                        <a:pt x="15794" y="1841"/>
                      </a:cubicBezTo>
                      <a:cubicBezTo>
                        <a:pt x="15615" y="2020"/>
                        <a:pt x="12804" y="4233"/>
                        <a:pt x="8617" y="5788"/>
                      </a:cubicBezTo>
                      <a:close/>
                    </a:path>
                  </a:pathLst>
                </a:custGeom>
                <a:grpFill/>
                <a:ln w="6350" cap="flat">
                  <a:solidFill>
                    <a:schemeClr val="bg1">
                      <a:alpha val="40000"/>
                    </a:schemeClr>
                  </a:solidFill>
                  <a:prstDash val="solid"/>
                  <a:miter/>
                </a:ln>
              </p:spPr>
              <p:txBody>
                <a:bodyPr rtlCol="0" anchor="ctr"/>
                <a:lstStyle/>
                <a:p>
                  <a:endParaRPr lang="en-GB"/>
                </a:p>
              </p:txBody>
            </p:sp>
            <p:grpSp>
              <p:nvGrpSpPr>
                <p:cNvPr id="9104" name="Graphic 3">
                  <a:extLst>
                    <a:ext uri="{FF2B5EF4-FFF2-40B4-BE49-F238E27FC236}">
                      <a16:creationId xmlns:a16="http://schemas.microsoft.com/office/drawing/2014/main" id="{5D70D048-4DEB-409C-8DC9-86DCF6422DE1}"/>
                    </a:ext>
                  </a:extLst>
                </p:cNvPr>
                <p:cNvGrpSpPr/>
                <p:nvPr/>
              </p:nvGrpSpPr>
              <p:grpSpPr>
                <a:xfrm>
                  <a:off x="5794112" y="1896048"/>
                  <a:ext cx="7571" cy="9658"/>
                  <a:chOff x="5794112" y="1896048"/>
                  <a:chExt cx="7571" cy="9658"/>
                </a:xfrm>
                <a:grpFill/>
              </p:grpSpPr>
              <p:sp>
                <p:nvSpPr>
                  <p:cNvPr id="9106" name="Vrije vorm: vorm 9105">
                    <a:extLst>
                      <a:ext uri="{FF2B5EF4-FFF2-40B4-BE49-F238E27FC236}">
                        <a16:creationId xmlns:a16="http://schemas.microsoft.com/office/drawing/2014/main" id="{40081890-7B66-41E2-86D8-405BFAD7F557}"/>
                      </a:ext>
                    </a:extLst>
                  </p:cNvPr>
                  <p:cNvSpPr/>
                  <p:nvPr/>
                </p:nvSpPr>
                <p:spPr>
                  <a:xfrm>
                    <a:off x="5795220" y="1897065"/>
                    <a:ext cx="5322" cy="7535"/>
                  </a:xfrm>
                  <a:custGeom>
                    <a:avLst/>
                    <a:gdLst>
                      <a:gd name="connsiteX0" fmla="*/ 5323 w 5322"/>
                      <a:gd name="connsiteY0" fmla="*/ 120 h 7535"/>
                      <a:gd name="connsiteX1" fmla="*/ 2272 w 5322"/>
                      <a:gd name="connsiteY1" fmla="*/ 0 h 7535"/>
                      <a:gd name="connsiteX2" fmla="*/ 0 w 5322"/>
                      <a:gd name="connsiteY2" fmla="*/ 7237 h 7535"/>
                      <a:gd name="connsiteX3" fmla="*/ 718 w 5322"/>
                      <a:gd name="connsiteY3" fmla="*/ 7536 h 7535"/>
                      <a:gd name="connsiteX4" fmla="*/ 4725 w 5322"/>
                      <a:gd name="connsiteY4" fmla="*/ 5143 h 7535"/>
                      <a:gd name="connsiteX5" fmla="*/ 5323 w 5322"/>
                      <a:gd name="connsiteY5" fmla="*/ 12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 h="7535">
                        <a:moveTo>
                          <a:pt x="5323" y="120"/>
                        </a:moveTo>
                        <a:lnTo>
                          <a:pt x="2272" y="0"/>
                        </a:lnTo>
                        <a:lnTo>
                          <a:pt x="0" y="7237"/>
                        </a:lnTo>
                        <a:lnTo>
                          <a:pt x="718" y="7536"/>
                        </a:lnTo>
                        <a:cubicBezTo>
                          <a:pt x="718" y="7536"/>
                          <a:pt x="3050" y="5024"/>
                          <a:pt x="4725" y="5143"/>
                        </a:cubicBezTo>
                        <a:lnTo>
                          <a:pt x="5323" y="120"/>
                        </a:lnTo>
                        <a:close/>
                      </a:path>
                    </a:pathLst>
                  </a:custGeom>
                  <a:grpFill/>
                  <a:ln w="6350" cap="flat">
                    <a:solidFill>
                      <a:schemeClr val="bg1">
                        <a:alpha val="40000"/>
                      </a:schemeClr>
                    </a:solidFill>
                    <a:prstDash val="solid"/>
                    <a:miter/>
                  </a:ln>
                </p:spPr>
                <p:txBody>
                  <a:bodyPr rtlCol="0" anchor="ctr"/>
                  <a:lstStyle/>
                  <a:p>
                    <a:endParaRPr lang="en-GB"/>
                  </a:p>
                </p:txBody>
              </p:sp>
              <p:sp>
                <p:nvSpPr>
                  <p:cNvPr id="9107" name="Vrije vorm: vorm 9106">
                    <a:extLst>
                      <a:ext uri="{FF2B5EF4-FFF2-40B4-BE49-F238E27FC236}">
                        <a16:creationId xmlns:a16="http://schemas.microsoft.com/office/drawing/2014/main" id="{9DE4F65F-4D15-4D34-92A8-48144F5B1DB0}"/>
                      </a:ext>
                    </a:extLst>
                  </p:cNvPr>
                  <p:cNvSpPr/>
                  <p:nvPr/>
                </p:nvSpPr>
                <p:spPr>
                  <a:xfrm>
                    <a:off x="5794112" y="1896048"/>
                    <a:ext cx="7571" cy="9658"/>
                  </a:xfrm>
                  <a:custGeom>
                    <a:avLst/>
                    <a:gdLst>
                      <a:gd name="connsiteX0" fmla="*/ 2243 w 7571"/>
                      <a:gd name="connsiteY0" fmla="*/ 9569 h 9658"/>
                      <a:gd name="connsiteX1" fmla="*/ 1346 w 7571"/>
                      <a:gd name="connsiteY1" fmla="*/ 9569 h 9658"/>
                      <a:gd name="connsiteX2" fmla="*/ 629 w 7571"/>
                      <a:gd name="connsiteY2" fmla="*/ 9270 h 9658"/>
                      <a:gd name="connsiteX3" fmla="*/ 30 w 7571"/>
                      <a:gd name="connsiteY3" fmla="*/ 8074 h 9658"/>
                      <a:gd name="connsiteX4" fmla="*/ 2303 w 7571"/>
                      <a:gd name="connsiteY4" fmla="*/ 837 h 9658"/>
                      <a:gd name="connsiteX5" fmla="*/ 3499 w 7571"/>
                      <a:gd name="connsiteY5" fmla="*/ 0 h 9658"/>
                      <a:gd name="connsiteX6" fmla="*/ 6550 w 7571"/>
                      <a:gd name="connsiteY6" fmla="*/ 120 h 9658"/>
                      <a:gd name="connsiteX7" fmla="*/ 7566 w 7571"/>
                      <a:gd name="connsiteY7" fmla="*/ 1196 h 9658"/>
                      <a:gd name="connsiteX8" fmla="*/ 7028 w 7571"/>
                      <a:gd name="connsiteY8" fmla="*/ 6220 h 9658"/>
                      <a:gd name="connsiteX9" fmla="*/ 6609 w 7571"/>
                      <a:gd name="connsiteY9" fmla="*/ 6997 h 9658"/>
                      <a:gd name="connsiteX10" fmla="*/ 5772 w 7571"/>
                      <a:gd name="connsiteY10" fmla="*/ 7237 h 9658"/>
                      <a:gd name="connsiteX11" fmla="*/ 2722 w 7571"/>
                      <a:gd name="connsiteY11" fmla="*/ 9270 h 9658"/>
                      <a:gd name="connsiteX12" fmla="*/ 2243 w 7571"/>
                      <a:gd name="connsiteY12" fmla="*/ 9569 h 9658"/>
                      <a:gd name="connsiteX13" fmla="*/ 4217 w 7571"/>
                      <a:gd name="connsiteY13" fmla="*/ 2153 h 9658"/>
                      <a:gd name="connsiteX14" fmla="*/ 2961 w 7571"/>
                      <a:gd name="connsiteY14" fmla="*/ 6280 h 9658"/>
                      <a:gd name="connsiteX15" fmla="*/ 4875 w 7571"/>
                      <a:gd name="connsiteY15" fmla="*/ 5323 h 9658"/>
                      <a:gd name="connsiteX16" fmla="*/ 5234 w 7571"/>
                      <a:gd name="connsiteY16" fmla="*/ 2213 h 9658"/>
                      <a:gd name="connsiteX17" fmla="*/ 4217 w 7571"/>
                      <a:gd name="connsiteY17" fmla="*/ 2153 h 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71" h="9658">
                        <a:moveTo>
                          <a:pt x="2243" y="9569"/>
                        </a:moveTo>
                        <a:cubicBezTo>
                          <a:pt x="1944" y="9689"/>
                          <a:pt x="1645" y="9689"/>
                          <a:pt x="1346" y="9569"/>
                        </a:cubicBezTo>
                        <a:lnTo>
                          <a:pt x="629" y="9270"/>
                        </a:lnTo>
                        <a:cubicBezTo>
                          <a:pt x="150" y="9091"/>
                          <a:pt x="-89" y="8552"/>
                          <a:pt x="30" y="8074"/>
                        </a:cubicBezTo>
                        <a:lnTo>
                          <a:pt x="2303" y="837"/>
                        </a:lnTo>
                        <a:cubicBezTo>
                          <a:pt x="2483" y="359"/>
                          <a:pt x="2961" y="0"/>
                          <a:pt x="3499" y="0"/>
                        </a:cubicBezTo>
                        <a:lnTo>
                          <a:pt x="6550" y="120"/>
                        </a:lnTo>
                        <a:cubicBezTo>
                          <a:pt x="7147" y="120"/>
                          <a:pt x="7626" y="658"/>
                          <a:pt x="7566" y="1196"/>
                        </a:cubicBezTo>
                        <a:lnTo>
                          <a:pt x="7028" y="6220"/>
                        </a:lnTo>
                        <a:cubicBezTo>
                          <a:pt x="6968" y="6519"/>
                          <a:pt x="6848" y="6758"/>
                          <a:pt x="6609" y="6997"/>
                        </a:cubicBezTo>
                        <a:cubicBezTo>
                          <a:pt x="6370" y="7177"/>
                          <a:pt x="6071" y="7296"/>
                          <a:pt x="5772" y="7237"/>
                        </a:cubicBezTo>
                        <a:cubicBezTo>
                          <a:pt x="5114" y="7177"/>
                          <a:pt x="3679" y="8253"/>
                          <a:pt x="2722" y="9270"/>
                        </a:cubicBezTo>
                        <a:cubicBezTo>
                          <a:pt x="2602" y="9390"/>
                          <a:pt x="2423" y="9509"/>
                          <a:pt x="2243" y="9569"/>
                        </a:cubicBezTo>
                        <a:close/>
                        <a:moveTo>
                          <a:pt x="4217" y="2153"/>
                        </a:moveTo>
                        <a:lnTo>
                          <a:pt x="2961" y="6280"/>
                        </a:lnTo>
                        <a:cubicBezTo>
                          <a:pt x="3559" y="5861"/>
                          <a:pt x="4217" y="5502"/>
                          <a:pt x="4875" y="5323"/>
                        </a:cubicBezTo>
                        <a:lnTo>
                          <a:pt x="5234" y="2213"/>
                        </a:lnTo>
                        <a:lnTo>
                          <a:pt x="4217" y="2153"/>
                        </a:lnTo>
                        <a:close/>
                      </a:path>
                    </a:pathLst>
                  </a:custGeom>
                  <a:grpFill/>
                  <a:ln w="6350" cap="flat">
                    <a:solidFill>
                      <a:schemeClr val="bg1">
                        <a:alpha val="40000"/>
                      </a:schemeClr>
                    </a:solidFill>
                    <a:prstDash val="solid"/>
                    <a:miter/>
                  </a:ln>
                </p:spPr>
                <p:txBody>
                  <a:bodyPr rtlCol="0" anchor="ctr"/>
                  <a:lstStyle/>
                  <a:p>
                    <a:endParaRPr lang="en-GB"/>
                  </a:p>
                </p:txBody>
              </p:sp>
            </p:grpSp>
            <p:sp>
              <p:nvSpPr>
                <p:cNvPr id="9105" name="Vrije vorm: vorm 9104">
                  <a:extLst>
                    <a:ext uri="{FF2B5EF4-FFF2-40B4-BE49-F238E27FC236}">
                      <a16:creationId xmlns:a16="http://schemas.microsoft.com/office/drawing/2014/main" id="{B5B48075-4789-4C6B-A6D8-F2F5CB027095}"/>
                    </a:ext>
                  </a:extLst>
                </p:cNvPr>
                <p:cNvSpPr/>
                <p:nvPr/>
              </p:nvSpPr>
              <p:spPr>
                <a:xfrm>
                  <a:off x="5777326" y="1918118"/>
                  <a:ext cx="22387" cy="16401"/>
                </a:xfrm>
                <a:custGeom>
                  <a:avLst/>
                  <a:gdLst>
                    <a:gd name="connsiteX0" fmla="*/ 21602 w 22387"/>
                    <a:gd name="connsiteY0" fmla="*/ 16327 h 16401"/>
                    <a:gd name="connsiteX1" fmla="*/ 20466 w 22387"/>
                    <a:gd name="connsiteY1" fmla="*/ 16147 h 16401"/>
                    <a:gd name="connsiteX2" fmla="*/ 7188 w 22387"/>
                    <a:gd name="connsiteY2" fmla="*/ 6758 h 16401"/>
                    <a:gd name="connsiteX3" fmla="*/ 1626 w 22387"/>
                    <a:gd name="connsiteY3" fmla="*/ 9688 h 16401"/>
                    <a:gd name="connsiteX4" fmla="*/ 490 w 22387"/>
                    <a:gd name="connsiteY4" fmla="*/ 9688 h 16401"/>
                    <a:gd name="connsiteX5" fmla="*/ 11 w 22387"/>
                    <a:gd name="connsiteY5" fmla="*/ 8731 h 16401"/>
                    <a:gd name="connsiteX6" fmla="*/ 4497 w 22387"/>
                    <a:gd name="connsiteY6" fmla="*/ 717 h 16401"/>
                    <a:gd name="connsiteX7" fmla="*/ 17176 w 22387"/>
                    <a:gd name="connsiteY7" fmla="*/ 3767 h 16401"/>
                    <a:gd name="connsiteX8" fmla="*/ 17415 w 22387"/>
                    <a:gd name="connsiteY8" fmla="*/ 5203 h 16401"/>
                    <a:gd name="connsiteX9" fmla="*/ 15800 w 22387"/>
                    <a:gd name="connsiteY9" fmla="*/ 5562 h 16401"/>
                    <a:gd name="connsiteX10" fmla="*/ 5813 w 22387"/>
                    <a:gd name="connsiteY10" fmla="*/ 2392 h 16401"/>
                    <a:gd name="connsiteX11" fmla="*/ 2763 w 22387"/>
                    <a:gd name="connsiteY11" fmla="*/ 6758 h 16401"/>
                    <a:gd name="connsiteX12" fmla="*/ 6769 w 22387"/>
                    <a:gd name="connsiteY12" fmla="*/ 4664 h 16401"/>
                    <a:gd name="connsiteX13" fmla="*/ 7966 w 22387"/>
                    <a:gd name="connsiteY13" fmla="*/ 4664 h 16401"/>
                    <a:gd name="connsiteX14" fmla="*/ 22020 w 22387"/>
                    <a:gd name="connsiteY14" fmla="*/ 14533 h 16401"/>
                    <a:gd name="connsiteX15" fmla="*/ 22080 w 22387"/>
                    <a:gd name="connsiteY15" fmla="*/ 16028 h 16401"/>
                    <a:gd name="connsiteX16" fmla="*/ 21602 w 22387"/>
                    <a:gd name="connsiteY16" fmla="*/ 16327 h 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387" h="16401">
                      <a:moveTo>
                        <a:pt x="21602" y="16327"/>
                      </a:moveTo>
                      <a:cubicBezTo>
                        <a:pt x="21243" y="16446"/>
                        <a:pt x="20824" y="16446"/>
                        <a:pt x="20466" y="16147"/>
                      </a:cubicBezTo>
                      <a:cubicBezTo>
                        <a:pt x="14245" y="11363"/>
                        <a:pt x="8863" y="7834"/>
                        <a:pt x="7188" y="6758"/>
                      </a:cubicBezTo>
                      <a:lnTo>
                        <a:pt x="1626" y="9688"/>
                      </a:lnTo>
                      <a:cubicBezTo>
                        <a:pt x="1267" y="9868"/>
                        <a:pt x="789" y="9868"/>
                        <a:pt x="490" y="9688"/>
                      </a:cubicBezTo>
                      <a:cubicBezTo>
                        <a:pt x="131" y="9509"/>
                        <a:pt x="-48" y="9150"/>
                        <a:pt x="11" y="8731"/>
                      </a:cubicBezTo>
                      <a:cubicBezTo>
                        <a:pt x="11" y="8552"/>
                        <a:pt x="610" y="3588"/>
                        <a:pt x="4497" y="717"/>
                      </a:cubicBezTo>
                      <a:cubicBezTo>
                        <a:pt x="7846" y="-1735"/>
                        <a:pt x="15681" y="2810"/>
                        <a:pt x="17176" y="3767"/>
                      </a:cubicBezTo>
                      <a:cubicBezTo>
                        <a:pt x="17714" y="4066"/>
                        <a:pt x="17774" y="4724"/>
                        <a:pt x="17415" y="5203"/>
                      </a:cubicBezTo>
                      <a:cubicBezTo>
                        <a:pt x="17057" y="5681"/>
                        <a:pt x="16339" y="5861"/>
                        <a:pt x="15800" y="5562"/>
                      </a:cubicBezTo>
                      <a:cubicBezTo>
                        <a:pt x="12511" y="3528"/>
                        <a:pt x="7188" y="1315"/>
                        <a:pt x="5813" y="2392"/>
                      </a:cubicBezTo>
                      <a:cubicBezTo>
                        <a:pt x="4138" y="3588"/>
                        <a:pt x="3241" y="5382"/>
                        <a:pt x="2763" y="6758"/>
                      </a:cubicBezTo>
                      <a:lnTo>
                        <a:pt x="6769" y="4664"/>
                      </a:lnTo>
                      <a:cubicBezTo>
                        <a:pt x="7128" y="4485"/>
                        <a:pt x="7607" y="4485"/>
                        <a:pt x="7966" y="4664"/>
                      </a:cubicBezTo>
                      <a:cubicBezTo>
                        <a:pt x="8026" y="4724"/>
                        <a:pt x="14425" y="8672"/>
                        <a:pt x="22020" y="14533"/>
                      </a:cubicBezTo>
                      <a:cubicBezTo>
                        <a:pt x="22499" y="14891"/>
                        <a:pt x="22499" y="15549"/>
                        <a:pt x="22080" y="16028"/>
                      </a:cubicBezTo>
                      <a:cubicBezTo>
                        <a:pt x="21901" y="16147"/>
                        <a:pt x="21781" y="16207"/>
                        <a:pt x="21602" y="16327"/>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062" name="Graphic 3">
                <a:extLst>
                  <a:ext uri="{FF2B5EF4-FFF2-40B4-BE49-F238E27FC236}">
                    <a16:creationId xmlns:a16="http://schemas.microsoft.com/office/drawing/2014/main" id="{2EEB4BCF-724D-4867-916D-7B726F49C290}"/>
                  </a:ext>
                </a:extLst>
              </p:cNvPr>
              <p:cNvGrpSpPr/>
              <p:nvPr/>
            </p:nvGrpSpPr>
            <p:grpSpPr>
              <a:xfrm>
                <a:off x="6095261" y="1803684"/>
                <a:ext cx="92428" cy="131286"/>
                <a:chOff x="6095261" y="1803684"/>
                <a:chExt cx="92428" cy="131286"/>
              </a:xfrm>
              <a:grpFill/>
            </p:grpSpPr>
            <p:sp>
              <p:nvSpPr>
                <p:cNvPr id="9084" name="Vrije vorm: vorm 9083">
                  <a:extLst>
                    <a:ext uri="{FF2B5EF4-FFF2-40B4-BE49-F238E27FC236}">
                      <a16:creationId xmlns:a16="http://schemas.microsoft.com/office/drawing/2014/main" id="{B20BAAEC-0CE9-424A-A99D-30DF3F353198}"/>
                    </a:ext>
                  </a:extLst>
                </p:cNvPr>
                <p:cNvSpPr/>
                <p:nvPr/>
              </p:nvSpPr>
              <p:spPr>
                <a:xfrm>
                  <a:off x="6106046" y="1803684"/>
                  <a:ext cx="22324" cy="24478"/>
                </a:xfrm>
                <a:custGeom>
                  <a:avLst/>
                  <a:gdLst>
                    <a:gd name="connsiteX0" fmla="*/ 15063 w 22324"/>
                    <a:gd name="connsiteY0" fmla="*/ 24244 h 24478"/>
                    <a:gd name="connsiteX1" fmla="*/ 2803 w 22324"/>
                    <a:gd name="connsiteY1" fmla="*/ 15812 h 24478"/>
                    <a:gd name="connsiteX2" fmla="*/ 2623 w 22324"/>
                    <a:gd name="connsiteY2" fmla="*/ 15333 h 24478"/>
                    <a:gd name="connsiteX3" fmla="*/ 2504 w 22324"/>
                    <a:gd name="connsiteY3" fmla="*/ 15333 h 24478"/>
                    <a:gd name="connsiteX4" fmla="*/ 1607 w 22324"/>
                    <a:gd name="connsiteY4" fmla="*/ 14914 h 24478"/>
                    <a:gd name="connsiteX5" fmla="*/ 650 w 22324"/>
                    <a:gd name="connsiteY5" fmla="*/ 6900 h 24478"/>
                    <a:gd name="connsiteX6" fmla="*/ 9083 w 22324"/>
                    <a:gd name="connsiteY6" fmla="*/ 202 h 24478"/>
                    <a:gd name="connsiteX7" fmla="*/ 19848 w 22324"/>
                    <a:gd name="connsiteY7" fmla="*/ 4209 h 24478"/>
                    <a:gd name="connsiteX8" fmla="*/ 21881 w 22324"/>
                    <a:gd name="connsiteY8" fmla="*/ 15513 h 24478"/>
                    <a:gd name="connsiteX9" fmla="*/ 15422 w 22324"/>
                    <a:gd name="connsiteY9" fmla="*/ 24065 h 24478"/>
                    <a:gd name="connsiteX10" fmla="*/ 15063 w 22324"/>
                    <a:gd name="connsiteY10" fmla="*/ 24244 h 24478"/>
                    <a:gd name="connsiteX11" fmla="*/ 4358 w 22324"/>
                    <a:gd name="connsiteY11" fmla="*/ 14137 h 24478"/>
                    <a:gd name="connsiteX12" fmla="*/ 4836 w 22324"/>
                    <a:gd name="connsiteY12" fmla="*/ 14496 h 24478"/>
                    <a:gd name="connsiteX13" fmla="*/ 14405 w 22324"/>
                    <a:gd name="connsiteY13" fmla="*/ 22091 h 24478"/>
                    <a:gd name="connsiteX14" fmla="*/ 19549 w 22324"/>
                    <a:gd name="connsiteY14" fmla="*/ 14974 h 24478"/>
                    <a:gd name="connsiteX15" fmla="*/ 19609 w 22324"/>
                    <a:gd name="connsiteY15" fmla="*/ 14616 h 24478"/>
                    <a:gd name="connsiteX16" fmla="*/ 17276 w 22324"/>
                    <a:gd name="connsiteY16" fmla="*/ 13778 h 24478"/>
                    <a:gd name="connsiteX17" fmla="*/ 16678 w 22324"/>
                    <a:gd name="connsiteY17" fmla="*/ 12343 h 24478"/>
                    <a:gd name="connsiteX18" fmla="*/ 16559 w 22324"/>
                    <a:gd name="connsiteY18" fmla="*/ 10668 h 24478"/>
                    <a:gd name="connsiteX19" fmla="*/ 15841 w 22324"/>
                    <a:gd name="connsiteY19" fmla="*/ 10010 h 24478"/>
                    <a:gd name="connsiteX20" fmla="*/ 15243 w 22324"/>
                    <a:gd name="connsiteY20" fmla="*/ 10070 h 24478"/>
                    <a:gd name="connsiteX21" fmla="*/ 14884 w 22324"/>
                    <a:gd name="connsiteY21" fmla="*/ 10549 h 24478"/>
                    <a:gd name="connsiteX22" fmla="*/ 14166 w 22324"/>
                    <a:gd name="connsiteY22" fmla="*/ 11326 h 24478"/>
                    <a:gd name="connsiteX23" fmla="*/ 13090 w 22324"/>
                    <a:gd name="connsiteY23" fmla="*/ 11266 h 24478"/>
                    <a:gd name="connsiteX24" fmla="*/ 10338 w 22324"/>
                    <a:gd name="connsiteY24" fmla="*/ 9771 h 24478"/>
                    <a:gd name="connsiteX25" fmla="*/ 4358 w 22324"/>
                    <a:gd name="connsiteY25" fmla="*/ 14137 h 24478"/>
                    <a:gd name="connsiteX26" fmla="*/ 19250 w 22324"/>
                    <a:gd name="connsiteY26" fmla="*/ 11984 h 24478"/>
                    <a:gd name="connsiteX27" fmla="*/ 19908 w 22324"/>
                    <a:gd name="connsiteY27" fmla="*/ 12223 h 24478"/>
                    <a:gd name="connsiteX28" fmla="*/ 17934 w 22324"/>
                    <a:gd name="connsiteY28" fmla="*/ 5644 h 24478"/>
                    <a:gd name="connsiteX29" fmla="*/ 9441 w 22324"/>
                    <a:gd name="connsiteY29" fmla="*/ 2415 h 24478"/>
                    <a:gd name="connsiteX30" fmla="*/ 2922 w 22324"/>
                    <a:gd name="connsiteY30" fmla="*/ 7558 h 24478"/>
                    <a:gd name="connsiteX31" fmla="*/ 2922 w 22324"/>
                    <a:gd name="connsiteY31" fmla="*/ 12343 h 24478"/>
                    <a:gd name="connsiteX32" fmla="*/ 9860 w 22324"/>
                    <a:gd name="connsiteY32" fmla="*/ 7439 h 24478"/>
                    <a:gd name="connsiteX33" fmla="*/ 11116 w 22324"/>
                    <a:gd name="connsiteY33" fmla="*/ 7439 h 24478"/>
                    <a:gd name="connsiteX34" fmla="*/ 13389 w 22324"/>
                    <a:gd name="connsiteY34" fmla="*/ 8695 h 24478"/>
                    <a:gd name="connsiteX35" fmla="*/ 14046 w 22324"/>
                    <a:gd name="connsiteY35" fmla="*/ 8156 h 24478"/>
                    <a:gd name="connsiteX36" fmla="*/ 16559 w 22324"/>
                    <a:gd name="connsiteY36" fmla="*/ 7798 h 24478"/>
                    <a:gd name="connsiteX37" fmla="*/ 18831 w 22324"/>
                    <a:gd name="connsiteY37" fmla="*/ 9592 h 24478"/>
                    <a:gd name="connsiteX38" fmla="*/ 19250 w 22324"/>
                    <a:gd name="connsiteY38" fmla="*/ 11984 h 2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324" h="24478">
                      <a:moveTo>
                        <a:pt x="15063" y="24244"/>
                      </a:moveTo>
                      <a:cubicBezTo>
                        <a:pt x="10338" y="25979"/>
                        <a:pt x="4059" y="17546"/>
                        <a:pt x="2803" y="15812"/>
                      </a:cubicBezTo>
                      <a:cubicBezTo>
                        <a:pt x="2683" y="15692"/>
                        <a:pt x="2623" y="15513"/>
                        <a:pt x="2623" y="15333"/>
                      </a:cubicBezTo>
                      <a:cubicBezTo>
                        <a:pt x="2564" y="15333"/>
                        <a:pt x="2564" y="15333"/>
                        <a:pt x="2504" y="15333"/>
                      </a:cubicBezTo>
                      <a:cubicBezTo>
                        <a:pt x="2145" y="15333"/>
                        <a:pt x="1846" y="15154"/>
                        <a:pt x="1607" y="14914"/>
                      </a:cubicBezTo>
                      <a:cubicBezTo>
                        <a:pt x="1487" y="14795"/>
                        <a:pt x="-1204" y="11446"/>
                        <a:pt x="650" y="6900"/>
                      </a:cubicBezTo>
                      <a:cubicBezTo>
                        <a:pt x="2025" y="3491"/>
                        <a:pt x="5255" y="920"/>
                        <a:pt x="9083" y="202"/>
                      </a:cubicBezTo>
                      <a:cubicBezTo>
                        <a:pt x="13209" y="-576"/>
                        <a:pt x="17097" y="920"/>
                        <a:pt x="19848" y="4209"/>
                      </a:cubicBezTo>
                      <a:cubicBezTo>
                        <a:pt x="23676" y="8814"/>
                        <a:pt x="21941" y="15214"/>
                        <a:pt x="21881" y="15513"/>
                      </a:cubicBezTo>
                      <a:cubicBezTo>
                        <a:pt x="21463" y="16828"/>
                        <a:pt x="19010" y="22331"/>
                        <a:pt x="15422" y="24065"/>
                      </a:cubicBezTo>
                      <a:cubicBezTo>
                        <a:pt x="15302" y="24125"/>
                        <a:pt x="15183" y="24185"/>
                        <a:pt x="15063" y="24244"/>
                      </a:cubicBezTo>
                      <a:close/>
                      <a:moveTo>
                        <a:pt x="4358" y="14137"/>
                      </a:moveTo>
                      <a:cubicBezTo>
                        <a:pt x="4537" y="14197"/>
                        <a:pt x="4716" y="14316"/>
                        <a:pt x="4836" y="14496"/>
                      </a:cubicBezTo>
                      <a:cubicBezTo>
                        <a:pt x="8424" y="19520"/>
                        <a:pt x="12731" y="22988"/>
                        <a:pt x="14405" y="22091"/>
                      </a:cubicBezTo>
                      <a:cubicBezTo>
                        <a:pt x="16798" y="20895"/>
                        <a:pt x="19070" y="16589"/>
                        <a:pt x="19549" y="14974"/>
                      </a:cubicBezTo>
                      <a:cubicBezTo>
                        <a:pt x="19549" y="14974"/>
                        <a:pt x="19609" y="14855"/>
                        <a:pt x="19609" y="14616"/>
                      </a:cubicBezTo>
                      <a:lnTo>
                        <a:pt x="17276" y="13778"/>
                      </a:lnTo>
                      <a:cubicBezTo>
                        <a:pt x="16678" y="13539"/>
                        <a:pt x="16439" y="12941"/>
                        <a:pt x="16678" y="12343"/>
                      </a:cubicBezTo>
                      <a:cubicBezTo>
                        <a:pt x="16917" y="11864"/>
                        <a:pt x="16858" y="11206"/>
                        <a:pt x="16559" y="10668"/>
                      </a:cubicBezTo>
                      <a:cubicBezTo>
                        <a:pt x="16379" y="10309"/>
                        <a:pt x="16080" y="10010"/>
                        <a:pt x="15841" y="10010"/>
                      </a:cubicBezTo>
                      <a:cubicBezTo>
                        <a:pt x="15542" y="9951"/>
                        <a:pt x="15362" y="9951"/>
                        <a:pt x="15243" y="10070"/>
                      </a:cubicBezTo>
                      <a:cubicBezTo>
                        <a:pt x="15063" y="10190"/>
                        <a:pt x="14944" y="10429"/>
                        <a:pt x="14884" y="10549"/>
                      </a:cubicBezTo>
                      <a:cubicBezTo>
                        <a:pt x="14764" y="10907"/>
                        <a:pt x="14525" y="11206"/>
                        <a:pt x="14166" y="11326"/>
                      </a:cubicBezTo>
                      <a:cubicBezTo>
                        <a:pt x="13807" y="11446"/>
                        <a:pt x="13389" y="11446"/>
                        <a:pt x="13090" y="11266"/>
                      </a:cubicBezTo>
                      <a:lnTo>
                        <a:pt x="10338" y="9771"/>
                      </a:lnTo>
                      <a:cubicBezTo>
                        <a:pt x="7587" y="11386"/>
                        <a:pt x="5494" y="13120"/>
                        <a:pt x="4358" y="14137"/>
                      </a:cubicBezTo>
                      <a:close/>
                      <a:moveTo>
                        <a:pt x="19250" y="11984"/>
                      </a:moveTo>
                      <a:lnTo>
                        <a:pt x="19908" y="12223"/>
                      </a:lnTo>
                      <a:cubicBezTo>
                        <a:pt x="19968" y="10309"/>
                        <a:pt x="19609" y="7678"/>
                        <a:pt x="17934" y="5644"/>
                      </a:cubicBezTo>
                      <a:cubicBezTo>
                        <a:pt x="15721" y="3013"/>
                        <a:pt x="12671" y="1817"/>
                        <a:pt x="9441" y="2415"/>
                      </a:cubicBezTo>
                      <a:cubicBezTo>
                        <a:pt x="6451" y="2953"/>
                        <a:pt x="3999" y="4927"/>
                        <a:pt x="2922" y="7558"/>
                      </a:cubicBezTo>
                      <a:cubicBezTo>
                        <a:pt x="2085" y="9592"/>
                        <a:pt x="2504" y="11326"/>
                        <a:pt x="2922" y="12343"/>
                      </a:cubicBezTo>
                      <a:cubicBezTo>
                        <a:pt x="4238" y="11147"/>
                        <a:pt x="6630" y="9233"/>
                        <a:pt x="9860" y="7439"/>
                      </a:cubicBezTo>
                      <a:cubicBezTo>
                        <a:pt x="10279" y="7199"/>
                        <a:pt x="10757" y="7199"/>
                        <a:pt x="11116" y="7439"/>
                      </a:cubicBezTo>
                      <a:lnTo>
                        <a:pt x="13389" y="8695"/>
                      </a:lnTo>
                      <a:cubicBezTo>
                        <a:pt x="13568" y="8515"/>
                        <a:pt x="13807" y="8276"/>
                        <a:pt x="14046" y="8156"/>
                      </a:cubicBezTo>
                      <a:cubicBezTo>
                        <a:pt x="14525" y="7857"/>
                        <a:pt x="15362" y="7558"/>
                        <a:pt x="16559" y="7798"/>
                      </a:cubicBezTo>
                      <a:cubicBezTo>
                        <a:pt x="17515" y="7977"/>
                        <a:pt x="18353" y="8635"/>
                        <a:pt x="18831" y="9592"/>
                      </a:cubicBezTo>
                      <a:cubicBezTo>
                        <a:pt x="19250" y="10309"/>
                        <a:pt x="19369" y="11206"/>
                        <a:pt x="19250" y="1198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85" name="Vrije vorm: vorm 9084">
                  <a:extLst>
                    <a:ext uri="{FF2B5EF4-FFF2-40B4-BE49-F238E27FC236}">
                      <a16:creationId xmlns:a16="http://schemas.microsoft.com/office/drawing/2014/main" id="{478752A6-B0C2-40C6-B52F-DB2C3A71A1DC}"/>
                    </a:ext>
                  </a:extLst>
                </p:cNvPr>
                <p:cNvSpPr/>
                <p:nvPr/>
              </p:nvSpPr>
              <p:spPr>
                <a:xfrm>
                  <a:off x="6125572" y="1817788"/>
                  <a:ext cx="62118" cy="107949"/>
                </a:xfrm>
                <a:custGeom>
                  <a:avLst/>
                  <a:gdLst>
                    <a:gd name="connsiteX0" fmla="*/ 52952 w 62118"/>
                    <a:gd name="connsiteY0" fmla="*/ 107865 h 107949"/>
                    <a:gd name="connsiteX1" fmla="*/ 51696 w 62118"/>
                    <a:gd name="connsiteY1" fmla="*/ 107626 h 107949"/>
                    <a:gd name="connsiteX2" fmla="*/ 51816 w 62118"/>
                    <a:gd name="connsiteY2" fmla="*/ 106011 h 107949"/>
                    <a:gd name="connsiteX3" fmla="*/ 59352 w 62118"/>
                    <a:gd name="connsiteY3" fmla="*/ 96562 h 107949"/>
                    <a:gd name="connsiteX4" fmla="*/ 38120 w 62118"/>
                    <a:gd name="connsiteY4" fmla="*/ 77184 h 107949"/>
                    <a:gd name="connsiteX5" fmla="*/ 22750 w 62118"/>
                    <a:gd name="connsiteY5" fmla="*/ 49852 h 107949"/>
                    <a:gd name="connsiteX6" fmla="*/ 22451 w 62118"/>
                    <a:gd name="connsiteY6" fmla="*/ 49194 h 107949"/>
                    <a:gd name="connsiteX7" fmla="*/ 22092 w 62118"/>
                    <a:gd name="connsiteY7" fmla="*/ 48297 h 107949"/>
                    <a:gd name="connsiteX8" fmla="*/ 22869 w 62118"/>
                    <a:gd name="connsiteY8" fmla="*/ 46862 h 107949"/>
                    <a:gd name="connsiteX9" fmla="*/ 23646 w 62118"/>
                    <a:gd name="connsiteY9" fmla="*/ 46503 h 107949"/>
                    <a:gd name="connsiteX10" fmla="*/ 21972 w 62118"/>
                    <a:gd name="connsiteY10" fmla="*/ 42855 h 107949"/>
                    <a:gd name="connsiteX11" fmla="*/ 16889 w 62118"/>
                    <a:gd name="connsiteY11" fmla="*/ 28023 h 107949"/>
                    <a:gd name="connsiteX12" fmla="*/ 6661 w 62118"/>
                    <a:gd name="connsiteY12" fmla="*/ 7927 h 107949"/>
                    <a:gd name="connsiteX13" fmla="*/ 4867 w 62118"/>
                    <a:gd name="connsiteY13" fmla="*/ 6672 h 107949"/>
                    <a:gd name="connsiteX14" fmla="*/ 83 w 62118"/>
                    <a:gd name="connsiteY14" fmla="*/ 1588 h 107949"/>
                    <a:gd name="connsiteX15" fmla="*/ 741 w 62118"/>
                    <a:gd name="connsiteY15" fmla="*/ 93 h 107949"/>
                    <a:gd name="connsiteX16" fmla="*/ 2296 w 62118"/>
                    <a:gd name="connsiteY16" fmla="*/ 631 h 107949"/>
                    <a:gd name="connsiteX17" fmla="*/ 6362 w 62118"/>
                    <a:gd name="connsiteY17" fmla="*/ 4818 h 107949"/>
                    <a:gd name="connsiteX18" fmla="*/ 8276 w 62118"/>
                    <a:gd name="connsiteY18" fmla="*/ 6193 h 107949"/>
                    <a:gd name="connsiteX19" fmla="*/ 19221 w 62118"/>
                    <a:gd name="connsiteY19" fmla="*/ 27544 h 107949"/>
                    <a:gd name="connsiteX20" fmla="*/ 24125 w 62118"/>
                    <a:gd name="connsiteY20" fmla="*/ 41838 h 107949"/>
                    <a:gd name="connsiteX21" fmla="*/ 26039 w 62118"/>
                    <a:gd name="connsiteY21" fmla="*/ 46144 h 107949"/>
                    <a:gd name="connsiteX22" fmla="*/ 24723 w 62118"/>
                    <a:gd name="connsiteY22" fmla="*/ 48477 h 107949"/>
                    <a:gd name="connsiteX23" fmla="*/ 24962 w 62118"/>
                    <a:gd name="connsiteY23" fmla="*/ 49075 h 107949"/>
                    <a:gd name="connsiteX24" fmla="*/ 40034 w 62118"/>
                    <a:gd name="connsiteY24" fmla="*/ 75868 h 107949"/>
                    <a:gd name="connsiteX25" fmla="*/ 61624 w 62118"/>
                    <a:gd name="connsiteY25" fmla="*/ 95306 h 107949"/>
                    <a:gd name="connsiteX26" fmla="*/ 62103 w 62118"/>
                    <a:gd name="connsiteY26" fmla="*/ 96024 h 107949"/>
                    <a:gd name="connsiteX27" fmla="*/ 61863 w 62118"/>
                    <a:gd name="connsiteY27" fmla="*/ 96861 h 107949"/>
                    <a:gd name="connsiteX28" fmla="*/ 53311 w 62118"/>
                    <a:gd name="connsiteY28" fmla="*/ 107566 h 107949"/>
                    <a:gd name="connsiteX29" fmla="*/ 52952 w 62118"/>
                    <a:gd name="connsiteY29" fmla="*/ 107865 h 10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2118" h="107949">
                      <a:moveTo>
                        <a:pt x="52952" y="107865"/>
                      </a:moveTo>
                      <a:cubicBezTo>
                        <a:pt x="52533" y="108045"/>
                        <a:pt x="51995" y="107925"/>
                        <a:pt x="51696" y="107626"/>
                      </a:cubicBezTo>
                      <a:cubicBezTo>
                        <a:pt x="51278" y="107207"/>
                        <a:pt x="51278" y="106490"/>
                        <a:pt x="51816" y="106011"/>
                      </a:cubicBezTo>
                      <a:cubicBezTo>
                        <a:pt x="52533" y="105413"/>
                        <a:pt x="56540" y="100270"/>
                        <a:pt x="59352" y="96562"/>
                      </a:cubicBezTo>
                      <a:cubicBezTo>
                        <a:pt x="56122" y="94409"/>
                        <a:pt x="45536" y="86993"/>
                        <a:pt x="38120" y="77184"/>
                      </a:cubicBezTo>
                      <a:cubicBezTo>
                        <a:pt x="28252" y="64146"/>
                        <a:pt x="23587" y="52125"/>
                        <a:pt x="22750" y="49852"/>
                      </a:cubicBezTo>
                      <a:cubicBezTo>
                        <a:pt x="22690" y="49613"/>
                        <a:pt x="22570" y="49434"/>
                        <a:pt x="22451" y="49194"/>
                      </a:cubicBezTo>
                      <a:cubicBezTo>
                        <a:pt x="22331" y="48895"/>
                        <a:pt x="22211" y="48596"/>
                        <a:pt x="22092" y="48297"/>
                      </a:cubicBezTo>
                      <a:cubicBezTo>
                        <a:pt x="21852" y="47699"/>
                        <a:pt x="22211" y="47101"/>
                        <a:pt x="22869" y="46862"/>
                      </a:cubicBezTo>
                      <a:cubicBezTo>
                        <a:pt x="23168" y="46742"/>
                        <a:pt x="23467" y="46623"/>
                        <a:pt x="23646" y="46503"/>
                      </a:cubicBezTo>
                      <a:cubicBezTo>
                        <a:pt x="23228" y="45427"/>
                        <a:pt x="22630" y="44230"/>
                        <a:pt x="21972" y="42855"/>
                      </a:cubicBezTo>
                      <a:cubicBezTo>
                        <a:pt x="20178" y="39087"/>
                        <a:pt x="17905" y="34362"/>
                        <a:pt x="16889" y="28023"/>
                      </a:cubicBezTo>
                      <a:cubicBezTo>
                        <a:pt x="15094" y="16958"/>
                        <a:pt x="8874" y="9781"/>
                        <a:pt x="6661" y="7927"/>
                      </a:cubicBezTo>
                      <a:cubicBezTo>
                        <a:pt x="6123" y="7449"/>
                        <a:pt x="5525" y="7090"/>
                        <a:pt x="4867" y="6672"/>
                      </a:cubicBezTo>
                      <a:cubicBezTo>
                        <a:pt x="3133" y="5535"/>
                        <a:pt x="1219" y="4219"/>
                        <a:pt x="83" y="1588"/>
                      </a:cubicBezTo>
                      <a:cubicBezTo>
                        <a:pt x="-157" y="1050"/>
                        <a:pt x="142" y="332"/>
                        <a:pt x="741" y="93"/>
                      </a:cubicBezTo>
                      <a:cubicBezTo>
                        <a:pt x="1338" y="-146"/>
                        <a:pt x="2056" y="93"/>
                        <a:pt x="2296" y="631"/>
                      </a:cubicBezTo>
                      <a:cubicBezTo>
                        <a:pt x="3192" y="2724"/>
                        <a:pt x="4747" y="3741"/>
                        <a:pt x="6362" y="4818"/>
                      </a:cubicBezTo>
                      <a:cubicBezTo>
                        <a:pt x="7020" y="5236"/>
                        <a:pt x="7678" y="5715"/>
                        <a:pt x="8276" y="6193"/>
                      </a:cubicBezTo>
                      <a:cubicBezTo>
                        <a:pt x="11267" y="8645"/>
                        <a:pt x="17427" y="16241"/>
                        <a:pt x="19221" y="27544"/>
                      </a:cubicBezTo>
                      <a:cubicBezTo>
                        <a:pt x="20178" y="33585"/>
                        <a:pt x="22391" y="38130"/>
                        <a:pt x="24125" y="41838"/>
                      </a:cubicBezTo>
                      <a:cubicBezTo>
                        <a:pt x="24903" y="43453"/>
                        <a:pt x="25560" y="44828"/>
                        <a:pt x="26039" y="46144"/>
                      </a:cubicBezTo>
                      <a:cubicBezTo>
                        <a:pt x="26338" y="46982"/>
                        <a:pt x="25860" y="47819"/>
                        <a:pt x="24723" y="48477"/>
                      </a:cubicBezTo>
                      <a:cubicBezTo>
                        <a:pt x="24843" y="48656"/>
                        <a:pt x="24903" y="48895"/>
                        <a:pt x="24962" y="49075"/>
                      </a:cubicBezTo>
                      <a:cubicBezTo>
                        <a:pt x="25441" y="50450"/>
                        <a:pt x="30106" y="62771"/>
                        <a:pt x="40034" y="75868"/>
                      </a:cubicBezTo>
                      <a:cubicBezTo>
                        <a:pt x="48467" y="86993"/>
                        <a:pt x="61504" y="95246"/>
                        <a:pt x="61624" y="95306"/>
                      </a:cubicBezTo>
                      <a:cubicBezTo>
                        <a:pt x="61863" y="95485"/>
                        <a:pt x="62043" y="95724"/>
                        <a:pt x="62103" y="96024"/>
                      </a:cubicBezTo>
                      <a:cubicBezTo>
                        <a:pt x="62162" y="96323"/>
                        <a:pt x="62043" y="96622"/>
                        <a:pt x="61863" y="96861"/>
                      </a:cubicBezTo>
                      <a:cubicBezTo>
                        <a:pt x="60667" y="98476"/>
                        <a:pt x="54447" y="106550"/>
                        <a:pt x="53311" y="107566"/>
                      </a:cubicBezTo>
                      <a:cubicBezTo>
                        <a:pt x="53251" y="107746"/>
                        <a:pt x="53072" y="107806"/>
                        <a:pt x="52952" y="10786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86" name="Vrije vorm: vorm 9085">
                  <a:extLst>
                    <a:ext uri="{FF2B5EF4-FFF2-40B4-BE49-F238E27FC236}">
                      <a16:creationId xmlns:a16="http://schemas.microsoft.com/office/drawing/2014/main" id="{3F5FAEF5-CC5B-4966-AFB2-4E7771C0C8FE}"/>
                    </a:ext>
                  </a:extLst>
                </p:cNvPr>
                <p:cNvSpPr/>
                <p:nvPr/>
              </p:nvSpPr>
              <p:spPr>
                <a:xfrm>
                  <a:off x="6101234" y="1825872"/>
                  <a:ext cx="33869" cy="31641"/>
                </a:xfrm>
                <a:custGeom>
                  <a:avLst/>
                  <a:gdLst>
                    <a:gd name="connsiteX0" fmla="*/ 30042 w 33869"/>
                    <a:gd name="connsiteY0" fmla="*/ 31362 h 31641"/>
                    <a:gd name="connsiteX1" fmla="*/ 6956 w 33869"/>
                    <a:gd name="connsiteY1" fmla="*/ 27355 h 31641"/>
                    <a:gd name="connsiteX2" fmla="*/ 6119 w 33869"/>
                    <a:gd name="connsiteY2" fmla="*/ 25919 h 31641"/>
                    <a:gd name="connsiteX3" fmla="*/ 6119 w 33869"/>
                    <a:gd name="connsiteY3" fmla="*/ 25860 h 31641"/>
                    <a:gd name="connsiteX4" fmla="*/ 2531 w 33869"/>
                    <a:gd name="connsiteY4" fmla="*/ 24006 h 31641"/>
                    <a:gd name="connsiteX5" fmla="*/ 677 w 33869"/>
                    <a:gd name="connsiteY5" fmla="*/ 17247 h 31641"/>
                    <a:gd name="connsiteX6" fmla="*/ 2232 w 33869"/>
                    <a:gd name="connsiteY6" fmla="*/ 16649 h 31641"/>
                    <a:gd name="connsiteX7" fmla="*/ 10724 w 33869"/>
                    <a:gd name="connsiteY7" fmla="*/ 19520 h 31641"/>
                    <a:gd name="connsiteX8" fmla="*/ 23044 w 33869"/>
                    <a:gd name="connsiteY8" fmla="*/ 20955 h 31641"/>
                    <a:gd name="connsiteX9" fmla="*/ 22207 w 33869"/>
                    <a:gd name="connsiteY9" fmla="*/ 7379 h 31641"/>
                    <a:gd name="connsiteX10" fmla="*/ 27710 w 33869"/>
                    <a:gd name="connsiteY10" fmla="*/ 23 h 31641"/>
                    <a:gd name="connsiteX11" fmla="*/ 29085 w 33869"/>
                    <a:gd name="connsiteY11" fmla="*/ 860 h 31641"/>
                    <a:gd name="connsiteX12" fmla="*/ 28068 w 33869"/>
                    <a:gd name="connsiteY12" fmla="*/ 2176 h 31641"/>
                    <a:gd name="connsiteX13" fmla="*/ 24599 w 33869"/>
                    <a:gd name="connsiteY13" fmla="*/ 7080 h 31641"/>
                    <a:gd name="connsiteX14" fmla="*/ 25556 w 33869"/>
                    <a:gd name="connsiteY14" fmla="*/ 22032 h 31641"/>
                    <a:gd name="connsiteX15" fmla="*/ 25138 w 33869"/>
                    <a:gd name="connsiteY15" fmla="*/ 22929 h 31641"/>
                    <a:gd name="connsiteX16" fmla="*/ 24121 w 33869"/>
                    <a:gd name="connsiteY16" fmla="*/ 23288 h 31641"/>
                    <a:gd name="connsiteX17" fmla="*/ 9947 w 33869"/>
                    <a:gd name="connsiteY17" fmla="*/ 21613 h 31641"/>
                    <a:gd name="connsiteX18" fmla="*/ 2411 w 33869"/>
                    <a:gd name="connsiteY18" fmla="*/ 19161 h 31641"/>
                    <a:gd name="connsiteX19" fmla="*/ 3906 w 33869"/>
                    <a:gd name="connsiteY19" fmla="*/ 22092 h 31641"/>
                    <a:gd name="connsiteX20" fmla="*/ 7614 w 33869"/>
                    <a:gd name="connsiteY20" fmla="*/ 24006 h 31641"/>
                    <a:gd name="connsiteX21" fmla="*/ 8451 w 33869"/>
                    <a:gd name="connsiteY21" fmla="*/ 25441 h 31641"/>
                    <a:gd name="connsiteX22" fmla="*/ 8451 w 33869"/>
                    <a:gd name="connsiteY22" fmla="*/ 25501 h 31641"/>
                    <a:gd name="connsiteX23" fmla="*/ 29025 w 33869"/>
                    <a:gd name="connsiteY23" fmla="*/ 29328 h 31641"/>
                    <a:gd name="connsiteX24" fmla="*/ 31418 w 33869"/>
                    <a:gd name="connsiteY24" fmla="*/ 13121 h 31641"/>
                    <a:gd name="connsiteX25" fmla="*/ 32673 w 33869"/>
                    <a:gd name="connsiteY25" fmla="*/ 11984 h 31641"/>
                    <a:gd name="connsiteX26" fmla="*/ 33869 w 33869"/>
                    <a:gd name="connsiteY26" fmla="*/ 13061 h 31641"/>
                    <a:gd name="connsiteX27" fmla="*/ 32973 w 33869"/>
                    <a:gd name="connsiteY27" fmla="*/ 22391 h 31641"/>
                    <a:gd name="connsiteX28" fmla="*/ 30042 w 33869"/>
                    <a:gd name="connsiteY28" fmla="*/ 31362 h 31641"/>
                    <a:gd name="connsiteX29" fmla="*/ 28965 w 33869"/>
                    <a:gd name="connsiteY29" fmla="*/ 29448 h 31641"/>
                    <a:gd name="connsiteX30" fmla="*/ 28965 w 33869"/>
                    <a:gd name="connsiteY30" fmla="*/ 29448 h 31641"/>
                    <a:gd name="connsiteX31" fmla="*/ 28965 w 33869"/>
                    <a:gd name="connsiteY31" fmla="*/ 29448 h 3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869" h="31641">
                      <a:moveTo>
                        <a:pt x="30042" y="31362"/>
                      </a:moveTo>
                      <a:cubicBezTo>
                        <a:pt x="27769" y="32199"/>
                        <a:pt x="15568" y="31242"/>
                        <a:pt x="6956" y="27355"/>
                      </a:cubicBezTo>
                      <a:cubicBezTo>
                        <a:pt x="6298" y="27056"/>
                        <a:pt x="6179" y="26398"/>
                        <a:pt x="6119" y="25919"/>
                      </a:cubicBezTo>
                      <a:cubicBezTo>
                        <a:pt x="6119" y="25919"/>
                        <a:pt x="6119" y="25860"/>
                        <a:pt x="6119" y="25860"/>
                      </a:cubicBezTo>
                      <a:cubicBezTo>
                        <a:pt x="4564" y="25142"/>
                        <a:pt x="3308" y="24484"/>
                        <a:pt x="2531" y="24006"/>
                      </a:cubicBezTo>
                      <a:cubicBezTo>
                        <a:pt x="-819" y="21912"/>
                        <a:pt x="-161" y="18683"/>
                        <a:pt x="677" y="17247"/>
                      </a:cubicBezTo>
                      <a:cubicBezTo>
                        <a:pt x="976" y="16709"/>
                        <a:pt x="1633" y="16470"/>
                        <a:pt x="2232" y="16649"/>
                      </a:cubicBezTo>
                      <a:cubicBezTo>
                        <a:pt x="2291" y="16649"/>
                        <a:pt x="8930" y="19042"/>
                        <a:pt x="10724" y="19520"/>
                      </a:cubicBezTo>
                      <a:cubicBezTo>
                        <a:pt x="12040" y="19879"/>
                        <a:pt x="19097" y="20597"/>
                        <a:pt x="23044" y="20955"/>
                      </a:cubicBezTo>
                      <a:cubicBezTo>
                        <a:pt x="22865" y="17786"/>
                        <a:pt x="22327" y="10071"/>
                        <a:pt x="22207" y="7379"/>
                      </a:cubicBezTo>
                      <a:cubicBezTo>
                        <a:pt x="21968" y="3133"/>
                        <a:pt x="24898" y="561"/>
                        <a:pt x="27710" y="23"/>
                      </a:cubicBezTo>
                      <a:cubicBezTo>
                        <a:pt x="28367" y="-97"/>
                        <a:pt x="28965" y="262"/>
                        <a:pt x="29085" y="860"/>
                      </a:cubicBezTo>
                      <a:cubicBezTo>
                        <a:pt x="29205" y="1458"/>
                        <a:pt x="28726" y="2056"/>
                        <a:pt x="28068" y="2176"/>
                      </a:cubicBezTo>
                      <a:cubicBezTo>
                        <a:pt x="26274" y="2535"/>
                        <a:pt x="24480" y="4209"/>
                        <a:pt x="24599" y="7080"/>
                      </a:cubicBezTo>
                      <a:cubicBezTo>
                        <a:pt x="24779" y="10489"/>
                        <a:pt x="25497" y="21972"/>
                        <a:pt x="25556" y="22032"/>
                      </a:cubicBezTo>
                      <a:cubicBezTo>
                        <a:pt x="25556" y="22391"/>
                        <a:pt x="25437" y="22690"/>
                        <a:pt x="25138" y="22929"/>
                      </a:cubicBezTo>
                      <a:cubicBezTo>
                        <a:pt x="24839" y="23168"/>
                        <a:pt x="24480" y="23288"/>
                        <a:pt x="24121" y="23288"/>
                      </a:cubicBezTo>
                      <a:cubicBezTo>
                        <a:pt x="22865" y="23168"/>
                        <a:pt x="11860" y="22092"/>
                        <a:pt x="9947" y="21613"/>
                      </a:cubicBezTo>
                      <a:cubicBezTo>
                        <a:pt x="8511" y="21254"/>
                        <a:pt x="4504" y="19879"/>
                        <a:pt x="2411" y="19161"/>
                      </a:cubicBezTo>
                      <a:cubicBezTo>
                        <a:pt x="2291" y="19999"/>
                        <a:pt x="2471" y="21135"/>
                        <a:pt x="3906" y="22092"/>
                      </a:cubicBezTo>
                      <a:cubicBezTo>
                        <a:pt x="4624" y="22570"/>
                        <a:pt x="5999" y="23228"/>
                        <a:pt x="7614" y="24006"/>
                      </a:cubicBezTo>
                      <a:cubicBezTo>
                        <a:pt x="8272" y="24305"/>
                        <a:pt x="8332" y="24903"/>
                        <a:pt x="8451" y="25441"/>
                      </a:cubicBezTo>
                      <a:cubicBezTo>
                        <a:pt x="8451" y="25441"/>
                        <a:pt x="8451" y="25501"/>
                        <a:pt x="8451" y="25501"/>
                      </a:cubicBezTo>
                      <a:cubicBezTo>
                        <a:pt x="16466" y="28970"/>
                        <a:pt x="26992" y="29687"/>
                        <a:pt x="29025" y="29328"/>
                      </a:cubicBezTo>
                      <a:cubicBezTo>
                        <a:pt x="30102" y="27474"/>
                        <a:pt x="31298" y="16410"/>
                        <a:pt x="31418" y="13121"/>
                      </a:cubicBezTo>
                      <a:cubicBezTo>
                        <a:pt x="31418" y="12523"/>
                        <a:pt x="32015" y="11984"/>
                        <a:pt x="32673" y="11984"/>
                      </a:cubicBezTo>
                      <a:cubicBezTo>
                        <a:pt x="33331" y="11984"/>
                        <a:pt x="33869" y="12463"/>
                        <a:pt x="33869" y="13061"/>
                      </a:cubicBezTo>
                      <a:cubicBezTo>
                        <a:pt x="33810" y="14257"/>
                        <a:pt x="33511" y="18503"/>
                        <a:pt x="32973" y="22391"/>
                      </a:cubicBezTo>
                      <a:cubicBezTo>
                        <a:pt x="31896" y="30046"/>
                        <a:pt x="30999" y="31003"/>
                        <a:pt x="30042" y="31362"/>
                      </a:cubicBezTo>
                      <a:close/>
                      <a:moveTo>
                        <a:pt x="28965" y="29448"/>
                      </a:moveTo>
                      <a:lnTo>
                        <a:pt x="28965" y="29448"/>
                      </a:lnTo>
                      <a:lnTo>
                        <a:pt x="28965" y="29448"/>
                      </a:lnTo>
                      <a:close/>
                    </a:path>
                  </a:pathLst>
                </a:custGeom>
                <a:grpFill/>
                <a:ln w="6350" cap="flat">
                  <a:solidFill>
                    <a:schemeClr val="bg1">
                      <a:alpha val="40000"/>
                    </a:schemeClr>
                  </a:solidFill>
                  <a:prstDash val="solid"/>
                  <a:miter/>
                </a:ln>
              </p:spPr>
              <p:txBody>
                <a:bodyPr rtlCol="0" anchor="ctr"/>
                <a:lstStyle/>
                <a:p>
                  <a:endParaRPr lang="en-GB"/>
                </a:p>
              </p:txBody>
            </p:sp>
            <p:sp>
              <p:nvSpPr>
                <p:cNvPr id="9087" name="Vrije vorm: vorm 9086">
                  <a:extLst>
                    <a:ext uri="{FF2B5EF4-FFF2-40B4-BE49-F238E27FC236}">
                      <a16:creationId xmlns:a16="http://schemas.microsoft.com/office/drawing/2014/main" id="{29716831-B3C9-4C86-A51D-A8F26F0AD18B}"/>
                    </a:ext>
                  </a:extLst>
                </p:cNvPr>
                <p:cNvSpPr/>
                <p:nvPr/>
              </p:nvSpPr>
              <p:spPr>
                <a:xfrm>
                  <a:off x="6129163" y="1855476"/>
                  <a:ext cx="51224" cy="67493"/>
                </a:xfrm>
                <a:custGeom>
                  <a:avLst/>
                  <a:gdLst>
                    <a:gd name="connsiteX0" fmla="*/ 50498 w 51224"/>
                    <a:gd name="connsiteY0" fmla="*/ 67426 h 67493"/>
                    <a:gd name="connsiteX1" fmla="*/ 49062 w 51224"/>
                    <a:gd name="connsiteY1" fmla="*/ 66947 h 67493"/>
                    <a:gd name="connsiteX2" fmla="*/ 45952 w 51224"/>
                    <a:gd name="connsiteY2" fmla="*/ 64675 h 67493"/>
                    <a:gd name="connsiteX3" fmla="*/ 28190 w 51224"/>
                    <a:gd name="connsiteY3" fmla="*/ 50620 h 67493"/>
                    <a:gd name="connsiteX4" fmla="*/ 6898 w 51224"/>
                    <a:gd name="connsiteY4" fmla="*/ 19640 h 67493"/>
                    <a:gd name="connsiteX5" fmla="*/ 6001 w 51224"/>
                    <a:gd name="connsiteY5" fmla="*/ 18204 h 67493"/>
                    <a:gd name="connsiteX6" fmla="*/ 5044 w 51224"/>
                    <a:gd name="connsiteY6" fmla="*/ 16709 h 67493"/>
                    <a:gd name="connsiteX7" fmla="*/ 2772 w 51224"/>
                    <a:gd name="connsiteY7" fmla="*/ 16051 h 67493"/>
                    <a:gd name="connsiteX8" fmla="*/ 499 w 51224"/>
                    <a:gd name="connsiteY8" fmla="*/ 4688 h 67493"/>
                    <a:gd name="connsiteX9" fmla="*/ 20 w 51224"/>
                    <a:gd name="connsiteY9" fmla="*/ 1398 h 67493"/>
                    <a:gd name="connsiteX10" fmla="*/ 978 w 51224"/>
                    <a:gd name="connsiteY10" fmla="*/ 23 h 67493"/>
                    <a:gd name="connsiteX11" fmla="*/ 2353 w 51224"/>
                    <a:gd name="connsiteY11" fmla="*/ 860 h 67493"/>
                    <a:gd name="connsiteX12" fmla="*/ 2832 w 51224"/>
                    <a:gd name="connsiteY12" fmla="*/ 4269 h 67493"/>
                    <a:gd name="connsiteX13" fmla="*/ 4745 w 51224"/>
                    <a:gd name="connsiteY13" fmla="*/ 14496 h 67493"/>
                    <a:gd name="connsiteX14" fmla="*/ 6958 w 51224"/>
                    <a:gd name="connsiteY14" fmla="*/ 15154 h 67493"/>
                    <a:gd name="connsiteX15" fmla="*/ 7975 w 51224"/>
                    <a:gd name="connsiteY15" fmla="*/ 16948 h 67493"/>
                    <a:gd name="connsiteX16" fmla="*/ 9111 w 51224"/>
                    <a:gd name="connsiteY16" fmla="*/ 18862 h 67493"/>
                    <a:gd name="connsiteX17" fmla="*/ 29924 w 51224"/>
                    <a:gd name="connsiteY17" fmla="*/ 49065 h 67493"/>
                    <a:gd name="connsiteX18" fmla="*/ 47388 w 51224"/>
                    <a:gd name="connsiteY18" fmla="*/ 62940 h 67493"/>
                    <a:gd name="connsiteX19" fmla="*/ 51096 w 51224"/>
                    <a:gd name="connsiteY19" fmla="*/ 65871 h 67493"/>
                    <a:gd name="connsiteX20" fmla="*/ 50558 w 51224"/>
                    <a:gd name="connsiteY20" fmla="*/ 67426 h 67493"/>
                    <a:gd name="connsiteX21" fmla="*/ 50498 w 51224"/>
                    <a:gd name="connsiteY21" fmla="*/ 67426 h 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224" h="67493">
                      <a:moveTo>
                        <a:pt x="50498" y="67426"/>
                      </a:moveTo>
                      <a:cubicBezTo>
                        <a:pt x="49959" y="67605"/>
                        <a:pt x="49301" y="67426"/>
                        <a:pt x="49062" y="66947"/>
                      </a:cubicBezTo>
                      <a:cubicBezTo>
                        <a:pt x="48883" y="66708"/>
                        <a:pt x="47447" y="65751"/>
                        <a:pt x="45952" y="64675"/>
                      </a:cubicBezTo>
                      <a:cubicBezTo>
                        <a:pt x="42005" y="61923"/>
                        <a:pt x="35307" y="57318"/>
                        <a:pt x="28190" y="50620"/>
                      </a:cubicBezTo>
                      <a:cubicBezTo>
                        <a:pt x="14912" y="38060"/>
                        <a:pt x="9171" y="25800"/>
                        <a:pt x="6898" y="19640"/>
                      </a:cubicBezTo>
                      <a:cubicBezTo>
                        <a:pt x="6719" y="19161"/>
                        <a:pt x="6360" y="18683"/>
                        <a:pt x="6001" y="18204"/>
                      </a:cubicBezTo>
                      <a:cubicBezTo>
                        <a:pt x="5702" y="17726"/>
                        <a:pt x="5343" y="17247"/>
                        <a:pt x="5044" y="16709"/>
                      </a:cubicBezTo>
                      <a:cubicBezTo>
                        <a:pt x="4386" y="16889"/>
                        <a:pt x="3130" y="17128"/>
                        <a:pt x="2772" y="16051"/>
                      </a:cubicBezTo>
                      <a:cubicBezTo>
                        <a:pt x="1456" y="12104"/>
                        <a:pt x="918" y="7798"/>
                        <a:pt x="499" y="4688"/>
                      </a:cubicBezTo>
                      <a:cubicBezTo>
                        <a:pt x="319" y="3372"/>
                        <a:pt x="200" y="2236"/>
                        <a:pt x="20" y="1398"/>
                      </a:cubicBezTo>
                      <a:cubicBezTo>
                        <a:pt x="-99" y="800"/>
                        <a:pt x="319" y="202"/>
                        <a:pt x="978" y="23"/>
                      </a:cubicBezTo>
                      <a:cubicBezTo>
                        <a:pt x="1635" y="-97"/>
                        <a:pt x="2233" y="262"/>
                        <a:pt x="2353" y="860"/>
                      </a:cubicBezTo>
                      <a:cubicBezTo>
                        <a:pt x="2532" y="1757"/>
                        <a:pt x="2652" y="2894"/>
                        <a:pt x="2832" y="4269"/>
                      </a:cubicBezTo>
                      <a:cubicBezTo>
                        <a:pt x="3190" y="7140"/>
                        <a:pt x="3728" y="10908"/>
                        <a:pt x="4745" y="14496"/>
                      </a:cubicBezTo>
                      <a:cubicBezTo>
                        <a:pt x="5403" y="14317"/>
                        <a:pt x="6599" y="14137"/>
                        <a:pt x="6958" y="15154"/>
                      </a:cubicBezTo>
                      <a:cubicBezTo>
                        <a:pt x="7137" y="15752"/>
                        <a:pt x="7556" y="16350"/>
                        <a:pt x="7975" y="16948"/>
                      </a:cubicBezTo>
                      <a:cubicBezTo>
                        <a:pt x="8394" y="17546"/>
                        <a:pt x="8812" y="18204"/>
                        <a:pt x="9111" y="18862"/>
                      </a:cubicBezTo>
                      <a:cubicBezTo>
                        <a:pt x="11324" y="24843"/>
                        <a:pt x="16946" y="36745"/>
                        <a:pt x="29924" y="49065"/>
                      </a:cubicBezTo>
                      <a:cubicBezTo>
                        <a:pt x="36921" y="55703"/>
                        <a:pt x="43500" y="60249"/>
                        <a:pt x="47388" y="62940"/>
                      </a:cubicBezTo>
                      <a:cubicBezTo>
                        <a:pt x="49959" y="64734"/>
                        <a:pt x="50797" y="65332"/>
                        <a:pt x="51096" y="65871"/>
                      </a:cubicBezTo>
                      <a:cubicBezTo>
                        <a:pt x="51395" y="66409"/>
                        <a:pt x="51156" y="67067"/>
                        <a:pt x="50558" y="67426"/>
                      </a:cubicBezTo>
                      <a:cubicBezTo>
                        <a:pt x="50617" y="67366"/>
                        <a:pt x="50558" y="67366"/>
                        <a:pt x="50498" y="6742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88" name="Vrije vorm: vorm 9087">
                  <a:extLst>
                    <a:ext uri="{FF2B5EF4-FFF2-40B4-BE49-F238E27FC236}">
                      <a16:creationId xmlns:a16="http://schemas.microsoft.com/office/drawing/2014/main" id="{C11544EB-B524-43A7-9173-CD596253D05C}"/>
                    </a:ext>
                  </a:extLst>
                </p:cNvPr>
                <p:cNvSpPr/>
                <p:nvPr/>
              </p:nvSpPr>
              <p:spPr>
                <a:xfrm>
                  <a:off x="6139514" y="1898800"/>
                  <a:ext cx="16782" cy="36170"/>
                </a:xfrm>
                <a:custGeom>
                  <a:avLst/>
                  <a:gdLst>
                    <a:gd name="connsiteX0" fmla="*/ 15924 w 16782"/>
                    <a:gd name="connsiteY0" fmla="*/ 35167 h 36170"/>
                    <a:gd name="connsiteX1" fmla="*/ 15625 w 16782"/>
                    <a:gd name="connsiteY1" fmla="*/ 35226 h 36170"/>
                    <a:gd name="connsiteX2" fmla="*/ 793 w 16782"/>
                    <a:gd name="connsiteY2" fmla="*/ 35944 h 36170"/>
                    <a:gd name="connsiteX3" fmla="*/ 75 w 16782"/>
                    <a:gd name="connsiteY3" fmla="*/ 34569 h 36170"/>
                    <a:gd name="connsiteX4" fmla="*/ 1630 w 16782"/>
                    <a:gd name="connsiteY4" fmla="*/ 33791 h 36170"/>
                    <a:gd name="connsiteX5" fmla="*/ 14249 w 16782"/>
                    <a:gd name="connsiteY5" fmla="*/ 33133 h 36170"/>
                    <a:gd name="connsiteX6" fmla="*/ 12156 w 16782"/>
                    <a:gd name="connsiteY6" fmla="*/ 1136 h 36170"/>
                    <a:gd name="connsiteX7" fmla="*/ 13412 w 16782"/>
                    <a:gd name="connsiteY7" fmla="*/ 0 h 36170"/>
                    <a:gd name="connsiteX8" fmla="*/ 14548 w 16782"/>
                    <a:gd name="connsiteY8" fmla="*/ 1136 h 36170"/>
                    <a:gd name="connsiteX9" fmla="*/ 16761 w 16782"/>
                    <a:gd name="connsiteY9" fmla="*/ 33851 h 36170"/>
                    <a:gd name="connsiteX10" fmla="*/ 16522 w 16782"/>
                    <a:gd name="connsiteY10" fmla="*/ 34748 h 36170"/>
                    <a:gd name="connsiteX11" fmla="*/ 15924 w 16782"/>
                    <a:gd name="connsiteY11" fmla="*/ 35167 h 3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82" h="36170">
                      <a:moveTo>
                        <a:pt x="15924" y="35167"/>
                      </a:moveTo>
                      <a:cubicBezTo>
                        <a:pt x="15804" y="35226"/>
                        <a:pt x="15744" y="35226"/>
                        <a:pt x="15625" y="35226"/>
                      </a:cubicBezTo>
                      <a:cubicBezTo>
                        <a:pt x="13591" y="35466"/>
                        <a:pt x="3305" y="36662"/>
                        <a:pt x="793" y="35944"/>
                      </a:cubicBezTo>
                      <a:cubicBezTo>
                        <a:pt x="195" y="35765"/>
                        <a:pt x="-164" y="35167"/>
                        <a:pt x="75" y="34569"/>
                      </a:cubicBezTo>
                      <a:cubicBezTo>
                        <a:pt x="314" y="33971"/>
                        <a:pt x="972" y="33612"/>
                        <a:pt x="1630" y="33791"/>
                      </a:cubicBezTo>
                      <a:cubicBezTo>
                        <a:pt x="3065" y="34150"/>
                        <a:pt x="9644" y="33612"/>
                        <a:pt x="14249" y="33133"/>
                      </a:cubicBezTo>
                      <a:cubicBezTo>
                        <a:pt x="13651" y="27691"/>
                        <a:pt x="11737" y="7057"/>
                        <a:pt x="12156" y="1136"/>
                      </a:cubicBezTo>
                      <a:cubicBezTo>
                        <a:pt x="12216" y="538"/>
                        <a:pt x="12754" y="0"/>
                        <a:pt x="13412" y="0"/>
                      </a:cubicBezTo>
                      <a:cubicBezTo>
                        <a:pt x="14070" y="0"/>
                        <a:pt x="14608" y="478"/>
                        <a:pt x="14548" y="1136"/>
                      </a:cubicBezTo>
                      <a:cubicBezTo>
                        <a:pt x="14130" y="7775"/>
                        <a:pt x="16582" y="32954"/>
                        <a:pt x="16761" y="33851"/>
                      </a:cubicBezTo>
                      <a:cubicBezTo>
                        <a:pt x="16821" y="34150"/>
                        <a:pt x="16761" y="34509"/>
                        <a:pt x="16522" y="34748"/>
                      </a:cubicBezTo>
                      <a:cubicBezTo>
                        <a:pt x="16343" y="34927"/>
                        <a:pt x="16163" y="35047"/>
                        <a:pt x="15924" y="3516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89" name="Vrije vorm: vorm 9088">
                  <a:extLst>
                    <a:ext uri="{FF2B5EF4-FFF2-40B4-BE49-F238E27FC236}">
                      <a16:creationId xmlns:a16="http://schemas.microsoft.com/office/drawing/2014/main" id="{184C42E2-0443-4BD1-87DF-9305F0224544}"/>
                    </a:ext>
                  </a:extLst>
                </p:cNvPr>
                <p:cNvSpPr/>
                <p:nvPr/>
              </p:nvSpPr>
              <p:spPr>
                <a:xfrm>
                  <a:off x="6136647" y="1875176"/>
                  <a:ext cx="10262" cy="58873"/>
                </a:xfrm>
                <a:custGeom>
                  <a:avLst/>
                  <a:gdLst>
                    <a:gd name="connsiteX0" fmla="*/ 9402 w 10262"/>
                    <a:gd name="connsiteY0" fmla="*/ 58791 h 58873"/>
                    <a:gd name="connsiteX1" fmla="*/ 9222 w 10262"/>
                    <a:gd name="connsiteY1" fmla="*/ 58850 h 58873"/>
                    <a:gd name="connsiteX2" fmla="*/ 7847 w 10262"/>
                    <a:gd name="connsiteY2" fmla="*/ 58013 h 58873"/>
                    <a:gd name="connsiteX3" fmla="*/ 12 w 10262"/>
                    <a:gd name="connsiteY3" fmla="*/ 1136 h 58873"/>
                    <a:gd name="connsiteX4" fmla="*/ 1268 w 10262"/>
                    <a:gd name="connsiteY4" fmla="*/ 0 h 58873"/>
                    <a:gd name="connsiteX5" fmla="*/ 2405 w 10262"/>
                    <a:gd name="connsiteY5" fmla="*/ 1077 h 58873"/>
                    <a:gd name="connsiteX6" fmla="*/ 10239 w 10262"/>
                    <a:gd name="connsiteY6" fmla="*/ 57475 h 58873"/>
                    <a:gd name="connsiteX7" fmla="*/ 9402 w 10262"/>
                    <a:gd name="connsiteY7" fmla="*/ 58791 h 5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2" h="58873">
                      <a:moveTo>
                        <a:pt x="9402" y="58791"/>
                      </a:moveTo>
                      <a:cubicBezTo>
                        <a:pt x="9342" y="58791"/>
                        <a:pt x="9282" y="58850"/>
                        <a:pt x="9222" y="58850"/>
                      </a:cubicBezTo>
                      <a:cubicBezTo>
                        <a:pt x="8564" y="58970"/>
                        <a:pt x="7967" y="58611"/>
                        <a:pt x="7847" y="58013"/>
                      </a:cubicBezTo>
                      <a:cubicBezTo>
                        <a:pt x="5036" y="42942"/>
                        <a:pt x="-287" y="9210"/>
                        <a:pt x="12" y="1136"/>
                      </a:cubicBezTo>
                      <a:cubicBezTo>
                        <a:pt x="12" y="538"/>
                        <a:pt x="610" y="0"/>
                        <a:pt x="1268" y="0"/>
                      </a:cubicBezTo>
                      <a:cubicBezTo>
                        <a:pt x="1926" y="0"/>
                        <a:pt x="2464" y="478"/>
                        <a:pt x="2405" y="1077"/>
                      </a:cubicBezTo>
                      <a:cubicBezTo>
                        <a:pt x="2105" y="8433"/>
                        <a:pt x="6950" y="39891"/>
                        <a:pt x="10239" y="57475"/>
                      </a:cubicBezTo>
                      <a:cubicBezTo>
                        <a:pt x="10359" y="58073"/>
                        <a:pt x="10000" y="58611"/>
                        <a:pt x="9402" y="5879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90" name="Vrije vorm: vorm 9089">
                  <a:extLst>
                    <a:ext uri="{FF2B5EF4-FFF2-40B4-BE49-F238E27FC236}">
                      <a16:creationId xmlns:a16="http://schemas.microsoft.com/office/drawing/2014/main" id="{02B4BDE8-A05F-4EE9-8097-6D2084F0CFC7}"/>
                    </a:ext>
                  </a:extLst>
                </p:cNvPr>
                <p:cNvSpPr/>
                <p:nvPr/>
              </p:nvSpPr>
              <p:spPr>
                <a:xfrm>
                  <a:off x="6095261" y="1840787"/>
                  <a:ext cx="14311" cy="5741"/>
                </a:xfrm>
                <a:custGeom>
                  <a:avLst/>
                  <a:gdLst>
                    <a:gd name="connsiteX0" fmla="*/ 8444 w 14311"/>
                    <a:gd name="connsiteY0" fmla="*/ 4665 h 5741"/>
                    <a:gd name="connsiteX1" fmla="*/ 9879 w 14311"/>
                    <a:gd name="connsiteY1" fmla="*/ 4366 h 5741"/>
                    <a:gd name="connsiteX2" fmla="*/ 12571 w 14311"/>
                    <a:gd name="connsiteY2" fmla="*/ 4725 h 5741"/>
                    <a:gd name="connsiteX3" fmla="*/ 14126 w 14311"/>
                    <a:gd name="connsiteY3" fmla="*/ 5742 h 5741"/>
                    <a:gd name="connsiteX4" fmla="*/ 14245 w 14311"/>
                    <a:gd name="connsiteY4" fmla="*/ 5383 h 5741"/>
                    <a:gd name="connsiteX5" fmla="*/ 14305 w 14311"/>
                    <a:gd name="connsiteY5" fmla="*/ 4186 h 5741"/>
                    <a:gd name="connsiteX6" fmla="*/ 13528 w 14311"/>
                    <a:gd name="connsiteY6" fmla="*/ 3110 h 5741"/>
                    <a:gd name="connsiteX7" fmla="*/ 3779 w 14311"/>
                    <a:gd name="connsiteY7" fmla="*/ 60 h 5741"/>
                    <a:gd name="connsiteX8" fmla="*/ 2703 w 14311"/>
                    <a:gd name="connsiteY8" fmla="*/ 239 h 5741"/>
                    <a:gd name="connsiteX9" fmla="*/ 549 w 14311"/>
                    <a:gd name="connsiteY9" fmla="*/ 1675 h 5741"/>
                    <a:gd name="connsiteX10" fmla="*/ 11 w 14311"/>
                    <a:gd name="connsiteY10" fmla="*/ 2811 h 5741"/>
                    <a:gd name="connsiteX11" fmla="*/ 849 w 14311"/>
                    <a:gd name="connsiteY11" fmla="*/ 3648 h 5741"/>
                    <a:gd name="connsiteX12" fmla="*/ 7367 w 14311"/>
                    <a:gd name="connsiteY12" fmla="*/ 5203 h 5741"/>
                    <a:gd name="connsiteX13" fmla="*/ 8444 w 14311"/>
                    <a:gd name="connsiteY13" fmla="*/ 4665 h 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11" h="5741">
                      <a:moveTo>
                        <a:pt x="8444" y="4665"/>
                      </a:moveTo>
                      <a:cubicBezTo>
                        <a:pt x="8564" y="4605"/>
                        <a:pt x="9700" y="4366"/>
                        <a:pt x="9879" y="4366"/>
                      </a:cubicBezTo>
                      <a:cubicBezTo>
                        <a:pt x="10776" y="4246"/>
                        <a:pt x="11793" y="4426"/>
                        <a:pt x="12571" y="4725"/>
                      </a:cubicBezTo>
                      <a:cubicBezTo>
                        <a:pt x="13228" y="5024"/>
                        <a:pt x="13647" y="5323"/>
                        <a:pt x="14126" y="5742"/>
                      </a:cubicBezTo>
                      <a:cubicBezTo>
                        <a:pt x="14186" y="5622"/>
                        <a:pt x="14245" y="5502"/>
                        <a:pt x="14245" y="5383"/>
                      </a:cubicBezTo>
                      <a:lnTo>
                        <a:pt x="14305" y="4186"/>
                      </a:lnTo>
                      <a:cubicBezTo>
                        <a:pt x="14365" y="3708"/>
                        <a:pt x="14006" y="3289"/>
                        <a:pt x="13528" y="3110"/>
                      </a:cubicBezTo>
                      <a:lnTo>
                        <a:pt x="3779" y="60"/>
                      </a:lnTo>
                      <a:cubicBezTo>
                        <a:pt x="3420" y="-60"/>
                        <a:pt x="3002" y="0"/>
                        <a:pt x="2703" y="239"/>
                      </a:cubicBezTo>
                      <a:lnTo>
                        <a:pt x="549" y="1675"/>
                      </a:lnTo>
                      <a:cubicBezTo>
                        <a:pt x="131" y="1914"/>
                        <a:pt x="-49" y="2392"/>
                        <a:pt x="11" y="2811"/>
                      </a:cubicBezTo>
                      <a:cubicBezTo>
                        <a:pt x="71" y="3230"/>
                        <a:pt x="370" y="3588"/>
                        <a:pt x="849" y="3648"/>
                      </a:cubicBezTo>
                      <a:lnTo>
                        <a:pt x="7367" y="5203"/>
                      </a:lnTo>
                      <a:cubicBezTo>
                        <a:pt x="7666" y="5024"/>
                        <a:pt x="8325" y="4665"/>
                        <a:pt x="8444" y="466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91" name="Vrije vorm: vorm 9090">
                  <a:extLst>
                    <a:ext uri="{FF2B5EF4-FFF2-40B4-BE49-F238E27FC236}">
                      <a16:creationId xmlns:a16="http://schemas.microsoft.com/office/drawing/2014/main" id="{D9DB9DA9-FB6E-4EC4-8686-E7E67157C7CA}"/>
                    </a:ext>
                  </a:extLst>
                </p:cNvPr>
                <p:cNvSpPr/>
                <p:nvPr/>
              </p:nvSpPr>
              <p:spPr>
                <a:xfrm>
                  <a:off x="6134202" y="1864626"/>
                  <a:ext cx="15868" cy="7340"/>
                </a:xfrm>
                <a:custGeom>
                  <a:avLst/>
                  <a:gdLst>
                    <a:gd name="connsiteX0" fmla="*/ 6584 w 15868"/>
                    <a:gd name="connsiteY0" fmla="*/ 5885 h 7340"/>
                    <a:gd name="connsiteX1" fmla="*/ 1321 w 15868"/>
                    <a:gd name="connsiteY1" fmla="*/ 7320 h 7340"/>
                    <a:gd name="connsiteX2" fmla="*/ 5 w 15868"/>
                    <a:gd name="connsiteY2" fmla="*/ 6423 h 7340"/>
                    <a:gd name="connsiteX3" fmla="*/ 1082 w 15868"/>
                    <a:gd name="connsiteY3" fmla="*/ 5107 h 7340"/>
                    <a:gd name="connsiteX4" fmla="*/ 11368 w 15868"/>
                    <a:gd name="connsiteY4" fmla="*/ 1399 h 7340"/>
                    <a:gd name="connsiteX5" fmla="*/ 14299 w 15868"/>
                    <a:gd name="connsiteY5" fmla="*/ 83 h 7340"/>
                    <a:gd name="connsiteX6" fmla="*/ 15794 w 15868"/>
                    <a:gd name="connsiteY6" fmla="*/ 681 h 7340"/>
                    <a:gd name="connsiteX7" fmla="*/ 15016 w 15868"/>
                    <a:gd name="connsiteY7" fmla="*/ 2117 h 7340"/>
                    <a:gd name="connsiteX8" fmla="*/ 12385 w 15868"/>
                    <a:gd name="connsiteY8" fmla="*/ 3313 h 7340"/>
                    <a:gd name="connsiteX9" fmla="*/ 6584 w 15868"/>
                    <a:gd name="connsiteY9" fmla="*/ 5885 h 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68" h="7340">
                      <a:moveTo>
                        <a:pt x="6584" y="5885"/>
                      </a:moveTo>
                      <a:cubicBezTo>
                        <a:pt x="4969" y="6483"/>
                        <a:pt x="3175" y="7021"/>
                        <a:pt x="1321" y="7320"/>
                      </a:cubicBezTo>
                      <a:cubicBezTo>
                        <a:pt x="663" y="7440"/>
                        <a:pt x="65" y="7021"/>
                        <a:pt x="5" y="6423"/>
                      </a:cubicBezTo>
                      <a:cubicBezTo>
                        <a:pt x="-55" y="5825"/>
                        <a:pt x="424" y="5227"/>
                        <a:pt x="1082" y="5107"/>
                      </a:cubicBezTo>
                      <a:cubicBezTo>
                        <a:pt x="5089" y="4449"/>
                        <a:pt x="8677" y="2655"/>
                        <a:pt x="11368" y="1399"/>
                      </a:cubicBezTo>
                      <a:cubicBezTo>
                        <a:pt x="12505" y="861"/>
                        <a:pt x="13462" y="382"/>
                        <a:pt x="14299" y="83"/>
                      </a:cubicBezTo>
                      <a:cubicBezTo>
                        <a:pt x="14957" y="-156"/>
                        <a:pt x="15615" y="143"/>
                        <a:pt x="15794" y="681"/>
                      </a:cubicBezTo>
                      <a:cubicBezTo>
                        <a:pt x="16033" y="1279"/>
                        <a:pt x="15675" y="1937"/>
                        <a:pt x="15016" y="2117"/>
                      </a:cubicBezTo>
                      <a:cubicBezTo>
                        <a:pt x="14359" y="2356"/>
                        <a:pt x="13402" y="2835"/>
                        <a:pt x="12385" y="3313"/>
                      </a:cubicBezTo>
                      <a:cubicBezTo>
                        <a:pt x="10710" y="4150"/>
                        <a:pt x="8737" y="5107"/>
                        <a:pt x="6584" y="588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92" name="Vrije vorm: vorm 9091">
                  <a:extLst>
                    <a:ext uri="{FF2B5EF4-FFF2-40B4-BE49-F238E27FC236}">
                      <a16:creationId xmlns:a16="http://schemas.microsoft.com/office/drawing/2014/main" id="{2F1C6B4F-86B8-4FE4-AD3D-AA5AB76FBE32}"/>
                    </a:ext>
                  </a:extLst>
                </p:cNvPr>
                <p:cNvSpPr/>
                <p:nvPr/>
              </p:nvSpPr>
              <p:spPr>
                <a:xfrm>
                  <a:off x="6107989" y="1845286"/>
                  <a:ext cx="4290" cy="7367"/>
                </a:xfrm>
                <a:custGeom>
                  <a:avLst/>
                  <a:gdLst>
                    <a:gd name="connsiteX0" fmla="*/ 1577 w 4290"/>
                    <a:gd name="connsiteY0" fmla="*/ 7283 h 7367"/>
                    <a:gd name="connsiteX1" fmla="*/ 800 w 4290"/>
                    <a:gd name="connsiteY1" fmla="*/ 7343 h 7367"/>
                    <a:gd name="connsiteX2" fmla="*/ 82 w 4290"/>
                    <a:gd name="connsiteY2" fmla="*/ 5967 h 7367"/>
                    <a:gd name="connsiteX3" fmla="*/ 1936 w 4290"/>
                    <a:gd name="connsiteY3" fmla="*/ 824 h 7367"/>
                    <a:gd name="connsiteX4" fmla="*/ 3491 w 4290"/>
                    <a:gd name="connsiteY4" fmla="*/ 46 h 7367"/>
                    <a:gd name="connsiteX5" fmla="*/ 4209 w 4290"/>
                    <a:gd name="connsiteY5" fmla="*/ 1422 h 7367"/>
                    <a:gd name="connsiteX6" fmla="*/ 2354 w 4290"/>
                    <a:gd name="connsiteY6" fmla="*/ 6565 h 7367"/>
                    <a:gd name="connsiteX7" fmla="*/ 1577 w 4290"/>
                    <a:gd name="connsiteY7" fmla="*/ 7283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0" h="7367">
                      <a:moveTo>
                        <a:pt x="1577" y="7283"/>
                      </a:moveTo>
                      <a:cubicBezTo>
                        <a:pt x="1338" y="7343"/>
                        <a:pt x="1039" y="7403"/>
                        <a:pt x="800" y="7343"/>
                      </a:cubicBezTo>
                      <a:cubicBezTo>
                        <a:pt x="141" y="7163"/>
                        <a:pt x="-157" y="6565"/>
                        <a:pt x="82" y="5967"/>
                      </a:cubicBezTo>
                      <a:lnTo>
                        <a:pt x="1936" y="824"/>
                      </a:lnTo>
                      <a:cubicBezTo>
                        <a:pt x="2175" y="226"/>
                        <a:pt x="2833" y="-133"/>
                        <a:pt x="3491" y="46"/>
                      </a:cubicBezTo>
                      <a:cubicBezTo>
                        <a:pt x="4149" y="226"/>
                        <a:pt x="4448" y="824"/>
                        <a:pt x="4209" y="1422"/>
                      </a:cubicBezTo>
                      <a:lnTo>
                        <a:pt x="2354" y="6565"/>
                      </a:lnTo>
                      <a:cubicBezTo>
                        <a:pt x="2235" y="6864"/>
                        <a:pt x="1936" y="7163"/>
                        <a:pt x="1577" y="7283"/>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063" name="Graphic 3">
                <a:extLst>
                  <a:ext uri="{FF2B5EF4-FFF2-40B4-BE49-F238E27FC236}">
                    <a16:creationId xmlns:a16="http://schemas.microsoft.com/office/drawing/2014/main" id="{B7662FF8-1C5A-4D8D-9E68-2AF41A493F5F}"/>
                  </a:ext>
                </a:extLst>
              </p:cNvPr>
              <p:cNvGrpSpPr/>
              <p:nvPr/>
            </p:nvGrpSpPr>
            <p:grpSpPr>
              <a:xfrm>
                <a:off x="5304210" y="2214533"/>
                <a:ext cx="70705" cy="105966"/>
                <a:chOff x="5304210" y="2214533"/>
                <a:chExt cx="70705" cy="105966"/>
              </a:xfrm>
              <a:grpFill/>
            </p:grpSpPr>
            <p:sp>
              <p:nvSpPr>
                <p:cNvPr id="9066" name="Vrije vorm: vorm 9065">
                  <a:extLst>
                    <a:ext uri="{FF2B5EF4-FFF2-40B4-BE49-F238E27FC236}">
                      <a16:creationId xmlns:a16="http://schemas.microsoft.com/office/drawing/2014/main" id="{6BEC40DC-453D-44DD-8693-BE8872A12F23}"/>
                    </a:ext>
                  </a:extLst>
                </p:cNvPr>
                <p:cNvSpPr/>
                <p:nvPr/>
              </p:nvSpPr>
              <p:spPr>
                <a:xfrm>
                  <a:off x="5317367" y="2214533"/>
                  <a:ext cx="15132" cy="19017"/>
                </a:xfrm>
                <a:custGeom>
                  <a:avLst/>
                  <a:gdLst>
                    <a:gd name="connsiteX0" fmla="*/ 8066 w 15132"/>
                    <a:gd name="connsiteY0" fmla="*/ 18648 h 19017"/>
                    <a:gd name="connsiteX1" fmla="*/ 4239 w 15132"/>
                    <a:gd name="connsiteY1" fmla="*/ 18529 h 19017"/>
                    <a:gd name="connsiteX2" fmla="*/ 411 w 15132"/>
                    <a:gd name="connsiteY2" fmla="*/ 5909 h 19017"/>
                    <a:gd name="connsiteX3" fmla="*/ 291 w 15132"/>
                    <a:gd name="connsiteY3" fmla="*/ 5610 h 19017"/>
                    <a:gd name="connsiteX4" fmla="*/ 6033 w 15132"/>
                    <a:gd name="connsiteY4" fmla="*/ 347 h 19017"/>
                    <a:gd name="connsiteX5" fmla="*/ 11595 w 15132"/>
                    <a:gd name="connsiteY5" fmla="*/ 826 h 19017"/>
                    <a:gd name="connsiteX6" fmla="*/ 15004 w 15132"/>
                    <a:gd name="connsiteY6" fmla="*/ 6627 h 19017"/>
                    <a:gd name="connsiteX7" fmla="*/ 9741 w 15132"/>
                    <a:gd name="connsiteY7" fmla="*/ 17751 h 19017"/>
                    <a:gd name="connsiteX8" fmla="*/ 8066 w 15132"/>
                    <a:gd name="connsiteY8" fmla="*/ 18648 h 19017"/>
                    <a:gd name="connsiteX9" fmla="*/ 2265 w 15132"/>
                    <a:gd name="connsiteY9" fmla="*/ 5311 h 19017"/>
                    <a:gd name="connsiteX10" fmla="*/ 2385 w 15132"/>
                    <a:gd name="connsiteY10" fmla="*/ 6029 h 19017"/>
                    <a:gd name="connsiteX11" fmla="*/ 5375 w 15132"/>
                    <a:gd name="connsiteY11" fmla="*/ 16974 h 19017"/>
                    <a:gd name="connsiteX12" fmla="*/ 8784 w 15132"/>
                    <a:gd name="connsiteY12" fmla="*/ 16316 h 19017"/>
                    <a:gd name="connsiteX13" fmla="*/ 13210 w 15132"/>
                    <a:gd name="connsiteY13" fmla="*/ 6986 h 19017"/>
                    <a:gd name="connsiteX14" fmla="*/ 10638 w 15132"/>
                    <a:gd name="connsiteY14" fmla="*/ 2381 h 19017"/>
                    <a:gd name="connsiteX15" fmla="*/ 6571 w 15132"/>
                    <a:gd name="connsiteY15" fmla="*/ 2082 h 19017"/>
                    <a:gd name="connsiteX16" fmla="*/ 2265 w 15132"/>
                    <a:gd name="connsiteY16" fmla="*/ 5311 h 19017"/>
                    <a:gd name="connsiteX17" fmla="*/ 2265 w 15132"/>
                    <a:gd name="connsiteY17" fmla="*/ 5311 h 1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32" h="19017">
                      <a:moveTo>
                        <a:pt x="8066" y="18648"/>
                      </a:moveTo>
                      <a:cubicBezTo>
                        <a:pt x="6631" y="19187"/>
                        <a:pt x="5315" y="19127"/>
                        <a:pt x="4239" y="18529"/>
                      </a:cubicBezTo>
                      <a:cubicBezTo>
                        <a:pt x="291" y="16316"/>
                        <a:pt x="-665" y="9618"/>
                        <a:pt x="411" y="5909"/>
                      </a:cubicBezTo>
                      <a:cubicBezTo>
                        <a:pt x="351" y="5850"/>
                        <a:pt x="351" y="5730"/>
                        <a:pt x="291" y="5610"/>
                      </a:cubicBezTo>
                      <a:cubicBezTo>
                        <a:pt x="-67" y="3218"/>
                        <a:pt x="1906" y="1424"/>
                        <a:pt x="6033" y="347"/>
                      </a:cubicBezTo>
                      <a:cubicBezTo>
                        <a:pt x="7528" y="-71"/>
                        <a:pt x="9681" y="-310"/>
                        <a:pt x="11595" y="826"/>
                      </a:cubicBezTo>
                      <a:cubicBezTo>
                        <a:pt x="13389" y="1843"/>
                        <a:pt x="14526" y="3816"/>
                        <a:pt x="15004" y="6627"/>
                      </a:cubicBezTo>
                      <a:cubicBezTo>
                        <a:pt x="15782" y="11173"/>
                        <a:pt x="12911" y="15658"/>
                        <a:pt x="9741" y="17751"/>
                      </a:cubicBezTo>
                      <a:cubicBezTo>
                        <a:pt x="9203" y="18170"/>
                        <a:pt x="8665" y="18409"/>
                        <a:pt x="8066" y="18648"/>
                      </a:cubicBezTo>
                      <a:close/>
                      <a:moveTo>
                        <a:pt x="2265" y="5311"/>
                      </a:moveTo>
                      <a:cubicBezTo>
                        <a:pt x="2385" y="5491"/>
                        <a:pt x="2444" y="5790"/>
                        <a:pt x="2385" y="6029"/>
                      </a:cubicBezTo>
                      <a:cubicBezTo>
                        <a:pt x="1368" y="9139"/>
                        <a:pt x="2325" y="15239"/>
                        <a:pt x="5375" y="16974"/>
                      </a:cubicBezTo>
                      <a:cubicBezTo>
                        <a:pt x="6212" y="17452"/>
                        <a:pt x="7468" y="17213"/>
                        <a:pt x="8784" y="16316"/>
                      </a:cubicBezTo>
                      <a:cubicBezTo>
                        <a:pt x="11415" y="14582"/>
                        <a:pt x="13868" y="10754"/>
                        <a:pt x="13210" y="6986"/>
                      </a:cubicBezTo>
                      <a:cubicBezTo>
                        <a:pt x="12791" y="4654"/>
                        <a:pt x="11954" y="3099"/>
                        <a:pt x="10638" y="2381"/>
                      </a:cubicBezTo>
                      <a:cubicBezTo>
                        <a:pt x="9263" y="1603"/>
                        <a:pt x="7648" y="1783"/>
                        <a:pt x="6571" y="2082"/>
                      </a:cubicBezTo>
                      <a:cubicBezTo>
                        <a:pt x="2444" y="3158"/>
                        <a:pt x="2145" y="4414"/>
                        <a:pt x="2265" y="5311"/>
                      </a:cubicBezTo>
                      <a:cubicBezTo>
                        <a:pt x="2265" y="5311"/>
                        <a:pt x="2265" y="5311"/>
                        <a:pt x="2265" y="5311"/>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67" name="Vrije vorm: vorm 9066">
                  <a:extLst>
                    <a:ext uri="{FF2B5EF4-FFF2-40B4-BE49-F238E27FC236}">
                      <a16:creationId xmlns:a16="http://schemas.microsoft.com/office/drawing/2014/main" id="{BD2489BD-DCE6-4D52-8D3F-43668080E3AB}"/>
                    </a:ext>
                  </a:extLst>
                </p:cNvPr>
                <p:cNvSpPr/>
                <p:nvPr/>
              </p:nvSpPr>
              <p:spPr>
                <a:xfrm>
                  <a:off x="5330150" y="2225161"/>
                  <a:ext cx="20851" cy="45465"/>
                </a:xfrm>
                <a:custGeom>
                  <a:avLst/>
                  <a:gdLst>
                    <a:gd name="connsiteX0" fmla="*/ 15738 w 20851"/>
                    <a:gd name="connsiteY0" fmla="*/ 45400 h 45465"/>
                    <a:gd name="connsiteX1" fmla="*/ 14900 w 20851"/>
                    <a:gd name="connsiteY1" fmla="*/ 45340 h 45465"/>
                    <a:gd name="connsiteX2" fmla="*/ 14601 w 20851"/>
                    <a:gd name="connsiteY2" fmla="*/ 44144 h 45465"/>
                    <a:gd name="connsiteX3" fmla="*/ 18608 w 20851"/>
                    <a:gd name="connsiteY3" fmla="*/ 24527 h 45465"/>
                    <a:gd name="connsiteX4" fmla="*/ 9398 w 20851"/>
                    <a:gd name="connsiteY4" fmla="*/ 9875 h 45465"/>
                    <a:gd name="connsiteX5" fmla="*/ 2520 w 20851"/>
                    <a:gd name="connsiteY5" fmla="*/ 7482 h 45465"/>
                    <a:gd name="connsiteX6" fmla="*/ 1623 w 20851"/>
                    <a:gd name="connsiteY6" fmla="*/ 7124 h 45465"/>
                    <a:gd name="connsiteX7" fmla="*/ 128 w 20851"/>
                    <a:gd name="connsiteY7" fmla="*/ 784 h 45465"/>
                    <a:gd name="connsiteX8" fmla="*/ 1264 w 20851"/>
                    <a:gd name="connsiteY8" fmla="*/ 7 h 45465"/>
                    <a:gd name="connsiteX9" fmla="*/ 2042 w 20851"/>
                    <a:gd name="connsiteY9" fmla="*/ 1023 h 45465"/>
                    <a:gd name="connsiteX10" fmla="*/ 2999 w 20851"/>
                    <a:gd name="connsiteY10" fmla="*/ 5688 h 45465"/>
                    <a:gd name="connsiteX11" fmla="*/ 10833 w 20851"/>
                    <a:gd name="connsiteY11" fmla="*/ 8619 h 45465"/>
                    <a:gd name="connsiteX12" fmla="*/ 20402 w 20851"/>
                    <a:gd name="connsiteY12" fmla="*/ 23929 h 45465"/>
                    <a:gd name="connsiteX13" fmla="*/ 16216 w 20851"/>
                    <a:gd name="connsiteY13" fmla="*/ 44981 h 45465"/>
                    <a:gd name="connsiteX14" fmla="*/ 15738 w 20851"/>
                    <a:gd name="connsiteY14" fmla="*/ 45400 h 4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851" h="45465">
                      <a:moveTo>
                        <a:pt x="15738" y="45400"/>
                      </a:moveTo>
                      <a:cubicBezTo>
                        <a:pt x="15498" y="45520"/>
                        <a:pt x="15199" y="45460"/>
                        <a:pt x="14900" y="45340"/>
                      </a:cubicBezTo>
                      <a:cubicBezTo>
                        <a:pt x="14422" y="45101"/>
                        <a:pt x="14302" y="44563"/>
                        <a:pt x="14601" y="44144"/>
                      </a:cubicBezTo>
                      <a:cubicBezTo>
                        <a:pt x="17053" y="40376"/>
                        <a:pt x="19984" y="29013"/>
                        <a:pt x="18608" y="24527"/>
                      </a:cubicBezTo>
                      <a:cubicBezTo>
                        <a:pt x="17113" y="19862"/>
                        <a:pt x="12568" y="12985"/>
                        <a:pt x="9398" y="9875"/>
                      </a:cubicBezTo>
                      <a:cubicBezTo>
                        <a:pt x="6527" y="7064"/>
                        <a:pt x="2699" y="7482"/>
                        <a:pt x="2520" y="7482"/>
                      </a:cubicBezTo>
                      <a:cubicBezTo>
                        <a:pt x="2161" y="7542"/>
                        <a:pt x="1862" y="7423"/>
                        <a:pt x="1623" y="7124"/>
                      </a:cubicBezTo>
                      <a:cubicBezTo>
                        <a:pt x="1563" y="7004"/>
                        <a:pt x="-530" y="4253"/>
                        <a:pt x="128" y="784"/>
                      </a:cubicBezTo>
                      <a:cubicBezTo>
                        <a:pt x="247" y="306"/>
                        <a:pt x="726" y="-53"/>
                        <a:pt x="1264" y="7"/>
                      </a:cubicBezTo>
                      <a:cubicBezTo>
                        <a:pt x="1803" y="66"/>
                        <a:pt x="2161" y="485"/>
                        <a:pt x="2042" y="1023"/>
                      </a:cubicBezTo>
                      <a:cubicBezTo>
                        <a:pt x="1683" y="3116"/>
                        <a:pt x="2520" y="4911"/>
                        <a:pt x="2999" y="5688"/>
                      </a:cubicBezTo>
                      <a:cubicBezTo>
                        <a:pt x="4434" y="5628"/>
                        <a:pt x="8022" y="5868"/>
                        <a:pt x="10833" y="8619"/>
                      </a:cubicBezTo>
                      <a:cubicBezTo>
                        <a:pt x="14123" y="11848"/>
                        <a:pt x="18847" y="18965"/>
                        <a:pt x="20402" y="23929"/>
                      </a:cubicBezTo>
                      <a:cubicBezTo>
                        <a:pt x="22017" y="28953"/>
                        <a:pt x="18967" y="40735"/>
                        <a:pt x="16216" y="44981"/>
                      </a:cubicBezTo>
                      <a:cubicBezTo>
                        <a:pt x="16097" y="45161"/>
                        <a:pt x="15917" y="45340"/>
                        <a:pt x="15738" y="45400"/>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68" name="Vrije vorm: vorm 9067">
                  <a:extLst>
                    <a:ext uri="{FF2B5EF4-FFF2-40B4-BE49-F238E27FC236}">
                      <a16:creationId xmlns:a16="http://schemas.microsoft.com/office/drawing/2014/main" id="{102F83E5-9CE0-45DC-A28B-498B80F5A848}"/>
                    </a:ext>
                  </a:extLst>
                </p:cNvPr>
                <p:cNvSpPr/>
                <p:nvPr/>
              </p:nvSpPr>
              <p:spPr>
                <a:xfrm>
                  <a:off x="5335239" y="2239868"/>
                  <a:ext cx="8688" cy="30758"/>
                </a:xfrm>
                <a:custGeom>
                  <a:avLst/>
                  <a:gdLst>
                    <a:gd name="connsiteX0" fmla="*/ 5446 w 8688"/>
                    <a:gd name="connsiteY0" fmla="*/ 30693 h 30758"/>
                    <a:gd name="connsiteX1" fmla="*/ 4669 w 8688"/>
                    <a:gd name="connsiteY1" fmla="*/ 30633 h 30758"/>
                    <a:gd name="connsiteX2" fmla="*/ 4369 w 8688"/>
                    <a:gd name="connsiteY2" fmla="*/ 29437 h 30758"/>
                    <a:gd name="connsiteX3" fmla="*/ 6642 w 8688"/>
                    <a:gd name="connsiteY3" fmla="*/ 11136 h 30758"/>
                    <a:gd name="connsiteX4" fmla="*/ 183 w 8688"/>
                    <a:gd name="connsiteY4" fmla="*/ 1447 h 30758"/>
                    <a:gd name="connsiteX5" fmla="*/ 422 w 8688"/>
                    <a:gd name="connsiteY5" fmla="*/ 191 h 30758"/>
                    <a:gd name="connsiteX6" fmla="*/ 1738 w 8688"/>
                    <a:gd name="connsiteY6" fmla="*/ 311 h 30758"/>
                    <a:gd name="connsiteX7" fmla="*/ 8496 w 8688"/>
                    <a:gd name="connsiteY7" fmla="*/ 10478 h 30758"/>
                    <a:gd name="connsiteX8" fmla="*/ 6044 w 8688"/>
                    <a:gd name="connsiteY8" fmla="*/ 30274 h 30758"/>
                    <a:gd name="connsiteX9" fmla="*/ 5446 w 8688"/>
                    <a:gd name="connsiteY9" fmla="*/ 30693 h 3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88" h="30758">
                      <a:moveTo>
                        <a:pt x="5446" y="30693"/>
                      </a:moveTo>
                      <a:cubicBezTo>
                        <a:pt x="5207" y="30813"/>
                        <a:pt x="4908" y="30753"/>
                        <a:pt x="4669" y="30633"/>
                      </a:cubicBezTo>
                      <a:cubicBezTo>
                        <a:pt x="4190" y="30394"/>
                        <a:pt x="4070" y="29856"/>
                        <a:pt x="4369" y="29437"/>
                      </a:cubicBezTo>
                      <a:cubicBezTo>
                        <a:pt x="6044" y="26746"/>
                        <a:pt x="7120" y="12691"/>
                        <a:pt x="6642" y="11136"/>
                      </a:cubicBezTo>
                      <a:cubicBezTo>
                        <a:pt x="6164" y="9820"/>
                        <a:pt x="2755" y="4617"/>
                        <a:pt x="183" y="1447"/>
                      </a:cubicBezTo>
                      <a:cubicBezTo>
                        <a:pt x="-116" y="1089"/>
                        <a:pt x="-56" y="490"/>
                        <a:pt x="422" y="191"/>
                      </a:cubicBezTo>
                      <a:cubicBezTo>
                        <a:pt x="841" y="-108"/>
                        <a:pt x="1439" y="-48"/>
                        <a:pt x="1738" y="311"/>
                      </a:cubicBezTo>
                      <a:cubicBezTo>
                        <a:pt x="4310" y="3481"/>
                        <a:pt x="7898" y="8864"/>
                        <a:pt x="8496" y="10478"/>
                      </a:cubicBezTo>
                      <a:cubicBezTo>
                        <a:pt x="9154" y="12332"/>
                        <a:pt x="8077" y="27105"/>
                        <a:pt x="6044" y="30274"/>
                      </a:cubicBezTo>
                      <a:cubicBezTo>
                        <a:pt x="5864" y="30454"/>
                        <a:pt x="5685" y="30633"/>
                        <a:pt x="5446" y="3069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69" name="Vrije vorm: vorm 9068">
                  <a:extLst>
                    <a:ext uri="{FF2B5EF4-FFF2-40B4-BE49-F238E27FC236}">
                      <a16:creationId xmlns:a16="http://schemas.microsoft.com/office/drawing/2014/main" id="{18755556-E66C-4969-B1FD-52FC29DEBB0C}"/>
                    </a:ext>
                  </a:extLst>
                </p:cNvPr>
                <p:cNvSpPr/>
                <p:nvPr/>
              </p:nvSpPr>
              <p:spPr>
                <a:xfrm>
                  <a:off x="5326188" y="2239456"/>
                  <a:ext cx="41013" cy="74226"/>
                </a:xfrm>
                <a:custGeom>
                  <a:avLst/>
                  <a:gdLst>
                    <a:gd name="connsiteX0" fmla="*/ 40453 w 41013"/>
                    <a:gd name="connsiteY0" fmla="*/ 74167 h 74226"/>
                    <a:gd name="connsiteX1" fmla="*/ 39436 w 41013"/>
                    <a:gd name="connsiteY1" fmla="*/ 73987 h 74226"/>
                    <a:gd name="connsiteX2" fmla="*/ 20417 w 41013"/>
                    <a:gd name="connsiteY2" fmla="*/ 56643 h 74226"/>
                    <a:gd name="connsiteX3" fmla="*/ 1997 w 41013"/>
                    <a:gd name="connsiteY3" fmla="*/ 29790 h 74226"/>
                    <a:gd name="connsiteX4" fmla="*/ 681 w 41013"/>
                    <a:gd name="connsiteY4" fmla="*/ 14718 h 74226"/>
                    <a:gd name="connsiteX5" fmla="*/ 920 w 41013"/>
                    <a:gd name="connsiteY5" fmla="*/ 11548 h 74226"/>
                    <a:gd name="connsiteX6" fmla="*/ 621 w 41013"/>
                    <a:gd name="connsiteY6" fmla="*/ 10173 h 74226"/>
                    <a:gd name="connsiteX7" fmla="*/ 322 w 41013"/>
                    <a:gd name="connsiteY7" fmla="*/ 843 h 74226"/>
                    <a:gd name="connsiteX8" fmla="*/ 1399 w 41013"/>
                    <a:gd name="connsiteY8" fmla="*/ 6 h 74226"/>
                    <a:gd name="connsiteX9" fmla="*/ 2236 w 41013"/>
                    <a:gd name="connsiteY9" fmla="*/ 963 h 74226"/>
                    <a:gd name="connsiteX10" fmla="*/ 2475 w 41013"/>
                    <a:gd name="connsiteY10" fmla="*/ 9694 h 74226"/>
                    <a:gd name="connsiteX11" fmla="*/ 2774 w 41013"/>
                    <a:gd name="connsiteY11" fmla="*/ 11190 h 74226"/>
                    <a:gd name="connsiteX12" fmla="*/ 2535 w 41013"/>
                    <a:gd name="connsiteY12" fmla="*/ 14838 h 74226"/>
                    <a:gd name="connsiteX13" fmla="*/ 3731 w 41013"/>
                    <a:gd name="connsiteY13" fmla="*/ 29012 h 74226"/>
                    <a:gd name="connsiteX14" fmla="*/ 3731 w 41013"/>
                    <a:gd name="connsiteY14" fmla="*/ 29072 h 74226"/>
                    <a:gd name="connsiteX15" fmla="*/ 21733 w 41013"/>
                    <a:gd name="connsiteY15" fmla="*/ 55387 h 74226"/>
                    <a:gd name="connsiteX16" fmla="*/ 40752 w 41013"/>
                    <a:gd name="connsiteY16" fmla="*/ 72731 h 74226"/>
                    <a:gd name="connsiteX17" fmla="*/ 40692 w 41013"/>
                    <a:gd name="connsiteY17" fmla="*/ 73987 h 74226"/>
                    <a:gd name="connsiteX18" fmla="*/ 40453 w 41013"/>
                    <a:gd name="connsiteY18" fmla="*/ 74167 h 74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013" h="74226">
                      <a:moveTo>
                        <a:pt x="40453" y="74167"/>
                      </a:moveTo>
                      <a:cubicBezTo>
                        <a:pt x="40094" y="74286"/>
                        <a:pt x="39735" y="74226"/>
                        <a:pt x="39436" y="73987"/>
                      </a:cubicBezTo>
                      <a:cubicBezTo>
                        <a:pt x="39436" y="73987"/>
                        <a:pt x="30106" y="65495"/>
                        <a:pt x="20417" y="56643"/>
                      </a:cubicBezTo>
                      <a:cubicBezTo>
                        <a:pt x="11625" y="48629"/>
                        <a:pt x="4987" y="37146"/>
                        <a:pt x="1997" y="29790"/>
                      </a:cubicBezTo>
                      <a:cubicBezTo>
                        <a:pt x="-575" y="24646"/>
                        <a:pt x="202" y="18666"/>
                        <a:pt x="681" y="14718"/>
                      </a:cubicBezTo>
                      <a:cubicBezTo>
                        <a:pt x="860" y="13343"/>
                        <a:pt x="980" y="12087"/>
                        <a:pt x="920" y="11548"/>
                      </a:cubicBezTo>
                      <a:cubicBezTo>
                        <a:pt x="860" y="11070"/>
                        <a:pt x="740" y="10651"/>
                        <a:pt x="621" y="10173"/>
                      </a:cubicBezTo>
                      <a:cubicBezTo>
                        <a:pt x="143" y="8319"/>
                        <a:pt x="-336" y="6226"/>
                        <a:pt x="322" y="843"/>
                      </a:cubicBezTo>
                      <a:cubicBezTo>
                        <a:pt x="382" y="365"/>
                        <a:pt x="860" y="-54"/>
                        <a:pt x="1399" y="6"/>
                      </a:cubicBezTo>
                      <a:cubicBezTo>
                        <a:pt x="1937" y="6"/>
                        <a:pt x="2296" y="484"/>
                        <a:pt x="2236" y="963"/>
                      </a:cubicBezTo>
                      <a:cubicBezTo>
                        <a:pt x="1578" y="5986"/>
                        <a:pt x="2056" y="7960"/>
                        <a:pt x="2475" y="9694"/>
                      </a:cubicBezTo>
                      <a:cubicBezTo>
                        <a:pt x="2594" y="10173"/>
                        <a:pt x="2714" y="10651"/>
                        <a:pt x="2774" y="11190"/>
                      </a:cubicBezTo>
                      <a:cubicBezTo>
                        <a:pt x="2894" y="11967"/>
                        <a:pt x="2774" y="13163"/>
                        <a:pt x="2535" y="14838"/>
                      </a:cubicBezTo>
                      <a:cubicBezTo>
                        <a:pt x="2056" y="18606"/>
                        <a:pt x="1399" y="24287"/>
                        <a:pt x="3731" y="29012"/>
                      </a:cubicBezTo>
                      <a:cubicBezTo>
                        <a:pt x="3731" y="29012"/>
                        <a:pt x="3731" y="29072"/>
                        <a:pt x="3731" y="29072"/>
                      </a:cubicBezTo>
                      <a:cubicBezTo>
                        <a:pt x="6661" y="36309"/>
                        <a:pt x="13121" y="47552"/>
                        <a:pt x="21733" y="55387"/>
                      </a:cubicBezTo>
                      <a:cubicBezTo>
                        <a:pt x="31422" y="64179"/>
                        <a:pt x="40752" y="72731"/>
                        <a:pt x="40752" y="72731"/>
                      </a:cubicBezTo>
                      <a:cubicBezTo>
                        <a:pt x="41110" y="73090"/>
                        <a:pt x="41110" y="73628"/>
                        <a:pt x="40692" y="73987"/>
                      </a:cubicBezTo>
                      <a:cubicBezTo>
                        <a:pt x="40752" y="74047"/>
                        <a:pt x="40632" y="74107"/>
                        <a:pt x="40453" y="74167"/>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70" name="Vrije vorm: vorm 9069">
                  <a:extLst>
                    <a:ext uri="{FF2B5EF4-FFF2-40B4-BE49-F238E27FC236}">
                      <a16:creationId xmlns:a16="http://schemas.microsoft.com/office/drawing/2014/main" id="{B68B97FE-225E-4278-BDF9-FBCFB890702A}"/>
                    </a:ext>
                  </a:extLst>
                </p:cNvPr>
                <p:cNvSpPr/>
                <p:nvPr/>
              </p:nvSpPr>
              <p:spPr>
                <a:xfrm>
                  <a:off x="5346672" y="2264700"/>
                  <a:ext cx="28242" cy="51204"/>
                </a:xfrm>
                <a:custGeom>
                  <a:avLst/>
                  <a:gdLst>
                    <a:gd name="connsiteX0" fmla="*/ 16679 w 28242"/>
                    <a:gd name="connsiteY0" fmla="*/ 51136 h 51204"/>
                    <a:gd name="connsiteX1" fmla="*/ 15483 w 28242"/>
                    <a:gd name="connsiteY1" fmla="*/ 50717 h 51204"/>
                    <a:gd name="connsiteX2" fmla="*/ 16021 w 28242"/>
                    <a:gd name="connsiteY2" fmla="*/ 49521 h 51204"/>
                    <a:gd name="connsiteX3" fmla="*/ 26129 w 28242"/>
                    <a:gd name="connsiteY3" fmla="*/ 43301 h 51204"/>
                    <a:gd name="connsiteX4" fmla="*/ 16440 w 28242"/>
                    <a:gd name="connsiteY4" fmla="*/ 32237 h 51204"/>
                    <a:gd name="connsiteX5" fmla="*/ 12194 w 28242"/>
                    <a:gd name="connsiteY5" fmla="*/ 27990 h 51204"/>
                    <a:gd name="connsiteX6" fmla="*/ 1847 w 28242"/>
                    <a:gd name="connsiteY6" fmla="*/ 11603 h 51204"/>
                    <a:gd name="connsiteX7" fmla="*/ 1787 w 28242"/>
                    <a:gd name="connsiteY7" fmla="*/ 11125 h 51204"/>
                    <a:gd name="connsiteX8" fmla="*/ 53 w 28242"/>
                    <a:gd name="connsiteY8" fmla="*/ 1197 h 51204"/>
                    <a:gd name="connsiteX9" fmla="*/ 651 w 28242"/>
                    <a:gd name="connsiteY9" fmla="*/ 60 h 51204"/>
                    <a:gd name="connsiteX10" fmla="*/ 1847 w 28242"/>
                    <a:gd name="connsiteY10" fmla="*/ 539 h 51204"/>
                    <a:gd name="connsiteX11" fmla="*/ 3701 w 28242"/>
                    <a:gd name="connsiteY11" fmla="*/ 11005 h 51204"/>
                    <a:gd name="connsiteX12" fmla="*/ 13629 w 28242"/>
                    <a:gd name="connsiteY12" fmla="*/ 26794 h 51204"/>
                    <a:gd name="connsiteX13" fmla="*/ 17815 w 28242"/>
                    <a:gd name="connsiteY13" fmla="*/ 30981 h 51204"/>
                    <a:gd name="connsiteX14" fmla="*/ 28162 w 28242"/>
                    <a:gd name="connsiteY14" fmla="*/ 43122 h 51204"/>
                    <a:gd name="connsiteX15" fmla="*/ 27803 w 28242"/>
                    <a:gd name="connsiteY15" fmla="*/ 44258 h 51204"/>
                    <a:gd name="connsiteX16" fmla="*/ 16619 w 28242"/>
                    <a:gd name="connsiteY16" fmla="*/ 51136 h 51204"/>
                    <a:gd name="connsiteX17" fmla="*/ 16679 w 28242"/>
                    <a:gd name="connsiteY17" fmla="*/ 51136 h 5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242" h="51204">
                      <a:moveTo>
                        <a:pt x="16679" y="51136"/>
                      </a:moveTo>
                      <a:cubicBezTo>
                        <a:pt x="16201" y="51315"/>
                        <a:pt x="15663" y="51136"/>
                        <a:pt x="15483" y="50717"/>
                      </a:cubicBezTo>
                      <a:cubicBezTo>
                        <a:pt x="15304" y="50298"/>
                        <a:pt x="15543" y="49760"/>
                        <a:pt x="16021" y="49521"/>
                      </a:cubicBezTo>
                      <a:cubicBezTo>
                        <a:pt x="18234" y="48564"/>
                        <a:pt x="24095" y="44676"/>
                        <a:pt x="26129" y="43301"/>
                      </a:cubicBezTo>
                      <a:cubicBezTo>
                        <a:pt x="23916" y="39473"/>
                        <a:pt x="20088" y="35825"/>
                        <a:pt x="16440" y="32237"/>
                      </a:cubicBezTo>
                      <a:cubicBezTo>
                        <a:pt x="14945" y="30741"/>
                        <a:pt x="13509" y="29366"/>
                        <a:pt x="12194" y="27990"/>
                      </a:cubicBezTo>
                      <a:cubicBezTo>
                        <a:pt x="7528" y="23026"/>
                        <a:pt x="2086" y="12022"/>
                        <a:pt x="1847" y="11603"/>
                      </a:cubicBezTo>
                      <a:cubicBezTo>
                        <a:pt x="1787" y="11424"/>
                        <a:pt x="1727" y="11304"/>
                        <a:pt x="1787" y="11125"/>
                      </a:cubicBezTo>
                      <a:cubicBezTo>
                        <a:pt x="1787" y="11065"/>
                        <a:pt x="2325" y="7357"/>
                        <a:pt x="53" y="1197"/>
                      </a:cubicBezTo>
                      <a:cubicBezTo>
                        <a:pt x="-127" y="718"/>
                        <a:pt x="172" y="240"/>
                        <a:pt x="651" y="60"/>
                      </a:cubicBezTo>
                      <a:cubicBezTo>
                        <a:pt x="1129" y="-119"/>
                        <a:pt x="1727" y="120"/>
                        <a:pt x="1847" y="539"/>
                      </a:cubicBezTo>
                      <a:cubicBezTo>
                        <a:pt x="3940" y="6220"/>
                        <a:pt x="3761" y="9988"/>
                        <a:pt x="3701" y="11005"/>
                      </a:cubicBezTo>
                      <a:cubicBezTo>
                        <a:pt x="4479" y="12560"/>
                        <a:pt x="9502" y="22368"/>
                        <a:pt x="13629" y="26794"/>
                      </a:cubicBezTo>
                      <a:cubicBezTo>
                        <a:pt x="14885" y="28170"/>
                        <a:pt x="16320" y="29545"/>
                        <a:pt x="17815" y="30981"/>
                      </a:cubicBezTo>
                      <a:cubicBezTo>
                        <a:pt x="21763" y="34868"/>
                        <a:pt x="25889" y="38875"/>
                        <a:pt x="28162" y="43122"/>
                      </a:cubicBezTo>
                      <a:cubicBezTo>
                        <a:pt x="28342" y="43540"/>
                        <a:pt x="28222" y="44019"/>
                        <a:pt x="27803" y="44258"/>
                      </a:cubicBezTo>
                      <a:cubicBezTo>
                        <a:pt x="27444" y="44497"/>
                        <a:pt x="19430" y="49880"/>
                        <a:pt x="16619" y="51136"/>
                      </a:cubicBezTo>
                      <a:cubicBezTo>
                        <a:pt x="16739" y="51136"/>
                        <a:pt x="16679" y="51136"/>
                        <a:pt x="16679" y="51136"/>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71" name="Vrije vorm: vorm 9070">
                  <a:extLst>
                    <a:ext uri="{FF2B5EF4-FFF2-40B4-BE49-F238E27FC236}">
                      <a16:creationId xmlns:a16="http://schemas.microsoft.com/office/drawing/2014/main" id="{1B9F2605-AEBE-40A5-AD0B-923042E7D0A3}"/>
                    </a:ext>
                  </a:extLst>
                </p:cNvPr>
                <p:cNvSpPr/>
                <p:nvPr/>
              </p:nvSpPr>
              <p:spPr>
                <a:xfrm>
                  <a:off x="5337429" y="2268744"/>
                  <a:ext cx="9618" cy="2714"/>
                </a:xfrm>
                <a:custGeom>
                  <a:avLst/>
                  <a:gdLst>
                    <a:gd name="connsiteX0" fmla="*/ 8997 w 9618"/>
                    <a:gd name="connsiteY0" fmla="*/ 2655 h 2714"/>
                    <a:gd name="connsiteX1" fmla="*/ 8519 w 9618"/>
                    <a:gd name="connsiteY1" fmla="*/ 2714 h 2714"/>
                    <a:gd name="connsiteX2" fmla="*/ 744 w 9618"/>
                    <a:gd name="connsiteY2" fmla="*/ 1758 h 2714"/>
                    <a:gd name="connsiteX3" fmla="*/ 26 w 9618"/>
                    <a:gd name="connsiteY3" fmla="*/ 741 h 2714"/>
                    <a:gd name="connsiteX4" fmla="*/ 1163 w 9618"/>
                    <a:gd name="connsiteY4" fmla="*/ 23 h 2714"/>
                    <a:gd name="connsiteX5" fmla="*/ 8818 w 9618"/>
                    <a:gd name="connsiteY5" fmla="*/ 980 h 2714"/>
                    <a:gd name="connsiteX6" fmla="*/ 9596 w 9618"/>
                    <a:gd name="connsiteY6" fmla="*/ 1937 h 2714"/>
                    <a:gd name="connsiteX7" fmla="*/ 8997 w 9618"/>
                    <a:gd name="connsiteY7" fmla="*/ 2655 h 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18" h="2714">
                      <a:moveTo>
                        <a:pt x="8997" y="2655"/>
                      </a:moveTo>
                      <a:cubicBezTo>
                        <a:pt x="8878" y="2714"/>
                        <a:pt x="8698" y="2714"/>
                        <a:pt x="8519" y="2714"/>
                      </a:cubicBezTo>
                      <a:cubicBezTo>
                        <a:pt x="8459" y="2714"/>
                        <a:pt x="3914" y="2296"/>
                        <a:pt x="744" y="1758"/>
                      </a:cubicBezTo>
                      <a:cubicBezTo>
                        <a:pt x="206" y="1698"/>
                        <a:pt x="-94" y="1219"/>
                        <a:pt x="26" y="741"/>
                      </a:cubicBezTo>
                      <a:cubicBezTo>
                        <a:pt x="146" y="262"/>
                        <a:pt x="684" y="-97"/>
                        <a:pt x="1163" y="23"/>
                      </a:cubicBezTo>
                      <a:cubicBezTo>
                        <a:pt x="4273" y="502"/>
                        <a:pt x="8758" y="980"/>
                        <a:pt x="8818" y="980"/>
                      </a:cubicBezTo>
                      <a:cubicBezTo>
                        <a:pt x="9356" y="1040"/>
                        <a:pt x="9715" y="1459"/>
                        <a:pt x="9596" y="1937"/>
                      </a:cubicBezTo>
                      <a:cubicBezTo>
                        <a:pt x="9596" y="2236"/>
                        <a:pt x="9296" y="2535"/>
                        <a:pt x="8997" y="265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72" name="Vrije vorm: vorm 9071">
                  <a:extLst>
                    <a:ext uri="{FF2B5EF4-FFF2-40B4-BE49-F238E27FC236}">
                      <a16:creationId xmlns:a16="http://schemas.microsoft.com/office/drawing/2014/main" id="{8D7BF2DE-0663-4330-8EB4-3C6DCC915E87}"/>
                    </a:ext>
                  </a:extLst>
                </p:cNvPr>
                <p:cNvSpPr/>
                <p:nvPr/>
              </p:nvSpPr>
              <p:spPr>
                <a:xfrm>
                  <a:off x="5328102" y="2264354"/>
                  <a:ext cx="13274" cy="5336"/>
                </a:xfrm>
                <a:custGeom>
                  <a:avLst/>
                  <a:gdLst>
                    <a:gd name="connsiteX0" fmla="*/ 10609 w 13274"/>
                    <a:gd name="connsiteY0" fmla="*/ 2619 h 5336"/>
                    <a:gd name="connsiteX1" fmla="*/ 1159 w 13274"/>
                    <a:gd name="connsiteY1" fmla="*/ 5310 h 5336"/>
                    <a:gd name="connsiteX2" fmla="*/ 23 w 13274"/>
                    <a:gd name="connsiteY2" fmla="*/ 4652 h 5336"/>
                    <a:gd name="connsiteX3" fmla="*/ 801 w 13274"/>
                    <a:gd name="connsiteY3" fmla="*/ 3576 h 5336"/>
                    <a:gd name="connsiteX4" fmla="*/ 11925 w 13274"/>
                    <a:gd name="connsiteY4" fmla="*/ 107 h 5336"/>
                    <a:gd name="connsiteX5" fmla="*/ 13181 w 13274"/>
                    <a:gd name="connsiteY5" fmla="*/ 466 h 5336"/>
                    <a:gd name="connsiteX6" fmla="*/ 12702 w 13274"/>
                    <a:gd name="connsiteY6" fmla="*/ 1662 h 5336"/>
                    <a:gd name="connsiteX7" fmla="*/ 10609 w 13274"/>
                    <a:gd name="connsiteY7" fmla="*/ 2619 h 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4" h="5336">
                      <a:moveTo>
                        <a:pt x="10609" y="2619"/>
                      </a:moveTo>
                      <a:cubicBezTo>
                        <a:pt x="6781" y="4054"/>
                        <a:pt x="1458" y="5251"/>
                        <a:pt x="1159" y="5310"/>
                      </a:cubicBezTo>
                      <a:cubicBezTo>
                        <a:pt x="621" y="5430"/>
                        <a:pt x="143" y="5131"/>
                        <a:pt x="23" y="4652"/>
                      </a:cubicBezTo>
                      <a:cubicBezTo>
                        <a:pt x="-97" y="4174"/>
                        <a:pt x="262" y="3695"/>
                        <a:pt x="801" y="3576"/>
                      </a:cubicBezTo>
                      <a:cubicBezTo>
                        <a:pt x="860" y="3576"/>
                        <a:pt x="8575" y="1782"/>
                        <a:pt x="11925" y="107"/>
                      </a:cubicBezTo>
                      <a:cubicBezTo>
                        <a:pt x="12403" y="-132"/>
                        <a:pt x="13001" y="47"/>
                        <a:pt x="13181" y="466"/>
                      </a:cubicBezTo>
                      <a:cubicBezTo>
                        <a:pt x="13420" y="885"/>
                        <a:pt x="13181" y="1423"/>
                        <a:pt x="12702" y="1662"/>
                      </a:cubicBezTo>
                      <a:cubicBezTo>
                        <a:pt x="12164" y="2021"/>
                        <a:pt x="11446" y="2320"/>
                        <a:pt x="10609" y="261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73" name="Vrije vorm: vorm 9072">
                  <a:extLst>
                    <a:ext uri="{FF2B5EF4-FFF2-40B4-BE49-F238E27FC236}">
                      <a16:creationId xmlns:a16="http://schemas.microsoft.com/office/drawing/2014/main" id="{3351DEFB-F253-4287-9CBB-42C6DC2FE2BD}"/>
                    </a:ext>
                  </a:extLst>
                </p:cNvPr>
                <p:cNvSpPr/>
                <p:nvPr/>
              </p:nvSpPr>
              <p:spPr>
                <a:xfrm>
                  <a:off x="5334412" y="2280070"/>
                  <a:ext cx="7477" cy="39718"/>
                </a:xfrm>
                <a:custGeom>
                  <a:avLst/>
                  <a:gdLst>
                    <a:gd name="connsiteX0" fmla="*/ 6871 w 7477"/>
                    <a:gd name="connsiteY0" fmla="*/ 39653 h 39718"/>
                    <a:gd name="connsiteX1" fmla="*/ 6572 w 7477"/>
                    <a:gd name="connsiteY1" fmla="*/ 39712 h 39718"/>
                    <a:gd name="connsiteX2" fmla="*/ 5555 w 7477"/>
                    <a:gd name="connsiteY2" fmla="*/ 38935 h 39718"/>
                    <a:gd name="connsiteX3" fmla="*/ 3581 w 7477"/>
                    <a:gd name="connsiteY3" fmla="*/ 20335 h 39718"/>
                    <a:gd name="connsiteX4" fmla="*/ 1907 w 7477"/>
                    <a:gd name="connsiteY4" fmla="*/ 10706 h 39718"/>
                    <a:gd name="connsiteX5" fmla="*/ 53 w 7477"/>
                    <a:gd name="connsiteY5" fmla="*/ 1197 h 39718"/>
                    <a:gd name="connsiteX6" fmla="*/ 651 w 7477"/>
                    <a:gd name="connsiteY6" fmla="*/ 60 h 39718"/>
                    <a:gd name="connsiteX7" fmla="*/ 1847 w 7477"/>
                    <a:gd name="connsiteY7" fmla="*/ 539 h 39718"/>
                    <a:gd name="connsiteX8" fmla="*/ 3761 w 7477"/>
                    <a:gd name="connsiteY8" fmla="*/ 10347 h 39718"/>
                    <a:gd name="connsiteX9" fmla="*/ 5435 w 7477"/>
                    <a:gd name="connsiteY9" fmla="*/ 19797 h 39718"/>
                    <a:gd name="connsiteX10" fmla="*/ 7469 w 7477"/>
                    <a:gd name="connsiteY10" fmla="*/ 38696 h 39718"/>
                    <a:gd name="connsiteX11" fmla="*/ 6871 w 7477"/>
                    <a:gd name="connsiteY11" fmla="*/ 39653 h 3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7" h="39718">
                      <a:moveTo>
                        <a:pt x="6871" y="39653"/>
                      </a:moveTo>
                      <a:cubicBezTo>
                        <a:pt x="6811" y="39712"/>
                        <a:pt x="6691" y="39712"/>
                        <a:pt x="6572" y="39712"/>
                      </a:cubicBezTo>
                      <a:cubicBezTo>
                        <a:pt x="6033" y="39772"/>
                        <a:pt x="5615" y="39413"/>
                        <a:pt x="5555" y="38935"/>
                      </a:cubicBezTo>
                      <a:cubicBezTo>
                        <a:pt x="5555" y="38815"/>
                        <a:pt x="5077" y="26974"/>
                        <a:pt x="3581" y="20335"/>
                      </a:cubicBezTo>
                      <a:cubicBezTo>
                        <a:pt x="2864" y="17285"/>
                        <a:pt x="2385" y="13936"/>
                        <a:pt x="1907" y="10706"/>
                      </a:cubicBezTo>
                      <a:cubicBezTo>
                        <a:pt x="1309" y="6878"/>
                        <a:pt x="830" y="3290"/>
                        <a:pt x="53" y="1197"/>
                      </a:cubicBezTo>
                      <a:cubicBezTo>
                        <a:pt x="-127" y="718"/>
                        <a:pt x="172" y="240"/>
                        <a:pt x="651" y="60"/>
                      </a:cubicBezTo>
                      <a:cubicBezTo>
                        <a:pt x="1129" y="-119"/>
                        <a:pt x="1727" y="120"/>
                        <a:pt x="1847" y="539"/>
                      </a:cubicBezTo>
                      <a:cubicBezTo>
                        <a:pt x="2684" y="2752"/>
                        <a:pt x="3223" y="6460"/>
                        <a:pt x="3761" y="10347"/>
                      </a:cubicBezTo>
                      <a:cubicBezTo>
                        <a:pt x="4239" y="13517"/>
                        <a:pt x="4718" y="16866"/>
                        <a:pt x="5435" y="19797"/>
                      </a:cubicBezTo>
                      <a:cubicBezTo>
                        <a:pt x="6990" y="26555"/>
                        <a:pt x="7469" y="38157"/>
                        <a:pt x="7469" y="38696"/>
                      </a:cubicBezTo>
                      <a:cubicBezTo>
                        <a:pt x="7528" y="39174"/>
                        <a:pt x="7289" y="39533"/>
                        <a:pt x="6871" y="3965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74" name="Vrije vorm: vorm 9073">
                  <a:extLst>
                    <a:ext uri="{FF2B5EF4-FFF2-40B4-BE49-F238E27FC236}">
                      <a16:creationId xmlns:a16="http://schemas.microsoft.com/office/drawing/2014/main" id="{11FA245F-0671-4DC6-8E91-1232D8572171}"/>
                    </a:ext>
                  </a:extLst>
                </p:cNvPr>
                <p:cNvSpPr/>
                <p:nvPr/>
              </p:nvSpPr>
              <p:spPr>
                <a:xfrm>
                  <a:off x="5335692" y="2297468"/>
                  <a:ext cx="15090" cy="23032"/>
                </a:xfrm>
                <a:custGeom>
                  <a:avLst/>
                  <a:gdLst>
                    <a:gd name="connsiteX0" fmla="*/ 12768 w 15090"/>
                    <a:gd name="connsiteY0" fmla="*/ 22972 h 23032"/>
                    <a:gd name="connsiteX1" fmla="*/ 12409 w 15090"/>
                    <a:gd name="connsiteY1" fmla="*/ 23032 h 23032"/>
                    <a:gd name="connsiteX2" fmla="*/ 448 w 15090"/>
                    <a:gd name="connsiteY2" fmla="*/ 21657 h 23032"/>
                    <a:gd name="connsiteX3" fmla="*/ 148 w 15090"/>
                    <a:gd name="connsiteY3" fmla="*/ 20461 h 23032"/>
                    <a:gd name="connsiteX4" fmla="*/ 1464 w 15090"/>
                    <a:gd name="connsiteY4" fmla="*/ 20102 h 23032"/>
                    <a:gd name="connsiteX5" fmla="*/ 11931 w 15090"/>
                    <a:gd name="connsiteY5" fmla="*/ 21238 h 23032"/>
                    <a:gd name="connsiteX6" fmla="*/ 13007 w 15090"/>
                    <a:gd name="connsiteY6" fmla="*/ 3236 h 23032"/>
                    <a:gd name="connsiteX7" fmla="*/ 12887 w 15090"/>
                    <a:gd name="connsiteY7" fmla="*/ 963 h 23032"/>
                    <a:gd name="connsiteX8" fmla="*/ 13844 w 15090"/>
                    <a:gd name="connsiteY8" fmla="*/ 7 h 23032"/>
                    <a:gd name="connsiteX9" fmla="*/ 14801 w 15090"/>
                    <a:gd name="connsiteY9" fmla="*/ 844 h 23032"/>
                    <a:gd name="connsiteX10" fmla="*/ 14861 w 15090"/>
                    <a:gd name="connsiteY10" fmla="*/ 3057 h 23032"/>
                    <a:gd name="connsiteX11" fmla="*/ 13127 w 15090"/>
                    <a:gd name="connsiteY11" fmla="*/ 22673 h 23032"/>
                    <a:gd name="connsiteX12" fmla="*/ 12768 w 15090"/>
                    <a:gd name="connsiteY12" fmla="*/ 22972 h 2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90" h="23032">
                      <a:moveTo>
                        <a:pt x="12768" y="22972"/>
                      </a:moveTo>
                      <a:cubicBezTo>
                        <a:pt x="12648" y="23032"/>
                        <a:pt x="12529" y="23032"/>
                        <a:pt x="12409" y="23032"/>
                      </a:cubicBezTo>
                      <a:cubicBezTo>
                        <a:pt x="11452" y="23032"/>
                        <a:pt x="2900" y="23032"/>
                        <a:pt x="448" y="21657"/>
                      </a:cubicBezTo>
                      <a:cubicBezTo>
                        <a:pt x="29" y="21417"/>
                        <a:pt x="-151" y="20879"/>
                        <a:pt x="148" y="20461"/>
                      </a:cubicBezTo>
                      <a:cubicBezTo>
                        <a:pt x="448" y="20042"/>
                        <a:pt x="1046" y="19863"/>
                        <a:pt x="1464" y="20102"/>
                      </a:cubicBezTo>
                      <a:cubicBezTo>
                        <a:pt x="2900" y="20879"/>
                        <a:pt x="8402" y="21178"/>
                        <a:pt x="11931" y="21238"/>
                      </a:cubicBezTo>
                      <a:cubicBezTo>
                        <a:pt x="13725" y="18128"/>
                        <a:pt x="13187" y="7363"/>
                        <a:pt x="13007" y="3236"/>
                      </a:cubicBezTo>
                      <a:cubicBezTo>
                        <a:pt x="12947" y="2279"/>
                        <a:pt x="12947" y="1502"/>
                        <a:pt x="12887" y="963"/>
                      </a:cubicBezTo>
                      <a:cubicBezTo>
                        <a:pt x="12887" y="485"/>
                        <a:pt x="13306" y="66"/>
                        <a:pt x="13844" y="7"/>
                      </a:cubicBezTo>
                      <a:cubicBezTo>
                        <a:pt x="14383" y="-53"/>
                        <a:pt x="14801" y="305"/>
                        <a:pt x="14801" y="844"/>
                      </a:cubicBezTo>
                      <a:cubicBezTo>
                        <a:pt x="14801" y="1322"/>
                        <a:pt x="14861" y="2100"/>
                        <a:pt x="14861" y="3057"/>
                      </a:cubicBezTo>
                      <a:cubicBezTo>
                        <a:pt x="15280" y="11669"/>
                        <a:pt x="15340" y="19982"/>
                        <a:pt x="13127" y="22673"/>
                      </a:cubicBezTo>
                      <a:cubicBezTo>
                        <a:pt x="13067" y="22853"/>
                        <a:pt x="12947" y="22913"/>
                        <a:pt x="12768" y="2297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75" name="Vrije vorm: vorm 9074">
                  <a:extLst>
                    <a:ext uri="{FF2B5EF4-FFF2-40B4-BE49-F238E27FC236}">
                      <a16:creationId xmlns:a16="http://schemas.microsoft.com/office/drawing/2014/main" id="{915D0171-16B5-4009-B82D-7FB29697338A}"/>
                    </a:ext>
                  </a:extLst>
                </p:cNvPr>
                <p:cNvSpPr/>
                <p:nvPr/>
              </p:nvSpPr>
              <p:spPr>
                <a:xfrm>
                  <a:off x="5313928" y="2234341"/>
                  <a:ext cx="14280" cy="23302"/>
                </a:xfrm>
                <a:custGeom>
                  <a:avLst/>
                  <a:gdLst>
                    <a:gd name="connsiteX0" fmla="*/ 7439 w 14280"/>
                    <a:gd name="connsiteY0" fmla="*/ 22704 h 23302"/>
                    <a:gd name="connsiteX1" fmla="*/ 4150 w 14280"/>
                    <a:gd name="connsiteY1" fmla="*/ 23302 h 23302"/>
                    <a:gd name="connsiteX2" fmla="*/ 3253 w 14280"/>
                    <a:gd name="connsiteY2" fmla="*/ 22824 h 23302"/>
                    <a:gd name="connsiteX3" fmla="*/ 1159 w 14280"/>
                    <a:gd name="connsiteY3" fmla="*/ 20850 h 23302"/>
                    <a:gd name="connsiteX4" fmla="*/ 23 w 14280"/>
                    <a:gd name="connsiteY4" fmla="*/ 20192 h 23302"/>
                    <a:gd name="connsiteX5" fmla="*/ 801 w 14280"/>
                    <a:gd name="connsiteY5" fmla="*/ 19116 h 23302"/>
                    <a:gd name="connsiteX6" fmla="*/ 4748 w 14280"/>
                    <a:gd name="connsiteY6" fmla="*/ 21448 h 23302"/>
                    <a:gd name="connsiteX7" fmla="*/ 7499 w 14280"/>
                    <a:gd name="connsiteY7" fmla="*/ 20731 h 23302"/>
                    <a:gd name="connsiteX8" fmla="*/ 7858 w 14280"/>
                    <a:gd name="connsiteY8" fmla="*/ 17501 h 23302"/>
                    <a:gd name="connsiteX9" fmla="*/ 8277 w 14280"/>
                    <a:gd name="connsiteY9" fmla="*/ 12178 h 23302"/>
                    <a:gd name="connsiteX10" fmla="*/ 12582 w 14280"/>
                    <a:gd name="connsiteY10" fmla="*/ 336 h 23302"/>
                    <a:gd name="connsiteX11" fmla="*/ 13958 w 14280"/>
                    <a:gd name="connsiteY11" fmla="*/ 217 h 23302"/>
                    <a:gd name="connsiteX12" fmla="*/ 14018 w 14280"/>
                    <a:gd name="connsiteY12" fmla="*/ 1473 h 23302"/>
                    <a:gd name="connsiteX13" fmla="*/ 10190 w 14280"/>
                    <a:gd name="connsiteY13" fmla="*/ 12238 h 23302"/>
                    <a:gd name="connsiteX14" fmla="*/ 9772 w 14280"/>
                    <a:gd name="connsiteY14" fmla="*/ 17501 h 23302"/>
                    <a:gd name="connsiteX15" fmla="*/ 9174 w 14280"/>
                    <a:gd name="connsiteY15" fmla="*/ 21448 h 23302"/>
                    <a:gd name="connsiteX16" fmla="*/ 7439 w 14280"/>
                    <a:gd name="connsiteY16" fmla="*/ 22704 h 2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80" h="23302">
                      <a:moveTo>
                        <a:pt x="7439" y="22704"/>
                      </a:moveTo>
                      <a:cubicBezTo>
                        <a:pt x="6303" y="23123"/>
                        <a:pt x="4927" y="23302"/>
                        <a:pt x="4150" y="23302"/>
                      </a:cubicBezTo>
                      <a:cubicBezTo>
                        <a:pt x="3791" y="23302"/>
                        <a:pt x="3432" y="23123"/>
                        <a:pt x="3253" y="22824"/>
                      </a:cubicBezTo>
                      <a:cubicBezTo>
                        <a:pt x="2774" y="21927"/>
                        <a:pt x="1698" y="20731"/>
                        <a:pt x="1159" y="20850"/>
                      </a:cubicBezTo>
                      <a:cubicBezTo>
                        <a:pt x="621" y="20970"/>
                        <a:pt x="143" y="20671"/>
                        <a:pt x="23" y="20192"/>
                      </a:cubicBezTo>
                      <a:cubicBezTo>
                        <a:pt x="-97" y="19714"/>
                        <a:pt x="262" y="19235"/>
                        <a:pt x="801" y="19116"/>
                      </a:cubicBezTo>
                      <a:cubicBezTo>
                        <a:pt x="2655" y="18637"/>
                        <a:pt x="4090" y="20491"/>
                        <a:pt x="4748" y="21448"/>
                      </a:cubicBezTo>
                      <a:cubicBezTo>
                        <a:pt x="6004" y="21269"/>
                        <a:pt x="7260" y="20970"/>
                        <a:pt x="7499" y="20731"/>
                      </a:cubicBezTo>
                      <a:cubicBezTo>
                        <a:pt x="7679" y="20312"/>
                        <a:pt x="7798" y="19176"/>
                        <a:pt x="7858" y="17501"/>
                      </a:cubicBezTo>
                      <a:cubicBezTo>
                        <a:pt x="7918" y="16125"/>
                        <a:pt x="8037" y="14391"/>
                        <a:pt x="8277" y="12178"/>
                      </a:cubicBezTo>
                      <a:cubicBezTo>
                        <a:pt x="8874" y="6556"/>
                        <a:pt x="10131" y="2968"/>
                        <a:pt x="12582" y="336"/>
                      </a:cubicBezTo>
                      <a:cubicBezTo>
                        <a:pt x="12941" y="-23"/>
                        <a:pt x="13540" y="-142"/>
                        <a:pt x="13958" y="217"/>
                      </a:cubicBezTo>
                      <a:cubicBezTo>
                        <a:pt x="14377" y="516"/>
                        <a:pt x="14377" y="1114"/>
                        <a:pt x="14018" y="1473"/>
                      </a:cubicBezTo>
                      <a:cubicBezTo>
                        <a:pt x="11865" y="3805"/>
                        <a:pt x="10728" y="7035"/>
                        <a:pt x="10190" y="12238"/>
                      </a:cubicBezTo>
                      <a:cubicBezTo>
                        <a:pt x="9951" y="14451"/>
                        <a:pt x="9891" y="16125"/>
                        <a:pt x="9772" y="17501"/>
                      </a:cubicBezTo>
                      <a:cubicBezTo>
                        <a:pt x="9652" y="19534"/>
                        <a:pt x="9592" y="20671"/>
                        <a:pt x="9174" y="21448"/>
                      </a:cubicBezTo>
                      <a:cubicBezTo>
                        <a:pt x="8815" y="22046"/>
                        <a:pt x="8157" y="22405"/>
                        <a:pt x="7439" y="2270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76" name="Vrije vorm: vorm 9075">
                  <a:extLst>
                    <a:ext uri="{FF2B5EF4-FFF2-40B4-BE49-F238E27FC236}">
                      <a16:creationId xmlns:a16="http://schemas.microsoft.com/office/drawing/2014/main" id="{C1DD53DD-FD36-4070-8346-6868EB8F93E1}"/>
                    </a:ext>
                  </a:extLst>
                </p:cNvPr>
                <p:cNvSpPr/>
                <p:nvPr/>
              </p:nvSpPr>
              <p:spPr>
                <a:xfrm>
                  <a:off x="5313476" y="2259310"/>
                  <a:ext cx="14538" cy="3345"/>
                </a:xfrm>
                <a:custGeom>
                  <a:avLst/>
                  <a:gdLst>
                    <a:gd name="connsiteX0" fmla="*/ 13872 w 14538"/>
                    <a:gd name="connsiteY0" fmla="*/ 2759 h 3345"/>
                    <a:gd name="connsiteX1" fmla="*/ 13752 w 14538"/>
                    <a:gd name="connsiteY1" fmla="*/ 2818 h 3345"/>
                    <a:gd name="connsiteX2" fmla="*/ 355 w 14538"/>
                    <a:gd name="connsiteY2" fmla="*/ 1622 h 3345"/>
                    <a:gd name="connsiteX3" fmla="*/ 236 w 14538"/>
                    <a:gd name="connsiteY3" fmla="*/ 366 h 3345"/>
                    <a:gd name="connsiteX4" fmla="*/ 1611 w 14538"/>
                    <a:gd name="connsiteY4" fmla="*/ 187 h 3345"/>
                    <a:gd name="connsiteX5" fmla="*/ 13393 w 14538"/>
                    <a:gd name="connsiteY5" fmla="*/ 1084 h 3345"/>
                    <a:gd name="connsiteX6" fmla="*/ 14529 w 14538"/>
                    <a:gd name="connsiteY6" fmla="*/ 1742 h 3345"/>
                    <a:gd name="connsiteX7" fmla="*/ 13872 w 14538"/>
                    <a:gd name="connsiteY7" fmla="*/ 2759 h 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8" h="3345">
                      <a:moveTo>
                        <a:pt x="13872" y="2759"/>
                      </a:moveTo>
                      <a:cubicBezTo>
                        <a:pt x="13812" y="2759"/>
                        <a:pt x="13812" y="2759"/>
                        <a:pt x="13752" y="2818"/>
                      </a:cubicBezTo>
                      <a:cubicBezTo>
                        <a:pt x="10164" y="3656"/>
                        <a:pt x="3166" y="3656"/>
                        <a:pt x="355" y="1622"/>
                      </a:cubicBezTo>
                      <a:cubicBezTo>
                        <a:pt x="-64" y="1323"/>
                        <a:pt x="-123" y="785"/>
                        <a:pt x="236" y="366"/>
                      </a:cubicBezTo>
                      <a:cubicBezTo>
                        <a:pt x="595" y="-52"/>
                        <a:pt x="1192" y="-112"/>
                        <a:pt x="1611" y="187"/>
                      </a:cubicBezTo>
                      <a:cubicBezTo>
                        <a:pt x="3824" y="1802"/>
                        <a:pt x="10283" y="1861"/>
                        <a:pt x="13393" y="1084"/>
                      </a:cubicBezTo>
                      <a:cubicBezTo>
                        <a:pt x="13931" y="964"/>
                        <a:pt x="14410" y="1263"/>
                        <a:pt x="14529" y="1742"/>
                      </a:cubicBezTo>
                      <a:cubicBezTo>
                        <a:pt x="14589" y="2101"/>
                        <a:pt x="14350" y="2579"/>
                        <a:pt x="13872" y="2759"/>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77" name="Vrije vorm: vorm 9076">
                  <a:extLst>
                    <a:ext uri="{FF2B5EF4-FFF2-40B4-BE49-F238E27FC236}">
                      <a16:creationId xmlns:a16="http://schemas.microsoft.com/office/drawing/2014/main" id="{BC2E405F-ECB5-4538-A37F-624F13600BF3}"/>
                    </a:ext>
                  </a:extLst>
                </p:cNvPr>
                <p:cNvSpPr/>
                <p:nvPr/>
              </p:nvSpPr>
              <p:spPr>
                <a:xfrm>
                  <a:off x="5305547" y="2248611"/>
                  <a:ext cx="10221" cy="13167"/>
                </a:xfrm>
                <a:custGeom>
                  <a:avLst/>
                  <a:gdLst>
                    <a:gd name="connsiteX0" fmla="*/ 9599 w 10221"/>
                    <a:gd name="connsiteY0" fmla="*/ 11603 h 13167"/>
                    <a:gd name="connsiteX1" fmla="*/ 5533 w 10221"/>
                    <a:gd name="connsiteY1" fmla="*/ 13098 h 13167"/>
                    <a:gd name="connsiteX2" fmla="*/ 4336 w 10221"/>
                    <a:gd name="connsiteY2" fmla="*/ 12680 h 13167"/>
                    <a:gd name="connsiteX3" fmla="*/ 30 w 10221"/>
                    <a:gd name="connsiteY3" fmla="*/ 2811 h 13167"/>
                    <a:gd name="connsiteX4" fmla="*/ 688 w 10221"/>
                    <a:gd name="connsiteY4" fmla="*/ 1675 h 13167"/>
                    <a:gd name="connsiteX5" fmla="*/ 1884 w 10221"/>
                    <a:gd name="connsiteY5" fmla="*/ 2213 h 13167"/>
                    <a:gd name="connsiteX6" fmla="*/ 5712 w 10221"/>
                    <a:gd name="connsiteY6" fmla="*/ 11125 h 13167"/>
                    <a:gd name="connsiteX7" fmla="*/ 8104 w 10221"/>
                    <a:gd name="connsiteY7" fmla="*/ 10227 h 13167"/>
                    <a:gd name="connsiteX8" fmla="*/ 5652 w 10221"/>
                    <a:gd name="connsiteY8" fmla="*/ 1197 h 13167"/>
                    <a:gd name="connsiteX9" fmla="*/ 6250 w 10221"/>
                    <a:gd name="connsiteY9" fmla="*/ 60 h 13167"/>
                    <a:gd name="connsiteX10" fmla="*/ 7446 w 10221"/>
                    <a:gd name="connsiteY10" fmla="*/ 539 h 13167"/>
                    <a:gd name="connsiteX11" fmla="*/ 10138 w 10221"/>
                    <a:gd name="connsiteY11" fmla="*/ 10527 h 13167"/>
                    <a:gd name="connsiteX12" fmla="*/ 9599 w 10221"/>
                    <a:gd name="connsiteY12" fmla="*/ 11603 h 13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1" h="13167">
                      <a:moveTo>
                        <a:pt x="9599" y="11603"/>
                      </a:moveTo>
                      <a:lnTo>
                        <a:pt x="5533" y="13098"/>
                      </a:lnTo>
                      <a:cubicBezTo>
                        <a:pt x="5054" y="13278"/>
                        <a:pt x="4575" y="13098"/>
                        <a:pt x="4336" y="12680"/>
                      </a:cubicBezTo>
                      <a:cubicBezTo>
                        <a:pt x="4217" y="12440"/>
                        <a:pt x="1107" y="6400"/>
                        <a:pt x="30" y="2811"/>
                      </a:cubicBezTo>
                      <a:cubicBezTo>
                        <a:pt x="-89" y="2333"/>
                        <a:pt x="150" y="1854"/>
                        <a:pt x="688" y="1675"/>
                      </a:cubicBezTo>
                      <a:cubicBezTo>
                        <a:pt x="1226" y="1496"/>
                        <a:pt x="1705" y="1795"/>
                        <a:pt x="1884" y="2213"/>
                      </a:cubicBezTo>
                      <a:cubicBezTo>
                        <a:pt x="2721" y="4964"/>
                        <a:pt x="4874" y="9390"/>
                        <a:pt x="5712" y="11125"/>
                      </a:cubicBezTo>
                      <a:lnTo>
                        <a:pt x="8104" y="10227"/>
                      </a:lnTo>
                      <a:cubicBezTo>
                        <a:pt x="7267" y="7118"/>
                        <a:pt x="5951" y="2094"/>
                        <a:pt x="5652" y="1197"/>
                      </a:cubicBezTo>
                      <a:cubicBezTo>
                        <a:pt x="5473" y="718"/>
                        <a:pt x="5772" y="240"/>
                        <a:pt x="6250" y="60"/>
                      </a:cubicBezTo>
                      <a:cubicBezTo>
                        <a:pt x="6729" y="-119"/>
                        <a:pt x="7327" y="120"/>
                        <a:pt x="7446" y="539"/>
                      </a:cubicBezTo>
                      <a:cubicBezTo>
                        <a:pt x="7925" y="1854"/>
                        <a:pt x="10078" y="10168"/>
                        <a:pt x="10138" y="10527"/>
                      </a:cubicBezTo>
                      <a:cubicBezTo>
                        <a:pt x="10377" y="10945"/>
                        <a:pt x="10078" y="11424"/>
                        <a:pt x="9599" y="11603"/>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78" name="Vrije vorm: vorm 9077">
                  <a:extLst>
                    <a:ext uri="{FF2B5EF4-FFF2-40B4-BE49-F238E27FC236}">
                      <a16:creationId xmlns:a16="http://schemas.microsoft.com/office/drawing/2014/main" id="{C224A3C2-A8EE-4A15-97F5-2CC26E3D37FC}"/>
                    </a:ext>
                  </a:extLst>
                </p:cNvPr>
                <p:cNvSpPr/>
                <p:nvPr/>
              </p:nvSpPr>
              <p:spPr>
                <a:xfrm>
                  <a:off x="5304210" y="2247416"/>
                  <a:ext cx="9793" cy="4544"/>
                </a:xfrm>
                <a:custGeom>
                  <a:avLst/>
                  <a:gdLst>
                    <a:gd name="connsiteX0" fmla="*/ 9143 w 9793"/>
                    <a:gd name="connsiteY0" fmla="*/ 1734 h 4544"/>
                    <a:gd name="connsiteX1" fmla="*/ 9143 w 9793"/>
                    <a:gd name="connsiteY1" fmla="*/ 1734 h 4544"/>
                    <a:gd name="connsiteX2" fmla="*/ 1248 w 9793"/>
                    <a:gd name="connsiteY2" fmla="*/ 4485 h 4544"/>
                    <a:gd name="connsiteX3" fmla="*/ 52 w 9793"/>
                    <a:gd name="connsiteY3" fmla="*/ 3947 h 4544"/>
                    <a:gd name="connsiteX4" fmla="*/ 710 w 9793"/>
                    <a:gd name="connsiteY4" fmla="*/ 2811 h 4544"/>
                    <a:gd name="connsiteX5" fmla="*/ 8545 w 9793"/>
                    <a:gd name="connsiteY5" fmla="*/ 60 h 4544"/>
                    <a:gd name="connsiteX6" fmla="*/ 9741 w 9793"/>
                    <a:gd name="connsiteY6" fmla="*/ 598 h 4544"/>
                    <a:gd name="connsiteX7" fmla="*/ 9143 w 9793"/>
                    <a:gd name="connsiteY7" fmla="*/ 1734 h 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3" h="4544">
                      <a:moveTo>
                        <a:pt x="9143" y="1734"/>
                      </a:moveTo>
                      <a:cubicBezTo>
                        <a:pt x="9143" y="1734"/>
                        <a:pt x="9143" y="1734"/>
                        <a:pt x="9143" y="1734"/>
                      </a:cubicBezTo>
                      <a:lnTo>
                        <a:pt x="1248" y="4485"/>
                      </a:lnTo>
                      <a:cubicBezTo>
                        <a:pt x="770" y="4665"/>
                        <a:pt x="172" y="4425"/>
                        <a:pt x="52" y="3947"/>
                      </a:cubicBezTo>
                      <a:cubicBezTo>
                        <a:pt x="-127" y="3469"/>
                        <a:pt x="172" y="2990"/>
                        <a:pt x="710" y="2811"/>
                      </a:cubicBezTo>
                      <a:lnTo>
                        <a:pt x="8545" y="60"/>
                      </a:lnTo>
                      <a:cubicBezTo>
                        <a:pt x="9023" y="-120"/>
                        <a:pt x="9621" y="119"/>
                        <a:pt x="9741" y="598"/>
                      </a:cubicBezTo>
                      <a:cubicBezTo>
                        <a:pt x="9921" y="1076"/>
                        <a:pt x="9621" y="1555"/>
                        <a:pt x="9143" y="173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79" name="Vrije vorm: vorm 9078">
                  <a:extLst>
                    <a:ext uri="{FF2B5EF4-FFF2-40B4-BE49-F238E27FC236}">
                      <a16:creationId xmlns:a16="http://schemas.microsoft.com/office/drawing/2014/main" id="{1F49C85E-E573-4F87-96EA-C97B121476F6}"/>
                    </a:ext>
                  </a:extLst>
                </p:cNvPr>
                <p:cNvSpPr/>
                <p:nvPr/>
              </p:nvSpPr>
              <p:spPr>
                <a:xfrm>
                  <a:off x="5305585" y="2246937"/>
                  <a:ext cx="6177" cy="3290"/>
                </a:xfrm>
                <a:custGeom>
                  <a:avLst/>
                  <a:gdLst>
                    <a:gd name="connsiteX0" fmla="*/ 5555 w 6177"/>
                    <a:gd name="connsiteY0" fmla="*/ 1675 h 3290"/>
                    <a:gd name="connsiteX1" fmla="*/ 5555 w 6177"/>
                    <a:gd name="connsiteY1" fmla="*/ 1675 h 3290"/>
                    <a:gd name="connsiteX2" fmla="*/ 1249 w 6177"/>
                    <a:gd name="connsiteY2" fmla="*/ 3230 h 3290"/>
                    <a:gd name="connsiteX3" fmla="*/ 53 w 6177"/>
                    <a:gd name="connsiteY3" fmla="*/ 2752 h 3290"/>
                    <a:gd name="connsiteX4" fmla="*/ 651 w 6177"/>
                    <a:gd name="connsiteY4" fmla="*/ 1615 h 3290"/>
                    <a:gd name="connsiteX5" fmla="*/ 651 w 6177"/>
                    <a:gd name="connsiteY5" fmla="*/ 1615 h 3290"/>
                    <a:gd name="connsiteX6" fmla="*/ 4897 w 6177"/>
                    <a:gd name="connsiteY6" fmla="*/ 60 h 3290"/>
                    <a:gd name="connsiteX7" fmla="*/ 6093 w 6177"/>
                    <a:gd name="connsiteY7" fmla="*/ 539 h 3290"/>
                    <a:gd name="connsiteX8" fmla="*/ 5555 w 6177"/>
                    <a:gd name="connsiteY8" fmla="*/ 1675 h 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77" h="3290">
                      <a:moveTo>
                        <a:pt x="5555" y="1675"/>
                      </a:moveTo>
                      <a:cubicBezTo>
                        <a:pt x="5555" y="1675"/>
                        <a:pt x="5555" y="1675"/>
                        <a:pt x="5555" y="1675"/>
                      </a:cubicBezTo>
                      <a:lnTo>
                        <a:pt x="1249" y="3230"/>
                      </a:lnTo>
                      <a:cubicBezTo>
                        <a:pt x="770" y="3409"/>
                        <a:pt x="172" y="3170"/>
                        <a:pt x="53" y="2752"/>
                      </a:cubicBezTo>
                      <a:cubicBezTo>
                        <a:pt x="-127" y="2273"/>
                        <a:pt x="172" y="1795"/>
                        <a:pt x="651" y="1615"/>
                      </a:cubicBezTo>
                      <a:cubicBezTo>
                        <a:pt x="651" y="1615"/>
                        <a:pt x="651" y="1615"/>
                        <a:pt x="651" y="1615"/>
                      </a:cubicBezTo>
                      <a:lnTo>
                        <a:pt x="4897" y="60"/>
                      </a:lnTo>
                      <a:cubicBezTo>
                        <a:pt x="5375" y="-119"/>
                        <a:pt x="5973" y="120"/>
                        <a:pt x="6093" y="539"/>
                      </a:cubicBezTo>
                      <a:cubicBezTo>
                        <a:pt x="6332" y="957"/>
                        <a:pt x="6033" y="1496"/>
                        <a:pt x="5555" y="1675"/>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80" name="Vrije vorm: vorm 9079">
                  <a:extLst>
                    <a:ext uri="{FF2B5EF4-FFF2-40B4-BE49-F238E27FC236}">
                      <a16:creationId xmlns:a16="http://schemas.microsoft.com/office/drawing/2014/main" id="{B7530803-556D-46C2-8C83-EA1FF3361703}"/>
                    </a:ext>
                  </a:extLst>
                </p:cNvPr>
                <p:cNvSpPr/>
                <p:nvPr/>
              </p:nvSpPr>
              <p:spPr>
                <a:xfrm>
                  <a:off x="5339383" y="2241644"/>
                  <a:ext cx="7458" cy="5542"/>
                </a:xfrm>
                <a:custGeom>
                  <a:avLst/>
                  <a:gdLst>
                    <a:gd name="connsiteX0" fmla="*/ 1302 w 7458"/>
                    <a:gd name="connsiteY0" fmla="*/ 5472 h 5542"/>
                    <a:gd name="connsiteX1" fmla="*/ 106 w 7458"/>
                    <a:gd name="connsiteY1" fmla="*/ 5114 h 5542"/>
                    <a:gd name="connsiteX2" fmla="*/ 524 w 7458"/>
                    <a:gd name="connsiteY2" fmla="*/ 3917 h 5542"/>
                    <a:gd name="connsiteX3" fmla="*/ 5847 w 7458"/>
                    <a:gd name="connsiteY3" fmla="*/ 269 h 5542"/>
                    <a:gd name="connsiteX4" fmla="*/ 7223 w 7458"/>
                    <a:gd name="connsiteY4" fmla="*/ 269 h 5542"/>
                    <a:gd name="connsiteX5" fmla="*/ 7103 w 7458"/>
                    <a:gd name="connsiteY5" fmla="*/ 1525 h 5542"/>
                    <a:gd name="connsiteX6" fmla="*/ 1361 w 7458"/>
                    <a:gd name="connsiteY6" fmla="*/ 5472 h 5542"/>
                    <a:gd name="connsiteX7" fmla="*/ 1302 w 7458"/>
                    <a:gd name="connsiteY7" fmla="*/ 5472 h 5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58" h="5542">
                      <a:moveTo>
                        <a:pt x="1302" y="5472"/>
                      </a:moveTo>
                      <a:cubicBezTo>
                        <a:pt x="823" y="5652"/>
                        <a:pt x="345" y="5472"/>
                        <a:pt x="106" y="5114"/>
                      </a:cubicBezTo>
                      <a:cubicBezTo>
                        <a:pt x="-134" y="4695"/>
                        <a:pt x="46" y="4157"/>
                        <a:pt x="524" y="3917"/>
                      </a:cubicBezTo>
                      <a:cubicBezTo>
                        <a:pt x="3215" y="2542"/>
                        <a:pt x="5787" y="269"/>
                        <a:pt x="5847" y="269"/>
                      </a:cubicBezTo>
                      <a:cubicBezTo>
                        <a:pt x="6266" y="-90"/>
                        <a:pt x="6864" y="-90"/>
                        <a:pt x="7223" y="269"/>
                      </a:cubicBezTo>
                      <a:cubicBezTo>
                        <a:pt x="7582" y="628"/>
                        <a:pt x="7522" y="1166"/>
                        <a:pt x="7103" y="1525"/>
                      </a:cubicBezTo>
                      <a:cubicBezTo>
                        <a:pt x="6983" y="1645"/>
                        <a:pt x="4292" y="3977"/>
                        <a:pt x="1361" y="5472"/>
                      </a:cubicBezTo>
                      <a:cubicBezTo>
                        <a:pt x="1361" y="5472"/>
                        <a:pt x="1302" y="5472"/>
                        <a:pt x="1302" y="5472"/>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81" name="Vrije vorm: vorm 9080">
                  <a:extLst>
                    <a:ext uri="{FF2B5EF4-FFF2-40B4-BE49-F238E27FC236}">
                      <a16:creationId xmlns:a16="http://schemas.microsoft.com/office/drawing/2014/main" id="{93829FDA-624A-42D6-B276-FA420242D8DD}"/>
                    </a:ext>
                  </a:extLst>
                </p:cNvPr>
                <p:cNvSpPr/>
                <p:nvPr/>
              </p:nvSpPr>
              <p:spPr>
                <a:xfrm>
                  <a:off x="5322916" y="2247834"/>
                  <a:ext cx="5214" cy="1854"/>
                </a:xfrm>
                <a:custGeom>
                  <a:avLst/>
                  <a:gdLst>
                    <a:gd name="connsiteX0" fmla="*/ 4551 w 5214"/>
                    <a:gd name="connsiteY0" fmla="*/ 1734 h 1854"/>
                    <a:gd name="connsiteX1" fmla="*/ 4192 w 5214"/>
                    <a:gd name="connsiteY1" fmla="*/ 1794 h 1854"/>
                    <a:gd name="connsiteX2" fmla="*/ 903 w 5214"/>
                    <a:gd name="connsiteY2" fmla="*/ 1854 h 1854"/>
                    <a:gd name="connsiteX3" fmla="*/ 6 w 5214"/>
                    <a:gd name="connsiteY3" fmla="*/ 957 h 1854"/>
                    <a:gd name="connsiteX4" fmla="*/ 1022 w 5214"/>
                    <a:gd name="connsiteY4" fmla="*/ 60 h 1854"/>
                    <a:gd name="connsiteX5" fmla="*/ 4312 w 5214"/>
                    <a:gd name="connsiteY5" fmla="*/ 0 h 1854"/>
                    <a:gd name="connsiteX6" fmla="*/ 5209 w 5214"/>
                    <a:gd name="connsiteY6" fmla="*/ 897 h 1854"/>
                    <a:gd name="connsiteX7" fmla="*/ 4551 w 5214"/>
                    <a:gd name="connsiteY7" fmla="*/ 173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4" h="1854">
                      <a:moveTo>
                        <a:pt x="4551" y="1734"/>
                      </a:moveTo>
                      <a:cubicBezTo>
                        <a:pt x="4431" y="1794"/>
                        <a:pt x="4312" y="1794"/>
                        <a:pt x="4192" y="1794"/>
                      </a:cubicBezTo>
                      <a:lnTo>
                        <a:pt x="903" y="1854"/>
                      </a:lnTo>
                      <a:cubicBezTo>
                        <a:pt x="365" y="1854"/>
                        <a:pt x="-54" y="1495"/>
                        <a:pt x="6" y="957"/>
                      </a:cubicBezTo>
                      <a:cubicBezTo>
                        <a:pt x="6" y="478"/>
                        <a:pt x="484" y="60"/>
                        <a:pt x="1022" y="60"/>
                      </a:cubicBezTo>
                      <a:lnTo>
                        <a:pt x="4312" y="0"/>
                      </a:lnTo>
                      <a:cubicBezTo>
                        <a:pt x="4850" y="0"/>
                        <a:pt x="5269" y="359"/>
                        <a:pt x="5209" y="897"/>
                      </a:cubicBezTo>
                      <a:cubicBezTo>
                        <a:pt x="5209" y="1256"/>
                        <a:pt x="4970" y="1555"/>
                        <a:pt x="4551" y="1734"/>
                      </a:cubicBezTo>
                      <a:close/>
                    </a:path>
                  </a:pathLst>
                </a:custGeom>
                <a:grpFill/>
                <a:ln w="6350" cap="flat">
                  <a:solidFill>
                    <a:schemeClr val="bg1">
                      <a:alpha val="40000"/>
                    </a:schemeClr>
                  </a:solidFill>
                  <a:prstDash val="solid"/>
                  <a:miter/>
                </a:ln>
              </p:spPr>
              <p:txBody>
                <a:bodyPr rtlCol="0" anchor="ctr"/>
                <a:lstStyle/>
                <a:p>
                  <a:endParaRPr lang="en-GB"/>
                </a:p>
              </p:txBody>
            </p:sp>
            <p:sp>
              <p:nvSpPr>
                <p:cNvPr id="9082" name="Vrije vorm: vorm 9081">
                  <a:extLst>
                    <a:ext uri="{FF2B5EF4-FFF2-40B4-BE49-F238E27FC236}">
                      <a16:creationId xmlns:a16="http://schemas.microsoft.com/office/drawing/2014/main" id="{AFEC665A-D6E9-45EF-91A5-62AB116B403B}"/>
                    </a:ext>
                  </a:extLst>
                </p:cNvPr>
                <p:cNvSpPr/>
                <p:nvPr/>
              </p:nvSpPr>
              <p:spPr>
                <a:xfrm>
                  <a:off x="5318350" y="2218469"/>
                  <a:ext cx="13961" cy="5973"/>
                </a:xfrm>
                <a:custGeom>
                  <a:avLst/>
                  <a:gdLst>
                    <a:gd name="connsiteX0" fmla="*/ 13363 w 13961"/>
                    <a:gd name="connsiteY0" fmla="*/ 5921 h 5973"/>
                    <a:gd name="connsiteX1" fmla="*/ 13303 w 13961"/>
                    <a:gd name="connsiteY1" fmla="*/ 5921 h 5973"/>
                    <a:gd name="connsiteX2" fmla="*/ 12107 w 13961"/>
                    <a:gd name="connsiteY2" fmla="*/ 5323 h 5973"/>
                    <a:gd name="connsiteX3" fmla="*/ 11210 w 13961"/>
                    <a:gd name="connsiteY3" fmla="*/ 4426 h 5973"/>
                    <a:gd name="connsiteX4" fmla="*/ 8758 w 13961"/>
                    <a:gd name="connsiteY4" fmla="*/ 2512 h 5973"/>
                    <a:gd name="connsiteX5" fmla="*/ 8698 w 13961"/>
                    <a:gd name="connsiteY5" fmla="*/ 2392 h 5973"/>
                    <a:gd name="connsiteX6" fmla="*/ 7861 w 13961"/>
                    <a:gd name="connsiteY6" fmla="*/ 1794 h 5973"/>
                    <a:gd name="connsiteX7" fmla="*/ 1162 w 13961"/>
                    <a:gd name="connsiteY7" fmla="*/ 2691 h 5973"/>
                    <a:gd name="connsiteX8" fmla="*/ 26 w 13961"/>
                    <a:gd name="connsiteY8" fmla="*/ 2093 h 5973"/>
                    <a:gd name="connsiteX9" fmla="*/ 744 w 13961"/>
                    <a:gd name="connsiteY9" fmla="*/ 957 h 5973"/>
                    <a:gd name="connsiteX10" fmla="*/ 7981 w 13961"/>
                    <a:gd name="connsiteY10" fmla="*/ 0 h 5973"/>
                    <a:gd name="connsiteX11" fmla="*/ 10552 w 13961"/>
                    <a:gd name="connsiteY11" fmla="*/ 1854 h 5973"/>
                    <a:gd name="connsiteX12" fmla="*/ 10612 w 13961"/>
                    <a:gd name="connsiteY12" fmla="*/ 2034 h 5973"/>
                    <a:gd name="connsiteX13" fmla="*/ 10612 w 13961"/>
                    <a:gd name="connsiteY13" fmla="*/ 2213 h 5973"/>
                    <a:gd name="connsiteX14" fmla="*/ 11150 w 13961"/>
                    <a:gd name="connsiteY14" fmla="*/ 2691 h 5973"/>
                    <a:gd name="connsiteX15" fmla="*/ 13901 w 13961"/>
                    <a:gd name="connsiteY15" fmla="*/ 4785 h 5973"/>
                    <a:gd name="connsiteX16" fmla="*/ 13363 w 13961"/>
                    <a:gd name="connsiteY16" fmla="*/ 5921 h 5973"/>
                    <a:gd name="connsiteX17" fmla="*/ 9775 w 13961"/>
                    <a:gd name="connsiteY17" fmla="*/ 2332 h 5973"/>
                    <a:gd name="connsiteX18" fmla="*/ 9775 w 13961"/>
                    <a:gd name="connsiteY18" fmla="*/ 2332 h 5973"/>
                    <a:gd name="connsiteX19" fmla="*/ 9775 w 13961"/>
                    <a:gd name="connsiteY19" fmla="*/ 2332 h 5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961" h="5973">
                      <a:moveTo>
                        <a:pt x="13363" y="5921"/>
                      </a:moveTo>
                      <a:cubicBezTo>
                        <a:pt x="13363" y="5921"/>
                        <a:pt x="13303" y="5921"/>
                        <a:pt x="13303" y="5921"/>
                      </a:cubicBezTo>
                      <a:cubicBezTo>
                        <a:pt x="12765" y="6100"/>
                        <a:pt x="12286" y="5801"/>
                        <a:pt x="12107" y="5323"/>
                      </a:cubicBezTo>
                      <a:cubicBezTo>
                        <a:pt x="11868" y="4426"/>
                        <a:pt x="11629" y="4426"/>
                        <a:pt x="11210" y="4426"/>
                      </a:cubicBezTo>
                      <a:cubicBezTo>
                        <a:pt x="9835" y="4486"/>
                        <a:pt x="8937" y="3768"/>
                        <a:pt x="8758" y="2512"/>
                      </a:cubicBezTo>
                      <a:lnTo>
                        <a:pt x="8698" y="2392"/>
                      </a:lnTo>
                      <a:cubicBezTo>
                        <a:pt x="8578" y="2034"/>
                        <a:pt x="8280" y="1794"/>
                        <a:pt x="7861" y="1794"/>
                      </a:cubicBezTo>
                      <a:cubicBezTo>
                        <a:pt x="6426" y="1794"/>
                        <a:pt x="4033" y="1914"/>
                        <a:pt x="1162" y="2691"/>
                      </a:cubicBezTo>
                      <a:cubicBezTo>
                        <a:pt x="624" y="2811"/>
                        <a:pt x="146" y="2572"/>
                        <a:pt x="26" y="2093"/>
                      </a:cubicBezTo>
                      <a:cubicBezTo>
                        <a:pt x="-93" y="1615"/>
                        <a:pt x="206" y="1136"/>
                        <a:pt x="744" y="957"/>
                      </a:cubicBezTo>
                      <a:cubicBezTo>
                        <a:pt x="3854" y="120"/>
                        <a:pt x="6426" y="0"/>
                        <a:pt x="7981" y="0"/>
                      </a:cubicBezTo>
                      <a:cubicBezTo>
                        <a:pt x="9237" y="0"/>
                        <a:pt x="10253" y="778"/>
                        <a:pt x="10552" y="1854"/>
                      </a:cubicBezTo>
                      <a:lnTo>
                        <a:pt x="10612" y="2034"/>
                      </a:lnTo>
                      <a:cubicBezTo>
                        <a:pt x="10612" y="2093"/>
                        <a:pt x="10612" y="2153"/>
                        <a:pt x="10612" y="2213"/>
                      </a:cubicBezTo>
                      <a:cubicBezTo>
                        <a:pt x="10672" y="2691"/>
                        <a:pt x="10791" y="2691"/>
                        <a:pt x="11150" y="2691"/>
                      </a:cubicBezTo>
                      <a:cubicBezTo>
                        <a:pt x="12047" y="2632"/>
                        <a:pt x="13303" y="2811"/>
                        <a:pt x="13901" y="4785"/>
                      </a:cubicBezTo>
                      <a:cubicBezTo>
                        <a:pt x="14081" y="5263"/>
                        <a:pt x="13842" y="5742"/>
                        <a:pt x="13363" y="5921"/>
                      </a:cubicBezTo>
                      <a:close/>
                      <a:moveTo>
                        <a:pt x="9775" y="2332"/>
                      </a:moveTo>
                      <a:lnTo>
                        <a:pt x="9775" y="2332"/>
                      </a:lnTo>
                      <a:lnTo>
                        <a:pt x="9775" y="2332"/>
                      </a:lnTo>
                      <a:close/>
                    </a:path>
                  </a:pathLst>
                </a:custGeom>
                <a:grpFill/>
                <a:ln w="6350" cap="flat">
                  <a:solidFill>
                    <a:schemeClr val="bg1">
                      <a:alpha val="40000"/>
                    </a:schemeClr>
                  </a:solidFill>
                  <a:prstDash val="solid"/>
                  <a:miter/>
                </a:ln>
              </p:spPr>
              <p:txBody>
                <a:bodyPr rtlCol="0" anchor="ctr"/>
                <a:lstStyle/>
                <a:p>
                  <a:endParaRPr lang="en-GB"/>
                </a:p>
              </p:txBody>
            </p:sp>
            <p:sp>
              <p:nvSpPr>
                <p:cNvPr id="9083" name="Vrije vorm: vorm 9082">
                  <a:extLst>
                    <a:ext uri="{FF2B5EF4-FFF2-40B4-BE49-F238E27FC236}">
                      <a16:creationId xmlns:a16="http://schemas.microsoft.com/office/drawing/2014/main" id="{4C527AEE-2D6C-4890-A8DF-9F44737C79B6}"/>
                    </a:ext>
                  </a:extLst>
                </p:cNvPr>
                <p:cNvSpPr/>
                <p:nvPr/>
              </p:nvSpPr>
              <p:spPr>
                <a:xfrm>
                  <a:off x="5318788" y="2215312"/>
                  <a:ext cx="12763" cy="6804"/>
                </a:xfrm>
                <a:custGeom>
                  <a:avLst/>
                  <a:gdLst>
                    <a:gd name="connsiteX0" fmla="*/ 1323 w 12763"/>
                    <a:gd name="connsiteY0" fmla="*/ 4712 h 6804"/>
                    <a:gd name="connsiteX1" fmla="*/ 8320 w 12763"/>
                    <a:gd name="connsiteY1" fmla="*/ 4472 h 6804"/>
                    <a:gd name="connsiteX2" fmla="*/ 10114 w 12763"/>
                    <a:gd name="connsiteY2" fmla="*/ 6745 h 6804"/>
                    <a:gd name="connsiteX3" fmla="*/ 12686 w 12763"/>
                    <a:gd name="connsiteY3" fmla="*/ 6805 h 6804"/>
                    <a:gd name="connsiteX4" fmla="*/ 10832 w 12763"/>
                    <a:gd name="connsiteY4" fmla="*/ 1661 h 6804"/>
                    <a:gd name="connsiteX5" fmla="*/ 4552 w 12763"/>
                    <a:gd name="connsiteY5" fmla="*/ 585 h 6804"/>
                    <a:gd name="connsiteX6" fmla="*/ 7 w 12763"/>
                    <a:gd name="connsiteY6" fmla="*/ 3874 h 6804"/>
                    <a:gd name="connsiteX7" fmla="*/ 1323 w 12763"/>
                    <a:gd name="connsiteY7" fmla="*/ 4712 h 6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63" h="6804">
                      <a:moveTo>
                        <a:pt x="1323" y="4712"/>
                      </a:moveTo>
                      <a:cubicBezTo>
                        <a:pt x="1323" y="4712"/>
                        <a:pt x="7423" y="3575"/>
                        <a:pt x="8320" y="4472"/>
                      </a:cubicBezTo>
                      <a:cubicBezTo>
                        <a:pt x="9277" y="5310"/>
                        <a:pt x="10114" y="6745"/>
                        <a:pt x="10114" y="6745"/>
                      </a:cubicBezTo>
                      <a:lnTo>
                        <a:pt x="12686" y="6805"/>
                      </a:lnTo>
                      <a:cubicBezTo>
                        <a:pt x="12686" y="6805"/>
                        <a:pt x="13344" y="3037"/>
                        <a:pt x="10832" y="1661"/>
                      </a:cubicBezTo>
                      <a:cubicBezTo>
                        <a:pt x="8260" y="286"/>
                        <a:pt x="7662" y="-671"/>
                        <a:pt x="4552" y="585"/>
                      </a:cubicBezTo>
                      <a:cubicBezTo>
                        <a:pt x="1382" y="1841"/>
                        <a:pt x="-113" y="2738"/>
                        <a:pt x="7" y="3874"/>
                      </a:cubicBezTo>
                      <a:cubicBezTo>
                        <a:pt x="7" y="5071"/>
                        <a:pt x="1323" y="4712"/>
                        <a:pt x="1323" y="4712"/>
                      </a:cubicBezTo>
                      <a:close/>
                    </a:path>
                  </a:pathLst>
                </a:custGeom>
                <a:grpFill/>
                <a:ln w="6350" cap="flat">
                  <a:solidFill>
                    <a:schemeClr val="bg1">
                      <a:alpha val="40000"/>
                    </a:schemeClr>
                  </a:solidFill>
                  <a:prstDash val="solid"/>
                  <a:miter/>
                </a:ln>
              </p:spPr>
              <p:txBody>
                <a:bodyPr rtlCol="0" anchor="ctr"/>
                <a:lstStyle/>
                <a:p>
                  <a:endParaRPr lang="en-GB"/>
                </a:p>
              </p:txBody>
            </p:sp>
          </p:grpSp>
          <p:sp>
            <p:nvSpPr>
              <p:cNvPr id="9064" name="Vrije vorm: vorm 9063">
                <a:extLst>
                  <a:ext uri="{FF2B5EF4-FFF2-40B4-BE49-F238E27FC236}">
                    <a16:creationId xmlns:a16="http://schemas.microsoft.com/office/drawing/2014/main" id="{25B63DDB-3012-479C-ABE6-5AE35B486687}"/>
                  </a:ext>
                </a:extLst>
              </p:cNvPr>
              <p:cNvSpPr/>
              <p:nvPr/>
            </p:nvSpPr>
            <p:spPr>
              <a:xfrm>
                <a:off x="5852335" y="856479"/>
                <a:ext cx="896" cy="837"/>
              </a:xfrm>
              <a:custGeom>
                <a:avLst/>
                <a:gdLst>
                  <a:gd name="connsiteX0" fmla="*/ 598 w 896"/>
                  <a:gd name="connsiteY0" fmla="*/ 0 h 837"/>
                  <a:gd name="connsiteX1" fmla="*/ 897 w 896"/>
                  <a:gd name="connsiteY1" fmla="*/ 837 h 837"/>
                  <a:gd name="connsiteX2" fmla="*/ 0 w 896"/>
                  <a:gd name="connsiteY2" fmla="*/ 778 h 837"/>
                </a:gdLst>
                <a:ahLst/>
                <a:cxnLst>
                  <a:cxn ang="0">
                    <a:pos x="connsiteX0" y="connsiteY0"/>
                  </a:cxn>
                  <a:cxn ang="0">
                    <a:pos x="connsiteX1" y="connsiteY1"/>
                  </a:cxn>
                  <a:cxn ang="0">
                    <a:pos x="connsiteX2" y="connsiteY2"/>
                  </a:cxn>
                </a:cxnLst>
                <a:rect l="l" t="t" r="r" b="b"/>
                <a:pathLst>
                  <a:path w="896" h="837">
                    <a:moveTo>
                      <a:pt x="598" y="0"/>
                    </a:moveTo>
                    <a:lnTo>
                      <a:pt x="897" y="837"/>
                    </a:lnTo>
                    <a:lnTo>
                      <a:pt x="0" y="778"/>
                    </a:lnTo>
                    <a:close/>
                  </a:path>
                </a:pathLst>
              </a:custGeom>
              <a:grpFill/>
              <a:ln w="6350" cap="flat">
                <a:solidFill>
                  <a:schemeClr val="bg1">
                    <a:alpha val="40000"/>
                  </a:schemeClr>
                </a:solidFill>
                <a:prstDash val="solid"/>
                <a:miter/>
              </a:ln>
            </p:spPr>
            <p:txBody>
              <a:bodyPr rtlCol="0" anchor="ctr"/>
              <a:lstStyle/>
              <a:p>
                <a:endParaRPr lang="en-GB"/>
              </a:p>
            </p:txBody>
          </p:sp>
          <p:sp>
            <p:nvSpPr>
              <p:cNvPr id="9065" name="Vrije vorm: vorm 9064">
                <a:extLst>
                  <a:ext uri="{FF2B5EF4-FFF2-40B4-BE49-F238E27FC236}">
                    <a16:creationId xmlns:a16="http://schemas.microsoft.com/office/drawing/2014/main" id="{09D89F85-CD32-40CF-9F24-37611A20B562}"/>
                  </a:ext>
                </a:extLst>
              </p:cNvPr>
              <p:cNvSpPr/>
              <p:nvPr/>
            </p:nvSpPr>
            <p:spPr>
              <a:xfrm>
                <a:off x="6067975" y="987202"/>
                <a:ext cx="323" cy="733"/>
              </a:xfrm>
              <a:custGeom>
                <a:avLst/>
                <a:gdLst>
                  <a:gd name="connsiteX0" fmla="*/ 324 w 323"/>
                  <a:gd name="connsiteY0" fmla="*/ 255 h 733"/>
                  <a:gd name="connsiteX1" fmla="*/ 85 w 323"/>
                  <a:gd name="connsiteY1" fmla="*/ 733 h 733"/>
                  <a:gd name="connsiteX2" fmla="*/ 25 w 323"/>
                  <a:gd name="connsiteY2" fmla="*/ 16 h 733"/>
                  <a:gd name="connsiteX3" fmla="*/ 324 w 323"/>
                  <a:gd name="connsiteY3" fmla="*/ 255 h 733"/>
                </a:gdLst>
                <a:ahLst/>
                <a:cxnLst>
                  <a:cxn ang="0">
                    <a:pos x="connsiteX0" y="connsiteY0"/>
                  </a:cxn>
                  <a:cxn ang="0">
                    <a:pos x="connsiteX1" y="connsiteY1"/>
                  </a:cxn>
                  <a:cxn ang="0">
                    <a:pos x="connsiteX2" y="connsiteY2"/>
                  </a:cxn>
                  <a:cxn ang="0">
                    <a:pos x="connsiteX3" y="connsiteY3"/>
                  </a:cxn>
                </a:cxnLst>
                <a:rect l="l" t="t" r="r" b="b"/>
                <a:pathLst>
                  <a:path w="323" h="733">
                    <a:moveTo>
                      <a:pt x="324" y="255"/>
                    </a:moveTo>
                    <a:lnTo>
                      <a:pt x="85" y="733"/>
                    </a:lnTo>
                    <a:cubicBezTo>
                      <a:pt x="25" y="494"/>
                      <a:pt x="-35" y="255"/>
                      <a:pt x="25" y="16"/>
                    </a:cubicBezTo>
                    <a:cubicBezTo>
                      <a:pt x="144" y="-44"/>
                      <a:pt x="264" y="75"/>
                      <a:pt x="324" y="255"/>
                    </a:cubicBezTo>
                    <a:close/>
                  </a:path>
                </a:pathLst>
              </a:custGeom>
              <a:grpFill/>
              <a:ln w="6350" cap="flat">
                <a:solidFill>
                  <a:schemeClr val="bg1">
                    <a:alpha val="40000"/>
                  </a:schemeClr>
                </a:solidFill>
                <a:prstDash val="solid"/>
                <a:miter/>
              </a:ln>
            </p:spPr>
            <p:txBody>
              <a:bodyPr rtlCol="0" anchor="ctr"/>
              <a:lstStyle/>
              <a:p>
                <a:endParaRPr lang="en-GB"/>
              </a:p>
            </p:txBody>
          </p:sp>
        </p:grpSp>
        <p:grpSp>
          <p:nvGrpSpPr>
            <p:cNvPr id="9607" name="DRONE_5">
              <a:extLst>
                <a:ext uri="{FF2B5EF4-FFF2-40B4-BE49-F238E27FC236}">
                  <a16:creationId xmlns:a16="http://schemas.microsoft.com/office/drawing/2014/main" id="{D800FF53-C84E-4A60-83B1-3A75675DD3F0}"/>
                </a:ext>
              </a:extLst>
            </p:cNvPr>
            <p:cNvGrpSpPr/>
            <p:nvPr userDrawn="1"/>
          </p:nvGrpSpPr>
          <p:grpSpPr>
            <a:xfrm>
              <a:off x="4420336" y="1214754"/>
              <a:ext cx="197741" cy="154634"/>
              <a:chOff x="4388242" y="1374134"/>
              <a:chExt cx="197741" cy="154634"/>
            </a:xfrm>
            <a:solidFill>
              <a:schemeClr val="bg1"/>
            </a:solidFill>
          </p:grpSpPr>
          <p:grpSp>
            <p:nvGrpSpPr>
              <p:cNvPr id="9608" name="Graphic 3">
                <a:extLst>
                  <a:ext uri="{FF2B5EF4-FFF2-40B4-BE49-F238E27FC236}">
                    <a16:creationId xmlns:a16="http://schemas.microsoft.com/office/drawing/2014/main" id="{7100AF3A-2AF1-40F2-AB2F-1C448A7A6FAF}"/>
                  </a:ext>
                </a:extLst>
              </p:cNvPr>
              <p:cNvGrpSpPr/>
              <p:nvPr/>
            </p:nvGrpSpPr>
            <p:grpSpPr>
              <a:xfrm>
                <a:off x="4480492" y="1447888"/>
                <a:ext cx="105491" cy="80880"/>
                <a:chOff x="4480492" y="1447888"/>
                <a:chExt cx="105491" cy="80880"/>
              </a:xfrm>
              <a:grpFill/>
            </p:grpSpPr>
            <p:sp>
              <p:nvSpPr>
                <p:cNvPr id="9626" name="Vrije vorm: vorm 9625">
                  <a:extLst>
                    <a:ext uri="{FF2B5EF4-FFF2-40B4-BE49-F238E27FC236}">
                      <a16:creationId xmlns:a16="http://schemas.microsoft.com/office/drawing/2014/main" id="{FA24F2C1-CA9E-4215-B582-8DA7D7E43C03}"/>
                    </a:ext>
                  </a:extLst>
                </p:cNvPr>
                <p:cNvSpPr/>
                <p:nvPr/>
              </p:nvSpPr>
              <p:spPr>
                <a:xfrm>
                  <a:off x="4495133" y="1448569"/>
                  <a:ext cx="28240" cy="22941"/>
                </a:xfrm>
                <a:custGeom>
                  <a:avLst/>
                  <a:gdLst>
                    <a:gd name="connsiteX0" fmla="*/ 21049 w 28240"/>
                    <a:gd name="connsiteY0" fmla="*/ 899 h 22941"/>
                    <a:gd name="connsiteX1" fmla="*/ 20690 w 28240"/>
                    <a:gd name="connsiteY1" fmla="*/ 1198 h 22941"/>
                    <a:gd name="connsiteX2" fmla="*/ 2030 w 28240"/>
                    <a:gd name="connsiteY2" fmla="*/ 15193 h 22941"/>
                    <a:gd name="connsiteX3" fmla="*/ 714 w 28240"/>
                    <a:gd name="connsiteY3" fmla="*/ 20994 h 22941"/>
                    <a:gd name="connsiteX4" fmla="*/ 6874 w 28240"/>
                    <a:gd name="connsiteY4" fmla="*/ 22310 h 22941"/>
                    <a:gd name="connsiteX5" fmla="*/ 26910 w 28240"/>
                    <a:gd name="connsiteY5" fmla="*/ 7238 h 22941"/>
                    <a:gd name="connsiteX6" fmla="*/ 26969 w 28240"/>
                    <a:gd name="connsiteY6" fmla="*/ 1318 h 22941"/>
                    <a:gd name="connsiteX7" fmla="*/ 21049 w 28240"/>
                    <a:gd name="connsiteY7" fmla="*/ 899 h 2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40" h="22941">
                      <a:moveTo>
                        <a:pt x="21049" y="899"/>
                      </a:moveTo>
                      <a:cubicBezTo>
                        <a:pt x="20929" y="959"/>
                        <a:pt x="20810" y="1078"/>
                        <a:pt x="20690" y="1198"/>
                      </a:cubicBezTo>
                      <a:cubicBezTo>
                        <a:pt x="13812" y="7538"/>
                        <a:pt x="10164" y="10289"/>
                        <a:pt x="2030" y="15193"/>
                      </a:cubicBezTo>
                      <a:cubicBezTo>
                        <a:pt x="-63" y="16389"/>
                        <a:pt x="-602" y="19020"/>
                        <a:pt x="714" y="20994"/>
                      </a:cubicBezTo>
                      <a:cubicBezTo>
                        <a:pt x="2030" y="22968"/>
                        <a:pt x="4841" y="23506"/>
                        <a:pt x="6874" y="22310"/>
                      </a:cubicBezTo>
                      <a:cubicBezTo>
                        <a:pt x="15487" y="17107"/>
                        <a:pt x="19613" y="13997"/>
                        <a:pt x="26910" y="7238"/>
                      </a:cubicBezTo>
                      <a:cubicBezTo>
                        <a:pt x="28644" y="5624"/>
                        <a:pt x="28704" y="2932"/>
                        <a:pt x="26969" y="1318"/>
                      </a:cubicBezTo>
                      <a:cubicBezTo>
                        <a:pt x="25355" y="-297"/>
                        <a:pt x="22783" y="-417"/>
                        <a:pt x="21049" y="899"/>
                      </a:cubicBezTo>
                      <a:close/>
                    </a:path>
                  </a:pathLst>
                </a:custGeom>
                <a:grpFill/>
                <a:ln w="5978" cap="flat">
                  <a:noFill/>
                  <a:prstDash val="solid"/>
                  <a:miter/>
                </a:ln>
              </p:spPr>
              <p:txBody>
                <a:bodyPr rtlCol="0" anchor="ctr"/>
                <a:lstStyle/>
                <a:p>
                  <a:endParaRPr lang="en-GB"/>
                </a:p>
              </p:txBody>
            </p:sp>
            <p:sp>
              <p:nvSpPr>
                <p:cNvPr id="9627" name="Vrije vorm: vorm 9626">
                  <a:extLst>
                    <a:ext uri="{FF2B5EF4-FFF2-40B4-BE49-F238E27FC236}">
                      <a16:creationId xmlns:a16="http://schemas.microsoft.com/office/drawing/2014/main" id="{BC6B311C-ADFD-466D-A579-FB460935B892}"/>
                    </a:ext>
                  </a:extLst>
                </p:cNvPr>
                <p:cNvSpPr/>
                <p:nvPr/>
              </p:nvSpPr>
              <p:spPr>
                <a:xfrm>
                  <a:off x="4492999" y="1450674"/>
                  <a:ext cx="50389" cy="39586"/>
                </a:xfrm>
                <a:custGeom>
                  <a:avLst/>
                  <a:gdLst>
                    <a:gd name="connsiteX0" fmla="*/ 1653 w 50389"/>
                    <a:gd name="connsiteY0" fmla="*/ 32106 h 39586"/>
                    <a:gd name="connsiteX1" fmla="*/ 517 w 50389"/>
                    <a:gd name="connsiteY1" fmla="*/ 37310 h 39586"/>
                    <a:gd name="connsiteX2" fmla="*/ 6497 w 50389"/>
                    <a:gd name="connsiteY2" fmla="*/ 39104 h 39586"/>
                    <a:gd name="connsiteX3" fmla="*/ 29583 w 50389"/>
                    <a:gd name="connsiteY3" fmla="*/ 24989 h 39586"/>
                    <a:gd name="connsiteX4" fmla="*/ 49319 w 50389"/>
                    <a:gd name="connsiteY4" fmla="*/ 6928 h 39586"/>
                    <a:gd name="connsiteX5" fmla="*/ 48781 w 50389"/>
                    <a:gd name="connsiteY5" fmla="*/ 1007 h 39586"/>
                    <a:gd name="connsiteX6" fmla="*/ 42501 w 50389"/>
                    <a:gd name="connsiteY6" fmla="*/ 1485 h 39586"/>
                    <a:gd name="connsiteX7" fmla="*/ 24021 w 50389"/>
                    <a:gd name="connsiteY7" fmla="*/ 18411 h 39586"/>
                    <a:gd name="connsiteX8" fmla="*/ 2431 w 50389"/>
                    <a:gd name="connsiteY8" fmla="*/ 31628 h 39586"/>
                    <a:gd name="connsiteX9" fmla="*/ 1653 w 50389"/>
                    <a:gd name="connsiteY9" fmla="*/ 32106 h 3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89" h="39586">
                      <a:moveTo>
                        <a:pt x="1653" y="32106"/>
                      </a:moveTo>
                      <a:cubicBezTo>
                        <a:pt x="38" y="33303"/>
                        <a:pt x="-500" y="35515"/>
                        <a:pt x="517" y="37310"/>
                      </a:cubicBezTo>
                      <a:cubicBezTo>
                        <a:pt x="1653" y="39403"/>
                        <a:pt x="4344" y="40180"/>
                        <a:pt x="6497" y="39104"/>
                      </a:cubicBezTo>
                      <a:cubicBezTo>
                        <a:pt x="15110" y="34917"/>
                        <a:pt x="21987" y="30731"/>
                        <a:pt x="29583" y="24989"/>
                      </a:cubicBezTo>
                      <a:cubicBezTo>
                        <a:pt x="37179" y="19308"/>
                        <a:pt x="43040" y="13925"/>
                        <a:pt x="49319" y="6928"/>
                      </a:cubicBezTo>
                      <a:cubicBezTo>
                        <a:pt x="50934" y="5193"/>
                        <a:pt x="50695" y="2502"/>
                        <a:pt x="48781" y="1007"/>
                      </a:cubicBezTo>
                      <a:cubicBezTo>
                        <a:pt x="46867" y="-489"/>
                        <a:pt x="44116" y="-309"/>
                        <a:pt x="42501" y="1485"/>
                      </a:cubicBezTo>
                      <a:cubicBezTo>
                        <a:pt x="35145" y="9679"/>
                        <a:pt x="28985" y="14643"/>
                        <a:pt x="24021" y="18411"/>
                      </a:cubicBezTo>
                      <a:cubicBezTo>
                        <a:pt x="18997" y="22178"/>
                        <a:pt x="12538" y="26664"/>
                        <a:pt x="2431" y="31628"/>
                      </a:cubicBezTo>
                      <a:cubicBezTo>
                        <a:pt x="2072" y="31807"/>
                        <a:pt x="1832" y="31927"/>
                        <a:pt x="1653" y="32106"/>
                      </a:cubicBezTo>
                      <a:close/>
                    </a:path>
                  </a:pathLst>
                </a:custGeom>
                <a:grpFill/>
                <a:ln w="5978" cap="flat">
                  <a:noFill/>
                  <a:prstDash val="solid"/>
                  <a:miter/>
                </a:ln>
              </p:spPr>
              <p:txBody>
                <a:bodyPr rtlCol="0" anchor="ctr"/>
                <a:lstStyle/>
                <a:p>
                  <a:endParaRPr lang="en-GB"/>
                </a:p>
              </p:txBody>
            </p:sp>
            <p:sp>
              <p:nvSpPr>
                <p:cNvPr id="9628" name="Vrije vorm: vorm 9627">
                  <a:extLst>
                    <a:ext uri="{FF2B5EF4-FFF2-40B4-BE49-F238E27FC236}">
                      <a16:creationId xmlns:a16="http://schemas.microsoft.com/office/drawing/2014/main" id="{536C6B75-D264-44B7-A8DD-EE0E272C22B5}"/>
                    </a:ext>
                  </a:extLst>
                </p:cNvPr>
                <p:cNvSpPr/>
                <p:nvPr/>
              </p:nvSpPr>
              <p:spPr>
                <a:xfrm>
                  <a:off x="4486536" y="1449346"/>
                  <a:ext cx="78751" cy="60811"/>
                </a:xfrm>
                <a:custGeom>
                  <a:avLst/>
                  <a:gdLst>
                    <a:gd name="connsiteX0" fmla="*/ 71511 w 78751"/>
                    <a:gd name="connsiteY0" fmla="*/ 900 h 60811"/>
                    <a:gd name="connsiteX1" fmla="*/ 70614 w 78751"/>
                    <a:gd name="connsiteY1" fmla="*/ 1797 h 60811"/>
                    <a:gd name="connsiteX2" fmla="*/ 50758 w 78751"/>
                    <a:gd name="connsiteY2" fmla="*/ 23746 h 60811"/>
                    <a:gd name="connsiteX3" fmla="*/ 29945 w 78751"/>
                    <a:gd name="connsiteY3" fmla="*/ 39356 h 60811"/>
                    <a:gd name="connsiteX4" fmla="*/ 2793 w 78751"/>
                    <a:gd name="connsiteY4" fmla="*/ 52693 h 60811"/>
                    <a:gd name="connsiteX5" fmla="*/ 341 w 78751"/>
                    <a:gd name="connsiteY5" fmla="*/ 58135 h 60811"/>
                    <a:gd name="connsiteX6" fmla="*/ 6142 w 78751"/>
                    <a:gd name="connsiteY6" fmla="*/ 60527 h 60811"/>
                    <a:gd name="connsiteX7" fmla="*/ 34909 w 78751"/>
                    <a:gd name="connsiteY7" fmla="*/ 46413 h 60811"/>
                    <a:gd name="connsiteX8" fmla="*/ 56918 w 78751"/>
                    <a:gd name="connsiteY8" fmla="*/ 29846 h 60811"/>
                    <a:gd name="connsiteX9" fmla="*/ 77970 w 78751"/>
                    <a:gd name="connsiteY9" fmla="*/ 6581 h 60811"/>
                    <a:gd name="connsiteX10" fmla="*/ 76834 w 78751"/>
                    <a:gd name="connsiteY10" fmla="*/ 720 h 60811"/>
                    <a:gd name="connsiteX11" fmla="*/ 71511 w 78751"/>
                    <a:gd name="connsiteY11" fmla="*/ 900 h 6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751" h="60811">
                      <a:moveTo>
                        <a:pt x="71511" y="900"/>
                      </a:moveTo>
                      <a:cubicBezTo>
                        <a:pt x="71152" y="1139"/>
                        <a:pt x="70853" y="1438"/>
                        <a:pt x="70614" y="1797"/>
                      </a:cubicBezTo>
                      <a:cubicBezTo>
                        <a:pt x="64693" y="9930"/>
                        <a:pt x="58353" y="16928"/>
                        <a:pt x="50758" y="23746"/>
                      </a:cubicBezTo>
                      <a:cubicBezTo>
                        <a:pt x="44179" y="29667"/>
                        <a:pt x="37541" y="34631"/>
                        <a:pt x="29945" y="39356"/>
                      </a:cubicBezTo>
                      <a:cubicBezTo>
                        <a:pt x="21153" y="44798"/>
                        <a:pt x="12541" y="49044"/>
                        <a:pt x="2793" y="52693"/>
                      </a:cubicBezTo>
                      <a:cubicBezTo>
                        <a:pt x="520" y="53530"/>
                        <a:pt x="-616" y="55982"/>
                        <a:pt x="341" y="58135"/>
                      </a:cubicBezTo>
                      <a:cubicBezTo>
                        <a:pt x="1238" y="60288"/>
                        <a:pt x="3869" y="61365"/>
                        <a:pt x="6142" y="60527"/>
                      </a:cubicBezTo>
                      <a:cubicBezTo>
                        <a:pt x="16488" y="56700"/>
                        <a:pt x="25579" y="52214"/>
                        <a:pt x="34909" y="46413"/>
                      </a:cubicBezTo>
                      <a:cubicBezTo>
                        <a:pt x="42983" y="41389"/>
                        <a:pt x="49981" y="36126"/>
                        <a:pt x="56918" y="29846"/>
                      </a:cubicBezTo>
                      <a:cubicBezTo>
                        <a:pt x="64992" y="22610"/>
                        <a:pt x="71631" y="15194"/>
                        <a:pt x="77970" y="6581"/>
                      </a:cubicBezTo>
                      <a:cubicBezTo>
                        <a:pt x="79346" y="4667"/>
                        <a:pt x="78868" y="2036"/>
                        <a:pt x="76834" y="720"/>
                      </a:cubicBezTo>
                      <a:cubicBezTo>
                        <a:pt x="75160" y="-297"/>
                        <a:pt x="73006" y="-237"/>
                        <a:pt x="71511" y="900"/>
                      </a:cubicBezTo>
                      <a:close/>
                    </a:path>
                  </a:pathLst>
                </a:custGeom>
                <a:grpFill/>
                <a:ln w="5978" cap="flat">
                  <a:noFill/>
                  <a:prstDash val="solid"/>
                  <a:miter/>
                </a:ln>
              </p:spPr>
              <p:txBody>
                <a:bodyPr rtlCol="0" anchor="ctr"/>
                <a:lstStyle/>
                <a:p>
                  <a:endParaRPr lang="en-GB"/>
                </a:p>
              </p:txBody>
            </p:sp>
            <p:sp>
              <p:nvSpPr>
                <p:cNvPr id="9629" name="Vrije vorm: vorm 9628">
                  <a:extLst>
                    <a:ext uri="{FF2B5EF4-FFF2-40B4-BE49-F238E27FC236}">
                      <a16:creationId xmlns:a16="http://schemas.microsoft.com/office/drawing/2014/main" id="{D9526810-D7A0-42B1-8D0A-7EB5ACF9F649}"/>
                    </a:ext>
                  </a:extLst>
                </p:cNvPr>
                <p:cNvSpPr/>
                <p:nvPr/>
              </p:nvSpPr>
              <p:spPr>
                <a:xfrm>
                  <a:off x="4480492" y="1447888"/>
                  <a:ext cx="105491" cy="80880"/>
                </a:xfrm>
                <a:custGeom>
                  <a:avLst/>
                  <a:gdLst>
                    <a:gd name="connsiteX0" fmla="*/ 98128 w 105491"/>
                    <a:gd name="connsiteY0" fmla="*/ 923 h 80880"/>
                    <a:gd name="connsiteX1" fmla="*/ 97052 w 105491"/>
                    <a:gd name="connsiteY1" fmla="*/ 2059 h 80880"/>
                    <a:gd name="connsiteX2" fmla="*/ 70976 w 105491"/>
                    <a:gd name="connsiteY2" fmla="*/ 34056 h 80880"/>
                    <a:gd name="connsiteX3" fmla="*/ 41969 w 105491"/>
                    <a:gd name="connsiteY3" fmla="*/ 55826 h 80880"/>
                    <a:gd name="connsiteX4" fmla="*/ 3095 w 105491"/>
                    <a:gd name="connsiteY4" fmla="*/ 72631 h 80880"/>
                    <a:gd name="connsiteX5" fmla="*/ 224 w 105491"/>
                    <a:gd name="connsiteY5" fmla="*/ 77894 h 80880"/>
                    <a:gd name="connsiteX6" fmla="*/ 5846 w 105491"/>
                    <a:gd name="connsiteY6" fmla="*/ 80705 h 80880"/>
                    <a:gd name="connsiteX7" fmla="*/ 46814 w 105491"/>
                    <a:gd name="connsiteY7" fmla="*/ 63002 h 80880"/>
                    <a:gd name="connsiteX8" fmla="*/ 77375 w 105491"/>
                    <a:gd name="connsiteY8" fmla="*/ 40036 h 80880"/>
                    <a:gd name="connsiteX9" fmla="*/ 104887 w 105491"/>
                    <a:gd name="connsiteY9" fmla="*/ 6365 h 80880"/>
                    <a:gd name="connsiteX10" fmla="*/ 103272 w 105491"/>
                    <a:gd name="connsiteY10" fmla="*/ 624 h 80880"/>
                    <a:gd name="connsiteX11" fmla="*/ 98128 w 105491"/>
                    <a:gd name="connsiteY11" fmla="*/ 923 h 8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491" h="80880">
                      <a:moveTo>
                        <a:pt x="98128" y="923"/>
                      </a:moveTo>
                      <a:cubicBezTo>
                        <a:pt x="97710" y="1222"/>
                        <a:pt x="97351" y="1640"/>
                        <a:pt x="97052" y="2059"/>
                      </a:cubicBezTo>
                      <a:cubicBezTo>
                        <a:pt x="89636" y="14080"/>
                        <a:pt x="81382" y="24247"/>
                        <a:pt x="70976" y="34056"/>
                      </a:cubicBezTo>
                      <a:cubicBezTo>
                        <a:pt x="62005" y="42548"/>
                        <a:pt x="52795" y="49486"/>
                        <a:pt x="41969" y="55826"/>
                      </a:cubicBezTo>
                      <a:cubicBezTo>
                        <a:pt x="29530" y="63182"/>
                        <a:pt x="17150" y="68565"/>
                        <a:pt x="3095" y="72631"/>
                      </a:cubicBezTo>
                      <a:cubicBezTo>
                        <a:pt x="762" y="73349"/>
                        <a:pt x="-553" y="75682"/>
                        <a:pt x="224" y="77894"/>
                      </a:cubicBezTo>
                      <a:cubicBezTo>
                        <a:pt x="942" y="80107"/>
                        <a:pt x="3454" y="81363"/>
                        <a:pt x="5846" y="80705"/>
                      </a:cubicBezTo>
                      <a:cubicBezTo>
                        <a:pt x="20678" y="76399"/>
                        <a:pt x="33656" y="70718"/>
                        <a:pt x="46814" y="63002"/>
                      </a:cubicBezTo>
                      <a:cubicBezTo>
                        <a:pt x="58177" y="56304"/>
                        <a:pt x="67866" y="49008"/>
                        <a:pt x="77375" y="40036"/>
                      </a:cubicBezTo>
                      <a:cubicBezTo>
                        <a:pt x="88320" y="29690"/>
                        <a:pt x="97052" y="18984"/>
                        <a:pt x="104887" y="6365"/>
                      </a:cubicBezTo>
                      <a:cubicBezTo>
                        <a:pt x="106143" y="4391"/>
                        <a:pt x="105365" y="1760"/>
                        <a:pt x="103272" y="624"/>
                      </a:cubicBezTo>
                      <a:cubicBezTo>
                        <a:pt x="101537" y="-333"/>
                        <a:pt x="99564" y="-154"/>
                        <a:pt x="98128" y="923"/>
                      </a:cubicBezTo>
                      <a:close/>
                    </a:path>
                  </a:pathLst>
                </a:custGeom>
                <a:grpFill/>
                <a:ln w="5978" cap="flat">
                  <a:noFill/>
                  <a:prstDash val="solid"/>
                  <a:miter/>
                </a:ln>
              </p:spPr>
              <p:txBody>
                <a:bodyPr rtlCol="0" anchor="ctr"/>
                <a:lstStyle/>
                <a:p>
                  <a:endParaRPr lang="en-GB"/>
                </a:p>
              </p:txBody>
            </p:sp>
          </p:grpSp>
          <p:sp>
            <p:nvSpPr>
              <p:cNvPr id="9609" name="Vrije vorm: vorm 9608">
                <a:extLst>
                  <a:ext uri="{FF2B5EF4-FFF2-40B4-BE49-F238E27FC236}">
                    <a16:creationId xmlns:a16="http://schemas.microsoft.com/office/drawing/2014/main" id="{8400D161-8646-4F2A-9255-76289656AB9C}"/>
                  </a:ext>
                </a:extLst>
              </p:cNvPr>
              <p:cNvSpPr/>
              <p:nvPr/>
            </p:nvSpPr>
            <p:spPr>
              <a:xfrm>
                <a:off x="4420670" y="1391455"/>
                <a:ext cx="127867" cy="78168"/>
              </a:xfrm>
              <a:custGeom>
                <a:avLst/>
                <a:gdLst>
                  <a:gd name="connsiteX0" fmla="*/ 85285 w 127867"/>
                  <a:gd name="connsiteY0" fmla="*/ 4785 h 78168"/>
                  <a:gd name="connsiteX1" fmla="*/ 80321 w 127867"/>
                  <a:gd name="connsiteY1" fmla="*/ 21949 h 78168"/>
                  <a:gd name="connsiteX2" fmla="*/ 127748 w 127867"/>
                  <a:gd name="connsiteY2" fmla="*/ 26554 h 78168"/>
                  <a:gd name="connsiteX3" fmla="*/ 127868 w 127867"/>
                  <a:gd name="connsiteY3" fmla="*/ 37798 h 78168"/>
                  <a:gd name="connsiteX4" fmla="*/ 73264 w 127867"/>
                  <a:gd name="connsiteY4" fmla="*/ 47547 h 78168"/>
                  <a:gd name="connsiteX5" fmla="*/ 41685 w 127867"/>
                  <a:gd name="connsiteY5" fmla="*/ 78168 h 78168"/>
                  <a:gd name="connsiteX6" fmla="*/ 27152 w 127867"/>
                  <a:gd name="connsiteY6" fmla="*/ 74938 h 78168"/>
                  <a:gd name="connsiteX7" fmla="*/ 39473 w 127867"/>
                  <a:gd name="connsiteY7" fmla="*/ 46590 h 78168"/>
                  <a:gd name="connsiteX8" fmla="*/ 0 w 127867"/>
                  <a:gd name="connsiteY8" fmla="*/ 46889 h 78168"/>
                  <a:gd name="connsiteX9" fmla="*/ 60 w 127867"/>
                  <a:gd name="connsiteY9" fmla="*/ 35466 h 78168"/>
                  <a:gd name="connsiteX10" fmla="*/ 50716 w 127867"/>
                  <a:gd name="connsiteY10" fmla="*/ 22188 h 78168"/>
                  <a:gd name="connsiteX11" fmla="*/ 77510 w 127867"/>
                  <a:gd name="connsiteY11" fmla="*/ 0 h 78168"/>
                  <a:gd name="connsiteX12" fmla="*/ 85285 w 127867"/>
                  <a:gd name="connsiteY12" fmla="*/ 4785 h 7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867" h="78168">
                    <a:moveTo>
                      <a:pt x="85285" y="4785"/>
                    </a:moveTo>
                    <a:cubicBezTo>
                      <a:pt x="85285" y="4785"/>
                      <a:pt x="79125" y="18720"/>
                      <a:pt x="80321" y="21949"/>
                    </a:cubicBezTo>
                    <a:cubicBezTo>
                      <a:pt x="81517" y="25179"/>
                      <a:pt x="124878" y="27571"/>
                      <a:pt x="127748" y="26554"/>
                    </a:cubicBezTo>
                    <a:lnTo>
                      <a:pt x="127868" y="37798"/>
                    </a:lnTo>
                    <a:cubicBezTo>
                      <a:pt x="127868" y="37798"/>
                      <a:pt x="82594" y="41207"/>
                      <a:pt x="73264" y="47547"/>
                    </a:cubicBezTo>
                    <a:cubicBezTo>
                      <a:pt x="63934" y="53886"/>
                      <a:pt x="41685" y="78168"/>
                      <a:pt x="41685" y="78168"/>
                    </a:cubicBezTo>
                    <a:lnTo>
                      <a:pt x="27152" y="74938"/>
                    </a:lnTo>
                    <a:lnTo>
                      <a:pt x="39473" y="46590"/>
                    </a:lnTo>
                    <a:lnTo>
                      <a:pt x="0" y="46889"/>
                    </a:lnTo>
                    <a:lnTo>
                      <a:pt x="60" y="35466"/>
                    </a:lnTo>
                    <a:cubicBezTo>
                      <a:pt x="60" y="35466"/>
                      <a:pt x="36482" y="29186"/>
                      <a:pt x="50716" y="22188"/>
                    </a:cubicBezTo>
                    <a:cubicBezTo>
                      <a:pt x="65010" y="15131"/>
                      <a:pt x="77510" y="0"/>
                      <a:pt x="77510" y="0"/>
                    </a:cubicBezTo>
                    <a:lnTo>
                      <a:pt x="85285" y="4785"/>
                    </a:lnTo>
                    <a:close/>
                  </a:path>
                </a:pathLst>
              </a:custGeom>
              <a:noFill/>
              <a:ln w="2259" cap="flat">
                <a:solidFill>
                  <a:schemeClr val="bg1"/>
                </a:solidFill>
                <a:prstDash val="solid"/>
                <a:miter/>
              </a:ln>
            </p:spPr>
            <p:txBody>
              <a:bodyPr rtlCol="0" anchor="ctr"/>
              <a:lstStyle/>
              <a:p>
                <a:endParaRPr lang="en-GB"/>
              </a:p>
            </p:txBody>
          </p:sp>
          <p:sp>
            <p:nvSpPr>
              <p:cNvPr id="9610" name="Vrije vorm: vorm 9609">
                <a:extLst>
                  <a:ext uri="{FF2B5EF4-FFF2-40B4-BE49-F238E27FC236}">
                    <a16:creationId xmlns:a16="http://schemas.microsoft.com/office/drawing/2014/main" id="{97D03F71-FED4-4DC8-B315-7786644784A0}"/>
                  </a:ext>
                </a:extLst>
              </p:cNvPr>
              <p:cNvSpPr/>
              <p:nvPr/>
            </p:nvSpPr>
            <p:spPr>
              <a:xfrm>
                <a:off x="4495723" y="1382003"/>
                <a:ext cx="16396" cy="15256"/>
              </a:xfrm>
              <a:custGeom>
                <a:avLst/>
                <a:gdLst>
                  <a:gd name="connsiteX0" fmla="*/ 423 w 16396"/>
                  <a:gd name="connsiteY0" fmla="*/ 10469 h 15256"/>
                  <a:gd name="connsiteX1" fmla="*/ 10770 w 16396"/>
                  <a:gd name="connsiteY1" fmla="*/ 14715 h 15256"/>
                  <a:gd name="connsiteX2" fmla="*/ 15973 w 16396"/>
                  <a:gd name="connsiteY2" fmla="*/ 4787 h 15256"/>
                  <a:gd name="connsiteX3" fmla="*/ 5627 w 16396"/>
                  <a:gd name="connsiteY3" fmla="*/ 541 h 15256"/>
                  <a:gd name="connsiteX4" fmla="*/ 423 w 16396"/>
                  <a:gd name="connsiteY4" fmla="*/ 10469 h 15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6" h="15256">
                    <a:moveTo>
                      <a:pt x="423" y="10469"/>
                    </a:moveTo>
                    <a:cubicBezTo>
                      <a:pt x="1859" y="14356"/>
                      <a:pt x="6524" y="16270"/>
                      <a:pt x="10770" y="14715"/>
                    </a:cubicBezTo>
                    <a:cubicBezTo>
                      <a:pt x="15076" y="13160"/>
                      <a:pt x="17408" y="8675"/>
                      <a:pt x="15973" y="4787"/>
                    </a:cubicBezTo>
                    <a:cubicBezTo>
                      <a:pt x="14538" y="900"/>
                      <a:pt x="9873" y="-1014"/>
                      <a:pt x="5627" y="541"/>
                    </a:cubicBezTo>
                    <a:cubicBezTo>
                      <a:pt x="1320" y="2096"/>
                      <a:pt x="-1012" y="6582"/>
                      <a:pt x="423" y="10469"/>
                    </a:cubicBezTo>
                    <a:close/>
                  </a:path>
                </a:pathLst>
              </a:custGeom>
              <a:grpFill/>
              <a:ln w="5978" cap="flat">
                <a:noFill/>
                <a:prstDash val="solid"/>
                <a:miter/>
              </a:ln>
            </p:spPr>
            <p:txBody>
              <a:bodyPr rtlCol="0" anchor="ctr"/>
              <a:lstStyle/>
              <a:p>
                <a:endParaRPr lang="en-GB"/>
              </a:p>
            </p:txBody>
          </p:sp>
          <p:sp>
            <p:nvSpPr>
              <p:cNvPr id="9611" name="Vrije vorm: vorm 9610">
                <a:extLst>
                  <a:ext uri="{FF2B5EF4-FFF2-40B4-BE49-F238E27FC236}">
                    <a16:creationId xmlns:a16="http://schemas.microsoft.com/office/drawing/2014/main" id="{845C00F1-7FCD-4EF3-A7AD-76514ECC156A}"/>
                  </a:ext>
                </a:extLst>
              </p:cNvPr>
              <p:cNvSpPr/>
              <p:nvPr/>
            </p:nvSpPr>
            <p:spPr>
              <a:xfrm>
                <a:off x="4545492" y="1412119"/>
                <a:ext cx="25349" cy="23563"/>
              </a:xfrm>
              <a:custGeom>
                <a:avLst/>
                <a:gdLst>
                  <a:gd name="connsiteX0" fmla="*/ 654 w 25349"/>
                  <a:gd name="connsiteY0" fmla="*/ 16177 h 23563"/>
                  <a:gd name="connsiteX1" fmla="*/ 16682 w 25349"/>
                  <a:gd name="connsiteY1" fmla="*/ 22696 h 23563"/>
                  <a:gd name="connsiteX2" fmla="*/ 24696 w 25349"/>
                  <a:gd name="connsiteY2" fmla="*/ 7386 h 23563"/>
                  <a:gd name="connsiteX3" fmla="*/ 8668 w 25349"/>
                  <a:gd name="connsiteY3" fmla="*/ 867 h 23563"/>
                  <a:gd name="connsiteX4" fmla="*/ 654 w 25349"/>
                  <a:gd name="connsiteY4" fmla="*/ 16177 h 23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49" h="23563">
                    <a:moveTo>
                      <a:pt x="654" y="16177"/>
                    </a:moveTo>
                    <a:cubicBezTo>
                      <a:pt x="2866" y="22218"/>
                      <a:pt x="10043" y="25149"/>
                      <a:pt x="16682" y="22696"/>
                    </a:cubicBezTo>
                    <a:cubicBezTo>
                      <a:pt x="23320" y="20244"/>
                      <a:pt x="26909" y="13426"/>
                      <a:pt x="24696" y="7386"/>
                    </a:cubicBezTo>
                    <a:cubicBezTo>
                      <a:pt x="22483" y="1345"/>
                      <a:pt x="15306" y="-1585"/>
                      <a:pt x="8668" y="867"/>
                    </a:cubicBezTo>
                    <a:cubicBezTo>
                      <a:pt x="2029" y="3319"/>
                      <a:pt x="-1559" y="10137"/>
                      <a:pt x="654" y="16177"/>
                    </a:cubicBezTo>
                    <a:close/>
                  </a:path>
                </a:pathLst>
              </a:custGeom>
              <a:grpFill/>
              <a:ln w="5978" cap="flat">
                <a:noFill/>
                <a:prstDash val="solid"/>
                <a:miter/>
              </a:ln>
            </p:spPr>
            <p:txBody>
              <a:bodyPr rtlCol="0" anchor="ctr"/>
              <a:lstStyle/>
              <a:p>
                <a:endParaRPr lang="en-GB"/>
              </a:p>
            </p:txBody>
          </p:sp>
          <p:sp>
            <p:nvSpPr>
              <p:cNvPr id="9612" name="Vrije vorm: vorm 9611">
                <a:extLst>
                  <a:ext uri="{FF2B5EF4-FFF2-40B4-BE49-F238E27FC236}">
                    <a16:creationId xmlns:a16="http://schemas.microsoft.com/office/drawing/2014/main" id="{65249883-A6C0-4AF5-92CB-E749D7363EB5}"/>
                  </a:ext>
                </a:extLst>
              </p:cNvPr>
              <p:cNvSpPr/>
              <p:nvPr/>
            </p:nvSpPr>
            <p:spPr>
              <a:xfrm>
                <a:off x="4545081" y="1411985"/>
                <a:ext cx="24997" cy="20601"/>
              </a:xfrm>
              <a:custGeom>
                <a:avLst/>
                <a:gdLst>
                  <a:gd name="connsiteX0" fmla="*/ 467 w 24997"/>
                  <a:gd name="connsiteY0" fmla="*/ 14697 h 20601"/>
                  <a:gd name="connsiteX1" fmla="*/ 15897 w 24997"/>
                  <a:gd name="connsiteY1" fmla="*/ 19601 h 20601"/>
                  <a:gd name="connsiteX2" fmla="*/ 24509 w 24997"/>
                  <a:gd name="connsiteY2" fmla="*/ 5905 h 20601"/>
                  <a:gd name="connsiteX3" fmla="*/ 9079 w 24997"/>
                  <a:gd name="connsiteY3" fmla="*/ 1001 h 20601"/>
                  <a:gd name="connsiteX4" fmla="*/ 467 w 24997"/>
                  <a:gd name="connsiteY4" fmla="*/ 14697 h 20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97" h="20601">
                    <a:moveTo>
                      <a:pt x="467" y="14697"/>
                    </a:moveTo>
                    <a:cubicBezTo>
                      <a:pt x="2321" y="19840"/>
                      <a:pt x="9259" y="22053"/>
                      <a:pt x="15897" y="19601"/>
                    </a:cubicBezTo>
                    <a:cubicBezTo>
                      <a:pt x="22536" y="17149"/>
                      <a:pt x="26423" y="11048"/>
                      <a:pt x="24509" y="5905"/>
                    </a:cubicBezTo>
                    <a:cubicBezTo>
                      <a:pt x="22655" y="762"/>
                      <a:pt x="15718" y="-1451"/>
                      <a:pt x="9079" y="1001"/>
                    </a:cubicBezTo>
                    <a:cubicBezTo>
                      <a:pt x="2440" y="3453"/>
                      <a:pt x="-1387" y="9553"/>
                      <a:pt x="467" y="14697"/>
                    </a:cubicBezTo>
                    <a:close/>
                  </a:path>
                </a:pathLst>
              </a:custGeom>
              <a:grpFill/>
              <a:ln w="5978" cap="flat">
                <a:noFill/>
                <a:prstDash val="solid"/>
                <a:miter/>
              </a:ln>
            </p:spPr>
            <p:txBody>
              <a:bodyPr rtlCol="0" anchor="ctr"/>
              <a:lstStyle/>
              <a:p>
                <a:endParaRPr lang="en-GB"/>
              </a:p>
            </p:txBody>
          </p:sp>
          <p:sp>
            <p:nvSpPr>
              <p:cNvPr id="9613" name="Vrije vorm: vorm 9612">
                <a:extLst>
                  <a:ext uri="{FF2B5EF4-FFF2-40B4-BE49-F238E27FC236}">
                    <a16:creationId xmlns:a16="http://schemas.microsoft.com/office/drawing/2014/main" id="{E90BCD6C-1867-4335-9CBC-166FCD9763BD}"/>
                  </a:ext>
                </a:extLst>
              </p:cNvPr>
              <p:cNvSpPr/>
              <p:nvPr/>
            </p:nvSpPr>
            <p:spPr>
              <a:xfrm>
                <a:off x="4436262" y="1461360"/>
                <a:ext cx="32199" cy="30844"/>
              </a:xfrm>
              <a:custGeom>
                <a:avLst/>
                <a:gdLst>
                  <a:gd name="connsiteX0" fmla="*/ 28178 w 32199"/>
                  <a:gd name="connsiteY0" fmla="*/ 11011 h 30844"/>
                  <a:gd name="connsiteX1" fmla="*/ 20122 w 32199"/>
                  <a:gd name="connsiteY1" fmla="*/ 26433 h 30844"/>
                  <a:gd name="connsiteX2" fmla="*/ 4022 w 32199"/>
                  <a:gd name="connsiteY2" fmla="*/ 19834 h 30844"/>
                  <a:gd name="connsiteX3" fmla="*/ 12078 w 32199"/>
                  <a:gd name="connsiteY3" fmla="*/ 4412 h 30844"/>
                  <a:gd name="connsiteX4" fmla="*/ 28178 w 32199"/>
                  <a:gd name="connsiteY4" fmla="*/ 11011 h 30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9" h="30844">
                    <a:moveTo>
                      <a:pt x="28178" y="11011"/>
                    </a:moveTo>
                    <a:cubicBezTo>
                      <a:pt x="30399" y="17092"/>
                      <a:pt x="26792" y="23997"/>
                      <a:pt x="20122" y="26433"/>
                    </a:cubicBezTo>
                    <a:cubicBezTo>
                      <a:pt x="13451" y="28870"/>
                      <a:pt x="6243" y="25915"/>
                      <a:pt x="4022" y="19834"/>
                    </a:cubicBezTo>
                    <a:cubicBezTo>
                      <a:pt x="1801" y="13753"/>
                      <a:pt x="5407" y="6848"/>
                      <a:pt x="12078" y="4412"/>
                    </a:cubicBezTo>
                    <a:cubicBezTo>
                      <a:pt x="18749" y="1975"/>
                      <a:pt x="25957" y="4930"/>
                      <a:pt x="28178" y="11011"/>
                    </a:cubicBezTo>
                    <a:close/>
                  </a:path>
                </a:pathLst>
              </a:custGeom>
              <a:grpFill/>
              <a:ln w="5978" cap="flat">
                <a:noFill/>
                <a:prstDash val="solid"/>
                <a:miter/>
              </a:ln>
            </p:spPr>
            <p:txBody>
              <a:bodyPr rtlCol="0" anchor="ctr"/>
              <a:lstStyle/>
              <a:p>
                <a:endParaRPr lang="en-GB"/>
              </a:p>
            </p:txBody>
          </p:sp>
          <p:sp>
            <p:nvSpPr>
              <p:cNvPr id="9614" name="Vrije vorm: vorm 9613">
                <a:extLst>
                  <a:ext uri="{FF2B5EF4-FFF2-40B4-BE49-F238E27FC236}">
                    <a16:creationId xmlns:a16="http://schemas.microsoft.com/office/drawing/2014/main" id="{3394C7FF-D225-4E30-B951-8F9A86653902}"/>
                  </a:ext>
                </a:extLst>
              </p:cNvPr>
              <p:cNvSpPr/>
              <p:nvPr/>
            </p:nvSpPr>
            <p:spPr>
              <a:xfrm>
                <a:off x="4438520" y="1461351"/>
                <a:ext cx="29952" cy="30024"/>
              </a:xfrm>
              <a:custGeom>
                <a:avLst/>
                <a:gdLst>
                  <a:gd name="connsiteX0" fmla="*/ 25931 w 29952"/>
                  <a:gd name="connsiteY0" fmla="*/ 11011 h 30024"/>
                  <a:gd name="connsiteX1" fmla="*/ 18998 w 29952"/>
                  <a:gd name="connsiteY1" fmla="*/ 26023 h 30024"/>
                  <a:gd name="connsiteX2" fmla="*/ 4022 w 29952"/>
                  <a:gd name="connsiteY2" fmla="*/ 19013 h 30024"/>
                  <a:gd name="connsiteX3" fmla="*/ 10955 w 29952"/>
                  <a:gd name="connsiteY3" fmla="*/ 4001 h 30024"/>
                  <a:gd name="connsiteX4" fmla="*/ 25931 w 29952"/>
                  <a:gd name="connsiteY4" fmla="*/ 11011 h 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52" h="30024">
                    <a:moveTo>
                      <a:pt x="25931" y="11011"/>
                    </a:moveTo>
                    <a:cubicBezTo>
                      <a:pt x="28152" y="17092"/>
                      <a:pt x="25048" y="23813"/>
                      <a:pt x="18998" y="26023"/>
                    </a:cubicBezTo>
                    <a:cubicBezTo>
                      <a:pt x="12948" y="28233"/>
                      <a:pt x="6243" y="25094"/>
                      <a:pt x="4022" y="19013"/>
                    </a:cubicBezTo>
                    <a:cubicBezTo>
                      <a:pt x="1801" y="12932"/>
                      <a:pt x="4904" y="6211"/>
                      <a:pt x="10955" y="4001"/>
                    </a:cubicBezTo>
                    <a:cubicBezTo>
                      <a:pt x="17005" y="1791"/>
                      <a:pt x="23710" y="4930"/>
                      <a:pt x="25931" y="11011"/>
                    </a:cubicBezTo>
                    <a:close/>
                  </a:path>
                </a:pathLst>
              </a:custGeom>
              <a:grpFill/>
              <a:ln w="5978" cap="flat">
                <a:noFill/>
                <a:prstDash val="solid"/>
                <a:miter/>
              </a:ln>
            </p:spPr>
            <p:txBody>
              <a:bodyPr rtlCol="0" anchor="ctr"/>
              <a:lstStyle/>
              <a:p>
                <a:endParaRPr lang="en-GB"/>
              </a:p>
            </p:txBody>
          </p:sp>
          <p:sp>
            <p:nvSpPr>
              <p:cNvPr id="9615" name="Vrije vorm: vorm 9614">
                <a:extLst>
                  <a:ext uri="{FF2B5EF4-FFF2-40B4-BE49-F238E27FC236}">
                    <a16:creationId xmlns:a16="http://schemas.microsoft.com/office/drawing/2014/main" id="{7405428F-8D7C-472B-A70D-27285DB5D8EC}"/>
                  </a:ext>
                </a:extLst>
              </p:cNvPr>
              <p:cNvSpPr/>
              <p:nvPr/>
            </p:nvSpPr>
            <p:spPr>
              <a:xfrm>
                <a:off x="4401223" y="1422541"/>
                <a:ext cx="26913" cy="25700"/>
              </a:xfrm>
              <a:custGeom>
                <a:avLst/>
                <a:gdLst>
                  <a:gd name="connsiteX0" fmla="*/ 23568 w 26913"/>
                  <a:gd name="connsiteY0" fmla="*/ 9157 h 25700"/>
                  <a:gd name="connsiteX1" fmla="*/ 16801 w 26913"/>
                  <a:gd name="connsiteY1" fmla="*/ 22007 h 25700"/>
                  <a:gd name="connsiteX2" fmla="*/ 3345 w 26913"/>
                  <a:gd name="connsiteY2" fmla="*/ 16544 h 25700"/>
                  <a:gd name="connsiteX3" fmla="*/ 10112 w 26913"/>
                  <a:gd name="connsiteY3" fmla="*/ 3694 h 25700"/>
                  <a:gd name="connsiteX4" fmla="*/ 23568 w 26913"/>
                  <a:gd name="connsiteY4" fmla="*/ 9157 h 2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3" h="25700">
                    <a:moveTo>
                      <a:pt x="23568" y="9157"/>
                    </a:moveTo>
                    <a:cubicBezTo>
                      <a:pt x="25416" y="14214"/>
                      <a:pt x="22386" y="19967"/>
                      <a:pt x="16801" y="22007"/>
                    </a:cubicBezTo>
                    <a:cubicBezTo>
                      <a:pt x="11217" y="24047"/>
                      <a:pt x="5192" y="21601"/>
                      <a:pt x="3345" y="16544"/>
                    </a:cubicBezTo>
                    <a:cubicBezTo>
                      <a:pt x="1498" y="11487"/>
                      <a:pt x="4527" y="5733"/>
                      <a:pt x="10112" y="3694"/>
                    </a:cubicBezTo>
                    <a:cubicBezTo>
                      <a:pt x="15697" y="1654"/>
                      <a:pt x="21721" y="4100"/>
                      <a:pt x="23568" y="9157"/>
                    </a:cubicBezTo>
                    <a:close/>
                  </a:path>
                </a:pathLst>
              </a:custGeom>
              <a:grpFill/>
              <a:ln w="5978" cap="flat">
                <a:noFill/>
                <a:prstDash val="solid"/>
                <a:miter/>
              </a:ln>
            </p:spPr>
            <p:txBody>
              <a:bodyPr rtlCol="0" anchor="ctr"/>
              <a:lstStyle/>
              <a:p>
                <a:endParaRPr lang="en-GB"/>
              </a:p>
            </p:txBody>
          </p:sp>
          <p:sp>
            <p:nvSpPr>
              <p:cNvPr id="9616" name="Vrije vorm: vorm 9615">
                <a:extLst>
                  <a:ext uri="{FF2B5EF4-FFF2-40B4-BE49-F238E27FC236}">
                    <a16:creationId xmlns:a16="http://schemas.microsoft.com/office/drawing/2014/main" id="{C08227B5-FEB1-4562-B033-FAB506F0A469}"/>
                  </a:ext>
                </a:extLst>
              </p:cNvPr>
              <p:cNvSpPr/>
              <p:nvPr/>
            </p:nvSpPr>
            <p:spPr>
              <a:xfrm>
                <a:off x="4405564" y="1425377"/>
                <a:ext cx="19424" cy="18039"/>
              </a:xfrm>
              <a:custGeom>
                <a:avLst/>
                <a:gdLst>
                  <a:gd name="connsiteX0" fmla="*/ 513 w 19424"/>
                  <a:gd name="connsiteY0" fmla="*/ 12369 h 18039"/>
                  <a:gd name="connsiteX1" fmla="*/ 12774 w 19424"/>
                  <a:gd name="connsiteY1" fmla="*/ 17393 h 18039"/>
                  <a:gd name="connsiteX2" fmla="*/ 18934 w 19424"/>
                  <a:gd name="connsiteY2" fmla="*/ 5670 h 18039"/>
                  <a:gd name="connsiteX3" fmla="*/ 6673 w 19424"/>
                  <a:gd name="connsiteY3" fmla="*/ 647 h 18039"/>
                  <a:gd name="connsiteX4" fmla="*/ 513 w 19424"/>
                  <a:gd name="connsiteY4" fmla="*/ 12369 h 18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4" h="18039">
                    <a:moveTo>
                      <a:pt x="513" y="12369"/>
                    </a:moveTo>
                    <a:cubicBezTo>
                      <a:pt x="2188" y="16974"/>
                      <a:pt x="7690" y="19247"/>
                      <a:pt x="12774" y="17393"/>
                    </a:cubicBezTo>
                    <a:cubicBezTo>
                      <a:pt x="17857" y="15539"/>
                      <a:pt x="20609" y="10276"/>
                      <a:pt x="18934" y="5670"/>
                    </a:cubicBezTo>
                    <a:cubicBezTo>
                      <a:pt x="17259" y="1065"/>
                      <a:pt x="11757" y="-1207"/>
                      <a:pt x="6673" y="647"/>
                    </a:cubicBezTo>
                    <a:cubicBezTo>
                      <a:pt x="1590" y="2441"/>
                      <a:pt x="-1221" y="7704"/>
                      <a:pt x="513" y="12369"/>
                    </a:cubicBezTo>
                    <a:close/>
                  </a:path>
                </a:pathLst>
              </a:custGeom>
              <a:grpFill/>
              <a:ln w="5978" cap="flat">
                <a:noFill/>
                <a:prstDash val="solid"/>
                <a:miter/>
              </a:ln>
            </p:spPr>
            <p:txBody>
              <a:bodyPr rtlCol="0" anchor="ctr"/>
              <a:lstStyle/>
              <a:p>
                <a:endParaRPr lang="en-GB"/>
              </a:p>
            </p:txBody>
          </p:sp>
          <p:sp>
            <p:nvSpPr>
              <p:cNvPr id="9617" name="Vrije vorm: vorm 9616">
                <a:extLst>
                  <a:ext uri="{FF2B5EF4-FFF2-40B4-BE49-F238E27FC236}">
                    <a16:creationId xmlns:a16="http://schemas.microsoft.com/office/drawing/2014/main" id="{B9D1B595-CF15-4597-A92E-B762FB34B715}"/>
                  </a:ext>
                </a:extLst>
              </p:cNvPr>
              <p:cNvSpPr/>
              <p:nvPr/>
            </p:nvSpPr>
            <p:spPr>
              <a:xfrm>
                <a:off x="4533461" y="1397295"/>
                <a:ext cx="50362" cy="26814"/>
              </a:xfrm>
              <a:custGeom>
                <a:avLst/>
                <a:gdLst>
                  <a:gd name="connsiteX0" fmla="*/ 543 w 50362"/>
                  <a:gd name="connsiteY0" fmla="*/ 25917 h 26814"/>
                  <a:gd name="connsiteX1" fmla="*/ 962 w 50362"/>
                  <a:gd name="connsiteY1" fmla="*/ 26814 h 26814"/>
                  <a:gd name="connsiteX2" fmla="*/ 21416 w 50362"/>
                  <a:gd name="connsiteY2" fmla="*/ 6121 h 26814"/>
                  <a:gd name="connsiteX3" fmla="*/ 50363 w 50362"/>
                  <a:gd name="connsiteY3" fmla="*/ 8753 h 26814"/>
                  <a:gd name="connsiteX4" fmla="*/ 50123 w 50362"/>
                  <a:gd name="connsiteY4" fmla="*/ 7796 h 26814"/>
                  <a:gd name="connsiteX5" fmla="*/ 20160 w 50362"/>
                  <a:gd name="connsiteY5" fmla="*/ 2652 h 26814"/>
                  <a:gd name="connsiteX6" fmla="*/ 543 w 50362"/>
                  <a:gd name="connsiteY6" fmla="*/ 25917 h 2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62" h="26814">
                    <a:moveTo>
                      <a:pt x="543" y="25917"/>
                    </a:moveTo>
                    <a:cubicBezTo>
                      <a:pt x="663" y="26216"/>
                      <a:pt x="782" y="26515"/>
                      <a:pt x="962" y="26814"/>
                    </a:cubicBezTo>
                    <a:cubicBezTo>
                      <a:pt x="-593" y="19996"/>
                      <a:pt x="8258" y="10965"/>
                      <a:pt x="21416" y="6121"/>
                    </a:cubicBezTo>
                    <a:cubicBezTo>
                      <a:pt x="34574" y="1336"/>
                      <a:pt x="47193" y="2533"/>
                      <a:pt x="50363" y="8753"/>
                    </a:cubicBezTo>
                    <a:cubicBezTo>
                      <a:pt x="50303" y="8454"/>
                      <a:pt x="50183" y="8095"/>
                      <a:pt x="50123" y="7796"/>
                    </a:cubicBezTo>
                    <a:cubicBezTo>
                      <a:pt x="47253" y="-39"/>
                      <a:pt x="33856" y="-2372"/>
                      <a:pt x="20160" y="2652"/>
                    </a:cubicBezTo>
                    <a:cubicBezTo>
                      <a:pt x="6464" y="7676"/>
                      <a:pt x="-2328" y="18023"/>
                      <a:pt x="543" y="25917"/>
                    </a:cubicBezTo>
                    <a:close/>
                  </a:path>
                </a:pathLst>
              </a:custGeom>
              <a:grpFill/>
              <a:ln w="5978" cap="flat">
                <a:noFill/>
                <a:prstDash val="solid"/>
                <a:miter/>
              </a:ln>
            </p:spPr>
            <p:txBody>
              <a:bodyPr rtlCol="0" anchor="ctr"/>
              <a:lstStyle/>
              <a:p>
                <a:endParaRPr lang="en-GB"/>
              </a:p>
            </p:txBody>
          </p:sp>
          <p:sp>
            <p:nvSpPr>
              <p:cNvPr id="9618" name="Vrije vorm: vorm 9617">
                <a:extLst>
                  <a:ext uri="{FF2B5EF4-FFF2-40B4-BE49-F238E27FC236}">
                    <a16:creationId xmlns:a16="http://schemas.microsoft.com/office/drawing/2014/main" id="{7F1EDF73-AA64-45E8-A75C-A54638FD953A}"/>
                  </a:ext>
                </a:extLst>
              </p:cNvPr>
              <p:cNvSpPr/>
              <p:nvPr/>
            </p:nvSpPr>
            <p:spPr>
              <a:xfrm>
                <a:off x="4534246" y="1400481"/>
                <a:ext cx="49904" cy="30488"/>
              </a:xfrm>
              <a:custGeom>
                <a:avLst/>
                <a:gdLst>
                  <a:gd name="connsiteX0" fmla="*/ 177 w 49904"/>
                  <a:gd name="connsiteY0" fmla="*/ 23569 h 30488"/>
                  <a:gd name="connsiteX1" fmla="*/ 27210 w 49904"/>
                  <a:gd name="connsiteY1" fmla="*/ 28712 h 30488"/>
                  <a:gd name="connsiteX2" fmla="*/ 29781 w 49904"/>
                  <a:gd name="connsiteY2" fmla="*/ 27875 h 30488"/>
                  <a:gd name="connsiteX3" fmla="*/ 32294 w 49904"/>
                  <a:gd name="connsiteY3" fmla="*/ 26918 h 30488"/>
                  <a:gd name="connsiteX4" fmla="*/ 49637 w 49904"/>
                  <a:gd name="connsiteY4" fmla="*/ 5567 h 30488"/>
                  <a:gd name="connsiteX5" fmla="*/ 20691 w 49904"/>
                  <a:gd name="connsiteY5" fmla="*/ 2935 h 30488"/>
                  <a:gd name="connsiteX6" fmla="*/ 177 w 49904"/>
                  <a:gd name="connsiteY6" fmla="*/ 23569 h 3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04" h="30488">
                    <a:moveTo>
                      <a:pt x="177" y="23569"/>
                    </a:moveTo>
                    <a:cubicBezTo>
                      <a:pt x="3466" y="30267"/>
                      <a:pt x="14949" y="32360"/>
                      <a:pt x="27210" y="28712"/>
                    </a:cubicBezTo>
                    <a:cubicBezTo>
                      <a:pt x="28047" y="28413"/>
                      <a:pt x="28944" y="28174"/>
                      <a:pt x="29781" y="27875"/>
                    </a:cubicBezTo>
                    <a:cubicBezTo>
                      <a:pt x="30619" y="27576"/>
                      <a:pt x="31456" y="27217"/>
                      <a:pt x="32294" y="26918"/>
                    </a:cubicBezTo>
                    <a:cubicBezTo>
                      <a:pt x="44016" y="21834"/>
                      <a:pt x="51432" y="12803"/>
                      <a:pt x="49637" y="5567"/>
                    </a:cubicBezTo>
                    <a:cubicBezTo>
                      <a:pt x="46468" y="-653"/>
                      <a:pt x="33848" y="-1849"/>
                      <a:pt x="20691" y="2935"/>
                    </a:cubicBezTo>
                    <a:cubicBezTo>
                      <a:pt x="7473" y="7720"/>
                      <a:pt x="-1378" y="16810"/>
                      <a:pt x="177" y="23569"/>
                    </a:cubicBezTo>
                    <a:close/>
                  </a:path>
                </a:pathLst>
              </a:custGeom>
              <a:noFill/>
              <a:ln w="4518" cap="flat">
                <a:solidFill>
                  <a:schemeClr val="bg1"/>
                </a:solidFill>
                <a:prstDash val="solid"/>
                <a:miter/>
              </a:ln>
            </p:spPr>
            <p:txBody>
              <a:bodyPr rtlCol="0" anchor="ctr"/>
              <a:lstStyle/>
              <a:p>
                <a:endParaRPr lang="en-GB"/>
              </a:p>
            </p:txBody>
          </p:sp>
          <p:sp>
            <p:nvSpPr>
              <p:cNvPr id="9619" name="Vrije vorm: vorm 9618">
                <a:extLst>
                  <a:ext uri="{FF2B5EF4-FFF2-40B4-BE49-F238E27FC236}">
                    <a16:creationId xmlns:a16="http://schemas.microsoft.com/office/drawing/2014/main" id="{A178E2F1-18D5-4277-9DCC-8CC83FD066C7}"/>
                  </a:ext>
                </a:extLst>
              </p:cNvPr>
              <p:cNvSpPr/>
              <p:nvPr/>
            </p:nvSpPr>
            <p:spPr>
              <a:xfrm>
                <a:off x="4479687" y="1374134"/>
                <a:ext cx="43971" cy="21986"/>
              </a:xfrm>
              <a:custGeom>
                <a:avLst/>
                <a:gdLst>
                  <a:gd name="connsiteX0" fmla="*/ 372 w 43971"/>
                  <a:gd name="connsiteY0" fmla="*/ 21508 h 21986"/>
                  <a:gd name="connsiteX1" fmla="*/ 611 w 43971"/>
                  <a:gd name="connsiteY1" fmla="*/ 21986 h 21986"/>
                  <a:gd name="connsiteX2" fmla="*/ 18733 w 43971"/>
                  <a:gd name="connsiteY2" fmla="*/ 4403 h 21986"/>
                  <a:gd name="connsiteX3" fmla="*/ 43971 w 43971"/>
                  <a:gd name="connsiteY3" fmla="*/ 6197 h 21986"/>
                  <a:gd name="connsiteX4" fmla="*/ 43792 w 43971"/>
                  <a:gd name="connsiteY4" fmla="*/ 5659 h 21986"/>
                  <a:gd name="connsiteX5" fmla="*/ 18015 w 43971"/>
                  <a:gd name="connsiteY5" fmla="*/ 2549 h 21986"/>
                  <a:gd name="connsiteX6" fmla="*/ 372 w 43971"/>
                  <a:gd name="connsiteY6" fmla="*/ 21508 h 2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71" h="21986">
                    <a:moveTo>
                      <a:pt x="372" y="21508"/>
                    </a:moveTo>
                    <a:cubicBezTo>
                      <a:pt x="432" y="21687"/>
                      <a:pt x="491" y="21867"/>
                      <a:pt x="611" y="21986"/>
                    </a:cubicBezTo>
                    <a:cubicBezTo>
                      <a:pt x="-884" y="16424"/>
                      <a:pt x="7070" y="8649"/>
                      <a:pt x="18733" y="4403"/>
                    </a:cubicBezTo>
                    <a:cubicBezTo>
                      <a:pt x="30395" y="157"/>
                      <a:pt x="41459" y="934"/>
                      <a:pt x="43971" y="6197"/>
                    </a:cubicBezTo>
                    <a:cubicBezTo>
                      <a:pt x="43971" y="6018"/>
                      <a:pt x="43852" y="5838"/>
                      <a:pt x="43792" y="5659"/>
                    </a:cubicBezTo>
                    <a:cubicBezTo>
                      <a:pt x="41579" y="-441"/>
                      <a:pt x="30036" y="-1817"/>
                      <a:pt x="18015" y="2549"/>
                    </a:cubicBezTo>
                    <a:cubicBezTo>
                      <a:pt x="6053" y="6915"/>
                      <a:pt x="-1841" y="15407"/>
                      <a:pt x="372" y="21508"/>
                    </a:cubicBezTo>
                    <a:close/>
                  </a:path>
                </a:pathLst>
              </a:custGeom>
              <a:grpFill/>
              <a:ln w="5978" cap="flat">
                <a:noFill/>
                <a:prstDash val="solid"/>
                <a:miter/>
              </a:ln>
            </p:spPr>
            <p:txBody>
              <a:bodyPr rtlCol="0" anchor="ctr"/>
              <a:lstStyle/>
              <a:p>
                <a:endParaRPr lang="en-GB"/>
              </a:p>
            </p:txBody>
          </p:sp>
          <p:sp>
            <p:nvSpPr>
              <p:cNvPr id="9620" name="Vrije vorm: vorm 9619">
                <a:extLst>
                  <a:ext uri="{FF2B5EF4-FFF2-40B4-BE49-F238E27FC236}">
                    <a16:creationId xmlns:a16="http://schemas.microsoft.com/office/drawing/2014/main" id="{3B0E38B9-3D8B-44B8-AD69-F816656B878C}"/>
                  </a:ext>
                </a:extLst>
              </p:cNvPr>
              <p:cNvSpPr/>
              <p:nvPr/>
            </p:nvSpPr>
            <p:spPr>
              <a:xfrm>
                <a:off x="4480117" y="1375762"/>
                <a:ext cx="43748" cy="25565"/>
              </a:xfrm>
              <a:custGeom>
                <a:avLst/>
                <a:gdLst>
                  <a:gd name="connsiteX0" fmla="*/ 180 w 43748"/>
                  <a:gd name="connsiteY0" fmla="*/ 20358 h 25565"/>
                  <a:gd name="connsiteX1" fmla="*/ 23445 w 43748"/>
                  <a:gd name="connsiteY1" fmla="*/ 23767 h 25565"/>
                  <a:gd name="connsiteX2" fmla="*/ 25718 w 43748"/>
                  <a:gd name="connsiteY2" fmla="*/ 22990 h 25565"/>
                  <a:gd name="connsiteX3" fmla="*/ 27931 w 43748"/>
                  <a:gd name="connsiteY3" fmla="*/ 22092 h 25565"/>
                  <a:gd name="connsiteX4" fmla="*/ 43541 w 43748"/>
                  <a:gd name="connsiteY4" fmla="*/ 4509 h 25565"/>
                  <a:gd name="connsiteX5" fmla="*/ 18302 w 43748"/>
                  <a:gd name="connsiteY5" fmla="*/ 2715 h 25565"/>
                  <a:gd name="connsiteX6" fmla="*/ 180 w 43748"/>
                  <a:gd name="connsiteY6" fmla="*/ 20358 h 2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48" h="25565">
                    <a:moveTo>
                      <a:pt x="180" y="20358"/>
                    </a:moveTo>
                    <a:cubicBezTo>
                      <a:pt x="2693" y="25681"/>
                      <a:pt x="12620" y="27116"/>
                      <a:pt x="23445" y="23767"/>
                    </a:cubicBezTo>
                    <a:cubicBezTo>
                      <a:pt x="24223" y="23528"/>
                      <a:pt x="24941" y="23289"/>
                      <a:pt x="25718" y="22990"/>
                    </a:cubicBezTo>
                    <a:cubicBezTo>
                      <a:pt x="26436" y="22691"/>
                      <a:pt x="27213" y="22392"/>
                      <a:pt x="27931" y="22092"/>
                    </a:cubicBezTo>
                    <a:cubicBezTo>
                      <a:pt x="38337" y="17667"/>
                      <a:pt x="45036" y="10191"/>
                      <a:pt x="43541" y="4509"/>
                    </a:cubicBezTo>
                    <a:cubicBezTo>
                      <a:pt x="41089" y="-694"/>
                      <a:pt x="30024" y="-1531"/>
                      <a:pt x="18302" y="2715"/>
                    </a:cubicBezTo>
                    <a:cubicBezTo>
                      <a:pt x="6640" y="7021"/>
                      <a:pt x="-1315" y="14796"/>
                      <a:pt x="180" y="20358"/>
                    </a:cubicBezTo>
                    <a:close/>
                  </a:path>
                </a:pathLst>
              </a:custGeom>
              <a:noFill/>
              <a:ln w="4518" cap="flat">
                <a:solidFill>
                  <a:schemeClr val="bg1"/>
                </a:solidFill>
                <a:prstDash val="solid"/>
                <a:miter/>
              </a:ln>
            </p:spPr>
            <p:txBody>
              <a:bodyPr rtlCol="0" anchor="ctr"/>
              <a:lstStyle/>
              <a:p>
                <a:endParaRPr lang="en-GB"/>
              </a:p>
            </p:txBody>
          </p:sp>
          <p:sp>
            <p:nvSpPr>
              <p:cNvPr id="9621" name="Vrije vorm: vorm 9620">
                <a:extLst>
                  <a:ext uri="{FF2B5EF4-FFF2-40B4-BE49-F238E27FC236}">
                    <a16:creationId xmlns:a16="http://schemas.microsoft.com/office/drawing/2014/main" id="{8AA134C8-E503-40D3-8E48-69A4970A5CE8}"/>
                  </a:ext>
                </a:extLst>
              </p:cNvPr>
              <p:cNvSpPr/>
              <p:nvPr/>
            </p:nvSpPr>
            <p:spPr>
              <a:xfrm>
                <a:off x="4388242" y="1416856"/>
                <a:ext cx="46722" cy="22265"/>
              </a:xfrm>
              <a:custGeom>
                <a:avLst/>
                <a:gdLst>
                  <a:gd name="connsiteX0" fmla="*/ 312 w 46722"/>
                  <a:gd name="connsiteY0" fmla="*/ 21727 h 22265"/>
                  <a:gd name="connsiteX1" fmla="*/ 611 w 46722"/>
                  <a:gd name="connsiteY1" fmla="*/ 22266 h 22265"/>
                  <a:gd name="connsiteX2" fmla="*/ 20467 w 46722"/>
                  <a:gd name="connsiteY2" fmla="*/ 5161 h 22265"/>
                  <a:gd name="connsiteX3" fmla="*/ 46722 w 46722"/>
                  <a:gd name="connsiteY3" fmla="*/ 5460 h 22265"/>
                  <a:gd name="connsiteX4" fmla="*/ 46602 w 46722"/>
                  <a:gd name="connsiteY4" fmla="*/ 4862 h 22265"/>
                  <a:gd name="connsiteX5" fmla="*/ 19749 w 46722"/>
                  <a:gd name="connsiteY5" fmla="*/ 3067 h 22265"/>
                  <a:gd name="connsiteX6" fmla="*/ 312 w 46722"/>
                  <a:gd name="connsiteY6" fmla="*/ 21727 h 2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722" h="22265">
                    <a:moveTo>
                      <a:pt x="312" y="21727"/>
                    </a:moveTo>
                    <a:cubicBezTo>
                      <a:pt x="372" y="21907"/>
                      <a:pt x="431" y="22086"/>
                      <a:pt x="611" y="22266"/>
                    </a:cubicBezTo>
                    <a:cubicBezTo>
                      <a:pt x="-526" y="17242"/>
                      <a:pt x="8146" y="9646"/>
                      <a:pt x="20467" y="5161"/>
                    </a:cubicBezTo>
                    <a:cubicBezTo>
                      <a:pt x="32847" y="615"/>
                      <a:pt x="44330" y="795"/>
                      <a:pt x="46722" y="5460"/>
                    </a:cubicBezTo>
                    <a:cubicBezTo>
                      <a:pt x="46722" y="5221"/>
                      <a:pt x="46662" y="5041"/>
                      <a:pt x="46602" y="4862"/>
                    </a:cubicBezTo>
                    <a:cubicBezTo>
                      <a:pt x="44509" y="-820"/>
                      <a:pt x="32488" y="-1657"/>
                      <a:pt x="19749" y="3067"/>
                    </a:cubicBezTo>
                    <a:cubicBezTo>
                      <a:pt x="6890" y="7673"/>
                      <a:pt x="-1782" y="16046"/>
                      <a:pt x="312" y="21727"/>
                    </a:cubicBezTo>
                    <a:close/>
                  </a:path>
                </a:pathLst>
              </a:custGeom>
              <a:grpFill/>
              <a:ln w="5978" cap="flat">
                <a:noFill/>
                <a:prstDash val="solid"/>
                <a:miter/>
              </a:ln>
            </p:spPr>
            <p:txBody>
              <a:bodyPr rtlCol="0" anchor="ctr"/>
              <a:lstStyle/>
              <a:p>
                <a:endParaRPr lang="en-GB"/>
              </a:p>
            </p:txBody>
          </p:sp>
          <p:sp>
            <p:nvSpPr>
              <p:cNvPr id="9622" name="Vrije vorm: vorm 9621">
                <a:extLst>
                  <a:ext uri="{FF2B5EF4-FFF2-40B4-BE49-F238E27FC236}">
                    <a16:creationId xmlns:a16="http://schemas.microsoft.com/office/drawing/2014/main" id="{3E09AB19-C7C3-4851-9942-8CC941E9CF2B}"/>
                  </a:ext>
                </a:extLst>
              </p:cNvPr>
              <p:cNvSpPr/>
              <p:nvPr/>
            </p:nvSpPr>
            <p:spPr>
              <a:xfrm>
                <a:off x="4388743" y="1418755"/>
                <a:ext cx="46414" cy="24638"/>
              </a:xfrm>
              <a:custGeom>
                <a:avLst/>
                <a:gdLst>
                  <a:gd name="connsiteX0" fmla="*/ 110 w 46414"/>
                  <a:gd name="connsiteY0" fmla="*/ 20367 h 24638"/>
                  <a:gd name="connsiteX1" fmla="*/ 26724 w 46414"/>
                  <a:gd name="connsiteY1" fmla="*/ 21623 h 24638"/>
                  <a:gd name="connsiteX2" fmla="*/ 46281 w 46414"/>
                  <a:gd name="connsiteY2" fmla="*/ 3561 h 24638"/>
                  <a:gd name="connsiteX3" fmla="*/ 20025 w 46414"/>
                  <a:gd name="connsiteY3" fmla="*/ 3262 h 24638"/>
                  <a:gd name="connsiteX4" fmla="*/ 110 w 46414"/>
                  <a:gd name="connsiteY4" fmla="*/ 20367 h 24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14" h="24638">
                    <a:moveTo>
                      <a:pt x="110" y="20367"/>
                    </a:moveTo>
                    <a:cubicBezTo>
                      <a:pt x="2681" y="25510"/>
                      <a:pt x="14344" y="26108"/>
                      <a:pt x="26724" y="21623"/>
                    </a:cubicBezTo>
                    <a:cubicBezTo>
                      <a:pt x="39104" y="17077"/>
                      <a:pt x="47596" y="9123"/>
                      <a:pt x="46281" y="3561"/>
                    </a:cubicBezTo>
                    <a:cubicBezTo>
                      <a:pt x="43888" y="-1044"/>
                      <a:pt x="32406" y="-1224"/>
                      <a:pt x="20025" y="3262"/>
                    </a:cubicBezTo>
                    <a:cubicBezTo>
                      <a:pt x="7645" y="7807"/>
                      <a:pt x="-1087" y="15343"/>
                      <a:pt x="110" y="20367"/>
                    </a:cubicBezTo>
                    <a:close/>
                  </a:path>
                </a:pathLst>
              </a:custGeom>
              <a:noFill/>
              <a:ln w="4518" cap="flat">
                <a:solidFill>
                  <a:schemeClr val="bg1"/>
                </a:solidFill>
                <a:prstDash val="solid"/>
                <a:miter/>
              </a:ln>
            </p:spPr>
            <p:txBody>
              <a:bodyPr rtlCol="0" anchor="ctr"/>
              <a:lstStyle/>
              <a:p>
                <a:endParaRPr lang="en-GB"/>
              </a:p>
            </p:txBody>
          </p:sp>
          <p:sp>
            <p:nvSpPr>
              <p:cNvPr id="9623" name="Vrije vorm: vorm 9622">
                <a:extLst>
                  <a:ext uri="{FF2B5EF4-FFF2-40B4-BE49-F238E27FC236}">
                    <a16:creationId xmlns:a16="http://schemas.microsoft.com/office/drawing/2014/main" id="{59BFCD7E-2D53-4A6A-9EB3-F611CAAC9064}"/>
                  </a:ext>
                </a:extLst>
              </p:cNvPr>
              <p:cNvSpPr/>
              <p:nvPr/>
            </p:nvSpPr>
            <p:spPr>
              <a:xfrm>
                <a:off x="4422257" y="1451284"/>
                <a:ext cx="50445" cy="27250"/>
              </a:xfrm>
              <a:custGeom>
                <a:avLst/>
                <a:gdLst>
                  <a:gd name="connsiteX0" fmla="*/ 566 w 50445"/>
                  <a:gd name="connsiteY0" fmla="*/ 26114 h 27250"/>
                  <a:gd name="connsiteX1" fmla="*/ 1105 w 50445"/>
                  <a:gd name="connsiteY1" fmla="*/ 27250 h 27250"/>
                  <a:gd name="connsiteX2" fmla="*/ 21619 w 50445"/>
                  <a:gd name="connsiteY2" fmla="*/ 6796 h 27250"/>
                  <a:gd name="connsiteX3" fmla="*/ 50446 w 50445"/>
                  <a:gd name="connsiteY3" fmla="*/ 9248 h 27250"/>
                  <a:gd name="connsiteX4" fmla="*/ 50146 w 50445"/>
                  <a:gd name="connsiteY4" fmla="*/ 8052 h 27250"/>
                  <a:gd name="connsiteX5" fmla="*/ 20064 w 50445"/>
                  <a:gd name="connsiteY5" fmla="*/ 2610 h 27250"/>
                  <a:gd name="connsiteX6" fmla="*/ 566 w 50445"/>
                  <a:gd name="connsiteY6" fmla="*/ 26114 h 2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45" h="27250">
                    <a:moveTo>
                      <a:pt x="566" y="26114"/>
                    </a:moveTo>
                    <a:cubicBezTo>
                      <a:pt x="686" y="26473"/>
                      <a:pt x="865" y="26891"/>
                      <a:pt x="1105" y="27250"/>
                    </a:cubicBezTo>
                    <a:cubicBezTo>
                      <a:pt x="-271" y="20552"/>
                      <a:pt x="8581" y="11581"/>
                      <a:pt x="21619" y="6796"/>
                    </a:cubicBezTo>
                    <a:cubicBezTo>
                      <a:pt x="34597" y="2071"/>
                      <a:pt x="47156" y="3208"/>
                      <a:pt x="50446" y="9248"/>
                    </a:cubicBezTo>
                    <a:cubicBezTo>
                      <a:pt x="50386" y="8830"/>
                      <a:pt x="50266" y="8411"/>
                      <a:pt x="50146" y="8052"/>
                    </a:cubicBezTo>
                    <a:cubicBezTo>
                      <a:pt x="47216" y="38"/>
                      <a:pt x="33759" y="-2414"/>
                      <a:pt x="20064" y="2610"/>
                    </a:cubicBezTo>
                    <a:cubicBezTo>
                      <a:pt x="6368" y="7574"/>
                      <a:pt x="-2364" y="18100"/>
                      <a:pt x="566" y="26114"/>
                    </a:cubicBezTo>
                    <a:close/>
                  </a:path>
                </a:pathLst>
              </a:custGeom>
              <a:grpFill/>
              <a:ln w="5978" cap="flat">
                <a:noFill/>
                <a:prstDash val="solid"/>
                <a:miter/>
              </a:ln>
            </p:spPr>
            <p:txBody>
              <a:bodyPr rtlCol="0" anchor="ctr"/>
              <a:lstStyle/>
              <a:p>
                <a:endParaRPr lang="en-GB"/>
              </a:p>
            </p:txBody>
          </p:sp>
          <p:sp>
            <p:nvSpPr>
              <p:cNvPr id="9624" name="Vrije vorm: vorm 9623">
                <a:extLst>
                  <a:ext uri="{FF2B5EF4-FFF2-40B4-BE49-F238E27FC236}">
                    <a16:creationId xmlns:a16="http://schemas.microsoft.com/office/drawing/2014/main" id="{C6BFE896-EDE9-4782-BF42-1F2883531051}"/>
                  </a:ext>
                </a:extLst>
              </p:cNvPr>
              <p:cNvSpPr/>
              <p:nvPr/>
            </p:nvSpPr>
            <p:spPr>
              <a:xfrm>
                <a:off x="4423221" y="1455158"/>
                <a:ext cx="49704" cy="30328"/>
              </a:xfrm>
              <a:custGeom>
                <a:avLst/>
                <a:gdLst>
                  <a:gd name="connsiteX0" fmla="*/ 141 w 49704"/>
                  <a:gd name="connsiteY0" fmla="*/ 23377 h 30328"/>
                  <a:gd name="connsiteX1" fmla="*/ 27113 w 49704"/>
                  <a:gd name="connsiteY1" fmla="*/ 28580 h 30328"/>
                  <a:gd name="connsiteX2" fmla="*/ 29685 w 49704"/>
                  <a:gd name="connsiteY2" fmla="*/ 27743 h 30328"/>
                  <a:gd name="connsiteX3" fmla="*/ 32197 w 49704"/>
                  <a:gd name="connsiteY3" fmla="*/ 26786 h 30328"/>
                  <a:gd name="connsiteX4" fmla="*/ 49482 w 49704"/>
                  <a:gd name="connsiteY4" fmla="*/ 5375 h 30328"/>
                  <a:gd name="connsiteX5" fmla="*/ 20655 w 49704"/>
                  <a:gd name="connsiteY5" fmla="*/ 2923 h 30328"/>
                  <a:gd name="connsiteX6" fmla="*/ 141 w 49704"/>
                  <a:gd name="connsiteY6" fmla="*/ 23377 h 3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04" h="30328">
                    <a:moveTo>
                      <a:pt x="141" y="23377"/>
                    </a:moveTo>
                    <a:cubicBezTo>
                      <a:pt x="3609" y="30015"/>
                      <a:pt x="15033" y="32228"/>
                      <a:pt x="27113" y="28580"/>
                    </a:cubicBezTo>
                    <a:cubicBezTo>
                      <a:pt x="27951" y="28281"/>
                      <a:pt x="28848" y="28042"/>
                      <a:pt x="29685" y="27743"/>
                    </a:cubicBezTo>
                    <a:cubicBezTo>
                      <a:pt x="30523" y="27443"/>
                      <a:pt x="31360" y="27085"/>
                      <a:pt x="32197" y="26786"/>
                    </a:cubicBezTo>
                    <a:cubicBezTo>
                      <a:pt x="43800" y="21762"/>
                      <a:pt x="51096" y="12731"/>
                      <a:pt x="49482" y="5375"/>
                    </a:cubicBezTo>
                    <a:cubicBezTo>
                      <a:pt x="46192" y="-666"/>
                      <a:pt x="33633" y="-1802"/>
                      <a:pt x="20655" y="2923"/>
                    </a:cubicBezTo>
                    <a:cubicBezTo>
                      <a:pt x="7617" y="7647"/>
                      <a:pt x="-1235" y="16618"/>
                      <a:pt x="141" y="23377"/>
                    </a:cubicBezTo>
                    <a:close/>
                  </a:path>
                </a:pathLst>
              </a:custGeom>
              <a:noFill/>
              <a:ln w="4518" cap="flat">
                <a:solidFill>
                  <a:schemeClr val="bg1"/>
                </a:solidFill>
                <a:prstDash val="solid"/>
                <a:miter/>
              </a:ln>
            </p:spPr>
            <p:txBody>
              <a:bodyPr rtlCol="0" anchor="ctr"/>
              <a:lstStyle/>
              <a:p>
                <a:endParaRPr lang="en-GB"/>
              </a:p>
            </p:txBody>
          </p:sp>
          <p:sp>
            <p:nvSpPr>
              <p:cNvPr id="9625" name="Vrije vorm: vorm 9624">
                <a:extLst>
                  <a:ext uri="{FF2B5EF4-FFF2-40B4-BE49-F238E27FC236}">
                    <a16:creationId xmlns:a16="http://schemas.microsoft.com/office/drawing/2014/main" id="{80884E56-54CE-4CAA-B447-5F1F940FEBEC}"/>
                  </a:ext>
                </a:extLst>
              </p:cNvPr>
              <p:cNvSpPr/>
              <p:nvPr/>
            </p:nvSpPr>
            <p:spPr>
              <a:xfrm>
                <a:off x="4470091" y="1421439"/>
                <a:ext cx="23343" cy="17842"/>
              </a:xfrm>
              <a:custGeom>
                <a:avLst/>
                <a:gdLst>
                  <a:gd name="connsiteX0" fmla="*/ 638 w 23343"/>
                  <a:gd name="connsiteY0" fmla="*/ 14812 h 17842"/>
                  <a:gd name="connsiteX1" fmla="*/ 15470 w 23343"/>
                  <a:gd name="connsiteY1" fmla="*/ 15590 h 17842"/>
                  <a:gd name="connsiteX2" fmla="*/ 22706 w 23343"/>
                  <a:gd name="connsiteY2" fmla="*/ 3030 h 17842"/>
                  <a:gd name="connsiteX3" fmla="*/ 7874 w 23343"/>
                  <a:gd name="connsiteY3" fmla="*/ 2253 h 17842"/>
                  <a:gd name="connsiteX4" fmla="*/ 638 w 23343"/>
                  <a:gd name="connsiteY4" fmla="*/ 14812 h 17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43" h="17842">
                    <a:moveTo>
                      <a:pt x="638" y="14812"/>
                    </a:moveTo>
                    <a:cubicBezTo>
                      <a:pt x="2731" y="18520"/>
                      <a:pt x="9369" y="18879"/>
                      <a:pt x="15470" y="15590"/>
                    </a:cubicBezTo>
                    <a:cubicBezTo>
                      <a:pt x="21570" y="12300"/>
                      <a:pt x="24799" y="6738"/>
                      <a:pt x="22706" y="3030"/>
                    </a:cubicBezTo>
                    <a:cubicBezTo>
                      <a:pt x="20613" y="-678"/>
                      <a:pt x="13974" y="-1037"/>
                      <a:pt x="7874" y="2253"/>
                    </a:cubicBezTo>
                    <a:cubicBezTo>
                      <a:pt x="1774" y="5542"/>
                      <a:pt x="-1456" y="11164"/>
                      <a:pt x="638" y="14812"/>
                    </a:cubicBezTo>
                    <a:close/>
                  </a:path>
                </a:pathLst>
              </a:custGeom>
              <a:grpFill/>
              <a:ln w="5978" cap="flat">
                <a:noFill/>
                <a:prstDash val="solid"/>
                <a:miter/>
              </a:ln>
            </p:spPr>
            <p:txBody>
              <a:bodyPr rtlCol="0" anchor="ctr"/>
              <a:lstStyle/>
              <a:p>
                <a:endParaRPr lang="en-GB"/>
              </a:p>
            </p:txBody>
          </p:sp>
        </p:grpSp>
      </p:grpSp>
    </p:spTree>
    <p:extLst>
      <p:ext uri="{BB962C8B-B14F-4D97-AF65-F5344CB8AC3E}">
        <p14:creationId xmlns:p14="http://schemas.microsoft.com/office/powerpoint/2010/main" val="110605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orld - Glow">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F2FC1E29-32F8-447D-8167-6C2077F05D96}"/>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406" y="-4186"/>
            <a:ext cx="12198626" cy="6862185"/>
          </a:xfrm>
          <a:prstGeom prst="rect">
            <a:avLst/>
          </a:prstGeom>
        </p:spPr>
      </p:pic>
      <p:sp>
        <p:nvSpPr>
          <p:cNvPr id="97" name="Tekstvak 96">
            <a:extLst>
              <a:ext uri="{FF2B5EF4-FFF2-40B4-BE49-F238E27FC236}">
                <a16:creationId xmlns:a16="http://schemas.microsoft.com/office/drawing/2014/main" id="{89B351FD-4DA5-4789-A4D2-63D497BAFB95}"/>
              </a:ext>
            </a:extLst>
          </p:cNvPr>
          <p:cNvSpPr txBox="1"/>
          <p:nvPr userDrawn="1"/>
        </p:nvSpPr>
        <p:spPr>
          <a:xfrm>
            <a:off x="0" y="-226989"/>
            <a:ext cx="12192000" cy="161583"/>
          </a:xfrm>
          <a:prstGeom prst="rect">
            <a:avLst/>
          </a:prstGeom>
          <a:noFill/>
        </p:spPr>
        <p:txBody>
          <a:bodyPr wrap="square" lIns="0" tIns="0" rIns="0" bIns="0" rtlCol="0">
            <a:spAutoFit/>
          </a:bodyPr>
          <a:lstStyle/>
          <a:p>
            <a:pPr algn="r"/>
            <a:r>
              <a:rPr lang="en-GB" sz="1050" b="0" dirty="0">
                <a:solidFill>
                  <a:schemeClr val="tx1"/>
                </a:solidFill>
                <a:latin typeface="Calibri" panose="020F0502020204030204" pitchFamily="34" charset="0"/>
              </a:rPr>
              <a:t>Background</a:t>
            </a:r>
          </a:p>
        </p:txBody>
      </p:sp>
      <p:grpSp>
        <p:nvGrpSpPr>
          <p:cNvPr id="4" name="DATALIJNEN_cirkel">
            <a:extLst>
              <a:ext uri="{FF2B5EF4-FFF2-40B4-BE49-F238E27FC236}">
                <a16:creationId xmlns:a16="http://schemas.microsoft.com/office/drawing/2014/main" id="{E3B341A9-05CB-47FB-BD38-4627062D09FF}"/>
              </a:ext>
            </a:extLst>
          </p:cNvPr>
          <p:cNvGrpSpPr/>
          <p:nvPr userDrawn="1"/>
        </p:nvGrpSpPr>
        <p:grpSpPr>
          <a:xfrm>
            <a:off x="3549233" y="935996"/>
            <a:ext cx="5394814" cy="5532128"/>
            <a:chOff x="3517139" y="752476"/>
            <a:chExt cx="5394814" cy="5532128"/>
          </a:xfrm>
          <a:solidFill>
            <a:srgbClr val="00B0F0">
              <a:alpha val="60000"/>
            </a:srgbClr>
          </a:solidFill>
        </p:grpSpPr>
        <p:grpSp>
          <p:nvGrpSpPr>
            <p:cNvPr id="6" name="Graphic 3">
              <a:extLst>
                <a:ext uri="{FF2B5EF4-FFF2-40B4-BE49-F238E27FC236}">
                  <a16:creationId xmlns:a16="http://schemas.microsoft.com/office/drawing/2014/main" id="{A8F63885-67EF-4DD1-9FC9-E5BE9A27DB91}"/>
                </a:ext>
              </a:extLst>
            </p:cNvPr>
            <p:cNvGrpSpPr/>
            <p:nvPr/>
          </p:nvGrpSpPr>
          <p:grpSpPr>
            <a:xfrm>
              <a:off x="8465492" y="3427232"/>
              <a:ext cx="446461" cy="21830"/>
              <a:chOff x="8465492" y="3427232"/>
              <a:chExt cx="446461" cy="21830"/>
            </a:xfrm>
            <a:grpFill/>
          </p:grpSpPr>
          <p:sp>
            <p:nvSpPr>
              <p:cNvPr id="5351" name="Vrije vorm: vorm 5350">
                <a:extLst>
                  <a:ext uri="{FF2B5EF4-FFF2-40B4-BE49-F238E27FC236}">
                    <a16:creationId xmlns:a16="http://schemas.microsoft.com/office/drawing/2014/main" id="{5D84A7D9-2B04-4C60-900F-7BC8993B62FE}"/>
                  </a:ext>
                </a:extLst>
              </p:cNvPr>
              <p:cNvSpPr/>
              <p:nvPr/>
            </p:nvSpPr>
            <p:spPr>
              <a:xfrm>
                <a:off x="8474224" y="3434888"/>
                <a:ext cx="428997" cy="6518"/>
              </a:xfrm>
              <a:custGeom>
                <a:avLst/>
                <a:gdLst>
                  <a:gd name="connsiteX0" fmla="*/ 428997 w 428997"/>
                  <a:gd name="connsiteY0" fmla="*/ 3409 h 6518"/>
                  <a:gd name="connsiteX1" fmla="*/ 428997 w 428997"/>
                  <a:gd name="connsiteY1" fmla="*/ 6519 h 6518"/>
                  <a:gd name="connsiteX2" fmla="*/ 0 w 428997"/>
                  <a:gd name="connsiteY2" fmla="*/ 3050 h 6518"/>
                  <a:gd name="connsiteX3" fmla="*/ 0 w 428997"/>
                  <a:gd name="connsiteY3" fmla="*/ 0 h 6518"/>
                </a:gdLst>
                <a:ahLst/>
                <a:cxnLst>
                  <a:cxn ang="0">
                    <a:pos x="connsiteX0" y="connsiteY0"/>
                  </a:cxn>
                  <a:cxn ang="0">
                    <a:pos x="connsiteX1" y="connsiteY1"/>
                  </a:cxn>
                  <a:cxn ang="0">
                    <a:pos x="connsiteX2" y="connsiteY2"/>
                  </a:cxn>
                  <a:cxn ang="0">
                    <a:pos x="connsiteX3" y="connsiteY3"/>
                  </a:cxn>
                </a:cxnLst>
                <a:rect l="l" t="t" r="r" b="b"/>
                <a:pathLst>
                  <a:path w="428997" h="6518">
                    <a:moveTo>
                      <a:pt x="428997" y="3409"/>
                    </a:moveTo>
                    <a:lnTo>
                      <a:pt x="428997" y="6519"/>
                    </a:lnTo>
                    <a:lnTo>
                      <a:pt x="0" y="3050"/>
                    </a:lnTo>
                    <a:lnTo>
                      <a:pt x="0" y="0"/>
                    </a:lnTo>
                    <a:close/>
                  </a:path>
                </a:pathLst>
              </a:custGeom>
              <a:grpFill/>
              <a:ln w="5978" cap="flat">
                <a:noFill/>
                <a:prstDash val="solid"/>
                <a:miter/>
              </a:ln>
            </p:spPr>
            <p:txBody>
              <a:bodyPr rtlCol="0" anchor="ctr"/>
              <a:lstStyle/>
              <a:p>
                <a:endParaRPr lang="en-GB"/>
              </a:p>
            </p:txBody>
          </p:sp>
          <p:sp>
            <p:nvSpPr>
              <p:cNvPr id="5352" name="Vrije vorm: vorm 5351">
                <a:extLst>
                  <a:ext uri="{FF2B5EF4-FFF2-40B4-BE49-F238E27FC236}">
                    <a16:creationId xmlns:a16="http://schemas.microsoft.com/office/drawing/2014/main" id="{DABA1B1F-FC79-4981-A905-2F0661CF1502}"/>
                  </a:ext>
                </a:extLst>
              </p:cNvPr>
              <p:cNvSpPr/>
              <p:nvPr/>
            </p:nvSpPr>
            <p:spPr>
              <a:xfrm>
                <a:off x="8893592" y="3430641"/>
                <a:ext cx="18361" cy="18421"/>
              </a:xfrm>
              <a:custGeom>
                <a:avLst/>
                <a:gdLst>
                  <a:gd name="connsiteX0" fmla="*/ 9211 w 18361"/>
                  <a:gd name="connsiteY0" fmla="*/ 1 h 18421"/>
                  <a:gd name="connsiteX1" fmla="*/ 18361 w 18361"/>
                  <a:gd name="connsiteY1" fmla="*/ 9271 h 18421"/>
                  <a:gd name="connsiteX2" fmla="*/ 9151 w 18361"/>
                  <a:gd name="connsiteY2" fmla="*/ 18421 h 18421"/>
                  <a:gd name="connsiteX3" fmla="*/ 0 w 18361"/>
                  <a:gd name="connsiteY3" fmla="*/ 9151 h 18421"/>
                  <a:gd name="connsiteX4" fmla="*/ 9211 w 1836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9211" y="1"/>
                    </a:moveTo>
                    <a:cubicBezTo>
                      <a:pt x="14294" y="61"/>
                      <a:pt x="18361" y="4187"/>
                      <a:pt x="18361" y="9271"/>
                    </a:cubicBezTo>
                    <a:cubicBezTo>
                      <a:pt x="18361" y="14354"/>
                      <a:pt x="14234" y="18421"/>
                      <a:pt x="9151" y="18421"/>
                    </a:cubicBezTo>
                    <a:cubicBezTo>
                      <a:pt x="4067" y="18362"/>
                      <a:pt x="0" y="14235"/>
                      <a:pt x="0" y="9151"/>
                    </a:cubicBezTo>
                    <a:cubicBezTo>
                      <a:pt x="0" y="4067"/>
                      <a:pt x="4127" y="-59"/>
                      <a:pt x="9211" y="1"/>
                    </a:cubicBezTo>
                    <a:close/>
                  </a:path>
                </a:pathLst>
              </a:custGeom>
              <a:grpFill/>
              <a:ln w="5978" cap="flat">
                <a:noFill/>
                <a:prstDash val="solid"/>
                <a:miter/>
              </a:ln>
            </p:spPr>
            <p:txBody>
              <a:bodyPr rtlCol="0" anchor="ctr"/>
              <a:lstStyle/>
              <a:p>
                <a:endParaRPr lang="en-GB"/>
              </a:p>
            </p:txBody>
          </p:sp>
          <p:sp>
            <p:nvSpPr>
              <p:cNvPr id="5353" name="Vrije vorm: vorm 5352">
                <a:extLst>
                  <a:ext uri="{FF2B5EF4-FFF2-40B4-BE49-F238E27FC236}">
                    <a16:creationId xmlns:a16="http://schemas.microsoft.com/office/drawing/2014/main" id="{D59FE0CF-2273-4A6A-8DCC-FFB574C82729}"/>
                  </a:ext>
                </a:extLst>
              </p:cNvPr>
              <p:cNvSpPr/>
              <p:nvPr/>
            </p:nvSpPr>
            <p:spPr>
              <a:xfrm>
                <a:off x="8465492" y="3427232"/>
                <a:ext cx="18360" cy="18422"/>
              </a:xfrm>
              <a:custGeom>
                <a:avLst/>
                <a:gdLst>
                  <a:gd name="connsiteX0" fmla="*/ 9211 w 18360"/>
                  <a:gd name="connsiteY0" fmla="*/ 1 h 18422"/>
                  <a:gd name="connsiteX1" fmla="*/ 0 w 18360"/>
                  <a:gd name="connsiteY1" fmla="*/ 9151 h 18422"/>
                  <a:gd name="connsiteX2" fmla="*/ 9151 w 18360"/>
                  <a:gd name="connsiteY2" fmla="*/ 18421 h 18422"/>
                  <a:gd name="connsiteX3" fmla="*/ 18360 w 18360"/>
                  <a:gd name="connsiteY3" fmla="*/ 9271 h 18422"/>
                  <a:gd name="connsiteX4" fmla="*/ 9211 w 18360"/>
                  <a:gd name="connsiteY4" fmla="*/ 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2">
                    <a:moveTo>
                      <a:pt x="9211" y="1"/>
                    </a:moveTo>
                    <a:cubicBezTo>
                      <a:pt x="4126" y="-59"/>
                      <a:pt x="0" y="4067"/>
                      <a:pt x="0" y="9151"/>
                    </a:cubicBezTo>
                    <a:cubicBezTo>
                      <a:pt x="0" y="14235"/>
                      <a:pt x="4066" y="18421"/>
                      <a:pt x="9151" y="18421"/>
                    </a:cubicBezTo>
                    <a:cubicBezTo>
                      <a:pt x="14234" y="18481"/>
                      <a:pt x="18360" y="14354"/>
                      <a:pt x="18360" y="9271"/>
                    </a:cubicBezTo>
                    <a:cubicBezTo>
                      <a:pt x="18360" y="4187"/>
                      <a:pt x="14294" y="1"/>
                      <a:pt x="9211" y="1"/>
                    </a:cubicBezTo>
                    <a:close/>
                  </a:path>
                </a:pathLst>
              </a:custGeom>
              <a:grpFill/>
              <a:ln w="5978" cap="flat">
                <a:noFill/>
                <a:prstDash val="solid"/>
                <a:miter/>
              </a:ln>
            </p:spPr>
            <p:txBody>
              <a:bodyPr rtlCol="0" anchor="ctr"/>
              <a:lstStyle/>
              <a:p>
                <a:endParaRPr lang="en-GB"/>
              </a:p>
            </p:txBody>
          </p:sp>
        </p:grpSp>
        <p:grpSp>
          <p:nvGrpSpPr>
            <p:cNvPr id="7" name="Graphic 3">
              <a:extLst>
                <a:ext uri="{FF2B5EF4-FFF2-40B4-BE49-F238E27FC236}">
                  <a16:creationId xmlns:a16="http://schemas.microsoft.com/office/drawing/2014/main" id="{A46CFD8C-0A5E-429E-BFF8-AB2A51CFB7FA}"/>
                </a:ext>
              </a:extLst>
            </p:cNvPr>
            <p:cNvGrpSpPr/>
            <p:nvPr/>
          </p:nvGrpSpPr>
          <p:grpSpPr>
            <a:xfrm>
              <a:off x="8248086" y="2963183"/>
              <a:ext cx="558134" cy="106034"/>
              <a:chOff x="8248086" y="2963183"/>
              <a:chExt cx="558134" cy="106034"/>
            </a:xfrm>
            <a:grpFill/>
          </p:grpSpPr>
          <p:sp>
            <p:nvSpPr>
              <p:cNvPr id="5348" name="Vrije vorm: vorm 5347">
                <a:extLst>
                  <a:ext uri="{FF2B5EF4-FFF2-40B4-BE49-F238E27FC236}">
                    <a16:creationId xmlns:a16="http://schemas.microsoft.com/office/drawing/2014/main" id="{17F22430-A18A-4A0A-AF07-4F58D4176130}"/>
                  </a:ext>
                </a:extLst>
              </p:cNvPr>
              <p:cNvSpPr/>
              <p:nvPr/>
            </p:nvSpPr>
            <p:spPr>
              <a:xfrm>
                <a:off x="8256238" y="2970849"/>
                <a:ext cx="541201" cy="90937"/>
              </a:xfrm>
              <a:custGeom>
                <a:avLst/>
                <a:gdLst>
                  <a:gd name="connsiteX0" fmla="*/ 0 w 541201"/>
                  <a:gd name="connsiteY0" fmla="*/ 87927 h 90937"/>
                  <a:gd name="connsiteX1" fmla="*/ 540712 w 541201"/>
                  <a:gd name="connsiteY1" fmla="*/ 0 h 90937"/>
                  <a:gd name="connsiteX2" fmla="*/ 541202 w 541201"/>
                  <a:gd name="connsiteY2" fmla="*/ 3011 h 90937"/>
                  <a:gd name="connsiteX3" fmla="*/ 490 w 541201"/>
                  <a:gd name="connsiteY3" fmla="*/ 90938 h 90937"/>
                </a:gdLst>
                <a:ahLst/>
                <a:cxnLst>
                  <a:cxn ang="0">
                    <a:pos x="connsiteX0" y="connsiteY0"/>
                  </a:cxn>
                  <a:cxn ang="0">
                    <a:pos x="connsiteX1" y="connsiteY1"/>
                  </a:cxn>
                  <a:cxn ang="0">
                    <a:pos x="connsiteX2" y="connsiteY2"/>
                  </a:cxn>
                  <a:cxn ang="0">
                    <a:pos x="connsiteX3" y="connsiteY3"/>
                  </a:cxn>
                </a:cxnLst>
                <a:rect l="l" t="t" r="r" b="b"/>
                <a:pathLst>
                  <a:path w="541201" h="90937">
                    <a:moveTo>
                      <a:pt x="0" y="87927"/>
                    </a:moveTo>
                    <a:lnTo>
                      <a:pt x="540712" y="0"/>
                    </a:lnTo>
                    <a:lnTo>
                      <a:pt x="541202" y="3011"/>
                    </a:lnTo>
                    <a:lnTo>
                      <a:pt x="490" y="90938"/>
                    </a:lnTo>
                    <a:close/>
                  </a:path>
                </a:pathLst>
              </a:custGeom>
              <a:grpFill/>
              <a:ln w="5978" cap="flat">
                <a:noFill/>
                <a:prstDash val="solid"/>
                <a:miter/>
              </a:ln>
            </p:spPr>
            <p:txBody>
              <a:bodyPr rtlCol="0" anchor="ctr"/>
              <a:lstStyle/>
              <a:p>
                <a:endParaRPr lang="en-GB"/>
              </a:p>
            </p:txBody>
          </p:sp>
          <p:sp>
            <p:nvSpPr>
              <p:cNvPr id="5349" name="Vrije vorm: vorm 5348">
                <a:extLst>
                  <a:ext uri="{FF2B5EF4-FFF2-40B4-BE49-F238E27FC236}">
                    <a16:creationId xmlns:a16="http://schemas.microsoft.com/office/drawing/2014/main" id="{E5915EC7-E9FC-48F5-8F83-E11AE822665F}"/>
                  </a:ext>
                </a:extLst>
              </p:cNvPr>
              <p:cNvSpPr/>
              <p:nvPr/>
            </p:nvSpPr>
            <p:spPr>
              <a:xfrm>
                <a:off x="8787906" y="2963183"/>
                <a:ext cx="18314" cy="18490"/>
              </a:xfrm>
              <a:custGeom>
                <a:avLst/>
                <a:gdLst>
                  <a:gd name="connsiteX0" fmla="*/ 7662 w 18314"/>
                  <a:gd name="connsiteY0" fmla="*/ 125 h 18490"/>
                  <a:gd name="connsiteX1" fmla="*/ 18188 w 18314"/>
                  <a:gd name="connsiteY1" fmla="*/ 7780 h 18490"/>
                  <a:gd name="connsiteX2" fmla="*/ 10652 w 18314"/>
                  <a:gd name="connsiteY2" fmla="*/ 18366 h 18490"/>
                  <a:gd name="connsiteX3" fmla="*/ 126 w 18314"/>
                  <a:gd name="connsiteY3" fmla="*/ 10711 h 18490"/>
                  <a:gd name="connsiteX4" fmla="*/ 7662 w 18314"/>
                  <a:gd name="connsiteY4" fmla="*/ 125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90">
                    <a:moveTo>
                      <a:pt x="7662" y="125"/>
                    </a:moveTo>
                    <a:cubicBezTo>
                      <a:pt x="12686" y="-712"/>
                      <a:pt x="17351" y="2756"/>
                      <a:pt x="18188" y="7780"/>
                    </a:cubicBezTo>
                    <a:cubicBezTo>
                      <a:pt x="19026" y="12804"/>
                      <a:pt x="15617" y="17529"/>
                      <a:pt x="10652" y="18366"/>
                    </a:cubicBezTo>
                    <a:cubicBezTo>
                      <a:pt x="5689" y="19203"/>
                      <a:pt x="964" y="15735"/>
                      <a:pt x="126" y="10711"/>
                    </a:cubicBezTo>
                    <a:cubicBezTo>
                      <a:pt x="-710" y="5687"/>
                      <a:pt x="2698" y="902"/>
                      <a:pt x="7662" y="125"/>
                    </a:cubicBezTo>
                    <a:close/>
                  </a:path>
                </a:pathLst>
              </a:custGeom>
              <a:grpFill/>
              <a:ln w="5978" cap="flat">
                <a:noFill/>
                <a:prstDash val="solid"/>
                <a:miter/>
              </a:ln>
            </p:spPr>
            <p:txBody>
              <a:bodyPr rtlCol="0" anchor="ctr"/>
              <a:lstStyle/>
              <a:p>
                <a:endParaRPr lang="en-GB"/>
              </a:p>
            </p:txBody>
          </p:sp>
          <p:sp>
            <p:nvSpPr>
              <p:cNvPr id="5350" name="Vrije vorm: vorm 5349">
                <a:extLst>
                  <a:ext uri="{FF2B5EF4-FFF2-40B4-BE49-F238E27FC236}">
                    <a16:creationId xmlns:a16="http://schemas.microsoft.com/office/drawing/2014/main" id="{2A93F2A1-4683-43AA-9AE6-A1A4F7602E02}"/>
                  </a:ext>
                </a:extLst>
              </p:cNvPr>
              <p:cNvSpPr/>
              <p:nvPr/>
            </p:nvSpPr>
            <p:spPr>
              <a:xfrm>
                <a:off x="8248086" y="3050739"/>
                <a:ext cx="18315" cy="18478"/>
              </a:xfrm>
              <a:custGeom>
                <a:avLst/>
                <a:gdLst>
                  <a:gd name="connsiteX0" fmla="*/ 7662 w 18315"/>
                  <a:gd name="connsiteY0" fmla="*/ 126 h 18478"/>
                  <a:gd name="connsiteX1" fmla="*/ 127 w 18315"/>
                  <a:gd name="connsiteY1" fmla="*/ 10712 h 18478"/>
                  <a:gd name="connsiteX2" fmla="*/ 10652 w 18315"/>
                  <a:gd name="connsiteY2" fmla="*/ 18368 h 18478"/>
                  <a:gd name="connsiteX3" fmla="*/ 18188 w 18315"/>
                  <a:gd name="connsiteY3" fmla="*/ 7782 h 18478"/>
                  <a:gd name="connsiteX4" fmla="*/ 7662 w 18315"/>
                  <a:gd name="connsiteY4" fmla="*/ 126 h 1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78">
                    <a:moveTo>
                      <a:pt x="7662" y="126"/>
                    </a:moveTo>
                    <a:cubicBezTo>
                      <a:pt x="2698" y="964"/>
                      <a:pt x="-711" y="5688"/>
                      <a:pt x="127" y="10712"/>
                    </a:cubicBezTo>
                    <a:cubicBezTo>
                      <a:pt x="963" y="15736"/>
                      <a:pt x="5688" y="19145"/>
                      <a:pt x="10652" y="18368"/>
                    </a:cubicBezTo>
                    <a:cubicBezTo>
                      <a:pt x="15676" y="17530"/>
                      <a:pt x="19025" y="12806"/>
                      <a:pt x="18188" y="7782"/>
                    </a:cubicBezTo>
                    <a:cubicBezTo>
                      <a:pt x="17351" y="2698"/>
                      <a:pt x="12686" y="-711"/>
                      <a:pt x="7662" y="126"/>
                    </a:cubicBezTo>
                    <a:close/>
                  </a:path>
                </a:pathLst>
              </a:custGeom>
              <a:grpFill/>
              <a:ln w="5978" cap="flat">
                <a:noFill/>
                <a:prstDash val="solid"/>
                <a:miter/>
              </a:ln>
            </p:spPr>
            <p:txBody>
              <a:bodyPr rtlCol="0" anchor="ctr"/>
              <a:lstStyle/>
              <a:p>
                <a:endParaRPr lang="en-GB"/>
              </a:p>
            </p:txBody>
          </p:sp>
        </p:grpSp>
        <p:grpSp>
          <p:nvGrpSpPr>
            <p:cNvPr id="8" name="Graphic 3">
              <a:extLst>
                <a:ext uri="{FF2B5EF4-FFF2-40B4-BE49-F238E27FC236}">
                  <a16:creationId xmlns:a16="http://schemas.microsoft.com/office/drawing/2014/main" id="{85708331-9D1D-42C4-AD25-CA4517F30AB1}"/>
                </a:ext>
              </a:extLst>
            </p:cNvPr>
            <p:cNvGrpSpPr/>
            <p:nvPr/>
          </p:nvGrpSpPr>
          <p:grpSpPr>
            <a:xfrm>
              <a:off x="7716805" y="2962871"/>
              <a:ext cx="1089381" cy="160619"/>
              <a:chOff x="7716805" y="2962871"/>
              <a:chExt cx="1089381" cy="160619"/>
            </a:xfrm>
            <a:grpFill/>
          </p:grpSpPr>
          <p:sp>
            <p:nvSpPr>
              <p:cNvPr id="5345" name="Vrije vorm: vorm 5344">
                <a:extLst>
                  <a:ext uri="{FF2B5EF4-FFF2-40B4-BE49-F238E27FC236}">
                    <a16:creationId xmlns:a16="http://schemas.microsoft.com/office/drawing/2014/main" id="{A4665606-F381-46C6-ABDB-9348B15C3D09}"/>
                  </a:ext>
                </a:extLst>
              </p:cNvPr>
              <p:cNvSpPr/>
              <p:nvPr/>
            </p:nvSpPr>
            <p:spPr>
              <a:xfrm>
                <a:off x="7725258" y="2970545"/>
                <a:ext cx="1072463" cy="145331"/>
              </a:xfrm>
              <a:custGeom>
                <a:avLst/>
                <a:gdLst>
                  <a:gd name="connsiteX0" fmla="*/ 1072045 w 1072463"/>
                  <a:gd name="connsiteY0" fmla="*/ 0 h 145331"/>
                  <a:gd name="connsiteX1" fmla="*/ 1072464 w 1072463"/>
                  <a:gd name="connsiteY1" fmla="*/ 3050 h 145331"/>
                  <a:gd name="connsiteX2" fmla="*/ 419 w 1072463"/>
                  <a:gd name="connsiteY2" fmla="*/ 145331 h 145331"/>
                  <a:gd name="connsiteX3" fmla="*/ 0 w 1072463"/>
                  <a:gd name="connsiteY3" fmla="*/ 142281 h 145331"/>
                </a:gdLst>
                <a:ahLst/>
                <a:cxnLst>
                  <a:cxn ang="0">
                    <a:pos x="connsiteX0" y="connsiteY0"/>
                  </a:cxn>
                  <a:cxn ang="0">
                    <a:pos x="connsiteX1" y="connsiteY1"/>
                  </a:cxn>
                  <a:cxn ang="0">
                    <a:pos x="connsiteX2" y="connsiteY2"/>
                  </a:cxn>
                  <a:cxn ang="0">
                    <a:pos x="connsiteX3" y="connsiteY3"/>
                  </a:cxn>
                </a:cxnLst>
                <a:rect l="l" t="t" r="r" b="b"/>
                <a:pathLst>
                  <a:path w="1072463" h="145331">
                    <a:moveTo>
                      <a:pt x="1072045" y="0"/>
                    </a:moveTo>
                    <a:lnTo>
                      <a:pt x="1072464" y="3050"/>
                    </a:lnTo>
                    <a:lnTo>
                      <a:pt x="419" y="145331"/>
                    </a:lnTo>
                    <a:lnTo>
                      <a:pt x="0" y="142281"/>
                    </a:lnTo>
                    <a:close/>
                  </a:path>
                </a:pathLst>
              </a:custGeom>
              <a:grpFill/>
              <a:ln w="5978" cap="flat">
                <a:noFill/>
                <a:prstDash val="solid"/>
                <a:miter/>
              </a:ln>
            </p:spPr>
            <p:txBody>
              <a:bodyPr rtlCol="0" anchor="ctr"/>
              <a:lstStyle/>
              <a:p>
                <a:endParaRPr lang="en-GB"/>
              </a:p>
            </p:txBody>
          </p:sp>
          <p:sp>
            <p:nvSpPr>
              <p:cNvPr id="5346" name="Vrije vorm: vorm 5345">
                <a:extLst>
                  <a:ext uri="{FF2B5EF4-FFF2-40B4-BE49-F238E27FC236}">
                    <a16:creationId xmlns:a16="http://schemas.microsoft.com/office/drawing/2014/main" id="{3C8B5B20-289E-47C9-AC7B-78FDD70F9F17}"/>
                  </a:ext>
                </a:extLst>
              </p:cNvPr>
              <p:cNvSpPr/>
              <p:nvPr/>
            </p:nvSpPr>
            <p:spPr>
              <a:xfrm>
                <a:off x="7716805" y="3105032"/>
                <a:ext cx="18281" cy="18458"/>
              </a:xfrm>
              <a:custGeom>
                <a:avLst/>
                <a:gdLst>
                  <a:gd name="connsiteX0" fmla="*/ 10367 w 18281"/>
                  <a:gd name="connsiteY0" fmla="*/ 18380 h 18458"/>
                  <a:gd name="connsiteX1" fmla="*/ 80 w 18281"/>
                  <a:gd name="connsiteY1" fmla="*/ 10425 h 18458"/>
                  <a:gd name="connsiteX2" fmla="*/ 7915 w 18281"/>
                  <a:gd name="connsiteY2" fmla="*/ 79 h 18458"/>
                  <a:gd name="connsiteX3" fmla="*/ 18202 w 18281"/>
                  <a:gd name="connsiteY3" fmla="*/ 8033 h 18458"/>
                  <a:gd name="connsiteX4" fmla="*/ 10367 w 18281"/>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8">
                    <a:moveTo>
                      <a:pt x="10367" y="18380"/>
                    </a:moveTo>
                    <a:cubicBezTo>
                      <a:pt x="5343" y="19038"/>
                      <a:pt x="738" y="15509"/>
                      <a:pt x="80" y="10425"/>
                    </a:cubicBezTo>
                    <a:cubicBezTo>
                      <a:pt x="-578" y="5402"/>
                      <a:pt x="2891" y="737"/>
                      <a:pt x="7915" y="79"/>
                    </a:cubicBezTo>
                    <a:cubicBezTo>
                      <a:pt x="12939" y="-579"/>
                      <a:pt x="17544" y="2950"/>
                      <a:pt x="18202" y="8033"/>
                    </a:cubicBezTo>
                    <a:cubicBezTo>
                      <a:pt x="18860" y="13117"/>
                      <a:pt x="15391" y="17722"/>
                      <a:pt x="10367" y="18380"/>
                    </a:cubicBezTo>
                    <a:close/>
                  </a:path>
                </a:pathLst>
              </a:custGeom>
              <a:grpFill/>
              <a:ln w="5978" cap="flat">
                <a:noFill/>
                <a:prstDash val="solid"/>
                <a:miter/>
              </a:ln>
            </p:spPr>
            <p:txBody>
              <a:bodyPr rtlCol="0" anchor="ctr"/>
              <a:lstStyle/>
              <a:p>
                <a:endParaRPr lang="en-GB"/>
              </a:p>
            </p:txBody>
          </p:sp>
          <p:sp>
            <p:nvSpPr>
              <p:cNvPr id="5347" name="Vrije vorm: vorm 5346">
                <a:extLst>
                  <a:ext uri="{FF2B5EF4-FFF2-40B4-BE49-F238E27FC236}">
                    <a16:creationId xmlns:a16="http://schemas.microsoft.com/office/drawing/2014/main" id="{E69997DF-6BB3-4390-AF39-F152CA9FEBB5}"/>
                  </a:ext>
                </a:extLst>
              </p:cNvPr>
              <p:cNvSpPr/>
              <p:nvPr/>
            </p:nvSpPr>
            <p:spPr>
              <a:xfrm>
                <a:off x="8787880" y="2962871"/>
                <a:ext cx="18306" cy="18457"/>
              </a:xfrm>
              <a:custGeom>
                <a:avLst/>
                <a:gdLst>
                  <a:gd name="connsiteX0" fmla="*/ 10379 w 18306"/>
                  <a:gd name="connsiteY0" fmla="*/ 18379 h 18457"/>
                  <a:gd name="connsiteX1" fmla="*/ 18214 w 18306"/>
                  <a:gd name="connsiteY1" fmla="*/ 8032 h 18457"/>
                  <a:gd name="connsiteX2" fmla="*/ 7927 w 18306"/>
                  <a:gd name="connsiteY2" fmla="*/ 78 h 18457"/>
                  <a:gd name="connsiteX3" fmla="*/ 93 w 18306"/>
                  <a:gd name="connsiteY3" fmla="*/ 10424 h 18457"/>
                  <a:gd name="connsiteX4" fmla="*/ 10379 w 18306"/>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57">
                    <a:moveTo>
                      <a:pt x="10379" y="18379"/>
                    </a:moveTo>
                    <a:cubicBezTo>
                      <a:pt x="15403" y="17721"/>
                      <a:pt x="18931" y="13056"/>
                      <a:pt x="18214" y="8032"/>
                    </a:cubicBezTo>
                    <a:cubicBezTo>
                      <a:pt x="17556" y="3008"/>
                      <a:pt x="12891" y="-580"/>
                      <a:pt x="7927" y="78"/>
                    </a:cubicBezTo>
                    <a:cubicBezTo>
                      <a:pt x="2903" y="736"/>
                      <a:pt x="-625" y="5401"/>
                      <a:pt x="93" y="10424"/>
                    </a:cubicBezTo>
                    <a:cubicBezTo>
                      <a:pt x="750" y="15508"/>
                      <a:pt x="5415" y="19037"/>
                      <a:pt x="10379" y="18379"/>
                    </a:cubicBezTo>
                    <a:close/>
                  </a:path>
                </a:pathLst>
              </a:custGeom>
              <a:grpFill/>
              <a:ln w="5978" cap="flat">
                <a:noFill/>
                <a:prstDash val="solid"/>
                <a:miter/>
              </a:ln>
            </p:spPr>
            <p:txBody>
              <a:bodyPr rtlCol="0" anchor="ctr"/>
              <a:lstStyle/>
              <a:p>
                <a:endParaRPr lang="en-GB"/>
              </a:p>
            </p:txBody>
          </p:sp>
        </p:grpSp>
        <p:grpSp>
          <p:nvGrpSpPr>
            <p:cNvPr id="9" name="Graphic 3">
              <a:extLst>
                <a:ext uri="{FF2B5EF4-FFF2-40B4-BE49-F238E27FC236}">
                  <a16:creationId xmlns:a16="http://schemas.microsoft.com/office/drawing/2014/main" id="{2D7DB9DE-06AF-4B48-B758-1DFCEC22CE49}"/>
                </a:ext>
              </a:extLst>
            </p:cNvPr>
            <p:cNvGrpSpPr/>
            <p:nvPr/>
          </p:nvGrpSpPr>
          <p:grpSpPr>
            <a:xfrm>
              <a:off x="8273809" y="3382078"/>
              <a:ext cx="189111" cy="20275"/>
              <a:chOff x="8273809" y="3382078"/>
              <a:chExt cx="189111" cy="20275"/>
            </a:xfrm>
            <a:grpFill/>
          </p:grpSpPr>
          <p:sp>
            <p:nvSpPr>
              <p:cNvPr id="5342" name="Vrije vorm: vorm 5341">
                <a:extLst>
                  <a:ext uri="{FF2B5EF4-FFF2-40B4-BE49-F238E27FC236}">
                    <a16:creationId xmlns:a16="http://schemas.microsoft.com/office/drawing/2014/main" id="{47DC2CA1-2F3F-4BC4-A0C9-4B28C2BBF8FE}"/>
                  </a:ext>
                </a:extLst>
              </p:cNvPr>
              <p:cNvSpPr/>
              <p:nvPr/>
            </p:nvSpPr>
            <p:spPr>
              <a:xfrm>
                <a:off x="8282482" y="3389793"/>
                <a:ext cx="171766" cy="4844"/>
              </a:xfrm>
              <a:custGeom>
                <a:avLst/>
                <a:gdLst>
                  <a:gd name="connsiteX0" fmla="*/ 171706 w 171766"/>
                  <a:gd name="connsiteY0" fmla="*/ 0 h 4844"/>
                  <a:gd name="connsiteX1" fmla="*/ 171766 w 171766"/>
                  <a:gd name="connsiteY1" fmla="*/ 3050 h 4844"/>
                  <a:gd name="connsiteX2" fmla="*/ 60 w 171766"/>
                  <a:gd name="connsiteY2" fmla="*/ 4844 h 4844"/>
                  <a:gd name="connsiteX3" fmla="*/ 0 w 171766"/>
                  <a:gd name="connsiteY3" fmla="*/ 1794 h 4844"/>
                </a:gdLst>
                <a:ahLst/>
                <a:cxnLst>
                  <a:cxn ang="0">
                    <a:pos x="connsiteX0" y="connsiteY0"/>
                  </a:cxn>
                  <a:cxn ang="0">
                    <a:pos x="connsiteX1" y="connsiteY1"/>
                  </a:cxn>
                  <a:cxn ang="0">
                    <a:pos x="connsiteX2" y="connsiteY2"/>
                  </a:cxn>
                  <a:cxn ang="0">
                    <a:pos x="connsiteX3" y="connsiteY3"/>
                  </a:cxn>
                </a:cxnLst>
                <a:rect l="l" t="t" r="r" b="b"/>
                <a:pathLst>
                  <a:path w="171766" h="4844">
                    <a:moveTo>
                      <a:pt x="171706" y="0"/>
                    </a:moveTo>
                    <a:lnTo>
                      <a:pt x="171766" y="3050"/>
                    </a:lnTo>
                    <a:lnTo>
                      <a:pt x="60" y="4844"/>
                    </a:lnTo>
                    <a:lnTo>
                      <a:pt x="0" y="1794"/>
                    </a:lnTo>
                    <a:close/>
                  </a:path>
                </a:pathLst>
              </a:custGeom>
              <a:grpFill/>
              <a:ln w="5978" cap="flat">
                <a:noFill/>
                <a:prstDash val="solid"/>
                <a:miter/>
              </a:ln>
            </p:spPr>
            <p:txBody>
              <a:bodyPr rtlCol="0" anchor="ctr"/>
              <a:lstStyle/>
              <a:p>
                <a:endParaRPr lang="en-GB"/>
              </a:p>
            </p:txBody>
          </p:sp>
          <p:sp>
            <p:nvSpPr>
              <p:cNvPr id="5343" name="Vrije vorm: vorm 5342">
                <a:extLst>
                  <a:ext uri="{FF2B5EF4-FFF2-40B4-BE49-F238E27FC236}">
                    <a16:creationId xmlns:a16="http://schemas.microsoft.com/office/drawing/2014/main" id="{AD2644AA-330C-4EB4-A365-D54670C51372}"/>
                  </a:ext>
                </a:extLst>
              </p:cNvPr>
              <p:cNvSpPr/>
              <p:nvPr/>
            </p:nvSpPr>
            <p:spPr>
              <a:xfrm>
                <a:off x="8444619" y="3382078"/>
                <a:ext cx="18301" cy="18421"/>
              </a:xfrm>
              <a:custGeom>
                <a:avLst/>
                <a:gdLst>
                  <a:gd name="connsiteX0" fmla="*/ 9032 w 18301"/>
                  <a:gd name="connsiteY0" fmla="*/ 1 h 18421"/>
                  <a:gd name="connsiteX1" fmla="*/ 18301 w 18301"/>
                  <a:gd name="connsiteY1" fmla="*/ 9091 h 18421"/>
                  <a:gd name="connsiteX2" fmla="*/ 9270 w 18301"/>
                  <a:gd name="connsiteY2" fmla="*/ 18421 h 18421"/>
                  <a:gd name="connsiteX3" fmla="*/ 1 w 18301"/>
                  <a:gd name="connsiteY3" fmla="*/ 9331 h 18421"/>
                  <a:gd name="connsiteX4" fmla="*/ 9032 w 1830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1">
                    <a:moveTo>
                      <a:pt x="9032" y="1"/>
                    </a:moveTo>
                    <a:cubicBezTo>
                      <a:pt x="14115" y="-59"/>
                      <a:pt x="18241" y="4008"/>
                      <a:pt x="18301" y="9091"/>
                    </a:cubicBezTo>
                    <a:cubicBezTo>
                      <a:pt x="18361" y="14175"/>
                      <a:pt x="14355" y="18362"/>
                      <a:pt x="9270" y="18421"/>
                    </a:cubicBezTo>
                    <a:cubicBezTo>
                      <a:pt x="4187" y="18481"/>
                      <a:pt x="61" y="14414"/>
                      <a:pt x="1" y="9331"/>
                    </a:cubicBezTo>
                    <a:cubicBezTo>
                      <a:pt x="-59" y="4247"/>
                      <a:pt x="3948" y="60"/>
                      <a:pt x="9032" y="1"/>
                    </a:cubicBezTo>
                    <a:close/>
                  </a:path>
                </a:pathLst>
              </a:custGeom>
              <a:grpFill/>
              <a:ln w="5978" cap="flat">
                <a:noFill/>
                <a:prstDash val="solid"/>
                <a:miter/>
              </a:ln>
            </p:spPr>
            <p:txBody>
              <a:bodyPr rtlCol="0" anchor="ctr"/>
              <a:lstStyle/>
              <a:p>
                <a:endParaRPr lang="en-GB"/>
              </a:p>
            </p:txBody>
          </p:sp>
          <p:sp>
            <p:nvSpPr>
              <p:cNvPr id="5344" name="Vrije vorm: vorm 5343">
                <a:extLst>
                  <a:ext uri="{FF2B5EF4-FFF2-40B4-BE49-F238E27FC236}">
                    <a16:creationId xmlns:a16="http://schemas.microsoft.com/office/drawing/2014/main" id="{C5FB27DB-FD26-4FC0-BC19-D0E29391A0C9}"/>
                  </a:ext>
                </a:extLst>
              </p:cNvPr>
              <p:cNvSpPr/>
              <p:nvPr/>
            </p:nvSpPr>
            <p:spPr>
              <a:xfrm>
                <a:off x="8273809" y="3383932"/>
                <a:ext cx="18302" cy="18421"/>
              </a:xfrm>
              <a:custGeom>
                <a:avLst/>
                <a:gdLst>
                  <a:gd name="connsiteX0" fmla="*/ 9032 w 18302"/>
                  <a:gd name="connsiteY0" fmla="*/ 1 h 18421"/>
                  <a:gd name="connsiteX1" fmla="*/ 1 w 18302"/>
                  <a:gd name="connsiteY1" fmla="*/ 9331 h 18421"/>
                  <a:gd name="connsiteX2" fmla="*/ 9271 w 18302"/>
                  <a:gd name="connsiteY2" fmla="*/ 18421 h 18421"/>
                  <a:gd name="connsiteX3" fmla="*/ 18302 w 18302"/>
                  <a:gd name="connsiteY3" fmla="*/ 9091 h 18421"/>
                  <a:gd name="connsiteX4" fmla="*/ 9032 w 18302"/>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2" y="1"/>
                    </a:moveTo>
                    <a:cubicBezTo>
                      <a:pt x="3948" y="61"/>
                      <a:pt x="-59" y="4247"/>
                      <a:pt x="1" y="9331"/>
                    </a:cubicBezTo>
                    <a:cubicBezTo>
                      <a:pt x="61" y="14414"/>
                      <a:pt x="4247" y="18481"/>
                      <a:pt x="9271" y="18421"/>
                    </a:cubicBezTo>
                    <a:cubicBezTo>
                      <a:pt x="14355" y="18362"/>
                      <a:pt x="18362" y="14175"/>
                      <a:pt x="18302" y="9091"/>
                    </a:cubicBezTo>
                    <a:cubicBezTo>
                      <a:pt x="18242" y="4008"/>
                      <a:pt x="14115" y="-59"/>
                      <a:pt x="9032" y="1"/>
                    </a:cubicBezTo>
                    <a:close/>
                  </a:path>
                </a:pathLst>
              </a:custGeom>
              <a:grpFill/>
              <a:ln w="5978" cap="flat">
                <a:noFill/>
                <a:prstDash val="solid"/>
                <a:miter/>
              </a:ln>
            </p:spPr>
            <p:txBody>
              <a:bodyPr rtlCol="0" anchor="ctr"/>
              <a:lstStyle/>
              <a:p>
                <a:endParaRPr lang="en-GB"/>
              </a:p>
            </p:txBody>
          </p:sp>
        </p:grpSp>
        <p:grpSp>
          <p:nvGrpSpPr>
            <p:cNvPr id="10" name="Graphic 3">
              <a:extLst>
                <a:ext uri="{FF2B5EF4-FFF2-40B4-BE49-F238E27FC236}">
                  <a16:creationId xmlns:a16="http://schemas.microsoft.com/office/drawing/2014/main" id="{B9394F9A-FFA9-46D5-AF5D-9160B24281B3}"/>
                </a:ext>
              </a:extLst>
            </p:cNvPr>
            <p:cNvGrpSpPr/>
            <p:nvPr/>
          </p:nvGrpSpPr>
          <p:grpSpPr>
            <a:xfrm>
              <a:off x="8293724" y="3467959"/>
              <a:ext cx="194498" cy="23150"/>
              <a:chOff x="8293724" y="3467959"/>
              <a:chExt cx="194498" cy="23150"/>
            </a:xfrm>
            <a:grpFill/>
          </p:grpSpPr>
          <p:sp>
            <p:nvSpPr>
              <p:cNvPr id="5339" name="Vrije vorm: vorm 5338">
                <a:extLst>
                  <a:ext uri="{FF2B5EF4-FFF2-40B4-BE49-F238E27FC236}">
                    <a16:creationId xmlns:a16="http://schemas.microsoft.com/office/drawing/2014/main" id="{1EB63C22-6C93-4979-9BB0-D057A96C0D73}"/>
                  </a:ext>
                </a:extLst>
              </p:cNvPr>
              <p:cNvSpPr/>
              <p:nvPr/>
            </p:nvSpPr>
            <p:spPr>
              <a:xfrm>
                <a:off x="8302398" y="3475617"/>
                <a:ext cx="177148" cy="7834"/>
              </a:xfrm>
              <a:custGeom>
                <a:avLst/>
                <a:gdLst>
                  <a:gd name="connsiteX0" fmla="*/ 177149 w 177148"/>
                  <a:gd name="connsiteY0" fmla="*/ 4785 h 7834"/>
                  <a:gd name="connsiteX1" fmla="*/ 177089 w 177148"/>
                  <a:gd name="connsiteY1" fmla="*/ 7835 h 7834"/>
                  <a:gd name="connsiteX2" fmla="*/ 0 w 177148"/>
                  <a:gd name="connsiteY2" fmla="*/ 3110 h 7834"/>
                  <a:gd name="connsiteX3" fmla="*/ 60 w 177148"/>
                  <a:gd name="connsiteY3" fmla="*/ 0 h 7834"/>
                </a:gdLst>
                <a:ahLst/>
                <a:cxnLst>
                  <a:cxn ang="0">
                    <a:pos x="connsiteX0" y="connsiteY0"/>
                  </a:cxn>
                  <a:cxn ang="0">
                    <a:pos x="connsiteX1" y="connsiteY1"/>
                  </a:cxn>
                  <a:cxn ang="0">
                    <a:pos x="connsiteX2" y="connsiteY2"/>
                  </a:cxn>
                  <a:cxn ang="0">
                    <a:pos x="connsiteX3" y="connsiteY3"/>
                  </a:cxn>
                </a:cxnLst>
                <a:rect l="l" t="t" r="r" b="b"/>
                <a:pathLst>
                  <a:path w="177148" h="7834">
                    <a:moveTo>
                      <a:pt x="177149" y="4785"/>
                    </a:moveTo>
                    <a:lnTo>
                      <a:pt x="177089" y="7835"/>
                    </a:lnTo>
                    <a:lnTo>
                      <a:pt x="0" y="3110"/>
                    </a:lnTo>
                    <a:lnTo>
                      <a:pt x="60" y="0"/>
                    </a:lnTo>
                    <a:close/>
                  </a:path>
                </a:pathLst>
              </a:custGeom>
              <a:grpFill/>
              <a:ln w="5978" cap="flat">
                <a:noFill/>
                <a:prstDash val="solid"/>
                <a:miter/>
              </a:ln>
            </p:spPr>
            <p:txBody>
              <a:bodyPr rtlCol="0" anchor="ctr"/>
              <a:lstStyle/>
              <a:p>
                <a:endParaRPr lang="en-GB"/>
              </a:p>
            </p:txBody>
          </p:sp>
          <p:sp>
            <p:nvSpPr>
              <p:cNvPr id="5340" name="Vrije vorm: vorm 5339">
                <a:extLst>
                  <a:ext uri="{FF2B5EF4-FFF2-40B4-BE49-F238E27FC236}">
                    <a16:creationId xmlns:a16="http://schemas.microsoft.com/office/drawing/2014/main" id="{A595354B-D8EA-4D8F-98E6-50913F775CD1}"/>
                  </a:ext>
                </a:extLst>
              </p:cNvPr>
              <p:cNvSpPr/>
              <p:nvPr/>
            </p:nvSpPr>
            <p:spPr>
              <a:xfrm>
                <a:off x="8469856" y="3472684"/>
                <a:ext cx="18366" cy="18425"/>
              </a:xfrm>
              <a:custGeom>
                <a:avLst/>
                <a:gdLst>
                  <a:gd name="connsiteX0" fmla="*/ 9393 w 18366"/>
                  <a:gd name="connsiteY0" fmla="*/ 3 h 18425"/>
                  <a:gd name="connsiteX1" fmla="*/ 18364 w 18366"/>
                  <a:gd name="connsiteY1" fmla="*/ 9452 h 18425"/>
                  <a:gd name="connsiteX2" fmla="*/ 8974 w 18366"/>
                  <a:gd name="connsiteY2" fmla="*/ 18423 h 18425"/>
                  <a:gd name="connsiteX3" fmla="*/ 3 w 18366"/>
                  <a:gd name="connsiteY3" fmla="*/ 8974 h 18425"/>
                  <a:gd name="connsiteX4" fmla="*/ 9393 w 18366"/>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3" y="3"/>
                    </a:moveTo>
                    <a:cubicBezTo>
                      <a:pt x="14476" y="122"/>
                      <a:pt x="18483" y="4369"/>
                      <a:pt x="18364" y="9452"/>
                    </a:cubicBezTo>
                    <a:cubicBezTo>
                      <a:pt x="18244" y="14536"/>
                      <a:pt x="14057" y="18543"/>
                      <a:pt x="8974" y="18423"/>
                    </a:cubicBezTo>
                    <a:cubicBezTo>
                      <a:pt x="3890" y="18304"/>
                      <a:pt x="-117" y="14057"/>
                      <a:pt x="3" y="8974"/>
                    </a:cubicBezTo>
                    <a:cubicBezTo>
                      <a:pt x="122" y="3890"/>
                      <a:pt x="4368" y="-117"/>
                      <a:pt x="9393" y="3"/>
                    </a:cubicBezTo>
                    <a:close/>
                  </a:path>
                </a:pathLst>
              </a:custGeom>
              <a:grpFill/>
              <a:ln w="5978" cap="flat">
                <a:noFill/>
                <a:prstDash val="solid"/>
                <a:miter/>
              </a:ln>
            </p:spPr>
            <p:txBody>
              <a:bodyPr rtlCol="0" anchor="ctr"/>
              <a:lstStyle/>
              <a:p>
                <a:endParaRPr lang="en-GB"/>
              </a:p>
            </p:txBody>
          </p:sp>
          <p:sp>
            <p:nvSpPr>
              <p:cNvPr id="5341" name="Vrije vorm: vorm 5340">
                <a:extLst>
                  <a:ext uri="{FF2B5EF4-FFF2-40B4-BE49-F238E27FC236}">
                    <a16:creationId xmlns:a16="http://schemas.microsoft.com/office/drawing/2014/main" id="{1196F975-2CFA-4B19-8C54-5D004C7A11E2}"/>
                  </a:ext>
                </a:extLst>
              </p:cNvPr>
              <p:cNvSpPr/>
              <p:nvPr/>
            </p:nvSpPr>
            <p:spPr>
              <a:xfrm>
                <a:off x="8293724" y="3467959"/>
                <a:ext cx="18363" cy="18425"/>
              </a:xfrm>
              <a:custGeom>
                <a:avLst/>
                <a:gdLst>
                  <a:gd name="connsiteX0" fmla="*/ 9392 w 18363"/>
                  <a:gd name="connsiteY0" fmla="*/ 3 h 18425"/>
                  <a:gd name="connsiteX1" fmla="*/ 3 w 18363"/>
                  <a:gd name="connsiteY1" fmla="*/ 8974 h 18425"/>
                  <a:gd name="connsiteX2" fmla="*/ 8974 w 18363"/>
                  <a:gd name="connsiteY2" fmla="*/ 18423 h 18425"/>
                  <a:gd name="connsiteX3" fmla="*/ 18363 w 18363"/>
                  <a:gd name="connsiteY3" fmla="*/ 9452 h 18425"/>
                  <a:gd name="connsiteX4" fmla="*/ 9392 w 18363"/>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5">
                    <a:moveTo>
                      <a:pt x="9392" y="3"/>
                    </a:moveTo>
                    <a:cubicBezTo>
                      <a:pt x="4309" y="-117"/>
                      <a:pt x="122" y="3890"/>
                      <a:pt x="3" y="8974"/>
                    </a:cubicBezTo>
                    <a:cubicBezTo>
                      <a:pt x="-117" y="14057"/>
                      <a:pt x="3890" y="18304"/>
                      <a:pt x="8974" y="18423"/>
                    </a:cubicBezTo>
                    <a:cubicBezTo>
                      <a:pt x="14057" y="18543"/>
                      <a:pt x="18243" y="14536"/>
                      <a:pt x="18363" y="9452"/>
                    </a:cubicBezTo>
                    <a:cubicBezTo>
                      <a:pt x="18423" y="4369"/>
                      <a:pt x="14416" y="182"/>
                      <a:pt x="9392" y="3"/>
                    </a:cubicBezTo>
                    <a:close/>
                  </a:path>
                </a:pathLst>
              </a:custGeom>
              <a:grpFill/>
              <a:ln w="5978" cap="flat">
                <a:noFill/>
                <a:prstDash val="solid"/>
                <a:miter/>
              </a:ln>
            </p:spPr>
            <p:txBody>
              <a:bodyPr rtlCol="0" anchor="ctr"/>
              <a:lstStyle/>
              <a:p>
                <a:endParaRPr lang="en-GB"/>
              </a:p>
            </p:txBody>
          </p:sp>
        </p:grpSp>
        <p:grpSp>
          <p:nvGrpSpPr>
            <p:cNvPr id="11" name="Graphic 3">
              <a:extLst>
                <a:ext uri="{FF2B5EF4-FFF2-40B4-BE49-F238E27FC236}">
                  <a16:creationId xmlns:a16="http://schemas.microsoft.com/office/drawing/2014/main" id="{0B5C74F5-0D05-4EBB-B27B-121D25A410FB}"/>
                </a:ext>
              </a:extLst>
            </p:cNvPr>
            <p:cNvGrpSpPr/>
            <p:nvPr/>
          </p:nvGrpSpPr>
          <p:grpSpPr>
            <a:xfrm>
              <a:off x="8115810" y="3083906"/>
              <a:ext cx="214132" cy="46416"/>
              <a:chOff x="8115810" y="3083906"/>
              <a:chExt cx="214132" cy="46416"/>
            </a:xfrm>
            <a:grpFill/>
          </p:grpSpPr>
          <p:sp>
            <p:nvSpPr>
              <p:cNvPr id="5336" name="Vrije vorm: vorm 5335">
                <a:extLst>
                  <a:ext uri="{FF2B5EF4-FFF2-40B4-BE49-F238E27FC236}">
                    <a16:creationId xmlns:a16="http://schemas.microsoft.com/office/drawing/2014/main" id="{49F4F5AB-AD59-4B8F-B1DF-F479AE390849}"/>
                  </a:ext>
                </a:extLst>
              </p:cNvPr>
              <p:cNvSpPr/>
              <p:nvPr/>
            </p:nvSpPr>
            <p:spPr>
              <a:xfrm>
                <a:off x="8124292" y="3091535"/>
                <a:ext cx="197184" cy="31159"/>
              </a:xfrm>
              <a:custGeom>
                <a:avLst/>
                <a:gdLst>
                  <a:gd name="connsiteX0" fmla="*/ 196706 w 197184"/>
                  <a:gd name="connsiteY0" fmla="*/ 0 h 31159"/>
                  <a:gd name="connsiteX1" fmla="*/ 197185 w 197184"/>
                  <a:gd name="connsiteY1" fmla="*/ 3050 h 31159"/>
                  <a:gd name="connsiteX2" fmla="*/ 419 w 197184"/>
                  <a:gd name="connsiteY2" fmla="*/ 31160 h 31159"/>
                  <a:gd name="connsiteX3" fmla="*/ 0 w 197184"/>
                  <a:gd name="connsiteY3" fmla="*/ 28169 h 31159"/>
                </a:gdLst>
                <a:ahLst/>
                <a:cxnLst>
                  <a:cxn ang="0">
                    <a:pos x="connsiteX0" y="connsiteY0"/>
                  </a:cxn>
                  <a:cxn ang="0">
                    <a:pos x="connsiteX1" y="connsiteY1"/>
                  </a:cxn>
                  <a:cxn ang="0">
                    <a:pos x="connsiteX2" y="connsiteY2"/>
                  </a:cxn>
                  <a:cxn ang="0">
                    <a:pos x="connsiteX3" y="connsiteY3"/>
                  </a:cxn>
                </a:cxnLst>
                <a:rect l="l" t="t" r="r" b="b"/>
                <a:pathLst>
                  <a:path w="197184" h="31159">
                    <a:moveTo>
                      <a:pt x="196706" y="0"/>
                    </a:moveTo>
                    <a:lnTo>
                      <a:pt x="197185" y="3050"/>
                    </a:lnTo>
                    <a:lnTo>
                      <a:pt x="419" y="31160"/>
                    </a:lnTo>
                    <a:lnTo>
                      <a:pt x="0" y="28169"/>
                    </a:lnTo>
                    <a:close/>
                  </a:path>
                </a:pathLst>
              </a:custGeom>
              <a:grpFill/>
              <a:ln w="5978" cap="flat">
                <a:noFill/>
                <a:prstDash val="solid"/>
                <a:miter/>
              </a:ln>
            </p:spPr>
            <p:txBody>
              <a:bodyPr rtlCol="0" anchor="ctr"/>
              <a:lstStyle/>
              <a:p>
                <a:endParaRPr lang="en-GB"/>
              </a:p>
            </p:txBody>
          </p:sp>
          <p:sp>
            <p:nvSpPr>
              <p:cNvPr id="5337" name="Vrije vorm: vorm 5336">
                <a:extLst>
                  <a:ext uri="{FF2B5EF4-FFF2-40B4-BE49-F238E27FC236}">
                    <a16:creationId xmlns:a16="http://schemas.microsoft.com/office/drawing/2014/main" id="{3BC72AD3-0AEF-4F7B-B835-972255441155}"/>
                  </a:ext>
                </a:extLst>
              </p:cNvPr>
              <p:cNvSpPr/>
              <p:nvPr/>
            </p:nvSpPr>
            <p:spPr>
              <a:xfrm>
                <a:off x="8311619" y="3083906"/>
                <a:ext cx="18324" cy="18426"/>
              </a:xfrm>
              <a:custGeom>
                <a:avLst/>
                <a:gdLst>
                  <a:gd name="connsiteX0" fmla="*/ 7824 w 18324"/>
                  <a:gd name="connsiteY0" fmla="*/ 93 h 18426"/>
                  <a:gd name="connsiteX1" fmla="*/ 18230 w 18324"/>
                  <a:gd name="connsiteY1" fmla="*/ 7927 h 18426"/>
                  <a:gd name="connsiteX2" fmla="*/ 10515 w 18324"/>
                  <a:gd name="connsiteY2" fmla="*/ 18334 h 18426"/>
                  <a:gd name="connsiteX3" fmla="*/ 109 w 18324"/>
                  <a:gd name="connsiteY3" fmla="*/ 10499 h 18426"/>
                  <a:gd name="connsiteX4" fmla="*/ 7824 w 18324"/>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6">
                    <a:moveTo>
                      <a:pt x="7824" y="93"/>
                    </a:moveTo>
                    <a:cubicBezTo>
                      <a:pt x="12848" y="-625"/>
                      <a:pt x="17512" y="2904"/>
                      <a:pt x="18230" y="7927"/>
                    </a:cubicBezTo>
                    <a:cubicBezTo>
                      <a:pt x="18948" y="12951"/>
                      <a:pt x="15479" y="17616"/>
                      <a:pt x="10515" y="18334"/>
                    </a:cubicBezTo>
                    <a:cubicBezTo>
                      <a:pt x="5491" y="19051"/>
                      <a:pt x="827" y="15523"/>
                      <a:pt x="109" y="10499"/>
                    </a:cubicBezTo>
                    <a:cubicBezTo>
                      <a:pt x="-669" y="5475"/>
                      <a:pt x="2800" y="810"/>
                      <a:pt x="7824" y="93"/>
                    </a:cubicBezTo>
                    <a:close/>
                  </a:path>
                </a:pathLst>
              </a:custGeom>
              <a:grpFill/>
              <a:ln w="5978" cap="flat">
                <a:noFill/>
                <a:prstDash val="solid"/>
                <a:miter/>
              </a:ln>
            </p:spPr>
            <p:txBody>
              <a:bodyPr rtlCol="0" anchor="ctr"/>
              <a:lstStyle/>
              <a:p>
                <a:endParaRPr lang="en-GB"/>
              </a:p>
            </p:txBody>
          </p:sp>
          <p:sp>
            <p:nvSpPr>
              <p:cNvPr id="5338" name="Vrije vorm: vorm 5337">
                <a:extLst>
                  <a:ext uri="{FF2B5EF4-FFF2-40B4-BE49-F238E27FC236}">
                    <a16:creationId xmlns:a16="http://schemas.microsoft.com/office/drawing/2014/main" id="{4336FDCF-19F1-4B8D-85B1-87B41A5DF062}"/>
                  </a:ext>
                </a:extLst>
              </p:cNvPr>
              <p:cNvSpPr/>
              <p:nvPr/>
            </p:nvSpPr>
            <p:spPr>
              <a:xfrm>
                <a:off x="8115810" y="3111896"/>
                <a:ext cx="18338" cy="18426"/>
              </a:xfrm>
              <a:custGeom>
                <a:avLst/>
                <a:gdLst>
                  <a:gd name="connsiteX0" fmla="*/ 7824 w 18338"/>
                  <a:gd name="connsiteY0" fmla="*/ 93 h 18426"/>
                  <a:gd name="connsiteX1" fmla="*/ 109 w 18338"/>
                  <a:gd name="connsiteY1" fmla="*/ 10499 h 18426"/>
                  <a:gd name="connsiteX2" fmla="*/ 10515 w 18338"/>
                  <a:gd name="connsiteY2" fmla="*/ 18334 h 18426"/>
                  <a:gd name="connsiteX3" fmla="*/ 18230 w 18338"/>
                  <a:gd name="connsiteY3" fmla="*/ 7927 h 18426"/>
                  <a:gd name="connsiteX4" fmla="*/ 7824 w 18338"/>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6">
                    <a:moveTo>
                      <a:pt x="7824" y="93"/>
                    </a:moveTo>
                    <a:cubicBezTo>
                      <a:pt x="2800" y="810"/>
                      <a:pt x="-669" y="5475"/>
                      <a:pt x="109" y="10499"/>
                    </a:cubicBezTo>
                    <a:cubicBezTo>
                      <a:pt x="827" y="15523"/>
                      <a:pt x="5491" y="19051"/>
                      <a:pt x="10515" y="18334"/>
                    </a:cubicBezTo>
                    <a:cubicBezTo>
                      <a:pt x="15539" y="17616"/>
                      <a:pt x="19008" y="12951"/>
                      <a:pt x="18230" y="7927"/>
                    </a:cubicBezTo>
                    <a:cubicBezTo>
                      <a:pt x="17452" y="2904"/>
                      <a:pt x="12847" y="-625"/>
                      <a:pt x="7824" y="93"/>
                    </a:cubicBezTo>
                    <a:close/>
                  </a:path>
                </a:pathLst>
              </a:custGeom>
              <a:grpFill/>
              <a:ln w="5978" cap="flat">
                <a:noFill/>
                <a:prstDash val="solid"/>
                <a:miter/>
              </a:ln>
            </p:spPr>
            <p:txBody>
              <a:bodyPr rtlCol="0" anchor="ctr"/>
              <a:lstStyle/>
              <a:p>
                <a:endParaRPr lang="en-GB"/>
              </a:p>
            </p:txBody>
          </p:sp>
        </p:grpSp>
        <p:grpSp>
          <p:nvGrpSpPr>
            <p:cNvPr id="12" name="Graphic 3">
              <a:extLst>
                <a:ext uri="{FF2B5EF4-FFF2-40B4-BE49-F238E27FC236}">
                  <a16:creationId xmlns:a16="http://schemas.microsoft.com/office/drawing/2014/main" id="{4D137D69-A0AB-4FD9-B3E8-1E48A3093ED4}"/>
                </a:ext>
              </a:extLst>
            </p:cNvPr>
            <p:cNvGrpSpPr/>
            <p:nvPr/>
          </p:nvGrpSpPr>
          <p:grpSpPr>
            <a:xfrm>
              <a:off x="7738709" y="3390087"/>
              <a:ext cx="1173190" cy="58742"/>
              <a:chOff x="7738709" y="3390087"/>
              <a:chExt cx="1173190" cy="58742"/>
            </a:xfrm>
            <a:grpFill/>
          </p:grpSpPr>
          <p:sp>
            <p:nvSpPr>
              <p:cNvPr id="5333" name="Vrije vorm: vorm 5332">
                <a:extLst>
                  <a:ext uri="{FF2B5EF4-FFF2-40B4-BE49-F238E27FC236}">
                    <a16:creationId xmlns:a16="http://schemas.microsoft.com/office/drawing/2014/main" id="{7A6FE1AE-1DC5-400D-912E-B4BA46E073F9}"/>
                  </a:ext>
                </a:extLst>
              </p:cNvPr>
              <p:cNvSpPr/>
              <p:nvPr/>
            </p:nvSpPr>
            <p:spPr>
              <a:xfrm>
                <a:off x="7747327" y="3397748"/>
                <a:ext cx="1155953" cy="43420"/>
              </a:xfrm>
              <a:custGeom>
                <a:avLst/>
                <a:gdLst>
                  <a:gd name="connsiteX0" fmla="*/ 1155954 w 1155953"/>
                  <a:gd name="connsiteY0" fmla="*/ 40370 h 43420"/>
                  <a:gd name="connsiteX1" fmla="*/ 1155834 w 1155953"/>
                  <a:gd name="connsiteY1" fmla="*/ 43420 h 43420"/>
                  <a:gd name="connsiteX2" fmla="*/ 0 w 1155953"/>
                  <a:gd name="connsiteY2" fmla="*/ 3050 h 43420"/>
                  <a:gd name="connsiteX3" fmla="*/ 59 w 1155953"/>
                  <a:gd name="connsiteY3" fmla="*/ 0 h 43420"/>
                </a:gdLst>
                <a:ahLst/>
                <a:cxnLst>
                  <a:cxn ang="0">
                    <a:pos x="connsiteX0" y="connsiteY0"/>
                  </a:cxn>
                  <a:cxn ang="0">
                    <a:pos x="connsiteX1" y="connsiteY1"/>
                  </a:cxn>
                  <a:cxn ang="0">
                    <a:pos x="connsiteX2" y="connsiteY2"/>
                  </a:cxn>
                  <a:cxn ang="0">
                    <a:pos x="connsiteX3" y="connsiteY3"/>
                  </a:cxn>
                </a:cxnLst>
                <a:rect l="l" t="t" r="r" b="b"/>
                <a:pathLst>
                  <a:path w="1155953" h="43420">
                    <a:moveTo>
                      <a:pt x="1155954" y="40370"/>
                    </a:moveTo>
                    <a:lnTo>
                      <a:pt x="1155834" y="43420"/>
                    </a:lnTo>
                    <a:lnTo>
                      <a:pt x="0" y="3050"/>
                    </a:lnTo>
                    <a:lnTo>
                      <a:pt x="59" y="0"/>
                    </a:lnTo>
                    <a:close/>
                  </a:path>
                </a:pathLst>
              </a:custGeom>
              <a:grpFill/>
              <a:ln w="5978" cap="flat">
                <a:noFill/>
                <a:prstDash val="solid"/>
                <a:miter/>
              </a:ln>
            </p:spPr>
            <p:txBody>
              <a:bodyPr rtlCol="0" anchor="ctr"/>
              <a:lstStyle/>
              <a:p>
                <a:endParaRPr lang="en-GB"/>
              </a:p>
            </p:txBody>
          </p:sp>
          <p:sp>
            <p:nvSpPr>
              <p:cNvPr id="5334" name="Vrije vorm: vorm 5333">
                <a:extLst>
                  <a:ext uri="{FF2B5EF4-FFF2-40B4-BE49-F238E27FC236}">
                    <a16:creationId xmlns:a16="http://schemas.microsoft.com/office/drawing/2014/main" id="{B122960B-0D4A-4F7D-AD7A-67A8A75FC007}"/>
                  </a:ext>
                </a:extLst>
              </p:cNvPr>
              <p:cNvSpPr/>
              <p:nvPr/>
            </p:nvSpPr>
            <p:spPr>
              <a:xfrm>
                <a:off x="7738709" y="3390087"/>
                <a:ext cx="18313" cy="18432"/>
              </a:xfrm>
              <a:custGeom>
                <a:avLst/>
                <a:gdLst>
                  <a:gd name="connsiteX0" fmla="*/ 8857 w 18313"/>
                  <a:gd name="connsiteY0" fmla="*/ 18426 h 18432"/>
                  <a:gd name="connsiteX1" fmla="*/ 6 w 18313"/>
                  <a:gd name="connsiteY1" fmla="*/ 8917 h 18432"/>
                  <a:gd name="connsiteX2" fmla="*/ 9455 w 18313"/>
                  <a:gd name="connsiteY2" fmla="*/ 6 h 18432"/>
                  <a:gd name="connsiteX3" fmla="*/ 18307 w 18313"/>
                  <a:gd name="connsiteY3" fmla="*/ 9515 h 18432"/>
                  <a:gd name="connsiteX4" fmla="*/ 8857 w 18313"/>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2">
                    <a:moveTo>
                      <a:pt x="8857" y="18426"/>
                    </a:moveTo>
                    <a:cubicBezTo>
                      <a:pt x="3774" y="18247"/>
                      <a:pt x="-174" y="14001"/>
                      <a:pt x="6" y="8917"/>
                    </a:cubicBezTo>
                    <a:cubicBezTo>
                      <a:pt x="185" y="3833"/>
                      <a:pt x="4372" y="-174"/>
                      <a:pt x="9455" y="6"/>
                    </a:cubicBezTo>
                    <a:cubicBezTo>
                      <a:pt x="14539" y="185"/>
                      <a:pt x="18486" y="4431"/>
                      <a:pt x="18307" y="9515"/>
                    </a:cubicBezTo>
                    <a:cubicBezTo>
                      <a:pt x="18128" y="14599"/>
                      <a:pt x="13882" y="18606"/>
                      <a:pt x="8857" y="18426"/>
                    </a:cubicBezTo>
                    <a:close/>
                  </a:path>
                </a:pathLst>
              </a:custGeom>
              <a:grpFill/>
              <a:ln w="5978" cap="flat">
                <a:noFill/>
                <a:prstDash val="solid"/>
                <a:miter/>
              </a:ln>
            </p:spPr>
            <p:txBody>
              <a:bodyPr rtlCol="0" anchor="ctr"/>
              <a:lstStyle/>
              <a:p>
                <a:endParaRPr lang="en-GB"/>
              </a:p>
            </p:txBody>
          </p:sp>
          <p:sp>
            <p:nvSpPr>
              <p:cNvPr id="5335" name="Vrije vorm: vorm 5334">
                <a:extLst>
                  <a:ext uri="{FF2B5EF4-FFF2-40B4-BE49-F238E27FC236}">
                    <a16:creationId xmlns:a16="http://schemas.microsoft.com/office/drawing/2014/main" id="{0A636427-7638-44BA-94A0-9CB859027C62}"/>
                  </a:ext>
                </a:extLst>
              </p:cNvPr>
              <p:cNvSpPr/>
              <p:nvPr/>
            </p:nvSpPr>
            <p:spPr>
              <a:xfrm>
                <a:off x="8893586" y="3430397"/>
                <a:ext cx="18312" cy="18432"/>
              </a:xfrm>
              <a:custGeom>
                <a:avLst/>
                <a:gdLst>
                  <a:gd name="connsiteX0" fmla="*/ 8857 w 18312"/>
                  <a:gd name="connsiteY0" fmla="*/ 18427 h 18432"/>
                  <a:gd name="connsiteX1" fmla="*/ 18307 w 18312"/>
                  <a:gd name="connsiteY1" fmla="*/ 9515 h 18432"/>
                  <a:gd name="connsiteX2" fmla="*/ 9456 w 18312"/>
                  <a:gd name="connsiteY2" fmla="*/ 6 h 18432"/>
                  <a:gd name="connsiteX3" fmla="*/ 6 w 18312"/>
                  <a:gd name="connsiteY3" fmla="*/ 8917 h 18432"/>
                  <a:gd name="connsiteX4" fmla="*/ 8857 w 1831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8857" y="18427"/>
                    </a:moveTo>
                    <a:cubicBezTo>
                      <a:pt x="13941" y="18606"/>
                      <a:pt x="18128" y="14599"/>
                      <a:pt x="18307" y="9515"/>
                    </a:cubicBezTo>
                    <a:cubicBezTo>
                      <a:pt x="18487" y="4432"/>
                      <a:pt x="14479" y="185"/>
                      <a:pt x="9456" y="6"/>
                    </a:cubicBezTo>
                    <a:cubicBezTo>
                      <a:pt x="4372" y="-174"/>
                      <a:pt x="185" y="3834"/>
                      <a:pt x="6" y="8917"/>
                    </a:cubicBezTo>
                    <a:cubicBezTo>
                      <a:pt x="-173" y="14001"/>
                      <a:pt x="3834" y="18247"/>
                      <a:pt x="8857" y="18427"/>
                    </a:cubicBezTo>
                    <a:close/>
                  </a:path>
                </a:pathLst>
              </a:custGeom>
              <a:grpFill/>
              <a:ln w="5978" cap="flat">
                <a:noFill/>
                <a:prstDash val="solid"/>
                <a:miter/>
              </a:ln>
            </p:spPr>
            <p:txBody>
              <a:bodyPr rtlCol="0" anchor="ctr"/>
              <a:lstStyle/>
              <a:p>
                <a:endParaRPr lang="en-GB"/>
              </a:p>
            </p:txBody>
          </p:sp>
        </p:grpSp>
        <p:grpSp>
          <p:nvGrpSpPr>
            <p:cNvPr id="13" name="Graphic 3">
              <a:extLst>
                <a:ext uri="{FF2B5EF4-FFF2-40B4-BE49-F238E27FC236}">
                  <a16:creationId xmlns:a16="http://schemas.microsoft.com/office/drawing/2014/main" id="{C8FEB63B-87C1-4947-B62C-AABFF98A9522}"/>
                </a:ext>
              </a:extLst>
            </p:cNvPr>
            <p:cNvGrpSpPr/>
            <p:nvPr/>
          </p:nvGrpSpPr>
          <p:grpSpPr>
            <a:xfrm>
              <a:off x="7539283" y="1562800"/>
              <a:ext cx="256641" cy="272331"/>
              <a:chOff x="7539283" y="1562800"/>
              <a:chExt cx="256641" cy="272331"/>
            </a:xfrm>
            <a:grpFill/>
          </p:grpSpPr>
          <p:sp>
            <p:nvSpPr>
              <p:cNvPr id="5330" name="Vrije vorm: vorm 5329">
                <a:extLst>
                  <a:ext uri="{FF2B5EF4-FFF2-40B4-BE49-F238E27FC236}">
                    <a16:creationId xmlns:a16="http://schemas.microsoft.com/office/drawing/2014/main" id="{BE7651F9-797A-4860-8388-7D711F28E73B}"/>
                  </a:ext>
                </a:extLst>
              </p:cNvPr>
              <p:cNvSpPr/>
              <p:nvPr/>
            </p:nvSpPr>
            <p:spPr>
              <a:xfrm>
                <a:off x="7547032" y="1570578"/>
                <a:ext cx="241083" cy="256692"/>
              </a:xfrm>
              <a:custGeom>
                <a:avLst/>
                <a:gdLst>
                  <a:gd name="connsiteX0" fmla="*/ 241083 w 241083"/>
                  <a:gd name="connsiteY0" fmla="*/ 2153 h 256692"/>
                  <a:gd name="connsiteX1" fmla="*/ 2214 w 241083"/>
                  <a:gd name="connsiteY1" fmla="*/ 256693 h 256692"/>
                  <a:gd name="connsiteX2" fmla="*/ 0 w 241083"/>
                  <a:gd name="connsiteY2" fmla="*/ 254599 h 256692"/>
                  <a:gd name="connsiteX3" fmla="*/ 238870 w 241083"/>
                  <a:gd name="connsiteY3" fmla="*/ 0 h 256692"/>
                </a:gdLst>
                <a:ahLst/>
                <a:cxnLst>
                  <a:cxn ang="0">
                    <a:pos x="connsiteX0" y="connsiteY0"/>
                  </a:cxn>
                  <a:cxn ang="0">
                    <a:pos x="connsiteX1" y="connsiteY1"/>
                  </a:cxn>
                  <a:cxn ang="0">
                    <a:pos x="connsiteX2" y="connsiteY2"/>
                  </a:cxn>
                  <a:cxn ang="0">
                    <a:pos x="connsiteX3" y="connsiteY3"/>
                  </a:cxn>
                </a:cxnLst>
                <a:rect l="l" t="t" r="r" b="b"/>
                <a:pathLst>
                  <a:path w="241083" h="256692">
                    <a:moveTo>
                      <a:pt x="241083" y="2153"/>
                    </a:moveTo>
                    <a:lnTo>
                      <a:pt x="2214" y="256693"/>
                    </a:lnTo>
                    <a:lnTo>
                      <a:pt x="0" y="254599"/>
                    </a:lnTo>
                    <a:lnTo>
                      <a:pt x="238870" y="0"/>
                    </a:lnTo>
                    <a:close/>
                  </a:path>
                </a:pathLst>
              </a:custGeom>
              <a:grpFill/>
              <a:ln w="5978" cap="flat">
                <a:noFill/>
                <a:prstDash val="solid"/>
                <a:miter/>
              </a:ln>
            </p:spPr>
            <p:txBody>
              <a:bodyPr rtlCol="0" anchor="ctr"/>
              <a:lstStyle/>
              <a:p>
                <a:endParaRPr lang="en-GB"/>
              </a:p>
            </p:txBody>
          </p:sp>
          <p:sp>
            <p:nvSpPr>
              <p:cNvPr id="5331" name="Vrije vorm: vorm 5330">
                <a:extLst>
                  <a:ext uri="{FF2B5EF4-FFF2-40B4-BE49-F238E27FC236}">
                    <a16:creationId xmlns:a16="http://schemas.microsoft.com/office/drawing/2014/main" id="{B24298B6-6085-4377-BBB0-DCFCAB1A0571}"/>
                  </a:ext>
                </a:extLst>
              </p:cNvPr>
              <p:cNvSpPr/>
              <p:nvPr/>
            </p:nvSpPr>
            <p:spPr>
              <a:xfrm>
                <a:off x="7777555" y="1562800"/>
                <a:ext cx="18370" cy="18426"/>
              </a:xfrm>
              <a:custGeom>
                <a:avLst/>
                <a:gdLst>
                  <a:gd name="connsiteX0" fmla="*/ 2487 w 18370"/>
                  <a:gd name="connsiteY0" fmla="*/ 2874 h 18426"/>
                  <a:gd name="connsiteX1" fmla="*/ 15465 w 18370"/>
                  <a:gd name="connsiteY1" fmla="*/ 2515 h 18426"/>
                  <a:gd name="connsiteX2" fmla="*/ 15884 w 18370"/>
                  <a:gd name="connsiteY2" fmla="*/ 15553 h 18426"/>
                  <a:gd name="connsiteX3" fmla="*/ 2905 w 18370"/>
                  <a:gd name="connsiteY3" fmla="*/ 15912 h 18426"/>
                  <a:gd name="connsiteX4" fmla="*/ 2487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7" y="2874"/>
                    </a:moveTo>
                    <a:cubicBezTo>
                      <a:pt x="5956" y="-834"/>
                      <a:pt x="11757" y="-954"/>
                      <a:pt x="15465" y="2515"/>
                    </a:cubicBezTo>
                    <a:cubicBezTo>
                      <a:pt x="19173" y="6043"/>
                      <a:pt x="19352" y="11845"/>
                      <a:pt x="15884" y="15553"/>
                    </a:cubicBezTo>
                    <a:cubicBezTo>
                      <a:pt x="12415" y="19261"/>
                      <a:pt x="6613" y="19380"/>
                      <a:pt x="2905" y="15912"/>
                    </a:cubicBezTo>
                    <a:cubicBezTo>
                      <a:pt x="-803" y="12383"/>
                      <a:pt x="-982" y="6522"/>
                      <a:pt x="2487" y="2874"/>
                    </a:cubicBezTo>
                    <a:close/>
                  </a:path>
                </a:pathLst>
              </a:custGeom>
              <a:grpFill/>
              <a:ln w="5978" cap="flat">
                <a:noFill/>
                <a:prstDash val="solid"/>
                <a:miter/>
              </a:ln>
            </p:spPr>
            <p:txBody>
              <a:bodyPr rtlCol="0" anchor="ctr"/>
              <a:lstStyle/>
              <a:p>
                <a:endParaRPr lang="en-GB"/>
              </a:p>
            </p:txBody>
          </p:sp>
          <p:sp>
            <p:nvSpPr>
              <p:cNvPr id="5332" name="Vrije vorm: vorm 5331">
                <a:extLst>
                  <a:ext uri="{FF2B5EF4-FFF2-40B4-BE49-F238E27FC236}">
                    <a16:creationId xmlns:a16="http://schemas.microsoft.com/office/drawing/2014/main" id="{E2502148-BCAD-4265-AC16-A87BB6AB0DD3}"/>
                  </a:ext>
                </a:extLst>
              </p:cNvPr>
              <p:cNvSpPr/>
              <p:nvPr/>
            </p:nvSpPr>
            <p:spPr>
              <a:xfrm>
                <a:off x="7539283" y="1816658"/>
                <a:ext cx="18370" cy="18472"/>
              </a:xfrm>
              <a:custGeom>
                <a:avLst/>
                <a:gdLst>
                  <a:gd name="connsiteX0" fmla="*/ 2487 w 18370"/>
                  <a:gd name="connsiteY0" fmla="*/ 2897 h 18472"/>
                  <a:gd name="connsiteX1" fmla="*/ 2905 w 18370"/>
                  <a:gd name="connsiteY1" fmla="*/ 15935 h 18472"/>
                  <a:gd name="connsiteX2" fmla="*/ 15884 w 18370"/>
                  <a:gd name="connsiteY2" fmla="*/ 15576 h 18472"/>
                  <a:gd name="connsiteX3" fmla="*/ 15465 w 18370"/>
                  <a:gd name="connsiteY3" fmla="*/ 2538 h 18472"/>
                  <a:gd name="connsiteX4" fmla="*/ 2487 w 18370"/>
                  <a:gd name="connsiteY4" fmla="*/ 2897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72">
                    <a:moveTo>
                      <a:pt x="2487" y="2897"/>
                    </a:moveTo>
                    <a:cubicBezTo>
                      <a:pt x="-982" y="6605"/>
                      <a:pt x="-803" y="12406"/>
                      <a:pt x="2905" y="15935"/>
                    </a:cubicBezTo>
                    <a:cubicBezTo>
                      <a:pt x="6613" y="19464"/>
                      <a:pt x="12414" y="19284"/>
                      <a:pt x="15884" y="15576"/>
                    </a:cubicBezTo>
                    <a:cubicBezTo>
                      <a:pt x="19352" y="11868"/>
                      <a:pt x="19173" y="6067"/>
                      <a:pt x="15465" y="2538"/>
                    </a:cubicBezTo>
                    <a:cubicBezTo>
                      <a:pt x="11757" y="-991"/>
                      <a:pt x="5956" y="-811"/>
                      <a:pt x="2487" y="2897"/>
                    </a:cubicBezTo>
                    <a:close/>
                  </a:path>
                </a:pathLst>
              </a:custGeom>
              <a:grpFill/>
              <a:ln w="5978" cap="flat">
                <a:noFill/>
                <a:prstDash val="solid"/>
                <a:miter/>
              </a:ln>
            </p:spPr>
            <p:txBody>
              <a:bodyPr rtlCol="0" anchor="ctr"/>
              <a:lstStyle/>
              <a:p>
                <a:endParaRPr lang="en-GB"/>
              </a:p>
            </p:txBody>
          </p:sp>
        </p:grpSp>
        <p:grpSp>
          <p:nvGrpSpPr>
            <p:cNvPr id="14" name="Graphic 3">
              <a:extLst>
                <a:ext uri="{FF2B5EF4-FFF2-40B4-BE49-F238E27FC236}">
                  <a16:creationId xmlns:a16="http://schemas.microsoft.com/office/drawing/2014/main" id="{165908B4-087E-42DD-98D5-812C13F8ECBC}"/>
                </a:ext>
              </a:extLst>
            </p:cNvPr>
            <p:cNvGrpSpPr/>
            <p:nvPr/>
          </p:nvGrpSpPr>
          <p:grpSpPr>
            <a:xfrm>
              <a:off x="7874988" y="2991452"/>
              <a:ext cx="483836" cy="102862"/>
              <a:chOff x="7874988" y="2991452"/>
              <a:chExt cx="483836" cy="102862"/>
            </a:xfrm>
            <a:grpFill/>
          </p:grpSpPr>
          <p:sp>
            <p:nvSpPr>
              <p:cNvPr id="5327" name="Vrije vorm: vorm 5326">
                <a:extLst>
                  <a:ext uri="{FF2B5EF4-FFF2-40B4-BE49-F238E27FC236}">
                    <a16:creationId xmlns:a16="http://schemas.microsoft.com/office/drawing/2014/main" id="{E04FD85D-13DA-469E-8C87-FA8EDA0705E8}"/>
                  </a:ext>
                </a:extLst>
              </p:cNvPr>
              <p:cNvSpPr/>
              <p:nvPr/>
            </p:nvSpPr>
            <p:spPr>
              <a:xfrm>
                <a:off x="7883389" y="2999073"/>
                <a:ext cx="466974" cy="87617"/>
              </a:xfrm>
              <a:custGeom>
                <a:avLst/>
                <a:gdLst>
                  <a:gd name="connsiteX0" fmla="*/ 466377 w 466974"/>
                  <a:gd name="connsiteY0" fmla="*/ 0 h 87617"/>
                  <a:gd name="connsiteX1" fmla="*/ 466975 w 466974"/>
                  <a:gd name="connsiteY1" fmla="*/ 2990 h 87617"/>
                  <a:gd name="connsiteX2" fmla="*/ 538 w 466974"/>
                  <a:gd name="connsiteY2" fmla="*/ 87618 h 87617"/>
                  <a:gd name="connsiteX3" fmla="*/ 0 w 466974"/>
                  <a:gd name="connsiteY3" fmla="*/ 84627 h 87617"/>
                </a:gdLst>
                <a:ahLst/>
                <a:cxnLst>
                  <a:cxn ang="0">
                    <a:pos x="connsiteX0" y="connsiteY0"/>
                  </a:cxn>
                  <a:cxn ang="0">
                    <a:pos x="connsiteX1" y="connsiteY1"/>
                  </a:cxn>
                  <a:cxn ang="0">
                    <a:pos x="connsiteX2" y="connsiteY2"/>
                  </a:cxn>
                  <a:cxn ang="0">
                    <a:pos x="connsiteX3" y="connsiteY3"/>
                  </a:cxn>
                </a:cxnLst>
                <a:rect l="l" t="t" r="r" b="b"/>
                <a:pathLst>
                  <a:path w="466974" h="87617">
                    <a:moveTo>
                      <a:pt x="466377" y="0"/>
                    </a:moveTo>
                    <a:lnTo>
                      <a:pt x="466975" y="2990"/>
                    </a:lnTo>
                    <a:lnTo>
                      <a:pt x="538" y="87618"/>
                    </a:lnTo>
                    <a:lnTo>
                      <a:pt x="0" y="84627"/>
                    </a:lnTo>
                    <a:close/>
                  </a:path>
                </a:pathLst>
              </a:custGeom>
              <a:grpFill/>
              <a:ln w="5978" cap="flat">
                <a:noFill/>
                <a:prstDash val="solid"/>
                <a:miter/>
              </a:ln>
            </p:spPr>
            <p:txBody>
              <a:bodyPr rtlCol="0" anchor="ctr"/>
              <a:lstStyle/>
              <a:p>
                <a:endParaRPr lang="en-GB"/>
              </a:p>
            </p:txBody>
          </p:sp>
          <p:sp>
            <p:nvSpPr>
              <p:cNvPr id="5328" name="Vrije vorm: vorm 5327">
                <a:extLst>
                  <a:ext uri="{FF2B5EF4-FFF2-40B4-BE49-F238E27FC236}">
                    <a16:creationId xmlns:a16="http://schemas.microsoft.com/office/drawing/2014/main" id="{69E2E0E5-0901-4CE5-84B1-CC06DE377872}"/>
                  </a:ext>
                </a:extLst>
              </p:cNvPr>
              <p:cNvSpPr/>
              <p:nvPr/>
            </p:nvSpPr>
            <p:spPr>
              <a:xfrm>
                <a:off x="8340449" y="2991452"/>
                <a:ext cx="18374" cy="18412"/>
              </a:xfrm>
              <a:custGeom>
                <a:avLst/>
                <a:gdLst>
                  <a:gd name="connsiteX0" fmla="*/ 7522 w 18374"/>
                  <a:gd name="connsiteY0" fmla="*/ 145 h 18412"/>
                  <a:gd name="connsiteX1" fmla="*/ 18227 w 18374"/>
                  <a:gd name="connsiteY1" fmla="*/ 7561 h 18412"/>
                  <a:gd name="connsiteX2" fmla="*/ 10871 w 18374"/>
                  <a:gd name="connsiteY2" fmla="*/ 18267 h 18412"/>
                  <a:gd name="connsiteX3" fmla="*/ 166 w 18374"/>
                  <a:gd name="connsiteY3" fmla="*/ 10851 h 18412"/>
                  <a:gd name="connsiteX4" fmla="*/ 7522 w 18374"/>
                  <a:gd name="connsiteY4" fmla="*/ 145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12">
                    <a:moveTo>
                      <a:pt x="7522" y="145"/>
                    </a:moveTo>
                    <a:cubicBezTo>
                      <a:pt x="12485" y="-752"/>
                      <a:pt x="17270" y="2598"/>
                      <a:pt x="18227" y="7561"/>
                    </a:cubicBezTo>
                    <a:cubicBezTo>
                      <a:pt x="19125" y="12585"/>
                      <a:pt x="15835" y="17370"/>
                      <a:pt x="10871" y="18267"/>
                    </a:cubicBezTo>
                    <a:cubicBezTo>
                      <a:pt x="5907" y="19164"/>
                      <a:pt x="1123" y="15815"/>
                      <a:pt x="166" y="10851"/>
                    </a:cubicBezTo>
                    <a:cubicBezTo>
                      <a:pt x="-792" y="5827"/>
                      <a:pt x="2498" y="1042"/>
                      <a:pt x="7522" y="145"/>
                    </a:cubicBezTo>
                    <a:close/>
                  </a:path>
                </a:pathLst>
              </a:custGeom>
              <a:grpFill/>
              <a:ln w="5978" cap="flat">
                <a:noFill/>
                <a:prstDash val="solid"/>
                <a:miter/>
              </a:ln>
            </p:spPr>
            <p:txBody>
              <a:bodyPr rtlCol="0" anchor="ctr"/>
              <a:lstStyle/>
              <a:p>
                <a:endParaRPr lang="en-GB"/>
              </a:p>
            </p:txBody>
          </p:sp>
          <p:sp>
            <p:nvSpPr>
              <p:cNvPr id="5329" name="Vrije vorm: vorm 5328">
                <a:extLst>
                  <a:ext uri="{FF2B5EF4-FFF2-40B4-BE49-F238E27FC236}">
                    <a16:creationId xmlns:a16="http://schemas.microsoft.com/office/drawing/2014/main" id="{26048E5F-8D18-4D27-988E-C234054AE0E5}"/>
                  </a:ext>
                </a:extLst>
              </p:cNvPr>
              <p:cNvSpPr/>
              <p:nvPr/>
            </p:nvSpPr>
            <p:spPr>
              <a:xfrm>
                <a:off x="7874988" y="3075899"/>
                <a:ext cx="18356" cy="18414"/>
              </a:xfrm>
              <a:custGeom>
                <a:avLst/>
                <a:gdLst>
                  <a:gd name="connsiteX0" fmla="*/ 7504 w 18356"/>
                  <a:gd name="connsiteY0" fmla="*/ 145 h 18414"/>
                  <a:gd name="connsiteX1" fmla="*/ 147 w 18356"/>
                  <a:gd name="connsiteY1" fmla="*/ 10851 h 18414"/>
                  <a:gd name="connsiteX2" fmla="*/ 10852 w 18356"/>
                  <a:gd name="connsiteY2" fmla="*/ 18267 h 18414"/>
                  <a:gd name="connsiteX3" fmla="*/ 18209 w 18356"/>
                  <a:gd name="connsiteY3" fmla="*/ 7562 h 18414"/>
                  <a:gd name="connsiteX4" fmla="*/ 7504 w 18356"/>
                  <a:gd name="connsiteY4" fmla="*/ 14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4">
                    <a:moveTo>
                      <a:pt x="7504" y="145"/>
                    </a:moveTo>
                    <a:cubicBezTo>
                      <a:pt x="2539" y="1042"/>
                      <a:pt x="-750" y="5827"/>
                      <a:pt x="147" y="10851"/>
                    </a:cubicBezTo>
                    <a:cubicBezTo>
                      <a:pt x="1044" y="15875"/>
                      <a:pt x="5829" y="19164"/>
                      <a:pt x="10852" y="18267"/>
                    </a:cubicBezTo>
                    <a:cubicBezTo>
                      <a:pt x="15817" y="17370"/>
                      <a:pt x="19106" y="12585"/>
                      <a:pt x="18209" y="7562"/>
                    </a:cubicBezTo>
                    <a:cubicBezTo>
                      <a:pt x="17252" y="2598"/>
                      <a:pt x="12467" y="-752"/>
                      <a:pt x="7504" y="145"/>
                    </a:cubicBezTo>
                    <a:close/>
                  </a:path>
                </a:pathLst>
              </a:custGeom>
              <a:grpFill/>
              <a:ln w="5978" cap="flat">
                <a:noFill/>
                <a:prstDash val="solid"/>
                <a:miter/>
              </a:ln>
            </p:spPr>
            <p:txBody>
              <a:bodyPr rtlCol="0" anchor="ctr"/>
              <a:lstStyle/>
              <a:p>
                <a:endParaRPr lang="en-GB"/>
              </a:p>
            </p:txBody>
          </p:sp>
        </p:grpSp>
        <p:grpSp>
          <p:nvGrpSpPr>
            <p:cNvPr id="15" name="Graphic 3">
              <a:extLst>
                <a:ext uri="{FF2B5EF4-FFF2-40B4-BE49-F238E27FC236}">
                  <a16:creationId xmlns:a16="http://schemas.microsoft.com/office/drawing/2014/main" id="{CD7B65CF-F9D4-4A21-9722-6EB663EE2F88}"/>
                </a:ext>
              </a:extLst>
            </p:cNvPr>
            <p:cNvGrpSpPr/>
            <p:nvPr/>
          </p:nvGrpSpPr>
          <p:grpSpPr>
            <a:xfrm>
              <a:off x="7855213" y="2612713"/>
              <a:ext cx="276346" cy="117644"/>
              <a:chOff x="7855213" y="2612713"/>
              <a:chExt cx="276346" cy="117644"/>
            </a:xfrm>
            <a:grpFill/>
          </p:grpSpPr>
          <p:sp>
            <p:nvSpPr>
              <p:cNvPr id="5324" name="Vrije vorm: vorm 5323">
                <a:extLst>
                  <a:ext uri="{FF2B5EF4-FFF2-40B4-BE49-F238E27FC236}">
                    <a16:creationId xmlns:a16="http://schemas.microsoft.com/office/drawing/2014/main" id="{92324759-FACB-4A03-84AD-B6BB75695E33}"/>
                  </a:ext>
                </a:extLst>
              </p:cNvPr>
              <p:cNvSpPr/>
              <p:nvPr/>
            </p:nvSpPr>
            <p:spPr>
              <a:xfrm>
                <a:off x="7863156" y="2620137"/>
                <a:ext cx="259923" cy="102406"/>
              </a:xfrm>
              <a:custGeom>
                <a:avLst/>
                <a:gdLst>
                  <a:gd name="connsiteX0" fmla="*/ 0 w 259923"/>
                  <a:gd name="connsiteY0" fmla="*/ 99560 h 102406"/>
                  <a:gd name="connsiteX1" fmla="*/ 258829 w 259923"/>
                  <a:gd name="connsiteY1" fmla="*/ 0 h 102406"/>
                  <a:gd name="connsiteX2" fmla="*/ 259924 w 259923"/>
                  <a:gd name="connsiteY2" fmla="*/ 2847 h 102406"/>
                  <a:gd name="connsiteX3" fmla="*/ 1095 w 259923"/>
                  <a:gd name="connsiteY3" fmla="*/ 102407 h 102406"/>
                </a:gdLst>
                <a:ahLst/>
                <a:cxnLst>
                  <a:cxn ang="0">
                    <a:pos x="connsiteX0" y="connsiteY0"/>
                  </a:cxn>
                  <a:cxn ang="0">
                    <a:pos x="connsiteX1" y="connsiteY1"/>
                  </a:cxn>
                  <a:cxn ang="0">
                    <a:pos x="connsiteX2" y="connsiteY2"/>
                  </a:cxn>
                  <a:cxn ang="0">
                    <a:pos x="connsiteX3" y="connsiteY3"/>
                  </a:cxn>
                </a:cxnLst>
                <a:rect l="l" t="t" r="r" b="b"/>
                <a:pathLst>
                  <a:path w="259923" h="102406">
                    <a:moveTo>
                      <a:pt x="0" y="99560"/>
                    </a:moveTo>
                    <a:lnTo>
                      <a:pt x="258829" y="0"/>
                    </a:lnTo>
                    <a:lnTo>
                      <a:pt x="259924" y="2847"/>
                    </a:lnTo>
                    <a:lnTo>
                      <a:pt x="1095" y="102407"/>
                    </a:lnTo>
                    <a:close/>
                  </a:path>
                </a:pathLst>
              </a:custGeom>
              <a:grpFill/>
              <a:ln w="5978" cap="flat">
                <a:noFill/>
                <a:prstDash val="solid"/>
                <a:miter/>
              </a:ln>
            </p:spPr>
            <p:txBody>
              <a:bodyPr rtlCol="0" anchor="ctr"/>
              <a:lstStyle/>
              <a:p>
                <a:endParaRPr lang="en-GB"/>
              </a:p>
            </p:txBody>
          </p:sp>
          <p:sp>
            <p:nvSpPr>
              <p:cNvPr id="5325" name="Vrije vorm: vorm 5324">
                <a:extLst>
                  <a:ext uri="{FF2B5EF4-FFF2-40B4-BE49-F238E27FC236}">
                    <a16:creationId xmlns:a16="http://schemas.microsoft.com/office/drawing/2014/main" id="{24BB863D-2E52-4A6E-9CB8-A3B777C89CBA}"/>
                  </a:ext>
                </a:extLst>
              </p:cNvPr>
              <p:cNvSpPr/>
              <p:nvPr/>
            </p:nvSpPr>
            <p:spPr>
              <a:xfrm>
                <a:off x="8113197" y="2612713"/>
                <a:ext cx="18362" cy="18431"/>
              </a:xfrm>
              <a:custGeom>
                <a:avLst/>
                <a:gdLst>
                  <a:gd name="connsiteX0" fmla="*/ 5892 w 18362"/>
                  <a:gd name="connsiteY0" fmla="*/ 603 h 18431"/>
                  <a:gd name="connsiteX1" fmla="*/ 17733 w 18362"/>
                  <a:gd name="connsiteY1" fmla="*/ 5926 h 18431"/>
                  <a:gd name="connsiteX2" fmla="*/ 12470 w 18362"/>
                  <a:gd name="connsiteY2" fmla="*/ 17828 h 18431"/>
                  <a:gd name="connsiteX3" fmla="*/ 628 w 18362"/>
                  <a:gd name="connsiteY3" fmla="*/ 12505 h 18431"/>
                  <a:gd name="connsiteX4" fmla="*/ 5892 w 18362"/>
                  <a:gd name="connsiteY4" fmla="*/ 603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31">
                    <a:moveTo>
                      <a:pt x="5892" y="603"/>
                    </a:moveTo>
                    <a:cubicBezTo>
                      <a:pt x="10617" y="-1191"/>
                      <a:pt x="15939" y="1142"/>
                      <a:pt x="17733" y="5926"/>
                    </a:cubicBezTo>
                    <a:cubicBezTo>
                      <a:pt x="19588" y="10651"/>
                      <a:pt x="17195" y="16034"/>
                      <a:pt x="12470" y="17828"/>
                    </a:cubicBezTo>
                    <a:cubicBezTo>
                      <a:pt x="7746" y="19622"/>
                      <a:pt x="2423" y="17290"/>
                      <a:pt x="628" y="12505"/>
                    </a:cubicBezTo>
                    <a:cubicBezTo>
                      <a:pt x="-1225" y="7721"/>
                      <a:pt x="1167" y="2398"/>
                      <a:pt x="5892" y="603"/>
                    </a:cubicBezTo>
                    <a:close/>
                  </a:path>
                </a:pathLst>
              </a:custGeom>
              <a:grpFill/>
              <a:ln w="5978" cap="flat">
                <a:noFill/>
                <a:prstDash val="solid"/>
                <a:miter/>
              </a:ln>
            </p:spPr>
            <p:txBody>
              <a:bodyPr rtlCol="0" anchor="ctr"/>
              <a:lstStyle/>
              <a:p>
                <a:endParaRPr lang="en-GB"/>
              </a:p>
            </p:txBody>
          </p:sp>
          <p:sp>
            <p:nvSpPr>
              <p:cNvPr id="5326" name="Vrije vorm: vorm 5325">
                <a:extLst>
                  <a:ext uri="{FF2B5EF4-FFF2-40B4-BE49-F238E27FC236}">
                    <a16:creationId xmlns:a16="http://schemas.microsoft.com/office/drawing/2014/main" id="{66F71B95-882A-4A90-889B-C37B621DECAE}"/>
                  </a:ext>
                </a:extLst>
              </p:cNvPr>
              <p:cNvSpPr/>
              <p:nvPr/>
            </p:nvSpPr>
            <p:spPr>
              <a:xfrm>
                <a:off x="7855213" y="2711933"/>
                <a:ext cx="18313" cy="18424"/>
              </a:xfrm>
              <a:custGeom>
                <a:avLst/>
                <a:gdLst>
                  <a:gd name="connsiteX0" fmla="*/ 5867 w 18313"/>
                  <a:gd name="connsiteY0" fmla="*/ 603 h 18424"/>
                  <a:gd name="connsiteX1" fmla="*/ 604 w 18313"/>
                  <a:gd name="connsiteY1" fmla="*/ 12505 h 18424"/>
                  <a:gd name="connsiteX2" fmla="*/ 12446 w 18313"/>
                  <a:gd name="connsiteY2" fmla="*/ 17828 h 18424"/>
                  <a:gd name="connsiteX3" fmla="*/ 17710 w 18313"/>
                  <a:gd name="connsiteY3" fmla="*/ 5926 h 18424"/>
                  <a:gd name="connsiteX4" fmla="*/ 5867 w 18313"/>
                  <a:gd name="connsiteY4" fmla="*/ 60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4">
                    <a:moveTo>
                      <a:pt x="5867" y="603"/>
                    </a:moveTo>
                    <a:cubicBezTo>
                      <a:pt x="1143" y="2398"/>
                      <a:pt x="-1190" y="7721"/>
                      <a:pt x="604" y="12505"/>
                    </a:cubicBezTo>
                    <a:cubicBezTo>
                      <a:pt x="2399" y="17230"/>
                      <a:pt x="7721" y="19622"/>
                      <a:pt x="12446" y="17828"/>
                    </a:cubicBezTo>
                    <a:cubicBezTo>
                      <a:pt x="17171" y="16034"/>
                      <a:pt x="19503" y="10711"/>
                      <a:pt x="17710" y="5926"/>
                    </a:cubicBezTo>
                    <a:cubicBezTo>
                      <a:pt x="15915" y="1142"/>
                      <a:pt x="10592" y="-1191"/>
                      <a:pt x="5867" y="603"/>
                    </a:cubicBezTo>
                    <a:close/>
                  </a:path>
                </a:pathLst>
              </a:custGeom>
              <a:grpFill/>
              <a:ln w="5978" cap="flat">
                <a:noFill/>
                <a:prstDash val="solid"/>
                <a:miter/>
              </a:ln>
            </p:spPr>
            <p:txBody>
              <a:bodyPr rtlCol="0" anchor="ctr"/>
              <a:lstStyle/>
              <a:p>
                <a:endParaRPr lang="en-GB"/>
              </a:p>
            </p:txBody>
          </p:sp>
        </p:grpSp>
        <p:grpSp>
          <p:nvGrpSpPr>
            <p:cNvPr id="16" name="Graphic 3">
              <a:extLst>
                <a:ext uri="{FF2B5EF4-FFF2-40B4-BE49-F238E27FC236}">
                  <a16:creationId xmlns:a16="http://schemas.microsoft.com/office/drawing/2014/main" id="{E5246265-49A0-427E-8BDD-18524958F805}"/>
                </a:ext>
              </a:extLst>
            </p:cNvPr>
            <p:cNvGrpSpPr/>
            <p:nvPr/>
          </p:nvGrpSpPr>
          <p:grpSpPr>
            <a:xfrm>
              <a:off x="7998348" y="2984771"/>
              <a:ext cx="171345" cy="49174"/>
              <a:chOff x="7998348" y="2984771"/>
              <a:chExt cx="171345" cy="49174"/>
            </a:xfrm>
            <a:grpFill/>
          </p:grpSpPr>
          <p:sp>
            <p:nvSpPr>
              <p:cNvPr id="5321" name="Vrije vorm: vorm 5320">
                <a:extLst>
                  <a:ext uri="{FF2B5EF4-FFF2-40B4-BE49-F238E27FC236}">
                    <a16:creationId xmlns:a16="http://schemas.microsoft.com/office/drawing/2014/main" id="{00E54A8D-2049-4F0B-9DD0-357D5FCAEA5A}"/>
                  </a:ext>
                </a:extLst>
              </p:cNvPr>
              <p:cNvSpPr/>
              <p:nvPr/>
            </p:nvSpPr>
            <p:spPr>
              <a:xfrm>
                <a:off x="8006771" y="2992434"/>
                <a:ext cx="154541" cy="33910"/>
              </a:xfrm>
              <a:custGeom>
                <a:avLst/>
                <a:gdLst>
                  <a:gd name="connsiteX0" fmla="*/ 153884 w 154541"/>
                  <a:gd name="connsiteY0" fmla="*/ 0 h 33910"/>
                  <a:gd name="connsiteX1" fmla="*/ 154542 w 154541"/>
                  <a:gd name="connsiteY1" fmla="*/ 2990 h 33910"/>
                  <a:gd name="connsiteX2" fmla="*/ 598 w 154541"/>
                  <a:gd name="connsiteY2" fmla="*/ 33911 h 33910"/>
                  <a:gd name="connsiteX3" fmla="*/ 0 w 154541"/>
                  <a:gd name="connsiteY3" fmla="*/ 30920 h 33910"/>
                </a:gdLst>
                <a:ahLst/>
                <a:cxnLst>
                  <a:cxn ang="0">
                    <a:pos x="connsiteX0" y="connsiteY0"/>
                  </a:cxn>
                  <a:cxn ang="0">
                    <a:pos x="connsiteX1" y="connsiteY1"/>
                  </a:cxn>
                  <a:cxn ang="0">
                    <a:pos x="connsiteX2" y="connsiteY2"/>
                  </a:cxn>
                  <a:cxn ang="0">
                    <a:pos x="connsiteX3" y="connsiteY3"/>
                  </a:cxn>
                </a:cxnLst>
                <a:rect l="l" t="t" r="r" b="b"/>
                <a:pathLst>
                  <a:path w="154541" h="33910">
                    <a:moveTo>
                      <a:pt x="153884" y="0"/>
                    </a:moveTo>
                    <a:lnTo>
                      <a:pt x="154542" y="2990"/>
                    </a:lnTo>
                    <a:lnTo>
                      <a:pt x="598" y="33911"/>
                    </a:lnTo>
                    <a:lnTo>
                      <a:pt x="0" y="30920"/>
                    </a:lnTo>
                    <a:close/>
                  </a:path>
                </a:pathLst>
              </a:custGeom>
              <a:grpFill/>
              <a:ln w="5978" cap="flat">
                <a:noFill/>
                <a:prstDash val="solid"/>
                <a:miter/>
              </a:ln>
            </p:spPr>
            <p:txBody>
              <a:bodyPr rtlCol="0" anchor="ctr"/>
              <a:lstStyle/>
              <a:p>
                <a:endParaRPr lang="en-GB"/>
              </a:p>
            </p:txBody>
          </p:sp>
          <p:sp>
            <p:nvSpPr>
              <p:cNvPr id="5322" name="Vrije vorm: vorm 5321">
                <a:extLst>
                  <a:ext uri="{FF2B5EF4-FFF2-40B4-BE49-F238E27FC236}">
                    <a16:creationId xmlns:a16="http://schemas.microsoft.com/office/drawing/2014/main" id="{1BE3333C-E3F9-40CB-912E-C027869BEBF0}"/>
                  </a:ext>
                </a:extLst>
              </p:cNvPr>
              <p:cNvSpPr/>
              <p:nvPr/>
            </p:nvSpPr>
            <p:spPr>
              <a:xfrm>
                <a:off x="8151320" y="2984771"/>
                <a:ext cx="18373" cy="18435"/>
              </a:xfrm>
              <a:custGeom>
                <a:avLst/>
                <a:gdLst>
                  <a:gd name="connsiteX0" fmla="*/ 7361 w 18373"/>
                  <a:gd name="connsiteY0" fmla="*/ 187 h 18435"/>
                  <a:gd name="connsiteX1" fmla="*/ 18187 w 18373"/>
                  <a:gd name="connsiteY1" fmla="*/ 7424 h 18435"/>
                  <a:gd name="connsiteX2" fmla="*/ 11010 w 18373"/>
                  <a:gd name="connsiteY2" fmla="*/ 18249 h 18435"/>
                  <a:gd name="connsiteX3" fmla="*/ 185 w 18373"/>
                  <a:gd name="connsiteY3" fmla="*/ 11012 h 18435"/>
                  <a:gd name="connsiteX4" fmla="*/ 7361 w 18373"/>
                  <a:gd name="connsiteY4" fmla="*/ 187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35">
                    <a:moveTo>
                      <a:pt x="7361" y="187"/>
                    </a:moveTo>
                    <a:cubicBezTo>
                      <a:pt x="12326" y="-830"/>
                      <a:pt x="17170" y="2400"/>
                      <a:pt x="18187" y="7424"/>
                    </a:cubicBezTo>
                    <a:cubicBezTo>
                      <a:pt x="19203" y="12447"/>
                      <a:pt x="15974" y="17292"/>
                      <a:pt x="11010" y="18249"/>
                    </a:cubicBezTo>
                    <a:cubicBezTo>
                      <a:pt x="6046" y="19266"/>
                      <a:pt x="1202" y="16036"/>
                      <a:pt x="185" y="11012"/>
                    </a:cubicBezTo>
                    <a:cubicBezTo>
                      <a:pt x="-832" y="5988"/>
                      <a:pt x="2458" y="1204"/>
                      <a:pt x="7361" y="187"/>
                    </a:cubicBezTo>
                    <a:close/>
                  </a:path>
                </a:pathLst>
              </a:custGeom>
              <a:grpFill/>
              <a:ln w="5978" cap="flat">
                <a:noFill/>
                <a:prstDash val="solid"/>
                <a:miter/>
              </a:ln>
            </p:spPr>
            <p:txBody>
              <a:bodyPr rtlCol="0" anchor="ctr"/>
              <a:lstStyle/>
              <a:p>
                <a:endParaRPr lang="en-GB"/>
              </a:p>
            </p:txBody>
          </p:sp>
          <p:sp>
            <p:nvSpPr>
              <p:cNvPr id="5323" name="Vrije vorm: vorm 5322">
                <a:extLst>
                  <a:ext uri="{FF2B5EF4-FFF2-40B4-BE49-F238E27FC236}">
                    <a16:creationId xmlns:a16="http://schemas.microsoft.com/office/drawing/2014/main" id="{8B7A7F04-0F12-49C0-A1D6-1DE44E8DC681}"/>
                  </a:ext>
                </a:extLst>
              </p:cNvPr>
              <p:cNvSpPr/>
              <p:nvPr/>
            </p:nvSpPr>
            <p:spPr>
              <a:xfrm>
                <a:off x="7998348" y="3015531"/>
                <a:ext cx="18341" cy="18414"/>
              </a:xfrm>
              <a:custGeom>
                <a:avLst/>
                <a:gdLst>
                  <a:gd name="connsiteX0" fmla="*/ 7347 w 18341"/>
                  <a:gd name="connsiteY0" fmla="*/ 168 h 18414"/>
                  <a:gd name="connsiteX1" fmla="*/ 170 w 18341"/>
                  <a:gd name="connsiteY1" fmla="*/ 10993 h 18414"/>
                  <a:gd name="connsiteX2" fmla="*/ 10995 w 18341"/>
                  <a:gd name="connsiteY2" fmla="*/ 18230 h 18414"/>
                  <a:gd name="connsiteX3" fmla="*/ 18172 w 18341"/>
                  <a:gd name="connsiteY3" fmla="*/ 7405 h 18414"/>
                  <a:gd name="connsiteX4" fmla="*/ 7347 w 18341"/>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14">
                    <a:moveTo>
                      <a:pt x="7347" y="168"/>
                    </a:moveTo>
                    <a:cubicBezTo>
                      <a:pt x="2383" y="1185"/>
                      <a:pt x="-787" y="6029"/>
                      <a:pt x="170" y="10993"/>
                    </a:cubicBezTo>
                    <a:cubicBezTo>
                      <a:pt x="1127" y="15957"/>
                      <a:pt x="6031" y="19246"/>
                      <a:pt x="10995" y="18230"/>
                    </a:cubicBezTo>
                    <a:cubicBezTo>
                      <a:pt x="15959" y="17213"/>
                      <a:pt x="19129" y="12369"/>
                      <a:pt x="18172" y="7405"/>
                    </a:cubicBezTo>
                    <a:cubicBezTo>
                      <a:pt x="17155" y="2441"/>
                      <a:pt x="12311" y="-789"/>
                      <a:pt x="7347" y="168"/>
                    </a:cubicBezTo>
                    <a:close/>
                  </a:path>
                </a:pathLst>
              </a:custGeom>
              <a:grpFill/>
              <a:ln w="5978" cap="flat">
                <a:noFill/>
                <a:prstDash val="solid"/>
                <a:miter/>
              </a:ln>
            </p:spPr>
            <p:txBody>
              <a:bodyPr rtlCol="0" anchor="ctr"/>
              <a:lstStyle/>
              <a:p>
                <a:endParaRPr lang="en-GB"/>
              </a:p>
            </p:txBody>
          </p:sp>
        </p:grpSp>
        <p:grpSp>
          <p:nvGrpSpPr>
            <p:cNvPr id="17" name="Graphic 3">
              <a:extLst>
                <a:ext uri="{FF2B5EF4-FFF2-40B4-BE49-F238E27FC236}">
                  <a16:creationId xmlns:a16="http://schemas.microsoft.com/office/drawing/2014/main" id="{F123963C-153D-4911-A682-642A78C390FA}"/>
                </a:ext>
              </a:extLst>
            </p:cNvPr>
            <p:cNvGrpSpPr/>
            <p:nvPr/>
          </p:nvGrpSpPr>
          <p:grpSpPr>
            <a:xfrm>
              <a:off x="7612206" y="2073158"/>
              <a:ext cx="357364" cy="255907"/>
              <a:chOff x="7612206" y="2073158"/>
              <a:chExt cx="357364" cy="255907"/>
            </a:xfrm>
            <a:grpFill/>
          </p:grpSpPr>
          <p:sp>
            <p:nvSpPr>
              <p:cNvPr id="5318" name="Vrije vorm: vorm 5317">
                <a:extLst>
                  <a:ext uri="{FF2B5EF4-FFF2-40B4-BE49-F238E27FC236}">
                    <a16:creationId xmlns:a16="http://schemas.microsoft.com/office/drawing/2014/main" id="{74FBC809-8968-407A-8470-7FF329E8ECB7}"/>
                  </a:ext>
                </a:extLst>
              </p:cNvPr>
              <p:cNvSpPr/>
              <p:nvPr/>
            </p:nvSpPr>
            <p:spPr>
              <a:xfrm>
                <a:off x="7620117" y="2080853"/>
                <a:ext cx="341499" cy="240544"/>
              </a:xfrm>
              <a:custGeom>
                <a:avLst/>
                <a:gdLst>
                  <a:gd name="connsiteX0" fmla="*/ 341499 w 341499"/>
                  <a:gd name="connsiteY0" fmla="*/ 2512 h 240544"/>
                  <a:gd name="connsiteX1" fmla="*/ 1734 w 341499"/>
                  <a:gd name="connsiteY1" fmla="*/ 240545 h 240544"/>
                  <a:gd name="connsiteX2" fmla="*/ 0 w 341499"/>
                  <a:gd name="connsiteY2" fmla="*/ 238033 h 240544"/>
                  <a:gd name="connsiteX3" fmla="*/ 339764 w 341499"/>
                  <a:gd name="connsiteY3" fmla="*/ 0 h 240544"/>
                </a:gdLst>
                <a:ahLst/>
                <a:cxnLst>
                  <a:cxn ang="0">
                    <a:pos x="connsiteX0" y="connsiteY0"/>
                  </a:cxn>
                  <a:cxn ang="0">
                    <a:pos x="connsiteX1" y="connsiteY1"/>
                  </a:cxn>
                  <a:cxn ang="0">
                    <a:pos x="connsiteX2" y="connsiteY2"/>
                  </a:cxn>
                  <a:cxn ang="0">
                    <a:pos x="connsiteX3" y="connsiteY3"/>
                  </a:cxn>
                </a:cxnLst>
                <a:rect l="l" t="t" r="r" b="b"/>
                <a:pathLst>
                  <a:path w="341499" h="240544">
                    <a:moveTo>
                      <a:pt x="341499" y="2512"/>
                    </a:moveTo>
                    <a:lnTo>
                      <a:pt x="1734" y="240545"/>
                    </a:lnTo>
                    <a:lnTo>
                      <a:pt x="0" y="238033"/>
                    </a:lnTo>
                    <a:lnTo>
                      <a:pt x="339764" y="0"/>
                    </a:lnTo>
                    <a:close/>
                  </a:path>
                </a:pathLst>
              </a:custGeom>
              <a:grpFill/>
              <a:ln w="5978" cap="flat">
                <a:noFill/>
                <a:prstDash val="solid"/>
                <a:miter/>
              </a:ln>
            </p:spPr>
            <p:txBody>
              <a:bodyPr rtlCol="0" anchor="ctr"/>
              <a:lstStyle/>
              <a:p>
                <a:endParaRPr lang="en-GB"/>
              </a:p>
            </p:txBody>
          </p:sp>
          <p:sp>
            <p:nvSpPr>
              <p:cNvPr id="5319" name="Vrije vorm: vorm 5318">
                <a:extLst>
                  <a:ext uri="{FF2B5EF4-FFF2-40B4-BE49-F238E27FC236}">
                    <a16:creationId xmlns:a16="http://schemas.microsoft.com/office/drawing/2014/main" id="{0F69AC86-07E3-4069-AC7B-941336D73C6D}"/>
                  </a:ext>
                </a:extLst>
              </p:cNvPr>
              <p:cNvSpPr/>
              <p:nvPr/>
            </p:nvSpPr>
            <p:spPr>
              <a:xfrm>
                <a:off x="7951237" y="2073158"/>
                <a:ext cx="18333" cy="18439"/>
              </a:xfrm>
              <a:custGeom>
                <a:avLst/>
                <a:gdLst>
                  <a:gd name="connsiteX0" fmla="*/ 3921 w 18333"/>
                  <a:gd name="connsiteY0" fmla="*/ 1654 h 18439"/>
                  <a:gd name="connsiteX1" fmla="*/ 16660 w 18333"/>
                  <a:gd name="connsiteY1" fmla="*/ 3987 h 18439"/>
                  <a:gd name="connsiteX2" fmla="*/ 14387 w 18333"/>
                  <a:gd name="connsiteY2" fmla="*/ 16785 h 18439"/>
                  <a:gd name="connsiteX3" fmla="*/ 1648 w 18333"/>
                  <a:gd name="connsiteY3" fmla="*/ 14453 h 18439"/>
                  <a:gd name="connsiteX4" fmla="*/ 3921 w 18333"/>
                  <a:gd name="connsiteY4" fmla="*/ 165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9">
                    <a:moveTo>
                      <a:pt x="3921" y="1654"/>
                    </a:moveTo>
                    <a:cubicBezTo>
                      <a:pt x="8047" y="-1276"/>
                      <a:pt x="13788" y="-200"/>
                      <a:pt x="16660" y="3987"/>
                    </a:cubicBezTo>
                    <a:cubicBezTo>
                      <a:pt x="19590" y="8173"/>
                      <a:pt x="18573" y="13915"/>
                      <a:pt x="14387" y="16785"/>
                    </a:cubicBezTo>
                    <a:cubicBezTo>
                      <a:pt x="10260" y="19716"/>
                      <a:pt x="4519" y="18639"/>
                      <a:pt x="1648" y="14453"/>
                    </a:cubicBezTo>
                    <a:cubicBezTo>
                      <a:pt x="-1223" y="10326"/>
                      <a:pt x="-266" y="4585"/>
                      <a:pt x="3921" y="1654"/>
                    </a:cubicBezTo>
                    <a:close/>
                  </a:path>
                </a:pathLst>
              </a:custGeom>
              <a:grpFill/>
              <a:ln w="5978" cap="flat">
                <a:noFill/>
                <a:prstDash val="solid"/>
                <a:miter/>
              </a:ln>
            </p:spPr>
            <p:txBody>
              <a:bodyPr rtlCol="0" anchor="ctr"/>
              <a:lstStyle/>
              <a:p>
                <a:endParaRPr lang="en-GB"/>
              </a:p>
            </p:txBody>
          </p:sp>
          <p:sp>
            <p:nvSpPr>
              <p:cNvPr id="5320" name="Vrije vorm: vorm 5319">
                <a:extLst>
                  <a:ext uri="{FF2B5EF4-FFF2-40B4-BE49-F238E27FC236}">
                    <a16:creationId xmlns:a16="http://schemas.microsoft.com/office/drawing/2014/main" id="{6BD8397A-7974-4CF2-BE03-C5C0AE42EB15}"/>
                  </a:ext>
                </a:extLst>
              </p:cNvPr>
              <p:cNvSpPr/>
              <p:nvPr/>
            </p:nvSpPr>
            <p:spPr>
              <a:xfrm>
                <a:off x="7612206" y="2310679"/>
                <a:ext cx="18274" cy="18387"/>
              </a:xfrm>
              <a:custGeom>
                <a:avLst/>
                <a:gdLst>
                  <a:gd name="connsiteX0" fmla="*/ 3904 w 18274"/>
                  <a:gd name="connsiteY0" fmla="*/ 1628 h 18387"/>
                  <a:gd name="connsiteX1" fmla="*/ 1631 w 18274"/>
                  <a:gd name="connsiteY1" fmla="*/ 14427 h 18387"/>
                  <a:gd name="connsiteX2" fmla="*/ 14370 w 18274"/>
                  <a:gd name="connsiteY2" fmla="*/ 16759 h 18387"/>
                  <a:gd name="connsiteX3" fmla="*/ 16643 w 18274"/>
                  <a:gd name="connsiteY3" fmla="*/ 3960 h 18387"/>
                  <a:gd name="connsiteX4" fmla="*/ 3904 w 18274"/>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3904" y="1628"/>
                    </a:moveTo>
                    <a:cubicBezTo>
                      <a:pt x="-222" y="4559"/>
                      <a:pt x="-1239" y="10300"/>
                      <a:pt x="1631" y="14427"/>
                    </a:cubicBezTo>
                    <a:cubicBezTo>
                      <a:pt x="4562" y="18613"/>
                      <a:pt x="10244" y="19630"/>
                      <a:pt x="14370" y="16759"/>
                    </a:cubicBezTo>
                    <a:cubicBezTo>
                      <a:pt x="18497" y="13829"/>
                      <a:pt x="19514" y="8087"/>
                      <a:pt x="16643" y="3960"/>
                    </a:cubicBezTo>
                    <a:cubicBezTo>
                      <a:pt x="13772" y="-226"/>
                      <a:pt x="8031" y="-1243"/>
                      <a:pt x="3904" y="1628"/>
                    </a:cubicBezTo>
                    <a:close/>
                  </a:path>
                </a:pathLst>
              </a:custGeom>
              <a:grpFill/>
              <a:ln w="5978" cap="flat">
                <a:noFill/>
                <a:prstDash val="solid"/>
                <a:miter/>
              </a:ln>
            </p:spPr>
            <p:txBody>
              <a:bodyPr rtlCol="0" anchor="ctr"/>
              <a:lstStyle/>
              <a:p>
                <a:endParaRPr lang="en-GB"/>
              </a:p>
            </p:txBody>
          </p:sp>
        </p:grpSp>
        <p:grpSp>
          <p:nvGrpSpPr>
            <p:cNvPr id="18" name="Graphic 3">
              <a:extLst>
                <a:ext uri="{FF2B5EF4-FFF2-40B4-BE49-F238E27FC236}">
                  <a16:creationId xmlns:a16="http://schemas.microsoft.com/office/drawing/2014/main" id="{49C932BA-BBD4-4D00-8561-A6FDB08FBDA7}"/>
                </a:ext>
              </a:extLst>
            </p:cNvPr>
            <p:cNvGrpSpPr/>
            <p:nvPr/>
          </p:nvGrpSpPr>
          <p:grpSpPr>
            <a:xfrm>
              <a:off x="7962514" y="3423165"/>
              <a:ext cx="503038" cy="22308"/>
              <a:chOff x="7962514" y="3423165"/>
              <a:chExt cx="503038" cy="22308"/>
            </a:xfrm>
            <a:grpFill/>
          </p:grpSpPr>
          <p:sp>
            <p:nvSpPr>
              <p:cNvPr id="5315" name="Vrije vorm: vorm 5314">
                <a:extLst>
                  <a:ext uri="{FF2B5EF4-FFF2-40B4-BE49-F238E27FC236}">
                    <a16:creationId xmlns:a16="http://schemas.microsoft.com/office/drawing/2014/main" id="{D1C86020-07FC-45CD-9275-439B99100D86}"/>
                  </a:ext>
                </a:extLst>
              </p:cNvPr>
              <p:cNvSpPr/>
              <p:nvPr/>
            </p:nvSpPr>
            <p:spPr>
              <a:xfrm>
                <a:off x="7971245" y="3430881"/>
                <a:ext cx="485575" cy="6937"/>
              </a:xfrm>
              <a:custGeom>
                <a:avLst/>
                <a:gdLst>
                  <a:gd name="connsiteX0" fmla="*/ 485575 w 485575"/>
                  <a:gd name="connsiteY0" fmla="*/ 3887 h 6937"/>
                  <a:gd name="connsiteX1" fmla="*/ 485515 w 485575"/>
                  <a:gd name="connsiteY1" fmla="*/ 6938 h 6937"/>
                  <a:gd name="connsiteX2" fmla="*/ 0 w 485575"/>
                  <a:gd name="connsiteY2" fmla="*/ 3050 h 6937"/>
                  <a:gd name="connsiteX3" fmla="*/ 0 w 485575"/>
                  <a:gd name="connsiteY3" fmla="*/ 0 h 6937"/>
                </a:gdLst>
                <a:ahLst/>
                <a:cxnLst>
                  <a:cxn ang="0">
                    <a:pos x="connsiteX0" y="connsiteY0"/>
                  </a:cxn>
                  <a:cxn ang="0">
                    <a:pos x="connsiteX1" y="connsiteY1"/>
                  </a:cxn>
                  <a:cxn ang="0">
                    <a:pos x="connsiteX2" y="connsiteY2"/>
                  </a:cxn>
                  <a:cxn ang="0">
                    <a:pos x="connsiteX3" y="connsiteY3"/>
                  </a:cxn>
                </a:cxnLst>
                <a:rect l="l" t="t" r="r" b="b"/>
                <a:pathLst>
                  <a:path w="485575" h="6937">
                    <a:moveTo>
                      <a:pt x="485575" y="3887"/>
                    </a:moveTo>
                    <a:lnTo>
                      <a:pt x="485515" y="6938"/>
                    </a:lnTo>
                    <a:lnTo>
                      <a:pt x="0" y="3050"/>
                    </a:lnTo>
                    <a:lnTo>
                      <a:pt x="0" y="0"/>
                    </a:lnTo>
                    <a:close/>
                  </a:path>
                </a:pathLst>
              </a:custGeom>
              <a:grpFill/>
              <a:ln w="5978" cap="flat">
                <a:noFill/>
                <a:prstDash val="solid"/>
                <a:miter/>
              </a:ln>
            </p:spPr>
            <p:txBody>
              <a:bodyPr rtlCol="0" anchor="ctr"/>
              <a:lstStyle/>
              <a:p>
                <a:endParaRPr lang="en-GB"/>
              </a:p>
            </p:txBody>
          </p:sp>
          <p:sp>
            <p:nvSpPr>
              <p:cNvPr id="5316" name="Vrije vorm: vorm 5315">
                <a:extLst>
                  <a:ext uri="{FF2B5EF4-FFF2-40B4-BE49-F238E27FC236}">
                    <a16:creationId xmlns:a16="http://schemas.microsoft.com/office/drawing/2014/main" id="{47170E0D-EF1C-41EB-A3C4-0F7741F4F11F}"/>
                  </a:ext>
                </a:extLst>
              </p:cNvPr>
              <p:cNvSpPr/>
              <p:nvPr/>
            </p:nvSpPr>
            <p:spPr>
              <a:xfrm>
                <a:off x="8447191" y="3427053"/>
                <a:ext cx="18361" cy="18420"/>
              </a:xfrm>
              <a:custGeom>
                <a:avLst/>
                <a:gdLst>
                  <a:gd name="connsiteX0" fmla="*/ 9211 w 18361"/>
                  <a:gd name="connsiteY0" fmla="*/ 0 h 18420"/>
                  <a:gd name="connsiteX1" fmla="*/ 18361 w 18361"/>
                  <a:gd name="connsiteY1" fmla="*/ 9270 h 18420"/>
                  <a:gd name="connsiteX2" fmla="*/ 9151 w 18361"/>
                  <a:gd name="connsiteY2" fmla="*/ 18421 h 18420"/>
                  <a:gd name="connsiteX3" fmla="*/ 0 w 18361"/>
                  <a:gd name="connsiteY3" fmla="*/ 9150 h 18420"/>
                  <a:gd name="connsiteX4" fmla="*/ 9211 w 18361"/>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9211" y="0"/>
                    </a:moveTo>
                    <a:cubicBezTo>
                      <a:pt x="14294" y="60"/>
                      <a:pt x="18361" y="4187"/>
                      <a:pt x="18361" y="9270"/>
                    </a:cubicBezTo>
                    <a:cubicBezTo>
                      <a:pt x="18361" y="14354"/>
                      <a:pt x="14234" y="18421"/>
                      <a:pt x="9151" y="18421"/>
                    </a:cubicBezTo>
                    <a:cubicBezTo>
                      <a:pt x="4067" y="18361"/>
                      <a:pt x="0" y="14234"/>
                      <a:pt x="0" y="9150"/>
                    </a:cubicBezTo>
                    <a:cubicBezTo>
                      <a:pt x="0" y="4067"/>
                      <a:pt x="4127" y="0"/>
                      <a:pt x="9211" y="0"/>
                    </a:cubicBezTo>
                    <a:close/>
                  </a:path>
                </a:pathLst>
              </a:custGeom>
              <a:grpFill/>
              <a:ln w="5978" cap="flat">
                <a:noFill/>
                <a:prstDash val="solid"/>
                <a:miter/>
              </a:ln>
            </p:spPr>
            <p:txBody>
              <a:bodyPr rtlCol="0" anchor="ctr"/>
              <a:lstStyle/>
              <a:p>
                <a:endParaRPr lang="en-GB"/>
              </a:p>
            </p:txBody>
          </p:sp>
          <p:sp>
            <p:nvSpPr>
              <p:cNvPr id="5317" name="Vrije vorm: vorm 5316">
                <a:extLst>
                  <a:ext uri="{FF2B5EF4-FFF2-40B4-BE49-F238E27FC236}">
                    <a16:creationId xmlns:a16="http://schemas.microsoft.com/office/drawing/2014/main" id="{1D01EEF5-24BF-4377-B992-E46E8C742068}"/>
                  </a:ext>
                </a:extLst>
              </p:cNvPr>
              <p:cNvSpPr/>
              <p:nvPr/>
            </p:nvSpPr>
            <p:spPr>
              <a:xfrm>
                <a:off x="7962514" y="3423165"/>
                <a:ext cx="18360" cy="18421"/>
              </a:xfrm>
              <a:custGeom>
                <a:avLst/>
                <a:gdLst>
                  <a:gd name="connsiteX0" fmla="*/ 9210 w 18360"/>
                  <a:gd name="connsiteY0" fmla="*/ 1 h 18421"/>
                  <a:gd name="connsiteX1" fmla="*/ 0 w 18360"/>
                  <a:gd name="connsiteY1" fmla="*/ 9151 h 18421"/>
                  <a:gd name="connsiteX2" fmla="*/ 9150 w 18360"/>
                  <a:gd name="connsiteY2" fmla="*/ 18421 h 18421"/>
                  <a:gd name="connsiteX3" fmla="*/ 18360 w 18360"/>
                  <a:gd name="connsiteY3" fmla="*/ 9271 h 18421"/>
                  <a:gd name="connsiteX4" fmla="*/ 9210 w 18360"/>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9210" y="1"/>
                    </a:moveTo>
                    <a:cubicBezTo>
                      <a:pt x="4126" y="-59"/>
                      <a:pt x="0" y="4067"/>
                      <a:pt x="0" y="9151"/>
                    </a:cubicBezTo>
                    <a:cubicBezTo>
                      <a:pt x="0" y="14235"/>
                      <a:pt x="4066" y="18421"/>
                      <a:pt x="9150" y="18421"/>
                    </a:cubicBezTo>
                    <a:cubicBezTo>
                      <a:pt x="14234" y="18481"/>
                      <a:pt x="18360" y="14354"/>
                      <a:pt x="18360" y="9271"/>
                    </a:cubicBezTo>
                    <a:cubicBezTo>
                      <a:pt x="18360" y="4187"/>
                      <a:pt x="14294" y="61"/>
                      <a:pt x="9210" y="1"/>
                    </a:cubicBezTo>
                    <a:close/>
                  </a:path>
                </a:pathLst>
              </a:custGeom>
              <a:grpFill/>
              <a:ln w="5978" cap="flat">
                <a:noFill/>
                <a:prstDash val="solid"/>
                <a:miter/>
              </a:ln>
            </p:spPr>
            <p:txBody>
              <a:bodyPr rtlCol="0" anchor="ctr"/>
              <a:lstStyle/>
              <a:p>
                <a:endParaRPr lang="en-GB"/>
              </a:p>
            </p:txBody>
          </p:sp>
        </p:grpSp>
        <p:grpSp>
          <p:nvGrpSpPr>
            <p:cNvPr id="19" name="Graphic 3">
              <a:extLst>
                <a:ext uri="{FF2B5EF4-FFF2-40B4-BE49-F238E27FC236}">
                  <a16:creationId xmlns:a16="http://schemas.microsoft.com/office/drawing/2014/main" id="{FF390B8F-F966-4B13-9D27-0F3E76A8A890}"/>
                </a:ext>
              </a:extLst>
            </p:cNvPr>
            <p:cNvGrpSpPr/>
            <p:nvPr/>
          </p:nvGrpSpPr>
          <p:grpSpPr>
            <a:xfrm>
              <a:off x="8071596" y="3146791"/>
              <a:ext cx="100201" cy="28538"/>
              <a:chOff x="8071596" y="3146791"/>
              <a:chExt cx="100201" cy="28538"/>
            </a:xfrm>
            <a:grpFill/>
          </p:grpSpPr>
          <p:sp>
            <p:nvSpPr>
              <p:cNvPr id="5312" name="Vrije vorm: vorm 5311">
                <a:extLst>
                  <a:ext uri="{FF2B5EF4-FFF2-40B4-BE49-F238E27FC236}">
                    <a16:creationId xmlns:a16="http://schemas.microsoft.com/office/drawing/2014/main" id="{8A77EFDA-AA2D-4152-B2BF-4E4E9328A4E2}"/>
                  </a:ext>
                </a:extLst>
              </p:cNvPr>
              <p:cNvSpPr/>
              <p:nvPr/>
            </p:nvSpPr>
            <p:spPr>
              <a:xfrm>
                <a:off x="8080154" y="3154392"/>
                <a:ext cx="83192" cy="13337"/>
              </a:xfrm>
              <a:custGeom>
                <a:avLst/>
                <a:gdLst>
                  <a:gd name="connsiteX0" fmla="*/ 82774 w 83192"/>
                  <a:gd name="connsiteY0" fmla="*/ 0 h 13337"/>
                  <a:gd name="connsiteX1" fmla="*/ 83192 w 83192"/>
                  <a:gd name="connsiteY1" fmla="*/ 3050 h 13337"/>
                  <a:gd name="connsiteX2" fmla="*/ 359 w 83192"/>
                  <a:gd name="connsiteY2" fmla="*/ 13337 h 13337"/>
                  <a:gd name="connsiteX3" fmla="*/ 0 w 83192"/>
                  <a:gd name="connsiteY3" fmla="*/ 10287 h 13337"/>
                </a:gdLst>
                <a:ahLst/>
                <a:cxnLst>
                  <a:cxn ang="0">
                    <a:pos x="connsiteX0" y="connsiteY0"/>
                  </a:cxn>
                  <a:cxn ang="0">
                    <a:pos x="connsiteX1" y="connsiteY1"/>
                  </a:cxn>
                  <a:cxn ang="0">
                    <a:pos x="connsiteX2" y="connsiteY2"/>
                  </a:cxn>
                  <a:cxn ang="0">
                    <a:pos x="connsiteX3" y="connsiteY3"/>
                  </a:cxn>
                </a:cxnLst>
                <a:rect l="l" t="t" r="r" b="b"/>
                <a:pathLst>
                  <a:path w="83192" h="13337">
                    <a:moveTo>
                      <a:pt x="82774" y="0"/>
                    </a:moveTo>
                    <a:lnTo>
                      <a:pt x="83192" y="3050"/>
                    </a:lnTo>
                    <a:lnTo>
                      <a:pt x="359" y="13337"/>
                    </a:lnTo>
                    <a:lnTo>
                      <a:pt x="0" y="10287"/>
                    </a:lnTo>
                    <a:close/>
                  </a:path>
                </a:pathLst>
              </a:custGeom>
              <a:grpFill/>
              <a:ln w="5978" cap="flat">
                <a:noFill/>
                <a:prstDash val="solid"/>
                <a:miter/>
              </a:ln>
            </p:spPr>
            <p:txBody>
              <a:bodyPr rtlCol="0" anchor="ctr"/>
              <a:lstStyle/>
              <a:p>
                <a:endParaRPr lang="en-GB"/>
              </a:p>
            </p:txBody>
          </p:sp>
          <p:sp>
            <p:nvSpPr>
              <p:cNvPr id="5313" name="Vrije vorm: vorm 5312">
                <a:extLst>
                  <a:ext uri="{FF2B5EF4-FFF2-40B4-BE49-F238E27FC236}">
                    <a16:creationId xmlns:a16="http://schemas.microsoft.com/office/drawing/2014/main" id="{45A3136A-FDF3-4790-9B9E-0AADA16384E1}"/>
                  </a:ext>
                </a:extLst>
              </p:cNvPr>
              <p:cNvSpPr/>
              <p:nvPr/>
            </p:nvSpPr>
            <p:spPr>
              <a:xfrm>
                <a:off x="8153472" y="3146791"/>
                <a:ext cx="18325" cy="18431"/>
              </a:xfrm>
              <a:custGeom>
                <a:avLst/>
                <a:gdLst>
                  <a:gd name="connsiteX0" fmla="*/ 8021 w 18325"/>
                  <a:gd name="connsiteY0" fmla="*/ 65 h 18431"/>
                  <a:gd name="connsiteX1" fmla="*/ 18248 w 18325"/>
                  <a:gd name="connsiteY1" fmla="*/ 8079 h 18431"/>
                  <a:gd name="connsiteX2" fmla="*/ 10294 w 18325"/>
                  <a:gd name="connsiteY2" fmla="*/ 18366 h 18431"/>
                  <a:gd name="connsiteX3" fmla="*/ 66 w 18325"/>
                  <a:gd name="connsiteY3" fmla="*/ 10352 h 18431"/>
                  <a:gd name="connsiteX4" fmla="*/ 8021 w 18325"/>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1">
                    <a:moveTo>
                      <a:pt x="8021" y="65"/>
                    </a:moveTo>
                    <a:cubicBezTo>
                      <a:pt x="13044" y="-533"/>
                      <a:pt x="17650" y="3055"/>
                      <a:pt x="18248" y="8079"/>
                    </a:cubicBezTo>
                    <a:cubicBezTo>
                      <a:pt x="18905" y="13103"/>
                      <a:pt x="15317" y="17708"/>
                      <a:pt x="10294" y="18366"/>
                    </a:cubicBezTo>
                    <a:cubicBezTo>
                      <a:pt x="5269" y="18964"/>
                      <a:pt x="664" y="15376"/>
                      <a:pt x="66" y="10352"/>
                    </a:cubicBezTo>
                    <a:cubicBezTo>
                      <a:pt x="-532" y="5268"/>
                      <a:pt x="2997" y="663"/>
                      <a:pt x="8021" y="65"/>
                    </a:cubicBezTo>
                    <a:close/>
                  </a:path>
                </a:pathLst>
              </a:custGeom>
              <a:grpFill/>
              <a:ln w="5978" cap="flat">
                <a:noFill/>
                <a:prstDash val="solid"/>
                <a:miter/>
              </a:ln>
            </p:spPr>
            <p:txBody>
              <a:bodyPr rtlCol="0" anchor="ctr"/>
              <a:lstStyle/>
              <a:p>
                <a:endParaRPr lang="en-GB"/>
              </a:p>
            </p:txBody>
          </p:sp>
          <p:sp>
            <p:nvSpPr>
              <p:cNvPr id="5314" name="Vrije vorm: vorm 5313">
                <a:extLst>
                  <a:ext uri="{FF2B5EF4-FFF2-40B4-BE49-F238E27FC236}">
                    <a16:creationId xmlns:a16="http://schemas.microsoft.com/office/drawing/2014/main" id="{0CB0A058-5E85-44AD-AB91-5FB4EE919D96}"/>
                  </a:ext>
                </a:extLst>
              </p:cNvPr>
              <p:cNvSpPr/>
              <p:nvPr/>
            </p:nvSpPr>
            <p:spPr>
              <a:xfrm>
                <a:off x="8071596" y="3156899"/>
                <a:ext cx="18313" cy="18431"/>
              </a:xfrm>
              <a:custGeom>
                <a:avLst/>
                <a:gdLst>
                  <a:gd name="connsiteX0" fmla="*/ 8020 w 18313"/>
                  <a:gd name="connsiteY0" fmla="*/ 65 h 18431"/>
                  <a:gd name="connsiteX1" fmla="*/ 66 w 18313"/>
                  <a:gd name="connsiteY1" fmla="*/ 10352 h 18431"/>
                  <a:gd name="connsiteX2" fmla="*/ 10293 w 18313"/>
                  <a:gd name="connsiteY2" fmla="*/ 18366 h 18431"/>
                  <a:gd name="connsiteX3" fmla="*/ 18247 w 18313"/>
                  <a:gd name="connsiteY3" fmla="*/ 8079 h 18431"/>
                  <a:gd name="connsiteX4" fmla="*/ 8020 w 18313"/>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8020" y="65"/>
                    </a:moveTo>
                    <a:cubicBezTo>
                      <a:pt x="2997" y="663"/>
                      <a:pt x="-532" y="5268"/>
                      <a:pt x="66" y="10352"/>
                    </a:cubicBezTo>
                    <a:cubicBezTo>
                      <a:pt x="724" y="15376"/>
                      <a:pt x="5269" y="18964"/>
                      <a:pt x="10293" y="18366"/>
                    </a:cubicBezTo>
                    <a:cubicBezTo>
                      <a:pt x="15316" y="17768"/>
                      <a:pt x="18846" y="13163"/>
                      <a:pt x="18247" y="8079"/>
                    </a:cubicBezTo>
                    <a:cubicBezTo>
                      <a:pt x="17649" y="3055"/>
                      <a:pt x="13044" y="-533"/>
                      <a:pt x="8020" y="65"/>
                    </a:cubicBezTo>
                    <a:close/>
                  </a:path>
                </a:pathLst>
              </a:custGeom>
              <a:grpFill/>
              <a:ln w="5978" cap="flat">
                <a:noFill/>
                <a:prstDash val="solid"/>
                <a:miter/>
              </a:ln>
            </p:spPr>
            <p:txBody>
              <a:bodyPr rtlCol="0" anchor="ctr"/>
              <a:lstStyle/>
              <a:p>
                <a:endParaRPr lang="en-GB"/>
              </a:p>
            </p:txBody>
          </p:sp>
        </p:grpSp>
        <p:grpSp>
          <p:nvGrpSpPr>
            <p:cNvPr id="20" name="Graphic 3">
              <a:extLst>
                <a:ext uri="{FF2B5EF4-FFF2-40B4-BE49-F238E27FC236}">
                  <a16:creationId xmlns:a16="http://schemas.microsoft.com/office/drawing/2014/main" id="{475BC94C-0430-4F7E-A94C-365F26411184}"/>
                </a:ext>
              </a:extLst>
            </p:cNvPr>
            <p:cNvGrpSpPr/>
            <p:nvPr/>
          </p:nvGrpSpPr>
          <p:grpSpPr>
            <a:xfrm>
              <a:off x="8150188" y="3384111"/>
              <a:ext cx="123622" cy="19558"/>
              <a:chOff x="8150188" y="3384111"/>
              <a:chExt cx="123622" cy="19558"/>
            </a:xfrm>
            <a:grpFill/>
          </p:grpSpPr>
          <p:sp>
            <p:nvSpPr>
              <p:cNvPr id="5309" name="Vrije vorm: vorm 5308">
                <a:extLst>
                  <a:ext uri="{FF2B5EF4-FFF2-40B4-BE49-F238E27FC236}">
                    <a16:creationId xmlns:a16="http://schemas.microsoft.com/office/drawing/2014/main" id="{6097BB5F-EA7C-4FDE-99C4-27AB28878EE1}"/>
                  </a:ext>
                </a:extLst>
              </p:cNvPr>
              <p:cNvSpPr/>
              <p:nvPr/>
            </p:nvSpPr>
            <p:spPr>
              <a:xfrm>
                <a:off x="8158861" y="3391767"/>
                <a:ext cx="106277" cy="4246"/>
              </a:xfrm>
              <a:custGeom>
                <a:avLst/>
                <a:gdLst>
                  <a:gd name="connsiteX0" fmla="*/ 106218 w 106277"/>
                  <a:gd name="connsiteY0" fmla="*/ 0 h 4246"/>
                  <a:gd name="connsiteX1" fmla="*/ 106278 w 106277"/>
                  <a:gd name="connsiteY1" fmla="*/ 3110 h 4246"/>
                  <a:gd name="connsiteX2" fmla="*/ 0 w 106277"/>
                  <a:gd name="connsiteY2" fmla="*/ 4246 h 4246"/>
                  <a:gd name="connsiteX3" fmla="*/ 0 w 106277"/>
                  <a:gd name="connsiteY3" fmla="*/ 1196 h 4246"/>
                </a:gdLst>
                <a:ahLst/>
                <a:cxnLst>
                  <a:cxn ang="0">
                    <a:pos x="connsiteX0" y="connsiteY0"/>
                  </a:cxn>
                  <a:cxn ang="0">
                    <a:pos x="connsiteX1" y="connsiteY1"/>
                  </a:cxn>
                  <a:cxn ang="0">
                    <a:pos x="connsiteX2" y="connsiteY2"/>
                  </a:cxn>
                  <a:cxn ang="0">
                    <a:pos x="connsiteX3" y="connsiteY3"/>
                  </a:cxn>
                </a:cxnLst>
                <a:rect l="l" t="t" r="r" b="b"/>
                <a:pathLst>
                  <a:path w="106277" h="4246">
                    <a:moveTo>
                      <a:pt x="106218" y="0"/>
                    </a:moveTo>
                    <a:lnTo>
                      <a:pt x="106278" y="3110"/>
                    </a:lnTo>
                    <a:lnTo>
                      <a:pt x="0" y="4246"/>
                    </a:lnTo>
                    <a:lnTo>
                      <a:pt x="0" y="1196"/>
                    </a:lnTo>
                    <a:close/>
                  </a:path>
                </a:pathLst>
              </a:custGeom>
              <a:grpFill/>
              <a:ln w="5978" cap="flat">
                <a:noFill/>
                <a:prstDash val="solid"/>
                <a:miter/>
              </a:ln>
            </p:spPr>
            <p:txBody>
              <a:bodyPr rtlCol="0" anchor="ctr"/>
              <a:lstStyle/>
              <a:p>
                <a:endParaRPr lang="en-GB"/>
              </a:p>
            </p:txBody>
          </p:sp>
          <p:sp>
            <p:nvSpPr>
              <p:cNvPr id="5310" name="Vrije vorm: vorm 5309">
                <a:extLst>
                  <a:ext uri="{FF2B5EF4-FFF2-40B4-BE49-F238E27FC236}">
                    <a16:creationId xmlns:a16="http://schemas.microsoft.com/office/drawing/2014/main" id="{C9954854-B8C9-415F-9630-34ABB3B99299}"/>
                  </a:ext>
                </a:extLst>
              </p:cNvPr>
              <p:cNvSpPr/>
              <p:nvPr/>
            </p:nvSpPr>
            <p:spPr>
              <a:xfrm>
                <a:off x="8255507" y="3384111"/>
                <a:ext cx="18303" cy="18421"/>
              </a:xfrm>
              <a:custGeom>
                <a:avLst/>
                <a:gdLst>
                  <a:gd name="connsiteX0" fmla="*/ 9034 w 18303"/>
                  <a:gd name="connsiteY0" fmla="*/ 1 h 18421"/>
                  <a:gd name="connsiteX1" fmla="*/ 18303 w 18303"/>
                  <a:gd name="connsiteY1" fmla="*/ 9091 h 18421"/>
                  <a:gd name="connsiteX2" fmla="*/ 9272 w 18303"/>
                  <a:gd name="connsiteY2" fmla="*/ 18421 h 18421"/>
                  <a:gd name="connsiteX3" fmla="*/ 3 w 18303"/>
                  <a:gd name="connsiteY3" fmla="*/ 9331 h 18421"/>
                  <a:gd name="connsiteX4" fmla="*/ 9034 w 18303"/>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21">
                    <a:moveTo>
                      <a:pt x="9034" y="1"/>
                    </a:moveTo>
                    <a:cubicBezTo>
                      <a:pt x="14117" y="-59"/>
                      <a:pt x="18243" y="4008"/>
                      <a:pt x="18303" y="9091"/>
                    </a:cubicBezTo>
                    <a:cubicBezTo>
                      <a:pt x="18363" y="14175"/>
                      <a:pt x="14356" y="18362"/>
                      <a:pt x="9272" y="18421"/>
                    </a:cubicBezTo>
                    <a:cubicBezTo>
                      <a:pt x="4189" y="18481"/>
                      <a:pt x="62" y="14414"/>
                      <a:pt x="3" y="9331"/>
                    </a:cubicBezTo>
                    <a:cubicBezTo>
                      <a:pt x="-117" y="4247"/>
                      <a:pt x="3950" y="61"/>
                      <a:pt x="9034" y="1"/>
                    </a:cubicBezTo>
                    <a:close/>
                  </a:path>
                </a:pathLst>
              </a:custGeom>
              <a:grpFill/>
              <a:ln w="5978" cap="flat">
                <a:noFill/>
                <a:prstDash val="solid"/>
                <a:miter/>
              </a:ln>
            </p:spPr>
            <p:txBody>
              <a:bodyPr rtlCol="0" anchor="ctr"/>
              <a:lstStyle/>
              <a:p>
                <a:endParaRPr lang="en-GB"/>
              </a:p>
            </p:txBody>
          </p:sp>
          <p:sp>
            <p:nvSpPr>
              <p:cNvPr id="5311" name="Vrije vorm: vorm 5310">
                <a:extLst>
                  <a:ext uri="{FF2B5EF4-FFF2-40B4-BE49-F238E27FC236}">
                    <a16:creationId xmlns:a16="http://schemas.microsoft.com/office/drawing/2014/main" id="{857180A0-B019-48EA-A2E4-71AA2C521889}"/>
                  </a:ext>
                </a:extLst>
              </p:cNvPr>
              <p:cNvSpPr/>
              <p:nvPr/>
            </p:nvSpPr>
            <p:spPr>
              <a:xfrm>
                <a:off x="8150188" y="3385247"/>
                <a:ext cx="18301" cy="18421"/>
              </a:xfrm>
              <a:custGeom>
                <a:avLst/>
                <a:gdLst>
                  <a:gd name="connsiteX0" fmla="*/ 9032 w 18301"/>
                  <a:gd name="connsiteY0" fmla="*/ 1 h 18421"/>
                  <a:gd name="connsiteX1" fmla="*/ 1 w 18301"/>
                  <a:gd name="connsiteY1" fmla="*/ 9331 h 18421"/>
                  <a:gd name="connsiteX2" fmla="*/ 9270 w 18301"/>
                  <a:gd name="connsiteY2" fmla="*/ 18421 h 18421"/>
                  <a:gd name="connsiteX3" fmla="*/ 18301 w 18301"/>
                  <a:gd name="connsiteY3" fmla="*/ 9091 h 18421"/>
                  <a:gd name="connsiteX4" fmla="*/ 9032 w 1830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1">
                    <a:moveTo>
                      <a:pt x="9032" y="1"/>
                    </a:moveTo>
                    <a:cubicBezTo>
                      <a:pt x="3947" y="61"/>
                      <a:pt x="-59" y="4247"/>
                      <a:pt x="1" y="9331"/>
                    </a:cubicBezTo>
                    <a:cubicBezTo>
                      <a:pt x="61" y="14414"/>
                      <a:pt x="4247" y="18481"/>
                      <a:pt x="9270" y="18421"/>
                    </a:cubicBezTo>
                    <a:cubicBezTo>
                      <a:pt x="14354" y="18362"/>
                      <a:pt x="18361" y="14175"/>
                      <a:pt x="18301" y="9091"/>
                    </a:cubicBezTo>
                    <a:cubicBezTo>
                      <a:pt x="18241" y="4008"/>
                      <a:pt x="14055" y="-59"/>
                      <a:pt x="9032" y="1"/>
                    </a:cubicBezTo>
                    <a:close/>
                  </a:path>
                </a:pathLst>
              </a:custGeom>
              <a:grpFill/>
              <a:ln w="5978" cap="flat">
                <a:noFill/>
                <a:prstDash val="solid"/>
                <a:miter/>
              </a:ln>
            </p:spPr>
            <p:txBody>
              <a:bodyPr rtlCol="0" anchor="ctr"/>
              <a:lstStyle/>
              <a:p>
                <a:endParaRPr lang="en-GB"/>
              </a:p>
            </p:txBody>
          </p:sp>
        </p:grpSp>
        <p:grpSp>
          <p:nvGrpSpPr>
            <p:cNvPr id="21" name="Graphic 3">
              <a:extLst>
                <a:ext uri="{FF2B5EF4-FFF2-40B4-BE49-F238E27FC236}">
                  <a16:creationId xmlns:a16="http://schemas.microsoft.com/office/drawing/2014/main" id="{FF5A6FD4-8378-45BB-9AF0-E971F42F927E}"/>
                </a:ext>
              </a:extLst>
            </p:cNvPr>
            <p:cNvGrpSpPr/>
            <p:nvPr/>
          </p:nvGrpSpPr>
          <p:grpSpPr>
            <a:xfrm>
              <a:off x="7699434" y="2121871"/>
              <a:ext cx="129320" cy="99272"/>
              <a:chOff x="7699434" y="2121871"/>
              <a:chExt cx="129320" cy="99272"/>
            </a:xfrm>
            <a:grpFill/>
          </p:grpSpPr>
          <p:sp>
            <p:nvSpPr>
              <p:cNvPr id="5306" name="Vrije vorm: vorm 5305">
                <a:extLst>
                  <a:ext uri="{FF2B5EF4-FFF2-40B4-BE49-F238E27FC236}">
                    <a16:creationId xmlns:a16="http://schemas.microsoft.com/office/drawing/2014/main" id="{4E2B5639-2C6B-4551-8649-0B2298D6FD04}"/>
                  </a:ext>
                </a:extLst>
              </p:cNvPr>
              <p:cNvSpPr/>
              <p:nvPr/>
            </p:nvSpPr>
            <p:spPr>
              <a:xfrm>
                <a:off x="7707316" y="2129536"/>
                <a:ext cx="113513" cy="83909"/>
              </a:xfrm>
              <a:custGeom>
                <a:avLst/>
                <a:gdLst>
                  <a:gd name="connsiteX0" fmla="*/ 113514 w 113513"/>
                  <a:gd name="connsiteY0" fmla="*/ 2512 h 83909"/>
                  <a:gd name="connsiteX1" fmla="*/ 1795 w 113513"/>
                  <a:gd name="connsiteY1" fmla="*/ 83910 h 83909"/>
                  <a:gd name="connsiteX2" fmla="*/ 0 w 113513"/>
                  <a:gd name="connsiteY2" fmla="*/ 81457 h 83909"/>
                  <a:gd name="connsiteX3" fmla="*/ 111720 w 113513"/>
                  <a:gd name="connsiteY3" fmla="*/ 0 h 83909"/>
                </a:gdLst>
                <a:ahLst/>
                <a:cxnLst>
                  <a:cxn ang="0">
                    <a:pos x="connsiteX0" y="connsiteY0"/>
                  </a:cxn>
                  <a:cxn ang="0">
                    <a:pos x="connsiteX1" y="connsiteY1"/>
                  </a:cxn>
                  <a:cxn ang="0">
                    <a:pos x="connsiteX2" y="connsiteY2"/>
                  </a:cxn>
                  <a:cxn ang="0">
                    <a:pos x="connsiteX3" y="connsiteY3"/>
                  </a:cxn>
                </a:cxnLst>
                <a:rect l="l" t="t" r="r" b="b"/>
                <a:pathLst>
                  <a:path w="113513" h="83909">
                    <a:moveTo>
                      <a:pt x="113514" y="2512"/>
                    </a:moveTo>
                    <a:lnTo>
                      <a:pt x="1795" y="83910"/>
                    </a:lnTo>
                    <a:lnTo>
                      <a:pt x="0" y="81457"/>
                    </a:lnTo>
                    <a:lnTo>
                      <a:pt x="111720" y="0"/>
                    </a:lnTo>
                    <a:close/>
                  </a:path>
                </a:pathLst>
              </a:custGeom>
              <a:grpFill/>
              <a:ln w="5978" cap="flat">
                <a:noFill/>
                <a:prstDash val="solid"/>
                <a:miter/>
              </a:ln>
            </p:spPr>
            <p:txBody>
              <a:bodyPr rtlCol="0" anchor="ctr"/>
              <a:lstStyle/>
              <a:p>
                <a:endParaRPr lang="en-GB"/>
              </a:p>
            </p:txBody>
          </p:sp>
          <p:sp>
            <p:nvSpPr>
              <p:cNvPr id="5307" name="Vrije vorm: vorm 5306">
                <a:extLst>
                  <a:ext uri="{FF2B5EF4-FFF2-40B4-BE49-F238E27FC236}">
                    <a16:creationId xmlns:a16="http://schemas.microsoft.com/office/drawing/2014/main" id="{FC95A832-04D0-41A6-A513-85F6F033DF21}"/>
                  </a:ext>
                </a:extLst>
              </p:cNvPr>
              <p:cNvSpPr/>
              <p:nvPr/>
            </p:nvSpPr>
            <p:spPr>
              <a:xfrm>
                <a:off x="7810437" y="2121871"/>
                <a:ext cx="18318" cy="18439"/>
              </a:xfrm>
              <a:custGeom>
                <a:avLst/>
                <a:gdLst>
                  <a:gd name="connsiteX0" fmla="*/ 3755 w 18318"/>
                  <a:gd name="connsiteY0" fmla="*/ 1744 h 18439"/>
                  <a:gd name="connsiteX1" fmla="*/ 16554 w 18318"/>
                  <a:gd name="connsiteY1" fmla="*/ 3837 h 18439"/>
                  <a:gd name="connsiteX2" fmla="*/ 14520 w 18318"/>
                  <a:gd name="connsiteY2" fmla="*/ 16696 h 18439"/>
                  <a:gd name="connsiteX3" fmla="*/ 1722 w 18318"/>
                  <a:gd name="connsiteY3" fmla="*/ 14602 h 18439"/>
                  <a:gd name="connsiteX4" fmla="*/ 3755 w 18318"/>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9">
                    <a:moveTo>
                      <a:pt x="3755" y="1744"/>
                    </a:moveTo>
                    <a:cubicBezTo>
                      <a:pt x="7822" y="-1246"/>
                      <a:pt x="13563" y="-290"/>
                      <a:pt x="16554" y="3837"/>
                    </a:cubicBezTo>
                    <a:cubicBezTo>
                      <a:pt x="19544" y="7964"/>
                      <a:pt x="18647" y="13705"/>
                      <a:pt x="14520" y="16696"/>
                    </a:cubicBezTo>
                    <a:cubicBezTo>
                      <a:pt x="10453" y="19686"/>
                      <a:pt x="4712" y="18729"/>
                      <a:pt x="1722" y="14602"/>
                    </a:cubicBezTo>
                    <a:cubicBezTo>
                      <a:pt x="-1209" y="10476"/>
                      <a:pt x="-312" y="4674"/>
                      <a:pt x="3755" y="1744"/>
                    </a:cubicBezTo>
                    <a:close/>
                  </a:path>
                </a:pathLst>
              </a:custGeom>
              <a:grpFill/>
              <a:ln w="5978" cap="flat">
                <a:noFill/>
                <a:prstDash val="solid"/>
                <a:miter/>
              </a:ln>
            </p:spPr>
            <p:txBody>
              <a:bodyPr rtlCol="0" anchor="ctr"/>
              <a:lstStyle/>
              <a:p>
                <a:endParaRPr lang="en-GB"/>
              </a:p>
            </p:txBody>
          </p:sp>
          <p:sp>
            <p:nvSpPr>
              <p:cNvPr id="5308" name="Vrije vorm: vorm 5307">
                <a:extLst>
                  <a:ext uri="{FF2B5EF4-FFF2-40B4-BE49-F238E27FC236}">
                    <a16:creationId xmlns:a16="http://schemas.microsoft.com/office/drawing/2014/main" id="{9AA699FF-B5AE-4238-B53F-0AD0A0522E4A}"/>
                  </a:ext>
                </a:extLst>
              </p:cNvPr>
              <p:cNvSpPr/>
              <p:nvPr/>
            </p:nvSpPr>
            <p:spPr>
              <a:xfrm>
                <a:off x="7699434" y="2202730"/>
                <a:ext cx="18275" cy="18413"/>
              </a:xfrm>
              <a:custGeom>
                <a:avLst/>
                <a:gdLst>
                  <a:gd name="connsiteX0" fmla="*/ 3755 w 18275"/>
                  <a:gd name="connsiteY0" fmla="*/ 1744 h 18413"/>
                  <a:gd name="connsiteX1" fmla="*/ 1722 w 18275"/>
                  <a:gd name="connsiteY1" fmla="*/ 14602 h 18413"/>
                  <a:gd name="connsiteX2" fmla="*/ 14520 w 18275"/>
                  <a:gd name="connsiteY2" fmla="*/ 16696 h 18413"/>
                  <a:gd name="connsiteX3" fmla="*/ 16554 w 18275"/>
                  <a:gd name="connsiteY3" fmla="*/ 3837 h 18413"/>
                  <a:gd name="connsiteX4" fmla="*/ 3755 w 18275"/>
                  <a:gd name="connsiteY4" fmla="*/ 174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13">
                    <a:moveTo>
                      <a:pt x="3755" y="1744"/>
                    </a:moveTo>
                    <a:cubicBezTo>
                      <a:pt x="-312" y="4734"/>
                      <a:pt x="-1209" y="10476"/>
                      <a:pt x="1722" y="14602"/>
                    </a:cubicBezTo>
                    <a:cubicBezTo>
                      <a:pt x="4712" y="18729"/>
                      <a:pt x="10454" y="19626"/>
                      <a:pt x="14520" y="16696"/>
                    </a:cubicBezTo>
                    <a:cubicBezTo>
                      <a:pt x="18588" y="13705"/>
                      <a:pt x="19485" y="7964"/>
                      <a:pt x="16554" y="3837"/>
                    </a:cubicBezTo>
                    <a:cubicBezTo>
                      <a:pt x="13623" y="-290"/>
                      <a:pt x="7882" y="-1246"/>
                      <a:pt x="3755" y="1744"/>
                    </a:cubicBezTo>
                    <a:close/>
                  </a:path>
                </a:pathLst>
              </a:custGeom>
              <a:grpFill/>
              <a:ln w="5978" cap="flat">
                <a:noFill/>
                <a:prstDash val="solid"/>
                <a:miter/>
              </a:ln>
            </p:spPr>
            <p:txBody>
              <a:bodyPr rtlCol="0" anchor="ctr"/>
              <a:lstStyle/>
              <a:p>
                <a:endParaRPr lang="en-GB"/>
              </a:p>
            </p:txBody>
          </p:sp>
        </p:grpSp>
        <p:grpSp>
          <p:nvGrpSpPr>
            <p:cNvPr id="22" name="Graphic 3">
              <a:extLst>
                <a:ext uri="{FF2B5EF4-FFF2-40B4-BE49-F238E27FC236}">
                  <a16:creationId xmlns:a16="http://schemas.microsoft.com/office/drawing/2014/main" id="{34ED8F86-7546-4237-A083-5A6981F19193}"/>
                </a:ext>
              </a:extLst>
            </p:cNvPr>
            <p:cNvGrpSpPr/>
            <p:nvPr/>
          </p:nvGrpSpPr>
          <p:grpSpPr>
            <a:xfrm>
              <a:off x="7775656" y="2422524"/>
              <a:ext cx="182272" cy="103731"/>
              <a:chOff x="7775656" y="2422524"/>
              <a:chExt cx="182272" cy="103731"/>
            </a:xfrm>
            <a:grpFill/>
          </p:grpSpPr>
          <p:sp>
            <p:nvSpPr>
              <p:cNvPr id="5303" name="Vrije vorm: vorm 5302">
                <a:extLst>
                  <a:ext uri="{FF2B5EF4-FFF2-40B4-BE49-F238E27FC236}">
                    <a16:creationId xmlns:a16="http://schemas.microsoft.com/office/drawing/2014/main" id="{1E751260-381F-4831-B49F-30CEC34FD097}"/>
                  </a:ext>
                </a:extLst>
              </p:cNvPr>
              <p:cNvSpPr/>
              <p:nvPr/>
            </p:nvSpPr>
            <p:spPr>
              <a:xfrm>
                <a:off x="7783690" y="2430187"/>
                <a:ext cx="166144" cy="88454"/>
              </a:xfrm>
              <a:custGeom>
                <a:avLst/>
                <a:gdLst>
                  <a:gd name="connsiteX0" fmla="*/ 166145 w 166144"/>
                  <a:gd name="connsiteY0" fmla="*/ 2691 h 88454"/>
                  <a:gd name="connsiteX1" fmla="*/ 1375 w 166144"/>
                  <a:gd name="connsiteY1" fmla="*/ 88455 h 88454"/>
                  <a:gd name="connsiteX2" fmla="*/ 0 w 166144"/>
                  <a:gd name="connsiteY2" fmla="*/ 85704 h 88454"/>
                  <a:gd name="connsiteX3" fmla="*/ 164769 w 166144"/>
                  <a:gd name="connsiteY3" fmla="*/ 0 h 88454"/>
                </a:gdLst>
                <a:ahLst/>
                <a:cxnLst>
                  <a:cxn ang="0">
                    <a:pos x="connsiteX0" y="connsiteY0"/>
                  </a:cxn>
                  <a:cxn ang="0">
                    <a:pos x="connsiteX1" y="connsiteY1"/>
                  </a:cxn>
                  <a:cxn ang="0">
                    <a:pos x="connsiteX2" y="connsiteY2"/>
                  </a:cxn>
                  <a:cxn ang="0">
                    <a:pos x="connsiteX3" y="connsiteY3"/>
                  </a:cxn>
                </a:cxnLst>
                <a:rect l="l" t="t" r="r" b="b"/>
                <a:pathLst>
                  <a:path w="166144" h="88454">
                    <a:moveTo>
                      <a:pt x="166145" y="2691"/>
                    </a:moveTo>
                    <a:lnTo>
                      <a:pt x="1375" y="88455"/>
                    </a:lnTo>
                    <a:lnTo>
                      <a:pt x="0" y="85704"/>
                    </a:lnTo>
                    <a:lnTo>
                      <a:pt x="164769" y="0"/>
                    </a:lnTo>
                    <a:close/>
                  </a:path>
                </a:pathLst>
              </a:custGeom>
              <a:grpFill/>
              <a:ln w="5978" cap="flat">
                <a:noFill/>
                <a:prstDash val="solid"/>
                <a:miter/>
              </a:ln>
            </p:spPr>
            <p:txBody>
              <a:bodyPr rtlCol="0" anchor="ctr"/>
              <a:lstStyle/>
              <a:p>
                <a:endParaRPr lang="en-GB"/>
              </a:p>
            </p:txBody>
          </p:sp>
          <p:sp>
            <p:nvSpPr>
              <p:cNvPr id="5304" name="Vrije vorm: vorm 5303">
                <a:extLst>
                  <a:ext uri="{FF2B5EF4-FFF2-40B4-BE49-F238E27FC236}">
                    <a16:creationId xmlns:a16="http://schemas.microsoft.com/office/drawing/2014/main" id="{4C34812A-A321-4999-AA85-6B96325CACCD}"/>
                  </a:ext>
                </a:extLst>
              </p:cNvPr>
              <p:cNvSpPr/>
              <p:nvPr/>
            </p:nvSpPr>
            <p:spPr>
              <a:xfrm>
                <a:off x="7939587" y="2422524"/>
                <a:ext cx="18340" cy="18434"/>
              </a:xfrm>
              <a:custGeom>
                <a:avLst/>
                <a:gdLst>
                  <a:gd name="connsiteX0" fmla="*/ 4924 w 18340"/>
                  <a:gd name="connsiteY0" fmla="*/ 1024 h 18434"/>
                  <a:gd name="connsiteX1" fmla="*/ 17304 w 18340"/>
                  <a:gd name="connsiteY1" fmla="*/ 4971 h 18434"/>
                  <a:gd name="connsiteX2" fmla="*/ 13417 w 18340"/>
                  <a:gd name="connsiteY2" fmla="*/ 17411 h 18434"/>
                  <a:gd name="connsiteX3" fmla="*/ 1037 w 18340"/>
                  <a:gd name="connsiteY3" fmla="*/ 13464 h 18434"/>
                  <a:gd name="connsiteX4" fmla="*/ 4924 w 18340"/>
                  <a:gd name="connsiteY4" fmla="*/ 102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34">
                    <a:moveTo>
                      <a:pt x="4924" y="1024"/>
                    </a:moveTo>
                    <a:cubicBezTo>
                      <a:pt x="9410" y="-1309"/>
                      <a:pt x="14972" y="486"/>
                      <a:pt x="17304" y="4971"/>
                    </a:cubicBezTo>
                    <a:cubicBezTo>
                      <a:pt x="19637" y="9516"/>
                      <a:pt x="17902" y="15079"/>
                      <a:pt x="13417" y="17411"/>
                    </a:cubicBezTo>
                    <a:cubicBezTo>
                      <a:pt x="8931" y="19743"/>
                      <a:pt x="3369" y="17949"/>
                      <a:pt x="1037" y="13464"/>
                    </a:cubicBezTo>
                    <a:cubicBezTo>
                      <a:pt x="-1296" y="8918"/>
                      <a:pt x="439" y="3356"/>
                      <a:pt x="4924" y="1024"/>
                    </a:cubicBezTo>
                    <a:close/>
                  </a:path>
                </a:pathLst>
              </a:custGeom>
              <a:grpFill/>
              <a:ln w="5978" cap="flat">
                <a:noFill/>
                <a:prstDash val="solid"/>
                <a:miter/>
              </a:ln>
            </p:spPr>
            <p:txBody>
              <a:bodyPr rtlCol="0" anchor="ctr"/>
              <a:lstStyle/>
              <a:p>
                <a:endParaRPr lang="en-GB"/>
              </a:p>
            </p:txBody>
          </p:sp>
          <p:sp>
            <p:nvSpPr>
              <p:cNvPr id="5305" name="Vrije vorm: vorm 5304">
                <a:extLst>
                  <a:ext uri="{FF2B5EF4-FFF2-40B4-BE49-F238E27FC236}">
                    <a16:creationId xmlns:a16="http://schemas.microsoft.com/office/drawing/2014/main" id="{438E8826-ED76-407E-A400-15C32F6BEDC9}"/>
                  </a:ext>
                </a:extLst>
              </p:cNvPr>
              <p:cNvSpPr/>
              <p:nvPr/>
            </p:nvSpPr>
            <p:spPr>
              <a:xfrm>
                <a:off x="7775656" y="2507809"/>
                <a:ext cx="18341" cy="18446"/>
              </a:xfrm>
              <a:custGeom>
                <a:avLst/>
                <a:gdLst>
                  <a:gd name="connsiteX0" fmla="*/ 4924 w 18341"/>
                  <a:gd name="connsiteY0" fmla="*/ 1024 h 18446"/>
                  <a:gd name="connsiteX1" fmla="*/ 1037 w 18341"/>
                  <a:gd name="connsiteY1" fmla="*/ 13464 h 18446"/>
                  <a:gd name="connsiteX2" fmla="*/ 13417 w 18341"/>
                  <a:gd name="connsiteY2" fmla="*/ 17411 h 18446"/>
                  <a:gd name="connsiteX3" fmla="*/ 17305 w 18341"/>
                  <a:gd name="connsiteY3" fmla="*/ 4971 h 18446"/>
                  <a:gd name="connsiteX4" fmla="*/ 4924 w 18341"/>
                  <a:gd name="connsiteY4" fmla="*/ 1024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46">
                    <a:moveTo>
                      <a:pt x="4924" y="1024"/>
                    </a:moveTo>
                    <a:cubicBezTo>
                      <a:pt x="439" y="3356"/>
                      <a:pt x="-1296" y="8918"/>
                      <a:pt x="1037" y="13464"/>
                    </a:cubicBezTo>
                    <a:cubicBezTo>
                      <a:pt x="3369" y="18009"/>
                      <a:pt x="8932" y="19743"/>
                      <a:pt x="13417" y="17411"/>
                    </a:cubicBezTo>
                    <a:cubicBezTo>
                      <a:pt x="17903" y="15079"/>
                      <a:pt x="19637" y="9516"/>
                      <a:pt x="17305" y="4971"/>
                    </a:cubicBezTo>
                    <a:cubicBezTo>
                      <a:pt x="14912" y="486"/>
                      <a:pt x="9410" y="-1309"/>
                      <a:pt x="4924" y="1024"/>
                    </a:cubicBezTo>
                    <a:close/>
                  </a:path>
                </a:pathLst>
              </a:custGeom>
              <a:grpFill/>
              <a:ln w="5978" cap="flat">
                <a:noFill/>
                <a:prstDash val="solid"/>
                <a:miter/>
              </a:ln>
            </p:spPr>
            <p:txBody>
              <a:bodyPr rtlCol="0" anchor="ctr"/>
              <a:lstStyle/>
              <a:p>
                <a:endParaRPr lang="en-GB"/>
              </a:p>
            </p:txBody>
          </p:sp>
        </p:grpSp>
        <p:grpSp>
          <p:nvGrpSpPr>
            <p:cNvPr id="23" name="Graphic 3">
              <a:extLst>
                <a:ext uri="{FF2B5EF4-FFF2-40B4-BE49-F238E27FC236}">
                  <a16:creationId xmlns:a16="http://schemas.microsoft.com/office/drawing/2014/main" id="{598E857E-B4C8-4C7C-81DF-D36C78DFA1F0}"/>
                </a:ext>
              </a:extLst>
            </p:cNvPr>
            <p:cNvGrpSpPr/>
            <p:nvPr/>
          </p:nvGrpSpPr>
          <p:grpSpPr>
            <a:xfrm>
              <a:off x="7999120" y="2969913"/>
              <a:ext cx="50924" cy="25562"/>
              <a:chOff x="7999120" y="2969913"/>
              <a:chExt cx="50924" cy="25562"/>
            </a:xfrm>
            <a:grpFill/>
          </p:grpSpPr>
          <p:sp>
            <p:nvSpPr>
              <p:cNvPr id="5300" name="Vrije vorm: vorm 5299">
                <a:extLst>
                  <a:ext uri="{FF2B5EF4-FFF2-40B4-BE49-F238E27FC236}">
                    <a16:creationId xmlns:a16="http://schemas.microsoft.com/office/drawing/2014/main" id="{0BF2B0FA-9055-4141-945A-93EA6B1A2BB8}"/>
                  </a:ext>
                </a:extLst>
              </p:cNvPr>
              <p:cNvSpPr/>
              <p:nvPr/>
            </p:nvSpPr>
            <p:spPr>
              <a:xfrm>
                <a:off x="8007548" y="2977542"/>
                <a:ext cx="34090" cy="10346"/>
              </a:xfrm>
              <a:custGeom>
                <a:avLst/>
                <a:gdLst>
                  <a:gd name="connsiteX0" fmla="*/ 33433 w 34090"/>
                  <a:gd name="connsiteY0" fmla="*/ 0 h 10346"/>
                  <a:gd name="connsiteX1" fmla="*/ 34091 w 34090"/>
                  <a:gd name="connsiteY1" fmla="*/ 2990 h 10346"/>
                  <a:gd name="connsiteX2" fmla="*/ 659 w 34090"/>
                  <a:gd name="connsiteY2" fmla="*/ 10347 h 10346"/>
                  <a:gd name="connsiteX3" fmla="*/ 0 w 34090"/>
                  <a:gd name="connsiteY3" fmla="*/ 7356 h 10346"/>
                </a:gdLst>
                <a:ahLst/>
                <a:cxnLst>
                  <a:cxn ang="0">
                    <a:pos x="connsiteX0" y="connsiteY0"/>
                  </a:cxn>
                  <a:cxn ang="0">
                    <a:pos x="connsiteX1" y="connsiteY1"/>
                  </a:cxn>
                  <a:cxn ang="0">
                    <a:pos x="connsiteX2" y="connsiteY2"/>
                  </a:cxn>
                  <a:cxn ang="0">
                    <a:pos x="connsiteX3" y="connsiteY3"/>
                  </a:cxn>
                </a:cxnLst>
                <a:rect l="l" t="t" r="r" b="b"/>
                <a:pathLst>
                  <a:path w="34090" h="10346">
                    <a:moveTo>
                      <a:pt x="33433" y="0"/>
                    </a:moveTo>
                    <a:lnTo>
                      <a:pt x="34091" y="2990"/>
                    </a:lnTo>
                    <a:lnTo>
                      <a:pt x="659" y="10347"/>
                    </a:lnTo>
                    <a:lnTo>
                      <a:pt x="0" y="7356"/>
                    </a:lnTo>
                    <a:close/>
                  </a:path>
                </a:pathLst>
              </a:custGeom>
              <a:grpFill/>
              <a:ln w="5978" cap="flat">
                <a:noFill/>
                <a:prstDash val="solid"/>
                <a:miter/>
              </a:ln>
            </p:spPr>
            <p:txBody>
              <a:bodyPr rtlCol="0" anchor="ctr"/>
              <a:lstStyle/>
              <a:p>
                <a:endParaRPr lang="en-GB"/>
              </a:p>
            </p:txBody>
          </p:sp>
          <p:sp>
            <p:nvSpPr>
              <p:cNvPr id="5301" name="Vrije vorm: vorm 5300">
                <a:extLst>
                  <a:ext uri="{FF2B5EF4-FFF2-40B4-BE49-F238E27FC236}">
                    <a16:creationId xmlns:a16="http://schemas.microsoft.com/office/drawing/2014/main" id="{EBCE6F68-AF91-47E6-8466-7841DB87890E}"/>
                  </a:ext>
                </a:extLst>
              </p:cNvPr>
              <p:cNvSpPr/>
              <p:nvPr/>
            </p:nvSpPr>
            <p:spPr>
              <a:xfrm>
                <a:off x="8031716" y="2969913"/>
                <a:ext cx="18329" cy="18367"/>
              </a:xfrm>
              <a:custGeom>
                <a:avLst/>
                <a:gdLst>
                  <a:gd name="connsiteX0" fmla="*/ 7172 w 18329"/>
                  <a:gd name="connsiteY0" fmla="*/ 213 h 18367"/>
                  <a:gd name="connsiteX1" fmla="*/ 18117 w 18329"/>
                  <a:gd name="connsiteY1" fmla="*/ 7210 h 18367"/>
                  <a:gd name="connsiteX2" fmla="*/ 11179 w 18329"/>
                  <a:gd name="connsiteY2" fmla="*/ 18155 h 18367"/>
                  <a:gd name="connsiteX3" fmla="*/ 234 w 18329"/>
                  <a:gd name="connsiteY3" fmla="*/ 11157 h 18367"/>
                  <a:gd name="connsiteX4" fmla="*/ 7172 w 18329"/>
                  <a:gd name="connsiteY4" fmla="*/ 21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67">
                    <a:moveTo>
                      <a:pt x="7172" y="213"/>
                    </a:moveTo>
                    <a:cubicBezTo>
                      <a:pt x="12136" y="-864"/>
                      <a:pt x="16980" y="2246"/>
                      <a:pt x="18117" y="7210"/>
                    </a:cubicBezTo>
                    <a:cubicBezTo>
                      <a:pt x="19193" y="12174"/>
                      <a:pt x="16083" y="17079"/>
                      <a:pt x="11179" y="18155"/>
                    </a:cubicBezTo>
                    <a:cubicBezTo>
                      <a:pt x="6215" y="19231"/>
                      <a:pt x="1310" y="16122"/>
                      <a:pt x="234" y="11157"/>
                    </a:cubicBezTo>
                    <a:cubicBezTo>
                      <a:pt x="-902" y="6194"/>
                      <a:pt x="2208" y="1289"/>
                      <a:pt x="7172" y="213"/>
                    </a:cubicBezTo>
                    <a:close/>
                  </a:path>
                </a:pathLst>
              </a:custGeom>
              <a:grpFill/>
              <a:ln w="5978" cap="flat">
                <a:noFill/>
                <a:prstDash val="solid"/>
                <a:miter/>
              </a:ln>
            </p:spPr>
            <p:txBody>
              <a:bodyPr rtlCol="0" anchor="ctr"/>
              <a:lstStyle/>
              <a:p>
                <a:endParaRPr lang="en-GB"/>
              </a:p>
            </p:txBody>
          </p:sp>
          <p:sp>
            <p:nvSpPr>
              <p:cNvPr id="5302" name="Vrije vorm: vorm 5301">
                <a:extLst>
                  <a:ext uri="{FF2B5EF4-FFF2-40B4-BE49-F238E27FC236}">
                    <a16:creationId xmlns:a16="http://schemas.microsoft.com/office/drawing/2014/main" id="{C2B67D63-2B08-46D1-866A-4CB18A5876B4}"/>
                  </a:ext>
                </a:extLst>
              </p:cNvPr>
              <p:cNvSpPr/>
              <p:nvPr/>
            </p:nvSpPr>
            <p:spPr>
              <a:xfrm>
                <a:off x="7999120" y="2977093"/>
                <a:ext cx="18351" cy="18383"/>
              </a:xfrm>
              <a:custGeom>
                <a:avLst/>
                <a:gdLst>
                  <a:gd name="connsiteX0" fmla="*/ 7172 w 18351"/>
                  <a:gd name="connsiteY0" fmla="*/ 210 h 18383"/>
                  <a:gd name="connsiteX1" fmla="*/ 234 w 18351"/>
                  <a:gd name="connsiteY1" fmla="*/ 11155 h 18383"/>
                  <a:gd name="connsiteX2" fmla="*/ 11179 w 18351"/>
                  <a:gd name="connsiteY2" fmla="*/ 18152 h 18383"/>
                  <a:gd name="connsiteX3" fmla="*/ 18117 w 18351"/>
                  <a:gd name="connsiteY3" fmla="*/ 7208 h 18383"/>
                  <a:gd name="connsiteX4" fmla="*/ 7172 w 18351"/>
                  <a:gd name="connsiteY4" fmla="*/ 210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3">
                    <a:moveTo>
                      <a:pt x="7172" y="210"/>
                    </a:moveTo>
                    <a:cubicBezTo>
                      <a:pt x="2208" y="1287"/>
                      <a:pt x="-902" y="6191"/>
                      <a:pt x="234" y="11155"/>
                    </a:cubicBezTo>
                    <a:cubicBezTo>
                      <a:pt x="1311" y="16119"/>
                      <a:pt x="6215" y="19289"/>
                      <a:pt x="11179" y="18152"/>
                    </a:cubicBezTo>
                    <a:cubicBezTo>
                      <a:pt x="16143" y="17076"/>
                      <a:pt x="19253" y="12172"/>
                      <a:pt x="18117" y="7208"/>
                    </a:cubicBezTo>
                    <a:cubicBezTo>
                      <a:pt x="17040" y="2303"/>
                      <a:pt x="12136" y="-867"/>
                      <a:pt x="7172" y="210"/>
                    </a:cubicBezTo>
                    <a:close/>
                  </a:path>
                </a:pathLst>
              </a:custGeom>
              <a:grpFill/>
              <a:ln w="5978" cap="flat">
                <a:noFill/>
                <a:prstDash val="solid"/>
                <a:miter/>
              </a:ln>
            </p:spPr>
            <p:txBody>
              <a:bodyPr rtlCol="0" anchor="ctr"/>
              <a:lstStyle/>
              <a:p>
                <a:endParaRPr lang="en-GB"/>
              </a:p>
            </p:txBody>
          </p:sp>
        </p:grpSp>
        <p:grpSp>
          <p:nvGrpSpPr>
            <p:cNvPr id="24" name="Graphic 3">
              <a:extLst>
                <a:ext uri="{FF2B5EF4-FFF2-40B4-BE49-F238E27FC236}">
                  <a16:creationId xmlns:a16="http://schemas.microsoft.com/office/drawing/2014/main" id="{02C3B97D-D3A2-40B8-B342-CF1C825FDA75}"/>
                </a:ext>
              </a:extLst>
            </p:cNvPr>
            <p:cNvGrpSpPr/>
            <p:nvPr/>
          </p:nvGrpSpPr>
          <p:grpSpPr>
            <a:xfrm>
              <a:off x="7899111" y="3053672"/>
              <a:ext cx="349228" cy="72123"/>
              <a:chOff x="7899111" y="3053672"/>
              <a:chExt cx="349228" cy="72123"/>
            </a:xfrm>
            <a:grpFill/>
          </p:grpSpPr>
          <p:sp>
            <p:nvSpPr>
              <p:cNvPr id="5297" name="Vrije vorm: vorm 5296">
                <a:extLst>
                  <a:ext uri="{FF2B5EF4-FFF2-40B4-BE49-F238E27FC236}">
                    <a16:creationId xmlns:a16="http://schemas.microsoft.com/office/drawing/2014/main" id="{1228D3A9-5C3C-485E-A28C-588D73C6B7F0}"/>
                  </a:ext>
                </a:extLst>
              </p:cNvPr>
              <p:cNvSpPr/>
              <p:nvPr/>
            </p:nvSpPr>
            <p:spPr>
              <a:xfrm>
                <a:off x="7907278" y="3061375"/>
                <a:ext cx="332295" cy="56966"/>
              </a:xfrm>
              <a:custGeom>
                <a:avLst/>
                <a:gdLst>
                  <a:gd name="connsiteX0" fmla="*/ 0 w 332295"/>
                  <a:gd name="connsiteY0" fmla="*/ 53956 h 56966"/>
                  <a:gd name="connsiteX1" fmla="*/ 331806 w 332295"/>
                  <a:gd name="connsiteY1" fmla="*/ 0 h 56966"/>
                  <a:gd name="connsiteX2" fmla="*/ 332296 w 332295"/>
                  <a:gd name="connsiteY2" fmla="*/ 3011 h 56966"/>
                  <a:gd name="connsiteX3" fmla="*/ 490 w 332295"/>
                  <a:gd name="connsiteY3" fmla="*/ 56967 h 56966"/>
                </a:gdLst>
                <a:ahLst/>
                <a:cxnLst>
                  <a:cxn ang="0">
                    <a:pos x="connsiteX0" y="connsiteY0"/>
                  </a:cxn>
                  <a:cxn ang="0">
                    <a:pos x="connsiteX1" y="connsiteY1"/>
                  </a:cxn>
                  <a:cxn ang="0">
                    <a:pos x="connsiteX2" y="connsiteY2"/>
                  </a:cxn>
                  <a:cxn ang="0">
                    <a:pos x="connsiteX3" y="connsiteY3"/>
                  </a:cxn>
                </a:cxnLst>
                <a:rect l="l" t="t" r="r" b="b"/>
                <a:pathLst>
                  <a:path w="332295" h="56966">
                    <a:moveTo>
                      <a:pt x="0" y="53956"/>
                    </a:moveTo>
                    <a:lnTo>
                      <a:pt x="331806" y="0"/>
                    </a:lnTo>
                    <a:lnTo>
                      <a:pt x="332296" y="3011"/>
                    </a:lnTo>
                    <a:lnTo>
                      <a:pt x="490" y="56967"/>
                    </a:lnTo>
                    <a:close/>
                  </a:path>
                </a:pathLst>
              </a:custGeom>
              <a:grpFill/>
              <a:ln w="5978" cap="flat">
                <a:noFill/>
                <a:prstDash val="solid"/>
                <a:miter/>
              </a:ln>
            </p:spPr>
            <p:txBody>
              <a:bodyPr rtlCol="0" anchor="ctr"/>
              <a:lstStyle/>
              <a:p>
                <a:endParaRPr lang="en-GB"/>
              </a:p>
            </p:txBody>
          </p:sp>
          <p:sp>
            <p:nvSpPr>
              <p:cNvPr id="5298" name="Vrije vorm: vorm 5297">
                <a:extLst>
                  <a:ext uri="{FF2B5EF4-FFF2-40B4-BE49-F238E27FC236}">
                    <a16:creationId xmlns:a16="http://schemas.microsoft.com/office/drawing/2014/main" id="{4D9C9A04-9EBD-4C67-9F54-41F6A963645E}"/>
                  </a:ext>
                </a:extLst>
              </p:cNvPr>
              <p:cNvSpPr/>
              <p:nvPr/>
            </p:nvSpPr>
            <p:spPr>
              <a:xfrm>
                <a:off x="8230023" y="3053672"/>
                <a:ext cx="18316" cy="18490"/>
              </a:xfrm>
              <a:custGeom>
                <a:avLst/>
                <a:gdLst>
                  <a:gd name="connsiteX0" fmla="*/ 7664 w 18316"/>
                  <a:gd name="connsiteY0" fmla="*/ 125 h 18490"/>
                  <a:gd name="connsiteX1" fmla="*/ 18190 w 18316"/>
                  <a:gd name="connsiteY1" fmla="*/ 7780 h 18490"/>
                  <a:gd name="connsiteX2" fmla="*/ 10654 w 18316"/>
                  <a:gd name="connsiteY2" fmla="*/ 18366 h 18490"/>
                  <a:gd name="connsiteX3" fmla="*/ 128 w 18316"/>
                  <a:gd name="connsiteY3" fmla="*/ 10711 h 18490"/>
                  <a:gd name="connsiteX4" fmla="*/ 7664 w 18316"/>
                  <a:gd name="connsiteY4" fmla="*/ 125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90">
                    <a:moveTo>
                      <a:pt x="7664" y="125"/>
                    </a:moveTo>
                    <a:cubicBezTo>
                      <a:pt x="12628" y="-712"/>
                      <a:pt x="17353" y="2756"/>
                      <a:pt x="18190" y="7780"/>
                    </a:cubicBezTo>
                    <a:cubicBezTo>
                      <a:pt x="19027" y="12804"/>
                      <a:pt x="15618" y="17529"/>
                      <a:pt x="10654" y="18366"/>
                    </a:cubicBezTo>
                    <a:cubicBezTo>
                      <a:pt x="5690" y="19203"/>
                      <a:pt x="966" y="15735"/>
                      <a:pt x="128" y="10711"/>
                    </a:cubicBezTo>
                    <a:cubicBezTo>
                      <a:pt x="-709" y="5627"/>
                      <a:pt x="2640" y="902"/>
                      <a:pt x="7664" y="125"/>
                    </a:cubicBezTo>
                    <a:close/>
                  </a:path>
                </a:pathLst>
              </a:custGeom>
              <a:grpFill/>
              <a:ln w="5978" cap="flat">
                <a:noFill/>
                <a:prstDash val="solid"/>
                <a:miter/>
              </a:ln>
            </p:spPr>
            <p:txBody>
              <a:bodyPr rtlCol="0" anchor="ctr"/>
              <a:lstStyle/>
              <a:p>
                <a:endParaRPr lang="en-GB"/>
              </a:p>
            </p:txBody>
          </p:sp>
          <p:sp>
            <p:nvSpPr>
              <p:cNvPr id="5299" name="Vrije vorm: vorm 5298">
                <a:extLst>
                  <a:ext uri="{FF2B5EF4-FFF2-40B4-BE49-F238E27FC236}">
                    <a16:creationId xmlns:a16="http://schemas.microsoft.com/office/drawing/2014/main" id="{918E6B3A-5B8B-4E78-AE91-CA4125AAB6F8}"/>
                  </a:ext>
                </a:extLst>
              </p:cNvPr>
              <p:cNvSpPr/>
              <p:nvPr/>
            </p:nvSpPr>
            <p:spPr>
              <a:xfrm>
                <a:off x="7899111" y="3107333"/>
                <a:ext cx="18315" cy="18462"/>
              </a:xfrm>
              <a:custGeom>
                <a:avLst/>
                <a:gdLst>
                  <a:gd name="connsiteX0" fmla="*/ 7662 w 18315"/>
                  <a:gd name="connsiteY0" fmla="*/ 110 h 18462"/>
                  <a:gd name="connsiteX1" fmla="*/ 127 w 18315"/>
                  <a:gd name="connsiteY1" fmla="*/ 10696 h 18462"/>
                  <a:gd name="connsiteX2" fmla="*/ 10653 w 18315"/>
                  <a:gd name="connsiteY2" fmla="*/ 18352 h 18462"/>
                  <a:gd name="connsiteX3" fmla="*/ 18188 w 18315"/>
                  <a:gd name="connsiteY3" fmla="*/ 7766 h 18462"/>
                  <a:gd name="connsiteX4" fmla="*/ 7662 w 18315"/>
                  <a:gd name="connsiteY4" fmla="*/ 11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62">
                    <a:moveTo>
                      <a:pt x="7662" y="110"/>
                    </a:moveTo>
                    <a:cubicBezTo>
                      <a:pt x="2699" y="948"/>
                      <a:pt x="-711" y="5672"/>
                      <a:pt x="127" y="10696"/>
                    </a:cubicBezTo>
                    <a:cubicBezTo>
                      <a:pt x="964" y="15720"/>
                      <a:pt x="5689" y="19129"/>
                      <a:pt x="10653" y="18352"/>
                    </a:cubicBezTo>
                    <a:cubicBezTo>
                      <a:pt x="15617" y="17514"/>
                      <a:pt x="19026" y="12790"/>
                      <a:pt x="18188" y="7766"/>
                    </a:cubicBezTo>
                    <a:cubicBezTo>
                      <a:pt x="17351" y="2742"/>
                      <a:pt x="12627" y="-667"/>
                      <a:pt x="7662" y="110"/>
                    </a:cubicBezTo>
                    <a:close/>
                  </a:path>
                </a:pathLst>
              </a:custGeom>
              <a:grpFill/>
              <a:ln w="5978" cap="flat">
                <a:noFill/>
                <a:prstDash val="solid"/>
                <a:miter/>
              </a:ln>
            </p:spPr>
            <p:txBody>
              <a:bodyPr rtlCol="0" anchor="ctr"/>
              <a:lstStyle/>
              <a:p>
                <a:endParaRPr lang="en-GB"/>
              </a:p>
            </p:txBody>
          </p:sp>
        </p:grpSp>
        <p:grpSp>
          <p:nvGrpSpPr>
            <p:cNvPr id="25" name="Graphic 3">
              <a:extLst>
                <a:ext uri="{FF2B5EF4-FFF2-40B4-BE49-F238E27FC236}">
                  <a16:creationId xmlns:a16="http://schemas.microsoft.com/office/drawing/2014/main" id="{CD8DD8B8-B64F-4014-82FC-0E5C89448AD3}"/>
                </a:ext>
              </a:extLst>
            </p:cNvPr>
            <p:cNvGrpSpPr/>
            <p:nvPr/>
          </p:nvGrpSpPr>
          <p:grpSpPr>
            <a:xfrm>
              <a:off x="7693165" y="1997629"/>
              <a:ext cx="29259" cy="27753"/>
              <a:chOff x="7693165" y="1997629"/>
              <a:chExt cx="29259" cy="27753"/>
            </a:xfrm>
            <a:grpFill/>
          </p:grpSpPr>
          <p:sp>
            <p:nvSpPr>
              <p:cNvPr id="5295" name="Vrije vorm: vorm 5294">
                <a:extLst>
                  <a:ext uri="{FF2B5EF4-FFF2-40B4-BE49-F238E27FC236}">
                    <a16:creationId xmlns:a16="http://schemas.microsoft.com/office/drawing/2014/main" id="{E9CE67F9-7D56-48BD-97B9-7DF41CF9AFE0}"/>
                  </a:ext>
                </a:extLst>
              </p:cNvPr>
              <p:cNvSpPr/>
              <p:nvPr/>
            </p:nvSpPr>
            <p:spPr>
              <a:xfrm>
                <a:off x="7704109" y="1997629"/>
                <a:ext cx="18314" cy="18423"/>
              </a:xfrm>
              <a:custGeom>
                <a:avLst/>
                <a:gdLst>
                  <a:gd name="connsiteX0" fmla="*/ 15108 w 18314"/>
                  <a:gd name="connsiteY0" fmla="*/ 16239 h 18423"/>
                  <a:gd name="connsiteX1" fmla="*/ 2190 w 18314"/>
                  <a:gd name="connsiteY1" fmla="*/ 15163 h 18423"/>
                  <a:gd name="connsiteX2" fmla="*/ 3207 w 18314"/>
                  <a:gd name="connsiteY2" fmla="*/ 2185 h 18423"/>
                  <a:gd name="connsiteX3" fmla="*/ 16125 w 18314"/>
                  <a:gd name="connsiteY3" fmla="*/ 3261 h 18423"/>
                  <a:gd name="connsiteX4" fmla="*/ 15108 w 18314"/>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23">
                    <a:moveTo>
                      <a:pt x="15108" y="16239"/>
                    </a:moveTo>
                    <a:cubicBezTo>
                      <a:pt x="11280" y="19529"/>
                      <a:pt x="5479" y="19050"/>
                      <a:pt x="2190" y="15163"/>
                    </a:cubicBezTo>
                    <a:cubicBezTo>
                      <a:pt x="-1099" y="11275"/>
                      <a:pt x="-621" y="5474"/>
                      <a:pt x="3207" y="2185"/>
                    </a:cubicBezTo>
                    <a:cubicBezTo>
                      <a:pt x="7034" y="-1105"/>
                      <a:pt x="12836" y="-626"/>
                      <a:pt x="16125" y="3261"/>
                    </a:cubicBezTo>
                    <a:cubicBezTo>
                      <a:pt x="19414" y="7149"/>
                      <a:pt x="18936" y="12950"/>
                      <a:pt x="15108" y="16239"/>
                    </a:cubicBezTo>
                    <a:close/>
                  </a:path>
                </a:pathLst>
              </a:custGeom>
              <a:grpFill/>
              <a:ln w="5978" cap="flat">
                <a:noFill/>
                <a:prstDash val="solid"/>
                <a:miter/>
              </a:ln>
            </p:spPr>
            <p:txBody>
              <a:bodyPr rtlCol="0" anchor="ctr"/>
              <a:lstStyle/>
              <a:p>
                <a:endParaRPr lang="en-GB"/>
              </a:p>
            </p:txBody>
          </p:sp>
          <p:sp>
            <p:nvSpPr>
              <p:cNvPr id="5296" name="Vrije vorm: vorm 5295">
                <a:extLst>
                  <a:ext uri="{FF2B5EF4-FFF2-40B4-BE49-F238E27FC236}">
                    <a16:creationId xmlns:a16="http://schemas.microsoft.com/office/drawing/2014/main" id="{AA6E6816-3602-408B-9AE2-9C63B4403DEC}"/>
                  </a:ext>
                </a:extLst>
              </p:cNvPr>
              <p:cNvSpPr/>
              <p:nvPr/>
            </p:nvSpPr>
            <p:spPr>
              <a:xfrm>
                <a:off x="7693165" y="2006959"/>
                <a:ext cx="18315" cy="18423"/>
              </a:xfrm>
              <a:custGeom>
                <a:avLst/>
                <a:gdLst>
                  <a:gd name="connsiteX0" fmla="*/ 15109 w 18315"/>
                  <a:gd name="connsiteY0" fmla="*/ 16239 h 18423"/>
                  <a:gd name="connsiteX1" fmla="*/ 16125 w 18315"/>
                  <a:gd name="connsiteY1" fmla="*/ 3261 h 18423"/>
                  <a:gd name="connsiteX2" fmla="*/ 3207 w 18315"/>
                  <a:gd name="connsiteY2" fmla="*/ 2185 h 18423"/>
                  <a:gd name="connsiteX3" fmla="*/ 2190 w 18315"/>
                  <a:gd name="connsiteY3" fmla="*/ 15163 h 18423"/>
                  <a:gd name="connsiteX4" fmla="*/ 15109 w 18315"/>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3">
                    <a:moveTo>
                      <a:pt x="15109" y="16239"/>
                    </a:moveTo>
                    <a:cubicBezTo>
                      <a:pt x="18936" y="12950"/>
                      <a:pt x="19414" y="7149"/>
                      <a:pt x="16125" y="3261"/>
                    </a:cubicBezTo>
                    <a:cubicBezTo>
                      <a:pt x="12836" y="-626"/>
                      <a:pt x="7035" y="-1105"/>
                      <a:pt x="3207" y="2185"/>
                    </a:cubicBezTo>
                    <a:cubicBezTo>
                      <a:pt x="-621" y="5474"/>
                      <a:pt x="-1100" y="11275"/>
                      <a:pt x="2190" y="15163"/>
                    </a:cubicBezTo>
                    <a:cubicBezTo>
                      <a:pt x="5480" y="19050"/>
                      <a:pt x="11281" y="19529"/>
                      <a:pt x="15109" y="16239"/>
                    </a:cubicBezTo>
                    <a:close/>
                  </a:path>
                </a:pathLst>
              </a:custGeom>
              <a:grpFill/>
              <a:ln w="5978" cap="flat">
                <a:noFill/>
                <a:prstDash val="solid"/>
                <a:miter/>
              </a:ln>
            </p:spPr>
            <p:txBody>
              <a:bodyPr rtlCol="0" anchor="ctr"/>
              <a:lstStyle/>
              <a:p>
                <a:endParaRPr lang="en-GB"/>
              </a:p>
            </p:txBody>
          </p:sp>
        </p:grpSp>
        <p:grpSp>
          <p:nvGrpSpPr>
            <p:cNvPr id="26" name="Graphic 3">
              <a:extLst>
                <a:ext uri="{FF2B5EF4-FFF2-40B4-BE49-F238E27FC236}">
                  <a16:creationId xmlns:a16="http://schemas.microsoft.com/office/drawing/2014/main" id="{47822B4D-F6A3-47C5-BC08-43CA3CB0A8E1}"/>
                </a:ext>
              </a:extLst>
            </p:cNvPr>
            <p:cNvGrpSpPr/>
            <p:nvPr/>
          </p:nvGrpSpPr>
          <p:grpSpPr>
            <a:xfrm>
              <a:off x="7939916" y="2718470"/>
              <a:ext cx="22197" cy="19854"/>
              <a:chOff x="7939916" y="2718470"/>
              <a:chExt cx="22197" cy="19854"/>
            </a:xfrm>
            <a:grpFill/>
          </p:grpSpPr>
          <p:sp>
            <p:nvSpPr>
              <p:cNvPr id="5293" name="Vrije vorm: vorm 5292">
                <a:extLst>
                  <a:ext uri="{FF2B5EF4-FFF2-40B4-BE49-F238E27FC236}">
                    <a16:creationId xmlns:a16="http://schemas.microsoft.com/office/drawing/2014/main" id="{411A3D86-425A-40D5-98D4-CD28FC3E3288}"/>
                  </a:ext>
                </a:extLst>
              </p:cNvPr>
              <p:cNvSpPr/>
              <p:nvPr/>
            </p:nvSpPr>
            <p:spPr>
              <a:xfrm>
                <a:off x="7939916" y="2719882"/>
                <a:ext cx="18309" cy="18442"/>
              </a:xfrm>
              <a:custGeom>
                <a:avLst/>
                <a:gdLst>
                  <a:gd name="connsiteX0" fmla="*/ 6031 w 18309"/>
                  <a:gd name="connsiteY0" fmla="*/ 549 h 18442"/>
                  <a:gd name="connsiteX1" fmla="*/ 17753 w 18309"/>
                  <a:gd name="connsiteY1" fmla="*/ 6111 h 18442"/>
                  <a:gd name="connsiteX2" fmla="*/ 12310 w 18309"/>
                  <a:gd name="connsiteY2" fmla="*/ 17894 h 18442"/>
                  <a:gd name="connsiteX3" fmla="*/ 588 w 18309"/>
                  <a:gd name="connsiteY3" fmla="*/ 12331 h 18442"/>
                  <a:gd name="connsiteX4" fmla="*/ 6031 w 18309"/>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42">
                    <a:moveTo>
                      <a:pt x="6031" y="549"/>
                    </a:moveTo>
                    <a:cubicBezTo>
                      <a:pt x="10756" y="-1185"/>
                      <a:pt x="16019" y="1327"/>
                      <a:pt x="17753" y="6111"/>
                    </a:cubicBezTo>
                    <a:cubicBezTo>
                      <a:pt x="19487" y="10896"/>
                      <a:pt x="17035" y="16159"/>
                      <a:pt x="12310" y="17894"/>
                    </a:cubicBezTo>
                    <a:cubicBezTo>
                      <a:pt x="7586" y="19628"/>
                      <a:pt x="2323" y="17116"/>
                      <a:pt x="588" y="12331"/>
                    </a:cubicBezTo>
                    <a:cubicBezTo>
                      <a:pt x="-1206" y="7547"/>
                      <a:pt x="1246" y="2284"/>
                      <a:pt x="6031" y="549"/>
                    </a:cubicBezTo>
                    <a:close/>
                  </a:path>
                </a:pathLst>
              </a:custGeom>
              <a:grpFill/>
              <a:ln w="5978" cap="flat">
                <a:noFill/>
                <a:prstDash val="solid"/>
                <a:miter/>
              </a:ln>
            </p:spPr>
            <p:txBody>
              <a:bodyPr rtlCol="0" anchor="ctr"/>
              <a:lstStyle/>
              <a:p>
                <a:endParaRPr lang="en-GB"/>
              </a:p>
            </p:txBody>
          </p:sp>
          <p:sp>
            <p:nvSpPr>
              <p:cNvPr id="5294" name="Vrije vorm: vorm 5293">
                <a:extLst>
                  <a:ext uri="{FF2B5EF4-FFF2-40B4-BE49-F238E27FC236}">
                    <a16:creationId xmlns:a16="http://schemas.microsoft.com/office/drawing/2014/main" id="{A99E7F64-BDFF-4D6A-8D68-094986ECF616}"/>
                  </a:ext>
                </a:extLst>
              </p:cNvPr>
              <p:cNvSpPr/>
              <p:nvPr/>
            </p:nvSpPr>
            <p:spPr>
              <a:xfrm>
                <a:off x="7943775" y="2718470"/>
                <a:ext cx="18339" cy="18419"/>
              </a:xfrm>
              <a:custGeom>
                <a:avLst/>
                <a:gdLst>
                  <a:gd name="connsiteX0" fmla="*/ 6000 w 18339"/>
                  <a:gd name="connsiteY0" fmla="*/ 526 h 18419"/>
                  <a:gd name="connsiteX1" fmla="*/ 557 w 18339"/>
                  <a:gd name="connsiteY1" fmla="*/ 12308 h 18419"/>
                  <a:gd name="connsiteX2" fmla="*/ 12339 w 18339"/>
                  <a:gd name="connsiteY2" fmla="*/ 17870 h 18419"/>
                  <a:gd name="connsiteX3" fmla="*/ 17782 w 18339"/>
                  <a:gd name="connsiteY3" fmla="*/ 6088 h 18419"/>
                  <a:gd name="connsiteX4" fmla="*/ 6000 w 18339"/>
                  <a:gd name="connsiteY4" fmla="*/ 52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9">
                    <a:moveTo>
                      <a:pt x="6000" y="526"/>
                    </a:moveTo>
                    <a:cubicBezTo>
                      <a:pt x="1275" y="2260"/>
                      <a:pt x="-1177" y="7523"/>
                      <a:pt x="557" y="12308"/>
                    </a:cubicBezTo>
                    <a:cubicBezTo>
                      <a:pt x="2292" y="17092"/>
                      <a:pt x="7555" y="19604"/>
                      <a:pt x="12339" y="17870"/>
                    </a:cubicBezTo>
                    <a:cubicBezTo>
                      <a:pt x="17064" y="16135"/>
                      <a:pt x="19517" y="10872"/>
                      <a:pt x="17782" y="6088"/>
                    </a:cubicBezTo>
                    <a:cubicBezTo>
                      <a:pt x="16047" y="1303"/>
                      <a:pt x="10784" y="-1149"/>
                      <a:pt x="6000" y="526"/>
                    </a:cubicBezTo>
                    <a:close/>
                  </a:path>
                </a:pathLst>
              </a:custGeom>
              <a:grpFill/>
              <a:ln w="5978" cap="flat">
                <a:noFill/>
                <a:prstDash val="solid"/>
                <a:miter/>
              </a:ln>
            </p:spPr>
            <p:txBody>
              <a:bodyPr rtlCol="0" anchor="ctr"/>
              <a:lstStyle/>
              <a:p>
                <a:endParaRPr lang="en-GB"/>
              </a:p>
            </p:txBody>
          </p:sp>
        </p:grpSp>
        <p:grpSp>
          <p:nvGrpSpPr>
            <p:cNvPr id="27" name="Graphic 3">
              <a:extLst>
                <a:ext uri="{FF2B5EF4-FFF2-40B4-BE49-F238E27FC236}">
                  <a16:creationId xmlns:a16="http://schemas.microsoft.com/office/drawing/2014/main" id="{A461A2BC-0AC8-438A-8FD8-BB3583896EC7}"/>
                </a:ext>
              </a:extLst>
            </p:cNvPr>
            <p:cNvGrpSpPr/>
            <p:nvPr/>
          </p:nvGrpSpPr>
          <p:grpSpPr>
            <a:xfrm>
              <a:off x="8085411" y="3344457"/>
              <a:ext cx="127042" cy="21598"/>
              <a:chOff x="8085411" y="3344457"/>
              <a:chExt cx="127042" cy="21598"/>
            </a:xfrm>
            <a:grpFill/>
          </p:grpSpPr>
          <p:sp>
            <p:nvSpPr>
              <p:cNvPr id="5290" name="Vrije vorm: vorm 5289">
                <a:extLst>
                  <a:ext uri="{FF2B5EF4-FFF2-40B4-BE49-F238E27FC236}">
                    <a16:creationId xmlns:a16="http://schemas.microsoft.com/office/drawing/2014/main" id="{2FB6A83B-87D0-4C3B-9726-E2761B521673}"/>
                  </a:ext>
                </a:extLst>
              </p:cNvPr>
              <p:cNvSpPr/>
              <p:nvPr/>
            </p:nvSpPr>
            <p:spPr>
              <a:xfrm>
                <a:off x="8094090" y="3352175"/>
                <a:ext cx="109746" cy="6279"/>
              </a:xfrm>
              <a:custGeom>
                <a:avLst/>
                <a:gdLst>
                  <a:gd name="connsiteX0" fmla="*/ 109626 w 109746"/>
                  <a:gd name="connsiteY0" fmla="*/ 0 h 6279"/>
                  <a:gd name="connsiteX1" fmla="*/ 109746 w 109746"/>
                  <a:gd name="connsiteY1" fmla="*/ 3050 h 6279"/>
                  <a:gd name="connsiteX2" fmla="*/ 120 w 109746"/>
                  <a:gd name="connsiteY2" fmla="*/ 6280 h 6279"/>
                  <a:gd name="connsiteX3" fmla="*/ 0 w 109746"/>
                  <a:gd name="connsiteY3" fmla="*/ 3230 h 6279"/>
                </a:gdLst>
                <a:ahLst/>
                <a:cxnLst>
                  <a:cxn ang="0">
                    <a:pos x="connsiteX0" y="connsiteY0"/>
                  </a:cxn>
                  <a:cxn ang="0">
                    <a:pos x="connsiteX1" y="connsiteY1"/>
                  </a:cxn>
                  <a:cxn ang="0">
                    <a:pos x="connsiteX2" y="connsiteY2"/>
                  </a:cxn>
                  <a:cxn ang="0">
                    <a:pos x="connsiteX3" y="connsiteY3"/>
                  </a:cxn>
                </a:cxnLst>
                <a:rect l="l" t="t" r="r" b="b"/>
                <a:pathLst>
                  <a:path w="109746" h="6279">
                    <a:moveTo>
                      <a:pt x="109626" y="0"/>
                    </a:moveTo>
                    <a:lnTo>
                      <a:pt x="109746" y="3050"/>
                    </a:lnTo>
                    <a:lnTo>
                      <a:pt x="120" y="6280"/>
                    </a:lnTo>
                    <a:lnTo>
                      <a:pt x="0" y="3230"/>
                    </a:lnTo>
                    <a:close/>
                  </a:path>
                </a:pathLst>
              </a:custGeom>
              <a:grpFill/>
              <a:ln w="5978" cap="flat">
                <a:noFill/>
                <a:prstDash val="solid"/>
                <a:miter/>
              </a:ln>
            </p:spPr>
            <p:txBody>
              <a:bodyPr rtlCol="0" anchor="ctr"/>
              <a:lstStyle/>
              <a:p>
                <a:endParaRPr lang="en-GB"/>
              </a:p>
            </p:txBody>
          </p:sp>
          <p:sp>
            <p:nvSpPr>
              <p:cNvPr id="5291" name="Vrije vorm: vorm 5290">
                <a:extLst>
                  <a:ext uri="{FF2B5EF4-FFF2-40B4-BE49-F238E27FC236}">
                    <a16:creationId xmlns:a16="http://schemas.microsoft.com/office/drawing/2014/main" id="{261A4A03-3B79-4060-A5F2-AFA355211961}"/>
                  </a:ext>
                </a:extLst>
              </p:cNvPr>
              <p:cNvSpPr/>
              <p:nvPr/>
            </p:nvSpPr>
            <p:spPr>
              <a:xfrm>
                <a:off x="8194141" y="3344457"/>
                <a:ext cx="18312" cy="18366"/>
              </a:xfrm>
              <a:custGeom>
                <a:avLst/>
                <a:gdLst>
                  <a:gd name="connsiteX0" fmla="*/ 8857 w 18312"/>
                  <a:gd name="connsiteY0" fmla="*/ 3 h 18366"/>
                  <a:gd name="connsiteX1" fmla="*/ 18307 w 18312"/>
                  <a:gd name="connsiteY1" fmla="*/ 8914 h 18366"/>
                  <a:gd name="connsiteX2" fmla="*/ 9455 w 18312"/>
                  <a:gd name="connsiteY2" fmla="*/ 18364 h 18366"/>
                  <a:gd name="connsiteX3" fmla="*/ 6 w 18312"/>
                  <a:gd name="connsiteY3" fmla="*/ 9452 h 18366"/>
                  <a:gd name="connsiteX4" fmla="*/ 8857 w 18312"/>
                  <a:gd name="connsiteY4" fmla="*/ 3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66">
                    <a:moveTo>
                      <a:pt x="8857" y="3"/>
                    </a:moveTo>
                    <a:cubicBezTo>
                      <a:pt x="13941" y="-117"/>
                      <a:pt x="18128" y="3830"/>
                      <a:pt x="18307" y="8914"/>
                    </a:cubicBezTo>
                    <a:cubicBezTo>
                      <a:pt x="18486" y="13998"/>
                      <a:pt x="14539" y="18244"/>
                      <a:pt x="9455" y="18364"/>
                    </a:cubicBezTo>
                    <a:cubicBezTo>
                      <a:pt x="4372" y="18483"/>
                      <a:pt x="185" y="14536"/>
                      <a:pt x="6" y="9452"/>
                    </a:cubicBezTo>
                    <a:cubicBezTo>
                      <a:pt x="-174" y="4428"/>
                      <a:pt x="3774" y="182"/>
                      <a:pt x="8857" y="3"/>
                    </a:cubicBezTo>
                    <a:close/>
                  </a:path>
                </a:pathLst>
              </a:custGeom>
              <a:grpFill/>
              <a:ln w="5978" cap="flat">
                <a:noFill/>
                <a:prstDash val="solid"/>
                <a:miter/>
              </a:ln>
            </p:spPr>
            <p:txBody>
              <a:bodyPr rtlCol="0" anchor="ctr"/>
              <a:lstStyle/>
              <a:p>
                <a:endParaRPr lang="en-GB"/>
              </a:p>
            </p:txBody>
          </p:sp>
          <p:sp>
            <p:nvSpPr>
              <p:cNvPr id="5292" name="Vrije vorm: vorm 5291">
                <a:extLst>
                  <a:ext uri="{FF2B5EF4-FFF2-40B4-BE49-F238E27FC236}">
                    <a16:creationId xmlns:a16="http://schemas.microsoft.com/office/drawing/2014/main" id="{09AE84F4-7FCB-454E-A70E-DC4EB9F388A7}"/>
                  </a:ext>
                </a:extLst>
              </p:cNvPr>
              <p:cNvSpPr/>
              <p:nvPr/>
            </p:nvSpPr>
            <p:spPr>
              <a:xfrm>
                <a:off x="8085411" y="3347687"/>
                <a:ext cx="18313" cy="18369"/>
              </a:xfrm>
              <a:custGeom>
                <a:avLst/>
                <a:gdLst>
                  <a:gd name="connsiteX0" fmla="*/ 8857 w 18313"/>
                  <a:gd name="connsiteY0" fmla="*/ 3 h 18369"/>
                  <a:gd name="connsiteX1" fmla="*/ 6 w 18313"/>
                  <a:gd name="connsiteY1" fmla="*/ 9452 h 18369"/>
                  <a:gd name="connsiteX2" fmla="*/ 9456 w 18313"/>
                  <a:gd name="connsiteY2" fmla="*/ 18363 h 18369"/>
                  <a:gd name="connsiteX3" fmla="*/ 18307 w 18313"/>
                  <a:gd name="connsiteY3" fmla="*/ 8914 h 18369"/>
                  <a:gd name="connsiteX4" fmla="*/ 8857 w 18313"/>
                  <a:gd name="connsiteY4" fmla="*/ 3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69">
                    <a:moveTo>
                      <a:pt x="8857" y="3"/>
                    </a:moveTo>
                    <a:cubicBezTo>
                      <a:pt x="3774" y="122"/>
                      <a:pt x="-173" y="4368"/>
                      <a:pt x="6" y="9452"/>
                    </a:cubicBezTo>
                    <a:cubicBezTo>
                      <a:pt x="185" y="14536"/>
                      <a:pt x="4432" y="18543"/>
                      <a:pt x="9456" y="18363"/>
                    </a:cubicBezTo>
                    <a:cubicBezTo>
                      <a:pt x="14539" y="18244"/>
                      <a:pt x="18487" y="13997"/>
                      <a:pt x="18307" y="8914"/>
                    </a:cubicBezTo>
                    <a:cubicBezTo>
                      <a:pt x="18187" y="3890"/>
                      <a:pt x="13941" y="-117"/>
                      <a:pt x="8857" y="3"/>
                    </a:cubicBezTo>
                    <a:close/>
                  </a:path>
                </a:pathLst>
              </a:custGeom>
              <a:grpFill/>
              <a:ln w="5978" cap="flat">
                <a:noFill/>
                <a:prstDash val="solid"/>
                <a:miter/>
              </a:ln>
            </p:spPr>
            <p:txBody>
              <a:bodyPr rtlCol="0" anchor="ctr"/>
              <a:lstStyle/>
              <a:p>
                <a:endParaRPr lang="en-GB"/>
              </a:p>
            </p:txBody>
          </p:sp>
        </p:grpSp>
        <p:grpSp>
          <p:nvGrpSpPr>
            <p:cNvPr id="28" name="Graphic 3">
              <a:extLst>
                <a:ext uri="{FF2B5EF4-FFF2-40B4-BE49-F238E27FC236}">
                  <a16:creationId xmlns:a16="http://schemas.microsoft.com/office/drawing/2014/main" id="{80262C6F-D6B9-4F16-A949-E98EF141ADE5}"/>
                </a:ext>
              </a:extLst>
            </p:cNvPr>
            <p:cNvGrpSpPr/>
            <p:nvPr/>
          </p:nvGrpSpPr>
          <p:grpSpPr>
            <a:xfrm>
              <a:off x="7595726" y="2137324"/>
              <a:ext cx="356684" cy="246079"/>
              <a:chOff x="7595726" y="2137324"/>
              <a:chExt cx="356684" cy="246079"/>
            </a:xfrm>
            <a:grpFill/>
          </p:grpSpPr>
          <p:sp>
            <p:nvSpPr>
              <p:cNvPr id="5287" name="Vrije vorm: vorm 5286">
                <a:extLst>
                  <a:ext uri="{FF2B5EF4-FFF2-40B4-BE49-F238E27FC236}">
                    <a16:creationId xmlns:a16="http://schemas.microsoft.com/office/drawing/2014/main" id="{D2262F87-1BFE-4F06-A710-483A2436A123}"/>
                  </a:ext>
                </a:extLst>
              </p:cNvPr>
              <p:cNvSpPr/>
              <p:nvPr/>
            </p:nvSpPr>
            <p:spPr>
              <a:xfrm>
                <a:off x="7603670" y="2145026"/>
                <a:ext cx="340781" cy="230676"/>
              </a:xfrm>
              <a:custGeom>
                <a:avLst/>
                <a:gdLst>
                  <a:gd name="connsiteX0" fmla="*/ 340781 w 340781"/>
                  <a:gd name="connsiteY0" fmla="*/ 2512 h 230676"/>
                  <a:gd name="connsiteX1" fmla="*/ 1734 w 340781"/>
                  <a:gd name="connsiteY1" fmla="*/ 230676 h 230676"/>
                  <a:gd name="connsiteX2" fmla="*/ 0 w 340781"/>
                  <a:gd name="connsiteY2" fmla="*/ 228105 h 230676"/>
                  <a:gd name="connsiteX3" fmla="*/ 339047 w 340781"/>
                  <a:gd name="connsiteY3" fmla="*/ 0 h 230676"/>
                </a:gdLst>
                <a:ahLst/>
                <a:cxnLst>
                  <a:cxn ang="0">
                    <a:pos x="connsiteX0" y="connsiteY0"/>
                  </a:cxn>
                  <a:cxn ang="0">
                    <a:pos x="connsiteX1" y="connsiteY1"/>
                  </a:cxn>
                  <a:cxn ang="0">
                    <a:pos x="connsiteX2" y="connsiteY2"/>
                  </a:cxn>
                  <a:cxn ang="0">
                    <a:pos x="connsiteX3" y="connsiteY3"/>
                  </a:cxn>
                </a:cxnLst>
                <a:rect l="l" t="t" r="r" b="b"/>
                <a:pathLst>
                  <a:path w="340781" h="230676">
                    <a:moveTo>
                      <a:pt x="340781" y="2512"/>
                    </a:moveTo>
                    <a:lnTo>
                      <a:pt x="1734" y="230676"/>
                    </a:lnTo>
                    <a:lnTo>
                      <a:pt x="0" y="228105"/>
                    </a:lnTo>
                    <a:lnTo>
                      <a:pt x="339047" y="0"/>
                    </a:lnTo>
                    <a:close/>
                  </a:path>
                </a:pathLst>
              </a:custGeom>
              <a:grpFill/>
              <a:ln w="5978" cap="flat">
                <a:noFill/>
                <a:prstDash val="solid"/>
                <a:miter/>
              </a:ln>
            </p:spPr>
            <p:txBody>
              <a:bodyPr rtlCol="0" anchor="ctr"/>
              <a:lstStyle/>
              <a:p>
                <a:endParaRPr lang="en-GB"/>
              </a:p>
            </p:txBody>
          </p:sp>
          <p:sp>
            <p:nvSpPr>
              <p:cNvPr id="5288" name="Vrije vorm: vorm 5287">
                <a:extLst>
                  <a:ext uri="{FF2B5EF4-FFF2-40B4-BE49-F238E27FC236}">
                    <a16:creationId xmlns:a16="http://schemas.microsoft.com/office/drawing/2014/main" id="{D49F8078-59AB-46D4-AC80-BE43C9D48259}"/>
                  </a:ext>
                </a:extLst>
              </p:cNvPr>
              <p:cNvSpPr/>
              <p:nvPr/>
            </p:nvSpPr>
            <p:spPr>
              <a:xfrm>
                <a:off x="7934040" y="2137324"/>
                <a:ext cx="18371" cy="18453"/>
              </a:xfrm>
              <a:custGeom>
                <a:avLst/>
                <a:gdLst>
                  <a:gd name="connsiteX0" fmla="*/ 4072 w 18371"/>
                  <a:gd name="connsiteY0" fmla="*/ 1541 h 18453"/>
                  <a:gd name="connsiteX1" fmla="*/ 16811 w 18371"/>
                  <a:gd name="connsiteY1" fmla="*/ 4113 h 18453"/>
                  <a:gd name="connsiteX2" fmla="*/ 14299 w 18371"/>
                  <a:gd name="connsiteY2" fmla="*/ 16912 h 18453"/>
                  <a:gd name="connsiteX3" fmla="*/ 1560 w 18371"/>
                  <a:gd name="connsiteY3" fmla="*/ 14340 h 18453"/>
                  <a:gd name="connsiteX4" fmla="*/ 4072 w 18371"/>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3">
                    <a:moveTo>
                      <a:pt x="4072" y="1541"/>
                    </a:moveTo>
                    <a:cubicBezTo>
                      <a:pt x="8259" y="-1270"/>
                      <a:pt x="13940" y="-133"/>
                      <a:pt x="16811" y="4113"/>
                    </a:cubicBezTo>
                    <a:cubicBezTo>
                      <a:pt x="19622" y="8359"/>
                      <a:pt x="18546" y="14041"/>
                      <a:pt x="14299" y="16912"/>
                    </a:cubicBezTo>
                    <a:cubicBezTo>
                      <a:pt x="10112" y="19723"/>
                      <a:pt x="4431" y="18587"/>
                      <a:pt x="1560" y="14340"/>
                    </a:cubicBezTo>
                    <a:cubicBezTo>
                      <a:pt x="-1251" y="10094"/>
                      <a:pt x="-174" y="4352"/>
                      <a:pt x="4072" y="1541"/>
                    </a:cubicBezTo>
                    <a:close/>
                  </a:path>
                </a:pathLst>
              </a:custGeom>
              <a:grpFill/>
              <a:ln w="5978" cap="flat">
                <a:noFill/>
                <a:prstDash val="solid"/>
                <a:miter/>
              </a:ln>
            </p:spPr>
            <p:txBody>
              <a:bodyPr rtlCol="0" anchor="ctr"/>
              <a:lstStyle/>
              <a:p>
                <a:endParaRPr lang="en-GB"/>
              </a:p>
            </p:txBody>
          </p:sp>
          <p:sp>
            <p:nvSpPr>
              <p:cNvPr id="5289" name="Vrije vorm: vorm 5288">
                <a:extLst>
                  <a:ext uri="{FF2B5EF4-FFF2-40B4-BE49-F238E27FC236}">
                    <a16:creationId xmlns:a16="http://schemas.microsoft.com/office/drawing/2014/main" id="{07FE025C-E9A0-4C3F-B25B-F4DB911B0DE3}"/>
                  </a:ext>
                </a:extLst>
              </p:cNvPr>
              <p:cNvSpPr/>
              <p:nvPr/>
            </p:nvSpPr>
            <p:spPr>
              <a:xfrm>
                <a:off x="7595726" y="2364951"/>
                <a:ext cx="18325" cy="18453"/>
              </a:xfrm>
              <a:custGeom>
                <a:avLst/>
                <a:gdLst>
                  <a:gd name="connsiteX0" fmla="*/ 4056 w 18325"/>
                  <a:gd name="connsiteY0" fmla="*/ 1541 h 18453"/>
                  <a:gd name="connsiteX1" fmla="*/ 1544 w 18325"/>
                  <a:gd name="connsiteY1" fmla="*/ 14340 h 18453"/>
                  <a:gd name="connsiteX2" fmla="*/ 14283 w 18325"/>
                  <a:gd name="connsiteY2" fmla="*/ 16912 h 18453"/>
                  <a:gd name="connsiteX3" fmla="*/ 16736 w 18325"/>
                  <a:gd name="connsiteY3" fmla="*/ 4113 h 18453"/>
                  <a:gd name="connsiteX4" fmla="*/ 4056 w 18325"/>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3">
                    <a:moveTo>
                      <a:pt x="4056" y="1541"/>
                    </a:moveTo>
                    <a:cubicBezTo>
                      <a:pt x="-130" y="4352"/>
                      <a:pt x="-1267" y="10094"/>
                      <a:pt x="1544" y="14340"/>
                    </a:cubicBezTo>
                    <a:cubicBezTo>
                      <a:pt x="4356" y="18587"/>
                      <a:pt x="10097" y="19723"/>
                      <a:pt x="14283" y="16912"/>
                    </a:cubicBezTo>
                    <a:cubicBezTo>
                      <a:pt x="18470" y="14101"/>
                      <a:pt x="19606" y="8359"/>
                      <a:pt x="16736" y="4113"/>
                    </a:cubicBezTo>
                    <a:cubicBezTo>
                      <a:pt x="13985" y="-133"/>
                      <a:pt x="8243" y="-1270"/>
                      <a:pt x="4056" y="1541"/>
                    </a:cubicBezTo>
                    <a:close/>
                  </a:path>
                </a:pathLst>
              </a:custGeom>
              <a:grpFill/>
              <a:ln w="5978" cap="flat">
                <a:noFill/>
                <a:prstDash val="solid"/>
                <a:miter/>
              </a:ln>
            </p:spPr>
            <p:txBody>
              <a:bodyPr rtlCol="0" anchor="ctr"/>
              <a:lstStyle/>
              <a:p>
                <a:endParaRPr lang="en-GB"/>
              </a:p>
            </p:txBody>
          </p:sp>
        </p:grpSp>
        <p:grpSp>
          <p:nvGrpSpPr>
            <p:cNvPr id="29" name="Graphic 3">
              <a:extLst>
                <a:ext uri="{FF2B5EF4-FFF2-40B4-BE49-F238E27FC236}">
                  <a16:creationId xmlns:a16="http://schemas.microsoft.com/office/drawing/2014/main" id="{983FA609-203E-4D5B-A143-1AE100C64980}"/>
                </a:ext>
              </a:extLst>
            </p:cNvPr>
            <p:cNvGrpSpPr/>
            <p:nvPr/>
          </p:nvGrpSpPr>
          <p:grpSpPr>
            <a:xfrm>
              <a:off x="7740010" y="2373544"/>
              <a:ext cx="142129" cy="88824"/>
              <a:chOff x="7740010" y="2373544"/>
              <a:chExt cx="142129" cy="88824"/>
            </a:xfrm>
            <a:grpFill/>
          </p:grpSpPr>
          <p:sp>
            <p:nvSpPr>
              <p:cNvPr id="5284" name="Vrije vorm: vorm 5283">
                <a:extLst>
                  <a:ext uri="{FF2B5EF4-FFF2-40B4-BE49-F238E27FC236}">
                    <a16:creationId xmlns:a16="http://schemas.microsoft.com/office/drawing/2014/main" id="{A9CB5C2A-183C-4E22-9112-F75AB5431D17}"/>
                  </a:ext>
                </a:extLst>
              </p:cNvPr>
              <p:cNvSpPr/>
              <p:nvPr/>
            </p:nvSpPr>
            <p:spPr>
              <a:xfrm>
                <a:off x="7748174" y="2381315"/>
                <a:ext cx="126063" cy="73512"/>
              </a:xfrm>
              <a:custGeom>
                <a:avLst/>
                <a:gdLst>
                  <a:gd name="connsiteX0" fmla="*/ 0 w 126063"/>
                  <a:gd name="connsiteY0" fmla="*/ 70861 h 73512"/>
                  <a:gd name="connsiteX1" fmla="*/ 124554 w 126063"/>
                  <a:gd name="connsiteY1" fmla="*/ 0 h 73512"/>
                  <a:gd name="connsiteX2" fmla="*/ 126063 w 126063"/>
                  <a:gd name="connsiteY2" fmla="*/ 2652 h 73512"/>
                  <a:gd name="connsiteX3" fmla="*/ 1508 w 126063"/>
                  <a:gd name="connsiteY3" fmla="*/ 73512 h 73512"/>
                </a:gdLst>
                <a:ahLst/>
                <a:cxnLst>
                  <a:cxn ang="0">
                    <a:pos x="connsiteX0" y="connsiteY0"/>
                  </a:cxn>
                  <a:cxn ang="0">
                    <a:pos x="connsiteX1" y="connsiteY1"/>
                  </a:cxn>
                  <a:cxn ang="0">
                    <a:pos x="connsiteX2" y="connsiteY2"/>
                  </a:cxn>
                  <a:cxn ang="0">
                    <a:pos x="connsiteX3" y="connsiteY3"/>
                  </a:cxn>
                </a:cxnLst>
                <a:rect l="l" t="t" r="r" b="b"/>
                <a:pathLst>
                  <a:path w="126063" h="73512">
                    <a:moveTo>
                      <a:pt x="0" y="70861"/>
                    </a:moveTo>
                    <a:lnTo>
                      <a:pt x="124554" y="0"/>
                    </a:lnTo>
                    <a:lnTo>
                      <a:pt x="126063" y="2652"/>
                    </a:lnTo>
                    <a:lnTo>
                      <a:pt x="1508" y="73512"/>
                    </a:lnTo>
                    <a:close/>
                  </a:path>
                </a:pathLst>
              </a:custGeom>
              <a:grpFill/>
              <a:ln w="5978" cap="flat">
                <a:noFill/>
                <a:prstDash val="solid"/>
                <a:miter/>
              </a:ln>
            </p:spPr>
            <p:txBody>
              <a:bodyPr rtlCol="0" anchor="ctr"/>
              <a:lstStyle/>
              <a:p>
                <a:endParaRPr lang="en-GB"/>
              </a:p>
            </p:txBody>
          </p:sp>
          <p:sp>
            <p:nvSpPr>
              <p:cNvPr id="5285" name="Vrije vorm: vorm 5284">
                <a:extLst>
                  <a:ext uri="{FF2B5EF4-FFF2-40B4-BE49-F238E27FC236}">
                    <a16:creationId xmlns:a16="http://schemas.microsoft.com/office/drawing/2014/main" id="{D7CA4E63-88D8-4EAC-B77C-ADB984B9DC4D}"/>
                  </a:ext>
                </a:extLst>
              </p:cNvPr>
              <p:cNvSpPr/>
              <p:nvPr/>
            </p:nvSpPr>
            <p:spPr>
              <a:xfrm>
                <a:off x="7863811" y="2373544"/>
                <a:ext cx="18328" cy="18431"/>
              </a:xfrm>
              <a:custGeom>
                <a:avLst/>
                <a:gdLst>
                  <a:gd name="connsiteX0" fmla="*/ 4626 w 18328"/>
                  <a:gd name="connsiteY0" fmla="*/ 1202 h 18431"/>
                  <a:gd name="connsiteX1" fmla="*/ 17125 w 18328"/>
                  <a:gd name="connsiteY1" fmla="*/ 4670 h 18431"/>
                  <a:gd name="connsiteX2" fmla="*/ 13716 w 18328"/>
                  <a:gd name="connsiteY2" fmla="*/ 17230 h 18431"/>
                  <a:gd name="connsiteX3" fmla="*/ 1217 w 18328"/>
                  <a:gd name="connsiteY3" fmla="*/ 13761 h 18431"/>
                  <a:gd name="connsiteX4" fmla="*/ 4626 w 18328"/>
                  <a:gd name="connsiteY4" fmla="*/ 12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26" y="1202"/>
                    </a:moveTo>
                    <a:cubicBezTo>
                      <a:pt x="8992" y="-1310"/>
                      <a:pt x="14613" y="245"/>
                      <a:pt x="17125" y="4670"/>
                    </a:cubicBezTo>
                    <a:cubicBezTo>
                      <a:pt x="19637" y="9096"/>
                      <a:pt x="18083" y="14718"/>
                      <a:pt x="13716" y="17230"/>
                    </a:cubicBezTo>
                    <a:cubicBezTo>
                      <a:pt x="9350" y="19742"/>
                      <a:pt x="3729" y="18187"/>
                      <a:pt x="1217" y="13761"/>
                    </a:cubicBezTo>
                    <a:cubicBezTo>
                      <a:pt x="-1296" y="9275"/>
                      <a:pt x="200" y="3653"/>
                      <a:pt x="4626" y="1202"/>
                    </a:cubicBezTo>
                    <a:close/>
                  </a:path>
                </a:pathLst>
              </a:custGeom>
              <a:grpFill/>
              <a:ln w="5978" cap="flat">
                <a:noFill/>
                <a:prstDash val="solid"/>
                <a:miter/>
              </a:ln>
            </p:spPr>
            <p:txBody>
              <a:bodyPr rtlCol="0" anchor="ctr"/>
              <a:lstStyle/>
              <a:p>
                <a:endParaRPr lang="en-GB"/>
              </a:p>
            </p:txBody>
          </p:sp>
          <p:sp>
            <p:nvSpPr>
              <p:cNvPr id="5286" name="Vrije vorm: vorm 5285">
                <a:extLst>
                  <a:ext uri="{FF2B5EF4-FFF2-40B4-BE49-F238E27FC236}">
                    <a16:creationId xmlns:a16="http://schemas.microsoft.com/office/drawing/2014/main" id="{7236BFBF-C59C-4997-B7A2-367AFEDB3378}"/>
                  </a:ext>
                </a:extLst>
              </p:cNvPr>
              <p:cNvSpPr/>
              <p:nvPr/>
            </p:nvSpPr>
            <p:spPr>
              <a:xfrm>
                <a:off x="7740010" y="2443937"/>
                <a:ext cx="18341" cy="18431"/>
              </a:xfrm>
              <a:custGeom>
                <a:avLst/>
                <a:gdLst>
                  <a:gd name="connsiteX0" fmla="*/ 4625 w 18341"/>
                  <a:gd name="connsiteY0" fmla="*/ 1202 h 18431"/>
                  <a:gd name="connsiteX1" fmla="*/ 1217 w 18341"/>
                  <a:gd name="connsiteY1" fmla="*/ 13761 h 18431"/>
                  <a:gd name="connsiteX2" fmla="*/ 13716 w 18341"/>
                  <a:gd name="connsiteY2" fmla="*/ 17230 h 18431"/>
                  <a:gd name="connsiteX3" fmla="*/ 17125 w 18341"/>
                  <a:gd name="connsiteY3" fmla="*/ 4670 h 18431"/>
                  <a:gd name="connsiteX4" fmla="*/ 4625 w 18341"/>
                  <a:gd name="connsiteY4" fmla="*/ 12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1">
                    <a:moveTo>
                      <a:pt x="4625" y="1202"/>
                    </a:moveTo>
                    <a:cubicBezTo>
                      <a:pt x="200" y="3713"/>
                      <a:pt x="-1296" y="9335"/>
                      <a:pt x="1217" y="13761"/>
                    </a:cubicBezTo>
                    <a:cubicBezTo>
                      <a:pt x="3728" y="18187"/>
                      <a:pt x="9290" y="19742"/>
                      <a:pt x="13716" y="17230"/>
                    </a:cubicBezTo>
                    <a:cubicBezTo>
                      <a:pt x="18142" y="14718"/>
                      <a:pt x="19637" y="9096"/>
                      <a:pt x="17125" y="4670"/>
                    </a:cubicBezTo>
                    <a:cubicBezTo>
                      <a:pt x="14613" y="245"/>
                      <a:pt x="9051" y="-1310"/>
                      <a:pt x="4625" y="1202"/>
                    </a:cubicBezTo>
                    <a:close/>
                  </a:path>
                </a:pathLst>
              </a:custGeom>
              <a:grpFill/>
              <a:ln w="5978" cap="flat">
                <a:noFill/>
                <a:prstDash val="solid"/>
                <a:miter/>
              </a:ln>
            </p:spPr>
            <p:txBody>
              <a:bodyPr rtlCol="0" anchor="ctr"/>
              <a:lstStyle/>
              <a:p>
                <a:endParaRPr lang="en-GB"/>
              </a:p>
            </p:txBody>
          </p:sp>
        </p:grpSp>
        <p:grpSp>
          <p:nvGrpSpPr>
            <p:cNvPr id="30" name="Graphic 3">
              <a:extLst>
                <a:ext uri="{FF2B5EF4-FFF2-40B4-BE49-F238E27FC236}">
                  <a16:creationId xmlns:a16="http://schemas.microsoft.com/office/drawing/2014/main" id="{9EDF87BA-4A7F-47A7-82B7-BA314331A81E}"/>
                </a:ext>
              </a:extLst>
            </p:cNvPr>
            <p:cNvGrpSpPr/>
            <p:nvPr/>
          </p:nvGrpSpPr>
          <p:grpSpPr>
            <a:xfrm>
              <a:off x="7695812" y="2274387"/>
              <a:ext cx="197392" cy="129386"/>
              <a:chOff x="7695812" y="2274387"/>
              <a:chExt cx="197392" cy="129386"/>
            </a:xfrm>
            <a:grpFill/>
          </p:grpSpPr>
          <p:sp>
            <p:nvSpPr>
              <p:cNvPr id="5281" name="Vrije vorm: vorm 5280">
                <a:extLst>
                  <a:ext uri="{FF2B5EF4-FFF2-40B4-BE49-F238E27FC236}">
                    <a16:creationId xmlns:a16="http://schemas.microsoft.com/office/drawing/2014/main" id="{984468AD-674D-4F31-9C8A-23AFBB852184}"/>
                  </a:ext>
                </a:extLst>
              </p:cNvPr>
              <p:cNvSpPr/>
              <p:nvPr/>
            </p:nvSpPr>
            <p:spPr>
              <a:xfrm>
                <a:off x="7703728" y="2282044"/>
                <a:ext cx="181514" cy="114052"/>
              </a:xfrm>
              <a:custGeom>
                <a:avLst/>
                <a:gdLst>
                  <a:gd name="connsiteX0" fmla="*/ 181515 w 181514"/>
                  <a:gd name="connsiteY0" fmla="*/ 2631 h 114052"/>
                  <a:gd name="connsiteX1" fmla="*/ 1615 w 181514"/>
                  <a:gd name="connsiteY1" fmla="*/ 114052 h 114052"/>
                  <a:gd name="connsiteX2" fmla="*/ 0 w 181514"/>
                  <a:gd name="connsiteY2" fmla="*/ 111481 h 114052"/>
                  <a:gd name="connsiteX3" fmla="*/ 179900 w 181514"/>
                  <a:gd name="connsiteY3" fmla="*/ 0 h 114052"/>
                </a:gdLst>
                <a:ahLst/>
                <a:cxnLst>
                  <a:cxn ang="0">
                    <a:pos x="connsiteX0" y="connsiteY0"/>
                  </a:cxn>
                  <a:cxn ang="0">
                    <a:pos x="connsiteX1" y="connsiteY1"/>
                  </a:cxn>
                  <a:cxn ang="0">
                    <a:pos x="connsiteX2" y="connsiteY2"/>
                  </a:cxn>
                  <a:cxn ang="0">
                    <a:pos x="connsiteX3" y="connsiteY3"/>
                  </a:cxn>
                </a:cxnLst>
                <a:rect l="l" t="t" r="r" b="b"/>
                <a:pathLst>
                  <a:path w="181514" h="114052">
                    <a:moveTo>
                      <a:pt x="181515" y="2631"/>
                    </a:moveTo>
                    <a:lnTo>
                      <a:pt x="1615" y="114052"/>
                    </a:lnTo>
                    <a:lnTo>
                      <a:pt x="0" y="111481"/>
                    </a:lnTo>
                    <a:lnTo>
                      <a:pt x="179900" y="0"/>
                    </a:lnTo>
                    <a:close/>
                  </a:path>
                </a:pathLst>
              </a:custGeom>
              <a:grpFill/>
              <a:ln w="5978" cap="flat">
                <a:noFill/>
                <a:prstDash val="solid"/>
                <a:miter/>
              </a:ln>
            </p:spPr>
            <p:txBody>
              <a:bodyPr rtlCol="0" anchor="ctr"/>
              <a:lstStyle/>
              <a:p>
                <a:endParaRPr lang="en-GB"/>
              </a:p>
            </p:txBody>
          </p:sp>
          <p:sp>
            <p:nvSpPr>
              <p:cNvPr id="5282" name="Vrije vorm: vorm 5281">
                <a:extLst>
                  <a:ext uri="{FF2B5EF4-FFF2-40B4-BE49-F238E27FC236}">
                    <a16:creationId xmlns:a16="http://schemas.microsoft.com/office/drawing/2014/main" id="{37300261-4EF7-442A-ADB3-B7B125E20DF4}"/>
                  </a:ext>
                </a:extLst>
              </p:cNvPr>
              <p:cNvSpPr/>
              <p:nvPr/>
            </p:nvSpPr>
            <p:spPr>
              <a:xfrm>
                <a:off x="7874875" y="2274387"/>
                <a:ext cx="18329" cy="18484"/>
              </a:xfrm>
              <a:custGeom>
                <a:avLst/>
                <a:gdLst>
                  <a:gd name="connsiteX0" fmla="*/ 4327 w 18329"/>
                  <a:gd name="connsiteY0" fmla="*/ 1378 h 18484"/>
                  <a:gd name="connsiteX1" fmla="*/ 16946 w 18329"/>
                  <a:gd name="connsiteY1" fmla="*/ 4428 h 18484"/>
                  <a:gd name="connsiteX2" fmla="*/ 14016 w 18329"/>
                  <a:gd name="connsiteY2" fmla="*/ 17107 h 18484"/>
                  <a:gd name="connsiteX3" fmla="*/ 1397 w 18329"/>
                  <a:gd name="connsiteY3" fmla="*/ 14057 h 18484"/>
                  <a:gd name="connsiteX4" fmla="*/ 4327 w 18329"/>
                  <a:gd name="connsiteY4" fmla="*/ 137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84">
                    <a:moveTo>
                      <a:pt x="4327" y="1378"/>
                    </a:moveTo>
                    <a:cubicBezTo>
                      <a:pt x="8633" y="-1314"/>
                      <a:pt x="14255" y="62"/>
                      <a:pt x="16946" y="4428"/>
                    </a:cubicBezTo>
                    <a:cubicBezTo>
                      <a:pt x="19638" y="8734"/>
                      <a:pt x="18263" y="14415"/>
                      <a:pt x="14016" y="17107"/>
                    </a:cubicBezTo>
                    <a:cubicBezTo>
                      <a:pt x="9710" y="19798"/>
                      <a:pt x="4088" y="18423"/>
                      <a:pt x="1397" y="14057"/>
                    </a:cubicBezTo>
                    <a:cubicBezTo>
                      <a:pt x="-1294" y="9691"/>
                      <a:pt x="21" y="4009"/>
                      <a:pt x="4327" y="1378"/>
                    </a:cubicBezTo>
                    <a:close/>
                  </a:path>
                </a:pathLst>
              </a:custGeom>
              <a:grpFill/>
              <a:ln w="5978" cap="flat">
                <a:noFill/>
                <a:prstDash val="solid"/>
                <a:miter/>
              </a:ln>
            </p:spPr>
            <p:txBody>
              <a:bodyPr rtlCol="0" anchor="ctr"/>
              <a:lstStyle/>
              <a:p>
                <a:endParaRPr lang="en-GB"/>
              </a:p>
            </p:txBody>
          </p:sp>
          <p:sp>
            <p:nvSpPr>
              <p:cNvPr id="5283" name="Vrije vorm: vorm 5282">
                <a:extLst>
                  <a:ext uri="{FF2B5EF4-FFF2-40B4-BE49-F238E27FC236}">
                    <a16:creationId xmlns:a16="http://schemas.microsoft.com/office/drawing/2014/main" id="{05AF4B18-64D6-46E4-BDCF-B4BDB6B2B191}"/>
                  </a:ext>
                </a:extLst>
              </p:cNvPr>
              <p:cNvSpPr/>
              <p:nvPr/>
            </p:nvSpPr>
            <p:spPr>
              <a:xfrm>
                <a:off x="7695812" y="2385356"/>
                <a:ext cx="18343" cy="18417"/>
              </a:xfrm>
              <a:custGeom>
                <a:avLst/>
                <a:gdLst>
                  <a:gd name="connsiteX0" fmla="*/ 4328 w 18343"/>
                  <a:gd name="connsiteY0" fmla="*/ 1351 h 18417"/>
                  <a:gd name="connsiteX1" fmla="*/ 1397 w 18343"/>
                  <a:gd name="connsiteY1" fmla="*/ 14030 h 18417"/>
                  <a:gd name="connsiteX2" fmla="*/ 14016 w 18343"/>
                  <a:gd name="connsiteY2" fmla="*/ 17080 h 18417"/>
                  <a:gd name="connsiteX3" fmla="*/ 16947 w 18343"/>
                  <a:gd name="connsiteY3" fmla="*/ 4401 h 18417"/>
                  <a:gd name="connsiteX4" fmla="*/ 4328 w 18343"/>
                  <a:gd name="connsiteY4" fmla="*/ 1351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7">
                    <a:moveTo>
                      <a:pt x="4328" y="1351"/>
                    </a:moveTo>
                    <a:cubicBezTo>
                      <a:pt x="21" y="4042"/>
                      <a:pt x="-1295" y="9664"/>
                      <a:pt x="1397" y="14030"/>
                    </a:cubicBezTo>
                    <a:cubicBezTo>
                      <a:pt x="4088" y="18336"/>
                      <a:pt x="9710" y="19712"/>
                      <a:pt x="14016" y="17080"/>
                    </a:cubicBezTo>
                    <a:cubicBezTo>
                      <a:pt x="18322" y="14389"/>
                      <a:pt x="19638" y="8767"/>
                      <a:pt x="16947" y="4401"/>
                    </a:cubicBezTo>
                    <a:cubicBezTo>
                      <a:pt x="14255" y="35"/>
                      <a:pt x="8634" y="-1280"/>
                      <a:pt x="4328" y="1351"/>
                    </a:cubicBezTo>
                    <a:close/>
                  </a:path>
                </a:pathLst>
              </a:custGeom>
              <a:grpFill/>
              <a:ln w="5978" cap="flat">
                <a:noFill/>
                <a:prstDash val="solid"/>
                <a:miter/>
              </a:ln>
            </p:spPr>
            <p:txBody>
              <a:bodyPr rtlCol="0" anchor="ctr"/>
              <a:lstStyle/>
              <a:p>
                <a:endParaRPr lang="en-GB"/>
              </a:p>
            </p:txBody>
          </p:sp>
        </p:grpSp>
        <p:grpSp>
          <p:nvGrpSpPr>
            <p:cNvPr id="31" name="Graphic 3">
              <a:extLst>
                <a:ext uri="{FF2B5EF4-FFF2-40B4-BE49-F238E27FC236}">
                  <a16:creationId xmlns:a16="http://schemas.microsoft.com/office/drawing/2014/main" id="{2858F916-EBC8-45F5-A7A7-B920C2A561D4}"/>
                </a:ext>
              </a:extLst>
            </p:cNvPr>
            <p:cNvGrpSpPr/>
            <p:nvPr/>
          </p:nvGrpSpPr>
          <p:grpSpPr>
            <a:xfrm>
              <a:off x="7438561" y="1556095"/>
              <a:ext cx="299538" cy="329556"/>
              <a:chOff x="7438561" y="1556095"/>
              <a:chExt cx="299538" cy="329556"/>
            </a:xfrm>
            <a:grpFill/>
          </p:grpSpPr>
          <p:sp>
            <p:nvSpPr>
              <p:cNvPr id="5278" name="Vrije vorm: vorm 5277">
                <a:extLst>
                  <a:ext uri="{FF2B5EF4-FFF2-40B4-BE49-F238E27FC236}">
                    <a16:creationId xmlns:a16="http://schemas.microsoft.com/office/drawing/2014/main" id="{5E7A9D54-D832-4D33-9C27-426BD691FB57}"/>
                  </a:ext>
                </a:extLst>
              </p:cNvPr>
              <p:cNvSpPr/>
              <p:nvPr/>
            </p:nvSpPr>
            <p:spPr>
              <a:xfrm>
                <a:off x="7446257" y="1563939"/>
                <a:ext cx="284144" cy="313868"/>
              </a:xfrm>
              <a:custGeom>
                <a:avLst/>
                <a:gdLst>
                  <a:gd name="connsiteX0" fmla="*/ 284144 w 284144"/>
                  <a:gd name="connsiteY0" fmla="*/ 2033 h 313868"/>
                  <a:gd name="connsiteX1" fmla="*/ 2273 w 284144"/>
                  <a:gd name="connsiteY1" fmla="*/ 313868 h 313868"/>
                  <a:gd name="connsiteX2" fmla="*/ 0 w 284144"/>
                  <a:gd name="connsiteY2" fmla="*/ 311775 h 313868"/>
                  <a:gd name="connsiteX3" fmla="*/ 281871 w 284144"/>
                  <a:gd name="connsiteY3" fmla="*/ 0 h 313868"/>
                </a:gdLst>
                <a:ahLst/>
                <a:cxnLst>
                  <a:cxn ang="0">
                    <a:pos x="connsiteX0" y="connsiteY0"/>
                  </a:cxn>
                  <a:cxn ang="0">
                    <a:pos x="connsiteX1" y="connsiteY1"/>
                  </a:cxn>
                  <a:cxn ang="0">
                    <a:pos x="connsiteX2" y="connsiteY2"/>
                  </a:cxn>
                  <a:cxn ang="0">
                    <a:pos x="connsiteX3" y="connsiteY3"/>
                  </a:cxn>
                </a:cxnLst>
                <a:rect l="l" t="t" r="r" b="b"/>
                <a:pathLst>
                  <a:path w="284144" h="313868">
                    <a:moveTo>
                      <a:pt x="284144" y="2033"/>
                    </a:moveTo>
                    <a:lnTo>
                      <a:pt x="2273" y="313868"/>
                    </a:lnTo>
                    <a:lnTo>
                      <a:pt x="0" y="311775"/>
                    </a:lnTo>
                    <a:lnTo>
                      <a:pt x="281871" y="0"/>
                    </a:lnTo>
                    <a:close/>
                  </a:path>
                </a:pathLst>
              </a:custGeom>
              <a:grpFill/>
              <a:ln w="5978" cap="flat">
                <a:noFill/>
                <a:prstDash val="solid"/>
                <a:miter/>
              </a:ln>
            </p:spPr>
            <p:txBody>
              <a:bodyPr rtlCol="0" anchor="ctr"/>
              <a:lstStyle/>
              <a:p>
                <a:endParaRPr lang="en-GB"/>
              </a:p>
            </p:txBody>
          </p:sp>
          <p:sp>
            <p:nvSpPr>
              <p:cNvPr id="5279" name="Vrije vorm: vorm 5278">
                <a:extLst>
                  <a:ext uri="{FF2B5EF4-FFF2-40B4-BE49-F238E27FC236}">
                    <a16:creationId xmlns:a16="http://schemas.microsoft.com/office/drawing/2014/main" id="{5E505FC5-4D67-4BA7-9959-9425DD5B1865}"/>
                  </a:ext>
                </a:extLst>
              </p:cNvPr>
              <p:cNvSpPr/>
              <p:nvPr/>
            </p:nvSpPr>
            <p:spPr>
              <a:xfrm>
                <a:off x="7719774" y="1556095"/>
                <a:ext cx="18325" cy="18438"/>
              </a:xfrm>
              <a:custGeom>
                <a:avLst/>
                <a:gdLst>
                  <a:gd name="connsiteX0" fmla="*/ 2374 w 18325"/>
                  <a:gd name="connsiteY0" fmla="*/ 2999 h 18438"/>
                  <a:gd name="connsiteX1" fmla="*/ 15293 w 18325"/>
                  <a:gd name="connsiteY1" fmla="*/ 2401 h 18438"/>
                  <a:gd name="connsiteX2" fmla="*/ 15951 w 18325"/>
                  <a:gd name="connsiteY2" fmla="*/ 15439 h 18438"/>
                  <a:gd name="connsiteX3" fmla="*/ 3032 w 18325"/>
                  <a:gd name="connsiteY3" fmla="*/ 16038 h 18438"/>
                  <a:gd name="connsiteX4" fmla="*/ 2374 w 18325"/>
                  <a:gd name="connsiteY4" fmla="*/ 299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8">
                    <a:moveTo>
                      <a:pt x="2374" y="2999"/>
                    </a:moveTo>
                    <a:cubicBezTo>
                      <a:pt x="5784" y="-768"/>
                      <a:pt x="11585" y="-1008"/>
                      <a:pt x="15293" y="2401"/>
                    </a:cubicBezTo>
                    <a:cubicBezTo>
                      <a:pt x="19061" y="5810"/>
                      <a:pt x="19360" y="11672"/>
                      <a:pt x="15951" y="15439"/>
                    </a:cubicBezTo>
                    <a:cubicBezTo>
                      <a:pt x="12542" y="19207"/>
                      <a:pt x="6740" y="19446"/>
                      <a:pt x="3032" y="16038"/>
                    </a:cubicBezTo>
                    <a:cubicBezTo>
                      <a:pt x="-736" y="12569"/>
                      <a:pt x="-1034" y="6767"/>
                      <a:pt x="2374" y="2999"/>
                    </a:cubicBezTo>
                    <a:close/>
                  </a:path>
                </a:pathLst>
              </a:custGeom>
              <a:grpFill/>
              <a:ln w="5978" cap="flat">
                <a:noFill/>
                <a:prstDash val="solid"/>
                <a:miter/>
              </a:ln>
            </p:spPr>
            <p:txBody>
              <a:bodyPr rtlCol="0" anchor="ctr"/>
              <a:lstStyle/>
              <a:p>
                <a:endParaRPr lang="en-GB"/>
              </a:p>
            </p:txBody>
          </p:sp>
          <p:sp>
            <p:nvSpPr>
              <p:cNvPr id="5280" name="Vrije vorm: vorm 5279">
                <a:extLst>
                  <a:ext uri="{FF2B5EF4-FFF2-40B4-BE49-F238E27FC236}">
                    <a16:creationId xmlns:a16="http://schemas.microsoft.com/office/drawing/2014/main" id="{9142C70B-9CE5-46CB-96AC-A47D2D71E49D}"/>
                  </a:ext>
                </a:extLst>
              </p:cNvPr>
              <p:cNvSpPr/>
              <p:nvPr/>
            </p:nvSpPr>
            <p:spPr>
              <a:xfrm>
                <a:off x="7438561" y="1867189"/>
                <a:ext cx="18324" cy="18462"/>
              </a:xfrm>
              <a:custGeom>
                <a:avLst/>
                <a:gdLst>
                  <a:gd name="connsiteX0" fmla="*/ 2374 w 18324"/>
                  <a:gd name="connsiteY0" fmla="*/ 3023 h 18462"/>
                  <a:gd name="connsiteX1" fmla="*/ 3032 w 18324"/>
                  <a:gd name="connsiteY1" fmla="*/ 16061 h 18462"/>
                  <a:gd name="connsiteX2" fmla="*/ 15950 w 18324"/>
                  <a:gd name="connsiteY2" fmla="*/ 15463 h 18462"/>
                  <a:gd name="connsiteX3" fmla="*/ 15292 w 18324"/>
                  <a:gd name="connsiteY3" fmla="*/ 2425 h 18462"/>
                  <a:gd name="connsiteX4" fmla="*/ 2374 w 18324"/>
                  <a:gd name="connsiteY4" fmla="*/ 3023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2">
                    <a:moveTo>
                      <a:pt x="2374" y="3023"/>
                    </a:moveTo>
                    <a:cubicBezTo>
                      <a:pt x="-1035" y="6791"/>
                      <a:pt x="-735" y="12592"/>
                      <a:pt x="3032" y="16061"/>
                    </a:cubicBezTo>
                    <a:cubicBezTo>
                      <a:pt x="6800" y="19470"/>
                      <a:pt x="12601" y="19231"/>
                      <a:pt x="15950" y="15463"/>
                    </a:cubicBezTo>
                    <a:cubicBezTo>
                      <a:pt x="19360" y="11695"/>
                      <a:pt x="19060" y="5894"/>
                      <a:pt x="15292" y="2425"/>
                    </a:cubicBezTo>
                    <a:cubicBezTo>
                      <a:pt x="11525" y="-1044"/>
                      <a:pt x="5783" y="-745"/>
                      <a:pt x="2374" y="3023"/>
                    </a:cubicBezTo>
                    <a:close/>
                  </a:path>
                </a:pathLst>
              </a:custGeom>
              <a:grpFill/>
              <a:ln w="5978" cap="flat">
                <a:noFill/>
                <a:prstDash val="solid"/>
                <a:miter/>
              </a:ln>
            </p:spPr>
            <p:txBody>
              <a:bodyPr rtlCol="0" anchor="ctr"/>
              <a:lstStyle/>
              <a:p>
                <a:endParaRPr lang="en-GB"/>
              </a:p>
            </p:txBody>
          </p:sp>
        </p:grpSp>
        <p:grpSp>
          <p:nvGrpSpPr>
            <p:cNvPr id="32" name="Graphic 3">
              <a:extLst>
                <a:ext uri="{FF2B5EF4-FFF2-40B4-BE49-F238E27FC236}">
                  <a16:creationId xmlns:a16="http://schemas.microsoft.com/office/drawing/2014/main" id="{598B86F6-77C5-49D2-A3E0-39CCD73C7A8A}"/>
                </a:ext>
              </a:extLst>
            </p:cNvPr>
            <p:cNvGrpSpPr/>
            <p:nvPr/>
          </p:nvGrpSpPr>
          <p:grpSpPr>
            <a:xfrm>
              <a:off x="7904006" y="2887780"/>
              <a:ext cx="158819" cy="55001"/>
              <a:chOff x="7904006" y="2887780"/>
              <a:chExt cx="158819" cy="55001"/>
            </a:xfrm>
            <a:grpFill/>
          </p:grpSpPr>
          <p:sp>
            <p:nvSpPr>
              <p:cNvPr id="5275" name="Vrije vorm: vorm 5274">
                <a:extLst>
                  <a:ext uri="{FF2B5EF4-FFF2-40B4-BE49-F238E27FC236}">
                    <a16:creationId xmlns:a16="http://schemas.microsoft.com/office/drawing/2014/main" id="{10246E55-040F-479E-84B8-3FBA5927E6C5}"/>
                  </a:ext>
                </a:extLst>
              </p:cNvPr>
              <p:cNvSpPr/>
              <p:nvPr/>
            </p:nvSpPr>
            <p:spPr>
              <a:xfrm>
                <a:off x="7912321" y="2895629"/>
                <a:ext cx="142158" cy="39785"/>
              </a:xfrm>
              <a:custGeom>
                <a:avLst/>
                <a:gdLst>
                  <a:gd name="connsiteX0" fmla="*/ 0 w 142158"/>
                  <a:gd name="connsiteY0" fmla="*/ 36834 h 39785"/>
                  <a:gd name="connsiteX1" fmla="*/ 141390 w 142158"/>
                  <a:gd name="connsiteY1" fmla="*/ 0 h 39785"/>
                  <a:gd name="connsiteX2" fmla="*/ 142159 w 142158"/>
                  <a:gd name="connsiteY2" fmla="*/ 2952 h 39785"/>
                  <a:gd name="connsiteX3" fmla="*/ 769 w 142158"/>
                  <a:gd name="connsiteY3" fmla="*/ 39786 h 39785"/>
                </a:gdLst>
                <a:ahLst/>
                <a:cxnLst>
                  <a:cxn ang="0">
                    <a:pos x="connsiteX0" y="connsiteY0"/>
                  </a:cxn>
                  <a:cxn ang="0">
                    <a:pos x="connsiteX1" y="connsiteY1"/>
                  </a:cxn>
                  <a:cxn ang="0">
                    <a:pos x="connsiteX2" y="connsiteY2"/>
                  </a:cxn>
                  <a:cxn ang="0">
                    <a:pos x="connsiteX3" y="connsiteY3"/>
                  </a:cxn>
                </a:cxnLst>
                <a:rect l="l" t="t" r="r" b="b"/>
                <a:pathLst>
                  <a:path w="142158" h="39785">
                    <a:moveTo>
                      <a:pt x="0" y="36834"/>
                    </a:moveTo>
                    <a:lnTo>
                      <a:pt x="141390" y="0"/>
                    </a:lnTo>
                    <a:lnTo>
                      <a:pt x="142159" y="2952"/>
                    </a:lnTo>
                    <a:lnTo>
                      <a:pt x="769" y="39786"/>
                    </a:lnTo>
                    <a:close/>
                  </a:path>
                </a:pathLst>
              </a:custGeom>
              <a:grpFill/>
              <a:ln w="5978" cap="flat">
                <a:noFill/>
                <a:prstDash val="solid"/>
                <a:miter/>
              </a:ln>
            </p:spPr>
            <p:txBody>
              <a:bodyPr rtlCol="0" anchor="ctr"/>
              <a:lstStyle/>
              <a:p>
                <a:endParaRPr lang="en-GB"/>
              </a:p>
            </p:txBody>
          </p:sp>
          <p:sp>
            <p:nvSpPr>
              <p:cNvPr id="5276" name="Vrije vorm: vorm 5275">
                <a:extLst>
                  <a:ext uri="{FF2B5EF4-FFF2-40B4-BE49-F238E27FC236}">
                    <a16:creationId xmlns:a16="http://schemas.microsoft.com/office/drawing/2014/main" id="{049D14D3-F7E2-426E-95BA-DE2095F16E48}"/>
                  </a:ext>
                </a:extLst>
              </p:cNvPr>
              <p:cNvSpPr/>
              <p:nvPr/>
            </p:nvSpPr>
            <p:spPr>
              <a:xfrm>
                <a:off x="8044514" y="2887780"/>
                <a:ext cx="18312" cy="18462"/>
              </a:xfrm>
              <a:custGeom>
                <a:avLst/>
                <a:gdLst>
                  <a:gd name="connsiteX0" fmla="*/ 6814 w 18312"/>
                  <a:gd name="connsiteY0" fmla="*/ 290 h 18462"/>
                  <a:gd name="connsiteX1" fmla="*/ 17997 w 18312"/>
                  <a:gd name="connsiteY1" fmla="*/ 6929 h 18462"/>
                  <a:gd name="connsiteX2" fmla="*/ 11479 w 18312"/>
                  <a:gd name="connsiteY2" fmla="*/ 18173 h 18462"/>
                  <a:gd name="connsiteX3" fmla="*/ 295 w 18312"/>
                  <a:gd name="connsiteY3" fmla="*/ 11534 h 18462"/>
                  <a:gd name="connsiteX4" fmla="*/ 6814 w 18312"/>
                  <a:gd name="connsiteY4" fmla="*/ 29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62">
                    <a:moveTo>
                      <a:pt x="6814" y="290"/>
                    </a:moveTo>
                    <a:cubicBezTo>
                      <a:pt x="11717" y="-966"/>
                      <a:pt x="16742" y="1965"/>
                      <a:pt x="17997" y="6929"/>
                    </a:cubicBezTo>
                    <a:cubicBezTo>
                      <a:pt x="19313" y="11833"/>
                      <a:pt x="16383" y="16857"/>
                      <a:pt x="11479" y="18173"/>
                    </a:cubicBezTo>
                    <a:cubicBezTo>
                      <a:pt x="6574" y="19429"/>
                      <a:pt x="1550" y="16498"/>
                      <a:pt x="295" y="11534"/>
                    </a:cubicBezTo>
                    <a:cubicBezTo>
                      <a:pt x="-962" y="6570"/>
                      <a:pt x="1909" y="1546"/>
                      <a:pt x="6814" y="290"/>
                    </a:cubicBezTo>
                    <a:close/>
                  </a:path>
                </a:pathLst>
              </a:custGeom>
              <a:grpFill/>
              <a:ln w="5978" cap="flat">
                <a:noFill/>
                <a:prstDash val="solid"/>
                <a:miter/>
              </a:ln>
            </p:spPr>
            <p:txBody>
              <a:bodyPr rtlCol="0" anchor="ctr"/>
              <a:lstStyle/>
              <a:p>
                <a:endParaRPr lang="en-GB"/>
              </a:p>
            </p:txBody>
          </p:sp>
          <p:sp>
            <p:nvSpPr>
              <p:cNvPr id="5277" name="Vrije vorm: vorm 5276">
                <a:extLst>
                  <a:ext uri="{FF2B5EF4-FFF2-40B4-BE49-F238E27FC236}">
                    <a16:creationId xmlns:a16="http://schemas.microsoft.com/office/drawing/2014/main" id="{14802A4C-9753-4335-AFB1-D6F2406087DF}"/>
                  </a:ext>
                </a:extLst>
              </p:cNvPr>
              <p:cNvSpPr/>
              <p:nvPr/>
            </p:nvSpPr>
            <p:spPr>
              <a:xfrm>
                <a:off x="7904006" y="2924323"/>
                <a:ext cx="18332" cy="18459"/>
              </a:xfrm>
              <a:custGeom>
                <a:avLst/>
                <a:gdLst>
                  <a:gd name="connsiteX0" fmla="*/ 6834 w 18332"/>
                  <a:gd name="connsiteY0" fmla="*/ 290 h 18459"/>
                  <a:gd name="connsiteX1" fmla="*/ 315 w 18332"/>
                  <a:gd name="connsiteY1" fmla="*/ 11534 h 18459"/>
                  <a:gd name="connsiteX2" fmla="*/ 11499 w 18332"/>
                  <a:gd name="connsiteY2" fmla="*/ 18173 h 18459"/>
                  <a:gd name="connsiteX3" fmla="*/ 18018 w 18332"/>
                  <a:gd name="connsiteY3" fmla="*/ 6929 h 18459"/>
                  <a:gd name="connsiteX4" fmla="*/ 6834 w 18332"/>
                  <a:gd name="connsiteY4" fmla="*/ 290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9">
                    <a:moveTo>
                      <a:pt x="6834" y="290"/>
                    </a:moveTo>
                    <a:cubicBezTo>
                      <a:pt x="1929" y="1546"/>
                      <a:pt x="-1001" y="6570"/>
                      <a:pt x="315" y="11534"/>
                    </a:cubicBezTo>
                    <a:cubicBezTo>
                      <a:pt x="1571" y="16438"/>
                      <a:pt x="6594" y="19429"/>
                      <a:pt x="11499" y="18173"/>
                    </a:cubicBezTo>
                    <a:cubicBezTo>
                      <a:pt x="16403" y="16917"/>
                      <a:pt x="19333" y="11893"/>
                      <a:pt x="18018" y="6929"/>
                    </a:cubicBezTo>
                    <a:cubicBezTo>
                      <a:pt x="16762" y="1965"/>
                      <a:pt x="11738" y="-966"/>
                      <a:pt x="6834" y="290"/>
                    </a:cubicBezTo>
                    <a:close/>
                  </a:path>
                </a:pathLst>
              </a:custGeom>
              <a:grpFill/>
              <a:ln w="5978" cap="flat">
                <a:noFill/>
                <a:prstDash val="solid"/>
                <a:miter/>
              </a:ln>
            </p:spPr>
            <p:txBody>
              <a:bodyPr rtlCol="0" anchor="ctr"/>
              <a:lstStyle/>
              <a:p>
                <a:endParaRPr lang="en-GB"/>
              </a:p>
            </p:txBody>
          </p:sp>
        </p:grpSp>
        <p:grpSp>
          <p:nvGrpSpPr>
            <p:cNvPr id="33" name="Graphic 3">
              <a:extLst>
                <a:ext uri="{FF2B5EF4-FFF2-40B4-BE49-F238E27FC236}">
                  <a16:creationId xmlns:a16="http://schemas.microsoft.com/office/drawing/2014/main" id="{42E69855-AC28-4DF6-A652-C171F6FB646A}"/>
                </a:ext>
              </a:extLst>
            </p:cNvPr>
            <p:cNvGrpSpPr/>
            <p:nvPr/>
          </p:nvGrpSpPr>
          <p:grpSpPr>
            <a:xfrm>
              <a:off x="7823747" y="2502850"/>
              <a:ext cx="62467" cy="40314"/>
              <a:chOff x="7823747" y="2502850"/>
              <a:chExt cx="62467" cy="40314"/>
            </a:xfrm>
            <a:grpFill/>
          </p:grpSpPr>
          <p:sp>
            <p:nvSpPr>
              <p:cNvPr id="5272" name="Vrije vorm: vorm 5271">
                <a:extLst>
                  <a:ext uri="{FF2B5EF4-FFF2-40B4-BE49-F238E27FC236}">
                    <a16:creationId xmlns:a16="http://schemas.microsoft.com/office/drawing/2014/main" id="{F56360C0-D026-48B0-A001-5B96AE71A3CC}"/>
                  </a:ext>
                </a:extLst>
              </p:cNvPr>
              <p:cNvSpPr/>
              <p:nvPr/>
            </p:nvSpPr>
            <p:spPr>
              <a:xfrm>
                <a:off x="7831835" y="2510508"/>
                <a:ext cx="46350" cy="25059"/>
              </a:xfrm>
              <a:custGeom>
                <a:avLst/>
                <a:gdLst>
                  <a:gd name="connsiteX0" fmla="*/ 46351 w 46350"/>
                  <a:gd name="connsiteY0" fmla="*/ 2751 h 25059"/>
                  <a:gd name="connsiteX1" fmla="*/ 1375 w 46350"/>
                  <a:gd name="connsiteY1" fmla="*/ 25059 h 25059"/>
                  <a:gd name="connsiteX2" fmla="*/ 0 w 46350"/>
                  <a:gd name="connsiteY2" fmla="*/ 22308 h 25059"/>
                  <a:gd name="connsiteX3" fmla="*/ 44974 w 46350"/>
                  <a:gd name="connsiteY3" fmla="*/ 0 h 25059"/>
                </a:gdLst>
                <a:ahLst/>
                <a:cxnLst>
                  <a:cxn ang="0">
                    <a:pos x="connsiteX0" y="connsiteY0"/>
                  </a:cxn>
                  <a:cxn ang="0">
                    <a:pos x="connsiteX1" y="connsiteY1"/>
                  </a:cxn>
                  <a:cxn ang="0">
                    <a:pos x="connsiteX2" y="connsiteY2"/>
                  </a:cxn>
                  <a:cxn ang="0">
                    <a:pos x="connsiteX3" y="connsiteY3"/>
                  </a:cxn>
                </a:cxnLst>
                <a:rect l="l" t="t" r="r" b="b"/>
                <a:pathLst>
                  <a:path w="46350" h="25059">
                    <a:moveTo>
                      <a:pt x="46351" y="2751"/>
                    </a:moveTo>
                    <a:lnTo>
                      <a:pt x="1375" y="25059"/>
                    </a:lnTo>
                    <a:lnTo>
                      <a:pt x="0" y="22308"/>
                    </a:lnTo>
                    <a:lnTo>
                      <a:pt x="44974" y="0"/>
                    </a:lnTo>
                    <a:close/>
                  </a:path>
                </a:pathLst>
              </a:custGeom>
              <a:grpFill/>
              <a:ln w="5978" cap="flat">
                <a:noFill/>
                <a:prstDash val="solid"/>
                <a:miter/>
              </a:ln>
            </p:spPr>
            <p:txBody>
              <a:bodyPr rtlCol="0" anchor="ctr"/>
              <a:lstStyle/>
              <a:p>
                <a:endParaRPr lang="en-GB"/>
              </a:p>
            </p:txBody>
          </p:sp>
          <p:sp>
            <p:nvSpPr>
              <p:cNvPr id="5273" name="Vrije vorm: vorm 5272">
                <a:extLst>
                  <a:ext uri="{FF2B5EF4-FFF2-40B4-BE49-F238E27FC236}">
                    <a16:creationId xmlns:a16="http://schemas.microsoft.com/office/drawing/2014/main" id="{E38F1FA8-B460-4E38-BC45-3ADB75D2CC75}"/>
                  </a:ext>
                </a:extLst>
              </p:cNvPr>
              <p:cNvSpPr/>
              <p:nvPr/>
            </p:nvSpPr>
            <p:spPr>
              <a:xfrm>
                <a:off x="7867921" y="2502850"/>
                <a:ext cx="18292" cy="18424"/>
              </a:xfrm>
              <a:custGeom>
                <a:avLst/>
                <a:gdLst>
                  <a:gd name="connsiteX0" fmla="*/ 5061 w 18292"/>
                  <a:gd name="connsiteY0" fmla="*/ 959 h 18424"/>
                  <a:gd name="connsiteX1" fmla="*/ 17321 w 18292"/>
                  <a:gd name="connsiteY1" fmla="*/ 5146 h 18424"/>
                  <a:gd name="connsiteX2" fmla="*/ 13195 w 18292"/>
                  <a:gd name="connsiteY2" fmla="*/ 17466 h 18424"/>
                  <a:gd name="connsiteX3" fmla="*/ 934 w 18292"/>
                  <a:gd name="connsiteY3" fmla="*/ 13279 h 18424"/>
                  <a:gd name="connsiteX4" fmla="*/ 5061 w 18292"/>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424">
                    <a:moveTo>
                      <a:pt x="5061" y="959"/>
                    </a:moveTo>
                    <a:cubicBezTo>
                      <a:pt x="9606" y="-1314"/>
                      <a:pt x="15109" y="600"/>
                      <a:pt x="17321" y="5146"/>
                    </a:cubicBezTo>
                    <a:cubicBezTo>
                      <a:pt x="19594" y="9691"/>
                      <a:pt x="17740" y="15253"/>
                      <a:pt x="13195" y="17466"/>
                    </a:cubicBezTo>
                    <a:cubicBezTo>
                      <a:pt x="8650" y="19739"/>
                      <a:pt x="3147" y="17825"/>
                      <a:pt x="934" y="13279"/>
                    </a:cubicBezTo>
                    <a:cubicBezTo>
                      <a:pt x="-1279" y="8734"/>
                      <a:pt x="575" y="3172"/>
                      <a:pt x="5061" y="959"/>
                    </a:cubicBezTo>
                    <a:close/>
                  </a:path>
                </a:pathLst>
              </a:custGeom>
              <a:grpFill/>
              <a:ln w="5978" cap="flat">
                <a:noFill/>
                <a:prstDash val="solid"/>
                <a:miter/>
              </a:ln>
            </p:spPr>
            <p:txBody>
              <a:bodyPr rtlCol="0" anchor="ctr"/>
              <a:lstStyle/>
              <a:p>
                <a:endParaRPr lang="en-GB"/>
              </a:p>
            </p:txBody>
          </p:sp>
          <p:sp>
            <p:nvSpPr>
              <p:cNvPr id="5274" name="Vrije vorm: vorm 5273">
                <a:extLst>
                  <a:ext uri="{FF2B5EF4-FFF2-40B4-BE49-F238E27FC236}">
                    <a16:creationId xmlns:a16="http://schemas.microsoft.com/office/drawing/2014/main" id="{4D76159A-1DEA-45B5-8773-B6EFA1B191D3}"/>
                  </a:ext>
                </a:extLst>
              </p:cNvPr>
              <p:cNvSpPr/>
              <p:nvPr/>
            </p:nvSpPr>
            <p:spPr>
              <a:xfrm>
                <a:off x="7823747" y="2524766"/>
                <a:ext cx="18329" cy="18398"/>
              </a:xfrm>
              <a:custGeom>
                <a:avLst/>
                <a:gdLst>
                  <a:gd name="connsiteX0" fmla="*/ 5098 w 18329"/>
                  <a:gd name="connsiteY0" fmla="*/ 933 h 18398"/>
                  <a:gd name="connsiteX1" fmla="*/ 971 w 18329"/>
                  <a:gd name="connsiteY1" fmla="*/ 13253 h 18398"/>
                  <a:gd name="connsiteX2" fmla="*/ 13232 w 18329"/>
                  <a:gd name="connsiteY2" fmla="*/ 17440 h 18398"/>
                  <a:gd name="connsiteX3" fmla="*/ 17358 w 18329"/>
                  <a:gd name="connsiteY3" fmla="*/ 5119 h 18398"/>
                  <a:gd name="connsiteX4" fmla="*/ 5098 w 18329"/>
                  <a:gd name="connsiteY4" fmla="*/ 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98">
                    <a:moveTo>
                      <a:pt x="5098" y="933"/>
                    </a:moveTo>
                    <a:cubicBezTo>
                      <a:pt x="553" y="3206"/>
                      <a:pt x="-1302" y="8708"/>
                      <a:pt x="971" y="13253"/>
                    </a:cubicBezTo>
                    <a:cubicBezTo>
                      <a:pt x="3244" y="17799"/>
                      <a:pt x="8746" y="19712"/>
                      <a:pt x="13232" y="17440"/>
                    </a:cubicBezTo>
                    <a:cubicBezTo>
                      <a:pt x="17777" y="15167"/>
                      <a:pt x="19631" y="9665"/>
                      <a:pt x="17358" y="5119"/>
                    </a:cubicBezTo>
                    <a:cubicBezTo>
                      <a:pt x="15145" y="574"/>
                      <a:pt x="9643" y="-1280"/>
                      <a:pt x="5098" y="933"/>
                    </a:cubicBezTo>
                    <a:close/>
                  </a:path>
                </a:pathLst>
              </a:custGeom>
              <a:grpFill/>
              <a:ln w="5978" cap="flat">
                <a:noFill/>
                <a:prstDash val="solid"/>
                <a:miter/>
              </a:ln>
            </p:spPr>
            <p:txBody>
              <a:bodyPr rtlCol="0" anchor="ctr"/>
              <a:lstStyle/>
              <a:p>
                <a:endParaRPr lang="en-GB"/>
              </a:p>
            </p:txBody>
          </p:sp>
        </p:grpSp>
        <p:grpSp>
          <p:nvGrpSpPr>
            <p:cNvPr id="34" name="Graphic 3">
              <a:extLst>
                <a:ext uri="{FF2B5EF4-FFF2-40B4-BE49-F238E27FC236}">
                  <a16:creationId xmlns:a16="http://schemas.microsoft.com/office/drawing/2014/main" id="{65F8931E-F773-4FEA-8C23-390AD6CA088B}"/>
                </a:ext>
              </a:extLst>
            </p:cNvPr>
            <p:cNvGrpSpPr/>
            <p:nvPr/>
          </p:nvGrpSpPr>
          <p:grpSpPr>
            <a:xfrm>
              <a:off x="7705861" y="2990981"/>
              <a:ext cx="652848" cy="102367"/>
              <a:chOff x="7705861" y="2990981"/>
              <a:chExt cx="652848" cy="102367"/>
            </a:xfrm>
            <a:grpFill/>
          </p:grpSpPr>
          <p:sp>
            <p:nvSpPr>
              <p:cNvPr id="5269" name="Vrije vorm: vorm 5268">
                <a:extLst>
                  <a:ext uri="{FF2B5EF4-FFF2-40B4-BE49-F238E27FC236}">
                    <a16:creationId xmlns:a16="http://schemas.microsoft.com/office/drawing/2014/main" id="{C0EBF7BE-2827-4874-9962-6FAE192A5F89}"/>
                  </a:ext>
                </a:extLst>
              </p:cNvPr>
              <p:cNvSpPr/>
              <p:nvPr/>
            </p:nvSpPr>
            <p:spPr>
              <a:xfrm>
                <a:off x="7714314" y="2998654"/>
                <a:ext cx="635870" cy="87079"/>
              </a:xfrm>
              <a:custGeom>
                <a:avLst/>
                <a:gdLst>
                  <a:gd name="connsiteX0" fmla="*/ 635452 w 635870"/>
                  <a:gd name="connsiteY0" fmla="*/ 0 h 87079"/>
                  <a:gd name="connsiteX1" fmla="*/ 635870 w 635870"/>
                  <a:gd name="connsiteY1" fmla="*/ 3050 h 87079"/>
                  <a:gd name="connsiteX2" fmla="*/ 418 w 635870"/>
                  <a:gd name="connsiteY2" fmla="*/ 87079 h 87079"/>
                  <a:gd name="connsiteX3" fmla="*/ 0 w 635870"/>
                  <a:gd name="connsiteY3" fmla="*/ 84029 h 87079"/>
                </a:gdLst>
                <a:ahLst/>
                <a:cxnLst>
                  <a:cxn ang="0">
                    <a:pos x="connsiteX0" y="connsiteY0"/>
                  </a:cxn>
                  <a:cxn ang="0">
                    <a:pos x="connsiteX1" y="connsiteY1"/>
                  </a:cxn>
                  <a:cxn ang="0">
                    <a:pos x="connsiteX2" y="connsiteY2"/>
                  </a:cxn>
                  <a:cxn ang="0">
                    <a:pos x="connsiteX3" y="connsiteY3"/>
                  </a:cxn>
                </a:cxnLst>
                <a:rect l="l" t="t" r="r" b="b"/>
                <a:pathLst>
                  <a:path w="635870" h="87079">
                    <a:moveTo>
                      <a:pt x="635452" y="0"/>
                    </a:moveTo>
                    <a:lnTo>
                      <a:pt x="635870" y="3050"/>
                    </a:lnTo>
                    <a:lnTo>
                      <a:pt x="418" y="87079"/>
                    </a:lnTo>
                    <a:lnTo>
                      <a:pt x="0" y="84029"/>
                    </a:lnTo>
                    <a:close/>
                  </a:path>
                </a:pathLst>
              </a:custGeom>
              <a:grpFill/>
              <a:ln w="5978" cap="flat">
                <a:noFill/>
                <a:prstDash val="solid"/>
                <a:miter/>
              </a:ln>
            </p:spPr>
            <p:txBody>
              <a:bodyPr rtlCol="0" anchor="ctr"/>
              <a:lstStyle/>
              <a:p>
                <a:endParaRPr lang="en-GB"/>
              </a:p>
            </p:txBody>
          </p:sp>
          <p:sp>
            <p:nvSpPr>
              <p:cNvPr id="5270" name="Vrije vorm: vorm 5269">
                <a:extLst>
                  <a:ext uri="{FF2B5EF4-FFF2-40B4-BE49-F238E27FC236}">
                    <a16:creationId xmlns:a16="http://schemas.microsoft.com/office/drawing/2014/main" id="{6479E1E9-05AD-4227-893E-BCEDE10DFDB9}"/>
                  </a:ext>
                </a:extLst>
              </p:cNvPr>
              <p:cNvSpPr/>
              <p:nvPr/>
            </p:nvSpPr>
            <p:spPr>
              <a:xfrm>
                <a:off x="7705861" y="3074889"/>
                <a:ext cx="18294" cy="18458"/>
              </a:xfrm>
              <a:custGeom>
                <a:avLst/>
                <a:gdLst>
                  <a:gd name="connsiteX0" fmla="*/ 10367 w 18294"/>
                  <a:gd name="connsiteY0" fmla="*/ 18380 h 18458"/>
                  <a:gd name="connsiteX1" fmla="*/ 80 w 18294"/>
                  <a:gd name="connsiteY1" fmla="*/ 10426 h 18458"/>
                  <a:gd name="connsiteX2" fmla="*/ 7914 w 18294"/>
                  <a:gd name="connsiteY2" fmla="*/ 79 h 18458"/>
                  <a:gd name="connsiteX3" fmla="*/ 18202 w 18294"/>
                  <a:gd name="connsiteY3" fmla="*/ 8033 h 18458"/>
                  <a:gd name="connsiteX4" fmla="*/ 10367 w 18294"/>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58">
                    <a:moveTo>
                      <a:pt x="10367" y="18380"/>
                    </a:moveTo>
                    <a:cubicBezTo>
                      <a:pt x="5343" y="19038"/>
                      <a:pt x="738" y="15509"/>
                      <a:pt x="80" y="10426"/>
                    </a:cubicBezTo>
                    <a:cubicBezTo>
                      <a:pt x="-578" y="5402"/>
                      <a:pt x="2891" y="737"/>
                      <a:pt x="7914" y="79"/>
                    </a:cubicBezTo>
                    <a:cubicBezTo>
                      <a:pt x="12939" y="-579"/>
                      <a:pt x="17544" y="2950"/>
                      <a:pt x="18202" y="8033"/>
                    </a:cubicBezTo>
                    <a:cubicBezTo>
                      <a:pt x="18919" y="13117"/>
                      <a:pt x="15390" y="17722"/>
                      <a:pt x="10367" y="18380"/>
                    </a:cubicBezTo>
                    <a:close/>
                  </a:path>
                </a:pathLst>
              </a:custGeom>
              <a:grpFill/>
              <a:ln w="5978" cap="flat">
                <a:noFill/>
                <a:prstDash val="solid"/>
                <a:miter/>
              </a:ln>
            </p:spPr>
            <p:txBody>
              <a:bodyPr rtlCol="0" anchor="ctr"/>
              <a:lstStyle/>
              <a:p>
                <a:endParaRPr lang="en-GB"/>
              </a:p>
            </p:txBody>
          </p:sp>
          <p:sp>
            <p:nvSpPr>
              <p:cNvPr id="5271" name="Vrije vorm: vorm 5270">
                <a:extLst>
                  <a:ext uri="{FF2B5EF4-FFF2-40B4-BE49-F238E27FC236}">
                    <a16:creationId xmlns:a16="http://schemas.microsoft.com/office/drawing/2014/main" id="{930DC5C8-577E-414C-A7A3-45D9C7D034D3}"/>
                  </a:ext>
                </a:extLst>
              </p:cNvPr>
              <p:cNvSpPr/>
              <p:nvPr/>
            </p:nvSpPr>
            <p:spPr>
              <a:xfrm>
                <a:off x="8340402" y="2990981"/>
                <a:ext cx="18307" cy="18457"/>
              </a:xfrm>
              <a:custGeom>
                <a:avLst/>
                <a:gdLst>
                  <a:gd name="connsiteX0" fmla="*/ 10379 w 18307"/>
                  <a:gd name="connsiteY0" fmla="*/ 18379 h 18457"/>
                  <a:gd name="connsiteX1" fmla="*/ 18214 w 18307"/>
                  <a:gd name="connsiteY1" fmla="*/ 8032 h 18457"/>
                  <a:gd name="connsiteX2" fmla="*/ 7928 w 18307"/>
                  <a:gd name="connsiteY2" fmla="*/ 78 h 18457"/>
                  <a:gd name="connsiteX3" fmla="*/ 93 w 18307"/>
                  <a:gd name="connsiteY3" fmla="*/ 10425 h 18457"/>
                  <a:gd name="connsiteX4" fmla="*/ 10379 w 18307"/>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57">
                    <a:moveTo>
                      <a:pt x="10379" y="18379"/>
                    </a:moveTo>
                    <a:cubicBezTo>
                      <a:pt x="15404" y="17721"/>
                      <a:pt x="18932" y="13056"/>
                      <a:pt x="18214" y="8032"/>
                    </a:cubicBezTo>
                    <a:cubicBezTo>
                      <a:pt x="17557" y="3008"/>
                      <a:pt x="12892" y="-580"/>
                      <a:pt x="7928" y="78"/>
                    </a:cubicBezTo>
                    <a:cubicBezTo>
                      <a:pt x="2903" y="736"/>
                      <a:pt x="-625" y="5341"/>
                      <a:pt x="93" y="10425"/>
                    </a:cubicBezTo>
                    <a:cubicBezTo>
                      <a:pt x="750" y="15508"/>
                      <a:pt x="5356" y="19037"/>
                      <a:pt x="10379" y="18379"/>
                    </a:cubicBezTo>
                    <a:close/>
                  </a:path>
                </a:pathLst>
              </a:custGeom>
              <a:grpFill/>
              <a:ln w="5978" cap="flat">
                <a:noFill/>
                <a:prstDash val="solid"/>
                <a:miter/>
              </a:ln>
            </p:spPr>
            <p:txBody>
              <a:bodyPr rtlCol="0" anchor="ctr"/>
              <a:lstStyle/>
              <a:p>
                <a:endParaRPr lang="en-GB"/>
              </a:p>
            </p:txBody>
          </p:sp>
        </p:grpSp>
        <p:grpSp>
          <p:nvGrpSpPr>
            <p:cNvPr id="35" name="Graphic 3">
              <a:extLst>
                <a:ext uri="{FF2B5EF4-FFF2-40B4-BE49-F238E27FC236}">
                  <a16:creationId xmlns:a16="http://schemas.microsoft.com/office/drawing/2014/main" id="{D020D717-A324-4A09-9146-93F5431E632F}"/>
                </a:ext>
              </a:extLst>
            </p:cNvPr>
            <p:cNvGrpSpPr/>
            <p:nvPr/>
          </p:nvGrpSpPr>
          <p:grpSpPr>
            <a:xfrm>
              <a:off x="7633250" y="1957571"/>
              <a:ext cx="72894" cy="66662"/>
              <a:chOff x="7633250" y="1957571"/>
              <a:chExt cx="72894" cy="66662"/>
            </a:xfrm>
            <a:grpFill/>
          </p:grpSpPr>
          <p:sp>
            <p:nvSpPr>
              <p:cNvPr id="5266" name="Vrije vorm: vorm 5265">
                <a:extLst>
                  <a:ext uri="{FF2B5EF4-FFF2-40B4-BE49-F238E27FC236}">
                    <a16:creationId xmlns:a16="http://schemas.microsoft.com/office/drawing/2014/main" id="{CE4206A5-538E-46F5-9FC3-95CF2AA570AE}"/>
                  </a:ext>
                </a:extLst>
              </p:cNvPr>
              <p:cNvSpPr/>
              <p:nvPr/>
            </p:nvSpPr>
            <p:spPr>
              <a:xfrm>
                <a:off x="7640990" y="1965305"/>
                <a:ext cx="57354" cy="51194"/>
              </a:xfrm>
              <a:custGeom>
                <a:avLst/>
                <a:gdLst>
                  <a:gd name="connsiteX0" fmla="*/ 57355 w 57354"/>
                  <a:gd name="connsiteY0" fmla="*/ 2332 h 51194"/>
                  <a:gd name="connsiteX1" fmla="*/ 2033 w 57354"/>
                  <a:gd name="connsiteY1" fmla="*/ 51195 h 51194"/>
                  <a:gd name="connsiteX2" fmla="*/ 0 w 57354"/>
                  <a:gd name="connsiteY2" fmla="*/ 48922 h 51194"/>
                  <a:gd name="connsiteX3" fmla="*/ 55382 w 57354"/>
                  <a:gd name="connsiteY3" fmla="*/ 0 h 51194"/>
                </a:gdLst>
                <a:ahLst/>
                <a:cxnLst>
                  <a:cxn ang="0">
                    <a:pos x="connsiteX0" y="connsiteY0"/>
                  </a:cxn>
                  <a:cxn ang="0">
                    <a:pos x="connsiteX1" y="connsiteY1"/>
                  </a:cxn>
                  <a:cxn ang="0">
                    <a:pos x="connsiteX2" y="connsiteY2"/>
                  </a:cxn>
                  <a:cxn ang="0">
                    <a:pos x="connsiteX3" y="connsiteY3"/>
                  </a:cxn>
                </a:cxnLst>
                <a:rect l="l" t="t" r="r" b="b"/>
                <a:pathLst>
                  <a:path w="57354" h="51194">
                    <a:moveTo>
                      <a:pt x="57355" y="2332"/>
                    </a:moveTo>
                    <a:lnTo>
                      <a:pt x="2033" y="51195"/>
                    </a:lnTo>
                    <a:lnTo>
                      <a:pt x="0" y="48922"/>
                    </a:lnTo>
                    <a:lnTo>
                      <a:pt x="55382" y="0"/>
                    </a:lnTo>
                    <a:close/>
                  </a:path>
                </a:pathLst>
              </a:custGeom>
              <a:grpFill/>
              <a:ln w="5978" cap="flat">
                <a:noFill/>
                <a:prstDash val="solid"/>
                <a:miter/>
              </a:ln>
            </p:spPr>
            <p:txBody>
              <a:bodyPr rtlCol="0" anchor="ctr"/>
              <a:lstStyle/>
              <a:p>
                <a:endParaRPr lang="en-GB"/>
              </a:p>
            </p:txBody>
          </p:sp>
          <p:sp>
            <p:nvSpPr>
              <p:cNvPr id="5267" name="Vrije vorm: vorm 5266">
                <a:extLst>
                  <a:ext uri="{FF2B5EF4-FFF2-40B4-BE49-F238E27FC236}">
                    <a16:creationId xmlns:a16="http://schemas.microsoft.com/office/drawing/2014/main" id="{576CDFCE-E8A6-4097-9957-5AE2A521C634}"/>
                  </a:ext>
                </a:extLst>
              </p:cNvPr>
              <p:cNvSpPr/>
              <p:nvPr/>
            </p:nvSpPr>
            <p:spPr>
              <a:xfrm>
                <a:off x="7687854" y="1957571"/>
                <a:ext cx="18290" cy="18398"/>
              </a:xfrm>
              <a:custGeom>
                <a:avLst/>
                <a:gdLst>
                  <a:gd name="connsiteX0" fmla="*/ 3075 w 18290"/>
                  <a:gd name="connsiteY0" fmla="*/ 2291 h 18398"/>
                  <a:gd name="connsiteX1" fmla="*/ 15993 w 18290"/>
                  <a:gd name="connsiteY1" fmla="*/ 3129 h 18398"/>
                  <a:gd name="connsiteX2" fmla="*/ 15216 w 18290"/>
                  <a:gd name="connsiteY2" fmla="*/ 16107 h 18398"/>
                  <a:gd name="connsiteX3" fmla="*/ 2297 w 18290"/>
                  <a:gd name="connsiteY3" fmla="*/ 15269 h 18398"/>
                  <a:gd name="connsiteX4" fmla="*/ 3075 w 18290"/>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98">
                    <a:moveTo>
                      <a:pt x="3075" y="2291"/>
                    </a:moveTo>
                    <a:cubicBezTo>
                      <a:pt x="6842" y="-1058"/>
                      <a:pt x="12644" y="-699"/>
                      <a:pt x="15993" y="3129"/>
                    </a:cubicBezTo>
                    <a:cubicBezTo>
                      <a:pt x="19342" y="6956"/>
                      <a:pt x="18983" y="12758"/>
                      <a:pt x="15216" y="16107"/>
                    </a:cubicBezTo>
                    <a:cubicBezTo>
                      <a:pt x="11448" y="19456"/>
                      <a:pt x="5647" y="19097"/>
                      <a:pt x="2297" y="15269"/>
                    </a:cubicBezTo>
                    <a:cubicBezTo>
                      <a:pt x="-1052" y="11442"/>
                      <a:pt x="-693" y="5641"/>
                      <a:pt x="3075" y="2291"/>
                    </a:cubicBezTo>
                    <a:close/>
                  </a:path>
                </a:pathLst>
              </a:custGeom>
              <a:grpFill/>
              <a:ln w="5978" cap="flat">
                <a:noFill/>
                <a:prstDash val="solid"/>
                <a:miter/>
              </a:ln>
            </p:spPr>
            <p:txBody>
              <a:bodyPr rtlCol="0" anchor="ctr"/>
              <a:lstStyle/>
              <a:p>
                <a:endParaRPr lang="en-GB"/>
              </a:p>
            </p:txBody>
          </p:sp>
          <p:sp>
            <p:nvSpPr>
              <p:cNvPr id="5268" name="Vrije vorm: vorm 5267">
                <a:extLst>
                  <a:ext uri="{FF2B5EF4-FFF2-40B4-BE49-F238E27FC236}">
                    <a16:creationId xmlns:a16="http://schemas.microsoft.com/office/drawing/2014/main" id="{BC2AF5C7-E7FD-4C16-9D50-311DF3BB7D47}"/>
                  </a:ext>
                </a:extLst>
              </p:cNvPr>
              <p:cNvSpPr/>
              <p:nvPr/>
            </p:nvSpPr>
            <p:spPr>
              <a:xfrm>
                <a:off x="7633250" y="2005836"/>
                <a:ext cx="18299" cy="18398"/>
              </a:xfrm>
              <a:custGeom>
                <a:avLst/>
                <a:gdLst>
                  <a:gd name="connsiteX0" fmla="*/ 3075 w 18299"/>
                  <a:gd name="connsiteY0" fmla="*/ 2291 h 18398"/>
                  <a:gd name="connsiteX1" fmla="*/ 2297 w 18299"/>
                  <a:gd name="connsiteY1" fmla="*/ 15269 h 18398"/>
                  <a:gd name="connsiteX2" fmla="*/ 15216 w 18299"/>
                  <a:gd name="connsiteY2" fmla="*/ 16107 h 18398"/>
                  <a:gd name="connsiteX3" fmla="*/ 16053 w 18299"/>
                  <a:gd name="connsiteY3" fmla="*/ 3129 h 18398"/>
                  <a:gd name="connsiteX4" fmla="*/ 3075 w 18299"/>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98">
                    <a:moveTo>
                      <a:pt x="3075" y="2291"/>
                    </a:moveTo>
                    <a:cubicBezTo>
                      <a:pt x="-693" y="5641"/>
                      <a:pt x="-1052" y="11442"/>
                      <a:pt x="2297" y="15269"/>
                    </a:cubicBezTo>
                    <a:cubicBezTo>
                      <a:pt x="5647" y="19097"/>
                      <a:pt x="11448" y="19456"/>
                      <a:pt x="15216" y="16107"/>
                    </a:cubicBezTo>
                    <a:cubicBezTo>
                      <a:pt x="18983" y="12758"/>
                      <a:pt x="19342" y="6956"/>
                      <a:pt x="16053" y="3129"/>
                    </a:cubicBezTo>
                    <a:cubicBezTo>
                      <a:pt x="12644" y="-699"/>
                      <a:pt x="6842" y="-1058"/>
                      <a:pt x="3075" y="2291"/>
                    </a:cubicBezTo>
                    <a:close/>
                  </a:path>
                </a:pathLst>
              </a:custGeom>
              <a:grpFill/>
              <a:ln w="5978" cap="flat">
                <a:noFill/>
                <a:prstDash val="solid"/>
                <a:miter/>
              </a:ln>
            </p:spPr>
            <p:txBody>
              <a:bodyPr rtlCol="0" anchor="ctr"/>
              <a:lstStyle/>
              <a:p>
                <a:endParaRPr lang="en-GB"/>
              </a:p>
            </p:txBody>
          </p:sp>
        </p:grpSp>
        <p:grpSp>
          <p:nvGrpSpPr>
            <p:cNvPr id="36" name="Graphic 3">
              <a:extLst>
                <a:ext uri="{FF2B5EF4-FFF2-40B4-BE49-F238E27FC236}">
                  <a16:creationId xmlns:a16="http://schemas.microsoft.com/office/drawing/2014/main" id="{D8C6ED17-73C4-4DFF-B415-93E4673E3820}"/>
                </a:ext>
              </a:extLst>
            </p:cNvPr>
            <p:cNvGrpSpPr/>
            <p:nvPr/>
          </p:nvGrpSpPr>
          <p:grpSpPr>
            <a:xfrm>
              <a:off x="7879336" y="2850945"/>
              <a:ext cx="171203" cy="61273"/>
              <a:chOff x="7879336" y="2850945"/>
              <a:chExt cx="171203" cy="61273"/>
            </a:xfrm>
            <a:grpFill/>
          </p:grpSpPr>
          <p:sp>
            <p:nvSpPr>
              <p:cNvPr id="5263" name="Vrije vorm: vorm 5262">
                <a:extLst>
                  <a:ext uri="{FF2B5EF4-FFF2-40B4-BE49-F238E27FC236}">
                    <a16:creationId xmlns:a16="http://schemas.microsoft.com/office/drawing/2014/main" id="{0995D159-193E-4A11-B93A-A9DEE3C599E0}"/>
                  </a:ext>
                </a:extLst>
              </p:cNvPr>
              <p:cNvSpPr/>
              <p:nvPr/>
            </p:nvSpPr>
            <p:spPr>
              <a:xfrm>
                <a:off x="7887546" y="2858183"/>
                <a:ext cx="154554" cy="46131"/>
              </a:xfrm>
              <a:custGeom>
                <a:avLst/>
                <a:gdLst>
                  <a:gd name="connsiteX0" fmla="*/ 0 w 154554"/>
                  <a:gd name="connsiteY0" fmla="*/ 43195 h 46131"/>
                  <a:gd name="connsiteX1" fmla="*/ 153729 w 154554"/>
                  <a:gd name="connsiteY1" fmla="*/ 0 h 46131"/>
                  <a:gd name="connsiteX2" fmla="*/ 154554 w 154554"/>
                  <a:gd name="connsiteY2" fmla="*/ 2937 h 46131"/>
                  <a:gd name="connsiteX3" fmla="*/ 825 w 154554"/>
                  <a:gd name="connsiteY3" fmla="*/ 46131 h 46131"/>
                </a:gdLst>
                <a:ahLst/>
                <a:cxnLst>
                  <a:cxn ang="0">
                    <a:pos x="connsiteX0" y="connsiteY0"/>
                  </a:cxn>
                  <a:cxn ang="0">
                    <a:pos x="connsiteX1" y="connsiteY1"/>
                  </a:cxn>
                  <a:cxn ang="0">
                    <a:pos x="connsiteX2" y="connsiteY2"/>
                  </a:cxn>
                  <a:cxn ang="0">
                    <a:pos x="connsiteX3" y="connsiteY3"/>
                  </a:cxn>
                </a:cxnLst>
                <a:rect l="l" t="t" r="r" b="b"/>
                <a:pathLst>
                  <a:path w="154554" h="46131">
                    <a:moveTo>
                      <a:pt x="0" y="43195"/>
                    </a:moveTo>
                    <a:lnTo>
                      <a:pt x="153729" y="0"/>
                    </a:lnTo>
                    <a:lnTo>
                      <a:pt x="154554" y="2937"/>
                    </a:lnTo>
                    <a:lnTo>
                      <a:pt x="825" y="46131"/>
                    </a:lnTo>
                    <a:close/>
                  </a:path>
                </a:pathLst>
              </a:custGeom>
              <a:grpFill/>
              <a:ln w="5978" cap="flat">
                <a:noFill/>
                <a:prstDash val="solid"/>
                <a:miter/>
              </a:ln>
            </p:spPr>
            <p:txBody>
              <a:bodyPr rtlCol="0" anchor="ctr"/>
              <a:lstStyle/>
              <a:p>
                <a:endParaRPr lang="en-GB"/>
              </a:p>
            </p:txBody>
          </p:sp>
          <p:sp>
            <p:nvSpPr>
              <p:cNvPr id="5264" name="Vrije vorm: vorm 5263">
                <a:extLst>
                  <a:ext uri="{FF2B5EF4-FFF2-40B4-BE49-F238E27FC236}">
                    <a16:creationId xmlns:a16="http://schemas.microsoft.com/office/drawing/2014/main" id="{02857C84-21C6-431D-9FA6-E0F1F4E5FF3B}"/>
                  </a:ext>
                </a:extLst>
              </p:cNvPr>
              <p:cNvSpPr/>
              <p:nvPr/>
            </p:nvSpPr>
            <p:spPr>
              <a:xfrm>
                <a:off x="8032203" y="2850945"/>
                <a:ext cx="18336" cy="18451"/>
              </a:xfrm>
              <a:custGeom>
                <a:avLst/>
                <a:gdLst>
                  <a:gd name="connsiteX0" fmla="*/ 6684 w 18336"/>
                  <a:gd name="connsiteY0" fmla="*/ 344 h 18451"/>
                  <a:gd name="connsiteX1" fmla="*/ 17987 w 18336"/>
                  <a:gd name="connsiteY1" fmla="*/ 6744 h 18451"/>
                  <a:gd name="connsiteX2" fmla="*/ 11648 w 18336"/>
                  <a:gd name="connsiteY2" fmla="*/ 18107 h 18451"/>
                  <a:gd name="connsiteX3" fmla="*/ 345 w 18336"/>
                  <a:gd name="connsiteY3" fmla="*/ 11708 h 18451"/>
                  <a:gd name="connsiteX4" fmla="*/ 6684 w 18336"/>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1">
                    <a:moveTo>
                      <a:pt x="6684" y="344"/>
                    </a:moveTo>
                    <a:cubicBezTo>
                      <a:pt x="11528" y="-1031"/>
                      <a:pt x="16612" y="1839"/>
                      <a:pt x="17987" y="6744"/>
                    </a:cubicBezTo>
                    <a:cubicBezTo>
                      <a:pt x="19364" y="11648"/>
                      <a:pt x="16552" y="16731"/>
                      <a:pt x="11648" y="18107"/>
                    </a:cubicBezTo>
                    <a:cubicBezTo>
                      <a:pt x="6803" y="19482"/>
                      <a:pt x="1720" y="16612"/>
                      <a:pt x="345" y="11708"/>
                    </a:cubicBezTo>
                    <a:cubicBezTo>
                      <a:pt x="-1031" y="6803"/>
                      <a:pt x="1840" y="1720"/>
                      <a:pt x="6684" y="344"/>
                    </a:cubicBezTo>
                    <a:close/>
                  </a:path>
                </a:pathLst>
              </a:custGeom>
              <a:grpFill/>
              <a:ln w="5978" cap="flat">
                <a:noFill/>
                <a:prstDash val="solid"/>
                <a:miter/>
              </a:ln>
            </p:spPr>
            <p:txBody>
              <a:bodyPr rtlCol="0" anchor="ctr"/>
              <a:lstStyle/>
              <a:p>
                <a:endParaRPr lang="en-GB"/>
              </a:p>
            </p:txBody>
          </p:sp>
          <p:sp>
            <p:nvSpPr>
              <p:cNvPr id="5265" name="Vrije vorm: vorm 5264">
                <a:extLst>
                  <a:ext uri="{FF2B5EF4-FFF2-40B4-BE49-F238E27FC236}">
                    <a16:creationId xmlns:a16="http://schemas.microsoft.com/office/drawing/2014/main" id="{9C622C54-B66A-4E02-A90C-0A7652B9840A}"/>
                  </a:ext>
                </a:extLst>
              </p:cNvPr>
              <p:cNvSpPr/>
              <p:nvPr/>
            </p:nvSpPr>
            <p:spPr>
              <a:xfrm>
                <a:off x="7879336" y="2893792"/>
                <a:ext cx="18332" cy="18426"/>
              </a:xfrm>
              <a:custGeom>
                <a:avLst/>
                <a:gdLst>
                  <a:gd name="connsiteX0" fmla="*/ 6684 w 18332"/>
                  <a:gd name="connsiteY0" fmla="*/ 319 h 18426"/>
                  <a:gd name="connsiteX1" fmla="*/ 345 w 18332"/>
                  <a:gd name="connsiteY1" fmla="*/ 11683 h 18426"/>
                  <a:gd name="connsiteX2" fmla="*/ 11648 w 18332"/>
                  <a:gd name="connsiteY2" fmla="*/ 18082 h 18426"/>
                  <a:gd name="connsiteX3" fmla="*/ 17988 w 18332"/>
                  <a:gd name="connsiteY3" fmla="*/ 6719 h 18426"/>
                  <a:gd name="connsiteX4" fmla="*/ 6684 w 18332"/>
                  <a:gd name="connsiteY4" fmla="*/ 31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6">
                    <a:moveTo>
                      <a:pt x="6684" y="319"/>
                    </a:moveTo>
                    <a:cubicBezTo>
                      <a:pt x="1840" y="1695"/>
                      <a:pt x="-1031" y="6778"/>
                      <a:pt x="345" y="11683"/>
                    </a:cubicBezTo>
                    <a:cubicBezTo>
                      <a:pt x="1720" y="16587"/>
                      <a:pt x="6804" y="19458"/>
                      <a:pt x="11648" y="18082"/>
                    </a:cubicBezTo>
                    <a:cubicBezTo>
                      <a:pt x="16492" y="16706"/>
                      <a:pt x="19363" y="11623"/>
                      <a:pt x="17988" y="6719"/>
                    </a:cubicBezTo>
                    <a:cubicBezTo>
                      <a:pt x="16612" y="1874"/>
                      <a:pt x="11588" y="-996"/>
                      <a:pt x="6684" y="319"/>
                    </a:cubicBezTo>
                    <a:close/>
                  </a:path>
                </a:pathLst>
              </a:custGeom>
              <a:grpFill/>
              <a:ln w="5978" cap="flat">
                <a:noFill/>
                <a:prstDash val="solid"/>
                <a:miter/>
              </a:ln>
            </p:spPr>
            <p:txBody>
              <a:bodyPr rtlCol="0" anchor="ctr"/>
              <a:lstStyle/>
              <a:p>
                <a:endParaRPr lang="en-GB"/>
              </a:p>
            </p:txBody>
          </p:sp>
        </p:grpSp>
        <p:grpSp>
          <p:nvGrpSpPr>
            <p:cNvPr id="37" name="Graphic 3">
              <a:extLst>
                <a:ext uri="{FF2B5EF4-FFF2-40B4-BE49-F238E27FC236}">
                  <a16:creationId xmlns:a16="http://schemas.microsoft.com/office/drawing/2014/main" id="{F48C8B9C-2115-4C5B-95A0-6DE7BB890AB1}"/>
                </a:ext>
              </a:extLst>
            </p:cNvPr>
            <p:cNvGrpSpPr/>
            <p:nvPr/>
          </p:nvGrpSpPr>
          <p:grpSpPr>
            <a:xfrm>
              <a:off x="7715328" y="2329631"/>
              <a:ext cx="163836" cy="104908"/>
              <a:chOff x="7715328" y="2329631"/>
              <a:chExt cx="163836" cy="104908"/>
            </a:xfrm>
            <a:grpFill/>
          </p:grpSpPr>
          <p:sp>
            <p:nvSpPr>
              <p:cNvPr id="5260" name="Vrije vorm: vorm 5259">
                <a:extLst>
                  <a:ext uri="{FF2B5EF4-FFF2-40B4-BE49-F238E27FC236}">
                    <a16:creationId xmlns:a16="http://schemas.microsoft.com/office/drawing/2014/main" id="{16E97A1C-516A-4674-9B18-6031DBDDA6EC}"/>
                  </a:ext>
                </a:extLst>
              </p:cNvPr>
              <p:cNvSpPr/>
              <p:nvPr/>
            </p:nvSpPr>
            <p:spPr>
              <a:xfrm>
                <a:off x="7723285" y="2337306"/>
                <a:ext cx="147903" cy="89591"/>
              </a:xfrm>
              <a:custGeom>
                <a:avLst/>
                <a:gdLst>
                  <a:gd name="connsiteX0" fmla="*/ 147903 w 147903"/>
                  <a:gd name="connsiteY0" fmla="*/ 2632 h 89591"/>
                  <a:gd name="connsiteX1" fmla="*/ 1555 w 147903"/>
                  <a:gd name="connsiteY1" fmla="*/ 89591 h 89591"/>
                  <a:gd name="connsiteX2" fmla="*/ 0 w 147903"/>
                  <a:gd name="connsiteY2" fmla="*/ 86960 h 89591"/>
                  <a:gd name="connsiteX3" fmla="*/ 146348 w 147903"/>
                  <a:gd name="connsiteY3" fmla="*/ 0 h 89591"/>
                </a:gdLst>
                <a:ahLst/>
                <a:cxnLst>
                  <a:cxn ang="0">
                    <a:pos x="connsiteX0" y="connsiteY0"/>
                  </a:cxn>
                  <a:cxn ang="0">
                    <a:pos x="connsiteX1" y="connsiteY1"/>
                  </a:cxn>
                  <a:cxn ang="0">
                    <a:pos x="connsiteX2" y="connsiteY2"/>
                  </a:cxn>
                  <a:cxn ang="0">
                    <a:pos x="connsiteX3" y="connsiteY3"/>
                  </a:cxn>
                </a:cxnLst>
                <a:rect l="l" t="t" r="r" b="b"/>
                <a:pathLst>
                  <a:path w="147903" h="89591">
                    <a:moveTo>
                      <a:pt x="147903" y="2632"/>
                    </a:moveTo>
                    <a:lnTo>
                      <a:pt x="1555" y="89591"/>
                    </a:lnTo>
                    <a:lnTo>
                      <a:pt x="0" y="86960"/>
                    </a:lnTo>
                    <a:lnTo>
                      <a:pt x="146348" y="0"/>
                    </a:lnTo>
                    <a:close/>
                  </a:path>
                </a:pathLst>
              </a:custGeom>
              <a:grpFill/>
              <a:ln w="5978" cap="flat">
                <a:noFill/>
                <a:prstDash val="solid"/>
                <a:miter/>
              </a:ln>
            </p:spPr>
            <p:txBody>
              <a:bodyPr rtlCol="0" anchor="ctr"/>
              <a:lstStyle/>
              <a:p>
                <a:endParaRPr lang="en-GB"/>
              </a:p>
            </p:txBody>
          </p:sp>
          <p:sp>
            <p:nvSpPr>
              <p:cNvPr id="5261" name="Vrije vorm: vorm 5260">
                <a:extLst>
                  <a:ext uri="{FF2B5EF4-FFF2-40B4-BE49-F238E27FC236}">
                    <a16:creationId xmlns:a16="http://schemas.microsoft.com/office/drawing/2014/main" id="{FD4901A9-943F-4DAD-A2AE-C2C97B20C605}"/>
                  </a:ext>
                </a:extLst>
              </p:cNvPr>
              <p:cNvSpPr/>
              <p:nvPr/>
            </p:nvSpPr>
            <p:spPr>
              <a:xfrm>
                <a:off x="7860865" y="2329631"/>
                <a:ext cx="18299" cy="18400"/>
              </a:xfrm>
              <a:custGeom>
                <a:avLst/>
                <a:gdLst>
                  <a:gd name="connsiteX0" fmla="*/ 4462 w 18299"/>
                  <a:gd name="connsiteY0" fmla="*/ 1276 h 18400"/>
                  <a:gd name="connsiteX1" fmla="*/ 17021 w 18299"/>
                  <a:gd name="connsiteY1" fmla="*/ 4506 h 18400"/>
                  <a:gd name="connsiteX2" fmla="*/ 13851 w 18299"/>
                  <a:gd name="connsiteY2" fmla="*/ 17125 h 18400"/>
                  <a:gd name="connsiteX3" fmla="*/ 1292 w 18299"/>
                  <a:gd name="connsiteY3" fmla="*/ 13895 h 18400"/>
                  <a:gd name="connsiteX4" fmla="*/ 4462 w 18299"/>
                  <a:gd name="connsiteY4" fmla="*/ 127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00">
                    <a:moveTo>
                      <a:pt x="4462" y="1276"/>
                    </a:moveTo>
                    <a:cubicBezTo>
                      <a:pt x="8828" y="-1296"/>
                      <a:pt x="14449" y="140"/>
                      <a:pt x="17021" y="4506"/>
                    </a:cubicBezTo>
                    <a:cubicBezTo>
                      <a:pt x="19593" y="8871"/>
                      <a:pt x="18157" y="14553"/>
                      <a:pt x="13851" y="17125"/>
                    </a:cubicBezTo>
                    <a:cubicBezTo>
                      <a:pt x="9485" y="19697"/>
                      <a:pt x="3864" y="18261"/>
                      <a:pt x="1292" y="13895"/>
                    </a:cubicBezTo>
                    <a:cubicBezTo>
                      <a:pt x="-1280" y="9529"/>
                      <a:pt x="96" y="3848"/>
                      <a:pt x="4462" y="1276"/>
                    </a:cubicBezTo>
                    <a:close/>
                  </a:path>
                </a:pathLst>
              </a:custGeom>
              <a:grpFill/>
              <a:ln w="5978" cap="flat">
                <a:noFill/>
                <a:prstDash val="solid"/>
                <a:miter/>
              </a:ln>
            </p:spPr>
            <p:txBody>
              <a:bodyPr rtlCol="0" anchor="ctr"/>
              <a:lstStyle/>
              <a:p>
                <a:endParaRPr lang="en-GB"/>
              </a:p>
            </p:txBody>
          </p:sp>
          <p:sp>
            <p:nvSpPr>
              <p:cNvPr id="5262" name="Vrije vorm: vorm 5261">
                <a:extLst>
                  <a:ext uri="{FF2B5EF4-FFF2-40B4-BE49-F238E27FC236}">
                    <a16:creationId xmlns:a16="http://schemas.microsoft.com/office/drawing/2014/main" id="{4B69D079-77A8-4112-B468-DD697D9C1FB9}"/>
                  </a:ext>
                </a:extLst>
              </p:cNvPr>
              <p:cNvSpPr/>
              <p:nvPr/>
            </p:nvSpPr>
            <p:spPr>
              <a:xfrm>
                <a:off x="7715328" y="2416112"/>
                <a:ext cx="18366" cy="18427"/>
              </a:xfrm>
              <a:custGeom>
                <a:avLst/>
                <a:gdLst>
                  <a:gd name="connsiteX0" fmla="*/ 4488 w 18366"/>
                  <a:gd name="connsiteY0" fmla="*/ 1276 h 18427"/>
                  <a:gd name="connsiteX1" fmla="*/ 1319 w 18366"/>
                  <a:gd name="connsiteY1" fmla="*/ 13895 h 18427"/>
                  <a:gd name="connsiteX2" fmla="*/ 13878 w 18366"/>
                  <a:gd name="connsiteY2" fmla="*/ 17125 h 18427"/>
                  <a:gd name="connsiteX3" fmla="*/ 17048 w 18366"/>
                  <a:gd name="connsiteY3" fmla="*/ 4506 h 18427"/>
                  <a:gd name="connsiteX4" fmla="*/ 4488 w 18366"/>
                  <a:gd name="connsiteY4" fmla="*/ 127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7">
                    <a:moveTo>
                      <a:pt x="4488" y="1276"/>
                    </a:moveTo>
                    <a:cubicBezTo>
                      <a:pt x="122" y="3848"/>
                      <a:pt x="-1313" y="9529"/>
                      <a:pt x="1319" y="13895"/>
                    </a:cubicBezTo>
                    <a:cubicBezTo>
                      <a:pt x="3890" y="18261"/>
                      <a:pt x="9512" y="19757"/>
                      <a:pt x="13878" y="17125"/>
                    </a:cubicBezTo>
                    <a:cubicBezTo>
                      <a:pt x="18244" y="14493"/>
                      <a:pt x="19679" y="8872"/>
                      <a:pt x="17048" y="4506"/>
                    </a:cubicBezTo>
                    <a:cubicBezTo>
                      <a:pt x="14416" y="140"/>
                      <a:pt x="8795" y="-1296"/>
                      <a:pt x="4488" y="1276"/>
                    </a:cubicBezTo>
                    <a:close/>
                  </a:path>
                </a:pathLst>
              </a:custGeom>
              <a:grpFill/>
              <a:ln w="5978" cap="flat">
                <a:noFill/>
                <a:prstDash val="solid"/>
                <a:miter/>
              </a:ln>
            </p:spPr>
            <p:txBody>
              <a:bodyPr rtlCol="0" anchor="ctr"/>
              <a:lstStyle/>
              <a:p>
                <a:endParaRPr lang="en-GB"/>
              </a:p>
            </p:txBody>
          </p:sp>
        </p:grpSp>
        <p:grpSp>
          <p:nvGrpSpPr>
            <p:cNvPr id="38" name="Graphic 3">
              <a:extLst>
                <a:ext uri="{FF2B5EF4-FFF2-40B4-BE49-F238E27FC236}">
                  <a16:creationId xmlns:a16="http://schemas.microsoft.com/office/drawing/2014/main" id="{571A293B-8E89-4E6C-919B-254B19A53D0C}"/>
                </a:ext>
              </a:extLst>
            </p:cNvPr>
            <p:cNvGrpSpPr/>
            <p:nvPr/>
          </p:nvGrpSpPr>
          <p:grpSpPr>
            <a:xfrm>
              <a:off x="7813201" y="2730236"/>
              <a:ext cx="231580" cy="91362"/>
              <a:chOff x="7813201" y="2730236"/>
              <a:chExt cx="231580" cy="91362"/>
            </a:xfrm>
            <a:grpFill/>
          </p:grpSpPr>
          <p:sp>
            <p:nvSpPr>
              <p:cNvPr id="5257" name="Vrije vorm: vorm 5256">
                <a:extLst>
                  <a:ext uri="{FF2B5EF4-FFF2-40B4-BE49-F238E27FC236}">
                    <a16:creationId xmlns:a16="http://schemas.microsoft.com/office/drawing/2014/main" id="{DFAC0620-1B62-42AC-83B9-587B28E099C8}"/>
                  </a:ext>
                </a:extLst>
              </p:cNvPr>
              <p:cNvSpPr/>
              <p:nvPr/>
            </p:nvSpPr>
            <p:spPr>
              <a:xfrm>
                <a:off x="7821201" y="2737459"/>
                <a:ext cx="215100" cy="76165"/>
              </a:xfrm>
              <a:custGeom>
                <a:avLst/>
                <a:gdLst>
                  <a:gd name="connsiteX0" fmla="*/ 0 w 215100"/>
                  <a:gd name="connsiteY0" fmla="*/ 73279 h 76165"/>
                  <a:gd name="connsiteX1" fmla="*/ 214112 w 215100"/>
                  <a:gd name="connsiteY1" fmla="*/ 0 h 76165"/>
                  <a:gd name="connsiteX2" fmla="*/ 215100 w 215100"/>
                  <a:gd name="connsiteY2" fmla="*/ 2886 h 76165"/>
                  <a:gd name="connsiteX3" fmla="*/ 988 w 215100"/>
                  <a:gd name="connsiteY3" fmla="*/ 76165 h 76165"/>
                </a:gdLst>
                <a:ahLst/>
                <a:cxnLst>
                  <a:cxn ang="0">
                    <a:pos x="connsiteX0" y="connsiteY0"/>
                  </a:cxn>
                  <a:cxn ang="0">
                    <a:pos x="connsiteX1" y="connsiteY1"/>
                  </a:cxn>
                  <a:cxn ang="0">
                    <a:pos x="connsiteX2" y="connsiteY2"/>
                  </a:cxn>
                  <a:cxn ang="0">
                    <a:pos x="connsiteX3" y="connsiteY3"/>
                  </a:cxn>
                </a:cxnLst>
                <a:rect l="l" t="t" r="r" b="b"/>
                <a:pathLst>
                  <a:path w="215100" h="76165">
                    <a:moveTo>
                      <a:pt x="0" y="73279"/>
                    </a:moveTo>
                    <a:lnTo>
                      <a:pt x="214112" y="0"/>
                    </a:lnTo>
                    <a:lnTo>
                      <a:pt x="215100" y="2886"/>
                    </a:lnTo>
                    <a:lnTo>
                      <a:pt x="988" y="76165"/>
                    </a:lnTo>
                    <a:close/>
                  </a:path>
                </a:pathLst>
              </a:custGeom>
              <a:grpFill/>
              <a:ln w="5978" cap="flat">
                <a:noFill/>
                <a:prstDash val="solid"/>
                <a:miter/>
              </a:ln>
            </p:spPr>
            <p:txBody>
              <a:bodyPr rtlCol="0" anchor="ctr"/>
              <a:lstStyle/>
              <a:p>
                <a:endParaRPr lang="en-GB"/>
              </a:p>
            </p:txBody>
          </p:sp>
          <p:sp>
            <p:nvSpPr>
              <p:cNvPr id="5258" name="Vrije vorm: vorm 5257">
                <a:extLst>
                  <a:ext uri="{FF2B5EF4-FFF2-40B4-BE49-F238E27FC236}">
                    <a16:creationId xmlns:a16="http://schemas.microsoft.com/office/drawing/2014/main" id="{DC9E8CF9-A0D5-468B-8790-9EA1DC157E1B}"/>
                  </a:ext>
                </a:extLst>
              </p:cNvPr>
              <p:cNvSpPr/>
              <p:nvPr/>
            </p:nvSpPr>
            <p:spPr>
              <a:xfrm>
                <a:off x="8026437" y="2730236"/>
                <a:ext cx="18344" cy="18368"/>
              </a:xfrm>
              <a:custGeom>
                <a:avLst/>
                <a:gdLst>
                  <a:gd name="connsiteX0" fmla="*/ 6170 w 18344"/>
                  <a:gd name="connsiteY0" fmla="*/ 482 h 18368"/>
                  <a:gd name="connsiteX1" fmla="*/ 17832 w 18344"/>
                  <a:gd name="connsiteY1" fmla="*/ 6224 h 18368"/>
                  <a:gd name="connsiteX2" fmla="*/ 12151 w 18344"/>
                  <a:gd name="connsiteY2" fmla="*/ 17886 h 18368"/>
                  <a:gd name="connsiteX3" fmla="*/ 489 w 18344"/>
                  <a:gd name="connsiteY3" fmla="*/ 12145 h 18368"/>
                  <a:gd name="connsiteX4" fmla="*/ 6170 w 18344"/>
                  <a:gd name="connsiteY4" fmla="*/ 482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68">
                    <a:moveTo>
                      <a:pt x="6170" y="482"/>
                    </a:moveTo>
                    <a:cubicBezTo>
                      <a:pt x="10955" y="-1132"/>
                      <a:pt x="16158" y="1439"/>
                      <a:pt x="17832" y="6224"/>
                    </a:cubicBezTo>
                    <a:cubicBezTo>
                      <a:pt x="19507" y="11068"/>
                      <a:pt x="16936" y="16271"/>
                      <a:pt x="12151" y="17886"/>
                    </a:cubicBezTo>
                    <a:cubicBezTo>
                      <a:pt x="7366" y="19501"/>
                      <a:pt x="2163" y="16929"/>
                      <a:pt x="489" y="12145"/>
                    </a:cubicBezTo>
                    <a:cubicBezTo>
                      <a:pt x="-1126" y="7360"/>
                      <a:pt x="1385" y="2157"/>
                      <a:pt x="6170" y="482"/>
                    </a:cubicBezTo>
                    <a:close/>
                  </a:path>
                </a:pathLst>
              </a:custGeom>
              <a:grpFill/>
              <a:ln w="5978" cap="flat">
                <a:noFill/>
                <a:prstDash val="solid"/>
                <a:miter/>
              </a:ln>
            </p:spPr>
            <p:txBody>
              <a:bodyPr rtlCol="0" anchor="ctr"/>
              <a:lstStyle/>
              <a:p>
                <a:endParaRPr lang="en-GB"/>
              </a:p>
            </p:txBody>
          </p:sp>
          <p:sp>
            <p:nvSpPr>
              <p:cNvPr id="5259" name="Vrije vorm: vorm 5258">
                <a:extLst>
                  <a:ext uri="{FF2B5EF4-FFF2-40B4-BE49-F238E27FC236}">
                    <a16:creationId xmlns:a16="http://schemas.microsoft.com/office/drawing/2014/main" id="{D3271F75-5FA9-416E-9675-3A93892BE643}"/>
                  </a:ext>
                </a:extLst>
              </p:cNvPr>
              <p:cNvSpPr/>
              <p:nvPr/>
            </p:nvSpPr>
            <p:spPr>
              <a:xfrm>
                <a:off x="7813201" y="2803200"/>
                <a:ext cx="18368" cy="18397"/>
              </a:xfrm>
              <a:custGeom>
                <a:avLst/>
                <a:gdLst>
                  <a:gd name="connsiteX0" fmla="*/ 6194 w 18368"/>
                  <a:gd name="connsiteY0" fmla="*/ 482 h 18397"/>
                  <a:gd name="connsiteX1" fmla="*/ 512 w 18368"/>
                  <a:gd name="connsiteY1" fmla="*/ 12145 h 18397"/>
                  <a:gd name="connsiteX2" fmla="*/ 12174 w 18368"/>
                  <a:gd name="connsiteY2" fmla="*/ 17886 h 18397"/>
                  <a:gd name="connsiteX3" fmla="*/ 17856 w 18368"/>
                  <a:gd name="connsiteY3" fmla="*/ 6224 h 18397"/>
                  <a:gd name="connsiteX4" fmla="*/ 6194 w 18368"/>
                  <a:gd name="connsiteY4" fmla="*/ 48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397">
                    <a:moveTo>
                      <a:pt x="6194" y="482"/>
                    </a:moveTo>
                    <a:cubicBezTo>
                      <a:pt x="1409" y="2097"/>
                      <a:pt x="-1163" y="7360"/>
                      <a:pt x="512" y="12145"/>
                    </a:cubicBezTo>
                    <a:cubicBezTo>
                      <a:pt x="2187" y="16989"/>
                      <a:pt x="7390" y="19561"/>
                      <a:pt x="12174" y="17886"/>
                    </a:cubicBezTo>
                    <a:cubicBezTo>
                      <a:pt x="16959" y="16271"/>
                      <a:pt x="19530" y="11008"/>
                      <a:pt x="17856" y="6224"/>
                    </a:cubicBezTo>
                    <a:cubicBezTo>
                      <a:pt x="16182" y="1439"/>
                      <a:pt x="10978" y="-1132"/>
                      <a:pt x="6194" y="482"/>
                    </a:cubicBezTo>
                    <a:close/>
                  </a:path>
                </a:pathLst>
              </a:custGeom>
              <a:grpFill/>
              <a:ln w="5978" cap="flat">
                <a:noFill/>
                <a:prstDash val="solid"/>
                <a:miter/>
              </a:ln>
            </p:spPr>
            <p:txBody>
              <a:bodyPr rtlCol="0" anchor="ctr"/>
              <a:lstStyle/>
              <a:p>
                <a:endParaRPr lang="en-GB"/>
              </a:p>
            </p:txBody>
          </p:sp>
        </p:grpSp>
        <p:grpSp>
          <p:nvGrpSpPr>
            <p:cNvPr id="39" name="Graphic 3">
              <a:extLst>
                <a:ext uri="{FF2B5EF4-FFF2-40B4-BE49-F238E27FC236}">
                  <a16:creationId xmlns:a16="http://schemas.microsoft.com/office/drawing/2014/main" id="{B4BE4A19-D4DF-4944-82E3-3F2554D8E1E9}"/>
                </a:ext>
              </a:extLst>
            </p:cNvPr>
            <p:cNvGrpSpPr/>
            <p:nvPr/>
          </p:nvGrpSpPr>
          <p:grpSpPr>
            <a:xfrm>
              <a:off x="7481932" y="1730442"/>
              <a:ext cx="216682" cy="222027"/>
              <a:chOff x="7481932" y="1730442"/>
              <a:chExt cx="216682" cy="222027"/>
            </a:xfrm>
            <a:grpFill/>
          </p:grpSpPr>
          <p:sp>
            <p:nvSpPr>
              <p:cNvPr id="5254" name="Vrije vorm: vorm 5253">
                <a:extLst>
                  <a:ext uri="{FF2B5EF4-FFF2-40B4-BE49-F238E27FC236}">
                    <a16:creationId xmlns:a16="http://schemas.microsoft.com/office/drawing/2014/main" id="{B51FB483-AF74-4C99-AAD1-D77E3733ABAA}"/>
                  </a:ext>
                </a:extLst>
              </p:cNvPr>
              <p:cNvSpPr/>
              <p:nvPr/>
            </p:nvSpPr>
            <p:spPr>
              <a:xfrm>
                <a:off x="7489678" y="1738277"/>
                <a:ext cx="201191" cy="206334"/>
              </a:xfrm>
              <a:custGeom>
                <a:avLst/>
                <a:gdLst>
                  <a:gd name="connsiteX0" fmla="*/ 201192 w 201191"/>
                  <a:gd name="connsiteY0" fmla="*/ 2153 h 206334"/>
                  <a:gd name="connsiteX1" fmla="*/ 2213 w 201191"/>
                  <a:gd name="connsiteY1" fmla="*/ 206335 h 206334"/>
                  <a:gd name="connsiteX2" fmla="*/ 0 w 201191"/>
                  <a:gd name="connsiteY2" fmla="*/ 204182 h 206334"/>
                  <a:gd name="connsiteX3" fmla="*/ 198979 w 201191"/>
                  <a:gd name="connsiteY3" fmla="*/ 0 h 206334"/>
                </a:gdLst>
                <a:ahLst/>
                <a:cxnLst>
                  <a:cxn ang="0">
                    <a:pos x="connsiteX0" y="connsiteY0"/>
                  </a:cxn>
                  <a:cxn ang="0">
                    <a:pos x="connsiteX1" y="connsiteY1"/>
                  </a:cxn>
                  <a:cxn ang="0">
                    <a:pos x="connsiteX2" y="connsiteY2"/>
                  </a:cxn>
                  <a:cxn ang="0">
                    <a:pos x="connsiteX3" y="connsiteY3"/>
                  </a:cxn>
                </a:cxnLst>
                <a:rect l="l" t="t" r="r" b="b"/>
                <a:pathLst>
                  <a:path w="201191" h="206334">
                    <a:moveTo>
                      <a:pt x="201192" y="2153"/>
                    </a:moveTo>
                    <a:lnTo>
                      <a:pt x="2213" y="206335"/>
                    </a:lnTo>
                    <a:lnTo>
                      <a:pt x="0" y="204182"/>
                    </a:lnTo>
                    <a:lnTo>
                      <a:pt x="198979" y="0"/>
                    </a:lnTo>
                    <a:close/>
                  </a:path>
                </a:pathLst>
              </a:custGeom>
              <a:grpFill/>
              <a:ln w="5978" cap="flat">
                <a:noFill/>
                <a:prstDash val="solid"/>
                <a:miter/>
              </a:ln>
            </p:spPr>
            <p:txBody>
              <a:bodyPr rtlCol="0" anchor="ctr"/>
              <a:lstStyle/>
              <a:p>
                <a:endParaRPr lang="en-GB"/>
              </a:p>
            </p:txBody>
          </p:sp>
          <p:sp>
            <p:nvSpPr>
              <p:cNvPr id="5255" name="Vrije vorm: vorm 5254">
                <a:extLst>
                  <a:ext uri="{FF2B5EF4-FFF2-40B4-BE49-F238E27FC236}">
                    <a16:creationId xmlns:a16="http://schemas.microsoft.com/office/drawing/2014/main" id="{C00DA0E9-100D-4A14-9CA0-570B5217E57B}"/>
                  </a:ext>
                </a:extLst>
              </p:cNvPr>
              <p:cNvSpPr/>
              <p:nvPr/>
            </p:nvSpPr>
            <p:spPr>
              <a:xfrm>
                <a:off x="7680275" y="1730442"/>
                <a:ext cx="18340" cy="18421"/>
              </a:xfrm>
              <a:custGeom>
                <a:avLst/>
                <a:gdLst>
                  <a:gd name="connsiteX0" fmla="*/ 2580 w 18340"/>
                  <a:gd name="connsiteY0" fmla="*/ 2751 h 18421"/>
                  <a:gd name="connsiteX1" fmla="*/ 15558 w 18340"/>
                  <a:gd name="connsiteY1" fmla="*/ 2632 h 18421"/>
                  <a:gd name="connsiteX2" fmla="*/ 15738 w 18340"/>
                  <a:gd name="connsiteY2" fmla="*/ 15670 h 18421"/>
                  <a:gd name="connsiteX3" fmla="*/ 2760 w 18340"/>
                  <a:gd name="connsiteY3" fmla="*/ 15789 h 18421"/>
                  <a:gd name="connsiteX4" fmla="*/ 2580 w 18340"/>
                  <a:gd name="connsiteY4" fmla="*/ 27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1">
                    <a:moveTo>
                      <a:pt x="2580" y="2751"/>
                    </a:moveTo>
                    <a:cubicBezTo>
                      <a:pt x="6109" y="-897"/>
                      <a:pt x="11910" y="-897"/>
                      <a:pt x="15558" y="2632"/>
                    </a:cubicBezTo>
                    <a:cubicBezTo>
                      <a:pt x="19207" y="6220"/>
                      <a:pt x="19266" y="12021"/>
                      <a:pt x="15738" y="15670"/>
                    </a:cubicBezTo>
                    <a:cubicBezTo>
                      <a:pt x="12209" y="19318"/>
                      <a:pt x="6408" y="19318"/>
                      <a:pt x="2760" y="15789"/>
                    </a:cubicBezTo>
                    <a:cubicBezTo>
                      <a:pt x="-829" y="12201"/>
                      <a:pt x="-948" y="6400"/>
                      <a:pt x="2580" y="2751"/>
                    </a:cubicBezTo>
                    <a:close/>
                  </a:path>
                </a:pathLst>
              </a:custGeom>
              <a:grpFill/>
              <a:ln w="5978" cap="flat">
                <a:noFill/>
                <a:prstDash val="solid"/>
                <a:miter/>
              </a:ln>
            </p:spPr>
            <p:txBody>
              <a:bodyPr rtlCol="0" anchor="ctr"/>
              <a:lstStyle/>
              <a:p>
                <a:endParaRPr lang="en-GB"/>
              </a:p>
            </p:txBody>
          </p:sp>
          <p:sp>
            <p:nvSpPr>
              <p:cNvPr id="5256" name="Vrije vorm: vorm 5255">
                <a:extLst>
                  <a:ext uri="{FF2B5EF4-FFF2-40B4-BE49-F238E27FC236}">
                    <a16:creationId xmlns:a16="http://schemas.microsoft.com/office/drawing/2014/main" id="{9A4CE151-B53A-4CBA-A577-07D63CE72FBA}"/>
                  </a:ext>
                </a:extLst>
              </p:cNvPr>
              <p:cNvSpPr/>
              <p:nvPr/>
            </p:nvSpPr>
            <p:spPr>
              <a:xfrm>
                <a:off x="7481932" y="1934003"/>
                <a:ext cx="18362" cy="18466"/>
              </a:xfrm>
              <a:custGeom>
                <a:avLst/>
                <a:gdLst>
                  <a:gd name="connsiteX0" fmla="*/ 2602 w 18362"/>
                  <a:gd name="connsiteY0" fmla="*/ 2774 h 18466"/>
                  <a:gd name="connsiteX1" fmla="*/ 2782 w 18362"/>
                  <a:gd name="connsiteY1" fmla="*/ 15812 h 18466"/>
                  <a:gd name="connsiteX2" fmla="*/ 15759 w 18362"/>
                  <a:gd name="connsiteY2" fmla="*/ 15692 h 18466"/>
                  <a:gd name="connsiteX3" fmla="*/ 15581 w 18362"/>
                  <a:gd name="connsiteY3" fmla="*/ 2654 h 18466"/>
                  <a:gd name="connsiteX4" fmla="*/ 2602 w 18362"/>
                  <a:gd name="connsiteY4" fmla="*/ 277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66">
                    <a:moveTo>
                      <a:pt x="2602" y="2774"/>
                    </a:moveTo>
                    <a:cubicBezTo>
                      <a:pt x="-926" y="6422"/>
                      <a:pt x="-866" y="12224"/>
                      <a:pt x="2782" y="15812"/>
                    </a:cubicBezTo>
                    <a:cubicBezTo>
                      <a:pt x="6430" y="19400"/>
                      <a:pt x="12231" y="19341"/>
                      <a:pt x="15759" y="15692"/>
                    </a:cubicBezTo>
                    <a:cubicBezTo>
                      <a:pt x="19289" y="12044"/>
                      <a:pt x="19229" y="6243"/>
                      <a:pt x="15581" y="2654"/>
                    </a:cubicBezTo>
                    <a:cubicBezTo>
                      <a:pt x="11932" y="-934"/>
                      <a:pt x="6131" y="-874"/>
                      <a:pt x="2602" y="2774"/>
                    </a:cubicBezTo>
                    <a:close/>
                  </a:path>
                </a:pathLst>
              </a:custGeom>
              <a:grpFill/>
              <a:ln w="5978" cap="flat">
                <a:noFill/>
                <a:prstDash val="solid"/>
                <a:miter/>
              </a:ln>
            </p:spPr>
            <p:txBody>
              <a:bodyPr rtlCol="0" anchor="ctr"/>
              <a:lstStyle/>
              <a:p>
                <a:endParaRPr lang="en-GB"/>
              </a:p>
            </p:txBody>
          </p:sp>
        </p:grpSp>
        <p:grpSp>
          <p:nvGrpSpPr>
            <p:cNvPr id="40" name="Graphic 3">
              <a:extLst>
                <a:ext uri="{FF2B5EF4-FFF2-40B4-BE49-F238E27FC236}">
                  <a16:creationId xmlns:a16="http://schemas.microsoft.com/office/drawing/2014/main" id="{9802C21E-A783-4BC6-85C7-AF6E21DD59E0}"/>
                </a:ext>
              </a:extLst>
            </p:cNvPr>
            <p:cNvGrpSpPr/>
            <p:nvPr/>
          </p:nvGrpSpPr>
          <p:grpSpPr>
            <a:xfrm>
              <a:off x="8028608" y="3198478"/>
              <a:ext cx="31803" cy="19840"/>
              <a:chOff x="8028608" y="3198478"/>
              <a:chExt cx="31803" cy="19840"/>
            </a:xfrm>
            <a:grpFill/>
          </p:grpSpPr>
          <p:sp>
            <p:nvSpPr>
              <p:cNvPr id="5251" name="Vrije vorm: vorm 5250">
                <a:extLst>
                  <a:ext uri="{FF2B5EF4-FFF2-40B4-BE49-F238E27FC236}">
                    <a16:creationId xmlns:a16="http://schemas.microsoft.com/office/drawing/2014/main" id="{0990BFF9-8E9E-4219-A881-D58A8C9E451E}"/>
                  </a:ext>
                </a:extLst>
              </p:cNvPr>
              <p:cNvSpPr/>
              <p:nvPr/>
            </p:nvSpPr>
            <p:spPr>
              <a:xfrm>
                <a:off x="8037153" y="3206125"/>
                <a:ext cx="14712" cy="4545"/>
              </a:xfrm>
              <a:custGeom>
                <a:avLst/>
                <a:gdLst>
                  <a:gd name="connsiteX0" fmla="*/ 14414 w 14712"/>
                  <a:gd name="connsiteY0" fmla="*/ 0 h 4545"/>
                  <a:gd name="connsiteX1" fmla="*/ 14712 w 14712"/>
                  <a:gd name="connsiteY1" fmla="*/ 3050 h 4545"/>
                  <a:gd name="connsiteX2" fmla="*/ 358 w 14712"/>
                  <a:gd name="connsiteY2" fmla="*/ 4545 h 4545"/>
                  <a:gd name="connsiteX3" fmla="*/ 0 w 14712"/>
                  <a:gd name="connsiteY3" fmla="*/ 1495 h 4545"/>
                </a:gdLst>
                <a:ahLst/>
                <a:cxnLst>
                  <a:cxn ang="0">
                    <a:pos x="connsiteX0" y="connsiteY0"/>
                  </a:cxn>
                  <a:cxn ang="0">
                    <a:pos x="connsiteX1" y="connsiteY1"/>
                  </a:cxn>
                  <a:cxn ang="0">
                    <a:pos x="connsiteX2" y="connsiteY2"/>
                  </a:cxn>
                  <a:cxn ang="0">
                    <a:pos x="connsiteX3" y="connsiteY3"/>
                  </a:cxn>
                </a:cxnLst>
                <a:rect l="l" t="t" r="r" b="b"/>
                <a:pathLst>
                  <a:path w="14712" h="4545">
                    <a:moveTo>
                      <a:pt x="14414" y="0"/>
                    </a:moveTo>
                    <a:lnTo>
                      <a:pt x="14712" y="3050"/>
                    </a:lnTo>
                    <a:lnTo>
                      <a:pt x="358" y="4545"/>
                    </a:lnTo>
                    <a:lnTo>
                      <a:pt x="0" y="1495"/>
                    </a:lnTo>
                    <a:close/>
                  </a:path>
                </a:pathLst>
              </a:custGeom>
              <a:grpFill/>
              <a:ln w="5978" cap="flat">
                <a:noFill/>
                <a:prstDash val="solid"/>
                <a:miter/>
              </a:ln>
            </p:spPr>
            <p:txBody>
              <a:bodyPr rtlCol="0" anchor="ctr"/>
              <a:lstStyle/>
              <a:p>
                <a:endParaRPr lang="en-GB"/>
              </a:p>
            </p:txBody>
          </p:sp>
          <p:sp>
            <p:nvSpPr>
              <p:cNvPr id="5252" name="Vrije vorm: vorm 5251">
                <a:extLst>
                  <a:ext uri="{FF2B5EF4-FFF2-40B4-BE49-F238E27FC236}">
                    <a16:creationId xmlns:a16="http://schemas.microsoft.com/office/drawing/2014/main" id="{A1326DB7-D94A-4BA3-8357-5790899625B4}"/>
                  </a:ext>
                </a:extLst>
              </p:cNvPr>
              <p:cNvSpPr/>
              <p:nvPr/>
            </p:nvSpPr>
            <p:spPr>
              <a:xfrm>
                <a:off x="8042064" y="3198478"/>
                <a:ext cx="18346" cy="18404"/>
              </a:xfrm>
              <a:custGeom>
                <a:avLst/>
                <a:gdLst>
                  <a:gd name="connsiteX0" fmla="*/ 8186 w 18346"/>
                  <a:gd name="connsiteY0" fmla="*/ 52 h 18404"/>
                  <a:gd name="connsiteX1" fmla="*/ 18294 w 18346"/>
                  <a:gd name="connsiteY1" fmla="*/ 8246 h 18404"/>
                  <a:gd name="connsiteX2" fmla="*/ 10160 w 18346"/>
                  <a:gd name="connsiteY2" fmla="*/ 18353 h 18404"/>
                  <a:gd name="connsiteX3" fmla="*/ 53 w 18346"/>
                  <a:gd name="connsiteY3" fmla="*/ 10159 h 18404"/>
                  <a:gd name="connsiteX4" fmla="*/ 8186 w 18346"/>
                  <a:gd name="connsiteY4" fmla="*/ 52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4">
                    <a:moveTo>
                      <a:pt x="8186" y="52"/>
                    </a:moveTo>
                    <a:cubicBezTo>
                      <a:pt x="13211" y="-486"/>
                      <a:pt x="17756" y="3222"/>
                      <a:pt x="18294" y="8246"/>
                    </a:cubicBezTo>
                    <a:cubicBezTo>
                      <a:pt x="18832" y="13329"/>
                      <a:pt x="15184" y="17815"/>
                      <a:pt x="10160" y="18353"/>
                    </a:cubicBezTo>
                    <a:cubicBezTo>
                      <a:pt x="5136" y="18891"/>
                      <a:pt x="591" y="15183"/>
                      <a:pt x="53" y="10159"/>
                    </a:cubicBezTo>
                    <a:cubicBezTo>
                      <a:pt x="-485" y="5136"/>
                      <a:pt x="3163" y="590"/>
                      <a:pt x="8186" y="52"/>
                    </a:cubicBezTo>
                    <a:close/>
                  </a:path>
                </a:pathLst>
              </a:custGeom>
              <a:grpFill/>
              <a:ln w="5978" cap="flat">
                <a:noFill/>
                <a:prstDash val="solid"/>
                <a:miter/>
              </a:ln>
            </p:spPr>
            <p:txBody>
              <a:bodyPr rtlCol="0" anchor="ctr"/>
              <a:lstStyle/>
              <a:p>
                <a:endParaRPr lang="en-GB"/>
              </a:p>
            </p:txBody>
          </p:sp>
          <p:sp>
            <p:nvSpPr>
              <p:cNvPr id="5253" name="Vrije vorm: vorm 5252">
                <a:extLst>
                  <a:ext uri="{FF2B5EF4-FFF2-40B4-BE49-F238E27FC236}">
                    <a16:creationId xmlns:a16="http://schemas.microsoft.com/office/drawing/2014/main" id="{8F709F46-698A-4146-A4A8-4734D4677C05}"/>
                  </a:ext>
                </a:extLst>
              </p:cNvPr>
              <p:cNvSpPr/>
              <p:nvPr/>
            </p:nvSpPr>
            <p:spPr>
              <a:xfrm>
                <a:off x="8028608" y="3199913"/>
                <a:ext cx="18346" cy="18405"/>
              </a:xfrm>
              <a:custGeom>
                <a:avLst/>
                <a:gdLst>
                  <a:gd name="connsiteX0" fmla="*/ 8186 w 18346"/>
                  <a:gd name="connsiteY0" fmla="*/ 52 h 18405"/>
                  <a:gd name="connsiteX1" fmla="*/ 53 w 18346"/>
                  <a:gd name="connsiteY1" fmla="*/ 10159 h 18405"/>
                  <a:gd name="connsiteX2" fmla="*/ 10160 w 18346"/>
                  <a:gd name="connsiteY2" fmla="*/ 18353 h 18405"/>
                  <a:gd name="connsiteX3" fmla="*/ 18294 w 18346"/>
                  <a:gd name="connsiteY3" fmla="*/ 8246 h 18405"/>
                  <a:gd name="connsiteX4" fmla="*/ 8186 w 18346"/>
                  <a:gd name="connsiteY4" fmla="*/ 5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5">
                    <a:moveTo>
                      <a:pt x="8186" y="52"/>
                    </a:moveTo>
                    <a:cubicBezTo>
                      <a:pt x="3163" y="590"/>
                      <a:pt x="-485" y="5136"/>
                      <a:pt x="53" y="10159"/>
                    </a:cubicBezTo>
                    <a:cubicBezTo>
                      <a:pt x="591" y="15243"/>
                      <a:pt x="5136" y="18891"/>
                      <a:pt x="10160" y="18353"/>
                    </a:cubicBezTo>
                    <a:cubicBezTo>
                      <a:pt x="15184" y="17815"/>
                      <a:pt x="18832" y="13269"/>
                      <a:pt x="18294" y="8246"/>
                    </a:cubicBezTo>
                    <a:cubicBezTo>
                      <a:pt x="17756" y="3222"/>
                      <a:pt x="13211" y="-486"/>
                      <a:pt x="8186" y="52"/>
                    </a:cubicBezTo>
                    <a:close/>
                  </a:path>
                </a:pathLst>
              </a:custGeom>
              <a:grpFill/>
              <a:ln w="5978" cap="flat">
                <a:noFill/>
                <a:prstDash val="solid"/>
                <a:miter/>
              </a:ln>
            </p:spPr>
            <p:txBody>
              <a:bodyPr rtlCol="0" anchor="ctr"/>
              <a:lstStyle/>
              <a:p>
                <a:endParaRPr lang="en-GB"/>
              </a:p>
            </p:txBody>
          </p:sp>
        </p:grpSp>
        <p:grpSp>
          <p:nvGrpSpPr>
            <p:cNvPr id="41" name="Graphic 3">
              <a:extLst>
                <a:ext uri="{FF2B5EF4-FFF2-40B4-BE49-F238E27FC236}">
                  <a16:creationId xmlns:a16="http://schemas.microsoft.com/office/drawing/2014/main" id="{DEE12B2E-0301-4CBD-998C-22F24AFA4C82}"/>
                </a:ext>
              </a:extLst>
            </p:cNvPr>
            <p:cNvGrpSpPr/>
            <p:nvPr/>
          </p:nvGrpSpPr>
          <p:grpSpPr>
            <a:xfrm>
              <a:off x="7871048" y="2922619"/>
              <a:ext cx="212599" cy="65111"/>
              <a:chOff x="7871048" y="2922619"/>
              <a:chExt cx="212599" cy="65111"/>
            </a:xfrm>
            <a:grpFill/>
          </p:grpSpPr>
          <p:sp>
            <p:nvSpPr>
              <p:cNvPr id="5248" name="Vrije vorm: vorm 5247">
                <a:extLst>
                  <a:ext uri="{FF2B5EF4-FFF2-40B4-BE49-F238E27FC236}">
                    <a16:creationId xmlns:a16="http://schemas.microsoft.com/office/drawing/2014/main" id="{7DD29244-2082-49AF-BC90-4BF344D0F1D3}"/>
                  </a:ext>
                </a:extLst>
              </p:cNvPr>
              <p:cNvSpPr/>
              <p:nvPr/>
            </p:nvSpPr>
            <p:spPr>
              <a:xfrm>
                <a:off x="7879177" y="2930067"/>
                <a:ext cx="195807" cy="49838"/>
              </a:xfrm>
              <a:custGeom>
                <a:avLst/>
                <a:gdLst>
                  <a:gd name="connsiteX0" fmla="*/ 0 w 195807"/>
                  <a:gd name="connsiteY0" fmla="*/ 46873 h 49838"/>
                  <a:gd name="connsiteX1" fmla="*/ 195095 w 195807"/>
                  <a:gd name="connsiteY1" fmla="*/ 0 h 49838"/>
                  <a:gd name="connsiteX2" fmla="*/ 195808 w 195807"/>
                  <a:gd name="connsiteY2" fmla="*/ 2966 h 49838"/>
                  <a:gd name="connsiteX3" fmla="*/ 712 w 195807"/>
                  <a:gd name="connsiteY3" fmla="*/ 49838 h 49838"/>
                </a:gdLst>
                <a:ahLst/>
                <a:cxnLst>
                  <a:cxn ang="0">
                    <a:pos x="connsiteX0" y="connsiteY0"/>
                  </a:cxn>
                  <a:cxn ang="0">
                    <a:pos x="connsiteX1" y="connsiteY1"/>
                  </a:cxn>
                  <a:cxn ang="0">
                    <a:pos x="connsiteX2" y="connsiteY2"/>
                  </a:cxn>
                  <a:cxn ang="0">
                    <a:pos x="connsiteX3" y="connsiteY3"/>
                  </a:cxn>
                </a:cxnLst>
                <a:rect l="l" t="t" r="r" b="b"/>
                <a:pathLst>
                  <a:path w="195807" h="49838">
                    <a:moveTo>
                      <a:pt x="0" y="46873"/>
                    </a:moveTo>
                    <a:lnTo>
                      <a:pt x="195095" y="0"/>
                    </a:lnTo>
                    <a:lnTo>
                      <a:pt x="195808" y="2966"/>
                    </a:lnTo>
                    <a:lnTo>
                      <a:pt x="712" y="49838"/>
                    </a:lnTo>
                    <a:close/>
                  </a:path>
                </a:pathLst>
              </a:custGeom>
              <a:grpFill/>
              <a:ln w="5978" cap="flat">
                <a:noFill/>
                <a:prstDash val="solid"/>
                <a:miter/>
              </a:ln>
            </p:spPr>
            <p:txBody>
              <a:bodyPr rtlCol="0" anchor="ctr"/>
              <a:lstStyle/>
              <a:p>
                <a:endParaRPr lang="en-GB"/>
              </a:p>
            </p:txBody>
          </p:sp>
          <p:sp>
            <p:nvSpPr>
              <p:cNvPr id="5249" name="Vrije vorm: vorm 5248">
                <a:extLst>
                  <a:ext uri="{FF2B5EF4-FFF2-40B4-BE49-F238E27FC236}">
                    <a16:creationId xmlns:a16="http://schemas.microsoft.com/office/drawing/2014/main" id="{8DA66D11-F3DA-4400-895F-B60D605D3761}"/>
                  </a:ext>
                </a:extLst>
              </p:cNvPr>
              <p:cNvSpPr/>
              <p:nvPr/>
            </p:nvSpPr>
            <p:spPr>
              <a:xfrm>
                <a:off x="8065298" y="2922619"/>
                <a:ext cx="18348" cy="18461"/>
              </a:xfrm>
              <a:custGeom>
                <a:avLst/>
                <a:gdLst>
                  <a:gd name="connsiteX0" fmla="*/ 7022 w 18348"/>
                  <a:gd name="connsiteY0" fmla="*/ 260 h 18461"/>
                  <a:gd name="connsiteX1" fmla="*/ 18086 w 18348"/>
                  <a:gd name="connsiteY1" fmla="*/ 7078 h 18461"/>
                  <a:gd name="connsiteX2" fmla="*/ 11328 w 18348"/>
                  <a:gd name="connsiteY2" fmla="*/ 18202 h 18461"/>
                  <a:gd name="connsiteX3" fmla="*/ 263 w 18348"/>
                  <a:gd name="connsiteY3" fmla="*/ 11384 h 18461"/>
                  <a:gd name="connsiteX4" fmla="*/ 7022 w 18348"/>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61">
                    <a:moveTo>
                      <a:pt x="7022" y="260"/>
                    </a:moveTo>
                    <a:cubicBezTo>
                      <a:pt x="11925" y="-937"/>
                      <a:pt x="16890" y="2114"/>
                      <a:pt x="18086" y="7078"/>
                    </a:cubicBezTo>
                    <a:cubicBezTo>
                      <a:pt x="19282" y="12042"/>
                      <a:pt x="16291" y="17006"/>
                      <a:pt x="11328" y="18202"/>
                    </a:cubicBezTo>
                    <a:cubicBezTo>
                      <a:pt x="6424" y="19398"/>
                      <a:pt x="1459" y="16348"/>
                      <a:pt x="263" y="11384"/>
                    </a:cubicBezTo>
                    <a:cubicBezTo>
                      <a:pt x="-933" y="6420"/>
                      <a:pt x="2057" y="1396"/>
                      <a:pt x="7022" y="260"/>
                    </a:cubicBezTo>
                    <a:close/>
                  </a:path>
                </a:pathLst>
              </a:custGeom>
              <a:grpFill/>
              <a:ln w="5978" cap="flat">
                <a:noFill/>
                <a:prstDash val="solid"/>
                <a:miter/>
              </a:ln>
            </p:spPr>
            <p:txBody>
              <a:bodyPr rtlCol="0" anchor="ctr"/>
              <a:lstStyle/>
              <a:p>
                <a:endParaRPr lang="en-GB"/>
              </a:p>
            </p:txBody>
          </p:sp>
          <p:sp>
            <p:nvSpPr>
              <p:cNvPr id="5250" name="Vrije vorm: vorm 5249">
                <a:extLst>
                  <a:ext uri="{FF2B5EF4-FFF2-40B4-BE49-F238E27FC236}">
                    <a16:creationId xmlns:a16="http://schemas.microsoft.com/office/drawing/2014/main" id="{89E815C4-44B2-4D52-BD8C-56903633B898}"/>
                  </a:ext>
                </a:extLst>
              </p:cNvPr>
              <p:cNvSpPr/>
              <p:nvPr/>
            </p:nvSpPr>
            <p:spPr>
              <a:xfrm>
                <a:off x="7871048" y="2969268"/>
                <a:ext cx="18342" cy="18461"/>
              </a:xfrm>
              <a:custGeom>
                <a:avLst/>
                <a:gdLst>
                  <a:gd name="connsiteX0" fmla="*/ 7018 w 18342"/>
                  <a:gd name="connsiteY0" fmla="*/ 260 h 18461"/>
                  <a:gd name="connsiteX1" fmla="*/ 260 w 18342"/>
                  <a:gd name="connsiteY1" fmla="*/ 11384 h 18461"/>
                  <a:gd name="connsiteX2" fmla="*/ 11324 w 18342"/>
                  <a:gd name="connsiteY2" fmla="*/ 18202 h 18461"/>
                  <a:gd name="connsiteX3" fmla="*/ 18082 w 18342"/>
                  <a:gd name="connsiteY3" fmla="*/ 7078 h 18461"/>
                  <a:gd name="connsiteX4" fmla="*/ 7018 w 18342"/>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1">
                    <a:moveTo>
                      <a:pt x="7018" y="260"/>
                    </a:moveTo>
                    <a:cubicBezTo>
                      <a:pt x="2114" y="1456"/>
                      <a:pt x="-937" y="6420"/>
                      <a:pt x="260" y="11384"/>
                    </a:cubicBezTo>
                    <a:cubicBezTo>
                      <a:pt x="1456" y="16348"/>
                      <a:pt x="6420" y="19398"/>
                      <a:pt x="11324" y="18202"/>
                    </a:cubicBezTo>
                    <a:cubicBezTo>
                      <a:pt x="16228" y="17006"/>
                      <a:pt x="19278" y="12042"/>
                      <a:pt x="18082" y="7078"/>
                    </a:cubicBezTo>
                    <a:cubicBezTo>
                      <a:pt x="16886" y="2114"/>
                      <a:pt x="11922" y="-936"/>
                      <a:pt x="7018" y="260"/>
                    </a:cubicBezTo>
                    <a:close/>
                  </a:path>
                </a:pathLst>
              </a:custGeom>
              <a:grpFill/>
              <a:ln w="5978" cap="flat">
                <a:noFill/>
                <a:prstDash val="solid"/>
                <a:miter/>
              </a:ln>
            </p:spPr>
            <p:txBody>
              <a:bodyPr rtlCol="0" anchor="ctr"/>
              <a:lstStyle/>
              <a:p>
                <a:endParaRPr lang="en-GB"/>
              </a:p>
            </p:txBody>
          </p:sp>
        </p:grpSp>
        <p:grpSp>
          <p:nvGrpSpPr>
            <p:cNvPr id="42" name="Graphic 3">
              <a:extLst>
                <a:ext uri="{FF2B5EF4-FFF2-40B4-BE49-F238E27FC236}">
                  <a16:creationId xmlns:a16="http://schemas.microsoft.com/office/drawing/2014/main" id="{1D574070-BE00-42F8-9FEB-C39B7B787951}"/>
                </a:ext>
              </a:extLst>
            </p:cNvPr>
            <p:cNvGrpSpPr/>
            <p:nvPr/>
          </p:nvGrpSpPr>
          <p:grpSpPr>
            <a:xfrm>
              <a:off x="7643100" y="2244223"/>
              <a:ext cx="222389" cy="150254"/>
              <a:chOff x="7643100" y="2244223"/>
              <a:chExt cx="222389" cy="150254"/>
            </a:xfrm>
            <a:grpFill/>
          </p:grpSpPr>
          <p:sp>
            <p:nvSpPr>
              <p:cNvPr id="5245" name="Vrije vorm: vorm 5244">
                <a:extLst>
                  <a:ext uri="{FF2B5EF4-FFF2-40B4-BE49-F238E27FC236}">
                    <a16:creationId xmlns:a16="http://schemas.microsoft.com/office/drawing/2014/main" id="{86144383-32D3-4870-B99C-B58CA5C2F8BE}"/>
                  </a:ext>
                </a:extLst>
              </p:cNvPr>
              <p:cNvSpPr/>
              <p:nvPr/>
            </p:nvSpPr>
            <p:spPr>
              <a:xfrm>
                <a:off x="7651037" y="2251901"/>
                <a:ext cx="206514" cy="134925"/>
              </a:xfrm>
              <a:custGeom>
                <a:avLst/>
                <a:gdLst>
                  <a:gd name="connsiteX0" fmla="*/ 206515 w 206514"/>
                  <a:gd name="connsiteY0" fmla="*/ 2572 h 134925"/>
                  <a:gd name="connsiteX1" fmla="*/ 1675 w 206514"/>
                  <a:gd name="connsiteY1" fmla="*/ 134925 h 134925"/>
                  <a:gd name="connsiteX2" fmla="*/ 0 w 206514"/>
                  <a:gd name="connsiteY2" fmla="*/ 132353 h 134925"/>
                  <a:gd name="connsiteX3" fmla="*/ 204840 w 206514"/>
                  <a:gd name="connsiteY3" fmla="*/ 0 h 134925"/>
                </a:gdLst>
                <a:ahLst/>
                <a:cxnLst>
                  <a:cxn ang="0">
                    <a:pos x="connsiteX0" y="connsiteY0"/>
                  </a:cxn>
                  <a:cxn ang="0">
                    <a:pos x="connsiteX1" y="connsiteY1"/>
                  </a:cxn>
                  <a:cxn ang="0">
                    <a:pos x="connsiteX2" y="connsiteY2"/>
                  </a:cxn>
                  <a:cxn ang="0">
                    <a:pos x="connsiteX3" y="connsiteY3"/>
                  </a:cxn>
                </a:cxnLst>
                <a:rect l="l" t="t" r="r" b="b"/>
                <a:pathLst>
                  <a:path w="206514" h="134925">
                    <a:moveTo>
                      <a:pt x="206515" y="2572"/>
                    </a:moveTo>
                    <a:lnTo>
                      <a:pt x="1675" y="134925"/>
                    </a:lnTo>
                    <a:lnTo>
                      <a:pt x="0" y="132353"/>
                    </a:lnTo>
                    <a:lnTo>
                      <a:pt x="204840" y="0"/>
                    </a:lnTo>
                    <a:close/>
                  </a:path>
                </a:pathLst>
              </a:custGeom>
              <a:grpFill/>
              <a:ln w="5978" cap="flat">
                <a:noFill/>
                <a:prstDash val="solid"/>
                <a:miter/>
              </a:ln>
            </p:spPr>
            <p:txBody>
              <a:bodyPr rtlCol="0" anchor="ctr"/>
              <a:lstStyle/>
              <a:p>
                <a:endParaRPr lang="en-GB"/>
              </a:p>
            </p:txBody>
          </p:sp>
          <p:sp>
            <p:nvSpPr>
              <p:cNvPr id="5246" name="Vrije vorm: vorm 5245">
                <a:extLst>
                  <a:ext uri="{FF2B5EF4-FFF2-40B4-BE49-F238E27FC236}">
                    <a16:creationId xmlns:a16="http://schemas.microsoft.com/office/drawing/2014/main" id="{1B1AE85B-13E9-4B26-85F8-3D4175F5D88F}"/>
                  </a:ext>
                </a:extLst>
              </p:cNvPr>
              <p:cNvSpPr/>
              <p:nvPr/>
            </p:nvSpPr>
            <p:spPr>
              <a:xfrm>
                <a:off x="7847162" y="2244223"/>
                <a:ext cx="18327" cy="18465"/>
              </a:xfrm>
              <a:custGeom>
                <a:avLst/>
                <a:gdLst>
                  <a:gd name="connsiteX0" fmla="*/ 4169 w 18327"/>
                  <a:gd name="connsiteY0" fmla="*/ 1458 h 18465"/>
                  <a:gd name="connsiteX1" fmla="*/ 16849 w 18327"/>
                  <a:gd name="connsiteY1" fmla="*/ 4269 h 18465"/>
                  <a:gd name="connsiteX2" fmla="*/ 14158 w 18327"/>
                  <a:gd name="connsiteY2" fmla="*/ 17008 h 18465"/>
                  <a:gd name="connsiteX3" fmla="*/ 1478 w 18327"/>
                  <a:gd name="connsiteY3" fmla="*/ 14197 h 18465"/>
                  <a:gd name="connsiteX4" fmla="*/ 4169 w 18327"/>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5">
                    <a:moveTo>
                      <a:pt x="4169" y="1458"/>
                    </a:moveTo>
                    <a:cubicBezTo>
                      <a:pt x="8416" y="-1293"/>
                      <a:pt x="14098" y="-37"/>
                      <a:pt x="16849" y="4269"/>
                    </a:cubicBezTo>
                    <a:cubicBezTo>
                      <a:pt x="19600" y="8575"/>
                      <a:pt x="18404" y="14257"/>
                      <a:pt x="14158" y="17008"/>
                    </a:cubicBezTo>
                    <a:cubicBezTo>
                      <a:pt x="9911" y="19759"/>
                      <a:pt x="4229" y="18503"/>
                      <a:pt x="1478" y="14197"/>
                    </a:cubicBezTo>
                    <a:cubicBezTo>
                      <a:pt x="-1272" y="9891"/>
                      <a:pt x="-77" y="4209"/>
                      <a:pt x="4169" y="1458"/>
                    </a:cubicBezTo>
                    <a:close/>
                  </a:path>
                </a:pathLst>
              </a:custGeom>
              <a:grpFill/>
              <a:ln w="5978" cap="flat">
                <a:noFill/>
                <a:prstDash val="solid"/>
                <a:miter/>
              </a:ln>
            </p:spPr>
            <p:txBody>
              <a:bodyPr rtlCol="0" anchor="ctr"/>
              <a:lstStyle/>
              <a:p>
                <a:endParaRPr lang="en-GB"/>
              </a:p>
            </p:txBody>
          </p:sp>
          <p:sp>
            <p:nvSpPr>
              <p:cNvPr id="5247" name="Vrije vorm: vorm 5246">
                <a:extLst>
                  <a:ext uri="{FF2B5EF4-FFF2-40B4-BE49-F238E27FC236}">
                    <a16:creationId xmlns:a16="http://schemas.microsoft.com/office/drawing/2014/main" id="{62604E73-C2DC-4B0C-A509-CDA22E4659F0}"/>
                  </a:ext>
                </a:extLst>
              </p:cNvPr>
              <p:cNvSpPr/>
              <p:nvPr/>
            </p:nvSpPr>
            <p:spPr>
              <a:xfrm>
                <a:off x="7643100" y="2376039"/>
                <a:ext cx="18327" cy="18439"/>
              </a:xfrm>
              <a:custGeom>
                <a:avLst/>
                <a:gdLst>
                  <a:gd name="connsiteX0" fmla="*/ 4169 w 18327"/>
                  <a:gd name="connsiteY0" fmla="*/ 1458 h 18439"/>
                  <a:gd name="connsiteX1" fmla="*/ 1478 w 18327"/>
                  <a:gd name="connsiteY1" fmla="*/ 14197 h 18439"/>
                  <a:gd name="connsiteX2" fmla="*/ 14158 w 18327"/>
                  <a:gd name="connsiteY2" fmla="*/ 17008 h 18439"/>
                  <a:gd name="connsiteX3" fmla="*/ 16849 w 18327"/>
                  <a:gd name="connsiteY3" fmla="*/ 4269 h 18439"/>
                  <a:gd name="connsiteX4" fmla="*/ 4169 w 18327"/>
                  <a:gd name="connsiteY4" fmla="*/ 1458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9">
                    <a:moveTo>
                      <a:pt x="4169" y="1458"/>
                    </a:moveTo>
                    <a:cubicBezTo>
                      <a:pt x="-77" y="4209"/>
                      <a:pt x="-1272" y="9891"/>
                      <a:pt x="1478" y="14197"/>
                    </a:cubicBezTo>
                    <a:cubicBezTo>
                      <a:pt x="4229" y="18503"/>
                      <a:pt x="9911" y="19699"/>
                      <a:pt x="14158" y="17008"/>
                    </a:cubicBezTo>
                    <a:cubicBezTo>
                      <a:pt x="18404" y="14257"/>
                      <a:pt x="19600" y="8575"/>
                      <a:pt x="16849" y="4269"/>
                    </a:cubicBezTo>
                    <a:cubicBezTo>
                      <a:pt x="14098" y="-37"/>
                      <a:pt x="8476" y="-1293"/>
                      <a:pt x="4169" y="1458"/>
                    </a:cubicBezTo>
                    <a:close/>
                  </a:path>
                </a:pathLst>
              </a:custGeom>
              <a:grpFill/>
              <a:ln w="5978" cap="flat">
                <a:noFill/>
                <a:prstDash val="solid"/>
                <a:miter/>
              </a:ln>
            </p:spPr>
            <p:txBody>
              <a:bodyPr rtlCol="0" anchor="ctr"/>
              <a:lstStyle/>
              <a:p>
                <a:endParaRPr lang="en-GB"/>
              </a:p>
            </p:txBody>
          </p:sp>
        </p:grpSp>
        <p:grpSp>
          <p:nvGrpSpPr>
            <p:cNvPr id="43" name="Graphic 3">
              <a:extLst>
                <a:ext uri="{FF2B5EF4-FFF2-40B4-BE49-F238E27FC236}">
                  <a16:creationId xmlns:a16="http://schemas.microsoft.com/office/drawing/2014/main" id="{801B5D1C-9378-4403-8A25-24DB6720D2E4}"/>
                </a:ext>
              </a:extLst>
            </p:cNvPr>
            <p:cNvGrpSpPr/>
            <p:nvPr/>
          </p:nvGrpSpPr>
          <p:grpSpPr>
            <a:xfrm>
              <a:off x="7681654" y="2148452"/>
              <a:ext cx="44188" cy="38062"/>
              <a:chOff x="7681654" y="2148452"/>
              <a:chExt cx="44188" cy="38062"/>
            </a:xfrm>
            <a:grpFill/>
          </p:grpSpPr>
          <p:sp>
            <p:nvSpPr>
              <p:cNvPr id="5242" name="Vrije vorm: vorm 5241">
                <a:extLst>
                  <a:ext uri="{FF2B5EF4-FFF2-40B4-BE49-F238E27FC236}">
                    <a16:creationId xmlns:a16="http://schemas.microsoft.com/office/drawing/2014/main" id="{F275A093-908D-4085-B2E7-94D2B4A3190D}"/>
                  </a:ext>
                </a:extLst>
              </p:cNvPr>
              <p:cNvSpPr/>
              <p:nvPr/>
            </p:nvSpPr>
            <p:spPr>
              <a:xfrm>
                <a:off x="7689554" y="2156210"/>
                <a:ext cx="28408" cy="22607"/>
              </a:xfrm>
              <a:custGeom>
                <a:avLst/>
                <a:gdLst>
                  <a:gd name="connsiteX0" fmla="*/ 28408 w 28408"/>
                  <a:gd name="connsiteY0" fmla="*/ 2452 h 22607"/>
                  <a:gd name="connsiteX1" fmla="*/ 1794 w 28408"/>
                  <a:gd name="connsiteY1" fmla="*/ 22607 h 22607"/>
                  <a:gd name="connsiteX2" fmla="*/ 0 w 28408"/>
                  <a:gd name="connsiteY2" fmla="*/ 20155 h 22607"/>
                  <a:gd name="connsiteX3" fmla="*/ 26554 w 28408"/>
                  <a:gd name="connsiteY3" fmla="*/ 0 h 22607"/>
                </a:gdLst>
                <a:ahLst/>
                <a:cxnLst>
                  <a:cxn ang="0">
                    <a:pos x="connsiteX0" y="connsiteY0"/>
                  </a:cxn>
                  <a:cxn ang="0">
                    <a:pos x="connsiteX1" y="connsiteY1"/>
                  </a:cxn>
                  <a:cxn ang="0">
                    <a:pos x="connsiteX2" y="connsiteY2"/>
                  </a:cxn>
                  <a:cxn ang="0">
                    <a:pos x="connsiteX3" y="connsiteY3"/>
                  </a:cxn>
                </a:cxnLst>
                <a:rect l="l" t="t" r="r" b="b"/>
                <a:pathLst>
                  <a:path w="28408" h="22607">
                    <a:moveTo>
                      <a:pt x="28408" y="2452"/>
                    </a:moveTo>
                    <a:lnTo>
                      <a:pt x="1794" y="22607"/>
                    </a:lnTo>
                    <a:lnTo>
                      <a:pt x="0" y="20155"/>
                    </a:lnTo>
                    <a:lnTo>
                      <a:pt x="26554" y="0"/>
                    </a:lnTo>
                    <a:close/>
                  </a:path>
                </a:pathLst>
              </a:custGeom>
              <a:grpFill/>
              <a:ln w="5978" cap="flat">
                <a:noFill/>
                <a:prstDash val="solid"/>
                <a:miter/>
              </a:ln>
            </p:spPr>
            <p:txBody>
              <a:bodyPr rtlCol="0" anchor="ctr"/>
              <a:lstStyle/>
              <a:p>
                <a:endParaRPr lang="en-GB"/>
              </a:p>
            </p:txBody>
          </p:sp>
          <p:sp>
            <p:nvSpPr>
              <p:cNvPr id="5243" name="Vrije vorm: vorm 5242">
                <a:extLst>
                  <a:ext uri="{FF2B5EF4-FFF2-40B4-BE49-F238E27FC236}">
                    <a16:creationId xmlns:a16="http://schemas.microsoft.com/office/drawing/2014/main" id="{4AB41C71-7704-469B-A2A6-D1F7A982C99F}"/>
                  </a:ext>
                </a:extLst>
              </p:cNvPr>
              <p:cNvSpPr/>
              <p:nvPr/>
            </p:nvSpPr>
            <p:spPr>
              <a:xfrm>
                <a:off x="7681654" y="2168069"/>
                <a:ext cx="18326" cy="18445"/>
              </a:xfrm>
              <a:custGeom>
                <a:avLst/>
                <a:gdLst>
                  <a:gd name="connsiteX0" fmla="*/ 14717 w 18326"/>
                  <a:gd name="connsiteY0" fmla="*/ 16609 h 18445"/>
                  <a:gd name="connsiteX1" fmla="*/ 1859 w 18326"/>
                  <a:gd name="connsiteY1" fmla="*/ 14755 h 18445"/>
                  <a:gd name="connsiteX2" fmla="*/ 3653 w 18326"/>
                  <a:gd name="connsiteY2" fmla="*/ 1837 h 18445"/>
                  <a:gd name="connsiteX3" fmla="*/ 16511 w 18326"/>
                  <a:gd name="connsiteY3" fmla="*/ 3691 h 18445"/>
                  <a:gd name="connsiteX4" fmla="*/ 14717 w 18326"/>
                  <a:gd name="connsiteY4" fmla="*/ 16609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45">
                    <a:moveTo>
                      <a:pt x="14717" y="16609"/>
                    </a:moveTo>
                    <a:cubicBezTo>
                      <a:pt x="10710" y="19659"/>
                      <a:pt x="4909" y="18822"/>
                      <a:pt x="1859" y="14755"/>
                    </a:cubicBezTo>
                    <a:cubicBezTo>
                      <a:pt x="-1192" y="10688"/>
                      <a:pt x="-414" y="4887"/>
                      <a:pt x="3653" y="1837"/>
                    </a:cubicBezTo>
                    <a:cubicBezTo>
                      <a:pt x="7660" y="-1213"/>
                      <a:pt x="13461" y="-376"/>
                      <a:pt x="16511" y="3691"/>
                    </a:cubicBezTo>
                    <a:cubicBezTo>
                      <a:pt x="19501" y="7758"/>
                      <a:pt x="18724" y="13559"/>
                      <a:pt x="14717" y="16609"/>
                    </a:cubicBezTo>
                    <a:close/>
                  </a:path>
                </a:pathLst>
              </a:custGeom>
              <a:grpFill/>
              <a:ln w="5978" cap="flat">
                <a:noFill/>
                <a:prstDash val="solid"/>
                <a:miter/>
              </a:ln>
            </p:spPr>
            <p:txBody>
              <a:bodyPr rtlCol="0" anchor="ctr"/>
              <a:lstStyle/>
              <a:p>
                <a:endParaRPr lang="en-GB"/>
              </a:p>
            </p:txBody>
          </p:sp>
          <p:sp>
            <p:nvSpPr>
              <p:cNvPr id="5244" name="Vrije vorm: vorm 5243">
                <a:extLst>
                  <a:ext uri="{FF2B5EF4-FFF2-40B4-BE49-F238E27FC236}">
                    <a16:creationId xmlns:a16="http://schemas.microsoft.com/office/drawing/2014/main" id="{56E9AAE6-DA37-472B-837F-4EA1DC16E530}"/>
                  </a:ext>
                </a:extLst>
              </p:cNvPr>
              <p:cNvSpPr/>
              <p:nvPr/>
            </p:nvSpPr>
            <p:spPr>
              <a:xfrm>
                <a:off x="7707509" y="2148452"/>
                <a:ext cx="18334" cy="18463"/>
              </a:xfrm>
              <a:custGeom>
                <a:avLst/>
                <a:gdLst>
                  <a:gd name="connsiteX0" fmla="*/ 14699 w 18334"/>
                  <a:gd name="connsiteY0" fmla="*/ 16609 h 18463"/>
                  <a:gd name="connsiteX1" fmla="*/ 16494 w 18334"/>
                  <a:gd name="connsiteY1" fmla="*/ 3691 h 18463"/>
                  <a:gd name="connsiteX2" fmla="*/ 3635 w 18334"/>
                  <a:gd name="connsiteY2" fmla="*/ 1837 h 18463"/>
                  <a:gd name="connsiteX3" fmla="*/ 1841 w 18334"/>
                  <a:gd name="connsiteY3" fmla="*/ 14755 h 18463"/>
                  <a:gd name="connsiteX4" fmla="*/ 14699 w 18334"/>
                  <a:gd name="connsiteY4" fmla="*/ 16609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3">
                    <a:moveTo>
                      <a:pt x="14699" y="16609"/>
                    </a:moveTo>
                    <a:cubicBezTo>
                      <a:pt x="18707" y="13559"/>
                      <a:pt x="19544" y="7758"/>
                      <a:pt x="16494" y="3691"/>
                    </a:cubicBezTo>
                    <a:cubicBezTo>
                      <a:pt x="13444" y="-376"/>
                      <a:pt x="7702" y="-1213"/>
                      <a:pt x="3635" y="1837"/>
                    </a:cubicBezTo>
                    <a:cubicBezTo>
                      <a:pt x="-372" y="4887"/>
                      <a:pt x="-1209" y="10688"/>
                      <a:pt x="1841" y="14755"/>
                    </a:cubicBezTo>
                    <a:cubicBezTo>
                      <a:pt x="4951" y="18882"/>
                      <a:pt x="10693" y="19659"/>
                      <a:pt x="14699" y="16609"/>
                    </a:cubicBezTo>
                    <a:close/>
                  </a:path>
                </a:pathLst>
              </a:custGeom>
              <a:grpFill/>
              <a:ln w="5978" cap="flat">
                <a:noFill/>
                <a:prstDash val="solid"/>
                <a:miter/>
              </a:ln>
            </p:spPr>
            <p:txBody>
              <a:bodyPr rtlCol="0" anchor="ctr"/>
              <a:lstStyle/>
              <a:p>
                <a:endParaRPr lang="en-GB"/>
              </a:p>
            </p:txBody>
          </p:sp>
        </p:grpSp>
        <p:grpSp>
          <p:nvGrpSpPr>
            <p:cNvPr id="44" name="Graphic 3">
              <a:extLst>
                <a:ext uri="{FF2B5EF4-FFF2-40B4-BE49-F238E27FC236}">
                  <a16:creationId xmlns:a16="http://schemas.microsoft.com/office/drawing/2014/main" id="{00AB13CD-A859-449B-A692-163318406FAC}"/>
                </a:ext>
              </a:extLst>
            </p:cNvPr>
            <p:cNvGrpSpPr/>
            <p:nvPr/>
          </p:nvGrpSpPr>
          <p:grpSpPr>
            <a:xfrm>
              <a:off x="7738473" y="3358508"/>
              <a:ext cx="724510" cy="41577"/>
              <a:chOff x="7738473" y="3358508"/>
              <a:chExt cx="724510" cy="41577"/>
            </a:xfrm>
            <a:grpFill/>
          </p:grpSpPr>
          <p:sp>
            <p:nvSpPr>
              <p:cNvPr id="5239" name="Vrije vorm: vorm 5238">
                <a:extLst>
                  <a:ext uri="{FF2B5EF4-FFF2-40B4-BE49-F238E27FC236}">
                    <a16:creationId xmlns:a16="http://schemas.microsoft.com/office/drawing/2014/main" id="{F3C2D257-7875-4209-8C5A-4CEF51E3B33C}"/>
                  </a:ext>
                </a:extLst>
              </p:cNvPr>
              <p:cNvSpPr/>
              <p:nvPr/>
            </p:nvSpPr>
            <p:spPr>
              <a:xfrm>
                <a:off x="7747148" y="3366170"/>
                <a:ext cx="707100" cy="26255"/>
              </a:xfrm>
              <a:custGeom>
                <a:avLst/>
                <a:gdLst>
                  <a:gd name="connsiteX0" fmla="*/ 707101 w 707100"/>
                  <a:gd name="connsiteY0" fmla="*/ 23205 h 26255"/>
                  <a:gd name="connsiteX1" fmla="*/ 707041 w 707100"/>
                  <a:gd name="connsiteY1" fmla="*/ 26255 h 26255"/>
                  <a:gd name="connsiteX2" fmla="*/ 0 w 707100"/>
                  <a:gd name="connsiteY2" fmla="*/ 3050 h 26255"/>
                  <a:gd name="connsiteX3" fmla="*/ 120 w 707100"/>
                  <a:gd name="connsiteY3" fmla="*/ 0 h 26255"/>
                </a:gdLst>
                <a:ahLst/>
                <a:cxnLst>
                  <a:cxn ang="0">
                    <a:pos x="connsiteX0" y="connsiteY0"/>
                  </a:cxn>
                  <a:cxn ang="0">
                    <a:pos x="connsiteX1" y="connsiteY1"/>
                  </a:cxn>
                  <a:cxn ang="0">
                    <a:pos x="connsiteX2" y="connsiteY2"/>
                  </a:cxn>
                  <a:cxn ang="0">
                    <a:pos x="connsiteX3" y="connsiteY3"/>
                  </a:cxn>
                </a:cxnLst>
                <a:rect l="l" t="t" r="r" b="b"/>
                <a:pathLst>
                  <a:path w="707100" h="26255">
                    <a:moveTo>
                      <a:pt x="707101" y="23205"/>
                    </a:moveTo>
                    <a:lnTo>
                      <a:pt x="707041" y="26255"/>
                    </a:lnTo>
                    <a:lnTo>
                      <a:pt x="0" y="3050"/>
                    </a:lnTo>
                    <a:lnTo>
                      <a:pt x="120" y="0"/>
                    </a:lnTo>
                    <a:close/>
                  </a:path>
                </a:pathLst>
              </a:custGeom>
              <a:grpFill/>
              <a:ln w="5978" cap="flat">
                <a:noFill/>
                <a:prstDash val="solid"/>
                <a:miter/>
              </a:ln>
            </p:spPr>
            <p:txBody>
              <a:bodyPr rtlCol="0" anchor="ctr"/>
              <a:lstStyle/>
              <a:p>
                <a:endParaRPr lang="en-GB"/>
              </a:p>
            </p:txBody>
          </p:sp>
          <p:sp>
            <p:nvSpPr>
              <p:cNvPr id="5240" name="Vrije vorm: vorm 5239">
                <a:extLst>
                  <a:ext uri="{FF2B5EF4-FFF2-40B4-BE49-F238E27FC236}">
                    <a16:creationId xmlns:a16="http://schemas.microsoft.com/office/drawing/2014/main" id="{6B147443-851C-4FEA-B59E-94108432823F}"/>
                  </a:ext>
                </a:extLst>
              </p:cNvPr>
              <p:cNvSpPr/>
              <p:nvPr/>
            </p:nvSpPr>
            <p:spPr>
              <a:xfrm>
                <a:off x="7738473" y="3358508"/>
                <a:ext cx="18366" cy="18428"/>
              </a:xfrm>
              <a:custGeom>
                <a:avLst/>
                <a:gdLst>
                  <a:gd name="connsiteX0" fmla="*/ 8914 w 18366"/>
                  <a:gd name="connsiteY0" fmla="*/ 18426 h 18428"/>
                  <a:gd name="connsiteX1" fmla="*/ 3 w 18366"/>
                  <a:gd name="connsiteY1" fmla="*/ 8917 h 18428"/>
                  <a:gd name="connsiteX2" fmla="*/ 9453 w 18366"/>
                  <a:gd name="connsiteY2" fmla="*/ 6 h 18428"/>
                  <a:gd name="connsiteX3" fmla="*/ 18364 w 18366"/>
                  <a:gd name="connsiteY3" fmla="*/ 9515 h 18428"/>
                  <a:gd name="connsiteX4" fmla="*/ 8914 w 18366"/>
                  <a:gd name="connsiteY4" fmla="*/ 1842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8">
                    <a:moveTo>
                      <a:pt x="8914" y="18426"/>
                    </a:moveTo>
                    <a:cubicBezTo>
                      <a:pt x="3830" y="18247"/>
                      <a:pt x="-116" y="14001"/>
                      <a:pt x="3" y="8917"/>
                    </a:cubicBezTo>
                    <a:cubicBezTo>
                      <a:pt x="122" y="3833"/>
                      <a:pt x="4369" y="-174"/>
                      <a:pt x="9453" y="6"/>
                    </a:cubicBezTo>
                    <a:cubicBezTo>
                      <a:pt x="14536" y="185"/>
                      <a:pt x="18484" y="4431"/>
                      <a:pt x="18364" y="9515"/>
                    </a:cubicBezTo>
                    <a:cubicBezTo>
                      <a:pt x="18184" y="14599"/>
                      <a:pt x="13998" y="18546"/>
                      <a:pt x="8914" y="18426"/>
                    </a:cubicBezTo>
                    <a:close/>
                  </a:path>
                </a:pathLst>
              </a:custGeom>
              <a:grpFill/>
              <a:ln w="5978" cap="flat">
                <a:noFill/>
                <a:prstDash val="solid"/>
                <a:miter/>
              </a:ln>
            </p:spPr>
            <p:txBody>
              <a:bodyPr rtlCol="0" anchor="ctr"/>
              <a:lstStyle/>
              <a:p>
                <a:endParaRPr lang="en-GB"/>
              </a:p>
            </p:txBody>
          </p:sp>
          <p:sp>
            <p:nvSpPr>
              <p:cNvPr id="5241" name="Vrije vorm: vorm 5240">
                <a:extLst>
                  <a:ext uri="{FF2B5EF4-FFF2-40B4-BE49-F238E27FC236}">
                    <a16:creationId xmlns:a16="http://schemas.microsoft.com/office/drawing/2014/main" id="{2798EBF6-C0D8-4E7B-A95E-6C509C3060AC}"/>
                  </a:ext>
                </a:extLst>
              </p:cNvPr>
              <p:cNvSpPr/>
              <p:nvPr/>
            </p:nvSpPr>
            <p:spPr>
              <a:xfrm>
                <a:off x="8444614" y="3381654"/>
                <a:ext cx="18368" cy="18432"/>
              </a:xfrm>
              <a:custGeom>
                <a:avLst/>
                <a:gdLst>
                  <a:gd name="connsiteX0" fmla="*/ 8917 w 18368"/>
                  <a:gd name="connsiteY0" fmla="*/ 18426 h 18432"/>
                  <a:gd name="connsiteX1" fmla="*/ 18366 w 18368"/>
                  <a:gd name="connsiteY1" fmla="*/ 9515 h 18432"/>
                  <a:gd name="connsiteX2" fmla="*/ 9455 w 18368"/>
                  <a:gd name="connsiteY2" fmla="*/ 6 h 18432"/>
                  <a:gd name="connsiteX3" fmla="*/ 6 w 18368"/>
                  <a:gd name="connsiteY3" fmla="*/ 8917 h 18432"/>
                  <a:gd name="connsiteX4" fmla="*/ 8917 w 18368"/>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32">
                    <a:moveTo>
                      <a:pt x="8917" y="18426"/>
                    </a:moveTo>
                    <a:cubicBezTo>
                      <a:pt x="14000" y="18606"/>
                      <a:pt x="18187" y="14599"/>
                      <a:pt x="18366" y="9515"/>
                    </a:cubicBezTo>
                    <a:cubicBezTo>
                      <a:pt x="18486" y="4431"/>
                      <a:pt x="14539" y="185"/>
                      <a:pt x="9455" y="6"/>
                    </a:cubicBezTo>
                    <a:cubicBezTo>
                      <a:pt x="4372" y="-174"/>
                      <a:pt x="185" y="3834"/>
                      <a:pt x="6" y="8917"/>
                    </a:cubicBezTo>
                    <a:cubicBezTo>
                      <a:pt x="-174" y="14001"/>
                      <a:pt x="3834" y="18307"/>
                      <a:pt x="8917" y="18426"/>
                    </a:cubicBezTo>
                    <a:close/>
                  </a:path>
                </a:pathLst>
              </a:custGeom>
              <a:grpFill/>
              <a:ln w="5978" cap="flat">
                <a:noFill/>
                <a:prstDash val="solid"/>
                <a:miter/>
              </a:ln>
            </p:spPr>
            <p:txBody>
              <a:bodyPr rtlCol="0" anchor="ctr"/>
              <a:lstStyle/>
              <a:p>
                <a:endParaRPr lang="en-GB"/>
              </a:p>
            </p:txBody>
          </p:sp>
        </p:grpSp>
        <p:grpSp>
          <p:nvGrpSpPr>
            <p:cNvPr id="45" name="Graphic 3">
              <a:extLst>
                <a:ext uri="{FF2B5EF4-FFF2-40B4-BE49-F238E27FC236}">
                  <a16:creationId xmlns:a16="http://schemas.microsoft.com/office/drawing/2014/main" id="{4CFDC899-1A8B-49FB-9D9F-7A974B70C43E}"/>
                </a:ext>
              </a:extLst>
            </p:cNvPr>
            <p:cNvGrpSpPr/>
            <p:nvPr/>
          </p:nvGrpSpPr>
          <p:grpSpPr>
            <a:xfrm>
              <a:off x="7704045" y="3083539"/>
              <a:ext cx="625846" cy="74482"/>
              <a:chOff x="7704045" y="3083539"/>
              <a:chExt cx="625846" cy="74482"/>
            </a:xfrm>
            <a:grpFill/>
          </p:grpSpPr>
          <p:sp>
            <p:nvSpPr>
              <p:cNvPr id="5236" name="Vrije vorm: vorm 5235">
                <a:extLst>
                  <a:ext uri="{FF2B5EF4-FFF2-40B4-BE49-F238E27FC236}">
                    <a16:creationId xmlns:a16="http://schemas.microsoft.com/office/drawing/2014/main" id="{94ACBFBA-EA70-4C1A-BCF3-AD137A677575}"/>
                  </a:ext>
                </a:extLst>
              </p:cNvPr>
              <p:cNvSpPr/>
              <p:nvPr/>
            </p:nvSpPr>
            <p:spPr>
              <a:xfrm>
                <a:off x="7712639" y="3091116"/>
                <a:ext cx="608658" cy="59268"/>
              </a:xfrm>
              <a:custGeom>
                <a:avLst/>
                <a:gdLst>
                  <a:gd name="connsiteX0" fmla="*/ 608359 w 608658"/>
                  <a:gd name="connsiteY0" fmla="*/ 0 h 59268"/>
                  <a:gd name="connsiteX1" fmla="*/ 608658 w 608658"/>
                  <a:gd name="connsiteY1" fmla="*/ 3050 h 59268"/>
                  <a:gd name="connsiteX2" fmla="*/ 299 w 608658"/>
                  <a:gd name="connsiteY2" fmla="*/ 59269 h 59268"/>
                  <a:gd name="connsiteX3" fmla="*/ 0 w 608658"/>
                  <a:gd name="connsiteY3" fmla="*/ 56219 h 59268"/>
                </a:gdLst>
                <a:ahLst/>
                <a:cxnLst>
                  <a:cxn ang="0">
                    <a:pos x="connsiteX0" y="connsiteY0"/>
                  </a:cxn>
                  <a:cxn ang="0">
                    <a:pos x="connsiteX1" y="connsiteY1"/>
                  </a:cxn>
                  <a:cxn ang="0">
                    <a:pos x="connsiteX2" y="connsiteY2"/>
                  </a:cxn>
                  <a:cxn ang="0">
                    <a:pos x="connsiteX3" y="connsiteY3"/>
                  </a:cxn>
                </a:cxnLst>
                <a:rect l="l" t="t" r="r" b="b"/>
                <a:pathLst>
                  <a:path w="608658" h="59268">
                    <a:moveTo>
                      <a:pt x="608359" y="0"/>
                    </a:moveTo>
                    <a:lnTo>
                      <a:pt x="608658" y="3050"/>
                    </a:lnTo>
                    <a:lnTo>
                      <a:pt x="299" y="59269"/>
                    </a:lnTo>
                    <a:lnTo>
                      <a:pt x="0" y="56219"/>
                    </a:lnTo>
                    <a:close/>
                  </a:path>
                </a:pathLst>
              </a:custGeom>
              <a:grpFill/>
              <a:ln w="5978" cap="flat">
                <a:noFill/>
                <a:prstDash val="solid"/>
                <a:miter/>
              </a:ln>
            </p:spPr>
            <p:txBody>
              <a:bodyPr rtlCol="0" anchor="ctr"/>
              <a:lstStyle/>
              <a:p>
                <a:endParaRPr lang="en-GB"/>
              </a:p>
            </p:txBody>
          </p:sp>
          <p:sp>
            <p:nvSpPr>
              <p:cNvPr id="5237" name="Vrije vorm: vorm 5236">
                <a:extLst>
                  <a:ext uri="{FF2B5EF4-FFF2-40B4-BE49-F238E27FC236}">
                    <a16:creationId xmlns:a16="http://schemas.microsoft.com/office/drawing/2014/main" id="{98636521-D35F-43E6-A3A5-5F9FF00DC13D}"/>
                  </a:ext>
                </a:extLst>
              </p:cNvPr>
              <p:cNvSpPr/>
              <p:nvPr/>
            </p:nvSpPr>
            <p:spPr>
              <a:xfrm>
                <a:off x="7704045" y="3139639"/>
                <a:ext cx="18325" cy="18382"/>
              </a:xfrm>
              <a:custGeom>
                <a:avLst/>
                <a:gdLst>
                  <a:gd name="connsiteX0" fmla="*/ 10030 w 18325"/>
                  <a:gd name="connsiteY0" fmla="*/ 18342 h 18382"/>
                  <a:gd name="connsiteX1" fmla="*/ 42 w 18325"/>
                  <a:gd name="connsiteY1" fmla="*/ 10029 h 18382"/>
                  <a:gd name="connsiteX2" fmla="*/ 8295 w 18325"/>
                  <a:gd name="connsiteY2" fmla="*/ 41 h 18382"/>
                  <a:gd name="connsiteX3" fmla="*/ 18283 w 18325"/>
                  <a:gd name="connsiteY3" fmla="*/ 8354 h 18382"/>
                  <a:gd name="connsiteX4" fmla="*/ 10030 w 18325"/>
                  <a:gd name="connsiteY4" fmla="*/ 18342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2">
                    <a:moveTo>
                      <a:pt x="10030" y="18342"/>
                    </a:moveTo>
                    <a:cubicBezTo>
                      <a:pt x="5006" y="18820"/>
                      <a:pt x="520" y="15052"/>
                      <a:pt x="42" y="10029"/>
                    </a:cubicBezTo>
                    <a:cubicBezTo>
                      <a:pt x="-437" y="4945"/>
                      <a:pt x="3271" y="460"/>
                      <a:pt x="8295" y="41"/>
                    </a:cubicBezTo>
                    <a:cubicBezTo>
                      <a:pt x="13319" y="-438"/>
                      <a:pt x="17805" y="3330"/>
                      <a:pt x="18283" y="8354"/>
                    </a:cubicBezTo>
                    <a:cubicBezTo>
                      <a:pt x="18761" y="13378"/>
                      <a:pt x="15113" y="17863"/>
                      <a:pt x="10030" y="18342"/>
                    </a:cubicBezTo>
                    <a:close/>
                  </a:path>
                </a:pathLst>
              </a:custGeom>
              <a:grpFill/>
              <a:ln w="5978" cap="flat">
                <a:noFill/>
                <a:prstDash val="solid"/>
                <a:miter/>
              </a:ln>
            </p:spPr>
            <p:txBody>
              <a:bodyPr rtlCol="0" anchor="ctr"/>
              <a:lstStyle/>
              <a:p>
                <a:endParaRPr lang="en-GB"/>
              </a:p>
            </p:txBody>
          </p:sp>
          <p:sp>
            <p:nvSpPr>
              <p:cNvPr id="5238" name="Vrije vorm: vorm 5237">
                <a:extLst>
                  <a:ext uri="{FF2B5EF4-FFF2-40B4-BE49-F238E27FC236}">
                    <a16:creationId xmlns:a16="http://schemas.microsoft.com/office/drawing/2014/main" id="{C2DA593D-11E3-48C9-83EA-00ACBB0B32CD}"/>
                  </a:ext>
                </a:extLst>
              </p:cNvPr>
              <p:cNvSpPr/>
              <p:nvPr/>
            </p:nvSpPr>
            <p:spPr>
              <a:xfrm>
                <a:off x="8311567" y="3083539"/>
                <a:ext cx="18324" cy="18374"/>
              </a:xfrm>
              <a:custGeom>
                <a:avLst/>
                <a:gdLst>
                  <a:gd name="connsiteX0" fmla="*/ 10029 w 18324"/>
                  <a:gd name="connsiteY0" fmla="*/ 18343 h 18374"/>
                  <a:gd name="connsiteX1" fmla="*/ 18282 w 18324"/>
                  <a:gd name="connsiteY1" fmla="*/ 8355 h 18374"/>
                  <a:gd name="connsiteX2" fmla="*/ 8295 w 18324"/>
                  <a:gd name="connsiteY2" fmla="*/ 42 h 18374"/>
                  <a:gd name="connsiteX3" fmla="*/ 42 w 18324"/>
                  <a:gd name="connsiteY3" fmla="*/ 10029 h 18374"/>
                  <a:gd name="connsiteX4" fmla="*/ 10029 w 18324"/>
                  <a:gd name="connsiteY4" fmla="*/ 18343 h 1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74">
                    <a:moveTo>
                      <a:pt x="10029" y="18343"/>
                    </a:moveTo>
                    <a:cubicBezTo>
                      <a:pt x="15053" y="17864"/>
                      <a:pt x="18761" y="13379"/>
                      <a:pt x="18282" y="8355"/>
                    </a:cubicBezTo>
                    <a:cubicBezTo>
                      <a:pt x="17804" y="3271"/>
                      <a:pt x="13319" y="-437"/>
                      <a:pt x="8295" y="42"/>
                    </a:cubicBezTo>
                    <a:cubicBezTo>
                      <a:pt x="3271" y="520"/>
                      <a:pt x="-437" y="5005"/>
                      <a:pt x="42" y="10029"/>
                    </a:cubicBezTo>
                    <a:cubicBezTo>
                      <a:pt x="520" y="15053"/>
                      <a:pt x="5005" y="18761"/>
                      <a:pt x="10029" y="18343"/>
                    </a:cubicBezTo>
                    <a:close/>
                  </a:path>
                </a:pathLst>
              </a:custGeom>
              <a:grpFill/>
              <a:ln w="5978" cap="flat">
                <a:noFill/>
                <a:prstDash val="solid"/>
                <a:miter/>
              </a:ln>
            </p:spPr>
            <p:txBody>
              <a:bodyPr rtlCol="0" anchor="ctr"/>
              <a:lstStyle/>
              <a:p>
                <a:endParaRPr lang="en-GB"/>
              </a:p>
            </p:txBody>
          </p:sp>
        </p:grpSp>
        <p:grpSp>
          <p:nvGrpSpPr>
            <p:cNvPr id="46" name="Graphic 3">
              <a:extLst>
                <a:ext uri="{FF2B5EF4-FFF2-40B4-BE49-F238E27FC236}">
                  <a16:creationId xmlns:a16="http://schemas.microsoft.com/office/drawing/2014/main" id="{B777E050-6084-471C-9607-CDDFEB2E3DD7}"/>
                </a:ext>
              </a:extLst>
            </p:cNvPr>
            <p:cNvGrpSpPr/>
            <p:nvPr/>
          </p:nvGrpSpPr>
          <p:grpSpPr>
            <a:xfrm>
              <a:off x="7590604" y="2612218"/>
              <a:ext cx="540714" cy="187121"/>
              <a:chOff x="7590604" y="2612218"/>
              <a:chExt cx="540714" cy="187121"/>
            </a:xfrm>
            <a:grpFill/>
          </p:grpSpPr>
          <p:sp>
            <p:nvSpPr>
              <p:cNvPr id="5233" name="Vrije vorm: vorm 5232">
                <a:extLst>
                  <a:ext uri="{FF2B5EF4-FFF2-40B4-BE49-F238E27FC236}">
                    <a16:creationId xmlns:a16="http://schemas.microsoft.com/office/drawing/2014/main" id="{4250DB70-39D8-4EE9-9116-53989CFE0C06}"/>
                  </a:ext>
                </a:extLst>
              </p:cNvPr>
              <p:cNvSpPr/>
              <p:nvPr/>
            </p:nvSpPr>
            <p:spPr>
              <a:xfrm>
                <a:off x="7598826" y="2619835"/>
                <a:ext cx="524270" cy="171886"/>
              </a:xfrm>
              <a:custGeom>
                <a:avLst/>
                <a:gdLst>
                  <a:gd name="connsiteX0" fmla="*/ 523313 w 524270"/>
                  <a:gd name="connsiteY0" fmla="*/ 0 h 171886"/>
                  <a:gd name="connsiteX1" fmla="*/ 524270 w 524270"/>
                  <a:gd name="connsiteY1" fmla="*/ 2931 h 171886"/>
                  <a:gd name="connsiteX2" fmla="*/ 957 w 524270"/>
                  <a:gd name="connsiteY2" fmla="*/ 171886 h 171886"/>
                  <a:gd name="connsiteX3" fmla="*/ 0 w 524270"/>
                  <a:gd name="connsiteY3" fmla="*/ 169015 h 171886"/>
                </a:gdLst>
                <a:ahLst/>
                <a:cxnLst>
                  <a:cxn ang="0">
                    <a:pos x="connsiteX0" y="connsiteY0"/>
                  </a:cxn>
                  <a:cxn ang="0">
                    <a:pos x="connsiteX1" y="connsiteY1"/>
                  </a:cxn>
                  <a:cxn ang="0">
                    <a:pos x="connsiteX2" y="connsiteY2"/>
                  </a:cxn>
                  <a:cxn ang="0">
                    <a:pos x="connsiteX3" y="connsiteY3"/>
                  </a:cxn>
                </a:cxnLst>
                <a:rect l="l" t="t" r="r" b="b"/>
                <a:pathLst>
                  <a:path w="524270" h="171886">
                    <a:moveTo>
                      <a:pt x="523313" y="0"/>
                    </a:moveTo>
                    <a:lnTo>
                      <a:pt x="524270" y="2931"/>
                    </a:lnTo>
                    <a:lnTo>
                      <a:pt x="957" y="171886"/>
                    </a:lnTo>
                    <a:lnTo>
                      <a:pt x="0" y="169015"/>
                    </a:lnTo>
                    <a:close/>
                  </a:path>
                </a:pathLst>
              </a:custGeom>
              <a:grpFill/>
              <a:ln w="5978" cap="flat">
                <a:noFill/>
                <a:prstDash val="solid"/>
                <a:miter/>
              </a:ln>
            </p:spPr>
            <p:txBody>
              <a:bodyPr rtlCol="0" anchor="ctr"/>
              <a:lstStyle/>
              <a:p>
                <a:endParaRPr lang="en-GB"/>
              </a:p>
            </p:txBody>
          </p:sp>
          <p:sp>
            <p:nvSpPr>
              <p:cNvPr id="5234" name="Vrije vorm: vorm 5233">
                <a:extLst>
                  <a:ext uri="{FF2B5EF4-FFF2-40B4-BE49-F238E27FC236}">
                    <a16:creationId xmlns:a16="http://schemas.microsoft.com/office/drawing/2014/main" id="{0B3D4C1B-7A51-4CC8-9947-828D67748F95}"/>
                  </a:ext>
                </a:extLst>
              </p:cNvPr>
              <p:cNvSpPr/>
              <p:nvPr/>
            </p:nvSpPr>
            <p:spPr>
              <a:xfrm>
                <a:off x="7590604" y="2780874"/>
                <a:ext cx="18297" cy="18465"/>
              </a:xfrm>
              <a:custGeom>
                <a:avLst/>
                <a:gdLst>
                  <a:gd name="connsiteX0" fmla="*/ 11990 w 18297"/>
                  <a:gd name="connsiteY0" fmla="*/ 18024 h 18465"/>
                  <a:gd name="connsiteX1" fmla="*/ 447 w 18297"/>
                  <a:gd name="connsiteY1" fmla="*/ 12043 h 18465"/>
                  <a:gd name="connsiteX2" fmla="*/ 6308 w 18297"/>
                  <a:gd name="connsiteY2" fmla="*/ 441 h 18465"/>
                  <a:gd name="connsiteX3" fmla="*/ 17851 w 18297"/>
                  <a:gd name="connsiteY3" fmla="*/ 6422 h 18465"/>
                  <a:gd name="connsiteX4" fmla="*/ 11990 w 18297"/>
                  <a:gd name="connsiteY4" fmla="*/ 1802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65">
                    <a:moveTo>
                      <a:pt x="11990" y="18024"/>
                    </a:moveTo>
                    <a:cubicBezTo>
                      <a:pt x="7205" y="19579"/>
                      <a:pt x="2002" y="16888"/>
                      <a:pt x="447" y="12043"/>
                    </a:cubicBezTo>
                    <a:cubicBezTo>
                      <a:pt x="-1108" y="7199"/>
                      <a:pt x="1523" y="1996"/>
                      <a:pt x="6308" y="441"/>
                    </a:cubicBezTo>
                    <a:cubicBezTo>
                      <a:pt x="11092" y="-1114"/>
                      <a:pt x="16296" y="1577"/>
                      <a:pt x="17851" y="6422"/>
                    </a:cubicBezTo>
                    <a:cubicBezTo>
                      <a:pt x="19406" y="11326"/>
                      <a:pt x="16774" y="16469"/>
                      <a:pt x="11990" y="18024"/>
                    </a:cubicBezTo>
                    <a:close/>
                  </a:path>
                </a:pathLst>
              </a:custGeom>
              <a:grpFill/>
              <a:ln w="5978" cap="flat">
                <a:noFill/>
                <a:prstDash val="solid"/>
                <a:miter/>
              </a:ln>
            </p:spPr>
            <p:txBody>
              <a:bodyPr rtlCol="0" anchor="ctr"/>
              <a:lstStyle/>
              <a:p>
                <a:endParaRPr lang="en-GB"/>
              </a:p>
            </p:txBody>
          </p:sp>
          <p:sp>
            <p:nvSpPr>
              <p:cNvPr id="5235" name="Vrije vorm: vorm 5234">
                <a:extLst>
                  <a:ext uri="{FF2B5EF4-FFF2-40B4-BE49-F238E27FC236}">
                    <a16:creationId xmlns:a16="http://schemas.microsoft.com/office/drawing/2014/main" id="{DF716C6C-918F-48BA-85B5-CEAA3387C74D}"/>
                  </a:ext>
                </a:extLst>
              </p:cNvPr>
              <p:cNvSpPr/>
              <p:nvPr/>
            </p:nvSpPr>
            <p:spPr>
              <a:xfrm>
                <a:off x="8113020" y="2612218"/>
                <a:ext cx="18298" cy="18465"/>
              </a:xfrm>
              <a:custGeom>
                <a:avLst/>
                <a:gdLst>
                  <a:gd name="connsiteX0" fmla="*/ 11990 w 18298"/>
                  <a:gd name="connsiteY0" fmla="*/ 18024 h 18465"/>
                  <a:gd name="connsiteX1" fmla="*/ 17851 w 18298"/>
                  <a:gd name="connsiteY1" fmla="*/ 6422 h 18465"/>
                  <a:gd name="connsiteX2" fmla="*/ 6308 w 18298"/>
                  <a:gd name="connsiteY2" fmla="*/ 441 h 18465"/>
                  <a:gd name="connsiteX3" fmla="*/ 447 w 18298"/>
                  <a:gd name="connsiteY3" fmla="*/ 12044 h 18465"/>
                  <a:gd name="connsiteX4" fmla="*/ 11990 w 18298"/>
                  <a:gd name="connsiteY4" fmla="*/ 1802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65">
                    <a:moveTo>
                      <a:pt x="11990" y="18024"/>
                    </a:moveTo>
                    <a:cubicBezTo>
                      <a:pt x="16774" y="16469"/>
                      <a:pt x="19406" y="11266"/>
                      <a:pt x="17851" y="6422"/>
                    </a:cubicBezTo>
                    <a:cubicBezTo>
                      <a:pt x="16296" y="1577"/>
                      <a:pt x="11093" y="-1114"/>
                      <a:pt x="6308" y="441"/>
                    </a:cubicBezTo>
                    <a:cubicBezTo>
                      <a:pt x="1523" y="1996"/>
                      <a:pt x="-1108" y="7199"/>
                      <a:pt x="447" y="12044"/>
                    </a:cubicBezTo>
                    <a:cubicBezTo>
                      <a:pt x="2002" y="16888"/>
                      <a:pt x="7205" y="19579"/>
                      <a:pt x="11990" y="18024"/>
                    </a:cubicBezTo>
                    <a:close/>
                  </a:path>
                </a:pathLst>
              </a:custGeom>
              <a:grpFill/>
              <a:ln w="5978" cap="flat">
                <a:noFill/>
                <a:prstDash val="solid"/>
                <a:miter/>
              </a:ln>
            </p:spPr>
            <p:txBody>
              <a:bodyPr rtlCol="0" anchor="ctr"/>
              <a:lstStyle/>
              <a:p>
                <a:endParaRPr lang="en-GB"/>
              </a:p>
            </p:txBody>
          </p:sp>
        </p:grpSp>
        <p:grpSp>
          <p:nvGrpSpPr>
            <p:cNvPr id="47" name="Graphic 3">
              <a:extLst>
                <a:ext uri="{FF2B5EF4-FFF2-40B4-BE49-F238E27FC236}">
                  <a16:creationId xmlns:a16="http://schemas.microsoft.com/office/drawing/2014/main" id="{7F37EA2E-A7C8-49D6-8E25-F7806BC0D538}"/>
                </a:ext>
              </a:extLst>
            </p:cNvPr>
            <p:cNvGrpSpPr/>
            <p:nvPr/>
          </p:nvGrpSpPr>
          <p:grpSpPr>
            <a:xfrm>
              <a:off x="8057482" y="3499410"/>
              <a:ext cx="152759" cy="24541"/>
              <a:chOff x="8057482" y="3499410"/>
              <a:chExt cx="152759" cy="24541"/>
            </a:xfrm>
            <a:grpFill/>
          </p:grpSpPr>
          <p:sp>
            <p:nvSpPr>
              <p:cNvPr id="5230" name="Vrije vorm: vorm 5229">
                <a:extLst>
                  <a:ext uri="{FF2B5EF4-FFF2-40B4-BE49-F238E27FC236}">
                    <a16:creationId xmlns:a16="http://schemas.microsoft.com/office/drawing/2014/main" id="{03717AE8-D3D3-41D0-B91C-DF835FDFB622}"/>
                  </a:ext>
                </a:extLst>
              </p:cNvPr>
              <p:cNvSpPr/>
              <p:nvPr/>
            </p:nvSpPr>
            <p:spPr>
              <a:xfrm>
                <a:off x="8066100" y="3507075"/>
                <a:ext cx="135463" cy="9210"/>
              </a:xfrm>
              <a:custGeom>
                <a:avLst/>
                <a:gdLst>
                  <a:gd name="connsiteX0" fmla="*/ 135464 w 135463"/>
                  <a:gd name="connsiteY0" fmla="*/ 6160 h 9210"/>
                  <a:gd name="connsiteX1" fmla="*/ 135344 w 135463"/>
                  <a:gd name="connsiteY1" fmla="*/ 9210 h 9210"/>
                  <a:gd name="connsiteX2" fmla="*/ 0 w 135463"/>
                  <a:gd name="connsiteY2" fmla="*/ 3050 h 9210"/>
                  <a:gd name="connsiteX3" fmla="*/ 120 w 135463"/>
                  <a:gd name="connsiteY3" fmla="*/ 0 h 9210"/>
                </a:gdLst>
                <a:ahLst/>
                <a:cxnLst>
                  <a:cxn ang="0">
                    <a:pos x="connsiteX0" y="connsiteY0"/>
                  </a:cxn>
                  <a:cxn ang="0">
                    <a:pos x="connsiteX1" y="connsiteY1"/>
                  </a:cxn>
                  <a:cxn ang="0">
                    <a:pos x="connsiteX2" y="connsiteY2"/>
                  </a:cxn>
                  <a:cxn ang="0">
                    <a:pos x="connsiteX3" y="connsiteY3"/>
                  </a:cxn>
                </a:cxnLst>
                <a:rect l="l" t="t" r="r" b="b"/>
                <a:pathLst>
                  <a:path w="135463" h="9210">
                    <a:moveTo>
                      <a:pt x="135464" y="6160"/>
                    </a:moveTo>
                    <a:lnTo>
                      <a:pt x="135344" y="9210"/>
                    </a:lnTo>
                    <a:lnTo>
                      <a:pt x="0" y="3050"/>
                    </a:lnTo>
                    <a:lnTo>
                      <a:pt x="120" y="0"/>
                    </a:lnTo>
                    <a:close/>
                  </a:path>
                </a:pathLst>
              </a:custGeom>
              <a:grpFill/>
              <a:ln w="5978" cap="flat">
                <a:noFill/>
                <a:prstDash val="solid"/>
                <a:miter/>
              </a:ln>
            </p:spPr>
            <p:txBody>
              <a:bodyPr rtlCol="0" anchor="ctr"/>
              <a:lstStyle/>
              <a:p>
                <a:endParaRPr lang="en-GB"/>
              </a:p>
            </p:txBody>
          </p:sp>
          <p:sp>
            <p:nvSpPr>
              <p:cNvPr id="5231" name="Vrije vorm: vorm 5230">
                <a:extLst>
                  <a:ext uri="{FF2B5EF4-FFF2-40B4-BE49-F238E27FC236}">
                    <a16:creationId xmlns:a16="http://schemas.microsoft.com/office/drawing/2014/main" id="{F7C63DBD-6864-4C94-B3DD-79E7C233DFEC}"/>
                  </a:ext>
                </a:extLst>
              </p:cNvPr>
              <p:cNvSpPr/>
              <p:nvPr/>
            </p:nvSpPr>
            <p:spPr>
              <a:xfrm>
                <a:off x="8191928" y="3505510"/>
                <a:ext cx="18312" cy="18441"/>
              </a:xfrm>
              <a:custGeom>
                <a:avLst/>
                <a:gdLst>
                  <a:gd name="connsiteX0" fmla="*/ 9515 w 18312"/>
                  <a:gd name="connsiteY0" fmla="*/ 10 h 18441"/>
                  <a:gd name="connsiteX1" fmla="*/ 18307 w 18312"/>
                  <a:gd name="connsiteY1" fmla="*/ 9639 h 18441"/>
                  <a:gd name="connsiteX2" fmla="*/ 8797 w 18312"/>
                  <a:gd name="connsiteY2" fmla="*/ 18431 h 18441"/>
                  <a:gd name="connsiteX3" fmla="*/ 6 w 18312"/>
                  <a:gd name="connsiteY3" fmla="*/ 8802 h 18441"/>
                  <a:gd name="connsiteX4" fmla="*/ 9515 w 18312"/>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1">
                    <a:moveTo>
                      <a:pt x="9515" y="10"/>
                    </a:moveTo>
                    <a:cubicBezTo>
                      <a:pt x="14599" y="250"/>
                      <a:pt x="18486" y="4556"/>
                      <a:pt x="18307" y="9639"/>
                    </a:cubicBezTo>
                    <a:cubicBezTo>
                      <a:pt x="18068" y="14723"/>
                      <a:pt x="13821" y="18670"/>
                      <a:pt x="8797" y="18431"/>
                    </a:cubicBezTo>
                    <a:cubicBezTo>
                      <a:pt x="3714" y="18192"/>
                      <a:pt x="-174" y="13886"/>
                      <a:pt x="6" y="8802"/>
                    </a:cubicBezTo>
                    <a:cubicBezTo>
                      <a:pt x="186" y="3718"/>
                      <a:pt x="4432" y="-229"/>
                      <a:pt x="9515" y="10"/>
                    </a:cubicBezTo>
                    <a:close/>
                  </a:path>
                </a:pathLst>
              </a:custGeom>
              <a:grpFill/>
              <a:ln w="5978" cap="flat">
                <a:noFill/>
                <a:prstDash val="solid"/>
                <a:miter/>
              </a:ln>
            </p:spPr>
            <p:txBody>
              <a:bodyPr rtlCol="0" anchor="ctr"/>
              <a:lstStyle/>
              <a:p>
                <a:endParaRPr lang="en-GB"/>
              </a:p>
            </p:txBody>
          </p:sp>
          <p:sp>
            <p:nvSpPr>
              <p:cNvPr id="5232" name="Vrije vorm: vorm 5231">
                <a:extLst>
                  <a:ext uri="{FF2B5EF4-FFF2-40B4-BE49-F238E27FC236}">
                    <a16:creationId xmlns:a16="http://schemas.microsoft.com/office/drawing/2014/main" id="{9E0E7151-B8FC-41EA-8610-89078D19A5DF}"/>
                  </a:ext>
                </a:extLst>
              </p:cNvPr>
              <p:cNvSpPr/>
              <p:nvPr/>
            </p:nvSpPr>
            <p:spPr>
              <a:xfrm>
                <a:off x="8057482" y="3499410"/>
                <a:ext cx="18312" cy="18441"/>
              </a:xfrm>
              <a:custGeom>
                <a:avLst/>
                <a:gdLst>
                  <a:gd name="connsiteX0" fmla="*/ 9515 w 18312"/>
                  <a:gd name="connsiteY0" fmla="*/ 10 h 18441"/>
                  <a:gd name="connsiteX1" fmla="*/ 6 w 18312"/>
                  <a:gd name="connsiteY1" fmla="*/ 8802 h 18441"/>
                  <a:gd name="connsiteX2" fmla="*/ 8797 w 18312"/>
                  <a:gd name="connsiteY2" fmla="*/ 18431 h 18441"/>
                  <a:gd name="connsiteX3" fmla="*/ 18307 w 18312"/>
                  <a:gd name="connsiteY3" fmla="*/ 9639 h 18441"/>
                  <a:gd name="connsiteX4" fmla="*/ 9515 w 18312"/>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1">
                    <a:moveTo>
                      <a:pt x="9515" y="10"/>
                    </a:moveTo>
                    <a:cubicBezTo>
                      <a:pt x="4432" y="-229"/>
                      <a:pt x="185" y="3718"/>
                      <a:pt x="6" y="8802"/>
                    </a:cubicBezTo>
                    <a:cubicBezTo>
                      <a:pt x="-174" y="13886"/>
                      <a:pt x="3714" y="18192"/>
                      <a:pt x="8797" y="18431"/>
                    </a:cubicBezTo>
                    <a:cubicBezTo>
                      <a:pt x="13881" y="18670"/>
                      <a:pt x="18127" y="14723"/>
                      <a:pt x="18307" y="9639"/>
                    </a:cubicBezTo>
                    <a:cubicBezTo>
                      <a:pt x="18486" y="4556"/>
                      <a:pt x="14539" y="250"/>
                      <a:pt x="9515" y="10"/>
                    </a:cubicBezTo>
                    <a:close/>
                  </a:path>
                </a:pathLst>
              </a:custGeom>
              <a:grpFill/>
              <a:ln w="5978" cap="flat">
                <a:noFill/>
                <a:prstDash val="solid"/>
                <a:miter/>
              </a:ln>
            </p:spPr>
            <p:txBody>
              <a:bodyPr rtlCol="0" anchor="ctr"/>
              <a:lstStyle/>
              <a:p>
                <a:endParaRPr lang="en-GB"/>
              </a:p>
            </p:txBody>
          </p:sp>
        </p:grpSp>
        <p:grpSp>
          <p:nvGrpSpPr>
            <p:cNvPr id="48" name="Graphic 3">
              <a:extLst>
                <a:ext uri="{FF2B5EF4-FFF2-40B4-BE49-F238E27FC236}">
                  <a16:creationId xmlns:a16="http://schemas.microsoft.com/office/drawing/2014/main" id="{BFE674B9-8847-4AFB-B63F-009776E97278}"/>
                </a:ext>
              </a:extLst>
            </p:cNvPr>
            <p:cNvGrpSpPr/>
            <p:nvPr/>
          </p:nvGrpSpPr>
          <p:grpSpPr>
            <a:xfrm>
              <a:off x="7527864" y="1845451"/>
              <a:ext cx="116781" cy="115750"/>
              <a:chOff x="7527864" y="1845451"/>
              <a:chExt cx="116781" cy="115750"/>
            </a:xfrm>
            <a:grpFill/>
          </p:grpSpPr>
          <p:sp>
            <p:nvSpPr>
              <p:cNvPr id="5227" name="Vrije vorm: vorm 5226">
                <a:extLst>
                  <a:ext uri="{FF2B5EF4-FFF2-40B4-BE49-F238E27FC236}">
                    <a16:creationId xmlns:a16="http://schemas.microsoft.com/office/drawing/2014/main" id="{E96F12F4-6AFF-4ABE-AADC-8A760F7B5AED}"/>
                  </a:ext>
                </a:extLst>
              </p:cNvPr>
              <p:cNvSpPr/>
              <p:nvPr/>
            </p:nvSpPr>
            <p:spPr>
              <a:xfrm>
                <a:off x="7535670" y="1853226"/>
                <a:ext cx="101193" cy="100177"/>
              </a:xfrm>
              <a:custGeom>
                <a:avLst/>
                <a:gdLst>
                  <a:gd name="connsiteX0" fmla="*/ 101193 w 101193"/>
                  <a:gd name="connsiteY0" fmla="*/ 2213 h 100177"/>
                  <a:gd name="connsiteX1" fmla="*/ 2153 w 101193"/>
                  <a:gd name="connsiteY1" fmla="*/ 100177 h 100177"/>
                  <a:gd name="connsiteX2" fmla="*/ 0 w 101193"/>
                  <a:gd name="connsiteY2" fmla="*/ 97964 h 100177"/>
                  <a:gd name="connsiteX3" fmla="*/ 99040 w 101193"/>
                  <a:gd name="connsiteY3" fmla="*/ 0 h 100177"/>
                </a:gdLst>
                <a:ahLst/>
                <a:cxnLst>
                  <a:cxn ang="0">
                    <a:pos x="connsiteX0" y="connsiteY0"/>
                  </a:cxn>
                  <a:cxn ang="0">
                    <a:pos x="connsiteX1" y="connsiteY1"/>
                  </a:cxn>
                  <a:cxn ang="0">
                    <a:pos x="connsiteX2" y="connsiteY2"/>
                  </a:cxn>
                  <a:cxn ang="0">
                    <a:pos x="connsiteX3" y="connsiteY3"/>
                  </a:cxn>
                </a:cxnLst>
                <a:rect l="l" t="t" r="r" b="b"/>
                <a:pathLst>
                  <a:path w="101193" h="100177">
                    <a:moveTo>
                      <a:pt x="101193" y="2213"/>
                    </a:moveTo>
                    <a:lnTo>
                      <a:pt x="2153" y="100177"/>
                    </a:lnTo>
                    <a:lnTo>
                      <a:pt x="0" y="97964"/>
                    </a:lnTo>
                    <a:lnTo>
                      <a:pt x="99040" y="0"/>
                    </a:lnTo>
                    <a:close/>
                  </a:path>
                </a:pathLst>
              </a:custGeom>
              <a:grpFill/>
              <a:ln w="5978" cap="flat">
                <a:noFill/>
                <a:prstDash val="solid"/>
                <a:miter/>
              </a:ln>
            </p:spPr>
            <p:txBody>
              <a:bodyPr rtlCol="0" anchor="ctr"/>
              <a:lstStyle/>
              <a:p>
                <a:endParaRPr lang="en-GB"/>
              </a:p>
            </p:txBody>
          </p:sp>
          <p:sp>
            <p:nvSpPr>
              <p:cNvPr id="5228" name="Vrije vorm: vorm 5227">
                <a:extLst>
                  <a:ext uri="{FF2B5EF4-FFF2-40B4-BE49-F238E27FC236}">
                    <a16:creationId xmlns:a16="http://schemas.microsoft.com/office/drawing/2014/main" id="{75A2447F-6569-4CD8-B577-9CCEE5D1BCA2}"/>
                  </a:ext>
                </a:extLst>
              </p:cNvPr>
              <p:cNvSpPr/>
              <p:nvPr/>
            </p:nvSpPr>
            <p:spPr>
              <a:xfrm>
                <a:off x="7626307" y="1845451"/>
                <a:ext cx="18338" cy="18444"/>
              </a:xfrm>
              <a:custGeom>
                <a:avLst/>
                <a:gdLst>
                  <a:gd name="connsiteX0" fmla="*/ 2721 w 18338"/>
                  <a:gd name="connsiteY0" fmla="*/ 2632 h 18444"/>
                  <a:gd name="connsiteX1" fmla="*/ 15699 w 18338"/>
                  <a:gd name="connsiteY1" fmla="*/ 2752 h 18444"/>
                  <a:gd name="connsiteX2" fmla="*/ 15640 w 18338"/>
                  <a:gd name="connsiteY2" fmla="*/ 15790 h 18444"/>
                  <a:gd name="connsiteX3" fmla="*/ 2661 w 18338"/>
                  <a:gd name="connsiteY3" fmla="*/ 15670 h 18444"/>
                  <a:gd name="connsiteX4" fmla="*/ 2721 w 18338"/>
                  <a:gd name="connsiteY4" fmla="*/ 26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44">
                    <a:moveTo>
                      <a:pt x="2721" y="2632"/>
                    </a:moveTo>
                    <a:cubicBezTo>
                      <a:pt x="6310" y="-956"/>
                      <a:pt x="12111" y="-837"/>
                      <a:pt x="15699" y="2752"/>
                    </a:cubicBezTo>
                    <a:cubicBezTo>
                      <a:pt x="19228" y="6400"/>
                      <a:pt x="19228" y="12201"/>
                      <a:pt x="15640" y="15790"/>
                    </a:cubicBezTo>
                    <a:cubicBezTo>
                      <a:pt x="12051" y="19378"/>
                      <a:pt x="6250" y="19318"/>
                      <a:pt x="2661" y="15670"/>
                    </a:cubicBezTo>
                    <a:cubicBezTo>
                      <a:pt x="-927" y="12022"/>
                      <a:pt x="-867" y="6161"/>
                      <a:pt x="2721" y="2632"/>
                    </a:cubicBezTo>
                    <a:close/>
                  </a:path>
                </a:pathLst>
              </a:custGeom>
              <a:grpFill/>
              <a:ln w="5978" cap="flat">
                <a:noFill/>
                <a:prstDash val="solid"/>
                <a:miter/>
              </a:ln>
            </p:spPr>
            <p:txBody>
              <a:bodyPr rtlCol="0" anchor="ctr"/>
              <a:lstStyle/>
              <a:p>
                <a:endParaRPr lang="en-GB"/>
              </a:p>
            </p:txBody>
          </p:sp>
          <p:sp>
            <p:nvSpPr>
              <p:cNvPr id="5229" name="Vrije vorm: vorm 5228">
                <a:extLst>
                  <a:ext uri="{FF2B5EF4-FFF2-40B4-BE49-F238E27FC236}">
                    <a16:creationId xmlns:a16="http://schemas.microsoft.com/office/drawing/2014/main" id="{69245FC8-6DD9-4A51-AC20-16BF3C4AF622}"/>
                  </a:ext>
                </a:extLst>
              </p:cNvPr>
              <p:cNvSpPr/>
              <p:nvPr/>
            </p:nvSpPr>
            <p:spPr>
              <a:xfrm>
                <a:off x="7527864" y="1942780"/>
                <a:ext cx="18361" cy="18421"/>
              </a:xfrm>
              <a:custGeom>
                <a:avLst/>
                <a:gdLst>
                  <a:gd name="connsiteX0" fmla="*/ 2721 w 18361"/>
                  <a:gd name="connsiteY0" fmla="*/ 2610 h 18421"/>
                  <a:gd name="connsiteX1" fmla="*/ 2662 w 18361"/>
                  <a:gd name="connsiteY1" fmla="*/ 15647 h 18421"/>
                  <a:gd name="connsiteX2" fmla="*/ 15640 w 18361"/>
                  <a:gd name="connsiteY2" fmla="*/ 15767 h 18421"/>
                  <a:gd name="connsiteX3" fmla="*/ 15700 w 18361"/>
                  <a:gd name="connsiteY3" fmla="*/ 2729 h 18421"/>
                  <a:gd name="connsiteX4" fmla="*/ 2721 w 18361"/>
                  <a:gd name="connsiteY4" fmla="*/ 26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2721" y="2610"/>
                    </a:moveTo>
                    <a:cubicBezTo>
                      <a:pt x="-867" y="6198"/>
                      <a:pt x="-927" y="11999"/>
                      <a:pt x="2662" y="15647"/>
                    </a:cubicBezTo>
                    <a:cubicBezTo>
                      <a:pt x="6191" y="19296"/>
                      <a:pt x="11992" y="19355"/>
                      <a:pt x="15640" y="15767"/>
                    </a:cubicBezTo>
                    <a:cubicBezTo>
                      <a:pt x="19228" y="12239"/>
                      <a:pt x="19288" y="6377"/>
                      <a:pt x="15700" y="2729"/>
                    </a:cubicBezTo>
                    <a:cubicBezTo>
                      <a:pt x="12171" y="-859"/>
                      <a:pt x="6370" y="-919"/>
                      <a:pt x="2721" y="2610"/>
                    </a:cubicBezTo>
                    <a:close/>
                  </a:path>
                </a:pathLst>
              </a:custGeom>
              <a:grpFill/>
              <a:ln w="5978" cap="flat">
                <a:noFill/>
                <a:prstDash val="solid"/>
                <a:miter/>
              </a:ln>
            </p:spPr>
            <p:txBody>
              <a:bodyPr rtlCol="0" anchor="ctr"/>
              <a:lstStyle/>
              <a:p>
                <a:endParaRPr lang="en-GB"/>
              </a:p>
            </p:txBody>
          </p:sp>
        </p:grpSp>
        <p:grpSp>
          <p:nvGrpSpPr>
            <p:cNvPr id="49" name="Graphic 3">
              <a:extLst>
                <a:ext uri="{FF2B5EF4-FFF2-40B4-BE49-F238E27FC236}">
                  <a16:creationId xmlns:a16="http://schemas.microsoft.com/office/drawing/2014/main" id="{87FC05CE-2294-4A4B-A4A4-7BC011A11FB0}"/>
                </a:ext>
              </a:extLst>
            </p:cNvPr>
            <p:cNvGrpSpPr/>
            <p:nvPr/>
          </p:nvGrpSpPr>
          <p:grpSpPr>
            <a:xfrm>
              <a:off x="7550110" y="1913509"/>
              <a:ext cx="83414" cy="80410"/>
              <a:chOff x="7550110" y="1913509"/>
              <a:chExt cx="83414" cy="80410"/>
            </a:xfrm>
            <a:grpFill/>
          </p:grpSpPr>
          <p:sp>
            <p:nvSpPr>
              <p:cNvPr id="5224" name="Vrije vorm: vorm 5223">
                <a:extLst>
                  <a:ext uri="{FF2B5EF4-FFF2-40B4-BE49-F238E27FC236}">
                    <a16:creationId xmlns:a16="http://schemas.microsoft.com/office/drawing/2014/main" id="{B5600F57-F8A4-443F-BD4D-1D6C7882B8F1}"/>
                  </a:ext>
                </a:extLst>
              </p:cNvPr>
              <p:cNvSpPr/>
              <p:nvPr/>
            </p:nvSpPr>
            <p:spPr>
              <a:xfrm>
                <a:off x="7557858" y="1921287"/>
                <a:ext cx="67881" cy="64830"/>
              </a:xfrm>
              <a:custGeom>
                <a:avLst/>
                <a:gdLst>
                  <a:gd name="connsiteX0" fmla="*/ 67881 w 67881"/>
                  <a:gd name="connsiteY0" fmla="*/ 2213 h 64830"/>
                  <a:gd name="connsiteX1" fmla="*/ 2093 w 67881"/>
                  <a:gd name="connsiteY1" fmla="*/ 64831 h 64830"/>
                  <a:gd name="connsiteX2" fmla="*/ 0 w 67881"/>
                  <a:gd name="connsiteY2" fmla="*/ 62618 h 64830"/>
                  <a:gd name="connsiteX3" fmla="*/ 65728 w 67881"/>
                  <a:gd name="connsiteY3" fmla="*/ 0 h 64830"/>
                </a:gdLst>
                <a:ahLst/>
                <a:cxnLst>
                  <a:cxn ang="0">
                    <a:pos x="connsiteX0" y="connsiteY0"/>
                  </a:cxn>
                  <a:cxn ang="0">
                    <a:pos x="connsiteX1" y="connsiteY1"/>
                  </a:cxn>
                  <a:cxn ang="0">
                    <a:pos x="connsiteX2" y="connsiteY2"/>
                  </a:cxn>
                  <a:cxn ang="0">
                    <a:pos x="connsiteX3" y="connsiteY3"/>
                  </a:cxn>
                </a:cxnLst>
                <a:rect l="l" t="t" r="r" b="b"/>
                <a:pathLst>
                  <a:path w="67881" h="64830">
                    <a:moveTo>
                      <a:pt x="67881" y="2213"/>
                    </a:moveTo>
                    <a:lnTo>
                      <a:pt x="2093" y="64831"/>
                    </a:lnTo>
                    <a:lnTo>
                      <a:pt x="0" y="62618"/>
                    </a:lnTo>
                    <a:lnTo>
                      <a:pt x="65728" y="0"/>
                    </a:lnTo>
                    <a:close/>
                  </a:path>
                </a:pathLst>
              </a:custGeom>
              <a:grpFill/>
              <a:ln w="5978" cap="flat">
                <a:noFill/>
                <a:prstDash val="solid"/>
                <a:miter/>
              </a:ln>
            </p:spPr>
            <p:txBody>
              <a:bodyPr rtlCol="0" anchor="ctr"/>
              <a:lstStyle/>
              <a:p>
                <a:endParaRPr lang="en-GB"/>
              </a:p>
            </p:txBody>
          </p:sp>
          <p:sp>
            <p:nvSpPr>
              <p:cNvPr id="5225" name="Vrije vorm: vorm 5224">
                <a:extLst>
                  <a:ext uri="{FF2B5EF4-FFF2-40B4-BE49-F238E27FC236}">
                    <a16:creationId xmlns:a16="http://schemas.microsoft.com/office/drawing/2014/main" id="{7E23BD69-DBF3-49B6-BAB2-EE2749C93CBF}"/>
                  </a:ext>
                </a:extLst>
              </p:cNvPr>
              <p:cNvSpPr/>
              <p:nvPr/>
            </p:nvSpPr>
            <p:spPr>
              <a:xfrm>
                <a:off x="7615180" y="1913509"/>
                <a:ext cx="18343" cy="18426"/>
              </a:xfrm>
              <a:custGeom>
                <a:avLst/>
                <a:gdLst>
                  <a:gd name="connsiteX0" fmla="*/ 2844 w 18343"/>
                  <a:gd name="connsiteY0" fmla="*/ 2515 h 18426"/>
                  <a:gd name="connsiteX1" fmla="*/ 15822 w 18343"/>
                  <a:gd name="connsiteY1" fmla="*/ 2874 h 18426"/>
                  <a:gd name="connsiteX2" fmla="*/ 15523 w 18343"/>
                  <a:gd name="connsiteY2" fmla="*/ 15912 h 18426"/>
                  <a:gd name="connsiteX3" fmla="*/ 2545 w 18343"/>
                  <a:gd name="connsiteY3" fmla="*/ 15553 h 18426"/>
                  <a:gd name="connsiteX4" fmla="*/ 2844 w 18343"/>
                  <a:gd name="connsiteY4" fmla="*/ 25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6">
                    <a:moveTo>
                      <a:pt x="2844" y="2515"/>
                    </a:moveTo>
                    <a:cubicBezTo>
                      <a:pt x="6492" y="-954"/>
                      <a:pt x="12293" y="-834"/>
                      <a:pt x="15822" y="2874"/>
                    </a:cubicBezTo>
                    <a:cubicBezTo>
                      <a:pt x="19291" y="6582"/>
                      <a:pt x="19171" y="12383"/>
                      <a:pt x="15523" y="15912"/>
                    </a:cubicBezTo>
                    <a:cubicBezTo>
                      <a:pt x="11874" y="19380"/>
                      <a:pt x="6073" y="19261"/>
                      <a:pt x="2545" y="15553"/>
                    </a:cubicBezTo>
                    <a:cubicBezTo>
                      <a:pt x="-984" y="11845"/>
                      <a:pt x="-805" y="5984"/>
                      <a:pt x="2844" y="2515"/>
                    </a:cubicBezTo>
                    <a:close/>
                  </a:path>
                </a:pathLst>
              </a:custGeom>
              <a:grpFill/>
              <a:ln w="5978" cap="flat">
                <a:noFill/>
                <a:prstDash val="solid"/>
                <a:miter/>
              </a:ln>
            </p:spPr>
            <p:txBody>
              <a:bodyPr rtlCol="0" anchor="ctr"/>
              <a:lstStyle/>
              <a:p>
                <a:endParaRPr lang="en-GB"/>
              </a:p>
            </p:txBody>
          </p:sp>
          <p:sp>
            <p:nvSpPr>
              <p:cNvPr id="5226" name="Vrije vorm: vorm 5225">
                <a:extLst>
                  <a:ext uri="{FF2B5EF4-FFF2-40B4-BE49-F238E27FC236}">
                    <a16:creationId xmlns:a16="http://schemas.microsoft.com/office/drawing/2014/main" id="{4A673EBA-FD37-4B6B-BB39-3163B8FA6111}"/>
                  </a:ext>
                </a:extLst>
              </p:cNvPr>
              <p:cNvSpPr/>
              <p:nvPr/>
            </p:nvSpPr>
            <p:spPr>
              <a:xfrm>
                <a:off x="7550110" y="1975491"/>
                <a:ext cx="18366" cy="18428"/>
              </a:xfrm>
              <a:custGeom>
                <a:avLst/>
                <a:gdLst>
                  <a:gd name="connsiteX0" fmla="*/ 2844 w 18366"/>
                  <a:gd name="connsiteY0" fmla="*/ 2493 h 18428"/>
                  <a:gd name="connsiteX1" fmla="*/ 2545 w 18366"/>
                  <a:gd name="connsiteY1" fmla="*/ 15531 h 18428"/>
                  <a:gd name="connsiteX2" fmla="*/ 15523 w 18366"/>
                  <a:gd name="connsiteY2" fmla="*/ 15890 h 18428"/>
                  <a:gd name="connsiteX3" fmla="*/ 15822 w 18366"/>
                  <a:gd name="connsiteY3" fmla="*/ 2852 h 18428"/>
                  <a:gd name="connsiteX4" fmla="*/ 2844 w 18366"/>
                  <a:gd name="connsiteY4" fmla="*/ 2493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8">
                    <a:moveTo>
                      <a:pt x="2844" y="2493"/>
                    </a:moveTo>
                    <a:cubicBezTo>
                      <a:pt x="-805" y="5962"/>
                      <a:pt x="-984" y="11823"/>
                      <a:pt x="2545" y="15531"/>
                    </a:cubicBezTo>
                    <a:cubicBezTo>
                      <a:pt x="6013" y="19239"/>
                      <a:pt x="11815" y="19419"/>
                      <a:pt x="15523" y="15890"/>
                    </a:cubicBezTo>
                    <a:cubicBezTo>
                      <a:pt x="19171" y="12421"/>
                      <a:pt x="19350" y="6560"/>
                      <a:pt x="15822" y="2852"/>
                    </a:cubicBezTo>
                    <a:cubicBezTo>
                      <a:pt x="12293" y="-796"/>
                      <a:pt x="6492" y="-976"/>
                      <a:pt x="2844" y="2493"/>
                    </a:cubicBezTo>
                    <a:close/>
                  </a:path>
                </a:pathLst>
              </a:custGeom>
              <a:grpFill/>
              <a:ln w="5978" cap="flat">
                <a:noFill/>
                <a:prstDash val="solid"/>
                <a:miter/>
              </a:ln>
            </p:spPr>
            <p:txBody>
              <a:bodyPr rtlCol="0" anchor="ctr"/>
              <a:lstStyle/>
              <a:p>
                <a:endParaRPr lang="en-GB"/>
              </a:p>
            </p:txBody>
          </p:sp>
        </p:grpSp>
        <p:grpSp>
          <p:nvGrpSpPr>
            <p:cNvPr id="50" name="Graphic 3">
              <a:extLst>
                <a:ext uri="{FF2B5EF4-FFF2-40B4-BE49-F238E27FC236}">
                  <a16:creationId xmlns:a16="http://schemas.microsoft.com/office/drawing/2014/main" id="{6C80F267-FCA0-459B-BCCD-88646651B129}"/>
                </a:ext>
              </a:extLst>
            </p:cNvPr>
            <p:cNvGrpSpPr/>
            <p:nvPr/>
          </p:nvGrpSpPr>
          <p:grpSpPr>
            <a:xfrm>
              <a:off x="7559792" y="1938682"/>
              <a:ext cx="106331" cy="99142"/>
              <a:chOff x="7559792" y="1938682"/>
              <a:chExt cx="106331" cy="99142"/>
            </a:xfrm>
            <a:grpFill/>
          </p:grpSpPr>
          <p:sp>
            <p:nvSpPr>
              <p:cNvPr id="5221" name="Vrije vorm: vorm 5220">
                <a:extLst>
                  <a:ext uri="{FF2B5EF4-FFF2-40B4-BE49-F238E27FC236}">
                    <a16:creationId xmlns:a16="http://schemas.microsoft.com/office/drawing/2014/main" id="{B2858173-FF00-42C6-BCB0-406AF9F87CE9}"/>
                  </a:ext>
                </a:extLst>
              </p:cNvPr>
              <p:cNvSpPr/>
              <p:nvPr/>
            </p:nvSpPr>
            <p:spPr>
              <a:xfrm>
                <a:off x="7567547" y="1946466"/>
                <a:ext cx="90727" cy="83550"/>
              </a:xfrm>
              <a:custGeom>
                <a:avLst/>
                <a:gdLst>
                  <a:gd name="connsiteX0" fmla="*/ 90728 w 90727"/>
                  <a:gd name="connsiteY0" fmla="*/ 2273 h 83550"/>
                  <a:gd name="connsiteX1" fmla="*/ 2093 w 90727"/>
                  <a:gd name="connsiteY1" fmla="*/ 83551 h 83550"/>
                  <a:gd name="connsiteX2" fmla="*/ 0 w 90727"/>
                  <a:gd name="connsiteY2" fmla="*/ 81278 h 83550"/>
                  <a:gd name="connsiteX3" fmla="*/ 88694 w 90727"/>
                  <a:gd name="connsiteY3" fmla="*/ 0 h 83550"/>
                </a:gdLst>
                <a:ahLst/>
                <a:cxnLst>
                  <a:cxn ang="0">
                    <a:pos x="connsiteX0" y="connsiteY0"/>
                  </a:cxn>
                  <a:cxn ang="0">
                    <a:pos x="connsiteX1" y="connsiteY1"/>
                  </a:cxn>
                  <a:cxn ang="0">
                    <a:pos x="connsiteX2" y="connsiteY2"/>
                  </a:cxn>
                  <a:cxn ang="0">
                    <a:pos x="connsiteX3" y="connsiteY3"/>
                  </a:cxn>
                </a:cxnLst>
                <a:rect l="l" t="t" r="r" b="b"/>
                <a:pathLst>
                  <a:path w="90727" h="83550">
                    <a:moveTo>
                      <a:pt x="90728" y="2273"/>
                    </a:moveTo>
                    <a:lnTo>
                      <a:pt x="2093" y="83551"/>
                    </a:lnTo>
                    <a:lnTo>
                      <a:pt x="0" y="81278"/>
                    </a:lnTo>
                    <a:lnTo>
                      <a:pt x="88694" y="0"/>
                    </a:lnTo>
                    <a:close/>
                  </a:path>
                </a:pathLst>
              </a:custGeom>
              <a:grpFill/>
              <a:ln w="5978" cap="flat">
                <a:noFill/>
                <a:prstDash val="solid"/>
                <a:miter/>
              </a:ln>
            </p:spPr>
            <p:txBody>
              <a:bodyPr rtlCol="0" anchor="ctr"/>
              <a:lstStyle/>
              <a:p>
                <a:endParaRPr lang="en-GB"/>
              </a:p>
            </p:txBody>
          </p:sp>
          <p:sp>
            <p:nvSpPr>
              <p:cNvPr id="5222" name="Vrije vorm: vorm 5221">
                <a:extLst>
                  <a:ext uri="{FF2B5EF4-FFF2-40B4-BE49-F238E27FC236}">
                    <a16:creationId xmlns:a16="http://schemas.microsoft.com/office/drawing/2014/main" id="{05F9BD5F-C07E-410A-976E-0F5CB126D7B7}"/>
                  </a:ext>
                </a:extLst>
              </p:cNvPr>
              <p:cNvSpPr/>
              <p:nvPr/>
            </p:nvSpPr>
            <p:spPr>
              <a:xfrm>
                <a:off x="7647756" y="1938682"/>
                <a:ext cx="18367" cy="18438"/>
              </a:xfrm>
              <a:custGeom>
                <a:avLst/>
                <a:gdLst>
                  <a:gd name="connsiteX0" fmla="*/ 2982 w 18367"/>
                  <a:gd name="connsiteY0" fmla="*/ 2401 h 18438"/>
                  <a:gd name="connsiteX1" fmla="*/ 15960 w 18367"/>
                  <a:gd name="connsiteY1" fmla="*/ 2999 h 18438"/>
                  <a:gd name="connsiteX2" fmla="*/ 15422 w 18367"/>
                  <a:gd name="connsiteY2" fmla="*/ 16038 h 18438"/>
                  <a:gd name="connsiteX3" fmla="*/ 2503 w 18367"/>
                  <a:gd name="connsiteY3" fmla="*/ 15439 h 18438"/>
                  <a:gd name="connsiteX4" fmla="*/ 2982 w 18367"/>
                  <a:gd name="connsiteY4" fmla="*/ 24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38">
                    <a:moveTo>
                      <a:pt x="2982" y="2401"/>
                    </a:moveTo>
                    <a:cubicBezTo>
                      <a:pt x="6690" y="-1008"/>
                      <a:pt x="12491" y="-768"/>
                      <a:pt x="15960" y="2999"/>
                    </a:cubicBezTo>
                    <a:cubicBezTo>
                      <a:pt x="19369" y="6767"/>
                      <a:pt x="19130" y="12569"/>
                      <a:pt x="15422" y="16038"/>
                    </a:cubicBezTo>
                    <a:cubicBezTo>
                      <a:pt x="11714" y="19446"/>
                      <a:pt x="5913" y="19207"/>
                      <a:pt x="2503" y="15439"/>
                    </a:cubicBezTo>
                    <a:cubicBezTo>
                      <a:pt x="-1025" y="11612"/>
                      <a:pt x="-786" y="5810"/>
                      <a:pt x="2982" y="2401"/>
                    </a:cubicBezTo>
                    <a:close/>
                  </a:path>
                </a:pathLst>
              </a:custGeom>
              <a:grpFill/>
              <a:ln w="5978" cap="flat">
                <a:noFill/>
                <a:prstDash val="solid"/>
                <a:miter/>
              </a:ln>
            </p:spPr>
            <p:txBody>
              <a:bodyPr rtlCol="0" anchor="ctr"/>
              <a:lstStyle/>
              <a:p>
                <a:endParaRPr lang="en-GB"/>
              </a:p>
            </p:txBody>
          </p:sp>
          <p:sp>
            <p:nvSpPr>
              <p:cNvPr id="5223" name="Vrije vorm: vorm 5222">
                <a:extLst>
                  <a:ext uri="{FF2B5EF4-FFF2-40B4-BE49-F238E27FC236}">
                    <a16:creationId xmlns:a16="http://schemas.microsoft.com/office/drawing/2014/main" id="{21A12824-82FA-4605-9426-6686444D0BE1}"/>
                  </a:ext>
                </a:extLst>
              </p:cNvPr>
              <p:cNvSpPr/>
              <p:nvPr/>
            </p:nvSpPr>
            <p:spPr>
              <a:xfrm>
                <a:off x="7559792" y="2019383"/>
                <a:ext cx="18379" cy="18441"/>
              </a:xfrm>
              <a:custGeom>
                <a:avLst/>
                <a:gdLst>
                  <a:gd name="connsiteX0" fmla="*/ 2969 w 18379"/>
                  <a:gd name="connsiteY0" fmla="*/ 2380 h 18441"/>
                  <a:gd name="connsiteX1" fmla="*/ 2431 w 18379"/>
                  <a:gd name="connsiteY1" fmla="*/ 15418 h 18441"/>
                  <a:gd name="connsiteX2" fmla="*/ 15410 w 18379"/>
                  <a:gd name="connsiteY2" fmla="*/ 16016 h 18441"/>
                  <a:gd name="connsiteX3" fmla="*/ 15948 w 18379"/>
                  <a:gd name="connsiteY3" fmla="*/ 2979 h 18441"/>
                  <a:gd name="connsiteX4" fmla="*/ 2969 w 18379"/>
                  <a:gd name="connsiteY4" fmla="*/ 238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41">
                    <a:moveTo>
                      <a:pt x="2969" y="2380"/>
                    </a:moveTo>
                    <a:cubicBezTo>
                      <a:pt x="-739" y="5789"/>
                      <a:pt x="-1037" y="11651"/>
                      <a:pt x="2431" y="15418"/>
                    </a:cubicBezTo>
                    <a:cubicBezTo>
                      <a:pt x="5841" y="19186"/>
                      <a:pt x="11642" y="19485"/>
                      <a:pt x="15410" y="16016"/>
                    </a:cubicBezTo>
                    <a:cubicBezTo>
                      <a:pt x="19118" y="12607"/>
                      <a:pt x="19416" y="6746"/>
                      <a:pt x="15948" y="2979"/>
                    </a:cubicBezTo>
                    <a:cubicBezTo>
                      <a:pt x="12479" y="-730"/>
                      <a:pt x="6677" y="-1029"/>
                      <a:pt x="2969" y="2380"/>
                    </a:cubicBezTo>
                    <a:close/>
                  </a:path>
                </a:pathLst>
              </a:custGeom>
              <a:grpFill/>
              <a:ln w="5978" cap="flat">
                <a:noFill/>
                <a:prstDash val="solid"/>
                <a:miter/>
              </a:ln>
            </p:spPr>
            <p:txBody>
              <a:bodyPr rtlCol="0" anchor="ctr"/>
              <a:lstStyle/>
              <a:p>
                <a:endParaRPr lang="en-GB"/>
              </a:p>
            </p:txBody>
          </p:sp>
        </p:grpSp>
        <p:grpSp>
          <p:nvGrpSpPr>
            <p:cNvPr id="51" name="Graphic 3">
              <a:extLst>
                <a:ext uri="{FF2B5EF4-FFF2-40B4-BE49-F238E27FC236}">
                  <a16:creationId xmlns:a16="http://schemas.microsoft.com/office/drawing/2014/main" id="{58D521CC-573C-411A-BB36-0ACB4D99961F}"/>
                </a:ext>
              </a:extLst>
            </p:cNvPr>
            <p:cNvGrpSpPr/>
            <p:nvPr/>
          </p:nvGrpSpPr>
          <p:grpSpPr>
            <a:xfrm>
              <a:off x="7738274" y="3421946"/>
              <a:ext cx="749962" cy="68765"/>
              <a:chOff x="7738274" y="3421946"/>
              <a:chExt cx="749962" cy="68765"/>
            </a:xfrm>
            <a:grpFill/>
          </p:grpSpPr>
          <p:sp>
            <p:nvSpPr>
              <p:cNvPr id="5218" name="Vrije vorm: vorm 5217">
                <a:extLst>
                  <a:ext uri="{FF2B5EF4-FFF2-40B4-BE49-F238E27FC236}">
                    <a16:creationId xmlns:a16="http://schemas.microsoft.com/office/drawing/2014/main" id="{735D828D-4A4A-41E8-920E-B726903CBB68}"/>
                  </a:ext>
                </a:extLst>
              </p:cNvPr>
              <p:cNvSpPr/>
              <p:nvPr/>
            </p:nvSpPr>
            <p:spPr>
              <a:xfrm>
                <a:off x="7746849" y="3429565"/>
                <a:ext cx="732758" cy="53527"/>
              </a:xfrm>
              <a:custGeom>
                <a:avLst/>
                <a:gdLst>
                  <a:gd name="connsiteX0" fmla="*/ 732758 w 732758"/>
                  <a:gd name="connsiteY0" fmla="*/ 50477 h 53527"/>
                  <a:gd name="connsiteX1" fmla="*/ 732579 w 732758"/>
                  <a:gd name="connsiteY1" fmla="*/ 53527 h 53527"/>
                  <a:gd name="connsiteX2" fmla="*/ 0 w 732758"/>
                  <a:gd name="connsiteY2" fmla="*/ 3050 h 53527"/>
                  <a:gd name="connsiteX3" fmla="*/ 180 w 732758"/>
                  <a:gd name="connsiteY3" fmla="*/ 0 h 53527"/>
                </a:gdLst>
                <a:ahLst/>
                <a:cxnLst>
                  <a:cxn ang="0">
                    <a:pos x="connsiteX0" y="connsiteY0"/>
                  </a:cxn>
                  <a:cxn ang="0">
                    <a:pos x="connsiteX1" y="connsiteY1"/>
                  </a:cxn>
                  <a:cxn ang="0">
                    <a:pos x="connsiteX2" y="connsiteY2"/>
                  </a:cxn>
                  <a:cxn ang="0">
                    <a:pos x="connsiteX3" y="connsiteY3"/>
                  </a:cxn>
                </a:cxnLst>
                <a:rect l="l" t="t" r="r" b="b"/>
                <a:pathLst>
                  <a:path w="732758" h="53527">
                    <a:moveTo>
                      <a:pt x="732758" y="50477"/>
                    </a:moveTo>
                    <a:lnTo>
                      <a:pt x="732579" y="53527"/>
                    </a:lnTo>
                    <a:lnTo>
                      <a:pt x="0" y="3050"/>
                    </a:lnTo>
                    <a:lnTo>
                      <a:pt x="180" y="0"/>
                    </a:lnTo>
                    <a:close/>
                  </a:path>
                </a:pathLst>
              </a:custGeom>
              <a:grpFill/>
              <a:ln w="5978" cap="flat">
                <a:noFill/>
                <a:prstDash val="solid"/>
                <a:miter/>
              </a:ln>
            </p:spPr>
            <p:txBody>
              <a:bodyPr rtlCol="0" anchor="ctr"/>
              <a:lstStyle/>
              <a:p>
                <a:endParaRPr lang="en-GB"/>
              </a:p>
            </p:txBody>
          </p:sp>
          <p:sp>
            <p:nvSpPr>
              <p:cNvPr id="5219" name="Vrije vorm: vorm 5218">
                <a:extLst>
                  <a:ext uri="{FF2B5EF4-FFF2-40B4-BE49-F238E27FC236}">
                    <a16:creationId xmlns:a16="http://schemas.microsoft.com/office/drawing/2014/main" id="{0653147B-7A7F-4F80-A9C2-54B2FC762856}"/>
                  </a:ext>
                </a:extLst>
              </p:cNvPr>
              <p:cNvSpPr/>
              <p:nvPr/>
            </p:nvSpPr>
            <p:spPr>
              <a:xfrm>
                <a:off x="7738274" y="3421946"/>
                <a:ext cx="18340" cy="18407"/>
              </a:xfrm>
              <a:custGeom>
                <a:avLst/>
                <a:gdLst>
                  <a:gd name="connsiteX0" fmla="*/ 8575 w 18340"/>
                  <a:gd name="connsiteY0" fmla="*/ 18384 h 18407"/>
                  <a:gd name="connsiteX1" fmla="*/ 23 w 18340"/>
                  <a:gd name="connsiteY1" fmla="*/ 8576 h 18407"/>
                  <a:gd name="connsiteX2" fmla="*/ 9772 w 18340"/>
                  <a:gd name="connsiteY2" fmla="*/ 23 h 18407"/>
                  <a:gd name="connsiteX3" fmla="*/ 18324 w 18340"/>
                  <a:gd name="connsiteY3" fmla="*/ 9832 h 18407"/>
                  <a:gd name="connsiteX4" fmla="*/ 8575 w 18340"/>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7">
                    <a:moveTo>
                      <a:pt x="8575" y="18384"/>
                    </a:moveTo>
                    <a:cubicBezTo>
                      <a:pt x="3551" y="18025"/>
                      <a:pt x="-336" y="13659"/>
                      <a:pt x="23" y="8576"/>
                    </a:cubicBezTo>
                    <a:cubicBezTo>
                      <a:pt x="322" y="3492"/>
                      <a:pt x="4687" y="-336"/>
                      <a:pt x="9772" y="23"/>
                    </a:cubicBezTo>
                    <a:cubicBezTo>
                      <a:pt x="14795" y="382"/>
                      <a:pt x="18623" y="4748"/>
                      <a:pt x="18324" y="9832"/>
                    </a:cubicBezTo>
                    <a:cubicBezTo>
                      <a:pt x="17965" y="14915"/>
                      <a:pt x="13599" y="18743"/>
                      <a:pt x="8575" y="18384"/>
                    </a:cubicBezTo>
                    <a:close/>
                  </a:path>
                </a:pathLst>
              </a:custGeom>
              <a:grpFill/>
              <a:ln w="5978" cap="flat">
                <a:noFill/>
                <a:prstDash val="solid"/>
                <a:miter/>
              </a:ln>
            </p:spPr>
            <p:txBody>
              <a:bodyPr rtlCol="0" anchor="ctr"/>
              <a:lstStyle/>
              <a:p>
                <a:endParaRPr lang="en-GB"/>
              </a:p>
            </p:txBody>
          </p:sp>
          <p:sp>
            <p:nvSpPr>
              <p:cNvPr id="5220" name="Vrije vorm: vorm 5219">
                <a:extLst>
                  <a:ext uri="{FF2B5EF4-FFF2-40B4-BE49-F238E27FC236}">
                    <a16:creationId xmlns:a16="http://schemas.microsoft.com/office/drawing/2014/main" id="{865BDC63-9366-47FA-B6A9-F37FABA4ACD1}"/>
                  </a:ext>
                </a:extLst>
              </p:cNvPr>
              <p:cNvSpPr/>
              <p:nvPr/>
            </p:nvSpPr>
            <p:spPr>
              <a:xfrm>
                <a:off x="8469902" y="3472304"/>
                <a:ext cx="18334" cy="18407"/>
              </a:xfrm>
              <a:custGeom>
                <a:avLst/>
                <a:gdLst>
                  <a:gd name="connsiteX0" fmla="*/ 8569 w 18334"/>
                  <a:gd name="connsiteY0" fmla="*/ 18384 h 18407"/>
                  <a:gd name="connsiteX1" fmla="*/ 18318 w 18334"/>
                  <a:gd name="connsiteY1" fmla="*/ 9832 h 18407"/>
                  <a:gd name="connsiteX2" fmla="*/ 9765 w 18334"/>
                  <a:gd name="connsiteY2" fmla="*/ 23 h 18407"/>
                  <a:gd name="connsiteX3" fmla="*/ 16 w 18334"/>
                  <a:gd name="connsiteY3" fmla="*/ 8576 h 18407"/>
                  <a:gd name="connsiteX4" fmla="*/ 8569 w 18334"/>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7">
                    <a:moveTo>
                      <a:pt x="8569" y="18384"/>
                    </a:moveTo>
                    <a:cubicBezTo>
                      <a:pt x="13593" y="18743"/>
                      <a:pt x="17959" y="14915"/>
                      <a:pt x="18318" y="9832"/>
                    </a:cubicBezTo>
                    <a:cubicBezTo>
                      <a:pt x="18616" y="4748"/>
                      <a:pt x="14789" y="382"/>
                      <a:pt x="9765" y="23"/>
                    </a:cubicBezTo>
                    <a:cubicBezTo>
                      <a:pt x="4741" y="-336"/>
                      <a:pt x="376" y="3492"/>
                      <a:pt x="16" y="8576"/>
                    </a:cubicBezTo>
                    <a:cubicBezTo>
                      <a:pt x="-283" y="13659"/>
                      <a:pt x="3545" y="18025"/>
                      <a:pt x="8569" y="18384"/>
                    </a:cubicBezTo>
                    <a:close/>
                  </a:path>
                </a:pathLst>
              </a:custGeom>
              <a:grpFill/>
              <a:ln w="5978" cap="flat">
                <a:noFill/>
                <a:prstDash val="solid"/>
                <a:miter/>
              </a:ln>
            </p:spPr>
            <p:txBody>
              <a:bodyPr rtlCol="0" anchor="ctr"/>
              <a:lstStyle/>
              <a:p>
                <a:endParaRPr lang="en-GB"/>
              </a:p>
            </p:txBody>
          </p:sp>
        </p:grpSp>
        <p:grpSp>
          <p:nvGrpSpPr>
            <p:cNvPr id="52" name="Graphic 3">
              <a:extLst>
                <a:ext uri="{FF2B5EF4-FFF2-40B4-BE49-F238E27FC236}">
                  <a16:creationId xmlns:a16="http://schemas.microsoft.com/office/drawing/2014/main" id="{6052AD4B-2367-4EE8-B54D-4A151818CF16}"/>
                </a:ext>
              </a:extLst>
            </p:cNvPr>
            <p:cNvGrpSpPr/>
            <p:nvPr/>
          </p:nvGrpSpPr>
          <p:grpSpPr>
            <a:xfrm>
              <a:off x="7831089" y="2801388"/>
              <a:ext cx="120687" cy="51359"/>
              <a:chOff x="7831089" y="2801388"/>
              <a:chExt cx="120687" cy="51359"/>
            </a:xfrm>
            <a:grpFill/>
          </p:grpSpPr>
          <p:sp>
            <p:nvSpPr>
              <p:cNvPr id="5215" name="Vrije vorm: vorm 5214">
                <a:extLst>
                  <a:ext uri="{FF2B5EF4-FFF2-40B4-BE49-F238E27FC236}">
                    <a16:creationId xmlns:a16="http://schemas.microsoft.com/office/drawing/2014/main" id="{592A7568-C927-4E54-AE8F-440E9F53EFF4}"/>
                  </a:ext>
                </a:extLst>
              </p:cNvPr>
              <p:cNvSpPr/>
              <p:nvPr/>
            </p:nvSpPr>
            <p:spPr>
              <a:xfrm>
                <a:off x="7839370" y="2809006"/>
                <a:ext cx="104124" cy="36063"/>
              </a:xfrm>
              <a:custGeom>
                <a:avLst/>
                <a:gdLst>
                  <a:gd name="connsiteX0" fmla="*/ 103167 w 104124"/>
                  <a:gd name="connsiteY0" fmla="*/ 0 h 36063"/>
                  <a:gd name="connsiteX1" fmla="*/ 104125 w 104124"/>
                  <a:gd name="connsiteY1" fmla="*/ 2930 h 36063"/>
                  <a:gd name="connsiteX2" fmla="*/ 897 w 104124"/>
                  <a:gd name="connsiteY2" fmla="*/ 36064 h 36063"/>
                  <a:gd name="connsiteX3" fmla="*/ 0 w 104124"/>
                  <a:gd name="connsiteY3" fmla="*/ 33133 h 36063"/>
                </a:gdLst>
                <a:ahLst/>
                <a:cxnLst>
                  <a:cxn ang="0">
                    <a:pos x="connsiteX0" y="connsiteY0"/>
                  </a:cxn>
                  <a:cxn ang="0">
                    <a:pos x="connsiteX1" y="connsiteY1"/>
                  </a:cxn>
                  <a:cxn ang="0">
                    <a:pos x="connsiteX2" y="connsiteY2"/>
                  </a:cxn>
                  <a:cxn ang="0">
                    <a:pos x="connsiteX3" y="connsiteY3"/>
                  </a:cxn>
                </a:cxnLst>
                <a:rect l="l" t="t" r="r" b="b"/>
                <a:pathLst>
                  <a:path w="104124" h="36063">
                    <a:moveTo>
                      <a:pt x="103167" y="0"/>
                    </a:moveTo>
                    <a:lnTo>
                      <a:pt x="104125" y="2930"/>
                    </a:lnTo>
                    <a:lnTo>
                      <a:pt x="897" y="36064"/>
                    </a:lnTo>
                    <a:lnTo>
                      <a:pt x="0" y="33133"/>
                    </a:lnTo>
                    <a:close/>
                  </a:path>
                </a:pathLst>
              </a:custGeom>
              <a:grpFill/>
              <a:ln w="5978" cap="flat">
                <a:noFill/>
                <a:prstDash val="solid"/>
                <a:miter/>
              </a:ln>
            </p:spPr>
            <p:txBody>
              <a:bodyPr rtlCol="0" anchor="ctr"/>
              <a:lstStyle/>
              <a:p>
                <a:endParaRPr lang="en-GB"/>
              </a:p>
            </p:txBody>
          </p:sp>
          <p:sp>
            <p:nvSpPr>
              <p:cNvPr id="5216" name="Vrije vorm: vorm 5215">
                <a:extLst>
                  <a:ext uri="{FF2B5EF4-FFF2-40B4-BE49-F238E27FC236}">
                    <a16:creationId xmlns:a16="http://schemas.microsoft.com/office/drawing/2014/main" id="{ABC43A1E-8E0C-4B28-B89F-8DCD3DC33F49}"/>
                  </a:ext>
                </a:extLst>
              </p:cNvPr>
              <p:cNvSpPr/>
              <p:nvPr/>
            </p:nvSpPr>
            <p:spPr>
              <a:xfrm>
                <a:off x="7933419" y="2801388"/>
                <a:ext cx="18357" cy="18465"/>
              </a:xfrm>
              <a:custGeom>
                <a:avLst/>
                <a:gdLst>
                  <a:gd name="connsiteX0" fmla="*/ 6368 w 18357"/>
                  <a:gd name="connsiteY0" fmla="*/ 441 h 18465"/>
                  <a:gd name="connsiteX1" fmla="*/ 17911 w 18357"/>
                  <a:gd name="connsiteY1" fmla="*/ 6422 h 18465"/>
                  <a:gd name="connsiteX2" fmla="*/ 11990 w 18357"/>
                  <a:gd name="connsiteY2" fmla="*/ 18024 h 18465"/>
                  <a:gd name="connsiteX3" fmla="*/ 447 w 18357"/>
                  <a:gd name="connsiteY3" fmla="*/ 12043 h 18465"/>
                  <a:gd name="connsiteX4" fmla="*/ 6368 w 18357"/>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65">
                    <a:moveTo>
                      <a:pt x="6368" y="441"/>
                    </a:moveTo>
                    <a:cubicBezTo>
                      <a:pt x="11212" y="-1114"/>
                      <a:pt x="16356" y="1577"/>
                      <a:pt x="17911" y="6422"/>
                    </a:cubicBezTo>
                    <a:cubicBezTo>
                      <a:pt x="19466" y="11266"/>
                      <a:pt x="16834" y="16469"/>
                      <a:pt x="11990" y="18024"/>
                    </a:cubicBezTo>
                    <a:cubicBezTo>
                      <a:pt x="7145" y="19579"/>
                      <a:pt x="2002" y="16888"/>
                      <a:pt x="447" y="12043"/>
                    </a:cubicBezTo>
                    <a:cubicBezTo>
                      <a:pt x="-1108" y="7139"/>
                      <a:pt x="1524" y="1996"/>
                      <a:pt x="6368" y="441"/>
                    </a:cubicBezTo>
                    <a:close/>
                  </a:path>
                </a:pathLst>
              </a:custGeom>
              <a:grpFill/>
              <a:ln w="5978" cap="flat">
                <a:noFill/>
                <a:prstDash val="solid"/>
                <a:miter/>
              </a:ln>
            </p:spPr>
            <p:txBody>
              <a:bodyPr rtlCol="0" anchor="ctr"/>
              <a:lstStyle/>
              <a:p>
                <a:endParaRPr lang="en-GB"/>
              </a:p>
            </p:txBody>
          </p:sp>
          <p:sp>
            <p:nvSpPr>
              <p:cNvPr id="5217" name="Vrije vorm: vorm 5216">
                <a:extLst>
                  <a:ext uri="{FF2B5EF4-FFF2-40B4-BE49-F238E27FC236}">
                    <a16:creationId xmlns:a16="http://schemas.microsoft.com/office/drawing/2014/main" id="{26C8F8C5-8E17-4AA1-9C11-755353EC264C}"/>
                  </a:ext>
                </a:extLst>
              </p:cNvPr>
              <p:cNvSpPr/>
              <p:nvPr/>
            </p:nvSpPr>
            <p:spPr>
              <a:xfrm>
                <a:off x="7831089" y="2834282"/>
                <a:ext cx="18357" cy="18465"/>
              </a:xfrm>
              <a:custGeom>
                <a:avLst/>
                <a:gdLst>
                  <a:gd name="connsiteX0" fmla="*/ 6368 w 18357"/>
                  <a:gd name="connsiteY0" fmla="*/ 441 h 18465"/>
                  <a:gd name="connsiteX1" fmla="*/ 447 w 18357"/>
                  <a:gd name="connsiteY1" fmla="*/ 12043 h 18465"/>
                  <a:gd name="connsiteX2" fmla="*/ 11989 w 18357"/>
                  <a:gd name="connsiteY2" fmla="*/ 18024 h 18465"/>
                  <a:gd name="connsiteX3" fmla="*/ 17911 w 18357"/>
                  <a:gd name="connsiteY3" fmla="*/ 6422 h 18465"/>
                  <a:gd name="connsiteX4" fmla="*/ 6368 w 18357"/>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65">
                    <a:moveTo>
                      <a:pt x="6368" y="441"/>
                    </a:moveTo>
                    <a:cubicBezTo>
                      <a:pt x="1523" y="1996"/>
                      <a:pt x="-1108" y="7199"/>
                      <a:pt x="447" y="12043"/>
                    </a:cubicBezTo>
                    <a:cubicBezTo>
                      <a:pt x="2002" y="16888"/>
                      <a:pt x="7145" y="19579"/>
                      <a:pt x="11989" y="18024"/>
                    </a:cubicBezTo>
                    <a:cubicBezTo>
                      <a:pt x="16834" y="16469"/>
                      <a:pt x="19465" y="11266"/>
                      <a:pt x="17911" y="6422"/>
                    </a:cubicBezTo>
                    <a:cubicBezTo>
                      <a:pt x="16356" y="1577"/>
                      <a:pt x="11153" y="-1114"/>
                      <a:pt x="6368" y="441"/>
                    </a:cubicBezTo>
                    <a:close/>
                  </a:path>
                </a:pathLst>
              </a:custGeom>
              <a:grpFill/>
              <a:ln w="5978" cap="flat">
                <a:noFill/>
                <a:prstDash val="solid"/>
                <a:miter/>
              </a:ln>
            </p:spPr>
            <p:txBody>
              <a:bodyPr rtlCol="0" anchor="ctr"/>
              <a:lstStyle/>
              <a:p>
                <a:endParaRPr lang="en-GB"/>
              </a:p>
            </p:txBody>
          </p:sp>
        </p:grpSp>
        <p:grpSp>
          <p:nvGrpSpPr>
            <p:cNvPr id="53" name="Graphic 3">
              <a:extLst>
                <a:ext uri="{FF2B5EF4-FFF2-40B4-BE49-F238E27FC236}">
                  <a16:creationId xmlns:a16="http://schemas.microsoft.com/office/drawing/2014/main" id="{255106EC-B4D6-4880-8633-CAD3219F1C48}"/>
                </a:ext>
              </a:extLst>
            </p:cNvPr>
            <p:cNvGrpSpPr/>
            <p:nvPr/>
          </p:nvGrpSpPr>
          <p:grpSpPr>
            <a:xfrm>
              <a:off x="7856067" y="3114528"/>
              <a:ext cx="259946" cy="52935"/>
              <a:chOff x="7856067" y="3114528"/>
              <a:chExt cx="259946" cy="52935"/>
            </a:xfrm>
            <a:grpFill/>
          </p:grpSpPr>
          <p:sp>
            <p:nvSpPr>
              <p:cNvPr id="5212" name="Vrije vorm: vorm 5211">
                <a:extLst>
                  <a:ext uri="{FF2B5EF4-FFF2-40B4-BE49-F238E27FC236}">
                    <a16:creationId xmlns:a16="http://schemas.microsoft.com/office/drawing/2014/main" id="{9DC58017-574A-4F2B-93C5-45E06B97A446}"/>
                  </a:ext>
                </a:extLst>
              </p:cNvPr>
              <p:cNvSpPr/>
              <p:nvPr/>
            </p:nvSpPr>
            <p:spPr>
              <a:xfrm>
                <a:off x="7864490" y="3122156"/>
                <a:ext cx="242996" cy="37678"/>
              </a:xfrm>
              <a:custGeom>
                <a:avLst/>
                <a:gdLst>
                  <a:gd name="connsiteX0" fmla="*/ 242578 w 242996"/>
                  <a:gd name="connsiteY0" fmla="*/ 0 h 37678"/>
                  <a:gd name="connsiteX1" fmla="*/ 242997 w 242996"/>
                  <a:gd name="connsiteY1" fmla="*/ 3050 h 37678"/>
                  <a:gd name="connsiteX2" fmla="*/ 478 w 242996"/>
                  <a:gd name="connsiteY2" fmla="*/ 37678 h 37678"/>
                  <a:gd name="connsiteX3" fmla="*/ 0 w 242996"/>
                  <a:gd name="connsiteY3" fmla="*/ 34688 h 37678"/>
                </a:gdLst>
                <a:ahLst/>
                <a:cxnLst>
                  <a:cxn ang="0">
                    <a:pos x="connsiteX0" y="connsiteY0"/>
                  </a:cxn>
                  <a:cxn ang="0">
                    <a:pos x="connsiteX1" y="connsiteY1"/>
                  </a:cxn>
                  <a:cxn ang="0">
                    <a:pos x="connsiteX2" y="connsiteY2"/>
                  </a:cxn>
                  <a:cxn ang="0">
                    <a:pos x="connsiteX3" y="connsiteY3"/>
                  </a:cxn>
                </a:cxnLst>
                <a:rect l="l" t="t" r="r" b="b"/>
                <a:pathLst>
                  <a:path w="242996" h="37678">
                    <a:moveTo>
                      <a:pt x="242578" y="0"/>
                    </a:moveTo>
                    <a:lnTo>
                      <a:pt x="242997" y="3050"/>
                    </a:lnTo>
                    <a:lnTo>
                      <a:pt x="478" y="37678"/>
                    </a:lnTo>
                    <a:lnTo>
                      <a:pt x="0" y="34688"/>
                    </a:lnTo>
                    <a:close/>
                  </a:path>
                </a:pathLst>
              </a:custGeom>
              <a:grpFill/>
              <a:ln w="5978" cap="flat">
                <a:noFill/>
                <a:prstDash val="solid"/>
                <a:miter/>
              </a:ln>
            </p:spPr>
            <p:txBody>
              <a:bodyPr rtlCol="0" anchor="ctr"/>
              <a:lstStyle/>
              <a:p>
                <a:endParaRPr lang="en-GB"/>
              </a:p>
            </p:txBody>
          </p:sp>
          <p:sp>
            <p:nvSpPr>
              <p:cNvPr id="5213" name="Vrije vorm: vorm 5212">
                <a:extLst>
                  <a:ext uri="{FF2B5EF4-FFF2-40B4-BE49-F238E27FC236}">
                    <a16:creationId xmlns:a16="http://schemas.microsoft.com/office/drawing/2014/main" id="{8B09652F-8DE5-49F6-9A97-85F7B1264D8C}"/>
                  </a:ext>
                </a:extLst>
              </p:cNvPr>
              <p:cNvSpPr/>
              <p:nvPr/>
            </p:nvSpPr>
            <p:spPr>
              <a:xfrm>
                <a:off x="8097689" y="3114528"/>
                <a:ext cx="18324" cy="18426"/>
              </a:xfrm>
              <a:custGeom>
                <a:avLst/>
                <a:gdLst>
                  <a:gd name="connsiteX0" fmla="*/ 7824 w 18324"/>
                  <a:gd name="connsiteY0" fmla="*/ 93 h 18426"/>
                  <a:gd name="connsiteX1" fmla="*/ 18231 w 18324"/>
                  <a:gd name="connsiteY1" fmla="*/ 7927 h 18426"/>
                  <a:gd name="connsiteX2" fmla="*/ 10515 w 18324"/>
                  <a:gd name="connsiteY2" fmla="*/ 18334 h 18426"/>
                  <a:gd name="connsiteX3" fmla="*/ 109 w 18324"/>
                  <a:gd name="connsiteY3" fmla="*/ 10499 h 18426"/>
                  <a:gd name="connsiteX4" fmla="*/ 7824 w 18324"/>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6">
                    <a:moveTo>
                      <a:pt x="7824" y="93"/>
                    </a:moveTo>
                    <a:cubicBezTo>
                      <a:pt x="12848" y="-625"/>
                      <a:pt x="17512" y="2904"/>
                      <a:pt x="18231" y="7927"/>
                    </a:cubicBezTo>
                    <a:cubicBezTo>
                      <a:pt x="18948" y="12951"/>
                      <a:pt x="15479" y="17616"/>
                      <a:pt x="10515" y="18334"/>
                    </a:cubicBezTo>
                    <a:cubicBezTo>
                      <a:pt x="5492" y="19051"/>
                      <a:pt x="827" y="15523"/>
                      <a:pt x="109" y="10499"/>
                    </a:cubicBezTo>
                    <a:cubicBezTo>
                      <a:pt x="-669" y="5475"/>
                      <a:pt x="2800" y="810"/>
                      <a:pt x="7824" y="93"/>
                    </a:cubicBezTo>
                    <a:close/>
                  </a:path>
                </a:pathLst>
              </a:custGeom>
              <a:grpFill/>
              <a:ln w="5978" cap="flat">
                <a:noFill/>
                <a:prstDash val="solid"/>
                <a:miter/>
              </a:ln>
            </p:spPr>
            <p:txBody>
              <a:bodyPr rtlCol="0" anchor="ctr"/>
              <a:lstStyle/>
              <a:p>
                <a:endParaRPr lang="en-GB"/>
              </a:p>
            </p:txBody>
          </p:sp>
          <p:sp>
            <p:nvSpPr>
              <p:cNvPr id="5214" name="Vrije vorm: vorm 5213">
                <a:extLst>
                  <a:ext uri="{FF2B5EF4-FFF2-40B4-BE49-F238E27FC236}">
                    <a16:creationId xmlns:a16="http://schemas.microsoft.com/office/drawing/2014/main" id="{4FC977D0-B825-43D9-8B6A-EFC97C60E41A}"/>
                  </a:ext>
                </a:extLst>
              </p:cNvPr>
              <p:cNvSpPr/>
              <p:nvPr/>
            </p:nvSpPr>
            <p:spPr>
              <a:xfrm>
                <a:off x="7856067" y="3149036"/>
                <a:ext cx="18339" cy="18426"/>
              </a:xfrm>
              <a:custGeom>
                <a:avLst/>
                <a:gdLst>
                  <a:gd name="connsiteX0" fmla="*/ 7824 w 18339"/>
                  <a:gd name="connsiteY0" fmla="*/ 93 h 18426"/>
                  <a:gd name="connsiteX1" fmla="*/ 109 w 18339"/>
                  <a:gd name="connsiteY1" fmla="*/ 10499 h 18426"/>
                  <a:gd name="connsiteX2" fmla="*/ 10515 w 18339"/>
                  <a:gd name="connsiteY2" fmla="*/ 18334 h 18426"/>
                  <a:gd name="connsiteX3" fmla="*/ 18231 w 18339"/>
                  <a:gd name="connsiteY3" fmla="*/ 7927 h 18426"/>
                  <a:gd name="connsiteX4" fmla="*/ 7824 w 18339"/>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6">
                    <a:moveTo>
                      <a:pt x="7824" y="93"/>
                    </a:moveTo>
                    <a:cubicBezTo>
                      <a:pt x="2800" y="810"/>
                      <a:pt x="-669" y="5475"/>
                      <a:pt x="109" y="10499"/>
                    </a:cubicBezTo>
                    <a:cubicBezTo>
                      <a:pt x="827" y="15523"/>
                      <a:pt x="5492" y="19052"/>
                      <a:pt x="10515" y="18334"/>
                    </a:cubicBezTo>
                    <a:cubicBezTo>
                      <a:pt x="15539" y="17616"/>
                      <a:pt x="19008" y="12951"/>
                      <a:pt x="18231" y="7927"/>
                    </a:cubicBezTo>
                    <a:cubicBezTo>
                      <a:pt x="17453" y="2904"/>
                      <a:pt x="12788" y="-625"/>
                      <a:pt x="7824" y="93"/>
                    </a:cubicBezTo>
                    <a:close/>
                  </a:path>
                </a:pathLst>
              </a:custGeom>
              <a:grpFill/>
              <a:ln w="5978" cap="flat">
                <a:noFill/>
                <a:prstDash val="solid"/>
                <a:miter/>
              </a:ln>
            </p:spPr>
            <p:txBody>
              <a:bodyPr rtlCol="0" anchor="ctr"/>
              <a:lstStyle/>
              <a:p>
                <a:endParaRPr lang="en-GB"/>
              </a:p>
            </p:txBody>
          </p:sp>
        </p:grpSp>
        <p:grpSp>
          <p:nvGrpSpPr>
            <p:cNvPr id="54" name="Graphic 3">
              <a:extLst>
                <a:ext uri="{FF2B5EF4-FFF2-40B4-BE49-F238E27FC236}">
                  <a16:creationId xmlns:a16="http://schemas.microsoft.com/office/drawing/2014/main" id="{4FCF5329-E5CA-4CE4-8F5C-EA3C73B376D7}"/>
                </a:ext>
              </a:extLst>
            </p:cNvPr>
            <p:cNvGrpSpPr/>
            <p:nvPr/>
          </p:nvGrpSpPr>
          <p:grpSpPr>
            <a:xfrm>
              <a:off x="7819944" y="2828362"/>
              <a:ext cx="171265" cy="64454"/>
              <a:chOff x="7819944" y="2828362"/>
              <a:chExt cx="171265" cy="64454"/>
            </a:xfrm>
            <a:grpFill/>
          </p:grpSpPr>
          <p:sp>
            <p:nvSpPr>
              <p:cNvPr id="5209" name="Vrije vorm: vorm 5208">
                <a:extLst>
                  <a:ext uri="{FF2B5EF4-FFF2-40B4-BE49-F238E27FC236}">
                    <a16:creationId xmlns:a16="http://schemas.microsoft.com/office/drawing/2014/main" id="{4DA32234-C75E-4A8B-A15E-5C2F7E637123}"/>
                  </a:ext>
                </a:extLst>
              </p:cNvPr>
              <p:cNvSpPr/>
              <p:nvPr/>
            </p:nvSpPr>
            <p:spPr>
              <a:xfrm>
                <a:off x="7828246" y="2835979"/>
                <a:ext cx="154661" cy="49221"/>
              </a:xfrm>
              <a:custGeom>
                <a:avLst/>
                <a:gdLst>
                  <a:gd name="connsiteX0" fmla="*/ 153765 w 154661"/>
                  <a:gd name="connsiteY0" fmla="*/ 0 h 49221"/>
                  <a:gd name="connsiteX1" fmla="*/ 154661 w 154661"/>
                  <a:gd name="connsiteY1" fmla="*/ 2930 h 49221"/>
                  <a:gd name="connsiteX2" fmla="*/ 897 w 154661"/>
                  <a:gd name="connsiteY2" fmla="*/ 49221 h 49221"/>
                  <a:gd name="connsiteX3" fmla="*/ 0 w 154661"/>
                  <a:gd name="connsiteY3" fmla="*/ 46231 h 49221"/>
                </a:gdLst>
                <a:ahLst/>
                <a:cxnLst>
                  <a:cxn ang="0">
                    <a:pos x="connsiteX0" y="connsiteY0"/>
                  </a:cxn>
                  <a:cxn ang="0">
                    <a:pos x="connsiteX1" y="connsiteY1"/>
                  </a:cxn>
                  <a:cxn ang="0">
                    <a:pos x="connsiteX2" y="connsiteY2"/>
                  </a:cxn>
                  <a:cxn ang="0">
                    <a:pos x="connsiteX3" y="connsiteY3"/>
                  </a:cxn>
                </a:cxnLst>
                <a:rect l="l" t="t" r="r" b="b"/>
                <a:pathLst>
                  <a:path w="154661" h="49221">
                    <a:moveTo>
                      <a:pt x="153765" y="0"/>
                    </a:moveTo>
                    <a:lnTo>
                      <a:pt x="154661" y="2930"/>
                    </a:lnTo>
                    <a:lnTo>
                      <a:pt x="897" y="49221"/>
                    </a:lnTo>
                    <a:lnTo>
                      <a:pt x="0" y="46231"/>
                    </a:lnTo>
                    <a:close/>
                  </a:path>
                </a:pathLst>
              </a:custGeom>
              <a:grpFill/>
              <a:ln w="5978" cap="flat">
                <a:noFill/>
                <a:prstDash val="solid"/>
                <a:miter/>
              </a:ln>
            </p:spPr>
            <p:txBody>
              <a:bodyPr rtlCol="0" anchor="ctr"/>
              <a:lstStyle/>
              <a:p>
                <a:endParaRPr lang="en-GB"/>
              </a:p>
            </p:txBody>
          </p:sp>
          <p:sp>
            <p:nvSpPr>
              <p:cNvPr id="5210" name="Vrije vorm: vorm 5209">
                <a:extLst>
                  <a:ext uri="{FF2B5EF4-FFF2-40B4-BE49-F238E27FC236}">
                    <a16:creationId xmlns:a16="http://schemas.microsoft.com/office/drawing/2014/main" id="{67021009-AD1F-443B-835C-620439B3A327}"/>
                  </a:ext>
                </a:extLst>
              </p:cNvPr>
              <p:cNvSpPr/>
              <p:nvPr/>
            </p:nvSpPr>
            <p:spPr>
              <a:xfrm>
                <a:off x="7972871" y="2828362"/>
                <a:ext cx="18338" cy="18463"/>
              </a:xfrm>
              <a:custGeom>
                <a:avLst/>
                <a:gdLst>
                  <a:gd name="connsiteX0" fmla="*/ 6508 w 18338"/>
                  <a:gd name="connsiteY0" fmla="*/ 380 h 18463"/>
                  <a:gd name="connsiteX1" fmla="*/ 17931 w 18338"/>
                  <a:gd name="connsiteY1" fmla="*/ 6600 h 18463"/>
                  <a:gd name="connsiteX2" fmla="*/ 11831 w 18338"/>
                  <a:gd name="connsiteY2" fmla="*/ 18083 h 18463"/>
                  <a:gd name="connsiteX3" fmla="*/ 407 w 18338"/>
                  <a:gd name="connsiteY3" fmla="*/ 11863 h 18463"/>
                  <a:gd name="connsiteX4" fmla="*/ 6508 w 18338"/>
                  <a:gd name="connsiteY4" fmla="*/ 380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3">
                    <a:moveTo>
                      <a:pt x="6508" y="380"/>
                    </a:moveTo>
                    <a:cubicBezTo>
                      <a:pt x="11353" y="-1055"/>
                      <a:pt x="16496" y="1696"/>
                      <a:pt x="17931" y="6600"/>
                    </a:cubicBezTo>
                    <a:cubicBezTo>
                      <a:pt x="19426" y="11444"/>
                      <a:pt x="16676" y="16588"/>
                      <a:pt x="11831" y="18083"/>
                    </a:cubicBezTo>
                    <a:cubicBezTo>
                      <a:pt x="6987" y="19518"/>
                      <a:pt x="1843" y="16767"/>
                      <a:pt x="407" y="11863"/>
                    </a:cubicBezTo>
                    <a:cubicBezTo>
                      <a:pt x="-1088" y="7019"/>
                      <a:pt x="1664" y="1875"/>
                      <a:pt x="6508" y="380"/>
                    </a:cubicBezTo>
                    <a:close/>
                  </a:path>
                </a:pathLst>
              </a:custGeom>
              <a:grpFill/>
              <a:ln w="5978" cap="flat">
                <a:noFill/>
                <a:prstDash val="solid"/>
                <a:miter/>
              </a:ln>
            </p:spPr>
            <p:txBody>
              <a:bodyPr rtlCol="0" anchor="ctr"/>
              <a:lstStyle/>
              <a:p>
                <a:endParaRPr lang="en-GB"/>
              </a:p>
            </p:txBody>
          </p:sp>
          <p:sp>
            <p:nvSpPr>
              <p:cNvPr id="5211" name="Vrije vorm: vorm 5210">
                <a:extLst>
                  <a:ext uri="{FF2B5EF4-FFF2-40B4-BE49-F238E27FC236}">
                    <a16:creationId xmlns:a16="http://schemas.microsoft.com/office/drawing/2014/main" id="{5572F803-1CDC-452B-8EA5-D6DFBFB0D37A}"/>
                  </a:ext>
                </a:extLst>
              </p:cNvPr>
              <p:cNvSpPr/>
              <p:nvPr/>
            </p:nvSpPr>
            <p:spPr>
              <a:xfrm>
                <a:off x="7819944" y="2874354"/>
                <a:ext cx="18338" cy="18463"/>
              </a:xfrm>
              <a:custGeom>
                <a:avLst/>
                <a:gdLst>
                  <a:gd name="connsiteX0" fmla="*/ 6508 w 18338"/>
                  <a:gd name="connsiteY0" fmla="*/ 380 h 18463"/>
                  <a:gd name="connsiteX1" fmla="*/ 407 w 18338"/>
                  <a:gd name="connsiteY1" fmla="*/ 11863 h 18463"/>
                  <a:gd name="connsiteX2" fmla="*/ 11831 w 18338"/>
                  <a:gd name="connsiteY2" fmla="*/ 18083 h 18463"/>
                  <a:gd name="connsiteX3" fmla="*/ 17931 w 18338"/>
                  <a:gd name="connsiteY3" fmla="*/ 6600 h 18463"/>
                  <a:gd name="connsiteX4" fmla="*/ 6508 w 18338"/>
                  <a:gd name="connsiteY4" fmla="*/ 380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3">
                    <a:moveTo>
                      <a:pt x="6508" y="380"/>
                    </a:moveTo>
                    <a:cubicBezTo>
                      <a:pt x="1663" y="1816"/>
                      <a:pt x="-1088" y="6959"/>
                      <a:pt x="407" y="11863"/>
                    </a:cubicBezTo>
                    <a:cubicBezTo>
                      <a:pt x="1903" y="16767"/>
                      <a:pt x="6986" y="19518"/>
                      <a:pt x="11831" y="18083"/>
                    </a:cubicBezTo>
                    <a:cubicBezTo>
                      <a:pt x="16675" y="16648"/>
                      <a:pt x="19426" y="11504"/>
                      <a:pt x="17931" y="6600"/>
                    </a:cubicBezTo>
                    <a:cubicBezTo>
                      <a:pt x="16495" y="1696"/>
                      <a:pt x="11352" y="-1055"/>
                      <a:pt x="6508" y="380"/>
                    </a:cubicBezTo>
                    <a:close/>
                  </a:path>
                </a:pathLst>
              </a:custGeom>
              <a:grpFill/>
              <a:ln w="5978" cap="flat">
                <a:noFill/>
                <a:prstDash val="solid"/>
                <a:miter/>
              </a:ln>
            </p:spPr>
            <p:txBody>
              <a:bodyPr rtlCol="0" anchor="ctr"/>
              <a:lstStyle/>
              <a:p>
                <a:endParaRPr lang="en-GB"/>
              </a:p>
            </p:txBody>
          </p:sp>
        </p:grpSp>
        <p:grpSp>
          <p:nvGrpSpPr>
            <p:cNvPr id="55" name="Graphic 3">
              <a:extLst>
                <a:ext uri="{FF2B5EF4-FFF2-40B4-BE49-F238E27FC236}">
                  <a16:creationId xmlns:a16="http://schemas.microsoft.com/office/drawing/2014/main" id="{DD524E87-1DA8-4B0E-8AEF-4B50A90A8C44}"/>
                </a:ext>
              </a:extLst>
            </p:cNvPr>
            <p:cNvGrpSpPr/>
            <p:nvPr/>
          </p:nvGrpSpPr>
          <p:grpSpPr>
            <a:xfrm>
              <a:off x="7395141" y="2072833"/>
              <a:ext cx="574198" cy="370848"/>
              <a:chOff x="7395141" y="2072833"/>
              <a:chExt cx="574198" cy="370848"/>
            </a:xfrm>
            <a:grpFill/>
          </p:grpSpPr>
          <p:sp>
            <p:nvSpPr>
              <p:cNvPr id="5206" name="Vrije vorm: vorm 5205">
                <a:extLst>
                  <a:ext uri="{FF2B5EF4-FFF2-40B4-BE49-F238E27FC236}">
                    <a16:creationId xmlns:a16="http://schemas.microsoft.com/office/drawing/2014/main" id="{B9170EFF-930E-4424-A6FC-4CFAF7804E3E}"/>
                  </a:ext>
                </a:extLst>
              </p:cNvPr>
              <p:cNvSpPr/>
              <p:nvPr/>
            </p:nvSpPr>
            <p:spPr>
              <a:xfrm>
                <a:off x="7403407" y="2080331"/>
                <a:ext cx="558288" cy="355511"/>
              </a:xfrm>
              <a:custGeom>
                <a:avLst/>
                <a:gdLst>
                  <a:gd name="connsiteX0" fmla="*/ 0 w 558288"/>
                  <a:gd name="connsiteY0" fmla="*/ 352935 h 355511"/>
                  <a:gd name="connsiteX1" fmla="*/ 556655 w 558288"/>
                  <a:gd name="connsiteY1" fmla="*/ 0 h 355511"/>
                  <a:gd name="connsiteX2" fmla="*/ 558288 w 558288"/>
                  <a:gd name="connsiteY2" fmla="*/ 2577 h 355511"/>
                  <a:gd name="connsiteX3" fmla="*/ 1633 w 558288"/>
                  <a:gd name="connsiteY3" fmla="*/ 355511 h 355511"/>
                </a:gdLst>
                <a:ahLst/>
                <a:cxnLst>
                  <a:cxn ang="0">
                    <a:pos x="connsiteX0" y="connsiteY0"/>
                  </a:cxn>
                  <a:cxn ang="0">
                    <a:pos x="connsiteX1" y="connsiteY1"/>
                  </a:cxn>
                  <a:cxn ang="0">
                    <a:pos x="connsiteX2" y="connsiteY2"/>
                  </a:cxn>
                  <a:cxn ang="0">
                    <a:pos x="connsiteX3" y="connsiteY3"/>
                  </a:cxn>
                </a:cxnLst>
                <a:rect l="l" t="t" r="r" b="b"/>
                <a:pathLst>
                  <a:path w="558288" h="355511">
                    <a:moveTo>
                      <a:pt x="0" y="352935"/>
                    </a:moveTo>
                    <a:lnTo>
                      <a:pt x="556655" y="0"/>
                    </a:lnTo>
                    <a:lnTo>
                      <a:pt x="558288" y="2577"/>
                    </a:lnTo>
                    <a:lnTo>
                      <a:pt x="1633" y="355511"/>
                    </a:lnTo>
                    <a:close/>
                  </a:path>
                </a:pathLst>
              </a:custGeom>
              <a:grpFill/>
              <a:ln w="5978" cap="flat">
                <a:noFill/>
                <a:prstDash val="solid"/>
                <a:miter/>
              </a:ln>
            </p:spPr>
            <p:txBody>
              <a:bodyPr rtlCol="0" anchor="ctr"/>
              <a:lstStyle/>
              <a:p>
                <a:endParaRPr lang="en-GB"/>
              </a:p>
            </p:txBody>
          </p:sp>
          <p:sp>
            <p:nvSpPr>
              <p:cNvPr id="5207" name="Vrije vorm: vorm 5206">
                <a:extLst>
                  <a:ext uri="{FF2B5EF4-FFF2-40B4-BE49-F238E27FC236}">
                    <a16:creationId xmlns:a16="http://schemas.microsoft.com/office/drawing/2014/main" id="{8CD8B6C6-B490-49A0-880C-8ED57B5E3AE4}"/>
                  </a:ext>
                </a:extLst>
              </p:cNvPr>
              <p:cNvSpPr/>
              <p:nvPr/>
            </p:nvSpPr>
            <p:spPr>
              <a:xfrm>
                <a:off x="7395141" y="2425304"/>
                <a:ext cx="18320" cy="18377"/>
              </a:xfrm>
              <a:custGeom>
                <a:avLst/>
                <a:gdLst>
                  <a:gd name="connsiteX0" fmla="*/ 14036 w 18320"/>
                  <a:gd name="connsiteY0" fmla="*/ 16964 h 18377"/>
                  <a:gd name="connsiteX1" fmla="*/ 1417 w 18320"/>
                  <a:gd name="connsiteY1" fmla="*/ 14093 h 18377"/>
                  <a:gd name="connsiteX2" fmla="*/ 4228 w 18320"/>
                  <a:gd name="connsiteY2" fmla="*/ 1414 h 18377"/>
                  <a:gd name="connsiteX3" fmla="*/ 16907 w 18320"/>
                  <a:gd name="connsiteY3" fmla="*/ 4285 h 18377"/>
                  <a:gd name="connsiteX4" fmla="*/ 14036 w 18320"/>
                  <a:gd name="connsiteY4" fmla="*/ 16964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7">
                    <a:moveTo>
                      <a:pt x="14036" y="16964"/>
                    </a:moveTo>
                    <a:cubicBezTo>
                      <a:pt x="9790" y="19655"/>
                      <a:pt x="4108" y="18399"/>
                      <a:pt x="1417" y="14093"/>
                    </a:cubicBezTo>
                    <a:cubicBezTo>
                      <a:pt x="-1275" y="9787"/>
                      <a:pt x="-18" y="4105"/>
                      <a:pt x="4228" y="1414"/>
                    </a:cubicBezTo>
                    <a:cubicBezTo>
                      <a:pt x="8474" y="-1277"/>
                      <a:pt x="14156" y="-21"/>
                      <a:pt x="16907" y="4285"/>
                    </a:cubicBezTo>
                    <a:cubicBezTo>
                      <a:pt x="19598" y="8591"/>
                      <a:pt x="18342" y="14273"/>
                      <a:pt x="14036" y="16964"/>
                    </a:cubicBezTo>
                    <a:close/>
                  </a:path>
                </a:pathLst>
              </a:custGeom>
              <a:grpFill/>
              <a:ln w="5978" cap="flat">
                <a:noFill/>
                <a:prstDash val="solid"/>
                <a:miter/>
              </a:ln>
            </p:spPr>
            <p:txBody>
              <a:bodyPr rtlCol="0" anchor="ctr"/>
              <a:lstStyle/>
              <a:p>
                <a:endParaRPr lang="en-GB"/>
              </a:p>
            </p:txBody>
          </p:sp>
          <p:sp>
            <p:nvSpPr>
              <p:cNvPr id="5208" name="Vrije vorm: vorm 5207">
                <a:extLst>
                  <a:ext uri="{FF2B5EF4-FFF2-40B4-BE49-F238E27FC236}">
                    <a16:creationId xmlns:a16="http://schemas.microsoft.com/office/drawing/2014/main" id="{E3C2EB86-26BC-45EA-A5DF-54316AD12290}"/>
                  </a:ext>
                </a:extLst>
              </p:cNvPr>
              <p:cNvSpPr/>
              <p:nvPr/>
            </p:nvSpPr>
            <p:spPr>
              <a:xfrm>
                <a:off x="7951023" y="2072833"/>
                <a:ext cx="18316" cy="18430"/>
              </a:xfrm>
              <a:custGeom>
                <a:avLst/>
                <a:gdLst>
                  <a:gd name="connsiteX0" fmla="*/ 14062 w 18316"/>
                  <a:gd name="connsiteY0" fmla="*/ 16990 h 18430"/>
                  <a:gd name="connsiteX1" fmla="*/ 16874 w 18316"/>
                  <a:gd name="connsiteY1" fmla="*/ 4311 h 18430"/>
                  <a:gd name="connsiteX2" fmla="*/ 4254 w 18316"/>
                  <a:gd name="connsiteY2" fmla="*/ 1440 h 18430"/>
                  <a:gd name="connsiteX3" fmla="*/ 1443 w 18316"/>
                  <a:gd name="connsiteY3" fmla="*/ 14120 h 18430"/>
                  <a:gd name="connsiteX4" fmla="*/ 14062 w 18316"/>
                  <a:gd name="connsiteY4" fmla="*/ 1699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0">
                    <a:moveTo>
                      <a:pt x="14062" y="16990"/>
                    </a:moveTo>
                    <a:cubicBezTo>
                      <a:pt x="18309" y="14299"/>
                      <a:pt x="19625" y="8617"/>
                      <a:pt x="16874" y="4311"/>
                    </a:cubicBezTo>
                    <a:cubicBezTo>
                      <a:pt x="14182" y="5"/>
                      <a:pt x="8501" y="-1311"/>
                      <a:pt x="4254" y="1440"/>
                    </a:cubicBezTo>
                    <a:cubicBezTo>
                      <a:pt x="8" y="4132"/>
                      <a:pt x="-1308" y="9814"/>
                      <a:pt x="1443" y="14120"/>
                    </a:cubicBezTo>
                    <a:cubicBezTo>
                      <a:pt x="4135" y="18426"/>
                      <a:pt x="9756" y="19742"/>
                      <a:pt x="14062" y="16990"/>
                    </a:cubicBezTo>
                    <a:close/>
                  </a:path>
                </a:pathLst>
              </a:custGeom>
              <a:grpFill/>
              <a:ln w="5978" cap="flat">
                <a:noFill/>
                <a:prstDash val="solid"/>
                <a:miter/>
              </a:ln>
            </p:spPr>
            <p:txBody>
              <a:bodyPr rtlCol="0" anchor="ctr"/>
              <a:lstStyle/>
              <a:p>
                <a:endParaRPr lang="en-GB"/>
              </a:p>
            </p:txBody>
          </p:sp>
        </p:grpSp>
        <p:grpSp>
          <p:nvGrpSpPr>
            <p:cNvPr id="56" name="Graphic 3">
              <a:extLst>
                <a:ext uri="{FF2B5EF4-FFF2-40B4-BE49-F238E27FC236}">
                  <a16:creationId xmlns:a16="http://schemas.microsoft.com/office/drawing/2014/main" id="{C48E2455-622B-45E1-B71E-78A9BEFB5C80}"/>
                </a:ext>
              </a:extLst>
            </p:cNvPr>
            <p:cNvGrpSpPr/>
            <p:nvPr/>
          </p:nvGrpSpPr>
          <p:grpSpPr>
            <a:xfrm>
              <a:off x="7386637" y="1594063"/>
              <a:ext cx="256474" cy="292016"/>
              <a:chOff x="7386637" y="1594063"/>
              <a:chExt cx="256474" cy="292016"/>
            </a:xfrm>
            <a:grpFill/>
          </p:grpSpPr>
          <p:sp>
            <p:nvSpPr>
              <p:cNvPr id="5203" name="Vrije vorm: vorm 5202">
                <a:extLst>
                  <a:ext uri="{FF2B5EF4-FFF2-40B4-BE49-F238E27FC236}">
                    <a16:creationId xmlns:a16="http://schemas.microsoft.com/office/drawing/2014/main" id="{813CC4D8-9C6E-432E-9C1D-431B84EB8398}"/>
                  </a:ext>
                </a:extLst>
              </p:cNvPr>
              <p:cNvSpPr/>
              <p:nvPr/>
            </p:nvSpPr>
            <p:spPr>
              <a:xfrm>
                <a:off x="7394345" y="1601917"/>
                <a:ext cx="241082" cy="276309"/>
              </a:xfrm>
              <a:custGeom>
                <a:avLst/>
                <a:gdLst>
                  <a:gd name="connsiteX0" fmla="*/ 241083 w 241082"/>
                  <a:gd name="connsiteY0" fmla="*/ 2033 h 276309"/>
                  <a:gd name="connsiteX1" fmla="*/ 2333 w 241082"/>
                  <a:gd name="connsiteY1" fmla="*/ 276309 h 276309"/>
                  <a:gd name="connsiteX2" fmla="*/ 0 w 241082"/>
                  <a:gd name="connsiteY2" fmla="*/ 274276 h 276309"/>
                  <a:gd name="connsiteX3" fmla="*/ 238810 w 241082"/>
                  <a:gd name="connsiteY3" fmla="*/ 0 h 276309"/>
                </a:gdLst>
                <a:ahLst/>
                <a:cxnLst>
                  <a:cxn ang="0">
                    <a:pos x="connsiteX0" y="connsiteY0"/>
                  </a:cxn>
                  <a:cxn ang="0">
                    <a:pos x="connsiteX1" y="connsiteY1"/>
                  </a:cxn>
                  <a:cxn ang="0">
                    <a:pos x="connsiteX2" y="connsiteY2"/>
                  </a:cxn>
                  <a:cxn ang="0">
                    <a:pos x="connsiteX3" y="connsiteY3"/>
                  </a:cxn>
                </a:cxnLst>
                <a:rect l="l" t="t" r="r" b="b"/>
                <a:pathLst>
                  <a:path w="241082" h="276309">
                    <a:moveTo>
                      <a:pt x="241083" y="2033"/>
                    </a:moveTo>
                    <a:lnTo>
                      <a:pt x="2333" y="276309"/>
                    </a:lnTo>
                    <a:lnTo>
                      <a:pt x="0" y="274276"/>
                    </a:lnTo>
                    <a:lnTo>
                      <a:pt x="238810" y="0"/>
                    </a:lnTo>
                    <a:close/>
                  </a:path>
                </a:pathLst>
              </a:custGeom>
              <a:grpFill/>
              <a:ln w="5978" cap="flat">
                <a:noFill/>
                <a:prstDash val="solid"/>
                <a:miter/>
              </a:ln>
            </p:spPr>
            <p:txBody>
              <a:bodyPr rtlCol="0" anchor="ctr"/>
              <a:lstStyle/>
              <a:p>
                <a:endParaRPr lang="en-GB"/>
              </a:p>
            </p:txBody>
          </p:sp>
          <p:sp>
            <p:nvSpPr>
              <p:cNvPr id="5204" name="Vrije vorm: vorm 5203">
                <a:extLst>
                  <a:ext uri="{FF2B5EF4-FFF2-40B4-BE49-F238E27FC236}">
                    <a16:creationId xmlns:a16="http://schemas.microsoft.com/office/drawing/2014/main" id="{DBEED19E-2CD6-40EE-8E5C-52EB330194DF}"/>
                  </a:ext>
                </a:extLst>
              </p:cNvPr>
              <p:cNvSpPr/>
              <p:nvPr/>
            </p:nvSpPr>
            <p:spPr>
              <a:xfrm>
                <a:off x="7624814" y="1594063"/>
                <a:ext cx="18297" cy="18398"/>
              </a:xfrm>
              <a:custGeom>
                <a:avLst/>
                <a:gdLst>
                  <a:gd name="connsiteX0" fmla="*/ 2241 w 18297"/>
                  <a:gd name="connsiteY0" fmla="*/ 3129 h 18398"/>
                  <a:gd name="connsiteX1" fmla="*/ 15159 w 18297"/>
                  <a:gd name="connsiteY1" fmla="*/ 2291 h 18398"/>
                  <a:gd name="connsiteX2" fmla="*/ 16057 w 18297"/>
                  <a:gd name="connsiteY2" fmla="*/ 15269 h 18398"/>
                  <a:gd name="connsiteX3" fmla="*/ 3138 w 18297"/>
                  <a:gd name="connsiteY3" fmla="*/ 16107 h 18398"/>
                  <a:gd name="connsiteX4" fmla="*/ 2241 w 18297"/>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8">
                    <a:moveTo>
                      <a:pt x="2241" y="3129"/>
                    </a:moveTo>
                    <a:cubicBezTo>
                      <a:pt x="5590" y="-699"/>
                      <a:pt x="11332" y="-1058"/>
                      <a:pt x="15159" y="2291"/>
                    </a:cubicBezTo>
                    <a:cubicBezTo>
                      <a:pt x="18987" y="5641"/>
                      <a:pt x="19346" y="11442"/>
                      <a:pt x="16057" y="15269"/>
                    </a:cubicBezTo>
                    <a:cubicBezTo>
                      <a:pt x="12707" y="19097"/>
                      <a:pt x="6966" y="19456"/>
                      <a:pt x="3138" y="16107"/>
                    </a:cubicBezTo>
                    <a:cubicBezTo>
                      <a:pt x="-690" y="12758"/>
                      <a:pt x="-1048" y="6956"/>
                      <a:pt x="2241" y="3129"/>
                    </a:cubicBezTo>
                    <a:close/>
                  </a:path>
                </a:pathLst>
              </a:custGeom>
              <a:grpFill/>
              <a:ln w="5978" cap="flat">
                <a:noFill/>
                <a:prstDash val="solid"/>
                <a:miter/>
              </a:ln>
            </p:spPr>
            <p:txBody>
              <a:bodyPr rtlCol="0" anchor="ctr"/>
              <a:lstStyle/>
              <a:p>
                <a:endParaRPr lang="en-GB"/>
              </a:p>
            </p:txBody>
          </p:sp>
          <p:sp>
            <p:nvSpPr>
              <p:cNvPr id="5205" name="Vrije vorm: vorm 5204">
                <a:extLst>
                  <a:ext uri="{FF2B5EF4-FFF2-40B4-BE49-F238E27FC236}">
                    <a16:creationId xmlns:a16="http://schemas.microsoft.com/office/drawing/2014/main" id="{5BEFFFCE-B278-40DB-AFFF-58E1C2E821A1}"/>
                  </a:ext>
                </a:extLst>
              </p:cNvPr>
              <p:cNvSpPr/>
              <p:nvPr/>
            </p:nvSpPr>
            <p:spPr>
              <a:xfrm>
                <a:off x="7386637" y="1867657"/>
                <a:ext cx="18346" cy="18422"/>
              </a:xfrm>
              <a:custGeom>
                <a:avLst/>
                <a:gdLst>
                  <a:gd name="connsiteX0" fmla="*/ 2265 w 18346"/>
                  <a:gd name="connsiteY0" fmla="*/ 3153 h 18422"/>
                  <a:gd name="connsiteX1" fmla="*/ 3163 w 18346"/>
                  <a:gd name="connsiteY1" fmla="*/ 16131 h 18422"/>
                  <a:gd name="connsiteX2" fmla="*/ 16081 w 18346"/>
                  <a:gd name="connsiteY2" fmla="*/ 15294 h 18422"/>
                  <a:gd name="connsiteX3" fmla="*/ 15184 w 18346"/>
                  <a:gd name="connsiteY3" fmla="*/ 2316 h 18422"/>
                  <a:gd name="connsiteX4" fmla="*/ 2265 w 18346"/>
                  <a:gd name="connsiteY4" fmla="*/ 3153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2">
                    <a:moveTo>
                      <a:pt x="2265" y="3153"/>
                    </a:moveTo>
                    <a:cubicBezTo>
                      <a:pt x="-1084" y="6980"/>
                      <a:pt x="-665" y="12782"/>
                      <a:pt x="3163" y="16131"/>
                    </a:cubicBezTo>
                    <a:cubicBezTo>
                      <a:pt x="6990" y="19480"/>
                      <a:pt x="12792" y="19121"/>
                      <a:pt x="16081" y="15294"/>
                    </a:cubicBezTo>
                    <a:cubicBezTo>
                      <a:pt x="19430" y="11466"/>
                      <a:pt x="19012" y="5665"/>
                      <a:pt x="15184" y="2316"/>
                    </a:cubicBezTo>
                    <a:cubicBezTo>
                      <a:pt x="11416" y="-1094"/>
                      <a:pt x="5615" y="-675"/>
                      <a:pt x="2265" y="3153"/>
                    </a:cubicBezTo>
                    <a:close/>
                  </a:path>
                </a:pathLst>
              </a:custGeom>
              <a:grpFill/>
              <a:ln w="5978" cap="flat">
                <a:noFill/>
                <a:prstDash val="solid"/>
                <a:miter/>
              </a:ln>
            </p:spPr>
            <p:txBody>
              <a:bodyPr rtlCol="0" anchor="ctr"/>
              <a:lstStyle/>
              <a:p>
                <a:endParaRPr lang="en-GB"/>
              </a:p>
            </p:txBody>
          </p:sp>
        </p:grpSp>
        <p:grpSp>
          <p:nvGrpSpPr>
            <p:cNvPr id="57" name="Graphic 3">
              <a:extLst>
                <a:ext uri="{FF2B5EF4-FFF2-40B4-BE49-F238E27FC236}">
                  <a16:creationId xmlns:a16="http://schemas.microsoft.com/office/drawing/2014/main" id="{F21C3C2F-7CAD-40BE-A5DE-4AE1AD35985A}"/>
                </a:ext>
              </a:extLst>
            </p:cNvPr>
            <p:cNvGrpSpPr/>
            <p:nvPr/>
          </p:nvGrpSpPr>
          <p:grpSpPr>
            <a:xfrm>
              <a:off x="7694677" y="2984209"/>
              <a:ext cx="474922" cy="79235"/>
              <a:chOff x="7694677" y="2984209"/>
              <a:chExt cx="474922" cy="79235"/>
            </a:xfrm>
            <a:grpFill/>
          </p:grpSpPr>
          <p:sp>
            <p:nvSpPr>
              <p:cNvPr id="5200" name="Vrije vorm: vorm 5199">
                <a:extLst>
                  <a:ext uri="{FF2B5EF4-FFF2-40B4-BE49-F238E27FC236}">
                    <a16:creationId xmlns:a16="http://schemas.microsoft.com/office/drawing/2014/main" id="{742E712F-9931-4D3B-A7C5-F404255536F0}"/>
                  </a:ext>
                </a:extLst>
              </p:cNvPr>
              <p:cNvSpPr/>
              <p:nvPr/>
            </p:nvSpPr>
            <p:spPr>
              <a:xfrm>
                <a:off x="7703190" y="2991836"/>
                <a:ext cx="457883" cy="63993"/>
              </a:xfrm>
              <a:custGeom>
                <a:avLst/>
                <a:gdLst>
                  <a:gd name="connsiteX0" fmla="*/ 457525 w 457883"/>
                  <a:gd name="connsiteY0" fmla="*/ 0 h 63993"/>
                  <a:gd name="connsiteX1" fmla="*/ 457884 w 457883"/>
                  <a:gd name="connsiteY1" fmla="*/ 3050 h 63993"/>
                  <a:gd name="connsiteX2" fmla="*/ 418 w 457883"/>
                  <a:gd name="connsiteY2" fmla="*/ 63994 h 63993"/>
                  <a:gd name="connsiteX3" fmla="*/ 0 w 457883"/>
                  <a:gd name="connsiteY3" fmla="*/ 60944 h 63993"/>
                </a:gdLst>
                <a:ahLst/>
                <a:cxnLst>
                  <a:cxn ang="0">
                    <a:pos x="connsiteX0" y="connsiteY0"/>
                  </a:cxn>
                  <a:cxn ang="0">
                    <a:pos x="connsiteX1" y="connsiteY1"/>
                  </a:cxn>
                  <a:cxn ang="0">
                    <a:pos x="connsiteX2" y="connsiteY2"/>
                  </a:cxn>
                  <a:cxn ang="0">
                    <a:pos x="connsiteX3" y="connsiteY3"/>
                  </a:cxn>
                </a:cxnLst>
                <a:rect l="l" t="t" r="r" b="b"/>
                <a:pathLst>
                  <a:path w="457883" h="63993">
                    <a:moveTo>
                      <a:pt x="457525" y="0"/>
                    </a:moveTo>
                    <a:lnTo>
                      <a:pt x="457884" y="3050"/>
                    </a:lnTo>
                    <a:lnTo>
                      <a:pt x="418" y="63994"/>
                    </a:lnTo>
                    <a:lnTo>
                      <a:pt x="0" y="60944"/>
                    </a:lnTo>
                    <a:close/>
                  </a:path>
                </a:pathLst>
              </a:custGeom>
              <a:grpFill/>
              <a:ln w="5978" cap="flat">
                <a:noFill/>
                <a:prstDash val="solid"/>
                <a:miter/>
              </a:ln>
            </p:spPr>
            <p:txBody>
              <a:bodyPr rtlCol="0" anchor="ctr"/>
              <a:lstStyle/>
              <a:p>
                <a:endParaRPr lang="en-GB"/>
              </a:p>
            </p:txBody>
          </p:sp>
          <p:sp>
            <p:nvSpPr>
              <p:cNvPr id="5201" name="Vrije vorm: vorm 5200">
                <a:extLst>
                  <a:ext uri="{FF2B5EF4-FFF2-40B4-BE49-F238E27FC236}">
                    <a16:creationId xmlns:a16="http://schemas.microsoft.com/office/drawing/2014/main" id="{051BCD54-FB63-4669-A017-7E29B7A9E5E1}"/>
                  </a:ext>
                </a:extLst>
              </p:cNvPr>
              <p:cNvSpPr/>
              <p:nvPr/>
            </p:nvSpPr>
            <p:spPr>
              <a:xfrm>
                <a:off x="7694677" y="3045046"/>
                <a:ext cx="18341" cy="18398"/>
              </a:xfrm>
              <a:custGeom>
                <a:avLst/>
                <a:gdLst>
                  <a:gd name="connsiteX0" fmla="*/ 10427 w 18341"/>
                  <a:gd name="connsiteY0" fmla="*/ 18320 h 18398"/>
                  <a:gd name="connsiteX1" fmla="*/ 80 w 18341"/>
                  <a:gd name="connsiteY1" fmla="*/ 10425 h 18398"/>
                  <a:gd name="connsiteX2" fmla="*/ 7914 w 18341"/>
                  <a:gd name="connsiteY2" fmla="*/ 79 h 18398"/>
                  <a:gd name="connsiteX3" fmla="*/ 18262 w 18341"/>
                  <a:gd name="connsiteY3" fmla="*/ 7973 h 18398"/>
                  <a:gd name="connsiteX4" fmla="*/ 10427 w 18341"/>
                  <a:gd name="connsiteY4" fmla="*/ 1832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8">
                    <a:moveTo>
                      <a:pt x="10427" y="18320"/>
                    </a:moveTo>
                    <a:cubicBezTo>
                      <a:pt x="5403" y="18978"/>
                      <a:pt x="798" y="15449"/>
                      <a:pt x="80" y="10425"/>
                    </a:cubicBezTo>
                    <a:cubicBezTo>
                      <a:pt x="-578" y="5402"/>
                      <a:pt x="2891" y="737"/>
                      <a:pt x="7914" y="79"/>
                    </a:cubicBezTo>
                    <a:cubicBezTo>
                      <a:pt x="12939" y="-579"/>
                      <a:pt x="17544" y="2950"/>
                      <a:pt x="18262" y="7973"/>
                    </a:cubicBezTo>
                    <a:cubicBezTo>
                      <a:pt x="18919" y="13057"/>
                      <a:pt x="15450" y="17662"/>
                      <a:pt x="10427" y="18320"/>
                    </a:cubicBezTo>
                    <a:close/>
                  </a:path>
                </a:pathLst>
              </a:custGeom>
              <a:grpFill/>
              <a:ln w="5978" cap="flat">
                <a:noFill/>
                <a:prstDash val="solid"/>
                <a:miter/>
              </a:ln>
            </p:spPr>
            <p:txBody>
              <a:bodyPr rtlCol="0" anchor="ctr"/>
              <a:lstStyle/>
              <a:p>
                <a:endParaRPr lang="en-GB"/>
              </a:p>
            </p:txBody>
          </p:sp>
          <p:sp>
            <p:nvSpPr>
              <p:cNvPr id="5202" name="Vrije vorm: vorm 5201">
                <a:extLst>
                  <a:ext uri="{FF2B5EF4-FFF2-40B4-BE49-F238E27FC236}">
                    <a16:creationId xmlns:a16="http://schemas.microsoft.com/office/drawing/2014/main" id="{09B50CC8-E9C8-4362-BC3A-2C3EA6C22844}"/>
                  </a:ext>
                </a:extLst>
              </p:cNvPr>
              <p:cNvSpPr/>
              <p:nvPr/>
            </p:nvSpPr>
            <p:spPr>
              <a:xfrm>
                <a:off x="8151232" y="2984209"/>
                <a:ext cx="18367" cy="18411"/>
              </a:xfrm>
              <a:custGeom>
                <a:avLst/>
                <a:gdLst>
                  <a:gd name="connsiteX0" fmla="*/ 10439 w 18367"/>
                  <a:gd name="connsiteY0" fmla="*/ 18333 h 18411"/>
                  <a:gd name="connsiteX1" fmla="*/ 18274 w 18367"/>
                  <a:gd name="connsiteY1" fmla="*/ 7986 h 18411"/>
                  <a:gd name="connsiteX2" fmla="*/ 7928 w 18367"/>
                  <a:gd name="connsiteY2" fmla="*/ 91 h 18411"/>
                  <a:gd name="connsiteX3" fmla="*/ 93 w 18367"/>
                  <a:gd name="connsiteY3" fmla="*/ 10438 h 18411"/>
                  <a:gd name="connsiteX4" fmla="*/ 10439 w 18367"/>
                  <a:gd name="connsiteY4" fmla="*/ 1833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11">
                    <a:moveTo>
                      <a:pt x="10439" y="18333"/>
                    </a:moveTo>
                    <a:cubicBezTo>
                      <a:pt x="15464" y="17675"/>
                      <a:pt x="18992" y="13010"/>
                      <a:pt x="18274" y="7986"/>
                    </a:cubicBezTo>
                    <a:cubicBezTo>
                      <a:pt x="17617" y="2962"/>
                      <a:pt x="12951" y="-626"/>
                      <a:pt x="7928" y="91"/>
                    </a:cubicBezTo>
                    <a:cubicBezTo>
                      <a:pt x="2903" y="749"/>
                      <a:pt x="-625" y="5414"/>
                      <a:pt x="93" y="10438"/>
                    </a:cubicBezTo>
                    <a:cubicBezTo>
                      <a:pt x="810" y="15462"/>
                      <a:pt x="5416" y="18991"/>
                      <a:pt x="10439" y="18333"/>
                    </a:cubicBezTo>
                    <a:close/>
                  </a:path>
                </a:pathLst>
              </a:custGeom>
              <a:grpFill/>
              <a:ln w="5978" cap="flat">
                <a:noFill/>
                <a:prstDash val="solid"/>
                <a:miter/>
              </a:ln>
            </p:spPr>
            <p:txBody>
              <a:bodyPr rtlCol="0" anchor="ctr"/>
              <a:lstStyle/>
              <a:p>
                <a:endParaRPr lang="en-GB"/>
              </a:p>
            </p:txBody>
          </p:sp>
        </p:grpSp>
        <p:grpSp>
          <p:nvGrpSpPr>
            <p:cNvPr id="58" name="Graphic 3">
              <a:extLst>
                <a:ext uri="{FF2B5EF4-FFF2-40B4-BE49-F238E27FC236}">
                  <a16:creationId xmlns:a16="http://schemas.microsoft.com/office/drawing/2014/main" id="{47F6DE90-34E1-4241-AF4E-DC2E7D7B097E}"/>
                </a:ext>
              </a:extLst>
            </p:cNvPr>
            <p:cNvGrpSpPr/>
            <p:nvPr/>
          </p:nvGrpSpPr>
          <p:grpSpPr>
            <a:xfrm>
              <a:off x="7754425" y="2724726"/>
              <a:ext cx="190404" cy="80977"/>
              <a:chOff x="7754425" y="2724726"/>
              <a:chExt cx="190404" cy="80977"/>
            </a:xfrm>
            <a:grpFill/>
          </p:grpSpPr>
          <p:sp>
            <p:nvSpPr>
              <p:cNvPr id="5197" name="Vrije vorm: vorm 5196">
                <a:extLst>
                  <a:ext uri="{FF2B5EF4-FFF2-40B4-BE49-F238E27FC236}">
                    <a16:creationId xmlns:a16="http://schemas.microsoft.com/office/drawing/2014/main" id="{8CBEA69E-8D6A-4ED3-A1EE-A18CAC8B2AB4}"/>
                  </a:ext>
                </a:extLst>
              </p:cNvPr>
              <p:cNvSpPr/>
              <p:nvPr/>
            </p:nvSpPr>
            <p:spPr>
              <a:xfrm>
                <a:off x="7762512" y="2732598"/>
                <a:ext cx="174064" cy="65714"/>
              </a:xfrm>
              <a:custGeom>
                <a:avLst/>
                <a:gdLst>
                  <a:gd name="connsiteX0" fmla="*/ 0 w 174064"/>
                  <a:gd name="connsiteY0" fmla="*/ 62847 h 65714"/>
                  <a:gd name="connsiteX1" fmla="*/ 173023 w 174064"/>
                  <a:gd name="connsiteY1" fmla="*/ 0 h 65714"/>
                  <a:gd name="connsiteX2" fmla="*/ 174065 w 174064"/>
                  <a:gd name="connsiteY2" fmla="*/ 2867 h 65714"/>
                  <a:gd name="connsiteX3" fmla="*/ 1042 w 174064"/>
                  <a:gd name="connsiteY3" fmla="*/ 65714 h 65714"/>
                </a:gdLst>
                <a:ahLst/>
                <a:cxnLst>
                  <a:cxn ang="0">
                    <a:pos x="connsiteX0" y="connsiteY0"/>
                  </a:cxn>
                  <a:cxn ang="0">
                    <a:pos x="connsiteX1" y="connsiteY1"/>
                  </a:cxn>
                  <a:cxn ang="0">
                    <a:pos x="connsiteX2" y="connsiteY2"/>
                  </a:cxn>
                  <a:cxn ang="0">
                    <a:pos x="connsiteX3" y="connsiteY3"/>
                  </a:cxn>
                </a:cxnLst>
                <a:rect l="l" t="t" r="r" b="b"/>
                <a:pathLst>
                  <a:path w="174064" h="65714">
                    <a:moveTo>
                      <a:pt x="0" y="62847"/>
                    </a:moveTo>
                    <a:lnTo>
                      <a:pt x="173023" y="0"/>
                    </a:lnTo>
                    <a:lnTo>
                      <a:pt x="174065" y="2867"/>
                    </a:lnTo>
                    <a:lnTo>
                      <a:pt x="1042" y="65714"/>
                    </a:lnTo>
                    <a:close/>
                  </a:path>
                </a:pathLst>
              </a:custGeom>
              <a:grpFill/>
              <a:ln w="5978" cap="flat">
                <a:noFill/>
                <a:prstDash val="solid"/>
                <a:miter/>
              </a:ln>
            </p:spPr>
            <p:txBody>
              <a:bodyPr rtlCol="0" anchor="ctr"/>
              <a:lstStyle/>
              <a:p>
                <a:endParaRPr lang="en-GB"/>
              </a:p>
            </p:txBody>
          </p:sp>
          <p:sp>
            <p:nvSpPr>
              <p:cNvPr id="5198" name="Vrije vorm: vorm 5197">
                <a:extLst>
                  <a:ext uri="{FF2B5EF4-FFF2-40B4-BE49-F238E27FC236}">
                    <a16:creationId xmlns:a16="http://schemas.microsoft.com/office/drawing/2014/main" id="{5754447E-88B8-465C-ADA9-F597EFEE0F15}"/>
                  </a:ext>
                </a:extLst>
              </p:cNvPr>
              <p:cNvSpPr/>
              <p:nvPr/>
            </p:nvSpPr>
            <p:spPr>
              <a:xfrm>
                <a:off x="7926550" y="2724726"/>
                <a:ext cx="18279" cy="18442"/>
              </a:xfrm>
              <a:custGeom>
                <a:avLst/>
                <a:gdLst>
                  <a:gd name="connsiteX0" fmla="*/ 6000 w 18279"/>
                  <a:gd name="connsiteY0" fmla="*/ 549 h 18442"/>
                  <a:gd name="connsiteX1" fmla="*/ 17722 w 18279"/>
                  <a:gd name="connsiteY1" fmla="*/ 6111 h 18442"/>
                  <a:gd name="connsiteX2" fmla="*/ 12279 w 18279"/>
                  <a:gd name="connsiteY2" fmla="*/ 17894 h 18442"/>
                  <a:gd name="connsiteX3" fmla="*/ 557 w 18279"/>
                  <a:gd name="connsiteY3" fmla="*/ 12331 h 18442"/>
                  <a:gd name="connsiteX4" fmla="*/ 6000 w 18279"/>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9" h="18442">
                    <a:moveTo>
                      <a:pt x="6000" y="549"/>
                    </a:moveTo>
                    <a:cubicBezTo>
                      <a:pt x="10724" y="-1185"/>
                      <a:pt x="15987" y="1327"/>
                      <a:pt x="17722" y="6111"/>
                    </a:cubicBezTo>
                    <a:cubicBezTo>
                      <a:pt x="19457" y="10896"/>
                      <a:pt x="17004" y="16159"/>
                      <a:pt x="12279" y="17894"/>
                    </a:cubicBezTo>
                    <a:cubicBezTo>
                      <a:pt x="7555" y="19628"/>
                      <a:pt x="2292" y="17116"/>
                      <a:pt x="557" y="12331"/>
                    </a:cubicBezTo>
                    <a:cubicBezTo>
                      <a:pt x="-1177" y="7547"/>
                      <a:pt x="1275" y="2284"/>
                      <a:pt x="6000" y="549"/>
                    </a:cubicBezTo>
                    <a:close/>
                  </a:path>
                </a:pathLst>
              </a:custGeom>
              <a:grpFill/>
              <a:ln w="5978" cap="flat">
                <a:noFill/>
                <a:prstDash val="solid"/>
                <a:miter/>
              </a:ln>
            </p:spPr>
            <p:txBody>
              <a:bodyPr rtlCol="0" anchor="ctr"/>
              <a:lstStyle/>
              <a:p>
                <a:endParaRPr lang="en-GB"/>
              </a:p>
            </p:txBody>
          </p:sp>
          <p:sp>
            <p:nvSpPr>
              <p:cNvPr id="5199" name="Vrije vorm: vorm 5198">
                <a:extLst>
                  <a:ext uri="{FF2B5EF4-FFF2-40B4-BE49-F238E27FC236}">
                    <a16:creationId xmlns:a16="http://schemas.microsoft.com/office/drawing/2014/main" id="{5D3AD73C-B4FB-44F3-B586-6DD69B696525}"/>
                  </a:ext>
                </a:extLst>
              </p:cNvPr>
              <p:cNvSpPr/>
              <p:nvPr/>
            </p:nvSpPr>
            <p:spPr>
              <a:xfrm>
                <a:off x="7754425" y="2787278"/>
                <a:ext cx="18338" cy="18425"/>
              </a:xfrm>
              <a:custGeom>
                <a:avLst/>
                <a:gdLst>
                  <a:gd name="connsiteX0" fmla="*/ 6000 w 18338"/>
                  <a:gd name="connsiteY0" fmla="*/ 556 h 18425"/>
                  <a:gd name="connsiteX1" fmla="*/ 557 w 18338"/>
                  <a:gd name="connsiteY1" fmla="*/ 12338 h 18425"/>
                  <a:gd name="connsiteX2" fmla="*/ 12340 w 18338"/>
                  <a:gd name="connsiteY2" fmla="*/ 17900 h 18425"/>
                  <a:gd name="connsiteX3" fmla="*/ 17782 w 18338"/>
                  <a:gd name="connsiteY3" fmla="*/ 6118 h 18425"/>
                  <a:gd name="connsiteX4" fmla="*/ 6000 w 18338"/>
                  <a:gd name="connsiteY4" fmla="*/ 556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5">
                    <a:moveTo>
                      <a:pt x="6000" y="556"/>
                    </a:moveTo>
                    <a:cubicBezTo>
                      <a:pt x="1275" y="2290"/>
                      <a:pt x="-1177" y="7553"/>
                      <a:pt x="557" y="12338"/>
                    </a:cubicBezTo>
                    <a:cubicBezTo>
                      <a:pt x="2292" y="17123"/>
                      <a:pt x="7555" y="19575"/>
                      <a:pt x="12340" y="17900"/>
                    </a:cubicBezTo>
                    <a:cubicBezTo>
                      <a:pt x="17064" y="16166"/>
                      <a:pt x="19516" y="10903"/>
                      <a:pt x="17782" y="6118"/>
                    </a:cubicBezTo>
                    <a:cubicBezTo>
                      <a:pt x="15988" y="1274"/>
                      <a:pt x="10725" y="-1178"/>
                      <a:pt x="6000" y="556"/>
                    </a:cubicBezTo>
                    <a:close/>
                  </a:path>
                </a:pathLst>
              </a:custGeom>
              <a:grpFill/>
              <a:ln w="5978" cap="flat">
                <a:noFill/>
                <a:prstDash val="solid"/>
                <a:miter/>
              </a:ln>
            </p:spPr>
            <p:txBody>
              <a:bodyPr rtlCol="0" anchor="ctr"/>
              <a:lstStyle/>
              <a:p>
                <a:endParaRPr lang="en-GB"/>
              </a:p>
            </p:txBody>
          </p:sp>
        </p:grpSp>
        <p:grpSp>
          <p:nvGrpSpPr>
            <p:cNvPr id="59" name="Graphic 3">
              <a:extLst>
                <a:ext uri="{FF2B5EF4-FFF2-40B4-BE49-F238E27FC236}">
                  <a16:creationId xmlns:a16="http://schemas.microsoft.com/office/drawing/2014/main" id="{2CBDD3E8-D06B-423C-A95B-E385CD061602}"/>
                </a:ext>
              </a:extLst>
            </p:cNvPr>
            <p:cNvGrpSpPr/>
            <p:nvPr/>
          </p:nvGrpSpPr>
          <p:grpSpPr>
            <a:xfrm>
              <a:off x="7422868" y="2136949"/>
              <a:ext cx="529244" cy="325595"/>
              <a:chOff x="7422868" y="2136949"/>
              <a:chExt cx="529244" cy="325595"/>
            </a:xfrm>
            <a:grpFill/>
          </p:grpSpPr>
          <p:sp>
            <p:nvSpPr>
              <p:cNvPr id="5194" name="Vrije vorm: vorm 5193">
                <a:extLst>
                  <a:ext uri="{FF2B5EF4-FFF2-40B4-BE49-F238E27FC236}">
                    <a16:creationId xmlns:a16="http://schemas.microsoft.com/office/drawing/2014/main" id="{5F6B0519-5059-4A50-B754-04A50362CB2A}"/>
                  </a:ext>
                </a:extLst>
              </p:cNvPr>
              <p:cNvSpPr/>
              <p:nvPr/>
            </p:nvSpPr>
            <p:spPr>
              <a:xfrm>
                <a:off x="7430827" y="2144607"/>
                <a:ext cx="513325" cy="310219"/>
              </a:xfrm>
              <a:custGeom>
                <a:avLst/>
                <a:gdLst>
                  <a:gd name="connsiteX0" fmla="*/ 513325 w 513325"/>
                  <a:gd name="connsiteY0" fmla="*/ 2632 h 310219"/>
                  <a:gd name="connsiteX1" fmla="*/ 1615 w 513325"/>
                  <a:gd name="connsiteY1" fmla="*/ 310220 h 310219"/>
                  <a:gd name="connsiteX2" fmla="*/ 0 w 513325"/>
                  <a:gd name="connsiteY2" fmla="*/ 307588 h 310219"/>
                  <a:gd name="connsiteX3" fmla="*/ 511710 w 513325"/>
                  <a:gd name="connsiteY3" fmla="*/ 0 h 310219"/>
                </a:gdLst>
                <a:ahLst/>
                <a:cxnLst>
                  <a:cxn ang="0">
                    <a:pos x="connsiteX0" y="connsiteY0"/>
                  </a:cxn>
                  <a:cxn ang="0">
                    <a:pos x="connsiteX1" y="connsiteY1"/>
                  </a:cxn>
                  <a:cxn ang="0">
                    <a:pos x="connsiteX2" y="connsiteY2"/>
                  </a:cxn>
                  <a:cxn ang="0">
                    <a:pos x="connsiteX3" y="connsiteY3"/>
                  </a:cxn>
                </a:cxnLst>
                <a:rect l="l" t="t" r="r" b="b"/>
                <a:pathLst>
                  <a:path w="513325" h="310219">
                    <a:moveTo>
                      <a:pt x="513325" y="2632"/>
                    </a:moveTo>
                    <a:lnTo>
                      <a:pt x="1615" y="310220"/>
                    </a:lnTo>
                    <a:lnTo>
                      <a:pt x="0" y="307588"/>
                    </a:lnTo>
                    <a:lnTo>
                      <a:pt x="511710" y="0"/>
                    </a:lnTo>
                    <a:close/>
                  </a:path>
                </a:pathLst>
              </a:custGeom>
              <a:grpFill/>
              <a:ln w="5978" cap="flat">
                <a:noFill/>
                <a:prstDash val="solid"/>
                <a:miter/>
              </a:ln>
            </p:spPr>
            <p:txBody>
              <a:bodyPr rtlCol="0" anchor="ctr"/>
              <a:lstStyle/>
              <a:p>
                <a:endParaRPr lang="en-GB"/>
              </a:p>
            </p:txBody>
          </p:sp>
          <p:sp>
            <p:nvSpPr>
              <p:cNvPr id="5195" name="Vrije vorm: vorm 5194">
                <a:extLst>
                  <a:ext uri="{FF2B5EF4-FFF2-40B4-BE49-F238E27FC236}">
                    <a16:creationId xmlns:a16="http://schemas.microsoft.com/office/drawing/2014/main" id="{255923AA-F8AF-473B-A12D-8E9CDAD35DD8}"/>
                  </a:ext>
                </a:extLst>
              </p:cNvPr>
              <p:cNvSpPr/>
              <p:nvPr/>
            </p:nvSpPr>
            <p:spPr>
              <a:xfrm>
                <a:off x="7422868" y="2444119"/>
                <a:ext cx="18311" cy="18425"/>
              </a:xfrm>
              <a:custGeom>
                <a:avLst/>
                <a:gdLst>
                  <a:gd name="connsiteX0" fmla="*/ 13880 w 18311"/>
                  <a:gd name="connsiteY0" fmla="*/ 17108 h 18425"/>
                  <a:gd name="connsiteX1" fmla="*/ 1321 w 18311"/>
                  <a:gd name="connsiteY1" fmla="*/ 13938 h 18425"/>
                  <a:gd name="connsiteX2" fmla="*/ 4431 w 18311"/>
                  <a:gd name="connsiteY2" fmla="*/ 1318 h 18425"/>
                  <a:gd name="connsiteX3" fmla="*/ 16990 w 18311"/>
                  <a:gd name="connsiteY3" fmla="*/ 4488 h 18425"/>
                  <a:gd name="connsiteX4" fmla="*/ 13880 w 1831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5">
                    <a:moveTo>
                      <a:pt x="13880" y="17108"/>
                    </a:moveTo>
                    <a:cubicBezTo>
                      <a:pt x="9574" y="19739"/>
                      <a:pt x="3892" y="18304"/>
                      <a:pt x="1321" y="13938"/>
                    </a:cubicBezTo>
                    <a:cubicBezTo>
                      <a:pt x="-1311" y="9572"/>
                      <a:pt x="124" y="3890"/>
                      <a:pt x="4431" y="1318"/>
                    </a:cubicBezTo>
                    <a:cubicBezTo>
                      <a:pt x="8737" y="-1313"/>
                      <a:pt x="14418" y="122"/>
                      <a:pt x="16990" y="4488"/>
                    </a:cubicBezTo>
                    <a:cubicBezTo>
                      <a:pt x="19622" y="8854"/>
                      <a:pt x="18186" y="14476"/>
                      <a:pt x="13880" y="17108"/>
                    </a:cubicBezTo>
                    <a:close/>
                  </a:path>
                </a:pathLst>
              </a:custGeom>
              <a:grpFill/>
              <a:ln w="5978" cap="flat">
                <a:noFill/>
                <a:prstDash val="solid"/>
                <a:miter/>
              </a:ln>
            </p:spPr>
            <p:txBody>
              <a:bodyPr rtlCol="0" anchor="ctr"/>
              <a:lstStyle/>
              <a:p>
                <a:endParaRPr lang="en-GB"/>
              </a:p>
            </p:txBody>
          </p:sp>
          <p:sp>
            <p:nvSpPr>
              <p:cNvPr id="5196" name="Vrije vorm: vorm 5195">
                <a:extLst>
                  <a:ext uri="{FF2B5EF4-FFF2-40B4-BE49-F238E27FC236}">
                    <a16:creationId xmlns:a16="http://schemas.microsoft.com/office/drawing/2014/main" id="{200F5730-ACFA-43B7-9260-A03192A011EB}"/>
                  </a:ext>
                </a:extLst>
              </p:cNvPr>
              <p:cNvSpPr/>
              <p:nvPr/>
            </p:nvSpPr>
            <p:spPr>
              <a:xfrm>
                <a:off x="7933801" y="2136949"/>
                <a:ext cx="18311" cy="18399"/>
              </a:xfrm>
              <a:custGeom>
                <a:avLst/>
                <a:gdLst>
                  <a:gd name="connsiteX0" fmla="*/ 13881 w 18311"/>
                  <a:gd name="connsiteY0" fmla="*/ 17108 h 18399"/>
                  <a:gd name="connsiteX1" fmla="*/ 16990 w 18311"/>
                  <a:gd name="connsiteY1" fmla="*/ 4488 h 18399"/>
                  <a:gd name="connsiteX2" fmla="*/ 4431 w 18311"/>
                  <a:gd name="connsiteY2" fmla="*/ 1318 h 18399"/>
                  <a:gd name="connsiteX3" fmla="*/ 1321 w 18311"/>
                  <a:gd name="connsiteY3" fmla="*/ 13938 h 18399"/>
                  <a:gd name="connsiteX4" fmla="*/ 13881 w 18311"/>
                  <a:gd name="connsiteY4" fmla="*/ 17108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399">
                    <a:moveTo>
                      <a:pt x="13881" y="17108"/>
                    </a:moveTo>
                    <a:cubicBezTo>
                      <a:pt x="18187" y="14476"/>
                      <a:pt x="19622" y="8854"/>
                      <a:pt x="16990" y="4488"/>
                    </a:cubicBezTo>
                    <a:cubicBezTo>
                      <a:pt x="14359" y="122"/>
                      <a:pt x="8737" y="-1313"/>
                      <a:pt x="4431" y="1318"/>
                    </a:cubicBezTo>
                    <a:cubicBezTo>
                      <a:pt x="125" y="3950"/>
                      <a:pt x="-1311" y="9572"/>
                      <a:pt x="1321" y="13938"/>
                    </a:cubicBezTo>
                    <a:cubicBezTo>
                      <a:pt x="3893" y="18304"/>
                      <a:pt x="9514" y="19679"/>
                      <a:pt x="13881" y="17108"/>
                    </a:cubicBezTo>
                    <a:close/>
                  </a:path>
                </a:pathLst>
              </a:custGeom>
              <a:grpFill/>
              <a:ln w="5978" cap="flat">
                <a:noFill/>
                <a:prstDash val="solid"/>
                <a:miter/>
              </a:ln>
            </p:spPr>
            <p:txBody>
              <a:bodyPr rtlCol="0" anchor="ctr"/>
              <a:lstStyle/>
              <a:p>
                <a:endParaRPr lang="en-GB"/>
              </a:p>
            </p:txBody>
          </p:sp>
        </p:grpSp>
        <p:grpSp>
          <p:nvGrpSpPr>
            <p:cNvPr id="60" name="Graphic 3">
              <a:extLst>
                <a:ext uri="{FF2B5EF4-FFF2-40B4-BE49-F238E27FC236}">
                  <a16:creationId xmlns:a16="http://schemas.microsoft.com/office/drawing/2014/main" id="{653FB44B-D020-4E39-97E3-F0FF1A8A99A7}"/>
                </a:ext>
              </a:extLst>
            </p:cNvPr>
            <p:cNvGrpSpPr/>
            <p:nvPr/>
          </p:nvGrpSpPr>
          <p:grpSpPr>
            <a:xfrm>
              <a:off x="7843622" y="2981037"/>
              <a:ext cx="155945" cy="48807"/>
              <a:chOff x="7843622" y="2981037"/>
              <a:chExt cx="155945" cy="48807"/>
            </a:xfrm>
            <a:grpFill/>
          </p:grpSpPr>
          <p:sp>
            <p:nvSpPr>
              <p:cNvPr id="5191" name="Vrije vorm: vorm 5190">
                <a:extLst>
                  <a:ext uri="{FF2B5EF4-FFF2-40B4-BE49-F238E27FC236}">
                    <a16:creationId xmlns:a16="http://schemas.microsoft.com/office/drawing/2014/main" id="{F29B971F-2A23-4E13-A8EF-D1103D7FF587}"/>
                  </a:ext>
                </a:extLst>
              </p:cNvPr>
              <p:cNvSpPr/>
              <p:nvPr/>
            </p:nvSpPr>
            <p:spPr>
              <a:xfrm>
                <a:off x="7851990" y="2988666"/>
                <a:ext cx="139230" cy="33551"/>
              </a:xfrm>
              <a:custGeom>
                <a:avLst/>
                <a:gdLst>
                  <a:gd name="connsiteX0" fmla="*/ 138513 w 139230"/>
                  <a:gd name="connsiteY0" fmla="*/ 0 h 33551"/>
                  <a:gd name="connsiteX1" fmla="*/ 139231 w 139230"/>
                  <a:gd name="connsiteY1" fmla="*/ 2990 h 33551"/>
                  <a:gd name="connsiteX2" fmla="*/ 658 w 139230"/>
                  <a:gd name="connsiteY2" fmla="*/ 33552 h 33551"/>
                  <a:gd name="connsiteX3" fmla="*/ 0 w 139230"/>
                  <a:gd name="connsiteY3" fmla="*/ 30561 h 33551"/>
                </a:gdLst>
                <a:ahLst/>
                <a:cxnLst>
                  <a:cxn ang="0">
                    <a:pos x="connsiteX0" y="connsiteY0"/>
                  </a:cxn>
                  <a:cxn ang="0">
                    <a:pos x="connsiteX1" y="connsiteY1"/>
                  </a:cxn>
                  <a:cxn ang="0">
                    <a:pos x="connsiteX2" y="connsiteY2"/>
                  </a:cxn>
                  <a:cxn ang="0">
                    <a:pos x="connsiteX3" y="connsiteY3"/>
                  </a:cxn>
                </a:cxnLst>
                <a:rect l="l" t="t" r="r" b="b"/>
                <a:pathLst>
                  <a:path w="139230" h="33551">
                    <a:moveTo>
                      <a:pt x="138513" y="0"/>
                    </a:moveTo>
                    <a:lnTo>
                      <a:pt x="139231" y="2990"/>
                    </a:lnTo>
                    <a:lnTo>
                      <a:pt x="658" y="33552"/>
                    </a:lnTo>
                    <a:lnTo>
                      <a:pt x="0" y="30561"/>
                    </a:lnTo>
                    <a:close/>
                  </a:path>
                </a:pathLst>
              </a:custGeom>
              <a:grpFill/>
              <a:ln w="5978" cap="flat">
                <a:noFill/>
                <a:prstDash val="solid"/>
                <a:miter/>
              </a:ln>
            </p:spPr>
            <p:txBody>
              <a:bodyPr rtlCol="0" anchor="ctr"/>
              <a:lstStyle/>
              <a:p>
                <a:endParaRPr lang="en-GB"/>
              </a:p>
            </p:txBody>
          </p:sp>
          <p:sp>
            <p:nvSpPr>
              <p:cNvPr id="5192" name="Vrije vorm: vorm 5191">
                <a:extLst>
                  <a:ext uri="{FF2B5EF4-FFF2-40B4-BE49-F238E27FC236}">
                    <a16:creationId xmlns:a16="http://schemas.microsoft.com/office/drawing/2014/main" id="{A4498C66-9DFD-4715-99CF-C0BD4D2D2E95}"/>
                  </a:ext>
                </a:extLst>
              </p:cNvPr>
              <p:cNvSpPr/>
              <p:nvPr/>
            </p:nvSpPr>
            <p:spPr>
              <a:xfrm>
                <a:off x="7981259" y="2981037"/>
                <a:ext cx="18308" cy="18367"/>
              </a:xfrm>
              <a:custGeom>
                <a:avLst/>
                <a:gdLst>
                  <a:gd name="connsiteX0" fmla="*/ 7151 w 18308"/>
                  <a:gd name="connsiteY0" fmla="*/ 213 h 18367"/>
                  <a:gd name="connsiteX1" fmla="*/ 18095 w 18308"/>
                  <a:gd name="connsiteY1" fmla="*/ 7210 h 18367"/>
                  <a:gd name="connsiteX2" fmla="*/ 11158 w 18308"/>
                  <a:gd name="connsiteY2" fmla="*/ 18155 h 18367"/>
                  <a:gd name="connsiteX3" fmla="*/ 213 w 18308"/>
                  <a:gd name="connsiteY3" fmla="*/ 11158 h 18367"/>
                  <a:gd name="connsiteX4" fmla="*/ 7151 w 18308"/>
                  <a:gd name="connsiteY4" fmla="*/ 21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367">
                    <a:moveTo>
                      <a:pt x="7151" y="213"/>
                    </a:moveTo>
                    <a:cubicBezTo>
                      <a:pt x="12114" y="-864"/>
                      <a:pt x="17019" y="2246"/>
                      <a:pt x="18095" y="7210"/>
                    </a:cubicBezTo>
                    <a:cubicBezTo>
                      <a:pt x="19172" y="12174"/>
                      <a:pt x="16062" y="17079"/>
                      <a:pt x="11158" y="18155"/>
                    </a:cubicBezTo>
                    <a:cubicBezTo>
                      <a:pt x="6194" y="19232"/>
                      <a:pt x="1290" y="16122"/>
                      <a:pt x="213" y="11158"/>
                    </a:cubicBezTo>
                    <a:cubicBezTo>
                      <a:pt x="-863" y="6253"/>
                      <a:pt x="2247" y="1349"/>
                      <a:pt x="7151" y="213"/>
                    </a:cubicBezTo>
                    <a:close/>
                  </a:path>
                </a:pathLst>
              </a:custGeom>
              <a:grpFill/>
              <a:ln w="5978" cap="flat">
                <a:noFill/>
                <a:prstDash val="solid"/>
                <a:miter/>
              </a:ln>
            </p:spPr>
            <p:txBody>
              <a:bodyPr rtlCol="0" anchor="ctr"/>
              <a:lstStyle/>
              <a:p>
                <a:endParaRPr lang="en-GB"/>
              </a:p>
            </p:txBody>
          </p:sp>
          <p:sp>
            <p:nvSpPr>
              <p:cNvPr id="5193" name="Vrije vorm: vorm 5192">
                <a:extLst>
                  <a:ext uri="{FF2B5EF4-FFF2-40B4-BE49-F238E27FC236}">
                    <a16:creationId xmlns:a16="http://schemas.microsoft.com/office/drawing/2014/main" id="{7D22349D-8C42-4388-BBA6-7AB1274196FA}"/>
                  </a:ext>
                </a:extLst>
              </p:cNvPr>
              <p:cNvSpPr/>
              <p:nvPr/>
            </p:nvSpPr>
            <p:spPr>
              <a:xfrm>
                <a:off x="7843622" y="3011422"/>
                <a:ext cx="18351" cy="18421"/>
              </a:xfrm>
              <a:custGeom>
                <a:avLst/>
                <a:gdLst>
                  <a:gd name="connsiteX0" fmla="*/ 7172 w 18351"/>
                  <a:gd name="connsiteY0" fmla="*/ 210 h 18421"/>
                  <a:gd name="connsiteX1" fmla="*/ 234 w 18351"/>
                  <a:gd name="connsiteY1" fmla="*/ 11155 h 18421"/>
                  <a:gd name="connsiteX2" fmla="*/ 11179 w 18351"/>
                  <a:gd name="connsiteY2" fmla="*/ 18212 h 18421"/>
                  <a:gd name="connsiteX3" fmla="*/ 18117 w 18351"/>
                  <a:gd name="connsiteY3" fmla="*/ 7267 h 18421"/>
                  <a:gd name="connsiteX4" fmla="*/ 7172 w 18351"/>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1">
                    <a:moveTo>
                      <a:pt x="7172" y="210"/>
                    </a:moveTo>
                    <a:cubicBezTo>
                      <a:pt x="2208" y="1286"/>
                      <a:pt x="-902" y="6191"/>
                      <a:pt x="234" y="11155"/>
                    </a:cubicBezTo>
                    <a:cubicBezTo>
                      <a:pt x="1311" y="16119"/>
                      <a:pt x="6215" y="19288"/>
                      <a:pt x="11179" y="18212"/>
                    </a:cubicBezTo>
                    <a:cubicBezTo>
                      <a:pt x="16143" y="17135"/>
                      <a:pt x="19253" y="12231"/>
                      <a:pt x="18117" y="7267"/>
                    </a:cubicBezTo>
                    <a:cubicBezTo>
                      <a:pt x="16980" y="2303"/>
                      <a:pt x="12076" y="-867"/>
                      <a:pt x="7172" y="210"/>
                    </a:cubicBezTo>
                    <a:close/>
                  </a:path>
                </a:pathLst>
              </a:custGeom>
              <a:grpFill/>
              <a:ln w="5978" cap="flat">
                <a:noFill/>
                <a:prstDash val="solid"/>
                <a:miter/>
              </a:ln>
            </p:spPr>
            <p:txBody>
              <a:bodyPr rtlCol="0" anchor="ctr"/>
              <a:lstStyle/>
              <a:p>
                <a:endParaRPr lang="en-GB"/>
              </a:p>
            </p:txBody>
          </p:sp>
        </p:grpSp>
        <p:grpSp>
          <p:nvGrpSpPr>
            <p:cNvPr id="61" name="Graphic 3">
              <a:extLst>
                <a:ext uri="{FF2B5EF4-FFF2-40B4-BE49-F238E27FC236}">
                  <a16:creationId xmlns:a16="http://schemas.microsoft.com/office/drawing/2014/main" id="{D0736012-3632-4F32-83C8-4537BAEA3A07}"/>
                </a:ext>
              </a:extLst>
            </p:cNvPr>
            <p:cNvGrpSpPr/>
            <p:nvPr/>
          </p:nvGrpSpPr>
          <p:grpSpPr>
            <a:xfrm>
              <a:off x="8006765" y="3348225"/>
              <a:ext cx="78657" cy="20163"/>
              <a:chOff x="8006765" y="3348225"/>
              <a:chExt cx="78657" cy="20163"/>
            </a:xfrm>
            <a:grpFill/>
          </p:grpSpPr>
          <p:sp>
            <p:nvSpPr>
              <p:cNvPr id="5188" name="Vrije vorm: vorm 5187">
                <a:extLst>
                  <a:ext uri="{FF2B5EF4-FFF2-40B4-BE49-F238E27FC236}">
                    <a16:creationId xmlns:a16="http://schemas.microsoft.com/office/drawing/2014/main" id="{13C034E1-367F-42DD-9335-B7EE2A9C1E4C}"/>
                  </a:ext>
                </a:extLst>
              </p:cNvPr>
              <p:cNvSpPr/>
              <p:nvPr/>
            </p:nvSpPr>
            <p:spPr>
              <a:xfrm>
                <a:off x="8015443" y="3355883"/>
                <a:ext cx="61362" cy="4904"/>
              </a:xfrm>
              <a:custGeom>
                <a:avLst/>
                <a:gdLst>
                  <a:gd name="connsiteX0" fmla="*/ 61243 w 61362"/>
                  <a:gd name="connsiteY0" fmla="*/ 0 h 4904"/>
                  <a:gd name="connsiteX1" fmla="*/ 61362 w 61362"/>
                  <a:gd name="connsiteY1" fmla="*/ 3110 h 4904"/>
                  <a:gd name="connsiteX2" fmla="*/ 120 w 61362"/>
                  <a:gd name="connsiteY2" fmla="*/ 4904 h 4904"/>
                  <a:gd name="connsiteX3" fmla="*/ 0 w 61362"/>
                  <a:gd name="connsiteY3" fmla="*/ 1854 h 4904"/>
                </a:gdLst>
                <a:ahLst/>
                <a:cxnLst>
                  <a:cxn ang="0">
                    <a:pos x="connsiteX0" y="connsiteY0"/>
                  </a:cxn>
                  <a:cxn ang="0">
                    <a:pos x="connsiteX1" y="connsiteY1"/>
                  </a:cxn>
                  <a:cxn ang="0">
                    <a:pos x="connsiteX2" y="connsiteY2"/>
                  </a:cxn>
                  <a:cxn ang="0">
                    <a:pos x="connsiteX3" y="connsiteY3"/>
                  </a:cxn>
                </a:cxnLst>
                <a:rect l="l" t="t" r="r" b="b"/>
                <a:pathLst>
                  <a:path w="61362" h="4904">
                    <a:moveTo>
                      <a:pt x="61243" y="0"/>
                    </a:moveTo>
                    <a:lnTo>
                      <a:pt x="61362" y="3110"/>
                    </a:lnTo>
                    <a:lnTo>
                      <a:pt x="120" y="4904"/>
                    </a:lnTo>
                    <a:lnTo>
                      <a:pt x="0" y="1854"/>
                    </a:lnTo>
                    <a:close/>
                  </a:path>
                </a:pathLst>
              </a:custGeom>
              <a:grpFill/>
              <a:ln w="5978" cap="flat">
                <a:noFill/>
                <a:prstDash val="solid"/>
                <a:miter/>
              </a:ln>
            </p:spPr>
            <p:txBody>
              <a:bodyPr rtlCol="0" anchor="ctr"/>
              <a:lstStyle/>
              <a:p>
                <a:endParaRPr lang="en-GB"/>
              </a:p>
            </p:txBody>
          </p:sp>
          <p:sp>
            <p:nvSpPr>
              <p:cNvPr id="5189" name="Vrije vorm: vorm 5188">
                <a:extLst>
                  <a:ext uri="{FF2B5EF4-FFF2-40B4-BE49-F238E27FC236}">
                    <a16:creationId xmlns:a16="http://schemas.microsoft.com/office/drawing/2014/main" id="{8DC5A092-82FC-4DD9-AFC5-2D0CA15B7D68}"/>
                  </a:ext>
                </a:extLst>
              </p:cNvPr>
              <p:cNvSpPr/>
              <p:nvPr/>
            </p:nvSpPr>
            <p:spPr>
              <a:xfrm>
                <a:off x="8067111" y="3348225"/>
                <a:ext cx="18312" cy="18366"/>
              </a:xfrm>
              <a:custGeom>
                <a:avLst/>
                <a:gdLst>
                  <a:gd name="connsiteX0" fmla="*/ 8857 w 18312"/>
                  <a:gd name="connsiteY0" fmla="*/ 3 h 18366"/>
                  <a:gd name="connsiteX1" fmla="*/ 18306 w 18312"/>
                  <a:gd name="connsiteY1" fmla="*/ 8914 h 18366"/>
                  <a:gd name="connsiteX2" fmla="*/ 9455 w 18312"/>
                  <a:gd name="connsiteY2" fmla="*/ 18364 h 18366"/>
                  <a:gd name="connsiteX3" fmla="*/ 6 w 18312"/>
                  <a:gd name="connsiteY3" fmla="*/ 9452 h 18366"/>
                  <a:gd name="connsiteX4" fmla="*/ 8857 w 18312"/>
                  <a:gd name="connsiteY4" fmla="*/ 3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66">
                    <a:moveTo>
                      <a:pt x="8857" y="3"/>
                    </a:moveTo>
                    <a:cubicBezTo>
                      <a:pt x="13941" y="-117"/>
                      <a:pt x="18128" y="3830"/>
                      <a:pt x="18306" y="8914"/>
                    </a:cubicBezTo>
                    <a:cubicBezTo>
                      <a:pt x="18486" y="13998"/>
                      <a:pt x="14539" y="18244"/>
                      <a:pt x="9455" y="18364"/>
                    </a:cubicBezTo>
                    <a:cubicBezTo>
                      <a:pt x="4372" y="18483"/>
                      <a:pt x="185" y="14536"/>
                      <a:pt x="6" y="9452"/>
                    </a:cubicBezTo>
                    <a:cubicBezTo>
                      <a:pt x="-174" y="4428"/>
                      <a:pt x="3834" y="182"/>
                      <a:pt x="8857" y="3"/>
                    </a:cubicBezTo>
                    <a:close/>
                  </a:path>
                </a:pathLst>
              </a:custGeom>
              <a:grpFill/>
              <a:ln w="5978" cap="flat">
                <a:noFill/>
                <a:prstDash val="solid"/>
                <a:miter/>
              </a:ln>
            </p:spPr>
            <p:txBody>
              <a:bodyPr rtlCol="0" anchor="ctr"/>
              <a:lstStyle/>
              <a:p>
                <a:endParaRPr lang="en-GB"/>
              </a:p>
            </p:txBody>
          </p:sp>
          <p:sp>
            <p:nvSpPr>
              <p:cNvPr id="5190" name="Vrije vorm: vorm 5189">
                <a:extLst>
                  <a:ext uri="{FF2B5EF4-FFF2-40B4-BE49-F238E27FC236}">
                    <a16:creationId xmlns:a16="http://schemas.microsoft.com/office/drawing/2014/main" id="{C8DFBA75-79A4-41CE-9C56-39BA2ACE10B4}"/>
                  </a:ext>
                </a:extLst>
              </p:cNvPr>
              <p:cNvSpPr/>
              <p:nvPr/>
            </p:nvSpPr>
            <p:spPr>
              <a:xfrm>
                <a:off x="8006765" y="3350016"/>
                <a:ext cx="18312" cy="18372"/>
              </a:xfrm>
              <a:custGeom>
                <a:avLst/>
                <a:gdLst>
                  <a:gd name="connsiteX0" fmla="*/ 8857 w 18312"/>
                  <a:gd name="connsiteY0" fmla="*/ 6 h 18372"/>
                  <a:gd name="connsiteX1" fmla="*/ 6 w 18312"/>
                  <a:gd name="connsiteY1" fmla="*/ 9455 h 18372"/>
                  <a:gd name="connsiteX2" fmla="*/ 9455 w 18312"/>
                  <a:gd name="connsiteY2" fmla="*/ 18367 h 18372"/>
                  <a:gd name="connsiteX3" fmla="*/ 18307 w 18312"/>
                  <a:gd name="connsiteY3" fmla="*/ 8917 h 18372"/>
                  <a:gd name="connsiteX4" fmla="*/ 8857 w 18312"/>
                  <a:gd name="connsiteY4" fmla="*/ 6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6"/>
                    </a:moveTo>
                    <a:cubicBezTo>
                      <a:pt x="3773" y="126"/>
                      <a:pt x="-174" y="4372"/>
                      <a:pt x="6" y="9455"/>
                    </a:cubicBezTo>
                    <a:cubicBezTo>
                      <a:pt x="185" y="14539"/>
                      <a:pt x="4432" y="18546"/>
                      <a:pt x="9455" y="18367"/>
                    </a:cubicBezTo>
                    <a:cubicBezTo>
                      <a:pt x="14539" y="18247"/>
                      <a:pt x="18486" y="14001"/>
                      <a:pt x="18307" y="8917"/>
                    </a:cubicBezTo>
                    <a:cubicBezTo>
                      <a:pt x="18187" y="3834"/>
                      <a:pt x="13941" y="-174"/>
                      <a:pt x="8857" y="6"/>
                    </a:cubicBezTo>
                    <a:close/>
                  </a:path>
                </a:pathLst>
              </a:custGeom>
              <a:grpFill/>
              <a:ln w="5978" cap="flat">
                <a:noFill/>
                <a:prstDash val="solid"/>
                <a:miter/>
              </a:ln>
            </p:spPr>
            <p:txBody>
              <a:bodyPr rtlCol="0" anchor="ctr"/>
              <a:lstStyle/>
              <a:p>
                <a:endParaRPr lang="en-GB"/>
              </a:p>
            </p:txBody>
          </p:sp>
        </p:grpSp>
        <p:grpSp>
          <p:nvGrpSpPr>
            <p:cNvPr id="62" name="Graphic 3">
              <a:extLst>
                <a:ext uri="{FF2B5EF4-FFF2-40B4-BE49-F238E27FC236}">
                  <a16:creationId xmlns:a16="http://schemas.microsoft.com/office/drawing/2014/main" id="{B3165EAC-4141-4C11-AEB6-D6B1F9B5769C}"/>
                </a:ext>
              </a:extLst>
            </p:cNvPr>
            <p:cNvGrpSpPr/>
            <p:nvPr/>
          </p:nvGrpSpPr>
          <p:grpSpPr>
            <a:xfrm>
              <a:off x="7860839" y="3456416"/>
              <a:ext cx="432889" cy="29490"/>
              <a:chOff x="7860839" y="3456416"/>
              <a:chExt cx="432889" cy="29490"/>
            </a:xfrm>
            <a:grpFill/>
          </p:grpSpPr>
          <p:sp>
            <p:nvSpPr>
              <p:cNvPr id="5185" name="Vrije vorm: vorm 5184">
                <a:extLst>
                  <a:ext uri="{FF2B5EF4-FFF2-40B4-BE49-F238E27FC236}">
                    <a16:creationId xmlns:a16="http://schemas.microsoft.com/office/drawing/2014/main" id="{AA34957F-2D80-42C8-9970-7F5964766279}"/>
                  </a:ext>
                </a:extLst>
              </p:cNvPr>
              <p:cNvSpPr/>
              <p:nvPr/>
            </p:nvSpPr>
            <p:spPr>
              <a:xfrm>
                <a:off x="7869573" y="3464074"/>
                <a:ext cx="415480" cy="14174"/>
              </a:xfrm>
              <a:custGeom>
                <a:avLst/>
                <a:gdLst>
                  <a:gd name="connsiteX0" fmla="*/ 415481 w 415480"/>
                  <a:gd name="connsiteY0" fmla="*/ 11124 h 14174"/>
                  <a:gd name="connsiteX1" fmla="*/ 415421 w 415480"/>
                  <a:gd name="connsiteY1" fmla="*/ 14174 h 14174"/>
                  <a:gd name="connsiteX2" fmla="*/ 0 w 415480"/>
                  <a:gd name="connsiteY2" fmla="*/ 3050 h 14174"/>
                  <a:gd name="connsiteX3" fmla="*/ 60 w 415480"/>
                  <a:gd name="connsiteY3" fmla="*/ 0 h 14174"/>
                </a:gdLst>
                <a:ahLst/>
                <a:cxnLst>
                  <a:cxn ang="0">
                    <a:pos x="connsiteX0" y="connsiteY0"/>
                  </a:cxn>
                  <a:cxn ang="0">
                    <a:pos x="connsiteX1" y="connsiteY1"/>
                  </a:cxn>
                  <a:cxn ang="0">
                    <a:pos x="connsiteX2" y="connsiteY2"/>
                  </a:cxn>
                  <a:cxn ang="0">
                    <a:pos x="connsiteX3" y="connsiteY3"/>
                  </a:cxn>
                </a:cxnLst>
                <a:rect l="l" t="t" r="r" b="b"/>
                <a:pathLst>
                  <a:path w="415480" h="14174">
                    <a:moveTo>
                      <a:pt x="415481" y="11124"/>
                    </a:moveTo>
                    <a:lnTo>
                      <a:pt x="415421" y="14174"/>
                    </a:lnTo>
                    <a:lnTo>
                      <a:pt x="0" y="3050"/>
                    </a:lnTo>
                    <a:lnTo>
                      <a:pt x="60" y="0"/>
                    </a:lnTo>
                    <a:close/>
                  </a:path>
                </a:pathLst>
              </a:custGeom>
              <a:grpFill/>
              <a:ln w="5978" cap="flat">
                <a:noFill/>
                <a:prstDash val="solid"/>
                <a:miter/>
              </a:ln>
            </p:spPr>
            <p:txBody>
              <a:bodyPr rtlCol="0" anchor="ctr"/>
              <a:lstStyle/>
              <a:p>
                <a:endParaRPr lang="en-GB"/>
              </a:p>
            </p:txBody>
          </p:sp>
          <p:sp>
            <p:nvSpPr>
              <p:cNvPr id="5186" name="Vrije vorm: vorm 5185">
                <a:extLst>
                  <a:ext uri="{FF2B5EF4-FFF2-40B4-BE49-F238E27FC236}">
                    <a16:creationId xmlns:a16="http://schemas.microsoft.com/office/drawing/2014/main" id="{860F1A41-7392-4B48-8DB2-E141ED390A53}"/>
                  </a:ext>
                </a:extLst>
              </p:cNvPr>
              <p:cNvSpPr/>
              <p:nvPr/>
            </p:nvSpPr>
            <p:spPr>
              <a:xfrm>
                <a:off x="8275362" y="3467480"/>
                <a:ext cx="18366" cy="18425"/>
              </a:xfrm>
              <a:custGeom>
                <a:avLst/>
                <a:gdLst>
                  <a:gd name="connsiteX0" fmla="*/ 9393 w 18366"/>
                  <a:gd name="connsiteY0" fmla="*/ 3 h 18425"/>
                  <a:gd name="connsiteX1" fmla="*/ 18364 w 18366"/>
                  <a:gd name="connsiteY1" fmla="*/ 9452 h 18425"/>
                  <a:gd name="connsiteX2" fmla="*/ 8974 w 18366"/>
                  <a:gd name="connsiteY2" fmla="*/ 18423 h 18425"/>
                  <a:gd name="connsiteX3" fmla="*/ 3 w 18366"/>
                  <a:gd name="connsiteY3" fmla="*/ 8974 h 18425"/>
                  <a:gd name="connsiteX4" fmla="*/ 9393 w 18366"/>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3" y="3"/>
                    </a:moveTo>
                    <a:cubicBezTo>
                      <a:pt x="14476" y="122"/>
                      <a:pt x="18484" y="4368"/>
                      <a:pt x="18364" y="9452"/>
                    </a:cubicBezTo>
                    <a:cubicBezTo>
                      <a:pt x="18244" y="14536"/>
                      <a:pt x="14057" y="18543"/>
                      <a:pt x="8974" y="18423"/>
                    </a:cubicBezTo>
                    <a:cubicBezTo>
                      <a:pt x="3890" y="18304"/>
                      <a:pt x="-117" y="14057"/>
                      <a:pt x="3" y="8974"/>
                    </a:cubicBezTo>
                    <a:cubicBezTo>
                      <a:pt x="182" y="3890"/>
                      <a:pt x="4368" y="-117"/>
                      <a:pt x="9393" y="3"/>
                    </a:cubicBezTo>
                    <a:close/>
                  </a:path>
                </a:pathLst>
              </a:custGeom>
              <a:grpFill/>
              <a:ln w="5978" cap="flat">
                <a:noFill/>
                <a:prstDash val="solid"/>
                <a:miter/>
              </a:ln>
            </p:spPr>
            <p:txBody>
              <a:bodyPr rtlCol="0" anchor="ctr"/>
              <a:lstStyle/>
              <a:p>
                <a:endParaRPr lang="en-GB"/>
              </a:p>
            </p:txBody>
          </p:sp>
          <p:sp>
            <p:nvSpPr>
              <p:cNvPr id="5187" name="Vrije vorm: vorm 5186">
                <a:extLst>
                  <a:ext uri="{FF2B5EF4-FFF2-40B4-BE49-F238E27FC236}">
                    <a16:creationId xmlns:a16="http://schemas.microsoft.com/office/drawing/2014/main" id="{7473A778-C209-4792-BD57-02806201D97E}"/>
                  </a:ext>
                </a:extLst>
              </p:cNvPr>
              <p:cNvSpPr/>
              <p:nvPr/>
            </p:nvSpPr>
            <p:spPr>
              <a:xfrm>
                <a:off x="7860839" y="3456416"/>
                <a:ext cx="18365" cy="18425"/>
              </a:xfrm>
              <a:custGeom>
                <a:avLst/>
                <a:gdLst>
                  <a:gd name="connsiteX0" fmla="*/ 9392 w 18365"/>
                  <a:gd name="connsiteY0" fmla="*/ 3 h 18425"/>
                  <a:gd name="connsiteX1" fmla="*/ 3 w 18365"/>
                  <a:gd name="connsiteY1" fmla="*/ 8974 h 18425"/>
                  <a:gd name="connsiteX2" fmla="*/ 8974 w 18365"/>
                  <a:gd name="connsiteY2" fmla="*/ 18423 h 18425"/>
                  <a:gd name="connsiteX3" fmla="*/ 18363 w 18365"/>
                  <a:gd name="connsiteY3" fmla="*/ 9452 h 18425"/>
                  <a:gd name="connsiteX4" fmla="*/ 9392 w 18365"/>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5">
                    <a:moveTo>
                      <a:pt x="9392" y="3"/>
                    </a:moveTo>
                    <a:cubicBezTo>
                      <a:pt x="4309" y="-117"/>
                      <a:pt x="122" y="3890"/>
                      <a:pt x="3" y="8974"/>
                    </a:cubicBezTo>
                    <a:cubicBezTo>
                      <a:pt x="-117" y="14057"/>
                      <a:pt x="3890" y="18304"/>
                      <a:pt x="8974" y="18423"/>
                    </a:cubicBezTo>
                    <a:cubicBezTo>
                      <a:pt x="14057" y="18543"/>
                      <a:pt x="18243" y="14536"/>
                      <a:pt x="18363" y="9452"/>
                    </a:cubicBezTo>
                    <a:cubicBezTo>
                      <a:pt x="18483" y="4369"/>
                      <a:pt x="14475" y="122"/>
                      <a:pt x="9392" y="3"/>
                    </a:cubicBezTo>
                    <a:close/>
                  </a:path>
                </a:pathLst>
              </a:custGeom>
              <a:grpFill/>
              <a:ln w="5978" cap="flat">
                <a:noFill/>
                <a:prstDash val="solid"/>
                <a:miter/>
              </a:ln>
            </p:spPr>
            <p:txBody>
              <a:bodyPr rtlCol="0" anchor="ctr"/>
              <a:lstStyle/>
              <a:p>
                <a:endParaRPr lang="en-GB"/>
              </a:p>
            </p:txBody>
          </p:sp>
        </p:grpSp>
        <p:grpSp>
          <p:nvGrpSpPr>
            <p:cNvPr id="63" name="Graphic 3">
              <a:extLst>
                <a:ext uri="{FF2B5EF4-FFF2-40B4-BE49-F238E27FC236}">
                  <a16:creationId xmlns:a16="http://schemas.microsoft.com/office/drawing/2014/main" id="{5330C3F4-24A8-4D28-A5A1-D5E732639662}"/>
                </a:ext>
              </a:extLst>
            </p:cNvPr>
            <p:cNvGrpSpPr/>
            <p:nvPr/>
          </p:nvGrpSpPr>
          <p:grpSpPr>
            <a:xfrm>
              <a:off x="7981396" y="3532298"/>
              <a:ext cx="222874" cy="31610"/>
              <a:chOff x="7981396" y="3532298"/>
              <a:chExt cx="222874" cy="31610"/>
            </a:xfrm>
            <a:grpFill/>
          </p:grpSpPr>
          <p:sp>
            <p:nvSpPr>
              <p:cNvPr id="5182" name="Vrije vorm: vorm 5181">
                <a:extLst>
                  <a:ext uri="{FF2B5EF4-FFF2-40B4-BE49-F238E27FC236}">
                    <a16:creationId xmlns:a16="http://schemas.microsoft.com/office/drawing/2014/main" id="{59F88E7D-D211-4141-9F59-BD944F8AEB96}"/>
                  </a:ext>
                </a:extLst>
              </p:cNvPr>
              <p:cNvSpPr/>
              <p:nvPr/>
            </p:nvSpPr>
            <p:spPr>
              <a:xfrm>
                <a:off x="7990025" y="3539969"/>
                <a:ext cx="205617" cy="16267"/>
              </a:xfrm>
              <a:custGeom>
                <a:avLst/>
                <a:gdLst>
                  <a:gd name="connsiteX0" fmla="*/ 205617 w 205617"/>
                  <a:gd name="connsiteY0" fmla="*/ 13217 h 16267"/>
                  <a:gd name="connsiteX1" fmla="*/ 205438 w 205617"/>
                  <a:gd name="connsiteY1" fmla="*/ 16268 h 16267"/>
                  <a:gd name="connsiteX2" fmla="*/ 0 w 205617"/>
                  <a:gd name="connsiteY2" fmla="*/ 3050 h 16267"/>
                  <a:gd name="connsiteX3" fmla="*/ 180 w 205617"/>
                  <a:gd name="connsiteY3" fmla="*/ 0 h 16267"/>
                </a:gdLst>
                <a:ahLst/>
                <a:cxnLst>
                  <a:cxn ang="0">
                    <a:pos x="connsiteX0" y="connsiteY0"/>
                  </a:cxn>
                  <a:cxn ang="0">
                    <a:pos x="connsiteX1" y="connsiteY1"/>
                  </a:cxn>
                  <a:cxn ang="0">
                    <a:pos x="connsiteX2" y="connsiteY2"/>
                  </a:cxn>
                  <a:cxn ang="0">
                    <a:pos x="connsiteX3" y="connsiteY3"/>
                  </a:cxn>
                </a:cxnLst>
                <a:rect l="l" t="t" r="r" b="b"/>
                <a:pathLst>
                  <a:path w="205617" h="16267">
                    <a:moveTo>
                      <a:pt x="205617" y="13217"/>
                    </a:moveTo>
                    <a:lnTo>
                      <a:pt x="205438" y="16268"/>
                    </a:lnTo>
                    <a:lnTo>
                      <a:pt x="0" y="3050"/>
                    </a:lnTo>
                    <a:lnTo>
                      <a:pt x="180" y="0"/>
                    </a:lnTo>
                    <a:close/>
                  </a:path>
                </a:pathLst>
              </a:custGeom>
              <a:grpFill/>
              <a:ln w="5978" cap="flat">
                <a:noFill/>
                <a:prstDash val="solid"/>
                <a:miter/>
              </a:ln>
            </p:spPr>
            <p:txBody>
              <a:bodyPr rtlCol="0" anchor="ctr"/>
              <a:lstStyle/>
              <a:p>
                <a:endParaRPr lang="en-GB"/>
              </a:p>
            </p:txBody>
          </p:sp>
          <p:sp>
            <p:nvSpPr>
              <p:cNvPr id="5183" name="Vrije vorm: vorm 5182">
                <a:extLst>
                  <a:ext uri="{FF2B5EF4-FFF2-40B4-BE49-F238E27FC236}">
                    <a16:creationId xmlns:a16="http://schemas.microsoft.com/office/drawing/2014/main" id="{E5C1E5AD-6CB2-4DD3-AF99-6E90168692C9}"/>
                  </a:ext>
                </a:extLst>
              </p:cNvPr>
              <p:cNvSpPr/>
              <p:nvPr/>
            </p:nvSpPr>
            <p:spPr>
              <a:xfrm>
                <a:off x="8185937" y="3545449"/>
                <a:ext cx="18333" cy="18459"/>
              </a:xfrm>
              <a:custGeom>
                <a:avLst/>
                <a:gdLst>
                  <a:gd name="connsiteX0" fmla="*/ 9705 w 18333"/>
                  <a:gd name="connsiteY0" fmla="*/ 23 h 18459"/>
                  <a:gd name="connsiteX1" fmla="*/ 18317 w 18333"/>
                  <a:gd name="connsiteY1" fmla="*/ 9831 h 18459"/>
                  <a:gd name="connsiteX2" fmla="*/ 8628 w 18333"/>
                  <a:gd name="connsiteY2" fmla="*/ 18444 h 18459"/>
                  <a:gd name="connsiteX3" fmla="*/ 16 w 18333"/>
                  <a:gd name="connsiteY3" fmla="*/ 8635 h 18459"/>
                  <a:gd name="connsiteX4" fmla="*/ 9705 w 18333"/>
                  <a:gd name="connsiteY4" fmla="*/ 23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9">
                    <a:moveTo>
                      <a:pt x="9705" y="23"/>
                    </a:moveTo>
                    <a:cubicBezTo>
                      <a:pt x="14729" y="322"/>
                      <a:pt x="18616" y="4748"/>
                      <a:pt x="18317" y="9831"/>
                    </a:cubicBezTo>
                    <a:cubicBezTo>
                      <a:pt x="18018" y="14915"/>
                      <a:pt x="13652" y="18743"/>
                      <a:pt x="8628" y="18444"/>
                    </a:cubicBezTo>
                    <a:cubicBezTo>
                      <a:pt x="3604" y="18145"/>
                      <a:pt x="-283" y="13719"/>
                      <a:pt x="16" y="8635"/>
                    </a:cubicBezTo>
                    <a:cubicBezTo>
                      <a:pt x="315" y="3552"/>
                      <a:pt x="4681" y="-336"/>
                      <a:pt x="9705" y="23"/>
                    </a:cubicBezTo>
                    <a:close/>
                  </a:path>
                </a:pathLst>
              </a:custGeom>
              <a:grpFill/>
              <a:ln w="5978" cap="flat">
                <a:noFill/>
                <a:prstDash val="solid"/>
                <a:miter/>
              </a:ln>
            </p:spPr>
            <p:txBody>
              <a:bodyPr rtlCol="0" anchor="ctr"/>
              <a:lstStyle/>
              <a:p>
                <a:endParaRPr lang="en-GB"/>
              </a:p>
            </p:txBody>
          </p:sp>
          <p:sp>
            <p:nvSpPr>
              <p:cNvPr id="5184" name="Vrije vorm: vorm 5183">
                <a:extLst>
                  <a:ext uri="{FF2B5EF4-FFF2-40B4-BE49-F238E27FC236}">
                    <a16:creationId xmlns:a16="http://schemas.microsoft.com/office/drawing/2014/main" id="{557FB9D3-44A1-4121-B81A-A7E363431754}"/>
                  </a:ext>
                </a:extLst>
              </p:cNvPr>
              <p:cNvSpPr/>
              <p:nvPr/>
            </p:nvSpPr>
            <p:spPr>
              <a:xfrm>
                <a:off x="7981396" y="3532298"/>
                <a:ext cx="18334" cy="18453"/>
              </a:xfrm>
              <a:custGeom>
                <a:avLst/>
                <a:gdLst>
                  <a:gd name="connsiteX0" fmla="*/ 9705 w 18334"/>
                  <a:gd name="connsiteY0" fmla="*/ 16 h 18453"/>
                  <a:gd name="connsiteX1" fmla="*/ 16 w 18334"/>
                  <a:gd name="connsiteY1" fmla="*/ 8629 h 18453"/>
                  <a:gd name="connsiteX2" fmla="*/ 8629 w 18334"/>
                  <a:gd name="connsiteY2" fmla="*/ 18437 h 18453"/>
                  <a:gd name="connsiteX3" fmla="*/ 18318 w 18334"/>
                  <a:gd name="connsiteY3" fmla="*/ 9825 h 18453"/>
                  <a:gd name="connsiteX4" fmla="*/ 9705 w 18334"/>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3">
                    <a:moveTo>
                      <a:pt x="9705" y="16"/>
                    </a:moveTo>
                    <a:cubicBezTo>
                      <a:pt x="4681" y="-283"/>
                      <a:pt x="316" y="3545"/>
                      <a:pt x="16" y="8629"/>
                    </a:cubicBezTo>
                    <a:cubicBezTo>
                      <a:pt x="-282" y="13712"/>
                      <a:pt x="3545" y="18078"/>
                      <a:pt x="8629" y="18437"/>
                    </a:cubicBezTo>
                    <a:cubicBezTo>
                      <a:pt x="13653" y="18736"/>
                      <a:pt x="18018" y="14908"/>
                      <a:pt x="18318" y="9825"/>
                    </a:cubicBezTo>
                    <a:cubicBezTo>
                      <a:pt x="18617" y="4741"/>
                      <a:pt x="14789" y="315"/>
                      <a:pt x="9705" y="16"/>
                    </a:cubicBezTo>
                    <a:close/>
                  </a:path>
                </a:pathLst>
              </a:custGeom>
              <a:grpFill/>
              <a:ln w="5978" cap="flat">
                <a:noFill/>
                <a:prstDash val="solid"/>
                <a:miter/>
              </a:ln>
            </p:spPr>
            <p:txBody>
              <a:bodyPr rtlCol="0" anchor="ctr"/>
              <a:lstStyle/>
              <a:p>
                <a:endParaRPr lang="en-GB"/>
              </a:p>
            </p:txBody>
          </p:sp>
        </p:grpSp>
        <p:grpSp>
          <p:nvGrpSpPr>
            <p:cNvPr id="64" name="Graphic 3">
              <a:extLst>
                <a:ext uri="{FF2B5EF4-FFF2-40B4-BE49-F238E27FC236}">
                  <a16:creationId xmlns:a16="http://schemas.microsoft.com/office/drawing/2014/main" id="{694F7FC3-8F33-4F4A-87C6-564E22DB308B}"/>
                </a:ext>
              </a:extLst>
            </p:cNvPr>
            <p:cNvGrpSpPr/>
            <p:nvPr/>
          </p:nvGrpSpPr>
          <p:grpSpPr>
            <a:xfrm>
              <a:off x="7516351" y="2421994"/>
              <a:ext cx="441258" cy="204658"/>
              <a:chOff x="7516351" y="2421994"/>
              <a:chExt cx="441258" cy="204658"/>
            </a:xfrm>
            <a:grpFill/>
          </p:grpSpPr>
          <p:sp>
            <p:nvSpPr>
              <p:cNvPr id="5179" name="Vrije vorm: vorm 5178">
                <a:extLst>
                  <a:ext uri="{FF2B5EF4-FFF2-40B4-BE49-F238E27FC236}">
                    <a16:creationId xmlns:a16="http://schemas.microsoft.com/office/drawing/2014/main" id="{FA003C9D-02F4-4100-AB05-E0FB9419E4A6}"/>
                  </a:ext>
                </a:extLst>
              </p:cNvPr>
              <p:cNvSpPr/>
              <p:nvPr/>
            </p:nvSpPr>
            <p:spPr>
              <a:xfrm>
                <a:off x="7524411" y="2429234"/>
                <a:ext cx="424992" cy="189391"/>
              </a:xfrm>
              <a:custGeom>
                <a:avLst/>
                <a:gdLst>
                  <a:gd name="connsiteX0" fmla="*/ 0 w 424992"/>
                  <a:gd name="connsiteY0" fmla="*/ 186600 h 189391"/>
                  <a:gd name="connsiteX1" fmla="*/ 423763 w 424992"/>
                  <a:gd name="connsiteY1" fmla="*/ 0 h 189391"/>
                  <a:gd name="connsiteX2" fmla="*/ 424992 w 424992"/>
                  <a:gd name="connsiteY2" fmla="*/ 2792 h 189391"/>
                  <a:gd name="connsiteX3" fmla="*/ 1229 w 424992"/>
                  <a:gd name="connsiteY3" fmla="*/ 189392 h 189391"/>
                </a:gdLst>
                <a:ahLst/>
                <a:cxnLst>
                  <a:cxn ang="0">
                    <a:pos x="connsiteX0" y="connsiteY0"/>
                  </a:cxn>
                  <a:cxn ang="0">
                    <a:pos x="connsiteX1" y="connsiteY1"/>
                  </a:cxn>
                  <a:cxn ang="0">
                    <a:pos x="connsiteX2" y="connsiteY2"/>
                  </a:cxn>
                  <a:cxn ang="0">
                    <a:pos x="connsiteX3" y="connsiteY3"/>
                  </a:cxn>
                </a:cxnLst>
                <a:rect l="l" t="t" r="r" b="b"/>
                <a:pathLst>
                  <a:path w="424992" h="189391">
                    <a:moveTo>
                      <a:pt x="0" y="186600"/>
                    </a:moveTo>
                    <a:lnTo>
                      <a:pt x="423763" y="0"/>
                    </a:lnTo>
                    <a:lnTo>
                      <a:pt x="424992" y="2792"/>
                    </a:lnTo>
                    <a:lnTo>
                      <a:pt x="1229" y="189392"/>
                    </a:lnTo>
                    <a:close/>
                  </a:path>
                </a:pathLst>
              </a:custGeom>
              <a:grpFill/>
              <a:ln w="5978" cap="flat">
                <a:noFill/>
                <a:prstDash val="solid"/>
                <a:miter/>
              </a:ln>
            </p:spPr>
            <p:txBody>
              <a:bodyPr rtlCol="0" anchor="ctr"/>
              <a:lstStyle/>
              <a:p>
                <a:endParaRPr lang="en-GB"/>
              </a:p>
            </p:txBody>
          </p:sp>
          <p:sp>
            <p:nvSpPr>
              <p:cNvPr id="5180" name="Vrije vorm: vorm 5179">
                <a:extLst>
                  <a:ext uri="{FF2B5EF4-FFF2-40B4-BE49-F238E27FC236}">
                    <a16:creationId xmlns:a16="http://schemas.microsoft.com/office/drawing/2014/main" id="{EFDF77EC-7E9B-4B19-8044-320C18065457}"/>
                  </a:ext>
                </a:extLst>
              </p:cNvPr>
              <p:cNvSpPr/>
              <p:nvPr/>
            </p:nvSpPr>
            <p:spPr>
              <a:xfrm>
                <a:off x="7516351" y="2608234"/>
                <a:ext cx="18326" cy="18418"/>
              </a:xfrm>
              <a:custGeom>
                <a:avLst/>
                <a:gdLst>
                  <a:gd name="connsiteX0" fmla="*/ 12859 w 18326"/>
                  <a:gd name="connsiteY0" fmla="*/ 17642 h 18418"/>
                  <a:gd name="connsiteX1" fmla="*/ 777 w 18326"/>
                  <a:gd name="connsiteY1" fmla="*/ 12917 h 18418"/>
                  <a:gd name="connsiteX2" fmla="*/ 5443 w 18326"/>
                  <a:gd name="connsiteY2" fmla="*/ 777 h 18418"/>
                  <a:gd name="connsiteX3" fmla="*/ 17524 w 18326"/>
                  <a:gd name="connsiteY3" fmla="*/ 5501 h 18418"/>
                  <a:gd name="connsiteX4" fmla="*/ 12859 w 18326"/>
                  <a:gd name="connsiteY4" fmla="*/ 1764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8">
                    <a:moveTo>
                      <a:pt x="12859" y="17642"/>
                    </a:moveTo>
                    <a:cubicBezTo>
                      <a:pt x="8253" y="19676"/>
                      <a:pt x="2811" y="17582"/>
                      <a:pt x="777" y="12917"/>
                    </a:cubicBezTo>
                    <a:cubicBezTo>
                      <a:pt x="-1256" y="8252"/>
                      <a:pt x="837" y="2810"/>
                      <a:pt x="5443" y="777"/>
                    </a:cubicBezTo>
                    <a:cubicBezTo>
                      <a:pt x="10048" y="-1257"/>
                      <a:pt x="15491" y="836"/>
                      <a:pt x="17524" y="5501"/>
                    </a:cubicBezTo>
                    <a:cubicBezTo>
                      <a:pt x="19617" y="10166"/>
                      <a:pt x="17464" y="15609"/>
                      <a:pt x="12859" y="17642"/>
                    </a:cubicBezTo>
                    <a:close/>
                  </a:path>
                </a:pathLst>
              </a:custGeom>
              <a:grpFill/>
              <a:ln w="5978" cap="flat">
                <a:noFill/>
                <a:prstDash val="solid"/>
                <a:miter/>
              </a:ln>
            </p:spPr>
            <p:txBody>
              <a:bodyPr rtlCol="0" anchor="ctr"/>
              <a:lstStyle/>
              <a:p>
                <a:endParaRPr lang="en-GB"/>
              </a:p>
            </p:txBody>
          </p:sp>
          <p:sp>
            <p:nvSpPr>
              <p:cNvPr id="5181" name="Vrije vorm: vorm 5180">
                <a:extLst>
                  <a:ext uri="{FF2B5EF4-FFF2-40B4-BE49-F238E27FC236}">
                    <a16:creationId xmlns:a16="http://schemas.microsoft.com/office/drawing/2014/main" id="{BF6DDCC2-65E1-472A-B128-1EE11A3E1D31}"/>
                  </a:ext>
                </a:extLst>
              </p:cNvPr>
              <p:cNvSpPr/>
              <p:nvPr/>
            </p:nvSpPr>
            <p:spPr>
              <a:xfrm>
                <a:off x="7939308" y="2421994"/>
                <a:ext cx="18301" cy="18418"/>
              </a:xfrm>
              <a:custGeom>
                <a:avLst/>
                <a:gdLst>
                  <a:gd name="connsiteX0" fmla="*/ 12859 w 18301"/>
                  <a:gd name="connsiteY0" fmla="*/ 17642 h 18418"/>
                  <a:gd name="connsiteX1" fmla="*/ 17523 w 18301"/>
                  <a:gd name="connsiteY1" fmla="*/ 5501 h 18418"/>
                  <a:gd name="connsiteX2" fmla="*/ 5442 w 18301"/>
                  <a:gd name="connsiteY2" fmla="*/ 777 h 18418"/>
                  <a:gd name="connsiteX3" fmla="*/ 778 w 18301"/>
                  <a:gd name="connsiteY3" fmla="*/ 12917 h 18418"/>
                  <a:gd name="connsiteX4" fmla="*/ 12859 w 18301"/>
                  <a:gd name="connsiteY4" fmla="*/ 1764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18">
                    <a:moveTo>
                      <a:pt x="12859" y="17642"/>
                    </a:moveTo>
                    <a:cubicBezTo>
                      <a:pt x="17464" y="15609"/>
                      <a:pt x="19557" y="10166"/>
                      <a:pt x="17523" y="5501"/>
                    </a:cubicBezTo>
                    <a:cubicBezTo>
                      <a:pt x="15490" y="836"/>
                      <a:pt x="10047" y="-1257"/>
                      <a:pt x="5442" y="777"/>
                    </a:cubicBezTo>
                    <a:cubicBezTo>
                      <a:pt x="838" y="2810"/>
                      <a:pt x="-1256" y="8253"/>
                      <a:pt x="778" y="12917"/>
                    </a:cubicBezTo>
                    <a:cubicBezTo>
                      <a:pt x="2811" y="17582"/>
                      <a:pt x="8254" y="19676"/>
                      <a:pt x="12859" y="17642"/>
                    </a:cubicBezTo>
                    <a:close/>
                  </a:path>
                </a:pathLst>
              </a:custGeom>
              <a:grpFill/>
              <a:ln w="5978" cap="flat">
                <a:noFill/>
                <a:prstDash val="solid"/>
                <a:miter/>
              </a:ln>
            </p:spPr>
            <p:txBody>
              <a:bodyPr rtlCol="0" anchor="ctr"/>
              <a:lstStyle/>
              <a:p>
                <a:endParaRPr lang="en-GB"/>
              </a:p>
            </p:txBody>
          </p:sp>
        </p:grpSp>
        <p:grpSp>
          <p:nvGrpSpPr>
            <p:cNvPr id="65" name="Graphic 3">
              <a:extLst>
                <a:ext uri="{FF2B5EF4-FFF2-40B4-BE49-F238E27FC236}">
                  <a16:creationId xmlns:a16="http://schemas.microsoft.com/office/drawing/2014/main" id="{B28AEA3D-4BA4-44E4-9B50-8D65DB932C5A}"/>
                </a:ext>
              </a:extLst>
            </p:cNvPr>
            <p:cNvGrpSpPr/>
            <p:nvPr/>
          </p:nvGrpSpPr>
          <p:grpSpPr>
            <a:xfrm>
              <a:off x="7975939" y="3568286"/>
              <a:ext cx="219009" cy="35110"/>
              <a:chOff x="7975939" y="3568286"/>
              <a:chExt cx="219009" cy="35110"/>
            </a:xfrm>
            <a:grpFill/>
          </p:grpSpPr>
          <p:sp>
            <p:nvSpPr>
              <p:cNvPr id="5176" name="Vrije vorm: vorm 5175">
                <a:extLst>
                  <a:ext uri="{FF2B5EF4-FFF2-40B4-BE49-F238E27FC236}">
                    <a16:creationId xmlns:a16="http://schemas.microsoft.com/office/drawing/2014/main" id="{591FC9DF-B934-4FF5-BFF6-95F4C5707EBF}"/>
                  </a:ext>
                </a:extLst>
              </p:cNvPr>
              <p:cNvSpPr/>
              <p:nvPr/>
            </p:nvSpPr>
            <p:spPr>
              <a:xfrm>
                <a:off x="7984582" y="3575973"/>
                <a:ext cx="201789" cy="19796"/>
              </a:xfrm>
              <a:custGeom>
                <a:avLst/>
                <a:gdLst>
                  <a:gd name="connsiteX0" fmla="*/ 201790 w 201789"/>
                  <a:gd name="connsiteY0" fmla="*/ 16746 h 19796"/>
                  <a:gd name="connsiteX1" fmla="*/ 201551 w 201789"/>
                  <a:gd name="connsiteY1" fmla="*/ 19796 h 19796"/>
                  <a:gd name="connsiteX2" fmla="*/ 0 w 201789"/>
                  <a:gd name="connsiteY2" fmla="*/ 3050 h 19796"/>
                  <a:gd name="connsiteX3" fmla="*/ 239 w 201789"/>
                  <a:gd name="connsiteY3" fmla="*/ 0 h 19796"/>
                </a:gdLst>
                <a:ahLst/>
                <a:cxnLst>
                  <a:cxn ang="0">
                    <a:pos x="connsiteX0" y="connsiteY0"/>
                  </a:cxn>
                  <a:cxn ang="0">
                    <a:pos x="connsiteX1" y="connsiteY1"/>
                  </a:cxn>
                  <a:cxn ang="0">
                    <a:pos x="connsiteX2" y="connsiteY2"/>
                  </a:cxn>
                  <a:cxn ang="0">
                    <a:pos x="connsiteX3" y="connsiteY3"/>
                  </a:cxn>
                </a:cxnLst>
                <a:rect l="l" t="t" r="r" b="b"/>
                <a:pathLst>
                  <a:path w="201789" h="19796">
                    <a:moveTo>
                      <a:pt x="201790" y="16746"/>
                    </a:moveTo>
                    <a:lnTo>
                      <a:pt x="201551" y="19796"/>
                    </a:lnTo>
                    <a:lnTo>
                      <a:pt x="0" y="3050"/>
                    </a:lnTo>
                    <a:lnTo>
                      <a:pt x="239" y="0"/>
                    </a:lnTo>
                    <a:close/>
                  </a:path>
                </a:pathLst>
              </a:custGeom>
              <a:grpFill/>
              <a:ln w="5978" cap="flat">
                <a:noFill/>
                <a:prstDash val="solid"/>
                <a:miter/>
              </a:ln>
            </p:spPr>
            <p:txBody>
              <a:bodyPr rtlCol="0" anchor="ctr"/>
              <a:lstStyle/>
              <a:p>
                <a:endParaRPr lang="en-GB"/>
              </a:p>
            </p:txBody>
          </p:sp>
          <p:sp>
            <p:nvSpPr>
              <p:cNvPr id="5177" name="Vrije vorm: vorm 5176">
                <a:extLst>
                  <a:ext uri="{FF2B5EF4-FFF2-40B4-BE49-F238E27FC236}">
                    <a16:creationId xmlns:a16="http://schemas.microsoft.com/office/drawing/2014/main" id="{16A88A94-7BA2-48FE-8380-30A59259A33E}"/>
                  </a:ext>
                </a:extLst>
              </p:cNvPr>
              <p:cNvSpPr/>
              <p:nvPr/>
            </p:nvSpPr>
            <p:spPr>
              <a:xfrm>
                <a:off x="8176600" y="3584972"/>
                <a:ext cx="18348" cy="18424"/>
              </a:xfrm>
              <a:custGeom>
                <a:avLst/>
                <a:gdLst>
                  <a:gd name="connsiteX0" fmla="*/ 9892 w 18348"/>
                  <a:gd name="connsiteY0" fmla="*/ 32 h 18424"/>
                  <a:gd name="connsiteX1" fmla="*/ 18325 w 18348"/>
                  <a:gd name="connsiteY1" fmla="*/ 9960 h 18424"/>
                  <a:gd name="connsiteX2" fmla="*/ 8457 w 18348"/>
                  <a:gd name="connsiteY2" fmla="*/ 18393 h 18424"/>
                  <a:gd name="connsiteX3" fmla="*/ 24 w 18348"/>
                  <a:gd name="connsiteY3" fmla="*/ 8465 h 18424"/>
                  <a:gd name="connsiteX4" fmla="*/ 9892 w 18348"/>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4">
                    <a:moveTo>
                      <a:pt x="9892" y="32"/>
                    </a:moveTo>
                    <a:cubicBezTo>
                      <a:pt x="14916" y="450"/>
                      <a:pt x="18683" y="4876"/>
                      <a:pt x="18325" y="9960"/>
                    </a:cubicBezTo>
                    <a:cubicBezTo>
                      <a:pt x="17906" y="15043"/>
                      <a:pt x="13540" y="18811"/>
                      <a:pt x="8457" y="18393"/>
                    </a:cubicBezTo>
                    <a:cubicBezTo>
                      <a:pt x="3433" y="17974"/>
                      <a:pt x="-335" y="13548"/>
                      <a:pt x="24" y="8465"/>
                    </a:cubicBezTo>
                    <a:cubicBezTo>
                      <a:pt x="443" y="3381"/>
                      <a:pt x="4868" y="-387"/>
                      <a:pt x="9892" y="32"/>
                    </a:cubicBezTo>
                    <a:close/>
                  </a:path>
                </a:pathLst>
              </a:custGeom>
              <a:grpFill/>
              <a:ln w="5978" cap="flat">
                <a:noFill/>
                <a:prstDash val="solid"/>
                <a:miter/>
              </a:ln>
            </p:spPr>
            <p:txBody>
              <a:bodyPr rtlCol="0" anchor="ctr"/>
              <a:lstStyle/>
              <a:p>
                <a:endParaRPr lang="en-GB"/>
              </a:p>
            </p:txBody>
          </p:sp>
          <p:sp>
            <p:nvSpPr>
              <p:cNvPr id="5178" name="Vrije vorm: vorm 5177">
                <a:extLst>
                  <a:ext uri="{FF2B5EF4-FFF2-40B4-BE49-F238E27FC236}">
                    <a16:creationId xmlns:a16="http://schemas.microsoft.com/office/drawing/2014/main" id="{F1912CE0-7182-4408-9172-7D6F606FE17E}"/>
                  </a:ext>
                </a:extLst>
              </p:cNvPr>
              <p:cNvSpPr/>
              <p:nvPr/>
            </p:nvSpPr>
            <p:spPr>
              <a:xfrm>
                <a:off x="7975939" y="3568286"/>
                <a:ext cx="18364" cy="18424"/>
              </a:xfrm>
              <a:custGeom>
                <a:avLst/>
                <a:gdLst>
                  <a:gd name="connsiteX0" fmla="*/ 9900 w 18364"/>
                  <a:gd name="connsiteY0" fmla="*/ 32 h 18424"/>
                  <a:gd name="connsiteX1" fmla="*/ 32 w 18364"/>
                  <a:gd name="connsiteY1" fmla="*/ 8465 h 18424"/>
                  <a:gd name="connsiteX2" fmla="*/ 8464 w 18364"/>
                  <a:gd name="connsiteY2" fmla="*/ 18393 h 18424"/>
                  <a:gd name="connsiteX3" fmla="*/ 18332 w 18364"/>
                  <a:gd name="connsiteY3" fmla="*/ 9960 h 18424"/>
                  <a:gd name="connsiteX4" fmla="*/ 9900 w 18364"/>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9900" y="32"/>
                    </a:moveTo>
                    <a:cubicBezTo>
                      <a:pt x="4876" y="-387"/>
                      <a:pt x="450" y="3381"/>
                      <a:pt x="32" y="8465"/>
                    </a:cubicBezTo>
                    <a:cubicBezTo>
                      <a:pt x="-387" y="13548"/>
                      <a:pt x="3381" y="17974"/>
                      <a:pt x="8464" y="18393"/>
                    </a:cubicBezTo>
                    <a:cubicBezTo>
                      <a:pt x="13488" y="18811"/>
                      <a:pt x="17914" y="15043"/>
                      <a:pt x="18332" y="9960"/>
                    </a:cubicBezTo>
                    <a:cubicBezTo>
                      <a:pt x="18752" y="4936"/>
                      <a:pt x="14984" y="450"/>
                      <a:pt x="9900" y="32"/>
                    </a:cubicBezTo>
                    <a:close/>
                  </a:path>
                </a:pathLst>
              </a:custGeom>
              <a:grpFill/>
              <a:ln w="5978" cap="flat">
                <a:noFill/>
                <a:prstDash val="solid"/>
                <a:miter/>
              </a:ln>
            </p:spPr>
            <p:txBody>
              <a:bodyPr rtlCol="0" anchor="ctr"/>
              <a:lstStyle/>
              <a:p>
                <a:endParaRPr lang="en-GB"/>
              </a:p>
            </p:txBody>
          </p:sp>
        </p:grpSp>
        <p:grpSp>
          <p:nvGrpSpPr>
            <p:cNvPr id="66" name="Graphic 3">
              <a:extLst>
                <a:ext uri="{FF2B5EF4-FFF2-40B4-BE49-F238E27FC236}">
                  <a16:creationId xmlns:a16="http://schemas.microsoft.com/office/drawing/2014/main" id="{DB70DE87-4B35-4DCB-AE43-986C6D4C6C8F}"/>
                </a:ext>
              </a:extLst>
            </p:cNvPr>
            <p:cNvGrpSpPr/>
            <p:nvPr/>
          </p:nvGrpSpPr>
          <p:grpSpPr>
            <a:xfrm>
              <a:off x="7612984" y="2729650"/>
              <a:ext cx="431604" cy="128233"/>
              <a:chOff x="7612984" y="2729650"/>
              <a:chExt cx="431604" cy="128233"/>
            </a:xfrm>
            <a:grpFill/>
          </p:grpSpPr>
          <p:sp>
            <p:nvSpPr>
              <p:cNvPr id="5173" name="Vrije vorm: vorm 5172">
                <a:extLst>
                  <a:ext uri="{FF2B5EF4-FFF2-40B4-BE49-F238E27FC236}">
                    <a16:creationId xmlns:a16="http://schemas.microsoft.com/office/drawing/2014/main" id="{D7B78401-0044-40B4-9B09-4C079364A5E9}"/>
                  </a:ext>
                </a:extLst>
              </p:cNvPr>
              <p:cNvSpPr/>
              <p:nvPr/>
            </p:nvSpPr>
            <p:spPr>
              <a:xfrm>
                <a:off x="7621153" y="2737490"/>
                <a:ext cx="414987" cy="112734"/>
              </a:xfrm>
              <a:custGeom>
                <a:avLst/>
                <a:gdLst>
                  <a:gd name="connsiteX0" fmla="*/ 0 w 414987"/>
                  <a:gd name="connsiteY0" fmla="*/ 109787 h 112734"/>
                  <a:gd name="connsiteX1" fmla="*/ 414206 w 414987"/>
                  <a:gd name="connsiteY1" fmla="*/ 0 h 112734"/>
                  <a:gd name="connsiteX2" fmla="*/ 414988 w 414987"/>
                  <a:gd name="connsiteY2" fmla="*/ 2948 h 112734"/>
                  <a:gd name="connsiteX3" fmla="*/ 781 w 414987"/>
                  <a:gd name="connsiteY3" fmla="*/ 112735 h 112734"/>
                </a:gdLst>
                <a:ahLst/>
                <a:cxnLst>
                  <a:cxn ang="0">
                    <a:pos x="connsiteX0" y="connsiteY0"/>
                  </a:cxn>
                  <a:cxn ang="0">
                    <a:pos x="connsiteX1" y="connsiteY1"/>
                  </a:cxn>
                  <a:cxn ang="0">
                    <a:pos x="connsiteX2" y="connsiteY2"/>
                  </a:cxn>
                  <a:cxn ang="0">
                    <a:pos x="connsiteX3" y="connsiteY3"/>
                  </a:cxn>
                </a:cxnLst>
                <a:rect l="l" t="t" r="r" b="b"/>
                <a:pathLst>
                  <a:path w="414987" h="112734">
                    <a:moveTo>
                      <a:pt x="0" y="109787"/>
                    </a:moveTo>
                    <a:lnTo>
                      <a:pt x="414206" y="0"/>
                    </a:lnTo>
                    <a:lnTo>
                      <a:pt x="414988" y="2948"/>
                    </a:lnTo>
                    <a:lnTo>
                      <a:pt x="781" y="112735"/>
                    </a:lnTo>
                    <a:close/>
                  </a:path>
                </a:pathLst>
              </a:custGeom>
              <a:grpFill/>
              <a:ln w="5978" cap="flat">
                <a:noFill/>
                <a:prstDash val="solid"/>
                <a:miter/>
              </a:ln>
            </p:spPr>
            <p:txBody>
              <a:bodyPr rtlCol="0" anchor="ctr"/>
              <a:lstStyle/>
              <a:p>
                <a:endParaRPr lang="en-GB"/>
              </a:p>
            </p:txBody>
          </p:sp>
          <p:sp>
            <p:nvSpPr>
              <p:cNvPr id="5174" name="Vrije vorm: vorm 5173">
                <a:extLst>
                  <a:ext uri="{FF2B5EF4-FFF2-40B4-BE49-F238E27FC236}">
                    <a16:creationId xmlns:a16="http://schemas.microsoft.com/office/drawing/2014/main" id="{BE67296F-660F-4C46-A884-15C05ECC0CA9}"/>
                  </a:ext>
                </a:extLst>
              </p:cNvPr>
              <p:cNvSpPr/>
              <p:nvPr/>
            </p:nvSpPr>
            <p:spPr>
              <a:xfrm>
                <a:off x="7612984" y="2839432"/>
                <a:ext cx="18336" cy="18451"/>
              </a:xfrm>
              <a:custGeom>
                <a:avLst/>
                <a:gdLst>
                  <a:gd name="connsiteX0" fmla="*/ 11559 w 18336"/>
                  <a:gd name="connsiteY0" fmla="*/ 18137 h 18451"/>
                  <a:gd name="connsiteX1" fmla="*/ 315 w 18336"/>
                  <a:gd name="connsiteY1" fmla="*/ 11558 h 18451"/>
                  <a:gd name="connsiteX2" fmla="*/ 6774 w 18336"/>
                  <a:gd name="connsiteY2" fmla="*/ 315 h 18451"/>
                  <a:gd name="connsiteX3" fmla="*/ 18018 w 18336"/>
                  <a:gd name="connsiteY3" fmla="*/ 6893 h 18451"/>
                  <a:gd name="connsiteX4" fmla="*/ 11559 w 18336"/>
                  <a:gd name="connsiteY4" fmla="*/ 1813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1">
                    <a:moveTo>
                      <a:pt x="11559" y="18137"/>
                    </a:moveTo>
                    <a:cubicBezTo>
                      <a:pt x="6654" y="19453"/>
                      <a:pt x="1631" y="16522"/>
                      <a:pt x="315" y="11558"/>
                    </a:cubicBezTo>
                    <a:cubicBezTo>
                      <a:pt x="-1001" y="6654"/>
                      <a:pt x="1930" y="1570"/>
                      <a:pt x="6774" y="315"/>
                    </a:cubicBezTo>
                    <a:cubicBezTo>
                      <a:pt x="11679" y="-1001"/>
                      <a:pt x="16702" y="1929"/>
                      <a:pt x="18018" y="6893"/>
                    </a:cubicBezTo>
                    <a:cubicBezTo>
                      <a:pt x="19333" y="11797"/>
                      <a:pt x="16463" y="16881"/>
                      <a:pt x="11559" y="18137"/>
                    </a:cubicBezTo>
                    <a:close/>
                  </a:path>
                </a:pathLst>
              </a:custGeom>
              <a:grpFill/>
              <a:ln w="5978" cap="flat">
                <a:noFill/>
                <a:prstDash val="solid"/>
                <a:miter/>
              </a:ln>
            </p:spPr>
            <p:txBody>
              <a:bodyPr rtlCol="0" anchor="ctr"/>
              <a:lstStyle/>
              <a:p>
                <a:endParaRPr lang="en-GB"/>
              </a:p>
            </p:txBody>
          </p:sp>
          <p:sp>
            <p:nvSpPr>
              <p:cNvPr id="5175" name="Vrije vorm: vorm 5174">
                <a:extLst>
                  <a:ext uri="{FF2B5EF4-FFF2-40B4-BE49-F238E27FC236}">
                    <a16:creationId xmlns:a16="http://schemas.microsoft.com/office/drawing/2014/main" id="{F2FF2B99-C54D-49BE-8026-28C2721E3CF0}"/>
                  </a:ext>
                </a:extLst>
              </p:cNvPr>
              <p:cNvSpPr/>
              <p:nvPr/>
            </p:nvSpPr>
            <p:spPr>
              <a:xfrm>
                <a:off x="8026248" y="2729650"/>
                <a:ext cx="18340" cy="18403"/>
              </a:xfrm>
              <a:custGeom>
                <a:avLst/>
                <a:gdLst>
                  <a:gd name="connsiteX0" fmla="*/ 11563 w 18340"/>
                  <a:gd name="connsiteY0" fmla="*/ 18113 h 18403"/>
                  <a:gd name="connsiteX1" fmla="*/ 18022 w 18340"/>
                  <a:gd name="connsiteY1" fmla="*/ 6869 h 18403"/>
                  <a:gd name="connsiteX2" fmla="*/ 6778 w 18340"/>
                  <a:gd name="connsiteY2" fmla="*/ 291 h 18403"/>
                  <a:gd name="connsiteX3" fmla="*/ 319 w 18340"/>
                  <a:gd name="connsiteY3" fmla="*/ 11534 h 18403"/>
                  <a:gd name="connsiteX4" fmla="*/ 11563 w 18340"/>
                  <a:gd name="connsiteY4" fmla="*/ 1811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3">
                    <a:moveTo>
                      <a:pt x="11563" y="18113"/>
                    </a:moveTo>
                    <a:cubicBezTo>
                      <a:pt x="16467" y="16797"/>
                      <a:pt x="19338" y="11774"/>
                      <a:pt x="18022" y="6869"/>
                    </a:cubicBezTo>
                    <a:cubicBezTo>
                      <a:pt x="16706" y="1965"/>
                      <a:pt x="11683" y="-965"/>
                      <a:pt x="6778" y="291"/>
                    </a:cubicBezTo>
                    <a:cubicBezTo>
                      <a:pt x="1874" y="1606"/>
                      <a:pt x="-997" y="6630"/>
                      <a:pt x="319" y="11534"/>
                    </a:cubicBezTo>
                    <a:cubicBezTo>
                      <a:pt x="1635" y="16439"/>
                      <a:pt x="6659" y="19369"/>
                      <a:pt x="11563" y="18113"/>
                    </a:cubicBezTo>
                    <a:close/>
                  </a:path>
                </a:pathLst>
              </a:custGeom>
              <a:grpFill/>
              <a:ln w="5978" cap="flat">
                <a:noFill/>
                <a:prstDash val="solid"/>
                <a:miter/>
              </a:ln>
            </p:spPr>
            <p:txBody>
              <a:bodyPr rtlCol="0" anchor="ctr"/>
              <a:lstStyle/>
              <a:p>
                <a:endParaRPr lang="en-GB"/>
              </a:p>
            </p:txBody>
          </p:sp>
        </p:grpSp>
        <p:grpSp>
          <p:nvGrpSpPr>
            <p:cNvPr id="67" name="Graphic 3">
              <a:extLst>
                <a:ext uri="{FF2B5EF4-FFF2-40B4-BE49-F238E27FC236}">
                  <a16:creationId xmlns:a16="http://schemas.microsoft.com/office/drawing/2014/main" id="{CF42634B-33F0-4663-BB34-ABC796A4005B}"/>
                </a:ext>
              </a:extLst>
            </p:cNvPr>
            <p:cNvGrpSpPr/>
            <p:nvPr/>
          </p:nvGrpSpPr>
          <p:grpSpPr>
            <a:xfrm>
              <a:off x="7502592" y="2043306"/>
              <a:ext cx="228395" cy="190461"/>
              <a:chOff x="7502592" y="2043306"/>
              <a:chExt cx="228395" cy="190461"/>
            </a:xfrm>
            <a:grpFill/>
          </p:grpSpPr>
          <p:sp>
            <p:nvSpPr>
              <p:cNvPr id="5170" name="Vrije vorm: vorm 5169">
                <a:extLst>
                  <a:ext uri="{FF2B5EF4-FFF2-40B4-BE49-F238E27FC236}">
                    <a16:creationId xmlns:a16="http://schemas.microsoft.com/office/drawing/2014/main" id="{67ECB4C8-1B67-4CB6-8C17-D4A04D30F8AE}"/>
                  </a:ext>
                </a:extLst>
              </p:cNvPr>
              <p:cNvSpPr/>
              <p:nvPr/>
            </p:nvSpPr>
            <p:spPr>
              <a:xfrm>
                <a:off x="7510430" y="2051069"/>
                <a:ext cx="212674" cy="174936"/>
              </a:xfrm>
              <a:custGeom>
                <a:avLst/>
                <a:gdLst>
                  <a:gd name="connsiteX0" fmla="*/ 212675 w 212674"/>
                  <a:gd name="connsiteY0" fmla="*/ 2392 h 174936"/>
                  <a:gd name="connsiteX1" fmla="*/ 1914 w 212674"/>
                  <a:gd name="connsiteY1" fmla="*/ 174936 h 174936"/>
                  <a:gd name="connsiteX2" fmla="*/ 0 w 212674"/>
                  <a:gd name="connsiteY2" fmla="*/ 172544 h 174936"/>
                  <a:gd name="connsiteX3" fmla="*/ 210701 w 212674"/>
                  <a:gd name="connsiteY3" fmla="*/ 0 h 174936"/>
                </a:gdLst>
                <a:ahLst/>
                <a:cxnLst>
                  <a:cxn ang="0">
                    <a:pos x="connsiteX0" y="connsiteY0"/>
                  </a:cxn>
                  <a:cxn ang="0">
                    <a:pos x="connsiteX1" y="connsiteY1"/>
                  </a:cxn>
                  <a:cxn ang="0">
                    <a:pos x="connsiteX2" y="connsiteY2"/>
                  </a:cxn>
                  <a:cxn ang="0">
                    <a:pos x="connsiteX3" y="connsiteY3"/>
                  </a:cxn>
                </a:cxnLst>
                <a:rect l="l" t="t" r="r" b="b"/>
                <a:pathLst>
                  <a:path w="212674" h="174936">
                    <a:moveTo>
                      <a:pt x="212675" y="2392"/>
                    </a:moveTo>
                    <a:lnTo>
                      <a:pt x="1914" y="174936"/>
                    </a:lnTo>
                    <a:lnTo>
                      <a:pt x="0" y="172544"/>
                    </a:lnTo>
                    <a:lnTo>
                      <a:pt x="210701" y="0"/>
                    </a:lnTo>
                    <a:close/>
                  </a:path>
                </a:pathLst>
              </a:custGeom>
              <a:grpFill/>
              <a:ln w="5978" cap="flat">
                <a:noFill/>
                <a:prstDash val="solid"/>
                <a:miter/>
              </a:ln>
            </p:spPr>
            <p:txBody>
              <a:bodyPr rtlCol="0" anchor="ctr"/>
              <a:lstStyle/>
              <a:p>
                <a:endParaRPr lang="en-GB"/>
              </a:p>
            </p:txBody>
          </p:sp>
          <p:sp>
            <p:nvSpPr>
              <p:cNvPr id="5171" name="Vrije vorm: vorm 5170">
                <a:extLst>
                  <a:ext uri="{FF2B5EF4-FFF2-40B4-BE49-F238E27FC236}">
                    <a16:creationId xmlns:a16="http://schemas.microsoft.com/office/drawing/2014/main" id="{1F898A38-935F-4B64-BD2F-FF835B023F73}"/>
                  </a:ext>
                </a:extLst>
              </p:cNvPr>
              <p:cNvSpPr/>
              <p:nvPr/>
            </p:nvSpPr>
            <p:spPr>
              <a:xfrm>
                <a:off x="7712616" y="2043306"/>
                <a:ext cx="18371" cy="18451"/>
              </a:xfrm>
              <a:custGeom>
                <a:avLst/>
                <a:gdLst>
                  <a:gd name="connsiteX0" fmla="*/ 3372 w 18371"/>
                  <a:gd name="connsiteY0" fmla="*/ 2081 h 18451"/>
                  <a:gd name="connsiteX1" fmla="*/ 16290 w 18371"/>
                  <a:gd name="connsiteY1" fmla="*/ 3397 h 18451"/>
                  <a:gd name="connsiteX2" fmla="*/ 14975 w 18371"/>
                  <a:gd name="connsiteY2" fmla="*/ 16375 h 18451"/>
                  <a:gd name="connsiteX3" fmla="*/ 2056 w 18371"/>
                  <a:gd name="connsiteY3" fmla="*/ 14999 h 18451"/>
                  <a:gd name="connsiteX4" fmla="*/ 3372 w 18371"/>
                  <a:gd name="connsiteY4" fmla="*/ 2081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1">
                    <a:moveTo>
                      <a:pt x="3372" y="2081"/>
                    </a:moveTo>
                    <a:cubicBezTo>
                      <a:pt x="7259" y="-1148"/>
                      <a:pt x="13061" y="-550"/>
                      <a:pt x="16290" y="3397"/>
                    </a:cubicBezTo>
                    <a:cubicBezTo>
                      <a:pt x="19520" y="7344"/>
                      <a:pt x="18922" y="13145"/>
                      <a:pt x="14975" y="16375"/>
                    </a:cubicBezTo>
                    <a:cubicBezTo>
                      <a:pt x="11087" y="19605"/>
                      <a:pt x="5286" y="19007"/>
                      <a:pt x="2056" y="14999"/>
                    </a:cubicBezTo>
                    <a:cubicBezTo>
                      <a:pt x="-1114" y="11112"/>
                      <a:pt x="-575" y="5311"/>
                      <a:pt x="3372" y="2081"/>
                    </a:cubicBezTo>
                    <a:close/>
                  </a:path>
                </a:pathLst>
              </a:custGeom>
              <a:grpFill/>
              <a:ln w="5978" cap="flat">
                <a:noFill/>
                <a:prstDash val="solid"/>
                <a:miter/>
              </a:ln>
            </p:spPr>
            <p:txBody>
              <a:bodyPr rtlCol="0" anchor="ctr"/>
              <a:lstStyle/>
              <a:p>
                <a:endParaRPr lang="en-GB"/>
              </a:p>
            </p:txBody>
          </p:sp>
          <p:sp>
            <p:nvSpPr>
              <p:cNvPr id="5172" name="Vrije vorm: vorm 5171">
                <a:extLst>
                  <a:ext uri="{FF2B5EF4-FFF2-40B4-BE49-F238E27FC236}">
                    <a16:creationId xmlns:a16="http://schemas.microsoft.com/office/drawing/2014/main" id="{2F6F8DE6-8A5D-4CB2-9462-7F104900FB5C}"/>
                  </a:ext>
                </a:extLst>
              </p:cNvPr>
              <p:cNvSpPr/>
              <p:nvPr/>
            </p:nvSpPr>
            <p:spPr>
              <a:xfrm>
                <a:off x="7502592" y="2215311"/>
                <a:ext cx="18327" cy="18456"/>
              </a:xfrm>
              <a:custGeom>
                <a:avLst/>
                <a:gdLst>
                  <a:gd name="connsiteX0" fmla="*/ 3353 w 18327"/>
                  <a:gd name="connsiteY0" fmla="*/ 2081 h 18456"/>
                  <a:gd name="connsiteX1" fmla="*/ 2037 w 18327"/>
                  <a:gd name="connsiteY1" fmla="*/ 15059 h 18456"/>
                  <a:gd name="connsiteX2" fmla="*/ 14956 w 18327"/>
                  <a:gd name="connsiteY2" fmla="*/ 16375 h 18456"/>
                  <a:gd name="connsiteX3" fmla="*/ 16271 w 18327"/>
                  <a:gd name="connsiteY3" fmla="*/ 3397 h 18456"/>
                  <a:gd name="connsiteX4" fmla="*/ 3353 w 18327"/>
                  <a:gd name="connsiteY4" fmla="*/ 2081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56">
                    <a:moveTo>
                      <a:pt x="3353" y="2081"/>
                    </a:moveTo>
                    <a:cubicBezTo>
                      <a:pt x="-534" y="5311"/>
                      <a:pt x="-1133" y="11112"/>
                      <a:pt x="2037" y="15059"/>
                    </a:cubicBezTo>
                    <a:cubicBezTo>
                      <a:pt x="5267" y="19007"/>
                      <a:pt x="11008" y="19605"/>
                      <a:pt x="14956" y="16375"/>
                    </a:cubicBezTo>
                    <a:cubicBezTo>
                      <a:pt x="18903" y="13146"/>
                      <a:pt x="19441" y="7344"/>
                      <a:pt x="16271" y="3397"/>
                    </a:cubicBezTo>
                    <a:cubicBezTo>
                      <a:pt x="13041" y="-550"/>
                      <a:pt x="7240" y="-1148"/>
                      <a:pt x="3353" y="2081"/>
                    </a:cubicBezTo>
                    <a:close/>
                  </a:path>
                </a:pathLst>
              </a:custGeom>
              <a:grpFill/>
              <a:ln w="5978" cap="flat">
                <a:noFill/>
                <a:prstDash val="solid"/>
                <a:miter/>
              </a:ln>
            </p:spPr>
            <p:txBody>
              <a:bodyPr rtlCol="0" anchor="ctr"/>
              <a:lstStyle/>
              <a:p>
                <a:endParaRPr lang="en-GB"/>
              </a:p>
            </p:txBody>
          </p:sp>
        </p:grpSp>
        <p:grpSp>
          <p:nvGrpSpPr>
            <p:cNvPr id="68" name="Graphic 3">
              <a:extLst>
                <a:ext uri="{FF2B5EF4-FFF2-40B4-BE49-F238E27FC236}">
                  <a16:creationId xmlns:a16="http://schemas.microsoft.com/office/drawing/2014/main" id="{810A190B-8B23-4ACD-82E9-6CF37B48AD31}"/>
                </a:ext>
              </a:extLst>
            </p:cNvPr>
            <p:cNvGrpSpPr/>
            <p:nvPr/>
          </p:nvGrpSpPr>
          <p:grpSpPr>
            <a:xfrm>
              <a:off x="7678004" y="2921931"/>
              <a:ext cx="405492" cy="80541"/>
              <a:chOff x="7678004" y="2921931"/>
              <a:chExt cx="405492" cy="80541"/>
            </a:xfrm>
            <a:grpFill/>
          </p:grpSpPr>
          <p:sp>
            <p:nvSpPr>
              <p:cNvPr id="5167" name="Vrije vorm: vorm 5166">
                <a:extLst>
                  <a:ext uri="{FF2B5EF4-FFF2-40B4-BE49-F238E27FC236}">
                    <a16:creationId xmlns:a16="http://schemas.microsoft.com/office/drawing/2014/main" id="{0470572E-9CB4-4D3C-A7A5-44BBEB5D7467}"/>
                  </a:ext>
                </a:extLst>
              </p:cNvPr>
              <p:cNvSpPr/>
              <p:nvPr/>
            </p:nvSpPr>
            <p:spPr>
              <a:xfrm>
                <a:off x="7686443" y="2929577"/>
                <a:ext cx="388567" cy="65249"/>
              </a:xfrm>
              <a:custGeom>
                <a:avLst/>
                <a:gdLst>
                  <a:gd name="connsiteX0" fmla="*/ 388089 w 388567"/>
                  <a:gd name="connsiteY0" fmla="*/ 0 h 65249"/>
                  <a:gd name="connsiteX1" fmla="*/ 388567 w 388567"/>
                  <a:gd name="connsiteY1" fmla="*/ 2990 h 65249"/>
                  <a:gd name="connsiteX2" fmla="*/ 478 w 388567"/>
                  <a:gd name="connsiteY2" fmla="*/ 65250 h 65249"/>
                  <a:gd name="connsiteX3" fmla="*/ 0 w 388567"/>
                  <a:gd name="connsiteY3" fmla="*/ 62259 h 65249"/>
                </a:gdLst>
                <a:ahLst/>
                <a:cxnLst>
                  <a:cxn ang="0">
                    <a:pos x="connsiteX0" y="connsiteY0"/>
                  </a:cxn>
                  <a:cxn ang="0">
                    <a:pos x="connsiteX1" y="connsiteY1"/>
                  </a:cxn>
                  <a:cxn ang="0">
                    <a:pos x="connsiteX2" y="connsiteY2"/>
                  </a:cxn>
                  <a:cxn ang="0">
                    <a:pos x="connsiteX3" y="connsiteY3"/>
                  </a:cxn>
                </a:cxnLst>
                <a:rect l="l" t="t" r="r" b="b"/>
                <a:pathLst>
                  <a:path w="388567" h="65249">
                    <a:moveTo>
                      <a:pt x="388089" y="0"/>
                    </a:moveTo>
                    <a:lnTo>
                      <a:pt x="388567" y="2990"/>
                    </a:lnTo>
                    <a:lnTo>
                      <a:pt x="478" y="65250"/>
                    </a:lnTo>
                    <a:lnTo>
                      <a:pt x="0" y="62259"/>
                    </a:lnTo>
                    <a:close/>
                  </a:path>
                </a:pathLst>
              </a:custGeom>
              <a:grpFill/>
              <a:ln w="5978" cap="flat">
                <a:noFill/>
                <a:prstDash val="solid"/>
                <a:miter/>
              </a:ln>
            </p:spPr>
            <p:txBody>
              <a:bodyPr rtlCol="0" anchor="ctr"/>
              <a:lstStyle/>
              <a:p>
                <a:endParaRPr lang="en-GB"/>
              </a:p>
            </p:txBody>
          </p:sp>
          <p:sp>
            <p:nvSpPr>
              <p:cNvPr id="5168" name="Vrije vorm: vorm 5167">
                <a:extLst>
                  <a:ext uri="{FF2B5EF4-FFF2-40B4-BE49-F238E27FC236}">
                    <a16:creationId xmlns:a16="http://schemas.microsoft.com/office/drawing/2014/main" id="{8715C424-8BD3-41A5-A963-1D61E825EF43}"/>
                  </a:ext>
                </a:extLst>
              </p:cNvPr>
              <p:cNvSpPr/>
              <p:nvPr/>
            </p:nvSpPr>
            <p:spPr>
              <a:xfrm>
                <a:off x="7678004" y="2984070"/>
                <a:ext cx="18314" cy="18402"/>
              </a:xfrm>
              <a:custGeom>
                <a:avLst/>
                <a:gdLst>
                  <a:gd name="connsiteX0" fmla="*/ 10653 w 18314"/>
                  <a:gd name="connsiteY0" fmla="*/ 18292 h 18402"/>
                  <a:gd name="connsiteX1" fmla="*/ 127 w 18314"/>
                  <a:gd name="connsiteY1" fmla="*/ 10636 h 18402"/>
                  <a:gd name="connsiteX2" fmla="*/ 7662 w 18314"/>
                  <a:gd name="connsiteY2" fmla="*/ 110 h 18402"/>
                  <a:gd name="connsiteX3" fmla="*/ 18188 w 18314"/>
                  <a:gd name="connsiteY3" fmla="*/ 7766 h 18402"/>
                  <a:gd name="connsiteX4" fmla="*/ 10653 w 18314"/>
                  <a:gd name="connsiteY4" fmla="*/ 18292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02">
                    <a:moveTo>
                      <a:pt x="10653" y="18292"/>
                    </a:moveTo>
                    <a:cubicBezTo>
                      <a:pt x="5629" y="19069"/>
                      <a:pt x="964" y="15660"/>
                      <a:pt x="127" y="10636"/>
                    </a:cubicBezTo>
                    <a:cubicBezTo>
                      <a:pt x="-711" y="5613"/>
                      <a:pt x="2699" y="888"/>
                      <a:pt x="7662" y="110"/>
                    </a:cubicBezTo>
                    <a:cubicBezTo>
                      <a:pt x="12686" y="-667"/>
                      <a:pt x="17351" y="2742"/>
                      <a:pt x="18188" y="7766"/>
                    </a:cubicBezTo>
                    <a:cubicBezTo>
                      <a:pt x="19026" y="12730"/>
                      <a:pt x="15616" y="17455"/>
                      <a:pt x="10653" y="18292"/>
                    </a:cubicBezTo>
                    <a:close/>
                  </a:path>
                </a:pathLst>
              </a:custGeom>
              <a:grpFill/>
              <a:ln w="5978" cap="flat">
                <a:noFill/>
                <a:prstDash val="solid"/>
                <a:miter/>
              </a:ln>
            </p:spPr>
            <p:txBody>
              <a:bodyPr rtlCol="0" anchor="ctr"/>
              <a:lstStyle/>
              <a:p>
                <a:endParaRPr lang="en-GB"/>
              </a:p>
            </p:txBody>
          </p:sp>
          <p:sp>
            <p:nvSpPr>
              <p:cNvPr id="5169" name="Vrije vorm: vorm 5168">
                <a:extLst>
                  <a:ext uri="{FF2B5EF4-FFF2-40B4-BE49-F238E27FC236}">
                    <a16:creationId xmlns:a16="http://schemas.microsoft.com/office/drawing/2014/main" id="{7894F1AF-1654-4721-9182-336D63D45544}"/>
                  </a:ext>
                </a:extLst>
              </p:cNvPr>
              <p:cNvSpPr/>
              <p:nvPr/>
            </p:nvSpPr>
            <p:spPr>
              <a:xfrm>
                <a:off x="8065194" y="2921931"/>
                <a:ext cx="18302" cy="18416"/>
              </a:xfrm>
              <a:custGeom>
                <a:avLst/>
                <a:gdLst>
                  <a:gd name="connsiteX0" fmla="*/ 10595 w 18302"/>
                  <a:gd name="connsiteY0" fmla="*/ 18292 h 18416"/>
                  <a:gd name="connsiteX1" fmla="*/ 18190 w 18302"/>
                  <a:gd name="connsiteY1" fmla="*/ 7766 h 18416"/>
                  <a:gd name="connsiteX2" fmla="*/ 7664 w 18302"/>
                  <a:gd name="connsiteY2" fmla="*/ 110 h 18416"/>
                  <a:gd name="connsiteX3" fmla="*/ 128 w 18302"/>
                  <a:gd name="connsiteY3" fmla="*/ 10637 h 18416"/>
                  <a:gd name="connsiteX4" fmla="*/ 10595 w 18302"/>
                  <a:gd name="connsiteY4" fmla="*/ 1829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16">
                    <a:moveTo>
                      <a:pt x="10595" y="18292"/>
                    </a:moveTo>
                    <a:cubicBezTo>
                      <a:pt x="15618" y="17514"/>
                      <a:pt x="18968" y="12790"/>
                      <a:pt x="18190" y="7766"/>
                    </a:cubicBezTo>
                    <a:cubicBezTo>
                      <a:pt x="17353" y="2742"/>
                      <a:pt x="12688" y="-667"/>
                      <a:pt x="7664" y="110"/>
                    </a:cubicBezTo>
                    <a:cubicBezTo>
                      <a:pt x="2640" y="888"/>
                      <a:pt x="-709" y="5613"/>
                      <a:pt x="128" y="10637"/>
                    </a:cubicBezTo>
                    <a:cubicBezTo>
                      <a:pt x="906" y="15660"/>
                      <a:pt x="5631" y="19129"/>
                      <a:pt x="10595" y="18292"/>
                    </a:cubicBezTo>
                    <a:close/>
                  </a:path>
                </a:pathLst>
              </a:custGeom>
              <a:grpFill/>
              <a:ln w="5978" cap="flat">
                <a:noFill/>
                <a:prstDash val="solid"/>
                <a:miter/>
              </a:ln>
            </p:spPr>
            <p:txBody>
              <a:bodyPr rtlCol="0" anchor="ctr"/>
              <a:lstStyle/>
              <a:p>
                <a:endParaRPr lang="en-GB"/>
              </a:p>
            </p:txBody>
          </p:sp>
        </p:grpSp>
        <p:grpSp>
          <p:nvGrpSpPr>
            <p:cNvPr id="69" name="Graphic 3">
              <a:extLst>
                <a:ext uri="{FF2B5EF4-FFF2-40B4-BE49-F238E27FC236}">
                  <a16:creationId xmlns:a16="http://schemas.microsoft.com/office/drawing/2014/main" id="{33CD1680-86B4-4168-8F68-4A3727063DD2}"/>
                </a:ext>
              </a:extLst>
            </p:cNvPr>
            <p:cNvGrpSpPr/>
            <p:nvPr/>
          </p:nvGrpSpPr>
          <p:grpSpPr>
            <a:xfrm>
              <a:off x="7670985" y="2887028"/>
              <a:ext cx="391731" cy="84558"/>
              <a:chOff x="7670985" y="2887028"/>
              <a:chExt cx="391731" cy="84558"/>
            </a:xfrm>
            <a:grpFill/>
          </p:grpSpPr>
          <p:sp>
            <p:nvSpPr>
              <p:cNvPr id="5164" name="Vrije vorm: vorm 5163">
                <a:extLst>
                  <a:ext uri="{FF2B5EF4-FFF2-40B4-BE49-F238E27FC236}">
                    <a16:creationId xmlns:a16="http://schemas.microsoft.com/office/drawing/2014/main" id="{E4CDAFE6-882C-40C1-A652-440CE7C62FC7}"/>
                  </a:ext>
                </a:extLst>
              </p:cNvPr>
              <p:cNvSpPr/>
              <p:nvPr/>
            </p:nvSpPr>
            <p:spPr>
              <a:xfrm>
                <a:off x="7679446" y="2894650"/>
                <a:ext cx="374812" cy="69316"/>
              </a:xfrm>
              <a:custGeom>
                <a:avLst/>
                <a:gdLst>
                  <a:gd name="connsiteX0" fmla="*/ 374274 w 374812"/>
                  <a:gd name="connsiteY0" fmla="*/ 0 h 69316"/>
                  <a:gd name="connsiteX1" fmla="*/ 374812 w 374812"/>
                  <a:gd name="connsiteY1" fmla="*/ 3050 h 69316"/>
                  <a:gd name="connsiteX2" fmla="*/ 539 w 374812"/>
                  <a:gd name="connsiteY2" fmla="*/ 69317 h 69316"/>
                  <a:gd name="connsiteX3" fmla="*/ 0 w 374812"/>
                  <a:gd name="connsiteY3" fmla="*/ 66266 h 69316"/>
                </a:gdLst>
                <a:ahLst/>
                <a:cxnLst>
                  <a:cxn ang="0">
                    <a:pos x="connsiteX0" y="connsiteY0"/>
                  </a:cxn>
                  <a:cxn ang="0">
                    <a:pos x="connsiteX1" y="connsiteY1"/>
                  </a:cxn>
                  <a:cxn ang="0">
                    <a:pos x="connsiteX2" y="connsiteY2"/>
                  </a:cxn>
                  <a:cxn ang="0">
                    <a:pos x="connsiteX3" y="connsiteY3"/>
                  </a:cxn>
                </a:cxnLst>
                <a:rect l="l" t="t" r="r" b="b"/>
                <a:pathLst>
                  <a:path w="374812" h="69316">
                    <a:moveTo>
                      <a:pt x="374274" y="0"/>
                    </a:moveTo>
                    <a:lnTo>
                      <a:pt x="374812" y="3050"/>
                    </a:lnTo>
                    <a:lnTo>
                      <a:pt x="539" y="69317"/>
                    </a:lnTo>
                    <a:lnTo>
                      <a:pt x="0" y="66266"/>
                    </a:lnTo>
                    <a:close/>
                  </a:path>
                </a:pathLst>
              </a:custGeom>
              <a:grpFill/>
              <a:ln w="5978" cap="flat">
                <a:noFill/>
                <a:prstDash val="solid"/>
                <a:miter/>
              </a:ln>
            </p:spPr>
            <p:txBody>
              <a:bodyPr rtlCol="0" anchor="ctr"/>
              <a:lstStyle/>
              <a:p>
                <a:endParaRPr lang="en-GB"/>
              </a:p>
            </p:txBody>
          </p:sp>
          <p:sp>
            <p:nvSpPr>
              <p:cNvPr id="5165" name="Vrije vorm: vorm 5164">
                <a:extLst>
                  <a:ext uri="{FF2B5EF4-FFF2-40B4-BE49-F238E27FC236}">
                    <a16:creationId xmlns:a16="http://schemas.microsoft.com/office/drawing/2014/main" id="{394F58DB-7D33-463D-8A78-0FCD986504FA}"/>
                  </a:ext>
                </a:extLst>
              </p:cNvPr>
              <p:cNvSpPr/>
              <p:nvPr/>
            </p:nvSpPr>
            <p:spPr>
              <a:xfrm>
                <a:off x="7670985" y="2953175"/>
                <a:ext cx="18354" cy="18412"/>
              </a:xfrm>
              <a:custGeom>
                <a:avLst/>
                <a:gdLst>
                  <a:gd name="connsiteX0" fmla="*/ 10793 w 18354"/>
                  <a:gd name="connsiteY0" fmla="*/ 18267 h 18412"/>
                  <a:gd name="connsiteX1" fmla="*/ 147 w 18354"/>
                  <a:gd name="connsiteY1" fmla="*/ 10791 h 18412"/>
                  <a:gd name="connsiteX2" fmla="*/ 7564 w 18354"/>
                  <a:gd name="connsiteY2" fmla="*/ 145 h 18412"/>
                  <a:gd name="connsiteX3" fmla="*/ 18209 w 18354"/>
                  <a:gd name="connsiteY3" fmla="*/ 7621 h 18412"/>
                  <a:gd name="connsiteX4" fmla="*/ 10793 w 18354"/>
                  <a:gd name="connsiteY4" fmla="*/ 1826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0793" y="18267"/>
                    </a:moveTo>
                    <a:cubicBezTo>
                      <a:pt x="5829" y="19164"/>
                      <a:pt x="1044" y="15815"/>
                      <a:pt x="147" y="10791"/>
                    </a:cubicBezTo>
                    <a:cubicBezTo>
                      <a:pt x="-749" y="5767"/>
                      <a:pt x="2540" y="983"/>
                      <a:pt x="7564" y="145"/>
                    </a:cubicBezTo>
                    <a:cubicBezTo>
                      <a:pt x="12528" y="-752"/>
                      <a:pt x="17313" y="2597"/>
                      <a:pt x="18209" y="7621"/>
                    </a:cubicBezTo>
                    <a:cubicBezTo>
                      <a:pt x="19106" y="12585"/>
                      <a:pt x="15758" y="17370"/>
                      <a:pt x="10793" y="18267"/>
                    </a:cubicBezTo>
                    <a:close/>
                  </a:path>
                </a:pathLst>
              </a:custGeom>
              <a:grpFill/>
              <a:ln w="5978" cap="flat">
                <a:noFill/>
                <a:prstDash val="solid"/>
                <a:miter/>
              </a:ln>
            </p:spPr>
            <p:txBody>
              <a:bodyPr rtlCol="0" anchor="ctr"/>
              <a:lstStyle/>
              <a:p>
                <a:endParaRPr lang="en-GB"/>
              </a:p>
            </p:txBody>
          </p:sp>
          <p:sp>
            <p:nvSpPr>
              <p:cNvPr id="5166" name="Vrije vorm: vorm 5165">
                <a:extLst>
                  <a:ext uri="{FF2B5EF4-FFF2-40B4-BE49-F238E27FC236}">
                    <a16:creationId xmlns:a16="http://schemas.microsoft.com/office/drawing/2014/main" id="{429DB4ED-1BA5-4151-82E8-62A68163DAD7}"/>
                  </a:ext>
                </a:extLst>
              </p:cNvPr>
              <p:cNvSpPr/>
              <p:nvPr/>
            </p:nvSpPr>
            <p:spPr>
              <a:xfrm>
                <a:off x="8044364" y="2887028"/>
                <a:ext cx="18352" cy="18412"/>
              </a:xfrm>
              <a:custGeom>
                <a:avLst/>
                <a:gdLst>
                  <a:gd name="connsiteX0" fmla="*/ 10791 w 18352"/>
                  <a:gd name="connsiteY0" fmla="*/ 18267 h 18412"/>
                  <a:gd name="connsiteX1" fmla="*/ 18207 w 18352"/>
                  <a:gd name="connsiteY1" fmla="*/ 7621 h 18412"/>
                  <a:gd name="connsiteX2" fmla="*/ 7561 w 18352"/>
                  <a:gd name="connsiteY2" fmla="*/ 145 h 18412"/>
                  <a:gd name="connsiteX3" fmla="*/ 145 w 18352"/>
                  <a:gd name="connsiteY3" fmla="*/ 10791 h 18412"/>
                  <a:gd name="connsiteX4" fmla="*/ 10791 w 18352"/>
                  <a:gd name="connsiteY4" fmla="*/ 1826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2">
                    <a:moveTo>
                      <a:pt x="10791" y="18267"/>
                    </a:moveTo>
                    <a:cubicBezTo>
                      <a:pt x="15755" y="17370"/>
                      <a:pt x="19105" y="12585"/>
                      <a:pt x="18207" y="7621"/>
                    </a:cubicBezTo>
                    <a:cubicBezTo>
                      <a:pt x="17310" y="2597"/>
                      <a:pt x="12525" y="-752"/>
                      <a:pt x="7561" y="145"/>
                    </a:cubicBezTo>
                    <a:cubicBezTo>
                      <a:pt x="2598" y="1042"/>
                      <a:pt x="-752" y="5827"/>
                      <a:pt x="145" y="10791"/>
                    </a:cubicBezTo>
                    <a:cubicBezTo>
                      <a:pt x="1043" y="15815"/>
                      <a:pt x="5827" y="19164"/>
                      <a:pt x="10791" y="18267"/>
                    </a:cubicBezTo>
                    <a:close/>
                  </a:path>
                </a:pathLst>
              </a:custGeom>
              <a:grpFill/>
              <a:ln w="5978" cap="flat">
                <a:noFill/>
                <a:prstDash val="solid"/>
                <a:miter/>
              </a:ln>
            </p:spPr>
            <p:txBody>
              <a:bodyPr rtlCol="0" anchor="ctr"/>
              <a:lstStyle/>
              <a:p>
                <a:endParaRPr lang="en-GB"/>
              </a:p>
            </p:txBody>
          </p:sp>
        </p:grpSp>
        <p:grpSp>
          <p:nvGrpSpPr>
            <p:cNvPr id="70" name="Graphic 3">
              <a:extLst>
                <a:ext uri="{FF2B5EF4-FFF2-40B4-BE49-F238E27FC236}">
                  <a16:creationId xmlns:a16="http://schemas.microsoft.com/office/drawing/2014/main" id="{40B0DB1E-857A-4862-8653-9E9227A783CE}"/>
                </a:ext>
              </a:extLst>
            </p:cNvPr>
            <p:cNvGrpSpPr/>
            <p:nvPr/>
          </p:nvGrpSpPr>
          <p:grpSpPr>
            <a:xfrm>
              <a:off x="7355249" y="1601765"/>
              <a:ext cx="222745" cy="262317"/>
              <a:chOff x="7355249" y="1601765"/>
              <a:chExt cx="222745" cy="262317"/>
            </a:xfrm>
            <a:grpFill/>
          </p:grpSpPr>
          <p:sp>
            <p:nvSpPr>
              <p:cNvPr id="5161" name="Vrije vorm: vorm 5160">
                <a:extLst>
                  <a:ext uri="{FF2B5EF4-FFF2-40B4-BE49-F238E27FC236}">
                    <a16:creationId xmlns:a16="http://schemas.microsoft.com/office/drawing/2014/main" id="{20E06F5F-DFB7-4B72-BDEA-EE6426B0FB1B}"/>
                  </a:ext>
                </a:extLst>
              </p:cNvPr>
              <p:cNvSpPr/>
              <p:nvPr/>
            </p:nvSpPr>
            <p:spPr>
              <a:xfrm>
                <a:off x="7362946" y="1609692"/>
                <a:ext cx="207351" cy="246525"/>
              </a:xfrm>
              <a:custGeom>
                <a:avLst/>
                <a:gdLst>
                  <a:gd name="connsiteX0" fmla="*/ 207351 w 207351"/>
                  <a:gd name="connsiteY0" fmla="*/ 1974 h 246525"/>
                  <a:gd name="connsiteX1" fmla="*/ 2333 w 207351"/>
                  <a:gd name="connsiteY1" fmla="*/ 246525 h 246525"/>
                  <a:gd name="connsiteX2" fmla="*/ 0 w 207351"/>
                  <a:gd name="connsiteY2" fmla="*/ 244552 h 246525"/>
                  <a:gd name="connsiteX3" fmla="*/ 205019 w 207351"/>
                  <a:gd name="connsiteY3" fmla="*/ 0 h 246525"/>
                </a:gdLst>
                <a:ahLst/>
                <a:cxnLst>
                  <a:cxn ang="0">
                    <a:pos x="connsiteX0" y="connsiteY0"/>
                  </a:cxn>
                  <a:cxn ang="0">
                    <a:pos x="connsiteX1" y="connsiteY1"/>
                  </a:cxn>
                  <a:cxn ang="0">
                    <a:pos x="connsiteX2" y="connsiteY2"/>
                  </a:cxn>
                  <a:cxn ang="0">
                    <a:pos x="connsiteX3" y="connsiteY3"/>
                  </a:cxn>
                </a:cxnLst>
                <a:rect l="l" t="t" r="r" b="b"/>
                <a:pathLst>
                  <a:path w="207351" h="246525">
                    <a:moveTo>
                      <a:pt x="207351" y="1974"/>
                    </a:moveTo>
                    <a:lnTo>
                      <a:pt x="2333" y="246525"/>
                    </a:lnTo>
                    <a:lnTo>
                      <a:pt x="0" y="244552"/>
                    </a:lnTo>
                    <a:lnTo>
                      <a:pt x="205019" y="0"/>
                    </a:lnTo>
                    <a:close/>
                  </a:path>
                </a:pathLst>
              </a:custGeom>
              <a:grpFill/>
              <a:ln w="5978" cap="flat">
                <a:noFill/>
                <a:prstDash val="solid"/>
                <a:miter/>
              </a:ln>
            </p:spPr>
            <p:txBody>
              <a:bodyPr rtlCol="0" anchor="ctr"/>
              <a:lstStyle/>
              <a:p>
                <a:endParaRPr lang="en-GB"/>
              </a:p>
            </p:txBody>
          </p:sp>
          <p:sp>
            <p:nvSpPr>
              <p:cNvPr id="5162" name="Vrije vorm: vorm 5161">
                <a:extLst>
                  <a:ext uri="{FF2B5EF4-FFF2-40B4-BE49-F238E27FC236}">
                    <a16:creationId xmlns:a16="http://schemas.microsoft.com/office/drawing/2014/main" id="{B65D08BD-9A9A-44BE-9D98-32234C10069C}"/>
                  </a:ext>
                </a:extLst>
              </p:cNvPr>
              <p:cNvSpPr/>
              <p:nvPr/>
            </p:nvSpPr>
            <p:spPr>
              <a:xfrm>
                <a:off x="7559645" y="1601765"/>
                <a:ext cx="18349" cy="18423"/>
              </a:xfrm>
              <a:custGeom>
                <a:avLst/>
                <a:gdLst>
                  <a:gd name="connsiteX0" fmla="*/ 2160 w 18349"/>
                  <a:gd name="connsiteY0" fmla="*/ 3261 h 18423"/>
                  <a:gd name="connsiteX1" fmla="*/ 15078 w 18349"/>
                  <a:gd name="connsiteY1" fmla="*/ 2185 h 18423"/>
                  <a:gd name="connsiteX2" fmla="*/ 16215 w 18349"/>
                  <a:gd name="connsiteY2" fmla="*/ 15163 h 18423"/>
                  <a:gd name="connsiteX3" fmla="*/ 3296 w 18349"/>
                  <a:gd name="connsiteY3" fmla="*/ 16239 h 18423"/>
                  <a:gd name="connsiteX4" fmla="*/ 2160 w 18349"/>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3">
                    <a:moveTo>
                      <a:pt x="2160" y="3261"/>
                    </a:moveTo>
                    <a:cubicBezTo>
                      <a:pt x="5389" y="-626"/>
                      <a:pt x="11191" y="-1105"/>
                      <a:pt x="15078" y="2185"/>
                    </a:cubicBezTo>
                    <a:cubicBezTo>
                      <a:pt x="18965" y="5474"/>
                      <a:pt x="19444" y="11275"/>
                      <a:pt x="16215" y="15163"/>
                    </a:cubicBezTo>
                    <a:cubicBezTo>
                      <a:pt x="12985" y="19050"/>
                      <a:pt x="7184" y="19529"/>
                      <a:pt x="3296" y="16239"/>
                    </a:cubicBezTo>
                    <a:cubicBezTo>
                      <a:pt x="-592" y="13010"/>
                      <a:pt x="-1130" y="7149"/>
                      <a:pt x="2160" y="3261"/>
                    </a:cubicBezTo>
                    <a:close/>
                  </a:path>
                </a:pathLst>
              </a:custGeom>
              <a:grpFill/>
              <a:ln w="5978" cap="flat">
                <a:noFill/>
                <a:prstDash val="solid"/>
                <a:miter/>
              </a:ln>
            </p:spPr>
            <p:txBody>
              <a:bodyPr rtlCol="0" anchor="ctr"/>
              <a:lstStyle/>
              <a:p>
                <a:endParaRPr lang="en-GB"/>
              </a:p>
            </p:txBody>
          </p:sp>
          <p:sp>
            <p:nvSpPr>
              <p:cNvPr id="5163" name="Vrije vorm: vorm 5162">
                <a:extLst>
                  <a:ext uri="{FF2B5EF4-FFF2-40B4-BE49-F238E27FC236}">
                    <a16:creationId xmlns:a16="http://schemas.microsoft.com/office/drawing/2014/main" id="{AED15CB9-EA3D-4C00-B792-226AEBE667D1}"/>
                  </a:ext>
                </a:extLst>
              </p:cNvPr>
              <p:cNvSpPr/>
              <p:nvPr/>
            </p:nvSpPr>
            <p:spPr>
              <a:xfrm>
                <a:off x="7355249" y="1845659"/>
                <a:ext cx="18324" cy="18423"/>
              </a:xfrm>
              <a:custGeom>
                <a:avLst/>
                <a:gdLst>
                  <a:gd name="connsiteX0" fmla="*/ 2135 w 18324"/>
                  <a:gd name="connsiteY0" fmla="*/ 3261 h 18423"/>
                  <a:gd name="connsiteX1" fmla="*/ 3272 w 18324"/>
                  <a:gd name="connsiteY1" fmla="*/ 16239 h 18423"/>
                  <a:gd name="connsiteX2" fmla="*/ 16190 w 18324"/>
                  <a:gd name="connsiteY2" fmla="*/ 15163 h 18423"/>
                  <a:gd name="connsiteX3" fmla="*/ 15054 w 18324"/>
                  <a:gd name="connsiteY3" fmla="*/ 2185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1095" y="7149"/>
                      <a:pt x="-616" y="12950"/>
                      <a:pt x="3272" y="16239"/>
                    </a:cubicBezTo>
                    <a:cubicBezTo>
                      <a:pt x="7159" y="19529"/>
                      <a:pt x="12901" y="19050"/>
                      <a:pt x="16190" y="15163"/>
                    </a:cubicBezTo>
                    <a:cubicBezTo>
                      <a:pt x="19419" y="11275"/>
                      <a:pt x="18941" y="5474"/>
                      <a:pt x="15054" y="2185"/>
                    </a:cubicBezTo>
                    <a:cubicBezTo>
                      <a:pt x="11166" y="-1105"/>
                      <a:pt x="5425" y="-626"/>
                      <a:pt x="2135" y="3261"/>
                    </a:cubicBezTo>
                    <a:close/>
                  </a:path>
                </a:pathLst>
              </a:custGeom>
              <a:grpFill/>
              <a:ln w="5978" cap="flat">
                <a:noFill/>
                <a:prstDash val="solid"/>
                <a:miter/>
              </a:ln>
            </p:spPr>
            <p:txBody>
              <a:bodyPr rtlCol="0" anchor="ctr"/>
              <a:lstStyle/>
              <a:p>
                <a:endParaRPr lang="en-GB"/>
              </a:p>
            </p:txBody>
          </p:sp>
        </p:grpSp>
        <p:grpSp>
          <p:nvGrpSpPr>
            <p:cNvPr id="71" name="Graphic 3">
              <a:extLst>
                <a:ext uri="{FF2B5EF4-FFF2-40B4-BE49-F238E27FC236}">
                  <a16:creationId xmlns:a16="http://schemas.microsoft.com/office/drawing/2014/main" id="{9FA77A83-CD8F-48C3-8A24-DC75E80FE352}"/>
                </a:ext>
              </a:extLst>
            </p:cNvPr>
            <p:cNvGrpSpPr/>
            <p:nvPr/>
          </p:nvGrpSpPr>
          <p:grpSpPr>
            <a:xfrm>
              <a:off x="7687884" y="2479142"/>
              <a:ext cx="82285" cy="53249"/>
              <a:chOff x="7687884" y="2479142"/>
              <a:chExt cx="82285" cy="53249"/>
            </a:xfrm>
            <a:grpFill/>
          </p:grpSpPr>
          <p:sp>
            <p:nvSpPr>
              <p:cNvPr id="5158" name="Vrije vorm: vorm 5157">
                <a:extLst>
                  <a:ext uri="{FF2B5EF4-FFF2-40B4-BE49-F238E27FC236}">
                    <a16:creationId xmlns:a16="http://schemas.microsoft.com/office/drawing/2014/main" id="{CF3D1863-C570-46D8-B953-1ADC4B8962DC}"/>
                  </a:ext>
                </a:extLst>
              </p:cNvPr>
              <p:cNvSpPr/>
              <p:nvPr/>
            </p:nvSpPr>
            <p:spPr>
              <a:xfrm>
                <a:off x="7695953" y="2486824"/>
                <a:ext cx="66207" cy="37917"/>
              </a:xfrm>
              <a:custGeom>
                <a:avLst/>
                <a:gdLst>
                  <a:gd name="connsiteX0" fmla="*/ 66207 w 66207"/>
                  <a:gd name="connsiteY0" fmla="*/ 2691 h 37917"/>
                  <a:gd name="connsiteX1" fmla="*/ 1435 w 66207"/>
                  <a:gd name="connsiteY1" fmla="*/ 37918 h 37917"/>
                  <a:gd name="connsiteX2" fmla="*/ 0 w 66207"/>
                  <a:gd name="connsiteY2" fmla="*/ 35226 h 37917"/>
                  <a:gd name="connsiteX3" fmla="*/ 64712 w 66207"/>
                  <a:gd name="connsiteY3" fmla="*/ 0 h 37917"/>
                </a:gdLst>
                <a:ahLst/>
                <a:cxnLst>
                  <a:cxn ang="0">
                    <a:pos x="connsiteX0" y="connsiteY0"/>
                  </a:cxn>
                  <a:cxn ang="0">
                    <a:pos x="connsiteX1" y="connsiteY1"/>
                  </a:cxn>
                  <a:cxn ang="0">
                    <a:pos x="connsiteX2" y="connsiteY2"/>
                  </a:cxn>
                  <a:cxn ang="0">
                    <a:pos x="connsiteX3" y="connsiteY3"/>
                  </a:cxn>
                </a:cxnLst>
                <a:rect l="l" t="t" r="r" b="b"/>
                <a:pathLst>
                  <a:path w="66207" h="37917">
                    <a:moveTo>
                      <a:pt x="66207" y="2691"/>
                    </a:moveTo>
                    <a:lnTo>
                      <a:pt x="1435" y="37918"/>
                    </a:lnTo>
                    <a:lnTo>
                      <a:pt x="0" y="35226"/>
                    </a:lnTo>
                    <a:lnTo>
                      <a:pt x="64712" y="0"/>
                    </a:lnTo>
                    <a:close/>
                  </a:path>
                </a:pathLst>
              </a:custGeom>
              <a:grpFill/>
              <a:ln w="5978" cap="flat">
                <a:noFill/>
                <a:prstDash val="solid"/>
                <a:miter/>
              </a:ln>
            </p:spPr>
            <p:txBody>
              <a:bodyPr rtlCol="0" anchor="ctr"/>
              <a:lstStyle/>
              <a:p>
                <a:endParaRPr lang="en-GB"/>
              </a:p>
            </p:txBody>
          </p:sp>
          <p:sp>
            <p:nvSpPr>
              <p:cNvPr id="5159" name="Vrije vorm: vorm 5158">
                <a:extLst>
                  <a:ext uri="{FF2B5EF4-FFF2-40B4-BE49-F238E27FC236}">
                    <a16:creationId xmlns:a16="http://schemas.microsoft.com/office/drawing/2014/main" id="{DB2878F8-6578-441E-A331-438F596D3119}"/>
                  </a:ext>
                </a:extLst>
              </p:cNvPr>
              <p:cNvSpPr/>
              <p:nvPr/>
            </p:nvSpPr>
            <p:spPr>
              <a:xfrm>
                <a:off x="7751844" y="2479142"/>
                <a:ext cx="18325" cy="18414"/>
              </a:xfrm>
              <a:custGeom>
                <a:avLst/>
                <a:gdLst>
                  <a:gd name="connsiteX0" fmla="*/ 4754 w 18325"/>
                  <a:gd name="connsiteY0" fmla="*/ 1103 h 18414"/>
                  <a:gd name="connsiteX1" fmla="*/ 17194 w 18325"/>
                  <a:gd name="connsiteY1" fmla="*/ 4812 h 18414"/>
                  <a:gd name="connsiteX2" fmla="*/ 13545 w 18325"/>
                  <a:gd name="connsiteY2" fmla="*/ 17311 h 18414"/>
                  <a:gd name="connsiteX3" fmla="*/ 1105 w 18325"/>
                  <a:gd name="connsiteY3" fmla="*/ 13603 h 18414"/>
                  <a:gd name="connsiteX4" fmla="*/ 4754 w 18325"/>
                  <a:gd name="connsiteY4" fmla="*/ 11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14">
                    <a:moveTo>
                      <a:pt x="4754" y="1103"/>
                    </a:moveTo>
                    <a:cubicBezTo>
                      <a:pt x="9179" y="-1289"/>
                      <a:pt x="14742" y="326"/>
                      <a:pt x="17194" y="4812"/>
                    </a:cubicBezTo>
                    <a:cubicBezTo>
                      <a:pt x="19645" y="9297"/>
                      <a:pt x="17971" y="14859"/>
                      <a:pt x="13545" y="17311"/>
                    </a:cubicBezTo>
                    <a:cubicBezTo>
                      <a:pt x="9119" y="19704"/>
                      <a:pt x="3558" y="18089"/>
                      <a:pt x="1105" y="13603"/>
                    </a:cubicBezTo>
                    <a:cubicBezTo>
                      <a:pt x="-1287" y="9118"/>
                      <a:pt x="328" y="3556"/>
                      <a:pt x="4754" y="1103"/>
                    </a:cubicBezTo>
                    <a:close/>
                  </a:path>
                </a:pathLst>
              </a:custGeom>
              <a:grpFill/>
              <a:ln w="5978" cap="flat">
                <a:noFill/>
                <a:prstDash val="solid"/>
                <a:miter/>
              </a:ln>
            </p:spPr>
            <p:txBody>
              <a:bodyPr rtlCol="0" anchor="ctr"/>
              <a:lstStyle/>
              <a:p>
                <a:endParaRPr lang="en-GB"/>
              </a:p>
            </p:txBody>
          </p:sp>
          <p:sp>
            <p:nvSpPr>
              <p:cNvPr id="5160" name="Vrije vorm: vorm 5159">
                <a:extLst>
                  <a:ext uri="{FF2B5EF4-FFF2-40B4-BE49-F238E27FC236}">
                    <a16:creationId xmlns:a16="http://schemas.microsoft.com/office/drawing/2014/main" id="{FBEFD56B-19EF-47A2-B7C1-0931014FB3E9}"/>
                  </a:ext>
                </a:extLst>
              </p:cNvPr>
              <p:cNvSpPr/>
              <p:nvPr/>
            </p:nvSpPr>
            <p:spPr>
              <a:xfrm>
                <a:off x="7687884" y="2513962"/>
                <a:ext cx="18351" cy="18429"/>
              </a:xfrm>
              <a:custGeom>
                <a:avLst/>
                <a:gdLst>
                  <a:gd name="connsiteX0" fmla="*/ 4780 w 18351"/>
                  <a:gd name="connsiteY0" fmla="*/ 1092 h 18429"/>
                  <a:gd name="connsiteX1" fmla="*/ 1132 w 18351"/>
                  <a:gd name="connsiteY1" fmla="*/ 13591 h 18429"/>
                  <a:gd name="connsiteX2" fmla="*/ 13572 w 18351"/>
                  <a:gd name="connsiteY2" fmla="*/ 17299 h 18429"/>
                  <a:gd name="connsiteX3" fmla="*/ 17220 w 18351"/>
                  <a:gd name="connsiteY3" fmla="*/ 4800 h 18429"/>
                  <a:gd name="connsiteX4" fmla="*/ 4780 w 18351"/>
                  <a:gd name="connsiteY4" fmla="*/ 109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9">
                    <a:moveTo>
                      <a:pt x="4780" y="1092"/>
                    </a:moveTo>
                    <a:cubicBezTo>
                      <a:pt x="354" y="3484"/>
                      <a:pt x="-1320" y="9106"/>
                      <a:pt x="1132" y="13591"/>
                    </a:cubicBezTo>
                    <a:cubicBezTo>
                      <a:pt x="3584" y="18077"/>
                      <a:pt x="9146" y="19751"/>
                      <a:pt x="13572" y="17299"/>
                    </a:cubicBezTo>
                    <a:cubicBezTo>
                      <a:pt x="17997" y="14907"/>
                      <a:pt x="19672" y="9285"/>
                      <a:pt x="17220" y="4800"/>
                    </a:cubicBezTo>
                    <a:cubicBezTo>
                      <a:pt x="14827" y="374"/>
                      <a:pt x="9206" y="-1301"/>
                      <a:pt x="4780" y="1092"/>
                    </a:cubicBezTo>
                    <a:close/>
                  </a:path>
                </a:pathLst>
              </a:custGeom>
              <a:grpFill/>
              <a:ln w="5978" cap="flat">
                <a:noFill/>
                <a:prstDash val="solid"/>
                <a:miter/>
              </a:ln>
            </p:spPr>
            <p:txBody>
              <a:bodyPr rtlCol="0" anchor="ctr"/>
              <a:lstStyle/>
              <a:p>
                <a:endParaRPr lang="en-GB"/>
              </a:p>
            </p:txBody>
          </p:sp>
        </p:grpSp>
        <p:grpSp>
          <p:nvGrpSpPr>
            <p:cNvPr id="72" name="Graphic 3">
              <a:extLst>
                <a:ext uri="{FF2B5EF4-FFF2-40B4-BE49-F238E27FC236}">
                  <a16:creationId xmlns:a16="http://schemas.microsoft.com/office/drawing/2014/main" id="{CAD8E91C-9FEA-4384-A3D3-EFF958B3728D}"/>
                </a:ext>
              </a:extLst>
            </p:cNvPr>
            <p:cNvGrpSpPr/>
            <p:nvPr/>
          </p:nvGrpSpPr>
          <p:grpSpPr>
            <a:xfrm>
              <a:off x="7662513" y="2850227"/>
              <a:ext cx="387864" cy="90821"/>
              <a:chOff x="7662513" y="2850227"/>
              <a:chExt cx="387864" cy="90821"/>
            </a:xfrm>
            <a:grpFill/>
          </p:grpSpPr>
          <p:sp>
            <p:nvSpPr>
              <p:cNvPr id="5155" name="Vrije vorm: vorm 5154">
                <a:extLst>
                  <a:ext uri="{FF2B5EF4-FFF2-40B4-BE49-F238E27FC236}">
                    <a16:creationId xmlns:a16="http://schemas.microsoft.com/office/drawing/2014/main" id="{2889C2FE-8BE4-4654-ACEE-328D7AB95900}"/>
                  </a:ext>
                </a:extLst>
              </p:cNvPr>
              <p:cNvSpPr/>
              <p:nvPr/>
            </p:nvSpPr>
            <p:spPr>
              <a:xfrm>
                <a:off x="7670894" y="2857868"/>
                <a:ext cx="371103" cy="75596"/>
              </a:xfrm>
              <a:custGeom>
                <a:avLst/>
                <a:gdLst>
                  <a:gd name="connsiteX0" fmla="*/ 370505 w 371103"/>
                  <a:gd name="connsiteY0" fmla="*/ 0 h 75596"/>
                  <a:gd name="connsiteX1" fmla="*/ 371103 w 371103"/>
                  <a:gd name="connsiteY1" fmla="*/ 2990 h 75596"/>
                  <a:gd name="connsiteX2" fmla="*/ 598 w 371103"/>
                  <a:gd name="connsiteY2" fmla="*/ 75596 h 75596"/>
                  <a:gd name="connsiteX3" fmla="*/ 0 w 371103"/>
                  <a:gd name="connsiteY3" fmla="*/ 72606 h 75596"/>
                </a:gdLst>
                <a:ahLst/>
                <a:cxnLst>
                  <a:cxn ang="0">
                    <a:pos x="connsiteX0" y="connsiteY0"/>
                  </a:cxn>
                  <a:cxn ang="0">
                    <a:pos x="connsiteX1" y="connsiteY1"/>
                  </a:cxn>
                  <a:cxn ang="0">
                    <a:pos x="connsiteX2" y="connsiteY2"/>
                  </a:cxn>
                  <a:cxn ang="0">
                    <a:pos x="connsiteX3" y="connsiteY3"/>
                  </a:cxn>
                </a:cxnLst>
                <a:rect l="l" t="t" r="r" b="b"/>
                <a:pathLst>
                  <a:path w="371103" h="75596">
                    <a:moveTo>
                      <a:pt x="370505" y="0"/>
                    </a:moveTo>
                    <a:lnTo>
                      <a:pt x="371103" y="2990"/>
                    </a:lnTo>
                    <a:lnTo>
                      <a:pt x="598" y="75596"/>
                    </a:lnTo>
                    <a:lnTo>
                      <a:pt x="0" y="72606"/>
                    </a:lnTo>
                    <a:close/>
                  </a:path>
                </a:pathLst>
              </a:custGeom>
              <a:grpFill/>
              <a:ln w="5978" cap="flat">
                <a:noFill/>
                <a:prstDash val="solid"/>
                <a:miter/>
              </a:ln>
            </p:spPr>
            <p:txBody>
              <a:bodyPr rtlCol="0" anchor="ctr"/>
              <a:lstStyle/>
              <a:p>
                <a:endParaRPr lang="en-GB"/>
              </a:p>
            </p:txBody>
          </p:sp>
          <p:sp>
            <p:nvSpPr>
              <p:cNvPr id="5156" name="Vrije vorm: vorm 5155">
                <a:extLst>
                  <a:ext uri="{FF2B5EF4-FFF2-40B4-BE49-F238E27FC236}">
                    <a16:creationId xmlns:a16="http://schemas.microsoft.com/office/drawing/2014/main" id="{9F203717-AE66-4641-A42B-ADD6DC05CA2B}"/>
                  </a:ext>
                </a:extLst>
              </p:cNvPr>
              <p:cNvSpPr/>
              <p:nvPr/>
            </p:nvSpPr>
            <p:spPr>
              <a:xfrm>
                <a:off x="7662513" y="2922591"/>
                <a:ext cx="18316" cy="18457"/>
              </a:xfrm>
              <a:custGeom>
                <a:avLst/>
                <a:gdLst>
                  <a:gd name="connsiteX0" fmla="*/ 10952 w 18316"/>
                  <a:gd name="connsiteY0" fmla="*/ 18289 h 18457"/>
                  <a:gd name="connsiteX1" fmla="*/ 187 w 18316"/>
                  <a:gd name="connsiteY1" fmla="*/ 10993 h 18457"/>
                  <a:gd name="connsiteX2" fmla="*/ 7364 w 18316"/>
                  <a:gd name="connsiteY2" fmla="*/ 168 h 18457"/>
                  <a:gd name="connsiteX3" fmla="*/ 18129 w 18316"/>
                  <a:gd name="connsiteY3" fmla="*/ 7464 h 18457"/>
                  <a:gd name="connsiteX4" fmla="*/ 10952 w 18316"/>
                  <a:gd name="connsiteY4" fmla="*/ 1828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7">
                    <a:moveTo>
                      <a:pt x="10952" y="18289"/>
                    </a:moveTo>
                    <a:cubicBezTo>
                      <a:pt x="5988" y="19246"/>
                      <a:pt x="1144" y="16017"/>
                      <a:pt x="187" y="10993"/>
                    </a:cubicBezTo>
                    <a:cubicBezTo>
                      <a:pt x="-830" y="6029"/>
                      <a:pt x="2400" y="1185"/>
                      <a:pt x="7364" y="168"/>
                    </a:cubicBezTo>
                    <a:cubicBezTo>
                      <a:pt x="12328" y="-789"/>
                      <a:pt x="17172" y="2440"/>
                      <a:pt x="18129" y="7464"/>
                    </a:cubicBezTo>
                    <a:cubicBezTo>
                      <a:pt x="19146" y="12488"/>
                      <a:pt x="15917" y="17333"/>
                      <a:pt x="10952" y="18289"/>
                    </a:cubicBezTo>
                    <a:close/>
                  </a:path>
                </a:pathLst>
              </a:custGeom>
              <a:grpFill/>
              <a:ln w="5978" cap="flat">
                <a:noFill/>
                <a:prstDash val="solid"/>
                <a:miter/>
              </a:ln>
            </p:spPr>
            <p:txBody>
              <a:bodyPr rtlCol="0" anchor="ctr"/>
              <a:lstStyle/>
              <a:p>
                <a:endParaRPr lang="en-GB"/>
              </a:p>
            </p:txBody>
          </p:sp>
          <p:sp>
            <p:nvSpPr>
              <p:cNvPr id="5157" name="Vrije vorm: vorm 5156">
                <a:extLst>
                  <a:ext uri="{FF2B5EF4-FFF2-40B4-BE49-F238E27FC236}">
                    <a16:creationId xmlns:a16="http://schemas.microsoft.com/office/drawing/2014/main" id="{691751E3-AC3F-4A18-A5D5-440142538BE0}"/>
                  </a:ext>
                </a:extLst>
              </p:cNvPr>
              <p:cNvSpPr/>
              <p:nvPr/>
            </p:nvSpPr>
            <p:spPr>
              <a:xfrm>
                <a:off x="8032061" y="2850227"/>
                <a:ext cx="18316" cy="18452"/>
              </a:xfrm>
              <a:custGeom>
                <a:avLst/>
                <a:gdLst>
                  <a:gd name="connsiteX0" fmla="*/ 10953 w 18316"/>
                  <a:gd name="connsiteY0" fmla="*/ 18287 h 18452"/>
                  <a:gd name="connsiteX1" fmla="*/ 18129 w 18316"/>
                  <a:gd name="connsiteY1" fmla="*/ 7462 h 18452"/>
                  <a:gd name="connsiteX2" fmla="*/ 7364 w 18316"/>
                  <a:gd name="connsiteY2" fmla="*/ 166 h 18452"/>
                  <a:gd name="connsiteX3" fmla="*/ 187 w 18316"/>
                  <a:gd name="connsiteY3" fmla="*/ 10991 h 18452"/>
                  <a:gd name="connsiteX4" fmla="*/ 10953 w 1831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2">
                    <a:moveTo>
                      <a:pt x="10953" y="18287"/>
                    </a:moveTo>
                    <a:cubicBezTo>
                      <a:pt x="15916" y="17330"/>
                      <a:pt x="19146" y="12486"/>
                      <a:pt x="18129" y="7462"/>
                    </a:cubicBezTo>
                    <a:cubicBezTo>
                      <a:pt x="17113" y="2498"/>
                      <a:pt x="12328" y="-791"/>
                      <a:pt x="7364" y="166"/>
                    </a:cubicBezTo>
                    <a:cubicBezTo>
                      <a:pt x="2400" y="1122"/>
                      <a:pt x="-829" y="5967"/>
                      <a:pt x="187" y="10991"/>
                    </a:cubicBezTo>
                    <a:cubicBezTo>
                      <a:pt x="1144" y="15955"/>
                      <a:pt x="5989" y="19244"/>
                      <a:pt x="10953" y="18287"/>
                    </a:cubicBezTo>
                    <a:close/>
                  </a:path>
                </a:pathLst>
              </a:custGeom>
              <a:grpFill/>
              <a:ln w="5978" cap="flat">
                <a:noFill/>
                <a:prstDash val="solid"/>
                <a:miter/>
              </a:ln>
            </p:spPr>
            <p:txBody>
              <a:bodyPr rtlCol="0" anchor="ctr"/>
              <a:lstStyle/>
              <a:p>
                <a:endParaRPr lang="en-GB"/>
              </a:p>
            </p:txBody>
          </p:sp>
        </p:grpSp>
        <p:grpSp>
          <p:nvGrpSpPr>
            <p:cNvPr id="73" name="Graphic 3">
              <a:extLst>
                <a:ext uri="{FF2B5EF4-FFF2-40B4-BE49-F238E27FC236}">
                  <a16:creationId xmlns:a16="http://schemas.microsoft.com/office/drawing/2014/main" id="{27F8AF86-33E8-432B-8F03-C63FF21246D6}"/>
                </a:ext>
              </a:extLst>
            </p:cNvPr>
            <p:cNvGrpSpPr/>
            <p:nvPr/>
          </p:nvGrpSpPr>
          <p:grpSpPr>
            <a:xfrm>
              <a:off x="7959661" y="3243225"/>
              <a:ext cx="19758" cy="18553"/>
              <a:chOff x="7959661" y="3243225"/>
              <a:chExt cx="19758" cy="18553"/>
            </a:xfrm>
            <a:grpFill/>
          </p:grpSpPr>
          <p:sp>
            <p:nvSpPr>
              <p:cNvPr id="5152" name="Vrije vorm: vorm 5151">
                <a:extLst>
                  <a:ext uri="{FF2B5EF4-FFF2-40B4-BE49-F238E27FC236}">
                    <a16:creationId xmlns:a16="http://schemas.microsoft.com/office/drawing/2014/main" id="{5EE6BA7E-AF6E-4C63-9F3B-BF0E497C4028}"/>
                  </a:ext>
                </a:extLst>
              </p:cNvPr>
              <p:cNvSpPr/>
              <p:nvPr/>
            </p:nvSpPr>
            <p:spPr>
              <a:xfrm>
                <a:off x="7968195" y="3250921"/>
                <a:ext cx="2631" cy="3229"/>
              </a:xfrm>
              <a:custGeom>
                <a:avLst/>
                <a:gdLst>
                  <a:gd name="connsiteX0" fmla="*/ 2392 w 2631"/>
                  <a:gd name="connsiteY0" fmla="*/ 0 h 3229"/>
                  <a:gd name="connsiteX1" fmla="*/ 2632 w 2631"/>
                  <a:gd name="connsiteY1" fmla="*/ 3050 h 3229"/>
                  <a:gd name="connsiteX2" fmla="*/ 299 w 2631"/>
                  <a:gd name="connsiteY2" fmla="*/ 3229 h 3229"/>
                  <a:gd name="connsiteX3" fmla="*/ 0 w 2631"/>
                  <a:gd name="connsiteY3" fmla="*/ 179 h 3229"/>
                </a:gdLst>
                <a:ahLst/>
                <a:cxnLst>
                  <a:cxn ang="0">
                    <a:pos x="connsiteX0" y="connsiteY0"/>
                  </a:cxn>
                  <a:cxn ang="0">
                    <a:pos x="connsiteX1" y="connsiteY1"/>
                  </a:cxn>
                  <a:cxn ang="0">
                    <a:pos x="connsiteX2" y="connsiteY2"/>
                  </a:cxn>
                  <a:cxn ang="0">
                    <a:pos x="connsiteX3" y="connsiteY3"/>
                  </a:cxn>
                </a:cxnLst>
                <a:rect l="l" t="t" r="r" b="b"/>
                <a:pathLst>
                  <a:path w="2631" h="3229">
                    <a:moveTo>
                      <a:pt x="2392" y="0"/>
                    </a:moveTo>
                    <a:lnTo>
                      <a:pt x="2632" y="3050"/>
                    </a:lnTo>
                    <a:lnTo>
                      <a:pt x="299" y="3229"/>
                    </a:lnTo>
                    <a:lnTo>
                      <a:pt x="0" y="179"/>
                    </a:lnTo>
                    <a:close/>
                  </a:path>
                </a:pathLst>
              </a:custGeom>
              <a:grpFill/>
              <a:ln w="5978" cap="flat">
                <a:noFill/>
                <a:prstDash val="solid"/>
                <a:miter/>
              </a:ln>
            </p:spPr>
            <p:txBody>
              <a:bodyPr rtlCol="0" anchor="ctr"/>
              <a:lstStyle/>
              <a:p>
                <a:endParaRPr lang="en-GB"/>
              </a:p>
            </p:txBody>
          </p:sp>
          <p:sp>
            <p:nvSpPr>
              <p:cNvPr id="5153" name="Vrije vorm: vorm 5152">
                <a:extLst>
                  <a:ext uri="{FF2B5EF4-FFF2-40B4-BE49-F238E27FC236}">
                    <a16:creationId xmlns:a16="http://schemas.microsoft.com/office/drawing/2014/main" id="{0369B97D-2429-4338-8959-F986D0B5C60F}"/>
                  </a:ext>
                </a:extLst>
              </p:cNvPr>
              <p:cNvSpPr/>
              <p:nvPr/>
            </p:nvSpPr>
            <p:spPr>
              <a:xfrm>
                <a:off x="7959661" y="3243354"/>
                <a:ext cx="18323" cy="18424"/>
              </a:xfrm>
              <a:custGeom>
                <a:avLst/>
                <a:gdLst>
                  <a:gd name="connsiteX0" fmla="*/ 9969 w 18323"/>
                  <a:gd name="connsiteY0" fmla="*/ 18393 h 18424"/>
                  <a:gd name="connsiteX1" fmla="*/ 41 w 18323"/>
                  <a:gd name="connsiteY1" fmla="*/ 10019 h 18424"/>
                  <a:gd name="connsiteX2" fmla="*/ 8354 w 18323"/>
                  <a:gd name="connsiteY2" fmla="*/ 32 h 18424"/>
                  <a:gd name="connsiteX3" fmla="*/ 18282 w 18323"/>
                  <a:gd name="connsiteY3" fmla="*/ 8405 h 18424"/>
                  <a:gd name="connsiteX4" fmla="*/ 9969 w 18323"/>
                  <a:gd name="connsiteY4" fmla="*/ 1839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4">
                    <a:moveTo>
                      <a:pt x="9969" y="18393"/>
                    </a:moveTo>
                    <a:cubicBezTo>
                      <a:pt x="4946" y="18811"/>
                      <a:pt x="460" y="15043"/>
                      <a:pt x="41" y="10019"/>
                    </a:cubicBezTo>
                    <a:cubicBezTo>
                      <a:pt x="-437" y="4936"/>
                      <a:pt x="3331" y="510"/>
                      <a:pt x="8354" y="32"/>
                    </a:cubicBezTo>
                    <a:cubicBezTo>
                      <a:pt x="13379" y="-387"/>
                      <a:pt x="17864" y="3381"/>
                      <a:pt x="18282" y="8405"/>
                    </a:cubicBezTo>
                    <a:cubicBezTo>
                      <a:pt x="18761" y="13488"/>
                      <a:pt x="14993" y="17974"/>
                      <a:pt x="9969" y="18393"/>
                    </a:cubicBezTo>
                    <a:close/>
                  </a:path>
                </a:pathLst>
              </a:custGeom>
              <a:grpFill/>
              <a:ln w="5978" cap="flat">
                <a:noFill/>
                <a:prstDash val="solid"/>
                <a:miter/>
              </a:ln>
            </p:spPr>
            <p:txBody>
              <a:bodyPr rtlCol="0" anchor="ctr"/>
              <a:lstStyle/>
              <a:p>
                <a:endParaRPr lang="en-GB"/>
              </a:p>
            </p:txBody>
          </p:sp>
          <p:sp>
            <p:nvSpPr>
              <p:cNvPr id="5154" name="Vrije vorm: vorm 5153">
                <a:extLst>
                  <a:ext uri="{FF2B5EF4-FFF2-40B4-BE49-F238E27FC236}">
                    <a16:creationId xmlns:a16="http://schemas.microsoft.com/office/drawing/2014/main" id="{5194FD89-9409-4899-8E19-0BEFC527DF2E}"/>
                  </a:ext>
                </a:extLst>
              </p:cNvPr>
              <p:cNvSpPr/>
              <p:nvPr/>
            </p:nvSpPr>
            <p:spPr>
              <a:xfrm>
                <a:off x="7961097" y="3243225"/>
                <a:ext cx="18322" cy="18433"/>
              </a:xfrm>
              <a:custGeom>
                <a:avLst/>
                <a:gdLst>
                  <a:gd name="connsiteX0" fmla="*/ 9969 w 18322"/>
                  <a:gd name="connsiteY0" fmla="*/ 18402 h 18433"/>
                  <a:gd name="connsiteX1" fmla="*/ 18282 w 18322"/>
                  <a:gd name="connsiteY1" fmla="*/ 8414 h 18433"/>
                  <a:gd name="connsiteX2" fmla="*/ 8354 w 18322"/>
                  <a:gd name="connsiteY2" fmla="*/ 41 h 18433"/>
                  <a:gd name="connsiteX3" fmla="*/ 41 w 18322"/>
                  <a:gd name="connsiteY3" fmla="*/ 10029 h 18433"/>
                  <a:gd name="connsiteX4" fmla="*/ 9969 w 18322"/>
                  <a:gd name="connsiteY4" fmla="*/ 18402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33">
                    <a:moveTo>
                      <a:pt x="9969" y="18402"/>
                    </a:moveTo>
                    <a:cubicBezTo>
                      <a:pt x="14993" y="17983"/>
                      <a:pt x="18761" y="13498"/>
                      <a:pt x="18282" y="8414"/>
                    </a:cubicBezTo>
                    <a:cubicBezTo>
                      <a:pt x="17804" y="3330"/>
                      <a:pt x="13378" y="-438"/>
                      <a:pt x="8354" y="41"/>
                    </a:cubicBezTo>
                    <a:cubicBezTo>
                      <a:pt x="3330" y="460"/>
                      <a:pt x="-438" y="4945"/>
                      <a:pt x="41" y="10029"/>
                    </a:cubicBezTo>
                    <a:cubicBezTo>
                      <a:pt x="459" y="15112"/>
                      <a:pt x="4945" y="18820"/>
                      <a:pt x="9969" y="18402"/>
                    </a:cubicBezTo>
                    <a:close/>
                  </a:path>
                </a:pathLst>
              </a:custGeom>
              <a:grpFill/>
              <a:ln w="5978" cap="flat">
                <a:noFill/>
                <a:prstDash val="solid"/>
                <a:miter/>
              </a:ln>
            </p:spPr>
            <p:txBody>
              <a:bodyPr rtlCol="0" anchor="ctr"/>
              <a:lstStyle/>
              <a:p>
                <a:endParaRPr lang="en-GB"/>
              </a:p>
            </p:txBody>
          </p:sp>
        </p:grpSp>
        <p:grpSp>
          <p:nvGrpSpPr>
            <p:cNvPr id="74" name="Graphic 3">
              <a:extLst>
                <a:ext uri="{FF2B5EF4-FFF2-40B4-BE49-F238E27FC236}">
                  <a16:creationId xmlns:a16="http://schemas.microsoft.com/office/drawing/2014/main" id="{0994A674-F4F7-4A29-9DD6-CB70B09C0E09}"/>
                </a:ext>
              </a:extLst>
            </p:cNvPr>
            <p:cNvGrpSpPr/>
            <p:nvPr/>
          </p:nvGrpSpPr>
          <p:grpSpPr>
            <a:xfrm>
              <a:off x="7876398" y="3201827"/>
              <a:ext cx="152374" cy="32460"/>
              <a:chOff x="7876398" y="3201827"/>
              <a:chExt cx="152374" cy="32460"/>
            </a:xfrm>
            <a:grpFill/>
          </p:grpSpPr>
          <p:sp>
            <p:nvSpPr>
              <p:cNvPr id="5149" name="Vrije vorm: vorm 5148">
                <a:extLst>
                  <a:ext uri="{FF2B5EF4-FFF2-40B4-BE49-F238E27FC236}">
                    <a16:creationId xmlns:a16="http://schemas.microsoft.com/office/drawing/2014/main" id="{B4A38A52-DE3A-4943-AB0E-BA446451B33E}"/>
                  </a:ext>
                </a:extLst>
              </p:cNvPr>
              <p:cNvSpPr/>
              <p:nvPr/>
            </p:nvSpPr>
            <p:spPr>
              <a:xfrm>
                <a:off x="7884943" y="3209475"/>
                <a:ext cx="135224" cy="17164"/>
              </a:xfrm>
              <a:custGeom>
                <a:avLst/>
                <a:gdLst>
                  <a:gd name="connsiteX0" fmla="*/ 134925 w 135224"/>
                  <a:gd name="connsiteY0" fmla="*/ 0 h 17164"/>
                  <a:gd name="connsiteX1" fmla="*/ 135225 w 135224"/>
                  <a:gd name="connsiteY1" fmla="*/ 3050 h 17164"/>
                  <a:gd name="connsiteX2" fmla="*/ 359 w 135224"/>
                  <a:gd name="connsiteY2" fmla="*/ 17165 h 17164"/>
                  <a:gd name="connsiteX3" fmla="*/ 0 w 135224"/>
                  <a:gd name="connsiteY3" fmla="*/ 14115 h 17164"/>
                </a:gdLst>
                <a:ahLst/>
                <a:cxnLst>
                  <a:cxn ang="0">
                    <a:pos x="connsiteX0" y="connsiteY0"/>
                  </a:cxn>
                  <a:cxn ang="0">
                    <a:pos x="connsiteX1" y="connsiteY1"/>
                  </a:cxn>
                  <a:cxn ang="0">
                    <a:pos x="connsiteX2" y="connsiteY2"/>
                  </a:cxn>
                  <a:cxn ang="0">
                    <a:pos x="connsiteX3" y="connsiteY3"/>
                  </a:cxn>
                </a:cxnLst>
                <a:rect l="l" t="t" r="r" b="b"/>
                <a:pathLst>
                  <a:path w="135224" h="17164">
                    <a:moveTo>
                      <a:pt x="134925" y="0"/>
                    </a:moveTo>
                    <a:lnTo>
                      <a:pt x="135225" y="3050"/>
                    </a:lnTo>
                    <a:lnTo>
                      <a:pt x="359" y="17165"/>
                    </a:lnTo>
                    <a:lnTo>
                      <a:pt x="0" y="14115"/>
                    </a:lnTo>
                    <a:close/>
                  </a:path>
                </a:pathLst>
              </a:custGeom>
              <a:grpFill/>
              <a:ln w="5978" cap="flat">
                <a:noFill/>
                <a:prstDash val="solid"/>
                <a:miter/>
              </a:ln>
            </p:spPr>
            <p:txBody>
              <a:bodyPr rtlCol="0" anchor="ctr"/>
              <a:lstStyle/>
              <a:p>
                <a:endParaRPr lang="en-GB"/>
              </a:p>
            </p:txBody>
          </p:sp>
          <p:sp>
            <p:nvSpPr>
              <p:cNvPr id="5150" name="Vrije vorm: vorm 5149">
                <a:extLst>
                  <a:ext uri="{FF2B5EF4-FFF2-40B4-BE49-F238E27FC236}">
                    <a16:creationId xmlns:a16="http://schemas.microsoft.com/office/drawing/2014/main" id="{1A493FA9-BDC2-4425-B64A-C58E15EA3ED3}"/>
                  </a:ext>
                </a:extLst>
              </p:cNvPr>
              <p:cNvSpPr/>
              <p:nvPr/>
            </p:nvSpPr>
            <p:spPr>
              <a:xfrm>
                <a:off x="8010426" y="3201827"/>
                <a:ext cx="18346" cy="18404"/>
              </a:xfrm>
              <a:custGeom>
                <a:avLst/>
                <a:gdLst>
                  <a:gd name="connsiteX0" fmla="*/ 8187 w 18346"/>
                  <a:gd name="connsiteY0" fmla="*/ 52 h 18404"/>
                  <a:gd name="connsiteX1" fmla="*/ 18294 w 18346"/>
                  <a:gd name="connsiteY1" fmla="*/ 8246 h 18404"/>
                  <a:gd name="connsiteX2" fmla="*/ 10161 w 18346"/>
                  <a:gd name="connsiteY2" fmla="*/ 18353 h 18404"/>
                  <a:gd name="connsiteX3" fmla="*/ 54 w 18346"/>
                  <a:gd name="connsiteY3" fmla="*/ 10159 h 18404"/>
                  <a:gd name="connsiteX4" fmla="*/ 8187 w 18346"/>
                  <a:gd name="connsiteY4" fmla="*/ 52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4">
                    <a:moveTo>
                      <a:pt x="8187" y="52"/>
                    </a:moveTo>
                    <a:cubicBezTo>
                      <a:pt x="13211" y="-486"/>
                      <a:pt x="17756" y="3222"/>
                      <a:pt x="18294" y="8246"/>
                    </a:cubicBezTo>
                    <a:cubicBezTo>
                      <a:pt x="18832" y="13329"/>
                      <a:pt x="15184" y="17815"/>
                      <a:pt x="10161" y="18353"/>
                    </a:cubicBezTo>
                    <a:cubicBezTo>
                      <a:pt x="5137" y="18891"/>
                      <a:pt x="592" y="15183"/>
                      <a:pt x="54" y="10159"/>
                    </a:cubicBezTo>
                    <a:cubicBezTo>
                      <a:pt x="-485" y="5136"/>
                      <a:pt x="3103" y="590"/>
                      <a:pt x="8187" y="52"/>
                    </a:cubicBezTo>
                    <a:close/>
                  </a:path>
                </a:pathLst>
              </a:custGeom>
              <a:grpFill/>
              <a:ln w="5978" cap="flat">
                <a:noFill/>
                <a:prstDash val="solid"/>
                <a:miter/>
              </a:ln>
            </p:spPr>
            <p:txBody>
              <a:bodyPr rtlCol="0" anchor="ctr"/>
              <a:lstStyle/>
              <a:p>
                <a:endParaRPr lang="en-GB"/>
              </a:p>
            </p:txBody>
          </p:sp>
          <p:sp>
            <p:nvSpPr>
              <p:cNvPr id="5151" name="Vrije vorm: vorm 5150">
                <a:extLst>
                  <a:ext uri="{FF2B5EF4-FFF2-40B4-BE49-F238E27FC236}">
                    <a16:creationId xmlns:a16="http://schemas.microsoft.com/office/drawing/2014/main" id="{204F0BD3-EAD8-4BC7-8AD4-CB5A8A6557D7}"/>
                  </a:ext>
                </a:extLst>
              </p:cNvPr>
              <p:cNvSpPr/>
              <p:nvPr/>
            </p:nvSpPr>
            <p:spPr>
              <a:xfrm>
                <a:off x="7876398" y="3215882"/>
                <a:ext cx="18346" cy="18405"/>
              </a:xfrm>
              <a:custGeom>
                <a:avLst/>
                <a:gdLst>
                  <a:gd name="connsiteX0" fmla="*/ 8186 w 18346"/>
                  <a:gd name="connsiteY0" fmla="*/ 52 h 18405"/>
                  <a:gd name="connsiteX1" fmla="*/ 53 w 18346"/>
                  <a:gd name="connsiteY1" fmla="*/ 10159 h 18405"/>
                  <a:gd name="connsiteX2" fmla="*/ 10160 w 18346"/>
                  <a:gd name="connsiteY2" fmla="*/ 18353 h 18405"/>
                  <a:gd name="connsiteX3" fmla="*/ 18293 w 18346"/>
                  <a:gd name="connsiteY3" fmla="*/ 8246 h 18405"/>
                  <a:gd name="connsiteX4" fmla="*/ 8186 w 18346"/>
                  <a:gd name="connsiteY4" fmla="*/ 5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5">
                    <a:moveTo>
                      <a:pt x="8186" y="52"/>
                    </a:moveTo>
                    <a:cubicBezTo>
                      <a:pt x="3163" y="590"/>
                      <a:pt x="-485" y="5136"/>
                      <a:pt x="53" y="10159"/>
                    </a:cubicBezTo>
                    <a:cubicBezTo>
                      <a:pt x="591" y="15243"/>
                      <a:pt x="5136" y="18891"/>
                      <a:pt x="10160" y="18353"/>
                    </a:cubicBezTo>
                    <a:cubicBezTo>
                      <a:pt x="15184" y="17815"/>
                      <a:pt x="18832" y="13269"/>
                      <a:pt x="18293" y="8246"/>
                    </a:cubicBezTo>
                    <a:cubicBezTo>
                      <a:pt x="17755" y="3222"/>
                      <a:pt x="13210" y="-486"/>
                      <a:pt x="8186" y="52"/>
                    </a:cubicBezTo>
                    <a:close/>
                  </a:path>
                </a:pathLst>
              </a:custGeom>
              <a:grpFill/>
              <a:ln w="5978" cap="flat">
                <a:noFill/>
                <a:prstDash val="solid"/>
                <a:miter/>
              </a:ln>
            </p:spPr>
            <p:txBody>
              <a:bodyPr rtlCol="0" anchor="ctr"/>
              <a:lstStyle/>
              <a:p>
                <a:endParaRPr lang="en-GB"/>
              </a:p>
            </p:txBody>
          </p:sp>
        </p:grpSp>
        <p:grpSp>
          <p:nvGrpSpPr>
            <p:cNvPr id="75" name="Graphic 3">
              <a:extLst>
                <a:ext uri="{FF2B5EF4-FFF2-40B4-BE49-F238E27FC236}">
                  <a16:creationId xmlns:a16="http://schemas.microsoft.com/office/drawing/2014/main" id="{012DC0D2-1AEA-4028-92B5-5F9B8D0D76C6}"/>
                </a:ext>
              </a:extLst>
            </p:cNvPr>
            <p:cNvGrpSpPr/>
            <p:nvPr/>
          </p:nvGrpSpPr>
          <p:grpSpPr>
            <a:xfrm>
              <a:off x="7681286" y="2532933"/>
              <a:ext cx="144402" cy="80983"/>
              <a:chOff x="7681286" y="2532933"/>
              <a:chExt cx="144402" cy="80983"/>
            </a:xfrm>
            <a:grpFill/>
          </p:grpSpPr>
          <p:sp>
            <p:nvSpPr>
              <p:cNvPr id="5146" name="Vrije vorm: vorm 5145">
                <a:extLst>
                  <a:ext uri="{FF2B5EF4-FFF2-40B4-BE49-F238E27FC236}">
                    <a16:creationId xmlns:a16="http://schemas.microsoft.com/office/drawing/2014/main" id="{27937E51-C337-4DCB-AEF4-368AAA8689E6}"/>
                  </a:ext>
                </a:extLst>
              </p:cNvPr>
              <p:cNvSpPr/>
              <p:nvPr/>
            </p:nvSpPr>
            <p:spPr>
              <a:xfrm>
                <a:off x="7689472" y="2540278"/>
                <a:ext cx="128248" cy="65766"/>
              </a:xfrm>
              <a:custGeom>
                <a:avLst/>
                <a:gdLst>
                  <a:gd name="connsiteX0" fmla="*/ 0 w 128248"/>
                  <a:gd name="connsiteY0" fmla="*/ 63035 h 65766"/>
                  <a:gd name="connsiteX1" fmla="*/ 126891 w 128248"/>
                  <a:gd name="connsiteY1" fmla="*/ 0 h 65766"/>
                  <a:gd name="connsiteX2" fmla="*/ 128248 w 128248"/>
                  <a:gd name="connsiteY2" fmla="*/ 2732 h 65766"/>
                  <a:gd name="connsiteX3" fmla="*/ 1357 w 128248"/>
                  <a:gd name="connsiteY3" fmla="*/ 65767 h 65766"/>
                </a:gdLst>
                <a:ahLst/>
                <a:cxnLst>
                  <a:cxn ang="0">
                    <a:pos x="connsiteX0" y="connsiteY0"/>
                  </a:cxn>
                  <a:cxn ang="0">
                    <a:pos x="connsiteX1" y="connsiteY1"/>
                  </a:cxn>
                  <a:cxn ang="0">
                    <a:pos x="connsiteX2" y="connsiteY2"/>
                  </a:cxn>
                  <a:cxn ang="0">
                    <a:pos x="connsiteX3" y="connsiteY3"/>
                  </a:cxn>
                </a:cxnLst>
                <a:rect l="l" t="t" r="r" b="b"/>
                <a:pathLst>
                  <a:path w="128248" h="65766">
                    <a:moveTo>
                      <a:pt x="0" y="63035"/>
                    </a:moveTo>
                    <a:lnTo>
                      <a:pt x="126891" y="0"/>
                    </a:lnTo>
                    <a:lnTo>
                      <a:pt x="128248" y="2732"/>
                    </a:lnTo>
                    <a:lnTo>
                      <a:pt x="1357" y="65767"/>
                    </a:lnTo>
                    <a:close/>
                  </a:path>
                </a:pathLst>
              </a:custGeom>
              <a:grpFill/>
              <a:ln w="5978" cap="flat">
                <a:noFill/>
                <a:prstDash val="solid"/>
                <a:miter/>
              </a:ln>
            </p:spPr>
            <p:txBody>
              <a:bodyPr rtlCol="0" anchor="ctr"/>
              <a:lstStyle/>
              <a:p>
                <a:endParaRPr lang="en-GB"/>
              </a:p>
            </p:txBody>
          </p:sp>
          <p:sp>
            <p:nvSpPr>
              <p:cNvPr id="5147" name="Vrije vorm: vorm 5146">
                <a:extLst>
                  <a:ext uri="{FF2B5EF4-FFF2-40B4-BE49-F238E27FC236}">
                    <a16:creationId xmlns:a16="http://schemas.microsoft.com/office/drawing/2014/main" id="{3E3BA71C-6A7E-4A7E-BDC8-37B61F9A0083}"/>
                  </a:ext>
                </a:extLst>
              </p:cNvPr>
              <p:cNvSpPr/>
              <p:nvPr/>
            </p:nvSpPr>
            <p:spPr>
              <a:xfrm>
                <a:off x="7807360" y="2532933"/>
                <a:ext cx="18329" cy="18424"/>
              </a:xfrm>
              <a:custGeom>
                <a:avLst/>
                <a:gdLst>
                  <a:gd name="connsiteX0" fmla="*/ 5097 w 18329"/>
                  <a:gd name="connsiteY0" fmla="*/ 959 h 18424"/>
                  <a:gd name="connsiteX1" fmla="*/ 17358 w 18329"/>
                  <a:gd name="connsiteY1" fmla="*/ 5146 h 18424"/>
                  <a:gd name="connsiteX2" fmla="*/ 13232 w 18329"/>
                  <a:gd name="connsiteY2" fmla="*/ 17466 h 18424"/>
                  <a:gd name="connsiteX3" fmla="*/ 971 w 18329"/>
                  <a:gd name="connsiteY3" fmla="*/ 13279 h 18424"/>
                  <a:gd name="connsiteX4" fmla="*/ 5097 w 18329"/>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4">
                    <a:moveTo>
                      <a:pt x="5097" y="959"/>
                    </a:moveTo>
                    <a:cubicBezTo>
                      <a:pt x="9643" y="-1314"/>
                      <a:pt x="15145" y="600"/>
                      <a:pt x="17358" y="5146"/>
                    </a:cubicBezTo>
                    <a:cubicBezTo>
                      <a:pt x="19631" y="9691"/>
                      <a:pt x="17776" y="15253"/>
                      <a:pt x="13232" y="17466"/>
                    </a:cubicBezTo>
                    <a:cubicBezTo>
                      <a:pt x="8686" y="19739"/>
                      <a:pt x="3184" y="17825"/>
                      <a:pt x="971" y="13279"/>
                    </a:cubicBezTo>
                    <a:cubicBezTo>
                      <a:pt x="-1302" y="8734"/>
                      <a:pt x="553" y="3172"/>
                      <a:pt x="5097" y="959"/>
                    </a:cubicBezTo>
                    <a:close/>
                  </a:path>
                </a:pathLst>
              </a:custGeom>
              <a:grpFill/>
              <a:ln w="5978" cap="flat">
                <a:noFill/>
                <a:prstDash val="solid"/>
                <a:miter/>
              </a:ln>
            </p:spPr>
            <p:txBody>
              <a:bodyPr rtlCol="0" anchor="ctr"/>
              <a:lstStyle/>
              <a:p>
                <a:endParaRPr lang="en-GB"/>
              </a:p>
            </p:txBody>
          </p:sp>
          <p:sp>
            <p:nvSpPr>
              <p:cNvPr id="5148" name="Vrije vorm: vorm 5147">
                <a:extLst>
                  <a:ext uri="{FF2B5EF4-FFF2-40B4-BE49-F238E27FC236}">
                    <a16:creationId xmlns:a16="http://schemas.microsoft.com/office/drawing/2014/main" id="{2A4480C7-BCD4-4F28-8BD8-01C31E8F823D}"/>
                  </a:ext>
                </a:extLst>
              </p:cNvPr>
              <p:cNvSpPr/>
              <p:nvPr/>
            </p:nvSpPr>
            <p:spPr>
              <a:xfrm>
                <a:off x="7681286" y="2595518"/>
                <a:ext cx="18329" cy="18398"/>
              </a:xfrm>
              <a:custGeom>
                <a:avLst/>
                <a:gdLst>
                  <a:gd name="connsiteX0" fmla="*/ 5098 w 18329"/>
                  <a:gd name="connsiteY0" fmla="*/ 933 h 18398"/>
                  <a:gd name="connsiteX1" fmla="*/ 971 w 18329"/>
                  <a:gd name="connsiteY1" fmla="*/ 13253 h 18398"/>
                  <a:gd name="connsiteX2" fmla="*/ 13231 w 18329"/>
                  <a:gd name="connsiteY2" fmla="*/ 17440 h 18398"/>
                  <a:gd name="connsiteX3" fmla="*/ 17358 w 18329"/>
                  <a:gd name="connsiteY3" fmla="*/ 5119 h 18398"/>
                  <a:gd name="connsiteX4" fmla="*/ 5098 w 18329"/>
                  <a:gd name="connsiteY4" fmla="*/ 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98">
                    <a:moveTo>
                      <a:pt x="5098" y="933"/>
                    </a:moveTo>
                    <a:cubicBezTo>
                      <a:pt x="552" y="3206"/>
                      <a:pt x="-1302" y="8708"/>
                      <a:pt x="971" y="13253"/>
                    </a:cubicBezTo>
                    <a:cubicBezTo>
                      <a:pt x="3244" y="17799"/>
                      <a:pt x="8746" y="19712"/>
                      <a:pt x="13231" y="17440"/>
                    </a:cubicBezTo>
                    <a:cubicBezTo>
                      <a:pt x="17777" y="15167"/>
                      <a:pt x="19631" y="9665"/>
                      <a:pt x="17358" y="5119"/>
                    </a:cubicBezTo>
                    <a:cubicBezTo>
                      <a:pt x="15086" y="574"/>
                      <a:pt x="9643" y="-1280"/>
                      <a:pt x="5098" y="933"/>
                    </a:cubicBezTo>
                    <a:close/>
                  </a:path>
                </a:pathLst>
              </a:custGeom>
              <a:grpFill/>
              <a:ln w="5978" cap="flat">
                <a:noFill/>
                <a:prstDash val="solid"/>
                <a:miter/>
              </a:ln>
            </p:spPr>
            <p:txBody>
              <a:bodyPr rtlCol="0" anchor="ctr"/>
              <a:lstStyle/>
              <a:p>
                <a:endParaRPr lang="en-GB"/>
              </a:p>
            </p:txBody>
          </p:sp>
        </p:grpSp>
        <p:grpSp>
          <p:nvGrpSpPr>
            <p:cNvPr id="76" name="Graphic 3">
              <a:extLst>
                <a:ext uri="{FF2B5EF4-FFF2-40B4-BE49-F238E27FC236}">
                  <a16:creationId xmlns:a16="http://schemas.microsoft.com/office/drawing/2014/main" id="{4CBB4A69-B4DB-4D3E-8DD1-71B3C8855653}"/>
                </a:ext>
              </a:extLst>
            </p:cNvPr>
            <p:cNvGrpSpPr/>
            <p:nvPr/>
          </p:nvGrpSpPr>
          <p:grpSpPr>
            <a:xfrm>
              <a:off x="7861673" y="3159171"/>
              <a:ext cx="210067" cy="42174"/>
              <a:chOff x="7861673" y="3159171"/>
              <a:chExt cx="210067" cy="42174"/>
            </a:xfrm>
            <a:grpFill/>
          </p:grpSpPr>
          <p:sp>
            <p:nvSpPr>
              <p:cNvPr id="5143" name="Vrije vorm: vorm 5142">
                <a:extLst>
                  <a:ext uri="{FF2B5EF4-FFF2-40B4-BE49-F238E27FC236}">
                    <a16:creationId xmlns:a16="http://schemas.microsoft.com/office/drawing/2014/main" id="{6ADE8E3C-6D33-4215-B46D-D297CF50CBAF}"/>
                  </a:ext>
                </a:extLst>
              </p:cNvPr>
              <p:cNvSpPr/>
              <p:nvPr/>
            </p:nvSpPr>
            <p:spPr>
              <a:xfrm>
                <a:off x="7870231" y="3166832"/>
                <a:ext cx="192998" cy="26853"/>
              </a:xfrm>
              <a:custGeom>
                <a:avLst/>
                <a:gdLst>
                  <a:gd name="connsiteX0" fmla="*/ 192639 w 192998"/>
                  <a:gd name="connsiteY0" fmla="*/ 0 h 26853"/>
                  <a:gd name="connsiteX1" fmla="*/ 192998 w 192998"/>
                  <a:gd name="connsiteY1" fmla="*/ 2990 h 26853"/>
                  <a:gd name="connsiteX2" fmla="*/ 359 w 192998"/>
                  <a:gd name="connsiteY2" fmla="*/ 26854 h 26853"/>
                  <a:gd name="connsiteX3" fmla="*/ 0 w 192998"/>
                  <a:gd name="connsiteY3" fmla="*/ 23803 h 26853"/>
                </a:gdLst>
                <a:ahLst/>
                <a:cxnLst>
                  <a:cxn ang="0">
                    <a:pos x="connsiteX0" y="connsiteY0"/>
                  </a:cxn>
                  <a:cxn ang="0">
                    <a:pos x="connsiteX1" y="connsiteY1"/>
                  </a:cxn>
                  <a:cxn ang="0">
                    <a:pos x="connsiteX2" y="connsiteY2"/>
                  </a:cxn>
                  <a:cxn ang="0">
                    <a:pos x="connsiteX3" y="connsiteY3"/>
                  </a:cxn>
                </a:cxnLst>
                <a:rect l="l" t="t" r="r" b="b"/>
                <a:pathLst>
                  <a:path w="192998" h="26853">
                    <a:moveTo>
                      <a:pt x="192639" y="0"/>
                    </a:moveTo>
                    <a:lnTo>
                      <a:pt x="192998" y="2990"/>
                    </a:lnTo>
                    <a:lnTo>
                      <a:pt x="359" y="26854"/>
                    </a:lnTo>
                    <a:lnTo>
                      <a:pt x="0" y="23803"/>
                    </a:lnTo>
                    <a:close/>
                  </a:path>
                </a:pathLst>
              </a:custGeom>
              <a:grpFill/>
              <a:ln w="5978" cap="flat">
                <a:noFill/>
                <a:prstDash val="solid"/>
                <a:miter/>
              </a:ln>
            </p:spPr>
            <p:txBody>
              <a:bodyPr rtlCol="0" anchor="ctr"/>
              <a:lstStyle/>
              <a:p>
                <a:endParaRPr lang="en-GB"/>
              </a:p>
            </p:txBody>
          </p:sp>
          <p:sp>
            <p:nvSpPr>
              <p:cNvPr id="5144" name="Vrije vorm: vorm 5143">
                <a:extLst>
                  <a:ext uri="{FF2B5EF4-FFF2-40B4-BE49-F238E27FC236}">
                    <a16:creationId xmlns:a16="http://schemas.microsoft.com/office/drawing/2014/main" id="{6C0BE526-46E9-4559-8276-05ACB24534F5}"/>
                  </a:ext>
                </a:extLst>
              </p:cNvPr>
              <p:cNvSpPr/>
              <p:nvPr/>
            </p:nvSpPr>
            <p:spPr>
              <a:xfrm>
                <a:off x="8053414" y="3159171"/>
                <a:ext cx="18325" cy="18431"/>
              </a:xfrm>
              <a:custGeom>
                <a:avLst/>
                <a:gdLst>
                  <a:gd name="connsiteX0" fmla="*/ 8020 w 18325"/>
                  <a:gd name="connsiteY0" fmla="*/ 65 h 18431"/>
                  <a:gd name="connsiteX1" fmla="*/ 18248 w 18325"/>
                  <a:gd name="connsiteY1" fmla="*/ 8079 h 18431"/>
                  <a:gd name="connsiteX2" fmla="*/ 10293 w 18325"/>
                  <a:gd name="connsiteY2" fmla="*/ 18366 h 18431"/>
                  <a:gd name="connsiteX3" fmla="*/ 66 w 18325"/>
                  <a:gd name="connsiteY3" fmla="*/ 10352 h 18431"/>
                  <a:gd name="connsiteX4" fmla="*/ 8020 w 18325"/>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1">
                    <a:moveTo>
                      <a:pt x="8020" y="65"/>
                    </a:moveTo>
                    <a:cubicBezTo>
                      <a:pt x="13044" y="-533"/>
                      <a:pt x="17650" y="3055"/>
                      <a:pt x="18248" y="8079"/>
                    </a:cubicBezTo>
                    <a:cubicBezTo>
                      <a:pt x="18905" y="13103"/>
                      <a:pt x="15317" y="17708"/>
                      <a:pt x="10293" y="18366"/>
                    </a:cubicBezTo>
                    <a:cubicBezTo>
                      <a:pt x="5269" y="18964"/>
                      <a:pt x="664" y="15376"/>
                      <a:pt x="66" y="10352"/>
                    </a:cubicBezTo>
                    <a:cubicBezTo>
                      <a:pt x="-532" y="5268"/>
                      <a:pt x="2997" y="663"/>
                      <a:pt x="8020" y="65"/>
                    </a:cubicBezTo>
                    <a:close/>
                  </a:path>
                </a:pathLst>
              </a:custGeom>
              <a:grpFill/>
              <a:ln w="5978" cap="flat">
                <a:noFill/>
                <a:prstDash val="solid"/>
                <a:miter/>
              </a:ln>
            </p:spPr>
            <p:txBody>
              <a:bodyPr rtlCol="0" anchor="ctr"/>
              <a:lstStyle/>
              <a:p>
                <a:endParaRPr lang="en-GB"/>
              </a:p>
            </p:txBody>
          </p:sp>
          <p:sp>
            <p:nvSpPr>
              <p:cNvPr id="5145" name="Vrije vorm: vorm 5144">
                <a:extLst>
                  <a:ext uri="{FF2B5EF4-FFF2-40B4-BE49-F238E27FC236}">
                    <a16:creationId xmlns:a16="http://schemas.microsoft.com/office/drawing/2014/main" id="{8EA47C22-98CD-4BD9-B327-E867E15BED22}"/>
                  </a:ext>
                </a:extLst>
              </p:cNvPr>
              <p:cNvSpPr/>
              <p:nvPr/>
            </p:nvSpPr>
            <p:spPr>
              <a:xfrm>
                <a:off x="7861673" y="3182915"/>
                <a:ext cx="18313" cy="18431"/>
              </a:xfrm>
              <a:custGeom>
                <a:avLst/>
                <a:gdLst>
                  <a:gd name="connsiteX0" fmla="*/ 8020 w 18313"/>
                  <a:gd name="connsiteY0" fmla="*/ 65 h 18431"/>
                  <a:gd name="connsiteX1" fmla="*/ 66 w 18313"/>
                  <a:gd name="connsiteY1" fmla="*/ 10352 h 18431"/>
                  <a:gd name="connsiteX2" fmla="*/ 10293 w 18313"/>
                  <a:gd name="connsiteY2" fmla="*/ 18366 h 18431"/>
                  <a:gd name="connsiteX3" fmla="*/ 18247 w 18313"/>
                  <a:gd name="connsiteY3" fmla="*/ 8079 h 18431"/>
                  <a:gd name="connsiteX4" fmla="*/ 8020 w 18313"/>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8020" y="65"/>
                    </a:moveTo>
                    <a:cubicBezTo>
                      <a:pt x="2997" y="663"/>
                      <a:pt x="-532" y="5268"/>
                      <a:pt x="66" y="10352"/>
                    </a:cubicBezTo>
                    <a:cubicBezTo>
                      <a:pt x="724" y="15376"/>
                      <a:pt x="5269" y="18964"/>
                      <a:pt x="10293" y="18366"/>
                    </a:cubicBezTo>
                    <a:cubicBezTo>
                      <a:pt x="15317" y="17768"/>
                      <a:pt x="18845" y="13163"/>
                      <a:pt x="18247" y="8079"/>
                    </a:cubicBezTo>
                    <a:cubicBezTo>
                      <a:pt x="17649" y="3055"/>
                      <a:pt x="13044" y="-533"/>
                      <a:pt x="8020" y="65"/>
                    </a:cubicBezTo>
                    <a:close/>
                  </a:path>
                </a:pathLst>
              </a:custGeom>
              <a:grpFill/>
              <a:ln w="5978" cap="flat">
                <a:noFill/>
                <a:prstDash val="solid"/>
                <a:miter/>
              </a:ln>
            </p:spPr>
            <p:txBody>
              <a:bodyPr rtlCol="0" anchor="ctr"/>
              <a:lstStyle/>
              <a:p>
                <a:endParaRPr lang="en-GB"/>
              </a:p>
            </p:txBody>
          </p:sp>
        </p:grpSp>
        <p:grpSp>
          <p:nvGrpSpPr>
            <p:cNvPr id="77" name="Graphic 3">
              <a:extLst>
                <a:ext uri="{FF2B5EF4-FFF2-40B4-BE49-F238E27FC236}">
                  <a16:creationId xmlns:a16="http://schemas.microsoft.com/office/drawing/2014/main" id="{B3E4CD56-B973-41F5-AE0C-3134015F4F80}"/>
                </a:ext>
              </a:extLst>
            </p:cNvPr>
            <p:cNvGrpSpPr/>
            <p:nvPr/>
          </p:nvGrpSpPr>
          <p:grpSpPr>
            <a:xfrm>
              <a:off x="7700781" y="3146123"/>
              <a:ext cx="471014" cy="44349"/>
              <a:chOff x="7700781" y="3146123"/>
              <a:chExt cx="471014" cy="44349"/>
            </a:xfrm>
            <a:grpFill/>
          </p:grpSpPr>
          <p:sp>
            <p:nvSpPr>
              <p:cNvPr id="5140" name="Vrije vorm: vorm 5139">
                <a:extLst>
                  <a:ext uri="{FF2B5EF4-FFF2-40B4-BE49-F238E27FC236}">
                    <a16:creationId xmlns:a16="http://schemas.microsoft.com/office/drawing/2014/main" id="{36E2E07D-7C01-4A38-9A0B-62F1C50D5109}"/>
                  </a:ext>
                </a:extLst>
              </p:cNvPr>
              <p:cNvSpPr/>
              <p:nvPr/>
            </p:nvSpPr>
            <p:spPr>
              <a:xfrm>
                <a:off x="7709349" y="3153854"/>
                <a:ext cx="453817" cy="28946"/>
              </a:xfrm>
              <a:custGeom>
                <a:avLst/>
                <a:gdLst>
                  <a:gd name="connsiteX0" fmla="*/ 453638 w 453817"/>
                  <a:gd name="connsiteY0" fmla="*/ 0 h 28946"/>
                  <a:gd name="connsiteX1" fmla="*/ 453817 w 453817"/>
                  <a:gd name="connsiteY1" fmla="*/ 3050 h 28946"/>
                  <a:gd name="connsiteX2" fmla="*/ 180 w 453817"/>
                  <a:gd name="connsiteY2" fmla="*/ 28947 h 28946"/>
                  <a:gd name="connsiteX3" fmla="*/ 0 w 453817"/>
                  <a:gd name="connsiteY3" fmla="*/ 25896 h 28946"/>
                </a:gdLst>
                <a:ahLst/>
                <a:cxnLst>
                  <a:cxn ang="0">
                    <a:pos x="connsiteX0" y="connsiteY0"/>
                  </a:cxn>
                  <a:cxn ang="0">
                    <a:pos x="connsiteX1" y="connsiteY1"/>
                  </a:cxn>
                  <a:cxn ang="0">
                    <a:pos x="connsiteX2" y="connsiteY2"/>
                  </a:cxn>
                  <a:cxn ang="0">
                    <a:pos x="connsiteX3" y="connsiteY3"/>
                  </a:cxn>
                </a:cxnLst>
                <a:rect l="l" t="t" r="r" b="b"/>
                <a:pathLst>
                  <a:path w="453817" h="28946">
                    <a:moveTo>
                      <a:pt x="453638" y="0"/>
                    </a:moveTo>
                    <a:lnTo>
                      <a:pt x="453817" y="3050"/>
                    </a:lnTo>
                    <a:lnTo>
                      <a:pt x="180" y="28947"/>
                    </a:lnTo>
                    <a:lnTo>
                      <a:pt x="0" y="25896"/>
                    </a:lnTo>
                    <a:close/>
                  </a:path>
                </a:pathLst>
              </a:custGeom>
              <a:grpFill/>
              <a:ln w="5978" cap="flat">
                <a:noFill/>
                <a:prstDash val="solid"/>
                <a:miter/>
              </a:ln>
            </p:spPr>
            <p:txBody>
              <a:bodyPr rtlCol="0" anchor="ctr"/>
              <a:lstStyle/>
              <a:p>
                <a:endParaRPr lang="en-GB"/>
              </a:p>
            </p:txBody>
          </p:sp>
          <p:sp>
            <p:nvSpPr>
              <p:cNvPr id="5141" name="Vrije vorm: vorm 5140">
                <a:extLst>
                  <a:ext uri="{FF2B5EF4-FFF2-40B4-BE49-F238E27FC236}">
                    <a16:creationId xmlns:a16="http://schemas.microsoft.com/office/drawing/2014/main" id="{4A7B9D14-8B65-40F2-A63A-7AB2A204C953}"/>
                  </a:ext>
                </a:extLst>
              </p:cNvPr>
              <p:cNvSpPr/>
              <p:nvPr/>
            </p:nvSpPr>
            <p:spPr>
              <a:xfrm>
                <a:off x="7700781" y="3172019"/>
                <a:ext cx="18333" cy="18452"/>
              </a:xfrm>
              <a:custGeom>
                <a:avLst/>
                <a:gdLst>
                  <a:gd name="connsiteX0" fmla="*/ 9705 w 18333"/>
                  <a:gd name="connsiteY0" fmla="*/ 18437 h 18452"/>
                  <a:gd name="connsiteX1" fmla="*/ 16 w 18333"/>
                  <a:gd name="connsiteY1" fmla="*/ 9765 h 18452"/>
                  <a:gd name="connsiteX2" fmla="*/ 8628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8" y="16"/>
                    </a:cubicBezTo>
                    <a:cubicBezTo>
                      <a:pt x="13653" y="-283"/>
                      <a:pt x="18018" y="3604"/>
                      <a:pt x="18317" y="8688"/>
                    </a:cubicBezTo>
                    <a:cubicBezTo>
                      <a:pt x="18616" y="13772"/>
                      <a:pt x="14729" y="18138"/>
                      <a:pt x="9705" y="18437"/>
                    </a:cubicBezTo>
                    <a:close/>
                  </a:path>
                </a:pathLst>
              </a:custGeom>
              <a:grpFill/>
              <a:ln w="5978" cap="flat">
                <a:noFill/>
                <a:prstDash val="solid"/>
                <a:miter/>
              </a:ln>
            </p:spPr>
            <p:txBody>
              <a:bodyPr rtlCol="0" anchor="ctr"/>
              <a:lstStyle/>
              <a:p>
                <a:endParaRPr lang="en-GB"/>
              </a:p>
            </p:txBody>
          </p:sp>
          <p:sp>
            <p:nvSpPr>
              <p:cNvPr id="5142" name="Vrije vorm: vorm 5141">
                <a:extLst>
                  <a:ext uri="{FF2B5EF4-FFF2-40B4-BE49-F238E27FC236}">
                    <a16:creationId xmlns:a16="http://schemas.microsoft.com/office/drawing/2014/main" id="{21C2DAF1-EA47-41F0-A1F6-FE562E4FA3C8}"/>
                  </a:ext>
                </a:extLst>
              </p:cNvPr>
              <p:cNvSpPr/>
              <p:nvPr/>
            </p:nvSpPr>
            <p:spPr>
              <a:xfrm>
                <a:off x="8153462" y="3146123"/>
                <a:ext cx="18333" cy="18453"/>
              </a:xfrm>
              <a:custGeom>
                <a:avLst/>
                <a:gdLst>
                  <a:gd name="connsiteX0" fmla="*/ 9705 w 18333"/>
                  <a:gd name="connsiteY0" fmla="*/ 18437 h 18453"/>
                  <a:gd name="connsiteX1" fmla="*/ 18317 w 18333"/>
                  <a:gd name="connsiteY1" fmla="*/ 8688 h 18453"/>
                  <a:gd name="connsiteX2" fmla="*/ 8629 w 18333"/>
                  <a:gd name="connsiteY2" fmla="*/ 16 h 18453"/>
                  <a:gd name="connsiteX3" fmla="*/ 16 w 18333"/>
                  <a:gd name="connsiteY3" fmla="*/ 9765 h 18453"/>
                  <a:gd name="connsiteX4" fmla="*/ 9705 w 18333"/>
                  <a:gd name="connsiteY4" fmla="*/ 18437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8437"/>
                    </a:moveTo>
                    <a:cubicBezTo>
                      <a:pt x="14729" y="18138"/>
                      <a:pt x="18616" y="13772"/>
                      <a:pt x="18317" y="8688"/>
                    </a:cubicBezTo>
                    <a:cubicBezTo>
                      <a:pt x="18018" y="3605"/>
                      <a:pt x="13652" y="-283"/>
                      <a:pt x="8629" y="16"/>
                    </a:cubicBezTo>
                    <a:cubicBezTo>
                      <a:pt x="3604" y="315"/>
                      <a:pt x="-282"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78" name="Graphic 3">
              <a:extLst>
                <a:ext uri="{FF2B5EF4-FFF2-40B4-BE49-F238E27FC236}">
                  <a16:creationId xmlns:a16="http://schemas.microsoft.com/office/drawing/2014/main" id="{290C8399-3C21-4628-AB72-C8A621974A9B}"/>
                </a:ext>
              </a:extLst>
            </p:cNvPr>
            <p:cNvGrpSpPr/>
            <p:nvPr/>
          </p:nvGrpSpPr>
          <p:grpSpPr>
            <a:xfrm>
              <a:off x="7967706" y="3314605"/>
              <a:ext cx="27352" cy="18919"/>
              <a:chOff x="7967706" y="3314605"/>
              <a:chExt cx="27352" cy="18919"/>
            </a:xfrm>
            <a:grpFill/>
          </p:grpSpPr>
          <p:sp>
            <p:nvSpPr>
              <p:cNvPr id="5138" name="Vrije vorm: vorm 5137">
                <a:extLst>
                  <a:ext uri="{FF2B5EF4-FFF2-40B4-BE49-F238E27FC236}">
                    <a16:creationId xmlns:a16="http://schemas.microsoft.com/office/drawing/2014/main" id="{FBF3725A-87B0-4A65-86D9-1E2734EDED8F}"/>
                  </a:ext>
                </a:extLst>
              </p:cNvPr>
              <p:cNvSpPr/>
              <p:nvPr/>
            </p:nvSpPr>
            <p:spPr>
              <a:xfrm>
                <a:off x="7976737" y="3314605"/>
                <a:ext cx="18321" cy="18441"/>
              </a:xfrm>
              <a:custGeom>
                <a:avLst/>
                <a:gdLst>
                  <a:gd name="connsiteX0" fmla="*/ 9639 w 18321"/>
                  <a:gd name="connsiteY0" fmla="*/ 18431 h 18441"/>
                  <a:gd name="connsiteX1" fmla="*/ 10 w 18321"/>
                  <a:gd name="connsiteY1" fmla="*/ 9639 h 18441"/>
                  <a:gd name="connsiteX2" fmla="*/ 8682 w 18321"/>
                  <a:gd name="connsiteY2" fmla="*/ 10 h 18441"/>
                  <a:gd name="connsiteX3" fmla="*/ 18311 w 18321"/>
                  <a:gd name="connsiteY3" fmla="*/ 8802 h 18441"/>
                  <a:gd name="connsiteX4" fmla="*/ 9639 w 18321"/>
                  <a:gd name="connsiteY4" fmla="*/ 1843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639" y="18431"/>
                    </a:moveTo>
                    <a:cubicBezTo>
                      <a:pt x="4616" y="18670"/>
                      <a:pt x="249" y="14723"/>
                      <a:pt x="10" y="9639"/>
                    </a:cubicBezTo>
                    <a:cubicBezTo>
                      <a:pt x="-229" y="4556"/>
                      <a:pt x="3659" y="249"/>
                      <a:pt x="8682" y="10"/>
                    </a:cubicBezTo>
                    <a:cubicBezTo>
                      <a:pt x="13706" y="-229"/>
                      <a:pt x="18072" y="3718"/>
                      <a:pt x="18311" y="8802"/>
                    </a:cubicBezTo>
                    <a:cubicBezTo>
                      <a:pt x="18551" y="13886"/>
                      <a:pt x="14663" y="18192"/>
                      <a:pt x="9639" y="18431"/>
                    </a:cubicBezTo>
                    <a:close/>
                  </a:path>
                </a:pathLst>
              </a:custGeom>
              <a:grpFill/>
              <a:ln w="5978" cap="flat">
                <a:noFill/>
                <a:prstDash val="solid"/>
                <a:miter/>
              </a:ln>
            </p:spPr>
            <p:txBody>
              <a:bodyPr rtlCol="0" anchor="ctr"/>
              <a:lstStyle/>
              <a:p>
                <a:endParaRPr lang="en-GB"/>
              </a:p>
            </p:txBody>
          </p:sp>
          <p:sp>
            <p:nvSpPr>
              <p:cNvPr id="5139" name="Vrije vorm: vorm 5138">
                <a:extLst>
                  <a:ext uri="{FF2B5EF4-FFF2-40B4-BE49-F238E27FC236}">
                    <a16:creationId xmlns:a16="http://schemas.microsoft.com/office/drawing/2014/main" id="{A4ECBDBB-0876-4DB4-A8B0-D7443B0D2880}"/>
                  </a:ext>
                </a:extLst>
              </p:cNvPr>
              <p:cNvSpPr/>
              <p:nvPr/>
            </p:nvSpPr>
            <p:spPr>
              <a:xfrm>
                <a:off x="7967706" y="3315084"/>
                <a:ext cx="18321" cy="18441"/>
              </a:xfrm>
              <a:custGeom>
                <a:avLst/>
                <a:gdLst>
                  <a:gd name="connsiteX0" fmla="*/ 9640 w 18321"/>
                  <a:gd name="connsiteY0" fmla="*/ 18431 h 18441"/>
                  <a:gd name="connsiteX1" fmla="*/ 18311 w 18321"/>
                  <a:gd name="connsiteY1" fmla="*/ 8802 h 18441"/>
                  <a:gd name="connsiteX2" fmla="*/ 8682 w 18321"/>
                  <a:gd name="connsiteY2" fmla="*/ 10 h 18441"/>
                  <a:gd name="connsiteX3" fmla="*/ 11 w 18321"/>
                  <a:gd name="connsiteY3" fmla="*/ 9639 h 18441"/>
                  <a:gd name="connsiteX4" fmla="*/ 9640 w 18321"/>
                  <a:gd name="connsiteY4" fmla="*/ 1843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640" y="18431"/>
                    </a:moveTo>
                    <a:cubicBezTo>
                      <a:pt x="14663" y="18192"/>
                      <a:pt x="18551" y="13886"/>
                      <a:pt x="18311" y="8802"/>
                    </a:cubicBezTo>
                    <a:cubicBezTo>
                      <a:pt x="18073" y="3718"/>
                      <a:pt x="13766" y="-229"/>
                      <a:pt x="8682" y="10"/>
                    </a:cubicBezTo>
                    <a:cubicBezTo>
                      <a:pt x="3599" y="250"/>
                      <a:pt x="-229" y="4556"/>
                      <a:pt x="11" y="9639"/>
                    </a:cubicBezTo>
                    <a:cubicBezTo>
                      <a:pt x="309" y="14723"/>
                      <a:pt x="4616" y="18670"/>
                      <a:pt x="9640" y="18431"/>
                    </a:cubicBezTo>
                    <a:close/>
                  </a:path>
                </a:pathLst>
              </a:custGeom>
              <a:grpFill/>
              <a:ln w="5978" cap="flat">
                <a:noFill/>
                <a:prstDash val="solid"/>
                <a:miter/>
              </a:ln>
            </p:spPr>
            <p:txBody>
              <a:bodyPr rtlCol="0" anchor="ctr"/>
              <a:lstStyle/>
              <a:p>
                <a:endParaRPr lang="en-GB"/>
              </a:p>
            </p:txBody>
          </p:sp>
        </p:grpSp>
        <p:grpSp>
          <p:nvGrpSpPr>
            <p:cNvPr id="79" name="Graphic 3">
              <a:extLst>
                <a:ext uri="{FF2B5EF4-FFF2-40B4-BE49-F238E27FC236}">
                  <a16:creationId xmlns:a16="http://schemas.microsoft.com/office/drawing/2014/main" id="{D5C5475B-C1D5-445D-8188-0F1CA7375082}"/>
                </a:ext>
              </a:extLst>
            </p:cNvPr>
            <p:cNvGrpSpPr/>
            <p:nvPr/>
          </p:nvGrpSpPr>
          <p:grpSpPr>
            <a:xfrm>
              <a:off x="7737723" y="2606285"/>
              <a:ext cx="19218" cy="18906"/>
              <a:chOff x="7737723" y="2606285"/>
              <a:chExt cx="19218" cy="18906"/>
            </a:xfrm>
            <a:grpFill/>
          </p:grpSpPr>
          <p:sp>
            <p:nvSpPr>
              <p:cNvPr id="5136" name="Vrije vorm: vorm 5135">
                <a:extLst>
                  <a:ext uri="{FF2B5EF4-FFF2-40B4-BE49-F238E27FC236}">
                    <a16:creationId xmlns:a16="http://schemas.microsoft.com/office/drawing/2014/main" id="{A6968A33-8F0D-43C2-89EB-02181412AED3}"/>
                  </a:ext>
                </a:extLst>
              </p:cNvPr>
              <p:cNvSpPr/>
              <p:nvPr/>
            </p:nvSpPr>
            <p:spPr>
              <a:xfrm>
                <a:off x="7738610" y="2606285"/>
                <a:ext cx="18331" cy="18428"/>
              </a:xfrm>
              <a:custGeom>
                <a:avLst/>
                <a:gdLst>
                  <a:gd name="connsiteX0" fmla="*/ 13083 w 18331"/>
                  <a:gd name="connsiteY0" fmla="*/ 17557 h 18428"/>
                  <a:gd name="connsiteX1" fmla="*/ 882 w 18331"/>
                  <a:gd name="connsiteY1" fmla="*/ 13131 h 18428"/>
                  <a:gd name="connsiteX2" fmla="*/ 5248 w 18331"/>
                  <a:gd name="connsiteY2" fmla="*/ 871 h 18428"/>
                  <a:gd name="connsiteX3" fmla="*/ 17449 w 18331"/>
                  <a:gd name="connsiteY3" fmla="*/ 5297 h 18428"/>
                  <a:gd name="connsiteX4" fmla="*/ 13083 w 18331"/>
                  <a:gd name="connsiteY4" fmla="*/ 1755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28">
                    <a:moveTo>
                      <a:pt x="13083" y="17557"/>
                    </a:moveTo>
                    <a:cubicBezTo>
                      <a:pt x="8538" y="19710"/>
                      <a:pt x="3035" y="17737"/>
                      <a:pt x="882" y="13131"/>
                    </a:cubicBezTo>
                    <a:cubicBezTo>
                      <a:pt x="-1271" y="8526"/>
                      <a:pt x="643" y="3024"/>
                      <a:pt x="5248" y="871"/>
                    </a:cubicBezTo>
                    <a:cubicBezTo>
                      <a:pt x="9794" y="-1282"/>
                      <a:pt x="15296" y="692"/>
                      <a:pt x="17449" y="5297"/>
                    </a:cubicBezTo>
                    <a:cubicBezTo>
                      <a:pt x="19602" y="9902"/>
                      <a:pt x="17688" y="15404"/>
                      <a:pt x="13083" y="17557"/>
                    </a:cubicBezTo>
                    <a:close/>
                  </a:path>
                </a:pathLst>
              </a:custGeom>
              <a:grpFill/>
              <a:ln w="5978" cap="flat">
                <a:noFill/>
                <a:prstDash val="solid"/>
                <a:miter/>
              </a:ln>
            </p:spPr>
            <p:txBody>
              <a:bodyPr rtlCol="0" anchor="ctr"/>
              <a:lstStyle/>
              <a:p>
                <a:endParaRPr lang="en-GB"/>
              </a:p>
            </p:txBody>
          </p:sp>
          <p:sp>
            <p:nvSpPr>
              <p:cNvPr id="5137" name="Vrije vorm: vorm 5136">
                <a:extLst>
                  <a:ext uri="{FF2B5EF4-FFF2-40B4-BE49-F238E27FC236}">
                    <a16:creationId xmlns:a16="http://schemas.microsoft.com/office/drawing/2014/main" id="{B87309AE-E507-4AF9-A62A-6C359F682739}"/>
                  </a:ext>
                </a:extLst>
              </p:cNvPr>
              <p:cNvSpPr/>
              <p:nvPr/>
            </p:nvSpPr>
            <p:spPr>
              <a:xfrm>
                <a:off x="7737723" y="2606763"/>
                <a:ext cx="18311" cy="18428"/>
              </a:xfrm>
              <a:custGeom>
                <a:avLst/>
                <a:gdLst>
                  <a:gd name="connsiteX0" fmla="*/ 13073 w 18311"/>
                  <a:gd name="connsiteY0" fmla="*/ 17557 h 18428"/>
                  <a:gd name="connsiteX1" fmla="*/ 17439 w 18311"/>
                  <a:gd name="connsiteY1" fmla="*/ 5297 h 18428"/>
                  <a:gd name="connsiteX2" fmla="*/ 5238 w 18311"/>
                  <a:gd name="connsiteY2" fmla="*/ 871 h 18428"/>
                  <a:gd name="connsiteX3" fmla="*/ 872 w 18311"/>
                  <a:gd name="connsiteY3" fmla="*/ 13132 h 18428"/>
                  <a:gd name="connsiteX4" fmla="*/ 13073 w 18311"/>
                  <a:gd name="connsiteY4" fmla="*/ 1755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8">
                    <a:moveTo>
                      <a:pt x="13073" y="17557"/>
                    </a:moveTo>
                    <a:cubicBezTo>
                      <a:pt x="17619" y="15404"/>
                      <a:pt x="19592" y="9902"/>
                      <a:pt x="17439" y="5297"/>
                    </a:cubicBezTo>
                    <a:cubicBezTo>
                      <a:pt x="15286" y="692"/>
                      <a:pt x="9784" y="-1282"/>
                      <a:pt x="5238" y="871"/>
                    </a:cubicBezTo>
                    <a:cubicBezTo>
                      <a:pt x="693" y="3024"/>
                      <a:pt x="-1281" y="8527"/>
                      <a:pt x="872" y="13132"/>
                    </a:cubicBezTo>
                    <a:cubicBezTo>
                      <a:pt x="3025" y="17737"/>
                      <a:pt x="8528" y="19711"/>
                      <a:pt x="13073" y="17557"/>
                    </a:cubicBezTo>
                    <a:close/>
                  </a:path>
                </a:pathLst>
              </a:custGeom>
              <a:grpFill/>
              <a:ln w="5978" cap="flat">
                <a:noFill/>
                <a:prstDash val="solid"/>
                <a:miter/>
              </a:ln>
            </p:spPr>
            <p:txBody>
              <a:bodyPr rtlCol="0" anchor="ctr"/>
              <a:lstStyle/>
              <a:p>
                <a:endParaRPr lang="en-GB"/>
              </a:p>
            </p:txBody>
          </p:sp>
        </p:grpSp>
        <p:grpSp>
          <p:nvGrpSpPr>
            <p:cNvPr id="80" name="Graphic 3">
              <a:extLst>
                <a:ext uri="{FF2B5EF4-FFF2-40B4-BE49-F238E27FC236}">
                  <a16:creationId xmlns:a16="http://schemas.microsoft.com/office/drawing/2014/main" id="{2966474F-878C-47F9-A46B-826B07E8ED95}"/>
                </a:ext>
              </a:extLst>
            </p:cNvPr>
            <p:cNvGrpSpPr/>
            <p:nvPr/>
          </p:nvGrpSpPr>
          <p:grpSpPr>
            <a:xfrm>
              <a:off x="7713933" y="2683270"/>
              <a:ext cx="133472" cy="65231"/>
              <a:chOff x="7713933" y="2683270"/>
              <a:chExt cx="133472" cy="65231"/>
            </a:xfrm>
            <a:grpFill/>
          </p:grpSpPr>
          <p:sp>
            <p:nvSpPr>
              <p:cNvPr id="5133" name="Vrije vorm: vorm 5132">
                <a:extLst>
                  <a:ext uri="{FF2B5EF4-FFF2-40B4-BE49-F238E27FC236}">
                    <a16:creationId xmlns:a16="http://schemas.microsoft.com/office/drawing/2014/main" id="{A0EE81B8-98F1-4510-BC21-CFE826DC3226}"/>
                  </a:ext>
                </a:extLst>
              </p:cNvPr>
              <p:cNvSpPr/>
              <p:nvPr/>
            </p:nvSpPr>
            <p:spPr>
              <a:xfrm>
                <a:off x="7721695" y="2691151"/>
                <a:ext cx="117167" cy="49964"/>
              </a:xfrm>
              <a:custGeom>
                <a:avLst/>
                <a:gdLst>
                  <a:gd name="connsiteX0" fmla="*/ 0 w 117167"/>
                  <a:gd name="connsiteY0" fmla="*/ 47139 h 49964"/>
                  <a:gd name="connsiteX1" fmla="*/ 116019 w 117167"/>
                  <a:gd name="connsiteY1" fmla="*/ 0 h 49964"/>
                  <a:gd name="connsiteX2" fmla="*/ 117167 w 117167"/>
                  <a:gd name="connsiteY2" fmla="*/ 2826 h 49964"/>
                  <a:gd name="connsiteX3" fmla="*/ 1148 w 117167"/>
                  <a:gd name="connsiteY3" fmla="*/ 49965 h 49964"/>
                </a:gdLst>
                <a:ahLst/>
                <a:cxnLst>
                  <a:cxn ang="0">
                    <a:pos x="connsiteX0" y="connsiteY0"/>
                  </a:cxn>
                  <a:cxn ang="0">
                    <a:pos x="connsiteX1" y="connsiteY1"/>
                  </a:cxn>
                  <a:cxn ang="0">
                    <a:pos x="connsiteX2" y="connsiteY2"/>
                  </a:cxn>
                  <a:cxn ang="0">
                    <a:pos x="connsiteX3" y="connsiteY3"/>
                  </a:cxn>
                </a:cxnLst>
                <a:rect l="l" t="t" r="r" b="b"/>
                <a:pathLst>
                  <a:path w="117167" h="49964">
                    <a:moveTo>
                      <a:pt x="0" y="47139"/>
                    </a:moveTo>
                    <a:lnTo>
                      <a:pt x="116019" y="0"/>
                    </a:lnTo>
                    <a:lnTo>
                      <a:pt x="117167" y="2826"/>
                    </a:lnTo>
                    <a:lnTo>
                      <a:pt x="1148" y="49965"/>
                    </a:lnTo>
                    <a:close/>
                  </a:path>
                </a:pathLst>
              </a:custGeom>
              <a:grpFill/>
              <a:ln w="5978" cap="flat">
                <a:noFill/>
                <a:prstDash val="solid"/>
                <a:miter/>
              </a:ln>
            </p:spPr>
            <p:txBody>
              <a:bodyPr rtlCol="0" anchor="ctr"/>
              <a:lstStyle/>
              <a:p>
                <a:endParaRPr lang="en-GB"/>
              </a:p>
            </p:txBody>
          </p:sp>
          <p:sp>
            <p:nvSpPr>
              <p:cNvPr id="5134" name="Vrije vorm: vorm 5133">
                <a:extLst>
                  <a:ext uri="{FF2B5EF4-FFF2-40B4-BE49-F238E27FC236}">
                    <a16:creationId xmlns:a16="http://schemas.microsoft.com/office/drawing/2014/main" id="{E8C10D63-6812-4948-B1A4-9E812BCE560F}"/>
                  </a:ext>
                </a:extLst>
              </p:cNvPr>
              <p:cNvSpPr/>
              <p:nvPr/>
            </p:nvSpPr>
            <p:spPr>
              <a:xfrm>
                <a:off x="7829087" y="2683270"/>
                <a:ext cx="18319" cy="18402"/>
              </a:xfrm>
              <a:custGeom>
                <a:avLst/>
                <a:gdLst>
                  <a:gd name="connsiteX0" fmla="*/ 5679 w 18319"/>
                  <a:gd name="connsiteY0" fmla="*/ 679 h 18402"/>
                  <a:gd name="connsiteX1" fmla="*/ 17640 w 18319"/>
                  <a:gd name="connsiteY1" fmla="*/ 5762 h 18402"/>
                  <a:gd name="connsiteX2" fmla="*/ 12616 w 18319"/>
                  <a:gd name="connsiteY2" fmla="*/ 17724 h 18402"/>
                  <a:gd name="connsiteX3" fmla="*/ 654 w 18319"/>
                  <a:gd name="connsiteY3" fmla="*/ 12640 h 18402"/>
                  <a:gd name="connsiteX4" fmla="*/ 5679 w 18319"/>
                  <a:gd name="connsiteY4" fmla="*/ 679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02">
                    <a:moveTo>
                      <a:pt x="5679" y="679"/>
                    </a:moveTo>
                    <a:cubicBezTo>
                      <a:pt x="10343" y="-1235"/>
                      <a:pt x="15726" y="1037"/>
                      <a:pt x="17640" y="5762"/>
                    </a:cubicBezTo>
                    <a:cubicBezTo>
                      <a:pt x="19554" y="10487"/>
                      <a:pt x="17281" y="15870"/>
                      <a:pt x="12616" y="17724"/>
                    </a:cubicBezTo>
                    <a:cubicBezTo>
                      <a:pt x="7951" y="19637"/>
                      <a:pt x="2568" y="17365"/>
                      <a:pt x="654" y="12640"/>
                    </a:cubicBezTo>
                    <a:cubicBezTo>
                      <a:pt x="-1199" y="7975"/>
                      <a:pt x="1013" y="2592"/>
                      <a:pt x="5679" y="679"/>
                    </a:cubicBezTo>
                    <a:close/>
                  </a:path>
                </a:pathLst>
              </a:custGeom>
              <a:grpFill/>
              <a:ln w="5978" cap="flat">
                <a:noFill/>
                <a:prstDash val="solid"/>
                <a:miter/>
              </a:ln>
            </p:spPr>
            <p:txBody>
              <a:bodyPr rtlCol="0" anchor="ctr"/>
              <a:lstStyle/>
              <a:p>
                <a:endParaRPr lang="en-GB"/>
              </a:p>
            </p:txBody>
          </p:sp>
          <p:sp>
            <p:nvSpPr>
              <p:cNvPr id="5135" name="Vrije vorm: vorm 5134">
                <a:extLst>
                  <a:ext uri="{FF2B5EF4-FFF2-40B4-BE49-F238E27FC236}">
                    <a16:creationId xmlns:a16="http://schemas.microsoft.com/office/drawing/2014/main" id="{D525C23A-11EB-4DA0-9785-4E68D5335ED7}"/>
                  </a:ext>
                </a:extLst>
              </p:cNvPr>
              <p:cNvSpPr/>
              <p:nvPr/>
            </p:nvSpPr>
            <p:spPr>
              <a:xfrm>
                <a:off x="7713933" y="2730099"/>
                <a:ext cx="18344" cy="18401"/>
              </a:xfrm>
              <a:custGeom>
                <a:avLst/>
                <a:gdLst>
                  <a:gd name="connsiteX0" fmla="*/ 5703 w 18344"/>
                  <a:gd name="connsiteY0" fmla="*/ 679 h 18401"/>
                  <a:gd name="connsiteX1" fmla="*/ 679 w 18344"/>
                  <a:gd name="connsiteY1" fmla="*/ 12640 h 18401"/>
                  <a:gd name="connsiteX2" fmla="*/ 12641 w 18344"/>
                  <a:gd name="connsiteY2" fmla="*/ 17723 h 18401"/>
                  <a:gd name="connsiteX3" fmla="*/ 17665 w 18344"/>
                  <a:gd name="connsiteY3" fmla="*/ 5762 h 18401"/>
                  <a:gd name="connsiteX4" fmla="*/ 5703 w 18344"/>
                  <a:gd name="connsiteY4" fmla="*/ 679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1">
                    <a:moveTo>
                      <a:pt x="5703" y="679"/>
                    </a:moveTo>
                    <a:cubicBezTo>
                      <a:pt x="1038" y="2592"/>
                      <a:pt x="-1234" y="7975"/>
                      <a:pt x="679" y="12640"/>
                    </a:cubicBezTo>
                    <a:cubicBezTo>
                      <a:pt x="2593" y="17365"/>
                      <a:pt x="7916" y="19637"/>
                      <a:pt x="12641" y="17723"/>
                    </a:cubicBezTo>
                    <a:cubicBezTo>
                      <a:pt x="17306" y="15810"/>
                      <a:pt x="19578" y="10427"/>
                      <a:pt x="17665" y="5762"/>
                    </a:cubicBezTo>
                    <a:cubicBezTo>
                      <a:pt x="15691" y="1037"/>
                      <a:pt x="10368" y="-1235"/>
                      <a:pt x="5703" y="679"/>
                    </a:cubicBezTo>
                    <a:close/>
                  </a:path>
                </a:pathLst>
              </a:custGeom>
              <a:grpFill/>
              <a:ln w="5978" cap="flat">
                <a:noFill/>
                <a:prstDash val="solid"/>
                <a:miter/>
              </a:ln>
            </p:spPr>
            <p:txBody>
              <a:bodyPr rtlCol="0" anchor="ctr"/>
              <a:lstStyle/>
              <a:p>
                <a:endParaRPr lang="en-GB"/>
              </a:p>
            </p:txBody>
          </p:sp>
        </p:grpSp>
        <p:grpSp>
          <p:nvGrpSpPr>
            <p:cNvPr id="81" name="Graphic 3">
              <a:extLst>
                <a:ext uri="{FF2B5EF4-FFF2-40B4-BE49-F238E27FC236}">
                  <a16:creationId xmlns:a16="http://schemas.microsoft.com/office/drawing/2014/main" id="{AD2FC811-8DA9-43E0-A7A8-12DD4FF5C4D2}"/>
                </a:ext>
              </a:extLst>
            </p:cNvPr>
            <p:cNvGrpSpPr/>
            <p:nvPr/>
          </p:nvGrpSpPr>
          <p:grpSpPr>
            <a:xfrm>
              <a:off x="7444619" y="2243758"/>
              <a:ext cx="420552" cy="242298"/>
              <a:chOff x="7444619" y="2243758"/>
              <a:chExt cx="420552" cy="242298"/>
            </a:xfrm>
            <a:grpFill/>
          </p:grpSpPr>
          <p:sp>
            <p:nvSpPr>
              <p:cNvPr id="5130" name="Vrije vorm: vorm 5129">
                <a:extLst>
                  <a:ext uri="{FF2B5EF4-FFF2-40B4-BE49-F238E27FC236}">
                    <a16:creationId xmlns:a16="http://schemas.microsoft.com/office/drawing/2014/main" id="{96B6B9EC-99F5-4E55-AF92-6FC1B699B57D}"/>
                  </a:ext>
                </a:extLst>
              </p:cNvPr>
              <p:cNvSpPr/>
              <p:nvPr/>
            </p:nvSpPr>
            <p:spPr>
              <a:xfrm>
                <a:off x="7452597" y="2251363"/>
                <a:ext cx="404536" cy="227028"/>
              </a:xfrm>
              <a:custGeom>
                <a:avLst/>
                <a:gdLst>
                  <a:gd name="connsiteX0" fmla="*/ 404536 w 404536"/>
                  <a:gd name="connsiteY0" fmla="*/ 2691 h 227028"/>
                  <a:gd name="connsiteX1" fmla="*/ 1495 w 404536"/>
                  <a:gd name="connsiteY1" fmla="*/ 227028 h 227028"/>
                  <a:gd name="connsiteX2" fmla="*/ 0 w 404536"/>
                  <a:gd name="connsiteY2" fmla="*/ 224337 h 227028"/>
                  <a:gd name="connsiteX3" fmla="*/ 403101 w 404536"/>
                  <a:gd name="connsiteY3" fmla="*/ 0 h 227028"/>
                </a:gdLst>
                <a:ahLst/>
                <a:cxnLst>
                  <a:cxn ang="0">
                    <a:pos x="connsiteX0" y="connsiteY0"/>
                  </a:cxn>
                  <a:cxn ang="0">
                    <a:pos x="connsiteX1" y="connsiteY1"/>
                  </a:cxn>
                  <a:cxn ang="0">
                    <a:pos x="connsiteX2" y="connsiteY2"/>
                  </a:cxn>
                  <a:cxn ang="0">
                    <a:pos x="connsiteX3" y="connsiteY3"/>
                  </a:cxn>
                </a:cxnLst>
                <a:rect l="l" t="t" r="r" b="b"/>
                <a:pathLst>
                  <a:path w="404536" h="227028">
                    <a:moveTo>
                      <a:pt x="404536" y="2691"/>
                    </a:moveTo>
                    <a:lnTo>
                      <a:pt x="1495" y="227028"/>
                    </a:lnTo>
                    <a:lnTo>
                      <a:pt x="0" y="224337"/>
                    </a:lnTo>
                    <a:lnTo>
                      <a:pt x="403101" y="0"/>
                    </a:lnTo>
                    <a:close/>
                  </a:path>
                </a:pathLst>
              </a:custGeom>
              <a:grpFill/>
              <a:ln w="5978" cap="flat">
                <a:noFill/>
                <a:prstDash val="solid"/>
                <a:miter/>
              </a:ln>
            </p:spPr>
            <p:txBody>
              <a:bodyPr rtlCol="0" anchor="ctr"/>
              <a:lstStyle/>
              <a:p>
                <a:endParaRPr lang="en-GB"/>
              </a:p>
            </p:txBody>
          </p:sp>
          <p:sp>
            <p:nvSpPr>
              <p:cNvPr id="5131" name="Vrije vorm: vorm 5130">
                <a:extLst>
                  <a:ext uri="{FF2B5EF4-FFF2-40B4-BE49-F238E27FC236}">
                    <a16:creationId xmlns:a16="http://schemas.microsoft.com/office/drawing/2014/main" id="{287CBEDD-B88F-46B0-A757-497C23A95FE9}"/>
                  </a:ext>
                </a:extLst>
              </p:cNvPr>
              <p:cNvSpPr/>
              <p:nvPr/>
            </p:nvSpPr>
            <p:spPr>
              <a:xfrm>
                <a:off x="7444619" y="2467676"/>
                <a:ext cx="18289" cy="18380"/>
              </a:xfrm>
              <a:custGeom>
                <a:avLst/>
                <a:gdLst>
                  <a:gd name="connsiteX0" fmla="*/ 13600 w 18289"/>
                  <a:gd name="connsiteY0" fmla="*/ 17234 h 18380"/>
                  <a:gd name="connsiteX1" fmla="*/ 1160 w 18289"/>
                  <a:gd name="connsiteY1" fmla="*/ 13646 h 18380"/>
                  <a:gd name="connsiteX2" fmla="*/ 4689 w 18289"/>
                  <a:gd name="connsiteY2" fmla="*/ 1146 h 18380"/>
                  <a:gd name="connsiteX3" fmla="*/ 17129 w 18289"/>
                  <a:gd name="connsiteY3" fmla="*/ 4734 h 18380"/>
                  <a:gd name="connsiteX4" fmla="*/ 13600 w 18289"/>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80">
                    <a:moveTo>
                      <a:pt x="13600" y="17234"/>
                    </a:moveTo>
                    <a:cubicBezTo>
                      <a:pt x="9174" y="19686"/>
                      <a:pt x="3613" y="18071"/>
                      <a:pt x="1160" y="13646"/>
                    </a:cubicBezTo>
                    <a:cubicBezTo>
                      <a:pt x="-1292" y="9220"/>
                      <a:pt x="263" y="3598"/>
                      <a:pt x="4689" y="1146"/>
                    </a:cubicBezTo>
                    <a:cubicBezTo>
                      <a:pt x="9115" y="-1306"/>
                      <a:pt x="14677" y="309"/>
                      <a:pt x="17129" y="4734"/>
                    </a:cubicBezTo>
                    <a:cubicBezTo>
                      <a:pt x="19581" y="9160"/>
                      <a:pt x="18026" y="14722"/>
                      <a:pt x="13600" y="17234"/>
                    </a:cubicBezTo>
                    <a:close/>
                  </a:path>
                </a:pathLst>
              </a:custGeom>
              <a:grpFill/>
              <a:ln w="5978" cap="flat">
                <a:noFill/>
                <a:prstDash val="solid"/>
                <a:miter/>
              </a:ln>
            </p:spPr>
            <p:txBody>
              <a:bodyPr rtlCol="0" anchor="ctr"/>
              <a:lstStyle/>
              <a:p>
                <a:endParaRPr lang="en-GB"/>
              </a:p>
            </p:txBody>
          </p:sp>
          <p:sp>
            <p:nvSpPr>
              <p:cNvPr id="5132" name="Vrije vorm: vorm 5131">
                <a:extLst>
                  <a:ext uri="{FF2B5EF4-FFF2-40B4-BE49-F238E27FC236}">
                    <a16:creationId xmlns:a16="http://schemas.microsoft.com/office/drawing/2014/main" id="{F25DACAE-5651-496E-B76E-E7991A8E4E40}"/>
                  </a:ext>
                </a:extLst>
              </p:cNvPr>
              <p:cNvSpPr/>
              <p:nvPr/>
            </p:nvSpPr>
            <p:spPr>
              <a:xfrm>
                <a:off x="7846882" y="2243758"/>
                <a:ext cx="18288" cy="18379"/>
              </a:xfrm>
              <a:custGeom>
                <a:avLst/>
                <a:gdLst>
                  <a:gd name="connsiteX0" fmla="*/ 13600 w 18288"/>
                  <a:gd name="connsiteY0" fmla="*/ 17234 h 18379"/>
                  <a:gd name="connsiteX1" fmla="*/ 17128 w 18288"/>
                  <a:gd name="connsiteY1" fmla="*/ 4734 h 18379"/>
                  <a:gd name="connsiteX2" fmla="*/ 4689 w 18288"/>
                  <a:gd name="connsiteY2" fmla="*/ 1146 h 18379"/>
                  <a:gd name="connsiteX3" fmla="*/ 1160 w 18288"/>
                  <a:gd name="connsiteY3" fmla="*/ 13646 h 18379"/>
                  <a:gd name="connsiteX4" fmla="*/ 13600 w 18288"/>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79">
                    <a:moveTo>
                      <a:pt x="13600" y="17234"/>
                    </a:moveTo>
                    <a:cubicBezTo>
                      <a:pt x="18026" y="14782"/>
                      <a:pt x="19581" y="9160"/>
                      <a:pt x="17128" y="4734"/>
                    </a:cubicBezTo>
                    <a:cubicBezTo>
                      <a:pt x="14677" y="309"/>
                      <a:pt x="9055" y="-1306"/>
                      <a:pt x="4689" y="1146"/>
                    </a:cubicBezTo>
                    <a:cubicBezTo>
                      <a:pt x="263" y="3598"/>
                      <a:pt x="-1292" y="9220"/>
                      <a:pt x="1160" y="13646"/>
                    </a:cubicBezTo>
                    <a:cubicBezTo>
                      <a:pt x="3613" y="18071"/>
                      <a:pt x="9174" y="19686"/>
                      <a:pt x="13600" y="17234"/>
                    </a:cubicBezTo>
                    <a:close/>
                  </a:path>
                </a:pathLst>
              </a:custGeom>
              <a:grpFill/>
              <a:ln w="5978" cap="flat">
                <a:noFill/>
                <a:prstDash val="solid"/>
                <a:miter/>
              </a:ln>
            </p:spPr>
            <p:txBody>
              <a:bodyPr rtlCol="0" anchor="ctr"/>
              <a:lstStyle/>
              <a:p>
                <a:endParaRPr lang="en-GB"/>
              </a:p>
            </p:txBody>
          </p:sp>
        </p:grpSp>
        <p:grpSp>
          <p:nvGrpSpPr>
            <p:cNvPr id="82" name="Graphic 3">
              <a:extLst>
                <a:ext uri="{FF2B5EF4-FFF2-40B4-BE49-F238E27FC236}">
                  <a16:creationId xmlns:a16="http://schemas.microsoft.com/office/drawing/2014/main" id="{C6D6952A-8477-4348-AB6B-FD38F65B9651}"/>
                </a:ext>
              </a:extLst>
            </p:cNvPr>
            <p:cNvGrpSpPr/>
            <p:nvPr/>
          </p:nvGrpSpPr>
          <p:grpSpPr>
            <a:xfrm>
              <a:off x="7459881" y="2273851"/>
              <a:ext cx="433030" cy="239946"/>
              <a:chOff x="7459881" y="2273851"/>
              <a:chExt cx="433030" cy="239946"/>
            </a:xfrm>
            <a:grpFill/>
          </p:grpSpPr>
          <p:sp>
            <p:nvSpPr>
              <p:cNvPr id="5127" name="Vrije vorm: vorm 5126">
                <a:extLst>
                  <a:ext uri="{FF2B5EF4-FFF2-40B4-BE49-F238E27FC236}">
                    <a16:creationId xmlns:a16="http://schemas.microsoft.com/office/drawing/2014/main" id="{85B2E762-4649-4318-971A-2A7B823FF460}"/>
                  </a:ext>
                </a:extLst>
              </p:cNvPr>
              <p:cNvSpPr/>
              <p:nvPr/>
            </p:nvSpPr>
            <p:spPr>
              <a:xfrm>
                <a:off x="7467908" y="2281506"/>
                <a:ext cx="416976" cy="224636"/>
              </a:xfrm>
              <a:custGeom>
                <a:avLst/>
                <a:gdLst>
                  <a:gd name="connsiteX0" fmla="*/ 416977 w 416976"/>
                  <a:gd name="connsiteY0" fmla="*/ 2691 h 224636"/>
                  <a:gd name="connsiteX1" fmla="*/ 1435 w 416976"/>
                  <a:gd name="connsiteY1" fmla="*/ 224636 h 224636"/>
                  <a:gd name="connsiteX2" fmla="*/ 0 w 416976"/>
                  <a:gd name="connsiteY2" fmla="*/ 221945 h 224636"/>
                  <a:gd name="connsiteX3" fmla="*/ 415540 w 416976"/>
                  <a:gd name="connsiteY3" fmla="*/ 0 h 224636"/>
                </a:gdLst>
                <a:ahLst/>
                <a:cxnLst>
                  <a:cxn ang="0">
                    <a:pos x="connsiteX0" y="connsiteY0"/>
                  </a:cxn>
                  <a:cxn ang="0">
                    <a:pos x="connsiteX1" y="connsiteY1"/>
                  </a:cxn>
                  <a:cxn ang="0">
                    <a:pos x="connsiteX2" y="connsiteY2"/>
                  </a:cxn>
                  <a:cxn ang="0">
                    <a:pos x="connsiteX3" y="connsiteY3"/>
                  </a:cxn>
                </a:cxnLst>
                <a:rect l="l" t="t" r="r" b="b"/>
                <a:pathLst>
                  <a:path w="416976" h="224636">
                    <a:moveTo>
                      <a:pt x="416977" y="2691"/>
                    </a:moveTo>
                    <a:lnTo>
                      <a:pt x="1435" y="224636"/>
                    </a:lnTo>
                    <a:lnTo>
                      <a:pt x="0" y="221945"/>
                    </a:lnTo>
                    <a:lnTo>
                      <a:pt x="415540" y="0"/>
                    </a:lnTo>
                    <a:close/>
                  </a:path>
                </a:pathLst>
              </a:custGeom>
              <a:grpFill/>
              <a:ln w="5978" cap="flat">
                <a:noFill/>
                <a:prstDash val="solid"/>
                <a:miter/>
              </a:ln>
            </p:spPr>
            <p:txBody>
              <a:bodyPr rtlCol="0" anchor="ctr"/>
              <a:lstStyle/>
              <a:p>
                <a:endParaRPr lang="en-GB"/>
              </a:p>
            </p:txBody>
          </p:sp>
          <p:sp>
            <p:nvSpPr>
              <p:cNvPr id="5128" name="Vrije vorm: vorm 5127">
                <a:extLst>
                  <a:ext uri="{FF2B5EF4-FFF2-40B4-BE49-F238E27FC236}">
                    <a16:creationId xmlns:a16="http://schemas.microsoft.com/office/drawing/2014/main" id="{88EF096A-F888-4A7F-9274-E96EDE077F02}"/>
                  </a:ext>
                </a:extLst>
              </p:cNvPr>
              <p:cNvSpPr/>
              <p:nvPr/>
            </p:nvSpPr>
            <p:spPr>
              <a:xfrm>
                <a:off x="7459881" y="2495377"/>
                <a:ext cx="18315" cy="18420"/>
              </a:xfrm>
              <a:custGeom>
                <a:avLst/>
                <a:gdLst>
                  <a:gd name="connsiteX0" fmla="*/ 13470 w 18315"/>
                  <a:gd name="connsiteY0" fmla="*/ 17344 h 18420"/>
                  <a:gd name="connsiteX1" fmla="*/ 1090 w 18315"/>
                  <a:gd name="connsiteY1" fmla="*/ 13516 h 18420"/>
                  <a:gd name="connsiteX2" fmla="*/ 4858 w 18315"/>
                  <a:gd name="connsiteY2" fmla="*/ 1076 h 18420"/>
                  <a:gd name="connsiteX3" fmla="*/ 17237 w 18315"/>
                  <a:gd name="connsiteY3" fmla="*/ 4904 h 18420"/>
                  <a:gd name="connsiteX4" fmla="*/ 13470 w 18315"/>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0">
                    <a:moveTo>
                      <a:pt x="13470" y="17344"/>
                    </a:moveTo>
                    <a:cubicBezTo>
                      <a:pt x="8984" y="19736"/>
                      <a:pt x="3482" y="18002"/>
                      <a:pt x="1090" y="13516"/>
                    </a:cubicBezTo>
                    <a:cubicBezTo>
                      <a:pt x="-1303" y="9031"/>
                      <a:pt x="372" y="3469"/>
                      <a:pt x="4858" y="1076"/>
                    </a:cubicBezTo>
                    <a:cubicBezTo>
                      <a:pt x="9343" y="-1316"/>
                      <a:pt x="14905" y="418"/>
                      <a:pt x="17237" y="4904"/>
                    </a:cubicBezTo>
                    <a:cubicBezTo>
                      <a:pt x="19630" y="9390"/>
                      <a:pt x="17895" y="14952"/>
                      <a:pt x="13470" y="17344"/>
                    </a:cubicBezTo>
                    <a:close/>
                  </a:path>
                </a:pathLst>
              </a:custGeom>
              <a:grpFill/>
              <a:ln w="5978" cap="flat">
                <a:noFill/>
                <a:prstDash val="solid"/>
                <a:miter/>
              </a:ln>
            </p:spPr>
            <p:txBody>
              <a:bodyPr rtlCol="0" anchor="ctr"/>
              <a:lstStyle/>
              <a:p>
                <a:endParaRPr lang="en-GB"/>
              </a:p>
            </p:txBody>
          </p:sp>
          <p:sp>
            <p:nvSpPr>
              <p:cNvPr id="5129" name="Vrije vorm: vorm 5128">
                <a:extLst>
                  <a:ext uri="{FF2B5EF4-FFF2-40B4-BE49-F238E27FC236}">
                    <a16:creationId xmlns:a16="http://schemas.microsoft.com/office/drawing/2014/main" id="{D7DF8960-B835-44EC-BBF9-8A3A2B342EDA}"/>
                  </a:ext>
                </a:extLst>
              </p:cNvPr>
              <p:cNvSpPr/>
              <p:nvPr/>
            </p:nvSpPr>
            <p:spPr>
              <a:xfrm>
                <a:off x="7874584" y="2273851"/>
                <a:ext cx="18327" cy="18431"/>
              </a:xfrm>
              <a:custGeom>
                <a:avLst/>
                <a:gdLst>
                  <a:gd name="connsiteX0" fmla="*/ 13470 w 18327"/>
                  <a:gd name="connsiteY0" fmla="*/ 17344 h 18431"/>
                  <a:gd name="connsiteX1" fmla="*/ 17237 w 18327"/>
                  <a:gd name="connsiteY1" fmla="*/ 4904 h 18431"/>
                  <a:gd name="connsiteX2" fmla="*/ 4858 w 18327"/>
                  <a:gd name="connsiteY2" fmla="*/ 1076 h 18431"/>
                  <a:gd name="connsiteX3" fmla="*/ 1090 w 18327"/>
                  <a:gd name="connsiteY3" fmla="*/ 13516 h 18431"/>
                  <a:gd name="connsiteX4" fmla="*/ 13470 w 18327"/>
                  <a:gd name="connsiteY4" fmla="*/ 17344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1">
                    <a:moveTo>
                      <a:pt x="13470" y="17344"/>
                    </a:moveTo>
                    <a:cubicBezTo>
                      <a:pt x="17955" y="14952"/>
                      <a:pt x="19630" y="9390"/>
                      <a:pt x="17237" y="4904"/>
                    </a:cubicBezTo>
                    <a:cubicBezTo>
                      <a:pt x="14845" y="418"/>
                      <a:pt x="9283" y="-1316"/>
                      <a:pt x="4858" y="1076"/>
                    </a:cubicBezTo>
                    <a:cubicBezTo>
                      <a:pt x="372" y="3469"/>
                      <a:pt x="-1303" y="9031"/>
                      <a:pt x="1090" y="13516"/>
                    </a:cubicBezTo>
                    <a:cubicBezTo>
                      <a:pt x="3482" y="18062"/>
                      <a:pt x="9044" y="19736"/>
                      <a:pt x="13470" y="17344"/>
                    </a:cubicBezTo>
                    <a:close/>
                  </a:path>
                </a:pathLst>
              </a:custGeom>
              <a:grpFill/>
              <a:ln w="5978" cap="flat">
                <a:noFill/>
                <a:prstDash val="solid"/>
                <a:miter/>
              </a:ln>
            </p:spPr>
            <p:txBody>
              <a:bodyPr rtlCol="0" anchor="ctr"/>
              <a:lstStyle/>
              <a:p>
                <a:endParaRPr lang="en-GB"/>
              </a:p>
            </p:txBody>
          </p:sp>
        </p:grpSp>
        <p:grpSp>
          <p:nvGrpSpPr>
            <p:cNvPr id="83" name="Graphic 3">
              <a:extLst>
                <a:ext uri="{FF2B5EF4-FFF2-40B4-BE49-F238E27FC236}">
                  <a16:creationId xmlns:a16="http://schemas.microsoft.com/office/drawing/2014/main" id="{944A42C3-BDC1-49B6-9A0C-6DBF255C8E94}"/>
                </a:ext>
              </a:extLst>
            </p:cNvPr>
            <p:cNvGrpSpPr/>
            <p:nvPr/>
          </p:nvGrpSpPr>
          <p:grpSpPr>
            <a:xfrm>
              <a:off x="7771618" y="3019161"/>
              <a:ext cx="227086" cy="60358"/>
              <a:chOff x="7771618" y="3019161"/>
              <a:chExt cx="227086" cy="60358"/>
            </a:xfrm>
            <a:grpFill/>
          </p:grpSpPr>
          <p:sp>
            <p:nvSpPr>
              <p:cNvPr id="5124" name="Vrije vorm: vorm 5123">
                <a:extLst>
                  <a:ext uri="{FF2B5EF4-FFF2-40B4-BE49-F238E27FC236}">
                    <a16:creationId xmlns:a16="http://schemas.microsoft.com/office/drawing/2014/main" id="{CCFFFA91-C697-4237-BB8C-F02A47C8EB0B}"/>
                  </a:ext>
                </a:extLst>
              </p:cNvPr>
              <p:cNvSpPr/>
              <p:nvPr/>
            </p:nvSpPr>
            <p:spPr>
              <a:xfrm>
                <a:off x="7780042" y="3026764"/>
                <a:ext cx="210282" cy="45154"/>
              </a:xfrm>
              <a:custGeom>
                <a:avLst/>
                <a:gdLst>
                  <a:gd name="connsiteX0" fmla="*/ 209624 w 210282"/>
                  <a:gd name="connsiteY0" fmla="*/ 0 h 45154"/>
                  <a:gd name="connsiteX1" fmla="*/ 210282 w 210282"/>
                  <a:gd name="connsiteY1" fmla="*/ 2990 h 45154"/>
                  <a:gd name="connsiteX2" fmla="*/ 598 w 210282"/>
                  <a:gd name="connsiteY2" fmla="*/ 45154 h 45154"/>
                  <a:gd name="connsiteX3" fmla="*/ 0 w 210282"/>
                  <a:gd name="connsiteY3" fmla="*/ 42164 h 45154"/>
                </a:gdLst>
                <a:ahLst/>
                <a:cxnLst>
                  <a:cxn ang="0">
                    <a:pos x="connsiteX0" y="connsiteY0"/>
                  </a:cxn>
                  <a:cxn ang="0">
                    <a:pos x="connsiteX1" y="connsiteY1"/>
                  </a:cxn>
                  <a:cxn ang="0">
                    <a:pos x="connsiteX2" y="connsiteY2"/>
                  </a:cxn>
                  <a:cxn ang="0">
                    <a:pos x="connsiteX3" y="connsiteY3"/>
                  </a:cxn>
                </a:cxnLst>
                <a:rect l="l" t="t" r="r" b="b"/>
                <a:pathLst>
                  <a:path w="210282" h="45154">
                    <a:moveTo>
                      <a:pt x="209624" y="0"/>
                    </a:moveTo>
                    <a:lnTo>
                      <a:pt x="210282" y="2990"/>
                    </a:lnTo>
                    <a:lnTo>
                      <a:pt x="598" y="45154"/>
                    </a:lnTo>
                    <a:lnTo>
                      <a:pt x="0" y="42164"/>
                    </a:lnTo>
                    <a:close/>
                  </a:path>
                </a:pathLst>
              </a:custGeom>
              <a:grpFill/>
              <a:ln w="5978" cap="flat">
                <a:noFill/>
                <a:prstDash val="solid"/>
                <a:miter/>
              </a:ln>
            </p:spPr>
            <p:txBody>
              <a:bodyPr rtlCol="0" anchor="ctr"/>
              <a:lstStyle/>
              <a:p>
                <a:endParaRPr lang="en-GB"/>
              </a:p>
            </p:txBody>
          </p:sp>
          <p:sp>
            <p:nvSpPr>
              <p:cNvPr id="5125" name="Vrije vorm: vorm 5124">
                <a:extLst>
                  <a:ext uri="{FF2B5EF4-FFF2-40B4-BE49-F238E27FC236}">
                    <a16:creationId xmlns:a16="http://schemas.microsoft.com/office/drawing/2014/main" id="{7F24EDA6-BD17-4337-84C3-0C917848A2D5}"/>
                  </a:ext>
                </a:extLst>
              </p:cNvPr>
              <p:cNvSpPr/>
              <p:nvPr/>
            </p:nvSpPr>
            <p:spPr>
              <a:xfrm>
                <a:off x="7980348" y="3019161"/>
                <a:ext cx="18357" cy="18435"/>
              </a:xfrm>
              <a:custGeom>
                <a:avLst/>
                <a:gdLst>
                  <a:gd name="connsiteX0" fmla="*/ 7345 w 18357"/>
                  <a:gd name="connsiteY0" fmla="*/ 187 h 18435"/>
                  <a:gd name="connsiteX1" fmla="*/ 18170 w 18357"/>
                  <a:gd name="connsiteY1" fmla="*/ 7424 h 18435"/>
                  <a:gd name="connsiteX2" fmla="*/ 10993 w 18357"/>
                  <a:gd name="connsiteY2" fmla="*/ 18249 h 18435"/>
                  <a:gd name="connsiteX3" fmla="*/ 168 w 18357"/>
                  <a:gd name="connsiteY3" fmla="*/ 11012 h 18435"/>
                  <a:gd name="connsiteX4" fmla="*/ 7345 w 18357"/>
                  <a:gd name="connsiteY4" fmla="*/ 187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35">
                    <a:moveTo>
                      <a:pt x="7345" y="187"/>
                    </a:moveTo>
                    <a:cubicBezTo>
                      <a:pt x="12308" y="-830"/>
                      <a:pt x="17153" y="2400"/>
                      <a:pt x="18170" y="7424"/>
                    </a:cubicBezTo>
                    <a:cubicBezTo>
                      <a:pt x="19186" y="12447"/>
                      <a:pt x="15957" y="17292"/>
                      <a:pt x="10993" y="18249"/>
                    </a:cubicBezTo>
                    <a:cubicBezTo>
                      <a:pt x="6029" y="19266"/>
                      <a:pt x="1184" y="16036"/>
                      <a:pt x="168" y="11012"/>
                    </a:cubicBezTo>
                    <a:cubicBezTo>
                      <a:pt x="-789" y="6048"/>
                      <a:pt x="2441" y="1144"/>
                      <a:pt x="7345" y="187"/>
                    </a:cubicBezTo>
                    <a:close/>
                  </a:path>
                </a:pathLst>
              </a:custGeom>
              <a:grpFill/>
              <a:ln w="5978" cap="flat">
                <a:noFill/>
                <a:prstDash val="solid"/>
                <a:miter/>
              </a:ln>
            </p:spPr>
            <p:txBody>
              <a:bodyPr rtlCol="0" anchor="ctr"/>
              <a:lstStyle/>
              <a:p>
                <a:endParaRPr lang="en-GB"/>
              </a:p>
            </p:txBody>
          </p:sp>
          <p:sp>
            <p:nvSpPr>
              <p:cNvPr id="5126" name="Vrije vorm: vorm 5125">
                <a:extLst>
                  <a:ext uri="{FF2B5EF4-FFF2-40B4-BE49-F238E27FC236}">
                    <a16:creationId xmlns:a16="http://schemas.microsoft.com/office/drawing/2014/main" id="{21048032-9EC5-4E60-953A-263FA124C505}"/>
                  </a:ext>
                </a:extLst>
              </p:cNvPr>
              <p:cNvSpPr/>
              <p:nvPr/>
            </p:nvSpPr>
            <p:spPr>
              <a:xfrm>
                <a:off x="7771618" y="3061104"/>
                <a:ext cx="18342" cy="18414"/>
              </a:xfrm>
              <a:custGeom>
                <a:avLst/>
                <a:gdLst>
                  <a:gd name="connsiteX0" fmla="*/ 7347 w 18342"/>
                  <a:gd name="connsiteY0" fmla="*/ 168 h 18414"/>
                  <a:gd name="connsiteX1" fmla="*/ 170 w 18342"/>
                  <a:gd name="connsiteY1" fmla="*/ 10993 h 18414"/>
                  <a:gd name="connsiteX2" fmla="*/ 10995 w 18342"/>
                  <a:gd name="connsiteY2" fmla="*/ 18230 h 18414"/>
                  <a:gd name="connsiteX3" fmla="*/ 18172 w 18342"/>
                  <a:gd name="connsiteY3" fmla="*/ 7405 h 18414"/>
                  <a:gd name="connsiteX4" fmla="*/ 7347 w 18342"/>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4">
                    <a:moveTo>
                      <a:pt x="7347" y="168"/>
                    </a:moveTo>
                    <a:cubicBezTo>
                      <a:pt x="2383" y="1185"/>
                      <a:pt x="-787" y="6029"/>
                      <a:pt x="170" y="10993"/>
                    </a:cubicBezTo>
                    <a:cubicBezTo>
                      <a:pt x="1187" y="15957"/>
                      <a:pt x="6031" y="19246"/>
                      <a:pt x="10995" y="18230"/>
                    </a:cubicBezTo>
                    <a:cubicBezTo>
                      <a:pt x="15960" y="17213"/>
                      <a:pt x="19129" y="12369"/>
                      <a:pt x="18172" y="7405"/>
                    </a:cubicBezTo>
                    <a:cubicBezTo>
                      <a:pt x="17155" y="2441"/>
                      <a:pt x="12311" y="-789"/>
                      <a:pt x="7347" y="168"/>
                    </a:cubicBezTo>
                    <a:close/>
                  </a:path>
                </a:pathLst>
              </a:custGeom>
              <a:grpFill/>
              <a:ln w="5978" cap="flat">
                <a:noFill/>
                <a:prstDash val="solid"/>
                <a:miter/>
              </a:ln>
            </p:spPr>
            <p:txBody>
              <a:bodyPr rtlCol="0" anchor="ctr"/>
              <a:lstStyle/>
              <a:p>
                <a:endParaRPr lang="en-GB"/>
              </a:p>
            </p:txBody>
          </p:sp>
        </p:grpSp>
        <p:grpSp>
          <p:nvGrpSpPr>
            <p:cNvPr id="84" name="Graphic 3">
              <a:extLst>
                <a:ext uri="{FF2B5EF4-FFF2-40B4-BE49-F238E27FC236}">
                  <a16:creationId xmlns:a16="http://schemas.microsoft.com/office/drawing/2014/main" id="{0D25E7AA-0442-493E-A512-96137FDB5D72}"/>
                </a:ext>
              </a:extLst>
            </p:cNvPr>
            <p:cNvGrpSpPr/>
            <p:nvPr/>
          </p:nvGrpSpPr>
          <p:grpSpPr>
            <a:xfrm>
              <a:off x="7685586" y="2969091"/>
              <a:ext cx="364338" cy="64150"/>
              <a:chOff x="7685586" y="2969091"/>
              <a:chExt cx="364338" cy="64150"/>
            </a:xfrm>
            <a:grpFill/>
          </p:grpSpPr>
          <p:sp>
            <p:nvSpPr>
              <p:cNvPr id="5121" name="Vrije vorm: vorm 5120">
                <a:extLst>
                  <a:ext uri="{FF2B5EF4-FFF2-40B4-BE49-F238E27FC236}">
                    <a16:creationId xmlns:a16="http://schemas.microsoft.com/office/drawing/2014/main" id="{B9287570-AC48-4EC8-AADC-F131D1EB2B85}"/>
                  </a:ext>
                </a:extLst>
              </p:cNvPr>
              <p:cNvSpPr/>
              <p:nvPr/>
            </p:nvSpPr>
            <p:spPr>
              <a:xfrm>
                <a:off x="7694099" y="2976765"/>
                <a:ext cx="347300" cy="48862"/>
              </a:xfrm>
              <a:custGeom>
                <a:avLst/>
                <a:gdLst>
                  <a:gd name="connsiteX0" fmla="*/ 346882 w 347300"/>
                  <a:gd name="connsiteY0" fmla="*/ 0 h 48862"/>
                  <a:gd name="connsiteX1" fmla="*/ 347300 w 347300"/>
                  <a:gd name="connsiteY1" fmla="*/ 3050 h 48862"/>
                  <a:gd name="connsiteX2" fmla="*/ 358 w 347300"/>
                  <a:gd name="connsiteY2" fmla="*/ 48863 h 48862"/>
                  <a:gd name="connsiteX3" fmla="*/ 0 w 347300"/>
                  <a:gd name="connsiteY3" fmla="*/ 45812 h 48862"/>
                </a:gdLst>
                <a:ahLst/>
                <a:cxnLst>
                  <a:cxn ang="0">
                    <a:pos x="connsiteX0" y="connsiteY0"/>
                  </a:cxn>
                  <a:cxn ang="0">
                    <a:pos x="connsiteX1" y="connsiteY1"/>
                  </a:cxn>
                  <a:cxn ang="0">
                    <a:pos x="connsiteX2" y="connsiteY2"/>
                  </a:cxn>
                  <a:cxn ang="0">
                    <a:pos x="connsiteX3" y="connsiteY3"/>
                  </a:cxn>
                </a:cxnLst>
                <a:rect l="l" t="t" r="r" b="b"/>
                <a:pathLst>
                  <a:path w="347300" h="48862">
                    <a:moveTo>
                      <a:pt x="346882" y="0"/>
                    </a:moveTo>
                    <a:lnTo>
                      <a:pt x="347300" y="3050"/>
                    </a:lnTo>
                    <a:lnTo>
                      <a:pt x="358" y="48863"/>
                    </a:lnTo>
                    <a:lnTo>
                      <a:pt x="0" y="45812"/>
                    </a:lnTo>
                    <a:close/>
                  </a:path>
                </a:pathLst>
              </a:custGeom>
              <a:grpFill/>
              <a:ln w="5978" cap="flat">
                <a:noFill/>
                <a:prstDash val="solid"/>
                <a:miter/>
              </a:ln>
            </p:spPr>
            <p:txBody>
              <a:bodyPr rtlCol="0" anchor="ctr"/>
              <a:lstStyle/>
              <a:p>
                <a:endParaRPr lang="en-GB"/>
              </a:p>
            </p:txBody>
          </p:sp>
          <p:sp>
            <p:nvSpPr>
              <p:cNvPr id="5122" name="Vrije vorm: vorm 5121">
                <a:extLst>
                  <a:ext uri="{FF2B5EF4-FFF2-40B4-BE49-F238E27FC236}">
                    <a16:creationId xmlns:a16="http://schemas.microsoft.com/office/drawing/2014/main" id="{731D7974-39AF-4A3C-9C3A-493190182588}"/>
                  </a:ext>
                </a:extLst>
              </p:cNvPr>
              <p:cNvSpPr/>
              <p:nvPr/>
            </p:nvSpPr>
            <p:spPr>
              <a:xfrm>
                <a:off x="7685586" y="3014783"/>
                <a:ext cx="18281" cy="18458"/>
              </a:xfrm>
              <a:custGeom>
                <a:avLst/>
                <a:gdLst>
                  <a:gd name="connsiteX0" fmla="*/ 10367 w 18281"/>
                  <a:gd name="connsiteY0" fmla="*/ 18380 h 18458"/>
                  <a:gd name="connsiteX1" fmla="*/ 80 w 18281"/>
                  <a:gd name="connsiteY1" fmla="*/ 10425 h 18458"/>
                  <a:gd name="connsiteX2" fmla="*/ 7915 w 18281"/>
                  <a:gd name="connsiteY2" fmla="*/ 79 h 18458"/>
                  <a:gd name="connsiteX3" fmla="*/ 18202 w 18281"/>
                  <a:gd name="connsiteY3" fmla="*/ 8033 h 18458"/>
                  <a:gd name="connsiteX4" fmla="*/ 10367 w 18281"/>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8">
                    <a:moveTo>
                      <a:pt x="10367" y="18380"/>
                    </a:moveTo>
                    <a:cubicBezTo>
                      <a:pt x="5343" y="19038"/>
                      <a:pt x="738" y="15509"/>
                      <a:pt x="80" y="10425"/>
                    </a:cubicBezTo>
                    <a:cubicBezTo>
                      <a:pt x="-578" y="5402"/>
                      <a:pt x="2891" y="737"/>
                      <a:pt x="7915" y="79"/>
                    </a:cubicBezTo>
                    <a:cubicBezTo>
                      <a:pt x="12939" y="-579"/>
                      <a:pt x="17544" y="2950"/>
                      <a:pt x="18202" y="8033"/>
                    </a:cubicBezTo>
                    <a:cubicBezTo>
                      <a:pt x="18860" y="13117"/>
                      <a:pt x="15391" y="17722"/>
                      <a:pt x="10367" y="18380"/>
                    </a:cubicBezTo>
                    <a:close/>
                  </a:path>
                </a:pathLst>
              </a:custGeom>
              <a:grpFill/>
              <a:ln w="5978" cap="flat">
                <a:noFill/>
                <a:prstDash val="solid"/>
                <a:miter/>
              </a:ln>
            </p:spPr>
            <p:txBody>
              <a:bodyPr rtlCol="0" anchor="ctr"/>
              <a:lstStyle/>
              <a:p>
                <a:endParaRPr lang="en-GB"/>
              </a:p>
            </p:txBody>
          </p:sp>
          <p:sp>
            <p:nvSpPr>
              <p:cNvPr id="5123" name="Vrije vorm: vorm 5122">
                <a:extLst>
                  <a:ext uri="{FF2B5EF4-FFF2-40B4-BE49-F238E27FC236}">
                    <a16:creationId xmlns:a16="http://schemas.microsoft.com/office/drawing/2014/main" id="{FC7DBBD4-D90D-4E83-B4F9-13123326B9C4}"/>
                  </a:ext>
                </a:extLst>
              </p:cNvPr>
              <p:cNvSpPr/>
              <p:nvPr/>
            </p:nvSpPr>
            <p:spPr>
              <a:xfrm>
                <a:off x="8031619" y="2969091"/>
                <a:ext cx="18305" cy="18457"/>
              </a:xfrm>
              <a:custGeom>
                <a:avLst/>
                <a:gdLst>
                  <a:gd name="connsiteX0" fmla="*/ 10378 w 18305"/>
                  <a:gd name="connsiteY0" fmla="*/ 18379 h 18457"/>
                  <a:gd name="connsiteX1" fmla="*/ 18213 w 18305"/>
                  <a:gd name="connsiteY1" fmla="*/ 8032 h 18457"/>
                  <a:gd name="connsiteX2" fmla="*/ 7927 w 18305"/>
                  <a:gd name="connsiteY2" fmla="*/ 78 h 18457"/>
                  <a:gd name="connsiteX3" fmla="*/ 91 w 18305"/>
                  <a:gd name="connsiteY3" fmla="*/ 10425 h 18457"/>
                  <a:gd name="connsiteX4" fmla="*/ 10378 w 18305"/>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7">
                    <a:moveTo>
                      <a:pt x="10378" y="18379"/>
                    </a:moveTo>
                    <a:cubicBezTo>
                      <a:pt x="15402" y="17721"/>
                      <a:pt x="18931" y="13116"/>
                      <a:pt x="18213" y="8032"/>
                    </a:cubicBezTo>
                    <a:cubicBezTo>
                      <a:pt x="17555" y="3008"/>
                      <a:pt x="12890" y="-580"/>
                      <a:pt x="7927" y="78"/>
                    </a:cubicBezTo>
                    <a:cubicBezTo>
                      <a:pt x="2962" y="736"/>
                      <a:pt x="-626" y="5341"/>
                      <a:pt x="91" y="10425"/>
                    </a:cubicBezTo>
                    <a:cubicBezTo>
                      <a:pt x="749" y="15508"/>
                      <a:pt x="5355" y="19037"/>
                      <a:pt x="10378" y="18379"/>
                    </a:cubicBezTo>
                    <a:close/>
                  </a:path>
                </a:pathLst>
              </a:custGeom>
              <a:grpFill/>
              <a:ln w="5978" cap="flat">
                <a:noFill/>
                <a:prstDash val="solid"/>
                <a:miter/>
              </a:ln>
            </p:spPr>
            <p:txBody>
              <a:bodyPr rtlCol="0" anchor="ctr"/>
              <a:lstStyle/>
              <a:p>
                <a:endParaRPr lang="en-GB"/>
              </a:p>
            </p:txBody>
          </p:sp>
        </p:grpSp>
        <p:grpSp>
          <p:nvGrpSpPr>
            <p:cNvPr id="85" name="Graphic 3">
              <a:extLst>
                <a:ext uri="{FF2B5EF4-FFF2-40B4-BE49-F238E27FC236}">
                  <a16:creationId xmlns:a16="http://schemas.microsoft.com/office/drawing/2014/main" id="{30AF9886-F998-48A1-BD14-C66323326C99}"/>
                </a:ext>
              </a:extLst>
            </p:cNvPr>
            <p:cNvGrpSpPr/>
            <p:nvPr/>
          </p:nvGrpSpPr>
          <p:grpSpPr>
            <a:xfrm>
              <a:off x="7796561" y="2803164"/>
              <a:ext cx="34926" cy="24242"/>
              <a:chOff x="7796561" y="2803164"/>
              <a:chExt cx="34926" cy="24242"/>
            </a:xfrm>
            <a:grpFill/>
          </p:grpSpPr>
          <p:sp>
            <p:nvSpPr>
              <p:cNvPr id="5119" name="Vrije vorm: vorm 5118">
                <a:extLst>
                  <a:ext uri="{FF2B5EF4-FFF2-40B4-BE49-F238E27FC236}">
                    <a16:creationId xmlns:a16="http://schemas.microsoft.com/office/drawing/2014/main" id="{3FEB3543-F5AA-4B68-BCD7-5DEDF0F28616}"/>
                  </a:ext>
                </a:extLst>
              </p:cNvPr>
              <p:cNvSpPr/>
              <p:nvPr/>
            </p:nvSpPr>
            <p:spPr>
              <a:xfrm>
                <a:off x="7813128" y="2803164"/>
                <a:ext cx="18359" cy="18381"/>
              </a:xfrm>
              <a:custGeom>
                <a:avLst/>
                <a:gdLst>
                  <a:gd name="connsiteX0" fmla="*/ 12248 w 18359"/>
                  <a:gd name="connsiteY0" fmla="*/ 17863 h 18381"/>
                  <a:gd name="connsiteX1" fmla="*/ 526 w 18359"/>
                  <a:gd name="connsiteY1" fmla="*/ 12241 h 18381"/>
                  <a:gd name="connsiteX2" fmla="*/ 6087 w 18359"/>
                  <a:gd name="connsiteY2" fmla="*/ 519 h 18381"/>
                  <a:gd name="connsiteX3" fmla="*/ 17810 w 18359"/>
                  <a:gd name="connsiteY3" fmla="*/ 6141 h 18381"/>
                  <a:gd name="connsiteX4" fmla="*/ 12248 w 18359"/>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81">
                    <a:moveTo>
                      <a:pt x="12248" y="17863"/>
                    </a:moveTo>
                    <a:cubicBezTo>
                      <a:pt x="7464" y="19538"/>
                      <a:pt x="2260" y="17026"/>
                      <a:pt x="526" y="12241"/>
                    </a:cubicBezTo>
                    <a:cubicBezTo>
                      <a:pt x="-1149" y="7456"/>
                      <a:pt x="1303" y="2194"/>
                      <a:pt x="6087" y="519"/>
                    </a:cubicBezTo>
                    <a:cubicBezTo>
                      <a:pt x="10872" y="-1156"/>
                      <a:pt x="16076" y="1356"/>
                      <a:pt x="17810" y="6141"/>
                    </a:cubicBezTo>
                    <a:cubicBezTo>
                      <a:pt x="19544" y="10925"/>
                      <a:pt x="17033" y="16188"/>
                      <a:pt x="12248" y="17863"/>
                    </a:cubicBezTo>
                    <a:close/>
                  </a:path>
                </a:pathLst>
              </a:custGeom>
              <a:grpFill/>
              <a:ln w="5978" cap="flat">
                <a:noFill/>
                <a:prstDash val="solid"/>
                <a:miter/>
              </a:ln>
            </p:spPr>
            <p:txBody>
              <a:bodyPr rtlCol="0" anchor="ctr"/>
              <a:lstStyle/>
              <a:p>
                <a:endParaRPr lang="en-GB"/>
              </a:p>
            </p:txBody>
          </p:sp>
          <p:sp>
            <p:nvSpPr>
              <p:cNvPr id="5120" name="Vrije vorm: vorm 5119">
                <a:extLst>
                  <a:ext uri="{FF2B5EF4-FFF2-40B4-BE49-F238E27FC236}">
                    <a16:creationId xmlns:a16="http://schemas.microsoft.com/office/drawing/2014/main" id="{CF5C6F81-0F9C-4F40-AFA0-91E89315578E}"/>
                  </a:ext>
                </a:extLst>
              </p:cNvPr>
              <p:cNvSpPr/>
              <p:nvPr/>
            </p:nvSpPr>
            <p:spPr>
              <a:xfrm>
                <a:off x="7796561" y="2809025"/>
                <a:ext cx="18335" cy="18381"/>
              </a:xfrm>
              <a:custGeom>
                <a:avLst/>
                <a:gdLst>
                  <a:gd name="connsiteX0" fmla="*/ 12248 w 18335"/>
                  <a:gd name="connsiteY0" fmla="*/ 17863 h 18381"/>
                  <a:gd name="connsiteX1" fmla="*/ 17810 w 18335"/>
                  <a:gd name="connsiteY1" fmla="*/ 6141 h 18381"/>
                  <a:gd name="connsiteX2" fmla="*/ 6088 w 18335"/>
                  <a:gd name="connsiteY2" fmla="*/ 519 h 18381"/>
                  <a:gd name="connsiteX3" fmla="*/ 526 w 18335"/>
                  <a:gd name="connsiteY3" fmla="*/ 12241 h 18381"/>
                  <a:gd name="connsiteX4" fmla="*/ 12248 w 18335"/>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81">
                    <a:moveTo>
                      <a:pt x="12248" y="17863"/>
                    </a:moveTo>
                    <a:cubicBezTo>
                      <a:pt x="17033" y="16188"/>
                      <a:pt x="19485" y="10925"/>
                      <a:pt x="17810" y="6141"/>
                    </a:cubicBezTo>
                    <a:cubicBezTo>
                      <a:pt x="16135" y="1356"/>
                      <a:pt x="10872" y="-1156"/>
                      <a:pt x="6088" y="519"/>
                    </a:cubicBezTo>
                    <a:cubicBezTo>
                      <a:pt x="1303" y="2193"/>
                      <a:pt x="-1149" y="7456"/>
                      <a:pt x="526" y="12241"/>
                    </a:cubicBezTo>
                    <a:cubicBezTo>
                      <a:pt x="2260" y="17026"/>
                      <a:pt x="7464" y="19537"/>
                      <a:pt x="12248" y="17863"/>
                    </a:cubicBezTo>
                    <a:close/>
                  </a:path>
                </a:pathLst>
              </a:custGeom>
              <a:grpFill/>
              <a:ln w="5978" cap="flat">
                <a:noFill/>
                <a:prstDash val="solid"/>
                <a:miter/>
              </a:ln>
            </p:spPr>
            <p:txBody>
              <a:bodyPr rtlCol="0" anchor="ctr"/>
              <a:lstStyle/>
              <a:p>
                <a:endParaRPr lang="en-GB"/>
              </a:p>
            </p:txBody>
          </p:sp>
        </p:grpSp>
        <p:grpSp>
          <p:nvGrpSpPr>
            <p:cNvPr id="86" name="Graphic 3">
              <a:extLst>
                <a:ext uri="{FF2B5EF4-FFF2-40B4-BE49-F238E27FC236}">
                  <a16:creationId xmlns:a16="http://schemas.microsoft.com/office/drawing/2014/main" id="{6892AAB9-3D58-4C56-B4A0-74D4B7820073}"/>
                </a:ext>
              </a:extLst>
            </p:cNvPr>
            <p:cNvGrpSpPr/>
            <p:nvPr/>
          </p:nvGrpSpPr>
          <p:grpSpPr>
            <a:xfrm>
              <a:off x="7168543" y="1562563"/>
              <a:ext cx="627079" cy="622496"/>
              <a:chOff x="7168543" y="1562563"/>
              <a:chExt cx="627079" cy="622496"/>
            </a:xfrm>
            <a:grpFill/>
          </p:grpSpPr>
          <p:sp>
            <p:nvSpPr>
              <p:cNvPr id="5116" name="Vrije vorm: vorm 5115">
                <a:extLst>
                  <a:ext uri="{FF2B5EF4-FFF2-40B4-BE49-F238E27FC236}">
                    <a16:creationId xmlns:a16="http://schemas.microsoft.com/office/drawing/2014/main" id="{011A51DA-CC80-4CD9-939D-417A942738FA}"/>
                  </a:ext>
                </a:extLst>
              </p:cNvPr>
              <p:cNvSpPr/>
              <p:nvPr/>
            </p:nvSpPr>
            <p:spPr>
              <a:xfrm>
                <a:off x="7176347" y="1570338"/>
                <a:ext cx="611528" cy="606923"/>
              </a:xfrm>
              <a:custGeom>
                <a:avLst/>
                <a:gdLst>
                  <a:gd name="connsiteX0" fmla="*/ 611529 w 611528"/>
                  <a:gd name="connsiteY0" fmla="*/ 2213 h 606923"/>
                  <a:gd name="connsiteX1" fmla="*/ 2153 w 611528"/>
                  <a:gd name="connsiteY1" fmla="*/ 606924 h 606923"/>
                  <a:gd name="connsiteX2" fmla="*/ 0 w 611528"/>
                  <a:gd name="connsiteY2" fmla="*/ 604711 h 606923"/>
                  <a:gd name="connsiteX3" fmla="*/ 609376 w 611528"/>
                  <a:gd name="connsiteY3" fmla="*/ 0 h 606923"/>
                </a:gdLst>
                <a:ahLst/>
                <a:cxnLst>
                  <a:cxn ang="0">
                    <a:pos x="connsiteX0" y="connsiteY0"/>
                  </a:cxn>
                  <a:cxn ang="0">
                    <a:pos x="connsiteX1" y="connsiteY1"/>
                  </a:cxn>
                  <a:cxn ang="0">
                    <a:pos x="connsiteX2" y="connsiteY2"/>
                  </a:cxn>
                  <a:cxn ang="0">
                    <a:pos x="connsiteX3" y="connsiteY3"/>
                  </a:cxn>
                </a:cxnLst>
                <a:rect l="l" t="t" r="r" b="b"/>
                <a:pathLst>
                  <a:path w="611528" h="606923">
                    <a:moveTo>
                      <a:pt x="611529" y="2213"/>
                    </a:moveTo>
                    <a:lnTo>
                      <a:pt x="2153" y="606924"/>
                    </a:lnTo>
                    <a:lnTo>
                      <a:pt x="0" y="604711"/>
                    </a:lnTo>
                    <a:lnTo>
                      <a:pt x="609376" y="0"/>
                    </a:lnTo>
                    <a:close/>
                  </a:path>
                </a:pathLst>
              </a:custGeom>
              <a:grpFill/>
              <a:ln w="5978" cap="flat">
                <a:noFill/>
                <a:prstDash val="solid"/>
                <a:miter/>
              </a:ln>
            </p:spPr>
            <p:txBody>
              <a:bodyPr rtlCol="0" anchor="ctr"/>
              <a:lstStyle/>
              <a:p>
                <a:endParaRPr lang="en-GB"/>
              </a:p>
            </p:txBody>
          </p:sp>
          <p:sp>
            <p:nvSpPr>
              <p:cNvPr id="5117" name="Vrije vorm: vorm 5116">
                <a:extLst>
                  <a:ext uri="{FF2B5EF4-FFF2-40B4-BE49-F238E27FC236}">
                    <a16:creationId xmlns:a16="http://schemas.microsoft.com/office/drawing/2014/main" id="{4D783253-EA74-4ABD-AD6E-913C6DD1C106}"/>
                  </a:ext>
                </a:extLst>
              </p:cNvPr>
              <p:cNvSpPr/>
              <p:nvPr/>
            </p:nvSpPr>
            <p:spPr>
              <a:xfrm>
                <a:off x="7168543" y="2166593"/>
                <a:ext cx="18338" cy="18466"/>
              </a:xfrm>
              <a:custGeom>
                <a:avLst/>
                <a:gdLst>
                  <a:gd name="connsiteX0" fmla="*/ 15640 w 18338"/>
                  <a:gd name="connsiteY0" fmla="*/ 15812 h 18466"/>
                  <a:gd name="connsiteX1" fmla="*/ 2661 w 18338"/>
                  <a:gd name="connsiteY1" fmla="*/ 15692 h 18466"/>
                  <a:gd name="connsiteX2" fmla="*/ 2721 w 18338"/>
                  <a:gd name="connsiteY2" fmla="*/ 2654 h 18466"/>
                  <a:gd name="connsiteX3" fmla="*/ 15700 w 18338"/>
                  <a:gd name="connsiteY3" fmla="*/ 2774 h 18466"/>
                  <a:gd name="connsiteX4" fmla="*/ 15640 w 18338"/>
                  <a:gd name="connsiteY4" fmla="*/ 15812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6">
                    <a:moveTo>
                      <a:pt x="15640" y="15812"/>
                    </a:moveTo>
                    <a:cubicBezTo>
                      <a:pt x="12052" y="19400"/>
                      <a:pt x="6250" y="19341"/>
                      <a:pt x="2661" y="15692"/>
                    </a:cubicBezTo>
                    <a:cubicBezTo>
                      <a:pt x="-927" y="12044"/>
                      <a:pt x="-867" y="6243"/>
                      <a:pt x="2721" y="2654"/>
                    </a:cubicBezTo>
                    <a:cubicBezTo>
                      <a:pt x="6310" y="-934"/>
                      <a:pt x="12111" y="-874"/>
                      <a:pt x="15700" y="2774"/>
                    </a:cubicBezTo>
                    <a:cubicBezTo>
                      <a:pt x="19228" y="6422"/>
                      <a:pt x="19228" y="12283"/>
                      <a:pt x="15640" y="15812"/>
                    </a:cubicBezTo>
                    <a:close/>
                  </a:path>
                </a:pathLst>
              </a:custGeom>
              <a:grpFill/>
              <a:ln w="5978" cap="flat">
                <a:noFill/>
                <a:prstDash val="solid"/>
                <a:miter/>
              </a:ln>
            </p:spPr>
            <p:txBody>
              <a:bodyPr rtlCol="0" anchor="ctr"/>
              <a:lstStyle/>
              <a:p>
                <a:endParaRPr lang="en-GB"/>
              </a:p>
            </p:txBody>
          </p:sp>
          <p:sp>
            <p:nvSpPr>
              <p:cNvPr id="5118" name="Vrije vorm: vorm 5117">
                <a:extLst>
                  <a:ext uri="{FF2B5EF4-FFF2-40B4-BE49-F238E27FC236}">
                    <a16:creationId xmlns:a16="http://schemas.microsoft.com/office/drawing/2014/main" id="{489AFAC9-C1E0-4518-B76E-263450A037AF}"/>
                  </a:ext>
                </a:extLst>
              </p:cNvPr>
              <p:cNvSpPr/>
              <p:nvPr/>
            </p:nvSpPr>
            <p:spPr>
              <a:xfrm>
                <a:off x="7777261" y="1562563"/>
                <a:ext cx="18361" cy="18398"/>
              </a:xfrm>
              <a:custGeom>
                <a:avLst/>
                <a:gdLst>
                  <a:gd name="connsiteX0" fmla="*/ 15640 w 18361"/>
                  <a:gd name="connsiteY0" fmla="*/ 15789 h 18398"/>
                  <a:gd name="connsiteX1" fmla="*/ 15700 w 18361"/>
                  <a:gd name="connsiteY1" fmla="*/ 2751 h 18398"/>
                  <a:gd name="connsiteX2" fmla="*/ 2721 w 18361"/>
                  <a:gd name="connsiteY2" fmla="*/ 2632 h 18398"/>
                  <a:gd name="connsiteX3" fmla="*/ 2661 w 18361"/>
                  <a:gd name="connsiteY3" fmla="*/ 15670 h 18398"/>
                  <a:gd name="connsiteX4" fmla="*/ 15640 w 18361"/>
                  <a:gd name="connsiteY4" fmla="*/ 1578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398">
                    <a:moveTo>
                      <a:pt x="15640" y="15789"/>
                    </a:moveTo>
                    <a:cubicBezTo>
                      <a:pt x="19228" y="12201"/>
                      <a:pt x="19288" y="6400"/>
                      <a:pt x="15700" y="2751"/>
                    </a:cubicBezTo>
                    <a:cubicBezTo>
                      <a:pt x="12111" y="-897"/>
                      <a:pt x="6310" y="-897"/>
                      <a:pt x="2721" y="2632"/>
                    </a:cubicBezTo>
                    <a:cubicBezTo>
                      <a:pt x="-867" y="6220"/>
                      <a:pt x="-927" y="12021"/>
                      <a:pt x="2661" y="15670"/>
                    </a:cubicBezTo>
                    <a:cubicBezTo>
                      <a:pt x="6250" y="19258"/>
                      <a:pt x="12051" y="19318"/>
                      <a:pt x="15640" y="15789"/>
                    </a:cubicBezTo>
                    <a:close/>
                  </a:path>
                </a:pathLst>
              </a:custGeom>
              <a:grpFill/>
              <a:ln w="5978" cap="flat">
                <a:noFill/>
                <a:prstDash val="solid"/>
                <a:miter/>
              </a:ln>
            </p:spPr>
            <p:txBody>
              <a:bodyPr rtlCol="0" anchor="ctr"/>
              <a:lstStyle/>
              <a:p>
                <a:endParaRPr lang="en-GB"/>
              </a:p>
            </p:txBody>
          </p:sp>
        </p:grpSp>
        <p:grpSp>
          <p:nvGrpSpPr>
            <p:cNvPr id="87" name="Graphic 3">
              <a:extLst>
                <a:ext uri="{FF2B5EF4-FFF2-40B4-BE49-F238E27FC236}">
                  <a16:creationId xmlns:a16="http://schemas.microsoft.com/office/drawing/2014/main" id="{9C296D9E-CC52-4E76-A2F6-B30FA263E0B2}"/>
                </a:ext>
              </a:extLst>
            </p:cNvPr>
            <p:cNvGrpSpPr/>
            <p:nvPr/>
          </p:nvGrpSpPr>
          <p:grpSpPr>
            <a:xfrm>
              <a:off x="7474939" y="2329039"/>
              <a:ext cx="403990" cy="212583"/>
              <a:chOff x="7474939" y="2329039"/>
              <a:chExt cx="403990" cy="212583"/>
            </a:xfrm>
            <a:grpFill/>
          </p:grpSpPr>
          <p:sp>
            <p:nvSpPr>
              <p:cNvPr id="5113" name="Vrije vorm: vorm 5112">
                <a:extLst>
                  <a:ext uri="{FF2B5EF4-FFF2-40B4-BE49-F238E27FC236}">
                    <a16:creationId xmlns:a16="http://schemas.microsoft.com/office/drawing/2014/main" id="{A6A2CFD2-8027-408C-A5D5-48324E86FF4D}"/>
                  </a:ext>
                </a:extLst>
              </p:cNvPr>
              <p:cNvSpPr/>
              <p:nvPr/>
            </p:nvSpPr>
            <p:spPr>
              <a:xfrm>
                <a:off x="7482843" y="2336828"/>
                <a:ext cx="387756" cy="197214"/>
              </a:xfrm>
              <a:custGeom>
                <a:avLst/>
                <a:gdLst>
                  <a:gd name="connsiteX0" fmla="*/ 0 w 387756"/>
                  <a:gd name="connsiteY0" fmla="*/ 194491 h 197214"/>
                  <a:gd name="connsiteX1" fmla="*/ 386385 w 387756"/>
                  <a:gd name="connsiteY1" fmla="*/ 0 h 197214"/>
                  <a:gd name="connsiteX2" fmla="*/ 387757 w 387756"/>
                  <a:gd name="connsiteY2" fmla="*/ 2725 h 197214"/>
                  <a:gd name="connsiteX3" fmla="*/ 1371 w 387756"/>
                  <a:gd name="connsiteY3" fmla="*/ 197215 h 197214"/>
                </a:gdLst>
                <a:ahLst/>
                <a:cxnLst>
                  <a:cxn ang="0">
                    <a:pos x="connsiteX0" y="connsiteY0"/>
                  </a:cxn>
                  <a:cxn ang="0">
                    <a:pos x="connsiteX1" y="connsiteY1"/>
                  </a:cxn>
                  <a:cxn ang="0">
                    <a:pos x="connsiteX2" y="connsiteY2"/>
                  </a:cxn>
                  <a:cxn ang="0">
                    <a:pos x="connsiteX3" y="connsiteY3"/>
                  </a:cxn>
                </a:cxnLst>
                <a:rect l="l" t="t" r="r" b="b"/>
                <a:pathLst>
                  <a:path w="387756" h="197214">
                    <a:moveTo>
                      <a:pt x="0" y="194491"/>
                    </a:moveTo>
                    <a:lnTo>
                      <a:pt x="386385" y="0"/>
                    </a:lnTo>
                    <a:lnTo>
                      <a:pt x="387757" y="2725"/>
                    </a:lnTo>
                    <a:lnTo>
                      <a:pt x="1371" y="197215"/>
                    </a:lnTo>
                    <a:close/>
                  </a:path>
                </a:pathLst>
              </a:custGeom>
              <a:grpFill/>
              <a:ln w="5978" cap="flat">
                <a:noFill/>
                <a:prstDash val="solid"/>
                <a:miter/>
              </a:ln>
            </p:spPr>
            <p:txBody>
              <a:bodyPr rtlCol="0" anchor="ctr"/>
              <a:lstStyle/>
              <a:p>
                <a:endParaRPr lang="en-GB"/>
              </a:p>
            </p:txBody>
          </p:sp>
          <p:sp>
            <p:nvSpPr>
              <p:cNvPr id="5114" name="Vrije vorm: vorm 5113">
                <a:extLst>
                  <a:ext uri="{FF2B5EF4-FFF2-40B4-BE49-F238E27FC236}">
                    <a16:creationId xmlns:a16="http://schemas.microsoft.com/office/drawing/2014/main" id="{74D1D5B3-6966-4038-A10E-C194BE1DAEE5}"/>
                  </a:ext>
                </a:extLst>
              </p:cNvPr>
              <p:cNvSpPr/>
              <p:nvPr/>
            </p:nvSpPr>
            <p:spPr>
              <a:xfrm>
                <a:off x="7474939" y="2523173"/>
                <a:ext cx="18353" cy="18449"/>
              </a:xfrm>
              <a:custGeom>
                <a:avLst/>
                <a:gdLst>
                  <a:gd name="connsiteX0" fmla="*/ 13303 w 18353"/>
                  <a:gd name="connsiteY0" fmla="*/ 17478 h 18449"/>
                  <a:gd name="connsiteX1" fmla="*/ 983 w 18353"/>
                  <a:gd name="connsiteY1" fmla="*/ 13351 h 18449"/>
                  <a:gd name="connsiteX2" fmla="*/ 5050 w 18353"/>
                  <a:gd name="connsiteY2" fmla="*/ 971 h 18449"/>
                  <a:gd name="connsiteX3" fmla="*/ 17371 w 18353"/>
                  <a:gd name="connsiteY3" fmla="*/ 5098 h 18449"/>
                  <a:gd name="connsiteX4" fmla="*/ 13303 w 18353"/>
                  <a:gd name="connsiteY4" fmla="*/ 1747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9">
                    <a:moveTo>
                      <a:pt x="13303" y="17478"/>
                    </a:moveTo>
                    <a:cubicBezTo>
                      <a:pt x="8758" y="19751"/>
                      <a:pt x="3256" y="17897"/>
                      <a:pt x="983" y="13351"/>
                    </a:cubicBezTo>
                    <a:cubicBezTo>
                      <a:pt x="-1289" y="8806"/>
                      <a:pt x="505" y="3244"/>
                      <a:pt x="5050" y="971"/>
                    </a:cubicBezTo>
                    <a:cubicBezTo>
                      <a:pt x="9595" y="-1302"/>
                      <a:pt x="15098" y="552"/>
                      <a:pt x="17371" y="5098"/>
                    </a:cubicBezTo>
                    <a:cubicBezTo>
                      <a:pt x="19643" y="9643"/>
                      <a:pt x="17849" y="15145"/>
                      <a:pt x="13303" y="17478"/>
                    </a:cubicBezTo>
                    <a:close/>
                  </a:path>
                </a:pathLst>
              </a:custGeom>
              <a:grpFill/>
              <a:ln w="5978" cap="flat">
                <a:noFill/>
                <a:prstDash val="solid"/>
                <a:miter/>
              </a:ln>
            </p:spPr>
            <p:txBody>
              <a:bodyPr rtlCol="0" anchor="ctr"/>
              <a:lstStyle/>
              <a:p>
                <a:endParaRPr lang="en-GB"/>
              </a:p>
            </p:txBody>
          </p:sp>
          <p:sp>
            <p:nvSpPr>
              <p:cNvPr id="5115" name="Vrije vorm: vorm 5114">
                <a:extLst>
                  <a:ext uri="{FF2B5EF4-FFF2-40B4-BE49-F238E27FC236}">
                    <a16:creationId xmlns:a16="http://schemas.microsoft.com/office/drawing/2014/main" id="{6C0F99F5-7C13-4B54-B5DF-0490E19AC2E1}"/>
                  </a:ext>
                </a:extLst>
              </p:cNvPr>
              <p:cNvSpPr/>
              <p:nvPr/>
            </p:nvSpPr>
            <p:spPr>
              <a:xfrm>
                <a:off x="7860576" y="2329039"/>
                <a:ext cx="18353" cy="18448"/>
              </a:xfrm>
              <a:custGeom>
                <a:avLst/>
                <a:gdLst>
                  <a:gd name="connsiteX0" fmla="*/ 13303 w 18353"/>
                  <a:gd name="connsiteY0" fmla="*/ 17478 h 18448"/>
                  <a:gd name="connsiteX1" fmla="*/ 17371 w 18353"/>
                  <a:gd name="connsiteY1" fmla="*/ 5098 h 18448"/>
                  <a:gd name="connsiteX2" fmla="*/ 5050 w 18353"/>
                  <a:gd name="connsiteY2" fmla="*/ 971 h 18448"/>
                  <a:gd name="connsiteX3" fmla="*/ 983 w 18353"/>
                  <a:gd name="connsiteY3" fmla="*/ 13351 h 18448"/>
                  <a:gd name="connsiteX4" fmla="*/ 13303 w 18353"/>
                  <a:gd name="connsiteY4" fmla="*/ 174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8">
                    <a:moveTo>
                      <a:pt x="13303" y="17478"/>
                    </a:moveTo>
                    <a:cubicBezTo>
                      <a:pt x="17849" y="15205"/>
                      <a:pt x="19643" y="9643"/>
                      <a:pt x="17371" y="5098"/>
                    </a:cubicBezTo>
                    <a:cubicBezTo>
                      <a:pt x="15098" y="552"/>
                      <a:pt x="9595" y="-1302"/>
                      <a:pt x="5050" y="971"/>
                    </a:cubicBezTo>
                    <a:cubicBezTo>
                      <a:pt x="505" y="3244"/>
                      <a:pt x="-1289" y="8806"/>
                      <a:pt x="983" y="13351"/>
                    </a:cubicBezTo>
                    <a:cubicBezTo>
                      <a:pt x="3256" y="17896"/>
                      <a:pt x="8758" y="19750"/>
                      <a:pt x="13303" y="17478"/>
                    </a:cubicBezTo>
                    <a:close/>
                  </a:path>
                </a:pathLst>
              </a:custGeom>
              <a:grpFill/>
              <a:ln w="5978" cap="flat">
                <a:noFill/>
                <a:prstDash val="solid"/>
                <a:miter/>
              </a:ln>
            </p:spPr>
            <p:txBody>
              <a:bodyPr rtlCol="0" anchor="ctr"/>
              <a:lstStyle/>
              <a:p>
                <a:endParaRPr lang="en-GB"/>
              </a:p>
            </p:txBody>
          </p:sp>
        </p:grpSp>
        <p:grpSp>
          <p:nvGrpSpPr>
            <p:cNvPr id="88" name="Graphic 3">
              <a:extLst>
                <a:ext uri="{FF2B5EF4-FFF2-40B4-BE49-F238E27FC236}">
                  <a16:creationId xmlns:a16="http://schemas.microsoft.com/office/drawing/2014/main" id="{10EEA944-D3CC-47C9-9A7F-75BD313A073D}"/>
                </a:ext>
              </a:extLst>
            </p:cNvPr>
            <p:cNvGrpSpPr/>
            <p:nvPr/>
          </p:nvGrpSpPr>
          <p:grpSpPr>
            <a:xfrm>
              <a:off x="7487871" y="2372940"/>
              <a:ext cx="393975" cy="197659"/>
              <a:chOff x="7487871" y="2372940"/>
              <a:chExt cx="393975" cy="197659"/>
            </a:xfrm>
            <a:grpFill/>
          </p:grpSpPr>
          <p:sp>
            <p:nvSpPr>
              <p:cNvPr id="5110" name="Vrije vorm: vorm 5109">
                <a:extLst>
                  <a:ext uri="{FF2B5EF4-FFF2-40B4-BE49-F238E27FC236}">
                    <a16:creationId xmlns:a16="http://schemas.microsoft.com/office/drawing/2014/main" id="{9BAA7744-6DD9-486E-91FE-49368BF9A7FF}"/>
                  </a:ext>
                </a:extLst>
              </p:cNvPr>
              <p:cNvSpPr/>
              <p:nvPr/>
            </p:nvSpPr>
            <p:spPr>
              <a:xfrm>
                <a:off x="7495944" y="2380352"/>
                <a:ext cx="377742" cy="182395"/>
              </a:xfrm>
              <a:custGeom>
                <a:avLst/>
                <a:gdLst>
                  <a:gd name="connsiteX0" fmla="*/ 0 w 377742"/>
                  <a:gd name="connsiteY0" fmla="*/ 179643 h 182395"/>
                  <a:gd name="connsiteX1" fmla="*/ 376429 w 377742"/>
                  <a:gd name="connsiteY1" fmla="*/ 0 h 182395"/>
                  <a:gd name="connsiteX2" fmla="*/ 377742 w 377742"/>
                  <a:gd name="connsiteY2" fmla="*/ 2753 h 182395"/>
                  <a:gd name="connsiteX3" fmla="*/ 1314 w 377742"/>
                  <a:gd name="connsiteY3" fmla="*/ 182396 h 182395"/>
                </a:gdLst>
                <a:ahLst/>
                <a:cxnLst>
                  <a:cxn ang="0">
                    <a:pos x="connsiteX0" y="connsiteY0"/>
                  </a:cxn>
                  <a:cxn ang="0">
                    <a:pos x="connsiteX1" y="connsiteY1"/>
                  </a:cxn>
                  <a:cxn ang="0">
                    <a:pos x="connsiteX2" y="connsiteY2"/>
                  </a:cxn>
                  <a:cxn ang="0">
                    <a:pos x="connsiteX3" y="connsiteY3"/>
                  </a:cxn>
                </a:cxnLst>
                <a:rect l="l" t="t" r="r" b="b"/>
                <a:pathLst>
                  <a:path w="377742" h="182395">
                    <a:moveTo>
                      <a:pt x="0" y="179643"/>
                    </a:moveTo>
                    <a:lnTo>
                      <a:pt x="376429" y="0"/>
                    </a:lnTo>
                    <a:lnTo>
                      <a:pt x="377742" y="2753"/>
                    </a:lnTo>
                    <a:lnTo>
                      <a:pt x="1314" y="182396"/>
                    </a:lnTo>
                    <a:close/>
                  </a:path>
                </a:pathLst>
              </a:custGeom>
              <a:grpFill/>
              <a:ln w="5978" cap="flat">
                <a:noFill/>
                <a:prstDash val="solid"/>
                <a:miter/>
              </a:ln>
            </p:spPr>
            <p:txBody>
              <a:bodyPr rtlCol="0" anchor="ctr"/>
              <a:lstStyle/>
              <a:p>
                <a:endParaRPr lang="en-GB"/>
              </a:p>
            </p:txBody>
          </p:sp>
          <p:sp>
            <p:nvSpPr>
              <p:cNvPr id="5111" name="Vrije vorm: vorm 5110">
                <a:extLst>
                  <a:ext uri="{FF2B5EF4-FFF2-40B4-BE49-F238E27FC236}">
                    <a16:creationId xmlns:a16="http://schemas.microsoft.com/office/drawing/2014/main" id="{AAA877E8-E908-4D25-B530-C98138686005}"/>
                  </a:ext>
                </a:extLst>
              </p:cNvPr>
              <p:cNvSpPr/>
              <p:nvPr/>
            </p:nvSpPr>
            <p:spPr>
              <a:xfrm>
                <a:off x="7487871" y="2552208"/>
                <a:ext cx="18336" cy="18390"/>
              </a:xfrm>
              <a:custGeom>
                <a:avLst/>
                <a:gdLst>
                  <a:gd name="connsiteX0" fmla="*/ 13110 w 18336"/>
                  <a:gd name="connsiteY0" fmla="*/ 17509 h 18390"/>
                  <a:gd name="connsiteX1" fmla="*/ 909 w 18336"/>
                  <a:gd name="connsiteY1" fmla="*/ 13143 h 18390"/>
                  <a:gd name="connsiteX2" fmla="*/ 5216 w 18336"/>
                  <a:gd name="connsiteY2" fmla="*/ 882 h 18390"/>
                  <a:gd name="connsiteX3" fmla="*/ 17416 w 18336"/>
                  <a:gd name="connsiteY3" fmla="*/ 5248 h 18390"/>
                  <a:gd name="connsiteX4" fmla="*/ 13110 w 18336"/>
                  <a:gd name="connsiteY4" fmla="*/ 17509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0">
                    <a:moveTo>
                      <a:pt x="13110" y="17509"/>
                    </a:moveTo>
                    <a:cubicBezTo>
                      <a:pt x="8565" y="19662"/>
                      <a:pt x="3063" y="17748"/>
                      <a:pt x="909" y="13143"/>
                    </a:cubicBezTo>
                    <a:cubicBezTo>
                      <a:pt x="-1303" y="8538"/>
                      <a:pt x="671" y="3035"/>
                      <a:pt x="5216" y="882"/>
                    </a:cubicBezTo>
                    <a:cubicBezTo>
                      <a:pt x="9762" y="-1271"/>
                      <a:pt x="15263" y="643"/>
                      <a:pt x="17416" y="5248"/>
                    </a:cubicBezTo>
                    <a:cubicBezTo>
                      <a:pt x="19629" y="9853"/>
                      <a:pt x="17716" y="15356"/>
                      <a:pt x="13110" y="17509"/>
                    </a:cubicBezTo>
                    <a:close/>
                  </a:path>
                </a:pathLst>
              </a:custGeom>
              <a:grpFill/>
              <a:ln w="5978" cap="flat">
                <a:noFill/>
                <a:prstDash val="solid"/>
                <a:miter/>
              </a:ln>
            </p:spPr>
            <p:txBody>
              <a:bodyPr rtlCol="0" anchor="ctr"/>
              <a:lstStyle/>
              <a:p>
                <a:endParaRPr lang="en-GB"/>
              </a:p>
            </p:txBody>
          </p:sp>
          <p:sp>
            <p:nvSpPr>
              <p:cNvPr id="5112" name="Vrije vorm: vorm 5111">
                <a:extLst>
                  <a:ext uri="{FF2B5EF4-FFF2-40B4-BE49-F238E27FC236}">
                    <a16:creationId xmlns:a16="http://schemas.microsoft.com/office/drawing/2014/main" id="{D49F891C-6F44-4DCD-AEAE-A09E9DB6473D}"/>
                  </a:ext>
                </a:extLst>
              </p:cNvPr>
              <p:cNvSpPr/>
              <p:nvPr/>
            </p:nvSpPr>
            <p:spPr>
              <a:xfrm>
                <a:off x="7863520" y="2372940"/>
                <a:ext cx="18326" cy="18443"/>
              </a:xfrm>
              <a:custGeom>
                <a:avLst/>
                <a:gdLst>
                  <a:gd name="connsiteX0" fmla="*/ 13111 w 18326"/>
                  <a:gd name="connsiteY0" fmla="*/ 17535 h 18443"/>
                  <a:gd name="connsiteX1" fmla="*/ 17416 w 18326"/>
                  <a:gd name="connsiteY1" fmla="*/ 5274 h 18443"/>
                  <a:gd name="connsiteX2" fmla="*/ 5216 w 18326"/>
                  <a:gd name="connsiteY2" fmla="*/ 908 h 18443"/>
                  <a:gd name="connsiteX3" fmla="*/ 910 w 18326"/>
                  <a:gd name="connsiteY3" fmla="*/ 13169 h 18443"/>
                  <a:gd name="connsiteX4" fmla="*/ 13111 w 18326"/>
                  <a:gd name="connsiteY4" fmla="*/ 1753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43">
                    <a:moveTo>
                      <a:pt x="13111" y="17535"/>
                    </a:moveTo>
                    <a:cubicBezTo>
                      <a:pt x="17656" y="15382"/>
                      <a:pt x="19629" y="9879"/>
                      <a:pt x="17416" y="5274"/>
                    </a:cubicBezTo>
                    <a:cubicBezTo>
                      <a:pt x="15204" y="669"/>
                      <a:pt x="9761" y="-1305"/>
                      <a:pt x="5216" y="908"/>
                    </a:cubicBezTo>
                    <a:cubicBezTo>
                      <a:pt x="670" y="3061"/>
                      <a:pt x="-1303" y="8564"/>
                      <a:pt x="910" y="13169"/>
                    </a:cubicBezTo>
                    <a:cubicBezTo>
                      <a:pt x="3063" y="17774"/>
                      <a:pt x="8505" y="19748"/>
                      <a:pt x="13111" y="17535"/>
                    </a:cubicBezTo>
                    <a:close/>
                  </a:path>
                </a:pathLst>
              </a:custGeom>
              <a:grpFill/>
              <a:ln w="5978" cap="flat">
                <a:noFill/>
                <a:prstDash val="solid"/>
                <a:miter/>
              </a:ln>
            </p:spPr>
            <p:txBody>
              <a:bodyPr rtlCol="0" anchor="ctr"/>
              <a:lstStyle/>
              <a:p>
                <a:endParaRPr lang="en-GB"/>
              </a:p>
            </p:txBody>
          </p:sp>
        </p:grpSp>
        <p:grpSp>
          <p:nvGrpSpPr>
            <p:cNvPr id="89" name="Graphic 3">
              <a:extLst>
                <a:ext uri="{FF2B5EF4-FFF2-40B4-BE49-F238E27FC236}">
                  <a16:creationId xmlns:a16="http://schemas.microsoft.com/office/drawing/2014/main" id="{F9EE4A3C-99B2-4CEB-89A8-69E9387B5CBE}"/>
                </a:ext>
              </a:extLst>
            </p:cNvPr>
            <p:cNvGrpSpPr/>
            <p:nvPr/>
          </p:nvGrpSpPr>
          <p:grpSpPr>
            <a:xfrm>
              <a:off x="7620529" y="2453028"/>
              <a:ext cx="121901" cy="77341"/>
              <a:chOff x="7620529" y="2453028"/>
              <a:chExt cx="121901" cy="77341"/>
            </a:xfrm>
            <a:grpFill/>
          </p:grpSpPr>
          <p:sp>
            <p:nvSpPr>
              <p:cNvPr id="5107" name="Vrije vorm: vorm 5106">
                <a:extLst>
                  <a:ext uri="{FF2B5EF4-FFF2-40B4-BE49-F238E27FC236}">
                    <a16:creationId xmlns:a16="http://schemas.microsoft.com/office/drawing/2014/main" id="{7001A80B-7E1A-430C-A4BB-B3A97BE38D5E}"/>
                  </a:ext>
                </a:extLst>
              </p:cNvPr>
              <p:cNvSpPr/>
              <p:nvPr/>
            </p:nvSpPr>
            <p:spPr>
              <a:xfrm>
                <a:off x="7628371" y="2460550"/>
                <a:ext cx="105881" cy="62048"/>
              </a:xfrm>
              <a:custGeom>
                <a:avLst/>
                <a:gdLst>
                  <a:gd name="connsiteX0" fmla="*/ 0 w 105881"/>
                  <a:gd name="connsiteY0" fmla="*/ 59398 h 62048"/>
                  <a:gd name="connsiteX1" fmla="*/ 104373 w 105881"/>
                  <a:gd name="connsiteY1" fmla="*/ 0 h 62048"/>
                  <a:gd name="connsiteX2" fmla="*/ 105881 w 105881"/>
                  <a:gd name="connsiteY2" fmla="*/ 2651 h 62048"/>
                  <a:gd name="connsiteX3" fmla="*/ 1509 w 105881"/>
                  <a:gd name="connsiteY3" fmla="*/ 62049 h 62048"/>
                </a:gdLst>
                <a:ahLst/>
                <a:cxnLst>
                  <a:cxn ang="0">
                    <a:pos x="connsiteX0" y="connsiteY0"/>
                  </a:cxn>
                  <a:cxn ang="0">
                    <a:pos x="connsiteX1" y="connsiteY1"/>
                  </a:cxn>
                  <a:cxn ang="0">
                    <a:pos x="connsiteX2" y="connsiteY2"/>
                  </a:cxn>
                  <a:cxn ang="0">
                    <a:pos x="connsiteX3" y="connsiteY3"/>
                  </a:cxn>
                </a:cxnLst>
                <a:rect l="l" t="t" r="r" b="b"/>
                <a:pathLst>
                  <a:path w="105881" h="62048">
                    <a:moveTo>
                      <a:pt x="0" y="59398"/>
                    </a:moveTo>
                    <a:lnTo>
                      <a:pt x="104373" y="0"/>
                    </a:lnTo>
                    <a:lnTo>
                      <a:pt x="105881" y="2651"/>
                    </a:lnTo>
                    <a:lnTo>
                      <a:pt x="1509" y="62049"/>
                    </a:lnTo>
                    <a:close/>
                  </a:path>
                </a:pathLst>
              </a:custGeom>
              <a:grpFill/>
              <a:ln w="5978" cap="flat">
                <a:noFill/>
                <a:prstDash val="solid"/>
                <a:miter/>
              </a:ln>
            </p:spPr>
            <p:txBody>
              <a:bodyPr rtlCol="0" anchor="ctr"/>
              <a:lstStyle/>
              <a:p>
                <a:endParaRPr lang="en-GB"/>
              </a:p>
            </p:txBody>
          </p:sp>
          <p:sp>
            <p:nvSpPr>
              <p:cNvPr id="5108" name="Vrije vorm: vorm 5107">
                <a:extLst>
                  <a:ext uri="{FF2B5EF4-FFF2-40B4-BE49-F238E27FC236}">
                    <a16:creationId xmlns:a16="http://schemas.microsoft.com/office/drawing/2014/main" id="{096D0B9F-E487-4091-A2C2-8CB5213DBB51}"/>
                  </a:ext>
                </a:extLst>
              </p:cNvPr>
              <p:cNvSpPr/>
              <p:nvPr/>
            </p:nvSpPr>
            <p:spPr>
              <a:xfrm>
                <a:off x="7724102" y="2453028"/>
                <a:ext cx="18328" cy="18431"/>
              </a:xfrm>
              <a:custGeom>
                <a:avLst/>
                <a:gdLst>
                  <a:gd name="connsiteX0" fmla="*/ 4625 w 18328"/>
                  <a:gd name="connsiteY0" fmla="*/ 1201 h 18431"/>
                  <a:gd name="connsiteX1" fmla="*/ 17126 w 18328"/>
                  <a:gd name="connsiteY1" fmla="*/ 4670 h 18431"/>
                  <a:gd name="connsiteX2" fmla="*/ 13716 w 18328"/>
                  <a:gd name="connsiteY2" fmla="*/ 17230 h 18431"/>
                  <a:gd name="connsiteX3" fmla="*/ 1217 w 18328"/>
                  <a:gd name="connsiteY3" fmla="*/ 13761 h 18431"/>
                  <a:gd name="connsiteX4" fmla="*/ 4625 w 18328"/>
                  <a:gd name="connsiteY4" fmla="*/ 120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25" y="1201"/>
                    </a:moveTo>
                    <a:cubicBezTo>
                      <a:pt x="9052" y="-1310"/>
                      <a:pt x="14613" y="244"/>
                      <a:pt x="17126" y="4670"/>
                    </a:cubicBezTo>
                    <a:cubicBezTo>
                      <a:pt x="19637" y="9096"/>
                      <a:pt x="18082" y="14718"/>
                      <a:pt x="13716" y="17230"/>
                    </a:cubicBezTo>
                    <a:cubicBezTo>
                      <a:pt x="9350" y="19742"/>
                      <a:pt x="3729" y="18187"/>
                      <a:pt x="1217" y="13761"/>
                    </a:cubicBezTo>
                    <a:cubicBezTo>
                      <a:pt x="-1296" y="9275"/>
                      <a:pt x="200" y="3654"/>
                      <a:pt x="4625" y="1201"/>
                    </a:cubicBezTo>
                    <a:close/>
                  </a:path>
                </a:pathLst>
              </a:custGeom>
              <a:grpFill/>
              <a:ln w="5978" cap="flat">
                <a:noFill/>
                <a:prstDash val="solid"/>
                <a:miter/>
              </a:ln>
            </p:spPr>
            <p:txBody>
              <a:bodyPr rtlCol="0" anchor="ctr"/>
              <a:lstStyle/>
              <a:p>
                <a:endParaRPr lang="en-GB"/>
              </a:p>
            </p:txBody>
          </p:sp>
          <p:sp>
            <p:nvSpPr>
              <p:cNvPr id="5109" name="Vrije vorm: vorm 5108">
                <a:extLst>
                  <a:ext uri="{FF2B5EF4-FFF2-40B4-BE49-F238E27FC236}">
                    <a16:creationId xmlns:a16="http://schemas.microsoft.com/office/drawing/2014/main" id="{DA64B142-F5D7-421F-A981-265A19B5A44C}"/>
                  </a:ext>
                </a:extLst>
              </p:cNvPr>
              <p:cNvSpPr/>
              <p:nvPr/>
            </p:nvSpPr>
            <p:spPr>
              <a:xfrm>
                <a:off x="7620529" y="2511938"/>
                <a:ext cx="18328" cy="18431"/>
              </a:xfrm>
              <a:custGeom>
                <a:avLst/>
                <a:gdLst>
                  <a:gd name="connsiteX0" fmla="*/ 4612 w 18328"/>
                  <a:gd name="connsiteY0" fmla="*/ 1201 h 18431"/>
                  <a:gd name="connsiteX1" fmla="*/ 1204 w 18328"/>
                  <a:gd name="connsiteY1" fmla="*/ 13761 h 18431"/>
                  <a:gd name="connsiteX2" fmla="*/ 13703 w 18328"/>
                  <a:gd name="connsiteY2" fmla="*/ 17230 h 18431"/>
                  <a:gd name="connsiteX3" fmla="*/ 17112 w 18328"/>
                  <a:gd name="connsiteY3" fmla="*/ 4670 h 18431"/>
                  <a:gd name="connsiteX4" fmla="*/ 4612 w 18328"/>
                  <a:gd name="connsiteY4" fmla="*/ 120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12" y="1201"/>
                    </a:moveTo>
                    <a:cubicBezTo>
                      <a:pt x="247" y="3713"/>
                      <a:pt x="-1308" y="9335"/>
                      <a:pt x="1204" y="13761"/>
                    </a:cubicBezTo>
                    <a:cubicBezTo>
                      <a:pt x="3715" y="18187"/>
                      <a:pt x="9278" y="19742"/>
                      <a:pt x="13703" y="17230"/>
                    </a:cubicBezTo>
                    <a:cubicBezTo>
                      <a:pt x="18129" y="14718"/>
                      <a:pt x="19624" y="9096"/>
                      <a:pt x="17112" y="4670"/>
                    </a:cubicBezTo>
                    <a:cubicBezTo>
                      <a:pt x="14600" y="244"/>
                      <a:pt x="8978" y="-1310"/>
                      <a:pt x="4612" y="1201"/>
                    </a:cubicBezTo>
                    <a:close/>
                  </a:path>
                </a:pathLst>
              </a:custGeom>
              <a:grpFill/>
              <a:ln w="5978" cap="flat">
                <a:noFill/>
                <a:prstDash val="solid"/>
                <a:miter/>
              </a:ln>
            </p:spPr>
            <p:txBody>
              <a:bodyPr rtlCol="0" anchor="ctr"/>
              <a:lstStyle/>
              <a:p>
                <a:endParaRPr lang="en-GB"/>
              </a:p>
            </p:txBody>
          </p:sp>
        </p:grpSp>
        <p:grpSp>
          <p:nvGrpSpPr>
            <p:cNvPr id="90" name="Graphic 3">
              <a:extLst>
                <a:ext uri="{FF2B5EF4-FFF2-40B4-BE49-F238E27FC236}">
                  <a16:creationId xmlns:a16="http://schemas.microsoft.com/office/drawing/2014/main" id="{9CB62B85-A7A4-4624-B5EA-AA32EFC0CEC5}"/>
                </a:ext>
              </a:extLst>
            </p:cNvPr>
            <p:cNvGrpSpPr/>
            <p:nvPr/>
          </p:nvGrpSpPr>
          <p:grpSpPr>
            <a:xfrm>
              <a:off x="7643841" y="2516302"/>
              <a:ext cx="133888" cy="78552"/>
              <a:chOff x="7643841" y="2516302"/>
              <a:chExt cx="133888" cy="78552"/>
            </a:xfrm>
            <a:grpFill/>
          </p:grpSpPr>
          <p:sp>
            <p:nvSpPr>
              <p:cNvPr id="5104" name="Vrije vorm: vorm 5103">
                <a:extLst>
                  <a:ext uri="{FF2B5EF4-FFF2-40B4-BE49-F238E27FC236}">
                    <a16:creationId xmlns:a16="http://schemas.microsoft.com/office/drawing/2014/main" id="{6E6EFA1F-DEE2-450A-95BA-BFF042C92358}"/>
                  </a:ext>
                </a:extLst>
              </p:cNvPr>
              <p:cNvSpPr/>
              <p:nvPr/>
            </p:nvSpPr>
            <p:spPr>
              <a:xfrm>
                <a:off x="7651935" y="2523904"/>
                <a:ext cx="117700" cy="63276"/>
              </a:xfrm>
              <a:custGeom>
                <a:avLst/>
                <a:gdLst>
                  <a:gd name="connsiteX0" fmla="*/ 117701 w 117700"/>
                  <a:gd name="connsiteY0" fmla="*/ 2751 h 63276"/>
                  <a:gd name="connsiteX1" fmla="*/ 1375 w 117700"/>
                  <a:gd name="connsiteY1" fmla="*/ 63276 h 63276"/>
                  <a:gd name="connsiteX2" fmla="*/ 0 w 117700"/>
                  <a:gd name="connsiteY2" fmla="*/ 60585 h 63276"/>
                  <a:gd name="connsiteX3" fmla="*/ 116325 w 117700"/>
                  <a:gd name="connsiteY3" fmla="*/ 0 h 63276"/>
                </a:gdLst>
                <a:ahLst/>
                <a:cxnLst>
                  <a:cxn ang="0">
                    <a:pos x="connsiteX0" y="connsiteY0"/>
                  </a:cxn>
                  <a:cxn ang="0">
                    <a:pos x="connsiteX1" y="connsiteY1"/>
                  </a:cxn>
                  <a:cxn ang="0">
                    <a:pos x="connsiteX2" y="connsiteY2"/>
                  </a:cxn>
                  <a:cxn ang="0">
                    <a:pos x="connsiteX3" y="connsiteY3"/>
                  </a:cxn>
                </a:cxnLst>
                <a:rect l="l" t="t" r="r" b="b"/>
                <a:pathLst>
                  <a:path w="117700" h="63276">
                    <a:moveTo>
                      <a:pt x="117701" y="2751"/>
                    </a:moveTo>
                    <a:lnTo>
                      <a:pt x="1375" y="63276"/>
                    </a:lnTo>
                    <a:lnTo>
                      <a:pt x="0" y="60585"/>
                    </a:lnTo>
                    <a:lnTo>
                      <a:pt x="116325" y="0"/>
                    </a:lnTo>
                    <a:close/>
                  </a:path>
                </a:pathLst>
              </a:custGeom>
              <a:grpFill/>
              <a:ln w="5978" cap="flat">
                <a:noFill/>
                <a:prstDash val="solid"/>
                <a:miter/>
              </a:ln>
            </p:spPr>
            <p:txBody>
              <a:bodyPr rtlCol="0" anchor="ctr"/>
              <a:lstStyle/>
              <a:p>
                <a:endParaRPr lang="en-GB"/>
              </a:p>
            </p:txBody>
          </p:sp>
          <p:sp>
            <p:nvSpPr>
              <p:cNvPr id="5105" name="Vrije vorm: vorm 5104">
                <a:extLst>
                  <a:ext uri="{FF2B5EF4-FFF2-40B4-BE49-F238E27FC236}">
                    <a16:creationId xmlns:a16="http://schemas.microsoft.com/office/drawing/2014/main" id="{4E36AA0F-DD1C-4CB8-855B-49AE0E0B5C99}"/>
                  </a:ext>
                </a:extLst>
              </p:cNvPr>
              <p:cNvSpPr/>
              <p:nvPr/>
            </p:nvSpPr>
            <p:spPr>
              <a:xfrm>
                <a:off x="7759388" y="2516302"/>
                <a:ext cx="18340" cy="18434"/>
              </a:xfrm>
              <a:custGeom>
                <a:avLst/>
                <a:gdLst>
                  <a:gd name="connsiteX0" fmla="*/ 4924 w 18340"/>
                  <a:gd name="connsiteY0" fmla="*/ 1024 h 18434"/>
                  <a:gd name="connsiteX1" fmla="*/ 17304 w 18340"/>
                  <a:gd name="connsiteY1" fmla="*/ 4971 h 18434"/>
                  <a:gd name="connsiteX2" fmla="*/ 13417 w 18340"/>
                  <a:gd name="connsiteY2" fmla="*/ 17411 h 18434"/>
                  <a:gd name="connsiteX3" fmla="*/ 1037 w 18340"/>
                  <a:gd name="connsiteY3" fmla="*/ 13464 h 18434"/>
                  <a:gd name="connsiteX4" fmla="*/ 4924 w 18340"/>
                  <a:gd name="connsiteY4" fmla="*/ 102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34">
                    <a:moveTo>
                      <a:pt x="4924" y="1024"/>
                    </a:moveTo>
                    <a:cubicBezTo>
                      <a:pt x="9410" y="-1309"/>
                      <a:pt x="14972" y="486"/>
                      <a:pt x="17304" y="4971"/>
                    </a:cubicBezTo>
                    <a:cubicBezTo>
                      <a:pt x="19637" y="9516"/>
                      <a:pt x="17902" y="15078"/>
                      <a:pt x="13417" y="17411"/>
                    </a:cubicBezTo>
                    <a:cubicBezTo>
                      <a:pt x="8931" y="19744"/>
                      <a:pt x="3369" y="17949"/>
                      <a:pt x="1037" y="13464"/>
                    </a:cubicBezTo>
                    <a:cubicBezTo>
                      <a:pt x="-1296" y="8918"/>
                      <a:pt x="439" y="3356"/>
                      <a:pt x="4924" y="1024"/>
                    </a:cubicBezTo>
                    <a:close/>
                  </a:path>
                </a:pathLst>
              </a:custGeom>
              <a:grpFill/>
              <a:ln w="5978" cap="flat">
                <a:noFill/>
                <a:prstDash val="solid"/>
                <a:miter/>
              </a:ln>
            </p:spPr>
            <p:txBody>
              <a:bodyPr rtlCol="0" anchor="ctr"/>
              <a:lstStyle/>
              <a:p>
                <a:endParaRPr lang="en-GB"/>
              </a:p>
            </p:txBody>
          </p:sp>
          <p:sp>
            <p:nvSpPr>
              <p:cNvPr id="5106" name="Vrije vorm: vorm 5105">
                <a:extLst>
                  <a:ext uri="{FF2B5EF4-FFF2-40B4-BE49-F238E27FC236}">
                    <a16:creationId xmlns:a16="http://schemas.microsoft.com/office/drawing/2014/main" id="{4A6B6681-1E41-4748-B2B0-B0F432DE97DB}"/>
                  </a:ext>
                </a:extLst>
              </p:cNvPr>
              <p:cNvSpPr/>
              <p:nvPr/>
            </p:nvSpPr>
            <p:spPr>
              <a:xfrm>
                <a:off x="7643841" y="2576408"/>
                <a:ext cx="18341" cy="18446"/>
              </a:xfrm>
              <a:custGeom>
                <a:avLst/>
                <a:gdLst>
                  <a:gd name="connsiteX0" fmla="*/ 4924 w 18341"/>
                  <a:gd name="connsiteY0" fmla="*/ 1024 h 18446"/>
                  <a:gd name="connsiteX1" fmla="*/ 1037 w 18341"/>
                  <a:gd name="connsiteY1" fmla="*/ 13464 h 18446"/>
                  <a:gd name="connsiteX2" fmla="*/ 13417 w 18341"/>
                  <a:gd name="connsiteY2" fmla="*/ 17411 h 18446"/>
                  <a:gd name="connsiteX3" fmla="*/ 17304 w 18341"/>
                  <a:gd name="connsiteY3" fmla="*/ 4971 h 18446"/>
                  <a:gd name="connsiteX4" fmla="*/ 4924 w 18341"/>
                  <a:gd name="connsiteY4" fmla="*/ 1024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46">
                    <a:moveTo>
                      <a:pt x="4924" y="1024"/>
                    </a:moveTo>
                    <a:cubicBezTo>
                      <a:pt x="438" y="3356"/>
                      <a:pt x="-1296" y="8918"/>
                      <a:pt x="1037" y="13464"/>
                    </a:cubicBezTo>
                    <a:cubicBezTo>
                      <a:pt x="3369" y="18009"/>
                      <a:pt x="8931" y="19743"/>
                      <a:pt x="13417" y="17411"/>
                    </a:cubicBezTo>
                    <a:cubicBezTo>
                      <a:pt x="17902" y="15079"/>
                      <a:pt x="19637" y="9516"/>
                      <a:pt x="17304" y="4971"/>
                    </a:cubicBezTo>
                    <a:cubicBezTo>
                      <a:pt x="14972" y="486"/>
                      <a:pt x="9409" y="-1309"/>
                      <a:pt x="4924" y="1024"/>
                    </a:cubicBezTo>
                    <a:close/>
                  </a:path>
                </a:pathLst>
              </a:custGeom>
              <a:grpFill/>
              <a:ln w="5978" cap="flat">
                <a:noFill/>
                <a:prstDash val="solid"/>
                <a:miter/>
              </a:ln>
            </p:spPr>
            <p:txBody>
              <a:bodyPr rtlCol="0" anchor="ctr"/>
              <a:lstStyle/>
              <a:p>
                <a:endParaRPr lang="en-GB"/>
              </a:p>
            </p:txBody>
          </p:sp>
        </p:grpSp>
        <p:grpSp>
          <p:nvGrpSpPr>
            <p:cNvPr id="91" name="Graphic 3">
              <a:extLst>
                <a:ext uri="{FF2B5EF4-FFF2-40B4-BE49-F238E27FC236}">
                  <a16:creationId xmlns:a16="http://schemas.microsoft.com/office/drawing/2014/main" id="{C84745EC-4C51-410A-BE0C-FD6AED91EAAC}"/>
                </a:ext>
              </a:extLst>
            </p:cNvPr>
            <p:cNvGrpSpPr/>
            <p:nvPr/>
          </p:nvGrpSpPr>
          <p:grpSpPr>
            <a:xfrm>
              <a:off x="7534785" y="2502156"/>
              <a:ext cx="351162" cy="150492"/>
              <a:chOff x="7534785" y="2502156"/>
              <a:chExt cx="351162" cy="150492"/>
            </a:xfrm>
            <a:grpFill/>
          </p:grpSpPr>
          <p:sp>
            <p:nvSpPr>
              <p:cNvPr id="5101" name="Vrije vorm: vorm 5100">
                <a:extLst>
                  <a:ext uri="{FF2B5EF4-FFF2-40B4-BE49-F238E27FC236}">
                    <a16:creationId xmlns:a16="http://schemas.microsoft.com/office/drawing/2014/main" id="{FC30FCD2-75D8-438A-8CF6-BA5D0BD4C4F5}"/>
                  </a:ext>
                </a:extLst>
              </p:cNvPr>
              <p:cNvSpPr/>
              <p:nvPr/>
            </p:nvSpPr>
            <p:spPr>
              <a:xfrm>
                <a:off x="7542966" y="2509790"/>
                <a:ext cx="334800" cy="135224"/>
              </a:xfrm>
              <a:custGeom>
                <a:avLst/>
                <a:gdLst>
                  <a:gd name="connsiteX0" fmla="*/ 334801 w 334800"/>
                  <a:gd name="connsiteY0" fmla="*/ 2811 h 135224"/>
                  <a:gd name="connsiteX1" fmla="*/ 1136 w 334800"/>
                  <a:gd name="connsiteY1" fmla="*/ 135224 h 135224"/>
                  <a:gd name="connsiteX2" fmla="*/ 0 w 334800"/>
                  <a:gd name="connsiteY2" fmla="*/ 132353 h 135224"/>
                  <a:gd name="connsiteX3" fmla="*/ 333665 w 334800"/>
                  <a:gd name="connsiteY3" fmla="*/ 0 h 135224"/>
                </a:gdLst>
                <a:ahLst/>
                <a:cxnLst>
                  <a:cxn ang="0">
                    <a:pos x="connsiteX0" y="connsiteY0"/>
                  </a:cxn>
                  <a:cxn ang="0">
                    <a:pos x="connsiteX1" y="connsiteY1"/>
                  </a:cxn>
                  <a:cxn ang="0">
                    <a:pos x="connsiteX2" y="connsiteY2"/>
                  </a:cxn>
                  <a:cxn ang="0">
                    <a:pos x="connsiteX3" y="connsiteY3"/>
                  </a:cxn>
                </a:cxnLst>
                <a:rect l="l" t="t" r="r" b="b"/>
                <a:pathLst>
                  <a:path w="334800" h="135224">
                    <a:moveTo>
                      <a:pt x="334801" y="2811"/>
                    </a:moveTo>
                    <a:lnTo>
                      <a:pt x="1136" y="135224"/>
                    </a:lnTo>
                    <a:lnTo>
                      <a:pt x="0" y="132353"/>
                    </a:lnTo>
                    <a:lnTo>
                      <a:pt x="333665" y="0"/>
                    </a:lnTo>
                    <a:close/>
                  </a:path>
                </a:pathLst>
              </a:custGeom>
              <a:grpFill/>
              <a:ln w="5978" cap="flat">
                <a:noFill/>
                <a:prstDash val="solid"/>
                <a:miter/>
              </a:ln>
            </p:spPr>
            <p:txBody>
              <a:bodyPr rtlCol="0" anchor="ctr"/>
              <a:lstStyle/>
              <a:p>
                <a:endParaRPr lang="en-GB"/>
              </a:p>
            </p:txBody>
          </p:sp>
          <p:sp>
            <p:nvSpPr>
              <p:cNvPr id="5102" name="Vrije vorm: vorm 5101">
                <a:extLst>
                  <a:ext uri="{FF2B5EF4-FFF2-40B4-BE49-F238E27FC236}">
                    <a16:creationId xmlns:a16="http://schemas.microsoft.com/office/drawing/2014/main" id="{B08F5864-3B65-4D40-9BA9-21EB3E842E22}"/>
                  </a:ext>
                </a:extLst>
              </p:cNvPr>
              <p:cNvSpPr/>
              <p:nvPr/>
            </p:nvSpPr>
            <p:spPr>
              <a:xfrm>
                <a:off x="7534785" y="2634210"/>
                <a:ext cx="18335" cy="18438"/>
              </a:xfrm>
              <a:custGeom>
                <a:avLst/>
                <a:gdLst>
                  <a:gd name="connsiteX0" fmla="*/ 12547 w 18335"/>
                  <a:gd name="connsiteY0" fmla="*/ 17801 h 18438"/>
                  <a:gd name="connsiteX1" fmla="*/ 645 w 18335"/>
                  <a:gd name="connsiteY1" fmla="*/ 12598 h 18438"/>
                  <a:gd name="connsiteX2" fmla="*/ 5789 w 18335"/>
                  <a:gd name="connsiteY2" fmla="*/ 637 h 18438"/>
                  <a:gd name="connsiteX3" fmla="*/ 17690 w 18335"/>
                  <a:gd name="connsiteY3" fmla="*/ 5840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7822" y="19655"/>
                      <a:pt x="2500" y="17323"/>
                      <a:pt x="645" y="12598"/>
                    </a:cubicBezTo>
                    <a:cubicBezTo>
                      <a:pt x="-1209" y="7873"/>
                      <a:pt x="1064" y="2491"/>
                      <a:pt x="5789" y="637"/>
                    </a:cubicBezTo>
                    <a:cubicBezTo>
                      <a:pt x="10514" y="-1217"/>
                      <a:pt x="15837" y="1115"/>
                      <a:pt x="17690" y="5840"/>
                    </a:cubicBezTo>
                    <a:cubicBezTo>
                      <a:pt x="19545" y="10565"/>
                      <a:pt x="17272" y="15947"/>
                      <a:pt x="12547" y="17801"/>
                    </a:cubicBezTo>
                    <a:close/>
                  </a:path>
                </a:pathLst>
              </a:custGeom>
              <a:grpFill/>
              <a:ln w="5978" cap="flat">
                <a:noFill/>
                <a:prstDash val="solid"/>
                <a:miter/>
              </a:ln>
            </p:spPr>
            <p:txBody>
              <a:bodyPr rtlCol="0" anchor="ctr"/>
              <a:lstStyle/>
              <a:p>
                <a:endParaRPr lang="en-GB"/>
              </a:p>
            </p:txBody>
          </p:sp>
          <p:sp>
            <p:nvSpPr>
              <p:cNvPr id="5103" name="Vrije vorm: vorm 5102">
                <a:extLst>
                  <a:ext uri="{FF2B5EF4-FFF2-40B4-BE49-F238E27FC236}">
                    <a16:creationId xmlns:a16="http://schemas.microsoft.com/office/drawing/2014/main" id="{83780B11-2767-41A9-8565-DD3B529EC4C2}"/>
                  </a:ext>
                </a:extLst>
              </p:cNvPr>
              <p:cNvSpPr/>
              <p:nvPr/>
            </p:nvSpPr>
            <p:spPr>
              <a:xfrm>
                <a:off x="7867612" y="2502156"/>
                <a:ext cx="18335" cy="18438"/>
              </a:xfrm>
              <a:custGeom>
                <a:avLst/>
                <a:gdLst>
                  <a:gd name="connsiteX0" fmla="*/ 12547 w 18335"/>
                  <a:gd name="connsiteY0" fmla="*/ 17802 h 18438"/>
                  <a:gd name="connsiteX1" fmla="*/ 17690 w 18335"/>
                  <a:gd name="connsiteY1" fmla="*/ 5840 h 18438"/>
                  <a:gd name="connsiteX2" fmla="*/ 5789 w 18335"/>
                  <a:gd name="connsiteY2" fmla="*/ 637 h 18438"/>
                  <a:gd name="connsiteX3" fmla="*/ 645 w 18335"/>
                  <a:gd name="connsiteY3" fmla="*/ 12598 h 18438"/>
                  <a:gd name="connsiteX4" fmla="*/ 12547 w 18335"/>
                  <a:gd name="connsiteY4" fmla="*/ 1780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2"/>
                    </a:moveTo>
                    <a:cubicBezTo>
                      <a:pt x="17272" y="15948"/>
                      <a:pt x="19545" y="10565"/>
                      <a:pt x="17690" y="5840"/>
                    </a:cubicBezTo>
                    <a:cubicBezTo>
                      <a:pt x="15836" y="1115"/>
                      <a:pt x="10454" y="-1217"/>
                      <a:pt x="5789" y="637"/>
                    </a:cubicBezTo>
                    <a:cubicBezTo>
                      <a:pt x="1064" y="2491"/>
                      <a:pt x="-1209" y="7874"/>
                      <a:pt x="645" y="12598"/>
                    </a:cubicBezTo>
                    <a:cubicBezTo>
                      <a:pt x="2499" y="17323"/>
                      <a:pt x="7882" y="19656"/>
                      <a:pt x="12547" y="17802"/>
                    </a:cubicBezTo>
                    <a:close/>
                  </a:path>
                </a:pathLst>
              </a:custGeom>
              <a:grpFill/>
              <a:ln w="5978" cap="flat">
                <a:noFill/>
                <a:prstDash val="solid"/>
                <a:miter/>
              </a:ln>
            </p:spPr>
            <p:txBody>
              <a:bodyPr rtlCol="0" anchor="ctr"/>
              <a:lstStyle/>
              <a:p>
                <a:endParaRPr lang="en-GB"/>
              </a:p>
            </p:txBody>
          </p:sp>
        </p:grpSp>
        <p:grpSp>
          <p:nvGrpSpPr>
            <p:cNvPr id="92" name="Graphic 3">
              <a:extLst>
                <a:ext uri="{FF2B5EF4-FFF2-40B4-BE49-F238E27FC236}">
                  <a16:creationId xmlns:a16="http://schemas.microsoft.com/office/drawing/2014/main" id="{19729435-063B-4D55-B64E-F8D37F8CFCD9}"/>
                </a:ext>
              </a:extLst>
            </p:cNvPr>
            <p:cNvGrpSpPr/>
            <p:nvPr/>
          </p:nvGrpSpPr>
          <p:grpSpPr>
            <a:xfrm>
              <a:off x="7643851" y="2827598"/>
              <a:ext cx="347141" cy="86317"/>
              <a:chOff x="7643851" y="2827598"/>
              <a:chExt cx="347141" cy="86317"/>
            </a:xfrm>
            <a:grpFill/>
          </p:grpSpPr>
          <p:sp>
            <p:nvSpPr>
              <p:cNvPr id="5098" name="Vrije vorm: vorm 5097">
                <a:extLst>
                  <a:ext uri="{FF2B5EF4-FFF2-40B4-BE49-F238E27FC236}">
                    <a16:creationId xmlns:a16="http://schemas.microsoft.com/office/drawing/2014/main" id="{D3CA15D5-6F74-4370-B4E1-27E2F89DFB7D}"/>
                  </a:ext>
                </a:extLst>
              </p:cNvPr>
              <p:cNvSpPr/>
              <p:nvPr/>
            </p:nvSpPr>
            <p:spPr>
              <a:xfrm>
                <a:off x="7652294" y="2834765"/>
                <a:ext cx="330271" cy="71293"/>
              </a:xfrm>
              <a:custGeom>
                <a:avLst/>
                <a:gdLst>
                  <a:gd name="connsiteX0" fmla="*/ 0 w 330271"/>
                  <a:gd name="connsiteY0" fmla="*/ 68307 h 71293"/>
                  <a:gd name="connsiteX1" fmla="*/ 329653 w 330271"/>
                  <a:gd name="connsiteY1" fmla="*/ 0 h 71293"/>
                  <a:gd name="connsiteX2" fmla="*/ 330272 w 330271"/>
                  <a:gd name="connsiteY2" fmla="*/ 2987 h 71293"/>
                  <a:gd name="connsiteX3" fmla="*/ 619 w 330271"/>
                  <a:gd name="connsiteY3" fmla="*/ 71294 h 71293"/>
                </a:gdLst>
                <a:ahLst/>
                <a:cxnLst>
                  <a:cxn ang="0">
                    <a:pos x="connsiteX0" y="connsiteY0"/>
                  </a:cxn>
                  <a:cxn ang="0">
                    <a:pos x="connsiteX1" y="connsiteY1"/>
                  </a:cxn>
                  <a:cxn ang="0">
                    <a:pos x="connsiteX2" y="connsiteY2"/>
                  </a:cxn>
                  <a:cxn ang="0">
                    <a:pos x="connsiteX3" y="connsiteY3"/>
                  </a:cxn>
                </a:cxnLst>
                <a:rect l="l" t="t" r="r" b="b"/>
                <a:pathLst>
                  <a:path w="330271" h="71293">
                    <a:moveTo>
                      <a:pt x="0" y="68307"/>
                    </a:moveTo>
                    <a:lnTo>
                      <a:pt x="329653" y="0"/>
                    </a:lnTo>
                    <a:lnTo>
                      <a:pt x="330272" y="2987"/>
                    </a:lnTo>
                    <a:lnTo>
                      <a:pt x="619" y="71294"/>
                    </a:lnTo>
                    <a:close/>
                  </a:path>
                </a:pathLst>
              </a:custGeom>
              <a:grpFill/>
              <a:ln w="5978" cap="flat">
                <a:noFill/>
                <a:prstDash val="solid"/>
                <a:miter/>
              </a:ln>
            </p:spPr>
            <p:txBody>
              <a:bodyPr rtlCol="0" anchor="ctr"/>
              <a:lstStyle/>
              <a:p>
                <a:endParaRPr lang="en-GB"/>
              </a:p>
            </p:txBody>
          </p:sp>
          <p:sp>
            <p:nvSpPr>
              <p:cNvPr id="5099" name="Vrije vorm: vorm 5098">
                <a:extLst>
                  <a:ext uri="{FF2B5EF4-FFF2-40B4-BE49-F238E27FC236}">
                    <a16:creationId xmlns:a16="http://schemas.microsoft.com/office/drawing/2014/main" id="{82D86236-39AD-478D-A3A9-E2990ACCF6C2}"/>
                  </a:ext>
                </a:extLst>
              </p:cNvPr>
              <p:cNvSpPr/>
              <p:nvPr/>
            </p:nvSpPr>
            <p:spPr>
              <a:xfrm>
                <a:off x="7643851" y="2895479"/>
                <a:ext cx="18321" cy="18436"/>
              </a:xfrm>
              <a:custGeom>
                <a:avLst/>
                <a:gdLst>
                  <a:gd name="connsiteX0" fmla="*/ 11015 w 18321"/>
                  <a:gd name="connsiteY0" fmla="*/ 18249 h 18436"/>
                  <a:gd name="connsiteX1" fmla="*/ 190 w 18321"/>
                  <a:gd name="connsiteY1" fmla="*/ 11072 h 18436"/>
                  <a:gd name="connsiteX2" fmla="*/ 7307 w 18321"/>
                  <a:gd name="connsiteY2" fmla="*/ 187 h 18436"/>
                  <a:gd name="connsiteX3" fmla="*/ 18132 w 18321"/>
                  <a:gd name="connsiteY3" fmla="*/ 7364 h 18436"/>
                  <a:gd name="connsiteX4" fmla="*/ 11015 w 18321"/>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1015" y="18249"/>
                    </a:moveTo>
                    <a:cubicBezTo>
                      <a:pt x="6051" y="19266"/>
                      <a:pt x="1206" y="16036"/>
                      <a:pt x="190" y="11072"/>
                    </a:cubicBezTo>
                    <a:cubicBezTo>
                      <a:pt x="-827" y="6108"/>
                      <a:pt x="2343" y="1204"/>
                      <a:pt x="7307" y="187"/>
                    </a:cubicBezTo>
                    <a:cubicBezTo>
                      <a:pt x="12271" y="-830"/>
                      <a:pt x="17115" y="2400"/>
                      <a:pt x="18132" y="7364"/>
                    </a:cubicBezTo>
                    <a:cubicBezTo>
                      <a:pt x="19148" y="12328"/>
                      <a:pt x="15979" y="17172"/>
                      <a:pt x="11015" y="18249"/>
                    </a:cubicBezTo>
                    <a:close/>
                  </a:path>
                </a:pathLst>
              </a:custGeom>
              <a:grpFill/>
              <a:ln w="5978" cap="flat">
                <a:noFill/>
                <a:prstDash val="solid"/>
                <a:miter/>
              </a:ln>
            </p:spPr>
            <p:txBody>
              <a:bodyPr rtlCol="0" anchor="ctr"/>
              <a:lstStyle/>
              <a:p>
                <a:endParaRPr lang="en-GB"/>
              </a:p>
            </p:txBody>
          </p:sp>
          <p:sp>
            <p:nvSpPr>
              <p:cNvPr id="5100" name="Vrije vorm: vorm 5099">
                <a:extLst>
                  <a:ext uri="{FF2B5EF4-FFF2-40B4-BE49-F238E27FC236}">
                    <a16:creationId xmlns:a16="http://schemas.microsoft.com/office/drawing/2014/main" id="{028F214E-17F5-4CA4-B53F-6BDF4DED6D04}"/>
                  </a:ext>
                </a:extLst>
              </p:cNvPr>
              <p:cNvSpPr/>
              <p:nvPr/>
            </p:nvSpPr>
            <p:spPr>
              <a:xfrm>
                <a:off x="7972671" y="2827598"/>
                <a:ext cx="18321" cy="18435"/>
              </a:xfrm>
              <a:custGeom>
                <a:avLst/>
                <a:gdLst>
                  <a:gd name="connsiteX0" fmla="*/ 11015 w 18321"/>
                  <a:gd name="connsiteY0" fmla="*/ 18249 h 18435"/>
                  <a:gd name="connsiteX1" fmla="*/ 18132 w 18321"/>
                  <a:gd name="connsiteY1" fmla="*/ 7364 h 18435"/>
                  <a:gd name="connsiteX2" fmla="*/ 7307 w 18321"/>
                  <a:gd name="connsiteY2" fmla="*/ 187 h 18435"/>
                  <a:gd name="connsiteX3" fmla="*/ 190 w 18321"/>
                  <a:gd name="connsiteY3" fmla="*/ 11072 h 18435"/>
                  <a:gd name="connsiteX4" fmla="*/ 11015 w 18321"/>
                  <a:gd name="connsiteY4" fmla="*/ 18249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5">
                    <a:moveTo>
                      <a:pt x="11015" y="18249"/>
                    </a:moveTo>
                    <a:cubicBezTo>
                      <a:pt x="15979" y="17232"/>
                      <a:pt x="19149" y="12328"/>
                      <a:pt x="18132" y="7364"/>
                    </a:cubicBezTo>
                    <a:cubicBezTo>
                      <a:pt x="17115" y="2400"/>
                      <a:pt x="12211" y="-830"/>
                      <a:pt x="7307" y="187"/>
                    </a:cubicBezTo>
                    <a:cubicBezTo>
                      <a:pt x="2343" y="1204"/>
                      <a:pt x="-827" y="6108"/>
                      <a:pt x="190" y="11072"/>
                    </a:cubicBezTo>
                    <a:cubicBezTo>
                      <a:pt x="1207" y="16036"/>
                      <a:pt x="6111" y="19265"/>
                      <a:pt x="11015" y="18249"/>
                    </a:cubicBezTo>
                    <a:close/>
                  </a:path>
                </a:pathLst>
              </a:custGeom>
              <a:grpFill/>
              <a:ln w="5978" cap="flat">
                <a:noFill/>
                <a:prstDash val="solid"/>
                <a:miter/>
              </a:ln>
            </p:spPr>
            <p:txBody>
              <a:bodyPr rtlCol="0" anchor="ctr"/>
              <a:lstStyle/>
              <a:p>
                <a:endParaRPr lang="en-GB"/>
              </a:p>
            </p:txBody>
          </p:sp>
        </p:grpSp>
        <p:grpSp>
          <p:nvGrpSpPr>
            <p:cNvPr id="93" name="Graphic 3">
              <a:extLst>
                <a:ext uri="{FF2B5EF4-FFF2-40B4-BE49-F238E27FC236}">
                  <a16:creationId xmlns:a16="http://schemas.microsoft.com/office/drawing/2014/main" id="{439F343D-F608-4A59-B9FA-90A07A49A597}"/>
                </a:ext>
              </a:extLst>
            </p:cNvPr>
            <p:cNvGrpSpPr/>
            <p:nvPr/>
          </p:nvGrpSpPr>
          <p:grpSpPr>
            <a:xfrm>
              <a:off x="7802143" y="2839844"/>
              <a:ext cx="29840" cy="22173"/>
              <a:chOff x="7802143" y="2839844"/>
              <a:chExt cx="29840" cy="22173"/>
            </a:xfrm>
            <a:grpFill/>
          </p:grpSpPr>
          <p:sp>
            <p:nvSpPr>
              <p:cNvPr id="5095" name="Vrije vorm: vorm 5094">
                <a:extLst>
                  <a:ext uri="{FF2B5EF4-FFF2-40B4-BE49-F238E27FC236}">
                    <a16:creationId xmlns:a16="http://schemas.microsoft.com/office/drawing/2014/main" id="{2A71570C-7D98-4DCB-8043-C1F5FCC42985}"/>
                  </a:ext>
                </a:extLst>
              </p:cNvPr>
              <p:cNvSpPr/>
              <p:nvPr/>
            </p:nvSpPr>
            <p:spPr>
              <a:xfrm>
                <a:off x="7810424" y="2847462"/>
                <a:ext cx="13277" cy="6937"/>
              </a:xfrm>
              <a:custGeom>
                <a:avLst/>
                <a:gdLst>
                  <a:gd name="connsiteX0" fmla="*/ 12381 w 13277"/>
                  <a:gd name="connsiteY0" fmla="*/ 0 h 6937"/>
                  <a:gd name="connsiteX1" fmla="*/ 13277 w 13277"/>
                  <a:gd name="connsiteY1" fmla="*/ 2931 h 6937"/>
                  <a:gd name="connsiteX2" fmla="*/ 957 w 13277"/>
                  <a:gd name="connsiteY2" fmla="*/ 6938 h 6937"/>
                  <a:gd name="connsiteX3" fmla="*/ 0 w 13277"/>
                  <a:gd name="connsiteY3" fmla="*/ 4007 h 6937"/>
                </a:gdLst>
                <a:ahLst/>
                <a:cxnLst>
                  <a:cxn ang="0">
                    <a:pos x="connsiteX0" y="connsiteY0"/>
                  </a:cxn>
                  <a:cxn ang="0">
                    <a:pos x="connsiteX1" y="connsiteY1"/>
                  </a:cxn>
                  <a:cxn ang="0">
                    <a:pos x="connsiteX2" y="connsiteY2"/>
                  </a:cxn>
                  <a:cxn ang="0">
                    <a:pos x="connsiteX3" y="connsiteY3"/>
                  </a:cxn>
                </a:cxnLst>
                <a:rect l="l" t="t" r="r" b="b"/>
                <a:pathLst>
                  <a:path w="13277" h="6937">
                    <a:moveTo>
                      <a:pt x="12381" y="0"/>
                    </a:moveTo>
                    <a:lnTo>
                      <a:pt x="13277" y="2931"/>
                    </a:lnTo>
                    <a:lnTo>
                      <a:pt x="957" y="6938"/>
                    </a:lnTo>
                    <a:lnTo>
                      <a:pt x="0" y="4007"/>
                    </a:lnTo>
                    <a:close/>
                  </a:path>
                </a:pathLst>
              </a:custGeom>
              <a:grpFill/>
              <a:ln w="5978" cap="flat">
                <a:noFill/>
                <a:prstDash val="solid"/>
                <a:miter/>
              </a:ln>
            </p:spPr>
            <p:txBody>
              <a:bodyPr rtlCol="0" anchor="ctr"/>
              <a:lstStyle/>
              <a:p>
                <a:endParaRPr lang="en-GB"/>
              </a:p>
            </p:txBody>
          </p:sp>
          <p:sp>
            <p:nvSpPr>
              <p:cNvPr id="5096" name="Vrije vorm: vorm 5095">
                <a:extLst>
                  <a:ext uri="{FF2B5EF4-FFF2-40B4-BE49-F238E27FC236}">
                    <a16:creationId xmlns:a16="http://schemas.microsoft.com/office/drawing/2014/main" id="{6CF7C574-D789-40E7-AA8B-5D766AE0D689}"/>
                  </a:ext>
                </a:extLst>
              </p:cNvPr>
              <p:cNvSpPr/>
              <p:nvPr/>
            </p:nvSpPr>
            <p:spPr>
              <a:xfrm>
                <a:off x="7813631" y="2839844"/>
                <a:ext cx="18351" cy="18465"/>
              </a:xfrm>
              <a:custGeom>
                <a:avLst/>
                <a:gdLst>
                  <a:gd name="connsiteX0" fmla="*/ 6362 w 18351"/>
                  <a:gd name="connsiteY0" fmla="*/ 441 h 18465"/>
                  <a:gd name="connsiteX1" fmla="*/ 17905 w 18351"/>
                  <a:gd name="connsiteY1" fmla="*/ 6422 h 18465"/>
                  <a:gd name="connsiteX2" fmla="*/ 11984 w 18351"/>
                  <a:gd name="connsiteY2" fmla="*/ 18024 h 18465"/>
                  <a:gd name="connsiteX3" fmla="*/ 441 w 18351"/>
                  <a:gd name="connsiteY3" fmla="*/ 12044 h 18465"/>
                  <a:gd name="connsiteX4" fmla="*/ 6362 w 18351"/>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6362" y="441"/>
                    </a:moveTo>
                    <a:cubicBezTo>
                      <a:pt x="11207" y="-1114"/>
                      <a:pt x="16350" y="1577"/>
                      <a:pt x="17905" y="6422"/>
                    </a:cubicBezTo>
                    <a:cubicBezTo>
                      <a:pt x="19460" y="11266"/>
                      <a:pt x="16828" y="16469"/>
                      <a:pt x="11984" y="18024"/>
                    </a:cubicBezTo>
                    <a:cubicBezTo>
                      <a:pt x="7140" y="19579"/>
                      <a:pt x="1996" y="16888"/>
                      <a:pt x="441" y="12044"/>
                    </a:cubicBezTo>
                    <a:cubicBezTo>
                      <a:pt x="-1114" y="7199"/>
                      <a:pt x="1578" y="1996"/>
                      <a:pt x="6362" y="441"/>
                    </a:cubicBezTo>
                    <a:close/>
                  </a:path>
                </a:pathLst>
              </a:custGeom>
              <a:grpFill/>
              <a:ln w="5978" cap="flat">
                <a:noFill/>
                <a:prstDash val="solid"/>
                <a:miter/>
              </a:ln>
            </p:spPr>
            <p:txBody>
              <a:bodyPr rtlCol="0" anchor="ctr"/>
              <a:lstStyle/>
              <a:p>
                <a:endParaRPr lang="en-GB"/>
              </a:p>
            </p:txBody>
          </p:sp>
          <p:sp>
            <p:nvSpPr>
              <p:cNvPr id="5097" name="Vrije vorm: vorm 5096">
                <a:extLst>
                  <a:ext uri="{FF2B5EF4-FFF2-40B4-BE49-F238E27FC236}">
                    <a16:creationId xmlns:a16="http://schemas.microsoft.com/office/drawing/2014/main" id="{B4770D35-6CCC-445A-A7E5-780FCAD80D52}"/>
                  </a:ext>
                </a:extLst>
              </p:cNvPr>
              <p:cNvSpPr/>
              <p:nvPr/>
            </p:nvSpPr>
            <p:spPr>
              <a:xfrm>
                <a:off x="7802143" y="2843552"/>
                <a:ext cx="18356" cy="18465"/>
              </a:xfrm>
              <a:custGeom>
                <a:avLst/>
                <a:gdLst>
                  <a:gd name="connsiteX0" fmla="*/ 6368 w 18356"/>
                  <a:gd name="connsiteY0" fmla="*/ 441 h 18465"/>
                  <a:gd name="connsiteX1" fmla="*/ 447 w 18356"/>
                  <a:gd name="connsiteY1" fmla="*/ 12044 h 18465"/>
                  <a:gd name="connsiteX2" fmla="*/ 11989 w 18356"/>
                  <a:gd name="connsiteY2" fmla="*/ 18024 h 18465"/>
                  <a:gd name="connsiteX3" fmla="*/ 17910 w 18356"/>
                  <a:gd name="connsiteY3" fmla="*/ 6422 h 18465"/>
                  <a:gd name="connsiteX4" fmla="*/ 6368 w 18356"/>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65">
                    <a:moveTo>
                      <a:pt x="6368" y="441"/>
                    </a:moveTo>
                    <a:cubicBezTo>
                      <a:pt x="1523" y="1996"/>
                      <a:pt x="-1108" y="7199"/>
                      <a:pt x="447" y="12044"/>
                    </a:cubicBezTo>
                    <a:cubicBezTo>
                      <a:pt x="2002" y="16888"/>
                      <a:pt x="7145" y="19579"/>
                      <a:pt x="11989" y="18024"/>
                    </a:cubicBezTo>
                    <a:cubicBezTo>
                      <a:pt x="16834" y="16469"/>
                      <a:pt x="19465" y="11266"/>
                      <a:pt x="17910" y="6422"/>
                    </a:cubicBezTo>
                    <a:cubicBezTo>
                      <a:pt x="16355" y="1577"/>
                      <a:pt x="11212" y="-1114"/>
                      <a:pt x="6368" y="441"/>
                    </a:cubicBezTo>
                    <a:close/>
                  </a:path>
                </a:pathLst>
              </a:custGeom>
              <a:grpFill/>
              <a:ln w="5978" cap="flat">
                <a:noFill/>
                <a:prstDash val="solid"/>
                <a:miter/>
              </a:ln>
            </p:spPr>
            <p:txBody>
              <a:bodyPr rtlCol="0" anchor="ctr"/>
              <a:lstStyle/>
              <a:p>
                <a:endParaRPr lang="en-GB"/>
              </a:p>
            </p:txBody>
          </p:sp>
        </p:grpSp>
        <p:grpSp>
          <p:nvGrpSpPr>
            <p:cNvPr id="94" name="Graphic 3">
              <a:extLst>
                <a:ext uri="{FF2B5EF4-FFF2-40B4-BE49-F238E27FC236}">
                  <a16:creationId xmlns:a16="http://schemas.microsoft.com/office/drawing/2014/main" id="{203C6484-033E-461F-ADBD-4DAC466937EC}"/>
                </a:ext>
              </a:extLst>
            </p:cNvPr>
            <p:cNvGrpSpPr/>
            <p:nvPr/>
          </p:nvGrpSpPr>
          <p:grpSpPr>
            <a:xfrm>
              <a:off x="7928101" y="3280742"/>
              <a:ext cx="30847" cy="19244"/>
              <a:chOff x="7928101" y="3280742"/>
              <a:chExt cx="30847" cy="19244"/>
            </a:xfrm>
            <a:grpFill/>
          </p:grpSpPr>
          <p:sp>
            <p:nvSpPr>
              <p:cNvPr id="5092" name="Vrije vorm: vorm 5091">
                <a:extLst>
                  <a:ext uri="{FF2B5EF4-FFF2-40B4-BE49-F238E27FC236}">
                    <a16:creationId xmlns:a16="http://schemas.microsoft.com/office/drawing/2014/main" id="{43C14F1F-95F5-4B43-A40A-44B73B88EE67}"/>
                  </a:ext>
                </a:extLst>
              </p:cNvPr>
              <p:cNvSpPr/>
              <p:nvPr/>
            </p:nvSpPr>
            <p:spPr>
              <a:xfrm>
                <a:off x="7936737" y="3288420"/>
                <a:ext cx="13636" cy="3947"/>
              </a:xfrm>
              <a:custGeom>
                <a:avLst/>
                <a:gdLst>
                  <a:gd name="connsiteX0" fmla="*/ 13457 w 13636"/>
                  <a:gd name="connsiteY0" fmla="*/ 0 h 3947"/>
                  <a:gd name="connsiteX1" fmla="*/ 13636 w 13636"/>
                  <a:gd name="connsiteY1" fmla="*/ 3050 h 3947"/>
                  <a:gd name="connsiteX2" fmla="*/ 239 w 13636"/>
                  <a:gd name="connsiteY2" fmla="*/ 3947 h 3947"/>
                  <a:gd name="connsiteX3" fmla="*/ 0 w 13636"/>
                  <a:gd name="connsiteY3" fmla="*/ 897 h 3947"/>
                </a:gdLst>
                <a:ahLst/>
                <a:cxnLst>
                  <a:cxn ang="0">
                    <a:pos x="connsiteX0" y="connsiteY0"/>
                  </a:cxn>
                  <a:cxn ang="0">
                    <a:pos x="connsiteX1" y="connsiteY1"/>
                  </a:cxn>
                  <a:cxn ang="0">
                    <a:pos x="connsiteX2" y="connsiteY2"/>
                  </a:cxn>
                  <a:cxn ang="0">
                    <a:pos x="connsiteX3" y="connsiteY3"/>
                  </a:cxn>
                </a:cxnLst>
                <a:rect l="l" t="t" r="r" b="b"/>
                <a:pathLst>
                  <a:path w="13636" h="3947">
                    <a:moveTo>
                      <a:pt x="13457" y="0"/>
                    </a:moveTo>
                    <a:lnTo>
                      <a:pt x="13636" y="3050"/>
                    </a:lnTo>
                    <a:lnTo>
                      <a:pt x="239" y="3947"/>
                    </a:lnTo>
                    <a:lnTo>
                      <a:pt x="0" y="897"/>
                    </a:lnTo>
                    <a:close/>
                  </a:path>
                </a:pathLst>
              </a:custGeom>
              <a:grpFill/>
              <a:ln w="5978" cap="flat">
                <a:noFill/>
                <a:prstDash val="solid"/>
                <a:miter/>
              </a:ln>
            </p:spPr>
            <p:txBody>
              <a:bodyPr rtlCol="0" anchor="ctr"/>
              <a:lstStyle/>
              <a:p>
                <a:endParaRPr lang="en-GB"/>
              </a:p>
            </p:txBody>
          </p:sp>
          <p:sp>
            <p:nvSpPr>
              <p:cNvPr id="5093" name="Vrije vorm: vorm 5092">
                <a:extLst>
                  <a:ext uri="{FF2B5EF4-FFF2-40B4-BE49-F238E27FC236}">
                    <a16:creationId xmlns:a16="http://schemas.microsoft.com/office/drawing/2014/main" id="{C8A3204F-2A77-46C0-AB1F-98AEBC450312}"/>
                  </a:ext>
                </a:extLst>
              </p:cNvPr>
              <p:cNvSpPr/>
              <p:nvPr/>
            </p:nvSpPr>
            <p:spPr>
              <a:xfrm>
                <a:off x="7928101" y="3281579"/>
                <a:ext cx="18347" cy="18406"/>
              </a:xfrm>
              <a:custGeom>
                <a:avLst/>
                <a:gdLst>
                  <a:gd name="connsiteX0" fmla="*/ 9832 w 18347"/>
                  <a:gd name="connsiteY0" fmla="*/ 18384 h 18406"/>
                  <a:gd name="connsiteX1" fmla="*/ 23 w 18347"/>
                  <a:gd name="connsiteY1" fmla="*/ 9831 h 18406"/>
                  <a:gd name="connsiteX2" fmla="*/ 8516 w 18347"/>
                  <a:gd name="connsiteY2" fmla="*/ 23 h 18406"/>
                  <a:gd name="connsiteX3" fmla="*/ 18324 w 18347"/>
                  <a:gd name="connsiteY3" fmla="*/ 8576 h 18406"/>
                  <a:gd name="connsiteX4" fmla="*/ 9832 w 18347"/>
                  <a:gd name="connsiteY4" fmla="*/ 18384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6">
                    <a:moveTo>
                      <a:pt x="9832" y="18384"/>
                    </a:moveTo>
                    <a:cubicBezTo>
                      <a:pt x="4807" y="18743"/>
                      <a:pt x="382" y="14855"/>
                      <a:pt x="23" y="9831"/>
                    </a:cubicBezTo>
                    <a:cubicBezTo>
                      <a:pt x="-336" y="4808"/>
                      <a:pt x="3492" y="382"/>
                      <a:pt x="8516" y="23"/>
                    </a:cubicBezTo>
                    <a:cubicBezTo>
                      <a:pt x="13540" y="-336"/>
                      <a:pt x="17966" y="3552"/>
                      <a:pt x="18324" y="8576"/>
                    </a:cubicBezTo>
                    <a:cubicBezTo>
                      <a:pt x="18683" y="13659"/>
                      <a:pt x="14915" y="18085"/>
                      <a:pt x="9832" y="18384"/>
                    </a:cubicBezTo>
                    <a:close/>
                  </a:path>
                </a:pathLst>
              </a:custGeom>
              <a:grpFill/>
              <a:ln w="5978" cap="flat">
                <a:noFill/>
                <a:prstDash val="solid"/>
                <a:miter/>
              </a:ln>
            </p:spPr>
            <p:txBody>
              <a:bodyPr rtlCol="0" anchor="ctr"/>
              <a:lstStyle/>
              <a:p>
                <a:endParaRPr lang="en-GB"/>
              </a:p>
            </p:txBody>
          </p:sp>
          <p:sp>
            <p:nvSpPr>
              <p:cNvPr id="5094" name="Vrije vorm: vorm 5093">
                <a:extLst>
                  <a:ext uri="{FF2B5EF4-FFF2-40B4-BE49-F238E27FC236}">
                    <a16:creationId xmlns:a16="http://schemas.microsoft.com/office/drawing/2014/main" id="{4C3C3967-CD1C-464C-9E95-A72F04E7E4CB}"/>
                  </a:ext>
                </a:extLst>
              </p:cNvPr>
              <p:cNvSpPr/>
              <p:nvPr/>
            </p:nvSpPr>
            <p:spPr>
              <a:xfrm>
                <a:off x="7940601" y="3280742"/>
                <a:ext cx="18347" cy="18407"/>
              </a:xfrm>
              <a:custGeom>
                <a:avLst/>
                <a:gdLst>
                  <a:gd name="connsiteX0" fmla="*/ 9832 w 18347"/>
                  <a:gd name="connsiteY0" fmla="*/ 18384 h 18407"/>
                  <a:gd name="connsiteX1" fmla="*/ 18325 w 18347"/>
                  <a:gd name="connsiteY1" fmla="*/ 8576 h 18407"/>
                  <a:gd name="connsiteX2" fmla="*/ 8516 w 18347"/>
                  <a:gd name="connsiteY2" fmla="*/ 23 h 18407"/>
                  <a:gd name="connsiteX3" fmla="*/ 23 w 18347"/>
                  <a:gd name="connsiteY3" fmla="*/ 9832 h 18407"/>
                  <a:gd name="connsiteX4" fmla="*/ 9832 w 18347"/>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9832" y="18384"/>
                    </a:moveTo>
                    <a:cubicBezTo>
                      <a:pt x="14855" y="18025"/>
                      <a:pt x="18683" y="13659"/>
                      <a:pt x="18325" y="8576"/>
                    </a:cubicBezTo>
                    <a:cubicBezTo>
                      <a:pt x="17966" y="3492"/>
                      <a:pt x="13600" y="-336"/>
                      <a:pt x="8516" y="23"/>
                    </a:cubicBezTo>
                    <a:cubicBezTo>
                      <a:pt x="3492" y="382"/>
                      <a:pt x="-336" y="4748"/>
                      <a:pt x="23" y="9832"/>
                    </a:cubicBezTo>
                    <a:cubicBezTo>
                      <a:pt x="442" y="14915"/>
                      <a:pt x="4808" y="18743"/>
                      <a:pt x="9832" y="18384"/>
                    </a:cubicBezTo>
                    <a:close/>
                  </a:path>
                </a:pathLst>
              </a:custGeom>
              <a:grpFill/>
              <a:ln w="5978" cap="flat">
                <a:noFill/>
                <a:prstDash val="solid"/>
                <a:miter/>
              </a:ln>
            </p:spPr>
            <p:txBody>
              <a:bodyPr rtlCol="0" anchor="ctr"/>
              <a:lstStyle/>
              <a:p>
                <a:endParaRPr lang="en-GB"/>
              </a:p>
            </p:txBody>
          </p:sp>
        </p:grpSp>
        <p:grpSp>
          <p:nvGrpSpPr>
            <p:cNvPr id="95" name="Graphic 3">
              <a:extLst>
                <a:ext uri="{FF2B5EF4-FFF2-40B4-BE49-F238E27FC236}">
                  <a16:creationId xmlns:a16="http://schemas.microsoft.com/office/drawing/2014/main" id="{ABD83C8E-CB18-4C05-A78D-341CAD101516}"/>
                </a:ext>
              </a:extLst>
            </p:cNvPr>
            <p:cNvGrpSpPr/>
            <p:nvPr/>
          </p:nvGrpSpPr>
          <p:grpSpPr>
            <a:xfrm>
              <a:off x="7952276" y="3315084"/>
              <a:ext cx="33752" cy="19104"/>
              <a:chOff x="7952276" y="3315084"/>
              <a:chExt cx="33752" cy="19104"/>
            </a:xfrm>
            <a:grpFill/>
          </p:grpSpPr>
          <p:sp>
            <p:nvSpPr>
              <p:cNvPr id="5089" name="Vrije vorm: vorm 5088">
                <a:extLst>
                  <a:ext uri="{FF2B5EF4-FFF2-40B4-BE49-F238E27FC236}">
                    <a16:creationId xmlns:a16="http://schemas.microsoft.com/office/drawing/2014/main" id="{D8A3806B-D187-4C5F-A835-9FB5035D78C5}"/>
                  </a:ext>
                </a:extLst>
              </p:cNvPr>
              <p:cNvSpPr/>
              <p:nvPr/>
            </p:nvSpPr>
            <p:spPr>
              <a:xfrm>
                <a:off x="7960899" y="3322749"/>
                <a:ext cx="16506" cy="3827"/>
              </a:xfrm>
              <a:custGeom>
                <a:avLst/>
                <a:gdLst>
                  <a:gd name="connsiteX0" fmla="*/ 16387 w 16506"/>
                  <a:gd name="connsiteY0" fmla="*/ 0 h 3827"/>
                  <a:gd name="connsiteX1" fmla="*/ 16507 w 16506"/>
                  <a:gd name="connsiteY1" fmla="*/ 3050 h 3827"/>
                  <a:gd name="connsiteX2" fmla="*/ 180 w 16506"/>
                  <a:gd name="connsiteY2" fmla="*/ 3828 h 3827"/>
                  <a:gd name="connsiteX3" fmla="*/ 0 w 16506"/>
                  <a:gd name="connsiteY3" fmla="*/ 778 h 3827"/>
                </a:gdLst>
                <a:ahLst/>
                <a:cxnLst>
                  <a:cxn ang="0">
                    <a:pos x="connsiteX0" y="connsiteY0"/>
                  </a:cxn>
                  <a:cxn ang="0">
                    <a:pos x="connsiteX1" y="connsiteY1"/>
                  </a:cxn>
                  <a:cxn ang="0">
                    <a:pos x="connsiteX2" y="connsiteY2"/>
                  </a:cxn>
                  <a:cxn ang="0">
                    <a:pos x="connsiteX3" y="connsiteY3"/>
                  </a:cxn>
                </a:cxnLst>
                <a:rect l="l" t="t" r="r" b="b"/>
                <a:pathLst>
                  <a:path w="16506" h="3827">
                    <a:moveTo>
                      <a:pt x="16387" y="0"/>
                    </a:moveTo>
                    <a:lnTo>
                      <a:pt x="16507" y="3050"/>
                    </a:lnTo>
                    <a:lnTo>
                      <a:pt x="180" y="3828"/>
                    </a:lnTo>
                    <a:lnTo>
                      <a:pt x="0" y="778"/>
                    </a:lnTo>
                    <a:close/>
                  </a:path>
                </a:pathLst>
              </a:custGeom>
              <a:grpFill/>
              <a:ln w="5978" cap="flat">
                <a:noFill/>
                <a:prstDash val="solid"/>
                <a:miter/>
              </a:ln>
            </p:spPr>
            <p:txBody>
              <a:bodyPr rtlCol="0" anchor="ctr"/>
              <a:lstStyle/>
              <a:p>
                <a:endParaRPr lang="en-GB"/>
              </a:p>
            </p:txBody>
          </p:sp>
          <p:sp>
            <p:nvSpPr>
              <p:cNvPr id="5090" name="Vrije vorm: vorm 5089">
                <a:extLst>
                  <a:ext uri="{FF2B5EF4-FFF2-40B4-BE49-F238E27FC236}">
                    <a16:creationId xmlns:a16="http://schemas.microsoft.com/office/drawing/2014/main" id="{5CBC5A68-7267-45B1-94ED-DE5612161FFA}"/>
                  </a:ext>
                </a:extLst>
              </p:cNvPr>
              <p:cNvSpPr/>
              <p:nvPr/>
            </p:nvSpPr>
            <p:spPr>
              <a:xfrm>
                <a:off x="7967706" y="3315084"/>
                <a:ext cx="18321" cy="18381"/>
              </a:xfrm>
              <a:custGeom>
                <a:avLst/>
                <a:gdLst>
                  <a:gd name="connsiteX0" fmla="*/ 8682 w 18321"/>
                  <a:gd name="connsiteY0" fmla="*/ 10 h 18381"/>
                  <a:gd name="connsiteX1" fmla="*/ 18311 w 18321"/>
                  <a:gd name="connsiteY1" fmla="*/ 8742 h 18381"/>
                  <a:gd name="connsiteX2" fmla="*/ 9639 w 18321"/>
                  <a:gd name="connsiteY2" fmla="*/ 18371 h 18381"/>
                  <a:gd name="connsiteX3" fmla="*/ 10 w 18321"/>
                  <a:gd name="connsiteY3" fmla="*/ 9640 h 18381"/>
                  <a:gd name="connsiteX4" fmla="*/ 8682 w 18321"/>
                  <a:gd name="connsiteY4" fmla="*/ 10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8682" y="10"/>
                    </a:moveTo>
                    <a:cubicBezTo>
                      <a:pt x="13706" y="-229"/>
                      <a:pt x="18072" y="3659"/>
                      <a:pt x="18311" y="8742"/>
                    </a:cubicBezTo>
                    <a:cubicBezTo>
                      <a:pt x="18551" y="13826"/>
                      <a:pt x="14663" y="18132"/>
                      <a:pt x="9639" y="18371"/>
                    </a:cubicBezTo>
                    <a:cubicBezTo>
                      <a:pt x="4556" y="18611"/>
                      <a:pt x="249" y="14663"/>
                      <a:pt x="10" y="9640"/>
                    </a:cubicBezTo>
                    <a:cubicBezTo>
                      <a:pt x="-229" y="4556"/>
                      <a:pt x="3659" y="250"/>
                      <a:pt x="8682" y="10"/>
                    </a:cubicBezTo>
                    <a:close/>
                  </a:path>
                </a:pathLst>
              </a:custGeom>
              <a:grpFill/>
              <a:ln w="5978" cap="flat">
                <a:noFill/>
                <a:prstDash val="solid"/>
                <a:miter/>
              </a:ln>
            </p:spPr>
            <p:txBody>
              <a:bodyPr rtlCol="0" anchor="ctr"/>
              <a:lstStyle/>
              <a:p>
                <a:endParaRPr lang="en-GB"/>
              </a:p>
            </p:txBody>
          </p:sp>
          <p:sp>
            <p:nvSpPr>
              <p:cNvPr id="5091" name="Vrije vorm: vorm 5090">
                <a:extLst>
                  <a:ext uri="{FF2B5EF4-FFF2-40B4-BE49-F238E27FC236}">
                    <a16:creationId xmlns:a16="http://schemas.microsoft.com/office/drawing/2014/main" id="{9600C9F8-7AA6-4626-B2D6-B72233E714F1}"/>
                  </a:ext>
                </a:extLst>
              </p:cNvPr>
              <p:cNvSpPr/>
              <p:nvPr/>
            </p:nvSpPr>
            <p:spPr>
              <a:xfrm>
                <a:off x="7952276" y="3315801"/>
                <a:ext cx="18322" cy="18387"/>
              </a:xfrm>
              <a:custGeom>
                <a:avLst/>
                <a:gdLst>
                  <a:gd name="connsiteX0" fmla="*/ 8683 w 18322"/>
                  <a:gd name="connsiteY0" fmla="*/ 10 h 18387"/>
                  <a:gd name="connsiteX1" fmla="*/ 11 w 18322"/>
                  <a:gd name="connsiteY1" fmla="*/ 9639 h 18387"/>
                  <a:gd name="connsiteX2" fmla="*/ 9640 w 18322"/>
                  <a:gd name="connsiteY2" fmla="*/ 18371 h 18387"/>
                  <a:gd name="connsiteX3" fmla="*/ 18312 w 18322"/>
                  <a:gd name="connsiteY3" fmla="*/ 8742 h 18387"/>
                  <a:gd name="connsiteX4" fmla="*/ 8683 w 18322"/>
                  <a:gd name="connsiteY4" fmla="*/ 1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87">
                    <a:moveTo>
                      <a:pt x="8683" y="10"/>
                    </a:moveTo>
                    <a:cubicBezTo>
                      <a:pt x="3600" y="250"/>
                      <a:pt x="-228" y="4556"/>
                      <a:pt x="11" y="9639"/>
                    </a:cubicBezTo>
                    <a:cubicBezTo>
                      <a:pt x="250" y="14723"/>
                      <a:pt x="4556" y="18670"/>
                      <a:pt x="9640" y="18371"/>
                    </a:cubicBezTo>
                    <a:cubicBezTo>
                      <a:pt x="14664" y="18132"/>
                      <a:pt x="18551" y="13826"/>
                      <a:pt x="18312" y="8742"/>
                    </a:cubicBezTo>
                    <a:cubicBezTo>
                      <a:pt x="18072" y="3719"/>
                      <a:pt x="13767" y="-229"/>
                      <a:pt x="8683" y="10"/>
                    </a:cubicBezTo>
                    <a:close/>
                  </a:path>
                </a:pathLst>
              </a:custGeom>
              <a:grpFill/>
              <a:ln w="5978" cap="flat">
                <a:noFill/>
                <a:prstDash val="solid"/>
                <a:miter/>
              </a:ln>
            </p:spPr>
            <p:txBody>
              <a:bodyPr rtlCol="0" anchor="ctr"/>
              <a:lstStyle/>
              <a:p>
                <a:endParaRPr lang="en-GB"/>
              </a:p>
            </p:txBody>
          </p:sp>
        </p:grpSp>
        <p:grpSp>
          <p:nvGrpSpPr>
            <p:cNvPr id="96" name="Graphic 3">
              <a:extLst>
                <a:ext uri="{FF2B5EF4-FFF2-40B4-BE49-F238E27FC236}">
                  <a16:creationId xmlns:a16="http://schemas.microsoft.com/office/drawing/2014/main" id="{91DF6AFD-D466-408F-9841-4281DCAC84F2}"/>
                </a:ext>
              </a:extLst>
            </p:cNvPr>
            <p:cNvGrpSpPr/>
            <p:nvPr/>
          </p:nvGrpSpPr>
          <p:grpSpPr>
            <a:xfrm>
              <a:off x="7738051" y="3326930"/>
              <a:ext cx="474402" cy="35357"/>
              <a:chOff x="7738051" y="3326930"/>
              <a:chExt cx="474402" cy="35357"/>
            </a:xfrm>
            <a:grpFill/>
          </p:grpSpPr>
          <p:sp>
            <p:nvSpPr>
              <p:cNvPr id="5086" name="Vrije vorm: vorm 5085">
                <a:extLst>
                  <a:ext uri="{FF2B5EF4-FFF2-40B4-BE49-F238E27FC236}">
                    <a16:creationId xmlns:a16="http://schemas.microsoft.com/office/drawing/2014/main" id="{1F110171-D57F-4783-A870-E8A44363D4A3}"/>
                  </a:ext>
                </a:extLst>
              </p:cNvPr>
              <p:cNvSpPr/>
              <p:nvPr/>
            </p:nvSpPr>
            <p:spPr>
              <a:xfrm>
                <a:off x="7746729" y="3334591"/>
                <a:ext cx="457106" cy="20035"/>
              </a:xfrm>
              <a:custGeom>
                <a:avLst/>
                <a:gdLst>
                  <a:gd name="connsiteX0" fmla="*/ 457107 w 457106"/>
                  <a:gd name="connsiteY0" fmla="*/ 16985 h 20035"/>
                  <a:gd name="connsiteX1" fmla="*/ 456987 w 457106"/>
                  <a:gd name="connsiteY1" fmla="*/ 20035 h 20035"/>
                  <a:gd name="connsiteX2" fmla="*/ 0 w 457106"/>
                  <a:gd name="connsiteY2" fmla="*/ 3050 h 20035"/>
                  <a:gd name="connsiteX3" fmla="*/ 60 w 457106"/>
                  <a:gd name="connsiteY3" fmla="*/ 0 h 20035"/>
                </a:gdLst>
                <a:ahLst/>
                <a:cxnLst>
                  <a:cxn ang="0">
                    <a:pos x="connsiteX0" y="connsiteY0"/>
                  </a:cxn>
                  <a:cxn ang="0">
                    <a:pos x="connsiteX1" y="connsiteY1"/>
                  </a:cxn>
                  <a:cxn ang="0">
                    <a:pos x="connsiteX2" y="connsiteY2"/>
                  </a:cxn>
                  <a:cxn ang="0">
                    <a:pos x="connsiteX3" y="connsiteY3"/>
                  </a:cxn>
                </a:cxnLst>
                <a:rect l="l" t="t" r="r" b="b"/>
                <a:pathLst>
                  <a:path w="457106" h="20035">
                    <a:moveTo>
                      <a:pt x="457107" y="16985"/>
                    </a:moveTo>
                    <a:lnTo>
                      <a:pt x="456987" y="20035"/>
                    </a:lnTo>
                    <a:lnTo>
                      <a:pt x="0" y="3050"/>
                    </a:lnTo>
                    <a:lnTo>
                      <a:pt x="60" y="0"/>
                    </a:lnTo>
                    <a:close/>
                  </a:path>
                </a:pathLst>
              </a:custGeom>
              <a:grpFill/>
              <a:ln w="5978" cap="flat">
                <a:noFill/>
                <a:prstDash val="solid"/>
                <a:miter/>
              </a:ln>
            </p:spPr>
            <p:txBody>
              <a:bodyPr rtlCol="0" anchor="ctr"/>
              <a:lstStyle/>
              <a:p>
                <a:endParaRPr lang="en-GB"/>
              </a:p>
            </p:txBody>
          </p:sp>
          <p:sp>
            <p:nvSpPr>
              <p:cNvPr id="5087" name="Vrije vorm: vorm 5086">
                <a:extLst>
                  <a:ext uri="{FF2B5EF4-FFF2-40B4-BE49-F238E27FC236}">
                    <a16:creationId xmlns:a16="http://schemas.microsoft.com/office/drawing/2014/main" id="{FD84AE0A-4F69-4936-9470-CC8E66F45638}"/>
                  </a:ext>
                </a:extLst>
              </p:cNvPr>
              <p:cNvSpPr/>
              <p:nvPr/>
            </p:nvSpPr>
            <p:spPr>
              <a:xfrm>
                <a:off x="7738051" y="3326930"/>
                <a:ext cx="18312" cy="18432"/>
              </a:xfrm>
              <a:custGeom>
                <a:avLst/>
                <a:gdLst>
                  <a:gd name="connsiteX0" fmla="*/ 8857 w 18312"/>
                  <a:gd name="connsiteY0" fmla="*/ 18426 h 18432"/>
                  <a:gd name="connsiteX1" fmla="*/ 6 w 18312"/>
                  <a:gd name="connsiteY1" fmla="*/ 8857 h 18432"/>
                  <a:gd name="connsiteX2" fmla="*/ 9455 w 18312"/>
                  <a:gd name="connsiteY2" fmla="*/ 6 h 18432"/>
                  <a:gd name="connsiteX3" fmla="*/ 18307 w 18312"/>
                  <a:gd name="connsiteY3" fmla="*/ 9575 h 18432"/>
                  <a:gd name="connsiteX4" fmla="*/ 8857 w 18312"/>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8857" y="18426"/>
                    </a:moveTo>
                    <a:cubicBezTo>
                      <a:pt x="3774" y="18247"/>
                      <a:pt x="-174" y="13941"/>
                      <a:pt x="6" y="8857"/>
                    </a:cubicBezTo>
                    <a:cubicBezTo>
                      <a:pt x="185" y="3774"/>
                      <a:pt x="4432" y="-174"/>
                      <a:pt x="9455" y="6"/>
                    </a:cubicBezTo>
                    <a:cubicBezTo>
                      <a:pt x="14539" y="185"/>
                      <a:pt x="18486" y="4491"/>
                      <a:pt x="18307" y="9575"/>
                    </a:cubicBezTo>
                    <a:cubicBezTo>
                      <a:pt x="18188" y="14659"/>
                      <a:pt x="13941" y="18606"/>
                      <a:pt x="8857" y="18426"/>
                    </a:cubicBezTo>
                    <a:close/>
                  </a:path>
                </a:pathLst>
              </a:custGeom>
              <a:grpFill/>
              <a:ln w="5978" cap="flat">
                <a:noFill/>
                <a:prstDash val="solid"/>
                <a:miter/>
              </a:ln>
            </p:spPr>
            <p:txBody>
              <a:bodyPr rtlCol="0" anchor="ctr"/>
              <a:lstStyle/>
              <a:p>
                <a:endParaRPr lang="en-GB"/>
              </a:p>
            </p:txBody>
          </p:sp>
          <p:sp>
            <p:nvSpPr>
              <p:cNvPr id="5088" name="Vrije vorm: vorm 5087">
                <a:extLst>
                  <a:ext uri="{FF2B5EF4-FFF2-40B4-BE49-F238E27FC236}">
                    <a16:creationId xmlns:a16="http://schemas.microsoft.com/office/drawing/2014/main" id="{E714B5E6-77CA-452A-847B-977974EC4518}"/>
                  </a:ext>
                </a:extLst>
              </p:cNvPr>
              <p:cNvSpPr/>
              <p:nvPr/>
            </p:nvSpPr>
            <p:spPr>
              <a:xfrm>
                <a:off x="8194141" y="3343856"/>
                <a:ext cx="18312" cy="18432"/>
              </a:xfrm>
              <a:custGeom>
                <a:avLst/>
                <a:gdLst>
                  <a:gd name="connsiteX0" fmla="*/ 8857 w 18312"/>
                  <a:gd name="connsiteY0" fmla="*/ 18427 h 18432"/>
                  <a:gd name="connsiteX1" fmla="*/ 18307 w 18312"/>
                  <a:gd name="connsiteY1" fmla="*/ 9575 h 18432"/>
                  <a:gd name="connsiteX2" fmla="*/ 9455 w 18312"/>
                  <a:gd name="connsiteY2" fmla="*/ 6 h 18432"/>
                  <a:gd name="connsiteX3" fmla="*/ 6 w 18312"/>
                  <a:gd name="connsiteY3" fmla="*/ 8857 h 18432"/>
                  <a:gd name="connsiteX4" fmla="*/ 8857 w 1831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8857" y="18427"/>
                    </a:moveTo>
                    <a:cubicBezTo>
                      <a:pt x="13941" y="18606"/>
                      <a:pt x="18128" y="14659"/>
                      <a:pt x="18307" y="9575"/>
                    </a:cubicBezTo>
                    <a:cubicBezTo>
                      <a:pt x="18486" y="4491"/>
                      <a:pt x="14480" y="245"/>
                      <a:pt x="9455" y="6"/>
                    </a:cubicBezTo>
                    <a:cubicBezTo>
                      <a:pt x="4372" y="-174"/>
                      <a:pt x="185" y="3774"/>
                      <a:pt x="6" y="8857"/>
                    </a:cubicBezTo>
                    <a:cubicBezTo>
                      <a:pt x="-174" y="13941"/>
                      <a:pt x="3774" y="18247"/>
                      <a:pt x="8857" y="18427"/>
                    </a:cubicBezTo>
                    <a:close/>
                  </a:path>
                </a:pathLst>
              </a:custGeom>
              <a:grpFill/>
              <a:ln w="5978" cap="flat">
                <a:noFill/>
                <a:prstDash val="solid"/>
                <a:miter/>
              </a:ln>
            </p:spPr>
            <p:txBody>
              <a:bodyPr rtlCol="0" anchor="ctr"/>
              <a:lstStyle/>
              <a:p>
                <a:endParaRPr lang="en-GB"/>
              </a:p>
            </p:txBody>
          </p:sp>
        </p:grpSp>
        <p:grpSp>
          <p:nvGrpSpPr>
            <p:cNvPr id="98" name="Graphic 3">
              <a:extLst>
                <a:ext uri="{FF2B5EF4-FFF2-40B4-BE49-F238E27FC236}">
                  <a16:creationId xmlns:a16="http://schemas.microsoft.com/office/drawing/2014/main" id="{02B5C88B-3873-43BA-9692-EE59F31F68A9}"/>
                </a:ext>
              </a:extLst>
            </p:cNvPr>
            <p:cNvGrpSpPr/>
            <p:nvPr/>
          </p:nvGrpSpPr>
          <p:grpSpPr>
            <a:xfrm>
              <a:off x="7602155" y="2719099"/>
              <a:ext cx="355893" cy="109598"/>
              <a:chOff x="7602155" y="2719099"/>
              <a:chExt cx="355893" cy="109598"/>
            </a:xfrm>
            <a:grpFill/>
          </p:grpSpPr>
          <p:sp>
            <p:nvSpPr>
              <p:cNvPr id="5083" name="Vrije vorm: vorm 5082">
                <a:extLst>
                  <a:ext uri="{FF2B5EF4-FFF2-40B4-BE49-F238E27FC236}">
                    <a16:creationId xmlns:a16="http://schemas.microsoft.com/office/drawing/2014/main" id="{6F714CD7-0C4D-435C-B764-F1B66334F869}"/>
                  </a:ext>
                </a:extLst>
              </p:cNvPr>
              <p:cNvSpPr/>
              <p:nvPr/>
            </p:nvSpPr>
            <p:spPr>
              <a:xfrm>
                <a:off x="7610194" y="2726445"/>
                <a:ext cx="339322" cy="94063"/>
              </a:xfrm>
              <a:custGeom>
                <a:avLst/>
                <a:gdLst>
                  <a:gd name="connsiteX0" fmla="*/ 0 w 339322"/>
                  <a:gd name="connsiteY0" fmla="*/ 91118 h 94063"/>
                  <a:gd name="connsiteX1" fmla="*/ 338529 w 339322"/>
                  <a:gd name="connsiteY1" fmla="*/ 0 h 94063"/>
                  <a:gd name="connsiteX2" fmla="*/ 339322 w 339322"/>
                  <a:gd name="connsiteY2" fmla="*/ 2945 h 94063"/>
                  <a:gd name="connsiteX3" fmla="*/ 793 w 339322"/>
                  <a:gd name="connsiteY3" fmla="*/ 94064 h 94063"/>
                </a:gdLst>
                <a:ahLst/>
                <a:cxnLst>
                  <a:cxn ang="0">
                    <a:pos x="connsiteX0" y="connsiteY0"/>
                  </a:cxn>
                  <a:cxn ang="0">
                    <a:pos x="connsiteX1" y="connsiteY1"/>
                  </a:cxn>
                  <a:cxn ang="0">
                    <a:pos x="connsiteX2" y="connsiteY2"/>
                  </a:cxn>
                  <a:cxn ang="0">
                    <a:pos x="connsiteX3" y="connsiteY3"/>
                  </a:cxn>
                </a:cxnLst>
                <a:rect l="l" t="t" r="r" b="b"/>
                <a:pathLst>
                  <a:path w="339322" h="94063">
                    <a:moveTo>
                      <a:pt x="0" y="91118"/>
                    </a:moveTo>
                    <a:lnTo>
                      <a:pt x="338529" y="0"/>
                    </a:lnTo>
                    <a:lnTo>
                      <a:pt x="339322" y="2945"/>
                    </a:lnTo>
                    <a:lnTo>
                      <a:pt x="793" y="94064"/>
                    </a:lnTo>
                    <a:close/>
                  </a:path>
                </a:pathLst>
              </a:custGeom>
              <a:grpFill/>
              <a:ln w="5978" cap="flat">
                <a:noFill/>
                <a:prstDash val="solid"/>
                <a:miter/>
              </a:ln>
            </p:spPr>
            <p:txBody>
              <a:bodyPr rtlCol="0" anchor="ctr"/>
              <a:lstStyle/>
              <a:p>
                <a:endParaRPr lang="en-GB"/>
              </a:p>
            </p:txBody>
          </p:sp>
          <p:sp>
            <p:nvSpPr>
              <p:cNvPr id="5084" name="Vrije vorm: vorm 5083">
                <a:extLst>
                  <a:ext uri="{FF2B5EF4-FFF2-40B4-BE49-F238E27FC236}">
                    <a16:creationId xmlns:a16="http://schemas.microsoft.com/office/drawing/2014/main" id="{E63B50A6-318E-4F86-B47F-EECB7842F0ED}"/>
                  </a:ext>
                </a:extLst>
              </p:cNvPr>
              <p:cNvSpPr/>
              <p:nvPr/>
            </p:nvSpPr>
            <p:spPr>
              <a:xfrm>
                <a:off x="7602155" y="2810246"/>
                <a:ext cx="18317" cy="18452"/>
              </a:xfrm>
              <a:custGeom>
                <a:avLst/>
                <a:gdLst>
                  <a:gd name="connsiteX0" fmla="*/ 11563 w 18317"/>
                  <a:gd name="connsiteY0" fmla="*/ 18137 h 18452"/>
                  <a:gd name="connsiteX1" fmla="*/ 319 w 18317"/>
                  <a:gd name="connsiteY1" fmla="*/ 11618 h 18452"/>
                  <a:gd name="connsiteX2" fmla="*/ 6779 w 18317"/>
                  <a:gd name="connsiteY2" fmla="*/ 315 h 18452"/>
                  <a:gd name="connsiteX3" fmla="*/ 18022 w 18317"/>
                  <a:gd name="connsiteY3" fmla="*/ 6834 h 18452"/>
                  <a:gd name="connsiteX4" fmla="*/ 11563 w 18317"/>
                  <a:gd name="connsiteY4" fmla="*/ 181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2">
                    <a:moveTo>
                      <a:pt x="11563" y="18137"/>
                    </a:moveTo>
                    <a:cubicBezTo>
                      <a:pt x="6659" y="19453"/>
                      <a:pt x="1635" y="16523"/>
                      <a:pt x="319" y="11618"/>
                    </a:cubicBezTo>
                    <a:cubicBezTo>
                      <a:pt x="-997" y="6714"/>
                      <a:pt x="1874" y="1631"/>
                      <a:pt x="6779" y="315"/>
                    </a:cubicBezTo>
                    <a:cubicBezTo>
                      <a:pt x="11683" y="-1001"/>
                      <a:pt x="16706" y="1930"/>
                      <a:pt x="18022" y="6834"/>
                    </a:cubicBezTo>
                    <a:cubicBezTo>
                      <a:pt x="19278" y="11798"/>
                      <a:pt x="16408" y="16821"/>
                      <a:pt x="11563" y="18137"/>
                    </a:cubicBezTo>
                    <a:close/>
                  </a:path>
                </a:pathLst>
              </a:custGeom>
              <a:grpFill/>
              <a:ln w="5978" cap="flat">
                <a:noFill/>
                <a:prstDash val="solid"/>
                <a:miter/>
              </a:ln>
            </p:spPr>
            <p:txBody>
              <a:bodyPr rtlCol="0" anchor="ctr"/>
              <a:lstStyle/>
              <a:p>
                <a:endParaRPr lang="en-GB"/>
              </a:p>
            </p:txBody>
          </p:sp>
          <p:sp>
            <p:nvSpPr>
              <p:cNvPr id="5085" name="Vrije vorm: vorm 5084">
                <a:extLst>
                  <a:ext uri="{FF2B5EF4-FFF2-40B4-BE49-F238E27FC236}">
                    <a16:creationId xmlns:a16="http://schemas.microsoft.com/office/drawing/2014/main" id="{0B1AF42C-8FE3-4D5F-8BCA-B4A6D3871F30}"/>
                  </a:ext>
                </a:extLst>
              </p:cNvPr>
              <p:cNvSpPr/>
              <p:nvPr/>
            </p:nvSpPr>
            <p:spPr>
              <a:xfrm>
                <a:off x="7939707" y="2719099"/>
                <a:ext cx="18340" cy="18456"/>
              </a:xfrm>
              <a:custGeom>
                <a:avLst/>
                <a:gdLst>
                  <a:gd name="connsiteX0" fmla="*/ 11563 w 18340"/>
                  <a:gd name="connsiteY0" fmla="*/ 18137 h 18456"/>
                  <a:gd name="connsiteX1" fmla="*/ 18022 w 18340"/>
                  <a:gd name="connsiteY1" fmla="*/ 6834 h 18456"/>
                  <a:gd name="connsiteX2" fmla="*/ 6778 w 18340"/>
                  <a:gd name="connsiteY2" fmla="*/ 315 h 18456"/>
                  <a:gd name="connsiteX3" fmla="*/ 319 w 18340"/>
                  <a:gd name="connsiteY3" fmla="*/ 11618 h 18456"/>
                  <a:gd name="connsiteX4" fmla="*/ 11563 w 18340"/>
                  <a:gd name="connsiteY4" fmla="*/ 1813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56">
                    <a:moveTo>
                      <a:pt x="11563" y="18137"/>
                    </a:moveTo>
                    <a:cubicBezTo>
                      <a:pt x="16467" y="16822"/>
                      <a:pt x="19337" y="11738"/>
                      <a:pt x="18022" y="6834"/>
                    </a:cubicBezTo>
                    <a:cubicBezTo>
                      <a:pt x="16706" y="1930"/>
                      <a:pt x="11623" y="-1001"/>
                      <a:pt x="6778" y="315"/>
                    </a:cubicBezTo>
                    <a:cubicBezTo>
                      <a:pt x="1874" y="1631"/>
                      <a:pt x="-997" y="6714"/>
                      <a:pt x="319" y="11618"/>
                    </a:cubicBezTo>
                    <a:cubicBezTo>
                      <a:pt x="1635" y="16582"/>
                      <a:pt x="6658" y="19453"/>
                      <a:pt x="11563" y="18137"/>
                    </a:cubicBezTo>
                    <a:close/>
                  </a:path>
                </a:pathLst>
              </a:custGeom>
              <a:grpFill/>
              <a:ln w="5978" cap="flat">
                <a:noFill/>
                <a:prstDash val="solid"/>
                <a:miter/>
              </a:ln>
            </p:spPr>
            <p:txBody>
              <a:bodyPr rtlCol="0" anchor="ctr"/>
              <a:lstStyle/>
              <a:p>
                <a:endParaRPr lang="en-GB"/>
              </a:p>
            </p:txBody>
          </p:sp>
        </p:grpSp>
        <p:grpSp>
          <p:nvGrpSpPr>
            <p:cNvPr id="99" name="Graphic 3">
              <a:extLst>
                <a:ext uri="{FF2B5EF4-FFF2-40B4-BE49-F238E27FC236}">
                  <a16:creationId xmlns:a16="http://schemas.microsoft.com/office/drawing/2014/main" id="{C974A6D4-F965-4012-910C-48232D4D797A}"/>
                </a:ext>
              </a:extLst>
            </p:cNvPr>
            <p:cNvGrpSpPr/>
            <p:nvPr/>
          </p:nvGrpSpPr>
          <p:grpSpPr>
            <a:xfrm>
              <a:off x="7375720" y="2121379"/>
              <a:ext cx="452731" cy="297884"/>
              <a:chOff x="7375720" y="2121379"/>
              <a:chExt cx="452731" cy="297884"/>
            </a:xfrm>
            <a:grpFill/>
          </p:grpSpPr>
          <p:sp>
            <p:nvSpPr>
              <p:cNvPr id="5080" name="Vrije vorm: vorm 5079">
                <a:extLst>
                  <a:ext uri="{FF2B5EF4-FFF2-40B4-BE49-F238E27FC236}">
                    <a16:creationId xmlns:a16="http://schemas.microsoft.com/office/drawing/2014/main" id="{5E2EB155-BD00-4467-AA2B-47F97F40CAA8}"/>
                  </a:ext>
                </a:extLst>
              </p:cNvPr>
              <p:cNvSpPr/>
              <p:nvPr/>
            </p:nvSpPr>
            <p:spPr>
              <a:xfrm>
                <a:off x="7383699" y="2129057"/>
                <a:ext cx="436772" cy="282529"/>
              </a:xfrm>
              <a:custGeom>
                <a:avLst/>
                <a:gdLst>
                  <a:gd name="connsiteX0" fmla="*/ 436772 w 436772"/>
                  <a:gd name="connsiteY0" fmla="*/ 2572 h 282529"/>
                  <a:gd name="connsiteX1" fmla="*/ 1675 w 436772"/>
                  <a:gd name="connsiteY1" fmla="*/ 282529 h 282529"/>
                  <a:gd name="connsiteX2" fmla="*/ 0 w 436772"/>
                  <a:gd name="connsiteY2" fmla="*/ 279958 h 282529"/>
                  <a:gd name="connsiteX3" fmla="*/ 435157 w 436772"/>
                  <a:gd name="connsiteY3" fmla="*/ 0 h 282529"/>
                </a:gdLst>
                <a:ahLst/>
                <a:cxnLst>
                  <a:cxn ang="0">
                    <a:pos x="connsiteX0" y="connsiteY0"/>
                  </a:cxn>
                  <a:cxn ang="0">
                    <a:pos x="connsiteX1" y="connsiteY1"/>
                  </a:cxn>
                  <a:cxn ang="0">
                    <a:pos x="connsiteX2" y="connsiteY2"/>
                  </a:cxn>
                  <a:cxn ang="0">
                    <a:pos x="connsiteX3" y="connsiteY3"/>
                  </a:cxn>
                </a:cxnLst>
                <a:rect l="l" t="t" r="r" b="b"/>
                <a:pathLst>
                  <a:path w="436772" h="282529">
                    <a:moveTo>
                      <a:pt x="436772" y="2572"/>
                    </a:moveTo>
                    <a:lnTo>
                      <a:pt x="1675" y="282529"/>
                    </a:lnTo>
                    <a:lnTo>
                      <a:pt x="0" y="279958"/>
                    </a:lnTo>
                    <a:lnTo>
                      <a:pt x="435157" y="0"/>
                    </a:lnTo>
                    <a:close/>
                  </a:path>
                </a:pathLst>
              </a:custGeom>
              <a:grpFill/>
              <a:ln w="5978" cap="flat">
                <a:noFill/>
                <a:prstDash val="solid"/>
                <a:miter/>
              </a:ln>
            </p:spPr>
            <p:txBody>
              <a:bodyPr rtlCol="0" anchor="ctr"/>
              <a:lstStyle/>
              <a:p>
                <a:endParaRPr lang="en-GB"/>
              </a:p>
            </p:txBody>
          </p:sp>
          <p:sp>
            <p:nvSpPr>
              <p:cNvPr id="5081" name="Vrije vorm: vorm 5080">
                <a:extLst>
                  <a:ext uri="{FF2B5EF4-FFF2-40B4-BE49-F238E27FC236}">
                    <a16:creationId xmlns:a16="http://schemas.microsoft.com/office/drawing/2014/main" id="{3C555208-D2BD-4147-A47B-9E0AAB846E72}"/>
                  </a:ext>
                </a:extLst>
              </p:cNvPr>
              <p:cNvSpPr/>
              <p:nvPr/>
            </p:nvSpPr>
            <p:spPr>
              <a:xfrm>
                <a:off x="7375720" y="2400799"/>
                <a:ext cx="18351" cy="18465"/>
              </a:xfrm>
              <a:custGeom>
                <a:avLst/>
                <a:gdLst>
                  <a:gd name="connsiteX0" fmla="*/ 14140 w 18351"/>
                  <a:gd name="connsiteY0" fmla="*/ 17008 h 18465"/>
                  <a:gd name="connsiteX1" fmla="*/ 1461 w 18351"/>
                  <a:gd name="connsiteY1" fmla="*/ 14197 h 18465"/>
                  <a:gd name="connsiteX2" fmla="*/ 4212 w 18351"/>
                  <a:gd name="connsiteY2" fmla="*/ 1458 h 18465"/>
                  <a:gd name="connsiteX3" fmla="*/ 16891 w 18351"/>
                  <a:gd name="connsiteY3" fmla="*/ 4269 h 18465"/>
                  <a:gd name="connsiteX4" fmla="*/ 14140 w 18351"/>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14140" y="17008"/>
                    </a:moveTo>
                    <a:cubicBezTo>
                      <a:pt x="9893" y="19759"/>
                      <a:pt x="4212" y="18503"/>
                      <a:pt x="1461" y="14197"/>
                    </a:cubicBezTo>
                    <a:cubicBezTo>
                      <a:pt x="-1291" y="9891"/>
                      <a:pt x="-34" y="4209"/>
                      <a:pt x="4212" y="1458"/>
                    </a:cubicBezTo>
                    <a:cubicBezTo>
                      <a:pt x="8458" y="-1293"/>
                      <a:pt x="14140" y="-37"/>
                      <a:pt x="16891" y="4269"/>
                    </a:cubicBezTo>
                    <a:cubicBezTo>
                      <a:pt x="19642" y="8575"/>
                      <a:pt x="18386" y="14257"/>
                      <a:pt x="14140" y="17008"/>
                    </a:cubicBezTo>
                    <a:close/>
                  </a:path>
                </a:pathLst>
              </a:custGeom>
              <a:grpFill/>
              <a:ln w="5978" cap="flat">
                <a:noFill/>
                <a:prstDash val="solid"/>
                <a:miter/>
              </a:ln>
            </p:spPr>
            <p:txBody>
              <a:bodyPr rtlCol="0" anchor="ctr"/>
              <a:lstStyle/>
              <a:p>
                <a:endParaRPr lang="en-GB"/>
              </a:p>
            </p:txBody>
          </p:sp>
          <p:sp>
            <p:nvSpPr>
              <p:cNvPr id="5082" name="Vrije vorm: vorm 5081">
                <a:extLst>
                  <a:ext uri="{FF2B5EF4-FFF2-40B4-BE49-F238E27FC236}">
                    <a16:creationId xmlns:a16="http://schemas.microsoft.com/office/drawing/2014/main" id="{A291648F-BA5C-426E-96A0-2F142B0CE55F}"/>
                  </a:ext>
                </a:extLst>
              </p:cNvPr>
              <p:cNvSpPr/>
              <p:nvPr/>
            </p:nvSpPr>
            <p:spPr>
              <a:xfrm>
                <a:off x="7810099" y="2121379"/>
                <a:ext cx="18351" cy="18465"/>
              </a:xfrm>
              <a:custGeom>
                <a:avLst/>
                <a:gdLst>
                  <a:gd name="connsiteX0" fmla="*/ 14140 w 18351"/>
                  <a:gd name="connsiteY0" fmla="*/ 17008 h 18465"/>
                  <a:gd name="connsiteX1" fmla="*/ 16891 w 18351"/>
                  <a:gd name="connsiteY1" fmla="*/ 4269 h 18465"/>
                  <a:gd name="connsiteX2" fmla="*/ 4212 w 18351"/>
                  <a:gd name="connsiteY2" fmla="*/ 1458 h 18465"/>
                  <a:gd name="connsiteX3" fmla="*/ 1461 w 18351"/>
                  <a:gd name="connsiteY3" fmla="*/ 14197 h 18465"/>
                  <a:gd name="connsiteX4" fmla="*/ 14140 w 18351"/>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14140" y="17008"/>
                    </a:moveTo>
                    <a:cubicBezTo>
                      <a:pt x="18386" y="14257"/>
                      <a:pt x="19642" y="8575"/>
                      <a:pt x="16891" y="4269"/>
                    </a:cubicBezTo>
                    <a:cubicBezTo>
                      <a:pt x="14140" y="-37"/>
                      <a:pt x="8458" y="-1293"/>
                      <a:pt x="4212" y="1458"/>
                    </a:cubicBezTo>
                    <a:cubicBezTo>
                      <a:pt x="-34" y="4209"/>
                      <a:pt x="-1291" y="9891"/>
                      <a:pt x="1461" y="14197"/>
                    </a:cubicBezTo>
                    <a:cubicBezTo>
                      <a:pt x="4212" y="18503"/>
                      <a:pt x="9893" y="19759"/>
                      <a:pt x="14140" y="17008"/>
                    </a:cubicBezTo>
                    <a:close/>
                  </a:path>
                </a:pathLst>
              </a:custGeom>
              <a:grpFill/>
              <a:ln w="5978" cap="flat">
                <a:noFill/>
                <a:prstDash val="solid"/>
                <a:miter/>
              </a:ln>
            </p:spPr>
            <p:txBody>
              <a:bodyPr rtlCol="0" anchor="ctr"/>
              <a:lstStyle/>
              <a:p>
                <a:endParaRPr lang="en-GB"/>
              </a:p>
            </p:txBody>
          </p:sp>
        </p:grpSp>
        <p:grpSp>
          <p:nvGrpSpPr>
            <p:cNvPr id="100" name="Graphic 3">
              <a:extLst>
                <a:ext uri="{FF2B5EF4-FFF2-40B4-BE49-F238E27FC236}">
                  <a16:creationId xmlns:a16="http://schemas.microsoft.com/office/drawing/2014/main" id="{A1A29C6B-C2B1-413E-A53A-C0683BBCBC45}"/>
                </a:ext>
              </a:extLst>
            </p:cNvPr>
            <p:cNvGrpSpPr/>
            <p:nvPr/>
          </p:nvGrpSpPr>
          <p:grpSpPr>
            <a:xfrm>
              <a:off x="7695140" y="2606763"/>
              <a:ext cx="60844" cy="38583"/>
              <a:chOff x="7695140" y="2606763"/>
              <a:chExt cx="60844" cy="38583"/>
            </a:xfrm>
            <a:grpFill/>
          </p:grpSpPr>
          <p:sp>
            <p:nvSpPr>
              <p:cNvPr id="5077" name="Vrije vorm: vorm 5076">
                <a:extLst>
                  <a:ext uri="{FF2B5EF4-FFF2-40B4-BE49-F238E27FC236}">
                    <a16:creationId xmlns:a16="http://schemas.microsoft.com/office/drawing/2014/main" id="{BD02A4F7-666B-4AF0-BCDF-AC73CC979FE5}"/>
                  </a:ext>
                </a:extLst>
              </p:cNvPr>
              <p:cNvSpPr/>
              <p:nvPr/>
            </p:nvSpPr>
            <p:spPr>
              <a:xfrm>
                <a:off x="7703054" y="2614361"/>
                <a:ext cx="44710" cy="23306"/>
              </a:xfrm>
              <a:custGeom>
                <a:avLst/>
                <a:gdLst>
                  <a:gd name="connsiteX0" fmla="*/ 0 w 44710"/>
                  <a:gd name="connsiteY0" fmla="*/ 20550 h 23306"/>
                  <a:gd name="connsiteX1" fmla="*/ 43405 w 44710"/>
                  <a:gd name="connsiteY1" fmla="*/ 0 h 23306"/>
                  <a:gd name="connsiteX2" fmla="*/ 44711 w 44710"/>
                  <a:gd name="connsiteY2" fmla="*/ 2757 h 23306"/>
                  <a:gd name="connsiteX3" fmla="*/ 1305 w 44710"/>
                  <a:gd name="connsiteY3" fmla="*/ 23307 h 23306"/>
                </a:gdLst>
                <a:ahLst/>
                <a:cxnLst>
                  <a:cxn ang="0">
                    <a:pos x="connsiteX0" y="connsiteY0"/>
                  </a:cxn>
                  <a:cxn ang="0">
                    <a:pos x="connsiteX1" y="connsiteY1"/>
                  </a:cxn>
                  <a:cxn ang="0">
                    <a:pos x="connsiteX2" y="connsiteY2"/>
                  </a:cxn>
                  <a:cxn ang="0">
                    <a:pos x="connsiteX3" y="connsiteY3"/>
                  </a:cxn>
                </a:cxnLst>
                <a:rect l="l" t="t" r="r" b="b"/>
                <a:pathLst>
                  <a:path w="44710" h="23306">
                    <a:moveTo>
                      <a:pt x="0" y="20550"/>
                    </a:moveTo>
                    <a:lnTo>
                      <a:pt x="43405" y="0"/>
                    </a:lnTo>
                    <a:lnTo>
                      <a:pt x="44711" y="2757"/>
                    </a:lnTo>
                    <a:lnTo>
                      <a:pt x="1305" y="23307"/>
                    </a:lnTo>
                    <a:close/>
                  </a:path>
                </a:pathLst>
              </a:custGeom>
              <a:grpFill/>
              <a:ln w="5978" cap="flat">
                <a:noFill/>
                <a:prstDash val="solid"/>
                <a:miter/>
              </a:ln>
            </p:spPr>
            <p:txBody>
              <a:bodyPr rtlCol="0" anchor="ctr"/>
              <a:lstStyle/>
              <a:p>
                <a:endParaRPr lang="en-GB"/>
              </a:p>
            </p:txBody>
          </p:sp>
          <p:sp>
            <p:nvSpPr>
              <p:cNvPr id="5078" name="Vrije vorm: vorm 5077">
                <a:extLst>
                  <a:ext uri="{FF2B5EF4-FFF2-40B4-BE49-F238E27FC236}">
                    <a16:creationId xmlns:a16="http://schemas.microsoft.com/office/drawing/2014/main" id="{0C65B4EA-9CD8-49FD-B916-671340D4E2D6}"/>
                  </a:ext>
                </a:extLst>
              </p:cNvPr>
              <p:cNvSpPr/>
              <p:nvPr/>
            </p:nvSpPr>
            <p:spPr>
              <a:xfrm>
                <a:off x="7737663" y="2606763"/>
                <a:ext cx="18321" cy="18428"/>
              </a:xfrm>
              <a:custGeom>
                <a:avLst/>
                <a:gdLst>
                  <a:gd name="connsiteX0" fmla="*/ 5238 w 18321"/>
                  <a:gd name="connsiteY0" fmla="*/ 871 h 18428"/>
                  <a:gd name="connsiteX1" fmla="*/ 17439 w 18321"/>
                  <a:gd name="connsiteY1" fmla="*/ 5297 h 18428"/>
                  <a:gd name="connsiteX2" fmla="*/ 13073 w 18321"/>
                  <a:gd name="connsiteY2" fmla="*/ 17557 h 18428"/>
                  <a:gd name="connsiteX3" fmla="*/ 872 w 18321"/>
                  <a:gd name="connsiteY3" fmla="*/ 13132 h 18428"/>
                  <a:gd name="connsiteX4" fmla="*/ 5238 w 1832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5238" y="871"/>
                    </a:moveTo>
                    <a:cubicBezTo>
                      <a:pt x="9783" y="-1282"/>
                      <a:pt x="15286" y="692"/>
                      <a:pt x="17439" y="5297"/>
                    </a:cubicBezTo>
                    <a:cubicBezTo>
                      <a:pt x="19592" y="9902"/>
                      <a:pt x="17678" y="15404"/>
                      <a:pt x="13073" y="17557"/>
                    </a:cubicBezTo>
                    <a:cubicBezTo>
                      <a:pt x="8528" y="19711"/>
                      <a:pt x="3025" y="17737"/>
                      <a:pt x="872" y="13132"/>
                    </a:cubicBezTo>
                    <a:cubicBezTo>
                      <a:pt x="-1281" y="8527"/>
                      <a:pt x="693" y="3024"/>
                      <a:pt x="5238" y="871"/>
                    </a:cubicBezTo>
                    <a:close/>
                  </a:path>
                </a:pathLst>
              </a:custGeom>
              <a:grpFill/>
              <a:ln w="5978" cap="flat">
                <a:noFill/>
                <a:prstDash val="solid"/>
                <a:miter/>
              </a:ln>
            </p:spPr>
            <p:txBody>
              <a:bodyPr rtlCol="0" anchor="ctr"/>
              <a:lstStyle/>
              <a:p>
                <a:endParaRPr lang="en-GB"/>
              </a:p>
            </p:txBody>
          </p:sp>
          <p:sp>
            <p:nvSpPr>
              <p:cNvPr id="5079" name="Vrije vorm: vorm 5078">
                <a:extLst>
                  <a:ext uri="{FF2B5EF4-FFF2-40B4-BE49-F238E27FC236}">
                    <a16:creationId xmlns:a16="http://schemas.microsoft.com/office/drawing/2014/main" id="{01D715B4-24B8-486B-BD18-027087608F76}"/>
                  </a:ext>
                </a:extLst>
              </p:cNvPr>
              <p:cNvSpPr/>
              <p:nvPr/>
            </p:nvSpPr>
            <p:spPr>
              <a:xfrm>
                <a:off x="7695140" y="2626893"/>
                <a:ext cx="18311" cy="18454"/>
              </a:xfrm>
              <a:custGeom>
                <a:avLst/>
                <a:gdLst>
                  <a:gd name="connsiteX0" fmla="*/ 5238 w 18311"/>
                  <a:gd name="connsiteY0" fmla="*/ 897 h 18454"/>
                  <a:gd name="connsiteX1" fmla="*/ 872 w 18311"/>
                  <a:gd name="connsiteY1" fmla="*/ 13158 h 18454"/>
                  <a:gd name="connsiteX2" fmla="*/ 13073 w 18311"/>
                  <a:gd name="connsiteY2" fmla="*/ 17583 h 18454"/>
                  <a:gd name="connsiteX3" fmla="*/ 17439 w 18311"/>
                  <a:gd name="connsiteY3" fmla="*/ 5323 h 18454"/>
                  <a:gd name="connsiteX4" fmla="*/ 5238 w 18311"/>
                  <a:gd name="connsiteY4" fmla="*/ 89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4">
                    <a:moveTo>
                      <a:pt x="5238" y="897"/>
                    </a:moveTo>
                    <a:cubicBezTo>
                      <a:pt x="693" y="3050"/>
                      <a:pt x="-1281" y="8552"/>
                      <a:pt x="872" y="13158"/>
                    </a:cubicBezTo>
                    <a:cubicBezTo>
                      <a:pt x="3025" y="17763"/>
                      <a:pt x="8528" y="19736"/>
                      <a:pt x="13073" y="17583"/>
                    </a:cubicBezTo>
                    <a:cubicBezTo>
                      <a:pt x="17619" y="15430"/>
                      <a:pt x="19592" y="9928"/>
                      <a:pt x="17439" y="5323"/>
                    </a:cubicBezTo>
                    <a:cubicBezTo>
                      <a:pt x="15286" y="718"/>
                      <a:pt x="9784" y="-1316"/>
                      <a:pt x="5238" y="897"/>
                    </a:cubicBezTo>
                    <a:close/>
                  </a:path>
                </a:pathLst>
              </a:custGeom>
              <a:grpFill/>
              <a:ln w="5978" cap="flat">
                <a:noFill/>
                <a:prstDash val="solid"/>
                <a:miter/>
              </a:ln>
            </p:spPr>
            <p:txBody>
              <a:bodyPr rtlCol="0" anchor="ctr"/>
              <a:lstStyle/>
              <a:p>
                <a:endParaRPr lang="en-GB"/>
              </a:p>
            </p:txBody>
          </p:sp>
        </p:grpSp>
        <p:grpSp>
          <p:nvGrpSpPr>
            <p:cNvPr id="101" name="Graphic 3">
              <a:extLst>
                <a:ext uri="{FF2B5EF4-FFF2-40B4-BE49-F238E27FC236}">
                  <a16:creationId xmlns:a16="http://schemas.microsoft.com/office/drawing/2014/main" id="{53810108-B5ED-46DD-B40A-EE22B3029CF6}"/>
                </a:ext>
              </a:extLst>
            </p:cNvPr>
            <p:cNvGrpSpPr/>
            <p:nvPr/>
          </p:nvGrpSpPr>
          <p:grpSpPr>
            <a:xfrm>
              <a:off x="7864402" y="3075899"/>
              <a:ext cx="28882" cy="20386"/>
              <a:chOff x="7864402" y="3075899"/>
              <a:chExt cx="28882" cy="20386"/>
            </a:xfrm>
            <a:grpFill/>
          </p:grpSpPr>
          <p:sp>
            <p:nvSpPr>
              <p:cNvPr id="5075" name="Vrije vorm: vorm 5074">
                <a:extLst>
                  <a:ext uri="{FF2B5EF4-FFF2-40B4-BE49-F238E27FC236}">
                    <a16:creationId xmlns:a16="http://schemas.microsoft.com/office/drawing/2014/main" id="{C83AAFA2-14E3-4BC3-9E3F-FB022B7E9BA2}"/>
                  </a:ext>
                </a:extLst>
              </p:cNvPr>
              <p:cNvSpPr/>
              <p:nvPr/>
            </p:nvSpPr>
            <p:spPr>
              <a:xfrm>
                <a:off x="7874988" y="3075899"/>
                <a:ext cx="18296" cy="18412"/>
              </a:xfrm>
              <a:custGeom>
                <a:avLst/>
                <a:gdLst>
                  <a:gd name="connsiteX0" fmla="*/ 10793 w 18296"/>
                  <a:gd name="connsiteY0" fmla="*/ 18267 h 18412"/>
                  <a:gd name="connsiteX1" fmla="*/ 147 w 18296"/>
                  <a:gd name="connsiteY1" fmla="*/ 10851 h 18412"/>
                  <a:gd name="connsiteX2" fmla="*/ 7504 w 18296"/>
                  <a:gd name="connsiteY2" fmla="*/ 145 h 18412"/>
                  <a:gd name="connsiteX3" fmla="*/ 18150 w 18296"/>
                  <a:gd name="connsiteY3" fmla="*/ 7562 h 18412"/>
                  <a:gd name="connsiteX4" fmla="*/ 10793 w 18296"/>
                  <a:gd name="connsiteY4" fmla="*/ 1826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2">
                    <a:moveTo>
                      <a:pt x="10793" y="18267"/>
                    </a:moveTo>
                    <a:cubicBezTo>
                      <a:pt x="5829" y="19164"/>
                      <a:pt x="1044" y="15815"/>
                      <a:pt x="147" y="10851"/>
                    </a:cubicBezTo>
                    <a:cubicBezTo>
                      <a:pt x="-750" y="5827"/>
                      <a:pt x="2539" y="1042"/>
                      <a:pt x="7504" y="145"/>
                    </a:cubicBezTo>
                    <a:cubicBezTo>
                      <a:pt x="12467" y="-752"/>
                      <a:pt x="17252" y="2598"/>
                      <a:pt x="18150" y="7562"/>
                    </a:cubicBezTo>
                    <a:cubicBezTo>
                      <a:pt x="19046" y="12585"/>
                      <a:pt x="15757" y="17370"/>
                      <a:pt x="10793" y="18267"/>
                    </a:cubicBezTo>
                    <a:close/>
                  </a:path>
                </a:pathLst>
              </a:custGeom>
              <a:grpFill/>
              <a:ln w="5978" cap="flat">
                <a:noFill/>
                <a:prstDash val="solid"/>
                <a:miter/>
              </a:ln>
            </p:spPr>
            <p:txBody>
              <a:bodyPr rtlCol="0" anchor="ctr"/>
              <a:lstStyle/>
              <a:p>
                <a:endParaRPr lang="en-GB"/>
              </a:p>
            </p:txBody>
          </p:sp>
          <p:sp>
            <p:nvSpPr>
              <p:cNvPr id="5076" name="Vrije vorm: vorm 5075">
                <a:extLst>
                  <a:ext uri="{FF2B5EF4-FFF2-40B4-BE49-F238E27FC236}">
                    <a16:creationId xmlns:a16="http://schemas.microsoft.com/office/drawing/2014/main" id="{0F183801-7D0D-4F28-9035-15458B679A2A}"/>
                  </a:ext>
                </a:extLst>
              </p:cNvPr>
              <p:cNvSpPr/>
              <p:nvPr/>
            </p:nvSpPr>
            <p:spPr>
              <a:xfrm>
                <a:off x="7864402" y="3077871"/>
                <a:ext cx="18296" cy="18414"/>
              </a:xfrm>
              <a:custGeom>
                <a:avLst/>
                <a:gdLst>
                  <a:gd name="connsiteX0" fmla="*/ 10793 w 18296"/>
                  <a:gd name="connsiteY0" fmla="*/ 18269 h 18414"/>
                  <a:gd name="connsiteX1" fmla="*/ 18149 w 18296"/>
                  <a:gd name="connsiteY1" fmla="*/ 7563 h 18414"/>
                  <a:gd name="connsiteX2" fmla="*/ 7504 w 18296"/>
                  <a:gd name="connsiteY2" fmla="*/ 147 h 18414"/>
                  <a:gd name="connsiteX3" fmla="*/ 147 w 18296"/>
                  <a:gd name="connsiteY3" fmla="*/ 10853 h 18414"/>
                  <a:gd name="connsiteX4" fmla="*/ 10793 w 18296"/>
                  <a:gd name="connsiteY4" fmla="*/ 18269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4">
                    <a:moveTo>
                      <a:pt x="10793" y="18269"/>
                    </a:moveTo>
                    <a:cubicBezTo>
                      <a:pt x="15757" y="17372"/>
                      <a:pt x="19046" y="12587"/>
                      <a:pt x="18149" y="7563"/>
                    </a:cubicBezTo>
                    <a:cubicBezTo>
                      <a:pt x="17252" y="2540"/>
                      <a:pt x="12467" y="-750"/>
                      <a:pt x="7504" y="147"/>
                    </a:cubicBezTo>
                    <a:cubicBezTo>
                      <a:pt x="2540" y="1044"/>
                      <a:pt x="-750" y="5829"/>
                      <a:pt x="147" y="10853"/>
                    </a:cubicBezTo>
                    <a:cubicBezTo>
                      <a:pt x="1045" y="15817"/>
                      <a:pt x="5829" y="19166"/>
                      <a:pt x="10793" y="18269"/>
                    </a:cubicBezTo>
                    <a:close/>
                  </a:path>
                </a:pathLst>
              </a:custGeom>
              <a:grpFill/>
              <a:ln w="5978" cap="flat">
                <a:noFill/>
                <a:prstDash val="solid"/>
                <a:miter/>
              </a:ln>
            </p:spPr>
            <p:txBody>
              <a:bodyPr rtlCol="0" anchor="ctr"/>
              <a:lstStyle/>
              <a:p>
                <a:endParaRPr lang="en-GB"/>
              </a:p>
            </p:txBody>
          </p:sp>
        </p:grpSp>
        <p:grpSp>
          <p:nvGrpSpPr>
            <p:cNvPr id="102" name="Graphic 3">
              <a:extLst>
                <a:ext uri="{FF2B5EF4-FFF2-40B4-BE49-F238E27FC236}">
                  <a16:creationId xmlns:a16="http://schemas.microsoft.com/office/drawing/2014/main" id="{DFDC470A-D1D7-4967-9EB2-C2D60B00DBC9}"/>
                </a:ext>
              </a:extLst>
            </p:cNvPr>
            <p:cNvGrpSpPr/>
            <p:nvPr/>
          </p:nvGrpSpPr>
          <p:grpSpPr>
            <a:xfrm>
              <a:off x="7452012" y="2148512"/>
              <a:ext cx="273848" cy="212101"/>
              <a:chOff x="7452012" y="2148512"/>
              <a:chExt cx="273848" cy="212101"/>
            </a:xfrm>
            <a:grpFill/>
          </p:grpSpPr>
          <p:sp>
            <p:nvSpPr>
              <p:cNvPr id="5072" name="Vrije vorm: vorm 5071">
                <a:extLst>
                  <a:ext uri="{FF2B5EF4-FFF2-40B4-BE49-F238E27FC236}">
                    <a16:creationId xmlns:a16="http://schemas.microsoft.com/office/drawing/2014/main" id="{5221D5DD-73BF-42DD-89D3-88207B5BAB13}"/>
                  </a:ext>
                </a:extLst>
              </p:cNvPr>
              <p:cNvSpPr/>
              <p:nvPr/>
            </p:nvSpPr>
            <p:spPr>
              <a:xfrm>
                <a:off x="7459894" y="2156210"/>
                <a:ext cx="258068" cy="196646"/>
              </a:xfrm>
              <a:custGeom>
                <a:avLst/>
                <a:gdLst>
                  <a:gd name="connsiteX0" fmla="*/ 258068 w 258068"/>
                  <a:gd name="connsiteY0" fmla="*/ 2452 h 196646"/>
                  <a:gd name="connsiteX1" fmla="*/ 1795 w 258068"/>
                  <a:gd name="connsiteY1" fmla="*/ 196646 h 196646"/>
                  <a:gd name="connsiteX2" fmla="*/ 0 w 258068"/>
                  <a:gd name="connsiteY2" fmla="*/ 194194 h 196646"/>
                  <a:gd name="connsiteX3" fmla="*/ 256214 w 258068"/>
                  <a:gd name="connsiteY3" fmla="*/ 0 h 196646"/>
                </a:gdLst>
                <a:ahLst/>
                <a:cxnLst>
                  <a:cxn ang="0">
                    <a:pos x="connsiteX0" y="connsiteY0"/>
                  </a:cxn>
                  <a:cxn ang="0">
                    <a:pos x="connsiteX1" y="connsiteY1"/>
                  </a:cxn>
                  <a:cxn ang="0">
                    <a:pos x="connsiteX2" y="connsiteY2"/>
                  </a:cxn>
                  <a:cxn ang="0">
                    <a:pos x="connsiteX3" y="connsiteY3"/>
                  </a:cxn>
                </a:cxnLst>
                <a:rect l="l" t="t" r="r" b="b"/>
                <a:pathLst>
                  <a:path w="258068" h="196646">
                    <a:moveTo>
                      <a:pt x="258068" y="2452"/>
                    </a:moveTo>
                    <a:lnTo>
                      <a:pt x="1795" y="196646"/>
                    </a:lnTo>
                    <a:lnTo>
                      <a:pt x="0" y="194194"/>
                    </a:lnTo>
                    <a:lnTo>
                      <a:pt x="256214" y="0"/>
                    </a:lnTo>
                    <a:close/>
                  </a:path>
                </a:pathLst>
              </a:custGeom>
              <a:grpFill/>
              <a:ln w="5978" cap="flat">
                <a:noFill/>
                <a:prstDash val="solid"/>
                <a:miter/>
              </a:ln>
            </p:spPr>
            <p:txBody>
              <a:bodyPr rtlCol="0" anchor="ctr"/>
              <a:lstStyle/>
              <a:p>
                <a:endParaRPr lang="en-GB"/>
              </a:p>
            </p:txBody>
          </p:sp>
          <p:sp>
            <p:nvSpPr>
              <p:cNvPr id="5073" name="Vrije vorm: vorm 5072">
                <a:extLst>
                  <a:ext uri="{FF2B5EF4-FFF2-40B4-BE49-F238E27FC236}">
                    <a16:creationId xmlns:a16="http://schemas.microsoft.com/office/drawing/2014/main" id="{394A2FF2-417B-4C50-8843-DABA8D4CFAA9}"/>
                  </a:ext>
                </a:extLst>
              </p:cNvPr>
              <p:cNvSpPr/>
              <p:nvPr/>
            </p:nvSpPr>
            <p:spPr>
              <a:xfrm>
                <a:off x="7707509" y="2148512"/>
                <a:ext cx="18352" cy="18445"/>
              </a:xfrm>
              <a:custGeom>
                <a:avLst/>
                <a:gdLst>
                  <a:gd name="connsiteX0" fmla="*/ 3635 w 18352"/>
                  <a:gd name="connsiteY0" fmla="*/ 1837 h 18445"/>
                  <a:gd name="connsiteX1" fmla="*/ 16494 w 18352"/>
                  <a:gd name="connsiteY1" fmla="*/ 3691 h 18445"/>
                  <a:gd name="connsiteX2" fmla="*/ 14699 w 18352"/>
                  <a:gd name="connsiteY2" fmla="*/ 16609 h 18445"/>
                  <a:gd name="connsiteX3" fmla="*/ 1841 w 18352"/>
                  <a:gd name="connsiteY3" fmla="*/ 14755 h 18445"/>
                  <a:gd name="connsiteX4" fmla="*/ 3635 w 18352"/>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45">
                    <a:moveTo>
                      <a:pt x="3635" y="1837"/>
                    </a:moveTo>
                    <a:cubicBezTo>
                      <a:pt x="7643" y="-1213"/>
                      <a:pt x="13444" y="-376"/>
                      <a:pt x="16494" y="3691"/>
                    </a:cubicBezTo>
                    <a:cubicBezTo>
                      <a:pt x="19544" y="7758"/>
                      <a:pt x="18767" y="13559"/>
                      <a:pt x="14699" y="16609"/>
                    </a:cubicBezTo>
                    <a:cubicBezTo>
                      <a:pt x="10693" y="19659"/>
                      <a:pt x="4891" y="18822"/>
                      <a:pt x="1841" y="14755"/>
                    </a:cubicBezTo>
                    <a:cubicBezTo>
                      <a:pt x="-1209" y="10688"/>
                      <a:pt x="-372" y="4887"/>
                      <a:pt x="3635" y="1837"/>
                    </a:cubicBezTo>
                    <a:close/>
                  </a:path>
                </a:pathLst>
              </a:custGeom>
              <a:grpFill/>
              <a:ln w="5978" cap="flat">
                <a:noFill/>
                <a:prstDash val="solid"/>
                <a:miter/>
              </a:ln>
            </p:spPr>
            <p:txBody>
              <a:bodyPr rtlCol="0" anchor="ctr"/>
              <a:lstStyle/>
              <a:p>
                <a:endParaRPr lang="en-GB"/>
              </a:p>
            </p:txBody>
          </p:sp>
          <p:sp>
            <p:nvSpPr>
              <p:cNvPr id="5074" name="Vrije vorm: vorm 5073">
                <a:extLst>
                  <a:ext uri="{FF2B5EF4-FFF2-40B4-BE49-F238E27FC236}">
                    <a16:creationId xmlns:a16="http://schemas.microsoft.com/office/drawing/2014/main" id="{316E427E-3B25-4A9A-81A9-9078F520ED89}"/>
                  </a:ext>
                </a:extLst>
              </p:cNvPr>
              <p:cNvSpPr/>
              <p:nvPr/>
            </p:nvSpPr>
            <p:spPr>
              <a:xfrm>
                <a:off x="7452012" y="2342168"/>
                <a:ext cx="18334" cy="18445"/>
              </a:xfrm>
              <a:custGeom>
                <a:avLst/>
                <a:gdLst>
                  <a:gd name="connsiteX0" fmla="*/ 3635 w 18334"/>
                  <a:gd name="connsiteY0" fmla="*/ 1837 h 18445"/>
                  <a:gd name="connsiteX1" fmla="*/ 1841 w 18334"/>
                  <a:gd name="connsiteY1" fmla="*/ 14755 h 18445"/>
                  <a:gd name="connsiteX2" fmla="*/ 14699 w 18334"/>
                  <a:gd name="connsiteY2" fmla="*/ 16609 h 18445"/>
                  <a:gd name="connsiteX3" fmla="*/ 16494 w 18334"/>
                  <a:gd name="connsiteY3" fmla="*/ 3691 h 18445"/>
                  <a:gd name="connsiteX4" fmla="*/ 3635 w 18334"/>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5">
                    <a:moveTo>
                      <a:pt x="3635" y="1837"/>
                    </a:moveTo>
                    <a:cubicBezTo>
                      <a:pt x="-372" y="4887"/>
                      <a:pt x="-1209" y="10688"/>
                      <a:pt x="1841" y="14755"/>
                    </a:cubicBezTo>
                    <a:cubicBezTo>
                      <a:pt x="4891" y="18822"/>
                      <a:pt x="10632" y="19659"/>
                      <a:pt x="14699" y="16609"/>
                    </a:cubicBezTo>
                    <a:cubicBezTo>
                      <a:pt x="18707" y="13559"/>
                      <a:pt x="19543" y="7758"/>
                      <a:pt x="16494" y="3691"/>
                    </a:cubicBezTo>
                    <a:cubicBezTo>
                      <a:pt x="13384" y="-376"/>
                      <a:pt x="7642" y="-1213"/>
                      <a:pt x="3635" y="1837"/>
                    </a:cubicBezTo>
                    <a:close/>
                  </a:path>
                </a:pathLst>
              </a:custGeom>
              <a:grpFill/>
              <a:ln w="5978" cap="flat">
                <a:noFill/>
                <a:prstDash val="solid"/>
                <a:miter/>
              </a:ln>
            </p:spPr>
            <p:txBody>
              <a:bodyPr rtlCol="0" anchor="ctr"/>
              <a:lstStyle/>
              <a:p>
                <a:endParaRPr lang="en-GB"/>
              </a:p>
            </p:txBody>
          </p:sp>
        </p:grpSp>
        <p:grpSp>
          <p:nvGrpSpPr>
            <p:cNvPr id="103" name="Graphic 3">
              <a:extLst>
                <a:ext uri="{FF2B5EF4-FFF2-40B4-BE49-F238E27FC236}">
                  <a16:creationId xmlns:a16="http://schemas.microsoft.com/office/drawing/2014/main" id="{940CAD2D-B21C-4256-9D85-8EBDA6F2B3AA}"/>
                </a:ext>
              </a:extLst>
            </p:cNvPr>
            <p:cNvGrpSpPr/>
            <p:nvPr/>
          </p:nvGrpSpPr>
          <p:grpSpPr>
            <a:xfrm>
              <a:off x="8031272" y="3685806"/>
              <a:ext cx="95505" cy="29251"/>
              <a:chOff x="8031272" y="3685806"/>
              <a:chExt cx="95505" cy="29251"/>
            </a:xfrm>
            <a:grpFill/>
          </p:grpSpPr>
          <p:sp>
            <p:nvSpPr>
              <p:cNvPr id="5069" name="Vrije vorm: vorm 5068">
                <a:extLst>
                  <a:ext uri="{FF2B5EF4-FFF2-40B4-BE49-F238E27FC236}">
                    <a16:creationId xmlns:a16="http://schemas.microsoft.com/office/drawing/2014/main" id="{F266F7A4-4EFF-4213-AB80-848087D21BD7}"/>
                  </a:ext>
                </a:extLst>
              </p:cNvPr>
              <p:cNvSpPr/>
              <p:nvPr/>
            </p:nvSpPr>
            <p:spPr>
              <a:xfrm>
                <a:off x="8039784" y="3693435"/>
                <a:ext cx="78467" cy="13994"/>
              </a:xfrm>
              <a:custGeom>
                <a:avLst/>
                <a:gdLst>
                  <a:gd name="connsiteX0" fmla="*/ 78467 w 78467"/>
                  <a:gd name="connsiteY0" fmla="*/ 10945 h 13994"/>
                  <a:gd name="connsiteX1" fmla="*/ 78049 w 78467"/>
                  <a:gd name="connsiteY1" fmla="*/ 13995 h 13994"/>
                  <a:gd name="connsiteX2" fmla="*/ 0 w 78467"/>
                  <a:gd name="connsiteY2" fmla="*/ 3050 h 13994"/>
                  <a:gd name="connsiteX3" fmla="*/ 419 w 78467"/>
                  <a:gd name="connsiteY3" fmla="*/ 0 h 13994"/>
                </a:gdLst>
                <a:ahLst/>
                <a:cxnLst>
                  <a:cxn ang="0">
                    <a:pos x="connsiteX0" y="connsiteY0"/>
                  </a:cxn>
                  <a:cxn ang="0">
                    <a:pos x="connsiteX1" y="connsiteY1"/>
                  </a:cxn>
                  <a:cxn ang="0">
                    <a:pos x="connsiteX2" y="connsiteY2"/>
                  </a:cxn>
                  <a:cxn ang="0">
                    <a:pos x="connsiteX3" y="connsiteY3"/>
                  </a:cxn>
                </a:cxnLst>
                <a:rect l="l" t="t" r="r" b="b"/>
                <a:pathLst>
                  <a:path w="78467" h="13994">
                    <a:moveTo>
                      <a:pt x="78467" y="10945"/>
                    </a:moveTo>
                    <a:lnTo>
                      <a:pt x="78049" y="13995"/>
                    </a:lnTo>
                    <a:lnTo>
                      <a:pt x="0" y="3050"/>
                    </a:lnTo>
                    <a:lnTo>
                      <a:pt x="419" y="0"/>
                    </a:lnTo>
                    <a:close/>
                  </a:path>
                </a:pathLst>
              </a:custGeom>
              <a:grpFill/>
              <a:ln w="5978" cap="flat">
                <a:noFill/>
                <a:prstDash val="solid"/>
                <a:miter/>
              </a:ln>
            </p:spPr>
            <p:txBody>
              <a:bodyPr rtlCol="0" anchor="ctr"/>
              <a:lstStyle/>
              <a:p>
                <a:endParaRPr lang="en-GB"/>
              </a:p>
            </p:txBody>
          </p:sp>
          <p:sp>
            <p:nvSpPr>
              <p:cNvPr id="5070" name="Vrije vorm: vorm 5069">
                <a:extLst>
                  <a:ext uri="{FF2B5EF4-FFF2-40B4-BE49-F238E27FC236}">
                    <a16:creationId xmlns:a16="http://schemas.microsoft.com/office/drawing/2014/main" id="{A13944D7-F824-45D9-B255-A22B938F5942}"/>
                  </a:ext>
                </a:extLst>
              </p:cNvPr>
              <p:cNvSpPr/>
              <p:nvPr/>
            </p:nvSpPr>
            <p:spPr>
              <a:xfrm>
                <a:off x="8108470" y="3696631"/>
                <a:ext cx="18307" cy="18426"/>
              </a:xfrm>
              <a:custGeom>
                <a:avLst/>
                <a:gdLst>
                  <a:gd name="connsiteX0" fmla="*/ 10380 w 18307"/>
                  <a:gd name="connsiteY0" fmla="*/ 93 h 18426"/>
                  <a:gd name="connsiteX1" fmla="*/ 18214 w 18307"/>
                  <a:gd name="connsiteY1" fmla="*/ 10499 h 18426"/>
                  <a:gd name="connsiteX2" fmla="*/ 7928 w 18307"/>
                  <a:gd name="connsiteY2" fmla="*/ 18334 h 18426"/>
                  <a:gd name="connsiteX3" fmla="*/ 93 w 18307"/>
                  <a:gd name="connsiteY3" fmla="*/ 7927 h 18426"/>
                  <a:gd name="connsiteX4" fmla="*/ 10380 w 18307"/>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10380" y="93"/>
                    </a:moveTo>
                    <a:cubicBezTo>
                      <a:pt x="15404" y="810"/>
                      <a:pt x="18932" y="5475"/>
                      <a:pt x="18214" y="10499"/>
                    </a:cubicBezTo>
                    <a:cubicBezTo>
                      <a:pt x="17557" y="15523"/>
                      <a:pt x="12892" y="19052"/>
                      <a:pt x="7928" y="18334"/>
                    </a:cubicBezTo>
                    <a:cubicBezTo>
                      <a:pt x="2904" y="17616"/>
                      <a:pt x="-625" y="12951"/>
                      <a:pt x="93" y="7927"/>
                    </a:cubicBezTo>
                    <a:cubicBezTo>
                      <a:pt x="691" y="2904"/>
                      <a:pt x="5356" y="-625"/>
                      <a:pt x="10380" y="93"/>
                    </a:cubicBezTo>
                    <a:close/>
                  </a:path>
                </a:pathLst>
              </a:custGeom>
              <a:grpFill/>
              <a:ln w="5978" cap="flat">
                <a:noFill/>
                <a:prstDash val="solid"/>
                <a:miter/>
              </a:ln>
            </p:spPr>
            <p:txBody>
              <a:bodyPr rtlCol="0" anchor="ctr"/>
              <a:lstStyle/>
              <a:p>
                <a:endParaRPr lang="en-GB"/>
              </a:p>
            </p:txBody>
          </p:sp>
          <p:sp>
            <p:nvSpPr>
              <p:cNvPr id="5071" name="Vrije vorm: vorm 5070">
                <a:extLst>
                  <a:ext uri="{FF2B5EF4-FFF2-40B4-BE49-F238E27FC236}">
                    <a16:creationId xmlns:a16="http://schemas.microsoft.com/office/drawing/2014/main" id="{3EBD3C4D-C3CE-4BA6-9E4B-44E5D03F5AD2}"/>
                  </a:ext>
                </a:extLst>
              </p:cNvPr>
              <p:cNvSpPr/>
              <p:nvPr/>
            </p:nvSpPr>
            <p:spPr>
              <a:xfrm>
                <a:off x="8031272" y="3685806"/>
                <a:ext cx="18293" cy="18426"/>
              </a:xfrm>
              <a:custGeom>
                <a:avLst/>
                <a:gdLst>
                  <a:gd name="connsiteX0" fmla="*/ 10367 w 18293"/>
                  <a:gd name="connsiteY0" fmla="*/ 93 h 18426"/>
                  <a:gd name="connsiteX1" fmla="*/ 80 w 18293"/>
                  <a:gd name="connsiteY1" fmla="*/ 7927 h 18426"/>
                  <a:gd name="connsiteX2" fmla="*/ 7914 w 18293"/>
                  <a:gd name="connsiteY2" fmla="*/ 18334 h 18426"/>
                  <a:gd name="connsiteX3" fmla="*/ 18201 w 18293"/>
                  <a:gd name="connsiteY3" fmla="*/ 10499 h 18426"/>
                  <a:gd name="connsiteX4" fmla="*/ 10367 w 18293"/>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26">
                    <a:moveTo>
                      <a:pt x="10367" y="93"/>
                    </a:moveTo>
                    <a:cubicBezTo>
                      <a:pt x="5343" y="-625"/>
                      <a:pt x="738" y="2904"/>
                      <a:pt x="80" y="7927"/>
                    </a:cubicBezTo>
                    <a:cubicBezTo>
                      <a:pt x="-578" y="12951"/>
                      <a:pt x="2891" y="17616"/>
                      <a:pt x="7914" y="18334"/>
                    </a:cubicBezTo>
                    <a:cubicBezTo>
                      <a:pt x="12938" y="19052"/>
                      <a:pt x="17543" y="15523"/>
                      <a:pt x="18201" y="10499"/>
                    </a:cubicBezTo>
                    <a:cubicBezTo>
                      <a:pt x="18919" y="5475"/>
                      <a:pt x="15390" y="810"/>
                      <a:pt x="10367" y="93"/>
                    </a:cubicBezTo>
                    <a:close/>
                  </a:path>
                </a:pathLst>
              </a:custGeom>
              <a:grpFill/>
              <a:ln w="5978" cap="flat">
                <a:noFill/>
                <a:prstDash val="solid"/>
                <a:miter/>
              </a:ln>
            </p:spPr>
            <p:txBody>
              <a:bodyPr rtlCol="0" anchor="ctr"/>
              <a:lstStyle/>
              <a:p>
                <a:endParaRPr lang="en-GB"/>
              </a:p>
            </p:txBody>
          </p:sp>
        </p:grpSp>
        <p:grpSp>
          <p:nvGrpSpPr>
            <p:cNvPr id="104" name="Graphic 3">
              <a:extLst>
                <a:ext uri="{FF2B5EF4-FFF2-40B4-BE49-F238E27FC236}">
                  <a16:creationId xmlns:a16="http://schemas.microsoft.com/office/drawing/2014/main" id="{105B12C5-219B-43CB-93A4-EF2534198E62}"/>
                </a:ext>
              </a:extLst>
            </p:cNvPr>
            <p:cNvGrpSpPr/>
            <p:nvPr/>
          </p:nvGrpSpPr>
          <p:grpSpPr>
            <a:xfrm>
              <a:off x="7700928" y="2679868"/>
              <a:ext cx="62810" cy="37432"/>
              <a:chOff x="7700928" y="2679868"/>
              <a:chExt cx="62810" cy="37432"/>
            </a:xfrm>
            <a:grpFill/>
          </p:grpSpPr>
          <p:sp>
            <p:nvSpPr>
              <p:cNvPr id="5066" name="Vrije vorm: vorm 5065">
                <a:extLst>
                  <a:ext uri="{FF2B5EF4-FFF2-40B4-BE49-F238E27FC236}">
                    <a16:creationId xmlns:a16="http://schemas.microsoft.com/office/drawing/2014/main" id="{AC6CCE11-DC95-49EF-98FE-BF61B9504386}"/>
                  </a:ext>
                </a:extLst>
              </p:cNvPr>
              <p:cNvSpPr/>
              <p:nvPr/>
            </p:nvSpPr>
            <p:spPr>
              <a:xfrm>
                <a:off x="7709051" y="2687477"/>
                <a:ext cx="46530" cy="22248"/>
              </a:xfrm>
              <a:custGeom>
                <a:avLst/>
                <a:gdLst>
                  <a:gd name="connsiteX0" fmla="*/ 46530 w 46530"/>
                  <a:gd name="connsiteY0" fmla="*/ 2811 h 22248"/>
                  <a:gd name="connsiteX1" fmla="*/ 1196 w 46530"/>
                  <a:gd name="connsiteY1" fmla="*/ 22248 h 22248"/>
                  <a:gd name="connsiteX2" fmla="*/ 0 w 46530"/>
                  <a:gd name="connsiteY2" fmla="*/ 19378 h 22248"/>
                  <a:gd name="connsiteX3" fmla="*/ 45334 w 46530"/>
                  <a:gd name="connsiteY3" fmla="*/ 0 h 22248"/>
                </a:gdLst>
                <a:ahLst/>
                <a:cxnLst>
                  <a:cxn ang="0">
                    <a:pos x="connsiteX0" y="connsiteY0"/>
                  </a:cxn>
                  <a:cxn ang="0">
                    <a:pos x="connsiteX1" y="connsiteY1"/>
                  </a:cxn>
                  <a:cxn ang="0">
                    <a:pos x="connsiteX2" y="connsiteY2"/>
                  </a:cxn>
                  <a:cxn ang="0">
                    <a:pos x="connsiteX3" y="connsiteY3"/>
                  </a:cxn>
                </a:cxnLst>
                <a:rect l="l" t="t" r="r" b="b"/>
                <a:pathLst>
                  <a:path w="46530" h="22248">
                    <a:moveTo>
                      <a:pt x="46530" y="2811"/>
                    </a:moveTo>
                    <a:lnTo>
                      <a:pt x="1196" y="22248"/>
                    </a:lnTo>
                    <a:lnTo>
                      <a:pt x="0" y="19378"/>
                    </a:lnTo>
                    <a:lnTo>
                      <a:pt x="45334" y="0"/>
                    </a:lnTo>
                    <a:close/>
                  </a:path>
                </a:pathLst>
              </a:custGeom>
              <a:grpFill/>
              <a:ln w="5978" cap="flat">
                <a:noFill/>
                <a:prstDash val="solid"/>
                <a:miter/>
              </a:ln>
            </p:spPr>
            <p:txBody>
              <a:bodyPr rtlCol="0" anchor="ctr"/>
              <a:lstStyle/>
              <a:p>
                <a:endParaRPr lang="en-GB"/>
              </a:p>
            </p:txBody>
          </p:sp>
          <p:sp>
            <p:nvSpPr>
              <p:cNvPr id="5067" name="Vrije vorm: vorm 5066">
                <a:extLst>
                  <a:ext uri="{FF2B5EF4-FFF2-40B4-BE49-F238E27FC236}">
                    <a16:creationId xmlns:a16="http://schemas.microsoft.com/office/drawing/2014/main" id="{C40102BB-7F39-461B-85D2-006DCF4FF500}"/>
                  </a:ext>
                </a:extLst>
              </p:cNvPr>
              <p:cNvSpPr/>
              <p:nvPr/>
            </p:nvSpPr>
            <p:spPr>
              <a:xfrm>
                <a:off x="7745424" y="2679868"/>
                <a:ext cx="18313" cy="18388"/>
              </a:xfrm>
              <a:custGeom>
                <a:avLst/>
                <a:gdLst>
                  <a:gd name="connsiteX0" fmla="*/ 5551 w 18313"/>
                  <a:gd name="connsiteY0" fmla="*/ 732 h 18388"/>
                  <a:gd name="connsiteX1" fmla="*/ 17573 w 18313"/>
                  <a:gd name="connsiteY1" fmla="*/ 5576 h 18388"/>
                  <a:gd name="connsiteX2" fmla="*/ 12788 w 18313"/>
                  <a:gd name="connsiteY2" fmla="*/ 17657 h 18388"/>
                  <a:gd name="connsiteX3" fmla="*/ 767 w 18313"/>
                  <a:gd name="connsiteY3" fmla="*/ 12813 h 18388"/>
                  <a:gd name="connsiteX4" fmla="*/ 5551 w 18313"/>
                  <a:gd name="connsiteY4" fmla="*/ 732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88">
                    <a:moveTo>
                      <a:pt x="5551" y="732"/>
                    </a:moveTo>
                    <a:cubicBezTo>
                      <a:pt x="10216" y="-1242"/>
                      <a:pt x="15599" y="911"/>
                      <a:pt x="17573" y="5576"/>
                    </a:cubicBezTo>
                    <a:cubicBezTo>
                      <a:pt x="19546" y="10241"/>
                      <a:pt x="17453" y="15684"/>
                      <a:pt x="12788" y="17657"/>
                    </a:cubicBezTo>
                    <a:cubicBezTo>
                      <a:pt x="8123" y="19631"/>
                      <a:pt x="2740" y="17478"/>
                      <a:pt x="767" y="12813"/>
                    </a:cubicBezTo>
                    <a:cubicBezTo>
                      <a:pt x="-1267" y="8088"/>
                      <a:pt x="886" y="2705"/>
                      <a:pt x="5551" y="732"/>
                    </a:cubicBezTo>
                    <a:close/>
                  </a:path>
                </a:pathLst>
              </a:custGeom>
              <a:grpFill/>
              <a:ln w="5978" cap="flat">
                <a:noFill/>
                <a:prstDash val="solid"/>
                <a:miter/>
              </a:ln>
            </p:spPr>
            <p:txBody>
              <a:bodyPr rtlCol="0" anchor="ctr"/>
              <a:lstStyle/>
              <a:p>
                <a:endParaRPr lang="en-GB"/>
              </a:p>
            </p:txBody>
          </p:sp>
          <p:sp>
            <p:nvSpPr>
              <p:cNvPr id="5068" name="Vrije vorm: vorm 5067">
                <a:extLst>
                  <a:ext uri="{FF2B5EF4-FFF2-40B4-BE49-F238E27FC236}">
                    <a16:creationId xmlns:a16="http://schemas.microsoft.com/office/drawing/2014/main" id="{64BEA4BA-E8C0-4575-8E21-E374C2D90789}"/>
                  </a:ext>
                </a:extLst>
              </p:cNvPr>
              <p:cNvSpPr/>
              <p:nvPr/>
            </p:nvSpPr>
            <p:spPr>
              <a:xfrm>
                <a:off x="7700928" y="2698886"/>
                <a:ext cx="18339" cy="18414"/>
              </a:xfrm>
              <a:custGeom>
                <a:avLst/>
                <a:gdLst>
                  <a:gd name="connsiteX0" fmla="*/ 5551 w 18339"/>
                  <a:gd name="connsiteY0" fmla="*/ 732 h 18414"/>
                  <a:gd name="connsiteX1" fmla="*/ 767 w 18339"/>
                  <a:gd name="connsiteY1" fmla="*/ 12813 h 18414"/>
                  <a:gd name="connsiteX2" fmla="*/ 12788 w 18339"/>
                  <a:gd name="connsiteY2" fmla="*/ 17657 h 18414"/>
                  <a:gd name="connsiteX3" fmla="*/ 17572 w 18339"/>
                  <a:gd name="connsiteY3" fmla="*/ 5576 h 18414"/>
                  <a:gd name="connsiteX4" fmla="*/ 5551 w 18339"/>
                  <a:gd name="connsiteY4" fmla="*/ 73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4">
                    <a:moveTo>
                      <a:pt x="5551" y="732"/>
                    </a:moveTo>
                    <a:cubicBezTo>
                      <a:pt x="886" y="2705"/>
                      <a:pt x="-1267" y="8148"/>
                      <a:pt x="767" y="12813"/>
                    </a:cubicBezTo>
                    <a:cubicBezTo>
                      <a:pt x="2740" y="17478"/>
                      <a:pt x="8183" y="19691"/>
                      <a:pt x="12788" y="17657"/>
                    </a:cubicBezTo>
                    <a:cubicBezTo>
                      <a:pt x="17453" y="15684"/>
                      <a:pt x="19606" y="10241"/>
                      <a:pt x="17572" y="5576"/>
                    </a:cubicBezTo>
                    <a:cubicBezTo>
                      <a:pt x="15599" y="911"/>
                      <a:pt x="10216" y="-1242"/>
                      <a:pt x="5551" y="732"/>
                    </a:cubicBezTo>
                    <a:close/>
                  </a:path>
                </a:pathLst>
              </a:custGeom>
              <a:grpFill/>
              <a:ln w="5978" cap="flat">
                <a:noFill/>
                <a:prstDash val="solid"/>
                <a:miter/>
              </a:ln>
            </p:spPr>
            <p:txBody>
              <a:bodyPr rtlCol="0" anchor="ctr"/>
              <a:lstStyle/>
              <a:p>
                <a:endParaRPr lang="en-GB"/>
              </a:p>
            </p:txBody>
          </p:sp>
        </p:grpSp>
        <p:grpSp>
          <p:nvGrpSpPr>
            <p:cNvPr id="105" name="Graphic 3">
              <a:extLst>
                <a:ext uri="{FF2B5EF4-FFF2-40B4-BE49-F238E27FC236}">
                  <a16:creationId xmlns:a16="http://schemas.microsoft.com/office/drawing/2014/main" id="{132975E9-23BB-46C9-9E49-556D26ECA894}"/>
                </a:ext>
              </a:extLst>
            </p:cNvPr>
            <p:cNvGrpSpPr/>
            <p:nvPr/>
          </p:nvGrpSpPr>
          <p:grpSpPr>
            <a:xfrm>
              <a:off x="7767078" y="2898731"/>
              <a:ext cx="112951" cy="45005"/>
              <a:chOff x="7767078" y="2898731"/>
              <a:chExt cx="112951" cy="45005"/>
            </a:xfrm>
            <a:grpFill/>
          </p:grpSpPr>
          <p:sp>
            <p:nvSpPr>
              <p:cNvPr id="5063" name="Vrije vorm: vorm 5062">
                <a:extLst>
                  <a:ext uri="{FF2B5EF4-FFF2-40B4-BE49-F238E27FC236}">
                    <a16:creationId xmlns:a16="http://schemas.microsoft.com/office/drawing/2014/main" id="{03024DAD-4F52-436B-807D-49D86248029C}"/>
                  </a:ext>
                </a:extLst>
              </p:cNvPr>
              <p:cNvSpPr/>
              <p:nvPr/>
            </p:nvSpPr>
            <p:spPr>
              <a:xfrm>
                <a:off x="7775437" y="2906372"/>
                <a:ext cx="96289" cy="29724"/>
              </a:xfrm>
              <a:custGeom>
                <a:avLst/>
                <a:gdLst>
                  <a:gd name="connsiteX0" fmla="*/ 95512 w 96289"/>
                  <a:gd name="connsiteY0" fmla="*/ 0 h 29724"/>
                  <a:gd name="connsiteX1" fmla="*/ 96289 w 96289"/>
                  <a:gd name="connsiteY1" fmla="*/ 2930 h 29724"/>
                  <a:gd name="connsiteX2" fmla="*/ 837 w 96289"/>
                  <a:gd name="connsiteY2" fmla="*/ 29724 h 29724"/>
                  <a:gd name="connsiteX3" fmla="*/ 0 w 96289"/>
                  <a:gd name="connsiteY3" fmla="*/ 26734 h 29724"/>
                </a:gdLst>
                <a:ahLst/>
                <a:cxnLst>
                  <a:cxn ang="0">
                    <a:pos x="connsiteX0" y="connsiteY0"/>
                  </a:cxn>
                  <a:cxn ang="0">
                    <a:pos x="connsiteX1" y="connsiteY1"/>
                  </a:cxn>
                  <a:cxn ang="0">
                    <a:pos x="connsiteX2" y="connsiteY2"/>
                  </a:cxn>
                  <a:cxn ang="0">
                    <a:pos x="connsiteX3" y="connsiteY3"/>
                  </a:cxn>
                </a:cxnLst>
                <a:rect l="l" t="t" r="r" b="b"/>
                <a:pathLst>
                  <a:path w="96289" h="29724">
                    <a:moveTo>
                      <a:pt x="95512" y="0"/>
                    </a:moveTo>
                    <a:lnTo>
                      <a:pt x="96289" y="2930"/>
                    </a:lnTo>
                    <a:lnTo>
                      <a:pt x="837" y="29724"/>
                    </a:lnTo>
                    <a:lnTo>
                      <a:pt x="0" y="26734"/>
                    </a:lnTo>
                    <a:close/>
                  </a:path>
                </a:pathLst>
              </a:custGeom>
              <a:grpFill/>
              <a:ln w="5978" cap="flat">
                <a:noFill/>
                <a:prstDash val="solid"/>
                <a:miter/>
              </a:ln>
            </p:spPr>
            <p:txBody>
              <a:bodyPr rtlCol="0" anchor="ctr"/>
              <a:lstStyle/>
              <a:p>
                <a:endParaRPr lang="en-GB"/>
              </a:p>
            </p:txBody>
          </p:sp>
          <p:sp>
            <p:nvSpPr>
              <p:cNvPr id="5064" name="Vrije vorm: vorm 5063">
                <a:extLst>
                  <a:ext uri="{FF2B5EF4-FFF2-40B4-BE49-F238E27FC236}">
                    <a16:creationId xmlns:a16="http://schemas.microsoft.com/office/drawing/2014/main" id="{50013006-1FEA-45C1-80D9-FC3685DEC23E}"/>
                  </a:ext>
                </a:extLst>
              </p:cNvPr>
              <p:cNvSpPr/>
              <p:nvPr/>
            </p:nvSpPr>
            <p:spPr>
              <a:xfrm>
                <a:off x="7861714" y="2898731"/>
                <a:ext cx="18315" cy="18451"/>
              </a:xfrm>
              <a:custGeom>
                <a:avLst/>
                <a:gdLst>
                  <a:gd name="connsiteX0" fmla="*/ 6664 w 18315"/>
                  <a:gd name="connsiteY0" fmla="*/ 344 h 18451"/>
                  <a:gd name="connsiteX1" fmla="*/ 17967 w 18315"/>
                  <a:gd name="connsiteY1" fmla="*/ 6744 h 18451"/>
                  <a:gd name="connsiteX2" fmla="*/ 11627 w 18315"/>
                  <a:gd name="connsiteY2" fmla="*/ 18107 h 18451"/>
                  <a:gd name="connsiteX3" fmla="*/ 324 w 18315"/>
                  <a:gd name="connsiteY3" fmla="*/ 11708 h 18451"/>
                  <a:gd name="connsiteX4" fmla="*/ 6664 w 18315"/>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1">
                    <a:moveTo>
                      <a:pt x="6664" y="344"/>
                    </a:moveTo>
                    <a:cubicBezTo>
                      <a:pt x="11508" y="-1031"/>
                      <a:pt x="16591" y="1839"/>
                      <a:pt x="17967" y="6744"/>
                    </a:cubicBezTo>
                    <a:cubicBezTo>
                      <a:pt x="19343" y="11648"/>
                      <a:pt x="16531" y="16731"/>
                      <a:pt x="11627" y="18107"/>
                    </a:cubicBezTo>
                    <a:cubicBezTo>
                      <a:pt x="6783" y="19483"/>
                      <a:pt x="1699" y="16612"/>
                      <a:pt x="324" y="11708"/>
                    </a:cubicBezTo>
                    <a:cubicBezTo>
                      <a:pt x="-992" y="6804"/>
                      <a:pt x="1819" y="1720"/>
                      <a:pt x="6664" y="344"/>
                    </a:cubicBezTo>
                    <a:close/>
                  </a:path>
                </a:pathLst>
              </a:custGeom>
              <a:grpFill/>
              <a:ln w="5978" cap="flat">
                <a:noFill/>
                <a:prstDash val="solid"/>
                <a:miter/>
              </a:ln>
            </p:spPr>
            <p:txBody>
              <a:bodyPr rtlCol="0" anchor="ctr"/>
              <a:lstStyle/>
              <a:p>
                <a:endParaRPr lang="en-GB"/>
              </a:p>
            </p:txBody>
          </p:sp>
          <p:sp>
            <p:nvSpPr>
              <p:cNvPr id="5065" name="Vrije vorm: vorm 5064">
                <a:extLst>
                  <a:ext uri="{FF2B5EF4-FFF2-40B4-BE49-F238E27FC236}">
                    <a16:creationId xmlns:a16="http://schemas.microsoft.com/office/drawing/2014/main" id="{4B14F49C-4BAC-4209-8411-8894785B94AF}"/>
                  </a:ext>
                </a:extLst>
              </p:cNvPr>
              <p:cNvSpPr/>
              <p:nvPr/>
            </p:nvSpPr>
            <p:spPr>
              <a:xfrm>
                <a:off x="7767078" y="2925285"/>
                <a:ext cx="18331" cy="18451"/>
              </a:xfrm>
              <a:custGeom>
                <a:avLst/>
                <a:gdLst>
                  <a:gd name="connsiteX0" fmla="*/ 6684 w 18331"/>
                  <a:gd name="connsiteY0" fmla="*/ 344 h 18451"/>
                  <a:gd name="connsiteX1" fmla="*/ 345 w 18331"/>
                  <a:gd name="connsiteY1" fmla="*/ 11708 h 18451"/>
                  <a:gd name="connsiteX2" fmla="*/ 11648 w 18331"/>
                  <a:gd name="connsiteY2" fmla="*/ 18107 h 18451"/>
                  <a:gd name="connsiteX3" fmla="*/ 17987 w 18331"/>
                  <a:gd name="connsiteY3" fmla="*/ 6744 h 18451"/>
                  <a:gd name="connsiteX4" fmla="*/ 6684 w 18331"/>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51">
                    <a:moveTo>
                      <a:pt x="6684" y="344"/>
                    </a:moveTo>
                    <a:cubicBezTo>
                      <a:pt x="1840" y="1720"/>
                      <a:pt x="-1031" y="6803"/>
                      <a:pt x="345" y="11708"/>
                    </a:cubicBezTo>
                    <a:cubicBezTo>
                      <a:pt x="1720" y="16612"/>
                      <a:pt x="6803" y="19483"/>
                      <a:pt x="11648" y="18107"/>
                    </a:cubicBezTo>
                    <a:cubicBezTo>
                      <a:pt x="16492" y="16731"/>
                      <a:pt x="19363" y="11648"/>
                      <a:pt x="17987" y="6744"/>
                    </a:cubicBezTo>
                    <a:cubicBezTo>
                      <a:pt x="16672" y="1839"/>
                      <a:pt x="11588" y="-1031"/>
                      <a:pt x="6684" y="344"/>
                    </a:cubicBezTo>
                    <a:close/>
                  </a:path>
                </a:pathLst>
              </a:custGeom>
              <a:grpFill/>
              <a:ln w="5978" cap="flat">
                <a:noFill/>
                <a:prstDash val="solid"/>
                <a:miter/>
              </a:ln>
            </p:spPr>
            <p:txBody>
              <a:bodyPr rtlCol="0" anchor="ctr"/>
              <a:lstStyle/>
              <a:p>
                <a:endParaRPr lang="en-GB"/>
              </a:p>
            </p:txBody>
          </p:sp>
        </p:grpSp>
        <p:grpSp>
          <p:nvGrpSpPr>
            <p:cNvPr id="106" name="Graphic 3">
              <a:extLst>
                <a:ext uri="{FF2B5EF4-FFF2-40B4-BE49-F238E27FC236}">
                  <a16:creationId xmlns:a16="http://schemas.microsoft.com/office/drawing/2014/main" id="{5B0F88E8-CE67-4990-B715-58BE69C3436E}"/>
                </a:ext>
              </a:extLst>
            </p:cNvPr>
            <p:cNvGrpSpPr/>
            <p:nvPr/>
          </p:nvGrpSpPr>
          <p:grpSpPr>
            <a:xfrm>
              <a:off x="7622268" y="2425442"/>
              <a:ext cx="95596" cy="64359"/>
              <a:chOff x="7622268" y="2425442"/>
              <a:chExt cx="95596" cy="64359"/>
            </a:xfrm>
            <a:grpFill/>
          </p:grpSpPr>
          <p:sp>
            <p:nvSpPr>
              <p:cNvPr id="5060" name="Vrije vorm: vorm 5059">
                <a:extLst>
                  <a:ext uri="{FF2B5EF4-FFF2-40B4-BE49-F238E27FC236}">
                    <a16:creationId xmlns:a16="http://schemas.microsoft.com/office/drawing/2014/main" id="{85C3D990-7579-4658-8E56-6B3544345BA5}"/>
                  </a:ext>
                </a:extLst>
              </p:cNvPr>
              <p:cNvSpPr/>
              <p:nvPr/>
            </p:nvSpPr>
            <p:spPr>
              <a:xfrm>
                <a:off x="7630284" y="2433117"/>
                <a:ext cx="79603" cy="49041"/>
              </a:xfrm>
              <a:custGeom>
                <a:avLst/>
                <a:gdLst>
                  <a:gd name="connsiteX0" fmla="*/ 79604 w 79603"/>
                  <a:gd name="connsiteY0" fmla="*/ 2632 h 49041"/>
                  <a:gd name="connsiteX1" fmla="*/ 1555 w 79603"/>
                  <a:gd name="connsiteY1" fmla="*/ 49042 h 49041"/>
                  <a:gd name="connsiteX2" fmla="*/ 0 w 79603"/>
                  <a:gd name="connsiteY2" fmla="*/ 46410 h 49041"/>
                  <a:gd name="connsiteX3" fmla="*/ 78049 w 79603"/>
                  <a:gd name="connsiteY3" fmla="*/ 0 h 49041"/>
                </a:gdLst>
                <a:ahLst/>
                <a:cxnLst>
                  <a:cxn ang="0">
                    <a:pos x="connsiteX0" y="connsiteY0"/>
                  </a:cxn>
                  <a:cxn ang="0">
                    <a:pos x="connsiteX1" y="connsiteY1"/>
                  </a:cxn>
                  <a:cxn ang="0">
                    <a:pos x="connsiteX2" y="connsiteY2"/>
                  </a:cxn>
                  <a:cxn ang="0">
                    <a:pos x="connsiteX3" y="connsiteY3"/>
                  </a:cxn>
                </a:cxnLst>
                <a:rect l="l" t="t" r="r" b="b"/>
                <a:pathLst>
                  <a:path w="79603" h="49041">
                    <a:moveTo>
                      <a:pt x="79604" y="2632"/>
                    </a:moveTo>
                    <a:lnTo>
                      <a:pt x="1555" y="49042"/>
                    </a:lnTo>
                    <a:lnTo>
                      <a:pt x="0" y="46410"/>
                    </a:lnTo>
                    <a:lnTo>
                      <a:pt x="78049" y="0"/>
                    </a:lnTo>
                    <a:close/>
                  </a:path>
                </a:pathLst>
              </a:custGeom>
              <a:grpFill/>
              <a:ln w="5978" cap="flat">
                <a:noFill/>
                <a:prstDash val="solid"/>
                <a:miter/>
              </a:ln>
            </p:spPr>
            <p:txBody>
              <a:bodyPr rtlCol="0" anchor="ctr"/>
              <a:lstStyle/>
              <a:p>
                <a:endParaRPr lang="en-GB"/>
              </a:p>
            </p:txBody>
          </p:sp>
          <p:sp>
            <p:nvSpPr>
              <p:cNvPr id="5061" name="Vrije vorm: vorm 5060">
                <a:extLst>
                  <a:ext uri="{FF2B5EF4-FFF2-40B4-BE49-F238E27FC236}">
                    <a16:creationId xmlns:a16="http://schemas.microsoft.com/office/drawing/2014/main" id="{D88786A3-BC85-4AF9-80A4-01841C444AF0}"/>
                  </a:ext>
                </a:extLst>
              </p:cNvPr>
              <p:cNvSpPr/>
              <p:nvPr/>
            </p:nvSpPr>
            <p:spPr>
              <a:xfrm>
                <a:off x="7699565" y="2425442"/>
                <a:ext cx="18299" cy="18400"/>
              </a:xfrm>
              <a:custGeom>
                <a:avLst/>
                <a:gdLst>
                  <a:gd name="connsiteX0" fmla="*/ 4461 w 18299"/>
                  <a:gd name="connsiteY0" fmla="*/ 1276 h 18400"/>
                  <a:gd name="connsiteX1" fmla="*/ 17021 w 18299"/>
                  <a:gd name="connsiteY1" fmla="*/ 4506 h 18400"/>
                  <a:gd name="connsiteX2" fmla="*/ 13851 w 18299"/>
                  <a:gd name="connsiteY2" fmla="*/ 17125 h 18400"/>
                  <a:gd name="connsiteX3" fmla="*/ 1292 w 18299"/>
                  <a:gd name="connsiteY3" fmla="*/ 13895 h 18400"/>
                  <a:gd name="connsiteX4" fmla="*/ 4461 w 18299"/>
                  <a:gd name="connsiteY4" fmla="*/ 127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00">
                    <a:moveTo>
                      <a:pt x="4461" y="1276"/>
                    </a:moveTo>
                    <a:cubicBezTo>
                      <a:pt x="8828" y="-1296"/>
                      <a:pt x="14449" y="140"/>
                      <a:pt x="17021" y="4506"/>
                    </a:cubicBezTo>
                    <a:cubicBezTo>
                      <a:pt x="19593" y="8872"/>
                      <a:pt x="18157" y="14553"/>
                      <a:pt x="13851" y="17125"/>
                    </a:cubicBezTo>
                    <a:cubicBezTo>
                      <a:pt x="9486" y="19697"/>
                      <a:pt x="3863" y="18261"/>
                      <a:pt x="1292" y="13895"/>
                    </a:cubicBezTo>
                    <a:cubicBezTo>
                      <a:pt x="-1280" y="9529"/>
                      <a:pt x="96" y="3907"/>
                      <a:pt x="4461" y="1276"/>
                    </a:cubicBezTo>
                    <a:close/>
                  </a:path>
                </a:pathLst>
              </a:custGeom>
              <a:grpFill/>
              <a:ln w="5978" cap="flat">
                <a:noFill/>
                <a:prstDash val="solid"/>
                <a:miter/>
              </a:ln>
            </p:spPr>
            <p:txBody>
              <a:bodyPr rtlCol="0" anchor="ctr"/>
              <a:lstStyle/>
              <a:p>
                <a:endParaRPr lang="en-GB"/>
              </a:p>
            </p:txBody>
          </p:sp>
          <p:sp>
            <p:nvSpPr>
              <p:cNvPr id="5062" name="Vrije vorm: vorm 5061">
                <a:extLst>
                  <a:ext uri="{FF2B5EF4-FFF2-40B4-BE49-F238E27FC236}">
                    <a16:creationId xmlns:a16="http://schemas.microsoft.com/office/drawing/2014/main" id="{96374017-4280-437E-9549-8ECBDE1F991B}"/>
                  </a:ext>
                </a:extLst>
              </p:cNvPr>
              <p:cNvSpPr/>
              <p:nvPr/>
            </p:nvSpPr>
            <p:spPr>
              <a:xfrm>
                <a:off x="7622268" y="2471374"/>
                <a:ext cx="18366" cy="18427"/>
              </a:xfrm>
              <a:custGeom>
                <a:avLst/>
                <a:gdLst>
                  <a:gd name="connsiteX0" fmla="*/ 4488 w 18366"/>
                  <a:gd name="connsiteY0" fmla="*/ 1276 h 18427"/>
                  <a:gd name="connsiteX1" fmla="*/ 1318 w 18366"/>
                  <a:gd name="connsiteY1" fmla="*/ 13895 h 18427"/>
                  <a:gd name="connsiteX2" fmla="*/ 13878 w 18366"/>
                  <a:gd name="connsiteY2" fmla="*/ 17125 h 18427"/>
                  <a:gd name="connsiteX3" fmla="*/ 17048 w 18366"/>
                  <a:gd name="connsiteY3" fmla="*/ 4505 h 18427"/>
                  <a:gd name="connsiteX4" fmla="*/ 4488 w 18366"/>
                  <a:gd name="connsiteY4" fmla="*/ 127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7">
                    <a:moveTo>
                      <a:pt x="4488" y="1276"/>
                    </a:moveTo>
                    <a:cubicBezTo>
                      <a:pt x="122" y="3848"/>
                      <a:pt x="-1313" y="9529"/>
                      <a:pt x="1318" y="13895"/>
                    </a:cubicBezTo>
                    <a:cubicBezTo>
                      <a:pt x="3890" y="18261"/>
                      <a:pt x="9512" y="19756"/>
                      <a:pt x="13878" y="17125"/>
                    </a:cubicBezTo>
                    <a:cubicBezTo>
                      <a:pt x="18243" y="14553"/>
                      <a:pt x="19679" y="8871"/>
                      <a:pt x="17048" y="4505"/>
                    </a:cubicBezTo>
                    <a:cubicBezTo>
                      <a:pt x="14475" y="140"/>
                      <a:pt x="8854" y="-1296"/>
                      <a:pt x="4488" y="1276"/>
                    </a:cubicBezTo>
                    <a:close/>
                  </a:path>
                </a:pathLst>
              </a:custGeom>
              <a:grpFill/>
              <a:ln w="5978" cap="flat">
                <a:noFill/>
                <a:prstDash val="solid"/>
                <a:miter/>
              </a:ln>
            </p:spPr>
            <p:txBody>
              <a:bodyPr rtlCol="0" anchor="ctr"/>
              <a:lstStyle/>
              <a:p>
                <a:endParaRPr lang="en-GB"/>
              </a:p>
            </p:txBody>
          </p:sp>
        </p:grpSp>
        <p:grpSp>
          <p:nvGrpSpPr>
            <p:cNvPr id="107" name="Graphic 3">
              <a:extLst>
                <a:ext uri="{FF2B5EF4-FFF2-40B4-BE49-F238E27FC236}">
                  <a16:creationId xmlns:a16="http://schemas.microsoft.com/office/drawing/2014/main" id="{7D5EAA6B-0476-44A9-86DB-39483337DED7}"/>
                </a:ext>
              </a:extLst>
            </p:cNvPr>
            <p:cNvGrpSpPr/>
            <p:nvPr/>
          </p:nvGrpSpPr>
          <p:grpSpPr>
            <a:xfrm>
              <a:off x="7878862" y="3243234"/>
              <a:ext cx="100557" cy="25490"/>
              <a:chOff x="7878862" y="3243234"/>
              <a:chExt cx="100557" cy="25490"/>
            </a:xfrm>
            <a:grpFill/>
          </p:grpSpPr>
          <p:sp>
            <p:nvSpPr>
              <p:cNvPr id="5057" name="Vrije vorm: vorm 5056">
                <a:extLst>
                  <a:ext uri="{FF2B5EF4-FFF2-40B4-BE49-F238E27FC236}">
                    <a16:creationId xmlns:a16="http://schemas.microsoft.com/office/drawing/2014/main" id="{1E773810-E3E3-429B-A530-74291A8B4072}"/>
                  </a:ext>
                </a:extLst>
              </p:cNvPr>
              <p:cNvSpPr/>
              <p:nvPr/>
            </p:nvSpPr>
            <p:spPr>
              <a:xfrm>
                <a:off x="7887396" y="3250921"/>
                <a:ext cx="83431" cy="10167"/>
              </a:xfrm>
              <a:custGeom>
                <a:avLst/>
                <a:gdLst>
                  <a:gd name="connsiteX0" fmla="*/ 83192 w 83431"/>
                  <a:gd name="connsiteY0" fmla="*/ 0 h 10167"/>
                  <a:gd name="connsiteX1" fmla="*/ 83432 w 83431"/>
                  <a:gd name="connsiteY1" fmla="*/ 3050 h 10167"/>
                  <a:gd name="connsiteX2" fmla="*/ 299 w 83431"/>
                  <a:gd name="connsiteY2" fmla="*/ 10167 h 10167"/>
                  <a:gd name="connsiteX3" fmla="*/ 0 w 83431"/>
                  <a:gd name="connsiteY3" fmla="*/ 7117 h 10167"/>
                </a:gdLst>
                <a:ahLst/>
                <a:cxnLst>
                  <a:cxn ang="0">
                    <a:pos x="connsiteX0" y="connsiteY0"/>
                  </a:cxn>
                  <a:cxn ang="0">
                    <a:pos x="connsiteX1" y="connsiteY1"/>
                  </a:cxn>
                  <a:cxn ang="0">
                    <a:pos x="connsiteX2" y="connsiteY2"/>
                  </a:cxn>
                  <a:cxn ang="0">
                    <a:pos x="connsiteX3" y="connsiteY3"/>
                  </a:cxn>
                </a:cxnLst>
                <a:rect l="l" t="t" r="r" b="b"/>
                <a:pathLst>
                  <a:path w="83431" h="10167">
                    <a:moveTo>
                      <a:pt x="83192" y="0"/>
                    </a:moveTo>
                    <a:lnTo>
                      <a:pt x="83432" y="3050"/>
                    </a:lnTo>
                    <a:lnTo>
                      <a:pt x="299" y="10167"/>
                    </a:lnTo>
                    <a:lnTo>
                      <a:pt x="0" y="7117"/>
                    </a:lnTo>
                    <a:close/>
                  </a:path>
                </a:pathLst>
              </a:custGeom>
              <a:grpFill/>
              <a:ln w="5978" cap="flat">
                <a:noFill/>
                <a:prstDash val="solid"/>
                <a:miter/>
              </a:ln>
            </p:spPr>
            <p:txBody>
              <a:bodyPr rtlCol="0" anchor="ctr"/>
              <a:lstStyle/>
              <a:p>
                <a:endParaRPr lang="en-GB"/>
              </a:p>
            </p:txBody>
          </p:sp>
          <p:sp>
            <p:nvSpPr>
              <p:cNvPr id="5058" name="Vrije vorm: vorm 5057">
                <a:extLst>
                  <a:ext uri="{FF2B5EF4-FFF2-40B4-BE49-F238E27FC236}">
                    <a16:creationId xmlns:a16="http://schemas.microsoft.com/office/drawing/2014/main" id="{A13C1A1B-55DD-42C8-BC12-B41C013926B4}"/>
                  </a:ext>
                </a:extLst>
              </p:cNvPr>
              <p:cNvSpPr/>
              <p:nvPr/>
            </p:nvSpPr>
            <p:spPr>
              <a:xfrm>
                <a:off x="7961097" y="3243234"/>
                <a:ext cx="18322" cy="18424"/>
              </a:xfrm>
              <a:custGeom>
                <a:avLst/>
                <a:gdLst>
                  <a:gd name="connsiteX0" fmla="*/ 8354 w 18322"/>
                  <a:gd name="connsiteY0" fmla="*/ 32 h 18424"/>
                  <a:gd name="connsiteX1" fmla="*/ 18282 w 18322"/>
                  <a:gd name="connsiteY1" fmla="*/ 8405 h 18424"/>
                  <a:gd name="connsiteX2" fmla="*/ 9969 w 18322"/>
                  <a:gd name="connsiteY2" fmla="*/ 18392 h 18424"/>
                  <a:gd name="connsiteX3" fmla="*/ 41 w 18322"/>
                  <a:gd name="connsiteY3" fmla="*/ 10019 h 18424"/>
                  <a:gd name="connsiteX4" fmla="*/ 8354 w 18322"/>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4">
                    <a:moveTo>
                      <a:pt x="8354" y="32"/>
                    </a:moveTo>
                    <a:cubicBezTo>
                      <a:pt x="13378" y="-387"/>
                      <a:pt x="17863" y="3381"/>
                      <a:pt x="18282" y="8405"/>
                    </a:cubicBezTo>
                    <a:cubicBezTo>
                      <a:pt x="18761" y="13488"/>
                      <a:pt x="14993" y="17914"/>
                      <a:pt x="9969" y="18392"/>
                    </a:cubicBezTo>
                    <a:cubicBezTo>
                      <a:pt x="4945" y="18811"/>
                      <a:pt x="459" y="15043"/>
                      <a:pt x="41" y="10019"/>
                    </a:cubicBezTo>
                    <a:cubicBezTo>
                      <a:pt x="-438" y="4936"/>
                      <a:pt x="3330" y="450"/>
                      <a:pt x="8354" y="32"/>
                    </a:cubicBezTo>
                    <a:close/>
                  </a:path>
                </a:pathLst>
              </a:custGeom>
              <a:grpFill/>
              <a:ln w="5978" cap="flat">
                <a:noFill/>
                <a:prstDash val="solid"/>
                <a:miter/>
              </a:ln>
            </p:spPr>
            <p:txBody>
              <a:bodyPr rtlCol="0" anchor="ctr"/>
              <a:lstStyle/>
              <a:p>
                <a:endParaRPr lang="en-GB"/>
              </a:p>
            </p:txBody>
          </p:sp>
          <p:sp>
            <p:nvSpPr>
              <p:cNvPr id="5059" name="Vrije vorm: vorm 5058">
                <a:extLst>
                  <a:ext uri="{FF2B5EF4-FFF2-40B4-BE49-F238E27FC236}">
                    <a16:creationId xmlns:a16="http://schemas.microsoft.com/office/drawing/2014/main" id="{87FD4597-3922-40ED-A972-6FFE336F3873}"/>
                  </a:ext>
                </a:extLst>
              </p:cNvPr>
              <p:cNvSpPr/>
              <p:nvPr/>
            </p:nvSpPr>
            <p:spPr>
              <a:xfrm>
                <a:off x="7878862" y="3250291"/>
                <a:ext cx="18314" cy="18433"/>
              </a:xfrm>
              <a:custGeom>
                <a:avLst/>
                <a:gdLst>
                  <a:gd name="connsiteX0" fmla="*/ 8354 w 18314"/>
                  <a:gd name="connsiteY0" fmla="*/ 32 h 18433"/>
                  <a:gd name="connsiteX1" fmla="*/ 41 w 18314"/>
                  <a:gd name="connsiteY1" fmla="*/ 10019 h 18433"/>
                  <a:gd name="connsiteX2" fmla="*/ 9969 w 18314"/>
                  <a:gd name="connsiteY2" fmla="*/ 18393 h 18433"/>
                  <a:gd name="connsiteX3" fmla="*/ 18282 w 18314"/>
                  <a:gd name="connsiteY3" fmla="*/ 8405 h 18433"/>
                  <a:gd name="connsiteX4" fmla="*/ 8354 w 18314"/>
                  <a:gd name="connsiteY4" fmla="*/ 32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33">
                    <a:moveTo>
                      <a:pt x="8354" y="32"/>
                    </a:moveTo>
                    <a:cubicBezTo>
                      <a:pt x="3330" y="450"/>
                      <a:pt x="-438" y="4936"/>
                      <a:pt x="41" y="10019"/>
                    </a:cubicBezTo>
                    <a:cubicBezTo>
                      <a:pt x="519" y="15103"/>
                      <a:pt x="4945" y="18871"/>
                      <a:pt x="9969" y="18393"/>
                    </a:cubicBezTo>
                    <a:cubicBezTo>
                      <a:pt x="14993" y="17974"/>
                      <a:pt x="18701" y="13488"/>
                      <a:pt x="18282" y="8405"/>
                    </a:cubicBezTo>
                    <a:cubicBezTo>
                      <a:pt x="17804" y="3381"/>
                      <a:pt x="13378" y="-387"/>
                      <a:pt x="8354" y="32"/>
                    </a:cubicBezTo>
                    <a:close/>
                  </a:path>
                </a:pathLst>
              </a:custGeom>
              <a:grpFill/>
              <a:ln w="5978" cap="flat">
                <a:noFill/>
                <a:prstDash val="solid"/>
                <a:miter/>
              </a:ln>
            </p:spPr>
            <p:txBody>
              <a:bodyPr rtlCol="0" anchor="ctr"/>
              <a:lstStyle/>
              <a:p>
                <a:endParaRPr lang="en-GB"/>
              </a:p>
            </p:txBody>
          </p:sp>
        </p:grpSp>
        <p:grpSp>
          <p:nvGrpSpPr>
            <p:cNvPr id="108" name="Graphic 3">
              <a:extLst>
                <a:ext uri="{FF2B5EF4-FFF2-40B4-BE49-F238E27FC236}">
                  <a16:creationId xmlns:a16="http://schemas.microsoft.com/office/drawing/2014/main" id="{813D3D33-7467-4AE1-B688-80A4B518B765}"/>
                </a:ext>
              </a:extLst>
            </p:cNvPr>
            <p:cNvGrpSpPr/>
            <p:nvPr/>
          </p:nvGrpSpPr>
          <p:grpSpPr>
            <a:xfrm>
              <a:off x="7597369" y="2395018"/>
              <a:ext cx="101162" cy="69758"/>
              <a:chOff x="7597369" y="2395018"/>
              <a:chExt cx="101162" cy="69758"/>
            </a:xfrm>
            <a:grpFill/>
          </p:grpSpPr>
          <p:sp>
            <p:nvSpPr>
              <p:cNvPr id="5054" name="Vrije vorm: vorm 5053">
                <a:extLst>
                  <a:ext uri="{FF2B5EF4-FFF2-40B4-BE49-F238E27FC236}">
                    <a16:creationId xmlns:a16="http://schemas.microsoft.com/office/drawing/2014/main" id="{EAC47CF7-66FC-49BE-A22B-BCBA5C925EA7}"/>
                  </a:ext>
                </a:extLst>
              </p:cNvPr>
              <p:cNvSpPr/>
              <p:nvPr/>
            </p:nvSpPr>
            <p:spPr>
              <a:xfrm>
                <a:off x="7605344" y="2402675"/>
                <a:ext cx="85225" cy="54424"/>
              </a:xfrm>
              <a:custGeom>
                <a:avLst/>
                <a:gdLst>
                  <a:gd name="connsiteX0" fmla="*/ 85225 w 85225"/>
                  <a:gd name="connsiteY0" fmla="*/ 2632 h 54424"/>
                  <a:gd name="connsiteX1" fmla="*/ 1555 w 85225"/>
                  <a:gd name="connsiteY1" fmla="*/ 54425 h 54424"/>
                  <a:gd name="connsiteX2" fmla="*/ 0 w 85225"/>
                  <a:gd name="connsiteY2" fmla="*/ 51853 h 54424"/>
                  <a:gd name="connsiteX3" fmla="*/ 83611 w 85225"/>
                  <a:gd name="connsiteY3" fmla="*/ 0 h 54424"/>
                </a:gdLst>
                <a:ahLst/>
                <a:cxnLst>
                  <a:cxn ang="0">
                    <a:pos x="connsiteX0" y="connsiteY0"/>
                  </a:cxn>
                  <a:cxn ang="0">
                    <a:pos x="connsiteX1" y="connsiteY1"/>
                  </a:cxn>
                  <a:cxn ang="0">
                    <a:pos x="connsiteX2" y="connsiteY2"/>
                  </a:cxn>
                  <a:cxn ang="0">
                    <a:pos x="connsiteX3" y="connsiteY3"/>
                  </a:cxn>
                </a:cxnLst>
                <a:rect l="l" t="t" r="r" b="b"/>
                <a:pathLst>
                  <a:path w="85225" h="54424">
                    <a:moveTo>
                      <a:pt x="85225" y="2632"/>
                    </a:moveTo>
                    <a:lnTo>
                      <a:pt x="1555" y="54425"/>
                    </a:lnTo>
                    <a:lnTo>
                      <a:pt x="0" y="51853"/>
                    </a:lnTo>
                    <a:lnTo>
                      <a:pt x="83611" y="0"/>
                    </a:lnTo>
                    <a:close/>
                  </a:path>
                </a:pathLst>
              </a:custGeom>
              <a:grpFill/>
              <a:ln w="5978" cap="flat">
                <a:noFill/>
                <a:prstDash val="solid"/>
                <a:miter/>
              </a:ln>
            </p:spPr>
            <p:txBody>
              <a:bodyPr rtlCol="0" anchor="ctr"/>
              <a:lstStyle/>
              <a:p>
                <a:endParaRPr lang="en-GB"/>
              </a:p>
            </p:txBody>
          </p:sp>
          <p:sp>
            <p:nvSpPr>
              <p:cNvPr id="5055" name="Vrije vorm: vorm 5054">
                <a:extLst>
                  <a:ext uri="{FF2B5EF4-FFF2-40B4-BE49-F238E27FC236}">
                    <a16:creationId xmlns:a16="http://schemas.microsoft.com/office/drawing/2014/main" id="{0FB9AB61-3EE3-47B1-8B35-1579FB7C31A3}"/>
                  </a:ext>
                </a:extLst>
              </p:cNvPr>
              <p:cNvSpPr/>
              <p:nvPr/>
            </p:nvSpPr>
            <p:spPr>
              <a:xfrm>
                <a:off x="7680202" y="2395018"/>
                <a:ext cx="18329" cy="18484"/>
              </a:xfrm>
              <a:custGeom>
                <a:avLst/>
                <a:gdLst>
                  <a:gd name="connsiteX0" fmla="*/ 4328 w 18329"/>
                  <a:gd name="connsiteY0" fmla="*/ 1378 h 18484"/>
                  <a:gd name="connsiteX1" fmla="*/ 16947 w 18329"/>
                  <a:gd name="connsiteY1" fmla="*/ 4428 h 18484"/>
                  <a:gd name="connsiteX2" fmla="*/ 14017 w 18329"/>
                  <a:gd name="connsiteY2" fmla="*/ 17107 h 18484"/>
                  <a:gd name="connsiteX3" fmla="*/ 1397 w 18329"/>
                  <a:gd name="connsiteY3" fmla="*/ 14057 h 18484"/>
                  <a:gd name="connsiteX4" fmla="*/ 4328 w 18329"/>
                  <a:gd name="connsiteY4" fmla="*/ 137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84">
                    <a:moveTo>
                      <a:pt x="4328" y="1378"/>
                    </a:moveTo>
                    <a:cubicBezTo>
                      <a:pt x="8634" y="-1314"/>
                      <a:pt x="14255" y="62"/>
                      <a:pt x="16947" y="4428"/>
                    </a:cubicBezTo>
                    <a:cubicBezTo>
                      <a:pt x="19638" y="8734"/>
                      <a:pt x="18263" y="14416"/>
                      <a:pt x="14017" y="17107"/>
                    </a:cubicBezTo>
                    <a:cubicBezTo>
                      <a:pt x="9710" y="19798"/>
                      <a:pt x="4088" y="18423"/>
                      <a:pt x="1397" y="14057"/>
                    </a:cubicBezTo>
                    <a:cubicBezTo>
                      <a:pt x="-1294" y="9691"/>
                      <a:pt x="21" y="4009"/>
                      <a:pt x="4328" y="1378"/>
                    </a:cubicBezTo>
                    <a:close/>
                  </a:path>
                </a:pathLst>
              </a:custGeom>
              <a:grpFill/>
              <a:ln w="5978" cap="flat">
                <a:noFill/>
                <a:prstDash val="solid"/>
                <a:miter/>
              </a:ln>
            </p:spPr>
            <p:txBody>
              <a:bodyPr rtlCol="0" anchor="ctr"/>
              <a:lstStyle/>
              <a:p>
                <a:endParaRPr lang="en-GB"/>
              </a:p>
            </p:txBody>
          </p:sp>
          <p:sp>
            <p:nvSpPr>
              <p:cNvPr id="5056" name="Vrije vorm: vorm 5055">
                <a:extLst>
                  <a:ext uri="{FF2B5EF4-FFF2-40B4-BE49-F238E27FC236}">
                    <a16:creationId xmlns:a16="http://schemas.microsoft.com/office/drawing/2014/main" id="{8F58AB5A-3429-45CD-890F-1C7D8E1202FF}"/>
                  </a:ext>
                </a:extLst>
              </p:cNvPr>
              <p:cNvSpPr/>
              <p:nvPr/>
            </p:nvSpPr>
            <p:spPr>
              <a:xfrm>
                <a:off x="7597369" y="2446359"/>
                <a:ext cx="18343" cy="18417"/>
              </a:xfrm>
              <a:custGeom>
                <a:avLst/>
                <a:gdLst>
                  <a:gd name="connsiteX0" fmla="*/ 4327 w 18343"/>
                  <a:gd name="connsiteY0" fmla="*/ 1351 h 18417"/>
                  <a:gd name="connsiteX1" fmla="*/ 1397 w 18343"/>
                  <a:gd name="connsiteY1" fmla="*/ 14030 h 18417"/>
                  <a:gd name="connsiteX2" fmla="*/ 14016 w 18343"/>
                  <a:gd name="connsiteY2" fmla="*/ 17080 h 18417"/>
                  <a:gd name="connsiteX3" fmla="*/ 16946 w 18343"/>
                  <a:gd name="connsiteY3" fmla="*/ 4401 h 18417"/>
                  <a:gd name="connsiteX4" fmla="*/ 4327 w 18343"/>
                  <a:gd name="connsiteY4" fmla="*/ 1351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7">
                    <a:moveTo>
                      <a:pt x="4327" y="1351"/>
                    </a:moveTo>
                    <a:cubicBezTo>
                      <a:pt x="21" y="4042"/>
                      <a:pt x="-1294" y="9664"/>
                      <a:pt x="1397" y="14030"/>
                    </a:cubicBezTo>
                    <a:cubicBezTo>
                      <a:pt x="4089" y="18336"/>
                      <a:pt x="9710" y="19712"/>
                      <a:pt x="14016" y="17080"/>
                    </a:cubicBezTo>
                    <a:cubicBezTo>
                      <a:pt x="18323" y="14389"/>
                      <a:pt x="19638" y="8767"/>
                      <a:pt x="16946" y="4401"/>
                    </a:cubicBezTo>
                    <a:cubicBezTo>
                      <a:pt x="14255" y="35"/>
                      <a:pt x="8634" y="-1280"/>
                      <a:pt x="4327" y="1351"/>
                    </a:cubicBezTo>
                    <a:close/>
                  </a:path>
                </a:pathLst>
              </a:custGeom>
              <a:grpFill/>
              <a:ln w="5978" cap="flat">
                <a:noFill/>
                <a:prstDash val="solid"/>
                <a:miter/>
              </a:ln>
            </p:spPr>
            <p:txBody>
              <a:bodyPr rtlCol="0" anchor="ctr"/>
              <a:lstStyle/>
              <a:p>
                <a:endParaRPr lang="en-GB"/>
              </a:p>
            </p:txBody>
          </p:sp>
        </p:grpSp>
        <p:grpSp>
          <p:nvGrpSpPr>
            <p:cNvPr id="109" name="Graphic 3">
              <a:extLst>
                <a:ext uri="{FF2B5EF4-FFF2-40B4-BE49-F238E27FC236}">
                  <a16:creationId xmlns:a16="http://schemas.microsoft.com/office/drawing/2014/main" id="{9D8F9A8D-B07C-4D65-80AC-B267B78734DF}"/>
                </a:ext>
              </a:extLst>
            </p:cNvPr>
            <p:cNvGrpSpPr/>
            <p:nvPr/>
          </p:nvGrpSpPr>
          <p:grpSpPr>
            <a:xfrm>
              <a:off x="8028296" y="3647677"/>
              <a:ext cx="63705" cy="23885"/>
              <a:chOff x="8028296" y="3647677"/>
              <a:chExt cx="63705" cy="23885"/>
            </a:xfrm>
            <a:grpFill/>
          </p:grpSpPr>
          <p:sp>
            <p:nvSpPr>
              <p:cNvPr id="5051" name="Vrije vorm: vorm 5050">
                <a:extLst>
                  <a:ext uri="{FF2B5EF4-FFF2-40B4-BE49-F238E27FC236}">
                    <a16:creationId xmlns:a16="http://schemas.microsoft.com/office/drawing/2014/main" id="{2A03DAB3-AE9C-4DE9-9235-063E9AF3E9DD}"/>
                  </a:ext>
                </a:extLst>
              </p:cNvPr>
              <p:cNvSpPr/>
              <p:nvPr/>
            </p:nvSpPr>
            <p:spPr>
              <a:xfrm>
                <a:off x="8036854" y="3655278"/>
                <a:ext cx="46649" cy="8672"/>
              </a:xfrm>
              <a:custGeom>
                <a:avLst/>
                <a:gdLst>
                  <a:gd name="connsiteX0" fmla="*/ 46650 w 46649"/>
                  <a:gd name="connsiteY0" fmla="*/ 5622 h 8672"/>
                  <a:gd name="connsiteX1" fmla="*/ 46291 w 46649"/>
                  <a:gd name="connsiteY1" fmla="*/ 8672 h 8672"/>
                  <a:gd name="connsiteX2" fmla="*/ 0 w 46649"/>
                  <a:gd name="connsiteY2" fmla="*/ 3050 h 8672"/>
                  <a:gd name="connsiteX3" fmla="*/ 359 w 46649"/>
                  <a:gd name="connsiteY3" fmla="*/ 0 h 8672"/>
                </a:gdLst>
                <a:ahLst/>
                <a:cxnLst>
                  <a:cxn ang="0">
                    <a:pos x="connsiteX0" y="connsiteY0"/>
                  </a:cxn>
                  <a:cxn ang="0">
                    <a:pos x="connsiteX1" y="connsiteY1"/>
                  </a:cxn>
                  <a:cxn ang="0">
                    <a:pos x="connsiteX2" y="connsiteY2"/>
                  </a:cxn>
                  <a:cxn ang="0">
                    <a:pos x="connsiteX3" y="connsiteY3"/>
                  </a:cxn>
                </a:cxnLst>
                <a:rect l="l" t="t" r="r" b="b"/>
                <a:pathLst>
                  <a:path w="46649" h="8672">
                    <a:moveTo>
                      <a:pt x="46650" y="5622"/>
                    </a:moveTo>
                    <a:lnTo>
                      <a:pt x="46291" y="8672"/>
                    </a:lnTo>
                    <a:lnTo>
                      <a:pt x="0" y="3050"/>
                    </a:lnTo>
                    <a:lnTo>
                      <a:pt x="359" y="0"/>
                    </a:lnTo>
                    <a:close/>
                  </a:path>
                </a:pathLst>
              </a:custGeom>
              <a:grpFill/>
              <a:ln w="5978" cap="flat">
                <a:noFill/>
                <a:prstDash val="solid"/>
                <a:miter/>
              </a:ln>
            </p:spPr>
            <p:txBody>
              <a:bodyPr rtlCol="0" anchor="ctr"/>
              <a:lstStyle/>
              <a:p>
                <a:endParaRPr lang="en-GB"/>
              </a:p>
            </p:txBody>
          </p:sp>
          <p:sp>
            <p:nvSpPr>
              <p:cNvPr id="5052" name="Vrije vorm: vorm 5051">
                <a:extLst>
                  <a:ext uri="{FF2B5EF4-FFF2-40B4-BE49-F238E27FC236}">
                    <a16:creationId xmlns:a16="http://schemas.microsoft.com/office/drawing/2014/main" id="{6939B76C-54F6-4E24-B196-BC49E9027376}"/>
                  </a:ext>
                </a:extLst>
              </p:cNvPr>
              <p:cNvSpPr/>
              <p:nvPr/>
            </p:nvSpPr>
            <p:spPr>
              <a:xfrm>
                <a:off x="8073690" y="3653179"/>
                <a:ext cx="18311" cy="18383"/>
              </a:xfrm>
              <a:custGeom>
                <a:avLst/>
                <a:gdLst>
                  <a:gd name="connsiteX0" fmla="*/ 10232 w 18311"/>
                  <a:gd name="connsiteY0" fmla="*/ 65 h 18383"/>
                  <a:gd name="connsiteX1" fmla="*/ 18247 w 18311"/>
                  <a:gd name="connsiteY1" fmla="*/ 10292 h 18383"/>
                  <a:gd name="connsiteX2" fmla="*/ 8079 w 18311"/>
                  <a:gd name="connsiteY2" fmla="*/ 18306 h 18383"/>
                  <a:gd name="connsiteX3" fmla="*/ 65 w 18311"/>
                  <a:gd name="connsiteY3" fmla="*/ 8079 h 18383"/>
                  <a:gd name="connsiteX4" fmla="*/ 10232 w 18311"/>
                  <a:gd name="connsiteY4" fmla="*/ 65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383">
                    <a:moveTo>
                      <a:pt x="10232" y="65"/>
                    </a:moveTo>
                    <a:cubicBezTo>
                      <a:pt x="15256" y="663"/>
                      <a:pt x="18845" y="5268"/>
                      <a:pt x="18247" y="10292"/>
                    </a:cubicBezTo>
                    <a:cubicBezTo>
                      <a:pt x="17648" y="15316"/>
                      <a:pt x="13103" y="18964"/>
                      <a:pt x="8079" y="18306"/>
                    </a:cubicBezTo>
                    <a:cubicBezTo>
                      <a:pt x="3055" y="17708"/>
                      <a:pt x="-533" y="13103"/>
                      <a:pt x="65" y="8079"/>
                    </a:cubicBezTo>
                    <a:cubicBezTo>
                      <a:pt x="663" y="3055"/>
                      <a:pt x="5208" y="-533"/>
                      <a:pt x="10232" y="65"/>
                    </a:cubicBezTo>
                    <a:close/>
                  </a:path>
                </a:pathLst>
              </a:custGeom>
              <a:grpFill/>
              <a:ln w="5978" cap="flat">
                <a:noFill/>
                <a:prstDash val="solid"/>
                <a:miter/>
              </a:ln>
            </p:spPr>
            <p:txBody>
              <a:bodyPr rtlCol="0" anchor="ctr"/>
              <a:lstStyle/>
              <a:p>
                <a:endParaRPr lang="en-GB"/>
              </a:p>
            </p:txBody>
          </p:sp>
          <p:sp>
            <p:nvSpPr>
              <p:cNvPr id="5053" name="Vrije vorm: vorm 5052">
                <a:extLst>
                  <a:ext uri="{FF2B5EF4-FFF2-40B4-BE49-F238E27FC236}">
                    <a16:creationId xmlns:a16="http://schemas.microsoft.com/office/drawing/2014/main" id="{8BBEE4D1-AF29-4D85-B795-F6F2D9529099}"/>
                  </a:ext>
                </a:extLst>
              </p:cNvPr>
              <p:cNvSpPr/>
              <p:nvPr/>
            </p:nvSpPr>
            <p:spPr>
              <a:xfrm>
                <a:off x="8028296" y="3647677"/>
                <a:ext cx="18370" cy="18371"/>
              </a:xfrm>
              <a:custGeom>
                <a:avLst/>
                <a:gdLst>
                  <a:gd name="connsiteX0" fmla="*/ 10232 w 18370"/>
                  <a:gd name="connsiteY0" fmla="*/ 65 h 18371"/>
                  <a:gd name="connsiteX1" fmla="*/ 65 w 18370"/>
                  <a:gd name="connsiteY1" fmla="*/ 8079 h 18371"/>
                  <a:gd name="connsiteX2" fmla="*/ 8139 w 18370"/>
                  <a:gd name="connsiteY2" fmla="*/ 18306 h 18371"/>
                  <a:gd name="connsiteX3" fmla="*/ 18306 w 18370"/>
                  <a:gd name="connsiteY3" fmla="*/ 10232 h 18371"/>
                  <a:gd name="connsiteX4" fmla="*/ 10232 w 18370"/>
                  <a:gd name="connsiteY4" fmla="*/ 65 h 1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371">
                    <a:moveTo>
                      <a:pt x="10232" y="65"/>
                    </a:moveTo>
                    <a:cubicBezTo>
                      <a:pt x="5209" y="-533"/>
                      <a:pt x="663" y="3055"/>
                      <a:pt x="65" y="8079"/>
                    </a:cubicBezTo>
                    <a:cubicBezTo>
                      <a:pt x="-533" y="13103"/>
                      <a:pt x="3056" y="17708"/>
                      <a:pt x="8139" y="18306"/>
                    </a:cubicBezTo>
                    <a:cubicBezTo>
                      <a:pt x="13163" y="18905"/>
                      <a:pt x="17708" y="15316"/>
                      <a:pt x="18306" y="10232"/>
                    </a:cubicBezTo>
                    <a:cubicBezTo>
                      <a:pt x="18904" y="5268"/>
                      <a:pt x="15256" y="663"/>
                      <a:pt x="10232" y="65"/>
                    </a:cubicBezTo>
                    <a:close/>
                  </a:path>
                </a:pathLst>
              </a:custGeom>
              <a:grpFill/>
              <a:ln w="5978" cap="flat">
                <a:noFill/>
                <a:prstDash val="solid"/>
                <a:miter/>
              </a:ln>
            </p:spPr>
            <p:txBody>
              <a:bodyPr rtlCol="0" anchor="ctr"/>
              <a:lstStyle/>
              <a:p>
                <a:endParaRPr lang="en-GB"/>
              </a:p>
            </p:txBody>
          </p:sp>
        </p:grpSp>
        <p:grpSp>
          <p:nvGrpSpPr>
            <p:cNvPr id="110" name="Graphic 3">
              <a:extLst>
                <a:ext uri="{FF2B5EF4-FFF2-40B4-BE49-F238E27FC236}">
                  <a16:creationId xmlns:a16="http://schemas.microsoft.com/office/drawing/2014/main" id="{DA186B47-D9C7-4FE5-BCBA-B08447255431}"/>
                </a:ext>
              </a:extLst>
            </p:cNvPr>
            <p:cNvGrpSpPr/>
            <p:nvPr/>
          </p:nvGrpSpPr>
          <p:grpSpPr>
            <a:xfrm>
              <a:off x="7917874" y="3280742"/>
              <a:ext cx="41134" cy="19962"/>
              <a:chOff x="7917874" y="3280742"/>
              <a:chExt cx="41134" cy="19962"/>
            </a:xfrm>
            <a:grpFill/>
          </p:grpSpPr>
          <p:sp>
            <p:nvSpPr>
              <p:cNvPr id="5048" name="Vrije vorm: vorm 5047">
                <a:extLst>
                  <a:ext uri="{FF2B5EF4-FFF2-40B4-BE49-F238E27FC236}">
                    <a16:creationId xmlns:a16="http://schemas.microsoft.com/office/drawing/2014/main" id="{19D6F281-DC96-4199-B7E3-63546424A579}"/>
                  </a:ext>
                </a:extLst>
              </p:cNvPr>
              <p:cNvSpPr/>
              <p:nvPr/>
            </p:nvSpPr>
            <p:spPr>
              <a:xfrm>
                <a:off x="7926450" y="3288420"/>
                <a:ext cx="23922" cy="4605"/>
              </a:xfrm>
              <a:custGeom>
                <a:avLst/>
                <a:gdLst>
                  <a:gd name="connsiteX0" fmla="*/ 23743 w 23922"/>
                  <a:gd name="connsiteY0" fmla="*/ 0 h 4605"/>
                  <a:gd name="connsiteX1" fmla="*/ 23923 w 23922"/>
                  <a:gd name="connsiteY1" fmla="*/ 3050 h 4605"/>
                  <a:gd name="connsiteX2" fmla="*/ 239 w 23922"/>
                  <a:gd name="connsiteY2" fmla="*/ 4605 h 4605"/>
                  <a:gd name="connsiteX3" fmla="*/ 0 w 23922"/>
                  <a:gd name="connsiteY3" fmla="*/ 1555 h 4605"/>
                </a:gdLst>
                <a:ahLst/>
                <a:cxnLst>
                  <a:cxn ang="0">
                    <a:pos x="connsiteX0" y="connsiteY0"/>
                  </a:cxn>
                  <a:cxn ang="0">
                    <a:pos x="connsiteX1" y="connsiteY1"/>
                  </a:cxn>
                  <a:cxn ang="0">
                    <a:pos x="connsiteX2" y="connsiteY2"/>
                  </a:cxn>
                  <a:cxn ang="0">
                    <a:pos x="connsiteX3" y="connsiteY3"/>
                  </a:cxn>
                </a:cxnLst>
                <a:rect l="l" t="t" r="r" b="b"/>
                <a:pathLst>
                  <a:path w="23922" h="4605">
                    <a:moveTo>
                      <a:pt x="23743" y="0"/>
                    </a:moveTo>
                    <a:lnTo>
                      <a:pt x="23923" y="3050"/>
                    </a:lnTo>
                    <a:lnTo>
                      <a:pt x="239" y="4605"/>
                    </a:lnTo>
                    <a:lnTo>
                      <a:pt x="0" y="1555"/>
                    </a:lnTo>
                    <a:close/>
                  </a:path>
                </a:pathLst>
              </a:custGeom>
              <a:grpFill/>
              <a:ln w="5978" cap="flat">
                <a:noFill/>
                <a:prstDash val="solid"/>
                <a:miter/>
              </a:ln>
            </p:spPr>
            <p:txBody>
              <a:bodyPr rtlCol="0" anchor="ctr"/>
              <a:lstStyle/>
              <a:p>
                <a:endParaRPr lang="en-GB"/>
              </a:p>
            </p:txBody>
          </p:sp>
          <p:sp>
            <p:nvSpPr>
              <p:cNvPr id="5049" name="Vrije vorm: vorm 5048">
                <a:extLst>
                  <a:ext uri="{FF2B5EF4-FFF2-40B4-BE49-F238E27FC236}">
                    <a16:creationId xmlns:a16="http://schemas.microsoft.com/office/drawing/2014/main" id="{920D27B3-D644-44B7-A343-BEB2AF36B7BD}"/>
                  </a:ext>
                </a:extLst>
              </p:cNvPr>
              <p:cNvSpPr/>
              <p:nvPr/>
            </p:nvSpPr>
            <p:spPr>
              <a:xfrm>
                <a:off x="7940660" y="3280742"/>
                <a:ext cx="18347" cy="18406"/>
              </a:xfrm>
              <a:custGeom>
                <a:avLst/>
                <a:gdLst>
                  <a:gd name="connsiteX0" fmla="*/ 8517 w 18347"/>
                  <a:gd name="connsiteY0" fmla="*/ 23 h 18406"/>
                  <a:gd name="connsiteX1" fmla="*/ 18324 w 18347"/>
                  <a:gd name="connsiteY1" fmla="*/ 8575 h 18406"/>
                  <a:gd name="connsiteX2" fmla="*/ 9832 w 18347"/>
                  <a:gd name="connsiteY2" fmla="*/ 18384 h 18406"/>
                  <a:gd name="connsiteX3" fmla="*/ 24 w 18347"/>
                  <a:gd name="connsiteY3" fmla="*/ 9831 h 18406"/>
                  <a:gd name="connsiteX4" fmla="*/ 8517 w 18347"/>
                  <a:gd name="connsiteY4" fmla="*/ 2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6">
                    <a:moveTo>
                      <a:pt x="8517" y="23"/>
                    </a:moveTo>
                    <a:cubicBezTo>
                      <a:pt x="13540" y="-336"/>
                      <a:pt x="17966" y="3552"/>
                      <a:pt x="18324" y="8575"/>
                    </a:cubicBezTo>
                    <a:cubicBezTo>
                      <a:pt x="18684" y="13659"/>
                      <a:pt x="14856" y="18025"/>
                      <a:pt x="9832" y="18384"/>
                    </a:cubicBezTo>
                    <a:cubicBezTo>
                      <a:pt x="4809" y="18743"/>
                      <a:pt x="382" y="14855"/>
                      <a:pt x="24" y="9831"/>
                    </a:cubicBezTo>
                    <a:cubicBezTo>
                      <a:pt x="-336" y="4748"/>
                      <a:pt x="3432" y="382"/>
                      <a:pt x="8517" y="23"/>
                    </a:cubicBezTo>
                    <a:close/>
                  </a:path>
                </a:pathLst>
              </a:custGeom>
              <a:grpFill/>
              <a:ln w="5978" cap="flat">
                <a:noFill/>
                <a:prstDash val="solid"/>
                <a:miter/>
              </a:ln>
            </p:spPr>
            <p:txBody>
              <a:bodyPr rtlCol="0" anchor="ctr"/>
              <a:lstStyle/>
              <a:p>
                <a:endParaRPr lang="en-GB"/>
              </a:p>
            </p:txBody>
          </p:sp>
          <p:sp>
            <p:nvSpPr>
              <p:cNvPr id="5050" name="Vrije vorm: vorm 5049">
                <a:extLst>
                  <a:ext uri="{FF2B5EF4-FFF2-40B4-BE49-F238E27FC236}">
                    <a16:creationId xmlns:a16="http://schemas.microsoft.com/office/drawing/2014/main" id="{90E9C586-C13B-43FC-9F1B-ACC23E500A56}"/>
                  </a:ext>
                </a:extLst>
              </p:cNvPr>
              <p:cNvSpPr/>
              <p:nvPr/>
            </p:nvSpPr>
            <p:spPr>
              <a:xfrm>
                <a:off x="7917874" y="3282297"/>
                <a:ext cx="18347" cy="18407"/>
              </a:xfrm>
              <a:custGeom>
                <a:avLst/>
                <a:gdLst>
                  <a:gd name="connsiteX0" fmla="*/ 8516 w 18347"/>
                  <a:gd name="connsiteY0" fmla="*/ 23 h 18407"/>
                  <a:gd name="connsiteX1" fmla="*/ 23 w 18347"/>
                  <a:gd name="connsiteY1" fmla="*/ 9832 h 18407"/>
                  <a:gd name="connsiteX2" fmla="*/ 9832 w 18347"/>
                  <a:gd name="connsiteY2" fmla="*/ 18384 h 18407"/>
                  <a:gd name="connsiteX3" fmla="*/ 18325 w 18347"/>
                  <a:gd name="connsiteY3" fmla="*/ 8576 h 18407"/>
                  <a:gd name="connsiteX4" fmla="*/ 8516 w 18347"/>
                  <a:gd name="connsiteY4" fmla="*/ 2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8516" y="23"/>
                    </a:moveTo>
                    <a:cubicBezTo>
                      <a:pt x="3493" y="382"/>
                      <a:pt x="-335" y="4748"/>
                      <a:pt x="23" y="9832"/>
                    </a:cubicBezTo>
                    <a:cubicBezTo>
                      <a:pt x="382" y="14915"/>
                      <a:pt x="4748" y="18743"/>
                      <a:pt x="9832" y="18384"/>
                    </a:cubicBezTo>
                    <a:cubicBezTo>
                      <a:pt x="14856" y="18025"/>
                      <a:pt x="18683" y="13659"/>
                      <a:pt x="18325" y="8576"/>
                    </a:cubicBezTo>
                    <a:cubicBezTo>
                      <a:pt x="17965" y="3492"/>
                      <a:pt x="13540" y="-336"/>
                      <a:pt x="8516" y="23"/>
                    </a:cubicBezTo>
                    <a:close/>
                  </a:path>
                </a:pathLst>
              </a:custGeom>
              <a:grpFill/>
              <a:ln w="5978" cap="flat">
                <a:noFill/>
                <a:prstDash val="solid"/>
                <a:miter/>
              </a:ln>
            </p:spPr>
            <p:txBody>
              <a:bodyPr rtlCol="0" anchor="ctr"/>
              <a:lstStyle/>
              <a:p>
                <a:endParaRPr lang="en-GB"/>
              </a:p>
            </p:txBody>
          </p:sp>
        </p:grpSp>
        <p:grpSp>
          <p:nvGrpSpPr>
            <p:cNvPr id="111" name="Graphic 3">
              <a:extLst>
                <a:ext uri="{FF2B5EF4-FFF2-40B4-BE49-F238E27FC236}">
                  <a16:creationId xmlns:a16="http://schemas.microsoft.com/office/drawing/2014/main" id="{B0433905-2C3A-4C01-8C0B-50758537F718}"/>
                </a:ext>
              </a:extLst>
            </p:cNvPr>
            <p:cNvGrpSpPr/>
            <p:nvPr/>
          </p:nvGrpSpPr>
          <p:grpSpPr>
            <a:xfrm>
              <a:off x="7755625" y="2928928"/>
              <a:ext cx="148991" cy="52489"/>
              <a:chOff x="7755625" y="2928928"/>
              <a:chExt cx="148991" cy="52489"/>
            </a:xfrm>
            <a:grpFill/>
          </p:grpSpPr>
          <p:sp>
            <p:nvSpPr>
              <p:cNvPr id="5045" name="Vrije vorm: vorm 5044">
                <a:extLst>
                  <a:ext uri="{FF2B5EF4-FFF2-40B4-BE49-F238E27FC236}">
                    <a16:creationId xmlns:a16="http://schemas.microsoft.com/office/drawing/2014/main" id="{4398720F-C804-4857-9FD2-577B29F03EDA}"/>
                  </a:ext>
                </a:extLst>
              </p:cNvPr>
              <p:cNvSpPr/>
              <p:nvPr/>
            </p:nvSpPr>
            <p:spPr>
              <a:xfrm>
                <a:off x="7763624" y="2936476"/>
                <a:ext cx="132306" cy="37249"/>
              </a:xfrm>
              <a:custGeom>
                <a:avLst/>
                <a:gdLst>
                  <a:gd name="connsiteX0" fmla="*/ 0 w 132306"/>
                  <a:gd name="connsiteY0" fmla="*/ 34298 h 37249"/>
                  <a:gd name="connsiteX1" fmla="*/ 131537 w 132306"/>
                  <a:gd name="connsiteY1" fmla="*/ 0 h 37249"/>
                  <a:gd name="connsiteX2" fmla="*/ 132307 w 132306"/>
                  <a:gd name="connsiteY2" fmla="*/ 2951 h 37249"/>
                  <a:gd name="connsiteX3" fmla="*/ 770 w 132306"/>
                  <a:gd name="connsiteY3" fmla="*/ 37249 h 37249"/>
                </a:gdLst>
                <a:ahLst/>
                <a:cxnLst>
                  <a:cxn ang="0">
                    <a:pos x="connsiteX0" y="connsiteY0"/>
                  </a:cxn>
                  <a:cxn ang="0">
                    <a:pos x="connsiteX1" y="connsiteY1"/>
                  </a:cxn>
                  <a:cxn ang="0">
                    <a:pos x="connsiteX2" y="connsiteY2"/>
                  </a:cxn>
                  <a:cxn ang="0">
                    <a:pos x="connsiteX3" y="connsiteY3"/>
                  </a:cxn>
                </a:cxnLst>
                <a:rect l="l" t="t" r="r" b="b"/>
                <a:pathLst>
                  <a:path w="132306" h="37249">
                    <a:moveTo>
                      <a:pt x="0" y="34298"/>
                    </a:moveTo>
                    <a:lnTo>
                      <a:pt x="131537" y="0"/>
                    </a:lnTo>
                    <a:lnTo>
                      <a:pt x="132307" y="2951"/>
                    </a:lnTo>
                    <a:lnTo>
                      <a:pt x="770" y="37249"/>
                    </a:lnTo>
                    <a:close/>
                  </a:path>
                </a:pathLst>
              </a:custGeom>
              <a:grpFill/>
              <a:ln w="5978" cap="flat">
                <a:noFill/>
                <a:prstDash val="solid"/>
                <a:miter/>
              </a:ln>
            </p:spPr>
            <p:txBody>
              <a:bodyPr rtlCol="0" anchor="ctr"/>
              <a:lstStyle/>
              <a:p>
                <a:endParaRPr lang="en-GB"/>
              </a:p>
            </p:txBody>
          </p:sp>
          <p:sp>
            <p:nvSpPr>
              <p:cNvPr id="5046" name="Vrije vorm: vorm 5045">
                <a:extLst>
                  <a:ext uri="{FF2B5EF4-FFF2-40B4-BE49-F238E27FC236}">
                    <a16:creationId xmlns:a16="http://schemas.microsoft.com/office/drawing/2014/main" id="{66B3DC04-096A-416F-AEF9-5EBFBB87C8BB}"/>
                  </a:ext>
                </a:extLst>
              </p:cNvPr>
              <p:cNvSpPr/>
              <p:nvPr/>
            </p:nvSpPr>
            <p:spPr>
              <a:xfrm>
                <a:off x="7886303" y="2928928"/>
                <a:ext cx="18312" cy="18462"/>
              </a:xfrm>
              <a:custGeom>
                <a:avLst/>
                <a:gdLst>
                  <a:gd name="connsiteX0" fmla="*/ 6834 w 18312"/>
                  <a:gd name="connsiteY0" fmla="*/ 290 h 18462"/>
                  <a:gd name="connsiteX1" fmla="*/ 18018 w 18312"/>
                  <a:gd name="connsiteY1" fmla="*/ 6929 h 18462"/>
                  <a:gd name="connsiteX2" fmla="*/ 11499 w 18312"/>
                  <a:gd name="connsiteY2" fmla="*/ 18173 h 18462"/>
                  <a:gd name="connsiteX3" fmla="*/ 315 w 18312"/>
                  <a:gd name="connsiteY3" fmla="*/ 11534 h 18462"/>
                  <a:gd name="connsiteX4" fmla="*/ 6834 w 18312"/>
                  <a:gd name="connsiteY4" fmla="*/ 29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62">
                    <a:moveTo>
                      <a:pt x="6834" y="290"/>
                    </a:moveTo>
                    <a:cubicBezTo>
                      <a:pt x="11738" y="-966"/>
                      <a:pt x="16762" y="1965"/>
                      <a:pt x="18018" y="6929"/>
                    </a:cubicBezTo>
                    <a:cubicBezTo>
                      <a:pt x="19274" y="11833"/>
                      <a:pt x="16403" y="16857"/>
                      <a:pt x="11499" y="18173"/>
                    </a:cubicBezTo>
                    <a:cubicBezTo>
                      <a:pt x="6595" y="19428"/>
                      <a:pt x="1571" y="16498"/>
                      <a:pt x="315" y="11534"/>
                    </a:cubicBezTo>
                    <a:cubicBezTo>
                      <a:pt x="-1001" y="6570"/>
                      <a:pt x="1930" y="1546"/>
                      <a:pt x="6834" y="290"/>
                    </a:cubicBezTo>
                    <a:close/>
                  </a:path>
                </a:pathLst>
              </a:custGeom>
              <a:grpFill/>
              <a:ln w="5978" cap="flat">
                <a:noFill/>
                <a:prstDash val="solid"/>
                <a:miter/>
              </a:ln>
            </p:spPr>
            <p:txBody>
              <a:bodyPr rtlCol="0" anchor="ctr"/>
              <a:lstStyle/>
              <a:p>
                <a:endParaRPr lang="en-GB"/>
              </a:p>
            </p:txBody>
          </p:sp>
          <p:sp>
            <p:nvSpPr>
              <p:cNvPr id="5047" name="Vrije vorm: vorm 5046">
                <a:extLst>
                  <a:ext uri="{FF2B5EF4-FFF2-40B4-BE49-F238E27FC236}">
                    <a16:creationId xmlns:a16="http://schemas.microsoft.com/office/drawing/2014/main" id="{A02AAEF4-A22C-4AB6-A2DE-D22F7E4D3554}"/>
                  </a:ext>
                </a:extLst>
              </p:cNvPr>
              <p:cNvSpPr/>
              <p:nvPr/>
            </p:nvSpPr>
            <p:spPr>
              <a:xfrm>
                <a:off x="7755625" y="2962938"/>
                <a:ext cx="18332" cy="18479"/>
              </a:xfrm>
              <a:custGeom>
                <a:avLst/>
                <a:gdLst>
                  <a:gd name="connsiteX0" fmla="*/ 6834 w 18332"/>
                  <a:gd name="connsiteY0" fmla="*/ 310 h 18479"/>
                  <a:gd name="connsiteX1" fmla="*/ 315 w 18332"/>
                  <a:gd name="connsiteY1" fmla="*/ 11554 h 18479"/>
                  <a:gd name="connsiteX2" fmla="*/ 11499 w 18332"/>
                  <a:gd name="connsiteY2" fmla="*/ 18193 h 18479"/>
                  <a:gd name="connsiteX3" fmla="*/ 18017 w 18332"/>
                  <a:gd name="connsiteY3" fmla="*/ 6949 h 18479"/>
                  <a:gd name="connsiteX4" fmla="*/ 6834 w 18332"/>
                  <a:gd name="connsiteY4" fmla="*/ 310 h 1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79">
                    <a:moveTo>
                      <a:pt x="6834" y="310"/>
                    </a:moveTo>
                    <a:cubicBezTo>
                      <a:pt x="1930" y="1566"/>
                      <a:pt x="-1001" y="6590"/>
                      <a:pt x="315" y="11554"/>
                    </a:cubicBezTo>
                    <a:cubicBezTo>
                      <a:pt x="1630" y="16458"/>
                      <a:pt x="6595" y="19449"/>
                      <a:pt x="11499" y="18193"/>
                    </a:cubicBezTo>
                    <a:cubicBezTo>
                      <a:pt x="16403" y="16937"/>
                      <a:pt x="19334" y="11913"/>
                      <a:pt x="18017" y="6949"/>
                    </a:cubicBezTo>
                    <a:cubicBezTo>
                      <a:pt x="16702" y="1985"/>
                      <a:pt x="11738" y="-1005"/>
                      <a:pt x="6834" y="310"/>
                    </a:cubicBezTo>
                    <a:close/>
                  </a:path>
                </a:pathLst>
              </a:custGeom>
              <a:grpFill/>
              <a:ln w="5978" cap="flat">
                <a:noFill/>
                <a:prstDash val="solid"/>
                <a:miter/>
              </a:ln>
            </p:spPr>
            <p:txBody>
              <a:bodyPr rtlCol="0" anchor="ctr"/>
              <a:lstStyle/>
              <a:p>
                <a:endParaRPr lang="en-GB"/>
              </a:p>
            </p:txBody>
          </p:sp>
        </p:grpSp>
        <p:grpSp>
          <p:nvGrpSpPr>
            <p:cNvPr id="112" name="Graphic 3">
              <a:extLst>
                <a:ext uri="{FF2B5EF4-FFF2-40B4-BE49-F238E27FC236}">
                  <a16:creationId xmlns:a16="http://schemas.microsoft.com/office/drawing/2014/main" id="{374BF062-822A-46B3-8A0C-7CCBB3193D46}"/>
                </a:ext>
              </a:extLst>
            </p:cNvPr>
            <p:cNvGrpSpPr/>
            <p:nvPr/>
          </p:nvGrpSpPr>
          <p:grpSpPr>
            <a:xfrm>
              <a:off x="7399990" y="2006899"/>
              <a:ext cx="311484" cy="267819"/>
              <a:chOff x="7399990" y="2006899"/>
              <a:chExt cx="311484" cy="267819"/>
            </a:xfrm>
            <a:grpFill/>
          </p:grpSpPr>
          <p:sp>
            <p:nvSpPr>
              <p:cNvPr id="5042" name="Vrije vorm: vorm 5041">
                <a:extLst>
                  <a:ext uri="{FF2B5EF4-FFF2-40B4-BE49-F238E27FC236}">
                    <a16:creationId xmlns:a16="http://schemas.microsoft.com/office/drawing/2014/main" id="{8AC3A0AB-9528-4CC3-B9D9-2D8EE71719BB}"/>
                  </a:ext>
                </a:extLst>
              </p:cNvPr>
              <p:cNvSpPr/>
              <p:nvPr/>
            </p:nvSpPr>
            <p:spPr>
              <a:xfrm>
                <a:off x="7407802" y="2014646"/>
                <a:ext cx="295866" cy="252326"/>
              </a:xfrm>
              <a:custGeom>
                <a:avLst/>
                <a:gdLst>
                  <a:gd name="connsiteX0" fmla="*/ 295866 w 295866"/>
                  <a:gd name="connsiteY0" fmla="*/ 2392 h 252326"/>
                  <a:gd name="connsiteX1" fmla="*/ 1973 w 295866"/>
                  <a:gd name="connsiteY1" fmla="*/ 252327 h 252326"/>
                  <a:gd name="connsiteX2" fmla="*/ 0 w 295866"/>
                  <a:gd name="connsiteY2" fmla="*/ 249994 h 252326"/>
                  <a:gd name="connsiteX3" fmla="*/ 293893 w 295866"/>
                  <a:gd name="connsiteY3" fmla="*/ 0 h 252326"/>
                </a:gdLst>
                <a:ahLst/>
                <a:cxnLst>
                  <a:cxn ang="0">
                    <a:pos x="connsiteX0" y="connsiteY0"/>
                  </a:cxn>
                  <a:cxn ang="0">
                    <a:pos x="connsiteX1" y="connsiteY1"/>
                  </a:cxn>
                  <a:cxn ang="0">
                    <a:pos x="connsiteX2" y="connsiteY2"/>
                  </a:cxn>
                  <a:cxn ang="0">
                    <a:pos x="connsiteX3" y="connsiteY3"/>
                  </a:cxn>
                </a:cxnLst>
                <a:rect l="l" t="t" r="r" b="b"/>
                <a:pathLst>
                  <a:path w="295866" h="252326">
                    <a:moveTo>
                      <a:pt x="295866" y="2392"/>
                    </a:moveTo>
                    <a:lnTo>
                      <a:pt x="1973" y="252327"/>
                    </a:lnTo>
                    <a:lnTo>
                      <a:pt x="0" y="249994"/>
                    </a:lnTo>
                    <a:lnTo>
                      <a:pt x="293893" y="0"/>
                    </a:lnTo>
                    <a:close/>
                  </a:path>
                </a:pathLst>
              </a:custGeom>
              <a:grpFill/>
              <a:ln w="5978" cap="flat">
                <a:noFill/>
                <a:prstDash val="solid"/>
                <a:miter/>
              </a:ln>
            </p:spPr>
            <p:txBody>
              <a:bodyPr rtlCol="0" anchor="ctr"/>
              <a:lstStyle/>
              <a:p>
                <a:endParaRPr lang="en-GB"/>
              </a:p>
            </p:txBody>
          </p:sp>
          <p:sp>
            <p:nvSpPr>
              <p:cNvPr id="5043" name="Vrije vorm: vorm 5042">
                <a:extLst>
                  <a:ext uri="{FF2B5EF4-FFF2-40B4-BE49-F238E27FC236}">
                    <a16:creationId xmlns:a16="http://schemas.microsoft.com/office/drawing/2014/main" id="{08219A9D-B93C-40BA-9AEC-98186098DACD}"/>
                  </a:ext>
                </a:extLst>
              </p:cNvPr>
              <p:cNvSpPr/>
              <p:nvPr/>
            </p:nvSpPr>
            <p:spPr>
              <a:xfrm>
                <a:off x="7693155" y="2006899"/>
                <a:ext cx="18319" cy="18423"/>
              </a:xfrm>
              <a:custGeom>
                <a:avLst/>
                <a:gdLst>
                  <a:gd name="connsiteX0" fmla="*/ 3217 w 18319"/>
                  <a:gd name="connsiteY0" fmla="*/ 2185 h 18423"/>
                  <a:gd name="connsiteX1" fmla="*/ 16135 w 18319"/>
                  <a:gd name="connsiteY1" fmla="*/ 3261 h 18423"/>
                  <a:gd name="connsiteX2" fmla="*/ 15059 w 18319"/>
                  <a:gd name="connsiteY2" fmla="*/ 16239 h 18423"/>
                  <a:gd name="connsiteX3" fmla="*/ 2140 w 18319"/>
                  <a:gd name="connsiteY3" fmla="*/ 15163 h 18423"/>
                  <a:gd name="connsiteX4" fmla="*/ 3217 w 18319"/>
                  <a:gd name="connsiteY4" fmla="*/ 2185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3">
                    <a:moveTo>
                      <a:pt x="3217" y="2185"/>
                    </a:moveTo>
                    <a:cubicBezTo>
                      <a:pt x="7045" y="-1105"/>
                      <a:pt x="12846" y="-626"/>
                      <a:pt x="16135" y="3261"/>
                    </a:cubicBezTo>
                    <a:cubicBezTo>
                      <a:pt x="19425" y="7149"/>
                      <a:pt x="18946" y="12950"/>
                      <a:pt x="15059" y="16239"/>
                    </a:cubicBezTo>
                    <a:cubicBezTo>
                      <a:pt x="11231" y="19529"/>
                      <a:pt x="5430" y="19050"/>
                      <a:pt x="2140" y="15163"/>
                    </a:cubicBezTo>
                    <a:cubicBezTo>
                      <a:pt x="-1090" y="11275"/>
                      <a:pt x="-611" y="5474"/>
                      <a:pt x="3217" y="2185"/>
                    </a:cubicBezTo>
                    <a:close/>
                  </a:path>
                </a:pathLst>
              </a:custGeom>
              <a:grpFill/>
              <a:ln w="5978" cap="flat">
                <a:noFill/>
                <a:prstDash val="solid"/>
                <a:miter/>
              </a:ln>
            </p:spPr>
            <p:txBody>
              <a:bodyPr rtlCol="0" anchor="ctr"/>
              <a:lstStyle/>
              <a:p>
                <a:endParaRPr lang="en-GB"/>
              </a:p>
            </p:txBody>
          </p:sp>
          <p:sp>
            <p:nvSpPr>
              <p:cNvPr id="5044" name="Vrije vorm: vorm 5043">
                <a:extLst>
                  <a:ext uri="{FF2B5EF4-FFF2-40B4-BE49-F238E27FC236}">
                    <a16:creationId xmlns:a16="http://schemas.microsoft.com/office/drawing/2014/main" id="{6511240E-ACAD-4C5E-BC7A-A39B563DC634}"/>
                  </a:ext>
                </a:extLst>
              </p:cNvPr>
              <p:cNvSpPr/>
              <p:nvPr/>
            </p:nvSpPr>
            <p:spPr>
              <a:xfrm>
                <a:off x="7399990" y="2256296"/>
                <a:ext cx="18344" cy="18423"/>
              </a:xfrm>
              <a:custGeom>
                <a:avLst/>
                <a:gdLst>
                  <a:gd name="connsiteX0" fmla="*/ 3207 w 18344"/>
                  <a:gd name="connsiteY0" fmla="*/ 2185 h 18423"/>
                  <a:gd name="connsiteX1" fmla="*/ 2190 w 18344"/>
                  <a:gd name="connsiteY1" fmla="*/ 15163 h 18423"/>
                  <a:gd name="connsiteX2" fmla="*/ 15108 w 18344"/>
                  <a:gd name="connsiteY2" fmla="*/ 16239 h 18423"/>
                  <a:gd name="connsiteX3" fmla="*/ 16185 w 18344"/>
                  <a:gd name="connsiteY3" fmla="*/ 3261 h 18423"/>
                  <a:gd name="connsiteX4" fmla="*/ 3207 w 18344"/>
                  <a:gd name="connsiteY4" fmla="*/ 2185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3">
                    <a:moveTo>
                      <a:pt x="3207" y="2185"/>
                    </a:moveTo>
                    <a:cubicBezTo>
                      <a:pt x="-621" y="5474"/>
                      <a:pt x="-1099" y="11275"/>
                      <a:pt x="2190" y="15163"/>
                    </a:cubicBezTo>
                    <a:cubicBezTo>
                      <a:pt x="5479" y="19050"/>
                      <a:pt x="11280" y="19529"/>
                      <a:pt x="15108" y="16239"/>
                    </a:cubicBezTo>
                    <a:cubicBezTo>
                      <a:pt x="18996" y="12950"/>
                      <a:pt x="19414" y="7149"/>
                      <a:pt x="16185" y="3261"/>
                    </a:cubicBezTo>
                    <a:cubicBezTo>
                      <a:pt x="12836" y="-626"/>
                      <a:pt x="7034" y="-1105"/>
                      <a:pt x="3207" y="2185"/>
                    </a:cubicBezTo>
                    <a:close/>
                  </a:path>
                </a:pathLst>
              </a:custGeom>
              <a:grpFill/>
              <a:ln w="5978" cap="flat">
                <a:noFill/>
                <a:prstDash val="solid"/>
                <a:miter/>
              </a:ln>
            </p:spPr>
            <p:txBody>
              <a:bodyPr rtlCol="0" anchor="ctr"/>
              <a:lstStyle/>
              <a:p>
                <a:endParaRPr lang="en-GB"/>
              </a:p>
            </p:txBody>
          </p:sp>
        </p:grpSp>
        <p:grpSp>
          <p:nvGrpSpPr>
            <p:cNvPr id="113" name="Graphic 3">
              <a:extLst>
                <a:ext uri="{FF2B5EF4-FFF2-40B4-BE49-F238E27FC236}">
                  <a16:creationId xmlns:a16="http://schemas.microsoft.com/office/drawing/2014/main" id="{A4E4649E-C688-43BC-801F-22F43D4EA368}"/>
                </a:ext>
              </a:extLst>
            </p:cNvPr>
            <p:cNvGrpSpPr/>
            <p:nvPr/>
          </p:nvGrpSpPr>
          <p:grpSpPr>
            <a:xfrm>
              <a:off x="7995366" y="3606722"/>
              <a:ext cx="110009" cy="27784"/>
              <a:chOff x="7995366" y="3606722"/>
              <a:chExt cx="110009" cy="27784"/>
            </a:xfrm>
            <a:grpFill/>
          </p:grpSpPr>
          <p:sp>
            <p:nvSpPr>
              <p:cNvPr id="5039" name="Vrije vorm: vorm 5038">
                <a:extLst>
                  <a:ext uri="{FF2B5EF4-FFF2-40B4-BE49-F238E27FC236}">
                    <a16:creationId xmlns:a16="http://schemas.microsoft.com/office/drawing/2014/main" id="{39F45128-EBB3-4785-9CBA-E6911397B844}"/>
                  </a:ext>
                </a:extLst>
              </p:cNvPr>
              <p:cNvSpPr/>
              <p:nvPr/>
            </p:nvSpPr>
            <p:spPr>
              <a:xfrm>
                <a:off x="8003900" y="3614369"/>
                <a:ext cx="92880" cy="12499"/>
              </a:xfrm>
              <a:custGeom>
                <a:avLst/>
                <a:gdLst>
                  <a:gd name="connsiteX0" fmla="*/ 92881 w 92880"/>
                  <a:gd name="connsiteY0" fmla="*/ 9449 h 12499"/>
                  <a:gd name="connsiteX1" fmla="*/ 92582 w 92880"/>
                  <a:gd name="connsiteY1" fmla="*/ 12500 h 12499"/>
                  <a:gd name="connsiteX2" fmla="*/ 0 w 92880"/>
                  <a:gd name="connsiteY2" fmla="*/ 3050 h 12499"/>
                  <a:gd name="connsiteX3" fmla="*/ 299 w 92880"/>
                  <a:gd name="connsiteY3" fmla="*/ 0 h 12499"/>
                </a:gdLst>
                <a:ahLst/>
                <a:cxnLst>
                  <a:cxn ang="0">
                    <a:pos x="connsiteX0" y="connsiteY0"/>
                  </a:cxn>
                  <a:cxn ang="0">
                    <a:pos x="connsiteX1" y="connsiteY1"/>
                  </a:cxn>
                  <a:cxn ang="0">
                    <a:pos x="connsiteX2" y="connsiteY2"/>
                  </a:cxn>
                  <a:cxn ang="0">
                    <a:pos x="connsiteX3" y="connsiteY3"/>
                  </a:cxn>
                </a:cxnLst>
                <a:rect l="l" t="t" r="r" b="b"/>
                <a:pathLst>
                  <a:path w="92880" h="12499">
                    <a:moveTo>
                      <a:pt x="92881" y="9449"/>
                    </a:moveTo>
                    <a:lnTo>
                      <a:pt x="92582" y="12500"/>
                    </a:lnTo>
                    <a:lnTo>
                      <a:pt x="0" y="3050"/>
                    </a:lnTo>
                    <a:lnTo>
                      <a:pt x="299" y="0"/>
                    </a:lnTo>
                    <a:close/>
                  </a:path>
                </a:pathLst>
              </a:custGeom>
              <a:grpFill/>
              <a:ln w="5978" cap="flat">
                <a:noFill/>
                <a:prstDash val="solid"/>
                <a:miter/>
              </a:ln>
            </p:spPr>
            <p:txBody>
              <a:bodyPr rtlCol="0" anchor="ctr"/>
              <a:lstStyle/>
              <a:p>
                <a:endParaRPr lang="en-GB"/>
              </a:p>
            </p:txBody>
          </p:sp>
          <p:sp>
            <p:nvSpPr>
              <p:cNvPr id="5040" name="Vrije vorm: vorm 5039">
                <a:extLst>
                  <a:ext uri="{FF2B5EF4-FFF2-40B4-BE49-F238E27FC236}">
                    <a16:creationId xmlns:a16="http://schemas.microsoft.com/office/drawing/2014/main" id="{AA74DECE-3FF4-4320-BF62-D04BC022F29D}"/>
                  </a:ext>
                </a:extLst>
              </p:cNvPr>
              <p:cNvSpPr/>
              <p:nvPr/>
            </p:nvSpPr>
            <p:spPr>
              <a:xfrm>
                <a:off x="8087050" y="3616062"/>
                <a:ext cx="18324" cy="18444"/>
              </a:xfrm>
              <a:custGeom>
                <a:avLst/>
                <a:gdLst>
                  <a:gd name="connsiteX0" fmla="*/ 10030 w 18324"/>
                  <a:gd name="connsiteY0" fmla="*/ 42 h 18444"/>
                  <a:gd name="connsiteX1" fmla="*/ 18283 w 18324"/>
                  <a:gd name="connsiteY1" fmla="*/ 10150 h 18444"/>
                  <a:gd name="connsiteX2" fmla="*/ 8295 w 18324"/>
                  <a:gd name="connsiteY2" fmla="*/ 18403 h 18444"/>
                  <a:gd name="connsiteX3" fmla="*/ 42 w 18324"/>
                  <a:gd name="connsiteY3" fmla="*/ 8295 h 18444"/>
                  <a:gd name="connsiteX4" fmla="*/ 10030 w 18324"/>
                  <a:gd name="connsiteY4" fmla="*/ 4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4">
                    <a:moveTo>
                      <a:pt x="10030" y="42"/>
                    </a:moveTo>
                    <a:cubicBezTo>
                      <a:pt x="15053" y="580"/>
                      <a:pt x="18761" y="5066"/>
                      <a:pt x="18283" y="10150"/>
                    </a:cubicBezTo>
                    <a:cubicBezTo>
                      <a:pt x="17804" y="15233"/>
                      <a:pt x="13319" y="18881"/>
                      <a:pt x="8295" y="18403"/>
                    </a:cubicBezTo>
                    <a:cubicBezTo>
                      <a:pt x="3271" y="17865"/>
                      <a:pt x="-437" y="13379"/>
                      <a:pt x="42" y="8295"/>
                    </a:cubicBezTo>
                    <a:cubicBezTo>
                      <a:pt x="520" y="3212"/>
                      <a:pt x="5005" y="-436"/>
                      <a:pt x="10030" y="42"/>
                    </a:cubicBezTo>
                    <a:close/>
                  </a:path>
                </a:pathLst>
              </a:custGeom>
              <a:grpFill/>
              <a:ln w="5978" cap="flat">
                <a:noFill/>
                <a:prstDash val="solid"/>
                <a:miter/>
              </a:ln>
            </p:spPr>
            <p:txBody>
              <a:bodyPr rtlCol="0" anchor="ctr"/>
              <a:lstStyle/>
              <a:p>
                <a:endParaRPr lang="en-GB"/>
              </a:p>
            </p:txBody>
          </p:sp>
          <p:sp>
            <p:nvSpPr>
              <p:cNvPr id="5041" name="Vrije vorm: vorm 5040">
                <a:extLst>
                  <a:ext uri="{FF2B5EF4-FFF2-40B4-BE49-F238E27FC236}">
                    <a16:creationId xmlns:a16="http://schemas.microsoft.com/office/drawing/2014/main" id="{EA4AAB73-A741-442F-9248-D2B0F0A5B287}"/>
                  </a:ext>
                </a:extLst>
              </p:cNvPr>
              <p:cNvSpPr/>
              <p:nvPr/>
            </p:nvSpPr>
            <p:spPr>
              <a:xfrm>
                <a:off x="7995366" y="3606722"/>
                <a:ext cx="18324" cy="18464"/>
              </a:xfrm>
              <a:custGeom>
                <a:avLst/>
                <a:gdLst>
                  <a:gd name="connsiteX0" fmla="*/ 10030 w 18324"/>
                  <a:gd name="connsiteY0" fmla="*/ 52 h 18464"/>
                  <a:gd name="connsiteX1" fmla="*/ 42 w 18324"/>
                  <a:gd name="connsiteY1" fmla="*/ 8305 h 18464"/>
                  <a:gd name="connsiteX2" fmla="*/ 8296 w 18324"/>
                  <a:gd name="connsiteY2" fmla="*/ 18413 h 18464"/>
                  <a:gd name="connsiteX3" fmla="*/ 18283 w 18324"/>
                  <a:gd name="connsiteY3" fmla="*/ 10159 h 18464"/>
                  <a:gd name="connsiteX4" fmla="*/ 10030 w 18324"/>
                  <a:gd name="connsiteY4" fmla="*/ 5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4">
                    <a:moveTo>
                      <a:pt x="10030" y="52"/>
                    </a:moveTo>
                    <a:cubicBezTo>
                      <a:pt x="5006" y="-486"/>
                      <a:pt x="520" y="3222"/>
                      <a:pt x="42" y="8305"/>
                    </a:cubicBezTo>
                    <a:cubicBezTo>
                      <a:pt x="-437" y="13389"/>
                      <a:pt x="3211" y="17874"/>
                      <a:pt x="8296" y="18413"/>
                    </a:cubicBezTo>
                    <a:cubicBezTo>
                      <a:pt x="13319" y="18951"/>
                      <a:pt x="17805" y="15243"/>
                      <a:pt x="18283" y="10159"/>
                    </a:cubicBezTo>
                    <a:cubicBezTo>
                      <a:pt x="18762" y="5076"/>
                      <a:pt x="15054" y="590"/>
                      <a:pt x="10030" y="52"/>
                    </a:cubicBezTo>
                    <a:close/>
                  </a:path>
                </a:pathLst>
              </a:custGeom>
              <a:grpFill/>
              <a:ln w="5978" cap="flat">
                <a:noFill/>
                <a:prstDash val="solid"/>
                <a:miter/>
              </a:ln>
            </p:spPr>
            <p:txBody>
              <a:bodyPr rtlCol="0" anchor="ctr"/>
              <a:lstStyle/>
              <a:p>
                <a:endParaRPr lang="en-GB"/>
              </a:p>
            </p:txBody>
          </p:sp>
        </p:grpSp>
        <p:grpSp>
          <p:nvGrpSpPr>
            <p:cNvPr id="114" name="Graphic 3">
              <a:extLst>
                <a:ext uri="{FF2B5EF4-FFF2-40B4-BE49-F238E27FC236}">
                  <a16:creationId xmlns:a16="http://schemas.microsoft.com/office/drawing/2014/main" id="{B9EE95EF-270F-4467-9E7E-153C0AA5B6BB}"/>
                </a:ext>
              </a:extLst>
            </p:cNvPr>
            <p:cNvGrpSpPr/>
            <p:nvPr/>
          </p:nvGrpSpPr>
          <p:grpSpPr>
            <a:xfrm>
              <a:off x="7822125" y="2973575"/>
              <a:ext cx="49445" cy="25937"/>
              <a:chOff x="7822125" y="2973575"/>
              <a:chExt cx="49445" cy="25937"/>
            </a:xfrm>
            <a:grpFill/>
          </p:grpSpPr>
          <p:sp>
            <p:nvSpPr>
              <p:cNvPr id="5036" name="Vrije vorm: vorm 5035">
                <a:extLst>
                  <a:ext uri="{FF2B5EF4-FFF2-40B4-BE49-F238E27FC236}">
                    <a16:creationId xmlns:a16="http://schemas.microsoft.com/office/drawing/2014/main" id="{C57C92DD-172E-47A8-B42E-8B7695EF0E6B}"/>
                  </a:ext>
                </a:extLst>
              </p:cNvPr>
              <p:cNvSpPr/>
              <p:nvPr/>
            </p:nvSpPr>
            <p:spPr>
              <a:xfrm>
                <a:off x="7830266" y="2981001"/>
                <a:ext cx="32695" cy="10649"/>
              </a:xfrm>
              <a:custGeom>
                <a:avLst/>
                <a:gdLst>
                  <a:gd name="connsiteX0" fmla="*/ 0 w 32695"/>
                  <a:gd name="connsiteY0" fmla="*/ 7684 h 10649"/>
                  <a:gd name="connsiteX1" fmla="*/ 31983 w 32695"/>
                  <a:gd name="connsiteY1" fmla="*/ 0 h 10649"/>
                  <a:gd name="connsiteX2" fmla="*/ 32695 w 32695"/>
                  <a:gd name="connsiteY2" fmla="*/ 2966 h 10649"/>
                  <a:gd name="connsiteX3" fmla="*/ 712 w 32695"/>
                  <a:gd name="connsiteY3" fmla="*/ 10650 h 10649"/>
                </a:gdLst>
                <a:ahLst/>
                <a:cxnLst>
                  <a:cxn ang="0">
                    <a:pos x="connsiteX0" y="connsiteY0"/>
                  </a:cxn>
                  <a:cxn ang="0">
                    <a:pos x="connsiteX1" y="connsiteY1"/>
                  </a:cxn>
                  <a:cxn ang="0">
                    <a:pos x="connsiteX2" y="connsiteY2"/>
                  </a:cxn>
                  <a:cxn ang="0">
                    <a:pos x="connsiteX3" y="connsiteY3"/>
                  </a:cxn>
                </a:cxnLst>
                <a:rect l="l" t="t" r="r" b="b"/>
                <a:pathLst>
                  <a:path w="32695" h="10649">
                    <a:moveTo>
                      <a:pt x="0" y="7684"/>
                    </a:moveTo>
                    <a:lnTo>
                      <a:pt x="31983" y="0"/>
                    </a:lnTo>
                    <a:lnTo>
                      <a:pt x="32695" y="2966"/>
                    </a:lnTo>
                    <a:lnTo>
                      <a:pt x="712" y="10650"/>
                    </a:lnTo>
                    <a:close/>
                  </a:path>
                </a:pathLst>
              </a:custGeom>
              <a:grpFill/>
              <a:ln w="5978" cap="flat">
                <a:noFill/>
                <a:prstDash val="solid"/>
                <a:miter/>
              </a:ln>
            </p:spPr>
            <p:txBody>
              <a:bodyPr rtlCol="0" anchor="ctr"/>
              <a:lstStyle/>
              <a:p>
                <a:endParaRPr lang="en-GB"/>
              </a:p>
            </p:txBody>
          </p:sp>
          <p:sp>
            <p:nvSpPr>
              <p:cNvPr id="5037" name="Vrije vorm: vorm 5036">
                <a:extLst>
                  <a:ext uri="{FF2B5EF4-FFF2-40B4-BE49-F238E27FC236}">
                    <a16:creationId xmlns:a16="http://schemas.microsoft.com/office/drawing/2014/main" id="{244BD31A-F0EB-45C8-B1BC-904F08E1EAA1}"/>
                  </a:ext>
                </a:extLst>
              </p:cNvPr>
              <p:cNvSpPr/>
              <p:nvPr/>
            </p:nvSpPr>
            <p:spPr>
              <a:xfrm>
                <a:off x="7853244" y="2973575"/>
                <a:ext cx="18326" cy="18461"/>
              </a:xfrm>
              <a:custGeom>
                <a:avLst/>
                <a:gdLst>
                  <a:gd name="connsiteX0" fmla="*/ 6999 w 18326"/>
                  <a:gd name="connsiteY0" fmla="*/ 260 h 18461"/>
                  <a:gd name="connsiteX1" fmla="*/ 18063 w 18326"/>
                  <a:gd name="connsiteY1" fmla="*/ 7078 h 18461"/>
                  <a:gd name="connsiteX2" fmla="*/ 11305 w 18326"/>
                  <a:gd name="connsiteY2" fmla="*/ 18202 h 18461"/>
                  <a:gd name="connsiteX3" fmla="*/ 241 w 18326"/>
                  <a:gd name="connsiteY3" fmla="*/ 11384 h 18461"/>
                  <a:gd name="connsiteX4" fmla="*/ 6999 w 18326"/>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6999" y="260"/>
                    </a:moveTo>
                    <a:cubicBezTo>
                      <a:pt x="11903" y="-936"/>
                      <a:pt x="16867" y="2114"/>
                      <a:pt x="18063" y="7078"/>
                    </a:cubicBezTo>
                    <a:cubicBezTo>
                      <a:pt x="19259" y="12042"/>
                      <a:pt x="16269" y="17006"/>
                      <a:pt x="11305" y="18202"/>
                    </a:cubicBezTo>
                    <a:cubicBezTo>
                      <a:pt x="6401" y="19398"/>
                      <a:pt x="1437" y="16348"/>
                      <a:pt x="241" y="11384"/>
                    </a:cubicBezTo>
                    <a:cubicBezTo>
                      <a:pt x="-896" y="6360"/>
                      <a:pt x="2095" y="1396"/>
                      <a:pt x="6999" y="260"/>
                    </a:cubicBezTo>
                    <a:close/>
                  </a:path>
                </a:pathLst>
              </a:custGeom>
              <a:grpFill/>
              <a:ln w="5978" cap="flat">
                <a:noFill/>
                <a:prstDash val="solid"/>
                <a:miter/>
              </a:ln>
            </p:spPr>
            <p:txBody>
              <a:bodyPr rtlCol="0" anchor="ctr"/>
              <a:lstStyle/>
              <a:p>
                <a:endParaRPr lang="en-GB"/>
              </a:p>
            </p:txBody>
          </p:sp>
          <p:sp>
            <p:nvSpPr>
              <p:cNvPr id="5038" name="Vrije vorm: vorm 5037">
                <a:extLst>
                  <a:ext uri="{FF2B5EF4-FFF2-40B4-BE49-F238E27FC236}">
                    <a16:creationId xmlns:a16="http://schemas.microsoft.com/office/drawing/2014/main" id="{56262A8F-7B76-4583-9A62-35983EA74991}"/>
                  </a:ext>
                </a:extLst>
              </p:cNvPr>
              <p:cNvSpPr/>
              <p:nvPr/>
            </p:nvSpPr>
            <p:spPr>
              <a:xfrm>
                <a:off x="7822125" y="2981050"/>
                <a:ext cx="18342" cy="18461"/>
              </a:xfrm>
              <a:custGeom>
                <a:avLst/>
                <a:gdLst>
                  <a:gd name="connsiteX0" fmla="*/ 7018 w 18342"/>
                  <a:gd name="connsiteY0" fmla="*/ 260 h 18461"/>
                  <a:gd name="connsiteX1" fmla="*/ 260 w 18342"/>
                  <a:gd name="connsiteY1" fmla="*/ 11384 h 18461"/>
                  <a:gd name="connsiteX2" fmla="*/ 11324 w 18342"/>
                  <a:gd name="connsiteY2" fmla="*/ 18202 h 18461"/>
                  <a:gd name="connsiteX3" fmla="*/ 18082 w 18342"/>
                  <a:gd name="connsiteY3" fmla="*/ 7078 h 18461"/>
                  <a:gd name="connsiteX4" fmla="*/ 7018 w 18342"/>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1">
                    <a:moveTo>
                      <a:pt x="7018" y="260"/>
                    </a:moveTo>
                    <a:cubicBezTo>
                      <a:pt x="2114" y="1456"/>
                      <a:pt x="-936" y="6420"/>
                      <a:pt x="260" y="11384"/>
                    </a:cubicBezTo>
                    <a:cubicBezTo>
                      <a:pt x="1456" y="16348"/>
                      <a:pt x="6420" y="19398"/>
                      <a:pt x="11324" y="18202"/>
                    </a:cubicBezTo>
                    <a:cubicBezTo>
                      <a:pt x="16229" y="17006"/>
                      <a:pt x="19279" y="12042"/>
                      <a:pt x="18082" y="7078"/>
                    </a:cubicBezTo>
                    <a:cubicBezTo>
                      <a:pt x="16886" y="2114"/>
                      <a:pt x="11982" y="-936"/>
                      <a:pt x="7018" y="260"/>
                    </a:cubicBezTo>
                    <a:close/>
                  </a:path>
                </a:pathLst>
              </a:custGeom>
              <a:grpFill/>
              <a:ln w="5978" cap="flat">
                <a:noFill/>
                <a:prstDash val="solid"/>
                <a:miter/>
              </a:ln>
            </p:spPr>
            <p:txBody>
              <a:bodyPr rtlCol="0" anchor="ctr"/>
              <a:lstStyle/>
              <a:p>
                <a:endParaRPr lang="en-GB"/>
              </a:p>
            </p:txBody>
          </p:sp>
        </p:grpSp>
        <p:grpSp>
          <p:nvGrpSpPr>
            <p:cNvPr id="115" name="Graphic 3">
              <a:extLst>
                <a:ext uri="{FF2B5EF4-FFF2-40B4-BE49-F238E27FC236}">
                  <a16:creationId xmlns:a16="http://schemas.microsoft.com/office/drawing/2014/main" id="{C99A184A-F0E0-4AEE-9C8B-EE5445146747}"/>
                </a:ext>
              </a:extLst>
            </p:cNvPr>
            <p:cNvGrpSpPr/>
            <p:nvPr/>
          </p:nvGrpSpPr>
          <p:grpSpPr>
            <a:xfrm>
              <a:off x="7551495" y="2209658"/>
              <a:ext cx="33557" cy="30408"/>
              <a:chOff x="7551495" y="2209658"/>
              <a:chExt cx="33557" cy="30408"/>
            </a:xfrm>
            <a:grpFill/>
          </p:grpSpPr>
          <p:sp>
            <p:nvSpPr>
              <p:cNvPr id="5033" name="Vrije vorm: vorm 5032">
                <a:extLst>
                  <a:ext uri="{FF2B5EF4-FFF2-40B4-BE49-F238E27FC236}">
                    <a16:creationId xmlns:a16="http://schemas.microsoft.com/office/drawing/2014/main" id="{A8730327-BAAC-497A-9E16-BA1A16ADF016}"/>
                  </a:ext>
                </a:extLst>
              </p:cNvPr>
              <p:cNvSpPr/>
              <p:nvPr/>
            </p:nvSpPr>
            <p:spPr>
              <a:xfrm>
                <a:off x="7559353" y="2217393"/>
                <a:ext cx="17882" cy="14951"/>
              </a:xfrm>
              <a:custGeom>
                <a:avLst/>
                <a:gdLst>
                  <a:gd name="connsiteX0" fmla="*/ 17882 w 17882"/>
                  <a:gd name="connsiteY0" fmla="*/ 2392 h 14951"/>
                  <a:gd name="connsiteX1" fmla="*/ 1914 w 17882"/>
                  <a:gd name="connsiteY1" fmla="*/ 14952 h 14951"/>
                  <a:gd name="connsiteX2" fmla="*/ 0 w 17882"/>
                  <a:gd name="connsiteY2" fmla="*/ 12560 h 14951"/>
                  <a:gd name="connsiteX3" fmla="*/ 15969 w 17882"/>
                  <a:gd name="connsiteY3" fmla="*/ 0 h 14951"/>
                </a:gdLst>
                <a:ahLst/>
                <a:cxnLst>
                  <a:cxn ang="0">
                    <a:pos x="connsiteX0" y="connsiteY0"/>
                  </a:cxn>
                  <a:cxn ang="0">
                    <a:pos x="connsiteX1" y="connsiteY1"/>
                  </a:cxn>
                  <a:cxn ang="0">
                    <a:pos x="connsiteX2" y="connsiteY2"/>
                  </a:cxn>
                  <a:cxn ang="0">
                    <a:pos x="connsiteX3" y="connsiteY3"/>
                  </a:cxn>
                </a:cxnLst>
                <a:rect l="l" t="t" r="r" b="b"/>
                <a:pathLst>
                  <a:path w="17882" h="14951">
                    <a:moveTo>
                      <a:pt x="17882" y="2392"/>
                    </a:moveTo>
                    <a:lnTo>
                      <a:pt x="1914" y="14952"/>
                    </a:lnTo>
                    <a:lnTo>
                      <a:pt x="0" y="12560"/>
                    </a:lnTo>
                    <a:lnTo>
                      <a:pt x="15969" y="0"/>
                    </a:lnTo>
                    <a:close/>
                  </a:path>
                </a:pathLst>
              </a:custGeom>
              <a:grpFill/>
              <a:ln w="5978" cap="flat">
                <a:noFill/>
                <a:prstDash val="solid"/>
                <a:miter/>
              </a:ln>
            </p:spPr>
            <p:txBody>
              <a:bodyPr rtlCol="0" anchor="ctr"/>
              <a:lstStyle/>
              <a:p>
                <a:endParaRPr lang="en-GB"/>
              </a:p>
            </p:txBody>
          </p:sp>
          <p:sp>
            <p:nvSpPr>
              <p:cNvPr id="5034" name="Vrije vorm: vorm 5033">
                <a:extLst>
                  <a:ext uri="{FF2B5EF4-FFF2-40B4-BE49-F238E27FC236}">
                    <a16:creationId xmlns:a16="http://schemas.microsoft.com/office/drawing/2014/main" id="{2256E912-9CA8-4380-A807-C3CFF0805442}"/>
                  </a:ext>
                </a:extLst>
              </p:cNvPr>
              <p:cNvSpPr/>
              <p:nvPr/>
            </p:nvSpPr>
            <p:spPr>
              <a:xfrm>
                <a:off x="7566746" y="2209658"/>
                <a:ext cx="18306" cy="18417"/>
              </a:xfrm>
              <a:custGeom>
                <a:avLst/>
                <a:gdLst>
                  <a:gd name="connsiteX0" fmla="*/ 3492 w 18306"/>
                  <a:gd name="connsiteY0" fmla="*/ 1933 h 18417"/>
                  <a:gd name="connsiteX1" fmla="*/ 16350 w 18306"/>
                  <a:gd name="connsiteY1" fmla="*/ 3548 h 18417"/>
                  <a:gd name="connsiteX2" fmla="*/ 14795 w 18306"/>
                  <a:gd name="connsiteY2" fmla="*/ 16466 h 18417"/>
                  <a:gd name="connsiteX3" fmla="*/ 1937 w 18306"/>
                  <a:gd name="connsiteY3" fmla="*/ 14851 h 18417"/>
                  <a:gd name="connsiteX4" fmla="*/ 3492 w 18306"/>
                  <a:gd name="connsiteY4" fmla="*/ 1933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17">
                    <a:moveTo>
                      <a:pt x="3492" y="1933"/>
                    </a:moveTo>
                    <a:cubicBezTo>
                      <a:pt x="7439" y="-1177"/>
                      <a:pt x="13240" y="-459"/>
                      <a:pt x="16350" y="3548"/>
                    </a:cubicBezTo>
                    <a:cubicBezTo>
                      <a:pt x="19461" y="7555"/>
                      <a:pt x="18803" y="13356"/>
                      <a:pt x="14795" y="16466"/>
                    </a:cubicBezTo>
                    <a:cubicBezTo>
                      <a:pt x="10849" y="19576"/>
                      <a:pt x="5047" y="18918"/>
                      <a:pt x="1937" y="14851"/>
                    </a:cubicBezTo>
                    <a:cubicBezTo>
                      <a:pt x="-1173" y="10844"/>
                      <a:pt x="-455" y="5043"/>
                      <a:pt x="3492" y="1933"/>
                    </a:cubicBezTo>
                    <a:close/>
                  </a:path>
                </a:pathLst>
              </a:custGeom>
              <a:grpFill/>
              <a:ln w="5978" cap="flat">
                <a:noFill/>
                <a:prstDash val="solid"/>
                <a:miter/>
              </a:ln>
            </p:spPr>
            <p:txBody>
              <a:bodyPr rtlCol="0" anchor="ctr"/>
              <a:lstStyle/>
              <a:p>
                <a:endParaRPr lang="en-GB"/>
              </a:p>
            </p:txBody>
          </p:sp>
          <p:sp>
            <p:nvSpPr>
              <p:cNvPr id="5035" name="Vrije vorm: vorm 5034">
                <a:extLst>
                  <a:ext uri="{FF2B5EF4-FFF2-40B4-BE49-F238E27FC236}">
                    <a16:creationId xmlns:a16="http://schemas.microsoft.com/office/drawing/2014/main" id="{5F98904A-7B1E-4B88-A65B-59CC6CBDD7B0}"/>
                  </a:ext>
                </a:extLst>
              </p:cNvPr>
              <p:cNvSpPr/>
              <p:nvPr/>
            </p:nvSpPr>
            <p:spPr>
              <a:xfrm>
                <a:off x="7551495" y="2221675"/>
                <a:ext cx="18287" cy="18391"/>
              </a:xfrm>
              <a:custGeom>
                <a:avLst/>
                <a:gdLst>
                  <a:gd name="connsiteX0" fmla="*/ 3492 w 18287"/>
                  <a:gd name="connsiteY0" fmla="*/ 1937 h 18391"/>
                  <a:gd name="connsiteX1" fmla="*/ 1937 w 18287"/>
                  <a:gd name="connsiteY1" fmla="*/ 14856 h 18391"/>
                  <a:gd name="connsiteX2" fmla="*/ 14796 w 18287"/>
                  <a:gd name="connsiteY2" fmla="*/ 16411 h 18391"/>
                  <a:gd name="connsiteX3" fmla="*/ 16351 w 18287"/>
                  <a:gd name="connsiteY3" fmla="*/ 3492 h 18391"/>
                  <a:gd name="connsiteX4" fmla="*/ 3492 w 18287"/>
                  <a:gd name="connsiteY4" fmla="*/ 1937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391">
                    <a:moveTo>
                      <a:pt x="3492" y="1937"/>
                    </a:moveTo>
                    <a:cubicBezTo>
                      <a:pt x="-455" y="5047"/>
                      <a:pt x="-1173" y="10849"/>
                      <a:pt x="1937" y="14856"/>
                    </a:cubicBezTo>
                    <a:cubicBezTo>
                      <a:pt x="5047" y="18863"/>
                      <a:pt x="10849" y="19580"/>
                      <a:pt x="14796" y="16411"/>
                    </a:cubicBezTo>
                    <a:cubicBezTo>
                      <a:pt x="18743" y="13301"/>
                      <a:pt x="19460" y="7499"/>
                      <a:pt x="16351" y="3492"/>
                    </a:cubicBezTo>
                    <a:cubicBezTo>
                      <a:pt x="13241" y="-455"/>
                      <a:pt x="7499" y="-1173"/>
                      <a:pt x="3492" y="1937"/>
                    </a:cubicBezTo>
                    <a:close/>
                  </a:path>
                </a:pathLst>
              </a:custGeom>
              <a:grpFill/>
              <a:ln w="5978" cap="flat">
                <a:noFill/>
                <a:prstDash val="solid"/>
                <a:miter/>
              </a:ln>
            </p:spPr>
            <p:txBody>
              <a:bodyPr rtlCol="0" anchor="ctr"/>
              <a:lstStyle/>
              <a:p>
                <a:endParaRPr lang="en-GB"/>
              </a:p>
            </p:txBody>
          </p:sp>
        </p:grpSp>
        <p:grpSp>
          <p:nvGrpSpPr>
            <p:cNvPr id="116" name="Graphic 3">
              <a:extLst>
                <a:ext uri="{FF2B5EF4-FFF2-40B4-BE49-F238E27FC236}">
                  <a16:creationId xmlns:a16="http://schemas.microsoft.com/office/drawing/2014/main" id="{B9B4F03D-63C1-427D-8EE8-EA44F1B304FA}"/>
                </a:ext>
              </a:extLst>
            </p:cNvPr>
            <p:cNvGrpSpPr/>
            <p:nvPr/>
          </p:nvGrpSpPr>
          <p:grpSpPr>
            <a:xfrm>
              <a:off x="7687414" y="2648089"/>
              <a:ext cx="62411" cy="38320"/>
              <a:chOff x="7687414" y="2648089"/>
              <a:chExt cx="62411" cy="38320"/>
            </a:xfrm>
            <a:grpFill/>
          </p:grpSpPr>
          <p:sp>
            <p:nvSpPr>
              <p:cNvPr id="5030" name="Vrije vorm: vorm 5029">
                <a:extLst>
                  <a:ext uri="{FF2B5EF4-FFF2-40B4-BE49-F238E27FC236}">
                    <a16:creationId xmlns:a16="http://schemas.microsoft.com/office/drawing/2014/main" id="{37676768-3D6C-4FAB-8D85-72BDFFB9C0A3}"/>
                  </a:ext>
                </a:extLst>
              </p:cNvPr>
              <p:cNvSpPr/>
              <p:nvPr/>
            </p:nvSpPr>
            <p:spPr>
              <a:xfrm>
                <a:off x="7695474" y="2655720"/>
                <a:ext cx="46230" cy="23025"/>
              </a:xfrm>
              <a:custGeom>
                <a:avLst/>
                <a:gdLst>
                  <a:gd name="connsiteX0" fmla="*/ 46231 w 46230"/>
                  <a:gd name="connsiteY0" fmla="*/ 2751 h 23025"/>
                  <a:gd name="connsiteX1" fmla="*/ 1256 w 46230"/>
                  <a:gd name="connsiteY1" fmla="*/ 23026 h 23025"/>
                  <a:gd name="connsiteX2" fmla="*/ 0 w 46230"/>
                  <a:gd name="connsiteY2" fmla="*/ 20215 h 23025"/>
                  <a:gd name="connsiteX3" fmla="*/ 44975 w 46230"/>
                  <a:gd name="connsiteY3" fmla="*/ 0 h 23025"/>
                </a:gdLst>
                <a:ahLst/>
                <a:cxnLst>
                  <a:cxn ang="0">
                    <a:pos x="connsiteX0" y="connsiteY0"/>
                  </a:cxn>
                  <a:cxn ang="0">
                    <a:pos x="connsiteX1" y="connsiteY1"/>
                  </a:cxn>
                  <a:cxn ang="0">
                    <a:pos x="connsiteX2" y="connsiteY2"/>
                  </a:cxn>
                  <a:cxn ang="0">
                    <a:pos x="connsiteX3" y="connsiteY3"/>
                  </a:cxn>
                </a:cxnLst>
                <a:rect l="l" t="t" r="r" b="b"/>
                <a:pathLst>
                  <a:path w="46230" h="23025">
                    <a:moveTo>
                      <a:pt x="46231" y="2751"/>
                    </a:moveTo>
                    <a:lnTo>
                      <a:pt x="1256" y="23026"/>
                    </a:lnTo>
                    <a:lnTo>
                      <a:pt x="0" y="20215"/>
                    </a:lnTo>
                    <a:lnTo>
                      <a:pt x="44975" y="0"/>
                    </a:lnTo>
                    <a:close/>
                  </a:path>
                </a:pathLst>
              </a:custGeom>
              <a:grpFill/>
              <a:ln w="5978" cap="flat">
                <a:noFill/>
                <a:prstDash val="solid"/>
                <a:miter/>
              </a:ln>
            </p:spPr>
            <p:txBody>
              <a:bodyPr rtlCol="0" anchor="ctr"/>
              <a:lstStyle/>
              <a:p>
                <a:endParaRPr lang="en-GB"/>
              </a:p>
            </p:txBody>
          </p:sp>
          <p:sp>
            <p:nvSpPr>
              <p:cNvPr id="5031" name="Vrije vorm: vorm 5030">
                <a:extLst>
                  <a:ext uri="{FF2B5EF4-FFF2-40B4-BE49-F238E27FC236}">
                    <a16:creationId xmlns:a16="http://schemas.microsoft.com/office/drawing/2014/main" id="{890E838D-CFC3-4D1B-AC63-73A04EC2CB37}"/>
                  </a:ext>
                </a:extLst>
              </p:cNvPr>
              <p:cNvSpPr/>
              <p:nvPr/>
            </p:nvSpPr>
            <p:spPr>
              <a:xfrm>
                <a:off x="7731492" y="2648089"/>
                <a:ext cx="18333" cy="18489"/>
              </a:xfrm>
              <a:custGeom>
                <a:avLst/>
                <a:gdLst>
                  <a:gd name="connsiteX0" fmla="*/ 5369 w 18333"/>
                  <a:gd name="connsiteY0" fmla="*/ 812 h 18489"/>
                  <a:gd name="connsiteX1" fmla="*/ 17510 w 18333"/>
                  <a:gd name="connsiteY1" fmla="*/ 5477 h 18489"/>
                  <a:gd name="connsiteX2" fmla="*/ 12964 w 18333"/>
                  <a:gd name="connsiteY2" fmla="*/ 17678 h 18489"/>
                  <a:gd name="connsiteX3" fmla="*/ 824 w 18333"/>
                  <a:gd name="connsiteY3" fmla="*/ 13013 h 18489"/>
                  <a:gd name="connsiteX4" fmla="*/ 5369 w 18333"/>
                  <a:gd name="connsiteY4" fmla="*/ 812 h 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89">
                    <a:moveTo>
                      <a:pt x="5369" y="812"/>
                    </a:moveTo>
                    <a:cubicBezTo>
                      <a:pt x="9974" y="-1281"/>
                      <a:pt x="15417" y="812"/>
                      <a:pt x="17510" y="5477"/>
                    </a:cubicBezTo>
                    <a:cubicBezTo>
                      <a:pt x="19604" y="10142"/>
                      <a:pt x="17570" y="15585"/>
                      <a:pt x="12964" y="17678"/>
                    </a:cubicBezTo>
                    <a:cubicBezTo>
                      <a:pt x="8360" y="19771"/>
                      <a:pt x="2917" y="17678"/>
                      <a:pt x="824" y="13013"/>
                    </a:cubicBezTo>
                    <a:cubicBezTo>
                      <a:pt x="-1270" y="8288"/>
                      <a:pt x="764" y="2846"/>
                      <a:pt x="5369" y="812"/>
                    </a:cubicBezTo>
                    <a:close/>
                  </a:path>
                </a:pathLst>
              </a:custGeom>
              <a:grpFill/>
              <a:ln w="5978" cap="flat">
                <a:noFill/>
                <a:prstDash val="solid"/>
                <a:miter/>
              </a:ln>
            </p:spPr>
            <p:txBody>
              <a:bodyPr rtlCol="0" anchor="ctr"/>
              <a:lstStyle/>
              <a:p>
                <a:endParaRPr lang="en-GB"/>
              </a:p>
            </p:txBody>
          </p:sp>
          <p:sp>
            <p:nvSpPr>
              <p:cNvPr id="5032" name="Vrije vorm: vorm 5031">
                <a:extLst>
                  <a:ext uri="{FF2B5EF4-FFF2-40B4-BE49-F238E27FC236}">
                    <a16:creationId xmlns:a16="http://schemas.microsoft.com/office/drawing/2014/main" id="{AF6C5385-2181-4C02-A45B-40144F6F90CF}"/>
                  </a:ext>
                </a:extLst>
              </p:cNvPr>
              <p:cNvSpPr/>
              <p:nvPr/>
            </p:nvSpPr>
            <p:spPr>
              <a:xfrm>
                <a:off x="7687414" y="2667945"/>
                <a:ext cx="18333" cy="18464"/>
              </a:xfrm>
              <a:custGeom>
                <a:avLst/>
                <a:gdLst>
                  <a:gd name="connsiteX0" fmla="*/ 5369 w 18333"/>
                  <a:gd name="connsiteY0" fmla="*/ 812 h 18464"/>
                  <a:gd name="connsiteX1" fmla="*/ 824 w 18333"/>
                  <a:gd name="connsiteY1" fmla="*/ 13013 h 18464"/>
                  <a:gd name="connsiteX2" fmla="*/ 12964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5"/>
                      <a:pt x="-1270" y="8348"/>
                      <a:pt x="824" y="13013"/>
                    </a:cubicBezTo>
                    <a:cubicBezTo>
                      <a:pt x="2917" y="17678"/>
                      <a:pt x="8360" y="19711"/>
                      <a:pt x="12964" y="17678"/>
                    </a:cubicBezTo>
                    <a:cubicBezTo>
                      <a:pt x="17570" y="15585"/>
                      <a:pt x="19603"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17" name="Graphic 3">
              <a:extLst>
                <a:ext uri="{FF2B5EF4-FFF2-40B4-BE49-F238E27FC236}">
                  <a16:creationId xmlns:a16="http://schemas.microsoft.com/office/drawing/2014/main" id="{A822B2B1-E526-4267-A686-D35B8C79D748}"/>
                </a:ext>
              </a:extLst>
            </p:cNvPr>
            <p:cNvGrpSpPr/>
            <p:nvPr/>
          </p:nvGrpSpPr>
          <p:grpSpPr>
            <a:xfrm>
              <a:off x="7426676" y="2017977"/>
              <a:ext cx="211102" cy="188729"/>
              <a:chOff x="7426676" y="2017977"/>
              <a:chExt cx="211102" cy="188729"/>
            </a:xfrm>
            <a:grpFill/>
          </p:grpSpPr>
          <p:sp>
            <p:nvSpPr>
              <p:cNvPr id="5027" name="Vrije vorm: vorm 5026">
                <a:extLst>
                  <a:ext uri="{FF2B5EF4-FFF2-40B4-BE49-F238E27FC236}">
                    <a16:creationId xmlns:a16="http://schemas.microsoft.com/office/drawing/2014/main" id="{5C126E08-BF8D-471A-B268-5B5A05FD4E97}"/>
                  </a:ext>
                </a:extLst>
              </p:cNvPr>
              <p:cNvSpPr/>
              <p:nvPr/>
            </p:nvSpPr>
            <p:spPr>
              <a:xfrm>
                <a:off x="7434476" y="2025710"/>
                <a:ext cx="195510" cy="173261"/>
              </a:xfrm>
              <a:custGeom>
                <a:avLst/>
                <a:gdLst>
                  <a:gd name="connsiteX0" fmla="*/ 195510 w 195510"/>
                  <a:gd name="connsiteY0" fmla="*/ 2332 h 173261"/>
                  <a:gd name="connsiteX1" fmla="*/ 1973 w 195510"/>
                  <a:gd name="connsiteY1" fmla="*/ 173262 h 173261"/>
                  <a:gd name="connsiteX2" fmla="*/ 0 w 195510"/>
                  <a:gd name="connsiteY2" fmla="*/ 170929 h 173261"/>
                  <a:gd name="connsiteX3" fmla="*/ 193476 w 195510"/>
                  <a:gd name="connsiteY3" fmla="*/ 0 h 173261"/>
                </a:gdLst>
                <a:ahLst/>
                <a:cxnLst>
                  <a:cxn ang="0">
                    <a:pos x="connsiteX0" y="connsiteY0"/>
                  </a:cxn>
                  <a:cxn ang="0">
                    <a:pos x="connsiteX1" y="connsiteY1"/>
                  </a:cxn>
                  <a:cxn ang="0">
                    <a:pos x="connsiteX2" y="connsiteY2"/>
                  </a:cxn>
                  <a:cxn ang="0">
                    <a:pos x="connsiteX3" y="connsiteY3"/>
                  </a:cxn>
                </a:cxnLst>
                <a:rect l="l" t="t" r="r" b="b"/>
                <a:pathLst>
                  <a:path w="195510" h="173261">
                    <a:moveTo>
                      <a:pt x="195510" y="2332"/>
                    </a:moveTo>
                    <a:lnTo>
                      <a:pt x="1973" y="173262"/>
                    </a:lnTo>
                    <a:lnTo>
                      <a:pt x="0" y="170929"/>
                    </a:lnTo>
                    <a:lnTo>
                      <a:pt x="193476" y="0"/>
                    </a:lnTo>
                    <a:close/>
                  </a:path>
                </a:pathLst>
              </a:custGeom>
              <a:grpFill/>
              <a:ln w="5978" cap="flat">
                <a:noFill/>
                <a:prstDash val="solid"/>
                <a:miter/>
              </a:ln>
            </p:spPr>
            <p:txBody>
              <a:bodyPr rtlCol="0" anchor="ctr"/>
              <a:lstStyle/>
              <a:p>
                <a:endParaRPr lang="en-GB"/>
              </a:p>
            </p:txBody>
          </p:sp>
          <p:sp>
            <p:nvSpPr>
              <p:cNvPr id="5028" name="Vrije vorm: vorm 5027">
                <a:extLst>
                  <a:ext uri="{FF2B5EF4-FFF2-40B4-BE49-F238E27FC236}">
                    <a16:creationId xmlns:a16="http://schemas.microsoft.com/office/drawing/2014/main" id="{98350A11-0A32-4307-AB55-AFE534DA1F94}"/>
                  </a:ext>
                </a:extLst>
              </p:cNvPr>
              <p:cNvSpPr/>
              <p:nvPr/>
            </p:nvSpPr>
            <p:spPr>
              <a:xfrm>
                <a:off x="7619441" y="2017977"/>
                <a:ext cx="18338" cy="18398"/>
              </a:xfrm>
              <a:custGeom>
                <a:avLst/>
                <a:gdLst>
                  <a:gd name="connsiteX0" fmla="*/ 3128 w 18338"/>
                  <a:gd name="connsiteY0" fmla="*/ 2291 h 18398"/>
                  <a:gd name="connsiteX1" fmla="*/ 16047 w 18338"/>
                  <a:gd name="connsiteY1" fmla="*/ 3129 h 18398"/>
                  <a:gd name="connsiteX2" fmla="*/ 15209 w 18338"/>
                  <a:gd name="connsiteY2" fmla="*/ 16107 h 18398"/>
                  <a:gd name="connsiteX3" fmla="*/ 2292 w 18338"/>
                  <a:gd name="connsiteY3" fmla="*/ 15270 h 18398"/>
                  <a:gd name="connsiteX4" fmla="*/ 3128 w 18338"/>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3128" y="2291"/>
                    </a:moveTo>
                    <a:cubicBezTo>
                      <a:pt x="6896" y="-1058"/>
                      <a:pt x="12698" y="-699"/>
                      <a:pt x="16047" y="3129"/>
                    </a:cubicBezTo>
                    <a:cubicBezTo>
                      <a:pt x="19396" y="6956"/>
                      <a:pt x="19037" y="12758"/>
                      <a:pt x="15209" y="16107"/>
                    </a:cubicBezTo>
                    <a:cubicBezTo>
                      <a:pt x="11442" y="19456"/>
                      <a:pt x="5640" y="19097"/>
                      <a:pt x="2292" y="15270"/>
                    </a:cubicBezTo>
                    <a:cubicBezTo>
                      <a:pt x="-1058" y="11442"/>
                      <a:pt x="-699" y="5641"/>
                      <a:pt x="3128" y="2291"/>
                    </a:cubicBezTo>
                    <a:close/>
                  </a:path>
                </a:pathLst>
              </a:custGeom>
              <a:grpFill/>
              <a:ln w="5978" cap="flat">
                <a:noFill/>
                <a:prstDash val="solid"/>
                <a:miter/>
              </a:ln>
            </p:spPr>
            <p:txBody>
              <a:bodyPr rtlCol="0" anchor="ctr"/>
              <a:lstStyle/>
              <a:p>
                <a:endParaRPr lang="en-GB"/>
              </a:p>
            </p:txBody>
          </p:sp>
          <p:sp>
            <p:nvSpPr>
              <p:cNvPr id="5029" name="Vrije vorm: vorm 5028">
                <a:extLst>
                  <a:ext uri="{FF2B5EF4-FFF2-40B4-BE49-F238E27FC236}">
                    <a16:creationId xmlns:a16="http://schemas.microsoft.com/office/drawing/2014/main" id="{C0AB2DA3-4B07-41C1-B26C-0002A8CB8015}"/>
                  </a:ext>
                </a:extLst>
              </p:cNvPr>
              <p:cNvSpPr/>
              <p:nvPr/>
            </p:nvSpPr>
            <p:spPr>
              <a:xfrm>
                <a:off x="7426676" y="2188308"/>
                <a:ext cx="18299" cy="18398"/>
              </a:xfrm>
              <a:custGeom>
                <a:avLst/>
                <a:gdLst>
                  <a:gd name="connsiteX0" fmla="*/ 3075 w 18299"/>
                  <a:gd name="connsiteY0" fmla="*/ 2291 h 18398"/>
                  <a:gd name="connsiteX1" fmla="*/ 2297 w 18299"/>
                  <a:gd name="connsiteY1" fmla="*/ 15269 h 18398"/>
                  <a:gd name="connsiteX2" fmla="*/ 15216 w 18299"/>
                  <a:gd name="connsiteY2" fmla="*/ 16107 h 18398"/>
                  <a:gd name="connsiteX3" fmla="*/ 16053 w 18299"/>
                  <a:gd name="connsiteY3" fmla="*/ 3129 h 18398"/>
                  <a:gd name="connsiteX4" fmla="*/ 3075 w 18299"/>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98">
                    <a:moveTo>
                      <a:pt x="3075" y="2291"/>
                    </a:moveTo>
                    <a:cubicBezTo>
                      <a:pt x="-693" y="5641"/>
                      <a:pt x="-1052" y="11442"/>
                      <a:pt x="2297" y="15269"/>
                    </a:cubicBezTo>
                    <a:cubicBezTo>
                      <a:pt x="5647" y="19097"/>
                      <a:pt x="11448" y="19456"/>
                      <a:pt x="15216" y="16107"/>
                    </a:cubicBezTo>
                    <a:cubicBezTo>
                      <a:pt x="18983" y="12758"/>
                      <a:pt x="19343" y="6956"/>
                      <a:pt x="16053" y="3129"/>
                    </a:cubicBezTo>
                    <a:cubicBezTo>
                      <a:pt x="12644" y="-699"/>
                      <a:pt x="6842" y="-1058"/>
                      <a:pt x="3075" y="2291"/>
                    </a:cubicBezTo>
                    <a:close/>
                  </a:path>
                </a:pathLst>
              </a:custGeom>
              <a:grpFill/>
              <a:ln w="5978" cap="flat">
                <a:noFill/>
                <a:prstDash val="solid"/>
                <a:miter/>
              </a:ln>
            </p:spPr>
            <p:txBody>
              <a:bodyPr rtlCol="0" anchor="ctr"/>
              <a:lstStyle/>
              <a:p>
                <a:endParaRPr lang="en-GB"/>
              </a:p>
            </p:txBody>
          </p:sp>
        </p:grpSp>
        <p:grpSp>
          <p:nvGrpSpPr>
            <p:cNvPr id="118" name="Graphic 3">
              <a:extLst>
                <a:ext uri="{FF2B5EF4-FFF2-40B4-BE49-F238E27FC236}">
                  <a16:creationId xmlns:a16="http://schemas.microsoft.com/office/drawing/2014/main" id="{E9911168-4C40-4659-8FCE-2F4D13867A51}"/>
                </a:ext>
              </a:extLst>
            </p:cNvPr>
            <p:cNvGrpSpPr/>
            <p:nvPr/>
          </p:nvGrpSpPr>
          <p:grpSpPr>
            <a:xfrm>
              <a:off x="7782744" y="2879616"/>
              <a:ext cx="38014" cy="24351"/>
              <a:chOff x="7782744" y="2879616"/>
              <a:chExt cx="38014" cy="24351"/>
            </a:xfrm>
            <a:grpFill/>
          </p:grpSpPr>
          <p:sp>
            <p:nvSpPr>
              <p:cNvPr id="5024" name="Vrije vorm: vorm 5023">
                <a:extLst>
                  <a:ext uri="{FF2B5EF4-FFF2-40B4-BE49-F238E27FC236}">
                    <a16:creationId xmlns:a16="http://schemas.microsoft.com/office/drawing/2014/main" id="{A87A4962-CD02-42D0-8C3B-2ECE0BDF5EDA}"/>
                  </a:ext>
                </a:extLst>
              </p:cNvPr>
              <p:cNvSpPr/>
              <p:nvPr/>
            </p:nvSpPr>
            <p:spPr>
              <a:xfrm>
                <a:off x="7791046" y="2887233"/>
                <a:ext cx="21410" cy="9150"/>
              </a:xfrm>
              <a:custGeom>
                <a:avLst/>
                <a:gdLst>
                  <a:gd name="connsiteX0" fmla="*/ 20514 w 21410"/>
                  <a:gd name="connsiteY0" fmla="*/ 0 h 9150"/>
                  <a:gd name="connsiteX1" fmla="*/ 21411 w 21410"/>
                  <a:gd name="connsiteY1" fmla="*/ 2931 h 9150"/>
                  <a:gd name="connsiteX2" fmla="*/ 837 w 21410"/>
                  <a:gd name="connsiteY2" fmla="*/ 9151 h 9150"/>
                  <a:gd name="connsiteX3" fmla="*/ 0 w 21410"/>
                  <a:gd name="connsiteY3" fmla="*/ 6220 h 9150"/>
                </a:gdLst>
                <a:ahLst/>
                <a:cxnLst>
                  <a:cxn ang="0">
                    <a:pos x="connsiteX0" y="connsiteY0"/>
                  </a:cxn>
                  <a:cxn ang="0">
                    <a:pos x="connsiteX1" y="connsiteY1"/>
                  </a:cxn>
                  <a:cxn ang="0">
                    <a:pos x="connsiteX2" y="connsiteY2"/>
                  </a:cxn>
                  <a:cxn ang="0">
                    <a:pos x="connsiteX3" y="connsiteY3"/>
                  </a:cxn>
                </a:cxnLst>
                <a:rect l="l" t="t" r="r" b="b"/>
                <a:pathLst>
                  <a:path w="21410" h="9150">
                    <a:moveTo>
                      <a:pt x="20514" y="0"/>
                    </a:moveTo>
                    <a:lnTo>
                      <a:pt x="21411" y="2931"/>
                    </a:lnTo>
                    <a:lnTo>
                      <a:pt x="837" y="9151"/>
                    </a:lnTo>
                    <a:lnTo>
                      <a:pt x="0" y="6220"/>
                    </a:lnTo>
                    <a:close/>
                  </a:path>
                </a:pathLst>
              </a:custGeom>
              <a:grpFill/>
              <a:ln w="5978" cap="flat">
                <a:noFill/>
                <a:prstDash val="solid"/>
                <a:miter/>
              </a:ln>
            </p:spPr>
            <p:txBody>
              <a:bodyPr rtlCol="0" anchor="ctr"/>
              <a:lstStyle/>
              <a:p>
                <a:endParaRPr lang="en-GB"/>
              </a:p>
            </p:txBody>
          </p:sp>
          <p:sp>
            <p:nvSpPr>
              <p:cNvPr id="5025" name="Vrije vorm: vorm 5024">
                <a:extLst>
                  <a:ext uri="{FF2B5EF4-FFF2-40B4-BE49-F238E27FC236}">
                    <a16:creationId xmlns:a16="http://schemas.microsoft.com/office/drawing/2014/main" id="{832504F0-ABCC-4DF2-B766-2F5F64FD2CC4}"/>
                  </a:ext>
                </a:extLst>
              </p:cNvPr>
              <p:cNvSpPr/>
              <p:nvPr/>
            </p:nvSpPr>
            <p:spPr>
              <a:xfrm>
                <a:off x="7802421" y="2879616"/>
                <a:ext cx="18338" cy="18403"/>
              </a:xfrm>
              <a:custGeom>
                <a:avLst/>
                <a:gdLst>
                  <a:gd name="connsiteX0" fmla="*/ 6508 w 18338"/>
                  <a:gd name="connsiteY0" fmla="*/ 380 h 18403"/>
                  <a:gd name="connsiteX1" fmla="*/ 17931 w 18338"/>
                  <a:gd name="connsiteY1" fmla="*/ 6540 h 18403"/>
                  <a:gd name="connsiteX2" fmla="*/ 11831 w 18338"/>
                  <a:gd name="connsiteY2" fmla="*/ 18024 h 18403"/>
                  <a:gd name="connsiteX3" fmla="*/ 407 w 18338"/>
                  <a:gd name="connsiteY3" fmla="*/ 11863 h 18403"/>
                  <a:gd name="connsiteX4" fmla="*/ 6508 w 18338"/>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3">
                    <a:moveTo>
                      <a:pt x="6508" y="380"/>
                    </a:moveTo>
                    <a:cubicBezTo>
                      <a:pt x="11353" y="-1055"/>
                      <a:pt x="16496" y="1696"/>
                      <a:pt x="17931" y="6540"/>
                    </a:cubicBezTo>
                    <a:cubicBezTo>
                      <a:pt x="19426" y="11445"/>
                      <a:pt x="16676" y="16528"/>
                      <a:pt x="11831" y="18024"/>
                    </a:cubicBezTo>
                    <a:cubicBezTo>
                      <a:pt x="6987" y="19459"/>
                      <a:pt x="1843" y="16708"/>
                      <a:pt x="407" y="11863"/>
                    </a:cubicBezTo>
                    <a:cubicBezTo>
                      <a:pt x="-1088" y="7019"/>
                      <a:pt x="1664" y="1876"/>
                      <a:pt x="6508" y="380"/>
                    </a:cubicBezTo>
                    <a:close/>
                  </a:path>
                </a:pathLst>
              </a:custGeom>
              <a:grpFill/>
              <a:ln w="5978" cap="flat">
                <a:noFill/>
                <a:prstDash val="solid"/>
                <a:miter/>
              </a:ln>
            </p:spPr>
            <p:txBody>
              <a:bodyPr rtlCol="0" anchor="ctr"/>
              <a:lstStyle/>
              <a:p>
                <a:endParaRPr lang="en-GB"/>
              </a:p>
            </p:txBody>
          </p:sp>
          <p:sp>
            <p:nvSpPr>
              <p:cNvPr id="5026" name="Vrije vorm: vorm 5025">
                <a:extLst>
                  <a:ext uri="{FF2B5EF4-FFF2-40B4-BE49-F238E27FC236}">
                    <a16:creationId xmlns:a16="http://schemas.microsoft.com/office/drawing/2014/main" id="{EC95701D-E81D-4F54-9AC2-982BB28D0C33}"/>
                  </a:ext>
                </a:extLst>
              </p:cNvPr>
              <p:cNvSpPr/>
              <p:nvPr/>
            </p:nvSpPr>
            <p:spPr>
              <a:xfrm>
                <a:off x="7782744" y="2885537"/>
                <a:ext cx="18338" cy="18430"/>
              </a:xfrm>
              <a:custGeom>
                <a:avLst/>
                <a:gdLst>
                  <a:gd name="connsiteX0" fmla="*/ 6507 w 18338"/>
                  <a:gd name="connsiteY0" fmla="*/ 380 h 18430"/>
                  <a:gd name="connsiteX1" fmla="*/ 407 w 18338"/>
                  <a:gd name="connsiteY1" fmla="*/ 11863 h 18430"/>
                  <a:gd name="connsiteX2" fmla="*/ 11830 w 18338"/>
                  <a:gd name="connsiteY2" fmla="*/ 18023 h 18430"/>
                  <a:gd name="connsiteX3" fmla="*/ 17931 w 18338"/>
                  <a:gd name="connsiteY3" fmla="*/ 6541 h 18430"/>
                  <a:gd name="connsiteX4" fmla="*/ 6507 w 18338"/>
                  <a:gd name="connsiteY4" fmla="*/ 38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0">
                    <a:moveTo>
                      <a:pt x="6507" y="380"/>
                    </a:moveTo>
                    <a:cubicBezTo>
                      <a:pt x="1663" y="1816"/>
                      <a:pt x="-1088" y="6959"/>
                      <a:pt x="407" y="11863"/>
                    </a:cubicBezTo>
                    <a:cubicBezTo>
                      <a:pt x="1903" y="16768"/>
                      <a:pt x="6986" y="19519"/>
                      <a:pt x="11830" y="18023"/>
                    </a:cubicBezTo>
                    <a:cubicBezTo>
                      <a:pt x="16675" y="16588"/>
                      <a:pt x="19426" y="11445"/>
                      <a:pt x="17931" y="6541"/>
                    </a:cubicBezTo>
                    <a:cubicBezTo>
                      <a:pt x="16435" y="1696"/>
                      <a:pt x="11352" y="-1055"/>
                      <a:pt x="6507" y="380"/>
                    </a:cubicBezTo>
                    <a:close/>
                  </a:path>
                </a:pathLst>
              </a:custGeom>
              <a:grpFill/>
              <a:ln w="5978" cap="flat">
                <a:noFill/>
                <a:prstDash val="solid"/>
                <a:miter/>
              </a:ln>
            </p:spPr>
            <p:txBody>
              <a:bodyPr rtlCol="0" anchor="ctr"/>
              <a:lstStyle/>
              <a:p>
                <a:endParaRPr lang="en-GB"/>
              </a:p>
            </p:txBody>
          </p:sp>
        </p:grpSp>
        <p:grpSp>
          <p:nvGrpSpPr>
            <p:cNvPr id="119" name="Graphic 3">
              <a:extLst>
                <a:ext uri="{FF2B5EF4-FFF2-40B4-BE49-F238E27FC236}">
                  <a16:creationId xmlns:a16="http://schemas.microsoft.com/office/drawing/2014/main" id="{B2F5C318-3798-4807-8DCA-5C969CA0AA0C}"/>
                </a:ext>
              </a:extLst>
            </p:cNvPr>
            <p:cNvGrpSpPr/>
            <p:nvPr/>
          </p:nvGrpSpPr>
          <p:grpSpPr>
            <a:xfrm>
              <a:off x="7664069" y="2718512"/>
              <a:ext cx="192376" cy="85348"/>
              <a:chOff x="7664069" y="2718512"/>
              <a:chExt cx="192376" cy="85348"/>
            </a:xfrm>
            <a:grpFill/>
          </p:grpSpPr>
          <p:sp>
            <p:nvSpPr>
              <p:cNvPr id="5021" name="Vrije vorm: vorm 5020">
                <a:extLst>
                  <a:ext uri="{FF2B5EF4-FFF2-40B4-BE49-F238E27FC236}">
                    <a16:creationId xmlns:a16="http://schemas.microsoft.com/office/drawing/2014/main" id="{875347FC-A24D-4FD5-AD17-2AC5D5DFAD71}"/>
                  </a:ext>
                </a:extLst>
              </p:cNvPr>
              <p:cNvSpPr/>
              <p:nvPr/>
            </p:nvSpPr>
            <p:spPr>
              <a:xfrm>
                <a:off x="7672022" y="2726050"/>
                <a:ext cx="175973" cy="70114"/>
              </a:xfrm>
              <a:custGeom>
                <a:avLst/>
                <a:gdLst>
                  <a:gd name="connsiteX0" fmla="*/ 0 w 175973"/>
                  <a:gd name="connsiteY0" fmla="*/ 67268 h 70114"/>
                  <a:gd name="connsiteX1" fmla="*/ 174878 w 175973"/>
                  <a:gd name="connsiteY1" fmla="*/ 0 h 70114"/>
                  <a:gd name="connsiteX2" fmla="*/ 175973 w 175973"/>
                  <a:gd name="connsiteY2" fmla="*/ 2847 h 70114"/>
                  <a:gd name="connsiteX3" fmla="*/ 1095 w 175973"/>
                  <a:gd name="connsiteY3" fmla="*/ 70115 h 70114"/>
                </a:gdLst>
                <a:ahLst/>
                <a:cxnLst>
                  <a:cxn ang="0">
                    <a:pos x="connsiteX0" y="connsiteY0"/>
                  </a:cxn>
                  <a:cxn ang="0">
                    <a:pos x="connsiteX1" y="connsiteY1"/>
                  </a:cxn>
                  <a:cxn ang="0">
                    <a:pos x="connsiteX2" y="connsiteY2"/>
                  </a:cxn>
                  <a:cxn ang="0">
                    <a:pos x="connsiteX3" y="connsiteY3"/>
                  </a:cxn>
                </a:cxnLst>
                <a:rect l="l" t="t" r="r" b="b"/>
                <a:pathLst>
                  <a:path w="175973" h="70114">
                    <a:moveTo>
                      <a:pt x="0" y="67268"/>
                    </a:moveTo>
                    <a:lnTo>
                      <a:pt x="174878" y="0"/>
                    </a:lnTo>
                    <a:lnTo>
                      <a:pt x="175973" y="2847"/>
                    </a:lnTo>
                    <a:lnTo>
                      <a:pt x="1095" y="70115"/>
                    </a:lnTo>
                    <a:close/>
                  </a:path>
                </a:pathLst>
              </a:custGeom>
              <a:grpFill/>
              <a:ln w="5978" cap="flat">
                <a:noFill/>
                <a:prstDash val="solid"/>
                <a:miter/>
              </a:ln>
            </p:spPr>
            <p:txBody>
              <a:bodyPr rtlCol="0" anchor="ctr"/>
              <a:lstStyle/>
              <a:p>
                <a:endParaRPr lang="en-GB"/>
              </a:p>
            </p:txBody>
          </p:sp>
          <p:sp>
            <p:nvSpPr>
              <p:cNvPr id="5022" name="Vrije vorm: vorm 5021">
                <a:extLst>
                  <a:ext uri="{FF2B5EF4-FFF2-40B4-BE49-F238E27FC236}">
                    <a16:creationId xmlns:a16="http://schemas.microsoft.com/office/drawing/2014/main" id="{F12B358E-A6CF-4D9F-AD84-53B1C2FD9BCC}"/>
                  </a:ext>
                </a:extLst>
              </p:cNvPr>
              <p:cNvSpPr/>
              <p:nvPr/>
            </p:nvSpPr>
            <p:spPr>
              <a:xfrm>
                <a:off x="7838108" y="2718512"/>
                <a:ext cx="18337" cy="18431"/>
              </a:xfrm>
              <a:custGeom>
                <a:avLst/>
                <a:gdLst>
                  <a:gd name="connsiteX0" fmla="*/ 5867 w 18337"/>
                  <a:gd name="connsiteY0" fmla="*/ 603 h 18431"/>
                  <a:gd name="connsiteX1" fmla="*/ 17709 w 18337"/>
                  <a:gd name="connsiteY1" fmla="*/ 5926 h 18431"/>
                  <a:gd name="connsiteX2" fmla="*/ 12446 w 18337"/>
                  <a:gd name="connsiteY2" fmla="*/ 17828 h 18431"/>
                  <a:gd name="connsiteX3" fmla="*/ 604 w 18337"/>
                  <a:gd name="connsiteY3" fmla="*/ 12505 h 18431"/>
                  <a:gd name="connsiteX4" fmla="*/ 5867 w 18337"/>
                  <a:gd name="connsiteY4" fmla="*/ 603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1">
                    <a:moveTo>
                      <a:pt x="5867" y="603"/>
                    </a:moveTo>
                    <a:cubicBezTo>
                      <a:pt x="10592" y="-1191"/>
                      <a:pt x="15915" y="1142"/>
                      <a:pt x="17709" y="5926"/>
                    </a:cubicBezTo>
                    <a:cubicBezTo>
                      <a:pt x="19563" y="10651"/>
                      <a:pt x="17171" y="16034"/>
                      <a:pt x="12446" y="17828"/>
                    </a:cubicBezTo>
                    <a:cubicBezTo>
                      <a:pt x="7721" y="19622"/>
                      <a:pt x="2399" y="17290"/>
                      <a:pt x="604" y="12505"/>
                    </a:cubicBezTo>
                    <a:cubicBezTo>
                      <a:pt x="-1190" y="7721"/>
                      <a:pt x="1143" y="2398"/>
                      <a:pt x="5867" y="603"/>
                    </a:cubicBezTo>
                    <a:close/>
                  </a:path>
                </a:pathLst>
              </a:custGeom>
              <a:grpFill/>
              <a:ln w="5978" cap="flat">
                <a:noFill/>
                <a:prstDash val="solid"/>
                <a:miter/>
              </a:ln>
            </p:spPr>
            <p:txBody>
              <a:bodyPr rtlCol="0" anchor="ctr"/>
              <a:lstStyle/>
              <a:p>
                <a:endParaRPr lang="en-GB"/>
              </a:p>
            </p:txBody>
          </p:sp>
          <p:sp>
            <p:nvSpPr>
              <p:cNvPr id="5023" name="Vrije vorm: vorm 5022">
                <a:extLst>
                  <a:ext uri="{FF2B5EF4-FFF2-40B4-BE49-F238E27FC236}">
                    <a16:creationId xmlns:a16="http://schemas.microsoft.com/office/drawing/2014/main" id="{74D6FEB3-D65A-4FC6-9B91-7241A9BF5E1D}"/>
                  </a:ext>
                </a:extLst>
              </p:cNvPr>
              <p:cNvSpPr/>
              <p:nvPr/>
            </p:nvSpPr>
            <p:spPr>
              <a:xfrm>
                <a:off x="7664069" y="2785443"/>
                <a:ext cx="18313" cy="18417"/>
              </a:xfrm>
              <a:custGeom>
                <a:avLst/>
                <a:gdLst>
                  <a:gd name="connsiteX0" fmla="*/ 5867 w 18313"/>
                  <a:gd name="connsiteY0" fmla="*/ 596 h 18417"/>
                  <a:gd name="connsiteX1" fmla="*/ 604 w 18313"/>
                  <a:gd name="connsiteY1" fmla="*/ 12498 h 18417"/>
                  <a:gd name="connsiteX2" fmla="*/ 12446 w 18313"/>
                  <a:gd name="connsiteY2" fmla="*/ 17821 h 18417"/>
                  <a:gd name="connsiteX3" fmla="*/ 17709 w 18313"/>
                  <a:gd name="connsiteY3" fmla="*/ 5919 h 18417"/>
                  <a:gd name="connsiteX4" fmla="*/ 5867 w 18313"/>
                  <a:gd name="connsiteY4" fmla="*/ 596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17">
                    <a:moveTo>
                      <a:pt x="5867" y="596"/>
                    </a:moveTo>
                    <a:cubicBezTo>
                      <a:pt x="1142" y="2391"/>
                      <a:pt x="-1190" y="7713"/>
                      <a:pt x="604" y="12498"/>
                    </a:cubicBezTo>
                    <a:cubicBezTo>
                      <a:pt x="2399" y="17223"/>
                      <a:pt x="7722" y="19615"/>
                      <a:pt x="12446" y="17821"/>
                    </a:cubicBezTo>
                    <a:cubicBezTo>
                      <a:pt x="17171" y="16027"/>
                      <a:pt x="19503" y="10704"/>
                      <a:pt x="17709" y="5919"/>
                    </a:cubicBezTo>
                    <a:cubicBezTo>
                      <a:pt x="15915" y="1194"/>
                      <a:pt x="10592" y="-1198"/>
                      <a:pt x="5867" y="596"/>
                    </a:cubicBezTo>
                    <a:close/>
                  </a:path>
                </a:pathLst>
              </a:custGeom>
              <a:grpFill/>
              <a:ln w="5978" cap="flat">
                <a:noFill/>
                <a:prstDash val="solid"/>
                <a:miter/>
              </a:ln>
            </p:spPr>
            <p:txBody>
              <a:bodyPr rtlCol="0" anchor="ctr"/>
              <a:lstStyle/>
              <a:p>
                <a:endParaRPr lang="en-GB"/>
              </a:p>
            </p:txBody>
          </p:sp>
        </p:grpSp>
        <p:grpSp>
          <p:nvGrpSpPr>
            <p:cNvPr id="120" name="Graphic 3">
              <a:extLst>
                <a:ext uri="{FF2B5EF4-FFF2-40B4-BE49-F238E27FC236}">
                  <a16:creationId xmlns:a16="http://schemas.microsoft.com/office/drawing/2014/main" id="{35CE2F2F-89D0-4F66-BCDA-98F222F6CB86}"/>
                </a:ext>
              </a:extLst>
            </p:cNvPr>
            <p:cNvGrpSpPr/>
            <p:nvPr/>
          </p:nvGrpSpPr>
          <p:grpSpPr>
            <a:xfrm>
              <a:off x="7625108" y="2800521"/>
              <a:ext cx="326456" cy="86566"/>
              <a:chOff x="7625108" y="2800521"/>
              <a:chExt cx="326456" cy="86566"/>
            </a:xfrm>
            <a:grpFill/>
          </p:grpSpPr>
          <p:sp>
            <p:nvSpPr>
              <p:cNvPr id="5018" name="Vrije vorm: vorm 5017">
                <a:extLst>
                  <a:ext uri="{FF2B5EF4-FFF2-40B4-BE49-F238E27FC236}">
                    <a16:creationId xmlns:a16="http://schemas.microsoft.com/office/drawing/2014/main" id="{FC25092A-6029-4A28-A7F7-59A46CE1789C}"/>
                  </a:ext>
                </a:extLst>
              </p:cNvPr>
              <p:cNvSpPr/>
              <p:nvPr/>
            </p:nvSpPr>
            <p:spPr>
              <a:xfrm>
                <a:off x="7633514" y="2808168"/>
                <a:ext cx="309622" cy="71290"/>
              </a:xfrm>
              <a:custGeom>
                <a:avLst/>
                <a:gdLst>
                  <a:gd name="connsiteX0" fmla="*/ 308964 w 309622"/>
                  <a:gd name="connsiteY0" fmla="*/ 0 h 71290"/>
                  <a:gd name="connsiteX1" fmla="*/ 309622 w 309622"/>
                  <a:gd name="connsiteY1" fmla="*/ 2990 h 71290"/>
                  <a:gd name="connsiteX2" fmla="*/ 658 w 309622"/>
                  <a:gd name="connsiteY2" fmla="*/ 71290 h 71290"/>
                  <a:gd name="connsiteX3" fmla="*/ 0 w 309622"/>
                  <a:gd name="connsiteY3" fmla="*/ 68300 h 71290"/>
                </a:gdLst>
                <a:ahLst/>
                <a:cxnLst>
                  <a:cxn ang="0">
                    <a:pos x="connsiteX0" y="connsiteY0"/>
                  </a:cxn>
                  <a:cxn ang="0">
                    <a:pos x="connsiteX1" y="connsiteY1"/>
                  </a:cxn>
                  <a:cxn ang="0">
                    <a:pos x="connsiteX2" y="connsiteY2"/>
                  </a:cxn>
                  <a:cxn ang="0">
                    <a:pos x="connsiteX3" y="connsiteY3"/>
                  </a:cxn>
                </a:cxnLst>
                <a:rect l="l" t="t" r="r" b="b"/>
                <a:pathLst>
                  <a:path w="309622" h="71290">
                    <a:moveTo>
                      <a:pt x="308964" y="0"/>
                    </a:moveTo>
                    <a:lnTo>
                      <a:pt x="309622" y="2990"/>
                    </a:lnTo>
                    <a:lnTo>
                      <a:pt x="658" y="71290"/>
                    </a:lnTo>
                    <a:lnTo>
                      <a:pt x="0" y="68300"/>
                    </a:lnTo>
                    <a:close/>
                  </a:path>
                </a:pathLst>
              </a:custGeom>
              <a:grpFill/>
              <a:ln w="5978" cap="flat">
                <a:noFill/>
                <a:prstDash val="solid"/>
                <a:miter/>
              </a:ln>
            </p:spPr>
            <p:txBody>
              <a:bodyPr rtlCol="0" anchor="ctr"/>
              <a:lstStyle/>
              <a:p>
                <a:endParaRPr lang="en-GB"/>
              </a:p>
            </p:txBody>
          </p:sp>
          <p:sp>
            <p:nvSpPr>
              <p:cNvPr id="5019" name="Vrije vorm: vorm 5018">
                <a:extLst>
                  <a:ext uri="{FF2B5EF4-FFF2-40B4-BE49-F238E27FC236}">
                    <a16:creationId xmlns:a16="http://schemas.microsoft.com/office/drawing/2014/main" id="{D9FA36A7-8E2D-4D32-A6B8-C76524F5C3FB}"/>
                  </a:ext>
                </a:extLst>
              </p:cNvPr>
              <p:cNvSpPr/>
              <p:nvPr/>
            </p:nvSpPr>
            <p:spPr>
              <a:xfrm>
                <a:off x="7625108" y="2868660"/>
                <a:ext cx="18329" cy="18427"/>
              </a:xfrm>
              <a:custGeom>
                <a:avLst/>
                <a:gdLst>
                  <a:gd name="connsiteX0" fmla="*/ 11158 w 18329"/>
                  <a:gd name="connsiteY0" fmla="*/ 18215 h 18427"/>
                  <a:gd name="connsiteX1" fmla="*/ 213 w 18329"/>
                  <a:gd name="connsiteY1" fmla="*/ 11217 h 18427"/>
                  <a:gd name="connsiteX2" fmla="*/ 7150 w 18329"/>
                  <a:gd name="connsiteY2" fmla="*/ 213 h 18427"/>
                  <a:gd name="connsiteX3" fmla="*/ 18095 w 18329"/>
                  <a:gd name="connsiteY3" fmla="*/ 7210 h 18427"/>
                  <a:gd name="connsiteX4" fmla="*/ 11158 w 18329"/>
                  <a:gd name="connsiteY4" fmla="*/ 18215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7">
                    <a:moveTo>
                      <a:pt x="11158" y="18215"/>
                    </a:moveTo>
                    <a:cubicBezTo>
                      <a:pt x="6194" y="19291"/>
                      <a:pt x="1289" y="16181"/>
                      <a:pt x="213" y="11217"/>
                    </a:cubicBezTo>
                    <a:cubicBezTo>
                      <a:pt x="-864" y="6253"/>
                      <a:pt x="2246" y="1349"/>
                      <a:pt x="7150" y="213"/>
                    </a:cubicBezTo>
                    <a:cubicBezTo>
                      <a:pt x="12115" y="-864"/>
                      <a:pt x="17019" y="2246"/>
                      <a:pt x="18095" y="7210"/>
                    </a:cubicBezTo>
                    <a:cubicBezTo>
                      <a:pt x="19231" y="12174"/>
                      <a:pt x="16121" y="17078"/>
                      <a:pt x="11158" y="18215"/>
                    </a:cubicBezTo>
                    <a:close/>
                  </a:path>
                </a:pathLst>
              </a:custGeom>
              <a:grpFill/>
              <a:ln w="5978" cap="flat">
                <a:noFill/>
                <a:prstDash val="solid"/>
                <a:miter/>
              </a:ln>
            </p:spPr>
            <p:txBody>
              <a:bodyPr rtlCol="0" anchor="ctr"/>
              <a:lstStyle/>
              <a:p>
                <a:endParaRPr lang="en-GB"/>
              </a:p>
            </p:txBody>
          </p:sp>
          <p:sp>
            <p:nvSpPr>
              <p:cNvPr id="5020" name="Vrije vorm: vorm 5019">
                <a:extLst>
                  <a:ext uri="{FF2B5EF4-FFF2-40B4-BE49-F238E27FC236}">
                    <a16:creationId xmlns:a16="http://schemas.microsoft.com/office/drawing/2014/main" id="{33619DA9-1567-4F68-A6D8-9F2B8CCD3EB9}"/>
                  </a:ext>
                </a:extLst>
              </p:cNvPr>
              <p:cNvSpPr/>
              <p:nvPr/>
            </p:nvSpPr>
            <p:spPr>
              <a:xfrm>
                <a:off x="7933213" y="2800521"/>
                <a:ext cx="18350" cy="18445"/>
              </a:xfrm>
              <a:custGeom>
                <a:avLst/>
                <a:gdLst>
                  <a:gd name="connsiteX0" fmla="*/ 11179 w 18350"/>
                  <a:gd name="connsiteY0" fmla="*/ 18233 h 18445"/>
                  <a:gd name="connsiteX1" fmla="*/ 18117 w 18350"/>
                  <a:gd name="connsiteY1" fmla="*/ 7229 h 18445"/>
                  <a:gd name="connsiteX2" fmla="*/ 7171 w 18350"/>
                  <a:gd name="connsiteY2" fmla="*/ 231 h 18445"/>
                  <a:gd name="connsiteX3" fmla="*/ 234 w 18350"/>
                  <a:gd name="connsiteY3" fmla="*/ 11236 h 18445"/>
                  <a:gd name="connsiteX4" fmla="*/ 11179 w 18350"/>
                  <a:gd name="connsiteY4" fmla="*/ 18233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45">
                    <a:moveTo>
                      <a:pt x="11179" y="18233"/>
                    </a:moveTo>
                    <a:cubicBezTo>
                      <a:pt x="16142" y="17157"/>
                      <a:pt x="19253" y="12252"/>
                      <a:pt x="18117" y="7229"/>
                    </a:cubicBezTo>
                    <a:cubicBezTo>
                      <a:pt x="17040" y="2264"/>
                      <a:pt x="12136" y="-905"/>
                      <a:pt x="7171" y="231"/>
                    </a:cubicBezTo>
                    <a:cubicBezTo>
                      <a:pt x="2208" y="1308"/>
                      <a:pt x="-902" y="6212"/>
                      <a:pt x="234" y="11236"/>
                    </a:cubicBezTo>
                    <a:cubicBezTo>
                      <a:pt x="1310" y="16200"/>
                      <a:pt x="6215" y="19310"/>
                      <a:pt x="11179" y="18233"/>
                    </a:cubicBezTo>
                    <a:close/>
                  </a:path>
                </a:pathLst>
              </a:custGeom>
              <a:grpFill/>
              <a:ln w="5978" cap="flat">
                <a:noFill/>
                <a:prstDash val="solid"/>
                <a:miter/>
              </a:ln>
            </p:spPr>
            <p:txBody>
              <a:bodyPr rtlCol="0" anchor="ctr"/>
              <a:lstStyle/>
              <a:p>
                <a:endParaRPr lang="en-GB"/>
              </a:p>
            </p:txBody>
          </p:sp>
        </p:grpSp>
        <p:grpSp>
          <p:nvGrpSpPr>
            <p:cNvPr id="121" name="Graphic 3">
              <a:extLst>
                <a:ext uri="{FF2B5EF4-FFF2-40B4-BE49-F238E27FC236}">
                  <a16:creationId xmlns:a16="http://schemas.microsoft.com/office/drawing/2014/main" id="{4B459AD3-E4F7-49CB-8106-D45EA245B08B}"/>
                </a:ext>
              </a:extLst>
            </p:cNvPr>
            <p:cNvGrpSpPr/>
            <p:nvPr/>
          </p:nvGrpSpPr>
          <p:grpSpPr>
            <a:xfrm>
              <a:off x="8038060" y="3724902"/>
              <a:ext cx="90469" cy="29885"/>
              <a:chOff x="8038060" y="3724902"/>
              <a:chExt cx="90469" cy="29885"/>
            </a:xfrm>
            <a:grpFill/>
          </p:grpSpPr>
          <p:sp>
            <p:nvSpPr>
              <p:cNvPr id="5015" name="Vrije vorm: vorm 5014">
                <a:extLst>
                  <a:ext uri="{FF2B5EF4-FFF2-40B4-BE49-F238E27FC236}">
                    <a16:creationId xmlns:a16="http://schemas.microsoft.com/office/drawing/2014/main" id="{63C12F38-9F44-4D82-812D-3D05FE9BCE52}"/>
                  </a:ext>
                </a:extLst>
              </p:cNvPr>
              <p:cNvSpPr/>
              <p:nvPr/>
            </p:nvSpPr>
            <p:spPr>
              <a:xfrm>
                <a:off x="8046542" y="3732549"/>
                <a:ext cx="73503" cy="14652"/>
              </a:xfrm>
              <a:custGeom>
                <a:avLst/>
                <a:gdLst>
                  <a:gd name="connsiteX0" fmla="*/ 73503 w 73503"/>
                  <a:gd name="connsiteY0" fmla="*/ 11603 h 14652"/>
                  <a:gd name="connsiteX1" fmla="*/ 73085 w 73503"/>
                  <a:gd name="connsiteY1" fmla="*/ 14653 h 14652"/>
                  <a:gd name="connsiteX2" fmla="*/ 0 w 73503"/>
                  <a:gd name="connsiteY2" fmla="*/ 2990 h 14652"/>
                  <a:gd name="connsiteX3" fmla="*/ 419 w 73503"/>
                  <a:gd name="connsiteY3" fmla="*/ 0 h 14652"/>
                </a:gdLst>
                <a:ahLst/>
                <a:cxnLst>
                  <a:cxn ang="0">
                    <a:pos x="connsiteX0" y="connsiteY0"/>
                  </a:cxn>
                  <a:cxn ang="0">
                    <a:pos x="connsiteX1" y="connsiteY1"/>
                  </a:cxn>
                  <a:cxn ang="0">
                    <a:pos x="connsiteX2" y="connsiteY2"/>
                  </a:cxn>
                  <a:cxn ang="0">
                    <a:pos x="connsiteX3" y="connsiteY3"/>
                  </a:cxn>
                </a:cxnLst>
                <a:rect l="l" t="t" r="r" b="b"/>
                <a:pathLst>
                  <a:path w="73503" h="14652">
                    <a:moveTo>
                      <a:pt x="73503" y="11603"/>
                    </a:moveTo>
                    <a:lnTo>
                      <a:pt x="73085" y="14653"/>
                    </a:lnTo>
                    <a:lnTo>
                      <a:pt x="0" y="2990"/>
                    </a:lnTo>
                    <a:lnTo>
                      <a:pt x="419" y="0"/>
                    </a:lnTo>
                    <a:close/>
                  </a:path>
                </a:pathLst>
              </a:custGeom>
              <a:grpFill/>
              <a:ln w="5978" cap="flat">
                <a:noFill/>
                <a:prstDash val="solid"/>
                <a:miter/>
              </a:ln>
            </p:spPr>
            <p:txBody>
              <a:bodyPr rtlCol="0" anchor="ctr"/>
              <a:lstStyle/>
              <a:p>
                <a:endParaRPr lang="en-GB"/>
              </a:p>
            </p:txBody>
          </p:sp>
          <p:sp>
            <p:nvSpPr>
              <p:cNvPr id="5016" name="Vrije vorm: vorm 5015">
                <a:extLst>
                  <a:ext uri="{FF2B5EF4-FFF2-40B4-BE49-F238E27FC236}">
                    <a16:creationId xmlns:a16="http://schemas.microsoft.com/office/drawing/2014/main" id="{F3DCFA81-BC39-4D8C-A0B7-905589E443D3}"/>
                  </a:ext>
                </a:extLst>
              </p:cNvPr>
              <p:cNvSpPr/>
              <p:nvPr/>
            </p:nvSpPr>
            <p:spPr>
              <a:xfrm>
                <a:off x="8110187" y="3736385"/>
                <a:ext cx="18342" cy="18402"/>
              </a:xfrm>
              <a:custGeom>
                <a:avLst/>
                <a:gdLst>
                  <a:gd name="connsiteX0" fmla="*/ 10577 w 18342"/>
                  <a:gd name="connsiteY0" fmla="*/ 110 h 18402"/>
                  <a:gd name="connsiteX1" fmla="*/ 18232 w 18342"/>
                  <a:gd name="connsiteY1" fmla="*/ 10637 h 18402"/>
                  <a:gd name="connsiteX2" fmla="*/ 7766 w 18342"/>
                  <a:gd name="connsiteY2" fmla="*/ 18292 h 18402"/>
                  <a:gd name="connsiteX3" fmla="*/ 110 w 18342"/>
                  <a:gd name="connsiteY3" fmla="*/ 7766 h 18402"/>
                  <a:gd name="connsiteX4" fmla="*/ 10577 w 18342"/>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2">
                    <a:moveTo>
                      <a:pt x="10577" y="110"/>
                    </a:moveTo>
                    <a:cubicBezTo>
                      <a:pt x="15600" y="888"/>
                      <a:pt x="19010" y="5613"/>
                      <a:pt x="18232" y="10637"/>
                    </a:cubicBezTo>
                    <a:cubicBezTo>
                      <a:pt x="17455" y="15660"/>
                      <a:pt x="12790" y="19069"/>
                      <a:pt x="7766" y="18292"/>
                    </a:cubicBezTo>
                    <a:cubicBezTo>
                      <a:pt x="2742" y="17514"/>
                      <a:pt x="-667" y="12790"/>
                      <a:pt x="110" y="7766"/>
                    </a:cubicBezTo>
                    <a:cubicBezTo>
                      <a:pt x="888" y="2742"/>
                      <a:pt x="5613" y="-667"/>
                      <a:pt x="10577" y="110"/>
                    </a:cubicBezTo>
                    <a:close/>
                  </a:path>
                </a:pathLst>
              </a:custGeom>
              <a:grpFill/>
              <a:ln w="5978" cap="flat">
                <a:noFill/>
                <a:prstDash val="solid"/>
                <a:miter/>
              </a:ln>
            </p:spPr>
            <p:txBody>
              <a:bodyPr rtlCol="0" anchor="ctr"/>
              <a:lstStyle/>
              <a:p>
                <a:endParaRPr lang="en-GB"/>
              </a:p>
            </p:txBody>
          </p:sp>
          <p:sp>
            <p:nvSpPr>
              <p:cNvPr id="5017" name="Vrije vorm: vorm 5016">
                <a:extLst>
                  <a:ext uri="{FF2B5EF4-FFF2-40B4-BE49-F238E27FC236}">
                    <a16:creationId xmlns:a16="http://schemas.microsoft.com/office/drawing/2014/main" id="{3D8E49B6-9AC1-42D9-A32A-F5F9CDCF61C7}"/>
                  </a:ext>
                </a:extLst>
              </p:cNvPr>
              <p:cNvSpPr/>
              <p:nvPr/>
            </p:nvSpPr>
            <p:spPr>
              <a:xfrm>
                <a:off x="8038060" y="3724902"/>
                <a:ext cx="18326" cy="18402"/>
              </a:xfrm>
              <a:custGeom>
                <a:avLst/>
                <a:gdLst>
                  <a:gd name="connsiteX0" fmla="*/ 10577 w 18326"/>
                  <a:gd name="connsiteY0" fmla="*/ 110 h 18402"/>
                  <a:gd name="connsiteX1" fmla="*/ 110 w 18326"/>
                  <a:gd name="connsiteY1" fmla="*/ 7766 h 18402"/>
                  <a:gd name="connsiteX2" fmla="*/ 7765 w 18326"/>
                  <a:gd name="connsiteY2" fmla="*/ 18292 h 18402"/>
                  <a:gd name="connsiteX3" fmla="*/ 18231 w 18326"/>
                  <a:gd name="connsiteY3" fmla="*/ 10637 h 18402"/>
                  <a:gd name="connsiteX4" fmla="*/ 10577 w 18326"/>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02">
                    <a:moveTo>
                      <a:pt x="10577" y="110"/>
                    </a:moveTo>
                    <a:cubicBezTo>
                      <a:pt x="5552" y="-667"/>
                      <a:pt x="887" y="2742"/>
                      <a:pt x="110" y="7766"/>
                    </a:cubicBezTo>
                    <a:cubicBezTo>
                      <a:pt x="-667" y="12790"/>
                      <a:pt x="2742" y="17514"/>
                      <a:pt x="7765" y="18292"/>
                    </a:cubicBezTo>
                    <a:cubicBezTo>
                      <a:pt x="12790" y="19069"/>
                      <a:pt x="17454" y="15660"/>
                      <a:pt x="18231" y="10637"/>
                    </a:cubicBezTo>
                    <a:cubicBezTo>
                      <a:pt x="18949" y="5613"/>
                      <a:pt x="15540" y="888"/>
                      <a:pt x="10577" y="110"/>
                    </a:cubicBezTo>
                    <a:close/>
                  </a:path>
                </a:pathLst>
              </a:custGeom>
              <a:grpFill/>
              <a:ln w="5978" cap="flat">
                <a:noFill/>
                <a:prstDash val="solid"/>
                <a:miter/>
              </a:ln>
            </p:spPr>
            <p:txBody>
              <a:bodyPr rtlCol="0" anchor="ctr"/>
              <a:lstStyle/>
              <a:p>
                <a:endParaRPr lang="en-GB"/>
              </a:p>
            </p:txBody>
          </p:sp>
        </p:grpSp>
        <p:grpSp>
          <p:nvGrpSpPr>
            <p:cNvPr id="122" name="Graphic 3">
              <a:extLst>
                <a:ext uri="{FF2B5EF4-FFF2-40B4-BE49-F238E27FC236}">
                  <a16:creationId xmlns:a16="http://schemas.microsoft.com/office/drawing/2014/main" id="{7AB0755B-6168-4DE0-8D22-E25DBC269D59}"/>
                </a:ext>
              </a:extLst>
            </p:cNvPr>
            <p:cNvGrpSpPr/>
            <p:nvPr/>
          </p:nvGrpSpPr>
          <p:grpSpPr>
            <a:xfrm>
              <a:off x="7148148" y="1555842"/>
              <a:ext cx="589700" cy="604972"/>
              <a:chOff x="7148148" y="1555842"/>
              <a:chExt cx="589700" cy="604972"/>
            </a:xfrm>
            <a:grpFill/>
          </p:grpSpPr>
          <p:sp>
            <p:nvSpPr>
              <p:cNvPr id="5012" name="Vrije vorm: vorm 5011">
                <a:extLst>
                  <a:ext uri="{FF2B5EF4-FFF2-40B4-BE49-F238E27FC236}">
                    <a16:creationId xmlns:a16="http://schemas.microsoft.com/office/drawing/2014/main" id="{7E85016D-CE8D-44D6-9322-BADDD2704463}"/>
                  </a:ext>
                </a:extLst>
              </p:cNvPr>
              <p:cNvSpPr/>
              <p:nvPr/>
            </p:nvSpPr>
            <p:spPr>
              <a:xfrm>
                <a:off x="7155894" y="1563640"/>
                <a:ext cx="574209" cy="589400"/>
              </a:xfrm>
              <a:custGeom>
                <a:avLst/>
                <a:gdLst>
                  <a:gd name="connsiteX0" fmla="*/ 574209 w 574209"/>
                  <a:gd name="connsiteY0" fmla="*/ 2153 h 589400"/>
                  <a:gd name="connsiteX1" fmla="*/ 2213 w 574209"/>
                  <a:gd name="connsiteY1" fmla="*/ 589400 h 589400"/>
                  <a:gd name="connsiteX2" fmla="*/ 0 w 574209"/>
                  <a:gd name="connsiteY2" fmla="*/ 587247 h 589400"/>
                  <a:gd name="connsiteX3" fmla="*/ 572056 w 574209"/>
                  <a:gd name="connsiteY3" fmla="*/ 0 h 589400"/>
                </a:gdLst>
                <a:ahLst/>
                <a:cxnLst>
                  <a:cxn ang="0">
                    <a:pos x="connsiteX0" y="connsiteY0"/>
                  </a:cxn>
                  <a:cxn ang="0">
                    <a:pos x="connsiteX1" y="connsiteY1"/>
                  </a:cxn>
                  <a:cxn ang="0">
                    <a:pos x="connsiteX2" y="connsiteY2"/>
                  </a:cxn>
                  <a:cxn ang="0">
                    <a:pos x="connsiteX3" y="connsiteY3"/>
                  </a:cxn>
                </a:cxnLst>
                <a:rect l="l" t="t" r="r" b="b"/>
                <a:pathLst>
                  <a:path w="574209" h="589400">
                    <a:moveTo>
                      <a:pt x="574209" y="2153"/>
                    </a:moveTo>
                    <a:lnTo>
                      <a:pt x="2213" y="589400"/>
                    </a:lnTo>
                    <a:lnTo>
                      <a:pt x="0" y="587247"/>
                    </a:lnTo>
                    <a:lnTo>
                      <a:pt x="572056" y="0"/>
                    </a:lnTo>
                    <a:close/>
                  </a:path>
                </a:pathLst>
              </a:custGeom>
              <a:grpFill/>
              <a:ln w="5978" cap="flat">
                <a:noFill/>
                <a:prstDash val="solid"/>
                <a:miter/>
              </a:ln>
            </p:spPr>
            <p:txBody>
              <a:bodyPr rtlCol="0" anchor="ctr"/>
              <a:lstStyle/>
              <a:p>
                <a:endParaRPr lang="en-GB"/>
              </a:p>
            </p:txBody>
          </p:sp>
          <p:sp>
            <p:nvSpPr>
              <p:cNvPr id="5013" name="Vrije vorm: vorm 5012">
                <a:extLst>
                  <a:ext uri="{FF2B5EF4-FFF2-40B4-BE49-F238E27FC236}">
                    <a16:creationId xmlns:a16="http://schemas.microsoft.com/office/drawing/2014/main" id="{42CDD9C4-5F5F-4227-9593-46004168FE12}"/>
                  </a:ext>
                </a:extLst>
              </p:cNvPr>
              <p:cNvSpPr/>
              <p:nvPr/>
            </p:nvSpPr>
            <p:spPr>
              <a:xfrm>
                <a:off x="7148148" y="2142394"/>
                <a:ext cx="18340" cy="18421"/>
              </a:xfrm>
              <a:custGeom>
                <a:avLst/>
                <a:gdLst>
                  <a:gd name="connsiteX0" fmla="*/ 15760 w 18340"/>
                  <a:gd name="connsiteY0" fmla="*/ 15670 h 18421"/>
                  <a:gd name="connsiteX1" fmla="*/ 2782 w 18340"/>
                  <a:gd name="connsiteY1" fmla="*/ 15789 h 18421"/>
                  <a:gd name="connsiteX2" fmla="*/ 2603 w 18340"/>
                  <a:gd name="connsiteY2" fmla="*/ 2751 h 18421"/>
                  <a:gd name="connsiteX3" fmla="*/ 15581 w 18340"/>
                  <a:gd name="connsiteY3" fmla="*/ 2632 h 18421"/>
                  <a:gd name="connsiteX4" fmla="*/ 15760 w 18340"/>
                  <a:gd name="connsiteY4" fmla="*/ 1567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1">
                    <a:moveTo>
                      <a:pt x="15760" y="15670"/>
                    </a:moveTo>
                    <a:cubicBezTo>
                      <a:pt x="12232" y="19318"/>
                      <a:pt x="6430" y="19318"/>
                      <a:pt x="2782" y="15789"/>
                    </a:cubicBezTo>
                    <a:cubicBezTo>
                      <a:pt x="-866" y="12201"/>
                      <a:pt x="-926" y="6400"/>
                      <a:pt x="2603" y="2751"/>
                    </a:cubicBezTo>
                    <a:cubicBezTo>
                      <a:pt x="6131" y="-897"/>
                      <a:pt x="11932" y="-897"/>
                      <a:pt x="15581" y="2632"/>
                    </a:cubicBezTo>
                    <a:cubicBezTo>
                      <a:pt x="19169" y="6220"/>
                      <a:pt x="19289" y="12081"/>
                      <a:pt x="15760" y="15670"/>
                    </a:cubicBezTo>
                    <a:close/>
                  </a:path>
                </a:pathLst>
              </a:custGeom>
              <a:grpFill/>
              <a:ln w="5978" cap="flat">
                <a:noFill/>
                <a:prstDash val="solid"/>
                <a:miter/>
              </a:ln>
            </p:spPr>
            <p:txBody>
              <a:bodyPr rtlCol="0" anchor="ctr"/>
              <a:lstStyle/>
              <a:p>
                <a:endParaRPr lang="en-GB"/>
              </a:p>
            </p:txBody>
          </p:sp>
          <p:sp>
            <p:nvSpPr>
              <p:cNvPr id="5014" name="Vrije vorm: vorm 5013">
                <a:extLst>
                  <a:ext uri="{FF2B5EF4-FFF2-40B4-BE49-F238E27FC236}">
                    <a16:creationId xmlns:a16="http://schemas.microsoft.com/office/drawing/2014/main" id="{9091BA8E-DEAB-487C-BF19-D2EEAD46DE97}"/>
                  </a:ext>
                </a:extLst>
              </p:cNvPr>
              <p:cNvSpPr/>
              <p:nvPr/>
            </p:nvSpPr>
            <p:spPr>
              <a:xfrm>
                <a:off x="7719486" y="1555842"/>
                <a:ext cx="18362" cy="18443"/>
              </a:xfrm>
              <a:custGeom>
                <a:avLst/>
                <a:gdLst>
                  <a:gd name="connsiteX0" fmla="*/ 15760 w 18362"/>
                  <a:gd name="connsiteY0" fmla="*/ 15692 h 18443"/>
                  <a:gd name="connsiteX1" fmla="*/ 15581 w 18362"/>
                  <a:gd name="connsiteY1" fmla="*/ 2654 h 18443"/>
                  <a:gd name="connsiteX2" fmla="*/ 2602 w 18362"/>
                  <a:gd name="connsiteY2" fmla="*/ 2774 h 18443"/>
                  <a:gd name="connsiteX3" fmla="*/ 2782 w 18362"/>
                  <a:gd name="connsiteY3" fmla="*/ 15812 h 18443"/>
                  <a:gd name="connsiteX4" fmla="*/ 15760 w 18362"/>
                  <a:gd name="connsiteY4" fmla="*/ 1569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43">
                    <a:moveTo>
                      <a:pt x="15760" y="15692"/>
                    </a:moveTo>
                    <a:cubicBezTo>
                      <a:pt x="19289" y="12044"/>
                      <a:pt x="19229" y="6243"/>
                      <a:pt x="15581" y="2654"/>
                    </a:cubicBezTo>
                    <a:cubicBezTo>
                      <a:pt x="11932" y="-934"/>
                      <a:pt x="6131" y="-874"/>
                      <a:pt x="2602" y="2774"/>
                    </a:cubicBezTo>
                    <a:cubicBezTo>
                      <a:pt x="-926" y="6422"/>
                      <a:pt x="-866" y="12223"/>
                      <a:pt x="2782" y="15812"/>
                    </a:cubicBezTo>
                    <a:cubicBezTo>
                      <a:pt x="6430" y="19341"/>
                      <a:pt x="12231" y="19341"/>
                      <a:pt x="15760" y="15692"/>
                    </a:cubicBezTo>
                    <a:close/>
                  </a:path>
                </a:pathLst>
              </a:custGeom>
              <a:grpFill/>
              <a:ln w="5978" cap="flat">
                <a:noFill/>
                <a:prstDash val="solid"/>
                <a:miter/>
              </a:ln>
            </p:spPr>
            <p:txBody>
              <a:bodyPr rtlCol="0" anchor="ctr"/>
              <a:lstStyle/>
              <a:p>
                <a:endParaRPr lang="en-GB"/>
              </a:p>
            </p:txBody>
          </p:sp>
        </p:grpSp>
        <p:grpSp>
          <p:nvGrpSpPr>
            <p:cNvPr id="123" name="Graphic 3">
              <a:extLst>
                <a:ext uri="{FF2B5EF4-FFF2-40B4-BE49-F238E27FC236}">
                  <a16:creationId xmlns:a16="http://schemas.microsoft.com/office/drawing/2014/main" id="{0C8DA469-F1BD-4AE4-8473-52D9C4A97B3B}"/>
                </a:ext>
              </a:extLst>
            </p:cNvPr>
            <p:cNvGrpSpPr/>
            <p:nvPr/>
          </p:nvGrpSpPr>
          <p:grpSpPr>
            <a:xfrm>
              <a:off x="7709287" y="3197692"/>
              <a:ext cx="351073" cy="23505"/>
              <a:chOff x="7709287" y="3197692"/>
              <a:chExt cx="351073" cy="23505"/>
            </a:xfrm>
            <a:grpFill/>
          </p:grpSpPr>
          <p:sp>
            <p:nvSpPr>
              <p:cNvPr id="5009" name="Vrije vorm: vorm 5008">
                <a:extLst>
                  <a:ext uri="{FF2B5EF4-FFF2-40B4-BE49-F238E27FC236}">
                    <a16:creationId xmlns:a16="http://schemas.microsoft.com/office/drawing/2014/main" id="{5645DE91-FA10-4288-8B16-1CC686EBEDCF}"/>
                  </a:ext>
                </a:extLst>
              </p:cNvPr>
              <p:cNvSpPr/>
              <p:nvPr/>
            </p:nvSpPr>
            <p:spPr>
              <a:xfrm>
                <a:off x="7717962" y="3205348"/>
                <a:ext cx="333723" cy="8193"/>
              </a:xfrm>
              <a:custGeom>
                <a:avLst/>
                <a:gdLst>
                  <a:gd name="connsiteX0" fmla="*/ 333665 w 333723"/>
                  <a:gd name="connsiteY0" fmla="*/ 0 h 8193"/>
                  <a:gd name="connsiteX1" fmla="*/ 333724 w 333723"/>
                  <a:gd name="connsiteY1" fmla="*/ 3050 h 8193"/>
                  <a:gd name="connsiteX2" fmla="*/ 60 w 333723"/>
                  <a:gd name="connsiteY2" fmla="*/ 8194 h 8193"/>
                  <a:gd name="connsiteX3" fmla="*/ 0 w 333723"/>
                  <a:gd name="connsiteY3" fmla="*/ 5144 h 8193"/>
                </a:gdLst>
                <a:ahLst/>
                <a:cxnLst>
                  <a:cxn ang="0">
                    <a:pos x="connsiteX0" y="connsiteY0"/>
                  </a:cxn>
                  <a:cxn ang="0">
                    <a:pos x="connsiteX1" y="connsiteY1"/>
                  </a:cxn>
                  <a:cxn ang="0">
                    <a:pos x="connsiteX2" y="connsiteY2"/>
                  </a:cxn>
                  <a:cxn ang="0">
                    <a:pos x="connsiteX3" y="connsiteY3"/>
                  </a:cxn>
                </a:cxnLst>
                <a:rect l="l" t="t" r="r" b="b"/>
                <a:pathLst>
                  <a:path w="333723" h="8193">
                    <a:moveTo>
                      <a:pt x="333665" y="0"/>
                    </a:moveTo>
                    <a:lnTo>
                      <a:pt x="333724" y="3050"/>
                    </a:lnTo>
                    <a:lnTo>
                      <a:pt x="60" y="8194"/>
                    </a:lnTo>
                    <a:lnTo>
                      <a:pt x="0" y="5144"/>
                    </a:lnTo>
                    <a:close/>
                  </a:path>
                </a:pathLst>
              </a:custGeom>
              <a:grpFill/>
              <a:ln w="5978" cap="flat">
                <a:noFill/>
                <a:prstDash val="solid"/>
                <a:miter/>
              </a:ln>
            </p:spPr>
            <p:txBody>
              <a:bodyPr rtlCol="0" anchor="ctr"/>
              <a:lstStyle/>
              <a:p>
                <a:endParaRPr lang="en-GB"/>
              </a:p>
            </p:txBody>
          </p:sp>
          <p:sp>
            <p:nvSpPr>
              <p:cNvPr id="5010" name="Vrije vorm: vorm 5009">
                <a:extLst>
                  <a:ext uri="{FF2B5EF4-FFF2-40B4-BE49-F238E27FC236}">
                    <a16:creationId xmlns:a16="http://schemas.microsoft.com/office/drawing/2014/main" id="{B4CE829C-29F5-4521-A8F7-5FECCB1A27DD}"/>
                  </a:ext>
                </a:extLst>
              </p:cNvPr>
              <p:cNvSpPr/>
              <p:nvPr/>
            </p:nvSpPr>
            <p:spPr>
              <a:xfrm>
                <a:off x="7709287" y="3202776"/>
                <a:ext cx="18306" cy="18422"/>
              </a:xfrm>
              <a:custGeom>
                <a:avLst/>
                <a:gdLst>
                  <a:gd name="connsiteX0" fmla="*/ 9333 w 18306"/>
                  <a:gd name="connsiteY0" fmla="*/ 18421 h 18422"/>
                  <a:gd name="connsiteX1" fmla="*/ 3 w 18306"/>
                  <a:gd name="connsiteY1" fmla="*/ 9331 h 18422"/>
                  <a:gd name="connsiteX2" fmla="*/ 8974 w 18306"/>
                  <a:gd name="connsiteY2" fmla="*/ 1 h 18422"/>
                  <a:gd name="connsiteX3" fmla="*/ 18304 w 18306"/>
                  <a:gd name="connsiteY3" fmla="*/ 9091 h 18422"/>
                  <a:gd name="connsiteX4" fmla="*/ 9333 w 18306"/>
                  <a:gd name="connsiteY4" fmla="*/ 1842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9333" y="18421"/>
                    </a:moveTo>
                    <a:cubicBezTo>
                      <a:pt x="4249" y="18481"/>
                      <a:pt x="62" y="14414"/>
                      <a:pt x="3" y="9331"/>
                    </a:cubicBezTo>
                    <a:cubicBezTo>
                      <a:pt x="-116" y="4247"/>
                      <a:pt x="3950" y="61"/>
                      <a:pt x="8974" y="1"/>
                    </a:cubicBezTo>
                    <a:cubicBezTo>
                      <a:pt x="14058" y="-59"/>
                      <a:pt x="18244" y="4008"/>
                      <a:pt x="18304" y="9091"/>
                    </a:cubicBezTo>
                    <a:cubicBezTo>
                      <a:pt x="18424" y="14175"/>
                      <a:pt x="14416" y="18362"/>
                      <a:pt x="9333" y="18421"/>
                    </a:cubicBezTo>
                    <a:close/>
                  </a:path>
                </a:pathLst>
              </a:custGeom>
              <a:grpFill/>
              <a:ln w="5978" cap="flat">
                <a:noFill/>
                <a:prstDash val="solid"/>
                <a:miter/>
              </a:ln>
            </p:spPr>
            <p:txBody>
              <a:bodyPr rtlCol="0" anchor="ctr"/>
              <a:lstStyle/>
              <a:p>
                <a:endParaRPr lang="en-GB"/>
              </a:p>
            </p:txBody>
          </p:sp>
          <p:sp>
            <p:nvSpPr>
              <p:cNvPr id="5011" name="Vrije vorm: vorm 5010">
                <a:extLst>
                  <a:ext uri="{FF2B5EF4-FFF2-40B4-BE49-F238E27FC236}">
                    <a16:creationId xmlns:a16="http://schemas.microsoft.com/office/drawing/2014/main" id="{6D6F22AB-1EE4-4D1C-A204-D26AD72806F0}"/>
                  </a:ext>
                </a:extLst>
              </p:cNvPr>
              <p:cNvSpPr/>
              <p:nvPr/>
            </p:nvSpPr>
            <p:spPr>
              <a:xfrm>
                <a:off x="8042054" y="3197692"/>
                <a:ext cx="18306" cy="18422"/>
              </a:xfrm>
              <a:custGeom>
                <a:avLst/>
                <a:gdLst>
                  <a:gd name="connsiteX0" fmla="*/ 9333 w 18306"/>
                  <a:gd name="connsiteY0" fmla="*/ 18421 h 18422"/>
                  <a:gd name="connsiteX1" fmla="*/ 18304 w 18306"/>
                  <a:gd name="connsiteY1" fmla="*/ 9091 h 18422"/>
                  <a:gd name="connsiteX2" fmla="*/ 8974 w 18306"/>
                  <a:gd name="connsiteY2" fmla="*/ 1 h 18422"/>
                  <a:gd name="connsiteX3" fmla="*/ 3 w 18306"/>
                  <a:gd name="connsiteY3" fmla="*/ 9331 h 18422"/>
                  <a:gd name="connsiteX4" fmla="*/ 9333 w 18306"/>
                  <a:gd name="connsiteY4" fmla="*/ 1842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9333" y="18421"/>
                    </a:moveTo>
                    <a:cubicBezTo>
                      <a:pt x="14416" y="18362"/>
                      <a:pt x="18424" y="14175"/>
                      <a:pt x="18304" y="9091"/>
                    </a:cubicBezTo>
                    <a:cubicBezTo>
                      <a:pt x="18184" y="4008"/>
                      <a:pt x="13998" y="-59"/>
                      <a:pt x="8974" y="1"/>
                    </a:cubicBezTo>
                    <a:cubicBezTo>
                      <a:pt x="3890" y="61"/>
                      <a:pt x="-117" y="4247"/>
                      <a:pt x="3" y="9331"/>
                    </a:cubicBezTo>
                    <a:cubicBezTo>
                      <a:pt x="122" y="14414"/>
                      <a:pt x="4249" y="18481"/>
                      <a:pt x="9333" y="18421"/>
                    </a:cubicBezTo>
                    <a:close/>
                  </a:path>
                </a:pathLst>
              </a:custGeom>
              <a:grpFill/>
              <a:ln w="5978" cap="flat">
                <a:noFill/>
                <a:prstDash val="solid"/>
                <a:miter/>
              </a:ln>
            </p:spPr>
            <p:txBody>
              <a:bodyPr rtlCol="0" anchor="ctr"/>
              <a:lstStyle/>
              <a:p>
                <a:endParaRPr lang="en-GB"/>
              </a:p>
            </p:txBody>
          </p:sp>
        </p:grpSp>
        <p:grpSp>
          <p:nvGrpSpPr>
            <p:cNvPr id="124" name="Graphic 3">
              <a:extLst>
                <a:ext uri="{FF2B5EF4-FFF2-40B4-BE49-F238E27FC236}">
                  <a16:creationId xmlns:a16="http://schemas.microsoft.com/office/drawing/2014/main" id="{B3D7AA52-D057-4F87-A265-262BCF27B4C2}"/>
                </a:ext>
              </a:extLst>
            </p:cNvPr>
            <p:cNvGrpSpPr/>
            <p:nvPr/>
          </p:nvGrpSpPr>
          <p:grpSpPr>
            <a:xfrm>
              <a:off x="7739021" y="3453913"/>
              <a:ext cx="471266" cy="69423"/>
              <a:chOff x="7739021" y="3453913"/>
              <a:chExt cx="471266" cy="69423"/>
            </a:xfrm>
            <a:grpFill/>
          </p:grpSpPr>
          <p:sp>
            <p:nvSpPr>
              <p:cNvPr id="5006" name="Vrije vorm: vorm 5005">
                <a:extLst>
                  <a:ext uri="{FF2B5EF4-FFF2-40B4-BE49-F238E27FC236}">
                    <a16:creationId xmlns:a16="http://schemas.microsoft.com/office/drawing/2014/main" id="{ADFC0DE4-48F9-49BD-AF42-917C6EC2BC65}"/>
                  </a:ext>
                </a:extLst>
              </p:cNvPr>
              <p:cNvSpPr/>
              <p:nvPr/>
            </p:nvSpPr>
            <p:spPr>
              <a:xfrm>
                <a:off x="7747566" y="3461562"/>
                <a:ext cx="454176" cy="54125"/>
              </a:xfrm>
              <a:custGeom>
                <a:avLst/>
                <a:gdLst>
                  <a:gd name="connsiteX0" fmla="*/ 454176 w 454176"/>
                  <a:gd name="connsiteY0" fmla="*/ 51075 h 54125"/>
                  <a:gd name="connsiteX1" fmla="*/ 453817 w 454176"/>
                  <a:gd name="connsiteY1" fmla="*/ 54125 h 54125"/>
                  <a:gd name="connsiteX2" fmla="*/ 0 w 454176"/>
                  <a:gd name="connsiteY2" fmla="*/ 3050 h 54125"/>
                  <a:gd name="connsiteX3" fmla="*/ 359 w 454176"/>
                  <a:gd name="connsiteY3" fmla="*/ 0 h 54125"/>
                </a:gdLst>
                <a:ahLst/>
                <a:cxnLst>
                  <a:cxn ang="0">
                    <a:pos x="connsiteX0" y="connsiteY0"/>
                  </a:cxn>
                  <a:cxn ang="0">
                    <a:pos x="connsiteX1" y="connsiteY1"/>
                  </a:cxn>
                  <a:cxn ang="0">
                    <a:pos x="connsiteX2" y="connsiteY2"/>
                  </a:cxn>
                  <a:cxn ang="0">
                    <a:pos x="connsiteX3" y="connsiteY3"/>
                  </a:cxn>
                </a:cxnLst>
                <a:rect l="l" t="t" r="r" b="b"/>
                <a:pathLst>
                  <a:path w="454176" h="54125">
                    <a:moveTo>
                      <a:pt x="454176" y="51075"/>
                    </a:moveTo>
                    <a:lnTo>
                      <a:pt x="453817" y="54125"/>
                    </a:lnTo>
                    <a:lnTo>
                      <a:pt x="0" y="3050"/>
                    </a:lnTo>
                    <a:lnTo>
                      <a:pt x="359" y="0"/>
                    </a:lnTo>
                    <a:close/>
                  </a:path>
                </a:pathLst>
              </a:custGeom>
              <a:grpFill/>
              <a:ln w="5978" cap="flat">
                <a:noFill/>
                <a:prstDash val="solid"/>
                <a:miter/>
              </a:ln>
            </p:spPr>
            <p:txBody>
              <a:bodyPr rtlCol="0" anchor="ctr"/>
              <a:lstStyle/>
              <a:p>
                <a:endParaRPr lang="en-GB"/>
              </a:p>
            </p:txBody>
          </p:sp>
          <p:sp>
            <p:nvSpPr>
              <p:cNvPr id="5007" name="Vrije vorm: vorm 5006">
                <a:extLst>
                  <a:ext uri="{FF2B5EF4-FFF2-40B4-BE49-F238E27FC236}">
                    <a16:creationId xmlns:a16="http://schemas.microsoft.com/office/drawing/2014/main" id="{2718CCA1-C7CC-40E8-B4B7-B580DEC70BC9}"/>
                  </a:ext>
                </a:extLst>
              </p:cNvPr>
              <p:cNvSpPr/>
              <p:nvPr/>
            </p:nvSpPr>
            <p:spPr>
              <a:xfrm>
                <a:off x="7739021" y="3453913"/>
                <a:ext cx="18346" cy="18418"/>
              </a:xfrm>
              <a:custGeom>
                <a:avLst/>
                <a:gdLst>
                  <a:gd name="connsiteX0" fmla="*/ 8186 w 18346"/>
                  <a:gd name="connsiteY0" fmla="*/ 18354 h 18418"/>
                  <a:gd name="connsiteX1" fmla="*/ 53 w 18346"/>
                  <a:gd name="connsiteY1" fmla="*/ 8187 h 18418"/>
                  <a:gd name="connsiteX2" fmla="*/ 10160 w 18346"/>
                  <a:gd name="connsiteY2" fmla="*/ 53 h 18418"/>
                  <a:gd name="connsiteX3" fmla="*/ 18294 w 18346"/>
                  <a:gd name="connsiteY3" fmla="*/ 10221 h 18418"/>
                  <a:gd name="connsiteX4" fmla="*/ 8186 w 18346"/>
                  <a:gd name="connsiteY4" fmla="*/ 18354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8">
                    <a:moveTo>
                      <a:pt x="8186" y="18354"/>
                    </a:moveTo>
                    <a:cubicBezTo>
                      <a:pt x="3162" y="17816"/>
                      <a:pt x="-486" y="13211"/>
                      <a:pt x="53" y="8187"/>
                    </a:cubicBezTo>
                    <a:cubicBezTo>
                      <a:pt x="591" y="3104"/>
                      <a:pt x="5136" y="-485"/>
                      <a:pt x="10160" y="53"/>
                    </a:cubicBezTo>
                    <a:cubicBezTo>
                      <a:pt x="15183" y="592"/>
                      <a:pt x="18832" y="5197"/>
                      <a:pt x="18294" y="10221"/>
                    </a:cubicBezTo>
                    <a:cubicBezTo>
                      <a:pt x="17755" y="15304"/>
                      <a:pt x="13210" y="18953"/>
                      <a:pt x="8186" y="18354"/>
                    </a:cubicBezTo>
                    <a:close/>
                  </a:path>
                </a:pathLst>
              </a:custGeom>
              <a:grpFill/>
              <a:ln w="5978" cap="flat">
                <a:noFill/>
                <a:prstDash val="solid"/>
                <a:miter/>
              </a:ln>
            </p:spPr>
            <p:txBody>
              <a:bodyPr rtlCol="0" anchor="ctr"/>
              <a:lstStyle/>
              <a:p>
                <a:endParaRPr lang="en-GB"/>
              </a:p>
            </p:txBody>
          </p:sp>
          <p:sp>
            <p:nvSpPr>
              <p:cNvPr id="5008" name="Vrije vorm: vorm 5007">
                <a:extLst>
                  <a:ext uri="{FF2B5EF4-FFF2-40B4-BE49-F238E27FC236}">
                    <a16:creationId xmlns:a16="http://schemas.microsoft.com/office/drawing/2014/main" id="{26691306-1F61-4005-BD0F-5F94E54F5FD0}"/>
                  </a:ext>
                </a:extLst>
              </p:cNvPr>
              <p:cNvSpPr/>
              <p:nvPr/>
            </p:nvSpPr>
            <p:spPr>
              <a:xfrm>
                <a:off x="8191941" y="3504929"/>
                <a:ext cx="18346" cy="18407"/>
              </a:xfrm>
              <a:custGeom>
                <a:avLst/>
                <a:gdLst>
                  <a:gd name="connsiteX0" fmla="*/ 8186 w 18346"/>
                  <a:gd name="connsiteY0" fmla="*/ 18354 h 18407"/>
                  <a:gd name="connsiteX1" fmla="*/ 18294 w 18346"/>
                  <a:gd name="connsiteY1" fmla="*/ 10221 h 18407"/>
                  <a:gd name="connsiteX2" fmla="*/ 10160 w 18346"/>
                  <a:gd name="connsiteY2" fmla="*/ 53 h 18407"/>
                  <a:gd name="connsiteX3" fmla="*/ 53 w 18346"/>
                  <a:gd name="connsiteY3" fmla="*/ 8187 h 18407"/>
                  <a:gd name="connsiteX4" fmla="*/ 8186 w 18346"/>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7">
                    <a:moveTo>
                      <a:pt x="8186" y="18354"/>
                    </a:moveTo>
                    <a:cubicBezTo>
                      <a:pt x="13210" y="18893"/>
                      <a:pt x="17755" y="15304"/>
                      <a:pt x="18294" y="10221"/>
                    </a:cubicBezTo>
                    <a:cubicBezTo>
                      <a:pt x="18832" y="5137"/>
                      <a:pt x="15184" y="592"/>
                      <a:pt x="10160" y="53"/>
                    </a:cubicBezTo>
                    <a:cubicBezTo>
                      <a:pt x="5136" y="-485"/>
                      <a:pt x="591" y="3104"/>
                      <a:pt x="53" y="8187"/>
                    </a:cubicBezTo>
                    <a:cubicBezTo>
                      <a:pt x="-486" y="13211"/>
                      <a:pt x="3163" y="17756"/>
                      <a:pt x="8186" y="18354"/>
                    </a:cubicBezTo>
                    <a:close/>
                  </a:path>
                </a:pathLst>
              </a:custGeom>
              <a:grpFill/>
              <a:ln w="5978" cap="flat">
                <a:noFill/>
                <a:prstDash val="solid"/>
                <a:miter/>
              </a:ln>
            </p:spPr>
            <p:txBody>
              <a:bodyPr rtlCol="0" anchor="ctr"/>
              <a:lstStyle/>
              <a:p>
                <a:endParaRPr lang="en-GB"/>
              </a:p>
            </p:txBody>
          </p:sp>
        </p:grpSp>
        <p:grpSp>
          <p:nvGrpSpPr>
            <p:cNvPr id="125" name="Graphic 3">
              <a:extLst>
                <a:ext uri="{FF2B5EF4-FFF2-40B4-BE49-F238E27FC236}">
                  <a16:creationId xmlns:a16="http://schemas.microsoft.com/office/drawing/2014/main" id="{7E41DCE1-35D4-4C69-A1DB-4383CB9DA2E5}"/>
                </a:ext>
              </a:extLst>
            </p:cNvPr>
            <p:cNvGrpSpPr/>
            <p:nvPr/>
          </p:nvGrpSpPr>
          <p:grpSpPr>
            <a:xfrm>
              <a:off x="7447826" y="2213555"/>
              <a:ext cx="255154" cy="190957"/>
              <a:chOff x="7447826" y="2213555"/>
              <a:chExt cx="255154" cy="190957"/>
            </a:xfrm>
            <a:grpFill/>
          </p:grpSpPr>
          <p:sp>
            <p:nvSpPr>
              <p:cNvPr id="5003" name="Vrije vorm: vorm 5002">
                <a:extLst>
                  <a:ext uri="{FF2B5EF4-FFF2-40B4-BE49-F238E27FC236}">
                    <a16:creationId xmlns:a16="http://schemas.microsoft.com/office/drawing/2014/main" id="{318E4990-F496-4BBB-B427-85FF541B34DE}"/>
                  </a:ext>
                </a:extLst>
              </p:cNvPr>
              <p:cNvSpPr/>
              <p:nvPr/>
            </p:nvSpPr>
            <p:spPr>
              <a:xfrm>
                <a:off x="7455707" y="2221220"/>
                <a:ext cx="239347" cy="175653"/>
              </a:xfrm>
              <a:custGeom>
                <a:avLst/>
                <a:gdLst>
                  <a:gd name="connsiteX0" fmla="*/ 239348 w 239347"/>
                  <a:gd name="connsiteY0" fmla="*/ 2512 h 175653"/>
                  <a:gd name="connsiteX1" fmla="*/ 1794 w 239347"/>
                  <a:gd name="connsiteY1" fmla="*/ 175654 h 175653"/>
                  <a:gd name="connsiteX2" fmla="*/ 0 w 239347"/>
                  <a:gd name="connsiteY2" fmla="*/ 173142 h 175653"/>
                  <a:gd name="connsiteX3" fmla="*/ 237554 w 239347"/>
                  <a:gd name="connsiteY3" fmla="*/ 0 h 175653"/>
                </a:gdLst>
                <a:ahLst/>
                <a:cxnLst>
                  <a:cxn ang="0">
                    <a:pos x="connsiteX0" y="connsiteY0"/>
                  </a:cxn>
                  <a:cxn ang="0">
                    <a:pos x="connsiteX1" y="connsiteY1"/>
                  </a:cxn>
                  <a:cxn ang="0">
                    <a:pos x="connsiteX2" y="connsiteY2"/>
                  </a:cxn>
                  <a:cxn ang="0">
                    <a:pos x="connsiteX3" y="connsiteY3"/>
                  </a:cxn>
                </a:cxnLst>
                <a:rect l="l" t="t" r="r" b="b"/>
                <a:pathLst>
                  <a:path w="239347" h="175653">
                    <a:moveTo>
                      <a:pt x="239348" y="2512"/>
                    </a:moveTo>
                    <a:lnTo>
                      <a:pt x="1794" y="175654"/>
                    </a:lnTo>
                    <a:lnTo>
                      <a:pt x="0" y="173142"/>
                    </a:lnTo>
                    <a:lnTo>
                      <a:pt x="237554" y="0"/>
                    </a:lnTo>
                    <a:close/>
                  </a:path>
                </a:pathLst>
              </a:custGeom>
              <a:grpFill/>
              <a:ln w="5978" cap="flat">
                <a:noFill/>
                <a:prstDash val="solid"/>
                <a:miter/>
              </a:ln>
            </p:spPr>
            <p:txBody>
              <a:bodyPr rtlCol="0" anchor="ctr"/>
              <a:lstStyle/>
              <a:p>
                <a:endParaRPr lang="en-GB"/>
              </a:p>
            </p:txBody>
          </p:sp>
          <p:sp>
            <p:nvSpPr>
              <p:cNvPr id="5004" name="Vrije vorm: vorm 5003">
                <a:extLst>
                  <a:ext uri="{FF2B5EF4-FFF2-40B4-BE49-F238E27FC236}">
                    <a16:creationId xmlns:a16="http://schemas.microsoft.com/office/drawing/2014/main" id="{D01F8759-6C01-47CE-A58E-ED6287590C4F}"/>
                  </a:ext>
                </a:extLst>
              </p:cNvPr>
              <p:cNvSpPr/>
              <p:nvPr/>
            </p:nvSpPr>
            <p:spPr>
              <a:xfrm>
                <a:off x="7684619" y="2213555"/>
                <a:ext cx="18361" cy="18439"/>
              </a:xfrm>
              <a:custGeom>
                <a:avLst/>
                <a:gdLst>
                  <a:gd name="connsiteX0" fmla="*/ 3798 w 18361"/>
                  <a:gd name="connsiteY0" fmla="*/ 1744 h 18439"/>
                  <a:gd name="connsiteX1" fmla="*/ 16597 w 18361"/>
                  <a:gd name="connsiteY1" fmla="*/ 3837 h 18439"/>
                  <a:gd name="connsiteX2" fmla="*/ 14563 w 18361"/>
                  <a:gd name="connsiteY2" fmla="*/ 16696 h 18439"/>
                  <a:gd name="connsiteX3" fmla="*/ 1765 w 18361"/>
                  <a:gd name="connsiteY3" fmla="*/ 14602 h 18439"/>
                  <a:gd name="connsiteX4" fmla="*/ 3798 w 18361"/>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39">
                    <a:moveTo>
                      <a:pt x="3798" y="1744"/>
                    </a:moveTo>
                    <a:cubicBezTo>
                      <a:pt x="7865" y="-1246"/>
                      <a:pt x="13606" y="-290"/>
                      <a:pt x="16597" y="3837"/>
                    </a:cubicBezTo>
                    <a:cubicBezTo>
                      <a:pt x="19587" y="7964"/>
                      <a:pt x="18690" y="13705"/>
                      <a:pt x="14563" y="16696"/>
                    </a:cubicBezTo>
                    <a:cubicBezTo>
                      <a:pt x="10496" y="19686"/>
                      <a:pt x="4755" y="18729"/>
                      <a:pt x="1765" y="14602"/>
                    </a:cubicBezTo>
                    <a:cubicBezTo>
                      <a:pt x="-1226" y="10476"/>
                      <a:pt x="-329" y="4674"/>
                      <a:pt x="3798" y="1744"/>
                    </a:cubicBezTo>
                    <a:close/>
                  </a:path>
                </a:pathLst>
              </a:custGeom>
              <a:grpFill/>
              <a:ln w="5978" cap="flat">
                <a:noFill/>
                <a:prstDash val="solid"/>
                <a:miter/>
              </a:ln>
            </p:spPr>
            <p:txBody>
              <a:bodyPr rtlCol="0" anchor="ctr"/>
              <a:lstStyle/>
              <a:p>
                <a:endParaRPr lang="en-GB"/>
              </a:p>
            </p:txBody>
          </p:sp>
          <p:sp>
            <p:nvSpPr>
              <p:cNvPr id="5005" name="Vrije vorm: vorm 5004">
                <a:extLst>
                  <a:ext uri="{FF2B5EF4-FFF2-40B4-BE49-F238E27FC236}">
                    <a16:creationId xmlns:a16="http://schemas.microsoft.com/office/drawing/2014/main" id="{E5DB3842-2323-4811-AFFD-BCA119EE7F95}"/>
                  </a:ext>
                </a:extLst>
              </p:cNvPr>
              <p:cNvSpPr/>
              <p:nvPr/>
            </p:nvSpPr>
            <p:spPr>
              <a:xfrm>
                <a:off x="7447826" y="2386125"/>
                <a:ext cx="18275" cy="18387"/>
              </a:xfrm>
              <a:custGeom>
                <a:avLst/>
                <a:gdLst>
                  <a:gd name="connsiteX0" fmla="*/ 3755 w 18275"/>
                  <a:gd name="connsiteY0" fmla="*/ 1718 h 18387"/>
                  <a:gd name="connsiteX1" fmla="*/ 1722 w 18275"/>
                  <a:gd name="connsiteY1" fmla="*/ 14577 h 18387"/>
                  <a:gd name="connsiteX2" fmla="*/ 14520 w 18275"/>
                  <a:gd name="connsiteY2" fmla="*/ 16670 h 18387"/>
                  <a:gd name="connsiteX3" fmla="*/ 16554 w 18275"/>
                  <a:gd name="connsiteY3" fmla="*/ 3811 h 18387"/>
                  <a:gd name="connsiteX4" fmla="*/ 3755 w 18275"/>
                  <a:gd name="connsiteY4" fmla="*/ 171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387">
                    <a:moveTo>
                      <a:pt x="3755" y="1718"/>
                    </a:moveTo>
                    <a:cubicBezTo>
                      <a:pt x="-312" y="4708"/>
                      <a:pt x="-1209" y="10450"/>
                      <a:pt x="1722" y="14577"/>
                    </a:cubicBezTo>
                    <a:cubicBezTo>
                      <a:pt x="4712" y="18703"/>
                      <a:pt x="10453" y="19600"/>
                      <a:pt x="14520" y="16670"/>
                    </a:cubicBezTo>
                    <a:cubicBezTo>
                      <a:pt x="18587" y="13679"/>
                      <a:pt x="19484" y="7938"/>
                      <a:pt x="16554" y="3811"/>
                    </a:cubicBezTo>
                    <a:cubicBezTo>
                      <a:pt x="13563" y="-316"/>
                      <a:pt x="7822" y="-1213"/>
                      <a:pt x="3755" y="1718"/>
                    </a:cubicBezTo>
                    <a:close/>
                  </a:path>
                </a:pathLst>
              </a:custGeom>
              <a:grpFill/>
              <a:ln w="5978" cap="flat">
                <a:noFill/>
                <a:prstDash val="solid"/>
                <a:miter/>
              </a:ln>
            </p:spPr>
            <p:txBody>
              <a:bodyPr rtlCol="0" anchor="ctr"/>
              <a:lstStyle/>
              <a:p>
                <a:endParaRPr lang="en-GB"/>
              </a:p>
            </p:txBody>
          </p:sp>
        </p:grpSp>
        <p:grpSp>
          <p:nvGrpSpPr>
            <p:cNvPr id="126" name="Graphic 3">
              <a:extLst>
                <a:ext uri="{FF2B5EF4-FFF2-40B4-BE49-F238E27FC236}">
                  <a16:creationId xmlns:a16="http://schemas.microsoft.com/office/drawing/2014/main" id="{2FB932FE-2E2E-4B2A-8713-60A676946F06}"/>
                </a:ext>
              </a:extLst>
            </p:cNvPr>
            <p:cNvGrpSpPr/>
            <p:nvPr/>
          </p:nvGrpSpPr>
          <p:grpSpPr>
            <a:xfrm>
              <a:off x="7412314" y="1988149"/>
              <a:ext cx="142862" cy="136987"/>
              <a:chOff x="7412314" y="1988149"/>
              <a:chExt cx="142862" cy="136987"/>
            </a:xfrm>
            <a:grpFill/>
          </p:grpSpPr>
          <p:sp>
            <p:nvSpPr>
              <p:cNvPr id="5000" name="Vrije vorm: vorm 4999">
                <a:extLst>
                  <a:ext uri="{FF2B5EF4-FFF2-40B4-BE49-F238E27FC236}">
                    <a16:creationId xmlns:a16="http://schemas.microsoft.com/office/drawing/2014/main" id="{E5A49793-9FAA-46F5-B3D9-B47CCBAEC9F7}"/>
                  </a:ext>
                </a:extLst>
              </p:cNvPr>
              <p:cNvSpPr/>
              <p:nvPr/>
            </p:nvSpPr>
            <p:spPr>
              <a:xfrm>
                <a:off x="7420062" y="1995927"/>
                <a:ext cx="127269" cy="121408"/>
              </a:xfrm>
              <a:custGeom>
                <a:avLst/>
                <a:gdLst>
                  <a:gd name="connsiteX0" fmla="*/ 127270 w 127269"/>
                  <a:gd name="connsiteY0" fmla="*/ 2213 h 121408"/>
                  <a:gd name="connsiteX1" fmla="*/ 2153 w 127269"/>
                  <a:gd name="connsiteY1" fmla="*/ 121409 h 121408"/>
                  <a:gd name="connsiteX2" fmla="*/ 0 w 127269"/>
                  <a:gd name="connsiteY2" fmla="*/ 119196 h 121408"/>
                  <a:gd name="connsiteX3" fmla="*/ 125177 w 127269"/>
                  <a:gd name="connsiteY3" fmla="*/ 0 h 121408"/>
                </a:gdLst>
                <a:ahLst/>
                <a:cxnLst>
                  <a:cxn ang="0">
                    <a:pos x="connsiteX0" y="connsiteY0"/>
                  </a:cxn>
                  <a:cxn ang="0">
                    <a:pos x="connsiteX1" y="connsiteY1"/>
                  </a:cxn>
                  <a:cxn ang="0">
                    <a:pos x="connsiteX2" y="connsiteY2"/>
                  </a:cxn>
                  <a:cxn ang="0">
                    <a:pos x="connsiteX3" y="connsiteY3"/>
                  </a:cxn>
                </a:cxnLst>
                <a:rect l="l" t="t" r="r" b="b"/>
                <a:pathLst>
                  <a:path w="127269" h="121408">
                    <a:moveTo>
                      <a:pt x="127270" y="2213"/>
                    </a:moveTo>
                    <a:lnTo>
                      <a:pt x="2153" y="121409"/>
                    </a:lnTo>
                    <a:lnTo>
                      <a:pt x="0" y="119196"/>
                    </a:lnTo>
                    <a:lnTo>
                      <a:pt x="125177" y="0"/>
                    </a:lnTo>
                    <a:close/>
                  </a:path>
                </a:pathLst>
              </a:custGeom>
              <a:grpFill/>
              <a:ln w="5978" cap="flat">
                <a:noFill/>
                <a:prstDash val="solid"/>
                <a:miter/>
              </a:ln>
            </p:spPr>
            <p:txBody>
              <a:bodyPr rtlCol="0" anchor="ctr"/>
              <a:lstStyle/>
              <a:p>
                <a:endParaRPr lang="en-GB"/>
              </a:p>
            </p:txBody>
          </p:sp>
          <p:sp>
            <p:nvSpPr>
              <p:cNvPr id="5001" name="Vrije vorm: vorm 5000">
                <a:extLst>
                  <a:ext uri="{FF2B5EF4-FFF2-40B4-BE49-F238E27FC236}">
                    <a16:creationId xmlns:a16="http://schemas.microsoft.com/office/drawing/2014/main" id="{4C66C769-C47C-43BC-8C94-6946EF681295}"/>
                  </a:ext>
                </a:extLst>
              </p:cNvPr>
              <p:cNvSpPr/>
              <p:nvPr/>
            </p:nvSpPr>
            <p:spPr>
              <a:xfrm>
                <a:off x="7536811" y="1988149"/>
                <a:ext cx="18365" cy="18426"/>
              </a:xfrm>
              <a:custGeom>
                <a:avLst/>
                <a:gdLst>
                  <a:gd name="connsiteX0" fmla="*/ 2866 w 18365"/>
                  <a:gd name="connsiteY0" fmla="*/ 2515 h 18426"/>
                  <a:gd name="connsiteX1" fmla="*/ 15844 w 18365"/>
                  <a:gd name="connsiteY1" fmla="*/ 2874 h 18426"/>
                  <a:gd name="connsiteX2" fmla="*/ 15545 w 18365"/>
                  <a:gd name="connsiteY2" fmla="*/ 15912 h 18426"/>
                  <a:gd name="connsiteX3" fmla="*/ 2567 w 18365"/>
                  <a:gd name="connsiteY3" fmla="*/ 15553 h 18426"/>
                  <a:gd name="connsiteX4" fmla="*/ 2866 w 18365"/>
                  <a:gd name="connsiteY4" fmla="*/ 25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6">
                    <a:moveTo>
                      <a:pt x="2866" y="2515"/>
                    </a:moveTo>
                    <a:cubicBezTo>
                      <a:pt x="6514" y="-954"/>
                      <a:pt x="12316" y="-834"/>
                      <a:pt x="15844" y="2874"/>
                    </a:cubicBezTo>
                    <a:cubicBezTo>
                      <a:pt x="19312" y="6582"/>
                      <a:pt x="19193" y="12383"/>
                      <a:pt x="15545" y="15912"/>
                    </a:cubicBezTo>
                    <a:cubicBezTo>
                      <a:pt x="11896" y="19381"/>
                      <a:pt x="6095" y="19261"/>
                      <a:pt x="2567" y="15553"/>
                    </a:cubicBezTo>
                    <a:cubicBezTo>
                      <a:pt x="-962" y="11845"/>
                      <a:pt x="-843" y="5984"/>
                      <a:pt x="2866" y="2515"/>
                    </a:cubicBezTo>
                    <a:close/>
                  </a:path>
                </a:pathLst>
              </a:custGeom>
              <a:grpFill/>
              <a:ln w="5978" cap="flat">
                <a:noFill/>
                <a:prstDash val="solid"/>
                <a:miter/>
              </a:ln>
            </p:spPr>
            <p:txBody>
              <a:bodyPr rtlCol="0" anchor="ctr"/>
              <a:lstStyle/>
              <a:p>
                <a:endParaRPr lang="en-GB"/>
              </a:p>
            </p:txBody>
          </p:sp>
          <p:sp>
            <p:nvSpPr>
              <p:cNvPr id="5002" name="Vrije vorm: vorm 5001">
                <a:extLst>
                  <a:ext uri="{FF2B5EF4-FFF2-40B4-BE49-F238E27FC236}">
                    <a16:creationId xmlns:a16="http://schemas.microsoft.com/office/drawing/2014/main" id="{AD3720DD-2B8E-4718-86B5-5E1DC027F13A}"/>
                  </a:ext>
                </a:extLst>
              </p:cNvPr>
              <p:cNvSpPr/>
              <p:nvPr/>
            </p:nvSpPr>
            <p:spPr>
              <a:xfrm>
                <a:off x="7412314" y="2106708"/>
                <a:ext cx="18366" cy="18428"/>
              </a:xfrm>
              <a:custGeom>
                <a:avLst/>
                <a:gdLst>
                  <a:gd name="connsiteX0" fmla="*/ 2844 w 18366"/>
                  <a:gd name="connsiteY0" fmla="*/ 2493 h 18428"/>
                  <a:gd name="connsiteX1" fmla="*/ 2545 w 18366"/>
                  <a:gd name="connsiteY1" fmla="*/ 15531 h 18428"/>
                  <a:gd name="connsiteX2" fmla="*/ 15523 w 18366"/>
                  <a:gd name="connsiteY2" fmla="*/ 15890 h 18428"/>
                  <a:gd name="connsiteX3" fmla="*/ 15822 w 18366"/>
                  <a:gd name="connsiteY3" fmla="*/ 2852 h 18428"/>
                  <a:gd name="connsiteX4" fmla="*/ 2844 w 18366"/>
                  <a:gd name="connsiteY4" fmla="*/ 2493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8">
                    <a:moveTo>
                      <a:pt x="2844" y="2493"/>
                    </a:moveTo>
                    <a:cubicBezTo>
                      <a:pt x="-804" y="5962"/>
                      <a:pt x="-984" y="11823"/>
                      <a:pt x="2545" y="15531"/>
                    </a:cubicBezTo>
                    <a:cubicBezTo>
                      <a:pt x="6014" y="19239"/>
                      <a:pt x="11815" y="19419"/>
                      <a:pt x="15523" y="15890"/>
                    </a:cubicBezTo>
                    <a:cubicBezTo>
                      <a:pt x="19171" y="12421"/>
                      <a:pt x="19351" y="6560"/>
                      <a:pt x="15822" y="2852"/>
                    </a:cubicBezTo>
                    <a:cubicBezTo>
                      <a:pt x="12293" y="-796"/>
                      <a:pt x="6492" y="-976"/>
                      <a:pt x="2844" y="2493"/>
                    </a:cubicBezTo>
                    <a:close/>
                  </a:path>
                </a:pathLst>
              </a:custGeom>
              <a:grpFill/>
              <a:ln w="5978" cap="flat">
                <a:noFill/>
                <a:prstDash val="solid"/>
                <a:miter/>
              </a:ln>
            </p:spPr>
            <p:txBody>
              <a:bodyPr rtlCol="0" anchor="ctr"/>
              <a:lstStyle/>
              <a:p>
                <a:endParaRPr lang="en-GB"/>
              </a:p>
            </p:txBody>
          </p:sp>
        </p:grpSp>
        <p:grpSp>
          <p:nvGrpSpPr>
            <p:cNvPr id="127" name="Graphic 3">
              <a:extLst>
                <a:ext uri="{FF2B5EF4-FFF2-40B4-BE49-F238E27FC236}">
                  <a16:creationId xmlns:a16="http://schemas.microsoft.com/office/drawing/2014/main" id="{21F501C2-1402-4EFC-8B3E-98D37DE1AFEF}"/>
                </a:ext>
              </a:extLst>
            </p:cNvPr>
            <p:cNvGrpSpPr/>
            <p:nvPr/>
          </p:nvGrpSpPr>
          <p:grpSpPr>
            <a:xfrm>
              <a:off x="7444783" y="2031742"/>
              <a:ext cx="119848" cy="111582"/>
              <a:chOff x="7444783" y="2031742"/>
              <a:chExt cx="119848" cy="111582"/>
            </a:xfrm>
            <a:grpFill/>
          </p:grpSpPr>
          <p:sp>
            <p:nvSpPr>
              <p:cNvPr id="4997" name="Vrije vorm: vorm 4996">
                <a:extLst>
                  <a:ext uri="{FF2B5EF4-FFF2-40B4-BE49-F238E27FC236}">
                    <a16:creationId xmlns:a16="http://schemas.microsoft.com/office/drawing/2014/main" id="{958506E1-B545-4549-A2AB-27F8FCD6006D}"/>
                  </a:ext>
                </a:extLst>
              </p:cNvPr>
              <p:cNvSpPr/>
              <p:nvPr/>
            </p:nvSpPr>
            <p:spPr>
              <a:xfrm>
                <a:off x="7452537" y="2039526"/>
                <a:ext cx="104243" cy="95990"/>
              </a:xfrm>
              <a:custGeom>
                <a:avLst/>
                <a:gdLst>
                  <a:gd name="connsiteX0" fmla="*/ 104244 w 104243"/>
                  <a:gd name="connsiteY0" fmla="*/ 2273 h 95990"/>
                  <a:gd name="connsiteX1" fmla="*/ 2093 w 104243"/>
                  <a:gd name="connsiteY1" fmla="*/ 95991 h 95990"/>
                  <a:gd name="connsiteX2" fmla="*/ 0 w 104243"/>
                  <a:gd name="connsiteY2" fmla="*/ 93718 h 95990"/>
                  <a:gd name="connsiteX3" fmla="*/ 102210 w 104243"/>
                  <a:gd name="connsiteY3" fmla="*/ 0 h 95990"/>
                </a:gdLst>
                <a:ahLst/>
                <a:cxnLst>
                  <a:cxn ang="0">
                    <a:pos x="connsiteX0" y="connsiteY0"/>
                  </a:cxn>
                  <a:cxn ang="0">
                    <a:pos x="connsiteX1" y="connsiteY1"/>
                  </a:cxn>
                  <a:cxn ang="0">
                    <a:pos x="connsiteX2" y="connsiteY2"/>
                  </a:cxn>
                  <a:cxn ang="0">
                    <a:pos x="connsiteX3" y="connsiteY3"/>
                  </a:cxn>
                </a:cxnLst>
                <a:rect l="l" t="t" r="r" b="b"/>
                <a:pathLst>
                  <a:path w="104243" h="95990">
                    <a:moveTo>
                      <a:pt x="104244" y="2273"/>
                    </a:moveTo>
                    <a:lnTo>
                      <a:pt x="2093" y="95991"/>
                    </a:lnTo>
                    <a:lnTo>
                      <a:pt x="0" y="93718"/>
                    </a:lnTo>
                    <a:lnTo>
                      <a:pt x="102210" y="0"/>
                    </a:lnTo>
                    <a:close/>
                  </a:path>
                </a:pathLst>
              </a:custGeom>
              <a:grpFill/>
              <a:ln w="5978" cap="flat">
                <a:noFill/>
                <a:prstDash val="solid"/>
                <a:miter/>
              </a:ln>
            </p:spPr>
            <p:txBody>
              <a:bodyPr rtlCol="0" anchor="ctr"/>
              <a:lstStyle/>
              <a:p>
                <a:endParaRPr lang="en-GB"/>
              </a:p>
            </p:txBody>
          </p:sp>
          <p:sp>
            <p:nvSpPr>
              <p:cNvPr id="4998" name="Vrije vorm: vorm 4997">
                <a:extLst>
                  <a:ext uri="{FF2B5EF4-FFF2-40B4-BE49-F238E27FC236}">
                    <a16:creationId xmlns:a16="http://schemas.microsoft.com/office/drawing/2014/main" id="{32136C96-37E4-4ED9-99A8-D952A6E963BF}"/>
                  </a:ext>
                </a:extLst>
              </p:cNvPr>
              <p:cNvSpPr/>
              <p:nvPr/>
            </p:nvSpPr>
            <p:spPr>
              <a:xfrm>
                <a:off x="7546255" y="2031742"/>
                <a:ext cx="18376" cy="18438"/>
              </a:xfrm>
              <a:custGeom>
                <a:avLst/>
                <a:gdLst>
                  <a:gd name="connsiteX0" fmla="*/ 2991 w 18376"/>
                  <a:gd name="connsiteY0" fmla="*/ 2401 h 18438"/>
                  <a:gd name="connsiteX1" fmla="*/ 15969 w 18376"/>
                  <a:gd name="connsiteY1" fmla="*/ 3000 h 18438"/>
                  <a:gd name="connsiteX2" fmla="*/ 15431 w 18376"/>
                  <a:gd name="connsiteY2" fmla="*/ 16037 h 18438"/>
                  <a:gd name="connsiteX3" fmla="*/ 2452 w 18376"/>
                  <a:gd name="connsiteY3" fmla="*/ 15439 h 18438"/>
                  <a:gd name="connsiteX4" fmla="*/ 2991 w 18376"/>
                  <a:gd name="connsiteY4" fmla="*/ 24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2991" y="2401"/>
                    </a:moveTo>
                    <a:cubicBezTo>
                      <a:pt x="6699" y="-1008"/>
                      <a:pt x="12500" y="-768"/>
                      <a:pt x="15969" y="3000"/>
                    </a:cubicBezTo>
                    <a:cubicBezTo>
                      <a:pt x="19378" y="6767"/>
                      <a:pt x="19139" y="12569"/>
                      <a:pt x="15431" y="16037"/>
                    </a:cubicBezTo>
                    <a:cubicBezTo>
                      <a:pt x="11723" y="19447"/>
                      <a:pt x="5921" y="19207"/>
                      <a:pt x="2452" y="15439"/>
                    </a:cubicBezTo>
                    <a:cubicBezTo>
                      <a:pt x="-1016" y="11672"/>
                      <a:pt x="-777" y="5870"/>
                      <a:pt x="2991" y="2401"/>
                    </a:cubicBezTo>
                    <a:close/>
                  </a:path>
                </a:pathLst>
              </a:custGeom>
              <a:grpFill/>
              <a:ln w="5978" cap="flat">
                <a:noFill/>
                <a:prstDash val="solid"/>
                <a:miter/>
              </a:ln>
            </p:spPr>
            <p:txBody>
              <a:bodyPr rtlCol="0" anchor="ctr"/>
              <a:lstStyle/>
              <a:p>
                <a:endParaRPr lang="en-GB"/>
              </a:p>
            </p:txBody>
          </p:sp>
          <p:sp>
            <p:nvSpPr>
              <p:cNvPr id="4999" name="Vrije vorm: vorm 4998">
                <a:extLst>
                  <a:ext uri="{FF2B5EF4-FFF2-40B4-BE49-F238E27FC236}">
                    <a16:creationId xmlns:a16="http://schemas.microsoft.com/office/drawing/2014/main" id="{D7F5C871-84B2-48B3-A7EE-86EA3B0BED66}"/>
                  </a:ext>
                </a:extLst>
              </p:cNvPr>
              <p:cNvSpPr/>
              <p:nvPr/>
            </p:nvSpPr>
            <p:spPr>
              <a:xfrm>
                <a:off x="7444783" y="2124862"/>
                <a:ext cx="18379" cy="18462"/>
              </a:xfrm>
              <a:custGeom>
                <a:avLst/>
                <a:gdLst>
                  <a:gd name="connsiteX0" fmla="*/ 2969 w 18379"/>
                  <a:gd name="connsiteY0" fmla="*/ 2401 h 18462"/>
                  <a:gd name="connsiteX1" fmla="*/ 2431 w 18379"/>
                  <a:gd name="connsiteY1" fmla="*/ 15439 h 18462"/>
                  <a:gd name="connsiteX2" fmla="*/ 15410 w 18379"/>
                  <a:gd name="connsiteY2" fmla="*/ 16038 h 18462"/>
                  <a:gd name="connsiteX3" fmla="*/ 15948 w 18379"/>
                  <a:gd name="connsiteY3" fmla="*/ 3000 h 18462"/>
                  <a:gd name="connsiteX4" fmla="*/ 2969 w 18379"/>
                  <a:gd name="connsiteY4" fmla="*/ 2401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62">
                    <a:moveTo>
                      <a:pt x="2969" y="2401"/>
                    </a:moveTo>
                    <a:cubicBezTo>
                      <a:pt x="-739" y="5810"/>
                      <a:pt x="-1037" y="11672"/>
                      <a:pt x="2431" y="15439"/>
                    </a:cubicBezTo>
                    <a:cubicBezTo>
                      <a:pt x="5840" y="19207"/>
                      <a:pt x="11642" y="19506"/>
                      <a:pt x="15410" y="16038"/>
                    </a:cubicBezTo>
                    <a:cubicBezTo>
                      <a:pt x="19118" y="12628"/>
                      <a:pt x="19416" y="6767"/>
                      <a:pt x="15948" y="3000"/>
                    </a:cubicBezTo>
                    <a:cubicBezTo>
                      <a:pt x="12479" y="-768"/>
                      <a:pt x="6677" y="-1008"/>
                      <a:pt x="2969" y="2401"/>
                    </a:cubicBezTo>
                    <a:close/>
                  </a:path>
                </a:pathLst>
              </a:custGeom>
              <a:grpFill/>
              <a:ln w="5978" cap="flat">
                <a:noFill/>
                <a:prstDash val="solid"/>
                <a:miter/>
              </a:ln>
            </p:spPr>
            <p:txBody>
              <a:bodyPr rtlCol="0" anchor="ctr"/>
              <a:lstStyle/>
              <a:p>
                <a:endParaRPr lang="en-GB"/>
              </a:p>
            </p:txBody>
          </p:sp>
        </p:grpSp>
        <p:grpSp>
          <p:nvGrpSpPr>
            <p:cNvPr id="128" name="Graphic 3">
              <a:extLst>
                <a:ext uri="{FF2B5EF4-FFF2-40B4-BE49-F238E27FC236}">
                  <a16:creationId xmlns:a16="http://schemas.microsoft.com/office/drawing/2014/main" id="{E5245818-1422-4B25-B8FB-BAC1973110D3}"/>
                </a:ext>
              </a:extLst>
            </p:cNvPr>
            <p:cNvGrpSpPr/>
            <p:nvPr/>
          </p:nvGrpSpPr>
          <p:grpSpPr>
            <a:xfrm>
              <a:off x="7531400" y="2233043"/>
              <a:ext cx="23988" cy="22884"/>
              <a:chOff x="7531400" y="2233043"/>
              <a:chExt cx="23988" cy="22884"/>
            </a:xfrm>
            <a:grpFill/>
          </p:grpSpPr>
          <p:sp>
            <p:nvSpPr>
              <p:cNvPr id="4994" name="Vrije vorm: vorm 4993">
                <a:extLst>
                  <a:ext uri="{FF2B5EF4-FFF2-40B4-BE49-F238E27FC236}">
                    <a16:creationId xmlns:a16="http://schemas.microsoft.com/office/drawing/2014/main" id="{A22AFACE-B88B-42E2-B310-8F1C7785D047}"/>
                  </a:ext>
                </a:extLst>
              </p:cNvPr>
              <p:cNvSpPr/>
              <p:nvPr/>
            </p:nvSpPr>
            <p:spPr>
              <a:xfrm>
                <a:off x="7539258" y="2240717"/>
                <a:ext cx="8313" cy="7475"/>
              </a:xfrm>
              <a:custGeom>
                <a:avLst/>
                <a:gdLst>
                  <a:gd name="connsiteX0" fmla="*/ 8313 w 8313"/>
                  <a:gd name="connsiteY0" fmla="*/ 2452 h 7475"/>
                  <a:gd name="connsiteX1" fmla="*/ 1914 w 8313"/>
                  <a:gd name="connsiteY1" fmla="*/ 7476 h 7475"/>
                  <a:gd name="connsiteX2" fmla="*/ 0 w 8313"/>
                  <a:gd name="connsiteY2" fmla="*/ 5084 h 7475"/>
                  <a:gd name="connsiteX3" fmla="*/ 6459 w 8313"/>
                  <a:gd name="connsiteY3" fmla="*/ 0 h 7475"/>
                </a:gdLst>
                <a:ahLst/>
                <a:cxnLst>
                  <a:cxn ang="0">
                    <a:pos x="connsiteX0" y="connsiteY0"/>
                  </a:cxn>
                  <a:cxn ang="0">
                    <a:pos x="connsiteX1" y="connsiteY1"/>
                  </a:cxn>
                  <a:cxn ang="0">
                    <a:pos x="connsiteX2" y="connsiteY2"/>
                  </a:cxn>
                  <a:cxn ang="0">
                    <a:pos x="connsiteX3" y="connsiteY3"/>
                  </a:cxn>
                </a:cxnLst>
                <a:rect l="l" t="t" r="r" b="b"/>
                <a:pathLst>
                  <a:path w="8313" h="7475">
                    <a:moveTo>
                      <a:pt x="8313" y="2452"/>
                    </a:moveTo>
                    <a:lnTo>
                      <a:pt x="1914" y="7476"/>
                    </a:lnTo>
                    <a:lnTo>
                      <a:pt x="0" y="5084"/>
                    </a:lnTo>
                    <a:lnTo>
                      <a:pt x="6459" y="0"/>
                    </a:lnTo>
                    <a:close/>
                  </a:path>
                </a:pathLst>
              </a:custGeom>
              <a:grpFill/>
              <a:ln w="5978" cap="flat">
                <a:noFill/>
                <a:prstDash val="solid"/>
                <a:miter/>
              </a:ln>
            </p:spPr>
            <p:txBody>
              <a:bodyPr rtlCol="0" anchor="ctr"/>
              <a:lstStyle/>
              <a:p>
                <a:endParaRPr lang="en-GB"/>
              </a:p>
            </p:txBody>
          </p:sp>
          <p:sp>
            <p:nvSpPr>
              <p:cNvPr id="4995" name="Vrije vorm: vorm 4994">
                <a:extLst>
                  <a:ext uri="{FF2B5EF4-FFF2-40B4-BE49-F238E27FC236}">
                    <a16:creationId xmlns:a16="http://schemas.microsoft.com/office/drawing/2014/main" id="{9F35EB47-22FE-4B06-BE2C-97949F453D18}"/>
                  </a:ext>
                </a:extLst>
              </p:cNvPr>
              <p:cNvSpPr/>
              <p:nvPr/>
            </p:nvSpPr>
            <p:spPr>
              <a:xfrm>
                <a:off x="7537081" y="2233043"/>
                <a:ext cx="18306" cy="18398"/>
              </a:xfrm>
              <a:custGeom>
                <a:avLst/>
                <a:gdLst>
                  <a:gd name="connsiteX0" fmla="*/ 3492 w 18306"/>
                  <a:gd name="connsiteY0" fmla="*/ 1933 h 18398"/>
                  <a:gd name="connsiteX1" fmla="*/ 16351 w 18306"/>
                  <a:gd name="connsiteY1" fmla="*/ 3548 h 18398"/>
                  <a:gd name="connsiteX2" fmla="*/ 14796 w 18306"/>
                  <a:gd name="connsiteY2" fmla="*/ 16466 h 18398"/>
                  <a:gd name="connsiteX3" fmla="*/ 1937 w 18306"/>
                  <a:gd name="connsiteY3" fmla="*/ 14851 h 18398"/>
                  <a:gd name="connsiteX4" fmla="*/ 3492 w 18306"/>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8">
                    <a:moveTo>
                      <a:pt x="3492" y="1933"/>
                    </a:moveTo>
                    <a:cubicBezTo>
                      <a:pt x="7440" y="-1177"/>
                      <a:pt x="13241" y="-459"/>
                      <a:pt x="16351" y="3548"/>
                    </a:cubicBezTo>
                    <a:cubicBezTo>
                      <a:pt x="19461" y="7555"/>
                      <a:pt x="18803" y="13356"/>
                      <a:pt x="14796" y="16466"/>
                    </a:cubicBezTo>
                    <a:cubicBezTo>
                      <a:pt x="10849" y="19576"/>
                      <a:pt x="5047" y="18858"/>
                      <a:pt x="1937" y="14851"/>
                    </a:cubicBezTo>
                    <a:cubicBezTo>
                      <a:pt x="-1173" y="10844"/>
                      <a:pt x="-455" y="5043"/>
                      <a:pt x="3492" y="1933"/>
                    </a:cubicBezTo>
                    <a:close/>
                  </a:path>
                </a:pathLst>
              </a:custGeom>
              <a:grpFill/>
              <a:ln w="5978" cap="flat">
                <a:noFill/>
                <a:prstDash val="solid"/>
                <a:miter/>
              </a:ln>
            </p:spPr>
            <p:txBody>
              <a:bodyPr rtlCol="0" anchor="ctr"/>
              <a:lstStyle/>
              <a:p>
                <a:endParaRPr lang="en-GB"/>
              </a:p>
            </p:txBody>
          </p:sp>
          <p:sp>
            <p:nvSpPr>
              <p:cNvPr id="4996" name="Vrije vorm: vorm 4995">
                <a:extLst>
                  <a:ext uri="{FF2B5EF4-FFF2-40B4-BE49-F238E27FC236}">
                    <a16:creationId xmlns:a16="http://schemas.microsoft.com/office/drawing/2014/main" id="{265833CD-BA1C-4048-97B1-722415AAE0BF}"/>
                  </a:ext>
                </a:extLst>
              </p:cNvPr>
              <p:cNvSpPr/>
              <p:nvPr/>
            </p:nvSpPr>
            <p:spPr>
              <a:xfrm>
                <a:off x="7531400" y="2237485"/>
                <a:ext cx="18287" cy="18442"/>
              </a:xfrm>
              <a:custGeom>
                <a:avLst/>
                <a:gdLst>
                  <a:gd name="connsiteX0" fmla="*/ 3492 w 18287"/>
                  <a:gd name="connsiteY0" fmla="*/ 1977 h 18442"/>
                  <a:gd name="connsiteX1" fmla="*/ 1937 w 18287"/>
                  <a:gd name="connsiteY1" fmla="*/ 14895 h 18442"/>
                  <a:gd name="connsiteX2" fmla="*/ 14796 w 18287"/>
                  <a:gd name="connsiteY2" fmla="*/ 16510 h 18442"/>
                  <a:gd name="connsiteX3" fmla="*/ 16351 w 18287"/>
                  <a:gd name="connsiteY3" fmla="*/ 3591 h 18442"/>
                  <a:gd name="connsiteX4" fmla="*/ 3492 w 18287"/>
                  <a:gd name="connsiteY4" fmla="*/ 1977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42">
                    <a:moveTo>
                      <a:pt x="3492" y="1977"/>
                    </a:moveTo>
                    <a:cubicBezTo>
                      <a:pt x="-455" y="5087"/>
                      <a:pt x="-1173" y="10888"/>
                      <a:pt x="1937" y="14895"/>
                    </a:cubicBezTo>
                    <a:cubicBezTo>
                      <a:pt x="5047" y="18902"/>
                      <a:pt x="10849" y="19620"/>
                      <a:pt x="14796" y="16510"/>
                    </a:cubicBezTo>
                    <a:cubicBezTo>
                      <a:pt x="18743" y="13400"/>
                      <a:pt x="19460" y="7598"/>
                      <a:pt x="16351" y="3591"/>
                    </a:cubicBezTo>
                    <a:cubicBezTo>
                      <a:pt x="13241" y="-476"/>
                      <a:pt x="7499" y="-1193"/>
                      <a:pt x="3492" y="1977"/>
                    </a:cubicBezTo>
                    <a:close/>
                  </a:path>
                </a:pathLst>
              </a:custGeom>
              <a:grpFill/>
              <a:ln w="5978" cap="flat">
                <a:noFill/>
                <a:prstDash val="solid"/>
                <a:miter/>
              </a:ln>
            </p:spPr>
            <p:txBody>
              <a:bodyPr rtlCol="0" anchor="ctr"/>
              <a:lstStyle/>
              <a:p>
                <a:endParaRPr lang="en-GB"/>
              </a:p>
            </p:txBody>
          </p:sp>
        </p:grpSp>
        <p:grpSp>
          <p:nvGrpSpPr>
            <p:cNvPr id="129" name="Graphic 3">
              <a:extLst>
                <a:ext uri="{FF2B5EF4-FFF2-40B4-BE49-F238E27FC236}">
                  <a16:creationId xmlns:a16="http://schemas.microsoft.com/office/drawing/2014/main" id="{D55494C1-C915-49CB-B100-A1E5580293BC}"/>
                </a:ext>
              </a:extLst>
            </p:cNvPr>
            <p:cNvGrpSpPr/>
            <p:nvPr/>
          </p:nvGrpSpPr>
          <p:grpSpPr>
            <a:xfrm>
              <a:off x="7293332" y="1658865"/>
              <a:ext cx="181931" cy="221262"/>
              <a:chOff x="7293332" y="1658865"/>
              <a:chExt cx="181931" cy="221262"/>
            </a:xfrm>
            <a:grpFill/>
          </p:grpSpPr>
          <p:sp>
            <p:nvSpPr>
              <p:cNvPr id="4991" name="Vrije vorm: vorm 4990">
                <a:extLst>
                  <a:ext uri="{FF2B5EF4-FFF2-40B4-BE49-F238E27FC236}">
                    <a16:creationId xmlns:a16="http://schemas.microsoft.com/office/drawing/2014/main" id="{D4B129D8-BD37-49DA-9CD1-B6E413A88625}"/>
                  </a:ext>
                </a:extLst>
              </p:cNvPr>
              <p:cNvSpPr/>
              <p:nvPr/>
            </p:nvSpPr>
            <p:spPr>
              <a:xfrm>
                <a:off x="7301046" y="1666807"/>
                <a:ext cx="166562" cy="205437"/>
              </a:xfrm>
              <a:custGeom>
                <a:avLst/>
                <a:gdLst>
                  <a:gd name="connsiteX0" fmla="*/ 166563 w 166562"/>
                  <a:gd name="connsiteY0" fmla="*/ 1914 h 205437"/>
                  <a:gd name="connsiteX1" fmla="*/ 2332 w 166562"/>
                  <a:gd name="connsiteY1" fmla="*/ 205438 h 205437"/>
                  <a:gd name="connsiteX2" fmla="*/ 0 w 166562"/>
                  <a:gd name="connsiteY2" fmla="*/ 203524 h 205437"/>
                  <a:gd name="connsiteX3" fmla="*/ 164171 w 166562"/>
                  <a:gd name="connsiteY3" fmla="*/ 0 h 205437"/>
                </a:gdLst>
                <a:ahLst/>
                <a:cxnLst>
                  <a:cxn ang="0">
                    <a:pos x="connsiteX0" y="connsiteY0"/>
                  </a:cxn>
                  <a:cxn ang="0">
                    <a:pos x="connsiteX1" y="connsiteY1"/>
                  </a:cxn>
                  <a:cxn ang="0">
                    <a:pos x="connsiteX2" y="connsiteY2"/>
                  </a:cxn>
                  <a:cxn ang="0">
                    <a:pos x="connsiteX3" y="connsiteY3"/>
                  </a:cxn>
                </a:cxnLst>
                <a:rect l="l" t="t" r="r" b="b"/>
                <a:pathLst>
                  <a:path w="166562" h="205437">
                    <a:moveTo>
                      <a:pt x="166563" y="1914"/>
                    </a:moveTo>
                    <a:lnTo>
                      <a:pt x="2332" y="205438"/>
                    </a:lnTo>
                    <a:lnTo>
                      <a:pt x="0" y="203524"/>
                    </a:lnTo>
                    <a:lnTo>
                      <a:pt x="164171" y="0"/>
                    </a:lnTo>
                    <a:close/>
                  </a:path>
                </a:pathLst>
              </a:custGeom>
              <a:grpFill/>
              <a:ln w="5978" cap="flat">
                <a:noFill/>
                <a:prstDash val="solid"/>
                <a:miter/>
              </a:ln>
            </p:spPr>
            <p:txBody>
              <a:bodyPr rtlCol="0" anchor="ctr"/>
              <a:lstStyle/>
              <a:p>
                <a:endParaRPr lang="en-GB"/>
              </a:p>
            </p:txBody>
          </p:sp>
          <p:sp>
            <p:nvSpPr>
              <p:cNvPr id="4992" name="Vrije vorm: vorm 4991">
                <a:extLst>
                  <a:ext uri="{FF2B5EF4-FFF2-40B4-BE49-F238E27FC236}">
                    <a16:creationId xmlns:a16="http://schemas.microsoft.com/office/drawing/2014/main" id="{3DBCFFCA-B955-45CE-9330-D1E8A2984D63}"/>
                  </a:ext>
                </a:extLst>
              </p:cNvPr>
              <p:cNvSpPr/>
              <p:nvPr/>
            </p:nvSpPr>
            <p:spPr>
              <a:xfrm>
                <a:off x="7456959" y="1658865"/>
                <a:ext cx="18303" cy="18456"/>
              </a:xfrm>
              <a:custGeom>
                <a:avLst/>
                <a:gdLst>
                  <a:gd name="connsiteX0" fmla="*/ 2037 w 18303"/>
                  <a:gd name="connsiteY0" fmla="*/ 3397 h 18456"/>
                  <a:gd name="connsiteX1" fmla="*/ 14896 w 18303"/>
                  <a:gd name="connsiteY1" fmla="*/ 2081 h 18456"/>
                  <a:gd name="connsiteX2" fmla="*/ 16271 w 18303"/>
                  <a:gd name="connsiteY2" fmla="*/ 15059 h 18456"/>
                  <a:gd name="connsiteX3" fmla="*/ 3353 w 18303"/>
                  <a:gd name="connsiteY3" fmla="*/ 16375 h 18456"/>
                  <a:gd name="connsiteX4" fmla="*/ 2037 w 18303"/>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56">
                    <a:moveTo>
                      <a:pt x="2037" y="3397"/>
                    </a:moveTo>
                    <a:cubicBezTo>
                      <a:pt x="5207" y="-550"/>
                      <a:pt x="11008" y="-1148"/>
                      <a:pt x="14896" y="2081"/>
                    </a:cubicBezTo>
                    <a:cubicBezTo>
                      <a:pt x="18843" y="5311"/>
                      <a:pt x="19441" y="11112"/>
                      <a:pt x="16271" y="15059"/>
                    </a:cubicBezTo>
                    <a:cubicBezTo>
                      <a:pt x="13101" y="19007"/>
                      <a:pt x="7300" y="19605"/>
                      <a:pt x="3353" y="16375"/>
                    </a:cubicBezTo>
                    <a:cubicBezTo>
                      <a:pt x="-534" y="13145"/>
                      <a:pt x="-1133" y="7344"/>
                      <a:pt x="2037" y="3397"/>
                    </a:cubicBezTo>
                    <a:close/>
                  </a:path>
                </a:pathLst>
              </a:custGeom>
              <a:grpFill/>
              <a:ln w="5978" cap="flat">
                <a:noFill/>
                <a:prstDash val="solid"/>
                <a:miter/>
              </a:ln>
            </p:spPr>
            <p:txBody>
              <a:bodyPr rtlCol="0" anchor="ctr"/>
              <a:lstStyle/>
              <a:p>
                <a:endParaRPr lang="en-GB"/>
              </a:p>
            </p:txBody>
          </p:sp>
          <p:sp>
            <p:nvSpPr>
              <p:cNvPr id="4993" name="Vrije vorm: vorm 4992">
                <a:extLst>
                  <a:ext uri="{FF2B5EF4-FFF2-40B4-BE49-F238E27FC236}">
                    <a16:creationId xmlns:a16="http://schemas.microsoft.com/office/drawing/2014/main" id="{A8459F46-1976-44D4-A700-BF0B20BBD139}"/>
                  </a:ext>
                </a:extLst>
              </p:cNvPr>
              <p:cNvSpPr/>
              <p:nvPr/>
            </p:nvSpPr>
            <p:spPr>
              <a:xfrm>
                <a:off x="7293332" y="1861715"/>
                <a:ext cx="18358" cy="18412"/>
              </a:xfrm>
              <a:custGeom>
                <a:avLst/>
                <a:gdLst>
                  <a:gd name="connsiteX0" fmla="*/ 2032 w 18358"/>
                  <a:gd name="connsiteY0" fmla="*/ 3353 h 18412"/>
                  <a:gd name="connsiteX1" fmla="*/ 3408 w 18358"/>
                  <a:gd name="connsiteY1" fmla="*/ 16331 h 18412"/>
                  <a:gd name="connsiteX2" fmla="*/ 16326 w 18358"/>
                  <a:gd name="connsiteY2" fmla="*/ 15015 h 18412"/>
                  <a:gd name="connsiteX3" fmla="*/ 14951 w 18358"/>
                  <a:gd name="connsiteY3" fmla="*/ 2037 h 18412"/>
                  <a:gd name="connsiteX4" fmla="*/ 2032 w 18358"/>
                  <a:gd name="connsiteY4" fmla="*/ 3353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12">
                    <a:moveTo>
                      <a:pt x="2032" y="3353"/>
                    </a:moveTo>
                    <a:cubicBezTo>
                      <a:pt x="-1138" y="7300"/>
                      <a:pt x="-539" y="13101"/>
                      <a:pt x="3408" y="16331"/>
                    </a:cubicBezTo>
                    <a:cubicBezTo>
                      <a:pt x="7355" y="19561"/>
                      <a:pt x="13096" y="18963"/>
                      <a:pt x="16326" y="15015"/>
                    </a:cubicBezTo>
                    <a:cubicBezTo>
                      <a:pt x="19496" y="11068"/>
                      <a:pt x="18898" y="5267"/>
                      <a:pt x="14951" y="2037"/>
                    </a:cubicBezTo>
                    <a:cubicBezTo>
                      <a:pt x="11003" y="-1133"/>
                      <a:pt x="5262" y="-535"/>
                      <a:pt x="2032" y="3353"/>
                    </a:cubicBezTo>
                    <a:close/>
                  </a:path>
                </a:pathLst>
              </a:custGeom>
              <a:grpFill/>
              <a:ln w="5978" cap="flat">
                <a:noFill/>
                <a:prstDash val="solid"/>
                <a:miter/>
              </a:ln>
            </p:spPr>
            <p:txBody>
              <a:bodyPr rtlCol="0" anchor="ctr"/>
              <a:lstStyle/>
              <a:p>
                <a:endParaRPr lang="en-GB"/>
              </a:p>
            </p:txBody>
          </p:sp>
        </p:grpSp>
        <p:grpSp>
          <p:nvGrpSpPr>
            <p:cNvPr id="130" name="Graphic 3">
              <a:extLst>
                <a:ext uri="{FF2B5EF4-FFF2-40B4-BE49-F238E27FC236}">
                  <a16:creationId xmlns:a16="http://schemas.microsoft.com/office/drawing/2014/main" id="{5C26A1FD-7842-4645-B3E3-E154E30B8517}"/>
                </a:ext>
              </a:extLst>
            </p:cNvPr>
            <p:cNvGrpSpPr/>
            <p:nvPr/>
          </p:nvGrpSpPr>
          <p:grpSpPr>
            <a:xfrm>
              <a:off x="7583051" y="2682289"/>
              <a:ext cx="264020" cy="86870"/>
              <a:chOff x="7583051" y="2682289"/>
              <a:chExt cx="264020" cy="86870"/>
            </a:xfrm>
            <a:grpFill/>
          </p:grpSpPr>
          <p:sp>
            <p:nvSpPr>
              <p:cNvPr id="4988" name="Vrije vorm: vorm 4987">
                <a:extLst>
                  <a:ext uri="{FF2B5EF4-FFF2-40B4-BE49-F238E27FC236}">
                    <a16:creationId xmlns:a16="http://schemas.microsoft.com/office/drawing/2014/main" id="{A8812AF8-9471-4326-908A-0BD4DF5AD1A0}"/>
                  </a:ext>
                </a:extLst>
              </p:cNvPr>
              <p:cNvSpPr/>
              <p:nvPr/>
            </p:nvSpPr>
            <p:spPr>
              <a:xfrm>
                <a:off x="7591350" y="2689929"/>
                <a:ext cx="247422" cy="71589"/>
              </a:xfrm>
              <a:custGeom>
                <a:avLst/>
                <a:gdLst>
                  <a:gd name="connsiteX0" fmla="*/ 246585 w 247422"/>
                  <a:gd name="connsiteY0" fmla="*/ 0 h 71589"/>
                  <a:gd name="connsiteX1" fmla="*/ 247422 w 247422"/>
                  <a:gd name="connsiteY1" fmla="*/ 2930 h 71589"/>
                  <a:gd name="connsiteX2" fmla="*/ 837 w 247422"/>
                  <a:gd name="connsiteY2" fmla="*/ 71589 h 71589"/>
                  <a:gd name="connsiteX3" fmla="*/ 0 w 247422"/>
                  <a:gd name="connsiteY3" fmla="*/ 68659 h 71589"/>
                </a:gdLst>
                <a:ahLst/>
                <a:cxnLst>
                  <a:cxn ang="0">
                    <a:pos x="connsiteX0" y="connsiteY0"/>
                  </a:cxn>
                  <a:cxn ang="0">
                    <a:pos x="connsiteX1" y="connsiteY1"/>
                  </a:cxn>
                  <a:cxn ang="0">
                    <a:pos x="connsiteX2" y="connsiteY2"/>
                  </a:cxn>
                  <a:cxn ang="0">
                    <a:pos x="connsiteX3" y="connsiteY3"/>
                  </a:cxn>
                </a:cxnLst>
                <a:rect l="l" t="t" r="r" b="b"/>
                <a:pathLst>
                  <a:path w="247422" h="71589">
                    <a:moveTo>
                      <a:pt x="246585" y="0"/>
                    </a:moveTo>
                    <a:lnTo>
                      <a:pt x="247422" y="2930"/>
                    </a:lnTo>
                    <a:lnTo>
                      <a:pt x="837" y="71589"/>
                    </a:lnTo>
                    <a:lnTo>
                      <a:pt x="0" y="68659"/>
                    </a:lnTo>
                    <a:close/>
                  </a:path>
                </a:pathLst>
              </a:custGeom>
              <a:grpFill/>
              <a:ln w="5978" cap="flat">
                <a:noFill/>
                <a:prstDash val="solid"/>
                <a:miter/>
              </a:ln>
            </p:spPr>
            <p:txBody>
              <a:bodyPr rtlCol="0" anchor="ctr"/>
              <a:lstStyle/>
              <a:p>
                <a:endParaRPr lang="en-GB"/>
              </a:p>
            </p:txBody>
          </p:sp>
          <p:sp>
            <p:nvSpPr>
              <p:cNvPr id="4989" name="Vrije vorm: vorm 4988">
                <a:extLst>
                  <a:ext uri="{FF2B5EF4-FFF2-40B4-BE49-F238E27FC236}">
                    <a16:creationId xmlns:a16="http://schemas.microsoft.com/office/drawing/2014/main" id="{FA6D9448-6126-43FC-9AC6-C6000AAAEB2A}"/>
                  </a:ext>
                </a:extLst>
              </p:cNvPr>
              <p:cNvSpPr/>
              <p:nvPr/>
            </p:nvSpPr>
            <p:spPr>
              <a:xfrm>
                <a:off x="7583051" y="2750708"/>
                <a:ext cx="18331" cy="18451"/>
              </a:xfrm>
              <a:custGeom>
                <a:avLst/>
                <a:gdLst>
                  <a:gd name="connsiteX0" fmla="*/ 11648 w 18331"/>
                  <a:gd name="connsiteY0" fmla="*/ 18107 h 18451"/>
                  <a:gd name="connsiteX1" fmla="*/ 345 w 18331"/>
                  <a:gd name="connsiteY1" fmla="*/ 11708 h 18451"/>
                  <a:gd name="connsiteX2" fmla="*/ 6684 w 18331"/>
                  <a:gd name="connsiteY2" fmla="*/ 344 h 18451"/>
                  <a:gd name="connsiteX3" fmla="*/ 17987 w 18331"/>
                  <a:gd name="connsiteY3" fmla="*/ 6744 h 18451"/>
                  <a:gd name="connsiteX4" fmla="*/ 11648 w 18331"/>
                  <a:gd name="connsiteY4" fmla="*/ 1810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51">
                    <a:moveTo>
                      <a:pt x="11648" y="18107"/>
                    </a:moveTo>
                    <a:cubicBezTo>
                      <a:pt x="6803" y="19483"/>
                      <a:pt x="1720" y="16612"/>
                      <a:pt x="345" y="11708"/>
                    </a:cubicBezTo>
                    <a:cubicBezTo>
                      <a:pt x="-1031" y="6804"/>
                      <a:pt x="1840" y="1720"/>
                      <a:pt x="6684" y="344"/>
                    </a:cubicBezTo>
                    <a:cubicBezTo>
                      <a:pt x="11528" y="-1031"/>
                      <a:pt x="16612" y="1839"/>
                      <a:pt x="17987" y="6744"/>
                    </a:cubicBezTo>
                    <a:cubicBezTo>
                      <a:pt x="19363" y="11648"/>
                      <a:pt x="16492" y="16731"/>
                      <a:pt x="11648" y="18107"/>
                    </a:cubicBezTo>
                    <a:close/>
                  </a:path>
                </a:pathLst>
              </a:custGeom>
              <a:grpFill/>
              <a:ln w="5978" cap="flat">
                <a:noFill/>
                <a:prstDash val="solid"/>
                <a:miter/>
              </a:ln>
            </p:spPr>
            <p:txBody>
              <a:bodyPr rtlCol="0" anchor="ctr"/>
              <a:lstStyle/>
              <a:p>
                <a:endParaRPr lang="en-GB"/>
              </a:p>
            </p:txBody>
          </p:sp>
          <p:sp>
            <p:nvSpPr>
              <p:cNvPr id="4990" name="Vrije vorm: vorm 4989">
                <a:extLst>
                  <a:ext uri="{FF2B5EF4-FFF2-40B4-BE49-F238E27FC236}">
                    <a16:creationId xmlns:a16="http://schemas.microsoft.com/office/drawing/2014/main" id="{FADAA068-7882-4046-8724-5C7324E824BC}"/>
                  </a:ext>
                </a:extLst>
              </p:cNvPr>
              <p:cNvSpPr/>
              <p:nvPr/>
            </p:nvSpPr>
            <p:spPr>
              <a:xfrm>
                <a:off x="7828739" y="2682289"/>
                <a:ext cx="18332" cy="18447"/>
              </a:xfrm>
              <a:custGeom>
                <a:avLst/>
                <a:gdLst>
                  <a:gd name="connsiteX0" fmla="*/ 11648 w 18332"/>
                  <a:gd name="connsiteY0" fmla="*/ 18107 h 18447"/>
                  <a:gd name="connsiteX1" fmla="*/ 17988 w 18332"/>
                  <a:gd name="connsiteY1" fmla="*/ 6744 h 18447"/>
                  <a:gd name="connsiteX2" fmla="*/ 6684 w 18332"/>
                  <a:gd name="connsiteY2" fmla="*/ 344 h 18447"/>
                  <a:gd name="connsiteX3" fmla="*/ 345 w 18332"/>
                  <a:gd name="connsiteY3" fmla="*/ 11708 h 18447"/>
                  <a:gd name="connsiteX4" fmla="*/ 11648 w 18332"/>
                  <a:gd name="connsiteY4" fmla="*/ 1810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47">
                    <a:moveTo>
                      <a:pt x="11648" y="18107"/>
                    </a:moveTo>
                    <a:cubicBezTo>
                      <a:pt x="16493" y="16732"/>
                      <a:pt x="19364" y="11648"/>
                      <a:pt x="17988" y="6744"/>
                    </a:cubicBezTo>
                    <a:cubicBezTo>
                      <a:pt x="16612" y="1839"/>
                      <a:pt x="11528" y="-1031"/>
                      <a:pt x="6684" y="344"/>
                    </a:cubicBezTo>
                    <a:cubicBezTo>
                      <a:pt x="1840" y="1720"/>
                      <a:pt x="-1031" y="6803"/>
                      <a:pt x="345" y="11708"/>
                    </a:cubicBezTo>
                    <a:cubicBezTo>
                      <a:pt x="1720" y="16552"/>
                      <a:pt x="6804" y="19483"/>
                      <a:pt x="11648" y="18107"/>
                    </a:cubicBezTo>
                    <a:close/>
                  </a:path>
                </a:pathLst>
              </a:custGeom>
              <a:grpFill/>
              <a:ln w="5978" cap="flat">
                <a:noFill/>
                <a:prstDash val="solid"/>
                <a:miter/>
              </a:ln>
            </p:spPr>
            <p:txBody>
              <a:bodyPr rtlCol="0" anchor="ctr"/>
              <a:lstStyle/>
              <a:p>
                <a:endParaRPr lang="en-GB"/>
              </a:p>
            </p:txBody>
          </p:sp>
        </p:grpSp>
        <p:grpSp>
          <p:nvGrpSpPr>
            <p:cNvPr id="131" name="Graphic 3">
              <a:extLst>
                <a:ext uri="{FF2B5EF4-FFF2-40B4-BE49-F238E27FC236}">
                  <a16:creationId xmlns:a16="http://schemas.microsoft.com/office/drawing/2014/main" id="{C6743E61-B036-46DA-B0E1-DC5832CEC4AE}"/>
                </a:ext>
              </a:extLst>
            </p:cNvPr>
            <p:cNvGrpSpPr/>
            <p:nvPr/>
          </p:nvGrpSpPr>
          <p:grpSpPr>
            <a:xfrm>
              <a:off x="7601223" y="2522741"/>
              <a:ext cx="88924" cy="56837"/>
              <a:chOff x="7601223" y="2522741"/>
              <a:chExt cx="88924" cy="56837"/>
            </a:xfrm>
            <a:grpFill/>
          </p:grpSpPr>
          <p:sp>
            <p:nvSpPr>
              <p:cNvPr id="4985" name="Vrije vorm: vorm 4984">
                <a:extLst>
                  <a:ext uri="{FF2B5EF4-FFF2-40B4-BE49-F238E27FC236}">
                    <a16:creationId xmlns:a16="http://schemas.microsoft.com/office/drawing/2014/main" id="{60100801-6FDD-4868-B2E8-F3FA20B85EAB}"/>
                  </a:ext>
                </a:extLst>
              </p:cNvPr>
              <p:cNvSpPr/>
              <p:nvPr/>
            </p:nvSpPr>
            <p:spPr>
              <a:xfrm>
                <a:off x="7609292" y="2530364"/>
                <a:ext cx="72785" cy="41566"/>
              </a:xfrm>
              <a:custGeom>
                <a:avLst/>
                <a:gdLst>
                  <a:gd name="connsiteX0" fmla="*/ 72786 w 72785"/>
                  <a:gd name="connsiteY0" fmla="*/ 2691 h 41566"/>
                  <a:gd name="connsiteX1" fmla="*/ 1435 w 72785"/>
                  <a:gd name="connsiteY1" fmla="*/ 41566 h 41566"/>
                  <a:gd name="connsiteX2" fmla="*/ 0 w 72785"/>
                  <a:gd name="connsiteY2" fmla="*/ 38875 h 41566"/>
                  <a:gd name="connsiteX3" fmla="*/ 71350 w 72785"/>
                  <a:gd name="connsiteY3" fmla="*/ 0 h 41566"/>
                </a:gdLst>
                <a:ahLst/>
                <a:cxnLst>
                  <a:cxn ang="0">
                    <a:pos x="connsiteX0" y="connsiteY0"/>
                  </a:cxn>
                  <a:cxn ang="0">
                    <a:pos x="connsiteX1" y="connsiteY1"/>
                  </a:cxn>
                  <a:cxn ang="0">
                    <a:pos x="connsiteX2" y="connsiteY2"/>
                  </a:cxn>
                  <a:cxn ang="0">
                    <a:pos x="connsiteX3" y="connsiteY3"/>
                  </a:cxn>
                </a:cxnLst>
                <a:rect l="l" t="t" r="r" b="b"/>
                <a:pathLst>
                  <a:path w="72785" h="41566">
                    <a:moveTo>
                      <a:pt x="72786" y="2691"/>
                    </a:moveTo>
                    <a:lnTo>
                      <a:pt x="1435" y="41566"/>
                    </a:lnTo>
                    <a:lnTo>
                      <a:pt x="0" y="38875"/>
                    </a:lnTo>
                    <a:lnTo>
                      <a:pt x="71350" y="0"/>
                    </a:lnTo>
                    <a:close/>
                  </a:path>
                </a:pathLst>
              </a:custGeom>
              <a:grpFill/>
              <a:ln w="5978" cap="flat">
                <a:noFill/>
                <a:prstDash val="solid"/>
                <a:miter/>
              </a:ln>
            </p:spPr>
            <p:txBody>
              <a:bodyPr rtlCol="0" anchor="ctr"/>
              <a:lstStyle/>
              <a:p>
                <a:endParaRPr lang="en-GB"/>
              </a:p>
            </p:txBody>
          </p:sp>
          <p:sp>
            <p:nvSpPr>
              <p:cNvPr id="4986" name="Vrije vorm: vorm 4985">
                <a:extLst>
                  <a:ext uri="{FF2B5EF4-FFF2-40B4-BE49-F238E27FC236}">
                    <a16:creationId xmlns:a16="http://schemas.microsoft.com/office/drawing/2014/main" id="{AE47E0E0-392F-47E5-B17B-9D6405F72EB6}"/>
                  </a:ext>
                </a:extLst>
              </p:cNvPr>
              <p:cNvSpPr/>
              <p:nvPr/>
            </p:nvSpPr>
            <p:spPr>
              <a:xfrm>
                <a:off x="7671795" y="2522741"/>
                <a:ext cx="18352" cy="18414"/>
              </a:xfrm>
              <a:custGeom>
                <a:avLst/>
                <a:gdLst>
                  <a:gd name="connsiteX0" fmla="*/ 4780 w 18352"/>
                  <a:gd name="connsiteY0" fmla="*/ 1103 h 18414"/>
                  <a:gd name="connsiteX1" fmla="*/ 17220 w 18352"/>
                  <a:gd name="connsiteY1" fmla="*/ 4812 h 18414"/>
                  <a:gd name="connsiteX2" fmla="*/ 13572 w 18352"/>
                  <a:gd name="connsiteY2" fmla="*/ 17311 h 18414"/>
                  <a:gd name="connsiteX3" fmla="*/ 1132 w 18352"/>
                  <a:gd name="connsiteY3" fmla="*/ 13603 h 18414"/>
                  <a:gd name="connsiteX4" fmla="*/ 4780 w 18352"/>
                  <a:gd name="connsiteY4" fmla="*/ 11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4780" y="1103"/>
                    </a:moveTo>
                    <a:cubicBezTo>
                      <a:pt x="9206" y="-1289"/>
                      <a:pt x="14768" y="326"/>
                      <a:pt x="17220" y="4812"/>
                    </a:cubicBezTo>
                    <a:cubicBezTo>
                      <a:pt x="19672" y="9297"/>
                      <a:pt x="17998" y="14859"/>
                      <a:pt x="13572" y="17311"/>
                    </a:cubicBezTo>
                    <a:cubicBezTo>
                      <a:pt x="9146" y="19703"/>
                      <a:pt x="3584" y="18089"/>
                      <a:pt x="1132" y="13603"/>
                    </a:cubicBezTo>
                    <a:cubicBezTo>
                      <a:pt x="-1320" y="9118"/>
                      <a:pt x="354" y="3496"/>
                      <a:pt x="4780" y="1103"/>
                    </a:cubicBezTo>
                    <a:close/>
                  </a:path>
                </a:pathLst>
              </a:custGeom>
              <a:grpFill/>
              <a:ln w="5978" cap="flat">
                <a:noFill/>
                <a:prstDash val="solid"/>
                <a:miter/>
              </a:ln>
            </p:spPr>
            <p:txBody>
              <a:bodyPr rtlCol="0" anchor="ctr"/>
              <a:lstStyle/>
              <a:p>
                <a:endParaRPr lang="en-GB"/>
              </a:p>
            </p:txBody>
          </p:sp>
          <p:sp>
            <p:nvSpPr>
              <p:cNvPr id="4987" name="Vrije vorm: vorm 4986">
                <a:extLst>
                  <a:ext uri="{FF2B5EF4-FFF2-40B4-BE49-F238E27FC236}">
                    <a16:creationId xmlns:a16="http://schemas.microsoft.com/office/drawing/2014/main" id="{B4A2DF1B-30F2-40EF-9906-B1133DC0A61A}"/>
                  </a:ext>
                </a:extLst>
              </p:cNvPr>
              <p:cNvSpPr/>
              <p:nvPr/>
            </p:nvSpPr>
            <p:spPr>
              <a:xfrm>
                <a:off x="7601223" y="2561111"/>
                <a:ext cx="18351" cy="18467"/>
              </a:xfrm>
              <a:custGeom>
                <a:avLst/>
                <a:gdLst>
                  <a:gd name="connsiteX0" fmla="*/ 4780 w 18351"/>
                  <a:gd name="connsiteY0" fmla="*/ 1130 h 18467"/>
                  <a:gd name="connsiteX1" fmla="*/ 1131 w 18351"/>
                  <a:gd name="connsiteY1" fmla="*/ 13630 h 18467"/>
                  <a:gd name="connsiteX2" fmla="*/ 13572 w 18351"/>
                  <a:gd name="connsiteY2" fmla="*/ 17338 h 18467"/>
                  <a:gd name="connsiteX3" fmla="*/ 17220 w 18351"/>
                  <a:gd name="connsiteY3" fmla="*/ 4838 h 18467"/>
                  <a:gd name="connsiteX4" fmla="*/ 4780 w 18351"/>
                  <a:gd name="connsiteY4" fmla="*/ 11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7">
                    <a:moveTo>
                      <a:pt x="4780" y="1130"/>
                    </a:moveTo>
                    <a:cubicBezTo>
                      <a:pt x="355" y="3522"/>
                      <a:pt x="-1320" y="9144"/>
                      <a:pt x="1131" y="13630"/>
                    </a:cubicBezTo>
                    <a:cubicBezTo>
                      <a:pt x="3584" y="18115"/>
                      <a:pt x="9146" y="19790"/>
                      <a:pt x="13572" y="17338"/>
                    </a:cubicBezTo>
                    <a:cubicBezTo>
                      <a:pt x="17997" y="14945"/>
                      <a:pt x="19672" y="9324"/>
                      <a:pt x="17220" y="4838"/>
                    </a:cubicBezTo>
                    <a:cubicBezTo>
                      <a:pt x="14828" y="353"/>
                      <a:pt x="9266" y="-1322"/>
                      <a:pt x="4780" y="1130"/>
                    </a:cubicBezTo>
                    <a:close/>
                  </a:path>
                </a:pathLst>
              </a:custGeom>
              <a:grpFill/>
              <a:ln w="5978" cap="flat">
                <a:noFill/>
                <a:prstDash val="solid"/>
                <a:miter/>
              </a:ln>
            </p:spPr>
            <p:txBody>
              <a:bodyPr rtlCol="0" anchor="ctr"/>
              <a:lstStyle/>
              <a:p>
                <a:endParaRPr lang="en-GB"/>
              </a:p>
            </p:txBody>
          </p:sp>
        </p:grpSp>
        <p:grpSp>
          <p:nvGrpSpPr>
            <p:cNvPr id="132" name="Graphic 3">
              <a:extLst>
                <a:ext uri="{FF2B5EF4-FFF2-40B4-BE49-F238E27FC236}">
                  <a16:creationId xmlns:a16="http://schemas.microsoft.com/office/drawing/2014/main" id="{7EB9B655-9BAE-46ED-938E-F973CD0BDA5B}"/>
                </a:ext>
              </a:extLst>
            </p:cNvPr>
            <p:cNvGrpSpPr/>
            <p:nvPr/>
          </p:nvGrpSpPr>
          <p:grpSpPr>
            <a:xfrm>
              <a:off x="7395033" y="1955653"/>
              <a:ext cx="138132" cy="136884"/>
              <a:chOff x="7395033" y="1955653"/>
              <a:chExt cx="138132" cy="136884"/>
            </a:xfrm>
            <a:grpFill/>
          </p:grpSpPr>
          <p:sp>
            <p:nvSpPr>
              <p:cNvPr id="4982" name="Vrije vorm: vorm 4981">
                <a:extLst>
                  <a:ext uri="{FF2B5EF4-FFF2-40B4-BE49-F238E27FC236}">
                    <a16:creationId xmlns:a16="http://schemas.microsoft.com/office/drawing/2014/main" id="{CD935C07-650F-4FF5-965B-9D502E6C3A9E}"/>
                  </a:ext>
                </a:extLst>
              </p:cNvPr>
              <p:cNvSpPr/>
              <p:nvPr/>
            </p:nvSpPr>
            <p:spPr>
              <a:xfrm>
                <a:off x="7402777" y="1963451"/>
                <a:ext cx="122604" cy="121289"/>
              </a:xfrm>
              <a:custGeom>
                <a:avLst/>
                <a:gdLst>
                  <a:gd name="connsiteX0" fmla="*/ 122605 w 122604"/>
                  <a:gd name="connsiteY0" fmla="*/ 2213 h 121289"/>
                  <a:gd name="connsiteX1" fmla="*/ 2154 w 122604"/>
                  <a:gd name="connsiteY1" fmla="*/ 121289 h 121289"/>
                  <a:gd name="connsiteX2" fmla="*/ 0 w 122604"/>
                  <a:gd name="connsiteY2" fmla="*/ 119076 h 121289"/>
                  <a:gd name="connsiteX3" fmla="*/ 120512 w 122604"/>
                  <a:gd name="connsiteY3" fmla="*/ 0 h 121289"/>
                </a:gdLst>
                <a:ahLst/>
                <a:cxnLst>
                  <a:cxn ang="0">
                    <a:pos x="connsiteX0" y="connsiteY0"/>
                  </a:cxn>
                  <a:cxn ang="0">
                    <a:pos x="connsiteX1" y="connsiteY1"/>
                  </a:cxn>
                  <a:cxn ang="0">
                    <a:pos x="connsiteX2" y="connsiteY2"/>
                  </a:cxn>
                  <a:cxn ang="0">
                    <a:pos x="connsiteX3" y="connsiteY3"/>
                  </a:cxn>
                </a:cxnLst>
                <a:rect l="l" t="t" r="r" b="b"/>
                <a:pathLst>
                  <a:path w="122604" h="121289">
                    <a:moveTo>
                      <a:pt x="122605" y="2213"/>
                    </a:moveTo>
                    <a:lnTo>
                      <a:pt x="2154" y="121289"/>
                    </a:lnTo>
                    <a:lnTo>
                      <a:pt x="0" y="119076"/>
                    </a:lnTo>
                    <a:lnTo>
                      <a:pt x="120512" y="0"/>
                    </a:lnTo>
                    <a:close/>
                  </a:path>
                </a:pathLst>
              </a:custGeom>
              <a:grpFill/>
              <a:ln w="5978" cap="flat">
                <a:noFill/>
                <a:prstDash val="solid"/>
                <a:miter/>
              </a:ln>
            </p:spPr>
            <p:txBody>
              <a:bodyPr rtlCol="0" anchor="ctr"/>
              <a:lstStyle/>
              <a:p>
                <a:endParaRPr lang="en-GB"/>
              </a:p>
            </p:txBody>
          </p:sp>
          <p:sp>
            <p:nvSpPr>
              <p:cNvPr id="4983" name="Vrije vorm: vorm 4982">
                <a:extLst>
                  <a:ext uri="{FF2B5EF4-FFF2-40B4-BE49-F238E27FC236}">
                    <a16:creationId xmlns:a16="http://schemas.microsoft.com/office/drawing/2014/main" id="{08E60AD5-5132-4480-86BD-DB5A00394F84}"/>
                  </a:ext>
                </a:extLst>
              </p:cNvPr>
              <p:cNvSpPr/>
              <p:nvPr/>
            </p:nvSpPr>
            <p:spPr>
              <a:xfrm>
                <a:off x="7514849" y="1955653"/>
                <a:ext cx="18316" cy="18466"/>
              </a:xfrm>
              <a:custGeom>
                <a:avLst/>
                <a:gdLst>
                  <a:gd name="connsiteX0" fmla="*/ 2699 w 18316"/>
                  <a:gd name="connsiteY0" fmla="*/ 2654 h 18466"/>
                  <a:gd name="connsiteX1" fmla="*/ 15677 w 18316"/>
                  <a:gd name="connsiteY1" fmla="*/ 2774 h 18466"/>
                  <a:gd name="connsiteX2" fmla="*/ 15617 w 18316"/>
                  <a:gd name="connsiteY2" fmla="*/ 15812 h 18466"/>
                  <a:gd name="connsiteX3" fmla="*/ 2639 w 18316"/>
                  <a:gd name="connsiteY3" fmla="*/ 15692 h 18466"/>
                  <a:gd name="connsiteX4" fmla="*/ 2699 w 18316"/>
                  <a:gd name="connsiteY4" fmla="*/ 265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66">
                    <a:moveTo>
                      <a:pt x="2699" y="2654"/>
                    </a:moveTo>
                    <a:cubicBezTo>
                      <a:pt x="6287" y="-934"/>
                      <a:pt x="12088" y="-874"/>
                      <a:pt x="15677" y="2774"/>
                    </a:cubicBezTo>
                    <a:cubicBezTo>
                      <a:pt x="19206" y="6422"/>
                      <a:pt x="19206" y="12224"/>
                      <a:pt x="15617" y="15812"/>
                    </a:cubicBezTo>
                    <a:cubicBezTo>
                      <a:pt x="12028" y="19400"/>
                      <a:pt x="6227" y="19341"/>
                      <a:pt x="2639" y="15692"/>
                    </a:cubicBezTo>
                    <a:cubicBezTo>
                      <a:pt x="-890" y="12044"/>
                      <a:pt x="-890" y="6183"/>
                      <a:pt x="2699" y="2654"/>
                    </a:cubicBezTo>
                    <a:close/>
                  </a:path>
                </a:pathLst>
              </a:custGeom>
              <a:grpFill/>
              <a:ln w="5978" cap="flat">
                <a:noFill/>
                <a:prstDash val="solid"/>
                <a:miter/>
              </a:ln>
            </p:spPr>
            <p:txBody>
              <a:bodyPr rtlCol="0" anchor="ctr"/>
              <a:lstStyle/>
              <a:p>
                <a:endParaRPr lang="en-GB"/>
              </a:p>
            </p:txBody>
          </p:sp>
          <p:sp>
            <p:nvSpPr>
              <p:cNvPr id="4984" name="Vrije vorm: vorm 4983">
                <a:extLst>
                  <a:ext uri="{FF2B5EF4-FFF2-40B4-BE49-F238E27FC236}">
                    <a16:creationId xmlns:a16="http://schemas.microsoft.com/office/drawing/2014/main" id="{F62B670E-010E-4598-80B6-F83441CCECD5}"/>
                  </a:ext>
                </a:extLst>
              </p:cNvPr>
              <p:cNvSpPr/>
              <p:nvPr/>
            </p:nvSpPr>
            <p:spPr>
              <a:xfrm>
                <a:off x="7395033" y="2074117"/>
                <a:ext cx="18361" cy="18421"/>
              </a:xfrm>
              <a:custGeom>
                <a:avLst/>
                <a:gdLst>
                  <a:gd name="connsiteX0" fmla="*/ 2721 w 18361"/>
                  <a:gd name="connsiteY0" fmla="*/ 2610 h 18421"/>
                  <a:gd name="connsiteX1" fmla="*/ 2661 w 18361"/>
                  <a:gd name="connsiteY1" fmla="*/ 15648 h 18421"/>
                  <a:gd name="connsiteX2" fmla="*/ 15640 w 18361"/>
                  <a:gd name="connsiteY2" fmla="*/ 15767 h 18421"/>
                  <a:gd name="connsiteX3" fmla="*/ 15700 w 18361"/>
                  <a:gd name="connsiteY3" fmla="*/ 2729 h 18421"/>
                  <a:gd name="connsiteX4" fmla="*/ 2721 w 18361"/>
                  <a:gd name="connsiteY4" fmla="*/ 26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2721" y="2610"/>
                    </a:moveTo>
                    <a:cubicBezTo>
                      <a:pt x="-867" y="6198"/>
                      <a:pt x="-927" y="11999"/>
                      <a:pt x="2661" y="15648"/>
                    </a:cubicBezTo>
                    <a:cubicBezTo>
                      <a:pt x="6191" y="19296"/>
                      <a:pt x="12052" y="19356"/>
                      <a:pt x="15640" y="15767"/>
                    </a:cubicBezTo>
                    <a:cubicBezTo>
                      <a:pt x="19228" y="12179"/>
                      <a:pt x="19288" y="6377"/>
                      <a:pt x="15700" y="2729"/>
                    </a:cubicBezTo>
                    <a:cubicBezTo>
                      <a:pt x="12111" y="-859"/>
                      <a:pt x="6310" y="-919"/>
                      <a:pt x="2721" y="2610"/>
                    </a:cubicBezTo>
                    <a:close/>
                  </a:path>
                </a:pathLst>
              </a:custGeom>
              <a:grpFill/>
              <a:ln w="5978" cap="flat">
                <a:noFill/>
                <a:prstDash val="solid"/>
                <a:miter/>
              </a:ln>
            </p:spPr>
            <p:txBody>
              <a:bodyPr rtlCol="0" anchor="ctr"/>
              <a:lstStyle/>
              <a:p>
                <a:endParaRPr lang="en-GB"/>
              </a:p>
            </p:txBody>
          </p:sp>
        </p:grpSp>
        <p:grpSp>
          <p:nvGrpSpPr>
            <p:cNvPr id="133" name="Graphic 3">
              <a:extLst>
                <a:ext uri="{FF2B5EF4-FFF2-40B4-BE49-F238E27FC236}">
                  <a16:creationId xmlns:a16="http://schemas.microsoft.com/office/drawing/2014/main" id="{5066546C-98F6-4B17-9F2B-C99C19DE45A6}"/>
                </a:ext>
              </a:extLst>
            </p:cNvPr>
            <p:cNvGrpSpPr/>
            <p:nvPr/>
          </p:nvGrpSpPr>
          <p:grpSpPr>
            <a:xfrm>
              <a:off x="7284396" y="1957152"/>
              <a:ext cx="421467" cy="334240"/>
              <a:chOff x="7284396" y="1957152"/>
              <a:chExt cx="421467" cy="334240"/>
            </a:xfrm>
            <a:grpFill/>
          </p:grpSpPr>
          <p:sp>
            <p:nvSpPr>
              <p:cNvPr id="4979" name="Vrije vorm: vorm 4978">
                <a:extLst>
                  <a:ext uri="{FF2B5EF4-FFF2-40B4-BE49-F238E27FC236}">
                    <a16:creationId xmlns:a16="http://schemas.microsoft.com/office/drawing/2014/main" id="{352A8F70-832F-44BA-9F16-6DEE255530F6}"/>
                  </a:ext>
                </a:extLst>
              </p:cNvPr>
              <p:cNvSpPr/>
              <p:nvPr/>
            </p:nvSpPr>
            <p:spPr>
              <a:xfrm>
                <a:off x="7292254" y="1964887"/>
                <a:ext cx="405732" cy="318772"/>
              </a:xfrm>
              <a:custGeom>
                <a:avLst/>
                <a:gdLst>
                  <a:gd name="connsiteX0" fmla="*/ 405733 w 405732"/>
                  <a:gd name="connsiteY0" fmla="*/ 2392 h 318772"/>
                  <a:gd name="connsiteX1" fmla="*/ 1854 w 405732"/>
                  <a:gd name="connsiteY1" fmla="*/ 318772 h 318772"/>
                  <a:gd name="connsiteX2" fmla="*/ 0 w 405732"/>
                  <a:gd name="connsiteY2" fmla="*/ 316320 h 318772"/>
                  <a:gd name="connsiteX3" fmla="*/ 403819 w 405732"/>
                  <a:gd name="connsiteY3" fmla="*/ 0 h 318772"/>
                </a:gdLst>
                <a:ahLst/>
                <a:cxnLst>
                  <a:cxn ang="0">
                    <a:pos x="connsiteX0" y="connsiteY0"/>
                  </a:cxn>
                  <a:cxn ang="0">
                    <a:pos x="connsiteX1" y="connsiteY1"/>
                  </a:cxn>
                  <a:cxn ang="0">
                    <a:pos x="connsiteX2" y="connsiteY2"/>
                  </a:cxn>
                  <a:cxn ang="0">
                    <a:pos x="connsiteX3" y="connsiteY3"/>
                  </a:cxn>
                </a:cxnLst>
                <a:rect l="l" t="t" r="r" b="b"/>
                <a:pathLst>
                  <a:path w="405732" h="318772">
                    <a:moveTo>
                      <a:pt x="405733" y="2392"/>
                    </a:moveTo>
                    <a:lnTo>
                      <a:pt x="1854" y="318772"/>
                    </a:lnTo>
                    <a:lnTo>
                      <a:pt x="0" y="316320"/>
                    </a:lnTo>
                    <a:lnTo>
                      <a:pt x="403819" y="0"/>
                    </a:lnTo>
                    <a:close/>
                  </a:path>
                </a:pathLst>
              </a:custGeom>
              <a:grpFill/>
              <a:ln w="5978" cap="flat">
                <a:noFill/>
                <a:prstDash val="solid"/>
                <a:miter/>
              </a:ln>
            </p:spPr>
            <p:txBody>
              <a:bodyPr rtlCol="0" anchor="ctr"/>
              <a:lstStyle/>
              <a:p>
                <a:endParaRPr lang="en-GB"/>
              </a:p>
            </p:txBody>
          </p:sp>
          <p:sp>
            <p:nvSpPr>
              <p:cNvPr id="4980" name="Vrije vorm: vorm 4979">
                <a:extLst>
                  <a:ext uri="{FF2B5EF4-FFF2-40B4-BE49-F238E27FC236}">
                    <a16:creationId xmlns:a16="http://schemas.microsoft.com/office/drawing/2014/main" id="{701017F6-09AE-41CC-9DB1-3044A6151710}"/>
                  </a:ext>
                </a:extLst>
              </p:cNvPr>
              <p:cNvSpPr/>
              <p:nvPr/>
            </p:nvSpPr>
            <p:spPr>
              <a:xfrm>
                <a:off x="7284396" y="2272994"/>
                <a:ext cx="18306" cy="18398"/>
              </a:xfrm>
              <a:custGeom>
                <a:avLst/>
                <a:gdLst>
                  <a:gd name="connsiteX0" fmla="*/ 14796 w 18306"/>
                  <a:gd name="connsiteY0" fmla="*/ 16466 h 18398"/>
                  <a:gd name="connsiteX1" fmla="*/ 1937 w 18306"/>
                  <a:gd name="connsiteY1" fmla="*/ 14851 h 18398"/>
                  <a:gd name="connsiteX2" fmla="*/ 3492 w 18306"/>
                  <a:gd name="connsiteY2" fmla="*/ 1933 h 18398"/>
                  <a:gd name="connsiteX3" fmla="*/ 16351 w 18306"/>
                  <a:gd name="connsiteY3" fmla="*/ 3548 h 18398"/>
                  <a:gd name="connsiteX4" fmla="*/ 14796 w 18306"/>
                  <a:gd name="connsiteY4" fmla="*/ 16466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8">
                    <a:moveTo>
                      <a:pt x="14796" y="16466"/>
                    </a:moveTo>
                    <a:cubicBezTo>
                      <a:pt x="10789" y="19576"/>
                      <a:pt x="5047" y="18858"/>
                      <a:pt x="1937" y="14851"/>
                    </a:cubicBezTo>
                    <a:cubicBezTo>
                      <a:pt x="-1173" y="10844"/>
                      <a:pt x="-455" y="5043"/>
                      <a:pt x="3492" y="1933"/>
                    </a:cubicBezTo>
                    <a:cubicBezTo>
                      <a:pt x="7500" y="-1177"/>
                      <a:pt x="13241" y="-459"/>
                      <a:pt x="16351" y="3548"/>
                    </a:cubicBezTo>
                    <a:cubicBezTo>
                      <a:pt x="19461" y="7555"/>
                      <a:pt x="18803" y="13296"/>
                      <a:pt x="14796" y="16466"/>
                    </a:cubicBezTo>
                    <a:close/>
                  </a:path>
                </a:pathLst>
              </a:custGeom>
              <a:grpFill/>
              <a:ln w="5978" cap="flat">
                <a:noFill/>
                <a:prstDash val="solid"/>
                <a:miter/>
              </a:ln>
            </p:spPr>
            <p:txBody>
              <a:bodyPr rtlCol="0" anchor="ctr"/>
              <a:lstStyle/>
              <a:p>
                <a:endParaRPr lang="en-GB"/>
              </a:p>
            </p:txBody>
          </p:sp>
          <p:sp>
            <p:nvSpPr>
              <p:cNvPr id="4981" name="Vrije vorm: vorm 4980">
                <a:extLst>
                  <a:ext uri="{FF2B5EF4-FFF2-40B4-BE49-F238E27FC236}">
                    <a16:creationId xmlns:a16="http://schemas.microsoft.com/office/drawing/2014/main" id="{491B69DD-5839-4F0B-900E-95167EAEEC08}"/>
                  </a:ext>
                </a:extLst>
              </p:cNvPr>
              <p:cNvSpPr/>
              <p:nvPr/>
            </p:nvSpPr>
            <p:spPr>
              <a:xfrm>
                <a:off x="7687538" y="1957152"/>
                <a:ext cx="18324" cy="18398"/>
              </a:xfrm>
              <a:custGeom>
                <a:avLst/>
                <a:gdLst>
                  <a:gd name="connsiteX0" fmla="*/ 14815 w 18324"/>
                  <a:gd name="connsiteY0" fmla="*/ 16466 h 18398"/>
                  <a:gd name="connsiteX1" fmla="*/ 16370 w 18324"/>
                  <a:gd name="connsiteY1" fmla="*/ 3548 h 18398"/>
                  <a:gd name="connsiteX2" fmla="*/ 3511 w 18324"/>
                  <a:gd name="connsiteY2" fmla="*/ 1933 h 18398"/>
                  <a:gd name="connsiteX3" fmla="*/ 1956 w 18324"/>
                  <a:gd name="connsiteY3" fmla="*/ 14851 h 18398"/>
                  <a:gd name="connsiteX4" fmla="*/ 14815 w 18324"/>
                  <a:gd name="connsiteY4" fmla="*/ 16466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8">
                    <a:moveTo>
                      <a:pt x="14815" y="16466"/>
                    </a:moveTo>
                    <a:cubicBezTo>
                      <a:pt x="18821" y="13356"/>
                      <a:pt x="19479" y="7555"/>
                      <a:pt x="16370" y="3548"/>
                    </a:cubicBezTo>
                    <a:cubicBezTo>
                      <a:pt x="13259" y="-459"/>
                      <a:pt x="7517" y="-1177"/>
                      <a:pt x="3511" y="1933"/>
                    </a:cubicBezTo>
                    <a:cubicBezTo>
                      <a:pt x="-496" y="5043"/>
                      <a:pt x="-1154" y="10844"/>
                      <a:pt x="1956" y="14851"/>
                    </a:cubicBezTo>
                    <a:cubicBezTo>
                      <a:pt x="5066" y="18858"/>
                      <a:pt x="10807" y="19576"/>
                      <a:pt x="14815" y="16466"/>
                    </a:cubicBezTo>
                    <a:close/>
                  </a:path>
                </a:pathLst>
              </a:custGeom>
              <a:grpFill/>
              <a:ln w="5978" cap="flat">
                <a:noFill/>
                <a:prstDash val="solid"/>
                <a:miter/>
              </a:ln>
            </p:spPr>
            <p:txBody>
              <a:bodyPr rtlCol="0" anchor="ctr"/>
              <a:lstStyle/>
              <a:p>
                <a:endParaRPr lang="en-GB"/>
              </a:p>
            </p:txBody>
          </p:sp>
        </p:grpSp>
        <p:grpSp>
          <p:nvGrpSpPr>
            <p:cNvPr id="134" name="Graphic 3">
              <a:extLst>
                <a:ext uri="{FF2B5EF4-FFF2-40B4-BE49-F238E27FC236}">
                  <a16:creationId xmlns:a16="http://schemas.microsoft.com/office/drawing/2014/main" id="{76691E1C-E23D-426C-BB60-8FA2E5B06DB5}"/>
                </a:ext>
              </a:extLst>
            </p:cNvPr>
            <p:cNvGrpSpPr/>
            <p:nvPr/>
          </p:nvGrpSpPr>
          <p:grpSpPr>
            <a:xfrm>
              <a:off x="7559713" y="2386026"/>
              <a:ext cx="86343" cy="62337"/>
              <a:chOff x="7559713" y="2386026"/>
              <a:chExt cx="86343" cy="62337"/>
            </a:xfrm>
            <a:grpFill/>
          </p:grpSpPr>
          <p:sp>
            <p:nvSpPr>
              <p:cNvPr id="4976" name="Vrije vorm: vorm 4975">
                <a:extLst>
                  <a:ext uri="{FF2B5EF4-FFF2-40B4-BE49-F238E27FC236}">
                    <a16:creationId xmlns:a16="http://schemas.microsoft.com/office/drawing/2014/main" id="{CEEB67EF-FF3F-466B-9039-937816C274D4}"/>
                  </a:ext>
                </a:extLst>
              </p:cNvPr>
              <p:cNvSpPr/>
              <p:nvPr/>
            </p:nvSpPr>
            <p:spPr>
              <a:xfrm>
                <a:off x="7567666" y="2393704"/>
                <a:ext cx="70453" cy="46948"/>
              </a:xfrm>
              <a:custGeom>
                <a:avLst/>
                <a:gdLst>
                  <a:gd name="connsiteX0" fmla="*/ 70453 w 70453"/>
                  <a:gd name="connsiteY0" fmla="*/ 2572 h 46948"/>
                  <a:gd name="connsiteX1" fmla="*/ 1675 w 70453"/>
                  <a:gd name="connsiteY1" fmla="*/ 46949 h 46948"/>
                  <a:gd name="connsiteX2" fmla="*/ 0 w 70453"/>
                  <a:gd name="connsiteY2" fmla="*/ 44377 h 46948"/>
                  <a:gd name="connsiteX3" fmla="*/ 68778 w 70453"/>
                  <a:gd name="connsiteY3" fmla="*/ 0 h 46948"/>
                </a:gdLst>
                <a:ahLst/>
                <a:cxnLst>
                  <a:cxn ang="0">
                    <a:pos x="connsiteX0" y="connsiteY0"/>
                  </a:cxn>
                  <a:cxn ang="0">
                    <a:pos x="connsiteX1" y="connsiteY1"/>
                  </a:cxn>
                  <a:cxn ang="0">
                    <a:pos x="connsiteX2" y="connsiteY2"/>
                  </a:cxn>
                  <a:cxn ang="0">
                    <a:pos x="connsiteX3" y="connsiteY3"/>
                  </a:cxn>
                </a:cxnLst>
                <a:rect l="l" t="t" r="r" b="b"/>
                <a:pathLst>
                  <a:path w="70453" h="46948">
                    <a:moveTo>
                      <a:pt x="70453" y="2572"/>
                    </a:moveTo>
                    <a:lnTo>
                      <a:pt x="1675" y="46949"/>
                    </a:lnTo>
                    <a:lnTo>
                      <a:pt x="0" y="44377"/>
                    </a:lnTo>
                    <a:lnTo>
                      <a:pt x="68778" y="0"/>
                    </a:lnTo>
                    <a:close/>
                  </a:path>
                </a:pathLst>
              </a:custGeom>
              <a:grpFill/>
              <a:ln w="5978" cap="flat">
                <a:noFill/>
                <a:prstDash val="solid"/>
                <a:miter/>
              </a:ln>
            </p:spPr>
            <p:txBody>
              <a:bodyPr rtlCol="0" anchor="ctr"/>
              <a:lstStyle/>
              <a:p>
                <a:endParaRPr lang="en-GB"/>
              </a:p>
            </p:txBody>
          </p:sp>
          <p:sp>
            <p:nvSpPr>
              <p:cNvPr id="4977" name="Vrije vorm: vorm 4976">
                <a:extLst>
                  <a:ext uri="{FF2B5EF4-FFF2-40B4-BE49-F238E27FC236}">
                    <a16:creationId xmlns:a16="http://schemas.microsoft.com/office/drawing/2014/main" id="{594982F3-E9F7-429C-921D-B74E0BA2F8CC}"/>
                  </a:ext>
                </a:extLst>
              </p:cNvPr>
              <p:cNvSpPr/>
              <p:nvPr/>
            </p:nvSpPr>
            <p:spPr>
              <a:xfrm>
                <a:off x="7627729" y="2386026"/>
                <a:ext cx="18327" cy="18465"/>
              </a:xfrm>
              <a:custGeom>
                <a:avLst/>
                <a:gdLst>
                  <a:gd name="connsiteX0" fmla="*/ 4170 w 18327"/>
                  <a:gd name="connsiteY0" fmla="*/ 1458 h 18465"/>
                  <a:gd name="connsiteX1" fmla="*/ 16849 w 18327"/>
                  <a:gd name="connsiteY1" fmla="*/ 4269 h 18465"/>
                  <a:gd name="connsiteX2" fmla="*/ 14158 w 18327"/>
                  <a:gd name="connsiteY2" fmla="*/ 17008 h 18465"/>
                  <a:gd name="connsiteX3" fmla="*/ 1479 w 18327"/>
                  <a:gd name="connsiteY3" fmla="*/ 14197 h 18465"/>
                  <a:gd name="connsiteX4" fmla="*/ 4170 w 18327"/>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5">
                    <a:moveTo>
                      <a:pt x="4170" y="1458"/>
                    </a:moveTo>
                    <a:cubicBezTo>
                      <a:pt x="8416" y="-1293"/>
                      <a:pt x="14098" y="-37"/>
                      <a:pt x="16849" y="4269"/>
                    </a:cubicBezTo>
                    <a:cubicBezTo>
                      <a:pt x="19600" y="8575"/>
                      <a:pt x="18404" y="14257"/>
                      <a:pt x="14158" y="17008"/>
                    </a:cubicBezTo>
                    <a:cubicBezTo>
                      <a:pt x="9911" y="19759"/>
                      <a:pt x="4230" y="18503"/>
                      <a:pt x="1479" y="14197"/>
                    </a:cubicBezTo>
                    <a:cubicBezTo>
                      <a:pt x="-1273" y="9891"/>
                      <a:pt x="-76" y="4209"/>
                      <a:pt x="4170" y="1458"/>
                    </a:cubicBezTo>
                    <a:close/>
                  </a:path>
                </a:pathLst>
              </a:custGeom>
              <a:grpFill/>
              <a:ln w="5978" cap="flat">
                <a:noFill/>
                <a:prstDash val="solid"/>
                <a:miter/>
              </a:ln>
            </p:spPr>
            <p:txBody>
              <a:bodyPr rtlCol="0" anchor="ctr"/>
              <a:lstStyle/>
              <a:p>
                <a:endParaRPr lang="en-GB"/>
              </a:p>
            </p:txBody>
          </p:sp>
          <p:sp>
            <p:nvSpPr>
              <p:cNvPr id="4978" name="Vrije vorm: vorm 4977">
                <a:extLst>
                  <a:ext uri="{FF2B5EF4-FFF2-40B4-BE49-F238E27FC236}">
                    <a16:creationId xmlns:a16="http://schemas.microsoft.com/office/drawing/2014/main" id="{E4C78D39-F724-48E5-9E76-C91DCC05198D}"/>
                  </a:ext>
                </a:extLst>
              </p:cNvPr>
              <p:cNvSpPr/>
              <p:nvPr/>
            </p:nvSpPr>
            <p:spPr>
              <a:xfrm>
                <a:off x="7559713" y="2429925"/>
                <a:ext cx="18298" cy="18439"/>
              </a:xfrm>
              <a:custGeom>
                <a:avLst/>
                <a:gdLst>
                  <a:gd name="connsiteX0" fmla="*/ 4185 w 18298"/>
                  <a:gd name="connsiteY0" fmla="*/ 1458 h 18439"/>
                  <a:gd name="connsiteX1" fmla="*/ 1434 w 18298"/>
                  <a:gd name="connsiteY1" fmla="*/ 14197 h 18439"/>
                  <a:gd name="connsiteX2" fmla="*/ 14114 w 18298"/>
                  <a:gd name="connsiteY2" fmla="*/ 17008 h 18439"/>
                  <a:gd name="connsiteX3" fmla="*/ 16864 w 18298"/>
                  <a:gd name="connsiteY3" fmla="*/ 4269 h 18439"/>
                  <a:gd name="connsiteX4" fmla="*/ 4185 w 18298"/>
                  <a:gd name="connsiteY4" fmla="*/ 1458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9">
                    <a:moveTo>
                      <a:pt x="4185" y="1458"/>
                    </a:moveTo>
                    <a:cubicBezTo>
                      <a:pt x="-61" y="4209"/>
                      <a:pt x="-1257" y="9891"/>
                      <a:pt x="1434" y="14197"/>
                    </a:cubicBezTo>
                    <a:cubicBezTo>
                      <a:pt x="4185" y="18503"/>
                      <a:pt x="9867" y="19699"/>
                      <a:pt x="14114" y="17008"/>
                    </a:cubicBezTo>
                    <a:cubicBezTo>
                      <a:pt x="18360" y="14257"/>
                      <a:pt x="19555" y="8575"/>
                      <a:pt x="16864" y="4269"/>
                    </a:cubicBezTo>
                    <a:cubicBezTo>
                      <a:pt x="14173" y="-37"/>
                      <a:pt x="8431" y="-1293"/>
                      <a:pt x="4185" y="1458"/>
                    </a:cubicBezTo>
                    <a:close/>
                  </a:path>
                </a:pathLst>
              </a:custGeom>
              <a:grpFill/>
              <a:ln w="5978" cap="flat">
                <a:noFill/>
                <a:prstDash val="solid"/>
                <a:miter/>
              </a:ln>
            </p:spPr>
            <p:txBody>
              <a:bodyPr rtlCol="0" anchor="ctr"/>
              <a:lstStyle/>
              <a:p>
                <a:endParaRPr lang="en-GB"/>
              </a:p>
            </p:txBody>
          </p:sp>
        </p:grpSp>
        <p:grpSp>
          <p:nvGrpSpPr>
            <p:cNvPr id="135" name="Graphic 3">
              <a:extLst>
                <a:ext uri="{FF2B5EF4-FFF2-40B4-BE49-F238E27FC236}">
                  <a16:creationId xmlns:a16="http://schemas.microsoft.com/office/drawing/2014/main" id="{C44BD06D-BFAE-41D3-9CB9-F5DDBC909A4A}"/>
                </a:ext>
              </a:extLst>
            </p:cNvPr>
            <p:cNvGrpSpPr/>
            <p:nvPr/>
          </p:nvGrpSpPr>
          <p:grpSpPr>
            <a:xfrm>
              <a:off x="7337625" y="2042872"/>
              <a:ext cx="392979" cy="285900"/>
              <a:chOff x="7337625" y="2042872"/>
              <a:chExt cx="392979" cy="285900"/>
            </a:xfrm>
            <a:grpFill/>
          </p:grpSpPr>
          <p:sp>
            <p:nvSpPr>
              <p:cNvPr id="4973" name="Vrije vorm: vorm 4972">
                <a:extLst>
                  <a:ext uri="{FF2B5EF4-FFF2-40B4-BE49-F238E27FC236}">
                    <a16:creationId xmlns:a16="http://schemas.microsoft.com/office/drawing/2014/main" id="{10009E1C-CECE-4C4C-926B-64C2C8778156}"/>
                  </a:ext>
                </a:extLst>
              </p:cNvPr>
              <p:cNvSpPr/>
              <p:nvPr/>
            </p:nvSpPr>
            <p:spPr>
              <a:xfrm>
                <a:off x="7345482" y="2050590"/>
                <a:ext cx="377204" cy="270508"/>
              </a:xfrm>
              <a:custGeom>
                <a:avLst/>
                <a:gdLst>
                  <a:gd name="connsiteX0" fmla="*/ 377205 w 377204"/>
                  <a:gd name="connsiteY0" fmla="*/ 2452 h 270508"/>
                  <a:gd name="connsiteX1" fmla="*/ 1795 w 377204"/>
                  <a:gd name="connsiteY1" fmla="*/ 270508 h 270508"/>
                  <a:gd name="connsiteX2" fmla="*/ 0 w 377204"/>
                  <a:gd name="connsiteY2" fmla="*/ 267996 h 270508"/>
                  <a:gd name="connsiteX3" fmla="*/ 375410 w 377204"/>
                  <a:gd name="connsiteY3" fmla="*/ 0 h 270508"/>
                </a:gdLst>
                <a:ahLst/>
                <a:cxnLst>
                  <a:cxn ang="0">
                    <a:pos x="connsiteX0" y="connsiteY0"/>
                  </a:cxn>
                  <a:cxn ang="0">
                    <a:pos x="connsiteX1" y="connsiteY1"/>
                  </a:cxn>
                  <a:cxn ang="0">
                    <a:pos x="connsiteX2" y="connsiteY2"/>
                  </a:cxn>
                  <a:cxn ang="0">
                    <a:pos x="connsiteX3" y="connsiteY3"/>
                  </a:cxn>
                </a:cxnLst>
                <a:rect l="l" t="t" r="r" b="b"/>
                <a:pathLst>
                  <a:path w="377204" h="270508">
                    <a:moveTo>
                      <a:pt x="377205" y="2452"/>
                    </a:moveTo>
                    <a:lnTo>
                      <a:pt x="1795" y="270508"/>
                    </a:lnTo>
                    <a:lnTo>
                      <a:pt x="0" y="267996"/>
                    </a:lnTo>
                    <a:lnTo>
                      <a:pt x="375410" y="0"/>
                    </a:lnTo>
                    <a:close/>
                  </a:path>
                </a:pathLst>
              </a:custGeom>
              <a:grpFill/>
              <a:ln w="5978" cap="flat">
                <a:noFill/>
                <a:prstDash val="solid"/>
                <a:miter/>
              </a:ln>
            </p:spPr>
            <p:txBody>
              <a:bodyPr rtlCol="0" anchor="ctr"/>
              <a:lstStyle/>
              <a:p>
                <a:endParaRPr lang="en-GB"/>
              </a:p>
            </p:txBody>
          </p:sp>
          <p:sp>
            <p:nvSpPr>
              <p:cNvPr id="4974" name="Vrije vorm: vorm 4973">
                <a:extLst>
                  <a:ext uri="{FF2B5EF4-FFF2-40B4-BE49-F238E27FC236}">
                    <a16:creationId xmlns:a16="http://schemas.microsoft.com/office/drawing/2014/main" id="{24E55482-AB91-452F-98A9-E79E59AEE7BA}"/>
                  </a:ext>
                </a:extLst>
              </p:cNvPr>
              <p:cNvSpPr/>
              <p:nvPr/>
            </p:nvSpPr>
            <p:spPr>
              <a:xfrm>
                <a:off x="7337625" y="2310314"/>
                <a:ext cx="18304" cy="18459"/>
              </a:xfrm>
              <a:custGeom>
                <a:avLst/>
                <a:gdLst>
                  <a:gd name="connsiteX0" fmla="*/ 14496 w 18304"/>
                  <a:gd name="connsiteY0" fmla="*/ 16765 h 18459"/>
                  <a:gd name="connsiteX1" fmla="*/ 1697 w 18304"/>
                  <a:gd name="connsiteY1" fmla="*/ 14552 h 18459"/>
                  <a:gd name="connsiteX2" fmla="*/ 3850 w 18304"/>
                  <a:gd name="connsiteY2" fmla="*/ 1694 h 18459"/>
                  <a:gd name="connsiteX3" fmla="*/ 16649 w 18304"/>
                  <a:gd name="connsiteY3" fmla="*/ 3907 h 18459"/>
                  <a:gd name="connsiteX4" fmla="*/ 14496 w 18304"/>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9">
                    <a:moveTo>
                      <a:pt x="14496" y="16765"/>
                    </a:moveTo>
                    <a:cubicBezTo>
                      <a:pt x="10370" y="19696"/>
                      <a:pt x="4628" y="18739"/>
                      <a:pt x="1697" y="14552"/>
                    </a:cubicBezTo>
                    <a:cubicBezTo>
                      <a:pt x="-1233" y="10426"/>
                      <a:pt x="-276" y="4625"/>
                      <a:pt x="3850" y="1694"/>
                    </a:cubicBezTo>
                    <a:cubicBezTo>
                      <a:pt x="7977" y="-1237"/>
                      <a:pt x="13719" y="-280"/>
                      <a:pt x="16649" y="3907"/>
                    </a:cubicBezTo>
                    <a:cubicBezTo>
                      <a:pt x="19520" y="8093"/>
                      <a:pt x="18563" y="13835"/>
                      <a:pt x="14496" y="16765"/>
                    </a:cubicBezTo>
                    <a:close/>
                  </a:path>
                </a:pathLst>
              </a:custGeom>
              <a:grpFill/>
              <a:ln w="5978" cap="flat">
                <a:noFill/>
                <a:prstDash val="solid"/>
                <a:miter/>
              </a:ln>
            </p:spPr>
            <p:txBody>
              <a:bodyPr rtlCol="0" anchor="ctr"/>
              <a:lstStyle/>
              <a:p>
                <a:endParaRPr lang="en-GB"/>
              </a:p>
            </p:txBody>
          </p:sp>
          <p:sp>
            <p:nvSpPr>
              <p:cNvPr id="4975" name="Vrije vorm: vorm 4974">
                <a:extLst>
                  <a:ext uri="{FF2B5EF4-FFF2-40B4-BE49-F238E27FC236}">
                    <a16:creationId xmlns:a16="http://schemas.microsoft.com/office/drawing/2014/main" id="{0D0E3D93-4340-41B4-8B3A-E51481F66953}"/>
                  </a:ext>
                </a:extLst>
              </p:cNvPr>
              <p:cNvSpPr/>
              <p:nvPr/>
            </p:nvSpPr>
            <p:spPr>
              <a:xfrm>
                <a:off x="7712257" y="2042872"/>
                <a:ext cx="18346" cy="18426"/>
              </a:xfrm>
              <a:custGeom>
                <a:avLst/>
                <a:gdLst>
                  <a:gd name="connsiteX0" fmla="*/ 14496 w 18346"/>
                  <a:gd name="connsiteY0" fmla="*/ 16749 h 18426"/>
                  <a:gd name="connsiteX1" fmla="*/ 16649 w 18346"/>
                  <a:gd name="connsiteY1" fmla="*/ 3890 h 18426"/>
                  <a:gd name="connsiteX2" fmla="*/ 3850 w 18346"/>
                  <a:gd name="connsiteY2" fmla="*/ 1677 h 18426"/>
                  <a:gd name="connsiteX3" fmla="*/ 1697 w 18346"/>
                  <a:gd name="connsiteY3" fmla="*/ 14536 h 18426"/>
                  <a:gd name="connsiteX4" fmla="*/ 14496 w 18346"/>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6">
                    <a:moveTo>
                      <a:pt x="14496" y="16749"/>
                    </a:moveTo>
                    <a:cubicBezTo>
                      <a:pt x="18623" y="13818"/>
                      <a:pt x="19580" y="8077"/>
                      <a:pt x="16649" y="3890"/>
                    </a:cubicBezTo>
                    <a:cubicBezTo>
                      <a:pt x="13719" y="-236"/>
                      <a:pt x="7977" y="-1253"/>
                      <a:pt x="3850" y="1677"/>
                    </a:cubicBezTo>
                    <a:cubicBezTo>
                      <a:pt x="-276" y="4608"/>
                      <a:pt x="-1233" y="10349"/>
                      <a:pt x="1697" y="14536"/>
                    </a:cubicBezTo>
                    <a:cubicBezTo>
                      <a:pt x="4628" y="18663"/>
                      <a:pt x="10370" y="19679"/>
                      <a:pt x="14496" y="16749"/>
                    </a:cubicBezTo>
                    <a:close/>
                  </a:path>
                </a:pathLst>
              </a:custGeom>
              <a:grpFill/>
              <a:ln w="5978" cap="flat">
                <a:noFill/>
                <a:prstDash val="solid"/>
                <a:miter/>
              </a:ln>
            </p:spPr>
            <p:txBody>
              <a:bodyPr rtlCol="0" anchor="ctr"/>
              <a:lstStyle/>
              <a:p>
                <a:endParaRPr lang="en-GB"/>
              </a:p>
            </p:txBody>
          </p:sp>
        </p:grpSp>
        <p:grpSp>
          <p:nvGrpSpPr>
            <p:cNvPr id="136" name="Graphic 3">
              <a:extLst>
                <a:ext uri="{FF2B5EF4-FFF2-40B4-BE49-F238E27FC236}">
                  <a16:creationId xmlns:a16="http://schemas.microsoft.com/office/drawing/2014/main" id="{6025FC2E-0BA5-4EF2-8E7E-9ECC234B3243}"/>
                </a:ext>
              </a:extLst>
            </p:cNvPr>
            <p:cNvGrpSpPr/>
            <p:nvPr/>
          </p:nvGrpSpPr>
          <p:grpSpPr>
            <a:xfrm>
              <a:off x="7738654" y="3385427"/>
              <a:ext cx="411475" cy="22668"/>
              <a:chOff x="7738654" y="3385427"/>
              <a:chExt cx="411475" cy="22668"/>
            </a:xfrm>
            <a:grpFill/>
          </p:grpSpPr>
          <p:sp>
            <p:nvSpPr>
              <p:cNvPr id="4970" name="Vrije vorm: vorm 4969">
                <a:extLst>
                  <a:ext uri="{FF2B5EF4-FFF2-40B4-BE49-F238E27FC236}">
                    <a16:creationId xmlns:a16="http://schemas.microsoft.com/office/drawing/2014/main" id="{56B17517-5FF1-4FB0-9835-97DEDD0AD903}"/>
                  </a:ext>
                </a:extLst>
              </p:cNvPr>
              <p:cNvSpPr/>
              <p:nvPr/>
            </p:nvSpPr>
            <p:spPr>
              <a:xfrm>
                <a:off x="7747327" y="3393143"/>
                <a:ext cx="394129" cy="7296"/>
              </a:xfrm>
              <a:custGeom>
                <a:avLst/>
                <a:gdLst>
                  <a:gd name="connsiteX0" fmla="*/ 394129 w 394129"/>
                  <a:gd name="connsiteY0" fmla="*/ 0 h 7296"/>
                  <a:gd name="connsiteX1" fmla="*/ 394129 w 394129"/>
                  <a:gd name="connsiteY1" fmla="*/ 3050 h 7296"/>
                  <a:gd name="connsiteX2" fmla="*/ 59 w 394129"/>
                  <a:gd name="connsiteY2" fmla="*/ 7296 h 7296"/>
                  <a:gd name="connsiteX3" fmla="*/ 0 w 394129"/>
                  <a:gd name="connsiteY3" fmla="*/ 4186 h 7296"/>
                </a:gdLst>
                <a:ahLst/>
                <a:cxnLst>
                  <a:cxn ang="0">
                    <a:pos x="connsiteX0" y="connsiteY0"/>
                  </a:cxn>
                  <a:cxn ang="0">
                    <a:pos x="connsiteX1" y="connsiteY1"/>
                  </a:cxn>
                  <a:cxn ang="0">
                    <a:pos x="connsiteX2" y="connsiteY2"/>
                  </a:cxn>
                  <a:cxn ang="0">
                    <a:pos x="connsiteX3" y="connsiteY3"/>
                  </a:cxn>
                </a:cxnLst>
                <a:rect l="l" t="t" r="r" b="b"/>
                <a:pathLst>
                  <a:path w="394129" h="7296">
                    <a:moveTo>
                      <a:pt x="394129" y="0"/>
                    </a:moveTo>
                    <a:lnTo>
                      <a:pt x="394129" y="3050"/>
                    </a:lnTo>
                    <a:lnTo>
                      <a:pt x="59" y="7296"/>
                    </a:lnTo>
                    <a:lnTo>
                      <a:pt x="0" y="4186"/>
                    </a:lnTo>
                    <a:close/>
                  </a:path>
                </a:pathLst>
              </a:custGeom>
              <a:grpFill/>
              <a:ln w="5978" cap="flat">
                <a:noFill/>
                <a:prstDash val="solid"/>
                <a:miter/>
              </a:ln>
            </p:spPr>
            <p:txBody>
              <a:bodyPr rtlCol="0" anchor="ctr"/>
              <a:lstStyle/>
              <a:p>
                <a:endParaRPr lang="en-GB"/>
              </a:p>
            </p:txBody>
          </p:sp>
          <p:sp>
            <p:nvSpPr>
              <p:cNvPr id="4971" name="Vrije vorm: vorm 4970">
                <a:extLst>
                  <a:ext uri="{FF2B5EF4-FFF2-40B4-BE49-F238E27FC236}">
                    <a16:creationId xmlns:a16="http://schemas.microsoft.com/office/drawing/2014/main" id="{A0D8DEA9-4FD2-4293-A158-1070EFD2F9C5}"/>
                  </a:ext>
                </a:extLst>
              </p:cNvPr>
              <p:cNvSpPr/>
              <p:nvPr/>
            </p:nvSpPr>
            <p:spPr>
              <a:xfrm>
                <a:off x="8131827" y="3385427"/>
                <a:ext cx="18302" cy="18421"/>
              </a:xfrm>
              <a:custGeom>
                <a:avLst/>
                <a:gdLst>
                  <a:gd name="connsiteX0" fmla="*/ 9032 w 18302"/>
                  <a:gd name="connsiteY0" fmla="*/ 1 h 18421"/>
                  <a:gd name="connsiteX1" fmla="*/ 18302 w 18302"/>
                  <a:gd name="connsiteY1" fmla="*/ 9091 h 18421"/>
                  <a:gd name="connsiteX2" fmla="*/ 9271 w 18302"/>
                  <a:gd name="connsiteY2" fmla="*/ 18421 h 18421"/>
                  <a:gd name="connsiteX3" fmla="*/ 1 w 18302"/>
                  <a:gd name="connsiteY3" fmla="*/ 9331 h 18421"/>
                  <a:gd name="connsiteX4" fmla="*/ 9032 w 18302"/>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2" y="1"/>
                    </a:moveTo>
                    <a:cubicBezTo>
                      <a:pt x="14115" y="-59"/>
                      <a:pt x="18242" y="4008"/>
                      <a:pt x="18302" y="9091"/>
                    </a:cubicBezTo>
                    <a:cubicBezTo>
                      <a:pt x="18362" y="14175"/>
                      <a:pt x="14355" y="18362"/>
                      <a:pt x="9271" y="18421"/>
                    </a:cubicBezTo>
                    <a:cubicBezTo>
                      <a:pt x="4188" y="18481"/>
                      <a:pt x="61" y="14414"/>
                      <a:pt x="1" y="9331"/>
                    </a:cubicBezTo>
                    <a:cubicBezTo>
                      <a:pt x="-59" y="4247"/>
                      <a:pt x="3948" y="61"/>
                      <a:pt x="9032" y="1"/>
                    </a:cubicBezTo>
                    <a:close/>
                  </a:path>
                </a:pathLst>
              </a:custGeom>
              <a:grpFill/>
              <a:ln w="5978" cap="flat">
                <a:noFill/>
                <a:prstDash val="solid"/>
                <a:miter/>
              </a:ln>
            </p:spPr>
            <p:txBody>
              <a:bodyPr rtlCol="0" anchor="ctr"/>
              <a:lstStyle/>
              <a:p>
                <a:endParaRPr lang="en-GB"/>
              </a:p>
            </p:txBody>
          </p:sp>
          <p:sp>
            <p:nvSpPr>
              <p:cNvPr id="4972" name="Vrije vorm: vorm 4971">
                <a:extLst>
                  <a:ext uri="{FF2B5EF4-FFF2-40B4-BE49-F238E27FC236}">
                    <a16:creationId xmlns:a16="http://schemas.microsoft.com/office/drawing/2014/main" id="{E0EE8F17-9CB9-4622-8546-5EAF7B190F06}"/>
                  </a:ext>
                </a:extLst>
              </p:cNvPr>
              <p:cNvSpPr/>
              <p:nvPr/>
            </p:nvSpPr>
            <p:spPr>
              <a:xfrm>
                <a:off x="7738654" y="3389673"/>
                <a:ext cx="18302" cy="18422"/>
              </a:xfrm>
              <a:custGeom>
                <a:avLst/>
                <a:gdLst>
                  <a:gd name="connsiteX0" fmla="*/ 9032 w 18302"/>
                  <a:gd name="connsiteY0" fmla="*/ 1 h 18422"/>
                  <a:gd name="connsiteX1" fmla="*/ 1 w 18302"/>
                  <a:gd name="connsiteY1" fmla="*/ 9331 h 18422"/>
                  <a:gd name="connsiteX2" fmla="*/ 9271 w 18302"/>
                  <a:gd name="connsiteY2" fmla="*/ 18421 h 18422"/>
                  <a:gd name="connsiteX3" fmla="*/ 18302 w 18302"/>
                  <a:gd name="connsiteY3" fmla="*/ 9091 h 18422"/>
                  <a:gd name="connsiteX4" fmla="*/ 9032 w 18302"/>
                  <a:gd name="connsiteY4" fmla="*/ 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2">
                    <a:moveTo>
                      <a:pt x="9032" y="1"/>
                    </a:moveTo>
                    <a:cubicBezTo>
                      <a:pt x="3948" y="61"/>
                      <a:pt x="-59" y="4247"/>
                      <a:pt x="1" y="9331"/>
                    </a:cubicBezTo>
                    <a:cubicBezTo>
                      <a:pt x="61" y="14414"/>
                      <a:pt x="4247" y="18481"/>
                      <a:pt x="9271" y="18421"/>
                    </a:cubicBezTo>
                    <a:cubicBezTo>
                      <a:pt x="14355" y="18362"/>
                      <a:pt x="18362" y="14175"/>
                      <a:pt x="18302" y="9091"/>
                    </a:cubicBezTo>
                    <a:cubicBezTo>
                      <a:pt x="18242" y="4008"/>
                      <a:pt x="14115" y="-59"/>
                      <a:pt x="9032" y="1"/>
                    </a:cubicBezTo>
                    <a:close/>
                  </a:path>
                </a:pathLst>
              </a:custGeom>
              <a:grpFill/>
              <a:ln w="5978" cap="flat">
                <a:noFill/>
                <a:prstDash val="solid"/>
                <a:miter/>
              </a:ln>
            </p:spPr>
            <p:txBody>
              <a:bodyPr rtlCol="0" anchor="ctr"/>
              <a:lstStyle/>
              <a:p>
                <a:endParaRPr lang="en-GB"/>
              </a:p>
            </p:txBody>
          </p:sp>
        </p:grpSp>
        <p:grpSp>
          <p:nvGrpSpPr>
            <p:cNvPr id="137" name="Graphic 3">
              <a:extLst>
                <a:ext uri="{FF2B5EF4-FFF2-40B4-BE49-F238E27FC236}">
                  <a16:creationId xmlns:a16="http://schemas.microsoft.com/office/drawing/2014/main" id="{96A1ACCA-8DA4-4DCC-9FE7-084104CF74C4}"/>
                </a:ext>
              </a:extLst>
            </p:cNvPr>
            <p:cNvGrpSpPr/>
            <p:nvPr/>
          </p:nvGrpSpPr>
          <p:grpSpPr>
            <a:xfrm>
              <a:off x="7195332" y="1730137"/>
              <a:ext cx="502988" cy="472251"/>
              <a:chOff x="7195332" y="1730137"/>
              <a:chExt cx="502988" cy="472251"/>
            </a:xfrm>
            <a:grpFill/>
          </p:grpSpPr>
          <p:sp>
            <p:nvSpPr>
              <p:cNvPr id="4967" name="Vrije vorm: vorm 4966">
                <a:extLst>
                  <a:ext uri="{FF2B5EF4-FFF2-40B4-BE49-F238E27FC236}">
                    <a16:creationId xmlns:a16="http://schemas.microsoft.com/office/drawing/2014/main" id="{3B97F2CF-67BD-449D-8C14-F606B6F87B08}"/>
                  </a:ext>
                </a:extLst>
              </p:cNvPr>
              <p:cNvSpPr/>
              <p:nvPr/>
            </p:nvSpPr>
            <p:spPr>
              <a:xfrm>
                <a:off x="7203141" y="1737918"/>
                <a:ext cx="487369" cy="456687"/>
              </a:xfrm>
              <a:custGeom>
                <a:avLst/>
                <a:gdLst>
                  <a:gd name="connsiteX0" fmla="*/ 487370 w 487369"/>
                  <a:gd name="connsiteY0" fmla="*/ 2273 h 456687"/>
                  <a:gd name="connsiteX1" fmla="*/ 2094 w 487369"/>
                  <a:gd name="connsiteY1" fmla="*/ 456688 h 456687"/>
                  <a:gd name="connsiteX2" fmla="*/ 0 w 487369"/>
                  <a:gd name="connsiteY2" fmla="*/ 454475 h 456687"/>
                  <a:gd name="connsiteX3" fmla="*/ 485276 w 487369"/>
                  <a:gd name="connsiteY3" fmla="*/ 0 h 456687"/>
                </a:gdLst>
                <a:ahLst/>
                <a:cxnLst>
                  <a:cxn ang="0">
                    <a:pos x="connsiteX0" y="connsiteY0"/>
                  </a:cxn>
                  <a:cxn ang="0">
                    <a:pos x="connsiteX1" y="connsiteY1"/>
                  </a:cxn>
                  <a:cxn ang="0">
                    <a:pos x="connsiteX2" y="connsiteY2"/>
                  </a:cxn>
                  <a:cxn ang="0">
                    <a:pos x="connsiteX3" y="connsiteY3"/>
                  </a:cxn>
                </a:cxnLst>
                <a:rect l="l" t="t" r="r" b="b"/>
                <a:pathLst>
                  <a:path w="487369" h="456687">
                    <a:moveTo>
                      <a:pt x="487370" y="2273"/>
                    </a:moveTo>
                    <a:lnTo>
                      <a:pt x="2094" y="456688"/>
                    </a:lnTo>
                    <a:lnTo>
                      <a:pt x="0" y="454475"/>
                    </a:lnTo>
                    <a:lnTo>
                      <a:pt x="485276" y="0"/>
                    </a:lnTo>
                    <a:close/>
                  </a:path>
                </a:pathLst>
              </a:custGeom>
              <a:grpFill/>
              <a:ln w="5978" cap="flat">
                <a:noFill/>
                <a:prstDash val="solid"/>
                <a:miter/>
              </a:ln>
            </p:spPr>
            <p:txBody>
              <a:bodyPr rtlCol="0" anchor="ctr"/>
              <a:lstStyle/>
              <a:p>
                <a:endParaRPr lang="en-GB"/>
              </a:p>
            </p:txBody>
          </p:sp>
          <p:sp>
            <p:nvSpPr>
              <p:cNvPr id="4968" name="Vrije vorm: vorm 4967">
                <a:extLst>
                  <a:ext uri="{FF2B5EF4-FFF2-40B4-BE49-F238E27FC236}">
                    <a16:creationId xmlns:a16="http://schemas.microsoft.com/office/drawing/2014/main" id="{82FF5E50-8DFF-4639-8262-3D5B58116D12}"/>
                  </a:ext>
                </a:extLst>
              </p:cNvPr>
              <p:cNvSpPr/>
              <p:nvPr/>
            </p:nvSpPr>
            <p:spPr>
              <a:xfrm>
                <a:off x="7195332" y="2183954"/>
                <a:ext cx="18370" cy="18434"/>
              </a:xfrm>
              <a:custGeom>
                <a:avLst/>
                <a:gdLst>
                  <a:gd name="connsiteX0" fmla="*/ 15465 w 18370"/>
                  <a:gd name="connsiteY0" fmla="*/ 15975 h 18434"/>
                  <a:gd name="connsiteX1" fmla="*/ 2487 w 18370"/>
                  <a:gd name="connsiteY1" fmla="*/ 15497 h 18434"/>
                  <a:gd name="connsiteX2" fmla="*/ 2905 w 18370"/>
                  <a:gd name="connsiteY2" fmla="*/ 2459 h 18434"/>
                  <a:gd name="connsiteX3" fmla="*/ 15884 w 18370"/>
                  <a:gd name="connsiteY3" fmla="*/ 2937 h 18434"/>
                  <a:gd name="connsiteX4" fmla="*/ 15465 w 18370"/>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4">
                    <a:moveTo>
                      <a:pt x="15465" y="15975"/>
                    </a:moveTo>
                    <a:cubicBezTo>
                      <a:pt x="11757" y="19444"/>
                      <a:pt x="5956" y="19205"/>
                      <a:pt x="2487" y="15497"/>
                    </a:cubicBezTo>
                    <a:cubicBezTo>
                      <a:pt x="-982" y="11789"/>
                      <a:pt x="-803" y="5928"/>
                      <a:pt x="2905" y="2459"/>
                    </a:cubicBezTo>
                    <a:cubicBezTo>
                      <a:pt x="6613" y="-1010"/>
                      <a:pt x="12414" y="-771"/>
                      <a:pt x="15884" y="2937"/>
                    </a:cubicBezTo>
                    <a:cubicBezTo>
                      <a:pt x="19352" y="6705"/>
                      <a:pt x="19173" y="12506"/>
                      <a:pt x="15465" y="15975"/>
                    </a:cubicBezTo>
                    <a:close/>
                  </a:path>
                </a:pathLst>
              </a:custGeom>
              <a:grpFill/>
              <a:ln w="5978" cap="flat">
                <a:noFill/>
                <a:prstDash val="solid"/>
                <a:miter/>
              </a:ln>
            </p:spPr>
            <p:txBody>
              <a:bodyPr rtlCol="0" anchor="ctr"/>
              <a:lstStyle/>
              <a:p>
                <a:endParaRPr lang="en-GB"/>
              </a:p>
            </p:txBody>
          </p:sp>
          <p:sp>
            <p:nvSpPr>
              <p:cNvPr id="4969" name="Vrije vorm: vorm 4968">
                <a:extLst>
                  <a:ext uri="{FF2B5EF4-FFF2-40B4-BE49-F238E27FC236}">
                    <a16:creationId xmlns:a16="http://schemas.microsoft.com/office/drawing/2014/main" id="{0ABAFCA1-E0BA-429B-A6C5-1E626F4E2C5B}"/>
                  </a:ext>
                </a:extLst>
              </p:cNvPr>
              <p:cNvSpPr/>
              <p:nvPr/>
            </p:nvSpPr>
            <p:spPr>
              <a:xfrm>
                <a:off x="7679950" y="1730137"/>
                <a:ext cx="18370" cy="18434"/>
              </a:xfrm>
              <a:custGeom>
                <a:avLst/>
                <a:gdLst>
                  <a:gd name="connsiteX0" fmla="*/ 15465 w 18370"/>
                  <a:gd name="connsiteY0" fmla="*/ 15975 h 18434"/>
                  <a:gd name="connsiteX1" fmla="*/ 15883 w 18370"/>
                  <a:gd name="connsiteY1" fmla="*/ 2937 h 18434"/>
                  <a:gd name="connsiteX2" fmla="*/ 2905 w 18370"/>
                  <a:gd name="connsiteY2" fmla="*/ 2459 h 18434"/>
                  <a:gd name="connsiteX3" fmla="*/ 2486 w 18370"/>
                  <a:gd name="connsiteY3" fmla="*/ 15497 h 18434"/>
                  <a:gd name="connsiteX4" fmla="*/ 15465 w 18370"/>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4">
                    <a:moveTo>
                      <a:pt x="15465" y="15975"/>
                    </a:moveTo>
                    <a:cubicBezTo>
                      <a:pt x="19173" y="12506"/>
                      <a:pt x="19352" y="6705"/>
                      <a:pt x="15883" y="2937"/>
                    </a:cubicBezTo>
                    <a:cubicBezTo>
                      <a:pt x="12415" y="-771"/>
                      <a:pt x="6613" y="-1010"/>
                      <a:pt x="2905" y="2459"/>
                    </a:cubicBezTo>
                    <a:cubicBezTo>
                      <a:pt x="-803" y="5928"/>
                      <a:pt x="-982" y="11729"/>
                      <a:pt x="2486" y="15497"/>
                    </a:cubicBezTo>
                    <a:cubicBezTo>
                      <a:pt x="5956" y="19205"/>
                      <a:pt x="11757" y="19444"/>
                      <a:pt x="15465" y="15975"/>
                    </a:cubicBezTo>
                    <a:close/>
                  </a:path>
                </a:pathLst>
              </a:custGeom>
              <a:grpFill/>
              <a:ln w="5978" cap="flat">
                <a:noFill/>
                <a:prstDash val="solid"/>
                <a:miter/>
              </a:ln>
            </p:spPr>
            <p:txBody>
              <a:bodyPr rtlCol="0" anchor="ctr"/>
              <a:lstStyle/>
              <a:p>
                <a:endParaRPr lang="en-GB"/>
              </a:p>
            </p:txBody>
          </p:sp>
        </p:grpSp>
        <p:grpSp>
          <p:nvGrpSpPr>
            <p:cNvPr id="138" name="Graphic 3">
              <a:extLst>
                <a:ext uri="{FF2B5EF4-FFF2-40B4-BE49-F238E27FC236}">
                  <a16:creationId xmlns:a16="http://schemas.microsoft.com/office/drawing/2014/main" id="{844D0612-3949-4892-AE3E-9A92F841BEF0}"/>
                </a:ext>
              </a:extLst>
            </p:cNvPr>
            <p:cNvGrpSpPr/>
            <p:nvPr/>
          </p:nvGrpSpPr>
          <p:grpSpPr>
            <a:xfrm>
              <a:off x="7502544" y="2197848"/>
              <a:ext cx="39648" cy="35919"/>
              <a:chOff x="7502544" y="2197848"/>
              <a:chExt cx="39648" cy="35919"/>
            </a:xfrm>
            <a:grpFill/>
          </p:grpSpPr>
          <p:sp>
            <p:nvSpPr>
              <p:cNvPr id="4964" name="Vrije vorm: vorm 4963">
                <a:extLst>
                  <a:ext uri="{FF2B5EF4-FFF2-40B4-BE49-F238E27FC236}">
                    <a16:creationId xmlns:a16="http://schemas.microsoft.com/office/drawing/2014/main" id="{0DFA01FB-F224-48AA-B244-2E148D09AB7F}"/>
                  </a:ext>
                </a:extLst>
              </p:cNvPr>
              <p:cNvSpPr/>
              <p:nvPr/>
            </p:nvSpPr>
            <p:spPr>
              <a:xfrm>
                <a:off x="7510430" y="2205611"/>
                <a:ext cx="23922" cy="20394"/>
              </a:xfrm>
              <a:custGeom>
                <a:avLst/>
                <a:gdLst>
                  <a:gd name="connsiteX0" fmla="*/ 23923 w 23922"/>
                  <a:gd name="connsiteY0" fmla="*/ 2392 h 20394"/>
                  <a:gd name="connsiteX1" fmla="*/ 1914 w 23922"/>
                  <a:gd name="connsiteY1" fmla="*/ 20394 h 20394"/>
                  <a:gd name="connsiteX2" fmla="*/ 0 w 23922"/>
                  <a:gd name="connsiteY2" fmla="*/ 18002 h 20394"/>
                  <a:gd name="connsiteX3" fmla="*/ 22009 w 23922"/>
                  <a:gd name="connsiteY3" fmla="*/ 0 h 20394"/>
                </a:gdLst>
                <a:ahLst/>
                <a:cxnLst>
                  <a:cxn ang="0">
                    <a:pos x="connsiteX0" y="connsiteY0"/>
                  </a:cxn>
                  <a:cxn ang="0">
                    <a:pos x="connsiteX1" y="connsiteY1"/>
                  </a:cxn>
                  <a:cxn ang="0">
                    <a:pos x="connsiteX2" y="connsiteY2"/>
                  </a:cxn>
                  <a:cxn ang="0">
                    <a:pos x="connsiteX3" y="connsiteY3"/>
                  </a:cxn>
                </a:cxnLst>
                <a:rect l="l" t="t" r="r" b="b"/>
                <a:pathLst>
                  <a:path w="23922" h="20394">
                    <a:moveTo>
                      <a:pt x="23923" y="2392"/>
                    </a:moveTo>
                    <a:lnTo>
                      <a:pt x="1914" y="20394"/>
                    </a:lnTo>
                    <a:lnTo>
                      <a:pt x="0" y="18002"/>
                    </a:lnTo>
                    <a:lnTo>
                      <a:pt x="22009" y="0"/>
                    </a:lnTo>
                    <a:close/>
                  </a:path>
                </a:pathLst>
              </a:custGeom>
              <a:grpFill/>
              <a:ln w="5978" cap="flat">
                <a:noFill/>
                <a:prstDash val="solid"/>
                <a:miter/>
              </a:ln>
            </p:spPr>
            <p:txBody>
              <a:bodyPr rtlCol="0" anchor="ctr"/>
              <a:lstStyle/>
              <a:p>
                <a:endParaRPr lang="en-GB"/>
              </a:p>
            </p:txBody>
          </p:sp>
          <p:sp>
            <p:nvSpPr>
              <p:cNvPr id="4965" name="Vrije vorm: vorm 4964">
                <a:extLst>
                  <a:ext uri="{FF2B5EF4-FFF2-40B4-BE49-F238E27FC236}">
                    <a16:creationId xmlns:a16="http://schemas.microsoft.com/office/drawing/2014/main" id="{A04FD5A2-A027-48E3-B3B0-D484C7950D63}"/>
                  </a:ext>
                </a:extLst>
              </p:cNvPr>
              <p:cNvSpPr/>
              <p:nvPr/>
            </p:nvSpPr>
            <p:spPr>
              <a:xfrm>
                <a:off x="7502544" y="2215316"/>
                <a:ext cx="18346" cy="18451"/>
              </a:xfrm>
              <a:custGeom>
                <a:avLst/>
                <a:gdLst>
                  <a:gd name="connsiteX0" fmla="*/ 15004 w 18346"/>
                  <a:gd name="connsiteY0" fmla="*/ 16370 h 18451"/>
                  <a:gd name="connsiteX1" fmla="*/ 2086 w 18346"/>
                  <a:gd name="connsiteY1" fmla="*/ 15054 h 18451"/>
                  <a:gd name="connsiteX2" fmla="*/ 3342 w 18346"/>
                  <a:gd name="connsiteY2" fmla="*/ 2076 h 18451"/>
                  <a:gd name="connsiteX3" fmla="*/ 16260 w 18346"/>
                  <a:gd name="connsiteY3" fmla="*/ 3452 h 18451"/>
                  <a:gd name="connsiteX4" fmla="*/ 15004 w 18346"/>
                  <a:gd name="connsiteY4" fmla="*/ 16370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1">
                    <a:moveTo>
                      <a:pt x="15004" y="16370"/>
                    </a:moveTo>
                    <a:cubicBezTo>
                      <a:pt x="11117" y="19600"/>
                      <a:pt x="5316" y="19002"/>
                      <a:pt x="2086" y="15054"/>
                    </a:cubicBezTo>
                    <a:cubicBezTo>
                      <a:pt x="-1143" y="11107"/>
                      <a:pt x="-545" y="5306"/>
                      <a:pt x="3342" y="2076"/>
                    </a:cubicBezTo>
                    <a:cubicBezTo>
                      <a:pt x="7229" y="-1153"/>
                      <a:pt x="13031" y="-555"/>
                      <a:pt x="16260" y="3452"/>
                    </a:cubicBezTo>
                    <a:cubicBezTo>
                      <a:pt x="19490" y="7339"/>
                      <a:pt x="18892" y="13141"/>
                      <a:pt x="15004" y="16370"/>
                    </a:cubicBezTo>
                    <a:close/>
                  </a:path>
                </a:pathLst>
              </a:custGeom>
              <a:grpFill/>
              <a:ln w="5978" cap="flat">
                <a:noFill/>
                <a:prstDash val="solid"/>
                <a:miter/>
              </a:ln>
            </p:spPr>
            <p:txBody>
              <a:bodyPr rtlCol="0" anchor="ctr"/>
              <a:lstStyle/>
              <a:p>
                <a:endParaRPr lang="en-GB"/>
              </a:p>
            </p:txBody>
          </p:sp>
          <p:sp>
            <p:nvSpPr>
              <p:cNvPr id="4966" name="Vrije vorm: vorm 4965">
                <a:extLst>
                  <a:ext uri="{FF2B5EF4-FFF2-40B4-BE49-F238E27FC236}">
                    <a16:creationId xmlns:a16="http://schemas.microsoft.com/office/drawing/2014/main" id="{6ED1B3AE-0B50-4564-9AD7-9B024114B345}"/>
                  </a:ext>
                </a:extLst>
              </p:cNvPr>
              <p:cNvSpPr/>
              <p:nvPr/>
            </p:nvSpPr>
            <p:spPr>
              <a:xfrm>
                <a:off x="7523884" y="2197848"/>
                <a:ext cx="18308" cy="18456"/>
              </a:xfrm>
              <a:custGeom>
                <a:avLst/>
                <a:gdLst>
                  <a:gd name="connsiteX0" fmla="*/ 14955 w 18308"/>
                  <a:gd name="connsiteY0" fmla="*/ 16375 h 18456"/>
                  <a:gd name="connsiteX1" fmla="*/ 16271 w 18308"/>
                  <a:gd name="connsiteY1" fmla="*/ 3397 h 18456"/>
                  <a:gd name="connsiteX2" fmla="*/ 3353 w 18308"/>
                  <a:gd name="connsiteY2" fmla="*/ 2081 h 18456"/>
                  <a:gd name="connsiteX3" fmla="*/ 2037 w 18308"/>
                  <a:gd name="connsiteY3" fmla="*/ 15059 h 18456"/>
                  <a:gd name="connsiteX4" fmla="*/ 14955 w 18308"/>
                  <a:gd name="connsiteY4" fmla="*/ 16375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6">
                    <a:moveTo>
                      <a:pt x="14955" y="16375"/>
                    </a:moveTo>
                    <a:cubicBezTo>
                      <a:pt x="18843" y="13145"/>
                      <a:pt x="19441" y="7344"/>
                      <a:pt x="16271" y="3397"/>
                    </a:cubicBezTo>
                    <a:cubicBezTo>
                      <a:pt x="13042" y="-550"/>
                      <a:pt x="7300" y="-1148"/>
                      <a:pt x="3353" y="2081"/>
                    </a:cubicBezTo>
                    <a:cubicBezTo>
                      <a:pt x="-535" y="5311"/>
                      <a:pt x="-1133" y="11112"/>
                      <a:pt x="2037" y="15059"/>
                    </a:cubicBezTo>
                    <a:cubicBezTo>
                      <a:pt x="5266" y="19007"/>
                      <a:pt x="11068" y="19605"/>
                      <a:pt x="14955" y="16375"/>
                    </a:cubicBezTo>
                    <a:close/>
                  </a:path>
                </a:pathLst>
              </a:custGeom>
              <a:grpFill/>
              <a:ln w="5978" cap="flat">
                <a:noFill/>
                <a:prstDash val="solid"/>
                <a:miter/>
              </a:ln>
            </p:spPr>
            <p:txBody>
              <a:bodyPr rtlCol="0" anchor="ctr"/>
              <a:lstStyle/>
              <a:p>
                <a:endParaRPr lang="en-GB"/>
              </a:p>
            </p:txBody>
          </p:sp>
        </p:grpSp>
        <p:grpSp>
          <p:nvGrpSpPr>
            <p:cNvPr id="139" name="Graphic 3">
              <a:extLst>
                <a:ext uri="{FF2B5EF4-FFF2-40B4-BE49-F238E27FC236}">
                  <a16:creationId xmlns:a16="http://schemas.microsoft.com/office/drawing/2014/main" id="{308FEA56-4554-4823-A14C-00B200D7F519}"/>
                </a:ext>
              </a:extLst>
            </p:cNvPr>
            <p:cNvGrpSpPr/>
            <p:nvPr/>
          </p:nvGrpSpPr>
          <p:grpSpPr>
            <a:xfrm>
              <a:off x="7500353" y="2478242"/>
              <a:ext cx="269372" cy="121818"/>
              <a:chOff x="7500353" y="2478242"/>
              <a:chExt cx="269372" cy="121818"/>
            </a:xfrm>
            <a:grpFill/>
          </p:grpSpPr>
          <p:sp>
            <p:nvSpPr>
              <p:cNvPr id="4961" name="Vrije vorm: vorm 4960">
                <a:extLst>
                  <a:ext uri="{FF2B5EF4-FFF2-40B4-BE49-F238E27FC236}">
                    <a16:creationId xmlns:a16="http://schemas.microsoft.com/office/drawing/2014/main" id="{0BF5EC0F-2CDA-4275-89B9-13D824596884}"/>
                  </a:ext>
                </a:extLst>
              </p:cNvPr>
              <p:cNvSpPr/>
              <p:nvPr/>
            </p:nvSpPr>
            <p:spPr>
              <a:xfrm>
                <a:off x="7508812" y="2486010"/>
                <a:ext cx="253070" cy="106558"/>
              </a:xfrm>
              <a:custGeom>
                <a:avLst/>
                <a:gdLst>
                  <a:gd name="connsiteX0" fmla="*/ 0 w 253070"/>
                  <a:gd name="connsiteY0" fmla="*/ 103738 h 106558"/>
                  <a:gd name="connsiteX1" fmla="*/ 251909 w 253070"/>
                  <a:gd name="connsiteY1" fmla="*/ 0 h 106558"/>
                  <a:gd name="connsiteX2" fmla="*/ 253070 w 253070"/>
                  <a:gd name="connsiteY2" fmla="*/ 2820 h 106558"/>
                  <a:gd name="connsiteX3" fmla="*/ 1162 w 253070"/>
                  <a:gd name="connsiteY3" fmla="*/ 106559 h 106558"/>
                </a:gdLst>
                <a:ahLst/>
                <a:cxnLst>
                  <a:cxn ang="0">
                    <a:pos x="connsiteX0" y="connsiteY0"/>
                  </a:cxn>
                  <a:cxn ang="0">
                    <a:pos x="connsiteX1" y="connsiteY1"/>
                  </a:cxn>
                  <a:cxn ang="0">
                    <a:pos x="connsiteX2" y="connsiteY2"/>
                  </a:cxn>
                  <a:cxn ang="0">
                    <a:pos x="connsiteX3" y="connsiteY3"/>
                  </a:cxn>
                </a:cxnLst>
                <a:rect l="l" t="t" r="r" b="b"/>
                <a:pathLst>
                  <a:path w="253070" h="106558">
                    <a:moveTo>
                      <a:pt x="0" y="103738"/>
                    </a:moveTo>
                    <a:lnTo>
                      <a:pt x="251909" y="0"/>
                    </a:lnTo>
                    <a:lnTo>
                      <a:pt x="253070" y="2820"/>
                    </a:lnTo>
                    <a:lnTo>
                      <a:pt x="1162" y="106559"/>
                    </a:lnTo>
                    <a:close/>
                  </a:path>
                </a:pathLst>
              </a:custGeom>
              <a:grpFill/>
              <a:ln w="5978" cap="flat">
                <a:noFill/>
                <a:prstDash val="solid"/>
                <a:miter/>
              </a:ln>
            </p:spPr>
            <p:txBody>
              <a:bodyPr rtlCol="0" anchor="ctr"/>
              <a:lstStyle/>
              <a:p>
                <a:endParaRPr lang="en-GB"/>
              </a:p>
            </p:txBody>
          </p:sp>
          <p:sp>
            <p:nvSpPr>
              <p:cNvPr id="4962" name="Vrije vorm: vorm 4961">
                <a:extLst>
                  <a:ext uri="{FF2B5EF4-FFF2-40B4-BE49-F238E27FC236}">
                    <a16:creationId xmlns:a16="http://schemas.microsoft.com/office/drawing/2014/main" id="{C0EEC75F-7A76-436E-AF18-1E1865DDF7ED}"/>
                  </a:ext>
                </a:extLst>
              </p:cNvPr>
              <p:cNvSpPr/>
              <p:nvPr/>
            </p:nvSpPr>
            <p:spPr>
              <a:xfrm>
                <a:off x="7500353" y="2581657"/>
                <a:ext cx="18334" cy="18403"/>
              </a:xfrm>
              <a:custGeom>
                <a:avLst/>
                <a:gdLst>
                  <a:gd name="connsiteX0" fmla="*/ 12649 w 18334"/>
                  <a:gd name="connsiteY0" fmla="*/ 17724 h 18403"/>
                  <a:gd name="connsiteX1" fmla="*/ 688 w 18334"/>
                  <a:gd name="connsiteY1" fmla="*/ 12701 h 18403"/>
                  <a:gd name="connsiteX2" fmla="*/ 5652 w 18334"/>
                  <a:gd name="connsiteY2" fmla="*/ 679 h 18403"/>
                  <a:gd name="connsiteX3" fmla="*/ 17613 w 18334"/>
                  <a:gd name="connsiteY3" fmla="*/ 5703 h 18403"/>
                  <a:gd name="connsiteX4" fmla="*/ 12649 w 18334"/>
                  <a:gd name="connsiteY4" fmla="*/ 17724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3">
                    <a:moveTo>
                      <a:pt x="12649" y="17724"/>
                    </a:moveTo>
                    <a:cubicBezTo>
                      <a:pt x="7984" y="19638"/>
                      <a:pt x="2602" y="17366"/>
                      <a:pt x="688" y="12701"/>
                    </a:cubicBezTo>
                    <a:cubicBezTo>
                      <a:pt x="-1225" y="7976"/>
                      <a:pt x="987" y="2593"/>
                      <a:pt x="5652" y="679"/>
                    </a:cubicBezTo>
                    <a:cubicBezTo>
                      <a:pt x="10317" y="-1235"/>
                      <a:pt x="15700" y="1038"/>
                      <a:pt x="17613" y="5703"/>
                    </a:cubicBezTo>
                    <a:cubicBezTo>
                      <a:pt x="19587" y="10428"/>
                      <a:pt x="17374" y="15811"/>
                      <a:pt x="12649" y="17724"/>
                    </a:cubicBezTo>
                    <a:close/>
                  </a:path>
                </a:pathLst>
              </a:custGeom>
              <a:grpFill/>
              <a:ln w="5978" cap="flat">
                <a:noFill/>
                <a:prstDash val="solid"/>
                <a:miter/>
              </a:ln>
            </p:spPr>
            <p:txBody>
              <a:bodyPr rtlCol="0" anchor="ctr"/>
              <a:lstStyle/>
              <a:p>
                <a:endParaRPr lang="en-GB"/>
              </a:p>
            </p:txBody>
          </p:sp>
          <p:sp>
            <p:nvSpPr>
              <p:cNvPr id="4963" name="Vrije vorm: vorm 4962">
                <a:extLst>
                  <a:ext uri="{FF2B5EF4-FFF2-40B4-BE49-F238E27FC236}">
                    <a16:creationId xmlns:a16="http://schemas.microsoft.com/office/drawing/2014/main" id="{AA6B400D-115E-4091-84FE-49F1E4F27B50}"/>
                  </a:ext>
                </a:extLst>
              </p:cNvPr>
              <p:cNvSpPr/>
              <p:nvPr/>
            </p:nvSpPr>
            <p:spPr>
              <a:xfrm>
                <a:off x="7751424" y="2478242"/>
                <a:ext cx="18301" cy="18444"/>
              </a:xfrm>
              <a:custGeom>
                <a:avLst/>
                <a:gdLst>
                  <a:gd name="connsiteX0" fmla="*/ 12649 w 18301"/>
                  <a:gd name="connsiteY0" fmla="*/ 17732 h 18444"/>
                  <a:gd name="connsiteX1" fmla="*/ 17614 w 18301"/>
                  <a:gd name="connsiteY1" fmla="*/ 5711 h 18444"/>
                  <a:gd name="connsiteX2" fmla="*/ 5652 w 18301"/>
                  <a:gd name="connsiteY2" fmla="*/ 687 h 18444"/>
                  <a:gd name="connsiteX3" fmla="*/ 688 w 18301"/>
                  <a:gd name="connsiteY3" fmla="*/ 12709 h 18444"/>
                  <a:gd name="connsiteX4" fmla="*/ 12649 w 18301"/>
                  <a:gd name="connsiteY4" fmla="*/ 177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44">
                    <a:moveTo>
                      <a:pt x="12649" y="17732"/>
                    </a:moveTo>
                    <a:cubicBezTo>
                      <a:pt x="17315" y="15819"/>
                      <a:pt x="19527" y="10436"/>
                      <a:pt x="17614" y="5711"/>
                    </a:cubicBezTo>
                    <a:cubicBezTo>
                      <a:pt x="15700" y="986"/>
                      <a:pt x="10317" y="-1227"/>
                      <a:pt x="5652" y="687"/>
                    </a:cubicBezTo>
                    <a:cubicBezTo>
                      <a:pt x="987" y="2601"/>
                      <a:pt x="-1226" y="7984"/>
                      <a:pt x="688" y="12709"/>
                    </a:cubicBezTo>
                    <a:cubicBezTo>
                      <a:pt x="2602" y="17433"/>
                      <a:pt x="7984" y="19706"/>
                      <a:pt x="12649" y="17732"/>
                    </a:cubicBezTo>
                    <a:close/>
                  </a:path>
                </a:pathLst>
              </a:custGeom>
              <a:grpFill/>
              <a:ln w="5978" cap="flat">
                <a:noFill/>
                <a:prstDash val="solid"/>
                <a:miter/>
              </a:ln>
            </p:spPr>
            <p:txBody>
              <a:bodyPr rtlCol="0" anchor="ctr"/>
              <a:lstStyle/>
              <a:p>
                <a:endParaRPr lang="en-GB"/>
              </a:p>
            </p:txBody>
          </p:sp>
        </p:grpSp>
        <p:grpSp>
          <p:nvGrpSpPr>
            <p:cNvPr id="140" name="Graphic 3">
              <a:extLst>
                <a:ext uri="{FF2B5EF4-FFF2-40B4-BE49-F238E27FC236}">
                  <a16:creationId xmlns:a16="http://schemas.microsoft.com/office/drawing/2014/main" id="{142236E2-FA33-4E23-A900-3476FBB12FFC}"/>
                </a:ext>
              </a:extLst>
            </p:cNvPr>
            <p:cNvGrpSpPr/>
            <p:nvPr/>
          </p:nvGrpSpPr>
          <p:grpSpPr>
            <a:xfrm>
              <a:off x="7732010" y="3485347"/>
              <a:ext cx="472309" cy="77906"/>
              <a:chOff x="7732010" y="3485347"/>
              <a:chExt cx="472309" cy="77906"/>
            </a:xfrm>
            <a:grpFill/>
          </p:grpSpPr>
          <p:sp>
            <p:nvSpPr>
              <p:cNvPr id="4958" name="Vrije vorm: vorm 4957">
                <a:extLst>
                  <a:ext uri="{FF2B5EF4-FFF2-40B4-BE49-F238E27FC236}">
                    <a16:creationId xmlns:a16="http://schemas.microsoft.com/office/drawing/2014/main" id="{2DE7297F-70F1-4F23-8BAF-FAA6335A726C}"/>
                  </a:ext>
                </a:extLst>
              </p:cNvPr>
              <p:cNvSpPr/>
              <p:nvPr/>
            </p:nvSpPr>
            <p:spPr>
              <a:xfrm>
                <a:off x="7740509" y="3492961"/>
                <a:ext cx="455312" cy="62677"/>
              </a:xfrm>
              <a:custGeom>
                <a:avLst/>
                <a:gdLst>
                  <a:gd name="connsiteX0" fmla="*/ 455312 w 455312"/>
                  <a:gd name="connsiteY0" fmla="*/ 59628 h 62677"/>
                  <a:gd name="connsiteX1" fmla="*/ 454893 w 455312"/>
                  <a:gd name="connsiteY1" fmla="*/ 62678 h 62677"/>
                  <a:gd name="connsiteX2" fmla="*/ 0 w 455312"/>
                  <a:gd name="connsiteY2" fmla="*/ 3050 h 62677"/>
                  <a:gd name="connsiteX3" fmla="*/ 418 w 455312"/>
                  <a:gd name="connsiteY3" fmla="*/ 0 h 62677"/>
                </a:gdLst>
                <a:ahLst/>
                <a:cxnLst>
                  <a:cxn ang="0">
                    <a:pos x="connsiteX0" y="connsiteY0"/>
                  </a:cxn>
                  <a:cxn ang="0">
                    <a:pos x="connsiteX1" y="connsiteY1"/>
                  </a:cxn>
                  <a:cxn ang="0">
                    <a:pos x="connsiteX2" y="connsiteY2"/>
                  </a:cxn>
                  <a:cxn ang="0">
                    <a:pos x="connsiteX3" y="connsiteY3"/>
                  </a:cxn>
                </a:cxnLst>
                <a:rect l="l" t="t" r="r" b="b"/>
                <a:pathLst>
                  <a:path w="455312" h="62677">
                    <a:moveTo>
                      <a:pt x="455312" y="59628"/>
                    </a:moveTo>
                    <a:lnTo>
                      <a:pt x="454893" y="62678"/>
                    </a:lnTo>
                    <a:lnTo>
                      <a:pt x="0" y="3050"/>
                    </a:lnTo>
                    <a:lnTo>
                      <a:pt x="418" y="0"/>
                    </a:lnTo>
                    <a:close/>
                  </a:path>
                </a:pathLst>
              </a:custGeom>
              <a:grpFill/>
              <a:ln w="5978" cap="flat">
                <a:noFill/>
                <a:prstDash val="solid"/>
                <a:miter/>
              </a:ln>
            </p:spPr>
            <p:txBody>
              <a:bodyPr rtlCol="0" anchor="ctr"/>
              <a:lstStyle/>
              <a:p>
                <a:endParaRPr lang="en-GB"/>
              </a:p>
            </p:txBody>
          </p:sp>
          <p:sp>
            <p:nvSpPr>
              <p:cNvPr id="4959" name="Vrije vorm: vorm 4958">
                <a:extLst>
                  <a:ext uri="{FF2B5EF4-FFF2-40B4-BE49-F238E27FC236}">
                    <a16:creationId xmlns:a16="http://schemas.microsoft.com/office/drawing/2014/main" id="{65F9CF9C-B1ED-4490-92AD-C61FEE8BEA76}"/>
                  </a:ext>
                </a:extLst>
              </p:cNvPr>
              <p:cNvSpPr/>
              <p:nvPr/>
            </p:nvSpPr>
            <p:spPr>
              <a:xfrm>
                <a:off x="7732010" y="3485347"/>
                <a:ext cx="18313" cy="18444"/>
              </a:xfrm>
              <a:custGeom>
                <a:avLst/>
                <a:gdLst>
                  <a:gd name="connsiteX0" fmla="*/ 8020 w 18313"/>
                  <a:gd name="connsiteY0" fmla="*/ 18379 h 18444"/>
                  <a:gd name="connsiteX1" fmla="*/ 66 w 18313"/>
                  <a:gd name="connsiteY1" fmla="*/ 8032 h 18444"/>
                  <a:gd name="connsiteX2" fmla="*/ 10293 w 18313"/>
                  <a:gd name="connsiteY2" fmla="*/ 78 h 18444"/>
                  <a:gd name="connsiteX3" fmla="*/ 18248 w 18313"/>
                  <a:gd name="connsiteY3" fmla="*/ 10424 h 18444"/>
                  <a:gd name="connsiteX4" fmla="*/ 8020 w 18313"/>
                  <a:gd name="connsiteY4" fmla="*/ 1837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44">
                    <a:moveTo>
                      <a:pt x="8020" y="18379"/>
                    </a:moveTo>
                    <a:cubicBezTo>
                      <a:pt x="2997" y="17721"/>
                      <a:pt x="-532" y="13116"/>
                      <a:pt x="66" y="8032"/>
                    </a:cubicBezTo>
                    <a:cubicBezTo>
                      <a:pt x="724" y="3008"/>
                      <a:pt x="5269" y="-580"/>
                      <a:pt x="10293" y="78"/>
                    </a:cubicBezTo>
                    <a:cubicBezTo>
                      <a:pt x="15317" y="736"/>
                      <a:pt x="18846" y="5341"/>
                      <a:pt x="18248" y="10424"/>
                    </a:cubicBezTo>
                    <a:cubicBezTo>
                      <a:pt x="17590" y="15448"/>
                      <a:pt x="13044" y="18977"/>
                      <a:pt x="8020" y="18379"/>
                    </a:cubicBezTo>
                    <a:close/>
                  </a:path>
                </a:pathLst>
              </a:custGeom>
              <a:grpFill/>
              <a:ln w="5978" cap="flat">
                <a:noFill/>
                <a:prstDash val="solid"/>
                <a:miter/>
              </a:ln>
            </p:spPr>
            <p:txBody>
              <a:bodyPr rtlCol="0" anchor="ctr"/>
              <a:lstStyle/>
              <a:p>
                <a:endParaRPr lang="en-GB"/>
              </a:p>
            </p:txBody>
          </p:sp>
          <p:sp>
            <p:nvSpPr>
              <p:cNvPr id="4960" name="Vrije vorm: vorm 4959">
                <a:extLst>
                  <a:ext uri="{FF2B5EF4-FFF2-40B4-BE49-F238E27FC236}">
                    <a16:creationId xmlns:a16="http://schemas.microsoft.com/office/drawing/2014/main" id="{2D6891F5-3A31-4E3A-8124-228EEDBE34A6}"/>
                  </a:ext>
                </a:extLst>
              </p:cNvPr>
              <p:cNvSpPr/>
              <p:nvPr/>
            </p:nvSpPr>
            <p:spPr>
              <a:xfrm>
                <a:off x="8185995" y="3544795"/>
                <a:ext cx="18324" cy="18458"/>
              </a:xfrm>
              <a:custGeom>
                <a:avLst/>
                <a:gdLst>
                  <a:gd name="connsiteX0" fmla="*/ 8032 w 18324"/>
                  <a:gd name="connsiteY0" fmla="*/ 18380 h 18458"/>
                  <a:gd name="connsiteX1" fmla="*/ 18259 w 18324"/>
                  <a:gd name="connsiteY1" fmla="*/ 10425 h 18458"/>
                  <a:gd name="connsiteX2" fmla="*/ 10305 w 18324"/>
                  <a:gd name="connsiteY2" fmla="*/ 79 h 18458"/>
                  <a:gd name="connsiteX3" fmla="*/ 78 w 18324"/>
                  <a:gd name="connsiteY3" fmla="*/ 8033 h 18458"/>
                  <a:gd name="connsiteX4" fmla="*/ 8032 w 18324"/>
                  <a:gd name="connsiteY4" fmla="*/ 18380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8">
                    <a:moveTo>
                      <a:pt x="8032" y="18380"/>
                    </a:moveTo>
                    <a:cubicBezTo>
                      <a:pt x="13055" y="19038"/>
                      <a:pt x="17661" y="15509"/>
                      <a:pt x="18259" y="10425"/>
                    </a:cubicBezTo>
                    <a:cubicBezTo>
                      <a:pt x="18857" y="5342"/>
                      <a:pt x="15328" y="737"/>
                      <a:pt x="10305" y="79"/>
                    </a:cubicBezTo>
                    <a:cubicBezTo>
                      <a:pt x="5281" y="-579"/>
                      <a:pt x="676" y="2950"/>
                      <a:pt x="78" y="8033"/>
                    </a:cubicBezTo>
                    <a:cubicBezTo>
                      <a:pt x="-580" y="13117"/>
                      <a:pt x="3008" y="17722"/>
                      <a:pt x="8032" y="18380"/>
                    </a:cubicBezTo>
                    <a:close/>
                  </a:path>
                </a:pathLst>
              </a:custGeom>
              <a:grpFill/>
              <a:ln w="5978" cap="flat">
                <a:noFill/>
                <a:prstDash val="solid"/>
                <a:miter/>
              </a:ln>
            </p:spPr>
            <p:txBody>
              <a:bodyPr rtlCol="0" anchor="ctr"/>
              <a:lstStyle/>
              <a:p>
                <a:endParaRPr lang="en-GB"/>
              </a:p>
            </p:txBody>
          </p:sp>
        </p:grpSp>
        <p:grpSp>
          <p:nvGrpSpPr>
            <p:cNvPr id="141" name="Graphic 3">
              <a:extLst>
                <a:ext uri="{FF2B5EF4-FFF2-40B4-BE49-F238E27FC236}">
                  <a16:creationId xmlns:a16="http://schemas.microsoft.com/office/drawing/2014/main" id="{5F7D4A4E-AA57-4759-9281-FCA0A5AE6C6B}"/>
                </a:ext>
              </a:extLst>
            </p:cNvPr>
            <p:cNvGrpSpPr/>
            <p:nvPr/>
          </p:nvGrpSpPr>
          <p:grpSpPr>
            <a:xfrm>
              <a:off x="7270545" y="1938237"/>
              <a:ext cx="395143" cy="322849"/>
              <a:chOff x="7270545" y="1938237"/>
              <a:chExt cx="395143" cy="322849"/>
            </a:xfrm>
            <a:grpFill/>
          </p:grpSpPr>
          <p:sp>
            <p:nvSpPr>
              <p:cNvPr id="4955" name="Vrije vorm: vorm 4954">
                <a:extLst>
                  <a:ext uri="{FF2B5EF4-FFF2-40B4-BE49-F238E27FC236}">
                    <a16:creationId xmlns:a16="http://schemas.microsoft.com/office/drawing/2014/main" id="{5AECB5D9-5990-4359-A9DC-ED22AD5EA390}"/>
                  </a:ext>
                </a:extLst>
              </p:cNvPr>
              <p:cNvSpPr/>
              <p:nvPr/>
            </p:nvSpPr>
            <p:spPr>
              <a:xfrm>
                <a:off x="7278439" y="1945987"/>
                <a:ext cx="379416" cy="307409"/>
              </a:xfrm>
              <a:custGeom>
                <a:avLst/>
                <a:gdLst>
                  <a:gd name="connsiteX0" fmla="*/ 379417 w 379416"/>
                  <a:gd name="connsiteY0" fmla="*/ 2392 h 307409"/>
                  <a:gd name="connsiteX1" fmla="*/ 1914 w 379416"/>
                  <a:gd name="connsiteY1" fmla="*/ 307409 h 307409"/>
                  <a:gd name="connsiteX2" fmla="*/ 0 w 379416"/>
                  <a:gd name="connsiteY2" fmla="*/ 305017 h 307409"/>
                  <a:gd name="connsiteX3" fmla="*/ 377503 w 379416"/>
                  <a:gd name="connsiteY3" fmla="*/ 0 h 307409"/>
                </a:gdLst>
                <a:ahLst/>
                <a:cxnLst>
                  <a:cxn ang="0">
                    <a:pos x="connsiteX0" y="connsiteY0"/>
                  </a:cxn>
                  <a:cxn ang="0">
                    <a:pos x="connsiteX1" y="connsiteY1"/>
                  </a:cxn>
                  <a:cxn ang="0">
                    <a:pos x="connsiteX2" y="connsiteY2"/>
                  </a:cxn>
                  <a:cxn ang="0">
                    <a:pos x="connsiteX3" y="connsiteY3"/>
                  </a:cxn>
                </a:cxnLst>
                <a:rect l="l" t="t" r="r" b="b"/>
                <a:pathLst>
                  <a:path w="379416" h="307409">
                    <a:moveTo>
                      <a:pt x="379417" y="2392"/>
                    </a:moveTo>
                    <a:lnTo>
                      <a:pt x="1914" y="307409"/>
                    </a:lnTo>
                    <a:lnTo>
                      <a:pt x="0" y="305017"/>
                    </a:lnTo>
                    <a:lnTo>
                      <a:pt x="377503" y="0"/>
                    </a:lnTo>
                    <a:close/>
                  </a:path>
                </a:pathLst>
              </a:custGeom>
              <a:grpFill/>
              <a:ln w="5978" cap="flat">
                <a:noFill/>
                <a:prstDash val="solid"/>
                <a:miter/>
              </a:ln>
            </p:spPr>
            <p:txBody>
              <a:bodyPr rtlCol="0" anchor="ctr"/>
              <a:lstStyle/>
              <a:p>
                <a:endParaRPr lang="en-GB"/>
              </a:p>
            </p:txBody>
          </p:sp>
          <p:sp>
            <p:nvSpPr>
              <p:cNvPr id="4956" name="Vrije vorm: vorm 4955">
                <a:extLst>
                  <a:ext uri="{FF2B5EF4-FFF2-40B4-BE49-F238E27FC236}">
                    <a16:creationId xmlns:a16="http://schemas.microsoft.com/office/drawing/2014/main" id="{C720CB43-0D3D-4842-95C3-587D74BADCA6}"/>
                  </a:ext>
                </a:extLst>
              </p:cNvPr>
              <p:cNvSpPr/>
              <p:nvPr/>
            </p:nvSpPr>
            <p:spPr>
              <a:xfrm>
                <a:off x="7270545" y="2242637"/>
                <a:ext cx="18358" cy="18449"/>
              </a:xfrm>
              <a:custGeom>
                <a:avLst/>
                <a:gdLst>
                  <a:gd name="connsiteX0" fmla="*/ 14950 w 18358"/>
                  <a:gd name="connsiteY0" fmla="*/ 16441 h 18449"/>
                  <a:gd name="connsiteX1" fmla="*/ 2032 w 18358"/>
                  <a:gd name="connsiteY1" fmla="*/ 15006 h 18449"/>
                  <a:gd name="connsiteX2" fmla="*/ 3408 w 18358"/>
                  <a:gd name="connsiteY2" fmla="*/ 2028 h 18449"/>
                  <a:gd name="connsiteX3" fmla="*/ 16326 w 18358"/>
                  <a:gd name="connsiteY3" fmla="*/ 3463 h 18449"/>
                  <a:gd name="connsiteX4" fmla="*/ 14950 w 18358"/>
                  <a:gd name="connsiteY4" fmla="*/ 16441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9">
                    <a:moveTo>
                      <a:pt x="14950" y="16441"/>
                    </a:moveTo>
                    <a:cubicBezTo>
                      <a:pt x="11004" y="19611"/>
                      <a:pt x="5262" y="18953"/>
                      <a:pt x="2032" y="15006"/>
                    </a:cubicBezTo>
                    <a:cubicBezTo>
                      <a:pt x="-1137" y="11058"/>
                      <a:pt x="-540" y="5257"/>
                      <a:pt x="3408" y="2028"/>
                    </a:cubicBezTo>
                    <a:cubicBezTo>
                      <a:pt x="7355" y="-1142"/>
                      <a:pt x="13097" y="-544"/>
                      <a:pt x="16326" y="3463"/>
                    </a:cubicBezTo>
                    <a:cubicBezTo>
                      <a:pt x="19496" y="7470"/>
                      <a:pt x="18898" y="13271"/>
                      <a:pt x="14950" y="16441"/>
                    </a:cubicBezTo>
                    <a:close/>
                  </a:path>
                </a:pathLst>
              </a:custGeom>
              <a:grpFill/>
              <a:ln w="5978" cap="flat">
                <a:noFill/>
                <a:prstDash val="solid"/>
                <a:miter/>
              </a:ln>
            </p:spPr>
            <p:txBody>
              <a:bodyPr rtlCol="0" anchor="ctr"/>
              <a:lstStyle/>
              <a:p>
                <a:endParaRPr lang="en-GB"/>
              </a:p>
            </p:txBody>
          </p:sp>
          <p:sp>
            <p:nvSpPr>
              <p:cNvPr id="4957" name="Vrije vorm: vorm 4956">
                <a:extLst>
                  <a:ext uri="{FF2B5EF4-FFF2-40B4-BE49-F238E27FC236}">
                    <a16:creationId xmlns:a16="http://schemas.microsoft.com/office/drawing/2014/main" id="{CCA54C70-D8D8-4397-AA61-E48A9F9B859A}"/>
                  </a:ext>
                </a:extLst>
              </p:cNvPr>
              <p:cNvSpPr/>
              <p:nvPr/>
            </p:nvSpPr>
            <p:spPr>
              <a:xfrm>
                <a:off x="7647331" y="1938237"/>
                <a:ext cx="18358" cy="18430"/>
              </a:xfrm>
              <a:custGeom>
                <a:avLst/>
                <a:gdLst>
                  <a:gd name="connsiteX0" fmla="*/ 14950 w 18358"/>
                  <a:gd name="connsiteY0" fmla="*/ 16422 h 18430"/>
                  <a:gd name="connsiteX1" fmla="*/ 16326 w 18358"/>
                  <a:gd name="connsiteY1" fmla="*/ 3444 h 18430"/>
                  <a:gd name="connsiteX2" fmla="*/ 3408 w 18358"/>
                  <a:gd name="connsiteY2" fmla="*/ 2009 h 18430"/>
                  <a:gd name="connsiteX3" fmla="*/ 2032 w 18358"/>
                  <a:gd name="connsiteY3" fmla="*/ 14987 h 18430"/>
                  <a:gd name="connsiteX4" fmla="*/ 14950 w 18358"/>
                  <a:gd name="connsiteY4" fmla="*/ 1642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30">
                    <a:moveTo>
                      <a:pt x="14950" y="16422"/>
                    </a:moveTo>
                    <a:cubicBezTo>
                      <a:pt x="18898" y="13252"/>
                      <a:pt x="19496" y="7451"/>
                      <a:pt x="16326" y="3444"/>
                    </a:cubicBezTo>
                    <a:cubicBezTo>
                      <a:pt x="13157" y="-503"/>
                      <a:pt x="7355" y="-1161"/>
                      <a:pt x="3408" y="2009"/>
                    </a:cubicBezTo>
                    <a:cubicBezTo>
                      <a:pt x="-540" y="5178"/>
                      <a:pt x="-1137" y="10980"/>
                      <a:pt x="2032" y="14987"/>
                    </a:cubicBezTo>
                    <a:cubicBezTo>
                      <a:pt x="5262" y="18934"/>
                      <a:pt x="11063" y="19592"/>
                      <a:pt x="14950" y="16422"/>
                    </a:cubicBezTo>
                    <a:close/>
                  </a:path>
                </a:pathLst>
              </a:custGeom>
              <a:grpFill/>
              <a:ln w="5978" cap="flat">
                <a:noFill/>
                <a:prstDash val="solid"/>
                <a:miter/>
              </a:ln>
            </p:spPr>
            <p:txBody>
              <a:bodyPr rtlCol="0" anchor="ctr"/>
              <a:lstStyle/>
              <a:p>
                <a:endParaRPr lang="en-GB"/>
              </a:p>
            </p:txBody>
          </p:sp>
        </p:grpSp>
        <p:grpSp>
          <p:nvGrpSpPr>
            <p:cNvPr id="142" name="Graphic 3">
              <a:extLst>
                <a:ext uri="{FF2B5EF4-FFF2-40B4-BE49-F238E27FC236}">
                  <a16:creationId xmlns:a16="http://schemas.microsoft.com/office/drawing/2014/main" id="{7B68FC39-B777-4AC7-A1C0-CDF67293FD36}"/>
                </a:ext>
              </a:extLst>
            </p:cNvPr>
            <p:cNvGrpSpPr/>
            <p:nvPr/>
          </p:nvGrpSpPr>
          <p:grpSpPr>
            <a:xfrm>
              <a:off x="7721502" y="3514290"/>
              <a:ext cx="473516" cy="88524"/>
              <a:chOff x="7721502" y="3514290"/>
              <a:chExt cx="473516" cy="88524"/>
            </a:xfrm>
            <a:grpFill/>
          </p:grpSpPr>
          <p:sp>
            <p:nvSpPr>
              <p:cNvPr id="4952" name="Vrije vorm: vorm 4951">
                <a:extLst>
                  <a:ext uri="{FF2B5EF4-FFF2-40B4-BE49-F238E27FC236}">
                    <a16:creationId xmlns:a16="http://schemas.microsoft.com/office/drawing/2014/main" id="{698232A2-B2E9-4E3A-9A1D-8DFFDC0DF7B8}"/>
                  </a:ext>
                </a:extLst>
              </p:cNvPr>
              <p:cNvSpPr/>
              <p:nvPr/>
            </p:nvSpPr>
            <p:spPr>
              <a:xfrm>
                <a:off x="7732674" y="3524180"/>
                <a:ext cx="453877" cy="70991"/>
              </a:xfrm>
              <a:custGeom>
                <a:avLst/>
                <a:gdLst>
                  <a:gd name="connsiteX0" fmla="*/ 453877 w 453877"/>
                  <a:gd name="connsiteY0" fmla="*/ 67941 h 70991"/>
                  <a:gd name="connsiteX1" fmla="*/ 453399 w 453877"/>
                  <a:gd name="connsiteY1" fmla="*/ 70991 h 70991"/>
                  <a:gd name="connsiteX2" fmla="*/ 0 w 453877"/>
                  <a:gd name="connsiteY2" fmla="*/ 2990 h 70991"/>
                  <a:gd name="connsiteX3" fmla="*/ 419 w 453877"/>
                  <a:gd name="connsiteY3" fmla="*/ 0 h 70991"/>
                </a:gdLst>
                <a:ahLst/>
                <a:cxnLst>
                  <a:cxn ang="0">
                    <a:pos x="connsiteX0" y="connsiteY0"/>
                  </a:cxn>
                  <a:cxn ang="0">
                    <a:pos x="connsiteX1" y="connsiteY1"/>
                  </a:cxn>
                  <a:cxn ang="0">
                    <a:pos x="connsiteX2" y="connsiteY2"/>
                  </a:cxn>
                  <a:cxn ang="0">
                    <a:pos x="connsiteX3" y="connsiteY3"/>
                  </a:cxn>
                </a:cxnLst>
                <a:rect l="l" t="t" r="r" b="b"/>
                <a:pathLst>
                  <a:path w="453877" h="70991">
                    <a:moveTo>
                      <a:pt x="453877" y="67941"/>
                    </a:moveTo>
                    <a:lnTo>
                      <a:pt x="453399" y="70991"/>
                    </a:lnTo>
                    <a:lnTo>
                      <a:pt x="0" y="2990"/>
                    </a:lnTo>
                    <a:lnTo>
                      <a:pt x="419" y="0"/>
                    </a:lnTo>
                    <a:close/>
                  </a:path>
                </a:pathLst>
              </a:custGeom>
              <a:grpFill/>
              <a:ln w="5978" cap="flat">
                <a:noFill/>
                <a:prstDash val="solid"/>
                <a:miter/>
              </a:ln>
            </p:spPr>
            <p:txBody>
              <a:bodyPr rtlCol="0" anchor="ctr"/>
              <a:lstStyle/>
              <a:p>
                <a:endParaRPr lang="en-GB"/>
              </a:p>
            </p:txBody>
          </p:sp>
          <p:sp>
            <p:nvSpPr>
              <p:cNvPr id="4953" name="Vrije vorm: vorm 4952">
                <a:extLst>
                  <a:ext uri="{FF2B5EF4-FFF2-40B4-BE49-F238E27FC236}">
                    <a16:creationId xmlns:a16="http://schemas.microsoft.com/office/drawing/2014/main" id="{CD312085-A7CA-4731-AEF4-E06E26870131}"/>
                  </a:ext>
                </a:extLst>
              </p:cNvPr>
              <p:cNvSpPr/>
              <p:nvPr/>
            </p:nvSpPr>
            <p:spPr>
              <a:xfrm>
                <a:off x="7721502" y="3514290"/>
                <a:ext cx="23109" cy="23185"/>
              </a:xfrm>
              <a:custGeom>
                <a:avLst/>
                <a:gdLst>
                  <a:gd name="connsiteX0" fmla="*/ 20254 w 23109"/>
                  <a:gd name="connsiteY0" fmla="*/ 8756 h 23185"/>
                  <a:gd name="connsiteX1" fmla="*/ 14410 w 23109"/>
                  <a:gd name="connsiteY1" fmla="*/ 20349 h 23185"/>
                  <a:gd name="connsiteX2" fmla="*/ 2855 w 23109"/>
                  <a:gd name="connsiteY2" fmla="*/ 14430 h 23185"/>
                  <a:gd name="connsiteX3" fmla="*/ 8699 w 23109"/>
                  <a:gd name="connsiteY3" fmla="*/ 2837 h 23185"/>
                  <a:gd name="connsiteX4" fmla="*/ 20254 w 23109"/>
                  <a:gd name="connsiteY4" fmla="*/ 8756 h 23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09" h="23185">
                    <a:moveTo>
                      <a:pt x="20254" y="8756"/>
                    </a:moveTo>
                    <a:cubicBezTo>
                      <a:pt x="21831" y="13592"/>
                      <a:pt x="19214" y="18783"/>
                      <a:pt x="14410" y="20349"/>
                    </a:cubicBezTo>
                    <a:cubicBezTo>
                      <a:pt x="9605" y="21916"/>
                      <a:pt x="4432" y="19266"/>
                      <a:pt x="2855" y="14430"/>
                    </a:cubicBezTo>
                    <a:cubicBezTo>
                      <a:pt x="1278" y="9594"/>
                      <a:pt x="3895" y="4403"/>
                      <a:pt x="8699" y="2837"/>
                    </a:cubicBezTo>
                    <a:cubicBezTo>
                      <a:pt x="13504" y="1270"/>
                      <a:pt x="18677" y="3920"/>
                      <a:pt x="20254" y="8756"/>
                    </a:cubicBezTo>
                    <a:close/>
                  </a:path>
                </a:pathLst>
              </a:custGeom>
              <a:grpFill/>
              <a:ln w="5978" cap="flat">
                <a:noFill/>
                <a:prstDash val="solid"/>
                <a:miter/>
              </a:ln>
            </p:spPr>
            <p:txBody>
              <a:bodyPr rtlCol="0" anchor="ctr"/>
              <a:lstStyle/>
              <a:p>
                <a:endParaRPr lang="en-GB"/>
              </a:p>
            </p:txBody>
          </p:sp>
          <p:sp>
            <p:nvSpPr>
              <p:cNvPr id="4954" name="Vrije vorm: vorm 4953">
                <a:extLst>
                  <a:ext uri="{FF2B5EF4-FFF2-40B4-BE49-F238E27FC236}">
                    <a16:creationId xmlns:a16="http://schemas.microsoft.com/office/drawing/2014/main" id="{D3DA6924-2CB2-44EA-A5FA-001967ACC590}"/>
                  </a:ext>
                </a:extLst>
              </p:cNvPr>
              <p:cNvSpPr/>
              <p:nvPr/>
            </p:nvSpPr>
            <p:spPr>
              <a:xfrm>
                <a:off x="8176650" y="3584358"/>
                <a:ext cx="18368" cy="18456"/>
              </a:xfrm>
              <a:custGeom>
                <a:avLst/>
                <a:gdLst>
                  <a:gd name="connsiteX0" fmla="*/ 7868 w 18368"/>
                  <a:gd name="connsiteY0" fmla="*/ 18349 h 18456"/>
                  <a:gd name="connsiteX1" fmla="*/ 18274 w 18368"/>
                  <a:gd name="connsiteY1" fmla="*/ 10574 h 18456"/>
                  <a:gd name="connsiteX2" fmla="*/ 10499 w 18368"/>
                  <a:gd name="connsiteY2" fmla="*/ 107 h 18456"/>
                  <a:gd name="connsiteX3" fmla="*/ 93 w 18368"/>
                  <a:gd name="connsiteY3" fmla="*/ 7882 h 18456"/>
                  <a:gd name="connsiteX4" fmla="*/ 7868 w 18368"/>
                  <a:gd name="connsiteY4" fmla="*/ 1834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56">
                    <a:moveTo>
                      <a:pt x="7868" y="18349"/>
                    </a:moveTo>
                    <a:cubicBezTo>
                      <a:pt x="12892" y="19126"/>
                      <a:pt x="17497" y="15598"/>
                      <a:pt x="18274" y="10574"/>
                    </a:cubicBezTo>
                    <a:cubicBezTo>
                      <a:pt x="18992" y="5550"/>
                      <a:pt x="15523" y="825"/>
                      <a:pt x="10499" y="107"/>
                    </a:cubicBezTo>
                    <a:cubicBezTo>
                      <a:pt x="5476" y="-670"/>
                      <a:pt x="870" y="2859"/>
                      <a:pt x="93" y="7882"/>
                    </a:cubicBezTo>
                    <a:cubicBezTo>
                      <a:pt x="-625" y="12906"/>
                      <a:pt x="2904" y="17571"/>
                      <a:pt x="7868" y="18349"/>
                    </a:cubicBezTo>
                    <a:close/>
                  </a:path>
                </a:pathLst>
              </a:custGeom>
              <a:grpFill/>
              <a:ln w="5978" cap="flat">
                <a:noFill/>
                <a:prstDash val="solid"/>
                <a:miter/>
              </a:ln>
            </p:spPr>
            <p:txBody>
              <a:bodyPr rtlCol="0" anchor="ctr"/>
              <a:lstStyle/>
              <a:p>
                <a:endParaRPr lang="en-GB"/>
              </a:p>
            </p:txBody>
          </p:sp>
        </p:grpSp>
        <p:grpSp>
          <p:nvGrpSpPr>
            <p:cNvPr id="143" name="Graphic 3">
              <a:extLst>
                <a:ext uri="{FF2B5EF4-FFF2-40B4-BE49-F238E27FC236}">
                  <a16:creationId xmlns:a16="http://schemas.microsoft.com/office/drawing/2014/main" id="{7796EFBC-E0CC-4B89-AB07-9F3CDC3B0609}"/>
                </a:ext>
              </a:extLst>
            </p:cNvPr>
            <p:cNvGrpSpPr/>
            <p:nvPr/>
          </p:nvGrpSpPr>
          <p:grpSpPr>
            <a:xfrm>
              <a:off x="7661218" y="2675481"/>
              <a:ext cx="27783" cy="22710"/>
              <a:chOff x="7661218" y="2675481"/>
              <a:chExt cx="27783" cy="22710"/>
            </a:xfrm>
            <a:grpFill/>
          </p:grpSpPr>
          <p:sp>
            <p:nvSpPr>
              <p:cNvPr id="4949" name="Vrije vorm: vorm 4948">
                <a:extLst>
                  <a:ext uri="{FF2B5EF4-FFF2-40B4-BE49-F238E27FC236}">
                    <a16:creationId xmlns:a16="http://schemas.microsoft.com/office/drawing/2014/main" id="{513C4992-C339-4EA1-9026-838F74C1B0E4}"/>
                  </a:ext>
                </a:extLst>
              </p:cNvPr>
              <p:cNvSpPr/>
              <p:nvPr/>
            </p:nvSpPr>
            <p:spPr>
              <a:xfrm>
                <a:off x="7669339" y="2683111"/>
                <a:ext cx="11542" cy="7416"/>
              </a:xfrm>
              <a:custGeom>
                <a:avLst/>
                <a:gdLst>
                  <a:gd name="connsiteX0" fmla="*/ 11542 w 11542"/>
                  <a:gd name="connsiteY0" fmla="*/ 2811 h 7416"/>
                  <a:gd name="connsiteX1" fmla="*/ 1256 w 11542"/>
                  <a:gd name="connsiteY1" fmla="*/ 7416 h 7416"/>
                  <a:gd name="connsiteX2" fmla="*/ 0 w 11542"/>
                  <a:gd name="connsiteY2" fmla="*/ 4665 h 7416"/>
                  <a:gd name="connsiteX3" fmla="*/ 10287 w 11542"/>
                  <a:gd name="connsiteY3" fmla="*/ 0 h 7416"/>
                </a:gdLst>
                <a:ahLst/>
                <a:cxnLst>
                  <a:cxn ang="0">
                    <a:pos x="connsiteX0" y="connsiteY0"/>
                  </a:cxn>
                  <a:cxn ang="0">
                    <a:pos x="connsiteX1" y="connsiteY1"/>
                  </a:cxn>
                  <a:cxn ang="0">
                    <a:pos x="connsiteX2" y="connsiteY2"/>
                  </a:cxn>
                  <a:cxn ang="0">
                    <a:pos x="connsiteX3" y="connsiteY3"/>
                  </a:cxn>
                </a:cxnLst>
                <a:rect l="l" t="t" r="r" b="b"/>
                <a:pathLst>
                  <a:path w="11542" h="7416">
                    <a:moveTo>
                      <a:pt x="11542" y="2811"/>
                    </a:moveTo>
                    <a:lnTo>
                      <a:pt x="1256" y="7416"/>
                    </a:lnTo>
                    <a:lnTo>
                      <a:pt x="0" y="4665"/>
                    </a:lnTo>
                    <a:lnTo>
                      <a:pt x="10287" y="0"/>
                    </a:lnTo>
                    <a:close/>
                  </a:path>
                </a:pathLst>
              </a:custGeom>
              <a:grpFill/>
              <a:ln w="5978" cap="flat">
                <a:noFill/>
                <a:prstDash val="solid"/>
                <a:miter/>
              </a:ln>
            </p:spPr>
            <p:txBody>
              <a:bodyPr rtlCol="0" anchor="ctr"/>
              <a:lstStyle/>
              <a:p>
                <a:endParaRPr lang="en-GB"/>
              </a:p>
            </p:txBody>
          </p:sp>
          <p:sp>
            <p:nvSpPr>
              <p:cNvPr id="4950" name="Vrije vorm: vorm 4949">
                <a:extLst>
                  <a:ext uri="{FF2B5EF4-FFF2-40B4-BE49-F238E27FC236}">
                    <a16:creationId xmlns:a16="http://schemas.microsoft.com/office/drawing/2014/main" id="{7C2F848C-98D1-4DE1-B66E-FCAEDF91C7A1}"/>
                  </a:ext>
                </a:extLst>
              </p:cNvPr>
              <p:cNvSpPr/>
              <p:nvPr/>
            </p:nvSpPr>
            <p:spPr>
              <a:xfrm>
                <a:off x="7670668" y="2675481"/>
                <a:ext cx="18333" cy="18490"/>
              </a:xfrm>
              <a:custGeom>
                <a:avLst/>
                <a:gdLst>
                  <a:gd name="connsiteX0" fmla="*/ 5369 w 18333"/>
                  <a:gd name="connsiteY0" fmla="*/ 812 h 18490"/>
                  <a:gd name="connsiteX1" fmla="*/ 17510 w 18333"/>
                  <a:gd name="connsiteY1" fmla="*/ 5477 h 18490"/>
                  <a:gd name="connsiteX2" fmla="*/ 12965 w 18333"/>
                  <a:gd name="connsiteY2" fmla="*/ 17678 h 18490"/>
                  <a:gd name="connsiteX3" fmla="*/ 824 w 18333"/>
                  <a:gd name="connsiteY3" fmla="*/ 13013 h 18490"/>
                  <a:gd name="connsiteX4" fmla="*/ 5369 w 18333"/>
                  <a:gd name="connsiteY4" fmla="*/ 812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90">
                    <a:moveTo>
                      <a:pt x="5369" y="812"/>
                    </a:moveTo>
                    <a:cubicBezTo>
                      <a:pt x="9974" y="-1281"/>
                      <a:pt x="15416" y="812"/>
                      <a:pt x="17510" y="5477"/>
                    </a:cubicBezTo>
                    <a:cubicBezTo>
                      <a:pt x="19603" y="10142"/>
                      <a:pt x="17570" y="15585"/>
                      <a:pt x="12965" y="17678"/>
                    </a:cubicBezTo>
                    <a:cubicBezTo>
                      <a:pt x="8359" y="19771"/>
                      <a:pt x="2917" y="17678"/>
                      <a:pt x="824" y="13013"/>
                    </a:cubicBezTo>
                    <a:cubicBezTo>
                      <a:pt x="-1269" y="8348"/>
                      <a:pt x="764" y="2906"/>
                      <a:pt x="5369" y="812"/>
                    </a:cubicBezTo>
                    <a:close/>
                  </a:path>
                </a:pathLst>
              </a:custGeom>
              <a:grpFill/>
              <a:ln w="5978" cap="flat">
                <a:noFill/>
                <a:prstDash val="solid"/>
                <a:miter/>
              </a:ln>
            </p:spPr>
            <p:txBody>
              <a:bodyPr rtlCol="0" anchor="ctr"/>
              <a:lstStyle/>
              <a:p>
                <a:endParaRPr lang="en-GB"/>
              </a:p>
            </p:txBody>
          </p:sp>
          <p:sp>
            <p:nvSpPr>
              <p:cNvPr id="4951" name="Vrije vorm: vorm 4950">
                <a:extLst>
                  <a:ext uri="{FF2B5EF4-FFF2-40B4-BE49-F238E27FC236}">
                    <a16:creationId xmlns:a16="http://schemas.microsoft.com/office/drawing/2014/main" id="{F52E1F56-B5CF-4428-A9A6-962A40F35389}"/>
                  </a:ext>
                </a:extLst>
              </p:cNvPr>
              <p:cNvSpPr/>
              <p:nvPr/>
            </p:nvSpPr>
            <p:spPr>
              <a:xfrm>
                <a:off x="7661218" y="2679727"/>
                <a:ext cx="18333" cy="18464"/>
              </a:xfrm>
              <a:custGeom>
                <a:avLst/>
                <a:gdLst>
                  <a:gd name="connsiteX0" fmla="*/ 5369 w 18333"/>
                  <a:gd name="connsiteY0" fmla="*/ 812 h 18464"/>
                  <a:gd name="connsiteX1" fmla="*/ 824 w 18333"/>
                  <a:gd name="connsiteY1" fmla="*/ 13013 h 18464"/>
                  <a:gd name="connsiteX2" fmla="*/ 12964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5"/>
                      <a:pt x="-1270" y="8348"/>
                      <a:pt x="824" y="13013"/>
                    </a:cubicBezTo>
                    <a:cubicBezTo>
                      <a:pt x="2917" y="17678"/>
                      <a:pt x="8360" y="19711"/>
                      <a:pt x="12964" y="17678"/>
                    </a:cubicBezTo>
                    <a:cubicBezTo>
                      <a:pt x="17570" y="15585"/>
                      <a:pt x="19604"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44" name="Graphic 3">
              <a:extLst>
                <a:ext uri="{FF2B5EF4-FFF2-40B4-BE49-F238E27FC236}">
                  <a16:creationId xmlns:a16="http://schemas.microsoft.com/office/drawing/2014/main" id="{42515C0F-8118-4FA9-BA6F-E6A9D59021E4}"/>
                </a:ext>
              </a:extLst>
            </p:cNvPr>
            <p:cNvGrpSpPr/>
            <p:nvPr/>
          </p:nvGrpSpPr>
          <p:grpSpPr>
            <a:xfrm>
              <a:off x="7383190" y="1947183"/>
              <a:ext cx="104305" cy="106599"/>
              <a:chOff x="7383190" y="1947183"/>
              <a:chExt cx="104305" cy="106599"/>
            </a:xfrm>
            <a:grpFill/>
          </p:grpSpPr>
          <p:sp>
            <p:nvSpPr>
              <p:cNvPr id="4946" name="Vrije vorm: vorm 4945">
                <a:extLst>
                  <a:ext uri="{FF2B5EF4-FFF2-40B4-BE49-F238E27FC236}">
                    <a16:creationId xmlns:a16="http://schemas.microsoft.com/office/drawing/2014/main" id="{321317C7-F31D-43CD-ADC0-09AE5C30E361}"/>
                  </a:ext>
                </a:extLst>
              </p:cNvPr>
              <p:cNvSpPr/>
              <p:nvPr/>
            </p:nvSpPr>
            <p:spPr>
              <a:xfrm>
                <a:off x="7390936" y="1954959"/>
                <a:ext cx="88754" cy="91026"/>
              </a:xfrm>
              <a:custGeom>
                <a:avLst/>
                <a:gdLst>
                  <a:gd name="connsiteX0" fmla="*/ 88754 w 88754"/>
                  <a:gd name="connsiteY0" fmla="*/ 2153 h 91026"/>
                  <a:gd name="connsiteX1" fmla="*/ 2213 w 88754"/>
                  <a:gd name="connsiteY1" fmla="*/ 91027 h 91026"/>
                  <a:gd name="connsiteX2" fmla="*/ 0 w 88754"/>
                  <a:gd name="connsiteY2" fmla="*/ 88874 h 91026"/>
                  <a:gd name="connsiteX3" fmla="*/ 86601 w 88754"/>
                  <a:gd name="connsiteY3" fmla="*/ 0 h 91026"/>
                </a:gdLst>
                <a:ahLst/>
                <a:cxnLst>
                  <a:cxn ang="0">
                    <a:pos x="connsiteX0" y="connsiteY0"/>
                  </a:cxn>
                  <a:cxn ang="0">
                    <a:pos x="connsiteX1" y="connsiteY1"/>
                  </a:cxn>
                  <a:cxn ang="0">
                    <a:pos x="connsiteX2" y="connsiteY2"/>
                  </a:cxn>
                  <a:cxn ang="0">
                    <a:pos x="connsiteX3" y="connsiteY3"/>
                  </a:cxn>
                </a:cxnLst>
                <a:rect l="l" t="t" r="r" b="b"/>
                <a:pathLst>
                  <a:path w="88754" h="91026">
                    <a:moveTo>
                      <a:pt x="88754" y="2153"/>
                    </a:moveTo>
                    <a:lnTo>
                      <a:pt x="2213" y="91027"/>
                    </a:lnTo>
                    <a:lnTo>
                      <a:pt x="0" y="88874"/>
                    </a:lnTo>
                    <a:lnTo>
                      <a:pt x="86601" y="0"/>
                    </a:lnTo>
                    <a:close/>
                  </a:path>
                </a:pathLst>
              </a:custGeom>
              <a:grpFill/>
              <a:ln w="5978" cap="flat">
                <a:noFill/>
                <a:prstDash val="solid"/>
                <a:miter/>
              </a:ln>
            </p:spPr>
            <p:txBody>
              <a:bodyPr rtlCol="0" anchor="ctr"/>
              <a:lstStyle/>
              <a:p>
                <a:endParaRPr lang="en-GB"/>
              </a:p>
            </p:txBody>
          </p:sp>
          <p:sp>
            <p:nvSpPr>
              <p:cNvPr id="4947" name="Vrije vorm: vorm 4946">
                <a:extLst>
                  <a:ext uri="{FF2B5EF4-FFF2-40B4-BE49-F238E27FC236}">
                    <a16:creationId xmlns:a16="http://schemas.microsoft.com/office/drawing/2014/main" id="{83BA84BB-12BC-4D41-B24D-DE3B1A7B7901}"/>
                  </a:ext>
                </a:extLst>
              </p:cNvPr>
              <p:cNvSpPr/>
              <p:nvPr/>
            </p:nvSpPr>
            <p:spPr>
              <a:xfrm>
                <a:off x="7469133" y="1947183"/>
                <a:ext cx="18362" cy="18421"/>
              </a:xfrm>
              <a:custGeom>
                <a:avLst/>
                <a:gdLst>
                  <a:gd name="connsiteX0" fmla="*/ 2602 w 18362"/>
                  <a:gd name="connsiteY0" fmla="*/ 2751 h 18421"/>
                  <a:gd name="connsiteX1" fmla="*/ 15581 w 18362"/>
                  <a:gd name="connsiteY1" fmla="*/ 2632 h 18421"/>
                  <a:gd name="connsiteX2" fmla="*/ 15760 w 18362"/>
                  <a:gd name="connsiteY2" fmla="*/ 15670 h 18421"/>
                  <a:gd name="connsiteX3" fmla="*/ 2782 w 18362"/>
                  <a:gd name="connsiteY3" fmla="*/ 15789 h 18421"/>
                  <a:gd name="connsiteX4" fmla="*/ 2602 w 18362"/>
                  <a:gd name="connsiteY4" fmla="*/ 27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2602" y="2751"/>
                    </a:moveTo>
                    <a:cubicBezTo>
                      <a:pt x="6131" y="-897"/>
                      <a:pt x="11932" y="-897"/>
                      <a:pt x="15581" y="2632"/>
                    </a:cubicBezTo>
                    <a:cubicBezTo>
                      <a:pt x="19229" y="6220"/>
                      <a:pt x="19289" y="12021"/>
                      <a:pt x="15760" y="15670"/>
                    </a:cubicBezTo>
                    <a:cubicBezTo>
                      <a:pt x="12231" y="19318"/>
                      <a:pt x="6430" y="19318"/>
                      <a:pt x="2782" y="15789"/>
                    </a:cubicBezTo>
                    <a:cubicBezTo>
                      <a:pt x="-866" y="12201"/>
                      <a:pt x="-926" y="6340"/>
                      <a:pt x="2602" y="2751"/>
                    </a:cubicBezTo>
                    <a:close/>
                  </a:path>
                </a:pathLst>
              </a:custGeom>
              <a:grpFill/>
              <a:ln w="5978" cap="flat">
                <a:noFill/>
                <a:prstDash val="solid"/>
                <a:miter/>
              </a:ln>
            </p:spPr>
            <p:txBody>
              <a:bodyPr rtlCol="0" anchor="ctr"/>
              <a:lstStyle/>
              <a:p>
                <a:endParaRPr lang="en-GB"/>
              </a:p>
            </p:txBody>
          </p:sp>
          <p:sp>
            <p:nvSpPr>
              <p:cNvPr id="4948" name="Vrije vorm: vorm 4947">
                <a:extLst>
                  <a:ext uri="{FF2B5EF4-FFF2-40B4-BE49-F238E27FC236}">
                    <a16:creationId xmlns:a16="http://schemas.microsoft.com/office/drawing/2014/main" id="{B65F946D-BA00-48CB-B5BD-0C0773D84B58}"/>
                  </a:ext>
                </a:extLst>
              </p:cNvPr>
              <p:cNvSpPr/>
              <p:nvPr/>
            </p:nvSpPr>
            <p:spPr>
              <a:xfrm>
                <a:off x="7383190" y="2035361"/>
                <a:ext cx="18362" cy="18421"/>
              </a:xfrm>
              <a:custGeom>
                <a:avLst/>
                <a:gdLst>
                  <a:gd name="connsiteX0" fmla="*/ 2602 w 18362"/>
                  <a:gd name="connsiteY0" fmla="*/ 2729 h 18421"/>
                  <a:gd name="connsiteX1" fmla="*/ 2782 w 18362"/>
                  <a:gd name="connsiteY1" fmla="*/ 15767 h 18421"/>
                  <a:gd name="connsiteX2" fmla="*/ 15760 w 18362"/>
                  <a:gd name="connsiteY2" fmla="*/ 15647 h 18421"/>
                  <a:gd name="connsiteX3" fmla="*/ 15581 w 18362"/>
                  <a:gd name="connsiteY3" fmla="*/ 2610 h 18421"/>
                  <a:gd name="connsiteX4" fmla="*/ 2602 w 18362"/>
                  <a:gd name="connsiteY4" fmla="*/ 272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2602" y="2729"/>
                    </a:moveTo>
                    <a:cubicBezTo>
                      <a:pt x="-926" y="6377"/>
                      <a:pt x="-866" y="12179"/>
                      <a:pt x="2782" y="15767"/>
                    </a:cubicBezTo>
                    <a:cubicBezTo>
                      <a:pt x="6430" y="19356"/>
                      <a:pt x="12231" y="19296"/>
                      <a:pt x="15760" y="15647"/>
                    </a:cubicBezTo>
                    <a:cubicBezTo>
                      <a:pt x="19289" y="11999"/>
                      <a:pt x="19229" y="6198"/>
                      <a:pt x="15581" y="2610"/>
                    </a:cubicBezTo>
                    <a:cubicBezTo>
                      <a:pt x="11932" y="-919"/>
                      <a:pt x="6131" y="-859"/>
                      <a:pt x="2602" y="2729"/>
                    </a:cubicBezTo>
                    <a:close/>
                  </a:path>
                </a:pathLst>
              </a:custGeom>
              <a:grpFill/>
              <a:ln w="5978" cap="flat">
                <a:noFill/>
                <a:prstDash val="solid"/>
                <a:miter/>
              </a:ln>
            </p:spPr>
            <p:txBody>
              <a:bodyPr rtlCol="0" anchor="ctr"/>
              <a:lstStyle/>
              <a:p>
                <a:endParaRPr lang="en-GB"/>
              </a:p>
            </p:txBody>
          </p:sp>
        </p:grpSp>
        <p:grpSp>
          <p:nvGrpSpPr>
            <p:cNvPr id="145" name="Graphic 3">
              <a:extLst>
                <a:ext uri="{FF2B5EF4-FFF2-40B4-BE49-F238E27FC236}">
                  <a16:creationId xmlns:a16="http://schemas.microsoft.com/office/drawing/2014/main" id="{EE8B364F-B182-430F-B1CB-0DB8CEBC5988}"/>
                </a:ext>
              </a:extLst>
            </p:cNvPr>
            <p:cNvGrpSpPr/>
            <p:nvPr/>
          </p:nvGrpSpPr>
          <p:grpSpPr>
            <a:xfrm>
              <a:off x="7307462" y="2009063"/>
              <a:ext cx="400673" cy="303982"/>
              <a:chOff x="7307462" y="2009063"/>
              <a:chExt cx="400673" cy="303982"/>
            </a:xfrm>
            <a:grpFill/>
          </p:grpSpPr>
          <p:sp>
            <p:nvSpPr>
              <p:cNvPr id="4943" name="Vrije vorm: vorm 4942">
                <a:extLst>
                  <a:ext uri="{FF2B5EF4-FFF2-40B4-BE49-F238E27FC236}">
                    <a16:creationId xmlns:a16="http://schemas.microsoft.com/office/drawing/2014/main" id="{3650D971-8271-486D-B99D-13E609435C48}"/>
                  </a:ext>
                </a:extLst>
              </p:cNvPr>
              <p:cNvSpPr/>
              <p:nvPr/>
            </p:nvSpPr>
            <p:spPr>
              <a:xfrm>
                <a:off x="7315339" y="2016739"/>
                <a:ext cx="384860" cy="288569"/>
              </a:xfrm>
              <a:custGeom>
                <a:avLst/>
                <a:gdLst>
                  <a:gd name="connsiteX0" fmla="*/ 384860 w 384860"/>
                  <a:gd name="connsiteY0" fmla="*/ 2452 h 288569"/>
                  <a:gd name="connsiteX1" fmla="*/ 1795 w 384860"/>
                  <a:gd name="connsiteY1" fmla="*/ 288570 h 288569"/>
                  <a:gd name="connsiteX2" fmla="*/ 0 w 384860"/>
                  <a:gd name="connsiteY2" fmla="*/ 286118 h 288569"/>
                  <a:gd name="connsiteX3" fmla="*/ 383066 w 384860"/>
                  <a:gd name="connsiteY3" fmla="*/ 0 h 288569"/>
                </a:gdLst>
                <a:ahLst/>
                <a:cxnLst>
                  <a:cxn ang="0">
                    <a:pos x="connsiteX0" y="connsiteY0"/>
                  </a:cxn>
                  <a:cxn ang="0">
                    <a:pos x="connsiteX1" y="connsiteY1"/>
                  </a:cxn>
                  <a:cxn ang="0">
                    <a:pos x="connsiteX2" y="connsiteY2"/>
                  </a:cxn>
                  <a:cxn ang="0">
                    <a:pos x="connsiteX3" y="connsiteY3"/>
                  </a:cxn>
                </a:cxnLst>
                <a:rect l="l" t="t" r="r" b="b"/>
                <a:pathLst>
                  <a:path w="384860" h="288569">
                    <a:moveTo>
                      <a:pt x="384860" y="2452"/>
                    </a:moveTo>
                    <a:lnTo>
                      <a:pt x="1795" y="288570"/>
                    </a:lnTo>
                    <a:lnTo>
                      <a:pt x="0" y="286118"/>
                    </a:lnTo>
                    <a:lnTo>
                      <a:pt x="383066" y="0"/>
                    </a:lnTo>
                    <a:close/>
                  </a:path>
                </a:pathLst>
              </a:custGeom>
              <a:grpFill/>
              <a:ln w="5978" cap="flat">
                <a:noFill/>
                <a:prstDash val="solid"/>
                <a:miter/>
              </a:ln>
            </p:spPr>
            <p:txBody>
              <a:bodyPr rtlCol="0" anchor="ctr"/>
              <a:lstStyle/>
              <a:p>
                <a:endParaRPr lang="en-GB"/>
              </a:p>
            </p:txBody>
          </p:sp>
          <p:sp>
            <p:nvSpPr>
              <p:cNvPr id="4944" name="Vrije vorm: vorm 4943">
                <a:extLst>
                  <a:ext uri="{FF2B5EF4-FFF2-40B4-BE49-F238E27FC236}">
                    <a16:creationId xmlns:a16="http://schemas.microsoft.com/office/drawing/2014/main" id="{A3393142-3D7E-4C75-91C1-B397AC553029}"/>
                  </a:ext>
                </a:extLst>
              </p:cNvPr>
              <p:cNvSpPr/>
              <p:nvPr/>
            </p:nvSpPr>
            <p:spPr>
              <a:xfrm>
                <a:off x="7307462" y="2294642"/>
                <a:ext cx="18300" cy="18403"/>
              </a:xfrm>
              <a:custGeom>
                <a:avLst/>
                <a:gdLst>
                  <a:gd name="connsiteX0" fmla="*/ 14635 w 18300"/>
                  <a:gd name="connsiteY0" fmla="*/ 16588 h 18403"/>
                  <a:gd name="connsiteX1" fmla="*/ 1836 w 18300"/>
                  <a:gd name="connsiteY1" fmla="*/ 14674 h 18403"/>
                  <a:gd name="connsiteX2" fmla="*/ 3691 w 18300"/>
                  <a:gd name="connsiteY2" fmla="*/ 1815 h 18403"/>
                  <a:gd name="connsiteX3" fmla="*/ 16490 w 18300"/>
                  <a:gd name="connsiteY3" fmla="*/ 3729 h 18403"/>
                  <a:gd name="connsiteX4" fmla="*/ 14635 w 18300"/>
                  <a:gd name="connsiteY4" fmla="*/ 16588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03">
                    <a:moveTo>
                      <a:pt x="14635" y="16588"/>
                    </a:moveTo>
                    <a:cubicBezTo>
                      <a:pt x="10569" y="19638"/>
                      <a:pt x="4827" y="18741"/>
                      <a:pt x="1836" y="14674"/>
                    </a:cubicBezTo>
                    <a:cubicBezTo>
                      <a:pt x="-1213" y="10607"/>
                      <a:pt x="-376" y="4806"/>
                      <a:pt x="3691" y="1815"/>
                    </a:cubicBezTo>
                    <a:cubicBezTo>
                      <a:pt x="7758" y="-1235"/>
                      <a:pt x="13499" y="-338"/>
                      <a:pt x="16490" y="3729"/>
                    </a:cubicBezTo>
                    <a:cubicBezTo>
                      <a:pt x="19480" y="7796"/>
                      <a:pt x="18702" y="13538"/>
                      <a:pt x="14635" y="16588"/>
                    </a:cubicBezTo>
                    <a:close/>
                  </a:path>
                </a:pathLst>
              </a:custGeom>
              <a:grpFill/>
              <a:ln w="5978" cap="flat">
                <a:noFill/>
                <a:prstDash val="solid"/>
                <a:miter/>
              </a:ln>
            </p:spPr>
            <p:txBody>
              <a:bodyPr rtlCol="0" anchor="ctr"/>
              <a:lstStyle/>
              <a:p>
                <a:endParaRPr lang="en-GB"/>
              </a:p>
            </p:txBody>
          </p:sp>
          <p:sp>
            <p:nvSpPr>
              <p:cNvPr id="4945" name="Vrije vorm: vorm 4944">
                <a:extLst>
                  <a:ext uri="{FF2B5EF4-FFF2-40B4-BE49-F238E27FC236}">
                    <a16:creationId xmlns:a16="http://schemas.microsoft.com/office/drawing/2014/main" id="{EB012E65-C3C7-4896-BC34-5C68F27FBEA0}"/>
                  </a:ext>
                </a:extLst>
              </p:cNvPr>
              <p:cNvSpPr/>
              <p:nvPr/>
            </p:nvSpPr>
            <p:spPr>
              <a:xfrm>
                <a:off x="7689810" y="2009063"/>
                <a:ext cx="18326" cy="18420"/>
              </a:xfrm>
              <a:custGeom>
                <a:avLst/>
                <a:gdLst>
                  <a:gd name="connsiteX0" fmla="*/ 14636 w 18326"/>
                  <a:gd name="connsiteY0" fmla="*/ 16588 h 18420"/>
                  <a:gd name="connsiteX1" fmla="*/ 16489 w 18326"/>
                  <a:gd name="connsiteY1" fmla="*/ 3729 h 18420"/>
                  <a:gd name="connsiteX2" fmla="*/ 3691 w 18326"/>
                  <a:gd name="connsiteY2" fmla="*/ 1815 h 18420"/>
                  <a:gd name="connsiteX3" fmla="*/ 1837 w 18326"/>
                  <a:gd name="connsiteY3" fmla="*/ 14674 h 18420"/>
                  <a:gd name="connsiteX4" fmla="*/ 14636 w 18326"/>
                  <a:gd name="connsiteY4" fmla="*/ 16588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0">
                    <a:moveTo>
                      <a:pt x="14636" y="16588"/>
                    </a:moveTo>
                    <a:cubicBezTo>
                      <a:pt x="18702" y="13537"/>
                      <a:pt x="19539" y="7796"/>
                      <a:pt x="16489" y="3729"/>
                    </a:cubicBezTo>
                    <a:cubicBezTo>
                      <a:pt x="13440" y="-338"/>
                      <a:pt x="7698" y="-1235"/>
                      <a:pt x="3691" y="1815"/>
                    </a:cubicBezTo>
                    <a:cubicBezTo>
                      <a:pt x="-376" y="4865"/>
                      <a:pt x="-1213" y="10607"/>
                      <a:pt x="1837" y="14674"/>
                    </a:cubicBezTo>
                    <a:cubicBezTo>
                      <a:pt x="4827" y="18801"/>
                      <a:pt x="10568" y="19638"/>
                      <a:pt x="14636" y="16588"/>
                    </a:cubicBezTo>
                    <a:close/>
                  </a:path>
                </a:pathLst>
              </a:custGeom>
              <a:grpFill/>
              <a:ln w="5978" cap="flat">
                <a:noFill/>
                <a:prstDash val="solid"/>
                <a:miter/>
              </a:ln>
            </p:spPr>
            <p:txBody>
              <a:bodyPr rtlCol="0" anchor="ctr"/>
              <a:lstStyle/>
              <a:p>
                <a:endParaRPr lang="en-GB"/>
              </a:p>
            </p:txBody>
          </p:sp>
        </p:grpSp>
        <p:grpSp>
          <p:nvGrpSpPr>
            <p:cNvPr id="146" name="Graphic 3">
              <a:extLst>
                <a:ext uri="{FF2B5EF4-FFF2-40B4-BE49-F238E27FC236}">
                  <a16:creationId xmlns:a16="http://schemas.microsoft.com/office/drawing/2014/main" id="{00F2A42E-9F23-40F2-B164-CC1B42E2B505}"/>
                </a:ext>
              </a:extLst>
            </p:cNvPr>
            <p:cNvGrpSpPr/>
            <p:nvPr/>
          </p:nvGrpSpPr>
          <p:grpSpPr>
            <a:xfrm>
              <a:off x="7564839" y="2646617"/>
              <a:ext cx="184456" cy="62222"/>
              <a:chOff x="7564839" y="2646617"/>
              <a:chExt cx="184456" cy="62222"/>
            </a:xfrm>
            <a:grpFill/>
          </p:grpSpPr>
          <p:sp>
            <p:nvSpPr>
              <p:cNvPr id="4940" name="Vrije vorm: vorm 4939">
                <a:extLst>
                  <a:ext uri="{FF2B5EF4-FFF2-40B4-BE49-F238E27FC236}">
                    <a16:creationId xmlns:a16="http://schemas.microsoft.com/office/drawing/2014/main" id="{EA20C0A8-9925-43F8-8973-9F4D9466A9AB}"/>
                  </a:ext>
                </a:extLst>
              </p:cNvPr>
              <p:cNvSpPr/>
              <p:nvPr/>
            </p:nvSpPr>
            <p:spPr>
              <a:xfrm>
                <a:off x="7573286" y="2654509"/>
                <a:ext cx="167678" cy="47201"/>
              </a:xfrm>
              <a:custGeom>
                <a:avLst/>
                <a:gdLst>
                  <a:gd name="connsiteX0" fmla="*/ 0 w 167678"/>
                  <a:gd name="connsiteY0" fmla="*/ 44254 h 47201"/>
                  <a:gd name="connsiteX1" fmla="*/ 166897 w 167678"/>
                  <a:gd name="connsiteY1" fmla="*/ 0 h 47201"/>
                  <a:gd name="connsiteX2" fmla="*/ 167678 w 167678"/>
                  <a:gd name="connsiteY2" fmla="*/ 2948 h 47201"/>
                  <a:gd name="connsiteX3" fmla="*/ 782 w 167678"/>
                  <a:gd name="connsiteY3" fmla="*/ 47202 h 47201"/>
                </a:gdLst>
                <a:ahLst/>
                <a:cxnLst>
                  <a:cxn ang="0">
                    <a:pos x="connsiteX0" y="connsiteY0"/>
                  </a:cxn>
                  <a:cxn ang="0">
                    <a:pos x="connsiteX1" y="connsiteY1"/>
                  </a:cxn>
                  <a:cxn ang="0">
                    <a:pos x="connsiteX2" y="connsiteY2"/>
                  </a:cxn>
                  <a:cxn ang="0">
                    <a:pos x="connsiteX3" y="connsiteY3"/>
                  </a:cxn>
                </a:cxnLst>
                <a:rect l="l" t="t" r="r" b="b"/>
                <a:pathLst>
                  <a:path w="167678" h="47201">
                    <a:moveTo>
                      <a:pt x="0" y="44254"/>
                    </a:moveTo>
                    <a:lnTo>
                      <a:pt x="166897" y="0"/>
                    </a:lnTo>
                    <a:lnTo>
                      <a:pt x="167678" y="2948"/>
                    </a:lnTo>
                    <a:lnTo>
                      <a:pt x="782" y="47202"/>
                    </a:lnTo>
                    <a:close/>
                  </a:path>
                </a:pathLst>
              </a:custGeom>
              <a:grpFill/>
              <a:ln w="5978" cap="flat">
                <a:noFill/>
                <a:prstDash val="solid"/>
                <a:miter/>
              </a:ln>
            </p:spPr>
            <p:txBody>
              <a:bodyPr rtlCol="0" anchor="ctr"/>
              <a:lstStyle/>
              <a:p>
                <a:endParaRPr lang="en-GB"/>
              </a:p>
            </p:txBody>
          </p:sp>
          <p:sp>
            <p:nvSpPr>
              <p:cNvPr id="4941" name="Vrije vorm: vorm 4940">
                <a:extLst>
                  <a:ext uri="{FF2B5EF4-FFF2-40B4-BE49-F238E27FC236}">
                    <a16:creationId xmlns:a16="http://schemas.microsoft.com/office/drawing/2014/main" id="{9400732A-A4C8-48B6-81D4-C7AE113E8A12}"/>
                  </a:ext>
                </a:extLst>
              </p:cNvPr>
              <p:cNvSpPr/>
              <p:nvPr/>
            </p:nvSpPr>
            <p:spPr>
              <a:xfrm>
                <a:off x="7564839" y="2690396"/>
                <a:ext cx="18357" cy="18443"/>
              </a:xfrm>
              <a:custGeom>
                <a:avLst/>
                <a:gdLst>
                  <a:gd name="connsiteX0" fmla="*/ 11559 w 18357"/>
                  <a:gd name="connsiteY0" fmla="*/ 18133 h 18443"/>
                  <a:gd name="connsiteX1" fmla="*/ 315 w 18357"/>
                  <a:gd name="connsiteY1" fmla="*/ 11554 h 18443"/>
                  <a:gd name="connsiteX2" fmla="*/ 6834 w 18357"/>
                  <a:gd name="connsiteY2" fmla="*/ 311 h 18443"/>
                  <a:gd name="connsiteX3" fmla="*/ 18018 w 18357"/>
                  <a:gd name="connsiteY3" fmla="*/ 6889 h 18443"/>
                  <a:gd name="connsiteX4" fmla="*/ 11559 w 18357"/>
                  <a:gd name="connsiteY4" fmla="*/ 1813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3">
                    <a:moveTo>
                      <a:pt x="11559" y="18133"/>
                    </a:moveTo>
                    <a:cubicBezTo>
                      <a:pt x="6655" y="19449"/>
                      <a:pt x="1630" y="16459"/>
                      <a:pt x="315" y="11554"/>
                    </a:cubicBezTo>
                    <a:cubicBezTo>
                      <a:pt x="-1001" y="6650"/>
                      <a:pt x="1930" y="1626"/>
                      <a:pt x="6834" y="311"/>
                    </a:cubicBezTo>
                    <a:cubicBezTo>
                      <a:pt x="11738" y="-1005"/>
                      <a:pt x="16762" y="1985"/>
                      <a:pt x="18018" y="6889"/>
                    </a:cubicBezTo>
                    <a:cubicBezTo>
                      <a:pt x="19394" y="11853"/>
                      <a:pt x="16463" y="16877"/>
                      <a:pt x="11559" y="18133"/>
                    </a:cubicBezTo>
                    <a:close/>
                  </a:path>
                </a:pathLst>
              </a:custGeom>
              <a:grpFill/>
              <a:ln w="5978" cap="flat">
                <a:noFill/>
                <a:prstDash val="solid"/>
                <a:miter/>
              </a:ln>
            </p:spPr>
            <p:txBody>
              <a:bodyPr rtlCol="0" anchor="ctr"/>
              <a:lstStyle/>
              <a:p>
                <a:endParaRPr lang="en-GB"/>
              </a:p>
            </p:txBody>
          </p:sp>
          <p:sp>
            <p:nvSpPr>
              <p:cNvPr id="4942" name="Vrije vorm: vorm 4941">
                <a:extLst>
                  <a:ext uri="{FF2B5EF4-FFF2-40B4-BE49-F238E27FC236}">
                    <a16:creationId xmlns:a16="http://schemas.microsoft.com/office/drawing/2014/main" id="{13D5F1EC-EF8B-4294-B16C-67868836EF8A}"/>
                  </a:ext>
                </a:extLst>
              </p:cNvPr>
              <p:cNvSpPr/>
              <p:nvPr/>
            </p:nvSpPr>
            <p:spPr>
              <a:xfrm>
                <a:off x="7730945" y="2646617"/>
                <a:ext cx="18351" cy="18447"/>
              </a:xfrm>
              <a:custGeom>
                <a:avLst/>
                <a:gdLst>
                  <a:gd name="connsiteX0" fmla="*/ 11538 w 18351"/>
                  <a:gd name="connsiteY0" fmla="*/ 18133 h 18447"/>
                  <a:gd name="connsiteX1" fmla="*/ 18057 w 18351"/>
                  <a:gd name="connsiteY1" fmla="*/ 6889 h 18447"/>
                  <a:gd name="connsiteX2" fmla="*/ 6813 w 18351"/>
                  <a:gd name="connsiteY2" fmla="*/ 311 h 18447"/>
                  <a:gd name="connsiteX3" fmla="*/ 294 w 18351"/>
                  <a:gd name="connsiteY3" fmla="*/ 11554 h 18447"/>
                  <a:gd name="connsiteX4" fmla="*/ 11538 w 18351"/>
                  <a:gd name="connsiteY4" fmla="*/ 18133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47">
                    <a:moveTo>
                      <a:pt x="11538" y="18133"/>
                    </a:moveTo>
                    <a:cubicBezTo>
                      <a:pt x="16442" y="16818"/>
                      <a:pt x="19313" y="11794"/>
                      <a:pt x="18057" y="6889"/>
                    </a:cubicBezTo>
                    <a:cubicBezTo>
                      <a:pt x="16741" y="1985"/>
                      <a:pt x="11718" y="-1005"/>
                      <a:pt x="6813" y="311"/>
                    </a:cubicBezTo>
                    <a:cubicBezTo>
                      <a:pt x="1909" y="1626"/>
                      <a:pt x="-961" y="6650"/>
                      <a:pt x="294" y="11554"/>
                    </a:cubicBezTo>
                    <a:cubicBezTo>
                      <a:pt x="1670" y="16519"/>
                      <a:pt x="6634" y="19449"/>
                      <a:pt x="11538" y="18133"/>
                    </a:cubicBezTo>
                    <a:close/>
                  </a:path>
                </a:pathLst>
              </a:custGeom>
              <a:grpFill/>
              <a:ln w="5978" cap="flat">
                <a:noFill/>
                <a:prstDash val="solid"/>
                <a:miter/>
              </a:ln>
            </p:spPr>
            <p:txBody>
              <a:bodyPr rtlCol="0" anchor="ctr"/>
              <a:lstStyle/>
              <a:p>
                <a:endParaRPr lang="en-GB"/>
              </a:p>
            </p:txBody>
          </p:sp>
        </p:grpSp>
        <p:grpSp>
          <p:nvGrpSpPr>
            <p:cNvPr id="147" name="Graphic 3">
              <a:extLst>
                <a:ext uri="{FF2B5EF4-FFF2-40B4-BE49-F238E27FC236}">
                  <a16:creationId xmlns:a16="http://schemas.microsoft.com/office/drawing/2014/main" id="{BD09F236-B556-4F2F-96A7-FB4D9EE00CA9}"/>
                </a:ext>
              </a:extLst>
            </p:cNvPr>
            <p:cNvGrpSpPr/>
            <p:nvPr/>
          </p:nvGrpSpPr>
          <p:grpSpPr>
            <a:xfrm>
              <a:off x="7716678" y="3077813"/>
              <a:ext cx="166020" cy="45267"/>
              <a:chOff x="7716678" y="3077813"/>
              <a:chExt cx="166020" cy="45267"/>
            </a:xfrm>
            <a:grpFill/>
          </p:grpSpPr>
          <p:sp>
            <p:nvSpPr>
              <p:cNvPr id="4937" name="Vrije vorm: vorm 4936">
                <a:extLst>
                  <a:ext uri="{FF2B5EF4-FFF2-40B4-BE49-F238E27FC236}">
                    <a16:creationId xmlns:a16="http://schemas.microsoft.com/office/drawing/2014/main" id="{E45B6CA9-B52C-4C29-97C7-3EE63CE20B84}"/>
                  </a:ext>
                </a:extLst>
              </p:cNvPr>
              <p:cNvSpPr/>
              <p:nvPr/>
            </p:nvSpPr>
            <p:spPr>
              <a:xfrm>
                <a:off x="7725139" y="3085434"/>
                <a:ext cx="149099" cy="30023"/>
              </a:xfrm>
              <a:custGeom>
                <a:avLst/>
                <a:gdLst>
                  <a:gd name="connsiteX0" fmla="*/ 148562 w 149099"/>
                  <a:gd name="connsiteY0" fmla="*/ 0 h 30023"/>
                  <a:gd name="connsiteX1" fmla="*/ 149100 w 149099"/>
                  <a:gd name="connsiteY1" fmla="*/ 3050 h 30023"/>
                  <a:gd name="connsiteX2" fmla="*/ 539 w 149099"/>
                  <a:gd name="connsiteY2" fmla="*/ 30023 h 30023"/>
                  <a:gd name="connsiteX3" fmla="*/ 0 w 149099"/>
                  <a:gd name="connsiteY3" fmla="*/ 26973 h 30023"/>
                </a:gdLst>
                <a:ahLst/>
                <a:cxnLst>
                  <a:cxn ang="0">
                    <a:pos x="connsiteX0" y="connsiteY0"/>
                  </a:cxn>
                  <a:cxn ang="0">
                    <a:pos x="connsiteX1" y="connsiteY1"/>
                  </a:cxn>
                  <a:cxn ang="0">
                    <a:pos x="connsiteX2" y="connsiteY2"/>
                  </a:cxn>
                  <a:cxn ang="0">
                    <a:pos x="connsiteX3" y="connsiteY3"/>
                  </a:cxn>
                </a:cxnLst>
                <a:rect l="l" t="t" r="r" b="b"/>
                <a:pathLst>
                  <a:path w="149099" h="30023">
                    <a:moveTo>
                      <a:pt x="148562" y="0"/>
                    </a:moveTo>
                    <a:lnTo>
                      <a:pt x="149100" y="3050"/>
                    </a:lnTo>
                    <a:lnTo>
                      <a:pt x="539" y="30023"/>
                    </a:lnTo>
                    <a:lnTo>
                      <a:pt x="0" y="26973"/>
                    </a:lnTo>
                    <a:close/>
                  </a:path>
                </a:pathLst>
              </a:custGeom>
              <a:grpFill/>
              <a:ln w="5978" cap="flat">
                <a:noFill/>
                <a:prstDash val="solid"/>
                <a:miter/>
              </a:ln>
            </p:spPr>
            <p:txBody>
              <a:bodyPr rtlCol="0" anchor="ctr"/>
              <a:lstStyle/>
              <a:p>
                <a:endParaRPr lang="en-GB"/>
              </a:p>
            </p:txBody>
          </p:sp>
          <p:sp>
            <p:nvSpPr>
              <p:cNvPr id="4938" name="Vrije vorm: vorm 4937">
                <a:extLst>
                  <a:ext uri="{FF2B5EF4-FFF2-40B4-BE49-F238E27FC236}">
                    <a16:creationId xmlns:a16="http://schemas.microsoft.com/office/drawing/2014/main" id="{BA8C1A83-0B4B-49B7-ABD2-177DF97DE3D2}"/>
                  </a:ext>
                </a:extLst>
              </p:cNvPr>
              <p:cNvSpPr/>
              <p:nvPr/>
            </p:nvSpPr>
            <p:spPr>
              <a:xfrm>
                <a:off x="7864342" y="3077813"/>
                <a:ext cx="18356" cy="18412"/>
              </a:xfrm>
              <a:custGeom>
                <a:avLst/>
                <a:gdLst>
                  <a:gd name="connsiteX0" fmla="*/ 7504 w 18356"/>
                  <a:gd name="connsiteY0" fmla="*/ 145 h 18412"/>
                  <a:gd name="connsiteX1" fmla="*/ 18209 w 18356"/>
                  <a:gd name="connsiteY1" fmla="*/ 7561 h 18412"/>
                  <a:gd name="connsiteX2" fmla="*/ 10853 w 18356"/>
                  <a:gd name="connsiteY2" fmla="*/ 18267 h 18412"/>
                  <a:gd name="connsiteX3" fmla="*/ 147 w 18356"/>
                  <a:gd name="connsiteY3" fmla="*/ 10851 h 18412"/>
                  <a:gd name="connsiteX4" fmla="*/ 7504 w 18356"/>
                  <a:gd name="connsiteY4" fmla="*/ 145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2">
                    <a:moveTo>
                      <a:pt x="7504" y="145"/>
                    </a:moveTo>
                    <a:cubicBezTo>
                      <a:pt x="12467" y="-752"/>
                      <a:pt x="17252" y="2598"/>
                      <a:pt x="18209" y="7561"/>
                    </a:cubicBezTo>
                    <a:cubicBezTo>
                      <a:pt x="19106" y="12585"/>
                      <a:pt x="15817" y="17370"/>
                      <a:pt x="10853" y="18267"/>
                    </a:cubicBezTo>
                    <a:cubicBezTo>
                      <a:pt x="5889" y="19164"/>
                      <a:pt x="1105" y="15815"/>
                      <a:pt x="147" y="10851"/>
                    </a:cubicBezTo>
                    <a:cubicBezTo>
                      <a:pt x="-750" y="5887"/>
                      <a:pt x="2540" y="1102"/>
                      <a:pt x="7504" y="145"/>
                    </a:cubicBezTo>
                    <a:close/>
                  </a:path>
                </a:pathLst>
              </a:custGeom>
              <a:grpFill/>
              <a:ln w="5978" cap="flat">
                <a:noFill/>
                <a:prstDash val="solid"/>
                <a:miter/>
              </a:ln>
            </p:spPr>
            <p:txBody>
              <a:bodyPr rtlCol="0" anchor="ctr"/>
              <a:lstStyle/>
              <a:p>
                <a:endParaRPr lang="en-GB"/>
              </a:p>
            </p:txBody>
          </p:sp>
          <p:sp>
            <p:nvSpPr>
              <p:cNvPr id="4939" name="Vrije vorm: vorm 4938">
                <a:extLst>
                  <a:ext uri="{FF2B5EF4-FFF2-40B4-BE49-F238E27FC236}">
                    <a16:creationId xmlns:a16="http://schemas.microsoft.com/office/drawing/2014/main" id="{DA5D771B-E8F6-4F48-A3B3-5764431276C0}"/>
                  </a:ext>
                </a:extLst>
              </p:cNvPr>
              <p:cNvSpPr/>
              <p:nvPr/>
            </p:nvSpPr>
            <p:spPr>
              <a:xfrm>
                <a:off x="7716678" y="3104649"/>
                <a:ext cx="18356" cy="18432"/>
              </a:xfrm>
              <a:custGeom>
                <a:avLst/>
                <a:gdLst>
                  <a:gd name="connsiteX0" fmla="*/ 7504 w 18356"/>
                  <a:gd name="connsiteY0" fmla="*/ 163 h 18432"/>
                  <a:gd name="connsiteX1" fmla="*/ 147 w 18356"/>
                  <a:gd name="connsiteY1" fmla="*/ 10869 h 18432"/>
                  <a:gd name="connsiteX2" fmla="*/ 10853 w 18356"/>
                  <a:gd name="connsiteY2" fmla="*/ 18285 h 18432"/>
                  <a:gd name="connsiteX3" fmla="*/ 18209 w 18356"/>
                  <a:gd name="connsiteY3" fmla="*/ 7580 h 18432"/>
                  <a:gd name="connsiteX4" fmla="*/ 7504 w 18356"/>
                  <a:gd name="connsiteY4" fmla="*/ 163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2">
                    <a:moveTo>
                      <a:pt x="7504" y="163"/>
                    </a:moveTo>
                    <a:cubicBezTo>
                      <a:pt x="2540" y="1061"/>
                      <a:pt x="-749" y="5845"/>
                      <a:pt x="147" y="10869"/>
                    </a:cubicBezTo>
                    <a:cubicBezTo>
                      <a:pt x="1045" y="15893"/>
                      <a:pt x="5829" y="19182"/>
                      <a:pt x="10853" y="18285"/>
                    </a:cubicBezTo>
                    <a:cubicBezTo>
                      <a:pt x="15817" y="17388"/>
                      <a:pt x="19106" y="12603"/>
                      <a:pt x="18209" y="7580"/>
                    </a:cubicBezTo>
                    <a:cubicBezTo>
                      <a:pt x="17252" y="2556"/>
                      <a:pt x="12468" y="-794"/>
                      <a:pt x="7504" y="163"/>
                    </a:cubicBezTo>
                    <a:close/>
                  </a:path>
                </a:pathLst>
              </a:custGeom>
              <a:grpFill/>
              <a:ln w="5978" cap="flat">
                <a:noFill/>
                <a:prstDash val="solid"/>
                <a:miter/>
              </a:ln>
            </p:spPr>
            <p:txBody>
              <a:bodyPr rtlCol="0" anchor="ctr"/>
              <a:lstStyle/>
              <a:p>
                <a:endParaRPr lang="en-GB"/>
              </a:p>
            </p:txBody>
          </p:sp>
        </p:grpSp>
        <p:grpSp>
          <p:nvGrpSpPr>
            <p:cNvPr id="148" name="Graphic 3">
              <a:extLst>
                <a:ext uri="{FF2B5EF4-FFF2-40B4-BE49-F238E27FC236}">
                  <a16:creationId xmlns:a16="http://schemas.microsoft.com/office/drawing/2014/main" id="{D5CF38FB-BF33-4BA2-8FF5-B8488DDBB36B}"/>
                </a:ext>
              </a:extLst>
            </p:cNvPr>
            <p:cNvGrpSpPr/>
            <p:nvPr/>
          </p:nvGrpSpPr>
          <p:grpSpPr>
            <a:xfrm>
              <a:off x="7643534" y="2849174"/>
              <a:ext cx="159502" cy="63798"/>
              <a:chOff x="7643534" y="2849174"/>
              <a:chExt cx="159502" cy="63798"/>
            </a:xfrm>
            <a:grpFill/>
          </p:grpSpPr>
          <p:sp>
            <p:nvSpPr>
              <p:cNvPr id="4934" name="Vrije vorm: vorm 4933">
                <a:extLst>
                  <a:ext uri="{FF2B5EF4-FFF2-40B4-BE49-F238E27FC236}">
                    <a16:creationId xmlns:a16="http://schemas.microsoft.com/office/drawing/2014/main" id="{57F194DA-26BE-41CF-95F6-B0678EDBF0B0}"/>
                  </a:ext>
                </a:extLst>
              </p:cNvPr>
              <p:cNvSpPr/>
              <p:nvPr/>
            </p:nvSpPr>
            <p:spPr>
              <a:xfrm>
                <a:off x="7651815" y="2856791"/>
                <a:ext cx="142999" cy="48563"/>
              </a:xfrm>
              <a:custGeom>
                <a:avLst/>
                <a:gdLst>
                  <a:gd name="connsiteX0" fmla="*/ 142042 w 142999"/>
                  <a:gd name="connsiteY0" fmla="*/ 0 h 48563"/>
                  <a:gd name="connsiteX1" fmla="*/ 142999 w 142999"/>
                  <a:gd name="connsiteY1" fmla="*/ 2931 h 48563"/>
                  <a:gd name="connsiteX2" fmla="*/ 957 w 142999"/>
                  <a:gd name="connsiteY2" fmla="*/ 48564 h 48563"/>
                  <a:gd name="connsiteX3" fmla="*/ 0 w 142999"/>
                  <a:gd name="connsiteY3" fmla="*/ 45633 h 48563"/>
                </a:gdLst>
                <a:ahLst/>
                <a:cxnLst>
                  <a:cxn ang="0">
                    <a:pos x="connsiteX0" y="connsiteY0"/>
                  </a:cxn>
                  <a:cxn ang="0">
                    <a:pos x="connsiteX1" y="connsiteY1"/>
                  </a:cxn>
                  <a:cxn ang="0">
                    <a:pos x="connsiteX2" y="connsiteY2"/>
                  </a:cxn>
                  <a:cxn ang="0">
                    <a:pos x="connsiteX3" y="connsiteY3"/>
                  </a:cxn>
                </a:cxnLst>
                <a:rect l="l" t="t" r="r" b="b"/>
                <a:pathLst>
                  <a:path w="142999" h="48563">
                    <a:moveTo>
                      <a:pt x="142042" y="0"/>
                    </a:moveTo>
                    <a:lnTo>
                      <a:pt x="142999" y="2931"/>
                    </a:lnTo>
                    <a:lnTo>
                      <a:pt x="957" y="48564"/>
                    </a:lnTo>
                    <a:lnTo>
                      <a:pt x="0" y="45633"/>
                    </a:lnTo>
                    <a:close/>
                  </a:path>
                </a:pathLst>
              </a:custGeom>
              <a:grpFill/>
              <a:ln w="5978" cap="flat">
                <a:noFill/>
                <a:prstDash val="solid"/>
                <a:miter/>
              </a:ln>
            </p:spPr>
            <p:txBody>
              <a:bodyPr rtlCol="0" anchor="ctr"/>
              <a:lstStyle/>
              <a:p>
                <a:endParaRPr lang="en-GB"/>
              </a:p>
            </p:txBody>
          </p:sp>
          <p:sp>
            <p:nvSpPr>
              <p:cNvPr id="4935" name="Vrije vorm: vorm 4934">
                <a:extLst>
                  <a:ext uri="{FF2B5EF4-FFF2-40B4-BE49-F238E27FC236}">
                    <a16:creationId xmlns:a16="http://schemas.microsoft.com/office/drawing/2014/main" id="{8E8B5271-9F77-415C-BC3D-CB2EEA0B51D1}"/>
                  </a:ext>
                </a:extLst>
              </p:cNvPr>
              <p:cNvSpPr/>
              <p:nvPr/>
            </p:nvSpPr>
            <p:spPr>
              <a:xfrm>
                <a:off x="7784706" y="2849174"/>
                <a:ext cx="18329" cy="18465"/>
              </a:xfrm>
              <a:custGeom>
                <a:avLst/>
                <a:gdLst>
                  <a:gd name="connsiteX0" fmla="*/ 6340 w 18329"/>
                  <a:gd name="connsiteY0" fmla="*/ 441 h 18465"/>
                  <a:gd name="connsiteX1" fmla="*/ 17883 w 18329"/>
                  <a:gd name="connsiteY1" fmla="*/ 6422 h 18465"/>
                  <a:gd name="connsiteX2" fmla="*/ 11962 w 18329"/>
                  <a:gd name="connsiteY2" fmla="*/ 18024 h 18465"/>
                  <a:gd name="connsiteX3" fmla="*/ 419 w 18329"/>
                  <a:gd name="connsiteY3" fmla="*/ 12044 h 18465"/>
                  <a:gd name="connsiteX4" fmla="*/ 6340 w 18329"/>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65">
                    <a:moveTo>
                      <a:pt x="6340" y="441"/>
                    </a:moveTo>
                    <a:cubicBezTo>
                      <a:pt x="11184" y="-1114"/>
                      <a:pt x="16328" y="1577"/>
                      <a:pt x="17883" y="6422"/>
                    </a:cubicBezTo>
                    <a:cubicBezTo>
                      <a:pt x="19438" y="11266"/>
                      <a:pt x="16806" y="16469"/>
                      <a:pt x="11962" y="18024"/>
                    </a:cubicBezTo>
                    <a:cubicBezTo>
                      <a:pt x="7117" y="19579"/>
                      <a:pt x="1974" y="16888"/>
                      <a:pt x="419" y="12044"/>
                    </a:cubicBezTo>
                    <a:cubicBezTo>
                      <a:pt x="-1076" y="7139"/>
                      <a:pt x="1555" y="1996"/>
                      <a:pt x="6340" y="441"/>
                    </a:cubicBezTo>
                    <a:close/>
                  </a:path>
                </a:pathLst>
              </a:custGeom>
              <a:grpFill/>
              <a:ln w="5978" cap="flat">
                <a:noFill/>
                <a:prstDash val="solid"/>
                <a:miter/>
              </a:ln>
            </p:spPr>
            <p:txBody>
              <a:bodyPr rtlCol="0" anchor="ctr"/>
              <a:lstStyle/>
              <a:p>
                <a:endParaRPr lang="en-GB"/>
              </a:p>
            </p:txBody>
          </p:sp>
          <p:sp>
            <p:nvSpPr>
              <p:cNvPr id="4936" name="Vrije vorm: vorm 4935">
                <a:extLst>
                  <a:ext uri="{FF2B5EF4-FFF2-40B4-BE49-F238E27FC236}">
                    <a16:creationId xmlns:a16="http://schemas.microsoft.com/office/drawing/2014/main" id="{4096842B-6692-474D-95A5-7D33406A3F1A}"/>
                  </a:ext>
                </a:extLst>
              </p:cNvPr>
              <p:cNvSpPr/>
              <p:nvPr/>
            </p:nvSpPr>
            <p:spPr>
              <a:xfrm>
                <a:off x="7643534" y="2894508"/>
                <a:ext cx="18356" cy="18465"/>
              </a:xfrm>
              <a:custGeom>
                <a:avLst/>
                <a:gdLst>
                  <a:gd name="connsiteX0" fmla="*/ 6368 w 18356"/>
                  <a:gd name="connsiteY0" fmla="*/ 441 h 18465"/>
                  <a:gd name="connsiteX1" fmla="*/ 447 w 18356"/>
                  <a:gd name="connsiteY1" fmla="*/ 12043 h 18465"/>
                  <a:gd name="connsiteX2" fmla="*/ 11989 w 18356"/>
                  <a:gd name="connsiteY2" fmla="*/ 18024 h 18465"/>
                  <a:gd name="connsiteX3" fmla="*/ 17910 w 18356"/>
                  <a:gd name="connsiteY3" fmla="*/ 6422 h 18465"/>
                  <a:gd name="connsiteX4" fmla="*/ 6368 w 18356"/>
                  <a:gd name="connsiteY4" fmla="*/ 441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65">
                    <a:moveTo>
                      <a:pt x="6368" y="441"/>
                    </a:moveTo>
                    <a:cubicBezTo>
                      <a:pt x="1523" y="1996"/>
                      <a:pt x="-1108" y="7199"/>
                      <a:pt x="447" y="12043"/>
                    </a:cubicBezTo>
                    <a:cubicBezTo>
                      <a:pt x="2002" y="16888"/>
                      <a:pt x="7145" y="19579"/>
                      <a:pt x="11989" y="18024"/>
                    </a:cubicBezTo>
                    <a:cubicBezTo>
                      <a:pt x="16834" y="16469"/>
                      <a:pt x="19465" y="11266"/>
                      <a:pt x="17910" y="6422"/>
                    </a:cubicBezTo>
                    <a:cubicBezTo>
                      <a:pt x="16356" y="1577"/>
                      <a:pt x="11212" y="-1114"/>
                      <a:pt x="6368" y="441"/>
                    </a:cubicBezTo>
                    <a:close/>
                  </a:path>
                </a:pathLst>
              </a:custGeom>
              <a:grpFill/>
              <a:ln w="5978" cap="flat">
                <a:noFill/>
                <a:prstDash val="solid"/>
                <a:miter/>
              </a:ln>
            </p:spPr>
            <p:txBody>
              <a:bodyPr rtlCol="0" anchor="ctr"/>
              <a:lstStyle/>
              <a:p>
                <a:endParaRPr lang="en-GB"/>
              </a:p>
            </p:txBody>
          </p:sp>
        </p:grpSp>
        <p:grpSp>
          <p:nvGrpSpPr>
            <p:cNvPr id="149" name="Graphic 3">
              <a:extLst>
                <a:ext uri="{FF2B5EF4-FFF2-40B4-BE49-F238E27FC236}">
                  <a16:creationId xmlns:a16="http://schemas.microsoft.com/office/drawing/2014/main" id="{430325AE-2F4F-4C8D-AF03-480457CF946F}"/>
                </a:ext>
              </a:extLst>
            </p:cNvPr>
            <p:cNvGrpSpPr/>
            <p:nvPr/>
          </p:nvGrpSpPr>
          <p:grpSpPr>
            <a:xfrm>
              <a:off x="7639625" y="2706123"/>
              <a:ext cx="62750" cy="37432"/>
              <a:chOff x="7639625" y="2706123"/>
              <a:chExt cx="62750" cy="37432"/>
            </a:xfrm>
            <a:grpFill/>
          </p:grpSpPr>
          <p:sp>
            <p:nvSpPr>
              <p:cNvPr id="4931" name="Vrije vorm: vorm 4930">
                <a:extLst>
                  <a:ext uri="{FF2B5EF4-FFF2-40B4-BE49-F238E27FC236}">
                    <a16:creationId xmlns:a16="http://schemas.microsoft.com/office/drawing/2014/main" id="{72AE7518-5D9C-4B85-B3D5-ACF58649B8DA}"/>
                  </a:ext>
                </a:extLst>
              </p:cNvPr>
              <p:cNvSpPr/>
              <p:nvPr/>
            </p:nvSpPr>
            <p:spPr>
              <a:xfrm>
                <a:off x="7647748" y="2713733"/>
                <a:ext cx="46530" cy="22248"/>
              </a:xfrm>
              <a:custGeom>
                <a:avLst/>
                <a:gdLst>
                  <a:gd name="connsiteX0" fmla="*/ 46530 w 46530"/>
                  <a:gd name="connsiteY0" fmla="*/ 2811 h 22248"/>
                  <a:gd name="connsiteX1" fmla="*/ 1196 w 46530"/>
                  <a:gd name="connsiteY1" fmla="*/ 22248 h 22248"/>
                  <a:gd name="connsiteX2" fmla="*/ 0 w 46530"/>
                  <a:gd name="connsiteY2" fmla="*/ 19437 h 22248"/>
                  <a:gd name="connsiteX3" fmla="*/ 45334 w 46530"/>
                  <a:gd name="connsiteY3" fmla="*/ 0 h 22248"/>
                </a:gdLst>
                <a:ahLst/>
                <a:cxnLst>
                  <a:cxn ang="0">
                    <a:pos x="connsiteX0" y="connsiteY0"/>
                  </a:cxn>
                  <a:cxn ang="0">
                    <a:pos x="connsiteX1" y="connsiteY1"/>
                  </a:cxn>
                  <a:cxn ang="0">
                    <a:pos x="connsiteX2" y="connsiteY2"/>
                  </a:cxn>
                  <a:cxn ang="0">
                    <a:pos x="connsiteX3" y="connsiteY3"/>
                  </a:cxn>
                </a:cxnLst>
                <a:rect l="l" t="t" r="r" b="b"/>
                <a:pathLst>
                  <a:path w="46530" h="22248">
                    <a:moveTo>
                      <a:pt x="46530" y="2811"/>
                    </a:moveTo>
                    <a:lnTo>
                      <a:pt x="1196" y="22248"/>
                    </a:lnTo>
                    <a:lnTo>
                      <a:pt x="0" y="19437"/>
                    </a:lnTo>
                    <a:lnTo>
                      <a:pt x="45334" y="0"/>
                    </a:lnTo>
                    <a:close/>
                  </a:path>
                </a:pathLst>
              </a:custGeom>
              <a:grpFill/>
              <a:ln w="5978" cap="flat">
                <a:noFill/>
                <a:prstDash val="solid"/>
                <a:miter/>
              </a:ln>
            </p:spPr>
            <p:txBody>
              <a:bodyPr rtlCol="0" anchor="ctr"/>
              <a:lstStyle/>
              <a:p>
                <a:endParaRPr lang="en-GB"/>
              </a:p>
            </p:txBody>
          </p:sp>
          <p:sp>
            <p:nvSpPr>
              <p:cNvPr id="4932" name="Vrije vorm: vorm 4931">
                <a:extLst>
                  <a:ext uri="{FF2B5EF4-FFF2-40B4-BE49-F238E27FC236}">
                    <a16:creationId xmlns:a16="http://schemas.microsoft.com/office/drawing/2014/main" id="{EC971749-1AF8-490D-90C6-C001E9B5F3C8}"/>
                  </a:ext>
                </a:extLst>
              </p:cNvPr>
              <p:cNvSpPr/>
              <p:nvPr/>
            </p:nvSpPr>
            <p:spPr>
              <a:xfrm>
                <a:off x="7684096" y="2706123"/>
                <a:ext cx="18279" cy="18388"/>
              </a:xfrm>
              <a:custGeom>
                <a:avLst/>
                <a:gdLst>
                  <a:gd name="connsiteX0" fmla="*/ 5517 w 18279"/>
                  <a:gd name="connsiteY0" fmla="*/ 732 h 18388"/>
                  <a:gd name="connsiteX1" fmla="*/ 17539 w 18279"/>
                  <a:gd name="connsiteY1" fmla="*/ 5576 h 18388"/>
                  <a:gd name="connsiteX2" fmla="*/ 12754 w 18279"/>
                  <a:gd name="connsiteY2" fmla="*/ 17657 h 18388"/>
                  <a:gd name="connsiteX3" fmla="*/ 733 w 18279"/>
                  <a:gd name="connsiteY3" fmla="*/ 12813 h 18388"/>
                  <a:gd name="connsiteX4" fmla="*/ 5517 w 18279"/>
                  <a:gd name="connsiteY4" fmla="*/ 732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9" h="18388">
                    <a:moveTo>
                      <a:pt x="5517" y="732"/>
                    </a:moveTo>
                    <a:cubicBezTo>
                      <a:pt x="10183" y="-1242"/>
                      <a:pt x="15565" y="911"/>
                      <a:pt x="17539" y="5576"/>
                    </a:cubicBezTo>
                    <a:cubicBezTo>
                      <a:pt x="19512" y="10241"/>
                      <a:pt x="17419" y="15684"/>
                      <a:pt x="12754" y="17657"/>
                    </a:cubicBezTo>
                    <a:cubicBezTo>
                      <a:pt x="8089" y="19631"/>
                      <a:pt x="2707" y="17478"/>
                      <a:pt x="733" y="12813"/>
                    </a:cubicBezTo>
                    <a:cubicBezTo>
                      <a:pt x="-1241" y="8148"/>
                      <a:pt x="912" y="2705"/>
                      <a:pt x="5517" y="732"/>
                    </a:cubicBezTo>
                    <a:close/>
                  </a:path>
                </a:pathLst>
              </a:custGeom>
              <a:grpFill/>
              <a:ln w="5978" cap="flat">
                <a:noFill/>
                <a:prstDash val="solid"/>
                <a:miter/>
              </a:ln>
            </p:spPr>
            <p:txBody>
              <a:bodyPr rtlCol="0" anchor="ctr"/>
              <a:lstStyle/>
              <a:p>
                <a:endParaRPr lang="en-GB"/>
              </a:p>
            </p:txBody>
          </p:sp>
          <p:sp>
            <p:nvSpPr>
              <p:cNvPr id="4933" name="Vrije vorm: vorm 4932">
                <a:extLst>
                  <a:ext uri="{FF2B5EF4-FFF2-40B4-BE49-F238E27FC236}">
                    <a16:creationId xmlns:a16="http://schemas.microsoft.com/office/drawing/2014/main" id="{911D0823-25E5-49E3-A606-587A142C8397}"/>
                  </a:ext>
                </a:extLst>
              </p:cNvPr>
              <p:cNvSpPr/>
              <p:nvPr/>
            </p:nvSpPr>
            <p:spPr>
              <a:xfrm>
                <a:off x="7639625" y="2725150"/>
                <a:ext cx="18339" cy="18405"/>
              </a:xfrm>
              <a:custGeom>
                <a:avLst/>
                <a:gdLst>
                  <a:gd name="connsiteX0" fmla="*/ 5551 w 18339"/>
                  <a:gd name="connsiteY0" fmla="*/ 723 h 18405"/>
                  <a:gd name="connsiteX1" fmla="*/ 767 w 18339"/>
                  <a:gd name="connsiteY1" fmla="*/ 12804 h 18405"/>
                  <a:gd name="connsiteX2" fmla="*/ 12788 w 18339"/>
                  <a:gd name="connsiteY2" fmla="*/ 17649 h 18405"/>
                  <a:gd name="connsiteX3" fmla="*/ 17572 w 18339"/>
                  <a:gd name="connsiteY3" fmla="*/ 5568 h 18405"/>
                  <a:gd name="connsiteX4" fmla="*/ 5551 w 18339"/>
                  <a:gd name="connsiteY4" fmla="*/ 72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5">
                    <a:moveTo>
                      <a:pt x="5551" y="723"/>
                    </a:moveTo>
                    <a:cubicBezTo>
                      <a:pt x="886" y="2697"/>
                      <a:pt x="-1267" y="8139"/>
                      <a:pt x="767" y="12804"/>
                    </a:cubicBezTo>
                    <a:cubicBezTo>
                      <a:pt x="2740" y="17469"/>
                      <a:pt x="8183" y="19682"/>
                      <a:pt x="12788" y="17649"/>
                    </a:cubicBezTo>
                    <a:cubicBezTo>
                      <a:pt x="17453" y="15675"/>
                      <a:pt x="19606" y="10233"/>
                      <a:pt x="17572" y="5568"/>
                    </a:cubicBezTo>
                    <a:cubicBezTo>
                      <a:pt x="15599" y="963"/>
                      <a:pt x="10216" y="-1250"/>
                      <a:pt x="5551" y="723"/>
                    </a:cubicBezTo>
                    <a:close/>
                  </a:path>
                </a:pathLst>
              </a:custGeom>
              <a:grpFill/>
              <a:ln w="5978" cap="flat">
                <a:noFill/>
                <a:prstDash val="solid"/>
                <a:miter/>
              </a:ln>
            </p:spPr>
            <p:txBody>
              <a:bodyPr rtlCol="0" anchor="ctr"/>
              <a:lstStyle/>
              <a:p>
                <a:endParaRPr lang="en-GB"/>
              </a:p>
            </p:txBody>
          </p:sp>
        </p:grpSp>
        <p:grpSp>
          <p:nvGrpSpPr>
            <p:cNvPr id="150" name="Graphic 3">
              <a:extLst>
                <a:ext uri="{FF2B5EF4-FFF2-40B4-BE49-F238E27FC236}">
                  <a16:creationId xmlns:a16="http://schemas.microsoft.com/office/drawing/2014/main" id="{4C9C38E2-975D-4E2A-BB83-5B370AD5E7BF}"/>
                </a:ext>
              </a:extLst>
            </p:cNvPr>
            <p:cNvGrpSpPr/>
            <p:nvPr/>
          </p:nvGrpSpPr>
          <p:grpSpPr>
            <a:xfrm>
              <a:off x="7356823" y="2178539"/>
              <a:ext cx="328106" cy="216040"/>
              <a:chOff x="7356823" y="2178539"/>
              <a:chExt cx="328106" cy="216040"/>
            </a:xfrm>
            <a:grpFill/>
          </p:grpSpPr>
          <p:sp>
            <p:nvSpPr>
              <p:cNvPr id="4928" name="Vrije vorm: vorm 4927">
                <a:extLst>
                  <a:ext uri="{FF2B5EF4-FFF2-40B4-BE49-F238E27FC236}">
                    <a16:creationId xmlns:a16="http://schemas.microsoft.com/office/drawing/2014/main" id="{A9F6A15A-C241-4592-B4F4-344394EB1D63}"/>
                  </a:ext>
                </a:extLst>
              </p:cNvPr>
              <p:cNvSpPr/>
              <p:nvPr/>
            </p:nvSpPr>
            <p:spPr>
              <a:xfrm>
                <a:off x="7364800" y="2186233"/>
                <a:ext cx="312194" cy="200712"/>
              </a:xfrm>
              <a:custGeom>
                <a:avLst/>
                <a:gdLst>
                  <a:gd name="connsiteX0" fmla="*/ 312194 w 312194"/>
                  <a:gd name="connsiteY0" fmla="*/ 2572 h 200712"/>
                  <a:gd name="connsiteX1" fmla="*/ 1615 w 312194"/>
                  <a:gd name="connsiteY1" fmla="*/ 200713 h 200712"/>
                  <a:gd name="connsiteX2" fmla="*/ 0 w 312194"/>
                  <a:gd name="connsiteY2" fmla="*/ 198141 h 200712"/>
                  <a:gd name="connsiteX3" fmla="*/ 310519 w 312194"/>
                  <a:gd name="connsiteY3" fmla="*/ 0 h 200712"/>
                </a:gdLst>
                <a:ahLst/>
                <a:cxnLst>
                  <a:cxn ang="0">
                    <a:pos x="connsiteX0" y="connsiteY0"/>
                  </a:cxn>
                  <a:cxn ang="0">
                    <a:pos x="connsiteX1" y="connsiteY1"/>
                  </a:cxn>
                  <a:cxn ang="0">
                    <a:pos x="connsiteX2" y="connsiteY2"/>
                  </a:cxn>
                  <a:cxn ang="0">
                    <a:pos x="connsiteX3" y="connsiteY3"/>
                  </a:cxn>
                </a:cxnLst>
                <a:rect l="l" t="t" r="r" b="b"/>
                <a:pathLst>
                  <a:path w="312194" h="200712">
                    <a:moveTo>
                      <a:pt x="312194" y="2572"/>
                    </a:moveTo>
                    <a:lnTo>
                      <a:pt x="1615" y="200713"/>
                    </a:lnTo>
                    <a:lnTo>
                      <a:pt x="0" y="198141"/>
                    </a:lnTo>
                    <a:lnTo>
                      <a:pt x="310519" y="0"/>
                    </a:lnTo>
                    <a:close/>
                  </a:path>
                </a:pathLst>
              </a:custGeom>
              <a:grpFill/>
              <a:ln w="5978" cap="flat">
                <a:noFill/>
                <a:prstDash val="solid"/>
                <a:miter/>
              </a:ln>
            </p:spPr>
            <p:txBody>
              <a:bodyPr rtlCol="0" anchor="ctr"/>
              <a:lstStyle/>
              <a:p>
                <a:endParaRPr lang="en-GB"/>
              </a:p>
            </p:txBody>
          </p:sp>
          <p:sp>
            <p:nvSpPr>
              <p:cNvPr id="4929" name="Vrije vorm: vorm 4928">
                <a:extLst>
                  <a:ext uri="{FF2B5EF4-FFF2-40B4-BE49-F238E27FC236}">
                    <a16:creationId xmlns:a16="http://schemas.microsoft.com/office/drawing/2014/main" id="{6F561570-2599-4D9C-A831-F1E654E7C415}"/>
                  </a:ext>
                </a:extLst>
              </p:cNvPr>
              <p:cNvSpPr/>
              <p:nvPr/>
            </p:nvSpPr>
            <p:spPr>
              <a:xfrm>
                <a:off x="7356823" y="2376116"/>
                <a:ext cx="18364" cy="18464"/>
              </a:xfrm>
              <a:custGeom>
                <a:avLst/>
                <a:gdLst>
                  <a:gd name="connsiteX0" fmla="*/ 14137 w 18364"/>
                  <a:gd name="connsiteY0" fmla="*/ 17050 h 18464"/>
                  <a:gd name="connsiteX1" fmla="*/ 1458 w 18364"/>
                  <a:gd name="connsiteY1" fmla="*/ 14179 h 18464"/>
                  <a:gd name="connsiteX2" fmla="*/ 4269 w 18364"/>
                  <a:gd name="connsiteY2" fmla="*/ 1441 h 18464"/>
                  <a:gd name="connsiteX3" fmla="*/ 16948 w 18364"/>
                  <a:gd name="connsiteY3" fmla="*/ 4311 h 18464"/>
                  <a:gd name="connsiteX4" fmla="*/ 14137 w 18364"/>
                  <a:gd name="connsiteY4" fmla="*/ 17050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64">
                    <a:moveTo>
                      <a:pt x="14137" y="17050"/>
                    </a:moveTo>
                    <a:cubicBezTo>
                      <a:pt x="9891" y="19742"/>
                      <a:pt x="4209" y="18486"/>
                      <a:pt x="1458" y="14179"/>
                    </a:cubicBezTo>
                    <a:cubicBezTo>
                      <a:pt x="-1293" y="9873"/>
                      <a:pt x="-37" y="4192"/>
                      <a:pt x="4269" y="1441"/>
                    </a:cubicBezTo>
                    <a:cubicBezTo>
                      <a:pt x="8515" y="-1311"/>
                      <a:pt x="14197" y="5"/>
                      <a:pt x="16948" y="4311"/>
                    </a:cubicBezTo>
                    <a:cubicBezTo>
                      <a:pt x="19639" y="8677"/>
                      <a:pt x="18383" y="14359"/>
                      <a:pt x="14137" y="17050"/>
                    </a:cubicBezTo>
                    <a:close/>
                  </a:path>
                </a:pathLst>
              </a:custGeom>
              <a:grpFill/>
              <a:ln w="5978" cap="flat">
                <a:noFill/>
                <a:prstDash val="solid"/>
                <a:miter/>
              </a:ln>
            </p:spPr>
            <p:txBody>
              <a:bodyPr rtlCol="0" anchor="ctr"/>
              <a:lstStyle/>
              <a:p>
                <a:endParaRPr lang="en-GB"/>
              </a:p>
            </p:txBody>
          </p:sp>
          <p:sp>
            <p:nvSpPr>
              <p:cNvPr id="4930" name="Vrije vorm: vorm 4929">
                <a:extLst>
                  <a:ext uri="{FF2B5EF4-FFF2-40B4-BE49-F238E27FC236}">
                    <a16:creationId xmlns:a16="http://schemas.microsoft.com/office/drawing/2014/main" id="{D568C17B-C203-45E5-AE13-081B7A85AD85}"/>
                  </a:ext>
                </a:extLst>
              </p:cNvPr>
              <p:cNvSpPr/>
              <p:nvPr/>
            </p:nvSpPr>
            <p:spPr>
              <a:xfrm>
                <a:off x="7666606" y="2178539"/>
                <a:ext cx="18323" cy="18437"/>
              </a:xfrm>
              <a:custGeom>
                <a:avLst/>
                <a:gdLst>
                  <a:gd name="connsiteX0" fmla="*/ 14096 w 18323"/>
                  <a:gd name="connsiteY0" fmla="*/ 17024 h 18437"/>
                  <a:gd name="connsiteX1" fmla="*/ 16907 w 18323"/>
                  <a:gd name="connsiteY1" fmla="*/ 4285 h 18437"/>
                  <a:gd name="connsiteX2" fmla="*/ 4228 w 18323"/>
                  <a:gd name="connsiteY2" fmla="*/ 1414 h 18437"/>
                  <a:gd name="connsiteX3" fmla="*/ 1417 w 18323"/>
                  <a:gd name="connsiteY3" fmla="*/ 14153 h 18437"/>
                  <a:gd name="connsiteX4" fmla="*/ 14096 w 18323"/>
                  <a:gd name="connsiteY4" fmla="*/ 1702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7">
                    <a:moveTo>
                      <a:pt x="14096" y="17024"/>
                    </a:moveTo>
                    <a:cubicBezTo>
                      <a:pt x="18342" y="14332"/>
                      <a:pt x="19598" y="8591"/>
                      <a:pt x="16907" y="4285"/>
                    </a:cubicBezTo>
                    <a:cubicBezTo>
                      <a:pt x="14156" y="-21"/>
                      <a:pt x="8534" y="-1277"/>
                      <a:pt x="4228" y="1414"/>
                    </a:cubicBezTo>
                    <a:cubicBezTo>
                      <a:pt x="-18" y="4105"/>
                      <a:pt x="-1275" y="9847"/>
                      <a:pt x="1417" y="14153"/>
                    </a:cubicBezTo>
                    <a:cubicBezTo>
                      <a:pt x="4168" y="18459"/>
                      <a:pt x="9849" y="19715"/>
                      <a:pt x="14096" y="17024"/>
                    </a:cubicBezTo>
                    <a:close/>
                  </a:path>
                </a:pathLst>
              </a:custGeom>
              <a:grpFill/>
              <a:ln w="5978" cap="flat">
                <a:noFill/>
                <a:prstDash val="solid"/>
                <a:miter/>
              </a:ln>
            </p:spPr>
            <p:txBody>
              <a:bodyPr rtlCol="0" anchor="ctr"/>
              <a:lstStyle/>
              <a:p>
                <a:endParaRPr lang="en-GB"/>
              </a:p>
            </p:txBody>
          </p:sp>
        </p:grpSp>
        <p:grpSp>
          <p:nvGrpSpPr>
            <p:cNvPr id="151" name="Graphic 3">
              <a:extLst>
                <a:ext uri="{FF2B5EF4-FFF2-40B4-BE49-F238E27FC236}">
                  <a16:creationId xmlns:a16="http://schemas.microsoft.com/office/drawing/2014/main" id="{7C76C0DA-B081-4C9F-8911-065EFD15A74F}"/>
                </a:ext>
              </a:extLst>
            </p:cNvPr>
            <p:cNvGrpSpPr/>
            <p:nvPr/>
          </p:nvGrpSpPr>
          <p:grpSpPr>
            <a:xfrm>
              <a:off x="7576195" y="2678422"/>
              <a:ext cx="187065" cy="59914"/>
              <a:chOff x="7576195" y="2678422"/>
              <a:chExt cx="187065" cy="59914"/>
            </a:xfrm>
            <a:grpFill/>
          </p:grpSpPr>
          <p:sp>
            <p:nvSpPr>
              <p:cNvPr id="4925" name="Vrije vorm: vorm 4924">
                <a:extLst>
                  <a:ext uri="{FF2B5EF4-FFF2-40B4-BE49-F238E27FC236}">
                    <a16:creationId xmlns:a16="http://schemas.microsoft.com/office/drawing/2014/main" id="{4BB491E0-73EE-4337-9C8F-B55F51C67E06}"/>
                  </a:ext>
                </a:extLst>
              </p:cNvPr>
              <p:cNvSpPr/>
              <p:nvPr/>
            </p:nvSpPr>
            <p:spPr>
              <a:xfrm>
                <a:off x="7584592" y="2686042"/>
                <a:ext cx="170330" cy="44675"/>
              </a:xfrm>
              <a:custGeom>
                <a:avLst/>
                <a:gdLst>
                  <a:gd name="connsiteX0" fmla="*/ 169553 w 170330"/>
                  <a:gd name="connsiteY0" fmla="*/ 0 h 44675"/>
                  <a:gd name="connsiteX1" fmla="*/ 170331 w 170330"/>
                  <a:gd name="connsiteY1" fmla="*/ 2990 h 44675"/>
                  <a:gd name="connsiteX2" fmla="*/ 718 w 170330"/>
                  <a:gd name="connsiteY2" fmla="*/ 44676 h 44675"/>
                  <a:gd name="connsiteX3" fmla="*/ 0 w 170330"/>
                  <a:gd name="connsiteY3" fmla="*/ 41686 h 44675"/>
                </a:gdLst>
                <a:ahLst/>
                <a:cxnLst>
                  <a:cxn ang="0">
                    <a:pos x="connsiteX0" y="connsiteY0"/>
                  </a:cxn>
                  <a:cxn ang="0">
                    <a:pos x="connsiteX1" y="connsiteY1"/>
                  </a:cxn>
                  <a:cxn ang="0">
                    <a:pos x="connsiteX2" y="connsiteY2"/>
                  </a:cxn>
                  <a:cxn ang="0">
                    <a:pos x="connsiteX3" y="connsiteY3"/>
                  </a:cxn>
                </a:cxnLst>
                <a:rect l="l" t="t" r="r" b="b"/>
                <a:pathLst>
                  <a:path w="170330" h="44675">
                    <a:moveTo>
                      <a:pt x="169553" y="0"/>
                    </a:moveTo>
                    <a:lnTo>
                      <a:pt x="170331" y="2990"/>
                    </a:lnTo>
                    <a:lnTo>
                      <a:pt x="718" y="44676"/>
                    </a:lnTo>
                    <a:lnTo>
                      <a:pt x="0" y="41686"/>
                    </a:lnTo>
                    <a:close/>
                  </a:path>
                </a:pathLst>
              </a:custGeom>
              <a:grpFill/>
              <a:ln w="5978" cap="flat">
                <a:noFill/>
                <a:prstDash val="solid"/>
                <a:miter/>
              </a:ln>
            </p:spPr>
            <p:txBody>
              <a:bodyPr rtlCol="0" anchor="ctr"/>
              <a:lstStyle/>
              <a:p>
                <a:endParaRPr lang="en-GB"/>
              </a:p>
            </p:txBody>
          </p:sp>
          <p:sp>
            <p:nvSpPr>
              <p:cNvPr id="4926" name="Vrije vorm: vorm 4925">
                <a:extLst>
                  <a:ext uri="{FF2B5EF4-FFF2-40B4-BE49-F238E27FC236}">
                    <a16:creationId xmlns:a16="http://schemas.microsoft.com/office/drawing/2014/main" id="{FF7EC8CC-2FB2-412F-B22D-8194195CE0AF}"/>
                  </a:ext>
                </a:extLst>
              </p:cNvPr>
              <p:cNvSpPr/>
              <p:nvPr/>
            </p:nvSpPr>
            <p:spPr>
              <a:xfrm>
                <a:off x="7576195" y="2719929"/>
                <a:ext cx="18349" cy="18408"/>
              </a:xfrm>
              <a:custGeom>
                <a:avLst/>
                <a:gdLst>
                  <a:gd name="connsiteX0" fmla="*/ 11387 w 18349"/>
                  <a:gd name="connsiteY0" fmla="*/ 18146 h 18408"/>
                  <a:gd name="connsiteX1" fmla="*/ 263 w 18349"/>
                  <a:gd name="connsiteY1" fmla="*/ 11387 h 18408"/>
                  <a:gd name="connsiteX2" fmla="*/ 6962 w 18349"/>
                  <a:gd name="connsiteY2" fmla="*/ 263 h 18408"/>
                  <a:gd name="connsiteX3" fmla="*/ 18086 w 18349"/>
                  <a:gd name="connsiteY3" fmla="*/ 7021 h 18408"/>
                  <a:gd name="connsiteX4" fmla="*/ 11387 w 18349"/>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1387" y="18146"/>
                    </a:moveTo>
                    <a:cubicBezTo>
                      <a:pt x="6483" y="19342"/>
                      <a:pt x="1519" y="16351"/>
                      <a:pt x="263" y="11387"/>
                    </a:cubicBezTo>
                    <a:cubicBezTo>
                      <a:pt x="-933" y="6423"/>
                      <a:pt x="2058" y="1459"/>
                      <a:pt x="6962" y="263"/>
                    </a:cubicBezTo>
                    <a:cubicBezTo>
                      <a:pt x="11866" y="-933"/>
                      <a:pt x="16830" y="2057"/>
                      <a:pt x="18086" y="7021"/>
                    </a:cubicBezTo>
                    <a:cubicBezTo>
                      <a:pt x="19282" y="11926"/>
                      <a:pt x="16292" y="16890"/>
                      <a:pt x="11387" y="18146"/>
                    </a:cubicBezTo>
                    <a:close/>
                  </a:path>
                </a:pathLst>
              </a:custGeom>
              <a:grpFill/>
              <a:ln w="5978" cap="flat">
                <a:noFill/>
                <a:prstDash val="solid"/>
                <a:miter/>
              </a:ln>
            </p:spPr>
            <p:txBody>
              <a:bodyPr rtlCol="0" anchor="ctr"/>
              <a:lstStyle/>
              <a:p>
                <a:endParaRPr lang="en-GB"/>
              </a:p>
            </p:txBody>
          </p:sp>
          <p:sp>
            <p:nvSpPr>
              <p:cNvPr id="4927" name="Vrije vorm: vorm 4926">
                <a:extLst>
                  <a:ext uri="{FF2B5EF4-FFF2-40B4-BE49-F238E27FC236}">
                    <a16:creationId xmlns:a16="http://schemas.microsoft.com/office/drawing/2014/main" id="{FC0611E4-03CE-4FC0-A63C-2F3C3272BA64}"/>
                  </a:ext>
                </a:extLst>
              </p:cNvPr>
              <p:cNvSpPr/>
              <p:nvPr/>
            </p:nvSpPr>
            <p:spPr>
              <a:xfrm>
                <a:off x="7744911" y="2678422"/>
                <a:ext cx="18349" cy="18408"/>
              </a:xfrm>
              <a:custGeom>
                <a:avLst/>
                <a:gdLst>
                  <a:gd name="connsiteX0" fmla="*/ 11388 w 18349"/>
                  <a:gd name="connsiteY0" fmla="*/ 18146 h 18408"/>
                  <a:gd name="connsiteX1" fmla="*/ 18086 w 18349"/>
                  <a:gd name="connsiteY1" fmla="*/ 7021 h 18408"/>
                  <a:gd name="connsiteX2" fmla="*/ 6962 w 18349"/>
                  <a:gd name="connsiteY2" fmla="*/ 263 h 18408"/>
                  <a:gd name="connsiteX3" fmla="*/ 263 w 18349"/>
                  <a:gd name="connsiteY3" fmla="*/ 11387 h 18408"/>
                  <a:gd name="connsiteX4" fmla="*/ 11388 w 18349"/>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1388" y="18146"/>
                    </a:moveTo>
                    <a:cubicBezTo>
                      <a:pt x="16292" y="16949"/>
                      <a:pt x="19282" y="11926"/>
                      <a:pt x="18086" y="7021"/>
                    </a:cubicBezTo>
                    <a:cubicBezTo>
                      <a:pt x="16890" y="2057"/>
                      <a:pt x="11866" y="-933"/>
                      <a:pt x="6962" y="263"/>
                    </a:cubicBezTo>
                    <a:cubicBezTo>
                      <a:pt x="2058" y="1459"/>
                      <a:pt x="-933" y="6483"/>
                      <a:pt x="263" y="11387"/>
                    </a:cubicBezTo>
                    <a:cubicBezTo>
                      <a:pt x="1520" y="16351"/>
                      <a:pt x="6483" y="19342"/>
                      <a:pt x="11388" y="18146"/>
                    </a:cubicBezTo>
                    <a:close/>
                  </a:path>
                </a:pathLst>
              </a:custGeom>
              <a:grpFill/>
              <a:ln w="5978" cap="flat">
                <a:noFill/>
                <a:prstDash val="solid"/>
                <a:miter/>
              </a:ln>
            </p:spPr>
            <p:txBody>
              <a:bodyPr rtlCol="0" anchor="ctr"/>
              <a:lstStyle/>
              <a:p>
                <a:endParaRPr lang="en-GB"/>
              </a:p>
            </p:txBody>
          </p:sp>
        </p:grpSp>
        <p:grpSp>
          <p:nvGrpSpPr>
            <p:cNvPr id="152" name="Graphic 3">
              <a:extLst>
                <a:ext uri="{FF2B5EF4-FFF2-40B4-BE49-F238E27FC236}">
                  <a16:creationId xmlns:a16="http://schemas.microsoft.com/office/drawing/2014/main" id="{44245E7E-A6F0-46F8-8498-20BB6562AC4C}"/>
                </a:ext>
              </a:extLst>
            </p:cNvPr>
            <p:cNvGrpSpPr/>
            <p:nvPr/>
          </p:nvGrpSpPr>
          <p:grpSpPr>
            <a:xfrm>
              <a:off x="7809636" y="3488106"/>
              <a:ext cx="247857" cy="28907"/>
              <a:chOff x="7809636" y="3488106"/>
              <a:chExt cx="247857" cy="28907"/>
            </a:xfrm>
            <a:grpFill/>
          </p:grpSpPr>
          <p:sp>
            <p:nvSpPr>
              <p:cNvPr id="4922" name="Vrije vorm: vorm 4921">
                <a:extLst>
                  <a:ext uri="{FF2B5EF4-FFF2-40B4-BE49-F238E27FC236}">
                    <a16:creationId xmlns:a16="http://schemas.microsoft.com/office/drawing/2014/main" id="{01F71A96-7CC8-416F-A8D6-ACE650AF29AA}"/>
                  </a:ext>
                </a:extLst>
              </p:cNvPr>
              <p:cNvSpPr/>
              <p:nvPr/>
            </p:nvSpPr>
            <p:spPr>
              <a:xfrm>
                <a:off x="7818259" y="3495772"/>
                <a:ext cx="230556" cy="13576"/>
              </a:xfrm>
              <a:custGeom>
                <a:avLst/>
                <a:gdLst>
                  <a:gd name="connsiteX0" fmla="*/ 230556 w 230556"/>
                  <a:gd name="connsiteY0" fmla="*/ 10466 h 13576"/>
                  <a:gd name="connsiteX1" fmla="*/ 230437 w 230556"/>
                  <a:gd name="connsiteY1" fmla="*/ 13576 h 13576"/>
                  <a:gd name="connsiteX2" fmla="*/ 0 w 230556"/>
                  <a:gd name="connsiteY2" fmla="*/ 3050 h 13576"/>
                  <a:gd name="connsiteX3" fmla="*/ 120 w 230556"/>
                  <a:gd name="connsiteY3" fmla="*/ 0 h 13576"/>
                </a:gdLst>
                <a:ahLst/>
                <a:cxnLst>
                  <a:cxn ang="0">
                    <a:pos x="connsiteX0" y="connsiteY0"/>
                  </a:cxn>
                  <a:cxn ang="0">
                    <a:pos x="connsiteX1" y="connsiteY1"/>
                  </a:cxn>
                  <a:cxn ang="0">
                    <a:pos x="connsiteX2" y="connsiteY2"/>
                  </a:cxn>
                  <a:cxn ang="0">
                    <a:pos x="connsiteX3" y="connsiteY3"/>
                  </a:cxn>
                </a:cxnLst>
                <a:rect l="l" t="t" r="r" b="b"/>
                <a:pathLst>
                  <a:path w="230556" h="13576">
                    <a:moveTo>
                      <a:pt x="230556" y="10466"/>
                    </a:moveTo>
                    <a:lnTo>
                      <a:pt x="230437" y="13576"/>
                    </a:lnTo>
                    <a:lnTo>
                      <a:pt x="0" y="3050"/>
                    </a:lnTo>
                    <a:lnTo>
                      <a:pt x="120" y="0"/>
                    </a:lnTo>
                    <a:close/>
                  </a:path>
                </a:pathLst>
              </a:custGeom>
              <a:grpFill/>
              <a:ln w="5978" cap="flat">
                <a:noFill/>
                <a:prstDash val="solid"/>
                <a:miter/>
              </a:ln>
            </p:spPr>
            <p:txBody>
              <a:bodyPr rtlCol="0" anchor="ctr"/>
              <a:lstStyle/>
              <a:p>
                <a:endParaRPr lang="en-GB"/>
              </a:p>
            </p:txBody>
          </p:sp>
          <p:sp>
            <p:nvSpPr>
              <p:cNvPr id="4923" name="Vrije vorm: vorm 4922">
                <a:extLst>
                  <a:ext uri="{FF2B5EF4-FFF2-40B4-BE49-F238E27FC236}">
                    <a16:creationId xmlns:a16="http://schemas.microsoft.com/office/drawing/2014/main" id="{349421D5-5454-47D1-81D1-13882C4C5FBB}"/>
                  </a:ext>
                </a:extLst>
              </p:cNvPr>
              <p:cNvSpPr/>
              <p:nvPr/>
            </p:nvSpPr>
            <p:spPr>
              <a:xfrm>
                <a:off x="8039180" y="3498572"/>
                <a:ext cx="18313" cy="18441"/>
              </a:xfrm>
              <a:custGeom>
                <a:avLst/>
                <a:gdLst>
                  <a:gd name="connsiteX0" fmla="*/ 9515 w 18313"/>
                  <a:gd name="connsiteY0" fmla="*/ 10 h 18441"/>
                  <a:gd name="connsiteX1" fmla="*/ 18307 w 18313"/>
                  <a:gd name="connsiteY1" fmla="*/ 9639 h 18441"/>
                  <a:gd name="connsiteX2" fmla="*/ 8797 w 18313"/>
                  <a:gd name="connsiteY2" fmla="*/ 18431 h 18441"/>
                  <a:gd name="connsiteX3" fmla="*/ 6 w 18313"/>
                  <a:gd name="connsiteY3" fmla="*/ 8802 h 18441"/>
                  <a:gd name="connsiteX4" fmla="*/ 9515 w 18313"/>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41">
                    <a:moveTo>
                      <a:pt x="9515" y="10"/>
                    </a:moveTo>
                    <a:cubicBezTo>
                      <a:pt x="14599" y="250"/>
                      <a:pt x="18486" y="4556"/>
                      <a:pt x="18307" y="9639"/>
                    </a:cubicBezTo>
                    <a:cubicBezTo>
                      <a:pt x="18128" y="14723"/>
                      <a:pt x="13822" y="18670"/>
                      <a:pt x="8797" y="18431"/>
                    </a:cubicBezTo>
                    <a:cubicBezTo>
                      <a:pt x="3714" y="18192"/>
                      <a:pt x="-174" y="13886"/>
                      <a:pt x="6" y="8802"/>
                    </a:cubicBezTo>
                    <a:cubicBezTo>
                      <a:pt x="186" y="3719"/>
                      <a:pt x="4432" y="-229"/>
                      <a:pt x="9515" y="10"/>
                    </a:cubicBezTo>
                    <a:close/>
                  </a:path>
                </a:pathLst>
              </a:custGeom>
              <a:grpFill/>
              <a:ln w="5978" cap="flat">
                <a:noFill/>
                <a:prstDash val="solid"/>
                <a:miter/>
              </a:ln>
            </p:spPr>
            <p:txBody>
              <a:bodyPr rtlCol="0" anchor="ctr"/>
              <a:lstStyle/>
              <a:p>
                <a:endParaRPr lang="en-GB"/>
              </a:p>
            </p:txBody>
          </p:sp>
          <p:sp>
            <p:nvSpPr>
              <p:cNvPr id="4924" name="Vrije vorm: vorm 4923">
                <a:extLst>
                  <a:ext uri="{FF2B5EF4-FFF2-40B4-BE49-F238E27FC236}">
                    <a16:creationId xmlns:a16="http://schemas.microsoft.com/office/drawing/2014/main" id="{BA7DF958-F59C-4D91-B3DD-723CACC8A293}"/>
                  </a:ext>
                </a:extLst>
              </p:cNvPr>
              <p:cNvSpPr/>
              <p:nvPr/>
            </p:nvSpPr>
            <p:spPr>
              <a:xfrm>
                <a:off x="7809636" y="3488106"/>
                <a:ext cx="18321" cy="18441"/>
              </a:xfrm>
              <a:custGeom>
                <a:avLst/>
                <a:gdLst>
                  <a:gd name="connsiteX0" fmla="*/ 9519 w 18321"/>
                  <a:gd name="connsiteY0" fmla="*/ 10 h 18441"/>
                  <a:gd name="connsiteX1" fmla="*/ 10 w 18321"/>
                  <a:gd name="connsiteY1" fmla="*/ 8802 h 18441"/>
                  <a:gd name="connsiteX2" fmla="*/ 8802 w 18321"/>
                  <a:gd name="connsiteY2" fmla="*/ 18431 h 18441"/>
                  <a:gd name="connsiteX3" fmla="*/ 18312 w 18321"/>
                  <a:gd name="connsiteY3" fmla="*/ 9639 h 18441"/>
                  <a:gd name="connsiteX4" fmla="*/ 9519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19" y="10"/>
                    </a:moveTo>
                    <a:cubicBezTo>
                      <a:pt x="4436" y="-229"/>
                      <a:pt x="190" y="3719"/>
                      <a:pt x="10" y="8802"/>
                    </a:cubicBezTo>
                    <a:cubicBezTo>
                      <a:pt x="-228" y="13886"/>
                      <a:pt x="3718" y="18192"/>
                      <a:pt x="8802" y="18431"/>
                    </a:cubicBezTo>
                    <a:cubicBezTo>
                      <a:pt x="13886" y="18670"/>
                      <a:pt x="18132" y="14723"/>
                      <a:pt x="18312" y="9639"/>
                    </a:cubicBezTo>
                    <a:cubicBezTo>
                      <a:pt x="18550" y="4556"/>
                      <a:pt x="14604" y="250"/>
                      <a:pt x="9519" y="10"/>
                    </a:cubicBezTo>
                    <a:close/>
                  </a:path>
                </a:pathLst>
              </a:custGeom>
              <a:grpFill/>
              <a:ln w="5978" cap="flat">
                <a:noFill/>
                <a:prstDash val="solid"/>
                <a:miter/>
              </a:ln>
            </p:spPr>
            <p:txBody>
              <a:bodyPr rtlCol="0" anchor="ctr"/>
              <a:lstStyle/>
              <a:p>
                <a:endParaRPr lang="en-GB"/>
              </a:p>
            </p:txBody>
          </p:sp>
        </p:grpSp>
        <p:grpSp>
          <p:nvGrpSpPr>
            <p:cNvPr id="153" name="Graphic 3">
              <a:extLst>
                <a:ext uri="{FF2B5EF4-FFF2-40B4-BE49-F238E27FC236}">
                  <a16:creationId xmlns:a16="http://schemas.microsoft.com/office/drawing/2014/main" id="{9BA5DB23-BB8E-4734-AEDE-9F70E59E88DD}"/>
                </a:ext>
              </a:extLst>
            </p:cNvPr>
            <p:cNvGrpSpPr/>
            <p:nvPr/>
          </p:nvGrpSpPr>
          <p:grpSpPr>
            <a:xfrm>
              <a:off x="7257788" y="1913022"/>
              <a:ext cx="375324" cy="316284"/>
              <a:chOff x="7257788" y="1913022"/>
              <a:chExt cx="375324" cy="316284"/>
            </a:xfrm>
            <a:grpFill/>
          </p:grpSpPr>
          <p:sp>
            <p:nvSpPr>
              <p:cNvPr id="4919" name="Vrije vorm: vorm 4918">
                <a:extLst>
                  <a:ext uri="{FF2B5EF4-FFF2-40B4-BE49-F238E27FC236}">
                    <a16:creationId xmlns:a16="http://schemas.microsoft.com/office/drawing/2014/main" id="{CA103E8A-3A75-4148-B926-4E843D9F270E}"/>
                  </a:ext>
                </a:extLst>
              </p:cNvPr>
              <p:cNvSpPr/>
              <p:nvPr/>
            </p:nvSpPr>
            <p:spPr>
              <a:xfrm>
                <a:off x="7265640" y="1920809"/>
                <a:ext cx="359620" cy="300770"/>
              </a:xfrm>
              <a:custGeom>
                <a:avLst/>
                <a:gdLst>
                  <a:gd name="connsiteX0" fmla="*/ 359621 w 359620"/>
                  <a:gd name="connsiteY0" fmla="*/ 2332 h 300770"/>
                  <a:gd name="connsiteX1" fmla="*/ 1914 w 359620"/>
                  <a:gd name="connsiteY1" fmla="*/ 300770 h 300770"/>
                  <a:gd name="connsiteX2" fmla="*/ 0 w 359620"/>
                  <a:gd name="connsiteY2" fmla="*/ 298378 h 300770"/>
                  <a:gd name="connsiteX3" fmla="*/ 357647 w 359620"/>
                  <a:gd name="connsiteY3" fmla="*/ 0 h 300770"/>
                </a:gdLst>
                <a:ahLst/>
                <a:cxnLst>
                  <a:cxn ang="0">
                    <a:pos x="connsiteX0" y="connsiteY0"/>
                  </a:cxn>
                  <a:cxn ang="0">
                    <a:pos x="connsiteX1" y="connsiteY1"/>
                  </a:cxn>
                  <a:cxn ang="0">
                    <a:pos x="connsiteX2" y="connsiteY2"/>
                  </a:cxn>
                  <a:cxn ang="0">
                    <a:pos x="connsiteX3" y="connsiteY3"/>
                  </a:cxn>
                </a:cxnLst>
                <a:rect l="l" t="t" r="r" b="b"/>
                <a:pathLst>
                  <a:path w="359620" h="300770">
                    <a:moveTo>
                      <a:pt x="359621" y="2332"/>
                    </a:moveTo>
                    <a:lnTo>
                      <a:pt x="1914" y="300770"/>
                    </a:lnTo>
                    <a:lnTo>
                      <a:pt x="0" y="298378"/>
                    </a:lnTo>
                    <a:lnTo>
                      <a:pt x="357647" y="0"/>
                    </a:lnTo>
                    <a:close/>
                  </a:path>
                </a:pathLst>
              </a:custGeom>
              <a:grpFill/>
              <a:ln w="5978" cap="flat">
                <a:noFill/>
                <a:prstDash val="solid"/>
                <a:miter/>
              </a:ln>
            </p:spPr>
            <p:txBody>
              <a:bodyPr rtlCol="0" anchor="ctr"/>
              <a:lstStyle/>
              <a:p>
                <a:endParaRPr lang="en-GB"/>
              </a:p>
            </p:txBody>
          </p:sp>
          <p:sp>
            <p:nvSpPr>
              <p:cNvPr id="4920" name="Vrije vorm: vorm 4919">
                <a:extLst>
                  <a:ext uri="{FF2B5EF4-FFF2-40B4-BE49-F238E27FC236}">
                    <a16:creationId xmlns:a16="http://schemas.microsoft.com/office/drawing/2014/main" id="{2F0AEFC9-492B-4EEF-BC50-9E25FB947968}"/>
                  </a:ext>
                </a:extLst>
              </p:cNvPr>
              <p:cNvSpPr/>
              <p:nvPr/>
            </p:nvSpPr>
            <p:spPr>
              <a:xfrm>
                <a:off x="7257788" y="2210862"/>
                <a:ext cx="18335" cy="18444"/>
              </a:xfrm>
              <a:custGeom>
                <a:avLst/>
                <a:gdLst>
                  <a:gd name="connsiteX0" fmla="*/ 15028 w 18335"/>
                  <a:gd name="connsiteY0" fmla="*/ 16339 h 18444"/>
                  <a:gd name="connsiteX1" fmla="*/ 2111 w 18335"/>
                  <a:gd name="connsiteY1" fmla="*/ 15083 h 18444"/>
                  <a:gd name="connsiteX2" fmla="*/ 3306 w 18335"/>
                  <a:gd name="connsiteY2" fmla="*/ 2105 h 18444"/>
                  <a:gd name="connsiteX3" fmla="*/ 16225 w 18335"/>
                  <a:gd name="connsiteY3" fmla="*/ 3361 h 18444"/>
                  <a:gd name="connsiteX4" fmla="*/ 15028 w 18335"/>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8" y="16339"/>
                    </a:moveTo>
                    <a:cubicBezTo>
                      <a:pt x="11141" y="19569"/>
                      <a:pt x="5340" y="19031"/>
                      <a:pt x="2111" y="15083"/>
                    </a:cubicBezTo>
                    <a:cubicBezTo>
                      <a:pt x="-1119" y="11136"/>
                      <a:pt x="-581" y="5335"/>
                      <a:pt x="3306" y="2105"/>
                    </a:cubicBezTo>
                    <a:cubicBezTo>
                      <a:pt x="7194" y="-1124"/>
                      <a:pt x="12995" y="-586"/>
                      <a:pt x="16225" y="3361"/>
                    </a:cubicBezTo>
                    <a:cubicBezTo>
                      <a:pt x="19454" y="7309"/>
                      <a:pt x="18916" y="13110"/>
                      <a:pt x="15028" y="16339"/>
                    </a:cubicBezTo>
                    <a:close/>
                  </a:path>
                </a:pathLst>
              </a:custGeom>
              <a:grpFill/>
              <a:ln w="5978" cap="flat">
                <a:noFill/>
                <a:prstDash val="solid"/>
                <a:miter/>
              </a:ln>
            </p:spPr>
            <p:txBody>
              <a:bodyPr rtlCol="0" anchor="ctr"/>
              <a:lstStyle/>
              <a:p>
                <a:endParaRPr lang="en-GB"/>
              </a:p>
            </p:txBody>
          </p:sp>
          <p:sp>
            <p:nvSpPr>
              <p:cNvPr id="4921" name="Vrije vorm: vorm 4920">
                <a:extLst>
                  <a:ext uri="{FF2B5EF4-FFF2-40B4-BE49-F238E27FC236}">
                    <a16:creationId xmlns:a16="http://schemas.microsoft.com/office/drawing/2014/main" id="{70DD7055-38C9-47B7-AAA4-FB5F67E2B890}"/>
                  </a:ext>
                </a:extLst>
              </p:cNvPr>
              <p:cNvSpPr/>
              <p:nvPr/>
            </p:nvSpPr>
            <p:spPr>
              <a:xfrm>
                <a:off x="7614777" y="1913022"/>
                <a:ext cx="18335" cy="18444"/>
              </a:xfrm>
              <a:custGeom>
                <a:avLst/>
                <a:gdLst>
                  <a:gd name="connsiteX0" fmla="*/ 15029 w 18335"/>
                  <a:gd name="connsiteY0" fmla="*/ 16339 h 18444"/>
                  <a:gd name="connsiteX1" fmla="*/ 16225 w 18335"/>
                  <a:gd name="connsiteY1" fmla="*/ 3361 h 18444"/>
                  <a:gd name="connsiteX2" fmla="*/ 3306 w 18335"/>
                  <a:gd name="connsiteY2" fmla="*/ 2105 h 18444"/>
                  <a:gd name="connsiteX3" fmla="*/ 2110 w 18335"/>
                  <a:gd name="connsiteY3" fmla="*/ 15084 h 18444"/>
                  <a:gd name="connsiteX4" fmla="*/ 15029 w 18335"/>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39"/>
                    </a:moveTo>
                    <a:cubicBezTo>
                      <a:pt x="18917" y="13110"/>
                      <a:pt x="19455" y="7309"/>
                      <a:pt x="16225" y="3361"/>
                    </a:cubicBezTo>
                    <a:cubicBezTo>
                      <a:pt x="12995" y="-586"/>
                      <a:pt x="7194" y="-1124"/>
                      <a:pt x="3306" y="2105"/>
                    </a:cubicBezTo>
                    <a:cubicBezTo>
                      <a:pt x="-581" y="5335"/>
                      <a:pt x="-1119" y="11136"/>
                      <a:pt x="2110" y="15084"/>
                    </a:cubicBezTo>
                    <a:cubicBezTo>
                      <a:pt x="5340" y="19031"/>
                      <a:pt x="11141" y="19569"/>
                      <a:pt x="15029" y="16339"/>
                    </a:cubicBezTo>
                    <a:close/>
                  </a:path>
                </a:pathLst>
              </a:custGeom>
              <a:grpFill/>
              <a:ln w="5978" cap="flat">
                <a:noFill/>
                <a:prstDash val="solid"/>
                <a:miter/>
              </a:ln>
            </p:spPr>
            <p:txBody>
              <a:bodyPr rtlCol="0" anchor="ctr"/>
              <a:lstStyle/>
              <a:p>
                <a:endParaRPr lang="en-GB"/>
              </a:p>
            </p:txBody>
          </p:sp>
        </p:grpSp>
        <p:grpSp>
          <p:nvGrpSpPr>
            <p:cNvPr id="154" name="Graphic 3">
              <a:extLst>
                <a:ext uri="{FF2B5EF4-FFF2-40B4-BE49-F238E27FC236}">
                  <a16:creationId xmlns:a16="http://schemas.microsoft.com/office/drawing/2014/main" id="{532292EB-2059-4905-83F2-133FD0494929}"/>
                </a:ext>
              </a:extLst>
            </p:cNvPr>
            <p:cNvGrpSpPr/>
            <p:nvPr/>
          </p:nvGrpSpPr>
          <p:grpSpPr>
            <a:xfrm>
              <a:off x="7694522" y="3015367"/>
              <a:ext cx="149546" cy="47272"/>
              <a:chOff x="7694522" y="3015367"/>
              <a:chExt cx="149546" cy="47272"/>
            </a:xfrm>
            <a:grpFill/>
          </p:grpSpPr>
          <p:sp>
            <p:nvSpPr>
              <p:cNvPr id="4916" name="Vrije vorm: vorm 4915">
                <a:extLst>
                  <a:ext uri="{FF2B5EF4-FFF2-40B4-BE49-F238E27FC236}">
                    <a16:creationId xmlns:a16="http://schemas.microsoft.com/office/drawing/2014/main" id="{38B73A7F-D3DD-43B8-88EB-5A1F70A95B72}"/>
                  </a:ext>
                </a:extLst>
              </p:cNvPr>
              <p:cNvSpPr/>
              <p:nvPr/>
            </p:nvSpPr>
            <p:spPr>
              <a:xfrm>
                <a:off x="7702950" y="3022996"/>
                <a:ext cx="132711" cy="32116"/>
              </a:xfrm>
              <a:custGeom>
                <a:avLst/>
                <a:gdLst>
                  <a:gd name="connsiteX0" fmla="*/ 132054 w 132711"/>
                  <a:gd name="connsiteY0" fmla="*/ 0 h 32116"/>
                  <a:gd name="connsiteX1" fmla="*/ 132712 w 132711"/>
                  <a:gd name="connsiteY1" fmla="*/ 2990 h 32116"/>
                  <a:gd name="connsiteX2" fmla="*/ 658 w 132711"/>
                  <a:gd name="connsiteY2" fmla="*/ 32116 h 32116"/>
                  <a:gd name="connsiteX3" fmla="*/ 0 w 132711"/>
                  <a:gd name="connsiteY3" fmla="*/ 29126 h 32116"/>
                </a:gdLst>
                <a:ahLst/>
                <a:cxnLst>
                  <a:cxn ang="0">
                    <a:pos x="connsiteX0" y="connsiteY0"/>
                  </a:cxn>
                  <a:cxn ang="0">
                    <a:pos x="connsiteX1" y="connsiteY1"/>
                  </a:cxn>
                  <a:cxn ang="0">
                    <a:pos x="connsiteX2" y="connsiteY2"/>
                  </a:cxn>
                  <a:cxn ang="0">
                    <a:pos x="connsiteX3" y="connsiteY3"/>
                  </a:cxn>
                </a:cxnLst>
                <a:rect l="l" t="t" r="r" b="b"/>
                <a:pathLst>
                  <a:path w="132711" h="32116">
                    <a:moveTo>
                      <a:pt x="132054" y="0"/>
                    </a:moveTo>
                    <a:lnTo>
                      <a:pt x="132712" y="2990"/>
                    </a:lnTo>
                    <a:lnTo>
                      <a:pt x="658" y="32116"/>
                    </a:lnTo>
                    <a:lnTo>
                      <a:pt x="0" y="29126"/>
                    </a:lnTo>
                    <a:close/>
                  </a:path>
                </a:pathLst>
              </a:custGeom>
              <a:grpFill/>
              <a:ln w="5978" cap="flat">
                <a:noFill/>
                <a:prstDash val="solid"/>
                <a:miter/>
              </a:ln>
            </p:spPr>
            <p:txBody>
              <a:bodyPr rtlCol="0" anchor="ctr"/>
              <a:lstStyle/>
              <a:p>
                <a:endParaRPr lang="en-GB"/>
              </a:p>
            </p:txBody>
          </p:sp>
          <p:sp>
            <p:nvSpPr>
              <p:cNvPr id="4917" name="Vrije vorm: vorm 4916">
                <a:extLst>
                  <a:ext uri="{FF2B5EF4-FFF2-40B4-BE49-F238E27FC236}">
                    <a16:creationId xmlns:a16="http://schemas.microsoft.com/office/drawing/2014/main" id="{5D04ECF0-4543-4D9C-8C8E-886E6ED4F39B}"/>
                  </a:ext>
                </a:extLst>
              </p:cNvPr>
              <p:cNvSpPr/>
              <p:nvPr/>
            </p:nvSpPr>
            <p:spPr>
              <a:xfrm>
                <a:off x="7825739" y="3015367"/>
                <a:ext cx="18329" cy="18367"/>
              </a:xfrm>
              <a:custGeom>
                <a:avLst/>
                <a:gdLst>
                  <a:gd name="connsiteX0" fmla="*/ 7172 w 18329"/>
                  <a:gd name="connsiteY0" fmla="*/ 213 h 18367"/>
                  <a:gd name="connsiteX1" fmla="*/ 18116 w 18329"/>
                  <a:gd name="connsiteY1" fmla="*/ 7210 h 18367"/>
                  <a:gd name="connsiteX2" fmla="*/ 11179 w 18329"/>
                  <a:gd name="connsiteY2" fmla="*/ 18155 h 18367"/>
                  <a:gd name="connsiteX3" fmla="*/ 234 w 18329"/>
                  <a:gd name="connsiteY3" fmla="*/ 11098 h 18367"/>
                  <a:gd name="connsiteX4" fmla="*/ 7172 w 18329"/>
                  <a:gd name="connsiteY4" fmla="*/ 21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67">
                    <a:moveTo>
                      <a:pt x="7172" y="213"/>
                    </a:moveTo>
                    <a:cubicBezTo>
                      <a:pt x="12136" y="-864"/>
                      <a:pt x="17040" y="2246"/>
                      <a:pt x="18116" y="7210"/>
                    </a:cubicBezTo>
                    <a:cubicBezTo>
                      <a:pt x="19193" y="12174"/>
                      <a:pt x="16083" y="17079"/>
                      <a:pt x="11179" y="18155"/>
                    </a:cubicBezTo>
                    <a:cubicBezTo>
                      <a:pt x="6215" y="19231"/>
                      <a:pt x="1311" y="16122"/>
                      <a:pt x="234" y="11098"/>
                    </a:cubicBezTo>
                    <a:cubicBezTo>
                      <a:pt x="-902" y="6194"/>
                      <a:pt x="2208" y="1289"/>
                      <a:pt x="7172" y="213"/>
                    </a:cubicBezTo>
                    <a:close/>
                  </a:path>
                </a:pathLst>
              </a:custGeom>
              <a:grpFill/>
              <a:ln w="5978" cap="flat">
                <a:noFill/>
                <a:prstDash val="solid"/>
                <a:miter/>
              </a:ln>
            </p:spPr>
            <p:txBody>
              <a:bodyPr rtlCol="0" anchor="ctr"/>
              <a:lstStyle/>
              <a:p>
                <a:endParaRPr lang="en-GB"/>
              </a:p>
            </p:txBody>
          </p:sp>
          <p:sp>
            <p:nvSpPr>
              <p:cNvPr id="4918" name="Vrije vorm: vorm 4917">
                <a:extLst>
                  <a:ext uri="{FF2B5EF4-FFF2-40B4-BE49-F238E27FC236}">
                    <a16:creationId xmlns:a16="http://schemas.microsoft.com/office/drawing/2014/main" id="{7D1D7239-675D-42C9-BFD2-77A2F34F0863}"/>
                  </a:ext>
                </a:extLst>
              </p:cNvPr>
              <p:cNvSpPr/>
              <p:nvPr/>
            </p:nvSpPr>
            <p:spPr>
              <a:xfrm>
                <a:off x="7694522" y="3044256"/>
                <a:ext cx="18350" cy="18383"/>
              </a:xfrm>
              <a:custGeom>
                <a:avLst/>
                <a:gdLst>
                  <a:gd name="connsiteX0" fmla="*/ 7172 w 18350"/>
                  <a:gd name="connsiteY0" fmla="*/ 210 h 18383"/>
                  <a:gd name="connsiteX1" fmla="*/ 234 w 18350"/>
                  <a:gd name="connsiteY1" fmla="*/ 11155 h 18383"/>
                  <a:gd name="connsiteX2" fmla="*/ 11179 w 18350"/>
                  <a:gd name="connsiteY2" fmla="*/ 18152 h 18383"/>
                  <a:gd name="connsiteX3" fmla="*/ 18117 w 18350"/>
                  <a:gd name="connsiteY3" fmla="*/ 7208 h 18383"/>
                  <a:gd name="connsiteX4" fmla="*/ 7172 w 18350"/>
                  <a:gd name="connsiteY4" fmla="*/ 210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83">
                    <a:moveTo>
                      <a:pt x="7172" y="210"/>
                    </a:moveTo>
                    <a:cubicBezTo>
                      <a:pt x="2208" y="1287"/>
                      <a:pt x="-902" y="6191"/>
                      <a:pt x="234" y="11155"/>
                    </a:cubicBezTo>
                    <a:cubicBezTo>
                      <a:pt x="1310" y="16119"/>
                      <a:pt x="6215" y="19289"/>
                      <a:pt x="11179" y="18152"/>
                    </a:cubicBezTo>
                    <a:cubicBezTo>
                      <a:pt x="16143" y="17076"/>
                      <a:pt x="19253" y="12172"/>
                      <a:pt x="18117" y="7208"/>
                    </a:cubicBezTo>
                    <a:cubicBezTo>
                      <a:pt x="17040" y="2303"/>
                      <a:pt x="12136" y="-866"/>
                      <a:pt x="7172" y="210"/>
                    </a:cubicBezTo>
                    <a:close/>
                  </a:path>
                </a:pathLst>
              </a:custGeom>
              <a:grpFill/>
              <a:ln w="5978" cap="flat">
                <a:noFill/>
                <a:prstDash val="solid"/>
                <a:miter/>
              </a:ln>
            </p:spPr>
            <p:txBody>
              <a:bodyPr rtlCol="0" anchor="ctr"/>
              <a:lstStyle/>
              <a:p>
                <a:endParaRPr lang="en-GB"/>
              </a:p>
            </p:txBody>
          </p:sp>
        </p:grpSp>
        <p:grpSp>
          <p:nvGrpSpPr>
            <p:cNvPr id="155" name="Graphic 3">
              <a:extLst>
                <a:ext uri="{FF2B5EF4-FFF2-40B4-BE49-F238E27FC236}">
                  <a16:creationId xmlns:a16="http://schemas.microsoft.com/office/drawing/2014/main" id="{C4254F2F-4BF8-47BB-9F6E-517BADB0D17A}"/>
                </a:ext>
              </a:extLst>
            </p:cNvPr>
            <p:cNvGrpSpPr/>
            <p:nvPr/>
          </p:nvGrpSpPr>
          <p:grpSpPr>
            <a:xfrm>
              <a:off x="7550605" y="2612762"/>
              <a:ext cx="189263" cy="67968"/>
              <a:chOff x="7550605" y="2612762"/>
              <a:chExt cx="189263" cy="67968"/>
            </a:xfrm>
            <a:grpFill/>
          </p:grpSpPr>
          <p:sp>
            <p:nvSpPr>
              <p:cNvPr id="4913" name="Vrije vorm: vorm 4912">
                <a:extLst>
                  <a:ext uri="{FF2B5EF4-FFF2-40B4-BE49-F238E27FC236}">
                    <a16:creationId xmlns:a16="http://schemas.microsoft.com/office/drawing/2014/main" id="{1A7DABA8-7DB2-45E7-B7D0-C3AB1FD48EA0}"/>
                  </a:ext>
                </a:extLst>
              </p:cNvPr>
              <p:cNvSpPr/>
              <p:nvPr/>
            </p:nvSpPr>
            <p:spPr>
              <a:xfrm>
                <a:off x="7559170" y="2620542"/>
                <a:ext cx="172666" cy="52730"/>
              </a:xfrm>
              <a:custGeom>
                <a:avLst/>
                <a:gdLst>
                  <a:gd name="connsiteX0" fmla="*/ 0 w 172666"/>
                  <a:gd name="connsiteY0" fmla="*/ 49801 h 52730"/>
                  <a:gd name="connsiteX1" fmla="*/ 171818 w 172666"/>
                  <a:gd name="connsiteY1" fmla="*/ 0 h 52730"/>
                  <a:gd name="connsiteX2" fmla="*/ 172667 w 172666"/>
                  <a:gd name="connsiteY2" fmla="*/ 2930 h 52730"/>
                  <a:gd name="connsiteX3" fmla="*/ 849 w 172666"/>
                  <a:gd name="connsiteY3" fmla="*/ 52731 h 52730"/>
                </a:gdLst>
                <a:ahLst/>
                <a:cxnLst>
                  <a:cxn ang="0">
                    <a:pos x="connsiteX0" y="connsiteY0"/>
                  </a:cxn>
                  <a:cxn ang="0">
                    <a:pos x="connsiteX1" y="connsiteY1"/>
                  </a:cxn>
                  <a:cxn ang="0">
                    <a:pos x="connsiteX2" y="connsiteY2"/>
                  </a:cxn>
                  <a:cxn ang="0">
                    <a:pos x="connsiteX3" y="connsiteY3"/>
                  </a:cxn>
                </a:cxnLst>
                <a:rect l="l" t="t" r="r" b="b"/>
                <a:pathLst>
                  <a:path w="172666" h="52730">
                    <a:moveTo>
                      <a:pt x="0" y="49801"/>
                    </a:moveTo>
                    <a:lnTo>
                      <a:pt x="171818" y="0"/>
                    </a:lnTo>
                    <a:lnTo>
                      <a:pt x="172667" y="2930"/>
                    </a:lnTo>
                    <a:lnTo>
                      <a:pt x="849" y="52731"/>
                    </a:lnTo>
                    <a:close/>
                  </a:path>
                </a:pathLst>
              </a:custGeom>
              <a:grpFill/>
              <a:ln w="5978" cap="flat">
                <a:noFill/>
                <a:prstDash val="solid"/>
                <a:miter/>
              </a:ln>
            </p:spPr>
            <p:txBody>
              <a:bodyPr rtlCol="0" anchor="ctr"/>
              <a:lstStyle/>
              <a:p>
                <a:endParaRPr lang="en-GB"/>
              </a:p>
            </p:txBody>
          </p:sp>
          <p:sp>
            <p:nvSpPr>
              <p:cNvPr id="4914" name="Vrije vorm: vorm 4913">
                <a:extLst>
                  <a:ext uri="{FF2B5EF4-FFF2-40B4-BE49-F238E27FC236}">
                    <a16:creationId xmlns:a16="http://schemas.microsoft.com/office/drawing/2014/main" id="{B303AB2D-D655-4151-819F-07329832279C}"/>
                  </a:ext>
                </a:extLst>
              </p:cNvPr>
              <p:cNvSpPr/>
              <p:nvPr/>
            </p:nvSpPr>
            <p:spPr>
              <a:xfrm>
                <a:off x="7550605" y="2662287"/>
                <a:ext cx="18334" cy="18443"/>
              </a:xfrm>
              <a:custGeom>
                <a:avLst/>
                <a:gdLst>
                  <a:gd name="connsiteX0" fmla="*/ 11739 w 18334"/>
                  <a:gd name="connsiteY0" fmla="*/ 18073 h 18443"/>
                  <a:gd name="connsiteX1" fmla="*/ 375 w 18334"/>
                  <a:gd name="connsiteY1" fmla="*/ 11794 h 18443"/>
                  <a:gd name="connsiteX2" fmla="*/ 6596 w 18334"/>
                  <a:gd name="connsiteY2" fmla="*/ 370 h 18443"/>
                  <a:gd name="connsiteX3" fmla="*/ 17959 w 18334"/>
                  <a:gd name="connsiteY3" fmla="*/ 6650 h 18443"/>
                  <a:gd name="connsiteX4" fmla="*/ 11739 w 18334"/>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3">
                    <a:moveTo>
                      <a:pt x="11739" y="18073"/>
                    </a:moveTo>
                    <a:cubicBezTo>
                      <a:pt x="6894" y="19509"/>
                      <a:pt x="1811" y="16638"/>
                      <a:pt x="375" y="11794"/>
                    </a:cubicBezTo>
                    <a:cubicBezTo>
                      <a:pt x="-1060" y="6889"/>
                      <a:pt x="1751" y="1806"/>
                      <a:pt x="6596" y="370"/>
                    </a:cubicBezTo>
                    <a:cubicBezTo>
                      <a:pt x="11440" y="-1065"/>
                      <a:pt x="16524" y="1806"/>
                      <a:pt x="17959" y="6650"/>
                    </a:cubicBezTo>
                    <a:cubicBezTo>
                      <a:pt x="19394" y="11554"/>
                      <a:pt x="16584" y="16638"/>
                      <a:pt x="11739" y="18073"/>
                    </a:cubicBezTo>
                    <a:close/>
                  </a:path>
                </a:pathLst>
              </a:custGeom>
              <a:grpFill/>
              <a:ln w="5978" cap="flat">
                <a:noFill/>
                <a:prstDash val="solid"/>
                <a:miter/>
              </a:ln>
            </p:spPr>
            <p:txBody>
              <a:bodyPr rtlCol="0" anchor="ctr"/>
              <a:lstStyle/>
              <a:p>
                <a:endParaRPr lang="en-GB"/>
              </a:p>
            </p:txBody>
          </p:sp>
          <p:sp>
            <p:nvSpPr>
              <p:cNvPr id="4915" name="Vrije vorm: vorm 4914">
                <a:extLst>
                  <a:ext uri="{FF2B5EF4-FFF2-40B4-BE49-F238E27FC236}">
                    <a16:creationId xmlns:a16="http://schemas.microsoft.com/office/drawing/2014/main" id="{83701871-ED28-4CB1-ADD7-1FDA01A4F769}"/>
                  </a:ext>
                </a:extLst>
              </p:cNvPr>
              <p:cNvSpPr/>
              <p:nvPr/>
            </p:nvSpPr>
            <p:spPr>
              <a:xfrm>
                <a:off x="7721534" y="2612762"/>
                <a:ext cx="18333" cy="18448"/>
              </a:xfrm>
              <a:custGeom>
                <a:avLst/>
                <a:gdLst>
                  <a:gd name="connsiteX0" fmla="*/ 11738 w 18333"/>
                  <a:gd name="connsiteY0" fmla="*/ 18078 h 18448"/>
                  <a:gd name="connsiteX1" fmla="*/ 17959 w 18333"/>
                  <a:gd name="connsiteY1" fmla="*/ 6655 h 18448"/>
                  <a:gd name="connsiteX2" fmla="*/ 6595 w 18333"/>
                  <a:gd name="connsiteY2" fmla="*/ 375 h 18448"/>
                  <a:gd name="connsiteX3" fmla="*/ 376 w 18333"/>
                  <a:gd name="connsiteY3" fmla="*/ 11798 h 18448"/>
                  <a:gd name="connsiteX4" fmla="*/ 11738 w 18333"/>
                  <a:gd name="connsiteY4" fmla="*/ 180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8">
                    <a:moveTo>
                      <a:pt x="11738" y="18078"/>
                    </a:moveTo>
                    <a:cubicBezTo>
                      <a:pt x="16583" y="16702"/>
                      <a:pt x="19394" y="11559"/>
                      <a:pt x="17959" y="6655"/>
                    </a:cubicBezTo>
                    <a:cubicBezTo>
                      <a:pt x="16523" y="1751"/>
                      <a:pt x="11440" y="-1060"/>
                      <a:pt x="6595" y="375"/>
                    </a:cubicBezTo>
                    <a:cubicBezTo>
                      <a:pt x="1751" y="1810"/>
                      <a:pt x="-1060" y="6894"/>
                      <a:pt x="376" y="11798"/>
                    </a:cubicBezTo>
                    <a:cubicBezTo>
                      <a:pt x="1811" y="16643"/>
                      <a:pt x="6894" y="19513"/>
                      <a:pt x="11738" y="18078"/>
                    </a:cubicBezTo>
                    <a:close/>
                  </a:path>
                </a:pathLst>
              </a:custGeom>
              <a:grpFill/>
              <a:ln w="5978" cap="flat">
                <a:noFill/>
                <a:prstDash val="solid"/>
                <a:miter/>
              </a:ln>
            </p:spPr>
            <p:txBody>
              <a:bodyPr rtlCol="0" anchor="ctr"/>
              <a:lstStyle/>
              <a:p>
                <a:endParaRPr lang="en-GB"/>
              </a:p>
            </p:txBody>
          </p:sp>
        </p:grpSp>
        <p:grpSp>
          <p:nvGrpSpPr>
            <p:cNvPr id="156" name="Graphic 3">
              <a:extLst>
                <a:ext uri="{FF2B5EF4-FFF2-40B4-BE49-F238E27FC236}">
                  <a16:creationId xmlns:a16="http://schemas.microsoft.com/office/drawing/2014/main" id="{60742498-7129-4CC0-81A6-8CC7ABCFE5B0}"/>
                </a:ext>
              </a:extLst>
            </p:cNvPr>
            <p:cNvGrpSpPr/>
            <p:nvPr/>
          </p:nvGrpSpPr>
          <p:grpSpPr>
            <a:xfrm>
              <a:off x="7126487" y="1593788"/>
              <a:ext cx="516359" cy="544153"/>
              <a:chOff x="7126487" y="1593788"/>
              <a:chExt cx="516359" cy="544153"/>
            </a:xfrm>
            <a:grpFill/>
          </p:grpSpPr>
          <p:sp>
            <p:nvSpPr>
              <p:cNvPr id="4910" name="Vrije vorm: vorm 4909">
                <a:extLst>
                  <a:ext uri="{FF2B5EF4-FFF2-40B4-BE49-F238E27FC236}">
                    <a16:creationId xmlns:a16="http://schemas.microsoft.com/office/drawing/2014/main" id="{62D79E42-9485-40AB-B48D-CA75465E444C}"/>
                  </a:ext>
                </a:extLst>
              </p:cNvPr>
              <p:cNvSpPr/>
              <p:nvPr/>
            </p:nvSpPr>
            <p:spPr>
              <a:xfrm>
                <a:off x="7134244" y="1601618"/>
                <a:ext cx="500885" cy="528456"/>
              </a:xfrm>
              <a:custGeom>
                <a:avLst/>
                <a:gdLst>
                  <a:gd name="connsiteX0" fmla="*/ 500886 w 500885"/>
                  <a:gd name="connsiteY0" fmla="*/ 2093 h 528456"/>
                  <a:gd name="connsiteX1" fmla="*/ 2213 w 500885"/>
                  <a:gd name="connsiteY1" fmla="*/ 528457 h 528456"/>
                  <a:gd name="connsiteX2" fmla="*/ 0 w 500885"/>
                  <a:gd name="connsiteY2" fmla="*/ 526363 h 528456"/>
                  <a:gd name="connsiteX3" fmla="*/ 498673 w 500885"/>
                  <a:gd name="connsiteY3" fmla="*/ 0 h 528456"/>
                </a:gdLst>
                <a:ahLst/>
                <a:cxnLst>
                  <a:cxn ang="0">
                    <a:pos x="connsiteX0" y="connsiteY0"/>
                  </a:cxn>
                  <a:cxn ang="0">
                    <a:pos x="connsiteX1" y="connsiteY1"/>
                  </a:cxn>
                  <a:cxn ang="0">
                    <a:pos x="connsiteX2" y="connsiteY2"/>
                  </a:cxn>
                  <a:cxn ang="0">
                    <a:pos x="connsiteX3" y="connsiteY3"/>
                  </a:cxn>
                </a:cxnLst>
                <a:rect l="l" t="t" r="r" b="b"/>
                <a:pathLst>
                  <a:path w="500885" h="528456">
                    <a:moveTo>
                      <a:pt x="500886" y="2093"/>
                    </a:moveTo>
                    <a:lnTo>
                      <a:pt x="2213" y="528457"/>
                    </a:lnTo>
                    <a:lnTo>
                      <a:pt x="0" y="526363"/>
                    </a:lnTo>
                    <a:lnTo>
                      <a:pt x="498673" y="0"/>
                    </a:lnTo>
                    <a:close/>
                  </a:path>
                </a:pathLst>
              </a:custGeom>
              <a:grpFill/>
              <a:ln w="5978" cap="flat">
                <a:noFill/>
                <a:prstDash val="solid"/>
                <a:miter/>
              </a:ln>
            </p:spPr>
            <p:txBody>
              <a:bodyPr rtlCol="0" anchor="ctr"/>
              <a:lstStyle/>
              <a:p>
                <a:endParaRPr lang="en-GB"/>
              </a:p>
            </p:txBody>
          </p:sp>
          <p:sp>
            <p:nvSpPr>
              <p:cNvPr id="4911" name="Vrije vorm: vorm 4910">
                <a:extLst>
                  <a:ext uri="{FF2B5EF4-FFF2-40B4-BE49-F238E27FC236}">
                    <a16:creationId xmlns:a16="http://schemas.microsoft.com/office/drawing/2014/main" id="{1F87317E-2F3B-4672-9405-2C5E7B45B25F}"/>
                  </a:ext>
                </a:extLst>
              </p:cNvPr>
              <p:cNvSpPr/>
              <p:nvPr/>
            </p:nvSpPr>
            <p:spPr>
              <a:xfrm>
                <a:off x="7126487" y="2119515"/>
                <a:ext cx="18323" cy="18426"/>
              </a:xfrm>
              <a:custGeom>
                <a:avLst/>
                <a:gdLst>
                  <a:gd name="connsiteX0" fmla="*/ 15831 w 18323"/>
                  <a:gd name="connsiteY0" fmla="*/ 15583 h 18426"/>
                  <a:gd name="connsiteX1" fmla="*/ 2852 w 18323"/>
                  <a:gd name="connsiteY1" fmla="*/ 15882 h 18426"/>
                  <a:gd name="connsiteX2" fmla="*/ 2494 w 18323"/>
                  <a:gd name="connsiteY2" fmla="*/ 2844 h 18426"/>
                  <a:gd name="connsiteX3" fmla="*/ 15471 w 18323"/>
                  <a:gd name="connsiteY3" fmla="*/ 2545 h 18426"/>
                  <a:gd name="connsiteX4" fmla="*/ 15831 w 18323"/>
                  <a:gd name="connsiteY4" fmla="*/ 1558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6">
                    <a:moveTo>
                      <a:pt x="15831" y="15583"/>
                    </a:moveTo>
                    <a:cubicBezTo>
                      <a:pt x="12361" y="19231"/>
                      <a:pt x="6560" y="19410"/>
                      <a:pt x="2852" y="15882"/>
                    </a:cubicBezTo>
                    <a:cubicBezTo>
                      <a:pt x="-796" y="12353"/>
                      <a:pt x="-976" y="6552"/>
                      <a:pt x="2494" y="2844"/>
                    </a:cubicBezTo>
                    <a:cubicBezTo>
                      <a:pt x="5962" y="-804"/>
                      <a:pt x="11763" y="-984"/>
                      <a:pt x="15471" y="2545"/>
                    </a:cubicBezTo>
                    <a:cubicBezTo>
                      <a:pt x="19119" y="6014"/>
                      <a:pt x="19299" y="11875"/>
                      <a:pt x="15831" y="15583"/>
                    </a:cubicBezTo>
                    <a:close/>
                  </a:path>
                </a:pathLst>
              </a:custGeom>
              <a:grpFill/>
              <a:ln w="5978" cap="flat">
                <a:noFill/>
                <a:prstDash val="solid"/>
                <a:miter/>
              </a:ln>
            </p:spPr>
            <p:txBody>
              <a:bodyPr rtlCol="0" anchor="ctr"/>
              <a:lstStyle/>
              <a:p>
                <a:endParaRPr lang="en-GB"/>
              </a:p>
            </p:txBody>
          </p:sp>
          <p:sp>
            <p:nvSpPr>
              <p:cNvPr id="4912" name="Vrije vorm: vorm 4911">
                <a:extLst>
                  <a:ext uri="{FF2B5EF4-FFF2-40B4-BE49-F238E27FC236}">
                    <a16:creationId xmlns:a16="http://schemas.microsoft.com/office/drawing/2014/main" id="{72067C9E-5B13-437A-B8F5-A2B58E86C9AE}"/>
                  </a:ext>
                </a:extLst>
              </p:cNvPr>
              <p:cNvSpPr/>
              <p:nvPr/>
            </p:nvSpPr>
            <p:spPr>
              <a:xfrm>
                <a:off x="7624480" y="1593788"/>
                <a:ext cx="18366" cy="18425"/>
              </a:xfrm>
              <a:custGeom>
                <a:avLst/>
                <a:gdLst>
                  <a:gd name="connsiteX0" fmla="*/ 15852 w 18366"/>
                  <a:gd name="connsiteY0" fmla="*/ 15604 h 18425"/>
                  <a:gd name="connsiteX1" fmla="*/ 15493 w 18366"/>
                  <a:gd name="connsiteY1" fmla="*/ 2567 h 18425"/>
                  <a:gd name="connsiteX2" fmla="*/ 2515 w 18366"/>
                  <a:gd name="connsiteY2" fmla="*/ 2866 h 18425"/>
                  <a:gd name="connsiteX3" fmla="*/ 2874 w 18366"/>
                  <a:gd name="connsiteY3" fmla="*/ 15904 h 18425"/>
                  <a:gd name="connsiteX4" fmla="*/ 15852 w 18366"/>
                  <a:gd name="connsiteY4" fmla="*/ 15604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15852" y="15604"/>
                    </a:moveTo>
                    <a:cubicBezTo>
                      <a:pt x="19321" y="11956"/>
                      <a:pt x="19201" y="6095"/>
                      <a:pt x="15493" y="2567"/>
                    </a:cubicBezTo>
                    <a:cubicBezTo>
                      <a:pt x="11845" y="-962"/>
                      <a:pt x="6044" y="-843"/>
                      <a:pt x="2515" y="2866"/>
                    </a:cubicBezTo>
                    <a:cubicBezTo>
                      <a:pt x="-954" y="6514"/>
                      <a:pt x="-834" y="12375"/>
                      <a:pt x="2874" y="15904"/>
                    </a:cubicBezTo>
                    <a:cubicBezTo>
                      <a:pt x="6582" y="19372"/>
                      <a:pt x="12383" y="19253"/>
                      <a:pt x="15852" y="15604"/>
                    </a:cubicBezTo>
                    <a:close/>
                  </a:path>
                </a:pathLst>
              </a:custGeom>
              <a:grpFill/>
              <a:ln w="5978" cap="flat">
                <a:noFill/>
                <a:prstDash val="solid"/>
                <a:miter/>
              </a:ln>
            </p:spPr>
            <p:txBody>
              <a:bodyPr rtlCol="0" anchor="ctr"/>
              <a:lstStyle/>
              <a:p>
                <a:endParaRPr lang="en-GB"/>
              </a:p>
            </p:txBody>
          </p:sp>
        </p:grpSp>
        <p:grpSp>
          <p:nvGrpSpPr>
            <p:cNvPr id="157" name="Graphic 3">
              <a:extLst>
                <a:ext uri="{FF2B5EF4-FFF2-40B4-BE49-F238E27FC236}">
                  <a16:creationId xmlns:a16="http://schemas.microsoft.com/office/drawing/2014/main" id="{52F76FF1-627E-44F8-9C72-7AD020DDC94D}"/>
                </a:ext>
              </a:extLst>
            </p:cNvPr>
            <p:cNvGrpSpPr/>
            <p:nvPr/>
          </p:nvGrpSpPr>
          <p:grpSpPr>
            <a:xfrm>
              <a:off x="7222919" y="1845100"/>
              <a:ext cx="421359" cy="374225"/>
              <a:chOff x="7222919" y="1845100"/>
              <a:chExt cx="421359" cy="374225"/>
            </a:xfrm>
            <a:grpFill/>
          </p:grpSpPr>
          <p:sp>
            <p:nvSpPr>
              <p:cNvPr id="4907" name="Vrije vorm: vorm 4906">
                <a:extLst>
                  <a:ext uri="{FF2B5EF4-FFF2-40B4-BE49-F238E27FC236}">
                    <a16:creationId xmlns:a16="http://schemas.microsoft.com/office/drawing/2014/main" id="{02656059-9A6D-4157-B551-F2AD6BD14DAC}"/>
                  </a:ext>
                </a:extLst>
              </p:cNvPr>
              <p:cNvSpPr/>
              <p:nvPr/>
            </p:nvSpPr>
            <p:spPr>
              <a:xfrm>
                <a:off x="7230713" y="1852808"/>
                <a:ext cx="405791" cy="358723"/>
              </a:xfrm>
              <a:custGeom>
                <a:avLst/>
                <a:gdLst>
                  <a:gd name="connsiteX0" fmla="*/ 405792 w 405791"/>
                  <a:gd name="connsiteY0" fmla="*/ 2332 h 358723"/>
                  <a:gd name="connsiteX1" fmla="*/ 2033 w 405791"/>
                  <a:gd name="connsiteY1" fmla="*/ 358724 h 358723"/>
                  <a:gd name="connsiteX2" fmla="*/ 0 w 405791"/>
                  <a:gd name="connsiteY2" fmla="*/ 356451 h 358723"/>
                  <a:gd name="connsiteX3" fmla="*/ 403759 w 405791"/>
                  <a:gd name="connsiteY3" fmla="*/ 0 h 358723"/>
                </a:gdLst>
                <a:ahLst/>
                <a:cxnLst>
                  <a:cxn ang="0">
                    <a:pos x="connsiteX0" y="connsiteY0"/>
                  </a:cxn>
                  <a:cxn ang="0">
                    <a:pos x="connsiteX1" y="connsiteY1"/>
                  </a:cxn>
                  <a:cxn ang="0">
                    <a:pos x="connsiteX2" y="connsiteY2"/>
                  </a:cxn>
                  <a:cxn ang="0">
                    <a:pos x="connsiteX3" y="connsiteY3"/>
                  </a:cxn>
                </a:cxnLst>
                <a:rect l="l" t="t" r="r" b="b"/>
                <a:pathLst>
                  <a:path w="405791" h="358723">
                    <a:moveTo>
                      <a:pt x="405792" y="2332"/>
                    </a:moveTo>
                    <a:lnTo>
                      <a:pt x="2033" y="358724"/>
                    </a:lnTo>
                    <a:lnTo>
                      <a:pt x="0" y="356451"/>
                    </a:lnTo>
                    <a:lnTo>
                      <a:pt x="403759" y="0"/>
                    </a:lnTo>
                    <a:close/>
                  </a:path>
                </a:pathLst>
              </a:custGeom>
              <a:grpFill/>
              <a:ln w="5978" cap="flat">
                <a:noFill/>
                <a:prstDash val="solid"/>
                <a:miter/>
              </a:ln>
            </p:spPr>
            <p:txBody>
              <a:bodyPr rtlCol="0" anchor="ctr"/>
              <a:lstStyle/>
              <a:p>
                <a:endParaRPr lang="en-GB"/>
              </a:p>
            </p:txBody>
          </p:sp>
          <p:sp>
            <p:nvSpPr>
              <p:cNvPr id="4908" name="Vrije vorm: vorm 4907">
                <a:extLst>
                  <a:ext uri="{FF2B5EF4-FFF2-40B4-BE49-F238E27FC236}">
                    <a16:creationId xmlns:a16="http://schemas.microsoft.com/office/drawing/2014/main" id="{D8E0B11F-E208-405D-869B-A94533C5B541}"/>
                  </a:ext>
                </a:extLst>
              </p:cNvPr>
              <p:cNvSpPr/>
              <p:nvPr/>
            </p:nvSpPr>
            <p:spPr>
              <a:xfrm>
                <a:off x="7222919" y="2200927"/>
                <a:ext cx="18318" cy="18398"/>
              </a:xfrm>
              <a:custGeom>
                <a:avLst/>
                <a:gdLst>
                  <a:gd name="connsiteX0" fmla="*/ 15210 w 18318"/>
                  <a:gd name="connsiteY0" fmla="*/ 16107 h 18398"/>
                  <a:gd name="connsiteX1" fmla="*/ 2291 w 18318"/>
                  <a:gd name="connsiteY1" fmla="*/ 15270 h 18398"/>
                  <a:gd name="connsiteX2" fmla="*/ 3129 w 18318"/>
                  <a:gd name="connsiteY2" fmla="*/ 2291 h 18398"/>
                  <a:gd name="connsiteX3" fmla="*/ 16047 w 18318"/>
                  <a:gd name="connsiteY3" fmla="*/ 3129 h 18398"/>
                  <a:gd name="connsiteX4" fmla="*/ 15210 w 18318"/>
                  <a:gd name="connsiteY4" fmla="*/ 16107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98">
                    <a:moveTo>
                      <a:pt x="15210" y="16107"/>
                    </a:moveTo>
                    <a:cubicBezTo>
                      <a:pt x="11442" y="19456"/>
                      <a:pt x="5640" y="19097"/>
                      <a:pt x="2291" y="15270"/>
                    </a:cubicBezTo>
                    <a:cubicBezTo>
                      <a:pt x="-1058" y="11442"/>
                      <a:pt x="-699" y="5641"/>
                      <a:pt x="3129" y="2291"/>
                    </a:cubicBezTo>
                    <a:cubicBezTo>
                      <a:pt x="6897" y="-1058"/>
                      <a:pt x="12698" y="-699"/>
                      <a:pt x="16047" y="3129"/>
                    </a:cubicBezTo>
                    <a:cubicBezTo>
                      <a:pt x="19396" y="6896"/>
                      <a:pt x="18978" y="12758"/>
                      <a:pt x="15210" y="16107"/>
                    </a:cubicBezTo>
                    <a:close/>
                  </a:path>
                </a:pathLst>
              </a:custGeom>
              <a:grpFill/>
              <a:ln w="5978" cap="flat">
                <a:noFill/>
                <a:prstDash val="solid"/>
                <a:miter/>
              </a:ln>
            </p:spPr>
            <p:txBody>
              <a:bodyPr rtlCol="0" anchor="ctr"/>
              <a:lstStyle/>
              <a:p>
                <a:endParaRPr lang="en-GB"/>
              </a:p>
            </p:txBody>
          </p:sp>
          <p:sp>
            <p:nvSpPr>
              <p:cNvPr id="4909" name="Vrije vorm: vorm 4908">
                <a:extLst>
                  <a:ext uri="{FF2B5EF4-FFF2-40B4-BE49-F238E27FC236}">
                    <a16:creationId xmlns:a16="http://schemas.microsoft.com/office/drawing/2014/main" id="{D80EB663-F3B8-4874-B906-2E7683EDA6F1}"/>
                  </a:ext>
                </a:extLst>
              </p:cNvPr>
              <p:cNvSpPr/>
              <p:nvPr/>
            </p:nvSpPr>
            <p:spPr>
              <a:xfrm>
                <a:off x="7625980" y="1845100"/>
                <a:ext cx="18297" cy="18405"/>
              </a:xfrm>
              <a:custGeom>
                <a:avLst/>
                <a:gdLst>
                  <a:gd name="connsiteX0" fmla="*/ 15190 w 18297"/>
                  <a:gd name="connsiteY0" fmla="*/ 16141 h 18405"/>
                  <a:gd name="connsiteX1" fmla="*/ 16026 w 18297"/>
                  <a:gd name="connsiteY1" fmla="*/ 3162 h 18405"/>
                  <a:gd name="connsiteX2" fmla="*/ 3108 w 18297"/>
                  <a:gd name="connsiteY2" fmla="*/ 2265 h 18405"/>
                  <a:gd name="connsiteX3" fmla="*/ 2271 w 18297"/>
                  <a:gd name="connsiteY3" fmla="*/ 15244 h 18405"/>
                  <a:gd name="connsiteX4" fmla="*/ 15190 w 18297"/>
                  <a:gd name="connsiteY4" fmla="*/ 161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15190" y="16141"/>
                    </a:moveTo>
                    <a:cubicBezTo>
                      <a:pt x="18958" y="12791"/>
                      <a:pt x="19376" y="6990"/>
                      <a:pt x="16026" y="3162"/>
                    </a:cubicBezTo>
                    <a:cubicBezTo>
                      <a:pt x="12678" y="-665"/>
                      <a:pt x="6876" y="-1084"/>
                      <a:pt x="3108" y="2265"/>
                    </a:cubicBezTo>
                    <a:cubicBezTo>
                      <a:pt x="-659" y="5615"/>
                      <a:pt x="-1078" y="11416"/>
                      <a:pt x="2271" y="15244"/>
                    </a:cubicBezTo>
                    <a:cubicBezTo>
                      <a:pt x="5620" y="19071"/>
                      <a:pt x="11422" y="19490"/>
                      <a:pt x="15190" y="16141"/>
                    </a:cubicBezTo>
                    <a:close/>
                  </a:path>
                </a:pathLst>
              </a:custGeom>
              <a:grpFill/>
              <a:ln w="5978" cap="flat">
                <a:noFill/>
                <a:prstDash val="solid"/>
                <a:miter/>
              </a:ln>
            </p:spPr>
            <p:txBody>
              <a:bodyPr rtlCol="0" anchor="ctr"/>
              <a:lstStyle/>
              <a:p>
                <a:endParaRPr lang="en-GB"/>
              </a:p>
            </p:txBody>
          </p:sp>
        </p:grpSp>
        <p:grpSp>
          <p:nvGrpSpPr>
            <p:cNvPr id="158" name="Graphic 3">
              <a:extLst>
                <a:ext uri="{FF2B5EF4-FFF2-40B4-BE49-F238E27FC236}">
                  <a16:creationId xmlns:a16="http://schemas.microsoft.com/office/drawing/2014/main" id="{7630C2DC-4943-46E2-A0C2-7BAAE4736F1D}"/>
                </a:ext>
              </a:extLst>
            </p:cNvPr>
            <p:cNvGrpSpPr/>
            <p:nvPr/>
          </p:nvGrpSpPr>
          <p:grpSpPr>
            <a:xfrm>
              <a:off x="7624808" y="2808882"/>
              <a:ext cx="190074" cy="77188"/>
              <a:chOff x="7624808" y="2808882"/>
              <a:chExt cx="190074" cy="77188"/>
            </a:xfrm>
            <a:grpFill/>
          </p:grpSpPr>
          <p:sp>
            <p:nvSpPr>
              <p:cNvPr id="4904" name="Vrije vorm: vorm 4903">
                <a:extLst>
                  <a:ext uri="{FF2B5EF4-FFF2-40B4-BE49-F238E27FC236}">
                    <a16:creationId xmlns:a16="http://schemas.microsoft.com/office/drawing/2014/main" id="{95C98F3F-0E76-4389-AACE-0B05F04E6378}"/>
                  </a:ext>
                </a:extLst>
              </p:cNvPr>
              <p:cNvSpPr/>
              <p:nvPr/>
            </p:nvSpPr>
            <p:spPr>
              <a:xfrm>
                <a:off x="7633095" y="2816481"/>
                <a:ext cx="173560" cy="61960"/>
              </a:xfrm>
              <a:custGeom>
                <a:avLst/>
                <a:gdLst>
                  <a:gd name="connsiteX0" fmla="*/ 173561 w 173560"/>
                  <a:gd name="connsiteY0" fmla="*/ 2930 h 61960"/>
                  <a:gd name="connsiteX1" fmla="*/ 957 w 173560"/>
                  <a:gd name="connsiteY1" fmla="*/ 61960 h 61960"/>
                  <a:gd name="connsiteX2" fmla="*/ 0 w 173560"/>
                  <a:gd name="connsiteY2" fmla="*/ 59090 h 61960"/>
                  <a:gd name="connsiteX3" fmla="*/ 172544 w 173560"/>
                  <a:gd name="connsiteY3" fmla="*/ 0 h 61960"/>
                </a:gdLst>
                <a:ahLst/>
                <a:cxnLst>
                  <a:cxn ang="0">
                    <a:pos x="connsiteX0" y="connsiteY0"/>
                  </a:cxn>
                  <a:cxn ang="0">
                    <a:pos x="connsiteX1" y="connsiteY1"/>
                  </a:cxn>
                  <a:cxn ang="0">
                    <a:pos x="connsiteX2" y="connsiteY2"/>
                  </a:cxn>
                  <a:cxn ang="0">
                    <a:pos x="connsiteX3" y="connsiteY3"/>
                  </a:cxn>
                </a:cxnLst>
                <a:rect l="l" t="t" r="r" b="b"/>
                <a:pathLst>
                  <a:path w="173560" h="61960">
                    <a:moveTo>
                      <a:pt x="173561" y="2930"/>
                    </a:moveTo>
                    <a:lnTo>
                      <a:pt x="957" y="61960"/>
                    </a:lnTo>
                    <a:lnTo>
                      <a:pt x="0" y="59090"/>
                    </a:lnTo>
                    <a:lnTo>
                      <a:pt x="172544" y="0"/>
                    </a:lnTo>
                    <a:close/>
                  </a:path>
                </a:pathLst>
              </a:custGeom>
              <a:grpFill/>
              <a:ln w="5978" cap="flat">
                <a:noFill/>
                <a:prstDash val="solid"/>
                <a:miter/>
              </a:ln>
            </p:spPr>
            <p:txBody>
              <a:bodyPr rtlCol="0" anchor="ctr"/>
              <a:lstStyle/>
              <a:p>
                <a:endParaRPr lang="en-GB"/>
              </a:p>
            </p:txBody>
          </p:sp>
          <p:sp>
            <p:nvSpPr>
              <p:cNvPr id="4905" name="Vrije vorm: vorm 4904">
                <a:extLst>
                  <a:ext uri="{FF2B5EF4-FFF2-40B4-BE49-F238E27FC236}">
                    <a16:creationId xmlns:a16="http://schemas.microsoft.com/office/drawing/2014/main" id="{72BBFBA0-6D56-4365-B6CB-AD4709E87AC2}"/>
                  </a:ext>
                </a:extLst>
              </p:cNvPr>
              <p:cNvSpPr/>
              <p:nvPr/>
            </p:nvSpPr>
            <p:spPr>
              <a:xfrm>
                <a:off x="7796538" y="2808882"/>
                <a:ext cx="18345" cy="18368"/>
              </a:xfrm>
              <a:custGeom>
                <a:avLst/>
                <a:gdLst>
                  <a:gd name="connsiteX0" fmla="*/ 6170 w 18345"/>
                  <a:gd name="connsiteY0" fmla="*/ 482 h 18368"/>
                  <a:gd name="connsiteX1" fmla="*/ 17833 w 18345"/>
                  <a:gd name="connsiteY1" fmla="*/ 6224 h 18368"/>
                  <a:gd name="connsiteX2" fmla="*/ 12151 w 18345"/>
                  <a:gd name="connsiteY2" fmla="*/ 17886 h 18368"/>
                  <a:gd name="connsiteX3" fmla="*/ 489 w 18345"/>
                  <a:gd name="connsiteY3" fmla="*/ 12145 h 18368"/>
                  <a:gd name="connsiteX4" fmla="*/ 6170 w 18345"/>
                  <a:gd name="connsiteY4" fmla="*/ 482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368">
                    <a:moveTo>
                      <a:pt x="6170" y="482"/>
                    </a:moveTo>
                    <a:cubicBezTo>
                      <a:pt x="10955" y="-1132"/>
                      <a:pt x="16158" y="1439"/>
                      <a:pt x="17833" y="6224"/>
                    </a:cubicBezTo>
                    <a:cubicBezTo>
                      <a:pt x="19508" y="11068"/>
                      <a:pt x="16936" y="16272"/>
                      <a:pt x="12151" y="17886"/>
                    </a:cubicBezTo>
                    <a:cubicBezTo>
                      <a:pt x="7367" y="19501"/>
                      <a:pt x="2164" y="16929"/>
                      <a:pt x="489" y="12145"/>
                    </a:cubicBezTo>
                    <a:cubicBezTo>
                      <a:pt x="-1126" y="7360"/>
                      <a:pt x="1386" y="2157"/>
                      <a:pt x="6170" y="482"/>
                    </a:cubicBezTo>
                    <a:close/>
                  </a:path>
                </a:pathLst>
              </a:custGeom>
              <a:grpFill/>
              <a:ln w="5978" cap="flat">
                <a:noFill/>
                <a:prstDash val="solid"/>
                <a:miter/>
              </a:ln>
            </p:spPr>
            <p:txBody>
              <a:bodyPr rtlCol="0" anchor="ctr"/>
              <a:lstStyle/>
              <a:p>
                <a:endParaRPr lang="en-GB"/>
              </a:p>
            </p:txBody>
          </p:sp>
          <p:sp>
            <p:nvSpPr>
              <p:cNvPr id="4906" name="Vrije vorm: vorm 4905">
                <a:extLst>
                  <a:ext uri="{FF2B5EF4-FFF2-40B4-BE49-F238E27FC236}">
                    <a16:creationId xmlns:a16="http://schemas.microsoft.com/office/drawing/2014/main" id="{68711910-D3D2-494C-9465-F7E2AE2BD20F}"/>
                  </a:ext>
                </a:extLst>
              </p:cNvPr>
              <p:cNvSpPr/>
              <p:nvPr/>
            </p:nvSpPr>
            <p:spPr>
              <a:xfrm>
                <a:off x="7624808" y="2867643"/>
                <a:ext cx="18368" cy="18426"/>
              </a:xfrm>
              <a:custGeom>
                <a:avLst/>
                <a:gdLst>
                  <a:gd name="connsiteX0" fmla="*/ 6194 w 18368"/>
                  <a:gd name="connsiteY0" fmla="*/ 512 h 18426"/>
                  <a:gd name="connsiteX1" fmla="*/ 512 w 18368"/>
                  <a:gd name="connsiteY1" fmla="*/ 12174 h 18426"/>
                  <a:gd name="connsiteX2" fmla="*/ 12174 w 18368"/>
                  <a:gd name="connsiteY2" fmla="*/ 17915 h 18426"/>
                  <a:gd name="connsiteX3" fmla="*/ 17856 w 18368"/>
                  <a:gd name="connsiteY3" fmla="*/ 6253 h 18426"/>
                  <a:gd name="connsiteX4" fmla="*/ 6194 w 18368"/>
                  <a:gd name="connsiteY4" fmla="*/ 51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6">
                    <a:moveTo>
                      <a:pt x="6194" y="512"/>
                    </a:moveTo>
                    <a:cubicBezTo>
                      <a:pt x="1409" y="2126"/>
                      <a:pt x="-1163" y="7389"/>
                      <a:pt x="512" y="12174"/>
                    </a:cubicBezTo>
                    <a:cubicBezTo>
                      <a:pt x="2187" y="17018"/>
                      <a:pt x="7390" y="19590"/>
                      <a:pt x="12174" y="17915"/>
                    </a:cubicBezTo>
                    <a:cubicBezTo>
                      <a:pt x="16959" y="16301"/>
                      <a:pt x="19530" y="11038"/>
                      <a:pt x="17856" y="6253"/>
                    </a:cubicBezTo>
                    <a:cubicBezTo>
                      <a:pt x="16182" y="1409"/>
                      <a:pt x="10978" y="-1163"/>
                      <a:pt x="6194" y="512"/>
                    </a:cubicBezTo>
                    <a:close/>
                  </a:path>
                </a:pathLst>
              </a:custGeom>
              <a:grpFill/>
              <a:ln w="5978" cap="flat">
                <a:noFill/>
                <a:prstDash val="solid"/>
                <a:miter/>
              </a:ln>
            </p:spPr>
            <p:txBody>
              <a:bodyPr rtlCol="0" anchor="ctr"/>
              <a:lstStyle/>
              <a:p>
                <a:endParaRPr lang="en-GB"/>
              </a:p>
            </p:txBody>
          </p:sp>
        </p:grpSp>
        <p:grpSp>
          <p:nvGrpSpPr>
            <p:cNvPr id="159" name="Graphic 3">
              <a:extLst>
                <a:ext uri="{FF2B5EF4-FFF2-40B4-BE49-F238E27FC236}">
                  <a16:creationId xmlns:a16="http://schemas.microsoft.com/office/drawing/2014/main" id="{19396D4B-FB63-409D-A886-C386CFAF8AD0}"/>
                </a:ext>
              </a:extLst>
            </p:cNvPr>
            <p:cNvGrpSpPr/>
            <p:nvPr/>
          </p:nvGrpSpPr>
          <p:grpSpPr>
            <a:xfrm>
              <a:off x="7652153" y="2736977"/>
              <a:ext cx="63139" cy="36583"/>
              <a:chOff x="7652153" y="2736977"/>
              <a:chExt cx="63139" cy="36583"/>
            </a:xfrm>
            <a:grpFill/>
          </p:grpSpPr>
          <p:sp>
            <p:nvSpPr>
              <p:cNvPr id="4901" name="Vrije vorm: vorm 4900">
                <a:extLst>
                  <a:ext uri="{FF2B5EF4-FFF2-40B4-BE49-F238E27FC236}">
                    <a16:creationId xmlns:a16="http://schemas.microsoft.com/office/drawing/2014/main" id="{C1A03B86-BE59-4340-B014-785B46CD2FDE}"/>
                  </a:ext>
                </a:extLst>
              </p:cNvPr>
              <p:cNvSpPr/>
              <p:nvPr/>
            </p:nvSpPr>
            <p:spPr>
              <a:xfrm>
                <a:off x="7660308" y="2744593"/>
                <a:ext cx="46828" cy="21410"/>
              </a:xfrm>
              <a:custGeom>
                <a:avLst/>
                <a:gdLst>
                  <a:gd name="connsiteX0" fmla="*/ 46829 w 46828"/>
                  <a:gd name="connsiteY0" fmla="*/ 2871 h 21410"/>
                  <a:gd name="connsiteX1" fmla="*/ 1136 w 46828"/>
                  <a:gd name="connsiteY1" fmla="*/ 21411 h 21410"/>
                  <a:gd name="connsiteX2" fmla="*/ 0 w 46828"/>
                  <a:gd name="connsiteY2" fmla="*/ 18540 h 21410"/>
                  <a:gd name="connsiteX3" fmla="*/ 45633 w 46828"/>
                  <a:gd name="connsiteY3" fmla="*/ 0 h 21410"/>
                </a:gdLst>
                <a:ahLst/>
                <a:cxnLst>
                  <a:cxn ang="0">
                    <a:pos x="connsiteX0" y="connsiteY0"/>
                  </a:cxn>
                  <a:cxn ang="0">
                    <a:pos x="connsiteX1" y="connsiteY1"/>
                  </a:cxn>
                  <a:cxn ang="0">
                    <a:pos x="connsiteX2" y="connsiteY2"/>
                  </a:cxn>
                  <a:cxn ang="0">
                    <a:pos x="connsiteX3" y="connsiteY3"/>
                  </a:cxn>
                </a:cxnLst>
                <a:rect l="l" t="t" r="r" b="b"/>
                <a:pathLst>
                  <a:path w="46828" h="21410">
                    <a:moveTo>
                      <a:pt x="46829" y="2871"/>
                    </a:moveTo>
                    <a:lnTo>
                      <a:pt x="1136" y="21411"/>
                    </a:lnTo>
                    <a:lnTo>
                      <a:pt x="0" y="18540"/>
                    </a:lnTo>
                    <a:lnTo>
                      <a:pt x="45633" y="0"/>
                    </a:lnTo>
                    <a:close/>
                  </a:path>
                </a:pathLst>
              </a:custGeom>
              <a:grpFill/>
              <a:ln w="5978" cap="flat">
                <a:noFill/>
                <a:prstDash val="solid"/>
                <a:miter/>
              </a:ln>
            </p:spPr>
            <p:txBody>
              <a:bodyPr rtlCol="0" anchor="ctr"/>
              <a:lstStyle/>
              <a:p>
                <a:endParaRPr lang="en-GB"/>
              </a:p>
            </p:txBody>
          </p:sp>
          <p:sp>
            <p:nvSpPr>
              <p:cNvPr id="4902" name="Vrije vorm: vorm 4901">
                <a:extLst>
                  <a:ext uri="{FF2B5EF4-FFF2-40B4-BE49-F238E27FC236}">
                    <a16:creationId xmlns:a16="http://schemas.microsoft.com/office/drawing/2014/main" id="{D4D31832-DF6A-4A19-B3F9-2DC7DE849ED1}"/>
                  </a:ext>
                </a:extLst>
              </p:cNvPr>
              <p:cNvSpPr/>
              <p:nvPr/>
            </p:nvSpPr>
            <p:spPr>
              <a:xfrm>
                <a:off x="7696948" y="2736977"/>
                <a:ext cx="18343" cy="18402"/>
              </a:xfrm>
              <a:custGeom>
                <a:avLst/>
                <a:gdLst>
                  <a:gd name="connsiteX0" fmla="*/ 5703 w 18343"/>
                  <a:gd name="connsiteY0" fmla="*/ 679 h 18402"/>
                  <a:gd name="connsiteX1" fmla="*/ 17664 w 18343"/>
                  <a:gd name="connsiteY1" fmla="*/ 5762 h 18402"/>
                  <a:gd name="connsiteX2" fmla="*/ 12641 w 18343"/>
                  <a:gd name="connsiteY2" fmla="*/ 17724 h 18402"/>
                  <a:gd name="connsiteX3" fmla="*/ 679 w 18343"/>
                  <a:gd name="connsiteY3" fmla="*/ 12640 h 18402"/>
                  <a:gd name="connsiteX4" fmla="*/ 5703 w 18343"/>
                  <a:gd name="connsiteY4" fmla="*/ 679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2">
                    <a:moveTo>
                      <a:pt x="5703" y="679"/>
                    </a:moveTo>
                    <a:cubicBezTo>
                      <a:pt x="10368" y="-1235"/>
                      <a:pt x="15751" y="1037"/>
                      <a:pt x="17664" y="5762"/>
                    </a:cubicBezTo>
                    <a:cubicBezTo>
                      <a:pt x="19578" y="10487"/>
                      <a:pt x="17306" y="15870"/>
                      <a:pt x="12641" y="17724"/>
                    </a:cubicBezTo>
                    <a:cubicBezTo>
                      <a:pt x="7975" y="19637"/>
                      <a:pt x="2593" y="17365"/>
                      <a:pt x="679" y="12640"/>
                    </a:cubicBezTo>
                    <a:cubicBezTo>
                      <a:pt x="-1234" y="7975"/>
                      <a:pt x="1038" y="2592"/>
                      <a:pt x="5703" y="679"/>
                    </a:cubicBezTo>
                    <a:close/>
                  </a:path>
                </a:pathLst>
              </a:custGeom>
              <a:grpFill/>
              <a:ln w="5978" cap="flat">
                <a:noFill/>
                <a:prstDash val="solid"/>
                <a:miter/>
              </a:ln>
            </p:spPr>
            <p:txBody>
              <a:bodyPr rtlCol="0" anchor="ctr"/>
              <a:lstStyle/>
              <a:p>
                <a:endParaRPr lang="en-GB"/>
              </a:p>
            </p:txBody>
          </p:sp>
          <p:sp>
            <p:nvSpPr>
              <p:cNvPr id="4903" name="Vrije vorm: vorm 4902">
                <a:extLst>
                  <a:ext uri="{FF2B5EF4-FFF2-40B4-BE49-F238E27FC236}">
                    <a16:creationId xmlns:a16="http://schemas.microsoft.com/office/drawing/2014/main" id="{4CB2648E-1962-465F-8080-0BB9DF809C6B}"/>
                  </a:ext>
                </a:extLst>
              </p:cNvPr>
              <p:cNvSpPr/>
              <p:nvPr/>
            </p:nvSpPr>
            <p:spPr>
              <a:xfrm>
                <a:off x="7652153" y="2755191"/>
                <a:ext cx="18343" cy="18369"/>
              </a:xfrm>
              <a:custGeom>
                <a:avLst/>
                <a:gdLst>
                  <a:gd name="connsiteX0" fmla="*/ 5703 w 18343"/>
                  <a:gd name="connsiteY0" fmla="*/ 646 h 18369"/>
                  <a:gd name="connsiteX1" fmla="*/ 679 w 18343"/>
                  <a:gd name="connsiteY1" fmla="*/ 12607 h 18369"/>
                  <a:gd name="connsiteX2" fmla="*/ 12641 w 18343"/>
                  <a:gd name="connsiteY2" fmla="*/ 17691 h 18369"/>
                  <a:gd name="connsiteX3" fmla="*/ 17664 w 18343"/>
                  <a:gd name="connsiteY3" fmla="*/ 5729 h 18369"/>
                  <a:gd name="connsiteX4" fmla="*/ 5703 w 18343"/>
                  <a:gd name="connsiteY4" fmla="*/ 646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69">
                    <a:moveTo>
                      <a:pt x="5703" y="646"/>
                    </a:moveTo>
                    <a:cubicBezTo>
                      <a:pt x="1038" y="2560"/>
                      <a:pt x="-1234" y="7942"/>
                      <a:pt x="679" y="12607"/>
                    </a:cubicBezTo>
                    <a:cubicBezTo>
                      <a:pt x="2593" y="17332"/>
                      <a:pt x="7916" y="19605"/>
                      <a:pt x="12641" y="17691"/>
                    </a:cubicBezTo>
                    <a:cubicBezTo>
                      <a:pt x="17306" y="15777"/>
                      <a:pt x="19579" y="10394"/>
                      <a:pt x="17664" y="5729"/>
                    </a:cubicBezTo>
                    <a:cubicBezTo>
                      <a:pt x="15691" y="1065"/>
                      <a:pt x="10368" y="-1208"/>
                      <a:pt x="5703" y="646"/>
                    </a:cubicBezTo>
                    <a:close/>
                  </a:path>
                </a:pathLst>
              </a:custGeom>
              <a:grpFill/>
              <a:ln w="5978" cap="flat">
                <a:noFill/>
                <a:prstDash val="solid"/>
                <a:miter/>
              </a:ln>
            </p:spPr>
            <p:txBody>
              <a:bodyPr rtlCol="0" anchor="ctr"/>
              <a:lstStyle/>
              <a:p>
                <a:endParaRPr lang="en-GB"/>
              </a:p>
            </p:txBody>
          </p:sp>
        </p:grpSp>
        <p:grpSp>
          <p:nvGrpSpPr>
            <p:cNvPr id="160" name="Graphic 3">
              <a:extLst>
                <a:ext uri="{FF2B5EF4-FFF2-40B4-BE49-F238E27FC236}">
                  <a16:creationId xmlns:a16="http://schemas.microsoft.com/office/drawing/2014/main" id="{7DD5D62F-2485-4629-A7FA-7A768AEE18FF}"/>
                </a:ext>
              </a:extLst>
            </p:cNvPr>
            <p:cNvGrpSpPr/>
            <p:nvPr/>
          </p:nvGrpSpPr>
          <p:grpSpPr>
            <a:xfrm>
              <a:off x="7295808" y="1830018"/>
              <a:ext cx="249285" cy="264533"/>
              <a:chOff x="7295808" y="1830018"/>
              <a:chExt cx="249285" cy="264533"/>
            </a:xfrm>
            <a:grpFill/>
          </p:grpSpPr>
          <p:sp>
            <p:nvSpPr>
              <p:cNvPr id="4898" name="Vrije vorm: vorm 4897">
                <a:extLst>
                  <a:ext uri="{FF2B5EF4-FFF2-40B4-BE49-F238E27FC236}">
                    <a16:creationId xmlns:a16="http://schemas.microsoft.com/office/drawing/2014/main" id="{0598CC46-5F5B-441F-8775-E4D86A2E9E38}"/>
                  </a:ext>
                </a:extLst>
              </p:cNvPr>
              <p:cNvSpPr/>
              <p:nvPr/>
            </p:nvSpPr>
            <p:spPr>
              <a:xfrm>
                <a:off x="7303498" y="1837856"/>
                <a:ext cx="233786" cy="248857"/>
              </a:xfrm>
              <a:custGeom>
                <a:avLst/>
                <a:gdLst>
                  <a:gd name="connsiteX0" fmla="*/ 233787 w 233786"/>
                  <a:gd name="connsiteY0" fmla="*/ 2093 h 248857"/>
                  <a:gd name="connsiteX1" fmla="*/ 2273 w 233786"/>
                  <a:gd name="connsiteY1" fmla="*/ 248858 h 248857"/>
                  <a:gd name="connsiteX2" fmla="*/ 0 w 233786"/>
                  <a:gd name="connsiteY2" fmla="*/ 246765 h 248857"/>
                  <a:gd name="connsiteX3" fmla="*/ 231573 w 233786"/>
                  <a:gd name="connsiteY3" fmla="*/ 0 h 248857"/>
                </a:gdLst>
                <a:ahLst/>
                <a:cxnLst>
                  <a:cxn ang="0">
                    <a:pos x="connsiteX0" y="connsiteY0"/>
                  </a:cxn>
                  <a:cxn ang="0">
                    <a:pos x="connsiteX1" y="connsiteY1"/>
                  </a:cxn>
                  <a:cxn ang="0">
                    <a:pos x="connsiteX2" y="connsiteY2"/>
                  </a:cxn>
                  <a:cxn ang="0">
                    <a:pos x="connsiteX3" y="connsiteY3"/>
                  </a:cxn>
                </a:cxnLst>
                <a:rect l="l" t="t" r="r" b="b"/>
                <a:pathLst>
                  <a:path w="233786" h="248857">
                    <a:moveTo>
                      <a:pt x="233787" y="2093"/>
                    </a:moveTo>
                    <a:lnTo>
                      <a:pt x="2273" y="248858"/>
                    </a:lnTo>
                    <a:lnTo>
                      <a:pt x="0" y="246765"/>
                    </a:lnTo>
                    <a:lnTo>
                      <a:pt x="231573" y="0"/>
                    </a:lnTo>
                    <a:close/>
                  </a:path>
                </a:pathLst>
              </a:custGeom>
              <a:grpFill/>
              <a:ln w="5978" cap="flat">
                <a:noFill/>
                <a:prstDash val="solid"/>
                <a:miter/>
              </a:ln>
            </p:spPr>
            <p:txBody>
              <a:bodyPr rtlCol="0" anchor="ctr"/>
              <a:lstStyle/>
              <a:p>
                <a:endParaRPr lang="en-GB"/>
              </a:p>
            </p:txBody>
          </p:sp>
          <p:sp>
            <p:nvSpPr>
              <p:cNvPr id="4899" name="Vrije vorm: vorm 4898">
                <a:extLst>
                  <a:ext uri="{FF2B5EF4-FFF2-40B4-BE49-F238E27FC236}">
                    <a16:creationId xmlns:a16="http://schemas.microsoft.com/office/drawing/2014/main" id="{668BB8AF-C2AC-4D71-9113-0B61FD76B448}"/>
                  </a:ext>
                </a:extLst>
              </p:cNvPr>
              <p:cNvSpPr/>
              <p:nvPr/>
            </p:nvSpPr>
            <p:spPr>
              <a:xfrm>
                <a:off x="7526724" y="1830018"/>
                <a:ext cx="18370" cy="18426"/>
              </a:xfrm>
              <a:custGeom>
                <a:avLst/>
                <a:gdLst>
                  <a:gd name="connsiteX0" fmla="*/ 2486 w 18370"/>
                  <a:gd name="connsiteY0" fmla="*/ 2874 h 18426"/>
                  <a:gd name="connsiteX1" fmla="*/ 15465 w 18370"/>
                  <a:gd name="connsiteY1" fmla="*/ 2515 h 18426"/>
                  <a:gd name="connsiteX2" fmla="*/ 15883 w 18370"/>
                  <a:gd name="connsiteY2" fmla="*/ 15553 h 18426"/>
                  <a:gd name="connsiteX3" fmla="*/ 2905 w 18370"/>
                  <a:gd name="connsiteY3" fmla="*/ 15912 h 18426"/>
                  <a:gd name="connsiteX4" fmla="*/ 2486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6" y="2874"/>
                    </a:moveTo>
                    <a:cubicBezTo>
                      <a:pt x="5956" y="-834"/>
                      <a:pt x="11757" y="-954"/>
                      <a:pt x="15465" y="2515"/>
                    </a:cubicBezTo>
                    <a:cubicBezTo>
                      <a:pt x="19173" y="6044"/>
                      <a:pt x="19352" y="11845"/>
                      <a:pt x="15883" y="15553"/>
                    </a:cubicBezTo>
                    <a:cubicBezTo>
                      <a:pt x="12415" y="19261"/>
                      <a:pt x="6613" y="19381"/>
                      <a:pt x="2905" y="15912"/>
                    </a:cubicBezTo>
                    <a:cubicBezTo>
                      <a:pt x="-803" y="12443"/>
                      <a:pt x="-982" y="6582"/>
                      <a:pt x="2486" y="2874"/>
                    </a:cubicBezTo>
                    <a:close/>
                  </a:path>
                </a:pathLst>
              </a:custGeom>
              <a:grpFill/>
              <a:ln w="5978" cap="flat">
                <a:noFill/>
                <a:prstDash val="solid"/>
                <a:miter/>
              </a:ln>
            </p:spPr>
            <p:txBody>
              <a:bodyPr rtlCol="0" anchor="ctr"/>
              <a:lstStyle/>
              <a:p>
                <a:endParaRPr lang="en-GB"/>
              </a:p>
            </p:txBody>
          </p:sp>
          <p:sp>
            <p:nvSpPr>
              <p:cNvPr id="4900" name="Vrije vorm: vorm 4899">
                <a:extLst>
                  <a:ext uri="{FF2B5EF4-FFF2-40B4-BE49-F238E27FC236}">
                    <a16:creationId xmlns:a16="http://schemas.microsoft.com/office/drawing/2014/main" id="{C9FFAA85-3E6A-4644-9464-6DBF2AC4487B}"/>
                  </a:ext>
                </a:extLst>
              </p:cNvPr>
              <p:cNvSpPr/>
              <p:nvPr/>
            </p:nvSpPr>
            <p:spPr>
              <a:xfrm>
                <a:off x="7295808" y="2076125"/>
                <a:ext cx="18370" cy="18426"/>
              </a:xfrm>
              <a:custGeom>
                <a:avLst/>
                <a:gdLst>
                  <a:gd name="connsiteX0" fmla="*/ 2486 w 18370"/>
                  <a:gd name="connsiteY0" fmla="*/ 2874 h 18426"/>
                  <a:gd name="connsiteX1" fmla="*/ 2905 w 18370"/>
                  <a:gd name="connsiteY1" fmla="*/ 15912 h 18426"/>
                  <a:gd name="connsiteX2" fmla="*/ 15883 w 18370"/>
                  <a:gd name="connsiteY2" fmla="*/ 15553 h 18426"/>
                  <a:gd name="connsiteX3" fmla="*/ 15465 w 18370"/>
                  <a:gd name="connsiteY3" fmla="*/ 2515 h 18426"/>
                  <a:gd name="connsiteX4" fmla="*/ 2486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6" y="2874"/>
                    </a:moveTo>
                    <a:cubicBezTo>
                      <a:pt x="-982" y="6582"/>
                      <a:pt x="-803" y="12383"/>
                      <a:pt x="2905" y="15912"/>
                    </a:cubicBezTo>
                    <a:cubicBezTo>
                      <a:pt x="6613" y="19380"/>
                      <a:pt x="12415" y="19261"/>
                      <a:pt x="15883" y="15553"/>
                    </a:cubicBezTo>
                    <a:cubicBezTo>
                      <a:pt x="19352" y="11845"/>
                      <a:pt x="19173" y="6043"/>
                      <a:pt x="15465" y="2515"/>
                    </a:cubicBezTo>
                    <a:cubicBezTo>
                      <a:pt x="11697" y="-954"/>
                      <a:pt x="5956" y="-834"/>
                      <a:pt x="2486" y="2874"/>
                    </a:cubicBezTo>
                    <a:close/>
                  </a:path>
                </a:pathLst>
              </a:custGeom>
              <a:grpFill/>
              <a:ln w="5978" cap="flat">
                <a:noFill/>
                <a:prstDash val="solid"/>
                <a:miter/>
              </a:ln>
            </p:spPr>
            <p:txBody>
              <a:bodyPr rtlCol="0" anchor="ctr"/>
              <a:lstStyle/>
              <a:p>
                <a:endParaRPr lang="en-GB"/>
              </a:p>
            </p:txBody>
          </p:sp>
        </p:grpSp>
        <p:grpSp>
          <p:nvGrpSpPr>
            <p:cNvPr id="161" name="Graphic 3">
              <a:extLst>
                <a:ext uri="{FF2B5EF4-FFF2-40B4-BE49-F238E27FC236}">
                  <a16:creationId xmlns:a16="http://schemas.microsoft.com/office/drawing/2014/main" id="{740D40E9-75AE-424A-B1DD-A05B759CD0DB}"/>
                </a:ext>
              </a:extLst>
            </p:cNvPr>
            <p:cNvGrpSpPr/>
            <p:nvPr/>
          </p:nvGrpSpPr>
          <p:grpSpPr>
            <a:xfrm>
              <a:off x="7940793" y="3745860"/>
              <a:ext cx="128784" cy="38208"/>
              <a:chOff x="7940793" y="3745860"/>
              <a:chExt cx="128784" cy="38208"/>
            </a:xfrm>
            <a:grpFill/>
          </p:grpSpPr>
          <p:sp>
            <p:nvSpPr>
              <p:cNvPr id="4895" name="Vrije vorm: vorm 4894">
                <a:extLst>
                  <a:ext uri="{FF2B5EF4-FFF2-40B4-BE49-F238E27FC236}">
                    <a16:creationId xmlns:a16="http://schemas.microsoft.com/office/drawing/2014/main" id="{23CC921A-64DA-4061-97FB-3160A5C6A58B}"/>
                  </a:ext>
                </a:extLst>
              </p:cNvPr>
              <p:cNvSpPr/>
              <p:nvPr/>
            </p:nvSpPr>
            <p:spPr>
              <a:xfrm>
                <a:off x="7949236" y="3753481"/>
                <a:ext cx="111899" cy="22906"/>
              </a:xfrm>
              <a:custGeom>
                <a:avLst/>
                <a:gdLst>
                  <a:gd name="connsiteX0" fmla="*/ 111900 w 111899"/>
                  <a:gd name="connsiteY0" fmla="*/ 19916 h 22906"/>
                  <a:gd name="connsiteX1" fmla="*/ 111362 w 111899"/>
                  <a:gd name="connsiteY1" fmla="*/ 22906 h 22906"/>
                  <a:gd name="connsiteX2" fmla="*/ 0 w 111899"/>
                  <a:gd name="connsiteY2" fmla="*/ 3050 h 22906"/>
                  <a:gd name="connsiteX3" fmla="*/ 539 w 111899"/>
                  <a:gd name="connsiteY3" fmla="*/ 0 h 22906"/>
                </a:gdLst>
                <a:ahLst/>
                <a:cxnLst>
                  <a:cxn ang="0">
                    <a:pos x="connsiteX0" y="connsiteY0"/>
                  </a:cxn>
                  <a:cxn ang="0">
                    <a:pos x="connsiteX1" y="connsiteY1"/>
                  </a:cxn>
                  <a:cxn ang="0">
                    <a:pos x="connsiteX2" y="connsiteY2"/>
                  </a:cxn>
                  <a:cxn ang="0">
                    <a:pos x="connsiteX3" y="connsiteY3"/>
                  </a:cxn>
                </a:cxnLst>
                <a:rect l="l" t="t" r="r" b="b"/>
                <a:pathLst>
                  <a:path w="111899" h="22906">
                    <a:moveTo>
                      <a:pt x="111900" y="19916"/>
                    </a:moveTo>
                    <a:lnTo>
                      <a:pt x="111362" y="22906"/>
                    </a:lnTo>
                    <a:lnTo>
                      <a:pt x="0" y="3050"/>
                    </a:lnTo>
                    <a:lnTo>
                      <a:pt x="539" y="0"/>
                    </a:lnTo>
                    <a:close/>
                  </a:path>
                </a:pathLst>
              </a:custGeom>
              <a:grpFill/>
              <a:ln w="5978" cap="flat">
                <a:noFill/>
                <a:prstDash val="solid"/>
                <a:miter/>
              </a:ln>
            </p:spPr>
            <p:txBody>
              <a:bodyPr rtlCol="0" anchor="ctr"/>
              <a:lstStyle/>
              <a:p>
                <a:endParaRPr lang="en-GB"/>
              </a:p>
            </p:txBody>
          </p:sp>
          <p:sp>
            <p:nvSpPr>
              <p:cNvPr id="4896" name="Vrije vorm: vorm 4895">
                <a:extLst>
                  <a:ext uri="{FF2B5EF4-FFF2-40B4-BE49-F238E27FC236}">
                    <a16:creationId xmlns:a16="http://schemas.microsoft.com/office/drawing/2014/main" id="{13D1F7A5-0677-4CAF-A4F7-1FE7A4355D34}"/>
                  </a:ext>
                </a:extLst>
              </p:cNvPr>
              <p:cNvSpPr/>
              <p:nvPr/>
            </p:nvSpPr>
            <p:spPr>
              <a:xfrm>
                <a:off x="8051259" y="3765596"/>
                <a:ext cx="18318" cy="18472"/>
              </a:xfrm>
              <a:custGeom>
                <a:avLst/>
                <a:gdLst>
                  <a:gd name="connsiteX0" fmla="*/ 10714 w 18318"/>
                  <a:gd name="connsiteY0" fmla="*/ 145 h 18472"/>
                  <a:gd name="connsiteX1" fmla="*/ 18190 w 18318"/>
                  <a:gd name="connsiteY1" fmla="*/ 10851 h 18472"/>
                  <a:gd name="connsiteX2" fmla="*/ 7604 w 18318"/>
                  <a:gd name="connsiteY2" fmla="*/ 18327 h 18472"/>
                  <a:gd name="connsiteX3" fmla="*/ 128 w 18318"/>
                  <a:gd name="connsiteY3" fmla="*/ 7621 h 18472"/>
                  <a:gd name="connsiteX4" fmla="*/ 10714 w 18318"/>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2">
                    <a:moveTo>
                      <a:pt x="10714" y="145"/>
                    </a:moveTo>
                    <a:cubicBezTo>
                      <a:pt x="15678" y="1042"/>
                      <a:pt x="19028" y="5827"/>
                      <a:pt x="18190" y="10851"/>
                    </a:cubicBezTo>
                    <a:cubicBezTo>
                      <a:pt x="17353" y="15875"/>
                      <a:pt x="12568" y="19224"/>
                      <a:pt x="7604" y="18327"/>
                    </a:cubicBezTo>
                    <a:cubicBezTo>
                      <a:pt x="2640" y="17430"/>
                      <a:pt x="-709" y="12645"/>
                      <a:pt x="128" y="7621"/>
                    </a:cubicBezTo>
                    <a:cubicBezTo>
                      <a:pt x="966" y="2597"/>
                      <a:pt x="5750" y="-752"/>
                      <a:pt x="10714" y="145"/>
                    </a:cubicBezTo>
                    <a:close/>
                  </a:path>
                </a:pathLst>
              </a:custGeom>
              <a:grpFill/>
              <a:ln w="5978" cap="flat">
                <a:noFill/>
                <a:prstDash val="solid"/>
                <a:miter/>
              </a:ln>
            </p:spPr>
            <p:txBody>
              <a:bodyPr rtlCol="0" anchor="ctr"/>
              <a:lstStyle/>
              <a:p>
                <a:endParaRPr lang="en-GB"/>
              </a:p>
            </p:txBody>
          </p:sp>
          <p:sp>
            <p:nvSpPr>
              <p:cNvPr id="4897" name="Vrije vorm: vorm 4896">
                <a:extLst>
                  <a:ext uri="{FF2B5EF4-FFF2-40B4-BE49-F238E27FC236}">
                    <a16:creationId xmlns:a16="http://schemas.microsoft.com/office/drawing/2014/main" id="{041476B7-21B7-4ABE-89DD-2257CB72CA01}"/>
                  </a:ext>
                </a:extLst>
              </p:cNvPr>
              <p:cNvSpPr/>
              <p:nvPr/>
            </p:nvSpPr>
            <p:spPr>
              <a:xfrm>
                <a:off x="7940793" y="3745860"/>
                <a:ext cx="18319" cy="18472"/>
              </a:xfrm>
              <a:custGeom>
                <a:avLst/>
                <a:gdLst>
                  <a:gd name="connsiteX0" fmla="*/ 10715 w 18319"/>
                  <a:gd name="connsiteY0" fmla="*/ 145 h 18472"/>
                  <a:gd name="connsiteX1" fmla="*/ 130 w 18319"/>
                  <a:gd name="connsiteY1" fmla="*/ 7621 h 18472"/>
                  <a:gd name="connsiteX2" fmla="*/ 7606 w 18319"/>
                  <a:gd name="connsiteY2" fmla="*/ 18327 h 18472"/>
                  <a:gd name="connsiteX3" fmla="*/ 18191 w 18319"/>
                  <a:gd name="connsiteY3" fmla="*/ 10851 h 18472"/>
                  <a:gd name="connsiteX4" fmla="*/ 10715 w 18319"/>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2">
                    <a:moveTo>
                      <a:pt x="10715" y="145"/>
                    </a:moveTo>
                    <a:cubicBezTo>
                      <a:pt x="5752" y="-752"/>
                      <a:pt x="967" y="2597"/>
                      <a:pt x="130" y="7621"/>
                    </a:cubicBezTo>
                    <a:cubicBezTo>
                      <a:pt x="-707" y="12645"/>
                      <a:pt x="2582" y="17430"/>
                      <a:pt x="7606" y="18327"/>
                    </a:cubicBezTo>
                    <a:cubicBezTo>
                      <a:pt x="12570" y="19224"/>
                      <a:pt x="17355" y="15875"/>
                      <a:pt x="18191" y="10851"/>
                    </a:cubicBezTo>
                    <a:cubicBezTo>
                      <a:pt x="19029" y="5827"/>
                      <a:pt x="15680" y="1042"/>
                      <a:pt x="10715" y="145"/>
                    </a:cubicBezTo>
                    <a:close/>
                  </a:path>
                </a:pathLst>
              </a:custGeom>
              <a:grpFill/>
              <a:ln w="5978" cap="flat">
                <a:noFill/>
                <a:prstDash val="solid"/>
                <a:miter/>
              </a:ln>
            </p:spPr>
            <p:txBody>
              <a:bodyPr rtlCol="0" anchor="ctr"/>
              <a:lstStyle/>
              <a:p>
                <a:endParaRPr lang="en-GB"/>
              </a:p>
            </p:txBody>
          </p:sp>
        </p:grpSp>
        <p:grpSp>
          <p:nvGrpSpPr>
            <p:cNvPr id="162" name="Graphic 3">
              <a:extLst>
                <a:ext uri="{FF2B5EF4-FFF2-40B4-BE49-F238E27FC236}">
                  <a16:creationId xmlns:a16="http://schemas.microsoft.com/office/drawing/2014/main" id="{07AEABB7-E121-4697-8DD5-D35A727B0A16}"/>
                </a:ext>
              </a:extLst>
            </p:cNvPr>
            <p:cNvGrpSpPr/>
            <p:nvPr/>
          </p:nvGrpSpPr>
          <p:grpSpPr>
            <a:xfrm>
              <a:off x="7662293" y="2890860"/>
              <a:ext cx="121266" cy="49345"/>
              <a:chOff x="7662293" y="2890860"/>
              <a:chExt cx="121266" cy="49345"/>
            </a:xfrm>
            <a:grpFill/>
          </p:grpSpPr>
          <p:sp>
            <p:nvSpPr>
              <p:cNvPr id="4892" name="Vrije vorm: vorm 4891">
                <a:extLst>
                  <a:ext uri="{FF2B5EF4-FFF2-40B4-BE49-F238E27FC236}">
                    <a16:creationId xmlns:a16="http://schemas.microsoft.com/office/drawing/2014/main" id="{D3CACA2E-9AF6-431E-AF20-24C597C53D6E}"/>
                  </a:ext>
                </a:extLst>
              </p:cNvPr>
              <p:cNvSpPr/>
              <p:nvPr/>
            </p:nvSpPr>
            <p:spPr>
              <a:xfrm>
                <a:off x="7670594" y="2898417"/>
                <a:ext cx="104662" cy="34149"/>
              </a:xfrm>
              <a:custGeom>
                <a:avLst/>
                <a:gdLst>
                  <a:gd name="connsiteX0" fmla="*/ 103765 w 104662"/>
                  <a:gd name="connsiteY0" fmla="*/ 0 h 34149"/>
                  <a:gd name="connsiteX1" fmla="*/ 104663 w 104662"/>
                  <a:gd name="connsiteY1" fmla="*/ 2990 h 34149"/>
                  <a:gd name="connsiteX2" fmla="*/ 837 w 104662"/>
                  <a:gd name="connsiteY2" fmla="*/ 34150 h 34149"/>
                  <a:gd name="connsiteX3" fmla="*/ 0 w 104662"/>
                  <a:gd name="connsiteY3" fmla="*/ 31219 h 34149"/>
                </a:gdLst>
                <a:ahLst/>
                <a:cxnLst>
                  <a:cxn ang="0">
                    <a:pos x="connsiteX0" y="connsiteY0"/>
                  </a:cxn>
                  <a:cxn ang="0">
                    <a:pos x="connsiteX1" y="connsiteY1"/>
                  </a:cxn>
                  <a:cxn ang="0">
                    <a:pos x="connsiteX2" y="connsiteY2"/>
                  </a:cxn>
                  <a:cxn ang="0">
                    <a:pos x="connsiteX3" y="connsiteY3"/>
                  </a:cxn>
                </a:cxnLst>
                <a:rect l="l" t="t" r="r" b="b"/>
                <a:pathLst>
                  <a:path w="104662" h="34149">
                    <a:moveTo>
                      <a:pt x="103765" y="0"/>
                    </a:moveTo>
                    <a:lnTo>
                      <a:pt x="104663" y="2990"/>
                    </a:lnTo>
                    <a:lnTo>
                      <a:pt x="837" y="34150"/>
                    </a:lnTo>
                    <a:lnTo>
                      <a:pt x="0" y="31219"/>
                    </a:lnTo>
                    <a:close/>
                  </a:path>
                </a:pathLst>
              </a:custGeom>
              <a:grpFill/>
              <a:ln w="5978" cap="flat">
                <a:noFill/>
                <a:prstDash val="solid"/>
                <a:miter/>
              </a:ln>
            </p:spPr>
            <p:txBody>
              <a:bodyPr rtlCol="0" anchor="ctr"/>
              <a:lstStyle/>
              <a:p>
                <a:endParaRPr lang="en-GB"/>
              </a:p>
            </p:txBody>
          </p:sp>
          <p:sp>
            <p:nvSpPr>
              <p:cNvPr id="4893" name="Vrije vorm: vorm 4892">
                <a:extLst>
                  <a:ext uri="{FF2B5EF4-FFF2-40B4-BE49-F238E27FC236}">
                    <a16:creationId xmlns:a16="http://schemas.microsoft.com/office/drawing/2014/main" id="{DBA3B351-227C-4C0B-B5BD-B07A530E8459}"/>
                  </a:ext>
                </a:extLst>
              </p:cNvPr>
              <p:cNvSpPr/>
              <p:nvPr/>
            </p:nvSpPr>
            <p:spPr>
              <a:xfrm>
                <a:off x="7765221" y="2890860"/>
                <a:ext cx="18338" cy="18462"/>
              </a:xfrm>
              <a:custGeom>
                <a:avLst/>
                <a:gdLst>
                  <a:gd name="connsiteX0" fmla="*/ 6508 w 18338"/>
                  <a:gd name="connsiteY0" fmla="*/ 380 h 18462"/>
                  <a:gd name="connsiteX1" fmla="*/ 17931 w 18338"/>
                  <a:gd name="connsiteY1" fmla="*/ 6600 h 18462"/>
                  <a:gd name="connsiteX2" fmla="*/ 11831 w 18338"/>
                  <a:gd name="connsiteY2" fmla="*/ 18083 h 18462"/>
                  <a:gd name="connsiteX3" fmla="*/ 407 w 18338"/>
                  <a:gd name="connsiteY3" fmla="*/ 11863 h 18462"/>
                  <a:gd name="connsiteX4" fmla="*/ 6508 w 18338"/>
                  <a:gd name="connsiteY4" fmla="*/ 38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2">
                    <a:moveTo>
                      <a:pt x="6508" y="380"/>
                    </a:moveTo>
                    <a:cubicBezTo>
                      <a:pt x="11352" y="-1055"/>
                      <a:pt x="16496" y="1696"/>
                      <a:pt x="17931" y="6600"/>
                    </a:cubicBezTo>
                    <a:cubicBezTo>
                      <a:pt x="19427" y="11504"/>
                      <a:pt x="16675" y="16588"/>
                      <a:pt x="11831" y="18083"/>
                    </a:cubicBezTo>
                    <a:cubicBezTo>
                      <a:pt x="6986" y="19518"/>
                      <a:pt x="1843" y="16767"/>
                      <a:pt x="407" y="11863"/>
                    </a:cubicBezTo>
                    <a:cubicBezTo>
                      <a:pt x="-1088" y="6959"/>
                      <a:pt x="1663" y="1815"/>
                      <a:pt x="6508" y="380"/>
                    </a:cubicBezTo>
                    <a:close/>
                  </a:path>
                </a:pathLst>
              </a:custGeom>
              <a:grpFill/>
              <a:ln w="5978" cap="flat">
                <a:noFill/>
                <a:prstDash val="solid"/>
                <a:miter/>
              </a:ln>
            </p:spPr>
            <p:txBody>
              <a:bodyPr rtlCol="0" anchor="ctr"/>
              <a:lstStyle/>
              <a:p>
                <a:endParaRPr lang="en-GB"/>
              </a:p>
            </p:txBody>
          </p:sp>
          <p:sp>
            <p:nvSpPr>
              <p:cNvPr id="4894" name="Vrije vorm: vorm 4893">
                <a:extLst>
                  <a:ext uri="{FF2B5EF4-FFF2-40B4-BE49-F238E27FC236}">
                    <a16:creationId xmlns:a16="http://schemas.microsoft.com/office/drawing/2014/main" id="{B56BA001-A078-48B5-9D55-BC256802E1D6}"/>
                  </a:ext>
                </a:extLst>
              </p:cNvPr>
              <p:cNvSpPr/>
              <p:nvPr/>
            </p:nvSpPr>
            <p:spPr>
              <a:xfrm>
                <a:off x="7662293" y="2921780"/>
                <a:ext cx="18338" cy="18425"/>
              </a:xfrm>
              <a:custGeom>
                <a:avLst/>
                <a:gdLst>
                  <a:gd name="connsiteX0" fmla="*/ 6508 w 18338"/>
                  <a:gd name="connsiteY0" fmla="*/ 380 h 18425"/>
                  <a:gd name="connsiteX1" fmla="*/ 407 w 18338"/>
                  <a:gd name="connsiteY1" fmla="*/ 11863 h 18425"/>
                  <a:gd name="connsiteX2" fmla="*/ 11830 w 18338"/>
                  <a:gd name="connsiteY2" fmla="*/ 18023 h 18425"/>
                  <a:gd name="connsiteX3" fmla="*/ 17931 w 18338"/>
                  <a:gd name="connsiteY3" fmla="*/ 6541 h 18425"/>
                  <a:gd name="connsiteX4" fmla="*/ 6508 w 18338"/>
                  <a:gd name="connsiteY4" fmla="*/ 380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5">
                    <a:moveTo>
                      <a:pt x="6508" y="380"/>
                    </a:moveTo>
                    <a:cubicBezTo>
                      <a:pt x="1663" y="1816"/>
                      <a:pt x="-1088" y="6959"/>
                      <a:pt x="407" y="11863"/>
                    </a:cubicBezTo>
                    <a:cubicBezTo>
                      <a:pt x="1903" y="16708"/>
                      <a:pt x="6986" y="19519"/>
                      <a:pt x="11830" y="18023"/>
                    </a:cubicBezTo>
                    <a:cubicBezTo>
                      <a:pt x="16675" y="16588"/>
                      <a:pt x="19426" y="11445"/>
                      <a:pt x="17931" y="6541"/>
                    </a:cubicBezTo>
                    <a:cubicBezTo>
                      <a:pt x="16435" y="1696"/>
                      <a:pt x="11352" y="-1055"/>
                      <a:pt x="6508" y="380"/>
                    </a:cubicBezTo>
                    <a:close/>
                  </a:path>
                </a:pathLst>
              </a:custGeom>
              <a:grpFill/>
              <a:ln w="5978" cap="flat">
                <a:noFill/>
                <a:prstDash val="solid"/>
                <a:miter/>
              </a:ln>
            </p:spPr>
            <p:txBody>
              <a:bodyPr rtlCol="0" anchor="ctr"/>
              <a:lstStyle/>
              <a:p>
                <a:endParaRPr lang="en-GB"/>
              </a:p>
            </p:txBody>
          </p:sp>
        </p:grpSp>
        <p:grpSp>
          <p:nvGrpSpPr>
            <p:cNvPr id="163" name="Graphic 3">
              <a:extLst>
                <a:ext uri="{FF2B5EF4-FFF2-40B4-BE49-F238E27FC236}">
                  <a16:creationId xmlns:a16="http://schemas.microsoft.com/office/drawing/2014/main" id="{A162608D-BAFB-4E12-8B4F-3386DD36B801}"/>
                </a:ext>
              </a:extLst>
            </p:cNvPr>
            <p:cNvGrpSpPr/>
            <p:nvPr/>
          </p:nvGrpSpPr>
          <p:grpSpPr>
            <a:xfrm>
              <a:off x="7738529" y="3350557"/>
              <a:ext cx="268247" cy="25725"/>
              <a:chOff x="7738529" y="3350557"/>
              <a:chExt cx="268247" cy="25725"/>
            </a:xfrm>
            <a:grpFill/>
          </p:grpSpPr>
          <p:sp>
            <p:nvSpPr>
              <p:cNvPr id="4889" name="Vrije vorm: vorm 4888">
                <a:extLst>
                  <a:ext uri="{FF2B5EF4-FFF2-40B4-BE49-F238E27FC236}">
                    <a16:creationId xmlns:a16="http://schemas.microsoft.com/office/drawing/2014/main" id="{502DE106-622F-4368-86A9-8D313D5AF954}"/>
                  </a:ext>
                </a:extLst>
              </p:cNvPr>
              <p:cNvSpPr/>
              <p:nvPr/>
            </p:nvSpPr>
            <p:spPr>
              <a:xfrm>
                <a:off x="7747148" y="3358215"/>
                <a:ext cx="251010" cy="10466"/>
              </a:xfrm>
              <a:custGeom>
                <a:avLst/>
                <a:gdLst>
                  <a:gd name="connsiteX0" fmla="*/ 250891 w 251010"/>
                  <a:gd name="connsiteY0" fmla="*/ 0 h 10466"/>
                  <a:gd name="connsiteX1" fmla="*/ 251011 w 251010"/>
                  <a:gd name="connsiteY1" fmla="*/ 3050 h 10466"/>
                  <a:gd name="connsiteX2" fmla="*/ 120 w 251010"/>
                  <a:gd name="connsiteY2" fmla="*/ 10466 h 10466"/>
                  <a:gd name="connsiteX3" fmla="*/ 0 w 251010"/>
                  <a:gd name="connsiteY3" fmla="*/ 7416 h 10466"/>
                </a:gdLst>
                <a:ahLst/>
                <a:cxnLst>
                  <a:cxn ang="0">
                    <a:pos x="connsiteX0" y="connsiteY0"/>
                  </a:cxn>
                  <a:cxn ang="0">
                    <a:pos x="connsiteX1" y="connsiteY1"/>
                  </a:cxn>
                  <a:cxn ang="0">
                    <a:pos x="connsiteX2" y="connsiteY2"/>
                  </a:cxn>
                  <a:cxn ang="0">
                    <a:pos x="connsiteX3" y="connsiteY3"/>
                  </a:cxn>
                </a:cxnLst>
                <a:rect l="l" t="t" r="r" b="b"/>
                <a:pathLst>
                  <a:path w="251010" h="10466">
                    <a:moveTo>
                      <a:pt x="250891" y="0"/>
                    </a:moveTo>
                    <a:lnTo>
                      <a:pt x="251011" y="3050"/>
                    </a:lnTo>
                    <a:lnTo>
                      <a:pt x="120" y="10466"/>
                    </a:lnTo>
                    <a:lnTo>
                      <a:pt x="0" y="7416"/>
                    </a:lnTo>
                    <a:close/>
                  </a:path>
                </a:pathLst>
              </a:custGeom>
              <a:grpFill/>
              <a:ln w="5978" cap="flat">
                <a:noFill/>
                <a:prstDash val="solid"/>
                <a:miter/>
              </a:ln>
            </p:spPr>
            <p:txBody>
              <a:bodyPr rtlCol="0" anchor="ctr"/>
              <a:lstStyle/>
              <a:p>
                <a:endParaRPr lang="en-GB"/>
              </a:p>
            </p:txBody>
          </p:sp>
          <p:sp>
            <p:nvSpPr>
              <p:cNvPr id="4890" name="Vrije vorm: vorm 4889">
                <a:extLst>
                  <a:ext uri="{FF2B5EF4-FFF2-40B4-BE49-F238E27FC236}">
                    <a16:creationId xmlns:a16="http://schemas.microsoft.com/office/drawing/2014/main" id="{C65D2958-273D-461B-8009-B2EE74EAC74B}"/>
                  </a:ext>
                </a:extLst>
              </p:cNvPr>
              <p:cNvSpPr/>
              <p:nvPr/>
            </p:nvSpPr>
            <p:spPr>
              <a:xfrm>
                <a:off x="7988464" y="3350557"/>
                <a:ext cx="18313" cy="18366"/>
              </a:xfrm>
              <a:custGeom>
                <a:avLst/>
                <a:gdLst>
                  <a:gd name="connsiteX0" fmla="*/ 8857 w 18313"/>
                  <a:gd name="connsiteY0" fmla="*/ 3 h 18366"/>
                  <a:gd name="connsiteX1" fmla="*/ 18307 w 18313"/>
                  <a:gd name="connsiteY1" fmla="*/ 8914 h 18366"/>
                  <a:gd name="connsiteX2" fmla="*/ 9455 w 18313"/>
                  <a:gd name="connsiteY2" fmla="*/ 18364 h 18366"/>
                  <a:gd name="connsiteX3" fmla="*/ 6 w 18313"/>
                  <a:gd name="connsiteY3" fmla="*/ 9452 h 18366"/>
                  <a:gd name="connsiteX4" fmla="*/ 8857 w 18313"/>
                  <a:gd name="connsiteY4" fmla="*/ 3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66">
                    <a:moveTo>
                      <a:pt x="8857" y="3"/>
                    </a:moveTo>
                    <a:cubicBezTo>
                      <a:pt x="13941" y="-117"/>
                      <a:pt x="18128" y="3830"/>
                      <a:pt x="18307" y="8914"/>
                    </a:cubicBezTo>
                    <a:cubicBezTo>
                      <a:pt x="18486" y="13998"/>
                      <a:pt x="14539" y="18244"/>
                      <a:pt x="9455" y="18364"/>
                    </a:cubicBezTo>
                    <a:cubicBezTo>
                      <a:pt x="4372" y="18483"/>
                      <a:pt x="185" y="14536"/>
                      <a:pt x="6" y="9452"/>
                    </a:cubicBezTo>
                    <a:cubicBezTo>
                      <a:pt x="-174" y="4369"/>
                      <a:pt x="3834" y="122"/>
                      <a:pt x="8857" y="3"/>
                    </a:cubicBezTo>
                    <a:close/>
                  </a:path>
                </a:pathLst>
              </a:custGeom>
              <a:grpFill/>
              <a:ln w="5978" cap="flat">
                <a:noFill/>
                <a:prstDash val="solid"/>
                <a:miter/>
              </a:ln>
            </p:spPr>
            <p:txBody>
              <a:bodyPr rtlCol="0" anchor="ctr"/>
              <a:lstStyle/>
              <a:p>
                <a:endParaRPr lang="en-GB"/>
              </a:p>
            </p:txBody>
          </p:sp>
          <p:sp>
            <p:nvSpPr>
              <p:cNvPr id="4891" name="Vrije vorm: vorm 4890">
                <a:extLst>
                  <a:ext uri="{FF2B5EF4-FFF2-40B4-BE49-F238E27FC236}">
                    <a16:creationId xmlns:a16="http://schemas.microsoft.com/office/drawing/2014/main" id="{F12D4A80-D6B6-42F2-8480-6D8BD439B36C}"/>
                  </a:ext>
                </a:extLst>
              </p:cNvPr>
              <p:cNvSpPr/>
              <p:nvPr/>
            </p:nvSpPr>
            <p:spPr>
              <a:xfrm>
                <a:off x="7738529" y="3357914"/>
                <a:ext cx="18313" cy="18369"/>
              </a:xfrm>
              <a:custGeom>
                <a:avLst/>
                <a:gdLst>
                  <a:gd name="connsiteX0" fmla="*/ 8857 w 18313"/>
                  <a:gd name="connsiteY0" fmla="*/ 3 h 18369"/>
                  <a:gd name="connsiteX1" fmla="*/ 6 w 18313"/>
                  <a:gd name="connsiteY1" fmla="*/ 9452 h 18369"/>
                  <a:gd name="connsiteX2" fmla="*/ 9456 w 18313"/>
                  <a:gd name="connsiteY2" fmla="*/ 18363 h 18369"/>
                  <a:gd name="connsiteX3" fmla="*/ 18307 w 18313"/>
                  <a:gd name="connsiteY3" fmla="*/ 8914 h 18369"/>
                  <a:gd name="connsiteX4" fmla="*/ 8857 w 18313"/>
                  <a:gd name="connsiteY4" fmla="*/ 3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69">
                    <a:moveTo>
                      <a:pt x="8857" y="3"/>
                    </a:moveTo>
                    <a:cubicBezTo>
                      <a:pt x="3774" y="122"/>
                      <a:pt x="-173" y="4369"/>
                      <a:pt x="6" y="9452"/>
                    </a:cubicBezTo>
                    <a:cubicBezTo>
                      <a:pt x="185" y="14536"/>
                      <a:pt x="4432" y="18543"/>
                      <a:pt x="9456" y="18363"/>
                    </a:cubicBezTo>
                    <a:cubicBezTo>
                      <a:pt x="14539" y="18244"/>
                      <a:pt x="18487" y="13997"/>
                      <a:pt x="18307" y="8914"/>
                    </a:cubicBezTo>
                    <a:cubicBezTo>
                      <a:pt x="18128" y="3890"/>
                      <a:pt x="13882" y="-117"/>
                      <a:pt x="8857" y="3"/>
                    </a:cubicBezTo>
                    <a:close/>
                  </a:path>
                </a:pathLst>
              </a:custGeom>
              <a:grpFill/>
              <a:ln w="5978" cap="flat">
                <a:noFill/>
                <a:prstDash val="solid"/>
                <a:miter/>
              </a:ln>
            </p:spPr>
            <p:txBody>
              <a:bodyPr rtlCol="0" anchor="ctr"/>
              <a:lstStyle/>
              <a:p>
                <a:endParaRPr lang="en-GB"/>
              </a:p>
            </p:txBody>
          </p:sp>
        </p:grpSp>
        <p:grpSp>
          <p:nvGrpSpPr>
            <p:cNvPr id="164" name="Graphic 3">
              <a:extLst>
                <a:ext uri="{FF2B5EF4-FFF2-40B4-BE49-F238E27FC236}">
                  <a16:creationId xmlns:a16="http://schemas.microsoft.com/office/drawing/2014/main" id="{8B6881C4-16E9-4990-AA09-E8E3E5B00782}"/>
                </a:ext>
              </a:extLst>
            </p:cNvPr>
            <p:cNvGrpSpPr/>
            <p:nvPr/>
          </p:nvGrpSpPr>
          <p:grpSpPr>
            <a:xfrm>
              <a:off x="7685346" y="2985297"/>
              <a:ext cx="137361" cy="47049"/>
              <a:chOff x="7685346" y="2985297"/>
              <a:chExt cx="137361" cy="47049"/>
            </a:xfrm>
            <a:grpFill/>
          </p:grpSpPr>
          <p:sp>
            <p:nvSpPr>
              <p:cNvPr id="4886" name="Vrije vorm: vorm 4885">
                <a:extLst>
                  <a:ext uri="{FF2B5EF4-FFF2-40B4-BE49-F238E27FC236}">
                    <a16:creationId xmlns:a16="http://schemas.microsoft.com/office/drawing/2014/main" id="{D9424895-FA50-418D-8301-4E9273F9F77F}"/>
                  </a:ext>
                </a:extLst>
              </p:cNvPr>
              <p:cNvSpPr/>
              <p:nvPr/>
            </p:nvSpPr>
            <p:spPr>
              <a:xfrm>
                <a:off x="7693556" y="2992582"/>
                <a:ext cx="120560" cy="31759"/>
              </a:xfrm>
              <a:custGeom>
                <a:avLst/>
                <a:gdLst>
                  <a:gd name="connsiteX0" fmla="*/ 0 w 120560"/>
                  <a:gd name="connsiteY0" fmla="*/ 28794 h 31759"/>
                  <a:gd name="connsiteX1" fmla="*/ 119848 w 120560"/>
                  <a:gd name="connsiteY1" fmla="*/ 0 h 31759"/>
                  <a:gd name="connsiteX2" fmla="*/ 120561 w 120560"/>
                  <a:gd name="connsiteY2" fmla="*/ 2966 h 31759"/>
                  <a:gd name="connsiteX3" fmla="*/ 713 w 120560"/>
                  <a:gd name="connsiteY3" fmla="*/ 31760 h 31759"/>
                </a:gdLst>
                <a:ahLst/>
                <a:cxnLst>
                  <a:cxn ang="0">
                    <a:pos x="connsiteX0" y="connsiteY0"/>
                  </a:cxn>
                  <a:cxn ang="0">
                    <a:pos x="connsiteX1" y="connsiteY1"/>
                  </a:cxn>
                  <a:cxn ang="0">
                    <a:pos x="connsiteX2" y="connsiteY2"/>
                  </a:cxn>
                  <a:cxn ang="0">
                    <a:pos x="connsiteX3" y="connsiteY3"/>
                  </a:cxn>
                </a:cxnLst>
                <a:rect l="l" t="t" r="r" b="b"/>
                <a:pathLst>
                  <a:path w="120560" h="31759">
                    <a:moveTo>
                      <a:pt x="0" y="28794"/>
                    </a:moveTo>
                    <a:lnTo>
                      <a:pt x="119848" y="0"/>
                    </a:lnTo>
                    <a:lnTo>
                      <a:pt x="120561" y="2966"/>
                    </a:lnTo>
                    <a:lnTo>
                      <a:pt x="713" y="31760"/>
                    </a:lnTo>
                    <a:close/>
                  </a:path>
                </a:pathLst>
              </a:custGeom>
              <a:grpFill/>
              <a:ln w="5978" cap="flat">
                <a:noFill/>
                <a:prstDash val="solid"/>
                <a:miter/>
              </a:ln>
            </p:spPr>
            <p:txBody>
              <a:bodyPr rtlCol="0" anchor="ctr"/>
              <a:lstStyle/>
              <a:p>
                <a:endParaRPr lang="en-GB"/>
              </a:p>
            </p:txBody>
          </p:sp>
          <p:sp>
            <p:nvSpPr>
              <p:cNvPr id="4887" name="Vrije vorm: vorm 4886">
                <a:extLst>
                  <a:ext uri="{FF2B5EF4-FFF2-40B4-BE49-F238E27FC236}">
                    <a16:creationId xmlns:a16="http://schemas.microsoft.com/office/drawing/2014/main" id="{AAAB9390-B9FD-4539-B966-898CAA0925CA}"/>
                  </a:ext>
                </a:extLst>
              </p:cNvPr>
              <p:cNvSpPr/>
              <p:nvPr/>
            </p:nvSpPr>
            <p:spPr>
              <a:xfrm>
                <a:off x="7804360" y="2985297"/>
                <a:ext cx="18348" cy="18461"/>
              </a:xfrm>
              <a:custGeom>
                <a:avLst/>
                <a:gdLst>
                  <a:gd name="connsiteX0" fmla="*/ 7021 w 18348"/>
                  <a:gd name="connsiteY0" fmla="*/ 260 h 18461"/>
                  <a:gd name="connsiteX1" fmla="*/ 18085 w 18348"/>
                  <a:gd name="connsiteY1" fmla="*/ 7078 h 18461"/>
                  <a:gd name="connsiteX2" fmla="*/ 11327 w 18348"/>
                  <a:gd name="connsiteY2" fmla="*/ 18202 h 18461"/>
                  <a:gd name="connsiteX3" fmla="*/ 263 w 18348"/>
                  <a:gd name="connsiteY3" fmla="*/ 11384 h 18461"/>
                  <a:gd name="connsiteX4" fmla="*/ 7021 w 18348"/>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61">
                    <a:moveTo>
                      <a:pt x="7021" y="260"/>
                    </a:moveTo>
                    <a:cubicBezTo>
                      <a:pt x="11925" y="-936"/>
                      <a:pt x="16890" y="2114"/>
                      <a:pt x="18085" y="7078"/>
                    </a:cubicBezTo>
                    <a:cubicBezTo>
                      <a:pt x="19281" y="12042"/>
                      <a:pt x="16291" y="17006"/>
                      <a:pt x="11327" y="18202"/>
                    </a:cubicBezTo>
                    <a:cubicBezTo>
                      <a:pt x="6423" y="19398"/>
                      <a:pt x="1459" y="16348"/>
                      <a:pt x="263" y="11384"/>
                    </a:cubicBezTo>
                    <a:cubicBezTo>
                      <a:pt x="-933" y="6420"/>
                      <a:pt x="2058" y="1456"/>
                      <a:pt x="7021" y="260"/>
                    </a:cubicBezTo>
                    <a:close/>
                  </a:path>
                </a:pathLst>
              </a:custGeom>
              <a:grpFill/>
              <a:ln w="5978" cap="flat">
                <a:noFill/>
                <a:prstDash val="solid"/>
                <a:miter/>
              </a:ln>
            </p:spPr>
            <p:txBody>
              <a:bodyPr rtlCol="0" anchor="ctr"/>
              <a:lstStyle/>
              <a:p>
                <a:endParaRPr lang="en-GB"/>
              </a:p>
            </p:txBody>
          </p:sp>
          <p:sp>
            <p:nvSpPr>
              <p:cNvPr id="4888" name="Vrije vorm: vorm 4887">
                <a:extLst>
                  <a:ext uri="{FF2B5EF4-FFF2-40B4-BE49-F238E27FC236}">
                    <a16:creationId xmlns:a16="http://schemas.microsoft.com/office/drawing/2014/main" id="{73489F03-E0EA-48F7-BDF3-95D798A35B7A}"/>
                  </a:ext>
                </a:extLst>
              </p:cNvPr>
              <p:cNvSpPr/>
              <p:nvPr/>
            </p:nvSpPr>
            <p:spPr>
              <a:xfrm>
                <a:off x="7685346" y="3013885"/>
                <a:ext cx="18342" cy="18461"/>
              </a:xfrm>
              <a:custGeom>
                <a:avLst/>
                <a:gdLst>
                  <a:gd name="connsiteX0" fmla="*/ 7018 w 18342"/>
                  <a:gd name="connsiteY0" fmla="*/ 260 h 18461"/>
                  <a:gd name="connsiteX1" fmla="*/ 260 w 18342"/>
                  <a:gd name="connsiteY1" fmla="*/ 11384 h 18461"/>
                  <a:gd name="connsiteX2" fmla="*/ 11324 w 18342"/>
                  <a:gd name="connsiteY2" fmla="*/ 18202 h 18461"/>
                  <a:gd name="connsiteX3" fmla="*/ 18082 w 18342"/>
                  <a:gd name="connsiteY3" fmla="*/ 7078 h 18461"/>
                  <a:gd name="connsiteX4" fmla="*/ 7018 w 18342"/>
                  <a:gd name="connsiteY4" fmla="*/ 26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1">
                    <a:moveTo>
                      <a:pt x="7018" y="260"/>
                    </a:moveTo>
                    <a:cubicBezTo>
                      <a:pt x="2114" y="1456"/>
                      <a:pt x="-936" y="6420"/>
                      <a:pt x="260" y="11384"/>
                    </a:cubicBezTo>
                    <a:cubicBezTo>
                      <a:pt x="1456" y="16348"/>
                      <a:pt x="6420" y="19398"/>
                      <a:pt x="11324" y="18202"/>
                    </a:cubicBezTo>
                    <a:cubicBezTo>
                      <a:pt x="16229" y="17006"/>
                      <a:pt x="19279" y="12042"/>
                      <a:pt x="18082" y="7078"/>
                    </a:cubicBezTo>
                    <a:cubicBezTo>
                      <a:pt x="16946" y="2114"/>
                      <a:pt x="11982" y="-936"/>
                      <a:pt x="7018" y="260"/>
                    </a:cubicBezTo>
                    <a:close/>
                  </a:path>
                </a:pathLst>
              </a:custGeom>
              <a:grpFill/>
              <a:ln w="5978" cap="flat">
                <a:noFill/>
                <a:prstDash val="solid"/>
                <a:miter/>
              </a:ln>
            </p:spPr>
            <p:txBody>
              <a:bodyPr rtlCol="0" anchor="ctr"/>
              <a:lstStyle/>
              <a:p>
                <a:endParaRPr lang="en-GB"/>
              </a:p>
            </p:txBody>
          </p:sp>
        </p:grpSp>
        <p:grpSp>
          <p:nvGrpSpPr>
            <p:cNvPr id="165" name="Graphic 3">
              <a:extLst>
                <a:ext uri="{FF2B5EF4-FFF2-40B4-BE49-F238E27FC236}">
                  <a16:creationId xmlns:a16="http://schemas.microsoft.com/office/drawing/2014/main" id="{373F595F-0C14-4CF2-A76D-97E35D2D0D6E}"/>
                </a:ext>
              </a:extLst>
            </p:cNvPr>
            <p:cNvGrpSpPr/>
            <p:nvPr/>
          </p:nvGrpSpPr>
          <p:grpSpPr>
            <a:xfrm>
              <a:off x="7704020" y="3110249"/>
              <a:ext cx="195284" cy="47183"/>
              <a:chOff x="7704020" y="3110249"/>
              <a:chExt cx="195284" cy="47183"/>
            </a:xfrm>
            <a:grpFill/>
          </p:grpSpPr>
          <p:sp>
            <p:nvSpPr>
              <p:cNvPr id="4883" name="Vrije vorm: vorm 4882">
                <a:extLst>
                  <a:ext uri="{FF2B5EF4-FFF2-40B4-BE49-F238E27FC236}">
                    <a16:creationId xmlns:a16="http://schemas.microsoft.com/office/drawing/2014/main" id="{13EB57B0-BB14-4FA3-BBDB-975F1157E94D}"/>
                  </a:ext>
                </a:extLst>
              </p:cNvPr>
              <p:cNvSpPr/>
              <p:nvPr/>
            </p:nvSpPr>
            <p:spPr>
              <a:xfrm>
                <a:off x="7712218" y="3117904"/>
                <a:ext cx="178405" cy="31942"/>
              </a:xfrm>
              <a:custGeom>
                <a:avLst/>
                <a:gdLst>
                  <a:gd name="connsiteX0" fmla="*/ 0 w 178405"/>
                  <a:gd name="connsiteY0" fmla="*/ 28932 h 31942"/>
                  <a:gd name="connsiteX1" fmla="*/ 177915 w 178405"/>
                  <a:gd name="connsiteY1" fmla="*/ 0 h 31942"/>
                  <a:gd name="connsiteX2" fmla="*/ 178405 w 178405"/>
                  <a:gd name="connsiteY2" fmla="*/ 3011 h 31942"/>
                  <a:gd name="connsiteX3" fmla="*/ 489 w 178405"/>
                  <a:gd name="connsiteY3" fmla="*/ 31942 h 31942"/>
                </a:gdLst>
                <a:ahLst/>
                <a:cxnLst>
                  <a:cxn ang="0">
                    <a:pos x="connsiteX0" y="connsiteY0"/>
                  </a:cxn>
                  <a:cxn ang="0">
                    <a:pos x="connsiteX1" y="connsiteY1"/>
                  </a:cxn>
                  <a:cxn ang="0">
                    <a:pos x="connsiteX2" y="connsiteY2"/>
                  </a:cxn>
                  <a:cxn ang="0">
                    <a:pos x="connsiteX3" y="connsiteY3"/>
                  </a:cxn>
                </a:cxnLst>
                <a:rect l="l" t="t" r="r" b="b"/>
                <a:pathLst>
                  <a:path w="178405" h="31942">
                    <a:moveTo>
                      <a:pt x="0" y="28932"/>
                    </a:moveTo>
                    <a:lnTo>
                      <a:pt x="177915" y="0"/>
                    </a:lnTo>
                    <a:lnTo>
                      <a:pt x="178405" y="3011"/>
                    </a:lnTo>
                    <a:lnTo>
                      <a:pt x="489" y="31942"/>
                    </a:lnTo>
                    <a:close/>
                  </a:path>
                </a:pathLst>
              </a:custGeom>
              <a:grpFill/>
              <a:ln w="5978" cap="flat">
                <a:noFill/>
                <a:prstDash val="solid"/>
                <a:miter/>
              </a:ln>
            </p:spPr>
            <p:txBody>
              <a:bodyPr rtlCol="0" anchor="ctr"/>
              <a:lstStyle/>
              <a:p>
                <a:endParaRPr lang="en-GB"/>
              </a:p>
            </p:txBody>
          </p:sp>
          <p:sp>
            <p:nvSpPr>
              <p:cNvPr id="4884" name="Vrije vorm: vorm 4883">
                <a:extLst>
                  <a:ext uri="{FF2B5EF4-FFF2-40B4-BE49-F238E27FC236}">
                    <a16:creationId xmlns:a16="http://schemas.microsoft.com/office/drawing/2014/main" id="{119AE502-DDAF-4741-859F-59E4562FD9D8}"/>
                  </a:ext>
                </a:extLst>
              </p:cNvPr>
              <p:cNvSpPr/>
              <p:nvPr/>
            </p:nvSpPr>
            <p:spPr>
              <a:xfrm>
                <a:off x="7880990" y="3110249"/>
                <a:ext cx="18314" cy="18490"/>
              </a:xfrm>
              <a:custGeom>
                <a:avLst/>
                <a:gdLst>
                  <a:gd name="connsiteX0" fmla="*/ 7662 w 18314"/>
                  <a:gd name="connsiteY0" fmla="*/ 125 h 18490"/>
                  <a:gd name="connsiteX1" fmla="*/ 18188 w 18314"/>
                  <a:gd name="connsiteY1" fmla="*/ 7780 h 18490"/>
                  <a:gd name="connsiteX2" fmla="*/ 10653 w 18314"/>
                  <a:gd name="connsiteY2" fmla="*/ 18366 h 18490"/>
                  <a:gd name="connsiteX3" fmla="*/ 127 w 18314"/>
                  <a:gd name="connsiteY3" fmla="*/ 10711 h 18490"/>
                  <a:gd name="connsiteX4" fmla="*/ 7662 w 18314"/>
                  <a:gd name="connsiteY4" fmla="*/ 125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90">
                    <a:moveTo>
                      <a:pt x="7662" y="125"/>
                    </a:moveTo>
                    <a:cubicBezTo>
                      <a:pt x="12686" y="-713"/>
                      <a:pt x="17351" y="2756"/>
                      <a:pt x="18188" y="7780"/>
                    </a:cubicBezTo>
                    <a:cubicBezTo>
                      <a:pt x="19025" y="12804"/>
                      <a:pt x="15616" y="17529"/>
                      <a:pt x="10653" y="18366"/>
                    </a:cubicBezTo>
                    <a:cubicBezTo>
                      <a:pt x="5688" y="19203"/>
                      <a:pt x="963" y="15734"/>
                      <a:pt x="127" y="10711"/>
                    </a:cubicBezTo>
                    <a:cubicBezTo>
                      <a:pt x="-711" y="5687"/>
                      <a:pt x="2698" y="962"/>
                      <a:pt x="7662" y="125"/>
                    </a:cubicBezTo>
                    <a:close/>
                  </a:path>
                </a:pathLst>
              </a:custGeom>
              <a:grpFill/>
              <a:ln w="5978" cap="flat">
                <a:noFill/>
                <a:prstDash val="solid"/>
                <a:miter/>
              </a:ln>
            </p:spPr>
            <p:txBody>
              <a:bodyPr rtlCol="0" anchor="ctr"/>
              <a:lstStyle/>
              <a:p>
                <a:endParaRPr lang="en-GB"/>
              </a:p>
            </p:txBody>
          </p:sp>
          <p:sp>
            <p:nvSpPr>
              <p:cNvPr id="4885" name="Vrije vorm: vorm 4884">
                <a:extLst>
                  <a:ext uri="{FF2B5EF4-FFF2-40B4-BE49-F238E27FC236}">
                    <a16:creationId xmlns:a16="http://schemas.microsoft.com/office/drawing/2014/main" id="{72F74487-2372-4AAE-AF6A-358B3E79A25F}"/>
                  </a:ext>
                </a:extLst>
              </p:cNvPr>
              <p:cNvSpPr/>
              <p:nvPr/>
            </p:nvSpPr>
            <p:spPr>
              <a:xfrm>
                <a:off x="7704020" y="3138957"/>
                <a:ext cx="18315" cy="18476"/>
              </a:xfrm>
              <a:custGeom>
                <a:avLst/>
                <a:gdLst>
                  <a:gd name="connsiteX0" fmla="*/ 7662 w 18315"/>
                  <a:gd name="connsiteY0" fmla="*/ 125 h 18476"/>
                  <a:gd name="connsiteX1" fmla="*/ 127 w 18315"/>
                  <a:gd name="connsiteY1" fmla="*/ 10711 h 18476"/>
                  <a:gd name="connsiteX2" fmla="*/ 10653 w 18315"/>
                  <a:gd name="connsiteY2" fmla="*/ 18366 h 18476"/>
                  <a:gd name="connsiteX3" fmla="*/ 18188 w 18315"/>
                  <a:gd name="connsiteY3" fmla="*/ 7780 h 18476"/>
                  <a:gd name="connsiteX4" fmla="*/ 7662 w 18315"/>
                  <a:gd name="connsiteY4" fmla="*/ 125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76">
                    <a:moveTo>
                      <a:pt x="7662" y="125"/>
                    </a:moveTo>
                    <a:cubicBezTo>
                      <a:pt x="2699" y="962"/>
                      <a:pt x="-711" y="5687"/>
                      <a:pt x="127" y="10711"/>
                    </a:cubicBezTo>
                    <a:cubicBezTo>
                      <a:pt x="964" y="15734"/>
                      <a:pt x="5689" y="19143"/>
                      <a:pt x="10653" y="18366"/>
                    </a:cubicBezTo>
                    <a:cubicBezTo>
                      <a:pt x="15617" y="17529"/>
                      <a:pt x="19026" y="12804"/>
                      <a:pt x="18188" y="7780"/>
                    </a:cubicBezTo>
                    <a:cubicBezTo>
                      <a:pt x="17351" y="2756"/>
                      <a:pt x="12627" y="-713"/>
                      <a:pt x="7662" y="125"/>
                    </a:cubicBezTo>
                    <a:close/>
                  </a:path>
                </a:pathLst>
              </a:custGeom>
              <a:grpFill/>
              <a:ln w="5978" cap="flat">
                <a:noFill/>
                <a:prstDash val="solid"/>
                <a:miter/>
              </a:ln>
            </p:spPr>
            <p:txBody>
              <a:bodyPr rtlCol="0" anchor="ctr"/>
              <a:lstStyle/>
              <a:p>
                <a:endParaRPr lang="en-GB"/>
              </a:p>
            </p:txBody>
          </p:sp>
        </p:grpSp>
        <p:grpSp>
          <p:nvGrpSpPr>
            <p:cNvPr id="166" name="Graphic 3">
              <a:extLst>
                <a:ext uri="{FF2B5EF4-FFF2-40B4-BE49-F238E27FC236}">
                  <a16:creationId xmlns:a16="http://schemas.microsoft.com/office/drawing/2014/main" id="{9B270364-2423-418D-AF94-DDE2FA0722F8}"/>
                </a:ext>
              </a:extLst>
            </p:cNvPr>
            <p:cNvGrpSpPr/>
            <p:nvPr/>
          </p:nvGrpSpPr>
          <p:grpSpPr>
            <a:xfrm>
              <a:off x="7466635" y="2321178"/>
              <a:ext cx="148876" cy="109858"/>
              <a:chOff x="7466635" y="2321178"/>
              <a:chExt cx="148876" cy="109858"/>
            </a:xfrm>
            <a:grpFill/>
          </p:grpSpPr>
          <p:sp>
            <p:nvSpPr>
              <p:cNvPr id="4880" name="Vrije vorm: vorm 4879">
                <a:extLst>
                  <a:ext uri="{FF2B5EF4-FFF2-40B4-BE49-F238E27FC236}">
                    <a16:creationId xmlns:a16="http://schemas.microsoft.com/office/drawing/2014/main" id="{86310691-9B26-466D-8B2B-6F6FF5CA3993}"/>
                  </a:ext>
                </a:extLst>
              </p:cNvPr>
              <p:cNvSpPr/>
              <p:nvPr/>
            </p:nvSpPr>
            <p:spPr>
              <a:xfrm>
                <a:off x="7474546" y="2328873"/>
                <a:ext cx="133071" cy="94495"/>
              </a:xfrm>
              <a:custGeom>
                <a:avLst/>
                <a:gdLst>
                  <a:gd name="connsiteX0" fmla="*/ 133071 w 133071"/>
                  <a:gd name="connsiteY0" fmla="*/ 2512 h 94495"/>
                  <a:gd name="connsiteX1" fmla="*/ 1735 w 133071"/>
                  <a:gd name="connsiteY1" fmla="*/ 94495 h 94495"/>
                  <a:gd name="connsiteX2" fmla="*/ 0 w 133071"/>
                  <a:gd name="connsiteY2" fmla="*/ 91984 h 94495"/>
                  <a:gd name="connsiteX3" fmla="*/ 131277 w 133071"/>
                  <a:gd name="connsiteY3" fmla="*/ 0 h 94495"/>
                </a:gdLst>
                <a:ahLst/>
                <a:cxnLst>
                  <a:cxn ang="0">
                    <a:pos x="connsiteX0" y="connsiteY0"/>
                  </a:cxn>
                  <a:cxn ang="0">
                    <a:pos x="connsiteX1" y="connsiteY1"/>
                  </a:cxn>
                  <a:cxn ang="0">
                    <a:pos x="connsiteX2" y="connsiteY2"/>
                  </a:cxn>
                  <a:cxn ang="0">
                    <a:pos x="connsiteX3" y="connsiteY3"/>
                  </a:cxn>
                </a:cxnLst>
                <a:rect l="l" t="t" r="r" b="b"/>
                <a:pathLst>
                  <a:path w="133071" h="94495">
                    <a:moveTo>
                      <a:pt x="133071" y="2512"/>
                    </a:moveTo>
                    <a:lnTo>
                      <a:pt x="1735" y="94495"/>
                    </a:lnTo>
                    <a:lnTo>
                      <a:pt x="0" y="91984"/>
                    </a:lnTo>
                    <a:lnTo>
                      <a:pt x="131277" y="0"/>
                    </a:lnTo>
                    <a:close/>
                  </a:path>
                </a:pathLst>
              </a:custGeom>
              <a:grpFill/>
              <a:ln w="5978" cap="flat">
                <a:noFill/>
                <a:prstDash val="solid"/>
                <a:miter/>
              </a:ln>
            </p:spPr>
            <p:txBody>
              <a:bodyPr rtlCol="0" anchor="ctr"/>
              <a:lstStyle/>
              <a:p>
                <a:endParaRPr lang="en-GB"/>
              </a:p>
            </p:txBody>
          </p:sp>
          <p:sp>
            <p:nvSpPr>
              <p:cNvPr id="4881" name="Vrije vorm: vorm 4880">
                <a:extLst>
                  <a:ext uri="{FF2B5EF4-FFF2-40B4-BE49-F238E27FC236}">
                    <a16:creationId xmlns:a16="http://schemas.microsoft.com/office/drawing/2014/main" id="{B5037DB9-9438-4BAB-ABE8-76A506864874}"/>
                  </a:ext>
                </a:extLst>
              </p:cNvPr>
              <p:cNvSpPr/>
              <p:nvPr/>
            </p:nvSpPr>
            <p:spPr>
              <a:xfrm>
                <a:off x="7597178" y="2321178"/>
                <a:ext cx="18333" cy="18439"/>
              </a:xfrm>
              <a:custGeom>
                <a:avLst/>
                <a:gdLst>
                  <a:gd name="connsiteX0" fmla="*/ 3920 w 18333"/>
                  <a:gd name="connsiteY0" fmla="*/ 1654 h 18439"/>
                  <a:gd name="connsiteX1" fmla="*/ 16659 w 18333"/>
                  <a:gd name="connsiteY1" fmla="*/ 3987 h 18439"/>
                  <a:gd name="connsiteX2" fmla="*/ 14387 w 18333"/>
                  <a:gd name="connsiteY2" fmla="*/ 16785 h 18439"/>
                  <a:gd name="connsiteX3" fmla="*/ 1648 w 18333"/>
                  <a:gd name="connsiteY3" fmla="*/ 14453 h 18439"/>
                  <a:gd name="connsiteX4" fmla="*/ 3920 w 18333"/>
                  <a:gd name="connsiteY4" fmla="*/ 165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9">
                    <a:moveTo>
                      <a:pt x="3920" y="1654"/>
                    </a:moveTo>
                    <a:cubicBezTo>
                      <a:pt x="8047" y="-1276"/>
                      <a:pt x="13789" y="-200"/>
                      <a:pt x="16659" y="3987"/>
                    </a:cubicBezTo>
                    <a:cubicBezTo>
                      <a:pt x="19590" y="8173"/>
                      <a:pt x="18574" y="13915"/>
                      <a:pt x="14387" y="16785"/>
                    </a:cubicBezTo>
                    <a:cubicBezTo>
                      <a:pt x="10260" y="19716"/>
                      <a:pt x="4518" y="18639"/>
                      <a:pt x="1648" y="14453"/>
                    </a:cubicBezTo>
                    <a:cubicBezTo>
                      <a:pt x="-1223" y="10326"/>
                      <a:pt x="-266" y="4585"/>
                      <a:pt x="3920" y="1654"/>
                    </a:cubicBezTo>
                    <a:close/>
                  </a:path>
                </a:pathLst>
              </a:custGeom>
              <a:grpFill/>
              <a:ln w="5978" cap="flat">
                <a:noFill/>
                <a:prstDash val="solid"/>
                <a:miter/>
              </a:ln>
            </p:spPr>
            <p:txBody>
              <a:bodyPr rtlCol="0" anchor="ctr"/>
              <a:lstStyle/>
              <a:p>
                <a:endParaRPr lang="en-GB"/>
              </a:p>
            </p:txBody>
          </p:sp>
          <p:sp>
            <p:nvSpPr>
              <p:cNvPr id="4882" name="Vrije vorm: vorm 4881">
                <a:extLst>
                  <a:ext uri="{FF2B5EF4-FFF2-40B4-BE49-F238E27FC236}">
                    <a16:creationId xmlns:a16="http://schemas.microsoft.com/office/drawing/2014/main" id="{272658D1-F7C5-43B3-BE44-E0CF776E85D4}"/>
                  </a:ext>
                </a:extLst>
              </p:cNvPr>
              <p:cNvSpPr/>
              <p:nvPr/>
            </p:nvSpPr>
            <p:spPr>
              <a:xfrm>
                <a:off x="7466635" y="2412650"/>
                <a:ext cx="18274" cy="18387"/>
              </a:xfrm>
              <a:custGeom>
                <a:avLst/>
                <a:gdLst>
                  <a:gd name="connsiteX0" fmla="*/ 3904 w 18274"/>
                  <a:gd name="connsiteY0" fmla="*/ 1628 h 18387"/>
                  <a:gd name="connsiteX1" fmla="*/ 1631 w 18274"/>
                  <a:gd name="connsiteY1" fmla="*/ 14427 h 18387"/>
                  <a:gd name="connsiteX2" fmla="*/ 14370 w 18274"/>
                  <a:gd name="connsiteY2" fmla="*/ 16759 h 18387"/>
                  <a:gd name="connsiteX3" fmla="*/ 16643 w 18274"/>
                  <a:gd name="connsiteY3" fmla="*/ 3961 h 18387"/>
                  <a:gd name="connsiteX4" fmla="*/ 3904 w 18274"/>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3904" y="1628"/>
                    </a:moveTo>
                    <a:cubicBezTo>
                      <a:pt x="-223" y="4559"/>
                      <a:pt x="-1239" y="10300"/>
                      <a:pt x="1631" y="14427"/>
                    </a:cubicBezTo>
                    <a:cubicBezTo>
                      <a:pt x="4562" y="18613"/>
                      <a:pt x="10243" y="19630"/>
                      <a:pt x="14370" y="16759"/>
                    </a:cubicBezTo>
                    <a:cubicBezTo>
                      <a:pt x="18497" y="13829"/>
                      <a:pt x="19514" y="8087"/>
                      <a:pt x="16643" y="3961"/>
                    </a:cubicBezTo>
                    <a:cubicBezTo>
                      <a:pt x="13773" y="-226"/>
                      <a:pt x="8031" y="-1243"/>
                      <a:pt x="3904" y="1628"/>
                    </a:cubicBezTo>
                    <a:close/>
                  </a:path>
                </a:pathLst>
              </a:custGeom>
              <a:grpFill/>
              <a:ln w="5978" cap="flat">
                <a:noFill/>
                <a:prstDash val="solid"/>
                <a:miter/>
              </a:ln>
            </p:spPr>
            <p:txBody>
              <a:bodyPr rtlCol="0" anchor="ctr"/>
              <a:lstStyle/>
              <a:p>
                <a:endParaRPr lang="en-GB"/>
              </a:p>
            </p:txBody>
          </p:sp>
        </p:grpSp>
        <p:grpSp>
          <p:nvGrpSpPr>
            <p:cNvPr id="167" name="Graphic 3">
              <a:extLst>
                <a:ext uri="{FF2B5EF4-FFF2-40B4-BE49-F238E27FC236}">
                  <a16:creationId xmlns:a16="http://schemas.microsoft.com/office/drawing/2014/main" id="{2613ACF7-1B5F-4A33-AC8D-B304123A91FC}"/>
                </a:ext>
              </a:extLst>
            </p:cNvPr>
            <p:cNvGrpSpPr/>
            <p:nvPr/>
          </p:nvGrpSpPr>
          <p:grpSpPr>
            <a:xfrm>
              <a:off x="7501007" y="2375178"/>
              <a:ext cx="97887" cy="71980"/>
              <a:chOff x="7501007" y="2375178"/>
              <a:chExt cx="97887" cy="71980"/>
            </a:xfrm>
            <a:grpFill/>
          </p:grpSpPr>
          <p:sp>
            <p:nvSpPr>
              <p:cNvPr id="4877" name="Vrije vorm: vorm 4876">
                <a:extLst>
                  <a:ext uri="{FF2B5EF4-FFF2-40B4-BE49-F238E27FC236}">
                    <a16:creationId xmlns:a16="http://schemas.microsoft.com/office/drawing/2014/main" id="{A4E1BB20-ED38-4E8C-A734-198190462E2D}"/>
                  </a:ext>
                </a:extLst>
              </p:cNvPr>
              <p:cNvSpPr/>
              <p:nvPr/>
            </p:nvSpPr>
            <p:spPr>
              <a:xfrm>
                <a:off x="7508935" y="2382879"/>
                <a:ext cx="81996" cy="56577"/>
              </a:xfrm>
              <a:custGeom>
                <a:avLst/>
                <a:gdLst>
                  <a:gd name="connsiteX0" fmla="*/ 81996 w 81996"/>
                  <a:gd name="connsiteY0" fmla="*/ 2512 h 56577"/>
                  <a:gd name="connsiteX1" fmla="*/ 1735 w 81996"/>
                  <a:gd name="connsiteY1" fmla="*/ 56578 h 56577"/>
                  <a:gd name="connsiteX2" fmla="*/ 0 w 81996"/>
                  <a:gd name="connsiteY2" fmla="*/ 54006 h 56577"/>
                  <a:gd name="connsiteX3" fmla="*/ 80321 w 81996"/>
                  <a:gd name="connsiteY3" fmla="*/ 0 h 56577"/>
                </a:gdLst>
                <a:ahLst/>
                <a:cxnLst>
                  <a:cxn ang="0">
                    <a:pos x="connsiteX0" y="connsiteY0"/>
                  </a:cxn>
                  <a:cxn ang="0">
                    <a:pos x="connsiteX1" y="connsiteY1"/>
                  </a:cxn>
                  <a:cxn ang="0">
                    <a:pos x="connsiteX2" y="connsiteY2"/>
                  </a:cxn>
                  <a:cxn ang="0">
                    <a:pos x="connsiteX3" y="connsiteY3"/>
                  </a:cxn>
                </a:cxnLst>
                <a:rect l="l" t="t" r="r" b="b"/>
                <a:pathLst>
                  <a:path w="81996" h="56577">
                    <a:moveTo>
                      <a:pt x="81996" y="2512"/>
                    </a:moveTo>
                    <a:lnTo>
                      <a:pt x="1735" y="56578"/>
                    </a:lnTo>
                    <a:lnTo>
                      <a:pt x="0" y="54006"/>
                    </a:lnTo>
                    <a:lnTo>
                      <a:pt x="80321" y="0"/>
                    </a:lnTo>
                    <a:close/>
                  </a:path>
                </a:pathLst>
              </a:custGeom>
              <a:grpFill/>
              <a:ln w="5978" cap="flat">
                <a:noFill/>
                <a:prstDash val="solid"/>
                <a:miter/>
              </a:ln>
            </p:spPr>
            <p:txBody>
              <a:bodyPr rtlCol="0" anchor="ctr"/>
              <a:lstStyle/>
              <a:p>
                <a:endParaRPr lang="en-GB"/>
              </a:p>
            </p:txBody>
          </p:sp>
          <p:sp>
            <p:nvSpPr>
              <p:cNvPr id="4878" name="Vrije vorm: vorm 4877">
                <a:extLst>
                  <a:ext uri="{FF2B5EF4-FFF2-40B4-BE49-F238E27FC236}">
                    <a16:creationId xmlns:a16="http://schemas.microsoft.com/office/drawing/2014/main" id="{C44C548A-9FE2-492D-9795-2BECEB23034E}"/>
                  </a:ext>
                </a:extLst>
              </p:cNvPr>
              <p:cNvSpPr/>
              <p:nvPr/>
            </p:nvSpPr>
            <p:spPr>
              <a:xfrm>
                <a:off x="7580550" y="2375178"/>
                <a:ext cx="18343" cy="18453"/>
              </a:xfrm>
              <a:custGeom>
                <a:avLst/>
                <a:gdLst>
                  <a:gd name="connsiteX0" fmla="*/ 4041 w 18343"/>
                  <a:gd name="connsiteY0" fmla="*/ 1541 h 18453"/>
                  <a:gd name="connsiteX1" fmla="*/ 16780 w 18343"/>
                  <a:gd name="connsiteY1" fmla="*/ 4113 h 18453"/>
                  <a:gd name="connsiteX2" fmla="*/ 14328 w 18343"/>
                  <a:gd name="connsiteY2" fmla="*/ 16912 h 18453"/>
                  <a:gd name="connsiteX3" fmla="*/ 1590 w 18343"/>
                  <a:gd name="connsiteY3" fmla="*/ 14340 h 18453"/>
                  <a:gd name="connsiteX4" fmla="*/ 4041 w 18343"/>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3">
                    <a:moveTo>
                      <a:pt x="4041" y="1541"/>
                    </a:moveTo>
                    <a:cubicBezTo>
                      <a:pt x="8228" y="-1270"/>
                      <a:pt x="13910" y="-133"/>
                      <a:pt x="16780" y="4113"/>
                    </a:cubicBezTo>
                    <a:cubicBezTo>
                      <a:pt x="19591" y="8360"/>
                      <a:pt x="18515" y="14041"/>
                      <a:pt x="14328" y="16912"/>
                    </a:cubicBezTo>
                    <a:cubicBezTo>
                      <a:pt x="10142" y="19723"/>
                      <a:pt x="4461" y="18587"/>
                      <a:pt x="1590" y="14340"/>
                    </a:cubicBezTo>
                    <a:cubicBezTo>
                      <a:pt x="-1281" y="10094"/>
                      <a:pt x="-145" y="4352"/>
                      <a:pt x="4041" y="1541"/>
                    </a:cubicBezTo>
                    <a:close/>
                  </a:path>
                </a:pathLst>
              </a:custGeom>
              <a:grpFill/>
              <a:ln w="5978" cap="flat">
                <a:noFill/>
                <a:prstDash val="solid"/>
                <a:miter/>
              </a:ln>
            </p:spPr>
            <p:txBody>
              <a:bodyPr rtlCol="0" anchor="ctr"/>
              <a:lstStyle/>
              <a:p>
                <a:endParaRPr lang="en-GB"/>
              </a:p>
            </p:txBody>
          </p:sp>
          <p:sp>
            <p:nvSpPr>
              <p:cNvPr id="4879" name="Vrije vorm: vorm 4878">
                <a:extLst>
                  <a:ext uri="{FF2B5EF4-FFF2-40B4-BE49-F238E27FC236}">
                    <a16:creationId xmlns:a16="http://schemas.microsoft.com/office/drawing/2014/main" id="{A1E4786A-2357-411A-B09E-E0DC0D20098A}"/>
                  </a:ext>
                </a:extLst>
              </p:cNvPr>
              <p:cNvSpPr/>
              <p:nvPr/>
            </p:nvSpPr>
            <p:spPr>
              <a:xfrm>
                <a:off x="7501007" y="2428705"/>
                <a:ext cx="18384" cy="18453"/>
              </a:xfrm>
              <a:custGeom>
                <a:avLst/>
                <a:gdLst>
                  <a:gd name="connsiteX0" fmla="*/ 4042 w 18384"/>
                  <a:gd name="connsiteY0" fmla="*/ 1541 h 18453"/>
                  <a:gd name="connsiteX1" fmla="*/ 1590 w 18384"/>
                  <a:gd name="connsiteY1" fmla="*/ 14340 h 18453"/>
                  <a:gd name="connsiteX2" fmla="*/ 14329 w 18384"/>
                  <a:gd name="connsiteY2" fmla="*/ 16912 h 18453"/>
                  <a:gd name="connsiteX3" fmla="*/ 16841 w 18384"/>
                  <a:gd name="connsiteY3" fmla="*/ 4113 h 18453"/>
                  <a:gd name="connsiteX4" fmla="*/ 4042 w 1838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53">
                    <a:moveTo>
                      <a:pt x="4042" y="1541"/>
                    </a:moveTo>
                    <a:cubicBezTo>
                      <a:pt x="-145" y="4352"/>
                      <a:pt x="-1281" y="10094"/>
                      <a:pt x="1590" y="14340"/>
                    </a:cubicBezTo>
                    <a:cubicBezTo>
                      <a:pt x="4400" y="18586"/>
                      <a:pt x="10142" y="19723"/>
                      <a:pt x="14329" y="16912"/>
                    </a:cubicBezTo>
                    <a:cubicBezTo>
                      <a:pt x="18515" y="14101"/>
                      <a:pt x="19651" y="8359"/>
                      <a:pt x="16841" y="4113"/>
                    </a:cubicBezTo>
                    <a:cubicBezTo>
                      <a:pt x="13909" y="-133"/>
                      <a:pt x="8228" y="-1270"/>
                      <a:pt x="4042" y="1541"/>
                    </a:cubicBezTo>
                    <a:close/>
                  </a:path>
                </a:pathLst>
              </a:custGeom>
              <a:grpFill/>
              <a:ln w="5978" cap="flat">
                <a:noFill/>
                <a:prstDash val="solid"/>
                <a:miter/>
              </a:ln>
            </p:spPr>
            <p:txBody>
              <a:bodyPr rtlCol="0" anchor="ctr"/>
              <a:lstStyle/>
              <a:p>
                <a:endParaRPr lang="en-GB"/>
              </a:p>
            </p:txBody>
          </p:sp>
        </p:grpSp>
        <p:grpSp>
          <p:nvGrpSpPr>
            <p:cNvPr id="168" name="Graphic 3">
              <a:extLst>
                <a:ext uri="{FF2B5EF4-FFF2-40B4-BE49-F238E27FC236}">
                  <a16:creationId xmlns:a16="http://schemas.microsoft.com/office/drawing/2014/main" id="{06ADB871-81B2-49C9-9270-0FE555AB33A4}"/>
                </a:ext>
              </a:extLst>
            </p:cNvPr>
            <p:cNvGrpSpPr/>
            <p:nvPr/>
          </p:nvGrpSpPr>
          <p:grpSpPr>
            <a:xfrm>
              <a:off x="7719673" y="3296881"/>
              <a:ext cx="257038" cy="35938"/>
              <a:chOff x="7719673" y="3296881"/>
              <a:chExt cx="257038" cy="35938"/>
            </a:xfrm>
            <a:grpFill/>
          </p:grpSpPr>
          <p:sp>
            <p:nvSpPr>
              <p:cNvPr id="4874" name="Vrije vorm: vorm 4873">
                <a:extLst>
                  <a:ext uri="{FF2B5EF4-FFF2-40B4-BE49-F238E27FC236}">
                    <a16:creationId xmlns:a16="http://schemas.microsoft.com/office/drawing/2014/main" id="{261890B4-88C0-46D0-872F-75C8D729130C}"/>
                  </a:ext>
                </a:extLst>
              </p:cNvPr>
              <p:cNvSpPr/>
              <p:nvPr/>
            </p:nvSpPr>
            <p:spPr>
              <a:xfrm>
                <a:off x="7728249" y="3304508"/>
                <a:ext cx="239886" cy="20693"/>
              </a:xfrm>
              <a:custGeom>
                <a:avLst/>
                <a:gdLst>
                  <a:gd name="connsiteX0" fmla="*/ 239887 w 239886"/>
                  <a:gd name="connsiteY0" fmla="*/ 17643 h 20693"/>
                  <a:gd name="connsiteX1" fmla="*/ 239707 w 239886"/>
                  <a:gd name="connsiteY1" fmla="*/ 20693 h 20693"/>
                  <a:gd name="connsiteX2" fmla="*/ 0 w 239886"/>
                  <a:gd name="connsiteY2" fmla="*/ 3050 h 20693"/>
                  <a:gd name="connsiteX3" fmla="*/ 239 w 239886"/>
                  <a:gd name="connsiteY3" fmla="*/ 0 h 20693"/>
                </a:gdLst>
                <a:ahLst/>
                <a:cxnLst>
                  <a:cxn ang="0">
                    <a:pos x="connsiteX0" y="connsiteY0"/>
                  </a:cxn>
                  <a:cxn ang="0">
                    <a:pos x="connsiteX1" y="connsiteY1"/>
                  </a:cxn>
                  <a:cxn ang="0">
                    <a:pos x="connsiteX2" y="connsiteY2"/>
                  </a:cxn>
                  <a:cxn ang="0">
                    <a:pos x="connsiteX3" y="connsiteY3"/>
                  </a:cxn>
                </a:cxnLst>
                <a:rect l="l" t="t" r="r" b="b"/>
                <a:pathLst>
                  <a:path w="239886" h="20693">
                    <a:moveTo>
                      <a:pt x="239887" y="17643"/>
                    </a:moveTo>
                    <a:lnTo>
                      <a:pt x="239707" y="20693"/>
                    </a:lnTo>
                    <a:lnTo>
                      <a:pt x="0" y="3050"/>
                    </a:lnTo>
                    <a:lnTo>
                      <a:pt x="239" y="0"/>
                    </a:lnTo>
                    <a:close/>
                  </a:path>
                </a:pathLst>
              </a:custGeom>
              <a:grpFill/>
              <a:ln w="5978" cap="flat">
                <a:noFill/>
                <a:prstDash val="solid"/>
                <a:miter/>
              </a:ln>
            </p:spPr>
            <p:txBody>
              <a:bodyPr rtlCol="0" anchor="ctr"/>
              <a:lstStyle/>
              <a:p>
                <a:endParaRPr lang="en-GB"/>
              </a:p>
            </p:txBody>
          </p:sp>
          <p:sp>
            <p:nvSpPr>
              <p:cNvPr id="4875" name="Vrije vorm: vorm 4874">
                <a:extLst>
                  <a:ext uri="{FF2B5EF4-FFF2-40B4-BE49-F238E27FC236}">
                    <a16:creationId xmlns:a16="http://schemas.microsoft.com/office/drawing/2014/main" id="{A15C6969-9F75-4429-8975-F5A773029EDB}"/>
                  </a:ext>
                </a:extLst>
              </p:cNvPr>
              <p:cNvSpPr/>
              <p:nvPr/>
            </p:nvSpPr>
            <p:spPr>
              <a:xfrm>
                <a:off x="7719673" y="3296881"/>
                <a:ext cx="18287" cy="18415"/>
              </a:xfrm>
              <a:custGeom>
                <a:avLst/>
                <a:gdLst>
                  <a:gd name="connsiteX0" fmla="*/ 8516 w 18287"/>
                  <a:gd name="connsiteY0" fmla="*/ 18392 h 18415"/>
                  <a:gd name="connsiteX1" fmla="*/ 23 w 18287"/>
                  <a:gd name="connsiteY1" fmla="*/ 8524 h 18415"/>
                  <a:gd name="connsiteX2" fmla="*/ 9771 w 18287"/>
                  <a:gd name="connsiteY2" fmla="*/ 31 h 18415"/>
                  <a:gd name="connsiteX3" fmla="*/ 18264 w 18287"/>
                  <a:gd name="connsiteY3" fmla="*/ 9900 h 18415"/>
                  <a:gd name="connsiteX4" fmla="*/ 8516 w 18287"/>
                  <a:gd name="connsiteY4" fmla="*/ 18392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5">
                    <a:moveTo>
                      <a:pt x="8516" y="18392"/>
                    </a:moveTo>
                    <a:cubicBezTo>
                      <a:pt x="3492" y="18033"/>
                      <a:pt x="-336" y="13608"/>
                      <a:pt x="23" y="8524"/>
                    </a:cubicBezTo>
                    <a:cubicBezTo>
                      <a:pt x="382" y="3440"/>
                      <a:pt x="4748" y="-387"/>
                      <a:pt x="9771" y="31"/>
                    </a:cubicBezTo>
                    <a:cubicBezTo>
                      <a:pt x="14796" y="390"/>
                      <a:pt x="18623" y="4816"/>
                      <a:pt x="18264" y="9900"/>
                    </a:cubicBezTo>
                    <a:cubicBezTo>
                      <a:pt x="17906" y="14923"/>
                      <a:pt x="13539" y="18751"/>
                      <a:pt x="8516" y="18392"/>
                    </a:cubicBezTo>
                    <a:close/>
                  </a:path>
                </a:pathLst>
              </a:custGeom>
              <a:grpFill/>
              <a:ln w="5978" cap="flat">
                <a:noFill/>
                <a:prstDash val="solid"/>
                <a:miter/>
              </a:ln>
            </p:spPr>
            <p:txBody>
              <a:bodyPr rtlCol="0" anchor="ctr"/>
              <a:lstStyle/>
              <a:p>
                <a:endParaRPr lang="en-GB"/>
              </a:p>
            </p:txBody>
          </p:sp>
          <p:sp>
            <p:nvSpPr>
              <p:cNvPr id="4876" name="Vrije vorm: vorm 4875">
                <a:extLst>
                  <a:ext uri="{FF2B5EF4-FFF2-40B4-BE49-F238E27FC236}">
                    <a16:creationId xmlns:a16="http://schemas.microsoft.com/office/drawing/2014/main" id="{6A7EC66F-E343-4385-85A4-7FA498609D87}"/>
                  </a:ext>
                </a:extLst>
              </p:cNvPr>
              <p:cNvSpPr/>
              <p:nvPr/>
            </p:nvSpPr>
            <p:spPr>
              <a:xfrm>
                <a:off x="7958423" y="3314413"/>
                <a:ext cx="18288" cy="18407"/>
              </a:xfrm>
              <a:custGeom>
                <a:avLst/>
                <a:gdLst>
                  <a:gd name="connsiteX0" fmla="*/ 8516 w 18288"/>
                  <a:gd name="connsiteY0" fmla="*/ 18384 h 18407"/>
                  <a:gd name="connsiteX1" fmla="*/ 18265 w 18288"/>
                  <a:gd name="connsiteY1" fmla="*/ 9891 h 18407"/>
                  <a:gd name="connsiteX2" fmla="*/ 9772 w 18288"/>
                  <a:gd name="connsiteY2" fmla="*/ 23 h 18407"/>
                  <a:gd name="connsiteX3" fmla="*/ 23 w 18288"/>
                  <a:gd name="connsiteY3" fmla="*/ 8516 h 18407"/>
                  <a:gd name="connsiteX4" fmla="*/ 8516 w 18288"/>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07">
                    <a:moveTo>
                      <a:pt x="8516" y="18384"/>
                    </a:moveTo>
                    <a:cubicBezTo>
                      <a:pt x="13540" y="18743"/>
                      <a:pt x="17965" y="14915"/>
                      <a:pt x="18265" y="9891"/>
                    </a:cubicBezTo>
                    <a:cubicBezTo>
                      <a:pt x="18623" y="4808"/>
                      <a:pt x="14795" y="382"/>
                      <a:pt x="9772" y="23"/>
                    </a:cubicBezTo>
                    <a:cubicBezTo>
                      <a:pt x="4748" y="-336"/>
                      <a:pt x="323" y="3492"/>
                      <a:pt x="23" y="8516"/>
                    </a:cubicBezTo>
                    <a:cubicBezTo>
                      <a:pt x="-335" y="13599"/>
                      <a:pt x="3493" y="18025"/>
                      <a:pt x="8516" y="18384"/>
                    </a:cubicBezTo>
                    <a:close/>
                  </a:path>
                </a:pathLst>
              </a:custGeom>
              <a:grpFill/>
              <a:ln w="5978" cap="flat">
                <a:noFill/>
                <a:prstDash val="solid"/>
                <a:miter/>
              </a:ln>
            </p:spPr>
            <p:txBody>
              <a:bodyPr rtlCol="0" anchor="ctr"/>
              <a:lstStyle/>
              <a:p>
                <a:endParaRPr lang="en-GB"/>
              </a:p>
            </p:txBody>
          </p:sp>
        </p:grpSp>
        <p:grpSp>
          <p:nvGrpSpPr>
            <p:cNvPr id="169" name="Graphic 3">
              <a:extLst>
                <a:ext uri="{FF2B5EF4-FFF2-40B4-BE49-F238E27FC236}">
                  <a16:creationId xmlns:a16="http://schemas.microsoft.com/office/drawing/2014/main" id="{72E52534-D8B0-4A2E-BFFE-DD6585E340DA}"/>
                </a:ext>
              </a:extLst>
            </p:cNvPr>
            <p:cNvGrpSpPr/>
            <p:nvPr/>
          </p:nvGrpSpPr>
          <p:grpSpPr>
            <a:xfrm>
              <a:off x="7711018" y="3234528"/>
              <a:ext cx="248689" cy="27702"/>
              <a:chOff x="7711018" y="3234528"/>
              <a:chExt cx="248689" cy="27702"/>
            </a:xfrm>
            <a:grpFill/>
          </p:grpSpPr>
          <p:sp>
            <p:nvSpPr>
              <p:cNvPr id="4871" name="Vrije vorm: vorm 4870">
                <a:extLst>
                  <a:ext uri="{FF2B5EF4-FFF2-40B4-BE49-F238E27FC236}">
                    <a16:creationId xmlns:a16="http://schemas.microsoft.com/office/drawing/2014/main" id="{86686E07-9E64-4680-AA40-5599A22095CE}"/>
                  </a:ext>
                </a:extLst>
              </p:cNvPr>
              <p:cNvSpPr/>
              <p:nvPr/>
            </p:nvSpPr>
            <p:spPr>
              <a:xfrm>
                <a:off x="7719697" y="3242189"/>
                <a:ext cx="231333" cy="12380"/>
              </a:xfrm>
              <a:custGeom>
                <a:avLst/>
                <a:gdLst>
                  <a:gd name="connsiteX0" fmla="*/ 231334 w 231333"/>
                  <a:gd name="connsiteY0" fmla="*/ 9270 h 12380"/>
                  <a:gd name="connsiteX1" fmla="*/ 231214 w 231333"/>
                  <a:gd name="connsiteY1" fmla="*/ 12380 h 12380"/>
                  <a:gd name="connsiteX2" fmla="*/ 0 w 231333"/>
                  <a:gd name="connsiteY2" fmla="*/ 3110 h 12380"/>
                  <a:gd name="connsiteX3" fmla="*/ 119 w 231333"/>
                  <a:gd name="connsiteY3" fmla="*/ 0 h 12380"/>
                </a:gdLst>
                <a:ahLst/>
                <a:cxnLst>
                  <a:cxn ang="0">
                    <a:pos x="connsiteX0" y="connsiteY0"/>
                  </a:cxn>
                  <a:cxn ang="0">
                    <a:pos x="connsiteX1" y="connsiteY1"/>
                  </a:cxn>
                  <a:cxn ang="0">
                    <a:pos x="connsiteX2" y="connsiteY2"/>
                  </a:cxn>
                  <a:cxn ang="0">
                    <a:pos x="connsiteX3" y="connsiteY3"/>
                  </a:cxn>
                </a:cxnLst>
                <a:rect l="l" t="t" r="r" b="b"/>
                <a:pathLst>
                  <a:path w="231333" h="12380">
                    <a:moveTo>
                      <a:pt x="231334" y="9270"/>
                    </a:moveTo>
                    <a:lnTo>
                      <a:pt x="231214" y="12380"/>
                    </a:lnTo>
                    <a:lnTo>
                      <a:pt x="0" y="3110"/>
                    </a:lnTo>
                    <a:lnTo>
                      <a:pt x="119" y="0"/>
                    </a:lnTo>
                    <a:close/>
                  </a:path>
                </a:pathLst>
              </a:custGeom>
              <a:grpFill/>
              <a:ln w="5978" cap="flat">
                <a:noFill/>
                <a:prstDash val="solid"/>
                <a:miter/>
              </a:ln>
            </p:spPr>
            <p:txBody>
              <a:bodyPr rtlCol="0" anchor="ctr"/>
              <a:lstStyle/>
              <a:p>
                <a:endParaRPr lang="en-GB"/>
              </a:p>
            </p:txBody>
          </p:sp>
          <p:sp>
            <p:nvSpPr>
              <p:cNvPr id="4872" name="Vrije vorm: vorm 4871">
                <a:extLst>
                  <a:ext uri="{FF2B5EF4-FFF2-40B4-BE49-F238E27FC236}">
                    <a16:creationId xmlns:a16="http://schemas.microsoft.com/office/drawing/2014/main" id="{9BA83C3F-D351-40EB-A79D-A67A2268796A}"/>
                  </a:ext>
                </a:extLst>
              </p:cNvPr>
              <p:cNvSpPr/>
              <p:nvPr/>
            </p:nvSpPr>
            <p:spPr>
              <a:xfrm>
                <a:off x="7711018" y="3234528"/>
                <a:ext cx="18372" cy="18436"/>
              </a:xfrm>
              <a:custGeom>
                <a:avLst/>
                <a:gdLst>
                  <a:gd name="connsiteX0" fmla="*/ 8857 w 18372"/>
                  <a:gd name="connsiteY0" fmla="*/ 18427 h 18436"/>
                  <a:gd name="connsiteX1" fmla="*/ 6 w 18372"/>
                  <a:gd name="connsiteY1" fmla="*/ 8857 h 18436"/>
                  <a:gd name="connsiteX2" fmla="*/ 9515 w 18372"/>
                  <a:gd name="connsiteY2" fmla="*/ 6 h 18436"/>
                  <a:gd name="connsiteX3" fmla="*/ 18367 w 18372"/>
                  <a:gd name="connsiteY3" fmla="*/ 9575 h 18436"/>
                  <a:gd name="connsiteX4" fmla="*/ 8857 w 18372"/>
                  <a:gd name="connsiteY4" fmla="*/ 18427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6">
                    <a:moveTo>
                      <a:pt x="8857" y="18427"/>
                    </a:moveTo>
                    <a:cubicBezTo>
                      <a:pt x="3774" y="18247"/>
                      <a:pt x="-174" y="13941"/>
                      <a:pt x="6" y="8857"/>
                    </a:cubicBezTo>
                    <a:cubicBezTo>
                      <a:pt x="185" y="3774"/>
                      <a:pt x="4432" y="-174"/>
                      <a:pt x="9515" y="6"/>
                    </a:cubicBezTo>
                    <a:cubicBezTo>
                      <a:pt x="14599" y="185"/>
                      <a:pt x="18546" y="4491"/>
                      <a:pt x="18367" y="9575"/>
                    </a:cubicBezTo>
                    <a:cubicBezTo>
                      <a:pt x="18188" y="14659"/>
                      <a:pt x="13941" y="18666"/>
                      <a:pt x="8857" y="18427"/>
                    </a:cubicBezTo>
                    <a:close/>
                  </a:path>
                </a:pathLst>
              </a:custGeom>
              <a:grpFill/>
              <a:ln w="5978" cap="flat">
                <a:noFill/>
                <a:prstDash val="solid"/>
                <a:miter/>
              </a:ln>
            </p:spPr>
            <p:txBody>
              <a:bodyPr rtlCol="0" anchor="ctr"/>
              <a:lstStyle/>
              <a:p>
                <a:endParaRPr lang="en-GB"/>
              </a:p>
            </p:txBody>
          </p:sp>
          <p:sp>
            <p:nvSpPr>
              <p:cNvPr id="4873" name="Vrije vorm: vorm 4872">
                <a:extLst>
                  <a:ext uri="{FF2B5EF4-FFF2-40B4-BE49-F238E27FC236}">
                    <a16:creationId xmlns:a16="http://schemas.microsoft.com/office/drawing/2014/main" id="{7D43E7E8-FBFA-43EB-A2A5-A61F313BB44A}"/>
                  </a:ext>
                </a:extLst>
              </p:cNvPr>
              <p:cNvSpPr/>
              <p:nvPr/>
            </p:nvSpPr>
            <p:spPr>
              <a:xfrm>
                <a:off x="7941336" y="3243798"/>
                <a:ext cx="18372" cy="18432"/>
              </a:xfrm>
              <a:custGeom>
                <a:avLst/>
                <a:gdLst>
                  <a:gd name="connsiteX0" fmla="*/ 8857 w 18372"/>
                  <a:gd name="connsiteY0" fmla="*/ 18426 h 18432"/>
                  <a:gd name="connsiteX1" fmla="*/ 18366 w 18372"/>
                  <a:gd name="connsiteY1" fmla="*/ 9575 h 18432"/>
                  <a:gd name="connsiteX2" fmla="*/ 9515 w 18372"/>
                  <a:gd name="connsiteY2" fmla="*/ 6 h 18432"/>
                  <a:gd name="connsiteX3" fmla="*/ 6 w 18372"/>
                  <a:gd name="connsiteY3" fmla="*/ 8857 h 18432"/>
                  <a:gd name="connsiteX4" fmla="*/ 8857 w 18372"/>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8857" y="18426"/>
                    </a:moveTo>
                    <a:cubicBezTo>
                      <a:pt x="13941" y="18606"/>
                      <a:pt x="18187" y="14659"/>
                      <a:pt x="18366" y="9575"/>
                    </a:cubicBezTo>
                    <a:cubicBezTo>
                      <a:pt x="18546" y="4491"/>
                      <a:pt x="14599" y="185"/>
                      <a:pt x="9515" y="6"/>
                    </a:cubicBezTo>
                    <a:cubicBezTo>
                      <a:pt x="4431" y="-174"/>
                      <a:pt x="185" y="3774"/>
                      <a:pt x="6" y="8857"/>
                    </a:cubicBezTo>
                    <a:cubicBezTo>
                      <a:pt x="-174" y="13941"/>
                      <a:pt x="3834" y="18187"/>
                      <a:pt x="8857" y="18426"/>
                    </a:cubicBezTo>
                    <a:close/>
                  </a:path>
                </a:pathLst>
              </a:custGeom>
              <a:grpFill/>
              <a:ln w="5978" cap="flat">
                <a:noFill/>
                <a:prstDash val="solid"/>
                <a:miter/>
              </a:ln>
            </p:spPr>
            <p:txBody>
              <a:bodyPr rtlCol="0" anchor="ctr"/>
              <a:lstStyle/>
              <a:p>
                <a:endParaRPr lang="en-GB"/>
              </a:p>
            </p:txBody>
          </p:sp>
        </p:grpSp>
        <p:grpSp>
          <p:nvGrpSpPr>
            <p:cNvPr id="170" name="Graphic 3">
              <a:extLst>
                <a:ext uri="{FF2B5EF4-FFF2-40B4-BE49-F238E27FC236}">
                  <a16:creationId xmlns:a16="http://schemas.microsoft.com/office/drawing/2014/main" id="{95C5834F-C06B-4765-9AF3-49B0226072C3}"/>
                </a:ext>
              </a:extLst>
            </p:cNvPr>
            <p:cNvGrpSpPr/>
            <p:nvPr/>
          </p:nvGrpSpPr>
          <p:grpSpPr>
            <a:xfrm>
              <a:off x="7209417" y="1410633"/>
              <a:ext cx="23526" cy="27252"/>
              <a:chOff x="7209417" y="1410633"/>
              <a:chExt cx="23526" cy="27252"/>
            </a:xfrm>
            <a:grpFill/>
          </p:grpSpPr>
          <p:sp>
            <p:nvSpPr>
              <p:cNvPr id="4869" name="Vrije vorm: vorm 4868">
                <a:extLst>
                  <a:ext uri="{FF2B5EF4-FFF2-40B4-BE49-F238E27FC236}">
                    <a16:creationId xmlns:a16="http://schemas.microsoft.com/office/drawing/2014/main" id="{62E561A3-C9BE-4376-A598-D3A444DEDB07}"/>
                  </a:ext>
                </a:extLst>
              </p:cNvPr>
              <p:cNvSpPr/>
              <p:nvPr/>
            </p:nvSpPr>
            <p:spPr>
              <a:xfrm>
                <a:off x="7214587" y="1410633"/>
                <a:ext cx="18356" cy="18400"/>
              </a:xfrm>
              <a:custGeom>
                <a:avLst/>
                <a:gdLst>
                  <a:gd name="connsiteX0" fmla="*/ 17082 w 18356"/>
                  <a:gd name="connsiteY0" fmla="*/ 13895 h 18400"/>
                  <a:gd name="connsiteX1" fmla="*/ 4523 w 18356"/>
                  <a:gd name="connsiteY1" fmla="*/ 17125 h 18400"/>
                  <a:gd name="connsiteX2" fmla="*/ 1234 w 18356"/>
                  <a:gd name="connsiteY2" fmla="*/ 4506 h 18400"/>
                  <a:gd name="connsiteX3" fmla="*/ 13793 w 18356"/>
                  <a:gd name="connsiteY3" fmla="*/ 1276 h 18400"/>
                  <a:gd name="connsiteX4" fmla="*/ 17082 w 18356"/>
                  <a:gd name="connsiteY4" fmla="*/ 1389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0">
                    <a:moveTo>
                      <a:pt x="17082" y="13895"/>
                    </a:moveTo>
                    <a:cubicBezTo>
                      <a:pt x="14511" y="18261"/>
                      <a:pt x="8889" y="19697"/>
                      <a:pt x="4523" y="17125"/>
                    </a:cubicBezTo>
                    <a:cubicBezTo>
                      <a:pt x="157" y="14553"/>
                      <a:pt x="-1278" y="8871"/>
                      <a:pt x="1234" y="4506"/>
                    </a:cubicBezTo>
                    <a:cubicBezTo>
                      <a:pt x="3805" y="140"/>
                      <a:pt x="9428" y="-1296"/>
                      <a:pt x="13793" y="1276"/>
                    </a:cubicBezTo>
                    <a:cubicBezTo>
                      <a:pt x="18219" y="3848"/>
                      <a:pt x="19654" y="9529"/>
                      <a:pt x="17082" y="13895"/>
                    </a:cubicBezTo>
                    <a:close/>
                  </a:path>
                </a:pathLst>
              </a:custGeom>
              <a:grpFill/>
              <a:ln w="5978" cap="flat">
                <a:noFill/>
                <a:prstDash val="solid"/>
                <a:miter/>
              </a:ln>
            </p:spPr>
            <p:txBody>
              <a:bodyPr rtlCol="0" anchor="ctr"/>
              <a:lstStyle/>
              <a:p>
                <a:endParaRPr lang="en-GB"/>
              </a:p>
            </p:txBody>
          </p:sp>
          <p:sp>
            <p:nvSpPr>
              <p:cNvPr id="4870" name="Vrije vorm: vorm 4869">
                <a:extLst>
                  <a:ext uri="{FF2B5EF4-FFF2-40B4-BE49-F238E27FC236}">
                    <a16:creationId xmlns:a16="http://schemas.microsoft.com/office/drawing/2014/main" id="{25407439-4E1C-4D21-BB1C-99DD6B0E0DE6}"/>
                  </a:ext>
                </a:extLst>
              </p:cNvPr>
              <p:cNvSpPr/>
              <p:nvPr/>
            </p:nvSpPr>
            <p:spPr>
              <a:xfrm>
                <a:off x="7209417" y="1419485"/>
                <a:ext cx="18369" cy="18400"/>
              </a:xfrm>
              <a:custGeom>
                <a:avLst/>
                <a:gdLst>
                  <a:gd name="connsiteX0" fmla="*/ 17109 w 18369"/>
                  <a:gd name="connsiteY0" fmla="*/ 13895 h 18400"/>
                  <a:gd name="connsiteX1" fmla="*/ 13820 w 18369"/>
                  <a:gd name="connsiteY1" fmla="*/ 1276 h 18400"/>
                  <a:gd name="connsiteX2" fmla="*/ 1260 w 18369"/>
                  <a:gd name="connsiteY2" fmla="*/ 4506 h 18400"/>
                  <a:gd name="connsiteX3" fmla="*/ 4550 w 18369"/>
                  <a:gd name="connsiteY3" fmla="*/ 17125 h 18400"/>
                  <a:gd name="connsiteX4" fmla="*/ 17109 w 18369"/>
                  <a:gd name="connsiteY4" fmla="*/ 1389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7109" y="13895"/>
                    </a:moveTo>
                    <a:cubicBezTo>
                      <a:pt x="19681" y="9529"/>
                      <a:pt x="18186" y="3848"/>
                      <a:pt x="13820" y="1276"/>
                    </a:cubicBezTo>
                    <a:cubicBezTo>
                      <a:pt x="9454" y="-1296"/>
                      <a:pt x="3832" y="140"/>
                      <a:pt x="1260" y="4506"/>
                    </a:cubicBezTo>
                    <a:cubicBezTo>
                      <a:pt x="-1311" y="8871"/>
                      <a:pt x="184" y="14553"/>
                      <a:pt x="4550" y="17125"/>
                    </a:cubicBezTo>
                    <a:cubicBezTo>
                      <a:pt x="8916" y="19697"/>
                      <a:pt x="14538" y="18261"/>
                      <a:pt x="17109" y="13895"/>
                    </a:cubicBezTo>
                    <a:close/>
                  </a:path>
                </a:pathLst>
              </a:custGeom>
              <a:grpFill/>
              <a:ln w="5978" cap="flat">
                <a:noFill/>
                <a:prstDash val="solid"/>
                <a:miter/>
              </a:ln>
            </p:spPr>
            <p:txBody>
              <a:bodyPr rtlCol="0" anchor="ctr"/>
              <a:lstStyle/>
              <a:p>
                <a:endParaRPr lang="en-GB"/>
              </a:p>
            </p:txBody>
          </p:sp>
        </p:grpSp>
        <p:grpSp>
          <p:nvGrpSpPr>
            <p:cNvPr id="171" name="Graphic 3">
              <a:extLst>
                <a:ext uri="{FF2B5EF4-FFF2-40B4-BE49-F238E27FC236}">
                  <a16:creationId xmlns:a16="http://schemas.microsoft.com/office/drawing/2014/main" id="{0F3D648F-07B3-4D33-8C4F-94BCF9ADB9D1}"/>
                </a:ext>
              </a:extLst>
            </p:cNvPr>
            <p:cNvGrpSpPr/>
            <p:nvPr/>
          </p:nvGrpSpPr>
          <p:grpSpPr>
            <a:xfrm>
              <a:off x="7550009" y="2603685"/>
              <a:ext cx="133219" cy="75480"/>
              <a:chOff x="7550009" y="2603685"/>
              <a:chExt cx="133219" cy="75480"/>
            </a:xfrm>
            <a:grpFill/>
          </p:grpSpPr>
          <p:sp>
            <p:nvSpPr>
              <p:cNvPr id="4866" name="Vrije vorm: vorm 4865">
                <a:extLst>
                  <a:ext uri="{FF2B5EF4-FFF2-40B4-BE49-F238E27FC236}">
                    <a16:creationId xmlns:a16="http://schemas.microsoft.com/office/drawing/2014/main" id="{30447F07-BB5B-4136-9A65-4F9A5A02B399}"/>
                  </a:ext>
                </a:extLst>
              </p:cNvPr>
              <p:cNvSpPr/>
              <p:nvPr/>
            </p:nvSpPr>
            <p:spPr>
              <a:xfrm>
                <a:off x="7558219" y="2611205"/>
                <a:ext cx="117053" cy="60205"/>
              </a:xfrm>
              <a:custGeom>
                <a:avLst/>
                <a:gdLst>
                  <a:gd name="connsiteX0" fmla="*/ 0 w 117053"/>
                  <a:gd name="connsiteY0" fmla="*/ 57474 h 60205"/>
                  <a:gd name="connsiteX1" fmla="*/ 115697 w 117053"/>
                  <a:gd name="connsiteY1" fmla="*/ 0 h 60205"/>
                  <a:gd name="connsiteX2" fmla="*/ 117054 w 117053"/>
                  <a:gd name="connsiteY2" fmla="*/ 2732 h 60205"/>
                  <a:gd name="connsiteX3" fmla="*/ 1357 w 117053"/>
                  <a:gd name="connsiteY3" fmla="*/ 60205 h 60205"/>
                </a:gdLst>
                <a:ahLst/>
                <a:cxnLst>
                  <a:cxn ang="0">
                    <a:pos x="connsiteX0" y="connsiteY0"/>
                  </a:cxn>
                  <a:cxn ang="0">
                    <a:pos x="connsiteX1" y="connsiteY1"/>
                  </a:cxn>
                  <a:cxn ang="0">
                    <a:pos x="connsiteX2" y="connsiteY2"/>
                  </a:cxn>
                  <a:cxn ang="0">
                    <a:pos x="connsiteX3" y="connsiteY3"/>
                  </a:cxn>
                </a:cxnLst>
                <a:rect l="l" t="t" r="r" b="b"/>
                <a:pathLst>
                  <a:path w="117053" h="60205">
                    <a:moveTo>
                      <a:pt x="0" y="57474"/>
                    </a:moveTo>
                    <a:lnTo>
                      <a:pt x="115697" y="0"/>
                    </a:lnTo>
                    <a:lnTo>
                      <a:pt x="117054" y="2732"/>
                    </a:lnTo>
                    <a:lnTo>
                      <a:pt x="1357" y="60205"/>
                    </a:lnTo>
                    <a:close/>
                  </a:path>
                </a:pathLst>
              </a:custGeom>
              <a:grpFill/>
              <a:ln w="5978" cap="flat">
                <a:noFill/>
                <a:prstDash val="solid"/>
                <a:miter/>
              </a:ln>
            </p:spPr>
            <p:txBody>
              <a:bodyPr rtlCol="0" anchor="ctr"/>
              <a:lstStyle/>
              <a:p>
                <a:endParaRPr lang="en-GB"/>
              </a:p>
            </p:txBody>
          </p:sp>
          <p:sp>
            <p:nvSpPr>
              <p:cNvPr id="4867" name="Vrije vorm: vorm 4866">
                <a:extLst>
                  <a:ext uri="{FF2B5EF4-FFF2-40B4-BE49-F238E27FC236}">
                    <a16:creationId xmlns:a16="http://schemas.microsoft.com/office/drawing/2014/main" id="{C0E3CD50-A2D9-4325-9632-95E038BD5773}"/>
                  </a:ext>
                </a:extLst>
              </p:cNvPr>
              <p:cNvSpPr/>
              <p:nvPr/>
            </p:nvSpPr>
            <p:spPr>
              <a:xfrm>
                <a:off x="7664899" y="2603685"/>
                <a:ext cx="18329" cy="18424"/>
              </a:xfrm>
              <a:custGeom>
                <a:avLst/>
                <a:gdLst>
                  <a:gd name="connsiteX0" fmla="*/ 5098 w 18329"/>
                  <a:gd name="connsiteY0" fmla="*/ 959 h 18424"/>
                  <a:gd name="connsiteX1" fmla="*/ 17358 w 18329"/>
                  <a:gd name="connsiteY1" fmla="*/ 5146 h 18424"/>
                  <a:gd name="connsiteX2" fmla="*/ 13231 w 18329"/>
                  <a:gd name="connsiteY2" fmla="*/ 17466 h 18424"/>
                  <a:gd name="connsiteX3" fmla="*/ 971 w 18329"/>
                  <a:gd name="connsiteY3" fmla="*/ 13279 h 18424"/>
                  <a:gd name="connsiteX4" fmla="*/ 5098 w 18329"/>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4">
                    <a:moveTo>
                      <a:pt x="5098" y="959"/>
                    </a:moveTo>
                    <a:cubicBezTo>
                      <a:pt x="9643" y="-1314"/>
                      <a:pt x="15145" y="600"/>
                      <a:pt x="17358" y="5146"/>
                    </a:cubicBezTo>
                    <a:cubicBezTo>
                      <a:pt x="19631" y="9691"/>
                      <a:pt x="17777" y="15253"/>
                      <a:pt x="13231" y="17466"/>
                    </a:cubicBezTo>
                    <a:cubicBezTo>
                      <a:pt x="8686" y="19739"/>
                      <a:pt x="3184" y="17825"/>
                      <a:pt x="971" y="13279"/>
                    </a:cubicBezTo>
                    <a:cubicBezTo>
                      <a:pt x="-1302" y="8734"/>
                      <a:pt x="552" y="3172"/>
                      <a:pt x="5098" y="959"/>
                    </a:cubicBezTo>
                    <a:close/>
                  </a:path>
                </a:pathLst>
              </a:custGeom>
              <a:grpFill/>
              <a:ln w="5978" cap="flat">
                <a:noFill/>
                <a:prstDash val="solid"/>
                <a:miter/>
              </a:ln>
            </p:spPr>
            <p:txBody>
              <a:bodyPr rtlCol="0" anchor="ctr"/>
              <a:lstStyle/>
              <a:p>
                <a:endParaRPr lang="en-GB"/>
              </a:p>
            </p:txBody>
          </p:sp>
          <p:sp>
            <p:nvSpPr>
              <p:cNvPr id="4868" name="Vrije vorm: vorm 4867">
                <a:extLst>
                  <a:ext uri="{FF2B5EF4-FFF2-40B4-BE49-F238E27FC236}">
                    <a16:creationId xmlns:a16="http://schemas.microsoft.com/office/drawing/2014/main" id="{F9CA4C83-5BEC-41DC-9EEC-CFF9343A02A6}"/>
                  </a:ext>
                </a:extLst>
              </p:cNvPr>
              <p:cNvSpPr/>
              <p:nvPr/>
            </p:nvSpPr>
            <p:spPr>
              <a:xfrm>
                <a:off x="7550009" y="2660741"/>
                <a:ext cx="18329" cy="18424"/>
              </a:xfrm>
              <a:custGeom>
                <a:avLst/>
                <a:gdLst>
                  <a:gd name="connsiteX0" fmla="*/ 5098 w 18329"/>
                  <a:gd name="connsiteY0" fmla="*/ 959 h 18424"/>
                  <a:gd name="connsiteX1" fmla="*/ 971 w 18329"/>
                  <a:gd name="connsiteY1" fmla="*/ 13279 h 18424"/>
                  <a:gd name="connsiteX2" fmla="*/ 13232 w 18329"/>
                  <a:gd name="connsiteY2" fmla="*/ 17466 h 18424"/>
                  <a:gd name="connsiteX3" fmla="*/ 17358 w 18329"/>
                  <a:gd name="connsiteY3" fmla="*/ 5146 h 18424"/>
                  <a:gd name="connsiteX4" fmla="*/ 5098 w 18329"/>
                  <a:gd name="connsiteY4" fmla="*/ 95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4">
                    <a:moveTo>
                      <a:pt x="5098" y="959"/>
                    </a:moveTo>
                    <a:cubicBezTo>
                      <a:pt x="553" y="3232"/>
                      <a:pt x="-1302" y="8734"/>
                      <a:pt x="971" y="13279"/>
                    </a:cubicBezTo>
                    <a:cubicBezTo>
                      <a:pt x="3244" y="17825"/>
                      <a:pt x="8746" y="19739"/>
                      <a:pt x="13232" y="17466"/>
                    </a:cubicBezTo>
                    <a:cubicBezTo>
                      <a:pt x="17777" y="15193"/>
                      <a:pt x="19631" y="9691"/>
                      <a:pt x="17358" y="5146"/>
                    </a:cubicBezTo>
                    <a:cubicBezTo>
                      <a:pt x="15145" y="600"/>
                      <a:pt x="9643" y="-1314"/>
                      <a:pt x="5098" y="959"/>
                    </a:cubicBezTo>
                    <a:close/>
                  </a:path>
                </a:pathLst>
              </a:custGeom>
              <a:grpFill/>
              <a:ln w="5978" cap="flat">
                <a:noFill/>
                <a:prstDash val="solid"/>
                <a:miter/>
              </a:ln>
            </p:spPr>
            <p:txBody>
              <a:bodyPr rtlCol="0" anchor="ctr"/>
              <a:lstStyle/>
              <a:p>
                <a:endParaRPr lang="en-GB"/>
              </a:p>
            </p:txBody>
          </p:sp>
        </p:grpSp>
        <p:grpSp>
          <p:nvGrpSpPr>
            <p:cNvPr id="172" name="Graphic 3">
              <a:extLst>
                <a:ext uri="{FF2B5EF4-FFF2-40B4-BE49-F238E27FC236}">
                  <a16:creationId xmlns:a16="http://schemas.microsoft.com/office/drawing/2014/main" id="{32C3D458-CDE4-4324-8816-72356F3E9021}"/>
                </a:ext>
              </a:extLst>
            </p:cNvPr>
            <p:cNvGrpSpPr/>
            <p:nvPr/>
          </p:nvGrpSpPr>
          <p:grpSpPr>
            <a:xfrm>
              <a:off x="7564282" y="2634753"/>
              <a:ext cx="132612" cy="72494"/>
              <a:chOff x="7564282" y="2634753"/>
              <a:chExt cx="132612" cy="72494"/>
            </a:xfrm>
            <a:grpFill/>
          </p:grpSpPr>
          <p:sp>
            <p:nvSpPr>
              <p:cNvPr id="4863" name="Vrije vorm: vorm 4862">
                <a:extLst>
                  <a:ext uri="{FF2B5EF4-FFF2-40B4-BE49-F238E27FC236}">
                    <a16:creationId xmlns:a16="http://schemas.microsoft.com/office/drawing/2014/main" id="{F71BF108-98BE-41A8-ADE7-B0BC302DC650}"/>
                  </a:ext>
                </a:extLst>
              </p:cNvPr>
              <p:cNvSpPr/>
              <p:nvPr/>
            </p:nvSpPr>
            <p:spPr>
              <a:xfrm>
                <a:off x="7572590" y="2642543"/>
                <a:ext cx="116385" cy="57253"/>
              </a:xfrm>
              <a:custGeom>
                <a:avLst/>
                <a:gdLst>
                  <a:gd name="connsiteX0" fmla="*/ 0 w 116385"/>
                  <a:gd name="connsiteY0" fmla="*/ 54497 h 57253"/>
                  <a:gd name="connsiteX1" fmla="*/ 115081 w 116385"/>
                  <a:gd name="connsiteY1" fmla="*/ 0 h 57253"/>
                  <a:gd name="connsiteX2" fmla="*/ 116386 w 116385"/>
                  <a:gd name="connsiteY2" fmla="*/ 2757 h 57253"/>
                  <a:gd name="connsiteX3" fmla="*/ 1306 w 116385"/>
                  <a:gd name="connsiteY3" fmla="*/ 57254 h 57253"/>
                </a:gdLst>
                <a:ahLst/>
                <a:cxnLst>
                  <a:cxn ang="0">
                    <a:pos x="connsiteX0" y="connsiteY0"/>
                  </a:cxn>
                  <a:cxn ang="0">
                    <a:pos x="connsiteX1" y="connsiteY1"/>
                  </a:cxn>
                  <a:cxn ang="0">
                    <a:pos x="connsiteX2" y="connsiteY2"/>
                  </a:cxn>
                  <a:cxn ang="0">
                    <a:pos x="connsiteX3" y="connsiteY3"/>
                  </a:cxn>
                </a:cxnLst>
                <a:rect l="l" t="t" r="r" b="b"/>
                <a:pathLst>
                  <a:path w="116385" h="57253">
                    <a:moveTo>
                      <a:pt x="0" y="54497"/>
                    </a:moveTo>
                    <a:lnTo>
                      <a:pt x="115081" y="0"/>
                    </a:lnTo>
                    <a:lnTo>
                      <a:pt x="116386" y="2757"/>
                    </a:lnTo>
                    <a:lnTo>
                      <a:pt x="1306" y="57254"/>
                    </a:lnTo>
                    <a:close/>
                  </a:path>
                </a:pathLst>
              </a:custGeom>
              <a:grpFill/>
              <a:ln w="5978" cap="flat">
                <a:noFill/>
                <a:prstDash val="solid"/>
                <a:miter/>
              </a:ln>
            </p:spPr>
            <p:txBody>
              <a:bodyPr rtlCol="0" anchor="ctr"/>
              <a:lstStyle/>
              <a:p>
                <a:endParaRPr lang="en-GB"/>
              </a:p>
            </p:txBody>
          </p:sp>
          <p:sp>
            <p:nvSpPr>
              <p:cNvPr id="4864" name="Vrije vorm: vorm 4863">
                <a:extLst>
                  <a:ext uri="{FF2B5EF4-FFF2-40B4-BE49-F238E27FC236}">
                    <a16:creationId xmlns:a16="http://schemas.microsoft.com/office/drawing/2014/main" id="{40422182-2087-40DE-87EE-A377640B4864}"/>
                  </a:ext>
                </a:extLst>
              </p:cNvPr>
              <p:cNvSpPr/>
              <p:nvPr/>
            </p:nvSpPr>
            <p:spPr>
              <a:xfrm>
                <a:off x="7678564" y="2634753"/>
                <a:ext cx="18331" cy="18428"/>
              </a:xfrm>
              <a:custGeom>
                <a:avLst/>
                <a:gdLst>
                  <a:gd name="connsiteX0" fmla="*/ 5249 w 18331"/>
                  <a:gd name="connsiteY0" fmla="*/ 871 h 18428"/>
                  <a:gd name="connsiteX1" fmla="*/ 17449 w 18331"/>
                  <a:gd name="connsiteY1" fmla="*/ 5297 h 18428"/>
                  <a:gd name="connsiteX2" fmla="*/ 13083 w 18331"/>
                  <a:gd name="connsiteY2" fmla="*/ 17557 h 18428"/>
                  <a:gd name="connsiteX3" fmla="*/ 882 w 18331"/>
                  <a:gd name="connsiteY3" fmla="*/ 13132 h 18428"/>
                  <a:gd name="connsiteX4" fmla="*/ 5249 w 1833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28">
                    <a:moveTo>
                      <a:pt x="5249" y="871"/>
                    </a:moveTo>
                    <a:cubicBezTo>
                      <a:pt x="9793" y="-1282"/>
                      <a:pt x="15296" y="692"/>
                      <a:pt x="17449" y="5297"/>
                    </a:cubicBezTo>
                    <a:cubicBezTo>
                      <a:pt x="19602" y="9902"/>
                      <a:pt x="17688" y="15404"/>
                      <a:pt x="13083" y="17557"/>
                    </a:cubicBezTo>
                    <a:cubicBezTo>
                      <a:pt x="8538" y="19710"/>
                      <a:pt x="3035" y="17737"/>
                      <a:pt x="882" y="13132"/>
                    </a:cubicBezTo>
                    <a:cubicBezTo>
                      <a:pt x="-1271" y="8526"/>
                      <a:pt x="643" y="3024"/>
                      <a:pt x="5249" y="871"/>
                    </a:cubicBezTo>
                    <a:close/>
                  </a:path>
                </a:pathLst>
              </a:custGeom>
              <a:grpFill/>
              <a:ln w="5978" cap="flat">
                <a:noFill/>
                <a:prstDash val="solid"/>
                <a:miter/>
              </a:ln>
            </p:spPr>
            <p:txBody>
              <a:bodyPr rtlCol="0" anchor="ctr"/>
              <a:lstStyle/>
              <a:p>
                <a:endParaRPr lang="en-GB"/>
              </a:p>
            </p:txBody>
          </p:sp>
          <p:sp>
            <p:nvSpPr>
              <p:cNvPr id="4865" name="Vrije vorm: vorm 4864">
                <a:extLst>
                  <a:ext uri="{FF2B5EF4-FFF2-40B4-BE49-F238E27FC236}">
                    <a16:creationId xmlns:a16="http://schemas.microsoft.com/office/drawing/2014/main" id="{FD981002-3536-4789-B86C-C3EC47B82999}"/>
                  </a:ext>
                </a:extLst>
              </p:cNvPr>
              <p:cNvSpPr/>
              <p:nvPr/>
            </p:nvSpPr>
            <p:spPr>
              <a:xfrm>
                <a:off x="7564282" y="2688819"/>
                <a:ext cx="18311" cy="18428"/>
              </a:xfrm>
              <a:custGeom>
                <a:avLst/>
                <a:gdLst>
                  <a:gd name="connsiteX0" fmla="*/ 5238 w 18311"/>
                  <a:gd name="connsiteY0" fmla="*/ 871 h 18428"/>
                  <a:gd name="connsiteX1" fmla="*/ 872 w 18311"/>
                  <a:gd name="connsiteY1" fmla="*/ 13132 h 18428"/>
                  <a:gd name="connsiteX2" fmla="*/ 13073 w 18311"/>
                  <a:gd name="connsiteY2" fmla="*/ 17557 h 18428"/>
                  <a:gd name="connsiteX3" fmla="*/ 17439 w 18311"/>
                  <a:gd name="connsiteY3" fmla="*/ 5297 h 18428"/>
                  <a:gd name="connsiteX4" fmla="*/ 5238 w 1831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8">
                    <a:moveTo>
                      <a:pt x="5238" y="871"/>
                    </a:moveTo>
                    <a:cubicBezTo>
                      <a:pt x="693" y="3024"/>
                      <a:pt x="-1281" y="8526"/>
                      <a:pt x="872" y="13132"/>
                    </a:cubicBezTo>
                    <a:cubicBezTo>
                      <a:pt x="3025" y="17737"/>
                      <a:pt x="8528" y="19711"/>
                      <a:pt x="13073" y="17557"/>
                    </a:cubicBezTo>
                    <a:cubicBezTo>
                      <a:pt x="17619" y="15404"/>
                      <a:pt x="19592" y="9902"/>
                      <a:pt x="17439" y="5297"/>
                    </a:cubicBezTo>
                    <a:cubicBezTo>
                      <a:pt x="15286" y="692"/>
                      <a:pt x="9843" y="-1282"/>
                      <a:pt x="5238" y="871"/>
                    </a:cubicBezTo>
                    <a:close/>
                  </a:path>
                </a:pathLst>
              </a:custGeom>
              <a:grpFill/>
              <a:ln w="5978" cap="flat">
                <a:noFill/>
                <a:prstDash val="solid"/>
                <a:miter/>
              </a:ln>
            </p:spPr>
            <p:txBody>
              <a:bodyPr rtlCol="0" anchor="ctr"/>
              <a:lstStyle/>
              <a:p>
                <a:endParaRPr lang="en-GB"/>
              </a:p>
            </p:txBody>
          </p:sp>
        </p:grpSp>
        <p:grpSp>
          <p:nvGrpSpPr>
            <p:cNvPr id="173" name="Graphic 3">
              <a:extLst>
                <a:ext uri="{FF2B5EF4-FFF2-40B4-BE49-F238E27FC236}">
                  <a16:creationId xmlns:a16="http://schemas.microsoft.com/office/drawing/2014/main" id="{8B93AC8D-9168-4392-8611-921819EE1082}"/>
                </a:ext>
              </a:extLst>
            </p:cNvPr>
            <p:cNvGrpSpPr/>
            <p:nvPr/>
          </p:nvGrpSpPr>
          <p:grpSpPr>
            <a:xfrm>
              <a:off x="7612802" y="2793504"/>
              <a:ext cx="142737" cy="63633"/>
              <a:chOff x="7612802" y="2793504"/>
              <a:chExt cx="142737" cy="63633"/>
            </a:xfrm>
            <a:grpFill/>
          </p:grpSpPr>
          <p:sp>
            <p:nvSpPr>
              <p:cNvPr id="4860" name="Vrije vorm: vorm 4859">
                <a:extLst>
                  <a:ext uri="{FF2B5EF4-FFF2-40B4-BE49-F238E27FC236}">
                    <a16:creationId xmlns:a16="http://schemas.microsoft.com/office/drawing/2014/main" id="{27F1A9D9-BE4E-4F27-9143-4358F3826CD1}"/>
                  </a:ext>
                </a:extLst>
              </p:cNvPr>
              <p:cNvSpPr/>
              <p:nvPr/>
            </p:nvSpPr>
            <p:spPr>
              <a:xfrm>
                <a:off x="7620845" y="2801237"/>
                <a:ext cx="126283" cy="48358"/>
              </a:xfrm>
              <a:custGeom>
                <a:avLst/>
                <a:gdLst>
                  <a:gd name="connsiteX0" fmla="*/ 0 w 126283"/>
                  <a:gd name="connsiteY0" fmla="*/ 45492 h 48358"/>
                  <a:gd name="connsiteX1" fmla="*/ 125242 w 126283"/>
                  <a:gd name="connsiteY1" fmla="*/ 0 h 48358"/>
                  <a:gd name="connsiteX2" fmla="*/ 126283 w 126283"/>
                  <a:gd name="connsiteY2" fmla="*/ 2867 h 48358"/>
                  <a:gd name="connsiteX3" fmla="*/ 1041 w 126283"/>
                  <a:gd name="connsiteY3" fmla="*/ 48359 h 48358"/>
                </a:gdLst>
                <a:ahLst/>
                <a:cxnLst>
                  <a:cxn ang="0">
                    <a:pos x="connsiteX0" y="connsiteY0"/>
                  </a:cxn>
                  <a:cxn ang="0">
                    <a:pos x="connsiteX1" y="connsiteY1"/>
                  </a:cxn>
                  <a:cxn ang="0">
                    <a:pos x="connsiteX2" y="connsiteY2"/>
                  </a:cxn>
                  <a:cxn ang="0">
                    <a:pos x="connsiteX3" y="connsiteY3"/>
                  </a:cxn>
                </a:cxnLst>
                <a:rect l="l" t="t" r="r" b="b"/>
                <a:pathLst>
                  <a:path w="126283" h="48358">
                    <a:moveTo>
                      <a:pt x="0" y="45492"/>
                    </a:moveTo>
                    <a:lnTo>
                      <a:pt x="125242" y="0"/>
                    </a:lnTo>
                    <a:lnTo>
                      <a:pt x="126283" y="2867"/>
                    </a:lnTo>
                    <a:lnTo>
                      <a:pt x="1041" y="48359"/>
                    </a:lnTo>
                    <a:close/>
                  </a:path>
                </a:pathLst>
              </a:custGeom>
              <a:grpFill/>
              <a:ln w="5978" cap="flat">
                <a:noFill/>
                <a:prstDash val="solid"/>
                <a:miter/>
              </a:ln>
            </p:spPr>
            <p:txBody>
              <a:bodyPr rtlCol="0" anchor="ctr"/>
              <a:lstStyle/>
              <a:p>
                <a:endParaRPr lang="en-GB"/>
              </a:p>
            </p:txBody>
          </p:sp>
          <p:sp>
            <p:nvSpPr>
              <p:cNvPr id="4861" name="Vrije vorm: vorm 4860">
                <a:extLst>
                  <a:ext uri="{FF2B5EF4-FFF2-40B4-BE49-F238E27FC236}">
                    <a16:creationId xmlns:a16="http://schemas.microsoft.com/office/drawing/2014/main" id="{F84F8B66-ABE6-4570-941F-5567CD395815}"/>
                  </a:ext>
                </a:extLst>
              </p:cNvPr>
              <p:cNvSpPr/>
              <p:nvPr/>
            </p:nvSpPr>
            <p:spPr>
              <a:xfrm>
                <a:off x="7737170" y="2793504"/>
                <a:ext cx="18369" cy="18442"/>
              </a:xfrm>
              <a:custGeom>
                <a:avLst/>
                <a:gdLst>
                  <a:gd name="connsiteX0" fmla="*/ 6031 w 18369"/>
                  <a:gd name="connsiteY0" fmla="*/ 549 h 18442"/>
                  <a:gd name="connsiteX1" fmla="*/ 17812 w 18369"/>
                  <a:gd name="connsiteY1" fmla="*/ 6111 h 18442"/>
                  <a:gd name="connsiteX2" fmla="*/ 12370 w 18369"/>
                  <a:gd name="connsiteY2" fmla="*/ 17894 h 18442"/>
                  <a:gd name="connsiteX3" fmla="*/ 588 w 18369"/>
                  <a:gd name="connsiteY3" fmla="*/ 12331 h 18442"/>
                  <a:gd name="connsiteX4" fmla="*/ 6031 w 18369"/>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2">
                    <a:moveTo>
                      <a:pt x="6031" y="549"/>
                    </a:moveTo>
                    <a:cubicBezTo>
                      <a:pt x="10815" y="-1185"/>
                      <a:pt x="16078" y="1327"/>
                      <a:pt x="17812" y="6111"/>
                    </a:cubicBezTo>
                    <a:cubicBezTo>
                      <a:pt x="19547" y="10896"/>
                      <a:pt x="17095" y="16159"/>
                      <a:pt x="12370" y="17894"/>
                    </a:cubicBezTo>
                    <a:cubicBezTo>
                      <a:pt x="7645" y="19628"/>
                      <a:pt x="2382" y="17116"/>
                      <a:pt x="588" y="12331"/>
                    </a:cubicBezTo>
                    <a:cubicBezTo>
                      <a:pt x="-1206" y="7547"/>
                      <a:pt x="1246" y="2284"/>
                      <a:pt x="6031" y="549"/>
                    </a:cubicBezTo>
                    <a:close/>
                  </a:path>
                </a:pathLst>
              </a:custGeom>
              <a:grpFill/>
              <a:ln w="5978" cap="flat">
                <a:noFill/>
                <a:prstDash val="solid"/>
                <a:miter/>
              </a:ln>
            </p:spPr>
            <p:txBody>
              <a:bodyPr rtlCol="0" anchor="ctr"/>
              <a:lstStyle/>
              <a:p>
                <a:endParaRPr lang="en-GB"/>
              </a:p>
            </p:txBody>
          </p:sp>
          <p:sp>
            <p:nvSpPr>
              <p:cNvPr id="4862" name="Vrije vorm: vorm 4861">
                <a:extLst>
                  <a:ext uri="{FF2B5EF4-FFF2-40B4-BE49-F238E27FC236}">
                    <a16:creationId xmlns:a16="http://schemas.microsoft.com/office/drawing/2014/main" id="{1B2DFB7A-9616-4932-A567-507F8A945A60}"/>
                  </a:ext>
                </a:extLst>
              </p:cNvPr>
              <p:cNvSpPr/>
              <p:nvPr/>
            </p:nvSpPr>
            <p:spPr>
              <a:xfrm>
                <a:off x="7612802" y="2838712"/>
                <a:ext cx="18285" cy="18425"/>
              </a:xfrm>
              <a:custGeom>
                <a:avLst/>
                <a:gdLst>
                  <a:gd name="connsiteX0" fmla="*/ 5999 w 18285"/>
                  <a:gd name="connsiteY0" fmla="*/ 556 h 18425"/>
                  <a:gd name="connsiteX1" fmla="*/ 557 w 18285"/>
                  <a:gd name="connsiteY1" fmla="*/ 12338 h 18425"/>
                  <a:gd name="connsiteX2" fmla="*/ 12279 w 18285"/>
                  <a:gd name="connsiteY2" fmla="*/ 17900 h 18425"/>
                  <a:gd name="connsiteX3" fmla="*/ 17722 w 18285"/>
                  <a:gd name="connsiteY3" fmla="*/ 6118 h 18425"/>
                  <a:gd name="connsiteX4" fmla="*/ 5999 w 18285"/>
                  <a:gd name="connsiteY4" fmla="*/ 556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5">
                    <a:moveTo>
                      <a:pt x="5999" y="556"/>
                    </a:moveTo>
                    <a:cubicBezTo>
                      <a:pt x="1275" y="2291"/>
                      <a:pt x="-1177" y="7554"/>
                      <a:pt x="557" y="12338"/>
                    </a:cubicBezTo>
                    <a:cubicBezTo>
                      <a:pt x="2291" y="17123"/>
                      <a:pt x="7554" y="19575"/>
                      <a:pt x="12279" y="17900"/>
                    </a:cubicBezTo>
                    <a:cubicBezTo>
                      <a:pt x="17064" y="16166"/>
                      <a:pt x="19456" y="10903"/>
                      <a:pt x="17722" y="6118"/>
                    </a:cubicBezTo>
                    <a:cubicBezTo>
                      <a:pt x="15987" y="1274"/>
                      <a:pt x="10724" y="-1178"/>
                      <a:pt x="5999" y="556"/>
                    </a:cubicBezTo>
                    <a:close/>
                  </a:path>
                </a:pathLst>
              </a:custGeom>
              <a:grpFill/>
              <a:ln w="5978" cap="flat">
                <a:noFill/>
                <a:prstDash val="solid"/>
                <a:miter/>
              </a:ln>
            </p:spPr>
            <p:txBody>
              <a:bodyPr rtlCol="0" anchor="ctr"/>
              <a:lstStyle/>
              <a:p>
                <a:endParaRPr lang="en-GB"/>
              </a:p>
            </p:txBody>
          </p:sp>
        </p:grpSp>
        <p:grpSp>
          <p:nvGrpSpPr>
            <p:cNvPr id="174" name="Graphic 3">
              <a:extLst>
                <a:ext uri="{FF2B5EF4-FFF2-40B4-BE49-F238E27FC236}">
                  <a16:creationId xmlns:a16="http://schemas.microsoft.com/office/drawing/2014/main" id="{2E626845-A76A-48F2-B6F9-0FAD18022AD2}"/>
                </a:ext>
              </a:extLst>
            </p:cNvPr>
            <p:cNvGrpSpPr/>
            <p:nvPr/>
          </p:nvGrpSpPr>
          <p:grpSpPr>
            <a:xfrm>
              <a:off x="7700688" y="3151668"/>
              <a:ext cx="155522" cy="38043"/>
              <a:chOff x="7700688" y="3151668"/>
              <a:chExt cx="155522" cy="38043"/>
            </a:xfrm>
            <a:grpFill/>
          </p:grpSpPr>
          <p:sp>
            <p:nvSpPr>
              <p:cNvPr id="4857" name="Vrije vorm: vorm 4856">
                <a:extLst>
                  <a:ext uri="{FF2B5EF4-FFF2-40B4-BE49-F238E27FC236}">
                    <a16:creationId xmlns:a16="http://schemas.microsoft.com/office/drawing/2014/main" id="{5378CFDF-2FEB-4229-A8C4-B798400A8664}"/>
                  </a:ext>
                </a:extLst>
              </p:cNvPr>
              <p:cNvSpPr/>
              <p:nvPr/>
            </p:nvSpPr>
            <p:spPr>
              <a:xfrm>
                <a:off x="7709170" y="3159296"/>
                <a:ext cx="138572" cy="22786"/>
              </a:xfrm>
              <a:custGeom>
                <a:avLst/>
                <a:gdLst>
                  <a:gd name="connsiteX0" fmla="*/ 138095 w 138572"/>
                  <a:gd name="connsiteY0" fmla="*/ 0 h 22786"/>
                  <a:gd name="connsiteX1" fmla="*/ 138573 w 138572"/>
                  <a:gd name="connsiteY1" fmla="*/ 2990 h 22786"/>
                  <a:gd name="connsiteX2" fmla="*/ 418 w 138572"/>
                  <a:gd name="connsiteY2" fmla="*/ 22787 h 22786"/>
                  <a:gd name="connsiteX3" fmla="*/ 0 w 138572"/>
                  <a:gd name="connsiteY3" fmla="*/ 19736 h 22786"/>
                </a:gdLst>
                <a:ahLst/>
                <a:cxnLst>
                  <a:cxn ang="0">
                    <a:pos x="connsiteX0" y="connsiteY0"/>
                  </a:cxn>
                  <a:cxn ang="0">
                    <a:pos x="connsiteX1" y="connsiteY1"/>
                  </a:cxn>
                  <a:cxn ang="0">
                    <a:pos x="connsiteX2" y="connsiteY2"/>
                  </a:cxn>
                  <a:cxn ang="0">
                    <a:pos x="connsiteX3" y="connsiteY3"/>
                  </a:cxn>
                </a:cxnLst>
                <a:rect l="l" t="t" r="r" b="b"/>
                <a:pathLst>
                  <a:path w="138572" h="22786">
                    <a:moveTo>
                      <a:pt x="138095" y="0"/>
                    </a:moveTo>
                    <a:lnTo>
                      <a:pt x="138573" y="2990"/>
                    </a:lnTo>
                    <a:lnTo>
                      <a:pt x="418" y="22787"/>
                    </a:lnTo>
                    <a:lnTo>
                      <a:pt x="0" y="19736"/>
                    </a:lnTo>
                    <a:close/>
                  </a:path>
                </a:pathLst>
              </a:custGeom>
              <a:grpFill/>
              <a:ln w="5978" cap="flat">
                <a:noFill/>
                <a:prstDash val="solid"/>
                <a:miter/>
              </a:ln>
            </p:spPr>
            <p:txBody>
              <a:bodyPr rtlCol="0" anchor="ctr"/>
              <a:lstStyle/>
              <a:p>
                <a:endParaRPr lang="en-GB"/>
              </a:p>
            </p:txBody>
          </p:sp>
          <p:sp>
            <p:nvSpPr>
              <p:cNvPr id="4858" name="Vrije vorm: vorm 4857">
                <a:extLst>
                  <a:ext uri="{FF2B5EF4-FFF2-40B4-BE49-F238E27FC236}">
                    <a16:creationId xmlns:a16="http://schemas.microsoft.com/office/drawing/2014/main" id="{44F654B1-5FAB-4B79-A0B9-3337E0600F80}"/>
                  </a:ext>
                </a:extLst>
              </p:cNvPr>
              <p:cNvSpPr/>
              <p:nvPr/>
            </p:nvSpPr>
            <p:spPr>
              <a:xfrm>
                <a:off x="7837901" y="3151668"/>
                <a:ext cx="18309" cy="18426"/>
              </a:xfrm>
              <a:custGeom>
                <a:avLst/>
                <a:gdLst>
                  <a:gd name="connsiteX0" fmla="*/ 7809 w 18309"/>
                  <a:gd name="connsiteY0" fmla="*/ 93 h 18426"/>
                  <a:gd name="connsiteX1" fmla="*/ 18216 w 18309"/>
                  <a:gd name="connsiteY1" fmla="*/ 7927 h 18426"/>
                  <a:gd name="connsiteX2" fmla="*/ 10500 w 18309"/>
                  <a:gd name="connsiteY2" fmla="*/ 18334 h 18426"/>
                  <a:gd name="connsiteX3" fmla="*/ 94 w 18309"/>
                  <a:gd name="connsiteY3" fmla="*/ 10499 h 18426"/>
                  <a:gd name="connsiteX4" fmla="*/ 7809 w 18309"/>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6">
                    <a:moveTo>
                      <a:pt x="7809" y="93"/>
                    </a:moveTo>
                    <a:cubicBezTo>
                      <a:pt x="12833" y="-625"/>
                      <a:pt x="17498" y="2904"/>
                      <a:pt x="18216" y="7927"/>
                    </a:cubicBezTo>
                    <a:cubicBezTo>
                      <a:pt x="18933" y="12951"/>
                      <a:pt x="15465" y="17616"/>
                      <a:pt x="10500" y="18334"/>
                    </a:cubicBezTo>
                    <a:cubicBezTo>
                      <a:pt x="5477" y="19052"/>
                      <a:pt x="812" y="15523"/>
                      <a:pt x="94" y="10499"/>
                    </a:cubicBezTo>
                    <a:cubicBezTo>
                      <a:pt x="-624" y="5475"/>
                      <a:pt x="2846" y="810"/>
                      <a:pt x="7809" y="93"/>
                    </a:cubicBezTo>
                    <a:close/>
                  </a:path>
                </a:pathLst>
              </a:custGeom>
              <a:grpFill/>
              <a:ln w="5978" cap="flat">
                <a:noFill/>
                <a:prstDash val="solid"/>
                <a:miter/>
              </a:ln>
            </p:spPr>
            <p:txBody>
              <a:bodyPr rtlCol="0" anchor="ctr"/>
              <a:lstStyle/>
              <a:p>
                <a:endParaRPr lang="en-GB"/>
              </a:p>
            </p:txBody>
          </p:sp>
          <p:sp>
            <p:nvSpPr>
              <p:cNvPr id="4859" name="Vrije vorm: vorm 4858">
                <a:extLst>
                  <a:ext uri="{FF2B5EF4-FFF2-40B4-BE49-F238E27FC236}">
                    <a16:creationId xmlns:a16="http://schemas.microsoft.com/office/drawing/2014/main" id="{C9906B69-6BAC-48D4-80B3-ABEF698531E0}"/>
                  </a:ext>
                </a:extLst>
              </p:cNvPr>
              <p:cNvSpPr/>
              <p:nvPr/>
            </p:nvSpPr>
            <p:spPr>
              <a:xfrm>
                <a:off x="7700688" y="3171283"/>
                <a:ext cx="18339" cy="18427"/>
              </a:xfrm>
              <a:custGeom>
                <a:avLst/>
                <a:gdLst>
                  <a:gd name="connsiteX0" fmla="*/ 7824 w 18339"/>
                  <a:gd name="connsiteY0" fmla="*/ 94 h 18427"/>
                  <a:gd name="connsiteX1" fmla="*/ 109 w 18339"/>
                  <a:gd name="connsiteY1" fmla="*/ 10500 h 18427"/>
                  <a:gd name="connsiteX2" fmla="*/ 10515 w 18339"/>
                  <a:gd name="connsiteY2" fmla="*/ 18335 h 18427"/>
                  <a:gd name="connsiteX3" fmla="*/ 18231 w 18339"/>
                  <a:gd name="connsiteY3" fmla="*/ 7929 h 18427"/>
                  <a:gd name="connsiteX4" fmla="*/ 7824 w 18339"/>
                  <a:gd name="connsiteY4" fmla="*/ 9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7">
                    <a:moveTo>
                      <a:pt x="7824" y="94"/>
                    </a:moveTo>
                    <a:cubicBezTo>
                      <a:pt x="2800" y="812"/>
                      <a:pt x="-669" y="5477"/>
                      <a:pt x="109" y="10500"/>
                    </a:cubicBezTo>
                    <a:cubicBezTo>
                      <a:pt x="827" y="15524"/>
                      <a:pt x="5492" y="19053"/>
                      <a:pt x="10515" y="18335"/>
                    </a:cubicBezTo>
                    <a:cubicBezTo>
                      <a:pt x="15539" y="17617"/>
                      <a:pt x="19008" y="12952"/>
                      <a:pt x="18231" y="7929"/>
                    </a:cubicBezTo>
                    <a:cubicBezTo>
                      <a:pt x="17513" y="2845"/>
                      <a:pt x="12848" y="-624"/>
                      <a:pt x="7824" y="94"/>
                    </a:cubicBezTo>
                    <a:close/>
                  </a:path>
                </a:pathLst>
              </a:custGeom>
              <a:grpFill/>
              <a:ln w="5978" cap="flat">
                <a:noFill/>
                <a:prstDash val="solid"/>
                <a:miter/>
              </a:ln>
            </p:spPr>
            <p:txBody>
              <a:bodyPr rtlCol="0" anchor="ctr"/>
              <a:lstStyle/>
              <a:p>
                <a:endParaRPr lang="en-GB"/>
              </a:p>
            </p:txBody>
          </p:sp>
        </p:grpSp>
        <p:grpSp>
          <p:nvGrpSpPr>
            <p:cNvPr id="175" name="Graphic 3">
              <a:extLst>
                <a:ext uri="{FF2B5EF4-FFF2-40B4-BE49-F238E27FC236}">
                  <a16:creationId xmlns:a16="http://schemas.microsoft.com/office/drawing/2014/main" id="{CEF4A424-49B0-4133-ABB7-992E361105B8}"/>
                </a:ext>
              </a:extLst>
            </p:cNvPr>
            <p:cNvGrpSpPr/>
            <p:nvPr/>
          </p:nvGrpSpPr>
          <p:grpSpPr>
            <a:xfrm>
              <a:off x="7240083" y="1686417"/>
              <a:ext cx="160680" cy="201744"/>
              <a:chOff x="7240083" y="1686417"/>
              <a:chExt cx="160680" cy="201744"/>
            </a:xfrm>
            <a:grpFill/>
          </p:grpSpPr>
          <p:sp>
            <p:nvSpPr>
              <p:cNvPr id="4854" name="Vrije vorm: vorm 4853">
                <a:extLst>
                  <a:ext uri="{FF2B5EF4-FFF2-40B4-BE49-F238E27FC236}">
                    <a16:creationId xmlns:a16="http://schemas.microsoft.com/office/drawing/2014/main" id="{38D61BE4-0399-402D-BAA0-E2BA16D39F5E}"/>
                  </a:ext>
                </a:extLst>
              </p:cNvPr>
              <p:cNvSpPr/>
              <p:nvPr/>
            </p:nvSpPr>
            <p:spPr>
              <a:xfrm>
                <a:off x="7247758" y="1694379"/>
                <a:ext cx="145271" cy="185880"/>
              </a:xfrm>
              <a:custGeom>
                <a:avLst/>
                <a:gdLst>
                  <a:gd name="connsiteX0" fmla="*/ 145271 w 145271"/>
                  <a:gd name="connsiteY0" fmla="*/ 1854 h 185880"/>
                  <a:gd name="connsiteX1" fmla="*/ 2392 w 145271"/>
                  <a:gd name="connsiteY1" fmla="*/ 185881 h 185880"/>
                  <a:gd name="connsiteX2" fmla="*/ 0 w 145271"/>
                  <a:gd name="connsiteY2" fmla="*/ 184027 h 185880"/>
                  <a:gd name="connsiteX3" fmla="*/ 142880 w 145271"/>
                  <a:gd name="connsiteY3" fmla="*/ 0 h 185880"/>
                </a:gdLst>
                <a:ahLst/>
                <a:cxnLst>
                  <a:cxn ang="0">
                    <a:pos x="connsiteX0" y="connsiteY0"/>
                  </a:cxn>
                  <a:cxn ang="0">
                    <a:pos x="connsiteX1" y="connsiteY1"/>
                  </a:cxn>
                  <a:cxn ang="0">
                    <a:pos x="connsiteX2" y="connsiteY2"/>
                  </a:cxn>
                  <a:cxn ang="0">
                    <a:pos x="connsiteX3" y="connsiteY3"/>
                  </a:cxn>
                </a:cxnLst>
                <a:rect l="l" t="t" r="r" b="b"/>
                <a:pathLst>
                  <a:path w="145271" h="185880">
                    <a:moveTo>
                      <a:pt x="145271" y="1854"/>
                    </a:moveTo>
                    <a:lnTo>
                      <a:pt x="2392" y="185881"/>
                    </a:lnTo>
                    <a:lnTo>
                      <a:pt x="0" y="184027"/>
                    </a:lnTo>
                    <a:lnTo>
                      <a:pt x="142880" y="0"/>
                    </a:lnTo>
                    <a:close/>
                  </a:path>
                </a:pathLst>
              </a:custGeom>
              <a:grpFill/>
              <a:ln w="5978" cap="flat">
                <a:noFill/>
                <a:prstDash val="solid"/>
                <a:miter/>
              </a:ln>
            </p:spPr>
            <p:txBody>
              <a:bodyPr rtlCol="0" anchor="ctr"/>
              <a:lstStyle/>
              <a:p>
                <a:endParaRPr lang="en-GB"/>
              </a:p>
            </p:txBody>
          </p:sp>
          <p:sp>
            <p:nvSpPr>
              <p:cNvPr id="4855" name="Vrije vorm: vorm 4854">
                <a:extLst>
                  <a:ext uri="{FF2B5EF4-FFF2-40B4-BE49-F238E27FC236}">
                    <a16:creationId xmlns:a16="http://schemas.microsoft.com/office/drawing/2014/main" id="{B6EA482D-5ED8-4106-A64A-688B8F1D0B2E}"/>
                  </a:ext>
                </a:extLst>
              </p:cNvPr>
              <p:cNvSpPr/>
              <p:nvPr/>
            </p:nvSpPr>
            <p:spPr>
              <a:xfrm>
                <a:off x="7382424" y="1686417"/>
                <a:ext cx="18339" cy="18435"/>
              </a:xfrm>
              <a:custGeom>
                <a:avLst/>
                <a:gdLst>
                  <a:gd name="connsiteX0" fmla="*/ 1933 w 18339"/>
                  <a:gd name="connsiteY0" fmla="*/ 3536 h 18435"/>
                  <a:gd name="connsiteX1" fmla="*/ 14792 w 18339"/>
                  <a:gd name="connsiteY1" fmla="*/ 1981 h 18435"/>
                  <a:gd name="connsiteX2" fmla="*/ 16407 w 18339"/>
                  <a:gd name="connsiteY2" fmla="*/ 14899 h 18435"/>
                  <a:gd name="connsiteX3" fmla="*/ 3548 w 18339"/>
                  <a:gd name="connsiteY3" fmla="*/ 16454 h 18435"/>
                  <a:gd name="connsiteX4" fmla="*/ 1933 w 18339"/>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35">
                    <a:moveTo>
                      <a:pt x="1933" y="3536"/>
                    </a:moveTo>
                    <a:cubicBezTo>
                      <a:pt x="5043" y="-471"/>
                      <a:pt x="10784" y="-1189"/>
                      <a:pt x="14792" y="1981"/>
                    </a:cubicBezTo>
                    <a:cubicBezTo>
                      <a:pt x="18799" y="5091"/>
                      <a:pt x="19517" y="10892"/>
                      <a:pt x="16407" y="14899"/>
                    </a:cubicBezTo>
                    <a:cubicBezTo>
                      <a:pt x="13296" y="18906"/>
                      <a:pt x="7555" y="19624"/>
                      <a:pt x="3548" y="16454"/>
                    </a:cubicBezTo>
                    <a:cubicBezTo>
                      <a:pt x="-459" y="13344"/>
                      <a:pt x="-1177" y="7543"/>
                      <a:pt x="1933" y="3536"/>
                    </a:cubicBezTo>
                    <a:close/>
                  </a:path>
                </a:pathLst>
              </a:custGeom>
              <a:grpFill/>
              <a:ln w="5978" cap="flat">
                <a:noFill/>
                <a:prstDash val="solid"/>
                <a:miter/>
              </a:ln>
            </p:spPr>
            <p:txBody>
              <a:bodyPr rtlCol="0" anchor="ctr"/>
              <a:lstStyle/>
              <a:p>
                <a:endParaRPr lang="en-GB"/>
              </a:p>
            </p:txBody>
          </p:sp>
          <p:sp>
            <p:nvSpPr>
              <p:cNvPr id="4856" name="Vrije vorm: vorm 4855">
                <a:extLst>
                  <a:ext uri="{FF2B5EF4-FFF2-40B4-BE49-F238E27FC236}">
                    <a16:creationId xmlns:a16="http://schemas.microsoft.com/office/drawing/2014/main" id="{222938BB-32D7-4D06-94A9-5028430328D4}"/>
                  </a:ext>
                </a:extLst>
              </p:cNvPr>
              <p:cNvSpPr/>
              <p:nvPr/>
            </p:nvSpPr>
            <p:spPr>
              <a:xfrm>
                <a:off x="7240083" y="1869751"/>
                <a:ext cx="18338" cy="18410"/>
              </a:xfrm>
              <a:custGeom>
                <a:avLst/>
                <a:gdLst>
                  <a:gd name="connsiteX0" fmla="*/ 1932 w 18338"/>
                  <a:gd name="connsiteY0" fmla="*/ 3511 h 18410"/>
                  <a:gd name="connsiteX1" fmla="*/ 3547 w 18338"/>
                  <a:gd name="connsiteY1" fmla="*/ 16429 h 18410"/>
                  <a:gd name="connsiteX2" fmla="*/ 16406 w 18338"/>
                  <a:gd name="connsiteY2" fmla="*/ 14874 h 18410"/>
                  <a:gd name="connsiteX3" fmla="*/ 14791 w 18338"/>
                  <a:gd name="connsiteY3" fmla="*/ 1956 h 18410"/>
                  <a:gd name="connsiteX4" fmla="*/ 1932 w 18338"/>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0">
                    <a:moveTo>
                      <a:pt x="1932" y="3511"/>
                    </a:moveTo>
                    <a:cubicBezTo>
                      <a:pt x="-1177" y="7518"/>
                      <a:pt x="-459" y="13319"/>
                      <a:pt x="3547" y="16429"/>
                    </a:cubicBezTo>
                    <a:cubicBezTo>
                      <a:pt x="7555" y="19599"/>
                      <a:pt x="13296" y="18881"/>
                      <a:pt x="16406" y="14874"/>
                    </a:cubicBezTo>
                    <a:cubicBezTo>
                      <a:pt x="19516" y="10867"/>
                      <a:pt x="18798" y="5066"/>
                      <a:pt x="14791" y="1956"/>
                    </a:cubicBezTo>
                    <a:cubicBezTo>
                      <a:pt x="10785" y="-1154"/>
                      <a:pt x="5043" y="-496"/>
                      <a:pt x="1932" y="3511"/>
                    </a:cubicBezTo>
                    <a:close/>
                  </a:path>
                </a:pathLst>
              </a:custGeom>
              <a:grpFill/>
              <a:ln w="5978" cap="flat">
                <a:noFill/>
                <a:prstDash val="solid"/>
                <a:miter/>
              </a:ln>
            </p:spPr>
            <p:txBody>
              <a:bodyPr rtlCol="0" anchor="ctr"/>
              <a:lstStyle/>
              <a:p>
                <a:endParaRPr lang="en-GB"/>
              </a:p>
            </p:txBody>
          </p:sp>
        </p:grpSp>
        <p:grpSp>
          <p:nvGrpSpPr>
            <p:cNvPr id="176" name="Graphic 3">
              <a:extLst>
                <a:ext uri="{FF2B5EF4-FFF2-40B4-BE49-F238E27FC236}">
                  <a16:creationId xmlns:a16="http://schemas.microsoft.com/office/drawing/2014/main" id="{D7AC6BC8-F894-4C9B-B59A-1CCE87F9F9C1}"/>
                </a:ext>
              </a:extLst>
            </p:cNvPr>
            <p:cNvGrpSpPr/>
            <p:nvPr/>
          </p:nvGrpSpPr>
          <p:grpSpPr>
            <a:xfrm>
              <a:off x="7670788" y="2930190"/>
              <a:ext cx="97043" cy="40520"/>
              <a:chOff x="7670788" y="2930190"/>
              <a:chExt cx="97043" cy="40520"/>
            </a:xfrm>
            <a:grpFill/>
          </p:grpSpPr>
          <p:sp>
            <p:nvSpPr>
              <p:cNvPr id="4851" name="Vrije vorm: vorm 4850">
                <a:extLst>
                  <a:ext uri="{FF2B5EF4-FFF2-40B4-BE49-F238E27FC236}">
                    <a16:creationId xmlns:a16="http://schemas.microsoft.com/office/drawing/2014/main" id="{7B4D95E3-73D7-4135-998E-99869A9F2FDB}"/>
                  </a:ext>
                </a:extLst>
              </p:cNvPr>
              <p:cNvSpPr/>
              <p:nvPr/>
            </p:nvSpPr>
            <p:spPr>
              <a:xfrm>
                <a:off x="7679087" y="2937830"/>
                <a:ext cx="80380" cy="25238"/>
              </a:xfrm>
              <a:custGeom>
                <a:avLst/>
                <a:gdLst>
                  <a:gd name="connsiteX0" fmla="*/ 79603 w 80380"/>
                  <a:gd name="connsiteY0" fmla="*/ 0 h 25238"/>
                  <a:gd name="connsiteX1" fmla="*/ 80381 w 80380"/>
                  <a:gd name="connsiteY1" fmla="*/ 2930 h 25238"/>
                  <a:gd name="connsiteX2" fmla="*/ 837 w 80380"/>
                  <a:gd name="connsiteY2" fmla="*/ 25239 h 25238"/>
                  <a:gd name="connsiteX3" fmla="*/ 0 w 80380"/>
                  <a:gd name="connsiteY3" fmla="*/ 22308 h 25238"/>
                </a:gdLst>
                <a:ahLst/>
                <a:cxnLst>
                  <a:cxn ang="0">
                    <a:pos x="connsiteX0" y="connsiteY0"/>
                  </a:cxn>
                  <a:cxn ang="0">
                    <a:pos x="connsiteX1" y="connsiteY1"/>
                  </a:cxn>
                  <a:cxn ang="0">
                    <a:pos x="connsiteX2" y="connsiteY2"/>
                  </a:cxn>
                  <a:cxn ang="0">
                    <a:pos x="connsiteX3" y="connsiteY3"/>
                  </a:cxn>
                </a:cxnLst>
                <a:rect l="l" t="t" r="r" b="b"/>
                <a:pathLst>
                  <a:path w="80380" h="25238">
                    <a:moveTo>
                      <a:pt x="79603" y="0"/>
                    </a:moveTo>
                    <a:lnTo>
                      <a:pt x="80381" y="2930"/>
                    </a:lnTo>
                    <a:lnTo>
                      <a:pt x="837" y="25239"/>
                    </a:lnTo>
                    <a:lnTo>
                      <a:pt x="0" y="22308"/>
                    </a:lnTo>
                    <a:close/>
                  </a:path>
                </a:pathLst>
              </a:custGeom>
              <a:grpFill/>
              <a:ln w="5978" cap="flat">
                <a:noFill/>
                <a:prstDash val="solid"/>
                <a:miter/>
              </a:ln>
            </p:spPr>
            <p:txBody>
              <a:bodyPr rtlCol="0" anchor="ctr"/>
              <a:lstStyle/>
              <a:p>
                <a:endParaRPr lang="en-GB"/>
              </a:p>
            </p:txBody>
          </p:sp>
          <p:sp>
            <p:nvSpPr>
              <p:cNvPr id="4852" name="Vrije vorm: vorm 4851">
                <a:extLst>
                  <a:ext uri="{FF2B5EF4-FFF2-40B4-BE49-F238E27FC236}">
                    <a16:creationId xmlns:a16="http://schemas.microsoft.com/office/drawing/2014/main" id="{229D64BB-310B-4159-8B45-75E7F6FBE8AE}"/>
                  </a:ext>
                </a:extLst>
              </p:cNvPr>
              <p:cNvSpPr/>
              <p:nvPr/>
            </p:nvSpPr>
            <p:spPr>
              <a:xfrm>
                <a:off x="7749490" y="2930190"/>
                <a:ext cx="18341" cy="18451"/>
              </a:xfrm>
              <a:custGeom>
                <a:avLst/>
                <a:gdLst>
                  <a:gd name="connsiteX0" fmla="*/ 6689 w 18341"/>
                  <a:gd name="connsiteY0" fmla="*/ 344 h 18451"/>
                  <a:gd name="connsiteX1" fmla="*/ 17992 w 18341"/>
                  <a:gd name="connsiteY1" fmla="*/ 6744 h 18451"/>
                  <a:gd name="connsiteX2" fmla="*/ 11652 w 18341"/>
                  <a:gd name="connsiteY2" fmla="*/ 18107 h 18451"/>
                  <a:gd name="connsiteX3" fmla="*/ 349 w 18341"/>
                  <a:gd name="connsiteY3" fmla="*/ 11708 h 18451"/>
                  <a:gd name="connsiteX4" fmla="*/ 6689 w 18341"/>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1">
                    <a:moveTo>
                      <a:pt x="6689" y="344"/>
                    </a:moveTo>
                    <a:cubicBezTo>
                      <a:pt x="11533" y="-1031"/>
                      <a:pt x="16616" y="1839"/>
                      <a:pt x="17992" y="6744"/>
                    </a:cubicBezTo>
                    <a:cubicBezTo>
                      <a:pt x="19368" y="11648"/>
                      <a:pt x="16557" y="16731"/>
                      <a:pt x="11652" y="18107"/>
                    </a:cubicBezTo>
                    <a:cubicBezTo>
                      <a:pt x="6808" y="19482"/>
                      <a:pt x="1724" y="16612"/>
                      <a:pt x="349" y="11708"/>
                    </a:cubicBezTo>
                    <a:cubicBezTo>
                      <a:pt x="-1027" y="6803"/>
                      <a:pt x="1784" y="1720"/>
                      <a:pt x="6689" y="344"/>
                    </a:cubicBezTo>
                    <a:close/>
                  </a:path>
                </a:pathLst>
              </a:custGeom>
              <a:grpFill/>
              <a:ln w="5978" cap="flat">
                <a:noFill/>
                <a:prstDash val="solid"/>
                <a:miter/>
              </a:ln>
            </p:spPr>
            <p:txBody>
              <a:bodyPr rtlCol="0" anchor="ctr"/>
              <a:lstStyle/>
              <a:p>
                <a:endParaRPr lang="en-GB"/>
              </a:p>
            </p:txBody>
          </p:sp>
          <p:sp>
            <p:nvSpPr>
              <p:cNvPr id="4853" name="Vrije vorm: vorm 4852">
                <a:extLst>
                  <a:ext uri="{FF2B5EF4-FFF2-40B4-BE49-F238E27FC236}">
                    <a16:creationId xmlns:a16="http://schemas.microsoft.com/office/drawing/2014/main" id="{0C5035FE-314E-49A6-81BA-A0091EE706AD}"/>
                  </a:ext>
                </a:extLst>
              </p:cNvPr>
              <p:cNvSpPr/>
              <p:nvPr/>
            </p:nvSpPr>
            <p:spPr>
              <a:xfrm>
                <a:off x="7670788" y="2952258"/>
                <a:ext cx="18332" cy="18451"/>
              </a:xfrm>
              <a:custGeom>
                <a:avLst/>
                <a:gdLst>
                  <a:gd name="connsiteX0" fmla="*/ 6684 w 18332"/>
                  <a:gd name="connsiteY0" fmla="*/ 344 h 18451"/>
                  <a:gd name="connsiteX1" fmla="*/ 345 w 18332"/>
                  <a:gd name="connsiteY1" fmla="*/ 11708 h 18451"/>
                  <a:gd name="connsiteX2" fmla="*/ 11648 w 18332"/>
                  <a:gd name="connsiteY2" fmla="*/ 18107 h 18451"/>
                  <a:gd name="connsiteX3" fmla="*/ 17988 w 18332"/>
                  <a:gd name="connsiteY3" fmla="*/ 6744 h 18451"/>
                  <a:gd name="connsiteX4" fmla="*/ 6684 w 18332"/>
                  <a:gd name="connsiteY4" fmla="*/ 3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1">
                    <a:moveTo>
                      <a:pt x="6684" y="344"/>
                    </a:moveTo>
                    <a:cubicBezTo>
                      <a:pt x="1840" y="1720"/>
                      <a:pt x="-1031" y="6803"/>
                      <a:pt x="345" y="11708"/>
                    </a:cubicBezTo>
                    <a:cubicBezTo>
                      <a:pt x="1721" y="16612"/>
                      <a:pt x="6804" y="19482"/>
                      <a:pt x="11648" y="18107"/>
                    </a:cubicBezTo>
                    <a:cubicBezTo>
                      <a:pt x="16493" y="16731"/>
                      <a:pt x="19364" y="11648"/>
                      <a:pt x="17988" y="6744"/>
                    </a:cubicBezTo>
                    <a:cubicBezTo>
                      <a:pt x="16613" y="1839"/>
                      <a:pt x="11529" y="-1031"/>
                      <a:pt x="6684" y="344"/>
                    </a:cubicBezTo>
                    <a:close/>
                  </a:path>
                </a:pathLst>
              </a:custGeom>
              <a:grpFill/>
              <a:ln w="5978" cap="flat">
                <a:noFill/>
                <a:prstDash val="solid"/>
                <a:miter/>
              </a:ln>
            </p:spPr>
            <p:txBody>
              <a:bodyPr rtlCol="0" anchor="ctr"/>
              <a:lstStyle/>
              <a:p>
                <a:endParaRPr lang="en-GB"/>
              </a:p>
            </p:txBody>
          </p:sp>
        </p:grpSp>
        <p:grpSp>
          <p:nvGrpSpPr>
            <p:cNvPr id="177" name="Graphic 3">
              <a:extLst>
                <a:ext uri="{FF2B5EF4-FFF2-40B4-BE49-F238E27FC236}">
                  <a16:creationId xmlns:a16="http://schemas.microsoft.com/office/drawing/2014/main" id="{D5A6A360-39B4-4D24-9A0C-C28CABAFDBEB}"/>
                </a:ext>
              </a:extLst>
            </p:cNvPr>
            <p:cNvGrpSpPr/>
            <p:nvPr/>
          </p:nvGrpSpPr>
          <p:grpSpPr>
            <a:xfrm>
              <a:off x="7709506" y="3266328"/>
              <a:ext cx="218702" cy="33599"/>
              <a:chOff x="7709506" y="3266328"/>
              <a:chExt cx="218702" cy="33599"/>
            </a:xfrm>
            <a:grpFill/>
          </p:grpSpPr>
          <p:sp>
            <p:nvSpPr>
              <p:cNvPr id="4848" name="Vrije vorm: vorm 4847">
                <a:extLst>
                  <a:ext uri="{FF2B5EF4-FFF2-40B4-BE49-F238E27FC236}">
                    <a16:creationId xmlns:a16="http://schemas.microsoft.com/office/drawing/2014/main" id="{1F3659D9-BB75-4D23-9EEA-9CE1AEC343AD}"/>
                  </a:ext>
                </a:extLst>
              </p:cNvPr>
              <p:cNvSpPr/>
              <p:nvPr/>
            </p:nvSpPr>
            <p:spPr>
              <a:xfrm>
                <a:off x="7718082" y="3274007"/>
                <a:ext cx="201490" cy="18241"/>
              </a:xfrm>
              <a:custGeom>
                <a:avLst/>
                <a:gdLst>
                  <a:gd name="connsiteX0" fmla="*/ 201490 w 201490"/>
                  <a:gd name="connsiteY0" fmla="*/ 15191 h 18241"/>
                  <a:gd name="connsiteX1" fmla="*/ 201311 w 201490"/>
                  <a:gd name="connsiteY1" fmla="*/ 18241 h 18241"/>
                  <a:gd name="connsiteX2" fmla="*/ 0 w 201490"/>
                  <a:gd name="connsiteY2" fmla="*/ 3050 h 18241"/>
                  <a:gd name="connsiteX3" fmla="*/ 239 w 201490"/>
                  <a:gd name="connsiteY3" fmla="*/ 0 h 18241"/>
                </a:gdLst>
                <a:ahLst/>
                <a:cxnLst>
                  <a:cxn ang="0">
                    <a:pos x="connsiteX0" y="connsiteY0"/>
                  </a:cxn>
                  <a:cxn ang="0">
                    <a:pos x="connsiteX1" y="connsiteY1"/>
                  </a:cxn>
                  <a:cxn ang="0">
                    <a:pos x="connsiteX2" y="connsiteY2"/>
                  </a:cxn>
                  <a:cxn ang="0">
                    <a:pos x="connsiteX3" y="connsiteY3"/>
                  </a:cxn>
                </a:cxnLst>
                <a:rect l="l" t="t" r="r" b="b"/>
                <a:pathLst>
                  <a:path w="201490" h="18241">
                    <a:moveTo>
                      <a:pt x="201490" y="15191"/>
                    </a:moveTo>
                    <a:lnTo>
                      <a:pt x="201311" y="18241"/>
                    </a:lnTo>
                    <a:lnTo>
                      <a:pt x="0" y="3050"/>
                    </a:lnTo>
                    <a:lnTo>
                      <a:pt x="239" y="0"/>
                    </a:lnTo>
                    <a:close/>
                  </a:path>
                </a:pathLst>
              </a:custGeom>
              <a:grpFill/>
              <a:ln w="5978" cap="flat">
                <a:noFill/>
                <a:prstDash val="solid"/>
                <a:miter/>
              </a:ln>
            </p:spPr>
            <p:txBody>
              <a:bodyPr rtlCol="0" anchor="ctr"/>
              <a:lstStyle/>
              <a:p>
                <a:endParaRPr lang="en-GB"/>
              </a:p>
            </p:txBody>
          </p:sp>
          <p:sp>
            <p:nvSpPr>
              <p:cNvPr id="4849" name="Vrije vorm: vorm 4848">
                <a:extLst>
                  <a:ext uri="{FF2B5EF4-FFF2-40B4-BE49-F238E27FC236}">
                    <a16:creationId xmlns:a16="http://schemas.microsoft.com/office/drawing/2014/main" id="{959FD982-85FE-4090-A4CF-84D5CBDDE48D}"/>
                  </a:ext>
                </a:extLst>
              </p:cNvPr>
              <p:cNvSpPr/>
              <p:nvPr/>
            </p:nvSpPr>
            <p:spPr>
              <a:xfrm>
                <a:off x="7709506" y="3266328"/>
                <a:ext cx="18347" cy="18415"/>
              </a:xfrm>
              <a:custGeom>
                <a:avLst/>
                <a:gdLst>
                  <a:gd name="connsiteX0" fmla="*/ 8516 w 18347"/>
                  <a:gd name="connsiteY0" fmla="*/ 18384 h 18415"/>
                  <a:gd name="connsiteX1" fmla="*/ 23 w 18347"/>
                  <a:gd name="connsiteY1" fmla="*/ 8516 h 18415"/>
                  <a:gd name="connsiteX2" fmla="*/ 9832 w 18347"/>
                  <a:gd name="connsiteY2" fmla="*/ 24 h 18415"/>
                  <a:gd name="connsiteX3" fmla="*/ 18325 w 18347"/>
                  <a:gd name="connsiteY3" fmla="*/ 9892 h 18415"/>
                  <a:gd name="connsiteX4" fmla="*/ 8516 w 18347"/>
                  <a:gd name="connsiteY4" fmla="*/ 18384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15">
                    <a:moveTo>
                      <a:pt x="8516" y="18384"/>
                    </a:moveTo>
                    <a:cubicBezTo>
                      <a:pt x="3492" y="18026"/>
                      <a:pt x="-335" y="13600"/>
                      <a:pt x="23" y="8516"/>
                    </a:cubicBezTo>
                    <a:cubicBezTo>
                      <a:pt x="382" y="3433"/>
                      <a:pt x="4748" y="-335"/>
                      <a:pt x="9832" y="24"/>
                    </a:cubicBezTo>
                    <a:cubicBezTo>
                      <a:pt x="14855" y="382"/>
                      <a:pt x="18683" y="4808"/>
                      <a:pt x="18325" y="9892"/>
                    </a:cubicBezTo>
                    <a:cubicBezTo>
                      <a:pt x="17965" y="14975"/>
                      <a:pt x="13540" y="18803"/>
                      <a:pt x="8516" y="18384"/>
                    </a:cubicBezTo>
                    <a:close/>
                  </a:path>
                </a:pathLst>
              </a:custGeom>
              <a:grpFill/>
              <a:ln w="5978" cap="flat">
                <a:noFill/>
                <a:prstDash val="solid"/>
                <a:miter/>
              </a:ln>
            </p:spPr>
            <p:txBody>
              <a:bodyPr rtlCol="0" anchor="ctr"/>
              <a:lstStyle/>
              <a:p>
                <a:endParaRPr lang="en-GB"/>
              </a:p>
            </p:txBody>
          </p:sp>
          <p:sp>
            <p:nvSpPr>
              <p:cNvPr id="4850" name="Vrije vorm: vorm 4849">
                <a:extLst>
                  <a:ext uri="{FF2B5EF4-FFF2-40B4-BE49-F238E27FC236}">
                    <a16:creationId xmlns:a16="http://schemas.microsoft.com/office/drawing/2014/main" id="{5B47F968-DF88-4DA5-BC4D-1F52814E43B2}"/>
                  </a:ext>
                </a:extLst>
              </p:cNvPr>
              <p:cNvSpPr/>
              <p:nvPr/>
            </p:nvSpPr>
            <p:spPr>
              <a:xfrm>
                <a:off x="7909860" y="3281519"/>
                <a:ext cx="18348" cy="18407"/>
              </a:xfrm>
              <a:custGeom>
                <a:avLst/>
                <a:gdLst>
                  <a:gd name="connsiteX0" fmla="*/ 8516 w 18348"/>
                  <a:gd name="connsiteY0" fmla="*/ 18384 h 18407"/>
                  <a:gd name="connsiteX1" fmla="*/ 18325 w 18348"/>
                  <a:gd name="connsiteY1" fmla="*/ 9892 h 18407"/>
                  <a:gd name="connsiteX2" fmla="*/ 9832 w 18348"/>
                  <a:gd name="connsiteY2" fmla="*/ 24 h 18407"/>
                  <a:gd name="connsiteX3" fmla="*/ 24 w 18348"/>
                  <a:gd name="connsiteY3" fmla="*/ 8516 h 18407"/>
                  <a:gd name="connsiteX4" fmla="*/ 8516 w 18348"/>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07">
                    <a:moveTo>
                      <a:pt x="8516" y="18384"/>
                    </a:moveTo>
                    <a:cubicBezTo>
                      <a:pt x="13540" y="18743"/>
                      <a:pt x="17966" y="14975"/>
                      <a:pt x="18325" y="9892"/>
                    </a:cubicBezTo>
                    <a:cubicBezTo>
                      <a:pt x="18683" y="4808"/>
                      <a:pt x="14856" y="382"/>
                      <a:pt x="9832" y="24"/>
                    </a:cubicBezTo>
                    <a:cubicBezTo>
                      <a:pt x="4808" y="-335"/>
                      <a:pt x="383" y="3433"/>
                      <a:pt x="24" y="8516"/>
                    </a:cubicBezTo>
                    <a:cubicBezTo>
                      <a:pt x="-335" y="13600"/>
                      <a:pt x="3433" y="18025"/>
                      <a:pt x="8516" y="18384"/>
                    </a:cubicBezTo>
                    <a:close/>
                  </a:path>
                </a:pathLst>
              </a:custGeom>
              <a:grpFill/>
              <a:ln w="5978" cap="flat">
                <a:noFill/>
                <a:prstDash val="solid"/>
                <a:miter/>
              </a:ln>
            </p:spPr>
            <p:txBody>
              <a:bodyPr rtlCol="0" anchor="ctr"/>
              <a:lstStyle/>
              <a:p>
                <a:endParaRPr lang="en-GB"/>
              </a:p>
            </p:txBody>
          </p:sp>
        </p:grpSp>
        <p:grpSp>
          <p:nvGrpSpPr>
            <p:cNvPr id="178" name="Graphic 3">
              <a:extLst>
                <a:ext uri="{FF2B5EF4-FFF2-40B4-BE49-F238E27FC236}">
                  <a16:creationId xmlns:a16="http://schemas.microsoft.com/office/drawing/2014/main" id="{9A7C4972-A720-48E8-B285-22D7A8D61D98}"/>
                </a:ext>
              </a:extLst>
            </p:cNvPr>
            <p:cNvGrpSpPr/>
            <p:nvPr/>
          </p:nvGrpSpPr>
          <p:grpSpPr>
            <a:xfrm>
              <a:off x="7738046" y="3316699"/>
              <a:ext cx="214250" cy="27890"/>
              <a:chOff x="7738046" y="3316699"/>
              <a:chExt cx="214250" cy="27890"/>
            </a:xfrm>
            <a:grpFill/>
          </p:grpSpPr>
          <p:sp>
            <p:nvSpPr>
              <p:cNvPr id="4845" name="Vrije vorm: vorm 4844">
                <a:extLst>
                  <a:ext uri="{FF2B5EF4-FFF2-40B4-BE49-F238E27FC236}">
                    <a16:creationId xmlns:a16="http://schemas.microsoft.com/office/drawing/2014/main" id="{48704B92-8660-4E9A-B843-468C67BF24DD}"/>
                  </a:ext>
                </a:extLst>
              </p:cNvPr>
              <p:cNvSpPr/>
              <p:nvPr/>
            </p:nvSpPr>
            <p:spPr>
              <a:xfrm>
                <a:off x="7746669" y="3324364"/>
                <a:ext cx="197005" cy="12559"/>
              </a:xfrm>
              <a:custGeom>
                <a:avLst/>
                <a:gdLst>
                  <a:gd name="connsiteX0" fmla="*/ 196886 w 197005"/>
                  <a:gd name="connsiteY0" fmla="*/ 0 h 12559"/>
                  <a:gd name="connsiteX1" fmla="*/ 197005 w 197005"/>
                  <a:gd name="connsiteY1" fmla="*/ 3050 h 12559"/>
                  <a:gd name="connsiteX2" fmla="*/ 180 w 197005"/>
                  <a:gd name="connsiteY2" fmla="*/ 12559 h 12559"/>
                  <a:gd name="connsiteX3" fmla="*/ 0 w 197005"/>
                  <a:gd name="connsiteY3" fmla="*/ 9509 h 12559"/>
                </a:gdLst>
                <a:ahLst/>
                <a:cxnLst>
                  <a:cxn ang="0">
                    <a:pos x="connsiteX0" y="connsiteY0"/>
                  </a:cxn>
                  <a:cxn ang="0">
                    <a:pos x="connsiteX1" y="connsiteY1"/>
                  </a:cxn>
                  <a:cxn ang="0">
                    <a:pos x="connsiteX2" y="connsiteY2"/>
                  </a:cxn>
                  <a:cxn ang="0">
                    <a:pos x="connsiteX3" y="connsiteY3"/>
                  </a:cxn>
                </a:cxnLst>
                <a:rect l="l" t="t" r="r" b="b"/>
                <a:pathLst>
                  <a:path w="197005" h="12559">
                    <a:moveTo>
                      <a:pt x="196886" y="0"/>
                    </a:moveTo>
                    <a:lnTo>
                      <a:pt x="197005" y="3050"/>
                    </a:lnTo>
                    <a:lnTo>
                      <a:pt x="180" y="12559"/>
                    </a:lnTo>
                    <a:lnTo>
                      <a:pt x="0" y="9509"/>
                    </a:lnTo>
                    <a:close/>
                  </a:path>
                </a:pathLst>
              </a:custGeom>
              <a:grpFill/>
              <a:ln w="5978" cap="flat">
                <a:noFill/>
                <a:prstDash val="solid"/>
                <a:miter/>
              </a:ln>
            </p:spPr>
            <p:txBody>
              <a:bodyPr rtlCol="0" anchor="ctr"/>
              <a:lstStyle/>
              <a:p>
                <a:endParaRPr lang="en-GB"/>
              </a:p>
            </p:txBody>
          </p:sp>
          <p:sp>
            <p:nvSpPr>
              <p:cNvPr id="4846" name="Vrije vorm: vorm 4845">
                <a:extLst>
                  <a:ext uri="{FF2B5EF4-FFF2-40B4-BE49-F238E27FC236}">
                    <a16:creationId xmlns:a16="http://schemas.microsoft.com/office/drawing/2014/main" id="{1729D869-C956-4D63-9B0C-9C0E5055B24F}"/>
                  </a:ext>
                </a:extLst>
              </p:cNvPr>
              <p:cNvSpPr/>
              <p:nvPr/>
            </p:nvSpPr>
            <p:spPr>
              <a:xfrm>
                <a:off x="7933975" y="3316699"/>
                <a:ext cx="18321" cy="18381"/>
              </a:xfrm>
              <a:custGeom>
                <a:avLst/>
                <a:gdLst>
                  <a:gd name="connsiteX0" fmla="*/ 8682 w 18321"/>
                  <a:gd name="connsiteY0" fmla="*/ 10 h 18381"/>
                  <a:gd name="connsiteX1" fmla="*/ 18311 w 18321"/>
                  <a:gd name="connsiteY1" fmla="*/ 8742 h 18381"/>
                  <a:gd name="connsiteX2" fmla="*/ 9639 w 18321"/>
                  <a:gd name="connsiteY2" fmla="*/ 18371 h 18381"/>
                  <a:gd name="connsiteX3" fmla="*/ 10 w 18321"/>
                  <a:gd name="connsiteY3" fmla="*/ 9639 h 18381"/>
                  <a:gd name="connsiteX4" fmla="*/ 8682 w 18321"/>
                  <a:gd name="connsiteY4" fmla="*/ 10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8682" y="10"/>
                    </a:moveTo>
                    <a:cubicBezTo>
                      <a:pt x="13766" y="-229"/>
                      <a:pt x="18072" y="3659"/>
                      <a:pt x="18311" y="8742"/>
                    </a:cubicBezTo>
                    <a:cubicBezTo>
                      <a:pt x="18551" y="13826"/>
                      <a:pt x="14663" y="18132"/>
                      <a:pt x="9639" y="18371"/>
                    </a:cubicBezTo>
                    <a:cubicBezTo>
                      <a:pt x="4616" y="18610"/>
                      <a:pt x="250" y="14723"/>
                      <a:pt x="10" y="9639"/>
                    </a:cubicBezTo>
                    <a:cubicBezTo>
                      <a:pt x="-229" y="4556"/>
                      <a:pt x="3659" y="250"/>
                      <a:pt x="8682" y="10"/>
                    </a:cubicBezTo>
                    <a:close/>
                  </a:path>
                </a:pathLst>
              </a:custGeom>
              <a:grpFill/>
              <a:ln w="5978" cap="flat">
                <a:noFill/>
                <a:prstDash val="solid"/>
                <a:miter/>
              </a:ln>
            </p:spPr>
            <p:txBody>
              <a:bodyPr rtlCol="0" anchor="ctr"/>
              <a:lstStyle/>
              <a:p>
                <a:endParaRPr lang="en-GB"/>
              </a:p>
            </p:txBody>
          </p:sp>
          <p:sp>
            <p:nvSpPr>
              <p:cNvPr id="4847" name="Vrije vorm: vorm 4846">
                <a:extLst>
                  <a:ext uri="{FF2B5EF4-FFF2-40B4-BE49-F238E27FC236}">
                    <a16:creationId xmlns:a16="http://schemas.microsoft.com/office/drawing/2014/main" id="{B9B29AAB-831C-4292-B0B4-684DCBF5805B}"/>
                  </a:ext>
                </a:extLst>
              </p:cNvPr>
              <p:cNvSpPr/>
              <p:nvPr/>
            </p:nvSpPr>
            <p:spPr>
              <a:xfrm>
                <a:off x="7738046" y="3326148"/>
                <a:ext cx="18321" cy="18441"/>
              </a:xfrm>
              <a:custGeom>
                <a:avLst/>
                <a:gdLst>
                  <a:gd name="connsiteX0" fmla="*/ 8682 w 18321"/>
                  <a:gd name="connsiteY0" fmla="*/ 10 h 18441"/>
                  <a:gd name="connsiteX1" fmla="*/ 11 w 18321"/>
                  <a:gd name="connsiteY1" fmla="*/ 9639 h 18441"/>
                  <a:gd name="connsiteX2" fmla="*/ 9640 w 18321"/>
                  <a:gd name="connsiteY2" fmla="*/ 18431 h 18441"/>
                  <a:gd name="connsiteX3" fmla="*/ 18311 w 18321"/>
                  <a:gd name="connsiteY3" fmla="*/ 8802 h 18441"/>
                  <a:gd name="connsiteX4" fmla="*/ 8682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8682" y="10"/>
                    </a:moveTo>
                    <a:cubicBezTo>
                      <a:pt x="3599" y="250"/>
                      <a:pt x="-229" y="4556"/>
                      <a:pt x="11" y="9639"/>
                    </a:cubicBezTo>
                    <a:cubicBezTo>
                      <a:pt x="250" y="14723"/>
                      <a:pt x="4556" y="18670"/>
                      <a:pt x="9640" y="18431"/>
                    </a:cubicBezTo>
                    <a:cubicBezTo>
                      <a:pt x="14723" y="18192"/>
                      <a:pt x="18551" y="13886"/>
                      <a:pt x="18311" y="8802"/>
                    </a:cubicBezTo>
                    <a:cubicBezTo>
                      <a:pt x="18073" y="3718"/>
                      <a:pt x="13767" y="-229"/>
                      <a:pt x="8682" y="10"/>
                    </a:cubicBezTo>
                    <a:close/>
                  </a:path>
                </a:pathLst>
              </a:custGeom>
              <a:grpFill/>
              <a:ln w="5978" cap="flat">
                <a:noFill/>
                <a:prstDash val="solid"/>
                <a:miter/>
              </a:ln>
            </p:spPr>
            <p:txBody>
              <a:bodyPr rtlCol="0" anchor="ctr"/>
              <a:lstStyle/>
              <a:p>
                <a:endParaRPr lang="en-GB"/>
              </a:p>
            </p:txBody>
          </p:sp>
        </p:grpSp>
        <p:grpSp>
          <p:nvGrpSpPr>
            <p:cNvPr id="179" name="Graphic 3">
              <a:extLst>
                <a:ext uri="{FF2B5EF4-FFF2-40B4-BE49-F238E27FC236}">
                  <a16:creationId xmlns:a16="http://schemas.microsoft.com/office/drawing/2014/main" id="{174286EE-C99B-40FC-A0D9-46FD3FCBC7C3}"/>
                </a:ext>
              </a:extLst>
            </p:cNvPr>
            <p:cNvGrpSpPr/>
            <p:nvPr/>
          </p:nvGrpSpPr>
          <p:grpSpPr>
            <a:xfrm>
              <a:off x="7104085" y="1601491"/>
              <a:ext cx="473584" cy="514176"/>
              <a:chOff x="7104085" y="1601491"/>
              <a:chExt cx="473584" cy="514176"/>
            </a:xfrm>
            <a:grpFill/>
          </p:grpSpPr>
          <p:sp>
            <p:nvSpPr>
              <p:cNvPr id="4842" name="Vrije vorm: vorm 4841">
                <a:extLst>
                  <a:ext uri="{FF2B5EF4-FFF2-40B4-BE49-F238E27FC236}">
                    <a16:creationId xmlns:a16="http://schemas.microsoft.com/office/drawing/2014/main" id="{77AF7B81-E3BA-4F45-A037-85949EDC2636}"/>
                  </a:ext>
                </a:extLst>
              </p:cNvPr>
              <p:cNvSpPr/>
              <p:nvPr/>
            </p:nvSpPr>
            <p:spPr>
              <a:xfrm>
                <a:off x="7111816" y="1609333"/>
                <a:ext cx="458123" cy="498493"/>
              </a:xfrm>
              <a:custGeom>
                <a:avLst/>
                <a:gdLst>
                  <a:gd name="connsiteX0" fmla="*/ 458123 w 458123"/>
                  <a:gd name="connsiteY0" fmla="*/ 2093 h 498493"/>
                  <a:gd name="connsiteX1" fmla="*/ 2213 w 458123"/>
                  <a:gd name="connsiteY1" fmla="*/ 498493 h 498493"/>
                  <a:gd name="connsiteX2" fmla="*/ 0 w 458123"/>
                  <a:gd name="connsiteY2" fmla="*/ 496400 h 498493"/>
                  <a:gd name="connsiteX3" fmla="*/ 455850 w 458123"/>
                  <a:gd name="connsiteY3" fmla="*/ 0 h 498493"/>
                </a:gdLst>
                <a:ahLst/>
                <a:cxnLst>
                  <a:cxn ang="0">
                    <a:pos x="connsiteX0" y="connsiteY0"/>
                  </a:cxn>
                  <a:cxn ang="0">
                    <a:pos x="connsiteX1" y="connsiteY1"/>
                  </a:cxn>
                  <a:cxn ang="0">
                    <a:pos x="connsiteX2" y="connsiteY2"/>
                  </a:cxn>
                  <a:cxn ang="0">
                    <a:pos x="connsiteX3" y="connsiteY3"/>
                  </a:cxn>
                </a:cxnLst>
                <a:rect l="l" t="t" r="r" b="b"/>
                <a:pathLst>
                  <a:path w="458123" h="498493">
                    <a:moveTo>
                      <a:pt x="458123" y="2093"/>
                    </a:moveTo>
                    <a:lnTo>
                      <a:pt x="2213" y="498493"/>
                    </a:lnTo>
                    <a:lnTo>
                      <a:pt x="0" y="496400"/>
                    </a:lnTo>
                    <a:lnTo>
                      <a:pt x="455850" y="0"/>
                    </a:lnTo>
                    <a:close/>
                  </a:path>
                </a:pathLst>
              </a:custGeom>
              <a:grpFill/>
              <a:ln w="5978" cap="flat">
                <a:noFill/>
                <a:prstDash val="solid"/>
                <a:miter/>
              </a:ln>
            </p:spPr>
            <p:txBody>
              <a:bodyPr rtlCol="0" anchor="ctr"/>
              <a:lstStyle/>
              <a:p>
                <a:endParaRPr lang="en-GB"/>
              </a:p>
            </p:txBody>
          </p:sp>
          <p:sp>
            <p:nvSpPr>
              <p:cNvPr id="4843" name="Vrije vorm: vorm 4842">
                <a:extLst>
                  <a:ext uri="{FF2B5EF4-FFF2-40B4-BE49-F238E27FC236}">
                    <a16:creationId xmlns:a16="http://schemas.microsoft.com/office/drawing/2014/main" id="{A50A85A8-75E6-4AE6-A709-7D973AC234FF}"/>
                  </a:ext>
                </a:extLst>
              </p:cNvPr>
              <p:cNvSpPr/>
              <p:nvPr/>
            </p:nvSpPr>
            <p:spPr>
              <a:xfrm>
                <a:off x="7104085" y="2097233"/>
                <a:ext cx="18331" cy="18434"/>
              </a:xfrm>
              <a:custGeom>
                <a:avLst/>
                <a:gdLst>
                  <a:gd name="connsiteX0" fmla="*/ 15924 w 18331"/>
                  <a:gd name="connsiteY0" fmla="*/ 15497 h 18434"/>
                  <a:gd name="connsiteX1" fmla="*/ 2946 w 18331"/>
                  <a:gd name="connsiteY1" fmla="*/ 15975 h 18434"/>
                  <a:gd name="connsiteX2" fmla="*/ 2408 w 18331"/>
                  <a:gd name="connsiteY2" fmla="*/ 2937 h 18434"/>
                  <a:gd name="connsiteX3" fmla="*/ 15386 w 18331"/>
                  <a:gd name="connsiteY3" fmla="*/ 2459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2515" y="19205"/>
                      <a:pt x="6714" y="19444"/>
                      <a:pt x="2946" y="15975"/>
                    </a:cubicBezTo>
                    <a:cubicBezTo>
                      <a:pt x="-762" y="12506"/>
                      <a:pt x="-1001" y="6705"/>
                      <a:pt x="2408" y="2937"/>
                    </a:cubicBezTo>
                    <a:cubicBezTo>
                      <a:pt x="5817" y="-771"/>
                      <a:pt x="11618" y="-1010"/>
                      <a:pt x="15386" y="2459"/>
                    </a:cubicBezTo>
                    <a:cubicBezTo>
                      <a:pt x="19094" y="5928"/>
                      <a:pt x="19333" y="11789"/>
                      <a:pt x="15924" y="15497"/>
                    </a:cubicBezTo>
                    <a:close/>
                  </a:path>
                </a:pathLst>
              </a:custGeom>
              <a:grpFill/>
              <a:ln w="5978" cap="flat">
                <a:noFill/>
                <a:prstDash val="solid"/>
                <a:miter/>
              </a:ln>
            </p:spPr>
            <p:txBody>
              <a:bodyPr rtlCol="0" anchor="ctr"/>
              <a:lstStyle/>
              <a:p>
                <a:endParaRPr lang="en-GB"/>
              </a:p>
            </p:txBody>
          </p:sp>
          <p:sp>
            <p:nvSpPr>
              <p:cNvPr id="4844" name="Vrije vorm: vorm 4843">
                <a:extLst>
                  <a:ext uri="{FF2B5EF4-FFF2-40B4-BE49-F238E27FC236}">
                    <a16:creationId xmlns:a16="http://schemas.microsoft.com/office/drawing/2014/main" id="{41DAE1D8-E287-4201-84D6-FA8C9F2FCD5D}"/>
                  </a:ext>
                </a:extLst>
              </p:cNvPr>
              <p:cNvSpPr/>
              <p:nvPr/>
            </p:nvSpPr>
            <p:spPr>
              <a:xfrm>
                <a:off x="7559338" y="1601491"/>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7" y="-771"/>
                      <a:pt x="2408" y="2937"/>
                    </a:cubicBezTo>
                    <a:cubicBezTo>
                      <a:pt x="-1001" y="6645"/>
                      <a:pt x="-762" y="12506"/>
                      <a:pt x="2946" y="15975"/>
                    </a:cubicBezTo>
                    <a:cubicBezTo>
                      <a:pt x="6714" y="19444"/>
                      <a:pt x="12515" y="19205"/>
                      <a:pt x="15924" y="15497"/>
                    </a:cubicBezTo>
                    <a:close/>
                  </a:path>
                </a:pathLst>
              </a:custGeom>
              <a:grpFill/>
              <a:ln w="5978" cap="flat">
                <a:noFill/>
                <a:prstDash val="solid"/>
                <a:miter/>
              </a:ln>
            </p:spPr>
            <p:txBody>
              <a:bodyPr rtlCol="0" anchor="ctr"/>
              <a:lstStyle/>
              <a:p>
                <a:endParaRPr lang="en-GB"/>
              </a:p>
            </p:txBody>
          </p:sp>
        </p:grpSp>
        <p:grpSp>
          <p:nvGrpSpPr>
            <p:cNvPr id="180" name="Graphic 3">
              <a:extLst>
                <a:ext uri="{FF2B5EF4-FFF2-40B4-BE49-F238E27FC236}">
                  <a16:creationId xmlns:a16="http://schemas.microsoft.com/office/drawing/2014/main" id="{1274F32B-B1B4-4468-A43B-F5D9CFFFF94B}"/>
                </a:ext>
              </a:extLst>
            </p:cNvPr>
            <p:cNvGrpSpPr/>
            <p:nvPr/>
          </p:nvGrpSpPr>
          <p:grpSpPr>
            <a:xfrm>
              <a:off x="7677815" y="2967563"/>
              <a:ext cx="78378" cy="34069"/>
              <a:chOff x="7677815" y="2967563"/>
              <a:chExt cx="78378" cy="34069"/>
            </a:xfrm>
            <a:grpFill/>
          </p:grpSpPr>
          <p:sp>
            <p:nvSpPr>
              <p:cNvPr id="4839" name="Vrije vorm: vorm 4838">
                <a:extLst>
                  <a:ext uri="{FF2B5EF4-FFF2-40B4-BE49-F238E27FC236}">
                    <a16:creationId xmlns:a16="http://schemas.microsoft.com/office/drawing/2014/main" id="{DC982B46-24EC-4DC2-8B81-5B8D5BE31DE3}"/>
                  </a:ext>
                </a:extLst>
              </p:cNvPr>
              <p:cNvSpPr/>
              <p:nvPr/>
            </p:nvSpPr>
            <p:spPr>
              <a:xfrm>
                <a:off x="7686095" y="2975423"/>
                <a:ext cx="61711" cy="18828"/>
              </a:xfrm>
              <a:custGeom>
                <a:avLst/>
                <a:gdLst>
                  <a:gd name="connsiteX0" fmla="*/ 0 w 61711"/>
                  <a:gd name="connsiteY0" fmla="*/ 15877 h 18828"/>
                  <a:gd name="connsiteX1" fmla="*/ 60943 w 61711"/>
                  <a:gd name="connsiteY1" fmla="*/ 0 h 18828"/>
                  <a:gd name="connsiteX2" fmla="*/ 61712 w 61711"/>
                  <a:gd name="connsiteY2" fmla="*/ 2952 h 18828"/>
                  <a:gd name="connsiteX3" fmla="*/ 769 w 61711"/>
                  <a:gd name="connsiteY3" fmla="*/ 18828 h 18828"/>
                </a:gdLst>
                <a:ahLst/>
                <a:cxnLst>
                  <a:cxn ang="0">
                    <a:pos x="connsiteX0" y="connsiteY0"/>
                  </a:cxn>
                  <a:cxn ang="0">
                    <a:pos x="connsiteX1" y="connsiteY1"/>
                  </a:cxn>
                  <a:cxn ang="0">
                    <a:pos x="connsiteX2" y="connsiteY2"/>
                  </a:cxn>
                  <a:cxn ang="0">
                    <a:pos x="connsiteX3" y="connsiteY3"/>
                  </a:cxn>
                </a:cxnLst>
                <a:rect l="l" t="t" r="r" b="b"/>
                <a:pathLst>
                  <a:path w="61711" h="18828">
                    <a:moveTo>
                      <a:pt x="0" y="15877"/>
                    </a:moveTo>
                    <a:lnTo>
                      <a:pt x="60943" y="0"/>
                    </a:lnTo>
                    <a:lnTo>
                      <a:pt x="61712" y="2952"/>
                    </a:lnTo>
                    <a:lnTo>
                      <a:pt x="769" y="18828"/>
                    </a:lnTo>
                    <a:close/>
                  </a:path>
                </a:pathLst>
              </a:custGeom>
              <a:grpFill/>
              <a:ln w="5978" cap="flat">
                <a:noFill/>
                <a:prstDash val="solid"/>
                <a:miter/>
              </a:ln>
            </p:spPr>
            <p:txBody>
              <a:bodyPr rtlCol="0" anchor="ctr"/>
              <a:lstStyle/>
              <a:p>
                <a:endParaRPr lang="en-GB"/>
              </a:p>
            </p:txBody>
          </p:sp>
          <p:sp>
            <p:nvSpPr>
              <p:cNvPr id="4840" name="Vrije vorm: vorm 4839">
                <a:extLst>
                  <a:ext uri="{FF2B5EF4-FFF2-40B4-BE49-F238E27FC236}">
                    <a16:creationId xmlns:a16="http://schemas.microsoft.com/office/drawing/2014/main" id="{E3F281A7-4154-49D8-89D5-9A50391562E8}"/>
                  </a:ext>
                </a:extLst>
              </p:cNvPr>
              <p:cNvSpPr/>
              <p:nvPr/>
            </p:nvSpPr>
            <p:spPr>
              <a:xfrm>
                <a:off x="7737886" y="2967563"/>
                <a:ext cx="18308" cy="18483"/>
              </a:xfrm>
              <a:custGeom>
                <a:avLst/>
                <a:gdLst>
                  <a:gd name="connsiteX0" fmla="*/ 6810 w 18308"/>
                  <a:gd name="connsiteY0" fmla="*/ 290 h 18483"/>
                  <a:gd name="connsiteX1" fmla="*/ 17994 w 18308"/>
                  <a:gd name="connsiteY1" fmla="*/ 6929 h 18483"/>
                  <a:gd name="connsiteX2" fmla="*/ 11475 w 18308"/>
                  <a:gd name="connsiteY2" fmla="*/ 18173 h 18483"/>
                  <a:gd name="connsiteX3" fmla="*/ 291 w 18308"/>
                  <a:gd name="connsiteY3" fmla="*/ 11534 h 18483"/>
                  <a:gd name="connsiteX4" fmla="*/ 6810 w 18308"/>
                  <a:gd name="connsiteY4" fmla="*/ 290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83">
                    <a:moveTo>
                      <a:pt x="6810" y="290"/>
                    </a:moveTo>
                    <a:cubicBezTo>
                      <a:pt x="11714" y="-966"/>
                      <a:pt x="16738" y="1965"/>
                      <a:pt x="17994" y="6929"/>
                    </a:cubicBezTo>
                    <a:cubicBezTo>
                      <a:pt x="19309" y="11833"/>
                      <a:pt x="16379" y="16857"/>
                      <a:pt x="11475" y="18173"/>
                    </a:cubicBezTo>
                    <a:cubicBezTo>
                      <a:pt x="6570" y="19488"/>
                      <a:pt x="1547" y="16498"/>
                      <a:pt x="291" y="11534"/>
                    </a:cubicBezTo>
                    <a:cubicBezTo>
                      <a:pt x="-966" y="6570"/>
                      <a:pt x="1966" y="1546"/>
                      <a:pt x="6810" y="290"/>
                    </a:cubicBezTo>
                    <a:close/>
                  </a:path>
                </a:pathLst>
              </a:custGeom>
              <a:grpFill/>
              <a:ln w="5978" cap="flat">
                <a:noFill/>
                <a:prstDash val="solid"/>
                <a:miter/>
              </a:ln>
            </p:spPr>
            <p:txBody>
              <a:bodyPr rtlCol="0" anchor="ctr"/>
              <a:lstStyle/>
              <a:p>
                <a:endParaRPr lang="en-GB"/>
              </a:p>
            </p:txBody>
          </p:sp>
          <p:sp>
            <p:nvSpPr>
              <p:cNvPr id="4841" name="Vrije vorm: vorm 4840">
                <a:extLst>
                  <a:ext uri="{FF2B5EF4-FFF2-40B4-BE49-F238E27FC236}">
                    <a16:creationId xmlns:a16="http://schemas.microsoft.com/office/drawing/2014/main" id="{20C08FBC-899B-4731-9BD0-25B80E30D5B2}"/>
                  </a:ext>
                </a:extLst>
              </p:cNvPr>
              <p:cNvSpPr/>
              <p:nvPr/>
            </p:nvSpPr>
            <p:spPr>
              <a:xfrm>
                <a:off x="7677815" y="2983173"/>
                <a:ext cx="18332" cy="18459"/>
              </a:xfrm>
              <a:custGeom>
                <a:avLst/>
                <a:gdLst>
                  <a:gd name="connsiteX0" fmla="*/ 6834 w 18332"/>
                  <a:gd name="connsiteY0" fmla="*/ 290 h 18459"/>
                  <a:gd name="connsiteX1" fmla="*/ 315 w 18332"/>
                  <a:gd name="connsiteY1" fmla="*/ 11534 h 18459"/>
                  <a:gd name="connsiteX2" fmla="*/ 11499 w 18332"/>
                  <a:gd name="connsiteY2" fmla="*/ 18173 h 18459"/>
                  <a:gd name="connsiteX3" fmla="*/ 18017 w 18332"/>
                  <a:gd name="connsiteY3" fmla="*/ 6929 h 18459"/>
                  <a:gd name="connsiteX4" fmla="*/ 6834 w 18332"/>
                  <a:gd name="connsiteY4" fmla="*/ 290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9">
                    <a:moveTo>
                      <a:pt x="6834" y="290"/>
                    </a:moveTo>
                    <a:cubicBezTo>
                      <a:pt x="1930" y="1546"/>
                      <a:pt x="-1001" y="6570"/>
                      <a:pt x="315" y="11534"/>
                    </a:cubicBezTo>
                    <a:cubicBezTo>
                      <a:pt x="1570" y="16438"/>
                      <a:pt x="6595" y="19429"/>
                      <a:pt x="11499" y="18173"/>
                    </a:cubicBezTo>
                    <a:cubicBezTo>
                      <a:pt x="16403" y="16917"/>
                      <a:pt x="19334" y="11893"/>
                      <a:pt x="18017" y="6929"/>
                    </a:cubicBezTo>
                    <a:cubicBezTo>
                      <a:pt x="16702" y="1965"/>
                      <a:pt x="11738" y="-966"/>
                      <a:pt x="6834" y="290"/>
                    </a:cubicBezTo>
                    <a:close/>
                  </a:path>
                </a:pathLst>
              </a:custGeom>
              <a:grpFill/>
              <a:ln w="5978" cap="flat">
                <a:noFill/>
                <a:prstDash val="solid"/>
                <a:miter/>
              </a:ln>
            </p:spPr>
            <p:txBody>
              <a:bodyPr rtlCol="0" anchor="ctr"/>
              <a:lstStyle/>
              <a:p>
                <a:endParaRPr lang="en-GB"/>
              </a:p>
            </p:txBody>
          </p:sp>
        </p:grpSp>
        <p:grpSp>
          <p:nvGrpSpPr>
            <p:cNvPr id="181" name="Graphic 3">
              <a:extLst>
                <a:ext uri="{FF2B5EF4-FFF2-40B4-BE49-F238E27FC236}">
                  <a16:creationId xmlns:a16="http://schemas.microsoft.com/office/drawing/2014/main" id="{B27E7A0C-D3C8-4286-B458-9CAA722BE5CE}"/>
                </a:ext>
              </a:extLst>
            </p:cNvPr>
            <p:cNvGrpSpPr/>
            <p:nvPr/>
          </p:nvGrpSpPr>
          <p:grpSpPr>
            <a:xfrm>
              <a:off x="7534393" y="2584841"/>
              <a:ext cx="111580" cy="66949"/>
              <a:chOff x="7534393" y="2584841"/>
              <a:chExt cx="111580" cy="66949"/>
            </a:xfrm>
            <a:grpFill/>
          </p:grpSpPr>
          <p:sp>
            <p:nvSpPr>
              <p:cNvPr id="4836" name="Vrije vorm: vorm 4835">
                <a:extLst>
                  <a:ext uri="{FF2B5EF4-FFF2-40B4-BE49-F238E27FC236}">
                    <a16:creationId xmlns:a16="http://schemas.microsoft.com/office/drawing/2014/main" id="{8DFD8C76-258C-433A-9E49-9E26DEDDE30A}"/>
                  </a:ext>
                </a:extLst>
              </p:cNvPr>
              <p:cNvSpPr/>
              <p:nvPr/>
            </p:nvSpPr>
            <p:spPr>
              <a:xfrm>
                <a:off x="7542428" y="2592503"/>
                <a:ext cx="95452" cy="51673"/>
              </a:xfrm>
              <a:custGeom>
                <a:avLst/>
                <a:gdLst>
                  <a:gd name="connsiteX0" fmla="*/ 95452 w 95452"/>
                  <a:gd name="connsiteY0" fmla="*/ 2691 h 51673"/>
                  <a:gd name="connsiteX1" fmla="*/ 1435 w 95452"/>
                  <a:gd name="connsiteY1" fmla="*/ 51674 h 51673"/>
                  <a:gd name="connsiteX2" fmla="*/ 0 w 95452"/>
                  <a:gd name="connsiteY2" fmla="*/ 48922 h 51673"/>
                  <a:gd name="connsiteX3" fmla="*/ 94017 w 95452"/>
                  <a:gd name="connsiteY3" fmla="*/ 0 h 51673"/>
                </a:gdLst>
                <a:ahLst/>
                <a:cxnLst>
                  <a:cxn ang="0">
                    <a:pos x="connsiteX0" y="connsiteY0"/>
                  </a:cxn>
                  <a:cxn ang="0">
                    <a:pos x="connsiteX1" y="connsiteY1"/>
                  </a:cxn>
                  <a:cxn ang="0">
                    <a:pos x="connsiteX2" y="connsiteY2"/>
                  </a:cxn>
                  <a:cxn ang="0">
                    <a:pos x="connsiteX3" y="connsiteY3"/>
                  </a:cxn>
                </a:cxnLst>
                <a:rect l="l" t="t" r="r" b="b"/>
                <a:pathLst>
                  <a:path w="95452" h="51673">
                    <a:moveTo>
                      <a:pt x="95452" y="2691"/>
                    </a:moveTo>
                    <a:lnTo>
                      <a:pt x="1435" y="51674"/>
                    </a:lnTo>
                    <a:lnTo>
                      <a:pt x="0" y="48922"/>
                    </a:lnTo>
                    <a:lnTo>
                      <a:pt x="94017" y="0"/>
                    </a:lnTo>
                    <a:close/>
                  </a:path>
                </a:pathLst>
              </a:custGeom>
              <a:grpFill/>
              <a:ln w="5978" cap="flat">
                <a:noFill/>
                <a:prstDash val="solid"/>
                <a:miter/>
              </a:ln>
            </p:spPr>
            <p:txBody>
              <a:bodyPr rtlCol="0" anchor="ctr"/>
              <a:lstStyle/>
              <a:p>
                <a:endParaRPr lang="en-GB"/>
              </a:p>
            </p:txBody>
          </p:sp>
          <p:sp>
            <p:nvSpPr>
              <p:cNvPr id="4837" name="Vrije vorm: vorm 4836">
                <a:extLst>
                  <a:ext uri="{FF2B5EF4-FFF2-40B4-BE49-F238E27FC236}">
                    <a16:creationId xmlns:a16="http://schemas.microsoft.com/office/drawing/2014/main" id="{12F90899-29AB-4605-8676-9CF03C8630E4}"/>
                  </a:ext>
                </a:extLst>
              </p:cNvPr>
              <p:cNvSpPr/>
              <p:nvPr/>
            </p:nvSpPr>
            <p:spPr>
              <a:xfrm>
                <a:off x="7627606" y="2584841"/>
                <a:ext cx="18367" cy="18434"/>
              </a:xfrm>
              <a:custGeom>
                <a:avLst/>
                <a:gdLst>
                  <a:gd name="connsiteX0" fmla="*/ 4951 w 18367"/>
                  <a:gd name="connsiteY0" fmla="*/ 1024 h 18434"/>
                  <a:gd name="connsiteX1" fmla="*/ 17331 w 18367"/>
                  <a:gd name="connsiteY1" fmla="*/ 4971 h 18434"/>
                  <a:gd name="connsiteX2" fmla="*/ 13444 w 18367"/>
                  <a:gd name="connsiteY2" fmla="*/ 17411 h 18434"/>
                  <a:gd name="connsiteX3" fmla="*/ 1063 w 18367"/>
                  <a:gd name="connsiteY3" fmla="*/ 13464 h 18434"/>
                  <a:gd name="connsiteX4" fmla="*/ 4951 w 18367"/>
                  <a:gd name="connsiteY4" fmla="*/ 102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34">
                    <a:moveTo>
                      <a:pt x="4951" y="1024"/>
                    </a:moveTo>
                    <a:cubicBezTo>
                      <a:pt x="9436" y="-1309"/>
                      <a:pt x="14999" y="486"/>
                      <a:pt x="17331" y="4971"/>
                    </a:cubicBezTo>
                    <a:cubicBezTo>
                      <a:pt x="19663" y="9517"/>
                      <a:pt x="17929" y="15079"/>
                      <a:pt x="13444" y="17411"/>
                    </a:cubicBezTo>
                    <a:cubicBezTo>
                      <a:pt x="8958" y="19744"/>
                      <a:pt x="3396" y="17949"/>
                      <a:pt x="1063" y="13464"/>
                    </a:cubicBezTo>
                    <a:cubicBezTo>
                      <a:pt x="-1329" y="8918"/>
                      <a:pt x="465" y="3356"/>
                      <a:pt x="4951" y="1024"/>
                    </a:cubicBezTo>
                    <a:close/>
                  </a:path>
                </a:pathLst>
              </a:custGeom>
              <a:grpFill/>
              <a:ln w="5978" cap="flat">
                <a:noFill/>
                <a:prstDash val="solid"/>
                <a:miter/>
              </a:ln>
            </p:spPr>
            <p:txBody>
              <a:bodyPr rtlCol="0" anchor="ctr"/>
              <a:lstStyle/>
              <a:p>
                <a:endParaRPr lang="en-GB"/>
              </a:p>
            </p:txBody>
          </p:sp>
          <p:sp>
            <p:nvSpPr>
              <p:cNvPr id="4838" name="Vrije vorm: vorm 4837">
                <a:extLst>
                  <a:ext uri="{FF2B5EF4-FFF2-40B4-BE49-F238E27FC236}">
                    <a16:creationId xmlns:a16="http://schemas.microsoft.com/office/drawing/2014/main" id="{606101C0-13DB-46B0-8D91-0850F88D36B6}"/>
                  </a:ext>
                </a:extLst>
              </p:cNvPr>
              <p:cNvSpPr/>
              <p:nvPr/>
            </p:nvSpPr>
            <p:spPr>
              <a:xfrm>
                <a:off x="7534393" y="2633345"/>
                <a:ext cx="18340" cy="18446"/>
              </a:xfrm>
              <a:custGeom>
                <a:avLst/>
                <a:gdLst>
                  <a:gd name="connsiteX0" fmla="*/ 4924 w 18340"/>
                  <a:gd name="connsiteY0" fmla="*/ 1024 h 18446"/>
                  <a:gd name="connsiteX1" fmla="*/ 1037 w 18340"/>
                  <a:gd name="connsiteY1" fmla="*/ 13464 h 18446"/>
                  <a:gd name="connsiteX2" fmla="*/ 13417 w 18340"/>
                  <a:gd name="connsiteY2" fmla="*/ 17411 h 18446"/>
                  <a:gd name="connsiteX3" fmla="*/ 17304 w 18340"/>
                  <a:gd name="connsiteY3" fmla="*/ 4971 h 18446"/>
                  <a:gd name="connsiteX4" fmla="*/ 4924 w 18340"/>
                  <a:gd name="connsiteY4" fmla="*/ 1024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6">
                    <a:moveTo>
                      <a:pt x="4924" y="1024"/>
                    </a:moveTo>
                    <a:cubicBezTo>
                      <a:pt x="439" y="3356"/>
                      <a:pt x="-1296" y="8918"/>
                      <a:pt x="1037" y="13464"/>
                    </a:cubicBezTo>
                    <a:cubicBezTo>
                      <a:pt x="3369" y="18009"/>
                      <a:pt x="8931" y="19743"/>
                      <a:pt x="13417" y="17411"/>
                    </a:cubicBezTo>
                    <a:cubicBezTo>
                      <a:pt x="17902" y="15079"/>
                      <a:pt x="19637" y="9516"/>
                      <a:pt x="17304" y="4971"/>
                    </a:cubicBezTo>
                    <a:cubicBezTo>
                      <a:pt x="14972" y="486"/>
                      <a:pt x="9410" y="-1309"/>
                      <a:pt x="4924" y="1024"/>
                    </a:cubicBezTo>
                    <a:close/>
                  </a:path>
                </a:pathLst>
              </a:custGeom>
              <a:grpFill/>
              <a:ln w="5978" cap="flat">
                <a:noFill/>
                <a:prstDash val="solid"/>
                <a:miter/>
              </a:ln>
            </p:spPr>
            <p:txBody>
              <a:bodyPr rtlCol="0" anchor="ctr"/>
              <a:lstStyle/>
              <a:p>
                <a:endParaRPr lang="en-GB"/>
              </a:p>
            </p:txBody>
          </p:sp>
        </p:grpSp>
        <p:grpSp>
          <p:nvGrpSpPr>
            <p:cNvPr id="182" name="Graphic 3">
              <a:extLst>
                <a:ext uri="{FF2B5EF4-FFF2-40B4-BE49-F238E27FC236}">
                  <a16:creationId xmlns:a16="http://schemas.microsoft.com/office/drawing/2014/main" id="{1A5D565C-DF02-48B1-9F2E-31BEFBC248D2}"/>
                </a:ext>
              </a:extLst>
            </p:cNvPr>
            <p:cNvGrpSpPr/>
            <p:nvPr/>
          </p:nvGrpSpPr>
          <p:grpSpPr>
            <a:xfrm>
              <a:off x="7719730" y="3547896"/>
              <a:ext cx="385748" cy="85878"/>
              <a:chOff x="7719730" y="3547896"/>
              <a:chExt cx="385748" cy="85878"/>
            </a:xfrm>
            <a:grpFill/>
          </p:grpSpPr>
          <p:sp>
            <p:nvSpPr>
              <p:cNvPr id="4833" name="Vrije vorm: vorm 4832">
                <a:extLst>
                  <a:ext uri="{FF2B5EF4-FFF2-40B4-BE49-F238E27FC236}">
                    <a16:creationId xmlns:a16="http://schemas.microsoft.com/office/drawing/2014/main" id="{0856A85B-3F2C-4D8F-94A7-5205EF5C916E}"/>
                  </a:ext>
                </a:extLst>
              </p:cNvPr>
              <p:cNvSpPr/>
              <p:nvPr/>
            </p:nvSpPr>
            <p:spPr>
              <a:xfrm>
                <a:off x="7728189" y="3555519"/>
                <a:ext cx="368831" cy="70632"/>
              </a:xfrm>
              <a:custGeom>
                <a:avLst/>
                <a:gdLst>
                  <a:gd name="connsiteX0" fmla="*/ 368831 w 368831"/>
                  <a:gd name="connsiteY0" fmla="*/ 67642 h 70632"/>
                  <a:gd name="connsiteX1" fmla="*/ 368293 w 368831"/>
                  <a:gd name="connsiteY1" fmla="*/ 70632 h 70632"/>
                  <a:gd name="connsiteX2" fmla="*/ 0 w 368831"/>
                  <a:gd name="connsiteY2" fmla="*/ 2990 h 70632"/>
                  <a:gd name="connsiteX3" fmla="*/ 538 w 368831"/>
                  <a:gd name="connsiteY3" fmla="*/ 0 h 70632"/>
                </a:gdLst>
                <a:ahLst/>
                <a:cxnLst>
                  <a:cxn ang="0">
                    <a:pos x="connsiteX0" y="connsiteY0"/>
                  </a:cxn>
                  <a:cxn ang="0">
                    <a:pos x="connsiteX1" y="connsiteY1"/>
                  </a:cxn>
                  <a:cxn ang="0">
                    <a:pos x="connsiteX2" y="connsiteY2"/>
                  </a:cxn>
                  <a:cxn ang="0">
                    <a:pos x="connsiteX3" y="connsiteY3"/>
                  </a:cxn>
                </a:cxnLst>
                <a:rect l="l" t="t" r="r" b="b"/>
                <a:pathLst>
                  <a:path w="368831" h="70632">
                    <a:moveTo>
                      <a:pt x="368831" y="67642"/>
                    </a:moveTo>
                    <a:lnTo>
                      <a:pt x="368293" y="70632"/>
                    </a:lnTo>
                    <a:lnTo>
                      <a:pt x="0" y="2990"/>
                    </a:lnTo>
                    <a:lnTo>
                      <a:pt x="538" y="0"/>
                    </a:lnTo>
                    <a:close/>
                  </a:path>
                </a:pathLst>
              </a:custGeom>
              <a:grpFill/>
              <a:ln w="5978" cap="flat">
                <a:noFill/>
                <a:prstDash val="solid"/>
                <a:miter/>
              </a:ln>
            </p:spPr>
            <p:txBody>
              <a:bodyPr rtlCol="0" anchor="ctr"/>
              <a:lstStyle/>
              <a:p>
                <a:endParaRPr lang="en-GB"/>
              </a:p>
            </p:txBody>
          </p:sp>
          <p:sp>
            <p:nvSpPr>
              <p:cNvPr id="4834" name="Vrije vorm: vorm 4833">
                <a:extLst>
                  <a:ext uri="{FF2B5EF4-FFF2-40B4-BE49-F238E27FC236}">
                    <a16:creationId xmlns:a16="http://schemas.microsoft.com/office/drawing/2014/main" id="{958869FA-4512-403A-B107-AEEBCA00FF48}"/>
                  </a:ext>
                </a:extLst>
              </p:cNvPr>
              <p:cNvSpPr/>
              <p:nvPr/>
            </p:nvSpPr>
            <p:spPr>
              <a:xfrm>
                <a:off x="7719730" y="3547896"/>
                <a:ext cx="18352" cy="18416"/>
              </a:xfrm>
              <a:custGeom>
                <a:avLst/>
                <a:gdLst>
                  <a:gd name="connsiteX0" fmla="*/ 7561 w 18352"/>
                  <a:gd name="connsiteY0" fmla="*/ 18269 h 18416"/>
                  <a:gd name="connsiteX1" fmla="*/ 145 w 18352"/>
                  <a:gd name="connsiteY1" fmla="*/ 7563 h 18416"/>
                  <a:gd name="connsiteX2" fmla="*/ 10791 w 18352"/>
                  <a:gd name="connsiteY2" fmla="*/ 147 h 18416"/>
                  <a:gd name="connsiteX3" fmla="*/ 18207 w 18352"/>
                  <a:gd name="connsiteY3" fmla="*/ 10853 h 18416"/>
                  <a:gd name="connsiteX4" fmla="*/ 7561 w 18352"/>
                  <a:gd name="connsiteY4" fmla="*/ 18269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6">
                    <a:moveTo>
                      <a:pt x="7561" y="18269"/>
                    </a:moveTo>
                    <a:cubicBezTo>
                      <a:pt x="2598" y="17372"/>
                      <a:pt x="-752" y="12527"/>
                      <a:pt x="145" y="7563"/>
                    </a:cubicBezTo>
                    <a:cubicBezTo>
                      <a:pt x="1043" y="2540"/>
                      <a:pt x="5828" y="-750"/>
                      <a:pt x="10791" y="147"/>
                    </a:cubicBezTo>
                    <a:cubicBezTo>
                      <a:pt x="15755" y="1044"/>
                      <a:pt x="19105" y="5889"/>
                      <a:pt x="18207" y="10853"/>
                    </a:cubicBezTo>
                    <a:cubicBezTo>
                      <a:pt x="17310" y="15877"/>
                      <a:pt x="12586" y="19166"/>
                      <a:pt x="7561" y="18269"/>
                    </a:cubicBezTo>
                    <a:close/>
                  </a:path>
                </a:pathLst>
              </a:custGeom>
              <a:grpFill/>
              <a:ln w="5978" cap="flat">
                <a:noFill/>
                <a:prstDash val="solid"/>
                <a:miter/>
              </a:ln>
            </p:spPr>
            <p:txBody>
              <a:bodyPr rtlCol="0" anchor="ctr"/>
              <a:lstStyle/>
              <a:p>
                <a:endParaRPr lang="en-GB"/>
              </a:p>
            </p:txBody>
          </p:sp>
          <p:sp>
            <p:nvSpPr>
              <p:cNvPr id="4835" name="Vrije vorm: vorm 4834">
                <a:extLst>
                  <a:ext uri="{FF2B5EF4-FFF2-40B4-BE49-F238E27FC236}">
                    <a16:creationId xmlns:a16="http://schemas.microsoft.com/office/drawing/2014/main" id="{51FA47F8-FD91-44AF-BE6C-AA3DBDD7AA4D}"/>
                  </a:ext>
                </a:extLst>
              </p:cNvPr>
              <p:cNvSpPr/>
              <p:nvPr/>
            </p:nvSpPr>
            <p:spPr>
              <a:xfrm>
                <a:off x="8087124" y="3615358"/>
                <a:ext cx="18354" cy="18416"/>
              </a:xfrm>
              <a:custGeom>
                <a:avLst/>
                <a:gdLst>
                  <a:gd name="connsiteX0" fmla="*/ 7563 w 18354"/>
                  <a:gd name="connsiteY0" fmla="*/ 18269 h 18416"/>
                  <a:gd name="connsiteX1" fmla="*/ 18209 w 18354"/>
                  <a:gd name="connsiteY1" fmla="*/ 10853 h 18416"/>
                  <a:gd name="connsiteX2" fmla="*/ 10793 w 18354"/>
                  <a:gd name="connsiteY2" fmla="*/ 147 h 18416"/>
                  <a:gd name="connsiteX3" fmla="*/ 147 w 18354"/>
                  <a:gd name="connsiteY3" fmla="*/ 7563 h 18416"/>
                  <a:gd name="connsiteX4" fmla="*/ 7563 w 18354"/>
                  <a:gd name="connsiteY4" fmla="*/ 18269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6">
                    <a:moveTo>
                      <a:pt x="7563" y="18269"/>
                    </a:moveTo>
                    <a:cubicBezTo>
                      <a:pt x="12527" y="19166"/>
                      <a:pt x="17312" y="15877"/>
                      <a:pt x="18209" y="10853"/>
                    </a:cubicBezTo>
                    <a:cubicBezTo>
                      <a:pt x="19106" y="5829"/>
                      <a:pt x="15757" y="1044"/>
                      <a:pt x="10793" y="147"/>
                    </a:cubicBezTo>
                    <a:cubicBezTo>
                      <a:pt x="5829" y="-750"/>
                      <a:pt x="1045" y="2540"/>
                      <a:pt x="147" y="7563"/>
                    </a:cubicBezTo>
                    <a:cubicBezTo>
                      <a:pt x="-750" y="12527"/>
                      <a:pt x="2540" y="17372"/>
                      <a:pt x="7563" y="18269"/>
                    </a:cubicBezTo>
                    <a:close/>
                  </a:path>
                </a:pathLst>
              </a:custGeom>
              <a:grpFill/>
              <a:ln w="5978" cap="flat">
                <a:noFill/>
                <a:prstDash val="solid"/>
                <a:miter/>
              </a:ln>
            </p:spPr>
            <p:txBody>
              <a:bodyPr rtlCol="0" anchor="ctr"/>
              <a:lstStyle/>
              <a:p>
                <a:endParaRPr lang="en-GB"/>
              </a:p>
            </p:txBody>
          </p:sp>
        </p:grpSp>
        <p:grpSp>
          <p:nvGrpSpPr>
            <p:cNvPr id="183" name="Graphic 3">
              <a:extLst>
                <a:ext uri="{FF2B5EF4-FFF2-40B4-BE49-F238E27FC236}">
                  <a16:creationId xmlns:a16="http://schemas.microsoft.com/office/drawing/2014/main" id="{7A088ECB-DE1B-4190-9FE3-4E70F291ECB9}"/>
                </a:ext>
              </a:extLst>
            </p:cNvPr>
            <p:cNvGrpSpPr/>
            <p:nvPr/>
          </p:nvGrpSpPr>
          <p:grpSpPr>
            <a:xfrm>
              <a:off x="7791867" y="3520097"/>
              <a:ext cx="189621" cy="29457"/>
              <a:chOff x="7791867" y="3520097"/>
              <a:chExt cx="189621" cy="29457"/>
            </a:xfrm>
            <a:grpFill/>
          </p:grpSpPr>
          <p:sp>
            <p:nvSpPr>
              <p:cNvPr id="4830" name="Vrije vorm: vorm 4829">
                <a:extLst>
                  <a:ext uri="{FF2B5EF4-FFF2-40B4-BE49-F238E27FC236}">
                    <a16:creationId xmlns:a16="http://schemas.microsoft.com/office/drawing/2014/main" id="{6DAB7166-2A83-4C04-B2FB-D59ED73D46F7}"/>
                  </a:ext>
                </a:extLst>
              </p:cNvPr>
              <p:cNvSpPr/>
              <p:nvPr/>
            </p:nvSpPr>
            <p:spPr>
              <a:xfrm>
                <a:off x="7800436" y="3527769"/>
                <a:ext cx="172423" cy="14114"/>
              </a:xfrm>
              <a:custGeom>
                <a:avLst/>
                <a:gdLst>
                  <a:gd name="connsiteX0" fmla="*/ 172424 w 172423"/>
                  <a:gd name="connsiteY0" fmla="*/ 11064 h 14114"/>
                  <a:gd name="connsiteX1" fmla="*/ 172185 w 172423"/>
                  <a:gd name="connsiteY1" fmla="*/ 14115 h 14114"/>
                  <a:gd name="connsiteX2" fmla="*/ 0 w 172423"/>
                  <a:gd name="connsiteY2" fmla="*/ 3050 h 14114"/>
                  <a:gd name="connsiteX3" fmla="*/ 179 w 172423"/>
                  <a:gd name="connsiteY3" fmla="*/ 0 h 14114"/>
                </a:gdLst>
                <a:ahLst/>
                <a:cxnLst>
                  <a:cxn ang="0">
                    <a:pos x="connsiteX0" y="connsiteY0"/>
                  </a:cxn>
                  <a:cxn ang="0">
                    <a:pos x="connsiteX1" y="connsiteY1"/>
                  </a:cxn>
                  <a:cxn ang="0">
                    <a:pos x="connsiteX2" y="connsiteY2"/>
                  </a:cxn>
                  <a:cxn ang="0">
                    <a:pos x="connsiteX3" y="connsiteY3"/>
                  </a:cxn>
                </a:cxnLst>
                <a:rect l="l" t="t" r="r" b="b"/>
                <a:pathLst>
                  <a:path w="172423" h="14114">
                    <a:moveTo>
                      <a:pt x="172424" y="11064"/>
                    </a:moveTo>
                    <a:lnTo>
                      <a:pt x="172185" y="14115"/>
                    </a:lnTo>
                    <a:lnTo>
                      <a:pt x="0" y="3050"/>
                    </a:lnTo>
                    <a:lnTo>
                      <a:pt x="179" y="0"/>
                    </a:lnTo>
                    <a:close/>
                  </a:path>
                </a:pathLst>
              </a:custGeom>
              <a:grpFill/>
              <a:ln w="5978" cap="flat">
                <a:noFill/>
                <a:prstDash val="solid"/>
                <a:miter/>
              </a:ln>
            </p:spPr>
            <p:txBody>
              <a:bodyPr rtlCol="0" anchor="ctr"/>
              <a:lstStyle/>
              <a:p>
                <a:endParaRPr lang="en-GB"/>
              </a:p>
            </p:txBody>
          </p:sp>
          <p:sp>
            <p:nvSpPr>
              <p:cNvPr id="4831" name="Vrije vorm: vorm 4830">
                <a:extLst>
                  <a:ext uri="{FF2B5EF4-FFF2-40B4-BE49-F238E27FC236}">
                    <a16:creationId xmlns:a16="http://schemas.microsoft.com/office/drawing/2014/main" id="{C45D5E8A-4BB1-4E41-AB87-C6B342BAEAFA}"/>
                  </a:ext>
                </a:extLst>
              </p:cNvPr>
              <p:cNvSpPr/>
              <p:nvPr/>
            </p:nvSpPr>
            <p:spPr>
              <a:xfrm>
                <a:off x="7963155" y="3531101"/>
                <a:ext cx="18333" cy="18453"/>
              </a:xfrm>
              <a:custGeom>
                <a:avLst/>
                <a:gdLst>
                  <a:gd name="connsiteX0" fmla="*/ 9705 w 18333"/>
                  <a:gd name="connsiteY0" fmla="*/ 16 h 18453"/>
                  <a:gd name="connsiteX1" fmla="*/ 18317 w 18333"/>
                  <a:gd name="connsiteY1" fmla="*/ 9825 h 18453"/>
                  <a:gd name="connsiteX2" fmla="*/ 8628 w 18333"/>
                  <a:gd name="connsiteY2" fmla="*/ 18437 h 18453"/>
                  <a:gd name="connsiteX3" fmla="*/ 16 w 18333"/>
                  <a:gd name="connsiteY3" fmla="*/ 8629 h 18453"/>
                  <a:gd name="connsiteX4" fmla="*/ 9705 w 18333"/>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6"/>
                    </a:moveTo>
                    <a:cubicBezTo>
                      <a:pt x="14729" y="316"/>
                      <a:pt x="18616" y="4741"/>
                      <a:pt x="18317" y="9825"/>
                    </a:cubicBezTo>
                    <a:cubicBezTo>
                      <a:pt x="18018" y="14909"/>
                      <a:pt x="13652" y="18736"/>
                      <a:pt x="8628" y="18437"/>
                    </a:cubicBezTo>
                    <a:cubicBezTo>
                      <a:pt x="3604" y="18138"/>
                      <a:pt x="-283" y="13712"/>
                      <a:pt x="16" y="8629"/>
                    </a:cubicBezTo>
                    <a:cubicBezTo>
                      <a:pt x="256" y="3545"/>
                      <a:pt x="4621" y="-283"/>
                      <a:pt x="9705" y="16"/>
                    </a:cubicBezTo>
                    <a:close/>
                  </a:path>
                </a:pathLst>
              </a:custGeom>
              <a:grpFill/>
              <a:ln w="5978" cap="flat">
                <a:noFill/>
                <a:prstDash val="solid"/>
                <a:miter/>
              </a:ln>
            </p:spPr>
            <p:txBody>
              <a:bodyPr rtlCol="0" anchor="ctr"/>
              <a:lstStyle/>
              <a:p>
                <a:endParaRPr lang="en-GB"/>
              </a:p>
            </p:txBody>
          </p:sp>
          <p:sp>
            <p:nvSpPr>
              <p:cNvPr id="4832" name="Vrije vorm: vorm 4831">
                <a:extLst>
                  <a:ext uri="{FF2B5EF4-FFF2-40B4-BE49-F238E27FC236}">
                    <a16:creationId xmlns:a16="http://schemas.microsoft.com/office/drawing/2014/main" id="{7035C691-BB4F-42B9-826E-0A3D96E131DF}"/>
                  </a:ext>
                </a:extLst>
              </p:cNvPr>
              <p:cNvSpPr/>
              <p:nvPr/>
            </p:nvSpPr>
            <p:spPr>
              <a:xfrm>
                <a:off x="7791867" y="3520097"/>
                <a:ext cx="18333" cy="18453"/>
              </a:xfrm>
              <a:custGeom>
                <a:avLst/>
                <a:gdLst>
                  <a:gd name="connsiteX0" fmla="*/ 9705 w 18333"/>
                  <a:gd name="connsiteY0" fmla="*/ 16 h 18453"/>
                  <a:gd name="connsiteX1" fmla="*/ 16 w 18333"/>
                  <a:gd name="connsiteY1" fmla="*/ 8629 h 18453"/>
                  <a:gd name="connsiteX2" fmla="*/ 8628 w 18333"/>
                  <a:gd name="connsiteY2" fmla="*/ 18437 h 18453"/>
                  <a:gd name="connsiteX3" fmla="*/ 18317 w 18333"/>
                  <a:gd name="connsiteY3" fmla="*/ 9825 h 18453"/>
                  <a:gd name="connsiteX4" fmla="*/ 9705 w 18333"/>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6"/>
                    </a:moveTo>
                    <a:cubicBezTo>
                      <a:pt x="4682" y="-283"/>
                      <a:pt x="316" y="3545"/>
                      <a:pt x="16" y="8629"/>
                    </a:cubicBezTo>
                    <a:cubicBezTo>
                      <a:pt x="-283" y="13712"/>
                      <a:pt x="3545" y="18078"/>
                      <a:pt x="8628" y="18437"/>
                    </a:cubicBezTo>
                    <a:cubicBezTo>
                      <a:pt x="13653" y="18736"/>
                      <a:pt x="18018" y="14909"/>
                      <a:pt x="18317" y="9825"/>
                    </a:cubicBezTo>
                    <a:cubicBezTo>
                      <a:pt x="18616" y="4741"/>
                      <a:pt x="14729" y="375"/>
                      <a:pt x="9705" y="16"/>
                    </a:cubicBezTo>
                    <a:close/>
                  </a:path>
                </a:pathLst>
              </a:custGeom>
              <a:grpFill/>
              <a:ln w="5978" cap="flat">
                <a:noFill/>
                <a:prstDash val="solid"/>
                <a:miter/>
              </a:ln>
            </p:spPr>
            <p:txBody>
              <a:bodyPr rtlCol="0" anchor="ctr"/>
              <a:lstStyle/>
              <a:p>
                <a:endParaRPr lang="en-GB"/>
              </a:p>
            </p:txBody>
          </p:sp>
        </p:grpSp>
        <p:grpSp>
          <p:nvGrpSpPr>
            <p:cNvPr id="184" name="Graphic 3">
              <a:extLst>
                <a:ext uri="{FF2B5EF4-FFF2-40B4-BE49-F238E27FC236}">
                  <a16:creationId xmlns:a16="http://schemas.microsoft.com/office/drawing/2014/main" id="{61DA1FBA-1D45-4B17-A01E-40FDD0BFD484}"/>
                </a:ext>
              </a:extLst>
            </p:cNvPr>
            <p:cNvGrpSpPr/>
            <p:nvPr/>
          </p:nvGrpSpPr>
          <p:grpSpPr>
            <a:xfrm>
              <a:off x="7705710" y="3064734"/>
              <a:ext cx="66264" cy="28002"/>
              <a:chOff x="7705710" y="3064734"/>
              <a:chExt cx="66264" cy="28002"/>
            </a:xfrm>
            <a:grpFill/>
          </p:grpSpPr>
          <p:sp>
            <p:nvSpPr>
              <p:cNvPr id="4827" name="Vrije vorm: vorm 4826">
                <a:extLst>
                  <a:ext uri="{FF2B5EF4-FFF2-40B4-BE49-F238E27FC236}">
                    <a16:creationId xmlns:a16="http://schemas.microsoft.com/office/drawing/2014/main" id="{4BF7FE8B-2CA9-4483-877E-44EE7C1DFEBB}"/>
                  </a:ext>
                </a:extLst>
              </p:cNvPr>
              <p:cNvSpPr/>
              <p:nvPr/>
            </p:nvSpPr>
            <p:spPr>
              <a:xfrm>
                <a:off x="7714134" y="3072337"/>
                <a:ext cx="49460" cy="12798"/>
              </a:xfrm>
              <a:custGeom>
                <a:avLst/>
                <a:gdLst>
                  <a:gd name="connsiteX0" fmla="*/ 48803 w 49460"/>
                  <a:gd name="connsiteY0" fmla="*/ 0 h 12798"/>
                  <a:gd name="connsiteX1" fmla="*/ 49461 w 49460"/>
                  <a:gd name="connsiteY1" fmla="*/ 2990 h 12798"/>
                  <a:gd name="connsiteX2" fmla="*/ 598 w 49460"/>
                  <a:gd name="connsiteY2" fmla="*/ 12799 h 12798"/>
                  <a:gd name="connsiteX3" fmla="*/ 0 w 49460"/>
                  <a:gd name="connsiteY3" fmla="*/ 9808 h 12798"/>
                </a:gdLst>
                <a:ahLst/>
                <a:cxnLst>
                  <a:cxn ang="0">
                    <a:pos x="connsiteX0" y="connsiteY0"/>
                  </a:cxn>
                  <a:cxn ang="0">
                    <a:pos x="connsiteX1" y="connsiteY1"/>
                  </a:cxn>
                  <a:cxn ang="0">
                    <a:pos x="connsiteX2" y="connsiteY2"/>
                  </a:cxn>
                  <a:cxn ang="0">
                    <a:pos x="connsiteX3" y="connsiteY3"/>
                  </a:cxn>
                </a:cxnLst>
                <a:rect l="l" t="t" r="r" b="b"/>
                <a:pathLst>
                  <a:path w="49460" h="12798">
                    <a:moveTo>
                      <a:pt x="48803" y="0"/>
                    </a:moveTo>
                    <a:lnTo>
                      <a:pt x="49461" y="2990"/>
                    </a:lnTo>
                    <a:lnTo>
                      <a:pt x="598" y="12799"/>
                    </a:lnTo>
                    <a:lnTo>
                      <a:pt x="0" y="9808"/>
                    </a:lnTo>
                    <a:close/>
                  </a:path>
                </a:pathLst>
              </a:custGeom>
              <a:grpFill/>
              <a:ln w="5978" cap="flat">
                <a:noFill/>
                <a:prstDash val="solid"/>
                <a:miter/>
              </a:ln>
            </p:spPr>
            <p:txBody>
              <a:bodyPr rtlCol="0" anchor="ctr"/>
              <a:lstStyle/>
              <a:p>
                <a:endParaRPr lang="en-GB"/>
              </a:p>
            </p:txBody>
          </p:sp>
          <p:sp>
            <p:nvSpPr>
              <p:cNvPr id="4828" name="Vrije vorm: vorm 4827">
                <a:extLst>
                  <a:ext uri="{FF2B5EF4-FFF2-40B4-BE49-F238E27FC236}">
                    <a16:creationId xmlns:a16="http://schemas.microsoft.com/office/drawing/2014/main" id="{993FEBEA-D643-4556-B59A-4E6DFA107485}"/>
                  </a:ext>
                </a:extLst>
              </p:cNvPr>
              <p:cNvSpPr/>
              <p:nvPr/>
            </p:nvSpPr>
            <p:spPr>
              <a:xfrm>
                <a:off x="7753602" y="3064734"/>
                <a:ext cx="18373" cy="18435"/>
              </a:xfrm>
              <a:custGeom>
                <a:avLst/>
                <a:gdLst>
                  <a:gd name="connsiteX0" fmla="*/ 7361 w 18373"/>
                  <a:gd name="connsiteY0" fmla="*/ 187 h 18435"/>
                  <a:gd name="connsiteX1" fmla="*/ 18187 w 18373"/>
                  <a:gd name="connsiteY1" fmla="*/ 7424 h 18435"/>
                  <a:gd name="connsiteX2" fmla="*/ 11010 w 18373"/>
                  <a:gd name="connsiteY2" fmla="*/ 18249 h 18435"/>
                  <a:gd name="connsiteX3" fmla="*/ 185 w 18373"/>
                  <a:gd name="connsiteY3" fmla="*/ 11012 h 18435"/>
                  <a:gd name="connsiteX4" fmla="*/ 7361 w 18373"/>
                  <a:gd name="connsiteY4" fmla="*/ 187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35">
                    <a:moveTo>
                      <a:pt x="7361" y="187"/>
                    </a:moveTo>
                    <a:cubicBezTo>
                      <a:pt x="12326" y="-830"/>
                      <a:pt x="17170" y="2400"/>
                      <a:pt x="18187" y="7424"/>
                    </a:cubicBezTo>
                    <a:cubicBezTo>
                      <a:pt x="19203" y="12447"/>
                      <a:pt x="15974" y="17292"/>
                      <a:pt x="11010" y="18249"/>
                    </a:cubicBezTo>
                    <a:cubicBezTo>
                      <a:pt x="6046" y="19266"/>
                      <a:pt x="1202" y="16036"/>
                      <a:pt x="185" y="11012"/>
                    </a:cubicBezTo>
                    <a:cubicBezTo>
                      <a:pt x="-832" y="5988"/>
                      <a:pt x="2458" y="1144"/>
                      <a:pt x="7361" y="187"/>
                    </a:cubicBezTo>
                    <a:close/>
                  </a:path>
                </a:pathLst>
              </a:custGeom>
              <a:grpFill/>
              <a:ln w="5978" cap="flat">
                <a:noFill/>
                <a:prstDash val="solid"/>
                <a:miter/>
              </a:ln>
            </p:spPr>
            <p:txBody>
              <a:bodyPr rtlCol="0" anchor="ctr"/>
              <a:lstStyle/>
              <a:p>
                <a:endParaRPr lang="en-GB"/>
              </a:p>
            </p:txBody>
          </p:sp>
          <p:sp>
            <p:nvSpPr>
              <p:cNvPr id="4829" name="Vrije vorm: vorm 4828">
                <a:extLst>
                  <a:ext uri="{FF2B5EF4-FFF2-40B4-BE49-F238E27FC236}">
                    <a16:creationId xmlns:a16="http://schemas.microsoft.com/office/drawing/2014/main" id="{350F1466-D737-425E-86BA-024982787D7D}"/>
                  </a:ext>
                </a:extLst>
              </p:cNvPr>
              <p:cNvSpPr/>
              <p:nvPr/>
            </p:nvSpPr>
            <p:spPr>
              <a:xfrm>
                <a:off x="7705710" y="3074322"/>
                <a:ext cx="18342" cy="18414"/>
              </a:xfrm>
              <a:custGeom>
                <a:avLst/>
                <a:gdLst>
                  <a:gd name="connsiteX0" fmla="*/ 7347 w 18342"/>
                  <a:gd name="connsiteY0" fmla="*/ 168 h 18414"/>
                  <a:gd name="connsiteX1" fmla="*/ 170 w 18342"/>
                  <a:gd name="connsiteY1" fmla="*/ 10993 h 18414"/>
                  <a:gd name="connsiteX2" fmla="*/ 10996 w 18342"/>
                  <a:gd name="connsiteY2" fmla="*/ 18230 h 18414"/>
                  <a:gd name="connsiteX3" fmla="*/ 18172 w 18342"/>
                  <a:gd name="connsiteY3" fmla="*/ 7405 h 18414"/>
                  <a:gd name="connsiteX4" fmla="*/ 7347 w 18342"/>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4">
                    <a:moveTo>
                      <a:pt x="7347" y="168"/>
                    </a:moveTo>
                    <a:cubicBezTo>
                      <a:pt x="2383" y="1185"/>
                      <a:pt x="-787" y="6029"/>
                      <a:pt x="170" y="10993"/>
                    </a:cubicBezTo>
                    <a:cubicBezTo>
                      <a:pt x="1187" y="15957"/>
                      <a:pt x="6031" y="19246"/>
                      <a:pt x="10996" y="18230"/>
                    </a:cubicBezTo>
                    <a:cubicBezTo>
                      <a:pt x="15960" y="17213"/>
                      <a:pt x="19129" y="12368"/>
                      <a:pt x="18172" y="7405"/>
                    </a:cubicBezTo>
                    <a:cubicBezTo>
                      <a:pt x="17155" y="2440"/>
                      <a:pt x="12311" y="-789"/>
                      <a:pt x="7347" y="168"/>
                    </a:cubicBezTo>
                    <a:close/>
                  </a:path>
                </a:pathLst>
              </a:custGeom>
              <a:grpFill/>
              <a:ln w="5978" cap="flat">
                <a:noFill/>
                <a:prstDash val="solid"/>
                <a:miter/>
              </a:ln>
            </p:spPr>
            <p:txBody>
              <a:bodyPr rtlCol="0" anchor="ctr"/>
              <a:lstStyle/>
              <a:p>
                <a:endParaRPr lang="en-GB"/>
              </a:p>
            </p:txBody>
          </p:sp>
        </p:grpSp>
        <p:grpSp>
          <p:nvGrpSpPr>
            <p:cNvPr id="185" name="Graphic 3">
              <a:extLst>
                <a:ext uri="{FF2B5EF4-FFF2-40B4-BE49-F238E27FC236}">
                  <a16:creationId xmlns:a16="http://schemas.microsoft.com/office/drawing/2014/main" id="{5760E900-94DE-4AC7-88FC-53CD222A4AC3}"/>
                </a:ext>
              </a:extLst>
            </p:cNvPr>
            <p:cNvGrpSpPr/>
            <p:nvPr/>
          </p:nvGrpSpPr>
          <p:grpSpPr>
            <a:xfrm>
              <a:off x="7719673" y="3283493"/>
              <a:ext cx="198247" cy="30488"/>
              <a:chOff x="7719673" y="3283493"/>
              <a:chExt cx="198247" cy="30488"/>
            </a:xfrm>
            <a:grpFill/>
          </p:grpSpPr>
          <p:sp>
            <p:nvSpPr>
              <p:cNvPr id="4824" name="Vrije vorm: vorm 4823">
                <a:extLst>
                  <a:ext uri="{FF2B5EF4-FFF2-40B4-BE49-F238E27FC236}">
                    <a16:creationId xmlns:a16="http://schemas.microsoft.com/office/drawing/2014/main" id="{01E6CFC6-D629-4489-A5BB-36218A03A086}"/>
                  </a:ext>
                </a:extLst>
              </p:cNvPr>
              <p:cNvSpPr/>
              <p:nvPr/>
            </p:nvSpPr>
            <p:spPr>
              <a:xfrm>
                <a:off x="7728249" y="3291171"/>
                <a:ext cx="181036" cy="15191"/>
              </a:xfrm>
              <a:custGeom>
                <a:avLst/>
                <a:gdLst>
                  <a:gd name="connsiteX0" fmla="*/ 180857 w 181036"/>
                  <a:gd name="connsiteY0" fmla="*/ 0 h 15191"/>
                  <a:gd name="connsiteX1" fmla="*/ 181037 w 181036"/>
                  <a:gd name="connsiteY1" fmla="*/ 3050 h 15191"/>
                  <a:gd name="connsiteX2" fmla="*/ 239 w 181036"/>
                  <a:gd name="connsiteY2" fmla="*/ 15191 h 15191"/>
                  <a:gd name="connsiteX3" fmla="*/ 0 w 181036"/>
                  <a:gd name="connsiteY3" fmla="*/ 12081 h 15191"/>
                </a:gdLst>
                <a:ahLst/>
                <a:cxnLst>
                  <a:cxn ang="0">
                    <a:pos x="connsiteX0" y="connsiteY0"/>
                  </a:cxn>
                  <a:cxn ang="0">
                    <a:pos x="connsiteX1" y="connsiteY1"/>
                  </a:cxn>
                  <a:cxn ang="0">
                    <a:pos x="connsiteX2" y="connsiteY2"/>
                  </a:cxn>
                  <a:cxn ang="0">
                    <a:pos x="connsiteX3" y="connsiteY3"/>
                  </a:cxn>
                </a:cxnLst>
                <a:rect l="l" t="t" r="r" b="b"/>
                <a:pathLst>
                  <a:path w="181036" h="15191">
                    <a:moveTo>
                      <a:pt x="180857" y="0"/>
                    </a:moveTo>
                    <a:lnTo>
                      <a:pt x="181037" y="3050"/>
                    </a:lnTo>
                    <a:lnTo>
                      <a:pt x="239" y="15191"/>
                    </a:lnTo>
                    <a:lnTo>
                      <a:pt x="0" y="12081"/>
                    </a:lnTo>
                    <a:close/>
                  </a:path>
                </a:pathLst>
              </a:custGeom>
              <a:grpFill/>
              <a:ln w="5978" cap="flat">
                <a:noFill/>
                <a:prstDash val="solid"/>
                <a:miter/>
              </a:ln>
            </p:spPr>
            <p:txBody>
              <a:bodyPr rtlCol="0" anchor="ctr"/>
              <a:lstStyle/>
              <a:p>
                <a:endParaRPr lang="en-GB"/>
              </a:p>
            </p:txBody>
          </p:sp>
          <p:sp>
            <p:nvSpPr>
              <p:cNvPr id="4825" name="Vrije vorm: vorm 4824">
                <a:extLst>
                  <a:ext uri="{FF2B5EF4-FFF2-40B4-BE49-F238E27FC236}">
                    <a16:creationId xmlns:a16="http://schemas.microsoft.com/office/drawing/2014/main" id="{99F32280-9556-49DA-9F2C-C57A76654FB0}"/>
                  </a:ext>
                </a:extLst>
              </p:cNvPr>
              <p:cNvSpPr/>
              <p:nvPr/>
            </p:nvSpPr>
            <p:spPr>
              <a:xfrm>
                <a:off x="7899573" y="3283493"/>
                <a:ext cx="18347" cy="18406"/>
              </a:xfrm>
              <a:custGeom>
                <a:avLst/>
                <a:gdLst>
                  <a:gd name="connsiteX0" fmla="*/ 8516 w 18347"/>
                  <a:gd name="connsiteY0" fmla="*/ 23 h 18406"/>
                  <a:gd name="connsiteX1" fmla="*/ 18324 w 18347"/>
                  <a:gd name="connsiteY1" fmla="*/ 8575 h 18406"/>
                  <a:gd name="connsiteX2" fmla="*/ 9832 w 18347"/>
                  <a:gd name="connsiteY2" fmla="*/ 18384 h 18406"/>
                  <a:gd name="connsiteX3" fmla="*/ 23 w 18347"/>
                  <a:gd name="connsiteY3" fmla="*/ 9831 h 18406"/>
                  <a:gd name="connsiteX4" fmla="*/ 8516 w 18347"/>
                  <a:gd name="connsiteY4" fmla="*/ 2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6">
                    <a:moveTo>
                      <a:pt x="8516" y="23"/>
                    </a:moveTo>
                    <a:cubicBezTo>
                      <a:pt x="13540" y="-336"/>
                      <a:pt x="17966" y="3552"/>
                      <a:pt x="18324" y="8575"/>
                    </a:cubicBezTo>
                    <a:cubicBezTo>
                      <a:pt x="18683" y="13659"/>
                      <a:pt x="14855" y="18025"/>
                      <a:pt x="9832" y="18384"/>
                    </a:cubicBezTo>
                    <a:cubicBezTo>
                      <a:pt x="4807" y="18743"/>
                      <a:pt x="382" y="14855"/>
                      <a:pt x="23" y="9831"/>
                    </a:cubicBezTo>
                    <a:cubicBezTo>
                      <a:pt x="-336" y="4748"/>
                      <a:pt x="3492" y="382"/>
                      <a:pt x="8516" y="23"/>
                    </a:cubicBezTo>
                    <a:close/>
                  </a:path>
                </a:pathLst>
              </a:custGeom>
              <a:grpFill/>
              <a:ln w="5978" cap="flat">
                <a:noFill/>
                <a:prstDash val="solid"/>
                <a:miter/>
              </a:ln>
            </p:spPr>
            <p:txBody>
              <a:bodyPr rtlCol="0" anchor="ctr"/>
              <a:lstStyle/>
              <a:p>
                <a:endParaRPr lang="en-GB"/>
              </a:p>
            </p:txBody>
          </p:sp>
          <p:sp>
            <p:nvSpPr>
              <p:cNvPr id="4826" name="Vrije vorm: vorm 4825">
                <a:extLst>
                  <a:ext uri="{FF2B5EF4-FFF2-40B4-BE49-F238E27FC236}">
                    <a16:creationId xmlns:a16="http://schemas.microsoft.com/office/drawing/2014/main" id="{4AA43939-EB66-4B15-8A01-7456038B386A}"/>
                  </a:ext>
                </a:extLst>
              </p:cNvPr>
              <p:cNvSpPr/>
              <p:nvPr/>
            </p:nvSpPr>
            <p:spPr>
              <a:xfrm>
                <a:off x="7719673" y="3295574"/>
                <a:ext cx="18347" cy="18407"/>
              </a:xfrm>
              <a:custGeom>
                <a:avLst/>
                <a:gdLst>
                  <a:gd name="connsiteX0" fmla="*/ 8516 w 18347"/>
                  <a:gd name="connsiteY0" fmla="*/ 23 h 18407"/>
                  <a:gd name="connsiteX1" fmla="*/ 23 w 18347"/>
                  <a:gd name="connsiteY1" fmla="*/ 9832 h 18407"/>
                  <a:gd name="connsiteX2" fmla="*/ 9831 w 18347"/>
                  <a:gd name="connsiteY2" fmla="*/ 18384 h 18407"/>
                  <a:gd name="connsiteX3" fmla="*/ 18324 w 18347"/>
                  <a:gd name="connsiteY3" fmla="*/ 8576 h 18407"/>
                  <a:gd name="connsiteX4" fmla="*/ 8516 w 18347"/>
                  <a:gd name="connsiteY4" fmla="*/ 2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8516" y="23"/>
                    </a:moveTo>
                    <a:cubicBezTo>
                      <a:pt x="3492" y="382"/>
                      <a:pt x="-336" y="4748"/>
                      <a:pt x="23" y="9832"/>
                    </a:cubicBezTo>
                    <a:cubicBezTo>
                      <a:pt x="382" y="14915"/>
                      <a:pt x="4748" y="18743"/>
                      <a:pt x="9831" y="18384"/>
                    </a:cubicBezTo>
                    <a:cubicBezTo>
                      <a:pt x="14855" y="18025"/>
                      <a:pt x="18683" y="13659"/>
                      <a:pt x="18324" y="8576"/>
                    </a:cubicBezTo>
                    <a:cubicBezTo>
                      <a:pt x="17906" y="3492"/>
                      <a:pt x="13539" y="-336"/>
                      <a:pt x="8516" y="23"/>
                    </a:cubicBezTo>
                    <a:close/>
                  </a:path>
                </a:pathLst>
              </a:custGeom>
              <a:grpFill/>
              <a:ln w="5978" cap="flat">
                <a:noFill/>
                <a:prstDash val="solid"/>
                <a:miter/>
              </a:ln>
            </p:spPr>
            <p:txBody>
              <a:bodyPr rtlCol="0" anchor="ctr"/>
              <a:lstStyle/>
              <a:p>
                <a:endParaRPr lang="en-GB"/>
              </a:p>
            </p:txBody>
          </p:sp>
        </p:grpSp>
        <p:grpSp>
          <p:nvGrpSpPr>
            <p:cNvPr id="186" name="Graphic 3">
              <a:extLst>
                <a:ext uri="{FF2B5EF4-FFF2-40B4-BE49-F238E27FC236}">
                  <a16:creationId xmlns:a16="http://schemas.microsoft.com/office/drawing/2014/main" id="{0547E7C7-1D24-4A63-8621-9AF7F7C7DFDF}"/>
                </a:ext>
              </a:extLst>
            </p:cNvPr>
            <p:cNvGrpSpPr/>
            <p:nvPr/>
          </p:nvGrpSpPr>
          <p:grpSpPr>
            <a:xfrm>
              <a:off x="7710971" y="3217796"/>
              <a:ext cx="165592" cy="33835"/>
              <a:chOff x="7710971" y="3217796"/>
              <a:chExt cx="165592" cy="33835"/>
            </a:xfrm>
            <a:grpFill/>
          </p:grpSpPr>
          <p:sp>
            <p:nvSpPr>
              <p:cNvPr id="4821" name="Vrije vorm: vorm 4820">
                <a:extLst>
                  <a:ext uri="{FF2B5EF4-FFF2-40B4-BE49-F238E27FC236}">
                    <a16:creationId xmlns:a16="http://schemas.microsoft.com/office/drawing/2014/main" id="{670096BE-94EF-421C-B14A-0C9279DB51CF}"/>
                  </a:ext>
                </a:extLst>
              </p:cNvPr>
              <p:cNvSpPr/>
              <p:nvPr/>
            </p:nvSpPr>
            <p:spPr>
              <a:xfrm>
                <a:off x="7719577" y="3225443"/>
                <a:ext cx="148381" cy="18540"/>
              </a:xfrm>
              <a:custGeom>
                <a:avLst/>
                <a:gdLst>
                  <a:gd name="connsiteX0" fmla="*/ 148083 w 148381"/>
                  <a:gd name="connsiteY0" fmla="*/ 0 h 18540"/>
                  <a:gd name="connsiteX1" fmla="*/ 148381 w 148381"/>
                  <a:gd name="connsiteY1" fmla="*/ 3050 h 18540"/>
                  <a:gd name="connsiteX2" fmla="*/ 299 w 148381"/>
                  <a:gd name="connsiteY2" fmla="*/ 18540 h 18540"/>
                  <a:gd name="connsiteX3" fmla="*/ 0 w 148381"/>
                  <a:gd name="connsiteY3" fmla="*/ 15490 h 18540"/>
                </a:gdLst>
                <a:ahLst/>
                <a:cxnLst>
                  <a:cxn ang="0">
                    <a:pos x="connsiteX0" y="connsiteY0"/>
                  </a:cxn>
                  <a:cxn ang="0">
                    <a:pos x="connsiteX1" y="connsiteY1"/>
                  </a:cxn>
                  <a:cxn ang="0">
                    <a:pos x="connsiteX2" y="connsiteY2"/>
                  </a:cxn>
                  <a:cxn ang="0">
                    <a:pos x="connsiteX3" y="connsiteY3"/>
                  </a:cxn>
                </a:cxnLst>
                <a:rect l="l" t="t" r="r" b="b"/>
                <a:pathLst>
                  <a:path w="148381" h="18540">
                    <a:moveTo>
                      <a:pt x="148083" y="0"/>
                    </a:moveTo>
                    <a:lnTo>
                      <a:pt x="148381" y="3050"/>
                    </a:lnTo>
                    <a:lnTo>
                      <a:pt x="299" y="18540"/>
                    </a:lnTo>
                    <a:lnTo>
                      <a:pt x="0" y="15490"/>
                    </a:lnTo>
                    <a:close/>
                  </a:path>
                </a:pathLst>
              </a:custGeom>
              <a:grpFill/>
              <a:ln w="5978" cap="flat">
                <a:noFill/>
                <a:prstDash val="solid"/>
                <a:miter/>
              </a:ln>
            </p:spPr>
            <p:txBody>
              <a:bodyPr rtlCol="0" anchor="ctr"/>
              <a:lstStyle/>
              <a:p>
                <a:endParaRPr lang="en-GB"/>
              </a:p>
            </p:txBody>
          </p:sp>
          <p:sp>
            <p:nvSpPr>
              <p:cNvPr id="4822" name="Vrije vorm: vorm 4821">
                <a:extLst>
                  <a:ext uri="{FF2B5EF4-FFF2-40B4-BE49-F238E27FC236}">
                    <a16:creationId xmlns:a16="http://schemas.microsoft.com/office/drawing/2014/main" id="{970BB464-0081-4D2C-85D1-0A9A0CD0329D}"/>
                  </a:ext>
                </a:extLst>
              </p:cNvPr>
              <p:cNvSpPr/>
              <p:nvPr/>
            </p:nvSpPr>
            <p:spPr>
              <a:xfrm>
                <a:off x="7858216" y="3217796"/>
                <a:ext cx="18347" cy="18404"/>
              </a:xfrm>
              <a:custGeom>
                <a:avLst/>
                <a:gdLst>
                  <a:gd name="connsiteX0" fmla="*/ 8187 w 18347"/>
                  <a:gd name="connsiteY0" fmla="*/ 52 h 18404"/>
                  <a:gd name="connsiteX1" fmla="*/ 18295 w 18347"/>
                  <a:gd name="connsiteY1" fmla="*/ 8246 h 18404"/>
                  <a:gd name="connsiteX2" fmla="*/ 10161 w 18347"/>
                  <a:gd name="connsiteY2" fmla="*/ 18353 h 18404"/>
                  <a:gd name="connsiteX3" fmla="*/ 53 w 18347"/>
                  <a:gd name="connsiteY3" fmla="*/ 10159 h 18404"/>
                  <a:gd name="connsiteX4" fmla="*/ 8187 w 18347"/>
                  <a:gd name="connsiteY4" fmla="*/ 52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4">
                    <a:moveTo>
                      <a:pt x="8187" y="52"/>
                    </a:moveTo>
                    <a:cubicBezTo>
                      <a:pt x="13211" y="-486"/>
                      <a:pt x="17756" y="3222"/>
                      <a:pt x="18295" y="8246"/>
                    </a:cubicBezTo>
                    <a:cubicBezTo>
                      <a:pt x="18833" y="13329"/>
                      <a:pt x="15185" y="17815"/>
                      <a:pt x="10161" y="18353"/>
                    </a:cubicBezTo>
                    <a:cubicBezTo>
                      <a:pt x="5137" y="18891"/>
                      <a:pt x="591" y="15183"/>
                      <a:pt x="53" y="10159"/>
                    </a:cubicBezTo>
                    <a:cubicBezTo>
                      <a:pt x="-485" y="5076"/>
                      <a:pt x="3104" y="590"/>
                      <a:pt x="8187" y="52"/>
                    </a:cubicBezTo>
                    <a:close/>
                  </a:path>
                </a:pathLst>
              </a:custGeom>
              <a:grpFill/>
              <a:ln w="5978" cap="flat">
                <a:noFill/>
                <a:prstDash val="solid"/>
                <a:miter/>
              </a:ln>
            </p:spPr>
            <p:txBody>
              <a:bodyPr rtlCol="0" anchor="ctr"/>
              <a:lstStyle/>
              <a:p>
                <a:endParaRPr lang="en-GB"/>
              </a:p>
            </p:txBody>
          </p:sp>
          <p:sp>
            <p:nvSpPr>
              <p:cNvPr id="4823" name="Vrije vorm: vorm 4822">
                <a:extLst>
                  <a:ext uri="{FF2B5EF4-FFF2-40B4-BE49-F238E27FC236}">
                    <a16:creationId xmlns:a16="http://schemas.microsoft.com/office/drawing/2014/main" id="{C7D54820-F4A2-4D2C-A557-48FEBA6FB6FE}"/>
                  </a:ext>
                </a:extLst>
              </p:cNvPr>
              <p:cNvSpPr/>
              <p:nvPr/>
            </p:nvSpPr>
            <p:spPr>
              <a:xfrm>
                <a:off x="7710971" y="3233226"/>
                <a:ext cx="18346" cy="18405"/>
              </a:xfrm>
              <a:custGeom>
                <a:avLst/>
                <a:gdLst>
                  <a:gd name="connsiteX0" fmla="*/ 8186 w 18346"/>
                  <a:gd name="connsiteY0" fmla="*/ 52 h 18405"/>
                  <a:gd name="connsiteX1" fmla="*/ 53 w 18346"/>
                  <a:gd name="connsiteY1" fmla="*/ 10159 h 18405"/>
                  <a:gd name="connsiteX2" fmla="*/ 10160 w 18346"/>
                  <a:gd name="connsiteY2" fmla="*/ 18353 h 18405"/>
                  <a:gd name="connsiteX3" fmla="*/ 18294 w 18346"/>
                  <a:gd name="connsiteY3" fmla="*/ 8246 h 18405"/>
                  <a:gd name="connsiteX4" fmla="*/ 8186 w 18346"/>
                  <a:gd name="connsiteY4" fmla="*/ 5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5">
                    <a:moveTo>
                      <a:pt x="8186" y="52"/>
                    </a:moveTo>
                    <a:cubicBezTo>
                      <a:pt x="3163" y="590"/>
                      <a:pt x="-485" y="5136"/>
                      <a:pt x="53" y="10159"/>
                    </a:cubicBezTo>
                    <a:cubicBezTo>
                      <a:pt x="591" y="15243"/>
                      <a:pt x="5136" y="18891"/>
                      <a:pt x="10160" y="18353"/>
                    </a:cubicBezTo>
                    <a:cubicBezTo>
                      <a:pt x="15184" y="17815"/>
                      <a:pt x="18832" y="13269"/>
                      <a:pt x="18294" y="8246"/>
                    </a:cubicBezTo>
                    <a:cubicBezTo>
                      <a:pt x="17755" y="3222"/>
                      <a:pt x="13211" y="-486"/>
                      <a:pt x="8186" y="52"/>
                    </a:cubicBezTo>
                    <a:close/>
                  </a:path>
                </a:pathLst>
              </a:custGeom>
              <a:grpFill/>
              <a:ln w="5978" cap="flat">
                <a:noFill/>
                <a:prstDash val="solid"/>
                <a:miter/>
              </a:ln>
            </p:spPr>
            <p:txBody>
              <a:bodyPr rtlCol="0" anchor="ctr"/>
              <a:lstStyle/>
              <a:p>
                <a:endParaRPr lang="en-GB"/>
              </a:p>
            </p:txBody>
          </p:sp>
        </p:grpSp>
        <p:grpSp>
          <p:nvGrpSpPr>
            <p:cNvPr id="187" name="Graphic 3">
              <a:extLst>
                <a:ext uri="{FF2B5EF4-FFF2-40B4-BE49-F238E27FC236}">
                  <a16:creationId xmlns:a16="http://schemas.microsoft.com/office/drawing/2014/main" id="{8132237F-24A7-49AB-9F75-1997DA963AC1}"/>
                </a:ext>
              </a:extLst>
            </p:cNvPr>
            <p:cNvGrpSpPr/>
            <p:nvPr/>
          </p:nvGrpSpPr>
          <p:grpSpPr>
            <a:xfrm>
              <a:off x="7575694" y="2687263"/>
              <a:ext cx="87171" cy="49504"/>
              <a:chOff x="7575694" y="2687263"/>
              <a:chExt cx="87171" cy="49504"/>
            </a:xfrm>
            <a:grpFill/>
          </p:grpSpPr>
          <p:sp>
            <p:nvSpPr>
              <p:cNvPr id="4818" name="Vrije vorm: vorm 4817">
                <a:extLst>
                  <a:ext uri="{FF2B5EF4-FFF2-40B4-BE49-F238E27FC236}">
                    <a16:creationId xmlns:a16="http://schemas.microsoft.com/office/drawing/2014/main" id="{021CEB1B-C577-4E28-BEFD-5F6FB8E07D99}"/>
                  </a:ext>
                </a:extLst>
              </p:cNvPr>
              <p:cNvSpPr/>
              <p:nvPr/>
            </p:nvSpPr>
            <p:spPr>
              <a:xfrm>
                <a:off x="7583814" y="2694893"/>
                <a:ext cx="70931" cy="34209"/>
              </a:xfrm>
              <a:custGeom>
                <a:avLst/>
                <a:gdLst>
                  <a:gd name="connsiteX0" fmla="*/ 70931 w 70931"/>
                  <a:gd name="connsiteY0" fmla="*/ 2811 h 34209"/>
                  <a:gd name="connsiteX1" fmla="*/ 1256 w 70931"/>
                  <a:gd name="connsiteY1" fmla="*/ 34210 h 34209"/>
                  <a:gd name="connsiteX2" fmla="*/ 0 w 70931"/>
                  <a:gd name="connsiteY2" fmla="*/ 31399 h 34209"/>
                  <a:gd name="connsiteX3" fmla="*/ 69616 w 70931"/>
                  <a:gd name="connsiteY3" fmla="*/ 0 h 34209"/>
                </a:gdLst>
                <a:ahLst/>
                <a:cxnLst>
                  <a:cxn ang="0">
                    <a:pos x="connsiteX0" y="connsiteY0"/>
                  </a:cxn>
                  <a:cxn ang="0">
                    <a:pos x="connsiteX1" y="connsiteY1"/>
                  </a:cxn>
                  <a:cxn ang="0">
                    <a:pos x="connsiteX2" y="connsiteY2"/>
                  </a:cxn>
                  <a:cxn ang="0">
                    <a:pos x="connsiteX3" y="connsiteY3"/>
                  </a:cxn>
                </a:cxnLst>
                <a:rect l="l" t="t" r="r" b="b"/>
                <a:pathLst>
                  <a:path w="70931" h="34209">
                    <a:moveTo>
                      <a:pt x="70931" y="2811"/>
                    </a:moveTo>
                    <a:lnTo>
                      <a:pt x="1256" y="34210"/>
                    </a:lnTo>
                    <a:lnTo>
                      <a:pt x="0" y="31399"/>
                    </a:lnTo>
                    <a:lnTo>
                      <a:pt x="69616" y="0"/>
                    </a:lnTo>
                    <a:close/>
                  </a:path>
                </a:pathLst>
              </a:custGeom>
              <a:grpFill/>
              <a:ln w="5978" cap="flat">
                <a:noFill/>
                <a:prstDash val="solid"/>
                <a:miter/>
              </a:ln>
            </p:spPr>
            <p:txBody>
              <a:bodyPr rtlCol="0" anchor="ctr"/>
              <a:lstStyle/>
              <a:p>
                <a:endParaRPr lang="en-GB"/>
              </a:p>
            </p:txBody>
          </p:sp>
          <p:sp>
            <p:nvSpPr>
              <p:cNvPr id="4819" name="Vrije vorm: vorm 4818">
                <a:extLst>
                  <a:ext uri="{FF2B5EF4-FFF2-40B4-BE49-F238E27FC236}">
                    <a16:creationId xmlns:a16="http://schemas.microsoft.com/office/drawing/2014/main" id="{48E186EE-9902-469A-97DC-A17DF731520B}"/>
                  </a:ext>
                </a:extLst>
              </p:cNvPr>
              <p:cNvSpPr/>
              <p:nvPr/>
            </p:nvSpPr>
            <p:spPr>
              <a:xfrm>
                <a:off x="7644532" y="2687263"/>
                <a:ext cx="18333" cy="18490"/>
              </a:xfrm>
              <a:custGeom>
                <a:avLst/>
                <a:gdLst>
                  <a:gd name="connsiteX0" fmla="*/ 5369 w 18333"/>
                  <a:gd name="connsiteY0" fmla="*/ 812 h 18490"/>
                  <a:gd name="connsiteX1" fmla="*/ 17510 w 18333"/>
                  <a:gd name="connsiteY1" fmla="*/ 5477 h 18490"/>
                  <a:gd name="connsiteX2" fmla="*/ 12965 w 18333"/>
                  <a:gd name="connsiteY2" fmla="*/ 17678 h 18490"/>
                  <a:gd name="connsiteX3" fmla="*/ 824 w 18333"/>
                  <a:gd name="connsiteY3" fmla="*/ 13013 h 18490"/>
                  <a:gd name="connsiteX4" fmla="*/ 5369 w 18333"/>
                  <a:gd name="connsiteY4" fmla="*/ 812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90">
                    <a:moveTo>
                      <a:pt x="5369" y="812"/>
                    </a:moveTo>
                    <a:cubicBezTo>
                      <a:pt x="9974" y="-1281"/>
                      <a:pt x="15416" y="812"/>
                      <a:pt x="17510" y="5477"/>
                    </a:cubicBezTo>
                    <a:cubicBezTo>
                      <a:pt x="19603" y="10142"/>
                      <a:pt x="17570" y="15585"/>
                      <a:pt x="12965" y="17678"/>
                    </a:cubicBezTo>
                    <a:cubicBezTo>
                      <a:pt x="8359" y="19771"/>
                      <a:pt x="2917" y="17678"/>
                      <a:pt x="824" y="13013"/>
                    </a:cubicBezTo>
                    <a:cubicBezTo>
                      <a:pt x="-1269" y="8348"/>
                      <a:pt x="764" y="2906"/>
                      <a:pt x="5369" y="812"/>
                    </a:cubicBezTo>
                    <a:close/>
                  </a:path>
                </a:pathLst>
              </a:custGeom>
              <a:grpFill/>
              <a:ln w="5978" cap="flat">
                <a:noFill/>
                <a:prstDash val="solid"/>
                <a:miter/>
              </a:ln>
            </p:spPr>
            <p:txBody>
              <a:bodyPr rtlCol="0" anchor="ctr"/>
              <a:lstStyle/>
              <a:p>
                <a:endParaRPr lang="en-GB"/>
              </a:p>
            </p:txBody>
          </p:sp>
          <p:sp>
            <p:nvSpPr>
              <p:cNvPr id="4820" name="Vrije vorm: vorm 4819">
                <a:extLst>
                  <a:ext uri="{FF2B5EF4-FFF2-40B4-BE49-F238E27FC236}">
                    <a16:creationId xmlns:a16="http://schemas.microsoft.com/office/drawing/2014/main" id="{7D9A4D2E-E816-45EE-95B9-38600A7EB1CE}"/>
                  </a:ext>
                </a:extLst>
              </p:cNvPr>
              <p:cNvSpPr/>
              <p:nvPr/>
            </p:nvSpPr>
            <p:spPr>
              <a:xfrm>
                <a:off x="7575694" y="2718303"/>
                <a:ext cx="18333" cy="18464"/>
              </a:xfrm>
              <a:custGeom>
                <a:avLst/>
                <a:gdLst>
                  <a:gd name="connsiteX0" fmla="*/ 5369 w 18333"/>
                  <a:gd name="connsiteY0" fmla="*/ 812 h 18464"/>
                  <a:gd name="connsiteX1" fmla="*/ 824 w 18333"/>
                  <a:gd name="connsiteY1" fmla="*/ 13013 h 18464"/>
                  <a:gd name="connsiteX2" fmla="*/ 12965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6"/>
                      <a:pt x="-1269" y="8348"/>
                      <a:pt x="824" y="13013"/>
                    </a:cubicBezTo>
                    <a:cubicBezTo>
                      <a:pt x="2917" y="17678"/>
                      <a:pt x="8359" y="19711"/>
                      <a:pt x="12965" y="17678"/>
                    </a:cubicBezTo>
                    <a:cubicBezTo>
                      <a:pt x="17570" y="15585"/>
                      <a:pt x="19603"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88" name="Graphic 3">
              <a:extLst>
                <a:ext uri="{FF2B5EF4-FFF2-40B4-BE49-F238E27FC236}">
                  <a16:creationId xmlns:a16="http://schemas.microsoft.com/office/drawing/2014/main" id="{38EB76A7-167C-4005-87F1-82FAD2E6A6FB}"/>
                </a:ext>
              </a:extLst>
            </p:cNvPr>
            <p:cNvGrpSpPr/>
            <p:nvPr/>
          </p:nvGrpSpPr>
          <p:grpSpPr>
            <a:xfrm>
              <a:off x="7738237" y="3421371"/>
              <a:ext cx="224336" cy="20096"/>
              <a:chOff x="7738237" y="3421371"/>
              <a:chExt cx="224336" cy="20096"/>
            </a:xfrm>
            <a:grpFill/>
          </p:grpSpPr>
          <p:sp>
            <p:nvSpPr>
              <p:cNvPr id="4815" name="Vrije vorm: vorm 4814">
                <a:extLst>
                  <a:ext uri="{FF2B5EF4-FFF2-40B4-BE49-F238E27FC236}">
                    <a16:creationId xmlns:a16="http://schemas.microsoft.com/office/drawing/2014/main" id="{CD942514-2327-4D12-807F-7DC7DD12EC17}"/>
                  </a:ext>
                </a:extLst>
              </p:cNvPr>
              <p:cNvSpPr/>
              <p:nvPr/>
            </p:nvSpPr>
            <p:spPr>
              <a:xfrm>
                <a:off x="7746968" y="3429087"/>
                <a:ext cx="206872" cy="4664"/>
              </a:xfrm>
              <a:custGeom>
                <a:avLst/>
                <a:gdLst>
                  <a:gd name="connsiteX0" fmla="*/ 206873 w 206872"/>
                  <a:gd name="connsiteY0" fmla="*/ 1615 h 4664"/>
                  <a:gd name="connsiteX1" fmla="*/ 206873 w 206872"/>
                  <a:gd name="connsiteY1" fmla="*/ 4665 h 4664"/>
                  <a:gd name="connsiteX2" fmla="*/ 0 w 206872"/>
                  <a:gd name="connsiteY2" fmla="*/ 3050 h 4664"/>
                  <a:gd name="connsiteX3" fmla="*/ 0 w 206872"/>
                  <a:gd name="connsiteY3" fmla="*/ 0 h 4664"/>
                </a:gdLst>
                <a:ahLst/>
                <a:cxnLst>
                  <a:cxn ang="0">
                    <a:pos x="connsiteX0" y="connsiteY0"/>
                  </a:cxn>
                  <a:cxn ang="0">
                    <a:pos x="connsiteX1" y="connsiteY1"/>
                  </a:cxn>
                  <a:cxn ang="0">
                    <a:pos x="connsiteX2" y="connsiteY2"/>
                  </a:cxn>
                  <a:cxn ang="0">
                    <a:pos x="connsiteX3" y="connsiteY3"/>
                  </a:cxn>
                </a:cxnLst>
                <a:rect l="l" t="t" r="r" b="b"/>
                <a:pathLst>
                  <a:path w="206872" h="4664">
                    <a:moveTo>
                      <a:pt x="206873" y="1615"/>
                    </a:moveTo>
                    <a:lnTo>
                      <a:pt x="206873" y="4665"/>
                    </a:lnTo>
                    <a:lnTo>
                      <a:pt x="0" y="3050"/>
                    </a:lnTo>
                    <a:lnTo>
                      <a:pt x="0" y="0"/>
                    </a:lnTo>
                    <a:close/>
                  </a:path>
                </a:pathLst>
              </a:custGeom>
              <a:grpFill/>
              <a:ln w="5978" cap="flat">
                <a:noFill/>
                <a:prstDash val="solid"/>
                <a:miter/>
              </a:ln>
            </p:spPr>
            <p:txBody>
              <a:bodyPr rtlCol="0" anchor="ctr"/>
              <a:lstStyle/>
              <a:p>
                <a:endParaRPr lang="en-GB"/>
              </a:p>
            </p:txBody>
          </p:sp>
          <p:sp>
            <p:nvSpPr>
              <p:cNvPr id="4816" name="Vrije vorm: vorm 4815">
                <a:extLst>
                  <a:ext uri="{FF2B5EF4-FFF2-40B4-BE49-F238E27FC236}">
                    <a16:creationId xmlns:a16="http://schemas.microsoft.com/office/drawing/2014/main" id="{2DF9D62F-FD5B-4416-B5FA-A17E4CDF59F5}"/>
                  </a:ext>
                </a:extLst>
              </p:cNvPr>
              <p:cNvSpPr/>
              <p:nvPr/>
            </p:nvSpPr>
            <p:spPr>
              <a:xfrm>
                <a:off x="7944212" y="3423046"/>
                <a:ext cx="18361" cy="18421"/>
              </a:xfrm>
              <a:custGeom>
                <a:avLst/>
                <a:gdLst>
                  <a:gd name="connsiteX0" fmla="*/ 9211 w 18361"/>
                  <a:gd name="connsiteY0" fmla="*/ 1 h 18421"/>
                  <a:gd name="connsiteX1" fmla="*/ 18361 w 18361"/>
                  <a:gd name="connsiteY1" fmla="*/ 9271 h 18421"/>
                  <a:gd name="connsiteX2" fmla="*/ 9151 w 18361"/>
                  <a:gd name="connsiteY2" fmla="*/ 18421 h 18421"/>
                  <a:gd name="connsiteX3" fmla="*/ 0 w 18361"/>
                  <a:gd name="connsiteY3" fmla="*/ 9151 h 18421"/>
                  <a:gd name="connsiteX4" fmla="*/ 9211 w 18361"/>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9211" y="1"/>
                    </a:moveTo>
                    <a:cubicBezTo>
                      <a:pt x="14294" y="60"/>
                      <a:pt x="18361" y="4187"/>
                      <a:pt x="18361" y="9271"/>
                    </a:cubicBezTo>
                    <a:cubicBezTo>
                      <a:pt x="18361" y="14354"/>
                      <a:pt x="14234" y="18481"/>
                      <a:pt x="9151" y="18421"/>
                    </a:cubicBezTo>
                    <a:cubicBezTo>
                      <a:pt x="4067" y="18361"/>
                      <a:pt x="0" y="14235"/>
                      <a:pt x="0" y="9151"/>
                    </a:cubicBezTo>
                    <a:cubicBezTo>
                      <a:pt x="0" y="4067"/>
                      <a:pt x="4127" y="-59"/>
                      <a:pt x="9211" y="1"/>
                    </a:cubicBezTo>
                    <a:close/>
                  </a:path>
                </a:pathLst>
              </a:custGeom>
              <a:grpFill/>
              <a:ln w="5978" cap="flat">
                <a:noFill/>
                <a:prstDash val="solid"/>
                <a:miter/>
              </a:ln>
            </p:spPr>
            <p:txBody>
              <a:bodyPr rtlCol="0" anchor="ctr"/>
              <a:lstStyle/>
              <a:p>
                <a:endParaRPr lang="en-GB"/>
              </a:p>
            </p:txBody>
          </p:sp>
          <p:sp>
            <p:nvSpPr>
              <p:cNvPr id="4817" name="Vrije vorm: vorm 4816">
                <a:extLst>
                  <a:ext uri="{FF2B5EF4-FFF2-40B4-BE49-F238E27FC236}">
                    <a16:creationId xmlns:a16="http://schemas.microsoft.com/office/drawing/2014/main" id="{C5B61700-DFF2-4CCE-81C4-E0AAC8DBB3B0}"/>
                  </a:ext>
                </a:extLst>
              </p:cNvPr>
              <p:cNvSpPr/>
              <p:nvPr/>
            </p:nvSpPr>
            <p:spPr>
              <a:xfrm>
                <a:off x="7738237" y="3421371"/>
                <a:ext cx="18360" cy="18421"/>
              </a:xfrm>
              <a:custGeom>
                <a:avLst/>
                <a:gdLst>
                  <a:gd name="connsiteX0" fmla="*/ 9210 w 18360"/>
                  <a:gd name="connsiteY0" fmla="*/ 1 h 18421"/>
                  <a:gd name="connsiteX1" fmla="*/ 0 w 18360"/>
                  <a:gd name="connsiteY1" fmla="*/ 9151 h 18421"/>
                  <a:gd name="connsiteX2" fmla="*/ 9150 w 18360"/>
                  <a:gd name="connsiteY2" fmla="*/ 18421 h 18421"/>
                  <a:gd name="connsiteX3" fmla="*/ 18360 w 18360"/>
                  <a:gd name="connsiteY3" fmla="*/ 9271 h 18421"/>
                  <a:gd name="connsiteX4" fmla="*/ 9210 w 18360"/>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9210" y="1"/>
                    </a:moveTo>
                    <a:cubicBezTo>
                      <a:pt x="4126" y="-59"/>
                      <a:pt x="0" y="4067"/>
                      <a:pt x="0" y="9151"/>
                    </a:cubicBezTo>
                    <a:cubicBezTo>
                      <a:pt x="0" y="14235"/>
                      <a:pt x="4066" y="18421"/>
                      <a:pt x="9150" y="18421"/>
                    </a:cubicBezTo>
                    <a:cubicBezTo>
                      <a:pt x="14234" y="18481"/>
                      <a:pt x="18360" y="14354"/>
                      <a:pt x="18360" y="9271"/>
                    </a:cubicBezTo>
                    <a:cubicBezTo>
                      <a:pt x="18360" y="4187"/>
                      <a:pt x="14294" y="60"/>
                      <a:pt x="9210" y="1"/>
                    </a:cubicBezTo>
                    <a:close/>
                  </a:path>
                </a:pathLst>
              </a:custGeom>
              <a:grpFill/>
              <a:ln w="5978" cap="flat">
                <a:noFill/>
                <a:prstDash val="solid"/>
                <a:miter/>
              </a:ln>
            </p:spPr>
            <p:txBody>
              <a:bodyPr rtlCol="0" anchor="ctr"/>
              <a:lstStyle/>
              <a:p>
                <a:endParaRPr lang="en-GB"/>
              </a:p>
            </p:txBody>
          </p:sp>
        </p:grpSp>
        <p:grpSp>
          <p:nvGrpSpPr>
            <p:cNvPr id="189" name="Graphic 3">
              <a:extLst>
                <a:ext uri="{FF2B5EF4-FFF2-40B4-BE49-F238E27FC236}">
                  <a16:creationId xmlns:a16="http://schemas.microsoft.com/office/drawing/2014/main" id="{2073E4AD-CCD4-4561-8CA2-89AD93D6109D}"/>
                </a:ext>
              </a:extLst>
            </p:cNvPr>
            <p:cNvGrpSpPr/>
            <p:nvPr/>
          </p:nvGrpSpPr>
          <p:grpSpPr>
            <a:xfrm>
              <a:off x="7718373" y="3579375"/>
              <a:ext cx="373810" cy="91460"/>
              <a:chOff x="7718373" y="3579375"/>
              <a:chExt cx="373810" cy="91460"/>
            </a:xfrm>
            <a:grpFill/>
          </p:grpSpPr>
          <p:sp>
            <p:nvSpPr>
              <p:cNvPr id="4812" name="Vrije vorm: vorm 4811">
                <a:extLst>
                  <a:ext uri="{FF2B5EF4-FFF2-40B4-BE49-F238E27FC236}">
                    <a16:creationId xmlns:a16="http://schemas.microsoft.com/office/drawing/2014/main" id="{78759ACC-7BBE-40EB-8640-113BDCE54207}"/>
                  </a:ext>
                </a:extLst>
              </p:cNvPr>
              <p:cNvSpPr/>
              <p:nvPr/>
            </p:nvSpPr>
            <p:spPr>
              <a:xfrm>
                <a:off x="7726753" y="3587038"/>
                <a:ext cx="356989" cy="76194"/>
              </a:xfrm>
              <a:custGeom>
                <a:avLst/>
                <a:gdLst>
                  <a:gd name="connsiteX0" fmla="*/ 356990 w 356989"/>
                  <a:gd name="connsiteY0" fmla="*/ 73204 h 76194"/>
                  <a:gd name="connsiteX1" fmla="*/ 356391 w 356989"/>
                  <a:gd name="connsiteY1" fmla="*/ 76194 h 76194"/>
                  <a:gd name="connsiteX2" fmla="*/ 0 w 356989"/>
                  <a:gd name="connsiteY2" fmla="*/ 2990 h 76194"/>
                  <a:gd name="connsiteX3" fmla="*/ 598 w 356989"/>
                  <a:gd name="connsiteY3" fmla="*/ 0 h 76194"/>
                </a:gdLst>
                <a:ahLst/>
                <a:cxnLst>
                  <a:cxn ang="0">
                    <a:pos x="connsiteX0" y="connsiteY0"/>
                  </a:cxn>
                  <a:cxn ang="0">
                    <a:pos x="connsiteX1" y="connsiteY1"/>
                  </a:cxn>
                  <a:cxn ang="0">
                    <a:pos x="connsiteX2" y="connsiteY2"/>
                  </a:cxn>
                  <a:cxn ang="0">
                    <a:pos x="connsiteX3" y="connsiteY3"/>
                  </a:cxn>
                </a:cxnLst>
                <a:rect l="l" t="t" r="r" b="b"/>
                <a:pathLst>
                  <a:path w="356989" h="76194">
                    <a:moveTo>
                      <a:pt x="356990" y="73204"/>
                    </a:moveTo>
                    <a:lnTo>
                      <a:pt x="356391" y="76194"/>
                    </a:lnTo>
                    <a:lnTo>
                      <a:pt x="0" y="2990"/>
                    </a:lnTo>
                    <a:lnTo>
                      <a:pt x="598" y="0"/>
                    </a:lnTo>
                    <a:close/>
                  </a:path>
                </a:pathLst>
              </a:custGeom>
              <a:grpFill/>
              <a:ln w="5978" cap="flat">
                <a:noFill/>
                <a:prstDash val="solid"/>
                <a:miter/>
              </a:ln>
            </p:spPr>
            <p:txBody>
              <a:bodyPr rtlCol="0" anchor="ctr"/>
              <a:lstStyle/>
              <a:p>
                <a:endParaRPr lang="en-GB"/>
              </a:p>
            </p:txBody>
          </p:sp>
          <p:sp>
            <p:nvSpPr>
              <p:cNvPr id="4813" name="Vrije vorm: vorm 4812">
                <a:extLst>
                  <a:ext uri="{FF2B5EF4-FFF2-40B4-BE49-F238E27FC236}">
                    <a16:creationId xmlns:a16="http://schemas.microsoft.com/office/drawing/2014/main" id="{3D619885-CB11-4A87-9880-4DC24ED84BF1}"/>
                  </a:ext>
                </a:extLst>
              </p:cNvPr>
              <p:cNvSpPr/>
              <p:nvPr/>
            </p:nvSpPr>
            <p:spPr>
              <a:xfrm>
                <a:off x="7718373" y="3579375"/>
                <a:ext cx="18316" cy="18436"/>
              </a:xfrm>
              <a:custGeom>
                <a:avLst/>
                <a:gdLst>
                  <a:gd name="connsiteX0" fmla="*/ 7364 w 18316"/>
                  <a:gd name="connsiteY0" fmla="*/ 18249 h 18436"/>
                  <a:gd name="connsiteX1" fmla="*/ 187 w 18316"/>
                  <a:gd name="connsiteY1" fmla="*/ 7364 h 18436"/>
                  <a:gd name="connsiteX2" fmla="*/ 10953 w 18316"/>
                  <a:gd name="connsiteY2" fmla="*/ 187 h 18436"/>
                  <a:gd name="connsiteX3" fmla="*/ 18129 w 18316"/>
                  <a:gd name="connsiteY3" fmla="*/ 11072 h 18436"/>
                  <a:gd name="connsiteX4" fmla="*/ 7364 w 18316"/>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7364" y="18249"/>
                    </a:moveTo>
                    <a:cubicBezTo>
                      <a:pt x="2400" y="17232"/>
                      <a:pt x="-830" y="12388"/>
                      <a:pt x="187" y="7364"/>
                    </a:cubicBezTo>
                    <a:cubicBezTo>
                      <a:pt x="1204" y="2400"/>
                      <a:pt x="5988" y="-830"/>
                      <a:pt x="10953" y="187"/>
                    </a:cubicBezTo>
                    <a:cubicBezTo>
                      <a:pt x="15917" y="1204"/>
                      <a:pt x="19146" y="6048"/>
                      <a:pt x="18129" y="11072"/>
                    </a:cubicBezTo>
                    <a:cubicBezTo>
                      <a:pt x="17172" y="16036"/>
                      <a:pt x="12328" y="19266"/>
                      <a:pt x="7364" y="18249"/>
                    </a:cubicBezTo>
                    <a:close/>
                  </a:path>
                </a:pathLst>
              </a:custGeom>
              <a:grpFill/>
              <a:ln w="5978" cap="flat">
                <a:noFill/>
                <a:prstDash val="solid"/>
                <a:miter/>
              </a:ln>
            </p:spPr>
            <p:txBody>
              <a:bodyPr rtlCol="0" anchor="ctr"/>
              <a:lstStyle/>
              <a:p>
                <a:endParaRPr lang="en-GB"/>
              </a:p>
            </p:txBody>
          </p:sp>
          <p:sp>
            <p:nvSpPr>
              <p:cNvPr id="4814" name="Vrije vorm: vorm 4813">
                <a:extLst>
                  <a:ext uri="{FF2B5EF4-FFF2-40B4-BE49-F238E27FC236}">
                    <a16:creationId xmlns:a16="http://schemas.microsoft.com/office/drawing/2014/main" id="{0BE90246-97C2-47DA-A116-190A0677DD25}"/>
                  </a:ext>
                </a:extLst>
              </p:cNvPr>
              <p:cNvSpPr/>
              <p:nvPr/>
            </p:nvSpPr>
            <p:spPr>
              <a:xfrm>
                <a:off x="8073867" y="3652399"/>
                <a:ext cx="18316" cy="18436"/>
              </a:xfrm>
              <a:custGeom>
                <a:avLst/>
                <a:gdLst>
                  <a:gd name="connsiteX0" fmla="*/ 7364 w 18316"/>
                  <a:gd name="connsiteY0" fmla="*/ 18249 h 18436"/>
                  <a:gd name="connsiteX1" fmla="*/ 18129 w 18316"/>
                  <a:gd name="connsiteY1" fmla="*/ 11072 h 18436"/>
                  <a:gd name="connsiteX2" fmla="*/ 10952 w 18316"/>
                  <a:gd name="connsiteY2" fmla="*/ 187 h 18436"/>
                  <a:gd name="connsiteX3" fmla="*/ 187 w 18316"/>
                  <a:gd name="connsiteY3" fmla="*/ 7364 h 18436"/>
                  <a:gd name="connsiteX4" fmla="*/ 7364 w 18316"/>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7364" y="18249"/>
                    </a:moveTo>
                    <a:cubicBezTo>
                      <a:pt x="12328" y="19266"/>
                      <a:pt x="17172" y="16036"/>
                      <a:pt x="18129" y="11072"/>
                    </a:cubicBezTo>
                    <a:cubicBezTo>
                      <a:pt x="19146" y="6108"/>
                      <a:pt x="15916" y="1204"/>
                      <a:pt x="10952" y="187"/>
                    </a:cubicBezTo>
                    <a:cubicBezTo>
                      <a:pt x="5988" y="-830"/>
                      <a:pt x="1144" y="2400"/>
                      <a:pt x="187" y="7364"/>
                    </a:cubicBezTo>
                    <a:cubicBezTo>
                      <a:pt x="-830" y="12388"/>
                      <a:pt x="2400" y="17232"/>
                      <a:pt x="7364" y="18249"/>
                    </a:cubicBezTo>
                    <a:close/>
                  </a:path>
                </a:pathLst>
              </a:custGeom>
              <a:grpFill/>
              <a:ln w="5978" cap="flat">
                <a:noFill/>
                <a:prstDash val="solid"/>
                <a:miter/>
              </a:ln>
            </p:spPr>
            <p:txBody>
              <a:bodyPr rtlCol="0" anchor="ctr"/>
              <a:lstStyle/>
              <a:p>
                <a:endParaRPr lang="en-GB"/>
              </a:p>
            </p:txBody>
          </p:sp>
        </p:grpSp>
        <p:grpSp>
          <p:nvGrpSpPr>
            <p:cNvPr id="190" name="Graphic 3">
              <a:extLst>
                <a:ext uri="{FF2B5EF4-FFF2-40B4-BE49-F238E27FC236}">
                  <a16:creationId xmlns:a16="http://schemas.microsoft.com/office/drawing/2014/main" id="{355CD6CB-4623-4D48-927C-66DC6E6EAFE8}"/>
                </a:ext>
              </a:extLst>
            </p:cNvPr>
            <p:cNvGrpSpPr/>
            <p:nvPr/>
          </p:nvGrpSpPr>
          <p:grpSpPr>
            <a:xfrm>
              <a:off x="7709488" y="3251906"/>
              <a:ext cx="169396" cy="31411"/>
              <a:chOff x="7709488" y="3251906"/>
              <a:chExt cx="169396" cy="31411"/>
            </a:xfrm>
            <a:grpFill/>
          </p:grpSpPr>
          <p:sp>
            <p:nvSpPr>
              <p:cNvPr id="4809" name="Vrije vorm: vorm 4808">
                <a:extLst>
                  <a:ext uri="{FF2B5EF4-FFF2-40B4-BE49-F238E27FC236}">
                    <a16:creationId xmlns:a16="http://schemas.microsoft.com/office/drawing/2014/main" id="{E57FE8B8-46F3-424D-A83E-3816D7273F5A}"/>
                  </a:ext>
                </a:extLst>
              </p:cNvPr>
              <p:cNvSpPr/>
              <p:nvPr/>
            </p:nvSpPr>
            <p:spPr>
              <a:xfrm>
                <a:off x="7718082" y="3259533"/>
                <a:ext cx="152268" cy="16088"/>
              </a:xfrm>
              <a:custGeom>
                <a:avLst/>
                <a:gdLst>
                  <a:gd name="connsiteX0" fmla="*/ 151970 w 152268"/>
                  <a:gd name="connsiteY0" fmla="*/ 0 h 16088"/>
                  <a:gd name="connsiteX1" fmla="*/ 152269 w 152268"/>
                  <a:gd name="connsiteY1" fmla="*/ 3050 h 16088"/>
                  <a:gd name="connsiteX2" fmla="*/ 239 w 152268"/>
                  <a:gd name="connsiteY2" fmla="*/ 16088 h 16088"/>
                  <a:gd name="connsiteX3" fmla="*/ 0 w 152268"/>
                  <a:gd name="connsiteY3" fmla="*/ 13038 h 16088"/>
                </a:gdLst>
                <a:ahLst/>
                <a:cxnLst>
                  <a:cxn ang="0">
                    <a:pos x="connsiteX0" y="connsiteY0"/>
                  </a:cxn>
                  <a:cxn ang="0">
                    <a:pos x="connsiteX1" y="connsiteY1"/>
                  </a:cxn>
                  <a:cxn ang="0">
                    <a:pos x="connsiteX2" y="connsiteY2"/>
                  </a:cxn>
                  <a:cxn ang="0">
                    <a:pos x="connsiteX3" y="connsiteY3"/>
                  </a:cxn>
                </a:cxnLst>
                <a:rect l="l" t="t" r="r" b="b"/>
                <a:pathLst>
                  <a:path w="152268" h="16088">
                    <a:moveTo>
                      <a:pt x="151970" y="0"/>
                    </a:moveTo>
                    <a:lnTo>
                      <a:pt x="152269" y="3050"/>
                    </a:lnTo>
                    <a:lnTo>
                      <a:pt x="239" y="16088"/>
                    </a:lnTo>
                    <a:lnTo>
                      <a:pt x="0" y="13038"/>
                    </a:lnTo>
                    <a:close/>
                  </a:path>
                </a:pathLst>
              </a:custGeom>
              <a:grpFill/>
              <a:ln w="5978" cap="flat">
                <a:noFill/>
                <a:prstDash val="solid"/>
                <a:miter/>
              </a:ln>
            </p:spPr>
            <p:txBody>
              <a:bodyPr rtlCol="0" anchor="ctr"/>
              <a:lstStyle/>
              <a:p>
                <a:endParaRPr lang="en-GB"/>
              </a:p>
            </p:txBody>
          </p:sp>
          <p:sp>
            <p:nvSpPr>
              <p:cNvPr id="4810" name="Vrije vorm: vorm 4809">
                <a:extLst>
                  <a:ext uri="{FF2B5EF4-FFF2-40B4-BE49-F238E27FC236}">
                    <a16:creationId xmlns:a16="http://schemas.microsoft.com/office/drawing/2014/main" id="{01CBD19E-5A63-4F9F-AA0A-D50575253FDE}"/>
                  </a:ext>
                </a:extLst>
              </p:cNvPr>
              <p:cNvSpPr/>
              <p:nvPr/>
            </p:nvSpPr>
            <p:spPr>
              <a:xfrm>
                <a:off x="7860570" y="3251906"/>
                <a:ext cx="18314" cy="18424"/>
              </a:xfrm>
              <a:custGeom>
                <a:avLst/>
                <a:gdLst>
                  <a:gd name="connsiteX0" fmla="*/ 8345 w 18314"/>
                  <a:gd name="connsiteY0" fmla="*/ 32 h 18424"/>
                  <a:gd name="connsiteX1" fmla="*/ 18274 w 18314"/>
                  <a:gd name="connsiteY1" fmla="*/ 8405 h 18424"/>
                  <a:gd name="connsiteX2" fmla="*/ 9960 w 18314"/>
                  <a:gd name="connsiteY2" fmla="*/ 18393 h 18424"/>
                  <a:gd name="connsiteX3" fmla="*/ 32 w 18314"/>
                  <a:gd name="connsiteY3" fmla="*/ 10020 h 18424"/>
                  <a:gd name="connsiteX4" fmla="*/ 8345 w 18314"/>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24">
                    <a:moveTo>
                      <a:pt x="8345" y="32"/>
                    </a:moveTo>
                    <a:cubicBezTo>
                      <a:pt x="13369" y="-387"/>
                      <a:pt x="17855" y="3381"/>
                      <a:pt x="18274" y="8405"/>
                    </a:cubicBezTo>
                    <a:cubicBezTo>
                      <a:pt x="18752" y="13488"/>
                      <a:pt x="14984" y="17914"/>
                      <a:pt x="9960" y="18393"/>
                    </a:cubicBezTo>
                    <a:cubicBezTo>
                      <a:pt x="4936" y="18811"/>
                      <a:pt x="451" y="15043"/>
                      <a:pt x="32" y="10020"/>
                    </a:cubicBezTo>
                    <a:cubicBezTo>
                      <a:pt x="-386" y="4876"/>
                      <a:pt x="3322" y="450"/>
                      <a:pt x="8345" y="32"/>
                    </a:cubicBezTo>
                    <a:close/>
                  </a:path>
                </a:pathLst>
              </a:custGeom>
              <a:grpFill/>
              <a:ln w="5978" cap="flat">
                <a:noFill/>
                <a:prstDash val="solid"/>
                <a:miter/>
              </a:ln>
            </p:spPr>
            <p:txBody>
              <a:bodyPr rtlCol="0" anchor="ctr"/>
              <a:lstStyle/>
              <a:p>
                <a:endParaRPr lang="en-GB"/>
              </a:p>
            </p:txBody>
          </p:sp>
          <p:sp>
            <p:nvSpPr>
              <p:cNvPr id="4811" name="Vrije vorm: vorm 4810">
                <a:extLst>
                  <a:ext uri="{FF2B5EF4-FFF2-40B4-BE49-F238E27FC236}">
                    <a16:creationId xmlns:a16="http://schemas.microsoft.com/office/drawing/2014/main" id="{FF967746-93A0-4E8D-9972-0F53362B2AAE}"/>
                  </a:ext>
                </a:extLst>
              </p:cNvPr>
              <p:cNvSpPr/>
              <p:nvPr/>
            </p:nvSpPr>
            <p:spPr>
              <a:xfrm>
                <a:off x="7709488" y="3264875"/>
                <a:ext cx="18314" cy="18442"/>
              </a:xfrm>
              <a:custGeom>
                <a:avLst/>
                <a:gdLst>
                  <a:gd name="connsiteX0" fmla="*/ 8354 w 18314"/>
                  <a:gd name="connsiteY0" fmla="*/ 41 h 18442"/>
                  <a:gd name="connsiteX1" fmla="*/ 41 w 18314"/>
                  <a:gd name="connsiteY1" fmla="*/ 10029 h 18442"/>
                  <a:gd name="connsiteX2" fmla="*/ 9969 w 18314"/>
                  <a:gd name="connsiteY2" fmla="*/ 18402 h 18442"/>
                  <a:gd name="connsiteX3" fmla="*/ 18282 w 18314"/>
                  <a:gd name="connsiteY3" fmla="*/ 8414 h 18442"/>
                  <a:gd name="connsiteX4" fmla="*/ 8354 w 18314"/>
                  <a:gd name="connsiteY4" fmla="*/ 41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42">
                    <a:moveTo>
                      <a:pt x="8354" y="41"/>
                    </a:moveTo>
                    <a:cubicBezTo>
                      <a:pt x="3331" y="460"/>
                      <a:pt x="-437" y="4945"/>
                      <a:pt x="41" y="10029"/>
                    </a:cubicBezTo>
                    <a:cubicBezTo>
                      <a:pt x="519" y="15112"/>
                      <a:pt x="4946" y="18880"/>
                      <a:pt x="9969" y="18402"/>
                    </a:cubicBezTo>
                    <a:cubicBezTo>
                      <a:pt x="14993" y="17983"/>
                      <a:pt x="18701" y="13498"/>
                      <a:pt x="18282" y="8414"/>
                    </a:cubicBezTo>
                    <a:cubicBezTo>
                      <a:pt x="17863" y="3330"/>
                      <a:pt x="13378" y="-438"/>
                      <a:pt x="8354" y="41"/>
                    </a:cubicBezTo>
                    <a:close/>
                  </a:path>
                </a:pathLst>
              </a:custGeom>
              <a:grpFill/>
              <a:ln w="5978" cap="flat">
                <a:noFill/>
                <a:prstDash val="solid"/>
                <a:miter/>
              </a:ln>
            </p:spPr>
            <p:txBody>
              <a:bodyPr rtlCol="0" anchor="ctr"/>
              <a:lstStyle/>
              <a:p>
                <a:endParaRPr lang="en-GB"/>
              </a:p>
            </p:txBody>
          </p:sp>
        </p:grpSp>
        <p:grpSp>
          <p:nvGrpSpPr>
            <p:cNvPr id="191" name="Graphic 3">
              <a:extLst>
                <a:ext uri="{FF2B5EF4-FFF2-40B4-BE49-F238E27FC236}">
                  <a16:creationId xmlns:a16="http://schemas.microsoft.com/office/drawing/2014/main" id="{DAE50C55-9B83-4976-B864-5787311991AF}"/>
                </a:ext>
              </a:extLst>
            </p:cNvPr>
            <p:cNvGrpSpPr/>
            <p:nvPr/>
          </p:nvGrpSpPr>
          <p:grpSpPr>
            <a:xfrm>
              <a:off x="7474585" y="2456021"/>
              <a:ext cx="125518" cy="84889"/>
              <a:chOff x="7474585" y="2456021"/>
              <a:chExt cx="125518" cy="84889"/>
            </a:xfrm>
            <a:grpFill/>
          </p:grpSpPr>
          <p:sp>
            <p:nvSpPr>
              <p:cNvPr id="4806" name="Vrije vorm: vorm 4805">
                <a:extLst>
                  <a:ext uri="{FF2B5EF4-FFF2-40B4-BE49-F238E27FC236}">
                    <a16:creationId xmlns:a16="http://schemas.microsoft.com/office/drawing/2014/main" id="{73527ECC-FEEF-4CE8-B361-487AB4CCD8B6}"/>
                  </a:ext>
                </a:extLst>
              </p:cNvPr>
              <p:cNvSpPr/>
              <p:nvPr/>
            </p:nvSpPr>
            <p:spPr>
              <a:xfrm>
                <a:off x="7482561" y="2463679"/>
                <a:ext cx="109566" cy="69555"/>
              </a:xfrm>
              <a:custGeom>
                <a:avLst/>
                <a:gdLst>
                  <a:gd name="connsiteX0" fmla="*/ 109567 w 109566"/>
                  <a:gd name="connsiteY0" fmla="*/ 2632 h 69555"/>
                  <a:gd name="connsiteX1" fmla="*/ 1615 w 109566"/>
                  <a:gd name="connsiteY1" fmla="*/ 69556 h 69555"/>
                  <a:gd name="connsiteX2" fmla="*/ 0 w 109566"/>
                  <a:gd name="connsiteY2" fmla="*/ 66924 h 69555"/>
                  <a:gd name="connsiteX3" fmla="*/ 107952 w 109566"/>
                  <a:gd name="connsiteY3" fmla="*/ 0 h 69555"/>
                </a:gdLst>
                <a:ahLst/>
                <a:cxnLst>
                  <a:cxn ang="0">
                    <a:pos x="connsiteX0" y="connsiteY0"/>
                  </a:cxn>
                  <a:cxn ang="0">
                    <a:pos x="connsiteX1" y="connsiteY1"/>
                  </a:cxn>
                  <a:cxn ang="0">
                    <a:pos x="connsiteX2" y="connsiteY2"/>
                  </a:cxn>
                  <a:cxn ang="0">
                    <a:pos x="connsiteX3" y="connsiteY3"/>
                  </a:cxn>
                </a:cxnLst>
                <a:rect l="l" t="t" r="r" b="b"/>
                <a:pathLst>
                  <a:path w="109566" h="69555">
                    <a:moveTo>
                      <a:pt x="109567" y="2632"/>
                    </a:moveTo>
                    <a:lnTo>
                      <a:pt x="1615" y="69556"/>
                    </a:lnTo>
                    <a:lnTo>
                      <a:pt x="0" y="66924"/>
                    </a:lnTo>
                    <a:lnTo>
                      <a:pt x="107952" y="0"/>
                    </a:lnTo>
                    <a:close/>
                  </a:path>
                </a:pathLst>
              </a:custGeom>
              <a:grpFill/>
              <a:ln w="5978" cap="flat">
                <a:noFill/>
                <a:prstDash val="solid"/>
                <a:miter/>
              </a:ln>
            </p:spPr>
            <p:txBody>
              <a:bodyPr rtlCol="0" anchor="ctr"/>
              <a:lstStyle/>
              <a:p>
                <a:endParaRPr lang="en-GB"/>
              </a:p>
            </p:txBody>
          </p:sp>
          <p:sp>
            <p:nvSpPr>
              <p:cNvPr id="4807" name="Vrije vorm: vorm 4806">
                <a:extLst>
                  <a:ext uri="{FF2B5EF4-FFF2-40B4-BE49-F238E27FC236}">
                    <a16:creationId xmlns:a16="http://schemas.microsoft.com/office/drawing/2014/main" id="{49CF508B-30B7-47FD-9171-9BDDC028B82E}"/>
                  </a:ext>
                </a:extLst>
              </p:cNvPr>
              <p:cNvSpPr/>
              <p:nvPr/>
            </p:nvSpPr>
            <p:spPr>
              <a:xfrm>
                <a:off x="7581759" y="2456021"/>
                <a:ext cx="18343" cy="18484"/>
              </a:xfrm>
              <a:custGeom>
                <a:avLst/>
                <a:gdLst>
                  <a:gd name="connsiteX0" fmla="*/ 4327 w 18343"/>
                  <a:gd name="connsiteY0" fmla="*/ 1378 h 18484"/>
                  <a:gd name="connsiteX1" fmla="*/ 16946 w 18343"/>
                  <a:gd name="connsiteY1" fmla="*/ 4428 h 18484"/>
                  <a:gd name="connsiteX2" fmla="*/ 14016 w 18343"/>
                  <a:gd name="connsiteY2" fmla="*/ 17107 h 18484"/>
                  <a:gd name="connsiteX3" fmla="*/ 1397 w 18343"/>
                  <a:gd name="connsiteY3" fmla="*/ 14057 h 18484"/>
                  <a:gd name="connsiteX4" fmla="*/ 4327 w 18343"/>
                  <a:gd name="connsiteY4" fmla="*/ 137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4327" y="1378"/>
                    </a:moveTo>
                    <a:cubicBezTo>
                      <a:pt x="8633" y="-1314"/>
                      <a:pt x="14255" y="62"/>
                      <a:pt x="16946" y="4428"/>
                    </a:cubicBezTo>
                    <a:cubicBezTo>
                      <a:pt x="19638" y="8734"/>
                      <a:pt x="18323" y="14416"/>
                      <a:pt x="14016" y="17107"/>
                    </a:cubicBezTo>
                    <a:cubicBezTo>
                      <a:pt x="9710" y="19798"/>
                      <a:pt x="4089" y="18423"/>
                      <a:pt x="1397" y="14057"/>
                    </a:cubicBezTo>
                    <a:cubicBezTo>
                      <a:pt x="-1294" y="9691"/>
                      <a:pt x="21" y="4009"/>
                      <a:pt x="4327" y="1378"/>
                    </a:cubicBezTo>
                    <a:close/>
                  </a:path>
                </a:pathLst>
              </a:custGeom>
              <a:grpFill/>
              <a:ln w="5978" cap="flat">
                <a:noFill/>
                <a:prstDash val="solid"/>
                <a:miter/>
              </a:ln>
            </p:spPr>
            <p:txBody>
              <a:bodyPr rtlCol="0" anchor="ctr"/>
              <a:lstStyle/>
              <a:p>
                <a:endParaRPr lang="en-GB"/>
              </a:p>
            </p:txBody>
          </p:sp>
          <p:sp>
            <p:nvSpPr>
              <p:cNvPr id="4808" name="Vrije vorm: vorm 4807">
                <a:extLst>
                  <a:ext uri="{FF2B5EF4-FFF2-40B4-BE49-F238E27FC236}">
                    <a16:creationId xmlns:a16="http://schemas.microsoft.com/office/drawing/2014/main" id="{9F21A0D4-2EFD-4EFB-BDD2-89EDE777F83A}"/>
                  </a:ext>
                </a:extLst>
              </p:cNvPr>
              <p:cNvSpPr/>
              <p:nvPr/>
            </p:nvSpPr>
            <p:spPr>
              <a:xfrm>
                <a:off x="7474585" y="2522467"/>
                <a:ext cx="18343" cy="18443"/>
              </a:xfrm>
              <a:custGeom>
                <a:avLst/>
                <a:gdLst>
                  <a:gd name="connsiteX0" fmla="*/ 4328 w 18343"/>
                  <a:gd name="connsiteY0" fmla="*/ 1378 h 18443"/>
                  <a:gd name="connsiteX1" fmla="*/ 1397 w 18343"/>
                  <a:gd name="connsiteY1" fmla="*/ 14057 h 18443"/>
                  <a:gd name="connsiteX2" fmla="*/ 14016 w 18343"/>
                  <a:gd name="connsiteY2" fmla="*/ 17107 h 18443"/>
                  <a:gd name="connsiteX3" fmla="*/ 16947 w 18343"/>
                  <a:gd name="connsiteY3" fmla="*/ 4428 h 18443"/>
                  <a:gd name="connsiteX4" fmla="*/ 4328 w 18343"/>
                  <a:gd name="connsiteY4" fmla="*/ 1378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3">
                    <a:moveTo>
                      <a:pt x="4328" y="1378"/>
                    </a:moveTo>
                    <a:cubicBezTo>
                      <a:pt x="21" y="4069"/>
                      <a:pt x="-1295" y="9691"/>
                      <a:pt x="1397" y="14057"/>
                    </a:cubicBezTo>
                    <a:cubicBezTo>
                      <a:pt x="4088" y="18363"/>
                      <a:pt x="9710" y="19738"/>
                      <a:pt x="14016" y="17107"/>
                    </a:cubicBezTo>
                    <a:cubicBezTo>
                      <a:pt x="18322" y="14416"/>
                      <a:pt x="19638" y="8794"/>
                      <a:pt x="16947" y="4428"/>
                    </a:cubicBezTo>
                    <a:cubicBezTo>
                      <a:pt x="14255" y="62"/>
                      <a:pt x="8634" y="-1314"/>
                      <a:pt x="4328" y="1378"/>
                    </a:cubicBezTo>
                    <a:close/>
                  </a:path>
                </a:pathLst>
              </a:custGeom>
              <a:grpFill/>
              <a:ln w="5978" cap="flat">
                <a:noFill/>
                <a:prstDash val="solid"/>
                <a:miter/>
              </a:ln>
            </p:spPr>
            <p:txBody>
              <a:bodyPr rtlCol="0" anchor="ctr"/>
              <a:lstStyle/>
              <a:p>
                <a:endParaRPr lang="en-GB"/>
              </a:p>
            </p:txBody>
          </p:sp>
        </p:grpSp>
        <p:grpSp>
          <p:nvGrpSpPr>
            <p:cNvPr id="192" name="Graphic 3">
              <a:extLst>
                <a:ext uri="{FF2B5EF4-FFF2-40B4-BE49-F238E27FC236}">
                  <a16:creationId xmlns:a16="http://schemas.microsoft.com/office/drawing/2014/main" id="{6192291F-064C-412C-84FC-78E01D165E59}"/>
                </a:ext>
              </a:extLst>
            </p:cNvPr>
            <p:cNvGrpSpPr/>
            <p:nvPr/>
          </p:nvGrpSpPr>
          <p:grpSpPr>
            <a:xfrm>
              <a:off x="7347777" y="2208745"/>
              <a:ext cx="236732" cy="153296"/>
              <a:chOff x="7347777" y="2208745"/>
              <a:chExt cx="236732" cy="153296"/>
            </a:xfrm>
            <a:grpFill/>
          </p:grpSpPr>
          <p:sp>
            <p:nvSpPr>
              <p:cNvPr id="4803" name="Vrije vorm: vorm 4802">
                <a:extLst>
                  <a:ext uri="{FF2B5EF4-FFF2-40B4-BE49-F238E27FC236}">
                    <a16:creationId xmlns:a16="http://schemas.microsoft.com/office/drawing/2014/main" id="{D0791AE8-7A86-4B54-A94C-71832C1455F4}"/>
                  </a:ext>
                </a:extLst>
              </p:cNvPr>
              <p:cNvSpPr/>
              <p:nvPr/>
            </p:nvSpPr>
            <p:spPr>
              <a:xfrm>
                <a:off x="7355942" y="2216210"/>
                <a:ext cx="220734" cy="137901"/>
              </a:xfrm>
              <a:custGeom>
                <a:avLst/>
                <a:gdLst>
                  <a:gd name="connsiteX0" fmla="*/ 0 w 220734"/>
                  <a:gd name="connsiteY0" fmla="*/ 135306 h 137901"/>
                  <a:gd name="connsiteX1" fmla="*/ 219133 w 220734"/>
                  <a:gd name="connsiteY1" fmla="*/ 0 h 137901"/>
                  <a:gd name="connsiteX2" fmla="*/ 220735 w 220734"/>
                  <a:gd name="connsiteY2" fmla="*/ 2595 h 137901"/>
                  <a:gd name="connsiteX3" fmla="*/ 1603 w 220734"/>
                  <a:gd name="connsiteY3" fmla="*/ 137902 h 137901"/>
                </a:gdLst>
                <a:ahLst/>
                <a:cxnLst>
                  <a:cxn ang="0">
                    <a:pos x="connsiteX0" y="connsiteY0"/>
                  </a:cxn>
                  <a:cxn ang="0">
                    <a:pos x="connsiteX1" y="connsiteY1"/>
                  </a:cxn>
                  <a:cxn ang="0">
                    <a:pos x="connsiteX2" y="connsiteY2"/>
                  </a:cxn>
                  <a:cxn ang="0">
                    <a:pos x="connsiteX3" y="connsiteY3"/>
                  </a:cxn>
                </a:cxnLst>
                <a:rect l="l" t="t" r="r" b="b"/>
                <a:pathLst>
                  <a:path w="220734" h="137901">
                    <a:moveTo>
                      <a:pt x="0" y="135306"/>
                    </a:moveTo>
                    <a:lnTo>
                      <a:pt x="219133" y="0"/>
                    </a:lnTo>
                    <a:lnTo>
                      <a:pt x="220735" y="2595"/>
                    </a:lnTo>
                    <a:lnTo>
                      <a:pt x="1603" y="137902"/>
                    </a:lnTo>
                    <a:close/>
                  </a:path>
                </a:pathLst>
              </a:custGeom>
              <a:grpFill/>
              <a:ln w="5978" cap="flat">
                <a:noFill/>
                <a:prstDash val="solid"/>
                <a:miter/>
              </a:ln>
            </p:spPr>
            <p:txBody>
              <a:bodyPr rtlCol="0" anchor="ctr"/>
              <a:lstStyle/>
              <a:p>
                <a:endParaRPr lang="en-GB"/>
              </a:p>
            </p:txBody>
          </p:sp>
          <p:sp>
            <p:nvSpPr>
              <p:cNvPr id="4804" name="Vrije vorm: vorm 4803">
                <a:extLst>
                  <a:ext uri="{FF2B5EF4-FFF2-40B4-BE49-F238E27FC236}">
                    <a16:creationId xmlns:a16="http://schemas.microsoft.com/office/drawing/2014/main" id="{CAD63A13-6168-4BA1-8AC5-4E3FF70E2D4F}"/>
                  </a:ext>
                </a:extLst>
              </p:cNvPr>
              <p:cNvSpPr/>
              <p:nvPr/>
            </p:nvSpPr>
            <p:spPr>
              <a:xfrm>
                <a:off x="7347777" y="2343610"/>
                <a:ext cx="18343" cy="18431"/>
              </a:xfrm>
              <a:custGeom>
                <a:avLst/>
                <a:gdLst>
                  <a:gd name="connsiteX0" fmla="*/ 13973 w 18343"/>
                  <a:gd name="connsiteY0" fmla="*/ 17080 h 18431"/>
                  <a:gd name="connsiteX1" fmla="*/ 1353 w 18343"/>
                  <a:gd name="connsiteY1" fmla="*/ 14030 h 18431"/>
                  <a:gd name="connsiteX2" fmla="*/ 4344 w 18343"/>
                  <a:gd name="connsiteY2" fmla="*/ 1351 h 18431"/>
                  <a:gd name="connsiteX3" fmla="*/ 16963 w 18343"/>
                  <a:gd name="connsiteY3" fmla="*/ 4401 h 18431"/>
                  <a:gd name="connsiteX4" fmla="*/ 13973 w 18343"/>
                  <a:gd name="connsiteY4" fmla="*/ 1708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31">
                    <a:moveTo>
                      <a:pt x="13973" y="17080"/>
                    </a:moveTo>
                    <a:cubicBezTo>
                      <a:pt x="9667" y="19712"/>
                      <a:pt x="4045" y="18396"/>
                      <a:pt x="1353" y="14030"/>
                    </a:cubicBezTo>
                    <a:cubicBezTo>
                      <a:pt x="-1278" y="9664"/>
                      <a:pt x="38" y="4042"/>
                      <a:pt x="4344" y="1351"/>
                    </a:cubicBezTo>
                    <a:cubicBezTo>
                      <a:pt x="8650" y="-1280"/>
                      <a:pt x="14272" y="35"/>
                      <a:pt x="16963" y="4401"/>
                    </a:cubicBezTo>
                    <a:cubicBezTo>
                      <a:pt x="19655" y="8707"/>
                      <a:pt x="18279" y="14389"/>
                      <a:pt x="13973" y="17080"/>
                    </a:cubicBezTo>
                    <a:close/>
                  </a:path>
                </a:pathLst>
              </a:custGeom>
              <a:grpFill/>
              <a:ln w="5978" cap="flat">
                <a:noFill/>
                <a:prstDash val="solid"/>
                <a:miter/>
              </a:ln>
            </p:spPr>
            <p:txBody>
              <a:bodyPr rtlCol="0" anchor="ctr"/>
              <a:lstStyle/>
              <a:p>
                <a:endParaRPr lang="en-GB"/>
              </a:p>
            </p:txBody>
          </p:sp>
          <p:sp>
            <p:nvSpPr>
              <p:cNvPr id="4805" name="Vrije vorm: vorm 4804">
                <a:extLst>
                  <a:ext uri="{FF2B5EF4-FFF2-40B4-BE49-F238E27FC236}">
                    <a16:creationId xmlns:a16="http://schemas.microsoft.com/office/drawing/2014/main" id="{4C42819A-E5E0-4358-8FE5-D22E9038D620}"/>
                  </a:ext>
                </a:extLst>
              </p:cNvPr>
              <p:cNvSpPr/>
              <p:nvPr/>
            </p:nvSpPr>
            <p:spPr>
              <a:xfrm>
                <a:off x="7566193" y="2208745"/>
                <a:ext cx="18316" cy="18457"/>
              </a:xfrm>
              <a:custGeom>
                <a:avLst/>
                <a:gdLst>
                  <a:gd name="connsiteX0" fmla="*/ 13973 w 18316"/>
                  <a:gd name="connsiteY0" fmla="*/ 17080 h 18457"/>
                  <a:gd name="connsiteX1" fmla="*/ 16963 w 18316"/>
                  <a:gd name="connsiteY1" fmla="*/ 4401 h 18457"/>
                  <a:gd name="connsiteX2" fmla="*/ 4344 w 18316"/>
                  <a:gd name="connsiteY2" fmla="*/ 1351 h 18457"/>
                  <a:gd name="connsiteX3" fmla="*/ 1353 w 18316"/>
                  <a:gd name="connsiteY3" fmla="*/ 14030 h 18457"/>
                  <a:gd name="connsiteX4" fmla="*/ 13973 w 18316"/>
                  <a:gd name="connsiteY4" fmla="*/ 1708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7">
                    <a:moveTo>
                      <a:pt x="13973" y="17080"/>
                    </a:moveTo>
                    <a:cubicBezTo>
                      <a:pt x="18279" y="14449"/>
                      <a:pt x="19595" y="8767"/>
                      <a:pt x="16963" y="4401"/>
                    </a:cubicBezTo>
                    <a:cubicBezTo>
                      <a:pt x="14332" y="35"/>
                      <a:pt x="8650" y="-1280"/>
                      <a:pt x="4344" y="1351"/>
                    </a:cubicBezTo>
                    <a:cubicBezTo>
                      <a:pt x="38" y="3983"/>
                      <a:pt x="-1278" y="9664"/>
                      <a:pt x="1353" y="14030"/>
                    </a:cubicBezTo>
                    <a:cubicBezTo>
                      <a:pt x="3985" y="18396"/>
                      <a:pt x="9667" y="19772"/>
                      <a:pt x="13973" y="17080"/>
                    </a:cubicBezTo>
                    <a:close/>
                  </a:path>
                </a:pathLst>
              </a:custGeom>
              <a:grpFill/>
              <a:ln w="5978" cap="flat">
                <a:noFill/>
                <a:prstDash val="solid"/>
                <a:miter/>
              </a:ln>
            </p:spPr>
            <p:txBody>
              <a:bodyPr rtlCol="0" anchor="ctr"/>
              <a:lstStyle/>
              <a:p>
                <a:endParaRPr lang="en-GB"/>
              </a:p>
            </p:txBody>
          </p:sp>
        </p:grpSp>
        <p:grpSp>
          <p:nvGrpSpPr>
            <p:cNvPr id="193" name="Graphic 3">
              <a:extLst>
                <a:ext uri="{FF2B5EF4-FFF2-40B4-BE49-F238E27FC236}">
                  <a16:creationId xmlns:a16="http://schemas.microsoft.com/office/drawing/2014/main" id="{0AEC1BA7-E54E-4DFA-9444-30A6AA76E243}"/>
                </a:ext>
              </a:extLst>
            </p:cNvPr>
            <p:cNvGrpSpPr/>
            <p:nvPr/>
          </p:nvGrpSpPr>
          <p:grpSpPr>
            <a:xfrm>
              <a:off x="7709223" y="3185188"/>
              <a:ext cx="152593" cy="35057"/>
              <a:chOff x="7709223" y="3185188"/>
              <a:chExt cx="152593" cy="35057"/>
            </a:xfrm>
            <a:grpFill/>
          </p:grpSpPr>
          <p:sp>
            <p:nvSpPr>
              <p:cNvPr id="4800" name="Vrije vorm: vorm 4799">
                <a:extLst>
                  <a:ext uri="{FF2B5EF4-FFF2-40B4-BE49-F238E27FC236}">
                    <a16:creationId xmlns:a16="http://schemas.microsoft.com/office/drawing/2014/main" id="{4EDDE4FE-069B-4428-B8A4-35974441DBDB}"/>
                  </a:ext>
                </a:extLst>
              </p:cNvPr>
              <p:cNvSpPr/>
              <p:nvPr/>
            </p:nvSpPr>
            <p:spPr>
              <a:xfrm>
                <a:off x="7717722" y="3192788"/>
                <a:ext cx="135643" cy="19796"/>
              </a:xfrm>
              <a:custGeom>
                <a:avLst/>
                <a:gdLst>
                  <a:gd name="connsiteX0" fmla="*/ 135224 w 135643"/>
                  <a:gd name="connsiteY0" fmla="*/ 0 h 19796"/>
                  <a:gd name="connsiteX1" fmla="*/ 135643 w 135643"/>
                  <a:gd name="connsiteY1" fmla="*/ 3050 h 19796"/>
                  <a:gd name="connsiteX2" fmla="*/ 419 w 135643"/>
                  <a:gd name="connsiteY2" fmla="*/ 19796 h 19796"/>
                  <a:gd name="connsiteX3" fmla="*/ 0 w 135643"/>
                  <a:gd name="connsiteY3" fmla="*/ 16746 h 19796"/>
                </a:gdLst>
                <a:ahLst/>
                <a:cxnLst>
                  <a:cxn ang="0">
                    <a:pos x="connsiteX0" y="connsiteY0"/>
                  </a:cxn>
                  <a:cxn ang="0">
                    <a:pos x="connsiteX1" y="connsiteY1"/>
                  </a:cxn>
                  <a:cxn ang="0">
                    <a:pos x="connsiteX2" y="connsiteY2"/>
                  </a:cxn>
                  <a:cxn ang="0">
                    <a:pos x="connsiteX3" y="connsiteY3"/>
                  </a:cxn>
                </a:cxnLst>
                <a:rect l="l" t="t" r="r" b="b"/>
                <a:pathLst>
                  <a:path w="135643" h="19796">
                    <a:moveTo>
                      <a:pt x="135224" y="0"/>
                    </a:moveTo>
                    <a:lnTo>
                      <a:pt x="135643" y="3050"/>
                    </a:lnTo>
                    <a:lnTo>
                      <a:pt x="419" y="19796"/>
                    </a:lnTo>
                    <a:lnTo>
                      <a:pt x="0" y="16746"/>
                    </a:lnTo>
                    <a:close/>
                  </a:path>
                </a:pathLst>
              </a:custGeom>
              <a:grpFill/>
              <a:ln w="5978" cap="flat">
                <a:noFill/>
                <a:prstDash val="solid"/>
                <a:miter/>
              </a:ln>
            </p:spPr>
            <p:txBody>
              <a:bodyPr rtlCol="0" anchor="ctr"/>
              <a:lstStyle/>
              <a:p>
                <a:endParaRPr lang="en-GB"/>
              </a:p>
            </p:txBody>
          </p:sp>
          <p:sp>
            <p:nvSpPr>
              <p:cNvPr id="4801" name="Vrije vorm: vorm 4800">
                <a:extLst>
                  <a:ext uri="{FF2B5EF4-FFF2-40B4-BE49-F238E27FC236}">
                    <a16:creationId xmlns:a16="http://schemas.microsoft.com/office/drawing/2014/main" id="{D7CBEE69-99A3-4D3C-9D42-B9B0390BF2FC}"/>
                  </a:ext>
                </a:extLst>
              </p:cNvPr>
              <p:cNvSpPr/>
              <p:nvPr/>
            </p:nvSpPr>
            <p:spPr>
              <a:xfrm>
                <a:off x="7843491" y="3185188"/>
                <a:ext cx="18325" cy="18431"/>
              </a:xfrm>
              <a:custGeom>
                <a:avLst/>
                <a:gdLst>
                  <a:gd name="connsiteX0" fmla="*/ 8020 w 18325"/>
                  <a:gd name="connsiteY0" fmla="*/ 65 h 18431"/>
                  <a:gd name="connsiteX1" fmla="*/ 18248 w 18325"/>
                  <a:gd name="connsiteY1" fmla="*/ 8079 h 18431"/>
                  <a:gd name="connsiteX2" fmla="*/ 10293 w 18325"/>
                  <a:gd name="connsiteY2" fmla="*/ 18366 h 18431"/>
                  <a:gd name="connsiteX3" fmla="*/ 66 w 18325"/>
                  <a:gd name="connsiteY3" fmla="*/ 10352 h 18431"/>
                  <a:gd name="connsiteX4" fmla="*/ 8020 w 18325"/>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1">
                    <a:moveTo>
                      <a:pt x="8020" y="65"/>
                    </a:moveTo>
                    <a:cubicBezTo>
                      <a:pt x="13044" y="-533"/>
                      <a:pt x="17649" y="3055"/>
                      <a:pt x="18248" y="8079"/>
                    </a:cubicBezTo>
                    <a:cubicBezTo>
                      <a:pt x="18905" y="13103"/>
                      <a:pt x="15316" y="17708"/>
                      <a:pt x="10293" y="18366"/>
                    </a:cubicBezTo>
                    <a:cubicBezTo>
                      <a:pt x="5269" y="18964"/>
                      <a:pt x="664" y="15376"/>
                      <a:pt x="66" y="10352"/>
                    </a:cubicBezTo>
                    <a:cubicBezTo>
                      <a:pt x="-532" y="5268"/>
                      <a:pt x="2997" y="663"/>
                      <a:pt x="8020" y="65"/>
                    </a:cubicBezTo>
                    <a:close/>
                  </a:path>
                </a:pathLst>
              </a:custGeom>
              <a:grpFill/>
              <a:ln w="5978" cap="flat">
                <a:noFill/>
                <a:prstDash val="solid"/>
                <a:miter/>
              </a:ln>
            </p:spPr>
            <p:txBody>
              <a:bodyPr rtlCol="0" anchor="ctr"/>
              <a:lstStyle/>
              <a:p>
                <a:endParaRPr lang="en-GB"/>
              </a:p>
            </p:txBody>
          </p:sp>
          <p:sp>
            <p:nvSpPr>
              <p:cNvPr id="4802" name="Vrije vorm: vorm 4801">
                <a:extLst>
                  <a:ext uri="{FF2B5EF4-FFF2-40B4-BE49-F238E27FC236}">
                    <a16:creationId xmlns:a16="http://schemas.microsoft.com/office/drawing/2014/main" id="{55A23A75-B5FB-48A0-8DFC-BF5524C94375}"/>
                  </a:ext>
                </a:extLst>
              </p:cNvPr>
              <p:cNvSpPr/>
              <p:nvPr/>
            </p:nvSpPr>
            <p:spPr>
              <a:xfrm>
                <a:off x="7709223" y="3201814"/>
                <a:ext cx="18313" cy="18431"/>
              </a:xfrm>
              <a:custGeom>
                <a:avLst/>
                <a:gdLst>
                  <a:gd name="connsiteX0" fmla="*/ 8021 w 18313"/>
                  <a:gd name="connsiteY0" fmla="*/ 65 h 18431"/>
                  <a:gd name="connsiteX1" fmla="*/ 66 w 18313"/>
                  <a:gd name="connsiteY1" fmla="*/ 10352 h 18431"/>
                  <a:gd name="connsiteX2" fmla="*/ 10294 w 18313"/>
                  <a:gd name="connsiteY2" fmla="*/ 18366 h 18431"/>
                  <a:gd name="connsiteX3" fmla="*/ 18248 w 18313"/>
                  <a:gd name="connsiteY3" fmla="*/ 8079 h 18431"/>
                  <a:gd name="connsiteX4" fmla="*/ 8021 w 18313"/>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8021" y="65"/>
                    </a:moveTo>
                    <a:cubicBezTo>
                      <a:pt x="2997" y="663"/>
                      <a:pt x="-532" y="5268"/>
                      <a:pt x="66" y="10352"/>
                    </a:cubicBezTo>
                    <a:cubicBezTo>
                      <a:pt x="725" y="15376"/>
                      <a:pt x="5269" y="18964"/>
                      <a:pt x="10294" y="18366"/>
                    </a:cubicBezTo>
                    <a:cubicBezTo>
                      <a:pt x="15317" y="17768"/>
                      <a:pt x="18846" y="13163"/>
                      <a:pt x="18248" y="8079"/>
                    </a:cubicBezTo>
                    <a:cubicBezTo>
                      <a:pt x="17590" y="3055"/>
                      <a:pt x="12985" y="-533"/>
                      <a:pt x="8021" y="65"/>
                    </a:cubicBezTo>
                    <a:close/>
                  </a:path>
                </a:pathLst>
              </a:custGeom>
              <a:grpFill/>
              <a:ln w="5978" cap="flat">
                <a:noFill/>
                <a:prstDash val="solid"/>
                <a:miter/>
              </a:ln>
            </p:spPr>
            <p:txBody>
              <a:bodyPr rtlCol="0" anchor="ctr"/>
              <a:lstStyle/>
              <a:p>
                <a:endParaRPr lang="en-GB"/>
              </a:p>
            </p:txBody>
          </p:sp>
        </p:grpSp>
        <p:grpSp>
          <p:nvGrpSpPr>
            <p:cNvPr id="194" name="Graphic 3">
              <a:extLst>
                <a:ext uri="{FF2B5EF4-FFF2-40B4-BE49-F238E27FC236}">
                  <a16:creationId xmlns:a16="http://schemas.microsoft.com/office/drawing/2014/main" id="{8237CFF6-330A-4C27-911F-F1525FD7314A}"/>
                </a:ext>
              </a:extLst>
            </p:cNvPr>
            <p:cNvGrpSpPr/>
            <p:nvPr/>
          </p:nvGrpSpPr>
          <p:grpSpPr>
            <a:xfrm>
              <a:off x="7487462" y="2480764"/>
              <a:ext cx="137402" cy="89119"/>
              <a:chOff x="7487462" y="2480764"/>
              <a:chExt cx="137402" cy="89119"/>
            </a:xfrm>
            <a:grpFill/>
          </p:grpSpPr>
          <p:sp>
            <p:nvSpPr>
              <p:cNvPr id="4797" name="Vrije vorm: vorm 4796">
                <a:extLst>
                  <a:ext uri="{FF2B5EF4-FFF2-40B4-BE49-F238E27FC236}">
                    <a16:creationId xmlns:a16="http://schemas.microsoft.com/office/drawing/2014/main" id="{C99F3E97-9C19-4387-87E9-4AA0B9C60523}"/>
                  </a:ext>
                </a:extLst>
              </p:cNvPr>
              <p:cNvSpPr/>
              <p:nvPr/>
            </p:nvSpPr>
            <p:spPr>
              <a:xfrm>
                <a:off x="7495479" y="2488379"/>
                <a:ext cx="121349" cy="73861"/>
              </a:xfrm>
              <a:custGeom>
                <a:avLst/>
                <a:gdLst>
                  <a:gd name="connsiteX0" fmla="*/ 121349 w 121349"/>
                  <a:gd name="connsiteY0" fmla="*/ 2631 h 73861"/>
                  <a:gd name="connsiteX1" fmla="*/ 1555 w 121349"/>
                  <a:gd name="connsiteY1" fmla="*/ 73862 h 73861"/>
                  <a:gd name="connsiteX2" fmla="*/ 0 w 121349"/>
                  <a:gd name="connsiteY2" fmla="*/ 71230 h 73861"/>
                  <a:gd name="connsiteX3" fmla="*/ 119794 w 121349"/>
                  <a:gd name="connsiteY3" fmla="*/ 0 h 73861"/>
                </a:gdLst>
                <a:ahLst/>
                <a:cxnLst>
                  <a:cxn ang="0">
                    <a:pos x="connsiteX0" y="connsiteY0"/>
                  </a:cxn>
                  <a:cxn ang="0">
                    <a:pos x="connsiteX1" y="connsiteY1"/>
                  </a:cxn>
                  <a:cxn ang="0">
                    <a:pos x="connsiteX2" y="connsiteY2"/>
                  </a:cxn>
                  <a:cxn ang="0">
                    <a:pos x="connsiteX3" y="connsiteY3"/>
                  </a:cxn>
                </a:cxnLst>
                <a:rect l="l" t="t" r="r" b="b"/>
                <a:pathLst>
                  <a:path w="121349" h="73861">
                    <a:moveTo>
                      <a:pt x="121349" y="2631"/>
                    </a:moveTo>
                    <a:lnTo>
                      <a:pt x="1555" y="73862"/>
                    </a:lnTo>
                    <a:lnTo>
                      <a:pt x="0" y="71230"/>
                    </a:lnTo>
                    <a:lnTo>
                      <a:pt x="119794" y="0"/>
                    </a:lnTo>
                    <a:close/>
                  </a:path>
                </a:pathLst>
              </a:custGeom>
              <a:grpFill/>
              <a:ln w="5978" cap="flat">
                <a:noFill/>
                <a:prstDash val="solid"/>
                <a:miter/>
              </a:ln>
            </p:spPr>
            <p:txBody>
              <a:bodyPr rtlCol="0" anchor="ctr"/>
              <a:lstStyle/>
              <a:p>
                <a:endParaRPr lang="en-GB"/>
              </a:p>
            </p:txBody>
          </p:sp>
          <p:sp>
            <p:nvSpPr>
              <p:cNvPr id="4798" name="Vrije vorm: vorm 4797">
                <a:extLst>
                  <a:ext uri="{FF2B5EF4-FFF2-40B4-BE49-F238E27FC236}">
                    <a16:creationId xmlns:a16="http://schemas.microsoft.com/office/drawing/2014/main" id="{21733D36-02F9-43D5-916B-95B0331C7286}"/>
                  </a:ext>
                </a:extLst>
              </p:cNvPr>
              <p:cNvSpPr/>
              <p:nvPr/>
            </p:nvSpPr>
            <p:spPr>
              <a:xfrm>
                <a:off x="7606538" y="2480764"/>
                <a:ext cx="18325" cy="18400"/>
              </a:xfrm>
              <a:custGeom>
                <a:avLst/>
                <a:gdLst>
                  <a:gd name="connsiteX0" fmla="*/ 4488 w 18325"/>
                  <a:gd name="connsiteY0" fmla="*/ 1276 h 18400"/>
                  <a:gd name="connsiteX1" fmla="*/ 17048 w 18325"/>
                  <a:gd name="connsiteY1" fmla="*/ 4506 h 18400"/>
                  <a:gd name="connsiteX2" fmla="*/ 13878 w 18325"/>
                  <a:gd name="connsiteY2" fmla="*/ 17125 h 18400"/>
                  <a:gd name="connsiteX3" fmla="*/ 1318 w 18325"/>
                  <a:gd name="connsiteY3" fmla="*/ 13895 h 18400"/>
                  <a:gd name="connsiteX4" fmla="*/ 4488 w 18325"/>
                  <a:gd name="connsiteY4" fmla="*/ 127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0">
                    <a:moveTo>
                      <a:pt x="4488" y="1276"/>
                    </a:moveTo>
                    <a:cubicBezTo>
                      <a:pt x="8854" y="-1296"/>
                      <a:pt x="14476" y="140"/>
                      <a:pt x="17048" y="4506"/>
                    </a:cubicBezTo>
                    <a:cubicBezTo>
                      <a:pt x="19620" y="8872"/>
                      <a:pt x="18184" y="14553"/>
                      <a:pt x="13878" y="17125"/>
                    </a:cubicBezTo>
                    <a:cubicBezTo>
                      <a:pt x="9512" y="19697"/>
                      <a:pt x="3890" y="18261"/>
                      <a:pt x="1318" y="13895"/>
                    </a:cubicBezTo>
                    <a:cubicBezTo>
                      <a:pt x="-1313" y="9470"/>
                      <a:pt x="122" y="3848"/>
                      <a:pt x="4488" y="1276"/>
                    </a:cubicBezTo>
                    <a:close/>
                  </a:path>
                </a:pathLst>
              </a:custGeom>
              <a:grpFill/>
              <a:ln w="5978" cap="flat">
                <a:noFill/>
                <a:prstDash val="solid"/>
                <a:miter/>
              </a:ln>
            </p:spPr>
            <p:txBody>
              <a:bodyPr rtlCol="0" anchor="ctr"/>
              <a:lstStyle/>
              <a:p>
                <a:endParaRPr lang="en-GB"/>
              </a:p>
            </p:txBody>
          </p:sp>
          <p:sp>
            <p:nvSpPr>
              <p:cNvPr id="4799" name="Vrije vorm: vorm 4798">
                <a:extLst>
                  <a:ext uri="{FF2B5EF4-FFF2-40B4-BE49-F238E27FC236}">
                    <a16:creationId xmlns:a16="http://schemas.microsoft.com/office/drawing/2014/main" id="{45827758-389B-4ED0-B245-C160CB69B63F}"/>
                  </a:ext>
                </a:extLst>
              </p:cNvPr>
              <p:cNvSpPr/>
              <p:nvPr/>
            </p:nvSpPr>
            <p:spPr>
              <a:xfrm>
                <a:off x="7487462" y="2551456"/>
                <a:ext cx="18366" cy="18427"/>
              </a:xfrm>
              <a:custGeom>
                <a:avLst/>
                <a:gdLst>
                  <a:gd name="connsiteX0" fmla="*/ 4488 w 18366"/>
                  <a:gd name="connsiteY0" fmla="*/ 1276 h 18427"/>
                  <a:gd name="connsiteX1" fmla="*/ 1318 w 18366"/>
                  <a:gd name="connsiteY1" fmla="*/ 13895 h 18427"/>
                  <a:gd name="connsiteX2" fmla="*/ 13878 w 18366"/>
                  <a:gd name="connsiteY2" fmla="*/ 17125 h 18427"/>
                  <a:gd name="connsiteX3" fmla="*/ 17048 w 18366"/>
                  <a:gd name="connsiteY3" fmla="*/ 4506 h 18427"/>
                  <a:gd name="connsiteX4" fmla="*/ 4488 w 18366"/>
                  <a:gd name="connsiteY4" fmla="*/ 127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7">
                    <a:moveTo>
                      <a:pt x="4488" y="1276"/>
                    </a:moveTo>
                    <a:cubicBezTo>
                      <a:pt x="122" y="3848"/>
                      <a:pt x="-1313" y="9529"/>
                      <a:pt x="1318" y="13895"/>
                    </a:cubicBezTo>
                    <a:cubicBezTo>
                      <a:pt x="3890" y="18261"/>
                      <a:pt x="9512" y="19756"/>
                      <a:pt x="13878" y="17125"/>
                    </a:cubicBezTo>
                    <a:cubicBezTo>
                      <a:pt x="18244" y="14553"/>
                      <a:pt x="19679" y="8872"/>
                      <a:pt x="17048" y="4506"/>
                    </a:cubicBezTo>
                    <a:cubicBezTo>
                      <a:pt x="14476" y="140"/>
                      <a:pt x="8854" y="-1296"/>
                      <a:pt x="4488" y="1276"/>
                    </a:cubicBezTo>
                    <a:close/>
                  </a:path>
                </a:pathLst>
              </a:custGeom>
              <a:grpFill/>
              <a:ln w="5978" cap="flat">
                <a:noFill/>
                <a:prstDash val="solid"/>
                <a:miter/>
              </a:ln>
            </p:spPr>
            <p:txBody>
              <a:bodyPr rtlCol="0" anchor="ctr"/>
              <a:lstStyle/>
              <a:p>
                <a:endParaRPr lang="en-GB"/>
              </a:p>
            </p:txBody>
          </p:sp>
        </p:grpSp>
        <p:grpSp>
          <p:nvGrpSpPr>
            <p:cNvPr id="195" name="Graphic 3">
              <a:extLst>
                <a:ext uri="{FF2B5EF4-FFF2-40B4-BE49-F238E27FC236}">
                  <a16:creationId xmlns:a16="http://schemas.microsoft.com/office/drawing/2014/main" id="{142FA238-4376-4A21-A112-D6E09BB3044B}"/>
                </a:ext>
              </a:extLst>
            </p:cNvPr>
            <p:cNvGrpSpPr/>
            <p:nvPr/>
          </p:nvGrpSpPr>
          <p:grpSpPr>
            <a:xfrm>
              <a:off x="7499884" y="2521028"/>
              <a:ext cx="123051" cy="77999"/>
              <a:chOff x="7499884" y="2521028"/>
              <a:chExt cx="123051" cy="77999"/>
            </a:xfrm>
            <a:grpFill/>
          </p:grpSpPr>
          <p:sp>
            <p:nvSpPr>
              <p:cNvPr id="4794" name="Vrije vorm: vorm 4793">
                <a:extLst>
                  <a:ext uri="{FF2B5EF4-FFF2-40B4-BE49-F238E27FC236}">
                    <a16:creationId xmlns:a16="http://schemas.microsoft.com/office/drawing/2014/main" id="{7BD309EB-3EA5-4C50-98F0-EAC40CA457A3}"/>
                  </a:ext>
                </a:extLst>
              </p:cNvPr>
              <p:cNvSpPr/>
              <p:nvPr/>
            </p:nvSpPr>
            <p:spPr>
              <a:xfrm>
                <a:off x="7508093" y="2529013"/>
                <a:ext cx="107036" cy="62687"/>
              </a:xfrm>
              <a:custGeom>
                <a:avLst/>
                <a:gdLst>
                  <a:gd name="connsiteX0" fmla="*/ 0 w 107036"/>
                  <a:gd name="connsiteY0" fmla="*/ 60037 h 62687"/>
                  <a:gd name="connsiteX1" fmla="*/ 105528 w 107036"/>
                  <a:gd name="connsiteY1" fmla="*/ 0 h 62687"/>
                  <a:gd name="connsiteX2" fmla="*/ 107037 w 107036"/>
                  <a:gd name="connsiteY2" fmla="*/ 2651 h 62687"/>
                  <a:gd name="connsiteX3" fmla="*/ 1508 w 107036"/>
                  <a:gd name="connsiteY3" fmla="*/ 62688 h 62687"/>
                </a:gdLst>
                <a:ahLst/>
                <a:cxnLst>
                  <a:cxn ang="0">
                    <a:pos x="connsiteX0" y="connsiteY0"/>
                  </a:cxn>
                  <a:cxn ang="0">
                    <a:pos x="connsiteX1" y="connsiteY1"/>
                  </a:cxn>
                  <a:cxn ang="0">
                    <a:pos x="connsiteX2" y="connsiteY2"/>
                  </a:cxn>
                  <a:cxn ang="0">
                    <a:pos x="connsiteX3" y="connsiteY3"/>
                  </a:cxn>
                </a:cxnLst>
                <a:rect l="l" t="t" r="r" b="b"/>
                <a:pathLst>
                  <a:path w="107036" h="62687">
                    <a:moveTo>
                      <a:pt x="0" y="60037"/>
                    </a:moveTo>
                    <a:lnTo>
                      <a:pt x="105528" y="0"/>
                    </a:lnTo>
                    <a:lnTo>
                      <a:pt x="107037" y="2651"/>
                    </a:lnTo>
                    <a:lnTo>
                      <a:pt x="1508" y="62688"/>
                    </a:lnTo>
                    <a:close/>
                  </a:path>
                </a:pathLst>
              </a:custGeom>
              <a:grpFill/>
              <a:ln w="5978" cap="flat">
                <a:noFill/>
                <a:prstDash val="solid"/>
                <a:miter/>
              </a:ln>
            </p:spPr>
            <p:txBody>
              <a:bodyPr rtlCol="0" anchor="ctr"/>
              <a:lstStyle/>
              <a:p>
                <a:endParaRPr lang="en-GB"/>
              </a:p>
            </p:txBody>
          </p:sp>
          <p:sp>
            <p:nvSpPr>
              <p:cNvPr id="4795" name="Vrije vorm: vorm 4794">
                <a:extLst>
                  <a:ext uri="{FF2B5EF4-FFF2-40B4-BE49-F238E27FC236}">
                    <a16:creationId xmlns:a16="http://schemas.microsoft.com/office/drawing/2014/main" id="{11047162-D2C7-4434-82B2-8429F8F6AD73}"/>
                  </a:ext>
                </a:extLst>
              </p:cNvPr>
              <p:cNvSpPr/>
              <p:nvPr/>
            </p:nvSpPr>
            <p:spPr>
              <a:xfrm>
                <a:off x="7604580" y="2521028"/>
                <a:ext cx="18355" cy="18431"/>
              </a:xfrm>
              <a:custGeom>
                <a:avLst/>
                <a:gdLst>
                  <a:gd name="connsiteX0" fmla="*/ 4652 w 18355"/>
                  <a:gd name="connsiteY0" fmla="*/ 1201 h 18431"/>
                  <a:gd name="connsiteX1" fmla="*/ 17152 w 18355"/>
                  <a:gd name="connsiteY1" fmla="*/ 4670 h 18431"/>
                  <a:gd name="connsiteX2" fmla="*/ 13743 w 18355"/>
                  <a:gd name="connsiteY2" fmla="*/ 17230 h 18431"/>
                  <a:gd name="connsiteX3" fmla="*/ 1243 w 18355"/>
                  <a:gd name="connsiteY3" fmla="*/ 13761 h 18431"/>
                  <a:gd name="connsiteX4" fmla="*/ 4652 w 18355"/>
                  <a:gd name="connsiteY4" fmla="*/ 120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31">
                    <a:moveTo>
                      <a:pt x="4652" y="1201"/>
                    </a:moveTo>
                    <a:cubicBezTo>
                      <a:pt x="9078" y="-1310"/>
                      <a:pt x="14640" y="245"/>
                      <a:pt x="17152" y="4670"/>
                    </a:cubicBezTo>
                    <a:cubicBezTo>
                      <a:pt x="19664" y="9096"/>
                      <a:pt x="18109" y="14718"/>
                      <a:pt x="13743" y="17230"/>
                    </a:cubicBezTo>
                    <a:cubicBezTo>
                      <a:pt x="9317" y="19742"/>
                      <a:pt x="3755" y="18187"/>
                      <a:pt x="1243" y="13761"/>
                    </a:cubicBezTo>
                    <a:cubicBezTo>
                      <a:pt x="-1329" y="9275"/>
                      <a:pt x="226" y="3654"/>
                      <a:pt x="4652" y="1201"/>
                    </a:cubicBezTo>
                    <a:close/>
                  </a:path>
                </a:pathLst>
              </a:custGeom>
              <a:grpFill/>
              <a:ln w="5978" cap="flat">
                <a:noFill/>
                <a:prstDash val="solid"/>
                <a:miter/>
              </a:ln>
            </p:spPr>
            <p:txBody>
              <a:bodyPr rtlCol="0" anchor="ctr"/>
              <a:lstStyle/>
              <a:p>
                <a:endParaRPr lang="en-GB"/>
              </a:p>
            </p:txBody>
          </p:sp>
          <p:sp>
            <p:nvSpPr>
              <p:cNvPr id="4796" name="Vrije vorm: vorm 4795">
                <a:extLst>
                  <a:ext uri="{FF2B5EF4-FFF2-40B4-BE49-F238E27FC236}">
                    <a16:creationId xmlns:a16="http://schemas.microsoft.com/office/drawing/2014/main" id="{4D3B1982-1793-4F6E-BAEC-C523382F9D04}"/>
                  </a:ext>
                </a:extLst>
              </p:cNvPr>
              <p:cNvSpPr/>
              <p:nvPr/>
            </p:nvSpPr>
            <p:spPr>
              <a:xfrm>
                <a:off x="7499884" y="2580596"/>
                <a:ext cx="18328" cy="18431"/>
              </a:xfrm>
              <a:custGeom>
                <a:avLst/>
                <a:gdLst>
                  <a:gd name="connsiteX0" fmla="*/ 4625 w 18328"/>
                  <a:gd name="connsiteY0" fmla="*/ 1202 h 18431"/>
                  <a:gd name="connsiteX1" fmla="*/ 1217 w 18328"/>
                  <a:gd name="connsiteY1" fmla="*/ 13761 h 18431"/>
                  <a:gd name="connsiteX2" fmla="*/ 13716 w 18328"/>
                  <a:gd name="connsiteY2" fmla="*/ 17230 h 18431"/>
                  <a:gd name="connsiteX3" fmla="*/ 17126 w 18328"/>
                  <a:gd name="connsiteY3" fmla="*/ 4670 h 18431"/>
                  <a:gd name="connsiteX4" fmla="*/ 4625 w 18328"/>
                  <a:gd name="connsiteY4" fmla="*/ 12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31">
                    <a:moveTo>
                      <a:pt x="4625" y="1202"/>
                    </a:moveTo>
                    <a:cubicBezTo>
                      <a:pt x="200" y="3713"/>
                      <a:pt x="-1296" y="9335"/>
                      <a:pt x="1217" y="13761"/>
                    </a:cubicBezTo>
                    <a:cubicBezTo>
                      <a:pt x="3729" y="18187"/>
                      <a:pt x="9350" y="19742"/>
                      <a:pt x="13716" y="17230"/>
                    </a:cubicBezTo>
                    <a:cubicBezTo>
                      <a:pt x="18082" y="14718"/>
                      <a:pt x="19637" y="9096"/>
                      <a:pt x="17126" y="4670"/>
                    </a:cubicBezTo>
                    <a:cubicBezTo>
                      <a:pt x="14613" y="245"/>
                      <a:pt x="8992" y="-1310"/>
                      <a:pt x="4625" y="1202"/>
                    </a:cubicBezTo>
                    <a:close/>
                  </a:path>
                </a:pathLst>
              </a:custGeom>
              <a:grpFill/>
              <a:ln w="5978" cap="flat">
                <a:noFill/>
                <a:prstDash val="solid"/>
                <a:miter/>
              </a:ln>
            </p:spPr>
            <p:txBody>
              <a:bodyPr rtlCol="0" anchor="ctr"/>
              <a:lstStyle/>
              <a:p>
                <a:endParaRPr lang="en-GB"/>
              </a:p>
            </p:txBody>
          </p:sp>
        </p:grpSp>
        <p:grpSp>
          <p:nvGrpSpPr>
            <p:cNvPr id="196" name="Graphic 3">
              <a:extLst>
                <a:ext uri="{FF2B5EF4-FFF2-40B4-BE49-F238E27FC236}">
                  <a16:creationId xmlns:a16="http://schemas.microsoft.com/office/drawing/2014/main" id="{86104ACB-7BDF-4683-A015-9B4B688639D2}"/>
                </a:ext>
              </a:extLst>
            </p:cNvPr>
            <p:cNvGrpSpPr/>
            <p:nvPr/>
          </p:nvGrpSpPr>
          <p:grpSpPr>
            <a:xfrm>
              <a:off x="7812258" y="3655125"/>
              <a:ext cx="219186" cy="46595"/>
              <a:chOff x="7812258" y="3655125"/>
              <a:chExt cx="219186" cy="46595"/>
            </a:xfrm>
            <a:grpFill/>
          </p:grpSpPr>
          <p:sp>
            <p:nvSpPr>
              <p:cNvPr id="4791" name="Vrije vorm: vorm 4790">
                <a:extLst>
                  <a:ext uri="{FF2B5EF4-FFF2-40B4-BE49-F238E27FC236}">
                    <a16:creationId xmlns:a16="http://schemas.microsoft.com/office/drawing/2014/main" id="{B7E051C6-AAF7-4826-B0BC-6C5D3DFC7D83}"/>
                  </a:ext>
                </a:extLst>
              </p:cNvPr>
              <p:cNvSpPr/>
              <p:nvPr/>
            </p:nvSpPr>
            <p:spPr>
              <a:xfrm>
                <a:off x="7820770" y="3662813"/>
                <a:ext cx="202148" cy="31279"/>
              </a:xfrm>
              <a:custGeom>
                <a:avLst/>
                <a:gdLst>
                  <a:gd name="connsiteX0" fmla="*/ 202149 w 202148"/>
                  <a:gd name="connsiteY0" fmla="*/ 28229 h 31279"/>
                  <a:gd name="connsiteX1" fmla="*/ 201730 w 202148"/>
                  <a:gd name="connsiteY1" fmla="*/ 31279 h 31279"/>
                  <a:gd name="connsiteX2" fmla="*/ 0 w 202148"/>
                  <a:gd name="connsiteY2" fmla="*/ 2990 h 31279"/>
                  <a:gd name="connsiteX3" fmla="*/ 359 w 202148"/>
                  <a:gd name="connsiteY3" fmla="*/ 0 h 31279"/>
                </a:gdLst>
                <a:ahLst/>
                <a:cxnLst>
                  <a:cxn ang="0">
                    <a:pos x="connsiteX0" y="connsiteY0"/>
                  </a:cxn>
                  <a:cxn ang="0">
                    <a:pos x="connsiteX1" y="connsiteY1"/>
                  </a:cxn>
                  <a:cxn ang="0">
                    <a:pos x="connsiteX2" y="connsiteY2"/>
                  </a:cxn>
                  <a:cxn ang="0">
                    <a:pos x="connsiteX3" y="connsiteY3"/>
                  </a:cxn>
                </a:cxnLst>
                <a:rect l="l" t="t" r="r" b="b"/>
                <a:pathLst>
                  <a:path w="202148" h="31279">
                    <a:moveTo>
                      <a:pt x="202149" y="28229"/>
                    </a:moveTo>
                    <a:lnTo>
                      <a:pt x="201730" y="31279"/>
                    </a:lnTo>
                    <a:lnTo>
                      <a:pt x="0" y="2990"/>
                    </a:lnTo>
                    <a:lnTo>
                      <a:pt x="359" y="0"/>
                    </a:lnTo>
                    <a:close/>
                  </a:path>
                </a:pathLst>
              </a:custGeom>
              <a:grpFill/>
              <a:ln w="5978" cap="flat">
                <a:noFill/>
                <a:prstDash val="solid"/>
                <a:miter/>
              </a:ln>
            </p:spPr>
            <p:txBody>
              <a:bodyPr rtlCol="0" anchor="ctr"/>
              <a:lstStyle/>
              <a:p>
                <a:endParaRPr lang="en-GB"/>
              </a:p>
            </p:txBody>
          </p:sp>
          <p:sp>
            <p:nvSpPr>
              <p:cNvPr id="4792" name="Vrije vorm: vorm 4791">
                <a:extLst>
                  <a:ext uri="{FF2B5EF4-FFF2-40B4-BE49-F238E27FC236}">
                    <a16:creationId xmlns:a16="http://schemas.microsoft.com/office/drawing/2014/main" id="{0FF0123E-894C-43A4-BF2C-91DBECF85246}"/>
                  </a:ext>
                </a:extLst>
              </p:cNvPr>
              <p:cNvSpPr/>
              <p:nvPr/>
            </p:nvSpPr>
            <p:spPr>
              <a:xfrm>
                <a:off x="8013137" y="3683294"/>
                <a:ext cx="18307" cy="18426"/>
              </a:xfrm>
              <a:custGeom>
                <a:avLst/>
                <a:gdLst>
                  <a:gd name="connsiteX0" fmla="*/ 10379 w 18307"/>
                  <a:gd name="connsiteY0" fmla="*/ 93 h 18426"/>
                  <a:gd name="connsiteX1" fmla="*/ 18214 w 18307"/>
                  <a:gd name="connsiteY1" fmla="*/ 10499 h 18426"/>
                  <a:gd name="connsiteX2" fmla="*/ 7927 w 18307"/>
                  <a:gd name="connsiteY2" fmla="*/ 18334 h 18426"/>
                  <a:gd name="connsiteX3" fmla="*/ 93 w 18307"/>
                  <a:gd name="connsiteY3" fmla="*/ 7927 h 18426"/>
                  <a:gd name="connsiteX4" fmla="*/ 10379 w 18307"/>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10379" y="93"/>
                    </a:moveTo>
                    <a:cubicBezTo>
                      <a:pt x="15403" y="810"/>
                      <a:pt x="18932" y="5475"/>
                      <a:pt x="18214" y="10499"/>
                    </a:cubicBezTo>
                    <a:cubicBezTo>
                      <a:pt x="17497" y="15523"/>
                      <a:pt x="12892" y="19052"/>
                      <a:pt x="7927" y="18334"/>
                    </a:cubicBezTo>
                    <a:cubicBezTo>
                      <a:pt x="2903" y="17616"/>
                      <a:pt x="-625" y="12951"/>
                      <a:pt x="93" y="7927"/>
                    </a:cubicBezTo>
                    <a:cubicBezTo>
                      <a:pt x="810" y="2904"/>
                      <a:pt x="5356" y="-625"/>
                      <a:pt x="10379" y="93"/>
                    </a:cubicBezTo>
                    <a:close/>
                  </a:path>
                </a:pathLst>
              </a:custGeom>
              <a:grpFill/>
              <a:ln w="5978" cap="flat">
                <a:noFill/>
                <a:prstDash val="solid"/>
                <a:miter/>
              </a:ln>
            </p:spPr>
            <p:txBody>
              <a:bodyPr rtlCol="0" anchor="ctr"/>
              <a:lstStyle/>
              <a:p>
                <a:endParaRPr lang="en-GB"/>
              </a:p>
            </p:txBody>
          </p:sp>
          <p:sp>
            <p:nvSpPr>
              <p:cNvPr id="4793" name="Vrije vorm: vorm 4792">
                <a:extLst>
                  <a:ext uri="{FF2B5EF4-FFF2-40B4-BE49-F238E27FC236}">
                    <a16:creationId xmlns:a16="http://schemas.microsoft.com/office/drawing/2014/main" id="{B63F204A-EADC-4217-9C2E-725377EBAADF}"/>
                  </a:ext>
                </a:extLst>
              </p:cNvPr>
              <p:cNvSpPr/>
              <p:nvPr/>
            </p:nvSpPr>
            <p:spPr>
              <a:xfrm>
                <a:off x="7812258" y="3655125"/>
                <a:ext cx="18281" cy="18426"/>
              </a:xfrm>
              <a:custGeom>
                <a:avLst/>
                <a:gdLst>
                  <a:gd name="connsiteX0" fmla="*/ 10367 w 18281"/>
                  <a:gd name="connsiteY0" fmla="*/ 93 h 18426"/>
                  <a:gd name="connsiteX1" fmla="*/ 80 w 18281"/>
                  <a:gd name="connsiteY1" fmla="*/ 7927 h 18426"/>
                  <a:gd name="connsiteX2" fmla="*/ 7915 w 18281"/>
                  <a:gd name="connsiteY2" fmla="*/ 18334 h 18426"/>
                  <a:gd name="connsiteX3" fmla="*/ 18201 w 18281"/>
                  <a:gd name="connsiteY3" fmla="*/ 10499 h 18426"/>
                  <a:gd name="connsiteX4" fmla="*/ 10367 w 18281"/>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26">
                    <a:moveTo>
                      <a:pt x="10367" y="93"/>
                    </a:moveTo>
                    <a:cubicBezTo>
                      <a:pt x="5343" y="-625"/>
                      <a:pt x="738" y="2904"/>
                      <a:pt x="80" y="7927"/>
                    </a:cubicBezTo>
                    <a:cubicBezTo>
                      <a:pt x="-578" y="12951"/>
                      <a:pt x="2891" y="17616"/>
                      <a:pt x="7915" y="18334"/>
                    </a:cubicBezTo>
                    <a:cubicBezTo>
                      <a:pt x="12938" y="19052"/>
                      <a:pt x="17543" y="15523"/>
                      <a:pt x="18201" y="10499"/>
                    </a:cubicBezTo>
                    <a:cubicBezTo>
                      <a:pt x="18859" y="5475"/>
                      <a:pt x="15390" y="811"/>
                      <a:pt x="10367" y="93"/>
                    </a:cubicBezTo>
                    <a:close/>
                  </a:path>
                </a:pathLst>
              </a:custGeom>
              <a:grpFill/>
              <a:ln w="5978" cap="flat">
                <a:noFill/>
                <a:prstDash val="solid"/>
                <a:miter/>
              </a:ln>
            </p:spPr>
            <p:txBody>
              <a:bodyPr rtlCol="0" anchor="ctr"/>
              <a:lstStyle/>
              <a:p>
                <a:endParaRPr lang="en-GB"/>
              </a:p>
            </p:txBody>
          </p:sp>
        </p:grpSp>
        <p:grpSp>
          <p:nvGrpSpPr>
            <p:cNvPr id="197" name="Graphic 3">
              <a:extLst>
                <a:ext uri="{FF2B5EF4-FFF2-40B4-BE49-F238E27FC236}">
                  <a16:creationId xmlns:a16="http://schemas.microsoft.com/office/drawing/2014/main" id="{F8BE1A6D-3D2D-4DD2-BF45-21D853F3CCED}"/>
                </a:ext>
              </a:extLst>
            </p:cNvPr>
            <p:cNvGrpSpPr/>
            <p:nvPr/>
          </p:nvGrpSpPr>
          <p:grpSpPr>
            <a:xfrm>
              <a:off x="7794749" y="3619388"/>
              <a:ext cx="233725" cy="44506"/>
              <a:chOff x="7794749" y="3619388"/>
              <a:chExt cx="233725" cy="44506"/>
            </a:xfrm>
            <a:grpFill/>
          </p:grpSpPr>
          <p:sp>
            <p:nvSpPr>
              <p:cNvPr id="4788" name="Vrije vorm: vorm 4787">
                <a:extLst>
                  <a:ext uri="{FF2B5EF4-FFF2-40B4-BE49-F238E27FC236}">
                    <a16:creationId xmlns:a16="http://schemas.microsoft.com/office/drawing/2014/main" id="{4E568D35-D4F9-479F-BA96-F62D98B7DCB4}"/>
                  </a:ext>
                </a:extLst>
              </p:cNvPr>
              <p:cNvSpPr/>
              <p:nvPr/>
            </p:nvSpPr>
            <p:spPr>
              <a:xfrm>
                <a:off x="7803307" y="3627049"/>
                <a:ext cx="216621" cy="29185"/>
              </a:xfrm>
              <a:custGeom>
                <a:avLst/>
                <a:gdLst>
                  <a:gd name="connsiteX0" fmla="*/ 216622 w 216621"/>
                  <a:gd name="connsiteY0" fmla="*/ 26136 h 29185"/>
                  <a:gd name="connsiteX1" fmla="*/ 216262 w 216621"/>
                  <a:gd name="connsiteY1" fmla="*/ 29186 h 29185"/>
                  <a:gd name="connsiteX2" fmla="*/ 0 w 216621"/>
                  <a:gd name="connsiteY2" fmla="*/ 3050 h 29185"/>
                  <a:gd name="connsiteX3" fmla="*/ 358 w 216621"/>
                  <a:gd name="connsiteY3" fmla="*/ 0 h 29185"/>
                </a:gdLst>
                <a:ahLst/>
                <a:cxnLst>
                  <a:cxn ang="0">
                    <a:pos x="connsiteX0" y="connsiteY0"/>
                  </a:cxn>
                  <a:cxn ang="0">
                    <a:pos x="connsiteX1" y="connsiteY1"/>
                  </a:cxn>
                  <a:cxn ang="0">
                    <a:pos x="connsiteX2" y="connsiteY2"/>
                  </a:cxn>
                  <a:cxn ang="0">
                    <a:pos x="connsiteX3" y="connsiteY3"/>
                  </a:cxn>
                </a:cxnLst>
                <a:rect l="l" t="t" r="r" b="b"/>
                <a:pathLst>
                  <a:path w="216621" h="29185">
                    <a:moveTo>
                      <a:pt x="216622" y="26136"/>
                    </a:moveTo>
                    <a:lnTo>
                      <a:pt x="216262" y="29186"/>
                    </a:lnTo>
                    <a:lnTo>
                      <a:pt x="0" y="3050"/>
                    </a:lnTo>
                    <a:lnTo>
                      <a:pt x="358" y="0"/>
                    </a:lnTo>
                    <a:close/>
                  </a:path>
                </a:pathLst>
              </a:custGeom>
              <a:grpFill/>
              <a:ln w="5978" cap="flat">
                <a:noFill/>
                <a:prstDash val="solid"/>
                <a:miter/>
              </a:ln>
            </p:spPr>
            <p:txBody>
              <a:bodyPr rtlCol="0" anchor="ctr"/>
              <a:lstStyle/>
              <a:p>
                <a:endParaRPr lang="en-GB"/>
              </a:p>
            </p:txBody>
          </p:sp>
          <p:sp>
            <p:nvSpPr>
              <p:cNvPr id="4789" name="Vrije vorm: vorm 4788">
                <a:extLst>
                  <a:ext uri="{FF2B5EF4-FFF2-40B4-BE49-F238E27FC236}">
                    <a16:creationId xmlns:a16="http://schemas.microsoft.com/office/drawing/2014/main" id="{C8A5A1DB-941E-46EE-B86F-2612D48A58DC}"/>
                  </a:ext>
                </a:extLst>
              </p:cNvPr>
              <p:cNvSpPr/>
              <p:nvPr/>
            </p:nvSpPr>
            <p:spPr>
              <a:xfrm>
                <a:off x="8010175" y="3645464"/>
                <a:ext cx="18300" cy="18430"/>
              </a:xfrm>
              <a:custGeom>
                <a:avLst/>
                <a:gdLst>
                  <a:gd name="connsiteX0" fmla="*/ 10172 w 18300"/>
                  <a:gd name="connsiteY0" fmla="*/ 65 h 18430"/>
                  <a:gd name="connsiteX1" fmla="*/ 18247 w 18300"/>
                  <a:gd name="connsiteY1" fmla="*/ 10292 h 18430"/>
                  <a:gd name="connsiteX2" fmla="*/ 8079 w 18300"/>
                  <a:gd name="connsiteY2" fmla="*/ 18366 h 18430"/>
                  <a:gd name="connsiteX3" fmla="*/ 65 w 18300"/>
                  <a:gd name="connsiteY3" fmla="*/ 8139 h 18430"/>
                  <a:gd name="connsiteX4" fmla="*/ 10172 w 18300"/>
                  <a:gd name="connsiteY4" fmla="*/ 65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30">
                    <a:moveTo>
                      <a:pt x="10172" y="65"/>
                    </a:moveTo>
                    <a:cubicBezTo>
                      <a:pt x="15196" y="663"/>
                      <a:pt x="18785" y="5268"/>
                      <a:pt x="18247" y="10292"/>
                    </a:cubicBezTo>
                    <a:cubicBezTo>
                      <a:pt x="17648" y="15316"/>
                      <a:pt x="13103" y="18964"/>
                      <a:pt x="8079" y="18366"/>
                    </a:cubicBezTo>
                    <a:cubicBezTo>
                      <a:pt x="3055" y="17768"/>
                      <a:pt x="-533" y="13163"/>
                      <a:pt x="65" y="8139"/>
                    </a:cubicBezTo>
                    <a:cubicBezTo>
                      <a:pt x="603" y="3055"/>
                      <a:pt x="5149" y="-533"/>
                      <a:pt x="10172" y="65"/>
                    </a:cubicBezTo>
                    <a:close/>
                  </a:path>
                </a:pathLst>
              </a:custGeom>
              <a:grpFill/>
              <a:ln w="5978" cap="flat">
                <a:noFill/>
                <a:prstDash val="solid"/>
                <a:miter/>
              </a:ln>
            </p:spPr>
            <p:txBody>
              <a:bodyPr rtlCol="0" anchor="ctr"/>
              <a:lstStyle/>
              <a:p>
                <a:endParaRPr lang="en-GB"/>
              </a:p>
            </p:txBody>
          </p:sp>
          <p:sp>
            <p:nvSpPr>
              <p:cNvPr id="4790" name="Vrije vorm: vorm 4789">
                <a:extLst>
                  <a:ext uri="{FF2B5EF4-FFF2-40B4-BE49-F238E27FC236}">
                    <a16:creationId xmlns:a16="http://schemas.microsoft.com/office/drawing/2014/main" id="{0C30D3D3-FA96-4834-BE11-8C89475D2961}"/>
                  </a:ext>
                </a:extLst>
              </p:cNvPr>
              <p:cNvSpPr/>
              <p:nvPr/>
            </p:nvSpPr>
            <p:spPr>
              <a:xfrm>
                <a:off x="7794749" y="3619388"/>
                <a:ext cx="18311" cy="18431"/>
              </a:xfrm>
              <a:custGeom>
                <a:avLst/>
                <a:gdLst>
                  <a:gd name="connsiteX0" fmla="*/ 10232 w 18311"/>
                  <a:gd name="connsiteY0" fmla="*/ 65 h 18431"/>
                  <a:gd name="connsiteX1" fmla="*/ 65 w 18311"/>
                  <a:gd name="connsiteY1" fmla="*/ 8139 h 18431"/>
                  <a:gd name="connsiteX2" fmla="*/ 8079 w 18311"/>
                  <a:gd name="connsiteY2" fmla="*/ 18366 h 18431"/>
                  <a:gd name="connsiteX3" fmla="*/ 18247 w 18311"/>
                  <a:gd name="connsiteY3" fmla="*/ 10292 h 18431"/>
                  <a:gd name="connsiteX4" fmla="*/ 10232 w 18311"/>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10232" y="65"/>
                    </a:moveTo>
                    <a:cubicBezTo>
                      <a:pt x="5208" y="-533"/>
                      <a:pt x="663" y="3055"/>
                      <a:pt x="65" y="8139"/>
                    </a:cubicBezTo>
                    <a:cubicBezTo>
                      <a:pt x="-533" y="13163"/>
                      <a:pt x="3055" y="17768"/>
                      <a:pt x="8079" y="18366"/>
                    </a:cubicBezTo>
                    <a:cubicBezTo>
                      <a:pt x="13103" y="18964"/>
                      <a:pt x="17649" y="15376"/>
                      <a:pt x="18247" y="10292"/>
                    </a:cubicBezTo>
                    <a:cubicBezTo>
                      <a:pt x="18845" y="5268"/>
                      <a:pt x="15256" y="723"/>
                      <a:pt x="10232" y="65"/>
                    </a:cubicBezTo>
                    <a:close/>
                  </a:path>
                </a:pathLst>
              </a:custGeom>
              <a:grpFill/>
              <a:ln w="5978" cap="flat">
                <a:noFill/>
                <a:prstDash val="solid"/>
                <a:miter/>
              </a:ln>
            </p:spPr>
            <p:txBody>
              <a:bodyPr rtlCol="0" anchor="ctr"/>
              <a:lstStyle/>
              <a:p>
                <a:endParaRPr lang="en-GB"/>
              </a:p>
            </p:txBody>
          </p:sp>
        </p:grpSp>
        <p:grpSp>
          <p:nvGrpSpPr>
            <p:cNvPr id="198" name="Graphic 3">
              <a:extLst>
                <a:ext uri="{FF2B5EF4-FFF2-40B4-BE49-F238E27FC236}">
                  <a16:creationId xmlns:a16="http://schemas.microsoft.com/office/drawing/2014/main" id="{FBFCC285-EB53-495E-B2F3-B82457C5507A}"/>
                </a:ext>
              </a:extLst>
            </p:cNvPr>
            <p:cNvGrpSpPr/>
            <p:nvPr/>
          </p:nvGrpSpPr>
          <p:grpSpPr>
            <a:xfrm>
              <a:off x="7515997" y="2569869"/>
              <a:ext cx="87488" cy="56119"/>
              <a:chOff x="7515997" y="2569869"/>
              <a:chExt cx="87488" cy="56119"/>
            </a:xfrm>
            <a:grpFill/>
          </p:grpSpPr>
          <p:sp>
            <p:nvSpPr>
              <p:cNvPr id="4785" name="Vrije vorm: vorm 4784">
                <a:extLst>
                  <a:ext uri="{FF2B5EF4-FFF2-40B4-BE49-F238E27FC236}">
                    <a16:creationId xmlns:a16="http://schemas.microsoft.com/office/drawing/2014/main" id="{9D19224F-4B25-48F8-98E5-F5607F2A7AF9}"/>
                  </a:ext>
                </a:extLst>
              </p:cNvPr>
              <p:cNvSpPr/>
              <p:nvPr/>
            </p:nvSpPr>
            <p:spPr>
              <a:xfrm>
                <a:off x="7524067" y="2577552"/>
                <a:ext cx="71410" cy="40728"/>
              </a:xfrm>
              <a:custGeom>
                <a:avLst/>
                <a:gdLst>
                  <a:gd name="connsiteX0" fmla="*/ 71410 w 71410"/>
                  <a:gd name="connsiteY0" fmla="*/ 2691 h 40728"/>
                  <a:gd name="connsiteX1" fmla="*/ 1435 w 71410"/>
                  <a:gd name="connsiteY1" fmla="*/ 40729 h 40728"/>
                  <a:gd name="connsiteX2" fmla="*/ 0 w 71410"/>
                  <a:gd name="connsiteY2" fmla="*/ 38037 h 40728"/>
                  <a:gd name="connsiteX3" fmla="*/ 69915 w 71410"/>
                  <a:gd name="connsiteY3" fmla="*/ 0 h 40728"/>
                </a:gdLst>
                <a:ahLst/>
                <a:cxnLst>
                  <a:cxn ang="0">
                    <a:pos x="connsiteX0" y="connsiteY0"/>
                  </a:cxn>
                  <a:cxn ang="0">
                    <a:pos x="connsiteX1" y="connsiteY1"/>
                  </a:cxn>
                  <a:cxn ang="0">
                    <a:pos x="connsiteX2" y="connsiteY2"/>
                  </a:cxn>
                  <a:cxn ang="0">
                    <a:pos x="connsiteX3" y="connsiteY3"/>
                  </a:cxn>
                </a:cxnLst>
                <a:rect l="l" t="t" r="r" b="b"/>
                <a:pathLst>
                  <a:path w="71410" h="40728">
                    <a:moveTo>
                      <a:pt x="71410" y="2691"/>
                    </a:moveTo>
                    <a:lnTo>
                      <a:pt x="1435" y="40729"/>
                    </a:lnTo>
                    <a:lnTo>
                      <a:pt x="0" y="38037"/>
                    </a:lnTo>
                    <a:lnTo>
                      <a:pt x="69915" y="0"/>
                    </a:lnTo>
                    <a:close/>
                  </a:path>
                </a:pathLst>
              </a:custGeom>
              <a:grpFill/>
              <a:ln w="5978" cap="flat">
                <a:noFill/>
                <a:prstDash val="solid"/>
                <a:miter/>
              </a:ln>
            </p:spPr>
            <p:txBody>
              <a:bodyPr rtlCol="0" anchor="ctr"/>
              <a:lstStyle/>
              <a:p>
                <a:endParaRPr lang="en-GB"/>
              </a:p>
            </p:txBody>
          </p:sp>
          <p:sp>
            <p:nvSpPr>
              <p:cNvPr id="4786" name="Vrije vorm: vorm 4785">
                <a:extLst>
                  <a:ext uri="{FF2B5EF4-FFF2-40B4-BE49-F238E27FC236}">
                    <a16:creationId xmlns:a16="http://schemas.microsoft.com/office/drawing/2014/main" id="{FD81E649-F82C-4D43-948D-79889F71B6E3}"/>
                  </a:ext>
                </a:extLst>
              </p:cNvPr>
              <p:cNvSpPr/>
              <p:nvPr/>
            </p:nvSpPr>
            <p:spPr>
              <a:xfrm>
                <a:off x="7585161" y="2569869"/>
                <a:ext cx="18325" cy="18414"/>
              </a:xfrm>
              <a:custGeom>
                <a:avLst/>
                <a:gdLst>
                  <a:gd name="connsiteX0" fmla="*/ 4754 w 18325"/>
                  <a:gd name="connsiteY0" fmla="*/ 1104 h 18414"/>
                  <a:gd name="connsiteX1" fmla="*/ 17193 w 18325"/>
                  <a:gd name="connsiteY1" fmla="*/ 4812 h 18414"/>
                  <a:gd name="connsiteX2" fmla="*/ 13545 w 18325"/>
                  <a:gd name="connsiteY2" fmla="*/ 17311 h 18414"/>
                  <a:gd name="connsiteX3" fmla="*/ 1105 w 18325"/>
                  <a:gd name="connsiteY3" fmla="*/ 13603 h 18414"/>
                  <a:gd name="connsiteX4" fmla="*/ 4754 w 18325"/>
                  <a:gd name="connsiteY4" fmla="*/ 1104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14">
                    <a:moveTo>
                      <a:pt x="4754" y="1104"/>
                    </a:moveTo>
                    <a:cubicBezTo>
                      <a:pt x="9179" y="-1289"/>
                      <a:pt x="14742" y="326"/>
                      <a:pt x="17193" y="4812"/>
                    </a:cubicBezTo>
                    <a:cubicBezTo>
                      <a:pt x="19645" y="9297"/>
                      <a:pt x="17971" y="14859"/>
                      <a:pt x="13545" y="17311"/>
                    </a:cubicBezTo>
                    <a:cubicBezTo>
                      <a:pt x="9119" y="19704"/>
                      <a:pt x="3558" y="18089"/>
                      <a:pt x="1105" y="13603"/>
                    </a:cubicBezTo>
                    <a:cubicBezTo>
                      <a:pt x="-1287" y="9118"/>
                      <a:pt x="328" y="3556"/>
                      <a:pt x="4754" y="1104"/>
                    </a:cubicBezTo>
                    <a:close/>
                  </a:path>
                </a:pathLst>
              </a:custGeom>
              <a:grpFill/>
              <a:ln w="5978" cap="flat">
                <a:noFill/>
                <a:prstDash val="solid"/>
                <a:miter/>
              </a:ln>
            </p:spPr>
            <p:txBody>
              <a:bodyPr rtlCol="0" anchor="ctr"/>
              <a:lstStyle/>
              <a:p>
                <a:endParaRPr lang="en-GB"/>
              </a:p>
            </p:txBody>
          </p:sp>
          <p:sp>
            <p:nvSpPr>
              <p:cNvPr id="4787" name="Vrije vorm: vorm 4786">
                <a:extLst>
                  <a:ext uri="{FF2B5EF4-FFF2-40B4-BE49-F238E27FC236}">
                    <a16:creationId xmlns:a16="http://schemas.microsoft.com/office/drawing/2014/main" id="{C50AD56D-EB0A-444C-86B0-67AF51889116}"/>
                  </a:ext>
                </a:extLst>
              </p:cNvPr>
              <p:cNvSpPr/>
              <p:nvPr/>
            </p:nvSpPr>
            <p:spPr>
              <a:xfrm>
                <a:off x="7515997" y="2607521"/>
                <a:ext cx="18351" cy="18467"/>
              </a:xfrm>
              <a:custGeom>
                <a:avLst/>
                <a:gdLst>
                  <a:gd name="connsiteX0" fmla="*/ 4780 w 18351"/>
                  <a:gd name="connsiteY0" fmla="*/ 1130 h 18467"/>
                  <a:gd name="connsiteX1" fmla="*/ 1131 w 18351"/>
                  <a:gd name="connsiteY1" fmla="*/ 13630 h 18467"/>
                  <a:gd name="connsiteX2" fmla="*/ 13572 w 18351"/>
                  <a:gd name="connsiteY2" fmla="*/ 17338 h 18467"/>
                  <a:gd name="connsiteX3" fmla="*/ 17220 w 18351"/>
                  <a:gd name="connsiteY3" fmla="*/ 4838 h 18467"/>
                  <a:gd name="connsiteX4" fmla="*/ 4780 w 18351"/>
                  <a:gd name="connsiteY4" fmla="*/ 11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7">
                    <a:moveTo>
                      <a:pt x="4780" y="1130"/>
                    </a:moveTo>
                    <a:cubicBezTo>
                      <a:pt x="355" y="3522"/>
                      <a:pt x="-1320" y="9144"/>
                      <a:pt x="1131" y="13630"/>
                    </a:cubicBezTo>
                    <a:cubicBezTo>
                      <a:pt x="3584" y="18115"/>
                      <a:pt x="9146" y="19790"/>
                      <a:pt x="13572" y="17338"/>
                    </a:cubicBezTo>
                    <a:cubicBezTo>
                      <a:pt x="17997" y="14945"/>
                      <a:pt x="19672" y="9324"/>
                      <a:pt x="17220" y="4838"/>
                    </a:cubicBezTo>
                    <a:cubicBezTo>
                      <a:pt x="14768" y="352"/>
                      <a:pt x="9206" y="-1322"/>
                      <a:pt x="4780" y="1130"/>
                    </a:cubicBezTo>
                    <a:close/>
                  </a:path>
                </a:pathLst>
              </a:custGeom>
              <a:grpFill/>
              <a:ln w="5978" cap="flat">
                <a:noFill/>
                <a:prstDash val="solid"/>
                <a:miter/>
              </a:ln>
            </p:spPr>
            <p:txBody>
              <a:bodyPr rtlCol="0" anchor="ctr"/>
              <a:lstStyle/>
              <a:p>
                <a:endParaRPr lang="en-GB"/>
              </a:p>
            </p:txBody>
          </p:sp>
        </p:grpSp>
        <p:grpSp>
          <p:nvGrpSpPr>
            <p:cNvPr id="199" name="Graphic 3">
              <a:extLst>
                <a:ext uri="{FF2B5EF4-FFF2-40B4-BE49-F238E27FC236}">
                  <a16:creationId xmlns:a16="http://schemas.microsoft.com/office/drawing/2014/main" id="{5171691C-938D-4EBA-AF20-210B8AE21FD4}"/>
                </a:ext>
              </a:extLst>
            </p:cNvPr>
            <p:cNvGrpSpPr/>
            <p:nvPr/>
          </p:nvGrpSpPr>
          <p:grpSpPr>
            <a:xfrm>
              <a:off x="7716830" y="3642660"/>
              <a:ext cx="411825" cy="111495"/>
              <a:chOff x="7716830" y="3642660"/>
              <a:chExt cx="411825" cy="111495"/>
            </a:xfrm>
            <a:grpFill/>
          </p:grpSpPr>
          <p:sp>
            <p:nvSpPr>
              <p:cNvPr id="4782" name="Vrije vorm: vorm 4781">
                <a:extLst>
                  <a:ext uri="{FF2B5EF4-FFF2-40B4-BE49-F238E27FC236}">
                    <a16:creationId xmlns:a16="http://schemas.microsoft.com/office/drawing/2014/main" id="{A4C834E7-674C-4D22-82A7-0ADCD9B94D46}"/>
                  </a:ext>
                </a:extLst>
              </p:cNvPr>
              <p:cNvSpPr/>
              <p:nvPr/>
            </p:nvSpPr>
            <p:spPr>
              <a:xfrm>
                <a:off x="7725198" y="3650254"/>
                <a:ext cx="395086" cy="96289"/>
              </a:xfrm>
              <a:custGeom>
                <a:avLst/>
                <a:gdLst>
                  <a:gd name="connsiteX0" fmla="*/ 395087 w 395086"/>
                  <a:gd name="connsiteY0" fmla="*/ 93299 h 96289"/>
                  <a:gd name="connsiteX1" fmla="*/ 394429 w 395086"/>
                  <a:gd name="connsiteY1" fmla="*/ 96290 h 96289"/>
                  <a:gd name="connsiteX2" fmla="*/ 0 w 395086"/>
                  <a:gd name="connsiteY2" fmla="*/ 2990 h 96289"/>
                  <a:gd name="connsiteX3" fmla="*/ 718 w 395086"/>
                  <a:gd name="connsiteY3" fmla="*/ 0 h 96289"/>
                </a:gdLst>
                <a:ahLst/>
                <a:cxnLst>
                  <a:cxn ang="0">
                    <a:pos x="connsiteX0" y="connsiteY0"/>
                  </a:cxn>
                  <a:cxn ang="0">
                    <a:pos x="connsiteX1" y="connsiteY1"/>
                  </a:cxn>
                  <a:cxn ang="0">
                    <a:pos x="connsiteX2" y="connsiteY2"/>
                  </a:cxn>
                  <a:cxn ang="0">
                    <a:pos x="connsiteX3" y="connsiteY3"/>
                  </a:cxn>
                </a:cxnLst>
                <a:rect l="l" t="t" r="r" b="b"/>
                <a:pathLst>
                  <a:path w="395086" h="96289">
                    <a:moveTo>
                      <a:pt x="395087" y="93299"/>
                    </a:moveTo>
                    <a:lnTo>
                      <a:pt x="394429" y="96290"/>
                    </a:lnTo>
                    <a:lnTo>
                      <a:pt x="0" y="2990"/>
                    </a:lnTo>
                    <a:lnTo>
                      <a:pt x="718" y="0"/>
                    </a:lnTo>
                    <a:close/>
                  </a:path>
                </a:pathLst>
              </a:custGeom>
              <a:grpFill/>
              <a:ln w="5978" cap="flat">
                <a:noFill/>
                <a:prstDash val="solid"/>
                <a:miter/>
              </a:ln>
            </p:spPr>
            <p:txBody>
              <a:bodyPr rtlCol="0" anchor="ctr"/>
              <a:lstStyle/>
              <a:p>
                <a:endParaRPr lang="en-GB"/>
              </a:p>
            </p:txBody>
          </p:sp>
          <p:sp>
            <p:nvSpPr>
              <p:cNvPr id="4783" name="Vrije vorm: vorm 4782">
                <a:extLst>
                  <a:ext uri="{FF2B5EF4-FFF2-40B4-BE49-F238E27FC236}">
                    <a16:creationId xmlns:a16="http://schemas.microsoft.com/office/drawing/2014/main" id="{21244B31-8A47-4460-8E23-2F288358B9BF}"/>
                  </a:ext>
                </a:extLst>
              </p:cNvPr>
              <p:cNvSpPr/>
              <p:nvPr/>
            </p:nvSpPr>
            <p:spPr>
              <a:xfrm>
                <a:off x="7716830" y="3642660"/>
                <a:ext cx="18350" cy="18435"/>
              </a:xfrm>
              <a:custGeom>
                <a:avLst/>
                <a:gdLst>
                  <a:gd name="connsiteX0" fmla="*/ 7112 w 18350"/>
                  <a:gd name="connsiteY0" fmla="*/ 18180 h 18435"/>
                  <a:gd name="connsiteX1" fmla="*/ 234 w 18350"/>
                  <a:gd name="connsiteY1" fmla="*/ 7115 h 18435"/>
                  <a:gd name="connsiteX2" fmla="*/ 11239 w 18350"/>
                  <a:gd name="connsiteY2" fmla="*/ 237 h 18435"/>
                  <a:gd name="connsiteX3" fmla="*/ 18117 w 18350"/>
                  <a:gd name="connsiteY3" fmla="*/ 11302 h 18435"/>
                  <a:gd name="connsiteX4" fmla="*/ 7112 w 18350"/>
                  <a:gd name="connsiteY4" fmla="*/ 1818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5">
                    <a:moveTo>
                      <a:pt x="7112" y="18180"/>
                    </a:moveTo>
                    <a:cubicBezTo>
                      <a:pt x="2208" y="17043"/>
                      <a:pt x="-902" y="12079"/>
                      <a:pt x="234" y="7115"/>
                    </a:cubicBezTo>
                    <a:cubicBezTo>
                      <a:pt x="1371" y="2151"/>
                      <a:pt x="6275" y="-899"/>
                      <a:pt x="11239" y="237"/>
                    </a:cubicBezTo>
                    <a:cubicBezTo>
                      <a:pt x="16143" y="1374"/>
                      <a:pt x="19253" y="6338"/>
                      <a:pt x="18117" y="11302"/>
                    </a:cubicBezTo>
                    <a:cubicBezTo>
                      <a:pt x="16981" y="16266"/>
                      <a:pt x="12016" y="19376"/>
                      <a:pt x="7112" y="18180"/>
                    </a:cubicBezTo>
                    <a:close/>
                  </a:path>
                </a:pathLst>
              </a:custGeom>
              <a:grpFill/>
              <a:ln w="5978" cap="flat">
                <a:noFill/>
                <a:prstDash val="solid"/>
                <a:miter/>
              </a:ln>
            </p:spPr>
            <p:txBody>
              <a:bodyPr rtlCol="0" anchor="ctr"/>
              <a:lstStyle/>
              <a:p>
                <a:endParaRPr lang="en-GB"/>
              </a:p>
            </p:txBody>
          </p:sp>
          <p:sp>
            <p:nvSpPr>
              <p:cNvPr id="4784" name="Vrije vorm: vorm 4783">
                <a:extLst>
                  <a:ext uri="{FF2B5EF4-FFF2-40B4-BE49-F238E27FC236}">
                    <a16:creationId xmlns:a16="http://schemas.microsoft.com/office/drawing/2014/main" id="{6149C075-2A1B-4F59-954A-A8D95A75A67F}"/>
                  </a:ext>
                </a:extLst>
              </p:cNvPr>
              <p:cNvSpPr/>
              <p:nvPr/>
            </p:nvSpPr>
            <p:spPr>
              <a:xfrm>
                <a:off x="8110321" y="3735720"/>
                <a:ext cx="18335" cy="18435"/>
              </a:xfrm>
              <a:custGeom>
                <a:avLst/>
                <a:gdLst>
                  <a:gd name="connsiteX0" fmla="*/ 7094 w 18335"/>
                  <a:gd name="connsiteY0" fmla="*/ 18180 h 18435"/>
                  <a:gd name="connsiteX1" fmla="*/ 18098 w 18335"/>
                  <a:gd name="connsiteY1" fmla="*/ 11302 h 18435"/>
                  <a:gd name="connsiteX2" fmla="*/ 11220 w 18335"/>
                  <a:gd name="connsiteY2" fmla="*/ 237 h 18435"/>
                  <a:gd name="connsiteX3" fmla="*/ 216 w 18335"/>
                  <a:gd name="connsiteY3" fmla="*/ 7115 h 18435"/>
                  <a:gd name="connsiteX4" fmla="*/ 7094 w 18335"/>
                  <a:gd name="connsiteY4" fmla="*/ 1818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5">
                    <a:moveTo>
                      <a:pt x="7094" y="18180"/>
                    </a:moveTo>
                    <a:cubicBezTo>
                      <a:pt x="11998" y="19376"/>
                      <a:pt x="16962" y="16266"/>
                      <a:pt x="18098" y="11302"/>
                    </a:cubicBezTo>
                    <a:cubicBezTo>
                      <a:pt x="19234" y="6338"/>
                      <a:pt x="16184" y="1374"/>
                      <a:pt x="11220" y="237"/>
                    </a:cubicBezTo>
                    <a:cubicBezTo>
                      <a:pt x="6317" y="-899"/>
                      <a:pt x="1352" y="2151"/>
                      <a:pt x="216" y="7115"/>
                    </a:cubicBezTo>
                    <a:cubicBezTo>
                      <a:pt x="-861" y="12019"/>
                      <a:pt x="2189" y="16983"/>
                      <a:pt x="7094" y="18180"/>
                    </a:cubicBezTo>
                    <a:close/>
                  </a:path>
                </a:pathLst>
              </a:custGeom>
              <a:grpFill/>
              <a:ln w="5978" cap="flat">
                <a:noFill/>
                <a:prstDash val="solid"/>
                <a:miter/>
              </a:ln>
            </p:spPr>
            <p:txBody>
              <a:bodyPr rtlCol="0" anchor="ctr"/>
              <a:lstStyle/>
              <a:p>
                <a:endParaRPr lang="en-GB"/>
              </a:p>
            </p:txBody>
          </p:sp>
        </p:grpSp>
        <p:grpSp>
          <p:nvGrpSpPr>
            <p:cNvPr id="200" name="Graphic 3">
              <a:extLst>
                <a:ext uri="{FF2B5EF4-FFF2-40B4-BE49-F238E27FC236}">
                  <a16:creationId xmlns:a16="http://schemas.microsoft.com/office/drawing/2014/main" id="{B14EB1A3-4E44-4ABF-A90E-E941A6EC9D98}"/>
                </a:ext>
              </a:extLst>
            </p:cNvPr>
            <p:cNvGrpSpPr/>
            <p:nvPr/>
          </p:nvGrpSpPr>
          <p:grpSpPr>
            <a:xfrm>
              <a:off x="7347093" y="2197848"/>
              <a:ext cx="195142" cy="163189"/>
              <a:chOff x="7347093" y="2197848"/>
              <a:chExt cx="195142" cy="163189"/>
            </a:xfrm>
            <a:grpFill/>
          </p:grpSpPr>
          <p:sp>
            <p:nvSpPr>
              <p:cNvPr id="4779" name="Vrije vorm: vorm 4778">
                <a:extLst>
                  <a:ext uri="{FF2B5EF4-FFF2-40B4-BE49-F238E27FC236}">
                    <a16:creationId xmlns:a16="http://schemas.microsoft.com/office/drawing/2014/main" id="{1ED9B44C-FD76-4D42-96AE-4AE61A18864E}"/>
                  </a:ext>
                </a:extLst>
              </p:cNvPr>
              <p:cNvSpPr/>
              <p:nvPr/>
            </p:nvSpPr>
            <p:spPr>
              <a:xfrm>
                <a:off x="7354932" y="2205611"/>
                <a:ext cx="179421" cy="147723"/>
              </a:xfrm>
              <a:custGeom>
                <a:avLst/>
                <a:gdLst>
                  <a:gd name="connsiteX0" fmla="*/ 179422 w 179421"/>
                  <a:gd name="connsiteY0" fmla="*/ 2392 h 147723"/>
                  <a:gd name="connsiteX1" fmla="*/ 1914 w 179421"/>
                  <a:gd name="connsiteY1" fmla="*/ 147724 h 147723"/>
                  <a:gd name="connsiteX2" fmla="*/ 0 w 179421"/>
                  <a:gd name="connsiteY2" fmla="*/ 145332 h 147723"/>
                  <a:gd name="connsiteX3" fmla="*/ 177508 w 179421"/>
                  <a:gd name="connsiteY3" fmla="*/ 0 h 147723"/>
                </a:gdLst>
                <a:ahLst/>
                <a:cxnLst>
                  <a:cxn ang="0">
                    <a:pos x="connsiteX0" y="connsiteY0"/>
                  </a:cxn>
                  <a:cxn ang="0">
                    <a:pos x="connsiteX1" y="connsiteY1"/>
                  </a:cxn>
                  <a:cxn ang="0">
                    <a:pos x="connsiteX2" y="connsiteY2"/>
                  </a:cxn>
                  <a:cxn ang="0">
                    <a:pos x="connsiteX3" y="connsiteY3"/>
                  </a:cxn>
                </a:cxnLst>
                <a:rect l="l" t="t" r="r" b="b"/>
                <a:pathLst>
                  <a:path w="179421" h="147723">
                    <a:moveTo>
                      <a:pt x="179422" y="2392"/>
                    </a:moveTo>
                    <a:lnTo>
                      <a:pt x="1914" y="147724"/>
                    </a:lnTo>
                    <a:lnTo>
                      <a:pt x="0" y="145332"/>
                    </a:lnTo>
                    <a:lnTo>
                      <a:pt x="177508" y="0"/>
                    </a:lnTo>
                    <a:close/>
                  </a:path>
                </a:pathLst>
              </a:custGeom>
              <a:grpFill/>
              <a:ln w="5978" cap="flat">
                <a:noFill/>
                <a:prstDash val="solid"/>
                <a:miter/>
              </a:ln>
            </p:spPr>
            <p:txBody>
              <a:bodyPr rtlCol="0" anchor="ctr"/>
              <a:lstStyle/>
              <a:p>
                <a:endParaRPr lang="en-GB"/>
              </a:p>
            </p:txBody>
          </p:sp>
          <p:sp>
            <p:nvSpPr>
              <p:cNvPr id="4780" name="Vrije vorm: vorm 4779">
                <a:extLst>
                  <a:ext uri="{FF2B5EF4-FFF2-40B4-BE49-F238E27FC236}">
                    <a16:creationId xmlns:a16="http://schemas.microsoft.com/office/drawing/2014/main" id="{F6D48ECD-10F8-443C-AC82-DF9C175D2956}"/>
                  </a:ext>
                </a:extLst>
              </p:cNvPr>
              <p:cNvSpPr/>
              <p:nvPr/>
            </p:nvSpPr>
            <p:spPr>
              <a:xfrm>
                <a:off x="7523865" y="2197848"/>
                <a:ext cx="18371" cy="18451"/>
              </a:xfrm>
              <a:custGeom>
                <a:avLst/>
                <a:gdLst>
                  <a:gd name="connsiteX0" fmla="*/ 3372 w 18371"/>
                  <a:gd name="connsiteY0" fmla="*/ 2081 h 18451"/>
                  <a:gd name="connsiteX1" fmla="*/ 16291 w 18371"/>
                  <a:gd name="connsiteY1" fmla="*/ 3397 h 18451"/>
                  <a:gd name="connsiteX2" fmla="*/ 14974 w 18371"/>
                  <a:gd name="connsiteY2" fmla="*/ 16375 h 18451"/>
                  <a:gd name="connsiteX3" fmla="*/ 2056 w 18371"/>
                  <a:gd name="connsiteY3" fmla="*/ 15000 h 18451"/>
                  <a:gd name="connsiteX4" fmla="*/ 3372 w 18371"/>
                  <a:gd name="connsiteY4" fmla="*/ 2081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1">
                    <a:moveTo>
                      <a:pt x="3372" y="2081"/>
                    </a:moveTo>
                    <a:cubicBezTo>
                      <a:pt x="7260" y="-1148"/>
                      <a:pt x="13061" y="-550"/>
                      <a:pt x="16291" y="3397"/>
                    </a:cubicBezTo>
                    <a:cubicBezTo>
                      <a:pt x="19520" y="7344"/>
                      <a:pt x="18922" y="13145"/>
                      <a:pt x="14974" y="16375"/>
                    </a:cubicBezTo>
                    <a:cubicBezTo>
                      <a:pt x="11087" y="19605"/>
                      <a:pt x="5286" y="19007"/>
                      <a:pt x="2056" y="15000"/>
                    </a:cubicBezTo>
                    <a:cubicBezTo>
                      <a:pt x="-1114" y="11112"/>
                      <a:pt x="-575" y="5311"/>
                      <a:pt x="3372" y="2081"/>
                    </a:cubicBezTo>
                    <a:close/>
                  </a:path>
                </a:pathLst>
              </a:custGeom>
              <a:grpFill/>
              <a:ln w="5978" cap="flat">
                <a:noFill/>
                <a:prstDash val="solid"/>
                <a:miter/>
              </a:ln>
            </p:spPr>
            <p:txBody>
              <a:bodyPr rtlCol="0" anchor="ctr"/>
              <a:lstStyle/>
              <a:p>
                <a:endParaRPr lang="en-GB"/>
              </a:p>
            </p:txBody>
          </p:sp>
          <p:sp>
            <p:nvSpPr>
              <p:cNvPr id="4781" name="Vrije vorm: vorm 4780">
                <a:extLst>
                  <a:ext uri="{FF2B5EF4-FFF2-40B4-BE49-F238E27FC236}">
                    <a16:creationId xmlns:a16="http://schemas.microsoft.com/office/drawing/2014/main" id="{E1EAFFD6-B06E-4BF1-9F80-1E5016E9F556}"/>
                  </a:ext>
                </a:extLst>
              </p:cNvPr>
              <p:cNvSpPr/>
              <p:nvPr/>
            </p:nvSpPr>
            <p:spPr>
              <a:xfrm>
                <a:off x="7347093" y="2342625"/>
                <a:ext cx="18308" cy="18412"/>
              </a:xfrm>
              <a:custGeom>
                <a:avLst/>
                <a:gdLst>
                  <a:gd name="connsiteX0" fmla="*/ 3353 w 18308"/>
                  <a:gd name="connsiteY0" fmla="*/ 2037 h 18412"/>
                  <a:gd name="connsiteX1" fmla="*/ 2037 w 18308"/>
                  <a:gd name="connsiteY1" fmla="*/ 15015 h 18412"/>
                  <a:gd name="connsiteX2" fmla="*/ 14956 w 18308"/>
                  <a:gd name="connsiteY2" fmla="*/ 16331 h 18412"/>
                  <a:gd name="connsiteX3" fmla="*/ 16271 w 18308"/>
                  <a:gd name="connsiteY3" fmla="*/ 3353 h 18412"/>
                  <a:gd name="connsiteX4" fmla="*/ 3353 w 18308"/>
                  <a:gd name="connsiteY4" fmla="*/ 203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12">
                    <a:moveTo>
                      <a:pt x="3353" y="2037"/>
                    </a:moveTo>
                    <a:cubicBezTo>
                      <a:pt x="-534" y="5267"/>
                      <a:pt x="-1133" y="11068"/>
                      <a:pt x="2037" y="15015"/>
                    </a:cubicBezTo>
                    <a:cubicBezTo>
                      <a:pt x="5267" y="18963"/>
                      <a:pt x="11008" y="19561"/>
                      <a:pt x="14956" y="16331"/>
                    </a:cubicBezTo>
                    <a:cubicBezTo>
                      <a:pt x="18843" y="13101"/>
                      <a:pt x="19441" y="7300"/>
                      <a:pt x="16271" y="3353"/>
                    </a:cubicBezTo>
                    <a:cubicBezTo>
                      <a:pt x="13041" y="-535"/>
                      <a:pt x="7300" y="-1133"/>
                      <a:pt x="3353" y="2037"/>
                    </a:cubicBezTo>
                    <a:close/>
                  </a:path>
                </a:pathLst>
              </a:custGeom>
              <a:grpFill/>
              <a:ln w="5978" cap="flat">
                <a:noFill/>
                <a:prstDash val="solid"/>
                <a:miter/>
              </a:ln>
            </p:spPr>
            <p:txBody>
              <a:bodyPr rtlCol="0" anchor="ctr"/>
              <a:lstStyle/>
              <a:p>
                <a:endParaRPr lang="en-GB"/>
              </a:p>
            </p:txBody>
          </p:sp>
        </p:grpSp>
        <p:grpSp>
          <p:nvGrpSpPr>
            <p:cNvPr id="201" name="Graphic 3">
              <a:extLst>
                <a:ext uri="{FF2B5EF4-FFF2-40B4-BE49-F238E27FC236}">
                  <a16:creationId xmlns:a16="http://schemas.microsoft.com/office/drawing/2014/main" id="{4B0163A8-6423-4E5A-8760-619E88F04022}"/>
                </a:ext>
              </a:extLst>
            </p:cNvPr>
            <p:cNvGrpSpPr/>
            <p:nvPr/>
          </p:nvGrpSpPr>
          <p:grpSpPr>
            <a:xfrm>
              <a:off x="7715838" y="3610750"/>
              <a:ext cx="411056" cy="103647"/>
              <a:chOff x="7715838" y="3610750"/>
              <a:chExt cx="411056" cy="103647"/>
            </a:xfrm>
            <a:grpFill/>
          </p:grpSpPr>
          <p:sp>
            <p:nvSpPr>
              <p:cNvPr id="4776" name="Vrije vorm: vorm 4775">
                <a:extLst>
                  <a:ext uri="{FF2B5EF4-FFF2-40B4-BE49-F238E27FC236}">
                    <a16:creationId xmlns:a16="http://schemas.microsoft.com/office/drawing/2014/main" id="{5EB5F193-C478-4240-9B76-062C8780B3B3}"/>
                  </a:ext>
                </a:extLst>
              </p:cNvPr>
              <p:cNvSpPr/>
              <p:nvPr/>
            </p:nvSpPr>
            <p:spPr>
              <a:xfrm>
                <a:off x="7724241" y="3618376"/>
                <a:ext cx="394249" cy="88395"/>
              </a:xfrm>
              <a:custGeom>
                <a:avLst/>
                <a:gdLst>
                  <a:gd name="connsiteX0" fmla="*/ 394249 w 394249"/>
                  <a:gd name="connsiteY0" fmla="*/ 85405 h 88395"/>
                  <a:gd name="connsiteX1" fmla="*/ 393592 w 394249"/>
                  <a:gd name="connsiteY1" fmla="*/ 88395 h 88395"/>
                  <a:gd name="connsiteX2" fmla="*/ 0 w 394249"/>
                  <a:gd name="connsiteY2" fmla="*/ 2990 h 88395"/>
                  <a:gd name="connsiteX3" fmla="*/ 599 w 394249"/>
                  <a:gd name="connsiteY3" fmla="*/ 0 h 88395"/>
                </a:gdLst>
                <a:ahLst/>
                <a:cxnLst>
                  <a:cxn ang="0">
                    <a:pos x="connsiteX0" y="connsiteY0"/>
                  </a:cxn>
                  <a:cxn ang="0">
                    <a:pos x="connsiteX1" y="connsiteY1"/>
                  </a:cxn>
                  <a:cxn ang="0">
                    <a:pos x="connsiteX2" y="connsiteY2"/>
                  </a:cxn>
                  <a:cxn ang="0">
                    <a:pos x="connsiteX3" y="connsiteY3"/>
                  </a:cxn>
                </a:cxnLst>
                <a:rect l="l" t="t" r="r" b="b"/>
                <a:pathLst>
                  <a:path w="394249" h="88395">
                    <a:moveTo>
                      <a:pt x="394249" y="85405"/>
                    </a:moveTo>
                    <a:lnTo>
                      <a:pt x="393592" y="88395"/>
                    </a:lnTo>
                    <a:lnTo>
                      <a:pt x="0" y="2990"/>
                    </a:lnTo>
                    <a:lnTo>
                      <a:pt x="599" y="0"/>
                    </a:lnTo>
                    <a:close/>
                  </a:path>
                </a:pathLst>
              </a:custGeom>
              <a:grpFill/>
              <a:ln w="5978" cap="flat">
                <a:noFill/>
                <a:prstDash val="solid"/>
                <a:miter/>
              </a:ln>
            </p:spPr>
            <p:txBody>
              <a:bodyPr rtlCol="0" anchor="ctr"/>
              <a:lstStyle/>
              <a:p>
                <a:endParaRPr lang="en-GB"/>
              </a:p>
            </p:txBody>
          </p:sp>
          <p:sp>
            <p:nvSpPr>
              <p:cNvPr id="4777" name="Vrije vorm: vorm 4776">
                <a:extLst>
                  <a:ext uri="{FF2B5EF4-FFF2-40B4-BE49-F238E27FC236}">
                    <a16:creationId xmlns:a16="http://schemas.microsoft.com/office/drawing/2014/main" id="{8E5EB3AF-36C5-4BF8-815E-6B7CD8B082F2}"/>
                  </a:ext>
                </a:extLst>
              </p:cNvPr>
              <p:cNvSpPr/>
              <p:nvPr/>
            </p:nvSpPr>
            <p:spPr>
              <a:xfrm>
                <a:off x="7715838" y="3610750"/>
                <a:ext cx="18362" cy="18421"/>
              </a:xfrm>
              <a:custGeom>
                <a:avLst/>
                <a:gdLst>
                  <a:gd name="connsiteX0" fmla="*/ 7267 w 18362"/>
                  <a:gd name="connsiteY0" fmla="*/ 18212 h 18421"/>
                  <a:gd name="connsiteX1" fmla="*/ 210 w 18362"/>
                  <a:gd name="connsiteY1" fmla="*/ 7267 h 18421"/>
                  <a:gd name="connsiteX2" fmla="*/ 11095 w 18362"/>
                  <a:gd name="connsiteY2" fmla="*/ 210 h 18421"/>
                  <a:gd name="connsiteX3" fmla="*/ 18152 w 18362"/>
                  <a:gd name="connsiteY3" fmla="*/ 11155 h 18421"/>
                  <a:gd name="connsiteX4" fmla="*/ 7267 w 18362"/>
                  <a:gd name="connsiteY4" fmla="*/ 1821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7267" y="18212"/>
                    </a:moveTo>
                    <a:cubicBezTo>
                      <a:pt x="2304" y="17136"/>
                      <a:pt x="-866" y="12231"/>
                      <a:pt x="210" y="7267"/>
                    </a:cubicBezTo>
                    <a:cubicBezTo>
                      <a:pt x="1287" y="2303"/>
                      <a:pt x="6131" y="-867"/>
                      <a:pt x="11095" y="210"/>
                    </a:cubicBezTo>
                    <a:cubicBezTo>
                      <a:pt x="16059" y="1286"/>
                      <a:pt x="19229" y="6191"/>
                      <a:pt x="18152" y="11155"/>
                    </a:cubicBezTo>
                    <a:cubicBezTo>
                      <a:pt x="17076" y="16119"/>
                      <a:pt x="12171" y="19288"/>
                      <a:pt x="7267" y="18212"/>
                    </a:cubicBezTo>
                    <a:close/>
                  </a:path>
                </a:pathLst>
              </a:custGeom>
              <a:grpFill/>
              <a:ln w="5978" cap="flat">
                <a:noFill/>
                <a:prstDash val="solid"/>
                <a:miter/>
              </a:ln>
            </p:spPr>
            <p:txBody>
              <a:bodyPr rtlCol="0" anchor="ctr"/>
              <a:lstStyle/>
              <a:p>
                <a:endParaRPr lang="en-GB"/>
              </a:p>
            </p:txBody>
          </p:sp>
          <p:sp>
            <p:nvSpPr>
              <p:cNvPr id="4778" name="Vrije vorm: vorm 4777">
                <a:extLst>
                  <a:ext uri="{FF2B5EF4-FFF2-40B4-BE49-F238E27FC236}">
                    <a16:creationId xmlns:a16="http://schemas.microsoft.com/office/drawing/2014/main" id="{F248F3FD-3F6F-4BC2-B2BC-0106C7CD2FCB}"/>
                  </a:ext>
                </a:extLst>
              </p:cNvPr>
              <p:cNvSpPr/>
              <p:nvPr/>
            </p:nvSpPr>
            <p:spPr>
              <a:xfrm>
                <a:off x="8108532" y="3695976"/>
                <a:ext cx="18362" cy="18421"/>
              </a:xfrm>
              <a:custGeom>
                <a:avLst/>
                <a:gdLst>
                  <a:gd name="connsiteX0" fmla="*/ 7267 w 18362"/>
                  <a:gd name="connsiteY0" fmla="*/ 18212 h 18421"/>
                  <a:gd name="connsiteX1" fmla="*/ 18152 w 18362"/>
                  <a:gd name="connsiteY1" fmla="*/ 11155 h 18421"/>
                  <a:gd name="connsiteX2" fmla="*/ 11095 w 18362"/>
                  <a:gd name="connsiteY2" fmla="*/ 210 h 18421"/>
                  <a:gd name="connsiteX3" fmla="*/ 210 w 18362"/>
                  <a:gd name="connsiteY3" fmla="*/ 7267 h 18421"/>
                  <a:gd name="connsiteX4" fmla="*/ 7267 w 18362"/>
                  <a:gd name="connsiteY4" fmla="*/ 1821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7267" y="18212"/>
                    </a:moveTo>
                    <a:cubicBezTo>
                      <a:pt x="12231" y="19288"/>
                      <a:pt x="17076" y="16119"/>
                      <a:pt x="18152" y="11155"/>
                    </a:cubicBezTo>
                    <a:cubicBezTo>
                      <a:pt x="19229" y="6191"/>
                      <a:pt x="16059" y="1286"/>
                      <a:pt x="11095" y="210"/>
                    </a:cubicBezTo>
                    <a:cubicBezTo>
                      <a:pt x="6131" y="-867"/>
                      <a:pt x="1287" y="2303"/>
                      <a:pt x="210" y="7267"/>
                    </a:cubicBezTo>
                    <a:cubicBezTo>
                      <a:pt x="-866" y="12231"/>
                      <a:pt x="2303" y="17136"/>
                      <a:pt x="7267" y="18212"/>
                    </a:cubicBezTo>
                    <a:close/>
                  </a:path>
                </a:pathLst>
              </a:custGeom>
              <a:grpFill/>
              <a:ln w="5978" cap="flat">
                <a:noFill/>
                <a:prstDash val="solid"/>
                <a:miter/>
              </a:ln>
            </p:spPr>
            <p:txBody>
              <a:bodyPr rtlCol="0" anchor="ctr"/>
              <a:lstStyle/>
              <a:p>
                <a:endParaRPr lang="en-GB"/>
              </a:p>
            </p:txBody>
          </p:sp>
        </p:grpSp>
        <p:grpSp>
          <p:nvGrpSpPr>
            <p:cNvPr id="202" name="Graphic 3">
              <a:extLst>
                <a:ext uri="{FF2B5EF4-FFF2-40B4-BE49-F238E27FC236}">
                  <a16:creationId xmlns:a16="http://schemas.microsoft.com/office/drawing/2014/main" id="{CC7D6BE3-C943-466B-95A0-EC5FD38163DA}"/>
                </a:ext>
              </a:extLst>
            </p:cNvPr>
            <p:cNvGrpSpPr/>
            <p:nvPr/>
          </p:nvGrpSpPr>
          <p:grpSpPr>
            <a:xfrm>
              <a:off x="7247775" y="1880788"/>
              <a:ext cx="196789" cy="215922"/>
              <a:chOff x="7247775" y="1880788"/>
              <a:chExt cx="196789" cy="215922"/>
            </a:xfrm>
            <a:grpFill/>
          </p:grpSpPr>
          <p:sp>
            <p:nvSpPr>
              <p:cNvPr id="4773" name="Vrije vorm: vorm 4772">
                <a:extLst>
                  <a:ext uri="{FF2B5EF4-FFF2-40B4-BE49-F238E27FC236}">
                    <a16:creationId xmlns:a16="http://schemas.microsoft.com/office/drawing/2014/main" id="{ECC13DC9-2129-4BC7-A1E5-2EC58988AB3F}"/>
                  </a:ext>
                </a:extLst>
              </p:cNvPr>
              <p:cNvSpPr/>
              <p:nvPr/>
            </p:nvSpPr>
            <p:spPr>
              <a:xfrm>
                <a:off x="7255532" y="1888632"/>
                <a:ext cx="181335" cy="200174"/>
              </a:xfrm>
              <a:custGeom>
                <a:avLst/>
                <a:gdLst>
                  <a:gd name="connsiteX0" fmla="*/ 181336 w 181335"/>
                  <a:gd name="connsiteY0" fmla="*/ 2093 h 200174"/>
                  <a:gd name="connsiteX1" fmla="*/ 2273 w 181335"/>
                  <a:gd name="connsiteY1" fmla="*/ 200175 h 200174"/>
                  <a:gd name="connsiteX2" fmla="*/ 0 w 181335"/>
                  <a:gd name="connsiteY2" fmla="*/ 198141 h 200174"/>
                  <a:gd name="connsiteX3" fmla="*/ 179063 w 181335"/>
                  <a:gd name="connsiteY3" fmla="*/ 0 h 200174"/>
                </a:gdLst>
                <a:ahLst/>
                <a:cxnLst>
                  <a:cxn ang="0">
                    <a:pos x="connsiteX0" y="connsiteY0"/>
                  </a:cxn>
                  <a:cxn ang="0">
                    <a:pos x="connsiteX1" y="connsiteY1"/>
                  </a:cxn>
                  <a:cxn ang="0">
                    <a:pos x="connsiteX2" y="connsiteY2"/>
                  </a:cxn>
                  <a:cxn ang="0">
                    <a:pos x="connsiteX3" y="connsiteY3"/>
                  </a:cxn>
                </a:cxnLst>
                <a:rect l="l" t="t" r="r" b="b"/>
                <a:pathLst>
                  <a:path w="181335" h="200174">
                    <a:moveTo>
                      <a:pt x="181336" y="2093"/>
                    </a:moveTo>
                    <a:lnTo>
                      <a:pt x="2273" y="200175"/>
                    </a:lnTo>
                    <a:lnTo>
                      <a:pt x="0" y="198141"/>
                    </a:lnTo>
                    <a:lnTo>
                      <a:pt x="179063" y="0"/>
                    </a:lnTo>
                    <a:close/>
                  </a:path>
                </a:pathLst>
              </a:custGeom>
              <a:grpFill/>
              <a:ln w="5978" cap="flat">
                <a:noFill/>
                <a:prstDash val="solid"/>
                <a:miter/>
              </a:ln>
            </p:spPr>
            <p:txBody>
              <a:bodyPr rtlCol="0" anchor="ctr"/>
              <a:lstStyle/>
              <a:p>
                <a:endParaRPr lang="en-GB"/>
              </a:p>
            </p:txBody>
          </p:sp>
          <p:sp>
            <p:nvSpPr>
              <p:cNvPr id="4774" name="Vrije vorm: vorm 4773">
                <a:extLst>
                  <a:ext uri="{FF2B5EF4-FFF2-40B4-BE49-F238E27FC236}">
                    <a16:creationId xmlns:a16="http://schemas.microsoft.com/office/drawing/2014/main" id="{F64612E3-4164-4632-AB0F-5E9C2432746C}"/>
                  </a:ext>
                </a:extLst>
              </p:cNvPr>
              <p:cNvSpPr/>
              <p:nvPr/>
            </p:nvSpPr>
            <p:spPr>
              <a:xfrm>
                <a:off x="7426240" y="1880788"/>
                <a:ext cx="18325" cy="18438"/>
              </a:xfrm>
              <a:custGeom>
                <a:avLst/>
                <a:gdLst>
                  <a:gd name="connsiteX0" fmla="*/ 2375 w 18325"/>
                  <a:gd name="connsiteY0" fmla="*/ 3000 h 18438"/>
                  <a:gd name="connsiteX1" fmla="*/ 15293 w 18325"/>
                  <a:gd name="connsiteY1" fmla="*/ 2401 h 18438"/>
                  <a:gd name="connsiteX2" fmla="*/ 15951 w 18325"/>
                  <a:gd name="connsiteY2" fmla="*/ 15439 h 18438"/>
                  <a:gd name="connsiteX3" fmla="*/ 3032 w 18325"/>
                  <a:gd name="connsiteY3" fmla="*/ 16037 h 18438"/>
                  <a:gd name="connsiteX4" fmla="*/ 2375 w 18325"/>
                  <a:gd name="connsiteY4" fmla="*/ 3000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8">
                    <a:moveTo>
                      <a:pt x="2375" y="3000"/>
                    </a:moveTo>
                    <a:cubicBezTo>
                      <a:pt x="5783" y="-768"/>
                      <a:pt x="11585" y="-1008"/>
                      <a:pt x="15293" y="2401"/>
                    </a:cubicBezTo>
                    <a:cubicBezTo>
                      <a:pt x="19061" y="5810"/>
                      <a:pt x="19360" y="11672"/>
                      <a:pt x="15951" y="15439"/>
                    </a:cubicBezTo>
                    <a:cubicBezTo>
                      <a:pt x="12541" y="19207"/>
                      <a:pt x="6740" y="19447"/>
                      <a:pt x="3032" y="16037"/>
                    </a:cubicBezTo>
                    <a:cubicBezTo>
                      <a:pt x="-736" y="12628"/>
                      <a:pt x="-1035" y="6767"/>
                      <a:pt x="2375" y="3000"/>
                    </a:cubicBezTo>
                    <a:close/>
                  </a:path>
                </a:pathLst>
              </a:custGeom>
              <a:grpFill/>
              <a:ln w="5978" cap="flat">
                <a:noFill/>
                <a:prstDash val="solid"/>
                <a:miter/>
              </a:ln>
            </p:spPr>
            <p:txBody>
              <a:bodyPr rtlCol="0" anchor="ctr"/>
              <a:lstStyle/>
              <a:p>
                <a:endParaRPr lang="en-GB"/>
              </a:p>
            </p:txBody>
          </p:sp>
          <p:sp>
            <p:nvSpPr>
              <p:cNvPr id="4775" name="Vrije vorm: vorm 4774">
                <a:extLst>
                  <a:ext uri="{FF2B5EF4-FFF2-40B4-BE49-F238E27FC236}">
                    <a16:creationId xmlns:a16="http://schemas.microsoft.com/office/drawing/2014/main" id="{3FC446C8-F9BC-45B0-A9B0-74EDBFB5628B}"/>
                  </a:ext>
                </a:extLst>
              </p:cNvPr>
              <p:cNvSpPr/>
              <p:nvPr/>
            </p:nvSpPr>
            <p:spPr>
              <a:xfrm>
                <a:off x="7247775" y="2078248"/>
                <a:ext cx="18300" cy="18462"/>
              </a:xfrm>
              <a:custGeom>
                <a:avLst/>
                <a:gdLst>
                  <a:gd name="connsiteX0" fmla="*/ 2375 w 18300"/>
                  <a:gd name="connsiteY0" fmla="*/ 3023 h 18462"/>
                  <a:gd name="connsiteX1" fmla="*/ 3032 w 18300"/>
                  <a:gd name="connsiteY1" fmla="*/ 16061 h 18462"/>
                  <a:gd name="connsiteX2" fmla="*/ 15950 w 18300"/>
                  <a:gd name="connsiteY2" fmla="*/ 15463 h 18462"/>
                  <a:gd name="connsiteX3" fmla="*/ 15292 w 18300"/>
                  <a:gd name="connsiteY3" fmla="*/ 2425 h 18462"/>
                  <a:gd name="connsiteX4" fmla="*/ 2375 w 18300"/>
                  <a:gd name="connsiteY4" fmla="*/ 3023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62">
                    <a:moveTo>
                      <a:pt x="2375" y="3023"/>
                    </a:moveTo>
                    <a:cubicBezTo>
                      <a:pt x="-1035" y="6791"/>
                      <a:pt x="-736" y="12592"/>
                      <a:pt x="3032" y="16061"/>
                    </a:cubicBezTo>
                    <a:cubicBezTo>
                      <a:pt x="6800" y="19470"/>
                      <a:pt x="12601" y="19231"/>
                      <a:pt x="15950" y="15463"/>
                    </a:cubicBezTo>
                    <a:cubicBezTo>
                      <a:pt x="19300" y="11695"/>
                      <a:pt x="19060" y="5894"/>
                      <a:pt x="15292" y="2425"/>
                    </a:cubicBezTo>
                    <a:cubicBezTo>
                      <a:pt x="11584" y="-1044"/>
                      <a:pt x="5783" y="-745"/>
                      <a:pt x="2375" y="3023"/>
                    </a:cubicBezTo>
                    <a:close/>
                  </a:path>
                </a:pathLst>
              </a:custGeom>
              <a:grpFill/>
              <a:ln w="5978" cap="flat">
                <a:noFill/>
                <a:prstDash val="solid"/>
                <a:miter/>
              </a:ln>
            </p:spPr>
            <p:txBody>
              <a:bodyPr rtlCol="0" anchor="ctr"/>
              <a:lstStyle/>
              <a:p>
                <a:endParaRPr lang="en-GB"/>
              </a:p>
            </p:txBody>
          </p:sp>
        </p:grpSp>
        <p:grpSp>
          <p:nvGrpSpPr>
            <p:cNvPr id="203" name="Graphic 3">
              <a:extLst>
                <a:ext uri="{FF2B5EF4-FFF2-40B4-BE49-F238E27FC236}">
                  <a16:creationId xmlns:a16="http://schemas.microsoft.com/office/drawing/2014/main" id="{3E8AA74F-712B-478B-B415-61C474EECC40}"/>
                </a:ext>
              </a:extLst>
            </p:cNvPr>
            <p:cNvGrpSpPr/>
            <p:nvPr/>
          </p:nvGrpSpPr>
          <p:grpSpPr>
            <a:xfrm>
              <a:off x="8029398" y="4248202"/>
              <a:ext cx="158772" cy="77998"/>
              <a:chOff x="8029398" y="4248202"/>
              <a:chExt cx="158772" cy="77998"/>
            </a:xfrm>
            <a:grpFill/>
          </p:grpSpPr>
          <p:sp>
            <p:nvSpPr>
              <p:cNvPr id="4770" name="Vrije vorm: vorm 4769">
                <a:extLst>
                  <a:ext uri="{FF2B5EF4-FFF2-40B4-BE49-F238E27FC236}">
                    <a16:creationId xmlns:a16="http://schemas.microsoft.com/office/drawing/2014/main" id="{59D22233-A4F4-4A31-A16F-FE77F97B233F}"/>
                  </a:ext>
                </a:extLst>
              </p:cNvPr>
              <p:cNvSpPr/>
              <p:nvPr/>
            </p:nvSpPr>
            <p:spPr>
              <a:xfrm>
                <a:off x="8037512" y="4255862"/>
                <a:ext cx="142521" cy="62677"/>
              </a:xfrm>
              <a:custGeom>
                <a:avLst/>
                <a:gdLst>
                  <a:gd name="connsiteX0" fmla="*/ 142521 w 142521"/>
                  <a:gd name="connsiteY0" fmla="*/ 59867 h 62677"/>
                  <a:gd name="connsiteX1" fmla="*/ 141325 w 142521"/>
                  <a:gd name="connsiteY1" fmla="*/ 62678 h 62677"/>
                  <a:gd name="connsiteX2" fmla="*/ 0 w 142521"/>
                  <a:gd name="connsiteY2" fmla="*/ 2811 h 62677"/>
                  <a:gd name="connsiteX3" fmla="*/ 1137 w 142521"/>
                  <a:gd name="connsiteY3" fmla="*/ 0 h 62677"/>
                </a:gdLst>
                <a:ahLst/>
                <a:cxnLst>
                  <a:cxn ang="0">
                    <a:pos x="connsiteX0" y="connsiteY0"/>
                  </a:cxn>
                  <a:cxn ang="0">
                    <a:pos x="connsiteX1" y="connsiteY1"/>
                  </a:cxn>
                  <a:cxn ang="0">
                    <a:pos x="connsiteX2" y="connsiteY2"/>
                  </a:cxn>
                  <a:cxn ang="0">
                    <a:pos x="connsiteX3" y="connsiteY3"/>
                  </a:cxn>
                </a:cxnLst>
                <a:rect l="l" t="t" r="r" b="b"/>
                <a:pathLst>
                  <a:path w="142521" h="62677">
                    <a:moveTo>
                      <a:pt x="142521" y="59867"/>
                    </a:moveTo>
                    <a:lnTo>
                      <a:pt x="141325" y="62678"/>
                    </a:lnTo>
                    <a:lnTo>
                      <a:pt x="0" y="2811"/>
                    </a:lnTo>
                    <a:lnTo>
                      <a:pt x="1137" y="0"/>
                    </a:lnTo>
                    <a:close/>
                  </a:path>
                </a:pathLst>
              </a:custGeom>
              <a:grpFill/>
              <a:ln w="5978" cap="flat">
                <a:noFill/>
                <a:prstDash val="solid"/>
                <a:miter/>
              </a:ln>
            </p:spPr>
            <p:txBody>
              <a:bodyPr rtlCol="0" anchor="ctr"/>
              <a:lstStyle/>
              <a:p>
                <a:endParaRPr lang="en-GB"/>
              </a:p>
            </p:txBody>
          </p:sp>
          <p:sp>
            <p:nvSpPr>
              <p:cNvPr id="4771" name="Vrije vorm: vorm 4770">
                <a:extLst>
                  <a:ext uri="{FF2B5EF4-FFF2-40B4-BE49-F238E27FC236}">
                    <a16:creationId xmlns:a16="http://schemas.microsoft.com/office/drawing/2014/main" id="{DED313A1-DA31-4D9D-A662-D51AB6AD85D2}"/>
                  </a:ext>
                </a:extLst>
              </p:cNvPr>
              <p:cNvSpPr/>
              <p:nvPr/>
            </p:nvSpPr>
            <p:spPr>
              <a:xfrm>
                <a:off x="8169860" y="4307736"/>
                <a:ext cx="18310" cy="18463"/>
              </a:xfrm>
              <a:custGeom>
                <a:avLst/>
                <a:gdLst>
                  <a:gd name="connsiteX0" fmla="*/ 12684 w 18310"/>
                  <a:gd name="connsiteY0" fmla="*/ 756 h 18463"/>
                  <a:gd name="connsiteX1" fmla="*/ 17588 w 18310"/>
                  <a:gd name="connsiteY1" fmla="*/ 12837 h 18463"/>
                  <a:gd name="connsiteX2" fmla="*/ 5627 w 18310"/>
                  <a:gd name="connsiteY2" fmla="*/ 17742 h 18463"/>
                  <a:gd name="connsiteX3" fmla="*/ 722 w 18310"/>
                  <a:gd name="connsiteY3" fmla="*/ 5660 h 18463"/>
                  <a:gd name="connsiteX4" fmla="*/ 12684 w 18310"/>
                  <a:gd name="connsiteY4" fmla="*/ 756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63">
                    <a:moveTo>
                      <a:pt x="12684" y="756"/>
                    </a:moveTo>
                    <a:cubicBezTo>
                      <a:pt x="17349" y="2730"/>
                      <a:pt x="19562" y="8112"/>
                      <a:pt x="17588" y="12837"/>
                    </a:cubicBezTo>
                    <a:cubicBezTo>
                      <a:pt x="15614" y="17502"/>
                      <a:pt x="10292" y="19715"/>
                      <a:pt x="5627" y="17742"/>
                    </a:cubicBezTo>
                    <a:cubicBezTo>
                      <a:pt x="962" y="15768"/>
                      <a:pt x="-1251" y="10385"/>
                      <a:pt x="722" y="5660"/>
                    </a:cubicBezTo>
                    <a:cubicBezTo>
                      <a:pt x="2636" y="936"/>
                      <a:pt x="8019" y="-1277"/>
                      <a:pt x="12684" y="756"/>
                    </a:cubicBezTo>
                    <a:close/>
                  </a:path>
                </a:pathLst>
              </a:custGeom>
              <a:grpFill/>
              <a:ln w="5978" cap="flat">
                <a:noFill/>
                <a:prstDash val="solid"/>
                <a:miter/>
              </a:ln>
            </p:spPr>
            <p:txBody>
              <a:bodyPr rtlCol="0" anchor="ctr"/>
              <a:lstStyle/>
              <a:p>
                <a:endParaRPr lang="en-GB"/>
              </a:p>
            </p:txBody>
          </p:sp>
          <p:sp>
            <p:nvSpPr>
              <p:cNvPr id="4772" name="Vrije vorm: vorm 4771">
                <a:extLst>
                  <a:ext uri="{FF2B5EF4-FFF2-40B4-BE49-F238E27FC236}">
                    <a16:creationId xmlns:a16="http://schemas.microsoft.com/office/drawing/2014/main" id="{9AA13EE3-D239-423B-9148-E510E8CE9CC7}"/>
                  </a:ext>
                </a:extLst>
              </p:cNvPr>
              <p:cNvSpPr/>
              <p:nvPr/>
            </p:nvSpPr>
            <p:spPr>
              <a:xfrm>
                <a:off x="8029398" y="4248202"/>
                <a:ext cx="18285" cy="18430"/>
              </a:xfrm>
              <a:custGeom>
                <a:avLst/>
                <a:gdLst>
                  <a:gd name="connsiteX0" fmla="*/ 12659 w 18285"/>
                  <a:gd name="connsiteY0" fmla="*/ 722 h 18430"/>
                  <a:gd name="connsiteX1" fmla="*/ 697 w 18285"/>
                  <a:gd name="connsiteY1" fmla="*/ 5626 h 18430"/>
                  <a:gd name="connsiteX2" fmla="*/ 5602 w 18285"/>
                  <a:gd name="connsiteY2" fmla="*/ 17708 h 18430"/>
                  <a:gd name="connsiteX3" fmla="*/ 17563 w 18285"/>
                  <a:gd name="connsiteY3" fmla="*/ 12803 h 18430"/>
                  <a:gd name="connsiteX4" fmla="*/ 12659 w 18285"/>
                  <a:gd name="connsiteY4" fmla="*/ 72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30">
                    <a:moveTo>
                      <a:pt x="12659" y="722"/>
                    </a:moveTo>
                    <a:cubicBezTo>
                      <a:pt x="7994" y="-1251"/>
                      <a:pt x="2611" y="962"/>
                      <a:pt x="697" y="5626"/>
                    </a:cubicBezTo>
                    <a:cubicBezTo>
                      <a:pt x="-1216" y="10292"/>
                      <a:pt x="937" y="15734"/>
                      <a:pt x="5602" y="17708"/>
                    </a:cubicBezTo>
                    <a:cubicBezTo>
                      <a:pt x="10267" y="19681"/>
                      <a:pt x="15649" y="17469"/>
                      <a:pt x="17563" y="12803"/>
                    </a:cubicBezTo>
                    <a:cubicBezTo>
                      <a:pt x="19536" y="8139"/>
                      <a:pt x="17324" y="2696"/>
                      <a:pt x="12659" y="722"/>
                    </a:cubicBezTo>
                    <a:close/>
                  </a:path>
                </a:pathLst>
              </a:custGeom>
              <a:grpFill/>
              <a:ln w="5978" cap="flat">
                <a:noFill/>
                <a:prstDash val="solid"/>
                <a:miter/>
              </a:ln>
            </p:spPr>
            <p:txBody>
              <a:bodyPr rtlCol="0" anchor="ctr"/>
              <a:lstStyle/>
              <a:p>
                <a:endParaRPr lang="en-GB"/>
              </a:p>
            </p:txBody>
          </p:sp>
        </p:grpSp>
        <p:grpSp>
          <p:nvGrpSpPr>
            <p:cNvPr id="204" name="Graphic 3">
              <a:extLst>
                <a:ext uri="{FF2B5EF4-FFF2-40B4-BE49-F238E27FC236}">
                  <a16:creationId xmlns:a16="http://schemas.microsoft.com/office/drawing/2014/main" id="{EEF458E1-9562-4E1F-BBE8-A06BBE95DBF6}"/>
                </a:ext>
              </a:extLst>
            </p:cNvPr>
            <p:cNvGrpSpPr/>
            <p:nvPr/>
          </p:nvGrpSpPr>
          <p:grpSpPr>
            <a:xfrm>
              <a:off x="7788074" y="3585550"/>
              <a:ext cx="207375" cy="37772"/>
              <a:chOff x="7788074" y="3585550"/>
              <a:chExt cx="207375" cy="37772"/>
            </a:xfrm>
            <a:grpFill/>
          </p:grpSpPr>
          <p:sp>
            <p:nvSpPr>
              <p:cNvPr id="4767" name="Vrije vorm: vorm 4766">
                <a:extLst>
                  <a:ext uri="{FF2B5EF4-FFF2-40B4-BE49-F238E27FC236}">
                    <a16:creationId xmlns:a16="http://schemas.microsoft.com/office/drawing/2014/main" id="{07E6423E-2795-46ED-90FD-6DDE239BAD26}"/>
                  </a:ext>
                </a:extLst>
              </p:cNvPr>
              <p:cNvSpPr/>
              <p:nvPr/>
            </p:nvSpPr>
            <p:spPr>
              <a:xfrm>
                <a:off x="7796609" y="3593198"/>
                <a:ext cx="190246" cy="22427"/>
              </a:xfrm>
              <a:custGeom>
                <a:avLst/>
                <a:gdLst>
                  <a:gd name="connsiteX0" fmla="*/ 190246 w 190246"/>
                  <a:gd name="connsiteY0" fmla="*/ 19378 h 22427"/>
                  <a:gd name="connsiteX1" fmla="*/ 189948 w 190246"/>
                  <a:gd name="connsiteY1" fmla="*/ 22428 h 22427"/>
                  <a:gd name="connsiteX2" fmla="*/ 0 w 190246"/>
                  <a:gd name="connsiteY2" fmla="*/ 3050 h 22427"/>
                  <a:gd name="connsiteX3" fmla="*/ 299 w 190246"/>
                  <a:gd name="connsiteY3" fmla="*/ 0 h 22427"/>
                </a:gdLst>
                <a:ahLst/>
                <a:cxnLst>
                  <a:cxn ang="0">
                    <a:pos x="connsiteX0" y="connsiteY0"/>
                  </a:cxn>
                  <a:cxn ang="0">
                    <a:pos x="connsiteX1" y="connsiteY1"/>
                  </a:cxn>
                  <a:cxn ang="0">
                    <a:pos x="connsiteX2" y="connsiteY2"/>
                  </a:cxn>
                  <a:cxn ang="0">
                    <a:pos x="connsiteX3" y="connsiteY3"/>
                  </a:cxn>
                </a:cxnLst>
                <a:rect l="l" t="t" r="r" b="b"/>
                <a:pathLst>
                  <a:path w="190246" h="22427">
                    <a:moveTo>
                      <a:pt x="190246" y="19378"/>
                    </a:moveTo>
                    <a:lnTo>
                      <a:pt x="189948" y="22428"/>
                    </a:lnTo>
                    <a:lnTo>
                      <a:pt x="0" y="3050"/>
                    </a:lnTo>
                    <a:lnTo>
                      <a:pt x="299" y="0"/>
                    </a:lnTo>
                    <a:close/>
                  </a:path>
                </a:pathLst>
              </a:custGeom>
              <a:grpFill/>
              <a:ln w="5978" cap="flat">
                <a:noFill/>
                <a:prstDash val="solid"/>
                <a:miter/>
              </a:ln>
            </p:spPr>
            <p:txBody>
              <a:bodyPr rtlCol="0" anchor="ctr"/>
              <a:lstStyle/>
              <a:p>
                <a:endParaRPr lang="en-GB"/>
              </a:p>
            </p:txBody>
          </p:sp>
          <p:sp>
            <p:nvSpPr>
              <p:cNvPr id="4768" name="Vrije vorm: vorm 4767">
                <a:extLst>
                  <a:ext uri="{FF2B5EF4-FFF2-40B4-BE49-F238E27FC236}">
                    <a16:creationId xmlns:a16="http://schemas.microsoft.com/office/drawing/2014/main" id="{A30755E7-6749-4C37-9FB8-A07330CABAFD}"/>
                  </a:ext>
                </a:extLst>
              </p:cNvPr>
              <p:cNvSpPr/>
              <p:nvPr/>
            </p:nvSpPr>
            <p:spPr>
              <a:xfrm>
                <a:off x="7977125" y="3604868"/>
                <a:ext cx="18324" cy="18454"/>
              </a:xfrm>
              <a:custGeom>
                <a:avLst/>
                <a:gdLst>
                  <a:gd name="connsiteX0" fmla="*/ 10030 w 18324"/>
                  <a:gd name="connsiteY0" fmla="*/ 52 h 18454"/>
                  <a:gd name="connsiteX1" fmla="*/ 18283 w 18324"/>
                  <a:gd name="connsiteY1" fmla="*/ 10159 h 18454"/>
                  <a:gd name="connsiteX2" fmla="*/ 8295 w 18324"/>
                  <a:gd name="connsiteY2" fmla="*/ 18413 h 18454"/>
                  <a:gd name="connsiteX3" fmla="*/ 42 w 18324"/>
                  <a:gd name="connsiteY3" fmla="*/ 8305 h 18454"/>
                  <a:gd name="connsiteX4" fmla="*/ 10030 w 18324"/>
                  <a:gd name="connsiteY4" fmla="*/ 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4">
                    <a:moveTo>
                      <a:pt x="10030" y="52"/>
                    </a:moveTo>
                    <a:cubicBezTo>
                      <a:pt x="15053" y="590"/>
                      <a:pt x="18761" y="5076"/>
                      <a:pt x="18283" y="10159"/>
                    </a:cubicBezTo>
                    <a:cubicBezTo>
                      <a:pt x="17804" y="15243"/>
                      <a:pt x="13319" y="18891"/>
                      <a:pt x="8295" y="18413"/>
                    </a:cubicBezTo>
                    <a:cubicBezTo>
                      <a:pt x="3271" y="17934"/>
                      <a:pt x="-437" y="13389"/>
                      <a:pt x="42" y="8305"/>
                    </a:cubicBezTo>
                    <a:cubicBezTo>
                      <a:pt x="520" y="3222"/>
                      <a:pt x="5005" y="-486"/>
                      <a:pt x="10030" y="52"/>
                    </a:cubicBezTo>
                    <a:close/>
                  </a:path>
                </a:pathLst>
              </a:custGeom>
              <a:grpFill/>
              <a:ln w="5978" cap="flat">
                <a:noFill/>
                <a:prstDash val="solid"/>
                <a:miter/>
              </a:ln>
            </p:spPr>
            <p:txBody>
              <a:bodyPr rtlCol="0" anchor="ctr"/>
              <a:lstStyle/>
              <a:p>
                <a:endParaRPr lang="en-GB"/>
              </a:p>
            </p:txBody>
          </p:sp>
          <p:sp>
            <p:nvSpPr>
              <p:cNvPr id="4769" name="Vrije vorm: vorm 4768">
                <a:extLst>
                  <a:ext uri="{FF2B5EF4-FFF2-40B4-BE49-F238E27FC236}">
                    <a16:creationId xmlns:a16="http://schemas.microsoft.com/office/drawing/2014/main" id="{5213F3F3-7CFE-475F-86CF-36275FECA8EA}"/>
                  </a:ext>
                </a:extLst>
              </p:cNvPr>
              <p:cNvSpPr/>
              <p:nvPr/>
            </p:nvSpPr>
            <p:spPr>
              <a:xfrm>
                <a:off x="7788074" y="3585550"/>
                <a:ext cx="18325" cy="18464"/>
              </a:xfrm>
              <a:custGeom>
                <a:avLst/>
                <a:gdLst>
                  <a:gd name="connsiteX0" fmla="*/ 10030 w 18325"/>
                  <a:gd name="connsiteY0" fmla="*/ 52 h 18464"/>
                  <a:gd name="connsiteX1" fmla="*/ 42 w 18325"/>
                  <a:gd name="connsiteY1" fmla="*/ 8305 h 18464"/>
                  <a:gd name="connsiteX2" fmla="*/ 8296 w 18325"/>
                  <a:gd name="connsiteY2" fmla="*/ 18413 h 18464"/>
                  <a:gd name="connsiteX3" fmla="*/ 18284 w 18325"/>
                  <a:gd name="connsiteY3" fmla="*/ 10159 h 18464"/>
                  <a:gd name="connsiteX4" fmla="*/ 10030 w 18325"/>
                  <a:gd name="connsiteY4" fmla="*/ 5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4">
                    <a:moveTo>
                      <a:pt x="10030" y="52"/>
                    </a:moveTo>
                    <a:cubicBezTo>
                      <a:pt x="5006" y="-486"/>
                      <a:pt x="520" y="3222"/>
                      <a:pt x="42" y="8305"/>
                    </a:cubicBezTo>
                    <a:cubicBezTo>
                      <a:pt x="-436" y="13389"/>
                      <a:pt x="3212" y="17874"/>
                      <a:pt x="8296" y="18413"/>
                    </a:cubicBezTo>
                    <a:cubicBezTo>
                      <a:pt x="13319" y="18951"/>
                      <a:pt x="17805" y="15243"/>
                      <a:pt x="18284" y="10159"/>
                    </a:cubicBezTo>
                    <a:cubicBezTo>
                      <a:pt x="18762" y="5076"/>
                      <a:pt x="15054" y="590"/>
                      <a:pt x="10030" y="52"/>
                    </a:cubicBezTo>
                    <a:close/>
                  </a:path>
                </a:pathLst>
              </a:custGeom>
              <a:grpFill/>
              <a:ln w="5978" cap="flat">
                <a:noFill/>
                <a:prstDash val="solid"/>
                <a:miter/>
              </a:ln>
            </p:spPr>
            <p:txBody>
              <a:bodyPr rtlCol="0" anchor="ctr"/>
              <a:lstStyle/>
              <a:p>
                <a:endParaRPr lang="en-GB"/>
              </a:p>
            </p:txBody>
          </p:sp>
        </p:grpSp>
        <p:grpSp>
          <p:nvGrpSpPr>
            <p:cNvPr id="205" name="Graphic 3">
              <a:extLst>
                <a:ext uri="{FF2B5EF4-FFF2-40B4-BE49-F238E27FC236}">
                  <a16:creationId xmlns:a16="http://schemas.microsoft.com/office/drawing/2014/main" id="{9DFB1D38-46CC-43CF-9902-368C8952003F}"/>
                </a:ext>
              </a:extLst>
            </p:cNvPr>
            <p:cNvGrpSpPr/>
            <p:nvPr/>
          </p:nvGrpSpPr>
          <p:grpSpPr>
            <a:xfrm>
              <a:off x="7601810" y="2792015"/>
              <a:ext cx="63467" cy="35828"/>
              <a:chOff x="7601810" y="2792015"/>
              <a:chExt cx="63467" cy="35828"/>
            </a:xfrm>
            <a:grpFill/>
          </p:grpSpPr>
          <p:sp>
            <p:nvSpPr>
              <p:cNvPr id="4764" name="Vrije vorm: vorm 4763">
                <a:extLst>
                  <a:ext uri="{FF2B5EF4-FFF2-40B4-BE49-F238E27FC236}">
                    <a16:creationId xmlns:a16="http://schemas.microsoft.com/office/drawing/2014/main" id="{5F1FCBDF-6AB4-4EFC-BF71-34C7B51755AE}"/>
                  </a:ext>
                </a:extLst>
              </p:cNvPr>
              <p:cNvSpPr/>
              <p:nvPr/>
            </p:nvSpPr>
            <p:spPr>
              <a:xfrm>
                <a:off x="7610208" y="2799891"/>
                <a:ext cx="47093" cy="20534"/>
              </a:xfrm>
              <a:custGeom>
                <a:avLst/>
                <a:gdLst>
                  <a:gd name="connsiteX0" fmla="*/ 0 w 47093"/>
                  <a:gd name="connsiteY0" fmla="*/ 17687 h 20534"/>
                  <a:gd name="connsiteX1" fmla="*/ 45999 w 47093"/>
                  <a:gd name="connsiteY1" fmla="*/ 0 h 20534"/>
                  <a:gd name="connsiteX2" fmla="*/ 47094 w 47093"/>
                  <a:gd name="connsiteY2" fmla="*/ 2847 h 20534"/>
                  <a:gd name="connsiteX3" fmla="*/ 1095 w 47093"/>
                  <a:gd name="connsiteY3" fmla="*/ 20534 h 20534"/>
                </a:gdLst>
                <a:ahLst/>
                <a:cxnLst>
                  <a:cxn ang="0">
                    <a:pos x="connsiteX0" y="connsiteY0"/>
                  </a:cxn>
                  <a:cxn ang="0">
                    <a:pos x="connsiteX1" y="connsiteY1"/>
                  </a:cxn>
                  <a:cxn ang="0">
                    <a:pos x="connsiteX2" y="connsiteY2"/>
                  </a:cxn>
                  <a:cxn ang="0">
                    <a:pos x="connsiteX3" y="connsiteY3"/>
                  </a:cxn>
                </a:cxnLst>
                <a:rect l="l" t="t" r="r" b="b"/>
                <a:pathLst>
                  <a:path w="47093" h="20534">
                    <a:moveTo>
                      <a:pt x="0" y="17687"/>
                    </a:moveTo>
                    <a:lnTo>
                      <a:pt x="45999" y="0"/>
                    </a:lnTo>
                    <a:lnTo>
                      <a:pt x="47094" y="2847"/>
                    </a:lnTo>
                    <a:lnTo>
                      <a:pt x="1095" y="20534"/>
                    </a:lnTo>
                    <a:close/>
                  </a:path>
                </a:pathLst>
              </a:custGeom>
              <a:grpFill/>
              <a:ln w="5978" cap="flat">
                <a:noFill/>
                <a:prstDash val="solid"/>
                <a:miter/>
              </a:ln>
            </p:spPr>
            <p:txBody>
              <a:bodyPr rtlCol="0" anchor="ctr"/>
              <a:lstStyle/>
              <a:p>
                <a:endParaRPr lang="en-GB"/>
              </a:p>
            </p:txBody>
          </p:sp>
          <p:sp>
            <p:nvSpPr>
              <p:cNvPr id="4765" name="Vrije vorm: vorm 4764">
                <a:extLst>
                  <a:ext uri="{FF2B5EF4-FFF2-40B4-BE49-F238E27FC236}">
                    <a16:creationId xmlns:a16="http://schemas.microsoft.com/office/drawing/2014/main" id="{BA162B95-D545-4D10-BDC2-E09A8F4BC61A}"/>
                  </a:ext>
                </a:extLst>
              </p:cNvPr>
              <p:cNvSpPr/>
              <p:nvPr/>
            </p:nvSpPr>
            <p:spPr>
              <a:xfrm>
                <a:off x="7646964" y="2792015"/>
                <a:ext cx="18313" cy="18431"/>
              </a:xfrm>
              <a:custGeom>
                <a:avLst/>
                <a:gdLst>
                  <a:gd name="connsiteX0" fmla="*/ 5867 w 18313"/>
                  <a:gd name="connsiteY0" fmla="*/ 604 h 18431"/>
                  <a:gd name="connsiteX1" fmla="*/ 17709 w 18313"/>
                  <a:gd name="connsiteY1" fmla="*/ 5926 h 18431"/>
                  <a:gd name="connsiteX2" fmla="*/ 12446 w 18313"/>
                  <a:gd name="connsiteY2" fmla="*/ 17828 h 18431"/>
                  <a:gd name="connsiteX3" fmla="*/ 604 w 18313"/>
                  <a:gd name="connsiteY3" fmla="*/ 12505 h 18431"/>
                  <a:gd name="connsiteX4" fmla="*/ 5867 w 18313"/>
                  <a:gd name="connsiteY4" fmla="*/ 604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5867" y="604"/>
                    </a:moveTo>
                    <a:cubicBezTo>
                      <a:pt x="10592" y="-1191"/>
                      <a:pt x="15915" y="1142"/>
                      <a:pt x="17709" y="5926"/>
                    </a:cubicBezTo>
                    <a:cubicBezTo>
                      <a:pt x="19504" y="10651"/>
                      <a:pt x="17171" y="15974"/>
                      <a:pt x="12446" y="17828"/>
                    </a:cubicBezTo>
                    <a:cubicBezTo>
                      <a:pt x="7721" y="19622"/>
                      <a:pt x="2399" y="17290"/>
                      <a:pt x="604" y="12505"/>
                    </a:cubicBezTo>
                    <a:cubicBezTo>
                      <a:pt x="-1190" y="7780"/>
                      <a:pt x="1142" y="2458"/>
                      <a:pt x="5867" y="604"/>
                    </a:cubicBezTo>
                    <a:close/>
                  </a:path>
                </a:pathLst>
              </a:custGeom>
              <a:grpFill/>
              <a:ln w="5978" cap="flat">
                <a:noFill/>
                <a:prstDash val="solid"/>
                <a:miter/>
              </a:ln>
            </p:spPr>
            <p:txBody>
              <a:bodyPr rtlCol="0" anchor="ctr"/>
              <a:lstStyle/>
              <a:p>
                <a:endParaRPr lang="en-GB"/>
              </a:p>
            </p:txBody>
          </p:sp>
          <p:sp>
            <p:nvSpPr>
              <p:cNvPr id="4766" name="Vrije vorm: vorm 4765">
                <a:extLst>
                  <a:ext uri="{FF2B5EF4-FFF2-40B4-BE49-F238E27FC236}">
                    <a16:creationId xmlns:a16="http://schemas.microsoft.com/office/drawing/2014/main" id="{CAF00FF4-8416-4729-B6C3-9580385D7398}"/>
                  </a:ext>
                </a:extLst>
              </p:cNvPr>
              <p:cNvSpPr/>
              <p:nvPr/>
            </p:nvSpPr>
            <p:spPr>
              <a:xfrm>
                <a:off x="7601810" y="2809394"/>
                <a:ext cx="18313" cy="18448"/>
              </a:xfrm>
              <a:custGeom>
                <a:avLst/>
                <a:gdLst>
                  <a:gd name="connsiteX0" fmla="*/ 5867 w 18313"/>
                  <a:gd name="connsiteY0" fmla="*/ 628 h 18448"/>
                  <a:gd name="connsiteX1" fmla="*/ 604 w 18313"/>
                  <a:gd name="connsiteY1" fmla="*/ 12530 h 18448"/>
                  <a:gd name="connsiteX2" fmla="*/ 12446 w 18313"/>
                  <a:gd name="connsiteY2" fmla="*/ 17852 h 18448"/>
                  <a:gd name="connsiteX3" fmla="*/ 17710 w 18313"/>
                  <a:gd name="connsiteY3" fmla="*/ 5951 h 18448"/>
                  <a:gd name="connsiteX4" fmla="*/ 5867 w 18313"/>
                  <a:gd name="connsiteY4" fmla="*/ 62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48">
                    <a:moveTo>
                      <a:pt x="5867" y="628"/>
                    </a:moveTo>
                    <a:cubicBezTo>
                      <a:pt x="1143" y="2422"/>
                      <a:pt x="-1190" y="7745"/>
                      <a:pt x="604" y="12530"/>
                    </a:cubicBezTo>
                    <a:cubicBezTo>
                      <a:pt x="2458" y="17254"/>
                      <a:pt x="7721" y="19647"/>
                      <a:pt x="12446" y="17852"/>
                    </a:cubicBezTo>
                    <a:cubicBezTo>
                      <a:pt x="17171" y="16058"/>
                      <a:pt x="19503" y="10735"/>
                      <a:pt x="17710" y="5951"/>
                    </a:cubicBezTo>
                    <a:cubicBezTo>
                      <a:pt x="15915" y="1166"/>
                      <a:pt x="10592" y="-1226"/>
                      <a:pt x="5867" y="628"/>
                    </a:cubicBezTo>
                    <a:close/>
                  </a:path>
                </a:pathLst>
              </a:custGeom>
              <a:grpFill/>
              <a:ln w="5978" cap="flat">
                <a:noFill/>
                <a:prstDash val="solid"/>
                <a:miter/>
              </a:ln>
            </p:spPr>
            <p:txBody>
              <a:bodyPr rtlCol="0" anchor="ctr"/>
              <a:lstStyle/>
              <a:p>
                <a:endParaRPr lang="en-GB"/>
              </a:p>
            </p:txBody>
          </p:sp>
        </p:grpSp>
        <p:grpSp>
          <p:nvGrpSpPr>
            <p:cNvPr id="206" name="Graphic 3">
              <a:extLst>
                <a:ext uri="{FF2B5EF4-FFF2-40B4-BE49-F238E27FC236}">
                  <a16:creationId xmlns:a16="http://schemas.microsoft.com/office/drawing/2014/main" id="{1F70FCA2-F004-4A09-A076-E03BD2C89210}"/>
                </a:ext>
              </a:extLst>
            </p:cNvPr>
            <p:cNvGrpSpPr/>
            <p:nvPr/>
          </p:nvGrpSpPr>
          <p:grpSpPr>
            <a:xfrm>
              <a:off x="7590312" y="2762096"/>
              <a:ext cx="63199" cy="36643"/>
              <a:chOff x="7590312" y="2762096"/>
              <a:chExt cx="63199" cy="36643"/>
            </a:xfrm>
            <a:grpFill/>
          </p:grpSpPr>
          <p:sp>
            <p:nvSpPr>
              <p:cNvPr id="4761" name="Vrije vorm: vorm 4760">
                <a:extLst>
                  <a:ext uri="{FF2B5EF4-FFF2-40B4-BE49-F238E27FC236}">
                    <a16:creationId xmlns:a16="http://schemas.microsoft.com/office/drawing/2014/main" id="{4ED8663F-9F3E-4D59-9EC9-E4BA0BDCED6A}"/>
                  </a:ext>
                </a:extLst>
              </p:cNvPr>
              <p:cNvSpPr/>
              <p:nvPr/>
            </p:nvSpPr>
            <p:spPr>
              <a:xfrm>
                <a:off x="7598643" y="2769501"/>
                <a:ext cx="46802" cy="21384"/>
              </a:xfrm>
              <a:custGeom>
                <a:avLst/>
                <a:gdLst>
                  <a:gd name="connsiteX0" fmla="*/ 0 w 46802"/>
                  <a:gd name="connsiteY0" fmla="*/ 18559 h 21384"/>
                  <a:gd name="connsiteX1" fmla="*/ 45654 w 46802"/>
                  <a:gd name="connsiteY1" fmla="*/ 0 h 21384"/>
                  <a:gd name="connsiteX2" fmla="*/ 46803 w 46802"/>
                  <a:gd name="connsiteY2" fmla="*/ 2826 h 21384"/>
                  <a:gd name="connsiteX3" fmla="*/ 1149 w 46802"/>
                  <a:gd name="connsiteY3" fmla="*/ 21385 h 21384"/>
                </a:gdLst>
                <a:ahLst/>
                <a:cxnLst>
                  <a:cxn ang="0">
                    <a:pos x="connsiteX0" y="connsiteY0"/>
                  </a:cxn>
                  <a:cxn ang="0">
                    <a:pos x="connsiteX1" y="connsiteY1"/>
                  </a:cxn>
                  <a:cxn ang="0">
                    <a:pos x="connsiteX2" y="connsiteY2"/>
                  </a:cxn>
                  <a:cxn ang="0">
                    <a:pos x="connsiteX3" y="connsiteY3"/>
                  </a:cxn>
                </a:cxnLst>
                <a:rect l="l" t="t" r="r" b="b"/>
                <a:pathLst>
                  <a:path w="46802" h="21384">
                    <a:moveTo>
                      <a:pt x="0" y="18559"/>
                    </a:moveTo>
                    <a:lnTo>
                      <a:pt x="45654" y="0"/>
                    </a:lnTo>
                    <a:lnTo>
                      <a:pt x="46803" y="2826"/>
                    </a:lnTo>
                    <a:lnTo>
                      <a:pt x="1149" y="21385"/>
                    </a:lnTo>
                    <a:close/>
                  </a:path>
                </a:pathLst>
              </a:custGeom>
              <a:grpFill/>
              <a:ln w="5978" cap="flat">
                <a:noFill/>
                <a:prstDash val="solid"/>
                <a:miter/>
              </a:ln>
            </p:spPr>
            <p:txBody>
              <a:bodyPr rtlCol="0" anchor="ctr"/>
              <a:lstStyle/>
              <a:p>
                <a:endParaRPr lang="en-GB"/>
              </a:p>
            </p:txBody>
          </p:sp>
          <p:sp>
            <p:nvSpPr>
              <p:cNvPr id="4762" name="Vrije vorm: vorm 4761">
                <a:extLst>
                  <a:ext uri="{FF2B5EF4-FFF2-40B4-BE49-F238E27FC236}">
                    <a16:creationId xmlns:a16="http://schemas.microsoft.com/office/drawing/2014/main" id="{594AF991-2D10-4F04-A56E-E6AF278A7903}"/>
                  </a:ext>
                </a:extLst>
              </p:cNvPr>
              <p:cNvSpPr/>
              <p:nvPr/>
            </p:nvSpPr>
            <p:spPr>
              <a:xfrm>
                <a:off x="7635159" y="2762096"/>
                <a:ext cx="18351" cy="18402"/>
              </a:xfrm>
              <a:custGeom>
                <a:avLst/>
                <a:gdLst>
                  <a:gd name="connsiteX0" fmla="*/ 5711 w 18351"/>
                  <a:gd name="connsiteY0" fmla="*/ 678 h 18402"/>
                  <a:gd name="connsiteX1" fmla="*/ 17673 w 18351"/>
                  <a:gd name="connsiteY1" fmla="*/ 5762 h 18402"/>
                  <a:gd name="connsiteX2" fmla="*/ 12649 w 18351"/>
                  <a:gd name="connsiteY2" fmla="*/ 17724 h 18402"/>
                  <a:gd name="connsiteX3" fmla="*/ 688 w 18351"/>
                  <a:gd name="connsiteY3" fmla="*/ 12640 h 18402"/>
                  <a:gd name="connsiteX4" fmla="*/ 5711 w 18351"/>
                  <a:gd name="connsiteY4" fmla="*/ 678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02">
                    <a:moveTo>
                      <a:pt x="5711" y="678"/>
                    </a:moveTo>
                    <a:cubicBezTo>
                      <a:pt x="10376" y="-1235"/>
                      <a:pt x="15759" y="1037"/>
                      <a:pt x="17673" y="5762"/>
                    </a:cubicBezTo>
                    <a:cubicBezTo>
                      <a:pt x="19586" y="10487"/>
                      <a:pt x="17313" y="15870"/>
                      <a:pt x="12649" y="17724"/>
                    </a:cubicBezTo>
                    <a:cubicBezTo>
                      <a:pt x="7984" y="19637"/>
                      <a:pt x="2601" y="17365"/>
                      <a:pt x="688" y="12640"/>
                    </a:cubicBezTo>
                    <a:cubicBezTo>
                      <a:pt x="-1227" y="7915"/>
                      <a:pt x="986" y="2592"/>
                      <a:pt x="5711" y="678"/>
                    </a:cubicBezTo>
                    <a:close/>
                  </a:path>
                </a:pathLst>
              </a:custGeom>
              <a:grpFill/>
              <a:ln w="5978" cap="flat">
                <a:noFill/>
                <a:prstDash val="solid"/>
                <a:miter/>
              </a:ln>
            </p:spPr>
            <p:txBody>
              <a:bodyPr rtlCol="0" anchor="ctr"/>
              <a:lstStyle/>
              <a:p>
                <a:endParaRPr lang="en-GB"/>
              </a:p>
            </p:txBody>
          </p:sp>
          <p:sp>
            <p:nvSpPr>
              <p:cNvPr id="4763" name="Vrije vorm: vorm 4762">
                <a:extLst>
                  <a:ext uri="{FF2B5EF4-FFF2-40B4-BE49-F238E27FC236}">
                    <a16:creationId xmlns:a16="http://schemas.microsoft.com/office/drawing/2014/main" id="{4DCC1781-5FDF-4F03-B067-C61832A90043}"/>
                  </a:ext>
                </a:extLst>
              </p:cNvPr>
              <p:cNvSpPr/>
              <p:nvPr/>
            </p:nvSpPr>
            <p:spPr>
              <a:xfrm>
                <a:off x="7590312" y="2780311"/>
                <a:ext cx="18343" cy="18428"/>
              </a:xfrm>
              <a:custGeom>
                <a:avLst/>
                <a:gdLst>
                  <a:gd name="connsiteX0" fmla="*/ 5703 w 18343"/>
                  <a:gd name="connsiteY0" fmla="*/ 645 h 18428"/>
                  <a:gd name="connsiteX1" fmla="*/ 680 w 18343"/>
                  <a:gd name="connsiteY1" fmla="*/ 12666 h 18428"/>
                  <a:gd name="connsiteX2" fmla="*/ 12641 w 18343"/>
                  <a:gd name="connsiteY2" fmla="*/ 17750 h 18428"/>
                  <a:gd name="connsiteX3" fmla="*/ 17665 w 18343"/>
                  <a:gd name="connsiteY3" fmla="*/ 5789 h 18428"/>
                  <a:gd name="connsiteX4" fmla="*/ 5703 w 18343"/>
                  <a:gd name="connsiteY4" fmla="*/ 64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8">
                    <a:moveTo>
                      <a:pt x="5703" y="645"/>
                    </a:moveTo>
                    <a:cubicBezTo>
                      <a:pt x="1038" y="2559"/>
                      <a:pt x="-1235" y="7942"/>
                      <a:pt x="680" y="12666"/>
                    </a:cubicBezTo>
                    <a:cubicBezTo>
                      <a:pt x="2593" y="17391"/>
                      <a:pt x="7916" y="19664"/>
                      <a:pt x="12641" y="17750"/>
                    </a:cubicBezTo>
                    <a:cubicBezTo>
                      <a:pt x="17305" y="15836"/>
                      <a:pt x="19578" y="10454"/>
                      <a:pt x="17665" y="5789"/>
                    </a:cubicBezTo>
                    <a:cubicBezTo>
                      <a:pt x="15751" y="1064"/>
                      <a:pt x="10428" y="-1209"/>
                      <a:pt x="5703" y="645"/>
                    </a:cubicBezTo>
                    <a:close/>
                  </a:path>
                </a:pathLst>
              </a:custGeom>
              <a:grpFill/>
              <a:ln w="5978" cap="flat">
                <a:noFill/>
                <a:prstDash val="solid"/>
                <a:miter/>
              </a:ln>
            </p:spPr>
            <p:txBody>
              <a:bodyPr rtlCol="0" anchor="ctr"/>
              <a:lstStyle/>
              <a:p>
                <a:endParaRPr lang="en-GB"/>
              </a:p>
            </p:txBody>
          </p:sp>
        </p:grpSp>
        <p:grpSp>
          <p:nvGrpSpPr>
            <p:cNvPr id="207" name="Graphic 3">
              <a:extLst>
                <a:ext uri="{FF2B5EF4-FFF2-40B4-BE49-F238E27FC236}">
                  <a16:creationId xmlns:a16="http://schemas.microsoft.com/office/drawing/2014/main" id="{4E608709-E25E-4406-B514-9D7365436239}"/>
                </a:ext>
              </a:extLst>
            </p:cNvPr>
            <p:cNvGrpSpPr/>
            <p:nvPr/>
          </p:nvGrpSpPr>
          <p:grpSpPr>
            <a:xfrm>
              <a:off x="7582629" y="2732378"/>
              <a:ext cx="58444" cy="35638"/>
              <a:chOff x="7582629" y="2732378"/>
              <a:chExt cx="58444" cy="35638"/>
            </a:xfrm>
            <a:grpFill/>
          </p:grpSpPr>
          <p:sp>
            <p:nvSpPr>
              <p:cNvPr id="4758" name="Vrije vorm: vorm 4757">
                <a:extLst>
                  <a:ext uri="{FF2B5EF4-FFF2-40B4-BE49-F238E27FC236}">
                    <a16:creationId xmlns:a16="http://schemas.microsoft.com/office/drawing/2014/main" id="{2C9E3737-3679-4019-A72E-7A4E4A5D46BE}"/>
                  </a:ext>
                </a:extLst>
              </p:cNvPr>
              <p:cNvSpPr/>
              <p:nvPr/>
            </p:nvSpPr>
            <p:spPr>
              <a:xfrm>
                <a:off x="7590752" y="2739988"/>
                <a:ext cx="42224" cy="20394"/>
              </a:xfrm>
              <a:custGeom>
                <a:avLst/>
                <a:gdLst>
                  <a:gd name="connsiteX0" fmla="*/ 42224 w 42224"/>
                  <a:gd name="connsiteY0" fmla="*/ 2811 h 20394"/>
                  <a:gd name="connsiteX1" fmla="*/ 1196 w 42224"/>
                  <a:gd name="connsiteY1" fmla="*/ 20394 h 20394"/>
                  <a:gd name="connsiteX2" fmla="*/ 0 w 42224"/>
                  <a:gd name="connsiteY2" fmla="*/ 17583 h 20394"/>
                  <a:gd name="connsiteX3" fmla="*/ 41028 w 42224"/>
                  <a:gd name="connsiteY3" fmla="*/ 0 h 20394"/>
                </a:gdLst>
                <a:ahLst/>
                <a:cxnLst>
                  <a:cxn ang="0">
                    <a:pos x="connsiteX0" y="connsiteY0"/>
                  </a:cxn>
                  <a:cxn ang="0">
                    <a:pos x="connsiteX1" y="connsiteY1"/>
                  </a:cxn>
                  <a:cxn ang="0">
                    <a:pos x="connsiteX2" y="connsiteY2"/>
                  </a:cxn>
                  <a:cxn ang="0">
                    <a:pos x="connsiteX3" y="connsiteY3"/>
                  </a:cxn>
                </a:cxnLst>
                <a:rect l="l" t="t" r="r" b="b"/>
                <a:pathLst>
                  <a:path w="42224" h="20394">
                    <a:moveTo>
                      <a:pt x="42224" y="2811"/>
                    </a:moveTo>
                    <a:lnTo>
                      <a:pt x="1196" y="20394"/>
                    </a:lnTo>
                    <a:lnTo>
                      <a:pt x="0" y="17583"/>
                    </a:lnTo>
                    <a:lnTo>
                      <a:pt x="41028" y="0"/>
                    </a:lnTo>
                    <a:close/>
                  </a:path>
                </a:pathLst>
              </a:custGeom>
              <a:grpFill/>
              <a:ln w="5978" cap="flat">
                <a:noFill/>
                <a:prstDash val="solid"/>
                <a:miter/>
              </a:ln>
            </p:spPr>
            <p:txBody>
              <a:bodyPr rtlCol="0" anchor="ctr"/>
              <a:lstStyle/>
              <a:p>
                <a:endParaRPr lang="en-GB"/>
              </a:p>
            </p:txBody>
          </p:sp>
          <p:sp>
            <p:nvSpPr>
              <p:cNvPr id="4759" name="Vrije vorm: vorm 4758">
                <a:extLst>
                  <a:ext uri="{FF2B5EF4-FFF2-40B4-BE49-F238E27FC236}">
                    <a16:creationId xmlns:a16="http://schemas.microsoft.com/office/drawing/2014/main" id="{64A23B12-F42F-449A-985E-F29E82A141B7}"/>
                  </a:ext>
                </a:extLst>
              </p:cNvPr>
              <p:cNvSpPr/>
              <p:nvPr/>
            </p:nvSpPr>
            <p:spPr>
              <a:xfrm>
                <a:off x="7622794" y="2732378"/>
                <a:ext cx="18279" cy="18388"/>
              </a:xfrm>
              <a:custGeom>
                <a:avLst/>
                <a:gdLst>
                  <a:gd name="connsiteX0" fmla="*/ 5517 w 18279"/>
                  <a:gd name="connsiteY0" fmla="*/ 732 h 18388"/>
                  <a:gd name="connsiteX1" fmla="*/ 17539 w 18279"/>
                  <a:gd name="connsiteY1" fmla="*/ 5576 h 18388"/>
                  <a:gd name="connsiteX2" fmla="*/ 12754 w 18279"/>
                  <a:gd name="connsiteY2" fmla="*/ 17657 h 18388"/>
                  <a:gd name="connsiteX3" fmla="*/ 733 w 18279"/>
                  <a:gd name="connsiteY3" fmla="*/ 12813 h 18388"/>
                  <a:gd name="connsiteX4" fmla="*/ 5517 w 18279"/>
                  <a:gd name="connsiteY4" fmla="*/ 732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9" h="18388">
                    <a:moveTo>
                      <a:pt x="5517" y="732"/>
                    </a:moveTo>
                    <a:cubicBezTo>
                      <a:pt x="10183" y="-1242"/>
                      <a:pt x="15565" y="911"/>
                      <a:pt x="17539" y="5576"/>
                    </a:cubicBezTo>
                    <a:cubicBezTo>
                      <a:pt x="19512" y="10241"/>
                      <a:pt x="17419" y="15684"/>
                      <a:pt x="12754" y="17657"/>
                    </a:cubicBezTo>
                    <a:cubicBezTo>
                      <a:pt x="8089" y="19631"/>
                      <a:pt x="2707" y="17478"/>
                      <a:pt x="733" y="12813"/>
                    </a:cubicBezTo>
                    <a:cubicBezTo>
                      <a:pt x="-1241" y="8148"/>
                      <a:pt x="912" y="2705"/>
                      <a:pt x="5517" y="732"/>
                    </a:cubicBezTo>
                    <a:close/>
                  </a:path>
                </a:pathLst>
              </a:custGeom>
              <a:grpFill/>
              <a:ln w="5978" cap="flat">
                <a:noFill/>
                <a:prstDash val="solid"/>
                <a:miter/>
              </a:ln>
            </p:spPr>
            <p:txBody>
              <a:bodyPr rtlCol="0" anchor="ctr"/>
              <a:lstStyle/>
              <a:p>
                <a:endParaRPr lang="en-GB"/>
              </a:p>
            </p:txBody>
          </p:sp>
          <p:sp>
            <p:nvSpPr>
              <p:cNvPr id="4760" name="Vrije vorm: vorm 4759">
                <a:extLst>
                  <a:ext uri="{FF2B5EF4-FFF2-40B4-BE49-F238E27FC236}">
                    <a16:creationId xmlns:a16="http://schemas.microsoft.com/office/drawing/2014/main" id="{F7091E99-4BBE-4695-9776-261679EAE85B}"/>
                  </a:ext>
                </a:extLst>
              </p:cNvPr>
              <p:cNvSpPr/>
              <p:nvPr/>
            </p:nvSpPr>
            <p:spPr>
              <a:xfrm>
                <a:off x="7582629" y="2749578"/>
                <a:ext cx="18330" cy="18439"/>
              </a:xfrm>
              <a:custGeom>
                <a:avLst/>
                <a:gdLst>
                  <a:gd name="connsiteX0" fmla="*/ 5551 w 18330"/>
                  <a:gd name="connsiteY0" fmla="*/ 757 h 18439"/>
                  <a:gd name="connsiteX1" fmla="*/ 767 w 18330"/>
                  <a:gd name="connsiteY1" fmla="*/ 12838 h 18439"/>
                  <a:gd name="connsiteX2" fmla="*/ 12788 w 18330"/>
                  <a:gd name="connsiteY2" fmla="*/ 17682 h 18439"/>
                  <a:gd name="connsiteX3" fmla="*/ 17572 w 18330"/>
                  <a:gd name="connsiteY3" fmla="*/ 5601 h 18439"/>
                  <a:gd name="connsiteX4" fmla="*/ 5551 w 18330"/>
                  <a:gd name="connsiteY4" fmla="*/ 757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39">
                    <a:moveTo>
                      <a:pt x="5551" y="757"/>
                    </a:moveTo>
                    <a:cubicBezTo>
                      <a:pt x="886" y="2731"/>
                      <a:pt x="-1267" y="8173"/>
                      <a:pt x="767" y="12838"/>
                    </a:cubicBezTo>
                    <a:cubicBezTo>
                      <a:pt x="2740" y="17503"/>
                      <a:pt x="8183" y="19716"/>
                      <a:pt x="12788" y="17682"/>
                    </a:cubicBezTo>
                    <a:cubicBezTo>
                      <a:pt x="17393" y="15649"/>
                      <a:pt x="19606" y="10266"/>
                      <a:pt x="17572" y="5601"/>
                    </a:cubicBezTo>
                    <a:cubicBezTo>
                      <a:pt x="15599" y="936"/>
                      <a:pt x="10216" y="-1276"/>
                      <a:pt x="5551" y="757"/>
                    </a:cubicBezTo>
                    <a:close/>
                  </a:path>
                </a:pathLst>
              </a:custGeom>
              <a:grpFill/>
              <a:ln w="5978" cap="flat">
                <a:noFill/>
                <a:prstDash val="solid"/>
                <a:miter/>
              </a:ln>
            </p:spPr>
            <p:txBody>
              <a:bodyPr rtlCol="0" anchor="ctr"/>
              <a:lstStyle/>
              <a:p>
                <a:endParaRPr lang="en-GB"/>
              </a:p>
            </p:txBody>
          </p:sp>
        </p:grpSp>
        <p:grpSp>
          <p:nvGrpSpPr>
            <p:cNvPr id="208" name="Graphic 3">
              <a:extLst>
                <a:ext uri="{FF2B5EF4-FFF2-40B4-BE49-F238E27FC236}">
                  <a16:creationId xmlns:a16="http://schemas.microsoft.com/office/drawing/2014/main" id="{0F0EF08D-ED87-4470-BDE4-B2FF75E0AAEC}"/>
                </a:ext>
              </a:extLst>
            </p:cNvPr>
            <p:cNvGrpSpPr/>
            <p:nvPr/>
          </p:nvGrpSpPr>
          <p:grpSpPr>
            <a:xfrm>
              <a:off x="7459492" y="2439853"/>
              <a:ext cx="103193" cy="73282"/>
              <a:chOff x="7459492" y="2439853"/>
              <a:chExt cx="103193" cy="73282"/>
            </a:xfrm>
            <a:grpFill/>
          </p:grpSpPr>
          <p:sp>
            <p:nvSpPr>
              <p:cNvPr id="4755" name="Vrije vorm: vorm 4754">
                <a:extLst>
                  <a:ext uri="{FF2B5EF4-FFF2-40B4-BE49-F238E27FC236}">
                    <a16:creationId xmlns:a16="http://schemas.microsoft.com/office/drawing/2014/main" id="{C7CA5C14-49B5-4F8D-85E0-A63952B1D63E}"/>
                  </a:ext>
                </a:extLst>
              </p:cNvPr>
              <p:cNvSpPr/>
              <p:nvPr/>
            </p:nvSpPr>
            <p:spPr>
              <a:xfrm>
                <a:off x="7467429" y="2447531"/>
                <a:ext cx="87318" cy="57893"/>
              </a:xfrm>
              <a:custGeom>
                <a:avLst/>
                <a:gdLst>
                  <a:gd name="connsiteX0" fmla="*/ 87318 w 87318"/>
                  <a:gd name="connsiteY0" fmla="*/ 2572 h 57893"/>
                  <a:gd name="connsiteX1" fmla="*/ 1675 w 87318"/>
                  <a:gd name="connsiteY1" fmla="*/ 57893 h 57893"/>
                  <a:gd name="connsiteX2" fmla="*/ 0 w 87318"/>
                  <a:gd name="connsiteY2" fmla="*/ 55322 h 57893"/>
                  <a:gd name="connsiteX3" fmla="*/ 85644 w 87318"/>
                  <a:gd name="connsiteY3" fmla="*/ 0 h 57893"/>
                </a:gdLst>
                <a:ahLst/>
                <a:cxnLst>
                  <a:cxn ang="0">
                    <a:pos x="connsiteX0" y="connsiteY0"/>
                  </a:cxn>
                  <a:cxn ang="0">
                    <a:pos x="connsiteX1" y="connsiteY1"/>
                  </a:cxn>
                  <a:cxn ang="0">
                    <a:pos x="connsiteX2" y="connsiteY2"/>
                  </a:cxn>
                  <a:cxn ang="0">
                    <a:pos x="connsiteX3" y="connsiteY3"/>
                  </a:cxn>
                </a:cxnLst>
                <a:rect l="l" t="t" r="r" b="b"/>
                <a:pathLst>
                  <a:path w="87318" h="57893">
                    <a:moveTo>
                      <a:pt x="87318" y="2572"/>
                    </a:moveTo>
                    <a:lnTo>
                      <a:pt x="1675" y="57893"/>
                    </a:lnTo>
                    <a:lnTo>
                      <a:pt x="0" y="55322"/>
                    </a:lnTo>
                    <a:lnTo>
                      <a:pt x="85644" y="0"/>
                    </a:lnTo>
                    <a:close/>
                  </a:path>
                </a:pathLst>
              </a:custGeom>
              <a:grpFill/>
              <a:ln w="5978" cap="flat">
                <a:noFill/>
                <a:prstDash val="solid"/>
                <a:miter/>
              </a:ln>
            </p:spPr>
            <p:txBody>
              <a:bodyPr rtlCol="0" anchor="ctr"/>
              <a:lstStyle/>
              <a:p>
                <a:endParaRPr lang="en-GB"/>
              </a:p>
            </p:txBody>
          </p:sp>
          <p:sp>
            <p:nvSpPr>
              <p:cNvPr id="4756" name="Vrije vorm: vorm 4755">
                <a:extLst>
                  <a:ext uri="{FF2B5EF4-FFF2-40B4-BE49-F238E27FC236}">
                    <a16:creationId xmlns:a16="http://schemas.microsoft.com/office/drawing/2014/main" id="{9EB5A77D-7AB5-4438-BDFD-55E75CBA695E}"/>
                  </a:ext>
                </a:extLst>
              </p:cNvPr>
              <p:cNvSpPr/>
              <p:nvPr/>
            </p:nvSpPr>
            <p:spPr>
              <a:xfrm>
                <a:off x="7544358" y="2439853"/>
                <a:ext cx="18327" cy="18465"/>
              </a:xfrm>
              <a:custGeom>
                <a:avLst/>
                <a:gdLst>
                  <a:gd name="connsiteX0" fmla="*/ 4169 w 18327"/>
                  <a:gd name="connsiteY0" fmla="*/ 1458 h 18465"/>
                  <a:gd name="connsiteX1" fmla="*/ 16849 w 18327"/>
                  <a:gd name="connsiteY1" fmla="*/ 4269 h 18465"/>
                  <a:gd name="connsiteX2" fmla="*/ 14158 w 18327"/>
                  <a:gd name="connsiteY2" fmla="*/ 17008 h 18465"/>
                  <a:gd name="connsiteX3" fmla="*/ 1478 w 18327"/>
                  <a:gd name="connsiteY3" fmla="*/ 14197 h 18465"/>
                  <a:gd name="connsiteX4" fmla="*/ 4169 w 18327"/>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5">
                    <a:moveTo>
                      <a:pt x="4169" y="1458"/>
                    </a:moveTo>
                    <a:cubicBezTo>
                      <a:pt x="8416" y="-1293"/>
                      <a:pt x="14098" y="-37"/>
                      <a:pt x="16849" y="4269"/>
                    </a:cubicBezTo>
                    <a:cubicBezTo>
                      <a:pt x="19600" y="8575"/>
                      <a:pt x="18404" y="14257"/>
                      <a:pt x="14158" y="17008"/>
                    </a:cubicBezTo>
                    <a:cubicBezTo>
                      <a:pt x="9911" y="19759"/>
                      <a:pt x="4229" y="18503"/>
                      <a:pt x="1478" y="14197"/>
                    </a:cubicBezTo>
                    <a:cubicBezTo>
                      <a:pt x="-1272" y="9891"/>
                      <a:pt x="-77" y="4209"/>
                      <a:pt x="4169" y="1458"/>
                    </a:cubicBezTo>
                    <a:close/>
                  </a:path>
                </a:pathLst>
              </a:custGeom>
              <a:grpFill/>
              <a:ln w="5978" cap="flat">
                <a:noFill/>
                <a:prstDash val="solid"/>
                <a:miter/>
              </a:ln>
            </p:spPr>
            <p:txBody>
              <a:bodyPr rtlCol="0" anchor="ctr"/>
              <a:lstStyle/>
              <a:p>
                <a:endParaRPr lang="en-GB"/>
              </a:p>
            </p:txBody>
          </p:sp>
          <p:sp>
            <p:nvSpPr>
              <p:cNvPr id="4757" name="Vrije vorm: vorm 4756">
                <a:extLst>
                  <a:ext uri="{FF2B5EF4-FFF2-40B4-BE49-F238E27FC236}">
                    <a16:creationId xmlns:a16="http://schemas.microsoft.com/office/drawing/2014/main" id="{AC4043E3-1DFF-446B-8BD2-A53A1E665290}"/>
                  </a:ext>
                </a:extLst>
              </p:cNvPr>
              <p:cNvSpPr/>
              <p:nvPr/>
            </p:nvSpPr>
            <p:spPr>
              <a:xfrm>
                <a:off x="7459492" y="2494696"/>
                <a:ext cx="18327" cy="18439"/>
              </a:xfrm>
              <a:custGeom>
                <a:avLst/>
                <a:gdLst>
                  <a:gd name="connsiteX0" fmla="*/ 4170 w 18327"/>
                  <a:gd name="connsiteY0" fmla="*/ 1458 h 18439"/>
                  <a:gd name="connsiteX1" fmla="*/ 1479 w 18327"/>
                  <a:gd name="connsiteY1" fmla="*/ 14197 h 18439"/>
                  <a:gd name="connsiteX2" fmla="*/ 14158 w 18327"/>
                  <a:gd name="connsiteY2" fmla="*/ 17008 h 18439"/>
                  <a:gd name="connsiteX3" fmla="*/ 16849 w 18327"/>
                  <a:gd name="connsiteY3" fmla="*/ 4269 h 18439"/>
                  <a:gd name="connsiteX4" fmla="*/ 4170 w 18327"/>
                  <a:gd name="connsiteY4" fmla="*/ 1458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9">
                    <a:moveTo>
                      <a:pt x="4170" y="1458"/>
                    </a:moveTo>
                    <a:cubicBezTo>
                      <a:pt x="-76" y="4209"/>
                      <a:pt x="-1273" y="9891"/>
                      <a:pt x="1479" y="14197"/>
                    </a:cubicBezTo>
                    <a:cubicBezTo>
                      <a:pt x="4230" y="18503"/>
                      <a:pt x="9911" y="19699"/>
                      <a:pt x="14158" y="17008"/>
                    </a:cubicBezTo>
                    <a:cubicBezTo>
                      <a:pt x="18404" y="14257"/>
                      <a:pt x="19600" y="8575"/>
                      <a:pt x="16849" y="4269"/>
                    </a:cubicBezTo>
                    <a:cubicBezTo>
                      <a:pt x="14098" y="-37"/>
                      <a:pt x="8416" y="-1293"/>
                      <a:pt x="4170" y="1458"/>
                    </a:cubicBezTo>
                    <a:close/>
                  </a:path>
                </a:pathLst>
              </a:custGeom>
              <a:grpFill/>
              <a:ln w="5978" cap="flat">
                <a:noFill/>
                <a:prstDash val="solid"/>
                <a:miter/>
              </a:ln>
            </p:spPr>
            <p:txBody>
              <a:bodyPr rtlCol="0" anchor="ctr"/>
              <a:lstStyle/>
              <a:p>
                <a:endParaRPr lang="en-GB"/>
              </a:p>
            </p:txBody>
          </p:sp>
        </p:grpSp>
        <p:grpSp>
          <p:nvGrpSpPr>
            <p:cNvPr id="209" name="Graphic 3">
              <a:extLst>
                <a:ext uri="{FF2B5EF4-FFF2-40B4-BE49-F238E27FC236}">
                  <a16:creationId xmlns:a16="http://schemas.microsoft.com/office/drawing/2014/main" id="{ED30AFA0-DF1D-4E4D-B460-3D0D0306F2A3}"/>
                </a:ext>
              </a:extLst>
            </p:cNvPr>
            <p:cNvGrpSpPr/>
            <p:nvPr/>
          </p:nvGrpSpPr>
          <p:grpSpPr>
            <a:xfrm>
              <a:off x="7788024" y="3552676"/>
              <a:ext cx="188029" cy="32538"/>
              <a:chOff x="7788024" y="3552676"/>
              <a:chExt cx="188029" cy="32538"/>
            </a:xfrm>
            <a:grpFill/>
          </p:grpSpPr>
          <p:sp>
            <p:nvSpPr>
              <p:cNvPr id="4752" name="Vrije vorm: vorm 4751">
                <a:extLst>
                  <a:ext uri="{FF2B5EF4-FFF2-40B4-BE49-F238E27FC236}">
                    <a16:creationId xmlns:a16="http://schemas.microsoft.com/office/drawing/2014/main" id="{C43F7243-28E6-47FD-AF53-DE1E0DAFC68A}"/>
                  </a:ext>
                </a:extLst>
              </p:cNvPr>
              <p:cNvSpPr/>
              <p:nvPr/>
            </p:nvSpPr>
            <p:spPr>
              <a:xfrm>
                <a:off x="7796609" y="3560304"/>
                <a:ext cx="170809" cy="17224"/>
              </a:xfrm>
              <a:custGeom>
                <a:avLst/>
                <a:gdLst>
                  <a:gd name="connsiteX0" fmla="*/ 170809 w 170809"/>
                  <a:gd name="connsiteY0" fmla="*/ 14174 h 17224"/>
                  <a:gd name="connsiteX1" fmla="*/ 170570 w 170809"/>
                  <a:gd name="connsiteY1" fmla="*/ 17225 h 17224"/>
                  <a:gd name="connsiteX2" fmla="*/ 0 w 170809"/>
                  <a:gd name="connsiteY2" fmla="*/ 3050 h 17224"/>
                  <a:gd name="connsiteX3" fmla="*/ 239 w 170809"/>
                  <a:gd name="connsiteY3" fmla="*/ 0 h 17224"/>
                </a:gdLst>
                <a:ahLst/>
                <a:cxnLst>
                  <a:cxn ang="0">
                    <a:pos x="connsiteX0" y="connsiteY0"/>
                  </a:cxn>
                  <a:cxn ang="0">
                    <a:pos x="connsiteX1" y="connsiteY1"/>
                  </a:cxn>
                  <a:cxn ang="0">
                    <a:pos x="connsiteX2" y="connsiteY2"/>
                  </a:cxn>
                  <a:cxn ang="0">
                    <a:pos x="connsiteX3" y="connsiteY3"/>
                  </a:cxn>
                </a:cxnLst>
                <a:rect l="l" t="t" r="r" b="b"/>
                <a:pathLst>
                  <a:path w="170809" h="17224">
                    <a:moveTo>
                      <a:pt x="170809" y="14174"/>
                    </a:moveTo>
                    <a:lnTo>
                      <a:pt x="170570" y="17225"/>
                    </a:lnTo>
                    <a:lnTo>
                      <a:pt x="0" y="3050"/>
                    </a:lnTo>
                    <a:lnTo>
                      <a:pt x="239" y="0"/>
                    </a:lnTo>
                    <a:close/>
                  </a:path>
                </a:pathLst>
              </a:custGeom>
              <a:grpFill/>
              <a:ln w="5978" cap="flat">
                <a:noFill/>
                <a:prstDash val="solid"/>
                <a:miter/>
              </a:ln>
            </p:spPr>
            <p:txBody>
              <a:bodyPr rtlCol="0" anchor="ctr"/>
              <a:lstStyle/>
              <a:p>
                <a:endParaRPr lang="en-GB"/>
              </a:p>
            </p:txBody>
          </p:sp>
          <p:sp>
            <p:nvSpPr>
              <p:cNvPr id="4753" name="Vrije vorm: vorm 4752">
                <a:extLst>
                  <a:ext uri="{FF2B5EF4-FFF2-40B4-BE49-F238E27FC236}">
                    <a16:creationId xmlns:a16="http://schemas.microsoft.com/office/drawing/2014/main" id="{2936378C-D1E6-4322-B3A5-2F2F85DED5CD}"/>
                  </a:ext>
                </a:extLst>
              </p:cNvPr>
              <p:cNvSpPr/>
              <p:nvPr/>
            </p:nvSpPr>
            <p:spPr>
              <a:xfrm>
                <a:off x="7957705" y="3566791"/>
                <a:ext cx="18348" cy="18424"/>
              </a:xfrm>
              <a:custGeom>
                <a:avLst/>
                <a:gdLst>
                  <a:gd name="connsiteX0" fmla="*/ 9892 w 18348"/>
                  <a:gd name="connsiteY0" fmla="*/ 32 h 18424"/>
                  <a:gd name="connsiteX1" fmla="*/ 18325 w 18348"/>
                  <a:gd name="connsiteY1" fmla="*/ 9960 h 18424"/>
                  <a:gd name="connsiteX2" fmla="*/ 8457 w 18348"/>
                  <a:gd name="connsiteY2" fmla="*/ 18393 h 18424"/>
                  <a:gd name="connsiteX3" fmla="*/ 24 w 18348"/>
                  <a:gd name="connsiteY3" fmla="*/ 8465 h 18424"/>
                  <a:gd name="connsiteX4" fmla="*/ 9892 w 18348"/>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4">
                    <a:moveTo>
                      <a:pt x="9892" y="32"/>
                    </a:moveTo>
                    <a:cubicBezTo>
                      <a:pt x="14916" y="450"/>
                      <a:pt x="18683" y="4876"/>
                      <a:pt x="18325" y="9960"/>
                    </a:cubicBezTo>
                    <a:cubicBezTo>
                      <a:pt x="17906" y="15043"/>
                      <a:pt x="13540" y="18811"/>
                      <a:pt x="8457" y="18393"/>
                    </a:cubicBezTo>
                    <a:cubicBezTo>
                      <a:pt x="3433" y="17974"/>
                      <a:pt x="-335" y="13548"/>
                      <a:pt x="24" y="8465"/>
                    </a:cubicBezTo>
                    <a:cubicBezTo>
                      <a:pt x="443" y="3381"/>
                      <a:pt x="4808" y="-387"/>
                      <a:pt x="9892" y="32"/>
                    </a:cubicBezTo>
                    <a:close/>
                  </a:path>
                </a:pathLst>
              </a:custGeom>
              <a:grpFill/>
              <a:ln w="5978" cap="flat">
                <a:noFill/>
                <a:prstDash val="solid"/>
                <a:miter/>
              </a:ln>
            </p:spPr>
            <p:txBody>
              <a:bodyPr rtlCol="0" anchor="ctr"/>
              <a:lstStyle/>
              <a:p>
                <a:endParaRPr lang="en-GB"/>
              </a:p>
            </p:txBody>
          </p:sp>
          <p:sp>
            <p:nvSpPr>
              <p:cNvPr id="4754" name="Vrije vorm: vorm 4753">
                <a:extLst>
                  <a:ext uri="{FF2B5EF4-FFF2-40B4-BE49-F238E27FC236}">
                    <a16:creationId xmlns:a16="http://schemas.microsoft.com/office/drawing/2014/main" id="{7E7AC719-6548-418F-919F-9DEAE8A09271}"/>
                  </a:ext>
                </a:extLst>
              </p:cNvPr>
              <p:cNvSpPr/>
              <p:nvPr/>
            </p:nvSpPr>
            <p:spPr>
              <a:xfrm>
                <a:off x="7788024" y="3552676"/>
                <a:ext cx="18356" cy="18424"/>
              </a:xfrm>
              <a:custGeom>
                <a:avLst/>
                <a:gdLst>
                  <a:gd name="connsiteX0" fmla="*/ 9900 w 18356"/>
                  <a:gd name="connsiteY0" fmla="*/ 32 h 18424"/>
                  <a:gd name="connsiteX1" fmla="*/ 32 w 18356"/>
                  <a:gd name="connsiteY1" fmla="*/ 8465 h 18424"/>
                  <a:gd name="connsiteX2" fmla="*/ 8465 w 18356"/>
                  <a:gd name="connsiteY2" fmla="*/ 18393 h 18424"/>
                  <a:gd name="connsiteX3" fmla="*/ 18333 w 18356"/>
                  <a:gd name="connsiteY3" fmla="*/ 9960 h 18424"/>
                  <a:gd name="connsiteX4" fmla="*/ 9900 w 18356"/>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4">
                    <a:moveTo>
                      <a:pt x="9900" y="32"/>
                    </a:moveTo>
                    <a:cubicBezTo>
                      <a:pt x="4876" y="-387"/>
                      <a:pt x="451" y="3381"/>
                      <a:pt x="32" y="8465"/>
                    </a:cubicBezTo>
                    <a:cubicBezTo>
                      <a:pt x="-387" y="13548"/>
                      <a:pt x="3381" y="17974"/>
                      <a:pt x="8465" y="18393"/>
                    </a:cubicBezTo>
                    <a:cubicBezTo>
                      <a:pt x="13548" y="18811"/>
                      <a:pt x="17914" y="15043"/>
                      <a:pt x="18333" y="9960"/>
                    </a:cubicBezTo>
                    <a:cubicBezTo>
                      <a:pt x="18692" y="4876"/>
                      <a:pt x="14924" y="450"/>
                      <a:pt x="9900" y="32"/>
                    </a:cubicBezTo>
                    <a:close/>
                  </a:path>
                </a:pathLst>
              </a:custGeom>
              <a:grpFill/>
              <a:ln w="5978" cap="flat">
                <a:noFill/>
                <a:prstDash val="solid"/>
                <a:miter/>
              </a:ln>
            </p:spPr>
            <p:txBody>
              <a:bodyPr rtlCol="0" anchor="ctr"/>
              <a:lstStyle/>
              <a:p>
                <a:endParaRPr lang="en-GB"/>
              </a:p>
            </p:txBody>
          </p:sp>
        </p:grpSp>
        <p:grpSp>
          <p:nvGrpSpPr>
            <p:cNvPr id="210" name="Graphic 3">
              <a:extLst>
                <a:ext uri="{FF2B5EF4-FFF2-40B4-BE49-F238E27FC236}">
                  <a16:creationId xmlns:a16="http://schemas.microsoft.com/office/drawing/2014/main" id="{6AF4A919-36F8-4931-A762-A93421048A45}"/>
                </a:ext>
              </a:extLst>
            </p:cNvPr>
            <p:cNvGrpSpPr/>
            <p:nvPr/>
          </p:nvGrpSpPr>
          <p:grpSpPr>
            <a:xfrm>
              <a:off x="7840097" y="3693384"/>
              <a:ext cx="198183" cy="47049"/>
              <a:chOff x="7840097" y="3693384"/>
              <a:chExt cx="198183" cy="47049"/>
            </a:xfrm>
            <a:grpFill/>
          </p:grpSpPr>
          <p:sp>
            <p:nvSpPr>
              <p:cNvPr id="4749" name="Vrije vorm: vorm 4748">
                <a:extLst>
                  <a:ext uri="{FF2B5EF4-FFF2-40B4-BE49-F238E27FC236}">
                    <a16:creationId xmlns:a16="http://schemas.microsoft.com/office/drawing/2014/main" id="{47644D5A-5271-4091-99E2-AA64CE400604}"/>
                  </a:ext>
                </a:extLst>
              </p:cNvPr>
              <p:cNvSpPr/>
              <p:nvPr/>
            </p:nvSpPr>
            <p:spPr>
              <a:xfrm>
                <a:off x="7848581" y="3701030"/>
                <a:ext cx="181216" cy="31757"/>
              </a:xfrm>
              <a:custGeom>
                <a:avLst/>
                <a:gdLst>
                  <a:gd name="connsiteX0" fmla="*/ 181216 w 181216"/>
                  <a:gd name="connsiteY0" fmla="*/ 28767 h 31757"/>
                  <a:gd name="connsiteX1" fmla="*/ 180737 w 181216"/>
                  <a:gd name="connsiteY1" fmla="*/ 31758 h 31757"/>
                  <a:gd name="connsiteX2" fmla="*/ 0 w 181216"/>
                  <a:gd name="connsiteY2" fmla="*/ 2990 h 31757"/>
                  <a:gd name="connsiteX3" fmla="*/ 478 w 181216"/>
                  <a:gd name="connsiteY3" fmla="*/ 0 h 31757"/>
                </a:gdLst>
                <a:ahLst/>
                <a:cxnLst>
                  <a:cxn ang="0">
                    <a:pos x="connsiteX0" y="connsiteY0"/>
                  </a:cxn>
                  <a:cxn ang="0">
                    <a:pos x="connsiteX1" y="connsiteY1"/>
                  </a:cxn>
                  <a:cxn ang="0">
                    <a:pos x="connsiteX2" y="connsiteY2"/>
                  </a:cxn>
                  <a:cxn ang="0">
                    <a:pos x="connsiteX3" y="connsiteY3"/>
                  </a:cxn>
                </a:cxnLst>
                <a:rect l="l" t="t" r="r" b="b"/>
                <a:pathLst>
                  <a:path w="181216" h="31757">
                    <a:moveTo>
                      <a:pt x="181216" y="28767"/>
                    </a:moveTo>
                    <a:lnTo>
                      <a:pt x="180737" y="31758"/>
                    </a:lnTo>
                    <a:lnTo>
                      <a:pt x="0" y="2990"/>
                    </a:lnTo>
                    <a:lnTo>
                      <a:pt x="478" y="0"/>
                    </a:lnTo>
                    <a:close/>
                  </a:path>
                </a:pathLst>
              </a:custGeom>
              <a:grpFill/>
              <a:ln w="5978" cap="flat">
                <a:noFill/>
                <a:prstDash val="solid"/>
                <a:miter/>
              </a:ln>
            </p:spPr>
            <p:txBody>
              <a:bodyPr rtlCol="0" anchor="ctr"/>
              <a:lstStyle/>
              <a:p>
                <a:endParaRPr lang="en-GB"/>
              </a:p>
            </p:txBody>
          </p:sp>
          <p:sp>
            <p:nvSpPr>
              <p:cNvPr id="4750" name="Vrije vorm: vorm 4749">
                <a:extLst>
                  <a:ext uri="{FF2B5EF4-FFF2-40B4-BE49-F238E27FC236}">
                    <a16:creationId xmlns:a16="http://schemas.microsoft.com/office/drawing/2014/main" id="{5F0D2BAD-A4E9-49E9-A6BD-FFFA3D304F84}"/>
                  </a:ext>
                </a:extLst>
              </p:cNvPr>
              <p:cNvSpPr/>
              <p:nvPr/>
            </p:nvSpPr>
            <p:spPr>
              <a:xfrm>
                <a:off x="8019938" y="3722017"/>
                <a:ext cx="18342" cy="18416"/>
              </a:xfrm>
              <a:custGeom>
                <a:avLst/>
                <a:gdLst>
                  <a:gd name="connsiteX0" fmla="*/ 10577 w 18342"/>
                  <a:gd name="connsiteY0" fmla="*/ 125 h 18416"/>
                  <a:gd name="connsiteX1" fmla="*/ 18232 w 18342"/>
                  <a:gd name="connsiteY1" fmla="*/ 10651 h 18416"/>
                  <a:gd name="connsiteX2" fmla="*/ 7766 w 18342"/>
                  <a:gd name="connsiteY2" fmla="*/ 18306 h 18416"/>
                  <a:gd name="connsiteX3" fmla="*/ 110 w 18342"/>
                  <a:gd name="connsiteY3" fmla="*/ 7780 h 18416"/>
                  <a:gd name="connsiteX4" fmla="*/ 10577 w 18342"/>
                  <a:gd name="connsiteY4" fmla="*/ 125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6">
                    <a:moveTo>
                      <a:pt x="10577" y="125"/>
                    </a:moveTo>
                    <a:cubicBezTo>
                      <a:pt x="15600" y="902"/>
                      <a:pt x="19009" y="5627"/>
                      <a:pt x="18232" y="10651"/>
                    </a:cubicBezTo>
                    <a:cubicBezTo>
                      <a:pt x="17455" y="15675"/>
                      <a:pt x="12790" y="19084"/>
                      <a:pt x="7766" y="18306"/>
                    </a:cubicBezTo>
                    <a:cubicBezTo>
                      <a:pt x="2742" y="17529"/>
                      <a:pt x="-667" y="12804"/>
                      <a:pt x="110" y="7780"/>
                    </a:cubicBezTo>
                    <a:cubicBezTo>
                      <a:pt x="888" y="2756"/>
                      <a:pt x="5552" y="-712"/>
                      <a:pt x="10577" y="125"/>
                    </a:cubicBezTo>
                    <a:close/>
                  </a:path>
                </a:pathLst>
              </a:custGeom>
              <a:grpFill/>
              <a:ln w="5978" cap="flat">
                <a:noFill/>
                <a:prstDash val="solid"/>
                <a:miter/>
              </a:ln>
            </p:spPr>
            <p:txBody>
              <a:bodyPr rtlCol="0" anchor="ctr"/>
              <a:lstStyle/>
              <a:p>
                <a:endParaRPr lang="en-GB"/>
              </a:p>
            </p:txBody>
          </p:sp>
          <p:sp>
            <p:nvSpPr>
              <p:cNvPr id="4751" name="Vrije vorm: vorm 4750">
                <a:extLst>
                  <a:ext uri="{FF2B5EF4-FFF2-40B4-BE49-F238E27FC236}">
                    <a16:creationId xmlns:a16="http://schemas.microsoft.com/office/drawing/2014/main" id="{E5E7C7EE-FC25-4F12-BB71-22316EDB0251}"/>
                  </a:ext>
                </a:extLst>
              </p:cNvPr>
              <p:cNvSpPr/>
              <p:nvPr/>
            </p:nvSpPr>
            <p:spPr>
              <a:xfrm>
                <a:off x="7840097" y="3693384"/>
                <a:ext cx="18342" cy="18402"/>
              </a:xfrm>
              <a:custGeom>
                <a:avLst/>
                <a:gdLst>
                  <a:gd name="connsiteX0" fmla="*/ 10577 w 18342"/>
                  <a:gd name="connsiteY0" fmla="*/ 110 h 18402"/>
                  <a:gd name="connsiteX1" fmla="*/ 110 w 18342"/>
                  <a:gd name="connsiteY1" fmla="*/ 7766 h 18402"/>
                  <a:gd name="connsiteX2" fmla="*/ 7766 w 18342"/>
                  <a:gd name="connsiteY2" fmla="*/ 18292 h 18402"/>
                  <a:gd name="connsiteX3" fmla="*/ 18232 w 18342"/>
                  <a:gd name="connsiteY3" fmla="*/ 10636 h 18402"/>
                  <a:gd name="connsiteX4" fmla="*/ 10577 w 18342"/>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2">
                    <a:moveTo>
                      <a:pt x="10577" y="110"/>
                    </a:moveTo>
                    <a:cubicBezTo>
                      <a:pt x="5553" y="-667"/>
                      <a:pt x="888" y="2742"/>
                      <a:pt x="110" y="7766"/>
                    </a:cubicBezTo>
                    <a:cubicBezTo>
                      <a:pt x="-667" y="12790"/>
                      <a:pt x="2742" y="17514"/>
                      <a:pt x="7766" y="18292"/>
                    </a:cubicBezTo>
                    <a:cubicBezTo>
                      <a:pt x="12790" y="19069"/>
                      <a:pt x="17455" y="15660"/>
                      <a:pt x="18232" y="10636"/>
                    </a:cubicBezTo>
                    <a:cubicBezTo>
                      <a:pt x="19010" y="5613"/>
                      <a:pt x="15601" y="948"/>
                      <a:pt x="10577" y="110"/>
                    </a:cubicBezTo>
                    <a:close/>
                  </a:path>
                </a:pathLst>
              </a:custGeom>
              <a:grpFill/>
              <a:ln w="5978" cap="flat">
                <a:noFill/>
                <a:prstDash val="solid"/>
                <a:miter/>
              </a:ln>
            </p:spPr>
            <p:txBody>
              <a:bodyPr rtlCol="0" anchor="ctr"/>
              <a:lstStyle/>
              <a:p>
                <a:endParaRPr lang="en-GB"/>
              </a:p>
            </p:txBody>
          </p:sp>
        </p:grpSp>
        <p:grpSp>
          <p:nvGrpSpPr>
            <p:cNvPr id="211" name="Graphic 3">
              <a:extLst>
                <a:ext uri="{FF2B5EF4-FFF2-40B4-BE49-F238E27FC236}">
                  <a16:creationId xmlns:a16="http://schemas.microsoft.com/office/drawing/2014/main" id="{E39DC7B5-A940-4530-8179-C8A740D0C9EC}"/>
                </a:ext>
              </a:extLst>
            </p:cNvPr>
            <p:cNvGrpSpPr/>
            <p:nvPr/>
          </p:nvGrpSpPr>
          <p:grpSpPr>
            <a:xfrm>
              <a:off x="7144566" y="1440073"/>
              <a:ext cx="22355" cy="25608"/>
              <a:chOff x="7144566" y="1440073"/>
              <a:chExt cx="22355" cy="25608"/>
            </a:xfrm>
            <a:grpFill/>
          </p:grpSpPr>
          <p:sp>
            <p:nvSpPr>
              <p:cNvPr id="4746" name="Vrije vorm: vorm 4745">
                <a:extLst>
                  <a:ext uri="{FF2B5EF4-FFF2-40B4-BE49-F238E27FC236}">
                    <a16:creationId xmlns:a16="http://schemas.microsoft.com/office/drawing/2014/main" id="{C50698E7-5C74-4A1E-9760-7748D44B7C57}"/>
                  </a:ext>
                </a:extLst>
              </p:cNvPr>
              <p:cNvSpPr/>
              <p:nvPr/>
            </p:nvSpPr>
            <p:spPr>
              <a:xfrm>
                <a:off x="7152246" y="1448152"/>
                <a:ext cx="7116" cy="9449"/>
              </a:xfrm>
              <a:custGeom>
                <a:avLst/>
                <a:gdLst>
                  <a:gd name="connsiteX0" fmla="*/ 7117 w 7116"/>
                  <a:gd name="connsiteY0" fmla="*/ 1495 h 9449"/>
                  <a:gd name="connsiteX1" fmla="*/ 2631 w 7116"/>
                  <a:gd name="connsiteY1" fmla="*/ 9450 h 9449"/>
                  <a:gd name="connsiteX2" fmla="*/ 0 w 7116"/>
                  <a:gd name="connsiteY2" fmla="*/ 7954 h 9449"/>
                  <a:gd name="connsiteX3" fmla="*/ 4426 w 7116"/>
                  <a:gd name="connsiteY3" fmla="*/ 0 h 9449"/>
                </a:gdLst>
                <a:ahLst/>
                <a:cxnLst>
                  <a:cxn ang="0">
                    <a:pos x="connsiteX0" y="connsiteY0"/>
                  </a:cxn>
                  <a:cxn ang="0">
                    <a:pos x="connsiteX1" y="connsiteY1"/>
                  </a:cxn>
                  <a:cxn ang="0">
                    <a:pos x="connsiteX2" y="connsiteY2"/>
                  </a:cxn>
                  <a:cxn ang="0">
                    <a:pos x="connsiteX3" y="connsiteY3"/>
                  </a:cxn>
                </a:cxnLst>
                <a:rect l="l" t="t" r="r" b="b"/>
                <a:pathLst>
                  <a:path w="7116" h="9449">
                    <a:moveTo>
                      <a:pt x="7117" y="1495"/>
                    </a:moveTo>
                    <a:lnTo>
                      <a:pt x="2631" y="9450"/>
                    </a:lnTo>
                    <a:lnTo>
                      <a:pt x="0" y="7954"/>
                    </a:lnTo>
                    <a:lnTo>
                      <a:pt x="4426" y="0"/>
                    </a:lnTo>
                    <a:close/>
                  </a:path>
                </a:pathLst>
              </a:custGeom>
              <a:grpFill/>
              <a:ln w="5978" cap="flat">
                <a:noFill/>
                <a:prstDash val="solid"/>
                <a:miter/>
              </a:ln>
            </p:spPr>
            <p:txBody>
              <a:bodyPr rtlCol="0" anchor="ctr"/>
              <a:lstStyle/>
              <a:p>
                <a:endParaRPr lang="en-GB"/>
              </a:p>
            </p:txBody>
          </p:sp>
          <p:sp>
            <p:nvSpPr>
              <p:cNvPr id="4747" name="Vrije vorm: vorm 4746">
                <a:extLst>
                  <a:ext uri="{FF2B5EF4-FFF2-40B4-BE49-F238E27FC236}">
                    <a16:creationId xmlns:a16="http://schemas.microsoft.com/office/drawing/2014/main" id="{443D9090-46BA-4A73-849E-13B7CABA2A21}"/>
                  </a:ext>
                </a:extLst>
              </p:cNvPr>
              <p:cNvSpPr/>
              <p:nvPr/>
            </p:nvSpPr>
            <p:spPr>
              <a:xfrm>
                <a:off x="7144566" y="1447250"/>
                <a:ext cx="18387" cy="18431"/>
              </a:xfrm>
              <a:custGeom>
                <a:avLst/>
                <a:gdLst>
                  <a:gd name="connsiteX0" fmla="*/ 17189 w 18387"/>
                  <a:gd name="connsiteY0" fmla="*/ 13761 h 18431"/>
                  <a:gd name="connsiteX1" fmla="*/ 4689 w 18387"/>
                  <a:gd name="connsiteY1" fmla="*/ 17230 h 18431"/>
                  <a:gd name="connsiteX2" fmla="*/ 1160 w 18387"/>
                  <a:gd name="connsiteY2" fmla="*/ 4670 h 18431"/>
                  <a:gd name="connsiteX3" fmla="*/ 13660 w 18387"/>
                  <a:gd name="connsiteY3" fmla="*/ 1201 h 18431"/>
                  <a:gd name="connsiteX4" fmla="*/ 17189 w 18387"/>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7" h="18431">
                    <a:moveTo>
                      <a:pt x="17189" y="13761"/>
                    </a:moveTo>
                    <a:cubicBezTo>
                      <a:pt x="14736" y="18187"/>
                      <a:pt x="9115" y="19742"/>
                      <a:pt x="4689" y="17230"/>
                    </a:cubicBezTo>
                    <a:cubicBezTo>
                      <a:pt x="263" y="14718"/>
                      <a:pt x="-1292" y="9096"/>
                      <a:pt x="1160" y="4670"/>
                    </a:cubicBezTo>
                    <a:cubicBezTo>
                      <a:pt x="3612" y="245"/>
                      <a:pt x="9234" y="-1310"/>
                      <a:pt x="13660" y="1201"/>
                    </a:cubicBezTo>
                    <a:cubicBezTo>
                      <a:pt x="18146" y="3713"/>
                      <a:pt x="19700" y="9335"/>
                      <a:pt x="17189" y="13761"/>
                    </a:cubicBezTo>
                    <a:close/>
                  </a:path>
                </a:pathLst>
              </a:custGeom>
              <a:grpFill/>
              <a:ln w="5978" cap="flat">
                <a:noFill/>
                <a:prstDash val="solid"/>
                <a:miter/>
              </a:ln>
            </p:spPr>
            <p:txBody>
              <a:bodyPr rtlCol="0" anchor="ctr"/>
              <a:lstStyle/>
              <a:p>
                <a:endParaRPr lang="en-GB"/>
              </a:p>
            </p:txBody>
          </p:sp>
          <p:sp>
            <p:nvSpPr>
              <p:cNvPr id="4748" name="Vrije vorm: vorm 4747">
                <a:extLst>
                  <a:ext uri="{FF2B5EF4-FFF2-40B4-BE49-F238E27FC236}">
                    <a16:creationId xmlns:a16="http://schemas.microsoft.com/office/drawing/2014/main" id="{B0DB9A32-779E-4425-8B0D-BA2C64F20717}"/>
                  </a:ext>
                </a:extLst>
              </p:cNvPr>
              <p:cNvSpPr/>
              <p:nvPr/>
            </p:nvSpPr>
            <p:spPr>
              <a:xfrm>
                <a:off x="7148573" y="1440073"/>
                <a:ext cx="18348" cy="18431"/>
              </a:xfrm>
              <a:custGeom>
                <a:avLst/>
                <a:gdLst>
                  <a:gd name="connsiteX0" fmla="*/ 17188 w 18348"/>
                  <a:gd name="connsiteY0" fmla="*/ 13761 h 18431"/>
                  <a:gd name="connsiteX1" fmla="*/ 13660 w 18348"/>
                  <a:gd name="connsiteY1" fmla="*/ 1201 h 18431"/>
                  <a:gd name="connsiteX2" fmla="*/ 1160 w 18348"/>
                  <a:gd name="connsiteY2" fmla="*/ 4670 h 18431"/>
                  <a:gd name="connsiteX3" fmla="*/ 4689 w 18348"/>
                  <a:gd name="connsiteY3" fmla="*/ 17230 h 18431"/>
                  <a:gd name="connsiteX4" fmla="*/ 17188 w 18348"/>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1">
                    <a:moveTo>
                      <a:pt x="17188" y="13761"/>
                    </a:moveTo>
                    <a:cubicBezTo>
                      <a:pt x="19641" y="9335"/>
                      <a:pt x="18086" y="3713"/>
                      <a:pt x="13660" y="1201"/>
                    </a:cubicBezTo>
                    <a:cubicBezTo>
                      <a:pt x="9234" y="-1310"/>
                      <a:pt x="3673" y="245"/>
                      <a:pt x="1160" y="4670"/>
                    </a:cubicBezTo>
                    <a:cubicBezTo>
                      <a:pt x="-1292" y="9096"/>
                      <a:pt x="263" y="14718"/>
                      <a:pt x="4689" y="17230"/>
                    </a:cubicBezTo>
                    <a:cubicBezTo>
                      <a:pt x="9115" y="19742"/>
                      <a:pt x="14737" y="18187"/>
                      <a:pt x="17188" y="13761"/>
                    </a:cubicBezTo>
                    <a:close/>
                  </a:path>
                </a:pathLst>
              </a:custGeom>
              <a:grpFill/>
              <a:ln w="5978" cap="flat">
                <a:noFill/>
                <a:prstDash val="solid"/>
                <a:miter/>
              </a:ln>
            </p:spPr>
            <p:txBody>
              <a:bodyPr rtlCol="0" anchor="ctr"/>
              <a:lstStyle/>
              <a:p>
                <a:endParaRPr lang="en-GB"/>
              </a:p>
            </p:txBody>
          </p:sp>
        </p:grpSp>
        <p:grpSp>
          <p:nvGrpSpPr>
            <p:cNvPr id="212" name="Graphic 3">
              <a:extLst>
                <a:ext uri="{FF2B5EF4-FFF2-40B4-BE49-F238E27FC236}">
                  <a16:creationId xmlns:a16="http://schemas.microsoft.com/office/drawing/2014/main" id="{3CB15061-EB4A-4438-94F5-7D36D01BD56E}"/>
                </a:ext>
              </a:extLst>
            </p:cNvPr>
            <p:cNvGrpSpPr/>
            <p:nvPr/>
          </p:nvGrpSpPr>
          <p:grpSpPr>
            <a:xfrm>
              <a:off x="7356344" y="2248832"/>
              <a:ext cx="179008" cy="145010"/>
              <a:chOff x="7356344" y="2248832"/>
              <a:chExt cx="179008" cy="145010"/>
            </a:xfrm>
            <a:grpFill/>
          </p:grpSpPr>
          <p:sp>
            <p:nvSpPr>
              <p:cNvPr id="4743" name="Vrije vorm: vorm 4742">
                <a:extLst>
                  <a:ext uri="{FF2B5EF4-FFF2-40B4-BE49-F238E27FC236}">
                    <a16:creationId xmlns:a16="http://schemas.microsoft.com/office/drawing/2014/main" id="{940F71C1-BFC2-4C8E-B582-7249BCF9E131}"/>
                  </a:ext>
                </a:extLst>
              </p:cNvPr>
              <p:cNvSpPr/>
              <p:nvPr/>
            </p:nvSpPr>
            <p:spPr>
              <a:xfrm>
                <a:off x="7364202" y="2256566"/>
                <a:ext cx="163274" cy="129602"/>
              </a:xfrm>
              <a:custGeom>
                <a:avLst/>
                <a:gdLst>
                  <a:gd name="connsiteX0" fmla="*/ 163274 w 163274"/>
                  <a:gd name="connsiteY0" fmla="*/ 2392 h 129602"/>
                  <a:gd name="connsiteX1" fmla="*/ 1854 w 163274"/>
                  <a:gd name="connsiteY1" fmla="*/ 129602 h 129602"/>
                  <a:gd name="connsiteX2" fmla="*/ 0 w 163274"/>
                  <a:gd name="connsiteY2" fmla="*/ 127150 h 129602"/>
                  <a:gd name="connsiteX3" fmla="*/ 161420 w 163274"/>
                  <a:gd name="connsiteY3" fmla="*/ 0 h 129602"/>
                </a:gdLst>
                <a:ahLst/>
                <a:cxnLst>
                  <a:cxn ang="0">
                    <a:pos x="connsiteX0" y="connsiteY0"/>
                  </a:cxn>
                  <a:cxn ang="0">
                    <a:pos x="connsiteX1" y="connsiteY1"/>
                  </a:cxn>
                  <a:cxn ang="0">
                    <a:pos x="connsiteX2" y="connsiteY2"/>
                  </a:cxn>
                  <a:cxn ang="0">
                    <a:pos x="connsiteX3" y="connsiteY3"/>
                  </a:cxn>
                </a:cxnLst>
                <a:rect l="l" t="t" r="r" b="b"/>
                <a:pathLst>
                  <a:path w="163274" h="129602">
                    <a:moveTo>
                      <a:pt x="163274" y="2392"/>
                    </a:moveTo>
                    <a:lnTo>
                      <a:pt x="1854" y="129602"/>
                    </a:lnTo>
                    <a:lnTo>
                      <a:pt x="0" y="127150"/>
                    </a:lnTo>
                    <a:lnTo>
                      <a:pt x="161420" y="0"/>
                    </a:lnTo>
                    <a:close/>
                  </a:path>
                </a:pathLst>
              </a:custGeom>
              <a:grpFill/>
              <a:ln w="5978" cap="flat">
                <a:noFill/>
                <a:prstDash val="solid"/>
                <a:miter/>
              </a:ln>
            </p:spPr>
            <p:txBody>
              <a:bodyPr rtlCol="0" anchor="ctr"/>
              <a:lstStyle/>
              <a:p>
                <a:endParaRPr lang="en-GB"/>
              </a:p>
            </p:txBody>
          </p:sp>
          <p:sp>
            <p:nvSpPr>
              <p:cNvPr id="4744" name="Vrije vorm: vorm 4743">
                <a:extLst>
                  <a:ext uri="{FF2B5EF4-FFF2-40B4-BE49-F238E27FC236}">
                    <a16:creationId xmlns:a16="http://schemas.microsoft.com/office/drawing/2014/main" id="{92F9E667-655A-49E1-AFD6-82F44D9E392B}"/>
                  </a:ext>
                </a:extLst>
              </p:cNvPr>
              <p:cNvSpPr/>
              <p:nvPr/>
            </p:nvSpPr>
            <p:spPr>
              <a:xfrm>
                <a:off x="7517027" y="2248832"/>
                <a:ext cx="18325" cy="18398"/>
              </a:xfrm>
              <a:custGeom>
                <a:avLst/>
                <a:gdLst>
                  <a:gd name="connsiteX0" fmla="*/ 3511 w 18325"/>
                  <a:gd name="connsiteY0" fmla="*/ 1933 h 18398"/>
                  <a:gd name="connsiteX1" fmla="*/ 16370 w 18325"/>
                  <a:gd name="connsiteY1" fmla="*/ 3548 h 18398"/>
                  <a:gd name="connsiteX2" fmla="*/ 14815 w 18325"/>
                  <a:gd name="connsiteY2" fmla="*/ 16466 h 18398"/>
                  <a:gd name="connsiteX3" fmla="*/ 1956 w 18325"/>
                  <a:gd name="connsiteY3" fmla="*/ 14851 h 18398"/>
                  <a:gd name="connsiteX4" fmla="*/ 3511 w 18325"/>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98">
                    <a:moveTo>
                      <a:pt x="3511" y="1933"/>
                    </a:moveTo>
                    <a:cubicBezTo>
                      <a:pt x="7458" y="-1177"/>
                      <a:pt x="13259" y="-459"/>
                      <a:pt x="16370" y="3548"/>
                    </a:cubicBezTo>
                    <a:cubicBezTo>
                      <a:pt x="19480" y="7555"/>
                      <a:pt x="18821" y="13356"/>
                      <a:pt x="14815" y="16466"/>
                    </a:cubicBezTo>
                    <a:cubicBezTo>
                      <a:pt x="10867" y="19576"/>
                      <a:pt x="5066" y="18858"/>
                      <a:pt x="1956" y="14851"/>
                    </a:cubicBezTo>
                    <a:cubicBezTo>
                      <a:pt x="-1154" y="10904"/>
                      <a:pt x="-496" y="5103"/>
                      <a:pt x="3511" y="1933"/>
                    </a:cubicBezTo>
                    <a:close/>
                  </a:path>
                </a:pathLst>
              </a:custGeom>
              <a:grpFill/>
              <a:ln w="5978" cap="flat">
                <a:noFill/>
                <a:prstDash val="solid"/>
                <a:miter/>
              </a:ln>
            </p:spPr>
            <p:txBody>
              <a:bodyPr rtlCol="0" anchor="ctr"/>
              <a:lstStyle/>
              <a:p>
                <a:endParaRPr lang="en-GB"/>
              </a:p>
            </p:txBody>
          </p:sp>
          <p:sp>
            <p:nvSpPr>
              <p:cNvPr id="4745" name="Vrije vorm: vorm 4744">
                <a:extLst>
                  <a:ext uri="{FF2B5EF4-FFF2-40B4-BE49-F238E27FC236}">
                    <a16:creationId xmlns:a16="http://schemas.microsoft.com/office/drawing/2014/main" id="{5A8D412F-A712-4988-8391-D2F38CF712FC}"/>
                  </a:ext>
                </a:extLst>
              </p:cNvPr>
              <p:cNvSpPr/>
              <p:nvPr/>
            </p:nvSpPr>
            <p:spPr>
              <a:xfrm>
                <a:off x="7356344" y="2375444"/>
                <a:ext cx="18288" cy="18398"/>
              </a:xfrm>
              <a:custGeom>
                <a:avLst/>
                <a:gdLst>
                  <a:gd name="connsiteX0" fmla="*/ 3492 w 18288"/>
                  <a:gd name="connsiteY0" fmla="*/ 1933 h 18398"/>
                  <a:gd name="connsiteX1" fmla="*/ 1937 w 18288"/>
                  <a:gd name="connsiteY1" fmla="*/ 14851 h 18398"/>
                  <a:gd name="connsiteX2" fmla="*/ 14796 w 18288"/>
                  <a:gd name="connsiteY2" fmla="*/ 16466 h 18398"/>
                  <a:gd name="connsiteX3" fmla="*/ 16351 w 18288"/>
                  <a:gd name="connsiteY3" fmla="*/ 3548 h 18398"/>
                  <a:gd name="connsiteX4" fmla="*/ 3492 w 1828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98">
                    <a:moveTo>
                      <a:pt x="3492" y="1933"/>
                    </a:moveTo>
                    <a:cubicBezTo>
                      <a:pt x="-455" y="5043"/>
                      <a:pt x="-1173" y="10844"/>
                      <a:pt x="1937" y="14851"/>
                    </a:cubicBezTo>
                    <a:cubicBezTo>
                      <a:pt x="5047" y="18858"/>
                      <a:pt x="10849" y="19576"/>
                      <a:pt x="14796" y="16466"/>
                    </a:cubicBezTo>
                    <a:cubicBezTo>
                      <a:pt x="18743" y="13356"/>
                      <a:pt x="19461" y="7555"/>
                      <a:pt x="16351" y="3548"/>
                    </a:cubicBezTo>
                    <a:cubicBezTo>
                      <a:pt x="13181" y="-459"/>
                      <a:pt x="7440" y="-1177"/>
                      <a:pt x="3492" y="1933"/>
                    </a:cubicBezTo>
                    <a:close/>
                  </a:path>
                </a:pathLst>
              </a:custGeom>
              <a:grpFill/>
              <a:ln w="5978" cap="flat">
                <a:noFill/>
                <a:prstDash val="solid"/>
                <a:miter/>
              </a:ln>
            </p:spPr>
            <p:txBody>
              <a:bodyPr rtlCol="0" anchor="ctr"/>
              <a:lstStyle/>
              <a:p>
                <a:endParaRPr lang="en-GB"/>
              </a:p>
            </p:txBody>
          </p:sp>
        </p:grpSp>
        <p:grpSp>
          <p:nvGrpSpPr>
            <p:cNvPr id="213" name="Graphic 3">
              <a:extLst>
                <a:ext uri="{FF2B5EF4-FFF2-40B4-BE49-F238E27FC236}">
                  <a16:creationId xmlns:a16="http://schemas.microsoft.com/office/drawing/2014/main" id="{F6AC4A8D-5222-401A-9302-B22438C4E96B}"/>
                </a:ext>
              </a:extLst>
            </p:cNvPr>
            <p:cNvGrpSpPr/>
            <p:nvPr/>
          </p:nvGrpSpPr>
          <p:grpSpPr>
            <a:xfrm>
              <a:off x="7867611" y="3768086"/>
              <a:ext cx="145906" cy="43652"/>
              <a:chOff x="7867611" y="3768086"/>
              <a:chExt cx="145906" cy="43652"/>
            </a:xfrm>
            <a:grpFill/>
          </p:grpSpPr>
          <p:sp>
            <p:nvSpPr>
              <p:cNvPr id="4740" name="Vrije vorm: vorm 4739">
                <a:extLst>
                  <a:ext uri="{FF2B5EF4-FFF2-40B4-BE49-F238E27FC236}">
                    <a16:creationId xmlns:a16="http://schemas.microsoft.com/office/drawing/2014/main" id="{A8225751-C990-4FA8-9827-553F9BA6FDA3}"/>
                  </a:ext>
                </a:extLst>
              </p:cNvPr>
              <p:cNvSpPr/>
              <p:nvPr/>
            </p:nvSpPr>
            <p:spPr>
              <a:xfrm>
                <a:off x="7875972" y="3775729"/>
                <a:ext cx="129124" cy="28408"/>
              </a:xfrm>
              <a:custGeom>
                <a:avLst/>
                <a:gdLst>
                  <a:gd name="connsiteX0" fmla="*/ 129124 w 129124"/>
                  <a:gd name="connsiteY0" fmla="*/ 25418 h 28408"/>
                  <a:gd name="connsiteX1" fmla="*/ 128526 w 129124"/>
                  <a:gd name="connsiteY1" fmla="*/ 28408 h 28408"/>
                  <a:gd name="connsiteX2" fmla="*/ 0 w 129124"/>
                  <a:gd name="connsiteY2" fmla="*/ 2990 h 28408"/>
                  <a:gd name="connsiteX3" fmla="*/ 599 w 129124"/>
                  <a:gd name="connsiteY3" fmla="*/ 0 h 28408"/>
                </a:gdLst>
                <a:ahLst/>
                <a:cxnLst>
                  <a:cxn ang="0">
                    <a:pos x="connsiteX0" y="connsiteY0"/>
                  </a:cxn>
                  <a:cxn ang="0">
                    <a:pos x="connsiteX1" y="connsiteY1"/>
                  </a:cxn>
                  <a:cxn ang="0">
                    <a:pos x="connsiteX2" y="connsiteY2"/>
                  </a:cxn>
                  <a:cxn ang="0">
                    <a:pos x="connsiteX3" y="connsiteY3"/>
                  </a:cxn>
                </a:cxnLst>
                <a:rect l="l" t="t" r="r" b="b"/>
                <a:pathLst>
                  <a:path w="129124" h="28408">
                    <a:moveTo>
                      <a:pt x="129124" y="25418"/>
                    </a:moveTo>
                    <a:lnTo>
                      <a:pt x="128526" y="28408"/>
                    </a:lnTo>
                    <a:lnTo>
                      <a:pt x="0" y="2990"/>
                    </a:lnTo>
                    <a:lnTo>
                      <a:pt x="599" y="0"/>
                    </a:lnTo>
                    <a:close/>
                  </a:path>
                </a:pathLst>
              </a:custGeom>
              <a:grpFill/>
              <a:ln w="5978" cap="flat">
                <a:noFill/>
                <a:prstDash val="solid"/>
                <a:miter/>
              </a:ln>
            </p:spPr>
            <p:txBody>
              <a:bodyPr rtlCol="0" anchor="ctr"/>
              <a:lstStyle/>
              <a:p>
                <a:endParaRPr lang="en-GB"/>
              </a:p>
            </p:txBody>
          </p:sp>
          <p:sp>
            <p:nvSpPr>
              <p:cNvPr id="4741" name="Vrije vorm: vorm 4740">
                <a:extLst>
                  <a:ext uri="{FF2B5EF4-FFF2-40B4-BE49-F238E27FC236}">
                    <a16:creationId xmlns:a16="http://schemas.microsoft.com/office/drawing/2014/main" id="{0039B795-7CE1-4467-A5C9-24E7788E50AE}"/>
                  </a:ext>
                </a:extLst>
              </p:cNvPr>
              <p:cNvSpPr/>
              <p:nvPr/>
            </p:nvSpPr>
            <p:spPr>
              <a:xfrm>
                <a:off x="7995240" y="3793324"/>
                <a:ext cx="18277" cy="18414"/>
              </a:xfrm>
              <a:custGeom>
                <a:avLst/>
                <a:gdLst>
                  <a:gd name="connsiteX0" fmla="*/ 10873 w 18277"/>
                  <a:gd name="connsiteY0" fmla="*/ 168 h 18414"/>
                  <a:gd name="connsiteX1" fmla="*/ 18110 w 18277"/>
                  <a:gd name="connsiteY1" fmla="*/ 10993 h 18414"/>
                  <a:gd name="connsiteX2" fmla="*/ 7404 w 18277"/>
                  <a:gd name="connsiteY2" fmla="*/ 18229 h 18414"/>
                  <a:gd name="connsiteX3" fmla="*/ 168 w 18277"/>
                  <a:gd name="connsiteY3" fmla="*/ 7404 h 18414"/>
                  <a:gd name="connsiteX4" fmla="*/ 10873 w 18277"/>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14">
                    <a:moveTo>
                      <a:pt x="10873" y="168"/>
                    </a:moveTo>
                    <a:cubicBezTo>
                      <a:pt x="15837" y="1125"/>
                      <a:pt x="19067" y="5969"/>
                      <a:pt x="18110" y="10993"/>
                    </a:cubicBezTo>
                    <a:cubicBezTo>
                      <a:pt x="17153" y="15957"/>
                      <a:pt x="12368" y="19246"/>
                      <a:pt x="7404" y="18229"/>
                    </a:cubicBezTo>
                    <a:cubicBezTo>
                      <a:pt x="2441" y="17273"/>
                      <a:pt x="-789" y="12428"/>
                      <a:pt x="168" y="7404"/>
                    </a:cubicBezTo>
                    <a:cubicBezTo>
                      <a:pt x="1065" y="2441"/>
                      <a:pt x="5909" y="-789"/>
                      <a:pt x="10873" y="168"/>
                    </a:cubicBezTo>
                    <a:close/>
                  </a:path>
                </a:pathLst>
              </a:custGeom>
              <a:grpFill/>
              <a:ln w="5978" cap="flat">
                <a:noFill/>
                <a:prstDash val="solid"/>
                <a:miter/>
              </a:ln>
            </p:spPr>
            <p:txBody>
              <a:bodyPr rtlCol="0" anchor="ctr"/>
              <a:lstStyle/>
              <a:p>
                <a:endParaRPr lang="en-GB"/>
              </a:p>
            </p:txBody>
          </p:sp>
          <p:sp>
            <p:nvSpPr>
              <p:cNvPr id="4742" name="Vrije vorm: vorm 4741">
                <a:extLst>
                  <a:ext uri="{FF2B5EF4-FFF2-40B4-BE49-F238E27FC236}">
                    <a16:creationId xmlns:a16="http://schemas.microsoft.com/office/drawing/2014/main" id="{DD2A5F0A-5776-4143-9E38-7543AC04D2F9}"/>
                  </a:ext>
                </a:extLst>
              </p:cNvPr>
              <p:cNvSpPr/>
              <p:nvPr/>
            </p:nvSpPr>
            <p:spPr>
              <a:xfrm>
                <a:off x="7867611" y="3768086"/>
                <a:ext cx="18277" cy="18397"/>
              </a:xfrm>
              <a:custGeom>
                <a:avLst/>
                <a:gdLst>
                  <a:gd name="connsiteX0" fmla="*/ 10873 w 18277"/>
                  <a:gd name="connsiteY0" fmla="*/ 168 h 18397"/>
                  <a:gd name="connsiteX1" fmla="*/ 168 w 18277"/>
                  <a:gd name="connsiteY1" fmla="*/ 7405 h 18397"/>
                  <a:gd name="connsiteX2" fmla="*/ 7405 w 18277"/>
                  <a:gd name="connsiteY2" fmla="*/ 18230 h 18397"/>
                  <a:gd name="connsiteX3" fmla="*/ 18110 w 18277"/>
                  <a:gd name="connsiteY3" fmla="*/ 10993 h 18397"/>
                  <a:gd name="connsiteX4" fmla="*/ 10873 w 18277"/>
                  <a:gd name="connsiteY4" fmla="*/ 168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397">
                    <a:moveTo>
                      <a:pt x="10873" y="168"/>
                    </a:moveTo>
                    <a:cubicBezTo>
                      <a:pt x="5910" y="-789"/>
                      <a:pt x="1125" y="2440"/>
                      <a:pt x="168" y="7405"/>
                    </a:cubicBezTo>
                    <a:cubicBezTo>
                      <a:pt x="-789" y="12368"/>
                      <a:pt x="2440" y="17213"/>
                      <a:pt x="7405" y="18230"/>
                    </a:cubicBezTo>
                    <a:cubicBezTo>
                      <a:pt x="12369" y="19187"/>
                      <a:pt x="17154" y="15957"/>
                      <a:pt x="18110" y="10993"/>
                    </a:cubicBezTo>
                    <a:cubicBezTo>
                      <a:pt x="19067" y="6029"/>
                      <a:pt x="15837" y="1185"/>
                      <a:pt x="10873" y="168"/>
                    </a:cubicBezTo>
                    <a:close/>
                  </a:path>
                </a:pathLst>
              </a:custGeom>
              <a:grpFill/>
              <a:ln w="5978" cap="flat">
                <a:noFill/>
                <a:prstDash val="solid"/>
                <a:miter/>
              </a:ln>
            </p:spPr>
            <p:txBody>
              <a:bodyPr rtlCol="0" anchor="ctr"/>
              <a:lstStyle/>
              <a:p>
                <a:endParaRPr lang="en-GB"/>
              </a:p>
            </p:txBody>
          </p:sp>
        </p:grpSp>
        <p:grpSp>
          <p:nvGrpSpPr>
            <p:cNvPr id="214" name="Graphic 3">
              <a:extLst>
                <a:ext uri="{FF2B5EF4-FFF2-40B4-BE49-F238E27FC236}">
                  <a16:creationId xmlns:a16="http://schemas.microsoft.com/office/drawing/2014/main" id="{F3D85519-EDA7-4B96-A31C-EDACDAC8C8A0}"/>
                </a:ext>
              </a:extLst>
            </p:cNvPr>
            <p:cNvGrpSpPr/>
            <p:nvPr/>
          </p:nvGrpSpPr>
          <p:grpSpPr>
            <a:xfrm>
              <a:off x="7943198" y="4049464"/>
              <a:ext cx="186115" cy="75124"/>
              <a:chOff x="7943198" y="4049464"/>
              <a:chExt cx="186115" cy="75124"/>
            </a:xfrm>
            <a:grpFill/>
          </p:grpSpPr>
          <p:sp>
            <p:nvSpPr>
              <p:cNvPr id="4737" name="Vrije vorm: vorm 4736">
                <a:extLst>
                  <a:ext uri="{FF2B5EF4-FFF2-40B4-BE49-F238E27FC236}">
                    <a16:creationId xmlns:a16="http://schemas.microsoft.com/office/drawing/2014/main" id="{1C165133-EE09-4CDE-83B0-964BC9C9E923}"/>
                  </a:ext>
                </a:extLst>
              </p:cNvPr>
              <p:cNvSpPr/>
              <p:nvPr/>
            </p:nvSpPr>
            <p:spPr>
              <a:xfrm>
                <a:off x="7951509" y="4057063"/>
                <a:ext cx="169554" cy="59926"/>
              </a:xfrm>
              <a:custGeom>
                <a:avLst/>
                <a:gdLst>
                  <a:gd name="connsiteX0" fmla="*/ 169554 w 169554"/>
                  <a:gd name="connsiteY0" fmla="*/ 56996 h 59926"/>
                  <a:gd name="connsiteX1" fmla="*/ 168597 w 169554"/>
                  <a:gd name="connsiteY1" fmla="*/ 59927 h 59926"/>
                  <a:gd name="connsiteX2" fmla="*/ 0 w 169554"/>
                  <a:gd name="connsiteY2" fmla="*/ 2930 h 59926"/>
                  <a:gd name="connsiteX3" fmla="*/ 897 w 169554"/>
                  <a:gd name="connsiteY3" fmla="*/ 0 h 59926"/>
                </a:gdLst>
                <a:ahLst/>
                <a:cxnLst>
                  <a:cxn ang="0">
                    <a:pos x="connsiteX0" y="connsiteY0"/>
                  </a:cxn>
                  <a:cxn ang="0">
                    <a:pos x="connsiteX1" y="connsiteY1"/>
                  </a:cxn>
                  <a:cxn ang="0">
                    <a:pos x="connsiteX2" y="connsiteY2"/>
                  </a:cxn>
                  <a:cxn ang="0">
                    <a:pos x="connsiteX3" y="connsiteY3"/>
                  </a:cxn>
                </a:cxnLst>
                <a:rect l="l" t="t" r="r" b="b"/>
                <a:pathLst>
                  <a:path w="169554" h="59926">
                    <a:moveTo>
                      <a:pt x="169554" y="56996"/>
                    </a:moveTo>
                    <a:lnTo>
                      <a:pt x="168597" y="59927"/>
                    </a:lnTo>
                    <a:lnTo>
                      <a:pt x="0" y="2930"/>
                    </a:lnTo>
                    <a:lnTo>
                      <a:pt x="897" y="0"/>
                    </a:lnTo>
                    <a:close/>
                  </a:path>
                </a:pathLst>
              </a:custGeom>
              <a:grpFill/>
              <a:ln w="5978" cap="flat">
                <a:noFill/>
                <a:prstDash val="solid"/>
                <a:miter/>
              </a:ln>
            </p:spPr>
            <p:txBody>
              <a:bodyPr rtlCol="0" anchor="ctr"/>
              <a:lstStyle/>
              <a:p>
                <a:endParaRPr lang="en-GB"/>
              </a:p>
            </p:txBody>
          </p:sp>
          <p:sp>
            <p:nvSpPr>
              <p:cNvPr id="4738" name="Vrije vorm: vorm 4737">
                <a:extLst>
                  <a:ext uri="{FF2B5EF4-FFF2-40B4-BE49-F238E27FC236}">
                    <a16:creationId xmlns:a16="http://schemas.microsoft.com/office/drawing/2014/main" id="{37FB1757-B275-4A63-BD2A-6B4F639C213A}"/>
                  </a:ext>
                </a:extLst>
              </p:cNvPr>
              <p:cNvSpPr/>
              <p:nvPr/>
            </p:nvSpPr>
            <p:spPr>
              <a:xfrm>
                <a:off x="8110958" y="4106161"/>
                <a:ext cx="18355" cy="18427"/>
              </a:xfrm>
              <a:custGeom>
                <a:avLst/>
                <a:gdLst>
                  <a:gd name="connsiteX0" fmla="*/ 12078 w 18355"/>
                  <a:gd name="connsiteY0" fmla="*/ 482 h 18427"/>
                  <a:gd name="connsiteX1" fmla="*/ 17880 w 18355"/>
                  <a:gd name="connsiteY1" fmla="*/ 12144 h 18427"/>
                  <a:gd name="connsiteX2" fmla="*/ 6277 w 18355"/>
                  <a:gd name="connsiteY2" fmla="*/ 17946 h 18427"/>
                  <a:gd name="connsiteX3" fmla="*/ 476 w 18355"/>
                  <a:gd name="connsiteY3" fmla="*/ 6283 h 18427"/>
                  <a:gd name="connsiteX4" fmla="*/ 12078 w 18355"/>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7">
                    <a:moveTo>
                      <a:pt x="12078" y="482"/>
                    </a:moveTo>
                    <a:cubicBezTo>
                      <a:pt x="16863" y="2097"/>
                      <a:pt x="19494" y="7360"/>
                      <a:pt x="17880" y="12144"/>
                    </a:cubicBezTo>
                    <a:cubicBezTo>
                      <a:pt x="16265" y="16989"/>
                      <a:pt x="11121" y="19560"/>
                      <a:pt x="6277" y="17946"/>
                    </a:cubicBezTo>
                    <a:cubicBezTo>
                      <a:pt x="1492" y="16331"/>
                      <a:pt x="-1139" y="11068"/>
                      <a:pt x="476" y="6283"/>
                    </a:cubicBezTo>
                    <a:cubicBezTo>
                      <a:pt x="2090" y="1439"/>
                      <a:pt x="7294" y="-1133"/>
                      <a:pt x="12078" y="482"/>
                    </a:cubicBezTo>
                    <a:close/>
                  </a:path>
                </a:pathLst>
              </a:custGeom>
              <a:grpFill/>
              <a:ln w="5978" cap="flat">
                <a:noFill/>
                <a:prstDash val="solid"/>
                <a:miter/>
              </a:ln>
            </p:spPr>
            <p:txBody>
              <a:bodyPr rtlCol="0" anchor="ctr"/>
              <a:lstStyle/>
              <a:p>
                <a:endParaRPr lang="en-GB"/>
              </a:p>
            </p:txBody>
          </p:sp>
          <p:sp>
            <p:nvSpPr>
              <p:cNvPr id="4739" name="Vrije vorm: vorm 4738">
                <a:extLst>
                  <a:ext uri="{FF2B5EF4-FFF2-40B4-BE49-F238E27FC236}">
                    <a16:creationId xmlns:a16="http://schemas.microsoft.com/office/drawing/2014/main" id="{24116828-88E1-4D44-A2A0-94DF54A4FD4F}"/>
                  </a:ext>
                </a:extLst>
              </p:cNvPr>
              <p:cNvSpPr/>
              <p:nvPr/>
            </p:nvSpPr>
            <p:spPr>
              <a:xfrm>
                <a:off x="7943198" y="4049464"/>
                <a:ext cx="18355" cy="18427"/>
              </a:xfrm>
              <a:custGeom>
                <a:avLst/>
                <a:gdLst>
                  <a:gd name="connsiteX0" fmla="*/ 12078 w 18355"/>
                  <a:gd name="connsiteY0" fmla="*/ 482 h 18427"/>
                  <a:gd name="connsiteX1" fmla="*/ 476 w 18355"/>
                  <a:gd name="connsiteY1" fmla="*/ 6283 h 18427"/>
                  <a:gd name="connsiteX2" fmla="*/ 6277 w 18355"/>
                  <a:gd name="connsiteY2" fmla="*/ 17946 h 18427"/>
                  <a:gd name="connsiteX3" fmla="*/ 17880 w 18355"/>
                  <a:gd name="connsiteY3" fmla="*/ 12144 h 18427"/>
                  <a:gd name="connsiteX4" fmla="*/ 12078 w 18355"/>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7">
                    <a:moveTo>
                      <a:pt x="12078" y="482"/>
                    </a:moveTo>
                    <a:cubicBezTo>
                      <a:pt x="7294" y="-1133"/>
                      <a:pt x="2091" y="1439"/>
                      <a:pt x="476" y="6283"/>
                    </a:cubicBezTo>
                    <a:cubicBezTo>
                      <a:pt x="-1139" y="11127"/>
                      <a:pt x="1493" y="16331"/>
                      <a:pt x="6277" y="17946"/>
                    </a:cubicBezTo>
                    <a:cubicBezTo>
                      <a:pt x="11062" y="19560"/>
                      <a:pt x="16265" y="16989"/>
                      <a:pt x="17880" y="12144"/>
                    </a:cubicBezTo>
                    <a:cubicBezTo>
                      <a:pt x="19494" y="7300"/>
                      <a:pt x="16863" y="2096"/>
                      <a:pt x="12078" y="482"/>
                    </a:cubicBezTo>
                    <a:close/>
                  </a:path>
                </a:pathLst>
              </a:custGeom>
              <a:grpFill/>
              <a:ln w="5978" cap="flat">
                <a:noFill/>
                <a:prstDash val="solid"/>
                <a:miter/>
              </a:ln>
            </p:spPr>
            <p:txBody>
              <a:bodyPr rtlCol="0" anchor="ctr"/>
              <a:lstStyle/>
              <a:p>
                <a:endParaRPr lang="en-GB"/>
              </a:p>
            </p:txBody>
          </p:sp>
        </p:grpSp>
        <p:grpSp>
          <p:nvGrpSpPr>
            <p:cNvPr id="215" name="Graphic 3">
              <a:extLst>
                <a:ext uri="{FF2B5EF4-FFF2-40B4-BE49-F238E27FC236}">
                  <a16:creationId xmlns:a16="http://schemas.microsoft.com/office/drawing/2014/main" id="{160279BB-26F7-4284-9B67-786138AF2238}"/>
                </a:ext>
              </a:extLst>
            </p:cNvPr>
            <p:cNvGrpSpPr/>
            <p:nvPr/>
          </p:nvGrpSpPr>
          <p:grpSpPr>
            <a:xfrm>
              <a:off x="7900164" y="3810746"/>
              <a:ext cx="72906" cy="30263"/>
              <a:chOff x="7900164" y="3810746"/>
              <a:chExt cx="72906" cy="30263"/>
            </a:xfrm>
            <a:grpFill/>
          </p:grpSpPr>
          <p:sp>
            <p:nvSpPr>
              <p:cNvPr id="4734" name="Vrije vorm: vorm 4733">
                <a:extLst>
                  <a:ext uri="{FF2B5EF4-FFF2-40B4-BE49-F238E27FC236}">
                    <a16:creationId xmlns:a16="http://schemas.microsoft.com/office/drawing/2014/main" id="{C2B0B333-A142-40F9-868B-EC88F33C2B3B}"/>
                  </a:ext>
                </a:extLst>
              </p:cNvPr>
              <p:cNvSpPr/>
              <p:nvPr/>
            </p:nvSpPr>
            <p:spPr>
              <a:xfrm>
                <a:off x="7908568" y="3818372"/>
                <a:ext cx="56099" cy="15011"/>
              </a:xfrm>
              <a:custGeom>
                <a:avLst/>
                <a:gdLst>
                  <a:gd name="connsiteX0" fmla="*/ 56099 w 56099"/>
                  <a:gd name="connsiteY0" fmla="*/ 12021 h 15011"/>
                  <a:gd name="connsiteX1" fmla="*/ 55441 w 56099"/>
                  <a:gd name="connsiteY1" fmla="*/ 15012 h 15011"/>
                  <a:gd name="connsiteX2" fmla="*/ 0 w 56099"/>
                  <a:gd name="connsiteY2" fmla="*/ 2990 h 15011"/>
                  <a:gd name="connsiteX3" fmla="*/ 658 w 56099"/>
                  <a:gd name="connsiteY3" fmla="*/ 0 h 15011"/>
                </a:gdLst>
                <a:ahLst/>
                <a:cxnLst>
                  <a:cxn ang="0">
                    <a:pos x="connsiteX0" y="connsiteY0"/>
                  </a:cxn>
                  <a:cxn ang="0">
                    <a:pos x="connsiteX1" y="connsiteY1"/>
                  </a:cxn>
                  <a:cxn ang="0">
                    <a:pos x="connsiteX2" y="connsiteY2"/>
                  </a:cxn>
                  <a:cxn ang="0">
                    <a:pos x="connsiteX3" y="connsiteY3"/>
                  </a:cxn>
                </a:cxnLst>
                <a:rect l="l" t="t" r="r" b="b"/>
                <a:pathLst>
                  <a:path w="56099" h="15011">
                    <a:moveTo>
                      <a:pt x="56099" y="12021"/>
                    </a:moveTo>
                    <a:lnTo>
                      <a:pt x="55441" y="15012"/>
                    </a:lnTo>
                    <a:lnTo>
                      <a:pt x="0" y="2990"/>
                    </a:lnTo>
                    <a:lnTo>
                      <a:pt x="658" y="0"/>
                    </a:lnTo>
                    <a:close/>
                  </a:path>
                </a:pathLst>
              </a:custGeom>
              <a:grpFill/>
              <a:ln w="5978" cap="flat">
                <a:noFill/>
                <a:prstDash val="solid"/>
                <a:miter/>
              </a:ln>
            </p:spPr>
            <p:txBody>
              <a:bodyPr rtlCol="0" anchor="ctr"/>
              <a:lstStyle/>
              <a:p>
                <a:endParaRPr lang="en-GB"/>
              </a:p>
            </p:txBody>
          </p:sp>
          <p:sp>
            <p:nvSpPr>
              <p:cNvPr id="4735" name="Vrije vorm: vorm 4734">
                <a:extLst>
                  <a:ext uri="{FF2B5EF4-FFF2-40B4-BE49-F238E27FC236}">
                    <a16:creationId xmlns:a16="http://schemas.microsoft.com/office/drawing/2014/main" id="{9BE6F0D4-51A8-4A3D-9DAD-8ED5713B642D}"/>
                  </a:ext>
                </a:extLst>
              </p:cNvPr>
              <p:cNvSpPr/>
              <p:nvPr/>
            </p:nvSpPr>
            <p:spPr>
              <a:xfrm>
                <a:off x="7954708" y="3822588"/>
                <a:ext cx="18362" cy="18421"/>
              </a:xfrm>
              <a:custGeom>
                <a:avLst/>
                <a:gdLst>
                  <a:gd name="connsiteX0" fmla="*/ 11095 w 18362"/>
                  <a:gd name="connsiteY0" fmla="*/ 210 h 18421"/>
                  <a:gd name="connsiteX1" fmla="*/ 18152 w 18362"/>
                  <a:gd name="connsiteY1" fmla="*/ 11155 h 18421"/>
                  <a:gd name="connsiteX2" fmla="*/ 7267 w 18362"/>
                  <a:gd name="connsiteY2" fmla="*/ 18212 h 18421"/>
                  <a:gd name="connsiteX3" fmla="*/ 210 w 18362"/>
                  <a:gd name="connsiteY3" fmla="*/ 7267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16059" y="1286"/>
                      <a:pt x="19228" y="6191"/>
                      <a:pt x="18152" y="11155"/>
                    </a:cubicBezTo>
                    <a:cubicBezTo>
                      <a:pt x="17075" y="16119"/>
                      <a:pt x="12231" y="19288"/>
                      <a:pt x="7267" y="18212"/>
                    </a:cubicBezTo>
                    <a:cubicBezTo>
                      <a:pt x="2303" y="17136"/>
                      <a:pt x="-867" y="12231"/>
                      <a:pt x="210" y="7267"/>
                    </a:cubicBezTo>
                    <a:cubicBezTo>
                      <a:pt x="1286" y="2303"/>
                      <a:pt x="6131" y="-867"/>
                      <a:pt x="11095" y="210"/>
                    </a:cubicBezTo>
                    <a:close/>
                  </a:path>
                </a:pathLst>
              </a:custGeom>
              <a:grpFill/>
              <a:ln w="5978" cap="flat">
                <a:noFill/>
                <a:prstDash val="solid"/>
                <a:miter/>
              </a:ln>
            </p:spPr>
            <p:txBody>
              <a:bodyPr rtlCol="0" anchor="ctr"/>
              <a:lstStyle/>
              <a:p>
                <a:endParaRPr lang="en-GB"/>
              </a:p>
            </p:txBody>
          </p:sp>
          <p:sp>
            <p:nvSpPr>
              <p:cNvPr id="4736" name="Vrije vorm: vorm 4735">
                <a:extLst>
                  <a:ext uri="{FF2B5EF4-FFF2-40B4-BE49-F238E27FC236}">
                    <a16:creationId xmlns:a16="http://schemas.microsoft.com/office/drawing/2014/main" id="{D8A1E1D8-1A8B-4933-A4F4-446386250741}"/>
                  </a:ext>
                </a:extLst>
              </p:cNvPr>
              <p:cNvSpPr/>
              <p:nvPr/>
            </p:nvSpPr>
            <p:spPr>
              <a:xfrm>
                <a:off x="7900164" y="3810746"/>
                <a:ext cx="18362" cy="18421"/>
              </a:xfrm>
              <a:custGeom>
                <a:avLst/>
                <a:gdLst>
                  <a:gd name="connsiteX0" fmla="*/ 11095 w 18362"/>
                  <a:gd name="connsiteY0" fmla="*/ 210 h 18421"/>
                  <a:gd name="connsiteX1" fmla="*/ 210 w 18362"/>
                  <a:gd name="connsiteY1" fmla="*/ 7267 h 18421"/>
                  <a:gd name="connsiteX2" fmla="*/ 7267 w 18362"/>
                  <a:gd name="connsiteY2" fmla="*/ 18212 h 18421"/>
                  <a:gd name="connsiteX3" fmla="*/ 18152 w 18362"/>
                  <a:gd name="connsiteY3" fmla="*/ 11155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6131" y="-867"/>
                      <a:pt x="1286" y="2303"/>
                      <a:pt x="210" y="7267"/>
                    </a:cubicBezTo>
                    <a:cubicBezTo>
                      <a:pt x="-867" y="12231"/>
                      <a:pt x="2303" y="17136"/>
                      <a:pt x="7267" y="18212"/>
                    </a:cubicBezTo>
                    <a:cubicBezTo>
                      <a:pt x="12231" y="19288"/>
                      <a:pt x="17075" y="16119"/>
                      <a:pt x="18152" y="11155"/>
                    </a:cubicBezTo>
                    <a:cubicBezTo>
                      <a:pt x="19228" y="6191"/>
                      <a:pt x="16059" y="1286"/>
                      <a:pt x="11095" y="210"/>
                    </a:cubicBezTo>
                    <a:close/>
                  </a:path>
                </a:pathLst>
              </a:custGeom>
              <a:grpFill/>
              <a:ln w="5978" cap="flat">
                <a:noFill/>
                <a:prstDash val="solid"/>
                <a:miter/>
              </a:ln>
            </p:spPr>
            <p:txBody>
              <a:bodyPr rtlCol="0" anchor="ctr"/>
              <a:lstStyle/>
              <a:p>
                <a:endParaRPr lang="en-GB"/>
              </a:p>
            </p:txBody>
          </p:sp>
        </p:grpSp>
        <p:grpSp>
          <p:nvGrpSpPr>
            <p:cNvPr id="216" name="Graphic 3">
              <a:extLst>
                <a:ext uri="{FF2B5EF4-FFF2-40B4-BE49-F238E27FC236}">
                  <a16:creationId xmlns:a16="http://schemas.microsoft.com/office/drawing/2014/main" id="{0D088B1E-ADBE-432C-8213-EDAACE80D59A}"/>
                </a:ext>
              </a:extLst>
            </p:cNvPr>
            <p:cNvGrpSpPr/>
            <p:nvPr/>
          </p:nvGrpSpPr>
          <p:grpSpPr>
            <a:xfrm>
              <a:off x="7078999" y="1658545"/>
              <a:ext cx="395947" cy="438249"/>
              <a:chOff x="7078999" y="1658545"/>
              <a:chExt cx="395947" cy="438249"/>
            </a:xfrm>
            <a:grpFill/>
          </p:grpSpPr>
          <p:sp>
            <p:nvSpPr>
              <p:cNvPr id="4731" name="Vrije vorm: vorm 4730">
                <a:extLst>
                  <a:ext uri="{FF2B5EF4-FFF2-40B4-BE49-F238E27FC236}">
                    <a16:creationId xmlns:a16="http://schemas.microsoft.com/office/drawing/2014/main" id="{84B8EE68-1A18-4155-8B92-BF3268281E67}"/>
                  </a:ext>
                </a:extLst>
              </p:cNvPr>
              <p:cNvSpPr/>
              <p:nvPr/>
            </p:nvSpPr>
            <p:spPr>
              <a:xfrm>
                <a:off x="7086696" y="1666449"/>
                <a:ext cx="380493" cy="422478"/>
              </a:xfrm>
              <a:custGeom>
                <a:avLst/>
                <a:gdLst>
                  <a:gd name="connsiteX0" fmla="*/ 380494 w 380493"/>
                  <a:gd name="connsiteY0" fmla="*/ 2033 h 422478"/>
                  <a:gd name="connsiteX1" fmla="*/ 2273 w 380493"/>
                  <a:gd name="connsiteY1" fmla="*/ 422478 h 422478"/>
                  <a:gd name="connsiteX2" fmla="*/ 0 w 380493"/>
                  <a:gd name="connsiteY2" fmla="*/ 420445 h 422478"/>
                  <a:gd name="connsiteX3" fmla="*/ 378221 w 380493"/>
                  <a:gd name="connsiteY3" fmla="*/ 0 h 422478"/>
                </a:gdLst>
                <a:ahLst/>
                <a:cxnLst>
                  <a:cxn ang="0">
                    <a:pos x="connsiteX0" y="connsiteY0"/>
                  </a:cxn>
                  <a:cxn ang="0">
                    <a:pos x="connsiteX1" y="connsiteY1"/>
                  </a:cxn>
                  <a:cxn ang="0">
                    <a:pos x="connsiteX2" y="connsiteY2"/>
                  </a:cxn>
                  <a:cxn ang="0">
                    <a:pos x="connsiteX3" y="connsiteY3"/>
                  </a:cxn>
                </a:cxnLst>
                <a:rect l="l" t="t" r="r" b="b"/>
                <a:pathLst>
                  <a:path w="380493" h="422478">
                    <a:moveTo>
                      <a:pt x="380494" y="2033"/>
                    </a:moveTo>
                    <a:lnTo>
                      <a:pt x="2273" y="422478"/>
                    </a:lnTo>
                    <a:lnTo>
                      <a:pt x="0" y="420445"/>
                    </a:lnTo>
                    <a:lnTo>
                      <a:pt x="378221" y="0"/>
                    </a:lnTo>
                    <a:close/>
                  </a:path>
                </a:pathLst>
              </a:custGeom>
              <a:grpFill/>
              <a:ln w="5978" cap="flat">
                <a:noFill/>
                <a:prstDash val="solid"/>
                <a:miter/>
              </a:ln>
            </p:spPr>
            <p:txBody>
              <a:bodyPr rtlCol="0" anchor="ctr"/>
              <a:lstStyle/>
              <a:p>
                <a:endParaRPr lang="en-GB"/>
              </a:p>
            </p:txBody>
          </p:sp>
          <p:sp>
            <p:nvSpPr>
              <p:cNvPr id="4732" name="Vrije vorm: vorm 4731">
                <a:extLst>
                  <a:ext uri="{FF2B5EF4-FFF2-40B4-BE49-F238E27FC236}">
                    <a16:creationId xmlns:a16="http://schemas.microsoft.com/office/drawing/2014/main" id="{8D580DE9-ABC8-4D2D-A813-89D6152B0815}"/>
                  </a:ext>
                </a:extLst>
              </p:cNvPr>
              <p:cNvSpPr/>
              <p:nvPr/>
            </p:nvSpPr>
            <p:spPr>
              <a:xfrm>
                <a:off x="7078999" y="2078308"/>
                <a:ext cx="18324" cy="18486"/>
              </a:xfrm>
              <a:custGeom>
                <a:avLst/>
                <a:gdLst>
                  <a:gd name="connsiteX0" fmla="*/ 15950 w 18324"/>
                  <a:gd name="connsiteY0" fmla="*/ 15463 h 18486"/>
                  <a:gd name="connsiteX1" fmla="*/ 3032 w 18324"/>
                  <a:gd name="connsiteY1" fmla="*/ 16061 h 18486"/>
                  <a:gd name="connsiteX2" fmla="*/ 2374 w 18324"/>
                  <a:gd name="connsiteY2" fmla="*/ 3023 h 18486"/>
                  <a:gd name="connsiteX3" fmla="*/ 15293 w 18324"/>
                  <a:gd name="connsiteY3" fmla="*/ 2425 h 18486"/>
                  <a:gd name="connsiteX4" fmla="*/ 15950 w 18324"/>
                  <a:gd name="connsiteY4" fmla="*/ 15463 h 18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86">
                    <a:moveTo>
                      <a:pt x="15950" y="15463"/>
                    </a:moveTo>
                    <a:cubicBezTo>
                      <a:pt x="12542" y="19231"/>
                      <a:pt x="6741" y="19530"/>
                      <a:pt x="3032" y="16061"/>
                    </a:cubicBezTo>
                    <a:cubicBezTo>
                      <a:pt x="-735" y="12652"/>
                      <a:pt x="-1035" y="6791"/>
                      <a:pt x="2374" y="3023"/>
                    </a:cubicBezTo>
                    <a:cubicBezTo>
                      <a:pt x="5783" y="-745"/>
                      <a:pt x="11585" y="-1044"/>
                      <a:pt x="15293" y="2425"/>
                    </a:cubicBezTo>
                    <a:cubicBezTo>
                      <a:pt x="19060" y="5834"/>
                      <a:pt x="19360" y="11695"/>
                      <a:pt x="15950" y="15463"/>
                    </a:cubicBezTo>
                    <a:close/>
                  </a:path>
                </a:pathLst>
              </a:custGeom>
              <a:grpFill/>
              <a:ln w="5978" cap="flat">
                <a:noFill/>
                <a:prstDash val="solid"/>
                <a:miter/>
              </a:ln>
            </p:spPr>
            <p:txBody>
              <a:bodyPr rtlCol="0" anchor="ctr"/>
              <a:lstStyle/>
              <a:p>
                <a:endParaRPr lang="en-GB"/>
              </a:p>
            </p:txBody>
          </p:sp>
          <p:sp>
            <p:nvSpPr>
              <p:cNvPr id="4733" name="Vrije vorm: vorm 4732">
                <a:extLst>
                  <a:ext uri="{FF2B5EF4-FFF2-40B4-BE49-F238E27FC236}">
                    <a16:creationId xmlns:a16="http://schemas.microsoft.com/office/drawing/2014/main" id="{C9BE7D47-8974-488C-8FAB-523ECD1EF652}"/>
                  </a:ext>
                </a:extLst>
              </p:cNvPr>
              <p:cNvSpPr/>
              <p:nvPr/>
            </p:nvSpPr>
            <p:spPr>
              <a:xfrm>
                <a:off x="7456622" y="1658545"/>
                <a:ext cx="18325" cy="18462"/>
              </a:xfrm>
              <a:custGeom>
                <a:avLst/>
                <a:gdLst>
                  <a:gd name="connsiteX0" fmla="*/ 15951 w 18325"/>
                  <a:gd name="connsiteY0" fmla="*/ 15439 h 18462"/>
                  <a:gd name="connsiteX1" fmla="*/ 15293 w 18325"/>
                  <a:gd name="connsiteY1" fmla="*/ 2401 h 18462"/>
                  <a:gd name="connsiteX2" fmla="*/ 2374 w 18325"/>
                  <a:gd name="connsiteY2" fmla="*/ 3000 h 18462"/>
                  <a:gd name="connsiteX3" fmla="*/ 3032 w 18325"/>
                  <a:gd name="connsiteY3" fmla="*/ 16038 h 18462"/>
                  <a:gd name="connsiteX4" fmla="*/ 15951 w 18325"/>
                  <a:gd name="connsiteY4" fmla="*/ 15439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2">
                    <a:moveTo>
                      <a:pt x="15951" y="15439"/>
                    </a:moveTo>
                    <a:cubicBezTo>
                      <a:pt x="19360" y="11672"/>
                      <a:pt x="19061" y="5870"/>
                      <a:pt x="15293" y="2401"/>
                    </a:cubicBezTo>
                    <a:cubicBezTo>
                      <a:pt x="11525" y="-1008"/>
                      <a:pt x="5724" y="-768"/>
                      <a:pt x="2374" y="3000"/>
                    </a:cubicBezTo>
                    <a:cubicBezTo>
                      <a:pt x="-1034" y="6767"/>
                      <a:pt x="-736" y="12569"/>
                      <a:pt x="3032" y="16038"/>
                    </a:cubicBezTo>
                    <a:cubicBezTo>
                      <a:pt x="6800" y="19506"/>
                      <a:pt x="12542" y="19207"/>
                      <a:pt x="15951" y="15439"/>
                    </a:cubicBezTo>
                    <a:close/>
                  </a:path>
                </a:pathLst>
              </a:custGeom>
              <a:grpFill/>
              <a:ln w="5978" cap="flat">
                <a:noFill/>
                <a:prstDash val="solid"/>
                <a:miter/>
              </a:ln>
            </p:spPr>
            <p:txBody>
              <a:bodyPr rtlCol="0" anchor="ctr"/>
              <a:lstStyle/>
              <a:p>
                <a:endParaRPr lang="en-GB"/>
              </a:p>
            </p:txBody>
          </p:sp>
        </p:grpSp>
        <p:grpSp>
          <p:nvGrpSpPr>
            <p:cNvPr id="217" name="Graphic 3">
              <a:extLst>
                <a:ext uri="{FF2B5EF4-FFF2-40B4-BE49-F238E27FC236}">
                  <a16:creationId xmlns:a16="http://schemas.microsoft.com/office/drawing/2014/main" id="{B058CC16-66CB-47A2-8D50-2184629F6976}"/>
                </a:ext>
              </a:extLst>
            </p:cNvPr>
            <p:cNvGrpSpPr/>
            <p:nvPr/>
          </p:nvGrpSpPr>
          <p:grpSpPr>
            <a:xfrm>
              <a:off x="7739071" y="3453127"/>
              <a:ext cx="121832" cy="21176"/>
              <a:chOff x="7739071" y="3453127"/>
              <a:chExt cx="121832" cy="21176"/>
            </a:xfrm>
            <a:grpFill/>
          </p:grpSpPr>
          <p:sp>
            <p:nvSpPr>
              <p:cNvPr id="4728" name="Vrije vorm: vorm 4727">
                <a:extLst>
                  <a:ext uri="{FF2B5EF4-FFF2-40B4-BE49-F238E27FC236}">
                    <a16:creationId xmlns:a16="http://schemas.microsoft.com/office/drawing/2014/main" id="{D549989E-96CB-40A5-96A7-567B29CC6A5E}"/>
                  </a:ext>
                </a:extLst>
              </p:cNvPr>
              <p:cNvSpPr/>
              <p:nvPr/>
            </p:nvSpPr>
            <p:spPr>
              <a:xfrm>
                <a:off x="7747746" y="3460785"/>
                <a:ext cx="104483" cy="5860"/>
              </a:xfrm>
              <a:custGeom>
                <a:avLst/>
                <a:gdLst>
                  <a:gd name="connsiteX0" fmla="*/ 104483 w 104483"/>
                  <a:gd name="connsiteY0" fmla="*/ 2811 h 5860"/>
                  <a:gd name="connsiteX1" fmla="*/ 104423 w 104483"/>
                  <a:gd name="connsiteY1" fmla="*/ 5861 h 5860"/>
                  <a:gd name="connsiteX2" fmla="*/ 0 w 104483"/>
                  <a:gd name="connsiteY2" fmla="*/ 3110 h 5860"/>
                  <a:gd name="connsiteX3" fmla="*/ 60 w 104483"/>
                  <a:gd name="connsiteY3" fmla="*/ 0 h 5860"/>
                </a:gdLst>
                <a:ahLst/>
                <a:cxnLst>
                  <a:cxn ang="0">
                    <a:pos x="connsiteX0" y="connsiteY0"/>
                  </a:cxn>
                  <a:cxn ang="0">
                    <a:pos x="connsiteX1" y="connsiteY1"/>
                  </a:cxn>
                  <a:cxn ang="0">
                    <a:pos x="connsiteX2" y="connsiteY2"/>
                  </a:cxn>
                  <a:cxn ang="0">
                    <a:pos x="connsiteX3" y="connsiteY3"/>
                  </a:cxn>
                </a:cxnLst>
                <a:rect l="l" t="t" r="r" b="b"/>
                <a:pathLst>
                  <a:path w="104483" h="5860">
                    <a:moveTo>
                      <a:pt x="104483" y="2811"/>
                    </a:moveTo>
                    <a:lnTo>
                      <a:pt x="104423" y="5861"/>
                    </a:lnTo>
                    <a:lnTo>
                      <a:pt x="0" y="3110"/>
                    </a:lnTo>
                    <a:lnTo>
                      <a:pt x="60" y="0"/>
                    </a:lnTo>
                    <a:close/>
                  </a:path>
                </a:pathLst>
              </a:custGeom>
              <a:grpFill/>
              <a:ln w="5978" cap="flat">
                <a:noFill/>
                <a:prstDash val="solid"/>
                <a:miter/>
              </a:ln>
            </p:spPr>
            <p:txBody>
              <a:bodyPr rtlCol="0" anchor="ctr"/>
              <a:lstStyle/>
              <a:p>
                <a:endParaRPr lang="en-GB"/>
              </a:p>
            </p:txBody>
          </p:sp>
          <p:sp>
            <p:nvSpPr>
              <p:cNvPr id="4729" name="Vrije vorm: vorm 4728">
                <a:extLst>
                  <a:ext uri="{FF2B5EF4-FFF2-40B4-BE49-F238E27FC236}">
                    <a16:creationId xmlns:a16="http://schemas.microsoft.com/office/drawing/2014/main" id="{B7642917-72BC-4C11-9AB1-AA9410CC256B}"/>
                  </a:ext>
                </a:extLst>
              </p:cNvPr>
              <p:cNvSpPr/>
              <p:nvPr/>
            </p:nvSpPr>
            <p:spPr>
              <a:xfrm>
                <a:off x="7842538" y="3455878"/>
                <a:ext cx="18366" cy="18425"/>
              </a:xfrm>
              <a:custGeom>
                <a:avLst/>
                <a:gdLst>
                  <a:gd name="connsiteX0" fmla="*/ 9393 w 18366"/>
                  <a:gd name="connsiteY0" fmla="*/ 3 h 18425"/>
                  <a:gd name="connsiteX1" fmla="*/ 18364 w 18366"/>
                  <a:gd name="connsiteY1" fmla="*/ 9452 h 18425"/>
                  <a:gd name="connsiteX2" fmla="*/ 8974 w 18366"/>
                  <a:gd name="connsiteY2" fmla="*/ 18423 h 18425"/>
                  <a:gd name="connsiteX3" fmla="*/ 3 w 18366"/>
                  <a:gd name="connsiteY3" fmla="*/ 8974 h 18425"/>
                  <a:gd name="connsiteX4" fmla="*/ 9393 w 18366"/>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3" y="3"/>
                    </a:moveTo>
                    <a:cubicBezTo>
                      <a:pt x="14476" y="122"/>
                      <a:pt x="18483" y="4369"/>
                      <a:pt x="18364" y="9452"/>
                    </a:cubicBezTo>
                    <a:cubicBezTo>
                      <a:pt x="18244" y="14536"/>
                      <a:pt x="14057" y="18543"/>
                      <a:pt x="8974" y="18423"/>
                    </a:cubicBezTo>
                    <a:cubicBezTo>
                      <a:pt x="3890" y="18304"/>
                      <a:pt x="-117" y="14057"/>
                      <a:pt x="3" y="8974"/>
                    </a:cubicBezTo>
                    <a:cubicBezTo>
                      <a:pt x="122" y="3890"/>
                      <a:pt x="4309" y="-117"/>
                      <a:pt x="9393" y="3"/>
                    </a:cubicBezTo>
                    <a:close/>
                  </a:path>
                </a:pathLst>
              </a:custGeom>
              <a:grpFill/>
              <a:ln w="5978" cap="flat">
                <a:noFill/>
                <a:prstDash val="solid"/>
                <a:miter/>
              </a:ln>
            </p:spPr>
            <p:txBody>
              <a:bodyPr rtlCol="0" anchor="ctr"/>
              <a:lstStyle/>
              <a:p>
                <a:endParaRPr lang="en-GB"/>
              </a:p>
            </p:txBody>
          </p:sp>
          <p:sp>
            <p:nvSpPr>
              <p:cNvPr id="4730" name="Vrije vorm: vorm 4729">
                <a:extLst>
                  <a:ext uri="{FF2B5EF4-FFF2-40B4-BE49-F238E27FC236}">
                    <a16:creationId xmlns:a16="http://schemas.microsoft.com/office/drawing/2014/main" id="{51B4425D-4D3D-4C46-AA63-613610F94EF7}"/>
                  </a:ext>
                </a:extLst>
              </p:cNvPr>
              <p:cNvSpPr/>
              <p:nvPr/>
            </p:nvSpPr>
            <p:spPr>
              <a:xfrm>
                <a:off x="7739071" y="3453127"/>
                <a:ext cx="18363" cy="18425"/>
              </a:xfrm>
              <a:custGeom>
                <a:avLst/>
                <a:gdLst>
                  <a:gd name="connsiteX0" fmla="*/ 9392 w 18363"/>
                  <a:gd name="connsiteY0" fmla="*/ 3 h 18425"/>
                  <a:gd name="connsiteX1" fmla="*/ 3 w 18363"/>
                  <a:gd name="connsiteY1" fmla="*/ 8974 h 18425"/>
                  <a:gd name="connsiteX2" fmla="*/ 8974 w 18363"/>
                  <a:gd name="connsiteY2" fmla="*/ 18423 h 18425"/>
                  <a:gd name="connsiteX3" fmla="*/ 18363 w 18363"/>
                  <a:gd name="connsiteY3" fmla="*/ 9452 h 18425"/>
                  <a:gd name="connsiteX4" fmla="*/ 9392 w 18363"/>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5">
                    <a:moveTo>
                      <a:pt x="9392" y="3"/>
                    </a:moveTo>
                    <a:cubicBezTo>
                      <a:pt x="4309" y="-117"/>
                      <a:pt x="122" y="3890"/>
                      <a:pt x="3" y="8974"/>
                    </a:cubicBezTo>
                    <a:cubicBezTo>
                      <a:pt x="-117" y="14057"/>
                      <a:pt x="3890" y="18304"/>
                      <a:pt x="8974" y="18423"/>
                    </a:cubicBezTo>
                    <a:cubicBezTo>
                      <a:pt x="14057" y="18543"/>
                      <a:pt x="18243" y="14536"/>
                      <a:pt x="18363" y="9452"/>
                    </a:cubicBezTo>
                    <a:cubicBezTo>
                      <a:pt x="18423" y="4368"/>
                      <a:pt x="14416" y="122"/>
                      <a:pt x="9392" y="3"/>
                    </a:cubicBezTo>
                    <a:close/>
                  </a:path>
                </a:pathLst>
              </a:custGeom>
              <a:grpFill/>
              <a:ln w="5978" cap="flat">
                <a:noFill/>
                <a:prstDash val="solid"/>
                <a:miter/>
              </a:ln>
            </p:spPr>
            <p:txBody>
              <a:bodyPr rtlCol="0" anchor="ctr"/>
              <a:lstStyle/>
              <a:p>
                <a:endParaRPr lang="en-GB"/>
              </a:p>
            </p:txBody>
          </p:sp>
        </p:grpSp>
        <p:grpSp>
          <p:nvGrpSpPr>
            <p:cNvPr id="218" name="Graphic 3">
              <a:extLst>
                <a:ext uri="{FF2B5EF4-FFF2-40B4-BE49-F238E27FC236}">
                  <a16:creationId xmlns:a16="http://schemas.microsoft.com/office/drawing/2014/main" id="{6AB5463D-2768-4A0E-A00B-DD359DE865AC}"/>
                </a:ext>
              </a:extLst>
            </p:cNvPr>
            <p:cNvGrpSpPr/>
            <p:nvPr/>
          </p:nvGrpSpPr>
          <p:grpSpPr>
            <a:xfrm>
              <a:off x="7106522" y="1520649"/>
              <a:ext cx="208923" cy="305875"/>
              <a:chOff x="7106522" y="1520649"/>
              <a:chExt cx="208923" cy="305875"/>
            </a:xfrm>
            <a:grpFill/>
          </p:grpSpPr>
          <p:sp>
            <p:nvSpPr>
              <p:cNvPr id="4725" name="Vrije vorm: vorm 4724">
                <a:extLst>
                  <a:ext uri="{FF2B5EF4-FFF2-40B4-BE49-F238E27FC236}">
                    <a16:creationId xmlns:a16="http://schemas.microsoft.com/office/drawing/2014/main" id="{1217EE0A-6E84-44C3-BE87-654FD302C5A7}"/>
                  </a:ext>
                </a:extLst>
              </p:cNvPr>
              <p:cNvSpPr/>
              <p:nvPr/>
            </p:nvSpPr>
            <p:spPr>
              <a:xfrm>
                <a:off x="7114148" y="1528593"/>
                <a:ext cx="193595" cy="289945"/>
              </a:xfrm>
              <a:custGeom>
                <a:avLst/>
                <a:gdLst>
                  <a:gd name="connsiteX0" fmla="*/ 193596 w 193595"/>
                  <a:gd name="connsiteY0" fmla="*/ 1734 h 289945"/>
                  <a:gd name="connsiteX1" fmla="*/ 2571 w 193595"/>
                  <a:gd name="connsiteY1" fmla="*/ 289945 h 289945"/>
                  <a:gd name="connsiteX2" fmla="*/ 0 w 193595"/>
                  <a:gd name="connsiteY2" fmla="*/ 288271 h 289945"/>
                  <a:gd name="connsiteX3" fmla="*/ 191084 w 193595"/>
                  <a:gd name="connsiteY3" fmla="*/ 0 h 289945"/>
                </a:gdLst>
                <a:ahLst/>
                <a:cxnLst>
                  <a:cxn ang="0">
                    <a:pos x="connsiteX0" y="connsiteY0"/>
                  </a:cxn>
                  <a:cxn ang="0">
                    <a:pos x="connsiteX1" y="connsiteY1"/>
                  </a:cxn>
                  <a:cxn ang="0">
                    <a:pos x="connsiteX2" y="connsiteY2"/>
                  </a:cxn>
                  <a:cxn ang="0">
                    <a:pos x="connsiteX3" y="connsiteY3"/>
                  </a:cxn>
                </a:cxnLst>
                <a:rect l="l" t="t" r="r" b="b"/>
                <a:pathLst>
                  <a:path w="193595" h="289945">
                    <a:moveTo>
                      <a:pt x="193596" y="1734"/>
                    </a:moveTo>
                    <a:lnTo>
                      <a:pt x="2571" y="289945"/>
                    </a:lnTo>
                    <a:lnTo>
                      <a:pt x="0" y="288271"/>
                    </a:lnTo>
                    <a:lnTo>
                      <a:pt x="191084" y="0"/>
                    </a:lnTo>
                    <a:close/>
                  </a:path>
                </a:pathLst>
              </a:custGeom>
              <a:grpFill/>
              <a:ln w="5978" cap="flat">
                <a:noFill/>
                <a:prstDash val="solid"/>
                <a:miter/>
              </a:ln>
            </p:spPr>
            <p:txBody>
              <a:bodyPr rtlCol="0" anchor="ctr"/>
              <a:lstStyle/>
              <a:p>
                <a:endParaRPr lang="en-GB"/>
              </a:p>
            </p:txBody>
          </p:sp>
          <p:sp>
            <p:nvSpPr>
              <p:cNvPr id="4726" name="Vrije vorm: vorm 4725">
                <a:extLst>
                  <a:ext uri="{FF2B5EF4-FFF2-40B4-BE49-F238E27FC236}">
                    <a16:creationId xmlns:a16="http://schemas.microsoft.com/office/drawing/2014/main" id="{8FED77A5-849C-4B65-9D8A-CD651A906354}"/>
                  </a:ext>
                </a:extLst>
              </p:cNvPr>
              <p:cNvSpPr/>
              <p:nvPr/>
            </p:nvSpPr>
            <p:spPr>
              <a:xfrm>
                <a:off x="7106522" y="1808041"/>
                <a:ext cx="18318" cy="18483"/>
              </a:xfrm>
              <a:custGeom>
                <a:avLst/>
                <a:gdLst>
                  <a:gd name="connsiteX0" fmla="*/ 16777 w 18318"/>
                  <a:gd name="connsiteY0" fmla="*/ 14385 h 18483"/>
                  <a:gd name="connsiteX1" fmla="*/ 4098 w 18318"/>
                  <a:gd name="connsiteY1" fmla="*/ 16897 h 18483"/>
                  <a:gd name="connsiteX2" fmla="*/ 1526 w 18318"/>
                  <a:gd name="connsiteY2" fmla="*/ 4098 h 18483"/>
                  <a:gd name="connsiteX3" fmla="*/ 14205 w 18318"/>
                  <a:gd name="connsiteY3" fmla="*/ 1586 h 18483"/>
                  <a:gd name="connsiteX4" fmla="*/ 16777 w 18318"/>
                  <a:gd name="connsiteY4" fmla="*/ 14385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83">
                    <a:moveTo>
                      <a:pt x="16777" y="14385"/>
                    </a:moveTo>
                    <a:cubicBezTo>
                      <a:pt x="13966" y="18631"/>
                      <a:pt x="8285" y="19768"/>
                      <a:pt x="4098" y="16897"/>
                    </a:cubicBezTo>
                    <a:cubicBezTo>
                      <a:pt x="-89" y="14086"/>
                      <a:pt x="-1285" y="8345"/>
                      <a:pt x="1526" y="4098"/>
                    </a:cubicBezTo>
                    <a:cubicBezTo>
                      <a:pt x="4337" y="-148"/>
                      <a:pt x="10018" y="-1284"/>
                      <a:pt x="14205" y="1586"/>
                    </a:cubicBezTo>
                    <a:cubicBezTo>
                      <a:pt x="18451" y="4457"/>
                      <a:pt x="19588" y="10199"/>
                      <a:pt x="16777" y="14385"/>
                    </a:cubicBezTo>
                    <a:close/>
                  </a:path>
                </a:pathLst>
              </a:custGeom>
              <a:grpFill/>
              <a:ln w="5978" cap="flat">
                <a:noFill/>
                <a:prstDash val="solid"/>
                <a:miter/>
              </a:ln>
            </p:spPr>
            <p:txBody>
              <a:bodyPr rtlCol="0" anchor="ctr"/>
              <a:lstStyle/>
              <a:p>
                <a:endParaRPr lang="en-GB"/>
              </a:p>
            </p:txBody>
          </p:sp>
          <p:sp>
            <p:nvSpPr>
              <p:cNvPr id="4727" name="Vrije vorm: vorm 4726">
                <a:extLst>
                  <a:ext uri="{FF2B5EF4-FFF2-40B4-BE49-F238E27FC236}">
                    <a16:creationId xmlns:a16="http://schemas.microsoft.com/office/drawing/2014/main" id="{F21C5DE3-FECA-424F-AD90-D2198BC5794B}"/>
                  </a:ext>
                </a:extLst>
              </p:cNvPr>
              <p:cNvSpPr/>
              <p:nvPr/>
            </p:nvSpPr>
            <p:spPr>
              <a:xfrm>
                <a:off x="7297112" y="1520649"/>
                <a:ext cx="18333" cy="18415"/>
              </a:xfrm>
              <a:custGeom>
                <a:avLst/>
                <a:gdLst>
                  <a:gd name="connsiteX0" fmla="*/ 16792 w 18333"/>
                  <a:gd name="connsiteY0" fmla="*/ 14343 h 18415"/>
                  <a:gd name="connsiteX1" fmla="*/ 14221 w 18333"/>
                  <a:gd name="connsiteY1" fmla="*/ 1544 h 18415"/>
                  <a:gd name="connsiteX2" fmla="*/ 1542 w 18333"/>
                  <a:gd name="connsiteY2" fmla="*/ 4056 h 18415"/>
                  <a:gd name="connsiteX3" fmla="*/ 4113 w 18333"/>
                  <a:gd name="connsiteY3" fmla="*/ 16855 h 18415"/>
                  <a:gd name="connsiteX4" fmla="*/ 16792 w 18333"/>
                  <a:gd name="connsiteY4" fmla="*/ 1434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5">
                    <a:moveTo>
                      <a:pt x="16792" y="14343"/>
                    </a:moveTo>
                    <a:cubicBezTo>
                      <a:pt x="19604" y="10097"/>
                      <a:pt x="18467" y="4415"/>
                      <a:pt x="14221" y="1544"/>
                    </a:cubicBezTo>
                    <a:cubicBezTo>
                      <a:pt x="10034" y="-1266"/>
                      <a:pt x="4293" y="-130"/>
                      <a:pt x="1542" y="4056"/>
                    </a:cubicBezTo>
                    <a:cubicBezTo>
                      <a:pt x="-1270" y="8303"/>
                      <a:pt x="-133" y="13984"/>
                      <a:pt x="4113" y="16855"/>
                    </a:cubicBezTo>
                    <a:cubicBezTo>
                      <a:pt x="8300" y="19666"/>
                      <a:pt x="13981" y="18590"/>
                      <a:pt x="16792" y="14343"/>
                    </a:cubicBezTo>
                    <a:close/>
                  </a:path>
                </a:pathLst>
              </a:custGeom>
              <a:grpFill/>
              <a:ln w="5978" cap="flat">
                <a:noFill/>
                <a:prstDash val="solid"/>
                <a:miter/>
              </a:ln>
            </p:spPr>
            <p:txBody>
              <a:bodyPr rtlCol="0" anchor="ctr"/>
              <a:lstStyle/>
              <a:p>
                <a:endParaRPr lang="en-GB"/>
              </a:p>
            </p:txBody>
          </p:sp>
        </p:grpSp>
        <p:grpSp>
          <p:nvGrpSpPr>
            <p:cNvPr id="219" name="Graphic 3">
              <a:extLst>
                <a:ext uri="{FF2B5EF4-FFF2-40B4-BE49-F238E27FC236}">
                  <a16:creationId xmlns:a16="http://schemas.microsoft.com/office/drawing/2014/main" id="{CCBE6376-C646-4CEB-A83A-EB2361C54E83}"/>
                </a:ext>
              </a:extLst>
            </p:cNvPr>
            <p:cNvGrpSpPr/>
            <p:nvPr/>
          </p:nvGrpSpPr>
          <p:grpSpPr>
            <a:xfrm>
              <a:off x="7942722" y="3857308"/>
              <a:ext cx="19191" cy="18615"/>
              <a:chOff x="7942722" y="3857308"/>
              <a:chExt cx="19191" cy="18615"/>
            </a:xfrm>
            <a:grpFill/>
          </p:grpSpPr>
          <p:sp>
            <p:nvSpPr>
              <p:cNvPr id="4722" name="Vrije vorm: vorm 4721">
                <a:extLst>
                  <a:ext uri="{FF2B5EF4-FFF2-40B4-BE49-F238E27FC236}">
                    <a16:creationId xmlns:a16="http://schemas.microsoft.com/office/drawing/2014/main" id="{0D178E8C-1A61-419E-91FC-28CD8433B326}"/>
                  </a:ext>
                </a:extLst>
              </p:cNvPr>
              <p:cNvSpPr/>
              <p:nvPr/>
            </p:nvSpPr>
            <p:spPr>
              <a:xfrm>
                <a:off x="7951150" y="3864902"/>
                <a:ext cx="2392" cy="3409"/>
              </a:xfrm>
              <a:custGeom>
                <a:avLst/>
                <a:gdLst>
                  <a:gd name="connsiteX0" fmla="*/ 2392 w 2392"/>
                  <a:gd name="connsiteY0" fmla="*/ 419 h 3409"/>
                  <a:gd name="connsiteX1" fmla="*/ 1675 w 2392"/>
                  <a:gd name="connsiteY1" fmla="*/ 3409 h 3409"/>
                  <a:gd name="connsiteX2" fmla="*/ 0 w 2392"/>
                  <a:gd name="connsiteY2" fmla="*/ 2990 h 3409"/>
                  <a:gd name="connsiteX3" fmla="*/ 658 w 2392"/>
                  <a:gd name="connsiteY3" fmla="*/ 0 h 3409"/>
                </a:gdLst>
                <a:ahLst/>
                <a:cxnLst>
                  <a:cxn ang="0">
                    <a:pos x="connsiteX0" y="connsiteY0"/>
                  </a:cxn>
                  <a:cxn ang="0">
                    <a:pos x="connsiteX1" y="connsiteY1"/>
                  </a:cxn>
                  <a:cxn ang="0">
                    <a:pos x="connsiteX2" y="connsiteY2"/>
                  </a:cxn>
                  <a:cxn ang="0">
                    <a:pos x="connsiteX3" y="connsiteY3"/>
                  </a:cxn>
                </a:cxnLst>
                <a:rect l="l" t="t" r="r" b="b"/>
                <a:pathLst>
                  <a:path w="2392" h="3409">
                    <a:moveTo>
                      <a:pt x="2392" y="419"/>
                    </a:moveTo>
                    <a:lnTo>
                      <a:pt x="1675" y="3409"/>
                    </a:lnTo>
                    <a:lnTo>
                      <a:pt x="0" y="2990"/>
                    </a:lnTo>
                    <a:lnTo>
                      <a:pt x="658" y="0"/>
                    </a:lnTo>
                    <a:close/>
                  </a:path>
                </a:pathLst>
              </a:custGeom>
              <a:grpFill/>
              <a:ln w="5978" cap="flat">
                <a:noFill/>
                <a:prstDash val="solid"/>
                <a:miter/>
              </a:ln>
            </p:spPr>
            <p:txBody>
              <a:bodyPr rtlCol="0" anchor="ctr"/>
              <a:lstStyle/>
              <a:p>
                <a:endParaRPr lang="en-GB"/>
              </a:p>
            </p:txBody>
          </p:sp>
          <p:sp>
            <p:nvSpPr>
              <p:cNvPr id="4723" name="Vrije vorm: vorm 4722">
                <a:extLst>
                  <a:ext uri="{FF2B5EF4-FFF2-40B4-BE49-F238E27FC236}">
                    <a16:creationId xmlns:a16="http://schemas.microsoft.com/office/drawing/2014/main" id="{4E955584-4A70-4184-A26F-A5B3047F35AB}"/>
                  </a:ext>
                </a:extLst>
              </p:cNvPr>
              <p:cNvSpPr/>
              <p:nvPr/>
            </p:nvSpPr>
            <p:spPr>
              <a:xfrm>
                <a:off x="7942722" y="3857308"/>
                <a:ext cx="18350" cy="18416"/>
              </a:xfrm>
              <a:custGeom>
                <a:avLst/>
                <a:gdLst>
                  <a:gd name="connsiteX0" fmla="*/ 7112 w 18350"/>
                  <a:gd name="connsiteY0" fmla="*/ 18180 h 18416"/>
                  <a:gd name="connsiteX1" fmla="*/ 234 w 18350"/>
                  <a:gd name="connsiteY1" fmla="*/ 7115 h 18416"/>
                  <a:gd name="connsiteX2" fmla="*/ 11239 w 18350"/>
                  <a:gd name="connsiteY2" fmla="*/ 237 h 18416"/>
                  <a:gd name="connsiteX3" fmla="*/ 18117 w 18350"/>
                  <a:gd name="connsiteY3" fmla="*/ 11302 h 18416"/>
                  <a:gd name="connsiteX4" fmla="*/ 7112 w 18350"/>
                  <a:gd name="connsiteY4" fmla="*/ 1818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6">
                    <a:moveTo>
                      <a:pt x="7112" y="18180"/>
                    </a:moveTo>
                    <a:cubicBezTo>
                      <a:pt x="2208" y="16984"/>
                      <a:pt x="-902" y="12020"/>
                      <a:pt x="234" y="7115"/>
                    </a:cubicBezTo>
                    <a:cubicBezTo>
                      <a:pt x="1370" y="2151"/>
                      <a:pt x="6275" y="-899"/>
                      <a:pt x="11239" y="237"/>
                    </a:cubicBezTo>
                    <a:cubicBezTo>
                      <a:pt x="16143" y="1434"/>
                      <a:pt x="19253" y="6398"/>
                      <a:pt x="18117" y="11302"/>
                    </a:cubicBezTo>
                    <a:cubicBezTo>
                      <a:pt x="16980" y="16266"/>
                      <a:pt x="12076" y="19316"/>
                      <a:pt x="7112" y="18180"/>
                    </a:cubicBezTo>
                    <a:close/>
                  </a:path>
                </a:pathLst>
              </a:custGeom>
              <a:grpFill/>
              <a:ln w="5978" cap="flat">
                <a:noFill/>
                <a:prstDash val="solid"/>
                <a:miter/>
              </a:ln>
            </p:spPr>
            <p:txBody>
              <a:bodyPr rtlCol="0" anchor="ctr"/>
              <a:lstStyle/>
              <a:p>
                <a:endParaRPr lang="en-GB"/>
              </a:p>
            </p:txBody>
          </p:sp>
          <p:sp>
            <p:nvSpPr>
              <p:cNvPr id="4724" name="Vrije vorm: vorm 4723">
                <a:extLst>
                  <a:ext uri="{FF2B5EF4-FFF2-40B4-BE49-F238E27FC236}">
                    <a16:creationId xmlns:a16="http://schemas.microsoft.com/office/drawing/2014/main" id="{0BDA6DED-BFFA-47DB-AE51-CE75E72DC4DB}"/>
                  </a:ext>
                </a:extLst>
              </p:cNvPr>
              <p:cNvSpPr/>
              <p:nvPr/>
            </p:nvSpPr>
            <p:spPr>
              <a:xfrm>
                <a:off x="7943557" y="3857488"/>
                <a:ext cx="18356" cy="18435"/>
              </a:xfrm>
              <a:custGeom>
                <a:avLst/>
                <a:gdLst>
                  <a:gd name="connsiteX0" fmla="*/ 7115 w 18356"/>
                  <a:gd name="connsiteY0" fmla="*/ 18180 h 18435"/>
                  <a:gd name="connsiteX1" fmla="*/ 18120 w 18356"/>
                  <a:gd name="connsiteY1" fmla="*/ 11302 h 18435"/>
                  <a:gd name="connsiteX2" fmla="*/ 11242 w 18356"/>
                  <a:gd name="connsiteY2" fmla="*/ 237 h 18435"/>
                  <a:gd name="connsiteX3" fmla="*/ 237 w 18356"/>
                  <a:gd name="connsiteY3" fmla="*/ 7115 h 18435"/>
                  <a:gd name="connsiteX4" fmla="*/ 7115 w 18356"/>
                  <a:gd name="connsiteY4" fmla="*/ 1818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5">
                    <a:moveTo>
                      <a:pt x="7115" y="18180"/>
                    </a:moveTo>
                    <a:cubicBezTo>
                      <a:pt x="12019" y="19376"/>
                      <a:pt x="16983" y="16266"/>
                      <a:pt x="18120" y="11302"/>
                    </a:cubicBezTo>
                    <a:cubicBezTo>
                      <a:pt x="19256" y="6338"/>
                      <a:pt x="16206" y="1374"/>
                      <a:pt x="11242" y="237"/>
                    </a:cubicBezTo>
                    <a:cubicBezTo>
                      <a:pt x="6278" y="-899"/>
                      <a:pt x="1373" y="2151"/>
                      <a:pt x="237" y="7115"/>
                    </a:cubicBezTo>
                    <a:cubicBezTo>
                      <a:pt x="-899" y="12019"/>
                      <a:pt x="2151" y="16983"/>
                      <a:pt x="7115" y="18180"/>
                    </a:cubicBezTo>
                    <a:close/>
                  </a:path>
                </a:pathLst>
              </a:custGeom>
              <a:grpFill/>
              <a:ln w="5978" cap="flat">
                <a:noFill/>
                <a:prstDash val="solid"/>
                <a:miter/>
              </a:ln>
            </p:spPr>
            <p:txBody>
              <a:bodyPr rtlCol="0" anchor="ctr"/>
              <a:lstStyle/>
              <a:p>
                <a:endParaRPr lang="en-GB"/>
              </a:p>
            </p:txBody>
          </p:sp>
        </p:grpSp>
        <p:grpSp>
          <p:nvGrpSpPr>
            <p:cNvPr id="220" name="Graphic 3">
              <a:extLst>
                <a:ext uri="{FF2B5EF4-FFF2-40B4-BE49-F238E27FC236}">
                  <a16:creationId xmlns:a16="http://schemas.microsoft.com/office/drawing/2014/main" id="{6C550E7B-ABCE-469E-AF63-BA677BB6E890}"/>
                </a:ext>
              </a:extLst>
            </p:cNvPr>
            <p:cNvGrpSpPr/>
            <p:nvPr/>
          </p:nvGrpSpPr>
          <p:grpSpPr>
            <a:xfrm>
              <a:off x="7710470" y="3673682"/>
              <a:ext cx="359269" cy="109598"/>
              <a:chOff x="7710470" y="3673682"/>
              <a:chExt cx="359269" cy="109598"/>
            </a:xfrm>
            <a:grpFill/>
          </p:grpSpPr>
          <p:sp>
            <p:nvSpPr>
              <p:cNvPr id="4719" name="Vrije vorm: vorm 4718">
                <a:extLst>
                  <a:ext uri="{FF2B5EF4-FFF2-40B4-BE49-F238E27FC236}">
                    <a16:creationId xmlns:a16="http://schemas.microsoft.com/office/drawing/2014/main" id="{238302EF-FC8B-42BA-A432-7CB0640B8C8B}"/>
                  </a:ext>
                </a:extLst>
              </p:cNvPr>
              <p:cNvSpPr/>
              <p:nvPr/>
            </p:nvSpPr>
            <p:spPr>
              <a:xfrm>
                <a:off x="7718799" y="3681294"/>
                <a:ext cx="342575" cy="94375"/>
              </a:xfrm>
              <a:custGeom>
                <a:avLst/>
                <a:gdLst>
                  <a:gd name="connsiteX0" fmla="*/ 342575 w 342575"/>
                  <a:gd name="connsiteY0" fmla="*/ 91385 h 94375"/>
                  <a:gd name="connsiteX1" fmla="*/ 341798 w 342575"/>
                  <a:gd name="connsiteY1" fmla="*/ 94376 h 94375"/>
                  <a:gd name="connsiteX2" fmla="*/ 0 w 342575"/>
                  <a:gd name="connsiteY2" fmla="*/ 2990 h 94375"/>
                  <a:gd name="connsiteX3" fmla="*/ 778 w 342575"/>
                  <a:gd name="connsiteY3" fmla="*/ 0 h 94375"/>
                </a:gdLst>
                <a:ahLst/>
                <a:cxnLst>
                  <a:cxn ang="0">
                    <a:pos x="connsiteX0" y="connsiteY0"/>
                  </a:cxn>
                  <a:cxn ang="0">
                    <a:pos x="connsiteX1" y="connsiteY1"/>
                  </a:cxn>
                  <a:cxn ang="0">
                    <a:pos x="connsiteX2" y="connsiteY2"/>
                  </a:cxn>
                  <a:cxn ang="0">
                    <a:pos x="connsiteX3" y="connsiteY3"/>
                  </a:cxn>
                </a:cxnLst>
                <a:rect l="l" t="t" r="r" b="b"/>
                <a:pathLst>
                  <a:path w="342575" h="94375">
                    <a:moveTo>
                      <a:pt x="342575" y="91385"/>
                    </a:moveTo>
                    <a:lnTo>
                      <a:pt x="341798" y="94376"/>
                    </a:lnTo>
                    <a:lnTo>
                      <a:pt x="0" y="2990"/>
                    </a:lnTo>
                    <a:lnTo>
                      <a:pt x="778" y="0"/>
                    </a:lnTo>
                    <a:close/>
                  </a:path>
                </a:pathLst>
              </a:custGeom>
              <a:grpFill/>
              <a:ln w="5978" cap="flat">
                <a:noFill/>
                <a:prstDash val="solid"/>
                <a:miter/>
              </a:ln>
            </p:spPr>
            <p:txBody>
              <a:bodyPr rtlCol="0" anchor="ctr"/>
              <a:lstStyle/>
              <a:p>
                <a:endParaRPr lang="en-GB"/>
              </a:p>
            </p:txBody>
          </p:sp>
          <p:sp>
            <p:nvSpPr>
              <p:cNvPr id="4720" name="Vrije vorm: vorm 4719">
                <a:extLst>
                  <a:ext uri="{FF2B5EF4-FFF2-40B4-BE49-F238E27FC236}">
                    <a16:creationId xmlns:a16="http://schemas.microsoft.com/office/drawing/2014/main" id="{35A09077-DCFD-4AE3-A0BB-5BF4955DD4AB}"/>
                  </a:ext>
                </a:extLst>
              </p:cNvPr>
              <p:cNvSpPr/>
              <p:nvPr/>
            </p:nvSpPr>
            <p:spPr>
              <a:xfrm>
                <a:off x="7710470" y="3673682"/>
                <a:ext cx="18332" cy="18451"/>
              </a:xfrm>
              <a:custGeom>
                <a:avLst/>
                <a:gdLst>
                  <a:gd name="connsiteX0" fmla="*/ 6834 w 18332"/>
                  <a:gd name="connsiteY0" fmla="*/ 18137 h 18451"/>
                  <a:gd name="connsiteX1" fmla="*/ 315 w 18332"/>
                  <a:gd name="connsiteY1" fmla="*/ 6834 h 18451"/>
                  <a:gd name="connsiteX2" fmla="*/ 11499 w 18332"/>
                  <a:gd name="connsiteY2" fmla="*/ 315 h 18451"/>
                  <a:gd name="connsiteX3" fmla="*/ 18018 w 18332"/>
                  <a:gd name="connsiteY3" fmla="*/ 11559 h 18451"/>
                  <a:gd name="connsiteX4" fmla="*/ 6834 w 18332"/>
                  <a:gd name="connsiteY4" fmla="*/ 1813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1">
                    <a:moveTo>
                      <a:pt x="6834" y="18137"/>
                    </a:moveTo>
                    <a:cubicBezTo>
                      <a:pt x="1930" y="16822"/>
                      <a:pt x="-1001" y="11798"/>
                      <a:pt x="315" y="6834"/>
                    </a:cubicBezTo>
                    <a:cubicBezTo>
                      <a:pt x="1571" y="1930"/>
                      <a:pt x="6595" y="-1001"/>
                      <a:pt x="11499" y="315"/>
                    </a:cubicBezTo>
                    <a:cubicBezTo>
                      <a:pt x="16403" y="1631"/>
                      <a:pt x="19334" y="6654"/>
                      <a:pt x="18018" y="11559"/>
                    </a:cubicBezTo>
                    <a:cubicBezTo>
                      <a:pt x="16703" y="16523"/>
                      <a:pt x="11738" y="19453"/>
                      <a:pt x="6834" y="18137"/>
                    </a:cubicBezTo>
                    <a:close/>
                  </a:path>
                </a:pathLst>
              </a:custGeom>
              <a:grpFill/>
              <a:ln w="5978" cap="flat">
                <a:noFill/>
                <a:prstDash val="solid"/>
                <a:miter/>
              </a:ln>
            </p:spPr>
            <p:txBody>
              <a:bodyPr rtlCol="0" anchor="ctr"/>
              <a:lstStyle/>
              <a:p>
                <a:endParaRPr lang="en-GB"/>
              </a:p>
            </p:txBody>
          </p:sp>
          <p:sp>
            <p:nvSpPr>
              <p:cNvPr id="4721" name="Vrije vorm: vorm 4720">
                <a:extLst>
                  <a:ext uri="{FF2B5EF4-FFF2-40B4-BE49-F238E27FC236}">
                    <a16:creationId xmlns:a16="http://schemas.microsoft.com/office/drawing/2014/main" id="{22EE8767-2776-4CD5-8D1D-8707C8FD3E7E}"/>
                  </a:ext>
                </a:extLst>
              </p:cNvPr>
              <p:cNvSpPr/>
              <p:nvPr/>
            </p:nvSpPr>
            <p:spPr>
              <a:xfrm>
                <a:off x="8051431" y="3764888"/>
                <a:ext cx="18308" cy="18392"/>
              </a:xfrm>
              <a:custGeom>
                <a:avLst/>
                <a:gdLst>
                  <a:gd name="connsiteX0" fmla="*/ 6834 w 18308"/>
                  <a:gd name="connsiteY0" fmla="*/ 18078 h 18392"/>
                  <a:gd name="connsiteX1" fmla="*/ 18018 w 18308"/>
                  <a:gd name="connsiteY1" fmla="*/ 11559 h 18392"/>
                  <a:gd name="connsiteX2" fmla="*/ 11499 w 18308"/>
                  <a:gd name="connsiteY2" fmla="*/ 315 h 18392"/>
                  <a:gd name="connsiteX3" fmla="*/ 315 w 18308"/>
                  <a:gd name="connsiteY3" fmla="*/ 6834 h 18392"/>
                  <a:gd name="connsiteX4" fmla="*/ 6834 w 18308"/>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392">
                    <a:moveTo>
                      <a:pt x="6834" y="18078"/>
                    </a:moveTo>
                    <a:cubicBezTo>
                      <a:pt x="11738" y="19393"/>
                      <a:pt x="16762" y="16463"/>
                      <a:pt x="18018" y="11559"/>
                    </a:cubicBezTo>
                    <a:cubicBezTo>
                      <a:pt x="19274" y="6654"/>
                      <a:pt x="16343" y="1571"/>
                      <a:pt x="11499" y="315"/>
                    </a:cubicBezTo>
                    <a:cubicBezTo>
                      <a:pt x="6595" y="-1001"/>
                      <a:pt x="1571" y="1930"/>
                      <a:pt x="315" y="6834"/>
                    </a:cubicBezTo>
                    <a:cubicBezTo>
                      <a:pt x="-1001" y="11678"/>
                      <a:pt x="1930" y="16762"/>
                      <a:pt x="6834" y="18078"/>
                    </a:cubicBezTo>
                    <a:close/>
                  </a:path>
                </a:pathLst>
              </a:custGeom>
              <a:grpFill/>
              <a:ln w="5978" cap="flat">
                <a:noFill/>
                <a:prstDash val="solid"/>
                <a:miter/>
              </a:ln>
            </p:spPr>
            <p:txBody>
              <a:bodyPr rtlCol="0" anchor="ctr"/>
              <a:lstStyle/>
              <a:p>
                <a:endParaRPr lang="en-GB"/>
              </a:p>
            </p:txBody>
          </p:sp>
        </p:grpSp>
        <p:grpSp>
          <p:nvGrpSpPr>
            <p:cNvPr id="221" name="Graphic 3">
              <a:extLst>
                <a:ext uri="{FF2B5EF4-FFF2-40B4-BE49-F238E27FC236}">
                  <a16:creationId xmlns:a16="http://schemas.microsoft.com/office/drawing/2014/main" id="{7B3E8599-148F-41AE-A7EB-6D2176D4C15E}"/>
                </a:ext>
              </a:extLst>
            </p:cNvPr>
            <p:cNvGrpSpPr/>
            <p:nvPr/>
          </p:nvGrpSpPr>
          <p:grpSpPr>
            <a:xfrm>
              <a:off x="7185485" y="1669739"/>
              <a:ext cx="78433" cy="105438"/>
              <a:chOff x="7185485" y="1669739"/>
              <a:chExt cx="78433" cy="105438"/>
            </a:xfrm>
            <a:grpFill/>
          </p:grpSpPr>
          <p:sp>
            <p:nvSpPr>
              <p:cNvPr id="4716" name="Vrije vorm: vorm 4715">
                <a:extLst>
                  <a:ext uri="{FF2B5EF4-FFF2-40B4-BE49-F238E27FC236}">
                    <a16:creationId xmlns:a16="http://schemas.microsoft.com/office/drawing/2014/main" id="{647E69B8-B148-4AD6-A34E-57653489DBC1}"/>
                  </a:ext>
                </a:extLst>
              </p:cNvPr>
              <p:cNvSpPr/>
              <p:nvPr/>
            </p:nvSpPr>
            <p:spPr>
              <a:xfrm>
                <a:off x="7193154" y="1677692"/>
                <a:ext cx="63096" cy="89531"/>
              </a:xfrm>
              <a:custGeom>
                <a:avLst/>
                <a:gdLst>
                  <a:gd name="connsiteX0" fmla="*/ 63096 w 63096"/>
                  <a:gd name="connsiteY0" fmla="*/ 1734 h 89531"/>
                  <a:gd name="connsiteX1" fmla="*/ 2511 w 63096"/>
                  <a:gd name="connsiteY1" fmla="*/ 89531 h 89531"/>
                  <a:gd name="connsiteX2" fmla="*/ 0 w 63096"/>
                  <a:gd name="connsiteY2" fmla="*/ 87797 h 89531"/>
                  <a:gd name="connsiteX3" fmla="*/ 60585 w 63096"/>
                  <a:gd name="connsiteY3" fmla="*/ 0 h 89531"/>
                </a:gdLst>
                <a:ahLst/>
                <a:cxnLst>
                  <a:cxn ang="0">
                    <a:pos x="connsiteX0" y="connsiteY0"/>
                  </a:cxn>
                  <a:cxn ang="0">
                    <a:pos x="connsiteX1" y="connsiteY1"/>
                  </a:cxn>
                  <a:cxn ang="0">
                    <a:pos x="connsiteX2" y="connsiteY2"/>
                  </a:cxn>
                  <a:cxn ang="0">
                    <a:pos x="connsiteX3" y="connsiteY3"/>
                  </a:cxn>
                </a:cxnLst>
                <a:rect l="l" t="t" r="r" b="b"/>
                <a:pathLst>
                  <a:path w="63096" h="89531">
                    <a:moveTo>
                      <a:pt x="63096" y="1734"/>
                    </a:moveTo>
                    <a:lnTo>
                      <a:pt x="2511" y="89531"/>
                    </a:lnTo>
                    <a:lnTo>
                      <a:pt x="0" y="87797"/>
                    </a:lnTo>
                    <a:lnTo>
                      <a:pt x="60585" y="0"/>
                    </a:lnTo>
                    <a:close/>
                  </a:path>
                </a:pathLst>
              </a:custGeom>
              <a:grpFill/>
              <a:ln w="5978" cap="flat">
                <a:noFill/>
                <a:prstDash val="solid"/>
                <a:miter/>
              </a:ln>
            </p:spPr>
            <p:txBody>
              <a:bodyPr rtlCol="0" anchor="ctr"/>
              <a:lstStyle/>
              <a:p>
                <a:endParaRPr lang="en-GB"/>
              </a:p>
            </p:txBody>
          </p:sp>
          <p:sp>
            <p:nvSpPr>
              <p:cNvPr id="4717" name="Vrije vorm: vorm 4716">
                <a:extLst>
                  <a:ext uri="{FF2B5EF4-FFF2-40B4-BE49-F238E27FC236}">
                    <a16:creationId xmlns:a16="http://schemas.microsoft.com/office/drawing/2014/main" id="{7DD0A631-E961-4DCF-AC05-D3DD6B501918}"/>
                  </a:ext>
                </a:extLst>
              </p:cNvPr>
              <p:cNvSpPr/>
              <p:nvPr/>
            </p:nvSpPr>
            <p:spPr>
              <a:xfrm>
                <a:off x="7185485" y="1756758"/>
                <a:ext cx="18353" cy="18419"/>
              </a:xfrm>
              <a:custGeom>
                <a:avLst/>
                <a:gdLst>
                  <a:gd name="connsiteX0" fmla="*/ 16700 w 18353"/>
                  <a:gd name="connsiteY0" fmla="*/ 14473 h 18419"/>
                  <a:gd name="connsiteX1" fmla="*/ 3961 w 18353"/>
                  <a:gd name="connsiteY1" fmla="*/ 16745 h 18419"/>
                  <a:gd name="connsiteX2" fmla="*/ 1628 w 18353"/>
                  <a:gd name="connsiteY2" fmla="*/ 3947 h 18419"/>
                  <a:gd name="connsiteX3" fmla="*/ 14367 w 18353"/>
                  <a:gd name="connsiteY3" fmla="*/ 1674 h 18419"/>
                  <a:gd name="connsiteX4" fmla="*/ 16700 w 18353"/>
                  <a:gd name="connsiteY4" fmla="*/ 14473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9">
                    <a:moveTo>
                      <a:pt x="16700" y="14473"/>
                    </a:moveTo>
                    <a:cubicBezTo>
                      <a:pt x="13829" y="18659"/>
                      <a:pt x="8087" y="19676"/>
                      <a:pt x="3961" y="16745"/>
                    </a:cubicBezTo>
                    <a:cubicBezTo>
                      <a:pt x="-226" y="13815"/>
                      <a:pt x="-1243" y="8073"/>
                      <a:pt x="1628" y="3947"/>
                    </a:cubicBezTo>
                    <a:cubicBezTo>
                      <a:pt x="4499" y="-240"/>
                      <a:pt x="10240" y="-1257"/>
                      <a:pt x="14367" y="1674"/>
                    </a:cubicBezTo>
                    <a:cubicBezTo>
                      <a:pt x="18553" y="4604"/>
                      <a:pt x="19630" y="10346"/>
                      <a:pt x="16700" y="14473"/>
                    </a:cubicBezTo>
                    <a:close/>
                  </a:path>
                </a:pathLst>
              </a:custGeom>
              <a:grpFill/>
              <a:ln w="5978" cap="flat">
                <a:noFill/>
                <a:prstDash val="solid"/>
                <a:miter/>
              </a:ln>
            </p:spPr>
            <p:txBody>
              <a:bodyPr rtlCol="0" anchor="ctr"/>
              <a:lstStyle/>
              <a:p>
                <a:endParaRPr lang="en-GB"/>
              </a:p>
            </p:txBody>
          </p:sp>
          <p:sp>
            <p:nvSpPr>
              <p:cNvPr id="4718" name="Vrije vorm: vorm 4717">
                <a:extLst>
                  <a:ext uri="{FF2B5EF4-FFF2-40B4-BE49-F238E27FC236}">
                    <a16:creationId xmlns:a16="http://schemas.microsoft.com/office/drawing/2014/main" id="{D853FD72-B774-4ABB-82BE-0F512F36BDFC}"/>
                  </a:ext>
                </a:extLst>
              </p:cNvPr>
              <p:cNvSpPr/>
              <p:nvPr/>
            </p:nvSpPr>
            <p:spPr>
              <a:xfrm>
                <a:off x="7245591" y="1669739"/>
                <a:ext cx="18327" cy="18419"/>
              </a:xfrm>
              <a:custGeom>
                <a:avLst/>
                <a:gdLst>
                  <a:gd name="connsiteX0" fmla="*/ 16699 w 18327"/>
                  <a:gd name="connsiteY0" fmla="*/ 14473 h 18419"/>
                  <a:gd name="connsiteX1" fmla="*/ 14367 w 18327"/>
                  <a:gd name="connsiteY1" fmla="*/ 1674 h 18419"/>
                  <a:gd name="connsiteX2" fmla="*/ 1628 w 18327"/>
                  <a:gd name="connsiteY2" fmla="*/ 3947 h 18419"/>
                  <a:gd name="connsiteX3" fmla="*/ 3960 w 18327"/>
                  <a:gd name="connsiteY3" fmla="*/ 16745 h 18419"/>
                  <a:gd name="connsiteX4" fmla="*/ 16699 w 18327"/>
                  <a:gd name="connsiteY4" fmla="*/ 14473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699" y="14473"/>
                    </a:moveTo>
                    <a:cubicBezTo>
                      <a:pt x="19571" y="10286"/>
                      <a:pt x="18554" y="4545"/>
                      <a:pt x="14367" y="1674"/>
                    </a:cubicBezTo>
                    <a:cubicBezTo>
                      <a:pt x="10180" y="-1257"/>
                      <a:pt x="4499" y="-240"/>
                      <a:pt x="1628" y="3947"/>
                    </a:cubicBezTo>
                    <a:cubicBezTo>
                      <a:pt x="-1243" y="8133"/>
                      <a:pt x="-226" y="13875"/>
                      <a:pt x="3960" y="16745"/>
                    </a:cubicBezTo>
                    <a:cubicBezTo>
                      <a:pt x="8087" y="19676"/>
                      <a:pt x="13829" y="18659"/>
                      <a:pt x="16699" y="14473"/>
                    </a:cubicBezTo>
                    <a:close/>
                  </a:path>
                </a:pathLst>
              </a:custGeom>
              <a:grpFill/>
              <a:ln w="5978" cap="flat">
                <a:noFill/>
                <a:prstDash val="solid"/>
                <a:miter/>
              </a:ln>
            </p:spPr>
            <p:txBody>
              <a:bodyPr rtlCol="0" anchor="ctr"/>
              <a:lstStyle/>
              <a:p>
                <a:endParaRPr lang="en-GB"/>
              </a:p>
            </p:txBody>
          </p:sp>
        </p:grpSp>
        <p:grpSp>
          <p:nvGrpSpPr>
            <p:cNvPr id="222" name="Graphic 3">
              <a:extLst>
                <a:ext uri="{FF2B5EF4-FFF2-40B4-BE49-F238E27FC236}">
                  <a16:creationId xmlns:a16="http://schemas.microsoft.com/office/drawing/2014/main" id="{25BF5A8E-DABF-44C8-9C7C-3C9B3E85FFD0}"/>
                </a:ext>
              </a:extLst>
            </p:cNvPr>
            <p:cNvGrpSpPr/>
            <p:nvPr/>
          </p:nvGrpSpPr>
          <p:grpSpPr>
            <a:xfrm>
              <a:off x="7444175" y="2438932"/>
              <a:ext cx="59981" cy="46502"/>
              <a:chOff x="7444175" y="2438932"/>
              <a:chExt cx="59981" cy="46502"/>
            </a:xfrm>
            <a:grpFill/>
          </p:grpSpPr>
          <p:sp>
            <p:nvSpPr>
              <p:cNvPr id="4713" name="Vrije vorm: vorm 4712">
                <a:extLst>
                  <a:ext uri="{FF2B5EF4-FFF2-40B4-BE49-F238E27FC236}">
                    <a16:creationId xmlns:a16="http://schemas.microsoft.com/office/drawing/2014/main" id="{39B3C4FA-E16B-45FF-9B58-4A1D328AD6DA}"/>
                  </a:ext>
                </a:extLst>
              </p:cNvPr>
              <p:cNvSpPr/>
              <p:nvPr/>
            </p:nvSpPr>
            <p:spPr>
              <a:xfrm>
                <a:off x="7452118" y="2446634"/>
                <a:ext cx="44077" cy="31039"/>
              </a:xfrm>
              <a:custGeom>
                <a:avLst/>
                <a:gdLst>
                  <a:gd name="connsiteX0" fmla="*/ 44078 w 44077"/>
                  <a:gd name="connsiteY0" fmla="*/ 2572 h 31039"/>
                  <a:gd name="connsiteX1" fmla="*/ 1675 w 44077"/>
                  <a:gd name="connsiteY1" fmla="*/ 31040 h 31039"/>
                  <a:gd name="connsiteX2" fmla="*/ 0 w 44077"/>
                  <a:gd name="connsiteY2" fmla="*/ 28528 h 31039"/>
                  <a:gd name="connsiteX3" fmla="*/ 42404 w 44077"/>
                  <a:gd name="connsiteY3" fmla="*/ 0 h 31039"/>
                </a:gdLst>
                <a:ahLst/>
                <a:cxnLst>
                  <a:cxn ang="0">
                    <a:pos x="connsiteX0" y="connsiteY0"/>
                  </a:cxn>
                  <a:cxn ang="0">
                    <a:pos x="connsiteX1" y="connsiteY1"/>
                  </a:cxn>
                  <a:cxn ang="0">
                    <a:pos x="connsiteX2" y="connsiteY2"/>
                  </a:cxn>
                  <a:cxn ang="0">
                    <a:pos x="connsiteX3" y="connsiteY3"/>
                  </a:cxn>
                </a:cxnLst>
                <a:rect l="l" t="t" r="r" b="b"/>
                <a:pathLst>
                  <a:path w="44077" h="31039">
                    <a:moveTo>
                      <a:pt x="44078" y="2572"/>
                    </a:moveTo>
                    <a:lnTo>
                      <a:pt x="1675" y="31040"/>
                    </a:lnTo>
                    <a:lnTo>
                      <a:pt x="0" y="28528"/>
                    </a:lnTo>
                    <a:lnTo>
                      <a:pt x="42404" y="0"/>
                    </a:lnTo>
                    <a:close/>
                  </a:path>
                </a:pathLst>
              </a:custGeom>
              <a:grpFill/>
              <a:ln w="5978" cap="flat">
                <a:noFill/>
                <a:prstDash val="solid"/>
                <a:miter/>
              </a:ln>
            </p:spPr>
            <p:txBody>
              <a:bodyPr rtlCol="0" anchor="ctr"/>
              <a:lstStyle/>
              <a:p>
                <a:endParaRPr lang="en-GB"/>
              </a:p>
            </p:txBody>
          </p:sp>
          <p:sp>
            <p:nvSpPr>
              <p:cNvPr id="4714" name="Vrije vorm: vorm 4713">
                <a:extLst>
                  <a:ext uri="{FF2B5EF4-FFF2-40B4-BE49-F238E27FC236}">
                    <a16:creationId xmlns:a16="http://schemas.microsoft.com/office/drawing/2014/main" id="{0A2E4E82-3404-4BCA-9AD9-99CF1BAE75E7}"/>
                  </a:ext>
                </a:extLst>
              </p:cNvPr>
              <p:cNvSpPr/>
              <p:nvPr/>
            </p:nvSpPr>
            <p:spPr>
              <a:xfrm>
                <a:off x="7485774" y="2438932"/>
                <a:ext cx="18381" cy="18453"/>
              </a:xfrm>
              <a:custGeom>
                <a:avLst/>
                <a:gdLst>
                  <a:gd name="connsiteX0" fmla="*/ 4083 w 18381"/>
                  <a:gd name="connsiteY0" fmla="*/ 1541 h 18453"/>
                  <a:gd name="connsiteX1" fmla="*/ 16822 w 18381"/>
                  <a:gd name="connsiteY1" fmla="*/ 4113 h 18453"/>
                  <a:gd name="connsiteX2" fmla="*/ 14310 w 18381"/>
                  <a:gd name="connsiteY2" fmla="*/ 16912 h 18453"/>
                  <a:gd name="connsiteX3" fmla="*/ 1571 w 18381"/>
                  <a:gd name="connsiteY3" fmla="*/ 14340 h 18453"/>
                  <a:gd name="connsiteX4" fmla="*/ 4083 w 18381"/>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53">
                    <a:moveTo>
                      <a:pt x="4083" y="1541"/>
                    </a:moveTo>
                    <a:cubicBezTo>
                      <a:pt x="8269" y="-1270"/>
                      <a:pt x="13951" y="-133"/>
                      <a:pt x="16822" y="4113"/>
                    </a:cubicBezTo>
                    <a:cubicBezTo>
                      <a:pt x="19632" y="8359"/>
                      <a:pt x="18556" y="14041"/>
                      <a:pt x="14310" y="16912"/>
                    </a:cubicBezTo>
                    <a:cubicBezTo>
                      <a:pt x="10123" y="19723"/>
                      <a:pt x="4441" y="18587"/>
                      <a:pt x="1571" y="14340"/>
                    </a:cubicBezTo>
                    <a:cubicBezTo>
                      <a:pt x="-1300" y="10094"/>
                      <a:pt x="-103" y="4412"/>
                      <a:pt x="4083" y="1541"/>
                    </a:cubicBezTo>
                    <a:close/>
                  </a:path>
                </a:pathLst>
              </a:custGeom>
              <a:grpFill/>
              <a:ln w="5978" cap="flat">
                <a:noFill/>
                <a:prstDash val="solid"/>
                <a:miter/>
              </a:ln>
            </p:spPr>
            <p:txBody>
              <a:bodyPr rtlCol="0" anchor="ctr"/>
              <a:lstStyle/>
              <a:p>
                <a:endParaRPr lang="en-GB"/>
              </a:p>
            </p:txBody>
          </p:sp>
          <p:sp>
            <p:nvSpPr>
              <p:cNvPr id="4715" name="Vrije vorm: vorm 4714">
                <a:extLst>
                  <a:ext uri="{FF2B5EF4-FFF2-40B4-BE49-F238E27FC236}">
                    <a16:creationId xmlns:a16="http://schemas.microsoft.com/office/drawing/2014/main" id="{AF56CAAA-9E6B-460A-A5FC-D367C31AE6A6}"/>
                  </a:ext>
                </a:extLst>
              </p:cNvPr>
              <p:cNvSpPr/>
              <p:nvPr/>
            </p:nvSpPr>
            <p:spPr>
              <a:xfrm>
                <a:off x="7444175" y="2466940"/>
                <a:ext cx="18339" cy="18495"/>
              </a:xfrm>
              <a:custGeom>
                <a:avLst/>
                <a:gdLst>
                  <a:gd name="connsiteX0" fmla="*/ 4057 w 18339"/>
                  <a:gd name="connsiteY0" fmla="*/ 1583 h 18495"/>
                  <a:gd name="connsiteX1" fmla="*/ 1544 w 18339"/>
                  <a:gd name="connsiteY1" fmla="*/ 14382 h 18495"/>
                  <a:gd name="connsiteX2" fmla="*/ 14283 w 18339"/>
                  <a:gd name="connsiteY2" fmla="*/ 16954 h 18495"/>
                  <a:gd name="connsiteX3" fmla="*/ 16796 w 18339"/>
                  <a:gd name="connsiteY3" fmla="*/ 4155 h 18495"/>
                  <a:gd name="connsiteX4" fmla="*/ 4057 w 18339"/>
                  <a:gd name="connsiteY4" fmla="*/ 1583 h 18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95">
                    <a:moveTo>
                      <a:pt x="4057" y="1583"/>
                    </a:moveTo>
                    <a:cubicBezTo>
                      <a:pt x="-130" y="4394"/>
                      <a:pt x="-1266" y="10136"/>
                      <a:pt x="1544" y="14382"/>
                    </a:cubicBezTo>
                    <a:cubicBezTo>
                      <a:pt x="4355" y="18628"/>
                      <a:pt x="10097" y="19765"/>
                      <a:pt x="14283" y="16954"/>
                    </a:cubicBezTo>
                    <a:cubicBezTo>
                      <a:pt x="18470" y="14143"/>
                      <a:pt x="19606" y="8401"/>
                      <a:pt x="16796" y="4155"/>
                    </a:cubicBezTo>
                    <a:cubicBezTo>
                      <a:pt x="13924" y="-151"/>
                      <a:pt x="8243" y="-1287"/>
                      <a:pt x="4057" y="1583"/>
                    </a:cubicBezTo>
                    <a:close/>
                  </a:path>
                </a:pathLst>
              </a:custGeom>
              <a:grpFill/>
              <a:ln w="5978" cap="flat">
                <a:noFill/>
                <a:prstDash val="solid"/>
                <a:miter/>
              </a:ln>
            </p:spPr>
            <p:txBody>
              <a:bodyPr rtlCol="0" anchor="ctr"/>
              <a:lstStyle/>
              <a:p>
                <a:endParaRPr lang="en-GB"/>
              </a:p>
            </p:txBody>
          </p:sp>
        </p:grpSp>
        <p:grpSp>
          <p:nvGrpSpPr>
            <p:cNvPr id="223" name="Graphic 3">
              <a:extLst>
                <a:ext uri="{FF2B5EF4-FFF2-40B4-BE49-F238E27FC236}">
                  <a16:creationId xmlns:a16="http://schemas.microsoft.com/office/drawing/2014/main" id="{96CEEF0D-4D37-4DB3-BEA1-598B927F9616}"/>
                </a:ext>
              </a:extLst>
            </p:cNvPr>
            <p:cNvGrpSpPr/>
            <p:nvPr/>
          </p:nvGrpSpPr>
          <p:grpSpPr>
            <a:xfrm>
              <a:off x="7201354" y="1881497"/>
              <a:ext cx="191583" cy="217376"/>
              <a:chOff x="7201354" y="1881497"/>
              <a:chExt cx="191583" cy="217376"/>
            </a:xfrm>
            <a:grpFill/>
          </p:grpSpPr>
          <p:sp>
            <p:nvSpPr>
              <p:cNvPr id="4710" name="Vrije vorm: vorm 4709">
                <a:extLst>
                  <a:ext uri="{FF2B5EF4-FFF2-40B4-BE49-F238E27FC236}">
                    <a16:creationId xmlns:a16="http://schemas.microsoft.com/office/drawing/2014/main" id="{FD7694FB-BCCB-46BB-A967-7806F26AA78F}"/>
                  </a:ext>
                </a:extLst>
              </p:cNvPr>
              <p:cNvSpPr/>
              <p:nvPr/>
            </p:nvSpPr>
            <p:spPr>
              <a:xfrm>
                <a:off x="7209122" y="1889350"/>
                <a:ext cx="176132" cy="201729"/>
              </a:xfrm>
              <a:custGeom>
                <a:avLst/>
                <a:gdLst>
                  <a:gd name="connsiteX0" fmla="*/ 176133 w 176132"/>
                  <a:gd name="connsiteY0" fmla="*/ 2034 h 201729"/>
                  <a:gd name="connsiteX1" fmla="*/ 2273 w 176132"/>
                  <a:gd name="connsiteY1" fmla="*/ 201730 h 201729"/>
                  <a:gd name="connsiteX2" fmla="*/ 0 w 176132"/>
                  <a:gd name="connsiteY2" fmla="*/ 199696 h 201729"/>
                  <a:gd name="connsiteX3" fmla="*/ 173800 w 176132"/>
                  <a:gd name="connsiteY3" fmla="*/ 0 h 201729"/>
                </a:gdLst>
                <a:ahLst/>
                <a:cxnLst>
                  <a:cxn ang="0">
                    <a:pos x="connsiteX0" y="connsiteY0"/>
                  </a:cxn>
                  <a:cxn ang="0">
                    <a:pos x="connsiteX1" y="connsiteY1"/>
                  </a:cxn>
                  <a:cxn ang="0">
                    <a:pos x="connsiteX2" y="connsiteY2"/>
                  </a:cxn>
                  <a:cxn ang="0">
                    <a:pos x="connsiteX3" y="connsiteY3"/>
                  </a:cxn>
                </a:cxnLst>
                <a:rect l="l" t="t" r="r" b="b"/>
                <a:pathLst>
                  <a:path w="176132" h="201729">
                    <a:moveTo>
                      <a:pt x="176133" y="2034"/>
                    </a:moveTo>
                    <a:lnTo>
                      <a:pt x="2273" y="201730"/>
                    </a:lnTo>
                    <a:lnTo>
                      <a:pt x="0" y="199696"/>
                    </a:lnTo>
                    <a:lnTo>
                      <a:pt x="173800" y="0"/>
                    </a:lnTo>
                    <a:close/>
                  </a:path>
                </a:pathLst>
              </a:custGeom>
              <a:grpFill/>
              <a:ln w="5978" cap="flat">
                <a:noFill/>
                <a:prstDash val="solid"/>
                <a:miter/>
              </a:ln>
            </p:spPr>
            <p:txBody>
              <a:bodyPr rtlCol="0" anchor="ctr"/>
              <a:lstStyle/>
              <a:p>
                <a:endParaRPr lang="en-GB"/>
              </a:p>
            </p:txBody>
          </p:sp>
          <p:sp>
            <p:nvSpPr>
              <p:cNvPr id="4711" name="Vrije vorm: vorm 4710">
                <a:extLst>
                  <a:ext uri="{FF2B5EF4-FFF2-40B4-BE49-F238E27FC236}">
                    <a16:creationId xmlns:a16="http://schemas.microsoft.com/office/drawing/2014/main" id="{9D543DFF-2136-4CCB-9093-4FABDF4F63E6}"/>
                  </a:ext>
                </a:extLst>
              </p:cNvPr>
              <p:cNvSpPr/>
              <p:nvPr/>
            </p:nvSpPr>
            <p:spPr>
              <a:xfrm>
                <a:off x="7374616" y="1881497"/>
                <a:ext cx="18321" cy="18398"/>
              </a:xfrm>
              <a:custGeom>
                <a:avLst/>
                <a:gdLst>
                  <a:gd name="connsiteX0" fmla="*/ 2265 w 18321"/>
                  <a:gd name="connsiteY0" fmla="*/ 3129 h 18398"/>
                  <a:gd name="connsiteX1" fmla="*/ 15184 w 18321"/>
                  <a:gd name="connsiteY1" fmla="*/ 2291 h 18398"/>
                  <a:gd name="connsiteX2" fmla="*/ 16081 w 18321"/>
                  <a:gd name="connsiteY2" fmla="*/ 15269 h 18398"/>
                  <a:gd name="connsiteX3" fmla="*/ 3162 w 18321"/>
                  <a:gd name="connsiteY3" fmla="*/ 16107 h 18398"/>
                  <a:gd name="connsiteX4" fmla="*/ 2265 w 18321"/>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98">
                    <a:moveTo>
                      <a:pt x="2265" y="3129"/>
                    </a:moveTo>
                    <a:cubicBezTo>
                      <a:pt x="5615" y="-699"/>
                      <a:pt x="11356" y="-1058"/>
                      <a:pt x="15184" y="2291"/>
                    </a:cubicBezTo>
                    <a:cubicBezTo>
                      <a:pt x="19011" y="5641"/>
                      <a:pt x="19370" y="11442"/>
                      <a:pt x="16081" y="15269"/>
                    </a:cubicBezTo>
                    <a:cubicBezTo>
                      <a:pt x="12731" y="19097"/>
                      <a:pt x="6990" y="19456"/>
                      <a:pt x="3162" y="16107"/>
                    </a:cubicBezTo>
                    <a:cubicBezTo>
                      <a:pt x="-665" y="12758"/>
                      <a:pt x="-1084" y="6956"/>
                      <a:pt x="2265" y="3129"/>
                    </a:cubicBezTo>
                    <a:close/>
                  </a:path>
                </a:pathLst>
              </a:custGeom>
              <a:grpFill/>
              <a:ln w="5978" cap="flat">
                <a:noFill/>
                <a:prstDash val="solid"/>
                <a:miter/>
              </a:ln>
            </p:spPr>
            <p:txBody>
              <a:bodyPr rtlCol="0" anchor="ctr"/>
              <a:lstStyle/>
              <a:p>
                <a:endParaRPr lang="en-GB"/>
              </a:p>
            </p:txBody>
          </p:sp>
          <p:sp>
            <p:nvSpPr>
              <p:cNvPr id="4712" name="Vrije vorm: vorm 4711">
                <a:extLst>
                  <a:ext uri="{FF2B5EF4-FFF2-40B4-BE49-F238E27FC236}">
                    <a16:creationId xmlns:a16="http://schemas.microsoft.com/office/drawing/2014/main" id="{A3953F85-0588-4409-B9A3-28323C0E5A51}"/>
                  </a:ext>
                </a:extLst>
              </p:cNvPr>
              <p:cNvSpPr/>
              <p:nvPr/>
            </p:nvSpPr>
            <p:spPr>
              <a:xfrm>
                <a:off x="7201354" y="2080475"/>
                <a:ext cx="18346" cy="18398"/>
              </a:xfrm>
              <a:custGeom>
                <a:avLst/>
                <a:gdLst>
                  <a:gd name="connsiteX0" fmla="*/ 2265 w 18346"/>
                  <a:gd name="connsiteY0" fmla="*/ 3129 h 18398"/>
                  <a:gd name="connsiteX1" fmla="*/ 3163 w 18346"/>
                  <a:gd name="connsiteY1" fmla="*/ 16107 h 18398"/>
                  <a:gd name="connsiteX2" fmla="*/ 16081 w 18346"/>
                  <a:gd name="connsiteY2" fmla="*/ 15270 h 18398"/>
                  <a:gd name="connsiteX3" fmla="*/ 15184 w 18346"/>
                  <a:gd name="connsiteY3" fmla="*/ 2291 h 18398"/>
                  <a:gd name="connsiteX4" fmla="*/ 2265 w 18346"/>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8">
                    <a:moveTo>
                      <a:pt x="2265" y="3129"/>
                    </a:moveTo>
                    <a:cubicBezTo>
                      <a:pt x="-1084" y="6956"/>
                      <a:pt x="-665" y="12758"/>
                      <a:pt x="3163" y="16107"/>
                    </a:cubicBezTo>
                    <a:cubicBezTo>
                      <a:pt x="6990" y="19456"/>
                      <a:pt x="12792" y="19097"/>
                      <a:pt x="16081" y="15270"/>
                    </a:cubicBezTo>
                    <a:cubicBezTo>
                      <a:pt x="19430" y="11442"/>
                      <a:pt x="19011" y="5641"/>
                      <a:pt x="15184" y="2291"/>
                    </a:cubicBezTo>
                    <a:cubicBezTo>
                      <a:pt x="11416" y="-1058"/>
                      <a:pt x="5614" y="-699"/>
                      <a:pt x="2265" y="3129"/>
                    </a:cubicBezTo>
                    <a:close/>
                  </a:path>
                </a:pathLst>
              </a:custGeom>
              <a:grpFill/>
              <a:ln w="5978" cap="flat">
                <a:noFill/>
                <a:prstDash val="solid"/>
                <a:miter/>
              </a:ln>
            </p:spPr>
            <p:txBody>
              <a:bodyPr rtlCol="0" anchor="ctr"/>
              <a:lstStyle/>
              <a:p>
                <a:endParaRPr lang="en-GB"/>
              </a:p>
            </p:txBody>
          </p:sp>
        </p:grpSp>
        <p:grpSp>
          <p:nvGrpSpPr>
            <p:cNvPr id="224" name="Graphic 3">
              <a:extLst>
                <a:ext uri="{FF2B5EF4-FFF2-40B4-BE49-F238E27FC236}">
                  <a16:creationId xmlns:a16="http://schemas.microsoft.com/office/drawing/2014/main" id="{25874EE9-6119-4FF8-8668-7DACA6DED71D}"/>
                </a:ext>
              </a:extLst>
            </p:cNvPr>
            <p:cNvGrpSpPr/>
            <p:nvPr/>
          </p:nvGrpSpPr>
          <p:grpSpPr>
            <a:xfrm>
              <a:off x="7283902" y="2137242"/>
              <a:ext cx="165720" cy="153626"/>
              <a:chOff x="7283902" y="2137242"/>
              <a:chExt cx="165720" cy="153626"/>
            </a:xfrm>
            <a:grpFill/>
          </p:grpSpPr>
          <p:sp>
            <p:nvSpPr>
              <p:cNvPr id="4707" name="Vrije vorm: vorm 4706">
                <a:extLst>
                  <a:ext uri="{FF2B5EF4-FFF2-40B4-BE49-F238E27FC236}">
                    <a16:creationId xmlns:a16="http://schemas.microsoft.com/office/drawing/2014/main" id="{FFFDF240-4421-47E8-9D68-6CDA738794F0}"/>
                  </a:ext>
                </a:extLst>
              </p:cNvPr>
              <p:cNvSpPr/>
              <p:nvPr/>
            </p:nvSpPr>
            <p:spPr>
              <a:xfrm>
                <a:off x="7291716" y="2145026"/>
                <a:ext cx="150056" cy="138035"/>
              </a:xfrm>
              <a:custGeom>
                <a:avLst/>
                <a:gdLst>
                  <a:gd name="connsiteX0" fmla="*/ 150056 w 150056"/>
                  <a:gd name="connsiteY0" fmla="*/ 2273 h 138035"/>
                  <a:gd name="connsiteX1" fmla="*/ 2033 w 150056"/>
                  <a:gd name="connsiteY1" fmla="*/ 138035 h 138035"/>
                  <a:gd name="connsiteX2" fmla="*/ 0 w 150056"/>
                  <a:gd name="connsiteY2" fmla="*/ 135762 h 138035"/>
                  <a:gd name="connsiteX3" fmla="*/ 148023 w 150056"/>
                  <a:gd name="connsiteY3" fmla="*/ 0 h 138035"/>
                </a:gdLst>
                <a:ahLst/>
                <a:cxnLst>
                  <a:cxn ang="0">
                    <a:pos x="connsiteX0" y="connsiteY0"/>
                  </a:cxn>
                  <a:cxn ang="0">
                    <a:pos x="connsiteX1" y="connsiteY1"/>
                  </a:cxn>
                  <a:cxn ang="0">
                    <a:pos x="connsiteX2" y="connsiteY2"/>
                  </a:cxn>
                  <a:cxn ang="0">
                    <a:pos x="connsiteX3" y="connsiteY3"/>
                  </a:cxn>
                </a:cxnLst>
                <a:rect l="l" t="t" r="r" b="b"/>
                <a:pathLst>
                  <a:path w="150056" h="138035">
                    <a:moveTo>
                      <a:pt x="150056" y="2273"/>
                    </a:moveTo>
                    <a:lnTo>
                      <a:pt x="2033" y="138035"/>
                    </a:lnTo>
                    <a:lnTo>
                      <a:pt x="0" y="135762"/>
                    </a:lnTo>
                    <a:lnTo>
                      <a:pt x="148023" y="0"/>
                    </a:lnTo>
                    <a:close/>
                  </a:path>
                </a:pathLst>
              </a:custGeom>
              <a:grpFill/>
              <a:ln w="5978" cap="flat">
                <a:noFill/>
                <a:prstDash val="solid"/>
                <a:miter/>
              </a:ln>
            </p:spPr>
            <p:txBody>
              <a:bodyPr rtlCol="0" anchor="ctr"/>
              <a:lstStyle/>
              <a:p>
                <a:endParaRPr lang="en-GB"/>
              </a:p>
            </p:txBody>
          </p:sp>
          <p:sp>
            <p:nvSpPr>
              <p:cNvPr id="4708" name="Vrije vorm: vorm 4707">
                <a:extLst>
                  <a:ext uri="{FF2B5EF4-FFF2-40B4-BE49-F238E27FC236}">
                    <a16:creationId xmlns:a16="http://schemas.microsoft.com/office/drawing/2014/main" id="{E117930E-0012-491C-AEDD-CE1CF061C625}"/>
                  </a:ext>
                </a:extLst>
              </p:cNvPr>
              <p:cNvSpPr/>
              <p:nvPr/>
            </p:nvSpPr>
            <p:spPr>
              <a:xfrm>
                <a:off x="7431254" y="2137242"/>
                <a:ext cx="18367" cy="18438"/>
              </a:xfrm>
              <a:custGeom>
                <a:avLst/>
                <a:gdLst>
                  <a:gd name="connsiteX0" fmla="*/ 2982 w 18367"/>
                  <a:gd name="connsiteY0" fmla="*/ 2401 h 18438"/>
                  <a:gd name="connsiteX1" fmla="*/ 15960 w 18367"/>
                  <a:gd name="connsiteY1" fmla="*/ 3000 h 18438"/>
                  <a:gd name="connsiteX2" fmla="*/ 15422 w 18367"/>
                  <a:gd name="connsiteY2" fmla="*/ 16037 h 18438"/>
                  <a:gd name="connsiteX3" fmla="*/ 2504 w 18367"/>
                  <a:gd name="connsiteY3" fmla="*/ 15439 h 18438"/>
                  <a:gd name="connsiteX4" fmla="*/ 2982 w 18367"/>
                  <a:gd name="connsiteY4" fmla="*/ 24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38">
                    <a:moveTo>
                      <a:pt x="2982" y="2401"/>
                    </a:moveTo>
                    <a:cubicBezTo>
                      <a:pt x="6690" y="-1008"/>
                      <a:pt x="12492" y="-768"/>
                      <a:pt x="15960" y="3000"/>
                    </a:cubicBezTo>
                    <a:cubicBezTo>
                      <a:pt x="19369" y="6767"/>
                      <a:pt x="19130" y="12569"/>
                      <a:pt x="15422" y="16037"/>
                    </a:cubicBezTo>
                    <a:cubicBezTo>
                      <a:pt x="11714" y="19447"/>
                      <a:pt x="5912" y="19207"/>
                      <a:pt x="2504" y="15439"/>
                    </a:cubicBezTo>
                    <a:cubicBezTo>
                      <a:pt x="-1025" y="11672"/>
                      <a:pt x="-786" y="5810"/>
                      <a:pt x="2982" y="2401"/>
                    </a:cubicBezTo>
                    <a:close/>
                  </a:path>
                </a:pathLst>
              </a:custGeom>
              <a:grpFill/>
              <a:ln w="5978" cap="flat">
                <a:noFill/>
                <a:prstDash val="solid"/>
                <a:miter/>
              </a:ln>
            </p:spPr>
            <p:txBody>
              <a:bodyPr rtlCol="0" anchor="ctr"/>
              <a:lstStyle/>
              <a:p>
                <a:endParaRPr lang="en-GB"/>
              </a:p>
            </p:txBody>
          </p:sp>
          <p:sp>
            <p:nvSpPr>
              <p:cNvPr id="4709" name="Vrije vorm: vorm 4708">
                <a:extLst>
                  <a:ext uri="{FF2B5EF4-FFF2-40B4-BE49-F238E27FC236}">
                    <a16:creationId xmlns:a16="http://schemas.microsoft.com/office/drawing/2014/main" id="{FB7A7D52-58B9-4475-979B-F477D05322A5}"/>
                  </a:ext>
                </a:extLst>
              </p:cNvPr>
              <p:cNvSpPr/>
              <p:nvPr/>
            </p:nvSpPr>
            <p:spPr>
              <a:xfrm>
                <a:off x="7283902" y="2272406"/>
                <a:ext cx="18379" cy="18462"/>
              </a:xfrm>
              <a:custGeom>
                <a:avLst/>
                <a:gdLst>
                  <a:gd name="connsiteX0" fmla="*/ 2969 w 18379"/>
                  <a:gd name="connsiteY0" fmla="*/ 2401 h 18462"/>
                  <a:gd name="connsiteX1" fmla="*/ 2431 w 18379"/>
                  <a:gd name="connsiteY1" fmla="*/ 15439 h 18462"/>
                  <a:gd name="connsiteX2" fmla="*/ 15410 w 18379"/>
                  <a:gd name="connsiteY2" fmla="*/ 16037 h 18462"/>
                  <a:gd name="connsiteX3" fmla="*/ 15948 w 18379"/>
                  <a:gd name="connsiteY3" fmla="*/ 2999 h 18462"/>
                  <a:gd name="connsiteX4" fmla="*/ 2969 w 18379"/>
                  <a:gd name="connsiteY4" fmla="*/ 2401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62">
                    <a:moveTo>
                      <a:pt x="2969" y="2401"/>
                    </a:moveTo>
                    <a:cubicBezTo>
                      <a:pt x="-739" y="5810"/>
                      <a:pt x="-1037" y="11672"/>
                      <a:pt x="2431" y="15439"/>
                    </a:cubicBezTo>
                    <a:cubicBezTo>
                      <a:pt x="5841" y="19207"/>
                      <a:pt x="11642" y="19506"/>
                      <a:pt x="15410" y="16037"/>
                    </a:cubicBezTo>
                    <a:cubicBezTo>
                      <a:pt x="19118" y="12629"/>
                      <a:pt x="19416" y="6767"/>
                      <a:pt x="15948" y="2999"/>
                    </a:cubicBezTo>
                    <a:cubicBezTo>
                      <a:pt x="12539" y="-768"/>
                      <a:pt x="6737" y="-1007"/>
                      <a:pt x="2969" y="2401"/>
                    </a:cubicBezTo>
                    <a:close/>
                  </a:path>
                </a:pathLst>
              </a:custGeom>
              <a:grpFill/>
              <a:ln w="5978" cap="flat">
                <a:noFill/>
                <a:prstDash val="solid"/>
                <a:miter/>
              </a:ln>
            </p:spPr>
            <p:txBody>
              <a:bodyPr rtlCol="0" anchor="ctr"/>
              <a:lstStyle/>
              <a:p>
                <a:endParaRPr lang="en-GB"/>
              </a:p>
            </p:txBody>
          </p:sp>
        </p:grpSp>
        <p:grpSp>
          <p:nvGrpSpPr>
            <p:cNvPr id="225" name="Graphic 3">
              <a:extLst>
                <a:ext uri="{FF2B5EF4-FFF2-40B4-BE49-F238E27FC236}">
                  <a16:creationId xmlns:a16="http://schemas.microsoft.com/office/drawing/2014/main" id="{936E6B2A-602A-4ACB-A458-784FBA43217C}"/>
                </a:ext>
              </a:extLst>
            </p:cNvPr>
            <p:cNvGrpSpPr/>
            <p:nvPr/>
          </p:nvGrpSpPr>
          <p:grpSpPr>
            <a:xfrm>
              <a:off x="7841812" y="3728217"/>
              <a:ext cx="99239" cy="32945"/>
              <a:chOff x="7841812" y="3728217"/>
              <a:chExt cx="99239" cy="32945"/>
            </a:xfrm>
            <a:grpFill/>
          </p:grpSpPr>
          <p:sp>
            <p:nvSpPr>
              <p:cNvPr id="4704" name="Vrije vorm: vorm 4703">
                <a:extLst>
                  <a:ext uri="{FF2B5EF4-FFF2-40B4-BE49-F238E27FC236}">
                    <a16:creationId xmlns:a16="http://schemas.microsoft.com/office/drawing/2014/main" id="{C42554D0-05D9-48FA-A3EA-4A381F2C713F}"/>
                  </a:ext>
                </a:extLst>
              </p:cNvPr>
              <p:cNvSpPr/>
              <p:nvPr/>
            </p:nvSpPr>
            <p:spPr>
              <a:xfrm>
                <a:off x="7850255" y="3735838"/>
                <a:ext cx="82354" cy="17643"/>
              </a:xfrm>
              <a:custGeom>
                <a:avLst/>
                <a:gdLst>
                  <a:gd name="connsiteX0" fmla="*/ 82355 w 82354"/>
                  <a:gd name="connsiteY0" fmla="*/ 14593 h 17643"/>
                  <a:gd name="connsiteX1" fmla="*/ 81816 w 82354"/>
                  <a:gd name="connsiteY1" fmla="*/ 17643 h 17643"/>
                  <a:gd name="connsiteX2" fmla="*/ 0 w 82354"/>
                  <a:gd name="connsiteY2" fmla="*/ 3050 h 17643"/>
                  <a:gd name="connsiteX3" fmla="*/ 478 w 82354"/>
                  <a:gd name="connsiteY3" fmla="*/ 0 h 17643"/>
                </a:gdLst>
                <a:ahLst/>
                <a:cxnLst>
                  <a:cxn ang="0">
                    <a:pos x="connsiteX0" y="connsiteY0"/>
                  </a:cxn>
                  <a:cxn ang="0">
                    <a:pos x="connsiteX1" y="connsiteY1"/>
                  </a:cxn>
                  <a:cxn ang="0">
                    <a:pos x="connsiteX2" y="connsiteY2"/>
                  </a:cxn>
                  <a:cxn ang="0">
                    <a:pos x="connsiteX3" y="connsiteY3"/>
                  </a:cxn>
                </a:cxnLst>
                <a:rect l="l" t="t" r="r" b="b"/>
                <a:pathLst>
                  <a:path w="82354" h="17643">
                    <a:moveTo>
                      <a:pt x="82355" y="14593"/>
                    </a:moveTo>
                    <a:lnTo>
                      <a:pt x="81816" y="17643"/>
                    </a:lnTo>
                    <a:lnTo>
                      <a:pt x="0" y="3050"/>
                    </a:lnTo>
                    <a:lnTo>
                      <a:pt x="478" y="0"/>
                    </a:lnTo>
                    <a:close/>
                  </a:path>
                </a:pathLst>
              </a:custGeom>
              <a:grpFill/>
              <a:ln w="5978" cap="flat">
                <a:noFill/>
                <a:prstDash val="solid"/>
                <a:miter/>
              </a:ln>
            </p:spPr>
            <p:txBody>
              <a:bodyPr rtlCol="0" anchor="ctr"/>
              <a:lstStyle/>
              <a:p>
                <a:endParaRPr lang="en-GB"/>
              </a:p>
            </p:txBody>
          </p:sp>
          <p:sp>
            <p:nvSpPr>
              <p:cNvPr id="4705" name="Vrije vorm: vorm 4704">
                <a:extLst>
                  <a:ext uri="{FF2B5EF4-FFF2-40B4-BE49-F238E27FC236}">
                    <a16:creationId xmlns:a16="http://schemas.microsoft.com/office/drawing/2014/main" id="{0AE62090-28AD-4DD9-9B49-2D71DFB0B6E7}"/>
                  </a:ext>
                </a:extLst>
              </p:cNvPr>
              <p:cNvSpPr/>
              <p:nvPr/>
            </p:nvSpPr>
            <p:spPr>
              <a:xfrm>
                <a:off x="7922733" y="3742690"/>
                <a:ext cx="18318" cy="18471"/>
              </a:xfrm>
              <a:custGeom>
                <a:avLst/>
                <a:gdLst>
                  <a:gd name="connsiteX0" fmla="*/ 10714 w 18318"/>
                  <a:gd name="connsiteY0" fmla="*/ 145 h 18471"/>
                  <a:gd name="connsiteX1" fmla="*/ 18190 w 18318"/>
                  <a:gd name="connsiteY1" fmla="*/ 10851 h 18471"/>
                  <a:gd name="connsiteX2" fmla="*/ 7604 w 18318"/>
                  <a:gd name="connsiteY2" fmla="*/ 18327 h 18471"/>
                  <a:gd name="connsiteX3" fmla="*/ 128 w 18318"/>
                  <a:gd name="connsiteY3" fmla="*/ 7621 h 18471"/>
                  <a:gd name="connsiteX4" fmla="*/ 10714 w 18318"/>
                  <a:gd name="connsiteY4" fmla="*/ 145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1">
                    <a:moveTo>
                      <a:pt x="10714" y="145"/>
                    </a:moveTo>
                    <a:cubicBezTo>
                      <a:pt x="15678" y="1042"/>
                      <a:pt x="19027" y="5827"/>
                      <a:pt x="18190" y="10851"/>
                    </a:cubicBezTo>
                    <a:cubicBezTo>
                      <a:pt x="17353" y="15875"/>
                      <a:pt x="12568" y="19224"/>
                      <a:pt x="7604" y="18327"/>
                    </a:cubicBezTo>
                    <a:cubicBezTo>
                      <a:pt x="2640" y="17430"/>
                      <a:pt x="-709" y="12645"/>
                      <a:pt x="128" y="7621"/>
                    </a:cubicBezTo>
                    <a:cubicBezTo>
                      <a:pt x="966" y="2597"/>
                      <a:pt x="5750" y="-752"/>
                      <a:pt x="10714" y="145"/>
                    </a:cubicBezTo>
                    <a:close/>
                  </a:path>
                </a:pathLst>
              </a:custGeom>
              <a:grpFill/>
              <a:ln w="5978" cap="flat">
                <a:noFill/>
                <a:prstDash val="solid"/>
                <a:miter/>
              </a:ln>
            </p:spPr>
            <p:txBody>
              <a:bodyPr rtlCol="0" anchor="ctr"/>
              <a:lstStyle/>
              <a:p>
                <a:endParaRPr lang="en-GB"/>
              </a:p>
            </p:txBody>
          </p:sp>
          <p:sp>
            <p:nvSpPr>
              <p:cNvPr id="4706" name="Vrije vorm: vorm 4705">
                <a:extLst>
                  <a:ext uri="{FF2B5EF4-FFF2-40B4-BE49-F238E27FC236}">
                    <a16:creationId xmlns:a16="http://schemas.microsoft.com/office/drawing/2014/main" id="{F88F5056-91F2-4B4B-8B3A-0946823D58D4}"/>
                  </a:ext>
                </a:extLst>
              </p:cNvPr>
              <p:cNvSpPr/>
              <p:nvPr/>
            </p:nvSpPr>
            <p:spPr>
              <a:xfrm>
                <a:off x="7841812" y="3728217"/>
                <a:ext cx="18320" cy="18472"/>
              </a:xfrm>
              <a:custGeom>
                <a:avLst/>
                <a:gdLst>
                  <a:gd name="connsiteX0" fmla="*/ 10716 w 18320"/>
                  <a:gd name="connsiteY0" fmla="*/ 145 h 18472"/>
                  <a:gd name="connsiteX1" fmla="*/ 130 w 18320"/>
                  <a:gd name="connsiteY1" fmla="*/ 7621 h 18472"/>
                  <a:gd name="connsiteX2" fmla="*/ 7606 w 18320"/>
                  <a:gd name="connsiteY2" fmla="*/ 18327 h 18472"/>
                  <a:gd name="connsiteX3" fmla="*/ 18192 w 18320"/>
                  <a:gd name="connsiteY3" fmla="*/ 10851 h 18472"/>
                  <a:gd name="connsiteX4" fmla="*/ 10716 w 18320"/>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72">
                    <a:moveTo>
                      <a:pt x="10716" y="145"/>
                    </a:moveTo>
                    <a:cubicBezTo>
                      <a:pt x="5752" y="-752"/>
                      <a:pt x="967" y="2597"/>
                      <a:pt x="130" y="7621"/>
                    </a:cubicBezTo>
                    <a:cubicBezTo>
                      <a:pt x="-707" y="12645"/>
                      <a:pt x="2582" y="17430"/>
                      <a:pt x="7606" y="18327"/>
                    </a:cubicBezTo>
                    <a:cubicBezTo>
                      <a:pt x="12570" y="19224"/>
                      <a:pt x="17355" y="15875"/>
                      <a:pt x="18192" y="10851"/>
                    </a:cubicBezTo>
                    <a:cubicBezTo>
                      <a:pt x="19029" y="5827"/>
                      <a:pt x="15680" y="1042"/>
                      <a:pt x="10716" y="145"/>
                    </a:cubicBezTo>
                    <a:close/>
                  </a:path>
                </a:pathLst>
              </a:custGeom>
              <a:grpFill/>
              <a:ln w="5978" cap="flat">
                <a:noFill/>
                <a:prstDash val="solid"/>
                <a:miter/>
              </a:ln>
            </p:spPr>
            <p:txBody>
              <a:bodyPr rtlCol="0" anchor="ctr"/>
              <a:lstStyle/>
              <a:p>
                <a:endParaRPr lang="en-GB"/>
              </a:p>
            </p:txBody>
          </p:sp>
        </p:grpSp>
        <p:grpSp>
          <p:nvGrpSpPr>
            <p:cNvPr id="226" name="Graphic 3">
              <a:extLst>
                <a:ext uri="{FF2B5EF4-FFF2-40B4-BE49-F238E27FC236}">
                  <a16:creationId xmlns:a16="http://schemas.microsoft.com/office/drawing/2014/main" id="{B1E26F9B-D48B-4C62-A99D-833A92CA9799}"/>
                </a:ext>
              </a:extLst>
            </p:cNvPr>
            <p:cNvGrpSpPr/>
            <p:nvPr/>
          </p:nvGrpSpPr>
          <p:grpSpPr>
            <a:xfrm>
              <a:off x="7148396" y="1578587"/>
              <a:ext cx="32637" cy="41754"/>
              <a:chOff x="7148396" y="1578587"/>
              <a:chExt cx="32637" cy="41754"/>
            </a:xfrm>
            <a:grpFill/>
          </p:grpSpPr>
          <p:sp>
            <p:nvSpPr>
              <p:cNvPr id="4701" name="Vrije vorm: vorm 4700">
                <a:extLst>
                  <a:ext uri="{FF2B5EF4-FFF2-40B4-BE49-F238E27FC236}">
                    <a16:creationId xmlns:a16="http://schemas.microsoft.com/office/drawing/2014/main" id="{5EFA8BA3-329F-4D38-AD66-A3D217BC6CC9}"/>
                  </a:ext>
                </a:extLst>
              </p:cNvPr>
              <p:cNvSpPr/>
              <p:nvPr/>
            </p:nvSpPr>
            <p:spPr>
              <a:xfrm>
                <a:off x="7156073" y="1586606"/>
                <a:ext cx="17344" cy="25717"/>
              </a:xfrm>
              <a:custGeom>
                <a:avLst/>
                <a:gdLst>
                  <a:gd name="connsiteX0" fmla="*/ 17344 w 17344"/>
                  <a:gd name="connsiteY0" fmla="*/ 1615 h 25717"/>
                  <a:gd name="connsiteX1" fmla="*/ 2572 w 17344"/>
                  <a:gd name="connsiteY1" fmla="*/ 25717 h 25717"/>
                  <a:gd name="connsiteX2" fmla="*/ 0 w 17344"/>
                  <a:gd name="connsiteY2" fmla="*/ 24102 h 25717"/>
                  <a:gd name="connsiteX3" fmla="*/ 14713 w 17344"/>
                  <a:gd name="connsiteY3" fmla="*/ 0 h 25717"/>
                </a:gdLst>
                <a:ahLst/>
                <a:cxnLst>
                  <a:cxn ang="0">
                    <a:pos x="connsiteX0" y="connsiteY0"/>
                  </a:cxn>
                  <a:cxn ang="0">
                    <a:pos x="connsiteX1" y="connsiteY1"/>
                  </a:cxn>
                  <a:cxn ang="0">
                    <a:pos x="connsiteX2" y="connsiteY2"/>
                  </a:cxn>
                  <a:cxn ang="0">
                    <a:pos x="connsiteX3" y="connsiteY3"/>
                  </a:cxn>
                </a:cxnLst>
                <a:rect l="l" t="t" r="r" b="b"/>
                <a:pathLst>
                  <a:path w="17344" h="25717">
                    <a:moveTo>
                      <a:pt x="17344" y="1615"/>
                    </a:moveTo>
                    <a:lnTo>
                      <a:pt x="2572" y="25717"/>
                    </a:lnTo>
                    <a:lnTo>
                      <a:pt x="0" y="24102"/>
                    </a:lnTo>
                    <a:lnTo>
                      <a:pt x="14713" y="0"/>
                    </a:lnTo>
                    <a:close/>
                  </a:path>
                </a:pathLst>
              </a:custGeom>
              <a:grpFill/>
              <a:ln w="5978" cap="flat">
                <a:noFill/>
                <a:prstDash val="solid"/>
                <a:miter/>
              </a:ln>
            </p:spPr>
            <p:txBody>
              <a:bodyPr rtlCol="0" anchor="ctr"/>
              <a:lstStyle/>
              <a:p>
                <a:endParaRPr lang="en-GB"/>
              </a:p>
            </p:txBody>
          </p:sp>
          <p:sp>
            <p:nvSpPr>
              <p:cNvPr id="4702" name="Vrije vorm: vorm 4701">
                <a:extLst>
                  <a:ext uri="{FF2B5EF4-FFF2-40B4-BE49-F238E27FC236}">
                    <a16:creationId xmlns:a16="http://schemas.microsoft.com/office/drawing/2014/main" id="{938E2418-9A38-4657-B21A-621CCEAA4A35}"/>
                  </a:ext>
                </a:extLst>
              </p:cNvPr>
              <p:cNvSpPr/>
              <p:nvPr/>
            </p:nvSpPr>
            <p:spPr>
              <a:xfrm>
                <a:off x="7148396" y="1601912"/>
                <a:ext cx="18357" cy="18429"/>
              </a:xfrm>
              <a:custGeom>
                <a:avLst/>
                <a:gdLst>
                  <a:gd name="connsiteX0" fmla="*/ 17007 w 18357"/>
                  <a:gd name="connsiteY0" fmla="*/ 14059 h 18429"/>
                  <a:gd name="connsiteX1" fmla="*/ 4387 w 18357"/>
                  <a:gd name="connsiteY1" fmla="*/ 17050 h 18429"/>
                  <a:gd name="connsiteX2" fmla="*/ 1337 w 18357"/>
                  <a:gd name="connsiteY2" fmla="*/ 4370 h 18429"/>
                  <a:gd name="connsiteX3" fmla="*/ 13956 w 18357"/>
                  <a:gd name="connsiteY3" fmla="*/ 1380 h 18429"/>
                  <a:gd name="connsiteX4" fmla="*/ 17007 w 18357"/>
                  <a:gd name="connsiteY4" fmla="*/ 1405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29">
                    <a:moveTo>
                      <a:pt x="17007" y="14059"/>
                    </a:moveTo>
                    <a:cubicBezTo>
                      <a:pt x="14375" y="18365"/>
                      <a:pt x="8693" y="19741"/>
                      <a:pt x="4387" y="17050"/>
                    </a:cubicBezTo>
                    <a:cubicBezTo>
                      <a:pt x="81" y="14358"/>
                      <a:pt x="-1295" y="8677"/>
                      <a:pt x="1337" y="4370"/>
                    </a:cubicBezTo>
                    <a:cubicBezTo>
                      <a:pt x="3968" y="64"/>
                      <a:pt x="9650" y="-1311"/>
                      <a:pt x="13956" y="1380"/>
                    </a:cubicBezTo>
                    <a:cubicBezTo>
                      <a:pt x="18322" y="4071"/>
                      <a:pt x="19638" y="9753"/>
                      <a:pt x="17007" y="14059"/>
                    </a:cubicBezTo>
                    <a:close/>
                  </a:path>
                </a:pathLst>
              </a:custGeom>
              <a:grpFill/>
              <a:ln w="5978" cap="flat">
                <a:noFill/>
                <a:prstDash val="solid"/>
                <a:miter/>
              </a:ln>
            </p:spPr>
            <p:txBody>
              <a:bodyPr rtlCol="0" anchor="ctr"/>
              <a:lstStyle/>
              <a:p>
                <a:endParaRPr lang="en-GB"/>
              </a:p>
            </p:txBody>
          </p:sp>
          <p:sp>
            <p:nvSpPr>
              <p:cNvPr id="4703" name="Vrije vorm: vorm 4702">
                <a:extLst>
                  <a:ext uri="{FF2B5EF4-FFF2-40B4-BE49-F238E27FC236}">
                    <a16:creationId xmlns:a16="http://schemas.microsoft.com/office/drawing/2014/main" id="{D3E9C6F2-E495-4CC8-89FA-DCABFBF505BB}"/>
                  </a:ext>
                </a:extLst>
              </p:cNvPr>
              <p:cNvSpPr/>
              <p:nvPr/>
            </p:nvSpPr>
            <p:spPr>
              <a:xfrm>
                <a:off x="7162690" y="1578587"/>
                <a:ext cx="18343" cy="18403"/>
              </a:xfrm>
              <a:custGeom>
                <a:avLst/>
                <a:gdLst>
                  <a:gd name="connsiteX0" fmla="*/ 17007 w 18343"/>
                  <a:gd name="connsiteY0" fmla="*/ 14059 h 18403"/>
                  <a:gd name="connsiteX1" fmla="*/ 13957 w 18343"/>
                  <a:gd name="connsiteY1" fmla="*/ 1380 h 18403"/>
                  <a:gd name="connsiteX2" fmla="*/ 1337 w 18343"/>
                  <a:gd name="connsiteY2" fmla="*/ 4370 h 18403"/>
                  <a:gd name="connsiteX3" fmla="*/ 4388 w 18343"/>
                  <a:gd name="connsiteY3" fmla="*/ 17050 h 18403"/>
                  <a:gd name="connsiteX4" fmla="*/ 17007 w 18343"/>
                  <a:gd name="connsiteY4" fmla="*/ 1405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17007" y="14059"/>
                    </a:moveTo>
                    <a:cubicBezTo>
                      <a:pt x="19638" y="9753"/>
                      <a:pt x="18262" y="4071"/>
                      <a:pt x="13957" y="1380"/>
                    </a:cubicBezTo>
                    <a:cubicBezTo>
                      <a:pt x="9651" y="-1311"/>
                      <a:pt x="3968" y="64"/>
                      <a:pt x="1337" y="4370"/>
                    </a:cubicBezTo>
                    <a:cubicBezTo>
                      <a:pt x="-1295" y="8677"/>
                      <a:pt x="81" y="14358"/>
                      <a:pt x="4388" y="17050"/>
                    </a:cubicBezTo>
                    <a:cubicBezTo>
                      <a:pt x="8693" y="19681"/>
                      <a:pt x="14315" y="18365"/>
                      <a:pt x="17007" y="14059"/>
                    </a:cubicBezTo>
                    <a:close/>
                  </a:path>
                </a:pathLst>
              </a:custGeom>
              <a:grpFill/>
              <a:ln w="5978" cap="flat">
                <a:noFill/>
                <a:prstDash val="solid"/>
                <a:miter/>
              </a:ln>
            </p:spPr>
            <p:txBody>
              <a:bodyPr rtlCol="0" anchor="ctr"/>
              <a:lstStyle/>
              <a:p>
                <a:endParaRPr lang="en-GB"/>
              </a:p>
            </p:txBody>
          </p:sp>
        </p:grpSp>
        <p:grpSp>
          <p:nvGrpSpPr>
            <p:cNvPr id="227" name="Graphic 3">
              <a:extLst>
                <a:ext uri="{FF2B5EF4-FFF2-40B4-BE49-F238E27FC236}">
                  <a16:creationId xmlns:a16="http://schemas.microsoft.com/office/drawing/2014/main" id="{DB9D9917-91EA-4B30-BFC8-97AC2AE1CDBD}"/>
                </a:ext>
              </a:extLst>
            </p:cNvPr>
            <p:cNvGrpSpPr/>
            <p:nvPr/>
          </p:nvGrpSpPr>
          <p:grpSpPr>
            <a:xfrm>
              <a:off x="7097660" y="1520015"/>
              <a:ext cx="168062" cy="253648"/>
              <a:chOff x="7097660" y="1520015"/>
              <a:chExt cx="168062" cy="253648"/>
            </a:xfrm>
            <a:grpFill/>
          </p:grpSpPr>
          <p:sp>
            <p:nvSpPr>
              <p:cNvPr id="4698" name="Vrije vorm: vorm 4697">
                <a:extLst>
                  <a:ext uri="{FF2B5EF4-FFF2-40B4-BE49-F238E27FC236}">
                    <a16:creationId xmlns:a16="http://schemas.microsoft.com/office/drawing/2014/main" id="{D7CF3512-83E2-4A4E-A5E6-B7ED74A1FC6A}"/>
                  </a:ext>
                </a:extLst>
              </p:cNvPr>
              <p:cNvSpPr/>
              <p:nvPr/>
            </p:nvSpPr>
            <p:spPr>
              <a:xfrm>
                <a:off x="7105296" y="1527995"/>
                <a:ext cx="152807" cy="237673"/>
              </a:xfrm>
              <a:custGeom>
                <a:avLst/>
                <a:gdLst>
                  <a:gd name="connsiteX0" fmla="*/ 152808 w 152807"/>
                  <a:gd name="connsiteY0" fmla="*/ 1675 h 237673"/>
                  <a:gd name="connsiteX1" fmla="*/ 2572 w 152807"/>
                  <a:gd name="connsiteY1" fmla="*/ 237674 h 237673"/>
                  <a:gd name="connsiteX2" fmla="*/ 0 w 152807"/>
                  <a:gd name="connsiteY2" fmla="*/ 235999 h 237673"/>
                  <a:gd name="connsiteX3" fmla="*/ 150236 w 152807"/>
                  <a:gd name="connsiteY3" fmla="*/ 0 h 237673"/>
                </a:gdLst>
                <a:ahLst/>
                <a:cxnLst>
                  <a:cxn ang="0">
                    <a:pos x="connsiteX0" y="connsiteY0"/>
                  </a:cxn>
                  <a:cxn ang="0">
                    <a:pos x="connsiteX1" y="connsiteY1"/>
                  </a:cxn>
                  <a:cxn ang="0">
                    <a:pos x="connsiteX2" y="connsiteY2"/>
                  </a:cxn>
                  <a:cxn ang="0">
                    <a:pos x="connsiteX3" y="connsiteY3"/>
                  </a:cxn>
                </a:cxnLst>
                <a:rect l="l" t="t" r="r" b="b"/>
                <a:pathLst>
                  <a:path w="152807" h="237673">
                    <a:moveTo>
                      <a:pt x="152808" y="1675"/>
                    </a:moveTo>
                    <a:lnTo>
                      <a:pt x="2572" y="237674"/>
                    </a:lnTo>
                    <a:lnTo>
                      <a:pt x="0" y="235999"/>
                    </a:lnTo>
                    <a:lnTo>
                      <a:pt x="150236" y="0"/>
                    </a:lnTo>
                    <a:close/>
                  </a:path>
                </a:pathLst>
              </a:custGeom>
              <a:grpFill/>
              <a:ln w="5978" cap="flat">
                <a:noFill/>
                <a:prstDash val="solid"/>
                <a:miter/>
              </a:ln>
            </p:spPr>
            <p:txBody>
              <a:bodyPr rtlCol="0" anchor="ctr"/>
              <a:lstStyle/>
              <a:p>
                <a:endParaRPr lang="en-GB"/>
              </a:p>
            </p:txBody>
          </p:sp>
          <p:sp>
            <p:nvSpPr>
              <p:cNvPr id="4699" name="Vrije vorm: vorm 4698">
                <a:extLst>
                  <a:ext uri="{FF2B5EF4-FFF2-40B4-BE49-F238E27FC236}">
                    <a16:creationId xmlns:a16="http://schemas.microsoft.com/office/drawing/2014/main" id="{7917F75E-EAE4-416A-BC20-95434FD3E285}"/>
                  </a:ext>
                </a:extLst>
              </p:cNvPr>
              <p:cNvSpPr/>
              <p:nvPr/>
            </p:nvSpPr>
            <p:spPr>
              <a:xfrm>
                <a:off x="7097660" y="1755222"/>
                <a:ext cx="18364" cy="18441"/>
              </a:xfrm>
              <a:custGeom>
                <a:avLst/>
                <a:gdLst>
                  <a:gd name="connsiteX0" fmla="*/ 16907 w 18364"/>
                  <a:gd name="connsiteY0" fmla="*/ 14215 h 18441"/>
                  <a:gd name="connsiteX1" fmla="*/ 4228 w 18364"/>
                  <a:gd name="connsiteY1" fmla="*/ 16966 h 18441"/>
                  <a:gd name="connsiteX2" fmla="*/ 1417 w 18364"/>
                  <a:gd name="connsiteY2" fmla="*/ 4227 h 18441"/>
                  <a:gd name="connsiteX3" fmla="*/ 14096 w 18364"/>
                  <a:gd name="connsiteY3" fmla="*/ 1476 h 18441"/>
                  <a:gd name="connsiteX4" fmla="*/ 16907 w 18364"/>
                  <a:gd name="connsiteY4" fmla="*/ 1421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41">
                    <a:moveTo>
                      <a:pt x="16907" y="14215"/>
                    </a:moveTo>
                    <a:cubicBezTo>
                      <a:pt x="14156" y="18521"/>
                      <a:pt x="8534" y="19717"/>
                      <a:pt x="4228" y="16966"/>
                    </a:cubicBezTo>
                    <a:cubicBezTo>
                      <a:pt x="-18" y="14215"/>
                      <a:pt x="-1275" y="8533"/>
                      <a:pt x="1417" y="4227"/>
                    </a:cubicBezTo>
                    <a:cubicBezTo>
                      <a:pt x="4108" y="-79"/>
                      <a:pt x="9789" y="-1276"/>
                      <a:pt x="14096" y="1476"/>
                    </a:cubicBezTo>
                    <a:cubicBezTo>
                      <a:pt x="18402" y="4227"/>
                      <a:pt x="19658" y="9909"/>
                      <a:pt x="16907" y="14215"/>
                    </a:cubicBezTo>
                    <a:close/>
                  </a:path>
                </a:pathLst>
              </a:custGeom>
              <a:grpFill/>
              <a:ln w="5978" cap="flat">
                <a:noFill/>
                <a:prstDash val="solid"/>
                <a:miter/>
              </a:ln>
            </p:spPr>
            <p:txBody>
              <a:bodyPr rtlCol="0" anchor="ctr"/>
              <a:lstStyle/>
              <a:p>
                <a:endParaRPr lang="en-GB"/>
              </a:p>
            </p:txBody>
          </p:sp>
          <p:sp>
            <p:nvSpPr>
              <p:cNvPr id="4700" name="Vrije vorm: vorm 4699">
                <a:extLst>
                  <a:ext uri="{FF2B5EF4-FFF2-40B4-BE49-F238E27FC236}">
                    <a16:creationId xmlns:a16="http://schemas.microsoft.com/office/drawing/2014/main" id="{9AB0C6C7-2AF3-427F-9EA3-06335F6AD642}"/>
                  </a:ext>
                </a:extLst>
              </p:cNvPr>
              <p:cNvSpPr/>
              <p:nvPr/>
            </p:nvSpPr>
            <p:spPr>
              <a:xfrm>
                <a:off x="7247343" y="1520015"/>
                <a:ext cx="18379" cy="18411"/>
              </a:xfrm>
              <a:custGeom>
                <a:avLst/>
                <a:gdLst>
                  <a:gd name="connsiteX0" fmla="*/ 16922 w 18379"/>
                  <a:gd name="connsiteY0" fmla="*/ 14200 h 18411"/>
                  <a:gd name="connsiteX1" fmla="*/ 14110 w 18379"/>
                  <a:gd name="connsiteY1" fmla="*/ 1461 h 18411"/>
                  <a:gd name="connsiteX2" fmla="*/ 1431 w 18379"/>
                  <a:gd name="connsiteY2" fmla="*/ 4212 h 18411"/>
                  <a:gd name="connsiteX3" fmla="*/ 4243 w 18379"/>
                  <a:gd name="connsiteY3" fmla="*/ 16951 h 18411"/>
                  <a:gd name="connsiteX4" fmla="*/ 16922 w 18379"/>
                  <a:gd name="connsiteY4" fmla="*/ 1420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11">
                    <a:moveTo>
                      <a:pt x="16922" y="14200"/>
                    </a:moveTo>
                    <a:cubicBezTo>
                      <a:pt x="19673" y="9894"/>
                      <a:pt x="18417" y="4212"/>
                      <a:pt x="14110" y="1461"/>
                    </a:cubicBezTo>
                    <a:cubicBezTo>
                      <a:pt x="9864" y="-1290"/>
                      <a:pt x="4183" y="-34"/>
                      <a:pt x="1431" y="4212"/>
                    </a:cubicBezTo>
                    <a:cubicBezTo>
                      <a:pt x="-1260" y="8518"/>
                      <a:pt x="-64" y="14200"/>
                      <a:pt x="4243" y="16951"/>
                    </a:cubicBezTo>
                    <a:cubicBezTo>
                      <a:pt x="8549" y="19702"/>
                      <a:pt x="14230" y="18446"/>
                      <a:pt x="16922" y="14200"/>
                    </a:cubicBezTo>
                    <a:close/>
                  </a:path>
                </a:pathLst>
              </a:custGeom>
              <a:grpFill/>
              <a:ln w="5978" cap="flat">
                <a:noFill/>
                <a:prstDash val="solid"/>
                <a:miter/>
              </a:ln>
            </p:spPr>
            <p:txBody>
              <a:bodyPr rtlCol="0" anchor="ctr"/>
              <a:lstStyle/>
              <a:p>
                <a:endParaRPr lang="en-GB"/>
              </a:p>
            </p:txBody>
          </p:sp>
        </p:grpSp>
        <p:grpSp>
          <p:nvGrpSpPr>
            <p:cNvPr id="228" name="Graphic 3">
              <a:extLst>
                <a:ext uri="{FF2B5EF4-FFF2-40B4-BE49-F238E27FC236}">
                  <a16:creationId xmlns:a16="http://schemas.microsoft.com/office/drawing/2014/main" id="{6D2E653B-FB56-4BC2-9498-E6B4A2EF6624}"/>
                </a:ext>
              </a:extLst>
            </p:cNvPr>
            <p:cNvGrpSpPr/>
            <p:nvPr/>
          </p:nvGrpSpPr>
          <p:grpSpPr>
            <a:xfrm>
              <a:off x="7948678" y="3934537"/>
              <a:ext cx="21032" cy="19139"/>
              <a:chOff x="7948678" y="3934537"/>
              <a:chExt cx="21032" cy="19139"/>
            </a:xfrm>
            <a:grpFill/>
          </p:grpSpPr>
          <p:sp>
            <p:nvSpPr>
              <p:cNvPr id="4695" name="Vrije vorm: vorm 4694">
                <a:extLst>
                  <a:ext uri="{FF2B5EF4-FFF2-40B4-BE49-F238E27FC236}">
                    <a16:creationId xmlns:a16="http://schemas.microsoft.com/office/drawing/2014/main" id="{D0A44C5C-C7A5-4D15-A225-64EF609B0EA9}"/>
                  </a:ext>
                </a:extLst>
              </p:cNvPr>
              <p:cNvSpPr/>
              <p:nvPr/>
            </p:nvSpPr>
            <p:spPr>
              <a:xfrm>
                <a:off x="7957011" y="3942173"/>
                <a:ext cx="4365" cy="3947"/>
              </a:xfrm>
              <a:custGeom>
                <a:avLst/>
                <a:gdLst>
                  <a:gd name="connsiteX0" fmla="*/ 4366 w 4365"/>
                  <a:gd name="connsiteY0" fmla="*/ 957 h 3947"/>
                  <a:gd name="connsiteX1" fmla="*/ 3588 w 4365"/>
                  <a:gd name="connsiteY1" fmla="*/ 3947 h 3947"/>
                  <a:gd name="connsiteX2" fmla="*/ 0 w 4365"/>
                  <a:gd name="connsiteY2" fmla="*/ 2930 h 3947"/>
                  <a:gd name="connsiteX3" fmla="*/ 778 w 4365"/>
                  <a:gd name="connsiteY3" fmla="*/ 0 h 3947"/>
                </a:gdLst>
                <a:ahLst/>
                <a:cxnLst>
                  <a:cxn ang="0">
                    <a:pos x="connsiteX0" y="connsiteY0"/>
                  </a:cxn>
                  <a:cxn ang="0">
                    <a:pos x="connsiteX1" y="connsiteY1"/>
                  </a:cxn>
                  <a:cxn ang="0">
                    <a:pos x="connsiteX2" y="connsiteY2"/>
                  </a:cxn>
                  <a:cxn ang="0">
                    <a:pos x="connsiteX3" y="connsiteY3"/>
                  </a:cxn>
                </a:cxnLst>
                <a:rect l="l" t="t" r="r" b="b"/>
                <a:pathLst>
                  <a:path w="4365" h="3947">
                    <a:moveTo>
                      <a:pt x="4366" y="957"/>
                    </a:moveTo>
                    <a:lnTo>
                      <a:pt x="3588" y="3947"/>
                    </a:lnTo>
                    <a:lnTo>
                      <a:pt x="0" y="2930"/>
                    </a:lnTo>
                    <a:lnTo>
                      <a:pt x="778" y="0"/>
                    </a:lnTo>
                    <a:close/>
                  </a:path>
                </a:pathLst>
              </a:custGeom>
              <a:grpFill/>
              <a:ln w="5978" cap="flat">
                <a:noFill/>
                <a:prstDash val="solid"/>
                <a:miter/>
              </a:ln>
            </p:spPr>
            <p:txBody>
              <a:bodyPr rtlCol="0" anchor="ctr"/>
              <a:lstStyle/>
              <a:p>
                <a:endParaRPr lang="en-GB"/>
              </a:p>
            </p:txBody>
          </p:sp>
          <p:sp>
            <p:nvSpPr>
              <p:cNvPr id="4696" name="Vrije vorm: vorm 4695">
                <a:extLst>
                  <a:ext uri="{FF2B5EF4-FFF2-40B4-BE49-F238E27FC236}">
                    <a16:creationId xmlns:a16="http://schemas.microsoft.com/office/drawing/2014/main" id="{2B938B22-46ED-48BE-8BA0-0FCD30929680}"/>
                  </a:ext>
                </a:extLst>
              </p:cNvPr>
              <p:cNvSpPr/>
              <p:nvPr/>
            </p:nvSpPr>
            <p:spPr>
              <a:xfrm>
                <a:off x="7951369" y="3935275"/>
                <a:ext cx="18341" cy="18400"/>
              </a:xfrm>
              <a:custGeom>
                <a:avLst/>
                <a:gdLst>
                  <a:gd name="connsiteX0" fmla="*/ 11563 w 18341"/>
                  <a:gd name="connsiteY0" fmla="*/ 319 h 18400"/>
                  <a:gd name="connsiteX1" fmla="*/ 18022 w 18341"/>
                  <a:gd name="connsiteY1" fmla="*/ 11622 h 18400"/>
                  <a:gd name="connsiteX2" fmla="*/ 6779 w 18341"/>
                  <a:gd name="connsiteY2" fmla="*/ 18082 h 18400"/>
                  <a:gd name="connsiteX3" fmla="*/ 319 w 18341"/>
                  <a:gd name="connsiteY3" fmla="*/ 6778 h 18400"/>
                  <a:gd name="connsiteX4" fmla="*/ 11563 w 18341"/>
                  <a:gd name="connsiteY4" fmla="*/ 31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1563" y="319"/>
                    </a:moveTo>
                    <a:cubicBezTo>
                      <a:pt x="16467" y="1695"/>
                      <a:pt x="19338" y="6718"/>
                      <a:pt x="18022" y="11622"/>
                    </a:cubicBezTo>
                    <a:cubicBezTo>
                      <a:pt x="16706" y="16527"/>
                      <a:pt x="11683" y="19398"/>
                      <a:pt x="6779" y="18082"/>
                    </a:cubicBezTo>
                    <a:cubicBezTo>
                      <a:pt x="1874" y="16706"/>
                      <a:pt x="-997" y="11682"/>
                      <a:pt x="319" y="6778"/>
                    </a:cubicBezTo>
                    <a:cubicBezTo>
                      <a:pt x="1635" y="1874"/>
                      <a:pt x="6719" y="-997"/>
                      <a:pt x="11563" y="319"/>
                    </a:cubicBezTo>
                    <a:close/>
                  </a:path>
                </a:pathLst>
              </a:custGeom>
              <a:grpFill/>
              <a:ln w="5978" cap="flat">
                <a:noFill/>
                <a:prstDash val="solid"/>
                <a:miter/>
              </a:ln>
            </p:spPr>
            <p:txBody>
              <a:bodyPr rtlCol="0" anchor="ctr"/>
              <a:lstStyle/>
              <a:p>
                <a:endParaRPr lang="en-GB"/>
              </a:p>
            </p:txBody>
          </p:sp>
          <p:sp>
            <p:nvSpPr>
              <p:cNvPr id="4697" name="Vrije vorm: vorm 4696">
                <a:extLst>
                  <a:ext uri="{FF2B5EF4-FFF2-40B4-BE49-F238E27FC236}">
                    <a16:creationId xmlns:a16="http://schemas.microsoft.com/office/drawing/2014/main" id="{05EDBC0B-1317-49E5-9892-D3D264BF5B3E}"/>
                  </a:ext>
                </a:extLst>
              </p:cNvPr>
              <p:cNvSpPr/>
              <p:nvPr/>
            </p:nvSpPr>
            <p:spPr>
              <a:xfrm>
                <a:off x="7948678" y="3934537"/>
                <a:ext cx="18340" cy="18442"/>
              </a:xfrm>
              <a:custGeom>
                <a:avLst/>
                <a:gdLst>
                  <a:gd name="connsiteX0" fmla="*/ 11563 w 18340"/>
                  <a:gd name="connsiteY0" fmla="*/ 340 h 18442"/>
                  <a:gd name="connsiteX1" fmla="*/ 319 w 18340"/>
                  <a:gd name="connsiteY1" fmla="*/ 6799 h 18442"/>
                  <a:gd name="connsiteX2" fmla="*/ 6778 w 18340"/>
                  <a:gd name="connsiteY2" fmla="*/ 18102 h 18442"/>
                  <a:gd name="connsiteX3" fmla="*/ 18022 w 18340"/>
                  <a:gd name="connsiteY3" fmla="*/ 11643 h 18442"/>
                  <a:gd name="connsiteX4" fmla="*/ 11563 w 18340"/>
                  <a:gd name="connsiteY4" fmla="*/ 34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2">
                    <a:moveTo>
                      <a:pt x="11563" y="340"/>
                    </a:moveTo>
                    <a:cubicBezTo>
                      <a:pt x="6658" y="-1036"/>
                      <a:pt x="1635" y="1895"/>
                      <a:pt x="319" y="6799"/>
                    </a:cubicBezTo>
                    <a:cubicBezTo>
                      <a:pt x="-997" y="11703"/>
                      <a:pt x="1874" y="16787"/>
                      <a:pt x="6778" y="18102"/>
                    </a:cubicBezTo>
                    <a:cubicBezTo>
                      <a:pt x="11683" y="19478"/>
                      <a:pt x="16706" y="16547"/>
                      <a:pt x="18022" y="11643"/>
                    </a:cubicBezTo>
                    <a:cubicBezTo>
                      <a:pt x="19337" y="6739"/>
                      <a:pt x="16467" y="1655"/>
                      <a:pt x="11563" y="340"/>
                    </a:cubicBezTo>
                    <a:close/>
                  </a:path>
                </a:pathLst>
              </a:custGeom>
              <a:grpFill/>
              <a:ln w="5978" cap="flat">
                <a:noFill/>
                <a:prstDash val="solid"/>
                <a:miter/>
              </a:ln>
            </p:spPr>
            <p:txBody>
              <a:bodyPr rtlCol="0" anchor="ctr"/>
              <a:lstStyle/>
              <a:p>
                <a:endParaRPr lang="en-GB"/>
              </a:p>
            </p:txBody>
          </p:sp>
        </p:grpSp>
        <p:grpSp>
          <p:nvGrpSpPr>
            <p:cNvPr id="229" name="Graphic 3">
              <a:extLst>
                <a:ext uri="{FF2B5EF4-FFF2-40B4-BE49-F238E27FC236}">
                  <a16:creationId xmlns:a16="http://schemas.microsoft.com/office/drawing/2014/main" id="{4EA62438-94A9-4443-A7D6-717B083F34AD}"/>
                </a:ext>
              </a:extLst>
            </p:cNvPr>
            <p:cNvGrpSpPr/>
            <p:nvPr/>
          </p:nvGrpSpPr>
          <p:grpSpPr>
            <a:xfrm>
              <a:off x="7079414" y="1520607"/>
              <a:ext cx="235956" cy="346783"/>
              <a:chOff x="7079414" y="1520607"/>
              <a:chExt cx="235956" cy="346783"/>
            </a:xfrm>
            <a:grpFill/>
          </p:grpSpPr>
          <p:sp>
            <p:nvSpPr>
              <p:cNvPr id="4692" name="Vrije vorm: vorm 4691">
                <a:extLst>
                  <a:ext uri="{FF2B5EF4-FFF2-40B4-BE49-F238E27FC236}">
                    <a16:creationId xmlns:a16="http://schemas.microsoft.com/office/drawing/2014/main" id="{B8DA29C3-BDA7-4C4B-9231-1A42D8FB8A5F}"/>
                  </a:ext>
                </a:extLst>
              </p:cNvPr>
              <p:cNvSpPr/>
              <p:nvPr/>
            </p:nvSpPr>
            <p:spPr>
              <a:xfrm>
                <a:off x="7087056" y="1528593"/>
                <a:ext cx="220688" cy="330793"/>
              </a:xfrm>
              <a:custGeom>
                <a:avLst/>
                <a:gdLst>
                  <a:gd name="connsiteX0" fmla="*/ 220689 w 220688"/>
                  <a:gd name="connsiteY0" fmla="*/ 1734 h 330793"/>
                  <a:gd name="connsiteX1" fmla="*/ 2571 w 220688"/>
                  <a:gd name="connsiteY1" fmla="*/ 330794 h 330793"/>
                  <a:gd name="connsiteX2" fmla="*/ 0 w 220688"/>
                  <a:gd name="connsiteY2" fmla="*/ 329119 h 330793"/>
                  <a:gd name="connsiteX3" fmla="*/ 218177 w 220688"/>
                  <a:gd name="connsiteY3" fmla="*/ 0 h 330793"/>
                </a:gdLst>
                <a:ahLst/>
                <a:cxnLst>
                  <a:cxn ang="0">
                    <a:pos x="connsiteX0" y="connsiteY0"/>
                  </a:cxn>
                  <a:cxn ang="0">
                    <a:pos x="connsiteX1" y="connsiteY1"/>
                  </a:cxn>
                  <a:cxn ang="0">
                    <a:pos x="connsiteX2" y="connsiteY2"/>
                  </a:cxn>
                  <a:cxn ang="0">
                    <a:pos x="connsiteX3" y="connsiteY3"/>
                  </a:cxn>
                </a:cxnLst>
                <a:rect l="l" t="t" r="r" b="b"/>
                <a:pathLst>
                  <a:path w="220688" h="330793">
                    <a:moveTo>
                      <a:pt x="220689" y="1734"/>
                    </a:moveTo>
                    <a:lnTo>
                      <a:pt x="2571" y="330794"/>
                    </a:lnTo>
                    <a:lnTo>
                      <a:pt x="0" y="329119"/>
                    </a:lnTo>
                    <a:lnTo>
                      <a:pt x="218177" y="0"/>
                    </a:lnTo>
                    <a:close/>
                  </a:path>
                </a:pathLst>
              </a:custGeom>
              <a:grpFill/>
              <a:ln w="5978" cap="flat">
                <a:noFill/>
                <a:prstDash val="solid"/>
                <a:miter/>
              </a:ln>
            </p:spPr>
            <p:txBody>
              <a:bodyPr rtlCol="0" anchor="ctr"/>
              <a:lstStyle/>
              <a:p>
                <a:endParaRPr lang="en-GB"/>
              </a:p>
            </p:txBody>
          </p:sp>
          <p:sp>
            <p:nvSpPr>
              <p:cNvPr id="4693" name="Vrije vorm: vorm 4692">
                <a:extLst>
                  <a:ext uri="{FF2B5EF4-FFF2-40B4-BE49-F238E27FC236}">
                    <a16:creationId xmlns:a16="http://schemas.microsoft.com/office/drawing/2014/main" id="{49EFC2EB-796C-45C4-852B-5407C0002E03}"/>
                  </a:ext>
                </a:extLst>
              </p:cNvPr>
              <p:cNvSpPr/>
              <p:nvPr/>
            </p:nvSpPr>
            <p:spPr>
              <a:xfrm>
                <a:off x="7297094" y="1520607"/>
                <a:ext cx="18276" cy="18483"/>
              </a:xfrm>
              <a:custGeom>
                <a:avLst/>
                <a:gdLst>
                  <a:gd name="connsiteX0" fmla="*/ 1500 w 18276"/>
                  <a:gd name="connsiteY0" fmla="*/ 4098 h 18483"/>
                  <a:gd name="connsiteX1" fmla="*/ 14179 w 18276"/>
                  <a:gd name="connsiteY1" fmla="*/ 1586 h 18483"/>
                  <a:gd name="connsiteX2" fmla="*/ 16750 w 18276"/>
                  <a:gd name="connsiteY2" fmla="*/ 14385 h 18483"/>
                  <a:gd name="connsiteX3" fmla="*/ 4071 w 18276"/>
                  <a:gd name="connsiteY3" fmla="*/ 16897 h 18483"/>
                  <a:gd name="connsiteX4" fmla="*/ 1500 w 18276"/>
                  <a:gd name="connsiteY4" fmla="*/ 4098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 h="18483">
                    <a:moveTo>
                      <a:pt x="1500" y="4098"/>
                    </a:moveTo>
                    <a:cubicBezTo>
                      <a:pt x="4311" y="-148"/>
                      <a:pt x="9992" y="-1284"/>
                      <a:pt x="14179" y="1586"/>
                    </a:cubicBezTo>
                    <a:cubicBezTo>
                      <a:pt x="18365" y="4397"/>
                      <a:pt x="19562" y="10139"/>
                      <a:pt x="16750" y="14385"/>
                    </a:cubicBezTo>
                    <a:cubicBezTo>
                      <a:pt x="13940" y="18631"/>
                      <a:pt x="8258" y="19768"/>
                      <a:pt x="4071" y="16897"/>
                    </a:cubicBezTo>
                    <a:cubicBezTo>
                      <a:pt x="-115" y="14086"/>
                      <a:pt x="-1252" y="8345"/>
                      <a:pt x="1500" y="4098"/>
                    </a:cubicBezTo>
                    <a:close/>
                  </a:path>
                </a:pathLst>
              </a:custGeom>
              <a:grpFill/>
              <a:ln w="5978" cap="flat">
                <a:noFill/>
                <a:prstDash val="solid"/>
                <a:miter/>
              </a:ln>
            </p:spPr>
            <p:txBody>
              <a:bodyPr rtlCol="0" anchor="ctr"/>
              <a:lstStyle/>
              <a:p>
                <a:endParaRPr lang="en-GB"/>
              </a:p>
            </p:txBody>
          </p:sp>
          <p:sp>
            <p:nvSpPr>
              <p:cNvPr id="4694" name="Vrije vorm: vorm 4693">
                <a:extLst>
                  <a:ext uri="{FF2B5EF4-FFF2-40B4-BE49-F238E27FC236}">
                    <a16:creationId xmlns:a16="http://schemas.microsoft.com/office/drawing/2014/main" id="{D8653088-5409-4D8C-B896-CA6E45D49168}"/>
                  </a:ext>
                </a:extLst>
              </p:cNvPr>
              <p:cNvSpPr/>
              <p:nvPr/>
            </p:nvSpPr>
            <p:spPr>
              <a:xfrm>
                <a:off x="7079414" y="1848949"/>
                <a:ext cx="18333" cy="18441"/>
              </a:xfrm>
              <a:custGeom>
                <a:avLst/>
                <a:gdLst>
                  <a:gd name="connsiteX0" fmla="*/ 1541 w 18333"/>
                  <a:gd name="connsiteY0" fmla="*/ 4098 h 18441"/>
                  <a:gd name="connsiteX1" fmla="*/ 4113 w 18333"/>
                  <a:gd name="connsiteY1" fmla="*/ 16897 h 18441"/>
                  <a:gd name="connsiteX2" fmla="*/ 16793 w 18333"/>
                  <a:gd name="connsiteY2" fmla="*/ 14385 h 18441"/>
                  <a:gd name="connsiteX3" fmla="*/ 14221 w 18333"/>
                  <a:gd name="connsiteY3" fmla="*/ 1586 h 18441"/>
                  <a:gd name="connsiteX4" fmla="*/ 1541 w 18333"/>
                  <a:gd name="connsiteY4" fmla="*/ 409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541" y="4098"/>
                    </a:moveTo>
                    <a:cubicBezTo>
                      <a:pt x="-1269" y="8345"/>
                      <a:pt x="-133" y="14026"/>
                      <a:pt x="4113" y="16897"/>
                    </a:cubicBezTo>
                    <a:cubicBezTo>
                      <a:pt x="8300" y="19708"/>
                      <a:pt x="14041" y="18572"/>
                      <a:pt x="16793" y="14385"/>
                    </a:cubicBezTo>
                    <a:cubicBezTo>
                      <a:pt x="19603" y="10139"/>
                      <a:pt x="18467" y="4457"/>
                      <a:pt x="14221" y="1586"/>
                    </a:cubicBezTo>
                    <a:cubicBezTo>
                      <a:pt x="10034" y="-1284"/>
                      <a:pt x="4352" y="-148"/>
                      <a:pt x="1541" y="4098"/>
                    </a:cubicBezTo>
                    <a:close/>
                  </a:path>
                </a:pathLst>
              </a:custGeom>
              <a:grpFill/>
              <a:ln w="5978" cap="flat">
                <a:noFill/>
                <a:prstDash val="solid"/>
                <a:miter/>
              </a:ln>
            </p:spPr>
            <p:txBody>
              <a:bodyPr rtlCol="0" anchor="ctr"/>
              <a:lstStyle/>
              <a:p>
                <a:endParaRPr lang="en-GB"/>
              </a:p>
            </p:txBody>
          </p:sp>
        </p:grpSp>
        <p:grpSp>
          <p:nvGrpSpPr>
            <p:cNvPr id="230" name="Graphic 3">
              <a:extLst>
                <a:ext uri="{FF2B5EF4-FFF2-40B4-BE49-F238E27FC236}">
                  <a16:creationId xmlns:a16="http://schemas.microsoft.com/office/drawing/2014/main" id="{3B5B790B-679A-482A-A399-0D8815901689}"/>
                </a:ext>
              </a:extLst>
            </p:cNvPr>
            <p:cNvGrpSpPr/>
            <p:nvPr/>
          </p:nvGrpSpPr>
          <p:grpSpPr>
            <a:xfrm>
              <a:off x="7934410" y="4007400"/>
              <a:ext cx="86828" cy="40175"/>
              <a:chOff x="7934410" y="4007400"/>
              <a:chExt cx="86828" cy="40175"/>
            </a:xfrm>
            <a:grpFill/>
          </p:grpSpPr>
          <p:sp>
            <p:nvSpPr>
              <p:cNvPr id="4689" name="Vrije vorm: vorm 4688">
                <a:extLst>
                  <a:ext uri="{FF2B5EF4-FFF2-40B4-BE49-F238E27FC236}">
                    <a16:creationId xmlns:a16="http://schemas.microsoft.com/office/drawing/2014/main" id="{03B498A5-9685-4B21-BA4A-888D670E24AF}"/>
                  </a:ext>
                </a:extLst>
              </p:cNvPr>
              <p:cNvSpPr/>
              <p:nvPr/>
            </p:nvSpPr>
            <p:spPr>
              <a:xfrm>
                <a:off x="7942657" y="4015018"/>
                <a:ext cx="70273" cy="24939"/>
              </a:xfrm>
              <a:custGeom>
                <a:avLst/>
                <a:gdLst>
                  <a:gd name="connsiteX0" fmla="*/ 70273 w 70273"/>
                  <a:gd name="connsiteY0" fmla="*/ 22009 h 24939"/>
                  <a:gd name="connsiteX1" fmla="*/ 69376 w 70273"/>
                  <a:gd name="connsiteY1" fmla="*/ 24940 h 24939"/>
                  <a:gd name="connsiteX2" fmla="*/ 0 w 70273"/>
                  <a:gd name="connsiteY2" fmla="*/ 2930 h 24939"/>
                  <a:gd name="connsiteX3" fmla="*/ 957 w 70273"/>
                  <a:gd name="connsiteY3" fmla="*/ 0 h 24939"/>
                </a:gdLst>
                <a:ahLst/>
                <a:cxnLst>
                  <a:cxn ang="0">
                    <a:pos x="connsiteX0" y="connsiteY0"/>
                  </a:cxn>
                  <a:cxn ang="0">
                    <a:pos x="connsiteX1" y="connsiteY1"/>
                  </a:cxn>
                  <a:cxn ang="0">
                    <a:pos x="connsiteX2" y="connsiteY2"/>
                  </a:cxn>
                  <a:cxn ang="0">
                    <a:pos x="connsiteX3" y="connsiteY3"/>
                  </a:cxn>
                </a:cxnLst>
                <a:rect l="l" t="t" r="r" b="b"/>
                <a:pathLst>
                  <a:path w="70273" h="24939">
                    <a:moveTo>
                      <a:pt x="70273" y="22009"/>
                    </a:moveTo>
                    <a:lnTo>
                      <a:pt x="69376" y="24940"/>
                    </a:lnTo>
                    <a:lnTo>
                      <a:pt x="0" y="2930"/>
                    </a:lnTo>
                    <a:lnTo>
                      <a:pt x="957" y="0"/>
                    </a:lnTo>
                    <a:close/>
                  </a:path>
                </a:pathLst>
              </a:custGeom>
              <a:grpFill/>
              <a:ln w="5978" cap="flat">
                <a:noFill/>
                <a:prstDash val="solid"/>
                <a:miter/>
              </a:ln>
            </p:spPr>
            <p:txBody>
              <a:bodyPr rtlCol="0" anchor="ctr"/>
              <a:lstStyle/>
              <a:p>
                <a:endParaRPr lang="en-GB"/>
              </a:p>
            </p:txBody>
          </p:sp>
          <p:sp>
            <p:nvSpPr>
              <p:cNvPr id="4690" name="Vrije vorm: vorm 4689">
                <a:extLst>
                  <a:ext uri="{FF2B5EF4-FFF2-40B4-BE49-F238E27FC236}">
                    <a16:creationId xmlns:a16="http://schemas.microsoft.com/office/drawing/2014/main" id="{7A2587A3-70CB-48A1-ADCA-3CB4BA6FAA9B}"/>
                  </a:ext>
                </a:extLst>
              </p:cNvPr>
              <p:cNvSpPr/>
              <p:nvPr/>
            </p:nvSpPr>
            <p:spPr>
              <a:xfrm>
                <a:off x="7934410" y="4007400"/>
                <a:ext cx="18348" cy="18405"/>
              </a:xfrm>
              <a:custGeom>
                <a:avLst/>
                <a:gdLst>
                  <a:gd name="connsiteX0" fmla="*/ 6454 w 18348"/>
                  <a:gd name="connsiteY0" fmla="*/ 17964 h 18405"/>
                  <a:gd name="connsiteX1" fmla="*/ 413 w 18348"/>
                  <a:gd name="connsiteY1" fmla="*/ 6422 h 18405"/>
                  <a:gd name="connsiteX2" fmla="*/ 11895 w 18348"/>
                  <a:gd name="connsiteY2" fmla="*/ 441 h 18405"/>
                  <a:gd name="connsiteX3" fmla="*/ 17936 w 18348"/>
                  <a:gd name="connsiteY3" fmla="*/ 11984 h 18405"/>
                  <a:gd name="connsiteX4" fmla="*/ 6454 w 18348"/>
                  <a:gd name="connsiteY4" fmla="*/ 1796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05">
                    <a:moveTo>
                      <a:pt x="6454" y="17964"/>
                    </a:moveTo>
                    <a:cubicBezTo>
                      <a:pt x="1609" y="16410"/>
                      <a:pt x="-1082" y="11266"/>
                      <a:pt x="413" y="6422"/>
                    </a:cubicBezTo>
                    <a:cubicBezTo>
                      <a:pt x="1908" y="1577"/>
                      <a:pt x="7051" y="-1114"/>
                      <a:pt x="11895" y="441"/>
                    </a:cubicBezTo>
                    <a:cubicBezTo>
                      <a:pt x="16740" y="1996"/>
                      <a:pt x="19431" y="7139"/>
                      <a:pt x="17936" y="11984"/>
                    </a:cubicBezTo>
                    <a:cubicBezTo>
                      <a:pt x="16381" y="16828"/>
                      <a:pt x="11238" y="19519"/>
                      <a:pt x="6454" y="17964"/>
                    </a:cubicBezTo>
                    <a:close/>
                  </a:path>
                </a:pathLst>
              </a:custGeom>
              <a:grpFill/>
              <a:ln w="5978" cap="flat">
                <a:noFill/>
                <a:prstDash val="solid"/>
                <a:miter/>
              </a:ln>
            </p:spPr>
            <p:txBody>
              <a:bodyPr rtlCol="0" anchor="ctr"/>
              <a:lstStyle/>
              <a:p>
                <a:endParaRPr lang="en-GB"/>
              </a:p>
            </p:txBody>
          </p:sp>
          <p:sp>
            <p:nvSpPr>
              <p:cNvPr id="4691" name="Vrije vorm: vorm 4690">
                <a:extLst>
                  <a:ext uri="{FF2B5EF4-FFF2-40B4-BE49-F238E27FC236}">
                    <a16:creationId xmlns:a16="http://schemas.microsoft.com/office/drawing/2014/main" id="{9DC2E638-4901-4ACD-A82A-DC14DC0BB99C}"/>
                  </a:ext>
                </a:extLst>
              </p:cNvPr>
              <p:cNvSpPr/>
              <p:nvPr/>
            </p:nvSpPr>
            <p:spPr>
              <a:xfrm>
                <a:off x="8002889" y="4029170"/>
                <a:ext cx="18349" cy="18405"/>
              </a:xfrm>
              <a:custGeom>
                <a:avLst/>
                <a:gdLst>
                  <a:gd name="connsiteX0" fmla="*/ 6453 w 18349"/>
                  <a:gd name="connsiteY0" fmla="*/ 17964 h 18405"/>
                  <a:gd name="connsiteX1" fmla="*/ 17937 w 18349"/>
                  <a:gd name="connsiteY1" fmla="*/ 11984 h 18405"/>
                  <a:gd name="connsiteX2" fmla="*/ 11896 w 18349"/>
                  <a:gd name="connsiteY2" fmla="*/ 441 h 18405"/>
                  <a:gd name="connsiteX3" fmla="*/ 413 w 18349"/>
                  <a:gd name="connsiteY3" fmla="*/ 6422 h 18405"/>
                  <a:gd name="connsiteX4" fmla="*/ 6453 w 18349"/>
                  <a:gd name="connsiteY4" fmla="*/ 1796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6453" y="17964"/>
                    </a:moveTo>
                    <a:cubicBezTo>
                      <a:pt x="11298" y="19519"/>
                      <a:pt x="16442" y="16828"/>
                      <a:pt x="17937" y="11984"/>
                    </a:cubicBezTo>
                    <a:cubicBezTo>
                      <a:pt x="19432" y="7139"/>
                      <a:pt x="16740" y="1936"/>
                      <a:pt x="11896" y="441"/>
                    </a:cubicBezTo>
                    <a:cubicBezTo>
                      <a:pt x="7051" y="-1114"/>
                      <a:pt x="1908" y="1577"/>
                      <a:pt x="413" y="6422"/>
                    </a:cubicBezTo>
                    <a:cubicBezTo>
                      <a:pt x="-1082" y="11266"/>
                      <a:pt x="1609" y="16469"/>
                      <a:pt x="6453" y="17964"/>
                    </a:cubicBezTo>
                    <a:close/>
                  </a:path>
                </a:pathLst>
              </a:custGeom>
              <a:grpFill/>
              <a:ln w="5978" cap="flat">
                <a:noFill/>
                <a:prstDash val="solid"/>
                <a:miter/>
              </a:ln>
            </p:spPr>
            <p:txBody>
              <a:bodyPr rtlCol="0" anchor="ctr"/>
              <a:lstStyle/>
              <a:p>
                <a:endParaRPr lang="en-GB"/>
              </a:p>
            </p:txBody>
          </p:sp>
        </p:grpSp>
        <p:grpSp>
          <p:nvGrpSpPr>
            <p:cNvPr id="231" name="Graphic 3">
              <a:extLst>
                <a:ext uri="{FF2B5EF4-FFF2-40B4-BE49-F238E27FC236}">
                  <a16:creationId xmlns:a16="http://schemas.microsoft.com/office/drawing/2014/main" id="{5CD275F6-1422-4CD4-8E66-F4B48A59DC94}"/>
                </a:ext>
              </a:extLst>
            </p:cNvPr>
            <p:cNvGrpSpPr/>
            <p:nvPr/>
          </p:nvGrpSpPr>
          <p:grpSpPr>
            <a:xfrm>
              <a:off x="7270092" y="2119366"/>
              <a:ext cx="147288" cy="141234"/>
              <a:chOff x="7270092" y="2119366"/>
              <a:chExt cx="147288" cy="141234"/>
            </a:xfrm>
            <a:grpFill/>
          </p:grpSpPr>
          <p:sp>
            <p:nvSpPr>
              <p:cNvPr id="4686" name="Vrije vorm: vorm 4685">
                <a:extLst>
                  <a:ext uri="{FF2B5EF4-FFF2-40B4-BE49-F238E27FC236}">
                    <a16:creationId xmlns:a16="http://schemas.microsoft.com/office/drawing/2014/main" id="{F9DA9772-1EA9-43F4-8CE7-18D639E8621D}"/>
                  </a:ext>
                </a:extLst>
              </p:cNvPr>
              <p:cNvSpPr/>
              <p:nvPr/>
            </p:nvSpPr>
            <p:spPr>
              <a:xfrm>
                <a:off x="7277841" y="2127144"/>
                <a:ext cx="131754" cy="125654"/>
              </a:xfrm>
              <a:custGeom>
                <a:avLst/>
                <a:gdLst>
                  <a:gd name="connsiteX0" fmla="*/ 131755 w 131754"/>
                  <a:gd name="connsiteY0" fmla="*/ 2213 h 125654"/>
                  <a:gd name="connsiteX1" fmla="*/ 2153 w 131754"/>
                  <a:gd name="connsiteY1" fmla="*/ 125655 h 125654"/>
                  <a:gd name="connsiteX2" fmla="*/ 0 w 131754"/>
                  <a:gd name="connsiteY2" fmla="*/ 123382 h 125654"/>
                  <a:gd name="connsiteX3" fmla="*/ 129602 w 131754"/>
                  <a:gd name="connsiteY3" fmla="*/ 0 h 125654"/>
                </a:gdLst>
                <a:ahLst/>
                <a:cxnLst>
                  <a:cxn ang="0">
                    <a:pos x="connsiteX0" y="connsiteY0"/>
                  </a:cxn>
                  <a:cxn ang="0">
                    <a:pos x="connsiteX1" y="connsiteY1"/>
                  </a:cxn>
                  <a:cxn ang="0">
                    <a:pos x="connsiteX2" y="connsiteY2"/>
                  </a:cxn>
                  <a:cxn ang="0">
                    <a:pos x="connsiteX3" y="connsiteY3"/>
                  </a:cxn>
                </a:cxnLst>
                <a:rect l="l" t="t" r="r" b="b"/>
                <a:pathLst>
                  <a:path w="131754" h="125654">
                    <a:moveTo>
                      <a:pt x="131755" y="2213"/>
                    </a:moveTo>
                    <a:lnTo>
                      <a:pt x="2153" y="125655"/>
                    </a:lnTo>
                    <a:lnTo>
                      <a:pt x="0" y="123382"/>
                    </a:lnTo>
                    <a:lnTo>
                      <a:pt x="129602" y="0"/>
                    </a:lnTo>
                    <a:close/>
                  </a:path>
                </a:pathLst>
              </a:custGeom>
              <a:grpFill/>
              <a:ln w="5978" cap="flat">
                <a:noFill/>
                <a:prstDash val="solid"/>
                <a:miter/>
              </a:ln>
            </p:spPr>
            <p:txBody>
              <a:bodyPr rtlCol="0" anchor="ctr"/>
              <a:lstStyle/>
              <a:p>
                <a:endParaRPr lang="en-GB"/>
              </a:p>
            </p:txBody>
          </p:sp>
          <p:sp>
            <p:nvSpPr>
              <p:cNvPr id="4687" name="Vrije vorm: vorm 4686">
                <a:extLst>
                  <a:ext uri="{FF2B5EF4-FFF2-40B4-BE49-F238E27FC236}">
                    <a16:creationId xmlns:a16="http://schemas.microsoft.com/office/drawing/2014/main" id="{85F009DE-44EF-4C5D-9974-F2A70D741A89}"/>
                  </a:ext>
                </a:extLst>
              </p:cNvPr>
              <p:cNvSpPr/>
              <p:nvPr/>
            </p:nvSpPr>
            <p:spPr>
              <a:xfrm>
                <a:off x="7399037" y="2119366"/>
                <a:ext cx="18343" cy="18426"/>
              </a:xfrm>
              <a:custGeom>
                <a:avLst/>
                <a:gdLst>
                  <a:gd name="connsiteX0" fmla="*/ 2844 w 18343"/>
                  <a:gd name="connsiteY0" fmla="*/ 2515 h 18426"/>
                  <a:gd name="connsiteX1" fmla="*/ 15822 w 18343"/>
                  <a:gd name="connsiteY1" fmla="*/ 2874 h 18426"/>
                  <a:gd name="connsiteX2" fmla="*/ 15523 w 18343"/>
                  <a:gd name="connsiteY2" fmla="*/ 15912 h 18426"/>
                  <a:gd name="connsiteX3" fmla="*/ 2545 w 18343"/>
                  <a:gd name="connsiteY3" fmla="*/ 15553 h 18426"/>
                  <a:gd name="connsiteX4" fmla="*/ 2844 w 18343"/>
                  <a:gd name="connsiteY4" fmla="*/ 25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6">
                    <a:moveTo>
                      <a:pt x="2844" y="2515"/>
                    </a:moveTo>
                    <a:cubicBezTo>
                      <a:pt x="6492" y="-954"/>
                      <a:pt x="12293" y="-834"/>
                      <a:pt x="15822" y="2874"/>
                    </a:cubicBezTo>
                    <a:cubicBezTo>
                      <a:pt x="19291" y="6582"/>
                      <a:pt x="19171" y="12383"/>
                      <a:pt x="15523" y="15912"/>
                    </a:cubicBezTo>
                    <a:cubicBezTo>
                      <a:pt x="11875" y="19381"/>
                      <a:pt x="6073" y="19261"/>
                      <a:pt x="2545" y="15553"/>
                    </a:cubicBezTo>
                    <a:cubicBezTo>
                      <a:pt x="-984" y="11845"/>
                      <a:pt x="-804" y="5984"/>
                      <a:pt x="2844" y="2515"/>
                    </a:cubicBezTo>
                    <a:close/>
                  </a:path>
                </a:pathLst>
              </a:custGeom>
              <a:grpFill/>
              <a:ln w="5978" cap="flat">
                <a:noFill/>
                <a:prstDash val="solid"/>
                <a:miter/>
              </a:ln>
            </p:spPr>
            <p:txBody>
              <a:bodyPr rtlCol="0" anchor="ctr"/>
              <a:lstStyle/>
              <a:p>
                <a:endParaRPr lang="en-GB"/>
              </a:p>
            </p:txBody>
          </p:sp>
          <p:sp>
            <p:nvSpPr>
              <p:cNvPr id="4688" name="Vrije vorm: vorm 4687">
                <a:extLst>
                  <a:ext uri="{FF2B5EF4-FFF2-40B4-BE49-F238E27FC236}">
                    <a16:creationId xmlns:a16="http://schemas.microsoft.com/office/drawing/2014/main" id="{82125601-1D0A-4FDC-9E29-824F1AE0E1DE}"/>
                  </a:ext>
                </a:extLst>
              </p:cNvPr>
              <p:cNvSpPr/>
              <p:nvPr/>
            </p:nvSpPr>
            <p:spPr>
              <a:xfrm>
                <a:off x="7270092" y="2242127"/>
                <a:ext cx="18366" cy="18472"/>
              </a:xfrm>
              <a:custGeom>
                <a:avLst/>
                <a:gdLst>
                  <a:gd name="connsiteX0" fmla="*/ 2844 w 18366"/>
                  <a:gd name="connsiteY0" fmla="*/ 2538 h 18472"/>
                  <a:gd name="connsiteX1" fmla="*/ 2545 w 18366"/>
                  <a:gd name="connsiteY1" fmla="*/ 15576 h 18472"/>
                  <a:gd name="connsiteX2" fmla="*/ 15523 w 18366"/>
                  <a:gd name="connsiteY2" fmla="*/ 15935 h 18472"/>
                  <a:gd name="connsiteX3" fmla="*/ 15822 w 18366"/>
                  <a:gd name="connsiteY3" fmla="*/ 2897 h 18472"/>
                  <a:gd name="connsiteX4" fmla="*/ 2844 w 18366"/>
                  <a:gd name="connsiteY4" fmla="*/ 2538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2">
                    <a:moveTo>
                      <a:pt x="2844" y="2538"/>
                    </a:moveTo>
                    <a:cubicBezTo>
                      <a:pt x="-804" y="6007"/>
                      <a:pt x="-984" y="11868"/>
                      <a:pt x="2545" y="15576"/>
                    </a:cubicBezTo>
                    <a:cubicBezTo>
                      <a:pt x="6074" y="19284"/>
                      <a:pt x="11815" y="19464"/>
                      <a:pt x="15523" y="15935"/>
                    </a:cubicBezTo>
                    <a:cubicBezTo>
                      <a:pt x="19171" y="12466"/>
                      <a:pt x="19351" y="6605"/>
                      <a:pt x="15822" y="2897"/>
                    </a:cubicBezTo>
                    <a:cubicBezTo>
                      <a:pt x="12293" y="-811"/>
                      <a:pt x="6492" y="-991"/>
                      <a:pt x="2844" y="2538"/>
                    </a:cubicBezTo>
                    <a:close/>
                  </a:path>
                </a:pathLst>
              </a:custGeom>
              <a:grpFill/>
              <a:ln w="5978" cap="flat">
                <a:noFill/>
                <a:prstDash val="solid"/>
                <a:miter/>
              </a:ln>
            </p:spPr>
            <p:txBody>
              <a:bodyPr rtlCol="0" anchor="ctr"/>
              <a:lstStyle/>
              <a:p>
                <a:endParaRPr lang="en-GB"/>
              </a:p>
            </p:txBody>
          </p:sp>
        </p:grpSp>
        <p:grpSp>
          <p:nvGrpSpPr>
            <p:cNvPr id="232" name="Graphic 3">
              <a:extLst>
                <a:ext uri="{FF2B5EF4-FFF2-40B4-BE49-F238E27FC236}">
                  <a16:creationId xmlns:a16="http://schemas.microsoft.com/office/drawing/2014/main" id="{4243C2FE-BBA2-4A27-BD63-DE76D53AECBB}"/>
                </a:ext>
              </a:extLst>
            </p:cNvPr>
            <p:cNvGrpSpPr/>
            <p:nvPr/>
          </p:nvGrpSpPr>
          <p:grpSpPr>
            <a:xfrm>
              <a:off x="7091645" y="1442656"/>
              <a:ext cx="26165" cy="33094"/>
              <a:chOff x="7091645" y="1442656"/>
              <a:chExt cx="26165" cy="33094"/>
            </a:xfrm>
            <a:grpFill/>
          </p:grpSpPr>
          <p:sp>
            <p:nvSpPr>
              <p:cNvPr id="4683" name="Vrije vorm: vorm 4682">
                <a:extLst>
                  <a:ext uri="{FF2B5EF4-FFF2-40B4-BE49-F238E27FC236}">
                    <a16:creationId xmlns:a16="http://schemas.microsoft.com/office/drawing/2014/main" id="{40A5803D-5C85-433E-945B-B92FFEEA94AF}"/>
                  </a:ext>
                </a:extLst>
              </p:cNvPr>
              <p:cNvSpPr/>
              <p:nvPr/>
            </p:nvSpPr>
            <p:spPr>
              <a:xfrm>
                <a:off x="7099256" y="1450724"/>
                <a:ext cx="10945" cy="16925"/>
              </a:xfrm>
              <a:custGeom>
                <a:avLst/>
                <a:gdLst>
                  <a:gd name="connsiteX0" fmla="*/ 10945 w 10945"/>
                  <a:gd name="connsiteY0" fmla="*/ 1495 h 16925"/>
                  <a:gd name="connsiteX1" fmla="*/ 2692 w 10945"/>
                  <a:gd name="connsiteY1" fmla="*/ 16925 h 16925"/>
                  <a:gd name="connsiteX2" fmla="*/ 0 w 10945"/>
                  <a:gd name="connsiteY2" fmla="*/ 15490 h 16925"/>
                  <a:gd name="connsiteX3" fmla="*/ 8253 w 10945"/>
                  <a:gd name="connsiteY3" fmla="*/ 0 h 16925"/>
                </a:gdLst>
                <a:ahLst/>
                <a:cxnLst>
                  <a:cxn ang="0">
                    <a:pos x="connsiteX0" y="connsiteY0"/>
                  </a:cxn>
                  <a:cxn ang="0">
                    <a:pos x="connsiteX1" y="connsiteY1"/>
                  </a:cxn>
                  <a:cxn ang="0">
                    <a:pos x="connsiteX2" y="connsiteY2"/>
                  </a:cxn>
                  <a:cxn ang="0">
                    <a:pos x="connsiteX3" y="connsiteY3"/>
                  </a:cxn>
                </a:cxnLst>
                <a:rect l="l" t="t" r="r" b="b"/>
                <a:pathLst>
                  <a:path w="10945" h="16925">
                    <a:moveTo>
                      <a:pt x="10945" y="1495"/>
                    </a:moveTo>
                    <a:lnTo>
                      <a:pt x="2692" y="16925"/>
                    </a:lnTo>
                    <a:lnTo>
                      <a:pt x="0" y="15490"/>
                    </a:lnTo>
                    <a:lnTo>
                      <a:pt x="8253" y="0"/>
                    </a:lnTo>
                    <a:close/>
                  </a:path>
                </a:pathLst>
              </a:custGeom>
              <a:grpFill/>
              <a:ln w="5978" cap="flat">
                <a:noFill/>
                <a:prstDash val="solid"/>
                <a:miter/>
              </a:ln>
            </p:spPr>
            <p:txBody>
              <a:bodyPr rtlCol="0" anchor="ctr"/>
              <a:lstStyle/>
              <a:p>
                <a:endParaRPr lang="en-GB"/>
              </a:p>
            </p:txBody>
          </p:sp>
          <p:sp>
            <p:nvSpPr>
              <p:cNvPr id="4684" name="Vrije vorm: vorm 4683">
                <a:extLst>
                  <a:ext uri="{FF2B5EF4-FFF2-40B4-BE49-F238E27FC236}">
                    <a16:creationId xmlns:a16="http://schemas.microsoft.com/office/drawing/2014/main" id="{5BDF50DF-AE1B-4BE4-A4F8-832CBD50D086}"/>
                  </a:ext>
                </a:extLst>
              </p:cNvPr>
              <p:cNvSpPr/>
              <p:nvPr/>
            </p:nvSpPr>
            <p:spPr>
              <a:xfrm>
                <a:off x="7091645" y="1457336"/>
                <a:ext cx="18331" cy="18414"/>
              </a:xfrm>
              <a:custGeom>
                <a:avLst/>
                <a:gdLst>
                  <a:gd name="connsiteX0" fmla="*/ 17240 w 18331"/>
                  <a:gd name="connsiteY0" fmla="*/ 13603 h 18414"/>
                  <a:gd name="connsiteX1" fmla="*/ 4800 w 18331"/>
                  <a:gd name="connsiteY1" fmla="*/ 17311 h 18414"/>
                  <a:gd name="connsiteX2" fmla="*/ 1092 w 18331"/>
                  <a:gd name="connsiteY2" fmla="*/ 4812 h 18414"/>
                  <a:gd name="connsiteX3" fmla="*/ 13532 w 18331"/>
                  <a:gd name="connsiteY3" fmla="*/ 1103 h 18414"/>
                  <a:gd name="connsiteX4" fmla="*/ 17240 w 18331"/>
                  <a:gd name="connsiteY4" fmla="*/ 136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14">
                    <a:moveTo>
                      <a:pt x="17240" y="13603"/>
                    </a:moveTo>
                    <a:cubicBezTo>
                      <a:pt x="14848" y="18089"/>
                      <a:pt x="9285" y="19704"/>
                      <a:pt x="4800" y="17311"/>
                    </a:cubicBezTo>
                    <a:cubicBezTo>
                      <a:pt x="374" y="14859"/>
                      <a:pt x="-1301" y="9297"/>
                      <a:pt x="1092" y="4812"/>
                    </a:cubicBezTo>
                    <a:cubicBezTo>
                      <a:pt x="3484" y="326"/>
                      <a:pt x="9046" y="-1289"/>
                      <a:pt x="13532" y="1103"/>
                    </a:cubicBezTo>
                    <a:cubicBezTo>
                      <a:pt x="17958" y="3496"/>
                      <a:pt x="19632" y="9118"/>
                      <a:pt x="17240" y="13603"/>
                    </a:cubicBezTo>
                    <a:close/>
                  </a:path>
                </a:pathLst>
              </a:custGeom>
              <a:grpFill/>
              <a:ln w="5978" cap="flat">
                <a:noFill/>
                <a:prstDash val="solid"/>
                <a:miter/>
              </a:ln>
            </p:spPr>
            <p:txBody>
              <a:bodyPr rtlCol="0" anchor="ctr"/>
              <a:lstStyle/>
              <a:p>
                <a:endParaRPr lang="en-GB"/>
              </a:p>
            </p:txBody>
          </p:sp>
          <p:sp>
            <p:nvSpPr>
              <p:cNvPr id="4685" name="Vrije vorm: vorm 4684">
                <a:extLst>
                  <a:ext uri="{FF2B5EF4-FFF2-40B4-BE49-F238E27FC236}">
                    <a16:creationId xmlns:a16="http://schemas.microsoft.com/office/drawing/2014/main" id="{5A922B04-9E6D-4223-B759-FBD295BEDA3E}"/>
                  </a:ext>
                </a:extLst>
              </p:cNvPr>
              <p:cNvSpPr/>
              <p:nvPr/>
            </p:nvSpPr>
            <p:spPr>
              <a:xfrm>
                <a:off x="7099454" y="1442656"/>
                <a:ext cx="18357" cy="18441"/>
              </a:xfrm>
              <a:custGeom>
                <a:avLst/>
                <a:gdLst>
                  <a:gd name="connsiteX0" fmla="*/ 17266 w 18357"/>
                  <a:gd name="connsiteY0" fmla="*/ 13630 h 18441"/>
                  <a:gd name="connsiteX1" fmla="*/ 13558 w 18357"/>
                  <a:gd name="connsiteY1" fmla="*/ 1130 h 18441"/>
                  <a:gd name="connsiteX2" fmla="*/ 1118 w 18357"/>
                  <a:gd name="connsiteY2" fmla="*/ 4838 h 18441"/>
                  <a:gd name="connsiteX3" fmla="*/ 4826 w 18357"/>
                  <a:gd name="connsiteY3" fmla="*/ 17338 h 18441"/>
                  <a:gd name="connsiteX4" fmla="*/ 17266 w 18357"/>
                  <a:gd name="connsiteY4" fmla="*/ 1363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1">
                    <a:moveTo>
                      <a:pt x="17266" y="13630"/>
                    </a:moveTo>
                    <a:cubicBezTo>
                      <a:pt x="19658" y="9144"/>
                      <a:pt x="17983" y="3582"/>
                      <a:pt x="13558" y="1130"/>
                    </a:cubicBezTo>
                    <a:cubicBezTo>
                      <a:pt x="9072" y="-1322"/>
                      <a:pt x="3570" y="352"/>
                      <a:pt x="1118" y="4838"/>
                    </a:cubicBezTo>
                    <a:cubicBezTo>
                      <a:pt x="-1334" y="9324"/>
                      <a:pt x="400" y="14886"/>
                      <a:pt x="4826" y="17338"/>
                    </a:cubicBezTo>
                    <a:cubicBezTo>
                      <a:pt x="9312" y="19730"/>
                      <a:pt x="14873" y="18115"/>
                      <a:pt x="17266" y="13630"/>
                    </a:cubicBezTo>
                    <a:close/>
                  </a:path>
                </a:pathLst>
              </a:custGeom>
              <a:grpFill/>
              <a:ln w="5978" cap="flat">
                <a:noFill/>
                <a:prstDash val="solid"/>
                <a:miter/>
              </a:ln>
            </p:spPr>
            <p:txBody>
              <a:bodyPr rtlCol="0" anchor="ctr"/>
              <a:lstStyle/>
              <a:p>
                <a:endParaRPr lang="en-GB"/>
              </a:p>
            </p:txBody>
          </p:sp>
        </p:grpSp>
        <p:grpSp>
          <p:nvGrpSpPr>
            <p:cNvPr id="233" name="Graphic 3">
              <a:extLst>
                <a:ext uri="{FF2B5EF4-FFF2-40B4-BE49-F238E27FC236}">
                  <a16:creationId xmlns:a16="http://schemas.microsoft.com/office/drawing/2014/main" id="{4D2C5653-5863-4FE1-B7D5-36FD95873E3A}"/>
                </a:ext>
              </a:extLst>
            </p:cNvPr>
            <p:cNvGrpSpPr/>
            <p:nvPr/>
          </p:nvGrpSpPr>
          <p:grpSpPr>
            <a:xfrm>
              <a:off x="7257237" y="2086990"/>
              <a:ext cx="143096" cy="141788"/>
              <a:chOff x="7257237" y="2086990"/>
              <a:chExt cx="143096" cy="141788"/>
            </a:xfrm>
            <a:grpFill/>
          </p:grpSpPr>
          <p:sp>
            <p:nvSpPr>
              <p:cNvPr id="4680" name="Vrije vorm: vorm 4679">
                <a:extLst>
                  <a:ext uri="{FF2B5EF4-FFF2-40B4-BE49-F238E27FC236}">
                    <a16:creationId xmlns:a16="http://schemas.microsoft.com/office/drawing/2014/main" id="{9AB3B94E-5E6B-4A25-B9A1-EE4B4E564ACF}"/>
                  </a:ext>
                </a:extLst>
              </p:cNvPr>
              <p:cNvSpPr/>
              <p:nvPr/>
            </p:nvSpPr>
            <p:spPr>
              <a:xfrm>
                <a:off x="7265042" y="2094788"/>
                <a:ext cx="127508" cy="126133"/>
              </a:xfrm>
              <a:custGeom>
                <a:avLst/>
                <a:gdLst>
                  <a:gd name="connsiteX0" fmla="*/ 127509 w 127508"/>
                  <a:gd name="connsiteY0" fmla="*/ 2213 h 126133"/>
                  <a:gd name="connsiteX1" fmla="*/ 2153 w 127508"/>
                  <a:gd name="connsiteY1" fmla="*/ 126133 h 126133"/>
                  <a:gd name="connsiteX2" fmla="*/ 0 w 127508"/>
                  <a:gd name="connsiteY2" fmla="*/ 123980 h 126133"/>
                  <a:gd name="connsiteX3" fmla="*/ 125356 w 127508"/>
                  <a:gd name="connsiteY3" fmla="*/ 0 h 126133"/>
                </a:gdLst>
                <a:ahLst/>
                <a:cxnLst>
                  <a:cxn ang="0">
                    <a:pos x="connsiteX0" y="connsiteY0"/>
                  </a:cxn>
                  <a:cxn ang="0">
                    <a:pos x="connsiteX1" y="connsiteY1"/>
                  </a:cxn>
                  <a:cxn ang="0">
                    <a:pos x="connsiteX2" y="connsiteY2"/>
                  </a:cxn>
                  <a:cxn ang="0">
                    <a:pos x="connsiteX3" y="connsiteY3"/>
                  </a:cxn>
                </a:cxnLst>
                <a:rect l="l" t="t" r="r" b="b"/>
                <a:pathLst>
                  <a:path w="127508" h="126133">
                    <a:moveTo>
                      <a:pt x="127509" y="2213"/>
                    </a:moveTo>
                    <a:lnTo>
                      <a:pt x="2153" y="126133"/>
                    </a:lnTo>
                    <a:lnTo>
                      <a:pt x="0" y="123980"/>
                    </a:lnTo>
                    <a:lnTo>
                      <a:pt x="125356" y="0"/>
                    </a:lnTo>
                    <a:close/>
                  </a:path>
                </a:pathLst>
              </a:custGeom>
              <a:grpFill/>
              <a:ln w="5978" cap="flat">
                <a:noFill/>
                <a:prstDash val="solid"/>
                <a:miter/>
              </a:ln>
            </p:spPr>
            <p:txBody>
              <a:bodyPr rtlCol="0" anchor="ctr"/>
              <a:lstStyle/>
              <a:p>
                <a:endParaRPr lang="en-GB"/>
              </a:p>
            </p:txBody>
          </p:sp>
          <p:sp>
            <p:nvSpPr>
              <p:cNvPr id="4681" name="Vrije vorm: vorm 4680">
                <a:extLst>
                  <a:ext uri="{FF2B5EF4-FFF2-40B4-BE49-F238E27FC236}">
                    <a16:creationId xmlns:a16="http://schemas.microsoft.com/office/drawing/2014/main" id="{5FD10F6D-32F9-4842-AC7B-50B0B507D9D4}"/>
                  </a:ext>
                </a:extLst>
              </p:cNvPr>
              <p:cNvSpPr/>
              <p:nvPr/>
            </p:nvSpPr>
            <p:spPr>
              <a:xfrm>
                <a:off x="7381994" y="2086990"/>
                <a:ext cx="18339" cy="18466"/>
              </a:xfrm>
              <a:custGeom>
                <a:avLst/>
                <a:gdLst>
                  <a:gd name="connsiteX0" fmla="*/ 2722 w 18339"/>
                  <a:gd name="connsiteY0" fmla="*/ 2654 h 18466"/>
                  <a:gd name="connsiteX1" fmla="*/ 15700 w 18339"/>
                  <a:gd name="connsiteY1" fmla="*/ 2774 h 18466"/>
                  <a:gd name="connsiteX2" fmla="*/ 15640 w 18339"/>
                  <a:gd name="connsiteY2" fmla="*/ 15812 h 18466"/>
                  <a:gd name="connsiteX3" fmla="*/ 2662 w 18339"/>
                  <a:gd name="connsiteY3" fmla="*/ 15692 h 18466"/>
                  <a:gd name="connsiteX4" fmla="*/ 2722 w 18339"/>
                  <a:gd name="connsiteY4" fmla="*/ 265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66">
                    <a:moveTo>
                      <a:pt x="2722" y="2654"/>
                    </a:moveTo>
                    <a:cubicBezTo>
                      <a:pt x="6310" y="-934"/>
                      <a:pt x="12111" y="-874"/>
                      <a:pt x="15700" y="2774"/>
                    </a:cubicBezTo>
                    <a:cubicBezTo>
                      <a:pt x="19229" y="6422"/>
                      <a:pt x="19229" y="12224"/>
                      <a:pt x="15640" y="15812"/>
                    </a:cubicBezTo>
                    <a:cubicBezTo>
                      <a:pt x="12051" y="19400"/>
                      <a:pt x="6250" y="19341"/>
                      <a:pt x="2662" y="15692"/>
                    </a:cubicBezTo>
                    <a:cubicBezTo>
                      <a:pt x="-927" y="12044"/>
                      <a:pt x="-867" y="6183"/>
                      <a:pt x="2722" y="2654"/>
                    </a:cubicBezTo>
                    <a:close/>
                  </a:path>
                </a:pathLst>
              </a:custGeom>
              <a:grpFill/>
              <a:ln w="5978" cap="flat">
                <a:noFill/>
                <a:prstDash val="solid"/>
                <a:miter/>
              </a:ln>
            </p:spPr>
            <p:txBody>
              <a:bodyPr rtlCol="0" anchor="ctr"/>
              <a:lstStyle/>
              <a:p>
                <a:endParaRPr lang="en-GB"/>
              </a:p>
            </p:txBody>
          </p:sp>
          <p:sp>
            <p:nvSpPr>
              <p:cNvPr id="4682" name="Vrije vorm: vorm 4681">
                <a:extLst>
                  <a:ext uri="{FF2B5EF4-FFF2-40B4-BE49-F238E27FC236}">
                    <a16:creationId xmlns:a16="http://schemas.microsoft.com/office/drawing/2014/main" id="{C80BEC71-52E1-4093-8EC9-77CA4C8FEC7B}"/>
                  </a:ext>
                </a:extLst>
              </p:cNvPr>
              <p:cNvSpPr/>
              <p:nvPr/>
            </p:nvSpPr>
            <p:spPr>
              <a:xfrm>
                <a:off x="7257237" y="2210313"/>
                <a:ext cx="18361" cy="18466"/>
              </a:xfrm>
              <a:custGeom>
                <a:avLst/>
                <a:gdLst>
                  <a:gd name="connsiteX0" fmla="*/ 2721 w 18361"/>
                  <a:gd name="connsiteY0" fmla="*/ 2654 h 18466"/>
                  <a:gd name="connsiteX1" fmla="*/ 2662 w 18361"/>
                  <a:gd name="connsiteY1" fmla="*/ 15692 h 18466"/>
                  <a:gd name="connsiteX2" fmla="*/ 15640 w 18361"/>
                  <a:gd name="connsiteY2" fmla="*/ 15812 h 18466"/>
                  <a:gd name="connsiteX3" fmla="*/ 15700 w 18361"/>
                  <a:gd name="connsiteY3" fmla="*/ 2774 h 18466"/>
                  <a:gd name="connsiteX4" fmla="*/ 2721 w 18361"/>
                  <a:gd name="connsiteY4" fmla="*/ 265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66">
                    <a:moveTo>
                      <a:pt x="2721" y="2654"/>
                    </a:moveTo>
                    <a:cubicBezTo>
                      <a:pt x="-867" y="6243"/>
                      <a:pt x="-927" y="12044"/>
                      <a:pt x="2662" y="15692"/>
                    </a:cubicBezTo>
                    <a:cubicBezTo>
                      <a:pt x="6191" y="19341"/>
                      <a:pt x="12052" y="19400"/>
                      <a:pt x="15640" y="15812"/>
                    </a:cubicBezTo>
                    <a:cubicBezTo>
                      <a:pt x="19228" y="12283"/>
                      <a:pt x="19288" y="6422"/>
                      <a:pt x="15700" y="2774"/>
                    </a:cubicBezTo>
                    <a:cubicBezTo>
                      <a:pt x="12171" y="-874"/>
                      <a:pt x="6370" y="-934"/>
                      <a:pt x="2721" y="2654"/>
                    </a:cubicBezTo>
                    <a:close/>
                  </a:path>
                </a:pathLst>
              </a:custGeom>
              <a:grpFill/>
              <a:ln w="5978" cap="flat">
                <a:noFill/>
                <a:prstDash val="solid"/>
                <a:miter/>
              </a:ln>
            </p:spPr>
            <p:txBody>
              <a:bodyPr rtlCol="0" anchor="ctr"/>
              <a:lstStyle/>
              <a:p>
                <a:endParaRPr lang="en-GB"/>
              </a:p>
            </p:txBody>
          </p:sp>
        </p:grpSp>
        <p:grpSp>
          <p:nvGrpSpPr>
            <p:cNvPr id="234" name="Graphic 3">
              <a:extLst>
                <a:ext uri="{FF2B5EF4-FFF2-40B4-BE49-F238E27FC236}">
                  <a16:creationId xmlns:a16="http://schemas.microsoft.com/office/drawing/2014/main" id="{D64DE746-055E-4B60-A0FE-F7576ADBDDD1}"/>
                </a:ext>
              </a:extLst>
            </p:cNvPr>
            <p:cNvGrpSpPr/>
            <p:nvPr/>
          </p:nvGrpSpPr>
          <p:grpSpPr>
            <a:xfrm>
              <a:off x="7905709" y="3885428"/>
              <a:ext cx="66122" cy="30656"/>
              <a:chOff x="7905709" y="3885428"/>
              <a:chExt cx="66122" cy="30656"/>
            </a:xfrm>
            <a:grpFill/>
          </p:grpSpPr>
          <p:sp>
            <p:nvSpPr>
              <p:cNvPr id="4677" name="Vrije vorm: vorm 4676">
                <a:extLst>
                  <a:ext uri="{FF2B5EF4-FFF2-40B4-BE49-F238E27FC236}">
                    <a16:creationId xmlns:a16="http://schemas.microsoft.com/office/drawing/2014/main" id="{1EA398A0-C9AC-4024-8B61-648B75294F9E}"/>
                  </a:ext>
                </a:extLst>
              </p:cNvPr>
              <p:cNvSpPr/>
              <p:nvPr/>
            </p:nvSpPr>
            <p:spPr>
              <a:xfrm>
                <a:off x="7914070" y="3893011"/>
                <a:ext cx="49400" cy="15489"/>
              </a:xfrm>
              <a:custGeom>
                <a:avLst/>
                <a:gdLst>
                  <a:gd name="connsiteX0" fmla="*/ 49400 w 49400"/>
                  <a:gd name="connsiteY0" fmla="*/ 12500 h 15489"/>
                  <a:gd name="connsiteX1" fmla="*/ 48623 w 49400"/>
                  <a:gd name="connsiteY1" fmla="*/ 15490 h 15489"/>
                  <a:gd name="connsiteX2" fmla="*/ 0 w 49400"/>
                  <a:gd name="connsiteY2" fmla="*/ 2990 h 15489"/>
                  <a:gd name="connsiteX3" fmla="*/ 777 w 49400"/>
                  <a:gd name="connsiteY3" fmla="*/ 0 h 15489"/>
                </a:gdLst>
                <a:ahLst/>
                <a:cxnLst>
                  <a:cxn ang="0">
                    <a:pos x="connsiteX0" y="connsiteY0"/>
                  </a:cxn>
                  <a:cxn ang="0">
                    <a:pos x="connsiteX1" y="connsiteY1"/>
                  </a:cxn>
                  <a:cxn ang="0">
                    <a:pos x="connsiteX2" y="connsiteY2"/>
                  </a:cxn>
                  <a:cxn ang="0">
                    <a:pos x="connsiteX3" y="connsiteY3"/>
                  </a:cxn>
                </a:cxnLst>
                <a:rect l="l" t="t" r="r" b="b"/>
                <a:pathLst>
                  <a:path w="49400" h="15489">
                    <a:moveTo>
                      <a:pt x="49400" y="12500"/>
                    </a:moveTo>
                    <a:lnTo>
                      <a:pt x="48623" y="15490"/>
                    </a:lnTo>
                    <a:lnTo>
                      <a:pt x="0" y="2990"/>
                    </a:lnTo>
                    <a:lnTo>
                      <a:pt x="777" y="0"/>
                    </a:lnTo>
                    <a:close/>
                  </a:path>
                </a:pathLst>
              </a:custGeom>
              <a:grpFill/>
              <a:ln w="5978" cap="flat">
                <a:noFill/>
                <a:prstDash val="solid"/>
                <a:miter/>
              </a:ln>
            </p:spPr>
            <p:txBody>
              <a:bodyPr rtlCol="0" anchor="ctr"/>
              <a:lstStyle/>
              <a:p>
                <a:endParaRPr lang="en-GB"/>
              </a:p>
            </p:txBody>
          </p:sp>
          <p:sp>
            <p:nvSpPr>
              <p:cNvPr id="4678" name="Vrije vorm: vorm 4677">
                <a:extLst>
                  <a:ext uri="{FF2B5EF4-FFF2-40B4-BE49-F238E27FC236}">
                    <a16:creationId xmlns:a16="http://schemas.microsoft.com/office/drawing/2014/main" id="{A96DEFFD-4177-431F-B5DF-324E52440F66}"/>
                  </a:ext>
                </a:extLst>
              </p:cNvPr>
              <p:cNvSpPr/>
              <p:nvPr/>
            </p:nvSpPr>
            <p:spPr>
              <a:xfrm>
                <a:off x="7905709" y="3885428"/>
                <a:ext cx="18336" cy="18399"/>
              </a:xfrm>
              <a:custGeom>
                <a:avLst/>
                <a:gdLst>
                  <a:gd name="connsiteX0" fmla="*/ 6925 w 18336"/>
                  <a:gd name="connsiteY0" fmla="*/ 18109 h 18399"/>
                  <a:gd name="connsiteX1" fmla="*/ 287 w 18336"/>
                  <a:gd name="connsiteY1" fmla="*/ 6925 h 18399"/>
                  <a:gd name="connsiteX2" fmla="*/ 11411 w 18336"/>
                  <a:gd name="connsiteY2" fmla="*/ 287 h 18399"/>
                  <a:gd name="connsiteX3" fmla="*/ 18050 w 18336"/>
                  <a:gd name="connsiteY3" fmla="*/ 11471 h 18399"/>
                  <a:gd name="connsiteX4" fmla="*/ 6925 w 18336"/>
                  <a:gd name="connsiteY4" fmla="*/ 18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9">
                    <a:moveTo>
                      <a:pt x="6925" y="18109"/>
                    </a:moveTo>
                    <a:cubicBezTo>
                      <a:pt x="2021" y="16853"/>
                      <a:pt x="-969" y="11829"/>
                      <a:pt x="287" y="6925"/>
                    </a:cubicBezTo>
                    <a:cubicBezTo>
                      <a:pt x="1543" y="2021"/>
                      <a:pt x="6507" y="-969"/>
                      <a:pt x="11411" y="287"/>
                    </a:cubicBezTo>
                    <a:cubicBezTo>
                      <a:pt x="16315" y="1543"/>
                      <a:pt x="19306" y="6566"/>
                      <a:pt x="18050" y="11471"/>
                    </a:cubicBezTo>
                    <a:cubicBezTo>
                      <a:pt x="16853" y="16435"/>
                      <a:pt x="11830" y="19365"/>
                      <a:pt x="6925" y="18109"/>
                    </a:cubicBezTo>
                    <a:close/>
                  </a:path>
                </a:pathLst>
              </a:custGeom>
              <a:grpFill/>
              <a:ln w="5978" cap="flat">
                <a:noFill/>
                <a:prstDash val="solid"/>
                <a:miter/>
              </a:ln>
            </p:spPr>
            <p:txBody>
              <a:bodyPr rtlCol="0" anchor="ctr"/>
              <a:lstStyle/>
              <a:p>
                <a:endParaRPr lang="en-GB"/>
              </a:p>
            </p:txBody>
          </p:sp>
          <p:sp>
            <p:nvSpPr>
              <p:cNvPr id="4679" name="Vrije vorm: vorm 4678">
                <a:extLst>
                  <a:ext uri="{FF2B5EF4-FFF2-40B4-BE49-F238E27FC236}">
                    <a16:creationId xmlns:a16="http://schemas.microsoft.com/office/drawing/2014/main" id="{04B1843C-2803-40B6-9E57-9A99190F201A}"/>
                  </a:ext>
                </a:extLst>
              </p:cNvPr>
              <p:cNvSpPr/>
              <p:nvPr/>
            </p:nvSpPr>
            <p:spPr>
              <a:xfrm>
                <a:off x="7953495" y="3897689"/>
                <a:ext cx="18336" cy="18395"/>
              </a:xfrm>
              <a:custGeom>
                <a:avLst/>
                <a:gdLst>
                  <a:gd name="connsiteX0" fmla="*/ 6926 w 18336"/>
                  <a:gd name="connsiteY0" fmla="*/ 18109 h 18395"/>
                  <a:gd name="connsiteX1" fmla="*/ 18050 w 18336"/>
                  <a:gd name="connsiteY1" fmla="*/ 11470 h 18395"/>
                  <a:gd name="connsiteX2" fmla="*/ 11411 w 18336"/>
                  <a:gd name="connsiteY2" fmla="*/ 287 h 18395"/>
                  <a:gd name="connsiteX3" fmla="*/ 287 w 18336"/>
                  <a:gd name="connsiteY3" fmla="*/ 6925 h 18395"/>
                  <a:gd name="connsiteX4" fmla="*/ 6926 w 18336"/>
                  <a:gd name="connsiteY4" fmla="*/ 18109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5">
                    <a:moveTo>
                      <a:pt x="6926" y="18109"/>
                    </a:moveTo>
                    <a:cubicBezTo>
                      <a:pt x="11830" y="19365"/>
                      <a:pt x="16793" y="16375"/>
                      <a:pt x="18050" y="11470"/>
                    </a:cubicBezTo>
                    <a:cubicBezTo>
                      <a:pt x="19306" y="6566"/>
                      <a:pt x="16315" y="1543"/>
                      <a:pt x="11411" y="287"/>
                    </a:cubicBezTo>
                    <a:cubicBezTo>
                      <a:pt x="6507" y="-969"/>
                      <a:pt x="1543" y="2021"/>
                      <a:pt x="287" y="6925"/>
                    </a:cubicBezTo>
                    <a:cubicBezTo>
                      <a:pt x="-969" y="11829"/>
                      <a:pt x="2021" y="16853"/>
                      <a:pt x="6926" y="18109"/>
                    </a:cubicBezTo>
                    <a:close/>
                  </a:path>
                </a:pathLst>
              </a:custGeom>
              <a:grpFill/>
              <a:ln w="5978" cap="flat">
                <a:noFill/>
                <a:prstDash val="solid"/>
                <a:miter/>
              </a:ln>
            </p:spPr>
            <p:txBody>
              <a:bodyPr rtlCol="0" anchor="ctr"/>
              <a:lstStyle/>
              <a:p>
                <a:endParaRPr lang="en-GB"/>
              </a:p>
            </p:txBody>
          </p:sp>
        </p:grpSp>
        <p:grpSp>
          <p:nvGrpSpPr>
            <p:cNvPr id="235" name="Graphic 3">
              <a:extLst>
                <a:ext uri="{FF2B5EF4-FFF2-40B4-BE49-F238E27FC236}">
                  <a16:creationId xmlns:a16="http://schemas.microsoft.com/office/drawing/2014/main" id="{DA59C9F9-F42E-4FFD-95B1-3699846A5949}"/>
                </a:ext>
              </a:extLst>
            </p:cNvPr>
            <p:cNvGrpSpPr/>
            <p:nvPr/>
          </p:nvGrpSpPr>
          <p:grpSpPr>
            <a:xfrm>
              <a:off x="7867543" y="4261151"/>
              <a:ext cx="455426" cy="223208"/>
              <a:chOff x="7867543" y="4261151"/>
              <a:chExt cx="455426" cy="223208"/>
            </a:xfrm>
            <a:grpFill/>
          </p:grpSpPr>
          <p:sp>
            <p:nvSpPr>
              <p:cNvPr id="4674" name="Vrije vorm: vorm 4673">
                <a:extLst>
                  <a:ext uri="{FF2B5EF4-FFF2-40B4-BE49-F238E27FC236}">
                    <a16:creationId xmlns:a16="http://schemas.microsoft.com/office/drawing/2014/main" id="{0797BEE4-3A62-43E6-9941-2900A9E9A347}"/>
                  </a:ext>
                </a:extLst>
              </p:cNvPr>
              <p:cNvSpPr/>
              <p:nvPr/>
            </p:nvSpPr>
            <p:spPr>
              <a:xfrm>
                <a:off x="7875614" y="4268780"/>
                <a:ext cx="439223" cy="207949"/>
              </a:xfrm>
              <a:custGeom>
                <a:avLst/>
                <a:gdLst>
                  <a:gd name="connsiteX0" fmla="*/ 439224 w 439223"/>
                  <a:gd name="connsiteY0" fmla="*/ 205139 h 207949"/>
                  <a:gd name="connsiteX1" fmla="*/ 437968 w 439223"/>
                  <a:gd name="connsiteY1" fmla="*/ 207950 h 207949"/>
                  <a:gd name="connsiteX2" fmla="*/ 0 w 439223"/>
                  <a:gd name="connsiteY2" fmla="*/ 2751 h 207949"/>
                  <a:gd name="connsiteX3" fmla="*/ 1256 w 439223"/>
                  <a:gd name="connsiteY3" fmla="*/ 0 h 207949"/>
                </a:gdLst>
                <a:ahLst/>
                <a:cxnLst>
                  <a:cxn ang="0">
                    <a:pos x="connsiteX0" y="connsiteY0"/>
                  </a:cxn>
                  <a:cxn ang="0">
                    <a:pos x="connsiteX1" y="connsiteY1"/>
                  </a:cxn>
                  <a:cxn ang="0">
                    <a:pos x="connsiteX2" y="connsiteY2"/>
                  </a:cxn>
                  <a:cxn ang="0">
                    <a:pos x="connsiteX3" y="connsiteY3"/>
                  </a:cxn>
                </a:cxnLst>
                <a:rect l="l" t="t" r="r" b="b"/>
                <a:pathLst>
                  <a:path w="439223" h="207949">
                    <a:moveTo>
                      <a:pt x="439224" y="205139"/>
                    </a:moveTo>
                    <a:lnTo>
                      <a:pt x="437968" y="207950"/>
                    </a:lnTo>
                    <a:lnTo>
                      <a:pt x="0" y="2751"/>
                    </a:lnTo>
                    <a:lnTo>
                      <a:pt x="1256" y="0"/>
                    </a:lnTo>
                    <a:close/>
                  </a:path>
                </a:pathLst>
              </a:custGeom>
              <a:grpFill/>
              <a:ln w="5978" cap="flat">
                <a:noFill/>
                <a:prstDash val="solid"/>
                <a:miter/>
              </a:ln>
            </p:spPr>
            <p:txBody>
              <a:bodyPr rtlCol="0" anchor="ctr"/>
              <a:lstStyle/>
              <a:p>
                <a:endParaRPr lang="en-GB"/>
              </a:p>
            </p:txBody>
          </p:sp>
          <p:sp>
            <p:nvSpPr>
              <p:cNvPr id="4675" name="Vrije vorm: vorm 4674">
                <a:extLst>
                  <a:ext uri="{FF2B5EF4-FFF2-40B4-BE49-F238E27FC236}">
                    <a16:creationId xmlns:a16="http://schemas.microsoft.com/office/drawing/2014/main" id="{716BD27B-A91D-4509-A85E-915885DE3B59}"/>
                  </a:ext>
                </a:extLst>
              </p:cNvPr>
              <p:cNvSpPr/>
              <p:nvPr/>
            </p:nvSpPr>
            <p:spPr>
              <a:xfrm>
                <a:off x="8304674" y="4465930"/>
                <a:ext cx="18295" cy="18428"/>
              </a:xfrm>
              <a:custGeom>
                <a:avLst/>
                <a:gdLst>
                  <a:gd name="connsiteX0" fmla="*/ 12975 w 18295"/>
                  <a:gd name="connsiteY0" fmla="*/ 871 h 18428"/>
                  <a:gd name="connsiteX1" fmla="*/ 17461 w 18295"/>
                  <a:gd name="connsiteY1" fmla="*/ 13132 h 18428"/>
                  <a:gd name="connsiteX2" fmla="*/ 5320 w 18295"/>
                  <a:gd name="connsiteY2" fmla="*/ 17557 h 18428"/>
                  <a:gd name="connsiteX3" fmla="*/ 834 w 18295"/>
                  <a:gd name="connsiteY3" fmla="*/ 5297 h 18428"/>
                  <a:gd name="connsiteX4" fmla="*/ 12975 w 18295"/>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28">
                    <a:moveTo>
                      <a:pt x="12975" y="871"/>
                    </a:moveTo>
                    <a:cubicBezTo>
                      <a:pt x="17581" y="3024"/>
                      <a:pt x="19554" y="8527"/>
                      <a:pt x="17461" y="13132"/>
                    </a:cubicBezTo>
                    <a:cubicBezTo>
                      <a:pt x="15308" y="17737"/>
                      <a:pt x="9865" y="19710"/>
                      <a:pt x="5320" y="17557"/>
                    </a:cubicBezTo>
                    <a:cubicBezTo>
                      <a:pt x="715" y="15405"/>
                      <a:pt x="-1259" y="9902"/>
                      <a:pt x="834" y="5297"/>
                    </a:cubicBezTo>
                    <a:cubicBezTo>
                      <a:pt x="2927" y="692"/>
                      <a:pt x="8370" y="-1282"/>
                      <a:pt x="12975" y="871"/>
                    </a:cubicBezTo>
                    <a:close/>
                  </a:path>
                </a:pathLst>
              </a:custGeom>
              <a:grpFill/>
              <a:ln w="5978" cap="flat">
                <a:noFill/>
                <a:prstDash val="solid"/>
                <a:miter/>
              </a:ln>
            </p:spPr>
            <p:txBody>
              <a:bodyPr rtlCol="0" anchor="ctr"/>
              <a:lstStyle/>
              <a:p>
                <a:endParaRPr lang="en-GB"/>
              </a:p>
            </p:txBody>
          </p:sp>
          <p:sp>
            <p:nvSpPr>
              <p:cNvPr id="4676" name="Vrije vorm: vorm 4675">
                <a:extLst>
                  <a:ext uri="{FF2B5EF4-FFF2-40B4-BE49-F238E27FC236}">
                    <a16:creationId xmlns:a16="http://schemas.microsoft.com/office/drawing/2014/main" id="{4693F4A5-C1AC-4473-9BCA-9A5410F3261B}"/>
                  </a:ext>
                </a:extLst>
              </p:cNvPr>
              <p:cNvSpPr/>
              <p:nvPr/>
            </p:nvSpPr>
            <p:spPr>
              <a:xfrm>
                <a:off x="7867543" y="4261151"/>
                <a:ext cx="18295" cy="18428"/>
              </a:xfrm>
              <a:custGeom>
                <a:avLst/>
                <a:gdLst>
                  <a:gd name="connsiteX0" fmla="*/ 12975 w 18295"/>
                  <a:gd name="connsiteY0" fmla="*/ 871 h 18428"/>
                  <a:gd name="connsiteX1" fmla="*/ 835 w 18295"/>
                  <a:gd name="connsiteY1" fmla="*/ 5297 h 18428"/>
                  <a:gd name="connsiteX2" fmla="*/ 5320 w 18295"/>
                  <a:gd name="connsiteY2" fmla="*/ 17558 h 18428"/>
                  <a:gd name="connsiteX3" fmla="*/ 17460 w 18295"/>
                  <a:gd name="connsiteY3" fmla="*/ 13132 h 18428"/>
                  <a:gd name="connsiteX4" fmla="*/ 12975 w 18295"/>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28">
                    <a:moveTo>
                      <a:pt x="12975" y="871"/>
                    </a:moveTo>
                    <a:cubicBezTo>
                      <a:pt x="8370" y="-1282"/>
                      <a:pt x="2928" y="692"/>
                      <a:pt x="835" y="5297"/>
                    </a:cubicBezTo>
                    <a:cubicBezTo>
                      <a:pt x="-1259" y="9902"/>
                      <a:pt x="715" y="15404"/>
                      <a:pt x="5320" y="17558"/>
                    </a:cubicBezTo>
                    <a:cubicBezTo>
                      <a:pt x="9925" y="19710"/>
                      <a:pt x="15367" y="17737"/>
                      <a:pt x="17460" y="13132"/>
                    </a:cubicBezTo>
                    <a:cubicBezTo>
                      <a:pt x="19554" y="8467"/>
                      <a:pt x="17580" y="3024"/>
                      <a:pt x="12975" y="871"/>
                    </a:cubicBezTo>
                    <a:close/>
                  </a:path>
                </a:pathLst>
              </a:custGeom>
              <a:grpFill/>
              <a:ln w="5978" cap="flat">
                <a:noFill/>
                <a:prstDash val="solid"/>
                <a:miter/>
              </a:ln>
            </p:spPr>
            <p:txBody>
              <a:bodyPr rtlCol="0" anchor="ctr"/>
              <a:lstStyle/>
              <a:p>
                <a:endParaRPr lang="en-GB"/>
              </a:p>
            </p:txBody>
          </p:sp>
        </p:grpSp>
        <p:grpSp>
          <p:nvGrpSpPr>
            <p:cNvPr id="236" name="Graphic 3">
              <a:extLst>
                <a:ext uri="{FF2B5EF4-FFF2-40B4-BE49-F238E27FC236}">
                  <a16:creationId xmlns:a16="http://schemas.microsoft.com/office/drawing/2014/main" id="{B407C8E7-6E89-495A-AAAC-CB050956798A}"/>
                </a:ext>
              </a:extLst>
            </p:cNvPr>
            <p:cNvGrpSpPr/>
            <p:nvPr/>
          </p:nvGrpSpPr>
          <p:grpSpPr>
            <a:xfrm>
              <a:off x="7784331" y="3924209"/>
              <a:ext cx="360909" cy="120195"/>
              <a:chOff x="7784331" y="3924209"/>
              <a:chExt cx="360909" cy="120195"/>
            </a:xfrm>
            <a:grpFill/>
          </p:grpSpPr>
          <p:sp>
            <p:nvSpPr>
              <p:cNvPr id="4671" name="Vrije vorm: vorm 4670">
                <a:extLst>
                  <a:ext uri="{FF2B5EF4-FFF2-40B4-BE49-F238E27FC236}">
                    <a16:creationId xmlns:a16="http://schemas.microsoft.com/office/drawing/2014/main" id="{C44C5533-B6A6-42D5-96AC-A8A09864B67F}"/>
                  </a:ext>
                </a:extLst>
              </p:cNvPr>
              <p:cNvSpPr/>
              <p:nvPr/>
            </p:nvSpPr>
            <p:spPr>
              <a:xfrm>
                <a:off x="7792661" y="3931826"/>
                <a:ext cx="344309" cy="104961"/>
              </a:xfrm>
              <a:custGeom>
                <a:avLst/>
                <a:gdLst>
                  <a:gd name="connsiteX0" fmla="*/ 344310 w 344309"/>
                  <a:gd name="connsiteY0" fmla="*/ 102031 h 104961"/>
                  <a:gd name="connsiteX1" fmla="*/ 343413 w 344309"/>
                  <a:gd name="connsiteY1" fmla="*/ 104962 h 104961"/>
                  <a:gd name="connsiteX2" fmla="*/ 0 w 344309"/>
                  <a:gd name="connsiteY2" fmla="*/ 2930 h 104961"/>
                  <a:gd name="connsiteX3" fmla="*/ 837 w 344309"/>
                  <a:gd name="connsiteY3" fmla="*/ 0 h 104961"/>
                </a:gdLst>
                <a:ahLst/>
                <a:cxnLst>
                  <a:cxn ang="0">
                    <a:pos x="connsiteX0" y="connsiteY0"/>
                  </a:cxn>
                  <a:cxn ang="0">
                    <a:pos x="connsiteX1" y="connsiteY1"/>
                  </a:cxn>
                  <a:cxn ang="0">
                    <a:pos x="connsiteX2" y="connsiteY2"/>
                  </a:cxn>
                  <a:cxn ang="0">
                    <a:pos x="connsiteX3" y="connsiteY3"/>
                  </a:cxn>
                </a:cxnLst>
                <a:rect l="l" t="t" r="r" b="b"/>
                <a:pathLst>
                  <a:path w="344309" h="104961">
                    <a:moveTo>
                      <a:pt x="344310" y="102031"/>
                    </a:moveTo>
                    <a:lnTo>
                      <a:pt x="343413" y="104962"/>
                    </a:lnTo>
                    <a:lnTo>
                      <a:pt x="0" y="2930"/>
                    </a:lnTo>
                    <a:lnTo>
                      <a:pt x="837" y="0"/>
                    </a:lnTo>
                    <a:close/>
                  </a:path>
                </a:pathLst>
              </a:custGeom>
              <a:grpFill/>
              <a:ln w="5978" cap="flat">
                <a:noFill/>
                <a:prstDash val="solid"/>
                <a:miter/>
              </a:ln>
            </p:spPr>
            <p:txBody>
              <a:bodyPr rtlCol="0" anchor="ctr"/>
              <a:lstStyle/>
              <a:p>
                <a:endParaRPr lang="en-GB"/>
              </a:p>
            </p:txBody>
          </p:sp>
          <p:sp>
            <p:nvSpPr>
              <p:cNvPr id="4672" name="Vrije vorm: vorm 4671">
                <a:extLst>
                  <a:ext uri="{FF2B5EF4-FFF2-40B4-BE49-F238E27FC236}">
                    <a16:creationId xmlns:a16="http://schemas.microsoft.com/office/drawing/2014/main" id="{05A8A02C-63FA-44A5-A0AA-7BA5FB1E2249}"/>
                  </a:ext>
                </a:extLst>
              </p:cNvPr>
              <p:cNvSpPr/>
              <p:nvPr/>
            </p:nvSpPr>
            <p:spPr>
              <a:xfrm>
                <a:off x="8126907" y="4025980"/>
                <a:ext cx="18334" cy="18425"/>
              </a:xfrm>
              <a:custGeom>
                <a:avLst/>
                <a:gdLst>
                  <a:gd name="connsiteX0" fmla="*/ 11739 w 18334"/>
                  <a:gd name="connsiteY0" fmla="*/ 402 h 18425"/>
                  <a:gd name="connsiteX1" fmla="*/ 17959 w 18334"/>
                  <a:gd name="connsiteY1" fmla="*/ 11825 h 18425"/>
                  <a:gd name="connsiteX2" fmla="*/ 6596 w 18334"/>
                  <a:gd name="connsiteY2" fmla="*/ 18045 h 18425"/>
                  <a:gd name="connsiteX3" fmla="*/ 375 w 18334"/>
                  <a:gd name="connsiteY3" fmla="*/ 6622 h 18425"/>
                  <a:gd name="connsiteX4" fmla="*/ 11739 w 18334"/>
                  <a:gd name="connsiteY4" fmla="*/ 40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5">
                    <a:moveTo>
                      <a:pt x="11739" y="402"/>
                    </a:moveTo>
                    <a:cubicBezTo>
                      <a:pt x="16584" y="1837"/>
                      <a:pt x="19394" y="6980"/>
                      <a:pt x="17959" y="11825"/>
                    </a:cubicBezTo>
                    <a:cubicBezTo>
                      <a:pt x="16524" y="16729"/>
                      <a:pt x="11440" y="19480"/>
                      <a:pt x="6596" y="18045"/>
                    </a:cubicBezTo>
                    <a:cubicBezTo>
                      <a:pt x="1751" y="16609"/>
                      <a:pt x="-1060" y="11466"/>
                      <a:pt x="375" y="6622"/>
                    </a:cubicBezTo>
                    <a:cubicBezTo>
                      <a:pt x="1811" y="1717"/>
                      <a:pt x="6895" y="-1093"/>
                      <a:pt x="11739" y="402"/>
                    </a:cubicBezTo>
                    <a:close/>
                  </a:path>
                </a:pathLst>
              </a:custGeom>
              <a:grpFill/>
              <a:ln w="5978" cap="flat">
                <a:noFill/>
                <a:prstDash val="solid"/>
                <a:miter/>
              </a:ln>
            </p:spPr>
            <p:txBody>
              <a:bodyPr rtlCol="0" anchor="ctr"/>
              <a:lstStyle/>
              <a:p>
                <a:endParaRPr lang="en-GB"/>
              </a:p>
            </p:txBody>
          </p:sp>
          <p:sp>
            <p:nvSpPr>
              <p:cNvPr id="4673" name="Vrije vorm: vorm 4672">
                <a:extLst>
                  <a:ext uri="{FF2B5EF4-FFF2-40B4-BE49-F238E27FC236}">
                    <a16:creationId xmlns:a16="http://schemas.microsoft.com/office/drawing/2014/main" id="{BE07DF5E-D586-4E52-9E10-31FD5A5A9B68}"/>
                  </a:ext>
                </a:extLst>
              </p:cNvPr>
              <p:cNvSpPr/>
              <p:nvPr/>
            </p:nvSpPr>
            <p:spPr>
              <a:xfrm>
                <a:off x="7784331" y="3924209"/>
                <a:ext cx="18338" cy="18403"/>
              </a:xfrm>
              <a:custGeom>
                <a:avLst/>
                <a:gdLst>
                  <a:gd name="connsiteX0" fmla="*/ 11738 w 18338"/>
                  <a:gd name="connsiteY0" fmla="*/ 380 h 18403"/>
                  <a:gd name="connsiteX1" fmla="*/ 376 w 18338"/>
                  <a:gd name="connsiteY1" fmla="*/ 6600 h 18403"/>
                  <a:gd name="connsiteX2" fmla="*/ 6595 w 18338"/>
                  <a:gd name="connsiteY2" fmla="*/ 18023 h 18403"/>
                  <a:gd name="connsiteX3" fmla="*/ 17959 w 18338"/>
                  <a:gd name="connsiteY3" fmla="*/ 11803 h 18403"/>
                  <a:gd name="connsiteX4" fmla="*/ 11738 w 18338"/>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3">
                    <a:moveTo>
                      <a:pt x="11738" y="380"/>
                    </a:moveTo>
                    <a:cubicBezTo>
                      <a:pt x="6894" y="-1055"/>
                      <a:pt x="1811" y="1696"/>
                      <a:pt x="376" y="6600"/>
                    </a:cubicBezTo>
                    <a:cubicBezTo>
                      <a:pt x="-1060" y="11504"/>
                      <a:pt x="1751" y="16588"/>
                      <a:pt x="6595" y="18023"/>
                    </a:cubicBezTo>
                    <a:cubicBezTo>
                      <a:pt x="11440" y="19459"/>
                      <a:pt x="16523" y="16707"/>
                      <a:pt x="17959" y="11803"/>
                    </a:cubicBezTo>
                    <a:cubicBezTo>
                      <a:pt x="19394" y="6959"/>
                      <a:pt x="16643" y="1815"/>
                      <a:pt x="11738" y="380"/>
                    </a:cubicBezTo>
                    <a:close/>
                  </a:path>
                </a:pathLst>
              </a:custGeom>
              <a:grpFill/>
              <a:ln w="5978" cap="flat">
                <a:noFill/>
                <a:prstDash val="solid"/>
                <a:miter/>
              </a:ln>
            </p:spPr>
            <p:txBody>
              <a:bodyPr rtlCol="0" anchor="ctr"/>
              <a:lstStyle/>
              <a:p>
                <a:endParaRPr lang="en-GB"/>
              </a:p>
            </p:txBody>
          </p:sp>
        </p:grpSp>
        <p:grpSp>
          <p:nvGrpSpPr>
            <p:cNvPr id="237" name="Graphic 3">
              <a:extLst>
                <a:ext uri="{FF2B5EF4-FFF2-40B4-BE49-F238E27FC236}">
                  <a16:creationId xmlns:a16="http://schemas.microsoft.com/office/drawing/2014/main" id="{C2E85751-B744-44B1-B818-1A3217685741}"/>
                </a:ext>
              </a:extLst>
            </p:cNvPr>
            <p:cNvGrpSpPr/>
            <p:nvPr/>
          </p:nvGrpSpPr>
          <p:grpSpPr>
            <a:xfrm>
              <a:off x="7908168" y="4076608"/>
              <a:ext cx="178098" cy="75797"/>
              <a:chOff x="7908168" y="4076608"/>
              <a:chExt cx="178098" cy="75797"/>
            </a:xfrm>
            <a:grpFill/>
          </p:grpSpPr>
          <p:sp>
            <p:nvSpPr>
              <p:cNvPr id="4668" name="Vrije vorm: vorm 4667">
                <a:extLst>
                  <a:ext uri="{FF2B5EF4-FFF2-40B4-BE49-F238E27FC236}">
                    <a16:creationId xmlns:a16="http://schemas.microsoft.com/office/drawing/2014/main" id="{A64E3BD0-460D-4669-B8ED-2CDB82C7FFFB}"/>
                  </a:ext>
                </a:extLst>
              </p:cNvPr>
              <p:cNvSpPr/>
              <p:nvPr/>
            </p:nvSpPr>
            <p:spPr>
              <a:xfrm>
                <a:off x="7916402" y="4084215"/>
                <a:ext cx="161659" cy="60584"/>
              </a:xfrm>
              <a:custGeom>
                <a:avLst/>
                <a:gdLst>
                  <a:gd name="connsiteX0" fmla="*/ 161659 w 161659"/>
                  <a:gd name="connsiteY0" fmla="*/ 57714 h 60584"/>
                  <a:gd name="connsiteX1" fmla="*/ 160643 w 161659"/>
                  <a:gd name="connsiteY1" fmla="*/ 60585 h 60584"/>
                  <a:gd name="connsiteX2" fmla="*/ 0 w 161659"/>
                  <a:gd name="connsiteY2" fmla="*/ 2871 h 60584"/>
                  <a:gd name="connsiteX3" fmla="*/ 1017 w 161659"/>
                  <a:gd name="connsiteY3" fmla="*/ 0 h 60584"/>
                </a:gdLst>
                <a:ahLst/>
                <a:cxnLst>
                  <a:cxn ang="0">
                    <a:pos x="connsiteX0" y="connsiteY0"/>
                  </a:cxn>
                  <a:cxn ang="0">
                    <a:pos x="connsiteX1" y="connsiteY1"/>
                  </a:cxn>
                  <a:cxn ang="0">
                    <a:pos x="connsiteX2" y="connsiteY2"/>
                  </a:cxn>
                  <a:cxn ang="0">
                    <a:pos x="connsiteX3" y="connsiteY3"/>
                  </a:cxn>
                </a:cxnLst>
                <a:rect l="l" t="t" r="r" b="b"/>
                <a:pathLst>
                  <a:path w="161659" h="60584">
                    <a:moveTo>
                      <a:pt x="161659" y="57714"/>
                    </a:moveTo>
                    <a:lnTo>
                      <a:pt x="160643" y="60585"/>
                    </a:lnTo>
                    <a:lnTo>
                      <a:pt x="0" y="2871"/>
                    </a:lnTo>
                    <a:lnTo>
                      <a:pt x="1017" y="0"/>
                    </a:lnTo>
                    <a:close/>
                  </a:path>
                </a:pathLst>
              </a:custGeom>
              <a:grpFill/>
              <a:ln w="5978" cap="flat">
                <a:noFill/>
                <a:prstDash val="solid"/>
                <a:miter/>
              </a:ln>
            </p:spPr>
            <p:txBody>
              <a:bodyPr rtlCol="0" anchor="ctr"/>
              <a:lstStyle/>
              <a:p>
                <a:endParaRPr lang="en-GB"/>
              </a:p>
            </p:txBody>
          </p:sp>
          <p:sp>
            <p:nvSpPr>
              <p:cNvPr id="4669" name="Vrije vorm: vorm 4668">
                <a:extLst>
                  <a:ext uri="{FF2B5EF4-FFF2-40B4-BE49-F238E27FC236}">
                    <a16:creationId xmlns:a16="http://schemas.microsoft.com/office/drawing/2014/main" id="{EB8D5C8D-95F5-46C0-A7CA-D03D2F4382BE}"/>
                  </a:ext>
                </a:extLst>
              </p:cNvPr>
              <p:cNvSpPr/>
              <p:nvPr/>
            </p:nvSpPr>
            <p:spPr>
              <a:xfrm>
                <a:off x="8067883" y="4133963"/>
                <a:ext cx="18383" cy="18443"/>
              </a:xfrm>
              <a:custGeom>
                <a:avLst/>
                <a:gdLst>
                  <a:gd name="connsiteX0" fmla="*/ 12272 w 18383"/>
                  <a:gd name="connsiteY0" fmla="*/ 549 h 18443"/>
                  <a:gd name="connsiteX1" fmla="*/ 17834 w 18383"/>
                  <a:gd name="connsiteY1" fmla="*/ 12332 h 18443"/>
                  <a:gd name="connsiteX2" fmla="*/ 6112 w 18383"/>
                  <a:gd name="connsiteY2" fmla="*/ 17894 h 18443"/>
                  <a:gd name="connsiteX3" fmla="*/ 550 w 18383"/>
                  <a:gd name="connsiteY3" fmla="*/ 6112 h 18443"/>
                  <a:gd name="connsiteX4" fmla="*/ 12272 w 18383"/>
                  <a:gd name="connsiteY4" fmla="*/ 54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43">
                    <a:moveTo>
                      <a:pt x="12272" y="549"/>
                    </a:moveTo>
                    <a:cubicBezTo>
                      <a:pt x="17056" y="2284"/>
                      <a:pt x="19569" y="7547"/>
                      <a:pt x="17834" y="12332"/>
                    </a:cubicBezTo>
                    <a:cubicBezTo>
                      <a:pt x="16159" y="17116"/>
                      <a:pt x="10896" y="19628"/>
                      <a:pt x="6112" y="17894"/>
                    </a:cubicBezTo>
                    <a:cubicBezTo>
                      <a:pt x="1327" y="16159"/>
                      <a:pt x="-1185" y="10896"/>
                      <a:pt x="550" y="6112"/>
                    </a:cubicBezTo>
                    <a:cubicBezTo>
                      <a:pt x="2284" y="1327"/>
                      <a:pt x="7487" y="-1185"/>
                      <a:pt x="12272" y="549"/>
                    </a:cubicBezTo>
                    <a:close/>
                  </a:path>
                </a:pathLst>
              </a:custGeom>
              <a:grpFill/>
              <a:ln w="5978" cap="flat">
                <a:noFill/>
                <a:prstDash val="solid"/>
                <a:miter/>
              </a:ln>
            </p:spPr>
            <p:txBody>
              <a:bodyPr rtlCol="0" anchor="ctr"/>
              <a:lstStyle/>
              <a:p>
                <a:endParaRPr lang="en-GB"/>
              </a:p>
            </p:txBody>
          </p:sp>
          <p:sp>
            <p:nvSpPr>
              <p:cNvPr id="4670" name="Vrije vorm: vorm 4669">
                <a:extLst>
                  <a:ext uri="{FF2B5EF4-FFF2-40B4-BE49-F238E27FC236}">
                    <a16:creationId xmlns:a16="http://schemas.microsoft.com/office/drawing/2014/main" id="{54D978B7-B00D-4275-8859-0DEC607FBE47}"/>
                  </a:ext>
                </a:extLst>
              </p:cNvPr>
              <p:cNvSpPr/>
              <p:nvPr/>
            </p:nvSpPr>
            <p:spPr>
              <a:xfrm>
                <a:off x="7908168" y="4076608"/>
                <a:ext cx="18353" cy="18442"/>
              </a:xfrm>
              <a:custGeom>
                <a:avLst/>
                <a:gdLst>
                  <a:gd name="connsiteX0" fmla="*/ 12241 w 18353"/>
                  <a:gd name="connsiteY0" fmla="*/ 549 h 18442"/>
                  <a:gd name="connsiteX1" fmla="*/ 519 w 18353"/>
                  <a:gd name="connsiteY1" fmla="*/ 6111 h 18442"/>
                  <a:gd name="connsiteX2" fmla="*/ 6081 w 18353"/>
                  <a:gd name="connsiteY2" fmla="*/ 17893 h 18442"/>
                  <a:gd name="connsiteX3" fmla="*/ 17804 w 18353"/>
                  <a:gd name="connsiteY3" fmla="*/ 12331 h 18442"/>
                  <a:gd name="connsiteX4" fmla="*/ 12241 w 18353"/>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2">
                    <a:moveTo>
                      <a:pt x="12241" y="549"/>
                    </a:moveTo>
                    <a:cubicBezTo>
                      <a:pt x="7457" y="-1185"/>
                      <a:pt x="2253" y="1327"/>
                      <a:pt x="519" y="6111"/>
                    </a:cubicBezTo>
                    <a:cubicBezTo>
                      <a:pt x="-1155" y="10896"/>
                      <a:pt x="1357" y="16159"/>
                      <a:pt x="6081" y="17893"/>
                    </a:cubicBezTo>
                    <a:cubicBezTo>
                      <a:pt x="10866" y="19628"/>
                      <a:pt x="16069" y="17116"/>
                      <a:pt x="17804" y="12331"/>
                    </a:cubicBezTo>
                    <a:cubicBezTo>
                      <a:pt x="19538" y="7547"/>
                      <a:pt x="17026" y="2284"/>
                      <a:pt x="12241" y="549"/>
                    </a:cubicBezTo>
                    <a:close/>
                  </a:path>
                </a:pathLst>
              </a:custGeom>
              <a:grpFill/>
              <a:ln w="5978" cap="flat">
                <a:noFill/>
                <a:prstDash val="solid"/>
                <a:miter/>
              </a:ln>
            </p:spPr>
            <p:txBody>
              <a:bodyPr rtlCol="0" anchor="ctr"/>
              <a:lstStyle/>
              <a:p>
                <a:endParaRPr lang="en-GB"/>
              </a:p>
            </p:txBody>
          </p:sp>
        </p:grpSp>
        <p:grpSp>
          <p:nvGrpSpPr>
            <p:cNvPr id="238" name="Graphic 3">
              <a:extLst>
                <a:ext uri="{FF2B5EF4-FFF2-40B4-BE49-F238E27FC236}">
                  <a16:creationId xmlns:a16="http://schemas.microsoft.com/office/drawing/2014/main" id="{2F931656-2E71-47D2-96B0-5DF7448D505B}"/>
                </a:ext>
              </a:extLst>
            </p:cNvPr>
            <p:cNvGrpSpPr/>
            <p:nvPr/>
          </p:nvGrpSpPr>
          <p:grpSpPr>
            <a:xfrm>
              <a:off x="7422498" y="2423150"/>
              <a:ext cx="47443" cy="38807"/>
              <a:chOff x="7422498" y="2423150"/>
              <a:chExt cx="47443" cy="38807"/>
            </a:xfrm>
            <a:grpFill/>
          </p:grpSpPr>
          <p:sp>
            <p:nvSpPr>
              <p:cNvPr id="4665" name="Vrije vorm: vorm 4664">
                <a:extLst>
                  <a:ext uri="{FF2B5EF4-FFF2-40B4-BE49-F238E27FC236}">
                    <a16:creationId xmlns:a16="http://schemas.microsoft.com/office/drawing/2014/main" id="{C14B527B-9CA4-42AE-9D36-3D869E90DAC5}"/>
                  </a:ext>
                </a:extLst>
              </p:cNvPr>
              <p:cNvSpPr/>
              <p:nvPr/>
            </p:nvSpPr>
            <p:spPr>
              <a:xfrm>
                <a:off x="7430408" y="2430844"/>
                <a:ext cx="31638" cy="23444"/>
              </a:xfrm>
              <a:custGeom>
                <a:avLst/>
                <a:gdLst>
                  <a:gd name="connsiteX0" fmla="*/ 31638 w 31638"/>
                  <a:gd name="connsiteY0" fmla="*/ 2512 h 23444"/>
                  <a:gd name="connsiteX1" fmla="*/ 1795 w 31638"/>
                  <a:gd name="connsiteY1" fmla="*/ 23445 h 23444"/>
                  <a:gd name="connsiteX2" fmla="*/ 0 w 31638"/>
                  <a:gd name="connsiteY2" fmla="*/ 20933 h 23444"/>
                  <a:gd name="connsiteX3" fmla="*/ 29904 w 31638"/>
                  <a:gd name="connsiteY3" fmla="*/ 0 h 23444"/>
                </a:gdLst>
                <a:ahLst/>
                <a:cxnLst>
                  <a:cxn ang="0">
                    <a:pos x="connsiteX0" y="connsiteY0"/>
                  </a:cxn>
                  <a:cxn ang="0">
                    <a:pos x="connsiteX1" y="connsiteY1"/>
                  </a:cxn>
                  <a:cxn ang="0">
                    <a:pos x="connsiteX2" y="connsiteY2"/>
                  </a:cxn>
                  <a:cxn ang="0">
                    <a:pos x="connsiteX3" y="connsiteY3"/>
                  </a:cxn>
                </a:cxnLst>
                <a:rect l="l" t="t" r="r" b="b"/>
                <a:pathLst>
                  <a:path w="31638" h="23444">
                    <a:moveTo>
                      <a:pt x="31638" y="2512"/>
                    </a:moveTo>
                    <a:lnTo>
                      <a:pt x="1795" y="23445"/>
                    </a:lnTo>
                    <a:lnTo>
                      <a:pt x="0" y="20933"/>
                    </a:lnTo>
                    <a:lnTo>
                      <a:pt x="29904" y="0"/>
                    </a:lnTo>
                    <a:close/>
                  </a:path>
                </a:pathLst>
              </a:custGeom>
              <a:grpFill/>
              <a:ln w="5978" cap="flat">
                <a:noFill/>
                <a:prstDash val="solid"/>
                <a:miter/>
              </a:ln>
            </p:spPr>
            <p:txBody>
              <a:bodyPr rtlCol="0" anchor="ctr"/>
              <a:lstStyle/>
              <a:p>
                <a:endParaRPr lang="en-GB"/>
              </a:p>
            </p:txBody>
          </p:sp>
          <p:sp>
            <p:nvSpPr>
              <p:cNvPr id="4666" name="Vrije vorm: vorm 4665">
                <a:extLst>
                  <a:ext uri="{FF2B5EF4-FFF2-40B4-BE49-F238E27FC236}">
                    <a16:creationId xmlns:a16="http://schemas.microsoft.com/office/drawing/2014/main" id="{17365DD5-60B2-4329-BD15-596C9D1DEA5B}"/>
                  </a:ext>
                </a:extLst>
              </p:cNvPr>
              <p:cNvSpPr/>
              <p:nvPr/>
            </p:nvSpPr>
            <p:spPr>
              <a:xfrm>
                <a:off x="7451624" y="2423150"/>
                <a:ext cx="18316" cy="18439"/>
              </a:xfrm>
              <a:custGeom>
                <a:avLst/>
                <a:gdLst>
                  <a:gd name="connsiteX0" fmla="*/ 3904 w 18316"/>
                  <a:gd name="connsiteY0" fmla="*/ 1654 h 18439"/>
                  <a:gd name="connsiteX1" fmla="*/ 16643 w 18316"/>
                  <a:gd name="connsiteY1" fmla="*/ 3987 h 18439"/>
                  <a:gd name="connsiteX2" fmla="*/ 14370 w 18316"/>
                  <a:gd name="connsiteY2" fmla="*/ 16786 h 18439"/>
                  <a:gd name="connsiteX3" fmla="*/ 1631 w 18316"/>
                  <a:gd name="connsiteY3" fmla="*/ 14453 h 18439"/>
                  <a:gd name="connsiteX4" fmla="*/ 3904 w 18316"/>
                  <a:gd name="connsiteY4" fmla="*/ 165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9">
                    <a:moveTo>
                      <a:pt x="3904" y="1654"/>
                    </a:moveTo>
                    <a:cubicBezTo>
                      <a:pt x="8031" y="-1276"/>
                      <a:pt x="13773" y="-200"/>
                      <a:pt x="16643" y="3987"/>
                    </a:cubicBezTo>
                    <a:cubicBezTo>
                      <a:pt x="19574" y="8173"/>
                      <a:pt x="18557" y="13915"/>
                      <a:pt x="14370" y="16786"/>
                    </a:cubicBezTo>
                    <a:cubicBezTo>
                      <a:pt x="10243" y="19716"/>
                      <a:pt x="4502" y="18640"/>
                      <a:pt x="1631" y="14453"/>
                    </a:cubicBezTo>
                    <a:cubicBezTo>
                      <a:pt x="-1239" y="10326"/>
                      <a:pt x="-223" y="4585"/>
                      <a:pt x="3904" y="1654"/>
                    </a:cubicBezTo>
                    <a:close/>
                  </a:path>
                </a:pathLst>
              </a:custGeom>
              <a:grpFill/>
              <a:ln w="5978" cap="flat">
                <a:noFill/>
                <a:prstDash val="solid"/>
                <a:miter/>
              </a:ln>
            </p:spPr>
            <p:txBody>
              <a:bodyPr rtlCol="0" anchor="ctr"/>
              <a:lstStyle/>
              <a:p>
                <a:endParaRPr lang="en-GB"/>
              </a:p>
            </p:txBody>
          </p:sp>
          <p:sp>
            <p:nvSpPr>
              <p:cNvPr id="4667" name="Vrije vorm: vorm 4666">
                <a:extLst>
                  <a:ext uri="{FF2B5EF4-FFF2-40B4-BE49-F238E27FC236}">
                    <a16:creationId xmlns:a16="http://schemas.microsoft.com/office/drawing/2014/main" id="{8EF3D473-F7B0-4A6A-AC0D-51F362A89B62}"/>
                  </a:ext>
                </a:extLst>
              </p:cNvPr>
              <p:cNvSpPr/>
              <p:nvPr/>
            </p:nvSpPr>
            <p:spPr>
              <a:xfrm>
                <a:off x="7422498" y="2443544"/>
                <a:ext cx="18274" cy="18413"/>
              </a:xfrm>
              <a:custGeom>
                <a:avLst/>
                <a:gdLst>
                  <a:gd name="connsiteX0" fmla="*/ 3904 w 18274"/>
                  <a:gd name="connsiteY0" fmla="*/ 1654 h 18413"/>
                  <a:gd name="connsiteX1" fmla="*/ 1631 w 18274"/>
                  <a:gd name="connsiteY1" fmla="*/ 14453 h 18413"/>
                  <a:gd name="connsiteX2" fmla="*/ 14370 w 18274"/>
                  <a:gd name="connsiteY2" fmla="*/ 16786 h 18413"/>
                  <a:gd name="connsiteX3" fmla="*/ 16643 w 18274"/>
                  <a:gd name="connsiteY3" fmla="*/ 3987 h 18413"/>
                  <a:gd name="connsiteX4" fmla="*/ 3904 w 18274"/>
                  <a:gd name="connsiteY4" fmla="*/ 165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13">
                    <a:moveTo>
                      <a:pt x="3904" y="1654"/>
                    </a:moveTo>
                    <a:cubicBezTo>
                      <a:pt x="-223" y="4585"/>
                      <a:pt x="-1239" y="10326"/>
                      <a:pt x="1631" y="14453"/>
                    </a:cubicBezTo>
                    <a:cubicBezTo>
                      <a:pt x="4562" y="18640"/>
                      <a:pt x="10243" y="19656"/>
                      <a:pt x="14370" y="16786"/>
                    </a:cubicBezTo>
                    <a:cubicBezTo>
                      <a:pt x="18497" y="13855"/>
                      <a:pt x="19514" y="8113"/>
                      <a:pt x="16643" y="3987"/>
                    </a:cubicBezTo>
                    <a:cubicBezTo>
                      <a:pt x="13773" y="-200"/>
                      <a:pt x="8090" y="-1276"/>
                      <a:pt x="3904" y="1654"/>
                    </a:cubicBezTo>
                    <a:close/>
                  </a:path>
                </a:pathLst>
              </a:custGeom>
              <a:grpFill/>
              <a:ln w="5978" cap="flat">
                <a:noFill/>
                <a:prstDash val="solid"/>
                <a:miter/>
              </a:ln>
            </p:spPr>
            <p:txBody>
              <a:bodyPr rtlCol="0" anchor="ctr"/>
              <a:lstStyle/>
              <a:p>
                <a:endParaRPr lang="en-GB"/>
              </a:p>
            </p:txBody>
          </p:sp>
        </p:grpSp>
        <p:grpSp>
          <p:nvGrpSpPr>
            <p:cNvPr id="239" name="Graphic 3">
              <a:extLst>
                <a:ext uri="{FF2B5EF4-FFF2-40B4-BE49-F238E27FC236}">
                  <a16:creationId xmlns:a16="http://schemas.microsoft.com/office/drawing/2014/main" id="{C1EF9176-E4F5-4EE3-A60A-403390060894}"/>
                </a:ext>
              </a:extLst>
            </p:cNvPr>
            <p:cNvGrpSpPr/>
            <p:nvPr/>
          </p:nvGrpSpPr>
          <p:grpSpPr>
            <a:xfrm>
              <a:off x="7180612" y="1859714"/>
              <a:ext cx="181179" cy="212797"/>
              <a:chOff x="7180612" y="1859714"/>
              <a:chExt cx="181179" cy="212797"/>
            </a:xfrm>
            <a:grpFill/>
          </p:grpSpPr>
          <p:sp>
            <p:nvSpPr>
              <p:cNvPr id="4662" name="Vrije vorm: vorm 4661">
                <a:extLst>
                  <a:ext uri="{FF2B5EF4-FFF2-40B4-BE49-F238E27FC236}">
                    <a16:creationId xmlns:a16="http://schemas.microsoft.com/office/drawing/2014/main" id="{CC181A0D-074E-4180-802B-DA3B92FC374D}"/>
                  </a:ext>
                </a:extLst>
              </p:cNvPr>
              <p:cNvSpPr/>
              <p:nvPr/>
            </p:nvSpPr>
            <p:spPr>
              <a:xfrm>
                <a:off x="7188309" y="1867580"/>
                <a:ext cx="165786" cy="197064"/>
              </a:xfrm>
              <a:custGeom>
                <a:avLst/>
                <a:gdLst>
                  <a:gd name="connsiteX0" fmla="*/ 165786 w 165786"/>
                  <a:gd name="connsiteY0" fmla="*/ 1974 h 197064"/>
                  <a:gd name="connsiteX1" fmla="*/ 2333 w 165786"/>
                  <a:gd name="connsiteY1" fmla="*/ 197065 h 197064"/>
                  <a:gd name="connsiteX2" fmla="*/ 0 w 165786"/>
                  <a:gd name="connsiteY2" fmla="*/ 195091 h 197064"/>
                  <a:gd name="connsiteX3" fmla="*/ 163454 w 165786"/>
                  <a:gd name="connsiteY3" fmla="*/ 0 h 197064"/>
                </a:gdLst>
                <a:ahLst/>
                <a:cxnLst>
                  <a:cxn ang="0">
                    <a:pos x="connsiteX0" y="connsiteY0"/>
                  </a:cxn>
                  <a:cxn ang="0">
                    <a:pos x="connsiteX1" y="connsiteY1"/>
                  </a:cxn>
                  <a:cxn ang="0">
                    <a:pos x="connsiteX2" y="connsiteY2"/>
                  </a:cxn>
                  <a:cxn ang="0">
                    <a:pos x="connsiteX3" y="connsiteY3"/>
                  </a:cxn>
                </a:cxnLst>
                <a:rect l="l" t="t" r="r" b="b"/>
                <a:pathLst>
                  <a:path w="165786" h="197064">
                    <a:moveTo>
                      <a:pt x="165786" y="1974"/>
                    </a:moveTo>
                    <a:lnTo>
                      <a:pt x="2333" y="197065"/>
                    </a:lnTo>
                    <a:lnTo>
                      <a:pt x="0" y="195091"/>
                    </a:lnTo>
                    <a:lnTo>
                      <a:pt x="163454" y="0"/>
                    </a:lnTo>
                    <a:close/>
                  </a:path>
                </a:pathLst>
              </a:custGeom>
              <a:grpFill/>
              <a:ln w="5978" cap="flat">
                <a:noFill/>
                <a:prstDash val="solid"/>
                <a:miter/>
              </a:ln>
            </p:spPr>
            <p:txBody>
              <a:bodyPr rtlCol="0" anchor="ctr"/>
              <a:lstStyle/>
              <a:p>
                <a:endParaRPr lang="en-GB"/>
              </a:p>
            </p:txBody>
          </p:sp>
          <p:sp>
            <p:nvSpPr>
              <p:cNvPr id="4663" name="Vrije vorm: vorm 4662">
                <a:extLst>
                  <a:ext uri="{FF2B5EF4-FFF2-40B4-BE49-F238E27FC236}">
                    <a16:creationId xmlns:a16="http://schemas.microsoft.com/office/drawing/2014/main" id="{276E4D49-7516-4DAD-A3E9-DC841713BF05}"/>
                  </a:ext>
                </a:extLst>
              </p:cNvPr>
              <p:cNvSpPr/>
              <p:nvPr/>
            </p:nvSpPr>
            <p:spPr>
              <a:xfrm>
                <a:off x="7343467" y="1859714"/>
                <a:ext cx="18324" cy="18423"/>
              </a:xfrm>
              <a:custGeom>
                <a:avLst/>
                <a:gdLst>
                  <a:gd name="connsiteX0" fmla="*/ 2135 w 18324"/>
                  <a:gd name="connsiteY0" fmla="*/ 3261 h 18423"/>
                  <a:gd name="connsiteX1" fmla="*/ 15054 w 18324"/>
                  <a:gd name="connsiteY1" fmla="*/ 2185 h 18423"/>
                  <a:gd name="connsiteX2" fmla="*/ 16190 w 18324"/>
                  <a:gd name="connsiteY2" fmla="*/ 15163 h 18423"/>
                  <a:gd name="connsiteX3" fmla="*/ 3271 w 18324"/>
                  <a:gd name="connsiteY3" fmla="*/ 16239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5365" y="-626"/>
                      <a:pt x="11166" y="-1105"/>
                      <a:pt x="15054" y="2185"/>
                    </a:cubicBezTo>
                    <a:cubicBezTo>
                      <a:pt x="18941" y="5474"/>
                      <a:pt x="19419" y="11275"/>
                      <a:pt x="16190" y="15163"/>
                    </a:cubicBezTo>
                    <a:cubicBezTo>
                      <a:pt x="12960" y="19050"/>
                      <a:pt x="7159" y="19529"/>
                      <a:pt x="3271" y="16239"/>
                    </a:cubicBezTo>
                    <a:cubicBezTo>
                      <a:pt x="-616" y="12950"/>
                      <a:pt x="-1095" y="7149"/>
                      <a:pt x="2135" y="3261"/>
                    </a:cubicBezTo>
                    <a:close/>
                  </a:path>
                </a:pathLst>
              </a:custGeom>
              <a:grpFill/>
              <a:ln w="5978" cap="flat">
                <a:noFill/>
                <a:prstDash val="solid"/>
                <a:miter/>
              </a:ln>
            </p:spPr>
            <p:txBody>
              <a:bodyPr rtlCol="0" anchor="ctr"/>
              <a:lstStyle/>
              <a:p>
                <a:endParaRPr lang="en-GB"/>
              </a:p>
            </p:txBody>
          </p:sp>
          <p:sp>
            <p:nvSpPr>
              <p:cNvPr id="4664" name="Vrije vorm: vorm 4663">
                <a:extLst>
                  <a:ext uri="{FF2B5EF4-FFF2-40B4-BE49-F238E27FC236}">
                    <a16:creationId xmlns:a16="http://schemas.microsoft.com/office/drawing/2014/main" id="{369FDFEF-3DF1-4D81-9521-84FBD197B75D}"/>
                  </a:ext>
                </a:extLst>
              </p:cNvPr>
              <p:cNvSpPr/>
              <p:nvPr/>
            </p:nvSpPr>
            <p:spPr>
              <a:xfrm>
                <a:off x="7180612" y="2054087"/>
                <a:ext cx="18324" cy="18423"/>
              </a:xfrm>
              <a:custGeom>
                <a:avLst/>
                <a:gdLst>
                  <a:gd name="connsiteX0" fmla="*/ 2135 w 18324"/>
                  <a:gd name="connsiteY0" fmla="*/ 3261 h 18423"/>
                  <a:gd name="connsiteX1" fmla="*/ 3271 w 18324"/>
                  <a:gd name="connsiteY1" fmla="*/ 16239 h 18423"/>
                  <a:gd name="connsiteX2" fmla="*/ 16190 w 18324"/>
                  <a:gd name="connsiteY2" fmla="*/ 15163 h 18423"/>
                  <a:gd name="connsiteX3" fmla="*/ 15053 w 18324"/>
                  <a:gd name="connsiteY3" fmla="*/ 2185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1095" y="7149"/>
                      <a:pt x="-616" y="12950"/>
                      <a:pt x="3271" y="16239"/>
                    </a:cubicBezTo>
                    <a:cubicBezTo>
                      <a:pt x="7159" y="19529"/>
                      <a:pt x="12900" y="19050"/>
                      <a:pt x="16190" y="15163"/>
                    </a:cubicBezTo>
                    <a:cubicBezTo>
                      <a:pt x="19420" y="11275"/>
                      <a:pt x="18941" y="5474"/>
                      <a:pt x="15053" y="2185"/>
                    </a:cubicBezTo>
                    <a:cubicBezTo>
                      <a:pt x="11166" y="-1105"/>
                      <a:pt x="5364" y="-626"/>
                      <a:pt x="2135" y="3261"/>
                    </a:cubicBezTo>
                    <a:close/>
                  </a:path>
                </a:pathLst>
              </a:custGeom>
              <a:grpFill/>
              <a:ln w="5978" cap="flat">
                <a:noFill/>
                <a:prstDash val="solid"/>
                <a:miter/>
              </a:ln>
            </p:spPr>
            <p:txBody>
              <a:bodyPr rtlCol="0" anchor="ctr"/>
              <a:lstStyle/>
              <a:p>
                <a:endParaRPr lang="en-GB"/>
              </a:p>
            </p:txBody>
          </p:sp>
        </p:grpSp>
        <p:grpSp>
          <p:nvGrpSpPr>
            <p:cNvPr id="240" name="Graphic 3">
              <a:extLst>
                <a:ext uri="{FF2B5EF4-FFF2-40B4-BE49-F238E27FC236}">
                  <a16:creationId xmlns:a16="http://schemas.microsoft.com/office/drawing/2014/main" id="{A8A064D1-635D-4CEB-B989-E3D2424506D3}"/>
                </a:ext>
              </a:extLst>
            </p:cNvPr>
            <p:cNvGrpSpPr/>
            <p:nvPr/>
          </p:nvGrpSpPr>
          <p:grpSpPr>
            <a:xfrm>
              <a:off x="7200287" y="1757804"/>
              <a:ext cx="48948" cy="61063"/>
              <a:chOff x="7200287" y="1757804"/>
              <a:chExt cx="48948" cy="61063"/>
            </a:xfrm>
            <a:grpFill/>
          </p:grpSpPr>
          <p:sp>
            <p:nvSpPr>
              <p:cNvPr id="4659" name="Vrije vorm: vorm 4658">
                <a:extLst>
                  <a:ext uri="{FF2B5EF4-FFF2-40B4-BE49-F238E27FC236}">
                    <a16:creationId xmlns:a16="http://schemas.microsoft.com/office/drawing/2014/main" id="{754099B0-8640-4F67-98F4-DF7D5F4E04F6}"/>
                  </a:ext>
                </a:extLst>
              </p:cNvPr>
              <p:cNvSpPr/>
              <p:nvPr/>
            </p:nvSpPr>
            <p:spPr>
              <a:xfrm>
                <a:off x="7207926" y="1765788"/>
                <a:ext cx="33611" cy="45154"/>
              </a:xfrm>
              <a:custGeom>
                <a:avLst/>
                <a:gdLst>
                  <a:gd name="connsiteX0" fmla="*/ 33612 w 33611"/>
                  <a:gd name="connsiteY0" fmla="*/ 1794 h 45154"/>
                  <a:gd name="connsiteX1" fmla="*/ 2452 w 33611"/>
                  <a:gd name="connsiteY1" fmla="*/ 45154 h 45154"/>
                  <a:gd name="connsiteX2" fmla="*/ 0 w 33611"/>
                  <a:gd name="connsiteY2" fmla="*/ 43360 h 45154"/>
                  <a:gd name="connsiteX3" fmla="*/ 31159 w 33611"/>
                  <a:gd name="connsiteY3" fmla="*/ 0 h 45154"/>
                </a:gdLst>
                <a:ahLst/>
                <a:cxnLst>
                  <a:cxn ang="0">
                    <a:pos x="connsiteX0" y="connsiteY0"/>
                  </a:cxn>
                  <a:cxn ang="0">
                    <a:pos x="connsiteX1" y="connsiteY1"/>
                  </a:cxn>
                  <a:cxn ang="0">
                    <a:pos x="connsiteX2" y="connsiteY2"/>
                  </a:cxn>
                  <a:cxn ang="0">
                    <a:pos x="connsiteX3" y="connsiteY3"/>
                  </a:cxn>
                </a:cxnLst>
                <a:rect l="l" t="t" r="r" b="b"/>
                <a:pathLst>
                  <a:path w="33611" h="45154">
                    <a:moveTo>
                      <a:pt x="33612" y="1794"/>
                    </a:moveTo>
                    <a:lnTo>
                      <a:pt x="2452" y="45154"/>
                    </a:lnTo>
                    <a:lnTo>
                      <a:pt x="0" y="43360"/>
                    </a:lnTo>
                    <a:lnTo>
                      <a:pt x="31159" y="0"/>
                    </a:lnTo>
                    <a:close/>
                  </a:path>
                </a:pathLst>
              </a:custGeom>
              <a:grpFill/>
              <a:ln w="5978" cap="flat">
                <a:noFill/>
                <a:prstDash val="solid"/>
                <a:miter/>
              </a:ln>
            </p:spPr>
            <p:txBody>
              <a:bodyPr rtlCol="0" anchor="ctr"/>
              <a:lstStyle/>
              <a:p>
                <a:endParaRPr lang="en-GB"/>
              </a:p>
            </p:txBody>
          </p:sp>
          <p:sp>
            <p:nvSpPr>
              <p:cNvPr id="4660" name="Vrije vorm: vorm 4659">
                <a:extLst>
                  <a:ext uri="{FF2B5EF4-FFF2-40B4-BE49-F238E27FC236}">
                    <a16:creationId xmlns:a16="http://schemas.microsoft.com/office/drawing/2014/main" id="{AC73FCE1-D2F1-4347-B933-F55B25F110C6}"/>
                  </a:ext>
                </a:extLst>
              </p:cNvPr>
              <p:cNvSpPr/>
              <p:nvPr/>
            </p:nvSpPr>
            <p:spPr>
              <a:xfrm>
                <a:off x="7230882" y="1757804"/>
                <a:ext cx="18353" cy="18421"/>
              </a:xfrm>
              <a:custGeom>
                <a:avLst/>
                <a:gdLst>
                  <a:gd name="connsiteX0" fmla="*/ 1744 w 18353"/>
                  <a:gd name="connsiteY0" fmla="*/ 3798 h 18421"/>
                  <a:gd name="connsiteX1" fmla="*/ 14543 w 18353"/>
                  <a:gd name="connsiteY1" fmla="*/ 1765 h 18421"/>
                  <a:gd name="connsiteX2" fmla="*/ 16636 w 18353"/>
                  <a:gd name="connsiteY2" fmla="*/ 14623 h 18421"/>
                  <a:gd name="connsiteX3" fmla="*/ 3837 w 18353"/>
                  <a:gd name="connsiteY3" fmla="*/ 16657 h 18421"/>
                  <a:gd name="connsiteX4" fmla="*/ 1744 w 1835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1">
                    <a:moveTo>
                      <a:pt x="1744" y="3798"/>
                    </a:moveTo>
                    <a:cubicBezTo>
                      <a:pt x="4674" y="-329"/>
                      <a:pt x="10416" y="-1226"/>
                      <a:pt x="14543" y="1765"/>
                    </a:cubicBezTo>
                    <a:cubicBezTo>
                      <a:pt x="18669" y="4755"/>
                      <a:pt x="19566" y="10496"/>
                      <a:pt x="16636" y="14623"/>
                    </a:cubicBezTo>
                    <a:cubicBezTo>
                      <a:pt x="13705" y="18750"/>
                      <a:pt x="7964" y="19647"/>
                      <a:pt x="3837" y="16657"/>
                    </a:cubicBezTo>
                    <a:cubicBezTo>
                      <a:pt x="-289" y="13726"/>
                      <a:pt x="-1247" y="7925"/>
                      <a:pt x="1744" y="3798"/>
                    </a:cubicBezTo>
                    <a:close/>
                  </a:path>
                </a:pathLst>
              </a:custGeom>
              <a:grpFill/>
              <a:ln w="5978" cap="flat">
                <a:noFill/>
                <a:prstDash val="solid"/>
                <a:miter/>
              </a:ln>
            </p:spPr>
            <p:txBody>
              <a:bodyPr rtlCol="0" anchor="ctr"/>
              <a:lstStyle/>
              <a:p>
                <a:endParaRPr lang="en-GB"/>
              </a:p>
            </p:txBody>
          </p:sp>
          <p:sp>
            <p:nvSpPr>
              <p:cNvPr id="4661" name="Vrije vorm: vorm 4660">
                <a:extLst>
                  <a:ext uri="{FF2B5EF4-FFF2-40B4-BE49-F238E27FC236}">
                    <a16:creationId xmlns:a16="http://schemas.microsoft.com/office/drawing/2014/main" id="{71B227E3-EF91-427E-9700-62E21763BA02}"/>
                  </a:ext>
                </a:extLst>
              </p:cNvPr>
              <p:cNvSpPr/>
              <p:nvPr/>
            </p:nvSpPr>
            <p:spPr>
              <a:xfrm>
                <a:off x="7200287" y="1800446"/>
                <a:ext cx="18327" cy="18421"/>
              </a:xfrm>
              <a:custGeom>
                <a:avLst/>
                <a:gdLst>
                  <a:gd name="connsiteX0" fmla="*/ 1718 w 18327"/>
                  <a:gd name="connsiteY0" fmla="*/ 3798 h 18421"/>
                  <a:gd name="connsiteX1" fmla="*/ 3811 w 18327"/>
                  <a:gd name="connsiteY1" fmla="*/ 16657 h 18421"/>
                  <a:gd name="connsiteX2" fmla="*/ 16610 w 18327"/>
                  <a:gd name="connsiteY2" fmla="*/ 14623 h 18421"/>
                  <a:gd name="connsiteX3" fmla="*/ 14517 w 18327"/>
                  <a:gd name="connsiteY3" fmla="*/ 1765 h 18421"/>
                  <a:gd name="connsiteX4" fmla="*/ 1718 w 18327"/>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1">
                    <a:moveTo>
                      <a:pt x="1718" y="3798"/>
                    </a:moveTo>
                    <a:cubicBezTo>
                      <a:pt x="-1213" y="7925"/>
                      <a:pt x="-315" y="13666"/>
                      <a:pt x="3811" y="16657"/>
                    </a:cubicBezTo>
                    <a:cubicBezTo>
                      <a:pt x="7938" y="19647"/>
                      <a:pt x="13619" y="18750"/>
                      <a:pt x="16610" y="14623"/>
                    </a:cubicBezTo>
                    <a:cubicBezTo>
                      <a:pt x="19540" y="10496"/>
                      <a:pt x="18643" y="4755"/>
                      <a:pt x="14517" y="1765"/>
                    </a:cubicBezTo>
                    <a:cubicBezTo>
                      <a:pt x="10390" y="-1226"/>
                      <a:pt x="4648" y="-329"/>
                      <a:pt x="1718" y="3798"/>
                    </a:cubicBezTo>
                    <a:close/>
                  </a:path>
                </a:pathLst>
              </a:custGeom>
              <a:grpFill/>
              <a:ln w="5978" cap="flat">
                <a:noFill/>
                <a:prstDash val="solid"/>
                <a:miter/>
              </a:ln>
            </p:spPr>
            <p:txBody>
              <a:bodyPr rtlCol="0" anchor="ctr"/>
              <a:lstStyle/>
              <a:p>
                <a:endParaRPr lang="en-GB"/>
              </a:p>
            </p:txBody>
          </p:sp>
        </p:grpSp>
        <p:grpSp>
          <p:nvGrpSpPr>
            <p:cNvPr id="241" name="Graphic 3">
              <a:extLst>
                <a:ext uri="{FF2B5EF4-FFF2-40B4-BE49-F238E27FC236}">
                  <a16:creationId xmlns:a16="http://schemas.microsoft.com/office/drawing/2014/main" id="{3868DB75-E351-4EEA-887F-0BC6F39046DE}"/>
                </a:ext>
              </a:extLst>
            </p:cNvPr>
            <p:cNvGrpSpPr/>
            <p:nvPr/>
          </p:nvGrpSpPr>
          <p:grpSpPr>
            <a:xfrm>
              <a:off x="7141198" y="1715067"/>
              <a:ext cx="187341" cy="244740"/>
              <a:chOff x="7141198" y="1715067"/>
              <a:chExt cx="187341" cy="244740"/>
            </a:xfrm>
            <a:grpFill/>
          </p:grpSpPr>
          <p:sp>
            <p:nvSpPr>
              <p:cNvPr id="4656" name="Vrije vorm: vorm 4655">
                <a:extLst>
                  <a:ext uri="{FF2B5EF4-FFF2-40B4-BE49-F238E27FC236}">
                    <a16:creationId xmlns:a16="http://schemas.microsoft.com/office/drawing/2014/main" id="{1153D0CF-F8FA-48FE-861E-EEEBB0D61637}"/>
                  </a:ext>
                </a:extLst>
              </p:cNvPr>
              <p:cNvSpPr/>
              <p:nvPr/>
            </p:nvSpPr>
            <p:spPr>
              <a:xfrm>
                <a:off x="7148836" y="1722966"/>
                <a:ext cx="172005" cy="228882"/>
              </a:xfrm>
              <a:custGeom>
                <a:avLst/>
                <a:gdLst>
                  <a:gd name="connsiteX0" fmla="*/ 172006 w 172005"/>
                  <a:gd name="connsiteY0" fmla="*/ 1854 h 228882"/>
                  <a:gd name="connsiteX1" fmla="*/ 2452 w 172005"/>
                  <a:gd name="connsiteY1" fmla="*/ 228882 h 228882"/>
                  <a:gd name="connsiteX2" fmla="*/ 0 w 172005"/>
                  <a:gd name="connsiteY2" fmla="*/ 227028 h 228882"/>
                  <a:gd name="connsiteX3" fmla="*/ 169613 w 172005"/>
                  <a:gd name="connsiteY3" fmla="*/ 0 h 228882"/>
                </a:gdLst>
                <a:ahLst/>
                <a:cxnLst>
                  <a:cxn ang="0">
                    <a:pos x="connsiteX0" y="connsiteY0"/>
                  </a:cxn>
                  <a:cxn ang="0">
                    <a:pos x="connsiteX1" y="connsiteY1"/>
                  </a:cxn>
                  <a:cxn ang="0">
                    <a:pos x="connsiteX2" y="connsiteY2"/>
                  </a:cxn>
                  <a:cxn ang="0">
                    <a:pos x="connsiteX3" y="connsiteY3"/>
                  </a:cxn>
                </a:cxnLst>
                <a:rect l="l" t="t" r="r" b="b"/>
                <a:pathLst>
                  <a:path w="172005" h="228882">
                    <a:moveTo>
                      <a:pt x="172006" y="1854"/>
                    </a:moveTo>
                    <a:lnTo>
                      <a:pt x="2452" y="228882"/>
                    </a:lnTo>
                    <a:lnTo>
                      <a:pt x="0" y="227028"/>
                    </a:lnTo>
                    <a:lnTo>
                      <a:pt x="169613" y="0"/>
                    </a:lnTo>
                    <a:close/>
                  </a:path>
                </a:pathLst>
              </a:custGeom>
              <a:grpFill/>
              <a:ln w="5978" cap="flat">
                <a:noFill/>
                <a:prstDash val="solid"/>
                <a:miter/>
              </a:ln>
            </p:spPr>
            <p:txBody>
              <a:bodyPr rtlCol="0" anchor="ctr"/>
              <a:lstStyle/>
              <a:p>
                <a:endParaRPr lang="en-GB"/>
              </a:p>
            </p:txBody>
          </p:sp>
          <p:sp>
            <p:nvSpPr>
              <p:cNvPr id="4657" name="Vrije vorm: vorm 4656">
                <a:extLst>
                  <a:ext uri="{FF2B5EF4-FFF2-40B4-BE49-F238E27FC236}">
                    <a16:creationId xmlns:a16="http://schemas.microsoft.com/office/drawing/2014/main" id="{6021C246-C56F-4A60-9DDA-EE0372BB6666}"/>
                  </a:ext>
                </a:extLst>
              </p:cNvPr>
              <p:cNvSpPr/>
              <p:nvPr/>
            </p:nvSpPr>
            <p:spPr>
              <a:xfrm>
                <a:off x="7310210" y="1715067"/>
                <a:ext cx="18330" cy="18429"/>
              </a:xfrm>
              <a:custGeom>
                <a:avLst/>
                <a:gdLst>
                  <a:gd name="connsiteX0" fmla="*/ 1841 w 18330"/>
                  <a:gd name="connsiteY0" fmla="*/ 3653 h 18429"/>
                  <a:gd name="connsiteX1" fmla="*/ 14640 w 18330"/>
                  <a:gd name="connsiteY1" fmla="*/ 1858 h 18429"/>
                  <a:gd name="connsiteX2" fmla="*/ 16493 w 18330"/>
                  <a:gd name="connsiteY2" fmla="*/ 14777 h 18429"/>
                  <a:gd name="connsiteX3" fmla="*/ 3635 w 18330"/>
                  <a:gd name="connsiteY3" fmla="*/ 16571 h 18429"/>
                  <a:gd name="connsiteX4" fmla="*/ 1841 w 18330"/>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29">
                    <a:moveTo>
                      <a:pt x="1841" y="3653"/>
                    </a:moveTo>
                    <a:cubicBezTo>
                      <a:pt x="4891" y="-414"/>
                      <a:pt x="10632" y="-1192"/>
                      <a:pt x="14640" y="1858"/>
                    </a:cubicBezTo>
                    <a:cubicBezTo>
                      <a:pt x="18706" y="4909"/>
                      <a:pt x="19544" y="10710"/>
                      <a:pt x="16493" y="14777"/>
                    </a:cubicBezTo>
                    <a:cubicBezTo>
                      <a:pt x="13443" y="18844"/>
                      <a:pt x="7702" y="19621"/>
                      <a:pt x="3635" y="16571"/>
                    </a:cubicBezTo>
                    <a:cubicBezTo>
                      <a:pt x="-372" y="13461"/>
                      <a:pt x="-1209" y="7720"/>
                      <a:pt x="1841" y="3653"/>
                    </a:cubicBezTo>
                    <a:close/>
                  </a:path>
                </a:pathLst>
              </a:custGeom>
              <a:grpFill/>
              <a:ln w="5978" cap="flat">
                <a:noFill/>
                <a:prstDash val="solid"/>
                <a:miter/>
              </a:ln>
            </p:spPr>
            <p:txBody>
              <a:bodyPr rtlCol="0" anchor="ctr"/>
              <a:lstStyle/>
              <a:p>
                <a:endParaRPr lang="en-GB"/>
              </a:p>
            </p:txBody>
          </p:sp>
          <p:sp>
            <p:nvSpPr>
              <p:cNvPr id="4658" name="Vrije vorm: vorm 4657">
                <a:extLst>
                  <a:ext uri="{FF2B5EF4-FFF2-40B4-BE49-F238E27FC236}">
                    <a16:creationId xmlns:a16="http://schemas.microsoft.com/office/drawing/2014/main" id="{25FB06F3-8FD7-45F0-A317-67B52DBD0569}"/>
                  </a:ext>
                </a:extLst>
              </p:cNvPr>
              <p:cNvSpPr/>
              <p:nvPr/>
            </p:nvSpPr>
            <p:spPr>
              <a:xfrm>
                <a:off x="7141198" y="1941352"/>
                <a:ext cx="18385" cy="18455"/>
              </a:xfrm>
              <a:custGeom>
                <a:avLst/>
                <a:gdLst>
                  <a:gd name="connsiteX0" fmla="*/ 1837 w 18385"/>
                  <a:gd name="connsiteY0" fmla="*/ 3678 h 18455"/>
                  <a:gd name="connsiteX1" fmla="*/ 3690 w 18385"/>
                  <a:gd name="connsiteY1" fmla="*/ 16597 h 18455"/>
                  <a:gd name="connsiteX2" fmla="*/ 16549 w 18385"/>
                  <a:gd name="connsiteY2" fmla="*/ 14802 h 18455"/>
                  <a:gd name="connsiteX3" fmla="*/ 14695 w 18385"/>
                  <a:gd name="connsiteY3" fmla="*/ 1884 h 18455"/>
                  <a:gd name="connsiteX4" fmla="*/ 1837 w 18385"/>
                  <a:gd name="connsiteY4" fmla="*/ 3678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5" h="18455">
                    <a:moveTo>
                      <a:pt x="1837" y="3678"/>
                    </a:moveTo>
                    <a:cubicBezTo>
                      <a:pt x="-1213" y="7745"/>
                      <a:pt x="-376" y="13547"/>
                      <a:pt x="3690" y="16597"/>
                    </a:cubicBezTo>
                    <a:cubicBezTo>
                      <a:pt x="7758" y="19647"/>
                      <a:pt x="13499" y="18869"/>
                      <a:pt x="16549" y="14802"/>
                    </a:cubicBezTo>
                    <a:cubicBezTo>
                      <a:pt x="19599" y="10736"/>
                      <a:pt x="18762" y="4994"/>
                      <a:pt x="14695" y="1884"/>
                    </a:cubicBezTo>
                    <a:cubicBezTo>
                      <a:pt x="10628" y="-1226"/>
                      <a:pt x="4827" y="-389"/>
                      <a:pt x="1837" y="3678"/>
                    </a:cubicBezTo>
                    <a:close/>
                  </a:path>
                </a:pathLst>
              </a:custGeom>
              <a:grpFill/>
              <a:ln w="5978" cap="flat">
                <a:noFill/>
                <a:prstDash val="solid"/>
                <a:miter/>
              </a:ln>
            </p:spPr>
            <p:txBody>
              <a:bodyPr rtlCol="0" anchor="ctr"/>
              <a:lstStyle/>
              <a:p>
                <a:endParaRPr lang="en-GB"/>
              </a:p>
            </p:txBody>
          </p:sp>
        </p:grpSp>
        <p:grpSp>
          <p:nvGrpSpPr>
            <p:cNvPr id="242" name="Graphic 3">
              <a:extLst>
                <a:ext uri="{FF2B5EF4-FFF2-40B4-BE49-F238E27FC236}">
                  <a16:creationId xmlns:a16="http://schemas.microsoft.com/office/drawing/2014/main" id="{7D93397D-1846-4201-92D7-DB7181AAEC38}"/>
                </a:ext>
              </a:extLst>
            </p:cNvPr>
            <p:cNvGrpSpPr/>
            <p:nvPr/>
          </p:nvGrpSpPr>
          <p:grpSpPr>
            <a:xfrm>
              <a:off x="7375340" y="2353232"/>
              <a:ext cx="80371" cy="65514"/>
              <a:chOff x="7375340" y="2353232"/>
              <a:chExt cx="80371" cy="65514"/>
            </a:xfrm>
            <a:grpFill/>
          </p:grpSpPr>
          <p:sp>
            <p:nvSpPr>
              <p:cNvPr id="4653" name="Vrije vorm: vorm 4652">
                <a:extLst>
                  <a:ext uri="{FF2B5EF4-FFF2-40B4-BE49-F238E27FC236}">
                    <a16:creationId xmlns:a16="http://schemas.microsoft.com/office/drawing/2014/main" id="{6EA0D031-4394-44CD-B51E-AE9AF9220D7C}"/>
                  </a:ext>
                </a:extLst>
              </p:cNvPr>
              <p:cNvSpPr/>
              <p:nvPr/>
            </p:nvSpPr>
            <p:spPr>
              <a:xfrm>
                <a:off x="7383221" y="2360930"/>
                <a:ext cx="64591" cy="50058"/>
              </a:xfrm>
              <a:custGeom>
                <a:avLst/>
                <a:gdLst>
                  <a:gd name="connsiteX0" fmla="*/ 64591 w 64591"/>
                  <a:gd name="connsiteY0" fmla="*/ 2452 h 50058"/>
                  <a:gd name="connsiteX1" fmla="*/ 1854 w 64591"/>
                  <a:gd name="connsiteY1" fmla="*/ 50059 h 50058"/>
                  <a:gd name="connsiteX2" fmla="*/ 0 w 64591"/>
                  <a:gd name="connsiteY2" fmla="*/ 47607 h 50058"/>
                  <a:gd name="connsiteX3" fmla="*/ 62798 w 64591"/>
                  <a:gd name="connsiteY3" fmla="*/ 0 h 50058"/>
                </a:gdLst>
                <a:ahLst/>
                <a:cxnLst>
                  <a:cxn ang="0">
                    <a:pos x="connsiteX0" y="connsiteY0"/>
                  </a:cxn>
                  <a:cxn ang="0">
                    <a:pos x="connsiteX1" y="connsiteY1"/>
                  </a:cxn>
                  <a:cxn ang="0">
                    <a:pos x="connsiteX2" y="connsiteY2"/>
                  </a:cxn>
                  <a:cxn ang="0">
                    <a:pos x="connsiteX3" y="connsiteY3"/>
                  </a:cxn>
                </a:cxnLst>
                <a:rect l="l" t="t" r="r" b="b"/>
                <a:pathLst>
                  <a:path w="64591" h="50058">
                    <a:moveTo>
                      <a:pt x="64591" y="2452"/>
                    </a:moveTo>
                    <a:lnTo>
                      <a:pt x="1854" y="50059"/>
                    </a:lnTo>
                    <a:lnTo>
                      <a:pt x="0" y="47607"/>
                    </a:lnTo>
                    <a:lnTo>
                      <a:pt x="62798" y="0"/>
                    </a:lnTo>
                    <a:close/>
                  </a:path>
                </a:pathLst>
              </a:custGeom>
              <a:grpFill/>
              <a:ln w="5978" cap="flat">
                <a:noFill/>
                <a:prstDash val="solid"/>
                <a:miter/>
              </a:ln>
            </p:spPr>
            <p:txBody>
              <a:bodyPr rtlCol="0" anchor="ctr"/>
              <a:lstStyle/>
              <a:p>
                <a:endParaRPr lang="en-GB"/>
              </a:p>
            </p:txBody>
          </p:sp>
          <p:sp>
            <p:nvSpPr>
              <p:cNvPr id="4654" name="Vrije vorm: vorm 4653">
                <a:extLst>
                  <a:ext uri="{FF2B5EF4-FFF2-40B4-BE49-F238E27FC236}">
                    <a16:creationId xmlns:a16="http://schemas.microsoft.com/office/drawing/2014/main" id="{F5D14716-6A3F-45B1-A202-3D38E19365F5}"/>
                  </a:ext>
                </a:extLst>
              </p:cNvPr>
              <p:cNvSpPr/>
              <p:nvPr/>
            </p:nvSpPr>
            <p:spPr>
              <a:xfrm>
                <a:off x="7437385" y="2353232"/>
                <a:ext cx="18326" cy="18445"/>
              </a:xfrm>
              <a:custGeom>
                <a:avLst/>
                <a:gdLst>
                  <a:gd name="connsiteX0" fmla="*/ 3609 w 18326"/>
                  <a:gd name="connsiteY0" fmla="*/ 1837 h 18445"/>
                  <a:gd name="connsiteX1" fmla="*/ 16468 w 18326"/>
                  <a:gd name="connsiteY1" fmla="*/ 3691 h 18445"/>
                  <a:gd name="connsiteX2" fmla="*/ 14674 w 18326"/>
                  <a:gd name="connsiteY2" fmla="*/ 16609 h 18445"/>
                  <a:gd name="connsiteX3" fmla="*/ 1815 w 18326"/>
                  <a:gd name="connsiteY3" fmla="*/ 14755 h 18445"/>
                  <a:gd name="connsiteX4" fmla="*/ 3609 w 18326"/>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45">
                    <a:moveTo>
                      <a:pt x="3609" y="1837"/>
                    </a:moveTo>
                    <a:cubicBezTo>
                      <a:pt x="7616" y="-1213"/>
                      <a:pt x="13417" y="-376"/>
                      <a:pt x="16468" y="3691"/>
                    </a:cubicBezTo>
                    <a:cubicBezTo>
                      <a:pt x="19518" y="7758"/>
                      <a:pt x="18740" y="13559"/>
                      <a:pt x="14674" y="16609"/>
                    </a:cubicBezTo>
                    <a:cubicBezTo>
                      <a:pt x="10667" y="19659"/>
                      <a:pt x="4865" y="18822"/>
                      <a:pt x="1815" y="14755"/>
                    </a:cubicBezTo>
                    <a:cubicBezTo>
                      <a:pt x="-1175" y="10688"/>
                      <a:pt x="-398" y="4887"/>
                      <a:pt x="3609" y="1837"/>
                    </a:cubicBezTo>
                    <a:close/>
                  </a:path>
                </a:pathLst>
              </a:custGeom>
              <a:grpFill/>
              <a:ln w="5978" cap="flat">
                <a:noFill/>
                <a:prstDash val="solid"/>
                <a:miter/>
              </a:ln>
            </p:spPr>
            <p:txBody>
              <a:bodyPr rtlCol="0" anchor="ctr"/>
              <a:lstStyle/>
              <a:p>
                <a:endParaRPr lang="en-GB"/>
              </a:p>
            </p:txBody>
          </p:sp>
          <p:sp>
            <p:nvSpPr>
              <p:cNvPr id="4655" name="Vrije vorm: vorm 4654">
                <a:extLst>
                  <a:ext uri="{FF2B5EF4-FFF2-40B4-BE49-F238E27FC236}">
                    <a16:creationId xmlns:a16="http://schemas.microsoft.com/office/drawing/2014/main" id="{2065B5A1-14F3-4E22-BF67-14D0253A20DE}"/>
                  </a:ext>
                </a:extLst>
              </p:cNvPr>
              <p:cNvSpPr/>
              <p:nvPr/>
            </p:nvSpPr>
            <p:spPr>
              <a:xfrm>
                <a:off x="7375340" y="2400257"/>
                <a:ext cx="18334" cy="18489"/>
              </a:xfrm>
              <a:custGeom>
                <a:avLst/>
                <a:gdLst>
                  <a:gd name="connsiteX0" fmla="*/ 3635 w 18334"/>
                  <a:gd name="connsiteY0" fmla="*/ 1880 h 18489"/>
                  <a:gd name="connsiteX1" fmla="*/ 1841 w 18334"/>
                  <a:gd name="connsiteY1" fmla="*/ 14798 h 18489"/>
                  <a:gd name="connsiteX2" fmla="*/ 14699 w 18334"/>
                  <a:gd name="connsiteY2" fmla="*/ 16652 h 18489"/>
                  <a:gd name="connsiteX3" fmla="*/ 16493 w 18334"/>
                  <a:gd name="connsiteY3" fmla="*/ 3734 h 18489"/>
                  <a:gd name="connsiteX4" fmla="*/ 3635 w 18334"/>
                  <a:gd name="connsiteY4" fmla="*/ 1880 h 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89">
                    <a:moveTo>
                      <a:pt x="3635" y="1880"/>
                    </a:moveTo>
                    <a:cubicBezTo>
                      <a:pt x="-372" y="4930"/>
                      <a:pt x="-1209" y="10732"/>
                      <a:pt x="1841" y="14798"/>
                    </a:cubicBezTo>
                    <a:cubicBezTo>
                      <a:pt x="4891" y="18865"/>
                      <a:pt x="10632" y="19703"/>
                      <a:pt x="14699" y="16652"/>
                    </a:cubicBezTo>
                    <a:cubicBezTo>
                      <a:pt x="18706" y="13602"/>
                      <a:pt x="19544" y="7801"/>
                      <a:pt x="16493" y="3734"/>
                    </a:cubicBezTo>
                    <a:cubicBezTo>
                      <a:pt x="13383" y="-393"/>
                      <a:pt x="7642" y="-1230"/>
                      <a:pt x="3635" y="1880"/>
                    </a:cubicBezTo>
                    <a:close/>
                  </a:path>
                </a:pathLst>
              </a:custGeom>
              <a:grpFill/>
              <a:ln w="5978" cap="flat">
                <a:noFill/>
                <a:prstDash val="solid"/>
                <a:miter/>
              </a:ln>
            </p:spPr>
            <p:txBody>
              <a:bodyPr rtlCol="0" anchor="ctr"/>
              <a:lstStyle/>
              <a:p>
                <a:endParaRPr lang="en-GB"/>
              </a:p>
            </p:txBody>
          </p:sp>
        </p:grpSp>
        <p:grpSp>
          <p:nvGrpSpPr>
            <p:cNvPr id="243" name="Graphic 3">
              <a:extLst>
                <a:ext uri="{FF2B5EF4-FFF2-40B4-BE49-F238E27FC236}">
                  <a16:creationId xmlns:a16="http://schemas.microsoft.com/office/drawing/2014/main" id="{254A57CA-C752-4FDF-B5B3-CBCFF2A42CA6}"/>
                </a:ext>
              </a:extLst>
            </p:cNvPr>
            <p:cNvGrpSpPr/>
            <p:nvPr/>
          </p:nvGrpSpPr>
          <p:grpSpPr>
            <a:xfrm>
              <a:off x="7394777" y="2396924"/>
              <a:ext cx="56535" cy="46283"/>
              <a:chOff x="7394777" y="2396924"/>
              <a:chExt cx="56535" cy="46283"/>
            </a:xfrm>
            <a:grpFill/>
          </p:grpSpPr>
          <p:sp>
            <p:nvSpPr>
              <p:cNvPr id="4650" name="Vrije vorm: vorm 4649">
                <a:extLst>
                  <a:ext uri="{FF2B5EF4-FFF2-40B4-BE49-F238E27FC236}">
                    <a16:creationId xmlns:a16="http://schemas.microsoft.com/office/drawing/2014/main" id="{78CD16E7-6DBF-450D-9933-97451CA59482}"/>
                  </a:ext>
                </a:extLst>
              </p:cNvPr>
              <p:cNvSpPr/>
              <p:nvPr/>
            </p:nvSpPr>
            <p:spPr>
              <a:xfrm>
                <a:off x="7402718" y="2404649"/>
                <a:ext cx="40728" cy="30860"/>
              </a:xfrm>
              <a:custGeom>
                <a:avLst/>
                <a:gdLst>
                  <a:gd name="connsiteX0" fmla="*/ 40728 w 40728"/>
                  <a:gd name="connsiteY0" fmla="*/ 2452 h 30860"/>
                  <a:gd name="connsiteX1" fmla="*/ 1734 w 40728"/>
                  <a:gd name="connsiteY1" fmla="*/ 30860 h 30860"/>
                  <a:gd name="connsiteX2" fmla="*/ 0 w 40728"/>
                  <a:gd name="connsiteY2" fmla="*/ 28349 h 30860"/>
                  <a:gd name="connsiteX3" fmla="*/ 38934 w 40728"/>
                  <a:gd name="connsiteY3" fmla="*/ 0 h 30860"/>
                </a:gdLst>
                <a:ahLst/>
                <a:cxnLst>
                  <a:cxn ang="0">
                    <a:pos x="connsiteX0" y="connsiteY0"/>
                  </a:cxn>
                  <a:cxn ang="0">
                    <a:pos x="connsiteX1" y="connsiteY1"/>
                  </a:cxn>
                  <a:cxn ang="0">
                    <a:pos x="connsiteX2" y="connsiteY2"/>
                  </a:cxn>
                  <a:cxn ang="0">
                    <a:pos x="connsiteX3" y="connsiteY3"/>
                  </a:cxn>
                </a:cxnLst>
                <a:rect l="l" t="t" r="r" b="b"/>
                <a:pathLst>
                  <a:path w="40728" h="30860">
                    <a:moveTo>
                      <a:pt x="40728" y="2452"/>
                    </a:moveTo>
                    <a:lnTo>
                      <a:pt x="1734" y="30860"/>
                    </a:lnTo>
                    <a:lnTo>
                      <a:pt x="0" y="28349"/>
                    </a:lnTo>
                    <a:lnTo>
                      <a:pt x="38934" y="0"/>
                    </a:lnTo>
                    <a:close/>
                  </a:path>
                </a:pathLst>
              </a:custGeom>
              <a:grpFill/>
              <a:ln w="5978" cap="flat">
                <a:noFill/>
                <a:prstDash val="solid"/>
                <a:miter/>
              </a:ln>
            </p:spPr>
            <p:txBody>
              <a:bodyPr rtlCol="0" anchor="ctr"/>
              <a:lstStyle/>
              <a:p>
                <a:endParaRPr lang="en-GB"/>
              </a:p>
            </p:txBody>
          </p:sp>
          <p:sp>
            <p:nvSpPr>
              <p:cNvPr id="4651" name="Vrije vorm: vorm 4650">
                <a:extLst>
                  <a:ext uri="{FF2B5EF4-FFF2-40B4-BE49-F238E27FC236}">
                    <a16:creationId xmlns:a16="http://schemas.microsoft.com/office/drawing/2014/main" id="{A3A4C245-3C72-4FD2-9A19-D689626C74B6}"/>
                  </a:ext>
                </a:extLst>
              </p:cNvPr>
              <p:cNvSpPr/>
              <p:nvPr/>
            </p:nvSpPr>
            <p:spPr>
              <a:xfrm>
                <a:off x="7432993" y="2396924"/>
                <a:ext cx="18318" cy="18439"/>
              </a:xfrm>
              <a:custGeom>
                <a:avLst/>
                <a:gdLst>
                  <a:gd name="connsiteX0" fmla="*/ 3755 w 18318"/>
                  <a:gd name="connsiteY0" fmla="*/ 1744 h 18439"/>
                  <a:gd name="connsiteX1" fmla="*/ 16554 w 18318"/>
                  <a:gd name="connsiteY1" fmla="*/ 3837 h 18439"/>
                  <a:gd name="connsiteX2" fmla="*/ 14521 w 18318"/>
                  <a:gd name="connsiteY2" fmla="*/ 16696 h 18439"/>
                  <a:gd name="connsiteX3" fmla="*/ 1722 w 18318"/>
                  <a:gd name="connsiteY3" fmla="*/ 14602 h 18439"/>
                  <a:gd name="connsiteX4" fmla="*/ 3755 w 18318"/>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9">
                    <a:moveTo>
                      <a:pt x="3755" y="1744"/>
                    </a:moveTo>
                    <a:cubicBezTo>
                      <a:pt x="7822" y="-1246"/>
                      <a:pt x="13563" y="-290"/>
                      <a:pt x="16554" y="3837"/>
                    </a:cubicBezTo>
                    <a:cubicBezTo>
                      <a:pt x="19544" y="7964"/>
                      <a:pt x="18647" y="13705"/>
                      <a:pt x="14521" y="16696"/>
                    </a:cubicBezTo>
                    <a:cubicBezTo>
                      <a:pt x="10453" y="19686"/>
                      <a:pt x="4712" y="18729"/>
                      <a:pt x="1722" y="14602"/>
                    </a:cubicBezTo>
                    <a:cubicBezTo>
                      <a:pt x="-1209" y="10476"/>
                      <a:pt x="-312" y="4734"/>
                      <a:pt x="3755" y="1744"/>
                    </a:cubicBezTo>
                    <a:close/>
                  </a:path>
                </a:pathLst>
              </a:custGeom>
              <a:grpFill/>
              <a:ln w="5978" cap="flat">
                <a:noFill/>
                <a:prstDash val="solid"/>
                <a:miter/>
              </a:ln>
            </p:spPr>
            <p:txBody>
              <a:bodyPr rtlCol="0" anchor="ctr"/>
              <a:lstStyle/>
              <a:p>
                <a:endParaRPr lang="en-GB"/>
              </a:p>
            </p:txBody>
          </p:sp>
          <p:sp>
            <p:nvSpPr>
              <p:cNvPr id="4652" name="Vrije vorm: vorm 4651">
                <a:extLst>
                  <a:ext uri="{FF2B5EF4-FFF2-40B4-BE49-F238E27FC236}">
                    <a16:creationId xmlns:a16="http://schemas.microsoft.com/office/drawing/2014/main" id="{B38D2479-A1AD-42AE-9296-2A4925774558}"/>
                  </a:ext>
                </a:extLst>
              </p:cNvPr>
              <p:cNvSpPr/>
              <p:nvPr/>
            </p:nvSpPr>
            <p:spPr>
              <a:xfrm>
                <a:off x="7394777" y="2424778"/>
                <a:ext cx="18275" cy="18430"/>
              </a:xfrm>
              <a:custGeom>
                <a:avLst/>
                <a:gdLst>
                  <a:gd name="connsiteX0" fmla="*/ 3755 w 18275"/>
                  <a:gd name="connsiteY0" fmla="*/ 1761 h 18430"/>
                  <a:gd name="connsiteX1" fmla="*/ 1722 w 18275"/>
                  <a:gd name="connsiteY1" fmla="*/ 14619 h 18430"/>
                  <a:gd name="connsiteX2" fmla="*/ 14520 w 18275"/>
                  <a:gd name="connsiteY2" fmla="*/ 16713 h 18430"/>
                  <a:gd name="connsiteX3" fmla="*/ 16554 w 18275"/>
                  <a:gd name="connsiteY3" fmla="*/ 3854 h 18430"/>
                  <a:gd name="connsiteX4" fmla="*/ 3755 w 18275"/>
                  <a:gd name="connsiteY4" fmla="*/ 176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30">
                    <a:moveTo>
                      <a:pt x="3755" y="1761"/>
                    </a:moveTo>
                    <a:cubicBezTo>
                      <a:pt x="-312" y="4751"/>
                      <a:pt x="-1209" y="10493"/>
                      <a:pt x="1722" y="14619"/>
                    </a:cubicBezTo>
                    <a:cubicBezTo>
                      <a:pt x="4712" y="18746"/>
                      <a:pt x="10453" y="19643"/>
                      <a:pt x="14520" y="16713"/>
                    </a:cubicBezTo>
                    <a:cubicBezTo>
                      <a:pt x="18587" y="13722"/>
                      <a:pt x="19484" y="7981"/>
                      <a:pt x="16554" y="3854"/>
                    </a:cubicBezTo>
                    <a:cubicBezTo>
                      <a:pt x="13623" y="-332"/>
                      <a:pt x="7882" y="-1230"/>
                      <a:pt x="3755" y="1761"/>
                    </a:cubicBezTo>
                    <a:close/>
                  </a:path>
                </a:pathLst>
              </a:custGeom>
              <a:grpFill/>
              <a:ln w="5978" cap="flat">
                <a:noFill/>
                <a:prstDash val="solid"/>
                <a:miter/>
              </a:ln>
            </p:spPr>
            <p:txBody>
              <a:bodyPr rtlCol="0" anchor="ctr"/>
              <a:lstStyle/>
              <a:p>
                <a:endParaRPr lang="en-GB"/>
              </a:p>
            </p:txBody>
          </p:sp>
        </p:grpSp>
        <p:grpSp>
          <p:nvGrpSpPr>
            <p:cNvPr id="244" name="Graphic 3">
              <a:extLst>
                <a:ext uri="{FF2B5EF4-FFF2-40B4-BE49-F238E27FC236}">
                  <a16:creationId xmlns:a16="http://schemas.microsoft.com/office/drawing/2014/main" id="{6B4CD8B3-7868-49A4-97A8-F5D4708A47DE}"/>
                </a:ext>
              </a:extLst>
            </p:cNvPr>
            <p:cNvGrpSpPr/>
            <p:nvPr/>
          </p:nvGrpSpPr>
          <p:grpSpPr>
            <a:xfrm>
              <a:off x="7929812" y="4164883"/>
              <a:ext cx="159061" cy="74997"/>
              <a:chOff x="7929812" y="4164883"/>
              <a:chExt cx="159061" cy="74997"/>
            </a:xfrm>
            <a:grpFill/>
          </p:grpSpPr>
          <p:sp>
            <p:nvSpPr>
              <p:cNvPr id="4647" name="Vrije vorm: vorm 4646">
                <a:extLst>
                  <a:ext uri="{FF2B5EF4-FFF2-40B4-BE49-F238E27FC236}">
                    <a16:creationId xmlns:a16="http://schemas.microsoft.com/office/drawing/2014/main" id="{147E6BBA-A5C3-459B-8800-60B3B114AE9A}"/>
                  </a:ext>
                </a:extLst>
              </p:cNvPr>
              <p:cNvSpPr/>
              <p:nvPr/>
            </p:nvSpPr>
            <p:spPr>
              <a:xfrm>
                <a:off x="7937993" y="4172550"/>
                <a:ext cx="142759" cy="59747"/>
              </a:xfrm>
              <a:custGeom>
                <a:avLst/>
                <a:gdLst>
                  <a:gd name="connsiteX0" fmla="*/ 142760 w 142759"/>
                  <a:gd name="connsiteY0" fmla="*/ 56877 h 59747"/>
                  <a:gd name="connsiteX1" fmla="*/ 141623 w 142759"/>
                  <a:gd name="connsiteY1" fmla="*/ 59747 h 59747"/>
                  <a:gd name="connsiteX2" fmla="*/ 0 w 142759"/>
                  <a:gd name="connsiteY2" fmla="*/ 2811 h 59747"/>
                  <a:gd name="connsiteX3" fmla="*/ 1136 w 142759"/>
                  <a:gd name="connsiteY3" fmla="*/ 0 h 59747"/>
                </a:gdLst>
                <a:ahLst/>
                <a:cxnLst>
                  <a:cxn ang="0">
                    <a:pos x="connsiteX0" y="connsiteY0"/>
                  </a:cxn>
                  <a:cxn ang="0">
                    <a:pos x="connsiteX1" y="connsiteY1"/>
                  </a:cxn>
                  <a:cxn ang="0">
                    <a:pos x="connsiteX2" y="connsiteY2"/>
                  </a:cxn>
                  <a:cxn ang="0">
                    <a:pos x="connsiteX3" y="connsiteY3"/>
                  </a:cxn>
                </a:cxnLst>
                <a:rect l="l" t="t" r="r" b="b"/>
                <a:pathLst>
                  <a:path w="142759" h="59747">
                    <a:moveTo>
                      <a:pt x="142760" y="56877"/>
                    </a:moveTo>
                    <a:lnTo>
                      <a:pt x="141623" y="59747"/>
                    </a:lnTo>
                    <a:lnTo>
                      <a:pt x="0" y="2811"/>
                    </a:lnTo>
                    <a:lnTo>
                      <a:pt x="1136" y="0"/>
                    </a:lnTo>
                    <a:close/>
                  </a:path>
                </a:pathLst>
              </a:custGeom>
              <a:grpFill/>
              <a:ln w="5978" cap="flat">
                <a:noFill/>
                <a:prstDash val="solid"/>
                <a:miter/>
              </a:ln>
            </p:spPr>
            <p:txBody>
              <a:bodyPr rtlCol="0" anchor="ctr"/>
              <a:lstStyle/>
              <a:p>
                <a:endParaRPr lang="en-GB"/>
              </a:p>
            </p:txBody>
          </p:sp>
          <p:sp>
            <p:nvSpPr>
              <p:cNvPr id="4648" name="Vrije vorm: vorm 4647">
                <a:extLst>
                  <a:ext uri="{FF2B5EF4-FFF2-40B4-BE49-F238E27FC236}">
                    <a16:creationId xmlns:a16="http://schemas.microsoft.com/office/drawing/2014/main" id="{5A5A4EF8-7775-42B8-96E8-D3F400BCAE10}"/>
                  </a:ext>
                </a:extLst>
              </p:cNvPr>
              <p:cNvSpPr/>
              <p:nvPr/>
            </p:nvSpPr>
            <p:spPr>
              <a:xfrm>
                <a:off x="8070538" y="4221460"/>
                <a:ext cx="18335" cy="18419"/>
              </a:xfrm>
              <a:custGeom>
                <a:avLst/>
                <a:gdLst>
                  <a:gd name="connsiteX0" fmla="*/ 12547 w 18335"/>
                  <a:gd name="connsiteY0" fmla="*/ 670 h 18419"/>
                  <a:gd name="connsiteX1" fmla="*/ 17691 w 18335"/>
                  <a:gd name="connsiteY1" fmla="*/ 12631 h 18419"/>
                  <a:gd name="connsiteX2" fmla="*/ 5788 w 18335"/>
                  <a:gd name="connsiteY2" fmla="*/ 17775 h 18419"/>
                  <a:gd name="connsiteX3" fmla="*/ 645 w 18335"/>
                  <a:gd name="connsiteY3" fmla="*/ 5813 h 18419"/>
                  <a:gd name="connsiteX4" fmla="*/ 12547 w 18335"/>
                  <a:gd name="connsiteY4" fmla="*/ 67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19">
                    <a:moveTo>
                      <a:pt x="12547" y="670"/>
                    </a:moveTo>
                    <a:cubicBezTo>
                      <a:pt x="17272" y="2584"/>
                      <a:pt x="19544" y="7907"/>
                      <a:pt x="17691" y="12631"/>
                    </a:cubicBezTo>
                    <a:cubicBezTo>
                      <a:pt x="15836" y="17356"/>
                      <a:pt x="10513" y="19629"/>
                      <a:pt x="5788" y="17775"/>
                    </a:cubicBezTo>
                    <a:cubicBezTo>
                      <a:pt x="1064" y="15861"/>
                      <a:pt x="-1209" y="10538"/>
                      <a:pt x="645" y="5813"/>
                    </a:cubicBezTo>
                    <a:cubicBezTo>
                      <a:pt x="2559" y="1089"/>
                      <a:pt x="7882" y="-1244"/>
                      <a:pt x="12547" y="670"/>
                    </a:cubicBezTo>
                    <a:close/>
                  </a:path>
                </a:pathLst>
              </a:custGeom>
              <a:grpFill/>
              <a:ln w="5978" cap="flat">
                <a:noFill/>
                <a:prstDash val="solid"/>
                <a:miter/>
              </a:ln>
            </p:spPr>
            <p:txBody>
              <a:bodyPr rtlCol="0" anchor="ctr"/>
              <a:lstStyle/>
              <a:p>
                <a:endParaRPr lang="en-GB"/>
              </a:p>
            </p:txBody>
          </p:sp>
          <p:sp>
            <p:nvSpPr>
              <p:cNvPr id="4649" name="Vrije vorm: vorm 4648">
                <a:extLst>
                  <a:ext uri="{FF2B5EF4-FFF2-40B4-BE49-F238E27FC236}">
                    <a16:creationId xmlns:a16="http://schemas.microsoft.com/office/drawing/2014/main" id="{009448E0-678F-4055-8A6E-643438317CB4}"/>
                  </a:ext>
                </a:extLst>
              </p:cNvPr>
              <p:cNvSpPr/>
              <p:nvPr/>
            </p:nvSpPr>
            <p:spPr>
              <a:xfrm>
                <a:off x="7929812" y="4164883"/>
                <a:ext cx="18335" cy="18444"/>
              </a:xfrm>
              <a:custGeom>
                <a:avLst/>
                <a:gdLst>
                  <a:gd name="connsiteX0" fmla="*/ 12547 w 18335"/>
                  <a:gd name="connsiteY0" fmla="*/ 670 h 18444"/>
                  <a:gd name="connsiteX1" fmla="*/ 645 w 18335"/>
                  <a:gd name="connsiteY1" fmla="*/ 5813 h 18444"/>
                  <a:gd name="connsiteX2" fmla="*/ 5789 w 18335"/>
                  <a:gd name="connsiteY2" fmla="*/ 17775 h 18444"/>
                  <a:gd name="connsiteX3" fmla="*/ 17690 w 18335"/>
                  <a:gd name="connsiteY3" fmla="*/ 12631 h 18444"/>
                  <a:gd name="connsiteX4" fmla="*/ 12547 w 18335"/>
                  <a:gd name="connsiteY4" fmla="*/ 67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2547" y="670"/>
                    </a:moveTo>
                    <a:cubicBezTo>
                      <a:pt x="7822" y="-1244"/>
                      <a:pt x="2499" y="1088"/>
                      <a:pt x="645" y="5813"/>
                    </a:cubicBezTo>
                    <a:cubicBezTo>
                      <a:pt x="-1209" y="10538"/>
                      <a:pt x="1064" y="15921"/>
                      <a:pt x="5789" y="17775"/>
                    </a:cubicBezTo>
                    <a:cubicBezTo>
                      <a:pt x="10513" y="19689"/>
                      <a:pt x="15836" y="17356"/>
                      <a:pt x="17690" y="12631"/>
                    </a:cubicBezTo>
                    <a:cubicBezTo>
                      <a:pt x="19544" y="7907"/>
                      <a:pt x="17271" y="2584"/>
                      <a:pt x="12547" y="670"/>
                    </a:cubicBezTo>
                    <a:close/>
                  </a:path>
                </a:pathLst>
              </a:custGeom>
              <a:grpFill/>
              <a:ln w="5978" cap="flat">
                <a:noFill/>
                <a:prstDash val="solid"/>
                <a:miter/>
              </a:ln>
            </p:spPr>
            <p:txBody>
              <a:bodyPr rtlCol="0" anchor="ctr"/>
              <a:lstStyle/>
              <a:p>
                <a:endParaRPr lang="en-GB"/>
              </a:p>
            </p:txBody>
          </p:sp>
        </p:grpSp>
        <p:grpSp>
          <p:nvGrpSpPr>
            <p:cNvPr id="245" name="Graphic 3">
              <a:extLst>
                <a:ext uri="{FF2B5EF4-FFF2-40B4-BE49-F238E27FC236}">
                  <a16:creationId xmlns:a16="http://schemas.microsoft.com/office/drawing/2014/main" id="{40534F0F-D7DF-4387-81D8-5FDF796DD270}"/>
                </a:ext>
              </a:extLst>
            </p:cNvPr>
            <p:cNvGrpSpPr/>
            <p:nvPr/>
          </p:nvGrpSpPr>
          <p:grpSpPr>
            <a:xfrm>
              <a:off x="7853677" y="3872031"/>
              <a:ext cx="118154" cy="44053"/>
              <a:chOff x="7853677" y="3872031"/>
              <a:chExt cx="118154" cy="44053"/>
            </a:xfrm>
            <a:grpFill/>
          </p:grpSpPr>
          <p:sp>
            <p:nvSpPr>
              <p:cNvPr id="4644" name="Vrije vorm: vorm 4643">
                <a:extLst>
                  <a:ext uri="{FF2B5EF4-FFF2-40B4-BE49-F238E27FC236}">
                    <a16:creationId xmlns:a16="http://schemas.microsoft.com/office/drawing/2014/main" id="{FA9C9CE5-0E7D-4A68-90E5-62962BF97585}"/>
                  </a:ext>
                </a:extLst>
              </p:cNvPr>
              <p:cNvSpPr/>
              <p:nvPr/>
            </p:nvSpPr>
            <p:spPr>
              <a:xfrm>
                <a:off x="7862037" y="3879674"/>
                <a:ext cx="101432" cy="28827"/>
              </a:xfrm>
              <a:custGeom>
                <a:avLst/>
                <a:gdLst>
                  <a:gd name="connsiteX0" fmla="*/ 101433 w 101432"/>
                  <a:gd name="connsiteY0" fmla="*/ 25837 h 28827"/>
                  <a:gd name="connsiteX1" fmla="*/ 100655 w 101432"/>
                  <a:gd name="connsiteY1" fmla="*/ 28827 h 28827"/>
                  <a:gd name="connsiteX2" fmla="*/ 0 w 101432"/>
                  <a:gd name="connsiteY2" fmla="*/ 2930 h 28827"/>
                  <a:gd name="connsiteX3" fmla="*/ 718 w 101432"/>
                  <a:gd name="connsiteY3" fmla="*/ 0 h 28827"/>
                </a:gdLst>
                <a:ahLst/>
                <a:cxnLst>
                  <a:cxn ang="0">
                    <a:pos x="connsiteX0" y="connsiteY0"/>
                  </a:cxn>
                  <a:cxn ang="0">
                    <a:pos x="connsiteX1" y="connsiteY1"/>
                  </a:cxn>
                  <a:cxn ang="0">
                    <a:pos x="connsiteX2" y="connsiteY2"/>
                  </a:cxn>
                  <a:cxn ang="0">
                    <a:pos x="connsiteX3" y="connsiteY3"/>
                  </a:cxn>
                </a:cxnLst>
                <a:rect l="l" t="t" r="r" b="b"/>
                <a:pathLst>
                  <a:path w="101432" h="28827">
                    <a:moveTo>
                      <a:pt x="101433" y="25837"/>
                    </a:moveTo>
                    <a:lnTo>
                      <a:pt x="100655" y="28827"/>
                    </a:lnTo>
                    <a:lnTo>
                      <a:pt x="0" y="2930"/>
                    </a:lnTo>
                    <a:lnTo>
                      <a:pt x="718" y="0"/>
                    </a:lnTo>
                    <a:close/>
                  </a:path>
                </a:pathLst>
              </a:custGeom>
              <a:grpFill/>
              <a:ln w="5978" cap="flat">
                <a:noFill/>
                <a:prstDash val="solid"/>
                <a:miter/>
              </a:ln>
            </p:spPr>
            <p:txBody>
              <a:bodyPr rtlCol="0" anchor="ctr"/>
              <a:lstStyle/>
              <a:p>
                <a:endParaRPr lang="en-GB"/>
              </a:p>
            </p:txBody>
          </p:sp>
          <p:sp>
            <p:nvSpPr>
              <p:cNvPr id="4645" name="Vrije vorm: vorm 4644">
                <a:extLst>
                  <a:ext uri="{FF2B5EF4-FFF2-40B4-BE49-F238E27FC236}">
                    <a16:creationId xmlns:a16="http://schemas.microsoft.com/office/drawing/2014/main" id="{D20EC564-4FAD-4AAD-A730-F4B708D93DB8}"/>
                  </a:ext>
                </a:extLst>
              </p:cNvPr>
              <p:cNvSpPr/>
              <p:nvPr/>
            </p:nvSpPr>
            <p:spPr>
              <a:xfrm>
                <a:off x="7953495" y="3897685"/>
                <a:ext cx="18336" cy="18399"/>
              </a:xfrm>
              <a:custGeom>
                <a:avLst/>
                <a:gdLst>
                  <a:gd name="connsiteX0" fmla="*/ 11411 w 18336"/>
                  <a:gd name="connsiteY0" fmla="*/ 290 h 18399"/>
                  <a:gd name="connsiteX1" fmla="*/ 18050 w 18336"/>
                  <a:gd name="connsiteY1" fmla="*/ 11474 h 18399"/>
                  <a:gd name="connsiteX2" fmla="*/ 6926 w 18336"/>
                  <a:gd name="connsiteY2" fmla="*/ 18113 h 18399"/>
                  <a:gd name="connsiteX3" fmla="*/ 287 w 18336"/>
                  <a:gd name="connsiteY3" fmla="*/ 6929 h 18399"/>
                  <a:gd name="connsiteX4" fmla="*/ 11411 w 18336"/>
                  <a:gd name="connsiteY4" fmla="*/ 29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99">
                    <a:moveTo>
                      <a:pt x="11411" y="290"/>
                    </a:moveTo>
                    <a:cubicBezTo>
                      <a:pt x="16315" y="1546"/>
                      <a:pt x="19306" y="6570"/>
                      <a:pt x="18050" y="11474"/>
                    </a:cubicBezTo>
                    <a:cubicBezTo>
                      <a:pt x="16793" y="16378"/>
                      <a:pt x="11830" y="19369"/>
                      <a:pt x="6926" y="18113"/>
                    </a:cubicBezTo>
                    <a:cubicBezTo>
                      <a:pt x="2021" y="16857"/>
                      <a:pt x="-969" y="11833"/>
                      <a:pt x="287" y="6929"/>
                    </a:cubicBezTo>
                    <a:cubicBezTo>
                      <a:pt x="1483" y="1965"/>
                      <a:pt x="6447" y="-965"/>
                      <a:pt x="11411" y="290"/>
                    </a:cubicBezTo>
                    <a:close/>
                  </a:path>
                </a:pathLst>
              </a:custGeom>
              <a:grpFill/>
              <a:ln w="5978" cap="flat">
                <a:noFill/>
                <a:prstDash val="solid"/>
                <a:miter/>
              </a:ln>
            </p:spPr>
            <p:txBody>
              <a:bodyPr rtlCol="0" anchor="ctr"/>
              <a:lstStyle/>
              <a:p>
                <a:endParaRPr lang="en-GB"/>
              </a:p>
            </p:txBody>
          </p:sp>
          <p:sp>
            <p:nvSpPr>
              <p:cNvPr id="4646" name="Vrije vorm: vorm 4645">
                <a:extLst>
                  <a:ext uri="{FF2B5EF4-FFF2-40B4-BE49-F238E27FC236}">
                    <a16:creationId xmlns:a16="http://schemas.microsoft.com/office/drawing/2014/main" id="{F05E4247-0B89-4CAE-8211-73882871BE6A}"/>
                  </a:ext>
                </a:extLst>
              </p:cNvPr>
              <p:cNvSpPr/>
              <p:nvPr/>
            </p:nvSpPr>
            <p:spPr>
              <a:xfrm>
                <a:off x="7853677" y="3872031"/>
                <a:ext cx="18335" cy="18395"/>
              </a:xfrm>
              <a:custGeom>
                <a:avLst/>
                <a:gdLst>
                  <a:gd name="connsiteX0" fmla="*/ 11411 w 18335"/>
                  <a:gd name="connsiteY0" fmla="*/ 287 h 18395"/>
                  <a:gd name="connsiteX1" fmla="*/ 287 w 18335"/>
                  <a:gd name="connsiteY1" fmla="*/ 6925 h 18395"/>
                  <a:gd name="connsiteX2" fmla="*/ 6925 w 18335"/>
                  <a:gd name="connsiteY2" fmla="*/ 18109 h 18395"/>
                  <a:gd name="connsiteX3" fmla="*/ 18049 w 18335"/>
                  <a:gd name="connsiteY3" fmla="*/ 11471 h 18395"/>
                  <a:gd name="connsiteX4" fmla="*/ 11411 w 18335"/>
                  <a:gd name="connsiteY4" fmla="*/ 28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5">
                    <a:moveTo>
                      <a:pt x="11411" y="287"/>
                    </a:moveTo>
                    <a:cubicBezTo>
                      <a:pt x="6507" y="-969"/>
                      <a:pt x="1542" y="2021"/>
                      <a:pt x="287" y="6925"/>
                    </a:cubicBezTo>
                    <a:cubicBezTo>
                      <a:pt x="-969" y="11829"/>
                      <a:pt x="2021" y="16853"/>
                      <a:pt x="6925" y="18109"/>
                    </a:cubicBezTo>
                    <a:cubicBezTo>
                      <a:pt x="11829" y="19365"/>
                      <a:pt x="16793" y="16375"/>
                      <a:pt x="18049" y="11471"/>
                    </a:cubicBezTo>
                    <a:cubicBezTo>
                      <a:pt x="19305" y="6566"/>
                      <a:pt x="16314" y="1543"/>
                      <a:pt x="11411" y="287"/>
                    </a:cubicBezTo>
                    <a:close/>
                  </a:path>
                </a:pathLst>
              </a:custGeom>
              <a:grpFill/>
              <a:ln w="5978" cap="flat">
                <a:noFill/>
                <a:prstDash val="solid"/>
                <a:miter/>
              </a:ln>
            </p:spPr>
            <p:txBody>
              <a:bodyPr rtlCol="0" anchor="ctr"/>
              <a:lstStyle/>
              <a:p>
                <a:endParaRPr lang="en-GB"/>
              </a:p>
            </p:txBody>
          </p:sp>
        </p:grpSp>
        <p:grpSp>
          <p:nvGrpSpPr>
            <p:cNvPr id="246" name="Graphic 3">
              <a:extLst>
                <a:ext uri="{FF2B5EF4-FFF2-40B4-BE49-F238E27FC236}">
                  <a16:creationId xmlns:a16="http://schemas.microsoft.com/office/drawing/2014/main" id="{4B724B46-1354-4FB6-B61A-675C1680F481}"/>
                </a:ext>
              </a:extLst>
            </p:cNvPr>
            <p:cNvGrpSpPr/>
            <p:nvPr/>
          </p:nvGrpSpPr>
          <p:grpSpPr>
            <a:xfrm>
              <a:off x="7889409" y="3918090"/>
              <a:ext cx="59907" cy="29964"/>
              <a:chOff x="7889409" y="3918090"/>
              <a:chExt cx="59907" cy="29964"/>
            </a:xfrm>
            <a:grpFill/>
          </p:grpSpPr>
          <p:sp>
            <p:nvSpPr>
              <p:cNvPr id="4641" name="Vrije vorm: vorm 4640">
                <a:extLst>
                  <a:ext uri="{FF2B5EF4-FFF2-40B4-BE49-F238E27FC236}">
                    <a16:creationId xmlns:a16="http://schemas.microsoft.com/office/drawing/2014/main" id="{BA684D27-E798-4F4E-867D-930AFD61EEF5}"/>
                  </a:ext>
                </a:extLst>
              </p:cNvPr>
              <p:cNvSpPr/>
              <p:nvPr/>
            </p:nvSpPr>
            <p:spPr>
              <a:xfrm>
                <a:off x="7897742" y="3925726"/>
                <a:ext cx="43241" cy="14712"/>
              </a:xfrm>
              <a:custGeom>
                <a:avLst/>
                <a:gdLst>
                  <a:gd name="connsiteX0" fmla="*/ 43241 w 43241"/>
                  <a:gd name="connsiteY0" fmla="*/ 11782 h 14712"/>
                  <a:gd name="connsiteX1" fmla="*/ 42464 w 43241"/>
                  <a:gd name="connsiteY1" fmla="*/ 14713 h 14712"/>
                  <a:gd name="connsiteX2" fmla="*/ 0 w 43241"/>
                  <a:gd name="connsiteY2" fmla="*/ 2990 h 14712"/>
                  <a:gd name="connsiteX3" fmla="*/ 778 w 43241"/>
                  <a:gd name="connsiteY3" fmla="*/ 0 h 14712"/>
                </a:gdLst>
                <a:ahLst/>
                <a:cxnLst>
                  <a:cxn ang="0">
                    <a:pos x="connsiteX0" y="connsiteY0"/>
                  </a:cxn>
                  <a:cxn ang="0">
                    <a:pos x="connsiteX1" y="connsiteY1"/>
                  </a:cxn>
                  <a:cxn ang="0">
                    <a:pos x="connsiteX2" y="connsiteY2"/>
                  </a:cxn>
                  <a:cxn ang="0">
                    <a:pos x="connsiteX3" y="connsiteY3"/>
                  </a:cxn>
                </a:cxnLst>
                <a:rect l="l" t="t" r="r" b="b"/>
                <a:pathLst>
                  <a:path w="43241" h="14712">
                    <a:moveTo>
                      <a:pt x="43241" y="11782"/>
                    </a:moveTo>
                    <a:lnTo>
                      <a:pt x="42464" y="14713"/>
                    </a:lnTo>
                    <a:lnTo>
                      <a:pt x="0" y="2990"/>
                    </a:lnTo>
                    <a:lnTo>
                      <a:pt x="778" y="0"/>
                    </a:lnTo>
                    <a:close/>
                  </a:path>
                </a:pathLst>
              </a:custGeom>
              <a:grpFill/>
              <a:ln w="5978" cap="flat">
                <a:noFill/>
                <a:prstDash val="solid"/>
                <a:miter/>
              </a:ln>
            </p:spPr>
            <p:txBody>
              <a:bodyPr rtlCol="0" anchor="ctr"/>
              <a:lstStyle/>
              <a:p>
                <a:endParaRPr lang="en-GB"/>
              </a:p>
            </p:txBody>
          </p:sp>
          <p:sp>
            <p:nvSpPr>
              <p:cNvPr id="4642" name="Vrije vorm: vorm 4641">
                <a:extLst>
                  <a:ext uri="{FF2B5EF4-FFF2-40B4-BE49-F238E27FC236}">
                    <a16:creationId xmlns:a16="http://schemas.microsoft.com/office/drawing/2014/main" id="{9968F949-2DC5-43A8-BAAD-01531B817D35}"/>
                  </a:ext>
                </a:extLst>
              </p:cNvPr>
              <p:cNvSpPr/>
              <p:nvPr/>
            </p:nvSpPr>
            <p:spPr>
              <a:xfrm>
                <a:off x="7930975" y="3929632"/>
                <a:ext cx="18341" cy="18421"/>
              </a:xfrm>
              <a:custGeom>
                <a:avLst/>
                <a:gdLst>
                  <a:gd name="connsiteX0" fmla="*/ 11563 w 18341"/>
                  <a:gd name="connsiteY0" fmla="*/ 340 h 18421"/>
                  <a:gd name="connsiteX1" fmla="*/ 18022 w 18341"/>
                  <a:gd name="connsiteY1" fmla="*/ 11643 h 18421"/>
                  <a:gd name="connsiteX2" fmla="*/ 6779 w 18341"/>
                  <a:gd name="connsiteY2" fmla="*/ 18102 h 18421"/>
                  <a:gd name="connsiteX3" fmla="*/ 319 w 18341"/>
                  <a:gd name="connsiteY3" fmla="*/ 6799 h 18421"/>
                  <a:gd name="connsiteX4" fmla="*/ 11563 w 18341"/>
                  <a:gd name="connsiteY4" fmla="*/ 34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1">
                    <a:moveTo>
                      <a:pt x="11563" y="340"/>
                    </a:moveTo>
                    <a:cubicBezTo>
                      <a:pt x="16467" y="1715"/>
                      <a:pt x="19338" y="6739"/>
                      <a:pt x="18022" y="11643"/>
                    </a:cubicBezTo>
                    <a:cubicBezTo>
                      <a:pt x="16707" y="16547"/>
                      <a:pt x="11683" y="19418"/>
                      <a:pt x="6779" y="18102"/>
                    </a:cubicBezTo>
                    <a:cubicBezTo>
                      <a:pt x="1874" y="16727"/>
                      <a:pt x="-997" y="11703"/>
                      <a:pt x="319" y="6799"/>
                    </a:cubicBezTo>
                    <a:cubicBezTo>
                      <a:pt x="1695" y="1895"/>
                      <a:pt x="6719" y="-1036"/>
                      <a:pt x="11563" y="340"/>
                    </a:cubicBezTo>
                    <a:close/>
                  </a:path>
                </a:pathLst>
              </a:custGeom>
              <a:grpFill/>
              <a:ln w="5978" cap="flat">
                <a:noFill/>
                <a:prstDash val="solid"/>
                <a:miter/>
              </a:ln>
            </p:spPr>
            <p:txBody>
              <a:bodyPr rtlCol="0" anchor="ctr"/>
              <a:lstStyle/>
              <a:p>
                <a:endParaRPr lang="en-GB"/>
              </a:p>
            </p:txBody>
          </p:sp>
          <p:sp>
            <p:nvSpPr>
              <p:cNvPr id="4643" name="Vrije vorm: vorm 4642">
                <a:extLst>
                  <a:ext uri="{FF2B5EF4-FFF2-40B4-BE49-F238E27FC236}">
                    <a16:creationId xmlns:a16="http://schemas.microsoft.com/office/drawing/2014/main" id="{E8710C5C-AB34-4A1C-83A3-1F57450E437C}"/>
                  </a:ext>
                </a:extLst>
              </p:cNvPr>
              <p:cNvSpPr/>
              <p:nvPr/>
            </p:nvSpPr>
            <p:spPr>
              <a:xfrm>
                <a:off x="7889409" y="3918090"/>
                <a:ext cx="18340" cy="18442"/>
              </a:xfrm>
              <a:custGeom>
                <a:avLst/>
                <a:gdLst>
                  <a:gd name="connsiteX0" fmla="*/ 11563 w 18340"/>
                  <a:gd name="connsiteY0" fmla="*/ 340 h 18442"/>
                  <a:gd name="connsiteX1" fmla="*/ 319 w 18340"/>
                  <a:gd name="connsiteY1" fmla="*/ 6799 h 18442"/>
                  <a:gd name="connsiteX2" fmla="*/ 6778 w 18340"/>
                  <a:gd name="connsiteY2" fmla="*/ 18102 h 18442"/>
                  <a:gd name="connsiteX3" fmla="*/ 18022 w 18340"/>
                  <a:gd name="connsiteY3" fmla="*/ 11643 h 18442"/>
                  <a:gd name="connsiteX4" fmla="*/ 11563 w 18340"/>
                  <a:gd name="connsiteY4" fmla="*/ 34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2">
                    <a:moveTo>
                      <a:pt x="11563" y="340"/>
                    </a:moveTo>
                    <a:cubicBezTo>
                      <a:pt x="6659" y="-1036"/>
                      <a:pt x="1635" y="1895"/>
                      <a:pt x="319" y="6799"/>
                    </a:cubicBezTo>
                    <a:cubicBezTo>
                      <a:pt x="-997" y="11703"/>
                      <a:pt x="1874" y="16787"/>
                      <a:pt x="6778" y="18102"/>
                    </a:cubicBezTo>
                    <a:cubicBezTo>
                      <a:pt x="11683" y="19478"/>
                      <a:pt x="16706" y="16547"/>
                      <a:pt x="18022" y="11643"/>
                    </a:cubicBezTo>
                    <a:cubicBezTo>
                      <a:pt x="19338" y="6799"/>
                      <a:pt x="16467" y="1715"/>
                      <a:pt x="11563" y="340"/>
                    </a:cubicBezTo>
                    <a:close/>
                  </a:path>
                </a:pathLst>
              </a:custGeom>
              <a:grpFill/>
              <a:ln w="5978" cap="flat">
                <a:noFill/>
                <a:prstDash val="solid"/>
                <a:miter/>
              </a:ln>
            </p:spPr>
            <p:txBody>
              <a:bodyPr rtlCol="0" anchor="ctr"/>
              <a:lstStyle/>
              <a:p>
                <a:endParaRPr lang="en-GB"/>
              </a:p>
            </p:txBody>
          </p:sp>
        </p:grpSp>
        <p:grpSp>
          <p:nvGrpSpPr>
            <p:cNvPr id="247" name="Graphic 3">
              <a:extLst>
                <a:ext uri="{FF2B5EF4-FFF2-40B4-BE49-F238E27FC236}">
                  <a16:creationId xmlns:a16="http://schemas.microsoft.com/office/drawing/2014/main" id="{DB499179-22C1-4FF5-B28A-0F137EB8899F}"/>
                </a:ext>
              </a:extLst>
            </p:cNvPr>
            <p:cNvGrpSpPr/>
            <p:nvPr/>
          </p:nvGrpSpPr>
          <p:grpSpPr>
            <a:xfrm>
              <a:off x="7307002" y="2200449"/>
              <a:ext cx="124208" cy="111936"/>
              <a:chOff x="7307002" y="2200449"/>
              <a:chExt cx="124208" cy="111936"/>
            </a:xfrm>
            <a:grpFill/>
          </p:grpSpPr>
          <p:sp>
            <p:nvSpPr>
              <p:cNvPr id="4638" name="Vrije vorm: vorm 4637">
                <a:extLst>
                  <a:ext uri="{FF2B5EF4-FFF2-40B4-BE49-F238E27FC236}">
                    <a16:creationId xmlns:a16="http://schemas.microsoft.com/office/drawing/2014/main" id="{3D971C44-836D-4833-B429-1E4B9AD80FB9}"/>
                  </a:ext>
                </a:extLst>
              </p:cNvPr>
              <p:cNvSpPr/>
              <p:nvPr/>
            </p:nvSpPr>
            <p:spPr>
              <a:xfrm>
                <a:off x="7314801" y="2208182"/>
                <a:ext cx="108610" cy="96528"/>
              </a:xfrm>
              <a:custGeom>
                <a:avLst/>
                <a:gdLst>
                  <a:gd name="connsiteX0" fmla="*/ 108610 w 108610"/>
                  <a:gd name="connsiteY0" fmla="*/ 2332 h 96528"/>
                  <a:gd name="connsiteX1" fmla="*/ 1973 w 108610"/>
                  <a:gd name="connsiteY1" fmla="*/ 96529 h 96528"/>
                  <a:gd name="connsiteX2" fmla="*/ 0 w 108610"/>
                  <a:gd name="connsiteY2" fmla="*/ 94196 h 96528"/>
                  <a:gd name="connsiteX3" fmla="*/ 106577 w 108610"/>
                  <a:gd name="connsiteY3" fmla="*/ 0 h 96528"/>
                </a:gdLst>
                <a:ahLst/>
                <a:cxnLst>
                  <a:cxn ang="0">
                    <a:pos x="connsiteX0" y="connsiteY0"/>
                  </a:cxn>
                  <a:cxn ang="0">
                    <a:pos x="connsiteX1" y="connsiteY1"/>
                  </a:cxn>
                  <a:cxn ang="0">
                    <a:pos x="connsiteX2" y="connsiteY2"/>
                  </a:cxn>
                  <a:cxn ang="0">
                    <a:pos x="connsiteX3" y="connsiteY3"/>
                  </a:cxn>
                </a:cxnLst>
                <a:rect l="l" t="t" r="r" b="b"/>
                <a:pathLst>
                  <a:path w="108610" h="96528">
                    <a:moveTo>
                      <a:pt x="108610" y="2332"/>
                    </a:moveTo>
                    <a:lnTo>
                      <a:pt x="1973" y="96529"/>
                    </a:lnTo>
                    <a:lnTo>
                      <a:pt x="0" y="94196"/>
                    </a:lnTo>
                    <a:lnTo>
                      <a:pt x="106577" y="0"/>
                    </a:lnTo>
                    <a:close/>
                  </a:path>
                </a:pathLst>
              </a:custGeom>
              <a:grpFill/>
              <a:ln w="5978" cap="flat">
                <a:noFill/>
                <a:prstDash val="solid"/>
                <a:miter/>
              </a:ln>
            </p:spPr>
            <p:txBody>
              <a:bodyPr rtlCol="0" anchor="ctr"/>
              <a:lstStyle/>
              <a:p>
                <a:endParaRPr lang="en-GB"/>
              </a:p>
            </p:txBody>
          </p:sp>
          <p:sp>
            <p:nvSpPr>
              <p:cNvPr id="4639" name="Vrije vorm: vorm 4638">
                <a:extLst>
                  <a:ext uri="{FF2B5EF4-FFF2-40B4-BE49-F238E27FC236}">
                    <a16:creationId xmlns:a16="http://schemas.microsoft.com/office/drawing/2014/main" id="{2836741A-1107-4211-B3FD-2C6DA688FF23}"/>
                  </a:ext>
                </a:extLst>
              </p:cNvPr>
              <p:cNvSpPr/>
              <p:nvPr/>
            </p:nvSpPr>
            <p:spPr>
              <a:xfrm>
                <a:off x="7412921" y="2200449"/>
                <a:ext cx="18289" cy="18398"/>
              </a:xfrm>
              <a:custGeom>
                <a:avLst/>
                <a:gdLst>
                  <a:gd name="connsiteX0" fmla="*/ 3075 w 18289"/>
                  <a:gd name="connsiteY0" fmla="*/ 2291 h 18398"/>
                  <a:gd name="connsiteX1" fmla="*/ 15993 w 18289"/>
                  <a:gd name="connsiteY1" fmla="*/ 3129 h 18398"/>
                  <a:gd name="connsiteX2" fmla="*/ 15216 w 18289"/>
                  <a:gd name="connsiteY2" fmla="*/ 16107 h 18398"/>
                  <a:gd name="connsiteX3" fmla="*/ 2297 w 18289"/>
                  <a:gd name="connsiteY3" fmla="*/ 15269 h 18398"/>
                  <a:gd name="connsiteX4" fmla="*/ 3075 w 18289"/>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98">
                    <a:moveTo>
                      <a:pt x="3075" y="2291"/>
                    </a:moveTo>
                    <a:cubicBezTo>
                      <a:pt x="6843" y="-1058"/>
                      <a:pt x="12644" y="-699"/>
                      <a:pt x="15993" y="3129"/>
                    </a:cubicBezTo>
                    <a:cubicBezTo>
                      <a:pt x="19342" y="6956"/>
                      <a:pt x="18983" y="12758"/>
                      <a:pt x="15216" y="16107"/>
                    </a:cubicBezTo>
                    <a:cubicBezTo>
                      <a:pt x="11448" y="19456"/>
                      <a:pt x="5646" y="19097"/>
                      <a:pt x="2297" y="15269"/>
                    </a:cubicBezTo>
                    <a:cubicBezTo>
                      <a:pt x="-1052" y="11442"/>
                      <a:pt x="-693" y="5641"/>
                      <a:pt x="3075" y="2291"/>
                    </a:cubicBezTo>
                    <a:close/>
                  </a:path>
                </a:pathLst>
              </a:custGeom>
              <a:grpFill/>
              <a:ln w="5978" cap="flat">
                <a:noFill/>
                <a:prstDash val="solid"/>
                <a:miter/>
              </a:ln>
            </p:spPr>
            <p:txBody>
              <a:bodyPr rtlCol="0" anchor="ctr"/>
              <a:lstStyle/>
              <a:p>
                <a:endParaRPr lang="en-GB"/>
              </a:p>
            </p:txBody>
          </p:sp>
          <p:sp>
            <p:nvSpPr>
              <p:cNvPr id="4640" name="Vrije vorm: vorm 4639">
                <a:extLst>
                  <a:ext uri="{FF2B5EF4-FFF2-40B4-BE49-F238E27FC236}">
                    <a16:creationId xmlns:a16="http://schemas.microsoft.com/office/drawing/2014/main" id="{1DAF0AD8-5615-47EA-87F4-06B76C27FC85}"/>
                  </a:ext>
                </a:extLst>
              </p:cNvPr>
              <p:cNvSpPr/>
              <p:nvPr/>
            </p:nvSpPr>
            <p:spPr>
              <a:xfrm>
                <a:off x="7307002" y="2294007"/>
                <a:ext cx="18290" cy="18377"/>
              </a:xfrm>
              <a:custGeom>
                <a:avLst/>
                <a:gdLst>
                  <a:gd name="connsiteX0" fmla="*/ 3075 w 18290"/>
                  <a:gd name="connsiteY0" fmla="*/ 2271 h 18377"/>
                  <a:gd name="connsiteX1" fmla="*/ 2297 w 18290"/>
                  <a:gd name="connsiteY1" fmla="*/ 15249 h 18377"/>
                  <a:gd name="connsiteX2" fmla="*/ 15216 w 18290"/>
                  <a:gd name="connsiteY2" fmla="*/ 16086 h 18377"/>
                  <a:gd name="connsiteX3" fmla="*/ 15993 w 18290"/>
                  <a:gd name="connsiteY3" fmla="*/ 3108 h 18377"/>
                  <a:gd name="connsiteX4" fmla="*/ 3075 w 18290"/>
                  <a:gd name="connsiteY4" fmla="*/ 2271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77">
                    <a:moveTo>
                      <a:pt x="3075" y="2271"/>
                    </a:moveTo>
                    <a:cubicBezTo>
                      <a:pt x="-693" y="5620"/>
                      <a:pt x="-1052" y="11421"/>
                      <a:pt x="2297" y="15249"/>
                    </a:cubicBezTo>
                    <a:cubicBezTo>
                      <a:pt x="5647" y="19077"/>
                      <a:pt x="11448" y="19436"/>
                      <a:pt x="15216" y="16086"/>
                    </a:cubicBezTo>
                    <a:cubicBezTo>
                      <a:pt x="18983" y="12737"/>
                      <a:pt x="19343" y="6936"/>
                      <a:pt x="15993" y="3108"/>
                    </a:cubicBezTo>
                    <a:cubicBezTo>
                      <a:pt x="12644" y="-660"/>
                      <a:pt x="6842" y="-1078"/>
                      <a:pt x="3075" y="2271"/>
                    </a:cubicBezTo>
                    <a:close/>
                  </a:path>
                </a:pathLst>
              </a:custGeom>
              <a:grpFill/>
              <a:ln w="5978" cap="flat">
                <a:noFill/>
                <a:prstDash val="solid"/>
                <a:miter/>
              </a:ln>
            </p:spPr>
            <p:txBody>
              <a:bodyPr rtlCol="0" anchor="ctr"/>
              <a:lstStyle/>
              <a:p>
                <a:endParaRPr lang="en-GB"/>
              </a:p>
            </p:txBody>
          </p:sp>
        </p:grpSp>
        <p:grpSp>
          <p:nvGrpSpPr>
            <p:cNvPr id="248" name="Graphic 3">
              <a:extLst>
                <a:ext uri="{FF2B5EF4-FFF2-40B4-BE49-F238E27FC236}">
                  <a16:creationId xmlns:a16="http://schemas.microsoft.com/office/drawing/2014/main" id="{0BD955EF-8102-493F-9CD2-B60AE8738CB2}"/>
                </a:ext>
              </a:extLst>
            </p:cNvPr>
            <p:cNvGrpSpPr/>
            <p:nvPr/>
          </p:nvGrpSpPr>
          <p:grpSpPr>
            <a:xfrm>
              <a:off x="7732066" y="3484577"/>
              <a:ext cx="77586" cy="21132"/>
              <a:chOff x="7732066" y="3484577"/>
              <a:chExt cx="77586" cy="21132"/>
            </a:xfrm>
            <a:grpFill/>
          </p:grpSpPr>
          <p:sp>
            <p:nvSpPr>
              <p:cNvPr id="4635" name="Vrije vorm: vorm 4634">
                <a:extLst>
                  <a:ext uri="{FF2B5EF4-FFF2-40B4-BE49-F238E27FC236}">
                    <a16:creationId xmlns:a16="http://schemas.microsoft.com/office/drawing/2014/main" id="{890B7A75-9DEC-4F49-8918-F2C2E90E7C05}"/>
                  </a:ext>
                </a:extLst>
              </p:cNvPr>
              <p:cNvSpPr/>
              <p:nvPr/>
            </p:nvSpPr>
            <p:spPr>
              <a:xfrm>
                <a:off x="7740688" y="3492243"/>
                <a:ext cx="60346" cy="5801"/>
              </a:xfrm>
              <a:custGeom>
                <a:avLst/>
                <a:gdLst>
                  <a:gd name="connsiteX0" fmla="*/ 60346 w 60346"/>
                  <a:gd name="connsiteY0" fmla="*/ 2751 h 5801"/>
                  <a:gd name="connsiteX1" fmla="*/ 60166 w 60346"/>
                  <a:gd name="connsiteY1" fmla="*/ 5801 h 5801"/>
                  <a:gd name="connsiteX2" fmla="*/ 0 w 60346"/>
                  <a:gd name="connsiteY2" fmla="*/ 3050 h 5801"/>
                  <a:gd name="connsiteX3" fmla="*/ 120 w 60346"/>
                  <a:gd name="connsiteY3" fmla="*/ 0 h 5801"/>
                </a:gdLst>
                <a:ahLst/>
                <a:cxnLst>
                  <a:cxn ang="0">
                    <a:pos x="connsiteX0" y="connsiteY0"/>
                  </a:cxn>
                  <a:cxn ang="0">
                    <a:pos x="connsiteX1" y="connsiteY1"/>
                  </a:cxn>
                  <a:cxn ang="0">
                    <a:pos x="connsiteX2" y="connsiteY2"/>
                  </a:cxn>
                  <a:cxn ang="0">
                    <a:pos x="connsiteX3" y="connsiteY3"/>
                  </a:cxn>
                </a:cxnLst>
                <a:rect l="l" t="t" r="r" b="b"/>
                <a:pathLst>
                  <a:path w="60346" h="5801">
                    <a:moveTo>
                      <a:pt x="60346" y="2751"/>
                    </a:moveTo>
                    <a:lnTo>
                      <a:pt x="60166" y="5801"/>
                    </a:lnTo>
                    <a:lnTo>
                      <a:pt x="0" y="3050"/>
                    </a:lnTo>
                    <a:lnTo>
                      <a:pt x="120" y="0"/>
                    </a:lnTo>
                    <a:close/>
                  </a:path>
                </a:pathLst>
              </a:custGeom>
              <a:grpFill/>
              <a:ln w="5978" cap="flat">
                <a:noFill/>
                <a:prstDash val="solid"/>
                <a:miter/>
              </a:ln>
            </p:spPr>
            <p:txBody>
              <a:bodyPr rtlCol="0" anchor="ctr"/>
              <a:lstStyle/>
              <a:p>
                <a:endParaRPr lang="en-GB"/>
              </a:p>
            </p:txBody>
          </p:sp>
          <p:sp>
            <p:nvSpPr>
              <p:cNvPr id="4636" name="Vrije vorm: vorm 4635">
                <a:extLst>
                  <a:ext uri="{FF2B5EF4-FFF2-40B4-BE49-F238E27FC236}">
                    <a16:creationId xmlns:a16="http://schemas.microsoft.com/office/drawing/2014/main" id="{6F563F4D-CB6C-4AF3-9CAE-05C5FAF81E38}"/>
                  </a:ext>
                </a:extLst>
              </p:cNvPr>
              <p:cNvSpPr/>
              <p:nvPr/>
            </p:nvSpPr>
            <p:spPr>
              <a:xfrm>
                <a:off x="7791340" y="3487269"/>
                <a:ext cx="18312" cy="18441"/>
              </a:xfrm>
              <a:custGeom>
                <a:avLst/>
                <a:gdLst>
                  <a:gd name="connsiteX0" fmla="*/ 9515 w 18312"/>
                  <a:gd name="connsiteY0" fmla="*/ 10 h 18441"/>
                  <a:gd name="connsiteX1" fmla="*/ 18307 w 18312"/>
                  <a:gd name="connsiteY1" fmla="*/ 9639 h 18441"/>
                  <a:gd name="connsiteX2" fmla="*/ 8797 w 18312"/>
                  <a:gd name="connsiteY2" fmla="*/ 18431 h 18441"/>
                  <a:gd name="connsiteX3" fmla="*/ 6 w 18312"/>
                  <a:gd name="connsiteY3" fmla="*/ 8802 h 18441"/>
                  <a:gd name="connsiteX4" fmla="*/ 9515 w 18312"/>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1">
                    <a:moveTo>
                      <a:pt x="9515" y="10"/>
                    </a:moveTo>
                    <a:cubicBezTo>
                      <a:pt x="14599" y="250"/>
                      <a:pt x="18486" y="4556"/>
                      <a:pt x="18307" y="9639"/>
                    </a:cubicBezTo>
                    <a:cubicBezTo>
                      <a:pt x="18068" y="14723"/>
                      <a:pt x="13821" y="18670"/>
                      <a:pt x="8797" y="18431"/>
                    </a:cubicBezTo>
                    <a:cubicBezTo>
                      <a:pt x="3774" y="18192"/>
                      <a:pt x="-174" y="13886"/>
                      <a:pt x="6" y="8802"/>
                    </a:cubicBezTo>
                    <a:cubicBezTo>
                      <a:pt x="185" y="3718"/>
                      <a:pt x="4491" y="-229"/>
                      <a:pt x="9515" y="10"/>
                    </a:cubicBezTo>
                    <a:close/>
                  </a:path>
                </a:pathLst>
              </a:custGeom>
              <a:grpFill/>
              <a:ln w="5978" cap="flat">
                <a:noFill/>
                <a:prstDash val="solid"/>
                <a:miter/>
              </a:ln>
            </p:spPr>
            <p:txBody>
              <a:bodyPr rtlCol="0" anchor="ctr"/>
              <a:lstStyle/>
              <a:p>
                <a:endParaRPr lang="en-GB"/>
              </a:p>
            </p:txBody>
          </p:sp>
          <p:sp>
            <p:nvSpPr>
              <p:cNvPr id="4637" name="Vrije vorm: vorm 4636">
                <a:extLst>
                  <a:ext uri="{FF2B5EF4-FFF2-40B4-BE49-F238E27FC236}">
                    <a16:creationId xmlns:a16="http://schemas.microsoft.com/office/drawing/2014/main" id="{8FB73D31-A0C8-472A-B167-BD1C425089F8}"/>
                  </a:ext>
                </a:extLst>
              </p:cNvPr>
              <p:cNvSpPr/>
              <p:nvPr/>
            </p:nvSpPr>
            <p:spPr>
              <a:xfrm>
                <a:off x="7732066" y="3484577"/>
                <a:ext cx="18321" cy="18441"/>
              </a:xfrm>
              <a:custGeom>
                <a:avLst/>
                <a:gdLst>
                  <a:gd name="connsiteX0" fmla="*/ 9519 w 18321"/>
                  <a:gd name="connsiteY0" fmla="*/ 10 h 18441"/>
                  <a:gd name="connsiteX1" fmla="*/ 10 w 18321"/>
                  <a:gd name="connsiteY1" fmla="*/ 8802 h 18441"/>
                  <a:gd name="connsiteX2" fmla="*/ 8802 w 18321"/>
                  <a:gd name="connsiteY2" fmla="*/ 18431 h 18441"/>
                  <a:gd name="connsiteX3" fmla="*/ 18311 w 18321"/>
                  <a:gd name="connsiteY3" fmla="*/ 9639 h 18441"/>
                  <a:gd name="connsiteX4" fmla="*/ 9519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19" y="10"/>
                    </a:moveTo>
                    <a:cubicBezTo>
                      <a:pt x="4436" y="-229"/>
                      <a:pt x="190" y="3718"/>
                      <a:pt x="10" y="8802"/>
                    </a:cubicBezTo>
                    <a:cubicBezTo>
                      <a:pt x="-229" y="13886"/>
                      <a:pt x="3718" y="18192"/>
                      <a:pt x="8802" y="18431"/>
                    </a:cubicBezTo>
                    <a:cubicBezTo>
                      <a:pt x="13885" y="18670"/>
                      <a:pt x="18132" y="14723"/>
                      <a:pt x="18311" y="9639"/>
                    </a:cubicBezTo>
                    <a:cubicBezTo>
                      <a:pt x="18550" y="4556"/>
                      <a:pt x="14603" y="250"/>
                      <a:pt x="9519" y="10"/>
                    </a:cubicBezTo>
                    <a:close/>
                  </a:path>
                </a:pathLst>
              </a:custGeom>
              <a:grpFill/>
              <a:ln w="5978" cap="flat">
                <a:noFill/>
                <a:prstDash val="solid"/>
                <a:miter/>
              </a:ln>
            </p:spPr>
            <p:txBody>
              <a:bodyPr rtlCol="0" anchor="ctr"/>
              <a:lstStyle/>
              <a:p>
                <a:endParaRPr lang="en-GB"/>
              </a:p>
            </p:txBody>
          </p:sp>
        </p:grpSp>
        <p:grpSp>
          <p:nvGrpSpPr>
            <p:cNvPr id="249" name="Graphic 3">
              <a:extLst>
                <a:ext uri="{FF2B5EF4-FFF2-40B4-BE49-F238E27FC236}">
                  <a16:creationId xmlns:a16="http://schemas.microsoft.com/office/drawing/2014/main" id="{76DD91BC-3E04-4A72-A946-BBA0BE98F7F1}"/>
                </a:ext>
              </a:extLst>
            </p:cNvPr>
            <p:cNvGrpSpPr/>
            <p:nvPr/>
          </p:nvGrpSpPr>
          <p:grpSpPr>
            <a:xfrm>
              <a:off x="7053365" y="1686140"/>
              <a:ext cx="346919" cy="392485"/>
              <a:chOff x="7053365" y="1686140"/>
              <a:chExt cx="346919" cy="392485"/>
            </a:xfrm>
            <a:grpFill/>
          </p:grpSpPr>
          <p:sp>
            <p:nvSpPr>
              <p:cNvPr id="4632" name="Vrije vorm: vorm 4631">
                <a:extLst>
                  <a:ext uri="{FF2B5EF4-FFF2-40B4-BE49-F238E27FC236}">
                    <a16:creationId xmlns:a16="http://schemas.microsoft.com/office/drawing/2014/main" id="{05FD5D4F-D1AB-4594-820D-8FC05A344571}"/>
                  </a:ext>
                </a:extLst>
              </p:cNvPr>
              <p:cNvSpPr/>
              <p:nvPr/>
            </p:nvSpPr>
            <p:spPr>
              <a:xfrm>
                <a:off x="7061040" y="1693960"/>
                <a:ext cx="331570" cy="376785"/>
              </a:xfrm>
              <a:custGeom>
                <a:avLst/>
                <a:gdLst>
                  <a:gd name="connsiteX0" fmla="*/ 331571 w 331570"/>
                  <a:gd name="connsiteY0" fmla="*/ 2033 h 376785"/>
                  <a:gd name="connsiteX1" fmla="*/ 2332 w 331570"/>
                  <a:gd name="connsiteY1" fmla="*/ 376785 h 376785"/>
                  <a:gd name="connsiteX2" fmla="*/ 0 w 331570"/>
                  <a:gd name="connsiteY2" fmla="*/ 374752 h 376785"/>
                  <a:gd name="connsiteX3" fmla="*/ 329238 w 331570"/>
                  <a:gd name="connsiteY3" fmla="*/ 0 h 376785"/>
                </a:gdLst>
                <a:ahLst/>
                <a:cxnLst>
                  <a:cxn ang="0">
                    <a:pos x="connsiteX0" y="connsiteY0"/>
                  </a:cxn>
                  <a:cxn ang="0">
                    <a:pos x="connsiteX1" y="connsiteY1"/>
                  </a:cxn>
                  <a:cxn ang="0">
                    <a:pos x="connsiteX2" y="connsiteY2"/>
                  </a:cxn>
                  <a:cxn ang="0">
                    <a:pos x="connsiteX3" y="connsiteY3"/>
                  </a:cxn>
                </a:cxnLst>
                <a:rect l="l" t="t" r="r" b="b"/>
                <a:pathLst>
                  <a:path w="331570" h="376785">
                    <a:moveTo>
                      <a:pt x="331571" y="2033"/>
                    </a:moveTo>
                    <a:lnTo>
                      <a:pt x="2332" y="376785"/>
                    </a:lnTo>
                    <a:lnTo>
                      <a:pt x="0" y="374752"/>
                    </a:lnTo>
                    <a:lnTo>
                      <a:pt x="329238" y="0"/>
                    </a:lnTo>
                    <a:close/>
                  </a:path>
                </a:pathLst>
              </a:custGeom>
              <a:grpFill/>
              <a:ln w="5978" cap="flat">
                <a:noFill/>
                <a:prstDash val="solid"/>
                <a:miter/>
              </a:ln>
            </p:spPr>
            <p:txBody>
              <a:bodyPr rtlCol="0" anchor="ctr"/>
              <a:lstStyle/>
              <a:p>
                <a:endParaRPr lang="en-GB"/>
              </a:p>
            </p:txBody>
          </p:sp>
          <p:sp>
            <p:nvSpPr>
              <p:cNvPr id="4633" name="Vrije vorm: vorm 4632">
                <a:extLst>
                  <a:ext uri="{FF2B5EF4-FFF2-40B4-BE49-F238E27FC236}">
                    <a16:creationId xmlns:a16="http://schemas.microsoft.com/office/drawing/2014/main" id="{892EE04F-964B-4562-B824-FC726C2716D9}"/>
                  </a:ext>
                </a:extLst>
              </p:cNvPr>
              <p:cNvSpPr/>
              <p:nvPr/>
            </p:nvSpPr>
            <p:spPr>
              <a:xfrm>
                <a:off x="7053365" y="2060234"/>
                <a:ext cx="18317" cy="18391"/>
              </a:xfrm>
              <a:custGeom>
                <a:avLst/>
                <a:gdLst>
                  <a:gd name="connsiteX0" fmla="*/ 16047 w 18317"/>
                  <a:gd name="connsiteY0" fmla="*/ 15296 h 18391"/>
                  <a:gd name="connsiteX1" fmla="*/ 3129 w 18317"/>
                  <a:gd name="connsiteY1" fmla="*/ 16073 h 18391"/>
                  <a:gd name="connsiteX2" fmla="*/ 2291 w 18317"/>
                  <a:gd name="connsiteY2" fmla="*/ 3095 h 18391"/>
                  <a:gd name="connsiteX3" fmla="*/ 15209 w 18317"/>
                  <a:gd name="connsiteY3" fmla="*/ 2318 h 18391"/>
                  <a:gd name="connsiteX4" fmla="*/ 16047 w 18317"/>
                  <a:gd name="connsiteY4" fmla="*/ 15296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91">
                    <a:moveTo>
                      <a:pt x="16047" y="15296"/>
                    </a:moveTo>
                    <a:cubicBezTo>
                      <a:pt x="12698" y="19124"/>
                      <a:pt x="6897" y="19423"/>
                      <a:pt x="3129" y="16073"/>
                    </a:cubicBezTo>
                    <a:cubicBezTo>
                      <a:pt x="-699" y="12724"/>
                      <a:pt x="-1058" y="6863"/>
                      <a:pt x="2291" y="3095"/>
                    </a:cubicBezTo>
                    <a:cubicBezTo>
                      <a:pt x="5640" y="-732"/>
                      <a:pt x="11442" y="-1031"/>
                      <a:pt x="15209" y="2318"/>
                    </a:cubicBezTo>
                    <a:cubicBezTo>
                      <a:pt x="18977" y="5667"/>
                      <a:pt x="19396" y="11468"/>
                      <a:pt x="16047" y="15296"/>
                    </a:cubicBezTo>
                    <a:close/>
                  </a:path>
                </a:pathLst>
              </a:custGeom>
              <a:grpFill/>
              <a:ln w="5978" cap="flat">
                <a:noFill/>
                <a:prstDash val="solid"/>
                <a:miter/>
              </a:ln>
            </p:spPr>
            <p:txBody>
              <a:bodyPr rtlCol="0" anchor="ctr"/>
              <a:lstStyle/>
              <a:p>
                <a:endParaRPr lang="en-GB"/>
              </a:p>
            </p:txBody>
          </p:sp>
          <p:sp>
            <p:nvSpPr>
              <p:cNvPr id="4634" name="Vrije vorm: vorm 4633">
                <a:extLst>
                  <a:ext uri="{FF2B5EF4-FFF2-40B4-BE49-F238E27FC236}">
                    <a16:creationId xmlns:a16="http://schemas.microsoft.com/office/drawing/2014/main" id="{0EF75EDE-AD25-4CBD-BC68-797761E1B719}"/>
                  </a:ext>
                </a:extLst>
              </p:cNvPr>
              <p:cNvSpPr/>
              <p:nvPr/>
            </p:nvSpPr>
            <p:spPr>
              <a:xfrm>
                <a:off x="7381946" y="1686140"/>
                <a:ext cx="18338" cy="18370"/>
              </a:xfrm>
              <a:custGeom>
                <a:avLst/>
                <a:gdLst>
                  <a:gd name="connsiteX0" fmla="*/ 16047 w 18338"/>
                  <a:gd name="connsiteY0" fmla="*/ 15296 h 18370"/>
                  <a:gd name="connsiteX1" fmla="*/ 15210 w 18338"/>
                  <a:gd name="connsiteY1" fmla="*/ 2318 h 18370"/>
                  <a:gd name="connsiteX2" fmla="*/ 2291 w 18338"/>
                  <a:gd name="connsiteY2" fmla="*/ 3095 h 18370"/>
                  <a:gd name="connsiteX3" fmla="*/ 3129 w 18338"/>
                  <a:gd name="connsiteY3" fmla="*/ 16073 h 18370"/>
                  <a:gd name="connsiteX4" fmla="*/ 16047 w 18338"/>
                  <a:gd name="connsiteY4" fmla="*/ 15296 h 18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0">
                    <a:moveTo>
                      <a:pt x="16047" y="15296"/>
                    </a:moveTo>
                    <a:cubicBezTo>
                      <a:pt x="19396" y="11468"/>
                      <a:pt x="19038" y="5667"/>
                      <a:pt x="15210" y="2318"/>
                    </a:cubicBezTo>
                    <a:cubicBezTo>
                      <a:pt x="11382" y="-1031"/>
                      <a:pt x="5641" y="-732"/>
                      <a:pt x="2291" y="3095"/>
                    </a:cubicBezTo>
                    <a:cubicBezTo>
                      <a:pt x="-1058" y="6923"/>
                      <a:pt x="-699" y="12724"/>
                      <a:pt x="3129" y="16073"/>
                    </a:cubicBezTo>
                    <a:cubicBezTo>
                      <a:pt x="6956" y="19423"/>
                      <a:pt x="12757" y="19064"/>
                      <a:pt x="16047" y="15296"/>
                    </a:cubicBezTo>
                    <a:close/>
                  </a:path>
                </a:pathLst>
              </a:custGeom>
              <a:grpFill/>
              <a:ln w="5978" cap="flat">
                <a:noFill/>
                <a:prstDash val="solid"/>
                <a:miter/>
              </a:ln>
            </p:spPr>
            <p:txBody>
              <a:bodyPr rtlCol="0" anchor="ctr"/>
              <a:lstStyle/>
              <a:p>
                <a:endParaRPr lang="en-GB"/>
              </a:p>
            </p:txBody>
          </p:sp>
        </p:grpSp>
        <p:grpSp>
          <p:nvGrpSpPr>
            <p:cNvPr id="250" name="Graphic 3">
              <a:extLst>
                <a:ext uri="{FF2B5EF4-FFF2-40B4-BE49-F238E27FC236}">
                  <a16:creationId xmlns:a16="http://schemas.microsoft.com/office/drawing/2014/main" id="{E387B8CB-61F1-4C07-ABEA-A2F36A0FA2BF}"/>
                </a:ext>
              </a:extLst>
            </p:cNvPr>
            <p:cNvGrpSpPr/>
            <p:nvPr/>
          </p:nvGrpSpPr>
          <p:grpSpPr>
            <a:xfrm>
              <a:off x="7893263" y="3994302"/>
              <a:ext cx="127976" cy="53212"/>
              <a:chOff x="7893263" y="3994302"/>
              <a:chExt cx="127976" cy="53212"/>
            </a:xfrm>
            <a:grpFill/>
          </p:grpSpPr>
          <p:sp>
            <p:nvSpPr>
              <p:cNvPr id="4629" name="Vrije vorm: vorm 4628">
                <a:extLst>
                  <a:ext uri="{FF2B5EF4-FFF2-40B4-BE49-F238E27FC236}">
                    <a16:creationId xmlns:a16="http://schemas.microsoft.com/office/drawing/2014/main" id="{274F0025-57B7-448E-A638-65BAA346E539}"/>
                  </a:ext>
                </a:extLst>
              </p:cNvPr>
              <p:cNvSpPr/>
              <p:nvPr/>
            </p:nvSpPr>
            <p:spPr>
              <a:xfrm>
                <a:off x="7901570" y="4001980"/>
                <a:ext cx="111361" cy="37977"/>
              </a:xfrm>
              <a:custGeom>
                <a:avLst/>
                <a:gdLst>
                  <a:gd name="connsiteX0" fmla="*/ 111361 w 111361"/>
                  <a:gd name="connsiteY0" fmla="*/ 35047 h 37977"/>
                  <a:gd name="connsiteX1" fmla="*/ 110464 w 111361"/>
                  <a:gd name="connsiteY1" fmla="*/ 37977 h 37977"/>
                  <a:gd name="connsiteX2" fmla="*/ 0 w 111361"/>
                  <a:gd name="connsiteY2" fmla="*/ 2871 h 37977"/>
                  <a:gd name="connsiteX3" fmla="*/ 897 w 111361"/>
                  <a:gd name="connsiteY3" fmla="*/ 0 h 37977"/>
                </a:gdLst>
                <a:ahLst/>
                <a:cxnLst>
                  <a:cxn ang="0">
                    <a:pos x="connsiteX0" y="connsiteY0"/>
                  </a:cxn>
                  <a:cxn ang="0">
                    <a:pos x="connsiteX1" y="connsiteY1"/>
                  </a:cxn>
                  <a:cxn ang="0">
                    <a:pos x="connsiteX2" y="connsiteY2"/>
                  </a:cxn>
                  <a:cxn ang="0">
                    <a:pos x="connsiteX3" y="connsiteY3"/>
                  </a:cxn>
                </a:cxnLst>
                <a:rect l="l" t="t" r="r" b="b"/>
                <a:pathLst>
                  <a:path w="111361" h="37977">
                    <a:moveTo>
                      <a:pt x="111361" y="35047"/>
                    </a:moveTo>
                    <a:lnTo>
                      <a:pt x="110464" y="37977"/>
                    </a:lnTo>
                    <a:lnTo>
                      <a:pt x="0" y="2871"/>
                    </a:lnTo>
                    <a:lnTo>
                      <a:pt x="897" y="0"/>
                    </a:lnTo>
                    <a:close/>
                  </a:path>
                </a:pathLst>
              </a:custGeom>
              <a:grpFill/>
              <a:ln w="5978" cap="flat">
                <a:noFill/>
                <a:prstDash val="solid"/>
                <a:miter/>
              </a:ln>
            </p:spPr>
            <p:txBody>
              <a:bodyPr rtlCol="0" anchor="ctr"/>
              <a:lstStyle/>
              <a:p>
                <a:endParaRPr lang="en-GB"/>
              </a:p>
            </p:txBody>
          </p:sp>
          <p:sp>
            <p:nvSpPr>
              <p:cNvPr id="4630" name="Vrije vorm: vorm 4629">
                <a:extLst>
                  <a:ext uri="{FF2B5EF4-FFF2-40B4-BE49-F238E27FC236}">
                    <a16:creationId xmlns:a16="http://schemas.microsoft.com/office/drawing/2014/main" id="{D553BD10-5E26-4243-B608-833CB4250C67}"/>
                  </a:ext>
                </a:extLst>
              </p:cNvPr>
              <p:cNvSpPr/>
              <p:nvPr/>
            </p:nvSpPr>
            <p:spPr>
              <a:xfrm>
                <a:off x="8002889" y="4029138"/>
                <a:ext cx="18349" cy="18377"/>
              </a:xfrm>
              <a:custGeom>
                <a:avLst/>
                <a:gdLst>
                  <a:gd name="connsiteX0" fmla="*/ 11896 w 18349"/>
                  <a:gd name="connsiteY0" fmla="*/ 413 h 18377"/>
                  <a:gd name="connsiteX1" fmla="*/ 17937 w 18349"/>
                  <a:gd name="connsiteY1" fmla="*/ 11956 h 18377"/>
                  <a:gd name="connsiteX2" fmla="*/ 6453 w 18349"/>
                  <a:gd name="connsiteY2" fmla="*/ 17937 h 18377"/>
                  <a:gd name="connsiteX3" fmla="*/ 413 w 18349"/>
                  <a:gd name="connsiteY3" fmla="*/ 6394 h 18377"/>
                  <a:gd name="connsiteX4" fmla="*/ 11896 w 18349"/>
                  <a:gd name="connsiteY4" fmla="*/ 413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77">
                    <a:moveTo>
                      <a:pt x="11896" y="413"/>
                    </a:moveTo>
                    <a:cubicBezTo>
                      <a:pt x="16740" y="1968"/>
                      <a:pt x="19432" y="7112"/>
                      <a:pt x="17937" y="11956"/>
                    </a:cubicBezTo>
                    <a:cubicBezTo>
                      <a:pt x="16442" y="16800"/>
                      <a:pt x="11298" y="19492"/>
                      <a:pt x="6453" y="17937"/>
                    </a:cubicBezTo>
                    <a:cubicBezTo>
                      <a:pt x="1609" y="16382"/>
                      <a:pt x="-1082" y="11238"/>
                      <a:pt x="413" y="6394"/>
                    </a:cubicBezTo>
                    <a:cubicBezTo>
                      <a:pt x="1908" y="1610"/>
                      <a:pt x="7051" y="-1082"/>
                      <a:pt x="11896" y="413"/>
                    </a:cubicBezTo>
                    <a:close/>
                  </a:path>
                </a:pathLst>
              </a:custGeom>
              <a:grpFill/>
              <a:ln w="5978" cap="flat">
                <a:noFill/>
                <a:prstDash val="solid"/>
                <a:miter/>
              </a:ln>
            </p:spPr>
            <p:txBody>
              <a:bodyPr rtlCol="0" anchor="ctr"/>
              <a:lstStyle/>
              <a:p>
                <a:endParaRPr lang="en-GB"/>
              </a:p>
            </p:txBody>
          </p:sp>
          <p:sp>
            <p:nvSpPr>
              <p:cNvPr id="4631" name="Vrije vorm: vorm 4630">
                <a:extLst>
                  <a:ext uri="{FF2B5EF4-FFF2-40B4-BE49-F238E27FC236}">
                    <a16:creationId xmlns:a16="http://schemas.microsoft.com/office/drawing/2014/main" id="{A8441E14-56A2-489D-88A3-1F745F885E7E}"/>
                  </a:ext>
                </a:extLst>
              </p:cNvPr>
              <p:cNvSpPr/>
              <p:nvPr/>
            </p:nvSpPr>
            <p:spPr>
              <a:xfrm>
                <a:off x="7893263" y="3994302"/>
                <a:ext cx="18348" cy="18405"/>
              </a:xfrm>
              <a:custGeom>
                <a:avLst/>
                <a:gdLst>
                  <a:gd name="connsiteX0" fmla="*/ 11895 w 18348"/>
                  <a:gd name="connsiteY0" fmla="*/ 441 h 18405"/>
                  <a:gd name="connsiteX1" fmla="*/ 413 w 18348"/>
                  <a:gd name="connsiteY1" fmla="*/ 6421 h 18405"/>
                  <a:gd name="connsiteX2" fmla="*/ 6454 w 18348"/>
                  <a:gd name="connsiteY2" fmla="*/ 17964 h 18405"/>
                  <a:gd name="connsiteX3" fmla="*/ 17936 w 18348"/>
                  <a:gd name="connsiteY3" fmla="*/ 11984 h 18405"/>
                  <a:gd name="connsiteX4" fmla="*/ 11895 w 18348"/>
                  <a:gd name="connsiteY4" fmla="*/ 4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05">
                    <a:moveTo>
                      <a:pt x="11895" y="441"/>
                    </a:moveTo>
                    <a:cubicBezTo>
                      <a:pt x="7051" y="-1114"/>
                      <a:pt x="1908" y="1577"/>
                      <a:pt x="413" y="6421"/>
                    </a:cubicBezTo>
                    <a:cubicBezTo>
                      <a:pt x="-1082" y="11266"/>
                      <a:pt x="1609" y="16469"/>
                      <a:pt x="6454" y="17964"/>
                    </a:cubicBezTo>
                    <a:cubicBezTo>
                      <a:pt x="11298" y="19519"/>
                      <a:pt x="16441" y="16828"/>
                      <a:pt x="17936" y="11984"/>
                    </a:cubicBezTo>
                    <a:cubicBezTo>
                      <a:pt x="19431" y="7199"/>
                      <a:pt x="16740" y="1996"/>
                      <a:pt x="11895" y="441"/>
                    </a:cubicBezTo>
                    <a:close/>
                  </a:path>
                </a:pathLst>
              </a:custGeom>
              <a:grpFill/>
              <a:ln w="5978" cap="flat">
                <a:noFill/>
                <a:prstDash val="solid"/>
                <a:miter/>
              </a:ln>
            </p:spPr>
            <p:txBody>
              <a:bodyPr rtlCol="0" anchor="ctr"/>
              <a:lstStyle/>
              <a:p>
                <a:endParaRPr lang="en-GB"/>
              </a:p>
            </p:txBody>
          </p:sp>
        </p:grpSp>
        <p:grpSp>
          <p:nvGrpSpPr>
            <p:cNvPr id="251" name="Graphic 3">
              <a:extLst>
                <a:ext uri="{FF2B5EF4-FFF2-40B4-BE49-F238E27FC236}">
                  <a16:creationId xmlns:a16="http://schemas.microsoft.com/office/drawing/2014/main" id="{999A91BC-D760-4291-92F3-2B5E43915D75}"/>
                </a:ext>
              </a:extLst>
            </p:cNvPr>
            <p:cNvGrpSpPr/>
            <p:nvPr/>
          </p:nvGrpSpPr>
          <p:grpSpPr>
            <a:xfrm>
              <a:off x="7222428" y="2048497"/>
              <a:ext cx="166325" cy="170353"/>
              <a:chOff x="7222428" y="2048497"/>
              <a:chExt cx="166325" cy="170353"/>
            </a:xfrm>
            <a:grpFill/>
          </p:grpSpPr>
          <p:sp>
            <p:nvSpPr>
              <p:cNvPr id="4626" name="Vrije vorm: vorm 4625">
                <a:extLst>
                  <a:ext uri="{FF2B5EF4-FFF2-40B4-BE49-F238E27FC236}">
                    <a16:creationId xmlns:a16="http://schemas.microsoft.com/office/drawing/2014/main" id="{D6CE5704-F2DE-4E1F-8345-1FAABCB06A46}"/>
                  </a:ext>
                </a:extLst>
              </p:cNvPr>
              <p:cNvSpPr/>
              <p:nvPr/>
            </p:nvSpPr>
            <p:spPr>
              <a:xfrm>
                <a:off x="7230174" y="2056332"/>
                <a:ext cx="150774" cy="154661"/>
              </a:xfrm>
              <a:custGeom>
                <a:avLst/>
                <a:gdLst>
                  <a:gd name="connsiteX0" fmla="*/ 150775 w 150774"/>
                  <a:gd name="connsiteY0" fmla="*/ 2153 h 154661"/>
                  <a:gd name="connsiteX1" fmla="*/ 2213 w 150774"/>
                  <a:gd name="connsiteY1" fmla="*/ 154661 h 154661"/>
                  <a:gd name="connsiteX2" fmla="*/ 0 w 150774"/>
                  <a:gd name="connsiteY2" fmla="*/ 152508 h 154661"/>
                  <a:gd name="connsiteX3" fmla="*/ 148622 w 150774"/>
                  <a:gd name="connsiteY3" fmla="*/ 0 h 154661"/>
                </a:gdLst>
                <a:ahLst/>
                <a:cxnLst>
                  <a:cxn ang="0">
                    <a:pos x="connsiteX0" y="connsiteY0"/>
                  </a:cxn>
                  <a:cxn ang="0">
                    <a:pos x="connsiteX1" y="connsiteY1"/>
                  </a:cxn>
                  <a:cxn ang="0">
                    <a:pos x="connsiteX2" y="connsiteY2"/>
                  </a:cxn>
                  <a:cxn ang="0">
                    <a:pos x="connsiteX3" y="connsiteY3"/>
                  </a:cxn>
                </a:cxnLst>
                <a:rect l="l" t="t" r="r" b="b"/>
                <a:pathLst>
                  <a:path w="150774" h="154661">
                    <a:moveTo>
                      <a:pt x="150775" y="2153"/>
                    </a:moveTo>
                    <a:lnTo>
                      <a:pt x="2213" y="154661"/>
                    </a:lnTo>
                    <a:lnTo>
                      <a:pt x="0" y="152508"/>
                    </a:lnTo>
                    <a:lnTo>
                      <a:pt x="148622" y="0"/>
                    </a:lnTo>
                    <a:close/>
                  </a:path>
                </a:pathLst>
              </a:custGeom>
              <a:grpFill/>
              <a:ln w="5978" cap="flat">
                <a:noFill/>
                <a:prstDash val="solid"/>
                <a:miter/>
              </a:ln>
            </p:spPr>
            <p:txBody>
              <a:bodyPr rtlCol="0" anchor="ctr"/>
              <a:lstStyle/>
              <a:p>
                <a:endParaRPr lang="en-GB"/>
              </a:p>
            </p:txBody>
          </p:sp>
          <p:sp>
            <p:nvSpPr>
              <p:cNvPr id="4627" name="Vrije vorm: vorm 4626">
                <a:extLst>
                  <a:ext uri="{FF2B5EF4-FFF2-40B4-BE49-F238E27FC236}">
                    <a16:creationId xmlns:a16="http://schemas.microsoft.com/office/drawing/2014/main" id="{30C57F89-8F78-4A29-B27A-7CD6D602E4FA}"/>
                  </a:ext>
                </a:extLst>
              </p:cNvPr>
              <p:cNvSpPr/>
              <p:nvPr/>
            </p:nvSpPr>
            <p:spPr>
              <a:xfrm>
                <a:off x="7370391" y="2048497"/>
                <a:ext cx="18362" cy="18421"/>
              </a:xfrm>
              <a:custGeom>
                <a:avLst/>
                <a:gdLst>
                  <a:gd name="connsiteX0" fmla="*/ 2602 w 18362"/>
                  <a:gd name="connsiteY0" fmla="*/ 2751 h 18421"/>
                  <a:gd name="connsiteX1" fmla="*/ 15581 w 18362"/>
                  <a:gd name="connsiteY1" fmla="*/ 2632 h 18421"/>
                  <a:gd name="connsiteX2" fmla="*/ 15760 w 18362"/>
                  <a:gd name="connsiteY2" fmla="*/ 15670 h 18421"/>
                  <a:gd name="connsiteX3" fmla="*/ 2782 w 18362"/>
                  <a:gd name="connsiteY3" fmla="*/ 15789 h 18421"/>
                  <a:gd name="connsiteX4" fmla="*/ 2602 w 18362"/>
                  <a:gd name="connsiteY4" fmla="*/ 27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2602" y="2751"/>
                    </a:moveTo>
                    <a:cubicBezTo>
                      <a:pt x="6131" y="-897"/>
                      <a:pt x="11932" y="-897"/>
                      <a:pt x="15581" y="2632"/>
                    </a:cubicBezTo>
                    <a:cubicBezTo>
                      <a:pt x="19229" y="6220"/>
                      <a:pt x="19289" y="12021"/>
                      <a:pt x="15760" y="15670"/>
                    </a:cubicBezTo>
                    <a:cubicBezTo>
                      <a:pt x="12231" y="19318"/>
                      <a:pt x="6430" y="19318"/>
                      <a:pt x="2782" y="15789"/>
                    </a:cubicBezTo>
                    <a:cubicBezTo>
                      <a:pt x="-866" y="12201"/>
                      <a:pt x="-926" y="6400"/>
                      <a:pt x="2602" y="2751"/>
                    </a:cubicBezTo>
                    <a:close/>
                  </a:path>
                </a:pathLst>
              </a:custGeom>
              <a:grpFill/>
              <a:ln w="5978" cap="flat">
                <a:noFill/>
                <a:prstDash val="solid"/>
                <a:miter/>
              </a:ln>
            </p:spPr>
            <p:txBody>
              <a:bodyPr rtlCol="0" anchor="ctr"/>
              <a:lstStyle/>
              <a:p>
                <a:endParaRPr lang="en-GB"/>
              </a:p>
            </p:txBody>
          </p:sp>
          <p:sp>
            <p:nvSpPr>
              <p:cNvPr id="4628" name="Vrije vorm: vorm 4627">
                <a:extLst>
                  <a:ext uri="{FF2B5EF4-FFF2-40B4-BE49-F238E27FC236}">
                    <a16:creationId xmlns:a16="http://schemas.microsoft.com/office/drawing/2014/main" id="{46AD7C8F-6C9C-4BAC-B6F3-57A126554897}"/>
                  </a:ext>
                </a:extLst>
              </p:cNvPr>
              <p:cNvSpPr/>
              <p:nvPr/>
            </p:nvSpPr>
            <p:spPr>
              <a:xfrm>
                <a:off x="7222428" y="2200384"/>
                <a:ext cx="18362" cy="18466"/>
              </a:xfrm>
              <a:custGeom>
                <a:avLst/>
                <a:gdLst>
                  <a:gd name="connsiteX0" fmla="*/ 2602 w 18362"/>
                  <a:gd name="connsiteY0" fmla="*/ 2774 h 18466"/>
                  <a:gd name="connsiteX1" fmla="*/ 2782 w 18362"/>
                  <a:gd name="connsiteY1" fmla="*/ 15812 h 18466"/>
                  <a:gd name="connsiteX2" fmla="*/ 15760 w 18362"/>
                  <a:gd name="connsiteY2" fmla="*/ 15692 h 18466"/>
                  <a:gd name="connsiteX3" fmla="*/ 15581 w 18362"/>
                  <a:gd name="connsiteY3" fmla="*/ 2654 h 18466"/>
                  <a:gd name="connsiteX4" fmla="*/ 2602 w 18362"/>
                  <a:gd name="connsiteY4" fmla="*/ 2774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66">
                    <a:moveTo>
                      <a:pt x="2602" y="2774"/>
                    </a:moveTo>
                    <a:cubicBezTo>
                      <a:pt x="-926" y="6422"/>
                      <a:pt x="-866" y="12224"/>
                      <a:pt x="2782" y="15812"/>
                    </a:cubicBezTo>
                    <a:cubicBezTo>
                      <a:pt x="6430" y="19400"/>
                      <a:pt x="12231" y="19341"/>
                      <a:pt x="15760" y="15692"/>
                    </a:cubicBezTo>
                    <a:cubicBezTo>
                      <a:pt x="19289" y="12044"/>
                      <a:pt x="19229" y="6243"/>
                      <a:pt x="15581" y="2654"/>
                    </a:cubicBezTo>
                    <a:cubicBezTo>
                      <a:pt x="11932" y="-934"/>
                      <a:pt x="6131" y="-874"/>
                      <a:pt x="2602" y="2774"/>
                    </a:cubicBezTo>
                    <a:close/>
                  </a:path>
                </a:pathLst>
              </a:custGeom>
              <a:grpFill/>
              <a:ln w="5978" cap="flat">
                <a:noFill/>
                <a:prstDash val="solid"/>
                <a:miter/>
              </a:ln>
            </p:spPr>
            <p:txBody>
              <a:bodyPr rtlCol="0" anchor="ctr"/>
              <a:lstStyle/>
              <a:p>
                <a:endParaRPr lang="en-GB"/>
              </a:p>
            </p:txBody>
          </p:sp>
        </p:grpSp>
        <p:grpSp>
          <p:nvGrpSpPr>
            <p:cNvPr id="252" name="Graphic 3">
              <a:extLst>
                <a:ext uri="{FF2B5EF4-FFF2-40B4-BE49-F238E27FC236}">
                  <a16:creationId xmlns:a16="http://schemas.microsoft.com/office/drawing/2014/main" id="{2AA0100C-66D6-429A-B5EE-A4D5E77D89CF}"/>
                </a:ext>
              </a:extLst>
            </p:cNvPr>
            <p:cNvGrpSpPr/>
            <p:nvPr/>
          </p:nvGrpSpPr>
          <p:grpSpPr>
            <a:xfrm>
              <a:off x="7703113" y="3704575"/>
              <a:ext cx="310616" cy="106342"/>
              <a:chOff x="7703113" y="3704575"/>
              <a:chExt cx="310616" cy="106342"/>
            </a:xfrm>
            <a:grpFill/>
          </p:grpSpPr>
          <p:sp>
            <p:nvSpPr>
              <p:cNvPr id="4623" name="Vrije vorm: vorm 4622">
                <a:extLst>
                  <a:ext uri="{FF2B5EF4-FFF2-40B4-BE49-F238E27FC236}">
                    <a16:creationId xmlns:a16="http://schemas.microsoft.com/office/drawing/2014/main" id="{511A76B8-1F74-4B47-A3A6-B35FB1346BA4}"/>
                  </a:ext>
                </a:extLst>
              </p:cNvPr>
              <p:cNvSpPr/>
              <p:nvPr/>
            </p:nvSpPr>
            <p:spPr>
              <a:xfrm>
                <a:off x="7711443" y="3712154"/>
                <a:ext cx="294011" cy="91146"/>
              </a:xfrm>
              <a:custGeom>
                <a:avLst/>
                <a:gdLst>
                  <a:gd name="connsiteX0" fmla="*/ 294012 w 294011"/>
                  <a:gd name="connsiteY0" fmla="*/ 88215 h 91146"/>
                  <a:gd name="connsiteX1" fmla="*/ 293115 w 294011"/>
                  <a:gd name="connsiteY1" fmla="*/ 91146 h 91146"/>
                  <a:gd name="connsiteX2" fmla="*/ 0 w 294011"/>
                  <a:gd name="connsiteY2" fmla="*/ 2930 h 91146"/>
                  <a:gd name="connsiteX3" fmla="*/ 837 w 294011"/>
                  <a:gd name="connsiteY3" fmla="*/ 0 h 91146"/>
                </a:gdLst>
                <a:ahLst/>
                <a:cxnLst>
                  <a:cxn ang="0">
                    <a:pos x="connsiteX0" y="connsiteY0"/>
                  </a:cxn>
                  <a:cxn ang="0">
                    <a:pos x="connsiteX1" y="connsiteY1"/>
                  </a:cxn>
                  <a:cxn ang="0">
                    <a:pos x="connsiteX2" y="connsiteY2"/>
                  </a:cxn>
                  <a:cxn ang="0">
                    <a:pos x="connsiteX3" y="connsiteY3"/>
                  </a:cxn>
                </a:cxnLst>
                <a:rect l="l" t="t" r="r" b="b"/>
                <a:pathLst>
                  <a:path w="294011" h="91146">
                    <a:moveTo>
                      <a:pt x="294012" y="88215"/>
                    </a:moveTo>
                    <a:lnTo>
                      <a:pt x="293115" y="91146"/>
                    </a:lnTo>
                    <a:lnTo>
                      <a:pt x="0" y="2930"/>
                    </a:lnTo>
                    <a:lnTo>
                      <a:pt x="837" y="0"/>
                    </a:lnTo>
                    <a:close/>
                  </a:path>
                </a:pathLst>
              </a:custGeom>
              <a:grpFill/>
              <a:ln w="5978" cap="flat">
                <a:noFill/>
                <a:prstDash val="solid"/>
                <a:miter/>
              </a:ln>
            </p:spPr>
            <p:txBody>
              <a:bodyPr rtlCol="0" anchor="ctr"/>
              <a:lstStyle/>
              <a:p>
                <a:endParaRPr lang="en-GB"/>
              </a:p>
            </p:txBody>
          </p:sp>
          <p:sp>
            <p:nvSpPr>
              <p:cNvPr id="4624" name="Vrije vorm: vorm 4623">
                <a:extLst>
                  <a:ext uri="{FF2B5EF4-FFF2-40B4-BE49-F238E27FC236}">
                    <a16:creationId xmlns:a16="http://schemas.microsoft.com/office/drawing/2014/main" id="{1AB00149-633B-4734-A45B-5694DABD1C45}"/>
                  </a:ext>
                </a:extLst>
              </p:cNvPr>
              <p:cNvSpPr/>
              <p:nvPr/>
            </p:nvSpPr>
            <p:spPr>
              <a:xfrm>
                <a:off x="7703113" y="3704575"/>
                <a:ext cx="18334" cy="18425"/>
              </a:xfrm>
              <a:custGeom>
                <a:avLst/>
                <a:gdLst>
                  <a:gd name="connsiteX0" fmla="*/ 6596 w 18334"/>
                  <a:gd name="connsiteY0" fmla="*/ 18045 h 18425"/>
                  <a:gd name="connsiteX1" fmla="*/ 375 w 18334"/>
                  <a:gd name="connsiteY1" fmla="*/ 6562 h 18425"/>
                  <a:gd name="connsiteX2" fmla="*/ 11739 w 18334"/>
                  <a:gd name="connsiteY2" fmla="*/ 402 h 18425"/>
                  <a:gd name="connsiteX3" fmla="*/ 17959 w 18334"/>
                  <a:gd name="connsiteY3" fmla="*/ 11885 h 18425"/>
                  <a:gd name="connsiteX4" fmla="*/ 6596 w 18334"/>
                  <a:gd name="connsiteY4" fmla="*/ 1804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5">
                    <a:moveTo>
                      <a:pt x="6596" y="18045"/>
                    </a:moveTo>
                    <a:cubicBezTo>
                      <a:pt x="1751" y="16610"/>
                      <a:pt x="-1060" y="11467"/>
                      <a:pt x="375" y="6562"/>
                    </a:cubicBezTo>
                    <a:cubicBezTo>
                      <a:pt x="1811" y="1718"/>
                      <a:pt x="6894" y="-1093"/>
                      <a:pt x="11739" y="402"/>
                    </a:cubicBezTo>
                    <a:cubicBezTo>
                      <a:pt x="16584" y="1837"/>
                      <a:pt x="19394" y="6981"/>
                      <a:pt x="17959" y="11885"/>
                    </a:cubicBezTo>
                    <a:cubicBezTo>
                      <a:pt x="16524" y="16730"/>
                      <a:pt x="11440" y="19481"/>
                      <a:pt x="6596" y="18045"/>
                    </a:cubicBezTo>
                    <a:close/>
                  </a:path>
                </a:pathLst>
              </a:custGeom>
              <a:grpFill/>
              <a:ln w="5978" cap="flat">
                <a:noFill/>
                <a:prstDash val="solid"/>
                <a:miter/>
              </a:ln>
            </p:spPr>
            <p:txBody>
              <a:bodyPr rtlCol="0" anchor="ctr"/>
              <a:lstStyle/>
              <a:p>
                <a:endParaRPr lang="en-GB"/>
              </a:p>
            </p:txBody>
          </p:sp>
          <p:sp>
            <p:nvSpPr>
              <p:cNvPr id="4625" name="Vrije vorm: vorm 4624">
                <a:extLst>
                  <a:ext uri="{FF2B5EF4-FFF2-40B4-BE49-F238E27FC236}">
                    <a16:creationId xmlns:a16="http://schemas.microsoft.com/office/drawing/2014/main" id="{667783DD-104F-464B-8D1D-3CC06219BCEC}"/>
                  </a:ext>
                </a:extLst>
              </p:cNvPr>
              <p:cNvSpPr/>
              <p:nvPr/>
            </p:nvSpPr>
            <p:spPr>
              <a:xfrm>
                <a:off x="7995391" y="3792514"/>
                <a:ext cx="18339" cy="18403"/>
              </a:xfrm>
              <a:custGeom>
                <a:avLst/>
                <a:gdLst>
                  <a:gd name="connsiteX0" fmla="*/ 6596 w 18339"/>
                  <a:gd name="connsiteY0" fmla="*/ 18024 h 18403"/>
                  <a:gd name="connsiteX1" fmla="*/ 17959 w 18339"/>
                  <a:gd name="connsiteY1" fmla="*/ 11864 h 18403"/>
                  <a:gd name="connsiteX2" fmla="*/ 11739 w 18339"/>
                  <a:gd name="connsiteY2" fmla="*/ 380 h 18403"/>
                  <a:gd name="connsiteX3" fmla="*/ 375 w 18339"/>
                  <a:gd name="connsiteY3" fmla="*/ 6541 h 18403"/>
                  <a:gd name="connsiteX4" fmla="*/ 6596 w 18339"/>
                  <a:gd name="connsiteY4" fmla="*/ 18024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3">
                    <a:moveTo>
                      <a:pt x="6596" y="18024"/>
                    </a:moveTo>
                    <a:cubicBezTo>
                      <a:pt x="11440" y="19459"/>
                      <a:pt x="16524" y="16708"/>
                      <a:pt x="17959" y="11864"/>
                    </a:cubicBezTo>
                    <a:cubicBezTo>
                      <a:pt x="19394" y="7019"/>
                      <a:pt x="16643" y="1876"/>
                      <a:pt x="11739" y="380"/>
                    </a:cubicBezTo>
                    <a:cubicBezTo>
                      <a:pt x="6895" y="-1055"/>
                      <a:pt x="1811" y="1696"/>
                      <a:pt x="375" y="6541"/>
                    </a:cubicBezTo>
                    <a:cubicBezTo>
                      <a:pt x="-1060" y="11385"/>
                      <a:pt x="1751" y="16528"/>
                      <a:pt x="6596" y="18024"/>
                    </a:cubicBezTo>
                    <a:close/>
                  </a:path>
                </a:pathLst>
              </a:custGeom>
              <a:grpFill/>
              <a:ln w="5978" cap="flat">
                <a:noFill/>
                <a:prstDash val="solid"/>
                <a:miter/>
              </a:ln>
            </p:spPr>
            <p:txBody>
              <a:bodyPr rtlCol="0" anchor="ctr"/>
              <a:lstStyle/>
              <a:p>
                <a:endParaRPr lang="en-GB"/>
              </a:p>
            </p:txBody>
          </p:sp>
        </p:grpSp>
        <p:grpSp>
          <p:nvGrpSpPr>
            <p:cNvPr id="253" name="Graphic 3">
              <a:extLst>
                <a:ext uri="{FF2B5EF4-FFF2-40B4-BE49-F238E27FC236}">
                  <a16:creationId xmlns:a16="http://schemas.microsoft.com/office/drawing/2014/main" id="{921F91AD-EBA7-41B3-A814-45C8EBB8E62C}"/>
                </a:ext>
              </a:extLst>
            </p:cNvPr>
            <p:cNvGrpSpPr/>
            <p:nvPr/>
          </p:nvGrpSpPr>
          <p:grpSpPr>
            <a:xfrm>
              <a:off x="7337122" y="2268137"/>
              <a:ext cx="67182" cy="59989"/>
              <a:chOff x="7337122" y="2268137"/>
              <a:chExt cx="67182" cy="59989"/>
            </a:xfrm>
            <a:grpFill/>
          </p:grpSpPr>
          <p:sp>
            <p:nvSpPr>
              <p:cNvPr id="4620" name="Vrije vorm: vorm 4619">
                <a:extLst>
                  <a:ext uri="{FF2B5EF4-FFF2-40B4-BE49-F238E27FC236}">
                    <a16:creationId xmlns:a16="http://schemas.microsoft.com/office/drawing/2014/main" id="{15525563-EB14-4F1B-957D-B9B433669658}"/>
                  </a:ext>
                </a:extLst>
              </p:cNvPr>
              <p:cNvSpPr/>
              <p:nvPr/>
            </p:nvSpPr>
            <p:spPr>
              <a:xfrm>
                <a:off x="7344944" y="2275884"/>
                <a:ext cx="51553" cy="44496"/>
              </a:xfrm>
              <a:custGeom>
                <a:avLst/>
                <a:gdLst>
                  <a:gd name="connsiteX0" fmla="*/ 51554 w 51553"/>
                  <a:gd name="connsiteY0" fmla="*/ 2392 h 44496"/>
                  <a:gd name="connsiteX1" fmla="*/ 1973 w 51553"/>
                  <a:gd name="connsiteY1" fmla="*/ 44496 h 44496"/>
                  <a:gd name="connsiteX2" fmla="*/ 0 w 51553"/>
                  <a:gd name="connsiteY2" fmla="*/ 42164 h 44496"/>
                  <a:gd name="connsiteX3" fmla="*/ 49580 w 51553"/>
                  <a:gd name="connsiteY3" fmla="*/ 0 h 44496"/>
                </a:gdLst>
                <a:ahLst/>
                <a:cxnLst>
                  <a:cxn ang="0">
                    <a:pos x="connsiteX0" y="connsiteY0"/>
                  </a:cxn>
                  <a:cxn ang="0">
                    <a:pos x="connsiteX1" y="connsiteY1"/>
                  </a:cxn>
                  <a:cxn ang="0">
                    <a:pos x="connsiteX2" y="connsiteY2"/>
                  </a:cxn>
                  <a:cxn ang="0">
                    <a:pos x="connsiteX3" y="connsiteY3"/>
                  </a:cxn>
                </a:cxnLst>
                <a:rect l="l" t="t" r="r" b="b"/>
                <a:pathLst>
                  <a:path w="51553" h="44496">
                    <a:moveTo>
                      <a:pt x="51554" y="2392"/>
                    </a:moveTo>
                    <a:lnTo>
                      <a:pt x="1973" y="44496"/>
                    </a:lnTo>
                    <a:lnTo>
                      <a:pt x="0" y="42164"/>
                    </a:lnTo>
                    <a:lnTo>
                      <a:pt x="49580" y="0"/>
                    </a:lnTo>
                    <a:close/>
                  </a:path>
                </a:pathLst>
              </a:custGeom>
              <a:grpFill/>
              <a:ln w="5978" cap="flat">
                <a:noFill/>
                <a:prstDash val="solid"/>
                <a:miter/>
              </a:ln>
            </p:spPr>
            <p:txBody>
              <a:bodyPr rtlCol="0" anchor="ctr"/>
              <a:lstStyle/>
              <a:p>
                <a:endParaRPr lang="en-GB"/>
              </a:p>
            </p:txBody>
          </p:sp>
          <p:sp>
            <p:nvSpPr>
              <p:cNvPr id="4621" name="Vrije vorm: vorm 4620">
                <a:extLst>
                  <a:ext uri="{FF2B5EF4-FFF2-40B4-BE49-F238E27FC236}">
                    <a16:creationId xmlns:a16="http://schemas.microsoft.com/office/drawing/2014/main" id="{0F3CA5A7-CCAC-491F-8535-4D7D07CC2218}"/>
                  </a:ext>
                </a:extLst>
              </p:cNvPr>
              <p:cNvSpPr/>
              <p:nvPr/>
            </p:nvSpPr>
            <p:spPr>
              <a:xfrm>
                <a:off x="7385985" y="2268137"/>
                <a:ext cx="18319" cy="18423"/>
              </a:xfrm>
              <a:custGeom>
                <a:avLst/>
                <a:gdLst>
                  <a:gd name="connsiteX0" fmla="*/ 3217 w 18319"/>
                  <a:gd name="connsiteY0" fmla="*/ 2185 h 18423"/>
                  <a:gd name="connsiteX1" fmla="*/ 16135 w 18319"/>
                  <a:gd name="connsiteY1" fmla="*/ 3261 h 18423"/>
                  <a:gd name="connsiteX2" fmla="*/ 15059 w 18319"/>
                  <a:gd name="connsiteY2" fmla="*/ 16239 h 18423"/>
                  <a:gd name="connsiteX3" fmla="*/ 2140 w 18319"/>
                  <a:gd name="connsiteY3" fmla="*/ 15163 h 18423"/>
                  <a:gd name="connsiteX4" fmla="*/ 3217 w 18319"/>
                  <a:gd name="connsiteY4" fmla="*/ 2185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3">
                    <a:moveTo>
                      <a:pt x="3217" y="2185"/>
                    </a:moveTo>
                    <a:cubicBezTo>
                      <a:pt x="7044" y="-1105"/>
                      <a:pt x="12846" y="-626"/>
                      <a:pt x="16135" y="3261"/>
                    </a:cubicBezTo>
                    <a:cubicBezTo>
                      <a:pt x="19425" y="7149"/>
                      <a:pt x="18946" y="12950"/>
                      <a:pt x="15059" y="16239"/>
                    </a:cubicBezTo>
                    <a:cubicBezTo>
                      <a:pt x="11231" y="19529"/>
                      <a:pt x="5430" y="19050"/>
                      <a:pt x="2140" y="15163"/>
                    </a:cubicBezTo>
                    <a:cubicBezTo>
                      <a:pt x="-1090" y="11275"/>
                      <a:pt x="-611" y="5474"/>
                      <a:pt x="3217" y="2185"/>
                    </a:cubicBezTo>
                    <a:close/>
                  </a:path>
                </a:pathLst>
              </a:custGeom>
              <a:grpFill/>
              <a:ln w="5978" cap="flat">
                <a:noFill/>
                <a:prstDash val="solid"/>
                <a:miter/>
              </a:ln>
            </p:spPr>
            <p:txBody>
              <a:bodyPr rtlCol="0" anchor="ctr"/>
              <a:lstStyle/>
              <a:p>
                <a:endParaRPr lang="en-GB"/>
              </a:p>
            </p:txBody>
          </p:sp>
          <p:sp>
            <p:nvSpPr>
              <p:cNvPr id="4622" name="Vrije vorm: vorm 4621">
                <a:extLst>
                  <a:ext uri="{FF2B5EF4-FFF2-40B4-BE49-F238E27FC236}">
                    <a16:creationId xmlns:a16="http://schemas.microsoft.com/office/drawing/2014/main" id="{A3184544-D42A-4C5D-9414-74C358548080}"/>
                  </a:ext>
                </a:extLst>
              </p:cNvPr>
              <p:cNvSpPr/>
              <p:nvPr/>
            </p:nvSpPr>
            <p:spPr>
              <a:xfrm>
                <a:off x="7337122" y="2309723"/>
                <a:ext cx="18295" cy="18404"/>
              </a:xfrm>
              <a:custGeom>
                <a:avLst/>
                <a:gdLst>
                  <a:gd name="connsiteX0" fmla="*/ 3217 w 18295"/>
                  <a:gd name="connsiteY0" fmla="*/ 2165 h 18404"/>
                  <a:gd name="connsiteX1" fmla="*/ 2140 w 18295"/>
                  <a:gd name="connsiteY1" fmla="*/ 15143 h 18404"/>
                  <a:gd name="connsiteX2" fmla="*/ 15059 w 18295"/>
                  <a:gd name="connsiteY2" fmla="*/ 16220 h 18404"/>
                  <a:gd name="connsiteX3" fmla="*/ 16135 w 18295"/>
                  <a:gd name="connsiteY3" fmla="*/ 3241 h 18404"/>
                  <a:gd name="connsiteX4" fmla="*/ 3217 w 18295"/>
                  <a:gd name="connsiteY4" fmla="*/ 2165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04">
                    <a:moveTo>
                      <a:pt x="3217" y="2165"/>
                    </a:moveTo>
                    <a:cubicBezTo>
                      <a:pt x="-611" y="5454"/>
                      <a:pt x="-1089" y="11256"/>
                      <a:pt x="2140" y="15143"/>
                    </a:cubicBezTo>
                    <a:cubicBezTo>
                      <a:pt x="5430" y="19031"/>
                      <a:pt x="11231" y="19509"/>
                      <a:pt x="15059" y="16220"/>
                    </a:cubicBezTo>
                    <a:cubicBezTo>
                      <a:pt x="18946" y="12930"/>
                      <a:pt x="19364" y="7129"/>
                      <a:pt x="16135" y="3241"/>
                    </a:cubicBezTo>
                    <a:cubicBezTo>
                      <a:pt x="12846" y="-586"/>
                      <a:pt x="7104" y="-1125"/>
                      <a:pt x="3217" y="2165"/>
                    </a:cubicBezTo>
                    <a:close/>
                  </a:path>
                </a:pathLst>
              </a:custGeom>
              <a:grpFill/>
              <a:ln w="5978" cap="flat">
                <a:noFill/>
                <a:prstDash val="solid"/>
                <a:miter/>
              </a:ln>
            </p:spPr>
            <p:txBody>
              <a:bodyPr rtlCol="0" anchor="ctr"/>
              <a:lstStyle/>
              <a:p>
                <a:endParaRPr lang="en-GB"/>
              </a:p>
            </p:txBody>
          </p:sp>
        </p:grpSp>
        <p:grpSp>
          <p:nvGrpSpPr>
            <p:cNvPr id="254" name="Graphic 3">
              <a:extLst>
                <a:ext uri="{FF2B5EF4-FFF2-40B4-BE49-F238E27FC236}">
                  <a16:creationId xmlns:a16="http://schemas.microsoft.com/office/drawing/2014/main" id="{04F2936C-16DD-43A6-AA7E-F760C8756759}"/>
                </a:ext>
              </a:extLst>
            </p:cNvPr>
            <p:cNvGrpSpPr/>
            <p:nvPr/>
          </p:nvGrpSpPr>
          <p:grpSpPr>
            <a:xfrm>
              <a:off x="7108752" y="1669739"/>
              <a:ext cx="155166" cy="216620"/>
              <a:chOff x="7108752" y="1669739"/>
              <a:chExt cx="155166" cy="216620"/>
            </a:xfrm>
            <a:grpFill/>
          </p:grpSpPr>
          <p:sp>
            <p:nvSpPr>
              <p:cNvPr id="4617" name="Vrije vorm: vorm 4616">
                <a:extLst>
                  <a:ext uri="{FF2B5EF4-FFF2-40B4-BE49-F238E27FC236}">
                    <a16:creationId xmlns:a16="http://schemas.microsoft.com/office/drawing/2014/main" id="{A7FD4D94-94B6-4943-AD85-AE2D8C499FB5}"/>
                  </a:ext>
                </a:extLst>
              </p:cNvPr>
              <p:cNvSpPr/>
              <p:nvPr/>
            </p:nvSpPr>
            <p:spPr>
              <a:xfrm>
                <a:off x="7116420" y="1677692"/>
                <a:ext cx="139829" cy="200712"/>
              </a:xfrm>
              <a:custGeom>
                <a:avLst/>
                <a:gdLst>
                  <a:gd name="connsiteX0" fmla="*/ 139829 w 139829"/>
                  <a:gd name="connsiteY0" fmla="*/ 1734 h 200712"/>
                  <a:gd name="connsiteX1" fmla="*/ 2512 w 139829"/>
                  <a:gd name="connsiteY1" fmla="*/ 200713 h 200712"/>
                  <a:gd name="connsiteX2" fmla="*/ 0 w 139829"/>
                  <a:gd name="connsiteY2" fmla="*/ 198979 h 200712"/>
                  <a:gd name="connsiteX3" fmla="*/ 137318 w 139829"/>
                  <a:gd name="connsiteY3" fmla="*/ 0 h 200712"/>
                </a:gdLst>
                <a:ahLst/>
                <a:cxnLst>
                  <a:cxn ang="0">
                    <a:pos x="connsiteX0" y="connsiteY0"/>
                  </a:cxn>
                  <a:cxn ang="0">
                    <a:pos x="connsiteX1" y="connsiteY1"/>
                  </a:cxn>
                  <a:cxn ang="0">
                    <a:pos x="connsiteX2" y="connsiteY2"/>
                  </a:cxn>
                  <a:cxn ang="0">
                    <a:pos x="connsiteX3" y="connsiteY3"/>
                  </a:cxn>
                </a:cxnLst>
                <a:rect l="l" t="t" r="r" b="b"/>
                <a:pathLst>
                  <a:path w="139829" h="200712">
                    <a:moveTo>
                      <a:pt x="139829" y="1734"/>
                    </a:moveTo>
                    <a:lnTo>
                      <a:pt x="2512" y="200713"/>
                    </a:lnTo>
                    <a:lnTo>
                      <a:pt x="0" y="198979"/>
                    </a:lnTo>
                    <a:lnTo>
                      <a:pt x="137318" y="0"/>
                    </a:lnTo>
                    <a:close/>
                  </a:path>
                </a:pathLst>
              </a:custGeom>
              <a:grpFill/>
              <a:ln w="5978" cap="flat">
                <a:noFill/>
                <a:prstDash val="solid"/>
                <a:miter/>
              </a:ln>
            </p:spPr>
            <p:txBody>
              <a:bodyPr rtlCol="0" anchor="ctr"/>
              <a:lstStyle/>
              <a:p>
                <a:endParaRPr lang="en-GB"/>
              </a:p>
            </p:txBody>
          </p:sp>
          <p:sp>
            <p:nvSpPr>
              <p:cNvPr id="4618" name="Vrije vorm: vorm 4617">
                <a:extLst>
                  <a:ext uri="{FF2B5EF4-FFF2-40B4-BE49-F238E27FC236}">
                    <a16:creationId xmlns:a16="http://schemas.microsoft.com/office/drawing/2014/main" id="{6DEA4E01-D609-4E2F-84AC-CAA662BD2774}"/>
                  </a:ext>
                </a:extLst>
              </p:cNvPr>
              <p:cNvSpPr/>
              <p:nvPr/>
            </p:nvSpPr>
            <p:spPr>
              <a:xfrm>
                <a:off x="7245591" y="1669739"/>
                <a:ext cx="18327" cy="18419"/>
              </a:xfrm>
              <a:custGeom>
                <a:avLst/>
                <a:gdLst>
                  <a:gd name="connsiteX0" fmla="*/ 1628 w 18327"/>
                  <a:gd name="connsiteY0" fmla="*/ 3947 h 18419"/>
                  <a:gd name="connsiteX1" fmla="*/ 14367 w 18327"/>
                  <a:gd name="connsiteY1" fmla="*/ 1674 h 18419"/>
                  <a:gd name="connsiteX2" fmla="*/ 16699 w 18327"/>
                  <a:gd name="connsiteY2" fmla="*/ 14473 h 18419"/>
                  <a:gd name="connsiteX3" fmla="*/ 3960 w 18327"/>
                  <a:gd name="connsiteY3" fmla="*/ 16745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4499" y="-240"/>
                      <a:pt x="10240" y="-1257"/>
                      <a:pt x="14367" y="1674"/>
                    </a:cubicBezTo>
                    <a:cubicBezTo>
                      <a:pt x="18554" y="4604"/>
                      <a:pt x="19571" y="10346"/>
                      <a:pt x="16699" y="14473"/>
                    </a:cubicBezTo>
                    <a:cubicBezTo>
                      <a:pt x="13829" y="18659"/>
                      <a:pt x="8087" y="19676"/>
                      <a:pt x="3960" y="16745"/>
                    </a:cubicBezTo>
                    <a:cubicBezTo>
                      <a:pt x="-226" y="13875"/>
                      <a:pt x="-1243" y="8133"/>
                      <a:pt x="1628" y="3947"/>
                    </a:cubicBezTo>
                    <a:close/>
                  </a:path>
                </a:pathLst>
              </a:custGeom>
              <a:grpFill/>
              <a:ln w="5978" cap="flat">
                <a:noFill/>
                <a:prstDash val="solid"/>
                <a:miter/>
              </a:ln>
            </p:spPr>
            <p:txBody>
              <a:bodyPr rtlCol="0" anchor="ctr"/>
              <a:lstStyle/>
              <a:p>
                <a:endParaRPr lang="en-GB"/>
              </a:p>
            </p:txBody>
          </p:sp>
          <p:sp>
            <p:nvSpPr>
              <p:cNvPr id="4619" name="Vrije vorm: vorm 4618">
                <a:extLst>
                  <a:ext uri="{FF2B5EF4-FFF2-40B4-BE49-F238E27FC236}">
                    <a16:creationId xmlns:a16="http://schemas.microsoft.com/office/drawing/2014/main" id="{DA3544EE-EB42-4FED-A4E9-33B59CDA370D}"/>
                  </a:ext>
                </a:extLst>
              </p:cNvPr>
              <p:cNvSpPr/>
              <p:nvPr/>
            </p:nvSpPr>
            <p:spPr>
              <a:xfrm>
                <a:off x="7108752" y="1867940"/>
                <a:ext cx="18327" cy="18419"/>
              </a:xfrm>
              <a:custGeom>
                <a:avLst/>
                <a:gdLst>
                  <a:gd name="connsiteX0" fmla="*/ 1628 w 18327"/>
                  <a:gd name="connsiteY0" fmla="*/ 3947 h 18419"/>
                  <a:gd name="connsiteX1" fmla="*/ 3960 w 18327"/>
                  <a:gd name="connsiteY1" fmla="*/ 16745 h 18419"/>
                  <a:gd name="connsiteX2" fmla="*/ 16699 w 18327"/>
                  <a:gd name="connsiteY2" fmla="*/ 14473 h 18419"/>
                  <a:gd name="connsiteX3" fmla="*/ 14367 w 18327"/>
                  <a:gd name="connsiteY3" fmla="*/ 1674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1243" y="8133"/>
                      <a:pt x="-226" y="13875"/>
                      <a:pt x="3960" y="16745"/>
                    </a:cubicBezTo>
                    <a:cubicBezTo>
                      <a:pt x="8147" y="19676"/>
                      <a:pt x="13829" y="18659"/>
                      <a:pt x="16699" y="14473"/>
                    </a:cubicBezTo>
                    <a:cubicBezTo>
                      <a:pt x="19571" y="10286"/>
                      <a:pt x="18554" y="4545"/>
                      <a:pt x="14367" y="1674"/>
                    </a:cubicBezTo>
                    <a:cubicBezTo>
                      <a:pt x="10240" y="-1257"/>
                      <a:pt x="4499" y="-240"/>
                      <a:pt x="1628" y="3947"/>
                    </a:cubicBezTo>
                    <a:close/>
                  </a:path>
                </a:pathLst>
              </a:custGeom>
              <a:grpFill/>
              <a:ln w="5978" cap="flat">
                <a:noFill/>
                <a:prstDash val="solid"/>
                <a:miter/>
              </a:ln>
            </p:spPr>
            <p:txBody>
              <a:bodyPr rtlCol="0" anchor="ctr"/>
              <a:lstStyle/>
              <a:p>
                <a:endParaRPr lang="en-GB"/>
              </a:p>
            </p:txBody>
          </p:sp>
        </p:grpSp>
        <p:grpSp>
          <p:nvGrpSpPr>
            <p:cNvPr id="255" name="Graphic 3">
              <a:extLst>
                <a:ext uri="{FF2B5EF4-FFF2-40B4-BE49-F238E27FC236}">
                  <a16:creationId xmlns:a16="http://schemas.microsoft.com/office/drawing/2014/main" id="{7CEA2FC6-1962-4D19-818A-4242C797178E}"/>
                </a:ext>
              </a:extLst>
            </p:cNvPr>
            <p:cNvGrpSpPr/>
            <p:nvPr/>
          </p:nvGrpSpPr>
          <p:grpSpPr>
            <a:xfrm>
              <a:off x="7039666" y="1520000"/>
              <a:ext cx="226075" cy="344794"/>
              <a:chOff x="7039666" y="1520000"/>
              <a:chExt cx="226075" cy="344794"/>
            </a:xfrm>
            <a:grpFill/>
          </p:grpSpPr>
          <p:sp>
            <p:nvSpPr>
              <p:cNvPr id="4614" name="Vrije vorm: vorm 4613">
                <a:extLst>
                  <a:ext uri="{FF2B5EF4-FFF2-40B4-BE49-F238E27FC236}">
                    <a16:creationId xmlns:a16="http://schemas.microsoft.com/office/drawing/2014/main" id="{FE5114D5-7CF2-4D1B-A0D4-4E12E2C0A278}"/>
                  </a:ext>
                </a:extLst>
              </p:cNvPr>
              <p:cNvSpPr/>
              <p:nvPr/>
            </p:nvSpPr>
            <p:spPr>
              <a:xfrm>
                <a:off x="7047284" y="1527995"/>
                <a:ext cx="210820" cy="328820"/>
              </a:xfrm>
              <a:custGeom>
                <a:avLst/>
                <a:gdLst>
                  <a:gd name="connsiteX0" fmla="*/ 210820 w 210820"/>
                  <a:gd name="connsiteY0" fmla="*/ 1675 h 328820"/>
                  <a:gd name="connsiteX1" fmla="*/ 2572 w 210820"/>
                  <a:gd name="connsiteY1" fmla="*/ 328820 h 328820"/>
                  <a:gd name="connsiteX2" fmla="*/ 0 w 210820"/>
                  <a:gd name="connsiteY2" fmla="*/ 327145 h 328820"/>
                  <a:gd name="connsiteX3" fmla="*/ 208248 w 210820"/>
                  <a:gd name="connsiteY3" fmla="*/ 0 h 328820"/>
                </a:gdLst>
                <a:ahLst/>
                <a:cxnLst>
                  <a:cxn ang="0">
                    <a:pos x="connsiteX0" y="connsiteY0"/>
                  </a:cxn>
                  <a:cxn ang="0">
                    <a:pos x="connsiteX1" y="connsiteY1"/>
                  </a:cxn>
                  <a:cxn ang="0">
                    <a:pos x="connsiteX2" y="connsiteY2"/>
                  </a:cxn>
                  <a:cxn ang="0">
                    <a:pos x="connsiteX3" y="connsiteY3"/>
                  </a:cxn>
                </a:cxnLst>
                <a:rect l="l" t="t" r="r" b="b"/>
                <a:pathLst>
                  <a:path w="210820" h="328820">
                    <a:moveTo>
                      <a:pt x="210820" y="1675"/>
                    </a:moveTo>
                    <a:lnTo>
                      <a:pt x="2572" y="328820"/>
                    </a:lnTo>
                    <a:lnTo>
                      <a:pt x="0" y="327145"/>
                    </a:lnTo>
                    <a:lnTo>
                      <a:pt x="208248" y="0"/>
                    </a:lnTo>
                    <a:close/>
                  </a:path>
                </a:pathLst>
              </a:custGeom>
              <a:grpFill/>
              <a:ln w="5978" cap="flat">
                <a:noFill/>
                <a:prstDash val="solid"/>
                <a:miter/>
              </a:ln>
            </p:spPr>
            <p:txBody>
              <a:bodyPr rtlCol="0" anchor="ctr"/>
              <a:lstStyle/>
              <a:p>
                <a:endParaRPr lang="en-GB"/>
              </a:p>
            </p:txBody>
          </p:sp>
          <p:sp>
            <p:nvSpPr>
              <p:cNvPr id="4615" name="Vrije vorm: vorm 4614">
                <a:extLst>
                  <a:ext uri="{FF2B5EF4-FFF2-40B4-BE49-F238E27FC236}">
                    <a16:creationId xmlns:a16="http://schemas.microsoft.com/office/drawing/2014/main" id="{0323F6AC-9D33-487A-B74D-A3F10EF782F2}"/>
                  </a:ext>
                </a:extLst>
              </p:cNvPr>
              <p:cNvSpPr/>
              <p:nvPr/>
            </p:nvSpPr>
            <p:spPr>
              <a:xfrm>
                <a:off x="7247376" y="1520000"/>
                <a:ext cx="18364" cy="18441"/>
              </a:xfrm>
              <a:custGeom>
                <a:avLst/>
                <a:gdLst>
                  <a:gd name="connsiteX0" fmla="*/ 1458 w 18364"/>
                  <a:gd name="connsiteY0" fmla="*/ 4227 h 18441"/>
                  <a:gd name="connsiteX1" fmla="*/ 14137 w 18364"/>
                  <a:gd name="connsiteY1" fmla="*/ 1476 h 18441"/>
                  <a:gd name="connsiteX2" fmla="*/ 16948 w 18364"/>
                  <a:gd name="connsiteY2" fmla="*/ 14215 h 18441"/>
                  <a:gd name="connsiteX3" fmla="*/ 4269 w 18364"/>
                  <a:gd name="connsiteY3" fmla="*/ 16966 h 18441"/>
                  <a:gd name="connsiteX4" fmla="*/ 1458 w 18364"/>
                  <a:gd name="connsiteY4" fmla="*/ 4227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41">
                    <a:moveTo>
                      <a:pt x="1458" y="4227"/>
                    </a:moveTo>
                    <a:cubicBezTo>
                      <a:pt x="4209" y="-79"/>
                      <a:pt x="9831" y="-1276"/>
                      <a:pt x="14137" y="1476"/>
                    </a:cubicBezTo>
                    <a:cubicBezTo>
                      <a:pt x="18384" y="4227"/>
                      <a:pt x="19639" y="9908"/>
                      <a:pt x="16948" y="14215"/>
                    </a:cubicBezTo>
                    <a:cubicBezTo>
                      <a:pt x="14197" y="18521"/>
                      <a:pt x="8575" y="19717"/>
                      <a:pt x="4269" y="16966"/>
                    </a:cubicBezTo>
                    <a:cubicBezTo>
                      <a:pt x="-37" y="14215"/>
                      <a:pt x="-1293" y="8473"/>
                      <a:pt x="1458" y="4227"/>
                    </a:cubicBezTo>
                    <a:close/>
                  </a:path>
                </a:pathLst>
              </a:custGeom>
              <a:grpFill/>
              <a:ln w="5978" cap="flat">
                <a:noFill/>
                <a:prstDash val="solid"/>
                <a:miter/>
              </a:ln>
            </p:spPr>
            <p:txBody>
              <a:bodyPr rtlCol="0" anchor="ctr"/>
              <a:lstStyle/>
              <a:p>
                <a:endParaRPr lang="en-GB"/>
              </a:p>
            </p:txBody>
          </p:sp>
          <p:sp>
            <p:nvSpPr>
              <p:cNvPr id="4616" name="Vrije vorm: vorm 4615">
                <a:extLst>
                  <a:ext uri="{FF2B5EF4-FFF2-40B4-BE49-F238E27FC236}">
                    <a16:creationId xmlns:a16="http://schemas.microsoft.com/office/drawing/2014/main" id="{B672EA01-5DD5-4362-9065-2AB004BB9DC8}"/>
                  </a:ext>
                </a:extLst>
              </p:cNvPr>
              <p:cNvSpPr/>
              <p:nvPr/>
            </p:nvSpPr>
            <p:spPr>
              <a:xfrm>
                <a:off x="7039666" y="1846383"/>
                <a:ext cx="18405" cy="18411"/>
              </a:xfrm>
              <a:custGeom>
                <a:avLst/>
                <a:gdLst>
                  <a:gd name="connsiteX0" fmla="*/ 1458 w 18405"/>
                  <a:gd name="connsiteY0" fmla="*/ 4212 h 18411"/>
                  <a:gd name="connsiteX1" fmla="*/ 4269 w 18405"/>
                  <a:gd name="connsiteY1" fmla="*/ 16951 h 18411"/>
                  <a:gd name="connsiteX2" fmla="*/ 16948 w 18405"/>
                  <a:gd name="connsiteY2" fmla="*/ 14200 h 18411"/>
                  <a:gd name="connsiteX3" fmla="*/ 14137 w 18405"/>
                  <a:gd name="connsiteY3" fmla="*/ 1461 h 18411"/>
                  <a:gd name="connsiteX4" fmla="*/ 1458 w 18405"/>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5" h="18411">
                    <a:moveTo>
                      <a:pt x="1458" y="4212"/>
                    </a:moveTo>
                    <a:cubicBezTo>
                      <a:pt x="-1293" y="8518"/>
                      <a:pt x="-37" y="14200"/>
                      <a:pt x="4269" y="16951"/>
                    </a:cubicBezTo>
                    <a:cubicBezTo>
                      <a:pt x="8515" y="19702"/>
                      <a:pt x="14197" y="18446"/>
                      <a:pt x="16948" y="14200"/>
                    </a:cubicBezTo>
                    <a:cubicBezTo>
                      <a:pt x="19699" y="9893"/>
                      <a:pt x="18443" y="4212"/>
                      <a:pt x="14137" y="1461"/>
                    </a:cubicBezTo>
                    <a:cubicBezTo>
                      <a:pt x="9831" y="-1290"/>
                      <a:pt x="4150" y="-34"/>
                      <a:pt x="1458" y="4212"/>
                    </a:cubicBezTo>
                    <a:close/>
                  </a:path>
                </a:pathLst>
              </a:custGeom>
              <a:grpFill/>
              <a:ln w="5978" cap="flat">
                <a:noFill/>
                <a:prstDash val="solid"/>
                <a:miter/>
              </a:ln>
            </p:spPr>
            <p:txBody>
              <a:bodyPr rtlCol="0" anchor="ctr"/>
              <a:lstStyle/>
              <a:p>
                <a:endParaRPr lang="en-GB"/>
              </a:p>
            </p:txBody>
          </p:sp>
        </p:grpSp>
        <p:grpSp>
          <p:nvGrpSpPr>
            <p:cNvPr id="256" name="Graphic 3">
              <a:extLst>
                <a:ext uri="{FF2B5EF4-FFF2-40B4-BE49-F238E27FC236}">
                  <a16:creationId xmlns:a16="http://schemas.microsoft.com/office/drawing/2014/main" id="{A756AB14-79AB-42F7-A467-51BED43A78A3}"/>
                </a:ext>
              </a:extLst>
            </p:cNvPr>
            <p:cNvGrpSpPr/>
            <p:nvPr/>
          </p:nvGrpSpPr>
          <p:grpSpPr>
            <a:xfrm>
              <a:off x="7841116" y="3762882"/>
              <a:ext cx="26770" cy="20088"/>
              <a:chOff x="7841116" y="3762882"/>
              <a:chExt cx="26770" cy="20088"/>
            </a:xfrm>
            <a:grpFill/>
          </p:grpSpPr>
          <p:sp>
            <p:nvSpPr>
              <p:cNvPr id="4611" name="Vrije vorm: vorm 4610">
                <a:extLst>
                  <a:ext uri="{FF2B5EF4-FFF2-40B4-BE49-F238E27FC236}">
                    <a16:creationId xmlns:a16="http://schemas.microsoft.com/office/drawing/2014/main" id="{5F6D3A89-7897-4B64-AA87-CC967B72DD9E}"/>
                  </a:ext>
                </a:extLst>
              </p:cNvPr>
              <p:cNvSpPr/>
              <p:nvPr/>
            </p:nvSpPr>
            <p:spPr>
              <a:xfrm>
                <a:off x="7849538" y="3770526"/>
                <a:ext cx="9928" cy="4844"/>
              </a:xfrm>
              <a:custGeom>
                <a:avLst/>
                <a:gdLst>
                  <a:gd name="connsiteX0" fmla="*/ 9928 w 9928"/>
                  <a:gd name="connsiteY0" fmla="*/ 1794 h 4844"/>
                  <a:gd name="connsiteX1" fmla="*/ 9330 w 9928"/>
                  <a:gd name="connsiteY1" fmla="*/ 4844 h 4844"/>
                  <a:gd name="connsiteX2" fmla="*/ 0 w 9928"/>
                  <a:gd name="connsiteY2" fmla="*/ 2990 h 4844"/>
                  <a:gd name="connsiteX3" fmla="*/ 598 w 9928"/>
                  <a:gd name="connsiteY3" fmla="*/ 0 h 4844"/>
                </a:gdLst>
                <a:ahLst/>
                <a:cxnLst>
                  <a:cxn ang="0">
                    <a:pos x="connsiteX0" y="connsiteY0"/>
                  </a:cxn>
                  <a:cxn ang="0">
                    <a:pos x="connsiteX1" y="connsiteY1"/>
                  </a:cxn>
                  <a:cxn ang="0">
                    <a:pos x="connsiteX2" y="connsiteY2"/>
                  </a:cxn>
                  <a:cxn ang="0">
                    <a:pos x="connsiteX3" y="connsiteY3"/>
                  </a:cxn>
                </a:cxnLst>
                <a:rect l="l" t="t" r="r" b="b"/>
                <a:pathLst>
                  <a:path w="9928" h="4844">
                    <a:moveTo>
                      <a:pt x="9928" y="1794"/>
                    </a:moveTo>
                    <a:lnTo>
                      <a:pt x="9330" y="4844"/>
                    </a:lnTo>
                    <a:lnTo>
                      <a:pt x="0" y="2990"/>
                    </a:lnTo>
                    <a:lnTo>
                      <a:pt x="598" y="0"/>
                    </a:lnTo>
                    <a:close/>
                  </a:path>
                </a:pathLst>
              </a:custGeom>
              <a:grpFill/>
              <a:ln w="5978" cap="flat">
                <a:noFill/>
                <a:prstDash val="solid"/>
                <a:miter/>
              </a:ln>
            </p:spPr>
            <p:txBody>
              <a:bodyPr rtlCol="0" anchor="ctr"/>
              <a:lstStyle/>
              <a:p>
                <a:endParaRPr lang="en-GB"/>
              </a:p>
            </p:txBody>
          </p:sp>
          <p:sp>
            <p:nvSpPr>
              <p:cNvPr id="4612" name="Vrije vorm: vorm 4611">
                <a:extLst>
                  <a:ext uri="{FF2B5EF4-FFF2-40B4-BE49-F238E27FC236}">
                    <a16:creationId xmlns:a16="http://schemas.microsoft.com/office/drawing/2014/main" id="{43E11D37-68C6-478C-8398-CCC597883A17}"/>
                  </a:ext>
                </a:extLst>
              </p:cNvPr>
              <p:cNvSpPr/>
              <p:nvPr/>
            </p:nvSpPr>
            <p:spPr>
              <a:xfrm>
                <a:off x="7849549" y="3764540"/>
                <a:ext cx="18337" cy="18431"/>
              </a:xfrm>
              <a:custGeom>
                <a:avLst/>
                <a:gdLst>
                  <a:gd name="connsiteX0" fmla="*/ 10933 w 18337"/>
                  <a:gd name="connsiteY0" fmla="*/ 185 h 18431"/>
                  <a:gd name="connsiteX1" fmla="*/ 18170 w 18337"/>
                  <a:gd name="connsiteY1" fmla="*/ 11010 h 18431"/>
                  <a:gd name="connsiteX2" fmla="*/ 7404 w 18337"/>
                  <a:gd name="connsiteY2" fmla="*/ 18246 h 18431"/>
                  <a:gd name="connsiteX3" fmla="*/ 168 w 18337"/>
                  <a:gd name="connsiteY3" fmla="*/ 7421 h 18431"/>
                  <a:gd name="connsiteX4" fmla="*/ 10933 w 18337"/>
                  <a:gd name="connsiteY4" fmla="*/ 18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1">
                    <a:moveTo>
                      <a:pt x="10933" y="185"/>
                    </a:moveTo>
                    <a:cubicBezTo>
                      <a:pt x="15897" y="1142"/>
                      <a:pt x="19126" y="5986"/>
                      <a:pt x="18170" y="11010"/>
                    </a:cubicBezTo>
                    <a:cubicBezTo>
                      <a:pt x="17213" y="15974"/>
                      <a:pt x="12428" y="19263"/>
                      <a:pt x="7404" y="18246"/>
                    </a:cubicBezTo>
                    <a:cubicBezTo>
                      <a:pt x="2441" y="17290"/>
                      <a:pt x="-789" y="12445"/>
                      <a:pt x="168" y="7421"/>
                    </a:cubicBezTo>
                    <a:cubicBezTo>
                      <a:pt x="1124" y="2457"/>
                      <a:pt x="5969" y="-832"/>
                      <a:pt x="10933" y="185"/>
                    </a:cubicBezTo>
                    <a:close/>
                  </a:path>
                </a:pathLst>
              </a:custGeom>
              <a:grpFill/>
              <a:ln w="5978" cap="flat">
                <a:noFill/>
                <a:prstDash val="solid"/>
                <a:miter/>
              </a:ln>
            </p:spPr>
            <p:txBody>
              <a:bodyPr rtlCol="0" anchor="ctr"/>
              <a:lstStyle/>
              <a:p>
                <a:endParaRPr lang="en-GB"/>
              </a:p>
            </p:txBody>
          </p:sp>
          <p:sp>
            <p:nvSpPr>
              <p:cNvPr id="4613" name="Vrije vorm: vorm 4612">
                <a:extLst>
                  <a:ext uri="{FF2B5EF4-FFF2-40B4-BE49-F238E27FC236}">
                    <a16:creationId xmlns:a16="http://schemas.microsoft.com/office/drawing/2014/main" id="{6B1F33C6-66C8-43D2-805D-04BF40B64E66}"/>
                  </a:ext>
                </a:extLst>
              </p:cNvPr>
              <p:cNvSpPr/>
              <p:nvPr/>
            </p:nvSpPr>
            <p:spPr>
              <a:xfrm>
                <a:off x="7841116" y="3762882"/>
                <a:ext cx="18297" cy="18397"/>
              </a:xfrm>
              <a:custGeom>
                <a:avLst/>
                <a:gdLst>
                  <a:gd name="connsiteX0" fmla="*/ 10933 w 18297"/>
                  <a:gd name="connsiteY0" fmla="*/ 168 h 18397"/>
                  <a:gd name="connsiteX1" fmla="*/ 168 w 18297"/>
                  <a:gd name="connsiteY1" fmla="*/ 7405 h 18397"/>
                  <a:gd name="connsiteX2" fmla="*/ 7404 w 18297"/>
                  <a:gd name="connsiteY2" fmla="*/ 18230 h 18397"/>
                  <a:gd name="connsiteX3" fmla="*/ 18110 w 18297"/>
                  <a:gd name="connsiteY3" fmla="*/ 10993 h 18397"/>
                  <a:gd name="connsiteX4" fmla="*/ 10933 w 18297"/>
                  <a:gd name="connsiteY4" fmla="*/ 168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7">
                    <a:moveTo>
                      <a:pt x="10933" y="168"/>
                    </a:moveTo>
                    <a:cubicBezTo>
                      <a:pt x="5969" y="-789"/>
                      <a:pt x="1185" y="2441"/>
                      <a:pt x="168" y="7405"/>
                    </a:cubicBezTo>
                    <a:cubicBezTo>
                      <a:pt x="-789" y="12369"/>
                      <a:pt x="2441" y="17213"/>
                      <a:pt x="7404" y="18230"/>
                    </a:cubicBezTo>
                    <a:cubicBezTo>
                      <a:pt x="12369" y="19187"/>
                      <a:pt x="17153" y="15957"/>
                      <a:pt x="18110" y="10993"/>
                    </a:cubicBezTo>
                    <a:cubicBezTo>
                      <a:pt x="19127" y="5969"/>
                      <a:pt x="15897" y="1125"/>
                      <a:pt x="10933" y="168"/>
                    </a:cubicBezTo>
                    <a:close/>
                  </a:path>
                </a:pathLst>
              </a:custGeom>
              <a:grpFill/>
              <a:ln w="5978" cap="flat">
                <a:noFill/>
                <a:prstDash val="solid"/>
                <a:miter/>
              </a:ln>
            </p:spPr>
            <p:txBody>
              <a:bodyPr rtlCol="0" anchor="ctr"/>
              <a:lstStyle/>
              <a:p>
                <a:endParaRPr lang="en-GB"/>
              </a:p>
            </p:txBody>
          </p:sp>
        </p:grpSp>
        <p:grpSp>
          <p:nvGrpSpPr>
            <p:cNvPr id="257" name="Graphic 3">
              <a:extLst>
                <a:ext uri="{FF2B5EF4-FFF2-40B4-BE49-F238E27FC236}">
                  <a16:creationId xmlns:a16="http://schemas.microsoft.com/office/drawing/2014/main" id="{62520340-54FF-425B-80A9-50BF48178B4B}"/>
                </a:ext>
              </a:extLst>
            </p:cNvPr>
            <p:cNvGrpSpPr/>
            <p:nvPr/>
          </p:nvGrpSpPr>
          <p:grpSpPr>
            <a:xfrm>
              <a:off x="7724225" y="3515791"/>
              <a:ext cx="67674" cy="21563"/>
              <a:chOff x="7724225" y="3515791"/>
              <a:chExt cx="67674" cy="21563"/>
            </a:xfrm>
            <a:grpFill/>
          </p:grpSpPr>
          <p:sp>
            <p:nvSpPr>
              <p:cNvPr id="4608" name="Vrije vorm: vorm 4607">
                <a:extLst>
                  <a:ext uri="{FF2B5EF4-FFF2-40B4-BE49-F238E27FC236}">
                    <a16:creationId xmlns:a16="http://schemas.microsoft.com/office/drawing/2014/main" id="{42A45178-9D5C-4C46-B03C-DDB786584C5D}"/>
                  </a:ext>
                </a:extLst>
              </p:cNvPr>
              <p:cNvSpPr/>
              <p:nvPr/>
            </p:nvSpPr>
            <p:spPr>
              <a:xfrm>
                <a:off x="7732854" y="3523403"/>
                <a:ext cx="50417" cy="6279"/>
              </a:xfrm>
              <a:custGeom>
                <a:avLst/>
                <a:gdLst>
                  <a:gd name="connsiteX0" fmla="*/ 50417 w 50417"/>
                  <a:gd name="connsiteY0" fmla="*/ 3229 h 6279"/>
                  <a:gd name="connsiteX1" fmla="*/ 50238 w 50417"/>
                  <a:gd name="connsiteY1" fmla="*/ 6280 h 6279"/>
                  <a:gd name="connsiteX2" fmla="*/ 0 w 50417"/>
                  <a:gd name="connsiteY2" fmla="*/ 3050 h 6279"/>
                  <a:gd name="connsiteX3" fmla="*/ 180 w 50417"/>
                  <a:gd name="connsiteY3" fmla="*/ 0 h 6279"/>
                </a:gdLst>
                <a:ahLst/>
                <a:cxnLst>
                  <a:cxn ang="0">
                    <a:pos x="connsiteX0" y="connsiteY0"/>
                  </a:cxn>
                  <a:cxn ang="0">
                    <a:pos x="connsiteX1" y="connsiteY1"/>
                  </a:cxn>
                  <a:cxn ang="0">
                    <a:pos x="connsiteX2" y="connsiteY2"/>
                  </a:cxn>
                  <a:cxn ang="0">
                    <a:pos x="connsiteX3" y="connsiteY3"/>
                  </a:cxn>
                </a:cxnLst>
                <a:rect l="l" t="t" r="r" b="b"/>
                <a:pathLst>
                  <a:path w="50417" h="6279">
                    <a:moveTo>
                      <a:pt x="50417" y="3229"/>
                    </a:moveTo>
                    <a:lnTo>
                      <a:pt x="50238" y="6280"/>
                    </a:lnTo>
                    <a:lnTo>
                      <a:pt x="0" y="3050"/>
                    </a:lnTo>
                    <a:lnTo>
                      <a:pt x="180" y="0"/>
                    </a:lnTo>
                    <a:close/>
                  </a:path>
                </a:pathLst>
              </a:custGeom>
              <a:grpFill/>
              <a:ln w="5978" cap="flat">
                <a:noFill/>
                <a:prstDash val="solid"/>
                <a:miter/>
              </a:ln>
            </p:spPr>
            <p:txBody>
              <a:bodyPr rtlCol="0" anchor="ctr"/>
              <a:lstStyle/>
              <a:p>
                <a:endParaRPr lang="en-GB"/>
              </a:p>
            </p:txBody>
          </p:sp>
          <p:sp>
            <p:nvSpPr>
              <p:cNvPr id="4609" name="Vrije vorm: vorm 4608">
                <a:extLst>
                  <a:ext uri="{FF2B5EF4-FFF2-40B4-BE49-F238E27FC236}">
                    <a16:creationId xmlns:a16="http://schemas.microsoft.com/office/drawing/2014/main" id="{9A8985E0-2DCC-42BD-A75A-18BAFF40A300}"/>
                  </a:ext>
                </a:extLst>
              </p:cNvPr>
              <p:cNvSpPr/>
              <p:nvPr/>
            </p:nvSpPr>
            <p:spPr>
              <a:xfrm>
                <a:off x="7773566" y="3518901"/>
                <a:ext cx="18333" cy="18453"/>
              </a:xfrm>
              <a:custGeom>
                <a:avLst/>
                <a:gdLst>
                  <a:gd name="connsiteX0" fmla="*/ 9705 w 18333"/>
                  <a:gd name="connsiteY0" fmla="*/ 16 h 18453"/>
                  <a:gd name="connsiteX1" fmla="*/ 18317 w 18333"/>
                  <a:gd name="connsiteY1" fmla="*/ 9825 h 18453"/>
                  <a:gd name="connsiteX2" fmla="*/ 8629 w 18333"/>
                  <a:gd name="connsiteY2" fmla="*/ 18437 h 18453"/>
                  <a:gd name="connsiteX3" fmla="*/ 16 w 18333"/>
                  <a:gd name="connsiteY3" fmla="*/ 8629 h 18453"/>
                  <a:gd name="connsiteX4" fmla="*/ 9705 w 18333"/>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6"/>
                    </a:moveTo>
                    <a:cubicBezTo>
                      <a:pt x="14729" y="315"/>
                      <a:pt x="18617" y="4741"/>
                      <a:pt x="18317" y="9825"/>
                    </a:cubicBezTo>
                    <a:cubicBezTo>
                      <a:pt x="18018" y="14908"/>
                      <a:pt x="13652" y="18736"/>
                      <a:pt x="8629" y="18437"/>
                    </a:cubicBezTo>
                    <a:cubicBezTo>
                      <a:pt x="3605" y="18138"/>
                      <a:pt x="-282" y="13712"/>
                      <a:pt x="16" y="8629"/>
                    </a:cubicBezTo>
                    <a:cubicBezTo>
                      <a:pt x="315" y="3545"/>
                      <a:pt x="4621" y="-283"/>
                      <a:pt x="9705" y="16"/>
                    </a:cubicBezTo>
                    <a:close/>
                  </a:path>
                </a:pathLst>
              </a:custGeom>
              <a:grpFill/>
              <a:ln w="5978" cap="flat">
                <a:noFill/>
                <a:prstDash val="solid"/>
                <a:miter/>
              </a:ln>
            </p:spPr>
            <p:txBody>
              <a:bodyPr rtlCol="0" anchor="ctr"/>
              <a:lstStyle/>
              <a:p>
                <a:endParaRPr lang="en-GB"/>
              </a:p>
            </p:txBody>
          </p:sp>
          <p:sp>
            <p:nvSpPr>
              <p:cNvPr id="4610" name="Vrije vorm: vorm 4609">
                <a:extLst>
                  <a:ext uri="{FF2B5EF4-FFF2-40B4-BE49-F238E27FC236}">
                    <a16:creationId xmlns:a16="http://schemas.microsoft.com/office/drawing/2014/main" id="{A0565941-D043-43FA-944F-812A0FED8753}"/>
                  </a:ext>
                </a:extLst>
              </p:cNvPr>
              <p:cNvSpPr/>
              <p:nvPr/>
            </p:nvSpPr>
            <p:spPr>
              <a:xfrm>
                <a:off x="7724225" y="3515791"/>
                <a:ext cx="18334" cy="18453"/>
              </a:xfrm>
              <a:custGeom>
                <a:avLst/>
                <a:gdLst>
                  <a:gd name="connsiteX0" fmla="*/ 9705 w 18334"/>
                  <a:gd name="connsiteY0" fmla="*/ 16 h 18453"/>
                  <a:gd name="connsiteX1" fmla="*/ 16 w 18334"/>
                  <a:gd name="connsiteY1" fmla="*/ 8629 h 18453"/>
                  <a:gd name="connsiteX2" fmla="*/ 8629 w 18334"/>
                  <a:gd name="connsiteY2" fmla="*/ 18437 h 18453"/>
                  <a:gd name="connsiteX3" fmla="*/ 18318 w 18334"/>
                  <a:gd name="connsiteY3" fmla="*/ 9825 h 18453"/>
                  <a:gd name="connsiteX4" fmla="*/ 9705 w 18334"/>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3">
                    <a:moveTo>
                      <a:pt x="9705" y="16"/>
                    </a:moveTo>
                    <a:cubicBezTo>
                      <a:pt x="4681" y="-283"/>
                      <a:pt x="316" y="3545"/>
                      <a:pt x="16" y="8629"/>
                    </a:cubicBezTo>
                    <a:cubicBezTo>
                      <a:pt x="-282" y="13712"/>
                      <a:pt x="3545" y="18078"/>
                      <a:pt x="8629" y="18437"/>
                    </a:cubicBezTo>
                    <a:cubicBezTo>
                      <a:pt x="13653" y="18736"/>
                      <a:pt x="18018" y="14909"/>
                      <a:pt x="18318" y="9825"/>
                    </a:cubicBezTo>
                    <a:cubicBezTo>
                      <a:pt x="18617" y="4741"/>
                      <a:pt x="14789" y="316"/>
                      <a:pt x="9705" y="16"/>
                    </a:cubicBezTo>
                    <a:close/>
                  </a:path>
                </a:pathLst>
              </a:custGeom>
              <a:grpFill/>
              <a:ln w="5978" cap="flat">
                <a:noFill/>
                <a:prstDash val="solid"/>
                <a:miter/>
              </a:ln>
            </p:spPr>
            <p:txBody>
              <a:bodyPr rtlCol="0" anchor="ctr"/>
              <a:lstStyle/>
              <a:p>
                <a:endParaRPr lang="en-GB"/>
              </a:p>
            </p:txBody>
          </p:sp>
        </p:grpSp>
        <p:grpSp>
          <p:nvGrpSpPr>
            <p:cNvPr id="258" name="Graphic 3">
              <a:extLst>
                <a:ext uri="{FF2B5EF4-FFF2-40B4-BE49-F238E27FC236}">
                  <a16:creationId xmlns:a16="http://schemas.microsoft.com/office/drawing/2014/main" id="{CAD2F7C6-09C5-426F-9942-A22C015B88C0}"/>
                </a:ext>
              </a:extLst>
            </p:cNvPr>
            <p:cNvGrpSpPr/>
            <p:nvPr/>
          </p:nvGrpSpPr>
          <p:grpSpPr>
            <a:xfrm>
              <a:off x="7912524" y="4117768"/>
              <a:ext cx="153422" cy="69823"/>
              <a:chOff x="7912524" y="4117768"/>
              <a:chExt cx="153422" cy="69823"/>
            </a:xfrm>
            <a:grpFill/>
          </p:grpSpPr>
          <p:sp>
            <p:nvSpPr>
              <p:cNvPr id="4605" name="Vrije vorm: vorm 4604">
                <a:extLst>
                  <a:ext uri="{FF2B5EF4-FFF2-40B4-BE49-F238E27FC236}">
                    <a16:creationId xmlns:a16="http://schemas.microsoft.com/office/drawing/2014/main" id="{F88CB8A7-D59C-43C1-9D8B-D89E1F985029}"/>
                  </a:ext>
                </a:extLst>
              </p:cNvPr>
              <p:cNvSpPr/>
              <p:nvPr/>
            </p:nvSpPr>
            <p:spPr>
              <a:xfrm>
                <a:off x="7920709" y="4125422"/>
                <a:ext cx="137017" cy="54544"/>
              </a:xfrm>
              <a:custGeom>
                <a:avLst/>
                <a:gdLst>
                  <a:gd name="connsiteX0" fmla="*/ 137018 w 137017"/>
                  <a:gd name="connsiteY0" fmla="*/ 51674 h 54544"/>
                  <a:gd name="connsiteX1" fmla="*/ 135942 w 137017"/>
                  <a:gd name="connsiteY1" fmla="*/ 54544 h 54544"/>
                  <a:gd name="connsiteX2" fmla="*/ 0 w 137017"/>
                  <a:gd name="connsiteY2" fmla="*/ 2871 h 54544"/>
                  <a:gd name="connsiteX3" fmla="*/ 1076 w 137017"/>
                  <a:gd name="connsiteY3" fmla="*/ 0 h 54544"/>
                </a:gdLst>
                <a:ahLst/>
                <a:cxnLst>
                  <a:cxn ang="0">
                    <a:pos x="connsiteX0" y="connsiteY0"/>
                  </a:cxn>
                  <a:cxn ang="0">
                    <a:pos x="connsiteX1" y="connsiteY1"/>
                  </a:cxn>
                  <a:cxn ang="0">
                    <a:pos x="connsiteX2" y="connsiteY2"/>
                  </a:cxn>
                  <a:cxn ang="0">
                    <a:pos x="connsiteX3" y="connsiteY3"/>
                  </a:cxn>
                </a:cxnLst>
                <a:rect l="l" t="t" r="r" b="b"/>
                <a:pathLst>
                  <a:path w="137017" h="54544">
                    <a:moveTo>
                      <a:pt x="137018" y="51674"/>
                    </a:moveTo>
                    <a:lnTo>
                      <a:pt x="135942" y="54544"/>
                    </a:lnTo>
                    <a:lnTo>
                      <a:pt x="0" y="2871"/>
                    </a:lnTo>
                    <a:lnTo>
                      <a:pt x="1076" y="0"/>
                    </a:lnTo>
                    <a:close/>
                  </a:path>
                </a:pathLst>
              </a:custGeom>
              <a:grpFill/>
              <a:ln w="5978" cap="flat">
                <a:noFill/>
                <a:prstDash val="solid"/>
                <a:miter/>
              </a:ln>
            </p:spPr>
            <p:txBody>
              <a:bodyPr rtlCol="0" anchor="ctr"/>
              <a:lstStyle/>
              <a:p>
                <a:endParaRPr lang="en-GB"/>
              </a:p>
            </p:txBody>
          </p:sp>
          <p:sp>
            <p:nvSpPr>
              <p:cNvPr id="4606" name="Vrije vorm: vorm 4605">
                <a:extLst>
                  <a:ext uri="{FF2B5EF4-FFF2-40B4-BE49-F238E27FC236}">
                    <a16:creationId xmlns:a16="http://schemas.microsoft.com/office/drawing/2014/main" id="{8A48E102-305C-4D82-830D-7D998639E7D4}"/>
                  </a:ext>
                </a:extLst>
              </p:cNvPr>
              <p:cNvSpPr/>
              <p:nvPr/>
            </p:nvSpPr>
            <p:spPr>
              <a:xfrm>
                <a:off x="8047653" y="4169143"/>
                <a:ext cx="18294" cy="18448"/>
              </a:xfrm>
              <a:custGeom>
                <a:avLst/>
                <a:gdLst>
                  <a:gd name="connsiteX0" fmla="*/ 12347 w 18294"/>
                  <a:gd name="connsiteY0" fmla="*/ 596 h 18448"/>
                  <a:gd name="connsiteX1" fmla="*/ 17729 w 18294"/>
                  <a:gd name="connsiteY1" fmla="*/ 12498 h 18448"/>
                  <a:gd name="connsiteX2" fmla="*/ 5948 w 18294"/>
                  <a:gd name="connsiteY2" fmla="*/ 17821 h 18448"/>
                  <a:gd name="connsiteX3" fmla="*/ 565 w 18294"/>
                  <a:gd name="connsiteY3" fmla="*/ 5919 h 18448"/>
                  <a:gd name="connsiteX4" fmla="*/ 12347 w 18294"/>
                  <a:gd name="connsiteY4" fmla="*/ 59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48">
                    <a:moveTo>
                      <a:pt x="12347" y="596"/>
                    </a:moveTo>
                    <a:cubicBezTo>
                      <a:pt x="17072" y="2390"/>
                      <a:pt x="19464" y="7713"/>
                      <a:pt x="17729" y="12498"/>
                    </a:cubicBezTo>
                    <a:cubicBezTo>
                      <a:pt x="15936" y="17283"/>
                      <a:pt x="10673" y="19675"/>
                      <a:pt x="5948" y="17821"/>
                    </a:cubicBezTo>
                    <a:cubicBezTo>
                      <a:pt x="1223" y="16027"/>
                      <a:pt x="-1170" y="10704"/>
                      <a:pt x="565" y="5919"/>
                    </a:cubicBezTo>
                    <a:cubicBezTo>
                      <a:pt x="2299" y="1195"/>
                      <a:pt x="7562" y="-1198"/>
                      <a:pt x="12347" y="596"/>
                    </a:cubicBezTo>
                    <a:close/>
                  </a:path>
                </a:pathLst>
              </a:custGeom>
              <a:grpFill/>
              <a:ln w="5978" cap="flat">
                <a:noFill/>
                <a:prstDash val="solid"/>
                <a:miter/>
              </a:ln>
            </p:spPr>
            <p:txBody>
              <a:bodyPr rtlCol="0" anchor="ctr"/>
              <a:lstStyle/>
              <a:p>
                <a:endParaRPr lang="en-GB"/>
              </a:p>
            </p:txBody>
          </p:sp>
          <p:sp>
            <p:nvSpPr>
              <p:cNvPr id="4607" name="Vrije vorm: vorm 4606">
                <a:extLst>
                  <a:ext uri="{FF2B5EF4-FFF2-40B4-BE49-F238E27FC236}">
                    <a16:creationId xmlns:a16="http://schemas.microsoft.com/office/drawing/2014/main" id="{2BDAEC3D-40FF-440C-B1E4-70514288B528}"/>
                  </a:ext>
                </a:extLst>
              </p:cNvPr>
              <p:cNvSpPr/>
              <p:nvPr/>
            </p:nvSpPr>
            <p:spPr>
              <a:xfrm>
                <a:off x="7912524" y="4117768"/>
                <a:ext cx="18342" cy="18417"/>
              </a:xfrm>
              <a:custGeom>
                <a:avLst/>
                <a:gdLst>
                  <a:gd name="connsiteX0" fmla="*/ 12371 w 18342"/>
                  <a:gd name="connsiteY0" fmla="*/ 597 h 18417"/>
                  <a:gd name="connsiteX1" fmla="*/ 589 w 18342"/>
                  <a:gd name="connsiteY1" fmla="*/ 5919 h 18417"/>
                  <a:gd name="connsiteX2" fmla="*/ 5972 w 18342"/>
                  <a:gd name="connsiteY2" fmla="*/ 17821 h 18417"/>
                  <a:gd name="connsiteX3" fmla="*/ 17753 w 18342"/>
                  <a:gd name="connsiteY3" fmla="*/ 12498 h 18417"/>
                  <a:gd name="connsiteX4" fmla="*/ 12371 w 18342"/>
                  <a:gd name="connsiteY4" fmla="*/ 59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7">
                    <a:moveTo>
                      <a:pt x="12371" y="597"/>
                    </a:moveTo>
                    <a:cubicBezTo>
                      <a:pt x="7646" y="-1198"/>
                      <a:pt x="2323" y="1194"/>
                      <a:pt x="589" y="5919"/>
                    </a:cubicBezTo>
                    <a:cubicBezTo>
                      <a:pt x="-1206" y="10704"/>
                      <a:pt x="1247" y="15967"/>
                      <a:pt x="5972" y="17821"/>
                    </a:cubicBezTo>
                    <a:cubicBezTo>
                      <a:pt x="10696" y="19615"/>
                      <a:pt x="16019" y="17223"/>
                      <a:pt x="17753" y="12498"/>
                    </a:cubicBezTo>
                    <a:cubicBezTo>
                      <a:pt x="19547" y="7714"/>
                      <a:pt x="17096" y="2391"/>
                      <a:pt x="12371" y="597"/>
                    </a:cubicBezTo>
                    <a:close/>
                  </a:path>
                </a:pathLst>
              </a:custGeom>
              <a:grpFill/>
              <a:ln w="5978" cap="flat">
                <a:noFill/>
                <a:prstDash val="solid"/>
                <a:miter/>
              </a:ln>
            </p:spPr>
            <p:txBody>
              <a:bodyPr rtlCol="0" anchor="ctr"/>
              <a:lstStyle/>
              <a:p>
                <a:endParaRPr lang="en-GB"/>
              </a:p>
            </p:txBody>
          </p:sp>
        </p:grpSp>
        <p:grpSp>
          <p:nvGrpSpPr>
            <p:cNvPr id="259" name="Graphic 3">
              <a:extLst>
                <a:ext uri="{FF2B5EF4-FFF2-40B4-BE49-F238E27FC236}">
                  <a16:creationId xmlns:a16="http://schemas.microsoft.com/office/drawing/2014/main" id="{138BB391-B1AE-4FE2-BF69-3F86CA5FC0BA}"/>
                </a:ext>
              </a:extLst>
            </p:cNvPr>
            <p:cNvGrpSpPr/>
            <p:nvPr/>
          </p:nvGrpSpPr>
          <p:grpSpPr>
            <a:xfrm>
              <a:off x="7151469" y="1875965"/>
              <a:ext cx="148738" cy="180055"/>
              <a:chOff x="7151469" y="1875965"/>
              <a:chExt cx="148738" cy="180055"/>
            </a:xfrm>
            <a:grpFill/>
          </p:grpSpPr>
          <p:sp>
            <p:nvSpPr>
              <p:cNvPr id="4602" name="Vrije vorm: vorm 4601">
                <a:extLst>
                  <a:ext uri="{FF2B5EF4-FFF2-40B4-BE49-F238E27FC236}">
                    <a16:creationId xmlns:a16="http://schemas.microsoft.com/office/drawing/2014/main" id="{91B77894-CF37-42D1-8C1D-4A1D6682DF6E}"/>
                  </a:ext>
                </a:extLst>
              </p:cNvPr>
              <p:cNvSpPr/>
              <p:nvPr/>
            </p:nvSpPr>
            <p:spPr>
              <a:xfrm>
                <a:off x="7159183" y="1883908"/>
                <a:ext cx="133250" cy="164170"/>
              </a:xfrm>
              <a:custGeom>
                <a:avLst/>
                <a:gdLst>
                  <a:gd name="connsiteX0" fmla="*/ 133251 w 133250"/>
                  <a:gd name="connsiteY0" fmla="*/ 1914 h 164170"/>
                  <a:gd name="connsiteX1" fmla="*/ 2333 w 133250"/>
                  <a:gd name="connsiteY1" fmla="*/ 164171 h 164170"/>
                  <a:gd name="connsiteX2" fmla="*/ 0 w 133250"/>
                  <a:gd name="connsiteY2" fmla="*/ 162257 h 164170"/>
                  <a:gd name="connsiteX3" fmla="*/ 130918 w 133250"/>
                  <a:gd name="connsiteY3" fmla="*/ 0 h 164170"/>
                </a:gdLst>
                <a:ahLst/>
                <a:cxnLst>
                  <a:cxn ang="0">
                    <a:pos x="connsiteX0" y="connsiteY0"/>
                  </a:cxn>
                  <a:cxn ang="0">
                    <a:pos x="connsiteX1" y="connsiteY1"/>
                  </a:cxn>
                  <a:cxn ang="0">
                    <a:pos x="connsiteX2" y="connsiteY2"/>
                  </a:cxn>
                  <a:cxn ang="0">
                    <a:pos x="connsiteX3" y="connsiteY3"/>
                  </a:cxn>
                </a:cxnLst>
                <a:rect l="l" t="t" r="r" b="b"/>
                <a:pathLst>
                  <a:path w="133250" h="164170">
                    <a:moveTo>
                      <a:pt x="133251" y="1914"/>
                    </a:moveTo>
                    <a:lnTo>
                      <a:pt x="2333" y="164171"/>
                    </a:lnTo>
                    <a:lnTo>
                      <a:pt x="0" y="162257"/>
                    </a:lnTo>
                    <a:lnTo>
                      <a:pt x="130918" y="0"/>
                    </a:lnTo>
                    <a:close/>
                  </a:path>
                </a:pathLst>
              </a:custGeom>
              <a:grpFill/>
              <a:ln w="5978" cap="flat">
                <a:noFill/>
                <a:prstDash val="solid"/>
                <a:miter/>
              </a:ln>
            </p:spPr>
            <p:txBody>
              <a:bodyPr rtlCol="0" anchor="ctr"/>
              <a:lstStyle/>
              <a:p>
                <a:endParaRPr lang="en-GB"/>
              </a:p>
            </p:txBody>
          </p:sp>
          <p:sp>
            <p:nvSpPr>
              <p:cNvPr id="4603" name="Vrije vorm: vorm 4602">
                <a:extLst>
                  <a:ext uri="{FF2B5EF4-FFF2-40B4-BE49-F238E27FC236}">
                    <a16:creationId xmlns:a16="http://schemas.microsoft.com/office/drawing/2014/main" id="{588BA99C-49B1-48AD-874B-437C942E74E7}"/>
                  </a:ext>
                </a:extLst>
              </p:cNvPr>
              <p:cNvSpPr/>
              <p:nvPr/>
            </p:nvSpPr>
            <p:spPr>
              <a:xfrm>
                <a:off x="7281824" y="1875965"/>
                <a:ext cx="18383" cy="18456"/>
              </a:xfrm>
              <a:custGeom>
                <a:avLst/>
                <a:gdLst>
                  <a:gd name="connsiteX0" fmla="*/ 2057 w 18383"/>
                  <a:gd name="connsiteY0" fmla="*/ 3397 h 18456"/>
                  <a:gd name="connsiteX1" fmla="*/ 14976 w 18383"/>
                  <a:gd name="connsiteY1" fmla="*/ 2081 h 18456"/>
                  <a:gd name="connsiteX2" fmla="*/ 16351 w 18383"/>
                  <a:gd name="connsiteY2" fmla="*/ 15059 h 18456"/>
                  <a:gd name="connsiteX3" fmla="*/ 3433 w 18383"/>
                  <a:gd name="connsiteY3" fmla="*/ 16375 h 18456"/>
                  <a:gd name="connsiteX4" fmla="*/ 2057 w 18383"/>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56">
                    <a:moveTo>
                      <a:pt x="2057" y="3397"/>
                    </a:moveTo>
                    <a:cubicBezTo>
                      <a:pt x="5227" y="-550"/>
                      <a:pt x="11028" y="-1148"/>
                      <a:pt x="14976" y="2081"/>
                    </a:cubicBezTo>
                    <a:cubicBezTo>
                      <a:pt x="18923" y="5311"/>
                      <a:pt x="19521" y="11112"/>
                      <a:pt x="16351" y="15059"/>
                    </a:cubicBezTo>
                    <a:cubicBezTo>
                      <a:pt x="13182" y="19007"/>
                      <a:pt x="7380" y="19605"/>
                      <a:pt x="3433" y="16375"/>
                    </a:cubicBezTo>
                    <a:cubicBezTo>
                      <a:pt x="-514" y="13146"/>
                      <a:pt x="-1172" y="7344"/>
                      <a:pt x="2057" y="3397"/>
                    </a:cubicBezTo>
                    <a:close/>
                  </a:path>
                </a:pathLst>
              </a:custGeom>
              <a:grpFill/>
              <a:ln w="5978" cap="flat">
                <a:noFill/>
                <a:prstDash val="solid"/>
                <a:miter/>
              </a:ln>
            </p:spPr>
            <p:txBody>
              <a:bodyPr rtlCol="0" anchor="ctr"/>
              <a:lstStyle/>
              <a:p>
                <a:endParaRPr lang="en-GB"/>
              </a:p>
            </p:txBody>
          </p:sp>
          <p:sp>
            <p:nvSpPr>
              <p:cNvPr id="4604" name="Vrije vorm: vorm 4603">
                <a:extLst>
                  <a:ext uri="{FF2B5EF4-FFF2-40B4-BE49-F238E27FC236}">
                    <a16:creationId xmlns:a16="http://schemas.microsoft.com/office/drawing/2014/main" id="{EADA785D-907E-475B-B59B-36D83E3AD5A6}"/>
                  </a:ext>
                </a:extLst>
              </p:cNvPr>
              <p:cNvSpPr/>
              <p:nvPr/>
            </p:nvSpPr>
            <p:spPr>
              <a:xfrm>
                <a:off x="7151469" y="2037564"/>
                <a:ext cx="18298" cy="18456"/>
              </a:xfrm>
              <a:custGeom>
                <a:avLst/>
                <a:gdLst>
                  <a:gd name="connsiteX0" fmla="*/ 2032 w 18298"/>
                  <a:gd name="connsiteY0" fmla="*/ 3397 h 18456"/>
                  <a:gd name="connsiteX1" fmla="*/ 3408 w 18298"/>
                  <a:gd name="connsiteY1" fmla="*/ 16375 h 18456"/>
                  <a:gd name="connsiteX2" fmla="*/ 16267 w 18298"/>
                  <a:gd name="connsiteY2" fmla="*/ 15059 h 18456"/>
                  <a:gd name="connsiteX3" fmla="*/ 14891 w 18298"/>
                  <a:gd name="connsiteY3" fmla="*/ 2081 h 18456"/>
                  <a:gd name="connsiteX4" fmla="*/ 2032 w 18298"/>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6">
                    <a:moveTo>
                      <a:pt x="2032" y="3397"/>
                    </a:moveTo>
                    <a:cubicBezTo>
                      <a:pt x="-1137" y="7344"/>
                      <a:pt x="-540" y="13146"/>
                      <a:pt x="3408" y="16375"/>
                    </a:cubicBezTo>
                    <a:cubicBezTo>
                      <a:pt x="7355" y="19605"/>
                      <a:pt x="13097" y="19007"/>
                      <a:pt x="16267" y="15059"/>
                    </a:cubicBezTo>
                    <a:cubicBezTo>
                      <a:pt x="19437" y="11112"/>
                      <a:pt x="18838" y="5311"/>
                      <a:pt x="14891" y="2081"/>
                    </a:cubicBezTo>
                    <a:cubicBezTo>
                      <a:pt x="11004" y="-1148"/>
                      <a:pt x="5202" y="-550"/>
                      <a:pt x="2032" y="3397"/>
                    </a:cubicBezTo>
                    <a:close/>
                  </a:path>
                </a:pathLst>
              </a:custGeom>
              <a:grpFill/>
              <a:ln w="5978" cap="flat">
                <a:noFill/>
                <a:prstDash val="solid"/>
                <a:miter/>
              </a:ln>
            </p:spPr>
            <p:txBody>
              <a:bodyPr rtlCol="0" anchor="ctr"/>
              <a:lstStyle/>
              <a:p>
                <a:endParaRPr lang="en-GB"/>
              </a:p>
            </p:txBody>
          </p:sp>
        </p:grpSp>
        <p:grpSp>
          <p:nvGrpSpPr>
            <p:cNvPr id="260" name="Graphic 3">
              <a:extLst>
                <a:ext uri="{FF2B5EF4-FFF2-40B4-BE49-F238E27FC236}">
                  <a16:creationId xmlns:a16="http://schemas.microsoft.com/office/drawing/2014/main" id="{9753428A-4E85-46EF-8F3C-FFDE6101424A}"/>
                </a:ext>
              </a:extLst>
            </p:cNvPr>
            <p:cNvGrpSpPr/>
            <p:nvPr/>
          </p:nvGrpSpPr>
          <p:grpSpPr>
            <a:xfrm>
              <a:off x="7810393" y="3791249"/>
              <a:ext cx="90190" cy="34031"/>
              <a:chOff x="7810393" y="3791249"/>
              <a:chExt cx="90190" cy="34031"/>
            </a:xfrm>
            <a:grpFill/>
          </p:grpSpPr>
          <p:sp>
            <p:nvSpPr>
              <p:cNvPr id="4599" name="Vrije vorm: vorm 4598">
                <a:extLst>
                  <a:ext uri="{FF2B5EF4-FFF2-40B4-BE49-F238E27FC236}">
                    <a16:creationId xmlns:a16="http://schemas.microsoft.com/office/drawing/2014/main" id="{21A823D6-7FA8-4FCB-BC82-122C428394E7}"/>
                  </a:ext>
                </a:extLst>
              </p:cNvPr>
              <p:cNvSpPr/>
              <p:nvPr/>
            </p:nvSpPr>
            <p:spPr>
              <a:xfrm>
                <a:off x="7818797" y="3798875"/>
                <a:ext cx="73383" cy="18779"/>
              </a:xfrm>
              <a:custGeom>
                <a:avLst/>
                <a:gdLst>
                  <a:gd name="connsiteX0" fmla="*/ 73384 w 73383"/>
                  <a:gd name="connsiteY0" fmla="*/ 15789 h 18779"/>
                  <a:gd name="connsiteX1" fmla="*/ 72726 w 73383"/>
                  <a:gd name="connsiteY1" fmla="*/ 18780 h 18779"/>
                  <a:gd name="connsiteX2" fmla="*/ 0 w 73383"/>
                  <a:gd name="connsiteY2" fmla="*/ 2990 h 18779"/>
                  <a:gd name="connsiteX3" fmla="*/ 658 w 73383"/>
                  <a:gd name="connsiteY3" fmla="*/ 0 h 18779"/>
                </a:gdLst>
                <a:ahLst/>
                <a:cxnLst>
                  <a:cxn ang="0">
                    <a:pos x="connsiteX0" y="connsiteY0"/>
                  </a:cxn>
                  <a:cxn ang="0">
                    <a:pos x="connsiteX1" y="connsiteY1"/>
                  </a:cxn>
                  <a:cxn ang="0">
                    <a:pos x="connsiteX2" y="connsiteY2"/>
                  </a:cxn>
                  <a:cxn ang="0">
                    <a:pos x="connsiteX3" y="connsiteY3"/>
                  </a:cxn>
                </a:cxnLst>
                <a:rect l="l" t="t" r="r" b="b"/>
                <a:pathLst>
                  <a:path w="73383" h="18779">
                    <a:moveTo>
                      <a:pt x="73384" y="15789"/>
                    </a:moveTo>
                    <a:lnTo>
                      <a:pt x="72726" y="18780"/>
                    </a:lnTo>
                    <a:lnTo>
                      <a:pt x="0" y="2990"/>
                    </a:lnTo>
                    <a:lnTo>
                      <a:pt x="658" y="0"/>
                    </a:lnTo>
                    <a:close/>
                  </a:path>
                </a:pathLst>
              </a:custGeom>
              <a:grpFill/>
              <a:ln w="5978" cap="flat">
                <a:noFill/>
                <a:prstDash val="solid"/>
                <a:miter/>
              </a:ln>
            </p:spPr>
            <p:txBody>
              <a:bodyPr rtlCol="0" anchor="ctr"/>
              <a:lstStyle/>
              <a:p>
                <a:endParaRPr lang="en-GB"/>
              </a:p>
            </p:txBody>
          </p:sp>
          <p:sp>
            <p:nvSpPr>
              <p:cNvPr id="4600" name="Vrije vorm: vorm 4599">
                <a:extLst>
                  <a:ext uri="{FF2B5EF4-FFF2-40B4-BE49-F238E27FC236}">
                    <a16:creationId xmlns:a16="http://schemas.microsoft.com/office/drawing/2014/main" id="{DAD5FA8F-616B-4683-8C53-18095FECC9C3}"/>
                  </a:ext>
                </a:extLst>
              </p:cNvPr>
              <p:cNvSpPr/>
              <p:nvPr/>
            </p:nvSpPr>
            <p:spPr>
              <a:xfrm>
                <a:off x="7882222" y="3806858"/>
                <a:ext cx="18362" cy="18421"/>
              </a:xfrm>
              <a:custGeom>
                <a:avLst/>
                <a:gdLst>
                  <a:gd name="connsiteX0" fmla="*/ 11095 w 18362"/>
                  <a:gd name="connsiteY0" fmla="*/ 210 h 18421"/>
                  <a:gd name="connsiteX1" fmla="*/ 18152 w 18362"/>
                  <a:gd name="connsiteY1" fmla="*/ 11155 h 18421"/>
                  <a:gd name="connsiteX2" fmla="*/ 7267 w 18362"/>
                  <a:gd name="connsiteY2" fmla="*/ 18212 h 18421"/>
                  <a:gd name="connsiteX3" fmla="*/ 210 w 18362"/>
                  <a:gd name="connsiteY3" fmla="*/ 7268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16059" y="1287"/>
                      <a:pt x="19228" y="6191"/>
                      <a:pt x="18152" y="11155"/>
                    </a:cubicBezTo>
                    <a:cubicBezTo>
                      <a:pt x="17075" y="16119"/>
                      <a:pt x="12231" y="19288"/>
                      <a:pt x="7267" y="18212"/>
                    </a:cubicBezTo>
                    <a:cubicBezTo>
                      <a:pt x="2303" y="17136"/>
                      <a:pt x="-867" y="12231"/>
                      <a:pt x="210" y="7268"/>
                    </a:cubicBezTo>
                    <a:cubicBezTo>
                      <a:pt x="1286" y="2303"/>
                      <a:pt x="6131" y="-867"/>
                      <a:pt x="11095" y="210"/>
                    </a:cubicBezTo>
                    <a:close/>
                  </a:path>
                </a:pathLst>
              </a:custGeom>
              <a:grpFill/>
              <a:ln w="5978" cap="flat">
                <a:noFill/>
                <a:prstDash val="solid"/>
                <a:miter/>
              </a:ln>
            </p:spPr>
            <p:txBody>
              <a:bodyPr rtlCol="0" anchor="ctr"/>
              <a:lstStyle/>
              <a:p>
                <a:endParaRPr lang="en-GB"/>
              </a:p>
            </p:txBody>
          </p:sp>
          <p:sp>
            <p:nvSpPr>
              <p:cNvPr id="4601" name="Vrije vorm: vorm 4600">
                <a:extLst>
                  <a:ext uri="{FF2B5EF4-FFF2-40B4-BE49-F238E27FC236}">
                    <a16:creationId xmlns:a16="http://schemas.microsoft.com/office/drawing/2014/main" id="{027D957A-5498-494F-995C-9105C65B8991}"/>
                  </a:ext>
                </a:extLst>
              </p:cNvPr>
              <p:cNvSpPr/>
              <p:nvPr/>
            </p:nvSpPr>
            <p:spPr>
              <a:xfrm>
                <a:off x="7810393" y="3791249"/>
                <a:ext cx="18362" cy="18421"/>
              </a:xfrm>
              <a:custGeom>
                <a:avLst/>
                <a:gdLst>
                  <a:gd name="connsiteX0" fmla="*/ 11095 w 18362"/>
                  <a:gd name="connsiteY0" fmla="*/ 210 h 18421"/>
                  <a:gd name="connsiteX1" fmla="*/ 210 w 18362"/>
                  <a:gd name="connsiteY1" fmla="*/ 7267 h 18421"/>
                  <a:gd name="connsiteX2" fmla="*/ 7267 w 18362"/>
                  <a:gd name="connsiteY2" fmla="*/ 18212 h 18421"/>
                  <a:gd name="connsiteX3" fmla="*/ 18152 w 18362"/>
                  <a:gd name="connsiteY3" fmla="*/ 11155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6131" y="-867"/>
                      <a:pt x="1286" y="2303"/>
                      <a:pt x="210" y="7267"/>
                    </a:cubicBezTo>
                    <a:cubicBezTo>
                      <a:pt x="-867" y="12231"/>
                      <a:pt x="2303" y="17136"/>
                      <a:pt x="7267" y="18212"/>
                    </a:cubicBezTo>
                    <a:cubicBezTo>
                      <a:pt x="12231" y="19288"/>
                      <a:pt x="17075" y="16119"/>
                      <a:pt x="18152" y="11155"/>
                    </a:cubicBezTo>
                    <a:cubicBezTo>
                      <a:pt x="19228" y="6191"/>
                      <a:pt x="16059" y="1287"/>
                      <a:pt x="11095" y="210"/>
                    </a:cubicBezTo>
                    <a:close/>
                  </a:path>
                </a:pathLst>
              </a:custGeom>
              <a:grpFill/>
              <a:ln w="5978" cap="flat">
                <a:noFill/>
                <a:prstDash val="solid"/>
                <a:miter/>
              </a:ln>
            </p:spPr>
            <p:txBody>
              <a:bodyPr rtlCol="0" anchor="ctr"/>
              <a:lstStyle/>
              <a:p>
                <a:endParaRPr lang="en-GB"/>
              </a:p>
            </p:txBody>
          </p:sp>
        </p:grpSp>
        <p:grpSp>
          <p:nvGrpSpPr>
            <p:cNvPr id="261" name="Graphic 3">
              <a:extLst>
                <a:ext uri="{FF2B5EF4-FFF2-40B4-BE49-F238E27FC236}">
                  <a16:creationId xmlns:a16="http://schemas.microsoft.com/office/drawing/2014/main" id="{50E86060-671D-4BA6-8423-6143590B0169}"/>
                </a:ext>
              </a:extLst>
            </p:cNvPr>
            <p:cNvGrpSpPr/>
            <p:nvPr/>
          </p:nvGrpSpPr>
          <p:grpSpPr>
            <a:xfrm>
              <a:off x="7783991" y="3819671"/>
              <a:ext cx="177919" cy="56233"/>
              <a:chOff x="7783991" y="3819671"/>
              <a:chExt cx="177919" cy="56233"/>
            </a:xfrm>
            <a:grpFill/>
          </p:grpSpPr>
          <p:sp>
            <p:nvSpPr>
              <p:cNvPr id="4596" name="Vrije vorm: vorm 4595">
                <a:extLst>
                  <a:ext uri="{FF2B5EF4-FFF2-40B4-BE49-F238E27FC236}">
                    <a16:creationId xmlns:a16="http://schemas.microsoft.com/office/drawing/2014/main" id="{F418E6D9-F620-4E17-AD20-547FA9AAC67D}"/>
                  </a:ext>
                </a:extLst>
              </p:cNvPr>
              <p:cNvSpPr/>
              <p:nvPr/>
            </p:nvSpPr>
            <p:spPr>
              <a:xfrm>
                <a:off x="7792422" y="3827283"/>
                <a:ext cx="161121" cy="41028"/>
              </a:xfrm>
              <a:custGeom>
                <a:avLst/>
                <a:gdLst>
                  <a:gd name="connsiteX0" fmla="*/ 161121 w 161121"/>
                  <a:gd name="connsiteY0" fmla="*/ 38038 h 41028"/>
                  <a:gd name="connsiteX1" fmla="*/ 160403 w 161121"/>
                  <a:gd name="connsiteY1" fmla="*/ 41028 h 41028"/>
                  <a:gd name="connsiteX2" fmla="*/ 0 w 161121"/>
                  <a:gd name="connsiteY2" fmla="*/ 2990 h 41028"/>
                  <a:gd name="connsiteX3" fmla="*/ 658 w 161121"/>
                  <a:gd name="connsiteY3" fmla="*/ 0 h 41028"/>
                </a:gdLst>
                <a:ahLst/>
                <a:cxnLst>
                  <a:cxn ang="0">
                    <a:pos x="connsiteX0" y="connsiteY0"/>
                  </a:cxn>
                  <a:cxn ang="0">
                    <a:pos x="connsiteX1" y="connsiteY1"/>
                  </a:cxn>
                  <a:cxn ang="0">
                    <a:pos x="connsiteX2" y="connsiteY2"/>
                  </a:cxn>
                  <a:cxn ang="0">
                    <a:pos x="connsiteX3" y="connsiteY3"/>
                  </a:cxn>
                </a:cxnLst>
                <a:rect l="l" t="t" r="r" b="b"/>
                <a:pathLst>
                  <a:path w="161121" h="41028">
                    <a:moveTo>
                      <a:pt x="161121" y="38038"/>
                    </a:moveTo>
                    <a:lnTo>
                      <a:pt x="160403" y="41028"/>
                    </a:lnTo>
                    <a:lnTo>
                      <a:pt x="0" y="2990"/>
                    </a:lnTo>
                    <a:lnTo>
                      <a:pt x="658" y="0"/>
                    </a:lnTo>
                    <a:close/>
                  </a:path>
                </a:pathLst>
              </a:custGeom>
              <a:grpFill/>
              <a:ln w="5978" cap="flat">
                <a:noFill/>
                <a:prstDash val="solid"/>
                <a:miter/>
              </a:ln>
            </p:spPr>
            <p:txBody>
              <a:bodyPr rtlCol="0" anchor="ctr"/>
              <a:lstStyle/>
              <a:p>
                <a:endParaRPr lang="en-GB"/>
              </a:p>
            </p:txBody>
          </p:sp>
          <p:sp>
            <p:nvSpPr>
              <p:cNvPr id="4597" name="Vrije vorm: vorm 4596">
                <a:extLst>
                  <a:ext uri="{FF2B5EF4-FFF2-40B4-BE49-F238E27FC236}">
                    <a16:creationId xmlns:a16="http://schemas.microsoft.com/office/drawing/2014/main" id="{0E58C28F-58AD-4C8C-8AAA-005DFAE1657C}"/>
                  </a:ext>
                </a:extLst>
              </p:cNvPr>
              <p:cNvSpPr/>
              <p:nvPr/>
            </p:nvSpPr>
            <p:spPr>
              <a:xfrm>
                <a:off x="7943560" y="3857488"/>
                <a:ext cx="18350" cy="18416"/>
              </a:xfrm>
              <a:custGeom>
                <a:avLst/>
                <a:gdLst>
                  <a:gd name="connsiteX0" fmla="*/ 11239 w 18350"/>
                  <a:gd name="connsiteY0" fmla="*/ 237 h 18416"/>
                  <a:gd name="connsiteX1" fmla="*/ 18117 w 18350"/>
                  <a:gd name="connsiteY1" fmla="*/ 11302 h 18416"/>
                  <a:gd name="connsiteX2" fmla="*/ 7112 w 18350"/>
                  <a:gd name="connsiteY2" fmla="*/ 18180 h 18416"/>
                  <a:gd name="connsiteX3" fmla="*/ 234 w 18350"/>
                  <a:gd name="connsiteY3" fmla="*/ 7115 h 18416"/>
                  <a:gd name="connsiteX4" fmla="*/ 11239 w 18350"/>
                  <a:gd name="connsiteY4" fmla="*/ 23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6">
                    <a:moveTo>
                      <a:pt x="11239" y="237"/>
                    </a:moveTo>
                    <a:cubicBezTo>
                      <a:pt x="16143" y="1434"/>
                      <a:pt x="19253" y="6397"/>
                      <a:pt x="18117" y="11302"/>
                    </a:cubicBezTo>
                    <a:cubicBezTo>
                      <a:pt x="16980" y="16266"/>
                      <a:pt x="12076" y="19316"/>
                      <a:pt x="7112" y="18180"/>
                    </a:cubicBezTo>
                    <a:cubicBezTo>
                      <a:pt x="2208" y="16983"/>
                      <a:pt x="-902" y="12019"/>
                      <a:pt x="234" y="7115"/>
                    </a:cubicBezTo>
                    <a:cubicBezTo>
                      <a:pt x="1370" y="2151"/>
                      <a:pt x="6335" y="-899"/>
                      <a:pt x="11239" y="237"/>
                    </a:cubicBezTo>
                    <a:close/>
                  </a:path>
                </a:pathLst>
              </a:custGeom>
              <a:grpFill/>
              <a:ln w="5978" cap="flat">
                <a:noFill/>
                <a:prstDash val="solid"/>
                <a:miter/>
              </a:ln>
            </p:spPr>
            <p:txBody>
              <a:bodyPr rtlCol="0" anchor="ctr"/>
              <a:lstStyle/>
              <a:p>
                <a:endParaRPr lang="en-GB"/>
              </a:p>
            </p:txBody>
          </p:sp>
          <p:sp>
            <p:nvSpPr>
              <p:cNvPr id="4598" name="Vrije vorm: vorm 4597">
                <a:extLst>
                  <a:ext uri="{FF2B5EF4-FFF2-40B4-BE49-F238E27FC236}">
                    <a16:creationId xmlns:a16="http://schemas.microsoft.com/office/drawing/2014/main" id="{4638BB30-1E7C-438C-8F16-A9D31C1C6EA8}"/>
                  </a:ext>
                </a:extLst>
              </p:cNvPr>
              <p:cNvSpPr/>
              <p:nvPr/>
            </p:nvSpPr>
            <p:spPr>
              <a:xfrm>
                <a:off x="7783991" y="3819671"/>
                <a:ext cx="18356" cy="18435"/>
              </a:xfrm>
              <a:custGeom>
                <a:avLst/>
                <a:gdLst>
                  <a:gd name="connsiteX0" fmla="*/ 11242 w 18356"/>
                  <a:gd name="connsiteY0" fmla="*/ 256 h 18435"/>
                  <a:gd name="connsiteX1" fmla="*/ 237 w 18356"/>
                  <a:gd name="connsiteY1" fmla="*/ 7134 h 18435"/>
                  <a:gd name="connsiteX2" fmla="*/ 7115 w 18356"/>
                  <a:gd name="connsiteY2" fmla="*/ 18198 h 18435"/>
                  <a:gd name="connsiteX3" fmla="*/ 18120 w 18356"/>
                  <a:gd name="connsiteY3" fmla="*/ 11320 h 18435"/>
                  <a:gd name="connsiteX4" fmla="*/ 11242 w 18356"/>
                  <a:gd name="connsiteY4" fmla="*/ 25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5">
                    <a:moveTo>
                      <a:pt x="11242" y="256"/>
                    </a:moveTo>
                    <a:cubicBezTo>
                      <a:pt x="6338" y="-940"/>
                      <a:pt x="1374" y="2170"/>
                      <a:pt x="237" y="7134"/>
                    </a:cubicBezTo>
                    <a:cubicBezTo>
                      <a:pt x="-899" y="12098"/>
                      <a:pt x="2151" y="17062"/>
                      <a:pt x="7115" y="18198"/>
                    </a:cubicBezTo>
                    <a:cubicBezTo>
                      <a:pt x="12079" y="19335"/>
                      <a:pt x="16984" y="16284"/>
                      <a:pt x="18120" y="11320"/>
                    </a:cubicBezTo>
                    <a:cubicBezTo>
                      <a:pt x="19256" y="6417"/>
                      <a:pt x="16206" y="1452"/>
                      <a:pt x="11242" y="256"/>
                    </a:cubicBezTo>
                    <a:close/>
                  </a:path>
                </a:pathLst>
              </a:custGeom>
              <a:grpFill/>
              <a:ln w="5978" cap="flat">
                <a:noFill/>
                <a:prstDash val="solid"/>
                <a:miter/>
              </a:ln>
            </p:spPr>
            <p:txBody>
              <a:bodyPr rtlCol="0" anchor="ctr"/>
              <a:lstStyle/>
              <a:p>
                <a:endParaRPr lang="en-GB"/>
              </a:p>
            </p:txBody>
          </p:sp>
        </p:grpSp>
        <p:grpSp>
          <p:nvGrpSpPr>
            <p:cNvPr id="262" name="Graphic 3">
              <a:extLst>
                <a:ext uri="{FF2B5EF4-FFF2-40B4-BE49-F238E27FC236}">
                  <a16:creationId xmlns:a16="http://schemas.microsoft.com/office/drawing/2014/main" id="{B8192317-AB4B-45ED-8C45-E3087F8D0245}"/>
                </a:ext>
              </a:extLst>
            </p:cNvPr>
            <p:cNvGrpSpPr/>
            <p:nvPr/>
          </p:nvGrpSpPr>
          <p:grpSpPr>
            <a:xfrm>
              <a:off x="7016834" y="1410216"/>
              <a:ext cx="70885" cy="121026"/>
              <a:chOff x="7016834" y="1410216"/>
              <a:chExt cx="70885" cy="121026"/>
            </a:xfrm>
            <a:grpFill/>
          </p:grpSpPr>
          <p:sp>
            <p:nvSpPr>
              <p:cNvPr id="4593" name="Vrije vorm: vorm 4592">
                <a:extLst>
                  <a:ext uri="{FF2B5EF4-FFF2-40B4-BE49-F238E27FC236}">
                    <a16:creationId xmlns:a16="http://schemas.microsoft.com/office/drawing/2014/main" id="{4C027B43-17AA-4D68-B15D-C7FD5AFD0D8B}"/>
                  </a:ext>
                </a:extLst>
              </p:cNvPr>
              <p:cNvSpPr/>
              <p:nvPr/>
            </p:nvSpPr>
            <p:spPr>
              <a:xfrm>
                <a:off x="7024438" y="1418308"/>
                <a:ext cx="55680" cy="104782"/>
              </a:xfrm>
              <a:custGeom>
                <a:avLst/>
                <a:gdLst>
                  <a:gd name="connsiteX0" fmla="*/ 55680 w 55680"/>
                  <a:gd name="connsiteY0" fmla="*/ 1376 h 104782"/>
                  <a:gd name="connsiteX1" fmla="*/ 2691 w 55680"/>
                  <a:gd name="connsiteY1" fmla="*/ 104782 h 104782"/>
                  <a:gd name="connsiteX2" fmla="*/ 0 w 55680"/>
                  <a:gd name="connsiteY2" fmla="*/ 103407 h 104782"/>
                  <a:gd name="connsiteX3" fmla="*/ 52989 w 55680"/>
                  <a:gd name="connsiteY3" fmla="*/ 0 h 104782"/>
                </a:gdLst>
                <a:ahLst/>
                <a:cxnLst>
                  <a:cxn ang="0">
                    <a:pos x="connsiteX0" y="connsiteY0"/>
                  </a:cxn>
                  <a:cxn ang="0">
                    <a:pos x="connsiteX1" y="connsiteY1"/>
                  </a:cxn>
                  <a:cxn ang="0">
                    <a:pos x="connsiteX2" y="connsiteY2"/>
                  </a:cxn>
                  <a:cxn ang="0">
                    <a:pos x="connsiteX3" y="connsiteY3"/>
                  </a:cxn>
                </a:cxnLst>
                <a:rect l="l" t="t" r="r" b="b"/>
                <a:pathLst>
                  <a:path w="55680" h="104782">
                    <a:moveTo>
                      <a:pt x="55680" y="1376"/>
                    </a:moveTo>
                    <a:lnTo>
                      <a:pt x="2691" y="104782"/>
                    </a:lnTo>
                    <a:lnTo>
                      <a:pt x="0" y="103407"/>
                    </a:lnTo>
                    <a:lnTo>
                      <a:pt x="52989" y="0"/>
                    </a:lnTo>
                    <a:close/>
                  </a:path>
                </a:pathLst>
              </a:custGeom>
              <a:grpFill/>
              <a:ln w="5978" cap="flat">
                <a:noFill/>
                <a:prstDash val="solid"/>
                <a:miter/>
              </a:ln>
            </p:spPr>
            <p:txBody>
              <a:bodyPr rtlCol="0" anchor="ctr"/>
              <a:lstStyle/>
              <a:p>
                <a:endParaRPr lang="en-GB"/>
              </a:p>
            </p:txBody>
          </p:sp>
          <p:sp>
            <p:nvSpPr>
              <p:cNvPr id="4594" name="Vrije vorm: vorm 4593">
                <a:extLst>
                  <a:ext uri="{FF2B5EF4-FFF2-40B4-BE49-F238E27FC236}">
                    <a16:creationId xmlns:a16="http://schemas.microsoft.com/office/drawing/2014/main" id="{2EB1947E-BBDE-438C-8AD2-39842FE24966}"/>
                  </a:ext>
                </a:extLst>
              </p:cNvPr>
              <p:cNvSpPr/>
              <p:nvPr/>
            </p:nvSpPr>
            <p:spPr>
              <a:xfrm>
                <a:off x="7069405" y="1410216"/>
                <a:ext cx="18315" cy="18457"/>
              </a:xfrm>
              <a:custGeom>
                <a:avLst/>
                <a:gdLst>
                  <a:gd name="connsiteX0" fmla="*/ 1024 w 18315"/>
                  <a:gd name="connsiteY0" fmla="*/ 4982 h 18457"/>
                  <a:gd name="connsiteX1" fmla="*/ 13344 w 18315"/>
                  <a:gd name="connsiteY1" fmla="*/ 1035 h 18457"/>
                  <a:gd name="connsiteX2" fmla="*/ 17291 w 18315"/>
                  <a:gd name="connsiteY2" fmla="*/ 13475 h 18457"/>
                  <a:gd name="connsiteX3" fmla="*/ 4971 w 18315"/>
                  <a:gd name="connsiteY3" fmla="*/ 17422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3356" y="437"/>
                      <a:pt x="8859" y="-1297"/>
                      <a:pt x="13344" y="1035"/>
                    </a:cubicBezTo>
                    <a:cubicBezTo>
                      <a:pt x="17830" y="3368"/>
                      <a:pt x="19624" y="8930"/>
                      <a:pt x="17291" y="13475"/>
                    </a:cubicBezTo>
                    <a:cubicBezTo>
                      <a:pt x="14959" y="18020"/>
                      <a:pt x="9457" y="19755"/>
                      <a:pt x="4971" y="17422"/>
                    </a:cubicBezTo>
                    <a:cubicBezTo>
                      <a:pt x="486" y="15030"/>
                      <a:pt x="-1309" y="9468"/>
                      <a:pt x="1024" y="4982"/>
                    </a:cubicBezTo>
                    <a:close/>
                  </a:path>
                </a:pathLst>
              </a:custGeom>
              <a:grpFill/>
              <a:ln w="5978" cap="flat">
                <a:noFill/>
                <a:prstDash val="solid"/>
                <a:miter/>
              </a:ln>
            </p:spPr>
            <p:txBody>
              <a:bodyPr rtlCol="0" anchor="ctr"/>
              <a:lstStyle/>
              <a:p>
                <a:endParaRPr lang="en-GB"/>
              </a:p>
            </p:txBody>
          </p:sp>
          <p:sp>
            <p:nvSpPr>
              <p:cNvPr id="4595" name="Vrije vorm: vorm 4594">
                <a:extLst>
                  <a:ext uri="{FF2B5EF4-FFF2-40B4-BE49-F238E27FC236}">
                    <a16:creationId xmlns:a16="http://schemas.microsoft.com/office/drawing/2014/main" id="{2FB21464-A7E9-4A9C-9B0A-C72A51AF7CB3}"/>
                  </a:ext>
                </a:extLst>
              </p:cNvPr>
              <p:cNvSpPr/>
              <p:nvPr/>
            </p:nvSpPr>
            <p:spPr>
              <a:xfrm>
                <a:off x="7016834" y="1512785"/>
                <a:ext cx="18315" cy="18457"/>
              </a:xfrm>
              <a:custGeom>
                <a:avLst/>
                <a:gdLst>
                  <a:gd name="connsiteX0" fmla="*/ 1024 w 18315"/>
                  <a:gd name="connsiteY0" fmla="*/ 4982 h 18457"/>
                  <a:gd name="connsiteX1" fmla="*/ 4971 w 18315"/>
                  <a:gd name="connsiteY1" fmla="*/ 17422 h 18457"/>
                  <a:gd name="connsiteX2" fmla="*/ 17292 w 18315"/>
                  <a:gd name="connsiteY2" fmla="*/ 13475 h 18457"/>
                  <a:gd name="connsiteX3" fmla="*/ 13344 w 18315"/>
                  <a:gd name="connsiteY3" fmla="*/ 1035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1309" y="9528"/>
                      <a:pt x="486" y="15090"/>
                      <a:pt x="4971" y="17422"/>
                    </a:cubicBezTo>
                    <a:cubicBezTo>
                      <a:pt x="9457" y="19755"/>
                      <a:pt x="15019" y="18020"/>
                      <a:pt x="17292" y="13475"/>
                    </a:cubicBezTo>
                    <a:cubicBezTo>
                      <a:pt x="19624" y="8930"/>
                      <a:pt x="17830" y="3368"/>
                      <a:pt x="13344" y="1035"/>
                    </a:cubicBezTo>
                    <a:cubicBezTo>
                      <a:pt x="8859" y="-1297"/>
                      <a:pt x="3356" y="437"/>
                      <a:pt x="1024" y="4982"/>
                    </a:cubicBezTo>
                    <a:close/>
                  </a:path>
                </a:pathLst>
              </a:custGeom>
              <a:grpFill/>
              <a:ln w="5978" cap="flat">
                <a:noFill/>
                <a:prstDash val="solid"/>
                <a:miter/>
              </a:ln>
            </p:spPr>
            <p:txBody>
              <a:bodyPr rtlCol="0" anchor="ctr"/>
              <a:lstStyle/>
              <a:p>
                <a:endParaRPr lang="en-GB"/>
              </a:p>
            </p:txBody>
          </p:sp>
        </p:grpSp>
        <p:grpSp>
          <p:nvGrpSpPr>
            <p:cNvPr id="263" name="Graphic 3">
              <a:extLst>
                <a:ext uri="{FF2B5EF4-FFF2-40B4-BE49-F238E27FC236}">
                  <a16:creationId xmlns:a16="http://schemas.microsoft.com/office/drawing/2014/main" id="{828D1688-7523-4A8C-8663-F4353FB67669}"/>
                </a:ext>
              </a:extLst>
            </p:cNvPr>
            <p:cNvGrpSpPr/>
            <p:nvPr/>
          </p:nvGrpSpPr>
          <p:grpSpPr>
            <a:xfrm>
              <a:off x="7676019" y="3859800"/>
              <a:ext cx="469397" cy="184063"/>
              <a:chOff x="7676019" y="3859800"/>
              <a:chExt cx="469397" cy="184063"/>
            </a:xfrm>
            <a:grpFill/>
          </p:grpSpPr>
          <p:sp>
            <p:nvSpPr>
              <p:cNvPr id="4590" name="Vrije vorm: vorm 4589">
                <a:extLst>
                  <a:ext uri="{FF2B5EF4-FFF2-40B4-BE49-F238E27FC236}">
                    <a16:creationId xmlns:a16="http://schemas.microsoft.com/office/drawing/2014/main" id="{3B5ADB57-32D5-41A7-AC30-4C11FCD6F0D2}"/>
                  </a:ext>
                </a:extLst>
              </p:cNvPr>
              <p:cNvSpPr/>
              <p:nvPr/>
            </p:nvSpPr>
            <p:spPr>
              <a:xfrm>
                <a:off x="7684231" y="3867474"/>
                <a:ext cx="452979" cy="168775"/>
              </a:xfrm>
              <a:custGeom>
                <a:avLst/>
                <a:gdLst>
                  <a:gd name="connsiteX0" fmla="*/ 452980 w 452979"/>
                  <a:gd name="connsiteY0" fmla="*/ 165905 h 168775"/>
                  <a:gd name="connsiteX1" fmla="*/ 451963 w 452979"/>
                  <a:gd name="connsiteY1" fmla="*/ 168776 h 168775"/>
                  <a:gd name="connsiteX2" fmla="*/ 0 w 452979"/>
                  <a:gd name="connsiteY2" fmla="*/ 2871 h 168775"/>
                  <a:gd name="connsiteX3" fmla="*/ 1017 w 452979"/>
                  <a:gd name="connsiteY3" fmla="*/ 0 h 168775"/>
                </a:gdLst>
                <a:ahLst/>
                <a:cxnLst>
                  <a:cxn ang="0">
                    <a:pos x="connsiteX0" y="connsiteY0"/>
                  </a:cxn>
                  <a:cxn ang="0">
                    <a:pos x="connsiteX1" y="connsiteY1"/>
                  </a:cxn>
                  <a:cxn ang="0">
                    <a:pos x="connsiteX2" y="connsiteY2"/>
                  </a:cxn>
                  <a:cxn ang="0">
                    <a:pos x="connsiteX3" y="connsiteY3"/>
                  </a:cxn>
                </a:cxnLst>
                <a:rect l="l" t="t" r="r" b="b"/>
                <a:pathLst>
                  <a:path w="452979" h="168775">
                    <a:moveTo>
                      <a:pt x="452980" y="165905"/>
                    </a:moveTo>
                    <a:lnTo>
                      <a:pt x="451963" y="168776"/>
                    </a:lnTo>
                    <a:lnTo>
                      <a:pt x="0" y="2871"/>
                    </a:lnTo>
                    <a:lnTo>
                      <a:pt x="1017" y="0"/>
                    </a:lnTo>
                    <a:close/>
                  </a:path>
                </a:pathLst>
              </a:custGeom>
              <a:grpFill/>
              <a:ln w="5978" cap="flat">
                <a:noFill/>
                <a:prstDash val="solid"/>
                <a:miter/>
              </a:ln>
            </p:spPr>
            <p:txBody>
              <a:bodyPr rtlCol="0" anchor="ctr"/>
              <a:lstStyle/>
              <a:p>
                <a:endParaRPr lang="en-GB"/>
              </a:p>
            </p:txBody>
          </p:sp>
          <p:sp>
            <p:nvSpPr>
              <p:cNvPr id="4591" name="Vrije vorm: vorm 4590">
                <a:extLst>
                  <a:ext uri="{FF2B5EF4-FFF2-40B4-BE49-F238E27FC236}">
                    <a16:creationId xmlns:a16="http://schemas.microsoft.com/office/drawing/2014/main" id="{DA1F74D3-8B7D-4DA5-ADDF-201591E467BB}"/>
                  </a:ext>
                </a:extLst>
              </p:cNvPr>
              <p:cNvSpPr/>
              <p:nvPr/>
            </p:nvSpPr>
            <p:spPr>
              <a:xfrm>
                <a:off x="7676019" y="3859800"/>
                <a:ext cx="18331" cy="18457"/>
              </a:xfrm>
              <a:custGeom>
                <a:avLst/>
                <a:gdLst>
                  <a:gd name="connsiteX0" fmla="*/ 6059 w 18331"/>
                  <a:gd name="connsiteY0" fmla="*/ 17900 h 18457"/>
                  <a:gd name="connsiteX1" fmla="*/ 556 w 18331"/>
                  <a:gd name="connsiteY1" fmla="*/ 6059 h 18457"/>
                  <a:gd name="connsiteX2" fmla="*/ 12279 w 18331"/>
                  <a:gd name="connsiteY2" fmla="*/ 557 h 18457"/>
                  <a:gd name="connsiteX3" fmla="*/ 17781 w 18331"/>
                  <a:gd name="connsiteY3" fmla="*/ 12398 h 18457"/>
                  <a:gd name="connsiteX4" fmla="*/ 6059 w 18331"/>
                  <a:gd name="connsiteY4" fmla="*/ 1790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57">
                    <a:moveTo>
                      <a:pt x="6059" y="17900"/>
                    </a:moveTo>
                    <a:cubicBezTo>
                      <a:pt x="1274" y="16166"/>
                      <a:pt x="-1177" y="10843"/>
                      <a:pt x="556" y="6059"/>
                    </a:cubicBezTo>
                    <a:cubicBezTo>
                      <a:pt x="2291" y="1274"/>
                      <a:pt x="7554" y="-1178"/>
                      <a:pt x="12279" y="557"/>
                    </a:cubicBezTo>
                    <a:cubicBezTo>
                      <a:pt x="17003" y="2291"/>
                      <a:pt x="19516" y="7614"/>
                      <a:pt x="17781" y="12398"/>
                    </a:cubicBezTo>
                    <a:cubicBezTo>
                      <a:pt x="16046" y="17183"/>
                      <a:pt x="10784" y="19635"/>
                      <a:pt x="6059" y="17900"/>
                    </a:cubicBezTo>
                    <a:close/>
                  </a:path>
                </a:pathLst>
              </a:custGeom>
              <a:grpFill/>
              <a:ln w="5978" cap="flat">
                <a:noFill/>
                <a:prstDash val="solid"/>
                <a:miter/>
              </a:ln>
            </p:spPr>
            <p:txBody>
              <a:bodyPr rtlCol="0" anchor="ctr"/>
              <a:lstStyle/>
              <a:p>
                <a:endParaRPr lang="en-GB"/>
              </a:p>
            </p:txBody>
          </p:sp>
          <p:sp>
            <p:nvSpPr>
              <p:cNvPr id="4592" name="Vrije vorm: vorm 4591">
                <a:extLst>
                  <a:ext uri="{FF2B5EF4-FFF2-40B4-BE49-F238E27FC236}">
                    <a16:creationId xmlns:a16="http://schemas.microsoft.com/office/drawing/2014/main" id="{3ED724F5-FF4B-4C1A-B2BF-51BB44AA3FFE}"/>
                  </a:ext>
                </a:extLst>
              </p:cNvPr>
              <p:cNvSpPr/>
              <p:nvPr/>
            </p:nvSpPr>
            <p:spPr>
              <a:xfrm>
                <a:off x="8127091" y="4025406"/>
                <a:ext cx="18324" cy="18457"/>
              </a:xfrm>
              <a:custGeom>
                <a:avLst/>
                <a:gdLst>
                  <a:gd name="connsiteX0" fmla="*/ 6052 w 18324"/>
                  <a:gd name="connsiteY0" fmla="*/ 17901 h 18457"/>
                  <a:gd name="connsiteX1" fmla="*/ 17775 w 18324"/>
                  <a:gd name="connsiteY1" fmla="*/ 12398 h 18457"/>
                  <a:gd name="connsiteX2" fmla="*/ 12272 w 18324"/>
                  <a:gd name="connsiteY2" fmla="*/ 557 h 18457"/>
                  <a:gd name="connsiteX3" fmla="*/ 550 w 18324"/>
                  <a:gd name="connsiteY3" fmla="*/ 6059 h 18457"/>
                  <a:gd name="connsiteX4" fmla="*/ 6052 w 18324"/>
                  <a:gd name="connsiteY4" fmla="*/ 17901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7">
                    <a:moveTo>
                      <a:pt x="6052" y="17901"/>
                    </a:moveTo>
                    <a:cubicBezTo>
                      <a:pt x="10837" y="19635"/>
                      <a:pt x="16040" y="17183"/>
                      <a:pt x="17775" y="12398"/>
                    </a:cubicBezTo>
                    <a:cubicBezTo>
                      <a:pt x="19509" y="7614"/>
                      <a:pt x="16997" y="2351"/>
                      <a:pt x="12272" y="557"/>
                    </a:cubicBezTo>
                    <a:cubicBezTo>
                      <a:pt x="7488" y="-1178"/>
                      <a:pt x="2285" y="1274"/>
                      <a:pt x="550" y="6059"/>
                    </a:cubicBezTo>
                    <a:cubicBezTo>
                      <a:pt x="-1185" y="10843"/>
                      <a:pt x="1328" y="16166"/>
                      <a:pt x="6052" y="17901"/>
                    </a:cubicBezTo>
                    <a:close/>
                  </a:path>
                </a:pathLst>
              </a:custGeom>
              <a:grpFill/>
              <a:ln w="5978" cap="flat">
                <a:noFill/>
                <a:prstDash val="solid"/>
                <a:miter/>
              </a:ln>
            </p:spPr>
            <p:txBody>
              <a:bodyPr rtlCol="0" anchor="ctr"/>
              <a:lstStyle/>
              <a:p>
                <a:endParaRPr lang="en-GB"/>
              </a:p>
            </p:txBody>
          </p:sp>
        </p:grpSp>
        <p:grpSp>
          <p:nvGrpSpPr>
            <p:cNvPr id="264" name="Graphic 3">
              <a:extLst>
                <a:ext uri="{FF2B5EF4-FFF2-40B4-BE49-F238E27FC236}">
                  <a16:creationId xmlns:a16="http://schemas.microsoft.com/office/drawing/2014/main" id="{BB4B1F4C-4775-465B-BC53-FF9E785EF48F}"/>
                </a:ext>
              </a:extLst>
            </p:cNvPr>
            <p:cNvGrpSpPr/>
            <p:nvPr/>
          </p:nvGrpSpPr>
          <p:grpSpPr>
            <a:xfrm>
              <a:off x="7718518" y="3578493"/>
              <a:ext cx="69639" cy="23658"/>
              <a:chOff x="7718518" y="3578493"/>
              <a:chExt cx="69639" cy="23658"/>
            </a:xfrm>
            <a:grpFill/>
          </p:grpSpPr>
          <p:sp>
            <p:nvSpPr>
              <p:cNvPr id="4587" name="Vrije vorm: vorm 4586">
                <a:extLst>
                  <a:ext uri="{FF2B5EF4-FFF2-40B4-BE49-F238E27FC236}">
                    <a16:creationId xmlns:a16="http://schemas.microsoft.com/office/drawing/2014/main" id="{88459B85-7523-4F13-B674-66811E78A088}"/>
                  </a:ext>
                </a:extLst>
              </p:cNvPr>
              <p:cNvSpPr/>
              <p:nvPr/>
            </p:nvSpPr>
            <p:spPr>
              <a:xfrm>
                <a:off x="7727053" y="3586140"/>
                <a:ext cx="52510" cy="8372"/>
              </a:xfrm>
              <a:custGeom>
                <a:avLst/>
                <a:gdLst>
                  <a:gd name="connsiteX0" fmla="*/ 52510 w 52510"/>
                  <a:gd name="connsiteY0" fmla="*/ 5323 h 8372"/>
                  <a:gd name="connsiteX1" fmla="*/ 52212 w 52510"/>
                  <a:gd name="connsiteY1" fmla="*/ 8373 h 8372"/>
                  <a:gd name="connsiteX2" fmla="*/ 0 w 52510"/>
                  <a:gd name="connsiteY2" fmla="*/ 3050 h 8372"/>
                  <a:gd name="connsiteX3" fmla="*/ 299 w 52510"/>
                  <a:gd name="connsiteY3" fmla="*/ 0 h 8372"/>
                </a:gdLst>
                <a:ahLst/>
                <a:cxnLst>
                  <a:cxn ang="0">
                    <a:pos x="connsiteX0" y="connsiteY0"/>
                  </a:cxn>
                  <a:cxn ang="0">
                    <a:pos x="connsiteX1" y="connsiteY1"/>
                  </a:cxn>
                  <a:cxn ang="0">
                    <a:pos x="connsiteX2" y="connsiteY2"/>
                  </a:cxn>
                  <a:cxn ang="0">
                    <a:pos x="connsiteX3" y="connsiteY3"/>
                  </a:cxn>
                </a:cxnLst>
                <a:rect l="l" t="t" r="r" b="b"/>
                <a:pathLst>
                  <a:path w="52510" h="8372">
                    <a:moveTo>
                      <a:pt x="52510" y="5323"/>
                    </a:moveTo>
                    <a:lnTo>
                      <a:pt x="52212" y="8373"/>
                    </a:lnTo>
                    <a:lnTo>
                      <a:pt x="0" y="3050"/>
                    </a:lnTo>
                    <a:lnTo>
                      <a:pt x="299" y="0"/>
                    </a:lnTo>
                    <a:close/>
                  </a:path>
                </a:pathLst>
              </a:custGeom>
              <a:grpFill/>
              <a:ln w="5978" cap="flat">
                <a:noFill/>
                <a:prstDash val="solid"/>
                <a:miter/>
              </a:ln>
            </p:spPr>
            <p:txBody>
              <a:bodyPr rtlCol="0" anchor="ctr"/>
              <a:lstStyle/>
              <a:p>
                <a:endParaRPr lang="en-GB"/>
              </a:p>
            </p:txBody>
          </p:sp>
          <p:sp>
            <p:nvSpPr>
              <p:cNvPr id="4588" name="Vrije vorm: vorm 4587">
                <a:extLst>
                  <a:ext uri="{FF2B5EF4-FFF2-40B4-BE49-F238E27FC236}">
                    <a16:creationId xmlns:a16="http://schemas.microsoft.com/office/drawing/2014/main" id="{C8DE9C35-65D8-4556-A962-5F18FACC82AD}"/>
                  </a:ext>
                </a:extLst>
              </p:cNvPr>
              <p:cNvSpPr/>
              <p:nvPr/>
            </p:nvSpPr>
            <p:spPr>
              <a:xfrm>
                <a:off x="7769833" y="3583706"/>
                <a:ext cx="18324" cy="18445"/>
              </a:xfrm>
              <a:custGeom>
                <a:avLst/>
                <a:gdLst>
                  <a:gd name="connsiteX0" fmla="*/ 10030 w 18324"/>
                  <a:gd name="connsiteY0" fmla="*/ 42 h 18445"/>
                  <a:gd name="connsiteX1" fmla="*/ 18283 w 18324"/>
                  <a:gd name="connsiteY1" fmla="*/ 10150 h 18445"/>
                  <a:gd name="connsiteX2" fmla="*/ 8295 w 18324"/>
                  <a:gd name="connsiteY2" fmla="*/ 18403 h 18445"/>
                  <a:gd name="connsiteX3" fmla="*/ 42 w 18324"/>
                  <a:gd name="connsiteY3" fmla="*/ 8296 h 18445"/>
                  <a:gd name="connsiteX4" fmla="*/ 10030 w 18324"/>
                  <a:gd name="connsiteY4" fmla="*/ 42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5">
                    <a:moveTo>
                      <a:pt x="10030" y="42"/>
                    </a:moveTo>
                    <a:cubicBezTo>
                      <a:pt x="15053" y="580"/>
                      <a:pt x="18761" y="5066"/>
                      <a:pt x="18283" y="10150"/>
                    </a:cubicBezTo>
                    <a:cubicBezTo>
                      <a:pt x="17805" y="15233"/>
                      <a:pt x="13319" y="18881"/>
                      <a:pt x="8295" y="18403"/>
                    </a:cubicBezTo>
                    <a:cubicBezTo>
                      <a:pt x="3271" y="17865"/>
                      <a:pt x="-437" y="13379"/>
                      <a:pt x="42" y="8296"/>
                    </a:cubicBezTo>
                    <a:cubicBezTo>
                      <a:pt x="461" y="3212"/>
                      <a:pt x="4946" y="-436"/>
                      <a:pt x="10030" y="42"/>
                    </a:cubicBezTo>
                    <a:close/>
                  </a:path>
                </a:pathLst>
              </a:custGeom>
              <a:grpFill/>
              <a:ln w="5978" cap="flat">
                <a:noFill/>
                <a:prstDash val="solid"/>
                <a:miter/>
              </a:ln>
            </p:spPr>
            <p:txBody>
              <a:bodyPr rtlCol="0" anchor="ctr"/>
              <a:lstStyle/>
              <a:p>
                <a:endParaRPr lang="en-GB"/>
              </a:p>
            </p:txBody>
          </p:sp>
          <p:sp>
            <p:nvSpPr>
              <p:cNvPr id="4589" name="Vrije vorm: vorm 4588">
                <a:extLst>
                  <a:ext uri="{FF2B5EF4-FFF2-40B4-BE49-F238E27FC236}">
                    <a16:creationId xmlns:a16="http://schemas.microsoft.com/office/drawing/2014/main" id="{20349F1F-D6BB-4533-B99B-C453DF29FC8C}"/>
                  </a:ext>
                </a:extLst>
              </p:cNvPr>
              <p:cNvSpPr/>
              <p:nvPr/>
            </p:nvSpPr>
            <p:spPr>
              <a:xfrm>
                <a:off x="7718518" y="3578493"/>
                <a:ext cx="18325" cy="18464"/>
              </a:xfrm>
              <a:custGeom>
                <a:avLst/>
                <a:gdLst>
                  <a:gd name="connsiteX0" fmla="*/ 10030 w 18325"/>
                  <a:gd name="connsiteY0" fmla="*/ 52 h 18464"/>
                  <a:gd name="connsiteX1" fmla="*/ 42 w 18325"/>
                  <a:gd name="connsiteY1" fmla="*/ 8305 h 18464"/>
                  <a:gd name="connsiteX2" fmla="*/ 8296 w 18325"/>
                  <a:gd name="connsiteY2" fmla="*/ 18413 h 18464"/>
                  <a:gd name="connsiteX3" fmla="*/ 18284 w 18325"/>
                  <a:gd name="connsiteY3" fmla="*/ 10159 h 18464"/>
                  <a:gd name="connsiteX4" fmla="*/ 10030 w 18325"/>
                  <a:gd name="connsiteY4" fmla="*/ 5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4">
                    <a:moveTo>
                      <a:pt x="10030" y="52"/>
                    </a:moveTo>
                    <a:cubicBezTo>
                      <a:pt x="5006" y="-486"/>
                      <a:pt x="520" y="3222"/>
                      <a:pt x="42" y="8305"/>
                    </a:cubicBezTo>
                    <a:cubicBezTo>
                      <a:pt x="-436" y="13389"/>
                      <a:pt x="3212" y="17874"/>
                      <a:pt x="8296" y="18413"/>
                    </a:cubicBezTo>
                    <a:cubicBezTo>
                      <a:pt x="13319" y="18951"/>
                      <a:pt x="17805" y="15243"/>
                      <a:pt x="18284" y="10159"/>
                    </a:cubicBezTo>
                    <a:cubicBezTo>
                      <a:pt x="18762" y="5076"/>
                      <a:pt x="15054" y="530"/>
                      <a:pt x="10030" y="52"/>
                    </a:cubicBezTo>
                    <a:close/>
                  </a:path>
                </a:pathLst>
              </a:custGeom>
              <a:grpFill/>
              <a:ln w="5978" cap="flat">
                <a:noFill/>
                <a:prstDash val="solid"/>
                <a:miter/>
              </a:ln>
            </p:spPr>
            <p:txBody>
              <a:bodyPr rtlCol="0" anchor="ctr"/>
              <a:lstStyle/>
              <a:p>
                <a:endParaRPr lang="en-GB"/>
              </a:p>
            </p:txBody>
          </p:sp>
        </p:grpSp>
        <p:grpSp>
          <p:nvGrpSpPr>
            <p:cNvPr id="265" name="Graphic 3">
              <a:extLst>
                <a:ext uri="{FF2B5EF4-FFF2-40B4-BE49-F238E27FC236}">
                  <a16:creationId xmlns:a16="http://schemas.microsoft.com/office/drawing/2014/main" id="{F2440FB2-C912-45D8-9A94-5B66C808DDC9}"/>
                </a:ext>
              </a:extLst>
            </p:cNvPr>
            <p:cNvGrpSpPr/>
            <p:nvPr/>
          </p:nvGrpSpPr>
          <p:grpSpPr>
            <a:xfrm>
              <a:off x="7719844" y="3546995"/>
              <a:ext cx="68295" cy="22610"/>
              <a:chOff x="7719844" y="3546995"/>
              <a:chExt cx="68295" cy="22610"/>
            </a:xfrm>
            <a:grpFill/>
          </p:grpSpPr>
          <p:sp>
            <p:nvSpPr>
              <p:cNvPr id="4584" name="Vrije vorm: vorm 4583">
                <a:extLst>
                  <a:ext uri="{FF2B5EF4-FFF2-40B4-BE49-F238E27FC236}">
                    <a16:creationId xmlns:a16="http://schemas.microsoft.com/office/drawing/2014/main" id="{74C72550-9217-41C5-9D3D-731BD5C11BFC}"/>
                  </a:ext>
                </a:extLst>
              </p:cNvPr>
              <p:cNvSpPr/>
              <p:nvPr/>
            </p:nvSpPr>
            <p:spPr>
              <a:xfrm>
                <a:off x="7728488" y="3554682"/>
                <a:ext cx="51015" cy="7236"/>
              </a:xfrm>
              <a:custGeom>
                <a:avLst/>
                <a:gdLst>
                  <a:gd name="connsiteX0" fmla="*/ 51016 w 51015"/>
                  <a:gd name="connsiteY0" fmla="*/ 4187 h 7236"/>
                  <a:gd name="connsiteX1" fmla="*/ 50776 w 51015"/>
                  <a:gd name="connsiteY1" fmla="*/ 7237 h 7236"/>
                  <a:gd name="connsiteX2" fmla="*/ 0 w 51015"/>
                  <a:gd name="connsiteY2" fmla="*/ 3050 h 7236"/>
                  <a:gd name="connsiteX3" fmla="*/ 239 w 51015"/>
                  <a:gd name="connsiteY3" fmla="*/ 0 h 7236"/>
                </a:gdLst>
                <a:ahLst/>
                <a:cxnLst>
                  <a:cxn ang="0">
                    <a:pos x="connsiteX0" y="connsiteY0"/>
                  </a:cxn>
                  <a:cxn ang="0">
                    <a:pos x="connsiteX1" y="connsiteY1"/>
                  </a:cxn>
                  <a:cxn ang="0">
                    <a:pos x="connsiteX2" y="connsiteY2"/>
                  </a:cxn>
                  <a:cxn ang="0">
                    <a:pos x="connsiteX3" y="connsiteY3"/>
                  </a:cxn>
                </a:cxnLst>
                <a:rect l="l" t="t" r="r" b="b"/>
                <a:pathLst>
                  <a:path w="51015" h="7236">
                    <a:moveTo>
                      <a:pt x="51016" y="4187"/>
                    </a:moveTo>
                    <a:lnTo>
                      <a:pt x="50776" y="7237"/>
                    </a:lnTo>
                    <a:lnTo>
                      <a:pt x="0" y="3050"/>
                    </a:lnTo>
                    <a:lnTo>
                      <a:pt x="239" y="0"/>
                    </a:lnTo>
                    <a:close/>
                  </a:path>
                </a:pathLst>
              </a:custGeom>
              <a:grpFill/>
              <a:ln w="5978" cap="flat">
                <a:noFill/>
                <a:prstDash val="solid"/>
                <a:miter/>
              </a:ln>
            </p:spPr>
            <p:txBody>
              <a:bodyPr rtlCol="0" anchor="ctr"/>
              <a:lstStyle/>
              <a:p>
                <a:endParaRPr lang="en-GB"/>
              </a:p>
            </p:txBody>
          </p:sp>
          <p:sp>
            <p:nvSpPr>
              <p:cNvPr id="4585" name="Vrije vorm: vorm 4584">
                <a:extLst>
                  <a:ext uri="{FF2B5EF4-FFF2-40B4-BE49-F238E27FC236}">
                    <a16:creationId xmlns:a16="http://schemas.microsoft.com/office/drawing/2014/main" id="{ED7A5840-8E59-493A-AC7C-F583813BA41B}"/>
                  </a:ext>
                </a:extLst>
              </p:cNvPr>
              <p:cNvSpPr/>
              <p:nvPr/>
            </p:nvSpPr>
            <p:spPr>
              <a:xfrm>
                <a:off x="7769791" y="3551181"/>
                <a:ext cx="18348" cy="18424"/>
              </a:xfrm>
              <a:custGeom>
                <a:avLst/>
                <a:gdLst>
                  <a:gd name="connsiteX0" fmla="*/ 9892 w 18348"/>
                  <a:gd name="connsiteY0" fmla="*/ 32 h 18424"/>
                  <a:gd name="connsiteX1" fmla="*/ 18325 w 18348"/>
                  <a:gd name="connsiteY1" fmla="*/ 9960 h 18424"/>
                  <a:gd name="connsiteX2" fmla="*/ 8457 w 18348"/>
                  <a:gd name="connsiteY2" fmla="*/ 18393 h 18424"/>
                  <a:gd name="connsiteX3" fmla="*/ 24 w 18348"/>
                  <a:gd name="connsiteY3" fmla="*/ 8465 h 18424"/>
                  <a:gd name="connsiteX4" fmla="*/ 9892 w 18348"/>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4">
                    <a:moveTo>
                      <a:pt x="9892" y="32"/>
                    </a:moveTo>
                    <a:cubicBezTo>
                      <a:pt x="14916" y="450"/>
                      <a:pt x="18684" y="4876"/>
                      <a:pt x="18325" y="9960"/>
                    </a:cubicBezTo>
                    <a:cubicBezTo>
                      <a:pt x="17907" y="15043"/>
                      <a:pt x="13540" y="18811"/>
                      <a:pt x="8457" y="18393"/>
                    </a:cubicBezTo>
                    <a:cubicBezTo>
                      <a:pt x="3433" y="17974"/>
                      <a:pt x="-335" y="13548"/>
                      <a:pt x="24" y="8465"/>
                    </a:cubicBezTo>
                    <a:cubicBezTo>
                      <a:pt x="383" y="3381"/>
                      <a:pt x="4808" y="-387"/>
                      <a:pt x="9892" y="32"/>
                    </a:cubicBezTo>
                    <a:close/>
                  </a:path>
                </a:pathLst>
              </a:custGeom>
              <a:grpFill/>
              <a:ln w="5978" cap="flat">
                <a:noFill/>
                <a:prstDash val="solid"/>
                <a:miter/>
              </a:ln>
            </p:spPr>
            <p:txBody>
              <a:bodyPr rtlCol="0" anchor="ctr"/>
              <a:lstStyle/>
              <a:p>
                <a:endParaRPr lang="en-GB"/>
              </a:p>
            </p:txBody>
          </p:sp>
          <p:sp>
            <p:nvSpPr>
              <p:cNvPr id="4586" name="Vrije vorm: vorm 4585">
                <a:extLst>
                  <a:ext uri="{FF2B5EF4-FFF2-40B4-BE49-F238E27FC236}">
                    <a16:creationId xmlns:a16="http://schemas.microsoft.com/office/drawing/2014/main" id="{AAFDC974-C129-4087-8DEE-910C54DD6193}"/>
                  </a:ext>
                </a:extLst>
              </p:cNvPr>
              <p:cNvSpPr/>
              <p:nvPr/>
            </p:nvSpPr>
            <p:spPr>
              <a:xfrm>
                <a:off x="7719844" y="3546995"/>
                <a:ext cx="18364" cy="18424"/>
              </a:xfrm>
              <a:custGeom>
                <a:avLst/>
                <a:gdLst>
                  <a:gd name="connsiteX0" fmla="*/ 9900 w 18364"/>
                  <a:gd name="connsiteY0" fmla="*/ 32 h 18424"/>
                  <a:gd name="connsiteX1" fmla="*/ 32 w 18364"/>
                  <a:gd name="connsiteY1" fmla="*/ 8465 h 18424"/>
                  <a:gd name="connsiteX2" fmla="*/ 8465 w 18364"/>
                  <a:gd name="connsiteY2" fmla="*/ 18393 h 18424"/>
                  <a:gd name="connsiteX3" fmla="*/ 18333 w 18364"/>
                  <a:gd name="connsiteY3" fmla="*/ 9960 h 18424"/>
                  <a:gd name="connsiteX4" fmla="*/ 9900 w 18364"/>
                  <a:gd name="connsiteY4" fmla="*/ 3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9900" y="32"/>
                    </a:moveTo>
                    <a:cubicBezTo>
                      <a:pt x="4876" y="-387"/>
                      <a:pt x="451" y="3381"/>
                      <a:pt x="32" y="8465"/>
                    </a:cubicBezTo>
                    <a:cubicBezTo>
                      <a:pt x="-387" y="13548"/>
                      <a:pt x="3381" y="17974"/>
                      <a:pt x="8465" y="18393"/>
                    </a:cubicBezTo>
                    <a:cubicBezTo>
                      <a:pt x="13488" y="18811"/>
                      <a:pt x="17914" y="15043"/>
                      <a:pt x="18333" y="9960"/>
                    </a:cubicBezTo>
                    <a:cubicBezTo>
                      <a:pt x="18751" y="4936"/>
                      <a:pt x="14924" y="450"/>
                      <a:pt x="9900" y="32"/>
                    </a:cubicBezTo>
                    <a:close/>
                  </a:path>
                </a:pathLst>
              </a:custGeom>
              <a:grpFill/>
              <a:ln w="5978" cap="flat">
                <a:noFill/>
                <a:prstDash val="solid"/>
                <a:miter/>
              </a:ln>
            </p:spPr>
            <p:txBody>
              <a:bodyPr rtlCol="0" anchor="ctr"/>
              <a:lstStyle/>
              <a:p>
                <a:endParaRPr lang="en-GB"/>
              </a:p>
            </p:txBody>
          </p:sp>
        </p:grpSp>
        <p:grpSp>
          <p:nvGrpSpPr>
            <p:cNvPr id="266" name="Graphic 3">
              <a:extLst>
                <a:ext uri="{FF2B5EF4-FFF2-40B4-BE49-F238E27FC236}">
                  <a16:creationId xmlns:a16="http://schemas.microsoft.com/office/drawing/2014/main" id="{4EDFEEF1-E830-4607-84CD-E7677BC4C99B}"/>
                </a:ext>
              </a:extLst>
            </p:cNvPr>
            <p:cNvGrpSpPr/>
            <p:nvPr/>
          </p:nvGrpSpPr>
          <p:grpSpPr>
            <a:xfrm>
              <a:off x="7696463" y="3735445"/>
              <a:ext cx="276790" cy="104633"/>
              <a:chOff x="7696463" y="3735445"/>
              <a:chExt cx="276790" cy="104633"/>
            </a:xfrm>
            <a:grpFill/>
          </p:grpSpPr>
          <p:sp>
            <p:nvSpPr>
              <p:cNvPr id="4581" name="Vrije vorm: vorm 4580">
                <a:extLst>
                  <a:ext uri="{FF2B5EF4-FFF2-40B4-BE49-F238E27FC236}">
                    <a16:creationId xmlns:a16="http://schemas.microsoft.com/office/drawing/2014/main" id="{E00EB2D2-7563-4F4E-A05E-155985E1E491}"/>
                  </a:ext>
                </a:extLst>
              </p:cNvPr>
              <p:cNvSpPr/>
              <p:nvPr/>
            </p:nvSpPr>
            <p:spPr>
              <a:xfrm>
                <a:off x="7704745" y="3743075"/>
                <a:ext cx="260280" cy="89352"/>
              </a:xfrm>
              <a:custGeom>
                <a:avLst/>
                <a:gdLst>
                  <a:gd name="connsiteX0" fmla="*/ 260280 w 260280"/>
                  <a:gd name="connsiteY0" fmla="*/ 86481 h 89352"/>
                  <a:gd name="connsiteX1" fmla="*/ 259324 w 260280"/>
                  <a:gd name="connsiteY1" fmla="*/ 89352 h 89352"/>
                  <a:gd name="connsiteX2" fmla="*/ 0 w 260280"/>
                  <a:gd name="connsiteY2" fmla="*/ 2931 h 89352"/>
                  <a:gd name="connsiteX3" fmla="*/ 956 w 260280"/>
                  <a:gd name="connsiteY3" fmla="*/ 0 h 89352"/>
                </a:gdLst>
                <a:ahLst/>
                <a:cxnLst>
                  <a:cxn ang="0">
                    <a:pos x="connsiteX0" y="connsiteY0"/>
                  </a:cxn>
                  <a:cxn ang="0">
                    <a:pos x="connsiteX1" y="connsiteY1"/>
                  </a:cxn>
                  <a:cxn ang="0">
                    <a:pos x="connsiteX2" y="connsiteY2"/>
                  </a:cxn>
                  <a:cxn ang="0">
                    <a:pos x="connsiteX3" y="connsiteY3"/>
                  </a:cxn>
                </a:cxnLst>
                <a:rect l="l" t="t" r="r" b="b"/>
                <a:pathLst>
                  <a:path w="260280" h="89352">
                    <a:moveTo>
                      <a:pt x="260280" y="86481"/>
                    </a:moveTo>
                    <a:lnTo>
                      <a:pt x="259324" y="89352"/>
                    </a:lnTo>
                    <a:lnTo>
                      <a:pt x="0" y="2931"/>
                    </a:lnTo>
                    <a:lnTo>
                      <a:pt x="956" y="0"/>
                    </a:lnTo>
                    <a:close/>
                  </a:path>
                </a:pathLst>
              </a:custGeom>
              <a:grpFill/>
              <a:ln w="5978" cap="flat">
                <a:noFill/>
                <a:prstDash val="solid"/>
                <a:miter/>
              </a:ln>
            </p:spPr>
            <p:txBody>
              <a:bodyPr rtlCol="0" anchor="ctr"/>
              <a:lstStyle/>
              <a:p>
                <a:endParaRPr lang="en-GB"/>
              </a:p>
            </p:txBody>
          </p:sp>
          <p:sp>
            <p:nvSpPr>
              <p:cNvPr id="4582" name="Vrije vorm: vorm 4581">
                <a:extLst>
                  <a:ext uri="{FF2B5EF4-FFF2-40B4-BE49-F238E27FC236}">
                    <a16:creationId xmlns:a16="http://schemas.microsoft.com/office/drawing/2014/main" id="{13AC1638-626C-48FD-B419-EB340D6B375F}"/>
                  </a:ext>
                </a:extLst>
              </p:cNvPr>
              <p:cNvSpPr/>
              <p:nvPr/>
            </p:nvSpPr>
            <p:spPr>
              <a:xfrm>
                <a:off x="7696463" y="3735445"/>
                <a:ext cx="18298" cy="18451"/>
              </a:xfrm>
              <a:custGeom>
                <a:avLst/>
                <a:gdLst>
                  <a:gd name="connsiteX0" fmla="*/ 6308 w 18298"/>
                  <a:gd name="connsiteY0" fmla="*/ 17976 h 18451"/>
                  <a:gd name="connsiteX1" fmla="*/ 447 w 18298"/>
                  <a:gd name="connsiteY1" fmla="*/ 6314 h 18451"/>
                  <a:gd name="connsiteX2" fmla="*/ 11990 w 18298"/>
                  <a:gd name="connsiteY2" fmla="*/ 453 h 18451"/>
                  <a:gd name="connsiteX3" fmla="*/ 17851 w 18298"/>
                  <a:gd name="connsiteY3" fmla="*/ 12115 h 18451"/>
                  <a:gd name="connsiteX4" fmla="*/ 6308 w 18298"/>
                  <a:gd name="connsiteY4" fmla="*/ 17976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1">
                    <a:moveTo>
                      <a:pt x="6308" y="17976"/>
                    </a:moveTo>
                    <a:cubicBezTo>
                      <a:pt x="1524" y="16361"/>
                      <a:pt x="-1108" y="11158"/>
                      <a:pt x="447" y="6314"/>
                    </a:cubicBezTo>
                    <a:cubicBezTo>
                      <a:pt x="2002" y="1469"/>
                      <a:pt x="7205" y="-1102"/>
                      <a:pt x="11990" y="453"/>
                    </a:cubicBezTo>
                    <a:cubicBezTo>
                      <a:pt x="16774" y="2067"/>
                      <a:pt x="19406" y="7271"/>
                      <a:pt x="17851" y="12115"/>
                    </a:cubicBezTo>
                    <a:cubicBezTo>
                      <a:pt x="16296" y="16959"/>
                      <a:pt x="11153" y="19591"/>
                      <a:pt x="6308" y="17976"/>
                    </a:cubicBezTo>
                    <a:close/>
                  </a:path>
                </a:pathLst>
              </a:custGeom>
              <a:grpFill/>
              <a:ln w="5978" cap="flat">
                <a:noFill/>
                <a:prstDash val="solid"/>
                <a:miter/>
              </a:ln>
            </p:spPr>
            <p:txBody>
              <a:bodyPr rtlCol="0" anchor="ctr"/>
              <a:lstStyle/>
              <a:p>
                <a:endParaRPr lang="en-GB"/>
              </a:p>
            </p:txBody>
          </p:sp>
          <p:sp>
            <p:nvSpPr>
              <p:cNvPr id="4583" name="Vrije vorm: vorm 4582">
                <a:extLst>
                  <a:ext uri="{FF2B5EF4-FFF2-40B4-BE49-F238E27FC236}">
                    <a16:creationId xmlns:a16="http://schemas.microsoft.com/office/drawing/2014/main" id="{91A03A8F-0A92-49A2-BF2F-82168A7FE5FA}"/>
                  </a:ext>
                </a:extLst>
              </p:cNvPr>
              <p:cNvSpPr/>
              <p:nvPr/>
            </p:nvSpPr>
            <p:spPr>
              <a:xfrm>
                <a:off x="7954949" y="3821604"/>
                <a:ext cx="18303" cy="18474"/>
              </a:xfrm>
              <a:custGeom>
                <a:avLst/>
                <a:gdLst>
                  <a:gd name="connsiteX0" fmla="*/ 6308 w 18303"/>
                  <a:gd name="connsiteY0" fmla="*/ 17999 h 18474"/>
                  <a:gd name="connsiteX1" fmla="*/ 17851 w 18303"/>
                  <a:gd name="connsiteY1" fmla="*/ 12138 h 18474"/>
                  <a:gd name="connsiteX2" fmla="*/ 11990 w 18303"/>
                  <a:gd name="connsiteY2" fmla="*/ 475 h 18474"/>
                  <a:gd name="connsiteX3" fmla="*/ 447 w 18303"/>
                  <a:gd name="connsiteY3" fmla="*/ 6337 h 18474"/>
                  <a:gd name="connsiteX4" fmla="*/ 6308 w 18303"/>
                  <a:gd name="connsiteY4" fmla="*/ 17999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74">
                    <a:moveTo>
                      <a:pt x="6308" y="17999"/>
                    </a:moveTo>
                    <a:cubicBezTo>
                      <a:pt x="11093" y="19614"/>
                      <a:pt x="16296" y="16982"/>
                      <a:pt x="17851" y="12138"/>
                    </a:cubicBezTo>
                    <a:cubicBezTo>
                      <a:pt x="19406" y="7294"/>
                      <a:pt x="16834" y="2090"/>
                      <a:pt x="11990" y="475"/>
                    </a:cubicBezTo>
                    <a:cubicBezTo>
                      <a:pt x="7205" y="-1139"/>
                      <a:pt x="2002" y="1492"/>
                      <a:pt x="447" y="6337"/>
                    </a:cubicBezTo>
                    <a:cubicBezTo>
                      <a:pt x="-1108" y="11181"/>
                      <a:pt x="1524" y="16384"/>
                      <a:pt x="6308" y="17999"/>
                    </a:cubicBezTo>
                    <a:close/>
                  </a:path>
                </a:pathLst>
              </a:custGeom>
              <a:grpFill/>
              <a:ln w="5978" cap="flat">
                <a:noFill/>
                <a:prstDash val="solid"/>
                <a:miter/>
              </a:ln>
            </p:spPr>
            <p:txBody>
              <a:bodyPr rtlCol="0" anchor="ctr"/>
              <a:lstStyle/>
              <a:p>
                <a:endParaRPr lang="en-GB"/>
              </a:p>
            </p:txBody>
          </p:sp>
        </p:grpSp>
        <p:grpSp>
          <p:nvGrpSpPr>
            <p:cNvPr id="267" name="Graphic 3">
              <a:extLst>
                <a:ext uri="{FF2B5EF4-FFF2-40B4-BE49-F238E27FC236}">
                  <a16:creationId xmlns:a16="http://schemas.microsoft.com/office/drawing/2014/main" id="{879B1E09-13A0-45C3-80DD-C2AC6C63E5A2}"/>
                </a:ext>
              </a:extLst>
            </p:cNvPr>
            <p:cNvGrpSpPr/>
            <p:nvPr/>
          </p:nvGrpSpPr>
          <p:grpSpPr>
            <a:xfrm>
              <a:off x="6979996" y="1419485"/>
              <a:ext cx="247763" cy="410496"/>
              <a:chOff x="6979996" y="1419485"/>
              <a:chExt cx="247763" cy="410496"/>
            </a:xfrm>
            <a:grpFill/>
          </p:grpSpPr>
          <p:sp>
            <p:nvSpPr>
              <p:cNvPr id="4578" name="Vrije vorm: vorm 4577">
                <a:extLst>
                  <a:ext uri="{FF2B5EF4-FFF2-40B4-BE49-F238E27FC236}">
                    <a16:creationId xmlns:a16="http://schemas.microsoft.com/office/drawing/2014/main" id="{5AF6E95E-C9C1-47A4-B523-53E345623220}"/>
                  </a:ext>
                </a:extLst>
              </p:cNvPr>
              <p:cNvSpPr/>
              <p:nvPr/>
            </p:nvSpPr>
            <p:spPr>
              <a:xfrm>
                <a:off x="6987656" y="1427519"/>
                <a:ext cx="232470" cy="394428"/>
              </a:xfrm>
              <a:custGeom>
                <a:avLst/>
                <a:gdLst>
                  <a:gd name="connsiteX0" fmla="*/ 232471 w 232470"/>
                  <a:gd name="connsiteY0" fmla="*/ 1555 h 394428"/>
                  <a:gd name="connsiteX1" fmla="*/ 2571 w 232470"/>
                  <a:gd name="connsiteY1" fmla="*/ 394429 h 394428"/>
                  <a:gd name="connsiteX2" fmla="*/ 0 w 232470"/>
                  <a:gd name="connsiteY2" fmla="*/ 392874 h 394428"/>
                  <a:gd name="connsiteX3" fmla="*/ 229899 w 232470"/>
                  <a:gd name="connsiteY3" fmla="*/ 0 h 394428"/>
                </a:gdLst>
                <a:ahLst/>
                <a:cxnLst>
                  <a:cxn ang="0">
                    <a:pos x="connsiteX0" y="connsiteY0"/>
                  </a:cxn>
                  <a:cxn ang="0">
                    <a:pos x="connsiteX1" y="connsiteY1"/>
                  </a:cxn>
                  <a:cxn ang="0">
                    <a:pos x="connsiteX2" y="connsiteY2"/>
                  </a:cxn>
                  <a:cxn ang="0">
                    <a:pos x="connsiteX3" y="connsiteY3"/>
                  </a:cxn>
                </a:cxnLst>
                <a:rect l="l" t="t" r="r" b="b"/>
                <a:pathLst>
                  <a:path w="232470" h="394428">
                    <a:moveTo>
                      <a:pt x="232471" y="1555"/>
                    </a:moveTo>
                    <a:lnTo>
                      <a:pt x="2571" y="394429"/>
                    </a:lnTo>
                    <a:lnTo>
                      <a:pt x="0" y="392874"/>
                    </a:lnTo>
                    <a:lnTo>
                      <a:pt x="229899" y="0"/>
                    </a:lnTo>
                    <a:close/>
                  </a:path>
                </a:pathLst>
              </a:custGeom>
              <a:grpFill/>
              <a:ln w="5978" cap="flat">
                <a:noFill/>
                <a:prstDash val="solid"/>
                <a:miter/>
              </a:ln>
            </p:spPr>
            <p:txBody>
              <a:bodyPr rtlCol="0" anchor="ctr"/>
              <a:lstStyle/>
              <a:p>
                <a:endParaRPr lang="en-GB"/>
              </a:p>
            </p:txBody>
          </p:sp>
          <p:sp>
            <p:nvSpPr>
              <p:cNvPr id="4579" name="Vrije vorm: vorm 4578">
                <a:extLst>
                  <a:ext uri="{FF2B5EF4-FFF2-40B4-BE49-F238E27FC236}">
                    <a16:creationId xmlns:a16="http://schemas.microsoft.com/office/drawing/2014/main" id="{A2B1CE47-E63D-46DB-894A-9CCC8151188B}"/>
                  </a:ext>
                </a:extLst>
              </p:cNvPr>
              <p:cNvSpPr/>
              <p:nvPr/>
            </p:nvSpPr>
            <p:spPr>
              <a:xfrm>
                <a:off x="7209443" y="1419485"/>
                <a:ext cx="18316" cy="18400"/>
              </a:xfrm>
              <a:custGeom>
                <a:avLst/>
                <a:gdLst>
                  <a:gd name="connsiteX0" fmla="*/ 1234 w 18316"/>
                  <a:gd name="connsiteY0" fmla="*/ 4506 h 18400"/>
                  <a:gd name="connsiteX1" fmla="*/ 13794 w 18316"/>
                  <a:gd name="connsiteY1" fmla="*/ 1276 h 18400"/>
                  <a:gd name="connsiteX2" fmla="*/ 17083 w 18316"/>
                  <a:gd name="connsiteY2" fmla="*/ 13895 h 18400"/>
                  <a:gd name="connsiteX3" fmla="*/ 4523 w 18316"/>
                  <a:gd name="connsiteY3" fmla="*/ 17125 h 18400"/>
                  <a:gd name="connsiteX4" fmla="*/ 1234 w 18316"/>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0">
                    <a:moveTo>
                      <a:pt x="1234" y="4506"/>
                    </a:moveTo>
                    <a:cubicBezTo>
                      <a:pt x="3806" y="140"/>
                      <a:pt x="9427" y="-1296"/>
                      <a:pt x="13794" y="1276"/>
                    </a:cubicBezTo>
                    <a:cubicBezTo>
                      <a:pt x="18159" y="3848"/>
                      <a:pt x="19595" y="9529"/>
                      <a:pt x="17083" y="13895"/>
                    </a:cubicBezTo>
                    <a:cubicBezTo>
                      <a:pt x="14511" y="18261"/>
                      <a:pt x="8889" y="19697"/>
                      <a:pt x="4523" y="17125"/>
                    </a:cubicBezTo>
                    <a:cubicBezTo>
                      <a:pt x="157" y="14553"/>
                      <a:pt x="-1278" y="8871"/>
                      <a:pt x="1234" y="4506"/>
                    </a:cubicBezTo>
                    <a:close/>
                  </a:path>
                </a:pathLst>
              </a:custGeom>
              <a:grpFill/>
              <a:ln w="5978" cap="flat">
                <a:noFill/>
                <a:prstDash val="solid"/>
                <a:miter/>
              </a:ln>
            </p:spPr>
            <p:txBody>
              <a:bodyPr rtlCol="0" anchor="ctr"/>
              <a:lstStyle/>
              <a:p>
                <a:endParaRPr lang="en-GB"/>
              </a:p>
            </p:txBody>
          </p:sp>
          <p:sp>
            <p:nvSpPr>
              <p:cNvPr id="4580" name="Vrije vorm: vorm 4579">
                <a:extLst>
                  <a:ext uri="{FF2B5EF4-FFF2-40B4-BE49-F238E27FC236}">
                    <a16:creationId xmlns:a16="http://schemas.microsoft.com/office/drawing/2014/main" id="{6B62DF1B-AAAB-45B0-B6B3-168D8504C83B}"/>
                  </a:ext>
                </a:extLst>
              </p:cNvPr>
              <p:cNvSpPr/>
              <p:nvPr/>
            </p:nvSpPr>
            <p:spPr>
              <a:xfrm>
                <a:off x="6979996" y="1811581"/>
                <a:ext cx="18369" cy="18400"/>
              </a:xfrm>
              <a:custGeom>
                <a:avLst/>
                <a:gdLst>
                  <a:gd name="connsiteX0" fmla="*/ 1260 w 18369"/>
                  <a:gd name="connsiteY0" fmla="*/ 4506 h 18400"/>
                  <a:gd name="connsiteX1" fmla="*/ 4550 w 18369"/>
                  <a:gd name="connsiteY1" fmla="*/ 17125 h 18400"/>
                  <a:gd name="connsiteX2" fmla="*/ 17109 w 18369"/>
                  <a:gd name="connsiteY2" fmla="*/ 13895 h 18400"/>
                  <a:gd name="connsiteX3" fmla="*/ 13819 w 18369"/>
                  <a:gd name="connsiteY3" fmla="*/ 1276 h 18400"/>
                  <a:gd name="connsiteX4" fmla="*/ 1260 w 18369"/>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260" y="4506"/>
                    </a:moveTo>
                    <a:cubicBezTo>
                      <a:pt x="-1311" y="8872"/>
                      <a:pt x="184" y="14553"/>
                      <a:pt x="4550" y="17125"/>
                    </a:cubicBezTo>
                    <a:cubicBezTo>
                      <a:pt x="8916" y="19697"/>
                      <a:pt x="14538" y="18261"/>
                      <a:pt x="17109" y="13895"/>
                    </a:cubicBezTo>
                    <a:cubicBezTo>
                      <a:pt x="19681" y="9529"/>
                      <a:pt x="18186" y="3848"/>
                      <a:pt x="13819" y="1276"/>
                    </a:cubicBezTo>
                    <a:cubicBezTo>
                      <a:pt x="9454" y="-1296"/>
                      <a:pt x="3832" y="140"/>
                      <a:pt x="1260" y="4506"/>
                    </a:cubicBezTo>
                    <a:close/>
                  </a:path>
                </a:pathLst>
              </a:custGeom>
              <a:grpFill/>
              <a:ln w="5978" cap="flat">
                <a:noFill/>
                <a:prstDash val="solid"/>
                <a:miter/>
              </a:ln>
            </p:spPr>
            <p:txBody>
              <a:bodyPr rtlCol="0" anchor="ctr"/>
              <a:lstStyle/>
              <a:p>
                <a:endParaRPr lang="en-GB"/>
              </a:p>
            </p:txBody>
          </p:sp>
        </p:grpSp>
        <p:grpSp>
          <p:nvGrpSpPr>
            <p:cNvPr id="268" name="Graphic 3">
              <a:extLst>
                <a:ext uri="{FF2B5EF4-FFF2-40B4-BE49-F238E27FC236}">
                  <a16:creationId xmlns:a16="http://schemas.microsoft.com/office/drawing/2014/main" id="{E26DC650-F85E-4DE0-B27F-78DA91DF19EF}"/>
                </a:ext>
              </a:extLst>
            </p:cNvPr>
            <p:cNvGrpSpPr/>
            <p:nvPr/>
          </p:nvGrpSpPr>
          <p:grpSpPr>
            <a:xfrm>
              <a:off x="7710615" y="3672810"/>
              <a:ext cx="129702" cy="36105"/>
              <a:chOff x="7710615" y="3672810"/>
              <a:chExt cx="129702" cy="36105"/>
            </a:xfrm>
            <a:grpFill/>
          </p:grpSpPr>
          <p:sp>
            <p:nvSpPr>
              <p:cNvPr id="4575" name="Vrije vorm: vorm 4574">
                <a:extLst>
                  <a:ext uri="{FF2B5EF4-FFF2-40B4-BE49-F238E27FC236}">
                    <a16:creationId xmlns:a16="http://schemas.microsoft.com/office/drawing/2014/main" id="{33664E67-26F7-448F-884D-8CB8586115C6}"/>
                  </a:ext>
                </a:extLst>
              </p:cNvPr>
              <p:cNvSpPr/>
              <p:nvPr/>
            </p:nvSpPr>
            <p:spPr>
              <a:xfrm>
                <a:off x="7719098" y="3680397"/>
                <a:ext cx="112737" cy="20932"/>
              </a:xfrm>
              <a:custGeom>
                <a:avLst/>
                <a:gdLst>
                  <a:gd name="connsiteX0" fmla="*/ 112737 w 112737"/>
                  <a:gd name="connsiteY0" fmla="*/ 17882 h 20932"/>
                  <a:gd name="connsiteX1" fmla="*/ 112258 w 112737"/>
                  <a:gd name="connsiteY1" fmla="*/ 20933 h 20932"/>
                  <a:gd name="connsiteX2" fmla="*/ 0 w 112737"/>
                  <a:gd name="connsiteY2" fmla="*/ 3050 h 20932"/>
                  <a:gd name="connsiteX3" fmla="*/ 479 w 112737"/>
                  <a:gd name="connsiteY3" fmla="*/ 0 h 20932"/>
                </a:gdLst>
                <a:ahLst/>
                <a:cxnLst>
                  <a:cxn ang="0">
                    <a:pos x="connsiteX0" y="connsiteY0"/>
                  </a:cxn>
                  <a:cxn ang="0">
                    <a:pos x="connsiteX1" y="connsiteY1"/>
                  </a:cxn>
                  <a:cxn ang="0">
                    <a:pos x="connsiteX2" y="connsiteY2"/>
                  </a:cxn>
                  <a:cxn ang="0">
                    <a:pos x="connsiteX3" y="connsiteY3"/>
                  </a:cxn>
                </a:cxnLst>
                <a:rect l="l" t="t" r="r" b="b"/>
                <a:pathLst>
                  <a:path w="112737" h="20932">
                    <a:moveTo>
                      <a:pt x="112737" y="17882"/>
                    </a:moveTo>
                    <a:lnTo>
                      <a:pt x="112258" y="20933"/>
                    </a:lnTo>
                    <a:lnTo>
                      <a:pt x="0" y="3050"/>
                    </a:lnTo>
                    <a:lnTo>
                      <a:pt x="479" y="0"/>
                    </a:lnTo>
                    <a:close/>
                  </a:path>
                </a:pathLst>
              </a:custGeom>
              <a:grpFill/>
              <a:ln w="5978" cap="flat">
                <a:noFill/>
                <a:prstDash val="solid"/>
                <a:miter/>
              </a:ln>
            </p:spPr>
            <p:txBody>
              <a:bodyPr rtlCol="0" anchor="ctr"/>
              <a:lstStyle/>
              <a:p>
                <a:endParaRPr lang="en-GB"/>
              </a:p>
            </p:txBody>
          </p:sp>
          <p:sp>
            <p:nvSpPr>
              <p:cNvPr id="4576" name="Vrije vorm: vorm 4575">
                <a:extLst>
                  <a:ext uri="{FF2B5EF4-FFF2-40B4-BE49-F238E27FC236}">
                    <a16:creationId xmlns:a16="http://schemas.microsoft.com/office/drawing/2014/main" id="{7909699D-4052-4B25-91F3-6CF8EF6E6795}"/>
                  </a:ext>
                </a:extLst>
              </p:cNvPr>
              <p:cNvSpPr/>
              <p:nvPr/>
            </p:nvSpPr>
            <p:spPr>
              <a:xfrm>
                <a:off x="7821976" y="3690513"/>
                <a:ext cx="18341" cy="18402"/>
              </a:xfrm>
              <a:custGeom>
                <a:avLst/>
                <a:gdLst>
                  <a:gd name="connsiteX0" fmla="*/ 10577 w 18341"/>
                  <a:gd name="connsiteY0" fmla="*/ 110 h 18402"/>
                  <a:gd name="connsiteX1" fmla="*/ 18231 w 18341"/>
                  <a:gd name="connsiteY1" fmla="*/ 10637 h 18402"/>
                  <a:gd name="connsiteX2" fmla="*/ 7765 w 18341"/>
                  <a:gd name="connsiteY2" fmla="*/ 18292 h 18402"/>
                  <a:gd name="connsiteX3" fmla="*/ 110 w 18341"/>
                  <a:gd name="connsiteY3" fmla="*/ 7766 h 18402"/>
                  <a:gd name="connsiteX4" fmla="*/ 10577 w 18341"/>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2">
                    <a:moveTo>
                      <a:pt x="10577" y="110"/>
                    </a:moveTo>
                    <a:cubicBezTo>
                      <a:pt x="15600" y="888"/>
                      <a:pt x="19009" y="5613"/>
                      <a:pt x="18231" y="10637"/>
                    </a:cubicBezTo>
                    <a:cubicBezTo>
                      <a:pt x="17454" y="15660"/>
                      <a:pt x="12790" y="19069"/>
                      <a:pt x="7765" y="18292"/>
                    </a:cubicBezTo>
                    <a:cubicBezTo>
                      <a:pt x="2742" y="17514"/>
                      <a:pt x="-667" y="12790"/>
                      <a:pt x="110" y="7766"/>
                    </a:cubicBezTo>
                    <a:cubicBezTo>
                      <a:pt x="888" y="2742"/>
                      <a:pt x="5552" y="-667"/>
                      <a:pt x="10577" y="110"/>
                    </a:cubicBezTo>
                    <a:close/>
                  </a:path>
                </a:pathLst>
              </a:custGeom>
              <a:grpFill/>
              <a:ln w="5978" cap="flat">
                <a:noFill/>
                <a:prstDash val="solid"/>
                <a:miter/>
              </a:ln>
            </p:spPr>
            <p:txBody>
              <a:bodyPr rtlCol="0" anchor="ctr"/>
              <a:lstStyle/>
              <a:p>
                <a:endParaRPr lang="en-GB"/>
              </a:p>
            </p:txBody>
          </p:sp>
          <p:sp>
            <p:nvSpPr>
              <p:cNvPr id="4577" name="Vrije vorm: vorm 4576">
                <a:extLst>
                  <a:ext uri="{FF2B5EF4-FFF2-40B4-BE49-F238E27FC236}">
                    <a16:creationId xmlns:a16="http://schemas.microsoft.com/office/drawing/2014/main" id="{181E27C0-37B0-44E5-844A-CC63589231B1}"/>
                  </a:ext>
                </a:extLst>
              </p:cNvPr>
              <p:cNvSpPr/>
              <p:nvPr/>
            </p:nvSpPr>
            <p:spPr>
              <a:xfrm>
                <a:off x="7710615" y="3672810"/>
                <a:ext cx="18341" cy="18402"/>
              </a:xfrm>
              <a:custGeom>
                <a:avLst/>
                <a:gdLst>
                  <a:gd name="connsiteX0" fmla="*/ 10577 w 18341"/>
                  <a:gd name="connsiteY0" fmla="*/ 110 h 18402"/>
                  <a:gd name="connsiteX1" fmla="*/ 110 w 18341"/>
                  <a:gd name="connsiteY1" fmla="*/ 7766 h 18402"/>
                  <a:gd name="connsiteX2" fmla="*/ 7765 w 18341"/>
                  <a:gd name="connsiteY2" fmla="*/ 18292 h 18402"/>
                  <a:gd name="connsiteX3" fmla="*/ 18231 w 18341"/>
                  <a:gd name="connsiteY3" fmla="*/ 10636 h 18402"/>
                  <a:gd name="connsiteX4" fmla="*/ 10577 w 18341"/>
                  <a:gd name="connsiteY4" fmla="*/ 11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2">
                    <a:moveTo>
                      <a:pt x="10577" y="110"/>
                    </a:moveTo>
                    <a:cubicBezTo>
                      <a:pt x="5552" y="-667"/>
                      <a:pt x="887" y="2742"/>
                      <a:pt x="110" y="7766"/>
                    </a:cubicBezTo>
                    <a:cubicBezTo>
                      <a:pt x="-667" y="12790"/>
                      <a:pt x="2742" y="17514"/>
                      <a:pt x="7765" y="18292"/>
                    </a:cubicBezTo>
                    <a:cubicBezTo>
                      <a:pt x="12790" y="19069"/>
                      <a:pt x="17454" y="15660"/>
                      <a:pt x="18231" y="10636"/>
                    </a:cubicBezTo>
                    <a:cubicBezTo>
                      <a:pt x="19009" y="5613"/>
                      <a:pt x="15600" y="888"/>
                      <a:pt x="10577" y="110"/>
                    </a:cubicBezTo>
                    <a:close/>
                  </a:path>
                </a:pathLst>
              </a:custGeom>
              <a:grpFill/>
              <a:ln w="5978" cap="flat">
                <a:noFill/>
                <a:prstDash val="solid"/>
                <a:miter/>
              </a:ln>
            </p:spPr>
            <p:txBody>
              <a:bodyPr rtlCol="0" anchor="ctr"/>
              <a:lstStyle/>
              <a:p>
                <a:endParaRPr lang="en-GB"/>
              </a:p>
            </p:txBody>
          </p:sp>
        </p:grpSp>
        <p:grpSp>
          <p:nvGrpSpPr>
            <p:cNvPr id="269" name="Graphic 3">
              <a:extLst>
                <a:ext uri="{FF2B5EF4-FFF2-40B4-BE49-F238E27FC236}">
                  <a16:creationId xmlns:a16="http://schemas.microsoft.com/office/drawing/2014/main" id="{FD81AF6D-A2DE-489A-AD36-2AF787988C01}"/>
                </a:ext>
              </a:extLst>
            </p:cNvPr>
            <p:cNvGrpSpPr/>
            <p:nvPr/>
          </p:nvGrpSpPr>
          <p:grpSpPr>
            <a:xfrm>
              <a:off x="7685200" y="3765252"/>
              <a:ext cx="258342" cy="105223"/>
              <a:chOff x="7685200" y="3765252"/>
              <a:chExt cx="258342" cy="105223"/>
            </a:xfrm>
            <a:grpFill/>
          </p:grpSpPr>
          <p:sp>
            <p:nvSpPr>
              <p:cNvPr id="4572" name="Vrije vorm: vorm 4571">
                <a:extLst>
                  <a:ext uri="{FF2B5EF4-FFF2-40B4-BE49-F238E27FC236}">
                    <a16:creationId xmlns:a16="http://schemas.microsoft.com/office/drawing/2014/main" id="{27349C36-A48E-4ECC-B8E8-A43FBF2735DB}"/>
                  </a:ext>
                </a:extLst>
              </p:cNvPr>
              <p:cNvSpPr/>
              <p:nvPr/>
            </p:nvSpPr>
            <p:spPr>
              <a:xfrm>
                <a:off x="7693441" y="3772918"/>
                <a:ext cx="241860" cy="89949"/>
              </a:xfrm>
              <a:custGeom>
                <a:avLst/>
                <a:gdLst>
                  <a:gd name="connsiteX0" fmla="*/ 241860 w 241860"/>
                  <a:gd name="connsiteY0" fmla="*/ 87079 h 89949"/>
                  <a:gd name="connsiteX1" fmla="*/ 240843 w 241860"/>
                  <a:gd name="connsiteY1" fmla="*/ 89950 h 89949"/>
                  <a:gd name="connsiteX2" fmla="*/ 0 w 241860"/>
                  <a:gd name="connsiteY2" fmla="*/ 2871 h 89949"/>
                  <a:gd name="connsiteX3" fmla="*/ 1016 w 241860"/>
                  <a:gd name="connsiteY3" fmla="*/ 0 h 89949"/>
                </a:gdLst>
                <a:ahLst/>
                <a:cxnLst>
                  <a:cxn ang="0">
                    <a:pos x="connsiteX0" y="connsiteY0"/>
                  </a:cxn>
                  <a:cxn ang="0">
                    <a:pos x="connsiteX1" y="connsiteY1"/>
                  </a:cxn>
                  <a:cxn ang="0">
                    <a:pos x="connsiteX2" y="connsiteY2"/>
                  </a:cxn>
                  <a:cxn ang="0">
                    <a:pos x="connsiteX3" y="connsiteY3"/>
                  </a:cxn>
                </a:cxnLst>
                <a:rect l="l" t="t" r="r" b="b"/>
                <a:pathLst>
                  <a:path w="241860" h="89949">
                    <a:moveTo>
                      <a:pt x="241860" y="87079"/>
                    </a:moveTo>
                    <a:lnTo>
                      <a:pt x="240843" y="89950"/>
                    </a:lnTo>
                    <a:lnTo>
                      <a:pt x="0" y="2871"/>
                    </a:lnTo>
                    <a:lnTo>
                      <a:pt x="1016" y="0"/>
                    </a:lnTo>
                    <a:close/>
                  </a:path>
                </a:pathLst>
              </a:custGeom>
              <a:grpFill/>
              <a:ln w="5978" cap="flat">
                <a:noFill/>
                <a:prstDash val="solid"/>
                <a:miter/>
              </a:ln>
            </p:spPr>
            <p:txBody>
              <a:bodyPr rtlCol="0" anchor="ctr"/>
              <a:lstStyle/>
              <a:p>
                <a:endParaRPr lang="en-GB"/>
              </a:p>
            </p:txBody>
          </p:sp>
          <p:sp>
            <p:nvSpPr>
              <p:cNvPr id="4573" name="Vrije vorm: vorm 4572">
                <a:extLst>
                  <a:ext uri="{FF2B5EF4-FFF2-40B4-BE49-F238E27FC236}">
                    <a16:creationId xmlns:a16="http://schemas.microsoft.com/office/drawing/2014/main" id="{68943318-C0B6-4AD0-9E3A-AAD738F59DC1}"/>
                  </a:ext>
                </a:extLst>
              </p:cNvPr>
              <p:cNvSpPr/>
              <p:nvPr/>
            </p:nvSpPr>
            <p:spPr>
              <a:xfrm>
                <a:off x="7685200" y="3765252"/>
                <a:ext cx="18335" cy="18442"/>
              </a:xfrm>
              <a:custGeom>
                <a:avLst/>
                <a:gdLst>
                  <a:gd name="connsiteX0" fmla="*/ 6088 w 18335"/>
                  <a:gd name="connsiteY0" fmla="*/ 17894 h 18442"/>
                  <a:gd name="connsiteX1" fmla="*/ 526 w 18335"/>
                  <a:gd name="connsiteY1" fmla="*/ 6111 h 18442"/>
                  <a:gd name="connsiteX2" fmla="*/ 12248 w 18335"/>
                  <a:gd name="connsiteY2" fmla="*/ 549 h 18442"/>
                  <a:gd name="connsiteX3" fmla="*/ 17810 w 18335"/>
                  <a:gd name="connsiteY3" fmla="*/ 12331 h 18442"/>
                  <a:gd name="connsiteX4" fmla="*/ 6088 w 18335"/>
                  <a:gd name="connsiteY4" fmla="*/ 1789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2">
                    <a:moveTo>
                      <a:pt x="6088" y="17894"/>
                    </a:moveTo>
                    <a:cubicBezTo>
                      <a:pt x="1303" y="16159"/>
                      <a:pt x="-1149" y="10896"/>
                      <a:pt x="526" y="6111"/>
                    </a:cubicBezTo>
                    <a:cubicBezTo>
                      <a:pt x="2201" y="1327"/>
                      <a:pt x="7464" y="-1185"/>
                      <a:pt x="12248" y="549"/>
                    </a:cubicBezTo>
                    <a:cubicBezTo>
                      <a:pt x="17033" y="2284"/>
                      <a:pt x="19485" y="7547"/>
                      <a:pt x="17810" y="12331"/>
                    </a:cubicBezTo>
                    <a:cubicBezTo>
                      <a:pt x="16135" y="17116"/>
                      <a:pt x="10872" y="19628"/>
                      <a:pt x="6088" y="17894"/>
                    </a:cubicBezTo>
                    <a:close/>
                  </a:path>
                </a:pathLst>
              </a:custGeom>
              <a:grpFill/>
              <a:ln w="5978" cap="flat">
                <a:noFill/>
                <a:prstDash val="solid"/>
                <a:miter/>
              </a:ln>
            </p:spPr>
            <p:txBody>
              <a:bodyPr rtlCol="0" anchor="ctr"/>
              <a:lstStyle/>
              <a:p>
                <a:endParaRPr lang="en-GB"/>
              </a:p>
            </p:txBody>
          </p:sp>
          <p:sp>
            <p:nvSpPr>
              <p:cNvPr id="4574" name="Vrije vorm: vorm 4573">
                <a:extLst>
                  <a:ext uri="{FF2B5EF4-FFF2-40B4-BE49-F238E27FC236}">
                    <a16:creationId xmlns:a16="http://schemas.microsoft.com/office/drawing/2014/main" id="{457CF39D-6826-4ADE-8429-50B68AC450A5}"/>
                  </a:ext>
                </a:extLst>
              </p:cNvPr>
              <p:cNvSpPr/>
              <p:nvPr/>
            </p:nvSpPr>
            <p:spPr>
              <a:xfrm>
                <a:off x="7925206" y="3852032"/>
                <a:ext cx="18335" cy="18442"/>
              </a:xfrm>
              <a:custGeom>
                <a:avLst/>
                <a:gdLst>
                  <a:gd name="connsiteX0" fmla="*/ 6087 w 18335"/>
                  <a:gd name="connsiteY0" fmla="*/ 17893 h 18442"/>
                  <a:gd name="connsiteX1" fmla="*/ 17810 w 18335"/>
                  <a:gd name="connsiteY1" fmla="*/ 12331 h 18442"/>
                  <a:gd name="connsiteX2" fmla="*/ 12248 w 18335"/>
                  <a:gd name="connsiteY2" fmla="*/ 550 h 18442"/>
                  <a:gd name="connsiteX3" fmla="*/ 526 w 18335"/>
                  <a:gd name="connsiteY3" fmla="*/ 6112 h 18442"/>
                  <a:gd name="connsiteX4" fmla="*/ 6087 w 18335"/>
                  <a:gd name="connsiteY4" fmla="*/ 1789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2">
                    <a:moveTo>
                      <a:pt x="6087" y="17893"/>
                    </a:moveTo>
                    <a:cubicBezTo>
                      <a:pt x="10872" y="19628"/>
                      <a:pt x="16076" y="17116"/>
                      <a:pt x="17810" y="12331"/>
                    </a:cubicBezTo>
                    <a:cubicBezTo>
                      <a:pt x="19485" y="7547"/>
                      <a:pt x="17033" y="2284"/>
                      <a:pt x="12248" y="550"/>
                    </a:cubicBezTo>
                    <a:cubicBezTo>
                      <a:pt x="7464" y="-1185"/>
                      <a:pt x="2260" y="1327"/>
                      <a:pt x="526" y="6112"/>
                    </a:cubicBezTo>
                    <a:cubicBezTo>
                      <a:pt x="-1149" y="10896"/>
                      <a:pt x="1303" y="16159"/>
                      <a:pt x="6087" y="17893"/>
                    </a:cubicBezTo>
                    <a:close/>
                  </a:path>
                </a:pathLst>
              </a:custGeom>
              <a:grpFill/>
              <a:ln w="5978" cap="flat">
                <a:noFill/>
                <a:prstDash val="solid"/>
                <a:miter/>
              </a:ln>
            </p:spPr>
            <p:txBody>
              <a:bodyPr rtlCol="0" anchor="ctr"/>
              <a:lstStyle/>
              <a:p>
                <a:endParaRPr lang="en-GB"/>
              </a:p>
            </p:txBody>
          </p:sp>
        </p:grpSp>
        <p:grpSp>
          <p:nvGrpSpPr>
            <p:cNvPr id="270" name="Graphic 3">
              <a:extLst>
                <a:ext uri="{FF2B5EF4-FFF2-40B4-BE49-F238E27FC236}">
                  <a16:creationId xmlns:a16="http://schemas.microsoft.com/office/drawing/2014/main" id="{D5DFD841-7BD0-4F67-BE33-C7FB47BB69D1}"/>
                </a:ext>
              </a:extLst>
            </p:cNvPr>
            <p:cNvGrpSpPr/>
            <p:nvPr/>
          </p:nvGrpSpPr>
          <p:grpSpPr>
            <a:xfrm>
              <a:off x="7717045" y="3641788"/>
              <a:ext cx="95326" cy="29251"/>
              <a:chOff x="7717045" y="3641788"/>
              <a:chExt cx="95326" cy="29251"/>
            </a:xfrm>
            <a:grpFill/>
          </p:grpSpPr>
          <p:sp>
            <p:nvSpPr>
              <p:cNvPr id="4569" name="Vrije vorm: vorm 4568">
                <a:extLst>
                  <a:ext uri="{FF2B5EF4-FFF2-40B4-BE49-F238E27FC236}">
                    <a16:creationId xmlns:a16="http://schemas.microsoft.com/office/drawing/2014/main" id="{E0174EEF-C66F-42D1-9340-33434C564725}"/>
                  </a:ext>
                </a:extLst>
              </p:cNvPr>
              <p:cNvSpPr/>
              <p:nvPr/>
            </p:nvSpPr>
            <p:spPr>
              <a:xfrm>
                <a:off x="7725498" y="3649476"/>
                <a:ext cx="78407" cy="13935"/>
              </a:xfrm>
              <a:custGeom>
                <a:avLst/>
                <a:gdLst>
                  <a:gd name="connsiteX0" fmla="*/ 78407 w 78407"/>
                  <a:gd name="connsiteY0" fmla="*/ 10885 h 13935"/>
                  <a:gd name="connsiteX1" fmla="*/ 77988 w 78407"/>
                  <a:gd name="connsiteY1" fmla="*/ 13935 h 13935"/>
                  <a:gd name="connsiteX2" fmla="*/ 0 w 78407"/>
                  <a:gd name="connsiteY2" fmla="*/ 2990 h 13935"/>
                  <a:gd name="connsiteX3" fmla="*/ 418 w 78407"/>
                  <a:gd name="connsiteY3" fmla="*/ 0 h 13935"/>
                </a:gdLst>
                <a:ahLst/>
                <a:cxnLst>
                  <a:cxn ang="0">
                    <a:pos x="connsiteX0" y="connsiteY0"/>
                  </a:cxn>
                  <a:cxn ang="0">
                    <a:pos x="connsiteX1" y="connsiteY1"/>
                  </a:cxn>
                  <a:cxn ang="0">
                    <a:pos x="connsiteX2" y="connsiteY2"/>
                  </a:cxn>
                  <a:cxn ang="0">
                    <a:pos x="connsiteX3" y="connsiteY3"/>
                  </a:cxn>
                </a:cxnLst>
                <a:rect l="l" t="t" r="r" b="b"/>
                <a:pathLst>
                  <a:path w="78407" h="13935">
                    <a:moveTo>
                      <a:pt x="78407" y="10885"/>
                    </a:moveTo>
                    <a:lnTo>
                      <a:pt x="77988" y="13935"/>
                    </a:lnTo>
                    <a:lnTo>
                      <a:pt x="0" y="2990"/>
                    </a:lnTo>
                    <a:lnTo>
                      <a:pt x="418" y="0"/>
                    </a:lnTo>
                    <a:close/>
                  </a:path>
                </a:pathLst>
              </a:custGeom>
              <a:grpFill/>
              <a:ln w="5978" cap="flat">
                <a:noFill/>
                <a:prstDash val="solid"/>
                <a:miter/>
              </a:ln>
            </p:spPr>
            <p:txBody>
              <a:bodyPr rtlCol="0" anchor="ctr"/>
              <a:lstStyle/>
              <a:p>
                <a:endParaRPr lang="en-GB"/>
              </a:p>
            </p:txBody>
          </p:sp>
          <p:sp>
            <p:nvSpPr>
              <p:cNvPr id="4570" name="Vrije vorm: vorm 4569">
                <a:extLst>
                  <a:ext uri="{FF2B5EF4-FFF2-40B4-BE49-F238E27FC236}">
                    <a16:creationId xmlns:a16="http://schemas.microsoft.com/office/drawing/2014/main" id="{62AA5AF3-4415-43BB-95FA-898911FD4CC2}"/>
                  </a:ext>
                </a:extLst>
              </p:cNvPr>
              <p:cNvSpPr/>
              <p:nvPr/>
            </p:nvSpPr>
            <p:spPr>
              <a:xfrm>
                <a:off x="7794064" y="3652613"/>
                <a:ext cx="18307" cy="18426"/>
              </a:xfrm>
              <a:custGeom>
                <a:avLst/>
                <a:gdLst>
                  <a:gd name="connsiteX0" fmla="*/ 10379 w 18307"/>
                  <a:gd name="connsiteY0" fmla="*/ 93 h 18426"/>
                  <a:gd name="connsiteX1" fmla="*/ 18214 w 18307"/>
                  <a:gd name="connsiteY1" fmla="*/ 10499 h 18426"/>
                  <a:gd name="connsiteX2" fmla="*/ 7927 w 18307"/>
                  <a:gd name="connsiteY2" fmla="*/ 18334 h 18426"/>
                  <a:gd name="connsiteX3" fmla="*/ 93 w 18307"/>
                  <a:gd name="connsiteY3" fmla="*/ 7927 h 18426"/>
                  <a:gd name="connsiteX4" fmla="*/ 10379 w 18307"/>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10379" y="93"/>
                    </a:moveTo>
                    <a:cubicBezTo>
                      <a:pt x="15403" y="810"/>
                      <a:pt x="18932" y="5475"/>
                      <a:pt x="18214" y="10499"/>
                    </a:cubicBezTo>
                    <a:cubicBezTo>
                      <a:pt x="17557" y="15523"/>
                      <a:pt x="12892" y="19051"/>
                      <a:pt x="7927" y="18334"/>
                    </a:cubicBezTo>
                    <a:cubicBezTo>
                      <a:pt x="2903" y="17616"/>
                      <a:pt x="-625" y="12951"/>
                      <a:pt x="93" y="7927"/>
                    </a:cubicBezTo>
                    <a:cubicBezTo>
                      <a:pt x="810" y="2904"/>
                      <a:pt x="5416" y="-625"/>
                      <a:pt x="10379" y="93"/>
                    </a:cubicBezTo>
                    <a:close/>
                  </a:path>
                </a:pathLst>
              </a:custGeom>
              <a:grpFill/>
              <a:ln w="5978" cap="flat">
                <a:noFill/>
                <a:prstDash val="solid"/>
                <a:miter/>
              </a:ln>
            </p:spPr>
            <p:txBody>
              <a:bodyPr rtlCol="0" anchor="ctr"/>
              <a:lstStyle/>
              <a:p>
                <a:endParaRPr lang="en-GB"/>
              </a:p>
            </p:txBody>
          </p:sp>
          <p:sp>
            <p:nvSpPr>
              <p:cNvPr id="4571" name="Vrije vorm: vorm 4570">
                <a:extLst>
                  <a:ext uri="{FF2B5EF4-FFF2-40B4-BE49-F238E27FC236}">
                    <a16:creationId xmlns:a16="http://schemas.microsoft.com/office/drawing/2014/main" id="{C8C732E1-3572-4BF0-8EEC-6E488234EA1A}"/>
                  </a:ext>
                </a:extLst>
              </p:cNvPr>
              <p:cNvSpPr/>
              <p:nvPr/>
            </p:nvSpPr>
            <p:spPr>
              <a:xfrm>
                <a:off x="7717045" y="3641788"/>
                <a:ext cx="18280" cy="18426"/>
              </a:xfrm>
              <a:custGeom>
                <a:avLst/>
                <a:gdLst>
                  <a:gd name="connsiteX0" fmla="*/ 10367 w 18280"/>
                  <a:gd name="connsiteY0" fmla="*/ 93 h 18426"/>
                  <a:gd name="connsiteX1" fmla="*/ 80 w 18280"/>
                  <a:gd name="connsiteY1" fmla="*/ 7927 h 18426"/>
                  <a:gd name="connsiteX2" fmla="*/ 7914 w 18280"/>
                  <a:gd name="connsiteY2" fmla="*/ 18334 h 18426"/>
                  <a:gd name="connsiteX3" fmla="*/ 18202 w 18280"/>
                  <a:gd name="connsiteY3" fmla="*/ 10499 h 18426"/>
                  <a:gd name="connsiteX4" fmla="*/ 10367 w 18280"/>
                  <a:gd name="connsiteY4" fmla="*/ 9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26">
                    <a:moveTo>
                      <a:pt x="10367" y="93"/>
                    </a:moveTo>
                    <a:cubicBezTo>
                      <a:pt x="5343" y="-625"/>
                      <a:pt x="738" y="2904"/>
                      <a:pt x="80" y="7927"/>
                    </a:cubicBezTo>
                    <a:cubicBezTo>
                      <a:pt x="-578" y="12951"/>
                      <a:pt x="2891" y="17616"/>
                      <a:pt x="7914" y="18334"/>
                    </a:cubicBezTo>
                    <a:cubicBezTo>
                      <a:pt x="12939" y="19051"/>
                      <a:pt x="17544" y="15523"/>
                      <a:pt x="18202" y="10499"/>
                    </a:cubicBezTo>
                    <a:cubicBezTo>
                      <a:pt x="18860" y="5475"/>
                      <a:pt x="15331" y="810"/>
                      <a:pt x="10367" y="93"/>
                    </a:cubicBezTo>
                    <a:close/>
                  </a:path>
                </a:pathLst>
              </a:custGeom>
              <a:grpFill/>
              <a:ln w="5978" cap="flat">
                <a:noFill/>
                <a:prstDash val="solid"/>
                <a:miter/>
              </a:ln>
            </p:spPr>
            <p:txBody>
              <a:bodyPr rtlCol="0" anchor="ctr"/>
              <a:lstStyle/>
              <a:p>
                <a:endParaRPr lang="en-GB"/>
              </a:p>
            </p:txBody>
          </p:sp>
        </p:grpSp>
        <p:grpSp>
          <p:nvGrpSpPr>
            <p:cNvPr id="271" name="Graphic 3">
              <a:extLst>
                <a:ext uri="{FF2B5EF4-FFF2-40B4-BE49-F238E27FC236}">
                  <a16:creationId xmlns:a16="http://schemas.microsoft.com/office/drawing/2014/main" id="{9083C0AF-1BD1-4010-9DCF-B46417CEADE3}"/>
                </a:ext>
              </a:extLst>
            </p:cNvPr>
            <p:cNvGrpSpPr/>
            <p:nvPr/>
          </p:nvGrpSpPr>
          <p:grpSpPr>
            <a:xfrm>
              <a:off x="7715923" y="3609879"/>
              <a:ext cx="78944" cy="25786"/>
              <a:chOff x="7715923" y="3609879"/>
              <a:chExt cx="78944" cy="25786"/>
            </a:xfrm>
            <a:grpFill/>
          </p:grpSpPr>
          <p:sp>
            <p:nvSpPr>
              <p:cNvPr id="4566" name="Vrije vorm: vorm 4565">
                <a:extLst>
                  <a:ext uri="{FF2B5EF4-FFF2-40B4-BE49-F238E27FC236}">
                    <a16:creationId xmlns:a16="http://schemas.microsoft.com/office/drawing/2014/main" id="{2AA0702A-19ED-4C0B-B3AC-8918995CD437}"/>
                  </a:ext>
                </a:extLst>
              </p:cNvPr>
              <p:cNvSpPr/>
              <p:nvPr/>
            </p:nvSpPr>
            <p:spPr>
              <a:xfrm>
                <a:off x="7724481" y="3617539"/>
                <a:ext cx="61840" cy="10466"/>
              </a:xfrm>
              <a:custGeom>
                <a:avLst/>
                <a:gdLst>
                  <a:gd name="connsiteX0" fmla="*/ 61840 w 61840"/>
                  <a:gd name="connsiteY0" fmla="*/ 7416 h 10466"/>
                  <a:gd name="connsiteX1" fmla="*/ 61482 w 61840"/>
                  <a:gd name="connsiteY1" fmla="*/ 10466 h 10466"/>
                  <a:gd name="connsiteX2" fmla="*/ 0 w 61840"/>
                  <a:gd name="connsiteY2" fmla="*/ 3050 h 10466"/>
                  <a:gd name="connsiteX3" fmla="*/ 359 w 61840"/>
                  <a:gd name="connsiteY3" fmla="*/ 0 h 10466"/>
                </a:gdLst>
                <a:ahLst/>
                <a:cxnLst>
                  <a:cxn ang="0">
                    <a:pos x="connsiteX0" y="connsiteY0"/>
                  </a:cxn>
                  <a:cxn ang="0">
                    <a:pos x="connsiteX1" y="connsiteY1"/>
                  </a:cxn>
                  <a:cxn ang="0">
                    <a:pos x="connsiteX2" y="connsiteY2"/>
                  </a:cxn>
                  <a:cxn ang="0">
                    <a:pos x="connsiteX3" y="connsiteY3"/>
                  </a:cxn>
                </a:cxnLst>
                <a:rect l="l" t="t" r="r" b="b"/>
                <a:pathLst>
                  <a:path w="61840" h="10466">
                    <a:moveTo>
                      <a:pt x="61840" y="7416"/>
                    </a:moveTo>
                    <a:lnTo>
                      <a:pt x="61482" y="10466"/>
                    </a:lnTo>
                    <a:lnTo>
                      <a:pt x="0" y="3050"/>
                    </a:lnTo>
                    <a:lnTo>
                      <a:pt x="359" y="0"/>
                    </a:lnTo>
                    <a:close/>
                  </a:path>
                </a:pathLst>
              </a:custGeom>
              <a:grpFill/>
              <a:ln w="5978" cap="flat">
                <a:noFill/>
                <a:prstDash val="solid"/>
                <a:miter/>
              </a:ln>
            </p:spPr>
            <p:txBody>
              <a:bodyPr rtlCol="0" anchor="ctr"/>
              <a:lstStyle/>
              <a:p>
                <a:endParaRPr lang="en-GB"/>
              </a:p>
            </p:txBody>
          </p:sp>
          <p:sp>
            <p:nvSpPr>
              <p:cNvPr id="4567" name="Vrije vorm: vorm 4566">
                <a:extLst>
                  <a:ext uri="{FF2B5EF4-FFF2-40B4-BE49-F238E27FC236}">
                    <a16:creationId xmlns:a16="http://schemas.microsoft.com/office/drawing/2014/main" id="{F9C07BBC-90B5-4998-9D6E-0F97B5C4331A}"/>
                  </a:ext>
                </a:extLst>
              </p:cNvPr>
              <p:cNvSpPr/>
              <p:nvPr/>
            </p:nvSpPr>
            <p:spPr>
              <a:xfrm>
                <a:off x="7776519" y="3617223"/>
                <a:ext cx="18348" cy="18441"/>
              </a:xfrm>
              <a:custGeom>
                <a:avLst/>
                <a:gdLst>
                  <a:gd name="connsiteX0" fmla="*/ 10221 w 18348"/>
                  <a:gd name="connsiteY0" fmla="*/ 77 h 18441"/>
                  <a:gd name="connsiteX1" fmla="*/ 18295 w 18348"/>
                  <a:gd name="connsiteY1" fmla="*/ 10304 h 18441"/>
                  <a:gd name="connsiteX2" fmla="*/ 8128 w 18348"/>
                  <a:gd name="connsiteY2" fmla="*/ 18378 h 18441"/>
                  <a:gd name="connsiteX3" fmla="*/ 53 w 18348"/>
                  <a:gd name="connsiteY3" fmla="*/ 8151 h 18441"/>
                  <a:gd name="connsiteX4" fmla="*/ 10221 w 18348"/>
                  <a:gd name="connsiteY4" fmla="*/ 77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41">
                    <a:moveTo>
                      <a:pt x="10221" y="77"/>
                    </a:moveTo>
                    <a:cubicBezTo>
                      <a:pt x="15245" y="675"/>
                      <a:pt x="18833" y="5280"/>
                      <a:pt x="18295" y="10304"/>
                    </a:cubicBezTo>
                    <a:cubicBezTo>
                      <a:pt x="17697" y="15328"/>
                      <a:pt x="13152" y="18976"/>
                      <a:pt x="8128" y="18378"/>
                    </a:cubicBezTo>
                    <a:cubicBezTo>
                      <a:pt x="3104" y="17780"/>
                      <a:pt x="-485" y="13174"/>
                      <a:pt x="53" y="8151"/>
                    </a:cubicBezTo>
                    <a:cubicBezTo>
                      <a:pt x="652" y="3067"/>
                      <a:pt x="5197" y="-581"/>
                      <a:pt x="10221" y="77"/>
                    </a:cubicBezTo>
                    <a:close/>
                  </a:path>
                </a:pathLst>
              </a:custGeom>
              <a:grpFill/>
              <a:ln w="5978" cap="flat">
                <a:noFill/>
                <a:prstDash val="solid"/>
                <a:miter/>
              </a:ln>
            </p:spPr>
            <p:txBody>
              <a:bodyPr rtlCol="0" anchor="ctr"/>
              <a:lstStyle/>
              <a:p>
                <a:endParaRPr lang="en-GB"/>
              </a:p>
            </p:txBody>
          </p:sp>
          <p:sp>
            <p:nvSpPr>
              <p:cNvPr id="4568" name="Vrije vorm: vorm 4567">
                <a:extLst>
                  <a:ext uri="{FF2B5EF4-FFF2-40B4-BE49-F238E27FC236}">
                    <a16:creationId xmlns:a16="http://schemas.microsoft.com/office/drawing/2014/main" id="{2DC3491C-18FD-48F9-AA8F-4C2EF443A55F}"/>
                  </a:ext>
                </a:extLst>
              </p:cNvPr>
              <p:cNvSpPr/>
              <p:nvPr/>
            </p:nvSpPr>
            <p:spPr>
              <a:xfrm>
                <a:off x="7715923" y="3609879"/>
                <a:ext cx="18370" cy="18431"/>
              </a:xfrm>
              <a:custGeom>
                <a:avLst/>
                <a:gdLst>
                  <a:gd name="connsiteX0" fmla="*/ 10233 w 18370"/>
                  <a:gd name="connsiteY0" fmla="*/ 65 h 18431"/>
                  <a:gd name="connsiteX1" fmla="*/ 65 w 18370"/>
                  <a:gd name="connsiteY1" fmla="*/ 8139 h 18431"/>
                  <a:gd name="connsiteX2" fmla="*/ 8140 w 18370"/>
                  <a:gd name="connsiteY2" fmla="*/ 18366 h 18431"/>
                  <a:gd name="connsiteX3" fmla="*/ 18307 w 18370"/>
                  <a:gd name="connsiteY3" fmla="*/ 10292 h 18431"/>
                  <a:gd name="connsiteX4" fmla="*/ 10233 w 18370"/>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1">
                    <a:moveTo>
                      <a:pt x="10233" y="65"/>
                    </a:moveTo>
                    <a:cubicBezTo>
                      <a:pt x="5209" y="-533"/>
                      <a:pt x="664" y="3055"/>
                      <a:pt x="65" y="8139"/>
                    </a:cubicBezTo>
                    <a:cubicBezTo>
                      <a:pt x="-533" y="13163"/>
                      <a:pt x="3055" y="17768"/>
                      <a:pt x="8140" y="18366"/>
                    </a:cubicBezTo>
                    <a:cubicBezTo>
                      <a:pt x="13163" y="18964"/>
                      <a:pt x="17709" y="15376"/>
                      <a:pt x="18307" y="10292"/>
                    </a:cubicBezTo>
                    <a:cubicBezTo>
                      <a:pt x="18904" y="5268"/>
                      <a:pt x="15256" y="663"/>
                      <a:pt x="10233" y="65"/>
                    </a:cubicBezTo>
                    <a:close/>
                  </a:path>
                </a:pathLst>
              </a:custGeom>
              <a:grpFill/>
              <a:ln w="5978" cap="flat">
                <a:noFill/>
                <a:prstDash val="solid"/>
                <a:miter/>
              </a:ln>
            </p:spPr>
            <p:txBody>
              <a:bodyPr rtlCol="0" anchor="ctr"/>
              <a:lstStyle/>
              <a:p>
                <a:endParaRPr lang="en-GB"/>
              </a:p>
            </p:txBody>
          </p:sp>
        </p:grpSp>
        <p:grpSp>
          <p:nvGrpSpPr>
            <p:cNvPr id="272" name="Graphic 3">
              <a:extLst>
                <a:ext uri="{FF2B5EF4-FFF2-40B4-BE49-F238E27FC236}">
                  <a16:creationId xmlns:a16="http://schemas.microsoft.com/office/drawing/2014/main" id="{2C594887-9685-42DC-B935-C88384615292}"/>
                </a:ext>
              </a:extLst>
            </p:cNvPr>
            <p:cNvGrpSpPr/>
            <p:nvPr/>
          </p:nvGrpSpPr>
          <p:grpSpPr>
            <a:xfrm>
              <a:off x="7119128" y="1815338"/>
              <a:ext cx="88780" cy="116564"/>
              <a:chOff x="7119128" y="1815338"/>
              <a:chExt cx="88780" cy="116564"/>
            </a:xfrm>
            <a:grpFill/>
          </p:grpSpPr>
          <p:sp>
            <p:nvSpPr>
              <p:cNvPr id="4563" name="Vrije vorm: vorm 4562">
                <a:extLst>
                  <a:ext uri="{FF2B5EF4-FFF2-40B4-BE49-F238E27FC236}">
                    <a16:creationId xmlns:a16="http://schemas.microsoft.com/office/drawing/2014/main" id="{2ECD6E74-5C7C-453B-9B8D-92CF7D7CE84C}"/>
                  </a:ext>
                </a:extLst>
              </p:cNvPr>
              <p:cNvSpPr/>
              <p:nvPr/>
            </p:nvSpPr>
            <p:spPr>
              <a:xfrm>
                <a:off x="7126768" y="1823323"/>
                <a:ext cx="73442" cy="100655"/>
              </a:xfrm>
              <a:custGeom>
                <a:avLst/>
                <a:gdLst>
                  <a:gd name="connsiteX0" fmla="*/ 73443 w 73442"/>
                  <a:gd name="connsiteY0" fmla="*/ 1794 h 100655"/>
                  <a:gd name="connsiteX1" fmla="*/ 2452 w 73442"/>
                  <a:gd name="connsiteY1" fmla="*/ 100656 h 100655"/>
                  <a:gd name="connsiteX2" fmla="*/ 0 w 73442"/>
                  <a:gd name="connsiteY2" fmla="*/ 98861 h 100655"/>
                  <a:gd name="connsiteX3" fmla="*/ 70991 w 73442"/>
                  <a:gd name="connsiteY3" fmla="*/ 0 h 100655"/>
                </a:gdLst>
                <a:ahLst/>
                <a:cxnLst>
                  <a:cxn ang="0">
                    <a:pos x="connsiteX0" y="connsiteY0"/>
                  </a:cxn>
                  <a:cxn ang="0">
                    <a:pos x="connsiteX1" y="connsiteY1"/>
                  </a:cxn>
                  <a:cxn ang="0">
                    <a:pos x="connsiteX2" y="connsiteY2"/>
                  </a:cxn>
                  <a:cxn ang="0">
                    <a:pos x="connsiteX3" y="connsiteY3"/>
                  </a:cxn>
                </a:cxnLst>
                <a:rect l="l" t="t" r="r" b="b"/>
                <a:pathLst>
                  <a:path w="73442" h="100655">
                    <a:moveTo>
                      <a:pt x="73443" y="1794"/>
                    </a:moveTo>
                    <a:lnTo>
                      <a:pt x="2452" y="100656"/>
                    </a:lnTo>
                    <a:lnTo>
                      <a:pt x="0" y="98861"/>
                    </a:lnTo>
                    <a:lnTo>
                      <a:pt x="70991" y="0"/>
                    </a:lnTo>
                    <a:close/>
                  </a:path>
                </a:pathLst>
              </a:custGeom>
              <a:grpFill/>
              <a:ln w="5978" cap="flat">
                <a:noFill/>
                <a:prstDash val="solid"/>
                <a:miter/>
              </a:ln>
            </p:spPr>
            <p:txBody>
              <a:bodyPr rtlCol="0" anchor="ctr"/>
              <a:lstStyle/>
              <a:p>
                <a:endParaRPr lang="en-GB"/>
              </a:p>
            </p:txBody>
          </p:sp>
          <p:sp>
            <p:nvSpPr>
              <p:cNvPr id="4564" name="Vrije vorm: vorm 4563">
                <a:extLst>
                  <a:ext uri="{FF2B5EF4-FFF2-40B4-BE49-F238E27FC236}">
                    <a16:creationId xmlns:a16="http://schemas.microsoft.com/office/drawing/2014/main" id="{468BFAB8-D6BF-4E15-885E-412C4539D89A}"/>
                  </a:ext>
                </a:extLst>
              </p:cNvPr>
              <p:cNvSpPr/>
              <p:nvPr/>
            </p:nvSpPr>
            <p:spPr>
              <a:xfrm>
                <a:off x="7189555" y="1815338"/>
                <a:ext cx="18353" cy="18421"/>
              </a:xfrm>
              <a:custGeom>
                <a:avLst/>
                <a:gdLst>
                  <a:gd name="connsiteX0" fmla="*/ 1744 w 18353"/>
                  <a:gd name="connsiteY0" fmla="*/ 3798 h 18421"/>
                  <a:gd name="connsiteX1" fmla="*/ 14543 w 18353"/>
                  <a:gd name="connsiteY1" fmla="*/ 1765 h 18421"/>
                  <a:gd name="connsiteX2" fmla="*/ 16636 w 18353"/>
                  <a:gd name="connsiteY2" fmla="*/ 14623 h 18421"/>
                  <a:gd name="connsiteX3" fmla="*/ 3838 w 18353"/>
                  <a:gd name="connsiteY3" fmla="*/ 16657 h 18421"/>
                  <a:gd name="connsiteX4" fmla="*/ 1744 w 1835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1">
                    <a:moveTo>
                      <a:pt x="1744" y="3798"/>
                    </a:moveTo>
                    <a:cubicBezTo>
                      <a:pt x="4674" y="-329"/>
                      <a:pt x="10416" y="-1226"/>
                      <a:pt x="14543" y="1765"/>
                    </a:cubicBezTo>
                    <a:cubicBezTo>
                      <a:pt x="18670" y="4755"/>
                      <a:pt x="19566" y="10496"/>
                      <a:pt x="16636" y="14623"/>
                    </a:cubicBezTo>
                    <a:cubicBezTo>
                      <a:pt x="13705" y="18750"/>
                      <a:pt x="7964" y="19647"/>
                      <a:pt x="3838" y="16657"/>
                    </a:cubicBezTo>
                    <a:cubicBezTo>
                      <a:pt x="-289" y="13726"/>
                      <a:pt x="-1247" y="7925"/>
                      <a:pt x="1744" y="3798"/>
                    </a:cubicBezTo>
                    <a:close/>
                  </a:path>
                </a:pathLst>
              </a:custGeom>
              <a:grpFill/>
              <a:ln w="5978" cap="flat">
                <a:noFill/>
                <a:prstDash val="solid"/>
                <a:miter/>
              </a:ln>
            </p:spPr>
            <p:txBody>
              <a:bodyPr rtlCol="0" anchor="ctr"/>
              <a:lstStyle/>
              <a:p>
                <a:endParaRPr lang="en-GB"/>
              </a:p>
            </p:txBody>
          </p:sp>
          <p:sp>
            <p:nvSpPr>
              <p:cNvPr id="4565" name="Vrije vorm: vorm 4564">
                <a:extLst>
                  <a:ext uri="{FF2B5EF4-FFF2-40B4-BE49-F238E27FC236}">
                    <a16:creationId xmlns:a16="http://schemas.microsoft.com/office/drawing/2014/main" id="{0781F128-D683-484C-AC63-6F2D6DCFC5E6}"/>
                  </a:ext>
                </a:extLst>
              </p:cNvPr>
              <p:cNvSpPr/>
              <p:nvPr/>
            </p:nvSpPr>
            <p:spPr>
              <a:xfrm>
                <a:off x="7119128" y="1913482"/>
                <a:ext cx="18328" cy="18421"/>
              </a:xfrm>
              <a:custGeom>
                <a:avLst/>
                <a:gdLst>
                  <a:gd name="connsiteX0" fmla="*/ 1718 w 18328"/>
                  <a:gd name="connsiteY0" fmla="*/ 3798 h 18421"/>
                  <a:gd name="connsiteX1" fmla="*/ 3811 w 18328"/>
                  <a:gd name="connsiteY1" fmla="*/ 16657 h 18421"/>
                  <a:gd name="connsiteX2" fmla="*/ 16610 w 18328"/>
                  <a:gd name="connsiteY2" fmla="*/ 14623 h 18421"/>
                  <a:gd name="connsiteX3" fmla="*/ 14516 w 18328"/>
                  <a:gd name="connsiteY3" fmla="*/ 1765 h 18421"/>
                  <a:gd name="connsiteX4" fmla="*/ 1718 w 18328"/>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21">
                    <a:moveTo>
                      <a:pt x="1718" y="3798"/>
                    </a:moveTo>
                    <a:cubicBezTo>
                      <a:pt x="-1213" y="7925"/>
                      <a:pt x="-316" y="13666"/>
                      <a:pt x="3811" y="16657"/>
                    </a:cubicBezTo>
                    <a:cubicBezTo>
                      <a:pt x="7938" y="19647"/>
                      <a:pt x="13620" y="18750"/>
                      <a:pt x="16610" y="14623"/>
                    </a:cubicBezTo>
                    <a:cubicBezTo>
                      <a:pt x="19541" y="10496"/>
                      <a:pt x="18644" y="4755"/>
                      <a:pt x="14516" y="1765"/>
                    </a:cubicBezTo>
                    <a:cubicBezTo>
                      <a:pt x="10390" y="-1226"/>
                      <a:pt x="4649" y="-329"/>
                      <a:pt x="1718" y="3798"/>
                    </a:cubicBezTo>
                    <a:close/>
                  </a:path>
                </a:pathLst>
              </a:custGeom>
              <a:grpFill/>
              <a:ln w="5978" cap="flat">
                <a:noFill/>
                <a:prstDash val="solid"/>
                <a:miter/>
              </a:ln>
            </p:spPr>
            <p:txBody>
              <a:bodyPr rtlCol="0" anchor="ctr"/>
              <a:lstStyle/>
              <a:p>
                <a:endParaRPr lang="en-GB"/>
              </a:p>
            </p:txBody>
          </p:sp>
        </p:grpSp>
        <p:grpSp>
          <p:nvGrpSpPr>
            <p:cNvPr id="273" name="Graphic 3">
              <a:extLst>
                <a:ext uri="{FF2B5EF4-FFF2-40B4-BE49-F238E27FC236}">
                  <a16:creationId xmlns:a16="http://schemas.microsoft.com/office/drawing/2014/main" id="{1CAF8CFC-94E6-404E-A7E2-AD566547D97E}"/>
                </a:ext>
              </a:extLst>
            </p:cNvPr>
            <p:cNvGrpSpPr/>
            <p:nvPr/>
          </p:nvGrpSpPr>
          <p:grpSpPr>
            <a:xfrm>
              <a:off x="7028860" y="1714660"/>
              <a:ext cx="299160" cy="344355"/>
              <a:chOff x="7028860" y="1714660"/>
              <a:chExt cx="299160" cy="344355"/>
            </a:xfrm>
            <a:grpFill/>
          </p:grpSpPr>
          <p:sp>
            <p:nvSpPr>
              <p:cNvPr id="4560" name="Vrije vorm: vorm 4559">
                <a:extLst>
                  <a:ext uri="{FF2B5EF4-FFF2-40B4-BE49-F238E27FC236}">
                    <a16:creationId xmlns:a16="http://schemas.microsoft.com/office/drawing/2014/main" id="{D17950EB-F80C-40A1-A129-C73C752C18C4}"/>
                  </a:ext>
                </a:extLst>
              </p:cNvPr>
              <p:cNvSpPr/>
              <p:nvPr/>
            </p:nvSpPr>
            <p:spPr>
              <a:xfrm>
                <a:off x="7036518" y="1722488"/>
                <a:ext cx="283785" cy="328640"/>
              </a:xfrm>
              <a:custGeom>
                <a:avLst/>
                <a:gdLst>
                  <a:gd name="connsiteX0" fmla="*/ 283786 w 283785"/>
                  <a:gd name="connsiteY0" fmla="*/ 2033 h 328640"/>
                  <a:gd name="connsiteX1" fmla="*/ 2333 w 283785"/>
                  <a:gd name="connsiteY1" fmla="*/ 328641 h 328640"/>
                  <a:gd name="connsiteX2" fmla="*/ 0 w 283785"/>
                  <a:gd name="connsiteY2" fmla="*/ 326667 h 328640"/>
                  <a:gd name="connsiteX3" fmla="*/ 281513 w 283785"/>
                  <a:gd name="connsiteY3" fmla="*/ 0 h 328640"/>
                </a:gdLst>
                <a:ahLst/>
                <a:cxnLst>
                  <a:cxn ang="0">
                    <a:pos x="connsiteX0" y="connsiteY0"/>
                  </a:cxn>
                  <a:cxn ang="0">
                    <a:pos x="connsiteX1" y="connsiteY1"/>
                  </a:cxn>
                  <a:cxn ang="0">
                    <a:pos x="connsiteX2" y="connsiteY2"/>
                  </a:cxn>
                  <a:cxn ang="0">
                    <a:pos x="connsiteX3" y="connsiteY3"/>
                  </a:cxn>
                </a:cxnLst>
                <a:rect l="l" t="t" r="r" b="b"/>
                <a:pathLst>
                  <a:path w="283785" h="328640">
                    <a:moveTo>
                      <a:pt x="283786" y="2033"/>
                    </a:moveTo>
                    <a:lnTo>
                      <a:pt x="2333" y="328641"/>
                    </a:lnTo>
                    <a:lnTo>
                      <a:pt x="0" y="326667"/>
                    </a:lnTo>
                    <a:lnTo>
                      <a:pt x="281513" y="0"/>
                    </a:lnTo>
                    <a:close/>
                  </a:path>
                </a:pathLst>
              </a:custGeom>
              <a:grpFill/>
              <a:ln w="5978" cap="flat">
                <a:noFill/>
                <a:prstDash val="solid"/>
                <a:miter/>
              </a:ln>
            </p:spPr>
            <p:txBody>
              <a:bodyPr rtlCol="0" anchor="ctr"/>
              <a:lstStyle/>
              <a:p>
                <a:endParaRPr lang="en-GB"/>
              </a:p>
            </p:txBody>
          </p:sp>
          <p:sp>
            <p:nvSpPr>
              <p:cNvPr id="4561" name="Vrije vorm: vorm 4560">
                <a:extLst>
                  <a:ext uri="{FF2B5EF4-FFF2-40B4-BE49-F238E27FC236}">
                    <a16:creationId xmlns:a16="http://schemas.microsoft.com/office/drawing/2014/main" id="{D8196936-08FE-41BF-B317-38E72FDE60A2}"/>
                  </a:ext>
                </a:extLst>
              </p:cNvPr>
              <p:cNvSpPr/>
              <p:nvPr/>
            </p:nvSpPr>
            <p:spPr>
              <a:xfrm>
                <a:off x="7028860" y="2040610"/>
                <a:ext cx="18306" cy="18405"/>
              </a:xfrm>
              <a:custGeom>
                <a:avLst/>
                <a:gdLst>
                  <a:gd name="connsiteX0" fmla="*/ 16091 w 18306"/>
                  <a:gd name="connsiteY0" fmla="*/ 15244 h 18405"/>
                  <a:gd name="connsiteX1" fmla="*/ 3172 w 18306"/>
                  <a:gd name="connsiteY1" fmla="*/ 16141 h 18405"/>
                  <a:gd name="connsiteX2" fmla="*/ 2216 w 18306"/>
                  <a:gd name="connsiteY2" fmla="*/ 3162 h 18405"/>
                  <a:gd name="connsiteX3" fmla="*/ 15134 w 18306"/>
                  <a:gd name="connsiteY3" fmla="*/ 2265 h 18405"/>
                  <a:gd name="connsiteX4" fmla="*/ 16091 w 18306"/>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6091" y="15244"/>
                    </a:moveTo>
                    <a:cubicBezTo>
                      <a:pt x="12801" y="19071"/>
                      <a:pt x="7000" y="19490"/>
                      <a:pt x="3172" y="16141"/>
                    </a:cubicBezTo>
                    <a:cubicBezTo>
                      <a:pt x="-656" y="12791"/>
                      <a:pt x="-1074" y="6990"/>
                      <a:pt x="2216" y="3162"/>
                    </a:cubicBezTo>
                    <a:cubicBezTo>
                      <a:pt x="5505" y="-665"/>
                      <a:pt x="11306" y="-1084"/>
                      <a:pt x="15134" y="2265"/>
                    </a:cubicBezTo>
                    <a:cubicBezTo>
                      <a:pt x="18961" y="5615"/>
                      <a:pt x="19380" y="11416"/>
                      <a:pt x="16091" y="15244"/>
                    </a:cubicBezTo>
                    <a:close/>
                  </a:path>
                </a:pathLst>
              </a:custGeom>
              <a:grpFill/>
              <a:ln w="5978" cap="flat">
                <a:noFill/>
                <a:prstDash val="solid"/>
                <a:miter/>
              </a:ln>
            </p:spPr>
            <p:txBody>
              <a:bodyPr rtlCol="0" anchor="ctr"/>
              <a:lstStyle/>
              <a:p>
                <a:endParaRPr lang="en-GB"/>
              </a:p>
            </p:txBody>
          </p:sp>
          <p:sp>
            <p:nvSpPr>
              <p:cNvPr id="4562" name="Vrije vorm: vorm 4561">
                <a:extLst>
                  <a:ext uri="{FF2B5EF4-FFF2-40B4-BE49-F238E27FC236}">
                    <a16:creationId xmlns:a16="http://schemas.microsoft.com/office/drawing/2014/main" id="{271507CE-D136-4891-929C-7A984B7538AB}"/>
                  </a:ext>
                </a:extLst>
              </p:cNvPr>
              <p:cNvSpPr/>
              <p:nvPr/>
            </p:nvSpPr>
            <p:spPr>
              <a:xfrm>
                <a:off x="7309715" y="1714660"/>
                <a:ext cx="18306" cy="18405"/>
              </a:xfrm>
              <a:custGeom>
                <a:avLst/>
                <a:gdLst>
                  <a:gd name="connsiteX0" fmla="*/ 16090 w 18306"/>
                  <a:gd name="connsiteY0" fmla="*/ 15244 h 18405"/>
                  <a:gd name="connsiteX1" fmla="*/ 15134 w 18306"/>
                  <a:gd name="connsiteY1" fmla="*/ 2265 h 18405"/>
                  <a:gd name="connsiteX2" fmla="*/ 2215 w 18306"/>
                  <a:gd name="connsiteY2" fmla="*/ 3162 h 18405"/>
                  <a:gd name="connsiteX3" fmla="*/ 3173 w 18306"/>
                  <a:gd name="connsiteY3" fmla="*/ 16141 h 18405"/>
                  <a:gd name="connsiteX4" fmla="*/ 16090 w 18306"/>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6090" y="15244"/>
                    </a:moveTo>
                    <a:cubicBezTo>
                      <a:pt x="19380" y="11416"/>
                      <a:pt x="18962" y="5615"/>
                      <a:pt x="15134" y="2265"/>
                    </a:cubicBezTo>
                    <a:cubicBezTo>
                      <a:pt x="11306" y="-1084"/>
                      <a:pt x="5505" y="-665"/>
                      <a:pt x="2215" y="3162"/>
                    </a:cubicBezTo>
                    <a:cubicBezTo>
                      <a:pt x="-1074" y="6990"/>
                      <a:pt x="-655" y="12791"/>
                      <a:pt x="3173" y="16141"/>
                    </a:cubicBezTo>
                    <a:cubicBezTo>
                      <a:pt x="7000" y="19490"/>
                      <a:pt x="12801" y="19071"/>
                      <a:pt x="16090" y="15244"/>
                    </a:cubicBezTo>
                    <a:close/>
                  </a:path>
                </a:pathLst>
              </a:custGeom>
              <a:grpFill/>
              <a:ln w="5978" cap="flat">
                <a:noFill/>
                <a:prstDash val="solid"/>
                <a:miter/>
              </a:ln>
            </p:spPr>
            <p:txBody>
              <a:bodyPr rtlCol="0" anchor="ctr"/>
              <a:lstStyle/>
              <a:p>
                <a:endParaRPr lang="en-GB"/>
              </a:p>
            </p:txBody>
          </p:sp>
        </p:grpSp>
        <p:grpSp>
          <p:nvGrpSpPr>
            <p:cNvPr id="274" name="Graphic 3">
              <a:extLst>
                <a:ext uri="{FF2B5EF4-FFF2-40B4-BE49-F238E27FC236}">
                  <a16:creationId xmlns:a16="http://schemas.microsoft.com/office/drawing/2014/main" id="{9BC2D491-BF5B-4EA9-B86E-E771096DA357}"/>
                </a:ext>
              </a:extLst>
            </p:cNvPr>
            <p:cNvGrpSpPr/>
            <p:nvPr/>
          </p:nvGrpSpPr>
          <p:grpSpPr>
            <a:xfrm>
              <a:off x="7652213" y="3918528"/>
              <a:ext cx="477295" cy="205538"/>
              <a:chOff x="7652213" y="3918528"/>
              <a:chExt cx="477295" cy="205538"/>
            </a:xfrm>
            <a:grpFill/>
          </p:grpSpPr>
          <p:sp>
            <p:nvSpPr>
              <p:cNvPr id="4557" name="Vrije vorm: vorm 4556">
                <a:extLst>
                  <a:ext uri="{FF2B5EF4-FFF2-40B4-BE49-F238E27FC236}">
                    <a16:creationId xmlns:a16="http://schemas.microsoft.com/office/drawing/2014/main" id="{F35B9995-2AC0-4566-8722-2CB94939DD97}"/>
                  </a:ext>
                </a:extLst>
              </p:cNvPr>
              <p:cNvSpPr/>
              <p:nvPr/>
            </p:nvSpPr>
            <p:spPr>
              <a:xfrm>
                <a:off x="7660368" y="3926204"/>
                <a:ext cx="460933" cy="190246"/>
              </a:xfrm>
              <a:custGeom>
                <a:avLst/>
                <a:gdLst>
                  <a:gd name="connsiteX0" fmla="*/ 460934 w 460933"/>
                  <a:gd name="connsiteY0" fmla="*/ 187436 h 190246"/>
                  <a:gd name="connsiteX1" fmla="*/ 459798 w 460933"/>
                  <a:gd name="connsiteY1" fmla="*/ 190247 h 190246"/>
                  <a:gd name="connsiteX2" fmla="*/ 0 w 460933"/>
                  <a:gd name="connsiteY2" fmla="*/ 2811 h 190246"/>
                  <a:gd name="connsiteX3" fmla="*/ 1136 w 460933"/>
                  <a:gd name="connsiteY3" fmla="*/ 0 h 190246"/>
                </a:gdLst>
                <a:ahLst/>
                <a:cxnLst>
                  <a:cxn ang="0">
                    <a:pos x="connsiteX0" y="connsiteY0"/>
                  </a:cxn>
                  <a:cxn ang="0">
                    <a:pos x="connsiteX1" y="connsiteY1"/>
                  </a:cxn>
                  <a:cxn ang="0">
                    <a:pos x="connsiteX2" y="connsiteY2"/>
                  </a:cxn>
                  <a:cxn ang="0">
                    <a:pos x="connsiteX3" y="connsiteY3"/>
                  </a:cxn>
                </a:cxnLst>
                <a:rect l="l" t="t" r="r" b="b"/>
                <a:pathLst>
                  <a:path w="460933" h="190246">
                    <a:moveTo>
                      <a:pt x="460934" y="187436"/>
                    </a:moveTo>
                    <a:lnTo>
                      <a:pt x="459798" y="190247"/>
                    </a:lnTo>
                    <a:lnTo>
                      <a:pt x="0" y="2811"/>
                    </a:lnTo>
                    <a:lnTo>
                      <a:pt x="1136" y="0"/>
                    </a:lnTo>
                    <a:close/>
                  </a:path>
                </a:pathLst>
              </a:custGeom>
              <a:grpFill/>
              <a:ln w="5978" cap="flat">
                <a:noFill/>
                <a:prstDash val="solid"/>
                <a:miter/>
              </a:ln>
            </p:spPr>
            <p:txBody>
              <a:bodyPr rtlCol="0" anchor="ctr"/>
              <a:lstStyle/>
              <a:p>
                <a:endParaRPr lang="en-GB"/>
              </a:p>
            </p:txBody>
          </p:sp>
          <p:sp>
            <p:nvSpPr>
              <p:cNvPr id="4558" name="Vrije vorm: vorm 4557">
                <a:extLst>
                  <a:ext uri="{FF2B5EF4-FFF2-40B4-BE49-F238E27FC236}">
                    <a16:creationId xmlns:a16="http://schemas.microsoft.com/office/drawing/2014/main" id="{5A1A090E-4F53-4EFF-9E1F-6F12FFB419FF}"/>
                  </a:ext>
                </a:extLst>
              </p:cNvPr>
              <p:cNvSpPr/>
              <p:nvPr/>
            </p:nvSpPr>
            <p:spPr>
              <a:xfrm>
                <a:off x="7652213" y="3918528"/>
                <a:ext cx="18342" cy="18462"/>
              </a:xfrm>
              <a:custGeom>
                <a:avLst/>
                <a:gdLst>
                  <a:gd name="connsiteX0" fmla="*/ 5762 w 18342"/>
                  <a:gd name="connsiteY0" fmla="*/ 17784 h 18462"/>
                  <a:gd name="connsiteX1" fmla="*/ 679 w 18342"/>
                  <a:gd name="connsiteY1" fmla="*/ 5762 h 18462"/>
                  <a:gd name="connsiteX2" fmla="*/ 12580 w 18342"/>
                  <a:gd name="connsiteY2" fmla="*/ 678 h 18462"/>
                  <a:gd name="connsiteX3" fmla="*/ 17664 w 18342"/>
                  <a:gd name="connsiteY3" fmla="*/ 12700 h 18462"/>
                  <a:gd name="connsiteX4" fmla="*/ 5762 w 18342"/>
                  <a:gd name="connsiteY4" fmla="*/ 17784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62">
                    <a:moveTo>
                      <a:pt x="5762" y="17784"/>
                    </a:moveTo>
                    <a:cubicBezTo>
                      <a:pt x="1037" y="15870"/>
                      <a:pt x="-1236" y="10487"/>
                      <a:pt x="679" y="5762"/>
                    </a:cubicBezTo>
                    <a:cubicBezTo>
                      <a:pt x="2532" y="1037"/>
                      <a:pt x="7915" y="-1235"/>
                      <a:pt x="12580" y="678"/>
                    </a:cubicBezTo>
                    <a:cubicBezTo>
                      <a:pt x="17305" y="2592"/>
                      <a:pt x="19578" y="7975"/>
                      <a:pt x="17664" y="12700"/>
                    </a:cubicBezTo>
                    <a:cubicBezTo>
                      <a:pt x="15810" y="17425"/>
                      <a:pt x="10427" y="19697"/>
                      <a:pt x="5762" y="17784"/>
                    </a:cubicBezTo>
                    <a:close/>
                  </a:path>
                </a:pathLst>
              </a:custGeom>
              <a:grpFill/>
              <a:ln w="5978" cap="flat">
                <a:noFill/>
                <a:prstDash val="solid"/>
                <a:miter/>
              </a:ln>
            </p:spPr>
            <p:txBody>
              <a:bodyPr rtlCol="0" anchor="ctr"/>
              <a:lstStyle/>
              <a:p>
                <a:endParaRPr lang="en-GB"/>
              </a:p>
            </p:txBody>
          </p:sp>
          <p:sp>
            <p:nvSpPr>
              <p:cNvPr id="4559" name="Vrije vorm: vorm 4558">
                <a:extLst>
                  <a:ext uri="{FF2B5EF4-FFF2-40B4-BE49-F238E27FC236}">
                    <a16:creationId xmlns:a16="http://schemas.microsoft.com/office/drawing/2014/main" id="{B0C5C3C6-088F-4ADC-9DA7-E394466B9708}"/>
                  </a:ext>
                </a:extLst>
              </p:cNvPr>
              <p:cNvSpPr/>
              <p:nvPr/>
            </p:nvSpPr>
            <p:spPr>
              <a:xfrm>
                <a:off x="8111174" y="4105605"/>
                <a:ext cx="18334" cy="18461"/>
              </a:xfrm>
              <a:custGeom>
                <a:avLst/>
                <a:gdLst>
                  <a:gd name="connsiteX0" fmla="*/ 5762 w 18334"/>
                  <a:gd name="connsiteY0" fmla="*/ 17783 h 18461"/>
                  <a:gd name="connsiteX1" fmla="*/ 17663 w 18334"/>
                  <a:gd name="connsiteY1" fmla="*/ 12700 h 18461"/>
                  <a:gd name="connsiteX2" fmla="*/ 12580 w 18334"/>
                  <a:gd name="connsiteY2" fmla="*/ 679 h 18461"/>
                  <a:gd name="connsiteX3" fmla="*/ 678 w 18334"/>
                  <a:gd name="connsiteY3" fmla="*/ 5762 h 18461"/>
                  <a:gd name="connsiteX4" fmla="*/ 5762 w 18334"/>
                  <a:gd name="connsiteY4" fmla="*/ 17783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1">
                    <a:moveTo>
                      <a:pt x="5762" y="17783"/>
                    </a:moveTo>
                    <a:cubicBezTo>
                      <a:pt x="10487" y="19697"/>
                      <a:pt x="15810" y="17424"/>
                      <a:pt x="17663" y="12700"/>
                    </a:cubicBezTo>
                    <a:cubicBezTo>
                      <a:pt x="19578" y="7975"/>
                      <a:pt x="17245" y="2592"/>
                      <a:pt x="12580" y="679"/>
                    </a:cubicBezTo>
                    <a:cubicBezTo>
                      <a:pt x="7855" y="-1235"/>
                      <a:pt x="2532" y="1037"/>
                      <a:pt x="678" y="5762"/>
                    </a:cubicBezTo>
                    <a:cubicBezTo>
                      <a:pt x="-1235" y="10487"/>
                      <a:pt x="1037" y="15869"/>
                      <a:pt x="5762" y="17783"/>
                    </a:cubicBezTo>
                    <a:close/>
                  </a:path>
                </a:pathLst>
              </a:custGeom>
              <a:grpFill/>
              <a:ln w="5978" cap="flat">
                <a:noFill/>
                <a:prstDash val="solid"/>
                <a:miter/>
              </a:ln>
            </p:spPr>
            <p:txBody>
              <a:bodyPr rtlCol="0" anchor="ctr"/>
              <a:lstStyle/>
              <a:p>
                <a:endParaRPr lang="en-GB"/>
              </a:p>
            </p:txBody>
          </p:sp>
        </p:grpSp>
        <p:grpSp>
          <p:nvGrpSpPr>
            <p:cNvPr id="275" name="Graphic 3">
              <a:extLst>
                <a:ext uri="{FF2B5EF4-FFF2-40B4-BE49-F238E27FC236}">
                  <a16:creationId xmlns:a16="http://schemas.microsoft.com/office/drawing/2014/main" id="{F9B20B53-1FC8-48C5-B32E-5B4575963BA1}"/>
                </a:ext>
              </a:extLst>
            </p:cNvPr>
            <p:cNvGrpSpPr/>
            <p:nvPr/>
          </p:nvGrpSpPr>
          <p:grpSpPr>
            <a:xfrm>
              <a:off x="7133925" y="1884259"/>
              <a:ext cx="113253" cy="140621"/>
              <a:chOff x="7133925" y="1884259"/>
              <a:chExt cx="113253" cy="140621"/>
            </a:xfrm>
            <a:grpFill/>
          </p:grpSpPr>
          <p:sp>
            <p:nvSpPr>
              <p:cNvPr id="4554" name="Vrije vorm: vorm 4553">
                <a:extLst>
                  <a:ext uri="{FF2B5EF4-FFF2-40B4-BE49-F238E27FC236}">
                    <a16:creationId xmlns:a16="http://schemas.microsoft.com/office/drawing/2014/main" id="{E26C7EE2-0452-4A81-B16B-2E26A0BD20D5}"/>
                  </a:ext>
                </a:extLst>
              </p:cNvPr>
              <p:cNvSpPr/>
              <p:nvPr/>
            </p:nvSpPr>
            <p:spPr>
              <a:xfrm>
                <a:off x="7141660" y="1892161"/>
                <a:ext cx="97844" cy="124817"/>
              </a:xfrm>
              <a:custGeom>
                <a:avLst/>
                <a:gdLst>
                  <a:gd name="connsiteX0" fmla="*/ 97845 w 97844"/>
                  <a:gd name="connsiteY0" fmla="*/ 1914 h 124817"/>
                  <a:gd name="connsiteX1" fmla="*/ 2392 w 97844"/>
                  <a:gd name="connsiteY1" fmla="*/ 124818 h 124817"/>
                  <a:gd name="connsiteX2" fmla="*/ 0 w 97844"/>
                  <a:gd name="connsiteY2" fmla="*/ 122904 h 124817"/>
                  <a:gd name="connsiteX3" fmla="*/ 95392 w 97844"/>
                  <a:gd name="connsiteY3" fmla="*/ 0 h 124817"/>
                </a:gdLst>
                <a:ahLst/>
                <a:cxnLst>
                  <a:cxn ang="0">
                    <a:pos x="connsiteX0" y="connsiteY0"/>
                  </a:cxn>
                  <a:cxn ang="0">
                    <a:pos x="connsiteX1" y="connsiteY1"/>
                  </a:cxn>
                  <a:cxn ang="0">
                    <a:pos x="connsiteX2" y="connsiteY2"/>
                  </a:cxn>
                  <a:cxn ang="0">
                    <a:pos x="connsiteX3" y="connsiteY3"/>
                  </a:cxn>
                </a:cxnLst>
                <a:rect l="l" t="t" r="r" b="b"/>
                <a:pathLst>
                  <a:path w="97844" h="124817">
                    <a:moveTo>
                      <a:pt x="97845" y="1914"/>
                    </a:moveTo>
                    <a:lnTo>
                      <a:pt x="2392" y="124818"/>
                    </a:lnTo>
                    <a:lnTo>
                      <a:pt x="0" y="122904"/>
                    </a:lnTo>
                    <a:lnTo>
                      <a:pt x="95392" y="0"/>
                    </a:lnTo>
                    <a:close/>
                  </a:path>
                </a:pathLst>
              </a:custGeom>
              <a:grpFill/>
              <a:ln w="5978" cap="flat">
                <a:noFill/>
                <a:prstDash val="solid"/>
                <a:miter/>
              </a:ln>
            </p:spPr>
            <p:txBody>
              <a:bodyPr rtlCol="0" anchor="ctr"/>
              <a:lstStyle/>
              <a:p>
                <a:endParaRPr lang="en-GB"/>
              </a:p>
            </p:txBody>
          </p:sp>
          <p:sp>
            <p:nvSpPr>
              <p:cNvPr id="4555" name="Vrije vorm: vorm 4554">
                <a:extLst>
                  <a:ext uri="{FF2B5EF4-FFF2-40B4-BE49-F238E27FC236}">
                    <a16:creationId xmlns:a16="http://schemas.microsoft.com/office/drawing/2014/main" id="{B8D8C03E-9352-4B72-A612-F028E197719F}"/>
                  </a:ext>
                </a:extLst>
              </p:cNvPr>
              <p:cNvSpPr/>
              <p:nvPr/>
            </p:nvSpPr>
            <p:spPr>
              <a:xfrm>
                <a:off x="7228840" y="1884259"/>
                <a:ext cx="18338" cy="18435"/>
              </a:xfrm>
              <a:custGeom>
                <a:avLst/>
                <a:gdLst>
                  <a:gd name="connsiteX0" fmla="*/ 1933 w 18338"/>
                  <a:gd name="connsiteY0" fmla="*/ 3536 h 18435"/>
                  <a:gd name="connsiteX1" fmla="*/ 14791 w 18338"/>
                  <a:gd name="connsiteY1" fmla="*/ 1981 h 18435"/>
                  <a:gd name="connsiteX2" fmla="*/ 16406 w 18338"/>
                  <a:gd name="connsiteY2" fmla="*/ 14899 h 18435"/>
                  <a:gd name="connsiteX3" fmla="*/ 3547 w 18338"/>
                  <a:gd name="connsiteY3" fmla="*/ 16454 h 18435"/>
                  <a:gd name="connsiteX4" fmla="*/ 1933 w 18338"/>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5">
                    <a:moveTo>
                      <a:pt x="1933" y="3536"/>
                    </a:moveTo>
                    <a:cubicBezTo>
                      <a:pt x="5042" y="-471"/>
                      <a:pt x="10784" y="-1189"/>
                      <a:pt x="14791" y="1981"/>
                    </a:cubicBezTo>
                    <a:cubicBezTo>
                      <a:pt x="18798" y="5151"/>
                      <a:pt x="19516" y="10892"/>
                      <a:pt x="16406" y="14899"/>
                    </a:cubicBezTo>
                    <a:cubicBezTo>
                      <a:pt x="13296" y="18906"/>
                      <a:pt x="7555" y="19624"/>
                      <a:pt x="3547" y="16454"/>
                    </a:cubicBezTo>
                    <a:cubicBezTo>
                      <a:pt x="-459" y="13285"/>
                      <a:pt x="-1177" y="7543"/>
                      <a:pt x="1933" y="3536"/>
                    </a:cubicBezTo>
                    <a:close/>
                  </a:path>
                </a:pathLst>
              </a:custGeom>
              <a:grpFill/>
              <a:ln w="5978" cap="flat">
                <a:noFill/>
                <a:prstDash val="solid"/>
                <a:miter/>
              </a:ln>
            </p:spPr>
            <p:txBody>
              <a:bodyPr rtlCol="0" anchor="ctr"/>
              <a:lstStyle/>
              <a:p>
                <a:endParaRPr lang="en-GB"/>
              </a:p>
            </p:txBody>
          </p:sp>
          <p:sp>
            <p:nvSpPr>
              <p:cNvPr id="4556" name="Vrije vorm: vorm 4555">
                <a:extLst>
                  <a:ext uri="{FF2B5EF4-FFF2-40B4-BE49-F238E27FC236}">
                    <a16:creationId xmlns:a16="http://schemas.microsoft.com/office/drawing/2014/main" id="{497483F7-4474-4E9E-B293-64E25FAF515D}"/>
                  </a:ext>
                </a:extLst>
              </p:cNvPr>
              <p:cNvSpPr/>
              <p:nvPr/>
            </p:nvSpPr>
            <p:spPr>
              <a:xfrm>
                <a:off x="7133925" y="2006445"/>
                <a:ext cx="18338" cy="18435"/>
              </a:xfrm>
              <a:custGeom>
                <a:avLst/>
                <a:gdLst>
                  <a:gd name="connsiteX0" fmla="*/ 1932 w 18338"/>
                  <a:gd name="connsiteY0" fmla="*/ 3536 h 18435"/>
                  <a:gd name="connsiteX1" fmla="*/ 3547 w 18338"/>
                  <a:gd name="connsiteY1" fmla="*/ 16454 h 18435"/>
                  <a:gd name="connsiteX2" fmla="*/ 16406 w 18338"/>
                  <a:gd name="connsiteY2" fmla="*/ 14899 h 18435"/>
                  <a:gd name="connsiteX3" fmla="*/ 14791 w 18338"/>
                  <a:gd name="connsiteY3" fmla="*/ 1981 h 18435"/>
                  <a:gd name="connsiteX4" fmla="*/ 1932 w 18338"/>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5">
                    <a:moveTo>
                      <a:pt x="1932" y="3536"/>
                    </a:moveTo>
                    <a:cubicBezTo>
                      <a:pt x="-1177" y="7543"/>
                      <a:pt x="-459" y="13344"/>
                      <a:pt x="3547" y="16454"/>
                    </a:cubicBezTo>
                    <a:cubicBezTo>
                      <a:pt x="7555" y="19624"/>
                      <a:pt x="13296" y="18906"/>
                      <a:pt x="16406" y="14899"/>
                    </a:cubicBezTo>
                    <a:cubicBezTo>
                      <a:pt x="19516" y="10892"/>
                      <a:pt x="18798" y="5091"/>
                      <a:pt x="14791" y="1981"/>
                    </a:cubicBezTo>
                    <a:cubicBezTo>
                      <a:pt x="10844" y="-1189"/>
                      <a:pt x="5043" y="-471"/>
                      <a:pt x="1932" y="3536"/>
                    </a:cubicBezTo>
                    <a:close/>
                  </a:path>
                </a:pathLst>
              </a:custGeom>
              <a:grpFill/>
              <a:ln w="5978" cap="flat">
                <a:noFill/>
                <a:prstDash val="solid"/>
                <a:miter/>
              </a:ln>
            </p:spPr>
            <p:txBody>
              <a:bodyPr rtlCol="0" anchor="ctr"/>
              <a:lstStyle/>
              <a:p>
                <a:endParaRPr lang="en-GB"/>
              </a:p>
            </p:txBody>
          </p:sp>
        </p:grpSp>
        <p:grpSp>
          <p:nvGrpSpPr>
            <p:cNvPr id="276" name="Graphic 3">
              <a:extLst>
                <a:ext uri="{FF2B5EF4-FFF2-40B4-BE49-F238E27FC236}">
                  <a16:creationId xmlns:a16="http://schemas.microsoft.com/office/drawing/2014/main" id="{8716C5ED-D26F-4BB6-B246-10BA973E8D31}"/>
                </a:ext>
              </a:extLst>
            </p:cNvPr>
            <p:cNvGrpSpPr/>
            <p:nvPr/>
          </p:nvGrpSpPr>
          <p:grpSpPr>
            <a:xfrm>
              <a:off x="7194973" y="2089522"/>
              <a:ext cx="106645" cy="112466"/>
              <a:chOff x="7194973" y="2089522"/>
              <a:chExt cx="106645" cy="112466"/>
            </a:xfrm>
            <a:grpFill/>
          </p:grpSpPr>
          <p:sp>
            <p:nvSpPr>
              <p:cNvPr id="4551" name="Vrije vorm: vorm 4550">
                <a:extLst>
                  <a:ext uri="{FF2B5EF4-FFF2-40B4-BE49-F238E27FC236}">
                    <a16:creationId xmlns:a16="http://schemas.microsoft.com/office/drawing/2014/main" id="{F0D92673-CCD2-417D-B7ED-76C2EE962E5D}"/>
                  </a:ext>
                </a:extLst>
              </p:cNvPr>
              <p:cNvSpPr/>
              <p:nvPr/>
            </p:nvSpPr>
            <p:spPr>
              <a:xfrm>
                <a:off x="7202723" y="2097300"/>
                <a:ext cx="91086" cy="96827"/>
              </a:xfrm>
              <a:custGeom>
                <a:avLst/>
                <a:gdLst>
                  <a:gd name="connsiteX0" fmla="*/ 91086 w 91086"/>
                  <a:gd name="connsiteY0" fmla="*/ 2153 h 96827"/>
                  <a:gd name="connsiteX1" fmla="*/ 2213 w 91086"/>
                  <a:gd name="connsiteY1" fmla="*/ 96828 h 96827"/>
                  <a:gd name="connsiteX2" fmla="*/ 0 w 91086"/>
                  <a:gd name="connsiteY2" fmla="*/ 94735 h 96827"/>
                  <a:gd name="connsiteX3" fmla="*/ 88873 w 91086"/>
                  <a:gd name="connsiteY3" fmla="*/ 0 h 96827"/>
                </a:gdLst>
                <a:ahLst/>
                <a:cxnLst>
                  <a:cxn ang="0">
                    <a:pos x="connsiteX0" y="connsiteY0"/>
                  </a:cxn>
                  <a:cxn ang="0">
                    <a:pos x="connsiteX1" y="connsiteY1"/>
                  </a:cxn>
                  <a:cxn ang="0">
                    <a:pos x="connsiteX2" y="connsiteY2"/>
                  </a:cxn>
                  <a:cxn ang="0">
                    <a:pos x="connsiteX3" y="connsiteY3"/>
                  </a:cxn>
                </a:cxnLst>
                <a:rect l="l" t="t" r="r" b="b"/>
                <a:pathLst>
                  <a:path w="91086" h="96827">
                    <a:moveTo>
                      <a:pt x="91086" y="2153"/>
                    </a:moveTo>
                    <a:lnTo>
                      <a:pt x="2213" y="96828"/>
                    </a:lnTo>
                    <a:lnTo>
                      <a:pt x="0" y="94735"/>
                    </a:lnTo>
                    <a:lnTo>
                      <a:pt x="88873" y="0"/>
                    </a:lnTo>
                    <a:close/>
                  </a:path>
                </a:pathLst>
              </a:custGeom>
              <a:grpFill/>
              <a:ln w="5978" cap="flat">
                <a:noFill/>
                <a:prstDash val="solid"/>
                <a:miter/>
              </a:ln>
            </p:spPr>
            <p:txBody>
              <a:bodyPr rtlCol="0" anchor="ctr"/>
              <a:lstStyle/>
              <a:p>
                <a:endParaRPr lang="en-GB"/>
              </a:p>
            </p:txBody>
          </p:sp>
          <p:sp>
            <p:nvSpPr>
              <p:cNvPr id="4552" name="Vrije vorm: vorm 4551">
                <a:extLst>
                  <a:ext uri="{FF2B5EF4-FFF2-40B4-BE49-F238E27FC236}">
                    <a16:creationId xmlns:a16="http://schemas.microsoft.com/office/drawing/2014/main" id="{3F848C04-5094-4CFB-A888-BE8875904259}"/>
                  </a:ext>
                </a:extLst>
              </p:cNvPr>
              <p:cNvSpPr/>
              <p:nvPr/>
            </p:nvSpPr>
            <p:spPr>
              <a:xfrm>
                <a:off x="7283248" y="2089522"/>
                <a:ext cx="18370" cy="18426"/>
              </a:xfrm>
              <a:custGeom>
                <a:avLst/>
                <a:gdLst>
                  <a:gd name="connsiteX0" fmla="*/ 2487 w 18370"/>
                  <a:gd name="connsiteY0" fmla="*/ 2874 h 18426"/>
                  <a:gd name="connsiteX1" fmla="*/ 15465 w 18370"/>
                  <a:gd name="connsiteY1" fmla="*/ 2515 h 18426"/>
                  <a:gd name="connsiteX2" fmla="*/ 15883 w 18370"/>
                  <a:gd name="connsiteY2" fmla="*/ 15553 h 18426"/>
                  <a:gd name="connsiteX3" fmla="*/ 2905 w 18370"/>
                  <a:gd name="connsiteY3" fmla="*/ 15912 h 18426"/>
                  <a:gd name="connsiteX4" fmla="*/ 2487 w 18370"/>
                  <a:gd name="connsiteY4" fmla="*/ 287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6">
                    <a:moveTo>
                      <a:pt x="2487" y="2874"/>
                    </a:moveTo>
                    <a:cubicBezTo>
                      <a:pt x="5955" y="-834"/>
                      <a:pt x="11757" y="-954"/>
                      <a:pt x="15465" y="2515"/>
                    </a:cubicBezTo>
                    <a:cubicBezTo>
                      <a:pt x="19173" y="5984"/>
                      <a:pt x="19352" y="11845"/>
                      <a:pt x="15883" y="15553"/>
                    </a:cubicBezTo>
                    <a:cubicBezTo>
                      <a:pt x="12415" y="19261"/>
                      <a:pt x="6613" y="19381"/>
                      <a:pt x="2905" y="15912"/>
                    </a:cubicBezTo>
                    <a:cubicBezTo>
                      <a:pt x="-803" y="12383"/>
                      <a:pt x="-982" y="6522"/>
                      <a:pt x="2487" y="2874"/>
                    </a:cubicBezTo>
                    <a:close/>
                  </a:path>
                </a:pathLst>
              </a:custGeom>
              <a:grpFill/>
              <a:ln w="5978" cap="flat">
                <a:noFill/>
                <a:prstDash val="solid"/>
                <a:miter/>
              </a:ln>
            </p:spPr>
            <p:txBody>
              <a:bodyPr rtlCol="0" anchor="ctr"/>
              <a:lstStyle/>
              <a:p>
                <a:endParaRPr lang="en-GB"/>
              </a:p>
            </p:txBody>
          </p:sp>
          <p:sp>
            <p:nvSpPr>
              <p:cNvPr id="4553" name="Vrije vorm: vorm 4552">
                <a:extLst>
                  <a:ext uri="{FF2B5EF4-FFF2-40B4-BE49-F238E27FC236}">
                    <a16:creationId xmlns:a16="http://schemas.microsoft.com/office/drawing/2014/main" id="{9806058B-E958-4EE1-B1FF-C656EEDEA128}"/>
                  </a:ext>
                </a:extLst>
              </p:cNvPr>
              <p:cNvSpPr/>
              <p:nvPr/>
            </p:nvSpPr>
            <p:spPr>
              <a:xfrm>
                <a:off x="7194973" y="2183539"/>
                <a:ext cx="18370" cy="18449"/>
              </a:xfrm>
              <a:custGeom>
                <a:avLst/>
                <a:gdLst>
                  <a:gd name="connsiteX0" fmla="*/ 2487 w 18370"/>
                  <a:gd name="connsiteY0" fmla="*/ 2874 h 18449"/>
                  <a:gd name="connsiteX1" fmla="*/ 2906 w 18370"/>
                  <a:gd name="connsiteY1" fmla="*/ 15912 h 18449"/>
                  <a:gd name="connsiteX2" fmla="*/ 15883 w 18370"/>
                  <a:gd name="connsiteY2" fmla="*/ 15553 h 18449"/>
                  <a:gd name="connsiteX3" fmla="*/ 15465 w 18370"/>
                  <a:gd name="connsiteY3" fmla="*/ 2515 h 18449"/>
                  <a:gd name="connsiteX4" fmla="*/ 2487 w 18370"/>
                  <a:gd name="connsiteY4" fmla="*/ 2874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49">
                    <a:moveTo>
                      <a:pt x="2487" y="2874"/>
                    </a:moveTo>
                    <a:cubicBezTo>
                      <a:pt x="-982" y="6582"/>
                      <a:pt x="-803" y="12383"/>
                      <a:pt x="2906" y="15912"/>
                    </a:cubicBezTo>
                    <a:cubicBezTo>
                      <a:pt x="6614" y="19440"/>
                      <a:pt x="12415" y="19261"/>
                      <a:pt x="15883" y="15553"/>
                    </a:cubicBezTo>
                    <a:cubicBezTo>
                      <a:pt x="19353" y="11845"/>
                      <a:pt x="19173" y="6044"/>
                      <a:pt x="15465" y="2515"/>
                    </a:cubicBezTo>
                    <a:cubicBezTo>
                      <a:pt x="11757" y="-954"/>
                      <a:pt x="5955" y="-834"/>
                      <a:pt x="2487" y="2874"/>
                    </a:cubicBezTo>
                    <a:close/>
                  </a:path>
                </a:pathLst>
              </a:custGeom>
              <a:grpFill/>
              <a:ln w="5978" cap="flat">
                <a:noFill/>
                <a:prstDash val="solid"/>
                <a:miter/>
              </a:ln>
            </p:spPr>
            <p:txBody>
              <a:bodyPr rtlCol="0" anchor="ctr"/>
              <a:lstStyle/>
              <a:p>
                <a:endParaRPr lang="en-GB"/>
              </a:p>
            </p:txBody>
          </p:sp>
        </p:grpSp>
        <p:grpSp>
          <p:nvGrpSpPr>
            <p:cNvPr id="277" name="Graphic 3">
              <a:extLst>
                <a:ext uri="{FF2B5EF4-FFF2-40B4-BE49-F238E27FC236}">
                  <a16:creationId xmlns:a16="http://schemas.microsoft.com/office/drawing/2014/main" id="{C40ED6BD-ADE1-415F-B791-D788700BF215}"/>
                </a:ext>
              </a:extLst>
            </p:cNvPr>
            <p:cNvGrpSpPr/>
            <p:nvPr/>
          </p:nvGrpSpPr>
          <p:grpSpPr>
            <a:xfrm>
              <a:off x="7703418" y="3703516"/>
              <a:ext cx="138652" cy="39942"/>
              <a:chOff x="7703418" y="3703516"/>
              <a:chExt cx="138652" cy="39942"/>
            </a:xfrm>
            <a:grpFill/>
          </p:grpSpPr>
          <p:sp>
            <p:nvSpPr>
              <p:cNvPr id="4548" name="Vrije vorm: vorm 4547">
                <a:extLst>
                  <a:ext uri="{FF2B5EF4-FFF2-40B4-BE49-F238E27FC236}">
                    <a16:creationId xmlns:a16="http://schemas.microsoft.com/office/drawing/2014/main" id="{9EFEEA56-C9D6-40E2-AC01-8B6C96AC1812}"/>
                  </a:ext>
                </a:extLst>
              </p:cNvPr>
              <p:cNvSpPr/>
              <p:nvPr/>
            </p:nvSpPr>
            <p:spPr>
              <a:xfrm>
                <a:off x="7711861" y="3711137"/>
                <a:ext cx="121707" cy="24640"/>
              </a:xfrm>
              <a:custGeom>
                <a:avLst/>
                <a:gdLst>
                  <a:gd name="connsiteX0" fmla="*/ 121708 w 121707"/>
                  <a:gd name="connsiteY0" fmla="*/ 21650 h 24640"/>
                  <a:gd name="connsiteX1" fmla="*/ 121229 w 121707"/>
                  <a:gd name="connsiteY1" fmla="*/ 24641 h 24640"/>
                  <a:gd name="connsiteX2" fmla="*/ 0 w 121707"/>
                  <a:gd name="connsiteY2" fmla="*/ 3050 h 24640"/>
                  <a:gd name="connsiteX3" fmla="*/ 478 w 121707"/>
                  <a:gd name="connsiteY3" fmla="*/ 0 h 24640"/>
                </a:gdLst>
                <a:ahLst/>
                <a:cxnLst>
                  <a:cxn ang="0">
                    <a:pos x="connsiteX0" y="connsiteY0"/>
                  </a:cxn>
                  <a:cxn ang="0">
                    <a:pos x="connsiteX1" y="connsiteY1"/>
                  </a:cxn>
                  <a:cxn ang="0">
                    <a:pos x="connsiteX2" y="connsiteY2"/>
                  </a:cxn>
                  <a:cxn ang="0">
                    <a:pos x="connsiteX3" y="connsiteY3"/>
                  </a:cxn>
                </a:cxnLst>
                <a:rect l="l" t="t" r="r" b="b"/>
                <a:pathLst>
                  <a:path w="121707" h="24640">
                    <a:moveTo>
                      <a:pt x="121708" y="21650"/>
                    </a:moveTo>
                    <a:lnTo>
                      <a:pt x="121229" y="24641"/>
                    </a:lnTo>
                    <a:lnTo>
                      <a:pt x="0" y="3050"/>
                    </a:lnTo>
                    <a:lnTo>
                      <a:pt x="478" y="0"/>
                    </a:lnTo>
                    <a:close/>
                  </a:path>
                </a:pathLst>
              </a:custGeom>
              <a:grpFill/>
              <a:ln w="5978" cap="flat">
                <a:noFill/>
                <a:prstDash val="solid"/>
                <a:miter/>
              </a:ln>
            </p:spPr>
            <p:txBody>
              <a:bodyPr rtlCol="0" anchor="ctr"/>
              <a:lstStyle/>
              <a:p>
                <a:endParaRPr lang="en-GB"/>
              </a:p>
            </p:txBody>
          </p:sp>
          <p:sp>
            <p:nvSpPr>
              <p:cNvPr id="4549" name="Vrije vorm: vorm 4548">
                <a:extLst>
                  <a:ext uri="{FF2B5EF4-FFF2-40B4-BE49-F238E27FC236}">
                    <a16:creationId xmlns:a16="http://schemas.microsoft.com/office/drawing/2014/main" id="{FC48F52C-5AA8-41CA-9F98-D836B05963BC}"/>
                  </a:ext>
                </a:extLst>
              </p:cNvPr>
              <p:cNvSpPr/>
              <p:nvPr/>
            </p:nvSpPr>
            <p:spPr>
              <a:xfrm>
                <a:off x="7823752" y="3724987"/>
                <a:ext cx="18318" cy="18472"/>
              </a:xfrm>
              <a:custGeom>
                <a:avLst/>
                <a:gdLst>
                  <a:gd name="connsiteX0" fmla="*/ 10714 w 18318"/>
                  <a:gd name="connsiteY0" fmla="*/ 145 h 18472"/>
                  <a:gd name="connsiteX1" fmla="*/ 18190 w 18318"/>
                  <a:gd name="connsiteY1" fmla="*/ 10851 h 18472"/>
                  <a:gd name="connsiteX2" fmla="*/ 7604 w 18318"/>
                  <a:gd name="connsiteY2" fmla="*/ 18327 h 18472"/>
                  <a:gd name="connsiteX3" fmla="*/ 128 w 18318"/>
                  <a:gd name="connsiteY3" fmla="*/ 7621 h 18472"/>
                  <a:gd name="connsiteX4" fmla="*/ 10714 w 18318"/>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2">
                    <a:moveTo>
                      <a:pt x="10714" y="145"/>
                    </a:moveTo>
                    <a:cubicBezTo>
                      <a:pt x="15678" y="1042"/>
                      <a:pt x="19028" y="5827"/>
                      <a:pt x="18190" y="10851"/>
                    </a:cubicBezTo>
                    <a:cubicBezTo>
                      <a:pt x="17353" y="15875"/>
                      <a:pt x="12569" y="19224"/>
                      <a:pt x="7604" y="18327"/>
                    </a:cubicBezTo>
                    <a:cubicBezTo>
                      <a:pt x="2640" y="17430"/>
                      <a:pt x="-709" y="12645"/>
                      <a:pt x="128" y="7621"/>
                    </a:cubicBezTo>
                    <a:cubicBezTo>
                      <a:pt x="966" y="2597"/>
                      <a:pt x="5691" y="-752"/>
                      <a:pt x="10714" y="145"/>
                    </a:cubicBezTo>
                    <a:close/>
                  </a:path>
                </a:pathLst>
              </a:custGeom>
              <a:grpFill/>
              <a:ln w="5978" cap="flat">
                <a:noFill/>
                <a:prstDash val="solid"/>
                <a:miter/>
              </a:ln>
            </p:spPr>
            <p:txBody>
              <a:bodyPr rtlCol="0" anchor="ctr"/>
              <a:lstStyle/>
              <a:p>
                <a:endParaRPr lang="en-GB"/>
              </a:p>
            </p:txBody>
          </p:sp>
          <p:sp>
            <p:nvSpPr>
              <p:cNvPr id="4550" name="Vrije vorm: vorm 4549">
                <a:extLst>
                  <a:ext uri="{FF2B5EF4-FFF2-40B4-BE49-F238E27FC236}">
                    <a16:creationId xmlns:a16="http://schemas.microsoft.com/office/drawing/2014/main" id="{350476B1-0927-40CA-822F-A4AD84B0EB8E}"/>
                  </a:ext>
                </a:extLst>
              </p:cNvPr>
              <p:cNvSpPr/>
              <p:nvPr/>
            </p:nvSpPr>
            <p:spPr>
              <a:xfrm>
                <a:off x="7703418" y="3703516"/>
                <a:ext cx="18320" cy="18472"/>
              </a:xfrm>
              <a:custGeom>
                <a:avLst/>
                <a:gdLst>
                  <a:gd name="connsiteX0" fmla="*/ 10716 w 18320"/>
                  <a:gd name="connsiteY0" fmla="*/ 145 h 18472"/>
                  <a:gd name="connsiteX1" fmla="*/ 130 w 18320"/>
                  <a:gd name="connsiteY1" fmla="*/ 7621 h 18472"/>
                  <a:gd name="connsiteX2" fmla="*/ 7606 w 18320"/>
                  <a:gd name="connsiteY2" fmla="*/ 18327 h 18472"/>
                  <a:gd name="connsiteX3" fmla="*/ 18192 w 18320"/>
                  <a:gd name="connsiteY3" fmla="*/ 10851 h 18472"/>
                  <a:gd name="connsiteX4" fmla="*/ 10716 w 18320"/>
                  <a:gd name="connsiteY4" fmla="*/ 145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72">
                    <a:moveTo>
                      <a:pt x="10716" y="145"/>
                    </a:moveTo>
                    <a:cubicBezTo>
                      <a:pt x="5752" y="-752"/>
                      <a:pt x="967" y="2597"/>
                      <a:pt x="130" y="7621"/>
                    </a:cubicBezTo>
                    <a:cubicBezTo>
                      <a:pt x="-707" y="12645"/>
                      <a:pt x="2582" y="17430"/>
                      <a:pt x="7606" y="18327"/>
                    </a:cubicBezTo>
                    <a:cubicBezTo>
                      <a:pt x="12570" y="19224"/>
                      <a:pt x="17355" y="15875"/>
                      <a:pt x="18192" y="10851"/>
                    </a:cubicBezTo>
                    <a:cubicBezTo>
                      <a:pt x="19029" y="5827"/>
                      <a:pt x="15680" y="1042"/>
                      <a:pt x="10716" y="145"/>
                    </a:cubicBezTo>
                    <a:close/>
                  </a:path>
                </a:pathLst>
              </a:custGeom>
              <a:grpFill/>
              <a:ln w="5978" cap="flat">
                <a:noFill/>
                <a:prstDash val="solid"/>
                <a:miter/>
              </a:ln>
            </p:spPr>
            <p:txBody>
              <a:bodyPr rtlCol="0" anchor="ctr"/>
              <a:lstStyle/>
              <a:p>
                <a:endParaRPr lang="en-GB"/>
              </a:p>
            </p:txBody>
          </p:sp>
        </p:grpSp>
        <p:grpSp>
          <p:nvGrpSpPr>
            <p:cNvPr id="278" name="Graphic 3">
              <a:extLst>
                <a:ext uri="{FF2B5EF4-FFF2-40B4-BE49-F238E27FC236}">
                  <a16:creationId xmlns:a16="http://schemas.microsoft.com/office/drawing/2014/main" id="{E09AEE32-DC88-4884-80FE-156A5636FBB2}"/>
                </a:ext>
              </a:extLst>
            </p:cNvPr>
            <p:cNvGrpSpPr/>
            <p:nvPr/>
          </p:nvGrpSpPr>
          <p:grpSpPr>
            <a:xfrm>
              <a:off x="6732505" y="752574"/>
              <a:ext cx="393146" cy="956119"/>
              <a:chOff x="6732505" y="752574"/>
              <a:chExt cx="393146" cy="956119"/>
            </a:xfrm>
            <a:grpFill/>
          </p:grpSpPr>
          <p:sp>
            <p:nvSpPr>
              <p:cNvPr id="4545" name="Vrije vorm: vorm 4544">
                <a:extLst>
                  <a:ext uri="{FF2B5EF4-FFF2-40B4-BE49-F238E27FC236}">
                    <a16:creationId xmlns:a16="http://schemas.microsoft.com/office/drawing/2014/main" id="{E2AC44D9-6688-4786-8361-7F68201C3E45}"/>
                  </a:ext>
                </a:extLst>
              </p:cNvPr>
              <p:cNvSpPr/>
              <p:nvPr/>
            </p:nvSpPr>
            <p:spPr>
              <a:xfrm>
                <a:off x="6740114" y="760788"/>
                <a:ext cx="377981" cy="939690"/>
              </a:xfrm>
              <a:custGeom>
                <a:avLst/>
                <a:gdLst>
                  <a:gd name="connsiteX0" fmla="*/ 377981 w 377981"/>
                  <a:gd name="connsiteY0" fmla="*/ 1136 h 939690"/>
                  <a:gd name="connsiteX1" fmla="*/ 2811 w 377981"/>
                  <a:gd name="connsiteY1" fmla="*/ 939691 h 939690"/>
                  <a:gd name="connsiteX2" fmla="*/ 0 w 377981"/>
                  <a:gd name="connsiteY2" fmla="*/ 938495 h 939690"/>
                  <a:gd name="connsiteX3" fmla="*/ 375171 w 377981"/>
                  <a:gd name="connsiteY3" fmla="*/ 0 h 939690"/>
                </a:gdLst>
                <a:ahLst/>
                <a:cxnLst>
                  <a:cxn ang="0">
                    <a:pos x="connsiteX0" y="connsiteY0"/>
                  </a:cxn>
                  <a:cxn ang="0">
                    <a:pos x="connsiteX1" y="connsiteY1"/>
                  </a:cxn>
                  <a:cxn ang="0">
                    <a:pos x="connsiteX2" y="connsiteY2"/>
                  </a:cxn>
                  <a:cxn ang="0">
                    <a:pos x="connsiteX3" y="connsiteY3"/>
                  </a:cxn>
                </a:cxnLst>
                <a:rect l="l" t="t" r="r" b="b"/>
                <a:pathLst>
                  <a:path w="377981" h="939690">
                    <a:moveTo>
                      <a:pt x="377981" y="1136"/>
                    </a:moveTo>
                    <a:lnTo>
                      <a:pt x="2811" y="939691"/>
                    </a:lnTo>
                    <a:lnTo>
                      <a:pt x="0" y="938495"/>
                    </a:lnTo>
                    <a:lnTo>
                      <a:pt x="375171" y="0"/>
                    </a:lnTo>
                    <a:close/>
                  </a:path>
                </a:pathLst>
              </a:custGeom>
              <a:grpFill/>
              <a:ln w="5978" cap="flat">
                <a:noFill/>
                <a:prstDash val="solid"/>
                <a:miter/>
              </a:ln>
            </p:spPr>
            <p:txBody>
              <a:bodyPr rtlCol="0" anchor="ctr"/>
              <a:lstStyle/>
              <a:p>
                <a:endParaRPr lang="en-GB"/>
              </a:p>
            </p:txBody>
          </p:sp>
          <p:sp>
            <p:nvSpPr>
              <p:cNvPr id="4546" name="Vrije vorm: vorm 4545">
                <a:extLst>
                  <a:ext uri="{FF2B5EF4-FFF2-40B4-BE49-F238E27FC236}">
                    <a16:creationId xmlns:a16="http://schemas.microsoft.com/office/drawing/2014/main" id="{01DBB450-1D67-4AC7-893C-A844770D2749}"/>
                  </a:ext>
                </a:extLst>
              </p:cNvPr>
              <p:cNvSpPr/>
              <p:nvPr/>
            </p:nvSpPr>
            <p:spPr>
              <a:xfrm>
                <a:off x="7107342" y="752574"/>
                <a:ext cx="18309" cy="18461"/>
              </a:xfrm>
              <a:custGeom>
                <a:avLst/>
                <a:gdLst>
                  <a:gd name="connsiteX0" fmla="*/ 646 w 18309"/>
                  <a:gd name="connsiteY0" fmla="*/ 5762 h 18461"/>
                  <a:gd name="connsiteX1" fmla="*/ 12548 w 18309"/>
                  <a:gd name="connsiteY1" fmla="*/ 679 h 18461"/>
                  <a:gd name="connsiteX2" fmla="*/ 17631 w 18309"/>
                  <a:gd name="connsiteY2" fmla="*/ 12700 h 18461"/>
                  <a:gd name="connsiteX3" fmla="*/ 5730 w 18309"/>
                  <a:gd name="connsiteY3" fmla="*/ 17783 h 18461"/>
                  <a:gd name="connsiteX4" fmla="*/ 646 w 18309"/>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646" y="5762"/>
                    </a:moveTo>
                    <a:cubicBezTo>
                      <a:pt x="2500" y="1037"/>
                      <a:pt x="7883" y="-1235"/>
                      <a:pt x="12548" y="679"/>
                    </a:cubicBezTo>
                    <a:cubicBezTo>
                      <a:pt x="17273" y="2592"/>
                      <a:pt x="19545" y="7975"/>
                      <a:pt x="17631" y="12700"/>
                    </a:cubicBezTo>
                    <a:cubicBezTo>
                      <a:pt x="15718" y="17425"/>
                      <a:pt x="10395" y="19697"/>
                      <a:pt x="5730" y="17783"/>
                    </a:cubicBezTo>
                    <a:cubicBezTo>
                      <a:pt x="1064" y="15870"/>
                      <a:pt x="-1208" y="10487"/>
                      <a:pt x="646" y="5762"/>
                    </a:cubicBezTo>
                    <a:close/>
                  </a:path>
                </a:pathLst>
              </a:custGeom>
              <a:grpFill/>
              <a:ln w="5978" cap="flat">
                <a:noFill/>
                <a:prstDash val="solid"/>
                <a:miter/>
              </a:ln>
            </p:spPr>
            <p:txBody>
              <a:bodyPr rtlCol="0" anchor="ctr"/>
              <a:lstStyle/>
              <a:p>
                <a:endParaRPr lang="en-GB"/>
              </a:p>
            </p:txBody>
          </p:sp>
          <p:sp>
            <p:nvSpPr>
              <p:cNvPr id="4547" name="Vrije vorm: vorm 4546">
                <a:extLst>
                  <a:ext uri="{FF2B5EF4-FFF2-40B4-BE49-F238E27FC236}">
                    <a16:creationId xmlns:a16="http://schemas.microsoft.com/office/drawing/2014/main" id="{FC88EAA8-38A6-41AD-B01E-E5CE62254B51}"/>
                  </a:ext>
                </a:extLst>
              </p:cNvPr>
              <p:cNvSpPr/>
              <p:nvPr/>
            </p:nvSpPr>
            <p:spPr>
              <a:xfrm>
                <a:off x="6732505" y="1690231"/>
                <a:ext cx="18326" cy="18461"/>
              </a:xfrm>
              <a:custGeom>
                <a:avLst/>
                <a:gdLst>
                  <a:gd name="connsiteX0" fmla="*/ 671 w 18326"/>
                  <a:gd name="connsiteY0" fmla="*/ 5762 h 18461"/>
                  <a:gd name="connsiteX1" fmla="*/ 5755 w 18326"/>
                  <a:gd name="connsiteY1" fmla="*/ 17783 h 18461"/>
                  <a:gd name="connsiteX2" fmla="*/ 17656 w 18326"/>
                  <a:gd name="connsiteY2" fmla="*/ 12700 h 18461"/>
                  <a:gd name="connsiteX3" fmla="*/ 12572 w 18326"/>
                  <a:gd name="connsiteY3" fmla="*/ 679 h 18461"/>
                  <a:gd name="connsiteX4" fmla="*/ 671 w 18326"/>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671" y="5762"/>
                    </a:moveTo>
                    <a:cubicBezTo>
                      <a:pt x="-1243" y="10487"/>
                      <a:pt x="1089" y="15870"/>
                      <a:pt x="5755" y="17783"/>
                    </a:cubicBezTo>
                    <a:cubicBezTo>
                      <a:pt x="10479" y="19697"/>
                      <a:pt x="15802" y="17425"/>
                      <a:pt x="17656" y="12700"/>
                    </a:cubicBezTo>
                    <a:cubicBezTo>
                      <a:pt x="19570" y="7975"/>
                      <a:pt x="17237" y="2592"/>
                      <a:pt x="12572" y="679"/>
                    </a:cubicBezTo>
                    <a:cubicBezTo>
                      <a:pt x="7908" y="-1235"/>
                      <a:pt x="2585" y="1037"/>
                      <a:pt x="671" y="5762"/>
                    </a:cubicBezTo>
                    <a:close/>
                  </a:path>
                </a:pathLst>
              </a:custGeom>
              <a:grpFill/>
              <a:ln w="5978" cap="flat">
                <a:noFill/>
                <a:prstDash val="solid"/>
                <a:miter/>
              </a:ln>
            </p:spPr>
            <p:txBody>
              <a:bodyPr rtlCol="0" anchor="ctr"/>
              <a:lstStyle/>
              <a:p>
                <a:endParaRPr lang="en-GB"/>
              </a:p>
            </p:txBody>
          </p:sp>
        </p:grpSp>
        <p:grpSp>
          <p:nvGrpSpPr>
            <p:cNvPr id="279" name="Graphic 3">
              <a:extLst>
                <a:ext uri="{FF2B5EF4-FFF2-40B4-BE49-F238E27FC236}">
                  <a16:creationId xmlns:a16="http://schemas.microsoft.com/office/drawing/2014/main" id="{42C5F576-5C26-4A53-AE9F-D20F8D280BC9}"/>
                </a:ext>
              </a:extLst>
            </p:cNvPr>
            <p:cNvGrpSpPr/>
            <p:nvPr/>
          </p:nvGrpSpPr>
          <p:grpSpPr>
            <a:xfrm>
              <a:off x="7681234" y="3828927"/>
              <a:ext cx="288761" cy="123929"/>
              <a:chOff x="7681234" y="3828927"/>
              <a:chExt cx="288761" cy="123929"/>
            </a:xfrm>
            <a:grpFill/>
          </p:grpSpPr>
          <p:sp>
            <p:nvSpPr>
              <p:cNvPr id="4542" name="Vrije vorm: vorm 4541">
                <a:extLst>
                  <a:ext uri="{FF2B5EF4-FFF2-40B4-BE49-F238E27FC236}">
                    <a16:creationId xmlns:a16="http://schemas.microsoft.com/office/drawing/2014/main" id="{34E3DC64-CA7A-4FD3-9D05-885BFE6C96E3}"/>
                  </a:ext>
                </a:extLst>
              </p:cNvPr>
              <p:cNvSpPr/>
              <p:nvPr/>
            </p:nvSpPr>
            <p:spPr>
              <a:xfrm>
                <a:off x="7689434" y="3836553"/>
                <a:ext cx="272362" cy="108669"/>
              </a:xfrm>
              <a:custGeom>
                <a:avLst/>
                <a:gdLst>
                  <a:gd name="connsiteX0" fmla="*/ 272362 w 272362"/>
                  <a:gd name="connsiteY0" fmla="*/ 105799 h 108669"/>
                  <a:gd name="connsiteX1" fmla="*/ 271285 w 272362"/>
                  <a:gd name="connsiteY1" fmla="*/ 108670 h 108669"/>
                  <a:gd name="connsiteX2" fmla="*/ 0 w 272362"/>
                  <a:gd name="connsiteY2" fmla="*/ 2811 h 108669"/>
                  <a:gd name="connsiteX3" fmla="*/ 1077 w 272362"/>
                  <a:gd name="connsiteY3" fmla="*/ 0 h 108669"/>
                </a:gdLst>
                <a:ahLst/>
                <a:cxnLst>
                  <a:cxn ang="0">
                    <a:pos x="connsiteX0" y="connsiteY0"/>
                  </a:cxn>
                  <a:cxn ang="0">
                    <a:pos x="connsiteX1" y="connsiteY1"/>
                  </a:cxn>
                  <a:cxn ang="0">
                    <a:pos x="connsiteX2" y="connsiteY2"/>
                  </a:cxn>
                  <a:cxn ang="0">
                    <a:pos x="connsiteX3" y="connsiteY3"/>
                  </a:cxn>
                </a:cxnLst>
                <a:rect l="l" t="t" r="r" b="b"/>
                <a:pathLst>
                  <a:path w="272362" h="108669">
                    <a:moveTo>
                      <a:pt x="272362" y="105799"/>
                    </a:moveTo>
                    <a:lnTo>
                      <a:pt x="271285" y="108670"/>
                    </a:lnTo>
                    <a:lnTo>
                      <a:pt x="0" y="2811"/>
                    </a:lnTo>
                    <a:lnTo>
                      <a:pt x="1077" y="0"/>
                    </a:lnTo>
                    <a:close/>
                  </a:path>
                </a:pathLst>
              </a:custGeom>
              <a:grpFill/>
              <a:ln w="5978" cap="flat">
                <a:noFill/>
                <a:prstDash val="solid"/>
                <a:miter/>
              </a:ln>
            </p:spPr>
            <p:txBody>
              <a:bodyPr rtlCol="0" anchor="ctr"/>
              <a:lstStyle/>
              <a:p>
                <a:endParaRPr lang="en-GB"/>
              </a:p>
            </p:txBody>
          </p:sp>
          <p:sp>
            <p:nvSpPr>
              <p:cNvPr id="4543" name="Vrije vorm: vorm 4542">
                <a:extLst>
                  <a:ext uri="{FF2B5EF4-FFF2-40B4-BE49-F238E27FC236}">
                    <a16:creationId xmlns:a16="http://schemas.microsoft.com/office/drawing/2014/main" id="{F50F9A66-895F-4450-B6DC-59649B71CE84}"/>
                  </a:ext>
                </a:extLst>
              </p:cNvPr>
              <p:cNvSpPr/>
              <p:nvPr/>
            </p:nvSpPr>
            <p:spPr>
              <a:xfrm>
                <a:off x="7681234" y="3828927"/>
                <a:ext cx="18313" cy="18421"/>
              </a:xfrm>
              <a:custGeom>
                <a:avLst/>
                <a:gdLst>
                  <a:gd name="connsiteX0" fmla="*/ 5867 w 18313"/>
                  <a:gd name="connsiteY0" fmla="*/ 17793 h 18421"/>
                  <a:gd name="connsiteX1" fmla="*/ 604 w 18313"/>
                  <a:gd name="connsiteY1" fmla="*/ 5892 h 18421"/>
                  <a:gd name="connsiteX2" fmla="*/ 12446 w 18313"/>
                  <a:gd name="connsiteY2" fmla="*/ 629 h 18421"/>
                  <a:gd name="connsiteX3" fmla="*/ 17709 w 18313"/>
                  <a:gd name="connsiteY3" fmla="*/ 12530 h 18421"/>
                  <a:gd name="connsiteX4" fmla="*/ 5867 w 18313"/>
                  <a:gd name="connsiteY4" fmla="*/ 1779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1">
                    <a:moveTo>
                      <a:pt x="5867" y="17793"/>
                    </a:moveTo>
                    <a:cubicBezTo>
                      <a:pt x="1142" y="15939"/>
                      <a:pt x="-1190" y="10617"/>
                      <a:pt x="604" y="5892"/>
                    </a:cubicBezTo>
                    <a:cubicBezTo>
                      <a:pt x="2399" y="1167"/>
                      <a:pt x="7722" y="-1225"/>
                      <a:pt x="12446" y="629"/>
                    </a:cubicBezTo>
                    <a:cubicBezTo>
                      <a:pt x="17171" y="2483"/>
                      <a:pt x="19503" y="7806"/>
                      <a:pt x="17709" y="12530"/>
                    </a:cubicBezTo>
                    <a:cubicBezTo>
                      <a:pt x="15915" y="17255"/>
                      <a:pt x="10592" y="19647"/>
                      <a:pt x="5867" y="17793"/>
                    </a:cubicBezTo>
                    <a:close/>
                  </a:path>
                </a:pathLst>
              </a:custGeom>
              <a:grpFill/>
              <a:ln w="5978" cap="flat">
                <a:noFill/>
                <a:prstDash val="solid"/>
                <a:miter/>
              </a:ln>
            </p:spPr>
            <p:txBody>
              <a:bodyPr rtlCol="0" anchor="ctr"/>
              <a:lstStyle/>
              <a:p>
                <a:endParaRPr lang="en-GB"/>
              </a:p>
            </p:txBody>
          </p:sp>
          <p:sp>
            <p:nvSpPr>
              <p:cNvPr id="4544" name="Vrije vorm: vorm 4543">
                <a:extLst>
                  <a:ext uri="{FF2B5EF4-FFF2-40B4-BE49-F238E27FC236}">
                    <a16:creationId xmlns:a16="http://schemas.microsoft.com/office/drawing/2014/main" id="{B2A0D9DB-815D-4C3C-BF82-9ACA199A1624}"/>
                  </a:ext>
                </a:extLst>
              </p:cNvPr>
              <p:cNvSpPr/>
              <p:nvPr/>
            </p:nvSpPr>
            <p:spPr>
              <a:xfrm>
                <a:off x="7951682" y="3934427"/>
                <a:ext cx="18313" cy="18429"/>
              </a:xfrm>
              <a:custGeom>
                <a:avLst/>
                <a:gdLst>
                  <a:gd name="connsiteX0" fmla="*/ 5867 w 18313"/>
                  <a:gd name="connsiteY0" fmla="*/ 17793 h 18429"/>
                  <a:gd name="connsiteX1" fmla="*/ 17710 w 18313"/>
                  <a:gd name="connsiteY1" fmla="*/ 12530 h 18429"/>
                  <a:gd name="connsiteX2" fmla="*/ 12446 w 18313"/>
                  <a:gd name="connsiteY2" fmla="*/ 629 h 18429"/>
                  <a:gd name="connsiteX3" fmla="*/ 604 w 18313"/>
                  <a:gd name="connsiteY3" fmla="*/ 5892 h 18429"/>
                  <a:gd name="connsiteX4" fmla="*/ 5867 w 18313"/>
                  <a:gd name="connsiteY4" fmla="*/ 1779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9">
                    <a:moveTo>
                      <a:pt x="5867" y="17793"/>
                    </a:moveTo>
                    <a:cubicBezTo>
                      <a:pt x="10592" y="19647"/>
                      <a:pt x="15915" y="17315"/>
                      <a:pt x="17710" y="12530"/>
                    </a:cubicBezTo>
                    <a:cubicBezTo>
                      <a:pt x="19503" y="7806"/>
                      <a:pt x="17171" y="2423"/>
                      <a:pt x="12446" y="629"/>
                    </a:cubicBezTo>
                    <a:cubicBezTo>
                      <a:pt x="7721" y="-1225"/>
                      <a:pt x="2399" y="1167"/>
                      <a:pt x="604" y="5892"/>
                    </a:cubicBezTo>
                    <a:cubicBezTo>
                      <a:pt x="-1190" y="10556"/>
                      <a:pt x="1143" y="15939"/>
                      <a:pt x="5867" y="17793"/>
                    </a:cubicBezTo>
                    <a:close/>
                  </a:path>
                </a:pathLst>
              </a:custGeom>
              <a:grpFill/>
              <a:ln w="5978" cap="flat">
                <a:noFill/>
                <a:prstDash val="solid"/>
                <a:miter/>
              </a:ln>
            </p:spPr>
            <p:txBody>
              <a:bodyPr rtlCol="0" anchor="ctr"/>
              <a:lstStyle/>
              <a:p>
                <a:endParaRPr lang="en-GB"/>
              </a:p>
            </p:txBody>
          </p:sp>
        </p:grpSp>
        <p:grpSp>
          <p:nvGrpSpPr>
            <p:cNvPr id="280" name="Graphic 3">
              <a:extLst>
                <a:ext uri="{FF2B5EF4-FFF2-40B4-BE49-F238E27FC236}">
                  <a16:creationId xmlns:a16="http://schemas.microsoft.com/office/drawing/2014/main" id="{44445E11-5AF2-4DEF-9938-AE8ED22238FD}"/>
                </a:ext>
              </a:extLst>
            </p:cNvPr>
            <p:cNvGrpSpPr/>
            <p:nvPr/>
          </p:nvGrpSpPr>
          <p:grpSpPr>
            <a:xfrm>
              <a:off x="6957668" y="1440073"/>
              <a:ext cx="209294" cy="359212"/>
              <a:chOff x="6957668" y="1440073"/>
              <a:chExt cx="209294" cy="359212"/>
            </a:xfrm>
            <a:grpFill/>
          </p:grpSpPr>
          <p:sp>
            <p:nvSpPr>
              <p:cNvPr id="4539" name="Vrije vorm: vorm 4538">
                <a:extLst>
                  <a:ext uri="{FF2B5EF4-FFF2-40B4-BE49-F238E27FC236}">
                    <a16:creationId xmlns:a16="http://schemas.microsoft.com/office/drawing/2014/main" id="{95EA9E8D-484D-48EB-89DE-E917D72E1823}"/>
                  </a:ext>
                </a:extLst>
              </p:cNvPr>
              <p:cNvSpPr/>
              <p:nvPr/>
            </p:nvSpPr>
            <p:spPr>
              <a:xfrm>
                <a:off x="6965288" y="1448152"/>
                <a:ext cx="194074" cy="343054"/>
              </a:xfrm>
              <a:custGeom>
                <a:avLst/>
                <a:gdLst>
                  <a:gd name="connsiteX0" fmla="*/ 194074 w 194074"/>
                  <a:gd name="connsiteY0" fmla="*/ 1495 h 343054"/>
                  <a:gd name="connsiteX1" fmla="*/ 2631 w 194074"/>
                  <a:gd name="connsiteY1" fmla="*/ 343054 h 343054"/>
                  <a:gd name="connsiteX2" fmla="*/ 0 w 194074"/>
                  <a:gd name="connsiteY2" fmla="*/ 341559 h 343054"/>
                  <a:gd name="connsiteX3" fmla="*/ 191383 w 194074"/>
                  <a:gd name="connsiteY3" fmla="*/ 0 h 343054"/>
                </a:gdLst>
                <a:ahLst/>
                <a:cxnLst>
                  <a:cxn ang="0">
                    <a:pos x="connsiteX0" y="connsiteY0"/>
                  </a:cxn>
                  <a:cxn ang="0">
                    <a:pos x="connsiteX1" y="connsiteY1"/>
                  </a:cxn>
                  <a:cxn ang="0">
                    <a:pos x="connsiteX2" y="connsiteY2"/>
                  </a:cxn>
                  <a:cxn ang="0">
                    <a:pos x="connsiteX3" y="connsiteY3"/>
                  </a:cxn>
                </a:cxnLst>
                <a:rect l="l" t="t" r="r" b="b"/>
                <a:pathLst>
                  <a:path w="194074" h="343054">
                    <a:moveTo>
                      <a:pt x="194074" y="1495"/>
                    </a:moveTo>
                    <a:lnTo>
                      <a:pt x="2631" y="343054"/>
                    </a:lnTo>
                    <a:lnTo>
                      <a:pt x="0" y="341559"/>
                    </a:lnTo>
                    <a:lnTo>
                      <a:pt x="191383" y="0"/>
                    </a:lnTo>
                    <a:close/>
                  </a:path>
                </a:pathLst>
              </a:custGeom>
              <a:grpFill/>
              <a:ln w="5978" cap="flat">
                <a:noFill/>
                <a:prstDash val="solid"/>
                <a:miter/>
              </a:ln>
            </p:spPr>
            <p:txBody>
              <a:bodyPr rtlCol="0" anchor="ctr"/>
              <a:lstStyle/>
              <a:p>
                <a:endParaRPr lang="en-GB"/>
              </a:p>
            </p:txBody>
          </p:sp>
          <p:sp>
            <p:nvSpPr>
              <p:cNvPr id="4540" name="Vrije vorm: vorm 4539">
                <a:extLst>
                  <a:ext uri="{FF2B5EF4-FFF2-40B4-BE49-F238E27FC236}">
                    <a16:creationId xmlns:a16="http://schemas.microsoft.com/office/drawing/2014/main" id="{2F11BA9A-A33C-48B8-A789-2FD96AF6AC44}"/>
                  </a:ext>
                </a:extLst>
              </p:cNvPr>
              <p:cNvSpPr/>
              <p:nvPr/>
            </p:nvSpPr>
            <p:spPr>
              <a:xfrm>
                <a:off x="7148631" y="1440073"/>
                <a:ext cx="18332" cy="18431"/>
              </a:xfrm>
              <a:custGeom>
                <a:avLst/>
                <a:gdLst>
                  <a:gd name="connsiteX0" fmla="*/ 1162 w 18332"/>
                  <a:gd name="connsiteY0" fmla="*/ 4670 h 18431"/>
                  <a:gd name="connsiteX1" fmla="*/ 13662 w 18332"/>
                  <a:gd name="connsiteY1" fmla="*/ 1201 h 18431"/>
                  <a:gd name="connsiteX2" fmla="*/ 17130 w 18332"/>
                  <a:gd name="connsiteY2" fmla="*/ 13761 h 18431"/>
                  <a:gd name="connsiteX3" fmla="*/ 4631 w 18332"/>
                  <a:gd name="connsiteY3" fmla="*/ 17230 h 18431"/>
                  <a:gd name="connsiteX4" fmla="*/ 1162 w 18332"/>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31">
                    <a:moveTo>
                      <a:pt x="1162" y="4670"/>
                    </a:moveTo>
                    <a:cubicBezTo>
                      <a:pt x="3615" y="245"/>
                      <a:pt x="9236" y="-1310"/>
                      <a:pt x="13662" y="1201"/>
                    </a:cubicBezTo>
                    <a:cubicBezTo>
                      <a:pt x="18088" y="3713"/>
                      <a:pt x="19643" y="9335"/>
                      <a:pt x="17130" y="13761"/>
                    </a:cubicBezTo>
                    <a:cubicBezTo>
                      <a:pt x="14679" y="18187"/>
                      <a:pt x="9057" y="19742"/>
                      <a:pt x="4631" y="17230"/>
                    </a:cubicBezTo>
                    <a:cubicBezTo>
                      <a:pt x="265" y="14718"/>
                      <a:pt x="-1290" y="9096"/>
                      <a:pt x="1162" y="4670"/>
                    </a:cubicBezTo>
                    <a:close/>
                  </a:path>
                </a:pathLst>
              </a:custGeom>
              <a:grpFill/>
              <a:ln w="5978" cap="flat">
                <a:noFill/>
                <a:prstDash val="solid"/>
                <a:miter/>
              </a:ln>
            </p:spPr>
            <p:txBody>
              <a:bodyPr rtlCol="0" anchor="ctr"/>
              <a:lstStyle/>
              <a:p>
                <a:endParaRPr lang="en-GB"/>
              </a:p>
            </p:txBody>
          </p:sp>
          <p:sp>
            <p:nvSpPr>
              <p:cNvPr id="4541" name="Vrije vorm: vorm 4540">
                <a:extLst>
                  <a:ext uri="{FF2B5EF4-FFF2-40B4-BE49-F238E27FC236}">
                    <a16:creationId xmlns:a16="http://schemas.microsoft.com/office/drawing/2014/main" id="{FE6FBC05-85D4-4F3A-8887-34AD4A4C59B4}"/>
                  </a:ext>
                </a:extLst>
              </p:cNvPr>
              <p:cNvSpPr/>
              <p:nvPr/>
            </p:nvSpPr>
            <p:spPr>
              <a:xfrm>
                <a:off x="6957668" y="1780854"/>
                <a:ext cx="18349" cy="18431"/>
              </a:xfrm>
              <a:custGeom>
                <a:avLst/>
                <a:gdLst>
                  <a:gd name="connsiteX0" fmla="*/ 1160 w 18349"/>
                  <a:gd name="connsiteY0" fmla="*/ 4670 h 18431"/>
                  <a:gd name="connsiteX1" fmla="*/ 4689 w 18349"/>
                  <a:gd name="connsiteY1" fmla="*/ 17230 h 18431"/>
                  <a:gd name="connsiteX2" fmla="*/ 17189 w 18349"/>
                  <a:gd name="connsiteY2" fmla="*/ 13761 h 18431"/>
                  <a:gd name="connsiteX3" fmla="*/ 13660 w 18349"/>
                  <a:gd name="connsiteY3" fmla="*/ 1202 h 18431"/>
                  <a:gd name="connsiteX4" fmla="*/ 1160 w 18349"/>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1160" y="4670"/>
                    </a:moveTo>
                    <a:cubicBezTo>
                      <a:pt x="-1292" y="9096"/>
                      <a:pt x="263" y="14718"/>
                      <a:pt x="4689" y="17230"/>
                    </a:cubicBezTo>
                    <a:cubicBezTo>
                      <a:pt x="9115" y="19742"/>
                      <a:pt x="14677" y="18187"/>
                      <a:pt x="17189" y="13761"/>
                    </a:cubicBezTo>
                    <a:cubicBezTo>
                      <a:pt x="19641" y="9335"/>
                      <a:pt x="18086" y="3713"/>
                      <a:pt x="13660" y="1202"/>
                    </a:cubicBezTo>
                    <a:cubicBezTo>
                      <a:pt x="9234" y="-1310"/>
                      <a:pt x="3672" y="245"/>
                      <a:pt x="1160" y="4670"/>
                    </a:cubicBezTo>
                    <a:close/>
                  </a:path>
                </a:pathLst>
              </a:custGeom>
              <a:grpFill/>
              <a:ln w="5978" cap="flat">
                <a:noFill/>
                <a:prstDash val="solid"/>
                <a:miter/>
              </a:ln>
            </p:spPr>
            <p:txBody>
              <a:bodyPr rtlCol="0" anchor="ctr"/>
              <a:lstStyle/>
              <a:p>
                <a:endParaRPr lang="en-GB"/>
              </a:p>
            </p:txBody>
          </p:sp>
        </p:grpSp>
        <p:grpSp>
          <p:nvGrpSpPr>
            <p:cNvPr id="281" name="Graphic 3">
              <a:extLst>
                <a:ext uri="{FF2B5EF4-FFF2-40B4-BE49-F238E27FC236}">
                  <a16:creationId xmlns:a16="http://schemas.microsoft.com/office/drawing/2014/main" id="{B964A8C5-7DD6-478D-8D58-862B40268E1F}"/>
                </a:ext>
              </a:extLst>
            </p:cNvPr>
            <p:cNvGrpSpPr/>
            <p:nvPr/>
          </p:nvGrpSpPr>
          <p:grpSpPr>
            <a:xfrm>
              <a:off x="7008149" y="1578587"/>
              <a:ext cx="172885" cy="271533"/>
              <a:chOff x="7008149" y="1578587"/>
              <a:chExt cx="172885" cy="271533"/>
            </a:xfrm>
            <a:grpFill/>
          </p:grpSpPr>
          <p:sp>
            <p:nvSpPr>
              <p:cNvPr id="4536" name="Vrije vorm: vorm 4535">
                <a:extLst>
                  <a:ext uri="{FF2B5EF4-FFF2-40B4-BE49-F238E27FC236}">
                    <a16:creationId xmlns:a16="http://schemas.microsoft.com/office/drawing/2014/main" id="{31217CA4-DBA8-4312-9EE5-758ECD854431}"/>
                  </a:ext>
                </a:extLst>
              </p:cNvPr>
              <p:cNvSpPr/>
              <p:nvPr/>
            </p:nvSpPr>
            <p:spPr>
              <a:xfrm>
                <a:off x="7015765" y="1586606"/>
                <a:ext cx="157651" cy="255496"/>
              </a:xfrm>
              <a:custGeom>
                <a:avLst/>
                <a:gdLst>
                  <a:gd name="connsiteX0" fmla="*/ 157652 w 157651"/>
                  <a:gd name="connsiteY0" fmla="*/ 1615 h 255496"/>
                  <a:gd name="connsiteX1" fmla="*/ 2632 w 157651"/>
                  <a:gd name="connsiteY1" fmla="*/ 255496 h 255496"/>
                  <a:gd name="connsiteX2" fmla="*/ 0 w 157651"/>
                  <a:gd name="connsiteY2" fmla="*/ 253882 h 255496"/>
                  <a:gd name="connsiteX3" fmla="*/ 155021 w 157651"/>
                  <a:gd name="connsiteY3" fmla="*/ 0 h 255496"/>
                </a:gdLst>
                <a:ahLst/>
                <a:cxnLst>
                  <a:cxn ang="0">
                    <a:pos x="connsiteX0" y="connsiteY0"/>
                  </a:cxn>
                  <a:cxn ang="0">
                    <a:pos x="connsiteX1" y="connsiteY1"/>
                  </a:cxn>
                  <a:cxn ang="0">
                    <a:pos x="connsiteX2" y="connsiteY2"/>
                  </a:cxn>
                  <a:cxn ang="0">
                    <a:pos x="connsiteX3" y="connsiteY3"/>
                  </a:cxn>
                </a:cxnLst>
                <a:rect l="l" t="t" r="r" b="b"/>
                <a:pathLst>
                  <a:path w="157651" h="255496">
                    <a:moveTo>
                      <a:pt x="157652" y="1615"/>
                    </a:moveTo>
                    <a:lnTo>
                      <a:pt x="2632" y="255496"/>
                    </a:lnTo>
                    <a:lnTo>
                      <a:pt x="0" y="253882"/>
                    </a:lnTo>
                    <a:lnTo>
                      <a:pt x="155021" y="0"/>
                    </a:lnTo>
                    <a:close/>
                  </a:path>
                </a:pathLst>
              </a:custGeom>
              <a:grpFill/>
              <a:ln w="5978" cap="flat">
                <a:noFill/>
                <a:prstDash val="solid"/>
                <a:miter/>
              </a:ln>
            </p:spPr>
            <p:txBody>
              <a:bodyPr rtlCol="0" anchor="ctr"/>
              <a:lstStyle/>
              <a:p>
                <a:endParaRPr lang="en-GB"/>
              </a:p>
            </p:txBody>
          </p:sp>
          <p:sp>
            <p:nvSpPr>
              <p:cNvPr id="4537" name="Vrije vorm: vorm 4536">
                <a:extLst>
                  <a:ext uri="{FF2B5EF4-FFF2-40B4-BE49-F238E27FC236}">
                    <a16:creationId xmlns:a16="http://schemas.microsoft.com/office/drawing/2014/main" id="{BAC3FAD4-506D-4FF7-8445-04D426107C04}"/>
                  </a:ext>
                </a:extLst>
              </p:cNvPr>
              <p:cNvSpPr/>
              <p:nvPr/>
            </p:nvSpPr>
            <p:spPr>
              <a:xfrm>
                <a:off x="7162690" y="1578587"/>
                <a:ext cx="18343" cy="18429"/>
              </a:xfrm>
              <a:custGeom>
                <a:avLst/>
                <a:gdLst>
                  <a:gd name="connsiteX0" fmla="*/ 1337 w 18343"/>
                  <a:gd name="connsiteY0" fmla="*/ 4370 h 18429"/>
                  <a:gd name="connsiteX1" fmla="*/ 13957 w 18343"/>
                  <a:gd name="connsiteY1" fmla="*/ 1380 h 18429"/>
                  <a:gd name="connsiteX2" fmla="*/ 17007 w 18343"/>
                  <a:gd name="connsiteY2" fmla="*/ 14059 h 18429"/>
                  <a:gd name="connsiteX3" fmla="*/ 4388 w 18343"/>
                  <a:gd name="connsiteY3" fmla="*/ 17050 h 18429"/>
                  <a:gd name="connsiteX4" fmla="*/ 1337 w 18343"/>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9">
                    <a:moveTo>
                      <a:pt x="1337" y="4370"/>
                    </a:moveTo>
                    <a:cubicBezTo>
                      <a:pt x="3968" y="64"/>
                      <a:pt x="9651" y="-1311"/>
                      <a:pt x="13957" y="1380"/>
                    </a:cubicBezTo>
                    <a:cubicBezTo>
                      <a:pt x="18262" y="4071"/>
                      <a:pt x="19638" y="9753"/>
                      <a:pt x="17007" y="14059"/>
                    </a:cubicBezTo>
                    <a:cubicBezTo>
                      <a:pt x="14375" y="18365"/>
                      <a:pt x="8693" y="19741"/>
                      <a:pt x="4388" y="17050"/>
                    </a:cubicBezTo>
                    <a:cubicBezTo>
                      <a:pt x="81" y="14358"/>
                      <a:pt x="-1295" y="8677"/>
                      <a:pt x="1337" y="4370"/>
                    </a:cubicBezTo>
                    <a:close/>
                  </a:path>
                </a:pathLst>
              </a:custGeom>
              <a:grpFill/>
              <a:ln w="5978" cap="flat">
                <a:noFill/>
                <a:prstDash val="solid"/>
                <a:miter/>
              </a:ln>
            </p:spPr>
            <p:txBody>
              <a:bodyPr rtlCol="0" anchor="ctr"/>
              <a:lstStyle/>
              <a:p>
                <a:endParaRPr lang="en-GB"/>
              </a:p>
            </p:txBody>
          </p:sp>
          <p:sp>
            <p:nvSpPr>
              <p:cNvPr id="4538" name="Vrije vorm: vorm 4537">
                <a:extLst>
                  <a:ext uri="{FF2B5EF4-FFF2-40B4-BE49-F238E27FC236}">
                    <a16:creationId xmlns:a16="http://schemas.microsoft.com/office/drawing/2014/main" id="{6CBAA045-2019-4ED0-8D02-1045E72999E9}"/>
                  </a:ext>
                </a:extLst>
              </p:cNvPr>
              <p:cNvSpPr/>
              <p:nvPr/>
            </p:nvSpPr>
            <p:spPr>
              <a:xfrm>
                <a:off x="7008149" y="1831691"/>
                <a:ext cx="18343" cy="18429"/>
              </a:xfrm>
              <a:custGeom>
                <a:avLst/>
                <a:gdLst>
                  <a:gd name="connsiteX0" fmla="*/ 1337 w 18343"/>
                  <a:gd name="connsiteY0" fmla="*/ 4370 h 18429"/>
                  <a:gd name="connsiteX1" fmla="*/ 4387 w 18343"/>
                  <a:gd name="connsiteY1" fmla="*/ 17050 h 18429"/>
                  <a:gd name="connsiteX2" fmla="*/ 17007 w 18343"/>
                  <a:gd name="connsiteY2" fmla="*/ 14059 h 18429"/>
                  <a:gd name="connsiteX3" fmla="*/ 13957 w 18343"/>
                  <a:gd name="connsiteY3" fmla="*/ 1380 h 18429"/>
                  <a:gd name="connsiteX4" fmla="*/ 1337 w 18343"/>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9">
                    <a:moveTo>
                      <a:pt x="1337" y="4370"/>
                    </a:moveTo>
                    <a:cubicBezTo>
                      <a:pt x="-1295" y="8677"/>
                      <a:pt x="81" y="14358"/>
                      <a:pt x="4387" y="17050"/>
                    </a:cubicBezTo>
                    <a:cubicBezTo>
                      <a:pt x="8693" y="19741"/>
                      <a:pt x="14375" y="18365"/>
                      <a:pt x="17007" y="14059"/>
                    </a:cubicBezTo>
                    <a:cubicBezTo>
                      <a:pt x="19638" y="9753"/>
                      <a:pt x="18262" y="4071"/>
                      <a:pt x="13957" y="1380"/>
                    </a:cubicBezTo>
                    <a:cubicBezTo>
                      <a:pt x="9650" y="-1311"/>
                      <a:pt x="4028" y="64"/>
                      <a:pt x="1337" y="4370"/>
                    </a:cubicBezTo>
                    <a:close/>
                  </a:path>
                </a:pathLst>
              </a:custGeom>
              <a:grpFill/>
              <a:ln w="5978" cap="flat">
                <a:noFill/>
                <a:prstDash val="solid"/>
                <a:miter/>
              </a:ln>
            </p:spPr>
            <p:txBody>
              <a:bodyPr rtlCol="0" anchor="ctr"/>
              <a:lstStyle/>
              <a:p>
                <a:endParaRPr lang="en-GB"/>
              </a:p>
            </p:txBody>
          </p:sp>
        </p:grpSp>
        <p:grpSp>
          <p:nvGrpSpPr>
            <p:cNvPr id="282" name="Graphic 3">
              <a:extLst>
                <a:ext uri="{FF2B5EF4-FFF2-40B4-BE49-F238E27FC236}">
                  <a16:creationId xmlns:a16="http://schemas.microsoft.com/office/drawing/2014/main" id="{8B245A52-3C41-43FB-9A01-0250A17100D6}"/>
                </a:ext>
              </a:extLst>
            </p:cNvPr>
            <p:cNvGrpSpPr/>
            <p:nvPr/>
          </p:nvGrpSpPr>
          <p:grpSpPr>
            <a:xfrm>
              <a:off x="7617533" y="4040055"/>
              <a:ext cx="570799" cy="285684"/>
              <a:chOff x="7617533" y="4040055"/>
              <a:chExt cx="570799" cy="285684"/>
            </a:xfrm>
            <a:grpFill/>
          </p:grpSpPr>
          <p:sp>
            <p:nvSpPr>
              <p:cNvPr id="4533" name="Vrije vorm: vorm 4532">
                <a:extLst>
                  <a:ext uri="{FF2B5EF4-FFF2-40B4-BE49-F238E27FC236}">
                    <a16:creationId xmlns:a16="http://schemas.microsoft.com/office/drawing/2014/main" id="{33F90B23-13DC-45E8-A6A1-10281B71C885}"/>
                  </a:ext>
                </a:extLst>
              </p:cNvPr>
              <p:cNvSpPr/>
              <p:nvPr/>
            </p:nvSpPr>
            <p:spPr>
              <a:xfrm>
                <a:off x="7625619" y="4047673"/>
                <a:ext cx="554652" cy="270448"/>
              </a:xfrm>
              <a:custGeom>
                <a:avLst/>
                <a:gdLst>
                  <a:gd name="connsiteX0" fmla="*/ 554652 w 554652"/>
                  <a:gd name="connsiteY0" fmla="*/ 267697 h 270448"/>
                  <a:gd name="connsiteX1" fmla="*/ 553337 w 554652"/>
                  <a:gd name="connsiteY1" fmla="*/ 270448 h 270448"/>
                  <a:gd name="connsiteX2" fmla="*/ 0 w 554652"/>
                  <a:gd name="connsiteY2" fmla="*/ 2811 h 270448"/>
                  <a:gd name="connsiteX3" fmla="*/ 1316 w 554652"/>
                  <a:gd name="connsiteY3" fmla="*/ 0 h 270448"/>
                </a:gdLst>
                <a:ahLst/>
                <a:cxnLst>
                  <a:cxn ang="0">
                    <a:pos x="connsiteX0" y="connsiteY0"/>
                  </a:cxn>
                  <a:cxn ang="0">
                    <a:pos x="connsiteX1" y="connsiteY1"/>
                  </a:cxn>
                  <a:cxn ang="0">
                    <a:pos x="connsiteX2" y="connsiteY2"/>
                  </a:cxn>
                  <a:cxn ang="0">
                    <a:pos x="connsiteX3" y="connsiteY3"/>
                  </a:cxn>
                </a:cxnLst>
                <a:rect l="l" t="t" r="r" b="b"/>
                <a:pathLst>
                  <a:path w="554652" h="270448">
                    <a:moveTo>
                      <a:pt x="554652" y="267697"/>
                    </a:moveTo>
                    <a:lnTo>
                      <a:pt x="553337" y="270448"/>
                    </a:lnTo>
                    <a:lnTo>
                      <a:pt x="0" y="2811"/>
                    </a:lnTo>
                    <a:lnTo>
                      <a:pt x="1316" y="0"/>
                    </a:lnTo>
                    <a:close/>
                  </a:path>
                </a:pathLst>
              </a:custGeom>
              <a:grpFill/>
              <a:ln w="5978" cap="flat">
                <a:noFill/>
                <a:prstDash val="solid"/>
                <a:miter/>
              </a:ln>
            </p:spPr>
            <p:txBody>
              <a:bodyPr rtlCol="0" anchor="ctr"/>
              <a:lstStyle/>
              <a:p>
                <a:endParaRPr lang="en-GB"/>
              </a:p>
            </p:txBody>
          </p:sp>
          <p:sp>
            <p:nvSpPr>
              <p:cNvPr id="4534" name="Vrije vorm: vorm 4533">
                <a:extLst>
                  <a:ext uri="{FF2B5EF4-FFF2-40B4-BE49-F238E27FC236}">
                    <a16:creationId xmlns:a16="http://schemas.microsoft.com/office/drawing/2014/main" id="{F53495A0-BCF6-4691-A8A5-12DBDE4962A4}"/>
                  </a:ext>
                </a:extLst>
              </p:cNvPr>
              <p:cNvSpPr/>
              <p:nvPr/>
            </p:nvSpPr>
            <p:spPr>
              <a:xfrm>
                <a:off x="7617533" y="4040055"/>
                <a:ext cx="18326" cy="18455"/>
              </a:xfrm>
              <a:custGeom>
                <a:avLst/>
                <a:gdLst>
                  <a:gd name="connsiteX0" fmla="*/ 5216 w 18326"/>
                  <a:gd name="connsiteY0" fmla="*/ 17546 h 18455"/>
                  <a:gd name="connsiteX1" fmla="*/ 910 w 18326"/>
                  <a:gd name="connsiteY1" fmla="*/ 5226 h 18455"/>
                  <a:gd name="connsiteX2" fmla="*/ 13111 w 18326"/>
                  <a:gd name="connsiteY2" fmla="*/ 920 h 18455"/>
                  <a:gd name="connsiteX3" fmla="*/ 17416 w 18326"/>
                  <a:gd name="connsiteY3" fmla="*/ 13240 h 18455"/>
                  <a:gd name="connsiteX4" fmla="*/ 5216 w 18326"/>
                  <a:gd name="connsiteY4" fmla="*/ 17546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5">
                    <a:moveTo>
                      <a:pt x="5216" y="17546"/>
                    </a:moveTo>
                    <a:cubicBezTo>
                      <a:pt x="670" y="15333"/>
                      <a:pt x="-1303" y="9831"/>
                      <a:pt x="910" y="5226"/>
                    </a:cubicBezTo>
                    <a:cubicBezTo>
                      <a:pt x="3063" y="620"/>
                      <a:pt x="8565" y="-1293"/>
                      <a:pt x="13111" y="920"/>
                    </a:cubicBezTo>
                    <a:cubicBezTo>
                      <a:pt x="17656" y="3133"/>
                      <a:pt x="19629" y="8635"/>
                      <a:pt x="17416" y="13240"/>
                    </a:cubicBezTo>
                    <a:cubicBezTo>
                      <a:pt x="15204" y="17785"/>
                      <a:pt x="9761" y="19759"/>
                      <a:pt x="5216" y="17546"/>
                    </a:cubicBezTo>
                    <a:close/>
                  </a:path>
                </a:pathLst>
              </a:custGeom>
              <a:grpFill/>
              <a:ln w="5978" cap="flat">
                <a:noFill/>
                <a:prstDash val="solid"/>
                <a:miter/>
              </a:ln>
            </p:spPr>
            <p:txBody>
              <a:bodyPr rtlCol="0" anchor="ctr"/>
              <a:lstStyle/>
              <a:p>
                <a:endParaRPr lang="en-GB"/>
              </a:p>
            </p:txBody>
          </p:sp>
          <p:sp>
            <p:nvSpPr>
              <p:cNvPr id="4535" name="Vrije vorm: vorm 4534">
                <a:extLst>
                  <a:ext uri="{FF2B5EF4-FFF2-40B4-BE49-F238E27FC236}">
                    <a16:creationId xmlns:a16="http://schemas.microsoft.com/office/drawing/2014/main" id="{E0BA9743-84B1-4263-B24F-0B5D38C9BA21}"/>
                  </a:ext>
                </a:extLst>
              </p:cNvPr>
              <p:cNvSpPr/>
              <p:nvPr/>
            </p:nvSpPr>
            <p:spPr>
              <a:xfrm>
                <a:off x="8170022" y="4307273"/>
                <a:ext cx="18310" cy="18465"/>
              </a:xfrm>
              <a:custGeom>
                <a:avLst/>
                <a:gdLst>
                  <a:gd name="connsiteX0" fmla="*/ 5226 w 18310"/>
                  <a:gd name="connsiteY0" fmla="*/ 17546 h 18465"/>
                  <a:gd name="connsiteX1" fmla="*/ 17427 w 18310"/>
                  <a:gd name="connsiteY1" fmla="*/ 13240 h 18465"/>
                  <a:gd name="connsiteX2" fmla="*/ 13121 w 18310"/>
                  <a:gd name="connsiteY2" fmla="*/ 920 h 18465"/>
                  <a:gd name="connsiteX3" fmla="*/ 920 w 18310"/>
                  <a:gd name="connsiteY3" fmla="*/ 5226 h 18465"/>
                  <a:gd name="connsiteX4" fmla="*/ 5226 w 18310"/>
                  <a:gd name="connsiteY4" fmla="*/ 17546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65">
                    <a:moveTo>
                      <a:pt x="5226" y="17546"/>
                    </a:moveTo>
                    <a:cubicBezTo>
                      <a:pt x="9771" y="19759"/>
                      <a:pt x="15274" y="17845"/>
                      <a:pt x="17427" y="13240"/>
                    </a:cubicBezTo>
                    <a:cubicBezTo>
                      <a:pt x="19580" y="8635"/>
                      <a:pt x="17666" y="3133"/>
                      <a:pt x="13121" y="920"/>
                    </a:cubicBezTo>
                    <a:cubicBezTo>
                      <a:pt x="8575" y="-1293"/>
                      <a:pt x="3073" y="621"/>
                      <a:pt x="920" y="5226"/>
                    </a:cubicBezTo>
                    <a:cubicBezTo>
                      <a:pt x="-1293" y="9831"/>
                      <a:pt x="620" y="15333"/>
                      <a:pt x="5226" y="17546"/>
                    </a:cubicBezTo>
                    <a:close/>
                  </a:path>
                </a:pathLst>
              </a:custGeom>
              <a:grpFill/>
              <a:ln w="5978" cap="flat">
                <a:noFill/>
                <a:prstDash val="solid"/>
                <a:miter/>
              </a:ln>
            </p:spPr>
            <p:txBody>
              <a:bodyPr rtlCol="0" anchor="ctr"/>
              <a:lstStyle/>
              <a:p>
                <a:endParaRPr lang="en-GB"/>
              </a:p>
            </p:txBody>
          </p:sp>
        </p:grpSp>
        <p:grpSp>
          <p:nvGrpSpPr>
            <p:cNvPr id="283" name="Graphic 3">
              <a:extLst>
                <a:ext uri="{FF2B5EF4-FFF2-40B4-BE49-F238E27FC236}">
                  <a16:creationId xmlns:a16="http://schemas.microsoft.com/office/drawing/2014/main" id="{3FCFB503-C664-49A4-B337-E5113600A962}"/>
                </a:ext>
              </a:extLst>
            </p:cNvPr>
            <p:cNvGrpSpPr/>
            <p:nvPr/>
          </p:nvGrpSpPr>
          <p:grpSpPr>
            <a:xfrm>
              <a:off x="7782377" y="3995099"/>
              <a:ext cx="161773" cy="66871"/>
              <a:chOff x="7782377" y="3995099"/>
              <a:chExt cx="161773" cy="66871"/>
            </a:xfrm>
            <a:grpFill/>
          </p:grpSpPr>
          <p:sp>
            <p:nvSpPr>
              <p:cNvPr id="4530" name="Vrije vorm: vorm 4529">
                <a:extLst>
                  <a:ext uri="{FF2B5EF4-FFF2-40B4-BE49-F238E27FC236}">
                    <a16:creationId xmlns:a16="http://schemas.microsoft.com/office/drawing/2014/main" id="{5CC1C546-B243-4F7E-BCF2-1097694EC5B1}"/>
                  </a:ext>
                </a:extLst>
              </p:cNvPr>
              <p:cNvSpPr/>
              <p:nvPr/>
            </p:nvSpPr>
            <p:spPr>
              <a:xfrm>
                <a:off x="7790688" y="4002698"/>
                <a:ext cx="145211" cy="51673"/>
              </a:xfrm>
              <a:custGeom>
                <a:avLst/>
                <a:gdLst>
                  <a:gd name="connsiteX0" fmla="*/ 145211 w 145211"/>
                  <a:gd name="connsiteY0" fmla="*/ 48803 h 51673"/>
                  <a:gd name="connsiteX1" fmla="*/ 144255 w 145211"/>
                  <a:gd name="connsiteY1" fmla="*/ 51674 h 51673"/>
                  <a:gd name="connsiteX2" fmla="*/ 0 w 145211"/>
                  <a:gd name="connsiteY2" fmla="*/ 2871 h 51673"/>
                  <a:gd name="connsiteX3" fmla="*/ 956 w 145211"/>
                  <a:gd name="connsiteY3" fmla="*/ 0 h 51673"/>
                </a:gdLst>
                <a:ahLst/>
                <a:cxnLst>
                  <a:cxn ang="0">
                    <a:pos x="connsiteX0" y="connsiteY0"/>
                  </a:cxn>
                  <a:cxn ang="0">
                    <a:pos x="connsiteX1" y="connsiteY1"/>
                  </a:cxn>
                  <a:cxn ang="0">
                    <a:pos x="connsiteX2" y="connsiteY2"/>
                  </a:cxn>
                  <a:cxn ang="0">
                    <a:pos x="connsiteX3" y="connsiteY3"/>
                  </a:cxn>
                </a:cxnLst>
                <a:rect l="l" t="t" r="r" b="b"/>
                <a:pathLst>
                  <a:path w="145211" h="51673">
                    <a:moveTo>
                      <a:pt x="145211" y="48803"/>
                    </a:moveTo>
                    <a:lnTo>
                      <a:pt x="144255" y="51674"/>
                    </a:lnTo>
                    <a:lnTo>
                      <a:pt x="0" y="2871"/>
                    </a:lnTo>
                    <a:lnTo>
                      <a:pt x="956" y="0"/>
                    </a:lnTo>
                    <a:close/>
                  </a:path>
                </a:pathLst>
              </a:custGeom>
              <a:grpFill/>
              <a:ln w="5978" cap="flat">
                <a:noFill/>
                <a:prstDash val="solid"/>
                <a:miter/>
              </a:ln>
            </p:spPr>
            <p:txBody>
              <a:bodyPr rtlCol="0" anchor="ctr"/>
              <a:lstStyle/>
              <a:p>
                <a:endParaRPr lang="en-GB"/>
              </a:p>
            </p:txBody>
          </p:sp>
          <p:sp>
            <p:nvSpPr>
              <p:cNvPr id="4531" name="Vrije vorm: vorm 4530">
                <a:extLst>
                  <a:ext uri="{FF2B5EF4-FFF2-40B4-BE49-F238E27FC236}">
                    <a16:creationId xmlns:a16="http://schemas.microsoft.com/office/drawing/2014/main" id="{2311ADB6-CD48-4AED-9252-A688EDA4A0B6}"/>
                  </a:ext>
                </a:extLst>
              </p:cNvPr>
              <p:cNvSpPr/>
              <p:nvPr/>
            </p:nvSpPr>
            <p:spPr>
              <a:xfrm>
                <a:off x="7925794" y="4043549"/>
                <a:ext cx="18356" cy="18421"/>
              </a:xfrm>
              <a:custGeom>
                <a:avLst/>
                <a:gdLst>
                  <a:gd name="connsiteX0" fmla="*/ 12079 w 18356"/>
                  <a:gd name="connsiteY0" fmla="*/ 476 h 18421"/>
                  <a:gd name="connsiteX1" fmla="*/ 17880 w 18356"/>
                  <a:gd name="connsiteY1" fmla="*/ 12138 h 18421"/>
                  <a:gd name="connsiteX2" fmla="*/ 6277 w 18356"/>
                  <a:gd name="connsiteY2" fmla="*/ 17940 h 18421"/>
                  <a:gd name="connsiteX3" fmla="*/ 476 w 18356"/>
                  <a:gd name="connsiteY3" fmla="*/ 6277 h 18421"/>
                  <a:gd name="connsiteX4" fmla="*/ 12079 w 18356"/>
                  <a:gd name="connsiteY4" fmla="*/ 476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1">
                    <a:moveTo>
                      <a:pt x="12079" y="476"/>
                    </a:moveTo>
                    <a:cubicBezTo>
                      <a:pt x="16863" y="2091"/>
                      <a:pt x="19495" y="7354"/>
                      <a:pt x="17880" y="12138"/>
                    </a:cubicBezTo>
                    <a:cubicBezTo>
                      <a:pt x="16265" y="16983"/>
                      <a:pt x="11122" y="19554"/>
                      <a:pt x="6277" y="17940"/>
                    </a:cubicBezTo>
                    <a:cubicBezTo>
                      <a:pt x="1493" y="16325"/>
                      <a:pt x="-1139" y="11062"/>
                      <a:pt x="476" y="6277"/>
                    </a:cubicBezTo>
                    <a:cubicBezTo>
                      <a:pt x="2091" y="1493"/>
                      <a:pt x="7294" y="-1139"/>
                      <a:pt x="12079" y="476"/>
                    </a:cubicBezTo>
                    <a:close/>
                  </a:path>
                </a:pathLst>
              </a:custGeom>
              <a:grpFill/>
              <a:ln w="5978" cap="flat">
                <a:noFill/>
                <a:prstDash val="solid"/>
                <a:miter/>
              </a:ln>
            </p:spPr>
            <p:txBody>
              <a:bodyPr rtlCol="0" anchor="ctr"/>
              <a:lstStyle/>
              <a:p>
                <a:endParaRPr lang="en-GB"/>
              </a:p>
            </p:txBody>
          </p:sp>
          <p:sp>
            <p:nvSpPr>
              <p:cNvPr id="4532" name="Vrije vorm: vorm 4531">
                <a:extLst>
                  <a:ext uri="{FF2B5EF4-FFF2-40B4-BE49-F238E27FC236}">
                    <a16:creationId xmlns:a16="http://schemas.microsoft.com/office/drawing/2014/main" id="{5055E401-AFD3-4994-8377-D9E9789084D6}"/>
                  </a:ext>
                </a:extLst>
              </p:cNvPr>
              <p:cNvSpPr/>
              <p:nvPr/>
            </p:nvSpPr>
            <p:spPr>
              <a:xfrm>
                <a:off x="7782377" y="3995099"/>
                <a:ext cx="18356" cy="18427"/>
              </a:xfrm>
              <a:custGeom>
                <a:avLst/>
                <a:gdLst>
                  <a:gd name="connsiteX0" fmla="*/ 12079 w 18356"/>
                  <a:gd name="connsiteY0" fmla="*/ 482 h 18427"/>
                  <a:gd name="connsiteX1" fmla="*/ 476 w 18356"/>
                  <a:gd name="connsiteY1" fmla="*/ 6283 h 18427"/>
                  <a:gd name="connsiteX2" fmla="*/ 6277 w 18356"/>
                  <a:gd name="connsiteY2" fmla="*/ 17945 h 18427"/>
                  <a:gd name="connsiteX3" fmla="*/ 17880 w 18356"/>
                  <a:gd name="connsiteY3" fmla="*/ 12144 h 18427"/>
                  <a:gd name="connsiteX4" fmla="*/ 12079 w 18356"/>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7">
                    <a:moveTo>
                      <a:pt x="12079" y="482"/>
                    </a:moveTo>
                    <a:cubicBezTo>
                      <a:pt x="7294" y="-1133"/>
                      <a:pt x="2091" y="1439"/>
                      <a:pt x="476" y="6283"/>
                    </a:cubicBezTo>
                    <a:cubicBezTo>
                      <a:pt x="-1139" y="11128"/>
                      <a:pt x="1493" y="16331"/>
                      <a:pt x="6277" y="17945"/>
                    </a:cubicBezTo>
                    <a:cubicBezTo>
                      <a:pt x="11062" y="19560"/>
                      <a:pt x="16265" y="16989"/>
                      <a:pt x="17880" y="12144"/>
                    </a:cubicBezTo>
                    <a:cubicBezTo>
                      <a:pt x="19495" y="7300"/>
                      <a:pt x="16863" y="2097"/>
                      <a:pt x="12079" y="482"/>
                    </a:cubicBezTo>
                    <a:close/>
                  </a:path>
                </a:pathLst>
              </a:custGeom>
              <a:grpFill/>
              <a:ln w="5978" cap="flat">
                <a:noFill/>
                <a:prstDash val="solid"/>
                <a:miter/>
              </a:ln>
            </p:spPr>
            <p:txBody>
              <a:bodyPr rtlCol="0" anchor="ctr"/>
              <a:lstStyle/>
              <a:p>
                <a:endParaRPr lang="en-GB"/>
              </a:p>
            </p:txBody>
          </p:sp>
        </p:grpSp>
        <p:grpSp>
          <p:nvGrpSpPr>
            <p:cNvPr id="284" name="Graphic 3">
              <a:extLst>
                <a:ext uri="{FF2B5EF4-FFF2-40B4-BE49-F238E27FC236}">
                  <a16:creationId xmlns:a16="http://schemas.microsoft.com/office/drawing/2014/main" id="{82A9027D-17C4-400E-B043-5A3A644AF549}"/>
                </a:ext>
              </a:extLst>
            </p:cNvPr>
            <p:cNvGrpSpPr/>
            <p:nvPr/>
          </p:nvGrpSpPr>
          <p:grpSpPr>
            <a:xfrm>
              <a:off x="7696802" y="3734354"/>
              <a:ext cx="144650" cy="43353"/>
              <a:chOff x="7696802" y="3734354"/>
              <a:chExt cx="144650" cy="43353"/>
            </a:xfrm>
            <a:grpFill/>
          </p:grpSpPr>
          <p:sp>
            <p:nvSpPr>
              <p:cNvPr id="4527" name="Vrije vorm: vorm 4526">
                <a:extLst>
                  <a:ext uri="{FF2B5EF4-FFF2-40B4-BE49-F238E27FC236}">
                    <a16:creationId xmlns:a16="http://schemas.microsoft.com/office/drawing/2014/main" id="{28AB5553-F0F1-4E99-A4EC-9C5AECC19524}"/>
                  </a:ext>
                </a:extLst>
              </p:cNvPr>
              <p:cNvSpPr/>
              <p:nvPr/>
            </p:nvSpPr>
            <p:spPr>
              <a:xfrm>
                <a:off x="7705223" y="3741938"/>
                <a:ext cx="127808" cy="28169"/>
              </a:xfrm>
              <a:custGeom>
                <a:avLst/>
                <a:gdLst>
                  <a:gd name="connsiteX0" fmla="*/ 127808 w 127808"/>
                  <a:gd name="connsiteY0" fmla="*/ 25179 h 28169"/>
                  <a:gd name="connsiteX1" fmla="*/ 127210 w 127808"/>
                  <a:gd name="connsiteY1" fmla="*/ 28169 h 28169"/>
                  <a:gd name="connsiteX2" fmla="*/ 0 w 127808"/>
                  <a:gd name="connsiteY2" fmla="*/ 3050 h 28169"/>
                  <a:gd name="connsiteX3" fmla="*/ 538 w 127808"/>
                  <a:gd name="connsiteY3" fmla="*/ 0 h 28169"/>
                </a:gdLst>
                <a:ahLst/>
                <a:cxnLst>
                  <a:cxn ang="0">
                    <a:pos x="connsiteX0" y="connsiteY0"/>
                  </a:cxn>
                  <a:cxn ang="0">
                    <a:pos x="connsiteX1" y="connsiteY1"/>
                  </a:cxn>
                  <a:cxn ang="0">
                    <a:pos x="connsiteX2" y="connsiteY2"/>
                  </a:cxn>
                  <a:cxn ang="0">
                    <a:pos x="connsiteX3" y="connsiteY3"/>
                  </a:cxn>
                </a:cxnLst>
                <a:rect l="l" t="t" r="r" b="b"/>
                <a:pathLst>
                  <a:path w="127808" h="28169">
                    <a:moveTo>
                      <a:pt x="127808" y="25179"/>
                    </a:moveTo>
                    <a:lnTo>
                      <a:pt x="127210" y="28169"/>
                    </a:lnTo>
                    <a:lnTo>
                      <a:pt x="0" y="3050"/>
                    </a:lnTo>
                    <a:lnTo>
                      <a:pt x="538" y="0"/>
                    </a:lnTo>
                    <a:close/>
                  </a:path>
                </a:pathLst>
              </a:custGeom>
              <a:grpFill/>
              <a:ln w="5978" cap="flat">
                <a:noFill/>
                <a:prstDash val="solid"/>
                <a:miter/>
              </a:ln>
            </p:spPr>
            <p:txBody>
              <a:bodyPr rtlCol="0" anchor="ctr"/>
              <a:lstStyle/>
              <a:p>
                <a:endParaRPr lang="en-GB"/>
              </a:p>
            </p:txBody>
          </p:sp>
          <p:sp>
            <p:nvSpPr>
              <p:cNvPr id="4528" name="Vrije vorm: vorm 4527">
                <a:extLst>
                  <a:ext uri="{FF2B5EF4-FFF2-40B4-BE49-F238E27FC236}">
                    <a16:creationId xmlns:a16="http://schemas.microsoft.com/office/drawing/2014/main" id="{9CDA4584-7D13-4C11-AA27-34300ED24056}"/>
                  </a:ext>
                </a:extLst>
              </p:cNvPr>
              <p:cNvSpPr/>
              <p:nvPr/>
            </p:nvSpPr>
            <p:spPr>
              <a:xfrm>
                <a:off x="7823174" y="3759294"/>
                <a:ext cx="18278" cy="18414"/>
              </a:xfrm>
              <a:custGeom>
                <a:avLst/>
                <a:gdLst>
                  <a:gd name="connsiteX0" fmla="*/ 10874 w 18278"/>
                  <a:gd name="connsiteY0" fmla="*/ 168 h 18414"/>
                  <a:gd name="connsiteX1" fmla="*/ 18110 w 18278"/>
                  <a:gd name="connsiteY1" fmla="*/ 10993 h 18414"/>
                  <a:gd name="connsiteX2" fmla="*/ 7404 w 18278"/>
                  <a:gd name="connsiteY2" fmla="*/ 18230 h 18414"/>
                  <a:gd name="connsiteX3" fmla="*/ 168 w 18278"/>
                  <a:gd name="connsiteY3" fmla="*/ 7405 h 18414"/>
                  <a:gd name="connsiteX4" fmla="*/ 10874 w 18278"/>
                  <a:gd name="connsiteY4" fmla="*/ 16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8" h="18414">
                    <a:moveTo>
                      <a:pt x="10874" y="168"/>
                    </a:moveTo>
                    <a:cubicBezTo>
                      <a:pt x="15837" y="1125"/>
                      <a:pt x="19067" y="5969"/>
                      <a:pt x="18110" y="10993"/>
                    </a:cubicBezTo>
                    <a:cubicBezTo>
                      <a:pt x="17153" y="15957"/>
                      <a:pt x="12369" y="19246"/>
                      <a:pt x="7404" y="18230"/>
                    </a:cubicBezTo>
                    <a:cubicBezTo>
                      <a:pt x="2441" y="17273"/>
                      <a:pt x="-789" y="12428"/>
                      <a:pt x="168" y="7405"/>
                    </a:cubicBezTo>
                    <a:cubicBezTo>
                      <a:pt x="1065" y="2440"/>
                      <a:pt x="5909" y="-789"/>
                      <a:pt x="10874" y="168"/>
                    </a:cubicBezTo>
                    <a:close/>
                  </a:path>
                </a:pathLst>
              </a:custGeom>
              <a:grpFill/>
              <a:ln w="5978" cap="flat">
                <a:noFill/>
                <a:prstDash val="solid"/>
                <a:miter/>
              </a:ln>
            </p:spPr>
            <p:txBody>
              <a:bodyPr rtlCol="0" anchor="ctr"/>
              <a:lstStyle/>
              <a:p>
                <a:endParaRPr lang="en-GB"/>
              </a:p>
            </p:txBody>
          </p:sp>
          <p:sp>
            <p:nvSpPr>
              <p:cNvPr id="4529" name="Vrije vorm: vorm 4528">
                <a:extLst>
                  <a:ext uri="{FF2B5EF4-FFF2-40B4-BE49-F238E27FC236}">
                    <a16:creationId xmlns:a16="http://schemas.microsoft.com/office/drawing/2014/main" id="{0649736C-E1F3-4286-9A1C-016EDAC7FE5B}"/>
                  </a:ext>
                </a:extLst>
              </p:cNvPr>
              <p:cNvSpPr/>
              <p:nvPr/>
            </p:nvSpPr>
            <p:spPr>
              <a:xfrm>
                <a:off x="7696802" y="3734354"/>
                <a:ext cx="18294" cy="18397"/>
              </a:xfrm>
              <a:custGeom>
                <a:avLst/>
                <a:gdLst>
                  <a:gd name="connsiteX0" fmla="*/ 10874 w 18294"/>
                  <a:gd name="connsiteY0" fmla="*/ 168 h 18397"/>
                  <a:gd name="connsiteX1" fmla="*/ 168 w 18294"/>
                  <a:gd name="connsiteY1" fmla="*/ 7405 h 18397"/>
                  <a:gd name="connsiteX2" fmla="*/ 7404 w 18294"/>
                  <a:gd name="connsiteY2" fmla="*/ 18230 h 18397"/>
                  <a:gd name="connsiteX3" fmla="*/ 18110 w 18294"/>
                  <a:gd name="connsiteY3" fmla="*/ 10993 h 18397"/>
                  <a:gd name="connsiteX4" fmla="*/ 10874 w 18294"/>
                  <a:gd name="connsiteY4" fmla="*/ 168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397">
                    <a:moveTo>
                      <a:pt x="10874" y="168"/>
                    </a:moveTo>
                    <a:cubicBezTo>
                      <a:pt x="5909" y="-789"/>
                      <a:pt x="1125" y="2441"/>
                      <a:pt x="168" y="7405"/>
                    </a:cubicBezTo>
                    <a:cubicBezTo>
                      <a:pt x="-789" y="12369"/>
                      <a:pt x="2441" y="17213"/>
                      <a:pt x="7404" y="18230"/>
                    </a:cubicBezTo>
                    <a:cubicBezTo>
                      <a:pt x="12369" y="19187"/>
                      <a:pt x="17153" y="15957"/>
                      <a:pt x="18110" y="10993"/>
                    </a:cubicBezTo>
                    <a:cubicBezTo>
                      <a:pt x="19127" y="5969"/>
                      <a:pt x="15837" y="1125"/>
                      <a:pt x="10874" y="168"/>
                    </a:cubicBezTo>
                    <a:close/>
                  </a:path>
                </a:pathLst>
              </a:custGeom>
              <a:grpFill/>
              <a:ln w="5978" cap="flat">
                <a:noFill/>
                <a:prstDash val="solid"/>
                <a:miter/>
              </a:ln>
            </p:spPr>
            <p:txBody>
              <a:bodyPr rtlCol="0" anchor="ctr"/>
              <a:lstStyle/>
              <a:p>
                <a:endParaRPr lang="en-GB"/>
              </a:p>
            </p:txBody>
          </p:sp>
        </p:grpSp>
        <p:grpSp>
          <p:nvGrpSpPr>
            <p:cNvPr id="285" name="Graphic 3">
              <a:extLst>
                <a:ext uri="{FF2B5EF4-FFF2-40B4-BE49-F238E27FC236}">
                  <a16:creationId xmlns:a16="http://schemas.microsoft.com/office/drawing/2014/main" id="{48DB1AC5-4353-4FF4-81B1-8A4FB1EA548B}"/>
                </a:ext>
              </a:extLst>
            </p:cNvPr>
            <p:cNvGrpSpPr/>
            <p:nvPr/>
          </p:nvGrpSpPr>
          <p:grpSpPr>
            <a:xfrm>
              <a:off x="7596107" y="4099627"/>
              <a:ext cx="727012" cy="384406"/>
              <a:chOff x="7596107" y="4099627"/>
              <a:chExt cx="727012" cy="384406"/>
            </a:xfrm>
            <a:grpFill/>
          </p:grpSpPr>
          <p:sp>
            <p:nvSpPr>
              <p:cNvPr id="4524" name="Vrije vorm: vorm 4523">
                <a:extLst>
                  <a:ext uri="{FF2B5EF4-FFF2-40B4-BE49-F238E27FC236}">
                    <a16:creationId xmlns:a16="http://schemas.microsoft.com/office/drawing/2014/main" id="{6AF4B1EB-1CFC-4D66-8999-AF3B534FD757}"/>
                  </a:ext>
                </a:extLst>
              </p:cNvPr>
              <p:cNvSpPr/>
              <p:nvPr/>
            </p:nvSpPr>
            <p:spPr>
              <a:xfrm>
                <a:off x="7604149" y="4107241"/>
                <a:ext cx="710928" cy="369130"/>
              </a:xfrm>
              <a:custGeom>
                <a:avLst/>
                <a:gdLst>
                  <a:gd name="connsiteX0" fmla="*/ 710928 w 710928"/>
                  <a:gd name="connsiteY0" fmla="*/ 366439 h 369130"/>
                  <a:gd name="connsiteX1" fmla="*/ 709493 w 710928"/>
                  <a:gd name="connsiteY1" fmla="*/ 369130 h 369130"/>
                  <a:gd name="connsiteX2" fmla="*/ 0 w 710928"/>
                  <a:gd name="connsiteY2" fmla="*/ 2751 h 369130"/>
                  <a:gd name="connsiteX3" fmla="*/ 1375 w 710928"/>
                  <a:gd name="connsiteY3" fmla="*/ 0 h 369130"/>
                </a:gdLst>
                <a:ahLst/>
                <a:cxnLst>
                  <a:cxn ang="0">
                    <a:pos x="connsiteX0" y="connsiteY0"/>
                  </a:cxn>
                  <a:cxn ang="0">
                    <a:pos x="connsiteX1" y="connsiteY1"/>
                  </a:cxn>
                  <a:cxn ang="0">
                    <a:pos x="connsiteX2" y="connsiteY2"/>
                  </a:cxn>
                  <a:cxn ang="0">
                    <a:pos x="connsiteX3" y="connsiteY3"/>
                  </a:cxn>
                </a:cxnLst>
                <a:rect l="l" t="t" r="r" b="b"/>
                <a:pathLst>
                  <a:path w="710928" h="369130">
                    <a:moveTo>
                      <a:pt x="710928" y="366439"/>
                    </a:moveTo>
                    <a:lnTo>
                      <a:pt x="709493" y="369130"/>
                    </a:lnTo>
                    <a:lnTo>
                      <a:pt x="0" y="2751"/>
                    </a:lnTo>
                    <a:lnTo>
                      <a:pt x="1375" y="0"/>
                    </a:lnTo>
                    <a:close/>
                  </a:path>
                </a:pathLst>
              </a:custGeom>
              <a:grpFill/>
              <a:ln w="5978" cap="flat">
                <a:noFill/>
                <a:prstDash val="solid"/>
                <a:miter/>
              </a:ln>
            </p:spPr>
            <p:txBody>
              <a:bodyPr rtlCol="0" anchor="ctr"/>
              <a:lstStyle/>
              <a:p>
                <a:endParaRPr lang="en-GB"/>
              </a:p>
            </p:txBody>
          </p:sp>
          <p:sp>
            <p:nvSpPr>
              <p:cNvPr id="4525" name="Vrije vorm: vorm 4524">
                <a:extLst>
                  <a:ext uri="{FF2B5EF4-FFF2-40B4-BE49-F238E27FC236}">
                    <a16:creationId xmlns:a16="http://schemas.microsoft.com/office/drawing/2014/main" id="{D3622507-D4E0-4B1F-90ED-2FE0C781BDE4}"/>
                  </a:ext>
                </a:extLst>
              </p:cNvPr>
              <p:cNvSpPr/>
              <p:nvPr/>
            </p:nvSpPr>
            <p:spPr>
              <a:xfrm>
                <a:off x="7596107" y="4099627"/>
                <a:ext cx="18297" cy="18386"/>
              </a:xfrm>
              <a:custGeom>
                <a:avLst/>
                <a:gdLst>
                  <a:gd name="connsiteX0" fmla="*/ 4992 w 18297"/>
                  <a:gd name="connsiteY0" fmla="*/ 17362 h 18386"/>
                  <a:gd name="connsiteX1" fmla="*/ 985 w 18297"/>
                  <a:gd name="connsiteY1" fmla="*/ 4982 h 18386"/>
                  <a:gd name="connsiteX2" fmla="*/ 13305 w 18297"/>
                  <a:gd name="connsiteY2" fmla="*/ 1035 h 18386"/>
                  <a:gd name="connsiteX3" fmla="*/ 17312 w 18297"/>
                  <a:gd name="connsiteY3" fmla="*/ 13415 h 18386"/>
                  <a:gd name="connsiteX4" fmla="*/ 4992 w 18297"/>
                  <a:gd name="connsiteY4" fmla="*/ 17362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86">
                    <a:moveTo>
                      <a:pt x="4992" y="17362"/>
                    </a:moveTo>
                    <a:cubicBezTo>
                      <a:pt x="506" y="15030"/>
                      <a:pt x="-1288" y="9468"/>
                      <a:pt x="985" y="4982"/>
                    </a:cubicBezTo>
                    <a:cubicBezTo>
                      <a:pt x="3257" y="437"/>
                      <a:pt x="8819" y="-1297"/>
                      <a:pt x="13305" y="1035"/>
                    </a:cubicBezTo>
                    <a:cubicBezTo>
                      <a:pt x="17790" y="3368"/>
                      <a:pt x="19585" y="8930"/>
                      <a:pt x="17312" y="13415"/>
                    </a:cubicBezTo>
                    <a:cubicBezTo>
                      <a:pt x="14980" y="17901"/>
                      <a:pt x="9477" y="19695"/>
                      <a:pt x="4992" y="17362"/>
                    </a:cubicBezTo>
                    <a:close/>
                  </a:path>
                </a:pathLst>
              </a:custGeom>
              <a:grpFill/>
              <a:ln w="5978" cap="flat">
                <a:noFill/>
                <a:prstDash val="solid"/>
                <a:miter/>
              </a:ln>
            </p:spPr>
            <p:txBody>
              <a:bodyPr rtlCol="0" anchor="ctr"/>
              <a:lstStyle/>
              <a:p>
                <a:endParaRPr lang="en-GB"/>
              </a:p>
            </p:txBody>
          </p:sp>
          <p:sp>
            <p:nvSpPr>
              <p:cNvPr id="4526" name="Vrije vorm: vorm 4525">
                <a:extLst>
                  <a:ext uri="{FF2B5EF4-FFF2-40B4-BE49-F238E27FC236}">
                    <a16:creationId xmlns:a16="http://schemas.microsoft.com/office/drawing/2014/main" id="{A187184D-6DCD-4BAA-8EED-0661DF563D89}"/>
                  </a:ext>
                </a:extLst>
              </p:cNvPr>
              <p:cNvSpPr/>
              <p:nvPr/>
            </p:nvSpPr>
            <p:spPr>
              <a:xfrm>
                <a:off x="8304785" y="4465658"/>
                <a:ext cx="18334" cy="18375"/>
              </a:xfrm>
              <a:custGeom>
                <a:avLst/>
                <a:gdLst>
                  <a:gd name="connsiteX0" fmla="*/ 5029 w 18334"/>
                  <a:gd name="connsiteY0" fmla="*/ 17351 h 18375"/>
                  <a:gd name="connsiteX1" fmla="*/ 17350 w 18334"/>
                  <a:gd name="connsiteY1" fmla="*/ 13404 h 18375"/>
                  <a:gd name="connsiteX2" fmla="*/ 13342 w 18334"/>
                  <a:gd name="connsiteY2" fmla="*/ 1024 h 18375"/>
                  <a:gd name="connsiteX3" fmla="*/ 1022 w 18334"/>
                  <a:gd name="connsiteY3" fmla="*/ 4971 h 18375"/>
                  <a:gd name="connsiteX4" fmla="*/ 5029 w 18334"/>
                  <a:gd name="connsiteY4" fmla="*/ 17351 h 18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75">
                    <a:moveTo>
                      <a:pt x="5029" y="17351"/>
                    </a:moveTo>
                    <a:cubicBezTo>
                      <a:pt x="9515" y="19684"/>
                      <a:pt x="15077" y="17890"/>
                      <a:pt x="17350" y="13404"/>
                    </a:cubicBezTo>
                    <a:cubicBezTo>
                      <a:pt x="19622" y="8859"/>
                      <a:pt x="17828" y="3297"/>
                      <a:pt x="13342" y="1024"/>
                    </a:cubicBezTo>
                    <a:cubicBezTo>
                      <a:pt x="8857" y="-1309"/>
                      <a:pt x="3294" y="485"/>
                      <a:pt x="1022" y="4971"/>
                    </a:cubicBezTo>
                    <a:cubicBezTo>
                      <a:pt x="-1310" y="9457"/>
                      <a:pt x="484" y="15019"/>
                      <a:pt x="5029" y="17351"/>
                    </a:cubicBezTo>
                    <a:close/>
                  </a:path>
                </a:pathLst>
              </a:custGeom>
              <a:grpFill/>
              <a:ln w="5978" cap="flat">
                <a:noFill/>
                <a:prstDash val="solid"/>
                <a:miter/>
              </a:ln>
            </p:spPr>
            <p:txBody>
              <a:bodyPr rtlCol="0" anchor="ctr"/>
              <a:lstStyle/>
              <a:p>
                <a:endParaRPr lang="en-GB"/>
              </a:p>
            </p:txBody>
          </p:sp>
        </p:grpSp>
        <p:grpSp>
          <p:nvGrpSpPr>
            <p:cNvPr id="286" name="Graphic 3">
              <a:extLst>
                <a:ext uri="{FF2B5EF4-FFF2-40B4-BE49-F238E27FC236}">
                  <a16:creationId xmlns:a16="http://schemas.microsoft.com/office/drawing/2014/main" id="{EF6A37B1-A811-47BB-A872-609A6181577D}"/>
                </a:ext>
              </a:extLst>
            </p:cNvPr>
            <p:cNvGrpSpPr/>
            <p:nvPr/>
          </p:nvGrpSpPr>
          <p:grpSpPr>
            <a:xfrm>
              <a:off x="7741502" y="4240995"/>
              <a:ext cx="448183" cy="229658"/>
              <a:chOff x="7741502" y="4240995"/>
              <a:chExt cx="448183" cy="229658"/>
            </a:xfrm>
            <a:grpFill/>
          </p:grpSpPr>
          <p:sp>
            <p:nvSpPr>
              <p:cNvPr id="4521" name="Vrije vorm: vorm 4520">
                <a:extLst>
                  <a:ext uri="{FF2B5EF4-FFF2-40B4-BE49-F238E27FC236}">
                    <a16:creationId xmlns:a16="http://schemas.microsoft.com/office/drawing/2014/main" id="{9D043BFF-A912-4209-9CEA-9CE278F79C4F}"/>
                  </a:ext>
                </a:extLst>
              </p:cNvPr>
              <p:cNvSpPr/>
              <p:nvPr/>
            </p:nvSpPr>
            <p:spPr>
              <a:xfrm>
                <a:off x="7749600" y="4248625"/>
                <a:ext cx="431987" cy="214409"/>
              </a:xfrm>
              <a:custGeom>
                <a:avLst/>
                <a:gdLst>
                  <a:gd name="connsiteX0" fmla="*/ 431987 w 431987"/>
                  <a:gd name="connsiteY0" fmla="*/ 211658 h 214409"/>
                  <a:gd name="connsiteX1" fmla="*/ 430671 w 431987"/>
                  <a:gd name="connsiteY1" fmla="*/ 214409 h 214409"/>
                  <a:gd name="connsiteX2" fmla="*/ 0 w 431987"/>
                  <a:gd name="connsiteY2" fmla="*/ 2751 h 214409"/>
                  <a:gd name="connsiteX3" fmla="*/ 1316 w 431987"/>
                  <a:gd name="connsiteY3" fmla="*/ 0 h 214409"/>
                </a:gdLst>
                <a:ahLst/>
                <a:cxnLst>
                  <a:cxn ang="0">
                    <a:pos x="connsiteX0" y="connsiteY0"/>
                  </a:cxn>
                  <a:cxn ang="0">
                    <a:pos x="connsiteX1" y="connsiteY1"/>
                  </a:cxn>
                  <a:cxn ang="0">
                    <a:pos x="connsiteX2" y="connsiteY2"/>
                  </a:cxn>
                  <a:cxn ang="0">
                    <a:pos x="connsiteX3" y="connsiteY3"/>
                  </a:cxn>
                </a:cxnLst>
                <a:rect l="l" t="t" r="r" b="b"/>
                <a:pathLst>
                  <a:path w="431987" h="214409">
                    <a:moveTo>
                      <a:pt x="431987" y="211658"/>
                    </a:moveTo>
                    <a:lnTo>
                      <a:pt x="430671" y="214409"/>
                    </a:lnTo>
                    <a:lnTo>
                      <a:pt x="0" y="2751"/>
                    </a:lnTo>
                    <a:lnTo>
                      <a:pt x="1316" y="0"/>
                    </a:lnTo>
                    <a:close/>
                  </a:path>
                </a:pathLst>
              </a:custGeom>
              <a:grpFill/>
              <a:ln w="5978" cap="flat">
                <a:noFill/>
                <a:prstDash val="solid"/>
                <a:miter/>
              </a:ln>
            </p:spPr>
            <p:txBody>
              <a:bodyPr rtlCol="0" anchor="ctr"/>
              <a:lstStyle/>
              <a:p>
                <a:endParaRPr lang="en-GB"/>
              </a:p>
            </p:txBody>
          </p:sp>
          <p:sp>
            <p:nvSpPr>
              <p:cNvPr id="4522" name="Vrije vorm: vorm 4521">
                <a:extLst>
                  <a:ext uri="{FF2B5EF4-FFF2-40B4-BE49-F238E27FC236}">
                    <a16:creationId xmlns:a16="http://schemas.microsoft.com/office/drawing/2014/main" id="{BB808FB1-803E-4F90-B016-BA67777BAA18}"/>
                  </a:ext>
                </a:extLst>
              </p:cNvPr>
              <p:cNvSpPr/>
              <p:nvPr/>
            </p:nvSpPr>
            <p:spPr>
              <a:xfrm>
                <a:off x="8171336" y="4452234"/>
                <a:ext cx="18349" cy="18419"/>
              </a:xfrm>
              <a:custGeom>
                <a:avLst/>
                <a:gdLst>
                  <a:gd name="connsiteX0" fmla="*/ 13182 w 18349"/>
                  <a:gd name="connsiteY0" fmla="*/ 931 h 18419"/>
                  <a:gd name="connsiteX1" fmla="*/ 17428 w 18349"/>
                  <a:gd name="connsiteY1" fmla="*/ 13252 h 18419"/>
                  <a:gd name="connsiteX2" fmla="*/ 5167 w 18349"/>
                  <a:gd name="connsiteY2" fmla="*/ 17498 h 18419"/>
                  <a:gd name="connsiteX3" fmla="*/ 921 w 18349"/>
                  <a:gd name="connsiteY3" fmla="*/ 5178 h 18419"/>
                  <a:gd name="connsiteX4" fmla="*/ 13182 w 18349"/>
                  <a:gd name="connsiteY4" fmla="*/ 93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9">
                    <a:moveTo>
                      <a:pt x="13182" y="931"/>
                    </a:moveTo>
                    <a:cubicBezTo>
                      <a:pt x="17727" y="3144"/>
                      <a:pt x="19641" y="8706"/>
                      <a:pt x="17428" y="13252"/>
                    </a:cubicBezTo>
                    <a:cubicBezTo>
                      <a:pt x="15215" y="17797"/>
                      <a:pt x="9713" y="19711"/>
                      <a:pt x="5167" y="17498"/>
                    </a:cubicBezTo>
                    <a:cubicBezTo>
                      <a:pt x="622" y="15285"/>
                      <a:pt x="-1292" y="9723"/>
                      <a:pt x="921" y="5178"/>
                    </a:cubicBezTo>
                    <a:cubicBezTo>
                      <a:pt x="3134" y="573"/>
                      <a:pt x="8636" y="-1281"/>
                      <a:pt x="13182" y="931"/>
                    </a:cubicBezTo>
                    <a:close/>
                  </a:path>
                </a:pathLst>
              </a:custGeom>
              <a:grpFill/>
              <a:ln w="5978" cap="flat">
                <a:noFill/>
                <a:prstDash val="solid"/>
                <a:miter/>
              </a:ln>
            </p:spPr>
            <p:txBody>
              <a:bodyPr rtlCol="0" anchor="ctr"/>
              <a:lstStyle/>
              <a:p>
                <a:endParaRPr lang="en-GB"/>
              </a:p>
            </p:txBody>
          </p:sp>
          <p:sp>
            <p:nvSpPr>
              <p:cNvPr id="4523" name="Vrije vorm: vorm 4522">
                <a:extLst>
                  <a:ext uri="{FF2B5EF4-FFF2-40B4-BE49-F238E27FC236}">
                    <a16:creationId xmlns:a16="http://schemas.microsoft.com/office/drawing/2014/main" id="{31D6FB33-7CD6-4CFB-BC7A-E78D47EDB949}"/>
                  </a:ext>
                </a:extLst>
              </p:cNvPr>
              <p:cNvSpPr/>
              <p:nvPr/>
            </p:nvSpPr>
            <p:spPr>
              <a:xfrm>
                <a:off x="7741502" y="4240995"/>
                <a:ext cx="18349" cy="18429"/>
              </a:xfrm>
              <a:custGeom>
                <a:avLst/>
                <a:gdLst>
                  <a:gd name="connsiteX0" fmla="*/ 13182 w 18349"/>
                  <a:gd name="connsiteY0" fmla="*/ 931 h 18429"/>
                  <a:gd name="connsiteX1" fmla="*/ 921 w 18349"/>
                  <a:gd name="connsiteY1" fmla="*/ 5178 h 18429"/>
                  <a:gd name="connsiteX2" fmla="*/ 5167 w 18349"/>
                  <a:gd name="connsiteY2" fmla="*/ 17498 h 18429"/>
                  <a:gd name="connsiteX3" fmla="*/ 17428 w 18349"/>
                  <a:gd name="connsiteY3" fmla="*/ 13252 h 18429"/>
                  <a:gd name="connsiteX4" fmla="*/ 13182 w 18349"/>
                  <a:gd name="connsiteY4" fmla="*/ 93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9">
                    <a:moveTo>
                      <a:pt x="13182" y="931"/>
                    </a:moveTo>
                    <a:cubicBezTo>
                      <a:pt x="8636" y="-1281"/>
                      <a:pt x="3134" y="573"/>
                      <a:pt x="921" y="5178"/>
                    </a:cubicBezTo>
                    <a:cubicBezTo>
                      <a:pt x="-1292" y="9723"/>
                      <a:pt x="622" y="15285"/>
                      <a:pt x="5167" y="17498"/>
                    </a:cubicBezTo>
                    <a:cubicBezTo>
                      <a:pt x="9713" y="19711"/>
                      <a:pt x="15215" y="17857"/>
                      <a:pt x="17428" y="13252"/>
                    </a:cubicBezTo>
                    <a:cubicBezTo>
                      <a:pt x="19641" y="8706"/>
                      <a:pt x="17727" y="3204"/>
                      <a:pt x="13182" y="931"/>
                    </a:cubicBezTo>
                    <a:close/>
                  </a:path>
                </a:pathLst>
              </a:custGeom>
              <a:grpFill/>
              <a:ln w="5978" cap="flat">
                <a:noFill/>
                <a:prstDash val="solid"/>
                <a:miter/>
              </a:ln>
            </p:spPr>
            <p:txBody>
              <a:bodyPr rtlCol="0" anchor="ctr"/>
              <a:lstStyle/>
              <a:p>
                <a:endParaRPr lang="en-GB"/>
              </a:p>
            </p:txBody>
          </p:sp>
        </p:grpSp>
        <p:grpSp>
          <p:nvGrpSpPr>
            <p:cNvPr id="287" name="Graphic 3">
              <a:extLst>
                <a:ext uri="{FF2B5EF4-FFF2-40B4-BE49-F238E27FC236}">
                  <a16:creationId xmlns:a16="http://schemas.microsoft.com/office/drawing/2014/main" id="{55D7702B-E49E-44BB-BD42-6C3BA57550A2}"/>
                </a:ext>
              </a:extLst>
            </p:cNvPr>
            <p:cNvGrpSpPr/>
            <p:nvPr/>
          </p:nvGrpSpPr>
          <p:grpSpPr>
            <a:xfrm>
              <a:off x="6909180" y="1312165"/>
              <a:ext cx="84815" cy="168318"/>
              <a:chOff x="6909180" y="1312165"/>
              <a:chExt cx="84815" cy="168318"/>
            </a:xfrm>
            <a:grpFill/>
          </p:grpSpPr>
          <p:sp>
            <p:nvSpPr>
              <p:cNvPr id="4518" name="Vrije vorm: vorm 4517">
                <a:extLst>
                  <a:ext uri="{FF2B5EF4-FFF2-40B4-BE49-F238E27FC236}">
                    <a16:creationId xmlns:a16="http://schemas.microsoft.com/office/drawing/2014/main" id="{21351384-8AB9-4343-92BA-F4E223DF2FF8}"/>
                  </a:ext>
                </a:extLst>
              </p:cNvPr>
              <p:cNvSpPr/>
              <p:nvPr/>
            </p:nvSpPr>
            <p:spPr>
              <a:xfrm>
                <a:off x="6916725" y="1320284"/>
                <a:ext cx="69674" cy="152029"/>
              </a:xfrm>
              <a:custGeom>
                <a:avLst/>
                <a:gdLst>
                  <a:gd name="connsiteX0" fmla="*/ 69675 w 69674"/>
                  <a:gd name="connsiteY0" fmla="*/ 1256 h 152029"/>
                  <a:gd name="connsiteX1" fmla="*/ 2811 w 69674"/>
                  <a:gd name="connsiteY1" fmla="*/ 152030 h 152029"/>
                  <a:gd name="connsiteX2" fmla="*/ 0 w 69674"/>
                  <a:gd name="connsiteY2" fmla="*/ 150774 h 152029"/>
                  <a:gd name="connsiteX3" fmla="*/ 66864 w 69674"/>
                  <a:gd name="connsiteY3" fmla="*/ 0 h 152029"/>
                </a:gdLst>
                <a:ahLst/>
                <a:cxnLst>
                  <a:cxn ang="0">
                    <a:pos x="connsiteX0" y="connsiteY0"/>
                  </a:cxn>
                  <a:cxn ang="0">
                    <a:pos x="connsiteX1" y="connsiteY1"/>
                  </a:cxn>
                  <a:cxn ang="0">
                    <a:pos x="connsiteX2" y="connsiteY2"/>
                  </a:cxn>
                  <a:cxn ang="0">
                    <a:pos x="connsiteX3" y="connsiteY3"/>
                  </a:cxn>
                </a:cxnLst>
                <a:rect l="l" t="t" r="r" b="b"/>
                <a:pathLst>
                  <a:path w="69674" h="152029">
                    <a:moveTo>
                      <a:pt x="69675" y="1256"/>
                    </a:moveTo>
                    <a:lnTo>
                      <a:pt x="2811" y="152030"/>
                    </a:lnTo>
                    <a:lnTo>
                      <a:pt x="0" y="150774"/>
                    </a:lnTo>
                    <a:lnTo>
                      <a:pt x="66864" y="0"/>
                    </a:lnTo>
                    <a:close/>
                  </a:path>
                </a:pathLst>
              </a:custGeom>
              <a:grpFill/>
              <a:ln w="5978" cap="flat">
                <a:noFill/>
                <a:prstDash val="solid"/>
                <a:miter/>
              </a:ln>
            </p:spPr>
            <p:txBody>
              <a:bodyPr rtlCol="0" anchor="ctr"/>
              <a:lstStyle/>
              <a:p>
                <a:endParaRPr lang="en-GB"/>
              </a:p>
            </p:txBody>
          </p:sp>
          <p:sp>
            <p:nvSpPr>
              <p:cNvPr id="4519" name="Vrije vorm: vorm 4518">
                <a:extLst>
                  <a:ext uri="{FF2B5EF4-FFF2-40B4-BE49-F238E27FC236}">
                    <a16:creationId xmlns:a16="http://schemas.microsoft.com/office/drawing/2014/main" id="{C5953825-3A0B-4569-8E1A-6F87468BB246}"/>
                  </a:ext>
                </a:extLst>
              </p:cNvPr>
              <p:cNvSpPr/>
              <p:nvPr/>
            </p:nvSpPr>
            <p:spPr>
              <a:xfrm>
                <a:off x="6975660" y="1312165"/>
                <a:ext cx="18335" cy="18451"/>
              </a:xfrm>
              <a:custGeom>
                <a:avLst/>
                <a:gdLst>
                  <a:gd name="connsiteX0" fmla="*/ 812 w 18335"/>
                  <a:gd name="connsiteY0" fmla="*/ 5428 h 18451"/>
                  <a:gd name="connsiteX1" fmla="*/ 12894 w 18335"/>
                  <a:gd name="connsiteY1" fmla="*/ 823 h 18451"/>
                  <a:gd name="connsiteX2" fmla="*/ 17558 w 18335"/>
                  <a:gd name="connsiteY2" fmla="*/ 13023 h 18451"/>
                  <a:gd name="connsiteX3" fmla="*/ 5477 w 18335"/>
                  <a:gd name="connsiteY3" fmla="*/ 17628 h 18451"/>
                  <a:gd name="connsiteX4" fmla="*/ 812 w 18335"/>
                  <a:gd name="connsiteY4" fmla="*/ 542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1">
                    <a:moveTo>
                      <a:pt x="812" y="5428"/>
                    </a:moveTo>
                    <a:cubicBezTo>
                      <a:pt x="2846" y="763"/>
                      <a:pt x="8288" y="-1271"/>
                      <a:pt x="12894" y="823"/>
                    </a:cubicBezTo>
                    <a:cubicBezTo>
                      <a:pt x="17498" y="2916"/>
                      <a:pt x="19592" y="8358"/>
                      <a:pt x="17558" y="13023"/>
                    </a:cubicBezTo>
                    <a:cubicBezTo>
                      <a:pt x="15525" y="17688"/>
                      <a:pt x="10082" y="19722"/>
                      <a:pt x="5477" y="17628"/>
                    </a:cubicBezTo>
                    <a:cubicBezTo>
                      <a:pt x="812" y="15475"/>
                      <a:pt x="-1281" y="10033"/>
                      <a:pt x="812" y="5428"/>
                    </a:cubicBezTo>
                    <a:close/>
                  </a:path>
                </a:pathLst>
              </a:custGeom>
              <a:grpFill/>
              <a:ln w="5978" cap="flat">
                <a:noFill/>
                <a:prstDash val="solid"/>
                <a:miter/>
              </a:ln>
            </p:spPr>
            <p:txBody>
              <a:bodyPr rtlCol="0" anchor="ctr"/>
              <a:lstStyle/>
              <a:p>
                <a:endParaRPr lang="en-GB"/>
              </a:p>
            </p:txBody>
          </p:sp>
          <p:sp>
            <p:nvSpPr>
              <p:cNvPr id="4520" name="Vrije vorm: vorm 4519">
                <a:extLst>
                  <a:ext uri="{FF2B5EF4-FFF2-40B4-BE49-F238E27FC236}">
                    <a16:creationId xmlns:a16="http://schemas.microsoft.com/office/drawing/2014/main" id="{B4410233-8CD9-4583-BC7D-274508CE7747}"/>
                  </a:ext>
                </a:extLst>
              </p:cNvPr>
              <p:cNvSpPr/>
              <p:nvPr/>
            </p:nvSpPr>
            <p:spPr>
              <a:xfrm>
                <a:off x="6909180" y="1462042"/>
                <a:ext cx="18319" cy="18441"/>
              </a:xfrm>
              <a:custGeom>
                <a:avLst/>
                <a:gdLst>
                  <a:gd name="connsiteX0" fmla="*/ 787 w 18319"/>
                  <a:gd name="connsiteY0" fmla="*/ 5428 h 18441"/>
                  <a:gd name="connsiteX1" fmla="*/ 5451 w 18319"/>
                  <a:gd name="connsiteY1" fmla="*/ 17628 h 18441"/>
                  <a:gd name="connsiteX2" fmla="*/ 17532 w 18319"/>
                  <a:gd name="connsiteY2" fmla="*/ 13023 h 18441"/>
                  <a:gd name="connsiteX3" fmla="*/ 12867 w 18319"/>
                  <a:gd name="connsiteY3" fmla="*/ 823 h 18441"/>
                  <a:gd name="connsiteX4" fmla="*/ 787 w 18319"/>
                  <a:gd name="connsiteY4" fmla="*/ 542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1">
                    <a:moveTo>
                      <a:pt x="787" y="5428"/>
                    </a:moveTo>
                    <a:cubicBezTo>
                      <a:pt x="-1247" y="10093"/>
                      <a:pt x="787" y="15535"/>
                      <a:pt x="5451" y="17628"/>
                    </a:cubicBezTo>
                    <a:cubicBezTo>
                      <a:pt x="10116" y="19722"/>
                      <a:pt x="15499" y="17628"/>
                      <a:pt x="17532" y="13023"/>
                    </a:cubicBezTo>
                    <a:cubicBezTo>
                      <a:pt x="19566" y="8358"/>
                      <a:pt x="17532" y="2916"/>
                      <a:pt x="12867" y="823"/>
                    </a:cubicBezTo>
                    <a:cubicBezTo>
                      <a:pt x="8263" y="-1271"/>
                      <a:pt x="2820" y="763"/>
                      <a:pt x="787" y="5428"/>
                    </a:cubicBezTo>
                    <a:close/>
                  </a:path>
                </a:pathLst>
              </a:custGeom>
              <a:grpFill/>
              <a:ln w="5978" cap="flat">
                <a:noFill/>
                <a:prstDash val="solid"/>
                <a:miter/>
              </a:ln>
            </p:spPr>
            <p:txBody>
              <a:bodyPr rtlCol="0" anchor="ctr"/>
              <a:lstStyle/>
              <a:p>
                <a:endParaRPr lang="en-GB"/>
              </a:p>
            </p:txBody>
          </p:sp>
        </p:grpSp>
        <p:grpSp>
          <p:nvGrpSpPr>
            <p:cNvPr id="288" name="Graphic 3">
              <a:extLst>
                <a:ext uri="{FF2B5EF4-FFF2-40B4-BE49-F238E27FC236}">
                  <a16:creationId xmlns:a16="http://schemas.microsoft.com/office/drawing/2014/main" id="{48FED2E5-097E-4885-AFD7-A4AF077D0ED9}"/>
                </a:ext>
              </a:extLst>
            </p:cNvPr>
            <p:cNvGrpSpPr/>
            <p:nvPr/>
          </p:nvGrpSpPr>
          <p:grpSpPr>
            <a:xfrm>
              <a:off x="7609039" y="4070744"/>
              <a:ext cx="612275" cy="316886"/>
              <a:chOff x="7609039" y="4070744"/>
              <a:chExt cx="612275" cy="316886"/>
            </a:xfrm>
            <a:grpFill/>
          </p:grpSpPr>
          <p:sp>
            <p:nvSpPr>
              <p:cNvPr id="4515" name="Vrije vorm: vorm 4514">
                <a:extLst>
                  <a:ext uri="{FF2B5EF4-FFF2-40B4-BE49-F238E27FC236}">
                    <a16:creationId xmlns:a16="http://schemas.microsoft.com/office/drawing/2014/main" id="{7365244D-78FD-4EC0-BB70-3F8E6AE02F92}"/>
                  </a:ext>
                </a:extLst>
              </p:cNvPr>
              <p:cNvSpPr/>
              <p:nvPr/>
            </p:nvSpPr>
            <p:spPr>
              <a:xfrm>
                <a:off x="7617127" y="4078414"/>
                <a:ext cx="596098" cy="301547"/>
              </a:xfrm>
              <a:custGeom>
                <a:avLst/>
                <a:gdLst>
                  <a:gd name="connsiteX0" fmla="*/ 596098 w 596098"/>
                  <a:gd name="connsiteY0" fmla="*/ 298797 h 301547"/>
                  <a:gd name="connsiteX1" fmla="*/ 594783 w 596098"/>
                  <a:gd name="connsiteY1" fmla="*/ 301548 h 301547"/>
                  <a:gd name="connsiteX2" fmla="*/ 0 w 596098"/>
                  <a:gd name="connsiteY2" fmla="*/ 2751 h 301547"/>
                  <a:gd name="connsiteX3" fmla="*/ 1316 w 596098"/>
                  <a:gd name="connsiteY3" fmla="*/ 0 h 301547"/>
                </a:gdLst>
                <a:ahLst/>
                <a:cxnLst>
                  <a:cxn ang="0">
                    <a:pos x="connsiteX0" y="connsiteY0"/>
                  </a:cxn>
                  <a:cxn ang="0">
                    <a:pos x="connsiteX1" y="connsiteY1"/>
                  </a:cxn>
                  <a:cxn ang="0">
                    <a:pos x="connsiteX2" y="connsiteY2"/>
                  </a:cxn>
                  <a:cxn ang="0">
                    <a:pos x="connsiteX3" y="connsiteY3"/>
                  </a:cxn>
                </a:cxnLst>
                <a:rect l="l" t="t" r="r" b="b"/>
                <a:pathLst>
                  <a:path w="596098" h="301547">
                    <a:moveTo>
                      <a:pt x="596098" y="298797"/>
                    </a:moveTo>
                    <a:lnTo>
                      <a:pt x="594783" y="301548"/>
                    </a:lnTo>
                    <a:lnTo>
                      <a:pt x="0" y="2751"/>
                    </a:lnTo>
                    <a:lnTo>
                      <a:pt x="1316" y="0"/>
                    </a:lnTo>
                    <a:close/>
                  </a:path>
                </a:pathLst>
              </a:custGeom>
              <a:grpFill/>
              <a:ln w="5978" cap="flat">
                <a:noFill/>
                <a:prstDash val="solid"/>
                <a:miter/>
              </a:ln>
            </p:spPr>
            <p:txBody>
              <a:bodyPr rtlCol="0" anchor="ctr"/>
              <a:lstStyle/>
              <a:p>
                <a:endParaRPr lang="en-GB"/>
              </a:p>
            </p:txBody>
          </p:sp>
          <p:sp>
            <p:nvSpPr>
              <p:cNvPr id="4516" name="Vrije vorm: vorm 4515">
                <a:extLst>
                  <a:ext uri="{FF2B5EF4-FFF2-40B4-BE49-F238E27FC236}">
                    <a16:creationId xmlns:a16="http://schemas.microsoft.com/office/drawing/2014/main" id="{F1E74361-E85C-414E-AD34-7FAF0B4EB800}"/>
                  </a:ext>
                </a:extLst>
              </p:cNvPr>
              <p:cNvSpPr/>
              <p:nvPr/>
            </p:nvSpPr>
            <p:spPr>
              <a:xfrm>
                <a:off x="7609039" y="4070744"/>
                <a:ext cx="18329" cy="18448"/>
              </a:xfrm>
              <a:custGeom>
                <a:avLst/>
                <a:gdLst>
                  <a:gd name="connsiteX0" fmla="*/ 5098 w 18329"/>
                  <a:gd name="connsiteY0" fmla="*/ 17478 h 18448"/>
                  <a:gd name="connsiteX1" fmla="*/ 971 w 18329"/>
                  <a:gd name="connsiteY1" fmla="*/ 5098 h 18448"/>
                  <a:gd name="connsiteX2" fmla="*/ 13232 w 18329"/>
                  <a:gd name="connsiteY2" fmla="*/ 971 h 18448"/>
                  <a:gd name="connsiteX3" fmla="*/ 17358 w 18329"/>
                  <a:gd name="connsiteY3" fmla="*/ 13351 h 18448"/>
                  <a:gd name="connsiteX4" fmla="*/ 5098 w 18329"/>
                  <a:gd name="connsiteY4" fmla="*/ 174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8">
                    <a:moveTo>
                      <a:pt x="5098" y="17478"/>
                    </a:moveTo>
                    <a:cubicBezTo>
                      <a:pt x="553" y="15205"/>
                      <a:pt x="-1302" y="9643"/>
                      <a:pt x="971" y="5098"/>
                    </a:cubicBezTo>
                    <a:cubicBezTo>
                      <a:pt x="3244" y="553"/>
                      <a:pt x="8746" y="-1301"/>
                      <a:pt x="13232" y="971"/>
                    </a:cubicBezTo>
                    <a:cubicBezTo>
                      <a:pt x="17777" y="3244"/>
                      <a:pt x="19631" y="8806"/>
                      <a:pt x="17358" y="13351"/>
                    </a:cubicBezTo>
                    <a:cubicBezTo>
                      <a:pt x="15085" y="17896"/>
                      <a:pt x="9584" y="19750"/>
                      <a:pt x="5098" y="17478"/>
                    </a:cubicBezTo>
                    <a:close/>
                  </a:path>
                </a:pathLst>
              </a:custGeom>
              <a:grpFill/>
              <a:ln w="5978" cap="flat">
                <a:noFill/>
                <a:prstDash val="solid"/>
                <a:miter/>
              </a:ln>
            </p:spPr>
            <p:txBody>
              <a:bodyPr rtlCol="0" anchor="ctr"/>
              <a:lstStyle/>
              <a:p>
                <a:endParaRPr lang="en-GB"/>
              </a:p>
            </p:txBody>
          </p:sp>
          <p:sp>
            <p:nvSpPr>
              <p:cNvPr id="4517" name="Vrije vorm: vorm 4516">
                <a:extLst>
                  <a:ext uri="{FF2B5EF4-FFF2-40B4-BE49-F238E27FC236}">
                    <a16:creationId xmlns:a16="http://schemas.microsoft.com/office/drawing/2014/main" id="{158987EF-2437-45B1-AB8C-53BDB4C95448}"/>
                  </a:ext>
                </a:extLst>
              </p:cNvPr>
              <p:cNvSpPr/>
              <p:nvPr/>
            </p:nvSpPr>
            <p:spPr>
              <a:xfrm>
                <a:off x="8202984" y="4369182"/>
                <a:ext cx="18329" cy="18449"/>
              </a:xfrm>
              <a:custGeom>
                <a:avLst/>
                <a:gdLst>
                  <a:gd name="connsiteX0" fmla="*/ 5098 w 18329"/>
                  <a:gd name="connsiteY0" fmla="*/ 17478 h 18449"/>
                  <a:gd name="connsiteX1" fmla="*/ 17358 w 18329"/>
                  <a:gd name="connsiteY1" fmla="*/ 13351 h 18449"/>
                  <a:gd name="connsiteX2" fmla="*/ 13231 w 18329"/>
                  <a:gd name="connsiteY2" fmla="*/ 971 h 18449"/>
                  <a:gd name="connsiteX3" fmla="*/ 971 w 18329"/>
                  <a:gd name="connsiteY3" fmla="*/ 5098 h 18449"/>
                  <a:gd name="connsiteX4" fmla="*/ 5098 w 18329"/>
                  <a:gd name="connsiteY4" fmla="*/ 1747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5098" y="17478"/>
                    </a:moveTo>
                    <a:cubicBezTo>
                      <a:pt x="9643" y="19751"/>
                      <a:pt x="15145" y="17897"/>
                      <a:pt x="17358" y="13351"/>
                    </a:cubicBezTo>
                    <a:cubicBezTo>
                      <a:pt x="19631" y="8806"/>
                      <a:pt x="17777" y="3244"/>
                      <a:pt x="13231" y="971"/>
                    </a:cubicBezTo>
                    <a:cubicBezTo>
                      <a:pt x="8686" y="-1302"/>
                      <a:pt x="3184" y="552"/>
                      <a:pt x="971" y="5098"/>
                    </a:cubicBezTo>
                    <a:cubicBezTo>
                      <a:pt x="-1302" y="9643"/>
                      <a:pt x="552" y="15205"/>
                      <a:pt x="5098" y="17478"/>
                    </a:cubicBezTo>
                    <a:close/>
                  </a:path>
                </a:pathLst>
              </a:custGeom>
              <a:grpFill/>
              <a:ln w="5978" cap="flat">
                <a:noFill/>
                <a:prstDash val="solid"/>
                <a:miter/>
              </a:ln>
            </p:spPr>
            <p:txBody>
              <a:bodyPr rtlCol="0" anchor="ctr"/>
              <a:lstStyle/>
              <a:p>
                <a:endParaRPr lang="en-GB"/>
              </a:p>
            </p:txBody>
          </p:sp>
        </p:grpSp>
        <p:grpSp>
          <p:nvGrpSpPr>
            <p:cNvPr id="289" name="Graphic 3">
              <a:extLst>
                <a:ext uri="{FF2B5EF4-FFF2-40B4-BE49-F238E27FC236}">
                  <a16:creationId xmlns:a16="http://schemas.microsoft.com/office/drawing/2014/main" id="{B68CADF9-93BB-4A0F-BC6D-3486084A9DE1}"/>
                </a:ext>
              </a:extLst>
            </p:cNvPr>
            <p:cNvGrpSpPr/>
            <p:nvPr/>
          </p:nvGrpSpPr>
          <p:grpSpPr>
            <a:xfrm>
              <a:off x="6964236" y="1478249"/>
              <a:ext cx="43670" cy="70116"/>
              <a:chOff x="6964236" y="1478249"/>
              <a:chExt cx="43670" cy="70116"/>
            </a:xfrm>
            <a:grpFill/>
          </p:grpSpPr>
          <p:sp>
            <p:nvSpPr>
              <p:cNvPr id="4512" name="Vrije vorm: vorm 4511">
                <a:extLst>
                  <a:ext uri="{FF2B5EF4-FFF2-40B4-BE49-F238E27FC236}">
                    <a16:creationId xmlns:a16="http://schemas.microsoft.com/office/drawing/2014/main" id="{BB846F16-C744-45EC-BFBF-DCD048E1401D}"/>
                  </a:ext>
                </a:extLst>
              </p:cNvPr>
              <p:cNvSpPr/>
              <p:nvPr/>
            </p:nvSpPr>
            <p:spPr>
              <a:xfrm>
                <a:off x="6971867" y="1486309"/>
                <a:ext cx="28408" cy="53946"/>
              </a:xfrm>
              <a:custGeom>
                <a:avLst/>
                <a:gdLst>
                  <a:gd name="connsiteX0" fmla="*/ 28408 w 28408"/>
                  <a:gd name="connsiteY0" fmla="*/ 1376 h 53946"/>
                  <a:gd name="connsiteX1" fmla="*/ 2691 w 28408"/>
                  <a:gd name="connsiteY1" fmla="*/ 53946 h 53946"/>
                  <a:gd name="connsiteX2" fmla="*/ 0 w 28408"/>
                  <a:gd name="connsiteY2" fmla="*/ 52571 h 53946"/>
                  <a:gd name="connsiteX3" fmla="*/ 25717 w 28408"/>
                  <a:gd name="connsiteY3" fmla="*/ 0 h 53946"/>
                </a:gdLst>
                <a:ahLst/>
                <a:cxnLst>
                  <a:cxn ang="0">
                    <a:pos x="connsiteX0" y="connsiteY0"/>
                  </a:cxn>
                  <a:cxn ang="0">
                    <a:pos x="connsiteX1" y="connsiteY1"/>
                  </a:cxn>
                  <a:cxn ang="0">
                    <a:pos x="connsiteX2" y="connsiteY2"/>
                  </a:cxn>
                  <a:cxn ang="0">
                    <a:pos x="connsiteX3" y="connsiteY3"/>
                  </a:cxn>
                </a:cxnLst>
                <a:rect l="l" t="t" r="r" b="b"/>
                <a:pathLst>
                  <a:path w="28408" h="53946">
                    <a:moveTo>
                      <a:pt x="28408" y="1376"/>
                    </a:moveTo>
                    <a:lnTo>
                      <a:pt x="2691" y="53946"/>
                    </a:lnTo>
                    <a:lnTo>
                      <a:pt x="0" y="52571"/>
                    </a:lnTo>
                    <a:lnTo>
                      <a:pt x="25717" y="0"/>
                    </a:lnTo>
                    <a:close/>
                  </a:path>
                </a:pathLst>
              </a:custGeom>
              <a:grpFill/>
              <a:ln w="5978" cap="flat">
                <a:noFill/>
                <a:prstDash val="solid"/>
                <a:miter/>
              </a:ln>
            </p:spPr>
            <p:txBody>
              <a:bodyPr rtlCol="0" anchor="ctr"/>
              <a:lstStyle/>
              <a:p>
                <a:endParaRPr lang="en-GB"/>
              </a:p>
            </p:txBody>
          </p:sp>
          <p:sp>
            <p:nvSpPr>
              <p:cNvPr id="4513" name="Vrije vorm: vorm 4512">
                <a:extLst>
                  <a:ext uri="{FF2B5EF4-FFF2-40B4-BE49-F238E27FC236}">
                    <a16:creationId xmlns:a16="http://schemas.microsoft.com/office/drawing/2014/main" id="{73840695-AAEE-4F73-B98B-40A987566474}"/>
                  </a:ext>
                </a:extLst>
              </p:cNvPr>
              <p:cNvSpPr/>
              <p:nvPr/>
            </p:nvSpPr>
            <p:spPr>
              <a:xfrm>
                <a:off x="6964236" y="1529993"/>
                <a:ext cx="18338" cy="18372"/>
              </a:xfrm>
              <a:custGeom>
                <a:avLst/>
                <a:gdLst>
                  <a:gd name="connsiteX0" fmla="*/ 17380 w 18338"/>
                  <a:gd name="connsiteY0" fmla="*/ 13253 h 18372"/>
                  <a:gd name="connsiteX1" fmla="*/ 5119 w 18338"/>
                  <a:gd name="connsiteY1" fmla="*/ 17440 h 18372"/>
                  <a:gd name="connsiteX2" fmla="*/ 933 w 18338"/>
                  <a:gd name="connsiteY2" fmla="*/ 5119 h 18372"/>
                  <a:gd name="connsiteX3" fmla="*/ 13193 w 18338"/>
                  <a:gd name="connsiteY3" fmla="*/ 933 h 18372"/>
                  <a:gd name="connsiteX4" fmla="*/ 17380 w 18338"/>
                  <a:gd name="connsiteY4" fmla="*/ 13253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2">
                    <a:moveTo>
                      <a:pt x="17380" y="13253"/>
                    </a:moveTo>
                    <a:cubicBezTo>
                      <a:pt x="15167" y="17798"/>
                      <a:pt x="9665" y="19653"/>
                      <a:pt x="5119" y="17440"/>
                    </a:cubicBezTo>
                    <a:cubicBezTo>
                      <a:pt x="574" y="15227"/>
                      <a:pt x="-1280" y="9665"/>
                      <a:pt x="933" y="5119"/>
                    </a:cubicBezTo>
                    <a:cubicBezTo>
                      <a:pt x="3146" y="574"/>
                      <a:pt x="8648" y="-1280"/>
                      <a:pt x="13193" y="933"/>
                    </a:cubicBezTo>
                    <a:cubicBezTo>
                      <a:pt x="17738" y="3206"/>
                      <a:pt x="19653" y="8708"/>
                      <a:pt x="17380" y="13253"/>
                    </a:cubicBezTo>
                    <a:close/>
                  </a:path>
                </a:pathLst>
              </a:custGeom>
              <a:grpFill/>
              <a:ln w="5978" cap="flat">
                <a:noFill/>
                <a:prstDash val="solid"/>
                <a:miter/>
              </a:ln>
            </p:spPr>
            <p:txBody>
              <a:bodyPr rtlCol="0" anchor="ctr"/>
              <a:lstStyle/>
              <a:p>
                <a:endParaRPr lang="en-GB"/>
              </a:p>
            </p:txBody>
          </p:sp>
          <p:sp>
            <p:nvSpPr>
              <p:cNvPr id="4514" name="Vrije vorm: vorm 4513">
                <a:extLst>
                  <a:ext uri="{FF2B5EF4-FFF2-40B4-BE49-F238E27FC236}">
                    <a16:creationId xmlns:a16="http://schemas.microsoft.com/office/drawing/2014/main" id="{979AF675-4527-4AC4-A8DF-7D0B56A8BF4C}"/>
                  </a:ext>
                </a:extLst>
              </p:cNvPr>
              <p:cNvSpPr/>
              <p:nvPr/>
            </p:nvSpPr>
            <p:spPr>
              <a:xfrm>
                <a:off x="6989594" y="1478249"/>
                <a:ext cx="18312" cy="18383"/>
              </a:xfrm>
              <a:custGeom>
                <a:avLst/>
                <a:gdLst>
                  <a:gd name="connsiteX0" fmla="*/ 17380 w 18312"/>
                  <a:gd name="connsiteY0" fmla="*/ 13264 h 18383"/>
                  <a:gd name="connsiteX1" fmla="*/ 13193 w 18312"/>
                  <a:gd name="connsiteY1" fmla="*/ 943 h 18383"/>
                  <a:gd name="connsiteX2" fmla="*/ 933 w 18312"/>
                  <a:gd name="connsiteY2" fmla="*/ 5130 h 18383"/>
                  <a:gd name="connsiteX3" fmla="*/ 5119 w 18312"/>
                  <a:gd name="connsiteY3" fmla="*/ 17450 h 18383"/>
                  <a:gd name="connsiteX4" fmla="*/ 17380 w 18312"/>
                  <a:gd name="connsiteY4" fmla="*/ 13264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83">
                    <a:moveTo>
                      <a:pt x="17380" y="13264"/>
                    </a:moveTo>
                    <a:cubicBezTo>
                      <a:pt x="19593" y="8718"/>
                      <a:pt x="17738" y="3156"/>
                      <a:pt x="13193" y="943"/>
                    </a:cubicBezTo>
                    <a:cubicBezTo>
                      <a:pt x="8648" y="-1269"/>
                      <a:pt x="3146" y="525"/>
                      <a:pt x="933" y="5130"/>
                    </a:cubicBezTo>
                    <a:cubicBezTo>
                      <a:pt x="-1280" y="9675"/>
                      <a:pt x="574" y="15237"/>
                      <a:pt x="5119" y="17450"/>
                    </a:cubicBezTo>
                    <a:cubicBezTo>
                      <a:pt x="9665" y="19663"/>
                      <a:pt x="15107" y="17809"/>
                      <a:pt x="17380" y="13264"/>
                    </a:cubicBezTo>
                    <a:close/>
                  </a:path>
                </a:pathLst>
              </a:custGeom>
              <a:grpFill/>
              <a:ln w="5978" cap="flat">
                <a:noFill/>
                <a:prstDash val="solid"/>
                <a:miter/>
              </a:ln>
            </p:spPr>
            <p:txBody>
              <a:bodyPr rtlCol="0" anchor="ctr"/>
              <a:lstStyle/>
              <a:p>
                <a:endParaRPr lang="en-GB"/>
              </a:p>
            </p:txBody>
          </p:sp>
        </p:grpSp>
        <p:grpSp>
          <p:nvGrpSpPr>
            <p:cNvPr id="290" name="Graphic 3">
              <a:extLst>
                <a:ext uri="{FF2B5EF4-FFF2-40B4-BE49-F238E27FC236}">
                  <a16:creationId xmlns:a16="http://schemas.microsoft.com/office/drawing/2014/main" id="{04C17CB8-B16C-4C0D-91D5-80BC565246DC}"/>
                </a:ext>
              </a:extLst>
            </p:cNvPr>
            <p:cNvGrpSpPr/>
            <p:nvPr/>
          </p:nvGrpSpPr>
          <p:grpSpPr>
            <a:xfrm>
              <a:off x="7678510" y="3796052"/>
              <a:ext cx="228182" cy="102090"/>
              <a:chOff x="7678510" y="3796052"/>
              <a:chExt cx="228182" cy="102090"/>
            </a:xfrm>
            <a:grpFill/>
          </p:grpSpPr>
          <p:sp>
            <p:nvSpPr>
              <p:cNvPr id="4509" name="Vrije vorm: vorm 4508">
                <a:extLst>
                  <a:ext uri="{FF2B5EF4-FFF2-40B4-BE49-F238E27FC236}">
                    <a16:creationId xmlns:a16="http://schemas.microsoft.com/office/drawing/2014/main" id="{F9B22C1A-9FC0-4602-8C69-BAF4714513E2}"/>
                  </a:ext>
                </a:extLst>
              </p:cNvPr>
              <p:cNvSpPr/>
              <p:nvPr/>
            </p:nvSpPr>
            <p:spPr>
              <a:xfrm>
                <a:off x="7686683" y="3803659"/>
                <a:ext cx="211776" cy="86899"/>
              </a:xfrm>
              <a:custGeom>
                <a:avLst/>
                <a:gdLst>
                  <a:gd name="connsiteX0" fmla="*/ 211777 w 211776"/>
                  <a:gd name="connsiteY0" fmla="*/ 84029 h 86899"/>
                  <a:gd name="connsiteX1" fmla="*/ 210641 w 211776"/>
                  <a:gd name="connsiteY1" fmla="*/ 86900 h 86899"/>
                  <a:gd name="connsiteX2" fmla="*/ 0 w 211776"/>
                  <a:gd name="connsiteY2" fmla="*/ 2871 h 86899"/>
                  <a:gd name="connsiteX3" fmla="*/ 1136 w 211776"/>
                  <a:gd name="connsiteY3" fmla="*/ 0 h 86899"/>
                </a:gdLst>
                <a:ahLst/>
                <a:cxnLst>
                  <a:cxn ang="0">
                    <a:pos x="connsiteX0" y="connsiteY0"/>
                  </a:cxn>
                  <a:cxn ang="0">
                    <a:pos x="connsiteX1" y="connsiteY1"/>
                  </a:cxn>
                  <a:cxn ang="0">
                    <a:pos x="connsiteX2" y="connsiteY2"/>
                  </a:cxn>
                  <a:cxn ang="0">
                    <a:pos x="connsiteX3" y="connsiteY3"/>
                  </a:cxn>
                </a:cxnLst>
                <a:rect l="l" t="t" r="r" b="b"/>
                <a:pathLst>
                  <a:path w="211776" h="86899">
                    <a:moveTo>
                      <a:pt x="211777" y="84029"/>
                    </a:moveTo>
                    <a:lnTo>
                      <a:pt x="210641" y="86900"/>
                    </a:lnTo>
                    <a:lnTo>
                      <a:pt x="0" y="2871"/>
                    </a:lnTo>
                    <a:lnTo>
                      <a:pt x="1136" y="0"/>
                    </a:lnTo>
                    <a:close/>
                  </a:path>
                </a:pathLst>
              </a:custGeom>
              <a:grpFill/>
              <a:ln w="5978" cap="flat">
                <a:noFill/>
                <a:prstDash val="solid"/>
                <a:miter/>
              </a:ln>
            </p:spPr>
            <p:txBody>
              <a:bodyPr rtlCol="0" anchor="ctr"/>
              <a:lstStyle/>
              <a:p>
                <a:endParaRPr lang="en-GB"/>
              </a:p>
            </p:txBody>
          </p:sp>
          <p:sp>
            <p:nvSpPr>
              <p:cNvPr id="4510" name="Vrije vorm: vorm 4509">
                <a:extLst>
                  <a:ext uri="{FF2B5EF4-FFF2-40B4-BE49-F238E27FC236}">
                    <a16:creationId xmlns:a16="http://schemas.microsoft.com/office/drawing/2014/main" id="{99E8B1E7-1ABC-4255-8CCD-0EB13E989A0A}"/>
                  </a:ext>
                </a:extLst>
              </p:cNvPr>
              <p:cNvSpPr/>
              <p:nvPr/>
            </p:nvSpPr>
            <p:spPr>
              <a:xfrm>
                <a:off x="7678510" y="3796052"/>
                <a:ext cx="18378" cy="18419"/>
              </a:xfrm>
              <a:custGeom>
                <a:avLst/>
                <a:gdLst>
                  <a:gd name="connsiteX0" fmla="*/ 5840 w 18378"/>
                  <a:gd name="connsiteY0" fmla="*/ 17775 h 18419"/>
                  <a:gd name="connsiteX1" fmla="*/ 637 w 18378"/>
                  <a:gd name="connsiteY1" fmla="*/ 5813 h 18419"/>
                  <a:gd name="connsiteX2" fmla="*/ 12539 w 18378"/>
                  <a:gd name="connsiteY2" fmla="*/ 670 h 18419"/>
                  <a:gd name="connsiteX3" fmla="*/ 17742 w 18378"/>
                  <a:gd name="connsiteY3" fmla="*/ 12631 h 18419"/>
                  <a:gd name="connsiteX4" fmla="*/ 5840 w 18378"/>
                  <a:gd name="connsiteY4" fmla="*/ 17775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19">
                    <a:moveTo>
                      <a:pt x="5840" y="17775"/>
                    </a:moveTo>
                    <a:cubicBezTo>
                      <a:pt x="1115" y="15921"/>
                      <a:pt x="-1217" y="10538"/>
                      <a:pt x="637" y="5813"/>
                    </a:cubicBezTo>
                    <a:cubicBezTo>
                      <a:pt x="2491" y="1089"/>
                      <a:pt x="7814" y="-1244"/>
                      <a:pt x="12539" y="670"/>
                    </a:cubicBezTo>
                    <a:cubicBezTo>
                      <a:pt x="17264" y="2524"/>
                      <a:pt x="19595" y="7907"/>
                      <a:pt x="17742" y="12631"/>
                    </a:cubicBezTo>
                    <a:cubicBezTo>
                      <a:pt x="15828" y="17356"/>
                      <a:pt x="10505" y="19629"/>
                      <a:pt x="5840" y="17775"/>
                    </a:cubicBezTo>
                    <a:close/>
                  </a:path>
                </a:pathLst>
              </a:custGeom>
              <a:grpFill/>
              <a:ln w="5978" cap="flat">
                <a:noFill/>
                <a:prstDash val="solid"/>
                <a:miter/>
              </a:ln>
            </p:spPr>
            <p:txBody>
              <a:bodyPr rtlCol="0" anchor="ctr"/>
              <a:lstStyle/>
              <a:p>
                <a:endParaRPr lang="en-GB"/>
              </a:p>
            </p:txBody>
          </p:sp>
          <p:sp>
            <p:nvSpPr>
              <p:cNvPr id="4511" name="Vrije vorm: vorm 4510">
                <a:extLst>
                  <a:ext uri="{FF2B5EF4-FFF2-40B4-BE49-F238E27FC236}">
                    <a16:creationId xmlns:a16="http://schemas.microsoft.com/office/drawing/2014/main" id="{9EC93E2C-DE5A-4579-900D-1F3139CC931C}"/>
                  </a:ext>
                </a:extLst>
              </p:cNvPr>
              <p:cNvSpPr/>
              <p:nvPr/>
            </p:nvSpPr>
            <p:spPr>
              <a:xfrm>
                <a:off x="7888314" y="3879747"/>
                <a:ext cx="18378" cy="18395"/>
              </a:xfrm>
              <a:custGeom>
                <a:avLst/>
                <a:gdLst>
                  <a:gd name="connsiteX0" fmla="*/ 5840 w 18378"/>
                  <a:gd name="connsiteY0" fmla="*/ 17750 h 18395"/>
                  <a:gd name="connsiteX1" fmla="*/ 17741 w 18378"/>
                  <a:gd name="connsiteY1" fmla="*/ 12607 h 18395"/>
                  <a:gd name="connsiteX2" fmla="*/ 12538 w 18378"/>
                  <a:gd name="connsiteY2" fmla="*/ 645 h 18395"/>
                  <a:gd name="connsiteX3" fmla="*/ 637 w 18378"/>
                  <a:gd name="connsiteY3" fmla="*/ 5789 h 18395"/>
                  <a:gd name="connsiteX4" fmla="*/ 5840 w 18378"/>
                  <a:gd name="connsiteY4" fmla="*/ 17750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395">
                    <a:moveTo>
                      <a:pt x="5840" y="17750"/>
                    </a:moveTo>
                    <a:cubicBezTo>
                      <a:pt x="10565" y="19604"/>
                      <a:pt x="15888" y="17332"/>
                      <a:pt x="17741" y="12607"/>
                    </a:cubicBezTo>
                    <a:cubicBezTo>
                      <a:pt x="19596" y="7882"/>
                      <a:pt x="17263" y="2499"/>
                      <a:pt x="12538" y="645"/>
                    </a:cubicBezTo>
                    <a:cubicBezTo>
                      <a:pt x="7814" y="-1209"/>
                      <a:pt x="2491" y="1064"/>
                      <a:pt x="637" y="5789"/>
                    </a:cubicBezTo>
                    <a:cubicBezTo>
                      <a:pt x="-1217" y="10513"/>
                      <a:pt x="1115" y="15896"/>
                      <a:pt x="5840" y="17750"/>
                    </a:cubicBezTo>
                    <a:close/>
                  </a:path>
                </a:pathLst>
              </a:custGeom>
              <a:grpFill/>
              <a:ln w="5978" cap="flat">
                <a:noFill/>
                <a:prstDash val="solid"/>
                <a:miter/>
              </a:ln>
            </p:spPr>
            <p:txBody>
              <a:bodyPr rtlCol="0" anchor="ctr"/>
              <a:lstStyle/>
              <a:p>
                <a:endParaRPr lang="en-GB"/>
              </a:p>
            </p:txBody>
          </p:sp>
        </p:grpSp>
        <p:grpSp>
          <p:nvGrpSpPr>
            <p:cNvPr id="291" name="Graphic 3">
              <a:extLst>
                <a:ext uri="{FF2B5EF4-FFF2-40B4-BE49-F238E27FC236}">
                  <a16:creationId xmlns:a16="http://schemas.microsoft.com/office/drawing/2014/main" id="{7F64D4AE-F721-4849-8762-F4E799A6ADF5}"/>
                </a:ext>
              </a:extLst>
            </p:cNvPr>
            <p:cNvGrpSpPr/>
            <p:nvPr/>
          </p:nvGrpSpPr>
          <p:grpSpPr>
            <a:xfrm>
              <a:off x="7168172" y="2091848"/>
              <a:ext cx="85667" cy="92898"/>
              <a:chOff x="7168172" y="2091848"/>
              <a:chExt cx="85667" cy="92898"/>
            </a:xfrm>
            <a:grpFill/>
          </p:grpSpPr>
          <p:sp>
            <p:nvSpPr>
              <p:cNvPr id="4506" name="Vrije vorm: vorm 4505">
                <a:extLst>
                  <a:ext uri="{FF2B5EF4-FFF2-40B4-BE49-F238E27FC236}">
                    <a16:creationId xmlns:a16="http://schemas.microsoft.com/office/drawing/2014/main" id="{4015260C-5D08-4810-B747-4B975390C4D4}"/>
                  </a:ext>
                </a:extLst>
              </p:cNvPr>
              <p:cNvSpPr/>
              <p:nvPr/>
            </p:nvSpPr>
            <p:spPr>
              <a:xfrm>
                <a:off x="7175929" y="2099692"/>
                <a:ext cx="70153" cy="77211"/>
              </a:xfrm>
              <a:custGeom>
                <a:avLst/>
                <a:gdLst>
                  <a:gd name="connsiteX0" fmla="*/ 70154 w 70153"/>
                  <a:gd name="connsiteY0" fmla="*/ 2093 h 77211"/>
                  <a:gd name="connsiteX1" fmla="*/ 2273 w 70153"/>
                  <a:gd name="connsiteY1" fmla="*/ 77211 h 77211"/>
                  <a:gd name="connsiteX2" fmla="*/ 0 w 70153"/>
                  <a:gd name="connsiteY2" fmla="*/ 75118 h 77211"/>
                  <a:gd name="connsiteX3" fmla="*/ 67881 w 70153"/>
                  <a:gd name="connsiteY3" fmla="*/ 0 h 77211"/>
                </a:gdLst>
                <a:ahLst/>
                <a:cxnLst>
                  <a:cxn ang="0">
                    <a:pos x="connsiteX0" y="connsiteY0"/>
                  </a:cxn>
                  <a:cxn ang="0">
                    <a:pos x="connsiteX1" y="connsiteY1"/>
                  </a:cxn>
                  <a:cxn ang="0">
                    <a:pos x="connsiteX2" y="connsiteY2"/>
                  </a:cxn>
                  <a:cxn ang="0">
                    <a:pos x="connsiteX3" y="connsiteY3"/>
                  </a:cxn>
                </a:cxnLst>
                <a:rect l="l" t="t" r="r" b="b"/>
                <a:pathLst>
                  <a:path w="70153" h="77211">
                    <a:moveTo>
                      <a:pt x="70154" y="2093"/>
                    </a:moveTo>
                    <a:lnTo>
                      <a:pt x="2273" y="77211"/>
                    </a:lnTo>
                    <a:lnTo>
                      <a:pt x="0" y="75118"/>
                    </a:lnTo>
                    <a:lnTo>
                      <a:pt x="67881" y="0"/>
                    </a:lnTo>
                    <a:close/>
                  </a:path>
                </a:pathLst>
              </a:custGeom>
              <a:grpFill/>
              <a:ln w="5978" cap="flat">
                <a:noFill/>
                <a:prstDash val="solid"/>
                <a:miter/>
              </a:ln>
            </p:spPr>
            <p:txBody>
              <a:bodyPr rtlCol="0" anchor="ctr"/>
              <a:lstStyle/>
              <a:p>
                <a:endParaRPr lang="en-GB"/>
              </a:p>
            </p:txBody>
          </p:sp>
          <p:sp>
            <p:nvSpPr>
              <p:cNvPr id="4507" name="Vrije vorm: vorm 4506">
                <a:extLst>
                  <a:ext uri="{FF2B5EF4-FFF2-40B4-BE49-F238E27FC236}">
                    <a16:creationId xmlns:a16="http://schemas.microsoft.com/office/drawing/2014/main" id="{C74E8E7B-A43D-4E13-BA53-81BF50A0C0FB}"/>
                  </a:ext>
                </a:extLst>
              </p:cNvPr>
              <p:cNvSpPr/>
              <p:nvPr/>
            </p:nvSpPr>
            <p:spPr>
              <a:xfrm>
                <a:off x="7235515" y="2091848"/>
                <a:ext cx="18324" cy="18438"/>
              </a:xfrm>
              <a:custGeom>
                <a:avLst/>
                <a:gdLst>
                  <a:gd name="connsiteX0" fmla="*/ 2374 w 18324"/>
                  <a:gd name="connsiteY0" fmla="*/ 2999 h 18438"/>
                  <a:gd name="connsiteX1" fmla="*/ 15293 w 18324"/>
                  <a:gd name="connsiteY1" fmla="*/ 2401 h 18438"/>
                  <a:gd name="connsiteX2" fmla="*/ 15951 w 18324"/>
                  <a:gd name="connsiteY2" fmla="*/ 15439 h 18438"/>
                  <a:gd name="connsiteX3" fmla="*/ 3032 w 18324"/>
                  <a:gd name="connsiteY3" fmla="*/ 16038 h 18438"/>
                  <a:gd name="connsiteX4" fmla="*/ 2374 w 18324"/>
                  <a:gd name="connsiteY4" fmla="*/ 299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8">
                    <a:moveTo>
                      <a:pt x="2374" y="2999"/>
                    </a:moveTo>
                    <a:cubicBezTo>
                      <a:pt x="5783" y="-768"/>
                      <a:pt x="11585" y="-1008"/>
                      <a:pt x="15293" y="2401"/>
                    </a:cubicBezTo>
                    <a:cubicBezTo>
                      <a:pt x="19061" y="5810"/>
                      <a:pt x="19359" y="11672"/>
                      <a:pt x="15951" y="15439"/>
                    </a:cubicBezTo>
                    <a:cubicBezTo>
                      <a:pt x="12541" y="19207"/>
                      <a:pt x="6740" y="19446"/>
                      <a:pt x="3032" y="16038"/>
                    </a:cubicBezTo>
                    <a:cubicBezTo>
                      <a:pt x="-736" y="12569"/>
                      <a:pt x="-1034" y="6767"/>
                      <a:pt x="2374" y="2999"/>
                    </a:cubicBezTo>
                    <a:close/>
                  </a:path>
                </a:pathLst>
              </a:custGeom>
              <a:grpFill/>
              <a:ln w="5978" cap="flat">
                <a:noFill/>
                <a:prstDash val="solid"/>
                <a:miter/>
              </a:ln>
            </p:spPr>
            <p:txBody>
              <a:bodyPr rtlCol="0" anchor="ctr"/>
              <a:lstStyle/>
              <a:p>
                <a:endParaRPr lang="en-GB"/>
              </a:p>
            </p:txBody>
          </p:sp>
          <p:sp>
            <p:nvSpPr>
              <p:cNvPr id="4508" name="Vrije vorm: vorm 4507">
                <a:extLst>
                  <a:ext uri="{FF2B5EF4-FFF2-40B4-BE49-F238E27FC236}">
                    <a16:creationId xmlns:a16="http://schemas.microsoft.com/office/drawing/2014/main" id="{E40E6664-92A9-40B6-B2BA-DAEEA47AA3EF}"/>
                  </a:ext>
                </a:extLst>
              </p:cNvPr>
              <p:cNvSpPr/>
              <p:nvPr/>
            </p:nvSpPr>
            <p:spPr>
              <a:xfrm>
                <a:off x="7168172" y="2166284"/>
                <a:ext cx="18324" cy="18462"/>
              </a:xfrm>
              <a:custGeom>
                <a:avLst/>
                <a:gdLst>
                  <a:gd name="connsiteX0" fmla="*/ 2374 w 18324"/>
                  <a:gd name="connsiteY0" fmla="*/ 3023 h 18462"/>
                  <a:gd name="connsiteX1" fmla="*/ 3032 w 18324"/>
                  <a:gd name="connsiteY1" fmla="*/ 16061 h 18462"/>
                  <a:gd name="connsiteX2" fmla="*/ 15951 w 18324"/>
                  <a:gd name="connsiteY2" fmla="*/ 15463 h 18462"/>
                  <a:gd name="connsiteX3" fmla="*/ 15293 w 18324"/>
                  <a:gd name="connsiteY3" fmla="*/ 2425 h 18462"/>
                  <a:gd name="connsiteX4" fmla="*/ 2374 w 18324"/>
                  <a:gd name="connsiteY4" fmla="*/ 3023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2">
                    <a:moveTo>
                      <a:pt x="2374" y="3023"/>
                    </a:moveTo>
                    <a:cubicBezTo>
                      <a:pt x="-1034" y="6791"/>
                      <a:pt x="-736" y="12592"/>
                      <a:pt x="3032" y="16061"/>
                    </a:cubicBezTo>
                    <a:cubicBezTo>
                      <a:pt x="6800" y="19470"/>
                      <a:pt x="12601" y="19231"/>
                      <a:pt x="15951" y="15463"/>
                    </a:cubicBezTo>
                    <a:cubicBezTo>
                      <a:pt x="19359" y="11695"/>
                      <a:pt x="19061" y="5894"/>
                      <a:pt x="15293" y="2425"/>
                    </a:cubicBezTo>
                    <a:cubicBezTo>
                      <a:pt x="11585" y="-1044"/>
                      <a:pt x="5784" y="-745"/>
                      <a:pt x="2374" y="3023"/>
                    </a:cubicBezTo>
                    <a:close/>
                  </a:path>
                </a:pathLst>
              </a:custGeom>
              <a:grpFill/>
              <a:ln w="5978" cap="flat">
                <a:noFill/>
                <a:prstDash val="solid"/>
                <a:miter/>
              </a:ln>
            </p:spPr>
            <p:txBody>
              <a:bodyPr rtlCol="0" anchor="ctr"/>
              <a:lstStyle/>
              <a:p>
                <a:endParaRPr lang="en-GB"/>
              </a:p>
            </p:txBody>
          </p:sp>
        </p:grpSp>
        <p:grpSp>
          <p:nvGrpSpPr>
            <p:cNvPr id="292" name="Graphic 3">
              <a:extLst>
                <a:ext uri="{FF2B5EF4-FFF2-40B4-BE49-F238E27FC236}">
                  <a16:creationId xmlns:a16="http://schemas.microsoft.com/office/drawing/2014/main" id="{959868CC-A1FC-4A85-B347-1920C4BD05AF}"/>
                </a:ext>
              </a:extLst>
            </p:cNvPr>
            <p:cNvGrpSpPr/>
            <p:nvPr/>
          </p:nvGrpSpPr>
          <p:grpSpPr>
            <a:xfrm>
              <a:off x="7630749" y="3944611"/>
              <a:ext cx="455759" cy="207293"/>
              <a:chOff x="7630749" y="3944611"/>
              <a:chExt cx="455759" cy="207293"/>
            </a:xfrm>
            <a:grpFill/>
          </p:grpSpPr>
          <p:sp>
            <p:nvSpPr>
              <p:cNvPr id="4503" name="Vrije vorm: vorm 4502">
                <a:extLst>
                  <a:ext uri="{FF2B5EF4-FFF2-40B4-BE49-F238E27FC236}">
                    <a16:creationId xmlns:a16="http://schemas.microsoft.com/office/drawing/2014/main" id="{C572EE0E-C121-416B-BE4B-2ECCC2025020}"/>
                  </a:ext>
                </a:extLst>
              </p:cNvPr>
              <p:cNvSpPr/>
              <p:nvPr/>
            </p:nvSpPr>
            <p:spPr>
              <a:xfrm>
                <a:off x="7638897" y="3952160"/>
                <a:ext cx="439463" cy="192100"/>
              </a:xfrm>
              <a:custGeom>
                <a:avLst/>
                <a:gdLst>
                  <a:gd name="connsiteX0" fmla="*/ 439463 w 439463"/>
                  <a:gd name="connsiteY0" fmla="*/ 189290 h 192100"/>
                  <a:gd name="connsiteX1" fmla="*/ 438267 w 439463"/>
                  <a:gd name="connsiteY1" fmla="*/ 192101 h 192100"/>
                  <a:gd name="connsiteX2" fmla="*/ 0 w 439463"/>
                  <a:gd name="connsiteY2" fmla="*/ 2871 h 192100"/>
                  <a:gd name="connsiteX3" fmla="*/ 1196 w 439463"/>
                  <a:gd name="connsiteY3" fmla="*/ 0 h 192100"/>
                </a:gdLst>
                <a:ahLst/>
                <a:cxnLst>
                  <a:cxn ang="0">
                    <a:pos x="connsiteX0" y="connsiteY0"/>
                  </a:cxn>
                  <a:cxn ang="0">
                    <a:pos x="connsiteX1" y="connsiteY1"/>
                  </a:cxn>
                  <a:cxn ang="0">
                    <a:pos x="connsiteX2" y="connsiteY2"/>
                  </a:cxn>
                  <a:cxn ang="0">
                    <a:pos x="connsiteX3" y="connsiteY3"/>
                  </a:cxn>
                </a:cxnLst>
                <a:rect l="l" t="t" r="r" b="b"/>
                <a:pathLst>
                  <a:path w="439463" h="192100">
                    <a:moveTo>
                      <a:pt x="439463" y="189290"/>
                    </a:moveTo>
                    <a:lnTo>
                      <a:pt x="438267" y="192101"/>
                    </a:lnTo>
                    <a:lnTo>
                      <a:pt x="0" y="2871"/>
                    </a:lnTo>
                    <a:lnTo>
                      <a:pt x="1196" y="0"/>
                    </a:lnTo>
                    <a:close/>
                  </a:path>
                </a:pathLst>
              </a:custGeom>
              <a:grpFill/>
              <a:ln w="5978" cap="flat">
                <a:noFill/>
                <a:prstDash val="solid"/>
                <a:miter/>
              </a:ln>
            </p:spPr>
            <p:txBody>
              <a:bodyPr rtlCol="0" anchor="ctr"/>
              <a:lstStyle/>
              <a:p>
                <a:endParaRPr lang="en-GB"/>
              </a:p>
            </p:txBody>
          </p:sp>
          <p:sp>
            <p:nvSpPr>
              <p:cNvPr id="4504" name="Vrije vorm: vorm 4503">
                <a:extLst>
                  <a:ext uri="{FF2B5EF4-FFF2-40B4-BE49-F238E27FC236}">
                    <a16:creationId xmlns:a16="http://schemas.microsoft.com/office/drawing/2014/main" id="{5A06556A-E255-490A-A142-22D525555F36}"/>
                  </a:ext>
                </a:extLst>
              </p:cNvPr>
              <p:cNvSpPr/>
              <p:nvPr/>
            </p:nvSpPr>
            <p:spPr>
              <a:xfrm>
                <a:off x="7630749" y="3944611"/>
                <a:ext cx="18328" cy="18388"/>
              </a:xfrm>
              <a:custGeom>
                <a:avLst/>
                <a:gdLst>
                  <a:gd name="connsiteX0" fmla="*/ 5576 w 18328"/>
                  <a:gd name="connsiteY0" fmla="*/ 17657 h 18388"/>
                  <a:gd name="connsiteX1" fmla="*/ 732 w 18328"/>
                  <a:gd name="connsiteY1" fmla="*/ 5576 h 18388"/>
                  <a:gd name="connsiteX2" fmla="*/ 12753 w 18328"/>
                  <a:gd name="connsiteY2" fmla="*/ 732 h 18388"/>
                  <a:gd name="connsiteX3" fmla="*/ 17597 w 18328"/>
                  <a:gd name="connsiteY3" fmla="*/ 12813 h 18388"/>
                  <a:gd name="connsiteX4" fmla="*/ 5576 w 18328"/>
                  <a:gd name="connsiteY4" fmla="*/ 17657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88">
                    <a:moveTo>
                      <a:pt x="5576" y="17657"/>
                    </a:moveTo>
                    <a:cubicBezTo>
                      <a:pt x="911" y="15624"/>
                      <a:pt x="-1242" y="10241"/>
                      <a:pt x="732" y="5576"/>
                    </a:cubicBezTo>
                    <a:cubicBezTo>
                      <a:pt x="2705" y="911"/>
                      <a:pt x="8088" y="-1242"/>
                      <a:pt x="12753" y="732"/>
                    </a:cubicBezTo>
                    <a:cubicBezTo>
                      <a:pt x="17418" y="2765"/>
                      <a:pt x="19571" y="8148"/>
                      <a:pt x="17597" y="12813"/>
                    </a:cubicBezTo>
                    <a:cubicBezTo>
                      <a:pt x="15624" y="17478"/>
                      <a:pt x="10181" y="19631"/>
                      <a:pt x="5576" y="17657"/>
                    </a:cubicBezTo>
                    <a:close/>
                  </a:path>
                </a:pathLst>
              </a:custGeom>
              <a:grpFill/>
              <a:ln w="5978" cap="flat">
                <a:noFill/>
                <a:prstDash val="solid"/>
                <a:miter/>
              </a:ln>
            </p:spPr>
            <p:txBody>
              <a:bodyPr rtlCol="0" anchor="ctr"/>
              <a:lstStyle/>
              <a:p>
                <a:endParaRPr lang="en-GB"/>
              </a:p>
            </p:txBody>
          </p:sp>
          <p:sp>
            <p:nvSpPr>
              <p:cNvPr id="4505" name="Vrije vorm: vorm 4504">
                <a:extLst>
                  <a:ext uri="{FF2B5EF4-FFF2-40B4-BE49-F238E27FC236}">
                    <a16:creationId xmlns:a16="http://schemas.microsoft.com/office/drawing/2014/main" id="{A9DFE67A-C2C1-4764-A45E-5B841DE5B057}"/>
                  </a:ext>
                </a:extLst>
              </p:cNvPr>
              <p:cNvSpPr/>
              <p:nvPr/>
            </p:nvSpPr>
            <p:spPr>
              <a:xfrm>
                <a:off x="8068179" y="4133448"/>
                <a:ext cx="18329" cy="18456"/>
              </a:xfrm>
              <a:custGeom>
                <a:avLst/>
                <a:gdLst>
                  <a:gd name="connsiteX0" fmla="*/ 5576 w 18329"/>
                  <a:gd name="connsiteY0" fmla="*/ 17691 h 18456"/>
                  <a:gd name="connsiteX1" fmla="*/ 17598 w 18329"/>
                  <a:gd name="connsiteY1" fmla="*/ 12847 h 18456"/>
                  <a:gd name="connsiteX2" fmla="*/ 12753 w 18329"/>
                  <a:gd name="connsiteY2" fmla="*/ 766 h 18456"/>
                  <a:gd name="connsiteX3" fmla="*/ 732 w 18329"/>
                  <a:gd name="connsiteY3" fmla="*/ 5610 h 18456"/>
                  <a:gd name="connsiteX4" fmla="*/ 5576 w 18329"/>
                  <a:gd name="connsiteY4" fmla="*/ 17691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6">
                    <a:moveTo>
                      <a:pt x="5576" y="17691"/>
                    </a:moveTo>
                    <a:cubicBezTo>
                      <a:pt x="10241" y="19725"/>
                      <a:pt x="15624" y="17571"/>
                      <a:pt x="17598" y="12847"/>
                    </a:cubicBezTo>
                    <a:cubicBezTo>
                      <a:pt x="19571" y="8182"/>
                      <a:pt x="17418" y="2739"/>
                      <a:pt x="12753" y="766"/>
                    </a:cubicBezTo>
                    <a:cubicBezTo>
                      <a:pt x="8088" y="-1268"/>
                      <a:pt x="2706" y="885"/>
                      <a:pt x="732" y="5610"/>
                    </a:cubicBezTo>
                    <a:cubicBezTo>
                      <a:pt x="-1242" y="10335"/>
                      <a:pt x="911" y="15658"/>
                      <a:pt x="5576" y="17691"/>
                    </a:cubicBezTo>
                    <a:close/>
                  </a:path>
                </a:pathLst>
              </a:custGeom>
              <a:grpFill/>
              <a:ln w="5978" cap="flat">
                <a:noFill/>
                <a:prstDash val="solid"/>
                <a:miter/>
              </a:ln>
            </p:spPr>
            <p:txBody>
              <a:bodyPr rtlCol="0" anchor="ctr"/>
              <a:lstStyle/>
              <a:p>
                <a:endParaRPr lang="en-GB"/>
              </a:p>
            </p:txBody>
          </p:sp>
        </p:grpSp>
        <p:grpSp>
          <p:nvGrpSpPr>
            <p:cNvPr id="293" name="Graphic 3">
              <a:extLst>
                <a:ext uri="{FF2B5EF4-FFF2-40B4-BE49-F238E27FC236}">
                  <a16:creationId xmlns:a16="http://schemas.microsoft.com/office/drawing/2014/main" id="{A21C9DED-4A6C-4FFE-9969-24935EDE33C7}"/>
                </a:ext>
              </a:extLst>
            </p:cNvPr>
            <p:cNvGrpSpPr/>
            <p:nvPr/>
          </p:nvGrpSpPr>
          <p:grpSpPr>
            <a:xfrm>
              <a:off x="7006792" y="1757363"/>
              <a:ext cx="241805" cy="278507"/>
              <a:chOff x="7006792" y="1757363"/>
              <a:chExt cx="241805" cy="278507"/>
            </a:xfrm>
            <a:grpFill/>
          </p:grpSpPr>
          <p:sp>
            <p:nvSpPr>
              <p:cNvPr id="4500" name="Vrije vorm: vorm 4499">
                <a:extLst>
                  <a:ext uri="{FF2B5EF4-FFF2-40B4-BE49-F238E27FC236}">
                    <a16:creationId xmlns:a16="http://schemas.microsoft.com/office/drawing/2014/main" id="{0035A22A-95F3-4542-97A3-79AEA728064F}"/>
                  </a:ext>
                </a:extLst>
              </p:cNvPr>
              <p:cNvSpPr/>
              <p:nvPr/>
            </p:nvSpPr>
            <p:spPr>
              <a:xfrm>
                <a:off x="7014509" y="1765190"/>
                <a:ext cx="226370" cy="262792"/>
              </a:xfrm>
              <a:custGeom>
                <a:avLst/>
                <a:gdLst>
                  <a:gd name="connsiteX0" fmla="*/ 226370 w 226370"/>
                  <a:gd name="connsiteY0" fmla="*/ 1974 h 262792"/>
                  <a:gd name="connsiteX1" fmla="*/ 2273 w 226370"/>
                  <a:gd name="connsiteY1" fmla="*/ 262793 h 262792"/>
                  <a:gd name="connsiteX2" fmla="*/ 0 w 226370"/>
                  <a:gd name="connsiteY2" fmla="*/ 260819 h 262792"/>
                  <a:gd name="connsiteX3" fmla="*/ 224038 w 226370"/>
                  <a:gd name="connsiteY3" fmla="*/ 0 h 262792"/>
                </a:gdLst>
                <a:ahLst/>
                <a:cxnLst>
                  <a:cxn ang="0">
                    <a:pos x="connsiteX0" y="connsiteY0"/>
                  </a:cxn>
                  <a:cxn ang="0">
                    <a:pos x="connsiteX1" y="connsiteY1"/>
                  </a:cxn>
                  <a:cxn ang="0">
                    <a:pos x="connsiteX2" y="connsiteY2"/>
                  </a:cxn>
                  <a:cxn ang="0">
                    <a:pos x="connsiteX3" y="connsiteY3"/>
                  </a:cxn>
                </a:cxnLst>
                <a:rect l="l" t="t" r="r" b="b"/>
                <a:pathLst>
                  <a:path w="226370" h="262792">
                    <a:moveTo>
                      <a:pt x="226370" y="1974"/>
                    </a:moveTo>
                    <a:lnTo>
                      <a:pt x="2273" y="262793"/>
                    </a:lnTo>
                    <a:lnTo>
                      <a:pt x="0" y="260819"/>
                    </a:lnTo>
                    <a:lnTo>
                      <a:pt x="224038" y="0"/>
                    </a:lnTo>
                    <a:close/>
                  </a:path>
                </a:pathLst>
              </a:custGeom>
              <a:grpFill/>
              <a:ln w="5978" cap="flat">
                <a:noFill/>
                <a:prstDash val="solid"/>
                <a:miter/>
              </a:ln>
            </p:spPr>
            <p:txBody>
              <a:bodyPr rtlCol="0" anchor="ctr"/>
              <a:lstStyle/>
              <a:p>
                <a:endParaRPr lang="en-GB"/>
              </a:p>
            </p:txBody>
          </p:sp>
          <p:sp>
            <p:nvSpPr>
              <p:cNvPr id="4501" name="Vrije vorm: vorm 4500">
                <a:extLst>
                  <a:ext uri="{FF2B5EF4-FFF2-40B4-BE49-F238E27FC236}">
                    <a16:creationId xmlns:a16="http://schemas.microsoft.com/office/drawing/2014/main" id="{79108465-C9ED-4B90-92E6-9ABFFFAEB741}"/>
                  </a:ext>
                </a:extLst>
              </p:cNvPr>
              <p:cNvSpPr/>
              <p:nvPr/>
            </p:nvSpPr>
            <p:spPr>
              <a:xfrm>
                <a:off x="7006792" y="2017464"/>
                <a:ext cx="18305" cy="18405"/>
              </a:xfrm>
              <a:custGeom>
                <a:avLst/>
                <a:gdLst>
                  <a:gd name="connsiteX0" fmla="*/ 16091 w 18305"/>
                  <a:gd name="connsiteY0" fmla="*/ 15243 h 18405"/>
                  <a:gd name="connsiteX1" fmla="*/ 3172 w 18305"/>
                  <a:gd name="connsiteY1" fmla="*/ 16141 h 18405"/>
                  <a:gd name="connsiteX2" fmla="*/ 2215 w 18305"/>
                  <a:gd name="connsiteY2" fmla="*/ 3162 h 18405"/>
                  <a:gd name="connsiteX3" fmla="*/ 15134 w 18305"/>
                  <a:gd name="connsiteY3" fmla="*/ 2265 h 18405"/>
                  <a:gd name="connsiteX4" fmla="*/ 16091 w 18305"/>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6091" y="15243"/>
                    </a:moveTo>
                    <a:cubicBezTo>
                      <a:pt x="12801" y="19071"/>
                      <a:pt x="7000" y="19490"/>
                      <a:pt x="3172" y="16141"/>
                    </a:cubicBezTo>
                    <a:cubicBezTo>
                      <a:pt x="-656" y="12791"/>
                      <a:pt x="-1074" y="6990"/>
                      <a:pt x="2215" y="3162"/>
                    </a:cubicBezTo>
                    <a:cubicBezTo>
                      <a:pt x="5505" y="-665"/>
                      <a:pt x="11306" y="-1084"/>
                      <a:pt x="15134" y="2265"/>
                    </a:cubicBezTo>
                    <a:cubicBezTo>
                      <a:pt x="18961" y="5555"/>
                      <a:pt x="19380" y="11356"/>
                      <a:pt x="16091" y="15243"/>
                    </a:cubicBezTo>
                    <a:close/>
                  </a:path>
                </a:pathLst>
              </a:custGeom>
              <a:grpFill/>
              <a:ln w="5978" cap="flat">
                <a:noFill/>
                <a:prstDash val="solid"/>
                <a:miter/>
              </a:ln>
            </p:spPr>
            <p:txBody>
              <a:bodyPr rtlCol="0" anchor="ctr"/>
              <a:lstStyle/>
              <a:p>
                <a:endParaRPr lang="en-GB"/>
              </a:p>
            </p:txBody>
          </p:sp>
          <p:sp>
            <p:nvSpPr>
              <p:cNvPr id="4502" name="Vrije vorm: vorm 4501">
                <a:extLst>
                  <a:ext uri="{FF2B5EF4-FFF2-40B4-BE49-F238E27FC236}">
                    <a16:creationId xmlns:a16="http://schemas.microsoft.com/office/drawing/2014/main" id="{B47EA4AC-8A1C-4FD3-9CC0-ECF76D9FA89B}"/>
                  </a:ext>
                </a:extLst>
              </p:cNvPr>
              <p:cNvSpPr/>
              <p:nvPr/>
            </p:nvSpPr>
            <p:spPr>
              <a:xfrm>
                <a:off x="7230291" y="1757363"/>
                <a:ext cx="18305" cy="18405"/>
              </a:xfrm>
              <a:custGeom>
                <a:avLst/>
                <a:gdLst>
                  <a:gd name="connsiteX0" fmla="*/ 16091 w 18305"/>
                  <a:gd name="connsiteY0" fmla="*/ 15244 h 18405"/>
                  <a:gd name="connsiteX1" fmla="*/ 15134 w 18305"/>
                  <a:gd name="connsiteY1" fmla="*/ 2265 h 18405"/>
                  <a:gd name="connsiteX2" fmla="*/ 2215 w 18305"/>
                  <a:gd name="connsiteY2" fmla="*/ 3162 h 18405"/>
                  <a:gd name="connsiteX3" fmla="*/ 3172 w 18305"/>
                  <a:gd name="connsiteY3" fmla="*/ 16141 h 18405"/>
                  <a:gd name="connsiteX4" fmla="*/ 16091 w 18305"/>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6091" y="15244"/>
                    </a:moveTo>
                    <a:cubicBezTo>
                      <a:pt x="19380" y="11416"/>
                      <a:pt x="18961" y="5555"/>
                      <a:pt x="15134" y="2265"/>
                    </a:cubicBezTo>
                    <a:cubicBezTo>
                      <a:pt x="11306" y="-1084"/>
                      <a:pt x="5505" y="-665"/>
                      <a:pt x="2215" y="3162"/>
                    </a:cubicBezTo>
                    <a:cubicBezTo>
                      <a:pt x="-1074" y="6990"/>
                      <a:pt x="-656" y="12851"/>
                      <a:pt x="3172" y="16141"/>
                    </a:cubicBezTo>
                    <a:cubicBezTo>
                      <a:pt x="7000" y="19490"/>
                      <a:pt x="12801" y="19071"/>
                      <a:pt x="16091" y="15244"/>
                    </a:cubicBezTo>
                    <a:close/>
                  </a:path>
                </a:pathLst>
              </a:custGeom>
              <a:grpFill/>
              <a:ln w="5978" cap="flat">
                <a:noFill/>
                <a:prstDash val="solid"/>
                <a:miter/>
              </a:ln>
            </p:spPr>
            <p:txBody>
              <a:bodyPr rtlCol="0" anchor="ctr"/>
              <a:lstStyle/>
              <a:p>
                <a:endParaRPr lang="en-GB"/>
              </a:p>
            </p:txBody>
          </p:sp>
        </p:grpSp>
        <p:grpSp>
          <p:nvGrpSpPr>
            <p:cNvPr id="294" name="Graphic 3">
              <a:extLst>
                <a:ext uri="{FF2B5EF4-FFF2-40B4-BE49-F238E27FC236}">
                  <a16:creationId xmlns:a16="http://schemas.microsoft.com/office/drawing/2014/main" id="{7CF6B321-27AF-43E8-9858-406DEF190610}"/>
                </a:ext>
              </a:extLst>
            </p:cNvPr>
            <p:cNvGrpSpPr/>
            <p:nvPr/>
          </p:nvGrpSpPr>
          <p:grpSpPr>
            <a:xfrm>
              <a:off x="7685516" y="3764096"/>
              <a:ext cx="125297" cy="41686"/>
              <a:chOff x="7685516" y="3764096"/>
              <a:chExt cx="125297" cy="41686"/>
            </a:xfrm>
            <a:grpFill/>
          </p:grpSpPr>
          <p:sp>
            <p:nvSpPr>
              <p:cNvPr id="4497" name="Vrije vorm: vorm 4496">
                <a:extLst>
                  <a:ext uri="{FF2B5EF4-FFF2-40B4-BE49-F238E27FC236}">
                    <a16:creationId xmlns:a16="http://schemas.microsoft.com/office/drawing/2014/main" id="{EC84C01B-73F3-491D-9A7B-D83323D4BE7B}"/>
                  </a:ext>
                </a:extLst>
              </p:cNvPr>
              <p:cNvSpPr/>
              <p:nvPr/>
            </p:nvSpPr>
            <p:spPr>
              <a:xfrm>
                <a:off x="7693979" y="3771722"/>
                <a:ext cx="108430" cy="26434"/>
              </a:xfrm>
              <a:custGeom>
                <a:avLst/>
                <a:gdLst>
                  <a:gd name="connsiteX0" fmla="*/ 108431 w 108430"/>
                  <a:gd name="connsiteY0" fmla="*/ 23444 h 26434"/>
                  <a:gd name="connsiteX1" fmla="*/ 107773 w 108430"/>
                  <a:gd name="connsiteY1" fmla="*/ 26435 h 26434"/>
                  <a:gd name="connsiteX2" fmla="*/ 0 w 108430"/>
                  <a:gd name="connsiteY2" fmla="*/ 2990 h 26434"/>
                  <a:gd name="connsiteX3" fmla="*/ 598 w 108430"/>
                  <a:gd name="connsiteY3" fmla="*/ 0 h 26434"/>
                </a:gdLst>
                <a:ahLst/>
                <a:cxnLst>
                  <a:cxn ang="0">
                    <a:pos x="connsiteX0" y="connsiteY0"/>
                  </a:cxn>
                  <a:cxn ang="0">
                    <a:pos x="connsiteX1" y="connsiteY1"/>
                  </a:cxn>
                  <a:cxn ang="0">
                    <a:pos x="connsiteX2" y="connsiteY2"/>
                  </a:cxn>
                  <a:cxn ang="0">
                    <a:pos x="connsiteX3" y="connsiteY3"/>
                  </a:cxn>
                </a:cxnLst>
                <a:rect l="l" t="t" r="r" b="b"/>
                <a:pathLst>
                  <a:path w="108430" h="26434">
                    <a:moveTo>
                      <a:pt x="108431" y="23444"/>
                    </a:moveTo>
                    <a:lnTo>
                      <a:pt x="107773" y="26435"/>
                    </a:lnTo>
                    <a:lnTo>
                      <a:pt x="0" y="2990"/>
                    </a:lnTo>
                    <a:lnTo>
                      <a:pt x="598" y="0"/>
                    </a:lnTo>
                    <a:close/>
                  </a:path>
                </a:pathLst>
              </a:custGeom>
              <a:grpFill/>
              <a:ln w="5978" cap="flat">
                <a:noFill/>
                <a:prstDash val="solid"/>
                <a:miter/>
              </a:ln>
            </p:spPr>
            <p:txBody>
              <a:bodyPr rtlCol="0" anchor="ctr"/>
              <a:lstStyle/>
              <a:p>
                <a:endParaRPr lang="en-GB"/>
              </a:p>
            </p:txBody>
          </p:sp>
          <p:sp>
            <p:nvSpPr>
              <p:cNvPr id="4498" name="Vrije vorm: vorm 4497">
                <a:extLst>
                  <a:ext uri="{FF2B5EF4-FFF2-40B4-BE49-F238E27FC236}">
                    <a16:creationId xmlns:a16="http://schemas.microsoft.com/office/drawing/2014/main" id="{A4A24C36-ACC1-454D-9344-52331A56FB69}"/>
                  </a:ext>
                </a:extLst>
              </p:cNvPr>
              <p:cNvSpPr/>
              <p:nvPr/>
            </p:nvSpPr>
            <p:spPr>
              <a:xfrm>
                <a:off x="7792451" y="3787358"/>
                <a:ext cx="18362" cy="18424"/>
              </a:xfrm>
              <a:custGeom>
                <a:avLst/>
                <a:gdLst>
                  <a:gd name="connsiteX0" fmla="*/ 11095 w 18362"/>
                  <a:gd name="connsiteY0" fmla="*/ 213 h 18424"/>
                  <a:gd name="connsiteX1" fmla="*/ 18152 w 18362"/>
                  <a:gd name="connsiteY1" fmla="*/ 11157 h 18424"/>
                  <a:gd name="connsiteX2" fmla="*/ 7267 w 18362"/>
                  <a:gd name="connsiteY2" fmla="*/ 18215 h 18424"/>
                  <a:gd name="connsiteX3" fmla="*/ 210 w 18362"/>
                  <a:gd name="connsiteY3" fmla="*/ 7270 h 18424"/>
                  <a:gd name="connsiteX4" fmla="*/ 11095 w 18362"/>
                  <a:gd name="connsiteY4" fmla="*/ 21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11095" y="213"/>
                    </a:moveTo>
                    <a:cubicBezTo>
                      <a:pt x="16059" y="1289"/>
                      <a:pt x="19228" y="6194"/>
                      <a:pt x="18152" y="11157"/>
                    </a:cubicBezTo>
                    <a:cubicBezTo>
                      <a:pt x="17075" y="16121"/>
                      <a:pt x="12231" y="19291"/>
                      <a:pt x="7267" y="18215"/>
                    </a:cubicBezTo>
                    <a:cubicBezTo>
                      <a:pt x="2303" y="17138"/>
                      <a:pt x="-867" y="12234"/>
                      <a:pt x="210" y="7270"/>
                    </a:cubicBezTo>
                    <a:cubicBezTo>
                      <a:pt x="1286" y="2246"/>
                      <a:pt x="6131" y="-864"/>
                      <a:pt x="11095" y="213"/>
                    </a:cubicBezTo>
                    <a:close/>
                  </a:path>
                </a:pathLst>
              </a:custGeom>
              <a:grpFill/>
              <a:ln w="5978" cap="flat">
                <a:noFill/>
                <a:prstDash val="solid"/>
                <a:miter/>
              </a:ln>
            </p:spPr>
            <p:txBody>
              <a:bodyPr rtlCol="0" anchor="ctr"/>
              <a:lstStyle/>
              <a:p>
                <a:endParaRPr lang="en-GB"/>
              </a:p>
            </p:txBody>
          </p:sp>
          <p:sp>
            <p:nvSpPr>
              <p:cNvPr id="4499" name="Vrije vorm: vorm 4498">
                <a:extLst>
                  <a:ext uri="{FF2B5EF4-FFF2-40B4-BE49-F238E27FC236}">
                    <a16:creationId xmlns:a16="http://schemas.microsoft.com/office/drawing/2014/main" id="{852445CE-F15D-4AD5-AECC-9029F2586DD2}"/>
                  </a:ext>
                </a:extLst>
              </p:cNvPr>
              <p:cNvSpPr/>
              <p:nvPr/>
            </p:nvSpPr>
            <p:spPr>
              <a:xfrm>
                <a:off x="7685516" y="3764096"/>
                <a:ext cx="18362" cy="18421"/>
              </a:xfrm>
              <a:custGeom>
                <a:avLst/>
                <a:gdLst>
                  <a:gd name="connsiteX0" fmla="*/ 11095 w 18362"/>
                  <a:gd name="connsiteY0" fmla="*/ 210 h 18421"/>
                  <a:gd name="connsiteX1" fmla="*/ 210 w 18362"/>
                  <a:gd name="connsiteY1" fmla="*/ 7267 h 18421"/>
                  <a:gd name="connsiteX2" fmla="*/ 7268 w 18362"/>
                  <a:gd name="connsiteY2" fmla="*/ 18212 h 18421"/>
                  <a:gd name="connsiteX3" fmla="*/ 18152 w 18362"/>
                  <a:gd name="connsiteY3" fmla="*/ 11155 h 18421"/>
                  <a:gd name="connsiteX4" fmla="*/ 11095 w 18362"/>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1095" y="210"/>
                    </a:moveTo>
                    <a:cubicBezTo>
                      <a:pt x="6131" y="-867"/>
                      <a:pt x="1287" y="2303"/>
                      <a:pt x="210" y="7267"/>
                    </a:cubicBezTo>
                    <a:cubicBezTo>
                      <a:pt x="-867" y="12231"/>
                      <a:pt x="2303" y="17135"/>
                      <a:pt x="7268" y="18212"/>
                    </a:cubicBezTo>
                    <a:cubicBezTo>
                      <a:pt x="12231" y="19289"/>
                      <a:pt x="17075" y="16119"/>
                      <a:pt x="18152" y="11155"/>
                    </a:cubicBezTo>
                    <a:cubicBezTo>
                      <a:pt x="19229" y="6191"/>
                      <a:pt x="16059" y="1287"/>
                      <a:pt x="11095" y="210"/>
                    </a:cubicBezTo>
                    <a:close/>
                  </a:path>
                </a:pathLst>
              </a:custGeom>
              <a:grpFill/>
              <a:ln w="5978" cap="flat">
                <a:noFill/>
                <a:prstDash val="solid"/>
                <a:miter/>
              </a:ln>
            </p:spPr>
            <p:txBody>
              <a:bodyPr rtlCol="0" anchor="ctr"/>
              <a:lstStyle/>
              <a:p>
                <a:endParaRPr lang="en-GB"/>
              </a:p>
            </p:txBody>
          </p:sp>
        </p:grpSp>
        <p:grpSp>
          <p:nvGrpSpPr>
            <p:cNvPr id="295" name="Graphic 3">
              <a:extLst>
                <a:ext uri="{FF2B5EF4-FFF2-40B4-BE49-F238E27FC236}">
                  <a16:creationId xmlns:a16="http://schemas.microsoft.com/office/drawing/2014/main" id="{3F4F859C-5148-4AC6-AF58-5184A6C97508}"/>
                </a:ext>
              </a:extLst>
            </p:cNvPr>
            <p:cNvGrpSpPr/>
            <p:nvPr/>
          </p:nvGrpSpPr>
          <p:grpSpPr>
            <a:xfrm>
              <a:off x="7681552" y="3827834"/>
              <a:ext cx="172698" cy="58048"/>
              <a:chOff x="7681552" y="3827834"/>
              <a:chExt cx="172698" cy="58048"/>
            </a:xfrm>
            <a:grpFill/>
          </p:grpSpPr>
          <p:sp>
            <p:nvSpPr>
              <p:cNvPr id="4494" name="Vrije vorm: vorm 4493">
                <a:extLst>
                  <a:ext uri="{FF2B5EF4-FFF2-40B4-BE49-F238E27FC236}">
                    <a16:creationId xmlns:a16="http://schemas.microsoft.com/office/drawing/2014/main" id="{2E35A9D7-5F58-4712-AF50-277717698F58}"/>
                  </a:ext>
                </a:extLst>
              </p:cNvPr>
              <p:cNvSpPr/>
              <p:nvPr/>
            </p:nvSpPr>
            <p:spPr>
              <a:xfrm>
                <a:off x="7689912" y="3835477"/>
                <a:ext cx="155977" cy="42822"/>
              </a:xfrm>
              <a:custGeom>
                <a:avLst/>
                <a:gdLst>
                  <a:gd name="connsiteX0" fmla="*/ 155978 w 155977"/>
                  <a:gd name="connsiteY0" fmla="*/ 39832 h 42822"/>
                  <a:gd name="connsiteX1" fmla="*/ 155200 w 155977"/>
                  <a:gd name="connsiteY1" fmla="*/ 42822 h 42822"/>
                  <a:gd name="connsiteX2" fmla="*/ 0 w 155977"/>
                  <a:gd name="connsiteY2" fmla="*/ 2931 h 42822"/>
                  <a:gd name="connsiteX3" fmla="*/ 778 w 155977"/>
                  <a:gd name="connsiteY3" fmla="*/ 0 h 42822"/>
                </a:gdLst>
                <a:ahLst/>
                <a:cxnLst>
                  <a:cxn ang="0">
                    <a:pos x="connsiteX0" y="connsiteY0"/>
                  </a:cxn>
                  <a:cxn ang="0">
                    <a:pos x="connsiteX1" y="connsiteY1"/>
                  </a:cxn>
                  <a:cxn ang="0">
                    <a:pos x="connsiteX2" y="connsiteY2"/>
                  </a:cxn>
                  <a:cxn ang="0">
                    <a:pos x="connsiteX3" y="connsiteY3"/>
                  </a:cxn>
                </a:cxnLst>
                <a:rect l="l" t="t" r="r" b="b"/>
                <a:pathLst>
                  <a:path w="155977" h="42822">
                    <a:moveTo>
                      <a:pt x="155978" y="39832"/>
                    </a:moveTo>
                    <a:lnTo>
                      <a:pt x="155200" y="42822"/>
                    </a:lnTo>
                    <a:lnTo>
                      <a:pt x="0" y="2931"/>
                    </a:lnTo>
                    <a:lnTo>
                      <a:pt x="778" y="0"/>
                    </a:lnTo>
                    <a:close/>
                  </a:path>
                </a:pathLst>
              </a:custGeom>
              <a:grpFill/>
              <a:ln w="5978" cap="flat">
                <a:noFill/>
                <a:prstDash val="solid"/>
                <a:miter/>
              </a:ln>
            </p:spPr>
            <p:txBody>
              <a:bodyPr rtlCol="0" anchor="ctr"/>
              <a:lstStyle/>
              <a:p>
                <a:endParaRPr lang="en-GB"/>
              </a:p>
            </p:txBody>
          </p:sp>
          <p:sp>
            <p:nvSpPr>
              <p:cNvPr id="4495" name="Vrije vorm: vorm 4494">
                <a:extLst>
                  <a:ext uri="{FF2B5EF4-FFF2-40B4-BE49-F238E27FC236}">
                    <a16:creationId xmlns:a16="http://schemas.microsoft.com/office/drawing/2014/main" id="{FE9996F0-4B38-43EE-AA1C-39301D4C58E8}"/>
                  </a:ext>
                </a:extLst>
              </p:cNvPr>
              <p:cNvSpPr/>
              <p:nvPr/>
            </p:nvSpPr>
            <p:spPr>
              <a:xfrm>
                <a:off x="7835914" y="3867486"/>
                <a:ext cx="18335" cy="18395"/>
              </a:xfrm>
              <a:custGeom>
                <a:avLst/>
                <a:gdLst>
                  <a:gd name="connsiteX0" fmla="*/ 11411 w 18335"/>
                  <a:gd name="connsiteY0" fmla="*/ 287 h 18395"/>
                  <a:gd name="connsiteX1" fmla="*/ 18049 w 18335"/>
                  <a:gd name="connsiteY1" fmla="*/ 11471 h 18395"/>
                  <a:gd name="connsiteX2" fmla="*/ 6925 w 18335"/>
                  <a:gd name="connsiteY2" fmla="*/ 18109 h 18395"/>
                  <a:gd name="connsiteX3" fmla="*/ 287 w 18335"/>
                  <a:gd name="connsiteY3" fmla="*/ 6925 h 18395"/>
                  <a:gd name="connsiteX4" fmla="*/ 11411 w 18335"/>
                  <a:gd name="connsiteY4" fmla="*/ 28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5">
                    <a:moveTo>
                      <a:pt x="11411" y="287"/>
                    </a:moveTo>
                    <a:cubicBezTo>
                      <a:pt x="16315" y="1543"/>
                      <a:pt x="19305" y="6566"/>
                      <a:pt x="18049" y="11471"/>
                    </a:cubicBezTo>
                    <a:cubicBezTo>
                      <a:pt x="16794" y="16375"/>
                      <a:pt x="11829" y="19365"/>
                      <a:pt x="6925" y="18109"/>
                    </a:cubicBezTo>
                    <a:cubicBezTo>
                      <a:pt x="2021" y="16853"/>
                      <a:pt x="-970" y="11829"/>
                      <a:pt x="287" y="6925"/>
                    </a:cubicBezTo>
                    <a:cubicBezTo>
                      <a:pt x="1483" y="2021"/>
                      <a:pt x="6506" y="-969"/>
                      <a:pt x="11411" y="287"/>
                    </a:cubicBezTo>
                    <a:close/>
                  </a:path>
                </a:pathLst>
              </a:custGeom>
              <a:grpFill/>
              <a:ln w="5978" cap="flat">
                <a:noFill/>
                <a:prstDash val="solid"/>
                <a:miter/>
              </a:ln>
            </p:spPr>
            <p:txBody>
              <a:bodyPr rtlCol="0" anchor="ctr"/>
              <a:lstStyle/>
              <a:p>
                <a:endParaRPr lang="en-GB"/>
              </a:p>
            </p:txBody>
          </p:sp>
          <p:sp>
            <p:nvSpPr>
              <p:cNvPr id="4496" name="Vrije vorm: vorm 4495">
                <a:extLst>
                  <a:ext uri="{FF2B5EF4-FFF2-40B4-BE49-F238E27FC236}">
                    <a16:creationId xmlns:a16="http://schemas.microsoft.com/office/drawing/2014/main" id="{F605F33B-A7DF-48F1-8D18-C5AED97B1A58}"/>
                  </a:ext>
                </a:extLst>
              </p:cNvPr>
              <p:cNvSpPr/>
              <p:nvPr/>
            </p:nvSpPr>
            <p:spPr>
              <a:xfrm>
                <a:off x="7681552" y="3827834"/>
                <a:ext cx="18335" cy="18395"/>
              </a:xfrm>
              <a:custGeom>
                <a:avLst/>
                <a:gdLst>
                  <a:gd name="connsiteX0" fmla="*/ 11411 w 18335"/>
                  <a:gd name="connsiteY0" fmla="*/ 287 h 18395"/>
                  <a:gd name="connsiteX1" fmla="*/ 287 w 18335"/>
                  <a:gd name="connsiteY1" fmla="*/ 6925 h 18395"/>
                  <a:gd name="connsiteX2" fmla="*/ 6925 w 18335"/>
                  <a:gd name="connsiteY2" fmla="*/ 18109 h 18395"/>
                  <a:gd name="connsiteX3" fmla="*/ 18049 w 18335"/>
                  <a:gd name="connsiteY3" fmla="*/ 11471 h 18395"/>
                  <a:gd name="connsiteX4" fmla="*/ 11411 w 18335"/>
                  <a:gd name="connsiteY4" fmla="*/ 28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5">
                    <a:moveTo>
                      <a:pt x="11411" y="287"/>
                    </a:moveTo>
                    <a:cubicBezTo>
                      <a:pt x="6507" y="-969"/>
                      <a:pt x="1542" y="2021"/>
                      <a:pt x="287" y="6925"/>
                    </a:cubicBezTo>
                    <a:cubicBezTo>
                      <a:pt x="-969" y="11829"/>
                      <a:pt x="2021" y="16853"/>
                      <a:pt x="6925" y="18109"/>
                    </a:cubicBezTo>
                    <a:cubicBezTo>
                      <a:pt x="11830" y="19365"/>
                      <a:pt x="16793" y="16375"/>
                      <a:pt x="18049" y="11471"/>
                    </a:cubicBezTo>
                    <a:cubicBezTo>
                      <a:pt x="19306" y="6566"/>
                      <a:pt x="16315" y="1543"/>
                      <a:pt x="11411" y="287"/>
                    </a:cubicBezTo>
                    <a:close/>
                  </a:path>
                </a:pathLst>
              </a:custGeom>
              <a:grpFill/>
              <a:ln w="5978" cap="flat">
                <a:noFill/>
                <a:prstDash val="solid"/>
                <a:miter/>
              </a:ln>
            </p:spPr>
            <p:txBody>
              <a:bodyPr rtlCol="0" anchor="ctr"/>
              <a:lstStyle/>
              <a:p>
                <a:endParaRPr lang="en-GB"/>
              </a:p>
            </p:txBody>
          </p:sp>
        </p:grpSp>
        <p:grpSp>
          <p:nvGrpSpPr>
            <p:cNvPr id="296" name="Graphic 3">
              <a:extLst>
                <a:ext uri="{FF2B5EF4-FFF2-40B4-BE49-F238E27FC236}">
                  <a16:creationId xmlns:a16="http://schemas.microsoft.com/office/drawing/2014/main" id="{822C02AD-75C6-4DA8-8DD7-883CAB8309E3}"/>
                </a:ext>
              </a:extLst>
            </p:cNvPr>
            <p:cNvGrpSpPr/>
            <p:nvPr/>
          </p:nvGrpSpPr>
          <p:grpSpPr>
            <a:xfrm>
              <a:off x="6924066" y="1442683"/>
              <a:ext cx="193745" cy="345706"/>
              <a:chOff x="6924066" y="1442683"/>
              <a:chExt cx="193745" cy="345706"/>
            </a:xfrm>
            <a:grpFill/>
          </p:grpSpPr>
          <p:sp>
            <p:nvSpPr>
              <p:cNvPr id="4491" name="Vrije vorm: vorm 4490">
                <a:extLst>
                  <a:ext uri="{FF2B5EF4-FFF2-40B4-BE49-F238E27FC236}">
                    <a16:creationId xmlns:a16="http://schemas.microsoft.com/office/drawing/2014/main" id="{461F8552-6D48-4930-B59C-AE3383036771}"/>
                  </a:ext>
                </a:extLst>
              </p:cNvPr>
              <p:cNvSpPr/>
              <p:nvPr/>
            </p:nvSpPr>
            <p:spPr>
              <a:xfrm>
                <a:off x="6931677" y="1450724"/>
                <a:ext cx="178524" cy="329537"/>
              </a:xfrm>
              <a:custGeom>
                <a:avLst/>
                <a:gdLst>
                  <a:gd name="connsiteX0" fmla="*/ 178524 w 178524"/>
                  <a:gd name="connsiteY0" fmla="*/ 1495 h 329537"/>
                  <a:gd name="connsiteX1" fmla="*/ 2631 w 178524"/>
                  <a:gd name="connsiteY1" fmla="*/ 329538 h 329537"/>
                  <a:gd name="connsiteX2" fmla="*/ 0 w 178524"/>
                  <a:gd name="connsiteY2" fmla="*/ 328102 h 329537"/>
                  <a:gd name="connsiteX3" fmla="*/ 175833 w 178524"/>
                  <a:gd name="connsiteY3" fmla="*/ 0 h 329537"/>
                </a:gdLst>
                <a:ahLst/>
                <a:cxnLst>
                  <a:cxn ang="0">
                    <a:pos x="connsiteX0" y="connsiteY0"/>
                  </a:cxn>
                  <a:cxn ang="0">
                    <a:pos x="connsiteX1" y="connsiteY1"/>
                  </a:cxn>
                  <a:cxn ang="0">
                    <a:pos x="connsiteX2" y="connsiteY2"/>
                  </a:cxn>
                  <a:cxn ang="0">
                    <a:pos x="connsiteX3" y="connsiteY3"/>
                  </a:cxn>
                </a:cxnLst>
                <a:rect l="l" t="t" r="r" b="b"/>
                <a:pathLst>
                  <a:path w="178524" h="329537">
                    <a:moveTo>
                      <a:pt x="178524" y="1495"/>
                    </a:moveTo>
                    <a:lnTo>
                      <a:pt x="2631" y="329538"/>
                    </a:lnTo>
                    <a:lnTo>
                      <a:pt x="0" y="328102"/>
                    </a:lnTo>
                    <a:lnTo>
                      <a:pt x="175833" y="0"/>
                    </a:lnTo>
                    <a:close/>
                  </a:path>
                </a:pathLst>
              </a:custGeom>
              <a:grpFill/>
              <a:ln w="5978" cap="flat">
                <a:noFill/>
                <a:prstDash val="solid"/>
                <a:miter/>
              </a:ln>
            </p:spPr>
            <p:txBody>
              <a:bodyPr rtlCol="0" anchor="ctr"/>
              <a:lstStyle/>
              <a:p>
                <a:endParaRPr lang="en-GB"/>
              </a:p>
            </p:txBody>
          </p:sp>
          <p:sp>
            <p:nvSpPr>
              <p:cNvPr id="4492" name="Vrije vorm: vorm 4491">
                <a:extLst>
                  <a:ext uri="{FF2B5EF4-FFF2-40B4-BE49-F238E27FC236}">
                    <a16:creationId xmlns:a16="http://schemas.microsoft.com/office/drawing/2014/main" id="{FD6A827E-FB6A-4B7B-BD0C-FD94DC41F819}"/>
                  </a:ext>
                </a:extLst>
              </p:cNvPr>
              <p:cNvSpPr/>
              <p:nvPr/>
            </p:nvSpPr>
            <p:spPr>
              <a:xfrm>
                <a:off x="7099480" y="1442683"/>
                <a:ext cx="18330" cy="18414"/>
              </a:xfrm>
              <a:custGeom>
                <a:avLst/>
                <a:gdLst>
                  <a:gd name="connsiteX0" fmla="*/ 1092 w 18330"/>
                  <a:gd name="connsiteY0" fmla="*/ 4812 h 18414"/>
                  <a:gd name="connsiteX1" fmla="*/ 13531 w 18330"/>
                  <a:gd name="connsiteY1" fmla="*/ 1104 h 18414"/>
                  <a:gd name="connsiteX2" fmla="*/ 17239 w 18330"/>
                  <a:gd name="connsiteY2" fmla="*/ 13603 h 18414"/>
                  <a:gd name="connsiteX3" fmla="*/ 4800 w 18330"/>
                  <a:gd name="connsiteY3" fmla="*/ 17311 h 18414"/>
                  <a:gd name="connsiteX4" fmla="*/ 1092 w 18330"/>
                  <a:gd name="connsiteY4" fmla="*/ 481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14">
                    <a:moveTo>
                      <a:pt x="1092" y="4812"/>
                    </a:moveTo>
                    <a:cubicBezTo>
                      <a:pt x="3483" y="326"/>
                      <a:pt x="9046" y="-1289"/>
                      <a:pt x="13531" y="1104"/>
                    </a:cubicBezTo>
                    <a:cubicBezTo>
                      <a:pt x="17957" y="3556"/>
                      <a:pt x="19632" y="9118"/>
                      <a:pt x="17239" y="13603"/>
                    </a:cubicBezTo>
                    <a:cubicBezTo>
                      <a:pt x="14847" y="18089"/>
                      <a:pt x="9285" y="19704"/>
                      <a:pt x="4800" y="17311"/>
                    </a:cubicBezTo>
                    <a:cubicBezTo>
                      <a:pt x="374" y="14859"/>
                      <a:pt x="-1301" y="9297"/>
                      <a:pt x="1092" y="4812"/>
                    </a:cubicBezTo>
                    <a:close/>
                  </a:path>
                </a:pathLst>
              </a:custGeom>
              <a:grpFill/>
              <a:ln w="5978" cap="flat">
                <a:noFill/>
                <a:prstDash val="solid"/>
                <a:miter/>
              </a:ln>
            </p:spPr>
            <p:txBody>
              <a:bodyPr rtlCol="0" anchor="ctr"/>
              <a:lstStyle/>
              <a:p>
                <a:endParaRPr lang="en-GB"/>
              </a:p>
            </p:txBody>
          </p:sp>
          <p:sp>
            <p:nvSpPr>
              <p:cNvPr id="4493" name="Vrije vorm: vorm 4492">
                <a:extLst>
                  <a:ext uri="{FF2B5EF4-FFF2-40B4-BE49-F238E27FC236}">
                    <a16:creationId xmlns:a16="http://schemas.microsoft.com/office/drawing/2014/main" id="{A390B6C7-F268-445B-9562-9E60ABCDFE4F}"/>
                  </a:ext>
                </a:extLst>
              </p:cNvPr>
              <p:cNvSpPr/>
              <p:nvPr/>
            </p:nvSpPr>
            <p:spPr>
              <a:xfrm>
                <a:off x="6924066" y="1769921"/>
                <a:ext cx="18331" cy="18467"/>
              </a:xfrm>
              <a:custGeom>
                <a:avLst/>
                <a:gdLst>
                  <a:gd name="connsiteX0" fmla="*/ 1091 w 18331"/>
                  <a:gd name="connsiteY0" fmla="*/ 4838 h 18467"/>
                  <a:gd name="connsiteX1" fmla="*/ 4799 w 18331"/>
                  <a:gd name="connsiteY1" fmla="*/ 17338 h 18467"/>
                  <a:gd name="connsiteX2" fmla="*/ 17240 w 18331"/>
                  <a:gd name="connsiteY2" fmla="*/ 13630 h 18467"/>
                  <a:gd name="connsiteX3" fmla="*/ 13532 w 18331"/>
                  <a:gd name="connsiteY3" fmla="*/ 1130 h 18467"/>
                  <a:gd name="connsiteX4" fmla="*/ 1091 w 18331"/>
                  <a:gd name="connsiteY4" fmla="*/ 4838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67">
                    <a:moveTo>
                      <a:pt x="1091" y="4838"/>
                    </a:moveTo>
                    <a:cubicBezTo>
                      <a:pt x="-1300" y="9324"/>
                      <a:pt x="374" y="14886"/>
                      <a:pt x="4799" y="17338"/>
                    </a:cubicBezTo>
                    <a:cubicBezTo>
                      <a:pt x="9285" y="19790"/>
                      <a:pt x="14787" y="18115"/>
                      <a:pt x="17240" y="13630"/>
                    </a:cubicBezTo>
                    <a:cubicBezTo>
                      <a:pt x="19632" y="9144"/>
                      <a:pt x="17957" y="3582"/>
                      <a:pt x="13532" y="1130"/>
                    </a:cubicBezTo>
                    <a:cubicBezTo>
                      <a:pt x="9046" y="-1322"/>
                      <a:pt x="3484" y="353"/>
                      <a:pt x="1091" y="4838"/>
                    </a:cubicBezTo>
                    <a:close/>
                  </a:path>
                </a:pathLst>
              </a:custGeom>
              <a:grpFill/>
              <a:ln w="5978" cap="flat">
                <a:noFill/>
                <a:prstDash val="solid"/>
                <a:miter/>
              </a:ln>
            </p:spPr>
            <p:txBody>
              <a:bodyPr rtlCol="0" anchor="ctr"/>
              <a:lstStyle/>
              <a:p>
                <a:endParaRPr lang="en-GB"/>
              </a:p>
            </p:txBody>
          </p:sp>
        </p:grpSp>
        <p:grpSp>
          <p:nvGrpSpPr>
            <p:cNvPr id="297" name="Graphic 3">
              <a:extLst>
                <a:ext uri="{FF2B5EF4-FFF2-40B4-BE49-F238E27FC236}">
                  <a16:creationId xmlns:a16="http://schemas.microsoft.com/office/drawing/2014/main" id="{309F9DD9-75FC-4CE6-9C2E-83AC784321C9}"/>
                </a:ext>
              </a:extLst>
            </p:cNvPr>
            <p:cNvGrpSpPr/>
            <p:nvPr/>
          </p:nvGrpSpPr>
          <p:grpSpPr>
            <a:xfrm>
              <a:off x="7124333" y="1956090"/>
              <a:ext cx="24187" cy="26264"/>
              <a:chOff x="7124333" y="1956090"/>
              <a:chExt cx="24187" cy="26264"/>
            </a:xfrm>
            <a:grpFill/>
          </p:grpSpPr>
          <p:sp>
            <p:nvSpPr>
              <p:cNvPr id="4488" name="Vrije vorm: vorm 4487">
                <a:extLst>
                  <a:ext uri="{FF2B5EF4-FFF2-40B4-BE49-F238E27FC236}">
                    <a16:creationId xmlns:a16="http://schemas.microsoft.com/office/drawing/2014/main" id="{4322ABF6-6511-4A58-8E2B-4851DDA9556F}"/>
                  </a:ext>
                </a:extLst>
              </p:cNvPr>
              <p:cNvSpPr/>
              <p:nvPr/>
            </p:nvSpPr>
            <p:spPr>
              <a:xfrm>
                <a:off x="7131971" y="1963989"/>
                <a:ext cx="8911" cy="10466"/>
              </a:xfrm>
              <a:custGeom>
                <a:avLst/>
                <a:gdLst>
                  <a:gd name="connsiteX0" fmla="*/ 8911 w 8911"/>
                  <a:gd name="connsiteY0" fmla="*/ 1854 h 10466"/>
                  <a:gd name="connsiteX1" fmla="*/ 2452 w 8911"/>
                  <a:gd name="connsiteY1" fmla="*/ 10466 h 10466"/>
                  <a:gd name="connsiteX2" fmla="*/ 0 w 8911"/>
                  <a:gd name="connsiteY2" fmla="*/ 8612 h 10466"/>
                  <a:gd name="connsiteX3" fmla="*/ 6459 w 8911"/>
                  <a:gd name="connsiteY3" fmla="*/ 0 h 10466"/>
                </a:gdLst>
                <a:ahLst/>
                <a:cxnLst>
                  <a:cxn ang="0">
                    <a:pos x="connsiteX0" y="connsiteY0"/>
                  </a:cxn>
                  <a:cxn ang="0">
                    <a:pos x="connsiteX1" y="connsiteY1"/>
                  </a:cxn>
                  <a:cxn ang="0">
                    <a:pos x="connsiteX2" y="connsiteY2"/>
                  </a:cxn>
                  <a:cxn ang="0">
                    <a:pos x="connsiteX3" y="connsiteY3"/>
                  </a:cxn>
                </a:cxnLst>
                <a:rect l="l" t="t" r="r" b="b"/>
                <a:pathLst>
                  <a:path w="8911" h="10466">
                    <a:moveTo>
                      <a:pt x="8911" y="1854"/>
                    </a:moveTo>
                    <a:lnTo>
                      <a:pt x="2452" y="10466"/>
                    </a:lnTo>
                    <a:lnTo>
                      <a:pt x="0" y="8612"/>
                    </a:lnTo>
                    <a:lnTo>
                      <a:pt x="6459" y="0"/>
                    </a:lnTo>
                    <a:close/>
                  </a:path>
                </a:pathLst>
              </a:custGeom>
              <a:grpFill/>
              <a:ln w="5978" cap="flat">
                <a:noFill/>
                <a:prstDash val="solid"/>
                <a:miter/>
              </a:ln>
            </p:spPr>
            <p:txBody>
              <a:bodyPr rtlCol="0" anchor="ctr"/>
              <a:lstStyle/>
              <a:p>
                <a:endParaRPr lang="en-GB"/>
              </a:p>
            </p:txBody>
          </p:sp>
          <p:sp>
            <p:nvSpPr>
              <p:cNvPr id="4489" name="Vrije vorm: vorm 4488">
                <a:extLst>
                  <a:ext uri="{FF2B5EF4-FFF2-40B4-BE49-F238E27FC236}">
                    <a16:creationId xmlns:a16="http://schemas.microsoft.com/office/drawing/2014/main" id="{339FA7B1-2065-4AF3-9534-A797EB2D158E}"/>
                  </a:ext>
                </a:extLst>
              </p:cNvPr>
              <p:cNvSpPr/>
              <p:nvPr/>
            </p:nvSpPr>
            <p:spPr>
              <a:xfrm>
                <a:off x="7130194" y="1956090"/>
                <a:ext cx="18326" cy="18429"/>
              </a:xfrm>
              <a:custGeom>
                <a:avLst/>
                <a:gdLst>
                  <a:gd name="connsiteX0" fmla="*/ 1837 w 18326"/>
                  <a:gd name="connsiteY0" fmla="*/ 3653 h 18429"/>
                  <a:gd name="connsiteX1" fmla="*/ 14635 w 18326"/>
                  <a:gd name="connsiteY1" fmla="*/ 1858 h 18429"/>
                  <a:gd name="connsiteX2" fmla="*/ 16489 w 18326"/>
                  <a:gd name="connsiteY2" fmla="*/ 14777 h 18429"/>
                  <a:gd name="connsiteX3" fmla="*/ 3690 w 18326"/>
                  <a:gd name="connsiteY3" fmla="*/ 16571 h 18429"/>
                  <a:gd name="connsiteX4" fmla="*/ 1837 w 18326"/>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837" y="3653"/>
                    </a:moveTo>
                    <a:cubicBezTo>
                      <a:pt x="4887" y="-414"/>
                      <a:pt x="10628" y="-1192"/>
                      <a:pt x="14635" y="1858"/>
                    </a:cubicBezTo>
                    <a:cubicBezTo>
                      <a:pt x="18702" y="4909"/>
                      <a:pt x="19539" y="10710"/>
                      <a:pt x="16489" y="14777"/>
                    </a:cubicBezTo>
                    <a:cubicBezTo>
                      <a:pt x="13439" y="18844"/>
                      <a:pt x="7698" y="19621"/>
                      <a:pt x="3690" y="16571"/>
                    </a:cubicBezTo>
                    <a:cubicBezTo>
                      <a:pt x="-376" y="13461"/>
                      <a:pt x="-1213" y="7720"/>
                      <a:pt x="1837" y="3653"/>
                    </a:cubicBezTo>
                    <a:close/>
                  </a:path>
                </a:pathLst>
              </a:custGeom>
              <a:grpFill/>
              <a:ln w="5978" cap="flat">
                <a:noFill/>
                <a:prstDash val="solid"/>
                <a:miter/>
              </a:ln>
            </p:spPr>
            <p:txBody>
              <a:bodyPr rtlCol="0" anchor="ctr"/>
              <a:lstStyle/>
              <a:p>
                <a:endParaRPr lang="en-GB"/>
              </a:p>
            </p:txBody>
          </p:sp>
          <p:sp>
            <p:nvSpPr>
              <p:cNvPr id="4490" name="Vrije vorm: vorm 4489">
                <a:extLst>
                  <a:ext uri="{FF2B5EF4-FFF2-40B4-BE49-F238E27FC236}">
                    <a16:creationId xmlns:a16="http://schemas.microsoft.com/office/drawing/2014/main" id="{78209284-0FD8-4C50-902B-2BCBDEF59698}"/>
                  </a:ext>
                </a:extLst>
              </p:cNvPr>
              <p:cNvSpPr/>
              <p:nvPr/>
            </p:nvSpPr>
            <p:spPr>
              <a:xfrm>
                <a:off x="7124333" y="1963943"/>
                <a:ext cx="18326" cy="18411"/>
              </a:xfrm>
              <a:custGeom>
                <a:avLst/>
                <a:gdLst>
                  <a:gd name="connsiteX0" fmla="*/ 1836 w 18326"/>
                  <a:gd name="connsiteY0" fmla="*/ 3635 h 18411"/>
                  <a:gd name="connsiteX1" fmla="*/ 3691 w 18326"/>
                  <a:gd name="connsiteY1" fmla="*/ 16553 h 18411"/>
                  <a:gd name="connsiteX2" fmla="*/ 16490 w 18326"/>
                  <a:gd name="connsiteY2" fmla="*/ 14759 h 18411"/>
                  <a:gd name="connsiteX3" fmla="*/ 14635 w 18326"/>
                  <a:gd name="connsiteY3" fmla="*/ 1841 h 18411"/>
                  <a:gd name="connsiteX4" fmla="*/ 1836 w 18326"/>
                  <a:gd name="connsiteY4" fmla="*/ 3635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1">
                    <a:moveTo>
                      <a:pt x="1836" y="3635"/>
                    </a:moveTo>
                    <a:cubicBezTo>
                      <a:pt x="-1213" y="7702"/>
                      <a:pt x="-376" y="13503"/>
                      <a:pt x="3691" y="16553"/>
                    </a:cubicBezTo>
                    <a:cubicBezTo>
                      <a:pt x="7758" y="19604"/>
                      <a:pt x="13499" y="18826"/>
                      <a:pt x="16490" y="14759"/>
                    </a:cubicBezTo>
                    <a:cubicBezTo>
                      <a:pt x="19540" y="10692"/>
                      <a:pt x="18702" y="4891"/>
                      <a:pt x="14635" y="1841"/>
                    </a:cubicBezTo>
                    <a:cubicBezTo>
                      <a:pt x="10569" y="-1209"/>
                      <a:pt x="4827" y="-372"/>
                      <a:pt x="1836" y="3635"/>
                    </a:cubicBezTo>
                    <a:close/>
                  </a:path>
                </a:pathLst>
              </a:custGeom>
              <a:grpFill/>
              <a:ln w="5978" cap="flat">
                <a:noFill/>
                <a:prstDash val="solid"/>
                <a:miter/>
              </a:ln>
            </p:spPr>
            <p:txBody>
              <a:bodyPr rtlCol="0" anchor="ctr"/>
              <a:lstStyle/>
              <a:p>
                <a:endParaRPr lang="en-GB"/>
              </a:p>
            </p:txBody>
          </p:sp>
        </p:grpSp>
        <p:grpSp>
          <p:nvGrpSpPr>
            <p:cNvPr id="298" name="Graphic 3">
              <a:extLst>
                <a:ext uri="{FF2B5EF4-FFF2-40B4-BE49-F238E27FC236}">
                  <a16:creationId xmlns:a16="http://schemas.microsoft.com/office/drawing/2014/main" id="{D7C8C7F0-6386-4DB1-AD92-EF7972AC7E70}"/>
                </a:ext>
              </a:extLst>
            </p:cNvPr>
            <p:cNvGrpSpPr/>
            <p:nvPr/>
          </p:nvGrpSpPr>
          <p:grpSpPr>
            <a:xfrm>
              <a:off x="7676256" y="3859120"/>
              <a:ext cx="213791" cy="72547"/>
              <a:chOff x="7676256" y="3859120"/>
              <a:chExt cx="213791" cy="72547"/>
            </a:xfrm>
            <a:grpFill/>
          </p:grpSpPr>
          <p:sp>
            <p:nvSpPr>
              <p:cNvPr id="4485" name="Vrije vorm: vorm 4484">
                <a:extLst>
                  <a:ext uri="{FF2B5EF4-FFF2-40B4-BE49-F238E27FC236}">
                    <a16:creationId xmlns:a16="http://schemas.microsoft.com/office/drawing/2014/main" id="{401B8618-7C5F-43F4-A010-9DFA8AE765BD}"/>
                  </a:ext>
                </a:extLst>
              </p:cNvPr>
              <p:cNvSpPr/>
              <p:nvPr/>
            </p:nvSpPr>
            <p:spPr>
              <a:xfrm>
                <a:off x="7684530" y="3866756"/>
                <a:ext cx="197184" cy="57295"/>
              </a:xfrm>
              <a:custGeom>
                <a:avLst/>
                <a:gdLst>
                  <a:gd name="connsiteX0" fmla="*/ 197184 w 197184"/>
                  <a:gd name="connsiteY0" fmla="*/ 54305 h 57295"/>
                  <a:gd name="connsiteX1" fmla="*/ 196407 w 197184"/>
                  <a:gd name="connsiteY1" fmla="*/ 57295 h 57295"/>
                  <a:gd name="connsiteX2" fmla="*/ 0 w 197184"/>
                  <a:gd name="connsiteY2" fmla="*/ 2930 h 57295"/>
                  <a:gd name="connsiteX3" fmla="*/ 837 w 197184"/>
                  <a:gd name="connsiteY3" fmla="*/ 0 h 57295"/>
                </a:gdLst>
                <a:ahLst/>
                <a:cxnLst>
                  <a:cxn ang="0">
                    <a:pos x="connsiteX0" y="connsiteY0"/>
                  </a:cxn>
                  <a:cxn ang="0">
                    <a:pos x="connsiteX1" y="connsiteY1"/>
                  </a:cxn>
                  <a:cxn ang="0">
                    <a:pos x="connsiteX2" y="connsiteY2"/>
                  </a:cxn>
                  <a:cxn ang="0">
                    <a:pos x="connsiteX3" y="connsiteY3"/>
                  </a:cxn>
                </a:cxnLst>
                <a:rect l="l" t="t" r="r" b="b"/>
                <a:pathLst>
                  <a:path w="197184" h="57295">
                    <a:moveTo>
                      <a:pt x="197184" y="54305"/>
                    </a:moveTo>
                    <a:lnTo>
                      <a:pt x="196407" y="57295"/>
                    </a:lnTo>
                    <a:lnTo>
                      <a:pt x="0" y="2930"/>
                    </a:lnTo>
                    <a:lnTo>
                      <a:pt x="837" y="0"/>
                    </a:lnTo>
                    <a:close/>
                  </a:path>
                </a:pathLst>
              </a:custGeom>
              <a:grpFill/>
              <a:ln w="5978" cap="flat">
                <a:noFill/>
                <a:prstDash val="solid"/>
                <a:miter/>
              </a:ln>
            </p:spPr>
            <p:txBody>
              <a:bodyPr rtlCol="0" anchor="ctr"/>
              <a:lstStyle/>
              <a:p>
                <a:endParaRPr lang="en-GB"/>
              </a:p>
            </p:txBody>
          </p:sp>
          <p:sp>
            <p:nvSpPr>
              <p:cNvPr id="4486" name="Vrije vorm: vorm 4485">
                <a:extLst>
                  <a:ext uri="{FF2B5EF4-FFF2-40B4-BE49-F238E27FC236}">
                    <a16:creationId xmlns:a16="http://schemas.microsoft.com/office/drawing/2014/main" id="{67EE8930-F004-4694-8279-4D33BA2DD329}"/>
                  </a:ext>
                </a:extLst>
              </p:cNvPr>
              <p:cNvSpPr/>
              <p:nvPr/>
            </p:nvSpPr>
            <p:spPr>
              <a:xfrm>
                <a:off x="7871706" y="3913241"/>
                <a:ext cx="18340" cy="18425"/>
              </a:xfrm>
              <a:custGeom>
                <a:avLst/>
                <a:gdLst>
                  <a:gd name="connsiteX0" fmla="*/ 11563 w 18340"/>
                  <a:gd name="connsiteY0" fmla="*/ 344 h 18425"/>
                  <a:gd name="connsiteX1" fmla="*/ 18022 w 18340"/>
                  <a:gd name="connsiteY1" fmla="*/ 11648 h 18425"/>
                  <a:gd name="connsiteX2" fmla="*/ 6778 w 18340"/>
                  <a:gd name="connsiteY2" fmla="*/ 18107 h 18425"/>
                  <a:gd name="connsiteX3" fmla="*/ 319 w 18340"/>
                  <a:gd name="connsiteY3" fmla="*/ 6803 h 18425"/>
                  <a:gd name="connsiteX4" fmla="*/ 11563 w 18340"/>
                  <a:gd name="connsiteY4" fmla="*/ 344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11563" y="344"/>
                    </a:moveTo>
                    <a:cubicBezTo>
                      <a:pt x="16467" y="1720"/>
                      <a:pt x="19337" y="6743"/>
                      <a:pt x="18022" y="11648"/>
                    </a:cubicBezTo>
                    <a:cubicBezTo>
                      <a:pt x="16706" y="16552"/>
                      <a:pt x="11683" y="19422"/>
                      <a:pt x="6778" y="18107"/>
                    </a:cubicBezTo>
                    <a:cubicBezTo>
                      <a:pt x="1874" y="16731"/>
                      <a:pt x="-997" y="11707"/>
                      <a:pt x="319" y="6803"/>
                    </a:cubicBezTo>
                    <a:cubicBezTo>
                      <a:pt x="1635" y="1839"/>
                      <a:pt x="6718" y="-1032"/>
                      <a:pt x="11563" y="344"/>
                    </a:cubicBezTo>
                    <a:close/>
                  </a:path>
                </a:pathLst>
              </a:custGeom>
              <a:grpFill/>
              <a:ln w="5978" cap="flat">
                <a:noFill/>
                <a:prstDash val="solid"/>
                <a:miter/>
              </a:ln>
            </p:spPr>
            <p:txBody>
              <a:bodyPr rtlCol="0" anchor="ctr"/>
              <a:lstStyle/>
              <a:p>
                <a:endParaRPr lang="en-GB"/>
              </a:p>
            </p:txBody>
          </p:sp>
          <p:sp>
            <p:nvSpPr>
              <p:cNvPr id="4487" name="Vrije vorm: vorm 4486">
                <a:extLst>
                  <a:ext uri="{FF2B5EF4-FFF2-40B4-BE49-F238E27FC236}">
                    <a16:creationId xmlns:a16="http://schemas.microsoft.com/office/drawing/2014/main" id="{6A02EB2C-4C3F-424F-AF5D-E4994CBF1BC3}"/>
                  </a:ext>
                </a:extLst>
              </p:cNvPr>
              <p:cNvSpPr/>
              <p:nvPr/>
            </p:nvSpPr>
            <p:spPr>
              <a:xfrm>
                <a:off x="7676256" y="3859120"/>
                <a:ext cx="18317" cy="18442"/>
              </a:xfrm>
              <a:custGeom>
                <a:avLst/>
                <a:gdLst>
                  <a:gd name="connsiteX0" fmla="*/ 11563 w 18317"/>
                  <a:gd name="connsiteY0" fmla="*/ 340 h 18442"/>
                  <a:gd name="connsiteX1" fmla="*/ 319 w 18317"/>
                  <a:gd name="connsiteY1" fmla="*/ 6799 h 18442"/>
                  <a:gd name="connsiteX2" fmla="*/ 6779 w 18317"/>
                  <a:gd name="connsiteY2" fmla="*/ 18103 h 18442"/>
                  <a:gd name="connsiteX3" fmla="*/ 18022 w 18317"/>
                  <a:gd name="connsiteY3" fmla="*/ 11643 h 18442"/>
                  <a:gd name="connsiteX4" fmla="*/ 11563 w 18317"/>
                  <a:gd name="connsiteY4" fmla="*/ 34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2">
                    <a:moveTo>
                      <a:pt x="11563" y="340"/>
                    </a:moveTo>
                    <a:cubicBezTo>
                      <a:pt x="6659" y="-1036"/>
                      <a:pt x="1635" y="1895"/>
                      <a:pt x="319" y="6799"/>
                    </a:cubicBezTo>
                    <a:cubicBezTo>
                      <a:pt x="-997" y="11703"/>
                      <a:pt x="1874" y="16787"/>
                      <a:pt x="6779" y="18103"/>
                    </a:cubicBezTo>
                    <a:cubicBezTo>
                      <a:pt x="11683" y="19478"/>
                      <a:pt x="16706" y="16548"/>
                      <a:pt x="18022" y="11643"/>
                    </a:cubicBezTo>
                    <a:cubicBezTo>
                      <a:pt x="19278" y="6739"/>
                      <a:pt x="16408" y="1656"/>
                      <a:pt x="11563" y="340"/>
                    </a:cubicBezTo>
                    <a:close/>
                  </a:path>
                </a:pathLst>
              </a:custGeom>
              <a:grpFill/>
              <a:ln w="5978" cap="flat">
                <a:noFill/>
                <a:prstDash val="solid"/>
                <a:miter/>
              </a:ln>
            </p:spPr>
            <p:txBody>
              <a:bodyPr rtlCol="0" anchor="ctr"/>
              <a:lstStyle/>
              <a:p>
                <a:endParaRPr lang="en-GB"/>
              </a:p>
            </p:txBody>
          </p:sp>
        </p:grpSp>
        <p:grpSp>
          <p:nvGrpSpPr>
            <p:cNvPr id="299" name="Graphic 3">
              <a:extLst>
                <a:ext uri="{FF2B5EF4-FFF2-40B4-BE49-F238E27FC236}">
                  <a16:creationId xmlns:a16="http://schemas.microsoft.com/office/drawing/2014/main" id="{7717C0C5-9488-49A7-9067-FFA011C2C7AA}"/>
                </a:ext>
              </a:extLst>
            </p:cNvPr>
            <p:cNvGrpSpPr/>
            <p:nvPr/>
          </p:nvGrpSpPr>
          <p:grpSpPr>
            <a:xfrm>
              <a:off x="6869150" y="1426295"/>
              <a:ext cx="354148" cy="532193"/>
              <a:chOff x="6869150" y="1426295"/>
              <a:chExt cx="354148" cy="532193"/>
            </a:xfrm>
            <a:grpFill/>
          </p:grpSpPr>
          <p:sp>
            <p:nvSpPr>
              <p:cNvPr id="4482" name="Vrije vorm: vorm 4481">
                <a:extLst>
                  <a:ext uri="{FF2B5EF4-FFF2-40B4-BE49-F238E27FC236}">
                    <a16:creationId xmlns:a16="http://schemas.microsoft.com/office/drawing/2014/main" id="{7F5E1B9B-6651-4275-BA68-95ECE4EBF381}"/>
                  </a:ext>
                </a:extLst>
              </p:cNvPr>
              <p:cNvSpPr/>
              <p:nvPr/>
            </p:nvSpPr>
            <p:spPr>
              <a:xfrm>
                <a:off x="6876773" y="1434217"/>
                <a:ext cx="338867" cy="516315"/>
              </a:xfrm>
              <a:custGeom>
                <a:avLst/>
                <a:gdLst>
                  <a:gd name="connsiteX0" fmla="*/ 338868 w 338867"/>
                  <a:gd name="connsiteY0" fmla="*/ 1675 h 516315"/>
                  <a:gd name="connsiteX1" fmla="*/ 2572 w 338867"/>
                  <a:gd name="connsiteY1" fmla="*/ 516316 h 516315"/>
                  <a:gd name="connsiteX2" fmla="*/ 0 w 338867"/>
                  <a:gd name="connsiteY2" fmla="*/ 514641 h 516315"/>
                  <a:gd name="connsiteX3" fmla="*/ 336356 w 338867"/>
                  <a:gd name="connsiteY3" fmla="*/ 0 h 516315"/>
                </a:gdLst>
                <a:ahLst/>
                <a:cxnLst>
                  <a:cxn ang="0">
                    <a:pos x="connsiteX0" y="connsiteY0"/>
                  </a:cxn>
                  <a:cxn ang="0">
                    <a:pos x="connsiteX1" y="connsiteY1"/>
                  </a:cxn>
                  <a:cxn ang="0">
                    <a:pos x="connsiteX2" y="connsiteY2"/>
                  </a:cxn>
                  <a:cxn ang="0">
                    <a:pos x="connsiteX3" y="connsiteY3"/>
                  </a:cxn>
                </a:cxnLst>
                <a:rect l="l" t="t" r="r" b="b"/>
                <a:pathLst>
                  <a:path w="338867" h="516315">
                    <a:moveTo>
                      <a:pt x="338868" y="1675"/>
                    </a:moveTo>
                    <a:lnTo>
                      <a:pt x="2572" y="516316"/>
                    </a:lnTo>
                    <a:lnTo>
                      <a:pt x="0" y="514641"/>
                    </a:lnTo>
                    <a:lnTo>
                      <a:pt x="336356" y="0"/>
                    </a:lnTo>
                    <a:close/>
                  </a:path>
                </a:pathLst>
              </a:custGeom>
              <a:grpFill/>
              <a:ln w="5978" cap="flat">
                <a:noFill/>
                <a:prstDash val="solid"/>
                <a:miter/>
              </a:ln>
            </p:spPr>
            <p:txBody>
              <a:bodyPr rtlCol="0" anchor="ctr"/>
              <a:lstStyle/>
              <a:p>
                <a:endParaRPr lang="en-GB"/>
              </a:p>
            </p:txBody>
          </p:sp>
          <p:sp>
            <p:nvSpPr>
              <p:cNvPr id="4483" name="Vrije vorm: vorm 4482">
                <a:extLst>
                  <a:ext uri="{FF2B5EF4-FFF2-40B4-BE49-F238E27FC236}">
                    <a16:creationId xmlns:a16="http://schemas.microsoft.com/office/drawing/2014/main" id="{30BFAE8F-FBA1-4AFF-95EC-E753BB5A3933}"/>
                  </a:ext>
                </a:extLst>
              </p:cNvPr>
              <p:cNvSpPr/>
              <p:nvPr/>
            </p:nvSpPr>
            <p:spPr>
              <a:xfrm>
                <a:off x="6869150" y="1940125"/>
                <a:ext cx="18330" cy="18363"/>
              </a:xfrm>
              <a:custGeom>
                <a:avLst/>
                <a:gdLst>
                  <a:gd name="connsiteX0" fmla="*/ 16834 w 18330"/>
                  <a:gd name="connsiteY0" fmla="*/ 14236 h 18363"/>
                  <a:gd name="connsiteX1" fmla="*/ 4155 w 18330"/>
                  <a:gd name="connsiteY1" fmla="*/ 16867 h 18363"/>
                  <a:gd name="connsiteX2" fmla="*/ 1523 w 18330"/>
                  <a:gd name="connsiteY2" fmla="*/ 4128 h 18363"/>
                  <a:gd name="connsiteX3" fmla="*/ 14202 w 18330"/>
                  <a:gd name="connsiteY3" fmla="*/ 1497 h 18363"/>
                  <a:gd name="connsiteX4" fmla="*/ 16834 w 18330"/>
                  <a:gd name="connsiteY4" fmla="*/ 14236 h 1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363">
                    <a:moveTo>
                      <a:pt x="16834" y="14236"/>
                    </a:moveTo>
                    <a:cubicBezTo>
                      <a:pt x="14082" y="18482"/>
                      <a:pt x="8401" y="19618"/>
                      <a:pt x="4155" y="16867"/>
                    </a:cubicBezTo>
                    <a:cubicBezTo>
                      <a:pt x="-92" y="14056"/>
                      <a:pt x="-1288" y="8374"/>
                      <a:pt x="1523" y="4128"/>
                    </a:cubicBezTo>
                    <a:cubicBezTo>
                      <a:pt x="4275" y="-118"/>
                      <a:pt x="9956" y="-1255"/>
                      <a:pt x="14202" y="1497"/>
                    </a:cubicBezTo>
                    <a:cubicBezTo>
                      <a:pt x="18449" y="4308"/>
                      <a:pt x="19585" y="9989"/>
                      <a:pt x="16834" y="14236"/>
                    </a:cubicBezTo>
                    <a:close/>
                  </a:path>
                </a:pathLst>
              </a:custGeom>
              <a:grpFill/>
              <a:ln w="5978" cap="flat">
                <a:noFill/>
                <a:prstDash val="solid"/>
                <a:miter/>
              </a:ln>
            </p:spPr>
            <p:txBody>
              <a:bodyPr rtlCol="0" anchor="ctr"/>
              <a:lstStyle/>
              <a:p>
                <a:endParaRPr lang="en-GB"/>
              </a:p>
            </p:txBody>
          </p:sp>
          <p:sp>
            <p:nvSpPr>
              <p:cNvPr id="4484" name="Vrije vorm: vorm 4483">
                <a:extLst>
                  <a:ext uri="{FF2B5EF4-FFF2-40B4-BE49-F238E27FC236}">
                    <a16:creationId xmlns:a16="http://schemas.microsoft.com/office/drawing/2014/main" id="{46BF702F-3C7F-4E25-AFE5-622AA1899028}"/>
                  </a:ext>
                </a:extLst>
              </p:cNvPr>
              <p:cNvSpPr/>
              <p:nvPr/>
            </p:nvSpPr>
            <p:spPr>
              <a:xfrm>
                <a:off x="7204994" y="1426295"/>
                <a:ext cx="18303" cy="18390"/>
              </a:xfrm>
              <a:custGeom>
                <a:avLst/>
                <a:gdLst>
                  <a:gd name="connsiteX0" fmla="*/ 16808 w 18303"/>
                  <a:gd name="connsiteY0" fmla="*/ 14262 h 18390"/>
                  <a:gd name="connsiteX1" fmla="*/ 14176 w 18303"/>
                  <a:gd name="connsiteY1" fmla="*/ 1523 h 18390"/>
                  <a:gd name="connsiteX2" fmla="*/ 1497 w 18303"/>
                  <a:gd name="connsiteY2" fmla="*/ 4155 h 18390"/>
                  <a:gd name="connsiteX3" fmla="*/ 4128 w 18303"/>
                  <a:gd name="connsiteY3" fmla="*/ 16893 h 18390"/>
                  <a:gd name="connsiteX4" fmla="*/ 16808 w 1830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90">
                    <a:moveTo>
                      <a:pt x="16808" y="14262"/>
                    </a:moveTo>
                    <a:cubicBezTo>
                      <a:pt x="19558" y="10016"/>
                      <a:pt x="18422" y="4274"/>
                      <a:pt x="14176" y="1523"/>
                    </a:cubicBezTo>
                    <a:cubicBezTo>
                      <a:pt x="9930" y="-1288"/>
                      <a:pt x="4247" y="-92"/>
                      <a:pt x="1497" y="4155"/>
                    </a:cubicBezTo>
                    <a:cubicBezTo>
                      <a:pt x="-1254" y="8401"/>
                      <a:pt x="-118" y="14142"/>
                      <a:pt x="4128" y="16893"/>
                    </a:cubicBezTo>
                    <a:cubicBezTo>
                      <a:pt x="8315" y="19645"/>
                      <a:pt x="13996" y="18508"/>
                      <a:pt x="16808" y="14262"/>
                    </a:cubicBezTo>
                    <a:close/>
                  </a:path>
                </a:pathLst>
              </a:custGeom>
              <a:grpFill/>
              <a:ln w="5978" cap="flat">
                <a:noFill/>
                <a:prstDash val="solid"/>
                <a:miter/>
              </a:ln>
            </p:spPr>
            <p:txBody>
              <a:bodyPr rtlCol="0" anchor="ctr"/>
              <a:lstStyle/>
              <a:p>
                <a:endParaRPr lang="en-GB"/>
              </a:p>
            </p:txBody>
          </p:sp>
        </p:grpSp>
        <p:grpSp>
          <p:nvGrpSpPr>
            <p:cNvPr id="300" name="Graphic 3">
              <a:extLst>
                <a:ext uri="{FF2B5EF4-FFF2-40B4-BE49-F238E27FC236}">
                  <a16:creationId xmlns:a16="http://schemas.microsoft.com/office/drawing/2014/main" id="{5969DF0C-F2A3-4D52-98DD-21DAC7ADB0A1}"/>
                </a:ext>
              </a:extLst>
            </p:cNvPr>
            <p:cNvGrpSpPr/>
            <p:nvPr/>
          </p:nvGrpSpPr>
          <p:grpSpPr>
            <a:xfrm>
              <a:off x="7654133" y="3886682"/>
              <a:ext cx="281421" cy="132690"/>
              <a:chOff x="7654133" y="3886682"/>
              <a:chExt cx="281421" cy="132690"/>
            </a:xfrm>
            <a:grpFill/>
          </p:grpSpPr>
          <p:sp>
            <p:nvSpPr>
              <p:cNvPr id="4479" name="Vrije vorm: vorm 4478">
                <a:extLst>
                  <a:ext uri="{FF2B5EF4-FFF2-40B4-BE49-F238E27FC236}">
                    <a16:creationId xmlns:a16="http://schemas.microsoft.com/office/drawing/2014/main" id="{D6139307-0948-481F-B431-6A753CB139C7}"/>
                  </a:ext>
                </a:extLst>
              </p:cNvPr>
              <p:cNvSpPr/>
              <p:nvPr/>
            </p:nvSpPr>
            <p:spPr>
              <a:xfrm>
                <a:off x="7662281" y="3894327"/>
                <a:ext cx="265125" cy="117461"/>
              </a:xfrm>
              <a:custGeom>
                <a:avLst/>
                <a:gdLst>
                  <a:gd name="connsiteX0" fmla="*/ 265126 w 265125"/>
                  <a:gd name="connsiteY0" fmla="*/ 114650 h 117461"/>
                  <a:gd name="connsiteX1" fmla="*/ 263929 w 265125"/>
                  <a:gd name="connsiteY1" fmla="*/ 117461 h 117461"/>
                  <a:gd name="connsiteX2" fmla="*/ 0 w 265125"/>
                  <a:gd name="connsiteY2" fmla="*/ 2811 h 117461"/>
                  <a:gd name="connsiteX3" fmla="*/ 1197 w 265125"/>
                  <a:gd name="connsiteY3" fmla="*/ 0 h 117461"/>
                </a:gdLst>
                <a:ahLst/>
                <a:cxnLst>
                  <a:cxn ang="0">
                    <a:pos x="connsiteX0" y="connsiteY0"/>
                  </a:cxn>
                  <a:cxn ang="0">
                    <a:pos x="connsiteX1" y="connsiteY1"/>
                  </a:cxn>
                  <a:cxn ang="0">
                    <a:pos x="connsiteX2" y="connsiteY2"/>
                  </a:cxn>
                  <a:cxn ang="0">
                    <a:pos x="connsiteX3" y="connsiteY3"/>
                  </a:cxn>
                </a:cxnLst>
                <a:rect l="l" t="t" r="r" b="b"/>
                <a:pathLst>
                  <a:path w="265125" h="117461">
                    <a:moveTo>
                      <a:pt x="265126" y="114650"/>
                    </a:moveTo>
                    <a:lnTo>
                      <a:pt x="263929" y="117461"/>
                    </a:lnTo>
                    <a:lnTo>
                      <a:pt x="0" y="2811"/>
                    </a:lnTo>
                    <a:lnTo>
                      <a:pt x="1197" y="0"/>
                    </a:lnTo>
                    <a:close/>
                  </a:path>
                </a:pathLst>
              </a:custGeom>
              <a:grpFill/>
              <a:ln w="5978" cap="flat">
                <a:noFill/>
                <a:prstDash val="solid"/>
                <a:miter/>
              </a:ln>
            </p:spPr>
            <p:txBody>
              <a:bodyPr rtlCol="0" anchor="ctr"/>
              <a:lstStyle/>
              <a:p>
                <a:endParaRPr lang="en-GB"/>
              </a:p>
            </p:txBody>
          </p:sp>
          <p:sp>
            <p:nvSpPr>
              <p:cNvPr id="4480" name="Vrije vorm: vorm 4479">
                <a:extLst>
                  <a:ext uri="{FF2B5EF4-FFF2-40B4-BE49-F238E27FC236}">
                    <a16:creationId xmlns:a16="http://schemas.microsoft.com/office/drawing/2014/main" id="{A4593326-67F0-4181-B561-DCBFECF71154}"/>
                  </a:ext>
                </a:extLst>
              </p:cNvPr>
              <p:cNvSpPr/>
              <p:nvPr/>
            </p:nvSpPr>
            <p:spPr>
              <a:xfrm>
                <a:off x="7654133" y="3886682"/>
                <a:ext cx="18329" cy="18433"/>
              </a:xfrm>
              <a:custGeom>
                <a:avLst/>
                <a:gdLst>
                  <a:gd name="connsiteX0" fmla="*/ 5576 w 18329"/>
                  <a:gd name="connsiteY0" fmla="*/ 17692 h 18433"/>
                  <a:gd name="connsiteX1" fmla="*/ 732 w 18329"/>
                  <a:gd name="connsiteY1" fmla="*/ 5551 h 18433"/>
                  <a:gd name="connsiteX2" fmla="*/ 12753 w 18329"/>
                  <a:gd name="connsiteY2" fmla="*/ 767 h 18433"/>
                  <a:gd name="connsiteX3" fmla="*/ 17598 w 18329"/>
                  <a:gd name="connsiteY3" fmla="*/ 12908 h 18433"/>
                  <a:gd name="connsiteX4" fmla="*/ 5576 w 18329"/>
                  <a:gd name="connsiteY4" fmla="*/ 17692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3">
                    <a:moveTo>
                      <a:pt x="5576" y="17692"/>
                    </a:moveTo>
                    <a:cubicBezTo>
                      <a:pt x="911" y="15659"/>
                      <a:pt x="-1242" y="10276"/>
                      <a:pt x="732" y="5551"/>
                    </a:cubicBezTo>
                    <a:cubicBezTo>
                      <a:pt x="2706" y="886"/>
                      <a:pt x="8088" y="-1267"/>
                      <a:pt x="12753" y="767"/>
                    </a:cubicBezTo>
                    <a:cubicBezTo>
                      <a:pt x="17418" y="2800"/>
                      <a:pt x="19571" y="8183"/>
                      <a:pt x="17598" y="12908"/>
                    </a:cubicBezTo>
                    <a:cubicBezTo>
                      <a:pt x="15624" y="17572"/>
                      <a:pt x="10182" y="19666"/>
                      <a:pt x="5576" y="17692"/>
                    </a:cubicBezTo>
                    <a:close/>
                  </a:path>
                </a:pathLst>
              </a:custGeom>
              <a:grpFill/>
              <a:ln w="5978" cap="flat">
                <a:noFill/>
                <a:prstDash val="solid"/>
                <a:miter/>
              </a:ln>
            </p:spPr>
            <p:txBody>
              <a:bodyPr rtlCol="0" anchor="ctr"/>
              <a:lstStyle/>
              <a:p>
                <a:endParaRPr lang="en-GB"/>
              </a:p>
            </p:txBody>
          </p:sp>
          <p:sp>
            <p:nvSpPr>
              <p:cNvPr id="4481" name="Vrije vorm: vorm 4480">
                <a:extLst>
                  <a:ext uri="{FF2B5EF4-FFF2-40B4-BE49-F238E27FC236}">
                    <a16:creationId xmlns:a16="http://schemas.microsoft.com/office/drawing/2014/main" id="{AC3B75C6-197E-49B4-A106-9009758A331C}"/>
                  </a:ext>
                </a:extLst>
              </p:cNvPr>
              <p:cNvSpPr/>
              <p:nvPr/>
            </p:nvSpPr>
            <p:spPr>
              <a:xfrm>
                <a:off x="7917225" y="4000914"/>
                <a:ext cx="18329" cy="18458"/>
              </a:xfrm>
              <a:custGeom>
                <a:avLst/>
                <a:gdLst>
                  <a:gd name="connsiteX0" fmla="*/ 5576 w 18329"/>
                  <a:gd name="connsiteY0" fmla="*/ 17692 h 18458"/>
                  <a:gd name="connsiteX1" fmla="*/ 17598 w 18329"/>
                  <a:gd name="connsiteY1" fmla="*/ 12907 h 18458"/>
                  <a:gd name="connsiteX2" fmla="*/ 12753 w 18329"/>
                  <a:gd name="connsiteY2" fmla="*/ 767 h 18458"/>
                  <a:gd name="connsiteX3" fmla="*/ 732 w 18329"/>
                  <a:gd name="connsiteY3" fmla="*/ 5551 h 18458"/>
                  <a:gd name="connsiteX4" fmla="*/ 5576 w 18329"/>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8">
                    <a:moveTo>
                      <a:pt x="5576" y="17692"/>
                    </a:moveTo>
                    <a:cubicBezTo>
                      <a:pt x="10241" y="19726"/>
                      <a:pt x="15624" y="17573"/>
                      <a:pt x="17598" y="12907"/>
                    </a:cubicBezTo>
                    <a:cubicBezTo>
                      <a:pt x="19571" y="8243"/>
                      <a:pt x="17418" y="2800"/>
                      <a:pt x="12753" y="767"/>
                    </a:cubicBezTo>
                    <a:cubicBezTo>
                      <a:pt x="8088" y="-1267"/>
                      <a:pt x="2706" y="886"/>
                      <a:pt x="732" y="5551"/>
                    </a:cubicBezTo>
                    <a:cubicBezTo>
                      <a:pt x="-1242" y="10276"/>
                      <a:pt x="911" y="15719"/>
                      <a:pt x="5576" y="17692"/>
                    </a:cubicBezTo>
                    <a:close/>
                  </a:path>
                </a:pathLst>
              </a:custGeom>
              <a:grpFill/>
              <a:ln w="5978" cap="flat">
                <a:noFill/>
                <a:prstDash val="solid"/>
                <a:miter/>
              </a:ln>
            </p:spPr>
            <p:txBody>
              <a:bodyPr rtlCol="0" anchor="ctr"/>
              <a:lstStyle/>
              <a:p>
                <a:endParaRPr lang="en-GB"/>
              </a:p>
            </p:txBody>
          </p:sp>
        </p:grpSp>
        <p:grpSp>
          <p:nvGrpSpPr>
            <p:cNvPr id="301" name="Graphic 3">
              <a:extLst>
                <a:ext uri="{FF2B5EF4-FFF2-40B4-BE49-F238E27FC236}">
                  <a16:creationId xmlns:a16="http://schemas.microsoft.com/office/drawing/2014/main" id="{F476E07E-0027-448C-B673-09A1CE125744}"/>
                </a:ext>
              </a:extLst>
            </p:cNvPr>
            <p:cNvGrpSpPr/>
            <p:nvPr/>
          </p:nvGrpSpPr>
          <p:grpSpPr>
            <a:xfrm>
              <a:off x="7628337" y="4010462"/>
              <a:ext cx="460822" cy="228878"/>
              <a:chOff x="7628337" y="4010462"/>
              <a:chExt cx="460822" cy="228878"/>
            </a:xfrm>
            <a:grpFill/>
          </p:grpSpPr>
          <p:sp>
            <p:nvSpPr>
              <p:cNvPr id="4476" name="Vrije vorm: vorm 4475">
                <a:extLst>
                  <a:ext uri="{FF2B5EF4-FFF2-40B4-BE49-F238E27FC236}">
                    <a16:creationId xmlns:a16="http://schemas.microsoft.com/office/drawing/2014/main" id="{3EC52143-C68C-4885-8137-0CF119E51EEE}"/>
                  </a:ext>
                </a:extLst>
              </p:cNvPr>
              <p:cNvSpPr/>
              <p:nvPr/>
            </p:nvSpPr>
            <p:spPr>
              <a:xfrm>
                <a:off x="7636445" y="4018128"/>
                <a:ext cx="444606" cy="213631"/>
              </a:xfrm>
              <a:custGeom>
                <a:avLst/>
                <a:gdLst>
                  <a:gd name="connsiteX0" fmla="*/ 444607 w 444606"/>
                  <a:gd name="connsiteY0" fmla="*/ 210820 h 213631"/>
                  <a:gd name="connsiteX1" fmla="*/ 443291 w 444606"/>
                  <a:gd name="connsiteY1" fmla="*/ 213631 h 213631"/>
                  <a:gd name="connsiteX2" fmla="*/ 0 w 444606"/>
                  <a:gd name="connsiteY2" fmla="*/ 2751 h 213631"/>
                  <a:gd name="connsiteX3" fmla="*/ 1316 w 444606"/>
                  <a:gd name="connsiteY3" fmla="*/ 0 h 213631"/>
                </a:gdLst>
                <a:ahLst/>
                <a:cxnLst>
                  <a:cxn ang="0">
                    <a:pos x="connsiteX0" y="connsiteY0"/>
                  </a:cxn>
                  <a:cxn ang="0">
                    <a:pos x="connsiteX1" y="connsiteY1"/>
                  </a:cxn>
                  <a:cxn ang="0">
                    <a:pos x="connsiteX2" y="connsiteY2"/>
                  </a:cxn>
                  <a:cxn ang="0">
                    <a:pos x="connsiteX3" y="connsiteY3"/>
                  </a:cxn>
                </a:cxnLst>
                <a:rect l="l" t="t" r="r" b="b"/>
                <a:pathLst>
                  <a:path w="444606" h="213631">
                    <a:moveTo>
                      <a:pt x="444607" y="210820"/>
                    </a:moveTo>
                    <a:lnTo>
                      <a:pt x="443291" y="213631"/>
                    </a:lnTo>
                    <a:lnTo>
                      <a:pt x="0" y="2751"/>
                    </a:lnTo>
                    <a:lnTo>
                      <a:pt x="1316" y="0"/>
                    </a:lnTo>
                    <a:close/>
                  </a:path>
                </a:pathLst>
              </a:custGeom>
              <a:grpFill/>
              <a:ln w="5978" cap="flat">
                <a:noFill/>
                <a:prstDash val="solid"/>
                <a:miter/>
              </a:ln>
            </p:spPr>
            <p:txBody>
              <a:bodyPr rtlCol="0" anchor="ctr"/>
              <a:lstStyle/>
              <a:p>
                <a:endParaRPr lang="en-GB"/>
              </a:p>
            </p:txBody>
          </p:sp>
          <p:sp>
            <p:nvSpPr>
              <p:cNvPr id="4477" name="Vrije vorm: vorm 4476">
                <a:extLst>
                  <a:ext uri="{FF2B5EF4-FFF2-40B4-BE49-F238E27FC236}">
                    <a16:creationId xmlns:a16="http://schemas.microsoft.com/office/drawing/2014/main" id="{0E276C16-C619-4A13-98D2-0F70E8B88811}"/>
                  </a:ext>
                </a:extLst>
              </p:cNvPr>
              <p:cNvSpPr/>
              <p:nvPr/>
            </p:nvSpPr>
            <p:spPr>
              <a:xfrm>
                <a:off x="7628337" y="4010462"/>
                <a:ext cx="18368" cy="18442"/>
              </a:xfrm>
              <a:custGeom>
                <a:avLst/>
                <a:gdLst>
                  <a:gd name="connsiteX0" fmla="*/ 5297 w 18368"/>
                  <a:gd name="connsiteY0" fmla="*/ 17534 h 18442"/>
                  <a:gd name="connsiteX1" fmla="*/ 871 w 18368"/>
                  <a:gd name="connsiteY1" fmla="*/ 5274 h 18442"/>
                  <a:gd name="connsiteX2" fmla="*/ 13072 w 18368"/>
                  <a:gd name="connsiteY2" fmla="*/ 908 h 18442"/>
                  <a:gd name="connsiteX3" fmla="*/ 17497 w 18368"/>
                  <a:gd name="connsiteY3" fmla="*/ 13169 h 18442"/>
                  <a:gd name="connsiteX4" fmla="*/ 5297 w 18368"/>
                  <a:gd name="connsiteY4" fmla="*/ 1753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2">
                    <a:moveTo>
                      <a:pt x="5297" y="17534"/>
                    </a:moveTo>
                    <a:cubicBezTo>
                      <a:pt x="692" y="15382"/>
                      <a:pt x="-1282" y="9879"/>
                      <a:pt x="871" y="5274"/>
                    </a:cubicBezTo>
                    <a:cubicBezTo>
                      <a:pt x="3024" y="669"/>
                      <a:pt x="8466" y="-1305"/>
                      <a:pt x="13072" y="908"/>
                    </a:cubicBezTo>
                    <a:cubicBezTo>
                      <a:pt x="17677" y="3061"/>
                      <a:pt x="19650" y="8563"/>
                      <a:pt x="17497" y="13169"/>
                    </a:cubicBezTo>
                    <a:cubicBezTo>
                      <a:pt x="15344" y="17774"/>
                      <a:pt x="9843" y="19747"/>
                      <a:pt x="5297" y="17534"/>
                    </a:cubicBezTo>
                    <a:close/>
                  </a:path>
                </a:pathLst>
              </a:custGeom>
              <a:grpFill/>
              <a:ln w="5978" cap="flat">
                <a:noFill/>
                <a:prstDash val="solid"/>
                <a:miter/>
              </a:ln>
            </p:spPr>
            <p:txBody>
              <a:bodyPr rtlCol="0" anchor="ctr"/>
              <a:lstStyle/>
              <a:p>
                <a:endParaRPr lang="en-GB"/>
              </a:p>
            </p:txBody>
          </p:sp>
          <p:sp>
            <p:nvSpPr>
              <p:cNvPr id="4478" name="Vrije vorm: vorm 4477">
                <a:extLst>
                  <a:ext uri="{FF2B5EF4-FFF2-40B4-BE49-F238E27FC236}">
                    <a16:creationId xmlns:a16="http://schemas.microsoft.com/office/drawing/2014/main" id="{881126E8-C580-4EE1-A6EB-EF84B270E2B4}"/>
                  </a:ext>
                </a:extLst>
              </p:cNvPr>
              <p:cNvSpPr/>
              <p:nvPr/>
            </p:nvSpPr>
            <p:spPr>
              <a:xfrm>
                <a:off x="8070791" y="4220949"/>
                <a:ext cx="18368" cy="18390"/>
              </a:xfrm>
              <a:custGeom>
                <a:avLst/>
                <a:gdLst>
                  <a:gd name="connsiteX0" fmla="*/ 5297 w 18368"/>
                  <a:gd name="connsiteY0" fmla="*/ 17509 h 18390"/>
                  <a:gd name="connsiteX1" fmla="*/ 17497 w 18368"/>
                  <a:gd name="connsiteY1" fmla="*/ 13143 h 18390"/>
                  <a:gd name="connsiteX2" fmla="*/ 13071 w 18368"/>
                  <a:gd name="connsiteY2" fmla="*/ 882 h 18390"/>
                  <a:gd name="connsiteX3" fmla="*/ 871 w 18368"/>
                  <a:gd name="connsiteY3" fmla="*/ 5248 h 18390"/>
                  <a:gd name="connsiteX4" fmla="*/ 5297 w 18368"/>
                  <a:gd name="connsiteY4" fmla="*/ 17509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390">
                    <a:moveTo>
                      <a:pt x="5297" y="17509"/>
                    </a:moveTo>
                    <a:cubicBezTo>
                      <a:pt x="9902" y="19662"/>
                      <a:pt x="15344" y="17748"/>
                      <a:pt x="17497" y="13143"/>
                    </a:cubicBezTo>
                    <a:cubicBezTo>
                      <a:pt x="19651" y="8537"/>
                      <a:pt x="17677" y="3035"/>
                      <a:pt x="13071" y="882"/>
                    </a:cubicBezTo>
                    <a:cubicBezTo>
                      <a:pt x="8467" y="-1271"/>
                      <a:pt x="3024" y="643"/>
                      <a:pt x="871" y="5248"/>
                    </a:cubicBezTo>
                    <a:cubicBezTo>
                      <a:pt x="-1282" y="9853"/>
                      <a:pt x="692" y="15356"/>
                      <a:pt x="5297" y="17509"/>
                    </a:cubicBezTo>
                    <a:close/>
                  </a:path>
                </a:pathLst>
              </a:custGeom>
              <a:grpFill/>
              <a:ln w="5978" cap="flat">
                <a:noFill/>
                <a:prstDash val="solid"/>
                <a:miter/>
              </a:ln>
            </p:spPr>
            <p:txBody>
              <a:bodyPr rtlCol="0" anchor="ctr"/>
              <a:lstStyle/>
              <a:p>
                <a:endParaRPr lang="en-GB"/>
              </a:p>
            </p:txBody>
          </p:sp>
        </p:grpSp>
        <p:grpSp>
          <p:nvGrpSpPr>
            <p:cNvPr id="302" name="Graphic 3">
              <a:extLst>
                <a:ext uri="{FF2B5EF4-FFF2-40B4-BE49-F238E27FC236}">
                  <a16:creationId xmlns:a16="http://schemas.microsoft.com/office/drawing/2014/main" id="{7DAE4179-F528-4C62-9C1B-CE54BF85EFD8}"/>
                </a:ext>
              </a:extLst>
            </p:cNvPr>
            <p:cNvGrpSpPr/>
            <p:nvPr/>
          </p:nvGrpSpPr>
          <p:grpSpPr>
            <a:xfrm>
              <a:off x="7635621" y="3979566"/>
              <a:ext cx="430584" cy="207444"/>
              <a:chOff x="7635621" y="3979566"/>
              <a:chExt cx="430584" cy="207444"/>
            </a:xfrm>
            <a:grpFill/>
          </p:grpSpPr>
          <p:sp>
            <p:nvSpPr>
              <p:cNvPr id="4473" name="Vrije vorm: vorm 4472">
                <a:extLst>
                  <a:ext uri="{FF2B5EF4-FFF2-40B4-BE49-F238E27FC236}">
                    <a16:creationId xmlns:a16="http://schemas.microsoft.com/office/drawing/2014/main" id="{A0A0AC84-3C5D-4437-8BF5-D1CF85072B09}"/>
                  </a:ext>
                </a:extLst>
              </p:cNvPr>
              <p:cNvSpPr/>
              <p:nvPr/>
            </p:nvSpPr>
            <p:spPr>
              <a:xfrm>
                <a:off x="7643741" y="3987208"/>
                <a:ext cx="414284" cy="192160"/>
              </a:xfrm>
              <a:custGeom>
                <a:avLst/>
                <a:gdLst>
                  <a:gd name="connsiteX0" fmla="*/ 414285 w 414284"/>
                  <a:gd name="connsiteY0" fmla="*/ 189409 h 192160"/>
                  <a:gd name="connsiteX1" fmla="*/ 413029 w 414284"/>
                  <a:gd name="connsiteY1" fmla="*/ 192160 h 192160"/>
                  <a:gd name="connsiteX2" fmla="*/ 0 w 414284"/>
                  <a:gd name="connsiteY2" fmla="*/ 2751 h 192160"/>
                  <a:gd name="connsiteX3" fmla="*/ 1256 w 414284"/>
                  <a:gd name="connsiteY3" fmla="*/ 0 h 192160"/>
                </a:gdLst>
                <a:ahLst/>
                <a:cxnLst>
                  <a:cxn ang="0">
                    <a:pos x="connsiteX0" y="connsiteY0"/>
                  </a:cxn>
                  <a:cxn ang="0">
                    <a:pos x="connsiteX1" y="connsiteY1"/>
                  </a:cxn>
                  <a:cxn ang="0">
                    <a:pos x="connsiteX2" y="connsiteY2"/>
                  </a:cxn>
                  <a:cxn ang="0">
                    <a:pos x="connsiteX3" y="connsiteY3"/>
                  </a:cxn>
                </a:cxnLst>
                <a:rect l="l" t="t" r="r" b="b"/>
                <a:pathLst>
                  <a:path w="414284" h="192160">
                    <a:moveTo>
                      <a:pt x="414285" y="189409"/>
                    </a:moveTo>
                    <a:lnTo>
                      <a:pt x="413029" y="192160"/>
                    </a:lnTo>
                    <a:lnTo>
                      <a:pt x="0" y="2751"/>
                    </a:lnTo>
                    <a:lnTo>
                      <a:pt x="1256" y="0"/>
                    </a:lnTo>
                    <a:close/>
                  </a:path>
                </a:pathLst>
              </a:custGeom>
              <a:grpFill/>
              <a:ln w="5978" cap="flat">
                <a:noFill/>
                <a:prstDash val="solid"/>
                <a:miter/>
              </a:ln>
            </p:spPr>
            <p:txBody>
              <a:bodyPr rtlCol="0" anchor="ctr"/>
              <a:lstStyle/>
              <a:p>
                <a:endParaRPr lang="en-GB"/>
              </a:p>
            </p:txBody>
          </p:sp>
          <p:sp>
            <p:nvSpPr>
              <p:cNvPr id="4474" name="Vrije vorm: vorm 4473">
                <a:extLst>
                  <a:ext uri="{FF2B5EF4-FFF2-40B4-BE49-F238E27FC236}">
                    <a16:creationId xmlns:a16="http://schemas.microsoft.com/office/drawing/2014/main" id="{BB020812-D0FC-4969-A97B-52776BE73248}"/>
                  </a:ext>
                </a:extLst>
              </p:cNvPr>
              <p:cNvSpPr/>
              <p:nvPr/>
            </p:nvSpPr>
            <p:spPr>
              <a:xfrm>
                <a:off x="7635621" y="3979566"/>
                <a:ext cx="18333" cy="18419"/>
              </a:xfrm>
              <a:custGeom>
                <a:avLst/>
                <a:gdLst>
                  <a:gd name="connsiteX0" fmla="*/ 5369 w 18333"/>
                  <a:gd name="connsiteY0" fmla="*/ 17570 h 18419"/>
                  <a:gd name="connsiteX1" fmla="*/ 824 w 18333"/>
                  <a:gd name="connsiteY1" fmla="*/ 5369 h 18419"/>
                  <a:gd name="connsiteX2" fmla="*/ 12965 w 18333"/>
                  <a:gd name="connsiteY2" fmla="*/ 824 h 18419"/>
                  <a:gd name="connsiteX3" fmla="*/ 17510 w 18333"/>
                  <a:gd name="connsiteY3" fmla="*/ 13024 h 18419"/>
                  <a:gd name="connsiteX4" fmla="*/ 5369 w 18333"/>
                  <a:gd name="connsiteY4" fmla="*/ 1757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9">
                    <a:moveTo>
                      <a:pt x="5369" y="17570"/>
                    </a:moveTo>
                    <a:cubicBezTo>
                      <a:pt x="764" y="15477"/>
                      <a:pt x="-1269" y="9974"/>
                      <a:pt x="824" y="5369"/>
                    </a:cubicBezTo>
                    <a:cubicBezTo>
                      <a:pt x="2917" y="764"/>
                      <a:pt x="8359" y="-1270"/>
                      <a:pt x="12965" y="824"/>
                    </a:cubicBezTo>
                    <a:cubicBezTo>
                      <a:pt x="17569" y="2917"/>
                      <a:pt x="19603" y="8419"/>
                      <a:pt x="17510" y="13024"/>
                    </a:cubicBezTo>
                    <a:cubicBezTo>
                      <a:pt x="15416" y="17630"/>
                      <a:pt x="10034" y="19723"/>
                      <a:pt x="5369" y="17570"/>
                    </a:cubicBezTo>
                    <a:close/>
                  </a:path>
                </a:pathLst>
              </a:custGeom>
              <a:grpFill/>
              <a:ln w="5978" cap="flat">
                <a:noFill/>
                <a:prstDash val="solid"/>
                <a:miter/>
              </a:ln>
            </p:spPr>
            <p:txBody>
              <a:bodyPr rtlCol="0" anchor="ctr"/>
              <a:lstStyle/>
              <a:p>
                <a:endParaRPr lang="en-GB"/>
              </a:p>
            </p:txBody>
          </p:sp>
          <p:sp>
            <p:nvSpPr>
              <p:cNvPr id="4475" name="Vrije vorm: vorm 4474">
                <a:extLst>
                  <a:ext uri="{FF2B5EF4-FFF2-40B4-BE49-F238E27FC236}">
                    <a16:creationId xmlns:a16="http://schemas.microsoft.com/office/drawing/2014/main" id="{B975EAF9-4C7C-4550-8763-7C2B3C402371}"/>
                  </a:ext>
                </a:extLst>
              </p:cNvPr>
              <p:cNvSpPr/>
              <p:nvPr/>
            </p:nvSpPr>
            <p:spPr>
              <a:xfrm>
                <a:off x="8047846" y="4168617"/>
                <a:ext cx="18359" cy="18393"/>
              </a:xfrm>
              <a:custGeom>
                <a:avLst/>
                <a:gdLst>
                  <a:gd name="connsiteX0" fmla="*/ 5395 w 18359"/>
                  <a:gd name="connsiteY0" fmla="*/ 17570 h 18393"/>
                  <a:gd name="connsiteX1" fmla="*/ 17536 w 18359"/>
                  <a:gd name="connsiteY1" fmla="*/ 13024 h 18393"/>
                  <a:gd name="connsiteX2" fmla="*/ 12990 w 18359"/>
                  <a:gd name="connsiteY2" fmla="*/ 824 h 18393"/>
                  <a:gd name="connsiteX3" fmla="*/ 849 w 18359"/>
                  <a:gd name="connsiteY3" fmla="*/ 5369 h 18393"/>
                  <a:gd name="connsiteX4" fmla="*/ 5395 w 18359"/>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93">
                    <a:moveTo>
                      <a:pt x="5395" y="17570"/>
                    </a:moveTo>
                    <a:cubicBezTo>
                      <a:pt x="10000" y="19663"/>
                      <a:pt x="15443" y="17629"/>
                      <a:pt x="17536" y="13024"/>
                    </a:cubicBezTo>
                    <a:cubicBezTo>
                      <a:pt x="19629" y="8419"/>
                      <a:pt x="17596" y="2917"/>
                      <a:pt x="12990" y="824"/>
                    </a:cubicBezTo>
                    <a:cubicBezTo>
                      <a:pt x="8385" y="-1269"/>
                      <a:pt x="2943" y="764"/>
                      <a:pt x="849" y="5369"/>
                    </a:cubicBezTo>
                    <a:cubicBezTo>
                      <a:pt x="-1304" y="9974"/>
                      <a:pt x="790" y="15477"/>
                      <a:pt x="5395" y="17570"/>
                    </a:cubicBezTo>
                    <a:close/>
                  </a:path>
                </a:pathLst>
              </a:custGeom>
              <a:grpFill/>
              <a:ln w="5978" cap="flat">
                <a:noFill/>
                <a:prstDash val="solid"/>
                <a:miter/>
              </a:ln>
            </p:spPr>
            <p:txBody>
              <a:bodyPr rtlCol="0" anchor="ctr"/>
              <a:lstStyle/>
              <a:p>
                <a:endParaRPr lang="en-GB"/>
              </a:p>
            </p:txBody>
          </p:sp>
        </p:grpSp>
        <p:grpSp>
          <p:nvGrpSpPr>
            <p:cNvPr id="303" name="Graphic 3">
              <a:extLst>
                <a:ext uri="{FF2B5EF4-FFF2-40B4-BE49-F238E27FC236}">
                  <a16:creationId xmlns:a16="http://schemas.microsoft.com/office/drawing/2014/main" id="{845BCB46-428B-4848-8E67-5CF09B43F11D}"/>
                </a:ext>
              </a:extLst>
            </p:cNvPr>
            <p:cNvGrpSpPr/>
            <p:nvPr/>
          </p:nvGrpSpPr>
          <p:grpSpPr>
            <a:xfrm>
              <a:off x="6764262" y="1030479"/>
              <a:ext cx="302054" cy="691663"/>
              <a:chOff x="6764262" y="1030479"/>
              <a:chExt cx="302054" cy="691663"/>
            </a:xfrm>
            <a:grpFill/>
          </p:grpSpPr>
          <p:sp>
            <p:nvSpPr>
              <p:cNvPr id="4470" name="Vrije vorm: vorm 4469">
                <a:extLst>
                  <a:ext uri="{FF2B5EF4-FFF2-40B4-BE49-F238E27FC236}">
                    <a16:creationId xmlns:a16="http://schemas.microsoft.com/office/drawing/2014/main" id="{AAA8D342-3BA4-4576-88D6-EE7C5B0ADFA7}"/>
                  </a:ext>
                </a:extLst>
              </p:cNvPr>
              <p:cNvSpPr/>
              <p:nvPr/>
            </p:nvSpPr>
            <p:spPr>
              <a:xfrm>
                <a:off x="6771812" y="1038652"/>
                <a:ext cx="286955" cy="675283"/>
              </a:xfrm>
              <a:custGeom>
                <a:avLst/>
                <a:gdLst>
                  <a:gd name="connsiteX0" fmla="*/ 286955 w 286955"/>
                  <a:gd name="connsiteY0" fmla="*/ 1196 h 675283"/>
                  <a:gd name="connsiteX1" fmla="*/ 2811 w 286955"/>
                  <a:gd name="connsiteY1" fmla="*/ 675283 h 675283"/>
                  <a:gd name="connsiteX2" fmla="*/ 0 w 286955"/>
                  <a:gd name="connsiteY2" fmla="*/ 674087 h 675283"/>
                  <a:gd name="connsiteX3" fmla="*/ 284144 w 286955"/>
                  <a:gd name="connsiteY3" fmla="*/ 0 h 675283"/>
                </a:gdLst>
                <a:ahLst/>
                <a:cxnLst>
                  <a:cxn ang="0">
                    <a:pos x="connsiteX0" y="connsiteY0"/>
                  </a:cxn>
                  <a:cxn ang="0">
                    <a:pos x="connsiteX1" y="connsiteY1"/>
                  </a:cxn>
                  <a:cxn ang="0">
                    <a:pos x="connsiteX2" y="connsiteY2"/>
                  </a:cxn>
                  <a:cxn ang="0">
                    <a:pos x="connsiteX3" y="connsiteY3"/>
                  </a:cxn>
                </a:cxnLst>
                <a:rect l="l" t="t" r="r" b="b"/>
                <a:pathLst>
                  <a:path w="286955" h="675283">
                    <a:moveTo>
                      <a:pt x="286955" y="1196"/>
                    </a:moveTo>
                    <a:lnTo>
                      <a:pt x="2811" y="675283"/>
                    </a:lnTo>
                    <a:lnTo>
                      <a:pt x="0" y="674087"/>
                    </a:lnTo>
                    <a:lnTo>
                      <a:pt x="284144" y="0"/>
                    </a:lnTo>
                    <a:close/>
                  </a:path>
                </a:pathLst>
              </a:custGeom>
              <a:grpFill/>
              <a:ln w="5978" cap="flat">
                <a:noFill/>
                <a:prstDash val="solid"/>
                <a:miter/>
              </a:ln>
            </p:spPr>
            <p:txBody>
              <a:bodyPr rtlCol="0" anchor="ctr"/>
              <a:lstStyle/>
              <a:p>
                <a:endParaRPr lang="en-GB"/>
              </a:p>
            </p:txBody>
          </p:sp>
          <p:sp>
            <p:nvSpPr>
              <p:cNvPr id="4471" name="Vrije vorm: vorm 4470">
                <a:extLst>
                  <a:ext uri="{FF2B5EF4-FFF2-40B4-BE49-F238E27FC236}">
                    <a16:creationId xmlns:a16="http://schemas.microsoft.com/office/drawing/2014/main" id="{2D4AD552-9750-47F9-AB0C-741BEB8448FC}"/>
                  </a:ext>
                </a:extLst>
              </p:cNvPr>
              <p:cNvSpPr/>
              <p:nvPr/>
            </p:nvSpPr>
            <p:spPr>
              <a:xfrm>
                <a:off x="7048021" y="1030479"/>
                <a:ext cx="18295" cy="18439"/>
              </a:xfrm>
              <a:custGeom>
                <a:avLst/>
                <a:gdLst>
                  <a:gd name="connsiteX0" fmla="*/ 698 w 18295"/>
                  <a:gd name="connsiteY0" fmla="*/ 5601 h 18439"/>
                  <a:gd name="connsiteX1" fmla="*/ 12719 w 18295"/>
                  <a:gd name="connsiteY1" fmla="*/ 757 h 18439"/>
                  <a:gd name="connsiteX2" fmla="*/ 17563 w 18295"/>
                  <a:gd name="connsiteY2" fmla="*/ 12838 h 18439"/>
                  <a:gd name="connsiteX3" fmla="*/ 5543 w 18295"/>
                  <a:gd name="connsiteY3" fmla="*/ 17682 h 18439"/>
                  <a:gd name="connsiteX4" fmla="*/ 698 w 18295"/>
                  <a:gd name="connsiteY4" fmla="*/ 5601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39">
                    <a:moveTo>
                      <a:pt x="698" y="5601"/>
                    </a:moveTo>
                    <a:cubicBezTo>
                      <a:pt x="2671" y="936"/>
                      <a:pt x="8054" y="-1276"/>
                      <a:pt x="12719" y="757"/>
                    </a:cubicBezTo>
                    <a:cubicBezTo>
                      <a:pt x="17384" y="2731"/>
                      <a:pt x="19537" y="8173"/>
                      <a:pt x="17563" y="12838"/>
                    </a:cubicBezTo>
                    <a:cubicBezTo>
                      <a:pt x="15590" y="17503"/>
                      <a:pt x="10207" y="19716"/>
                      <a:pt x="5543" y="17682"/>
                    </a:cubicBezTo>
                    <a:cubicBezTo>
                      <a:pt x="937" y="15649"/>
                      <a:pt x="-1216" y="10266"/>
                      <a:pt x="698" y="5601"/>
                    </a:cubicBezTo>
                    <a:close/>
                  </a:path>
                </a:pathLst>
              </a:custGeom>
              <a:grpFill/>
              <a:ln w="5978" cap="flat">
                <a:noFill/>
                <a:prstDash val="solid"/>
                <a:miter/>
              </a:ln>
            </p:spPr>
            <p:txBody>
              <a:bodyPr rtlCol="0" anchor="ctr"/>
              <a:lstStyle/>
              <a:p>
                <a:endParaRPr lang="en-GB"/>
              </a:p>
            </p:txBody>
          </p:sp>
          <p:sp>
            <p:nvSpPr>
              <p:cNvPr id="4472" name="Vrije vorm: vorm 4471">
                <a:extLst>
                  <a:ext uri="{FF2B5EF4-FFF2-40B4-BE49-F238E27FC236}">
                    <a16:creationId xmlns:a16="http://schemas.microsoft.com/office/drawing/2014/main" id="{9D23D954-A944-4428-8931-EA9A2ADC321D}"/>
                  </a:ext>
                </a:extLst>
              </p:cNvPr>
              <p:cNvSpPr/>
              <p:nvPr/>
            </p:nvSpPr>
            <p:spPr>
              <a:xfrm>
                <a:off x="6764262" y="1703720"/>
                <a:ext cx="18329" cy="18422"/>
              </a:xfrm>
              <a:custGeom>
                <a:avLst/>
                <a:gdLst>
                  <a:gd name="connsiteX0" fmla="*/ 732 w 18329"/>
                  <a:gd name="connsiteY0" fmla="*/ 5610 h 18422"/>
                  <a:gd name="connsiteX1" fmla="*/ 5576 w 18329"/>
                  <a:gd name="connsiteY1" fmla="*/ 17691 h 18422"/>
                  <a:gd name="connsiteX2" fmla="*/ 17597 w 18329"/>
                  <a:gd name="connsiteY2" fmla="*/ 12847 h 18422"/>
                  <a:gd name="connsiteX3" fmla="*/ 12753 w 18329"/>
                  <a:gd name="connsiteY3" fmla="*/ 766 h 18422"/>
                  <a:gd name="connsiteX4" fmla="*/ 732 w 18329"/>
                  <a:gd name="connsiteY4" fmla="*/ 5610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2">
                    <a:moveTo>
                      <a:pt x="732" y="5610"/>
                    </a:moveTo>
                    <a:cubicBezTo>
                      <a:pt x="-1242" y="10275"/>
                      <a:pt x="911" y="15718"/>
                      <a:pt x="5576" y="17691"/>
                    </a:cubicBezTo>
                    <a:cubicBezTo>
                      <a:pt x="10241" y="19665"/>
                      <a:pt x="15624" y="17512"/>
                      <a:pt x="17597" y="12847"/>
                    </a:cubicBezTo>
                    <a:cubicBezTo>
                      <a:pt x="19571" y="8182"/>
                      <a:pt x="17418" y="2739"/>
                      <a:pt x="12753" y="766"/>
                    </a:cubicBezTo>
                    <a:cubicBezTo>
                      <a:pt x="8088" y="-1268"/>
                      <a:pt x="2705" y="885"/>
                      <a:pt x="732" y="5610"/>
                    </a:cubicBezTo>
                    <a:close/>
                  </a:path>
                </a:pathLst>
              </a:custGeom>
              <a:grpFill/>
              <a:ln w="5978" cap="flat">
                <a:noFill/>
                <a:prstDash val="solid"/>
                <a:miter/>
              </a:ln>
            </p:spPr>
            <p:txBody>
              <a:bodyPr rtlCol="0" anchor="ctr"/>
              <a:lstStyle/>
              <a:p>
                <a:endParaRPr lang="en-GB"/>
              </a:p>
            </p:txBody>
          </p:sp>
        </p:grpSp>
        <p:grpSp>
          <p:nvGrpSpPr>
            <p:cNvPr id="304" name="Graphic 3">
              <a:extLst>
                <a:ext uri="{FF2B5EF4-FFF2-40B4-BE49-F238E27FC236}">
                  <a16:creationId xmlns:a16="http://schemas.microsoft.com/office/drawing/2014/main" id="{10A6E810-CB79-4EAE-9CC3-1C3F732CEE07}"/>
                </a:ext>
              </a:extLst>
            </p:cNvPr>
            <p:cNvGrpSpPr/>
            <p:nvPr/>
          </p:nvGrpSpPr>
          <p:grpSpPr>
            <a:xfrm>
              <a:off x="6657676" y="752476"/>
              <a:ext cx="467765" cy="1057927"/>
              <a:chOff x="6657676" y="752476"/>
              <a:chExt cx="467765" cy="1057927"/>
            </a:xfrm>
            <a:grpFill/>
          </p:grpSpPr>
          <p:sp>
            <p:nvSpPr>
              <p:cNvPr id="4467" name="Vrije vorm: vorm 4466">
                <a:extLst>
                  <a:ext uri="{FF2B5EF4-FFF2-40B4-BE49-F238E27FC236}">
                    <a16:creationId xmlns:a16="http://schemas.microsoft.com/office/drawing/2014/main" id="{01B51E08-DB52-4F86-902A-B4622C759ABD}"/>
                  </a:ext>
                </a:extLst>
              </p:cNvPr>
              <p:cNvSpPr/>
              <p:nvPr/>
            </p:nvSpPr>
            <p:spPr>
              <a:xfrm>
                <a:off x="6665295" y="760668"/>
                <a:ext cx="452561" cy="1041542"/>
              </a:xfrm>
              <a:custGeom>
                <a:avLst/>
                <a:gdLst>
                  <a:gd name="connsiteX0" fmla="*/ 452562 w 452561"/>
                  <a:gd name="connsiteY0" fmla="*/ 1196 h 1041542"/>
                  <a:gd name="connsiteX1" fmla="*/ 2751 w 452561"/>
                  <a:gd name="connsiteY1" fmla="*/ 1041543 h 1041542"/>
                  <a:gd name="connsiteX2" fmla="*/ 0 w 452561"/>
                  <a:gd name="connsiteY2" fmla="*/ 1040347 h 1041542"/>
                  <a:gd name="connsiteX3" fmla="*/ 449750 w 452561"/>
                  <a:gd name="connsiteY3" fmla="*/ 0 h 1041542"/>
                </a:gdLst>
                <a:ahLst/>
                <a:cxnLst>
                  <a:cxn ang="0">
                    <a:pos x="connsiteX0" y="connsiteY0"/>
                  </a:cxn>
                  <a:cxn ang="0">
                    <a:pos x="connsiteX1" y="connsiteY1"/>
                  </a:cxn>
                  <a:cxn ang="0">
                    <a:pos x="connsiteX2" y="connsiteY2"/>
                  </a:cxn>
                  <a:cxn ang="0">
                    <a:pos x="connsiteX3" y="connsiteY3"/>
                  </a:cxn>
                </a:cxnLst>
                <a:rect l="l" t="t" r="r" b="b"/>
                <a:pathLst>
                  <a:path w="452561" h="1041542">
                    <a:moveTo>
                      <a:pt x="452562" y="1196"/>
                    </a:moveTo>
                    <a:lnTo>
                      <a:pt x="2751" y="1041543"/>
                    </a:lnTo>
                    <a:lnTo>
                      <a:pt x="0" y="1040347"/>
                    </a:lnTo>
                    <a:lnTo>
                      <a:pt x="449750" y="0"/>
                    </a:lnTo>
                    <a:close/>
                  </a:path>
                </a:pathLst>
              </a:custGeom>
              <a:grpFill/>
              <a:ln w="5978" cap="flat">
                <a:noFill/>
                <a:prstDash val="solid"/>
                <a:miter/>
              </a:ln>
            </p:spPr>
            <p:txBody>
              <a:bodyPr rtlCol="0" anchor="ctr"/>
              <a:lstStyle/>
              <a:p>
                <a:endParaRPr lang="en-GB"/>
              </a:p>
            </p:txBody>
          </p:sp>
          <p:sp>
            <p:nvSpPr>
              <p:cNvPr id="4468" name="Vrije vorm: vorm 4467">
                <a:extLst>
                  <a:ext uri="{FF2B5EF4-FFF2-40B4-BE49-F238E27FC236}">
                    <a16:creationId xmlns:a16="http://schemas.microsoft.com/office/drawing/2014/main" id="{48993001-A8E6-4327-9D58-FC7413D67633}"/>
                  </a:ext>
                </a:extLst>
              </p:cNvPr>
              <p:cNvSpPr/>
              <p:nvPr/>
            </p:nvSpPr>
            <p:spPr>
              <a:xfrm>
                <a:off x="6657676" y="1791985"/>
                <a:ext cx="18348" cy="18418"/>
              </a:xfrm>
              <a:custGeom>
                <a:avLst/>
                <a:gdLst>
                  <a:gd name="connsiteX0" fmla="*/ 17607 w 18348"/>
                  <a:gd name="connsiteY0" fmla="*/ 12917 h 18418"/>
                  <a:gd name="connsiteX1" fmla="*/ 5526 w 18348"/>
                  <a:gd name="connsiteY1" fmla="*/ 17642 h 18418"/>
                  <a:gd name="connsiteX2" fmla="*/ 741 w 18348"/>
                  <a:gd name="connsiteY2" fmla="*/ 5501 h 18418"/>
                  <a:gd name="connsiteX3" fmla="*/ 12822 w 18348"/>
                  <a:gd name="connsiteY3" fmla="*/ 777 h 18418"/>
                  <a:gd name="connsiteX4" fmla="*/ 17607 w 1834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8">
                    <a:moveTo>
                      <a:pt x="17607" y="12917"/>
                    </a:moveTo>
                    <a:cubicBezTo>
                      <a:pt x="15574" y="17582"/>
                      <a:pt x="10191" y="19676"/>
                      <a:pt x="5526" y="17642"/>
                    </a:cubicBezTo>
                    <a:cubicBezTo>
                      <a:pt x="861" y="15609"/>
                      <a:pt x="-1232" y="10166"/>
                      <a:pt x="741" y="5501"/>
                    </a:cubicBezTo>
                    <a:cubicBezTo>
                      <a:pt x="2775" y="836"/>
                      <a:pt x="8157" y="-1257"/>
                      <a:pt x="12822" y="777"/>
                    </a:cubicBezTo>
                    <a:cubicBezTo>
                      <a:pt x="17487" y="2810"/>
                      <a:pt x="19581" y="8252"/>
                      <a:pt x="17607" y="12917"/>
                    </a:cubicBezTo>
                    <a:close/>
                  </a:path>
                </a:pathLst>
              </a:custGeom>
              <a:grpFill/>
              <a:ln w="5978" cap="flat">
                <a:noFill/>
                <a:prstDash val="solid"/>
                <a:miter/>
              </a:ln>
            </p:spPr>
            <p:txBody>
              <a:bodyPr rtlCol="0" anchor="ctr"/>
              <a:lstStyle/>
              <a:p>
                <a:endParaRPr lang="en-GB"/>
              </a:p>
            </p:txBody>
          </p:sp>
          <p:sp>
            <p:nvSpPr>
              <p:cNvPr id="4469" name="Vrije vorm: vorm 4468">
                <a:extLst>
                  <a:ext uri="{FF2B5EF4-FFF2-40B4-BE49-F238E27FC236}">
                    <a16:creationId xmlns:a16="http://schemas.microsoft.com/office/drawing/2014/main" id="{AAAD3F3E-A89E-433D-B30F-6F62A5F88567}"/>
                  </a:ext>
                </a:extLst>
              </p:cNvPr>
              <p:cNvSpPr/>
              <p:nvPr/>
            </p:nvSpPr>
            <p:spPr>
              <a:xfrm>
                <a:off x="7107042" y="752476"/>
                <a:ext cx="18398" cy="18418"/>
              </a:xfrm>
              <a:custGeom>
                <a:avLst/>
                <a:gdLst>
                  <a:gd name="connsiteX0" fmla="*/ 17632 w 18398"/>
                  <a:gd name="connsiteY0" fmla="*/ 12917 h 18418"/>
                  <a:gd name="connsiteX1" fmla="*/ 12848 w 18398"/>
                  <a:gd name="connsiteY1" fmla="*/ 777 h 18418"/>
                  <a:gd name="connsiteX2" fmla="*/ 767 w 18398"/>
                  <a:gd name="connsiteY2" fmla="*/ 5501 h 18418"/>
                  <a:gd name="connsiteX3" fmla="*/ 5551 w 18398"/>
                  <a:gd name="connsiteY3" fmla="*/ 17642 h 18418"/>
                  <a:gd name="connsiteX4" fmla="*/ 17632 w 1839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418">
                    <a:moveTo>
                      <a:pt x="17632" y="12917"/>
                    </a:moveTo>
                    <a:cubicBezTo>
                      <a:pt x="19666" y="8252"/>
                      <a:pt x="17513" y="2810"/>
                      <a:pt x="12848" y="777"/>
                    </a:cubicBezTo>
                    <a:cubicBezTo>
                      <a:pt x="8183" y="-1257"/>
                      <a:pt x="2800" y="836"/>
                      <a:pt x="767" y="5501"/>
                    </a:cubicBezTo>
                    <a:cubicBezTo>
                      <a:pt x="-1267" y="10166"/>
                      <a:pt x="886" y="15609"/>
                      <a:pt x="5551" y="17642"/>
                    </a:cubicBezTo>
                    <a:cubicBezTo>
                      <a:pt x="10216" y="19676"/>
                      <a:pt x="15659" y="17582"/>
                      <a:pt x="17632" y="12917"/>
                    </a:cubicBezTo>
                    <a:close/>
                  </a:path>
                </a:pathLst>
              </a:custGeom>
              <a:grpFill/>
              <a:ln w="5978" cap="flat">
                <a:noFill/>
                <a:prstDash val="solid"/>
                <a:miter/>
              </a:ln>
            </p:spPr>
            <p:txBody>
              <a:bodyPr rtlCol="0" anchor="ctr"/>
              <a:lstStyle/>
              <a:p>
                <a:endParaRPr lang="en-GB"/>
              </a:p>
            </p:txBody>
          </p:sp>
        </p:grpSp>
        <p:grpSp>
          <p:nvGrpSpPr>
            <p:cNvPr id="305" name="Graphic 3">
              <a:extLst>
                <a:ext uri="{FF2B5EF4-FFF2-40B4-BE49-F238E27FC236}">
                  <a16:creationId xmlns:a16="http://schemas.microsoft.com/office/drawing/2014/main" id="{E91983D9-D2CD-4B08-9BF8-DA02EDD5FDB9}"/>
                </a:ext>
              </a:extLst>
            </p:cNvPr>
            <p:cNvGrpSpPr/>
            <p:nvPr/>
          </p:nvGrpSpPr>
          <p:grpSpPr>
            <a:xfrm>
              <a:off x="7721150" y="4009445"/>
              <a:ext cx="188086" cy="79386"/>
              <a:chOff x="7721150" y="4009445"/>
              <a:chExt cx="188086" cy="79386"/>
            </a:xfrm>
            <a:grpFill/>
          </p:grpSpPr>
          <p:sp>
            <p:nvSpPr>
              <p:cNvPr id="4464" name="Vrije vorm: vorm 4463">
                <a:extLst>
                  <a:ext uri="{FF2B5EF4-FFF2-40B4-BE49-F238E27FC236}">
                    <a16:creationId xmlns:a16="http://schemas.microsoft.com/office/drawing/2014/main" id="{F77D53E5-74CA-4F6D-9BCD-33045DF5EAF1}"/>
                  </a:ext>
                </a:extLst>
              </p:cNvPr>
              <p:cNvSpPr/>
              <p:nvPr/>
            </p:nvSpPr>
            <p:spPr>
              <a:xfrm>
                <a:off x="7729444" y="4017052"/>
                <a:ext cx="171587" cy="64173"/>
              </a:xfrm>
              <a:custGeom>
                <a:avLst/>
                <a:gdLst>
                  <a:gd name="connsiteX0" fmla="*/ 171587 w 171587"/>
                  <a:gd name="connsiteY0" fmla="*/ 61302 h 64173"/>
                  <a:gd name="connsiteX1" fmla="*/ 170570 w 171587"/>
                  <a:gd name="connsiteY1" fmla="*/ 64173 h 64173"/>
                  <a:gd name="connsiteX2" fmla="*/ 0 w 171587"/>
                  <a:gd name="connsiteY2" fmla="*/ 2871 h 64173"/>
                  <a:gd name="connsiteX3" fmla="*/ 957 w 171587"/>
                  <a:gd name="connsiteY3" fmla="*/ 0 h 64173"/>
                </a:gdLst>
                <a:ahLst/>
                <a:cxnLst>
                  <a:cxn ang="0">
                    <a:pos x="connsiteX0" y="connsiteY0"/>
                  </a:cxn>
                  <a:cxn ang="0">
                    <a:pos x="connsiteX1" y="connsiteY1"/>
                  </a:cxn>
                  <a:cxn ang="0">
                    <a:pos x="connsiteX2" y="connsiteY2"/>
                  </a:cxn>
                  <a:cxn ang="0">
                    <a:pos x="connsiteX3" y="connsiteY3"/>
                  </a:cxn>
                </a:cxnLst>
                <a:rect l="l" t="t" r="r" b="b"/>
                <a:pathLst>
                  <a:path w="171587" h="64173">
                    <a:moveTo>
                      <a:pt x="171587" y="61302"/>
                    </a:moveTo>
                    <a:lnTo>
                      <a:pt x="170570" y="64173"/>
                    </a:lnTo>
                    <a:lnTo>
                      <a:pt x="0" y="2871"/>
                    </a:lnTo>
                    <a:lnTo>
                      <a:pt x="957" y="0"/>
                    </a:lnTo>
                    <a:close/>
                  </a:path>
                </a:pathLst>
              </a:custGeom>
              <a:grpFill/>
              <a:ln w="5978" cap="flat">
                <a:noFill/>
                <a:prstDash val="solid"/>
                <a:miter/>
              </a:ln>
            </p:spPr>
            <p:txBody>
              <a:bodyPr rtlCol="0" anchor="ctr"/>
              <a:lstStyle/>
              <a:p>
                <a:endParaRPr lang="en-GB"/>
              </a:p>
            </p:txBody>
          </p:sp>
          <p:sp>
            <p:nvSpPr>
              <p:cNvPr id="4465" name="Vrije vorm: vorm 4464">
                <a:extLst>
                  <a:ext uri="{FF2B5EF4-FFF2-40B4-BE49-F238E27FC236}">
                    <a16:creationId xmlns:a16="http://schemas.microsoft.com/office/drawing/2014/main" id="{BD9DECF6-1406-4C27-ACF0-365C6F9184DD}"/>
                  </a:ext>
                </a:extLst>
              </p:cNvPr>
              <p:cNvSpPr/>
              <p:nvPr/>
            </p:nvSpPr>
            <p:spPr>
              <a:xfrm>
                <a:off x="7890853" y="4070388"/>
                <a:ext cx="18383" cy="18442"/>
              </a:xfrm>
              <a:custGeom>
                <a:avLst/>
                <a:gdLst>
                  <a:gd name="connsiteX0" fmla="*/ 12272 w 18383"/>
                  <a:gd name="connsiteY0" fmla="*/ 550 h 18442"/>
                  <a:gd name="connsiteX1" fmla="*/ 17834 w 18383"/>
                  <a:gd name="connsiteY1" fmla="*/ 12331 h 18442"/>
                  <a:gd name="connsiteX2" fmla="*/ 6111 w 18383"/>
                  <a:gd name="connsiteY2" fmla="*/ 17893 h 18442"/>
                  <a:gd name="connsiteX3" fmla="*/ 550 w 18383"/>
                  <a:gd name="connsiteY3" fmla="*/ 6112 h 18442"/>
                  <a:gd name="connsiteX4" fmla="*/ 12272 w 18383"/>
                  <a:gd name="connsiteY4" fmla="*/ 55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42">
                    <a:moveTo>
                      <a:pt x="12272" y="550"/>
                    </a:moveTo>
                    <a:cubicBezTo>
                      <a:pt x="17056" y="2284"/>
                      <a:pt x="19568" y="7547"/>
                      <a:pt x="17834" y="12331"/>
                    </a:cubicBezTo>
                    <a:cubicBezTo>
                      <a:pt x="16159" y="17116"/>
                      <a:pt x="10896" y="19628"/>
                      <a:pt x="6111" y="17893"/>
                    </a:cubicBezTo>
                    <a:cubicBezTo>
                      <a:pt x="1327" y="16159"/>
                      <a:pt x="-1185" y="10896"/>
                      <a:pt x="550" y="6112"/>
                    </a:cubicBezTo>
                    <a:cubicBezTo>
                      <a:pt x="2284" y="1327"/>
                      <a:pt x="7487" y="-1185"/>
                      <a:pt x="12272" y="550"/>
                    </a:cubicBezTo>
                    <a:close/>
                  </a:path>
                </a:pathLst>
              </a:custGeom>
              <a:grpFill/>
              <a:ln w="5978" cap="flat">
                <a:noFill/>
                <a:prstDash val="solid"/>
                <a:miter/>
              </a:ln>
            </p:spPr>
            <p:txBody>
              <a:bodyPr rtlCol="0" anchor="ctr"/>
              <a:lstStyle/>
              <a:p>
                <a:endParaRPr lang="en-GB"/>
              </a:p>
            </p:txBody>
          </p:sp>
          <p:sp>
            <p:nvSpPr>
              <p:cNvPr id="4466" name="Vrije vorm: vorm 4465">
                <a:extLst>
                  <a:ext uri="{FF2B5EF4-FFF2-40B4-BE49-F238E27FC236}">
                    <a16:creationId xmlns:a16="http://schemas.microsoft.com/office/drawing/2014/main" id="{A1EE6AE0-D339-48B4-9EFF-534718F392CF}"/>
                  </a:ext>
                </a:extLst>
              </p:cNvPr>
              <p:cNvSpPr/>
              <p:nvPr/>
            </p:nvSpPr>
            <p:spPr>
              <a:xfrm>
                <a:off x="7721150" y="4009445"/>
                <a:ext cx="18353" cy="18442"/>
              </a:xfrm>
              <a:custGeom>
                <a:avLst/>
                <a:gdLst>
                  <a:gd name="connsiteX0" fmla="*/ 12241 w 18353"/>
                  <a:gd name="connsiteY0" fmla="*/ 550 h 18442"/>
                  <a:gd name="connsiteX1" fmla="*/ 519 w 18353"/>
                  <a:gd name="connsiteY1" fmla="*/ 6112 h 18442"/>
                  <a:gd name="connsiteX2" fmla="*/ 6081 w 18353"/>
                  <a:gd name="connsiteY2" fmla="*/ 17893 h 18442"/>
                  <a:gd name="connsiteX3" fmla="*/ 17804 w 18353"/>
                  <a:gd name="connsiteY3" fmla="*/ 12331 h 18442"/>
                  <a:gd name="connsiteX4" fmla="*/ 12241 w 18353"/>
                  <a:gd name="connsiteY4" fmla="*/ 550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2">
                    <a:moveTo>
                      <a:pt x="12241" y="550"/>
                    </a:moveTo>
                    <a:cubicBezTo>
                      <a:pt x="7457" y="-1185"/>
                      <a:pt x="2254" y="1327"/>
                      <a:pt x="519" y="6112"/>
                    </a:cubicBezTo>
                    <a:cubicBezTo>
                      <a:pt x="-1155" y="10896"/>
                      <a:pt x="1357" y="16159"/>
                      <a:pt x="6081" y="17893"/>
                    </a:cubicBezTo>
                    <a:cubicBezTo>
                      <a:pt x="10866" y="19628"/>
                      <a:pt x="16069" y="17116"/>
                      <a:pt x="17804" y="12331"/>
                    </a:cubicBezTo>
                    <a:cubicBezTo>
                      <a:pt x="19538" y="7547"/>
                      <a:pt x="17026" y="2284"/>
                      <a:pt x="12241" y="550"/>
                    </a:cubicBezTo>
                    <a:close/>
                  </a:path>
                </a:pathLst>
              </a:custGeom>
              <a:grpFill/>
              <a:ln w="5978" cap="flat">
                <a:noFill/>
                <a:prstDash val="solid"/>
                <a:miter/>
              </a:ln>
            </p:spPr>
            <p:txBody>
              <a:bodyPr rtlCol="0" anchor="ctr"/>
              <a:lstStyle/>
              <a:p>
                <a:endParaRPr lang="en-GB"/>
              </a:p>
            </p:txBody>
          </p:sp>
        </p:grpSp>
        <p:grpSp>
          <p:nvGrpSpPr>
            <p:cNvPr id="306" name="Graphic 3">
              <a:extLst>
                <a:ext uri="{FF2B5EF4-FFF2-40B4-BE49-F238E27FC236}">
                  <a16:creationId xmlns:a16="http://schemas.microsoft.com/office/drawing/2014/main" id="{4FE3F29B-ED4F-47F1-9E59-1B8780C6F6CB}"/>
                </a:ext>
              </a:extLst>
            </p:cNvPr>
            <p:cNvGrpSpPr/>
            <p:nvPr/>
          </p:nvGrpSpPr>
          <p:grpSpPr>
            <a:xfrm>
              <a:off x="7672589" y="4097069"/>
              <a:ext cx="358169" cy="162394"/>
              <a:chOff x="7672589" y="4097069"/>
              <a:chExt cx="358169" cy="162394"/>
            </a:xfrm>
            <a:grpFill/>
          </p:grpSpPr>
          <p:sp>
            <p:nvSpPr>
              <p:cNvPr id="4461" name="Vrije vorm: vorm 4460">
                <a:extLst>
                  <a:ext uri="{FF2B5EF4-FFF2-40B4-BE49-F238E27FC236}">
                    <a16:creationId xmlns:a16="http://schemas.microsoft.com/office/drawing/2014/main" id="{864CB5F8-2A26-4D79-8FB2-0DF1FB5D071F}"/>
                  </a:ext>
                </a:extLst>
              </p:cNvPr>
              <p:cNvSpPr/>
              <p:nvPr/>
            </p:nvSpPr>
            <p:spPr>
              <a:xfrm>
                <a:off x="7680702" y="4104669"/>
                <a:ext cx="341917" cy="147185"/>
              </a:xfrm>
              <a:custGeom>
                <a:avLst/>
                <a:gdLst>
                  <a:gd name="connsiteX0" fmla="*/ 341917 w 341917"/>
                  <a:gd name="connsiteY0" fmla="*/ 144375 h 147185"/>
                  <a:gd name="connsiteX1" fmla="*/ 340722 w 341917"/>
                  <a:gd name="connsiteY1" fmla="*/ 147186 h 147185"/>
                  <a:gd name="connsiteX2" fmla="*/ 0 w 341917"/>
                  <a:gd name="connsiteY2" fmla="*/ 2811 h 147185"/>
                  <a:gd name="connsiteX3" fmla="*/ 1196 w 341917"/>
                  <a:gd name="connsiteY3" fmla="*/ 0 h 147185"/>
                </a:gdLst>
                <a:ahLst/>
                <a:cxnLst>
                  <a:cxn ang="0">
                    <a:pos x="connsiteX0" y="connsiteY0"/>
                  </a:cxn>
                  <a:cxn ang="0">
                    <a:pos x="connsiteX1" y="connsiteY1"/>
                  </a:cxn>
                  <a:cxn ang="0">
                    <a:pos x="connsiteX2" y="connsiteY2"/>
                  </a:cxn>
                  <a:cxn ang="0">
                    <a:pos x="connsiteX3" y="connsiteY3"/>
                  </a:cxn>
                </a:cxnLst>
                <a:rect l="l" t="t" r="r" b="b"/>
                <a:pathLst>
                  <a:path w="341917" h="147185">
                    <a:moveTo>
                      <a:pt x="341917" y="144375"/>
                    </a:moveTo>
                    <a:lnTo>
                      <a:pt x="340722" y="147186"/>
                    </a:lnTo>
                    <a:lnTo>
                      <a:pt x="0" y="2811"/>
                    </a:lnTo>
                    <a:lnTo>
                      <a:pt x="1196" y="0"/>
                    </a:lnTo>
                    <a:close/>
                  </a:path>
                </a:pathLst>
              </a:custGeom>
              <a:grpFill/>
              <a:ln w="5978" cap="flat">
                <a:noFill/>
                <a:prstDash val="solid"/>
                <a:miter/>
              </a:ln>
            </p:spPr>
            <p:txBody>
              <a:bodyPr rtlCol="0" anchor="ctr"/>
              <a:lstStyle/>
              <a:p>
                <a:endParaRPr lang="en-GB"/>
              </a:p>
            </p:txBody>
          </p:sp>
          <p:sp>
            <p:nvSpPr>
              <p:cNvPr id="4462" name="Vrije vorm: vorm 4461">
                <a:extLst>
                  <a:ext uri="{FF2B5EF4-FFF2-40B4-BE49-F238E27FC236}">
                    <a16:creationId xmlns:a16="http://schemas.microsoft.com/office/drawing/2014/main" id="{C4170819-BDF8-418B-9B8A-23DA71E5EC1E}"/>
                  </a:ext>
                </a:extLst>
              </p:cNvPr>
              <p:cNvSpPr/>
              <p:nvPr/>
            </p:nvSpPr>
            <p:spPr>
              <a:xfrm>
                <a:off x="8012448" y="4241025"/>
                <a:ext cx="18310" cy="18438"/>
              </a:xfrm>
              <a:custGeom>
                <a:avLst/>
                <a:gdLst>
                  <a:gd name="connsiteX0" fmla="*/ 12684 w 18310"/>
                  <a:gd name="connsiteY0" fmla="*/ 722 h 18438"/>
                  <a:gd name="connsiteX1" fmla="*/ 17588 w 18310"/>
                  <a:gd name="connsiteY1" fmla="*/ 12803 h 18438"/>
                  <a:gd name="connsiteX2" fmla="*/ 5626 w 18310"/>
                  <a:gd name="connsiteY2" fmla="*/ 17707 h 18438"/>
                  <a:gd name="connsiteX3" fmla="*/ 722 w 18310"/>
                  <a:gd name="connsiteY3" fmla="*/ 5626 h 18438"/>
                  <a:gd name="connsiteX4" fmla="*/ 12684 w 18310"/>
                  <a:gd name="connsiteY4" fmla="*/ 72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8">
                    <a:moveTo>
                      <a:pt x="12684" y="722"/>
                    </a:moveTo>
                    <a:cubicBezTo>
                      <a:pt x="17349" y="2696"/>
                      <a:pt x="19562" y="8079"/>
                      <a:pt x="17588" y="12803"/>
                    </a:cubicBezTo>
                    <a:cubicBezTo>
                      <a:pt x="15614" y="17528"/>
                      <a:pt x="10291" y="19681"/>
                      <a:pt x="5626" y="17707"/>
                    </a:cubicBezTo>
                    <a:cubicBezTo>
                      <a:pt x="962" y="15734"/>
                      <a:pt x="-1251" y="10351"/>
                      <a:pt x="722" y="5626"/>
                    </a:cubicBezTo>
                    <a:cubicBezTo>
                      <a:pt x="2636" y="962"/>
                      <a:pt x="8019" y="-1251"/>
                      <a:pt x="12684" y="722"/>
                    </a:cubicBezTo>
                    <a:close/>
                  </a:path>
                </a:pathLst>
              </a:custGeom>
              <a:grpFill/>
              <a:ln w="5978" cap="flat">
                <a:noFill/>
                <a:prstDash val="solid"/>
                <a:miter/>
              </a:ln>
            </p:spPr>
            <p:txBody>
              <a:bodyPr rtlCol="0" anchor="ctr"/>
              <a:lstStyle/>
              <a:p>
                <a:endParaRPr lang="en-GB"/>
              </a:p>
            </p:txBody>
          </p:sp>
          <p:sp>
            <p:nvSpPr>
              <p:cNvPr id="4463" name="Vrije vorm: vorm 4462">
                <a:extLst>
                  <a:ext uri="{FF2B5EF4-FFF2-40B4-BE49-F238E27FC236}">
                    <a16:creationId xmlns:a16="http://schemas.microsoft.com/office/drawing/2014/main" id="{2FAE9B33-33C8-444C-9E67-1AB113953C69}"/>
                  </a:ext>
                </a:extLst>
              </p:cNvPr>
              <p:cNvSpPr/>
              <p:nvPr/>
            </p:nvSpPr>
            <p:spPr>
              <a:xfrm>
                <a:off x="7672589" y="4097069"/>
                <a:ext cx="18285" cy="18429"/>
              </a:xfrm>
              <a:custGeom>
                <a:avLst/>
                <a:gdLst>
                  <a:gd name="connsiteX0" fmla="*/ 12659 w 18285"/>
                  <a:gd name="connsiteY0" fmla="*/ 722 h 18429"/>
                  <a:gd name="connsiteX1" fmla="*/ 697 w 18285"/>
                  <a:gd name="connsiteY1" fmla="*/ 5627 h 18429"/>
                  <a:gd name="connsiteX2" fmla="*/ 5601 w 18285"/>
                  <a:gd name="connsiteY2" fmla="*/ 17707 h 18429"/>
                  <a:gd name="connsiteX3" fmla="*/ 17563 w 18285"/>
                  <a:gd name="connsiteY3" fmla="*/ 12803 h 18429"/>
                  <a:gd name="connsiteX4" fmla="*/ 12659 w 18285"/>
                  <a:gd name="connsiteY4" fmla="*/ 72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9">
                    <a:moveTo>
                      <a:pt x="12659" y="722"/>
                    </a:moveTo>
                    <a:cubicBezTo>
                      <a:pt x="7994" y="-1251"/>
                      <a:pt x="2611" y="962"/>
                      <a:pt x="697" y="5627"/>
                    </a:cubicBezTo>
                    <a:cubicBezTo>
                      <a:pt x="-1217" y="10291"/>
                      <a:pt x="936" y="15734"/>
                      <a:pt x="5601" y="17707"/>
                    </a:cubicBezTo>
                    <a:cubicBezTo>
                      <a:pt x="10266" y="19681"/>
                      <a:pt x="15649" y="17468"/>
                      <a:pt x="17563" y="12803"/>
                    </a:cubicBezTo>
                    <a:cubicBezTo>
                      <a:pt x="19536" y="8079"/>
                      <a:pt x="17323" y="2696"/>
                      <a:pt x="12659" y="722"/>
                    </a:cubicBezTo>
                    <a:close/>
                  </a:path>
                </a:pathLst>
              </a:custGeom>
              <a:grpFill/>
              <a:ln w="5978" cap="flat">
                <a:noFill/>
                <a:prstDash val="solid"/>
                <a:miter/>
              </a:ln>
            </p:spPr>
            <p:txBody>
              <a:bodyPr rtlCol="0" anchor="ctr"/>
              <a:lstStyle/>
              <a:p>
                <a:endParaRPr lang="en-GB"/>
              </a:p>
            </p:txBody>
          </p:sp>
        </p:grpSp>
        <p:grpSp>
          <p:nvGrpSpPr>
            <p:cNvPr id="307" name="Graphic 3">
              <a:extLst>
                <a:ext uri="{FF2B5EF4-FFF2-40B4-BE49-F238E27FC236}">
                  <a16:creationId xmlns:a16="http://schemas.microsoft.com/office/drawing/2014/main" id="{EB9798E3-89C6-4D35-94B1-F8EC7E2D6C39}"/>
                </a:ext>
              </a:extLst>
            </p:cNvPr>
            <p:cNvGrpSpPr/>
            <p:nvPr/>
          </p:nvGrpSpPr>
          <p:grpSpPr>
            <a:xfrm>
              <a:off x="7684770" y="4138545"/>
              <a:ext cx="363976" cy="172553"/>
              <a:chOff x="7684770" y="4138545"/>
              <a:chExt cx="363976" cy="172553"/>
            </a:xfrm>
            <a:grpFill/>
          </p:grpSpPr>
          <p:sp>
            <p:nvSpPr>
              <p:cNvPr id="4458" name="Vrije vorm: vorm 4457">
                <a:extLst>
                  <a:ext uri="{FF2B5EF4-FFF2-40B4-BE49-F238E27FC236}">
                    <a16:creationId xmlns:a16="http://schemas.microsoft.com/office/drawing/2014/main" id="{7A85DD0E-E8E2-4BF3-A88F-73ECA797A4C3}"/>
                  </a:ext>
                </a:extLst>
              </p:cNvPr>
              <p:cNvSpPr/>
              <p:nvPr/>
            </p:nvSpPr>
            <p:spPr>
              <a:xfrm>
                <a:off x="7692902" y="4146175"/>
                <a:ext cx="347659" cy="157292"/>
              </a:xfrm>
              <a:custGeom>
                <a:avLst/>
                <a:gdLst>
                  <a:gd name="connsiteX0" fmla="*/ 347659 w 347659"/>
                  <a:gd name="connsiteY0" fmla="*/ 154482 h 157292"/>
                  <a:gd name="connsiteX1" fmla="*/ 346464 w 347659"/>
                  <a:gd name="connsiteY1" fmla="*/ 157293 h 157292"/>
                  <a:gd name="connsiteX2" fmla="*/ 0 w 347659"/>
                  <a:gd name="connsiteY2" fmla="*/ 2811 h 157292"/>
                  <a:gd name="connsiteX3" fmla="*/ 1256 w 347659"/>
                  <a:gd name="connsiteY3" fmla="*/ 0 h 157292"/>
                </a:gdLst>
                <a:ahLst/>
                <a:cxnLst>
                  <a:cxn ang="0">
                    <a:pos x="connsiteX0" y="connsiteY0"/>
                  </a:cxn>
                  <a:cxn ang="0">
                    <a:pos x="connsiteX1" y="connsiteY1"/>
                  </a:cxn>
                  <a:cxn ang="0">
                    <a:pos x="connsiteX2" y="connsiteY2"/>
                  </a:cxn>
                  <a:cxn ang="0">
                    <a:pos x="connsiteX3" y="connsiteY3"/>
                  </a:cxn>
                </a:cxnLst>
                <a:rect l="l" t="t" r="r" b="b"/>
                <a:pathLst>
                  <a:path w="347659" h="157292">
                    <a:moveTo>
                      <a:pt x="347659" y="154482"/>
                    </a:moveTo>
                    <a:lnTo>
                      <a:pt x="346464" y="157293"/>
                    </a:lnTo>
                    <a:lnTo>
                      <a:pt x="0" y="2811"/>
                    </a:lnTo>
                    <a:lnTo>
                      <a:pt x="1256" y="0"/>
                    </a:lnTo>
                    <a:close/>
                  </a:path>
                </a:pathLst>
              </a:custGeom>
              <a:grpFill/>
              <a:ln w="5978" cap="flat">
                <a:noFill/>
                <a:prstDash val="solid"/>
                <a:miter/>
              </a:ln>
            </p:spPr>
            <p:txBody>
              <a:bodyPr rtlCol="0" anchor="ctr"/>
              <a:lstStyle/>
              <a:p>
                <a:endParaRPr lang="en-GB"/>
              </a:p>
            </p:txBody>
          </p:sp>
          <p:sp>
            <p:nvSpPr>
              <p:cNvPr id="4459" name="Vrije vorm: vorm 4458">
                <a:extLst>
                  <a:ext uri="{FF2B5EF4-FFF2-40B4-BE49-F238E27FC236}">
                    <a16:creationId xmlns:a16="http://schemas.microsoft.com/office/drawing/2014/main" id="{29345642-E2BE-4FD2-8A3C-22CBCBC08C0D}"/>
                  </a:ext>
                </a:extLst>
              </p:cNvPr>
              <p:cNvSpPr/>
              <p:nvPr/>
            </p:nvSpPr>
            <p:spPr>
              <a:xfrm>
                <a:off x="8030405" y="4292668"/>
                <a:ext cx="18341" cy="18430"/>
              </a:xfrm>
              <a:custGeom>
                <a:avLst/>
                <a:gdLst>
                  <a:gd name="connsiteX0" fmla="*/ 12849 w 18341"/>
                  <a:gd name="connsiteY0" fmla="*/ 812 h 18430"/>
                  <a:gd name="connsiteX1" fmla="*/ 17573 w 18341"/>
                  <a:gd name="connsiteY1" fmla="*/ 12953 h 18430"/>
                  <a:gd name="connsiteX2" fmla="*/ 5493 w 18341"/>
                  <a:gd name="connsiteY2" fmla="*/ 17618 h 18430"/>
                  <a:gd name="connsiteX3" fmla="*/ 768 w 18341"/>
                  <a:gd name="connsiteY3" fmla="*/ 5477 h 18430"/>
                  <a:gd name="connsiteX4" fmla="*/ 12849 w 1834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0">
                    <a:moveTo>
                      <a:pt x="12849" y="812"/>
                    </a:moveTo>
                    <a:cubicBezTo>
                      <a:pt x="17454" y="2906"/>
                      <a:pt x="19607" y="8348"/>
                      <a:pt x="17573" y="12953"/>
                    </a:cubicBezTo>
                    <a:cubicBezTo>
                      <a:pt x="15540" y="17618"/>
                      <a:pt x="10157" y="19711"/>
                      <a:pt x="5493" y="17618"/>
                    </a:cubicBezTo>
                    <a:cubicBezTo>
                      <a:pt x="887" y="15525"/>
                      <a:pt x="-1266" y="10082"/>
                      <a:pt x="768" y="5477"/>
                    </a:cubicBezTo>
                    <a:cubicBezTo>
                      <a:pt x="2801" y="812"/>
                      <a:pt x="8184" y="-1281"/>
                      <a:pt x="12849" y="812"/>
                    </a:cubicBezTo>
                    <a:close/>
                  </a:path>
                </a:pathLst>
              </a:custGeom>
              <a:grpFill/>
              <a:ln w="5978" cap="flat">
                <a:noFill/>
                <a:prstDash val="solid"/>
                <a:miter/>
              </a:ln>
            </p:spPr>
            <p:txBody>
              <a:bodyPr rtlCol="0" anchor="ctr"/>
              <a:lstStyle/>
              <a:p>
                <a:endParaRPr lang="en-GB"/>
              </a:p>
            </p:txBody>
          </p:sp>
          <p:sp>
            <p:nvSpPr>
              <p:cNvPr id="4460" name="Vrije vorm: vorm 4459">
                <a:extLst>
                  <a:ext uri="{FF2B5EF4-FFF2-40B4-BE49-F238E27FC236}">
                    <a16:creationId xmlns:a16="http://schemas.microsoft.com/office/drawing/2014/main" id="{ACD91308-FB51-4C3D-8EE1-BB68C57153CC}"/>
                  </a:ext>
                </a:extLst>
              </p:cNvPr>
              <p:cNvSpPr/>
              <p:nvPr/>
            </p:nvSpPr>
            <p:spPr>
              <a:xfrm>
                <a:off x="7684770" y="4138545"/>
                <a:ext cx="18359" cy="18430"/>
              </a:xfrm>
              <a:custGeom>
                <a:avLst/>
                <a:gdLst>
                  <a:gd name="connsiteX0" fmla="*/ 12858 w 18359"/>
                  <a:gd name="connsiteY0" fmla="*/ 812 h 18430"/>
                  <a:gd name="connsiteX1" fmla="*/ 776 w 18359"/>
                  <a:gd name="connsiteY1" fmla="*/ 5477 h 18430"/>
                  <a:gd name="connsiteX2" fmla="*/ 5501 w 18359"/>
                  <a:gd name="connsiteY2" fmla="*/ 17618 h 18430"/>
                  <a:gd name="connsiteX3" fmla="*/ 17583 w 18359"/>
                  <a:gd name="connsiteY3" fmla="*/ 12953 h 18430"/>
                  <a:gd name="connsiteX4" fmla="*/ 12858 w 18359"/>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30">
                    <a:moveTo>
                      <a:pt x="12858" y="812"/>
                    </a:moveTo>
                    <a:cubicBezTo>
                      <a:pt x="8252" y="-1281"/>
                      <a:pt x="2810" y="812"/>
                      <a:pt x="776" y="5477"/>
                    </a:cubicBezTo>
                    <a:cubicBezTo>
                      <a:pt x="-1257" y="10142"/>
                      <a:pt x="836" y="15585"/>
                      <a:pt x="5501" y="17618"/>
                    </a:cubicBezTo>
                    <a:cubicBezTo>
                      <a:pt x="10107" y="19711"/>
                      <a:pt x="15549" y="17618"/>
                      <a:pt x="17583" y="12953"/>
                    </a:cubicBezTo>
                    <a:cubicBezTo>
                      <a:pt x="19616" y="8288"/>
                      <a:pt x="17523" y="2906"/>
                      <a:pt x="12858" y="812"/>
                    </a:cubicBezTo>
                    <a:close/>
                  </a:path>
                </a:pathLst>
              </a:custGeom>
              <a:grpFill/>
              <a:ln w="5978" cap="flat">
                <a:noFill/>
                <a:prstDash val="solid"/>
                <a:miter/>
              </a:ln>
            </p:spPr>
            <p:txBody>
              <a:bodyPr rtlCol="0" anchor="ctr"/>
              <a:lstStyle/>
              <a:p>
                <a:endParaRPr lang="en-GB"/>
              </a:p>
            </p:txBody>
          </p:sp>
        </p:grpSp>
        <p:grpSp>
          <p:nvGrpSpPr>
            <p:cNvPr id="308" name="Graphic 3">
              <a:extLst>
                <a:ext uri="{FF2B5EF4-FFF2-40B4-BE49-F238E27FC236}">
                  <a16:creationId xmlns:a16="http://schemas.microsoft.com/office/drawing/2014/main" id="{9BD2A28E-73D6-4E0A-A6E5-CF1323FA60A6}"/>
                </a:ext>
              </a:extLst>
            </p:cNvPr>
            <p:cNvGrpSpPr/>
            <p:nvPr/>
          </p:nvGrpSpPr>
          <p:grpSpPr>
            <a:xfrm>
              <a:off x="7126068" y="2068142"/>
              <a:ext cx="61086" cy="69379"/>
              <a:chOff x="7126068" y="2068142"/>
              <a:chExt cx="61086" cy="69379"/>
            </a:xfrm>
            <a:grpFill/>
          </p:grpSpPr>
          <p:sp>
            <p:nvSpPr>
              <p:cNvPr id="4455" name="Vrije vorm: vorm 4454">
                <a:extLst>
                  <a:ext uri="{FF2B5EF4-FFF2-40B4-BE49-F238E27FC236}">
                    <a16:creationId xmlns:a16="http://schemas.microsoft.com/office/drawing/2014/main" id="{1184E4EC-1303-4A39-87AC-E89DE05C3413}"/>
                  </a:ext>
                </a:extLst>
              </p:cNvPr>
              <p:cNvSpPr/>
              <p:nvPr/>
            </p:nvSpPr>
            <p:spPr>
              <a:xfrm>
                <a:off x="7133765" y="2076008"/>
                <a:ext cx="45632" cy="53647"/>
              </a:xfrm>
              <a:custGeom>
                <a:avLst/>
                <a:gdLst>
                  <a:gd name="connsiteX0" fmla="*/ 45633 w 45632"/>
                  <a:gd name="connsiteY0" fmla="*/ 1974 h 53647"/>
                  <a:gd name="connsiteX1" fmla="*/ 2333 w 45632"/>
                  <a:gd name="connsiteY1" fmla="*/ 53647 h 53647"/>
                  <a:gd name="connsiteX2" fmla="*/ 0 w 45632"/>
                  <a:gd name="connsiteY2" fmla="*/ 51673 h 53647"/>
                  <a:gd name="connsiteX3" fmla="*/ 43300 w 45632"/>
                  <a:gd name="connsiteY3" fmla="*/ 0 h 53647"/>
                </a:gdLst>
                <a:ahLst/>
                <a:cxnLst>
                  <a:cxn ang="0">
                    <a:pos x="connsiteX0" y="connsiteY0"/>
                  </a:cxn>
                  <a:cxn ang="0">
                    <a:pos x="connsiteX1" y="connsiteY1"/>
                  </a:cxn>
                  <a:cxn ang="0">
                    <a:pos x="connsiteX2" y="connsiteY2"/>
                  </a:cxn>
                  <a:cxn ang="0">
                    <a:pos x="connsiteX3" y="connsiteY3"/>
                  </a:cxn>
                </a:cxnLst>
                <a:rect l="l" t="t" r="r" b="b"/>
                <a:pathLst>
                  <a:path w="45632" h="53647">
                    <a:moveTo>
                      <a:pt x="45633" y="1974"/>
                    </a:moveTo>
                    <a:lnTo>
                      <a:pt x="2333" y="53647"/>
                    </a:lnTo>
                    <a:lnTo>
                      <a:pt x="0" y="51673"/>
                    </a:lnTo>
                    <a:lnTo>
                      <a:pt x="43300" y="0"/>
                    </a:lnTo>
                    <a:close/>
                  </a:path>
                </a:pathLst>
              </a:custGeom>
              <a:grpFill/>
              <a:ln w="5978" cap="flat">
                <a:noFill/>
                <a:prstDash val="solid"/>
                <a:miter/>
              </a:ln>
            </p:spPr>
            <p:txBody>
              <a:bodyPr rtlCol="0" anchor="ctr"/>
              <a:lstStyle/>
              <a:p>
                <a:endParaRPr lang="en-GB"/>
              </a:p>
            </p:txBody>
          </p:sp>
          <p:sp>
            <p:nvSpPr>
              <p:cNvPr id="4456" name="Vrije vorm: vorm 4455">
                <a:extLst>
                  <a:ext uri="{FF2B5EF4-FFF2-40B4-BE49-F238E27FC236}">
                    <a16:creationId xmlns:a16="http://schemas.microsoft.com/office/drawing/2014/main" id="{7A4D1BCE-FC05-40A2-9A75-E05C7CF10F89}"/>
                  </a:ext>
                </a:extLst>
              </p:cNvPr>
              <p:cNvSpPr/>
              <p:nvPr/>
            </p:nvSpPr>
            <p:spPr>
              <a:xfrm>
                <a:off x="7168805" y="2068142"/>
                <a:ext cx="18349" cy="18423"/>
              </a:xfrm>
              <a:custGeom>
                <a:avLst/>
                <a:gdLst>
                  <a:gd name="connsiteX0" fmla="*/ 2160 w 18349"/>
                  <a:gd name="connsiteY0" fmla="*/ 3261 h 18423"/>
                  <a:gd name="connsiteX1" fmla="*/ 15078 w 18349"/>
                  <a:gd name="connsiteY1" fmla="*/ 2185 h 18423"/>
                  <a:gd name="connsiteX2" fmla="*/ 16215 w 18349"/>
                  <a:gd name="connsiteY2" fmla="*/ 15163 h 18423"/>
                  <a:gd name="connsiteX3" fmla="*/ 3296 w 18349"/>
                  <a:gd name="connsiteY3" fmla="*/ 16239 h 18423"/>
                  <a:gd name="connsiteX4" fmla="*/ 2160 w 18349"/>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3">
                    <a:moveTo>
                      <a:pt x="2160" y="3261"/>
                    </a:moveTo>
                    <a:cubicBezTo>
                      <a:pt x="5389" y="-626"/>
                      <a:pt x="11190" y="-1105"/>
                      <a:pt x="15078" y="2185"/>
                    </a:cubicBezTo>
                    <a:cubicBezTo>
                      <a:pt x="18965" y="5474"/>
                      <a:pt x="19444" y="11275"/>
                      <a:pt x="16215" y="15163"/>
                    </a:cubicBezTo>
                    <a:cubicBezTo>
                      <a:pt x="12985" y="19050"/>
                      <a:pt x="7184" y="19529"/>
                      <a:pt x="3296" y="16239"/>
                    </a:cubicBezTo>
                    <a:cubicBezTo>
                      <a:pt x="-592" y="12950"/>
                      <a:pt x="-1130" y="7149"/>
                      <a:pt x="2160" y="3261"/>
                    </a:cubicBezTo>
                    <a:close/>
                  </a:path>
                </a:pathLst>
              </a:custGeom>
              <a:grpFill/>
              <a:ln w="5978" cap="flat">
                <a:noFill/>
                <a:prstDash val="solid"/>
                <a:miter/>
              </a:ln>
            </p:spPr>
            <p:txBody>
              <a:bodyPr rtlCol="0" anchor="ctr"/>
              <a:lstStyle/>
              <a:p>
                <a:endParaRPr lang="en-GB"/>
              </a:p>
            </p:txBody>
          </p:sp>
          <p:sp>
            <p:nvSpPr>
              <p:cNvPr id="4457" name="Vrije vorm: vorm 4456">
                <a:extLst>
                  <a:ext uri="{FF2B5EF4-FFF2-40B4-BE49-F238E27FC236}">
                    <a16:creationId xmlns:a16="http://schemas.microsoft.com/office/drawing/2014/main" id="{091A4BAC-28D8-4AD6-A505-111A4158E3F6}"/>
                  </a:ext>
                </a:extLst>
              </p:cNvPr>
              <p:cNvSpPr/>
              <p:nvPr/>
            </p:nvSpPr>
            <p:spPr>
              <a:xfrm>
                <a:off x="7126068" y="2119098"/>
                <a:ext cx="18324" cy="18423"/>
              </a:xfrm>
              <a:custGeom>
                <a:avLst/>
                <a:gdLst>
                  <a:gd name="connsiteX0" fmla="*/ 2135 w 18324"/>
                  <a:gd name="connsiteY0" fmla="*/ 3261 h 18423"/>
                  <a:gd name="connsiteX1" fmla="*/ 3271 w 18324"/>
                  <a:gd name="connsiteY1" fmla="*/ 16239 h 18423"/>
                  <a:gd name="connsiteX2" fmla="*/ 16190 w 18324"/>
                  <a:gd name="connsiteY2" fmla="*/ 15163 h 18423"/>
                  <a:gd name="connsiteX3" fmla="*/ 15053 w 18324"/>
                  <a:gd name="connsiteY3" fmla="*/ 2185 h 18423"/>
                  <a:gd name="connsiteX4" fmla="*/ 2135 w 18324"/>
                  <a:gd name="connsiteY4" fmla="*/ 326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2135" y="3261"/>
                    </a:moveTo>
                    <a:cubicBezTo>
                      <a:pt x="-1095" y="7149"/>
                      <a:pt x="-616" y="12950"/>
                      <a:pt x="3271" y="16239"/>
                    </a:cubicBezTo>
                    <a:cubicBezTo>
                      <a:pt x="7159" y="19529"/>
                      <a:pt x="12900" y="19050"/>
                      <a:pt x="16190" y="15163"/>
                    </a:cubicBezTo>
                    <a:cubicBezTo>
                      <a:pt x="19420" y="11275"/>
                      <a:pt x="18941" y="5474"/>
                      <a:pt x="15053" y="2185"/>
                    </a:cubicBezTo>
                    <a:cubicBezTo>
                      <a:pt x="11166" y="-1105"/>
                      <a:pt x="5424" y="-626"/>
                      <a:pt x="2135" y="3261"/>
                    </a:cubicBezTo>
                    <a:close/>
                  </a:path>
                </a:pathLst>
              </a:custGeom>
              <a:grpFill/>
              <a:ln w="5978" cap="flat">
                <a:noFill/>
                <a:prstDash val="solid"/>
                <a:miter/>
              </a:ln>
            </p:spPr>
            <p:txBody>
              <a:bodyPr rtlCol="0" anchor="ctr"/>
              <a:lstStyle/>
              <a:p>
                <a:endParaRPr lang="en-GB"/>
              </a:p>
            </p:txBody>
          </p:sp>
        </p:grpSp>
        <p:grpSp>
          <p:nvGrpSpPr>
            <p:cNvPr id="309" name="Graphic 3">
              <a:extLst>
                <a:ext uri="{FF2B5EF4-FFF2-40B4-BE49-F238E27FC236}">
                  <a16:creationId xmlns:a16="http://schemas.microsoft.com/office/drawing/2014/main" id="{60D22C28-05E3-48A4-9A26-D7811FF807CF}"/>
                </a:ext>
              </a:extLst>
            </p:cNvPr>
            <p:cNvGrpSpPr/>
            <p:nvPr/>
          </p:nvGrpSpPr>
          <p:grpSpPr>
            <a:xfrm>
              <a:off x="7147767" y="2094350"/>
              <a:ext cx="59888" cy="66124"/>
              <a:chOff x="7147767" y="2094350"/>
              <a:chExt cx="59888" cy="66124"/>
            </a:xfrm>
            <a:grpFill/>
          </p:grpSpPr>
          <p:sp>
            <p:nvSpPr>
              <p:cNvPr id="4452" name="Vrije vorm: vorm 4451">
                <a:extLst>
                  <a:ext uri="{FF2B5EF4-FFF2-40B4-BE49-F238E27FC236}">
                    <a16:creationId xmlns:a16="http://schemas.microsoft.com/office/drawing/2014/main" id="{CBD76F5E-40A4-488F-A547-565DCD962B65}"/>
                  </a:ext>
                </a:extLst>
              </p:cNvPr>
              <p:cNvSpPr/>
              <p:nvPr/>
            </p:nvSpPr>
            <p:spPr>
              <a:xfrm>
                <a:off x="7155475" y="2102204"/>
                <a:ext cx="44496" cy="50417"/>
              </a:xfrm>
              <a:custGeom>
                <a:avLst/>
                <a:gdLst>
                  <a:gd name="connsiteX0" fmla="*/ 44497 w 44496"/>
                  <a:gd name="connsiteY0" fmla="*/ 1974 h 50417"/>
                  <a:gd name="connsiteX1" fmla="*/ 2333 w 44496"/>
                  <a:gd name="connsiteY1" fmla="*/ 50417 h 50417"/>
                  <a:gd name="connsiteX2" fmla="*/ 0 w 44496"/>
                  <a:gd name="connsiteY2" fmla="*/ 48444 h 50417"/>
                  <a:gd name="connsiteX3" fmla="*/ 42164 w 44496"/>
                  <a:gd name="connsiteY3" fmla="*/ 0 h 50417"/>
                </a:gdLst>
                <a:ahLst/>
                <a:cxnLst>
                  <a:cxn ang="0">
                    <a:pos x="connsiteX0" y="connsiteY0"/>
                  </a:cxn>
                  <a:cxn ang="0">
                    <a:pos x="connsiteX1" y="connsiteY1"/>
                  </a:cxn>
                  <a:cxn ang="0">
                    <a:pos x="connsiteX2" y="connsiteY2"/>
                  </a:cxn>
                  <a:cxn ang="0">
                    <a:pos x="connsiteX3" y="connsiteY3"/>
                  </a:cxn>
                </a:cxnLst>
                <a:rect l="l" t="t" r="r" b="b"/>
                <a:pathLst>
                  <a:path w="44496" h="50417">
                    <a:moveTo>
                      <a:pt x="44497" y="1974"/>
                    </a:moveTo>
                    <a:lnTo>
                      <a:pt x="2333" y="50417"/>
                    </a:lnTo>
                    <a:lnTo>
                      <a:pt x="0" y="48444"/>
                    </a:lnTo>
                    <a:lnTo>
                      <a:pt x="42164" y="0"/>
                    </a:lnTo>
                    <a:close/>
                  </a:path>
                </a:pathLst>
              </a:custGeom>
              <a:grpFill/>
              <a:ln w="5978" cap="flat">
                <a:noFill/>
                <a:prstDash val="solid"/>
                <a:miter/>
              </a:ln>
            </p:spPr>
            <p:txBody>
              <a:bodyPr rtlCol="0" anchor="ctr"/>
              <a:lstStyle/>
              <a:p>
                <a:endParaRPr lang="en-GB"/>
              </a:p>
            </p:txBody>
          </p:sp>
          <p:sp>
            <p:nvSpPr>
              <p:cNvPr id="4453" name="Vrije vorm: vorm 4452">
                <a:extLst>
                  <a:ext uri="{FF2B5EF4-FFF2-40B4-BE49-F238E27FC236}">
                    <a16:creationId xmlns:a16="http://schemas.microsoft.com/office/drawing/2014/main" id="{2CDB1B25-A9C5-40F2-8B46-E47C66DF3C99}"/>
                  </a:ext>
                </a:extLst>
              </p:cNvPr>
              <p:cNvSpPr/>
              <p:nvPr/>
            </p:nvSpPr>
            <p:spPr>
              <a:xfrm>
                <a:off x="7189333" y="2094350"/>
                <a:ext cx="18322" cy="18398"/>
              </a:xfrm>
              <a:custGeom>
                <a:avLst/>
                <a:gdLst>
                  <a:gd name="connsiteX0" fmla="*/ 2265 w 18322"/>
                  <a:gd name="connsiteY0" fmla="*/ 3129 h 18398"/>
                  <a:gd name="connsiteX1" fmla="*/ 15184 w 18322"/>
                  <a:gd name="connsiteY1" fmla="*/ 2291 h 18398"/>
                  <a:gd name="connsiteX2" fmla="*/ 16081 w 18322"/>
                  <a:gd name="connsiteY2" fmla="*/ 15269 h 18398"/>
                  <a:gd name="connsiteX3" fmla="*/ 3163 w 18322"/>
                  <a:gd name="connsiteY3" fmla="*/ 16107 h 18398"/>
                  <a:gd name="connsiteX4" fmla="*/ 2265 w 18322"/>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98">
                    <a:moveTo>
                      <a:pt x="2265" y="3129"/>
                    </a:moveTo>
                    <a:cubicBezTo>
                      <a:pt x="5614" y="-699"/>
                      <a:pt x="11356" y="-1058"/>
                      <a:pt x="15184" y="2291"/>
                    </a:cubicBezTo>
                    <a:cubicBezTo>
                      <a:pt x="19012" y="5641"/>
                      <a:pt x="19370" y="11442"/>
                      <a:pt x="16081" y="15269"/>
                    </a:cubicBezTo>
                    <a:cubicBezTo>
                      <a:pt x="12732" y="19097"/>
                      <a:pt x="6990" y="19456"/>
                      <a:pt x="3163" y="16107"/>
                    </a:cubicBezTo>
                    <a:cubicBezTo>
                      <a:pt x="-665" y="12758"/>
                      <a:pt x="-1084" y="6956"/>
                      <a:pt x="2265" y="3129"/>
                    </a:cubicBezTo>
                    <a:close/>
                  </a:path>
                </a:pathLst>
              </a:custGeom>
              <a:grpFill/>
              <a:ln w="5978" cap="flat">
                <a:noFill/>
                <a:prstDash val="solid"/>
                <a:miter/>
              </a:ln>
            </p:spPr>
            <p:txBody>
              <a:bodyPr rtlCol="0" anchor="ctr"/>
              <a:lstStyle/>
              <a:p>
                <a:endParaRPr lang="en-GB"/>
              </a:p>
            </p:txBody>
          </p:sp>
          <p:sp>
            <p:nvSpPr>
              <p:cNvPr id="4454" name="Vrije vorm: vorm 4453">
                <a:extLst>
                  <a:ext uri="{FF2B5EF4-FFF2-40B4-BE49-F238E27FC236}">
                    <a16:creationId xmlns:a16="http://schemas.microsoft.com/office/drawing/2014/main" id="{62093F47-658D-4801-84A6-28863634A54F}"/>
                  </a:ext>
                </a:extLst>
              </p:cNvPr>
              <p:cNvSpPr/>
              <p:nvPr/>
            </p:nvSpPr>
            <p:spPr>
              <a:xfrm>
                <a:off x="7147767" y="2142077"/>
                <a:ext cx="18346" cy="18398"/>
              </a:xfrm>
              <a:custGeom>
                <a:avLst/>
                <a:gdLst>
                  <a:gd name="connsiteX0" fmla="*/ 2266 w 18346"/>
                  <a:gd name="connsiteY0" fmla="*/ 3129 h 18398"/>
                  <a:gd name="connsiteX1" fmla="*/ 3162 w 18346"/>
                  <a:gd name="connsiteY1" fmla="*/ 16107 h 18398"/>
                  <a:gd name="connsiteX2" fmla="*/ 16081 w 18346"/>
                  <a:gd name="connsiteY2" fmla="*/ 15270 h 18398"/>
                  <a:gd name="connsiteX3" fmla="*/ 15184 w 18346"/>
                  <a:gd name="connsiteY3" fmla="*/ 2291 h 18398"/>
                  <a:gd name="connsiteX4" fmla="*/ 2266 w 18346"/>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8">
                    <a:moveTo>
                      <a:pt x="2266" y="3129"/>
                    </a:moveTo>
                    <a:cubicBezTo>
                      <a:pt x="-1084" y="6956"/>
                      <a:pt x="-665" y="12758"/>
                      <a:pt x="3162" y="16107"/>
                    </a:cubicBezTo>
                    <a:cubicBezTo>
                      <a:pt x="6990" y="19456"/>
                      <a:pt x="12791" y="19097"/>
                      <a:pt x="16081" y="15270"/>
                    </a:cubicBezTo>
                    <a:cubicBezTo>
                      <a:pt x="19430" y="11442"/>
                      <a:pt x="19011" y="5641"/>
                      <a:pt x="15184" y="2291"/>
                    </a:cubicBezTo>
                    <a:cubicBezTo>
                      <a:pt x="11356" y="-1058"/>
                      <a:pt x="5615" y="-699"/>
                      <a:pt x="2266" y="3129"/>
                    </a:cubicBezTo>
                    <a:close/>
                  </a:path>
                </a:pathLst>
              </a:custGeom>
              <a:grpFill/>
              <a:ln w="5978" cap="flat">
                <a:noFill/>
                <a:prstDash val="solid"/>
                <a:miter/>
              </a:ln>
            </p:spPr>
            <p:txBody>
              <a:bodyPr rtlCol="0" anchor="ctr"/>
              <a:lstStyle/>
              <a:p>
                <a:endParaRPr lang="en-GB"/>
              </a:p>
            </p:txBody>
          </p:sp>
        </p:grpSp>
        <p:grpSp>
          <p:nvGrpSpPr>
            <p:cNvPr id="310" name="Graphic 3">
              <a:extLst>
                <a:ext uri="{FF2B5EF4-FFF2-40B4-BE49-F238E27FC236}">
                  <a16:creationId xmlns:a16="http://schemas.microsoft.com/office/drawing/2014/main" id="{8EA83FCA-7DA1-47C0-A000-A3B959A5DEC3}"/>
                </a:ext>
              </a:extLst>
            </p:cNvPr>
            <p:cNvGrpSpPr/>
            <p:nvPr/>
          </p:nvGrpSpPr>
          <p:grpSpPr>
            <a:xfrm>
              <a:off x="7652479" y="3917869"/>
              <a:ext cx="241669" cy="89336"/>
              <a:chOff x="7652479" y="3917869"/>
              <a:chExt cx="241669" cy="89336"/>
            </a:xfrm>
            <a:grpFill/>
          </p:grpSpPr>
          <p:sp>
            <p:nvSpPr>
              <p:cNvPr id="4449" name="Vrije vorm: vorm 4448">
                <a:extLst>
                  <a:ext uri="{FF2B5EF4-FFF2-40B4-BE49-F238E27FC236}">
                    <a16:creationId xmlns:a16="http://schemas.microsoft.com/office/drawing/2014/main" id="{712E5222-51DC-4864-BE42-64D088EC0119}"/>
                  </a:ext>
                </a:extLst>
              </p:cNvPr>
              <p:cNvSpPr/>
              <p:nvPr/>
            </p:nvSpPr>
            <p:spPr>
              <a:xfrm>
                <a:off x="7660726" y="3925487"/>
                <a:ext cx="225114" cy="74100"/>
              </a:xfrm>
              <a:custGeom>
                <a:avLst/>
                <a:gdLst>
                  <a:gd name="connsiteX0" fmla="*/ 225114 w 225114"/>
                  <a:gd name="connsiteY0" fmla="*/ 71170 h 74100"/>
                  <a:gd name="connsiteX1" fmla="*/ 224217 w 225114"/>
                  <a:gd name="connsiteY1" fmla="*/ 74101 h 74100"/>
                  <a:gd name="connsiteX2" fmla="*/ 0 w 225114"/>
                  <a:gd name="connsiteY2" fmla="*/ 2930 h 74100"/>
                  <a:gd name="connsiteX3" fmla="*/ 897 w 225114"/>
                  <a:gd name="connsiteY3" fmla="*/ 0 h 74100"/>
                </a:gdLst>
                <a:ahLst/>
                <a:cxnLst>
                  <a:cxn ang="0">
                    <a:pos x="connsiteX0" y="connsiteY0"/>
                  </a:cxn>
                  <a:cxn ang="0">
                    <a:pos x="connsiteX1" y="connsiteY1"/>
                  </a:cxn>
                  <a:cxn ang="0">
                    <a:pos x="connsiteX2" y="connsiteY2"/>
                  </a:cxn>
                  <a:cxn ang="0">
                    <a:pos x="connsiteX3" y="connsiteY3"/>
                  </a:cxn>
                </a:cxnLst>
                <a:rect l="l" t="t" r="r" b="b"/>
                <a:pathLst>
                  <a:path w="225114" h="74100">
                    <a:moveTo>
                      <a:pt x="225114" y="71170"/>
                    </a:moveTo>
                    <a:lnTo>
                      <a:pt x="224217" y="74101"/>
                    </a:lnTo>
                    <a:lnTo>
                      <a:pt x="0" y="2930"/>
                    </a:lnTo>
                    <a:lnTo>
                      <a:pt x="897" y="0"/>
                    </a:lnTo>
                    <a:close/>
                  </a:path>
                </a:pathLst>
              </a:custGeom>
              <a:grpFill/>
              <a:ln w="5978" cap="flat">
                <a:noFill/>
                <a:prstDash val="solid"/>
                <a:miter/>
              </a:ln>
            </p:spPr>
            <p:txBody>
              <a:bodyPr rtlCol="0" anchor="ctr"/>
              <a:lstStyle/>
              <a:p>
                <a:endParaRPr lang="en-GB"/>
              </a:p>
            </p:txBody>
          </p:sp>
          <p:sp>
            <p:nvSpPr>
              <p:cNvPr id="4450" name="Vrije vorm: vorm 4449">
                <a:extLst>
                  <a:ext uri="{FF2B5EF4-FFF2-40B4-BE49-F238E27FC236}">
                    <a16:creationId xmlns:a16="http://schemas.microsoft.com/office/drawing/2014/main" id="{3135C860-4CC3-4E75-A39F-AF1FFDF7DBA5}"/>
                  </a:ext>
                </a:extLst>
              </p:cNvPr>
              <p:cNvSpPr/>
              <p:nvPr/>
            </p:nvSpPr>
            <p:spPr>
              <a:xfrm>
                <a:off x="7875799" y="3988800"/>
                <a:ext cx="18349" cy="18405"/>
              </a:xfrm>
              <a:custGeom>
                <a:avLst/>
                <a:gdLst>
                  <a:gd name="connsiteX0" fmla="*/ 11896 w 18349"/>
                  <a:gd name="connsiteY0" fmla="*/ 441 h 18405"/>
                  <a:gd name="connsiteX1" fmla="*/ 17937 w 18349"/>
                  <a:gd name="connsiteY1" fmla="*/ 11984 h 18405"/>
                  <a:gd name="connsiteX2" fmla="*/ 6453 w 18349"/>
                  <a:gd name="connsiteY2" fmla="*/ 17964 h 18405"/>
                  <a:gd name="connsiteX3" fmla="*/ 413 w 18349"/>
                  <a:gd name="connsiteY3" fmla="*/ 6422 h 18405"/>
                  <a:gd name="connsiteX4" fmla="*/ 11896 w 18349"/>
                  <a:gd name="connsiteY4" fmla="*/ 4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11896" y="441"/>
                    </a:moveTo>
                    <a:cubicBezTo>
                      <a:pt x="16740" y="1996"/>
                      <a:pt x="19432" y="7139"/>
                      <a:pt x="17937" y="11984"/>
                    </a:cubicBezTo>
                    <a:cubicBezTo>
                      <a:pt x="16442" y="16828"/>
                      <a:pt x="11298" y="19519"/>
                      <a:pt x="6453" y="17964"/>
                    </a:cubicBezTo>
                    <a:cubicBezTo>
                      <a:pt x="1609" y="16409"/>
                      <a:pt x="-1082" y="11266"/>
                      <a:pt x="413" y="6422"/>
                    </a:cubicBezTo>
                    <a:cubicBezTo>
                      <a:pt x="1908" y="1577"/>
                      <a:pt x="7051" y="-1114"/>
                      <a:pt x="11896" y="441"/>
                    </a:cubicBezTo>
                    <a:close/>
                  </a:path>
                </a:pathLst>
              </a:custGeom>
              <a:grpFill/>
              <a:ln w="5978" cap="flat">
                <a:noFill/>
                <a:prstDash val="solid"/>
                <a:miter/>
              </a:ln>
            </p:spPr>
            <p:txBody>
              <a:bodyPr rtlCol="0" anchor="ctr"/>
              <a:lstStyle/>
              <a:p>
                <a:endParaRPr lang="en-GB"/>
              </a:p>
            </p:txBody>
          </p:sp>
          <p:sp>
            <p:nvSpPr>
              <p:cNvPr id="4451" name="Vrije vorm: vorm 4450">
                <a:extLst>
                  <a:ext uri="{FF2B5EF4-FFF2-40B4-BE49-F238E27FC236}">
                    <a16:creationId xmlns:a16="http://schemas.microsoft.com/office/drawing/2014/main" id="{DE34C171-FD4F-43D9-B45C-3B3E79FC29B4}"/>
                  </a:ext>
                </a:extLst>
              </p:cNvPr>
              <p:cNvSpPr/>
              <p:nvPr/>
            </p:nvSpPr>
            <p:spPr>
              <a:xfrm>
                <a:off x="7652479" y="3917869"/>
                <a:ext cx="18343" cy="18405"/>
              </a:xfrm>
              <a:custGeom>
                <a:avLst/>
                <a:gdLst>
                  <a:gd name="connsiteX0" fmla="*/ 11896 w 18343"/>
                  <a:gd name="connsiteY0" fmla="*/ 441 h 18405"/>
                  <a:gd name="connsiteX1" fmla="*/ 413 w 18343"/>
                  <a:gd name="connsiteY1" fmla="*/ 6422 h 18405"/>
                  <a:gd name="connsiteX2" fmla="*/ 6454 w 18343"/>
                  <a:gd name="connsiteY2" fmla="*/ 17964 h 18405"/>
                  <a:gd name="connsiteX3" fmla="*/ 17936 w 18343"/>
                  <a:gd name="connsiteY3" fmla="*/ 11984 h 18405"/>
                  <a:gd name="connsiteX4" fmla="*/ 11896 w 18343"/>
                  <a:gd name="connsiteY4" fmla="*/ 4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5">
                    <a:moveTo>
                      <a:pt x="11896" y="441"/>
                    </a:moveTo>
                    <a:cubicBezTo>
                      <a:pt x="7051" y="-1114"/>
                      <a:pt x="1908" y="1577"/>
                      <a:pt x="413" y="6422"/>
                    </a:cubicBezTo>
                    <a:cubicBezTo>
                      <a:pt x="-1082" y="11266"/>
                      <a:pt x="1609" y="16469"/>
                      <a:pt x="6454" y="17964"/>
                    </a:cubicBezTo>
                    <a:cubicBezTo>
                      <a:pt x="11298" y="19519"/>
                      <a:pt x="16441" y="16828"/>
                      <a:pt x="17936" y="11984"/>
                    </a:cubicBezTo>
                    <a:cubicBezTo>
                      <a:pt x="19431" y="7139"/>
                      <a:pt x="16680" y="1996"/>
                      <a:pt x="11896" y="441"/>
                    </a:cubicBezTo>
                    <a:close/>
                  </a:path>
                </a:pathLst>
              </a:custGeom>
              <a:grpFill/>
              <a:ln w="5978" cap="flat">
                <a:noFill/>
                <a:prstDash val="solid"/>
                <a:miter/>
              </a:ln>
            </p:spPr>
            <p:txBody>
              <a:bodyPr rtlCol="0" anchor="ctr"/>
              <a:lstStyle/>
              <a:p>
                <a:endParaRPr lang="en-GB"/>
              </a:p>
            </p:txBody>
          </p:sp>
        </p:grpSp>
        <p:grpSp>
          <p:nvGrpSpPr>
            <p:cNvPr id="311" name="Graphic 3">
              <a:extLst>
                <a:ext uri="{FF2B5EF4-FFF2-40B4-BE49-F238E27FC236}">
                  <a16:creationId xmlns:a16="http://schemas.microsoft.com/office/drawing/2014/main" id="{484C5C1A-1B3E-41D0-A770-71E5BD50C632}"/>
                </a:ext>
              </a:extLst>
            </p:cNvPr>
            <p:cNvGrpSpPr/>
            <p:nvPr/>
          </p:nvGrpSpPr>
          <p:grpSpPr>
            <a:xfrm>
              <a:off x="6978354" y="1771353"/>
              <a:ext cx="214352" cy="250346"/>
              <a:chOff x="6978354" y="1771353"/>
              <a:chExt cx="214352" cy="250346"/>
            </a:xfrm>
            <a:grpFill/>
          </p:grpSpPr>
          <p:sp>
            <p:nvSpPr>
              <p:cNvPr id="4446" name="Vrije vorm: vorm 4445">
                <a:extLst>
                  <a:ext uri="{FF2B5EF4-FFF2-40B4-BE49-F238E27FC236}">
                    <a16:creationId xmlns:a16="http://schemas.microsoft.com/office/drawing/2014/main" id="{2D47DA64-A681-40BF-9FB1-B7373DC3EEE5}"/>
                  </a:ext>
                </a:extLst>
              </p:cNvPr>
              <p:cNvSpPr/>
              <p:nvPr/>
            </p:nvSpPr>
            <p:spPr>
              <a:xfrm>
                <a:off x="6986101" y="1779185"/>
                <a:ext cx="198918" cy="234683"/>
              </a:xfrm>
              <a:custGeom>
                <a:avLst/>
                <a:gdLst>
                  <a:gd name="connsiteX0" fmla="*/ 198919 w 198918"/>
                  <a:gd name="connsiteY0" fmla="*/ 1974 h 234683"/>
                  <a:gd name="connsiteX1" fmla="*/ 2333 w 198918"/>
                  <a:gd name="connsiteY1" fmla="*/ 234684 h 234683"/>
                  <a:gd name="connsiteX2" fmla="*/ 0 w 198918"/>
                  <a:gd name="connsiteY2" fmla="*/ 232710 h 234683"/>
                  <a:gd name="connsiteX3" fmla="*/ 196586 w 198918"/>
                  <a:gd name="connsiteY3" fmla="*/ 0 h 234683"/>
                </a:gdLst>
                <a:ahLst/>
                <a:cxnLst>
                  <a:cxn ang="0">
                    <a:pos x="connsiteX0" y="connsiteY0"/>
                  </a:cxn>
                  <a:cxn ang="0">
                    <a:pos x="connsiteX1" y="connsiteY1"/>
                  </a:cxn>
                  <a:cxn ang="0">
                    <a:pos x="connsiteX2" y="connsiteY2"/>
                  </a:cxn>
                  <a:cxn ang="0">
                    <a:pos x="connsiteX3" y="connsiteY3"/>
                  </a:cxn>
                </a:cxnLst>
                <a:rect l="l" t="t" r="r" b="b"/>
                <a:pathLst>
                  <a:path w="198918" h="234683">
                    <a:moveTo>
                      <a:pt x="198919" y="1974"/>
                    </a:moveTo>
                    <a:lnTo>
                      <a:pt x="2333" y="234684"/>
                    </a:lnTo>
                    <a:lnTo>
                      <a:pt x="0" y="232710"/>
                    </a:lnTo>
                    <a:lnTo>
                      <a:pt x="196586" y="0"/>
                    </a:lnTo>
                    <a:close/>
                  </a:path>
                </a:pathLst>
              </a:custGeom>
              <a:grpFill/>
              <a:ln w="5978" cap="flat">
                <a:noFill/>
                <a:prstDash val="solid"/>
                <a:miter/>
              </a:ln>
            </p:spPr>
            <p:txBody>
              <a:bodyPr rtlCol="0" anchor="ctr"/>
              <a:lstStyle/>
              <a:p>
                <a:endParaRPr lang="en-GB"/>
              </a:p>
            </p:txBody>
          </p:sp>
          <p:sp>
            <p:nvSpPr>
              <p:cNvPr id="4447" name="Vrije vorm: vorm 4446">
                <a:extLst>
                  <a:ext uri="{FF2B5EF4-FFF2-40B4-BE49-F238E27FC236}">
                    <a16:creationId xmlns:a16="http://schemas.microsoft.com/office/drawing/2014/main" id="{6DBDA8E9-0A9A-467E-B9F7-3D54DCB46310}"/>
                  </a:ext>
                </a:extLst>
              </p:cNvPr>
              <p:cNvSpPr/>
              <p:nvPr/>
            </p:nvSpPr>
            <p:spPr>
              <a:xfrm>
                <a:off x="6978354" y="2003286"/>
                <a:ext cx="18364" cy="18414"/>
              </a:xfrm>
              <a:custGeom>
                <a:avLst/>
                <a:gdLst>
                  <a:gd name="connsiteX0" fmla="*/ 16180 w 18364"/>
                  <a:gd name="connsiteY0" fmla="*/ 15188 h 18414"/>
                  <a:gd name="connsiteX1" fmla="*/ 3261 w 18364"/>
                  <a:gd name="connsiteY1" fmla="*/ 16205 h 18414"/>
                  <a:gd name="connsiteX2" fmla="*/ 2184 w 18364"/>
                  <a:gd name="connsiteY2" fmla="*/ 3227 h 18414"/>
                  <a:gd name="connsiteX3" fmla="*/ 15103 w 18364"/>
                  <a:gd name="connsiteY3" fmla="*/ 2210 h 18414"/>
                  <a:gd name="connsiteX4" fmla="*/ 16180 w 18364"/>
                  <a:gd name="connsiteY4" fmla="*/ 1518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16180" y="15188"/>
                    </a:moveTo>
                    <a:cubicBezTo>
                      <a:pt x="12890" y="19075"/>
                      <a:pt x="7149" y="19494"/>
                      <a:pt x="3261" y="16205"/>
                    </a:cubicBezTo>
                    <a:cubicBezTo>
                      <a:pt x="-626" y="12915"/>
                      <a:pt x="-1105" y="7114"/>
                      <a:pt x="2184" y="3227"/>
                    </a:cubicBezTo>
                    <a:cubicBezTo>
                      <a:pt x="5474" y="-661"/>
                      <a:pt x="11215" y="-1080"/>
                      <a:pt x="15103" y="2210"/>
                    </a:cubicBezTo>
                    <a:cubicBezTo>
                      <a:pt x="18991" y="5499"/>
                      <a:pt x="19469" y="11360"/>
                      <a:pt x="16180" y="15188"/>
                    </a:cubicBezTo>
                    <a:close/>
                  </a:path>
                </a:pathLst>
              </a:custGeom>
              <a:grpFill/>
              <a:ln w="5978" cap="flat">
                <a:noFill/>
                <a:prstDash val="solid"/>
                <a:miter/>
              </a:ln>
            </p:spPr>
            <p:txBody>
              <a:bodyPr rtlCol="0" anchor="ctr"/>
              <a:lstStyle/>
              <a:p>
                <a:endParaRPr lang="en-GB"/>
              </a:p>
            </p:txBody>
          </p:sp>
          <p:sp>
            <p:nvSpPr>
              <p:cNvPr id="4448" name="Vrije vorm: vorm 4447">
                <a:extLst>
                  <a:ext uri="{FF2B5EF4-FFF2-40B4-BE49-F238E27FC236}">
                    <a16:creationId xmlns:a16="http://schemas.microsoft.com/office/drawing/2014/main" id="{1FEA5170-0164-4F7C-AE47-C81ED5BE297E}"/>
                  </a:ext>
                </a:extLst>
              </p:cNvPr>
              <p:cNvSpPr/>
              <p:nvPr/>
            </p:nvSpPr>
            <p:spPr>
              <a:xfrm>
                <a:off x="7174342" y="1771353"/>
                <a:ext cx="18364" cy="18394"/>
              </a:xfrm>
              <a:custGeom>
                <a:avLst/>
                <a:gdLst>
                  <a:gd name="connsiteX0" fmla="*/ 16179 w 18364"/>
                  <a:gd name="connsiteY0" fmla="*/ 15188 h 18394"/>
                  <a:gd name="connsiteX1" fmla="*/ 15103 w 18364"/>
                  <a:gd name="connsiteY1" fmla="*/ 2210 h 18394"/>
                  <a:gd name="connsiteX2" fmla="*/ 2185 w 18364"/>
                  <a:gd name="connsiteY2" fmla="*/ 3227 h 18394"/>
                  <a:gd name="connsiteX3" fmla="*/ 3261 w 18364"/>
                  <a:gd name="connsiteY3" fmla="*/ 16205 h 18394"/>
                  <a:gd name="connsiteX4" fmla="*/ 16179 w 18364"/>
                  <a:gd name="connsiteY4" fmla="*/ 151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394">
                    <a:moveTo>
                      <a:pt x="16179" y="15188"/>
                    </a:moveTo>
                    <a:cubicBezTo>
                      <a:pt x="19469" y="11301"/>
                      <a:pt x="18991" y="5499"/>
                      <a:pt x="15103" y="2210"/>
                    </a:cubicBezTo>
                    <a:cubicBezTo>
                      <a:pt x="11216" y="-1080"/>
                      <a:pt x="5474" y="-661"/>
                      <a:pt x="2185" y="3227"/>
                    </a:cubicBezTo>
                    <a:cubicBezTo>
                      <a:pt x="-1105" y="7114"/>
                      <a:pt x="-626" y="12915"/>
                      <a:pt x="3261" y="16205"/>
                    </a:cubicBezTo>
                    <a:cubicBezTo>
                      <a:pt x="7148" y="19494"/>
                      <a:pt x="12890" y="19016"/>
                      <a:pt x="16179" y="15188"/>
                    </a:cubicBezTo>
                    <a:close/>
                  </a:path>
                </a:pathLst>
              </a:custGeom>
              <a:grpFill/>
              <a:ln w="5978" cap="flat">
                <a:noFill/>
                <a:prstDash val="solid"/>
                <a:miter/>
              </a:ln>
            </p:spPr>
            <p:txBody>
              <a:bodyPr rtlCol="0" anchor="ctr"/>
              <a:lstStyle/>
              <a:p>
                <a:endParaRPr lang="en-GB"/>
              </a:p>
            </p:txBody>
          </p:sp>
        </p:grpSp>
        <p:grpSp>
          <p:nvGrpSpPr>
            <p:cNvPr id="312" name="Graphic 3">
              <a:extLst>
                <a:ext uri="{FF2B5EF4-FFF2-40B4-BE49-F238E27FC236}">
                  <a16:creationId xmlns:a16="http://schemas.microsoft.com/office/drawing/2014/main" id="{EFD08F39-1051-459D-8E1A-B55A91E9E2D1}"/>
                </a:ext>
              </a:extLst>
            </p:cNvPr>
            <p:cNvGrpSpPr/>
            <p:nvPr/>
          </p:nvGrpSpPr>
          <p:grpSpPr>
            <a:xfrm>
              <a:off x="7742526" y="3911829"/>
              <a:ext cx="42556" cy="25580"/>
              <a:chOff x="7742526" y="3911829"/>
              <a:chExt cx="42556" cy="25580"/>
            </a:xfrm>
            <a:grpFill/>
          </p:grpSpPr>
          <p:sp>
            <p:nvSpPr>
              <p:cNvPr id="4443" name="Vrije vorm: vorm 4442">
                <a:extLst>
                  <a:ext uri="{FF2B5EF4-FFF2-40B4-BE49-F238E27FC236}">
                    <a16:creationId xmlns:a16="http://schemas.microsoft.com/office/drawing/2014/main" id="{96F93207-35FC-46C0-993A-B5C48CD6C24C}"/>
                  </a:ext>
                </a:extLst>
              </p:cNvPr>
              <p:cNvSpPr/>
              <p:nvPr/>
            </p:nvSpPr>
            <p:spPr>
              <a:xfrm>
                <a:off x="7750856" y="3919386"/>
                <a:ext cx="25956" cy="10406"/>
              </a:xfrm>
              <a:custGeom>
                <a:avLst/>
                <a:gdLst>
                  <a:gd name="connsiteX0" fmla="*/ 25956 w 25956"/>
                  <a:gd name="connsiteY0" fmla="*/ 7476 h 10406"/>
                  <a:gd name="connsiteX1" fmla="*/ 25059 w 25956"/>
                  <a:gd name="connsiteY1" fmla="*/ 10406 h 10406"/>
                  <a:gd name="connsiteX2" fmla="*/ 0 w 25956"/>
                  <a:gd name="connsiteY2" fmla="*/ 2990 h 10406"/>
                  <a:gd name="connsiteX3" fmla="*/ 837 w 25956"/>
                  <a:gd name="connsiteY3" fmla="*/ 0 h 10406"/>
                </a:gdLst>
                <a:ahLst/>
                <a:cxnLst>
                  <a:cxn ang="0">
                    <a:pos x="connsiteX0" y="connsiteY0"/>
                  </a:cxn>
                  <a:cxn ang="0">
                    <a:pos x="connsiteX1" y="connsiteY1"/>
                  </a:cxn>
                  <a:cxn ang="0">
                    <a:pos x="connsiteX2" y="connsiteY2"/>
                  </a:cxn>
                  <a:cxn ang="0">
                    <a:pos x="connsiteX3" y="connsiteY3"/>
                  </a:cxn>
                </a:cxnLst>
                <a:rect l="l" t="t" r="r" b="b"/>
                <a:pathLst>
                  <a:path w="25956" h="10406">
                    <a:moveTo>
                      <a:pt x="25956" y="7476"/>
                    </a:moveTo>
                    <a:lnTo>
                      <a:pt x="25059" y="10406"/>
                    </a:lnTo>
                    <a:lnTo>
                      <a:pt x="0" y="2990"/>
                    </a:lnTo>
                    <a:lnTo>
                      <a:pt x="837" y="0"/>
                    </a:lnTo>
                    <a:close/>
                  </a:path>
                </a:pathLst>
              </a:custGeom>
              <a:grpFill/>
              <a:ln w="5978" cap="flat">
                <a:noFill/>
                <a:prstDash val="solid"/>
                <a:miter/>
              </a:ln>
            </p:spPr>
            <p:txBody>
              <a:bodyPr rtlCol="0" anchor="ctr"/>
              <a:lstStyle/>
              <a:p>
                <a:endParaRPr lang="en-GB"/>
              </a:p>
            </p:txBody>
          </p:sp>
          <p:sp>
            <p:nvSpPr>
              <p:cNvPr id="4444" name="Vrije vorm: vorm 4443">
                <a:extLst>
                  <a:ext uri="{FF2B5EF4-FFF2-40B4-BE49-F238E27FC236}">
                    <a16:creationId xmlns:a16="http://schemas.microsoft.com/office/drawing/2014/main" id="{6763E414-CCD1-4CA0-B59E-4E457A66B9AA}"/>
                  </a:ext>
                </a:extLst>
              </p:cNvPr>
              <p:cNvSpPr/>
              <p:nvPr/>
            </p:nvSpPr>
            <p:spPr>
              <a:xfrm>
                <a:off x="7766748" y="3919006"/>
                <a:ext cx="18334" cy="18403"/>
              </a:xfrm>
              <a:custGeom>
                <a:avLst/>
                <a:gdLst>
                  <a:gd name="connsiteX0" fmla="*/ 11739 w 18334"/>
                  <a:gd name="connsiteY0" fmla="*/ 380 h 18403"/>
                  <a:gd name="connsiteX1" fmla="*/ 17959 w 18334"/>
                  <a:gd name="connsiteY1" fmla="*/ 11803 h 18403"/>
                  <a:gd name="connsiteX2" fmla="*/ 6596 w 18334"/>
                  <a:gd name="connsiteY2" fmla="*/ 18023 h 18403"/>
                  <a:gd name="connsiteX3" fmla="*/ 375 w 18334"/>
                  <a:gd name="connsiteY3" fmla="*/ 6600 h 18403"/>
                  <a:gd name="connsiteX4" fmla="*/ 11739 w 18334"/>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3">
                    <a:moveTo>
                      <a:pt x="11739" y="380"/>
                    </a:moveTo>
                    <a:cubicBezTo>
                      <a:pt x="16583" y="1815"/>
                      <a:pt x="19394" y="6959"/>
                      <a:pt x="17959" y="11803"/>
                    </a:cubicBezTo>
                    <a:cubicBezTo>
                      <a:pt x="16523" y="16707"/>
                      <a:pt x="11440" y="19459"/>
                      <a:pt x="6596" y="18023"/>
                    </a:cubicBezTo>
                    <a:cubicBezTo>
                      <a:pt x="1751" y="16588"/>
                      <a:pt x="-1060" y="11444"/>
                      <a:pt x="375" y="6600"/>
                    </a:cubicBezTo>
                    <a:cubicBezTo>
                      <a:pt x="1811" y="1696"/>
                      <a:pt x="6894" y="-1055"/>
                      <a:pt x="11739" y="380"/>
                    </a:cubicBezTo>
                    <a:close/>
                  </a:path>
                </a:pathLst>
              </a:custGeom>
              <a:grpFill/>
              <a:ln w="5978" cap="flat">
                <a:noFill/>
                <a:prstDash val="solid"/>
                <a:miter/>
              </a:ln>
            </p:spPr>
            <p:txBody>
              <a:bodyPr rtlCol="0" anchor="ctr"/>
              <a:lstStyle/>
              <a:p>
                <a:endParaRPr lang="en-GB"/>
              </a:p>
            </p:txBody>
          </p:sp>
          <p:sp>
            <p:nvSpPr>
              <p:cNvPr id="4445" name="Vrije vorm: vorm 4444">
                <a:extLst>
                  <a:ext uri="{FF2B5EF4-FFF2-40B4-BE49-F238E27FC236}">
                    <a16:creationId xmlns:a16="http://schemas.microsoft.com/office/drawing/2014/main" id="{44B518FE-8CF6-43F8-99C6-A92A084D5E12}"/>
                  </a:ext>
                </a:extLst>
              </p:cNvPr>
              <p:cNvSpPr/>
              <p:nvPr/>
            </p:nvSpPr>
            <p:spPr>
              <a:xfrm>
                <a:off x="7742526" y="3911829"/>
                <a:ext cx="18339" cy="18403"/>
              </a:xfrm>
              <a:custGeom>
                <a:avLst/>
                <a:gdLst>
                  <a:gd name="connsiteX0" fmla="*/ 11739 w 18339"/>
                  <a:gd name="connsiteY0" fmla="*/ 380 h 18403"/>
                  <a:gd name="connsiteX1" fmla="*/ 375 w 18339"/>
                  <a:gd name="connsiteY1" fmla="*/ 6600 h 18403"/>
                  <a:gd name="connsiteX2" fmla="*/ 6595 w 18339"/>
                  <a:gd name="connsiteY2" fmla="*/ 18023 h 18403"/>
                  <a:gd name="connsiteX3" fmla="*/ 17959 w 18339"/>
                  <a:gd name="connsiteY3" fmla="*/ 11803 h 18403"/>
                  <a:gd name="connsiteX4" fmla="*/ 11739 w 18339"/>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3">
                    <a:moveTo>
                      <a:pt x="11739" y="380"/>
                    </a:moveTo>
                    <a:cubicBezTo>
                      <a:pt x="6895" y="-1055"/>
                      <a:pt x="1811" y="1696"/>
                      <a:pt x="375" y="6600"/>
                    </a:cubicBezTo>
                    <a:cubicBezTo>
                      <a:pt x="-1060" y="11504"/>
                      <a:pt x="1751" y="16588"/>
                      <a:pt x="6595" y="18023"/>
                    </a:cubicBezTo>
                    <a:cubicBezTo>
                      <a:pt x="11440" y="19459"/>
                      <a:pt x="16524" y="16707"/>
                      <a:pt x="17959" y="11803"/>
                    </a:cubicBezTo>
                    <a:cubicBezTo>
                      <a:pt x="19394" y="6899"/>
                      <a:pt x="16643" y="1815"/>
                      <a:pt x="11739" y="380"/>
                    </a:cubicBezTo>
                    <a:close/>
                  </a:path>
                </a:pathLst>
              </a:custGeom>
              <a:grpFill/>
              <a:ln w="5978" cap="flat">
                <a:noFill/>
                <a:prstDash val="solid"/>
                <a:miter/>
              </a:ln>
            </p:spPr>
            <p:txBody>
              <a:bodyPr rtlCol="0" anchor="ctr"/>
              <a:lstStyle/>
              <a:p>
                <a:endParaRPr lang="en-GB"/>
              </a:p>
            </p:txBody>
          </p:sp>
        </p:grpSp>
        <p:grpSp>
          <p:nvGrpSpPr>
            <p:cNvPr id="313" name="Graphic 3">
              <a:extLst>
                <a:ext uri="{FF2B5EF4-FFF2-40B4-BE49-F238E27FC236}">
                  <a16:creationId xmlns:a16="http://schemas.microsoft.com/office/drawing/2014/main" id="{0CD413DE-F7C7-493B-BBCE-B2B13B799B50}"/>
                </a:ext>
              </a:extLst>
            </p:cNvPr>
            <p:cNvGrpSpPr/>
            <p:nvPr/>
          </p:nvGrpSpPr>
          <p:grpSpPr>
            <a:xfrm>
              <a:off x="7678910" y="3794731"/>
              <a:ext cx="105612" cy="39125"/>
              <a:chOff x="7678910" y="3794731"/>
              <a:chExt cx="105612" cy="39125"/>
            </a:xfrm>
            <a:grpFill/>
          </p:grpSpPr>
          <p:sp>
            <p:nvSpPr>
              <p:cNvPr id="4440" name="Vrije vorm: vorm 4439">
                <a:extLst>
                  <a:ext uri="{FF2B5EF4-FFF2-40B4-BE49-F238E27FC236}">
                    <a16:creationId xmlns:a16="http://schemas.microsoft.com/office/drawing/2014/main" id="{6763ADCF-8701-4E05-B33F-29E2923C5C90}"/>
                  </a:ext>
                </a:extLst>
              </p:cNvPr>
              <p:cNvSpPr/>
              <p:nvPr/>
            </p:nvSpPr>
            <p:spPr>
              <a:xfrm>
                <a:off x="7687281" y="3802403"/>
                <a:ext cx="88813" cy="23863"/>
              </a:xfrm>
              <a:custGeom>
                <a:avLst/>
                <a:gdLst>
                  <a:gd name="connsiteX0" fmla="*/ 88814 w 88813"/>
                  <a:gd name="connsiteY0" fmla="*/ 20873 h 23863"/>
                  <a:gd name="connsiteX1" fmla="*/ 88156 w 88813"/>
                  <a:gd name="connsiteY1" fmla="*/ 23863 h 23863"/>
                  <a:gd name="connsiteX2" fmla="*/ 0 w 88813"/>
                  <a:gd name="connsiteY2" fmla="*/ 2990 h 23863"/>
                  <a:gd name="connsiteX3" fmla="*/ 718 w 88813"/>
                  <a:gd name="connsiteY3" fmla="*/ 0 h 23863"/>
                </a:gdLst>
                <a:ahLst/>
                <a:cxnLst>
                  <a:cxn ang="0">
                    <a:pos x="connsiteX0" y="connsiteY0"/>
                  </a:cxn>
                  <a:cxn ang="0">
                    <a:pos x="connsiteX1" y="connsiteY1"/>
                  </a:cxn>
                  <a:cxn ang="0">
                    <a:pos x="connsiteX2" y="connsiteY2"/>
                  </a:cxn>
                  <a:cxn ang="0">
                    <a:pos x="connsiteX3" y="connsiteY3"/>
                  </a:cxn>
                </a:cxnLst>
                <a:rect l="l" t="t" r="r" b="b"/>
                <a:pathLst>
                  <a:path w="88813" h="23863">
                    <a:moveTo>
                      <a:pt x="88814" y="20873"/>
                    </a:moveTo>
                    <a:lnTo>
                      <a:pt x="88156" y="23863"/>
                    </a:lnTo>
                    <a:lnTo>
                      <a:pt x="0" y="2990"/>
                    </a:lnTo>
                    <a:lnTo>
                      <a:pt x="718" y="0"/>
                    </a:lnTo>
                    <a:close/>
                  </a:path>
                </a:pathLst>
              </a:custGeom>
              <a:grpFill/>
              <a:ln w="5978" cap="flat">
                <a:noFill/>
                <a:prstDash val="solid"/>
                <a:miter/>
              </a:ln>
            </p:spPr>
            <p:txBody>
              <a:bodyPr rtlCol="0" anchor="ctr"/>
              <a:lstStyle/>
              <a:p>
                <a:endParaRPr lang="en-GB"/>
              </a:p>
            </p:txBody>
          </p:sp>
          <p:sp>
            <p:nvSpPr>
              <p:cNvPr id="4441" name="Vrije vorm: vorm 4440">
                <a:extLst>
                  <a:ext uri="{FF2B5EF4-FFF2-40B4-BE49-F238E27FC236}">
                    <a16:creationId xmlns:a16="http://schemas.microsoft.com/office/drawing/2014/main" id="{E2C9F0CF-C96E-4135-9C53-7F90EEE41A2C}"/>
                  </a:ext>
                </a:extLst>
              </p:cNvPr>
              <p:cNvSpPr/>
              <p:nvPr/>
            </p:nvSpPr>
            <p:spPr>
              <a:xfrm>
                <a:off x="7766171" y="3815443"/>
                <a:ext cx="18350" cy="18413"/>
              </a:xfrm>
              <a:custGeom>
                <a:avLst/>
                <a:gdLst>
                  <a:gd name="connsiteX0" fmla="*/ 11239 w 18350"/>
                  <a:gd name="connsiteY0" fmla="*/ 237 h 18413"/>
                  <a:gd name="connsiteX1" fmla="*/ 18117 w 18350"/>
                  <a:gd name="connsiteY1" fmla="*/ 11302 h 18413"/>
                  <a:gd name="connsiteX2" fmla="*/ 7112 w 18350"/>
                  <a:gd name="connsiteY2" fmla="*/ 18180 h 18413"/>
                  <a:gd name="connsiteX3" fmla="*/ 234 w 18350"/>
                  <a:gd name="connsiteY3" fmla="*/ 7115 h 18413"/>
                  <a:gd name="connsiteX4" fmla="*/ 11239 w 18350"/>
                  <a:gd name="connsiteY4" fmla="*/ 237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3">
                    <a:moveTo>
                      <a:pt x="11239" y="237"/>
                    </a:moveTo>
                    <a:cubicBezTo>
                      <a:pt x="16143" y="1434"/>
                      <a:pt x="19253" y="6398"/>
                      <a:pt x="18117" y="11302"/>
                    </a:cubicBezTo>
                    <a:cubicBezTo>
                      <a:pt x="16981" y="16206"/>
                      <a:pt x="12076" y="19316"/>
                      <a:pt x="7112" y="18180"/>
                    </a:cubicBezTo>
                    <a:cubicBezTo>
                      <a:pt x="2208" y="16984"/>
                      <a:pt x="-902" y="12020"/>
                      <a:pt x="234" y="7115"/>
                    </a:cubicBezTo>
                    <a:cubicBezTo>
                      <a:pt x="1371" y="2151"/>
                      <a:pt x="6275" y="-899"/>
                      <a:pt x="11239" y="237"/>
                    </a:cubicBezTo>
                    <a:close/>
                  </a:path>
                </a:pathLst>
              </a:custGeom>
              <a:grpFill/>
              <a:ln w="5978" cap="flat">
                <a:noFill/>
                <a:prstDash val="solid"/>
                <a:miter/>
              </a:ln>
            </p:spPr>
            <p:txBody>
              <a:bodyPr rtlCol="0" anchor="ctr"/>
              <a:lstStyle/>
              <a:p>
                <a:endParaRPr lang="en-GB"/>
              </a:p>
            </p:txBody>
          </p:sp>
          <p:sp>
            <p:nvSpPr>
              <p:cNvPr id="4442" name="Vrije vorm: vorm 4441">
                <a:extLst>
                  <a:ext uri="{FF2B5EF4-FFF2-40B4-BE49-F238E27FC236}">
                    <a16:creationId xmlns:a16="http://schemas.microsoft.com/office/drawing/2014/main" id="{41EB6CC2-6D98-45A3-A143-4C56569DE359}"/>
                  </a:ext>
                </a:extLst>
              </p:cNvPr>
              <p:cNvSpPr/>
              <p:nvPr/>
            </p:nvSpPr>
            <p:spPr>
              <a:xfrm>
                <a:off x="7678910" y="3794731"/>
                <a:ext cx="18353" cy="18454"/>
              </a:xfrm>
              <a:custGeom>
                <a:avLst/>
                <a:gdLst>
                  <a:gd name="connsiteX0" fmla="*/ 11242 w 18353"/>
                  <a:gd name="connsiteY0" fmla="*/ 256 h 18454"/>
                  <a:gd name="connsiteX1" fmla="*/ 237 w 18353"/>
                  <a:gd name="connsiteY1" fmla="*/ 7134 h 18454"/>
                  <a:gd name="connsiteX2" fmla="*/ 7115 w 18353"/>
                  <a:gd name="connsiteY2" fmla="*/ 18198 h 18454"/>
                  <a:gd name="connsiteX3" fmla="*/ 18120 w 18353"/>
                  <a:gd name="connsiteY3" fmla="*/ 11320 h 18454"/>
                  <a:gd name="connsiteX4" fmla="*/ 11242 w 18353"/>
                  <a:gd name="connsiteY4" fmla="*/ 256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54">
                    <a:moveTo>
                      <a:pt x="11242" y="256"/>
                    </a:moveTo>
                    <a:cubicBezTo>
                      <a:pt x="6338" y="-940"/>
                      <a:pt x="1373" y="2170"/>
                      <a:pt x="237" y="7134"/>
                    </a:cubicBezTo>
                    <a:cubicBezTo>
                      <a:pt x="-899" y="12098"/>
                      <a:pt x="2151" y="17062"/>
                      <a:pt x="7115" y="18198"/>
                    </a:cubicBezTo>
                    <a:cubicBezTo>
                      <a:pt x="12019" y="19395"/>
                      <a:pt x="16983" y="16285"/>
                      <a:pt x="18120" y="11320"/>
                    </a:cubicBezTo>
                    <a:cubicBezTo>
                      <a:pt x="19256" y="6416"/>
                      <a:pt x="16146" y="1452"/>
                      <a:pt x="11242" y="256"/>
                    </a:cubicBezTo>
                    <a:close/>
                  </a:path>
                </a:pathLst>
              </a:custGeom>
              <a:grpFill/>
              <a:ln w="5978" cap="flat">
                <a:noFill/>
                <a:prstDash val="solid"/>
                <a:miter/>
              </a:ln>
            </p:spPr>
            <p:txBody>
              <a:bodyPr rtlCol="0" anchor="ctr"/>
              <a:lstStyle/>
              <a:p>
                <a:endParaRPr lang="en-GB"/>
              </a:p>
            </p:txBody>
          </p:sp>
        </p:grpSp>
        <p:grpSp>
          <p:nvGrpSpPr>
            <p:cNvPr id="314" name="Graphic 3">
              <a:extLst>
                <a:ext uri="{FF2B5EF4-FFF2-40B4-BE49-F238E27FC236}">
                  <a16:creationId xmlns:a16="http://schemas.microsoft.com/office/drawing/2014/main" id="{D7D2F6B1-30CC-460F-9609-125BA08871E7}"/>
                </a:ext>
              </a:extLst>
            </p:cNvPr>
            <p:cNvGrpSpPr/>
            <p:nvPr/>
          </p:nvGrpSpPr>
          <p:grpSpPr>
            <a:xfrm>
              <a:off x="7585175" y="4129541"/>
              <a:ext cx="604693" cy="340737"/>
              <a:chOff x="7585175" y="4129541"/>
              <a:chExt cx="604693" cy="340737"/>
            </a:xfrm>
            <a:grpFill/>
          </p:grpSpPr>
          <p:sp>
            <p:nvSpPr>
              <p:cNvPr id="4437" name="Vrije vorm: vorm 4436">
                <a:extLst>
                  <a:ext uri="{FF2B5EF4-FFF2-40B4-BE49-F238E27FC236}">
                    <a16:creationId xmlns:a16="http://schemas.microsoft.com/office/drawing/2014/main" id="{DE9C8FBA-741A-41C6-81D6-37A967FA209F}"/>
                  </a:ext>
                </a:extLst>
              </p:cNvPr>
              <p:cNvSpPr/>
              <p:nvPr/>
            </p:nvSpPr>
            <p:spPr>
              <a:xfrm>
                <a:off x="7593204" y="4137144"/>
                <a:ext cx="588622" cy="325471"/>
              </a:xfrm>
              <a:custGeom>
                <a:avLst/>
                <a:gdLst>
                  <a:gd name="connsiteX0" fmla="*/ 588622 w 588622"/>
                  <a:gd name="connsiteY0" fmla="*/ 322780 h 325471"/>
                  <a:gd name="connsiteX1" fmla="*/ 587187 w 588622"/>
                  <a:gd name="connsiteY1" fmla="*/ 325471 h 325471"/>
                  <a:gd name="connsiteX2" fmla="*/ 0 w 588622"/>
                  <a:gd name="connsiteY2" fmla="*/ 2691 h 325471"/>
                  <a:gd name="connsiteX3" fmla="*/ 1435 w 588622"/>
                  <a:gd name="connsiteY3" fmla="*/ 0 h 325471"/>
                </a:gdLst>
                <a:ahLst/>
                <a:cxnLst>
                  <a:cxn ang="0">
                    <a:pos x="connsiteX0" y="connsiteY0"/>
                  </a:cxn>
                  <a:cxn ang="0">
                    <a:pos x="connsiteX1" y="connsiteY1"/>
                  </a:cxn>
                  <a:cxn ang="0">
                    <a:pos x="connsiteX2" y="connsiteY2"/>
                  </a:cxn>
                  <a:cxn ang="0">
                    <a:pos x="connsiteX3" y="connsiteY3"/>
                  </a:cxn>
                </a:cxnLst>
                <a:rect l="l" t="t" r="r" b="b"/>
                <a:pathLst>
                  <a:path w="588622" h="325471">
                    <a:moveTo>
                      <a:pt x="588622" y="322780"/>
                    </a:moveTo>
                    <a:lnTo>
                      <a:pt x="587187" y="325471"/>
                    </a:lnTo>
                    <a:lnTo>
                      <a:pt x="0" y="2691"/>
                    </a:lnTo>
                    <a:lnTo>
                      <a:pt x="1435" y="0"/>
                    </a:lnTo>
                    <a:close/>
                  </a:path>
                </a:pathLst>
              </a:custGeom>
              <a:grpFill/>
              <a:ln w="5978" cap="flat">
                <a:noFill/>
                <a:prstDash val="solid"/>
                <a:miter/>
              </a:ln>
            </p:spPr>
            <p:txBody>
              <a:bodyPr rtlCol="0" anchor="ctr"/>
              <a:lstStyle/>
              <a:p>
                <a:endParaRPr lang="en-GB"/>
              </a:p>
            </p:txBody>
          </p:sp>
          <p:sp>
            <p:nvSpPr>
              <p:cNvPr id="4438" name="Vrije vorm: vorm 4437">
                <a:extLst>
                  <a:ext uri="{FF2B5EF4-FFF2-40B4-BE49-F238E27FC236}">
                    <a16:creationId xmlns:a16="http://schemas.microsoft.com/office/drawing/2014/main" id="{E1C3DFDA-C574-46BE-AD5B-D2F88F36CDF8}"/>
                  </a:ext>
                </a:extLst>
              </p:cNvPr>
              <p:cNvSpPr/>
              <p:nvPr/>
            </p:nvSpPr>
            <p:spPr>
              <a:xfrm>
                <a:off x="7585175" y="4129541"/>
                <a:ext cx="18330" cy="18423"/>
              </a:xfrm>
              <a:custGeom>
                <a:avLst/>
                <a:gdLst>
                  <a:gd name="connsiteX0" fmla="*/ 4800 w 18330"/>
                  <a:gd name="connsiteY0" fmla="*/ 17292 h 18423"/>
                  <a:gd name="connsiteX1" fmla="*/ 1092 w 18330"/>
                  <a:gd name="connsiteY1" fmla="*/ 4792 h 18423"/>
                  <a:gd name="connsiteX2" fmla="*/ 13531 w 18330"/>
                  <a:gd name="connsiteY2" fmla="*/ 1144 h 18423"/>
                  <a:gd name="connsiteX3" fmla="*/ 17239 w 18330"/>
                  <a:gd name="connsiteY3" fmla="*/ 13644 h 18423"/>
                  <a:gd name="connsiteX4" fmla="*/ 4800 w 18330"/>
                  <a:gd name="connsiteY4" fmla="*/ 172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23">
                    <a:moveTo>
                      <a:pt x="4800" y="17292"/>
                    </a:moveTo>
                    <a:cubicBezTo>
                      <a:pt x="374" y="14840"/>
                      <a:pt x="-1301" y="9278"/>
                      <a:pt x="1092" y="4792"/>
                    </a:cubicBezTo>
                    <a:cubicBezTo>
                      <a:pt x="3484" y="307"/>
                      <a:pt x="9046" y="-1308"/>
                      <a:pt x="13531" y="1144"/>
                    </a:cubicBezTo>
                    <a:cubicBezTo>
                      <a:pt x="17957" y="3596"/>
                      <a:pt x="19632" y="9218"/>
                      <a:pt x="17239" y="13644"/>
                    </a:cubicBezTo>
                    <a:cubicBezTo>
                      <a:pt x="14788" y="18069"/>
                      <a:pt x="9225" y="19744"/>
                      <a:pt x="4800" y="17292"/>
                    </a:cubicBezTo>
                    <a:close/>
                  </a:path>
                </a:pathLst>
              </a:custGeom>
              <a:grpFill/>
              <a:ln w="5978" cap="flat">
                <a:noFill/>
                <a:prstDash val="solid"/>
                <a:miter/>
              </a:ln>
            </p:spPr>
            <p:txBody>
              <a:bodyPr rtlCol="0" anchor="ctr"/>
              <a:lstStyle/>
              <a:p>
                <a:endParaRPr lang="en-GB"/>
              </a:p>
            </p:txBody>
          </p:sp>
          <p:sp>
            <p:nvSpPr>
              <p:cNvPr id="4439" name="Vrije vorm: vorm 4438">
                <a:extLst>
                  <a:ext uri="{FF2B5EF4-FFF2-40B4-BE49-F238E27FC236}">
                    <a16:creationId xmlns:a16="http://schemas.microsoft.com/office/drawing/2014/main" id="{04872AB5-FCF5-4CFF-ABDC-02B1FE229C25}"/>
                  </a:ext>
                </a:extLst>
              </p:cNvPr>
              <p:cNvSpPr/>
              <p:nvPr/>
            </p:nvSpPr>
            <p:spPr>
              <a:xfrm>
                <a:off x="8171525" y="4451842"/>
                <a:ext cx="18342" cy="18436"/>
              </a:xfrm>
              <a:custGeom>
                <a:avLst/>
                <a:gdLst>
                  <a:gd name="connsiteX0" fmla="*/ 4800 w 18342"/>
                  <a:gd name="connsiteY0" fmla="*/ 17292 h 18436"/>
                  <a:gd name="connsiteX1" fmla="*/ 17239 w 18342"/>
                  <a:gd name="connsiteY1" fmla="*/ 13644 h 18436"/>
                  <a:gd name="connsiteX2" fmla="*/ 13531 w 18342"/>
                  <a:gd name="connsiteY2" fmla="*/ 1144 h 18436"/>
                  <a:gd name="connsiteX3" fmla="*/ 1092 w 18342"/>
                  <a:gd name="connsiteY3" fmla="*/ 4792 h 18436"/>
                  <a:gd name="connsiteX4" fmla="*/ 4800 w 18342"/>
                  <a:gd name="connsiteY4" fmla="*/ 172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36">
                    <a:moveTo>
                      <a:pt x="4800" y="17292"/>
                    </a:moveTo>
                    <a:cubicBezTo>
                      <a:pt x="9225" y="19744"/>
                      <a:pt x="14787" y="18129"/>
                      <a:pt x="17239" y="13644"/>
                    </a:cubicBezTo>
                    <a:cubicBezTo>
                      <a:pt x="19632" y="9158"/>
                      <a:pt x="18017" y="3596"/>
                      <a:pt x="13531" y="1144"/>
                    </a:cubicBezTo>
                    <a:cubicBezTo>
                      <a:pt x="9106" y="-1308"/>
                      <a:pt x="3543" y="307"/>
                      <a:pt x="1092" y="4792"/>
                    </a:cubicBezTo>
                    <a:cubicBezTo>
                      <a:pt x="-1301" y="9278"/>
                      <a:pt x="374" y="14840"/>
                      <a:pt x="4800" y="17292"/>
                    </a:cubicBezTo>
                    <a:close/>
                  </a:path>
                </a:pathLst>
              </a:custGeom>
              <a:grpFill/>
              <a:ln w="5978" cap="flat">
                <a:noFill/>
                <a:prstDash val="solid"/>
                <a:miter/>
              </a:ln>
            </p:spPr>
            <p:txBody>
              <a:bodyPr rtlCol="0" anchor="ctr"/>
              <a:lstStyle/>
              <a:p>
                <a:endParaRPr lang="en-GB"/>
              </a:p>
            </p:txBody>
          </p:sp>
        </p:grpSp>
        <p:grpSp>
          <p:nvGrpSpPr>
            <p:cNvPr id="315" name="Graphic 3">
              <a:extLst>
                <a:ext uri="{FF2B5EF4-FFF2-40B4-BE49-F238E27FC236}">
                  <a16:creationId xmlns:a16="http://schemas.microsoft.com/office/drawing/2014/main" id="{BAF61CA9-CA20-4165-91A9-2822A43F8CDB}"/>
                </a:ext>
              </a:extLst>
            </p:cNvPr>
            <p:cNvGrpSpPr/>
            <p:nvPr/>
          </p:nvGrpSpPr>
          <p:grpSpPr>
            <a:xfrm>
              <a:off x="7691716" y="4033799"/>
              <a:ext cx="221961" cy="95899"/>
              <a:chOff x="7691716" y="4033799"/>
              <a:chExt cx="221961" cy="95899"/>
            </a:xfrm>
            <a:grpFill/>
          </p:grpSpPr>
          <p:sp>
            <p:nvSpPr>
              <p:cNvPr id="4434" name="Vrije vorm: vorm 4433">
                <a:extLst>
                  <a:ext uri="{FF2B5EF4-FFF2-40B4-BE49-F238E27FC236}">
                    <a16:creationId xmlns:a16="http://schemas.microsoft.com/office/drawing/2014/main" id="{990F6BFF-8004-4308-8035-51E74D314584}"/>
                  </a:ext>
                </a:extLst>
              </p:cNvPr>
              <p:cNvSpPr/>
              <p:nvPr/>
            </p:nvSpPr>
            <p:spPr>
              <a:xfrm>
                <a:off x="7699960" y="4041453"/>
                <a:ext cx="205557" cy="80620"/>
              </a:xfrm>
              <a:custGeom>
                <a:avLst/>
                <a:gdLst>
                  <a:gd name="connsiteX0" fmla="*/ 205557 w 205557"/>
                  <a:gd name="connsiteY0" fmla="*/ 77749 h 80620"/>
                  <a:gd name="connsiteX1" fmla="*/ 204481 w 205557"/>
                  <a:gd name="connsiteY1" fmla="*/ 80620 h 80620"/>
                  <a:gd name="connsiteX2" fmla="*/ 0 w 205557"/>
                  <a:gd name="connsiteY2" fmla="*/ 2811 h 80620"/>
                  <a:gd name="connsiteX3" fmla="*/ 1017 w 205557"/>
                  <a:gd name="connsiteY3" fmla="*/ 0 h 80620"/>
                </a:gdLst>
                <a:ahLst/>
                <a:cxnLst>
                  <a:cxn ang="0">
                    <a:pos x="connsiteX0" y="connsiteY0"/>
                  </a:cxn>
                  <a:cxn ang="0">
                    <a:pos x="connsiteX1" y="connsiteY1"/>
                  </a:cxn>
                  <a:cxn ang="0">
                    <a:pos x="connsiteX2" y="connsiteY2"/>
                  </a:cxn>
                  <a:cxn ang="0">
                    <a:pos x="connsiteX3" y="connsiteY3"/>
                  </a:cxn>
                </a:cxnLst>
                <a:rect l="l" t="t" r="r" b="b"/>
                <a:pathLst>
                  <a:path w="205557" h="80620">
                    <a:moveTo>
                      <a:pt x="205557" y="77749"/>
                    </a:moveTo>
                    <a:lnTo>
                      <a:pt x="204481" y="80620"/>
                    </a:lnTo>
                    <a:lnTo>
                      <a:pt x="0" y="2811"/>
                    </a:lnTo>
                    <a:lnTo>
                      <a:pt x="1017" y="0"/>
                    </a:lnTo>
                    <a:close/>
                  </a:path>
                </a:pathLst>
              </a:custGeom>
              <a:grpFill/>
              <a:ln w="5978" cap="flat">
                <a:noFill/>
                <a:prstDash val="solid"/>
                <a:miter/>
              </a:ln>
            </p:spPr>
            <p:txBody>
              <a:bodyPr rtlCol="0" anchor="ctr"/>
              <a:lstStyle/>
              <a:p>
                <a:endParaRPr lang="en-GB"/>
              </a:p>
            </p:txBody>
          </p:sp>
          <p:sp>
            <p:nvSpPr>
              <p:cNvPr id="4435" name="Vrije vorm: vorm 4434">
                <a:extLst>
                  <a:ext uri="{FF2B5EF4-FFF2-40B4-BE49-F238E27FC236}">
                    <a16:creationId xmlns:a16="http://schemas.microsoft.com/office/drawing/2014/main" id="{BA301B6D-B5F2-4878-A1BF-DF093BCC5CA4}"/>
                  </a:ext>
                </a:extLst>
              </p:cNvPr>
              <p:cNvSpPr/>
              <p:nvPr/>
            </p:nvSpPr>
            <p:spPr>
              <a:xfrm>
                <a:off x="7895384" y="4111249"/>
                <a:ext cx="18293" cy="18448"/>
              </a:xfrm>
              <a:custGeom>
                <a:avLst/>
                <a:gdLst>
                  <a:gd name="connsiteX0" fmla="*/ 12347 w 18293"/>
                  <a:gd name="connsiteY0" fmla="*/ 596 h 18448"/>
                  <a:gd name="connsiteX1" fmla="*/ 17729 w 18293"/>
                  <a:gd name="connsiteY1" fmla="*/ 12498 h 18448"/>
                  <a:gd name="connsiteX2" fmla="*/ 5948 w 18293"/>
                  <a:gd name="connsiteY2" fmla="*/ 17821 h 18448"/>
                  <a:gd name="connsiteX3" fmla="*/ 565 w 18293"/>
                  <a:gd name="connsiteY3" fmla="*/ 5919 h 18448"/>
                  <a:gd name="connsiteX4" fmla="*/ 12347 w 18293"/>
                  <a:gd name="connsiteY4" fmla="*/ 59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48">
                    <a:moveTo>
                      <a:pt x="12347" y="596"/>
                    </a:moveTo>
                    <a:cubicBezTo>
                      <a:pt x="17072" y="2391"/>
                      <a:pt x="19463" y="7713"/>
                      <a:pt x="17729" y="12498"/>
                    </a:cubicBezTo>
                    <a:cubicBezTo>
                      <a:pt x="15935" y="17282"/>
                      <a:pt x="10672" y="19675"/>
                      <a:pt x="5948" y="17821"/>
                    </a:cubicBezTo>
                    <a:cubicBezTo>
                      <a:pt x="1223" y="16027"/>
                      <a:pt x="-1170" y="10704"/>
                      <a:pt x="565" y="5919"/>
                    </a:cubicBezTo>
                    <a:cubicBezTo>
                      <a:pt x="2359" y="1194"/>
                      <a:pt x="7622" y="-1198"/>
                      <a:pt x="12347" y="596"/>
                    </a:cubicBezTo>
                    <a:close/>
                  </a:path>
                </a:pathLst>
              </a:custGeom>
              <a:grpFill/>
              <a:ln w="5978" cap="flat">
                <a:noFill/>
                <a:prstDash val="solid"/>
                <a:miter/>
              </a:ln>
            </p:spPr>
            <p:txBody>
              <a:bodyPr rtlCol="0" anchor="ctr"/>
              <a:lstStyle/>
              <a:p>
                <a:endParaRPr lang="en-GB"/>
              </a:p>
            </p:txBody>
          </p:sp>
          <p:sp>
            <p:nvSpPr>
              <p:cNvPr id="4436" name="Vrije vorm: vorm 4435">
                <a:extLst>
                  <a:ext uri="{FF2B5EF4-FFF2-40B4-BE49-F238E27FC236}">
                    <a16:creationId xmlns:a16="http://schemas.microsoft.com/office/drawing/2014/main" id="{882727DA-99F3-49EB-BDDC-541EF48F5749}"/>
                  </a:ext>
                </a:extLst>
              </p:cNvPr>
              <p:cNvSpPr/>
              <p:nvPr/>
            </p:nvSpPr>
            <p:spPr>
              <a:xfrm>
                <a:off x="7691716" y="4033799"/>
                <a:ext cx="18349" cy="18417"/>
              </a:xfrm>
              <a:custGeom>
                <a:avLst/>
                <a:gdLst>
                  <a:gd name="connsiteX0" fmla="*/ 12370 w 18349"/>
                  <a:gd name="connsiteY0" fmla="*/ 596 h 18417"/>
                  <a:gd name="connsiteX1" fmla="*/ 589 w 18349"/>
                  <a:gd name="connsiteY1" fmla="*/ 5919 h 18417"/>
                  <a:gd name="connsiteX2" fmla="*/ 5971 w 18349"/>
                  <a:gd name="connsiteY2" fmla="*/ 17821 h 18417"/>
                  <a:gd name="connsiteX3" fmla="*/ 17753 w 18349"/>
                  <a:gd name="connsiteY3" fmla="*/ 12498 h 18417"/>
                  <a:gd name="connsiteX4" fmla="*/ 12370 w 18349"/>
                  <a:gd name="connsiteY4" fmla="*/ 596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7">
                    <a:moveTo>
                      <a:pt x="12370" y="596"/>
                    </a:moveTo>
                    <a:cubicBezTo>
                      <a:pt x="7646" y="-1198"/>
                      <a:pt x="2323" y="1195"/>
                      <a:pt x="589" y="5919"/>
                    </a:cubicBezTo>
                    <a:cubicBezTo>
                      <a:pt x="-1205" y="10704"/>
                      <a:pt x="1246" y="15967"/>
                      <a:pt x="5971" y="17821"/>
                    </a:cubicBezTo>
                    <a:cubicBezTo>
                      <a:pt x="10696" y="19615"/>
                      <a:pt x="16019" y="17223"/>
                      <a:pt x="17753" y="12498"/>
                    </a:cubicBezTo>
                    <a:cubicBezTo>
                      <a:pt x="19548" y="7713"/>
                      <a:pt x="17155" y="2390"/>
                      <a:pt x="12370" y="596"/>
                    </a:cubicBezTo>
                    <a:close/>
                  </a:path>
                </a:pathLst>
              </a:custGeom>
              <a:grpFill/>
              <a:ln w="5978" cap="flat">
                <a:noFill/>
                <a:prstDash val="solid"/>
                <a:miter/>
              </a:ln>
            </p:spPr>
            <p:txBody>
              <a:bodyPr rtlCol="0" anchor="ctr"/>
              <a:lstStyle/>
              <a:p>
                <a:endParaRPr lang="en-GB"/>
              </a:p>
            </p:txBody>
          </p:sp>
        </p:grpSp>
        <p:grpSp>
          <p:nvGrpSpPr>
            <p:cNvPr id="316" name="Graphic 3">
              <a:extLst>
                <a:ext uri="{FF2B5EF4-FFF2-40B4-BE49-F238E27FC236}">
                  <a16:creationId xmlns:a16="http://schemas.microsoft.com/office/drawing/2014/main" id="{CCF2E58A-506D-498B-979F-C0FF27D83501}"/>
                </a:ext>
              </a:extLst>
            </p:cNvPr>
            <p:cNvGrpSpPr/>
            <p:nvPr/>
          </p:nvGrpSpPr>
          <p:grpSpPr>
            <a:xfrm>
              <a:off x="6896082" y="1617218"/>
              <a:ext cx="260556" cy="357905"/>
              <a:chOff x="6896082" y="1617218"/>
              <a:chExt cx="260556" cy="357905"/>
            </a:xfrm>
            <a:grpFill/>
          </p:grpSpPr>
          <p:sp>
            <p:nvSpPr>
              <p:cNvPr id="4431" name="Vrije vorm: vorm 4430">
                <a:extLst>
                  <a:ext uri="{FF2B5EF4-FFF2-40B4-BE49-F238E27FC236}">
                    <a16:creationId xmlns:a16="http://schemas.microsoft.com/office/drawing/2014/main" id="{823FE561-4DA5-4B18-84C4-3A91618453A1}"/>
                  </a:ext>
                </a:extLst>
              </p:cNvPr>
              <p:cNvSpPr/>
              <p:nvPr/>
            </p:nvSpPr>
            <p:spPr>
              <a:xfrm>
                <a:off x="6903746" y="1625182"/>
                <a:ext cx="245209" cy="341977"/>
              </a:xfrm>
              <a:custGeom>
                <a:avLst/>
                <a:gdLst>
                  <a:gd name="connsiteX0" fmla="*/ 245210 w 245209"/>
                  <a:gd name="connsiteY0" fmla="*/ 1794 h 341977"/>
                  <a:gd name="connsiteX1" fmla="*/ 2452 w 245209"/>
                  <a:gd name="connsiteY1" fmla="*/ 341978 h 341977"/>
                  <a:gd name="connsiteX2" fmla="*/ 0 w 245209"/>
                  <a:gd name="connsiteY2" fmla="*/ 340183 h 341977"/>
                  <a:gd name="connsiteX3" fmla="*/ 242757 w 245209"/>
                  <a:gd name="connsiteY3" fmla="*/ 0 h 341977"/>
                </a:gdLst>
                <a:ahLst/>
                <a:cxnLst>
                  <a:cxn ang="0">
                    <a:pos x="connsiteX0" y="connsiteY0"/>
                  </a:cxn>
                  <a:cxn ang="0">
                    <a:pos x="connsiteX1" y="connsiteY1"/>
                  </a:cxn>
                  <a:cxn ang="0">
                    <a:pos x="connsiteX2" y="connsiteY2"/>
                  </a:cxn>
                  <a:cxn ang="0">
                    <a:pos x="connsiteX3" y="connsiteY3"/>
                  </a:cxn>
                </a:cxnLst>
                <a:rect l="l" t="t" r="r" b="b"/>
                <a:pathLst>
                  <a:path w="245209" h="341977">
                    <a:moveTo>
                      <a:pt x="245210" y="1794"/>
                    </a:moveTo>
                    <a:lnTo>
                      <a:pt x="2452" y="341978"/>
                    </a:lnTo>
                    <a:lnTo>
                      <a:pt x="0" y="340183"/>
                    </a:lnTo>
                    <a:lnTo>
                      <a:pt x="242757" y="0"/>
                    </a:lnTo>
                    <a:close/>
                  </a:path>
                </a:pathLst>
              </a:custGeom>
              <a:grpFill/>
              <a:ln w="5978" cap="flat">
                <a:noFill/>
                <a:prstDash val="solid"/>
                <a:miter/>
              </a:ln>
            </p:spPr>
            <p:txBody>
              <a:bodyPr rtlCol="0" anchor="ctr"/>
              <a:lstStyle/>
              <a:p>
                <a:endParaRPr lang="en-GB"/>
              </a:p>
            </p:txBody>
          </p:sp>
          <p:sp>
            <p:nvSpPr>
              <p:cNvPr id="4432" name="Vrije vorm: vorm 4431">
                <a:extLst>
                  <a:ext uri="{FF2B5EF4-FFF2-40B4-BE49-F238E27FC236}">
                    <a16:creationId xmlns:a16="http://schemas.microsoft.com/office/drawing/2014/main" id="{CEC5E3F8-98D4-4041-8F1C-FA3BBB0D2BB1}"/>
                  </a:ext>
                </a:extLst>
              </p:cNvPr>
              <p:cNvSpPr/>
              <p:nvPr/>
            </p:nvSpPr>
            <p:spPr>
              <a:xfrm>
                <a:off x="6896082" y="1956683"/>
                <a:ext cx="18336" cy="18439"/>
              </a:xfrm>
              <a:custGeom>
                <a:avLst/>
                <a:gdLst>
                  <a:gd name="connsiteX0" fmla="*/ 16636 w 18336"/>
                  <a:gd name="connsiteY0" fmla="*/ 14602 h 18439"/>
                  <a:gd name="connsiteX1" fmla="*/ 3837 w 18336"/>
                  <a:gd name="connsiteY1" fmla="*/ 16696 h 18439"/>
                  <a:gd name="connsiteX2" fmla="*/ 1744 w 18336"/>
                  <a:gd name="connsiteY2" fmla="*/ 3837 h 18439"/>
                  <a:gd name="connsiteX3" fmla="*/ 14543 w 18336"/>
                  <a:gd name="connsiteY3" fmla="*/ 1744 h 18439"/>
                  <a:gd name="connsiteX4" fmla="*/ 16636 w 18336"/>
                  <a:gd name="connsiteY4" fmla="*/ 14602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39">
                    <a:moveTo>
                      <a:pt x="16636" y="14602"/>
                    </a:moveTo>
                    <a:cubicBezTo>
                      <a:pt x="13705" y="18729"/>
                      <a:pt x="7964" y="19686"/>
                      <a:pt x="3837" y="16696"/>
                    </a:cubicBezTo>
                    <a:cubicBezTo>
                      <a:pt x="-289" y="13705"/>
                      <a:pt x="-1247" y="7964"/>
                      <a:pt x="1744" y="3837"/>
                    </a:cubicBezTo>
                    <a:cubicBezTo>
                      <a:pt x="4674" y="-290"/>
                      <a:pt x="10416" y="-1246"/>
                      <a:pt x="14543" y="1744"/>
                    </a:cubicBezTo>
                    <a:cubicBezTo>
                      <a:pt x="18609" y="4674"/>
                      <a:pt x="19566" y="10476"/>
                      <a:pt x="16636" y="14602"/>
                    </a:cubicBezTo>
                    <a:close/>
                  </a:path>
                </a:pathLst>
              </a:custGeom>
              <a:grpFill/>
              <a:ln w="5978" cap="flat">
                <a:noFill/>
                <a:prstDash val="solid"/>
                <a:miter/>
              </a:ln>
            </p:spPr>
            <p:txBody>
              <a:bodyPr rtlCol="0" anchor="ctr"/>
              <a:lstStyle/>
              <a:p>
                <a:endParaRPr lang="en-GB"/>
              </a:p>
            </p:txBody>
          </p:sp>
          <p:sp>
            <p:nvSpPr>
              <p:cNvPr id="4433" name="Vrije vorm: vorm 4432">
                <a:extLst>
                  <a:ext uri="{FF2B5EF4-FFF2-40B4-BE49-F238E27FC236}">
                    <a16:creationId xmlns:a16="http://schemas.microsoft.com/office/drawing/2014/main" id="{2C6C267C-BF67-4EBD-9A8D-EB714A5DDD17}"/>
                  </a:ext>
                </a:extLst>
              </p:cNvPr>
              <p:cNvSpPr/>
              <p:nvPr/>
            </p:nvSpPr>
            <p:spPr>
              <a:xfrm>
                <a:off x="7138344" y="1617218"/>
                <a:ext cx="18293" cy="18439"/>
              </a:xfrm>
              <a:custGeom>
                <a:avLst/>
                <a:gdLst>
                  <a:gd name="connsiteX0" fmla="*/ 16593 w 18293"/>
                  <a:gd name="connsiteY0" fmla="*/ 14602 h 18439"/>
                  <a:gd name="connsiteX1" fmla="*/ 14500 w 18293"/>
                  <a:gd name="connsiteY1" fmla="*/ 1744 h 18439"/>
                  <a:gd name="connsiteX2" fmla="*/ 1701 w 18293"/>
                  <a:gd name="connsiteY2" fmla="*/ 3837 h 18439"/>
                  <a:gd name="connsiteX3" fmla="*/ 3794 w 18293"/>
                  <a:gd name="connsiteY3" fmla="*/ 16696 h 18439"/>
                  <a:gd name="connsiteX4" fmla="*/ 16593 w 18293"/>
                  <a:gd name="connsiteY4" fmla="*/ 14602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39">
                    <a:moveTo>
                      <a:pt x="16593" y="14602"/>
                    </a:moveTo>
                    <a:cubicBezTo>
                      <a:pt x="19523" y="10476"/>
                      <a:pt x="18566" y="4734"/>
                      <a:pt x="14500" y="1744"/>
                    </a:cubicBezTo>
                    <a:cubicBezTo>
                      <a:pt x="10373" y="-1246"/>
                      <a:pt x="4631" y="-290"/>
                      <a:pt x="1701" y="3837"/>
                    </a:cubicBezTo>
                    <a:cubicBezTo>
                      <a:pt x="-1230" y="7964"/>
                      <a:pt x="-272" y="13705"/>
                      <a:pt x="3794" y="16696"/>
                    </a:cubicBezTo>
                    <a:cubicBezTo>
                      <a:pt x="7921" y="19686"/>
                      <a:pt x="13662" y="18729"/>
                      <a:pt x="16593" y="14602"/>
                    </a:cubicBezTo>
                    <a:close/>
                  </a:path>
                </a:pathLst>
              </a:custGeom>
              <a:grpFill/>
              <a:ln w="5978" cap="flat">
                <a:noFill/>
                <a:prstDash val="solid"/>
                <a:miter/>
              </a:ln>
            </p:spPr>
            <p:txBody>
              <a:bodyPr rtlCol="0" anchor="ctr"/>
              <a:lstStyle/>
              <a:p>
                <a:endParaRPr lang="en-GB"/>
              </a:p>
            </p:txBody>
          </p:sp>
        </p:grpSp>
        <p:grpSp>
          <p:nvGrpSpPr>
            <p:cNvPr id="317" name="Graphic 3">
              <a:extLst>
                <a:ext uri="{FF2B5EF4-FFF2-40B4-BE49-F238E27FC236}">
                  <a16:creationId xmlns:a16="http://schemas.microsoft.com/office/drawing/2014/main" id="{710C9B0A-C72F-4D07-9748-521DD2F7842F}"/>
                </a:ext>
              </a:extLst>
            </p:cNvPr>
            <p:cNvGrpSpPr/>
            <p:nvPr/>
          </p:nvGrpSpPr>
          <p:grpSpPr>
            <a:xfrm>
              <a:off x="6842762" y="1463019"/>
              <a:ext cx="310735" cy="478403"/>
              <a:chOff x="6842762" y="1463019"/>
              <a:chExt cx="310735" cy="478403"/>
            </a:xfrm>
            <a:grpFill/>
          </p:grpSpPr>
          <p:sp>
            <p:nvSpPr>
              <p:cNvPr id="4428" name="Vrije vorm: vorm 4427">
                <a:extLst>
                  <a:ext uri="{FF2B5EF4-FFF2-40B4-BE49-F238E27FC236}">
                    <a16:creationId xmlns:a16="http://schemas.microsoft.com/office/drawing/2014/main" id="{400E0DEE-55D2-48D4-9D15-ABD7B25B2741}"/>
                  </a:ext>
                </a:extLst>
              </p:cNvPr>
              <p:cNvSpPr/>
              <p:nvPr/>
            </p:nvSpPr>
            <p:spPr>
              <a:xfrm>
                <a:off x="6850398" y="1470999"/>
                <a:ext cx="295507" cy="462429"/>
              </a:xfrm>
              <a:custGeom>
                <a:avLst/>
                <a:gdLst>
                  <a:gd name="connsiteX0" fmla="*/ 295508 w 295507"/>
                  <a:gd name="connsiteY0" fmla="*/ 1675 h 462429"/>
                  <a:gd name="connsiteX1" fmla="*/ 2572 w 295507"/>
                  <a:gd name="connsiteY1" fmla="*/ 462429 h 462429"/>
                  <a:gd name="connsiteX2" fmla="*/ 0 w 295507"/>
                  <a:gd name="connsiteY2" fmla="*/ 460815 h 462429"/>
                  <a:gd name="connsiteX3" fmla="*/ 292936 w 295507"/>
                  <a:gd name="connsiteY3" fmla="*/ 0 h 462429"/>
                </a:gdLst>
                <a:ahLst/>
                <a:cxnLst>
                  <a:cxn ang="0">
                    <a:pos x="connsiteX0" y="connsiteY0"/>
                  </a:cxn>
                  <a:cxn ang="0">
                    <a:pos x="connsiteX1" y="connsiteY1"/>
                  </a:cxn>
                  <a:cxn ang="0">
                    <a:pos x="connsiteX2" y="connsiteY2"/>
                  </a:cxn>
                  <a:cxn ang="0">
                    <a:pos x="connsiteX3" y="connsiteY3"/>
                  </a:cxn>
                </a:cxnLst>
                <a:rect l="l" t="t" r="r" b="b"/>
                <a:pathLst>
                  <a:path w="295507" h="462429">
                    <a:moveTo>
                      <a:pt x="295508" y="1675"/>
                    </a:moveTo>
                    <a:lnTo>
                      <a:pt x="2572" y="462429"/>
                    </a:lnTo>
                    <a:lnTo>
                      <a:pt x="0" y="460815"/>
                    </a:lnTo>
                    <a:lnTo>
                      <a:pt x="292936" y="0"/>
                    </a:lnTo>
                    <a:close/>
                  </a:path>
                </a:pathLst>
              </a:custGeom>
              <a:grpFill/>
              <a:ln w="5978" cap="flat">
                <a:noFill/>
                <a:prstDash val="solid"/>
                <a:miter/>
              </a:ln>
            </p:spPr>
            <p:txBody>
              <a:bodyPr rtlCol="0" anchor="ctr"/>
              <a:lstStyle/>
              <a:p>
                <a:endParaRPr lang="en-GB"/>
              </a:p>
            </p:txBody>
          </p:sp>
          <p:sp>
            <p:nvSpPr>
              <p:cNvPr id="4429" name="Vrije vorm: vorm 4428">
                <a:extLst>
                  <a:ext uri="{FF2B5EF4-FFF2-40B4-BE49-F238E27FC236}">
                    <a16:creationId xmlns:a16="http://schemas.microsoft.com/office/drawing/2014/main" id="{7F8BE23E-4DCB-4748-BD91-9F9132C86EA4}"/>
                  </a:ext>
                </a:extLst>
              </p:cNvPr>
              <p:cNvSpPr/>
              <p:nvPr/>
            </p:nvSpPr>
            <p:spPr>
              <a:xfrm>
                <a:off x="6842762" y="1922981"/>
                <a:ext cx="18323" cy="18441"/>
              </a:xfrm>
              <a:custGeom>
                <a:avLst/>
                <a:gdLst>
                  <a:gd name="connsiteX0" fmla="*/ 16907 w 18323"/>
                  <a:gd name="connsiteY0" fmla="*/ 14215 h 18441"/>
                  <a:gd name="connsiteX1" fmla="*/ 4228 w 18323"/>
                  <a:gd name="connsiteY1" fmla="*/ 16966 h 18441"/>
                  <a:gd name="connsiteX2" fmla="*/ 1417 w 18323"/>
                  <a:gd name="connsiteY2" fmla="*/ 4227 h 18441"/>
                  <a:gd name="connsiteX3" fmla="*/ 14096 w 18323"/>
                  <a:gd name="connsiteY3" fmla="*/ 1476 h 18441"/>
                  <a:gd name="connsiteX4" fmla="*/ 16907 w 18323"/>
                  <a:gd name="connsiteY4" fmla="*/ 1421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1">
                    <a:moveTo>
                      <a:pt x="16907" y="14215"/>
                    </a:moveTo>
                    <a:cubicBezTo>
                      <a:pt x="14216" y="18521"/>
                      <a:pt x="8534" y="19717"/>
                      <a:pt x="4228" y="16966"/>
                    </a:cubicBezTo>
                    <a:cubicBezTo>
                      <a:pt x="-18" y="14215"/>
                      <a:pt x="-1275" y="8533"/>
                      <a:pt x="1417" y="4227"/>
                    </a:cubicBezTo>
                    <a:cubicBezTo>
                      <a:pt x="4108" y="-79"/>
                      <a:pt x="9789" y="-1275"/>
                      <a:pt x="14096" y="1476"/>
                    </a:cubicBezTo>
                    <a:cubicBezTo>
                      <a:pt x="18342" y="4227"/>
                      <a:pt x="19598" y="9968"/>
                      <a:pt x="16907" y="14215"/>
                    </a:cubicBezTo>
                    <a:close/>
                  </a:path>
                </a:pathLst>
              </a:custGeom>
              <a:grpFill/>
              <a:ln w="5978" cap="flat">
                <a:noFill/>
                <a:prstDash val="solid"/>
                <a:miter/>
              </a:ln>
            </p:spPr>
            <p:txBody>
              <a:bodyPr rtlCol="0" anchor="ctr"/>
              <a:lstStyle/>
              <a:p>
                <a:endParaRPr lang="en-GB"/>
              </a:p>
            </p:txBody>
          </p:sp>
          <p:sp>
            <p:nvSpPr>
              <p:cNvPr id="4430" name="Vrije vorm: vorm 4429">
                <a:extLst>
                  <a:ext uri="{FF2B5EF4-FFF2-40B4-BE49-F238E27FC236}">
                    <a16:creationId xmlns:a16="http://schemas.microsoft.com/office/drawing/2014/main" id="{42787296-37B5-46BA-A866-A83CD1EAE9BD}"/>
                  </a:ext>
                </a:extLst>
              </p:cNvPr>
              <p:cNvSpPr/>
              <p:nvPr/>
            </p:nvSpPr>
            <p:spPr>
              <a:xfrm>
                <a:off x="7135159" y="1463019"/>
                <a:ext cx="18338" cy="18411"/>
              </a:xfrm>
              <a:custGeom>
                <a:avLst/>
                <a:gdLst>
                  <a:gd name="connsiteX0" fmla="*/ 16907 w 18338"/>
                  <a:gd name="connsiteY0" fmla="*/ 14200 h 18411"/>
                  <a:gd name="connsiteX1" fmla="*/ 14096 w 18338"/>
                  <a:gd name="connsiteY1" fmla="*/ 1461 h 18411"/>
                  <a:gd name="connsiteX2" fmla="*/ 1417 w 18338"/>
                  <a:gd name="connsiteY2" fmla="*/ 4212 h 18411"/>
                  <a:gd name="connsiteX3" fmla="*/ 4228 w 18338"/>
                  <a:gd name="connsiteY3" fmla="*/ 16951 h 18411"/>
                  <a:gd name="connsiteX4" fmla="*/ 16907 w 18338"/>
                  <a:gd name="connsiteY4" fmla="*/ 1420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1">
                    <a:moveTo>
                      <a:pt x="16907" y="14200"/>
                    </a:moveTo>
                    <a:cubicBezTo>
                      <a:pt x="19598" y="9893"/>
                      <a:pt x="18402" y="4212"/>
                      <a:pt x="14096" y="1461"/>
                    </a:cubicBezTo>
                    <a:cubicBezTo>
                      <a:pt x="9849" y="-1290"/>
                      <a:pt x="4168" y="-34"/>
                      <a:pt x="1417" y="4212"/>
                    </a:cubicBezTo>
                    <a:cubicBezTo>
                      <a:pt x="-1275" y="8518"/>
                      <a:pt x="-19" y="14200"/>
                      <a:pt x="4228" y="16951"/>
                    </a:cubicBezTo>
                    <a:cubicBezTo>
                      <a:pt x="8474" y="19702"/>
                      <a:pt x="14215" y="18446"/>
                      <a:pt x="16907" y="14200"/>
                    </a:cubicBezTo>
                    <a:close/>
                  </a:path>
                </a:pathLst>
              </a:custGeom>
              <a:grpFill/>
              <a:ln w="5978" cap="flat">
                <a:noFill/>
                <a:prstDash val="solid"/>
                <a:miter/>
              </a:ln>
            </p:spPr>
            <p:txBody>
              <a:bodyPr rtlCol="0" anchor="ctr"/>
              <a:lstStyle/>
              <a:p>
                <a:endParaRPr lang="en-GB"/>
              </a:p>
            </p:txBody>
          </p:sp>
        </p:grpSp>
        <p:grpSp>
          <p:nvGrpSpPr>
            <p:cNvPr id="318" name="Graphic 3">
              <a:extLst>
                <a:ext uri="{FF2B5EF4-FFF2-40B4-BE49-F238E27FC236}">
                  <a16:creationId xmlns:a16="http://schemas.microsoft.com/office/drawing/2014/main" id="{03CFB0DF-10A8-45C2-83CD-3A2A866770D9}"/>
                </a:ext>
              </a:extLst>
            </p:cNvPr>
            <p:cNvGrpSpPr/>
            <p:nvPr/>
          </p:nvGrpSpPr>
          <p:grpSpPr>
            <a:xfrm>
              <a:off x="7078484" y="2020919"/>
              <a:ext cx="62536" cy="75406"/>
              <a:chOff x="7078484" y="2020919"/>
              <a:chExt cx="62536" cy="75406"/>
            </a:xfrm>
            <a:grpFill/>
          </p:grpSpPr>
          <p:sp>
            <p:nvSpPr>
              <p:cNvPr id="4425" name="Vrije vorm: vorm 4424">
                <a:extLst>
                  <a:ext uri="{FF2B5EF4-FFF2-40B4-BE49-F238E27FC236}">
                    <a16:creationId xmlns:a16="http://schemas.microsoft.com/office/drawing/2014/main" id="{669E29B4-04E0-4398-9002-604F7DBC2E8B}"/>
                  </a:ext>
                </a:extLst>
              </p:cNvPr>
              <p:cNvSpPr/>
              <p:nvPr/>
            </p:nvSpPr>
            <p:spPr>
              <a:xfrm>
                <a:off x="7086158" y="2028820"/>
                <a:ext cx="47187" cy="59627"/>
              </a:xfrm>
              <a:custGeom>
                <a:avLst/>
                <a:gdLst>
                  <a:gd name="connsiteX0" fmla="*/ 47188 w 47187"/>
                  <a:gd name="connsiteY0" fmla="*/ 1914 h 59627"/>
                  <a:gd name="connsiteX1" fmla="*/ 2392 w 47187"/>
                  <a:gd name="connsiteY1" fmla="*/ 59628 h 59627"/>
                  <a:gd name="connsiteX2" fmla="*/ 0 w 47187"/>
                  <a:gd name="connsiteY2" fmla="*/ 57714 h 59627"/>
                  <a:gd name="connsiteX3" fmla="*/ 44796 w 47187"/>
                  <a:gd name="connsiteY3" fmla="*/ 0 h 59627"/>
                </a:gdLst>
                <a:ahLst/>
                <a:cxnLst>
                  <a:cxn ang="0">
                    <a:pos x="connsiteX0" y="connsiteY0"/>
                  </a:cxn>
                  <a:cxn ang="0">
                    <a:pos x="connsiteX1" y="connsiteY1"/>
                  </a:cxn>
                  <a:cxn ang="0">
                    <a:pos x="connsiteX2" y="connsiteY2"/>
                  </a:cxn>
                  <a:cxn ang="0">
                    <a:pos x="connsiteX3" y="connsiteY3"/>
                  </a:cxn>
                </a:cxnLst>
                <a:rect l="l" t="t" r="r" b="b"/>
                <a:pathLst>
                  <a:path w="47187" h="59627">
                    <a:moveTo>
                      <a:pt x="47188" y="1914"/>
                    </a:moveTo>
                    <a:lnTo>
                      <a:pt x="2392" y="59628"/>
                    </a:lnTo>
                    <a:lnTo>
                      <a:pt x="0" y="57714"/>
                    </a:lnTo>
                    <a:lnTo>
                      <a:pt x="44796" y="0"/>
                    </a:lnTo>
                    <a:close/>
                  </a:path>
                </a:pathLst>
              </a:custGeom>
              <a:grpFill/>
              <a:ln w="5978" cap="flat">
                <a:noFill/>
                <a:prstDash val="solid"/>
                <a:miter/>
              </a:ln>
            </p:spPr>
            <p:txBody>
              <a:bodyPr rtlCol="0" anchor="ctr"/>
              <a:lstStyle/>
              <a:p>
                <a:endParaRPr lang="en-GB"/>
              </a:p>
            </p:txBody>
          </p:sp>
          <p:sp>
            <p:nvSpPr>
              <p:cNvPr id="4426" name="Vrije vorm: vorm 4425">
                <a:extLst>
                  <a:ext uri="{FF2B5EF4-FFF2-40B4-BE49-F238E27FC236}">
                    <a16:creationId xmlns:a16="http://schemas.microsoft.com/office/drawing/2014/main" id="{329FCDF0-B686-4504-854C-D416A092C807}"/>
                  </a:ext>
                </a:extLst>
              </p:cNvPr>
              <p:cNvSpPr/>
              <p:nvPr/>
            </p:nvSpPr>
            <p:spPr>
              <a:xfrm>
                <a:off x="7122682" y="2020919"/>
                <a:ext cx="18338" cy="18435"/>
              </a:xfrm>
              <a:custGeom>
                <a:avLst/>
                <a:gdLst>
                  <a:gd name="connsiteX0" fmla="*/ 1933 w 18338"/>
                  <a:gd name="connsiteY0" fmla="*/ 3536 h 18435"/>
                  <a:gd name="connsiteX1" fmla="*/ 14791 w 18338"/>
                  <a:gd name="connsiteY1" fmla="*/ 1981 h 18435"/>
                  <a:gd name="connsiteX2" fmla="*/ 16406 w 18338"/>
                  <a:gd name="connsiteY2" fmla="*/ 14899 h 18435"/>
                  <a:gd name="connsiteX3" fmla="*/ 3547 w 18338"/>
                  <a:gd name="connsiteY3" fmla="*/ 16454 h 18435"/>
                  <a:gd name="connsiteX4" fmla="*/ 1933 w 18338"/>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5">
                    <a:moveTo>
                      <a:pt x="1933" y="3536"/>
                    </a:moveTo>
                    <a:cubicBezTo>
                      <a:pt x="5042" y="-471"/>
                      <a:pt x="10784" y="-1189"/>
                      <a:pt x="14791" y="1981"/>
                    </a:cubicBezTo>
                    <a:cubicBezTo>
                      <a:pt x="18798" y="5091"/>
                      <a:pt x="19516" y="10892"/>
                      <a:pt x="16406" y="14899"/>
                    </a:cubicBezTo>
                    <a:cubicBezTo>
                      <a:pt x="13296" y="18906"/>
                      <a:pt x="7555" y="19624"/>
                      <a:pt x="3547" y="16454"/>
                    </a:cubicBezTo>
                    <a:cubicBezTo>
                      <a:pt x="-459" y="13344"/>
                      <a:pt x="-1177" y="7543"/>
                      <a:pt x="1933" y="3536"/>
                    </a:cubicBezTo>
                    <a:close/>
                  </a:path>
                </a:pathLst>
              </a:custGeom>
              <a:grpFill/>
              <a:ln w="5978" cap="flat">
                <a:noFill/>
                <a:prstDash val="solid"/>
                <a:miter/>
              </a:ln>
            </p:spPr>
            <p:txBody>
              <a:bodyPr rtlCol="0" anchor="ctr"/>
              <a:lstStyle/>
              <a:p>
                <a:endParaRPr lang="en-GB"/>
              </a:p>
            </p:txBody>
          </p:sp>
          <p:sp>
            <p:nvSpPr>
              <p:cNvPr id="4427" name="Vrije vorm: vorm 4426">
                <a:extLst>
                  <a:ext uri="{FF2B5EF4-FFF2-40B4-BE49-F238E27FC236}">
                    <a16:creationId xmlns:a16="http://schemas.microsoft.com/office/drawing/2014/main" id="{7093A246-C704-4E77-B0CC-9F729F4204E1}"/>
                  </a:ext>
                </a:extLst>
              </p:cNvPr>
              <p:cNvSpPr/>
              <p:nvPr/>
            </p:nvSpPr>
            <p:spPr>
              <a:xfrm>
                <a:off x="7078484" y="2077915"/>
                <a:ext cx="18338" cy="18410"/>
              </a:xfrm>
              <a:custGeom>
                <a:avLst/>
                <a:gdLst>
                  <a:gd name="connsiteX0" fmla="*/ 1933 w 18338"/>
                  <a:gd name="connsiteY0" fmla="*/ 3536 h 18410"/>
                  <a:gd name="connsiteX1" fmla="*/ 3547 w 18338"/>
                  <a:gd name="connsiteY1" fmla="*/ 16454 h 18410"/>
                  <a:gd name="connsiteX2" fmla="*/ 16406 w 18338"/>
                  <a:gd name="connsiteY2" fmla="*/ 14899 h 18410"/>
                  <a:gd name="connsiteX3" fmla="*/ 14791 w 18338"/>
                  <a:gd name="connsiteY3" fmla="*/ 1981 h 18410"/>
                  <a:gd name="connsiteX4" fmla="*/ 1933 w 18338"/>
                  <a:gd name="connsiteY4" fmla="*/ 353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0">
                    <a:moveTo>
                      <a:pt x="1933" y="3536"/>
                    </a:moveTo>
                    <a:cubicBezTo>
                      <a:pt x="-1177" y="7543"/>
                      <a:pt x="-459" y="13344"/>
                      <a:pt x="3547" y="16454"/>
                    </a:cubicBezTo>
                    <a:cubicBezTo>
                      <a:pt x="7555" y="19564"/>
                      <a:pt x="13296" y="18906"/>
                      <a:pt x="16406" y="14899"/>
                    </a:cubicBezTo>
                    <a:cubicBezTo>
                      <a:pt x="19516" y="10892"/>
                      <a:pt x="18798" y="5091"/>
                      <a:pt x="14791" y="1981"/>
                    </a:cubicBezTo>
                    <a:cubicBezTo>
                      <a:pt x="10784" y="-1189"/>
                      <a:pt x="5042" y="-471"/>
                      <a:pt x="1933" y="3536"/>
                    </a:cubicBezTo>
                    <a:close/>
                  </a:path>
                </a:pathLst>
              </a:custGeom>
              <a:grpFill/>
              <a:ln w="5978" cap="flat">
                <a:noFill/>
                <a:prstDash val="solid"/>
                <a:miter/>
              </a:ln>
            </p:spPr>
            <p:txBody>
              <a:bodyPr rtlCol="0" anchor="ctr"/>
              <a:lstStyle/>
              <a:p>
                <a:endParaRPr lang="en-GB"/>
              </a:p>
            </p:txBody>
          </p:sp>
        </p:grpSp>
        <p:grpSp>
          <p:nvGrpSpPr>
            <p:cNvPr id="319" name="Graphic 3">
              <a:extLst>
                <a:ext uri="{FF2B5EF4-FFF2-40B4-BE49-F238E27FC236}">
                  <a16:creationId xmlns:a16="http://schemas.microsoft.com/office/drawing/2014/main" id="{2C9CFA3B-4EE7-404C-8BD5-988A94986C22}"/>
                </a:ext>
              </a:extLst>
            </p:cNvPr>
            <p:cNvGrpSpPr/>
            <p:nvPr/>
          </p:nvGrpSpPr>
          <p:grpSpPr>
            <a:xfrm>
              <a:off x="7103623" y="2051858"/>
              <a:ext cx="54661" cy="63431"/>
              <a:chOff x="7103623" y="2051858"/>
              <a:chExt cx="54661" cy="63431"/>
            </a:xfrm>
            <a:grpFill/>
          </p:grpSpPr>
          <p:sp>
            <p:nvSpPr>
              <p:cNvPr id="4422" name="Vrije vorm: vorm 4421">
                <a:extLst>
                  <a:ext uri="{FF2B5EF4-FFF2-40B4-BE49-F238E27FC236}">
                    <a16:creationId xmlns:a16="http://schemas.microsoft.com/office/drawing/2014/main" id="{9935CA86-E1D0-472C-B041-0FBB10DB60BA}"/>
                  </a:ext>
                </a:extLst>
              </p:cNvPr>
              <p:cNvSpPr/>
              <p:nvPr/>
            </p:nvSpPr>
            <p:spPr>
              <a:xfrm>
                <a:off x="7111337" y="2059741"/>
                <a:ext cx="39233" cy="47666"/>
              </a:xfrm>
              <a:custGeom>
                <a:avLst/>
                <a:gdLst>
                  <a:gd name="connsiteX0" fmla="*/ 39234 w 39233"/>
                  <a:gd name="connsiteY0" fmla="*/ 1914 h 47666"/>
                  <a:gd name="connsiteX1" fmla="*/ 2333 w 39233"/>
                  <a:gd name="connsiteY1" fmla="*/ 47666 h 47666"/>
                  <a:gd name="connsiteX2" fmla="*/ 0 w 39233"/>
                  <a:gd name="connsiteY2" fmla="*/ 45693 h 47666"/>
                  <a:gd name="connsiteX3" fmla="*/ 36901 w 39233"/>
                  <a:gd name="connsiteY3" fmla="*/ 0 h 47666"/>
                </a:gdLst>
                <a:ahLst/>
                <a:cxnLst>
                  <a:cxn ang="0">
                    <a:pos x="connsiteX0" y="connsiteY0"/>
                  </a:cxn>
                  <a:cxn ang="0">
                    <a:pos x="connsiteX1" y="connsiteY1"/>
                  </a:cxn>
                  <a:cxn ang="0">
                    <a:pos x="connsiteX2" y="connsiteY2"/>
                  </a:cxn>
                  <a:cxn ang="0">
                    <a:pos x="connsiteX3" y="connsiteY3"/>
                  </a:cxn>
                </a:cxnLst>
                <a:rect l="l" t="t" r="r" b="b"/>
                <a:pathLst>
                  <a:path w="39233" h="47666">
                    <a:moveTo>
                      <a:pt x="39234" y="1914"/>
                    </a:moveTo>
                    <a:lnTo>
                      <a:pt x="2333" y="47666"/>
                    </a:lnTo>
                    <a:lnTo>
                      <a:pt x="0" y="45693"/>
                    </a:lnTo>
                    <a:lnTo>
                      <a:pt x="36901" y="0"/>
                    </a:lnTo>
                    <a:close/>
                  </a:path>
                </a:pathLst>
              </a:custGeom>
              <a:grpFill/>
              <a:ln w="5978" cap="flat">
                <a:noFill/>
                <a:prstDash val="solid"/>
                <a:miter/>
              </a:ln>
            </p:spPr>
            <p:txBody>
              <a:bodyPr rtlCol="0" anchor="ctr"/>
              <a:lstStyle/>
              <a:p>
                <a:endParaRPr lang="en-GB"/>
              </a:p>
            </p:txBody>
          </p:sp>
          <p:sp>
            <p:nvSpPr>
              <p:cNvPr id="4423" name="Vrije vorm: vorm 4422">
                <a:extLst>
                  <a:ext uri="{FF2B5EF4-FFF2-40B4-BE49-F238E27FC236}">
                    <a16:creationId xmlns:a16="http://schemas.microsoft.com/office/drawing/2014/main" id="{56FC7D40-574D-439E-B4E7-05D318679621}"/>
                  </a:ext>
                </a:extLst>
              </p:cNvPr>
              <p:cNvSpPr/>
              <p:nvPr/>
            </p:nvSpPr>
            <p:spPr>
              <a:xfrm>
                <a:off x="7139961" y="2051858"/>
                <a:ext cx="18323" cy="18456"/>
              </a:xfrm>
              <a:custGeom>
                <a:avLst/>
                <a:gdLst>
                  <a:gd name="connsiteX0" fmla="*/ 2057 w 18323"/>
                  <a:gd name="connsiteY0" fmla="*/ 3397 h 18456"/>
                  <a:gd name="connsiteX1" fmla="*/ 14916 w 18323"/>
                  <a:gd name="connsiteY1" fmla="*/ 2081 h 18456"/>
                  <a:gd name="connsiteX2" fmla="*/ 16291 w 18323"/>
                  <a:gd name="connsiteY2" fmla="*/ 15059 h 18456"/>
                  <a:gd name="connsiteX3" fmla="*/ 3432 w 18323"/>
                  <a:gd name="connsiteY3" fmla="*/ 16375 h 18456"/>
                  <a:gd name="connsiteX4" fmla="*/ 2057 w 18323"/>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56">
                    <a:moveTo>
                      <a:pt x="2057" y="3397"/>
                    </a:moveTo>
                    <a:cubicBezTo>
                      <a:pt x="5227" y="-550"/>
                      <a:pt x="11028" y="-1148"/>
                      <a:pt x="14916" y="2081"/>
                    </a:cubicBezTo>
                    <a:cubicBezTo>
                      <a:pt x="18863" y="5311"/>
                      <a:pt x="19461" y="11112"/>
                      <a:pt x="16291" y="15059"/>
                    </a:cubicBezTo>
                    <a:cubicBezTo>
                      <a:pt x="13121" y="19007"/>
                      <a:pt x="7320" y="19605"/>
                      <a:pt x="3432" y="16375"/>
                    </a:cubicBezTo>
                    <a:cubicBezTo>
                      <a:pt x="-514" y="13146"/>
                      <a:pt x="-1172" y="7284"/>
                      <a:pt x="2057" y="3397"/>
                    </a:cubicBezTo>
                    <a:close/>
                  </a:path>
                </a:pathLst>
              </a:custGeom>
              <a:grpFill/>
              <a:ln w="5978" cap="flat">
                <a:noFill/>
                <a:prstDash val="solid"/>
                <a:miter/>
              </a:ln>
            </p:spPr>
            <p:txBody>
              <a:bodyPr rtlCol="0" anchor="ctr"/>
              <a:lstStyle/>
              <a:p>
                <a:endParaRPr lang="en-GB"/>
              </a:p>
            </p:txBody>
          </p:sp>
          <p:sp>
            <p:nvSpPr>
              <p:cNvPr id="4424" name="Vrije vorm: vorm 4423">
                <a:extLst>
                  <a:ext uri="{FF2B5EF4-FFF2-40B4-BE49-F238E27FC236}">
                    <a16:creationId xmlns:a16="http://schemas.microsoft.com/office/drawing/2014/main" id="{CB5D6635-152F-4548-BC19-40642C6DA1B2}"/>
                  </a:ext>
                </a:extLst>
              </p:cNvPr>
              <p:cNvSpPr/>
              <p:nvPr/>
            </p:nvSpPr>
            <p:spPr>
              <a:xfrm>
                <a:off x="7103623" y="2096858"/>
                <a:ext cx="18298" cy="18431"/>
              </a:xfrm>
              <a:custGeom>
                <a:avLst/>
                <a:gdLst>
                  <a:gd name="connsiteX0" fmla="*/ 2032 w 18298"/>
                  <a:gd name="connsiteY0" fmla="*/ 3372 h 18431"/>
                  <a:gd name="connsiteX1" fmla="*/ 3408 w 18298"/>
                  <a:gd name="connsiteY1" fmla="*/ 16350 h 18431"/>
                  <a:gd name="connsiteX2" fmla="*/ 16267 w 18298"/>
                  <a:gd name="connsiteY2" fmla="*/ 15034 h 18431"/>
                  <a:gd name="connsiteX3" fmla="*/ 14891 w 18298"/>
                  <a:gd name="connsiteY3" fmla="*/ 2056 h 18431"/>
                  <a:gd name="connsiteX4" fmla="*/ 2032 w 18298"/>
                  <a:gd name="connsiteY4" fmla="*/ 337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1">
                    <a:moveTo>
                      <a:pt x="2032" y="3372"/>
                    </a:moveTo>
                    <a:cubicBezTo>
                      <a:pt x="-1137" y="7319"/>
                      <a:pt x="-540" y="13120"/>
                      <a:pt x="3408" y="16350"/>
                    </a:cubicBezTo>
                    <a:cubicBezTo>
                      <a:pt x="7355" y="19580"/>
                      <a:pt x="13097" y="18982"/>
                      <a:pt x="16267" y="15034"/>
                    </a:cubicBezTo>
                    <a:cubicBezTo>
                      <a:pt x="19437" y="11087"/>
                      <a:pt x="18838" y="5286"/>
                      <a:pt x="14891" y="2056"/>
                    </a:cubicBezTo>
                    <a:cubicBezTo>
                      <a:pt x="11004" y="-1114"/>
                      <a:pt x="5202" y="-575"/>
                      <a:pt x="2032" y="3372"/>
                    </a:cubicBezTo>
                    <a:close/>
                  </a:path>
                </a:pathLst>
              </a:custGeom>
              <a:grpFill/>
              <a:ln w="5978" cap="flat">
                <a:noFill/>
                <a:prstDash val="solid"/>
                <a:miter/>
              </a:ln>
            </p:spPr>
            <p:txBody>
              <a:bodyPr rtlCol="0" anchor="ctr"/>
              <a:lstStyle/>
              <a:p>
                <a:endParaRPr lang="en-GB"/>
              </a:p>
            </p:txBody>
          </p:sp>
        </p:grpSp>
        <p:grpSp>
          <p:nvGrpSpPr>
            <p:cNvPr id="320" name="Graphic 3">
              <a:extLst>
                <a:ext uri="{FF2B5EF4-FFF2-40B4-BE49-F238E27FC236}">
                  <a16:creationId xmlns:a16="http://schemas.microsoft.com/office/drawing/2014/main" id="{4A0B897F-607A-4369-9464-53EB80EC2159}"/>
                </a:ext>
              </a:extLst>
            </p:cNvPr>
            <p:cNvGrpSpPr/>
            <p:nvPr/>
          </p:nvGrpSpPr>
          <p:grpSpPr>
            <a:xfrm>
              <a:off x="7676109" y="4062911"/>
              <a:ext cx="254992" cy="113573"/>
              <a:chOff x="7676109" y="4062911"/>
              <a:chExt cx="254992" cy="113573"/>
            </a:xfrm>
            <a:grpFill/>
          </p:grpSpPr>
          <p:sp>
            <p:nvSpPr>
              <p:cNvPr id="4419" name="Vrije vorm: vorm 4418">
                <a:extLst>
                  <a:ext uri="{FF2B5EF4-FFF2-40B4-BE49-F238E27FC236}">
                    <a16:creationId xmlns:a16="http://schemas.microsoft.com/office/drawing/2014/main" id="{F57A5ECD-791F-4469-8D22-4A37F10770B8}"/>
                  </a:ext>
                </a:extLst>
              </p:cNvPr>
              <p:cNvSpPr/>
              <p:nvPr/>
            </p:nvSpPr>
            <p:spPr>
              <a:xfrm>
                <a:off x="7684290" y="4070579"/>
                <a:ext cx="238630" cy="98263"/>
              </a:xfrm>
              <a:custGeom>
                <a:avLst/>
                <a:gdLst>
                  <a:gd name="connsiteX0" fmla="*/ 238631 w 238630"/>
                  <a:gd name="connsiteY0" fmla="*/ 95452 h 98263"/>
                  <a:gd name="connsiteX1" fmla="*/ 237494 w 238630"/>
                  <a:gd name="connsiteY1" fmla="*/ 98264 h 98263"/>
                  <a:gd name="connsiteX2" fmla="*/ 0 w 238630"/>
                  <a:gd name="connsiteY2" fmla="*/ 2811 h 98263"/>
                  <a:gd name="connsiteX3" fmla="*/ 1136 w 238630"/>
                  <a:gd name="connsiteY3" fmla="*/ 0 h 98263"/>
                </a:gdLst>
                <a:ahLst/>
                <a:cxnLst>
                  <a:cxn ang="0">
                    <a:pos x="connsiteX0" y="connsiteY0"/>
                  </a:cxn>
                  <a:cxn ang="0">
                    <a:pos x="connsiteX1" y="connsiteY1"/>
                  </a:cxn>
                  <a:cxn ang="0">
                    <a:pos x="connsiteX2" y="connsiteY2"/>
                  </a:cxn>
                  <a:cxn ang="0">
                    <a:pos x="connsiteX3" y="connsiteY3"/>
                  </a:cxn>
                </a:cxnLst>
                <a:rect l="l" t="t" r="r" b="b"/>
                <a:pathLst>
                  <a:path w="238630" h="98263">
                    <a:moveTo>
                      <a:pt x="238631" y="95452"/>
                    </a:moveTo>
                    <a:lnTo>
                      <a:pt x="237494" y="98264"/>
                    </a:lnTo>
                    <a:lnTo>
                      <a:pt x="0" y="2811"/>
                    </a:lnTo>
                    <a:lnTo>
                      <a:pt x="1136" y="0"/>
                    </a:lnTo>
                    <a:close/>
                  </a:path>
                </a:pathLst>
              </a:custGeom>
              <a:grpFill/>
              <a:ln w="5978" cap="flat">
                <a:noFill/>
                <a:prstDash val="solid"/>
                <a:miter/>
              </a:ln>
            </p:spPr>
            <p:txBody>
              <a:bodyPr rtlCol="0" anchor="ctr"/>
              <a:lstStyle/>
              <a:p>
                <a:endParaRPr lang="en-GB"/>
              </a:p>
            </p:txBody>
          </p:sp>
          <p:sp>
            <p:nvSpPr>
              <p:cNvPr id="4420" name="Vrije vorm: vorm 4419">
                <a:extLst>
                  <a:ext uri="{FF2B5EF4-FFF2-40B4-BE49-F238E27FC236}">
                    <a16:creationId xmlns:a16="http://schemas.microsoft.com/office/drawing/2014/main" id="{8BEF34A6-31D1-4EB2-BCE1-043E7DC3C793}"/>
                  </a:ext>
                </a:extLst>
              </p:cNvPr>
              <p:cNvSpPr/>
              <p:nvPr/>
            </p:nvSpPr>
            <p:spPr>
              <a:xfrm>
                <a:off x="7912767" y="4158057"/>
                <a:ext cx="18335" cy="18427"/>
              </a:xfrm>
              <a:custGeom>
                <a:avLst/>
                <a:gdLst>
                  <a:gd name="connsiteX0" fmla="*/ 12547 w 18335"/>
                  <a:gd name="connsiteY0" fmla="*/ 678 h 18427"/>
                  <a:gd name="connsiteX1" fmla="*/ 17691 w 18335"/>
                  <a:gd name="connsiteY1" fmla="*/ 12639 h 18427"/>
                  <a:gd name="connsiteX2" fmla="*/ 5789 w 18335"/>
                  <a:gd name="connsiteY2" fmla="*/ 17782 h 18427"/>
                  <a:gd name="connsiteX3" fmla="*/ 645 w 18335"/>
                  <a:gd name="connsiteY3" fmla="*/ 5821 h 18427"/>
                  <a:gd name="connsiteX4" fmla="*/ 12547 w 18335"/>
                  <a:gd name="connsiteY4" fmla="*/ 67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7">
                    <a:moveTo>
                      <a:pt x="12547" y="678"/>
                    </a:moveTo>
                    <a:cubicBezTo>
                      <a:pt x="17272" y="2592"/>
                      <a:pt x="19544" y="7914"/>
                      <a:pt x="17691" y="12639"/>
                    </a:cubicBezTo>
                    <a:cubicBezTo>
                      <a:pt x="15836" y="17364"/>
                      <a:pt x="10513" y="19636"/>
                      <a:pt x="5789" y="17782"/>
                    </a:cubicBezTo>
                    <a:cubicBezTo>
                      <a:pt x="1064" y="15869"/>
                      <a:pt x="-1209" y="10546"/>
                      <a:pt x="645" y="5821"/>
                    </a:cubicBezTo>
                    <a:cubicBezTo>
                      <a:pt x="2499" y="1037"/>
                      <a:pt x="7822" y="-1236"/>
                      <a:pt x="12547" y="678"/>
                    </a:cubicBezTo>
                    <a:close/>
                  </a:path>
                </a:pathLst>
              </a:custGeom>
              <a:grpFill/>
              <a:ln w="5978" cap="flat">
                <a:noFill/>
                <a:prstDash val="solid"/>
                <a:miter/>
              </a:ln>
            </p:spPr>
            <p:txBody>
              <a:bodyPr rtlCol="0" anchor="ctr"/>
              <a:lstStyle/>
              <a:p>
                <a:endParaRPr lang="en-GB"/>
              </a:p>
            </p:txBody>
          </p:sp>
          <p:sp>
            <p:nvSpPr>
              <p:cNvPr id="4421" name="Vrije vorm: vorm 4420">
                <a:extLst>
                  <a:ext uri="{FF2B5EF4-FFF2-40B4-BE49-F238E27FC236}">
                    <a16:creationId xmlns:a16="http://schemas.microsoft.com/office/drawing/2014/main" id="{1F75D017-B3E7-40B0-B57A-259D0988EDEB}"/>
                  </a:ext>
                </a:extLst>
              </p:cNvPr>
              <p:cNvSpPr/>
              <p:nvPr/>
            </p:nvSpPr>
            <p:spPr>
              <a:xfrm>
                <a:off x="7676109" y="4062911"/>
                <a:ext cx="18335" cy="18444"/>
              </a:xfrm>
              <a:custGeom>
                <a:avLst/>
                <a:gdLst>
                  <a:gd name="connsiteX0" fmla="*/ 12547 w 18335"/>
                  <a:gd name="connsiteY0" fmla="*/ 670 h 18444"/>
                  <a:gd name="connsiteX1" fmla="*/ 645 w 18335"/>
                  <a:gd name="connsiteY1" fmla="*/ 5813 h 18444"/>
                  <a:gd name="connsiteX2" fmla="*/ 5789 w 18335"/>
                  <a:gd name="connsiteY2" fmla="*/ 17775 h 18444"/>
                  <a:gd name="connsiteX3" fmla="*/ 17690 w 18335"/>
                  <a:gd name="connsiteY3" fmla="*/ 12631 h 18444"/>
                  <a:gd name="connsiteX4" fmla="*/ 12547 w 18335"/>
                  <a:gd name="connsiteY4" fmla="*/ 67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2547" y="670"/>
                    </a:moveTo>
                    <a:cubicBezTo>
                      <a:pt x="7822" y="-1244"/>
                      <a:pt x="2499" y="1089"/>
                      <a:pt x="645" y="5813"/>
                    </a:cubicBezTo>
                    <a:cubicBezTo>
                      <a:pt x="-1209" y="10538"/>
                      <a:pt x="1064" y="15921"/>
                      <a:pt x="5789" y="17775"/>
                    </a:cubicBezTo>
                    <a:cubicBezTo>
                      <a:pt x="10514" y="19689"/>
                      <a:pt x="15837" y="17356"/>
                      <a:pt x="17690" y="12631"/>
                    </a:cubicBezTo>
                    <a:cubicBezTo>
                      <a:pt x="19545" y="7967"/>
                      <a:pt x="17272" y="2584"/>
                      <a:pt x="12547" y="670"/>
                    </a:cubicBezTo>
                    <a:close/>
                  </a:path>
                </a:pathLst>
              </a:custGeom>
              <a:grpFill/>
              <a:ln w="5978" cap="flat">
                <a:noFill/>
                <a:prstDash val="solid"/>
                <a:miter/>
              </a:ln>
            </p:spPr>
            <p:txBody>
              <a:bodyPr rtlCol="0" anchor="ctr"/>
              <a:lstStyle/>
              <a:p>
                <a:endParaRPr lang="en-GB"/>
              </a:p>
            </p:txBody>
          </p:sp>
        </p:grpSp>
        <p:grpSp>
          <p:nvGrpSpPr>
            <p:cNvPr id="321" name="Graphic 3">
              <a:extLst>
                <a:ext uri="{FF2B5EF4-FFF2-40B4-BE49-F238E27FC236}">
                  <a16:creationId xmlns:a16="http://schemas.microsoft.com/office/drawing/2014/main" id="{F8F82983-34C8-47C3-A5C8-C4FECF1A5998}"/>
                </a:ext>
              </a:extLst>
            </p:cNvPr>
            <p:cNvGrpSpPr/>
            <p:nvPr/>
          </p:nvGrpSpPr>
          <p:grpSpPr>
            <a:xfrm>
              <a:off x="7704178" y="4261418"/>
              <a:ext cx="337693" cy="182781"/>
              <a:chOff x="7704178" y="4261418"/>
              <a:chExt cx="337693" cy="182781"/>
            </a:xfrm>
            <a:grpFill/>
          </p:grpSpPr>
          <p:sp>
            <p:nvSpPr>
              <p:cNvPr id="4416" name="Vrije vorm: vorm 4415">
                <a:extLst>
                  <a:ext uri="{FF2B5EF4-FFF2-40B4-BE49-F238E27FC236}">
                    <a16:creationId xmlns:a16="http://schemas.microsoft.com/office/drawing/2014/main" id="{4A8683A6-C2CA-45BE-9C69-9D9EF89D3543}"/>
                  </a:ext>
                </a:extLst>
              </p:cNvPr>
              <p:cNvSpPr/>
              <p:nvPr/>
            </p:nvSpPr>
            <p:spPr>
              <a:xfrm>
                <a:off x="7712280" y="4269079"/>
                <a:ext cx="321523" cy="167520"/>
              </a:xfrm>
              <a:custGeom>
                <a:avLst/>
                <a:gdLst>
                  <a:gd name="connsiteX0" fmla="*/ 321524 w 321523"/>
                  <a:gd name="connsiteY0" fmla="*/ 164769 h 167520"/>
                  <a:gd name="connsiteX1" fmla="*/ 320148 w 321523"/>
                  <a:gd name="connsiteY1" fmla="*/ 167520 h 167520"/>
                  <a:gd name="connsiteX2" fmla="*/ 0 w 321523"/>
                  <a:gd name="connsiteY2" fmla="*/ 2691 h 167520"/>
                  <a:gd name="connsiteX3" fmla="*/ 1376 w 321523"/>
                  <a:gd name="connsiteY3" fmla="*/ 0 h 167520"/>
                </a:gdLst>
                <a:ahLst/>
                <a:cxnLst>
                  <a:cxn ang="0">
                    <a:pos x="connsiteX0" y="connsiteY0"/>
                  </a:cxn>
                  <a:cxn ang="0">
                    <a:pos x="connsiteX1" y="connsiteY1"/>
                  </a:cxn>
                  <a:cxn ang="0">
                    <a:pos x="connsiteX2" y="connsiteY2"/>
                  </a:cxn>
                  <a:cxn ang="0">
                    <a:pos x="connsiteX3" y="connsiteY3"/>
                  </a:cxn>
                </a:cxnLst>
                <a:rect l="l" t="t" r="r" b="b"/>
                <a:pathLst>
                  <a:path w="321523" h="167520">
                    <a:moveTo>
                      <a:pt x="321524" y="164769"/>
                    </a:moveTo>
                    <a:lnTo>
                      <a:pt x="320148" y="167520"/>
                    </a:lnTo>
                    <a:lnTo>
                      <a:pt x="0" y="2691"/>
                    </a:lnTo>
                    <a:lnTo>
                      <a:pt x="1376" y="0"/>
                    </a:lnTo>
                    <a:close/>
                  </a:path>
                </a:pathLst>
              </a:custGeom>
              <a:grpFill/>
              <a:ln w="5978" cap="flat">
                <a:noFill/>
                <a:prstDash val="solid"/>
                <a:miter/>
              </a:ln>
            </p:spPr>
            <p:txBody>
              <a:bodyPr rtlCol="0" anchor="ctr"/>
              <a:lstStyle/>
              <a:p>
                <a:endParaRPr lang="en-GB"/>
              </a:p>
            </p:txBody>
          </p:sp>
          <p:sp>
            <p:nvSpPr>
              <p:cNvPr id="4417" name="Vrije vorm: vorm 4416">
                <a:extLst>
                  <a:ext uri="{FF2B5EF4-FFF2-40B4-BE49-F238E27FC236}">
                    <a16:creationId xmlns:a16="http://schemas.microsoft.com/office/drawing/2014/main" id="{FBDF53D9-A444-478D-B29B-CFBF409A6EC3}"/>
                  </a:ext>
                </a:extLst>
              </p:cNvPr>
              <p:cNvSpPr/>
              <p:nvPr/>
            </p:nvSpPr>
            <p:spPr>
              <a:xfrm>
                <a:off x="8023523" y="4425795"/>
                <a:ext cx="18349" cy="18405"/>
              </a:xfrm>
              <a:custGeom>
                <a:avLst/>
                <a:gdLst>
                  <a:gd name="connsiteX0" fmla="*/ 13331 w 18349"/>
                  <a:gd name="connsiteY0" fmla="*/ 996 h 18405"/>
                  <a:gd name="connsiteX1" fmla="*/ 17339 w 18349"/>
                  <a:gd name="connsiteY1" fmla="*/ 13376 h 18405"/>
                  <a:gd name="connsiteX2" fmla="*/ 5018 w 18349"/>
                  <a:gd name="connsiteY2" fmla="*/ 17383 h 18405"/>
                  <a:gd name="connsiteX3" fmla="*/ 1011 w 18349"/>
                  <a:gd name="connsiteY3" fmla="*/ 5003 h 18405"/>
                  <a:gd name="connsiteX4" fmla="*/ 13331 w 18349"/>
                  <a:gd name="connsiteY4" fmla="*/ 996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13331" y="996"/>
                    </a:moveTo>
                    <a:cubicBezTo>
                      <a:pt x="17817" y="3328"/>
                      <a:pt x="19671" y="8890"/>
                      <a:pt x="17339" y="13376"/>
                    </a:cubicBezTo>
                    <a:cubicBezTo>
                      <a:pt x="15066" y="17921"/>
                      <a:pt x="9503" y="19715"/>
                      <a:pt x="5018" y="17383"/>
                    </a:cubicBezTo>
                    <a:cubicBezTo>
                      <a:pt x="532" y="15051"/>
                      <a:pt x="-1321" y="9488"/>
                      <a:pt x="1011" y="5003"/>
                    </a:cubicBezTo>
                    <a:cubicBezTo>
                      <a:pt x="3284" y="458"/>
                      <a:pt x="8786" y="-1277"/>
                      <a:pt x="13331" y="996"/>
                    </a:cubicBezTo>
                    <a:close/>
                  </a:path>
                </a:pathLst>
              </a:custGeom>
              <a:grpFill/>
              <a:ln w="5978" cap="flat">
                <a:noFill/>
                <a:prstDash val="solid"/>
                <a:miter/>
              </a:ln>
            </p:spPr>
            <p:txBody>
              <a:bodyPr rtlCol="0" anchor="ctr"/>
              <a:lstStyle/>
              <a:p>
                <a:endParaRPr lang="en-GB"/>
              </a:p>
            </p:txBody>
          </p:sp>
          <p:sp>
            <p:nvSpPr>
              <p:cNvPr id="4418" name="Vrije vorm: vorm 4417">
                <a:extLst>
                  <a:ext uri="{FF2B5EF4-FFF2-40B4-BE49-F238E27FC236}">
                    <a16:creationId xmlns:a16="http://schemas.microsoft.com/office/drawing/2014/main" id="{478A2876-E2E8-4B69-AD48-47C2D8A25D22}"/>
                  </a:ext>
                </a:extLst>
              </p:cNvPr>
              <p:cNvSpPr/>
              <p:nvPr/>
            </p:nvSpPr>
            <p:spPr>
              <a:xfrm>
                <a:off x="7704178" y="4261418"/>
                <a:ext cx="18334" cy="18431"/>
              </a:xfrm>
              <a:custGeom>
                <a:avLst/>
                <a:gdLst>
                  <a:gd name="connsiteX0" fmla="*/ 13305 w 18334"/>
                  <a:gd name="connsiteY0" fmla="*/ 1022 h 18431"/>
                  <a:gd name="connsiteX1" fmla="*/ 985 w 18334"/>
                  <a:gd name="connsiteY1" fmla="*/ 5029 h 18431"/>
                  <a:gd name="connsiteX2" fmla="*/ 4992 w 18334"/>
                  <a:gd name="connsiteY2" fmla="*/ 17409 h 18431"/>
                  <a:gd name="connsiteX3" fmla="*/ 17312 w 18334"/>
                  <a:gd name="connsiteY3" fmla="*/ 13402 h 18431"/>
                  <a:gd name="connsiteX4" fmla="*/ 13305 w 18334"/>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1">
                    <a:moveTo>
                      <a:pt x="13305" y="1022"/>
                    </a:moveTo>
                    <a:cubicBezTo>
                      <a:pt x="8819" y="-1310"/>
                      <a:pt x="3258" y="484"/>
                      <a:pt x="985" y="5029"/>
                    </a:cubicBezTo>
                    <a:cubicBezTo>
                      <a:pt x="-1288" y="9575"/>
                      <a:pt x="507" y="15137"/>
                      <a:pt x="4992" y="17409"/>
                    </a:cubicBezTo>
                    <a:cubicBezTo>
                      <a:pt x="9478" y="19742"/>
                      <a:pt x="15039" y="17948"/>
                      <a:pt x="17312" y="13402"/>
                    </a:cubicBezTo>
                    <a:cubicBezTo>
                      <a:pt x="19645" y="8917"/>
                      <a:pt x="17850" y="3355"/>
                      <a:pt x="13305" y="1022"/>
                    </a:cubicBezTo>
                    <a:close/>
                  </a:path>
                </a:pathLst>
              </a:custGeom>
              <a:grpFill/>
              <a:ln w="5978" cap="flat">
                <a:noFill/>
                <a:prstDash val="solid"/>
                <a:miter/>
              </a:ln>
            </p:spPr>
            <p:txBody>
              <a:bodyPr rtlCol="0" anchor="ctr"/>
              <a:lstStyle/>
              <a:p>
                <a:endParaRPr lang="en-GB"/>
              </a:p>
            </p:txBody>
          </p:sp>
        </p:grpSp>
        <p:grpSp>
          <p:nvGrpSpPr>
            <p:cNvPr id="322" name="Graphic 3">
              <a:extLst>
                <a:ext uri="{FF2B5EF4-FFF2-40B4-BE49-F238E27FC236}">
                  <a16:creationId xmlns:a16="http://schemas.microsoft.com/office/drawing/2014/main" id="{5CC41267-73DA-4E8B-83FD-7BE30BD478B8}"/>
                </a:ext>
              </a:extLst>
            </p:cNvPr>
            <p:cNvGrpSpPr/>
            <p:nvPr/>
          </p:nvGrpSpPr>
          <p:grpSpPr>
            <a:xfrm>
              <a:off x="7052803" y="1978638"/>
              <a:ext cx="78910" cy="99528"/>
              <a:chOff x="7052803" y="1978638"/>
              <a:chExt cx="78910" cy="99528"/>
            </a:xfrm>
            <a:grpFill/>
          </p:grpSpPr>
          <p:sp>
            <p:nvSpPr>
              <p:cNvPr id="4413" name="Vrije vorm: vorm 4412">
                <a:extLst>
                  <a:ext uri="{FF2B5EF4-FFF2-40B4-BE49-F238E27FC236}">
                    <a16:creationId xmlns:a16="http://schemas.microsoft.com/office/drawing/2014/main" id="{6E752B62-E895-40DA-AB10-890A7A732DAB}"/>
                  </a:ext>
                </a:extLst>
              </p:cNvPr>
              <p:cNvSpPr/>
              <p:nvPr/>
            </p:nvSpPr>
            <p:spPr>
              <a:xfrm>
                <a:off x="7060441" y="1986597"/>
                <a:ext cx="63575" cy="83610"/>
              </a:xfrm>
              <a:custGeom>
                <a:avLst/>
                <a:gdLst>
                  <a:gd name="connsiteX0" fmla="*/ 63575 w 63575"/>
                  <a:gd name="connsiteY0" fmla="*/ 1794 h 83610"/>
                  <a:gd name="connsiteX1" fmla="*/ 2452 w 63575"/>
                  <a:gd name="connsiteY1" fmla="*/ 83610 h 83610"/>
                  <a:gd name="connsiteX2" fmla="*/ 0 w 63575"/>
                  <a:gd name="connsiteY2" fmla="*/ 81756 h 83610"/>
                  <a:gd name="connsiteX3" fmla="*/ 61124 w 63575"/>
                  <a:gd name="connsiteY3" fmla="*/ 0 h 83610"/>
                </a:gdLst>
                <a:ahLst/>
                <a:cxnLst>
                  <a:cxn ang="0">
                    <a:pos x="connsiteX0" y="connsiteY0"/>
                  </a:cxn>
                  <a:cxn ang="0">
                    <a:pos x="connsiteX1" y="connsiteY1"/>
                  </a:cxn>
                  <a:cxn ang="0">
                    <a:pos x="connsiteX2" y="connsiteY2"/>
                  </a:cxn>
                  <a:cxn ang="0">
                    <a:pos x="connsiteX3" y="connsiteY3"/>
                  </a:cxn>
                </a:cxnLst>
                <a:rect l="l" t="t" r="r" b="b"/>
                <a:pathLst>
                  <a:path w="63575" h="83610">
                    <a:moveTo>
                      <a:pt x="63575" y="1794"/>
                    </a:moveTo>
                    <a:lnTo>
                      <a:pt x="2452" y="83610"/>
                    </a:lnTo>
                    <a:lnTo>
                      <a:pt x="0" y="81756"/>
                    </a:lnTo>
                    <a:lnTo>
                      <a:pt x="61124" y="0"/>
                    </a:lnTo>
                    <a:close/>
                  </a:path>
                </a:pathLst>
              </a:custGeom>
              <a:grpFill/>
              <a:ln w="5978" cap="flat">
                <a:noFill/>
                <a:prstDash val="solid"/>
                <a:miter/>
              </a:ln>
            </p:spPr>
            <p:txBody>
              <a:bodyPr rtlCol="0" anchor="ctr"/>
              <a:lstStyle/>
              <a:p>
                <a:endParaRPr lang="en-GB"/>
              </a:p>
            </p:txBody>
          </p:sp>
          <p:sp>
            <p:nvSpPr>
              <p:cNvPr id="4414" name="Vrije vorm: vorm 4413">
                <a:extLst>
                  <a:ext uri="{FF2B5EF4-FFF2-40B4-BE49-F238E27FC236}">
                    <a16:creationId xmlns:a16="http://schemas.microsoft.com/office/drawing/2014/main" id="{923809C7-2756-4D70-B259-619D152D5478}"/>
                  </a:ext>
                </a:extLst>
              </p:cNvPr>
              <p:cNvSpPr/>
              <p:nvPr/>
            </p:nvSpPr>
            <p:spPr>
              <a:xfrm>
                <a:off x="7113328" y="1978638"/>
                <a:ext cx="18386" cy="18429"/>
              </a:xfrm>
              <a:custGeom>
                <a:avLst/>
                <a:gdLst>
                  <a:gd name="connsiteX0" fmla="*/ 1837 w 18386"/>
                  <a:gd name="connsiteY0" fmla="*/ 3653 h 18429"/>
                  <a:gd name="connsiteX1" fmla="*/ 14695 w 18386"/>
                  <a:gd name="connsiteY1" fmla="*/ 1859 h 18429"/>
                  <a:gd name="connsiteX2" fmla="*/ 16549 w 18386"/>
                  <a:gd name="connsiteY2" fmla="*/ 14777 h 18429"/>
                  <a:gd name="connsiteX3" fmla="*/ 3691 w 18386"/>
                  <a:gd name="connsiteY3" fmla="*/ 16571 h 18429"/>
                  <a:gd name="connsiteX4" fmla="*/ 1837 w 18386"/>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6" h="18429">
                    <a:moveTo>
                      <a:pt x="1837" y="3653"/>
                    </a:moveTo>
                    <a:cubicBezTo>
                      <a:pt x="4887" y="-414"/>
                      <a:pt x="10628" y="-1192"/>
                      <a:pt x="14695" y="1859"/>
                    </a:cubicBezTo>
                    <a:cubicBezTo>
                      <a:pt x="18763" y="4909"/>
                      <a:pt x="19599" y="10710"/>
                      <a:pt x="16549" y="14777"/>
                    </a:cubicBezTo>
                    <a:cubicBezTo>
                      <a:pt x="13500" y="18844"/>
                      <a:pt x="7758" y="19621"/>
                      <a:pt x="3691" y="16571"/>
                    </a:cubicBezTo>
                    <a:cubicBezTo>
                      <a:pt x="-376" y="13521"/>
                      <a:pt x="-1213" y="7720"/>
                      <a:pt x="1837" y="3653"/>
                    </a:cubicBezTo>
                    <a:close/>
                  </a:path>
                </a:pathLst>
              </a:custGeom>
              <a:grpFill/>
              <a:ln w="5978" cap="flat">
                <a:noFill/>
                <a:prstDash val="solid"/>
                <a:miter/>
              </a:ln>
            </p:spPr>
            <p:txBody>
              <a:bodyPr rtlCol="0" anchor="ctr"/>
              <a:lstStyle/>
              <a:p>
                <a:endParaRPr lang="en-GB"/>
              </a:p>
            </p:txBody>
          </p:sp>
          <p:sp>
            <p:nvSpPr>
              <p:cNvPr id="4415" name="Vrije vorm: vorm 4414">
                <a:extLst>
                  <a:ext uri="{FF2B5EF4-FFF2-40B4-BE49-F238E27FC236}">
                    <a16:creationId xmlns:a16="http://schemas.microsoft.com/office/drawing/2014/main" id="{9E318049-203D-4A1B-B813-D9A7A38F8882}"/>
                  </a:ext>
                </a:extLst>
              </p:cNvPr>
              <p:cNvSpPr/>
              <p:nvPr/>
            </p:nvSpPr>
            <p:spPr>
              <a:xfrm>
                <a:off x="7052803" y="2059736"/>
                <a:ext cx="18326" cy="18429"/>
              </a:xfrm>
              <a:custGeom>
                <a:avLst/>
                <a:gdLst>
                  <a:gd name="connsiteX0" fmla="*/ 1837 w 18326"/>
                  <a:gd name="connsiteY0" fmla="*/ 3653 h 18429"/>
                  <a:gd name="connsiteX1" fmla="*/ 3691 w 18326"/>
                  <a:gd name="connsiteY1" fmla="*/ 16571 h 18429"/>
                  <a:gd name="connsiteX2" fmla="*/ 16490 w 18326"/>
                  <a:gd name="connsiteY2" fmla="*/ 14777 h 18429"/>
                  <a:gd name="connsiteX3" fmla="*/ 14636 w 18326"/>
                  <a:gd name="connsiteY3" fmla="*/ 1859 h 18429"/>
                  <a:gd name="connsiteX4" fmla="*/ 1837 w 18326"/>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837" y="3653"/>
                    </a:moveTo>
                    <a:cubicBezTo>
                      <a:pt x="-1213" y="7720"/>
                      <a:pt x="-376" y="13521"/>
                      <a:pt x="3691" y="16571"/>
                    </a:cubicBezTo>
                    <a:cubicBezTo>
                      <a:pt x="7758" y="19621"/>
                      <a:pt x="13500" y="18844"/>
                      <a:pt x="16490" y="14777"/>
                    </a:cubicBezTo>
                    <a:cubicBezTo>
                      <a:pt x="19539" y="10710"/>
                      <a:pt x="18703" y="4969"/>
                      <a:pt x="14636" y="1859"/>
                    </a:cubicBezTo>
                    <a:cubicBezTo>
                      <a:pt x="10568" y="-1192"/>
                      <a:pt x="4827" y="-414"/>
                      <a:pt x="1837" y="3653"/>
                    </a:cubicBezTo>
                    <a:close/>
                  </a:path>
                </a:pathLst>
              </a:custGeom>
              <a:grpFill/>
              <a:ln w="5978" cap="flat">
                <a:noFill/>
                <a:prstDash val="solid"/>
                <a:miter/>
              </a:ln>
            </p:spPr>
            <p:txBody>
              <a:bodyPr rtlCol="0" anchor="ctr"/>
              <a:lstStyle/>
              <a:p>
                <a:endParaRPr lang="en-GB"/>
              </a:p>
            </p:txBody>
          </p:sp>
        </p:grpSp>
        <p:grpSp>
          <p:nvGrpSpPr>
            <p:cNvPr id="323" name="Graphic 3">
              <a:extLst>
                <a:ext uri="{FF2B5EF4-FFF2-40B4-BE49-F238E27FC236}">
                  <a16:creationId xmlns:a16="http://schemas.microsoft.com/office/drawing/2014/main" id="{B395E62D-EF7F-4A53-B58B-96EA2DB15DA5}"/>
                </a:ext>
              </a:extLst>
            </p:cNvPr>
            <p:cNvGrpSpPr/>
            <p:nvPr/>
          </p:nvGrpSpPr>
          <p:grpSpPr>
            <a:xfrm>
              <a:off x="6881703" y="1439505"/>
              <a:ext cx="100065" cy="193701"/>
              <a:chOff x="6881703" y="1439505"/>
              <a:chExt cx="100065" cy="193701"/>
            </a:xfrm>
            <a:grpFill/>
          </p:grpSpPr>
          <p:sp>
            <p:nvSpPr>
              <p:cNvPr id="4410" name="Vrije vorm: vorm 4409">
                <a:extLst>
                  <a:ext uri="{FF2B5EF4-FFF2-40B4-BE49-F238E27FC236}">
                    <a16:creationId xmlns:a16="http://schemas.microsoft.com/office/drawing/2014/main" id="{FB7B5AD5-CBB2-4F40-BC13-CF8C24116B89}"/>
                  </a:ext>
                </a:extLst>
              </p:cNvPr>
              <p:cNvSpPr/>
              <p:nvPr/>
            </p:nvSpPr>
            <p:spPr>
              <a:xfrm>
                <a:off x="6889273" y="1447614"/>
                <a:ext cx="84926" cy="177507"/>
              </a:xfrm>
              <a:custGeom>
                <a:avLst/>
                <a:gdLst>
                  <a:gd name="connsiteX0" fmla="*/ 84927 w 84926"/>
                  <a:gd name="connsiteY0" fmla="*/ 1316 h 177507"/>
                  <a:gd name="connsiteX1" fmla="*/ 2811 w 84926"/>
                  <a:gd name="connsiteY1" fmla="*/ 177508 h 177507"/>
                  <a:gd name="connsiteX2" fmla="*/ 0 w 84926"/>
                  <a:gd name="connsiteY2" fmla="*/ 176192 h 177507"/>
                  <a:gd name="connsiteX3" fmla="*/ 82115 w 84926"/>
                  <a:gd name="connsiteY3" fmla="*/ 0 h 177507"/>
                </a:gdLst>
                <a:ahLst/>
                <a:cxnLst>
                  <a:cxn ang="0">
                    <a:pos x="connsiteX0" y="connsiteY0"/>
                  </a:cxn>
                  <a:cxn ang="0">
                    <a:pos x="connsiteX1" y="connsiteY1"/>
                  </a:cxn>
                  <a:cxn ang="0">
                    <a:pos x="connsiteX2" y="connsiteY2"/>
                  </a:cxn>
                  <a:cxn ang="0">
                    <a:pos x="connsiteX3" y="connsiteY3"/>
                  </a:cxn>
                </a:cxnLst>
                <a:rect l="l" t="t" r="r" b="b"/>
                <a:pathLst>
                  <a:path w="84926" h="177507">
                    <a:moveTo>
                      <a:pt x="84927" y="1316"/>
                    </a:moveTo>
                    <a:lnTo>
                      <a:pt x="2811" y="177508"/>
                    </a:lnTo>
                    <a:lnTo>
                      <a:pt x="0" y="176192"/>
                    </a:lnTo>
                    <a:lnTo>
                      <a:pt x="82115" y="0"/>
                    </a:lnTo>
                    <a:close/>
                  </a:path>
                </a:pathLst>
              </a:custGeom>
              <a:grpFill/>
              <a:ln w="5978" cap="flat">
                <a:noFill/>
                <a:prstDash val="solid"/>
                <a:miter/>
              </a:ln>
            </p:spPr>
            <p:txBody>
              <a:bodyPr rtlCol="0" anchor="ctr"/>
              <a:lstStyle/>
              <a:p>
                <a:endParaRPr lang="en-GB"/>
              </a:p>
            </p:txBody>
          </p:sp>
          <p:sp>
            <p:nvSpPr>
              <p:cNvPr id="4411" name="Vrije vorm: vorm 4410">
                <a:extLst>
                  <a:ext uri="{FF2B5EF4-FFF2-40B4-BE49-F238E27FC236}">
                    <a16:creationId xmlns:a16="http://schemas.microsoft.com/office/drawing/2014/main" id="{8858DEEF-49C5-4396-9B5D-8760D82C100D}"/>
                  </a:ext>
                </a:extLst>
              </p:cNvPr>
              <p:cNvSpPr/>
              <p:nvPr/>
            </p:nvSpPr>
            <p:spPr>
              <a:xfrm>
                <a:off x="6881703" y="1614764"/>
                <a:ext cx="18333" cy="18442"/>
              </a:xfrm>
              <a:custGeom>
                <a:avLst/>
                <a:gdLst>
                  <a:gd name="connsiteX0" fmla="*/ 17498 w 18333"/>
                  <a:gd name="connsiteY0" fmla="*/ 13169 h 18442"/>
                  <a:gd name="connsiteX1" fmla="*/ 5297 w 18333"/>
                  <a:gd name="connsiteY1" fmla="*/ 17535 h 18442"/>
                  <a:gd name="connsiteX2" fmla="*/ 871 w 18333"/>
                  <a:gd name="connsiteY2" fmla="*/ 5274 h 18442"/>
                  <a:gd name="connsiteX3" fmla="*/ 13072 w 18333"/>
                  <a:gd name="connsiteY3" fmla="*/ 908 h 18442"/>
                  <a:gd name="connsiteX4" fmla="*/ 17498 w 18333"/>
                  <a:gd name="connsiteY4" fmla="*/ 1316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2">
                    <a:moveTo>
                      <a:pt x="17498" y="13169"/>
                    </a:moveTo>
                    <a:cubicBezTo>
                      <a:pt x="15345" y="17774"/>
                      <a:pt x="9902" y="19748"/>
                      <a:pt x="5297" y="17535"/>
                    </a:cubicBezTo>
                    <a:cubicBezTo>
                      <a:pt x="692" y="15382"/>
                      <a:pt x="-1282" y="9879"/>
                      <a:pt x="871" y="5274"/>
                    </a:cubicBezTo>
                    <a:cubicBezTo>
                      <a:pt x="3024" y="669"/>
                      <a:pt x="8467" y="-1305"/>
                      <a:pt x="13072" y="908"/>
                    </a:cubicBezTo>
                    <a:cubicBezTo>
                      <a:pt x="17617" y="3121"/>
                      <a:pt x="19591" y="8623"/>
                      <a:pt x="17498" y="13169"/>
                    </a:cubicBezTo>
                    <a:close/>
                  </a:path>
                </a:pathLst>
              </a:custGeom>
              <a:grpFill/>
              <a:ln w="5978" cap="flat">
                <a:noFill/>
                <a:prstDash val="solid"/>
                <a:miter/>
              </a:ln>
            </p:spPr>
            <p:txBody>
              <a:bodyPr rtlCol="0" anchor="ctr"/>
              <a:lstStyle/>
              <a:p>
                <a:endParaRPr lang="en-GB"/>
              </a:p>
            </p:txBody>
          </p:sp>
          <p:sp>
            <p:nvSpPr>
              <p:cNvPr id="4412" name="Vrije vorm: vorm 4411">
                <a:extLst>
                  <a:ext uri="{FF2B5EF4-FFF2-40B4-BE49-F238E27FC236}">
                    <a16:creationId xmlns:a16="http://schemas.microsoft.com/office/drawing/2014/main" id="{E58833C0-DA2A-4EC5-A800-16DF04A6CDC8}"/>
                  </a:ext>
                </a:extLst>
              </p:cNvPr>
              <p:cNvSpPr/>
              <p:nvPr/>
            </p:nvSpPr>
            <p:spPr>
              <a:xfrm>
                <a:off x="6963400" y="1439505"/>
                <a:ext cx="18368" cy="18407"/>
              </a:xfrm>
              <a:custGeom>
                <a:avLst/>
                <a:gdLst>
                  <a:gd name="connsiteX0" fmla="*/ 17498 w 18368"/>
                  <a:gd name="connsiteY0" fmla="*/ 13133 h 18407"/>
                  <a:gd name="connsiteX1" fmla="*/ 13072 w 18368"/>
                  <a:gd name="connsiteY1" fmla="*/ 872 h 18407"/>
                  <a:gd name="connsiteX2" fmla="*/ 871 w 18368"/>
                  <a:gd name="connsiteY2" fmla="*/ 5238 h 18407"/>
                  <a:gd name="connsiteX3" fmla="*/ 5297 w 18368"/>
                  <a:gd name="connsiteY3" fmla="*/ 17499 h 18407"/>
                  <a:gd name="connsiteX4" fmla="*/ 17498 w 18368"/>
                  <a:gd name="connsiteY4" fmla="*/ 1313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7">
                    <a:moveTo>
                      <a:pt x="17498" y="13133"/>
                    </a:moveTo>
                    <a:cubicBezTo>
                      <a:pt x="19651" y="8528"/>
                      <a:pt x="17677" y="3025"/>
                      <a:pt x="13072" y="872"/>
                    </a:cubicBezTo>
                    <a:cubicBezTo>
                      <a:pt x="8467" y="-1281"/>
                      <a:pt x="3024" y="693"/>
                      <a:pt x="871" y="5238"/>
                    </a:cubicBezTo>
                    <a:cubicBezTo>
                      <a:pt x="-1282" y="9843"/>
                      <a:pt x="692" y="15346"/>
                      <a:pt x="5297" y="17499"/>
                    </a:cubicBezTo>
                    <a:cubicBezTo>
                      <a:pt x="9902" y="19712"/>
                      <a:pt x="15345" y="17738"/>
                      <a:pt x="17498" y="13133"/>
                    </a:cubicBezTo>
                    <a:close/>
                  </a:path>
                </a:pathLst>
              </a:custGeom>
              <a:grpFill/>
              <a:ln w="5978" cap="flat">
                <a:noFill/>
                <a:prstDash val="solid"/>
                <a:miter/>
              </a:ln>
            </p:spPr>
            <p:txBody>
              <a:bodyPr rtlCol="0" anchor="ctr"/>
              <a:lstStyle/>
              <a:p>
                <a:endParaRPr lang="en-GB"/>
              </a:p>
            </p:txBody>
          </p:sp>
        </p:grpSp>
        <p:grpSp>
          <p:nvGrpSpPr>
            <p:cNvPr id="324" name="Graphic 3">
              <a:extLst>
                <a:ext uri="{FF2B5EF4-FFF2-40B4-BE49-F238E27FC236}">
                  <a16:creationId xmlns:a16="http://schemas.microsoft.com/office/drawing/2014/main" id="{31AB8AED-6158-40A2-A6D9-79BCF64CC891}"/>
                </a:ext>
              </a:extLst>
            </p:cNvPr>
            <p:cNvGrpSpPr/>
            <p:nvPr/>
          </p:nvGrpSpPr>
          <p:grpSpPr>
            <a:xfrm>
              <a:off x="7028222" y="1928374"/>
              <a:ext cx="98529" cy="130141"/>
              <a:chOff x="7028222" y="1928374"/>
              <a:chExt cx="98529" cy="130141"/>
            </a:xfrm>
            <a:grpFill/>
          </p:grpSpPr>
          <p:sp>
            <p:nvSpPr>
              <p:cNvPr id="4407" name="Vrije vorm: vorm 4406">
                <a:extLst>
                  <a:ext uri="{FF2B5EF4-FFF2-40B4-BE49-F238E27FC236}">
                    <a16:creationId xmlns:a16="http://schemas.microsoft.com/office/drawing/2014/main" id="{B79F6461-0BA5-4463-917D-A6D3AC44C381}"/>
                  </a:ext>
                </a:extLst>
              </p:cNvPr>
              <p:cNvSpPr/>
              <p:nvPr/>
            </p:nvSpPr>
            <p:spPr>
              <a:xfrm>
                <a:off x="7035860" y="1936299"/>
                <a:ext cx="83192" cy="114231"/>
              </a:xfrm>
              <a:custGeom>
                <a:avLst/>
                <a:gdLst>
                  <a:gd name="connsiteX0" fmla="*/ 83192 w 83192"/>
                  <a:gd name="connsiteY0" fmla="*/ 1794 h 114231"/>
                  <a:gd name="connsiteX1" fmla="*/ 2452 w 83192"/>
                  <a:gd name="connsiteY1" fmla="*/ 114232 h 114231"/>
                  <a:gd name="connsiteX2" fmla="*/ 0 w 83192"/>
                  <a:gd name="connsiteY2" fmla="*/ 112438 h 114231"/>
                  <a:gd name="connsiteX3" fmla="*/ 80740 w 83192"/>
                  <a:gd name="connsiteY3" fmla="*/ 0 h 114231"/>
                </a:gdLst>
                <a:ahLst/>
                <a:cxnLst>
                  <a:cxn ang="0">
                    <a:pos x="connsiteX0" y="connsiteY0"/>
                  </a:cxn>
                  <a:cxn ang="0">
                    <a:pos x="connsiteX1" y="connsiteY1"/>
                  </a:cxn>
                  <a:cxn ang="0">
                    <a:pos x="connsiteX2" y="connsiteY2"/>
                  </a:cxn>
                  <a:cxn ang="0">
                    <a:pos x="connsiteX3" y="connsiteY3"/>
                  </a:cxn>
                </a:cxnLst>
                <a:rect l="l" t="t" r="r" b="b"/>
                <a:pathLst>
                  <a:path w="83192" h="114231">
                    <a:moveTo>
                      <a:pt x="83192" y="1794"/>
                    </a:moveTo>
                    <a:lnTo>
                      <a:pt x="2452" y="114232"/>
                    </a:lnTo>
                    <a:lnTo>
                      <a:pt x="0" y="112438"/>
                    </a:lnTo>
                    <a:lnTo>
                      <a:pt x="80740" y="0"/>
                    </a:lnTo>
                    <a:close/>
                  </a:path>
                </a:pathLst>
              </a:custGeom>
              <a:grpFill/>
              <a:ln w="5978" cap="flat">
                <a:noFill/>
                <a:prstDash val="solid"/>
                <a:miter/>
              </a:ln>
            </p:spPr>
            <p:txBody>
              <a:bodyPr rtlCol="0" anchor="ctr"/>
              <a:lstStyle/>
              <a:p>
                <a:endParaRPr lang="en-GB"/>
              </a:p>
            </p:txBody>
          </p:sp>
          <p:sp>
            <p:nvSpPr>
              <p:cNvPr id="4408" name="Vrije vorm: vorm 4407">
                <a:extLst>
                  <a:ext uri="{FF2B5EF4-FFF2-40B4-BE49-F238E27FC236}">
                    <a16:creationId xmlns:a16="http://schemas.microsoft.com/office/drawing/2014/main" id="{E3B75E35-3435-429A-8AE5-3EC422B3188D}"/>
                  </a:ext>
                </a:extLst>
              </p:cNvPr>
              <p:cNvSpPr/>
              <p:nvPr/>
            </p:nvSpPr>
            <p:spPr>
              <a:xfrm>
                <a:off x="7108397" y="1928374"/>
                <a:ext cx="18353" cy="18421"/>
              </a:xfrm>
              <a:custGeom>
                <a:avLst/>
                <a:gdLst>
                  <a:gd name="connsiteX0" fmla="*/ 1744 w 18353"/>
                  <a:gd name="connsiteY0" fmla="*/ 3798 h 18421"/>
                  <a:gd name="connsiteX1" fmla="*/ 14543 w 18353"/>
                  <a:gd name="connsiteY1" fmla="*/ 1765 h 18421"/>
                  <a:gd name="connsiteX2" fmla="*/ 16636 w 18353"/>
                  <a:gd name="connsiteY2" fmla="*/ 14623 h 18421"/>
                  <a:gd name="connsiteX3" fmla="*/ 3837 w 18353"/>
                  <a:gd name="connsiteY3" fmla="*/ 16657 h 18421"/>
                  <a:gd name="connsiteX4" fmla="*/ 1744 w 1835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1">
                    <a:moveTo>
                      <a:pt x="1744" y="3798"/>
                    </a:moveTo>
                    <a:cubicBezTo>
                      <a:pt x="4674" y="-329"/>
                      <a:pt x="10416" y="-1226"/>
                      <a:pt x="14543" y="1765"/>
                    </a:cubicBezTo>
                    <a:cubicBezTo>
                      <a:pt x="18669" y="4755"/>
                      <a:pt x="19566" y="10496"/>
                      <a:pt x="16636" y="14623"/>
                    </a:cubicBezTo>
                    <a:cubicBezTo>
                      <a:pt x="13705" y="18750"/>
                      <a:pt x="7964" y="19647"/>
                      <a:pt x="3837" y="16657"/>
                    </a:cubicBezTo>
                    <a:cubicBezTo>
                      <a:pt x="-289" y="13666"/>
                      <a:pt x="-1247" y="7925"/>
                      <a:pt x="1744" y="3798"/>
                    </a:cubicBezTo>
                    <a:close/>
                  </a:path>
                </a:pathLst>
              </a:custGeom>
              <a:grpFill/>
              <a:ln w="5978" cap="flat">
                <a:noFill/>
                <a:prstDash val="solid"/>
                <a:miter/>
              </a:ln>
            </p:spPr>
            <p:txBody>
              <a:bodyPr rtlCol="0" anchor="ctr"/>
              <a:lstStyle/>
              <a:p>
                <a:endParaRPr lang="en-GB"/>
              </a:p>
            </p:txBody>
          </p:sp>
          <p:sp>
            <p:nvSpPr>
              <p:cNvPr id="4409" name="Vrije vorm: vorm 4408">
                <a:extLst>
                  <a:ext uri="{FF2B5EF4-FFF2-40B4-BE49-F238E27FC236}">
                    <a16:creationId xmlns:a16="http://schemas.microsoft.com/office/drawing/2014/main" id="{258AC419-5F4D-4B27-B21E-46A1DE787C2C}"/>
                  </a:ext>
                </a:extLst>
              </p:cNvPr>
              <p:cNvSpPr/>
              <p:nvPr/>
            </p:nvSpPr>
            <p:spPr>
              <a:xfrm>
                <a:off x="7028222" y="2040094"/>
                <a:ext cx="18327" cy="18421"/>
              </a:xfrm>
              <a:custGeom>
                <a:avLst/>
                <a:gdLst>
                  <a:gd name="connsiteX0" fmla="*/ 1718 w 18327"/>
                  <a:gd name="connsiteY0" fmla="*/ 3798 h 18421"/>
                  <a:gd name="connsiteX1" fmla="*/ 3811 w 18327"/>
                  <a:gd name="connsiteY1" fmla="*/ 16657 h 18421"/>
                  <a:gd name="connsiteX2" fmla="*/ 16610 w 18327"/>
                  <a:gd name="connsiteY2" fmla="*/ 14623 h 18421"/>
                  <a:gd name="connsiteX3" fmla="*/ 14517 w 18327"/>
                  <a:gd name="connsiteY3" fmla="*/ 1765 h 18421"/>
                  <a:gd name="connsiteX4" fmla="*/ 1718 w 18327"/>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1">
                    <a:moveTo>
                      <a:pt x="1718" y="3798"/>
                    </a:moveTo>
                    <a:cubicBezTo>
                      <a:pt x="-1213" y="7925"/>
                      <a:pt x="-315" y="13666"/>
                      <a:pt x="3811" y="16657"/>
                    </a:cubicBezTo>
                    <a:cubicBezTo>
                      <a:pt x="7938" y="19647"/>
                      <a:pt x="13619" y="18750"/>
                      <a:pt x="16610" y="14623"/>
                    </a:cubicBezTo>
                    <a:cubicBezTo>
                      <a:pt x="19540" y="10496"/>
                      <a:pt x="18644" y="4755"/>
                      <a:pt x="14517" y="1765"/>
                    </a:cubicBezTo>
                    <a:cubicBezTo>
                      <a:pt x="10390" y="-1226"/>
                      <a:pt x="4648" y="-329"/>
                      <a:pt x="1718" y="3798"/>
                    </a:cubicBezTo>
                    <a:close/>
                  </a:path>
                </a:pathLst>
              </a:custGeom>
              <a:grpFill/>
              <a:ln w="5978" cap="flat">
                <a:noFill/>
                <a:prstDash val="solid"/>
                <a:miter/>
              </a:ln>
            </p:spPr>
            <p:txBody>
              <a:bodyPr rtlCol="0" anchor="ctr"/>
              <a:lstStyle/>
              <a:p>
                <a:endParaRPr lang="en-GB"/>
              </a:p>
            </p:txBody>
          </p:sp>
        </p:grpSp>
        <p:grpSp>
          <p:nvGrpSpPr>
            <p:cNvPr id="325" name="Graphic 3">
              <a:extLst>
                <a:ext uri="{FF2B5EF4-FFF2-40B4-BE49-F238E27FC236}">
                  <a16:creationId xmlns:a16="http://schemas.microsoft.com/office/drawing/2014/main" id="{AE211F41-1023-4C53-8F90-14F98276B21B}"/>
                </a:ext>
              </a:extLst>
            </p:cNvPr>
            <p:cNvGrpSpPr/>
            <p:nvPr/>
          </p:nvGrpSpPr>
          <p:grpSpPr>
            <a:xfrm>
              <a:off x="7006003" y="1883071"/>
              <a:ext cx="110669" cy="152207"/>
              <a:chOff x="7006003" y="1883071"/>
              <a:chExt cx="110669" cy="152207"/>
            </a:xfrm>
            <a:grpFill/>
          </p:grpSpPr>
          <p:sp>
            <p:nvSpPr>
              <p:cNvPr id="4404" name="Vrije vorm: vorm 4403">
                <a:extLst>
                  <a:ext uri="{FF2B5EF4-FFF2-40B4-BE49-F238E27FC236}">
                    <a16:creationId xmlns:a16="http://schemas.microsoft.com/office/drawing/2014/main" id="{7F95262A-DB59-412C-834E-2F4AB4106B3D}"/>
                  </a:ext>
                </a:extLst>
              </p:cNvPr>
              <p:cNvSpPr/>
              <p:nvPr/>
            </p:nvSpPr>
            <p:spPr>
              <a:xfrm>
                <a:off x="7013672" y="1891025"/>
                <a:ext cx="95332" cy="136300"/>
              </a:xfrm>
              <a:custGeom>
                <a:avLst/>
                <a:gdLst>
                  <a:gd name="connsiteX0" fmla="*/ 95332 w 95332"/>
                  <a:gd name="connsiteY0" fmla="*/ 1734 h 136300"/>
                  <a:gd name="connsiteX1" fmla="*/ 2512 w 95332"/>
                  <a:gd name="connsiteY1" fmla="*/ 136301 h 136300"/>
                  <a:gd name="connsiteX2" fmla="*/ 0 w 95332"/>
                  <a:gd name="connsiteY2" fmla="*/ 134506 h 136300"/>
                  <a:gd name="connsiteX3" fmla="*/ 92821 w 95332"/>
                  <a:gd name="connsiteY3" fmla="*/ 0 h 136300"/>
                </a:gdLst>
                <a:ahLst/>
                <a:cxnLst>
                  <a:cxn ang="0">
                    <a:pos x="connsiteX0" y="connsiteY0"/>
                  </a:cxn>
                  <a:cxn ang="0">
                    <a:pos x="connsiteX1" y="connsiteY1"/>
                  </a:cxn>
                  <a:cxn ang="0">
                    <a:pos x="connsiteX2" y="connsiteY2"/>
                  </a:cxn>
                  <a:cxn ang="0">
                    <a:pos x="connsiteX3" y="connsiteY3"/>
                  </a:cxn>
                </a:cxnLst>
                <a:rect l="l" t="t" r="r" b="b"/>
                <a:pathLst>
                  <a:path w="95332" h="136300">
                    <a:moveTo>
                      <a:pt x="95332" y="1734"/>
                    </a:moveTo>
                    <a:lnTo>
                      <a:pt x="2512" y="136301"/>
                    </a:lnTo>
                    <a:lnTo>
                      <a:pt x="0" y="134506"/>
                    </a:lnTo>
                    <a:lnTo>
                      <a:pt x="92821" y="0"/>
                    </a:lnTo>
                    <a:close/>
                  </a:path>
                </a:pathLst>
              </a:custGeom>
              <a:grpFill/>
              <a:ln w="5978" cap="flat">
                <a:noFill/>
                <a:prstDash val="solid"/>
                <a:miter/>
              </a:ln>
            </p:spPr>
            <p:txBody>
              <a:bodyPr rtlCol="0" anchor="ctr"/>
              <a:lstStyle/>
              <a:p>
                <a:endParaRPr lang="en-GB"/>
              </a:p>
            </p:txBody>
          </p:sp>
          <p:sp>
            <p:nvSpPr>
              <p:cNvPr id="4405" name="Vrije vorm: vorm 4404">
                <a:extLst>
                  <a:ext uri="{FF2B5EF4-FFF2-40B4-BE49-F238E27FC236}">
                    <a16:creationId xmlns:a16="http://schemas.microsoft.com/office/drawing/2014/main" id="{99CB80D1-EF32-4F42-BC3A-69D67B6AB753}"/>
                  </a:ext>
                </a:extLst>
              </p:cNvPr>
              <p:cNvSpPr/>
              <p:nvPr/>
            </p:nvSpPr>
            <p:spPr>
              <a:xfrm>
                <a:off x="7098346" y="1883071"/>
                <a:ext cx="18327" cy="18419"/>
              </a:xfrm>
              <a:custGeom>
                <a:avLst/>
                <a:gdLst>
                  <a:gd name="connsiteX0" fmla="*/ 1628 w 18327"/>
                  <a:gd name="connsiteY0" fmla="*/ 3947 h 18419"/>
                  <a:gd name="connsiteX1" fmla="*/ 14367 w 18327"/>
                  <a:gd name="connsiteY1" fmla="*/ 1674 h 18419"/>
                  <a:gd name="connsiteX2" fmla="*/ 16699 w 18327"/>
                  <a:gd name="connsiteY2" fmla="*/ 14473 h 18419"/>
                  <a:gd name="connsiteX3" fmla="*/ 3960 w 18327"/>
                  <a:gd name="connsiteY3" fmla="*/ 16745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4499" y="-240"/>
                      <a:pt x="10241" y="-1257"/>
                      <a:pt x="14367" y="1674"/>
                    </a:cubicBezTo>
                    <a:cubicBezTo>
                      <a:pt x="18554" y="4604"/>
                      <a:pt x="19570" y="10346"/>
                      <a:pt x="16699" y="14473"/>
                    </a:cubicBezTo>
                    <a:cubicBezTo>
                      <a:pt x="13829" y="18659"/>
                      <a:pt x="8088" y="19676"/>
                      <a:pt x="3960" y="16745"/>
                    </a:cubicBezTo>
                    <a:cubicBezTo>
                      <a:pt x="-226" y="13875"/>
                      <a:pt x="-1243" y="8073"/>
                      <a:pt x="1628" y="3947"/>
                    </a:cubicBezTo>
                    <a:close/>
                  </a:path>
                </a:pathLst>
              </a:custGeom>
              <a:grpFill/>
              <a:ln w="5978" cap="flat">
                <a:noFill/>
                <a:prstDash val="solid"/>
                <a:miter/>
              </a:ln>
            </p:spPr>
            <p:txBody>
              <a:bodyPr rtlCol="0" anchor="ctr"/>
              <a:lstStyle/>
              <a:p>
                <a:endParaRPr lang="en-GB"/>
              </a:p>
            </p:txBody>
          </p:sp>
          <p:sp>
            <p:nvSpPr>
              <p:cNvPr id="4406" name="Vrije vorm: vorm 4405">
                <a:extLst>
                  <a:ext uri="{FF2B5EF4-FFF2-40B4-BE49-F238E27FC236}">
                    <a16:creationId xmlns:a16="http://schemas.microsoft.com/office/drawing/2014/main" id="{C6203C23-EE44-447E-BDCE-A8EFF2A89260}"/>
                  </a:ext>
                </a:extLst>
              </p:cNvPr>
              <p:cNvSpPr/>
              <p:nvPr/>
            </p:nvSpPr>
            <p:spPr>
              <a:xfrm>
                <a:off x="7006003" y="2016860"/>
                <a:ext cx="18327" cy="18419"/>
              </a:xfrm>
              <a:custGeom>
                <a:avLst/>
                <a:gdLst>
                  <a:gd name="connsiteX0" fmla="*/ 1628 w 18327"/>
                  <a:gd name="connsiteY0" fmla="*/ 3947 h 18419"/>
                  <a:gd name="connsiteX1" fmla="*/ 3961 w 18327"/>
                  <a:gd name="connsiteY1" fmla="*/ 16745 h 18419"/>
                  <a:gd name="connsiteX2" fmla="*/ 16700 w 18327"/>
                  <a:gd name="connsiteY2" fmla="*/ 14473 h 18419"/>
                  <a:gd name="connsiteX3" fmla="*/ 14367 w 18327"/>
                  <a:gd name="connsiteY3" fmla="*/ 1674 h 18419"/>
                  <a:gd name="connsiteX4" fmla="*/ 1628 w 18327"/>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628" y="3947"/>
                    </a:moveTo>
                    <a:cubicBezTo>
                      <a:pt x="-1243" y="8133"/>
                      <a:pt x="-226" y="13875"/>
                      <a:pt x="3961" y="16745"/>
                    </a:cubicBezTo>
                    <a:cubicBezTo>
                      <a:pt x="8147" y="19676"/>
                      <a:pt x="13829" y="18659"/>
                      <a:pt x="16700" y="14473"/>
                    </a:cubicBezTo>
                    <a:cubicBezTo>
                      <a:pt x="19570" y="10286"/>
                      <a:pt x="18553" y="4545"/>
                      <a:pt x="14367" y="1674"/>
                    </a:cubicBezTo>
                    <a:cubicBezTo>
                      <a:pt x="10240" y="-1257"/>
                      <a:pt x="4499" y="-240"/>
                      <a:pt x="1628" y="3947"/>
                    </a:cubicBezTo>
                    <a:close/>
                  </a:path>
                </a:pathLst>
              </a:custGeom>
              <a:grpFill/>
              <a:ln w="5978" cap="flat">
                <a:noFill/>
                <a:prstDash val="solid"/>
                <a:miter/>
              </a:ln>
            </p:spPr>
            <p:txBody>
              <a:bodyPr rtlCol="0" anchor="ctr"/>
              <a:lstStyle/>
              <a:p>
                <a:endParaRPr lang="en-GB"/>
              </a:p>
            </p:txBody>
          </p:sp>
        </p:grpSp>
        <p:grpSp>
          <p:nvGrpSpPr>
            <p:cNvPr id="326" name="Graphic 3">
              <a:extLst>
                <a:ext uri="{FF2B5EF4-FFF2-40B4-BE49-F238E27FC236}">
                  <a16:creationId xmlns:a16="http://schemas.microsoft.com/office/drawing/2014/main" id="{3F930A97-E653-42EA-BDC9-E98CBE3FE428}"/>
                </a:ext>
              </a:extLst>
            </p:cNvPr>
            <p:cNvGrpSpPr/>
            <p:nvPr/>
          </p:nvGrpSpPr>
          <p:grpSpPr>
            <a:xfrm>
              <a:off x="6894349" y="1529113"/>
              <a:ext cx="132427" cy="241205"/>
              <a:chOff x="6894349" y="1529113"/>
              <a:chExt cx="132427" cy="241205"/>
            </a:xfrm>
            <a:grpFill/>
          </p:grpSpPr>
          <p:sp>
            <p:nvSpPr>
              <p:cNvPr id="4401" name="Vrije vorm: vorm 4400">
                <a:extLst>
                  <a:ext uri="{FF2B5EF4-FFF2-40B4-BE49-F238E27FC236}">
                    <a16:creationId xmlns:a16="http://schemas.microsoft.com/office/drawing/2014/main" id="{4284F984-3142-477F-A14A-E1F467CF4D57}"/>
                  </a:ext>
                </a:extLst>
              </p:cNvPr>
              <p:cNvSpPr/>
              <p:nvPr/>
            </p:nvSpPr>
            <p:spPr>
              <a:xfrm>
                <a:off x="6901952" y="1537205"/>
                <a:ext cx="117222" cy="224994"/>
              </a:xfrm>
              <a:custGeom>
                <a:avLst/>
                <a:gdLst>
                  <a:gd name="connsiteX0" fmla="*/ 117223 w 117222"/>
                  <a:gd name="connsiteY0" fmla="*/ 1435 h 224994"/>
                  <a:gd name="connsiteX1" fmla="*/ 2692 w 117222"/>
                  <a:gd name="connsiteY1" fmla="*/ 224995 h 224994"/>
                  <a:gd name="connsiteX2" fmla="*/ 0 w 117222"/>
                  <a:gd name="connsiteY2" fmla="*/ 223559 h 224994"/>
                  <a:gd name="connsiteX3" fmla="*/ 114531 w 117222"/>
                  <a:gd name="connsiteY3" fmla="*/ 0 h 224994"/>
                </a:gdLst>
                <a:ahLst/>
                <a:cxnLst>
                  <a:cxn ang="0">
                    <a:pos x="connsiteX0" y="connsiteY0"/>
                  </a:cxn>
                  <a:cxn ang="0">
                    <a:pos x="connsiteX1" y="connsiteY1"/>
                  </a:cxn>
                  <a:cxn ang="0">
                    <a:pos x="connsiteX2" y="connsiteY2"/>
                  </a:cxn>
                  <a:cxn ang="0">
                    <a:pos x="connsiteX3" y="connsiteY3"/>
                  </a:cxn>
                </a:cxnLst>
                <a:rect l="l" t="t" r="r" b="b"/>
                <a:pathLst>
                  <a:path w="117222" h="224994">
                    <a:moveTo>
                      <a:pt x="117223" y="1435"/>
                    </a:moveTo>
                    <a:lnTo>
                      <a:pt x="2692" y="224995"/>
                    </a:lnTo>
                    <a:lnTo>
                      <a:pt x="0" y="223559"/>
                    </a:lnTo>
                    <a:lnTo>
                      <a:pt x="114531" y="0"/>
                    </a:lnTo>
                    <a:close/>
                  </a:path>
                </a:pathLst>
              </a:custGeom>
              <a:grpFill/>
              <a:ln w="5978" cap="flat">
                <a:noFill/>
                <a:prstDash val="solid"/>
                <a:miter/>
              </a:ln>
            </p:spPr>
            <p:txBody>
              <a:bodyPr rtlCol="0" anchor="ctr"/>
              <a:lstStyle/>
              <a:p>
                <a:endParaRPr lang="en-GB"/>
              </a:p>
            </p:txBody>
          </p:sp>
          <p:sp>
            <p:nvSpPr>
              <p:cNvPr id="4402" name="Vrije vorm: vorm 4401">
                <a:extLst>
                  <a:ext uri="{FF2B5EF4-FFF2-40B4-BE49-F238E27FC236}">
                    <a16:creationId xmlns:a16="http://schemas.microsoft.com/office/drawing/2014/main" id="{687DDED6-629C-4AD1-A42F-AD18B3C42346}"/>
                  </a:ext>
                </a:extLst>
              </p:cNvPr>
              <p:cNvSpPr/>
              <p:nvPr/>
            </p:nvSpPr>
            <p:spPr>
              <a:xfrm>
                <a:off x="7008462" y="1529113"/>
                <a:ext cx="18315" cy="18457"/>
              </a:xfrm>
              <a:custGeom>
                <a:avLst/>
                <a:gdLst>
                  <a:gd name="connsiteX0" fmla="*/ 1024 w 18315"/>
                  <a:gd name="connsiteY0" fmla="*/ 4982 h 18457"/>
                  <a:gd name="connsiteX1" fmla="*/ 13344 w 18315"/>
                  <a:gd name="connsiteY1" fmla="*/ 1035 h 18457"/>
                  <a:gd name="connsiteX2" fmla="*/ 17291 w 18315"/>
                  <a:gd name="connsiteY2" fmla="*/ 13475 h 18457"/>
                  <a:gd name="connsiteX3" fmla="*/ 4971 w 18315"/>
                  <a:gd name="connsiteY3" fmla="*/ 17422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3356" y="437"/>
                      <a:pt x="8858" y="-1297"/>
                      <a:pt x="13344" y="1035"/>
                    </a:cubicBezTo>
                    <a:cubicBezTo>
                      <a:pt x="17829" y="3368"/>
                      <a:pt x="19624" y="8930"/>
                      <a:pt x="17291" y="13475"/>
                    </a:cubicBezTo>
                    <a:cubicBezTo>
                      <a:pt x="14959" y="18020"/>
                      <a:pt x="9456" y="19755"/>
                      <a:pt x="4971" y="17422"/>
                    </a:cubicBezTo>
                    <a:cubicBezTo>
                      <a:pt x="485" y="15030"/>
                      <a:pt x="-1309" y="9468"/>
                      <a:pt x="1024" y="4982"/>
                    </a:cubicBezTo>
                    <a:close/>
                  </a:path>
                </a:pathLst>
              </a:custGeom>
              <a:grpFill/>
              <a:ln w="5978" cap="flat">
                <a:noFill/>
                <a:prstDash val="solid"/>
                <a:miter/>
              </a:ln>
            </p:spPr>
            <p:txBody>
              <a:bodyPr rtlCol="0" anchor="ctr"/>
              <a:lstStyle/>
              <a:p>
                <a:endParaRPr lang="en-GB"/>
              </a:p>
            </p:txBody>
          </p:sp>
          <p:sp>
            <p:nvSpPr>
              <p:cNvPr id="4403" name="Vrije vorm: vorm 4402">
                <a:extLst>
                  <a:ext uri="{FF2B5EF4-FFF2-40B4-BE49-F238E27FC236}">
                    <a16:creationId xmlns:a16="http://schemas.microsoft.com/office/drawing/2014/main" id="{90C0D7DF-E907-4F04-BA48-A3895B3B9424}"/>
                  </a:ext>
                </a:extLst>
              </p:cNvPr>
              <p:cNvSpPr/>
              <p:nvPr/>
            </p:nvSpPr>
            <p:spPr>
              <a:xfrm>
                <a:off x="6894349" y="1751846"/>
                <a:ext cx="18315" cy="18472"/>
              </a:xfrm>
              <a:custGeom>
                <a:avLst/>
                <a:gdLst>
                  <a:gd name="connsiteX0" fmla="*/ 1024 w 18315"/>
                  <a:gd name="connsiteY0" fmla="*/ 4971 h 18472"/>
                  <a:gd name="connsiteX1" fmla="*/ 4971 w 18315"/>
                  <a:gd name="connsiteY1" fmla="*/ 17411 h 18472"/>
                  <a:gd name="connsiteX2" fmla="*/ 17291 w 18315"/>
                  <a:gd name="connsiteY2" fmla="*/ 13464 h 18472"/>
                  <a:gd name="connsiteX3" fmla="*/ 13344 w 18315"/>
                  <a:gd name="connsiteY3" fmla="*/ 1024 h 18472"/>
                  <a:gd name="connsiteX4" fmla="*/ 1024 w 18315"/>
                  <a:gd name="connsiteY4" fmla="*/ 4971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72">
                    <a:moveTo>
                      <a:pt x="1024" y="4971"/>
                    </a:moveTo>
                    <a:cubicBezTo>
                      <a:pt x="-1309" y="9457"/>
                      <a:pt x="486" y="15019"/>
                      <a:pt x="4971" y="17411"/>
                    </a:cubicBezTo>
                    <a:cubicBezTo>
                      <a:pt x="9457" y="19803"/>
                      <a:pt x="15019" y="18009"/>
                      <a:pt x="17291" y="13464"/>
                    </a:cubicBezTo>
                    <a:cubicBezTo>
                      <a:pt x="19624" y="8978"/>
                      <a:pt x="17830" y="3416"/>
                      <a:pt x="13344" y="1024"/>
                    </a:cubicBezTo>
                    <a:cubicBezTo>
                      <a:pt x="8859" y="-1309"/>
                      <a:pt x="3356" y="486"/>
                      <a:pt x="1024" y="4971"/>
                    </a:cubicBezTo>
                    <a:close/>
                  </a:path>
                </a:pathLst>
              </a:custGeom>
              <a:grpFill/>
              <a:ln w="5978" cap="flat">
                <a:noFill/>
                <a:prstDash val="solid"/>
                <a:miter/>
              </a:ln>
            </p:spPr>
            <p:txBody>
              <a:bodyPr rtlCol="0" anchor="ctr"/>
              <a:lstStyle/>
              <a:p>
                <a:endParaRPr lang="en-GB"/>
              </a:p>
            </p:txBody>
          </p:sp>
        </p:grpSp>
        <p:grpSp>
          <p:nvGrpSpPr>
            <p:cNvPr id="327" name="Graphic 3">
              <a:extLst>
                <a:ext uri="{FF2B5EF4-FFF2-40B4-BE49-F238E27FC236}">
                  <a16:creationId xmlns:a16="http://schemas.microsoft.com/office/drawing/2014/main" id="{082B9D3A-19BA-47C0-800F-E66C6C208122}"/>
                </a:ext>
              </a:extLst>
            </p:cNvPr>
            <p:cNvGrpSpPr/>
            <p:nvPr/>
          </p:nvGrpSpPr>
          <p:grpSpPr>
            <a:xfrm>
              <a:off x="7654490" y="3885634"/>
              <a:ext cx="88787" cy="39335"/>
              <a:chOff x="7654490" y="3885634"/>
              <a:chExt cx="88787" cy="39335"/>
            </a:xfrm>
            <a:grpFill/>
          </p:grpSpPr>
          <p:sp>
            <p:nvSpPr>
              <p:cNvPr id="4398" name="Vrije vorm: vorm 4397">
                <a:extLst>
                  <a:ext uri="{FF2B5EF4-FFF2-40B4-BE49-F238E27FC236}">
                    <a16:creationId xmlns:a16="http://schemas.microsoft.com/office/drawing/2014/main" id="{E0DE40AB-5494-4332-8A01-259E9CCA9548}"/>
                  </a:ext>
                </a:extLst>
              </p:cNvPr>
              <p:cNvSpPr/>
              <p:nvPr/>
            </p:nvSpPr>
            <p:spPr>
              <a:xfrm>
                <a:off x="7662820" y="3893251"/>
                <a:ext cx="72186" cy="24161"/>
              </a:xfrm>
              <a:custGeom>
                <a:avLst/>
                <a:gdLst>
                  <a:gd name="connsiteX0" fmla="*/ 72187 w 72186"/>
                  <a:gd name="connsiteY0" fmla="*/ 21172 h 24161"/>
                  <a:gd name="connsiteX1" fmla="*/ 71290 w 72186"/>
                  <a:gd name="connsiteY1" fmla="*/ 24162 h 24161"/>
                  <a:gd name="connsiteX2" fmla="*/ 0 w 72186"/>
                  <a:gd name="connsiteY2" fmla="*/ 2930 h 24161"/>
                  <a:gd name="connsiteX3" fmla="*/ 837 w 72186"/>
                  <a:gd name="connsiteY3" fmla="*/ 0 h 24161"/>
                </a:gdLst>
                <a:ahLst/>
                <a:cxnLst>
                  <a:cxn ang="0">
                    <a:pos x="connsiteX0" y="connsiteY0"/>
                  </a:cxn>
                  <a:cxn ang="0">
                    <a:pos x="connsiteX1" y="connsiteY1"/>
                  </a:cxn>
                  <a:cxn ang="0">
                    <a:pos x="connsiteX2" y="connsiteY2"/>
                  </a:cxn>
                  <a:cxn ang="0">
                    <a:pos x="connsiteX3" y="connsiteY3"/>
                  </a:cxn>
                </a:cxnLst>
                <a:rect l="l" t="t" r="r" b="b"/>
                <a:pathLst>
                  <a:path w="72186" h="24161">
                    <a:moveTo>
                      <a:pt x="72187" y="21172"/>
                    </a:moveTo>
                    <a:lnTo>
                      <a:pt x="71290" y="24162"/>
                    </a:lnTo>
                    <a:lnTo>
                      <a:pt x="0" y="2930"/>
                    </a:lnTo>
                    <a:lnTo>
                      <a:pt x="837" y="0"/>
                    </a:lnTo>
                    <a:close/>
                  </a:path>
                </a:pathLst>
              </a:custGeom>
              <a:grpFill/>
              <a:ln w="5978" cap="flat">
                <a:noFill/>
                <a:prstDash val="solid"/>
                <a:miter/>
              </a:ln>
            </p:spPr>
            <p:txBody>
              <a:bodyPr rtlCol="0" anchor="ctr"/>
              <a:lstStyle/>
              <a:p>
                <a:endParaRPr lang="en-GB"/>
              </a:p>
            </p:txBody>
          </p:sp>
          <p:sp>
            <p:nvSpPr>
              <p:cNvPr id="4399" name="Vrije vorm: vorm 4398">
                <a:extLst>
                  <a:ext uri="{FF2B5EF4-FFF2-40B4-BE49-F238E27FC236}">
                    <a16:creationId xmlns:a16="http://schemas.microsoft.com/office/drawing/2014/main" id="{25BA3EEB-BAF0-4BDB-A309-2F22B0CD9F39}"/>
                  </a:ext>
                </a:extLst>
              </p:cNvPr>
              <p:cNvSpPr/>
              <p:nvPr/>
            </p:nvSpPr>
            <p:spPr>
              <a:xfrm>
                <a:off x="7724943" y="3906571"/>
                <a:ext cx="18333" cy="18398"/>
              </a:xfrm>
              <a:custGeom>
                <a:avLst/>
                <a:gdLst>
                  <a:gd name="connsiteX0" fmla="*/ 11739 w 18333"/>
                  <a:gd name="connsiteY0" fmla="*/ 375 h 18398"/>
                  <a:gd name="connsiteX1" fmla="*/ 17958 w 18333"/>
                  <a:gd name="connsiteY1" fmla="*/ 11799 h 18398"/>
                  <a:gd name="connsiteX2" fmla="*/ 6596 w 18333"/>
                  <a:gd name="connsiteY2" fmla="*/ 18019 h 18398"/>
                  <a:gd name="connsiteX3" fmla="*/ 375 w 18333"/>
                  <a:gd name="connsiteY3" fmla="*/ 6595 h 18398"/>
                  <a:gd name="connsiteX4" fmla="*/ 11739 w 18333"/>
                  <a:gd name="connsiteY4" fmla="*/ 37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8">
                    <a:moveTo>
                      <a:pt x="11739" y="375"/>
                    </a:moveTo>
                    <a:cubicBezTo>
                      <a:pt x="16583" y="1811"/>
                      <a:pt x="19394" y="6954"/>
                      <a:pt x="17958" y="11799"/>
                    </a:cubicBezTo>
                    <a:cubicBezTo>
                      <a:pt x="16523" y="16703"/>
                      <a:pt x="11440" y="19454"/>
                      <a:pt x="6596" y="18019"/>
                    </a:cubicBezTo>
                    <a:cubicBezTo>
                      <a:pt x="1751" y="16583"/>
                      <a:pt x="-1060" y="11440"/>
                      <a:pt x="375" y="6595"/>
                    </a:cubicBezTo>
                    <a:cubicBezTo>
                      <a:pt x="1811" y="1751"/>
                      <a:pt x="6894" y="-1060"/>
                      <a:pt x="11739" y="375"/>
                    </a:cubicBezTo>
                    <a:close/>
                  </a:path>
                </a:pathLst>
              </a:custGeom>
              <a:grpFill/>
              <a:ln w="5978" cap="flat">
                <a:noFill/>
                <a:prstDash val="solid"/>
                <a:miter/>
              </a:ln>
            </p:spPr>
            <p:txBody>
              <a:bodyPr rtlCol="0" anchor="ctr"/>
              <a:lstStyle/>
              <a:p>
                <a:endParaRPr lang="en-GB"/>
              </a:p>
            </p:txBody>
          </p:sp>
          <p:sp>
            <p:nvSpPr>
              <p:cNvPr id="4400" name="Vrije vorm: vorm 4399">
                <a:extLst>
                  <a:ext uri="{FF2B5EF4-FFF2-40B4-BE49-F238E27FC236}">
                    <a16:creationId xmlns:a16="http://schemas.microsoft.com/office/drawing/2014/main" id="{A0F3F50D-47E8-420B-998E-14268025C8D0}"/>
                  </a:ext>
                </a:extLst>
              </p:cNvPr>
              <p:cNvSpPr/>
              <p:nvPr/>
            </p:nvSpPr>
            <p:spPr>
              <a:xfrm>
                <a:off x="7654490" y="3885634"/>
                <a:ext cx="18334" cy="18403"/>
              </a:xfrm>
              <a:custGeom>
                <a:avLst/>
                <a:gdLst>
                  <a:gd name="connsiteX0" fmla="*/ 11739 w 18334"/>
                  <a:gd name="connsiteY0" fmla="*/ 380 h 18403"/>
                  <a:gd name="connsiteX1" fmla="*/ 375 w 18334"/>
                  <a:gd name="connsiteY1" fmla="*/ 6600 h 18403"/>
                  <a:gd name="connsiteX2" fmla="*/ 6596 w 18334"/>
                  <a:gd name="connsiteY2" fmla="*/ 18023 h 18403"/>
                  <a:gd name="connsiteX3" fmla="*/ 17959 w 18334"/>
                  <a:gd name="connsiteY3" fmla="*/ 11803 h 18403"/>
                  <a:gd name="connsiteX4" fmla="*/ 11739 w 18334"/>
                  <a:gd name="connsiteY4" fmla="*/ 38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03">
                    <a:moveTo>
                      <a:pt x="11739" y="380"/>
                    </a:moveTo>
                    <a:cubicBezTo>
                      <a:pt x="6895" y="-1055"/>
                      <a:pt x="1811" y="1696"/>
                      <a:pt x="375" y="6600"/>
                    </a:cubicBezTo>
                    <a:cubicBezTo>
                      <a:pt x="-1060" y="11504"/>
                      <a:pt x="1751" y="16588"/>
                      <a:pt x="6596" y="18023"/>
                    </a:cubicBezTo>
                    <a:cubicBezTo>
                      <a:pt x="11440" y="19459"/>
                      <a:pt x="16524" y="16708"/>
                      <a:pt x="17959" y="11803"/>
                    </a:cubicBezTo>
                    <a:cubicBezTo>
                      <a:pt x="19394" y="6959"/>
                      <a:pt x="16584" y="1815"/>
                      <a:pt x="11739" y="380"/>
                    </a:cubicBezTo>
                    <a:close/>
                  </a:path>
                </a:pathLst>
              </a:custGeom>
              <a:grpFill/>
              <a:ln w="5978" cap="flat">
                <a:noFill/>
                <a:prstDash val="solid"/>
                <a:miter/>
              </a:ln>
            </p:spPr>
            <p:txBody>
              <a:bodyPr rtlCol="0" anchor="ctr"/>
              <a:lstStyle/>
              <a:p>
                <a:endParaRPr lang="en-GB"/>
              </a:p>
            </p:txBody>
          </p:sp>
        </p:grpSp>
        <p:grpSp>
          <p:nvGrpSpPr>
            <p:cNvPr id="328" name="Graphic 3">
              <a:extLst>
                <a:ext uri="{FF2B5EF4-FFF2-40B4-BE49-F238E27FC236}">
                  <a16:creationId xmlns:a16="http://schemas.microsoft.com/office/drawing/2014/main" id="{34EE1FA9-F239-42AA-8A87-095F4971DC5C}"/>
                </a:ext>
              </a:extLst>
            </p:cNvPr>
            <p:cNvGrpSpPr/>
            <p:nvPr/>
          </p:nvGrpSpPr>
          <p:grpSpPr>
            <a:xfrm>
              <a:off x="6685894" y="1030365"/>
              <a:ext cx="380142" cy="796281"/>
              <a:chOff x="6685894" y="1030365"/>
              <a:chExt cx="380142" cy="796281"/>
            </a:xfrm>
            <a:grpFill/>
          </p:grpSpPr>
          <p:sp>
            <p:nvSpPr>
              <p:cNvPr id="4395" name="Vrije vorm: vorm 4394">
                <a:extLst>
                  <a:ext uri="{FF2B5EF4-FFF2-40B4-BE49-F238E27FC236}">
                    <a16:creationId xmlns:a16="http://schemas.microsoft.com/office/drawing/2014/main" id="{35D9A150-47C4-4838-A969-A73EAF97D205}"/>
                  </a:ext>
                </a:extLst>
              </p:cNvPr>
              <p:cNvSpPr/>
              <p:nvPr/>
            </p:nvSpPr>
            <p:spPr>
              <a:xfrm>
                <a:off x="6693524" y="1038473"/>
                <a:ext cx="364943" cy="780005"/>
              </a:xfrm>
              <a:custGeom>
                <a:avLst/>
                <a:gdLst>
                  <a:gd name="connsiteX0" fmla="*/ 364944 w 364943"/>
                  <a:gd name="connsiteY0" fmla="*/ 1316 h 780005"/>
                  <a:gd name="connsiteX1" fmla="*/ 2751 w 364943"/>
                  <a:gd name="connsiteY1" fmla="*/ 780006 h 780005"/>
                  <a:gd name="connsiteX2" fmla="*/ 0 w 364943"/>
                  <a:gd name="connsiteY2" fmla="*/ 778750 h 780005"/>
                  <a:gd name="connsiteX3" fmla="*/ 362193 w 364943"/>
                  <a:gd name="connsiteY3" fmla="*/ 0 h 780005"/>
                </a:gdLst>
                <a:ahLst/>
                <a:cxnLst>
                  <a:cxn ang="0">
                    <a:pos x="connsiteX0" y="connsiteY0"/>
                  </a:cxn>
                  <a:cxn ang="0">
                    <a:pos x="connsiteX1" y="connsiteY1"/>
                  </a:cxn>
                  <a:cxn ang="0">
                    <a:pos x="connsiteX2" y="connsiteY2"/>
                  </a:cxn>
                  <a:cxn ang="0">
                    <a:pos x="connsiteX3" y="connsiteY3"/>
                  </a:cxn>
                </a:cxnLst>
                <a:rect l="l" t="t" r="r" b="b"/>
                <a:pathLst>
                  <a:path w="364943" h="780005">
                    <a:moveTo>
                      <a:pt x="364944" y="1316"/>
                    </a:moveTo>
                    <a:lnTo>
                      <a:pt x="2751" y="780006"/>
                    </a:lnTo>
                    <a:lnTo>
                      <a:pt x="0" y="778750"/>
                    </a:lnTo>
                    <a:lnTo>
                      <a:pt x="362193" y="0"/>
                    </a:lnTo>
                    <a:close/>
                  </a:path>
                </a:pathLst>
              </a:custGeom>
              <a:grpFill/>
              <a:ln w="5978" cap="flat">
                <a:noFill/>
                <a:prstDash val="solid"/>
                <a:miter/>
              </a:ln>
            </p:spPr>
            <p:txBody>
              <a:bodyPr rtlCol="0" anchor="ctr"/>
              <a:lstStyle/>
              <a:p>
                <a:endParaRPr lang="en-GB"/>
              </a:p>
            </p:txBody>
          </p:sp>
          <p:sp>
            <p:nvSpPr>
              <p:cNvPr id="4396" name="Vrije vorm: vorm 4395">
                <a:extLst>
                  <a:ext uri="{FF2B5EF4-FFF2-40B4-BE49-F238E27FC236}">
                    <a16:creationId xmlns:a16="http://schemas.microsoft.com/office/drawing/2014/main" id="{EF357E6B-D8B8-47A8-AE4E-4612CCCFEF65}"/>
                  </a:ext>
                </a:extLst>
              </p:cNvPr>
              <p:cNvSpPr/>
              <p:nvPr/>
            </p:nvSpPr>
            <p:spPr>
              <a:xfrm>
                <a:off x="6685894" y="1808218"/>
                <a:ext cx="18368" cy="18428"/>
              </a:xfrm>
              <a:custGeom>
                <a:avLst/>
                <a:gdLst>
                  <a:gd name="connsiteX0" fmla="*/ 17498 w 18368"/>
                  <a:gd name="connsiteY0" fmla="*/ 13132 h 18428"/>
                  <a:gd name="connsiteX1" fmla="*/ 5297 w 18368"/>
                  <a:gd name="connsiteY1" fmla="*/ 17557 h 18428"/>
                  <a:gd name="connsiteX2" fmla="*/ 871 w 18368"/>
                  <a:gd name="connsiteY2" fmla="*/ 5297 h 18428"/>
                  <a:gd name="connsiteX3" fmla="*/ 13072 w 18368"/>
                  <a:gd name="connsiteY3" fmla="*/ 871 h 18428"/>
                  <a:gd name="connsiteX4" fmla="*/ 17498 w 18368"/>
                  <a:gd name="connsiteY4" fmla="*/ 13132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17498" y="13132"/>
                    </a:moveTo>
                    <a:cubicBezTo>
                      <a:pt x="15345" y="17737"/>
                      <a:pt x="9902" y="19710"/>
                      <a:pt x="5297" y="17557"/>
                    </a:cubicBezTo>
                    <a:cubicBezTo>
                      <a:pt x="692" y="15404"/>
                      <a:pt x="-1282" y="9902"/>
                      <a:pt x="871" y="5297"/>
                    </a:cubicBezTo>
                    <a:cubicBezTo>
                      <a:pt x="3024" y="692"/>
                      <a:pt x="8467" y="-1282"/>
                      <a:pt x="13072" y="871"/>
                    </a:cubicBezTo>
                    <a:cubicBezTo>
                      <a:pt x="17677" y="3024"/>
                      <a:pt x="19651" y="8526"/>
                      <a:pt x="17498" y="13132"/>
                    </a:cubicBezTo>
                    <a:close/>
                  </a:path>
                </a:pathLst>
              </a:custGeom>
              <a:grpFill/>
              <a:ln w="5978" cap="flat">
                <a:noFill/>
                <a:prstDash val="solid"/>
                <a:miter/>
              </a:ln>
            </p:spPr>
            <p:txBody>
              <a:bodyPr rtlCol="0" anchor="ctr"/>
              <a:lstStyle/>
              <a:p>
                <a:endParaRPr lang="en-GB"/>
              </a:p>
            </p:txBody>
          </p:sp>
          <p:sp>
            <p:nvSpPr>
              <p:cNvPr id="4397" name="Vrije vorm: vorm 4396">
                <a:extLst>
                  <a:ext uri="{FF2B5EF4-FFF2-40B4-BE49-F238E27FC236}">
                    <a16:creationId xmlns:a16="http://schemas.microsoft.com/office/drawing/2014/main" id="{F91598B8-F572-4C60-8453-1554E66720F3}"/>
                  </a:ext>
                </a:extLst>
              </p:cNvPr>
              <p:cNvSpPr/>
              <p:nvPr/>
            </p:nvSpPr>
            <p:spPr>
              <a:xfrm>
                <a:off x="7047668" y="1030365"/>
                <a:ext cx="18368" cy="18428"/>
              </a:xfrm>
              <a:custGeom>
                <a:avLst/>
                <a:gdLst>
                  <a:gd name="connsiteX0" fmla="*/ 17498 w 18368"/>
                  <a:gd name="connsiteY0" fmla="*/ 13132 h 18428"/>
                  <a:gd name="connsiteX1" fmla="*/ 13072 w 18368"/>
                  <a:gd name="connsiteY1" fmla="*/ 871 h 18428"/>
                  <a:gd name="connsiteX2" fmla="*/ 871 w 18368"/>
                  <a:gd name="connsiteY2" fmla="*/ 5297 h 18428"/>
                  <a:gd name="connsiteX3" fmla="*/ 5297 w 18368"/>
                  <a:gd name="connsiteY3" fmla="*/ 17557 h 18428"/>
                  <a:gd name="connsiteX4" fmla="*/ 17498 w 18368"/>
                  <a:gd name="connsiteY4" fmla="*/ 13132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17498" y="13132"/>
                    </a:moveTo>
                    <a:cubicBezTo>
                      <a:pt x="19651" y="8526"/>
                      <a:pt x="17677" y="3024"/>
                      <a:pt x="13072" y="871"/>
                    </a:cubicBezTo>
                    <a:cubicBezTo>
                      <a:pt x="8467" y="-1282"/>
                      <a:pt x="3024" y="692"/>
                      <a:pt x="871" y="5297"/>
                    </a:cubicBezTo>
                    <a:cubicBezTo>
                      <a:pt x="-1282" y="9902"/>
                      <a:pt x="692" y="15404"/>
                      <a:pt x="5297" y="17557"/>
                    </a:cubicBezTo>
                    <a:cubicBezTo>
                      <a:pt x="9902" y="19710"/>
                      <a:pt x="15404" y="17737"/>
                      <a:pt x="17498" y="13132"/>
                    </a:cubicBezTo>
                    <a:close/>
                  </a:path>
                </a:pathLst>
              </a:custGeom>
              <a:grpFill/>
              <a:ln w="5978" cap="flat">
                <a:noFill/>
                <a:prstDash val="solid"/>
                <a:miter/>
              </a:ln>
            </p:spPr>
            <p:txBody>
              <a:bodyPr rtlCol="0" anchor="ctr"/>
              <a:lstStyle/>
              <a:p>
                <a:endParaRPr lang="en-GB"/>
              </a:p>
            </p:txBody>
          </p:sp>
        </p:grpSp>
        <p:grpSp>
          <p:nvGrpSpPr>
            <p:cNvPr id="329" name="Graphic 3">
              <a:extLst>
                <a:ext uri="{FF2B5EF4-FFF2-40B4-BE49-F238E27FC236}">
                  <a16:creationId xmlns:a16="http://schemas.microsoft.com/office/drawing/2014/main" id="{7339DC5E-3A1A-4F08-ADBD-01D7EAB95256}"/>
                </a:ext>
              </a:extLst>
            </p:cNvPr>
            <p:cNvGrpSpPr/>
            <p:nvPr/>
          </p:nvGrpSpPr>
          <p:grpSpPr>
            <a:xfrm>
              <a:off x="6851740" y="1439469"/>
              <a:ext cx="130088" cy="258054"/>
              <a:chOff x="6851740" y="1439469"/>
              <a:chExt cx="130088" cy="258054"/>
            </a:xfrm>
            <a:grpFill/>
          </p:grpSpPr>
          <p:sp>
            <p:nvSpPr>
              <p:cNvPr id="4392" name="Vrije vorm: vorm 4391">
                <a:extLst>
                  <a:ext uri="{FF2B5EF4-FFF2-40B4-BE49-F238E27FC236}">
                    <a16:creationId xmlns:a16="http://schemas.microsoft.com/office/drawing/2014/main" id="{5488668D-1087-4F14-8369-3E28D2B868E8}"/>
                  </a:ext>
                </a:extLst>
              </p:cNvPr>
              <p:cNvSpPr/>
              <p:nvPr/>
            </p:nvSpPr>
            <p:spPr>
              <a:xfrm>
                <a:off x="6859369" y="1447614"/>
                <a:ext cx="114830" cy="241740"/>
              </a:xfrm>
              <a:custGeom>
                <a:avLst/>
                <a:gdLst>
                  <a:gd name="connsiteX0" fmla="*/ 114830 w 114830"/>
                  <a:gd name="connsiteY0" fmla="*/ 1316 h 241740"/>
                  <a:gd name="connsiteX1" fmla="*/ 2752 w 114830"/>
                  <a:gd name="connsiteY1" fmla="*/ 241741 h 241740"/>
                  <a:gd name="connsiteX2" fmla="*/ 0 w 114830"/>
                  <a:gd name="connsiteY2" fmla="*/ 240425 h 241740"/>
                  <a:gd name="connsiteX3" fmla="*/ 112019 w 114830"/>
                  <a:gd name="connsiteY3" fmla="*/ 0 h 241740"/>
                </a:gdLst>
                <a:ahLst/>
                <a:cxnLst>
                  <a:cxn ang="0">
                    <a:pos x="connsiteX0" y="connsiteY0"/>
                  </a:cxn>
                  <a:cxn ang="0">
                    <a:pos x="connsiteX1" y="connsiteY1"/>
                  </a:cxn>
                  <a:cxn ang="0">
                    <a:pos x="connsiteX2" y="connsiteY2"/>
                  </a:cxn>
                  <a:cxn ang="0">
                    <a:pos x="connsiteX3" y="connsiteY3"/>
                  </a:cxn>
                </a:cxnLst>
                <a:rect l="l" t="t" r="r" b="b"/>
                <a:pathLst>
                  <a:path w="114830" h="241740">
                    <a:moveTo>
                      <a:pt x="114830" y="1316"/>
                    </a:moveTo>
                    <a:lnTo>
                      <a:pt x="2752" y="241741"/>
                    </a:lnTo>
                    <a:lnTo>
                      <a:pt x="0" y="240425"/>
                    </a:lnTo>
                    <a:lnTo>
                      <a:pt x="112019" y="0"/>
                    </a:lnTo>
                    <a:close/>
                  </a:path>
                </a:pathLst>
              </a:custGeom>
              <a:grpFill/>
              <a:ln w="5978" cap="flat">
                <a:noFill/>
                <a:prstDash val="solid"/>
                <a:miter/>
              </a:ln>
            </p:spPr>
            <p:txBody>
              <a:bodyPr rtlCol="0" anchor="ctr"/>
              <a:lstStyle/>
              <a:p>
                <a:endParaRPr lang="en-GB"/>
              </a:p>
            </p:txBody>
          </p:sp>
          <p:sp>
            <p:nvSpPr>
              <p:cNvPr id="4393" name="Vrije vorm: vorm 4392">
                <a:extLst>
                  <a:ext uri="{FF2B5EF4-FFF2-40B4-BE49-F238E27FC236}">
                    <a16:creationId xmlns:a16="http://schemas.microsoft.com/office/drawing/2014/main" id="{00053E35-B1BE-4A81-9750-F13F7E7750DD}"/>
                  </a:ext>
                </a:extLst>
              </p:cNvPr>
              <p:cNvSpPr/>
              <p:nvPr/>
            </p:nvSpPr>
            <p:spPr>
              <a:xfrm>
                <a:off x="6963460" y="1439469"/>
                <a:ext cx="18368" cy="18442"/>
              </a:xfrm>
              <a:custGeom>
                <a:avLst/>
                <a:gdLst>
                  <a:gd name="connsiteX0" fmla="*/ 871 w 18368"/>
                  <a:gd name="connsiteY0" fmla="*/ 5274 h 18442"/>
                  <a:gd name="connsiteX1" fmla="*/ 13072 w 18368"/>
                  <a:gd name="connsiteY1" fmla="*/ 908 h 18442"/>
                  <a:gd name="connsiteX2" fmla="*/ 17498 w 18368"/>
                  <a:gd name="connsiteY2" fmla="*/ 13169 h 18442"/>
                  <a:gd name="connsiteX3" fmla="*/ 5297 w 18368"/>
                  <a:gd name="connsiteY3" fmla="*/ 17535 h 18442"/>
                  <a:gd name="connsiteX4" fmla="*/ 871 w 18368"/>
                  <a:gd name="connsiteY4" fmla="*/ 527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2">
                    <a:moveTo>
                      <a:pt x="871" y="5274"/>
                    </a:moveTo>
                    <a:cubicBezTo>
                      <a:pt x="3024" y="669"/>
                      <a:pt x="8467" y="-1305"/>
                      <a:pt x="13072" y="908"/>
                    </a:cubicBezTo>
                    <a:cubicBezTo>
                      <a:pt x="17677" y="3061"/>
                      <a:pt x="19651" y="8564"/>
                      <a:pt x="17498" y="13169"/>
                    </a:cubicBezTo>
                    <a:cubicBezTo>
                      <a:pt x="15345" y="17774"/>
                      <a:pt x="9902" y="19748"/>
                      <a:pt x="5297" y="17535"/>
                    </a:cubicBezTo>
                    <a:cubicBezTo>
                      <a:pt x="692" y="15382"/>
                      <a:pt x="-1282" y="9879"/>
                      <a:pt x="871" y="5274"/>
                    </a:cubicBezTo>
                    <a:close/>
                  </a:path>
                </a:pathLst>
              </a:custGeom>
              <a:grpFill/>
              <a:ln w="5978" cap="flat">
                <a:noFill/>
                <a:prstDash val="solid"/>
                <a:miter/>
              </a:ln>
            </p:spPr>
            <p:txBody>
              <a:bodyPr rtlCol="0" anchor="ctr"/>
              <a:lstStyle/>
              <a:p>
                <a:endParaRPr lang="en-GB"/>
              </a:p>
            </p:txBody>
          </p:sp>
          <p:sp>
            <p:nvSpPr>
              <p:cNvPr id="4394" name="Vrije vorm: vorm 4393">
                <a:extLst>
                  <a:ext uri="{FF2B5EF4-FFF2-40B4-BE49-F238E27FC236}">
                    <a16:creationId xmlns:a16="http://schemas.microsoft.com/office/drawing/2014/main" id="{03A27EB6-91CB-49D0-81D6-23037378F32B}"/>
                  </a:ext>
                </a:extLst>
              </p:cNvPr>
              <p:cNvSpPr/>
              <p:nvPr/>
            </p:nvSpPr>
            <p:spPr>
              <a:xfrm>
                <a:off x="6851740" y="1679116"/>
                <a:ext cx="18368" cy="18407"/>
              </a:xfrm>
              <a:custGeom>
                <a:avLst/>
                <a:gdLst>
                  <a:gd name="connsiteX0" fmla="*/ 871 w 18368"/>
                  <a:gd name="connsiteY0" fmla="*/ 5274 h 18407"/>
                  <a:gd name="connsiteX1" fmla="*/ 5297 w 18368"/>
                  <a:gd name="connsiteY1" fmla="*/ 17535 h 18407"/>
                  <a:gd name="connsiteX2" fmla="*/ 17498 w 18368"/>
                  <a:gd name="connsiteY2" fmla="*/ 13169 h 18407"/>
                  <a:gd name="connsiteX3" fmla="*/ 13072 w 18368"/>
                  <a:gd name="connsiteY3" fmla="*/ 908 h 18407"/>
                  <a:gd name="connsiteX4" fmla="*/ 871 w 18368"/>
                  <a:gd name="connsiteY4" fmla="*/ 527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7">
                    <a:moveTo>
                      <a:pt x="871" y="5274"/>
                    </a:moveTo>
                    <a:cubicBezTo>
                      <a:pt x="-1282" y="9879"/>
                      <a:pt x="692" y="15382"/>
                      <a:pt x="5297" y="17535"/>
                    </a:cubicBezTo>
                    <a:cubicBezTo>
                      <a:pt x="9902" y="19688"/>
                      <a:pt x="15345" y="17714"/>
                      <a:pt x="17498" y="13169"/>
                    </a:cubicBezTo>
                    <a:cubicBezTo>
                      <a:pt x="19651" y="8564"/>
                      <a:pt x="17677" y="3061"/>
                      <a:pt x="13072" y="908"/>
                    </a:cubicBezTo>
                    <a:cubicBezTo>
                      <a:pt x="8467" y="-1305"/>
                      <a:pt x="3024" y="669"/>
                      <a:pt x="871" y="5274"/>
                    </a:cubicBezTo>
                    <a:close/>
                  </a:path>
                </a:pathLst>
              </a:custGeom>
              <a:grpFill/>
              <a:ln w="5978" cap="flat">
                <a:noFill/>
                <a:prstDash val="solid"/>
                <a:miter/>
              </a:ln>
            </p:spPr>
            <p:txBody>
              <a:bodyPr rtlCol="0" anchor="ctr"/>
              <a:lstStyle/>
              <a:p>
                <a:endParaRPr lang="en-GB"/>
              </a:p>
            </p:txBody>
          </p:sp>
        </p:grpSp>
        <p:grpSp>
          <p:nvGrpSpPr>
            <p:cNvPr id="330" name="Graphic 3">
              <a:extLst>
                <a:ext uri="{FF2B5EF4-FFF2-40B4-BE49-F238E27FC236}">
                  <a16:creationId xmlns:a16="http://schemas.microsoft.com/office/drawing/2014/main" id="{25AEA166-8DE5-4CBE-97FF-F3865A5EA0AF}"/>
                </a:ext>
              </a:extLst>
            </p:cNvPr>
            <p:cNvGrpSpPr/>
            <p:nvPr/>
          </p:nvGrpSpPr>
          <p:grpSpPr>
            <a:xfrm>
              <a:off x="6736108" y="1076033"/>
              <a:ext cx="210338" cy="525853"/>
              <a:chOff x="6736108" y="1076033"/>
              <a:chExt cx="210338" cy="525853"/>
            </a:xfrm>
            <a:grpFill/>
          </p:grpSpPr>
          <p:sp>
            <p:nvSpPr>
              <p:cNvPr id="4389" name="Vrije vorm: vorm 4388">
                <a:extLst>
                  <a:ext uri="{FF2B5EF4-FFF2-40B4-BE49-F238E27FC236}">
                    <a16:creationId xmlns:a16="http://schemas.microsoft.com/office/drawing/2014/main" id="{5F0FB6C8-C596-47A7-950A-E3BA898D931B}"/>
                  </a:ext>
                </a:extLst>
              </p:cNvPr>
              <p:cNvSpPr/>
              <p:nvPr/>
            </p:nvSpPr>
            <p:spPr>
              <a:xfrm>
                <a:off x="6743702" y="1084285"/>
                <a:ext cx="195091" cy="509378"/>
              </a:xfrm>
              <a:custGeom>
                <a:avLst/>
                <a:gdLst>
                  <a:gd name="connsiteX0" fmla="*/ 195091 w 195091"/>
                  <a:gd name="connsiteY0" fmla="*/ 1077 h 509378"/>
                  <a:gd name="connsiteX1" fmla="*/ 2811 w 195091"/>
                  <a:gd name="connsiteY1" fmla="*/ 509378 h 509378"/>
                  <a:gd name="connsiteX2" fmla="*/ 0 w 195091"/>
                  <a:gd name="connsiteY2" fmla="*/ 508301 h 509378"/>
                  <a:gd name="connsiteX3" fmla="*/ 192280 w 195091"/>
                  <a:gd name="connsiteY3" fmla="*/ 0 h 509378"/>
                </a:gdLst>
                <a:ahLst/>
                <a:cxnLst>
                  <a:cxn ang="0">
                    <a:pos x="connsiteX0" y="connsiteY0"/>
                  </a:cxn>
                  <a:cxn ang="0">
                    <a:pos x="connsiteX1" y="connsiteY1"/>
                  </a:cxn>
                  <a:cxn ang="0">
                    <a:pos x="connsiteX2" y="connsiteY2"/>
                  </a:cxn>
                  <a:cxn ang="0">
                    <a:pos x="connsiteX3" y="connsiteY3"/>
                  </a:cxn>
                </a:cxnLst>
                <a:rect l="l" t="t" r="r" b="b"/>
                <a:pathLst>
                  <a:path w="195091" h="509378">
                    <a:moveTo>
                      <a:pt x="195091" y="1077"/>
                    </a:moveTo>
                    <a:lnTo>
                      <a:pt x="2811" y="509378"/>
                    </a:lnTo>
                    <a:lnTo>
                      <a:pt x="0" y="508301"/>
                    </a:lnTo>
                    <a:lnTo>
                      <a:pt x="192280" y="0"/>
                    </a:lnTo>
                    <a:close/>
                  </a:path>
                </a:pathLst>
              </a:custGeom>
              <a:grpFill/>
              <a:ln w="5978" cap="flat">
                <a:noFill/>
                <a:prstDash val="solid"/>
                <a:miter/>
              </a:ln>
            </p:spPr>
            <p:txBody>
              <a:bodyPr rtlCol="0" anchor="ctr"/>
              <a:lstStyle/>
              <a:p>
                <a:endParaRPr lang="en-GB"/>
              </a:p>
            </p:txBody>
          </p:sp>
          <p:sp>
            <p:nvSpPr>
              <p:cNvPr id="4390" name="Vrije vorm: vorm 4389">
                <a:extLst>
                  <a:ext uri="{FF2B5EF4-FFF2-40B4-BE49-F238E27FC236}">
                    <a16:creationId xmlns:a16="http://schemas.microsoft.com/office/drawing/2014/main" id="{CDBD00DE-7CD9-401C-A536-28AC9FBC5B37}"/>
                  </a:ext>
                </a:extLst>
              </p:cNvPr>
              <p:cNvSpPr/>
              <p:nvPr/>
            </p:nvSpPr>
            <p:spPr>
              <a:xfrm>
                <a:off x="6928090" y="1076033"/>
                <a:ext cx="18357" cy="18417"/>
              </a:xfrm>
              <a:custGeom>
                <a:avLst/>
                <a:gdLst>
                  <a:gd name="connsiteX0" fmla="*/ 597 w 18357"/>
                  <a:gd name="connsiteY0" fmla="*/ 5919 h 18417"/>
                  <a:gd name="connsiteX1" fmla="*/ 12438 w 18357"/>
                  <a:gd name="connsiteY1" fmla="*/ 596 h 18417"/>
                  <a:gd name="connsiteX2" fmla="*/ 17761 w 18357"/>
                  <a:gd name="connsiteY2" fmla="*/ 12498 h 18417"/>
                  <a:gd name="connsiteX3" fmla="*/ 5919 w 18357"/>
                  <a:gd name="connsiteY3" fmla="*/ 17821 h 18417"/>
                  <a:gd name="connsiteX4" fmla="*/ 597 w 18357"/>
                  <a:gd name="connsiteY4" fmla="*/ 5919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7">
                    <a:moveTo>
                      <a:pt x="597" y="5919"/>
                    </a:moveTo>
                    <a:cubicBezTo>
                      <a:pt x="2390" y="1194"/>
                      <a:pt x="7713" y="-1198"/>
                      <a:pt x="12438" y="596"/>
                    </a:cubicBezTo>
                    <a:cubicBezTo>
                      <a:pt x="17163" y="2450"/>
                      <a:pt x="19555" y="7773"/>
                      <a:pt x="17761" y="12498"/>
                    </a:cubicBezTo>
                    <a:cubicBezTo>
                      <a:pt x="15967" y="17223"/>
                      <a:pt x="10644" y="19615"/>
                      <a:pt x="5919" y="17821"/>
                    </a:cubicBezTo>
                    <a:cubicBezTo>
                      <a:pt x="1194" y="16027"/>
                      <a:pt x="-1198" y="10644"/>
                      <a:pt x="597" y="5919"/>
                    </a:cubicBezTo>
                    <a:close/>
                  </a:path>
                </a:pathLst>
              </a:custGeom>
              <a:grpFill/>
              <a:ln w="5978" cap="flat">
                <a:noFill/>
                <a:prstDash val="solid"/>
                <a:miter/>
              </a:ln>
            </p:spPr>
            <p:txBody>
              <a:bodyPr rtlCol="0" anchor="ctr"/>
              <a:lstStyle/>
              <a:p>
                <a:endParaRPr lang="en-GB"/>
              </a:p>
            </p:txBody>
          </p:sp>
          <p:sp>
            <p:nvSpPr>
              <p:cNvPr id="4391" name="Vrije vorm: vorm 4390">
                <a:extLst>
                  <a:ext uri="{FF2B5EF4-FFF2-40B4-BE49-F238E27FC236}">
                    <a16:creationId xmlns:a16="http://schemas.microsoft.com/office/drawing/2014/main" id="{07DE8EA5-174C-4130-B4DA-39106B99169B}"/>
                  </a:ext>
                </a:extLst>
              </p:cNvPr>
              <p:cNvSpPr/>
              <p:nvPr/>
            </p:nvSpPr>
            <p:spPr>
              <a:xfrm>
                <a:off x="6736108" y="1583438"/>
                <a:ext cx="18357" cy="18448"/>
              </a:xfrm>
              <a:custGeom>
                <a:avLst/>
                <a:gdLst>
                  <a:gd name="connsiteX0" fmla="*/ 596 w 18357"/>
                  <a:gd name="connsiteY0" fmla="*/ 5919 h 18448"/>
                  <a:gd name="connsiteX1" fmla="*/ 5919 w 18357"/>
                  <a:gd name="connsiteY1" fmla="*/ 17821 h 18448"/>
                  <a:gd name="connsiteX2" fmla="*/ 17761 w 18357"/>
                  <a:gd name="connsiteY2" fmla="*/ 12498 h 18448"/>
                  <a:gd name="connsiteX3" fmla="*/ 12438 w 18357"/>
                  <a:gd name="connsiteY3" fmla="*/ 596 h 18448"/>
                  <a:gd name="connsiteX4" fmla="*/ 596 w 18357"/>
                  <a:gd name="connsiteY4" fmla="*/ 5919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8">
                    <a:moveTo>
                      <a:pt x="596" y="5919"/>
                    </a:moveTo>
                    <a:cubicBezTo>
                      <a:pt x="-1198" y="10644"/>
                      <a:pt x="1194" y="16027"/>
                      <a:pt x="5919" y="17821"/>
                    </a:cubicBezTo>
                    <a:cubicBezTo>
                      <a:pt x="10644" y="19675"/>
                      <a:pt x="15967" y="17283"/>
                      <a:pt x="17761" y="12498"/>
                    </a:cubicBezTo>
                    <a:cubicBezTo>
                      <a:pt x="19555" y="7773"/>
                      <a:pt x="17163" y="2391"/>
                      <a:pt x="12438" y="596"/>
                    </a:cubicBezTo>
                    <a:cubicBezTo>
                      <a:pt x="7654" y="-1198"/>
                      <a:pt x="2391" y="1194"/>
                      <a:pt x="596" y="5919"/>
                    </a:cubicBezTo>
                    <a:close/>
                  </a:path>
                </a:pathLst>
              </a:custGeom>
              <a:grpFill/>
              <a:ln w="5978" cap="flat">
                <a:noFill/>
                <a:prstDash val="solid"/>
                <a:miter/>
              </a:ln>
            </p:spPr>
            <p:txBody>
              <a:bodyPr rtlCol="0" anchor="ctr"/>
              <a:lstStyle/>
              <a:p>
                <a:endParaRPr lang="en-GB"/>
              </a:p>
            </p:txBody>
          </p:sp>
        </p:grpSp>
        <p:grpSp>
          <p:nvGrpSpPr>
            <p:cNvPr id="331" name="Graphic 3">
              <a:extLst>
                <a:ext uri="{FF2B5EF4-FFF2-40B4-BE49-F238E27FC236}">
                  <a16:creationId xmlns:a16="http://schemas.microsoft.com/office/drawing/2014/main" id="{2FE603E9-13B6-46B7-9E51-815D300AC0D0}"/>
                </a:ext>
              </a:extLst>
            </p:cNvPr>
            <p:cNvGrpSpPr/>
            <p:nvPr/>
          </p:nvGrpSpPr>
          <p:grpSpPr>
            <a:xfrm>
              <a:off x="7745813" y="4449795"/>
              <a:ext cx="372503" cy="235517"/>
              <a:chOff x="7745813" y="4449795"/>
              <a:chExt cx="372503" cy="235517"/>
            </a:xfrm>
            <a:grpFill/>
          </p:grpSpPr>
          <p:sp>
            <p:nvSpPr>
              <p:cNvPr id="4386" name="Vrije vorm: vorm 4385">
                <a:extLst>
                  <a:ext uri="{FF2B5EF4-FFF2-40B4-BE49-F238E27FC236}">
                    <a16:creationId xmlns:a16="http://schemas.microsoft.com/office/drawing/2014/main" id="{1E2D8511-6C06-4105-A470-5D110E01D18A}"/>
                  </a:ext>
                </a:extLst>
              </p:cNvPr>
              <p:cNvSpPr/>
              <p:nvPr/>
            </p:nvSpPr>
            <p:spPr>
              <a:xfrm>
                <a:off x="7753786" y="4457472"/>
                <a:ext cx="356510" cy="220210"/>
              </a:xfrm>
              <a:custGeom>
                <a:avLst/>
                <a:gdLst>
                  <a:gd name="connsiteX0" fmla="*/ 356511 w 356510"/>
                  <a:gd name="connsiteY0" fmla="*/ 217579 h 220210"/>
                  <a:gd name="connsiteX1" fmla="*/ 354956 w 356510"/>
                  <a:gd name="connsiteY1" fmla="*/ 220210 h 220210"/>
                  <a:gd name="connsiteX2" fmla="*/ 0 w 356510"/>
                  <a:gd name="connsiteY2" fmla="*/ 2632 h 220210"/>
                  <a:gd name="connsiteX3" fmla="*/ 1555 w 356510"/>
                  <a:gd name="connsiteY3" fmla="*/ 0 h 220210"/>
                </a:gdLst>
                <a:ahLst/>
                <a:cxnLst>
                  <a:cxn ang="0">
                    <a:pos x="connsiteX0" y="connsiteY0"/>
                  </a:cxn>
                  <a:cxn ang="0">
                    <a:pos x="connsiteX1" y="connsiteY1"/>
                  </a:cxn>
                  <a:cxn ang="0">
                    <a:pos x="connsiteX2" y="connsiteY2"/>
                  </a:cxn>
                  <a:cxn ang="0">
                    <a:pos x="connsiteX3" y="connsiteY3"/>
                  </a:cxn>
                </a:cxnLst>
                <a:rect l="l" t="t" r="r" b="b"/>
                <a:pathLst>
                  <a:path w="356510" h="220210">
                    <a:moveTo>
                      <a:pt x="356511" y="217579"/>
                    </a:moveTo>
                    <a:lnTo>
                      <a:pt x="354956" y="220210"/>
                    </a:lnTo>
                    <a:lnTo>
                      <a:pt x="0" y="2632"/>
                    </a:lnTo>
                    <a:lnTo>
                      <a:pt x="1555" y="0"/>
                    </a:lnTo>
                    <a:close/>
                  </a:path>
                </a:pathLst>
              </a:custGeom>
              <a:grpFill/>
              <a:ln w="5978" cap="flat">
                <a:noFill/>
                <a:prstDash val="solid"/>
                <a:miter/>
              </a:ln>
            </p:spPr>
            <p:txBody>
              <a:bodyPr rtlCol="0" anchor="ctr"/>
              <a:lstStyle/>
              <a:p>
                <a:endParaRPr lang="en-GB"/>
              </a:p>
            </p:txBody>
          </p:sp>
          <p:sp>
            <p:nvSpPr>
              <p:cNvPr id="4387" name="Vrije vorm: vorm 4386">
                <a:extLst>
                  <a:ext uri="{FF2B5EF4-FFF2-40B4-BE49-F238E27FC236}">
                    <a16:creationId xmlns:a16="http://schemas.microsoft.com/office/drawing/2014/main" id="{C631B00A-0E98-4E72-B622-C903089F5A26}"/>
                  </a:ext>
                </a:extLst>
              </p:cNvPr>
              <p:cNvSpPr/>
              <p:nvPr/>
            </p:nvSpPr>
            <p:spPr>
              <a:xfrm>
                <a:off x="8100006" y="4666895"/>
                <a:ext cx="18310" cy="18417"/>
              </a:xfrm>
              <a:custGeom>
                <a:avLst/>
                <a:gdLst>
                  <a:gd name="connsiteX0" fmla="*/ 13880 w 18310"/>
                  <a:gd name="connsiteY0" fmla="*/ 1337 h 18417"/>
                  <a:gd name="connsiteX1" fmla="*/ 16990 w 18310"/>
                  <a:gd name="connsiteY1" fmla="*/ 14016 h 18417"/>
                  <a:gd name="connsiteX2" fmla="*/ 4431 w 18310"/>
                  <a:gd name="connsiteY2" fmla="*/ 17066 h 18417"/>
                  <a:gd name="connsiteX3" fmla="*/ 1321 w 18310"/>
                  <a:gd name="connsiteY3" fmla="*/ 4387 h 18417"/>
                  <a:gd name="connsiteX4" fmla="*/ 13880 w 18310"/>
                  <a:gd name="connsiteY4" fmla="*/ 133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7">
                    <a:moveTo>
                      <a:pt x="13880" y="1337"/>
                    </a:moveTo>
                    <a:cubicBezTo>
                      <a:pt x="18186" y="3969"/>
                      <a:pt x="19622" y="9650"/>
                      <a:pt x="16990" y="14016"/>
                    </a:cubicBezTo>
                    <a:cubicBezTo>
                      <a:pt x="14359" y="18382"/>
                      <a:pt x="8737" y="19698"/>
                      <a:pt x="4431" y="17066"/>
                    </a:cubicBezTo>
                    <a:cubicBezTo>
                      <a:pt x="125" y="14435"/>
                      <a:pt x="-1311" y="8753"/>
                      <a:pt x="1321" y="4387"/>
                    </a:cubicBezTo>
                    <a:cubicBezTo>
                      <a:pt x="3952" y="81"/>
                      <a:pt x="9574" y="-1294"/>
                      <a:pt x="13880" y="1337"/>
                    </a:cubicBezTo>
                    <a:close/>
                  </a:path>
                </a:pathLst>
              </a:custGeom>
              <a:grpFill/>
              <a:ln w="5978" cap="flat">
                <a:noFill/>
                <a:prstDash val="solid"/>
                <a:miter/>
              </a:ln>
            </p:spPr>
            <p:txBody>
              <a:bodyPr rtlCol="0" anchor="ctr"/>
              <a:lstStyle/>
              <a:p>
                <a:endParaRPr lang="en-GB"/>
              </a:p>
            </p:txBody>
          </p:sp>
          <p:sp>
            <p:nvSpPr>
              <p:cNvPr id="4388" name="Vrije vorm: vorm 4387">
                <a:extLst>
                  <a:ext uri="{FF2B5EF4-FFF2-40B4-BE49-F238E27FC236}">
                    <a16:creationId xmlns:a16="http://schemas.microsoft.com/office/drawing/2014/main" id="{CAC95D12-A021-4704-A007-D8E3116037BB}"/>
                  </a:ext>
                </a:extLst>
              </p:cNvPr>
              <p:cNvSpPr/>
              <p:nvPr/>
            </p:nvSpPr>
            <p:spPr>
              <a:xfrm>
                <a:off x="7745813" y="4449795"/>
                <a:ext cx="18298" cy="18403"/>
              </a:xfrm>
              <a:custGeom>
                <a:avLst/>
                <a:gdLst>
                  <a:gd name="connsiteX0" fmla="*/ 13894 w 18298"/>
                  <a:gd name="connsiteY0" fmla="*/ 1337 h 18403"/>
                  <a:gd name="connsiteX1" fmla="*/ 1335 w 18298"/>
                  <a:gd name="connsiteY1" fmla="*/ 4387 h 18403"/>
                  <a:gd name="connsiteX2" fmla="*/ 4445 w 18298"/>
                  <a:gd name="connsiteY2" fmla="*/ 17066 h 18403"/>
                  <a:gd name="connsiteX3" fmla="*/ 17004 w 18298"/>
                  <a:gd name="connsiteY3" fmla="*/ 14016 h 18403"/>
                  <a:gd name="connsiteX4" fmla="*/ 13894 w 18298"/>
                  <a:gd name="connsiteY4" fmla="*/ 133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03">
                    <a:moveTo>
                      <a:pt x="13894" y="1337"/>
                    </a:moveTo>
                    <a:cubicBezTo>
                      <a:pt x="9588" y="-1295"/>
                      <a:pt x="3906" y="81"/>
                      <a:pt x="1335" y="4387"/>
                    </a:cubicBezTo>
                    <a:cubicBezTo>
                      <a:pt x="-1297" y="8753"/>
                      <a:pt x="78" y="14375"/>
                      <a:pt x="4445" y="17066"/>
                    </a:cubicBezTo>
                    <a:cubicBezTo>
                      <a:pt x="8751" y="19698"/>
                      <a:pt x="14432" y="18322"/>
                      <a:pt x="17004" y="14016"/>
                    </a:cubicBezTo>
                    <a:cubicBezTo>
                      <a:pt x="19576" y="9650"/>
                      <a:pt x="18200" y="4028"/>
                      <a:pt x="13894" y="1337"/>
                    </a:cubicBezTo>
                    <a:close/>
                  </a:path>
                </a:pathLst>
              </a:custGeom>
              <a:grpFill/>
              <a:ln w="5978" cap="flat">
                <a:noFill/>
                <a:prstDash val="solid"/>
                <a:miter/>
              </a:ln>
            </p:spPr>
            <p:txBody>
              <a:bodyPr rtlCol="0" anchor="ctr"/>
              <a:lstStyle/>
              <a:p>
                <a:endParaRPr lang="en-GB"/>
              </a:p>
            </p:txBody>
          </p:sp>
        </p:grpSp>
        <p:grpSp>
          <p:nvGrpSpPr>
            <p:cNvPr id="332" name="Graphic 3">
              <a:extLst>
                <a:ext uri="{FF2B5EF4-FFF2-40B4-BE49-F238E27FC236}">
                  <a16:creationId xmlns:a16="http://schemas.microsoft.com/office/drawing/2014/main" id="{72AEA5B4-9279-49AE-ACFE-A0378E60E7E0}"/>
                </a:ext>
              </a:extLst>
            </p:cNvPr>
            <p:cNvGrpSpPr/>
            <p:nvPr/>
          </p:nvGrpSpPr>
          <p:grpSpPr>
            <a:xfrm>
              <a:off x="6923065" y="1770107"/>
              <a:ext cx="182230" cy="221621"/>
              <a:chOff x="6923065" y="1770107"/>
              <a:chExt cx="182230" cy="221621"/>
            </a:xfrm>
            <a:grpFill/>
          </p:grpSpPr>
          <p:sp>
            <p:nvSpPr>
              <p:cNvPr id="4383" name="Vrije vorm: vorm 4382">
                <a:extLst>
                  <a:ext uri="{FF2B5EF4-FFF2-40B4-BE49-F238E27FC236}">
                    <a16:creationId xmlns:a16="http://schemas.microsoft.com/office/drawing/2014/main" id="{F94A0E0A-BCCD-4EA2-AD2D-3DE30A7A1373}"/>
                  </a:ext>
                </a:extLst>
              </p:cNvPr>
              <p:cNvSpPr/>
              <p:nvPr/>
            </p:nvSpPr>
            <p:spPr>
              <a:xfrm>
                <a:off x="6930779" y="1777989"/>
                <a:ext cx="166862" cy="205856"/>
              </a:xfrm>
              <a:custGeom>
                <a:avLst/>
                <a:gdLst>
                  <a:gd name="connsiteX0" fmla="*/ 166862 w 166862"/>
                  <a:gd name="connsiteY0" fmla="*/ 1974 h 205856"/>
                  <a:gd name="connsiteX1" fmla="*/ 2392 w 166862"/>
                  <a:gd name="connsiteY1" fmla="*/ 205856 h 205856"/>
                  <a:gd name="connsiteX2" fmla="*/ 0 w 166862"/>
                  <a:gd name="connsiteY2" fmla="*/ 203883 h 205856"/>
                  <a:gd name="connsiteX3" fmla="*/ 164470 w 166862"/>
                  <a:gd name="connsiteY3" fmla="*/ 0 h 205856"/>
                </a:gdLst>
                <a:ahLst/>
                <a:cxnLst>
                  <a:cxn ang="0">
                    <a:pos x="connsiteX0" y="connsiteY0"/>
                  </a:cxn>
                  <a:cxn ang="0">
                    <a:pos x="connsiteX1" y="connsiteY1"/>
                  </a:cxn>
                  <a:cxn ang="0">
                    <a:pos x="connsiteX2" y="connsiteY2"/>
                  </a:cxn>
                  <a:cxn ang="0">
                    <a:pos x="connsiteX3" y="connsiteY3"/>
                  </a:cxn>
                </a:cxnLst>
                <a:rect l="l" t="t" r="r" b="b"/>
                <a:pathLst>
                  <a:path w="166862" h="205856">
                    <a:moveTo>
                      <a:pt x="166862" y="1974"/>
                    </a:moveTo>
                    <a:lnTo>
                      <a:pt x="2392" y="205856"/>
                    </a:lnTo>
                    <a:lnTo>
                      <a:pt x="0" y="203883"/>
                    </a:lnTo>
                    <a:lnTo>
                      <a:pt x="164470" y="0"/>
                    </a:lnTo>
                    <a:close/>
                  </a:path>
                </a:pathLst>
              </a:custGeom>
              <a:grpFill/>
              <a:ln w="5978" cap="flat">
                <a:noFill/>
                <a:prstDash val="solid"/>
                <a:miter/>
              </a:ln>
            </p:spPr>
            <p:txBody>
              <a:bodyPr rtlCol="0" anchor="ctr"/>
              <a:lstStyle/>
              <a:p>
                <a:endParaRPr lang="en-GB"/>
              </a:p>
            </p:txBody>
          </p:sp>
          <p:sp>
            <p:nvSpPr>
              <p:cNvPr id="4384" name="Vrije vorm: vorm 4383">
                <a:extLst>
                  <a:ext uri="{FF2B5EF4-FFF2-40B4-BE49-F238E27FC236}">
                    <a16:creationId xmlns:a16="http://schemas.microsoft.com/office/drawing/2014/main" id="{65B2236C-B56A-4140-9E98-09692E5FA672}"/>
                  </a:ext>
                </a:extLst>
              </p:cNvPr>
              <p:cNvSpPr/>
              <p:nvPr/>
            </p:nvSpPr>
            <p:spPr>
              <a:xfrm>
                <a:off x="6923065" y="1973272"/>
                <a:ext cx="18383" cy="18456"/>
              </a:xfrm>
              <a:custGeom>
                <a:avLst/>
                <a:gdLst>
                  <a:gd name="connsiteX0" fmla="*/ 16326 w 18383"/>
                  <a:gd name="connsiteY0" fmla="*/ 15059 h 18456"/>
                  <a:gd name="connsiteX1" fmla="*/ 3408 w 18383"/>
                  <a:gd name="connsiteY1" fmla="*/ 16375 h 18456"/>
                  <a:gd name="connsiteX2" fmla="*/ 2032 w 18383"/>
                  <a:gd name="connsiteY2" fmla="*/ 3397 h 18456"/>
                  <a:gd name="connsiteX3" fmla="*/ 14950 w 18383"/>
                  <a:gd name="connsiteY3" fmla="*/ 2081 h 18456"/>
                  <a:gd name="connsiteX4" fmla="*/ 16326 w 18383"/>
                  <a:gd name="connsiteY4" fmla="*/ 1505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56">
                    <a:moveTo>
                      <a:pt x="16326" y="15059"/>
                    </a:moveTo>
                    <a:cubicBezTo>
                      <a:pt x="13157" y="19007"/>
                      <a:pt x="7355" y="19605"/>
                      <a:pt x="3408" y="16375"/>
                    </a:cubicBezTo>
                    <a:cubicBezTo>
                      <a:pt x="-539" y="13146"/>
                      <a:pt x="-1137" y="7344"/>
                      <a:pt x="2032" y="3397"/>
                    </a:cubicBezTo>
                    <a:cubicBezTo>
                      <a:pt x="5202" y="-550"/>
                      <a:pt x="11003" y="-1148"/>
                      <a:pt x="14950" y="2081"/>
                    </a:cubicBezTo>
                    <a:cubicBezTo>
                      <a:pt x="18898" y="5311"/>
                      <a:pt x="19556" y="11112"/>
                      <a:pt x="16326" y="15059"/>
                    </a:cubicBezTo>
                    <a:close/>
                  </a:path>
                </a:pathLst>
              </a:custGeom>
              <a:grpFill/>
              <a:ln w="5978" cap="flat">
                <a:noFill/>
                <a:prstDash val="solid"/>
                <a:miter/>
              </a:ln>
            </p:spPr>
            <p:txBody>
              <a:bodyPr rtlCol="0" anchor="ctr"/>
              <a:lstStyle/>
              <a:p>
                <a:endParaRPr lang="en-GB"/>
              </a:p>
            </p:txBody>
          </p:sp>
          <p:sp>
            <p:nvSpPr>
              <p:cNvPr id="4385" name="Vrije vorm: vorm 4384">
                <a:extLst>
                  <a:ext uri="{FF2B5EF4-FFF2-40B4-BE49-F238E27FC236}">
                    <a16:creationId xmlns:a16="http://schemas.microsoft.com/office/drawing/2014/main" id="{3B64F90A-59EC-4DB9-90B7-C8E4CB824239}"/>
                  </a:ext>
                </a:extLst>
              </p:cNvPr>
              <p:cNvSpPr/>
              <p:nvPr/>
            </p:nvSpPr>
            <p:spPr>
              <a:xfrm>
                <a:off x="7086997" y="1770107"/>
                <a:ext cx="18298" cy="18456"/>
              </a:xfrm>
              <a:custGeom>
                <a:avLst/>
                <a:gdLst>
                  <a:gd name="connsiteX0" fmla="*/ 16266 w 18298"/>
                  <a:gd name="connsiteY0" fmla="*/ 15059 h 18456"/>
                  <a:gd name="connsiteX1" fmla="*/ 14891 w 18298"/>
                  <a:gd name="connsiteY1" fmla="*/ 2081 h 18456"/>
                  <a:gd name="connsiteX2" fmla="*/ 2032 w 18298"/>
                  <a:gd name="connsiteY2" fmla="*/ 3397 h 18456"/>
                  <a:gd name="connsiteX3" fmla="*/ 3408 w 18298"/>
                  <a:gd name="connsiteY3" fmla="*/ 16375 h 18456"/>
                  <a:gd name="connsiteX4" fmla="*/ 16266 w 18298"/>
                  <a:gd name="connsiteY4" fmla="*/ 1505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6">
                    <a:moveTo>
                      <a:pt x="16266" y="15059"/>
                    </a:moveTo>
                    <a:cubicBezTo>
                      <a:pt x="19436" y="11112"/>
                      <a:pt x="18838" y="5311"/>
                      <a:pt x="14891" y="2081"/>
                    </a:cubicBezTo>
                    <a:cubicBezTo>
                      <a:pt x="10943" y="-1148"/>
                      <a:pt x="5202" y="-550"/>
                      <a:pt x="2032" y="3397"/>
                    </a:cubicBezTo>
                    <a:cubicBezTo>
                      <a:pt x="-1138" y="7344"/>
                      <a:pt x="-539" y="13146"/>
                      <a:pt x="3408" y="16375"/>
                    </a:cubicBezTo>
                    <a:cubicBezTo>
                      <a:pt x="7355" y="19605"/>
                      <a:pt x="13096" y="19007"/>
                      <a:pt x="16266" y="15059"/>
                    </a:cubicBezTo>
                    <a:close/>
                  </a:path>
                </a:pathLst>
              </a:custGeom>
              <a:grpFill/>
              <a:ln w="5978" cap="flat">
                <a:noFill/>
                <a:prstDash val="solid"/>
                <a:miter/>
              </a:ln>
            </p:spPr>
            <p:txBody>
              <a:bodyPr rtlCol="0" anchor="ctr"/>
              <a:lstStyle/>
              <a:p>
                <a:endParaRPr lang="en-GB"/>
              </a:p>
            </p:txBody>
          </p:sp>
        </p:grpSp>
        <p:grpSp>
          <p:nvGrpSpPr>
            <p:cNvPr id="333" name="Graphic 3">
              <a:extLst>
                <a:ext uri="{FF2B5EF4-FFF2-40B4-BE49-F238E27FC236}">
                  <a16:creationId xmlns:a16="http://schemas.microsoft.com/office/drawing/2014/main" id="{782010D5-4DBD-478B-B5D2-E8D7339C756E}"/>
                </a:ext>
              </a:extLst>
            </p:cNvPr>
            <p:cNvGrpSpPr/>
            <p:nvPr/>
          </p:nvGrpSpPr>
          <p:grpSpPr>
            <a:xfrm>
              <a:off x="6864776" y="1478200"/>
              <a:ext cx="143130" cy="273640"/>
              <a:chOff x="6864776" y="1478200"/>
              <a:chExt cx="143130" cy="273640"/>
            </a:xfrm>
            <a:grpFill/>
          </p:grpSpPr>
          <p:sp>
            <p:nvSpPr>
              <p:cNvPr id="4380" name="Vrije vorm: vorm 4379">
                <a:extLst>
                  <a:ext uri="{FF2B5EF4-FFF2-40B4-BE49-F238E27FC236}">
                    <a16:creationId xmlns:a16="http://schemas.microsoft.com/office/drawing/2014/main" id="{E5B1D907-AA14-4FE9-82CE-198ACD7504A7}"/>
                  </a:ext>
                </a:extLst>
              </p:cNvPr>
              <p:cNvSpPr/>
              <p:nvPr/>
            </p:nvSpPr>
            <p:spPr>
              <a:xfrm>
                <a:off x="6872348" y="1486309"/>
                <a:ext cx="127927" cy="257470"/>
              </a:xfrm>
              <a:custGeom>
                <a:avLst/>
                <a:gdLst>
                  <a:gd name="connsiteX0" fmla="*/ 127928 w 127927"/>
                  <a:gd name="connsiteY0" fmla="*/ 1376 h 257470"/>
                  <a:gd name="connsiteX1" fmla="*/ 2751 w 127927"/>
                  <a:gd name="connsiteY1" fmla="*/ 257470 h 257470"/>
                  <a:gd name="connsiteX2" fmla="*/ 0 w 127927"/>
                  <a:gd name="connsiteY2" fmla="*/ 256094 h 257470"/>
                  <a:gd name="connsiteX3" fmla="*/ 125236 w 127927"/>
                  <a:gd name="connsiteY3" fmla="*/ 0 h 257470"/>
                </a:gdLst>
                <a:ahLst/>
                <a:cxnLst>
                  <a:cxn ang="0">
                    <a:pos x="connsiteX0" y="connsiteY0"/>
                  </a:cxn>
                  <a:cxn ang="0">
                    <a:pos x="connsiteX1" y="connsiteY1"/>
                  </a:cxn>
                  <a:cxn ang="0">
                    <a:pos x="connsiteX2" y="connsiteY2"/>
                  </a:cxn>
                  <a:cxn ang="0">
                    <a:pos x="connsiteX3" y="connsiteY3"/>
                  </a:cxn>
                </a:cxnLst>
                <a:rect l="l" t="t" r="r" b="b"/>
                <a:pathLst>
                  <a:path w="127927" h="257470">
                    <a:moveTo>
                      <a:pt x="127928" y="1376"/>
                    </a:moveTo>
                    <a:lnTo>
                      <a:pt x="2751" y="257470"/>
                    </a:lnTo>
                    <a:lnTo>
                      <a:pt x="0" y="256094"/>
                    </a:lnTo>
                    <a:lnTo>
                      <a:pt x="125236" y="0"/>
                    </a:lnTo>
                    <a:close/>
                  </a:path>
                </a:pathLst>
              </a:custGeom>
              <a:grpFill/>
              <a:ln w="5978" cap="flat">
                <a:noFill/>
                <a:prstDash val="solid"/>
                <a:miter/>
              </a:ln>
            </p:spPr>
            <p:txBody>
              <a:bodyPr rtlCol="0" anchor="ctr"/>
              <a:lstStyle/>
              <a:p>
                <a:endParaRPr lang="en-GB"/>
              </a:p>
            </p:txBody>
          </p:sp>
          <p:sp>
            <p:nvSpPr>
              <p:cNvPr id="4381" name="Vrije vorm: vorm 4380">
                <a:extLst>
                  <a:ext uri="{FF2B5EF4-FFF2-40B4-BE49-F238E27FC236}">
                    <a16:creationId xmlns:a16="http://schemas.microsoft.com/office/drawing/2014/main" id="{55C7041E-4E76-4E1E-AB46-B0F14EDC1F12}"/>
                  </a:ext>
                </a:extLst>
              </p:cNvPr>
              <p:cNvSpPr/>
              <p:nvPr/>
            </p:nvSpPr>
            <p:spPr>
              <a:xfrm>
                <a:off x="6989568" y="1478200"/>
                <a:ext cx="18338" cy="18372"/>
              </a:xfrm>
              <a:custGeom>
                <a:avLst/>
                <a:gdLst>
                  <a:gd name="connsiteX0" fmla="*/ 959 w 18338"/>
                  <a:gd name="connsiteY0" fmla="*/ 5119 h 18372"/>
                  <a:gd name="connsiteX1" fmla="*/ 13219 w 18338"/>
                  <a:gd name="connsiteY1" fmla="*/ 933 h 18372"/>
                  <a:gd name="connsiteX2" fmla="*/ 17406 w 18338"/>
                  <a:gd name="connsiteY2" fmla="*/ 13253 h 18372"/>
                  <a:gd name="connsiteX3" fmla="*/ 5145 w 18338"/>
                  <a:gd name="connsiteY3" fmla="*/ 17440 h 18372"/>
                  <a:gd name="connsiteX4" fmla="*/ 959 w 18338"/>
                  <a:gd name="connsiteY4" fmla="*/ 5119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2">
                    <a:moveTo>
                      <a:pt x="959" y="5119"/>
                    </a:moveTo>
                    <a:cubicBezTo>
                      <a:pt x="3172" y="574"/>
                      <a:pt x="8674" y="-1280"/>
                      <a:pt x="13219" y="933"/>
                    </a:cubicBezTo>
                    <a:cubicBezTo>
                      <a:pt x="17765" y="3206"/>
                      <a:pt x="19619" y="8708"/>
                      <a:pt x="17406" y="13253"/>
                    </a:cubicBezTo>
                    <a:cubicBezTo>
                      <a:pt x="15193" y="17798"/>
                      <a:pt x="9691" y="19653"/>
                      <a:pt x="5145" y="17440"/>
                    </a:cubicBezTo>
                    <a:cubicBezTo>
                      <a:pt x="600" y="15227"/>
                      <a:pt x="-1314" y="9665"/>
                      <a:pt x="959" y="5119"/>
                    </a:cubicBezTo>
                    <a:close/>
                  </a:path>
                </a:pathLst>
              </a:custGeom>
              <a:grpFill/>
              <a:ln w="5978" cap="flat">
                <a:noFill/>
                <a:prstDash val="solid"/>
                <a:miter/>
              </a:ln>
            </p:spPr>
            <p:txBody>
              <a:bodyPr rtlCol="0" anchor="ctr"/>
              <a:lstStyle/>
              <a:p>
                <a:endParaRPr lang="en-GB"/>
              </a:p>
            </p:txBody>
          </p:sp>
          <p:sp>
            <p:nvSpPr>
              <p:cNvPr id="4382" name="Vrije vorm: vorm 4381">
                <a:extLst>
                  <a:ext uri="{FF2B5EF4-FFF2-40B4-BE49-F238E27FC236}">
                    <a16:creationId xmlns:a16="http://schemas.microsoft.com/office/drawing/2014/main" id="{4AC0A90E-3AA3-4463-974D-163FD65F68AC}"/>
                  </a:ext>
                </a:extLst>
              </p:cNvPr>
              <p:cNvSpPr/>
              <p:nvPr/>
            </p:nvSpPr>
            <p:spPr>
              <a:xfrm>
                <a:off x="6864776" y="1733431"/>
                <a:ext cx="18312" cy="18409"/>
              </a:xfrm>
              <a:custGeom>
                <a:avLst/>
                <a:gdLst>
                  <a:gd name="connsiteX0" fmla="*/ 933 w 18312"/>
                  <a:gd name="connsiteY0" fmla="*/ 5146 h 18409"/>
                  <a:gd name="connsiteX1" fmla="*/ 5119 w 18312"/>
                  <a:gd name="connsiteY1" fmla="*/ 17466 h 18409"/>
                  <a:gd name="connsiteX2" fmla="*/ 17380 w 18312"/>
                  <a:gd name="connsiteY2" fmla="*/ 13279 h 18409"/>
                  <a:gd name="connsiteX3" fmla="*/ 13193 w 18312"/>
                  <a:gd name="connsiteY3" fmla="*/ 959 h 18409"/>
                  <a:gd name="connsiteX4" fmla="*/ 933 w 18312"/>
                  <a:gd name="connsiteY4" fmla="*/ 514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9">
                    <a:moveTo>
                      <a:pt x="933" y="5146"/>
                    </a:moveTo>
                    <a:cubicBezTo>
                      <a:pt x="-1280" y="9691"/>
                      <a:pt x="574" y="15253"/>
                      <a:pt x="5119" y="17466"/>
                    </a:cubicBezTo>
                    <a:cubicBezTo>
                      <a:pt x="9665" y="19679"/>
                      <a:pt x="15167" y="17884"/>
                      <a:pt x="17380" y="13279"/>
                    </a:cubicBezTo>
                    <a:cubicBezTo>
                      <a:pt x="19593" y="8734"/>
                      <a:pt x="17738" y="3172"/>
                      <a:pt x="13193" y="959"/>
                    </a:cubicBezTo>
                    <a:cubicBezTo>
                      <a:pt x="8648" y="-1314"/>
                      <a:pt x="3146" y="600"/>
                      <a:pt x="933" y="5146"/>
                    </a:cubicBezTo>
                    <a:close/>
                  </a:path>
                </a:pathLst>
              </a:custGeom>
              <a:grpFill/>
              <a:ln w="5978" cap="flat">
                <a:noFill/>
                <a:prstDash val="solid"/>
                <a:miter/>
              </a:ln>
            </p:spPr>
            <p:txBody>
              <a:bodyPr rtlCol="0" anchor="ctr"/>
              <a:lstStyle/>
              <a:p>
                <a:endParaRPr lang="en-GB"/>
              </a:p>
            </p:txBody>
          </p:sp>
        </p:grpSp>
        <p:grpSp>
          <p:nvGrpSpPr>
            <p:cNvPr id="334" name="Graphic 3">
              <a:extLst>
                <a:ext uri="{FF2B5EF4-FFF2-40B4-BE49-F238E27FC236}">
                  <a16:creationId xmlns:a16="http://schemas.microsoft.com/office/drawing/2014/main" id="{FD9A97AE-CDA4-4F4B-94E3-F849DEB517A3}"/>
                </a:ext>
              </a:extLst>
            </p:cNvPr>
            <p:cNvGrpSpPr/>
            <p:nvPr/>
          </p:nvGrpSpPr>
          <p:grpSpPr>
            <a:xfrm>
              <a:off x="6816270" y="1473250"/>
              <a:ext cx="284518" cy="450989"/>
              <a:chOff x="6816270" y="1473250"/>
              <a:chExt cx="284518" cy="450989"/>
            </a:xfrm>
            <a:grpFill/>
          </p:grpSpPr>
          <p:sp>
            <p:nvSpPr>
              <p:cNvPr id="4377" name="Vrije vorm: vorm 4376">
                <a:extLst>
                  <a:ext uri="{FF2B5EF4-FFF2-40B4-BE49-F238E27FC236}">
                    <a16:creationId xmlns:a16="http://schemas.microsoft.com/office/drawing/2014/main" id="{F94D6904-E13A-449D-A339-0F2E2918EB26}"/>
                  </a:ext>
                </a:extLst>
              </p:cNvPr>
              <p:cNvSpPr/>
              <p:nvPr/>
            </p:nvSpPr>
            <p:spPr>
              <a:xfrm>
                <a:off x="6823904" y="1481226"/>
                <a:ext cx="269312" cy="434977"/>
              </a:xfrm>
              <a:custGeom>
                <a:avLst/>
                <a:gdLst>
                  <a:gd name="connsiteX0" fmla="*/ 269312 w 269312"/>
                  <a:gd name="connsiteY0" fmla="*/ 1615 h 434977"/>
                  <a:gd name="connsiteX1" fmla="*/ 2631 w 269312"/>
                  <a:gd name="connsiteY1" fmla="*/ 434978 h 434977"/>
                  <a:gd name="connsiteX2" fmla="*/ 0 w 269312"/>
                  <a:gd name="connsiteY2" fmla="*/ 433363 h 434977"/>
                  <a:gd name="connsiteX3" fmla="*/ 266680 w 269312"/>
                  <a:gd name="connsiteY3" fmla="*/ 0 h 434977"/>
                </a:gdLst>
                <a:ahLst/>
                <a:cxnLst>
                  <a:cxn ang="0">
                    <a:pos x="connsiteX0" y="connsiteY0"/>
                  </a:cxn>
                  <a:cxn ang="0">
                    <a:pos x="connsiteX1" y="connsiteY1"/>
                  </a:cxn>
                  <a:cxn ang="0">
                    <a:pos x="connsiteX2" y="connsiteY2"/>
                  </a:cxn>
                  <a:cxn ang="0">
                    <a:pos x="connsiteX3" y="connsiteY3"/>
                  </a:cxn>
                </a:cxnLst>
                <a:rect l="l" t="t" r="r" b="b"/>
                <a:pathLst>
                  <a:path w="269312" h="434977">
                    <a:moveTo>
                      <a:pt x="269312" y="1615"/>
                    </a:moveTo>
                    <a:lnTo>
                      <a:pt x="2631" y="434978"/>
                    </a:lnTo>
                    <a:lnTo>
                      <a:pt x="0" y="433363"/>
                    </a:lnTo>
                    <a:lnTo>
                      <a:pt x="266680" y="0"/>
                    </a:lnTo>
                    <a:close/>
                  </a:path>
                </a:pathLst>
              </a:custGeom>
              <a:grpFill/>
              <a:ln w="5978" cap="flat">
                <a:noFill/>
                <a:prstDash val="solid"/>
                <a:miter/>
              </a:ln>
            </p:spPr>
            <p:txBody>
              <a:bodyPr rtlCol="0" anchor="ctr"/>
              <a:lstStyle/>
              <a:p>
                <a:endParaRPr lang="en-GB"/>
              </a:p>
            </p:txBody>
          </p:sp>
          <p:sp>
            <p:nvSpPr>
              <p:cNvPr id="4378" name="Vrije vorm: vorm 4377">
                <a:extLst>
                  <a:ext uri="{FF2B5EF4-FFF2-40B4-BE49-F238E27FC236}">
                    <a16:creationId xmlns:a16="http://schemas.microsoft.com/office/drawing/2014/main" id="{EE10B15B-C26B-410D-9D13-C9D57E419294}"/>
                  </a:ext>
                </a:extLst>
              </p:cNvPr>
              <p:cNvSpPr/>
              <p:nvPr/>
            </p:nvSpPr>
            <p:spPr>
              <a:xfrm>
                <a:off x="6816270" y="1905836"/>
                <a:ext cx="18343" cy="18403"/>
              </a:xfrm>
              <a:custGeom>
                <a:avLst/>
                <a:gdLst>
                  <a:gd name="connsiteX0" fmla="*/ 16963 w 18343"/>
                  <a:gd name="connsiteY0" fmla="*/ 14076 h 18403"/>
                  <a:gd name="connsiteX1" fmla="*/ 4344 w 18343"/>
                  <a:gd name="connsiteY1" fmla="*/ 17007 h 18403"/>
                  <a:gd name="connsiteX2" fmla="*/ 1354 w 18343"/>
                  <a:gd name="connsiteY2" fmla="*/ 4327 h 18403"/>
                  <a:gd name="connsiteX3" fmla="*/ 13973 w 18343"/>
                  <a:gd name="connsiteY3" fmla="*/ 1397 h 18403"/>
                  <a:gd name="connsiteX4" fmla="*/ 16963 w 18343"/>
                  <a:gd name="connsiteY4" fmla="*/ 14076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16963" y="14076"/>
                    </a:moveTo>
                    <a:cubicBezTo>
                      <a:pt x="14332" y="18382"/>
                      <a:pt x="8650" y="19698"/>
                      <a:pt x="4344" y="17007"/>
                    </a:cubicBezTo>
                    <a:cubicBezTo>
                      <a:pt x="38" y="14315"/>
                      <a:pt x="-1278" y="8634"/>
                      <a:pt x="1354" y="4327"/>
                    </a:cubicBezTo>
                    <a:cubicBezTo>
                      <a:pt x="3985" y="21"/>
                      <a:pt x="9667" y="-1294"/>
                      <a:pt x="13973" y="1397"/>
                    </a:cubicBezTo>
                    <a:cubicBezTo>
                      <a:pt x="18279" y="4088"/>
                      <a:pt x="19655" y="9770"/>
                      <a:pt x="16963" y="14076"/>
                    </a:cubicBezTo>
                    <a:close/>
                  </a:path>
                </a:pathLst>
              </a:custGeom>
              <a:grpFill/>
              <a:ln w="5978" cap="flat">
                <a:noFill/>
                <a:prstDash val="solid"/>
                <a:miter/>
              </a:ln>
            </p:spPr>
            <p:txBody>
              <a:bodyPr rtlCol="0" anchor="ctr"/>
              <a:lstStyle/>
              <a:p>
                <a:endParaRPr lang="en-GB"/>
              </a:p>
            </p:txBody>
          </p:sp>
          <p:sp>
            <p:nvSpPr>
              <p:cNvPr id="4379" name="Vrije vorm: vorm 4378">
                <a:extLst>
                  <a:ext uri="{FF2B5EF4-FFF2-40B4-BE49-F238E27FC236}">
                    <a16:creationId xmlns:a16="http://schemas.microsoft.com/office/drawing/2014/main" id="{2BEC9F27-2483-41C7-9A20-E5A17E68A843}"/>
                  </a:ext>
                </a:extLst>
              </p:cNvPr>
              <p:cNvSpPr/>
              <p:nvPr/>
            </p:nvSpPr>
            <p:spPr>
              <a:xfrm>
                <a:off x="7082472" y="1473250"/>
                <a:ext cx="18316" cy="18403"/>
              </a:xfrm>
              <a:custGeom>
                <a:avLst/>
                <a:gdLst>
                  <a:gd name="connsiteX0" fmla="*/ 16963 w 18316"/>
                  <a:gd name="connsiteY0" fmla="*/ 14076 h 18403"/>
                  <a:gd name="connsiteX1" fmla="*/ 13973 w 18316"/>
                  <a:gd name="connsiteY1" fmla="*/ 1397 h 18403"/>
                  <a:gd name="connsiteX2" fmla="*/ 1353 w 18316"/>
                  <a:gd name="connsiteY2" fmla="*/ 4327 h 18403"/>
                  <a:gd name="connsiteX3" fmla="*/ 4344 w 18316"/>
                  <a:gd name="connsiteY3" fmla="*/ 17007 h 18403"/>
                  <a:gd name="connsiteX4" fmla="*/ 16963 w 18316"/>
                  <a:gd name="connsiteY4" fmla="*/ 14076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16963" y="14076"/>
                    </a:moveTo>
                    <a:cubicBezTo>
                      <a:pt x="19595" y="9770"/>
                      <a:pt x="18279" y="4088"/>
                      <a:pt x="13973" y="1397"/>
                    </a:cubicBezTo>
                    <a:cubicBezTo>
                      <a:pt x="9667" y="-1294"/>
                      <a:pt x="4044" y="21"/>
                      <a:pt x="1353" y="4327"/>
                    </a:cubicBezTo>
                    <a:cubicBezTo>
                      <a:pt x="-1278" y="8634"/>
                      <a:pt x="38" y="14315"/>
                      <a:pt x="4344" y="17007"/>
                    </a:cubicBezTo>
                    <a:cubicBezTo>
                      <a:pt x="8650" y="19698"/>
                      <a:pt x="14332" y="18382"/>
                      <a:pt x="16963" y="14076"/>
                    </a:cubicBezTo>
                    <a:close/>
                  </a:path>
                </a:pathLst>
              </a:custGeom>
              <a:grpFill/>
              <a:ln w="5978" cap="flat">
                <a:noFill/>
                <a:prstDash val="solid"/>
                <a:miter/>
              </a:ln>
            </p:spPr>
            <p:txBody>
              <a:bodyPr rtlCol="0" anchor="ctr"/>
              <a:lstStyle/>
              <a:p>
                <a:endParaRPr lang="en-GB"/>
              </a:p>
            </p:txBody>
          </p:sp>
        </p:grpSp>
        <p:grpSp>
          <p:nvGrpSpPr>
            <p:cNvPr id="335" name="Graphic 3">
              <a:extLst>
                <a:ext uri="{FF2B5EF4-FFF2-40B4-BE49-F238E27FC236}">
                  <a16:creationId xmlns:a16="http://schemas.microsoft.com/office/drawing/2014/main" id="{A662433B-881B-40C9-8C50-1C173B02B9AD}"/>
                </a:ext>
              </a:extLst>
            </p:cNvPr>
            <p:cNvGrpSpPr/>
            <p:nvPr/>
          </p:nvGrpSpPr>
          <p:grpSpPr>
            <a:xfrm>
              <a:off x="6950786" y="1822706"/>
              <a:ext cx="162995" cy="184423"/>
              <a:chOff x="6950786" y="1822706"/>
              <a:chExt cx="162995" cy="184423"/>
            </a:xfrm>
            <a:grpFill/>
          </p:grpSpPr>
          <p:sp>
            <p:nvSpPr>
              <p:cNvPr id="4374" name="Vrije vorm: vorm 4373">
                <a:extLst>
                  <a:ext uri="{FF2B5EF4-FFF2-40B4-BE49-F238E27FC236}">
                    <a16:creationId xmlns:a16="http://schemas.microsoft.com/office/drawing/2014/main" id="{FF6FE228-0626-46F6-A0C9-93D5F5A3D4CD}"/>
                  </a:ext>
                </a:extLst>
              </p:cNvPr>
              <p:cNvSpPr/>
              <p:nvPr/>
            </p:nvSpPr>
            <p:spPr>
              <a:xfrm>
                <a:off x="6958470" y="1830500"/>
                <a:ext cx="147543" cy="168716"/>
              </a:xfrm>
              <a:custGeom>
                <a:avLst/>
                <a:gdLst>
                  <a:gd name="connsiteX0" fmla="*/ 147544 w 147543"/>
                  <a:gd name="connsiteY0" fmla="*/ 2033 h 168716"/>
                  <a:gd name="connsiteX1" fmla="*/ 2273 w 147543"/>
                  <a:gd name="connsiteY1" fmla="*/ 168716 h 168716"/>
                  <a:gd name="connsiteX2" fmla="*/ 0 w 147543"/>
                  <a:gd name="connsiteY2" fmla="*/ 166743 h 168716"/>
                  <a:gd name="connsiteX3" fmla="*/ 145271 w 147543"/>
                  <a:gd name="connsiteY3" fmla="*/ 0 h 168716"/>
                </a:gdLst>
                <a:ahLst/>
                <a:cxnLst>
                  <a:cxn ang="0">
                    <a:pos x="connsiteX0" y="connsiteY0"/>
                  </a:cxn>
                  <a:cxn ang="0">
                    <a:pos x="connsiteX1" y="connsiteY1"/>
                  </a:cxn>
                  <a:cxn ang="0">
                    <a:pos x="connsiteX2" y="connsiteY2"/>
                  </a:cxn>
                  <a:cxn ang="0">
                    <a:pos x="connsiteX3" y="connsiteY3"/>
                  </a:cxn>
                </a:cxnLst>
                <a:rect l="l" t="t" r="r" b="b"/>
                <a:pathLst>
                  <a:path w="147543" h="168716">
                    <a:moveTo>
                      <a:pt x="147544" y="2033"/>
                    </a:moveTo>
                    <a:lnTo>
                      <a:pt x="2273" y="168716"/>
                    </a:lnTo>
                    <a:lnTo>
                      <a:pt x="0" y="166743"/>
                    </a:lnTo>
                    <a:lnTo>
                      <a:pt x="145271" y="0"/>
                    </a:lnTo>
                    <a:close/>
                  </a:path>
                </a:pathLst>
              </a:custGeom>
              <a:grpFill/>
              <a:ln w="5978" cap="flat">
                <a:noFill/>
                <a:prstDash val="solid"/>
                <a:miter/>
              </a:ln>
            </p:spPr>
            <p:txBody>
              <a:bodyPr rtlCol="0" anchor="ctr"/>
              <a:lstStyle/>
              <a:p>
                <a:endParaRPr lang="en-GB"/>
              </a:p>
            </p:txBody>
          </p:sp>
          <p:sp>
            <p:nvSpPr>
              <p:cNvPr id="4375" name="Vrije vorm: vorm 4374">
                <a:extLst>
                  <a:ext uri="{FF2B5EF4-FFF2-40B4-BE49-F238E27FC236}">
                    <a16:creationId xmlns:a16="http://schemas.microsoft.com/office/drawing/2014/main" id="{DDA7D6B3-DE03-410E-94F3-C4E2FF4F7161}"/>
                  </a:ext>
                </a:extLst>
              </p:cNvPr>
              <p:cNvSpPr/>
              <p:nvPr/>
            </p:nvSpPr>
            <p:spPr>
              <a:xfrm>
                <a:off x="6950786" y="1988731"/>
                <a:ext cx="18297" cy="18398"/>
              </a:xfrm>
              <a:custGeom>
                <a:avLst/>
                <a:gdLst>
                  <a:gd name="connsiteX0" fmla="*/ 16057 w 18297"/>
                  <a:gd name="connsiteY0" fmla="*/ 15269 h 18398"/>
                  <a:gd name="connsiteX1" fmla="*/ 3138 w 18297"/>
                  <a:gd name="connsiteY1" fmla="*/ 16107 h 18398"/>
                  <a:gd name="connsiteX2" fmla="*/ 2241 w 18297"/>
                  <a:gd name="connsiteY2" fmla="*/ 3129 h 18398"/>
                  <a:gd name="connsiteX3" fmla="*/ 15160 w 18297"/>
                  <a:gd name="connsiteY3" fmla="*/ 2291 h 18398"/>
                  <a:gd name="connsiteX4" fmla="*/ 16057 w 18297"/>
                  <a:gd name="connsiteY4" fmla="*/ 1526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8">
                    <a:moveTo>
                      <a:pt x="16057" y="15269"/>
                    </a:moveTo>
                    <a:cubicBezTo>
                      <a:pt x="12707" y="19097"/>
                      <a:pt x="6966" y="19456"/>
                      <a:pt x="3138" y="16107"/>
                    </a:cubicBezTo>
                    <a:cubicBezTo>
                      <a:pt x="-689" y="12758"/>
                      <a:pt x="-1048" y="6897"/>
                      <a:pt x="2241" y="3129"/>
                    </a:cubicBezTo>
                    <a:cubicBezTo>
                      <a:pt x="5591" y="-699"/>
                      <a:pt x="11332" y="-1058"/>
                      <a:pt x="15160" y="2291"/>
                    </a:cubicBezTo>
                    <a:cubicBezTo>
                      <a:pt x="18988" y="5581"/>
                      <a:pt x="19346" y="11442"/>
                      <a:pt x="16057" y="15269"/>
                    </a:cubicBezTo>
                    <a:close/>
                  </a:path>
                </a:pathLst>
              </a:custGeom>
              <a:grpFill/>
              <a:ln w="5978" cap="flat">
                <a:noFill/>
                <a:prstDash val="solid"/>
                <a:miter/>
              </a:ln>
            </p:spPr>
            <p:txBody>
              <a:bodyPr rtlCol="0" anchor="ctr"/>
              <a:lstStyle/>
              <a:p>
                <a:endParaRPr lang="en-GB"/>
              </a:p>
            </p:txBody>
          </p:sp>
          <p:sp>
            <p:nvSpPr>
              <p:cNvPr id="4376" name="Vrije vorm: vorm 4375">
                <a:extLst>
                  <a:ext uri="{FF2B5EF4-FFF2-40B4-BE49-F238E27FC236}">
                    <a16:creationId xmlns:a16="http://schemas.microsoft.com/office/drawing/2014/main" id="{C5E708F0-A2C9-4320-AA21-57A9A807423C}"/>
                  </a:ext>
                </a:extLst>
              </p:cNvPr>
              <p:cNvSpPr/>
              <p:nvPr/>
            </p:nvSpPr>
            <p:spPr>
              <a:xfrm>
                <a:off x="7095436" y="1822706"/>
                <a:ext cx="18346" cy="18398"/>
              </a:xfrm>
              <a:custGeom>
                <a:avLst/>
                <a:gdLst>
                  <a:gd name="connsiteX0" fmla="*/ 16081 w 18346"/>
                  <a:gd name="connsiteY0" fmla="*/ 15269 h 18398"/>
                  <a:gd name="connsiteX1" fmla="*/ 15184 w 18346"/>
                  <a:gd name="connsiteY1" fmla="*/ 2291 h 18398"/>
                  <a:gd name="connsiteX2" fmla="*/ 2266 w 18346"/>
                  <a:gd name="connsiteY2" fmla="*/ 3129 h 18398"/>
                  <a:gd name="connsiteX3" fmla="*/ 3162 w 18346"/>
                  <a:gd name="connsiteY3" fmla="*/ 16107 h 18398"/>
                  <a:gd name="connsiteX4" fmla="*/ 16081 w 18346"/>
                  <a:gd name="connsiteY4" fmla="*/ 1526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8">
                    <a:moveTo>
                      <a:pt x="16081" y="15269"/>
                    </a:moveTo>
                    <a:cubicBezTo>
                      <a:pt x="19430" y="11442"/>
                      <a:pt x="19011" y="5641"/>
                      <a:pt x="15184" y="2291"/>
                    </a:cubicBezTo>
                    <a:cubicBezTo>
                      <a:pt x="11356" y="-1058"/>
                      <a:pt x="5555" y="-699"/>
                      <a:pt x="2266" y="3129"/>
                    </a:cubicBezTo>
                    <a:cubicBezTo>
                      <a:pt x="-1084" y="6956"/>
                      <a:pt x="-665" y="12758"/>
                      <a:pt x="3162" y="16107"/>
                    </a:cubicBezTo>
                    <a:cubicBezTo>
                      <a:pt x="6930" y="19456"/>
                      <a:pt x="12732" y="19097"/>
                      <a:pt x="16081" y="15269"/>
                    </a:cubicBezTo>
                    <a:close/>
                  </a:path>
                </a:pathLst>
              </a:custGeom>
              <a:grpFill/>
              <a:ln w="5978" cap="flat">
                <a:noFill/>
                <a:prstDash val="solid"/>
                <a:miter/>
              </a:ln>
            </p:spPr>
            <p:txBody>
              <a:bodyPr rtlCol="0" anchor="ctr"/>
              <a:lstStyle/>
              <a:p>
                <a:endParaRPr lang="en-GB"/>
              </a:p>
            </p:txBody>
          </p:sp>
        </p:grpSp>
        <p:grpSp>
          <p:nvGrpSpPr>
            <p:cNvPr id="336" name="Graphic 3">
              <a:extLst>
                <a:ext uri="{FF2B5EF4-FFF2-40B4-BE49-F238E27FC236}">
                  <a16:creationId xmlns:a16="http://schemas.microsoft.com/office/drawing/2014/main" id="{19DFCD60-D216-4682-A40A-21A1AE1AA957}"/>
                </a:ext>
              </a:extLst>
            </p:cNvPr>
            <p:cNvGrpSpPr/>
            <p:nvPr/>
          </p:nvGrpSpPr>
          <p:grpSpPr>
            <a:xfrm>
              <a:off x="6977502" y="1864259"/>
              <a:ext cx="110122" cy="156835"/>
              <a:chOff x="6977502" y="1864259"/>
              <a:chExt cx="110122" cy="156835"/>
            </a:xfrm>
            <a:grpFill/>
          </p:grpSpPr>
          <p:sp>
            <p:nvSpPr>
              <p:cNvPr id="4371" name="Vrije vorm: vorm 4370">
                <a:extLst>
                  <a:ext uri="{FF2B5EF4-FFF2-40B4-BE49-F238E27FC236}">
                    <a16:creationId xmlns:a16="http://schemas.microsoft.com/office/drawing/2014/main" id="{A1377B99-C580-4DF8-B47B-0984E9B1B158}"/>
                  </a:ext>
                </a:extLst>
              </p:cNvPr>
              <p:cNvSpPr/>
              <p:nvPr/>
            </p:nvSpPr>
            <p:spPr>
              <a:xfrm>
                <a:off x="6985144" y="1872245"/>
                <a:ext cx="94854" cy="140846"/>
              </a:xfrm>
              <a:custGeom>
                <a:avLst/>
                <a:gdLst>
                  <a:gd name="connsiteX0" fmla="*/ 94854 w 94854"/>
                  <a:gd name="connsiteY0" fmla="*/ 1675 h 140846"/>
                  <a:gd name="connsiteX1" fmla="*/ 2572 w 94854"/>
                  <a:gd name="connsiteY1" fmla="*/ 140846 h 140846"/>
                  <a:gd name="connsiteX2" fmla="*/ 0 w 94854"/>
                  <a:gd name="connsiteY2" fmla="*/ 139171 h 140846"/>
                  <a:gd name="connsiteX3" fmla="*/ 92283 w 94854"/>
                  <a:gd name="connsiteY3" fmla="*/ 0 h 140846"/>
                </a:gdLst>
                <a:ahLst/>
                <a:cxnLst>
                  <a:cxn ang="0">
                    <a:pos x="connsiteX0" y="connsiteY0"/>
                  </a:cxn>
                  <a:cxn ang="0">
                    <a:pos x="connsiteX1" y="connsiteY1"/>
                  </a:cxn>
                  <a:cxn ang="0">
                    <a:pos x="connsiteX2" y="connsiteY2"/>
                  </a:cxn>
                  <a:cxn ang="0">
                    <a:pos x="connsiteX3" y="connsiteY3"/>
                  </a:cxn>
                </a:cxnLst>
                <a:rect l="l" t="t" r="r" b="b"/>
                <a:pathLst>
                  <a:path w="94854" h="140846">
                    <a:moveTo>
                      <a:pt x="94854" y="1675"/>
                    </a:moveTo>
                    <a:lnTo>
                      <a:pt x="2572" y="140846"/>
                    </a:lnTo>
                    <a:lnTo>
                      <a:pt x="0" y="139171"/>
                    </a:lnTo>
                    <a:lnTo>
                      <a:pt x="92283" y="0"/>
                    </a:lnTo>
                    <a:close/>
                  </a:path>
                </a:pathLst>
              </a:custGeom>
              <a:grpFill/>
              <a:ln w="5978" cap="flat">
                <a:noFill/>
                <a:prstDash val="solid"/>
                <a:miter/>
              </a:ln>
            </p:spPr>
            <p:txBody>
              <a:bodyPr rtlCol="0" anchor="ctr"/>
              <a:lstStyle/>
              <a:p>
                <a:endParaRPr lang="en-GB"/>
              </a:p>
            </p:txBody>
          </p:sp>
          <p:sp>
            <p:nvSpPr>
              <p:cNvPr id="4372" name="Vrije vorm: vorm 4371">
                <a:extLst>
                  <a:ext uri="{FF2B5EF4-FFF2-40B4-BE49-F238E27FC236}">
                    <a16:creationId xmlns:a16="http://schemas.microsoft.com/office/drawing/2014/main" id="{3F02F1B8-519F-4286-967C-666579ADEDCF}"/>
                  </a:ext>
                </a:extLst>
              </p:cNvPr>
              <p:cNvSpPr/>
              <p:nvPr/>
            </p:nvSpPr>
            <p:spPr>
              <a:xfrm>
                <a:off x="7069306" y="1864259"/>
                <a:ext cx="18318" cy="18483"/>
              </a:xfrm>
              <a:custGeom>
                <a:avLst/>
                <a:gdLst>
                  <a:gd name="connsiteX0" fmla="*/ 1541 w 18318"/>
                  <a:gd name="connsiteY0" fmla="*/ 4098 h 18483"/>
                  <a:gd name="connsiteX1" fmla="*/ 14220 w 18318"/>
                  <a:gd name="connsiteY1" fmla="*/ 1586 h 18483"/>
                  <a:gd name="connsiteX2" fmla="*/ 16792 w 18318"/>
                  <a:gd name="connsiteY2" fmla="*/ 14385 h 18483"/>
                  <a:gd name="connsiteX3" fmla="*/ 4113 w 18318"/>
                  <a:gd name="connsiteY3" fmla="*/ 16897 h 18483"/>
                  <a:gd name="connsiteX4" fmla="*/ 1541 w 18318"/>
                  <a:gd name="connsiteY4" fmla="*/ 4098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83">
                    <a:moveTo>
                      <a:pt x="1541" y="4098"/>
                    </a:moveTo>
                    <a:cubicBezTo>
                      <a:pt x="4353" y="-148"/>
                      <a:pt x="10034" y="-1284"/>
                      <a:pt x="14220" y="1586"/>
                    </a:cubicBezTo>
                    <a:cubicBezTo>
                      <a:pt x="18407" y="4397"/>
                      <a:pt x="19603" y="10139"/>
                      <a:pt x="16792" y="14385"/>
                    </a:cubicBezTo>
                    <a:cubicBezTo>
                      <a:pt x="13982" y="18631"/>
                      <a:pt x="8299" y="19768"/>
                      <a:pt x="4113" y="16897"/>
                    </a:cubicBezTo>
                    <a:cubicBezTo>
                      <a:pt x="-133" y="14026"/>
                      <a:pt x="-1270" y="8285"/>
                      <a:pt x="1541" y="4098"/>
                    </a:cubicBezTo>
                    <a:close/>
                  </a:path>
                </a:pathLst>
              </a:custGeom>
              <a:grpFill/>
              <a:ln w="5978" cap="flat">
                <a:noFill/>
                <a:prstDash val="solid"/>
                <a:miter/>
              </a:ln>
            </p:spPr>
            <p:txBody>
              <a:bodyPr rtlCol="0" anchor="ctr"/>
              <a:lstStyle/>
              <a:p>
                <a:endParaRPr lang="en-GB"/>
              </a:p>
            </p:txBody>
          </p:sp>
          <p:sp>
            <p:nvSpPr>
              <p:cNvPr id="4373" name="Vrije vorm: vorm 4372">
                <a:extLst>
                  <a:ext uri="{FF2B5EF4-FFF2-40B4-BE49-F238E27FC236}">
                    <a16:creationId xmlns:a16="http://schemas.microsoft.com/office/drawing/2014/main" id="{C4B2C685-E02B-47FC-8F6C-A8E79ABF8532}"/>
                  </a:ext>
                </a:extLst>
              </p:cNvPr>
              <p:cNvSpPr/>
              <p:nvPr/>
            </p:nvSpPr>
            <p:spPr>
              <a:xfrm>
                <a:off x="6977502" y="2002653"/>
                <a:ext cx="18333" cy="18441"/>
              </a:xfrm>
              <a:custGeom>
                <a:avLst/>
                <a:gdLst>
                  <a:gd name="connsiteX0" fmla="*/ 1541 w 18333"/>
                  <a:gd name="connsiteY0" fmla="*/ 4098 h 18441"/>
                  <a:gd name="connsiteX1" fmla="*/ 4113 w 18333"/>
                  <a:gd name="connsiteY1" fmla="*/ 16897 h 18441"/>
                  <a:gd name="connsiteX2" fmla="*/ 16792 w 18333"/>
                  <a:gd name="connsiteY2" fmla="*/ 14385 h 18441"/>
                  <a:gd name="connsiteX3" fmla="*/ 14220 w 18333"/>
                  <a:gd name="connsiteY3" fmla="*/ 1586 h 18441"/>
                  <a:gd name="connsiteX4" fmla="*/ 1541 w 18333"/>
                  <a:gd name="connsiteY4" fmla="*/ 409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541" y="4098"/>
                    </a:moveTo>
                    <a:cubicBezTo>
                      <a:pt x="-1269" y="8345"/>
                      <a:pt x="-133" y="14026"/>
                      <a:pt x="4113" y="16897"/>
                    </a:cubicBezTo>
                    <a:cubicBezTo>
                      <a:pt x="8300" y="19708"/>
                      <a:pt x="14042" y="18572"/>
                      <a:pt x="16792" y="14385"/>
                    </a:cubicBezTo>
                    <a:cubicBezTo>
                      <a:pt x="19603" y="10139"/>
                      <a:pt x="18467" y="4457"/>
                      <a:pt x="14220" y="1586"/>
                    </a:cubicBezTo>
                    <a:cubicBezTo>
                      <a:pt x="10034" y="-1284"/>
                      <a:pt x="4352" y="-148"/>
                      <a:pt x="1541" y="4098"/>
                    </a:cubicBezTo>
                    <a:close/>
                  </a:path>
                </a:pathLst>
              </a:custGeom>
              <a:grpFill/>
              <a:ln w="5978" cap="flat">
                <a:noFill/>
                <a:prstDash val="solid"/>
                <a:miter/>
              </a:ln>
            </p:spPr>
            <p:txBody>
              <a:bodyPr rtlCol="0" anchor="ctr"/>
              <a:lstStyle/>
              <a:p>
                <a:endParaRPr lang="en-GB"/>
              </a:p>
            </p:txBody>
          </p:sp>
        </p:grpSp>
        <p:grpSp>
          <p:nvGrpSpPr>
            <p:cNvPr id="337" name="Graphic 3">
              <a:extLst>
                <a:ext uri="{FF2B5EF4-FFF2-40B4-BE49-F238E27FC236}">
                  <a16:creationId xmlns:a16="http://schemas.microsoft.com/office/drawing/2014/main" id="{BCD66CE0-3876-4FF7-AC82-5EE57FB35D14}"/>
                </a:ext>
              </a:extLst>
            </p:cNvPr>
            <p:cNvGrpSpPr/>
            <p:nvPr/>
          </p:nvGrpSpPr>
          <p:grpSpPr>
            <a:xfrm>
              <a:off x="6788912" y="1409975"/>
              <a:ext cx="298387" cy="498440"/>
              <a:chOff x="6788912" y="1409975"/>
              <a:chExt cx="298387" cy="498440"/>
            </a:xfrm>
            <a:grpFill/>
          </p:grpSpPr>
          <p:sp>
            <p:nvSpPr>
              <p:cNvPr id="4368" name="Vrije vorm: vorm 4367">
                <a:extLst>
                  <a:ext uri="{FF2B5EF4-FFF2-40B4-BE49-F238E27FC236}">
                    <a16:creationId xmlns:a16="http://schemas.microsoft.com/office/drawing/2014/main" id="{78E5B56C-7C4B-4B4F-A9D4-BA3D55349F65}"/>
                  </a:ext>
                </a:extLst>
              </p:cNvPr>
              <p:cNvSpPr/>
              <p:nvPr/>
            </p:nvSpPr>
            <p:spPr>
              <a:xfrm>
                <a:off x="6796572" y="1418009"/>
                <a:ext cx="283127" cy="482345"/>
              </a:xfrm>
              <a:custGeom>
                <a:avLst/>
                <a:gdLst>
                  <a:gd name="connsiteX0" fmla="*/ 283128 w 283127"/>
                  <a:gd name="connsiteY0" fmla="*/ 1555 h 482345"/>
                  <a:gd name="connsiteX1" fmla="*/ 2632 w 283127"/>
                  <a:gd name="connsiteY1" fmla="*/ 482345 h 482345"/>
                  <a:gd name="connsiteX2" fmla="*/ 0 w 283127"/>
                  <a:gd name="connsiteY2" fmla="*/ 480790 h 482345"/>
                  <a:gd name="connsiteX3" fmla="*/ 280496 w 283127"/>
                  <a:gd name="connsiteY3" fmla="*/ 0 h 482345"/>
                </a:gdLst>
                <a:ahLst/>
                <a:cxnLst>
                  <a:cxn ang="0">
                    <a:pos x="connsiteX0" y="connsiteY0"/>
                  </a:cxn>
                  <a:cxn ang="0">
                    <a:pos x="connsiteX1" y="connsiteY1"/>
                  </a:cxn>
                  <a:cxn ang="0">
                    <a:pos x="connsiteX2" y="connsiteY2"/>
                  </a:cxn>
                  <a:cxn ang="0">
                    <a:pos x="connsiteX3" y="connsiteY3"/>
                  </a:cxn>
                </a:cxnLst>
                <a:rect l="l" t="t" r="r" b="b"/>
                <a:pathLst>
                  <a:path w="283127" h="482345">
                    <a:moveTo>
                      <a:pt x="283128" y="1555"/>
                    </a:moveTo>
                    <a:lnTo>
                      <a:pt x="2632" y="482345"/>
                    </a:lnTo>
                    <a:lnTo>
                      <a:pt x="0" y="480790"/>
                    </a:lnTo>
                    <a:lnTo>
                      <a:pt x="280496" y="0"/>
                    </a:lnTo>
                    <a:close/>
                  </a:path>
                </a:pathLst>
              </a:custGeom>
              <a:grpFill/>
              <a:ln w="5978" cap="flat">
                <a:noFill/>
                <a:prstDash val="solid"/>
                <a:miter/>
              </a:ln>
            </p:spPr>
            <p:txBody>
              <a:bodyPr rtlCol="0" anchor="ctr"/>
              <a:lstStyle/>
              <a:p>
                <a:endParaRPr lang="en-GB"/>
              </a:p>
            </p:txBody>
          </p:sp>
          <p:sp>
            <p:nvSpPr>
              <p:cNvPr id="4369" name="Vrije vorm: vorm 4368">
                <a:extLst>
                  <a:ext uri="{FF2B5EF4-FFF2-40B4-BE49-F238E27FC236}">
                    <a16:creationId xmlns:a16="http://schemas.microsoft.com/office/drawing/2014/main" id="{62A1575E-AF4E-4A40-908A-71F4FEBE5803}"/>
                  </a:ext>
                </a:extLst>
              </p:cNvPr>
              <p:cNvSpPr/>
              <p:nvPr/>
            </p:nvSpPr>
            <p:spPr>
              <a:xfrm>
                <a:off x="6788912" y="1889961"/>
                <a:ext cx="18369" cy="18453"/>
              </a:xfrm>
              <a:custGeom>
                <a:avLst/>
                <a:gdLst>
                  <a:gd name="connsiteX0" fmla="*/ 17109 w 18369"/>
                  <a:gd name="connsiteY0" fmla="*/ 13922 h 18453"/>
                  <a:gd name="connsiteX1" fmla="*/ 4550 w 18369"/>
                  <a:gd name="connsiteY1" fmla="*/ 17151 h 18453"/>
                  <a:gd name="connsiteX2" fmla="*/ 1260 w 18369"/>
                  <a:gd name="connsiteY2" fmla="*/ 4532 h 18453"/>
                  <a:gd name="connsiteX3" fmla="*/ 13820 w 18369"/>
                  <a:gd name="connsiteY3" fmla="*/ 1303 h 18453"/>
                  <a:gd name="connsiteX4" fmla="*/ 17109 w 18369"/>
                  <a:gd name="connsiteY4" fmla="*/ 1392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53">
                    <a:moveTo>
                      <a:pt x="17109" y="13922"/>
                    </a:moveTo>
                    <a:cubicBezTo>
                      <a:pt x="14537" y="18288"/>
                      <a:pt x="8915" y="19783"/>
                      <a:pt x="4550" y="17151"/>
                    </a:cubicBezTo>
                    <a:cubicBezTo>
                      <a:pt x="184" y="14580"/>
                      <a:pt x="-1311" y="8898"/>
                      <a:pt x="1260" y="4532"/>
                    </a:cubicBezTo>
                    <a:cubicBezTo>
                      <a:pt x="3832" y="166"/>
                      <a:pt x="9454" y="-1329"/>
                      <a:pt x="13820" y="1303"/>
                    </a:cubicBezTo>
                    <a:cubicBezTo>
                      <a:pt x="18186" y="3934"/>
                      <a:pt x="19681" y="9496"/>
                      <a:pt x="17109" y="13922"/>
                    </a:cubicBezTo>
                    <a:close/>
                  </a:path>
                </a:pathLst>
              </a:custGeom>
              <a:grpFill/>
              <a:ln w="5978" cap="flat">
                <a:noFill/>
                <a:prstDash val="solid"/>
                <a:miter/>
              </a:ln>
            </p:spPr>
            <p:txBody>
              <a:bodyPr rtlCol="0" anchor="ctr"/>
              <a:lstStyle/>
              <a:p>
                <a:endParaRPr lang="en-GB"/>
              </a:p>
            </p:txBody>
          </p:sp>
          <p:sp>
            <p:nvSpPr>
              <p:cNvPr id="4370" name="Vrije vorm: vorm 4369">
                <a:extLst>
                  <a:ext uri="{FF2B5EF4-FFF2-40B4-BE49-F238E27FC236}">
                    <a16:creationId xmlns:a16="http://schemas.microsoft.com/office/drawing/2014/main" id="{21CFFA55-DC8A-4C2A-88DC-4678CA32D858}"/>
                  </a:ext>
                </a:extLst>
              </p:cNvPr>
              <p:cNvSpPr/>
              <p:nvPr/>
            </p:nvSpPr>
            <p:spPr>
              <a:xfrm>
                <a:off x="7068929" y="1409975"/>
                <a:ext cx="18369" cy="18400"/>
              </a:xfrm>
              <a:custGeom>
                <a:avLst/>
                <a:gdLst>
                  <a:gd name="connsiteX0" fmla="*/ 17109 w 18369"/>
                  <a:gd name="connsiteY0" fmla="*/ 13895 h 18400"/>
                  <a:gd name="connsiteX1" fmla="*/ 13820 w 18369"/>
                  <a:gd name="connsiteY1" fmla="*/ 1276 h 18400"/>
                  <a:gd name="connsiteX2" fmla="*/ 1260 w 18369"/>
                  <a:gd name="connsiteY2" fmla="*/ 4506 h 18400"/>
                  <a:gd name="connsiteX3" fmla="*/ 4550 w 18369"/>
                  <a:gd name="connsiteY3" fmla="*/ 17125 h 18400"/>
                  <a:gd name="connsiteX4" fmla="*/ 17109 w 18369"/>
                  <a:gd name="connsiteY4" fmla="*/ 1389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7109" y="13895"/>
                    </a:moveTo>
                    <a:cubicBezTo>
                      <a:pt x="19681" y="9529"/>
                      <a:pt x="18186" y="3848"/>
                      <a:pt x="13820" y="1276"/>
                    </a:cubicBezTo>
                    <a:cubicBezTo>
                      <a:pt x="9454" y="-1296"/>
                      <a:pt x="3832" y="140"/>
                      <a:pt x="1260" y="4506"/>
                    </a:cubicBezTo>
                    <a:cubicBezTo>
                      <a:pt x="-1311" y="8871"/>
                      <a:pt x="184" y="14553"/>
                      <a:pt x="4550" y="17125"/>
                    </a:cubicBezTo>
                    <a:cubicBezTo>
                      <a:pt x="8916" y="19697"/>
                      <a:pt x="14538" y="18261"/>
                      <a:pt x="17109" y="13895"/>
                    </a:cubicBezTo>
                    <a:close/>
                  </a:path>
                </a:pathLst>
              </a:custGeom>
              <a:grpFill/>
              <a:ln w="5978" cap="flat">
                <a:noFill/>
                <a:prstDash val="solid"/>
                <a:miter/>
              </a:ln>
            </p:spPr>
            <p:txBody>
              <a:bodyPr rtlCol="0" anchor="ctr"/>
              <a:lstStyle/>
              <a:p>
                <a:endParaRPr lang="en-GB"/>
              </a:p>
            </p:txBody>
          </p:sp>
        </p:grpSp>
        <p:grpSp>
          <p:nvGrpSpPr>
            <p:cNvPr id="338" name="Graphic 3">
              <a:extLst>
                <a:ext uri="{FF2B5EF4-FFF2-40B4-BE49-F238E27FC236}">
                  <a16:creationId xmlns:a16="http://schemas.microsoft.com/office/drawing/2014/main" id="{23E2BFF3-7961-4A5A-9A8F-23939FB3C6BB}"/>
                </a:ext>
              </a:extLst>
            </p:cNvPr>
            <p:cNvGrpSpPr/>
            <p:nvPr/>
          </p:nvGrpSpPr>
          <p:grpSpPr>
            <a:xfrm>
              <a:off x="7714431" y="4388330"/>
              <a:ext cx="309766" cy="189657"/>
              <a:chOff x="7714431" y="4388330"/>
              <a:chExt cx="309766" cy="189657"/>
            </a:xfrm>
            <a:grpFill/>
          </p:grpSpPr>
          <p:sp>
            <p:nvSpPr>
              <p:cNvPr id="4365" name="Vrije vorm: vorm 4364">
                <a:extLst>
                  <a:ext uri="{FF2B5EF4-FFF2-40B4-BE49-F238E27FC236}">
                    <a16:creationId xmlns:a16="http://schemas.microsoft.com/office/drawing/2014/main" id="{C42A400B-219A-440F-B222-04C2E8EEA677}"/>
                  </a:ext>
                </a:extLst>
              </p:cNvPr>
              <p:cNvSpPr/>
              <p:nvPr/>
            </p:nvSpPr>
            <p:spPr>
              <a:xfrm>
                <a:off x="7722447" y="4395930"/>
                <a:ext cx="293713" cy="174398"/>
              </a:xfrm>
              <a:custGeom>
                <a:avLst/>
                <a:gdLst>
                  <a:gd name="connsiteX0" fmla="*/ 293713 w 293713"/>
                  <a:gd name="connsiteY0" fmla="*/ 171767 h 174398"/>
                  <a:gd name="connsiteX1" fmla="*/ 292158 w 293713"/>
                  <a:gd name="connsiteY1" fmla="*/ 174398 h 174398"/>
                  <a:gd name="connsiteX2" fmla="*/ 0 w 293713"/>
                  <a:gd name="connsiteY2" fmla="*/ 2691 h 174398"/>
                  <a:gd name="connsiteX3" fmla="*/ 1495 w 293713"/>
                  <a:gd name="connsiteY3" fmla="*/ 0 h 174398"/>
                </a:gdLst>
                <a:ahLst/>
                <a:cxnLst>
                  <a:cxn ang="0">
                    <a:pos x="connsiteX0" y="connsiteY0"/>
                  </a:cxn>
                  <a:cxn ang="0">
                    <a:pos x="connsiteX1" y="connsiteY1"/>
                  </a:cxn>
                  <a:cxn ang="0">
                    <a:pos x="connsiteX2" y="connsiteY2"/>
                  </a:cxn>
                  <a:cxn ang="0">
                    <a:pos x="connsiteX3" y="connsiteY3"/>
                  </a:cxn>
                </a:cxnLst>
                <a:rect l="l" t="t" r="r" b="b"/>
                <a:pathLst>
                  <a:path w="293713" h="174398">
                    <a:moveTo>
                      <a:pt x="293713" y="171767"/>
                    </a:moveTo>
                    <a:lnTo>
                      <a:pt x="292158" y="174398"/>
                    </a:lnTo>
                    <a:lnTo>
                      <a:pt x="0" y="2691"/>
                    </a:lnTo>
                    <a:lnTo>
                      <a:pt x="1495" y="0"/>
                    </a:lnTo>
                    <a:close/>
                  </a:path>
                </a:pathLst>
              </a:custGeom>
              <a:grpFill/>
              <a:ln w="5978" cap="flat">
                <a:noFill/>
                <a:prstDash val="solid"/>
                <a:miter/>
              </a:ln>
            </p:spPr>
            <p:txBody>
              <a:bodyPr rtlCol="0" anchor="ctr"/>
              <a:lstStyle/>
              <a:p>
                <a:endParaRPr lang="en-GB"/>
              </a:p>
            </p:txBody>
          </p:sp>
          <p:sp>
            <p:nvSpPr>
              <p:cNvPr id="4366" name="Vrije vorm: vorm 4365">
                <a:extLst>
                  <a:ext uri="{FF2B5EF4-FFF2-40B4-BE49-F238E27FC236}">
                    <a16:creationId xmlns:a16="http://schemas.microsoft.com/office/drawing/2014/main" id="{F29D2FC1-9D0E-4098-A94B-1AD163E26570}"/>
                  </a:ext>
                </a:extLst>
              </p:cNvPr>
              <p:cNvSpPr/>
              <p:nvPr/>
            </p:nvSpPr>
            <p:spPr>
              <a:xfrm>
                <a:off x="8005911" y="4559545"/>
                <a:ext cx="18285" cy="18442"/>
              </a:xfrm>
              <a:custGeom>
                <a:avLst/>
                <a:gdLst>
                  <a:gd name="connsiteX0" fmla="*/ 13718 w 18285"/>
                  <a:gd name="connsiteY0" fmla="*/ 1274 h 18442"/>
                  <a:gd name="connsiteX1" fmla="*/ 17068 w 18285"/>
                  <a:gd name="connsiteY1" fmla="*/ 13893 h 18442"/>
                  <a:gd name="connsiteX2" fmla="*/ 4568 w 18285"/>
                  <a:gd name="connsiteY2" fmla="*/ 17182 h 18442"/>
                  <a:gd name="connsiteX3" fmla="*/ 1219 w 18285"/>
                  <a:gd name="connsiteY3" fmla="*/ 4563 h 18442"/>
                  <a:gd name="connsiteX4" fmla="*/ 13718 w 18285"/>
                  <a:gd name="connsiteY4" fmla="*/ 127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42">
                    <a:moveTo>
                      <a:pt x="13718" y="1274"/>
                    </a:moveTo>
                    <a:cubicBezTo>
                      <a:pt x="18084" y="3845"/>
                      <a:pt x="19579" y="9467"/>
                      <a:pt x="17068" y="13893"/>
                    </a:cubicBezTo>
                    <a:cubicBezTo>
                      <a:pt x="14496" y="18259"/>
                      <a:pt x="8934" y="19754"/>
                      <a:pt x="4568" y="17182"/>
                    </a:cubicBezTo>
                    <a:cubicBezTo>
                      <a:pt x="202" y="14611"/>
                      <a:pt x="-1293" y="8989"/>
                      <a:pt x="1219" y="4563"/>
                    </a:cubicBezTo>
                    <a:cubicBezTo>
                      <a:pt x="3731" y="137"/>
                      <a:pt x="9293" y="-1298"/>
                      <a:pt x="13718" y="1274"/>
                    </a:cubicBezTo>
                    <a:close/>
                  </a:path>
                </a:pathLst>
              </a:custGeom>
              <a:grpFill/>
              <a:ln w="5978" cap="flat">
                <a:noFill/>
                <a:prstDash val="solid"/>
                <a:miter/>
              </a:ln>
            </p:spPr>
            <p:txBody>
              <a:bodyPr rtlCol="0" anchor="ctr"/>
              <a:lstStyle/>
              <a:p>
                <a:endParaRPr lang="en-GB"/>
              </a:p>
            </p:txBody>
          </p:sp>
          <p:sp>
            <p:nvSpPr>
              <p:cNvPr id="4367" name="Vrije vorm: vorm 4366">
                <a:extLst>
                  <a:ext uri="{FF2B5EF4-FFF2-40B4-BE49-F238E27FC236}">
                    <a16:creationId xmlns:a16="http://schemas.microsoft.com/office/drawing/2014/main" id="{AC6E47E8-994E-4BF2-A1E6-FAF3BF90353B}"/>
                  </a:ext>
                </a:extLst>
              </p:cNvPr>
              <p:cNvSpPr/>
              <p:nvPr/>
            </p:nvSpPr>
            <p:spPr>
              <a:xfrm>
                <a:off x="7714431" y="4388330"/>
                <a:ext cx="18325" cy="18429"/>
              </a:xfrm>
              <a:custGeom>
                <a:avLst/>
                <a:gdLst>
                  <a:gd name="connsiteX0" fmla="*/ 13758 w 18325"/>
                  <a:gd name="connsiteY0" fmla="*/ 1260 h 18429"/>
                  <a:gd name="connsiteX1" fmla="*/ 1258 w 18325"/>
                  <a:gd name="connsiteY1" fmla="*/ 4550 h 18429"/>
                  <a:gd name="connsiteX2" fmla="*/ 4607 w 18325"/>
                  <a:gd name="connsiteY2" fmla="*/ 17169 h 18429"/>
                  <a:gd name="connsiteX3" fmla="*/ 17107 w 18325"/>
                  <a:gd name="connsiteY3" fmla="*/ 13880 h 18429"/>
                  <a:gd name="connsiteX4" fmla="*/ 13758 w 18325"/>
                  <a:gd name="connsiteY4" fmla="*/ 126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9">
                    <a:moveTo>
                      <a:pt x="13758" y="1260"/>
                    </a:moveTo>
                    <a:cubicBezTo>
                      <a:pt x="9392" y="-1311"/>
                      <a:pt x="3771" y="184"/>
                      <a:pt x="1258" y="4550"/>
                    </a:cubicBezTo>
                    <a:cubicBezTo>
                      <a:pt x="-1314" y="8916"/>
                      <a:pt x="182" y="14597"/>
                      <a:pt x="4607" y="17169"/>
                    </a:cubicBezTo>
                    <a:cubicBezTo>
                      <a:pt x="8974" y="19741"/>
                      <a:pt x="14595" y="18246"/>
                      <a:pt x="17107" y="13880"/>
                    </a:cubicBezTo>
                    <a:cubicBezTo>
                      <a:pt x="19619" y="9454"/>
                      <a:pt x="18124" y="3832"/>
                      <a:pt x="13758" y="1260"/>
                    </a:cubicBezTo>
                    <a:close/>
                  </a:path>
                </a:pathLst>
              </a:custGeom>
              <a:grpFill/>
              <a:ln w="5978" cap="flat">
                <a:noFill/>
                <a:prstDash val="solid"/>
                <a:miter/>
              </a:ln>
            </p:spPr>
            <p:txBody>
              <a:bodyPr rtlCol="0" anchor="ctr"/>
              <a:lstStyle/>
              <a:p>
                <a:endParaRPr lang="en-GB"/>
              </a:p>
            </p:txBody>
          </p:sp>
        </p:grpSp>
        <p:grpSp>
          <p:nvGrpSpPr>
            <p:cNvPr id="339" name="Graphic 3">
              <a:extLst>
                <a:ext uri="{FF2B5EF4-FFF2-40B4-BE49-F238E27FC236}">
                  <a16:creationId xmlns:a16="http://schemas.microsoft.com/office/drawing/2014/main" id="{DB7D1EBD-4CD6-4926-8A00-50E4D33C8082}"/>
                </a:ext>
              </a:extLst>
            </p:cNvPr>
            <p:cNvGrpSpPr/>
            <p:nvPr/>
          </p:nvGrpSpPr>
          <p:grpSpPr>
            <a:xfrm>
              <a:off x="7698334" y="4337867"/>
              <a:ext cx="314886" cy="185383"/>
              <a:chOff x="7698334" y="4337867"/>
              <a:chExt cx="314886" cy="185383"/>
            </a:xfrm>
            <a:grpFill/>
          </p:grpSpPr>
          <p:sp>
            <p:nvSpPr>
              <p:cNvPr id="4362" name="Vrije vorm: vorm 4361">
                <a:extLst>
                  <a:ext uri="{FF2B5EF4-FFF2-40B4-BE49-F238E27FC236}">
                    <a16:creationId xmlns:a16="http://schemas.microsoft.com/office/drawing/2014/main" id="{1E65BF18-549B-46AB-AD24-050D11A36EDA}"/>
                  </a:ext>
                </a:extLst>
              </p:cNvPr>
              <p:cNvSpPr/>
              <p:nvPr/>
            </p:nvSpPr>
            <p:spPr>
              <a:xfrm>
                <a:off x="7706359" y="4345513"/>
                <a:ext cx="298797" cy="170031"/>
              </a:xfrm>
              <a:custGeom>
                <a:avLst/>
                <a:gdLst>
                  <a:gd name="connsiteX0" fmla="*/ 298797 w 298797"/>
                  <a:gd name="connsiteY0" fmla="*/ 167340 h 170031"/>
                  <a:gd name="connsiteX1" fmla="*/ 297362 w 298797"/>
                  <a:gd name="connsiteY1" fmla="*/ 170032 h 170031"/>
                  <a:gd name="connsiteX2" fmla="*/ 0 w 298797"/>
                  <a:gd name="connsiteY2" fmla="*/ 2691 h 170031"/>
                  <a:gd name="connsiteX3" fmla="*/ 1435 w 298797"/>
                  <a:gd name="connsiteY3" fmla="*/ 0 h 170031"/>
                </a:gdLst>
                <a:ahLst/>
                <a:cxnLst>
                  <a:cxn ang="0">
                    <a:pos x="connsiteX0" y="connsiteY0"/>
                  </a:cxn>
                  <a:cxn ang="0">
                    <a:pos x="connsiteX1" y="connsiteY1"/>
                  </a:cxn>
                  <a:cxn ang="0">
                    <a:pos x="connsiteX2" y="connsiteY2"/>
                  </a:cxn>
                  <a:cxn ang="0">
                    <a:pos x="connsiteX3" y="connsiteY3"/>
                  </a:cxn>
                </a:cxnLst>
                <a:rect l="l" t="t" r="r" b="b"/>
                <a:pathLst>
                  <a:path w="298797" h="170031">
                    <a:moveTo>
                      <a:pt x="298797" y="167340"/>
                    </a:moveTo>
                    <a:lnTo>
                      <a:pt x="297362" y="170032"/>
                    </a:lnTo>
                    <a:lnTo>
                      <a:pt x="0" y="2691"/>
                    </a:lnTo>
                    <a:lnTo>
                      <a:pt x="1435" y="0"/>
                    </a:lnTo>
                    <a:close/>
                  </a:path>
                </a:pathLst>
              </a:custGeom>
              <a:grpFill/>
              <a:ln w="5978" cap="flat">
                <a:noFill/>
                <a:prstDash val="solid"/>
                <a:miter/>
              </a:ln>
            </p:spPr>
            <p:txBody>
              <a:bodyPr rtlCol="0" anchor="ctr"/>
              <a:lstStyle/>
              <a:p>
                <a:endParaRPr lang="en-GB"/>
              </a:p>
            </p:txBody>
          </p:sp>
          <p:sp>
            <p:nvSpPr>
              <p:cNvPr id="4363" name="Vrije vorm: vorm 4362">
                <a:extLst>
                  <a:ext uri="{FF2B5EF4-FFF2-40B4-BE49-F238E27FC236}">
                    <a16:creationId xmlns:a16="http://schemas.microsoft.com/office/drawing/2014/main" id="{890470E5-9EDC-402C-9A26-445F0DF1671C}"/>
                  </a:ext>
                </a:extLst>
              </p:cNvPr>
              <p:cNvSpPr/>
              <p:nvPr/>
            </p:nvSpPr>
            <p:spPr>
              <a:xfrm>
                <a:off x="7994879" y="4504776"/>
                <a:ext cx="18342" cy="18474"/>
              </a:xfrm>
              <a:custGeom>
                <a:avLst/>
                <a:gdLst>
                  <a:gd name="connsiteX0" fmla="*/ 13627 w 18342"/>
                  <a:gd name="connsiteY0" fmla="*/ 1200 h 18474"/>
                  <a:gd name="connsiteX1" fmla="*/ 17155 w 18342"/>
                  <a:gd name="connsiteY1" fmla="*/ 13759 h 18474"/>
                  <a:gd name="connsiteX2" fmla="*/ 4715 w 18342"/>
                  <a:gd name="connsiteY2" fmla="*/ 17288 h 18474"/>
                  <a:gd name="connsiteX3" fmla="*/ 1187 w 18342"/>
                  <a:gd name="connsiteY3" fmla="*/ 4728 h 18474"/>
                  <a:gd name="connsiteX4" fmla="*/ 13627 w 18342"/>
                  <a:gd name="connsiteY4" fmla="*/ 1200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74">
                    <a:moveTo>
                      <a:pt x="13627" y="1200"/>
                    </a:moveTo>
                    <a:cubicBezTo>
                      <a:pt x="18052" y="3711"/>
                      <a:pt x="19667" y="9333"/>
                      <a:pt x="17155" y="13759"/>
                    </a:cubicBezTo>
                    <a:cubicBezTo>
                      <a:pt x="14703" y="18185"/>
                      <a:pt x="9141" y="19800"/>
                      <a:pt x="4715" y="17288"/>
                    </a:cubicBezTo>
                    <a:cubicBezTo>
                      <a:pt x="290" y="14776"/>
                      <a:pt x="-1325" y="9154"/>
                      <a:pt x="1187" y="4728"/>
                    </a:cubicBezTo>
                    <a:cubicBezTo>
                      <a:pt x="3639" y="242"/>
                      <a:pt x="9201" y="-1313"/>
                      <a:pt x="13627" y="1200"/>
                    </a:cubicBezTo>
                    <a:close/>
                  </a:path>
                </a:pathLst>
              </a:custGeom>
              <a:grpFill/>
              <a:ln w="5978" cap="flat">
                <a:noFill/>
                <a:prstDash val="solid"/>
                <a:miter/>
              </a:ln>
            </p:spPr>
            <p:txBody>
              <a:bodyPr rtlCol="0" anchor="ctr"/>
              <a:lstStyle/>
              <a:p>
                <a:endParaRPr lang="en-GB"/>
              </a:p>
            </p:txBody>
          </p:sp>
          <p:sp>
            <p:nvSpPr>
              <p:cNvPr id="4364" name="Vrije vorm: vorm 4363">
                <a:extLst>
                  <a:ext uri="{FF2B5EF4-FFF2-40B4-BE49-F238E27FC236}">
                    <a16:creationId xmlns:a16="http://schemas.microsoft.com/office/drawing/2014/main" id="{51CAC9BA-F42A-42B1-8D80-8F281BD39D37}"/>
                  </a:ext>
                </a:extLst>
              </p:cNvPr>
              <p:cNvSpPr/>
              <p:nvPr/>
            </p:nvSpPr>
            <p:spPr>
              <a:xfrm>
                <a:off x="7698334" y="4337867"/>
                <a:ext cx="18302" cy="18461"/>
              </a:xfrm>
              <a:custGeom>
                <a:avLst/>
                <a:gdLst>
                  <a:gd name="connsiteX0" fmla="*/ 13588 w 18302"/>
                  <a:gd name="connsiteY0" fmla="*/ 1187 h 18461"/>
                  <a:gd name="connsiteX1" fmla="*/ 1148 w 18302"/>
                  <a:gd name="connsiteY1" fmla="*/ 4716 h 18461"/>
                  <a:gd name="connsiteX2" fmla="*/ 4676 w 18302"/>
                  <a:gd name="connsiteY2" fmla="*/ 17275 h 18461"/>
                  <a:gd name="connsiteX3" fmla="*/ 17116 w 18302"/>
                  <a:gd name="connsiteY3" fmla="*/ 13746 h 18461"/>
                  <a:gd name="connsiteX4" fmla="*/ 13588 w 18302"/>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61">
                    <a:moveTo>
                      <a:pt x="13588" y="1187"/>
                    </a:moveTo>
                    <a:cubicBezTo>
                      <a:pt x="9162" y="-1325"/>
                      <a:pt x="3600" y="290"/>
                      <a:pt x="1148" y="4716"/>
                    </a:cubicBezTo>
                    <a:cubicBezTo>
                      <a:pt x="-1304" y="9141"/>
                      <a:pt x="311" y="14763"/>
                      <a:pt x="4676" y="17275"/>
                    </a:cubicBezTo>
                    <a:cubicBezTo>
                      <a:pt x="9102" y="19787"/>
                      <a:pt x="14664" y="18172"/>
                      <a:pt x="17116" y="13746"/>
                    </a:cubicBezTo>
                    <a:cubicBezTo>
                      <a:pt x="19628" y="9261"/>
                      <a:pt x="18013" y="3639"/>
                      <a:pt x="13588" y="1187"/>
                    </a:cubicBezTo>
                    <a:close/>
                  </a:path>
                </a:pathLst>
              </a:custGeom>
              <a:grpFill/>
              <a:ln w="5978" cap="flat">
                <a:noFill/>
                <a:prstDash val="solid"/>
                <a:miter/>
              </a:ln>
            </p:spPr>
            <p:txBody>
              <a:bodyPr rtlCol="0" anchor="ctr"/>
              <a:lstStyle/>
              <a:p>
                <a:endParaRPr lang="en-GB"/>
              </a:p>
            </p:txBody>
          </p:sp>
        </p:grpSp>
        <p:grpSp>
          <p:nvGrpSpPr>
            <p:cNvPr id="340" name="Graphic 3">
              <a:extLst>
                <a:ext uri="{FF2B5EF4-FFF2-40B4-BE49-F238E27FC236}">
                  <a16:creationId xmlns:a16="http://schemas.microsoft.com/office/drawing/2014/main" id="{BD6011A9-A90D-436A-A9A8-43A9C66BF920}"/>
                </a:ext>
              </a:extLst>
            </p:cNvPr>
            <p:cNvGrpSpPr/>
            <p:nvPr/>
          </p:nvGrpSpPr>
          <p:grpSpPr>
            <a:xfrm>
              <a:off x="7630945" y="3943844"/>
              <a:ext cx="152383" cy="63761"/>
              <a:chOff x="7630945" y="3943844"/>
              <a:chExt cx="152383" cy="63761"/>
            </a:xfrm>
            <a:grpFill/>
          </p:grpSpPr>
          <p:sp>
            <p:nvSpPr>
              <p:cNvPr id="4359" name="Vrije vorm: vorm 4358">
                <a:extLst>
                  <a:ext uri="{FF2B5EF4-FFF2-40B4-BE49-F238E27FC236}">
                    <a16:creationId xmlns:a16="http://schemas.microsoft.com/office/drawing/2014/main" id="{6DF77721-FC38-4BC6-9CB1-6059624C2862}"/>
                  </a:ext>
                </a:extLst>
              </p:cNvPr>
              <p:cNvSpPr/>
              <p:nvPr/>
            </p:nvSpPr>
            <p:spPr>
              <a:xfrm>
                <a:off x="7639255" y="3951503"/>
                <a:ext cx="135821" cy="48503"/>
              </a:xfrm>
              <a:custGeom>
                <a:avLst/>
                <a:gdLst>
                  <a:gd name="connsiteX0" fmla="*/ 135822 w 135821"/>
                  <a:gd name="connsiteY0" fmla="*/ 45573 h 48503"/>
                  <a:gd name="connsiteX1" fmla="*/ 134866 w 135821"/>
                  <a:gd name="connsiteY1" fmla="*/ 48504 h 48503"/>
                  <a:gd name="connsiteX2" fmla="*/ 0 w 135821"/>
                  <a:gd name="connsiteY2" fmla="*/ 2871 h 48503"/>
                  <a:gd name="connsiteX3" fmla="*/ 957 w 135821"/>
                  <a:gd name="connsiteY3" fmla="*/ 0 h 48503"/>
                </a:gdLst>
                <a:ahLst/>
                <a:cxnLst>
                  <a:cxn ang="0">
                    <a:pos x="connsiteX0" y="connsiteY0"/>
                  </a:cxn>
                  <a:cxn ang="0">
                    <a:pos x="connsiteX1" y="connsiteY1"/>
                  </a:cxn>
                  <a:cxn ang="0">
                    <a:pos x="connsiteX2" y="connsiteY2"/>
                  </a:cxn>
                  <a:cxn ang="0">
                    <a:pos x="connsiteX3" y="connsiteY3"/>
                  </a:cxn>
                </a:cxnLst>
                <a:rect l="l" t="t" r="r" b="b"/>
                <a:pathLst>
                  <a:path w="135821" h="48503">
                    <a:moveTo>
                      <a:pt x="135822" y="45573"/>
                    </a:moveTo>
                    <a:lnTo>
                      <a:pt x="134866" y="48504"/>
                    </a:lnTo>
                    <a:lnTo>
                      <a:pt x="0" y="2871"/>
                    </a:lnTo>
                    <a:lnTo>
                      <a:pt x="957" y="0"/>
                    </a:lnTo>
                    <a:close/>
                  </a:path>
                </a:pathLst>
              </a:custGeom>
              <a:grpFill/>
              <a:ln w="5978" cap="flat">
                <a:noFill/>
                <a:prstDash val="solid"/>
                <a:miter/>
              </a:ln>
            </p:spPr>
            <p:txBody>
              <a:bodyPr rtlCol="0" anchor="ctr"/>
              <a:lstStyle/>
              <a:p>
                <a:endParaRPr lang="en-GB"/>
              </a:p>
            </p:txBody>
          </p:sp>
          <p:sp>
            <p:nvSpPr>
              <p:cNvPr id="4360" name="Vrije vorm: vorm 4359">
                <a:extLst>
                  <a:ext uri="{FF2B5EF4-FFF2-40B4-BE49-F238E27FC236}">
                    <a16:creationId xmlns:a16="http://schemas.microsoft.com/office/drawing/2014/main" id="{18953CE6-E40C-48BE-A524-C81B8FD99847}"/>
                  </a:ext>
                </a:extLst>
              </p:cNvPr>
              <p:cNvSpPr/>
              <p:nvPr/>
            </p:nvSpPr>
            <p:spPr>
              <a:xfrm>
                <a:off x="7764972" y="3989178"/>
                <a:ext cx="18356" cy="18427"/>
              </a:xfrm>
              <a:custGeom>
                <a:avLst/>
                <a:gdLst>
                  <a:gd name="connsiteX0" fmla="*/ 12079 w 18356"/>
                  <a:gd name="connsiteY0" fmla="*/ 482 h 18427"/>
                  <a:gd name="connsiteX1" fmla="*/ 17880 w 18356"/>
                  <a:gd name="connsiteY1" fmla="*/ 12144 h 18427"/>
                  <a:gd name="connsiteX2" fmla="*/ 6278 w 18356"/>
                  <a:gd name="connsiteY2" fmla="*/ 17946 h 18427"/>
                  <a:gd name="connsiteX3" fmla="*/ 476 w 18356"/>
                  <a:gd name="connsiteY3" fmla="*/ 6283 h 18427"/>
                  <a:gd name="connsiteX4" fmla="*/ 12079 w 18356"/>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7">
                    <a:moveTo>
                      <a:pt x="12079" y="482"/>
                    </a:moveTo>
                    <a:cubicBezTo>
                      <a:pt x="16863" y="2097"/>
                      <a:pt x="19495" y="7360"/>
                      <a:pt x="17880" y="12144"/>
                    </a:cubicBezTo>
                    <a:cubicBezTo>
                      <a:pt x="16265" y="16989"/>
                      <a:pt x="11122" y="19560"/>
                      <a:pt x="6278" y="17946"/>
                    </a:cubicBezTo>
                    <a:cubicBezTo>
                      <a:pt x="1493" y="16331"/>
                      <a:pt x="-1139" y="11068"/>
                      <a:pt x="476" y="6283"/>
                    </a:cubicBezTo>
                    <a:cubicBezTo>
                      <a:pt x="2091" y="1439"/>
                      <a:pt x="7294" y="-1133"/>
                      <a:pt x="12079" y="482"/>
                    </a:cubicBezTo>
                    <a:close/>
                  </a:path>
                </a:pathLst>
              </a:custGeom>
              <a:grpFill/>
              <a:ln w="5978" cap="flat">
                <a:noFill/>
                <a:prstDash val="solid"/>
                <a:miter/>
              </a:ln>
            </p:spPr>
            <p:txBody>
              <a:bodyPr rtlCol="0" anchor="ctr"/>
              <a:lstStyle/>
              <a:p>
                <a:endParaRPr lang="en-GB"/>
              </a:p>
            </p:txBody>
          </p:sp>
          <p:sp>
            <p:nvSpPr>
              <p:cNvPr id="4361" name="Vrije vorm: vorm 4360">
                <a:extLst>
                  <a:ext uri="{FF2B5EF4-FFF2-40B4-BE49-F238E27FC236}">
                    <a16:creationId xmlns:a16="http://schemas.microsoft.com/office/drawing/2014/main" id="{D00AC5B5-C9D9-4C7E-87A9-4495A910546D}"/>
                  </a:ext>
                </a:extLst>
              </p:cNvPr>
              <p:cNvSpPr/>
              <p:nvPr/>
            </p:nvSpPr>
            <p:spPr>
              <a:xfrm>
                <a:off x="7630945" y="3943844"/>
                <a:ext cx="18361" cy="18427"/>
              </a:xfrm>
              <a:custGeom>
                <a:avLst/>
                <a:gdLst>
                  <a:gd name="connsiteX0" fmla="*/ 12078 w 18361"/>
                  <a:gd name="connsiteY0" fmla="*/ 482 h 18427"/>
                  <a:gd name="connsiteX1" fmla="*/ 476 w 18361"/>
                  <a:gd name="connsiteY1" fmla="*/ 6283 h 18427"/>
                  <a:gd name="connsiteX2" fmla="*/ 6277 w 18361"/>
                  <a:gd name="connsiteY2" fmla="*/ 17946 h 18427"/>
                  <a:gd name="connsiteX3" fmla="*/ 17880 w 18361"/>
                  <a:gd name="connsiteY3" fmla="*/ 12144 h 18427"/>
                  <a:gd name="connsiteX4" fmla="*/ 12078 w 18361"/>
                  <a:gd name="connsiteY4" fmla="*/ 482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7">
                    <a:moveTo>
                      <a:pt x="12078" y="482"/>
                    </a:moveTo>
                    <a:cubicBezTo>
                      <a:pt x="7294" y="-1133"/>
                      <a:pt x="2090" y="1439"/>
                      <a:pt x="476" y="6283"/>
                    </a:cubicBezTo>
                    <a:cubicBezTo>
                      <a:pt x="-1139" y="11128"/>
                      <a:pt x="1492" y="16331"/>
                      <a:pt x="6277" y="17946"/>
                    </a:cubicBezTo>
                    <a:cubicBezTo>
                      <a:pt x="11061" y="19560"/>
                      <a:pt x="16265" y="16989"/>
                      <a:pt x="17880" y="12144"/>
                    </a:cubicBezTo>
                    <a:cubicBezTo>
                      <a:pt x="19494" y="7360"/>
                      <a:pt x="16923" y="2097"/>
                      <a:pt x="12078" y="482"/>
                    </a:cubicBezTo>
                    <a:close/>
                  </a:path>
                </a:pathLst>
              </a:custGeom>
              <a:grpFill/>
              <a:ln w="5978" cap="flat">
                <a:noFill/>
                <a:prstDash val="solid"/>
                <a:miter/>
              </a:ln>
            </p:spPr>
            <p:txBody>
              <a:bodyPr rtlCol="0" anchor="ctr"/>
              <a:lstStyle/>
              <a:p>
                <a:endParaRPr lang="en-GB"/>
              </a:p>
            </p:txBody>
          </p:sp>
        </p:grpSp>
        <p:grpSp>
          <p:nvGrpSpPr>
            <p:cNvPr id="341" name="Graphic 3">
              <a:extLst>
                <a:ext uri="{FF2B5EF4-FFF2-40B4-BE49-F238E27FC236}">
                  <a16:creationId xmlns:a16="http://schemas.microsoft.com/office/drawing/2014/main" id="{FF5DFE8C-5E86-4039-B424-82B2549D327D}"/>
                </a:ext>
              </a:extLst>
            </p:cNvPr>
            <p:cNvGrpSpPr/>
            <p:nvPr/>
          </p:nvGrpSpPr>
          <p:grpSpPr>
            <a:xfrm>
              <a:off x="7691047" y="4293826"/>
              <a:ext cx="289959" cy="164735"/>
              <a:chOff x="7691047" y="4293826"/>
              <a:chExt cx="289959" cy="164735"/>
            </a:xfrm>
            <a:grpFill/>
          </p:grpSpPr>
          <p:sp>
            <p:nvSpPr>
              <p:cNvPr id="4356" name="Vrije vorm: vorm 4355">
                <a:extLst>
                  <a:ext uri="{FF2B5EF4-FFF2-40B4-BE49-F238E27FC236}">
                    <a16:creationId xmlns:a16="http://schemas.microsoft.com/office/drawing/2014/main" id="{7EF85D42-6C07-4B09-AED3-77C3FE2805C9}"/>
                  </a:ext>
                </a:extLst>
              </p:cNvPr>
              <p:cNvSpPr/>
              <p:nvPr/>
            </p:nvSpPr>
            <p:spPr>
              <a:xfrm>
                <a:off x="7699063" y="4301435"/>
                <a:ext cx="273917" cy="149458"/>
              </a:xfrm>
              <a:custGeom>
                <a:avLst/>
                <a:gdLst>
                  <a:gd name="connsiteX0" fmla="*/ 273917 w 273917"/>
                  <a:gd name="connsiteY0" fmla="*/ 146767 h 149458"/>
                  <a:gd name="connsiteX1" fmla="*/ 272482 w 273917"/>
                  <a:gd name="connsiteY1" fmla="*/ 149458 h 149458"/>
                  <a:gd name="connsiteX2" fmla="*/ 0 w 273917"/>
                  <a:gd name="connsiteY2" fmla="*/ 2691 h 149458"/>
                  <a:gd name="connsiteX3" fmla="*/ 1435 w 273917"/>
                  <a:gd name="connsiteY3" fmla="*/ 0 h 149458"/>
                </a:gdLst>
                <a:ahLst/>
                <a:cxnLst>
                  <a:cxn ang="0">
                    <a:pos x="connsiteX0" y="connsiteY0"/>
                  </a:cxn>
                  <a:cxn ang="0">
                    <a:pos x="connsiteX1" y="connsiteY1"/>
                  </a:cxn>
                  <a:cxn ang="0">
                    <a:pos x="connsiteX2" y="connsiteY2"/>
                  </a:cxn>
                  <a:cxn ang="0">
                    <a:pos x="connsiteX3" y="connsiteY3"/>
                  </a:cxn>
                </a:cxnLst>
                <a:rect l="l" t="t" r="r" b="b"/>
                <a:pathLst>
                  <a:path w="273917" h="149458">
                    <a:moveTo>
                      <a:pt x="273917" y="146767"/>
                    </a:moveTo>
                    <a:lnTo>
                      <a:pt x="272482" y="149458"/>
                    </a:lnTo>
                    <a:lnTo>
                      <a:pt x="0" y="2691"/>
                    </a:lnTo>
                    <a:lnTo>
                      <a:pt x="1435" y="0"/>
                    </a:lnTo>
                    <a:close/>
                  </a:path>
                </a:pathLst>
              </a:custGeom>
              <a:grpFill/>
              <a:ln w="5978" cap="flat">
                <a:noFill/>
                <a:prstDash val="solid"/>
                <a:miter/>
              </a:ln>
            </p:spPr>
            <p:txBody>
              <a:bodyPr rtlCol="0" anchor="ctr"/>
              <a:lstStyle/>
              <a:p>
                <a:endParaRPr lang="en-GB"/>
              </a:p>
            </p:txBody>
          </p:sp>
          <p:sp>
            <p:nvSpPr>
              <p:cNvPr id="4357" name="Vrije vorm: vorm 4356">
                <a:extLst>
                  <a:ext uri="{FF2B5EF4-FFF2-40B4-BE49-F238E27FC236}">
                    <a16:creationId xmlns:a16="http://schemas.microsoft.com/office/drawing/2014/main" id="{FB1B1A3F-775C-4B87-A70A-128639C05D17}"/>
                  </a:ext>
                </a:extLst>
              </p:cNvPr>
              <p:cNvSpPr/>
              <p:nvPr/>
            </p:nvSpPr>
            <p:spPr>
              <a:xfrm>
                <a:off x="7962680" y="4440114"/>
                <a:ext cx="18327" cy="18447"/>
              </a:xfrm>
              <a:custGeom>
                <a:avLst/>
                <a:gdLst>
                  <a:gd name="connsiteX0" fmla="*/ 13470 w 18327"/>
                  <a:gd name="connsiteY0" fmla="*/ 1090 h 18447"/>
                  <a:gd name="connsiteX1" fmla="*/ 17237 w 18327"/>
                  <a:gd name="connsiteY1" fmla="*/ 13590 h 18447"/>
                  <a:gd name="connsiteX2" fmla="*/ 4858 w 18327"/>
                  <a:gd name="connsiteY2" fmla="*/ 17357 h 18447"/>
                  <a:gd name="connsiteX3" fmla="*/ 1090 w 18327"/>
                  <a:gd name="connsiteY3" fmla="*/ 4858 h 18447"/>
                  <a:gd name="connsiteX4" fmla="*/ 13470 w 18327"/>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7">
                    <a:moveTo>
                      <a:pt x="13470" y="1090"/>
                    </a:moveTo>
                    <a:cubicBezTo>
                      <a:pt x="17955" y="3482"/>
                      <a:pt x="19630" y="9104"/>
                      <a:pt x="17237" y="13590"/>
                    </a:cubicBezTo>
                    <a:cubicBezTo>
                      <a:pt x="14846" y="18075"/>
                      <a:pt x="9283" y="19750"/>
                      <a:pt x="4858" y="17357"/>
                    </a:cubicBezTo>
                    <a:cubicBezTo>
                      <a:pt x="372" y="14965"/>
                      <a:pt x="-1303" y="9343"/>
                      <a:pt x="1090" y="4858"/>
                    </a:cubicBezTo>
                    <a:cubicBezTo>
                      <a:pt x="3422" y="372"/>
                      <a:pt x="8984" y="-1303"/>
                      <a:pt x="13470" y="1090"/>
                    </a:cubicBezTo>
                    <a:close/>
                  </a:path>
                </a:pathLst>
              </a:custGeom>
              <a:grpFill/>
              <a:ln w="5978" cap="flat">
                <a:noFill/>
                <a:prstDash val="solid"/>
                <a:miter/>
              </a:ln>
            </p:spPr>
            <p:txBody>
              <a:bodyPr rtlCol="0" anchor="ctr"/>
              <a:lstStyle/>
              <a:p>
                <a:endParaRPr lang="en-GB"/>
              </a:p>
            </p:txBody>
          </p:sp>
          <p:sp>
            <p:nvSpPr>
              <p:cNvPr id="4358" name="Vrije vorm: vorm 4357">
                <a:extLst>
                  <a:ext uri="{FF2B5EF4-FFF2-40B4-BE49-F238E27FC236}">
                    <a16:creationId xmlns:a16="http://schemas.microsoft.com/office/drawing/2014/main" id="{73779D5F-22B8-4532-BEC8-C3123E476DE6}"/>
                  </a:ext>
                </a:extLst>
              </p:cNvPr>
              <p:cNvSpPr/>
              <p:nvPr/>
            </p:nvSpPr>
            <p:spPr>
              <a:xfrm>
                <a:off x="7691047" y="4293826"/>
                <a:ext cx="18304" cy="18447"/>
              </a:xfrm>
              <a:custGeom>
                <a:avLst/>
                <a:gdLst>
                  <a:gd name="connsiteX0" fmla="*/ 13458 w 18304"/>
                  <a:gd name="connsiteY0" fmla="*/ 1090 h 18447"/>
                  <a:gd name="connsiteX1" fmla="*/ 1078 w 18304"/>
                  <a:gd name="connsiteY1" fmla="*/ 4858 h 18447"/>
                  <a:gd name="connsiteX2" fmla="*/ 4846 w 18304"/>
                  <a:gd name="connsiteY2" fmla="*/ 17357 h 18447"/>
                  <a:gd name="connsiteX3" fmla="*/ 17226 w 18304"/>
                  <a:gd name="connsiteY3" fmla="*/ 13590 h 18447"/>
                  <a:gd name="connsiteX4" fmla="*/ 13458 w 18304"/>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47">
                    <a:moveTo>
                      <a:pt x="13458" y="1090"/>
                    </a:moveTo>
                    <a:cubicBezTo>
                      <a:pt x="8973" y="-1302"/>
                      <a:pt x="3410" y="372"/>
                      <a:pt x="1078" y="4858"/>
                    </a:cubicBezTo>
                    <a:cubicBezTo>
                      <a:pt x="-1314" y="9343"/>
                      <a:pt x="420" y="14905"/>
                      <a:pt x="4846" y="17357"/>
                    </a:cubicBezTo>
                    <a:cubicBezTo>
                      <a:pt x="9331" y="19749"/>
                      <a:pt x="14894" y="18075"/>
                      <a:pt x="17226" y="13590"/>
                    </a:cubicBezTo>
                    <a:cubicBezTo>
                      <a:pt x="19619" y="9044"/>
                      <a:pt x="17884" y="3482"/>
                      <a:pt x="13458" y="1090"/>
                    </a:cubicBezTo>
                    <a:close/>
                  </a:path>
                </a:pathLst>
              </a:custGeom>
              <a:grpFill/>
              <a:ln w="5978" cap="flat">
                <a:noFill/>
                <a:prstDash val="solid"/>
                <a:miter/>
              </a:ln>
            </p:spPr>
            <p:txBody>
              <a:bodyPr rtlCol="0" anchor="ctr"/>
              <a:lstStyle/>
              <a:p>
                <a:endParaRPr lang="en-GB"/>
              </a:p>
            </p:txBody>
          </p:sp>
        </p:grpSp>
        <p:grpSp>
          <p:nvGrpSpPr>
            <p:cNvPr id="342" name="Graphic 3">
              <a:extLst>
                <a:ext uri="{FF2B5EF4-FFF2-40B4-BE49-F238E27FC236}">
                  <a16:creationId xmlns:a16="http://schemas.microsoft.com/office/drawing/2014/main" id="{C104F541-5405-4F01-AE5D-D90CE3E66903}"/>
                </a:ext>
              </a:extLst>
            </p:cNvPr>
            <p:cNvGrpSpPr/>
            <p:nvPr/>
          </p:nvGrpSpPr>
          <p:grpSpPr>
            <a:xfrm>
              <a:off x="7568499" y="4156757"/>
              <a:ext cx="473681" cy="286977"/>
              <a:chOff x="7568499" y="4156757"/>
              <a:chExt cx="473681" cy="286977"/>
            </a:xfrm>
            <a:grpFill/>
          </p:grpSpPr>
          <p:sp>
            <p:nvSpPr>
              <p:cNvPr id="4353" name="Vrije vorm: vorm 4352">
                <a:extLst>
                  <a:ext uri="{FF2B5EF4-FFF2-40B4-BE49-F238E27FC236}">
                    <a16:creationId xmlns:a16="http://schemas.microsoft.com/office/drawing/2014/main" id="{FE03BA13-92B3-4797-A096-ADC380E13D0C}"/>
                  </a:ext>
                </a:extLst>
              </p:cNvPr>
              <p:cNvSpPr/>
              <p:nvPr/>
            </p:nvSpPr>
            <p:spPr>
              <a:xfrm>
                <a:off x="7576518" y="4164416"/>
                <a:ext cx="457585" cy="271704"/>
              </a:xfrm>
              <a:custGeom>
                <a:avLst/>
                <a:gdLst>
                  <a:gd name="connsiteX0" fmla="*/ 457585 w 457585"/>
                  <a:gd name="connsiteY0" fmla="*/ 269073 h 271704"/>
                  <a:gd name="connsiteX1" fmla="*/ 456030 w 457585"/>
                  <a:gd name="connsiteY1" fmla="*/ 271705 h 271704"/>
                  <a:gd name="connsiteX2" fmla="*/ 0 w 457585"/>
                  <a:gd name="connsiteY2" fmla="*/ 2691 h 271704"/>
                  <a:gd name="connsiteX3" fmla="*/ 1555 w 457585"/>
                  <a:gd name="connsiteY3" fmla="*/ 0 h 271704"/>
                </a:gdLst>
                <a:ahLst/>
                <a:cxnLst>
                  <a:cxn ang="0">
                    <a:pos x="connsiteX0" y="connsiteY0"/>
                  </a:cxn>
                  <a:cxn ang="0">
                    <a:pos x="connsiteX1" y="connsiteY1"/>
                  </a:cxn>
                  <a:cxn ang="0">
                    <a:pos x="connsiteX2" y="connsiteY2"/>
                  </a:cxn>
                  <a:cxn ang="0">
                    <a:pos x="connsiteX3" y="connsiteY3"/>
                  </a:cxn>
                </a:cxnLst>
                <a:rect l="l" t="t" r="r" b="b"/>
                <a:pathLst>
                  <a:path w="457585" h="271704">
                    <a:moveTo>
                      <a:pt x="457585" y="269073"/>
                    </a:moveTo>
                    <a:lnTo>
                      <a:pt x="456030" y="271705"/>
                    </a:lnTo>
                    <a:lnTo>
                      <a:pt x="0" y="2691"/>
                    </a:lnTo>
                    <a:lnTo>
                      <a:pt x="1555" y="0"/>
                    </a:lnTo>
                    <a:close/>
                  </a:path>
                </a:pathLst>
              </a:custGeom>
              <a:grpFill/>
              <a:ln w="5978" cap="flat">
                <a:noFill/>
                <a:prstDash val="solid"/>
                <a:miter/>
              </a:ln>
            </p:spPr>
            <p:txBody>
              <a:bodyPr rtlCol="0" anchor="ctr"/>
              <a:lstStyle/>
              <a:p>
                <a:endParaRPr lang="en-GB"/>
              </a:p>
            </p:txBody>
          </p:sp>
          <p:sp>
            <p:nvSpPr>
              <p:cNvPr id="4354" name="Vrije vorm: vorm 4353">
                <a:extLst>
                  <a:ext uri="{FF2B5EF4-FFF2-40B4-BE49-F238E27FC236}">
                    <a16:creationId xmlns:a16="http://schemas.microsoft.com/office/drawing/2014/main" id="{4C700AE3-1004-468B-A467-9B2B367EC3FE}"/>
                  </a:ext>
                </a:extLst>
              </p:cNvPr>
              <p:cNvSpPr/>
              <p:nvPr/>
            </p:nvSpPr>
            <p:spPr>
              <a:xfrm>
                <a:off x="7568499" y="4156757"/>
                <a:ext cx="18369" cy="18442"/>
              </a:xfrm>
              <a:custGeom>
                <a:avLst/>
                <a:gdLst>
                  <a:gd name="connsiteX0" fmla="*/ 4550 w 18369"/>
                  <a:gd name="connsiteY0" fmla="*/ 17169 h 18442"/>
                  <a:gd name="connsiteX1" fmla="*/ 1260 w 18369"/>
                  <a:gd name="connsiteY1" fmla="*/ 4550 h 18442"/>
                  <a:gd name="connsiteX2" fmla="*/ 13819 w 18369"/>
                  <a:gd name="connsiteY2" fmla="*/ 1261 h 18442"/>
                  <a:gd name="connsiteX3" fmla="*/ 17109 w 18369"/>
                  <a:gd name="connsiteY3" fmla="*/ 13880 h 18442"/>
                  <a:gd name="connsiteX4" fmla="*/ 4550 w 18369"/>
                  <a:gd name="connsiteY4" fmla="*/ 1716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2">
                    <a:moveTo>
                      <a:pt x="4550" y="17169"/>
                    </a:moveTo>
                    <a:cubicBezTo>
                      <a:pt x="184" y="14597"/>
                      <a:pt x="-1311" y="8916"/>
                      <a:pt x="1260" y="4550"/>
                    </a:cubicBezTo>
                    <a:cubicBezTo>
                      <a:pt x="3832" y="184"/>
                      <a:pt x="9394" y="-1311"/>
                      <a:pt x="13819" y="1261"/>
                    </a:cubicBezTo>
                    <a:cubicBezTo>
                      <a:pt x="18185" y="3832"/>
                      <a:pt x="19680" y="9514"/>
                      <a:pt x="17109" y="13880"/>
                    </a:cubicBezTo>
                    <a:cubicBezTo>
                      <a:pt x="14537" y="18306"/>
                      <a:pt x="8916" y="19741"/>
                      <a:pt x="4550" y="17169"/>
                    </a:cubicBezTo>
                    <a:close/>
                  </a:path>
                </a:pathLst>
              </a:custGeom>
              <a:grpFill/>
              <a:ln w="5978" cap="flat">
                <a:noFill/>
                <a:prstDash val="solid"/>
                <a:miter/>
              </a:ln>
            </p:spPr>
            <p:txBody>
              <a:bodyPr rtlCol="0" anchor="ctr"/>
              <a:lstStyle/>
              <a:p>
                <a:endParaRPr lang="en-GB"/>
              </a:p>
            </p:txBody>
          </p:sp>
          <p:sp>
            <p:nvSpPr>
              <p:cNvPr id="4355" name="Vrije vorm: vorm 4354">
                <a:extLst>
                  <a:ext uri="{FF2B5EF4-FFF2-40B4-BE49-F238E27FC236}">
                    <a16:creationId xmlns:a16="http://schemas.microsoft.com/office/drawing/2014/main" id="{78FF93A4-D23C-4FBB-B5AA-F82065FB21E9}"/>
                  </a:ext>
                </a:extLst>
              </p:cNvPr>
              <p:cNvSpPr/>
              <p:nvPr/>
            </p:nvSpPr>
            <p:spPr>
              <a:xfrm>
                <a:off x="8023798" y="4425278"/>
                <a:ext cx="18382" cy="18456"/>
              </a:xfrm>
              <a:custGeom>
                <a:avLst/>
                <a:gdLst>
                  <a:gd name="connsiteX0" fmla="*/ 4563 w 18382"/>
                  <a:gd name="connsiteY0" fmla="*/ 17183 h 18456"/>
                  <a:gd name="connsiteX1" fmla="*/ 17123 w 18382"/>
                  <a:gd name="connsiteY1" fmla="*/ 13893 h 18456"/>
                  <a:gd name="connsiteX2" fmla="*/ 13833 w 18382"/>
                  <a:gd name="connsiteY2" fmla="*/ 1274 h 18456"/>
                  <a:gd name="connsiteX3" fmla="*/ 1274 w 18382"/>
                  <a:gd name="connsiteY3" fmla="*/ 4563 h 18456"/>
                  <a:gd name="connsiteX4" fmla="*/ 4563 w 18382"/>
                  <a:gd name="connsiteY4" fmla="*/ 17183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2" h="18456">
                    <a:moveTo>
                      <a:pt x="4563" y="17183"/>
                    </a:moveTo>
                    <a:cubicBezTo>
                      <a:pt x="8929" y="19754"/>
                      <a:pt x="14551" y="18319"/>
                      <a:pt x="17123" y="13893"/>
                    </a:cubicBezTo>
                    <a:cubicBezTo>
                      <a:pt x="19694" y="9467"/>
                      <a:pt x="18199" y="3845"/>
                      <a:pt x="13833" y="1274"/>
                    </a:cubicBezTo>
                    <a:cubicBezTo>
                      <a:pt x="9467" y="-1298"/>
                      <a:pt x="3846" y="137"/>
                      <a:pt x="1274" y="4563"/>
                    </a:cubicBezTo>
                    <a:cubicBezTo>
                      <a:pt x="-1298" y="8989"/>
                      <a:pt x="138" y="14611"/>
                      <a:pt x="4563" y="17183"/>
                    </a:cubicBezTo>
                    <a:close/>
                  </a:path>
                </a:pathLst>
              </a:custGeom>
              <a:grpFill/>
              <a:ln w="5978" cap="flat">
                <a:noFill/>
                <a:prstDash val="solid"/>
                <a:miter/>
              </a:ln>
            </p:spPr>
            <p:txBody>
              <a:bodyPr rtlCol="0" anchor="ctr"/>
              <a:lstStyle/>
              <a:p>
                <a:endParaRPr lang="en-GB"/>
              </a:p>
            </p:txBody>
          </p:sp>
        </p:grpSp>
        <p:grpSp>
          <p:nvGrpSpPr>
            <p:cNvPr id="343" name="Graphic 3">
              <a:extLst>
                <a:ext uri="{FF2B5EF4-FFF2-40B4-BE49-F238E27FC236}">
                  <a16:creationId xmlns:a16="http://schemas.microsoft.com/office/drawing/2014/main" id="{1A2D9D6D-E030-472C-9BCA-36FF4E9B7399}"/>
                </a:ext>
              </a:extLst>
            </p:cNvPr>
            <p:cNvGrpSpPr/>
            <p:nvPr/>
          </p:nvGrpSpPr>
          <p:grpSpPr>
            <a:xfrm>
              <a:off x="7707738" y="4186272"/>
              <a:ext cx="161414" cy="85472"/>
              <a:chOff x="7707738" y="4186272"/>
              <a:chExt cx="161414" cy="85472"/>
            </a:xfrm>
            <a:grpFill/>
          </p:grpSpPr>
          <p:sp>
            <p:nvSpPr>
              <p:cNvPr id="4350" name="Vrije vorm: vorm 4349">
                <a:extLst>
                  <a:ext uri="{FF2B5EF4-FFF2-40B4-BE49-F238E27FC236}">
                    <a16:creationId xmlns:a16="http://schemas.microsoft.com/office/drawing/2014/main" id="{A379AACB-24B5-4C7B-8095-FBD1C74234FA}"/>
                  </a:ext>
                </a:extLst>
              </p:cNvPr>
              <p:cNvSpPr/>
              <p:nvPr/>
            </p:nvSpPr>
            <p:spPr>
              <a:xfrm>
                <a:off x="7715809" y="4193902"/>
                <a:ext cx="145271" cy="70213"/>
              </a:xfrm>
              <a:custGeom>
                <a:avLst/>
                <a:gdLst>
                  <a:gd name="connsiteX0" fmla="*/ 145271 w 145271"/>
                  <a:gd name="connsiteY0" fmla="*/ 67462 h 70213"/>
                  <a:gd name="connsiteX1" fmla="*/ 144016 w 145271"/>
                  <a:gd name="connsiteY1" fmla="*/ 70214 h 70213"/>
                  <a:gd name="connsiteX2" fmla="*/ 0 w 145271"/>
                  <a:gd name="connsiteY2" fmla="*/ 2751 h 70213"/>
                  <a:gd name="connsiteX3" fmla="*/ 1256 w 145271"/>
                  <a:gd name="connsiteY3" fmla="*/ 0 h 70213"/>
                </a:gdLst>
                <a:ahLst/>
                <a:cxnLst>
                  <a:cxn ang="0">
                    <a:pos x="connsiteX0" y="connsiteY0"/>
                  </a:cxn>
                  <a:cxn ang="0">
                    <a:pos x="connsiteX1" y="connsiteY1"/>
                  </a:cxn>
                  <a:cxn ang="0">
                    <a:pos x="connsiteX2" y="connsiteY2"/>
                  </a:cxn>
                  <a:cxn ang="0">
                    <a:pos x="connsiteX3" y="connsiteY3"/>
                  </a:cxn>
                </a:cxnLst>
                <a:rect l="l" t="t" r="r" b="b"/>
                <a:pathLst>
                  <a:path w="145271" h="70213">
                    <a:moveTo>
                      <a:pt x="145271" y="67462"/>
                    </a:moveTo>
                    <a:lnTo>
                      <a:pt x="144016" y="70214"/>
                    </a:lnTo>
                    <a:lnTo>
                      <a:pt x="0" y="2751"/>
                    </a:lnTo>
                    <a:lnTo>
                      <a:pt x="1256" y="0"/>
                    </a:lnTo>
                    <a:close/>
                  </a:path>
                </a:pathLst>
              </a:custGeom>
              <a:grpFill/>
              <a:ln w="5978" cap="flat">
                <a:noFill/>
                <a:prstDash val="solid"/>
                <a:miter/>
              </a:ln>
            </p:spPr>
            <p:txBody>
              <a:bodyPr rtlCol="0" anchor="ctr"/>
              <a:lstStyle/>
              <a:p>
                <a:endParaRPr lang="en-GB"/>
              </a:p>
            </p:txBody>
          </p:sp>
          <p:sp>
            <p:nvSpPr>
              <p:cNvPr id="4351" name="Vrije vorm: vorm 4350">
                <a:extLst>
                  <a:ext uri="{FF2B5EF4-FFF2-40B4-BE49-F238E27FC236}">
                    <a16:creationId xmlns:a16="http://schemas.microsoft.com/office/drawing/2014/main" id="{67385587-CD2B-4334-ACAF-B65D147BAF5F}"/>
                  </a:ext>
                </a:extLst>
              </p:cNvPr>
              <p:cNvSpPr/>
              <p:nvPr/>
            </p:nvSpPr>
            <p:spPr>
              <a:xfrm>
                <a:off x="7850856" y="4253326"/>
                <a:ext cx="18295" cy="18418"/>
              </a:xfrm>
              <a:custGeom>
                <a:avLst/>
                <a:gdLst>
                  <a:gd name="connsiteX0" fmla="*/ 12975 w 18295"/>
                  <a:gd name="connsiteY0" fmla="*/ 861 h 18418"/>
                  <a:gd name="connsiteX1" fmla="*/ 17461 w 18295"/>
                  <a:gd name="connsiteY1" fmla="*/ 13122 h 18418"/>
                  <a:gd name="connsiteX2" fmla="*/ 5320 w 18295"/>
                  <a:gd name="connsiteY2" fmla="*/ 17548 h 18418"/>
                  <a:gd name="connsiteX3" fmla="*/ 834 w 18295"/>
                  <a:gd name="connsiteY3" fmla="*/ 5287 h 18418"/>
                  <a:gd name="connsiteX4" fmla="*/ 12975 w 18295"/>
                  <a:gd name="connsiteY4" fmla="*/ 86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18">
                    <a:moveTo>
                      <a:pt x="12975" y="861"/>
                    </a:moveTo>
                    <a:cubicBezTo>
                      <a:pt x="17581" y="3015"/>
                      <a:pt x="19554" y="8517"/>
                      <a:pt x="17461" y="13122"/>
                    </a:cubicBezTo>
                    <a:cubicBezTo>
                      <a:pt x="15368" y="17727"/>
                      <a:pt x="9865" y="19701"/>
                      <a:pt x="5320" y="17548"/>
                    </a:cubicBezTo>
                    <a:cubicBezTo>
                      <a:pt x="715" y="15394"/>
                      <a:pt x="-1259" y="9892"/>
                      <a:pt x="834" y="5287"/>
                    </a:cubicBezTo>
                    <a:cubicBezTo>
                      <a:pt x="2987" y="742"/>
                      <a:pt x="8430" y="-1292"/>
                      <a:pt x="12975" y="861"/>
                    </a:cubicBezTo>
                    <a:close/>
                  </a:path>
                </a:pathLst>
              </a:custGeom>
              <a:grpFill/>
              <a:ln w="5978" cap="flat">
                <a:noFill/>
                <a:prstDash val="solid"/>
                <a:miter/>
              </a:ln>
            </p:spPr>
            <p:txBody>
              <a:bodyPr rtlCol="0" anchor="ctr"/>
              <a:lstStyle/>
              <a:p>
                <a:endParaRPr lang="en-GB"/>
              </a:p>
            </p:txBody>
          </p:sp>
          <p:sp>
            <p:nvSpPr>
              <p:cNvPr id="4352" name="Vrije vorm: vorm 4351">
                <a:extLst>
                  <a:ext uri="{FF2B5EF4-FFF2-40B4-BE49-F238E27FC236}">
                    <a16:creationId xmlns:a16="http://schemas.microsoft.com/office/drawing/2014/main" id="{4A7AFF63-CBFB-4C62-8B2B-683D8A29DA7C}"/>
                  </a:ext>
                </a:extLst>
              </p:cNvPr>
              <p:cNvSpPr/>
              <p:nvPr/>
            </p:nvSpPr>
            <p:spPr>
              <a:xfrm>
                <a:off x="7707738" y="4186272"/>
                <a:ext cx="18285" cy="18428"/>
              </a:xfrm>
              <a:custGeom>
                <a:avLst/>
                <a:gdLst>
                  <a:gd name="connsiteX0" fmla="*/ 12975 w 18285"/>
                  <a:gd name="connsiteY0" fmla="*/ 871 h 18428"/>
                  <a:gd name="connsiteX1" fmla="*/ 834 w 18285"/>
                  <a:gd name="connsiteY1" fmla="*/ 5297 h 18428"/>
                  <a:gd name="connsiteX2" fmla="*/ 5320 w 18285"/>
                  <a:gd name="connsiteY2" fmla="*/ 17557 h 18428"/>
                  <a:gd name="connsiteX3" fmla="*/ 17461 w 18285"/>
                  <a:gd name="connsiteY3" fmla="*/ 13132 h 18428"/>
                  <a:gd name="connsiteX4" fmla="*/ 12975 w 18285"/>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8">
                    <a:moveTo>
                      <a:pt x="12975" y="871"/>
                    </a:moveTo>
                    <a:cubicBezTo>
                      <a:pt x="8370" y="-1282"/>
                      <a:pt x="2928" y="692"/>
                      <a:pt x="834" y="5297"/>
                    </a:cubicBezTo>
                    <a:cubicBezTo>
                      <a:pt x="-1259" y="9902"/>
                      <a:pt x="715" y="15404"/>
                      <a:pt x="5320" y="17557"/>
                    </a:cubicBezTo>
                    <a:cubicBezTo>
                      <a:pt x="9925" y="19710"/>
                      <a:pt x="15368" y="17737"/>
                      <a:pt x="17461" y="13132"/>
                    </a:cubicBezTo>
                    <a:cubicBezTo>
                      <a:pt x="19554" y="8526"/>
                      <a:pt x="17521" y="3024"/>
                      <a:pt x="12975" y="871"/>
                    </a:cubicBezTo>
                    <a:close/>
                  </a:path>
                </a:pathLst>
              </a:custGeom>
              <a:grpFill/>
              <a:ln w="5978" cap="flat">
                <a:noFill/>
                <a:prstDash val="solid"/>
                <a:miter/>
              </a:ln>
            </p:spPr>
            <p:txBody>
              <a:bodyPr rtlCol="0" anchor="ctr"/>
              <a:lstStyle/>
              <a:p>
                <a:endParaRPr lang="en-GB"/>
              </a:p>
            </p:txBody>
          </p:sp>
        </p:grpSp>
        <p:grpSp>
          <p:nvGrpSpPr>
            <p:cNvPr id="344" name="Graphic 3">
              <a:extLst>
                <a:ext uri="{FF2B5EF4-FFF2-40B4-BE49-F238E27FC236}">
                  <a16:creationId xmlns:a16="http://schemas.microsoft.com/office/drawing/2014/main" id="{F55591EF-956C-4CCD-8735-8B19F52B57C3}"/>
                </a:ext>
              </a:extLst>
            </p:cNvPr>
            <p:cNvGrpSpPr/>
            <p:nvPr/>
          </p:nvGrpSpPr>
          <p:grpSpPr>
            <a:xfrm>
              <a:off x="7967502" y="4962246"/>
              <a:ext cx="143846" cy="119936"/>
              <a:chOff x="7967502" y="4962246"/>
              <a:chExt cx="143846" cy="119936"/>
            </a:xfrm>
            <a:grpFill/>
          </p:grpSpPr>
          <p:sp>
            <p:nvSpPr>
              <p:cNvPr id="4347" name="Vrije vorm: vorm 4346">
                <a:extLst>
                  <a:ext uri="{FF2B5EF4-FFF2-40B4-BE49-F238E27FC236}">
                    <a16:creationId xmlns:a16="http://schemas.microsoft.com/office/drawing/2014/main" id="{006A9B3B-E7EC-4B1A-A91C-2A6733D02F7A}"/>
                  </a:ext>
                </a:extLst>
              </p:cNvPr>
              <p:cNvSpPr/>
              <p:nvPr/>
            </p:nvSpPr>
            <p:spPr>
              <a:xfrm>
                <a:off x="7975313" y="4969960"/>
                <a:ext cx="128166" cy="104483"/>
              </a:xfrm>
              <a:custGeom>
                <a:avLst/>
                <a:gdLst>
                  <a:gd name="connsiteX0" fmla="*/ 128166 w 128166"/>
                  <a:gd name="connsiteY0" fmla="*/ 102091 h 104483"/>
                  <a:gd name="connsiteX1" fmla="*/ 126253 w 128166"/>
                  <a:gd name="connsiteY1" fmla="*/ 104483 h 104483"/>
                  <a:gd name="connsiteX2" fmla="*/ 0 w 128166"/>
                  <a:gd name="connsiteY2" fmla="*/ 2392 h 104483"/>
                  <a:gd name="connsiteX3" fmla="*/ 1914 w 128166"/>
                  <a:gd name="connsiteY3" fmla="*/ 0 h 104483"/>
                </a:gdLst>
                <a:ahLst/>
                <a:cxnLst>
                  <a:cxn ang="0">
                    <a:pos x="connsiteX0" y="connsiteY0"/>
                  </a:cxn>
                  <a:cxn ang="0">
                    <a:pos x="connsiteX1" y="connsiteY1"/>
                  </a:cxn>
                  <a:cxn ang="0">
                    <a:pos x="connsiteX2" y="connsiteY2"/>
                  </a:cxn>
                  <a:cxn ang="0">
                    <a:pos x="connsiteX3" y="connsiteY3"/>
                  </a:cxn>
                </a:cxnLst>
                <a:rect l="l" t="t" r="r" b="b"/>
                <a:pathLst>
                  <a:path w="128166" h="104483">
                    <a:moveTo>
                      <a:pt x="128166" y="102091"/>
                    </a:moveTo>
                    <a:lnTo>
                      <a:pt x="126253" y="104483"/>
                    </a:lnTo>
                    <a:lnTo>
                      <a:pt x="0" y="2392"/>
                    </a:lnTo>
                    <a:lnTo>
                      <a:pt x="1914" y="0"/>
                    </a:lnTo>
                    <a:close/>
                  </a:path>
                </a:pathLst>
              </a:custGeom>
              <a:grpFill/>
              <a:ln w="5978" cap="flat">
                <a:noFill/>
                <a:prstDash val="solid"/>
                <a:miter/>
              </a:ln>
            </p:spPr>
            <p:txBody>
              <a:bodyPr rtlCol="0" anchor="ctr"/>
              <a:lstStyle/>
              <a:p>
                <a:endParaRPr lang="en-GB"/>
              </a:p>
            </p:txBody>
          </p:sp>
          <p:sp>
            <p:nvSpPr>
              <p:cNvPr id="4348" name="Vrije vorm: vorm 4347">
                <a:extLst>
                  <a:ext uri="{FF2B5EF4-FFF2-40B4-BE49-F238E27FC236}">
                    <a16:creationId xmlns:a16="http://schemas.microsoft.com/office/drawing/2014/main" id="{395D9068-0DDA-425D-8D57-A8799C30F6F1}"/>
                  </a:ext>
                </a:extLst>
              </p:cNvPr>
              <p:cNvSpPr/>
              <p:nvPr/>
            </p:nvSpPr>
            <p:spPr>
              <a:xfrm>
                <a:off x="8093038" y="5063739"/>
                <a:ext cx="18311" cy="18443"/>
              </a:xfrm>
              <a:custGeom>
                <a:avLst/>
                <a:gdLst>
                  <a:gd name="connsiteX0" fmla="*/ 14867 w 18311"/>
                  <a:gd name="connsiteY0" fmla="*/ 2032 h 18443"/>
                  <a:gd name="connsiteX1" fmla="*/ 16302 w 18311"/>
                  <a:gd name="connsiteY1" fmla="*/ 15010 h 18443"/>
                  <a:gd name="connsiteX2" fmla="*/ 3444 w 18311"/>
                  <a:gd name="connsiteY2" fmla="*/ 16386 h 18443"/>
                  <a:gd name="connsiteX3" fmla="*/ 2008 w 18311"/>
                  <a:gd name="connsiteY3" fmla="*/ 3408 h 18443"/>
                  <a:gd name="connsiteX4" fmla="*/ 14867 w 18311"/>
                  <a:gd name="connsiteY4" fmla="*/ 20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43">
                    <a:moveTo>
                      <a:pt x="14867" y="2032"/>
                    </a:moveTo>
                    <a:cubicBezTo>
                      <a:pt x="18814" y="5202"/>
                      <a:pt x="19472" y="11003"/>
                      <a:pt x="16302" y="15010"/>
                    </a:cubicBezTo>
                    <a:cubicBezTo>
                      <a:pt x="13133" y="18958"/>
                      <a:pt x="7391" y="19616"/>
                      <a:pt x="3444" y="16386"/>
                    </a:cubicBezTo>
                    <a:cubicBezTo>
                      <a:pt x="-503" y="13216"/>
                      <a:pt x="-1161" y="7415"/>
                      <a:pt x="2008" y="3408"/>
                    </a:cubicBezTo>
                    <a:cubicBezTo>
                      <a:pt x="5118" y="-539"/>
                      <a:pt x="10920" y="-1137"/>
                      <a:pt x="14867" y="2032"/>
                    </a:cubicBezTo>
                    <a:close/>
                  </a:path>
                </a:pathLst>
              </a:custGeom>
              <a:grpFill/>
              <a:ln w="5978" cap="flat">
                <a:noFill/>
                <a:prstDash val="solid"/>
                <a:miter/>
              </a:ln>
            </p:spPr>
            <p:txBody>
              <a:bodyPr rtlCol="0" anchor="ctr"/>
              <a:lstStyle/>
              <a:p>
                <a:endParaRPr lang="en-GB"/>
              </a:p>
            </p:txBody>
          </p:sp>
          <p:sp>
            <p:nvSpPr>
              <p:cNvPr id="4349" name="Vrije vorm: vorm 4348">
                <a:extLst>
                  <a:ext uri="{FF2B5EF4-FFF2-40B4-BE49-F238E27FC236}">
                    <a16:creationId xmlns:a16="http://schemas.microsoft.com/office/drawing/2014/main" id="{4543D1CD-2331-4B4A-9A29-9E90774EE7F4}"/>
                  </a:ext>
                </a:extLst>
              </p:cNvPr>
              <p:cNvSpPr/>
              <p:nvPr/>
            </p:nvSpPr>
            <p:spPr>
              <a:xfrm>
                <a:off x="7967502" y="4962246"/>
                <a:ext cx="18311" cy="18418"/>
              </a:xfrm>
              <a:custGeom>
                <a:avLst/>
                <a:gdLst>
                  <a:gd name="connsiteX0" fmla="*/ 14867 w 18311"/>
                  <a:gd name="connsiteY0" fmla="*/ 2032 h 18418"/>
                  <a:gd name="connsiteX1" fmla="*/ 2008 w 18311"/>
                  <a:gd name="connsiteY1" fmla="*/ 3408 h 18418"/>
                  <a:gd name="connsiteX2" fmla="*/ 3444 w 18311"/>
                  <a:gd name="connsiteY2" fmla="*/ 16386 h 18418"/>
                  <a:gd name="connsiteX3" fmla="*/ 16302 w 18311"/>
                  <a:gd name="connsiteY3" fmla="*/ 15011 h 18418"/>
                  <a:gd name="connsiteX4" fmla="*/ 14867 w 18311"/>
                  <a:gd name="connsiteY4" fmla="*/ 203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4867" y="2032"/>
                    </a:moveTo>
                    <a:cubicBezTo>
                      <a:pt x="10920" y="-1137"/>
                      <a:pt x="5178" y="-540"/>
                      <a:pt x="2008" y="3408"/>
                    </a:cubicBezTo>
                    <a:cubicBezTo>
                      <a:pt x="-1161" y="7355"/>
                      <a:pt x="-503" y="13157"/>
                      <a:pt x="3444" y="16386"/>
                    </a:cubicBezTo>
                    <a:cubicBezTo>
                      <a:pt x="7391" y="19556"/>
                      <a:pt x="13132" y="18958"/>
                      <a:pt x="16302" y="15011"/>
                    </a:cubicBezTo>
                    <a:cubicBezTo>
                      <a:pt x="19472" y="11004"/>
                      <a:pt x="18815" y="5202"/>
                      <a:pt x="14867" y="2032"/>
                    </a:cubicBezTo>
                    <a:close/>
                  </a:path>
                </a:pathLst>
              </a:custGeom>
              <a:grpFill/>
              <a:ln w="5978" cap="flat">
                <a:noFill/>
                <a:prstDash val="solid"/>
                <a:miter/>
              </a:ln>
            </p:spPr>
            <p:txBody>
              <a:bodyPr rtlCol="0" anchor="ctr"/>
              <a:lstStyle/>
              <a:p>
                <a:endParaRPr lang="en-GB"/>
              </a:p>
            </p:txBody>
          </p:sp>
        </p:grpSp>
        <p:grpSp>
          <p:nvGrpSpPr>
            <p:cNvPr id="345" name="Graphic 3">
              <a:extLst>
                <a:ext uri="{FF2B5EF4-FFF2-40B4-BE49-F238E27FC236}">
                  <a16:creationId xmlns:a16="http://schemas.microsoft.com/office/drawing/2014/main" id="{57872368-81AF-4D1F-A288-19D99B2D7F2F}"/>
                </a:ext>
              </a:extLst>
            </p:cNvPr>
            <p:cNvGrpSpPr/>
            <p:nvPr/>
          </p:nvGrpSpPr>
          <p:grpSpPr>
            <a:xfrm>
              <a:off x="6949682" y="1861858"/>
              <a:ext cx="98479" cy="144440"/>
              <a:chOff x="6949682" y="1861858"/>
              <a:chExt cx="98479" cy="144440"/>
            </a:xfrm>
            <a:grpFill/>
          </p:grpSpPr>
          <p:sp>
            <p:nvSpPr>
              <p:cNvPr id="4344" name="Vrije vorm: vorm 4343">
                <a:extLst>
                  <a:ext uri="{FF2B5EF4-FFF2-40B4-BE49-F238E27FC236}">
                    <a16:creationId xmlns:a16="http://schemas.microsoft.com/office/drawing/2014/main" id="{0A54B4CA-8767-4D5D-8A69-EDF52D5FB0C9}"/>
                  </a:ext>
                </a:extLst>
              </p:cNvPr>
              <p:cNvSpPr/>
              <p:nvPr/>
            </p:nvSpPr>
            <p:spPr>
              <a:xfrm>
                <a:off x="6957273" y="1869853"/>
                <a:ext cx="83251" cy="128406"/>
              </a:xfrm>
              <a:custGeom>
                <a:avLst/>
                <a:gdLst>
                  <a:gd name="connsiteX0" fmla="*/ 83252 w 83251"/>
                  <a:gd name="connsiteY0" fmla="*/ 1675 h 128406"/>
                  <a:gd name="connsiteX1" fmla="*/ 2572 w 83251"/>
                  <a:gd name="connsiteY1" fmla="*/ 128406 h 128406"/>
                  <a:gd name="connsiteX2" fmla="*/ 0 w 83251"/>
                  <a:gd name="connsiteY2" fmla="*/ 126732 h 128406"/>
                  <a:gd name="connsiteX3" fmla="*/ 80680 w 83251"/>
                  <a:gd name="connsiteY3" fmla="*/ 0 h 128406"/>
                </a:gdLst>
                <a:ahLst/>
                <a:cxnLst>
                  <a:cxn ang="0">
                    <a:pos x="connsiteX0" y="connsiteY0"/>
                  </a:cxn>
                  <a:cxn ang="0">
                    <a:pos x="connsiteX1" y="connsiteY1"/>
                  </a:cxn>
                  <a:cxn ang="0">
                    <a:pos x="connsiteX2" y="connsiteY2"/>
                  </a:cxn>
                  <a:cxn ang="0">
                    <a:pos x="connsiteX3" y="connsiteY3"/>
                  </a:cxn>
                </a:cxnLst>
                <a:rect l="l" t="t" r="r" b="b"/>
                <a:pathLst>
                  <a:path w="83251" h="128406">
                    <a:moveTo>
                      <a:pt x="83252" y="1675"/>
                    </a:moveTo>
                    <a:lnTo>
                      <a:pt x="2572" y="128406"/>
                    </a:lnTo>
                    <a:lnTo>
                      <a:pt x="0" y="126732"/>
                    </a:lnTo>
                    <a:lnTo>
                      <a:pt x="80680" y="0"/>
                    </a:lnTo>
                    <a:close/>
                  </a:path>
                </a:pathLst>
              </a:custGeom>
              <a:grpFill/>
              <a:ln w="5978" cap="flat">
                <a:noFill/>
                <a:prstDash val="solid"/>
                <a:miter/>
              </a:ln>
            </p:spPr>
            <p:txBody>
              <a:bodyPr rtlCol="0" anchor="ctr"/>
              <a:lstStyle/>
              <a:p>
                <a:endParaRPr lang="en-GB"/>
              </a:p>
            </p:txBody>
          </p:sp>
          <p:sp>
            <p:nvSpPr>
              <p:cNvPr id="4345" name="Vrije vorm: vorm 4344">
                <a:extLst>
                  <a:ext uri="{FF2B5EF4-FFF2-40B4-BE49-F238E27FC236}">
                    <a16:creationId xmlns:a16="http://schemas.microsoft.com/office/drawing/2014/main" id="{58A6F36C-910E-425F-9B7C-3B9BA7911BF6}"/>
                  </a:ext>
                </a:extLst>
              </p:cNvPr>
              <p:cNvSpPr/>
              <p:nvPr/>
            </p:nvSpPr>
            <p:spPr>
              <a:xfrm>
                <a:off x="7029797" y="1861858"/>
                <a:ext cx="18364" cy="18441"/>
              </a:xfrm>
              <a:custGeom>
                <a:avLst/>
                <a:gdLst>
                  <a:gd name="connsiteX0" fmla="*/ 1458 w 18364"/>
                  <a:gd name="connsiteY0" fmla="*/ 4227 h 18441"/>
                  <a:gd name="connsiteX1" fmla="*/ 14137 w 18364"/>
                  <a:gd name="connsiteY1" fmla="*/ 1476 h 18441"/>
                  <a:gd name="connsiteX2" fmla="*/ 16948 w 18364"/>
                  <a:gd name="connsiteY2" fmla="*/ 14215 h 18441"/>
                  <a:gd name="connsiteX3" fmla="*/ 4269 w 18364"/>
                  <a:gd name="connsiteY3" fmla="*/ 16966 h 18441"/>
                  <a:gd name="connsiteX4" fmla="*/ 1458 w 18364"/>
                  <a:gd name="connsiteY4" fmla="*/ 4227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41">
                    <a:moveTo>
                      <a:pt x="1458" y="4227"/>
                    </a:moveTo>
                    <a:cubicBezTo>
                      <a:pt x="4209" y="-79"/>
                      <a:pt x="9831" y="-1275"/>
                      <a:pt x="14137" y="1476"/>
                    </a:cubicBezTo>
                    <a:cubicBezTo>
                      <a:pt x="18384" y="4227"/>
                      <a:pt x="19639" y="9909"/>
                      <a:pt x="16948" y="14215"/>
                    </a:cubicBezTo>
                    <a:cubicBezTo>
                      <a:pt x="14197" y="18521"/>
                      <a:pt x="8575" y="19717"/>
                      <a:pt x="4269" y="16966"/>
                    </a:cubicBezTo>
                    <a:cubicBezTo>
                      <a:pt x="-37" y="14215"/>
                      <a:pt x="-1293" y="8533"/>
                      <a:pt x="1458" y="4227"/>
                    </a:cubicBezTo>
                    <a:close/>
                  </a:path>
                </a:pathLst>
              </a:custGeom>
              <a:grpFill/>
              <a:ln w="5978" cap="flat">
                <a:noFill/>
                <a:prstDash val="solid"/>
                <a:miter/>
              </a:ln>
            </p:spPr>
            <p:txBody>
              <a:bodyPr rtlCol="0" anchor="ctr"/>
              <a:lstStyle/>
              <a:p>
                <a:endParaRPr lang="en-GB"/>
              </a:p>
            </p:txBody>
          </p:sp>
          <p:sp>
            <p:nvSpPr>
              <p:cNvPr id="4346" name="Vrije vorm: vorm 4345">
                <a:extLst>
                  <a:ext uri="{FF2B5EF4-FFF2-40B4-BE49-F238E27FC236}">
                    <a16:creationId xmlns:a16="http://schemas.microsoft.com/office/drawing/2014/main" id="{4F93182E-05F2-4FA7-AD47-78FF25CA130A}"/>
                  </a:ext>
                </a:extLst>
              </p:cNvPr>
              <p:cNvSpPr/>
              <p:nvPr/>
            </p:nvSpPr>
            <p:spPr>
              <a:xfrm>
                <a:off x="6949682" y="1987846"/>
                <a:ext cx="18379" cy="18452"/>
              </a:xfrm>
              <a:custGeom>
                <a:avLst/>
                <a:gdLst>
                  <a:gd name="connsiteX0" fmla="*/ 1432 w 18379"/>
                  <a:gd name="connsiteY0" fmla="*/ 4253 h 18452"/>
                  <a:gd name="connsiteX1" fmla="*/ 4242 w 18379"/>
                  <a:gd name="connsiteY1" fmla="*/ 16992 h 18452"/>
                  <a:gd name="connsiteX2" fmla="*/ 16922 w 18379"/>
                  <a:gd name="connsiteY2" fmla="*/ 14241 h 18452"/>
                  <a:gd name="connsiteX3" fmla="*/ 14111 w 18379"/>
                  <a:gd name="connsiteY3" fmla="*/ 1502 h 18452"/>
                  <a:gd name="connsiteX4" fmla="*/ 1432 w 18379"/>
                  <a:gd name="connsiteY4" fmla="*/ 4253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52">
                    <a:moveTo>
                      <a:pt x="1432" y="4253"/>
                    </a:moveTo>
                    <a:cubicBezTo>
                      <a:pt x="-1260" y="8559"/>
                      <a:pt x="-64" y="14241"/>
                      <a:pt x="4242" y="16992"/>
                    </a:cubicBezTo>
                    <a:cubicBezTo>
                      <a:pt x="8489" y="19743"/>
                      <a:pt x="14171" y="18487"/>
                      <a:pt x="16922" y="14241"/>
                    </a:cubicBezTo>
                    <a:cubicBezTo>
                      <a:pt x="19672" y="9935"/>
                      <a:pt x="18417" y="4253"/>
                      <a:pt x="14111" y="1502"/>
                    </a:cubicBezTo>
                    <a:cubicBezTo>
                      <a:pt x="9804" y="-1309"/>
                      <a:pt x="4123" y="-53"/>
                      <a:pt x="1432" y="4253"/>
                    </a:cubicBezTo>
                    <a:close/>
                  </a:path>
                </a:pathLst>
              </a:custGeom>
              <a:grpFill/>
              <a:ln w="5978" cap="flat">
                <a:noFill/>
                <a:prstDash val="solid"/>
                <a:miter/>
              </a:ln>
            </p:spPr>
            <p:txBody>
              <a:bodyPr rtlCol="0" anchor="ctr"/>
              <a:lstStyle/>
              <a:p>
                <a:endParaRPr lang="en-GB"/>
              </a:p>
            </p:txBody>
          </p:sp>
        </p:grpSp>
        <p:grpSp>
          <p:nvGrpSpPr>
            <p:cNvPr id="346" name="Graphic 3">
              <a:extLst>
                <a:ext uri="{FF2B5EF4-FFF2-40B4-BE49-F238E27FC236}">
                  <a16:creationId xmlns:a16="http://schemas.microsoft.com/office/drawing/2014/main" id="{EDE95BB2-C201-406C-B4EE-737790A9B427}"/>
                </a:ext>
              </a:extLst>
            </p:cNvPr>
            <p:cNvGrpSpPr/>
            <p:nvPr/>
          </p:nvGrpSpPr>
          <p:grpSpPr>
            <a:xfrm>
              <a:off x="6826586" y="1478848"/>
              <a:ext cx="93428" cy="187755"/>
              <a:chOff x="6826586" y="1478848"/>
              <a:chExt cx="93428" cy="187755"/>
            </a:xfrm>
            <a:grpFill/>
          </p:grpSpPr>
          <p:sp>
            <p:nvSpPr>
              <p:cNvPr id="4341" name="Vrije vorm: vorm 4340">
                <a:extLst>
                  <a:ext uri="{FF2B5EF4-FFF2-40B4-BE49-F238E27FC236}">
                    <a16:creationId xmlns:a16="http://schemas.microsoft.com/office/drawing/2014/main" id="{AAF07C88-C1F8-47DF-99F3-5385B4145455}"/>
                  </a:ext>
                </a:extLst>
              </p:cNvPr>
              <p:cNvSpPr/>
              <p:nvPr/>
            </p:nvSpPr>
            <p:spPr>
              <a:xfrm>
                <a:off x="6834190" y="1487027"/>
                <a:ext cx="78227" cy="171407"/>
              </a:xfrm>
              <a:custGeom>
                <a:avLst/>
                <a:gdLst>
                  <a:gd name="connsiteX0" fmla="*/ 78228 w 78227"/>
                  <a:gd name="connsiteY0" fmla="*/ 1256 h 171407"/>
                  <a:gd name="connsiteX1" fmla="*/ 2751 w 78227"/>
                  <a:gd name="connsiteY1" fmla="*/ 171407 h 171407"/>
                  <a:gd name="connsiteX2" fmla="*/ 0 w 78227"/>
                  <a:gd name="connsiteY2" fmla="*/ 170092 h 171407"/>
                  <a:gd name="connsiteX3" fmla="*/ 75477 w 78227"/>
                  <a:gd name="connsiteY3" fmla="*/ 0 h 171407"/>
                </a:gdLst>
                <a:ahLst/>
                <a:cxnLst>
                  <a:cxn ang="0">
                    <a:pos x="connsiteX0" y="connsiteY0"/>
                  </a:cxn>
                  <a:cxn ang="0">
                    <a:pos x="connsiteX1" y="connsiteY1"/>
                  </a:cxn>
                  <a:cxn ang="0">
                    <a:pos x="connsiteX2" y="connsiteY2"/>
                  </a:cxn>
                  <a:cxn ang="0">
                    <a:pos x="connsiteX3" y="connsiteY3"/>
                  </a:cxn>
                </a:cxnLst>
                <a:rect l="l" t="t" r="r" b="b"/>
                <a:pathLst>
                  <a:path w="78227" h="171407">
                    <a:moveTo>
                      <a:pt x="78228" y="1256"/>
                    </a:moveTo>
                    <a:lnTo>
                      <a:pt x="2751" y="171407"/>
                    </a:lnTo>
                    <a:lnTo>
                      <a:pt x="0" y="170092"/>
                    </a:lnTo>
                    <a:lnTo>
                      <a:pt x="75477" y="0"/>
                    </a:lnTo>
                    <a:close/>
                  </a:path>
                </a:pathLst>
              </a:custGeom>
              <a:grpFill/>
              <a:ln w="5978" cap="flat">
                <a:noFill/>
                <a:prstDash val="solid"/>
                <a:miter/>
              </a:ln>
            </p:spPr>
            <p:txBody>
              <a:bodyPr rtlCol="0" anchor="ctr"/>
              <a:lstStyle/>
              <a:p>
                <a:endParaRPr lang="en-GB"/>
              </a:p>
            </p:txBody>
          </p:sp>
          <p:sp>
            <p:nvSpPr>
              <p:cNvPr id="4342" name="Vrije vorm: vorm 4341">
                <a:extLst>
                  <a:ext uri="{FF2B5EF4-FFF2-40B4-BE49-F238E27FC236}">
                    <a16:creationId xmlns:a16="http://schemas.microsoft.com/office/drawing/2014/main" id="{B948F380-CB65-40F8-97F3-766291E482C9}"/>
                  </a:ext>
                </a:extLst>
              </p:cNvPr>
              <p:cNvSpPr/>
              <p:nvPr/>
            </p:nvSpPr>
            <p:spPr>
              <a:xfrm>
                <a:off x="6901704" y="1478848"/>
                <a:ext cx="18310" cy="18451"/>
              </a:xfrm>
              <a:custGeom>
                <a:avLst/>
                <a:gdLst>
                  <a:gd name="connsiteX0" fmla="*/ 787 w 18310"/>
                  <a:gd name="connsiteY0" fmla="*/ 5428 h 18451"/>
                  <a:gd name="connsiteX1" fmla="*/ 12867 w 18310"/>
                  <a:gd name="connsiteY1" fmla="*/ 823 h 18451"/>
                  <a:gd name="connsiteX2" fmla="*/ 17532 w 18310"/>
                  <a:gd name="connsiteY2" fmla="*/ 13023 h 18451"/>
                  <a:gd name="connsiteX3" fmla="*/ 5451 w 18310"/>
                  <a:gd name="connsiteY3" fmla="*/ 17628 h 18451"/>
                  <a:gd name="connsiteX4" fmla="*/ 787 w 18310"/>
                  <a:gd name="connsiteY4" fmla="*/ 542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51">
                    <a:moveTo>
                      <a:pt x="787" y="5428"/>
                    </a:moveTo>
                    <a:cubicBezTo>
                      <a:pt x="2820" y="763"/>
                      <a:pt x="8263" y="-1271"/>
                      <a:pt x="12867" y="823"/>
                    </a:cubicBezTo>
                    <a:cubicBezTo>
                      <a:pt x="17473" y="2916"/>
                      <a:pt x="19566" y="8358"/>
                      <a:pt x="17532" y="13023"/>
                    </a:cubicBezTo>
                    <a:cubicBezTo>
                      <a:pt x="15499" y="17688"/>
                      <a:pt x="10057" y="19722"/>
                      <a:pt x="5451" y="17628"/>
                    </a:cubicBezTo>
                    <a:cubicBezTo>
                      <a:pt x="787" y="15535"/>
                      <a:pt x="-1247" y="10033"/>
                      <a:pt x="787" y="5428"/>
                    </a:cubicBezTo>
                    <a:close/>
                  </a:path>
                </a:pathLst>
              </a:custGeom>
              <a:grpFill/>
              <a:ln w="5978" cap="flat">
                <a:noFill/>
                <a:prstDash val="solid"/>
                <a:miter/>
              </a:ln>
            </p:spPr>
            <p:txBody>
              <a:bodyPr rtlCol="0" anchor="ctr"/>
              <a:lstStyle/>
              <a:p>
                <a:endParaRPr lang="en-GB"/>
              </a:p>
            </p:txBody>
          </p:sp>
          <p:sp>
            <p:nvSpPr>
              <p:cNvPr id="4343" name="Vrije vorm: vorm 4342">
                <a:extLst>
                  <a:ext uri="{FF2B5EF4-FFF2-40B4-BE49-F238E27FC236}">
                    <a16:creationId xmlns:a16="http://schemas.microsoft.com/office/drawing/2014/main" id="{6EB8A49D-DBE7-4442-9701-754862918B76}"/>
                  </a:ext>
                </a:extLst>
              </p:cNvPr>
              <p:cNvSpPr/>
              <p:nvPr/>
            </p:nvSpPr>
            <p:spPr>
              <a:xfrm>
                <a:off x="6826586" y="1648162"/>
                <a:ext cx="18319" cy="18441"/>
              </a:xfrm>
              <a:custGeom>
                <a:avLst/>
                <a:gdLst>
                  <a:gd name="connsiteX0" fmla="*/ 787 w 18319"/>
                  <a:gd name="connsiteY0" fmla="*/ 5428 h 18441"/>
                  <a:gd name="connsiteX1" fmla="*/ 5452 w 18319"/>
                  <a:gd name="connsiteY1" fmla="*/ 17628 h 18441"/>
                  <a:gd name="connsiteX2" fmla="*/ 17533 w 18319"/>
                  <a:gd name="connsiteY2" fmla="*/ 13023 h 18441"/>
                  <a:gd name="connsiteX3" fmla="*/ 12868 w 18319"/>
                  <a:gd name="connsiteY3" fmla="*/ 823 h 18441"/>
                  <a:gd name="connsiteX4" fmla="*/ 787 w 18319"/>
                  <a:gd name="connsiteY4" fmla="*/ 542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1">
                    <a:moveTo>
                      <a:pt x="787" y="5428"/>
                    </a:moveTo>
                    <a:cubicBezTo>
                      <a:pt x="-1247" y="10093"/>
                      <a:pt x="787" y="15535"/>
                      <a:pt x="5452" y="17628"/>
                    </a:cubicBezTo>
                    <a:cubicBezTo>
                      <a:pt x="10057" y="19722"/>
                      <a:pt x="15499" y="17628"/>
                      <a:pt x="17533" y="13023"/>
                    </a:cubicBezTo>
                    <a:cubicBezTo>
                      <a:pt x="19566" y="8358"/>
                      <a:pt x="17533" y="2916"/>
                      <a:pt x="12868" y="823"/>
                    </a:cubicBezTo>
                    <a:cubicBezTo>
                      <a:pt x="8262" y="-1271"/>
                      <a:pt x="2880" y="763"/>
                      <a:pt x="787" y="5428"/>
                    </a:cubicBezTo>
                    <a:close/>
                  </a:path>
                </a:pathLst>
              </a:custGeom>
              <a:grpFill/>
              <a:ln w="5978" cap="flat">
                <a:noFill/>
                <a:prstDash val="solid"/>
                <a:miter/>
              </a:ln>
            </p:spPr>
            <p:txBody>
              <a:bodyPr rtlCol="0" anchor="ctr"/>
              <a:lstStyle/>
              <a:p>
                <a:endParaRPr lang="en-GB"/>
              </a:p>
            </p:txBody>
          </p:sp>
        </p:grpSp>
        <p:grpSp>
          <p:nvGrpSpPr>
            <p:cNvPr id="347" name="Graphic 3">
              <a:extLst>
                <a:ext uri="{FF2B5EF4-FFF2-40B4-BE49-F238E27FC236}">
                  <a16:creationId xmlns:a16="http://schemas.microsoft.com/office/drawing/2014/main" id="{C70A3631-A86B-42AD-BC5A-1FE4021BB13A}"/>
                </a:ext>
              </a:extLst>
            </p:cNvPr>
            <p:cNvGrpSpPr/>
            <p:nvPr/>
          </p:nvGrpSpPr>
          <p:grpSpPr>
            <a:xfrm>
              <a:off x="7635865" y="3978823"/>
              <a:ext cx="86354" cy="42844"/>
              <a:chOff x="7635865" y="3978823"/>
              <a:chExt cx="86354" cy="42844"/>
            </a:xfrm>
            <a:grpFill/>
          </p:grpSpPr>
          <p:sp>
            <p:nvSpPr>
              <p:cNvPr id="4338" name="Vrije vorm: vorm 4337">
                <a:extLst>
                  <a:ext uri="{FF2B5EF4-FFF2-40B4-BE49-F238E27FC236}">
                    <a16:creationId xmlns:a16="http://schemas.microsoft.com/office/drawing/2014/main" id="{F95258DD-9D37-40D6-8FDF-5271C4E08407}"/>
                  </a:ext>
                </a:extLst>
              </p:cNvPr>
              <p:cNvSpPr/>
              <p:nvPr/>
            </p:nvSpPr>
            <p:spPr>
              <a:xfrm>
                <a:off x="7644160" y="3986430"/>
                <a:ext cx="69854" cy="27630"/>
              </a:xfrm>
              <a:custGeom>
                <a:avLst/>
                <a:gdLst>
                  <a:gd name="connsiteX0" fmla="*/ 69854 w 69854"/>
                  <a:gd name="connsiteY0" fmla="*/ 24760 h 27630"/>
                  <a:gd name="connsiteX1" fmla="*/ 68837 w 69854"/>
                  <a:gd name="connsiteY1" fmla="*/ 27631 h 27630"/>
                  <a:gd name="connsiteX2" fmla="*/ 0 w 69854"/>
                  <a:gd name="connsiteY2" fmla="*/ 2871 h 27630"/>
                  <a:gd name="connsiteX3" fmla="*/ 1016 w 69854"/>
                  <a:gd name="connsiteY3" fmla="*/ 0 h 27630"/>
                </a:gdLst>
                <a:ahLst/>
                <a:cxnLst>
                  <a:cxn ang="0">
                    <a:pos x="connsiteX0" y="connsiteY0"/>
                  </a:cxn>
                  <a:cxn ang="0">
                    <a:pos x="connsiteX1" y="connsiteY1"/>
                  </a:cxn>
                  <a:cxn ang="0">
                    <a:pos x="connsiteX2" y="connsiteY2"/>
                  </a:cxn>
                  <a:cxn ang="0">
                    <a:pos x="connsiteX3" y="connsiteY3"/>
                  </a:cxn>
                </a:cxnLst>
                <a:rect l="l" t="t" r="r" b="b"/>
                <a:pathLst>
                  <a:path w="69854" h="27630">
                    <a:moveTo>
                      <a:pt x="69854" y="24760"/>
                    </a:moveTo>
                    <a:lnTo>
                      <a:pt x="68837" y="27631"/>
                    </a:lnTo>
                    <a:lnTo>
                      <a:pt x="0" y="2871"/>
                    </a:lnTo>
                    <a:lnTo>
                      <a:pt x="1016" y="0"/>
                    </a:lnTo>
                    <a:close/>
                  </a:path>
                </a:pathLst>
              </a:custGeom>
              <a:grpFill/>
              <a:ln w="5978" cap="flat">
                <a:noFill/>
                <a:prstDash val="solid"/>
                <a:miter/>
              </a:ln>
            </p:spPr>
            <p:txBody>
              <a:bodyPr rtlCol="0" anchor="ctr"/>
              <a:lstStyle/>
              <a:p>
                <a:endParaRPr lang="en-GB"/>
              </a:p>
            </p:txBody>
          </p:sp>
          <p:sp>
            <p:nvSpPr>
              <p:cNvPr id="4339" name="Vrije vorm: vorm 4338">
                <a:extLst>
                  <a:ext uri="{FF2B5EF4-FFF2-40B4-BE49-F238E27FC236}">
                    <a16:creationId xmlns:a16="http://schemas.microsoft.com/office/drawing/2014/main" id="{84D8FE64-E9B9-4C8C-81D7-C4EED12E9EAA}"/>
                  </a:ext>
                </a:extLst>
              </p:cNvPr>
              <p:cNvSpPr/>
              <p:nvPr/>
            </p:nvSpPr>
            <p:spPr>
              <a:xfrm>
                <a:off x="7703836" y="4003225"/>
                <a:ext cx="18383" cy="18443"/>
              </a:xfrm>
              <a:custGeom>
                <a:avLst/>
                <a:gdLst>
                  <a:gd name="connsiteX0" fmla="*/ 12272 w 18383"/>
                  <a:gd name="connsiteY0" fmla="*/ 549 h 18443"/>
                  <a:gd name="connsiteX1" fmla="*/ 17834 w 18383"/>
                  <a:gd name="connsiteY1" fmla="*/ 12332 h 18443"/>
                  <a:gd name="connsiteX2" fmla="*/ 6112 w 18383"/>
                  <a:gd name="connsiteY2" fmla="*/ 17894 h 18443"/>
                  <a:gd name="connsiteX3" fmla="*/ 550 w 18383"/>
                  <a:gd name="connsiteY3" fmla="*/ 6111 h 18443"/>
                  <a:gd name="connsiteX4" fmla="*/ 12272 w 18383"/>
                  <a:gd name="connsiteY4" fmla="*/ 54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43">
                    <a:moveTo>
                      <a:pt x="12272" y="549"/>
                    </a:moveTo>
                    <a:cubicBezTo>
                      <a:pt x="17056" y="2284"/>
                      <a:pt x="19569" y="7547"/>
                      <a:pt x="17834" y="12332"/>
                    </a:cubicBezTo>
                    <a:cubicBezTo>
                      <a:pt x="16159" y="17116"/>
                      <a:pt x="10896" y="19628"/>
                      <a:pt x="6112" y="17894"/>
                    </a:cubicBezTo>
                    <a:cubicBezTo>
                      <a:pt x="1327" y="16159"/>
                      <a:pt x="-1185" y="10896"/>
                      <a:pt x="550" y="6111"/>
                    </a:cubicBezTo>
                    <a:cubicBezTo>
                      <a:pt x="2284" y="1327"/>
                      <a:pt x="7547" y="-1185"/>
                      <a:pt x="12272" y="549"/>
                    </a:cubicBezTo>
                    <a:close/>
                  </a:path>
                </a:pathLst>
              </a:custGeom>
              <a:grpFill/>
              <a:ln w="5978" cap="flat">
                <a:noFill/>
                <a:prstDash val="solid"/>
                <a:miter/>
              </a:ln>
            </p:spPr>
            <p:txBody>
              <a:bodyPr rtlCol="0" anchor="ctr"/>
              <a:lstStyle/>
              <a:p>
                <a:endParaRPr lang="en-GB"/>
              </a:p>
            </p:txBody>
          </p:sp>
          <p:sp>
            <p:nvSpPr>
              <p:cNvPr id="4340" name="Vrije vorm: vorm 4339">
                <a:extLst>
                  <a:ext uri="{FF2B5EF4-FFF2-40B4-BE49-F238E27FC236}">
                    <a16:creationId xmlns:a16="http://schemas.microsoft.com/office/drawing/2014/main" id="{FE8DA272-FA39-4821-B661-96BFB2A15582}"/>
                  </a:ext>
                </a:extLst>
              </p:cNvPr>
              <p:cNvSpPr/>
              <p:nvPr/>
            </p:nvSpPr>
            <p:spPr>
              <a:xfrm>
                <a:off x="7635865" y="3978823"/>
                <a:ext cx="18353" cy="18443"/>
              </a:xfrm>
              <a:custGeom>
                <a:avLst/>
                <a:gdLst>
                  <a:gd name="connsiteX0" fmla="*/ 12241 w 18353"/>
                  <a:gd name="connsiteY0" fmla="*/ 549 h 18443"/>
                  <a:gd name="connsiteX1" fmla="*/ 519 w 18353"/>
                  <a:gd name="connsiteY1" fmla="*/ 6112 h 18443"/>
                  <a:gd name="connsiteX2" fmla="*/ 6082 w 18353"/>
                  <a:gd name="connsiteY2" fmla="*/ 17894 h 18443"/>
                  <a:gd name="connsiteX3" fmla="*/ 17804 w 18353"/>
                  <a:gd name="connsiteY3" fmla="*/ 12332 h 18443"/>
                  <a:gd name="connsiteX4" fmla="*/ 12241 w 18353"/>
                  <a:gd name="connsiteY4" fmla="*/ 54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3">
                    <a:moveTo>
                      <a:pt x="12241" y="549"/>
                    </a:moveTo>
                    <a:cubicBezTo>
                      <a:pt x="7457" y="-1185"/>
                      <a:pt x="2254" y="1327"/>
                      <a:pt x="519" y="6112"/>
                    </a:cubicBezTo>
                    <a:cubicBezTo>
                      <a:pt x="-1155" y="10896"/>
                      <a:pt x="1357" y="16159"/>
                      <a:pt x="6082" y="17894"/>
                    </a:cubicBezTo>
                    <a:cubicBezTo>
                      <a:pt x="10866" y="19628"/>
                      <a:pt x="16069" y="17116"/>
                      <a:pt x="17804" y="12332"/>
                    </a:cubicBezTo>
                    <a:cubicBezTo>
                      <a:pt x="19538" y="7547"/>
                      <a:pt x="17026" y="2284"/>
                      <a:pt x="12241" y="549"/>
                    </a:cubicBezTo>
                    <a:close/>
                  </a:path>
                </a:pathLst>
              </a:custGeom>
              <a:grpFill/>
              <a:ln w="5978" cap="flat">
                <a:noFill/>
                <a:prstDash val="solid"/>
                <a:miter/>
              </a:ln>
            </p:spPr>
            <p:txBody>
              <a:bodyPr rtlCol="0" anchor="ctr"/>
              <a:lstStyle/>
              <a:p>
                <a:endParaRPr lang="en-GB"/>
              </a:p>
            </p:txBody>
          </p:sp>
        </p:grpSp>
        <p:grpSp>
          <p:nvGrpSpPr>
            <p:cNvPr id="348" name="Graphic 3">
              <a:extLst>
                <a:ext uri="{FF2B5EF4-FFF2-40B4-BE49-F238E27FC236}">
                  <a16:creationId xmlns:a16="http://schemas.microsoft.com/office/drawing/2014/main" id="{BC9BBADF-8588-4057-AAFA-A6DA6B387FB4}"/>
                </a:ext>
              </a:extLst>
            </p:cNvPr>
            <p:cNvGrpSpPr/>
            <p:nvPr/>
          </p:nvGrpSpPr>
          <p:grpSpPr>
            <a:xfrm>
              <a:off x="6922132" y="1847361"/>
              <a:ext cx="94791" cy="143665"/>
              <a:chOff x="6922132" y="1847361"/>
              <a:chExt cx="94791" cy="143665"/>
            </a:xfrm>
            <a:grpFill/>
          </p:grpSpPr>
          <p:sp>
            <p:nvSpPr>
              <p:cNvPr id="4335" name="Vrije vorm: vorm 4334">
                <a:extLst>
                  <a:ext uri="{FF2B5EF4-FFF2-40B4-BE49-F238E27FC236}">
                    <a16:creationId xmlns:a16="http://schemas.microsoft.com/office/drawing/2014/main" id="{28665409-1EE4-4337-938F-5760CCF54FFF}"/>
                  </a:ext>
                </a:extLst>
              </p:cNvPr>
              <p:cNvSpPr/>
              <p:nvPr/>
            </p:nvSpPr>
            <p:spPr>
              <a:xfrm>
                <a:off x="6929762" y="1855380"/>
                <a:ext cx="79543" cy="127628"/>
              </a:xfrm>
              <a:custGeom>
                <a:avLst/>
                <a:gdLst>
                  <a:gd name="connsiteX0" fmla="*/ 79544 w 79543"/>
                  <a:gd name="connsiteY0" fmla="*/ 1615 h 127628"/>
                  <a:gd name="connsiteX1" fmla="*/ 2632 w 79543"/>
                  <a:gd name="connsiteY1" fmla="*/ 127629 h 127628"/>
                  <a:gd name="connsiteX2" fmla="*/ 0 w 79543"/>
                  <a:gd name="connsiteY2" fmla="*/ 126014 h 127628"/>
                  <a:gd name="connsiteX3" fmla="*/ 76912 w 79543"/>
                  <a:gd name="connsiteY3" fmla="*/ 0 h 127628"/>
                </a:gdLst>
                <a:ahLst/>
                <a:cxnLst>
                  <a:cxn ang="0">
                    <a:pos x="connsiteX0" y="connsiteY0"/>
                  </a:cxn>
                  <a:cxn ang="0">
                    <a:pos x="connsiteX1" y="connsiteY1"/>
                  </a:cxn>
                  <a:cxn ang="0">
                    <a:pos x="connsiteX2" y="connsiteY2"/>
                  </a:cxn>
                  <a:cxn ang="0">
                    <a:pos x="connsiteX3" y="connsiteY3"/>
                  </a:cxn>
                </a:cxnLst>
                <a:rect l="l" t="t" r="r" b="b"/>
                <a:pathLst>
                  <a:path w="79543" h="127628">
                    <a:moveTo>
                      <a:pt x="79544" y="1615"/>
                    </a:moveTo>
                    <a:lnTo>
                      <a:pt x="2632" y="127629"/>
                    </a:lnTo>
                    <a:lnTo>
                      <a:pt x="0" y="126014"/>
                    </a:lnTo>
                    <a:lnTo>
                      <a:pt x="76912" y="0"/>
                    </a:lnTo>
                    <a:close/>
                  </a:path>
                </a:pathLst>
              </a:custGeom>
              <a:grpFill/>
              <a:ln w="5978" cap="flat">
                <a:noFill/>
                <a:prstDash val="solid"/>
                <a:miter/>
              </a:ln>
            </p:spPr>
            <p:txBody>
              <a:bodyPr rtlCol="0" anchor="ctr"/>
              <a:lstStyle/>
              <a:p>
                <a:endParaRPr lang="en-GB"/>
              </a:p>
            </p:txBody>
          </p:sp>
          <p:sp>
            <p:nvSpPr>
              <p:cNvPr id="4336" name="Vrije vorm: vorm 4335">
                <a:extLst>
                  <a:ext uri="{FF2B5EF4-FFF2-40B4-BE49-F238E27FC236}">
                    <a16:creationId xmlns:a16="http://schemas.microsoft.com/office/drawing/2014/main" id="{07CAC38D-F955-4FDE-96EF-CBA6B16A9713}"/>
                  </a:ext>
                </a:extLst>
              </p:cNvPr>
              <p:cNvSpPr/>
              <p:nvPr/>
            </p:nvSpPr>
            <p:spPr>
              <a:xfrm>
                <a:off x="6998579" y="1847361"/>
                <a:ext cx="18343" cy="18429"/>
              </a:xfrm>
              <a:custGeom>
                <a:avLst/>
                <a:gdLst>
                  <a:gd name="connsiteX0" fmla="*/ 1337 w 18343"/>
                  <a:gd name="connsiteY0" fmla="*/ 4370 h 18429"/>
                  <a:gd name="connsiteX1" fmla="*/ 13956 w 18343"/>
                  <a:gd name="connsiteY1" fmla="*/ 1380 h 18429"/>
                  <a:gd name="connsiteX2" fmla="*/ 17006 w 18343"/>
                  <a:gd name="connsiteY2" fmla="*/ 14059 h 18429"/>
                  <a:gd name="connsiteX3" fmla="*/ 4387 w 18343"/>
                  <a:gd name="connsiteY3" fmla="*/ 17050 h 18429"/>
                  <a:gd name="connsiteX4" fmla="*/ 1337 w 18343"/>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9">
                    <a:moveTo>
                      <a:pt x="1337" y="4370"/>
                    </a:moveTo>
                    <a:cubicBezTo>
                      <a:pt x="3969" y="64"/>
                      <a:pt x="9650" y="-1311"/>
                      <a:pt x="13956" y="1380"/>
                    </a:cubicBezTo>
                    <a:cubicBezTo>
                      <a:pt x="18263" y="4071"/>
                      <a:pt x="19638" y="9753"/>
                      <a:pt x="17006" y="14059"/>
                    </a:cubicBezTo>
                    <a:cubicBezTo>
                      <a:pt x="14375" y="18365"/>
                      <a:pt x="8693" y="19741"/>
                      <a:pt x="4387" y="17050"/>
                    </a:cubicBezTo>
                    <a:cubicBezTo>
                      <a:pt x="81" y="14418"/>
                      <a:pt x="-1294" y="8736"/>
                      <a:pt x="1337" y="4370"/>
                    </a:cubicBezTo>
                    <a:close/>
                  </a:path>
                </a:pathLst>
              </a:custGeom>
              <a:grpFill/>
              <a:ln w="5978" cap="flat">
                <a:noFill/>
                <a:prstDash val="solid"/>
                <a:miter/>
              </a:ln>
            </p:spPr>
            <p:txBody>
              <a:bodyPr rtlCol="0" anchor="ctr"/>
              <a:lstStyle/>
              <a:p>
                <a:endParaRPr lang="en-GB"/>
              </a:p>
            </p:txBody>
          </p:sp>
          <p:sp>
            <p:nvSpPr>
              <p:cNvPr id="4337" name="Vrije vorm: vorm 4336">
                <a:extLst>
                  <a:ext uri="{FF2B5EF4-FFF2-40B4-BE49-F238E27FC236}">
                    <a16:creationId xmlns:a16="http://schemas.microsoft.com/office/drawing/2014/main" id="{E6134C0F-A75A-4DEA-B353-E86621C83252}"/>
                  </a:ext>
                </a:extLst>
              </p:cNvPr>
              <p:cNvSpPr/>
              <p:nvPr/>
            </p:nvSpPr>
            <p:spPr>
              <a:xfrm>
                <a:off x="6922132" y="1972597"/>
                <a:ext cx="18357" cy="18429"/>
              </a:xfrm>
              <a:custGeom>
                <a:avLst/>
                <a:gdLst>
                  <a:gd name="connsiteX0" fmla="*/ 1351 w 18357"/>
                  <a:gd name="connsiteY0" fmla="*/ 4370 h 18429"/>
                  <a:gd name="connsiteX1" fmla="*/ 4401 w 18357"/>
                  <a:gd name="connsiteY1" fmla="*/ 17050 h 18429"/>
                  <a:gd name="connsiteX2" fmla="*/ 17021 w 18357"/>
                  <a:gd name="connsiteY2" fmla="*/ 14059 h 18429"/>
                  <a:gd name="connsiteX3" fmla="*/ 13971 w 18357"/>
                  <a:gd name="connsiteY3" fmla="*/ 1380 h 18429"/>
                  <a:gd name="connsiteX4" fmla="*/ 1351 w 18357"/>
                  <a:gd name="connsiteY4" fmla="*/ 437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29">
                    <a:moveTo>
                      <a:pt x="1351" y="4370"/>
                    </a:moveTo>
                    <a:cubicBezTo>
                      <a:pt x="-1281" y="8677"/>
                      <a:pt x="35" y="14358"/>
                      <a:pt x="4401" y="17050"/>
                    </a:cubicBezTo>
                    <a:cubicBezTo>
                      <a:pt x="8708" y="19741"/>
                      <a:pt x="14389" y="18365"/>
                      <a:pt x="17021" y="14059"/>
                    </a:cubicBezTo>
                    <a:cubicBezTo>
                      <a:pt x="19652" y="9753"/>
                      <a:pt x="18277" y="4071"/>
                      <a:pt x="13971" y="1380"/>
                    </a:cubicBezTo>
                    <a:cubicBezTo>
                      <a:pt x="9664" y="-1311"/>
                      <a:pt x="3983" y="64"/>
                      <a:pt x="1351" y="4370"/>
                    </a:cubicBezTo>
                    <a:close/>
                  </a:path>
                </a:pathLst>
              </a:custGeom>
              <a:grpFill/>
              <a:ln w="5978" cap="flat">
                <a:noFill/>
                <a:prstDash val="solid"/>
                <a:miter/>
              </a:ln>
            </p:spPr>
            <p:txBody>
              <a:bodyPr rtlCol="0" anchor="ctr"/>
              <a:lstStyle/>
              <a:p>
                <a:endParaRPr lang="en-GB"/>
              </a:p>
            </p:txBody>
          </p:sp>
        </p:grpSp>
        <p:grpSp>
          <p:nvGrpSpPr>
            <p:cNvPr id="349" name="Graphic 3">
              <a:extLst>
                <a:ext uri="{FF2B5EF4-FFF2-40B4-BE49-F238E27FC236}">
                  <a16:creationId xmlns:a16="http://schemas.microsoft.com/office/drawing/2014/main" id="{175D2DF2-1B27-43A5-8891-99F9A27C7AA9}"/>
                </a:ext>
              </a:extLst>
            </p:cNvPr>
            <p:cNvGrpSpPr/>
            <p:nvPr/>
          </p:nvGrpSpPr>
          <p:grpSpPr>
            <a:xfrm>
              <a:off x="7895273" y="4961580"/>
              <a:ext cx="279214" cy="237627"/>
              <a:chOff x="7895273" y="4961580"/>
              <a:chExt cx="279214" cy="237627"/>
            </a:xfrm>
            <a:grpFill/>
          </p:grpSpPr>
          <p:sp>
            <p:nvSpPr>
              <p:cNvPr id="4332" name="Vrije vorm: vorm 4331">
                <a:extLst>
                  <a:ext uri="{FF2B5EF4-FFF2-40B4-BE49-F238E27FC236}">
                    <a16:creationId xmlns:a16="http://schemas.microsoft.com/office/drawing/2014/main" id="{6D31222F-AAC2-4095-B9B8-D0DBE1AC5FAA}"/>
                  </a:ext>
                </a:extLst>
              </p:cNvPr>
              <p:cNvSpPr/>
              <p:nvPr/>
            </p:nvSpPr>
            <p:spPr>
              <a:xfrm>
                <a:off x="7903125" y="4969302"/>
                <a:ext cx="263570" cy="222124"/>
              </a:xfrm>
              <a:custGeom>
                <a:avLst/>
                <a:gdLst>
                  <a:gd name="connsiteX0" fmla="*/ 263571 w 263570"/>
                  <a:gd name="connsiteY0" fmla="*/ 219792 h 222124"/>
                  <a:gd name="connsiteX1" fmla="*/ 261597 w 263570"/>
                  <a:gd name="connsiteY1" fmla="*/ 222124 h 222124"/>
                  <a:gd name="connsiteX2" fmla="*/ 0 w 263570"/>
                  <a:gd name="connsiteY2" fmla="*/ 2333 h 222124"/>
                  <a:gd name="connsiteX3" fmla="*/ 1974 w 263570"/>
                  <a:gd name="connsiteY3" fmla="*/ 0 h 222124"/>
                </a:gdLst>
                <a:ahLst/>
                <a:cxnLst>
                  <a:cxn ang="0">
                    <a:pos x="connsiteX0" y="connsiteY0"/>
                  </a:cxn>
                  <a:cxn ang="0">
                    <a:pos x="connsiteX1" y="connsiteY1"/>
                  </a:cxn>
                  <a:cxn ang="0">
                    <a:pos x="connsiteX2" y="connsiteY2"/>
                  </a:cxn>
                  <a:cxn ang="0">
                    <a:pos x="connsiteX3" y="connsiteY3"/>
                  </a:cxn>
                </a:cxnLst>
                <a:rect l="l" t="t" r="r" b="b"/>
                <a:pathLst>
                  <a:path w="263570" h="222124">
                    <a:moveTo>
                      <a:pt x="263571" y="219792"/>
                    </a:moveTo>
                    <a:lnTo>
                      <a:pt x="261597" y="222124"/>
                    </a:lnTo>
                    <a:lnTo>
                      <a:pt x="0" y="2333"/>
                    </a:lnTo>
                    <a:lnTo>
                      <a:pt x="1974" y="0"/>
                    </a:lnTo>
                    <a:close/>
                  </a:path>
                </a:pathLst>
              </a:custGeom>
              <a:grpFill/>
              <a:ln w="5978" cap="flat">
                <a:noFill/>
                <a:prstDash val="solid"/>
                <a:miter/>
              </a:ln>
            </p:spPr>
            <p:txBody>
              <a:bodyPr rtlCol="0" anchor="ctr"/>
              <a:lstStyle/>
              <a:p>
                <a:endParaRPr lang="en-GB"/>
              </a:p>
            </p:txBody>
          </p:sp>
          <p:sp>
            <p:nvSpPr>
              <p:cNvPr id="4333" name="Vrije vorm: vorm 4332">
                <a:extLst>
                  <a:ext uri="{FF2B5EF4-FFF2-40B4-BE49-F238E27FC236}">
                    <a16:creationId xmlns:a16="http://schemas.microsoft.com/office/drawing/2014/main" id="{E57C7ADF-BC96-4EF4-AD57-DAD62E238A6D}"/>
                  </a:ext>
                </a:extLst>
              </p:cNvPr>
              <p:cNvSpPr/>
              <p:nvPr/>
            </p:nvSpPr>
            <p:spPr>
              <a:xfrm>
                <a:off x="8156152" y="5180773"/>
                <a:ext cx="18335" cy="18433"/>
              </a:xfrm>
              <a:custGeom>
                <a:avLst/>
                <a:gdLst>
                  <a:gd name="connsiteX0" fmla="*/ 15029 w 18335"/>
                  <a:gd name="connsiteY0" fmla="*/ 2160 h 18433"/>
                  <a:gd name="connsiteX1" fmla="*/ 16225 w 18335"/>
                  <a:gd name="connsiteY1" fmla="*/ 15138 h 18433"/>
                  <a:gd name="connsiteX2" fmla="*/ 3306 w 18335"/>
                  <a:gd name="connsiteY2" fmla="*/ 16274 h 18433"/>
                  <a:gd name="connsiteX3" fmla="*/ 2111 w 18335"/>
                  <a:gd name="connsiteY3" fmla="*/ 3296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8916" y="5449"/>
                      <a:pt x="19455" y="11250"/>
                      <a:pt x="16225" y="15138"/>
                    </a:cubicBezTo>
                    <a:cubicBezTo>
                      <a:pt x="12995" y="19026"/>
                      <a:pt x="7194" y="19564"/>
                      <a:pt x="3306" y="16274"/>
                    </a:cubicBezTo>
                    <a:cubicBezTo>
                      <a:pt x="-581" y="12985"/>
                      <a:pt x="-1119" y="7183"/>
                      <a:pt x="2111" y="3296"/>
                    </a:cubicBezTo>
                    <a:cubicBezTo>
                      <a:pt x="5400" y="-591"/>
                      <a:pt x="11142" y="-1130"/>
                      <a:pt x="15029" y="2160"/>
                    </a:cubicBezTo>
                    <a:close/>
                  </a:path>
                </a:pathLst>
              </a:custGeom>
              <a:grpFill/>
              <a:ln w="5978" cap="flat">
                <a:noFill/>
                <a:prstDash val="solid"/>
                <a:miter/>
              </a:ln>
            </p:spPr>
            <p:txBody>
              <a:bodyPr rtlCol="0" anchor="ctr"/>
              <a:lstStyle/>
              <a:p>
                <a:endParaRPr lang="en-GB"/>
              </a:p>
            </p:txBody>
          </p:sp>
          <p:sp>
            <p:nvSpPr>
              <p:cNvPr id="4334" name="Vrije vorm: vorm 4333">
                <a:extLst>
                  <a:ext uri="{FF2B5EF4-FFF2-40B4-BE49-F238E27FC236}">
                    <a16:creationId xmlns:a16="http://schemas.microsoft.com/office/drawing/2014/main" id="{C1A17C1F-E67C-4EEE-96B8-DB7816A8C39A}"/>
                  </a:ext>
                </a:extLst>
              </p:cNvPr>
              <p:cNvSpPr/>
              <p:nvPr/>
            </p:nvSpPr>
            <p:spPr>
              <a:xfrm>
                <a:off x="7895273" y="4961580"/>
                <a:ext cx="18335" cy="18433"/>
              </a:xfrm>
              <a:custGeom>
                <a:avLst/>
                <a:gdLst>
                  <a:gd name="connsiteX0" fmla="*/ 15029 w 18335"/>
                  <a:gd name="connsiteY0" fmla="*/ 2160 h 18433"/>
                  <a:gd name="connsiteX1" fmla="*/ 2111 w 18335"/>
                  <a:gd name="connsiteY1" fmla="*/ 3296 h 18433"/>
                  <a:gd name="connsiteX2" fmla="*/ 3306 w 18335"/>
                  <a:gd name="connsiteY2" fmla="*/ 16274 h 18433"/>
                  <a:gd name="connsiteX3" fmla="*/ 16225 w 18335"/>
                  <a:gd name="connsiteY3" fmla="*/ 15138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1142" y="-1130"/>
                      <a:pt x="5340" y="-592"/>
                      <a:pt x="2111" y="3296"/>
                    </a:cubicBezTo>
                    <a:cubicBezTo>
                      <a:pt x="-1119" y="7184"/>
                      <a:pt x="-581" y="12985"/>
                      <a:pt x="3306" y="16274"/>
                    </a:cubicBezTo>
                    <a:cubicBezTo>
                      <a:pt x="7194" y="19563"/>
                      <a:pt x="12995" y="19025"/>
                      <a:pt x="16225" y="15138"/>
                    </a:cubicBezTo>
                    <a:cubicBezTo>
                      <a:pt x="19455" y="11251"/>
                      <a:pt x="18916" y="5389"/>
                      <a:pt x="15029" y="2160"/>
                    </a:cubicBezTo>
                    <a:close/>
                  </a:path>
                </a:pathLst>
              </a:custGeom>
              <a:grpFill/>
              <a:ln w="5978" cap="flat">
                <a:noFill/>
                <a:prstDash val="solid"/>
                <a:miter/>
              </a:ln>
            </p:spPr>
            <p:txBody>
              <a:bodyPr rtlCol="0" anchor="ctr"/>
              <a:lstStyle/>
              <a:p>
                <a:endParaRPr lang="en-GB"/>
              </a:p>
            </p:txBody>
          </p:sp>
        </p:grpSp>
        <p:grpSp>
          <p:nvGrpSpPr>
            <p:cNvPr id="350" name="Graphic 3">
              <a:extLst>
                <a:ext uri="{FF2B5EF4-FFF2-40B4-BE49-F238E27FC236}">
                  <a16:creationId xmlns:a16="http://schemas.microsoft.com/office/drawing/2014/main" id="{2C458B9A-FEC5-4A12-BBF6-B2EC0F2AC671}"/>
                </a:ext>
              </a:extLst>
            </p:cNvPr>
            <p:cNvGrpSpPr/>
            <p:nvPr/>
          </p:nvGrpSpPr>
          <p:grpSpPr>
            <a:xfrm>
              <a:off x="6627662" y="1075923"/>
              <a:ext cx="318381" cy="723226"/>
              <a:chOff x="6627662" y="1075923"/>
              <a:chExt cx="318381" cy="723226"/>
            </a:xfrm>
            <a:grpFill/>
          </p:grpSpPr>
          <p:sp>
            <p:nvSpPr>
              <p:cNvPr id="4329" name="Vrije vorm: vorm 4328">
                <a:extLst>
                  <a:ext uri="{FF2B5EF4-FFF2-40B4-BE49-F238E27FC236}">
                    <a16:creationId xmlns:a16="http://schemas.microsoft.com/office/drawing/2014/main" id="{222DF69B-0828-4694-9604-5E857E4AE7B3}"/>
                  </a:ext>
                </a:extLst>
              </p:cNvPr>
              <p:cNvSpPr/>
              <p:nvPr/>
            </p:nvSpPr>
            <p:spPr>
              <a:xfrm>
                <a:off x="6635272" y="1084046"/>
                <a:ext cx="303163" cy="706921"/>
              </a:xfrm>
              <a:custGeom>
                <a:avLst/>
                <a:gdLst>
                  <a:gd name="connsiteX0" fmla="*/ 303163 w 303163"/>
                  <a:gd name="connsiteY0" fmla="*/ 1256 h 706921"/>
                  <a:gd name="connsiteX1" fmla="*/ 2811 w 303163"/>
                  <a:gd name="connsiteY1" fmla="*/ 706921 h 706921"/>
                  <a:gd name="connsiteX2" fmla="*/ 0 w 303163"/>
                  <a:gd name="connsiteY2" fmla="*/ 705725 h 706921"/>
                  <a:gd name="connsiteX3" fmla="*/ 300412 w 303163"/>
                  <a:gd name="connsiteY3" fmla="*/ 0 h 706921"/>
                </a:gdLst>
                <a:ahLst/>
                <a:cxnLst>
                  <a:cxn ang="0">
                    <a:pos x="connsiteX0" y="connsiteY0"/>
                  </a:cxn>
                  <a:cxn ang="0">
                    <a:pos x="connsiteX1" y="connsiteY1"/>
                  </a:cxn>
                  <a:cxn ang="0">
                    <a:pos x="connsiteX2" y="connsiteY2"/>
                  </a:cxn>
                  <a:cxn ang="0">
                    <a:pos x="connsiteX3" y="connsiteY3"/>
                  </a:cxn>
                </a:cxnLst>
                <a:rect l="l" t="t" r="r" b="b"/>
                <a:pathLst>
                  <a:path w="303163" h="706921">
                    <a:moveTo>
                      <a:pt x="303163" y="1256"/>
                    </a:moveTo>
                    <a:lnTo>
                      <a:pt x="2811" y="706921"/>
                    </a:lnTo>
                    <a:lnTo>
                      <a:pt x="0" y="705725"/>
                    </a:lnTo>
                    <a:lnTo>
                      <a:pt x="300412" y="0"/>
                    </a:lnTo>
                    <a:close/>
                  </a:path>
                </a:pathLst>
              </a:custGeom>
              <a:grpFill/>
              <a:ln w="5978" cap="flat">
                <a:noFill/>
                <a:prstDash val="solid"/>
                <a:miter/>
              </a:ln>
            </p:spPr>
            <p:txBody>
              <a:bodyPr rtlCol="0" anchor="ctr"/>
              <a:lstStyle/>
              <a:p>
                <a:endParaRPr lang="en-GB"/>
              </a:p>
            </p:txBody>
          </p:sp>
          <p:sp>
            <p:nvSpPr>
              <p:cNvPr id="4330" name="Vrije vorm: vorm 4329">
                <a:extLst>
                  <a:ext uri="{FF2B5EF4-FFF2-40B4-BE49-F238E27FC236}">
                    <a16:creationId xmlns:a16="http://schemas.microsoft.com/office/drawing/2014/main" id="{B50A57D0-F21A-42D0-B283-DEA6428A05E5}"/>
                  </a:ext>
                </a:extLst>
              </p:cNvPr>
              <p:cNvSpPr/>
              <p:nvPr/>
            </p:nvSpPr>
            <p:spPr>
              <a:xfrm>
                <a:off x="6627662" y="1780751"/>
                <a:ext cx="18328" cy="18399"/>
              </a:xfrm>
              <a:custGeom>
                <a:avLst/>
                <a:gdLst>
                  <a:gd name="connsiteX0" fmla="*/ 17597 w 18328"/>
                  <a:gd name="connsiteY0" fmla="*/ 12848 h 18399"/>
                  <a:gd name="connsiteX1" fmla="*/ 5576 w 18328"/>
                  <a:gd name="connsiteY1" fmla="*/ 17632 h 18399"/>
                  <a:gd name="connsiteX2" fmla="*/ 732 w 18328"/>
                  <a:gd name="connsiteY2" fmla="*/ 5551 h 18399"/>
                  <a:gd name="connsiteX3" fmla="*/ 12753 w 18328"/>
                  <a:gd name="connsiteY3" fmla="*/ 767 h 18399"/>
                  <a:gd name="connsiteX4" fmla="*/ 17597 w 18328"/>
                  <a:gd name="connsiteY4" fmla="*/ 12848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9">
                    <a:moveTo>
                      <a:pt x="17597" y="12848"/>
                    </a:moveTo>
                    <a:cubicBezTo>
                      <a:pt x="15624" y="17513"/>
                      <a:pt x="10241" y="19666"/>
                      <a:pt x="5576" y="17632"/>
                    </a:cubicBezTo>
                    <a:cubicBezTo>
                      <a:pt x="911" y="15599"/>
                      <a:pt x="-1242" y="10216"/>
                      <a:pt x="732" y="5551"/>
                    </a:cubicBezTo>
                    <a:cubicBezTo>
                      <a:pt x="2705" y="886"/>
                      <a:pt x="8088" y="-1267"/>
                      <a:pt x="12753" y="767"/>
                    </a:cubicBezTo>
                    <a:cubicBezTo>
                      <a:pt x="17418" y="2740"/>
                      <a:pt x="19571" y="8183"/>
                      <a:pt x="17597" y="12848"/>
                    </a:cubicBezTo>
                    <a:close/>
                  </a:path>
                </a:pathLst>
              </a:custGeom>
              <a:grpFill/>
              <a:ln w="5978" cap="flat">
                <a:noFill/>
                <a:prstDash val="solid"/>
                <a:miter/>
              </a:ln>
            </p:spPr>
            <p:txBody>
              <a:bodyPr rtlCol="0" anchor="ctr"/>
              <a:lstStyle/>
              <a:p>
                <a:endParaRPr lang="en-GB"/>
              </a:p>
            </p:txBody>
          </p:sp>
          <p:sp>
            <p:nvSpPr>
              <p:cNvPr id="4331" name="Vrije vorm: vorm 4330">
                <a:extLst>
                  <a:ext uri="{FF2B5EF4-FFF2-40B4-BE49-F238E27FC236}">
                    <a16:creationId xmlns:a16="http://schemas.microsoft.com/office/drawing/2014/main" id="{0452EAA6-CCC3-4F00-BD99-957FE907B98B}"/>
                  </a:ext>
                </a:extLst>
              </p:cNvPr>
              <p:cNvSpPr/>
              <p:nvPr/>
            </p:nvSpPr>
            <p:spPr>
              <a:xfrm>
                <a:off x="6927715" y="1075923"/>
                <a:ext cx="18328" cy="18398"/>
              </a:xfrm>
              <a:custGeom>
                <a:avLst/>
                <a:gdLst>
                  <a:gd name="connsiteX0" fmla="*/ 17597 w 18328"/>
                  <a:gd name="connsiteY0" fmla="*/ 12848 h 18398"/>
                  <a:gd name="connsiteX1" fmla="*/ 12753 w 18328"/>
                  <a:gd name="connsiteY1" fmla="*/ 767 h 18398"/>
                  <a:gd name="connsiteX2" fmla="*/ 732 w 18328"/>
                  <a:gd name="connsiteY2" fmla="*/ 5551 h 18398"/>
                  <a:gd name="connsiteX3" fmla="*/ 5576 w 18328"/>
                  <a:gd name="connsiteY3" fmla="*/ 17632 h 18398"/>
                  <a:gd name="connsiteX4" fmla="*/ 17597 w 18328"/>
                  <a:gd name="connsiteY4" fmla="*/ 12848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8">
                    <a:moveTo>
                      <a:pt x="17597" y="12848"/>
                    </a:moveTo>
                    <a:cubicBezTo>
                      <a:pt x="19571" y="8183"/>
                      <a:pt x="17418" y="2740"/>
                      <a:pt x="12753" y="767"/>
                    </a:cubicBezTo>
                    <a:cubicBezTo>
                      <a:pt x="8088" y="-1267"/>
                      <a:pt x="2705" y="886"/>
                      <a:pt x="732" y="5551"/>
                    </a:cubicBezTo>
                    <a:cubicBezTo>
                      <a:pt x="-1242" y="10216"/>
                      <a:pt x="911" y="15659"/>
                      <a:pt x="5576" y="17632"/>
                    </a:cubicBezTo>
                    <a:cubicBezTo>
                      <a:pt x="10241" y="19666"/>
                      <a:pt x="15624" y="17513"/>
                      <a:pt x="17597" y="12848"/>
                    </a:cubicBezTo>
                    <a:close/>
                  </a:path>
                </a:pathLst>
              </a:custGeom>
              <a:grpFill/>
              <a:ln w="5978" cap="flat">
                <a:noFill/>
                <a:prstDash val="solid"/>
                <a:miter/>
              </a:ln>
            </p:spPr>
            <p:txBody>
              <a:bodyPr rtlCol="0" anchor="ctr"/>
              <a:lstStyle/>
              <a:p>
                <a:endParaRPr lang="en-GB"/>
              </a:p>
            </p:txBody>
          </p:sp>
        </p:grpSp>
        <p:grpSp>
          <p:nvGrpSpPr>
            <p:cNvPr id="351" name="Graphic 3">
              <a:extLst>
                <a:ext uri="{FF2B5EF4-FFF2-40B4-BE49-F238E27FC236}">
                  <a16:creationId xmlns:a16="http://schemas.microsoft.com/office/drawing/2014/main" id="{B462F4EF-94A1-4CF6-9C75-AC71C18B8B77}"/>
                </a:ext>
              </a:extLst>
            </p:cNvPr>
            <p:cNvGrpSpPr/>
            <p:nvPr/>
          </p:nvGrpSpPr>
          <p:grpSpPr>
            <a:xfrm>
              <a:off x="7502625" y="4264469"/>
              <a:ext cx="615851" cy="420514"/>
              <a:chOff x="7502625" y="4264469"/>
              <a:chExt cx="615851" cy="420514"/>
            </a:xfrm>
            <a:grpFill/>
          </p:grpSpPr>
          <p:sp>
            <p:nvSpPr>
              <p:cNvPr id="4326" name="Vrije vorm: vorm 4325">
                <a:extLst>
                  <a:ext uri="{FF2B5EF4-FFF2-40B4-BE49-F238E27FC236}">
                    <a16:creationId xmlns:a16="http://schemas.microsoft.com/office/drawing/2014/main" id="{5E05DDB7-8FCF-431D-A643-CA7A1C2311F9}"/>
                  </a:ext>
                </a:extLst>
              </p:cNvPr>
              <p:cNvSpPr/>
              <p:nvPr/>
            </p:nvSpPr>
            <p:spPr>
              <a:xfrm>
                <a:off x="7510610" y="4272189"/>
                <a:ext cx="599986" cy="405133"/>
              </a:xfrm>
              <a:custGeom>
                <a:avLst/>
                <a:gdLst>
                  <a:gd name="connsiteX0" fmla="*/ 599987 w 599986"/>
                  <a:gd name="connsiteY0" fmla="*/ 402562 h 405133"/>
                  <a:gd name="connsiteX1" fmla="*/ 598252 w 599986"/>
                  <a:gd name="connsiteY1" fmla="*/ 405134 h 405133"/>
                  <a:gd name="connsiteX2" fmla="*/ 0 w 599986"/>
                  <a:gd name="connsiteY2" fmla="*/ 2572 h 405133"/>
                  <a:gd name="connsiteX3" fmla="*/ 1675 w 599986"/>
                  <a:gd name="connsiteY3" fmla="*/ 0 h 405133"/>
                </a:gdLst>
                <a:ahLst/>
                <a:cxnLst>
                  <a:cxn ang="0">
                    <a:pos x="connsiteX0" y="connsiteY0"/>
                  </a:cxn>
                  <a:cxn ang="0">
                    <a:pos x="connsiteX1" y="connsiteY1"/>
                  </a:cxn>
                  <a:cxn ang="0">
                    <a:pos x="connsiteX2" y="connsiteY2"/>
                  </a:cxn>
                  <a:cxn ang="0">
                    <a:pos x="connsiteX3" y="connsiteY3"/>
                  </a:cxn>
                </a:cxnLst>
                <a:rect l="l" t="t" r="r" b="b"/>
                <a:pathLst>
                  <a:path w="599986" h="405133">
                    <a:moveTo>
                      <a:pt x="599987" y="402562"/>
                    </a:moveTo>
                    <a:lnTo>
                      <a:pt x="598252" y="405134"/>
                    </a:lnTo>
                    <a:lnTo>
                      <a:pt x="0" y="2572"/>
                    </a:lnTo>
                    <a:lnTo>
                      <a:pt x="1675" y="0"/>
                    </a:lnTo>
                    <a:close/>
                  </a:path>
                </a:pathLst>
              </a:custGeom>
              <a:grpFill/>
              <a:ln w="5978" cap="flat">
                <a:noFill/>
                <a:prstDash val="solid"/>
                <a:miter/>
              </a:ln>
            </p:spPr>
            <p:txBody>
              <a:bodyPr rtlCol="0" anchor="ctr"/>
              <a:lstStyle/>
              <a:p>
                <a:endParaRPr lang="en-GB"/>
              </a:p>
            </p:txBody>
          </p:sp>
          <p:sp>
            <p:nvSpPr>
              <p:cNvPr id="4327" name="Vrije vorm: vorm 4326">
                <a:extLst>
                  <a:ext uri="{FF2B5EF4-FFF2-40B4-BE49-F238E27FC236}">
                    <a16:creationId xmlns:a16="http://schemas.microsoft.com/office/drawing/2014/main" id="{2EF48FEF-C774-4A85-A787-66475E3B4EF1}"/>
                  </a:ext>
                </a:extLst>
              </p:cNvPr>
              <p:cNvSpPr/>
              <p:nvPr/>
            </p:nvSpPr>
            <p:spPr>
              <a:xfrm>
                <a:off x="7502625" y="4264469"/>
                <a:ext cx="18302" cy="18457"/>
              </a:xfrm>
              <a:custGeom>
                <a:avLst/>
                <a:gdLst>
                  <a:gd name="connsiteX0" fmla="*/ 4097 w 18302"/>
                  <a:gd name="connsiteY0" fmla="*/ 16871 h 18457"/>
                  <a:gd name="connsiteX1" fmla="*/ 1526 w 18302"/>
                  <a:gd name="connsiteY1" fmla="*/ 4072 h 18457"/>
                  <a:gd name="connsiteX2" fmla="*/ 14205 w 18302"/>
                  <a:gd name="connsiteY2" fmla="*/ 1560 h 18457"/>
                  <a:gd name="connsiteX3" fmla="*/ 16776 w 18302"/>
                  <a:gd name="connsiteY3" fmla="*/ 14359 h 18457"/>
                  <a:gd name="connsiteX4" fmla="*/ 4097 w 18302"/>
                  <a:gd name="connsiteY4" fmla="*/ 16871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57">
                    <a:moveTo>
                      <a:pt x="4097" y="16871"/>
                    </a:moveTo>
                    <a:cubicBezTo>
                      <a:pt x="-89" y="14060"/>
                      <a:pt x="-1285" y="8319"/>
                      <a:pt x="1526" y="4072"/>
                    </a:cubicBezTo>
                    <a:cubicBezTo>
                      <a:pt x="4337" y="-174"/>
                      <a:pt x="10018" y="-1251"/>
                      <a:pt x="14205" y="1560"/>
                    </a:cubicBezTo>
                    <a:cubicBezTo>
                      <a:pt x="18391" y="4371"/>
                      <a:pt x="19588" y="10113"/>
                      <a:pt x="16776" y="14359"/>
                    </a:cubicBezTo>
                    <a:cubicBezTo>
                      <a:pt x="14025" y="18605"/>
                      <a:pt x="8344" y="19742"/>
                      <a:pt x="4097" y="16871"/>
                    </a:cubicBezTo>
                    <a:close/>
                  </a:path>
                </a:pathLst>
              </a:custGeom>
              <a:grpFill/>
              <a:ln w="5978" cap="flat">
                <a:noFill/>
                <a:prstDash val="solid"/>
                <a:miter/>
              </a:ln>
            </p:spPr>
            <p:txBody>
              <a:bodyPr rtlCol="0" anchor="ctr"/>
              <a:lstStyle/>
              <a:p>
                <a:endParaRPr lang="en-GB"/>
              </a:p>
            </p:txBody>
          </p:sp>
          <p:sp>
            <p:nvSpPr>
              <p:cNvPr id="4328" name="Vrije vorm: vorm 4327">
                <a:extLst>
                  <a:ext uri="{FF2B5EF4-FFF2-40B4-BE49-F238E27FC236}">
                    <a16:creationId xmlns:a16="http://schemas.microsoft.com/office/drawing/2014/main" id="{7824D91A-F323-4E69-A5FF-77FC3A577A2F}"/>
                  </a:ext>
                </a:extLst>
              </p:cNvPr>
              <p:cNvSpPr/>
              <p:nvPr/>
            </p:nvSpPr>
            <p:spPr>
              <a:xfrm>
                <a:off x="8100185" y="4666553"/>
                <a:ext cx="18291" cy="18430"/>
              </a:xfrm>
              <a:custGeom>
                <a:avLst/>
                <a:gdLst>
                  <a:gd name="connsiteX0" fmla="*/ 4071 w 18291"/>
                  <a:gd name="connsiteY0" fmla="*/ 16871 h 18430"/>
                  <a:gd name="connsiteX1" fmla="*/ 16750 w 18291"/>
                  <a:gd name="connsiteY1" fmla="*/ 14359 h 18430"/>
                  <a:gd name="connsiteX2" fmla="*/ 14179 w 18291"/>
                  <a:gd name="connsiteY2" fmla="*/ 1560 h 18430"/>
                  <a:gd name="connsiteX3" fmla="*/ 1500 w 18291"/>
                  <a:gd name="connsiteY3" fmla="*/ 4072 h 18430"/>
                  <a:gd name="connsiteX4" fmla="*/ 4071 w 18291"/>
                  <a:gd name="connsiteY4" fmla="*/ 1687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30">
                    <a:moveTo>
                      <a:pt x="4071" y="16871"/>
                    </a:moveTo>
                    <a:cubicBezTo>
                      <a:pt x="8258" y="19682"/>
                      <a:pt x="13999" y="18605"/>
                      <a:pt x="16750" y="14359"/>
                    </a:cubicBezTo>
                    <a:cubicBezTo>
                      <a:pt x="19561" y="10113"/>
                      <a:pt x="18425" y="4431"/>
                      <a:pt x="14179" y="1560"/>
                    </a:cubicBezTo>
                    <a:cubicBezTo>
                      <a:pt x="9992" y="-1251"/>
                      <a:pt x="4251" y="-174"/>
                      <a:pt x="1500" y="4072"/>
                    </a:cubicBezTo>
                    <a:cubicBezTo>
                      <a:pt x="-1252" y="8318"/>
                      <a:pt x="-115" y="14060"/>
                      <a:pt x="4071" y="16871"/>
                    </a:cubicBezTo>
                    <a:close/>
                  </a:path>
                </a:pathLst>
              </a:custGeom>
              <a:grpFill/>
              <a:ln w="5978" cap="flat">
                <a:noFill/>
                <a:prstDash val="solid"/>
                <a:miter/>
              </a:ln>
            </p:spPr>
            <p:txBody>
              <a:bodyPr rtlCol="0" anchor="ctr"/>
              <a:lstStyle/>
              <a:p>
                <a:endParaRPr lang="en-GB"/>
              </a:p>
            </p:txBody>
          </p:sp>
        </p:grpSp>
        <p:grpSp>
          <p:nvGrpSpPr>
            <p:cNvPr id="352" name="Graphic 3">
              <a:extLst>
                <a:ext uri="{FF2B5EF4-FFF2-40B4-BE49-F238E27FC236}">
                  <a16:creationId xmlns:a16="http://schemas.microsoft.com/office/drawing/2014/main" id="{0C122E6F-81F6-409D-8CF7-73AC704C92EF}"/>
                </a:ext>
              </a:extLst>
            </p:cNvPr>
            <p:cNvGrpSpPr/>
            <p:nvPr/>
          </p:nvGrpSpPr>
          <p:grpSpPr>
            <a:xfrm>
              <a:off x="6707311" y="1311966"/>
              <a:ext cx="286233" cy="547007"/>
              <a:chOff x="6707311" y="1311966"/>
              <a:chExt cx="286233" cy="547007"/>
            </a:xfrm>
            <a:grpFill/>
          </p:grpSpPr>
          <p:sp>
            <p:nvSpPr>
              <p:cNvPr id="4323" name="Vrije vorm: vorm 4322">
                <a:extLst>
                  <a:ext uri="{FF2B5EF4-FFF2-40B4-BE49-F238E27FC236}">
                    <a16:creationId xmlns:a16="http://schemas.microsoft.com/office/drawing/2014/main" id="{1515CA41-33D8-4859-8E04-37EBDCAB2732}"/>
                  </a:ext>
                </a:extLst>
              </p:cNvPr>
              <p:cNvSpPr/>
              <p:nvPr/>
            </p:nvSpPr>
            <p:spPr>
              <a:xfrm>
                <a:off x="6714875" y="1320045"/>
                <a:ext cx="271106" cy="530789"/>
              </a:xfrm>
              <a:custGeom>
                <a:avLst/>
                <a:gdLst>
                  <a:gd name="connsiteX0" fmla="*/ 271106 w 271106"/>
                  <a:gd name="connsiteY0" fmla="*/ 1376 h 530789"/>
                  <a:gd name="connsiteX1" fmla="*/ 2751 w 271106"/>
                  <a:gd name="connsiteY1" fmla="*/ 530789 h 530789"/>
                  <a:gd name="connsiteX2" fmla="*/ 0 w 271106"/>
                  <a:gd name="connsiteY2" fmla="*/ 529413 h 530789"/>
                  <a:gd name="connsiteX3" fmla="*/ 268355 w 271106"/>
                  <a:gd name="connsiteY3" fmla="*/ 0 h 530789"/>
                </a:gdLst>
                <a:ahLst/>
                <a:cxnLst>
                  <a:cxn ang="0">
                    <a:pos x="connsiteX0" y="connsiteY0"/>
                  </a:cxn>
                  <a:cxn ang="0">
                    <a:pos x="connsiteX1" y="connsiteY1"/>
                  </a:cxn>
                  <a:cxn ang="0">
                    <a:pos x="connsiteX2" y="connsiteY2"/>
                  </a:cxn>
                  <a:cxn ang="0">
                    <a:pos x="connsiteX3" y="connsiteY3"/>
                  </a:cxn>
                </a:cxnLst>
                <a:rect l="l" t="t" r="r" b="b"/>
                <a:pathLst>
                  <a:path w="271106" h="530789">
                    <a:moveTo>
                      <a:pt x="271106" y="1376"/>
                    </a:moveTo>
                    <a:lnTo>
                      <a:pt x="2751" y="530789"/>
                    </a:lnTo>
                    <a:lnTo>
                      <a:pt x="0" y="529413"/>
                    </a:lnTo>
                    <a:lnTo>
                      <a:pt x="268355" y="0"/>
                    </a:lnTo>
                    <a:close/>
                  </a:path>
                </a:pathLst>
              </a:custGeom>
              <a:grpFill/>
              <a:ln w="5978" cap="flat">
                <a:noFill/>
                <a:prstDash val="solid"/>
                <a:miter/>
              </a:ln>
            </p:spPr>
            <p:txBody>
              <a:bodyPr rtlCol="0" anchor="ctr"/>
              <a:lstStyle/>
              <a:p>
                <a:endParaRPr lang="en-GB"/>
              </a:p>
            </p:txBody>
          </p:sp>
          <p:sp>
            <p:nvSpPr>
              <p:cNvPr id="4324" name="Vrije vorm: vorm 4323">
                <a:extLst>
                  <a:ext uri="{FF2B5EF4-FFF2-40B4-BE49-F238E27FC236}">
                    <a16:creationId xmlns:a16="http://schemas.microsoft.com/office/drawing/2014/main" id="{61F96FAA-1E1B-4867-BF92-07E73071702C}"/>
                  </a:ext>
                </a:extLst>
              </p:cNvPr>
              <p:cNvSpPr/>
              <p:nvPr/>
            </p:nvSpPr>
            <p:spPr>
              <a:xfrm>
                <a:off x="6707311" y="1840542"/>
                <a:ext cx="18297" cy="18431"/>
              </a:xfrm>
              <a:custGeom>
                <a:avLst/>
                <a:gdLst>
                  <a:gd name="connsiteX0" fmla="*/ 17312 w 18297"/>
                  <a:gd name="connsiteY0" fmla="*/ 13402 h 18431"/>
                  <a:gd name="connsiteX1" fmla="*/ 4992 w 18297"/>
                  <a:gd name="connsiteY1" fmla="*/ 17409 h 18431"/>
                  <a:gd name="connsiteX2" fmla="*/ 985 w 18297"/>
                  <a:gd name="connsiteY2" fmla="*/ 5029 h 18431"/>
                  <a:gd name="connsiteX3" fmla="*/ 13305 w 18297"/>
                  <a:gd name="connsiteY3" fmla="*/ 1022 h 18431"/>
                  <a:gd name="connsiteX4" fmla="*/ 17312 w 18297"/>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1">
                    <a:moveTo>
                      <a:pt x="17312" y="13402"/>
                    </a:moveTo>
                    <a:cubicBezTo>
                      <a:pt x="15039" y="17948"/>
                      <a:pt x="9477" y="19742"/>
                      <a:pt x="4992" y="17409"/>
                    </a:cubicBezTo>
                    <a:cubicBezTo>
                      <a:pt x="506" y="15077"/>
                      <a:pt x="-1288" y="9515"/>
                      <a:pt x="985" y="5029"/>
                    </a:cubicBezTo>
                    <a:cubicBezTo>
                      <a:pt x="3258" y="484"/>
                      <a:pt x="8820" y="-1310"/>
                      <a:pt x="13305" y="1022"/>
                    </a:cubicBezTo>
                    <a:cubicBezTo>
                      <a:pt x="17791" y="3295"/>
                      <a:pt x="19585" y="8857"/>
                      <a:pt x="17312" y="13402"/>
                    </a:cubicBezTo>
                    <a:close/>
                  </a:path>
                </a:pathLst>
              </a:custGeom>
              <a:grpFill/>
              <a:ln w="5978" cap="flat">
                <a:noFill/>
                <a:prstDash val="solid"/>
                <a:miter/>
              </a:ln>
            </p:spPr>
            <p:txBody>
              <a:bodyPr rtlCol="0" anchor="ctr"/>
              <a:lstStyle/>
              <a:p>
                <a:endParaRPr lang="en-GB"/>
              </a:p>
            </p:txBody>
          </p:sp>
          <p:sp>
            <p:nvSpPr>
              <p:cNvPr id="4325" name="Vrije vorm: vorm 4324">
                <a:extLst>
                  <a:ext uri="{FF2B5EF4-FFF2-40B4-BE49-F238E27FC236}">
                    <a16:creationId xmlns:a16="http://schemas.microsoft.com/office/drawing/2014/main" id="{0107099C-1E50-4BB4-A38D-26755DFE096F}"/>
                  </a:ext>
                </a:extLst>
              </p:cNvPr>
              <p:cNvSpPr/>
              <p:nvPr/>
            </p:nvSpPr>
            <p:spPr>
              <a:xfrm>
                <a:off x="6975248" y="1311966"/>
                <a:ext cx="18297" cy="18405"/>
              </a:xfrm>
              <a:custGeom>
                <a:avLst/>
                <a:gdLst>
                  <a:gd name="connsiteX0" fmla="*/ 17312 w 18297"/>
                  <a:gd name="connsiteY0" fmla="*/ 13402 h 18405"/>
                  <a:gd name="connsiteX1" fmla="*/ 13305 w 18297"/>
                  <a:gd name="connsiteY1" fmla="*/ 1022 h 18405"/>
                  <a:gd name="connsiteX2" fmla="*/ 985 w 18297"/>
                  <a:gd name="connsiteY2" fmla="*/ 5029 h 18405"/>
                  <a:gd name="connsiteX3" fmla="*/ 4992 w 18297"/>
                  <a:gd name="connsiteY3" fmla="*/ 17409 h 18405"/>
                  <a:gd name="connsiteX4" fmla="*/ 17312 w 18297"/>
                  <a:gd name="connsiteY4" fmla="*/ 1340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17312" y="13402"/>
                    </a:moveTo>
                    <a:cubicBezTo>
                      <a:pt x="19585" y="8857"/>
                      <a:pt x="17791" y="3295"/>
                      <a:pt x="13305" y="1022"/>
                    </a:cubicBezTo>
                    <a:cubicBezTo>
                      <a:pt x="8820" y="-1310"/>
                      <a:pt x="3258" y="484"/>
                      <a:pt x="985" y="5029"/>
                    </a:cubicBezTo>
                    <a:cubicBezTo>
                      <a:pt x="-1288" y="9575"/>
                      <a:pt x="507" y="15137"/>
                      <a:pt x="4992" y="17409"/>
                    </a:cubicBezTo>
                    <a:cubicBezTo>
                      <a:pt x="9478" y="19682"/>
                      <a:pt x="15039" y="17948"/>
                      <a:pt x="17312" y="13402"/>
                    </a:cubicBezTo>
                    <a:close/>
                  </a:path>
                </a:pathLst>
              </a:custGeom>
              <a:grpFill/>
              <a:ln w="5978" cap="flat">
                <a:noFill/>
                <a:prstDash val="solid"/>
                <a:miter/>
              </a:ln>
            </p:spPr>
            <p:txBody>
              <a:bodyPr rtlCol="0" anchor="ctr"/>
              <a:lstStyle/>
              <a:p>
                <a:endParaRPr lang="en-GB"/>
              </a:p>
            </p:txBody>
          </p:sp>
        </p:grpSp>
        <p:grpSp>
          <p:nvGrpSpPr>
            <p:cNvPr id="353" name="Graphic 3">
              <a:extLst>
                <a:ext uri="{FF2B5EF4-FFF2-40B4-BE49-F238E27FC236}">
                  <a16:creationId xmlns:a16="http://schemas.microsoft.com/office/drawing/2014/main" id="{8283A6BF-40CE-4EBA-9132-A4C93B45D097}"/>
                </a:ext>
              </a:extLst>
            </p:cNvPr>
            <p:cNvGrpSpPr/>
            <p:nvPr/>
          </p:nvGrpSpPr>
          <p:grpSpPr>
            <a:xfrm>
              <a:off x="7554082" y="4220819"/>
              <a:ext cx="459368" cy="301925"/>
              <a:chOff x="7554082" y="4220819"/>
              <a:chExt cx="459368" cy="301925"/>
            </a:xfrm>
            <a:grpFill/>
          </p:grpSpPr>
          <p:sp>
            <p:nvSpPr>
              <p:cNvPr id="4320" name="Vrije vorm: vorm 4319">
                <a:extLst>
                  <a:ext uri="{FF2B5EF4-FFF2-40B4-BE49-F238E27FC236}">
                    <a16:creationId xmlns:a16="http://schemas.microsoft.com/office/drawing/2014/main" id="{707D4DE6-A50E-47C6-B3FF-5D7FFB89D674}"/>
                  </a:ext>
                </a:extLst>
              </p:cNvPr>
              <p:cNvSpPr/>
              <p:nvPr/>
            </p:nvSpPr>
            <p:spPr>
              <a:xfrm>
                <a:off x="7562044" y="4228530"/>
                <a:ext cx="443470" cy="286536"/>
              </a:xfrm>
              <a:custGeom>
                <a:avLst/>
                <a:gdLst>
                  <a:gd name="connsiteX0" fmla="*/ 443471 w 443470"/>
                  <a:gd name="connsiteY0" fmla="*/ 283965 h 286536"/>
                  <a:gd name="connsiteX1" fmla="*/ 441856 w 443470"/>
                  <a:gd name="connsiteY1" fmla="*/ 286536 h 286536"/>
                  <a:gd name="connsiteX2" fmla="*/ 0 w 443470"/>
                  <a:gd name="connsiteY2" fmla="*/ 2572 h 286536"/>
                  <a:gd name="connsiteX3" fmla="*/ 1615 w 443470"/>
                  <a:gd name="connsiteY3" fmla="*/ 0 h 286536"/>
                </a:gdLst>
                <a:ahLst/>
                <a:cxnLst>
                  <a:cxn ang="0">
                    <a:pos x="connsiteX0" y="connsiteY0"/>
                  </a:cxn>
                  <a:cxn ang="0">
                    <a:pos x="connsiteX1" y="connsiteY1"/>
                  </a:cxn>
                  <a:cxn ang="0">
                    <a:pos x="connsiteX2" y="connsiteY2"/>
                  </a:cxn>
                  <a:cxn ang="0">
                    <a:pos x="connsiteX3" y="connsiteY3"/>
                  </a:cxn>
                </a:cxnLst>
                <a:rect l="l" t="t" r="r" b="b"/>
                <a:pathLst>
                  <a:path w="443470" h="286536">
                    <a:moveTo>
                      <a:pt x="443471" y="283965"/>
                    </a:moveTo>
                    <a:lnTo>
                      <a:pt x="441856" y="286536"/>
                    </a:lnTo>
                    <a:lnTo>
                      <a:pt x="0" y="2572"/>
                    </a:lnTo>
                    <a:lnTo>
                      <a:pt x="1615" y="0"/>
                    </a:lnTo>
                    <a:close/>
                  </a:path>
                </a:pathLst>
              </a:custGeom>
              <a:grpFill/>
              <a:ln w="5978" cap="flat">
                <a:noFill/>
                <a:prstDash val="solid"/>
                <a:miter/>
              </a:ln>
            </p:spPr>
            <p:txBody>
              <a:bodyPr rtlCol="0" anchor="ctr"/>
              <a:lstStyle/>
              <a:p>
                <a:endParaRPr lang="en-GB"/>
              </a:p>
            </p:txBody>
          </p:sp>
          <p:sp>
            <p:nvSpPr>
              <p:cNvPr id="4321" name="Vrije vorm: vorm 4320">
                <a:extLst>
                  <a:ext uri="{FF2B5EF4-FFF2-40B4-BE49-F238E27FC236}">
                    <a16:creationId xmlns:a16="http://schemas.microsoft.com/office/drawing/2014/main" id="{7822DC30-EE87-4106-AE3E-32C85DD943C8}"/>
                  </a:ext>
                </a:extLst>
              </p:cNvPr>
              <p:cNvSpPr/>
              <p:nvPr/>
            </p:nvSpPr>
            <p:spPr>
              <a:xfrm>
                <a:off x="7554082" y="4220819"/>
                <a:ext cx="18376" cy="18439"/>
              </a:xfrm>
              <a:custGeom>
                <a:avLst/>
                <a:gdLst>
                  <a:gd name="connsiteX0" fmla="*/ 4254 w 18376"/>
                  <a:gd name="connsiteY0" fmla="*/ 16981 h 18439"/>
                  <a:gd name="connsiteX1" fmla="*/ 1443 w 18376"/>
                  <a:gd name="connsiteY1" fmla="*/ 4242 h 18439"/>
                  <a:gd name="connsiteX2" fmla="*/ 14122 w 18376"/>
                  <a:gd name="connsiteY2" fmla="*/ 1432 h 18439"/>
                  <a:gd name="connsiteX3" fmla="*/ 16933 w 18376"/>
                  <a:gd name="connsiteY3" fmla="*/ 14170 h 18439"/>
                  <a:gd name="connsiteX4" fmla="*/ 4254 w 18376"/>
                  <a:gd name="connsiteY4" fmla="*/ 16981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9">
                    <a:moveTo>
                      <a:pt x="4254" y="16981"/>
                    </a:moveTo>
                    <a:cubicBezTo>
                      <a:pt x="8" y="14230"/>
                      <a:pt x="-1308" y="8549"/>
                      <a:pt x="1443" y="4242"/>
                    </a:cubicBezTo>
                    <a:cubicBezTo>
                      <a:pt x="4135" y="-64"/>
                      <a:pt x="9816" y="-1260"/>
                      <a:pt x="14122" y="1432"/>
                    </a:cubicBezTo>
                    <a:cubicBezTo>
                      <a:pt x="18368" y="4182"/>
                      <a:pt x="19685" y="9864"/>
                      <a:pt x="16933" y="14170"/>
                    </a:cubicBezTo>
                    <a:cubicBezTo>
                      <a:pt x="14182" y="18476"/>
                      <a:pt x="8501" y="19733"/>
                      <a:pt x="4254" y="16981"/>
                    </a:cubicBezTo>
                    <a:close/>
                  </a:path>
                </a:pathLst>
              </a:custGeom>
              <a:grpFill/>
              <a:ln w="5978" cap="flat">
                <a:noFill/>
                <a:prstDash val="solid"/>
                <a:miter/>
              </a:ln>
            </p:spPr>
            <p:txBody>
              <a:bodyPr rtlCol="0" anchor="ctr"/>
              <a:lstStyle/>
              <a:p>
                <a:endParaRPr lang="en-GB"/>
              </a:p>
            </p:txBody>
          </p:sp>
          <p:sp>
            <p:nvSpPr>
              <p:cNvPr id="4322" name="Vrije vorm: vorm 4321">
                <a:extLst>
                  <a:ext uri="{FF2B5EF4-FFF2-40B4-BE49-F238E27FC236}">
                    <a16:creationId xmlns:a16="http://schemas.microsoft.com/office/drawing/2014/main" id="{EEF5924D-C0A3-43DE-B4B8-22886B783F1C}"/>
                  </a:ext>
                </a:extLst>
              </p:cNvPr>
              <p:cNvSpPr/>
              <p:nvPr/>
            </p:nvSpPr>
            <p:spPr>
              <a:xfrm>
                <a:off x="7995146" y="4504278"/>
                <a:ext cx="18304" cy="18465"/>
              </a:xfrm>
              <a:custGeom>
                <a:avLst/>
                <a:gdLst>
                  <a:gd name="connsiteX0" fmla="*/ 4269 w 18304"/>
                  <a:gd name="connsiteY0" fmla="*/ 17008 h 18465"/>
                  <a:gd name="connsiteX1" fmla="*/ 16888 w 18304"/>
                  <a:gd name="connsiteY1" fmla="*/ 14197 h 18465"/>
                  <a:gd name="connsiteX2" fmla="*/ 14077 w 18304"/>
                  <a:gd name="connsiteY2" fmla="*/ 1458 h 18465"/>
                  <a:gd name="connsiteX3" fmla="*/ 1458 w 18304"/>
                  <a:gd name="connsiteY3" fmla="*/ 4269 h 18465"/>
                  <a:gd name="connsiteX4" fmla="*/ 4269 w 18304"/>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65">
                    <a:moveTo>
                      <a:pt x="4269" y="17008"/>
                    </a:moveTo>
                    <a:cubicBezTo>
                      <a:pt x="8515" y="19759"/>
                      <a:pt x="14197" y="18503"/>
                      <a:pt x="16888" y="14197"/>
                    </a:cubicBezTo>
                    <a:cubicBezTo>
                      <a:pt x="19580" y="9891"/>
                      <a:pt x="18324" y="4209"/>
                      <a:pt x="14077" y="1458"/>
                    </a:cubicBezTo>
                    <a:cubicBezTo>
                      <a:pt x="9831" y="-1293"/>
                      <a:pt x="4150" y="-37"/>
                      <a:pt x="1458" y="4269"/>
                    </a:cubicBezTo>
                    <a:cubicBezTo>
                      <a:pt x="-1293" y="8575"/>
                      <a:pt x="-37" y="14257"/>
                      <a:pt x="4269" y="17008"/>
                    </a:cubicBezTo>
                    <a:close/>
                  </a:path>
                </a:pathLst>
              </a:custGeom>
              <a:grpFill/>
              <a:ln w="5978" cap="flat">
                <a:noFill/>
                <a:prstDash val="solid"/>
                <a:miter/>
              </a:ln>
            </p:spPr>
            <p:txBody>
              <a:bodyPr rtlCol="0" anchor="ctr"/>
              <a:lstStyle/>
              <a:p>
                <a:endParaRPr lang="en-GB"/>
              </a:p>
            </p:txBody>
          </p:sp>
        </p:grpSp>
        <p:grpSp>
          <p:nvGrpSpPr>
            <p:cNvPr id="354" name="Graphic 3">
              <a:extLst>
                <a:ext uri="{FF2B5EF4-FFF2-40B4-BE49-F238E27FC236}">
                  <a16:creationId xmlns:a16="http://schemas.microsoft.com/office/drawing/2014/main" id="{C98B54B0-E37E-4A41-A1B9-B51E9FAC2AB1}"/>
                </a:ext>
              </a:extLst>
            </p:cNvPr>
            <p:cNvGrpSpPr/>
            <p:nvPr/>
          </p:nvGrpSpPr>
          <p:grpSpPr>
            <a:xfrm>
              <a:off x="7563023" y="4189634"/>
              <a:ext cx="418274" cy="268397"/>
              <a:chOff x="7563023" y="4189634"/>
              <a:chExt cx="418274" cy="268397"/>
            </a:xfrm>
            <a:grpFill/>
          </p:grpSpPr>
          <p:sp>
            <p:nvSpPr>
              <p:cNvPr id="4317" name="Vrije vorm: vorm 4316">
                <a:extLst>
                  <a:ext uri="{FF2B5EF4-FFF2-40B4-BE49-F238E27FC236}">
                    <a16:creationId xmlns:a16="http://schemas.microsoft.com/office/drawing/2014/main" id="{C3132733-C16F-49B8-97A4-5BF01A65019B}"/>
                  </a:ext>
                </a:extLst>
              </p:cNvPr>
              <p:cNvSpPr/>
              <p:nvPr/>
            </p:nvSpPr>
            <p:spPr>
              <a:xfrm>
                <a:off x="7571015" y="4197310"/>
                <a:ext cx="402323" cy="253044"/>
              </a:xfrm>
              <a:custGeom>
                <a:avLst/>
                <a:gdLst>
                  <a:gd name="connsiteX0" fmla="*/ 402323 w 402323"/>
                  <a:gd name="connsiteY0" fmla="*/ 250413 h 253044"/>
                  <a:gd name="connsiteX1" fmla="*/ 400708 w 402323"/>
                  <a:gd name="connsiteY1" fmla="*/ 253044 h 253044"/>
                  <a:gd name="connsiteX2" fmla="*/ 0 w 402323"/>
                  <a:gd name="connsiteY2" fmla="*/ 2572 h 253044"/>
                  <a:gd name="connsiteX3" fmla="*/ 1615 w 402323"/>
                  <a:gd name="connsiteY3" fmla="*/ 0 h 253044"/>
                </a:gdLst>
                <a:ahLst/>
                <a:cxnLst>
                  <a:cxn ang="0">
                    <a:pos x="connsiteX0" y="connsiteY0"/>
                  </a:cxn>
                  <a:cxn ang="0">
                    <a:pos x="connsiteX1" y="connsiteY1"/>
                  </a:cxn>
                  <a:cxn ang="0">
                    <a:pos x="connsiteX2" y="connsiteY2"/>
                  </a:cxn>
                  <a:cxn ang="0">
                    <a:pos x="connsiteX3" y="connsiteY3"/>
                  </a:cxn>
                </a:cxnLst>
                <a:rect l="l" t="t" r="r" b="b"/>
                <a:pathLst>
                  <a:path w="402323" h="253044">
                    <a:moveTo>
                      <a:pt x="402323" y="250413"/>
                    </a:moveTo>
                    <a:lnTo>
                      <a:pt x="400708" y="253044"/>
                    </a:lnTo>
                    <a:lnTo>
                      <a:pt x="0" y="2572"/>
                    </a:lnTo>
                    <a:lnTo>
                      <a:pt x="1615" y="0"/>
                    </a:lnTo>
                    <a:close/>
                  </a:path>
                </a:pathLst>
              </a:custGeom>
              <a:grpFill/>
              <a:ln w="5978" cap="flat">
                <a:noFill/>
                <a:prstDash val="solid"/>
                <a:miter/>
              </a:ln>
            </p:spPr>
            <p:txBody>
              <a:bodyPr rtlCol="0" anchor="ctr"/>
              <a:lstStyle/>
              <a:p>
                <a:endParaRPr lang="en-GB"/>
              </a:p>
            </p:txBody>
          </p:sp>
          <p:sp>
            <p:nvSpPr>
              <p:cNvPr id="4318" name="Vrije vorm: vorm 4317">
                <a:extLst>
                  <a:ext uri="{FF2B5EF4-FFF2-40B4-BE49-F238E27FC236}">
                    <a16:creationId xmlns:a16="http://schemas.microsoft.com/office/drawing/2014/main" id="{3F65BDC3-B03E-49DB-99FD-AA92A94B6CB9}"/>
                  </a:ext>
                </a:extLst>
              </p:cNvPr>
              <p:cNvSpPr/>
              <p:nvPr/>
            </p:nvSpPr>
            <p:spPr>
              <a:xfrm>
                <a:off x="7563023" y="4189634"/>
                <a:ext cx="18316" cy="18403"/>
              </a:xfrm>
              <a:custGeom>
                <a:avLst/>
                <a:gdLst>
                  <a:gd name="connsiteX0" fmla="*/ 4344 w 18316"/>
                  <a:gd name="connsiteY0" fmla="*/ 17007 h 18403"/>
                  <a:gd name="connsiteX1" fmla="*/ 1353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3" y="4327"/>
                    </a:cubicBezTo>
                    <a:cubicBezTo>
                      <a:pt x="3985" y="21"/>
                      <a:pt x="9667" y="-1294"/>
                      <a:pt x="13973" y="1397"/>
                    </a:cubicBezTo>
                    <a:cubicBezTo>
                      <a:pt x="18279" y="4088"/>
                      <a:pt x="19595" y="9770"/>
                      <a:pt x="16963" y="14076"/>
                    </a:cubicBezTo>
                    <a:cubicBezTo>
                      <a:pt x="14332" y="18382"/>
                      <a:pt x="8650" y="19698"/>
                      <a:pt x="4344" y="17007"/>
                    </a:cubicBezTo>
                    <a:close/>
                  </a:path>
                </a:pathLst>
              </a:custGeom>
              <a:grpFill/>
              <a:ln w="5978" cap="flat">
                <a:noFill/>
                <a:prstDash val="solid"/>
                <a:miter/>
              </a:ln>
            </p:spPr>
            <p:txBody>
              <a:bodyPr rtlCol="0" anchor="ctr"/>
              <a:lstStyle/>
              <a:p>
                <a:endParaRPr lang="en-GB"/>
              </a:p>
            </p:txBody>
          </p:sp>
          <p:sp>
            <p:nvSpPr>
              <p:cNvPr id="4319" name="Vrije vorm: vorm 4318">
                <a:extLst>
                  <a:ext uri="{FF2B5EF4-FFF2-40B4-BE49-F238E27FC236}">
                    <a16:creationId xmlns:a16="http://schemas.microsoft.com/office/drawing/2014/main" id="{B2695965-D95F-44EC-99F5-D46B4C838376}"/>
                  </a:ext>
                </a:extLst>
              </p:cNvPr>
              <p:cNvSpPr/>
              <p:nvPr/>
            </p:nvSpPr>
            <p:spPr>
              <a:xfrm>
                <a:off x="7962954" y="4439628"/>
                <a:ext cx="18343" cy="18403"/>
              </a:xfrm>
              <a:custGeom>
                <a:avLst/>
                <a:gdLst>
                  <a:gd name="connsiteX0" fmla="*/ 4344 w 18343"/>
                  <a:gd name="connsiteY0" fmla="*/ 17007 h 18403"/>
                  <a:gd name="connsiteX1" fmla="*/ 16963 w 18343"/>
                  <a:gd name="connsiteY1" fmla="*/ 14076 h 18403"/>
                  <a:gd name="connsiteX2" fmla="*/ 13973 w 18343"/>
                  <a:gd name="connsiteY2" fmla="*/ 1397 h 18403"/>
                  <a:gd name="connsiteX3" fmla="*/ 1353 w 18343"/>
                  <a:gd name="connsiteY3" fmla="*/ 4328 h 18403"/>
                  <a:gd name="connsiteX4" fmla="*/ 4344 w 18343"/>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4344" y="17007"/>
                    </a:moveTo>
                    <a:cubicBezTo>
                      <a:pt x="8650" y="19698"/>
                      <a:pt x="14272" y="18382"/>
                      <a:pt x="16963" y="14076"/>
                    </a:cubicBezTo>
                    <a:cubicBezTo>
                      <a:pt x="19655" y="9770"/>
                      <a:pt x="18279" y="4088"/>
                      <a:pt x="13973" y="1397"/>
                    </a:cubicBezTo>
                    <a:cubicBezTo>
                      <a:pt x="9667" y="-1294"/>
                      <a:pt x="4045" y="21"/>
                      <a:pt x="1353" y="4328"/>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355" name="Graphic 3">
              <a:extLst>
                <a:ext uri="{FF2B5EF4-FFF2-40B4-BE49-F238E27FC236}">
                  <a16:creationId xmlns:a16="http://schemas.microsoft.com/office/drawing/2014/main" id="{76675429-29BE-4ADC-A40E-377B32EC849B}"/>
                </a:ext>
              </a:extLst>
            </p:cNvPr>
            <p:cNvGrpSpPr/>
            <p:nvPr/>
          </p:nvGrpSpPr>
          <p:grpSpPr>
            <a:xfrm>
              <a:off x="7724995" y="4232921"/>
              <a:ext cx="20980" cy="19745"/>
              <a:chOff x="7724995" y="4232921"/>
              <a:chExt cx="20980" cy="19745"/>
            </a:xfrm>
            <a:grpFill/>
          </p:grpSpPr>
          <p:sp>
            <p:nvSpPr>
              <p:cNvPr id="4315" name="Vrije vorm: vorm 4314">
                <a:extLst>
                  <a:ext uri="{FF2B5EF4-FFF2-40B4-BE49-F238E27FC236}">
                    <a16:creationId xmlns:a16="http://schemas.microsoft.com/office/drawing/2014/main" id="{1DE6BA75-94C4-4EC8-ADE2-0277630885B4}"/>
                  </a:ext>
                </a:extLst>
              </p:cNvPr>
              <p:cNvSpPr/>
              <p:nvPr/>
            </p:nvSpPr>
            <p:spPr>
              <a:xfrm>
                <a:off x="7724995" y="4232921"/>
                <a:ext cx="18349" cy="18418"/>
              </a:xfrm>
              <a:custGeom>
                <a:avLst/>
                <a:gdLst>
                  <a:gd name="connsiteX0" fmla="*/ 13182 w 18349"/>
                  <a:gd name="connsiteY0" fmla="*/ 931 h 18418"/>
                  <a:gd name="connsiteX1" fmla="*/ 17428 w 18349"/>
                  <a:gd name="connsiteY1" fmla="*/ 13252 h 18418"/>
                  <a:gd name="connsiteX2" fmla="*/ 5168 w 18349"/>
                  <a:gd name="connsiteY2" fmla="*/ 17498 h 18418"/>
                  <a:gd name="connsiteX3" fmla="*/ 921 w 18349"/>
                  <a:gd name="connsiteY3" fmla="*/ 5178 h 18418"/>
                  <a:gd name="connsiteX4" fmla="*/ 13182 w 18349"/>
                  <a:gd name="connsiteY4" fmla="*/ 93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8">
                    <a:moveTo>
                      <a:pt x="13182" y="931"/>
                    </a:moveTo>
                    <a:cubicBezTo>
                      <a:pt x="17727" y="3144"/>
                      <a:pt x="19641" y="8706"/>
                      <a:pt x="17428" y="13252"/>
                    </a:cubicBezTo>
                    <a:cubicBezTo>
                      <a:pt x="15215" y="17797"/>
                      <a:pt x="9712" y="19711"/>
                      <a:pt x="5168" y="17498"/>
                    </a:cubicBezTo>
                    <a:cubicBezTo>
                      <a:pt x="622" y="15285"/>
                      <a:pt x="-1292" y="9723"/>
                      <a:pt x="921" y="5178"/>
                    </a:cubicBezTo>
                    <a:cubicBezTo>
                      <a:pt x="3134" y="573"/>
                      <a:pt x="8636" y="-1281"/>
                      <a:pt x="13182" y="931"/>
                    </a:cubicBezTo>
                    <a:close/>
                  </a:path>
                </a:pathLst>
              </a:custGeom>
              <a:grpFill/>
              <a:ln w="5978" cap="flat">
                <a:noFill/>
                <a:prstDash val="solid"/>
                <a:miter/>
              </a:ln>
            </p:spPr>
            <p:txBody>
              <a:bodyPr rtlCol="0" anchor="ctr"/>
              <a:lstStyle/>
              <a:p>
                <a:endParaRPr lang="en-GB"/>
              </a:p>
            </p:txBody>
          </p:sp>
          <p:sp>
            <p:nvSpPr>
              <p:cNvPr id="4316" name="Vrije vorm: vorm 4315">
                <a:extLst>
                  <a:ext uri="{FF2B5EF4-FFF2-40B4-BE49-F238E27FC236}">
                    <a16:creationId xmlns:a16="http://schemas.microsoft.com/office/drawing/2014/main" id="{2948C21F-C319-41FC-9241-60DDC46747C6}"/>
                  </a:ext>
                </a:extLst>
              </p:cNvPr>
              <p:cNvSpPr/>
              <p:nvPr/>
            </p:nvSpPr>
            <p:spPr>
              <a:xfrm>
                <a:off x="7727627" y="4234237"/>
                <a:ext cx="18349" cy="18429"/>
              </a:xfrm>
              <a:custGeom>
                <a:avLst/>
                <a:gdLst>
                  <a:gd name="connsiteX0" fmla="*/ 13181 w 18349"/>
                  <a:gd name="connsiteY0" fmla="*/ 931 h 18429"/>
                  <a:gd name="connsiteX1" fmla="*/ 921 w 18349"/>
                  <a:gd name="connsiteY1" fmla="*/ 5178 h 18429"/>
                  <a:gd name="connsiteX2" fmla="*/ 5167 w 18349"/>
                  <a:gd name="connsiteY2" fmla="*/ 17498 h 18429"/>
                  <a:gd name="connsiteX3" fmla="*/ 17428 w 18349"/>
                  <a:gd name="connsiteY3" fmla="*/ 13252 h 18429"/>
                  <a:gd name="connsiteX4" fmla="*/ 13181 w 18349"/>
                  <a:gd name="connsiteY4" fmla="*/ 93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9">
                    <a:moveTo>
                      <a:pt x="13181" y="931"/>
                    </a:moveTo>
                    <a:cubicBezTo>
                      <a:pt x="8636" y="-1281"/>
                      <a:pt x="3134" y="573"/>
                      <a:pt x="921" y="5178"/>
                    </a:cubicBezTo>
                    <a:cubicBezTo>
                      <a:pt x="-1292" y="9723"/>
                      <a:pt x="622" y="15285"/>
                      <a:pt x="5167" y="17498"/>
                    </a:cubicBezTo>
                    <a:cubicBezTo>
                      <a:pt x="9713" y="19711"/>
                      <a:pt x="15215" y="17857"/>
                      <a:pt x="17428" y="13252"/>
                    </a:cubicBezTo>
                    <a:cubicBezTo>
                      <a:pt x="19641" y="8647"/>
                      <a:pt x="17727" y="3144"/>
                      <a:pt x="13181" y="931"/>
                    </a:cubicBezTo>
                    <a:close/>
                  </a:path>
                </a:pathLst>
              </a:custGeom>
              <a:grpFill/>
              <a:ln w="5978" cap="flat">
                <a:noFill/>
                <a:prstDash val="solid"/>
                <a:miter/>
              </a:ln>
            </p:spPr>
            <p:txBody>
              <a:bodyPr rtlCol="0" anchor="ctr"/>
              <a:lstStyle/>
              <a:p>
                <a:endParaRPr lang="en-GB"/>
              </a:p>
            </p:txBody>
          </p:sp>
        </p:grpSp>
        <p:grpSp>
          <p:nvGrpSpPr>
            <p:cNvPr id="356" name="Graphic 3">
              <a:extLst>
                <a:ext uri="{FF2B5EF4-FFF2-40B4-BE49-F238E27FC236}">
                  <a16:creationId xmlns:a16="http://schemas.microsoft.com/office/drawing/2014/main" id="{87331232-655A-4B9F-A322-4AEDD8ECEC43}"/>
                </a:ext>
              </a:extLst>
            </p:cNvPr>
            <p:cNvGrpSpPr/>
            <p:nvPr/>
          </p:nvGrpSpPr>
          <p:grpSpPr>
            <a:xfrm>
              <a:off x="7520435" y="4238490"/>
              <a:ext cx="503962" cy="339102"/>
              <a:chOff x="7520435" y="4238490"/>
              <a:chExt cx="503962" cy="339102"/>
            </a:xfrm>
            <a:grpFill/>
          </p:grpSpPr>
          <p:sp>
            <p:nvSpPr>
              <p:cNvPr id="4312" name="Vrije vorm: vorm 4311">
                <a:extLst>
                  <a:ext uri="{FF2B5EF4-FFF2-40B4-BE49-F238E27FC236}">
                    <a16:creationId xmlns:a16="http://schemas.microsoft.com/office/drawing/2014/main" id="{8F4D590E-61E6-4B0F-B5E8-06FCA88466BA}"/>
                  </a:ext>
                </a:extLst>
              </p:cNvPr>
              <p:cNvSpPr/>
              <p:nvPr/>
            </p:nvSpPr>
            <p:spPr>
              <a:xfrm>
                <a:off x="7528373" y="4246173"/>
                <a:ext cx="488087" cy="323736"/>
              </a:xfrm>
              <a:custGeom>
                <a:avLst/>
                <a:gdLst>
                  <a:gd name="connsiteX0" fmla="*/ 488087 w 488087"/>
                  <a:gd name="connsiteY0" fmla="*/ 321165 h 323736"/>
                  <a:gd name="connsiteX1" fmla="*/ 486413 w 488087"/>
                  <a:gd name="connsiteY1" fmla="*/ 323736 h 323736"/>
                  <a:gd name="connsiteX2" fmla="*/ 0 w 488087"/>
                  <a:gd name="connsiteY2" fmla="*/ 2572 h 323736"/>
                  <a:gd name="connsiteX3" fmla="*/ 1675 w 488087"/>
                  <a:gd name="connsiteY3" fmla="*/ 0 h 323736"/>
                </a:gdLst>
                <a:ahLst/>
                <a:cxnLst>
                  <a:cxn ang="0">
                    <a:pos x="connsiteX0" y="connsiteY0"/>
                  </a:cxn>
                  <a:cxn ang="0">
                    <a:pos x="connsiteX1" y="connsiteY1"/>
                  </a:cxn>
                  <a:cxn ang="0">
                    <a:pos x="connsiteX2" y="connsiteY2"/>
                  </a:cxn>
                  <a:cxn ang="0">
                    <a:pos x="connsiteX3" y="connsiteY3"/>
                  </a:cxn>
                </a:cxnLst>
                <a:rect l="l" t="t" r="r" b="b"/>
                <a:pathLst>
                  <a:path w="488087" h="323736">
                    <a:moveTo>
                      <a:pt x="488087" y="321165"/>
                    </a:moveTo>
                    <a:lnTo>
                      <a:pt x="486413" y="323736"/>
                    </a:lnTo>
                    <a:lnTo>
                      <a:pt x="0" y="2572"/>
                    </a:lnTo>
                    <a:lnTo>
                      <a:pt x="1675" y="0"/>
                    </a:lnTo>
                    <a:close/>
                  </a:path>
                </a:pathLst>
              </a:custGeom>
              <a:grpFill/>
              <a:ln w="5978" cap="flat">
                <a:noFill/>
                <a:prstDash val="solid"/>
                <a:miter/>
              </a:ln>
            </p:spPr>
            <p:txBody>
              <a:bodyPr rtlCol="0" anchor="ctr"/>
              <a:lstStyle/>
              <a:p>
                <a:endParaRPr lang="en-GB"/>
              </a:p>
            </p:txBody>
          </p:sp>
          <p:sp>
            <p:nvSpPr>
              <p:cNvPr id="4313" name="Vrije vorm: vorm 4312">
                <a:extLst>
                  <a:ext uri="{FF2B5EF4-FFF2-40B4-BE49-F238E27FC236}">
                    <a16:creationId xmlns:a16="http://schemas.microsoft.com/office/drawing/2014/main" id="{145DE0D6-DD17-46CA-AB30-C9CCF18639DF}"/>
                  </a:ext>
                </a:extLst>
              </p:cNvPr>
              <p:cNvSpPr/>
              <p:nvPr/>
            </p:nvSpPr>
            <p:spPr>
              <a:xfrm>
                <a:off x="7520435" y="4238490"/>
                <a:ext cx="18327" cy="18416"/>
              </a:xfrm>
              <a:custGeom>
                <a:avLst/>
                <a:gdLst>
                  <a:gd name="connsiteX0" fmla="*/ 4169 w 18327"/>
                  <a:gd name="connsiteY0" fmla="*/ 16893 h 18416"/>
                  <a:gd name="connsiteX1" fmla="*/ 1478 w 18327"/>
                  <a:gd name="connsiteY1" fmla="*/ 4154 h 18416"/>
                  <a:gd name="connsiteX2" fmla="*/ 14158 w 18327"/>
                  <a:gd name="connsiteY2" fmla="*/ 1523 h 18416"/>
                  <a:gd name="connsiteX3" fmla="*/ 16849 w 18327"/>
                  <a:gd name="connsiteY3" fmla="*/ 14262 h 18416"/>
                  <a:gd name="connsiteX4" fmla="*/ 4169 w 18327"/>
                  <a:gd name="connsiteY4" fmla="*/ 1689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4169" y="16893"/>
                    </a:moveTo>
                    <a:cubicBezTo>
                      <a:pt x="-77" y="14083"/>
                      <a:pt x="-1272" y="8401"/>
                      <a:pt x="1478" y="4154"/>
                    </a:cubicBezTo>
                    <a:cubicBezTo>
                      <a:pt x="4229" y="-92"/>
                      <a:pt x="9911" y="-1288"/>
                      <a:pt x="14158" y="1523"/>
                    </a:cubicBezTo>
                    <a:cubicBezTo>
                      <a:pt x="18404" y="4334"/>
                      <a:pt x="19600" y="10015"/>
                      <a:pt x="16849" y="14262"/>
                    </a:cubicBezTo>
                    <a:cubicBezTo>
                      <a:pt x="14038" y="18508"/>
                      <a:pt x="8356" y="19705"/>
                      <a:pt x="4169" y="16893"/>
                    </a:cubicBezTo>
                    <a:close/>
                  </a:path>
                </a:pathLst>
              </a:custGeom>
              <a:grpFill/>
              <a:ln w="5978" cap="flat">
                <a:noFill/>
                <a:prstDash val="solid"/>
                <a:miter/>
              </a:ln>
            </p:spPr>
            <p:txBody>
              <a:bodyPr rtlCol="0" anchor="ctr"/>
              <a:lstStyle/>
              <a:p>
                <a:endParaRPr lang="en-GB"/>
              </a:p>
            </p:txBody>
          </p:sp>
          <p:sp>
            <p:nvSpPr>
              <p:cNvPr id="4314" name="Vrije vorm: vorm 4313">
                <a:extLst>
                  <a:ext uri="{FF2B5EF4-FFF2-40B4-BE49-F238E27FC236}">
                    <a16:creationId xmlns:a16="http://schemas.microsoft.com/office/drawing/2014/main" id="{F0D097A9-2CE8-48BF-A81D-83055DA9B515}"/>
                  </a:ext>
                </a:extLst>
              </p:cNvPr>
              <p:cNvSpPr/>
              <p:nvPr/>
            </p:nvSpPr>
            <p:spPr>
              <a:xfrm>
                <a:off x="8006070" y="4559176"/>
                <a:ext cx="18327" cy="18416"/>
              </a:xfrm>
              <a:custGeom>
                <a:avLst/>
                <a:gdLst>
                  <a:gd name="connsiteX0" fmla="*/ 4170 w 18327"/>
                  <a:gd name="connsiteY0" fmla="*/ 16893 h 18416"/>
                  <a:gd name="connsiteX1" fmla="*/ 16849 w 18327"/>
                  <a:gd name="connsiteY1" fmla="*/ 14262 h 18416"/>
                  <a:gd name="connsiteX2" fmla="*/ 14158 w 18327"/>
                  <a:gd name="connsiteY2" fmla="*/ 1523 h 18416"/>
                  <a:gd name="connsiteX3" fmla="*/ 1478 w 18327"/>
                  <a:gd name="connsiteY3" fmla="*/ 4154 h 18416"/>
                  <a:gd name="connsiteX4" fmla="*/ 4170 w 18327"/>
                  <a:gd name="connsiteY4" fmla="*/ 1689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4170" y="16893"/>
                    </a:moveTo>
                    <a:cubicBezTo>
                      <a:pt x="8416" y="19705"/>
                      <a:pt x="14098" y="18508"/>
                      <a:pt x="16849" y="14262"/>
                    </a:cubicBezTo>
                    <a:cubicBezTo>
                      <a:pt x="19600" y="10016"/>
                      <a:pt x="18404" y="4274"/>
                      <a:pt x="14158" y="1523"/>
                    </a:cubicBezTo>
                    <a:cubicBezTo>
                      <a:pt x="9911" y="-1288"/>
                      <a:pt x="4230" y="-92"/>
                      <a:pt x="1478" y="4154"/>
                    </a:cubicBezTo>
                    <a:cubicBezTo>
                      <a:pt x="-1273" y="8341"/>
                      <a:pt x="-76" y="14083"/>
                      <a:pt x="4170" y="16893"/>
                    </a:cubicBezTo>
                    <a:close/>
                  </a:path>
                </a:pathLst>
              </a:custGeom>
              <a:grpFill/>
              <a:ln w="5978" cap="flat">
                <a:noFill/>
                <a:prstDash val="solid"/>
                <a:miter/>
              </a:ln>
            </p:spPr>
            <p:txBody>
              <a:bodyPr rtlCol="0" anchor="ctr"/>
              <a:lstStyle/>
              <a:p>
                <a:endParaRPr lang="en-GB"/>
              </a:p>
            </p:txBody>
          </p:sp>
        </p:grpSp>
        <p:grpSp>
          <p:nvGrpSpPr>
            <p:cNvPr id="357" name="Graphic 3">
              <a:extLst>
                <a:ext uri="{FF2B5EF4-FFF2-40B4-BE49-F238E27FC236}">
                  <a16:creationId xmlns:a16="http://schemas.microsoft.com/office/drawing/2014/main" id="{6463F777-1F0B-4CE7-9914-4432BE6444EF}"/>
                </a:ext>
              </a:extLst>
            </p:cNvPr>
            <p:cNvGrpSpPr/>
            <p:nvPr/>
          </p:nvGrpSpPr>
          <p:grpSpPr>
            <a:xfrm>
              <a:off x="6895369" y="1827430"/>
              <a:ext cx="93700" cy="147165"/>
              <a:chOff x="6895369" y="1827430"/>
              <a:chExt cx="93700" cy="147165"/>
            </a:xfrm>
            <a:grpFill/>
          </p:grpSpPr>
          <p:sp>
            <p:nvSpPr>
              <p:cNvPr id="4309" name="Vrije vorm: vorm 4308">
                <a:extLst>
                  <a:ext uri="{FF2B5EF4-FFF2-40B4-BE49-F238E27FC236}">
                    <a16:creationId xmlns:a16="http://schemas.microsoft.com/office/drawing/2014/main" id="{0BDEC9C8-9612-4DF9-8BF9-6088E83A22C8}"/>
                  </a:ext>
                </a:extLst>
              </p:cNvPr>
              <p:cNvSpPr/>
              <p:nvPr/>
            </p:nvSpPr>
            <p:spPr>
              <a:xfrm>
                <a:off x="6903029" y="1835464"/>
                <a:ext cx="78407" cy="131157"/>
              </a:xfrm>
              <a:custGeom>
                <a:avLst/>
                <a:gdLst>
                  <a:gd name="connsiteX0" fmla="*/ 78407 w 78407"/>
                  <a:gd name="connsiteY0" fmla="*/ 1555 h 131157"/>
                  <a:gd name="connsiteX1" fmla="*/ 2571 w 78407"/>
                  <a:gd name="connsiteY1" fmla="*/ 131157 h 131157"/>
                  <a:gd name="connsiteX2" fmla="*/ 0 w 78407"/>
                  <a:gd name="connsiteY2" fmla="*/ 129542 h 131157"/>
                  <a:gd name="connsiteX3" fmla="*/ 75776 w 78407"/>
                  <a:gd name="connsiteY3" fmla="*/ 0 h 131157"/>
                </a:gdLst>
                <a:ahLst/>
                <a:cxnLst>
                  <a:cxn ang="0">
                    <a:pos x="connsiteX0" y="connsiteY0"/>
                  </a:cxn>
                  <a:cxn ang="0">
                    <a:pos x="connsiteX1" y="connsiteY1"/>
                  </a:cxn>
                  <a:cxn ang="0">
                    <a:pos x="connsiteX2" y="connsiteY2"/>
                  </a:cxn>
                  <a:cxn ang="0">
                    <a:pos x="connsiteX3" y="connsiteY3"/>
                  </a:cxn>
                </a:cxnLst>
                <a:rect l="l" t="t" r="r" b="b"/>
                <a:pathLst>
                  <a:path w="78407" h="131157">
                    <a:moveTo>
                      <a:pt x="78407" y="1555"/>
                    </a:moveTo>
                    <a:lnTo>
                      <a:pt x="2571" y="131157"/>
                    </a:lnTo>
                    <a:lnTo>
                      <a:pt x="0" y="129542"/>
                    </a:lnTo>
                    <a:lnTo>
                      <a:pt x="75776" y="0"/>
                    </a:lnTo>
                    <a:close/>
                  </a:path>
                </a:pathLst>
              </a:custGeom>
              <a:grpFill/>
              <a:ln w="5978" cap="flat">
                <a:noFill/>
                <a:prstDash val="solid"/>
                <a:miter/>
              </a:ln>
            </p:spPr>
            <p:txBody>
              <a:bodyPr rtlCol="0" anchor="ctr"/>
              <a:lstStyle/>
              <a:p>
                <a:endParaRPr lang="en-GB"/>
              </a:p>
            </p:txBody>
          </p:sp>
          <p:sp>
            <p:nvSpPr>
              <p:cNvPr id="4310" name="Vrije vorm: vorm 4309">
                <a:extLst>
                  <a:ext uri="{FF2B5EF4-FFF2-40B4-BE49-F238E27FC236}">
                    <a16:creationId xmlns:a16="http://schemas.microsoft.com/office/drawing/2014/main" id="{A68E3576-9ADF-4CBB-86DE-378499A52CCD}"/>
                  </a:ext>
                </a:extLst>
              </p:cNvPr>
              <p:cNvSpPr/>
              <p:nvPr/>
            </p:nvSpPr>
            <p:spPr>
              <a:xfrm>
                <a:off x="6970726" y="1827430"/>
                <a:ext cx="18342" cy="18400"/>
              </a:xfrm>
              <a:custGeom>
                <a:avLst/>
                <a:gdLst>
                  <a:gd name="connsiteX0" fmla="*/ 1261 w 18342"/>
                  <a:gd name="connsiteY0" fmla="*/ 4506 h 18400"/>
                  <a:gd name="connsiteX1" fmla="*/ 13820 w 18342"/>
                  <a:gd name="connsiteY1" fmla="*/ 1276 h 18400"/>
                  <a:gd name="connsiteX2" fmla="*/ 17109 w 18342"/>
                  <a:gd name="connsiteY2" fmla="*/ 13895 h 18400"/>
                  <a:gd name="connsiteX3" fmla="*/ 4550 w 18342"/>
                  <a:gd name="connsiteY3" fmla="*/ 17125 h 18400"/>
                  <a:gd name="connsiteX4" fmla="*/ 1261 w 18342"/>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0">
                    <a:moveTo>
                      <a:pt x="1261" y="4506"/>
                    </a:moveTo>
                    <a:cubicBezTo>
                      <a:pt x="3832" y="140"/>
                      <a:pt x="9454" y="-1296"/>
                      <a:pt x="13820" y="1276"/>
                    </a:cubicBezTo>
                    <a:cubicBezTo>
                      <a:pt x="18186" y="3848"/>
                      <a:pt x="19621" y="9529"/>
                      <a:pt x="17109" y="13895"/>
                    </a:cubicBezTo>
                    <a:cubicBezTo>
                      <a:pt x="14538" y="18261"/>
                      <a:pt x="8915" y="19697"/>
                      <a:pt x="4550" y="17125"/>
                    </a:cubicBezTo>
                    <a:cubicBezTo>
                      <a:pt x="184" y="14553"/>
                      <a:pt x="-1311" y="8871"/>
                      <a:pt x="1261" y="4506"/>
                    </a:cubicBezTo>
                    <a:close/>
                  </a:path>
                </a:pathLst>
              </a:custGeom>
              <a:grpFill/>
              <a:ln w="5978" cap="flat">
                <a:noFill/>
                <a:prstDash val="solid"/>
                <a:miter/>
              </a:ln>
            </p:spPr>
            <p:txBody>
              <a:bodyPr rtlCol="0" anchor="ctr"/>
              <a:lstStyle/>
              <a:p>
                <a:endParaRPr lang="en-GB"/>
              </a:p>
            </p:txBody>
          </p:sp>
          <p:sp>
            <p:nvSpPr>
              <p:cNvPr id="4311" name="Vrije vorm: vorm 4310">
                <a:extLst>
                  <a:ext uri="{FF2B5EF4-FFF2-40B4-BE49-F238E27FC236}">
                    <a16:creationId xmlns:a16="http://schemas.microsoft.com/office/drawing/2014/main" id="{A7B6313B-9AA8-42C7-868B-35DE3596892F}"/>
                  </a:ext>
                </a:extLst>
              </p:cNvPr>
              <p:cNvSpPr/>
              <p:nvPr/>
            </p:nvSpPr>
            <p:spPr>
              <a:xfrm>
                <a:off x="6895369" y="1956194"/>
                <a:ext cx="18369" cy="18400"/>
              </a:xfrm>
              <a:custGeom>
                <a:avLst/>
                <a:gdLst>
                  <a:gd name="connsiteX0" fmla="*/ 1260 w 18369"/>
                  <a:gd name="connsiteY0" fmla="*/ 4506 h 18400"/>
                  <a:gd name="connsiteX1" fmla="*/ 4550 w 18369"/>
                  <a:gd name="connsiteY1" fmla="*/ 17125 h 18400"/>
                  <a:gd name="connsiteX2" fmla="*/ 17109 w 18369"/>
                  <a:gd name="connsiteY2" fmla="*/ 13895 h 18400"/>
                  <a:gd name="connsiteX3" fmla="*/ 13820 w 18369"/>
                  <a:gd name="connsiteY3" fmla="*/ 1276 h 18400"/>
                  <a:gd name="connsiteX4" fmla="*/ 1260 w 18369"/>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0">
                    <a:moveTo>
                      <a:pt x="1260" y="4506"/>
                    </a:moveTo>
                    <a:cubicBezTo>
                      <a:pt x="-1311" y="8871"/>
                      <a:pt x="184" y="14553"/>
                      <a:pt x="4550" y="17125"/>
                    </a:cubicBezTo>
                    <a:cubicBezTo>
                      <a:pt x="8916" y="19697"/>
                      <a:pt x="14538" y="18261"/>
                      <a:pt x="17109" y="13895"/>
                    </a:cubicBezTo>
                    <a:cubicBezTo>
                      <a:pt x="19681" y="9529"/>
                      <a:pt x="18186" y="3848"/>
                      <a:pt x="13820" y="1276"/>
                    </a:cubicBezTo>
                    <a:cubicBezTo>
                      <a:pt x="9454" y="-1296"/>
                      <a:pt x="3832" y="140"/>
                      <a:pt x="1260" y="4506"/>
                    </a:cubicBezTo>
                    <a:close/>
                  </a:path>
                </a:pathLst>
              </a:custGeom>
              <a:grpFill/>
              <a:ln w="5978" cap="flat">
                <a:noFill/>
                <a:prstDash val="solid"/>
                <a:miter/>
              </a:ln>
            </p:spPr>
            <p:txBody>
              <a:bodyPr rtlCol="0" anchor="ctr"/>
              <a:lstStyle/>
              <a:p>
                <a:endParaRPr lang="en-GB"/>
              </a:p>
            </p:txBody>
          </p:sp>
        </p:grpSp>
        <p:grpSp>
          <p:nvGrpSpPr>
            <p:cNvPr id="358" name="Graphic 3">
              <a:extLst>
                <a:ext uri="{FF2B5EF4-FFF2-40B4-BE49-F238E27FC236}">
                  <a16:creationId xmlns:a16="http://schemas.microsoft.com/office/drawing/2014/main" id="{581DCC4A-3228-4B1A-B2AE-F8E7F14D9939}"/>
                </a:ext>
              </a:extLst>
            </p:cNvPr>
            <p:cNvGrpSpPr/>
            <p:nvPr/>
          </p:nvGrpSpPr>
          <p:grpSpPr>
            <a:xfrm>
              <a:off x="7917303" y="4864859"/>
              <a:ext cx="70181" cy="58828"/>
              <a:chOff x="7917303" y="4864859"/>
              <a:chExt cx="70181" cy="58828"/>
            </a:xfrm>
            <a:grpFill/>
          </p:grpSpPr>
          <p:sp>
            <p:nvSpPr>
              <p:cNvPr id="4306" name="Vrije vorm: vorm 4305">
                <a:extLst>
                  <a:ext uri="{FF2B5EF4-FFF2-40B4-BE49-F238E27FC236}">
                    <a16:creationId xmlns:a16="http://schemas.microsoft.com/office/drawing/2014/main" id="{5DE8AF71-C6E1-4F7D-A028-1C57AC974232}"/>
                  </a:ext>
                </a:extLst>
              </p:cNvPr>
              <p:cNvSpPr/>
              <p:nvPr/>
            </p:nvSpPr>
            <p:spPr>
              <a:xfrm>
                <a:off x="7925134" y="4872594"/>
                <a:ext cx="54484" cy="43360"/>
              </a:xfrm>
              <a:custGeom>
                <a:avLst/>
                <a:gdLst>
                  <a:gd name="connsiteX0" fmla="*/ 54484 w 54484"/>
                  <a:gd name="connsiteY0" fmla="*/ 40968 h 43360"/>
                  <a:gd name="connsiteX1" fmla="*/ 52630 w 54484"/>
                  <a:gd name="connsiteY1" fmla="*/ 43360 h 43360"/>
                  <a:gd name="connsiteX2" fmla="*/ 0 w 54484"/>
                  <a:gd name="connsiteY2" fmla="*/ 2452 h 43360"/>
                  <a:gd name="connsiteX3" fmla="*/ 1854 w 54484"/>
                  <a:gd name="connsiteY3" fmla="*/ 0 h 43360"/>
                </a:gdLst>
                <a:ahLst/>
                <a:cxnLst>
                  <a:cxn ang="0">
                    <a:pos x="connsiteX0" y="connsiteY0"/>
                  </a:cxn>
                  <a:cxn ang="0">
                    <a:pos x="connsiteX1" y="connsiteY1"/>
                  </a:cxn>
                  <a:cxn ang="0">
                    <a:pos x="connsiteX2" y="connsiteY2"/>
                  </a:cxn>
                  <a:cxn ang="0">
                    <a:pos x="connsiteX3" y="connsiteY3"/>
                  </a:cxn>
                </a:cxnLst>
                <a:rect l="l" t="t" r="r" b="b"/>
                <a:pathLst>
                  <a:path w="54484" h="43360">
                    <a:moveTo>
                      <a:pt x="54484" y="40968"/>
                    </a:moveTo>
                    <a:lnTo>
                      <a:pt x="52630" y="43360"/>
                    </a:lnTo>
                    <a:lnTo>
                      <a:pt x="0" y="2452"/>
                    </a:lnTo>
                    <a:lnTo>
                      <a:pt x="1854" y="0"/>
                    </a:lnTo>
                    <a:close/>
                  </a:path>
                </a:pathLst>
              </a:custGeom>
              <a:grpFill/>
              <a:ln w="5978" cap="flat">
                <a:noFill/>
                <a:prstDash val="solid"/>
                <a:miter/>
              </a:ln>
            </p:spPr>
            <p:txBody>
              <a:bodyPr rtlCol="0" anchor="ctr"/>
              <a:lstStyle/>
              <a:p>
                <a:endParaRPr lang="en-GB"/>
              </a:p>
            </p:txBody>
          </p:sp>
          <p:sp>
            <p:nvSpPr>
              <p:cNvPr id="4307" name="Vrije vorm: vorm 4306">
                <a:extLst>
                  <a:ext uri="{FF2B5EF4-FFF2-40B4-BE49-F238E27FC236}">
                    <a16:creationId xmlns:a16="http://schemas.microsoft.com/office/drawing/2014/main" id="{39B7223F-8C49-4786-A58D-13BBD2EE9A68}"/>
                  </a:ext>
                </a:extLst>
              </p:cNvPr>
              <p:cNvSpPr/>
              <p:nvPr/>
            </p:nvSpPr>
            <p:spPr>
              <a:xfrm>
                <a:off x="7969155" y="4905264"/>
                <a:ext cx="18328" cy="18424"/>
              </a:xfrm>
              <a:custGeom>
                <a:avLst/>
                <a:gdLst>
                  <a:gd name="connsiteX0" fmla="*/ 14769 w 18328"/>
                  <a:gd name="connsiteY0" fmla="*/ 1958 h 18424"/>
                  <a:gd name="connsiteX1" fmla="*/ 16444 w 18328"/>
                  <a:gd name="connsiteY1" fmla="*/ 14877 h 18424"/>
                  <a:gd name="connsiteX2" fmla="*/ 3585 w 18328"/>
                  <a:gd name="connsiteY2" fmla="*/ 16491 h 18424"/>
                  <a:gd name="connsiteX3" fmla="*/ 1910 w 18328"/>
                  <a:gd name="connsiteY3" fmla="*/ 3573 h 18424"/>
                  <a:gd name="connsiteX4" fmla="*/ 14769 w 18328"/>
                  <a:gd name="connsiteY4" fmla="*/ 1958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24">
                    <a:moveTo>
                      <a:pt x="14769" y="1958"/>
                    </a:moveTo>
                    <a:cubicBezTo>
                      <a:pt x="18776" y="5068"/>
                      <a:pt x="19494" y="10869"/>
                      <a:pt x="16444" y="14877"/>
                    </a:cubicBezTo>
                    <a:cubicBezTo>
                      <a:pt x="13334" y="18884"/>
                      <a:pt x="7593" y="19601"/>
                      <a:pt x="3585" y="16491"/>
                    </a:cubicBezTo>
                    <a:cubicBezTo>
                      <a:pt x="-422" y="13382"/>
                      <a:pt x="-1200" y="7580"/>
                      <a:pt x="1910" y="3573"/>
                    </a:cubicBezTo>
                    <a:cubicBezTo>
                      <a:pt x="4961" y="-434"/>
                      <a:pt x="10762" y="-1211"/>
                      <a:pt x="14769" y="1958"/>
                    </a:cubicBezTo>
                    <a:close/>
                  </a:path>
                </a:pathLst>
              </a:custGeom>
              <a:grpFill/>
              <a:ln w="5978" cap="flat">
                <a:noFill/>
                <a:prstDash val="solid"/>
                <a:miter/>
              </a:ln>
            </p:spPr>
            <p:txBody>
              <a:bodyPr rtlCol="0" anchor="ctr"/>
              <a:lstStyle/>
              <a:p>
                <a:endParaRPr lang="en-GB"/>
              </a:p>
            </p:txBody>
          </p:sp>
          <p:sp>
            <p:nvSpPr>
              <p:cNvPr id="4308" name="Vrije vorm: vorm 4307">
                <a:extLst>
                  <a:ext uri="{FF2B5EF4-FFF2-40B4-BE49-F238E27FC236}">
                    <a16:creationId xmlns:a16="http://schemas.microsoft.com/office/drawing/2014/main" id="{56D53DE7-EF56-4F29-9B0A-2474511284B8}"/>
                  </a:ext>
                </a:extLst>
              </p:cNvPr>
              <p:cNvSpPr/>
              <p:nvPr/>
            </p:nvSpPr>
            <p:spPr>
              <a:xfrm>
                <a:off x="7917303" y="4864859"/>
                <a:ext cx="18328" cy="18398"/>
              </a:xfrm>
              <a:custGeom>
                <a:avLst/>
                <a:gdLst>
                  <a:gd name="connsiteX0" fmla="*/ 14768 w 18328"/>
                  <a:gd name="connsiteY0" fmla="*/ 1933 h 18398"/>
                  <a:gd name="connsiteX1" fmla="*/ 1911 w 18328"/>
                  <a:gd name="connsiteY1" fmla="*/ 3548 h 18398"/>
                  <a:gd name="connsiteX2" fmla="*/ 3585 w 18328"/>
                  <a:gd name="connsiteY2" fmla="*/ 16466 h 18398"/>
                  <a:gd name="connsiteX3" fmla="*/ 16443 w 18328"/>
                  <a:gd name="connsiteY3" fmla="*/ 14851 h 18398"/>
                  <a:gd name="connsiteX4" fmla="*/ 14768 w 1832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8">
                    <a:moveTo>
                      <a:pt x="14768" y="1933"/>
                    </a:moveTo>
                    <a:cubicBezTo>
                      <a:pt x="10762" y="-1177"/>
                      <a:pt x="5020" y="-459"/>
                      <a:pt x="1911" y="3548"/>
                    </a:cubicBezTo>
                    <a:cubicBezTo>
                      <a:pt x="-1200" y="7555"/>
                      <a:pt x="-422" y="13356"/>
                      <a:pt x="3585" y="16466"/>
                    </a:cubicBezTo>
                    <a:cubicBezTo>
                      <a:pt x="7592" y="19576"/>
                      <a:pt x="13333" y="18858"/>
                      <a:pt x="16443" y="14851"/>
                    </a:cubicBezTo>
                    <a:cubicBezTo>
                      <a:pt x="19493" y="10844"/>
                      <a:pt x="18776" y="5103"/>
                      <a:pt x="14768" y="1933"/>
                    </a:cubicBezTo>
                    <a:close/>
                  </a:path>
                </a:pathLst>
              </a:custGeom>
              <a:grpFill/>
              <a:ln w="5978" cap="flat">
                <a:noFill/>
                <a:prstDash val="solid"/>
                <a:miter/>
              </a:ln>
            </p:spPr>
            <p:txBody>
              <a:bodyPr rtlCol="0" anchor="ctr"/>
              <a:lstStyle/>
              <a:p>
                <a:endParaRPr lang="en-GB"/>
              </a:p>
            </p:txBody>
          </p:sp>
        </p:grpSp>
        <p:grpSp>
          <p:nvGrpSpPr>
            <p:cNvPr id="359" name="Graphic 3">
              <a:extLst>
                <a:ext uri="{FF2B5EF4-FFF2-40B4-BE49-F238E27FC236}">
                  <a16:creationId xmlns:a16="http://schemas.microsoft.com/office/drawing/2014/main" id="{08961F58-C219-4BDD-8177-9F235F85ADAD}"/>
                </a:ext>
              </a:extLst>
            </p:cNvPr>
            <p:cNvGrpSpPr/>
            <p:nvPr/>
          </p:nvGrpSpPr>
          <p:grpSpPr>
            <a:xfrm>
              <a:off x="7719479" y="4477006"/>
              <a:ext cx="215023" cy="144180"/>
              <a:chOff x="7719479" y="4477006"/>
              <a:chExt cx="215023" cy="144180"/>
            </a:xfrm>
            <a:grpFill/>
          </p:grpSpPr>
          <p:sp>
            <p:nvSpPr>
              <p:cNvPr id="4303" name="Vrije vorm: vorm 4302">
                <a:extLst>
                  <a:ext uri="{FF2B5EF4-FFF2-40B4-BE49-F238E27FC236}">
                    <a16:creationId xmlns:a16="http://schemas.microsoft.com/office/drawing/2014/main" id="{D4DF3F02-2EF3-4EF0-A440-46F1281E7CE5}"/>
                  </a:ext>
                </a:extLst>
              </p:cNvPr>
              <p:cNvSpPr/>
              <p:nvPr/>
            </p:nvSpPr>
            <p:spPr>
              <a:xfrm>
                <a:off x="7727411" y="4484684"/>
                <a:ext cx="199158" cy="128764"/>
              </a:xfrm>
              <a:custGeom>
                <a:avLst/>
                <a:gdLst>
                  <a:gd name="connsiteX0" fmla="*/ 199158 w 199158"/>
                  <a:gd name="connsiteY0" fmla="*/ 126193 h 128764"/>
                  <a:gd name="connsiteX1" fmla="*/ 197484 w 199158"/>
                  <a:gd name="connsiteY1" fmla="*/ 128765 h 128764"/>
                  <a:gd name="connsiteX2" fmla="*/ 0 w 199158"/>
                  <a:gd name="connsiteY2" fmla="*/ 2572 h 128764"/>
                  <a:gd name="connsiteX3" fmla="*/ 1615 w 199158"/>
                  <a:gd name="connsiteY3" fmla="*/ 0 h 128764"/>
                </a:gdLst>
                <a:ahLst/>
                <a:cxnLst>
                  <a:cxn ang="0">
                    <a:pos x="connsiteX0" y="connsiteY0"/>
                  </a:cxn>
                  <a:cxn ang="0">
                    <a:pos x="connsiteX1" y="connsiteY1"/>
                  </a:cxn>
                  <a:cxn ang="0">
                    <a:pos x="connsiteX2" y="connsiteY2"/>
                  </a:cxn>
                  <a:cxn ang="0">
                    <a:pos x="connsiteX3" y="connsiteY3"/>
                  </a:cxn>
                </a:cxnLst>
                <a:rect l="l" t="t" r="r" b="b"/>
                <a:pathLst>
                  <a:path w="199158" h="128764">
                    <a:moveTo>
                      <a:pt x="199158" y="126193"/>
                    </a:moveTo>
                    <a:lnTo>
                      <a:pt x="197484" y="128765"/>
                    </a:lnTo>
                    <a:lnTo>
                      <a:pt x="0" y="2572"/>
                    </a:lnTo>
                    <a:lnTo>
                      <a:pt x="1615" y="0"/>
                    </a:lnTo>
                    <a:close/>
                  </a:path>
                </a:pathLst>
              </a:custGeom>
              <a:grpFill/>
              <a:ln w="5978" cap="flat">
                <a:noFill/>
                <a:prstDash val="solid"/>
                <a:miter/>
              </a:ln>
            </p:spPr>
            <p:txBody>
              <a:bodyPr rtlCol="0" anchor="ctr"/>
              <a:lstStyle/>
              <a:p>
                <a:endParaRPr lang="en-GB"/>
              </a:p>
            </p:txBody>
          </p:sp>
          <p:sp>
            <p:nvSpPr>
              <p:cNvPr id="4304" name="Vrije vorm: vorm 4303">
                <a:extLst>
                  <a:ext uri="{FF2B5EF4-FFF2-40B4-BE49-F238E27FC236}">
                    <a16:creationId xmlns:a16="http://schemas.microsoft.com/office/drawing/2014/main" id="{D6C2E967-7327-4D63-835D-77C55D7893FA}"/>
                  </a:ext>
                </a:extLst>
              </p:cNvPr>
              <p:cNvSpPr/>
              <p:nvPr/>
            </p:nvSpPr>
            <p:spPr>
              <a:xfrm>
                <a:off x="7916199" y="4602721"/>
                <a:ext cx="18303" cy="18465"/>
              </a:xfrm>
              <a:custGeom>
                <a:avLst/>
                <a:gdLst>
                  <a:gd name="connsiteX0" fmla="*/ 14019 w 18303"/>
                  <a:gd name="connsiteY0" fmla="*/ 1458 h 18465"/>
                  <a:gd name="connsiteX1" fmla="*/ 16890 w 18303"/>
                  <a:gd name="connsiteY1" fmla="*/ 14197 h 18465"/>
                  <a:gd name="connsiteX2" fmla="*/ 4270 w 18303"/>
                  <a:gd name="connsiteY2" fmla="*/ 17008 h 18465"/>
                  <a:gd name="connsiteX3" fmla="*/ 1400 w 18303"/>
                  <a:gd name="connsiteY3" fmla="*/ 4269 h 18465"/>
                  <a:gd name="connsiteX4" fmla="*/ 14019 w 18303"/>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19" y="1458"/>
                    </a:moveTo>
                    <a:cubicBezTo>
                      <a:pt x="18325" y="4209"/>
                      <a:pt x="19581" y="9891"/>
                      <a:pt x="16890" y="14197"/>
                    </a:cubicBezTo>
                    <a:cubicBezTo>
                      <a:pt x="14199" y="18503"/>
                      <a:pt x="8516" y="19759"/>
                      <a:pt x="4270" y="17008"/>
                    </a:cubicBezTo>
                    <a:cubicBezTo>
                      <a:pt x="24" y="14257"/>
                      <a:pt x="-1292" y="8575"/>
                      <a:pt x="1400" y="4269"/>
                    </a:cubicBezTo>
                    <a:cubicBezTo>
                      <a:pt x="4091" y="-37"/>
                      <a:pt x="9773" y="-1293"/>
                      <a:pt x="14019" y="1458"/>
                    </a:cubicBezTo>
                    <a:close/>
                  </a:path>
                </a:pathLst>
              </a:custGeom>
              <a:grpFill/>
              <a:ln w="5978" cap="flat">
                <a:noFill/>
                <a:prstDash val="solid"/>
                <a:miter/>
              </a:ln>
            </p:spPr>
            <p:txBody>
              <a:bodyPr rtlCol="0" anchor="ctr"/>
              <a:lstStyle/>
              <a:p>
                <a:endParaRPr lang="en-GB"/>
              </a:p>
            </p:txBody>
          </p:sp>
          <p:sp>
            <p:nvSpPr>
              <p:cNvPr id="4305" name="Vrije vorm: vorm 4304">
                <a:extLst>
                  <a:ext uri="{FF2B5EF4-FFF2-40B4-BE49-F238E27FC236}">
                    <a16:creationId xmlns:a16="http://schemas.microsoft.com/office/drawing/2014/main" id="{2416ACC7-6119-4DF1-9C21-021A5309ACD4}"/>
                  </a:ext>
                </a:extLst>
              </p:cNvPr>
              <p:cNvSpPr/>
              <p:nvPr/>
            </p:nvSpPr>
            <p:spPr>
              <a:xfrm>
                <a:off x="7719479" y="4477006"/>
                <a:ext cx="18303" cy="18465"/>
              </a:xfrm>
              <a:custGeom>
                <a:avLst/>
                <a:gdLst>
                  <a:gd name="connsiteX0" fmla="*/ 14033 w 18303"/>
                  <a:gd name="connsiteY0" fmla="*/ 1458 h 18465"/>
                  <a:gd name="connsiteX1" fmla="*/ 1414 w 18303"/>
                  <a:gd name="connsiteY1" fmla="*/ 4269 h 18465"/>
                  <a:gd name="connsiteX2" fmla="*/ 4285 w 18303"/>
                  <a:gd name="connsiteY2" fmla="*/ 17008 h 18465"/>
                  <a:gd name="connsiteX3" fmla="*/ 16904 w 18303"/>
                  <a:gd name="connsiteY3" fmla="*/ 14197 h 18465"/>
                  <a:gd name="connsiteX4" fmla="*/ 14033 w 18303"/>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33" y="1458"/>
                    </a:moveTo>
                    <a:cubicBezTo>
                      <a:pt x="9727" y="-1293"/>
                      <a:pt x="4105" y="-37"/>
                      <a:pt x="1414" y="4269"/>
                    </a:cubicBezTo>
                    <a:cubicBezTo>
                      <a:pt x="-1277" y="8575"/>
                      <a:pt x="-21" y="14257"/>
                      <a:pt x="4285" y="17008"/>
                    </a:cubicBezTo>
                    <a:cubicBezTo>
                      <a:pt x="8590" y="19759"/>
                      <a:pt x="14213" y="18503"/>
                      <a:pt x="16904" y="14197"/>
                    </a:cubicBezTo>
                    <a:cubicBezTo>
                      <a:pt x="19596" y="9891"/>
                      <a:pt x="18279" y="4209"/>
                      <a:pt x="14033" y="1458"/>
                    </a:cubicBezTo>
                    <a:close/>
                  </a:path>
                </a:pathLst>
              </a:custGeom>
              <a:grpFill/>
              <a:ln w="5978" cap="flat">
                <a:noFill/>
                <a:prstDash val="solid"/>
                <a:miter/>
              </a:ln>
            </p:spPr>
            <p:txBody>
              <a:bodyPr rtlCol="0" anchor="ctr"/>
              <a:lstStyle/>
              <a:p>
                <a:endParaRPr lang="en-GB"/>
              </a:p>
            </p:txBody>
          </p:sp>
        </p:grpSp>
        <p:grpSp>
          <p:nvGrpSpPr>
            <p:cNvPr id="360" name="Graphic 3">
              <a:extLst>
                <a:ext uri="{FF2B5EF4-FFF2-40B4-BE49-F238E27FC236}">
                  <a16:creationId xmlns:a16="http://schemas.microsoft.com/office/drawing/2014/main" id="{B8766639-8C4E-4C2D-A9F7-2395B8D7F73B}"/>
                </a:ext>
              </a:extLst>
            </p:cNvPr>
            <p:cNvGrpSpPr/>
            <p:nvPr/>
          </p:nvGrpSpPr>
          <p:grpSpPr>
            <a:xfrm>
              <a:off x="7628619" y="4009816"/>
              <a:ext cx="64249" cy="35912"/>
              <a:chOff x="7628619" y="4009816"/>
              <a:chExt cx="64249" cy="35912"/>
            </a:xfrm>
            <a:grpFill/>
          </p:grpSpPr>
          <p:sp>
            <p:nvSpPr>
              <p:cNvPr id="4300" name="Vrije vorm: vorm 4299">
                <a:extLst>
                  <a:ext uri="{FF2B5EF4-FFF2-40B4-BE49-F238E27FC236}">
                    <a16:creationId xmlns:a16="http://schemas.microsoft.com/office/drawing/2014/main" id="{D5C42F8F-7F43-4E2E-8541-C49E729623B2}"/>
                  </a:ext>
                </a:extLst>
              </p:cNvPr>
              <p:cNvSpPr/>
              <p:nvPr/>
            </p:nvSpPr>
            <p:spPr>
              <a:xfrm>
                <a:off x="7636803" y="4017410"/>
                <a:ext cx="47905" cy="20693"/>
              </a:xfrm>
              <a:custGeom>
                <a:avLst/>
                <a:gdLst>
                  <a:gd name="connsiteX0" fmla="*/ 47906 w 47905"/>
                  <a:gd name="connsiteY0" fmla="*/ 17822 h 20693"/>
                  <a:gd name="connsiteX1" fmla="*/ 46830 w 47905"/>
                  <a:gd name="connsiteY1" fmla="*/ 20693 h 20693"/>
                  <a:gd name="connsiteX2" fmla="*/ 0 w 47905"/>
                  <a:gd name="connsiteY2" fmla="*/ 2871 h 20693"/>
                  <a:gd name="connsiteX3" fmla="*/ 1077 w 47905"/>
                  <a:gd name="connsiteY3" fmla="*/ 0 h 20693"/>
                </a:gdLst>
                <a:ahLst/>
                <a:cxnLst>
                  <a:cxn ang="0">
                    <a:pos x="connsiteX0" y="connsiteY0"/>
                  </a:cxn>
                  <a:cxn ang="0">
                    <a:pos x="connsiteX1" y="connsiteY1"/>
                  </a:cxn>
                  <a:cxn ang="0">
                    <a:pos x="connsiteX2" y="connsiteY2"/>
                  </a:cxn>
                  <a:cxn ang="0">
                    <a:pos x="connsiteX3" y="connsiteY3"/>
                  </a:cxn>
                </a:cxnLst>
                <a:rect l="l" t="t" r="r" b="b"/>
                <a:pathLst>
                  <a:path w="47905" h="20693">
                    <a:moveTo>
                      <a:pt x="47906" y="17822"/>
                    </a:moveTo>
                    <a:lnTo>
                      <a:pt x="46830" y="20693"/>
                    </a:lnTo>
                    <a:lnTo>
                      <a:pt x="0" y="2871"/>
                    </a:lnTo>
                    <a:lnTo>
                      <a:pt x="1077" y="0"/>
                    </a:lnTo>
                    <a:close/>
                  </a:path>
                </a:pathLst>
              </a:custGeom>
              <a:grpFill/>
              <a:ln w="5978" cap="flat">
                <a:noFill/>
                <a:prstDash val="solid"/>
                <a:miter/>
              </a:ln>
            </p:spPr>
            <p:txBody>
              <a:bodyPr rtlCol="0" anchor="ctr"/>
              <a:lstStyle/>
              <a:p>
                <a:endParaRPr lang="en-GB"/>
              </a:p>
            </p:txBody>
          </p:sp>
          <p:sp>
            <p:nvSpPr>
              <p:cNvPr id="4301" name="Vrije vorm: vorm 4300">
                <a:extLst>
                  <a:ext uri="{FF2B5EF4-FFF2-40B4-BE49-F238E27FC236}">
                    <a16:creationId xmlns:a16="http://schemas.microsoft.com/office/drawing/2014/main" id="{E111EAE1-402F-491E-A4CD-1F6C4A8BDD9A}"/>
                  </a:ext>
                </a:extLst>
              </p:cNvPr>
              <p:cNvSpPr/>
              <p:nvPr/>
            </p:nvSpPr>
            <p:spPr>
              <a:xfrm>
                <a:off x="7674575" y="4027280"/>
                <a:ext cx="18294" cy="18448"/>
              </a:xfrm>
              <a:custGeom>
                <a:avLst/>
                <a:gdLst>
                  <a:gd name="connsiteX0" fmla="*/ 12347 w 18294"/>
                  <a:gd name="connsiteY0" fmla="*/ 596 h 18448"/>
                  <a:gd name="connsiteX1" fmla="*/ 17729 w 18294"/>
                  <a:gd name="connsiteY1" fmla="*/ 12498 h 18448"/>
                  <a:gd name="connsiteX2" fmla="*/ 5948 w 18294"/>
                  <a:gd name="connsiteY2" fmla="*/ 17821 h 18448"/>
                  <a:gd name="connsiteX3" fmla="*/ 565 w 18294"/>
                  <a:gd name="connsiteY3" fmla="*/ 5919 h 18448"/>
                  <a:gd name="connsiteX4" fmla="*/ 12347 w 18294"/>
                  <a:gd name="connsiteY4" fmla="*/ 59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48">
                    <a:moveTo>
                      <a:pt x="12347" y="596"/>
                    </a:moveTo>
                    <a:cubicBezTo>
                      <a:pt x="17072" y="2391"/>
                      <a:pt x="19464" y="7713"/>
                      <a:pt x="17729" y="12498"/>
                    </a:cubicBezTo>
                    <a:cubicBezTo>
                      <a:pt x="15936" y="17282"/>
                      <a:pt x="10673" y="19675"/>
                      <a:pt x="5948" y="17821"/>
                    </a:cubicBezTo>
                    <a:cubicBezTo>
                      <a:pt x="1223" y="16026"/>
                      <a:pt x="-1170" y="10704"/>
                      <a:pt x="565" y="5919"/>
                    </a:cubicBezTo>
                    <a:cubicBezTo>
                      <a:pt x="2359" y="1194"/>
                      <a:pt x="7622" y="-1198"/>
                      <a:pt x="12347" y="596"/>
                    </a:cubicBezTo>
                    <a:close/>
                  </a:path>
                </a:pathLst>
              </a:custGeom>
              <a:grpFill/>
              <a:ln w="5978" cap="flat">
                <a:noFill/>
                <a:prstDash val="solid"/>
                <a:miter/>
              </a:ln>
            </p:spPr>
            <p:txBody>
              <a:bodyPr rtlCol="0" anchor="ctr"/>
              <a:lstStyle/>
              <a:p>
                <a:endParaRPr lang="en-GB"/>
              </a:p>
            </p:txBody>
          </p:sp>
          <p:sp>
            <p:nvSpPr>
              <p:cNvPr id="4302" name="Vrije vorm: vorm 4301">
                <a:extLst>
                  <a:ext uri="{FF2B5EF4-FFF2-40B4-BE49-F238E27FC236}">
                    <a16:creationId xmlns:a16="http://schemas.microsoft.com/office/drawing/2014/main" id="{4A84D718-4B98-4AB0-A147-FA8A14B0F31F}"/>
                  </a:ext>
                </a:extLst>
              </p:cNvPr>
              <p:cNvSpPr/>
              <p:nvPr/>
            </p:nvSpPr>
            <p:spPr>
              <a:xfrm>
                <a:off x="7628619" y="4009816"/>
                <a:ext cx="18348" cy="18417"/>
              </a:xfrm>
              <a:custGeom>
                <a:avLst/>
                <a:gdLst>
                  <a:gd name="connsiteX0" fmla="*/ 12371 w 18348"/>
                  <a:gd name="connsiteY0" fmla="*/ 596 h 18417"/>
                  <a:gd name="connsiteX1" fmla="*/ 589 w 18348"/>
                  <a:gd name="connsiteY1" fmla="*/ 5919 h 18417"/>
                  <a:gd name="connsiteX2" fmla="*/ 5971 w 18348"/>
                  <a:gd name="connsiteY2" fmla="*/ 17821 h 18417"/>
                  <a:gd name="connsiteX3" fmla="*/ 17754 w 18348"/>
                  <a:gd name="connsiteY3" fmla="*/ 12498 h 18417"/>
                  <a:gd name="connsiteX4" fmla="*/ 12371 w 18348"/>
                  <a:gd name="connsiteY4" fmla="*/ 596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7">
                    <a:moveTo>
                      <a:pt x="12371" y="596"/>
                    </a:moveTo>
                    <a:cubicBezTo>
                      <a:pt x="7646" y="-1198"/>
                      <a:pt x="2323" y="1195"/>
                      <a:pt x="589" y="5919"/>
                    </a:cubicBezTo>
                    <a:cubicBezTo>
                      <a:pt x="-1206" y="10704"/>
                      <a:pt x="1247" y="15967"/>
                      <a:pt x="5971" y="17821"/>
                    </a:cubicBezTo>
                    <a:cubicBezTo>
                      <a:pt x="10696" y="19615"/>
                      <a:pt x="16019" y="17223"/>
                      <a:pt x="17754" y="12498"/>
                    </a:cubicBezTo>
                    <a:cubicBezTo>
                      <a:pt x="19547" y="7713"/>
                      <a:pt x="17155" y="2391"/>
                      <a:pt x="12371" y="596"/>
                    </a:cubicBezTo>
                    <a:close/>
                  </a:path>
                </a:pathLst>
              </a:custGeom>
              <a:grpFill/>
              <a:ln w="5978" cap="flat">
                <a:noFill/>
                <a:prstDash val="solid"/>
                <a:miter/>
              </a:ln>
            </p:spPr>
            <p:txBody>
              <a:bodyPr rtlCol="0" anchor="ctr"/>
              <a:lstStyle/>
              <a:p>
                <a:endParaRPr lang="en-GB"/>
              </a:p>
            </p:txBody>
          </p:sp>
        </p:grpSp>
        <p:grpSp>
          <p:nvGrpSpPr>
            <p:cNvPr id="361" name="Graphic 3">
              <a:extLst>
                <a:ext uri="{FF2B5EF4-FFF2-40B4-BE49-F238E27FC236}">
                  <a16:creationId xmlns:a16="http://schemas.microsoft.com/office/drawing/2014/main" id="{14A84640-73EA-4E2F-8ACE-5DEADD664543}"/>
                </a:ext>
              </a:extLst>
            </p:cNvPr>
            <p:cNvGrpSpPr/>
            <p:nvPr/>
          </p:nvGrpSpPr>
          <p:grpSpPr>
            <a:xfrm>
              <a:off x="6761146" y="1546114"/>
              <a:ext cx="212714" cy="347844"/>
              <a:chOff x="6761146" y="1546114"/>
              <a:chExt cx="212714" cy="347844"/>
            </a:xfrm>
            <a:grpFill/>
          </p:grpSpPr>
          <p:sp>
            <p:nvSpPr>
              <p:cNvPr id="4297" name="Vrije vorm: vorm 4296">
                <a:extLst>
                  <a:ext uri="{FF2B5EF4-FFF2-40B4-BE49-F238E27FC236}">
                    <a16:creationId xmlns:a16="http://schemas.microsoft.com/office/drawing/2014/main" id="{63087BC8-F5D1-4EFD-AF5C-52CAA3232059}"/>
                  </a:ext>
                </a:extLst>
              </p:cNvPr>
              <p:cNvSpPr/>
              <p:nvPr/>
            </p:nvSpPr>
            <p:spPr>
              <a:xfrm>
                <a:off x="6768761" y="1554190"/>
                <a:ext cx="197483" cy="331750"/>
              </a:xfrm>
              <a:custGeom>
                <a:avLst/>
                <a:gdLst>
                  <a:gd name="connsiteX0" fmla="*/ 197483 w 197483"/>
                  <a:gd name="connsiteY0" fmla="*/ 1555 h 331750"/>
                  <a:gd name="connsiteX1" fmla="*/ 2632 w 197483"/>
                  <a:gd name="connsiteY1" fmla="*/ 331751 h 331750"/>
                  <a:gd name="connsiteX2" fmla="*/ 0 w 197483"/>
                  <a:gd name="connsiteY2" fmla="*/ 330196 h 331750"/>
                  <a:gd name="connsiteX3" fmla="*/ 194852 w 197483"/>
                  <a:gd name="connsiteY3" fmla="*/ 0 h 331750"/>
                </a:gdLst>
                <a:ahLst/>
                <a:cxnLst>
                  <a:cxn ang="0">
                    <a:pos x="connsiteX0" y="connsiteY0"/>
                  </a:cxn>
                  <a:cxn ang="0">
                    <a:pos x="connsiteX1" y="connsiteY1"/>
                  </a:cxn>
                  <a:cxn ang="0">
                    <a:pos x="connsiteX2" y="connsiteY2"/>
                  </a:cxn>
                  <a:cxn ang="0">
                    <a:pos x="connsiteX3" y="connsiteY3"/>
                  </a:cxn>
                </a:cxnLst>
                <a:rect l="l" t="t" r="r" b="b"/>
                <a:pathLst>
                  <a:path w="197483" h="331750">
                    <a:moveTo>
                      <a:pt x="197483" y="1555"/>
                    </a:moveTo>
                    <a:lnTo>
                      <a:pt x="2632" y="331751"/>
                    </a:lnTo>
                    <a:lnTo>
                      <a:pt x="0" y="330196"/>
                    </a:lnTo>
                    <a:lnTo>
                      <a:pt x="194852" y="0"/>
                    </a:lnTo>
                    <a:close/>
                  </a:path>
                </a:pathLst>
              </a:custGeom>
              <a:grpFill/>
              <a:ln w="5978" cap="flat">
                <a:noFill/>
                <a:prstDash val="solid"/>
                <a:miter/>
              </a:ln>
            </p:spPr>
            <p:txBody>
              <a:bodyPr rtlCol="0" anchor="ctr"/>
              <a:lstStyle/>
              <a:p>
                <a:endParaRPr lang="en-GB"/>
              </a:p>
            </p:txBody>
          </p:sp>
          <p:sp>
            <p:nvSpPr>
              <p:cNvPr id="4298" name="Vrije vorm: vorm 4297">
                <a:extLst>
                  <a:ext uri="{FF2B5EF4-FFF2-40B4-BE49-F238E27FC236}">
                    <a16:creationId xmlns:a16="http://schemas.microsoft.com/office/drawing/2014/main" id="{FA7975DF-6B34-42F5-9804-E92432B5EC98}"/>
                  </a:ext>
                </a:extLst>
              </p:cNvPr>
              <p:cNvSpPr/>
              <p:nvPr/>
            </p:nvSpPr>
            <p:spPr>
              <a:xfrm>
                <a:off x="6761146" y="1875532"/>
                <a:ext cx="18341" cy="18425"/>
              </a:xfrm>
              <a:custGeom>
                <a:avLst/>
                <a:gdLst>
                  <a:gd name="connsiteX0" fmla="*/ 17065 w 18341"/>
                  <a:gd name="connsiteY0" fmla="*/ 13938 h 18425"/>
                  <a:gd name="connsiteX1" fmla="*/ 4505 w 18341"/>
                  <a:gd name="connsiteY1" fmla="*/ 17108 h 18425"/>
                  <a:gd name="connsiteX2" fmla="*/ 1276 w 18341"/>
                  <a:gd name="connsiteY2" fmla="*/ 4488 h 18425"/>
                  <a:gd name="connsiteX3" fmla="*/ 13835 w 18341"/>
                  <a:gd name="connsiteY3" fmla="*/ 1318 h 18425"/>
                  <a:gd name="connsiteX4" fmla="*/ 17065 w 18341"/>
                  <a:gd name="connsiteY4" fmla="*/ 1393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17065" y="13938"/>
                    </a:moveTo>
                    <a:cubicBezTo>
                      <a:pt x="14493" y="18304"/>
                      <a:pt x="8872" y="19739"/>
                      <a:pt x="4505" y="17108"/>
                    </a:cubicBezTo>
                    <a:cubicBezTo>
                      <a:pt x="140" y="14476"/>
                      <a:pt x="-1296" y="8854"/>
                      <a:pt x="1276" y="4488"/>
                    </a:cubicBezTo>
                    <a:cubicBezTo>
                      <a:pt x="3848" y="122"/>
                      <a:pt x="9470" y="-1313"/>
                      <a:pt x="13835" y="1318"/>
                    </a:cubicBezTo>
                    <a:cubicBezTo>
                      <a:pt x="18202" y="3950"/>
                      <a:pt x="19637" y="9572"/>
                      <a:pt x="17065" y="13938"/>
                    </a:cubicBezTo>
                    <a:close/>
                  </a:path>
                </a:pathLst>
              </a:custGeom>
              <a:grpFill/>
              <a:ln w="5978" cap="flat">
                <a:noFill/>
                <a:prstDash val="solid"/>
                <a:miter/>
              </a:ln>
            </p:spPr>
            <p:txBody>
              <a:bodyPr rtlCol="0" anchor="ctr"/>
              <a:lstStyle/>
              <a:p>
                <a:endParaRPr lang="en-GB"/>
              </a:p>
            </p:txBody>
          </p:sp>
          <p:sp>
            <p:nvSpPr>
              <p:cNvPr id="4299" name="Vrije vorm: vorm 4298">
                <a:extLst>
                  <a:ext uri="{FF2B5EF4-FFF2-40B4-BE49-F238E27FC236}">
                    <a16:creationId xmlns:a16="http://schemas.microsoft.com/office/drawing/2014/main" id="{4AC43D1C-129A-4088-B6F9-A9FA262ED67E}"/>
                  </a:ext>
                </a:extLst>
              </p:cNvPr>
              <p:cNvSpPr/>
              <p:nvPr/>
            </p:nvSpPr>
            <p:spPr>
              <a:xfrm>
                <a:off x="6955519" y="1546114"/>
                <a:ext cx="18340" cy="18425"/>
              </a:xfrm>
              <a:custGeom>
                <a:avLst/>
                <a:gdLst>
                  <a:gd name="connsiteX0" fmla="*/ 17065 w 18340"/>
                  <a:gd name="connsiteY0" fmla="*/ 13938 h 18425"/>
                  <a:gd name="connsiteX1" fmla="*/ 13835 w 18340"/>
                  <a:gd name="connsiteY1" fmla="*/ 1318 h 18425"/>
                  <a:gd name="connsiteX2" fmla="*/ 1276 w 18340"/>
                  <a:gd name="connsiteY2" fmla="*/ 4488 h 18425"/>
                  <a:gd name="connsiteX3" fmla="*/ 4506 w 18340"/>
                  <a:gd name="connsiteY3" fmla="*/ 17108 h 18425"/>
                  <a:gd name="connsiteX4" fmla="*/ 17065 w 18340"/>
                  <a:gd name="connsiteY4" fmla="*/ 1393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17065" y="13938"/>
                    </a:moveTo>
                    <a:cubicBezTo>
                      <a:pt x="19637" y="9572"/>
                      <a:pt x="18201" y="3890"/>
                      <a:pt x="13835" y="1318"/>
                    </a:cubicBezTo>
                    <a:cubicBezTo>
                      <a:pt x="9470" y="-1313"/>
                      <a:pt x="3848" y="122"/>
                      <a:pt x="1276" y="4488"/>
                    </a:cubicBezTo>
                    <a:cubicBezTo>
                      <a:pt x="-1296" y="8854"/>
                      <a:pt x="140" y="14536"/>
                      <a:pt x="4506" y="17108"/>
                    </a:cubicBezTo>
                    <a:cubicBezTo>
                      <a:pt x="8872" y="19739"/>
                      <a:pt x="14493" y="18304"/>
                      <a:pt x="17065" y="13938"/>
                    </a:cubicBezTo>
                    <a:close/>
                  </a:path>
                </a:pathLst>
              </a:custGeom>
              <a:grpFill/>
              <a:ln w="5978" cap="flat">
                <a:noFill/>
                <a:prstDash val="solid"/>
                <a:miter/>
              </a:ln>
            </p:spPr>
            <p:txBody>
              <a:bodyPr rtlCol="0" anchor="ctr"/>
              <a:lstStyle/>
              <a:p>
                <a:endParaRPr lang="en-GB"/>
              </a:p>
            </p:txBody>
          </p:sp>
        </p:grpSp>
        <p:grpSp>
          <p:nvGrpSpPr>
            <p:cNvPr id="362" name="Graphic 3">
              <a:extLst>
                <a:ext uri="{FF2B5EF4-FFF2-40B4-BE49-F238E27FC236}">
                  <a16:creationId xmlns:a16="http://schemas.microsoft.com/office/drawing/2014/main" id="{2D83B3F6-D736-421F-9A68-1973E821593C}"/>
                </a:ext>
              </a:extLst>
            </p:cNvPr>
            <p:cNvGrpSpPr/>
            <p:nvPr/>
          </p:nvGrpSpPr>
          <p:grpSpPr>
            <a:xfrm>
              <a:off x="7617738" y="4039467"/>
              <a:ext cx="59661" cy="35046"/>
              <a:chOff x="7617738" y="4039467"/>
              <a:chExt cx="59661" cy="35046"/>
            </a:xfrm>
            <a:grpFill/>
          </p:grpSpPr>
          <p:sp>
            <p:nvSpPr>
              <p:cNvPr id="4294" name="Vrije vorm: vorm 4293">
                <a:extLst>
                  <a:ext uri="{FF2B5EF4-FFF2-40B4-BE49-F238E27FC236}">
                    <a16:creationId xmlns:a16="http://schemas.microsoft.com/office/drawing/2014/main" id="{26860162-CEB4-480F-89B1-A24B1C8984FA}"/>
                  </a:ext>
                </a:extLst>
              </p:cNvPr>
              <p:cNvSpPr/>
              <p:nvPr/>
            </p:nvSpPr>
            <p:spPr>
              <a:xfrm>
                <a:off x="7625919" y="4047134"/>
                <a:ext cx="43300" cy="19796"/>
              </a:xfrm>
              <a:custGeom>
                <a:avLst/>
                <a:gdLst>
                  <a:gd name="connsiteX0" fmla="*/ 43300 w 43300"/>
                  <a:gd name="connsiteY0" fmla="*/ 16926 h 19796"/>
                  <a:gd name="connsiteX1" fmla="*/ 42224 w 43300"/>
                  <a:gd name="connsiteY1" fmla="*/ 19796 h 19796"/>
                  <a:gd name="connsiteX2" fmla="*/ 0 w 43300"/>
                  <a:gd name="connsiteY2" fmla="*/ 2811 h 19796"/>
                  <a:gd name="connsiteX3" fmla="*/ 1136 w 43300"/>
                  <a:gd name="connsiteY3" fmla="*/ 0 h 19796"/>
                </a:gdLst>
                <a:ahLst/>
                <a:cxnLst>
                  <a:cxn ang="0">
                    <a:pos x="connsiteX0" y="connsiteY0"/>
                  </a:cxn>
                  <a:cxn ang="0">
                    <a:pos x="connsiteX1" y="connsiteY1"/>
                  </a:cxn>
                  <a:cxn ang="0">
                    <a:pos x="connsiteX2" y="connsiteY2"/>
                  </a:cxn>
                  <a:cxn ang="0">
                    <a:pos x="connsiteX3" y="connsiteY3"/>
                  </a:cxn>
                </a:cxnLst>
                <a:rect l="l" t="t" r="r" b="b"/>
                <a:pathLst>
                  <a:path w="43300" h="19796">
                    <a:moveTo>
                      <a:pt x="43300" y="16926"/>
                    </a:moveTo>
                    <a:lnTo>
                      <a:pt x="42224" y="19796"/>
                    </a:lnTo>
                    <a:lnTo>
                      <a:pt x="0" y="2811"/>
                    </a:lnTo>
                    <a:lnTo>
                      <a:pt x="1136" y="0"/>
                    </a:lnTo>
                    <a:close/>
                  </a:path>
                </a:pathLst>
              </a:custGeom>
              <a:grpFill/>
              <a:ln w="5978" cap="flat">
                <a:noFill/>
                <a:prstDash val="solid"/>
                <a:miter/>
              </a:ln>
            </p:spPr>
            <p:txBody>
              <a:bodyPr rtlCol="0" anchor="ctr"/>
              <a:lstStyle/>
              <a:p>
                <a:endParaRPr lang="en-GB"/>
              </a:p>
            </p:txBody>
          </p:sp>
          <p:sp>
            <p:nvSpPr>
              <p:cNvPr id="4295" name="Vrije vorm: vorm 4294">
                <a:extLst>
                  <a:ext uri="{FF2B5EF4-FFF2-40B4-BE49-F238E27FC236}">
                    <a16:creationId xmlns:a16="http://schemas.microsoft.com/office/drawing/2014/main" id="{9CD3D112-9B2A-4B6E-AA84-8A0F2A1DB6F9}"/>
                  </a:ext>
                </a:extLst>
              </p:cNvPr>
              <p:cNvSpPr/>
              <p:nvPr/>
            </p:nvSpPr>
            <p:spPr>
              <a:xfrm>
                <a:off x="7659064" y="4056094"/>
                <a:ext cx="18335" cy="18420"/>
              </a:xfrm>
              <a:custGeom>
                <a:avLst/>
                <a:gdLst>
                  <a:gd name="connsiteX0" fmla="*/ 12547 w 18335"/>
                  <a:gd name="connsiteY0" fmla="*/ 670 h 18420"/>
                  <a:gd name="connsiteX1" fmla="*/ 17690 w 18335"/>
                  <a:gd name="connsiteY1" fmla="*/ 12631 h 18420"/>
                  <a:gd name="connsiteX2" fmla="*/ 5789 w 18335"/>
                  <a:gd name="connsiteY2" fmla="*/ 17775 h 18420"/>
                  <a:gd name="connsiteX3" fmla="*/ 645 w 18335"/>
                  <a:gd name="connsiteY3" fmla="*/ 5813 h 18420"/>
                  <a:gd name="connsiteX4" fmla="*/ 12547 w 18335"/>
                  <a:gd name="connsiteY4" fmla="*/ 67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0">
                    <a:moveTo>
                      <a:pt x="12547" y="670"/>
                    </a:moveTo>
                    <a:cubicBezTo>
                      <a:pt x="17272" y="2584"/>
                      <a:pt x="19544" y="7907"/>
                      <a:pt x="17690" y="12631"/>
                    </a:cubicBezTo>
                    <a:cubicBezTo>
                      <a:pt x="15836" y="17356"/>
                      <a:pt x="10514" y="19629"/>
                      <a:pt x="5789" y="17775"/>
                    </a:cubicBezTo>
                    <a:cubicBezTo>
                      <a:pt x="1064" y="15861"/>
                      <a:pt x="-1209" y="10538"/>
                      <a:pt x="645" y="5813"/>
                    </a:cubicBezTo>
                    <a:cubicBezTo>
                      <a:pt x="2499" y="1088"/>
                      <a:pt x="7822" y="-1244"/>
                      <a:pt x="12547" y="670"/>
                    </a:cubicBezTo>
                    <a:close/>
                  </a:path>
                </a:pathLst>
              </a:custGeom>
              <a:grpFill/>
              <a:ln w="5978" cap="flat">
                <a:noFill/>
                <a:prstDash val="solid"/>
                <a:miter/>
              </a:ln>
            </p:spPr>
            <p:txBody>
              <a:bodyPr rtlCol="0" anchor="ctr"/>
              <a:lstStyle/>
              <a:p>
                <a:endParaRPr lang="en-GB"/>
              </a:p>
            </p:txBody>
          </p:sp>
          <p:sp>
            <p:nvSpPr>
              <p:cNvPr id="4296" name="Vrije vorm: vorm 4295">
                <a:extLst>
                  <a:ext uri="{FF2B5EF4-FFF2-40B4-BE49-F238E27FC236}">
                    <a16:creationId xmlns:a16="http://schemas.microsoft.com/office/drawing/2014/main" id="{9E08155E-9729-4F5F-AB1D-6AE99FBE5FCA}"/>
                  </a:ext>
                </a:extLst>
              </p:cNvPr>
              <p:cNvSpPr/>
              <p:nvPr/>
            </p:nvSpPr>
            <p:spPr>
              <a:xfrm>
                <a:off x="7617738" y="4039467"/>
                <a:ext cx="18335" cy="18444"/>
              </a:xfrm>
              <a:custGeom>
                <a:avLst/>
                <a:gdLst>
                  <a:gd name="connsiteX0" fmla="*/ 12547 w 18335"/>
                  <a:gd name="connsiteY0" fmla="*/ 670 h 18444"/>
                  <a:gd name="connsiteX1" fmla="*/ 645 w 18335"/>
                  <a:gd name="connsiteY1" fmla="*/ 5813 h 18444"/>
                  <a:gd name="connsiteX2" fmla="*/ 5788 w 18335"/>
                  <a:gd name="connsiteY2" fmla="*/ 17775 h 18444"/>
                  <a:gd name="connsiteX3" fmla="*/ 17690 w 18335"/>
                  <a:gd name="connsiteY3" fmla="*/ 12631 h 18444"/>
                  <a:gd name="connsiteX4" fmla="*/ 12547 w 18335"/>
                  <a:gd name="connsiteY4" fmla="*/ 67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2547" y="670"/>
                    </a:moveTo>
                    <a:cubicBezTo>
                      <a:pt x="7822" y="-1244"/>
                      <a:pt x="2499" y="1089"/>
                      <a:pt x="645" y="5813"/>
                    </a:cubicBezTo>
                    <a:cubicBezTo>
                      <a:pt x="-1209" y="10538"/>
                      <a:pt x="1063" y="15921"/>
                      <a:pt x="5788" y="17775"/>
                    </a:cubicBezTo>
                    <a:cubicBezTo>
                      <a:pt x="10513" y="19689"/>
                      <a:pt x="15836" y="17356"/>
                      <a:pt x="17690" y="12631"/>
                    </a:cubicBezTo>
                    <a:cubicBezTo>
                      <a:pt x="19544" y="7966"/>
                      <a:pt x="17272" y="2584"/>
                      <a:pt x="12547" y="670"/>
                    </a:cubicBezTo>
                    <a:close/>
                  </a:path>
                </a:pathLst>
              </a:custGeom>
              <a:grpFill/>
              <a:ln w="5978" cap="flat">
                <a:noFill/>
                <a:prstDash val="solid"/>
                <a:miter/>
              </a:ln>
            </p:spPr>
            <p:txBody>
              <a:bodyPr rtlCol="0" anchor="ctr"/>
              <a:lstStyle/>
              <a:p>
                <a:endParaRPr lang="en-GB"/>
              </a:p>
            </p:txBody>
          </p:sp>
        </p:grpSp>
        <p:grpSp>
          <p:nvGrpSpPr>
            <p:cNvPr id="363" name="Graphic 3">
              <a:extLst>
                <a:ext uri="{FF2B5EF4-FFF2-40B4-BE49-F238E27FC236}">
                  <a16:creationId xmlns:a16="http://schemas.microsoft.com/office/drawing/2014/main" id="{FB3FC919-815A-47D6-946B-650826891097}"/>
                </a:ext>
              </a:extLst>
            </p:cNvPr>
            <p:cNvGrpSpPr/>
            <p:nvPr/>
          </p:nvGrpSpPr>
          <p:grpSpPr>
            <a:xfrm>
              <a:off x="6701407" y="1283425"/>
              <a:ext cx="121646" cy="307505"/>
              <a:chOff x="6701407" y="1283425"/>
              <a:chExt cx="121646" cy="307505"/>
            </a:xfrm>
            <a:grpFill/>
          </p:grpSpPr>
          <p:sp>
            <p:nvSpPr>
              <p:cNvPr id="4291" name="Vrije vorm: vorm 4290">
                <a:extLst>
                  <a:ext uri="{FF2B5EF4-FFF2-40B4-BE49-F238E27FC236}">
                    <a16:creationId xmlns:a16="http://schemas.microsoft.com/office/drawing/2014/main" id="{C391B448-81FE-466F-8ADA-1632E6F34572}"/>
                  </a:ext>
                </a:extLst>
              </p:cNvPr>
              <p:cNvSpPr/>
              <p:nvPr/>
            </p:nvSpPr>
            <p:spPr>
              <a:xfrm>
                <a:off x="6709014" y="1291697"/>
                <a:ext cx="106456" cy="291021"/>
              </a:xfrm>
              <a:custGeom>
                <a:avLst/>
                <a:gdLst>
                  <a:gd name="connsiteX0" fmla="*/ 106457 w 106456"/>
                  <a:gd name="connsiteY0" fmla="*/ 1017 h 291021"/>
                  <a:gd name="connsiteX1" fmla="*/ 2871 w 106456"/>
                  <a:gd name="connsiteY1" fmla="*/ 291022 h 291021"/>
                  <a:gd name="connsiteX2" fmla="*/ 0 w 106456"/>
                  <a:gd name="connsiteY2" fmla="*/ 289945 h 291021"/>
                  <a:gd name="connsiteX3" fmla="*/ 103586 w 106456"/>
                  <a:gd name="connsiteY3" fmla="*/ 0 h 291021"/>
                </a:gdLst>
                <a:ahLst/>
                <a:cxnLst>
                  <a:cxn ang="0">
                    <a:pos x="connsiteX0" y="connsiteY0"/>
                  </a:cxn>
                  <a:cxn ang="0">
                    <a:pos x="connsiteX1" y="connsiteY1"/>
                  </a:cxn>
                  <a:cxn ang="0">
                    <a:pos x="connsiteX2" y="connsiteY2"/>
                  </a:cxn>
                  <a:cxn ang="0">
                    <a:pos x="connsiteX3" y="connsiteY3"/>
                  </a:cxn>
                </a:cxnLst>
                <a:rect l="l" t="t" r="r" b="b"/>
                <a:pathLst>
                  <a:path w="106456" h="291021">
                    <a:moveTo>
                      <a:pt x="106457" y="1017"/>
                    </a:moveTo>
                    <a:lnTo>
                      <a:pt x="2871" y="291022"/>
                    </a:lnTo>
                    <a:lnTo>
                      <a:pt x="0" y="289945"/>
                    </a:lnTo>
                    <a:lnTo>
                      <a:pt x="103586" y="0"/>
                    </a:lnTo>
                    <a:close/>
                  </a:path>
                </a:pathLst>
              </a:custGeom>
              <a:grpFill/>
              <a:ln w="5978" cap="flat">
                <a:noFill/>
                <a:prstDash val="solid"/>
                <a:miter/>
              </a:ln>
            </p:spPr>
            <p:txBody>
              <a:bodyPr rtlCol="0" anchor="ctr"/>
              <a:lstStyle/>
              <a:p>
                <a:endParaRPr lang="en-GB"/>
              </a:p>
            </p:txBody>
          </p:sp>
          <p:sp>
            <p:nvSpPr>
              <p:cNvPr id="4292" name="Vrije vorm: vorm 4291">
                <a:extLst>
                  <a:ext uri="{FF2B5EF4-FFF2-40B4-BE49-F238E27FC236}">
                    <a16:creationId xmlns:a16="http://schemas.microsoft.com/office/drawing/2014/main" id="{192128CF-E0BA-4EBF-8A47-6223B6A5BAE0}"/>
                  </a:ext>
                </a:extLst>
              </p:cNvPr>
              <p:cNvSpPr/>
              <p:nvPr/>
            </p:nvSpPr>
            <p:spPr>
              <a:xfrm>
                <a:off x="6804718" y="1283425"/>
                <a:ext cx="18335" cy="18397"/>
              </a:xfrm>
              <a:custGeom>
                <a:avLst/>
                <a:gdLst>
                  <a:gd name="connsiteX0" fmla="*/ 526 w 18335"/>
                  <a:gd name="connsiteY0" fmla="*/ 6059 h 18397"/>
                  <a:gd name="connsiteX1" fmla="*/ 12248 w 18335"/>
                  <a:gd name="connsiteY1" fmla="*/ 557 h 18397"/>
                  <a:gd name="connsiteX2" fmla="*/ 17810 w 18335"/>
                  <a:gd name="connsiteY2" fmla="*/ 12339 h 18397"/>
                  <a:gd name="connsiteX3" fmla="*/ 6088 w 18335"/>
                  <a:gd name="connsiteY3" fmla="*/ 17841 h 18397"/>
                  <a:gd name="connsiteX4" fmla="*/ 526 w 18335"/>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7">
                    <a:moveTo>
                      <a:pt x="526" y="6059"/>
                    </a:moveTo>
                    <a:cubicBezTo>
                      <a:pt x="2260" y="1274"/>
                      <a:pt x="7463" y="-1178"/>
                      <a:pt x="12248" y="557"/>
                    </a:cubicBezTo>
                    <a:cubicBezTo>
                      <a:pt x="17033" y="2291"/>
                      <a:pt x="19485" y="7554"/>
                      <a:pt x="17810" y="12339"/>
                    </a:cubicBezTo>
                    <a:cubicBezTo>
                      <a:pt x="16136" y="17123"/>
                      <a:pt x="10873" y="19575"/>
                      <a:pt x="6088" y="17841"/>
                    </a:cubicBezTo>
                    <a:cubicBezTo>
                      <a:pt x="1303" y="16107"/>
                      <a:pt x="-1149" y="10843"/>
                      <a:pt x="526" y="6059"/>
                    </a:cubicBezTo>
                    <a:close/>
                  </a:path>
                </a:pathLst>
              </a:custGeom>
              <a:grpFill/>
              <a:ln w="5978" cap="flat">
                <a:noFill/>
                <a:prstDash val="solid"/>
                <a:miter/>
              </a:ln>
            </p:spPr>
            <p:txBody>
              <a:bodyPr rtlCol="0" anchor="ctr"/>
              <a:lstStyle/>
              <a:p>
                <a:endParaRPr lang="en-GB"/>
              </a:p>
            </p:txBody>
          </p:sp>
          <p:sp>
            <p:nvSpPr>
              <p:cNvPr id="4293" name="Vrije vorm: vorm 4292">
                <a:extLst>
                  <a:ext uri="{FF2B5EF4-FFF2-40B4-BE49-F238E27FC236}">
                    <a16:creationId xmlns:a16="http://schemas.microsoft.com/office/drawing/2014/main" id="{9CBB5571-91E4-4183-8DC3-C49DB6E8375C}"/>
                  </a:ext>
                </a:extLst>
              </p:cNvPr>
              <p:cNvSpPr/>
              <p:nvPr/>
            </p:nvSpPr>
            <p:spPr>
              <a:xfrm>
                <a:off x="6701407" y="1572533"/>
                <a:ext cx="18383" cy="18397"/>
              </a:xfrm>
              <a:custGeom>
                <a:avLst/>
                <a:gdLst>
                  <a:gd name="connsiteX0" fmla="*/ 550 w 18383"/>
                  <a:gd name="connsiteY0" fmla="*/ 6059 h 18397"/>
                  <a:gd name="connsiteX1" fmla="*/ 6112 w 18383"/>
                  <a:gd name="connsiteY1" fmla="*/ 17841 h 18397"/>
                  <a:gd name="connsiteX2" fmla="*/ 17834 w 18383"/>
                  <a:gd name="connsiteY2" fmla="*/ 12339 h 18397"/>
                  <a:gd name="connsiteX3" fmla="*/ 12331 w 18383"/>
                  <a:gd name="connsiteY3" fmla="*/ 557 h 18397"/>
                  <a:gd name="connsiteX4" fmla="*/ 550 w 18383"/>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397">
                    <a:moveTo>
                      <a:pt x="550" y="6059"/>
                    </a:moveTo>
                    <a:cubicBezTo>
                      <a:pt x="-1185" y="10844"/>
                      <a:pt x="1327" y="16106"/>
                      <a:pt x="6112" y="17841"/>
                    </a:cubicBezTo>
                    <a:cubicBezTo>
                      <a:pt x="10896" y="19575"/>
                      <a:pt x="16099" y="17123"/>
                      <a:pt x="17834" y="12339"/>
                    </a:cubicBezTo>
                    <a:cubicBezTo>
                      <a:pt x="19568" y="7554"/>
                      <a:pt x="17056" y="2291"/>
                      <a:pt x="12331" y="557"/>
                    </a:cubicBezTo>
                    <a:cubicBezTo>
                      <a:pt x="7547" y="-1178"/>
                      <a:pt x="2284" y="1274"/>
                      <a:pt x="550" y="6059"/>
                    </a:cubicBezTo>
                    <a:close/>
                  </a:path>
                </a:pathLst>
              </a:custGeom>
              <a:grpFill/>
              <a:ln w="5978" cap="flat">
                <a:noFill/>
                <a:prstDash val="solid"/>
                <a:miter/>
              </a:ln>
            </p:spPr>
            <p:txBody>
              <a:bodyPr rtlCol="0" anchor="ctr"/>
              <a:lstStyle/>
              <a:p>
                <a:endParaRPr lang="en-GB"/>
              </a:p>
            </p:txBody>
          </p:sp>
        </p:grpSp>
        <p:grpSp>
          <p:nvGrpSpPr>
            <p:cNvPr id="364" name="Graphic 3">
              <a:extLst>
                <a:ext uri="{FF2B5EF4-FFF2-40B4-BE49-F238E27FC236}">
                  <a16:creationId xmlns:a16="http://schemas.microsoft.com/office/drawing/2014/main" id="{4A0E278B-D0FE-4096-8094-535319F96F3E}"/>
                </a:ext>
              </a:extLst>
            </p:cNvPr>
            <p:cNvGrpSpPr/>
            <p:nvPr/>
          </p:nvGrpSpPr>
          <p:grpSpPr>
            <a:xfrm>
              <a:off x="7704212" y="4261418"/>
              <a:ext cx="20835" cy="19747"/>
              <a:chOff x="7704212" y="4261418"/>
              <a:chExt cx="20835" cy="19747"/>
            </a:xfrm>
            <a:grpFill/>
          </p:grpSpPr>
          <p:sp>
            <p:nvSpPr>
              <p:cNvPr id="4288" name="Vrije vorm: vorm 4287">
                <a:extLst>
                  <a:ext uri="{FF2B5EF4-FFF2-40B4-BE49-F238E27FC236}">
                    <a16:creationId xmlns:a16="http://schemas.microsoft.com/office/drawing/2014/main" id="{481E0A9A-D992-4214-95A5-B66BA852D8BD}"/>
                  </a:ext>
                </a:extLst>
              </p:cNvPr>
              <p:cNvSpPr/>
              <p:nvPr/>
            </p:nvSpPr>
            <p:spPr>
              <a:xfrm>
                <a:off x="7712280" y="4269079"/>
                <a:ext cx="4665" cy="4426"/>
              </a:xfrm>
              <a:custGeom>
                <a:avLst/>
                <a:gdLst>
                  <a:gd name="connsiteX0" fmla="*/ 4665 w 4665"/>
                  <a:gd name="connsiteY0" fmla="*/ 1675 h 4426"/>
                  <a:gd name="connsiteX1" fmla="*/ 3290 w 4665"/>
                  <a:gd name="connsiteY1" fmla="*/ 4426 h 4426"/>
                  <a:gd name="connsiteX2" fmla="*/ 0 w 4665"/>
                  <a:gd name="connsiteY2" fmla="*/ 2691 h 4426"/>
                  <a:gd name="connsiteX3" fmla="*/ 1376 w 4665"/>
                  <a:gd name="connsiteY3" fmla="*/ 0 h 4426"/>
                </a:gdLst>
                <a:ahLst/>
                <a:cxnLst>
                  <a:cxn ang="0">
                    <a:pos x="connsiteX0" y="connsiteY0"/>
                  </a:cxn>
                  <a:cxn ang="0">
                    <a:pos x="connsiteX1" y="connsiteY1"/>
                  </a:cxn>
                  <a:cxn ang="0">
                    <a:pos x="connsiteX2" y="connsiteY2"/>
                  </a:cxn>
                  <a:cxn ang="0">
                    <a:pos x="connsiteX3" y="connsiteY3"/>
                  </a:cxn>
                </a:cxnLst>
                <a:rect l="l" t="t" r="r" b="b"/>
                <a:pathLst>
                  <a:path w="4665" h="4426">
                    <a:moveTo>
                      <a:pt x="4665" y="1675"/>
                    </a:moveTo>
                    <a:lnTo>
                      <a:pt x="3290" y="4426"/>
                    </a:lnTo>
                    <a:lnTo>
                      <a:pt x="0" y="2691"/>
                    </a:lnTo>
                    <a:lnTo>
                      <a:pt x="1376" y="0"/>
                    </a:lnTo>
                    <a:close/>
                  </a:path>
                </a:pathLst>
              </a:custGeom>
              <a:grpFill/>
              <a:ln w="5978" cap="flat">
                <a:noFill/>
                <a:prstDash val="solid"/>
                <a:miter/>
              </a:ln>
            </p:spPr>
            <p:txBody>
              <a:bodyPr rtlCol="0" anchor="ctr"/>
              <a:lstStyle/>
              <a:p>
                <a:endParaRPr lang="en-GB"/>
              </a:p>
            </p:txBody>
          </p:sp>
          <p:sp>
            <p:nvSpPr>
              <p:cNvPr id="4289" name="Vrije vorm: vorm 4288">
                <a:extLst>
                  <a:ext uri="{FF2B5EF4-FFF2-40B4-BE49-F238E27FC236}">
                    <a16:creationId xmlns:a16="http://schemas.microsoft.com/office/drawing/2014/main" id="{77F2DD48-6031-4B40-BE8C-D6BC0AB7A27E}"/>
                  </a:ext>
                </a:extLst>
              </p:cNvPr>
              <p:cNvSpPr/>
              <p:nvPr/>
            </p:nvSpPr>
            <p:spPr>
              <a:xfrm>
                <a:off x="7704212" y="4261418"/>
                <a:ext cx="18349" cy="18431"/>
              </a:xfrm>
              <a:custGeom>
                <a:avLst/>
                <a:gdLst>
                  <a:gd name="connsiteX0" fmla="*/ 5019 w 18349"/>
                  <a:gd name="connsiteY0" fmla="*/ 17409 h 18431"/>
                  <a:gd name="connsiteX1" fmla="*/ 1011 w 18349"/>
                  <a:gd name="connsiteY1" fmla="*/ 5029 h 18431"/>
                  <a:gd name="connsiteX2" fmla="*/ 13331 w 18349"/>
                  <a:gd name="connsiteY2" fmla="*/ 1022 h 18431"/>
                  <a:gd name="connsiteX3" fmla="*/ 17338 w 18349"/>
                  <a:gd name="connsiteY3" fmla="*/ 13402 h 18431"/>
                  <a:gd name="connsiteX4" fmla="*/ 5019 w 18349"/>
                  <a:gd name="connsiteY4" fmla="*/ 1740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5019" y="17409"/>
                    </a:moveTo>
                    <a:cubicBezTo>
                      <a:pt x="533" y="15077"/>
                      <a:pt x="-1321" y="9515"/>
                      <a:pt x="1011" y="5029"/>
                    </a:cubicBezTo>
                    <a:cubicBezTo>
                      <a:pt x="3284" y="484"/>
                      <a:pt x="8846" y="-1310"/>
                      <a:pt x="13331" y="1022"/>
                    </a:cubicBezTo>
                    <a:cubicBezTo>
                      <a:pt x="17817" y="3355"/>
                      <a:pt x="19671" y="8917"/>
                      <a:pt x="17338" y="13402"/>
                    </a:cubicBezTo>
                    <a:cubicBezTo>
                      <a:pt x="15006" y="17948"/>
                      <a:pt x="9504" y="19742"/>
                      <a:pt x="5019" y="17409"/>
                    </a:cubicBezTo>
                    <a:close/>
                  </a:path>
                </a:pathLst>
              </a:custGeom>
              <a:grpFill/>
              <a:ln w="5978" cap="flat">
                <a:noFill/>
                <a:prstDash val="solid"/>
                <a:miter/>
              </a:ln>
            </p:spPr>
            <p:txBody>
              <a:bodyPr rtlCol="0" anchor="ctr"/>
              <a:lstStyle/>
              <a:p>
                <a:endParaRPr lang="en-GB"/>
              </a:p>
            </p:txBody>
          </p:sp>
          <p:sp>
            <p:nvSpPr>
              <p:cNvPr id="4290" name="Vrije vorm: vorm 4289">
                <a:extLst>
                  <a:ext uri="{FF2B5EF4-FFF2-40B4-BE49-F238E27FC236}">
                    <a16:creationId xmlns:a16="http://schemas.microsoft.com/office/drawing/2014/main" id="{3A81AAE3-DFCF-4E2D-87E9-61A9945F0D07}"/>
                  </a:ext>
                </a:extLst>
              </p:cNvPr>
              <p:cNvSpPr/>
              <p:nvPr/>
            </p:nvSpPr>
            <p:spPr>
              <a:xfrm>
                <a:off x="7706713" y="4262734"/>
                <a:ext cx="18334" cy="18431"/>
              </a:xfrm>
              <a:custGeom>
                <a:avLst/>
                <a:gdLst>
                  <a:gd name="connsiteX0" fmla="*/ 5029 w 18334"/>
                  <a:gd name="connsiteY0" fmla="*/ 17409 h 18431"/>
                  <a:gd name="connsiteX1" fmla="*/ 17350 w 18334"/>
                  <a:gd name="connsiteY1" fmla="*/ 13402 h 18431"/>
                  <a:gd name="connsiteX2" fmla="*/ 13342 w 18334"/>
                  <a:gd name="connsiteY2" fmla="*/ 1022 h 18431"/>
                  <a:gd name="connsiteX3" fmla="*/ 1022 w 18334"/>
                  <a:gd name="connsiteY3" fmla="*/ 5029 h 18431"/>
                  <a:gd name="connsiteX4" fmla="*/ 5029 w 18334"/>
                  <a:gd name="connsiteY4" fmla="*/ 1740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1">
                    <a:moveTo>
                      <a:pt x="5029" y="17409"/>
                    </a:moveTo>
                    <a:cubicBezTo>
                      <a:pt x="9515" y="19742"/>
                      <a:pt x="15077" y="17947"/>
                      <a:pt x="17350" y="13402"/>
                    </a:cubicBezTo>
                    <a:cubicBezTo>
                      <a:pt x="19622" y="8857"/>
                      <a:pt x="17828" y="3295"/>
                      <a:pt x="13342" y="1022"/>
                    </a:cubicBezTo>
                    <a:cubicBezTo>
                      <a:pt x="8857" y="-1310"/>
                      <a:pt x="3294" y="484"/>
                      <a:pt x="1022" y="5029"/>
                    </a:cubicBezTo>
                    <a:cubicBezTo>
                      <a:pt x="-1310" y="9515"/>
                      <a:pt x="484" y="15077"/>
                      <a:pt x="5029" y="17409"/>
                    </a:cubicBezTo>
                    <a:close/>
                  </a:path>
                </a:pathLst>
              </a:custGeom>
              <a:grpFill/>
              <a:ln w="5978" cap="flat">
                <a:noFill/>
                <a:prstDash val="solid"/>
                <a:miter/>
              </a:ln>
            </p:spPr>
            <p:txBody>
              <a:bodyPr rtlCol="0" anchor="ctr"/>
              <a:lstStyle/>
              <a:p>
                <a:endParaRPr lang="en-GB"/>
              </a:p>
            </p:txBody>
          </p:sp>
        </p:grpSp>
        <p:grpSp>
          <p:nvGrpSpPr>
            <p:cNvPr id="365" name="Graphic 3">
              <a:extLst>
                <a:ext uri="{FF2B5EF4-FFF2-40B4-BE49-F238E27FC236}">
                  <a16:creationId xmlns:a16="http://schemas.microsoft.com/office/drawing/2014/main" id="{1C0296E8-064C-4485-A5A0-917018A29243}"/>
                </a:ext>
              </a:extLst>
            </p:cNvPr>
            <p:cNvGrpSpPr/>
            <p:nvPr/>
          </p:nvGrpSpPr>
          <p:grpSpPr>
            <a:xfrm>
              <a:off x="6868614" y="1796883"/>
              <a:ext cx="98432" cy="161310"/>
              <a:chOff x="6868614" y="1796883"/>
              <a:chExt cx="98432" cy="161310"/>
            </a:xfrm>
            <a:grpFill/>
          </p:grpSpPr>
          <p:sp>
            <p:nvSpPr>
              <p:cNvPr id="4285" name="Vrije vorm: vorm 4284">
                <a:extLst>
                  <a:ext uri="{FF2B5EF4-FFF2-40B4-BE49-F238E27FC236}">
                    <a16:creationId xmlns:a16="http://schemas.microsoft.com/office/drawing/2014/main" id="{F8823531-0A25-42B4-A656-8D005AE8E910}"/>
                  </a:ext>
                </a:extLst>
              </p:cNvPr>
              <p:cNvSpPr/>
              <p:nvPr/>
            </p:nvSpPr>
            <p:spPr>
              <a:xfrm>
                <a:off x="6876235" y="1804902"/>
                <a:ext cx="83191" cy="145211"/>
              </a:xfrm>
              <a:custGeom>
                <a:avLst/>
                <a:gdLst>
                  <a:gd name="connsiteX0" fmla="*/ 83191 w 83191"/>
                  <a:gd name="connsiteY0" fmla="*/ 1495 h 145211"/>
                  <a:gd name="connsiteX1" fmla="*/ 2631 w 83191"/>
                  <a:gd name="connsiteY1" fmla="*/ 145212 h 145211"/>
                  <a:gd name="connsiteX2" fmla="*/ 0 w 83191"/>
                  <a:gd name="connsiteY2" fmla="*/ 143717 h 145211"/>
                  <a:gd name="connsiteX3" fmla="*/ 80500 w 83191"/>
                  <a:gd name="connsiteY3" fmla="*/ 0 h 145211"/>
                </a:gdLst>
                <a:ahLst/>
                <a:cxnLst>
                  <a:cxn ang="0">
                    <a:pos x="connsiteX0" y="connsiteY0"/>
                  </a:cxn>
                  <a:cxn ang="0">
                    <a:pos x="connsiteX1" y="connsiteY1"/>
                  </a:cxn>
                  <a:cxn ang="0">
                    <a:pos x="connsiteX2" y="connsiteY2"/>
                  </a:cxn>
                  <a:cxn ang="0">
                    <a:pos x="connsiteX3" y="connsiteY3"/>
                  </a:cxn>
                </a:cxnLst>
                <a:rect l="l" t="t" r="r" b="b"/>
                <a:pathLst>
                  <a:path w="83191" h="145211">
                    <a:moveTo>
                      <a:pt x="83191" y="1495"/>
                    </a:moveTo>
                    <a:lnTo>
                      <a:pt x="2631" y="145212"/>
                    </a:lnTo>
                    <a:lnTo>
                      <a:pt x="0" y="143717"/>
                    </a:lnTo>
                    <a:lnTo>
                      <a:pt x="80500" y="0"/>
                    </a:lnTo>
                    <a:close/>
                  </a:path>
                </a:pathLst>
              </a:custGeom>
              <a:grpFill/>
              <a:ln w="5978" cap="flat">
                <a:noFill/>
                <a:prstDash val="solid"/>
                <a:miter/>
              </a:ln>
            </p:spPr>
            <p:txBody>
              <a:bodyPr rtlCol="0" anchor="ctr"/>
              <a:lstStyle/>
              <a:p>
                <a:endParaRPr lang="en-GB"/>
              </a:p>
            </p:txBody>
          </p:sp>
          <p:sp>
            <p:nvSpPr>
              <p:cNvPr id="4286" name="Vrije vorm: vorm 4285">
                <a:extLst>
                  <a:ext uri="{FF2B5EF4-FFF2-40B4-BE49-F238E27FC236}">
                    <a16:creationId xmlns:a16="http://schemas.microsoft.com/office/drawing/2014/main" id="{F1562278-60CF-415A-A2C2-2C23B8AF0637}"/>
                  </a:ext>
                </a:extLst>
              </p:cNvPr>
              <p:cNvSpPr/>
              <p:nvPr/>
            </p:nvSpPr>
            <p:spPr>
              <a:xfrm>
                <a:off x="6948697" y="1796883"/>
                <a:ext cx="18349" cy="18431"/>
              </a:xfrm>
              <a:custGeom>
                <a:avLst/>
                <a:gdLst>
                  <a:gd name="connsiteX0" fmla="*/ 1160 w 18349"/>
                  <a:gd name="connsiteY0" fmla="*/ 4670 h 18431"/>
                  <a:gd name="connsiteX1" fmla="*/ 13660 w 18349"/>
                  <a:gd name="connsiteY1" fmla="*/ 1201 h 18431"/>
                  <a:gd name="connsiteX2" fmla="*/ 17189 w 18349"/>
                  <a:gd name="connsiteY2" fmla="*/ 13761 h 18431"/>
                  <a:gd name="connsiteX3" fmla="*/ 4689 w 18349"/>
                  <a:gd name="connsiteY3" fmla="*/ 17230 h 18431"/>
                  <a:gd name="connsiteX4" fmla="*/ 1160 w 18349"/>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1160" y="4670"/>
                    </a:moveTo>
                    <a:cubicBezTo>
                      <a:pt x="3612" y="245"/>
                      <a:pt x="9234" y="-1310"/>
                      <a:pt x="13660" y="1201"/>
                    </a:cubicBezTo>
                    <a:cubicBezTo>
                      <a:pt x="18086" y="3713"/>
                      <a:pt x="19641" y="9335"/>
                      <a:pt x="17189" y="13761"/>
                    </a:cubicBezTo>
                    <a:cubicBezTo>
                      <a:pt x="14736" y="18187"/>
                      <a:pt x="9115" y="19742"/>
                      <a:pt x="4689" y="17230"/>
                    </a:cubicBezTo>
                    <a:cubicBezTo>
                      <a:pt x="263" y="14718"/>
                      <a:pt x="-1292" y="9096"/>
                      <a:pt x="1160" y="4670"/>
                    </a:cubicBezTo>
                    <a:close/>
                  </a:path>
                </a:pathLst>
              </a:custGeom>
              <a:grpFill/>
              <a:ln w="5978" cap="flat">
                <a:noFill/>
                <a:prstDash val="solid"/>
                <a:miter/>
              </a:ln>
            </p:spPr>
            <p:txBody>
              <a:bodyPr rtlCol="0" anchor="ctr"/>
              <a:lstStyle/>
              <a:p>
                <a:endParaRPr lang="en-GB"/>
              </a:p>
            </p:txBody>
          </p:sp>
          <p:sp>
            <p:nvSpPr>
              <p:cNvPr id="4287" name="Vrije vorm: vorm 4286">
                <a:extLst>
                  <a:ext uri="{FF2B5EF4-FFF2-40B4-BE49-F238E27FC236}">
                    <a16:creationId xmlns:a16="http://schemas.microsoft.com/office/drawing/2014/main" id="{D840B29B-B617-41F4-B926-56C29CC2D006}"/>
                  </a:ext>
                </a:extLst>
              </p:cNvPr>
              <p:cNvSpPr/>
              <p:nvPr/>
            </p:nvSpPr>
            <p:spPr>
              <a:xfrm>
                <a:off x="6868614" y="1939762"/>
                <a:ext cx="18291" cy="18431"/>
              </a:xfrm>
              <a:custGeom>
                <a:avLst/>
                <a:gdLst>
                  <a:gd name="connsiteX0" fmla="*/ 1162 w 18291"/>
                  <a:gd name="connsiteY0" fmla="*/ 4670 h 18431"/>
                  <a:gd name="connsiteX1" fmla="*/ 4631 w 18291"/>
                  <a:gd name="connsiteY1" fmla="*/ 17230 h 18431"/>
                  <a:gd name="connsiteX2" fmla="*/ 17131 w 18291"/>
                  <a:gd name="connsiteY2" fmla="*/ 13761 h 18431"/>
                  <a:gd name="connsiteX3" fmla="*/ 13602 w 18291"/>
                  <a:gd name="connsiteY3" fmla="*/ 1201 h 18431"/>
                  <a:gd name="connsiteX4" fmla="*/ 1162 w 18291"/>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31">
                    <a:moveTo>
                      <a:pt x="1162" y="4670"/>
                    </a:moveTo>
                    <a:cubicBezTo>
                      <a:pt x="-1290" y="9096"/>
                      <a:pt x="265" y="14718"/>
                      <a:pt x="4631" y="17230"/>
                    </a:cubicBezTo>
                    <a:cubicBezTo>
                      <a:pt x="9057" y="19742"/>
                      <a:pt x="14619" y="18187"/>
                      <a:pt x="17131" y="13761"/>
                    </a:cubicBezTo>
                    <a:cubicBezTo>
                      <a:pt x="19583" y="9335"/>
                      <a:pt x="18028" y="3713"/>
                      <a:pt x="13602" y="1201"/>
                    </a:cubicBezTo>
                    <a:cubicBezTo>
                      <a:pt x="9236" y="-1310"/>
                      <a:pt x="3674" y="245"/>
                      <a:pt x="1162" y="4670"/>
                    </a:cubicBezTo>
                    <a:close/>
                  </a:path>
                </a:pathLst>
              </a:custGeom>
              <a:grpFill/>
              <a:ln w="5978" cap="flat">
                <a:noFill/>
                <a:prstDash val="solid"/>
                <a:miter/>
              </a:ln>
            </p:spPr>
            <p:txBody>
              <a:bodyPr rtlCol="0" anchor="ctr"/>
              <a:lstStyle/>
              <a:p>
                <a:endParaRPr lang="en-GB"/>
              </a:p>
            </p:txBody>
          </p:sp>
        </p:grpSp>
        <p:grpSp>
          <p:nvGrpSpPr>
            <p:cNvPr id="366" name="Graphic 3">
              <a:extLst>
                <a:ext uri="{FF2B5EF4-FFF2-40B4-BE49-F238E27FC236}">
                  <a16:creationId xmlns:a16="http://schemas.microsoft.com/office/drawing/2014/main" id="{BDD4B26D-DFEB-4B41-AFC2-77CC1B099D81}"/>
                </a:ext>
              </a:extLst>
            </p:cNvPr>
            <p:cNvGrpSpPr/>
            <p:nvPr/>
          </p:nvGrpSpPr>
          <p:grpSpPr>
            <a:xfrm>
              <a:off x="7745767" y="4449781"/>
              <a:ext cx="102713" cy="70150"/>
              <a:chOff x="7745767" y="4449781"/>
              <a:chExt cx="102713" cy="70150"/>
            </a:xfrm>
            <a:grpFill/>
          </p:grpSpPr>
          <p:sp>
            <p:nvSpPr>
              <p:cNvPr id="4282" name="Vrije vorm: vorm 4281">
                <a:extLst>
                  <a:ext uri="{FF2B5EF4-FFF2-40B4-BE49-F238E27FC236}">
                    <a16:creationId xmlns:a16="http://schemas.microsoft.com/office/drawing/2014/main" id="{83A0F5DC-A86B-47D6-8F35-6C95E57ADE23}"/>
                  </a:ext>
                </a:extLst>
              </p:cNvPr>
              <p:cNvSpPr/>
              <p:nvPr/>
            </p:nvSpPr>
            <p:spPr>
              <a:xfrm>
                <a:off x="7753786" y="4457472"/>
                <a:ext cx="86780" cy="54843"/>
              </a:xfrm>
              <a:custGeom>
                <a:avLst/>
                <a:gdLst>
                  <a:gd name="connsiteX0" fmla="*/ 86780 w 86780"/>
                  <a:gd name="connsiteY0" fmla="*/ 52212 h 54843"/>
                  <a:gd name="connsiteX1" fmla="*/ 85165 w 86780"/>
                  <a:gd name="connsiteY1" fmla="*/ 54843 h 54843"/>
                  <a:gd name="connsiteX2" fmla="*/ 0 w 86780"/>
                  <a:gd name="connsiteY2" fmla="*/ 2572 h 54843"/>
                  <a:gd name="connsiteX3" fmla="*/ 1555 w 86780"/>
                  <a:gd name="connsiteY3" fmla="*/ 0 h 54843"/>
                </a:gdLst>
                <a:ahLst/>
                <a:cxnLst>
                  <a:cxn ang="0">
                    <a:pos x="connsiteX0" y="connsiteY0"/>
                  </a:cxn>
                  <a:cxn ang="0">
                    <a:pos x="connsiteX1" y="connsiteY1"/>
                  </a:cxn>
                  <a:cxn ang="0">
                    <a:pos x="connsiteX2" y="connsiteY2"/>
                  </a:cxn>
                  <a:cxn ang="0">
                    <a:pos x="connsiteX3" y="connsiteY3"/>
                  </a:cxn>
                </a:cxnLst>
                <a:rect l="l" t="t" r="r" b="b"/>
                <a:pathLst>
                  <a:path w="86780" h="54843">
                    <a:moveTo>
                      <a:pt x="86780" y="52212"/>
                    </a:moveTo>
                    <a:lnTo>
                      <a:pt x="85165" y="54843"/>
                    </a:lnTo>
                    <a:lnTo>
                      <a:pt x="0" y="2572"/>
                    </a:lnTo>
                    <a:lnTo>
                      <a:pt x="1555" y="0"/>
                    </a:lnTo>
                    <a:close/>
                  </a:path>
                </a:pathLst>
              </a:custGeom>
              <a:grpFill/>
              <a:ln w="5978" cap="flat">
                <a:noFill/>
                <a:prstDash val="solid"/>
                <a:miter/>
              </a:ln>
            </p:spPr>
            <p:txBody>
              <a:bodyPr rtlCol="0" anchor="ctr"/>
              <a:lstStyle/>
              <a:p>
                <a:endParaRPr lang="en-GB"/>
              </a:p>
            </p:txBody>
          </p:sp>
          <p:sp>
            <p:nvSpPr>
              <p:cNvPr id="4283" name="Vrije vorm: vorm 4282">
                <a:extLst>
                  <a:ext uri="{FF2B5EF4-FFF2-40B4-BE49-F238E27FC236}">
                    <a16:creationId xmlns:a16="http://schemas.microsoft.com/office/drawing/2014/main" id="{8E472D27-26F4-4E17-ACC8-61E407B89BE6}"/>
                  </a:ext>
                </a:extLst>
              </p:cNvPr>
              <p:cNvSpPr/>
              <p:nvPr/>
            </p:nvSpPr>
            <p:spPr>
              <a:xfrm>
                <a:off x="7745767" y="4449781"/>
                <a:ext cx="18311" cy="18431"/>
              </a:xfrm>
              <a:custGeom>
                <a:avLst/>
                <a:gdLst>
                  <a:gd name="connsiteX0" fmla="*/ 4431 w 18311"/>
                  <a:gd name="connsiteY0" fmla="*/ 17080 h 18431"/>
                  <a:gd name="connsiteX1" fmla="*/ 1321 w 18311"/>
                  <a:gd name="connsiteY1" fmla="*/ 4401 h 18431"/>
                  <a:gd name="connsiteX2" fmla="*/ 13880 w 18311"/>
                  <a:gd name="connsiteY2" fmla="*/ 1351 h 18431"/>
                  <a:gd name="connsiteX3" fmla="*/ 16990 w 18311"/>
                  <a:gd name="connsiteY3" fmla="*/ 14030 h 18431"/>
                  <a:gd name="connsiteX4" fmla="*/ 4431 w 18311"/>
                  <a:gd name="connsiteY4" fmla="*/ 1708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4431" y="17080"/>
                    </a:moveTo>
                    <a:cubicBezTo>
                      <a:pt x="124" y="14449"/>
                      <a:pt x="-1311" y="8767"/>
                      <a:pt x="1321" y="4401"/>
                    </a:cubicBezTo>
                    <a:cubicBezTo>
                      <a:pt x="3952" y="35"/>
                      <a:pt x="9574" y="-1281"/>
                      <a:pt x="13880" y="1351"/>
                    </a:cubicBezTo>
                    <a:cubicBezTo>
                      <a:pt x="18186" y="3983"/>
                      <a:pt x="19622" y="9664"/>
                      <a:pt x="16990" y="14030"/>
                    </a:cubicBezTo>
                    <a:cubicBezTo>
                      <a:pt x="14418" y="18396"/>
                      <a:pt x="8737" y="19712"/>
                      <a:pt x="4431" y="17080"/>
                    </a:cubicBezTo>
                    <a:close/>
                  </a:path>
                </a:pathLst>
              </a:custGeom>
              <a:grpFill/>
              <a:ln w="5978" cap="flat">
                <a:noFill/>
                <a:prstDash val="solid"/>
                <a:miter/>
              </a:ln>
            </p:spPr>
            <p:txBody>
              <a:bodyPr rtlCol="0" anchor="ctr"/>
              <a:lstStyle/>
              <a:p>
                <a:endParaRPr lang="en-GB"/>
              </a:p>
            </p:txBody>
          </p:sp>
          <p:sp>
            <p:nvSpPr>
              <p:cNvPr id="4284" name="Vrije vorm: vorm 4283">
                <a:extLst>
                  <a:ext uri="{FF2B5EF4-FFF2-40B4-BE49-F238E27FC236}">
                    <a16:creationId xmlns:a16="http://schemas.microsoft.com/office/drawing/2014/main" id="{32F4856D-6C9F-4CEA-98B3-CF8B81AC593B}"/>
                  </a:ext>
                </a:extLst>
              </p:cNvPr>
              <p:cNvSpPr/>
              <p:nvPr/>
            </p:nvSpPr>
            <p:spPr>
              <a:xfrm>
                <a:off x="7830182" y="4501528"/>
                <a:ext cx="18298" cy="18403"/>
              </a:xfrm>
              <a:custGeom>
                <a:avLst/>
                <a:gdLst>
                  <a:gd name="connsiteX0" fmla="*/ 4404 w 18298"/>
                  <a:gd name="connsiteY0" fmla="*/ 17066 h 18403"/>
                  <a:gd name="connsiteX1" fmla="*/ 16964 w 18298"/>
                  <a:gd name="connsiteY1" fmla="*/ 14016 h 18403"/>
                  <a:gd name="connsiteX2" fmla="*/ 13854 w 18298"/>
                  <a:gd name="connsiteY2" fmla="*/ 1337 h 18403"/>
                  <a:gd name="connsiteX3" fmla="*/ 1294 w 18298"/>
                  <a:gd name="connsiteY3" fmla="*/ 4387 h 18403"/>
                  <a:gd name="connsiteX4" fmla="*/ 4404 w 18298"/>
                  <a:gd name="connsiteY4" fmla="*/ 17066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03">
                    <a:moveTo>
                      <a:pt x="4404" y="17066"/>
                    </a:moveTo>
                    <a:cubicBezTo>
                      <a:pt x="8710" y="19698"/>
                      <a:pt x="14392" y="18322"/>
                      <a:pt x="16964" y="14016"/>
                    </a:cubicBezTo>
                    <a:cubicBezTo>
                      <a:pt x="19596" y="9650"/>
                      <a:pt x="18219" y="4028"/>
                      <a:pt x="13854" y="1337"/>
                    </a:cubicBezTo>
                    <a:cubicBezTo>
                      <a:pt x="9548" y="-1294"/>
                      <a:pt x="3866" y="81"/>
                      <a:pt x="1294" y="4387"/>
                    </a:cubicBezTo>
                    <a:cubicBezTo>
                      <a:pt x="-1278" y="8753"/>
                      <a:pt x="98" y="14435"/>
                      <a:pt x="4404" y="17066"/>
                    </a:cubicBezTo>
                    <a:close/>
                  </a:path>
                </a:pathLst>
              </a:custGeom>
              <a:grpFill/>
              <a:ln w="5978" cap="flat">
                <a:noFill/>
                <a:prstDash val="solid"/>
                <a:miter/>
              </a:ln>
            </p:spPr>
            <p:txBody>
              <a:bodyPr rtlCol="0" anchor="ctr"/>
              <a:lstStyle/>
              <a:p>
                <a:endParaRPr lang="en-GB"/>
              </a:p>
            </p:txBody>
          </p:sp>
        </p:grpSp>
        <p:grpSp>
          <p:nvGrpSpPr>
            <p:cNvPr id="367" name="Graphic 3">
              <a:extLst>
                <a:ext uri="{FF2B5EF4-FFF2-40B4-BE49-F238E27FC236}">
                  <a16:creationId xmlns:a16="http://schemas.microsoft.com/office/drawing/2014/main" id="{262C8E36-C93F-4A07-964C-94D082866572}"/>
                </a:ext>
              </a:extLst>
            </p:cNvPr>
            <p:cNvGrpSpPr/>
            <p:nvPr/>
          </p:nvGrpSpPr>
          <p:grpSpPr>
            <a:xfrm>
              <a:off x="7816702" y="4586131"/>
              <a:ext cx="26198" cy="23656"/>
              <a:chOff x="7816702" y="4586131"/>
              <a:chExt cx="26198" cy="23656"/>
            </a:xfrm>
            <a:grpFill/>
          </p:grpSpPr>
          <p:sp>
            <p:nvSpPr>
              <p:cNvPr id="4279" name="Vrije vorm: vorm 4278">
                <a:extLst>
                  <a:ext uri="{FF2B5EF4-FFF2-40B4-BE49-F238E27FC236}">
                    <a16:creationId xmlns:a16="http://schemas.microsoft.com/office/drawing/2014/main" id="{2079812E-57DF-4E85-99C6-9C6C046B35F5}"/>
                  </a:ext>
                </a:extLst>
              </p:cNvPr>
              <p:cNvSpPr/>
              <p:nvPr/>
            </p:nvSpPr>
            <p:spPr>
              <a:xfrm>
                <a:off x="7824658" y="4593832"/>
                <a:ext cx="10286" cy="8253"/>
              </a:xfrm>
              <a:custGeom>
                <a:avLst/>
                <a:gdLst>
                  <a:gd name="connsiteX0" fmla="*/ 10287 w 10286"/>
                  <a:gd name="connsiteY0" fmla="*/ 5741 h 8253"/>
                  <a:gd name="connsiteX1" fmla="*/ 8613 w 10286"/>
                  <a:gd name="connsiteY1" fmla="*/ 8253 h 8253"/>
                  <a:gd name="connsiteX2" fmla="*/ 0 w 10286"/>
                  <a:gd name="connsiteY2" fmla="*/ 2512 h 8253"/>
                  <a:gd name="connsiteX3" fmla="*/ 1675 w 10286"/>
                  <a:gd name="connsiteY3" fmla="*/ 0 h 8253"/>
                </a:gdLst>
                <a:ahLst/>
                <a:cxnLst>
                  <a:cxn ang="0">
                    <a:pos x="connsiteX0" y="connsiteY0"/>
                  </a:cxn>
                  <a:cxn ang="0">
                    <a:pos x="connsiteX1" y="connsiteY1"/>
                  </a:cxn>
                  <a:cxn ang="0">
                    <a:pos x="connsiteX2" y="connsiteY2"/>
                  </a:cxn>
                  <a:cxn ang="0">
                    <a:pos x="connsiteX3" y="connsiteY3"/>
                  </a:cxn>
                </a:cxnLst>
                <a:rect l="l" t="t" r="r" b="b"/>
                <a:pathLst>
                  <a:path w="10286" h="8253">
                    <a:moveTo>
                      <a:pt x="10287" y="5741"/>
                    </a:moveTo>
                    <a:lnTo>
                      <a:pt x="8613" y="8253"/>
                    </a:lnTo>
                    <a:lnTo>
                      <a:pt x="0" y="2512"/>
                    </a:lnTo>
                    <a:lnTo>
                      <a:pt x="1675" y="0"/>
                    </a:lnTo>
                    <a:close/>
                  </a:path>
                </a:pathLst>
              </a:custGeom>
              <a:grpFill/>
              <a:ln w="5978" cap="flat">
                <a:noFill/>
                <a:prstDash val="solid"/>
                <a:miter/>
              </a:ln>
            </p:spPr>
            <p:txBody>
              <a:bodyPr rtlCol="0" anchor="ctr"/>
              <a:lstStyle/>
              <a:p>
                <a:endParaRPr lang="en-GB"/>
              </a:p>
            </p:txBody>
          </p:sp>
          <p:sp>
            <p:nvSpPr>
              <p:cNvPr id="4280" name="Vrije vorm: vorm 4279">
                <a:extLst>
                  <a:ext uri="{FF2B5EF4-FFF2-40B4-BE49-F238E27FC236}">
                    <a16:creationId xmlns:a16="http://schemas.microsoft.com/office/drawing/2014/main" id="{E0D56B58-7AF9-4979-93E8-E85405BFA950}"/>
                  </a:ext>
                </a:extLst>
              </p:cNvPr>
              <p:cNvSpPr/>
              <p:nvPr/>
            </p:nvSpPr>
            <p:spPr>
              <a:xfrm>
                <a:off x="7824597" y="4591334"/>
                <a:ext cx="18304" cy="18453"/>
              </a:xfrm>
              <a:custGeom>
                <a:avLst/>
                <a:gdLst>
                  <a:gd name="connsiteX0" fmla="*/ 14176 w 18304"/>
                  <a:gd name="connsiteY0" fmla="*/ 1541 h 18453"/>
                  <a:gd name="connsiteX1" fmla="*/ 16808 w 18304"/>
                  <a:gd name="connsiteY1" fmla="*/ 14340 h 18453"/>
                  <a:gd name="connsiteX2" fmla="*/ 4128 w 18304"/>
                  <a:gd name="connsiteY2" fmla="*/ 16912 h 18453"/>
                  <a:gd name="connsiteX3" fmla="*/ 1497 w 18304"/>
                  <a:gd name="connsiteY3" fmla="*/ 4113 h 18453"/>
                  <a:gd name="connsiteX4" fmla="*/ 14176 w 1830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3">
                    <a:moveTo>
                      <a:pt x="14176" y="1541"/>
                    </a:moveTo>
                    <a:cubicBezTo>
                      <a:pt x="18422" y="4352"/>
                      <a:pt x="19558" y="10094"/>
                      <a:pt x="16808" y="14340"/>
                    </a:cubicBezTo>
                    <a:cubicBezTo>
                      <a:pt x="13996" y="18587"/>
                      <a:pt x="8315" y="19723"/>
                      <a:pt x="4128" y="16912"/>
                    </a:cubicBezTo>
                    <a:cubicBezTo>
                      <a:pt x="-118" y="14101"/>
                      <a:pt x="-1254" y="8359"/>
                      <a:pt x="1497" y="4113"/>
                    </a:cubicBezTo>
                    <a:cubicBezTo>
                      <a:pt x="4248" y="-133"/>
                      <a:pt x="9930" y="-1269"/>
                      <a:pt x="14176" y="1541"/>
                    </a:cubicBezTo>
                    <a:close/>
                  </a:path>
                </a:pathLst>
              </a:custGeom>
              <a:grpFill/>
              <a:ln w="5978" cap="flat">
                <a:noFill/>
                <a:prstDash val="solid"/>
                <a:miter/>
              </a:ln>
            </p:spPr>
            <p:txBody>
              <a:bodyPr rtlCol="0" anchor="ctr"/>
              <a:lstStyle/>
              <a:p>
                <a:endParaRPr lang="en-GB"/>
              </a:p>
            </p:txBody>
          </p:sp>
          <p:sp>
            <p:nvSpPr>
              <p:cNvPr id="4281" name="Vrije vorm: vorm 4280">
                <a:extLst>
                  <a:ext uri="{FF2B5EF4-FFF2-40B4-BE49-F238E27FC236}">
                    <a16:creationId xmlns:a16="http://schemas.microsoft.com/office/drawing/2014/main" id="{991E6DDA-510C-4ADB-90B5-0CF9335F7C61}"/>
                  </a:ext>
                </a:extLst>
              </p:cNvPr>
              <p:cNvSpPr/>
              <p:nvPr/>
            </p:nvSpPr>
            <p:spPr>
              <a:xfrm>
                <a:off x="7816702" y="4586131"/>
                <a:ext cx="18304" cy="18453"/>
              </a:xfrm>
              <a:custGeom>
                <a:avLst/>
                <a:gdLst>
                  <a:gd name="connsiteX0" fmla="*/ 14176 w 18304"/>
                  <a:gd name="connsiteY0" fmla="*/ 1541 h 18453"/>
                  <a:gd name="connsiteX1" fmla="*/ 1497 w 18304"/>
                  <a:gd name="connsiteY1" fmla="*/ 4113 h 18453"/>
                  <a:gd name="connsiteX2" fmla="*/ 4128 w 18304"/>
                  <a:gd name="connsiteY2" fmla="*/ 16912 h 18453"/>
                  <a:gd name="connsiteX3" fmla="*/ 16807 w 18304"/>
                  <a:gd name="connsiteY3" fmla="*/ 14340 h 18453"/>
                  <a:gd name="connsiteX4" fmla="*/ 14176 w 1830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3">
                    <a:moveTo>
                      <a:pt x="14176" y="1541"/>
                    </a:moveTo>
                    <a:cubicBezTo>
                      <a:pt x="9929" y="-1269"/>
                      <a:pt x="4248" y="-133"/>
                      <a:pt x="1497" y="4113"/>
                    </a:cubicBezTo>
                    <a:cubicBezTo>
                      <a:pt x="-1255" y="8359"/>
                      <a:pt x="-118" y="14041"/>
                      <a:pt x="4128" y="16912"/>
                    </a:cubicBezTo>
                    <a:cubicBezTo>
                      <a:pt x="8375" y="19723"/>
                      <a:pt x="14056" y="18587"/>
                      <a:pt x="16807" y="14340"/>
                    </a:cubicBezTo>
                    <a:cubicBezTo>
                      <a:pt x="19559" y="10094"/>
                      <a:pt x="18422" y="4352"/>
                      <a:pt x="14176" y="1541"/>
                    </a:cubicBezTo>
                    <a:close/>
                  </a:path>
                </a:pathLst>
              </a:custGeom>
              <a:grpFill/>
              <a:ln w="5978" cap="flat">
                <a:noFill/>
                <a:prstDash val="solid"/>
                <a:miter/>
              </a:ln>
            </p:spPr>
            <p:txBody>
              <a:bodyPr rtlCol="0" anchor="ctr"/>
              <a:lstStyle/>
              <a:p>
                <a:endParaRPr lang="en-GB"/>
              </a:p>
            </p:txBody>
          </p:sp>
        </p:grpSp>
        <p:grpSp>
          <p:nvGrpSpPr>
            <p:cNvPr id="368" name="Graphic 3">
              <a:extLst>
                <a:ext uri="{FF2B5EF4-FFF2-40B4-BE49-F238E27FC236}">
                  <a16:creationId xmlns:a16="http://schemas.microsoft.com/office/drawing/2014/main" id="{0B4A55ED-AE84-4722-AD41-1D53D8AFA11F}"/>
                </a:ext>
              </a:extLst>
            </p:cNvPr>
            <p:cNvGrpSpPr/>
            <p:nvPr/>
          </p:nvGrpSpPr>
          <p:grpSpPr>
            <a:xfrm>
              <a:off x="6842190" y="1786156"/>
              <a:ext cx="91546" cy="154981"/>
              <a:chOff x="6842190" y="1786156"/>
              <a:chExt cx="91546" cy="154981"/>
            </a:xfrm>
            <a:grpFill/>
          </p:grpSpPr>
          <p:sp>
            <p:nvSpPr>
              <p:cNvPr id="4276" name="Vrije vorm: vorm 4275">
                <a:extLst>
                  <a:ext uri="{FF2B5EF4-FFF2-40B4-BE49-F238E27FC236}">
                    <a16:creationId xmlns:a16="http://schemas.microsoft.com/office/drawing/2014/main" id="{401FCAA1-45E9-4335-9034-96EB4939F57B}"/>
                  </a:ext>
                </a:extLst>
              </p:cNvPr>
              <p:cNvSpPr/>
              <p:nvPr/>
            </p:nvSpPr>
            <p:spPr>
              <a:xfrm>
                <a:off x="6849740" y="1794197"/>
                <a:ext cx="76373" cy="138812"/>
              </a:xfrm>
              <a:custGeom>
                <a:avLst/>
                <a:gdLst>
                  <a:gd name="connsiteX0" fmla="*/ 76374 w 76373"/>
                  <a:gd name="connsiteY0" fmla="*/ 1435 h 138812"/>
                  <a:gd name="connsiteX1" fmla="*/ 2692 w 76373"/>
                  <a:gd name="connsiteY1" fmla="*/ 138812 h 138812"/>
                  <a:gd name="connsiteX2" fmla="*/ 0 w 76373"/>
                  <a:gd name="connsiteY2" fmla="*/ 137377 h 138812"/>
                  <a:gd name="connsiteX3" fmla="*/ 73683 w 76373"/>
                  <a:gd name="connsiteY3" fmla="*/ 0 h 138812"/>
                </a:gdLst>
                <a:ahLst/>
                <a:cxnLst>
                  <a:cxn ang="0">
                    <a:pos x="connsiteX0" y="connsiteY0"/>
                  </a:cxn>
                  <a:cxn ang="0">
                    <a:pos x="connsiteX1" y="connsiteY1"/>
                  </a:cxn>
                  <a:cxn ang="0">
                    <a:pos x="connsiteX2" y="connsiteY2"/>
                  </a:cxn>
                  <a:cxn ang="0">
                    <a:pos x="connsiteX3" y="connsiteY3"/>
                  </a:cxn>
                </a:cxnLst>
                <a:rect l="l" t="t" r="r" b="b"/>
                <a:pathLst>
                  <a:path w="76373" h="138812">
                    <a:moveTo>
                      <a:pt x="76374" y="1435"/>
                    </a:moveTo>
                    <a:lnTo>
                      <a:pt x="2692" y="138812"/>
                    </a:lnTo>
                    <a:lnTo>
                      <a:pt x="0" y="137377"/>
                    </a:lnTo>
                    <a:lnTo>
                      <a:pt x="73683" y="0"/>
                    </a:lnTo>
                    <a:close/>
                  </a:path>
                </a:pathLst>
              </a:custGeom>
              <a:grpFill/>
              <a:ln w="5978" cap="flat">
                <a:noFill/>
                <a:prstDash val="solid"/>
                <a:miter/>
              </a:ln>
            </p:spPr>
            <p:txBody>
              <a:bodyPr rtlCol="0" anchor="ctr"/>
              <a:lstStyle/>
              <a:p>
                <a:endParaRPr lang="en-GB"/>
              </a:p>
            </p:txBody>
          </p:sp>
          <p:sp>
            <p:nvSpPr>
              <p:cNvPr id="4277" name="Vrije vorm: vorm 4276">
                <a:extLst>
                  <a:ext uri="{FF2B5EF4-FFF2-40B4-BE49-F238E27FC236}">
                    <a16:creationId xmlns:a16="http://schemas.microsoft.com/office/drawing/2014/main" id="{62BBE7C6-F2D4-4CCF-9087-041CD75DF94C}"/>
                  </a:ext>
                </a:extLst>
              </p:cNvPr>
              <p:cNvSpPr/>
              <p:nvPr/>
            </p:nvSpPr>
            <p:spPr>
              <a:xfrm>
                <a:off x="6915355" y="1786156"/>
                <a:ext cx="18381" cy="18414"/>
              </a:xfrm>
              <a:custGeom>
                <a:avLst/>
                <a:gdLst>
                  <a:gd name="connsiteX0" fmla="*/ 1130 w 18381"/>
                  <a:gd name="connsiteY0" fmla="*/ 4812 h 18414"/>
                  <a:gd name="connsiteX1" fmla="*/ 13570 w 18381"/>
                  <a:gd name="connsiteY1" fmla="*/ 1104 h 18414"/>
                  <a:gd name="connsiteX2" fmla="*/ 17278 w 18381"/>
                  <a:gd name="connsiteY2" fmla="*/ 13603 h 18414"/>
                  <a:gd name="connsiteX3" fmla="*/ 4838 w 18381"/>
                  <a:gd name="connsiteY3" fmla="*/ 17311 h 18414"/>
                  <a:gd name="connsiteX4" fmla="*/ 1130 w 18381"/>
                  <a:gd name="connsiteY4" fmla="*/ 481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14">
                    <a:moveTo>
                      <a:pt x="1130" y="4812"/>
                    </a:moveTo>
                    <a:cubicBezTo>
                      <a:pt x="3523" y="326"/>
                      <a:pt x="9084" y="-1289"/>
                      <a:pt x="13570" y="1104"/>
                    </a:cubicBezTo>
                    <a:cubicBezTo>
                      <a:pt x="18055" y="3556"/>
                      <a:pt x="19670" y="9118"/>
                      <a:pt x="17278" y="13603"/>
                    </a:cubicBezTo>
                    <a:cubicBezTo>
                      <a:pt x="14886" y="18089"/>
                      <a:pt x="9324" y="19704"/>
                      <a:pt x="4838" y="17311"/>
                    </a:cubicBezTo>
                    <a:cubicBezTo>
                      <a:pt x="353" y="14859"/>
                      <a:pt x="-1322" y="9237"/>
                      <a:pt x="1130" y="4812"/>
                    </a:cubicBezTo>
                    <a:close/>
                  </a:path>
                </a:pathLst>
              </a:custGeom>
              <a:grpFill/>
              <a:ln w="5978" cap="flat">
                <a:noFill/>
                <a:prstDash val="solid"/>
                <a:miter/>
              </a:ln>
            </p:spPr>
            <p:txBody>
              <a:bodyPr rtlCol="0" anchor="ctr"/>
              <a:lstStyle/>
              <a:p>
                <a:endParaRPr lang="en-GB"/>
              </a:p>
            </p:txBody>
          </p:sp>
          <p:sp>
            <p:nvSpPr>
              <p:cNvPr id="4278" name="Vrije vorm: vorm 4277">
                <a:extLst>
                  <a:ext uri="{FF2B5EF4-FFF2-40B4-BE49-F238E27FC236}">
                    <a16:creationId xmlns:a16="http://schemas.microsoft.com/office/drawing/2014/main" id="{46612EFD-B752-4997-B065-952441E407F2}"/>
                  </a:ext>
                </a:extLst>
              </p:cNvPr>
              <p:cNvSpPr/>
              <p:nvPr/>
            </p:nvSpPr>
            <p:spPr>
              <a:xfrm>
                <a:off x="6842190" y="1922669"/>
                <a:ext cx="18330" cy="18467"/>
              </a:xfrm>
              <a:custGeom>
                <a:avLst/>
                <a:gdLst>
                  <a:gd name="connsiteX0" fmla="*/ 1092 w 18330"/>
                  <a:gd name="connsiteY0" fmla="*/ 4838 h 18467"/>
                  <a:gd name="connsiteX1" fmla="*/ 4800 w 18330"/>
                  <a:gd name="connsiteY1" fmla="*/ 17338 h 18467"/>
                  <a:gd name="connsiteX2" fmla="*/ 17239 w 18330"/>
                  <a:gd name="connsiteY2" fmla="*/ 13630 h 18467"/>
                  <a:gd name="connsiteX3" fmla="*/ 13531 w 18330"/>
                  <a:gd name="connsiteY3" fmla="*/ 1130 h 18467"/>
                  <a:gd name="connsiteX4" fmla="*/ 1092 w 18330"/>
                  <a:gd name="connsiteY4" fmla="*/ 4838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67">
                    <a:moveTo>
                      <a:pt x="1092" y="4838"/>
                    </a:moveTo>
                    <a:cubicBezTo>
                      <a:pt x="-1301" y="9324"/>
                      <a:pt x="374" y="14886"/>
                      <a:pt x="4800" y="17338"/>
                    </a:cubicBezTo>
                    <a:cubicBezTo>
                      <a:pt x="9225" y="19790"/>
                      <a:pt x="14788" y="18115"/>
                      <a:pt x="17239" y="13630"/>
                    </a:cubicBezTo>
                    <a:cubicBezTo>
                      <a:pt x="19632" y="9144"/>
                      <a:pt x="17957" y="3582"/>
                      <a:pt x="13531" y="1130"/>
                    </a:cubicBezTo>
                    <a:cubicBezTo>
                      <a:pt x="9046" y="-1322"/>
                      <a:pt x="3484" y="352"/>
                      <a:pt x="1092" y="4838"/>
                    </a:cubicBezTo>
                    <a:close/>
                  </a:path>
                </a:pathLst>
              </a:custGeom>
              <a:grpFill/>
              <a:ln w="5978" cap="flat">
                <a:noFill/>
                <a:prstDash val="solid"/>
                <a:miter/>
              </a:ln>
            </p:spPr>
            <p:txBody>
              <a:bodyPr rtlCol="0" anchor="ctr"/>
              <a:lstStyle/>
              <a:p>
                <a:endParaRPr lang="en-GB"/>
              </a:p>
            </p:txBody>
          </p:sp>
        </p:grpSp>
        <p:grpSp>
          <p:nvGrpSpPr>
            <p:cNvPr id="369" name="Graphic 3">
              <a:extLst>
                <a:ext uri="{FF2B5EF4-FFF2-40B4-BE49-F238E27FC236}">
                  <a16:creationId xmlns:a16="http://schemas.microsoft.com/office/drawing/2014/main" id="{EE4A10A0-DBD4-4223-8355-4D6A0EAFDA6C}"/>
                </a:ext>
              </a:extLst>
            </p:cNvPr>
            <p:cNvGrpSpPr/>
            <p:nvPr/>
          </p:nvGrpSpPr>
          <p:grpSpPr>
            <a:xfrm>
              <a:off x="7609313" y="4070215"/>
              <a:ext cx="64635" cy="38114"/>
              <a:chOff x="7609313" y="4070215"/>
              <a:chExt cx="64635" cy="38114"/>
            </a:xfrm>
            <a:grpFill/>
          </p:grpSpPr>
          <p:sp>
            <p:nvSpPr>
              <p:cNvPr id="4273" name="Vrije vorm: vorm 4272">
                <a:extLst>
                  <a:ext uri="{FF2B5EF4-FFF2-40B4-BE49-F238E27FC236}">
                    <a16:creationId xmlns:a16="http://schemas.microsoft.com/office/drawing/2014/main" id="{277E311F-7CBC-4507-8409-CDE73EB3C1C8}"/>
                  </a:ext>
                </a:extLst>
              </p:cNvPr>
              <p:cNvSpPr/>
              <p:nvPr/>
            </p:nvSpPr>
            <p:spPr>
              <a:xfrm>
                <a:off x="7617426" y="4077816"/>
                <a:ext cx="48384" cy="22846"/>
              </a:xfrm>
              <a:custGeom>
                <a:avLst/>
                <a:gdLst>
                  <a:gd name="connsiteX0" fmla="*/ 48385 w 48384"/>
                  <a:gd name="connsiteY0" fmla="*/ 20036 h 22846"/>
                  <a:gd name="connsiteX1" fmla="*/ 47248 w 48384"/>
                  <a:gd name="connsiteY1" fmla="*/ 22846 h 22846"/>
                  <a:gd name="connsiteX2" fmla="*/ 0 w 48384"/>
                  <a:gd name="connsiteY2" fmla="*/ 2871 h 22846"/>
                  <a:gd name="connsiteX3" fmla="*/ 1197 w 48384"/>
                  <a:gd name="connsiteY3" fmla="*/ 0 h 22846"/>
                </a:gdLst>
                <a:ahLst/>
                <a:cxnLst>
                  <a:cxn ang="0">
                    <a:pos x="connsiteX0" y="connsiteY0"/>
                  </a:cxn>
                  <a:cxn ang="0">
                    <a:pos x="connsiteX1" y="connsiteY1"/>
                  </a:cxn>
                  <a:cxn ang="0">
                    <a:pos x="connsiteX2" y="connsiteY2"/>
                  </a:cxn>
                  <a:cxn ang="0">
                    <a:pos x="connsiteX3" y="connsiteY3"/>
                  </a:cxn>
                </a:cxnLst>
                <a:rect l="l" t="t" r="r" b="b"/>
                <a:pathLst>
                  <a:path w="48384" h="22846">
                    <a:moveTo>
                      <a:pt x="48385" y="20036"/>
                    </a:moveTo>
                    <a:lnTo>
                      <a:pt x="47248" y="22846"/>
                    </a:lnTo>
                    <a:lnTo>
                      <a:pt x="0" y="2871"/>
                    </a:lnTo>
                    <a:lnTo>
                      <a:pt x="1197" y="0"/>
                    </a:lnTo>
                    <a:close/>
                  </a:path>
                </a:pathLst>
              </a:custGeom>
              <a:grpFill/>
              <a:ln w="5978" cap="flat">
                <a:noFill/>
                <a:prstDash val="solid"/>
                <a:miter/>
              </a:ln>
            </p:spPr>
            <p:txBody>
              <a:bodyPr rtlCol="0" anchor="ctr"/>
              <a:lstStyle/>
              <a:p>
                <a:endParaRPr lang="en-GB"/>
              </a:p>
            </p:txBody>
          </p:sp>
          <p:sp>
            <p:nvSpPr>
              <p:cNvPr id="4274" name="Vrije vorm: vorm 4273">
                <a:extLst>
                  <a:ext uri="{FF2B5EF4-FFF2-40B4-BE49-F238E27FC236}">
                    <a16:creationId xmlns:a16="http://schemas.microsoft.com/office/drawing/2014/main" id="{6BA8ED03-A412-4AF5-9302-7639DB8D7AF4}"/>
                  </a:ext>
                </a:extLst>
              </p:cNvPr>
              <p:cNvSpPr/>
              <p:nvPr/>
            </p:nvSpPr>
            <p:spPr>
              <a:xfrm>
                <a:off x="7655638" y="4089883"/>
                <a:ext cx="18310" cy="18446"/>
              </a:xfrm>
              <a:custGeom>
                <a:avLst/>
                <a:gdLst>
                  <a:gd name="connsiteX0" fmla="*/ 12684 w 18310"/>
                  <a:gd name="connsiteY0" fmla="*/ 731 h 18446"/>
                  <a:gd name="connsiteX1" fmla="*/ 17588 w 18310"/>
                  <a:gd name="connsiteY1" fmla="*/ 12812 h 18446"/>
                  <a:gd name="connsiteX2" fmla="*/ 5627 w 18310"/>
                  <a:gd name="connsiteY2" fmla="*/ 17716 h 18446"/>
                  <a:gd name="connsiteX3" fmla="*/ 722 w 18310"/>
                  <a:gd name="connsiteY3" fmla="*/ 5635 h 18446"/>
                  <a:gd name="connsiteX4" fmla="*/ 12684 w 18310"/>
                  <a:gd name="connsiteY4" fmla="*/ 731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46">
                    <a:moveTo>
                      <a:pt x="12684" y="731"/>
                    </a:moveTo>
                    <a:cubicBezTo>
                      <a:pt x="17349" y="2705"/>
                      <a:pt x="19562" y="8087"/>
                      <a:pt x="17588" y="12812"/>
                    </a:cubicBezTo>
                    <a:cubicBezTo>
                      <a:pt x="15614" y="17537"/>
                      <a:pt x="10291" y="19690"/>
                      <a:pt x="5627" y="17716"/>
                    </a:cubicBezTo>
                    <a:cubicBezTo>
                      <a:pt x="962" y="15743"/>
                      <a:pt x="-1251" y="10360"/>
                      <a:pt x="722" y="5635"/>
                    </a:cubicBezTo>
                    <a:cubicBezTo>
                      <a:pt x="2696" y="910"/>
                      <a:pt x="8019" y="-1243"/>
                      <a:pt x="12684" y="731"/>
                    </a:cubicBezTo>
                    <a:close/>
                  </a:path>
                </a:pathLst>
              </a:custGeom>
              <a:grpFill/>
              <a:ln w="5978" cap="flat">
                <a:noFill/>
                <a:prstDash val="solid"/>
                <a:miter/>
              </a:ln>
            </p:spPr>
            <p:txBody>
              <a:bodyPr rtlCol="0" anchor="ctr"/>
              <a:lstStyle/>
              <a:p>
                <a:endParaRPr lang="en-GB"/>
              </a:p>
            </p:txBody>
          </p:sp>
          <p:sp>
            <p:nvSpPr>
              <p:cNvPr id="4275" name="Vrije vorm: vorm 4274">
                <a:extLst>
                  <a:ext uri="{FF2B5EF4-FFF2-40B4-BE49-F238E27FC236}">
                    <a16:creationId xmlns:a16="http://schemas.microsoft.com/office/drawing/2014/main" id="{CCA134F3-67CF-4DEB-AEED-E883C2ED253D}"/>
                  </a:ext>
                </a:extLst>
              </p:cNvPr>
              <p:cNvSpPr/>
              <p:nvPr/>
            </p:nvSpPr>
            <p:spPr>
              <a:xfrm>
                <a:off x="7609313" y="4070215"/>
                <a:ext cx="18285" cy="18429"/>
              </a:xfrm>
              <a:custGeom>
                <a:avLst/>
                <a:gdLst>
                  <a:gd name="connsiteX0" fmla="*/ 12659 w 18285"/>
                  <a:gd name="connsiteY0" fmla="*/ 722 h 18429"/>
                  <a:gd name="connsiteX1" fmla="*/ 697 w 18285"/>
                  <a:gd name="connsiteY1" fmla="*/ 5626 h 18429"/>
                  <a:gd name="connsiteX2" fmla="*/ 5602 w 18285"/>
                  <a:gd name="connsiteY2" fmla="*/ 17707 h 18429"/>
                  <a:gd name="connsiteX3" fmla="*/ 17563 w 18285"/>
                  <a:gd name="connsiteY3" fmla="*/ 12803 h 18429"/>
                  <a:gd name="connsiteX4" fmla="*/ 12659 w 18285"/>
                  <a:gd name="connsiteY4" fmla="*/ 72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9">
                    <a:moveTo>
                      <a:pt x="12659" y="722"/>
                    </a:moveTo>
                    <a:cubicBezTo>
                      <a:pt x="7993" y="-1251"/>
                      <a:pt x="2611" y="962"/>
                      <a:pt x="697" y="5626"/>
                    </a:cubicBezTo>
                    <a:cubicBezTo>
                      <a:pt x="-1216" y="10291"/>
                      <a:pt x="937" y="15734"/>
                      <a:pt x="5602" y="17707"/>
                    </a:cubicBezTo>
                    <a:cubicBezTo>
                      <a:pt x="10266" y="19681"/>
                      <a:pt x="15649" y="17468"/>
                      <a:pt x="17563" y="12803"/>
                    </a:cubicBezTo>
                    <a:cubicBezTo>
                      <a:pt x="19536" y="8138"/>
                      <a:pt x="17324" y="2696"/>
                      <a:pt x="12659" y="722"/>
                    </a:cubicBezTo>
                    <a:close/>
                  </a:path>
                </a:pathLst>
              </a:custGeom>
              <a:grpFill/>
              <a:ln w="5978" cap="flat">
                <a:noFill/>
                <a:prstDash val="solid"/>
                <a:miter/>
              </a:ln>
            </p:spPr>
            <p:txBody>
              <a:bodyPr rtlCol="0" anchor="ctr"/>
              <a:lstStyle/>
              <a:p>
                <a:endParaRPr lang="en-GB"/>
              </a:p>
            </p:txBody>
          </p:sp>
        </p:grpSp>
        <p:grpSp>
          <p:nvGrpSpPr>
            <p:cNvPr id="370" name="Graphic 3">
              <a:extLst>
                <a:ext uri="{FF2B5EF4-FFF2-40B4-BE49-F238E27FC236}">
                  <a16:creationId xmlns:a16="http://schemas.microsoft.com/office/drawing/2014/main" id="{73CBEF7F-1EE3-413B-9BC9-59274238164F}"/>
                </a:ext>
              </a:extLst>
            </p:cNvPr>
            <p:cNvGrpSpPr/>
            <p:nvPr/>
          </p:nvGrpSpPr>
          <p:grpSpPr>
            <a:xfrm>
              <a:off x="7596315" y="4099132"/>
              <a:ext cx="89998" cy="50367"/>
              <a:chOff x="7596315" y="4099132"/>
              <a:chExt cx="89998" cy="50367"/>
            </a:xfrm>
            <a:grpFill/>
          </p:grpSpPr>
          <p:sp>
            <p:nvSpPr>
              <p:cNvPr id="4270" name="Vrije vorm: vorm 4269">
                <a:extLst>
                  <a:ext uri="{FF2B5EF4-FFF2-40B4-BE49-F238E27FC236}">
                    <a16:creationId xmlns:a16="http://schemas.microsoft.com/office/drawing/2014/main" id="{CECF3803-E471-4120-A08B-B163971EAE6C}"/>
                  </a:ext>
                </a:extLst>
              </p:cNvPr>
              <p:cNvSpPr/>
              <p:nvPr/>
            </p:nvSpPr>
            <p:spPr>
              <a:xfrm>
                <a:off x="7604448" y="4106762"/>
                <a:ext cx="73742" cy="35106"/>
              </a:xfrm>
              <a:custGeom>
                <a:avLst/>
                <a:gdLst>
                  <a:gd name="connsiteX0" fmla="*/ 73742 w 73742"/>
                  <a:gd name="connsiteY0" fmla="*/ 32356 h 35106"/>
                  <a:gd name="connsiteX1" fmla="*/ 72546 w 73742"/>
                  <a:gd name="connsiteY1" fmla="*/ 35107 h 35106"/>
                  <a:gd name="connsiteX2" fmla="*/ 0 w 73742"/>
                  <a:gd name="connsiteY2" fmla="*/ 2811 h 35106"/>
                  <a:gd name="connsiteX3" fmla="*/ 1196 w 73742"/>
                  <a:gd name="connsiteY3" fmla="*/ 0 h 35106"/>
                </a:gdLst>
                <a:ahLst/>
                <a:cxnLst>
                  <a:cxn ang="0">
                    <a:pos x="connsiteX0" y="connsiteY0"/>
                  </a:cxn>
                  <a:cxn ang="0">
                    <a:pos x="connsiteX1" y="connsiteY1"/>
                  </a:cxn>
                  <a:cxn ang="0">
                    <a:pos x="connsiteX2" y="connsiteY2"/>
                  </a:cxn>
                  <a:cxn ang="0">
                    <a:pos x="connsiteX3" y="connsiteY3"/>
                  </a:cxn>
                </a:cxnLst>
                <a:rect l="l" t="t" r="r" b="b"/>
                <a:pathLst>
                  <a:path w="73742" h="35106">
                    <a:moveTo>
                      <a:pt x="73742" y="32356"/>
                    </a:moveTo>
                    <a:lnTo>
                      <a:pt x="72546" y="35107"/>
                    </a:lnTo>
                    <a:lnTo>
                      <a:pt x="0" y="2811"/>
                    </a:lnTo>
                    <a:lnTo>
                      <a:pt x="1196" y="0"/>
                    </a:lnTo>
                    <a:close/>
                  </a:path>
                </a:pathLst>
              </a:custGeom>
              <a:grpFill/>
              <a:ln w="5978" cap="flat">
                <a:noFill/>
                <a:prstDash val="solid"/>
                <a:miter/>
              </a:ln>
            </p:spPr>
            <p:txBody>
              <a:bodyPr rtlCol="0" anchor="ctr"/>
              <a:lstStyle/>
              <a:p>
                <a:endParaRPr lang="en-GB"/>
              </a:p>
            </p:txBody>
          </p:sp>
          <p:sp>
            <p:nvSpPr>
              <p:cNvPr id="4271" name="Vrije vorm: vorm 4270">
                <a:extLst>
                  <a:ext uri="{FF2B5EF4-FFF2-40B4-BE49-F238E27FC236}">
                    <a16:creationId xmlns:a16="http://schemas.microsoft.com/office/drawing/2014/main" id="{5BCF65E1-C0FD-4CFD-B99E-AF67FD633CC4}"/>
                  </a:ext>
                </a:extLst>
              </p:cNvPr>
              <p:cNvSpPr/>
              <p:nvPr/>
            </p:nvSpPr>
            <p:spPr>
              <a:xfrm>
                <a:off x="7667964" y="4131104"/>
                <a:ext cx="18349" cy="18395"/>
              </a:xfrm>
              <a:custGeom>
                <a:avLst/>
                <a:gdLst>
                  <a:gd name="connsiteX0" fmla="*/ 12858 w 18349"/>
                  <a:gd name="connsiteY0" fmla="*/ 777 h 18395"/>
                  <a:gd name="connsiteX1" fmla="*/ 17582 w 18349"/>
                  <a:gd name="connsiteY1" fmla="*/ 12919 h 18395"/>
                  <a:gd name="connsiteX2" fmla="*/ 5501 w 18349"/>
                  <a:gd name="connsiteY2" fmla="*/ 17584 h 18395"/>
                  <a:gd name="connsiteX3" fmla="*/ 777 w 18349"/>
                  <a:gd name="connsiteY3" fmla="*/ 5443 h 18395"/>
                  <a:gd name="connsiteX4" fmla="*/ 12858 w 18349"/>
                  <a:gd name="connsiteY4" fmla="*/ 77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95">
                    <a:moveTo>
                      <a:pt x="12858" y="777"/>
                    </a:moveTo>
                    <a:cubicBezTo>
                      <a:pt x="17462" y="2871"/>
                      <a:pt x="19615" y="8313"/>
                      <a:pt x="17582" y="12919"/>
                    </a:cubicBezTo>
                    <a:cubicBezTo>
                      <a:pt x="15549" y="17584"/>
                      <a:pt x="10166" y="19677"/>
                      <a:pt x="5501" y="17584"/>
                    </a:cubicBezTo>
                    <a:cubicBezTo>
                      <a:pt x="837" y="15490"/>
                      <a:pt x="-1257" y="10048"/>
                      <a:pt x="777" y="5443"/>
                    </a:cubicBezTo>
                    <a:cubicBezTo>
                      <a:pt x="2870" y="837"/>
                      <a:pt x="8253" y="-1256"/>
                      <a:pt x="12858" y="777"/>
                    </a:cubicBezTo>
                    <a:close/>
                  </a:path>
                </a:pathLst>
              </a:custGeom>
              <a:grpFill/>
              <a:ln w="5978" cap="flat">
                <a:noFill/>
                <a:prstDash val="solid"/>
                <a:miter/>
              </a:ln>
            </p:spPr>
            <p:txBody>
              <a:bodyPr rtlCol="0" anchor="ctr"/>
              <a:lstStyle/>
              <a:p>
                <a:endParaRPr lang="en-GB"/>
              </a:p>
            </p:txBody>
          </p:sp>
          <p:sp>
            <p:nvSpPr>
              <p:cNvPr id="4272" name="Vrije vorm: vorm 4271">
                <a:extLst>
                  <a:ext uri="{FF2B5EF4-FFF2-40B4-BE49-F238E27FC236}">
                    <a16:creationId xmlns:a16="http://schemas.microsoft.com/office/drawing/2014/main" id="{5EAA6C4A-B3EE-4E86-AADD-6D7AB43D379C}"/>
                  </a:ext>
                </a:extLst>
              </p:cNvPr>
              <p:cNvSpPr/>
              <p:nvPr/>
            </p:nvSpPr>
            <p:spPr>
              <a:xfrm>
                <a:off x="7596315" y="4099132"/>
                <a:ext cx="18324" cy="18395"/>
              </a:xfrm>
              <a:custGeom>
                <a:avLst/>
                <a:gdLst>
                  <a:gd name="connsiteX0" fmla="*/ 12857 w 18324"/>
                  <a:gd name="connsiteY0" fmla="*/ 812 h 18395"/>
                  <a:gd name="connsiteX1" fmla="*/ 777 w 18324"/>
                  <a:gd name="connsiteY1" fmla="*/ 5477 h 18395"/>
                  <a:gd name="connsiteX2" fmla="*/ 5501 w 18324"/>
                  <a:gd name="connsiteY2" fmla="*/ 17618 h 18395"/>
                  <a:gd name="connsiteX3" fmla="*/ 17582 w 18324"/>
                  <a:gd name="connsiteY3" fmla="*/ 12953 h 18395"/>
                  <a:gd name="connsiteX4" fmla="*/ 12857 w 18324"/>
                  <a:gd name="connsiteY4" fmla="*/ 812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5">
                    <a:moveTo>
                      <a:pt x="12857" y="812"/>
                    </a:moveTo>
                    <a:cubicBezTo>
                      <a:pt x="8253" y="-1281"/>
                      <a:pt x="2810" y="812"/>
                      <a:pt x="777" y="5477"/>
                    </a:cubicBezTo>
                    <a:cubicBezTo>
                      <a:pt x="-1257" y="10142"/>
                      <a:pt x="836" y="15584"/>
                      <a:pt x="5501" y="17618"/>
                    </a:cubicBezTo>
                    <a:cubicBezTo>
                      <a:pt x="10166" y="19652"/>
                      <a:pt x="15549" y="17558"/>
                      <a:pt x="17582" y="12953"/>
                    </a:cubicBezTo>
                    <a:cubicBezTo>
                      <a:pt x="19556" y="8288"/>
                      <a:pt x="17463" y="2845"/>
                      <a:pt x="12857" y="812"/>
                    </a:cubicBezTo>
                    <a:close/>
                  </a:path>
                </a:pathLst>
              </a:custGeom>
              <a:grpFill/>
              <a:ln w="5978" cap="flat">
                <a:noFill/>
                <a:prstDash val="solid"/>
                <a:miter/>
              </a:ln>
            </p:spPr>
            <p:txBody>
              <a:bodyPr rtlCol="0" anchor="ctr"/>
              <a:lstStyle/>
              <a:p>
                <a:endParaRPr lang="en-GB"/>
              </a:p>
            </p:txBody>
          </p:sp>
        </p:grpSp>
        <p:grpSp>
          <p:nvGrpSpPr>
            <p:cNvPr id="371" name="Graphic 3">
              <a:extLst>
                <a:ext uri="{FF2B5EF4-FFF2-40B4-BE49-F238E27FC236}">
                  <a16:creationId xmlns:a16="http://schemas.microsoft.com/office/drawing/2014/main" id="{B48BC9F8-4853-46B3-AD0F-465A1F84369E}"/>
                </a:ext>
              </a:extLst>
            </p:cNvPr>
            <p:cNvGrpSpPr/>
            <p:nvPr/>
          </p:nvGrpSpPr>
          <p:grpSpPr>
            <a:xfrm>
              <a:off x="7585432" y="4128977"/>
              <a:ext cx="123914" cy="67948"/>
              <a:chOff x="7585432" y="4128977"/>
              <a:chExt cx="123914" cy="67948"/>
            </a:xfrm>
            <a:grpFill/>
          </p:grpSpPr>
          <p:sp>
            <p:nvSpPr>
              <p:cNvPr id="4267" name="Vrije vorm: vorm 4266">
                <a:extLst>
                  <a:ext uri="{FF2B5EF4-FFF2-40B4-BE49-F238E27FC236}">
                    <a16:creationId xmlns:a16="http://schemas.microsoft.com/office/drawing/2014/main" id="{E6D651C4-6E64-478B-AA6F-BC1F1D34108F}"/>
                  </a:ext>
                </a:extLst>
              </p:cNvPr>
              <p:cNvSpPr/>
              <p:nvPr/>
            </p:nvSpPr>
            <p:spPr>
              <a:xfrm>
                <a:off x="7593503" y="4136606"/>
                <a:ext cx="107772" cy="52690"/>
              </a:xfrm>
              <a:custGeom>
                <a:avLst/>
                <a:gdLst>
                  <a:gd name="connsiteX0" fmla="*/ 107773 w 107772"/>
                  <a:gd name="connsiteY0" fmla="*/ 49879 h 52690"/>
                  <a:gd name="connsiteX1" fmla="*/ 106457 w 107772"/>
                  <a:gd name="connsiteY1" fmla="*/ 52690 h 52690"/>
                  <a:gd name="connsiteX2" fmla="*/ 0 w 107772"/>
                  <a:gd name="connsiteY2" fmla="*/ 2811 h 52690"/>
                  <a:gd name="connsiteX3" fmla="*/ 1316 w 107772"/>
                  <a:gd name="connsiteY3" fmla="*/ 0 h 52690"/>
                </a:gdLst>
                <a:ahLst/>
                <a:cxnLst>
                  <a:cxn ang="0">
                    <a:pos x="connsiteX0" y="connsiteY0"/>
                  </a:cxn>
                  <a:cxn ang="0">
                    <a:pos x="connsiteX1" y="connsiteY1"/>
                  </a:cxn>
                  <a:cxn ang="0">
                    <a:pos x="connsiteX2" y="connsiteY2"/>
                  </a:cxn>
                  <a:cxn ang="0">
                    <a:pos x="connsiteX3" y="connsiteY3"/>
                  </a:cxn>
                </a:cxnLst>
                <a:rect l="l" t="t" r="r" b="b"/>
                <a:pathLst>
                  <a:path w="107772" h="52690">
                    <a:moveTo>
                      <a:pt x="107773" y="49879"/>
                    </a:moveTo>
                    <a:lnTo>
                      <a:pt x="106457" y="52690"/>
                    </a:lnTo>
                    <a:lnTo>
                      <a:pt x="0" y="2811"/>
                    </a:lnTo>
                    <a:lnTo>
                      <a:pt x="1316" y="0"/>
                    </a:lnTo>
                    <a:close/>
                  </a:path>
                </a:pathLst>
              </a:custGeom>
              <a:grpFill/>
              <a:ln w="5978" cap="flat">
                <a:noFill/>
                <a:prstDash val="solid"/>
                <a:miter/>
              </a:ln>
            </p:spPr>
            <p:txBody>
              <a:bodyPr rtlCol="0" anchor="ctr"/>
              <a:lstStyle/>
              <a:p>
                <a:endParaRPr lang="en-GB"/>
              </a:p>
            </p:txBody>
          </p:sp>
          <p:sp>
            <p:nvSpPr>
              <p:cNvPr id="4268" name="Vrije vorm: vorm 4267">
                <a:extLst>
                  <a:ext uri="{FF2B5EF4-FFF2-40B4-BE49-F238E27FC236}">
                    <a16:creationId xmlns:a16="http://schemas.microsoft.com/office/drawing/2014/main" id="{59385A73-A60E-4F3B-A1C5-275FB94BCE12}"/>
                  </a:ext>
                </a:extLst>
              </p:cNvPr>
              <p:cNvSpPr/>
              <p:nvPr/>
            </p:nvSpPr>
            <p:spPr>
              <a:xfrm>
                <a:off x="7691052" y="4178497"/>
                <a:ext cx="18294" cy="18428"/>
              </a:xfrm>
              <a:custGeom>
                <a:avLst/>
                <a:gdLst>
                  <a:gd name="connsiteX0" fmla="*/ 12975 w 18294"/>
                  <a:gd name="connsiteY0" fmla="*/ 871 h 18428"/>
                  <a:gd name="connsiteX1" fmla="*/ 17460 w 18294"/>
                  <a:gd name="connsiteY1" fmla="*/ 13132 h 18428"/>
                  <a:gd name="connsiteX2" fmla="*/ 5320 w 18294"/>
                  <a:gd name="connsiteY2" fmla="*/ 17557 h 18428"/>
                  <a:gd name="connsiteX3" fmla="*/ 834 w 18294"/>
                  <a:gd name="connsiteY3" fmla="*/ 5297 h 18428"/>
                  <a:gd name="connsiteX4" fmla="*/ 12975 w 18294"/>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8">
                    <a:moveTo>
                      <a:pt x="12975" y="871"/>
                    </a:moveTo>
                    <a:cubicBezTo>
                      <a:pt x="17580" y="3024"/>
                      <a:pt x="19554" y="8527"/>
                      <a:pt x="17460" y="13132"/>
                    </a:cubicBezTo>
                    <a:cubicBezTo>
                      <a:pt x="15367" y="17737"/>
                      <a:pt x="9865" y="19710"/>
                      <a:pt x="5320" y="17557"/>
                    </a:cubicBezTo>
                    <a:cubicBezTo>
                      <a:pt x="715" y="15405"/>
                      <a:pt x="-1259" y="9902"/>
                      <a:pt x="834" y="5297"/>
                    </a:cubicBezTo>
                    <a:cubicBezTo>
                      <a:pt x="2927" y="692"/>
                      <a:pt x="8430" y="-1282"/>
                      <a:pt x="12975" y="871"/>
                    </a:cubicBezTo>
                    <a:close/>
                  </a:path>
                </a:pathLst>
              </a:custGeom>
              <a:grpFill/>
              <a:ln w="5978" cap="flat">
                <a:noFill/>
                <a:prstDash val="solid"/>
                <a:miter/>
              </a:ln>
            </p:spPr>
            <p:txBody>
              <a:bodyPr rtlCol="0" anchor="ctr"/>
              <a:lstStyle/>
              <a:p>
                <a:endParaRPr lang="en-GB"/>
              </a:p>
            </p:txBody>
          </p:sp>
          <p:sp>
            <p:nvSpPr>
              <p:cNvPr id="4269" name="Vrije vorm: vorm 4268">
                <a:extLst>
                  <a:ext uri="{FF2B5EF4-FFF2-40B4-BE49-F238E27FC236}">
                    <a16:creationId xmlns:a16="http://schemas.microsoft.com/office/drawing/2014/main" id="{C1603433-4D36-416A-B51C-8CE0660381CE}"/>
                  </a:ext>
                </a:extLst>
              </p:cNvPr>
              <p:cNvSpPr/>
              <p:nvPr/>
            </p:nvSpPr>
            <p:spPr>
              <a:xfrm>
                <a:off x="7585432" y="4128977"/>
                <a:ext cx="18321" cy="18428"/>
              </a:xfrm>
              <a:custGeom>
                <a:avLst/>
                <a:gdLst>
                  <a:gd name="connsiteX0" fmla="*/ 12975 w 18321"/>
                  <a:gd name="connsiteY0" fmla="*/ 871 h 18428"/>
                  <a:gd name="connsiteX1" fmla="*/ 834 w 18321"/>
                  <a:gd name="connsiteY1" fmla="*/ 5297 h 18428"/>
                  <a:gd name="connsiteX2" fmla="*/ 5320 w 18321"/>
                  <a:gd name="connsiteY2" fmla="*/ 17557 h 18428"/>
                  <a:gd name="connsiteX3" fmla="*/ 17461 w 18321"/>
                  <a:gd name="connsiteY3" fmla="*/ 13132 h 18428"/>
                  <a:gd name="connsiteX4" fmla="*/ 12975 w 18321"/>
                  <a:gd name="connsiteY4" fmla="*/ 87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2975" y="871"/>
                    </a:moveTo>
                    <a:cubicBezTo>
                      <a:pt x="8370" y="-1282"/>
                      <a:pt x="2927" y="692"/>
                      <a:pt x="834" y="5297"/>
                    </a:cubicBezTo>
                    <a:cubicBezTo>
                      <a:pt x="-1259" y="9902"/>
                      <a:pt x="715" y="15404"/>
                      <a:pt x="5320" y="17557"/>
                    </a:cubicBezTo>
                    <a:cubicBezTo>
                      <a:pt x="9925" y="19711"/>
                      <a:pt x="15368" y="17737"/>
                      <a:pt x="17461" y="13132"/>
                    </a:cubicBezTo>
                    <a:cubicBezTo>
                      <a:pt x="19614" y="8526"/>
                      <a:pt x="17581" y="3024"/>
                      <a:pt x="12975" y="871"/>
                    </a:cubicBezTo>
                    <a:close/>
                  </a:path>
                </a:pathLst>
              </a:custGeom>
              <a:grpFill/>
              <a:ln w="5978" cap="flat">
                <a:noFill/>
                <a:prstDash val="solid"/>
                <a:miter/>
              </a:ln>
            </p:spPr>
            <p:txBody>
              <a:bodyPr rtlCol="0" anchor="ctr"/>
              <a:lstStyle/>
              <a:p>
                <a:endParaRPr lang="en-GB"/>
              </a:p>
            </p:txBody>
          </p:sp>
        </p:grpSp>
        <p:grpSp>
          <p:nvGrpSpPr>
            <p:cNvPr id="372" name="Graphic 3">
              <a:extLst>
                <a:ext uri="{FF2B5EF4-FFF2-40B4-BE49-F238E27FC236}">
                  <a16:creationId xmlns:a16="http://schemas.microsoft.com/office/drawing/2014/main" id="{A23C6A22-FBF9-4C10-A0E2-E09F736A1A0E}"/>
                </a:ext>
              </a:extLst>
            </p:cNvPr>
            <p:cNvGrpSpPr/>
            <p:nvPr/>
          </p:nvGrpSpPr>
          <p:grpSpPr>
            <a:xfrm>
              <a:off x="7691035" y="4293766"/>
              <a:ext cx="20588" cy="19703"/>
              <a:chOff x="7691035" y="4293766"/>
              <a:chExt cx="20588" cy="19703"/>
            </a:xfrm>
            <a:grpFill/>
          </p:grpSpPr>
          <p:sp>
            <p:nvSpPr>
              <p:cNvPr id="4264" name="Vrije vorm: vorm 4263">
                <a:extLst>
                  <a:ext uri="{FF2B5EF4-FFF2-40B4-BE49-F238E27FC236}">
                    <a16:creationId xmlns:a16="http://schemas.microsoft.com/office/drawing/2014/main" id="{0A014A08-3138-40BB-91A2-1B7C56EC8837}"/>
                  </a:ext>
                </a:extLst>
              </p:cNvPr>
              <p:cNvSpPr/>
              <p:nvPr/>
            </p:nvSpPr>
            <p:spPr>
              <a:xfrm>
                <a:off x="7699063" y="4301435"/>
                <a:ext cx="4485" cy="4365"/>
              </a:xfrm>
              <a:custGeom>
                <a:avLst/>
                <a:gdLst>
                  <a:gd name="connsiteX0" fmla="*/ 4486 w 4485"/>
                  <a:gd name="connsiteY0" fmla="*/ 1674 h 4365"/>
                  <a:gd name="connsiteX1" fmla="*/ 3050 w 4485"/>
                  <a:gd name="connsiteY1" fmla="*/ 4366 h 4365"/>
                  <a:gd name="connsiteX2" fmla="*/ 0 w 4485"/>
                  <a:gd name="connsiteY2" fmla="*/ 2691 h 4365"/>
                  <a:gd name="connsiteX3" fmla="*/ 1435 w 4485"/>
                  <a:gd name="connsiteY3" fmla="*/ 0 h 4365"/>
                </a:gdLst>
                <a:ahLst/>
                <a:cxnLst>
                  <a:cxn ang="0">
                    <a:pos x="connsiteX0" y="connsiteY0"/>
                  </a:cxn>
                  <a:cxn ang="0">
                    <a:pos x="connsiteX1" y="connsiteY1"/>
                  </a:cxn>
                  <a:cxn ang="0">
                    <a:pos x="connsiteX2" y="connsiteY2"/>
                  </a:cxn>
                  <a:cxn ang="0">
                    <a:pos x="connsiteX3" y="connsiteY3"/>
                  </a:cxn>
                </a:cxnLst>
                <a:rect l="l" t="t" r="r" b="b"/>
                <a:pathLst>
                  <a:path w="4485" h="4365">
                    <a:moveTo>
                      <a:pt x="4486" y="1674"/>
                    </a:moveTo>
                    <a:lnTo>
                      <a:pt x="3050" y="4366"/>
                    </a:lnTo>
                    <a:lnTo>
                      <a:pt x="0" y="2691"/>
                    </a:lnTo>
                    <a:lnTo>
                      <a:pt x="1435" y="0"/>
                    </a:lnTo>
                    <a:close/>
                  </a:path>
                </a:pathLst>
              </a:custGeom>
              <a:grpFill/>
              <a:ln w="5978" cap="flat">
                <a:noFill/>
                <a:prstDash val="solid"/>
                <a:miter/>
              </a:ln>
            </p:spPr>
            <p:txBody>
              <a:bodyPr rtlCol="0" anchor="ctr"/>
              <a:lstStyle/>
              <a:p>
                <a:endParaRPr lang="en-GB"/>
              </a:p>
            </p:txBody>
          </p:sp>
          <p:sp>
            <p:nvSpPr>
              <p:cNvPr id="4265" name="Vrije vorm: vorm 4264">
                <a:extLst>
                  <a:ext uri="{FF2B5EF4-FFF2-40B4-BE49-F238E27FC236}">
                    <a16:creationId xmlns:a16="http://schemas.microsoft.com/office/drawing/2014/main" id="{5C84AB83-6F74-492B-963D-43A8BA998644}"/>
                  </a:ext>
                </a:extLst>
              </p:cNvPr>
              <p:cNvSpPr/>
              <p:nvPr/>
            </p:nvSpPr>
            <p:spPr>
              <a:xfrm>
                <a:off x="7691035" y="4293766"/>
                <a:ext cx="18315" cy="18447"/>
              </a:xfrm>
              <a:custGeom>
                <a:avLst/>
                <a:gdLst>
                  <a:gd name="connsiteX0" fmla="*/ 4857 w 18315"/>
                  <a:gd name="connsiteY0" fmla="*/ 17357 h 18447"/>
                  <a:gd name="connsiteX1" fmla="*/ 1090 w 18315"/>
                  <a:gd name="connsiteY1" fmla="*/ 4858 h 18447"/>
                  <a:gd name="connsiteX2" fmla="*/ 13470 w 18315"/>
                  <a:gd name="connsiteY2" fmla="*/ 1090 h 18447"/>
                  <a:gd name="connsiteX3" fmla="*/ 17238 w 18315"/>
                  <a:gd name="connsiteY3" fmla="*/ 13590 h 18447"/>
                  <a:gd name="connsiteX4" fmla="*/ 4857 w 18315"/>
                  <a:gd name="connsiteY4" fmla="*/ 1735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47">
                    <a:moveTo>
                      <a:pt x="4857" y="17357"/>
                    </a:moveTo>
                    <a:cubicBezTo>
                      <a:pt x="372" y="14965"/>
                      <a:pt x="-1302" y="9343"/>
                      <a:pt x="1090" y="4858"/>
                    </a:cubicBezTo>
                    <a:cubicBezTo>
                      <a:pt x="3482" y="372"/>
                      <a:pt x="9044" y="-1302"/>
                      <a:pt x="13470" y="1090"/>
                    </a:cubicBezTo>
                    <a:cubicBezTo>
                      <a:pt x="17896" y="3482"/>
                      <a:pt x="19630" y="9104"/>
                      <a:pt x="17238" y="13590"/>
                    </a:cubicBezTo>
                    <a:cubicBezTo>
                      <a:pt x="14845" y="18075"/>
                      <a:pt x="9283" y="19750"/>
                      <a:pt x="4857" y="17357"/>
                    </a:cubicBezTo>
                    <a:close/>
                  </a:path>
                </a:pathLst>
              </a:custGeom>
              <a:grpFill/>
              <a:ln w="5978" cap="flat">
                <a:noFill/>
                <a:prstDash val="solid"/>
                <a:miter/>
              </a:ln>
            </p:spPr>
            <p:txBody>
              <a:bodyPr rtlCol="0" anchor="ctr"/>
              <a:lstStyle/>
              <a:p>
                <a:endParaRPr lang="en-GB"/>
              </a:p>
            </p:txBody>
          </p:sp>
          <p:sp>
            <p:nvSpPr>
              <p:cNvPr id="4266" name="Vrije vorm: vorm 4265">
                <a:extLst>
                  <a:ext uri="{FF2B5EF4-FFF2-40B4-BE49-F238E27FC236}">
                    <a16:creationId xmlns:a16="http://schemas.microsoft.com/office/drawing/2014/main" id="{B8472572-B23D-48D4-B3FD-8D31FE73AF21}"/>
                  </a:ext>
                </a:extLst>
              </p:cNvPr>
              <p:cNvSpPr/>
              <p:nvPr/>
            </p:nvSpPr>
            <p:spPr>
              <a:xfrm>
                <a:off x="7693334" y="4295022"/>
                <a:ext cx="18289" cy="18447"/>
              </a:xfrm>
              <a:custGeom>
                <a:avLst/>
                <a:gdLst>
                  <a:gd name="connsiteX0" fmla="*/ 4831 w 18289"/>
                  <a:gd name="connsiteY0" fmla="*/ 17357 h 18447"/>
                  <a:gd name="connsiteX1" fmla="*/ 17212 w 18289"/>
                  <a:gd name="connsiteY1" fmla="*/ 13590 h 18447"/>
                  <a:gd name="connsiteX2" fmla="*/ 13444 w 18289"/>
                  <a:gd name="connsiteY2" fmla="*/ 1090 h 18447"/>
                  <a:gd name="connsiteX3" fmla="*/ 1063 w 18289"/>
                  <a:gd name="connsiteY3" fmla="*/ 4858 h 18447"/>
                  <a:gd name="connsiteX4" fmla="*/ 4831 w 18289"/>
                  <a:gd name="connsiteY4" fmla="*/ 1735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47">
                    <a:moveTo>
                      <a:pt x="4831" y="17357"/>
                    </a:moveTo>
                    <a:cubicBezTo>
                      <a:pt x="9317" y="19749"/>
                      <a:pt x="14879" y="18075"/>
                      <a:pt x="17212" y="13590"/>
                    </a:cubicBezTo>
                    <a:cubicBezTo>
                      <a:pt x="19604" y="9104"/>
                      <a:pt x="17870" y="3542"/>
                      <a:pt x="13444" y="1090"/>
                    </a:cubicBezTo>
                    <a:cubicBezTo>
                      <a:pt x="8958" y="-1302"/>
                      <a:pt x="3396" y="372"/>
                      <a:pt x="1063" y="4858"/>
                    </a:cubicBezTo>
                    <a:cubicBezTo>
                      <a:pt x="-1269" y="9343"/>
                      <a:pt x="346" y="14905"/>
                      <a:pt x="4831" y="17357"/>
                    </a:cubicBezTo>
                    <a:close/>
                  </a:path>
                </a:pathLst>
              </a:custGeom>
              <a:grpFill/>
              <a:ln w="5978" cap="flat">
                <a:noFill/>
                <a:prstDash val="solid"/>
                <a:miter/>
              </a:ln>
            </p:spPr>
            <p:txBody>
              <a:bodyPr rtlCol="0" anchor="ctr"/>
              <a:lstStyle/>
              <a:p>
                <a:endParaRPr lang="en-GB"/>
              </a:p>
            </p:txBody>
          </p:sp>
        </p:grpSp>
        <p:grpSp>
          <p:nvGrpSpPr>
            <p:cNvPr id="373" name="Graphic 3">
              <a:extLst>
                <a:ext uri="{FF2B5EF4-FFF2-40B4-BE49-F238E27FC236}">
                  <a16:creationId xmlns:a16="http://schemas.microsoft.com/office/drawing/2014/main" id="{8EC04824-D90C-406C-99BF-CFFCB119E9A7}"/>
                </a:ext>
              </a:extLst>
            </p:cNvPr>
            <p:cNvGrpSpPr/>
            <p:nvPr/>
          </p:nvGrpSpPr>
          <p:grpSpPr>
            <a:xfrm>
              <a:off x="6815643" y="1768222"/>
              <a:ext cx="88648" cy="155741"/>
              <a:chOff x="6815643" y="1768222"/>
              <a:chExt cx="88648" cy="155741"/>
            </a:xfrm>
            <a:grpFill/>
          </p:grpSpPr>
          <p:sp>
            <p:nvSpPr>
              <p:cNvPr id="4261" name="Vrije vorm: vorm 4260">
                <a:extLst>
                  <a:ext uri="{FF2B5EF4-FFF2-40B4-BE49-F238E27FC236}">
                    <a16:creationId xmlns:a16="http://schemas.microsoft.com/office/drawing/2014/main" id="{F0C845C9-6C25-429F-BACA-D4A2A5B52A44}"/>
                  </a:ext>
                </a:extLst>
              </p:cNvPr>
              <p:cNvSpPr/>
              <p:nvPr/>
            </p:nvSpPr>
            <p:spPr>
              <a:xfrm>
                <a:off x="6823246" y="1776314"/>
                <a:ext cx="73443" cy="139470"/>
              </a:xfrm>
              <a:custGeom>
                <a:avLst/>
                <a:gdLst>
                  <a:gd name="connsiteX0" fmla="*/ 73443 w 73443"/>
                  <a:gd name="connsiteY0" fmla="*/ 1435 h 139470"/>
                  <a:gd name="connsiteX1" fmla="*/ 2751 w 73443"/>
                  <a:gd name="connsiteY1" fmla="*/ 139470 h 139470"/>
                  <a:gd name="connsiteX2" fmla="*/ 0 w 73443"/>
                  <a:gd name="connsiteY2" fmla="*/ 138095 h 139470"/>
                  <a:gd name="connsiteX3" fmla="*/ 70752 w 73443"/>
                  <a:gd name="connsiteY3" fmla="*/ 0 h 139470"/>
                </a:gdLst>
                <a:ahLst/>
                <a:cxnLst>
                  <a:cxn ang="0">
                    <a:pos x="connsiteX0" y="connsiteY0"/>
                  </a:cxn>
                  <a:cxn ang="0">
                    <a:pos x="connsiteX1" y="connsiteY1"/>
                  </a:cxn>
                  <a:cxn ang="0">
                    <a:pos x="connsiteX2" y="connsiteY2"/>
                  </a:cxn>
                  <a:cxn ang="0">
                    <a:pos x="connsiteX3" y="connsiteY3"/>
                  </a:cxn>
                </a:cxnLst>
                <a:rect l="l" t="t" r="r" b="b"/>
                <a:pathLst>
                  <a:path w="73443" h="139470">
                    <a:moveTo>
                      <a:pt x="73443" y="1435"/>
                    </a:moveTo>
                    <a:lnTo>
                      <a:pt x="2751" y="139470"/>
                    </a:lnTo>
                    <a:lnTo>
                      <a:pt x="0" y="138095"/>
                    </a:lnTo>
                    <a:lnTo>
                      <a:pt x="70752" y="0"/>
                    </a:lnTo>
                    <a:close/>
                  </a:path>
                </a:pathLst>
              </a:custGeom>
              <a:grpFill/>
              <a:ln w="5978" cap="flat">
                <a:noFill/>
                <a:prstDash val="solid"/>
                <a:miter/>
              </a:ln>
            </p:spPr>
            <p:txBody>
              <a:bodyPr rtlCol="0" anchor="ctr"/>
              <a:lstStyle/>
              <a:p>
                <a:endParaRPr lang="en-GB"/>
              </a:p>
            </p:txBody>
          </p:sp>
          <p:sp>
            <p:nvSpPr>
              <p:cNvPr id="4262" name="Vrije vorm: vorm 4261">
                <a:extLst>
                  <a:ext uri="{FF2B5EF4-FFF2-40B4-BE49-F238E27FC236}">
                    <a16:creationId xmlns:a16="http://schemas.microsoft.com/office/drawing/2014/main" id="{56EB4CD1-8DF5-48FC-BE5A-F9F536A02487}"/>
                  </a:ext>
                </a:extLst>
              </p:cNvPr>
              <p:cNvSpPr/>
              <p:nvPr/>
            </p:nvSpPr>
            <p:spPr>
              <a:xfrm>
                <a:off x="6885976" y="1768222"/>
                <a:ext cx="18315" cy="18457"/>
              </a:xfrm>
              <a:custGeom>
                <a:avLst/>
                <a:gdLst>
                  <a:gd name="connsiteX0" fmla="*/ 1024 w 18315"/>
                  <a:gd name="connsiteY0" fmla="*/ 4982 h 18457"/>
                  <a:gd name="connsiteX1" fmla="*/ 13344 w 18315"/>
                  <a:gd name="connsiteY1" fmla="*/ 1035 h 18457"/>
                  <a:gd name="connsiteX2" fmla="*/ 17292 w 18315"/>
                  <a:gd name="connsiteY2" fmla="*/ 13475 h 18457"/>
                  <a:gd name="connsiteX3" fmla="*/ 4971 w 18315"/>
                  <a:gd name="connsiteY3" fmla="*/ 17422 h 18457"/>
                  <a:gd name="connsiteX4" fmla="*/ 1024 w 18315"/>
                  <a:gd name="connsiteY4" fmla="*/ 498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57">
                    <a:moveTo>
                      <a:pt x="1024" y="4982"/>
                    </a:moveTo>
                    <a:cubicBezTo>
                      <a:pt x="3356" y="437"/>
                      <a:pt x="8859" y="-1297"/>
                      <a:pt x="13344" y="1035"/>
                    </a:cubicBezTo>
                    <a:cubicBezTo>
                      <a:pt x="17830" y="3368"/>
                      <a:pt x="19624" y="8930"/>
                      <a:pt x="17292" y="13475"/>
                    </a:cubicBezTo>
                    <a:cubicBezTo>
                      <a:pt x="14959" y="18020"/>
                      <a:pt x="9457" y="19755"/>
                      <a:pt x="4971" y="17422"/>
                    </a:cubicBezTo>
                    <a:cubicBezTo>
                      <a:pt x="486" y="15030"/>
                      <a:pt x="-1309" y="9468"/>
                      <a:pt x="1024" y="4982"/>
                    </a:cubicBezTo>
                    <a:close/>
                  </a:path>
                </a:pathLst>
              </a:custGeom>
              <a:grpFill/>
              <a:ln w="5978" cap="flat">
                <a:noFill/>
                <a:prstDash val="solid"/>
                <a:miter/>
              </a:ln>
            </p:spPr>
            <p:txBody>
              <a:bodyPr rtlCol="0" anchor="ctr"/>
              <a:lstStyle/>
              <a:p>
                <a:endParaRPr lang="en-GB"/>
              </a:p>
            </p:txBody>
          </p:sp>
          <p:sp>
            <p:nvSpPr>
              <p:cNvPr id="4263" name="Vrije vorm: vorm 4262">
                <a:extLst>
                  <a:ext uri="{FF2B5EF4-FFF2-40B4-BE49-F238E27FC236}">
                    <a16:creationId xmlns:a16="http://schemas.microsoft.com/office/drawing/2014/main" id="{81E673F4-AA44-4205-93D1-90656D23B19C}"/>
                  </a:ext>
                </a:extLst>
              </p:cNvPr>
              <p:cNvSpPr/>
              <p:nvPr/>
            </p:nvSpPr>
            <p:spPr>
              <a:xfrm>
                <a:off x="6815643" y="1905480"/>
                <a:ext cx="18315" cy="18483"/>
              </a:xfrm>
              <a:custGeom>
                <a:avLst/>
                <a:gdLst>
                  <a:gd name="connsiteX0" fmla="*/ 1024 w 18315"/>
                  <a:gd name="connsiteY0" fmla="*/ 4982 h 18483"/>
                  <a:gd name="connsiteX1" fmla="*/ 4971 w 18315"/>
                  <a:gd name="connsiteY1" fmla="*/ 17422 h 18483"/>
                  <a:gd name="connsiteX2" fmla="*/ 17292 w 18315"/>
                  <a:gd name="connsiteY2" fmla="*/ 13475 h 18483"/>
                  <a:gd name="connsiteX3" fmla="*/ 13344 w 18315"/>
                  <a:gd name="connsiteY3" fmla="*/ 1035 h 18483"/>
                  <a:gd name="connsiteX4" fmla="*/ 1024 w 18315"/>
                  <a:gd name="connsiteY4" fmla="*/ 4982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83">
                    <a:moveTo>
                      <a:pt x="1024" y="4982"/>
                    </a:moveTo>
                    <a:cubicBezTo>
                      <a:pt x="-1309" y="9528"/>
                      <a:pt x="485" y="15030"/>
                      <a:pt x="4971" y="17422"/>
                    </a:cubicBezTo>
                    <a:cubicBezTo>
                      <a:pt x="9457" y="19815"/>
                      <a:pt x="15019" y="18020"/>
                      <a:pt x="17292" y="13475"/>
                    </a:cubicBezTo>
                    <a:cubicBezTo>
                      <a:pt x="19624" y="8930"/>
                      <a:pt x="17830" y="3368"/>
                      <a:pt x="13344" y="1035"/>
                    </a:cubicBezTo>
                    <a:cubicBezTo>
                      <a:pt x="8859" y="-1297"/>
                      <a:pt x="3356" y="437"/>
                      <a:pt x="1024" y="4982"/>
                    </a:cubicBezTo>
                    <a:close/>
                  </a:path>
                </a:pathLst>
              </a:custGeom>
              <a:grpFill/>
              <a:ln w="5978" cap="flat">
                <a:noFill/>
                <a:prstDash val="solid"/>
                <a:miter/>
              </a:ln>
            </p:spPr>
            <p:txBody>
              <a:bodyPr rtlCol="0" anchor="ctr"/>
              <a:lstStyle/>
              <a:p>
                <a:endParaRPr lang="en-GB"/>
              </a:p>
            </p:txBody>
          </p:sp>
        </p:grpSp>
        <p:grpSp>
          <p:nvGrpSpPr>
            <p:cNvPr id="374" name="Graphic 3">
              <a:extLst>
                <a:ext uri="{FF2B5EF4-FFF2-40B4-BE49-F238E27FC236}">
                  <a16:creationId xmlns:a16="http://schemas.microsoft.com/office/drawing/2014/main" id="{70B56B78-DB0E-4427-8A84-175CE9FC0A4A}"/>
                </a:ext>
              </a:extLst>
            </p:cNvPr>
            <p:cNvGrpSpPr/>
            <p:nvPr/>
          </p:nvGrpSpPr>
          <p:grpSpPr>
            <a:xfrm>
              <a:off x="7777117" y="4606917"/>
              <a:ext cx="24269" cy="22497"/>
              <a:chOff x="7777117" y="4606917"/>
              <a:chExt cx="24269" cy="22497"/>
            </a:xfrm>
            <a:grpFill/>
          </p:grpSpPr>
          <p:sp>
            <p:nvSpPr>
              <p:cNvPr id="4259" name="Vrije vorm: vorm 4258">
                <a:extLst>
                  <a:ext uri="{FF2B5EF4-FFF2-40B4-BE49-F238E27FC236}">
                    <a16:creationId xmlns:a16="http://schemas.microsoft.com/office/drawing/2014/main" id="{2A5F6B70-B054-42D4-B200-8B9C9B788ED1}"/>
                  </a:ext>
                </a:extLst>
              </p:cNvPr>
              <p:cNvSpPr/>
              <p:nvPr/>
            </p:nvSpPr>
            <p:spPr>
              <a:xfrm>
                <a:off x="7783038" y="4611017"/>
                <a:ext cx="18348" cy="18397"/>
              </a:xfrm>
              <a:custGeom>
                <a:avLst/>
                <a:gdLst>
                  <a:gd name="connsiteX0" fmla="*/ 4001 w 18348"/>
                  <a:gd name="connsiteY0" fmla="*/ 16786 h 18397"/>
                  <a:gd name="connsiteX1" fmla="*/ 1609 w 18348"/>
                  <a:gd name="connsiteY1" fmla="*/ 3987 h 18397"/>
                  <a:gd name="connsiteX2" fmla="*/ 14348 w 18348"/>
                  <a:gd name="connsiteY2" fmla="*/ 1654 h 18397"/>
                  <a:gd name="connsiteX3" fmla="*/ 16740 w 18348"/>
                  <a:gd name="connsiteY3" fmla="*/ 14453 h 18397"/>
                  <a:gd name="connsiteX4" fmla="*/ 4001 w 18348"/>
                  <a:gd name="connsiteY4" fmla="*/ 16786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97">
                    <a:moveTo>
                      <a:pt x="4001" y="16786"/>
                    </a:moveTo>
                    <a:cubicBezTo>
                      <a:pt x="-185" y="13915"/>
                      <a:pt x="-1262" y="8173"/>
                      <a:pt x="1609" y="3987"/>
                    </a:cubicBezTo>
                    <a:cubicBezTo>
                      <a:pt x="4480" y="-200"/>
                      <a:pt x="10161" y="-1276"/>
                      <a:pt x="14348" y="1654"/>
                    </a:cubicBezTo>
                    <a:cubicBezTo>
                      <a:pt x="18534" y="4525"/>
                      <a:pt x="19611" y="10266"/>
                      <a:pt x="16740" y="14453"/>
                    </a:cubicBezTo>
                    <a:cubicBezTo>
                      <a:pt x="13869" y="18580"/>
                      <a:pt x="8188" y="19656"/>
                      <a:pt x="4001" y="16786"/>
                    </a:cubicBezTo>
                    <a:close/>
                  </a:path>
                </a:pathLst>
              </a:custGeom>
              <a:grpFill/>
              <a:ln w="5978" cap="flat">
                <a:noFill/>
                <a:prstDash val="solid"/>
                <a:miter/>
              </a:ln>
            </p:spPr>
            <p:txBody>
              <a:bodyPr rtlCol="0" anchor="ctr"/>
              <a:lstStyle/>
              <a:p>
                <a:endParaRPr lang="en-GB"/>
              </a:p>
            </p:txBody>
          </p:sp>
          <p:sp>
            <p:nvSpPr>
              <p:cNvPr id="4260" name="Vrije vorm: vorm 4259">
                <a:extLst>
                  <a:ext uri="{FF2B5EF4-FFF2-40B4-BE49-F238E27FC236}">
                    <a16:creationId xmlns:a16="http://schemas.microsoft.com/office/drawing/2014/main" id="{ACDE70E5-E6E1-4ADE-80CC-B5D2ABDFC7DD}"/>
                  </a:ext>
                </a:extLst>
              </p:cNvPr>
              <p:cNvSpPr/>
              <p:nvPr/>
            </p:nvSpPr>
            <p:spPr>
              <a:xfrm>
                <a:off x="7777117" y="4606917"/>
                <a:ext cx="18348" cy="18387"/>
              </a:xfrm>
              <a:custGeom>
                <a:avLst/>
                <a:gdLst>
                  <a:gd name="connsiteX0" fmla="*/ 4001 w 18348"/>
                  <a:gd name="connsiteY0" fmla="*/ 16759 h 18387"/>
                  <a:gd name="connsiteX1" fmla="*/ 16740 w 18348"/>
                  <a:gd name="connsiteY1" fmla="*/ 14427 h 18387"/>
                  <a:gd name="connsiteX2" fmla="*/ 14348 w 18348"/>
                  <a:gd name="connsiteY2" fmla="*/ 1628 h 18387"/>
                  <a:gd name="connsiteX3" fmla="*/ 1609 w 18348"/>
                  <a:gd name="connsiteY3" fmla="*/ 3961 h 18387"/>
                  <a:gd name="connsiteX4" fmla="*/ 4001 w 18348"/>
                  <a:gd name="connsiteY4" fmla="*/ 1675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87">
                    <a:moveTo>
                      <a:pt x="4001" y="16759"/>
                    </a:moveTo>
                    <a:cubicBezTo>
                      <a:pt x="8188" y="19630"/>
                      <a:pt x="13869" y="18613"/>
                      <a:pt x="16740" y="14427"/>
                    </a:cubicBezTo>
                    <a:cubicBezTo>
                      <a:pt x="19610" y="10240"/>
                      <a:pt x="18534" y="4499"/>
                      <a:pt x="14348" y="1628"/>
                    </a:cubicBezTo>
                    <a:cubicBezTo>
                      <a:pt x="10161" y="-1243"/>
                      <a:pt x="4480" y="-226"/>
                      <a:pt x="1609" y="3961"/>
                    </a:cubicBezTo>
                    <a:cubicBezTo>
                      <a:pt x="-1262" y="8147"/>
                      <a:pt x="-185" y="13888"/>
                      <a:pt x="4001" y="16759"/>
                    </a:cubicBezTo>
                    <a:close/>
                  </a:path>
                </a:pathLst>
              </a:custGeom>
              <a:grpFill/>
              <a:ln w="5978" cap="flat">
                <a:noFill/>
                <a:prstDash val="solid"/>
                <a:miter/>
              </a:ln>
            </p:spPr>
            <p:txBody>
              <a:bodyPr rtlCol="0" anchor="ctr"/>
              <a:lstStyle/>
              <a:p>
                <a:endParaRPr lang="en-GB"/>
              </a:p>
            </p:txBody>
          </p:sp>
        </p:grpSp>
        <p:grpSp>
          <p:nvGrpSpPr>
            <p:cNvPr id="375" name="Graphic 3">
              <a:extLst>
                <a:ext uri="{FF2B5EF4-FFF2-40B4-BE49-F238E27FC236}">
                  <a16:creationId xmlns:a16="http://schemas.microsoft.com/office/drawing/2014/main" id="{BE72270E-1CC5-4519-AE9E-A53210A340C8}"/>
                </a:ext>
              </a:extLst>
            </p:cNvPr>
            <p:cNvGrpSpPr/>
            <p:nvPr/>
          </p:nvGrpSpPr>
          <p:grpSpPr>
            <a:xfrm>
              <a:off x="6764262" y="1611113"/>
              <a:ext cx="57374" cy="111055"/>
              <a:chOff x="6764262" y="1611113"/>
              <a:chExt cx="57374" cy="111055"/>
            </a:xfrm>
            <a:grpFill/>
          </p:grpSpPr>
          <p:sp>
            <p:nvSpPr>
              <p:cNvPr id="4256" name="Vrije vorm: vorm 4255">
                <a:extLst>
                  <a:ext uri="{FF2B5EF4-FFF2-40B4-BE49-F238E27FC236}">
                    <a16:creationId xmlns:a16="http://schemas.microsoft.com/office/drawing/2014/main" id="{A3DAB854-2711-4843-834C-BC422BA16265}"/>
                  </a:ext>
                </a:extLst>
              </p:cNvPr>
              <p:cNvSpPr/>
              <p:nvPr/>
            </p:nvSpPr>
            <p:spPr>
              <a:xfrm>
                <a:off x="6771812" y="1619261"/>
                <a:ext cx="42223" cy="94674"/>
              </a:xfrm>
              <a:custGeom>
                <a:avLst/>
                <a:gdLst>
                  <a:gd name="connsiteX0" fmla="*/ 42224 w 42223"/>
                  <a:gd name="connsiteY0" fmla="*/ 1196 h 94674"/>
                  <a:gd name="connsiteX1" fmla="*/ 2811 w 42223"/>
                  <a:gd name="connsiteY1" fmla="*/ 94675 h 94674"/>
                  <a:gd name="connsiteX2" fmla="*/ 0 w 42223"/>
                  <a:gd name="connsiteY2" fmla="*/ 93479 h 94674"/>
                  <a:gd name="connsiteX3" fmla="*/ 39413 w 42223"/>
                  <a:gd name="connsiteY3" fmla="*/ 0 h 94674"/>
                </a:gdLst>
                <a:ahLst/>
                <a:cxnLst>
                  <a:cxn ang="0">
                    <a:pos x="connsiteX0" y="connsiteY0"/>
                  </a:cxn>
                  <a:cxn ang="0">
                    <a:pos x="connsiteX1" y="connsiteY1"/>
                  </a:cxn>
                  <a:cxn ang="0">
                    <a:pos x="connsiteX2" y="connsiteY2"/>
                  </a:cxn>
                  <a:cxn ang="0">
                    <a:pos x="connsiteX3" y="connsiteY3"/>
                  </a:cxn>
                </a:cxnLst>
                <a:rect l="l" t="t" r="r" b="b"/>
                <a:pathLst>
                  <a:path w="42223" h="94674">
                    <a:moveTo>
                      <a:pt x="42224" y="1196"/>
                    </a:moveTo>
                    <a:lnTo>
                      <a:pt x="2811" y="94675"/>
                    </a:lnTo>
                    <a:lnTo>
                      <a:pt x="0" y="93479"/>
                    </a:lnTo>
                    <a:lnTo>
                      <a:pt x="39413" y="0"/>
                    </a:lnTo>
                    <a:close/>
                  </a:path>
                </a:pathLst>
              </a:custGeom>
              <a:grpFill/>
              <a:ln w="5978" cap="flat">
                <a:noFill/>
                <a:prstDash val="solid"/>
                <a:miter/>
              </a:ln>
            </p:spPr>
            <p:txBody>
              <a:bodyPr rtlCol="0" anchor="ctr"/>
              <a:lstStyle/>
              <a:p>
                <a:endParaRPr lang="en-GB"/>
              </a:p>
            </p:txBody>
          </p:sp>
          <p:sp>
            <p:nvSpPr>
              <p:cNvPr id="4257" name="Vrije vorm: vorm 4256">
                <a:extLst>
                  <a:ext uri="{FF2B5EF4-FFF2-40B4-BE49-F238E27FC236}">
                    <a16:creationId xmlns:a16="http://schemas.microsoft.com/office/drawing/2014/main" id="{E9599891-4C28-423A-B431-ACDE2B23EA11}"/>
                  </a:ext>
                </a:extLst>
              </p:cNvPr>
              <p:cNvSpPr/>
              <p:nvPr/>
            </p:nvSpPr>
            <p:spPr>
              <a:xfrm>
                <a:off x="6764262" y="1703754"/>
                <a:ext cx="18320" cy="18414"/>
              </a:xfrm>
              <a:custGeom>
                <a:avLst/>
                <a:gdLst>
                  <a:gd name="connsiteX0" fmla="*/ 17597 w 18320"/>
                  <a:gd name="connsiteY0" fmla="*/ 12813 h 18414"/>
                  <a:gd name="connsiteX1" fmla="*/ 5576 w 18320"/>
                  <a:gd name="connsiteY1" fmla="*/ 17657 h 18414"/>
                  <a:gd name="connsiteX2" fmla="*/ 732 w 18320"/>
                  <a:gd name="connsiteY2" fmla="*/ 5576 h 18414"/>
                  <a:gd name="connsiteX3" fmla="*/ 12753 w 18320"/>
                  <a:gd name="connsiteY3" fmla="*/ 732 h 18414"/>
                  <a:gd name="connsiteX4" fmla="*/ 17597 w 18320"/>
                  <a:gd name="connsiteY4" fmla="*/ 1281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4">
                    <a:moveTo>
                      <a:pt x="17597" y="12813"/>
                    </a:moveTo>
                    <a:cubicBezTo>
                      <a:pt x="15624" y="17478"/>
                      <a:pt x="10241" y="19691"/>
                      <a:pt x="5576" y="17657"/>
                    </a:cubicBezTo>
                    <a:cubicBezTo>
                      <a:pt x="911" y="15684"/>
                      <a:pt x="-1242" y="10241"/>
                      <a:pt x="732" y="5576"/>
                    </a:cubicBezTo>
                    <a:cubicBezTo>
                      <a:pt x="2705" y="911"/>
                      <a:pt x="8088" y="-1242"/>
                      <a:pt x="12753" y="732"/>
                    </a:cubicBezTo>
                    <a:cubicBezTo>
                      <a:pt x="17358" y="2705"/>
                      <a:pt x="19571" y="8148"/>
                      <a:pt x="17597" y="12813"/>
                    </a:cubicBezTo>
                    <a:close/>
                  </a:path>
                </a:pathLst>
              </a:custGeom>
              <a:grpFill/>
              <a:ln w="5978" cap="flat">
                <a:noFill/>
                <a:prstDash val="solid"/>
                <a:miter/>
              </a:ln>
            </p:spPr>
            <p:txBody>
              <a:bodyPr rtlCol="0" anchor="ctr"/>
              <a:lstStyle/>
              <a:p>
                <a:endParaRPr lang="en-GB"/>
              </a:p>
            </p:txBody>
          </p:sp>
          <p:sp>
            <p:nvSpPr>
              <p:cNvPr id="4258" name="Vrije vorm: vorm 4257">
                <a:extLst>
                  <a:ext uri="{FF2B5EF4-FFF2-40B4-BE49-F238E27FC236}">
                    <a16:creationId xmlns:a16="http://schemas.microsoft.com/office/drawing/2014/main" id="{A0A839BD-85F7-4EFC-BFAA-16EDF335D407}"/>
                  </a:ext>
                </a:extLst>
              </p:cNvPr>
              <p:cNvSpPr/>
              <p:nvPr/>
            </p:nvSpPr>
            <p:spPr>
              <a:xfrm>
                <a:off x="6803316" y="1611113"/>
                <a:ext cx="18320" cy="18388"/>
              </a:xfrm>
              <a:custGeom>
                <a:avLst/>
                <a:gdLst>
                  <a:gd name="connsiteX0" fmla="*/ 17597 w 18320"/>
                  <a:gd name="connsiteY0" fmla="*/ 12813 h 18388"/>
                  <a:gd name="connsiteX1" fmla="*/ 12753 w 18320"/>
                  <a:gd name="connsiteY1" fmla="*/ 732 h 18388"/>
                  <a:gd name="connsiteX2" fmla="*/ 732 w 18320"/>
                  <a:gd name="connsiteY2" fmla="*/ 5576 h 18388"/>
                  <a:gd name="connsiteX3" fmla="*/ 5576 w 18320"/>
                  <a:gd name="connsiteY3" fmla="*/ 17657 h 18388"/>
                  <a:gd name="connsiteX4" fmla="*/ 17597 w 18320"/>
                  <a:gd name="connsiteY4" fmla="*/ 12813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88">
                    <a:moveTo>
                      <a:pt x="17597" y="12813"/>
                    </a:moveTo>
                    <a:cubicBezTo>
                      <a:pt x="19571" y="8148"/>
                      <a:pt x="17358" y="2705"/>
                      <a:pt x="12753" y="732"/>
                    </a:cubicBezTo>
                    <a:cubicBezTo>
                      <a:pt x="8088" y="-1242"/>
                      <a:pt x="2705" y="911"/>
                      <a:pt x="732" y="5576"/>
                    </a:cubicBezTo>
                    <a:cubicBezTo>
                      <a:pt x="-1242" y="10241"/>
                      <a:pt x="911" y="15684"/>
                      <a:pt x="5576" y="17657"/>
                    </a:cubicBezTo>
                    <a:cubicBezTo>
                      <a:pt x="10241" y="19631"/>
                      <a:pt x="15624" y="17478"/>
                      <a:pt x="17597" y="12813"/>
                    </a:cubicBezTo>
                    <a:close/>
                  </a:path>
                </a:pathLst>
              </a:custGeom>
              <a:grpFill/>
              <a:ln w="5978" cap="flat">
                <a:noFill/>
                <a:prstDash val="solid"/>
                <a:miter/>
              </a:ln>
            </p:spPr>
            <p:txBody>
              <a:bodyPr rtlCol="0" anchor="ctr"/>
              <a:lstStyle/>
              <a:p>
                <a:endParaRPr lang="en-GB"/>
              </a:p>
            </p:txBody>
          </p:sp>
        </p:grpSp>
        <p:grpSp>
          <p:nvGrpSpPr>
            <p:cNvPr id="376" name="Graphic 3">
              <a:extLst>
                <a:ext uri="{FF2B5EF4-FFF2-40B4-BE49-F238E27FC236}">
                  <a16:creationId xmlns:a16="http://schemas.microsoft.com/office/drawing/2014/main" id="{F9233CE0-B9D1-4434-A42C-6E4AB944D964}"/>
                </a:ext>
              </a:extLst>
            </p:cNvPr>
            <p:cNvGrpSpPr/>
            <p:nvPr/>
          </p:nvGrpSpPr>
          <p:grpSpPr>
            <a:xfrm>
              <a:off x="7568838" y="4156188"/>
              <a:ext cx="160690" cy="88333"/>
              <a:chOff x="7568838" y="4156188"/>
              <a:chExt cx="160690" cy="88333"/>
            </a:xfrm>
            <a:grpFill/>
          </p:grpSpPr>
          <p:sp>
            <p:nvSpPr>
              <p:cNvPr id="4253" name="Vrije vorm: vorm 4252">
                <a:extLst>
                  <a:ext uri="{FF2B5EF4-FFF2-40B4-BE49-F238E27FC236}">
                    <a16:creationId xmlns:a16="http://schemas.microsoft.com/office/drawing/2014/main" id="{FDE60737-7612-45E3-A345-AF540033605F}"/>
                  </a:ext>
                </a:extLst>
              </p:cNvPr>
              <p:cNvSpPr/>
              <p:nvPr/>
            </p:nvSpPr>
            <p:spPr>
              <a:xfrm>
                <a:off x="7576936" y="4163818"/>
                <a:ext cx="144494" cy="73084"/>
              </a:xfrm>
              <a:custGeom>
                <a:avLst/>
                <a:gdLst>
                  <a:gd name="connsiteX0" fmla="*/ 144494 w 144494"/>
                  <a:gd name="connsiteY0" fmla="*/ 70333 h 73084"/>
                  <a:gd name="connsiteX1" fmla="*/ 143119 w 144494"/>
                  <a:gd name="connsiteY1" fmla="*/ 73085 h 73084"/>
                  <a:gd name="connsiteX2" fmla="*/ 0 w 144494"/>
                  <a:gd name="connsiteY2" fmla="*/ 2751 h 73084"/>
                  <a:gd name="connsiteX3" fmla="*/ 1316 w 144494"/>
                  <a:gd name="connsiteY3" fmla="*/ 0 h 73084"/>
                </a:gdLst>
                <a:ahLst/>
                <a:cxnLst>
                  <a:cxn ang="0">
                    <a:pos x="connsiteX0" y="connsiteY0"/>
                  </a:cxn>
                  <a:cxn ang="0">
                    <a:pos x="connsiteX1" y="connsiteY1"/>
                  </a:cxn>
                  <a:cxn ang="0">
                    <a:pos x="connsiteX2" y="connsiteY2"/>
                  </a:cxn>
                  <a:cxn ang="0">
                    <a:pos x="connsiteX3" y="connsiteY3"/>
                  </a:cxn>
                </a:cxnLst>
                <a:rect l="l" t="t" r="r" b="b"/>
                <a:pathLst>
                  <a:path w="144494" h="73084">
                    <a:moveTo>
                      <a:pt x="144494" y="70333"/>
                    </a:moveTo>
                    <a:lnTo>
                      <a:pt x="143119" y="73085"/>
                    </a:lnTo>
                    <a:lnTo>
                      <a:pt x="0" y="2751"/>
                    </a:lnTo>
                    <a:lnTo>
                      <a:pt x="1316" y="0"/>
                    </a:lnTo>
                    <a:close/>
                  </a:path>
                </a:pathLst>
              </a:custGeom>
              <a:grpFill/>
              <a:ln w="5978" cap="flat">
                <a:noFill/>
                <a:prstDash val="solid"/>
                <a:miter/>
              </a:ln>
            </p:spPr>
            <p:txBody>
              <a:bodyPr rtlCol="0" anchor="ctr"/>
              <a:lstStyle/>
              <a:p>
                <a:endParaRPr lang="en-GB"/>
              </a:p>
            </p:txBody>
          </p:sp>
          <p:sp>
            <p:nvSpPr>
              <p:cNvPr id="4254" name="Vrije vorm: vorm 4253">
                <a:extLst>
                  <a:ext uri="{FF2B5EF4-FFF2-40B4-BE49-F238E27FC236}">
                    <a16:creationId xmlns:a16="http://schemas.microsoft.com/office/drawing/2014/main" id="{BA5D0DBE-48B7-45E1-9099-2B805864B8E5}"/>
                  </a:ext>
                </a:extLst>
              </p:cNvPr>
              <p:cNvSpPr/>
              <p:nvPr/>
            </p:nvSpPr>
            <p:spPr>
              <a:xfrm>
                <a:off x="7711180" y="4226103"/>
                <a:ext cx="18349" cy="18419"/>
              </a:xfrm>
              <a:custGeom>
                <a:avLst/>
                <a:gdLst>
                  <a:gd name="connsiteX0" fmla="*/ 13181 w 18349"/>
                  <a:gd name="connsiteY0" fmla="*/ 931 h 18419"/>
                  <a:gd name="connsiteX1" fmla="*/ 17428 w 18349"/>
                  <a:gd name="connsiteY1" fmla="*/ 13252 h 18419"/>
                  <a:gd name="connsiteX2" fmla="*/ 5167 w 18349"/>
                  <a:gd name="connsiteY2" fmla="*/ 17498 h 18419"/>
                  <a:gd name="connsiteX3" fmla="*/ 921 w 18349"/>
                  <a:gd name="connsiteY3" fmla="*/ 5178 h 18419"/>
                  <a:gd name="connsiteX4" fmla="*/ 13181 w 18349"/>
                  <a:gd name="connsiteY4" fmla="*/ 93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19">
                    <a:moveTo>
                      <a:pt x="13181" y="931"/>
                    </a:moveTo>
                    <a:cubicBezTo>
                      <a:pt x="17727" y="3144"/>
                      <a:pt x="19641" y="8706"/>
                      <a:pt x="17428" y="13252"/>
                    </a:cubicBezTo>
                    <a:cubicBezTo>
                      <a:pt x="15215" y="17797"/>
                      <a:pt x="9713" y="19711"/>
                      <a:pt x="5167" y="17498"/>
                    </a:cubicBezTo>
                    <a:cubicBezTo>
                      <a:pt x="622" y="15285"/>
                      <a:pt x="-1292" y="9723"/>
                      <a:pt x="921" y="5178"/>
                    </a:cubicBezTo>
                    <a:cubicBezTo>
                      <a:pt x="3134" y="573"/>
                      <a:pt x="8576" y="-1281"/>
                      <a:pt x="13181" y="931"/>
                    </a:cubicBezTo>
                    <a:close/>
                  </a:path>
                </a:pathLst>
              </a:custGeom>
              <a:grpFill/>
              <a:ln w="5978" cap="flat">
                <a:noFill/>
                <a:prstDash val="solid"/>
                <a:miter/>
              </a:ln>
            </p:spPr>
            <p:txBody>
              <a:bodyPr rtlCol="0" anchor="ctr"/>
              <a:lstStyle/>
              <a:p>
                <a:endParaRPr lang="en-GB"/>
              </a:p>
            </p:txBody>
          </p:sp>
          <p:sp>
            <p:nvSpPr>
              <p:cNvPr id="4255" name="Vrije vorm: vorm 4254">
                <a:extLst>
                  <a:ext uri="{FF2B5EF4-FFF2-40B4-BE49-F238E27FC236}">
                    <a16:creationId xmlns:a16="http://schemas.microsoft.com/office/drawing/2014/main" id="{5660E949-1AD9-4480-97E2-C43832C34ECC}"/>
                  </a:ext>
                </a:extLst>
              </p:cNvPr>
              <p:cNvSpPr/>
              <p:nvPr/>
            </p:nvSpPr>
            <p:spPr>
              <a:xfrm>
                <a:off x="7568838" y="4156188"/>
                <a:ext cx="18349" cy="18429"/>
              </a:xfrm>
              <a:custGeom>
                <a:avLst/>
                <a:gdLst>
                  <a:gd name="connsiteX0" fmla="*/ 13182 w 18349"/>
                  <a:gd name="connsiteY0" fmla="*/ 931 h 18429"/>
                  <a:gd name="connsiteX1" fmla="*/ 921 w 18349"/>
                  <a:gd name="connsiteY1" fmla="*/ 5178 h 18429"/>
                  <a:gd name="connsiteX2" fmla="*/ 5167 w 18349"/>
                  <a:gd name="connsiteY2" fmla="*/ 17498 h 18429"/>
                  <a:gd name="connsiteX3" fmla="*/ 17428 w 18349"/>
                  <a:gd name="connsiteY3" fmla="*/ 13252 h 18429"/>
                  <a:gd name="connsiteX4" fmla="*/ 13182 w 18349"/>
                  <a:gd name="connsiteY4" fmla="*/ 93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9">
                    <a:moveTo>
                      <a:pt x="13182" y="931"/>
                    </a:moveTo>
                    <a:cubicBezTo>
                      <a:pt x="8637" y="-1281"/>
                      <a:pt x="3134" y="573"/>
                      <a:pt x="921" y="5178"/>
                    </a:cubicBezTo>
                    <a:cubicBezTo>
                      <a:pt x="-1292" y="9723"/>
                      <a:pt x="622" y="15285"/>
                      <a:pt x="5167" y="17498"/>
                    </a:cubicBezTo>
                    <a:cubicBezTo>
                      <a:pt x="9713" y="19711"/>
                      <a:pt x="15215" y="17857"/>
                      <a:pt x="17428" y="13252"/>
                    </a:cubicBezTo>
                    <a:cubicBezTo>
                      <a:pt x="19641" y="8646"/>
                      <a:pt x="17727" y="3144"/>
                      <a:pt x="13182" y="931"/>
                    </a:cubicBezTo>
                    <a:close/>
                  </a:path>
                </a:pathLst>
              </a:custGeom>
              <a:grpFill/>
              <a:ln w="5978" cap="flat">
                <a:noFill/>
                <a:prstDash val="solid"/>
                <a:miter/>
              </a:ln>
            </p:spPr>
            <p:txBody>
              <a:bodyPr rtlCol="0" anchor="ctr"/>
              <a:lstStyle/>
              <a:p>
                <a:endParaRPr lang="en-GB"/>
              </a:p>
            </p:txBody>
          </p:sp>
        </p:grpSp>
        <p:grpSp>
          <p:nvGrpSpPr>
            <p:cNvPr id="377" name="Graphic 3">
              <a:extLst>
                <a:ext uri="{FF2B5EF4-FFF2-40B4-BE49-F238E27FC236}">
                  <a16:creationId xmlns:a16="http://schemas.microsoft.com/office/drawing/2014/main" id="{A2973AEA-6BD4-4F1C-9E84-52DE3509E194}"/>
                </a:ext>
              </a:extLst>
            </p:cNvPr>
            <p:cNvGrpSpPr/>
            <p:nvPr/>
          </p:nvGrpSpPr>
          <p:grpSpPr>
            <a:xfrm>
              <a:off x="6736049" y="1531135"/>
              <a:ext cx="38153" cy="70780"/>
              <a:chOff x="6736049" y="1531135"/>
              <a:chExt cx="38153" cy="70780"/>
            </a:xfrm>
            <a:grpFill/>
          </p:grpSpPr>
          <p:sp>
            <p:nvSpPr>
              <p:cNvPr id="4250" name="Vrije vorm: vorm 4249">
                <a:extLst>
                  <a:ext uri="{FF2B5EF4-FFF2-40B4-BE49-F238E27FC236}">
                    <a16:creationId xmlns:a16="http://schemas.microsoft.com/office/drawing/2014/main" id="{F1658EBD-1EFC-4BFB-9713-1F38F9627B52}"/>
                  </a:ext>
                </a:extLst>
              </p:cNvPr>
              <p:cNvSpPr/>
              <p:nvPr/>
            </p:nvSpPr>
            <p:spPr>
              <a:xfrm>
                <a:off x="6743702" y="1539418"/>
                <a:ext cx="22966" cy="54245"/>
              </a:xfrm>
              <a:custGeom>
                <a:avLst/>
                <a:gdLst>
                  <a:gd name="connsiteX0" fmla="*/ 22966 w 22966"/>
                  <a:gd name="connsiteY0" fmla="*/ 1076 h 54245"/>
                  <a:gd name="connsiteX1" fmla="*/ 2811 w 22966"/>
                  <a:gd name="connsiteY1" fmla="*/ 54245 h 54245"/>
                  <a:gd name="connsiteX2" fmla="*/ 0 w 22966"/>
                  <a:gd name="connsiteY2" fmla="*/ 53169 h 54245"/>
                  <a:gd name="connsiteX3" fmla="*/ 20095 w 22966"/>
                  <a:gd name="connsiteY3" fmla="*/ 0 h 54245"/>
                </a:gdLst>
                <a:ahLst/>
                <a:cxnLst>
                  <a:cxn ang="0">
                    <a:pos x="connsiteX0" y="connsiteY0"/>
                  </a:cxn>
                  <a:cxn ang="0">
                    <a:pos x="connsiteX1" y="connsiteY1"/>
                  </a:cxn>
                  <a:cxn ang="0">
                    <a:pos x="connsiteX2" y="connsiteY2"/>
                  </a:cxn>
                  <a:cxn ang="0">
                    <a:pos x="connsiteX3" y="connsiteY3"/>
                  </a:cxn>
                </a:cxnLst>
                <a:rect l="l" t="t" r="r" b="b"/>
                <a:pathLst>
                  <a:path w="22966" h="54245">
                    <a:moveTo>
                      <a:pt x="22966" y="1076"/>
                    </a:moveTo>
                    <a:lnTo>
                      <a:pt x="2811" y="54245"/>
                    </a:lnTo>
                    <a:lnTo>
                      <a:pt x="0" y="53169"/>
                    </a:lnTo>
                    <a:lnTo>
                      <a:pt x="20095" y="0"/>
                    </a:lnTo>
                    <a:close/>
                  </a:path>
                </a:pathLst>
              </a:custGeom>
              <a:grpFill/>
              <a:ln w="5978" cap="flat">
                <a:noFill/>
                <a:prstDash val="solid"/>
                <a:miter/>
              </a:ln>
            </p:spPr>
            <p:txBody>
              <a:bodyPr rtlCol="0" anchor="ctr"/>
              <a:lstStyle/>
              <a:p>
                <a:endParaRPr lang="en-GB"/>
              </a:p>
            </p:txBody>
          </p:sp>
          <p:sp>
            <p:nvSpPr>
              <p:cNvPr id="4251" name="Vrije vorm: vorm 4250">
                <a:extLst>
                  <a:ext uri="{FF2B5EF4-FFF2-40B4-BE49-F238E27FC236}">
                    <a16:creationId xmlns:a16="http://schemas.microsoft.com/office/drawing/2014/main" id="{E71206C1-9EF3-4F8B-9B82-A516C13E9017}"/>
                  </a:ext>
                </a:extLst>
              </p:cNvPr>
              <p:cNvSpPr/>
              <p:nvPr/>
            </p:nvSpPr>
            <p:spPr>
              <a:xfrm>
                <a:off x="6736049" y="1583498"/>
                <a:ext cx="18364" cy="18417"/>
              </a:xfrm>
              <a:custGeom>
                <a:avLst/>
                <a:gdLst>
                  <a:gd name="connsiteX0" fmla="*/ 17761 w 18364"/>
                  <a:gd name="connsiteY0" fmla="*/ 12498 h 18417"/>
                  <a:gd name="connsiteX1" fmla="*/ 5919 w 18364"/>
                  <a:gd name="connsiteY1" fmla="*/ 17821 h 18417"/>
                  <a:gd name="connsiteX2" fmla="*/ 596 w 18364"/>
                  <a:gd name="connsiteY2" fmla="*/ 5919 h 18417"/>
                  <a:gd name="connsiteX3" fmla="*/ 12438 w 18364"/>
                  <a:gd name="connsiteY3" fmla="*/ 596 h 18417"/>
                  <a:gd name="connsiteX4" fmla="*/ 17761 w 18364"/>
                  <a:gd name="connsiteY4" fmla="*/ 12498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7">
                    <a:moveTo>
                      <a:pt x="17761" y="12498"/>
                    </a:moveTo>
                    <a:cubicBezTo>
                      <a:pt x="15967" y="17223"/>
                      <a:pt x="10644" y="19615"/>
                      <a:pt x="5919" y="17821"/>
                    </a:cubicBezTo>
                    <a:cubicBezTo>
                      <a:pt x="1194" y="15967"/>
                      <a:pt x="-1198" y="10644"/>
                      <a:pt x="596" y="5919"/>
                    </a:cubicBezTo>
                    <a:cubicBezTo>
                      <a:pt x="2391" y="1195"/>
                      <a:pt x="7713" y="-1198"/>
                      <a:pt x="12438" y="596"/>
                    </a:cubicBezTo>
                    <a:cubicBezTo>
                      <a:pt x="17223" y="2391"/>
                      <a:pt x="19555" y="7713"/>
                      <a:pt x="17761" y="12498"/>
                    </a:cubicBezTo>
                    <a:close/>
                  </a:path>
                </a:pathLst>
              </a:custGeom>
              <a:grpFill/>
              <a:ln w="5978" cap="flat">
                <a:noFill/>
                <a:prstDash val="solid"/>
                <a:miter/>
              </a:ln>
            </p:spPr>
            <p:txBody>
              <a:bodyPr rtlCol="0" anchor="ctr"/>
              <a:lstStyle/>
              <a:p>
                <a:endParaRPr lang="en-GB"/>
              </a:p>
            </p:txBody>
          </p:sp>
          <p:sp>
            <p:nvSpPr>
              <p:cNvPr id="4252" name="Vrije vorm: vorm 4251">
                <a:extLst>
                  <a:ext uri="{FF2B5EF4-FFF2-40B4-BE49-F238E27FC236}">
                    <a16:creationId xmlns:a16="http://schemas.microsoft.com/office/drawing/2014/main" id="{4770F204-417A-406B-8E20-2B0FC2F0A0D9}"/>
                  </a:ext>
                </a:extLst>
              </p:cNvPr>
              <p:cNvSpPr/>
              <p:nvPr/>
            </p:nvSpPr>
            <p:spPr>
              <a:xfrm>
                <a:off x="6755845" y="1531135"/>
                <a:ext cx="18357" cy="18455"/>
              </a:xfrm>
              <a:custGeom>
                <a:avLst/>
                <a:gdLst>
                  <a:gd name="connsiteX0" fmla="*/ 17761 w 18357"/>
                  <a:gd name="connsiteY0" fmla="*/ 12530 h 18455"/>
                  <a:gd name="connsiteX1" fmla="*/ 12438 w 18357"/>
                  <a:gd name="connsiteY1" fmla="*/ 628 h 18455"/>
                  <a:gd name="connsiteX2" fmla="*/ 596 w 18357"/>
                  <a:gd name="connsiteY2" fmla="*/ 5951 h 18455"/>
                  <a:gd name="connsiteX3" fmla="*/ 5919 w 18357"/>
                  <a:gd name="connsiteY3" fmla="*/ 17852 h 18455"/>
                  <a:gd name="connsiteX4" fmla="*/ 17761 w 18357"/>
                  <a:gd name="connsiteY4" fmla="*/ 12530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55">
                    <a:moveTo>
                      <a:pt x="17761" y="12530"/>
                    </a:moveTo>
                    <a:cubicBezTo>
                      <a:pt x="19555" y="7805"/>
                      <a:pt x="17163" y="2422"/>
                      <a:pt x="12438" y="628"/>
                    </a:cubicBezTo>
                    <a:cubicBezTo>
                      <a:pt x="7713" y="-1226"/>
                      <a:pt x="2391" y="1166"/>
                      <a:pt x="596" y="5951"/>
                    </a:cubicBezTo>
                    <a:cubicBezTo>
                      <a:pt x="-1198" y="10676"/>
                      <a:pt x="1194" y="16058"/>
                      <a:pt x="5919" y="17852"/>
                    </a:cubicBezTo>
                    <a:cubicBezTo>
                      <a:pt x="10704" y="19647"/>
                      <a:pt x="15967" y="17314"/>
                      <a:pt x="17761" y="12530"/>
                    </a:cubicBezTo>
                    <a:close/>
                  </a:path>
                </a:pathLst>
              </a:custGeom>
              <a:grpFill/>
              <a:ln w="5978" cap="flat">
                <a:noFill/>
                <a:prstDash val="solid"/>
                <a:miter/>
              </a:ln>
            </p:spPr>
            <p:txBody>
              <a:bodyPr rtlCol="0" anchor="ctr"/>
              <a:lstStyle/>
              <a:p>
                <a:endParaRPr lang="en-GB"/>
              </a:p>
            </p:txBody>
          </p:sp>
        </p:grpSp>
        <p:grpSp>
          <p:nvGrpSpPr>
            <p:cNvPr id="378" name="Graphic 3">
              <a:extLst>
                <a:ext uri="{FF2B5EF4-FFF2-40B4-BE49-F238E27FC236}">
                  <a16:creationId xmlns:a16="http://schemas.microsoft.com/office/drawing/2014/main" id="{8D693BBA-70F0-4677-8F96-002A2E6C1B04}"/>
                </a:ext>
              </a:extLst>
            </p:cNvPr>
            <p:cNvGrpSpPr/>
            <p:nvPr/>
          </p:nvGrpSpPr>
          <p:grpSpPr>
            <a:xfrm>
              <a:off x="7715034" y="4474195"/>
              <a:ext cx="22702" cy="21276"/>
              <a:chOff x="7715034" y="4474195"/>
              <a:chExt cx="22702" cy="21276"/>
            </a:xfrm>
            <a:grpFill/>
          </p:grpSpPr>
          <p:sp>
            <p:nvSpPr>
              <p:cNvPr id="4248" name="Vrije vorm: vorm 4247">
                <a:extLst>
                  <a:ext uri="{FF2B5EF4-FFF2-40B4-BE49-F238E27FC236}">
                    <a16:creationId xmlns:a16="http://schemas.microsoft.com/office/drawing/2014/main" id="{F16758D8-5E15-4856-84E7-283AAE0731C6}"/>
                  </a:ext>
                </a:extLst>
              </p:cNvPr>
              <p:cNvSpPr/>
              <p:nvPr/>
            </p:nvSpPr>
            <p:spPr>
              <a:xfrm>
                <a:off x="7719433" y="4477006"/>
                <a:ext cx="18303" cy="18465"/>
              </a:xfrm>
              <a:custGeom>
                <a:avLst/>
                <a:gdLst>
                  <a:gd name="connsiteX0" fmla="*/ 4270 w 18303"/>
                  <a:gd name="connsiteY0" fmla="*/ 17008 h 18465"/>
                  <a:gd name="connsiteX1" fmla="*/ 1399 w 18303"/>
                  <a:gd name="connsiteY1" fmla="*/ 4269 h 18465"/>
                  <a:gd name="connsiteX2" fmla="*/ 14019 w 18303"/>
                  <a:gd name="connsiteY2" fmla="*/ 1458 h 18465"/>
                  <a:gd name="connsiteX3" fmla="*/ 16889 w 18303"/>
                  <a:gd name="connsiteY3" fmla="*/ 14197 h 18465"/>
                  <a:gd name="connsiteX4" fmla="*/ 4270 w 18303"/>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4270" y="17008"/>
                    </a:moveTo>
                    <a:cubicBezTo>
                      <a:pt x="24" y="14257"/>
                      <a:pt x="-1292" y="8575"/>
                      <a:pt x="1399" y="4269"/>
                    </a:cubicBezTo>
                    <a:cubicBezTo>
                      <a:pt x="4090" y="-37"/>
                      <a:pt x="9773" y="-1293"/>
                      <a:pt x="14019" y="1458"/>
                    </a:cubicBezTo>
                    <a:cubicBezTo>
                      <a:pt x="18325" y="4209"/>
                      <a:pt x="19581" y="9891"/>
                      <a:pt x="16889" y="14197"/>
                    </a:cubicBezTo>
                    <a:cubicBezTo>
                      <a:pt x="14198" y="18503"/>
                      <a:pt x="8576" y="19759"/>
                      <a:pt x="4270" y="17008"/>
                    </a:cubicBezTo>
                    <a:close/>
                  </a:path>
                </a:pathLst>
              </a:custGeom>
              <a:grpFill/>
              <a:ln w="5978" cap="flat">
                <a:noFill/>
                <a:prstDash val="solid"/>
                <a:miter/>
              </a:ln>
            </p:spPr>
            <p:txBody>
              <a:bodyPr rtlCol="0" anchor="ctr"/>
              <a:lstStyle/>
              <a:p>
                <a:endParaRPr lang="en-GB"/>
              </a:p>
            </p:txBody>
          </p:sp>
          <p:sp>
            <p:nvSpPr>
              <p:cNvPr id="4249" name="Vrije vorm: vorm 4248">
                <a:extLst>
                  <a:ext uri="{FF2B5EF4-FFF2-40B4-BE49-F238E27FC236}">
                    <a16:creationId xmlns:a16="http://schemas.microsoft.com/office/drawing/2014/main" id="{28C3FE9B-EE62-4583-A561-AAD3FEB167A3}"/>
                  </a:ext>
                </a:extLst>
              </p:cNvPr>
              <p:cNvSpPr/>
              <p:nvPr/>
            </p:nvSpPr>
            <p:spPr>
              <a:xfrm>
                <a:off x="7715034" y="4474195"/>
                <a:ext cx="18277" cy="18465"/>
              </a:xfrm>
              <a:custGeom>
                <a:avLst/>
                <a:gdLst>
                  <a:gd name="connsiteX0" fmla="*/ 4244 w 18277"/>
                  <a:gd name="connsiteY0" fmla="*/ 17008 h 18465"/>
                  <a:gd name="connsiteX1" fmla="*/ 16863 w 18277"/>
                  <a:gd name="connsiteY1" fmla="*/ 14197 h 18465"/>
                  <a:gd name="connsiteX2" fmla="*/ 13992 w 18277"/>
                  <a:gd name="connsiteY2" fmla="*/ 1458 h 18465"/>
                  <a:gd name="connsiteX3" fmla="*/ 1373 w 18277"/>
                  <a:gd name="connsiteY3" fmla="*/ 4269 h 18465"/>
                  <a:gd name="connsiteX4" fmla="*/ 4244 w 18277"/>
                  <a:gd name="connsiteY4" fmla="*/ 1700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65">
                    <a:moveTo>
                      <a:pt x="4244" y="17008"/>
                    </a:moveTo>
                    <a:cubicBezTo>
                      <a:pt x="8550" y="19759"/>
                      <a:pt x="14172" y="18503"/>
                      <a:pt x="16863" y="14197"/>
                    </a:cubicBezTo>
                    <a:cubicBezTo>
                      <a:pt x="19555" y="9891"/>
                      <a:pt x="18298" y="4209"/>
                      <a:pt x="13992" y="1458"/>
                    </a:cubicBezTo>
                    <a:cubicBezTo>
                      <a:pt x="9746" y="-1293"/>
                      <a:pt x="4064" y="-37"/>
                      <a:pt x="1373" y="4269"/>
                    </a:cubicBezTo>
                    <a:cubicBezTo>
                      <a:pt x="-1259" y="8575"/>
                      <a:pt x="-2" y="14257"/>
                      <a:pt x="4244" y="17008"/>
                    </a:cubicBezTo>
                    <a:close/>
                  </a:path>
                </a:pathLst>
              </a:custGeom>
              <a:grpFill/>
              <a:ln w="5978" cap="flat">
                <a:noFill/>
                <a:prstDash val="solid"/>
                <a:miter/>
              </a:ln>
            </p:spPr>
            <p:txBody>
              <a:bodyPr rtlCol="0" anchor="ctr"/>
              <a:lstStyle/>
              <a:p>
                <a:endParaRPr lang="en-GB"/>
              </a:p>
            </p:txBody>
          </p:sp>
        </p:grpSp>
        <p:grpSp>
          <p:nvGrpSpPr>
            <p:cNvPr id="379" name="Graphic 3">
              <a:extLst>
                <a:ext uri="{FF2B5EF4-FFF2-40B4-BE49-F238E27FC236}">
                  <a16:creationId xmlns:a16="http://schemas.microsoft.com/office/drawing/2014/main" id="{06CF5DF6-4782-42EA-BA46-737040F8D26C}"/>
                </a:ext>
              </a:extLst>
            </p:cNvPr>
            <p:cNvGrpSpPr/>
            <p:nvPr/>
          </p:nvGrpSpPr>
          <p:grpSpPr>
            <a:xfrm>
              <a:off x="7495589" y="4297265"/>
              <a:ext cx="439200" cy="323430"/>
              <a:chOff x="7495589" y="4297265"/>
              <a:chExt cx="439200" cy="323430"/>
            </a:xfrm>
            <a:grpFill/>
          </p:grpSpPr>
          <p:sp>
            <p:nvSpPr>
              <p:cNvPr id="4245" name="Vrije vorm: vorm 4244">
                <a:extLst>
                  <a:ext uri="{FF2B5EF4-FFF2-40B4-BE49-F238E27FC236}">
                    <a16:creationId xmlns:a16="http://schemas.microsoft.com/office/drawing/2014/main" id="{976385BD-D6E3-4671-B4BC-2F81FA06E35E}"/>
                  </a:ext>
                </a:extLst>
              </p:cNvPr>
              <p:cNvSpPr/>
              <p:nvPr/>
            </p:nvSpPr>
            <p:spPr>
              <a:xfrm>
                <a:off x="7503493" y="4304963"/>
                <a:ext cx="423374" cy="308007"/>
              </a:xfrm>
              <a:custGeom>
                <a:avLst/>
                <a:gdLst>
                  <a:gd name="connsiteX0" fmla="*/ 423375 w 423374"/>
                  <a:gd name="connsiteY0" fmla="*/ 305555 h 308007"/>
                  <a:gd name="connsiteX1" fmla="*/ 421641 w 423374"/>
                  <a:gd name="connsiteY1" fmla="*/ 308007 h 308007"/>
                  <a:gd name="connsiteX2" fmla="*/ 0 w 423374"/>
                  <a:gd name="connsiteY2" fmla="*/ 2512 h 308007"/>
                  <a:gd name="connsiteX3" fmla="*/ 1794 w 423374"/>
                  <a:gd name="connsiteY3" fmla="*/ 0 h 308007"/>
                </a:gdLst>
                <a:ahLst/>
                <a:cxnLst>
                  <a:cxn ang="0">
                    <a:pos x="connsiteX0" y="connsiteY0"/>
                  </a:cxn>
                  <a:cxn ang="0">
                    <a:pos x="connsiteX1" y="connsiteY1"/>
                  </a:cxn>
                  <a:cxn ang="0">
                    <a:pos x="connsiteX2" y="connsiteY2"/>
                  </a:cxn>
                  <a:cxn ang="0">
                    <a:pos x="connsiteX3" y="connsiteY3"/>
                  </a:cxn>
                </a:cxnLst>
                <a:rect l="l" t="t" r="r" b="b"/>
                <a:pathLst>
                  <a:path w="423374" h="308007">
                    <a:moveTo>
                      <a:pt x="423375" y="305555"/>
                    </a:moveTo>
                    <a:lnTo>
                      <a:pt x="421641" y="308007"/>
                    </a:lnTo>
                    <a:lnTo>
                      <a:pt x="0" y="2512"/>
                    </a:lnTo>
                    <a:lnTo>
                      <a:pt x="1794" y="0"/>
                    </a:lnTo>
                    <a:close/>
                  </a:path>
                </a:pathLst>
              </a:custGeom>
              <a:grpFill/>
              <a:ln w="5978" cap="flat">
                <a:noFill/>
                <a:prstDash val="solid"/>
                <a:miter/>
              </a:ln>
            </p:spPr>
            <p:txBody>
              <a:bodyPr rtlCol="0" anchor="ctr"/>
              <a:lstStyle/>
              <a:p>
                <a:endParaRPr lang="en-GB"/>
              </a:p>
            </p:txBody>
          </p:sp>
          <p:sp>
            <p:nvSpPr>
              <p:cNvPr id="4246" name="Vrije vorm: vorm 4245">
                <a:extLst>
                  <a:ext uri="{FF2B5EF4-FFF2-40B4-BE49-F238E27FC236}">
                    <a16:creationId xmlns:a16="http://schemas.microsoft.com/office/drawing/2014/main" id="{98EEF71C-EF27-4B25-A59C-B3B033E010F4}"/>
                  </a:ext>
                </a:extLst>
              </p:cNvPr>
              <p:cNvSpPr/>
              <p:nvPr/>
            </p:nvSpPr>
            <p:spPr>
              <a:xfrm>
                <a:off x="7495589" y="4297265"/>
                <a:ext cx="18379" cy="18430"/>
              </a:xfrm>
              <a:custGeom>
                <a:avLst/>
                <a:gdLst>
                  <a:gd name="connsiteX0" fmla="*/ 3837 w 18379"/>
                  <a:gd name="connsiteY0" fmla="*/ 16670 h 18430"/>
                  <a:gd name="connsiteX1" fmla="*/ 1744 w 18379"/>
                  <a:gd name="connsiteY1" fmla="*/ 3811 h 18430"/>
                  <a:gd name="connsiteX2" fmla="*/ 14543 w 18379"/>
                  <a:gd name="connsiteY2" fmla="*/ 1718 h 18430"/>
                  <a:gd name="connsiteX3" fmla="*/ 16636 w 18379"/>
                  <a:gd name="connsiteY3" fmla="*/ 14577 h 18430"/>
                  <a:gd name="connsiteX4" fmla="*/ 3837 w 18379"/>
                  <a:gd name="connsiteY4" fmla="*/ 1667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30">
                    <a:moveTo>
                      <a:pt x="3837" y="16670"/>
                    </a:moveTo>
                    <a:cubicBezTo>
                      <a:pt x="-289" y="13679"/>
                      <a:pt x="-1247" y="7938"/>
                      <a:pt x="1744" y="3811"/>
                    </a:cubicBezTo>
                    <a:cubicBezTo>
                      <a:pt x="4674" y="-315"/>
                      <a:pt x="10416" y="-1213"/>
                      <a:pt x="14543" y="1718"/>
                    </a:cubicBezTo>
                    <a:cubicBezTo>
                      <a:pt x="18669" y="4708"/>
                      <a:pt x="19626" y="10450"/>
                      <a:pt x="16636" y="14577"/>
                    </a:cubicBezTo>
                    <a:cubicBezTo>
                      <a:pt x="13705" y="18763"/>
                      <a:pt x="7964" y="19660"/>
                      <a:pt x="3837" y="16670"/>
                    </a:cubicBezTo>
                    <a:close/>
                  </a:path>
                </a:pathLst>
              </a:custGeom>
              <a:grpFill/>
              <a:ln w="5978" cap="flat">
                <a:noFill/>
                <a:prstDash val="solid"/>
                <a:miter/>
              </a:ln>
            </p:spPr>
            <p:txBody>
              <a:bodyPr rtlCol="0" anchor="ctr"/>
              <a:lstStyle/>
              <a:p>
                <a:endParaRPr lang="en-GB"/>
              </a:p>
            </p:txBody>
          </p:sp>
          <p:sp>
            <p:nvSpPr>
              <p:cNvPr id="4247" name="Vrije vorm: vorm 4246">
                <a:extLst>
                  <a:ext uri="{FF2B5EF4-FFF2-40B4-BE49-F238E27FC236}">
                    <a16:creationId xmlns:a16="http://schemas.microsoft.com/office/drawing/2014/main" id="{E0953B5B-02FD-49FD-94C5-5D94439132CF}"/>
                  </a:ext>
                </a:extLst>
              </p:cNvPr>
              <p:cNvSpPr/>
              <p:nvPr/>
            </p:nvSpPr>
            <p:spPr>
              <a:xfrm>
                <a:off x="7916479" y="4602255"/>
                <a:ext cx="18310" cy="18439"/>
              </a:xfrm>
              <a:custGeom>
                <a:avLst/>
                <a:gdLst>
                  <a:gd name="connsiteX0" fmla="*/ 3811 w 18310"/>
                  <a:gd name="connsiteY0" fmla="*/ 16696 h 18439"/>
                  <a:gd name="connsiteX1" fmla="*/ 16610 w 18310"/>
                  <a:gd name="connsiteY1" fmla="*/ 14603 h 18439"/>
                  <a:gd name="connsiteX2" fmla="*/ 14517 w 18310"/>
                  <a:gd name="connsiteY2" fmla="*/ 1744 h 18439"/>
                  <a:gd name="connsiteX3" fmla="*/ 1718 w 18310"/>
                  <a:gd name="connsiteY3" fmla="*/ 3837 h 18439"/>
                  <a:gd name="connsiteX4" fmla="*/ 3811 w 18310"/>
                  <a:gd name="connsiteY4" fmla="*/ 16696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9">
                    <a:moveTo>
                      <a:pt x="3811" y="16696"/>
                    </a:moveTo>
                    <a:cubicBezTo>
                      <a:pt x="7938" y="19686"/>
                      <a:pt x="13679" y="18729"/>
                      <a:pt x="16610" y="14603"/>
                    </a:cubicBezTo>
                    <a:cubicBezTo>
                      <a:pt x="19540" y="10476"/>
                      <a:pt x="18583" y="4734"/>
                      <a:pt x="14517" y="1744"/>
                    </a:cubicBezTo>
                    <a:cubicBezTo>
                      <a:pt x="10390" y="-1247"/>
                      <a:pt x="4708" y="-289"/>
                      <a:pt x="1718" y="3837"/>
                    </a:cubicBezTo>
                    <a:cubicBezTo>
                      <a:pt x="-1213" y="7964"/>
                      <a:pt x="-315" y="13705"/>
                      <a:pt x="3811" y="16696"/>
                    </a:cubicBezTo>
                    <a:close/>
                  </a:path>
                </a:pathLst>
              </a:custGeom>
              <a:grpFill/>
              <a:ln w="5978" cap="flat">
                <a:noFill/>
                <a:prstDash val="solid"/>
                <a:miter/>
              </a:ln>
            </p:spPr>
            <p:txBody>
              <a:bodyPr rtlCol="0" anchor="ctr"/>
              <a:lstStyle/>
              <a:p>
                <a:endParaRPr lang="en-GB"/>
              </a:p>
            </p:txBody>
          </p:sp>
        </p:grpSp>
        <p:grpSp>
          <p:nvGrpSpPr>
            <p:cNvPr id="380" name="Graphic 3">
              <a:extLst>
                <a:ext uri="{FF2B5EF4-FFF2-40B4-BE49-F238E27FC236}">
                  <a16:creationId xmlns:a16="http://schemas.microsoft.com/office/drawing/2014/main" id="{2423694C-872E-4FCA-AD32-68AF5713E9C6}"/>
                </a:ext>
              </a:extLst>
            </p:cNvPr>
            <p:cNvGrpSpPr/>
            <p:nvPr/>
          </p:nvGrpSpPr>
          <p:grpSpPr>
            <a:xfrm>
              <a:off x="7563452" y="4188932"/>
              <a:ext cx="161535" cy="92233"/>
              <a:chOff x="7563452" y="4188932"/>
              <a:chExt cx="161535" cy="92233"/>
            </a:xfrm>
            <a:grpFill/>
          </p:grpSpPr>
          <p:sp>
            <p:nvSpPr>
              <p:cNvPr id="4242" name="Vrije vorm: vorm 4241">
                <a:extLst>
                  <a:ext uri="{FF2B5EF4-FFF2-40B4-BE49-F238E27FC236}">
                    <a16:creationId xmlns:a16="http://schemas.microsoft.com/office/drawing/2014/main" id="{3D7BABA0-287D-4B8E-A0A7-AA41EDA84892}"/>
                  </a:ext>
                </a:extLst>
              </p:cNvPr>
              <p:cNvSpPr/>
              <p:nvPr/>
            </p:nvSpPr>
            <p:spPr>
              <a:xfrm>
                <a:off x="7571494" y="4196593"/>
                <a:ext cx="145450" cy="76912"/>
              </a:xfrm>
              <a:custGeom>
                <a:avLst/>
                <a:gdLst>
                  <a:gd name="connsiteX0" fmla="*/ 145451 w 145450"/>
                  <a:gd name="connsiteY0" fmla="*/ 74161 h 76912"/>
                  <a:gd name="connsiteX1" fmla="*/ 144075 w 145450"/>
                  <a:gd name="connsiteY1" fmla="*/ 76912 h 76912"/>
                  <a:gd name="connsiteX2" fmla="*/ 0 w 145450"/>
                  <a:gd name="connsiteY2" fmla="*/ 2751 h 76912"/>
                  <a:gd name="connsiteX3" fmla="*/ 1375 w 145450"/>
                  <a:gd name="connsiteY3" fmla="*/ 0 h 76912"/>
                </a:gdLst>
                <a:ahLst/>
                <a:cxnLst>
                  <a:cxn ang="0">
                    <a:pos x="connsiteX0" y="connsiteY0"/>
                  </a:cxn>
                  <a:cxn ang="0">
                    <a:pos x="connsiteX1" y="connsiteY1"/>
                  </a:cxn>
                  <a:cxn ang="0">
                    <a:pos x="connsiteX2" y="connsiteY2"/>
                  </a:cxn>
                  <a:cxn ang="0">
                    <a:pos x="connsiteX3" y="connsiteY3"/>
                  </a:cxn>
                </a:cxnLst>
                <a:rect l="l" t="t" r="r" b="b"/>
                <a:pathLst>
                  <a:path w="145450" h="76912">
                    <a:moveTo>
                      <a:pt x="145451" y="74161"/>
                    </a:moveTo>
                    <a:lnTo>
                      <a:pt x="144075" y="76912"/>
                    </a:lnTo>
                    <a:lnTo>
                      <a:pt x="0" y="2751"/>
                    </a:lnTo>
                    <a:lnTo>
                      <a:pt x="1375" y="0"/>
                    </a:lnTo>
                    <a:close/>
                  </a:path>
                </a:pathLst>
              </a:custGeom>
              <a:grpFill/>
              <a:ln w="5978" cap="flat">
                <a:noFill/>
                <a:prstDash val="solid"/>
                <a:miter/>
              </a:ln>
            </p:spPr>
            <p:txBody>
              <a:bodyPr rtlCol="0" anchor="ctr"/>
              <a:lstStyle/>
              <a:p>
                <a:endParaRPr lang="en-GB"/>
              </a:p>
            </p:txBody>
          </p:sp>
          <p:sp>
            <p:nvSpPr>
              <p:cNvPr id="4243" name="Vrije vorm: vorm 4242">
                <a:extLst>
                  <a:ext uri="{FF2B5EF4-FFF2-40B4-BE49-F238E27FC236}">
                    <a16:creationId xmlns:a16="http://schemas.microsoft.com/office/drawing/2014/main" id="{33D0153C-97AE-46AF-90A3-4AF04B22984E}"/>
                  </a:ext>
                </a:extLst>
              </p:cNvPr>
              <p:cNvSpPr/>
              <p:nvPr/>
            </p:nvSpPr>
            <p:spPr>
              <a:xfrm>
                <a:off x="7706664" y="4262734"/>
                <a:ext cx="18323" cy="18431"/>
              </a:xfrm>
              <a:custGeom>
                <a:avLst/>
                <a:gdLst>
                  <a:gd name="connsiteX0" fmla="*/ 13331 w 18323"/>
                  <a:gd name="connsiteY0" fmla="*/ 1022 h 18431"/>
                  <a:gd name="connsiteX1" fmla="*/ 17339 w 18323"/>
                  <a:gd name="connsiteY1" fmla="*/ 13402 h 18431"/>
                  <a:gd name="connsiteX2" fmla="*/ 5018 w 18323"/>
                  <a:gd name="connsiteY2" fmla="*/ 17409 h 18431"/>
                  <a:gd name="connsiteX3" fmla="*/ 1011 w 18323"/>
                  <a:gd name="connsiteY3" fmla="*/ 5029 h 18431"/>
                  <a:gd name="connsiteX4" fmla="*/ 13331 w 18323"/>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1">
                    <a:moveTo>
                      <a:pt x="13331" y="1022"/>
                    </a:moveTo>
                    <a:cubicBezTo>
                      <a:pt x="17817" y="3355"/>
                      <a:pt x="19611" y="8917"/>
                      <a:pt x="17339" y="13402"/>
                    </a:cubicBezTo>
                    <a:cubicBezTo>
                      <a:pt x="15066" y="17947"/>
                      <a:pt x="9503" y="19742"/>
                      <a:pt x="5018" y="17409"/>
                    </a:cubicBezTo>
                    <a:cubicBezTo>
                      <a:pt x="532" y="15077"/>
                      <a:pt x="-1321" y="9515"/>
                      <a:pt x="1011" y="5029"/>
                    </a:cubicBezTo>
                    <a:cubicBezTo>
                      <a:pt x="3343" y="484"/>
                      <a:pt x="8846" y="-1310"/>
                      <a:pt x="13331" y="1022"/>
                    </a:cubicBezTo>
                    <a:close/>
                  </a:path>
                </a:pathLst>
              </a:custGeom>
              <a:grpFill/>
              <a:ln w="5978" cap="flat">
                <a:noFill/>
                <a:prstDash val="solid"/>
                <a:miter/>
              </a:ln>
            </p:spPr>
            <p:txBody>
              <a:bodyPr rtlCol="0" anchor="ctr"/>
              <a:lstStyle/>
              <a:p>
                <a:endParaRPr lang="en-GB"/>
              </a:p>
            </p:txBody>
          </p:sp>
          <p:sp>
            <p:nvSpPr>
              <p:cNvPr id="4244" name="Vrije vorm: vorm 4243">
                <a:extLst>
                  <a:ext uri="{FF2B5EF4-FFF2-40B4-BE49-F238E27FC236}">
                    <a16:creationId xmlns:a16="http://schemas.microsoft.com/office/drawing/2014/main" id="{466BBBB9-8E77-4271-97C6-1E29AC838D22}"/>
                  </a:ext>
                </a:extLst>
              </p:cNvPr>
              <p:cNvSpPr/>
              <p:nvPr/>
            </p:nvSpPr>
            <p:spPr>
              <a:xfrm>
                <a:off x="7563452" y="4188932"/>
                <a:ext cx="18297" cy="18431"/>
              </a:xfrm>
              <a:custGeom>
                <a:avLst/>
                <a:gdLst>
                  <a:gd name="connsiteX0" fmla="*/ 13305 w 18297"/>
                  <a:gd name="connsiteY0" fmla="*/ 1022 h 18431"/>
                  <a:gd name="connsiteX1" fmla="*/ 985 w 18297"/>
                  <a:gd name="connsiteY1" fmla="*/ 5029 h 18431"/>
                  <a:gd name="connsiteX2" fmla="*/ 4992 w 18297"/>
                  <a:gd name="connsiteY2" fmla="*/ 17409 h 18431"/>
                  <a:gd name="connsiteX3" fmla="*/ 17312 w 18297"/>
                  <a:gd name="connsiteY3" fmla="*/ 13402 h 18431"/>
                  <a:gd name="connsiteX4" fmla="*/ 13305 w 18297"/>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1">
                    <a:moveTo>
                      <a:pt x="13305" y="1022"/>
                    </a:moveTo>
                    <a:cubicBezTo>
                      <a:pt x="8820" y="-1310"/>
                      <a:pt x="3258" y="484"/>
                      <a:pt x="985" y="5029"/>
                    </a:cubicBezTo>
                    <a:cubicBezTo>
                      <a:pt x="-1288" y="9575"/>
                      <a:pt x="507" y="15137"/>
                      <a:pt x="4992" y="17409"/>
                    </a:cubicBezTo>
                    <a:cubicBezTo>
                      <a:pt x="9478" y="19742"/>
                      <a:pt x="15039" y="17948"/>
                      <a:pt x="17312" y="13402"/>
                    </a:cubicBezTo>
                    <a:cubicBezTo>
                      <a:pt x="19585" y="8917"/>
                      <a:pt x="17791" y="3355"/>
                      <a:pt x="13305" y="1022"/>
                    </a:cubicBezTo>
                    <a:close/>
                  </a:path>
                </a:pathLst>
              </a:custGeom>
              <a:grpFill/>
              <a:ln w="5978" cap="flat">
                <a:noFill/>
                <a:prstDash val="solid"/>
                <a:miter/>
              </a:ln>
            </p:spPr>
            <p:txBody>
              <a:bodyPr rtlCol="0" anchor="ctr"/>
              <a:lstStyle/>
              <a:p>
                <a:endParaRPr lang="en-GB"/>
              </a:p>
            </p:txBody>
          </p:sp>
        </p:grpSp>
        <p:grpSp>
          <p:nvGrpSpPr>
            <p:cNvPr id="381" name="Graphic 3">
              <a:extLst>
                <a:ext uri="{FF2B5EF4-FFF2-40B4-BE49-F238E27FC236}">
                  <a16:creationId xmlns:a16="http://schemas.microsoft.com/office/drawing/2014/main" id="{CC6B87B0-57DD-45F1-BDEF-AD8D9D1926C7}"/>
                </a:ext>
              </a:extLst>
            </p:cNvPr>
            <p:cNvGrpSpPr/>
            <p:nvPr/>
          </p:nvGrpSpPr>
          <p:grpSpPr>
            <a:xfrm>
              <a:off x="6648186" y="1297972"/>
              <a:ext cx="125662" cy="337588"/>
              <a:chOff x="6648186" y="1297972"/>
              <a:chExt cx="125662" cy="337588"/>
            </a:xfrm>
            <a:grpFill/>
          </p:grpSpPr>
          <p:sp>
            <p:nvSpPr>
              <p:cNvPr id="4239" name="Vrije vorm: vorm 4238">
                <a:extLst>
                  <a:ext uri="{FF2B5EF4-FFF2-40B4-BE49-F238E27FC236}">
                    <a16:creationId xmlns:a16="http://schemas.microsoft.com/office/drawing/2014/main" id="{0A251E65-316D-42EA-8B56-0C4DD22FFD14}"/>
                  </a:ext>
                </a:extLst>
              </p:cNvPr>
              <p:cNvSpPr/>
              <p:nvPr/>
            </p:nvSpPr>
            <p:spPr>
              <a:xfrm>
                <a:off x="6655785" y="1306230"/>
                <a:ext cx="110464" cy="320985"/>
              </a:xfrm>
              <a:custGeom>
                <a:avLst/>
                <a:gdLst>
                  <a:gd name="connsiteX0" fmla="*/ 110464 w 110464"/>
                  <a:gd name="connsiteY0" fmla="*/ 1017 h 320985"/>
                  <a:gd name="connsiteX1" fmla="*/ 2871 w 110464"/>
                  <a:gd name="connsiteY1" fmla="*/ 320985 h 320985"/>
                  <a:gd name="connsiteX2" fmla="*/ 0 w 110464"/>
                  <a:gd name="connsiteY2" fmla="*/ 320028 h 320985"/>
                  <a:gd name="connsiteX3" fmla="*/ 107593 w 110464"/>
                  <a:gd name="connsiteY3" fmla="*/ 0 h 320985"/>
                </a:gdLst>
                <a:ahLst/>
                <a:cxnLst>
                  <a:cxn ang="0">
                    <a:pos x="connsiteX0" y="connsiteY0"/>
                  </a:cxn>
                  <a:cxn ang="0">
                    <a:pos x="connsiteX1" y="connsiteY1"/>
                  </a:cxn>
                  <a:cxn ang="0">
                    <a:pos x="connsiteX2" y="connsiteY2"/>
                  </a:cxn>
                  <a:cxn ang="0">
                    <a:pos x="connsiteX3" y="connsiteY3"/>
                  </a:cxn>
                </a:cxnLst>
                <a:rect l="l" t="t" r="r" b="b"/>
                <a:pathLst>
                  <a:path w="110464" h="320985">
                    <a:moveTo>
                      <a:pt x="110464" y="1017"/>
                    </a:moveTo>
                    <a:lnTo>
                      <a:pt x="2871" y="320985"/>
                    </a:lnTo>
                    <a:lnTo>
                      <a:pt x="0" y="320028"/>
                    </a:lnTo>
                    <a:lnTo>
                      <a:pt x="107593" y="0"/>
                    </a:lnTo>
                    <a:close/>
                  </a:path>
                </a:pathLst>
              </a:custGeom>
              <a:grpFill/>
              <a:ln w="5978" cap="flat">
                <a:noFill/>
                <a:prstDash val="solid"/>
                <a:miter/>
              </a:ln>
            </p:spPr>
            <p:txBody>
              <a:bodyPr rtlCol="0" anchor="ctr"/>
              <a:lstStyle/>
              <a:p>
                <a:endParaRPr lang="en-GB"/>
              </a:p>
            </p:txBody>
          </p:sp>
          <p:sp>
            <p:nvSpPr>
              <p:cNvPr id="4240" name="Vrije vorm: vorm 4239">
                <a:extLst>
                  <a:ext uri="{FF2B5EF4-FFF2-40B4-BE49-F238E27FC236}">
                    <a16:creationId xmlns:a16="http://schemas.microsoft.com/office/drawing/2014/main" id="{91DC661D-CA1B-4ACE-A30B-C5E92C252245}"/>
                  </a:ext>
                </a:extLst>
              </p:cNvPr>
              <p:cNvSpPr/>
              <p:nvPr/>
            </p:nvSpPr>
            <p:spPr>
              <a:xfrm>
                <a:off x="6755540" y="1297972"/>
                <a:ext cx="18308" cy="18428"/>
              </a:xfrm>
              <a:custGeom>
                <a:avLst/>
                <a:gdLst>
                  <a:gd name="connsiteX0" fmla="*/ 482 w 18308"/>
                  <a:gd name="connsiteY0" fmla="*/ 6224 h 18428"/>
                  <a:gd name="connsiteX1" fmla="*/ 12085 w 18308"/>
                  <a:gd name="connsiteY1" fmla="*/ 482 h 18428"/>
                  <a:gd name="connsiteX2" fmla="*/ 17827 w 18308"/>
                  <a:gd name="connsiteY2" fmla="*/ 12205 h 18428"/>
                  <a:gd name="connsiteX3" fmla="*/ 6224 w 18308"/>
                  <a:gd name="connsiteY3" fmla="*/ 17946 h 18428"/>
                  <a:gd name="connsiteX4" fmla="*/ 482 w 18308"/>
                  <a:gd name="connsiteY4" fmla="*/ 622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8">
                    <a:moveTo>
                      <a:pt x="482" y="6224"/>
                    </a:moveTo>
                    <a:cubicBezTo>
                      <a:pt x="2097" y="1439"/>
                      <a:pt x="7300" y="-1132"/>
                      <a:pt x="12085" y="482"/>
                    </a:cubicBezTo>
                    <a:cubicBezTo>
                      <a:pt x="16870" y="2157"/>
                      <a:pt x="19441" y="7360"/>
                      <a:pt x="17827" y="12205"/>
                    </a:cubicBezTo>
                    <a:cubicBezTo>
                      <a:pt x="16212" y="16989"/>
                      <a:pt x="11009" y="19561"/>
                      <a:pt x="6224" y="17946"/>
                    </a:cubicBezTo>
                    <a:cubicBezTo>
                      <a:pt x="1440" y="16271"/>
                      <a:pt x="-1133" y="11008"/>
                      <a:pt x="482" y="6224"/>
                    </a:cubicBezTo>
                    <a:close/>
                  </a:path>
                </a:pathLst>
              </a:custGeom>
              <a:grpFill/>
              <a:ln w="5978" cap="flat">
                <a:noFill/>
                <a:prstDash val="solid"/>
                <a:miter/>
              </a:ln>
            </p:spPr>
            <p:txBody>
              <a:bodyPr rtlCol="0" anchor="ctr"/>
              <a:lstStyle/>
              <a:p>
                <a:endParaRPr lang="en-GB"/>
              </a:p>
            </p:txBody>
          </p:sp>
          <p:sp>
            <p:nvSpPr>
              <p:cNvPr id="4241" name="Vrije vorm: vorm 4240">
                <a:extLst>
                  <a:ext uri="{FF2B5EF4-FFF2-40B4-BE49-F238E27FC236}">
                    <a16:creationId xmlns:a16="http://schemas.microsoft.com/office/drawing/2014/main" id="{0CD5DD0B-D9AD-4588-8B94-7D7061BDA50C}"/>
                  </a:ext>
                </a:extLst>
              </p:cNvPr>
              <p:cNvSpPr/>
              <p:nvPr/>
            </p:nvSpPr>
            <p:spPr>
              <a:xfrm>
                <a:off x="6648186" y="1617074"/>
                <a:ext cx="18308" cy="18486"/>
              </a:xfrm>
              <a:custGeom>
                <a:avLst/>
                <a:gdLst>
                  <a:gd name="connsiteX0" fmla="*/ 482 w 18308"/>
                  <a:gd name="connsiteY0" fmla="*/ 6253 h 18486"/>
                  <a:gd name="connsiteX1" fmla="*/ 6224 w 18308"/>
                  <a:gd name="connsiteY1" fmla="*/ 17975 h 18486"/>
                  <a:gd name="connsiteX2" fmla="*/ 17826 w 18308"/>
                  <a:gd name="connsiteY2" fmla="*/ 12234 h 18486"/>
                  <a:gd name="connsiteX3" fmla="*/ 12085 w 18308"/>
                  <a:gd name="connsiteY3" fmla="*/ 512 h 18486"/>
                  <a:gd name="connsiteX4" fmla="*/ 482 w 18308"/>
                  <a:gd name="connsiteY4" fmla="*/ 6253 h 18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86">
                    <a:moveTo>
                      <a:pt x="482" y="6253"/>
                    </a:moveTo>
                    <a:cubicBezTo>
                      <a:pt x="-1132" y="11038"/>
                      <a:pt x="1439" y="16301"/>
                      <a:pt x="6224" y="17975"/>
                    </a:cubicBezTo>
                    <a:cubicBezTo>
                      <a:pt x="11008" y="19650"/>
                      <a:pt x="16212" y="17078"/>
                      <a:pt x="17826" y="12234"/>
                    </a:cubicBezTo>
                    <a:cubicBezTo>
                      <a:pt x="19441" y="7449"/>
                      <a:pt x="16869" y="2186"/>
                      <a:pt x="12085" y="512"/>
                    </a:cubicBezTo>
                    <a:cubicBezTo>
                      <a:pt x="7300" y="-1163"/>
                      <a:pt x="2097" y="1409"/>
                      <a:pt x="482" y="6253"/>
                    </a:cubicBezTo>
                    <a:close/>
                  </a:path>
                </a:pathLst>
              </a:custGeom>
              <a:grpFill/>
              <a:ln w="5978" cap="flat">
                <a:noFill/>
                <a:prstDash val="solid"/>
                <a:miter/>
              </a:ln>
            </p:spPr>
            <p:txBody>
              <a:bodyPr rtlCol="0" anchor="ctr"/>
              <a:lstStyle/>
              <a:p>
                <a:endParaRPr lang="en-GB"/>
              </a:p>
            </p:txBody>
          </p:sp>
        </p:grpSp>
        <p:grpSp>
          <p:nvGrpSpPr>
            <p:cNvPr id="382" name="Graphic 3">
              <a:extLst>
                <a:ext uri="{FF2B5EF4-FFF2-40B4-BE49-F238E27FC236}">
                  <a16:creationId xmlns:a16="http://schemas.microsoft.com/office/drawing/2014/main" id="{233FB839-2DAC-4227-9CC6-AD0A5828AAAA}"/>
                </a:ext>
              </a:extLst>
            </p:cNvPr>
            <p:cNvGrpSpPr/>
            <p:nvPr/>
          </p:nvGrpSpPr>
          <p:grpSpPr>
            <a:xfrm>
              <a:off x="6732557" y="1573069"/>
              <a:ext cx="65163" cy="135624"/>
              <a:chOff x="6732557" y="1573069"/>
              <a:chExt cx="65163" cy="135624"/>
            </a:xfrm>
            <a:grpFill/>
          </p:grpSpPr>
          <p:sp>
            <p:nvSpPr>
              <p:cNvPr id="4236" name="Vrije vorm: vorm 4235">
                <a:extLst>
                  <a:ext uri="{FF2B5EF4-FFF2-40B4-BE49-F238E27FC236}">
                    <a16:creationId xmlns:a16="http://schemas.microsoft.com/office/drawing/2014/main" id="{C82CAC97-F7CC-4A72-8A07-271C35BEEBE9}"/>
                  </a:ext>
                </a:extLst>
              </p:cNvPr>
              <p:cNvSpPr/>
              <p:nvPr/>
            </p:nvSpPr>
            <p:spPr>
              <a:xfrm>
                <a:off x="6740114" y="1581343"/>
                <a:ext cx="49998" cy="119135"/>
              </a:xfrm>
              <a:custGeom>
                <a:avLst/>
                <a:gdLst>
                  <a:gd name="connsiteX0" fmla="*/ 49999 w 49998"/>
                  <a:gd name="connsiteY0" fmla="*/ 1136 h 119135"/>
                  <a:gd name="connsiteX1" fmla="*/ 2811 w 49998"/>
                  <a:gd name="connsiteY1" fmla="*/ 119136 h 119135"/>
                  <a:gd name="connsiteX2" fmla="*/ 0 w 49998"/>
                  <a:gd name="connsiteY2" fmla="*/ 117940 h 119135"/>
                  <a:gd name="connsiteX3" fmla="*/ 47188 w 49998"/>
                  <a:gd name="connsiteY3" fmla="*/ 0 h 119135"/>
                </a:gdLst>
                <a:ahLst/>
                <a:cxnLst>
                  <a:cxn ang="0">
                    <a:pos x="connsiteX0" y="connsiteY0"/>
                  </a:cxn>
                  <a:cxn ang="0">
                    <a:pos x="connsiteX1" y="connsiteY1"/>
                  </a:cxn>
                  <a:cxn ang="0">
                    <a:pos x="connsiteX2" y="connsiteY2"/>
                  </a:cxn>
                  <a:cxn ang="0">
                    <a:pos x="connsiteX3" y="connsiteY3"/>
                  </a:cxn>
                </a:cxnLst>
                <a:rect l="l" t="t" r="r" b="b"/>
                <a:pathLst>
                  <a:path w="49998" h="119135">
                    <a:moveTo>
                      <a:pt x="49999" y="1136"/>
                    </a:moveTo>
                    <a:lnTo>
                      <a:pt x="2811" y="119136"/>
                    </a:lnTo>
                    <a:lnTo>
                      <a:pt x="0" y="117940"/>
                    </a:lnTo>
                    <a:lnTo>
                      <a:pt x="47188" y="0"/>
                    </a:lnTo>
                    <a:close/>
                  </a:path>
                </a:pathLst>
              </a:custGeom>
              <a:grpFill/>
              <a:ln w="5978" cap="flat">
                <a:noFill/>
                <a:prstDash val="solid"/>
                <a:miter/>
              </a:ln>
            </p:spPr>
            <p:txBody>
              <a:bodyPr rtlCol="0" anchor="ctr"/>
              <a:lstStyle/>
              <a:p>
                <a:endParaRPr lang="en-GB"/>
              </a:p>
            </p:txBody>
          </p:sp>
          <p:sp>
            <p:nvSpPr>
              <p:cNvPr id="4237" name="Vrije vorm: vorm 4236">
                <a:extLst>
                  <a:ext uri="{FF2B5EF4-FFF2-40B4-BE49-F238E27FC236}">
                    <a16:creationId xmlns:a16="http://schemas.microsoft.com/office/drawing/2014/main" id="{78D2FF50-F8D9-41AF-8268-CDC9D35FB64D}"/>
                  </a:ext>
                </a:extLst>
              </p:cNvPr>
              <p:cNvSpPr/>
              <p:nvPr/>
            </p:nvSpPr>
            <p:spPr>
              <a:xfrm>
                <a:off x="6732557" y="1690231"/>
                <a:ext cx="18309" cy="18461"/>
              </a:xfrm>
              <a:custGeom>
                <a:avLst/>
                <a:gdLst>
                  <a:gd name="connsiteX0" fmla="*/ 17664 w 18309"/>
                  <a:gd name="connsiteY0" fmla="*/ 12700 h 18461"/>
                  <a:gd name="connsiteX1" fmla="*/ 5762 w 18309"/>
                  <a:gd name="connsiteY1" fmla="*/ 17783 h 18461"/>
                  <a:gd name="connsiteX2" fmla="*/ 679 w 18309"/>
                  <a:gd name="connsiteY2" fmla="*/ 5762 h 18461"/>
                  <a:gd name="connsiteX3" fmla="*/ 12580 w 18309"/>
                  <a:gd name="connsiteY3" fmla="*/ 679 h 18461"/>
                  <a:gd name="connsiteX4" fmla="*/ 17664 w 18309"/>
                  <a:gd name="connsiteY4" fmla="*/ 1270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17664" y="12700"/>
                    </a:moveTo>
                    <a:cubicBezTo>
                      <a:pt x="15750" y="17425"/>
                      <a:pt x="10427" y="19697"/>
                      <a:pt x="5762" y="17783"/>
                    </a:cubicBezTo>
                    <a:cubicBezTo>
                      <a:pt x="1037" y="15870"/>
                      <a:pt x="-1235" y="10487"/>
                      <a:pt x="679" y="5762"/>
                    </a:cubicBezTo>
                    <a:cubicBezTo>
                      <a:pt x="2592" y="1037"/>
                      <a:pt x="7915" y="-1235"/>
                      <a:pt x="12580" y="679"/>
                    </a:cubicBezTo>
                    <a:cubicBezTo>
                      <a:pt x="17245" y="2592"/>
                      <a:pt x="19518" y="7975"/>
                      <a:pt x="17664" y="12700"/>
                    </a:cubicBezTo>
                    <a:close/>
                  </a:path>
                </a:pathLst>
              </a:custGeom>
              <a:grpFill/>
              <a:ln w="5978" cap="flat">
                <a:noFill/>
                <a:prstDash val="solid"/>
                <a:miter/>
              </a:ln>
            </p:spPr>
            <p:txBody>
              <a:bodyPr rtlCol="0" anchor="ctr"/>
              <a:lstStyle/>
              <a:p>
                <a:endParaRPr lang="en-GB"/>
              </a:p>
            </p:txBody>
          </p:sp>
          <p:sp>
            <p:nvSpPr>
              <p:cNvPr id="4238" name="Vrije vorm: vorm 4237">
                <a:extLst>
                  <a:ext uri="{FF2B5EF4-FFF2-40B4-BE49-F238E27FC236}">
                    <a16:creationId xmlns:a16="http://schemas.microsoft.com/office/drawing/2014/main" id="{553ED0CC-A4B0-48DD-8AE3-02AEC31F0A2C}"/>
                  </a:ext>
                </a:extLst>
              </p:cNvPr>
              <p:cNvSpPr/>
              <p:nvPr/>
            </p:nvSpPr>
            <p:spPr>
              <a:xfrm>
                <a:off x="6779394" y="1573069"/>
                <a:ext cx="18326" cy="18461"/>
              </a:xfrm>
              <a:custGeom>
                <a:avLst/>
                <a:gdLst>
                  <a:gd name="connsiteX0" fmla="*/ 17656 w 18326"/>
                  <a:gd name="connsiteY0" fmla="*/ 12700 h 18461"/>
                  <a:gd name="connsiteX1" fmla="*/ 12572 w 18326"/>
                  <a:gd name="connsiteY1" fmla="*/ 679 h 18461"/>
                  <a:gd name="connsiteX2" fmla="*/ 671 w 18326"/>
                  <a:gd name="connsiteY2" fmla="*/ 5762 h 18461"/>
                  <a:gd name="connsiteX3" fmla="*/ 5754 w 18326"/>
                  <a:gd name="connsiteY3" fmla="*/ 17783 h 18461"/>
                  <a:gd name="connsiteX4" fmla="*/ 17656 w 18326"/>
                  <a:gd name="connsiteY4" fmla="*/ 1270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17656" y="12700"/>
                    </a:moveTo>
                    <a:cubicBezTo>
                      <a:pt x="19570" y="7975"/>
                      <a:pt x="17237" y="2592"/>
                      <a:pt x="12572" y="679"/>
                    </a:cubicBezTo>
                    <a:cubicBezTo>
                      <a:pt x="7848" y="-1235"/>
                      <a:pt x="2525" y="1037"/>
                      <a:pt x="671" y="5762"/>
                    </a:cubicBezTo>
                    <a:cubicBezTo>
                      <a:pt x="-1243" y="10487"/>
                      <a:pt x="1089" y="15870"/>
                      <a:pt x="5754" y="17783"/>
                    </a:cubicBezTo>
                    <a:cubicBezTo>
                      <a:pt x="10419" y="19697"/>
                      <a:pt x="15742" y="17424"/>
                      <a:pt x="17656" y="12700"/>
                    </a:cubicBezTo>
                    <a:close/>
                  </a:path>
                </a:pathLst>
              </a:custGeom>
              <a:grpFill/>
              <a:ln w="5978" cap="flat">
                <a:noFill/>
                <a:prstDash val="solid"/>
                <a:miter/>
              </a:ln>
            </p:spPr>
            <p:txBody>
              <a:bodyPr rtlCol="0" anchor="ctr"/>
              <a:lstStyle/>
              <a:p>
                <a:endParaRPr lang="en-GB"/>
              </a:p>
            </p:txBody>
          </p:sp>
        </p:grpSp>
        <p:grpSp>
          <p:nvGrpSpPr>
            <p:cNvPr id="383" name="Graphic 3">
              <a:extLst>
                <a:ext uri="{FF2B5EF4-FFF2-40B4-BE49-F238E27FC236}">
                  <a16:creationId xmlns:a16="http://schemas.microsoft.com/office/drawing/2014/main" id="{858A1CE3-FF03-4A0D-A476-B62384361C28}"/>
                </a:ext>
              </a:extLst>
            </p:cNvPr>
            <p:cNvGrpSpPr/>
            <p:nvPr/>
          </p:nvGrpSpPr>
          <p:grpSpPr>
            <a:xfrm>
              <a:off x="6760355" y="1695743"/>
              <a:ext cx="101979" cy="197828"/>
              <a:chOff x="6760355" y="1695743"/>
              <a:chExt cx="101979" cy="197828"/>
            </a:xfrm>
            <a:grpFill/>
          </p:grpSpPr>
          <p:sp>
            <p:nvSpPr>
              <p:cNvPr id="4233" name="Vrije vorm: vorm 4232">
                <a:extLst>
                  <a:ext uri="{FF2B5EF4-FFF2-40B4-BE49-F238E27FC236}">
                    <a16:creationId xmlns:a16="http://schemas.microsoft.com/office/drawing/2014/main" id="{00422A54-010F-44E0-9904-C8C8482AE4C1}"/>
                  </a:ext>
                </a:extLst>
              </p:cNvPr>
              <p:cNvSpPr/>
              <p:nvPr/>
            </p:nvSpPr>
            <p:spPr>
              <a:xfrm>
                <a:off x="6767984" y="1703888"/>
                <a:ext cx="86720" cy="181514"/>
              </a:xfrm>
              <a:custGeom>
                <a:avLst/>
                <a:gdLst>
                  <a:gd name="connsiteX0" fmla="*/ 86721 w 86720"/>
                  <a:gd name="connsiteY0" fmla="*/ 1316 h 181514"/>
                  <a:gd name="connsiteX1" fmla="*/ 2751 w 86720"/>
                  <a:gd name="connsiteY1" fmla="*/ 181515 h 181514"/>
                  <a:gd name="connsiteX2" fmla="*/ 0 w 86720"/>
                  <a:gd name="connsiteY2" fmla="*/ 180199 h 181514"/>
                  <a:gd name="connsiteX3" fmla="*/ 83969 w 86720"/>
                  <a:gd name="connsiteY3" fmla="*/ 0 h 181514"/>
                </a:gdLst>
                <a:ahLst/>
                <a:cxnLst>
                  <a:cxn ang="0">
                    <a:pos x="connsiteX0" y="connsiteY0"/>
                  </a:cxn>
                  <a:cxn ang="0">
                    <a:pos x="connsiteX1" y="connsiteY1"/>
                  </a:cxn>
                  <a:cxn ang="0">
                    <a:pos x="connsiteX2" y="connsiteY2"/>
                  </a:cxn>
                  <a:cxn ang="0">
                    <a:pos x="connsiteX3" y="connsiteY3"/>
                  </a:cxn>
                </a:cxnLst>
                <a:rect l="l" t="t" r="r" b="b"/>
                <a:pathLst>
                  <a:path w="86720" h="181514">
                    <a:moveTo>
                      <a:pt x="86721" y="1316"/>
                    </a:moveTo>
                    <a:lnTo>
                      <a:pt x="2751" y="181515"/>
                    </a:lnTo>
                    <a:lnTo>
                      <a:pt x="0" y="180199"/>
                    </a:lnTo>
                    <a:lnTo>
                      <a:pt x="83969" y="0"/>
                    </a:lnTo>
                    <a:close/>
                  </a:path>
                </a:pathLst>
              </a:custGeom>
              <a:grpFill/>
              <a:ln w="5978" cap="flat">
                <a:noFill/>
                <a:prstDash val="solid"/>
                <a:miter/>
              </a:ln>
            </p:spPr>
            <p:txBody>
              <a:bodyPr rtlCol="0" anchor="ctr"/>
              <a:lstStyle/>
              <a:p>
                <a:endParaRPr lang="en-GB"/>
              </a:p>
            </p:txBody>
          </p:sp>
          <p:sp>
            <p:nvSpPr>
              <p:cNvPr id="4234" name="Vrije vorm: vorm 4233">
                <a:extLst>
                  <a:ext uri="{FF2B5EF4-FFF2-40B4-BE49-F238E27FC236}">
                    <a16:creationId xmlns:a16="http://schemas.microsoft.com/office/drawing/2014/main" id="{8B8D5519-19F9-40AD-A64C-3F2003FF662C}"/>
                  </a:ext>
                </a:extLst>
              </p:cNvPr>
              <p:cNvSpPr/>
              <p:nvPr/>
            </p:nvSpPr>
            <p:spPr>
              <a:xfrm>
                <a:off x="6843975" y="1695743"/>
                <a:ext cx="18358" cy="18443"/>
              </a:xfrm>
              <a:custGeom>
                <a:avLst/>
                <a:gdLst>
                  <a:gd name="connsiteX0" fmla="*/ 861 w 18358"/>
                  <a:gd name="connsiteY0" fmla="*/ 5274 h 18443"/>
                  <a:gd name="connsiteX1" fmla="*/ 13062 w 18358"/>
                  <a:gd name="connsiteY1" fmla="*/ 908 h 18443"/>
                  <a:gd name="connsiteX2" fmla="*/ 17488 w 18358"/>
                  <a:gd name="connsiteY2" fmla="*/ 13169 h 18443"/>
                  <a:gd name="connsiteX3" fmla="*/ 5287 w 18358"/>
                  <a:gd name="connsiteY3" fmla="*/ 17535 h 18443"/>
                  <a:gd name="connsiteX4" fmla="*/ 861 w 18358"/>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3">
                    <a:moveTo>
                      <a:pt x="861" y="5274"/>
                    </a:moveTo>
                    <a:cubicBezTo>
                      <a:pt x="3014" y="669"/>
                      <a:pt x="8457" y="-1305"/>
                      <a:pt x="13062" y="908"/>
                    </a:cubicBezTo>
                    <a:cubicBezTo>
                      <a:pt x="17667" y="3061"/>
                      <a:pt x="19641" y="8564"/>
                      <a:pt x="17488" y="13169"/>
                    </a:cubicBezTo>
                    <a:cubicBezTo>
                      <a:pt x="15334" y="17774"/>
                      <a:pt x="9892" y="19748"/>
                      <a:pt x="5287" y="17535"/>
                    </a:cubicBezTo>
                    <a:cubicBezTo>
                      <a:pt x="742" y="15382"/>
                      <a:pt x="-1292" y="9879"/>
                      <a:pt x="861" y="5274"/>
                    </a:cubicBezTo>
                    <a:close/>
                  </a:path>
                </a:pathLst>
              </a:custGeom>
              <a:grpFill/>
              <a:ln w="5978" cap="flat">
                <a:noFill/>
                <a:prstDash val="solid"/>
                <a:miter/>
              </a:ln>
            </p:spPr>
            <p:txBody>
              <a:bodyPr rtlCol="0" anchor="ctr"/>
              <a:lstStyle/>
              <a:p>
                <a:endParaRPr lang="en-GB"/>
              </a:p>
            </p:txBody>
          </p:sp>
          <p:sp>
            <p:nvSpPr>
              <p:cNvPr id="4235" name="Vrije vorm: vorm 4234">
                <a:extLst>
                  <a:ext uri="{FF2B5EF4-FFF2-40B4-BE49-F238E27FC236}">
                    <a16:creationId xmlns:a16="http://schemas.microsoft.com/office/drawing/2014/main" id="{974B3061-FD77-482F-82E4-A4BB0BE44004}"/>
                  </a:ext>
                </a:extLst>
              </p:cNvPr>
              <p:cNvSpPr/>
              <p:nvPr/>
            </p:nvSpPr>
            <p:spPr>
              <a:xfrm>
                <a:off x="6760355" y="1875165"/>
                <a:ext cx="18368" cy="18407"/>
              </a:xfrm>
              <a:custGeom>
                <a:avLst/>
                <a:gdLst>
                  <a:gd name="connsiteX0" fmla="*/ 871 w 18368"/>
                  <a:gd name="connsiteY0" fmla="*/ 5274 h 18407"/>
                  <a:gd name="connsiteX1" fmla="*/ 5297 w 18368"/>
                  <a:gd name="connsiteY1" fmla="*/ 17535 h 18407"/>
                  <a:gd name="connsiteX2" fmla="*/ 17498 w 18368"/>
                  <a:gd name="connsiteY2" fmla="*/ 13169 h 18407"/>
                  <a:gd name="connsiteX3" fmla="*/ 13072 w 18368"/>
                  <a:gd name="connsiteY3" fmla="*/ 908 h 18407"/>
                  <a:gd name="connsiteX4" fmla="*/ 871 w 18368"/>
                  <a:gd name="connsiteY4" fmla="*/ 527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7">
                    <a:moveTo>
                      <a:pt x="871" y="5274"/>
                    </a:moveTo>
                    <a:cubicBezTo>
                      <a:pt x="-1282" y="9879"/>
                      <a:pt x="692" y="15382"/>
                      <a:pt x="5297" y="17535"/>
                    </a:cubicBezTo>
                    <a:cubicBezTo>
                      <a:pt x="9902" y="19688"/>
                      <a:pt x="15344" y="17714"/>
                      <a:pt x="17498" y="13169"/>
                    </a:cubicBezTo>
                    <a:cubicBezTo>
                      <a:pt x="19651" y="8564"/>
                      <a:pt x="17677" y="3061"/>
                      <a:pt x="13072" y="908"/>
                    </a:cubicBezTo>
                    <a:cubicBezTo>
                      <a:pt x="8467" y="-1305"/>
                      <a:pt x="3024" y="669"/>
                      <a:pt x="871" y="5274"/>
                    </a:cubicBezTo>
                    <a:close/>
                  </a:path>
                </a:pathLst>
              </a:custGeom>
              <a:grpFill/>
              <a:ln w="5978" cap="flat">
                <a:noFill/>
                <a:prstDash val="solid"/>
                <a:miter/>
              </a:ln>
            </p:spPr>
            <p:txBody>
              <a:bodyPr rtlCol="0" anchor="ctr"/>
              <a:lstStyle/>
              <a:p>
                <a:endParaRPr lang="en-GB"/>
              </a:p>
            </p:txBody>
          </p:sp>
        </p:grpSp>
        <p:grpSp>
          <p:nvGrpSpPr>
            <p:cNvPr id="384" name="Graphic 3">
              <a:extLst>
                <a:ext uri="{FF2B5EF4-FFF2-40B4-BE49-F238E27FC236}">
                  <a16:creationId xmlns:a16="http://schemas.microsoft.com/office/drawing/2014/main" id="{E6C28F8D-5774-4BC5-B345-8E46D36E44C0}"/>
                </a:ext>
              </a:extLst>
            </p:cNvPr>
            <p:cNvGrpSpPr/>
            <p:nvPr/>
          </p:nvGrpSpPr>
          <p:grpSpPr>
            <a:xfrm>
              <a:off x="6732975" y="1631007"/>
              <a:ext cx="158412" cy="249406"/>
              <a:chOff x="6732975" y="1631007"/>
              <a:chExt cx="158412" cy="249406"/>
            </a:xfrm>
            <a:grpFill/>
          </p:grpSpPr>
          <p:sp>
            <p:nvSpPr>
              <p:cNvPr id="4230" name="Vrije vorm: vorm 4229">
                <a:extLst>
                  <a:ext uri="{FF2B5EF4-FFF2-40B4-BE49-F238E27FC236}">
                    <a16:creationId xmlns:a16="http://schemas.microsoft.com/office/drawing/2014/main" id="{A7B70436-13B4-425F-9495-B8720AF3F0BA}"/>
                  </a:ext>
                </a:extLst>
              </p:cNvPr>
              <p:cNvSpPr/>
              <p:nvPr/>
            </p:nvSpPr>
            <p:spPr>
              <a:xfrm>
                <a:off x="6740652" y="1638997"/>
                <a:ext cx="143119" cy="233427"/>
              </a:xfrm>
              <a:custGeom>
                <a:avLst/>
                <a:gdLst>
                  <a:gd name="connsiteX0" fmla="*/ 143119 w 143119"/>
                  <a:gd name="connsiteY0" fmla="*/ 1615 h 233427"/>
                  <a:gd name="connsiteX1" fmla="*/ 2572 w 143119"/>
                  <a:gd name="connsiteY1" fmla="*/ 233428 h 233427"/>
                  <a:gd name="connsiteX2" fmla="*/ 0 w 143119"/>
                  <a:gd name="connsiteY2" fmla="*/ 231813 h 233427"/>
                  <a:gd name="connsiteX3" fmla="*/ 140487 w 143119"/>
                  <a:gd name="connsiteY3" fmla="*/ 0 h 233427"/>
                </a:gdLst>
                <a:ahLst/>
                <a:cxnLst>
                  <a:cxn ang="0">
                    <a:pos x="connsiteX0" y="connsiteY0"/>
                  </a:cxn>
                  <a:cxn ang="0">
                    <a:pos x="connsiteX1" y="connsiteY1"/>
                  </a:cxn>
                  <a:cxn ang="0">
                    <a:pos x="connsiteX2" y="connsiteY2"/>
                  </a:cxn>
                  <a:cxn ang="0">
                    <a:pos x="connsiteX3" y="connsiteY3"/>
                  </a:cxn>
                </a:cxnLst>
                <a:rect l="l" t="t" r="r" b="b"/>
                <a:pathLst>
                  <a:path w="143119" h="233427">
                    <a:moveTo>
                      <a:pt x="143119" y="1615"/>
                    </a:moveTo>
                    <a:lnTo>
                      <a:pt x="2572" y="233428"/>
                    </a:lnTo>
                    <a:lnTo>
                      <a:pt x="0" y="231813"/>
                    </a:lnTo>
                    <a:lnTo>
                      <a:pt x="140487" y="0"/>
                    </a:lnTo>
                    <a:close/>
                  </a:path>
                </a:pathLst>
              </a:custGeom>
              <a:grpFill/>
              <a:ln w="5978" cap="flat">
                <a:noFill/>
                <a:prstDash val="solid"/>
                <a:miter/>
              </a:ln>
            </p:spPr>
            <p:txBody>
              <a:bodyPr rtlCol="0" anchor="ctr"/>
              <a:lstStyle/>
              <a:p>
                <a:endParaRPr lang="en-GB"/>
              </a:p>
            </p:txBody>
          </p:sp>
          <p:sp>
            <p:nvSpPr>
              <p:cNvPr id="4231" name="Vrije vorm: vorm 4230">
                <a:extLst>
                  <a:ext uri="{FF2B5EF4-FFF2-40B4-BE49-F238E27FC236}">
                    <a16:creationId xmlns:a16="http://schemas.microsoft.com/office/drawing/2014/main" id="{87544BD9-45BA-4F48-B20D-667FCFA85757}"/>
                  </a:ext>
                </a:extLst>
              </p:cNvPr>
              <p:cNvSpPr/>
              <p:nvPr/>
            </p:nvSpPr>
            <p:spPr>
              <a:xfrm>
                <a:off x="6732975" y="1861983"/>
                <a:ext cx="18343" cy="18431"/>
              </a:xfrm>
              <a:custGeom>
                <a:avLst/>
                <a:gdLst>
                  <a:gd name="connsiteX0" fmla="*/ 17006 w 18343"/>
                  <a:gd name="connsiteY0" fmla="*/ 14030 h 18431"/>
                  <a:gd name="connsiteX1" fmla="*/ 4387 w 18343"/>
                  <a:gd name="connsiteY1" fmla="*/ 17080 h 18431"/>
                  <a:gd name="connsiteX2" fmla="*/ 1337 w 18343"/>
                  <a:gd name="connsiteY2" fmla="*/ 4401 h 18431"/>
                  <a:gd name="connsiteX3" fmla="*/ 13956 w 18343"/>
                  <a:gd name="connsiteY3" fmla="*/ 1351 h 18431"/>
                  <a:gd name="connsiteX4" fmla="*/ 17006 w 18343"/>
                  <a:gd name="connsiteY4" fmla="*/ 1403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31">
                    <a:moveTo>
                      <a:pt x="17006" y="14030"/>
                    </a:moveTo>
                    <a:cubicBezTo>
                      <a:pt x="14375" y="18396"/>
                      <a:pt x="8753" y="19712"/>
                      <a:pt x="4387" y="17080"/>
                    </a:cubicBezTo>
                    <a:cubicBezTo>
                      <a:pt x="81" y="14449"/>
                      <a:pt x="-1295" y="8767"/>
                      <a:pt x="1337" y="4401"/>
                    </a:cubicBezTo>
                    <a:cubicBezTo>
                      <a:pt x="3968" y="35"/>
                      <a:pt x="9590" y="-1280"/>
                      <a:pt x="13956" y="1351"/>
                    </a:cubicBezTo>
                    <a:cubicBezTo>
                      <a:pt x="18263" y="4042"/>
                      <a:pt x="19638" y="9724"/>
                      <a:pt x="17006" y="14030"/>
                    </a:cubicBezTo>
                    <a:close/>
                  </a:path>
                </a:pathLst>
              </a:custGeom>
              <a:grpFill/>
              <a:ln w="5978" cap="flat">
                <a:noFill/>
                <a:prstDash val="solid"/>
                <a:miter/>
              </a:ln>
            </p:spPr>
            <p:txBody>
              <a:bodyPr rtlCol="0" anchor="ctr"/>
              <a:lstStyle/>
              <a:p>
                <a:endParaRPr lang="en-GB"/>
              </a:p>
            </p:txBody>
          </p:sp>
          <p:sp>
            <p:nvSpPr>
              <p:cNvPr id="4232" name="Vrije vorm: vorm 4231">
                <a:extLst>
                  <a:ext uri="{FF2B5EF4-FFF2-40B4-BE49-F238E27FC236}">
                    <a16:creationId xmlns:a16="http://schemas.microsoft.com/office/drawing/2014/main" id="{722CB442-2203-4CE3-9D9E-14B51045E2B0}"/>
                  </a:ext>
                </a:extLst>
              </p:cNvPr>
              <p:cNvSpPr/>
              <p:nvPr/>
            </p:nvSpPr>
            <p:spPr>
              <a:xfrm>
                <a:off x="6873044" y="1631007"/>
                <a:ext cx="18343" cy="18417"/>
              </a:xfrm>
              <a:custGeom>
                <a:avLst/>
                <a:gdLst>
                  <a:gd name="connsiteX0" fmla="*/ 17006 w 18343"/>
                  <a:gd name="connsiteY0" fmla="*/ 14030 h 18417"/>
                  <a:gd name="connsiteX1" fmla="*/ 13956 w 18343"/>
                  <a:gd name="connsiteY1" fmla="*/ 1351 h 18417"/>
                  <a:gd name="connsiteX2" fmla="*/ 1337 w 18343"/>
                  <a:gd name="connsiteY2" fmla="*/ 4401 h 18417"/>
                  <a:gd name="connsiteX3" fmla="*/ 4387 w 18343"/>
                  <a:gd name="connsiteY3" fmla="*/ 17080 h 18417"/>
                  <a:gd name="connsiteX4" fmla="*/ 17006 w 18343"/>
                  <a:gd name="connsiteY4" fmla="*/ 14030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7">
                    <a:moveTo>
                      <a:pt x="17006" y="14030"/>
                    </a:moveTo>
                    <a:cubicBezTo>
                      <a:pt x="19638" y="9664"/>
                      <a:pt x="18263" y="4042"/>
                      <a:pt x="13956" y="1351"/>
                    </a:cubicBezTo>
                    <a:cubicBezTo>
                      <a:pt x="9650" y="-1280"/>
                      <a:pt x="3969" y="35"/>
                      <a:pt x="1337" y="4401"/>
                    </a:cubicBezTo>
                    <a:cubicBezTo>
                      <a:pt x="-1294" y="8767"/>
                      <a:pt x="81" y="14389"/>
                      <a:pt x="4387" y="17080"/>
                    </a:cubicBezTo>
                    <a:cubicBezTo>
                      <a:pt x="8753" y="19712"/>
                      <a:pt x="14375" y="18336"/>
                      <a:pt x="17006" y="14030"/>
                    </a:cubicBezTo>
                    <a:close/>
                  </a:path>
                </a:pathLst>
              </a:custGeom>
              <a:grpFill/>
              <a:ln w="5978" cap="flat">
                <a:noFill/>
                <a:prstDash val="solid"/>
                <a:miter/>
              </a:ln>
            </p:spPr>
            <p:txBody>
              <a:bodyPr rtlCol="0" anchor="ctr"/>
              <a:lstStyle/>
              <a:p>
                <a:endParaRPr lang="en-GB"/>
              </a:p>
            </p:txBody>
          </p:sp>
        </p:grpSp>
        <p:grpSp>
          <p:nvGrpSpPr>
            <p:cNvPr id="385" name="Graphic 3">
              <a:extLst>
                <a:ext uri="{FF2B5EF4-FFF2-40B4-BE49-F238E27FC236}">
                  <a16:creationId xmlns:a16="http://schemas.microsoft.com/office/drawing/2014/main" id="{91437477-51E5-401D-85A1-F426FDA5FBA0}"/>
                </a:ext>
              </a:extLst>
            </p:cNvPr>
            <p:cNvGrpSpPr/>
            <p:nvPr/>
          </p:nvGrpSpPr>
          <p:grpSpPr>
            <a:xfrm>
              <a:off x="6597519" y="1283216"/>
              <a:ext cx="225022" cy="505253"/>
              <a:chOff x="6597519" y="1283216"/>
              <a:chExt cx="225022" cy="505253"/>
            </a:xfrm>
            <a:grpFill/>
          </p:grpSpPr>
          <p:sp>
            <p:nvSpPr>
              <p:cNvPr id="4227" name="Vrije vorm: vorm 4226">
                <a:extLst>
                  <a:ext uri="{FF2B5EF4-FFF2-40B4-BE49-F238E27FC236}">
                    <a16:creationId xmlns:a16="http://schemas.microsoft.com/office/drawing/2014/main" id="{31676E33-7834-4D4B-BD02-28DEAB158581}"/>
                  </a:ext>
                </a:extLst>
              </p:cNvPr>
              <p:cNvSpPr/>
              <p:nvPr/>
            </p:nvSpPr>
            <p:spPr>
              <a:xfrm>
                <a:off x="6605069" y="1291398"/>
                <a:ext cx="209923" cy="488864"/>
              </a:xfrm>
              <a:custGeom>
                <a:avLst/>
                <a:gdLst>
                  <a:gd name="connsiteX0" fmla="*/ 209923 w 209923"/>
                  <a:gd name="connsiteY0" fmla="*/ 1196 h 488864"/>
                  <a:gd name="connsiteX1" fmla="*/ 2811 w 209923"/>
                  <a:gd name="connsiteY1" fmla="*/ 488864 h 488864"/>
                  <a:gd name="connsiteX2" fmla="*/ 0 w 209923"/>
                  <a:gd name="connsiteY2" fmla="*/ 487668 h 488864"/>
                  <a:gd name="connsiteX3" fmla="*/ 207112 w 209923"/>
                  <a:gd name="connsiteY3" fmla="*/ 0 h 488864"/>
                </a:gdLst>
                <a:ahLst/>
                <a:cxnLst>
                  <a:cxn ang="0">
                    <a:pos x="connsiteX0" y="connsiteY0"/>
                  </a:cxn>
                  <a:cxn ang="0">
                    <a:pos x="connsiteX1" y="connsiteY1"/>
                  </a:cxn>
                  <a:cxn ang="0">
                    <a:pos x="connsiteX2" y="connsiteY2"/>
                  </a:cxn>
                  <a:cxn ang="0">
                    <a:pos x="connsiteX3" y="connsiteY3"/>
                  </a:cxn>
                </a:cxnLst>
                <a:rect l="l" t="t" r="r" b="b"/>
                <a:pathLst>
                  <a:path w="209923" h="488864">
                    <a:moveTo>
                      <a:pt x="209923" y="1196"/>
                    </a:moveTo>
                    <a:lnTo>
                      <a:pt x="2811" y="488864"/>
                    </a:lnTo>
                    <a:lnTo>
                      <a:pt x="0" y="487668"/>
                    </a:lnTo>
                    <a:lnTo>
                      <a:pt x="207112" y="0"/>
                    </a:lnTo>
                    <a:close/>
                  </a:path>
                </a:pathLst>
              </a:custGeom>
              <a:grpFill/>
              <a:ln w="5978" cap="flat">
                <a:noFill/>
                <a:prstDash val="solid"/>
                <a:miter/>
              </a:ln>
            </p:spPr>
            <p:txBody>
              <a:bodyPr rtlCol="0" anchor="ctr"/>
              <a:lstStyle/>
              <a:p>
                <a:endParaRPr lang="en-GB"/>
              </a:p>
            </p:txBody>
          </p:sp>
          <p:sp>
            <p:nvSpPr>
              <p:cNvPr id="4228" name="Vrije vorm: vorm 4227">
                <a:extLst>
                  <a:ext uri="{FF2B5EF4-FFF2-40B4-BE49-F238E27FC236}">
                    <a16:creationId xmlns:a16="http://schemas.microsoft.com/office/drawing/2014/main" id="{097DB518-9C63-4D8A-AF0D-704486AF5486}"/>
                  </a:ext>
                </a:extLst>
              </p:cNvPr>
              <p:cNvSpPr/>
              <p:nvPr/>
            </p:nvSpPr>
            <p:spPr>
              <a:xfrm>
                <a:off x="6597519" y="1770080"/>
                <a:ext cx="18329" cy="18388"/>
              </a:xfrm>
              <a:custGeom>
                <a:avLst/>
                <a:gdLst>
                  <a:gd name="connsiteX0" fmla="*/ 17597 w 18329"/>
                  <a:gd name="connsiteY0" fmla="*/ 12813 h 18388"/>
                  <a:gd name="connsiteX1" fmla="*/ 5576 w 18329"/>
                  <a:gd name="connsiteY1" fmla="*/ 17657 h 18388"/>
                  <a:gd name="connsiteX2" fmla="*/ 732 w 18329"/>
                  <a:gd name="connsiteY2" fmla="*/ 5576 h 18388"/>
                  <a:gd name="connsiteX3" fmla="*/ 12753 w 18329"/>
                  <a:gd name="connsiteY3" fmla="*/ 732 h 18388"/>
                  <a:gd name="connsiteX4" fmla="*/ 17597 w 18329"/>
                  <a:gd name="connsiteY4" fmla="*/ 12813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88">
                    <a:moveTo>
                      <a:pt x="17597" y="12813"/>
                    </a:moveTo>
                    <a:cubicBezTo>
                      <a:pt x="15624" y="17478"/>
                      <a:pt x="10241" y="19631"/>
                      <a:pt x="5576" y="17657"/>
                    </a:cubicBezTo>
                    <a:cubicBezTo>
                      <a:pt x="911" y="15624"/>
                      <a:pt x="-1242" y="10241"/>
                      <a:pt x="732" y="5576"/>
                    </a:cubicBezTo>
                    <a:cubicBezTo>
                      <a:pt x="2705" y="911"/>
                      <a:pt x="8088" y="-1242"/>
                      <a:pt x="12753" y="732"/>
                    </a:cubicBezTo>
                    <a:cubicBezTo>
                      <a:pt x="17418" y="2705"/>
                      <a:pt x="19571" y="8148"/>
                      <a:pt x="17597" y="12813"/>
                    </a:cubicBezTo>
                    <a:close/>
                  </a:path>
                </a:pathLst>
              </a:custGeom>
              <a:grpFill/>
              <a:ln w="5978" cap="flat">
                <a:noFill/>
                <a:prstDash val="solid"/>
                <a:miter/>
              </a:ln>
            </p:spPr>
            <p:txBody>
              <a:bodyPr rtlCol="0" anchor="ctr"/>
              <a:lstStyle/>
              <a:p>
                <a:endParaRPr lang="en-GB"/>
              </a:p>
            </p:txBody>
          </p:sp>
          <p:sp>
            <p:nvSpPr>
              <p:cNvPr id="4229" name="Vrije vorm: vorm 4228">
                <a:extLst>
                  <a:ext uri="{FF2B5EF4-FFF2-40B4-BE49-F238E27FC236}">
                    <a16:creationId xmlns:a16="http://schemas.microsoft.com/office/drawing/2014/main" id="{3509B2EF-C8AE-442F-908A-E42F8DF484EC}"/>
                  </a:ext>
                </a:extLst>
              </p:cNvPr>
              <p:cNvSpPr/>
              <p:nvPr/>
            </p:nvSpPr>
            <p:spPr>
              <a:xfrm>
                <a:off x="6804213" y="1283216"/>
                <a:ext cx="18329" cy="18422"/>
              </a:xfrm>
              <a:custGeom>
                <a:avLst/>
                <a:gdLst>
                  <a:gd name="connsiteX0" fmla="*/ 17597 w 18329"/>
                  <a:gd name="connsiteY0" fmla="*/ 12847 h 18422"/>
                  <a:gd name="connsiteX1" fmla="*/ 12753 w 18329"/>
                  <a:gd name="connsiteY1" fmla="*/ 766 h 18422"/>
                  <a:gd name="connsiteX2" fmla="*/ 732 w 18329"/>
                  <a:gd name="connsiteY2" fmla="*/ 5610 h 18422"/>
                  <a:gd name="connsiteX3" fmla="*/ 5576 w 18329"/>
                  <a:gd name="connsiteY3" fmla="*/ 17691 h 18422"/>
                  <a:gd name="connsiteX4" fmla="*/ 17597 w 18329"/>
                  <a:gd name="connsiteY4" fmla="*/ 12847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22">
                    <a:moveTo>
                      <a:pt x="17597" y="12847"/>
                    </a:moveTo>
                    <a:cubicBezTo>
                      <a:pt x="19571" y="8182"/>
                      <a:pt x="17418" y="2739"/>
                      <a:pt x="12753" y="766"/>
                    </a:cubicBezTo>
                    <a:cubicBezTo>
                      <a:pt x="8088" y="-1268"/>
                      <a:pt x="2705" y="885"/>
                      <a:pt x="732" y="5610"/>
                    </a:cubicBezTo>
                    <a:cubicBezTo>
                      <a:pt x="-1242" y="10275"/>
                      <a:pt x="911" y="15717"/>
                      <a:pt x="5576" y="17691"/>
                    </a:cubicBezTo>
                    <a:cubicBezTo>
                      <a:pt x="10241" y="19665"/>
                      <a:pt x="15624" y="17512"/>
                      <a:pt x="17597" y="12847"/>
                    </a:cubicBezTo>
                    <a:close/>
                  </a:path>
                </a:pathLst>
              </a:custGeom>
              <a:grpFill/>
              <a:ln w="5978" cap="flat">
                <a:noFill/>
                <a:prstDash val="solid"/>
                <a:miter/>
              </a:ln>
            </p:spPr>
            <p:txBody>
              <a:bodyPr rtlCol="0" anchor="ctr"/>
              <a:lstStyle/>
              <a:p>
                <a:endParaRPr lang="en-GB"/>
              </a:p>
            </p:txBody>
          </p:sp>
        </p:grpSp>
        <p:grpSp>
          <p:nvGrpSpPr>
            <p:cNvPr id="386" name="Graphic 3">
              <a:extLst>
                <a:ext uri="{FF2B5EF4-FFF2-40B4-BE49-F238E27FC236}">
                  <a16:creationId xmlns:a16="http://schemas.microsoft.com/office/drawing/2014/main" id="{B01202F5-08A4-490B-8450-9DCC68ED5931}"/>
                </a:ext>
              </a:extLst>
            </p:cNvPr>
            <p:cNvGrpSpPr/>
            <p:nvPr/>
          </p:nvGrpSpPr>
          <p:grpSpPr>
            <a:xfrm>
              <a:off x="7554447" y="4220263"/>
              <a:ext cx="157128" cy="93206"/>
              <a:chOff x="7554447" y="4220263"/>
              <a:chExt cx="157128" cy="93206"/>
            </a:xfrm>
            <a:grpFill/>
          </p:grpSpPr>
          <p:sp>
            <p:nvSpPr>
              <p:cNvPr id="4224" name="Vrije vorm: vorm 4223">
                <a:extLst>
                  <a:ext uri="{FF2B5EF4-FFF2-40B4-BE49-F238E27FC236}">
                    <a16:creationId xmlns:a16="http://schemas.microsoft.com/office/drawing/2014/main" id="{6C459E9A-34AA-462E-8EE8-D8A0D392E01C}"/>
                  </a:ext>
                </a:extLst>
              </p:cNvPr>
              <p:cNvSpPr/>
              <p:nvPr/>
            </p:nvSpPr>
            <p:spPr>
              <a:xfrm>
                <a:off x="7562463" y="4227872"/>
                <a:ext cx="141085" cy="77928"/>
              </a:xfrm>
              <a:custGeom>
                <a:avLst/>
                <a:gdLst>
                  <a:gd name="connsiteX0" fmla="*/ 141085 w 141085"/>
                  <a:gd name="connsiteY0" fmla="*/ 75237 h 77928"/>
                  <a:gd name="connsiteX1" fmla="*/ 139650 w 141085"/>
                  <a:gd name="connsiteY1" fmla="*/ 77929 h 77928"/>
                  <a:gd name="connsiteX2" fmla="*/ 0 w 141085"/>
                  <a:gd name="connsiteY2" fmla="*/ 2691 h 77928"/>
                  <a:gd name="connsiteX3" fmla="*/ 1435 w 141085"/>
                  <a:gd name="connsiteY3" fmla="*/ 0 h 77928"/>
                </a:gdLst>
                <a:ahLst/>
                <a:cxnLst>
                  <a:cxn ang="0">
                    <a:pos x="connsiteX0" y="connsiteY0"/>
                  </a:cxn>
                  <a:cxn ang="0">
                    <a:pos x="connsiteX1" y="connsiteY1"/>
                  </a:cxn>
                  <a:cxn ang="0">
                    <a:pos x="connsiteX2" y="connsiteY2"/>
                  </a:cxn>
                  <a:cxn ang="0">
                    <a:pos x="connsiteX3" y="connsiteY3"/>
                  </a:cxn>
                </a:cxnLst>
                <a:rect l="l" t="t" r="r" b="b"/>
                <a:pathLst>
                  <a:path w="141085" h="77928">
                    <a:moveTo>
                      <a:pt x="141085" y="75237"/>
                    </a:moveTo>
                    <a:lnTo>
                      <a:pt x="139650" y="77929"/>
                    </a:lnTo>
                    <a:lnTo>
                      <a:pt x="0" y="2691"/>
                    </a:lnTo>
                    <a:lnTo>
                      <a:pt x="1435" y="0"/>
                    </a:lnTo>
                    <a:close/>
                  </a:path>
                </a:pathLst>
              </a:custGeom>
              <a:grpFill/>
              <a:ln w="5978" cap="flat">
                <a:noFill/>
                <a:prstDash val="solid"/>
                <a:miter/>
              </a:ln>
            </p:spPr>
            <p:txBody>
              <a:bodyPr rtlCol="0" anchor="ctr"/>
              <a:lstStyle/>
              <a:p>
                <a:endParaRPr lang="en-GB"/>
              </a:p>
            </p:txBody>
          </p:sp>
          <p:sp>
            <p:nvSpPr>
              <p:cNvPr id="4225" name="Vrije vorm: vorm 4224">
                <a:extLst>
                  <a:ext uri="{FF2B5EF4-FFF2-40B4-BE49-F238E27FC236}">
                    <a16:creationId xmlns:a16="http://schemas.microsoft.com/office/drawing/2014/main" id="{4984EA9A-2ABB-4359-94DA-4F0C505BDED8}"/>
                  </a:ext>
                </a:extLst>
              </p:cNvPr>
              <p:cNvSpPr/>
              <p:nvPr/>
            </p:nvSpPr>
            <p:spPr>
              <a:xfrm>
                <a:off x="7693248" y="4295022"/>
                <a:ext cx="18327" cy="18447"/>
              </a:xfrm>
              <a:custGeom>
                <a:avLst/>
                <a:gdLst>
                  <a:gd name="connsiteX0" fmla="*/ 13470 w 18327"/>
                  <a:gd name="connsiteY0" fmla="*/ 1090 h 18447"/>
                  <a:gd name="connsiteX1" fmla="*/ 17238 w 18327"/>
                  <a:gd name="connsiteY1" fmla="*/ 13590 h 18447"/>
                  <a:gd name="connsiteX2" fmla="*/ 4857 w 18327"/>
                  <a:gd name="connsiteY2" fmla="*/ 17357 h 18447"/>
                  <a:gd name="connsiteX3" fmla="*/ 1090 w 18327"/>
                  <a:gd name="connsiteY3" fmla="*/ 4858 h 18447"/>
                  <a:gd name="connsiteX4" fmla="*/ 13470 w 18327"/>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7">
                    <a:moveTo>
                      <a:pt x="13470" y="1090"/>
                    </a:moveTo>
                    <a:cubicBezTo>
                      <a:pt x="17956" y="3482"/>
                      <a:pt x="19630" y="9104"/>
                      <a:pt x="17238" y="13590"/>
                    </a:cubicBezTo>
                    <a:cubicBezTo>
                      <a:pt x="14845" y="18075"/>
                      <a:pt x="9283" y="19749"/>
                      <a:pt x="4857" y="17357"/>
                    </a:cubicBezTo>
                    <a:cubicBezTo>
                      <a:pt x="372" y="14965"/>
                      <a:pt x="-1302" y="9343"/>
                      <a:pt x="1090" y="4858"/>
                    </a:cubicBezTo>
                    <a:cubicBezTo>
                      <a:pt x="3482" y="372"/>
                      <a:pt x="9044" y="-1302"/>
                      <a:pt x="13470" y="1090"/>
                    </a:cubicBezTo>
                    <a:close/>
                  </a:path>
                </a:pathLst>
              </a:custGeom>
              <a:grpFill/>
              <a:ln w="5978" cap="flat">
                <a:noFill/>
                <a:prstDash val="solid"/>
                <a:miter/>
              </a:ln>
            </p:spPr>
            <p:txBody>
              <a:bodyPr rtlCol="0" anchor="ctr"/>
              <a:lstStyle/>
              <a:p>
                <a:endParaRPr lang="en-GB"/>
              </a:p>
            </p:txBody>
          </p:sp>
          <p:sp>
            <p:nvSpPr>
              <p:cNvPr id="4226" name="Vrije vorm: vorm 4225">
                <a:extLst>
                  <a:ext uri="{FF2B5EF4-FFF2-40B4-BE49-F238E27FC236}">
                    <a16:creationId xmlns:a16="http://schemas.microsoft.com/office/drawing/2014/main" id="{649290FE-0678-49BC-8E32-40F13317C824}"/>
                  </a:ext>
                </a:extLst>
              </p:cNvPr>
              <p:cNvSpPr/>
              <p:nvPr/>
            </p:nvSpPr>
            <p:spPr>
              <a:xfrm>
                <a:off x="7554447" y="4220263"/>
                <a:ext cx="18315" cy="18447"/>
              </a:xfrm>
              <a:custGeom>
                <a:avLst/>
                <a:gdLst>
                  <a:gd name="connsiteX0" fmla="*/ 13459 w 18315"/>
                  <a:gd name="connsiteY0" fmla="*/ 1090 h 18447"/>
                  <a:gd name="connsiteX1" fmla="*/ 1078 w 18315"/>
                  <a:gd name="connsiteY1" fmla="*/ 4858 h 18447"/>
                  <a:gd name="connsiteX2" fmla="*/ 4846 w 18315"/>
                  <a:gd name="connsiteY2" fmla="*/ 17357 h 18447"/>
                  <a:gd name="connsiteX3" fmla="*/ 17226 w 18315"/>
                  <a:gd name="connsiteY3" fmla="*/ 13590 h 18447"/>
                  <a:gd name="connsiteX4" fmla="*/ 13459 w 18315"/>
                  <a:gd name="connsiteY4" fmla="*/ 109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47">
                    <a:moveTo>
                      <a:pt x="13459" y="1090"/>
                    </a:moveTo>
                    <a:cubicBezTo>
                      <a:pt x="8973" y="-1302"/>
                      <a:pt x="3471" y="372"/>
                      <a:pt x="1078" y="4858"/>
                    </a:cubicBezTo>
                    <a:cubicBezTo>
                      <a:pt x="-1314" y="9343"/>
                      <a:pt x="420" y="14905"/>
                      <a:pt x="4846" y="17357"/>
                    </a:cubicBezTo>
                    <a:cubicBezTo>
                      <a:pt x="9331" y="19749"/>
                      <a:pt x="14894" y="18075"/>
                      <a:pt x="17226" y="13590"/>
                    </a:cubicBezTo>
                    <a:cubicBezTo>
                      <a:pt x="19618" y="9044"/>
                      <a:pt x="17944" y="3482"/>
                      <a:pt x="13459" y="1090"/>
                    </a:cubicBezTo>
                    <a:close/>
                  </a:path>
                </a:pathLst>
              </a:custGeom>
              <a:grpFill/>
              <a:ln w="5978" cap="flat">
                <a:noFill/>
                <a:prstDash val="solid"/>
                <a:miter/>
              </a:ln>
            </p:spPr>
            <p:txBody>
              <a:bodyPr rtlCol="0" anchor="ctr"/>
              <a:lstStyle/>
              <a:p>
                <a:endParaRPr lang="en-GB"/>
              </a:p>
            </p:txBody>
          </p:sp>
        </p:grpSp>
        <p:grpSp>
          <p:nvGrpSpPr>
            <p:cNvPr id="387" name="Graphic 3">
              <a:extLst>
                <a:ext uri="{FF2B5EF4-FFF2-40B4-BE49-F238E27FC236}">
                  <a16:creationId xmlns:a16="http://schemas.microsoft.com/office/drawing/2014/main" id="{471CD41B-4ED1-455C-A8EE-323EF6F5274B}"/>
                </a:ext>
              </a:extLst>
            </p:cNvPr>
            <p:cNvGrpSpPr/>
            <p:nvPr/>
          </p:nvGrpSpPr>
          <p:grpSpPr>
            <a:xfrm>
              <a:off x="7632844" y="4300966"/>
              <a:ext cx="67763" cy="46331"/>
              <a:chOff x="7632844" y="4300966"/>
              <a:chExt cx="67763" cy="46331"/>
            </a:xfrm>
            <a:grpFill/>
          </p:grpSpPr>
          <p:sp>
            <p:nvSpPr>
              <p:cNvPr id="4221" name="Vrije vorm: vorm 4220">
                <a:extLst>
                  <a:ext uri="{FF2B5EF4-FFF2-40B4-BE49-F238E27FC236}">
                    <a16:creationId xmlns:a16="http://schemas.microsoft.com/office/drawing/2014/main" id="{721FDE28-B3AF-48AC-AD7E-7B5BC8F2D967}"/>
                  </a:ext>
                </a:extLst>
              </p:cNvPr>
              <p:cNvSpPr/>
              <p:nvPr/>
            </p:nvSpPr>
            <p:spPr>
              <a:xfrm>
                <a:off x="7640810" y="4308612"/>
                <a:ext cx="51793" cy="30980"/>
              </a:xfrm>
              <a:custGeom>
                <a:avLst/>
                <a:gdLst>
                  <a:gd name="connsiteX0" fmla="*/ 51793 w 51793"/>
                  <a:gd name="connsiteY0" fmla="*/ 28349 h 30980"/>
                  <a:gd name="connsiteX1" fmla="*/ 50298 w 51793"/>
                  <a:gd name="connsiteY1" fmla="*/ 30980 h 30980"/>
                  <a:gd name="connsiteX2" fmla="*/ 0 w 51793"/>
                  <a:gd name="connsiteY2" fmla="*/ 2691 h 30980"/>
                  <a:gd name="connsiteX3" fmla="*/ 1495 w 51793"/>
                  <a:gd name="connsiteY3" fmla="*/ 0 h 30980"/>
                </a:gdLst>
                <a:ahLst/>
                <a:cxnLst>
                  <a:cxn ang="0">
                    <a:pos x="connsiteX0" y="connsiteY0"/>
                  </a:cxn>
                  <a:cxn ang="0">
                    <a:pos x="connsiteX1" y="connsiteY1"/>
                  </a:cxn>
                  <a:cxn ang="0">
                    <a:pos x="connsiteX2" y="connsiteY2"/>
                  </a:cxn>
                  <a:cxn ang="0">
                    <a:pos x="connsiteX3" y="connsiteY3"/>
                  </a:cxn>
                </a:cxnLst>
                <a:rect l="l" t="t" r="r" b="b"/>
                <a:pathLst>
                  <a:path w="51793" h="30980">
                    <a:moveTo>
                      <a:pt x="51793" y="28349"/>
                    </a:moveTo>
                    <a:lnTo>
                      <a:pt x="50298" y="30980"/>
                    </a:lnTo>
                    <a:lnTo>
                      <a:pt x="0" y="2691"/>
                    </a:lnTo>
                    <a:lnTo>
                      <a:pt x="1495" y="0"/>
                    </a:lnTo>
                    <a:close/>
                  </a:path>
                </a:pathLst>
              </a:custGeom>
              <a:grpFill/>
              <a:ln w="5978" cap="flat">
                <a:noFill/>
                <a:prstDash val="solid"/>
                <a:miter/>
              </a:ln>
            </p:spPr>
            <p:txBody>
              <a:bodyPr rtlCol="0" anchor="ctr"/>
              <a:lstStyle/>
              <a:p>
                <a:endParaRPr lang="en-GB"/>
              </a:p>
            </p:txBody>
          </p:sp>
          <p:sp>
            <p:nvSpPr>
              <p:cNvPr id="4222" name="Vrije vorm: vorm 4221">
                <a:extLst>
                  <a:ext uri="{FF2B5EF4-FFF2-40B4-BE49-F238E27FC236}">
                    <a16:creationId xmlns:a16="http://schemas.microsoft.com/office/drawing/2014/main" id="{B53E6EE3-9BE1-4798-8DDB-3C779EA7EB31}"/>
                  </a:ext>
                </a:extLst>
              </p:cNvPr>
              <p:cNvSpPr/>
              <p:nvPr/>
            </p:nvSpPr>
            <p:spPr>
              <a:xfrm>
                <a:off x="7682247" y="4328836"/>
                <a:ext cx="18361" cy="18461"/>
              </a:xfrm>
              <a:custGeom>
                <a:avLst/>
                <a:gdLst>
                  <a:gd name="connsiteX0" fmla="*/ 13646 w 18361"/>
                  <a:gd name="connsiteY0" fmla="*/ 1187 h 18461"/>
                  <a:gd name="connsiteX1" fmla="*/ 17175 w 18361"/>
                  <a:gd name="connsiteY1" fmla="*/ 13746 h 18461"/>
                  <a:gd name="connsiteX2" fmla="*/ 4734 w 18361"/>
                  <a:gd name="connsiteY2" fmla="*/ 17275 h 18461"/>
                  <a:gd name="connsiteX3" fmla="*/ 1146 w 18361"/>
                  <a:gd name="connsiteY3" fmla="*/ 4716 h 18461"/>
                  <a:gd name="connsiteX4" fmla="*/ 13646 w 18361"/>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61">
                    <a:moveTo>
                      <a:pt x="13646" y="1187"/>
                    </a:moveTo>
                    <a:cubicBezTo>
                      <a:pt x="18071" y="3699"/>
                      <a:pt x="19686" y="9321"/>
                      <a:pt x="17175" y="13746"/>
                    </a:cubicBezTo>
                    <a:cubicBezTo>
                      <a:pt x="14722" y="18172"/>
                      <a:pt x="9160" y="19787"/>
                      <a:pt x="4734" y="17275"/>
                    </a:cubicBezTo>
                    <a:cubicBezTo>
                      <a:pt x="309" y="14763"/>
                      <a:pt x="-1306" y="9141"/>
                      <a:pt x="1146" y="4716"/>
                    </a:cubicBezTo>
                    <a:cubicBezTo>
                      <a:pt x="3658" y="290"/>
                      <a:pt x="9220" y="-1325"/>
                      <a:pt x="13646" y="1187"/>
                    </a:cubicBezTo>
                    <a:close/>
                  </a:path>
                </a:pathLst>
              </a:custGeom>
              <a:grpFill/>
              <a:ln w="5978" cap="flat">
                <a:noFill/>
                <a:prstDash val="solid"/>
                <a:miter/>
              </a:ln>
            </p:spPr>
            <p:txBody>
              <a:bodyPr rtlCol="0" anchor="ctr"/>
              <a:lstStyle/>
              <a:p>
                <a:endParaRPr lang="en-GB"/>
              </a:p>
            </p:txBody>
          </p:sp>
          <p:sp>
            <p:nvSpPr>
              <p:cNvPr id="4223" name="Vrije vorm: vorm 4222">
                <a:extLst>
                  <a:ext uri="{FF2B5EF4-FFF2-40B4-BE49-F238E27FC236}">
                    <a16:creationId xmlns:a16="http://schemas.microsoft.com/office/drawing/2014/main" id="{7C9976D5-B6BD-4B80-AC7D-731A406BCBE4}"/>
                  </a:ext>
                </a:extLst>
              </p:cNvPr>
              <p:cNvSpPr/>
              <p:nvPr/>
            </p:nvSpPr>
            <p:spPr>
              <a:xfrm>
                <a:off x="7632844" y="4300966"/>
                <a:ext cx="18277" cy="18461"/>
              </a:xfrm>
              <a:custGeom>
                <a:avLst/>
                <a:gdLst>
                  <a:gd name="connsiteX0" fmla="*/ 13588 w 18277"/>
                  <a:gd name="connsiteY0" fmla="*/ 1187 h 18461"/>
                  <a:gd name="connsiteX1" fmla="*/ 1148 w 18277"/>
                  <a:gd name="connsiteY1" fmla="*/ 4716 h 18461"/>
                  <a:gd name="connsiteX2" fmla="*/ 4676 w 18277"/>
                  <a:gd name="connsiteY2" fmla="*/ 17275 h 18461"/>
                  <a:gd name="connsiteX3" fmla="*/ 17117 w 18277"/>
                  <a:gd name="connsiteY3" fmla="*/ 13746 h 18461"/>
                  <a:gd name="connsiteX4" fmla="*/ 13588 w 18277"/>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61">
                    <a:moveTo>
                      <a:pt x="13588" y="1187"/>
                    </a:moveTo>
                    <a:cubicBezTo>
                      <a:pt x="9162" y="-1325"/>
                      <a:pt x="3600" y="290"/>
                      <a:pt x="1148" y="4716"/>
                    </a:cubicBezTo>
                    <a:cubicBezTo>
                      <a:pt x="-1304" y="9141"/>
                      <a:pt x="311" y="14763"/>
                      <a:pt x="4676" y="17275"/>
                    </a:cubicBezTo>
                    <a:cubicBezTo>
                      <a:pt x="9103" y="19787"/>
                      <a:pt x="14664" y="18172"/>
                      <a:pt x="17117" y="13746"/>
                    </a:cubicBezTo>
                    <a:cubicBezTo>
                      <a:pt x="19569" y="9320"/>
                      <a:pt x="18014" y="3699"/>
                      <a:pt x="13588" y="1187"/>
                    </a:cubicBezTo>
                    <a:close/>
                  </a:path>
                </a:pathLst>
              </a:custGeom>
              <a:grpFill/>
              <a:ln w="5978" cap="flat">
                <a:noFill/>
                <a:prstDash val="solid"/>
                <a:miter/>
              </a:ln>
            </p:spPr>
            <p:txBody>
              <a:bodyPr rtlCol="0" anchor="ctr"/>
              <a:lstStyle/>
              <a:p>
                <a:endParaRPr lang="en-GB"/>
              </a:p>
            </p:txBody>
          </p:sp>
        </p:grpSp>
        <p:grpSp>
          <p:nvGrpSpPr>
            <p:cNvPr id="388" name="Graphic 3">
              <a:extLst>
                <a:ext uri="{FF2B5EF4-FFF2-40B4-BE49-F238E27FC236}">
                  <a16:creationId xmlns:a16="http://schemas.microsoft.com/office/drawing/2014/main" id="{EF499D28-BFFF-4931-ADE2-4A3050FDC5A7}"/>
                </a:ext>
              </a:extLst>
            </p:cNvPr>
            <p:cNvGrpSpPr/>
            <p:nvPr/>
          </p:nvGrpSpPr>
          <p:grpSpPr>
            <a:xfrm>
              <a:off x="6788342" y="1749964"/>
              <a:ext cx="86672" cy="158118"/>
              <a:chOff x="6788342" y="1749964"/>
              <a:chExt cx="86672" cy="158118"/>
            </a:xfrm>
            <a:grpFill/>
          </p:grpSpPr>
          <p:sp>
            <p:nvSpPr>
              <p:cNvPr id="4218" name="Vrije vorm: vorm 4217">
                <a:extLst>
                  <a:ext uri="{FF2B5EF4-FFF2-40B4-BE49-F238E27FC236}">
                    <a16:creationId xmlns:a16="http://schemas.microsoft.com/office/drawing/2014/main" id="{01352C5F-1EEF-4B6B-86BD-2D61FA72B06A}"/>
                  </a:ext>
                </a:extLst>
              </p:cNvPr>
              <p:cNvSpPr/>
              <p:nvPr/>
            </p:nvSpPr>
            <p:spPr>
              <a:xfrm>
                <a:off x="6795974" y="1758073"/>
                <a:ext cx="71410" cy="141862"/>
              </a:xfrm>
              <a:custGeom>
                <a:avLst/>
                <a:gdLst>
                  <a:gd name="connsiteX0" fmla="*/ 71410 w 71410"/>
                  <a:gd name="connsiteY0" fmla="*/ 1376 h 141862"/>
                  <a:gd name="connsiteX1" fmla="*/ 2751 w 71410"/>
                  <a:gd name="connsiteY1" fmla="*/ 141863 h 141862"/>
                  <a:gd name="connsiteX2" fmla="*/ 0 w 71410"/>
                  <a:gd name="connsiteY2" fmla="*/ 140547 h 141862"/>
                  <a:gd name="connsiteX3" fmla="*/ 68718 w 71410"/>
                  <a:gd name="connsiteY3" fmla="*/ 0 h 141862"/>
                </a:gdLst>
                <a:ahLst/>
                <a:cxnLst>
                  <a:cxn ang="0">
                    <a:pos x="connsiteX0" y="connsiteY0"/>
                  </a:cxn>
                  <a:cxn ang="0">
                    <a:pos x="connsiteX1" y="connsiteY1"/>
                  </a:cxn>
                  <a:cxn ang="0">
                    <a:pos x="connsiteX2" y="connsiteY2"/>
                  </a:cxn>
                  <a:cxn ang="0">
                    <a:pos x="connsiteX3" y="connsiteY3"/>
                  </a:cxn>
                </a:cxnLst>
                <a:rect l="l" t="t" r="r" b="b"/>
                <a:pathLst>
                  <a:path w="71410" h="141862">
                    <a:moveTo>
                      <a:pt x="71410" y="1376"/>
                    </a:moveTo>
                    <a:lnTo>
                      <a:pt x="2751" y="141863"/>
                    </a:lnTo>
                    <a:lnTo>
                      <a:pt x="0" y="140547"/>
                    </a:lnTo>
                    <a:lnTo>
                      <a:pt x="68718" y="0"/>
                    </a:lnTo>
                    <a:close/>
                  </a:path>
                </a:pathLst>
              </a:custGeom>
              <a:grpFill/>
              <a:ln w="5978" cap="flat">
                <a:noFill/>
                <a:prstDash val="solid"/>
                <a:miter/>
              </a:ln>
            </p:spPr>
            <p:txBody>
              <a:bodyPr rtlCol="0" anchor="ctr"/>
              <a:lstStyle/>
              <a:p>
                <a:endParaRPr lang="en-GB"/>
              </a:p>
            </p:txBody>
          </p:sp>
          <p:sp>
            <p:nvSpPr>
              <p:cNvPr id="4219" name="Vrije vorm: vorm 4218">
                <a:extLst>
                  <a:ext uri="{FF2B5EF4-FFF2-40B4-BE49-F238E27FC236}">
                    <a16:creationId xmlns:a16="http://schemas.microsoft.com/office/drawing/2014/main" id="{45413191-B8CB-4D18-A4A2-8DAAA9F51B14}"/>
                  </a:ext>
                </a:extLst>
              </p:cNvPr>
              <p:cNvSpPr/>
              <p:nvPr/>
            </p:nvSpPr>
            <p:spPr>
              <a:xfrm>
                <a:off x="6856676" y="1749964"/>
                <a:ext cx="18338" cy="18372"/>
              </a:xfrm>
              <a:custGeom>
                <a:avLst/>
                <a:gdLst>
                  <a:gd name="connsiteX0" fmla="*/ 959 w 18338"/>
                  <a:gd name="connsiteY0" fmla="*/ 5119 h 18372"/>
                  <a:gd name="connsiteX1" fmla="*/ 13219 w 18338"/>
                  <a:gd name="connsiteY1" fmla="*/ 933 h 18372"/>
                  <a:gd name="connsiteX2" fmla="*/ 17406 w 18338"/>
                  <a:gd name="connsiteY2" fmla="*/ 13253 h 18372"/>
                  <a:gd name="connsiteX3" fmla="*/ 5145 w 18338"/>
                  <a:gd name="connsiteY3" fmla="*/ 17440 h 18372"/>
                  <a:gd name="connsiteX4" fmla="*/ 959 w 18338"/>
                  <a:gd name="connsiteY4" fmla="*/ 5119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2">
                    <a:moveTo>
                      <a:pt x="959" y="5119"/>
                    </a:moveTo>
                    <a:cubicBezTo>
                      <a:pt x="3172" y="574"/>
                      <a:pt x="8674" y="-1280"/>
                      <a:pt x="13219" y="933"/>
                    </a:cubicBezTo>
                    <a:cubicBezTo>
                      <a:pt x="17765" y="3146"/>
                      <a:pt x="19619" y="8708"/>
                      <a:pt x="17406" y="13253"/>
                    </a:cubicBezTo>
                    <a:cubicBezTo>
                      <a:pt x="15193" y="17798"/>
                      <a:pt x="9691" y="19653"/>
                      <a:pt x="5145" y="17440"/>
                    </a:cubicBezTo>
                    <a:cubicBezTo>
                      <a:pt x="600" y="15167"/>
                      <a:pt x="-1314" y="9665"/>
                      <a:pt x="959" y="5119"/>
                    </a:cubicBezTo>
                    <a:close/>
                  </a:path>
                </a:pathLst>
              </a:custGeom>
              <a:grpFill/>
              <a:ln w="5978" cap="flat">
                <a:noFill/>
                <a:prstDash val="solid"/>
                <a:miter/>
              </a:ln>
            </p:spPr>
            <p:txBody>
              <a:bodyPr rtlCol="0" anchor="ctr"/>
              <a:lstStyle/>
              <a:p>
                <a:endParaRPr lang="en-GB"/>
              </a:p>
            </p:txBody>
          </p:sp>
          <p:sp>
            <p:nvSpPr>
              <p:cNvPr id="4220" name="Vrije vorm: vorm 4219">
                <a:extLst>
                  <a:ext uri="{FF2B5EF4-FFF2-40B4-BE49-F238E27FC236}">
                    <a16:creationId xmlns:a16="http://schemas.microsoft.com/office/drawing/2014/main" id="{CA0029C6-EBEC-4B60-9E2F-CB86F9AF272B}"/>
                  </a:ext>
                </a:extLst>
              </p:cNvPr>
              <p:cNvSpPr/>
              <p:nvPr/>
            </p:nvSpPr>
            <p:spPr>
              <a:xfrm>
                <a:off x="6788342" y="1889636"/>
                <a:ext cx="18312" cy="18446"/>
              </a:xfrm>
              <a:custGeom>
                <a:avLst/>
                <a:gdLst>
                  <a:gd name="connsiteX0" fmla="*/ 933 w 18312"/>
                  <a:gd name="connsiteY0" fmla="*/ 5156 h 18446"/>
                  <a:gd name="connsiteX1" fmla="*/ 5119 w 18312"/>
                  <a:gd name="connsiteY1" fmla="*/ 17476 h 18446"/>
                  <a:gd name="connsiteX2" fmla="*/ 17380 w 18312"/>
                  <a:gd name="connsiteY2" fmla="*/ 13290 h 18446"/>
                  <a:gd name="connsiteX3" fmla="*/ 13193 w 18312"/>
                  <a:gd name="connsiteY3" fmla="*/ 970 h 18446"/>
                  <a:gd name="connsiteX4" fmla="*/ 933 w 18312"/>
                  <a:gd name="connsiteY4" fmla="*/ 5156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6">
                    <a:moveTo>
                      <a:pt x="933" y="5156"/>
                    </a:moveTo>
                    <a:cubicBezTo>
                      <a:pt x="-1280" y="9701"/>
                      <a:pt x="574" y="15264"/>
                      <a:pt x="5119" y="17476"/>
                    </a:cubicBezTo>
                    <a:cubicBezTo>
                      <a:pt x="9665" y="19749"/>
                      <a:pt x="15167" y="17895"/>
                      <a:pt x="17380" y="13290"/>
                    </a:cubicBezTo>
                    <a:cubicBezTo>
                      <a:pt x="19593" y="8745"/>
                      <a:pt x="17739" y="3182"/>
                      <a:pt x="13193" y="970"/>
                    </a:cubicBezTo>
                    <a:cubicBezTo>
                      <a:pt x="8708" y="-1303"/>
                      <a:pt x="3206" y="551"/>
                      <a:pt x="933" y="5156"/>
                    </a:cubicBezTo>
                    <a:close/>
                  </a:path>
                </a:pathLst>
              </a:custGeom>
              <a:grpFill/>
              <a:ln w="5978" cap="flat">
                <a:noFill/>
                <a:prstDash val="solid"/>
                <a:miter/>
              </a:ln>
            </p:spPr>
            <p:txBody>
              <a:bodyPr rtlCol="0" anchor="ctr"/>
              <a:lstStyle/>
              <a:p>
                <a:endParaRPr lang="en-GB"/>
              </a:p>
            </p:txBody>
          </p:sp>
        </p:grpSp>
        <p:grpSp>
          <p:nvGrpSpPr>
            <p:cNvPr id="389" name="Graphic 3">
              <a:extLst>
                <a:ext uri="{FF2B5EF4-FFF2-40B4-BE49-F238E27FC236}">
                  <a16:creationId xmlns:a16="http://schemas.microsoft.com/office/drawing/2014/main" id="{1318E4CB-8A22-4217-B1F1-FFC242FE59AA}"/>
                </a:ext>
              </a:extLst>
            </p:cNvPr>
            <p:cNvGrpSpPr/>
            <p:nvPr/>
          </p:nvGrpSpPr>
          <p:grpSpPr>
            <a:xfrm>
              <a:off x="6731971" y="1664968"/>
              <a:ext cx="105509" cy="214908"/>
              <a:chOff x="6731971" y="1664968"/>
              <a:chExt cx="105509" cy="214908"/>
            </a:xfrm>
            <a:grpFill/>
          </p:grpSpPr>
          <p:sp>
            <p:nvSpPr>
              <p:cNvPr id="4215" name="Vrije vorm: vorm 4214">
                <a:extLst>
                  <a:ext uri="{FF2B5EF4-FFF2-40B4-BE49-F238E27FC236}">
                    <a16:creationId xmlns:a16="http://schemas.microsoft.com/office/drawing/2014/main" id="{063A409C-1B54-4C44-A140-4341777D17EA}"/>
                  </a:ext>
                </a:extLst>
              </p:cNvPr>
              <p:cNvSpPr/>
              <p:nvPr/>
            </p:nvSpPr>
            <p:spPr>
              <a:xfrm>
                <a:off x="6739575" y="1673087"/>
                <a:ext cx="90309" cy="198619"/>
              </a:xfrm>
              <a:custGeom>
                <a:avLst/>
                <a:gdLst>
                  <a:gd name="connsiteX0" fmla="*/ 90309 w 90309"/>
                  <a:gd name="connsiteY0" fmla="*/ 1256 h 198619"/>
                  <a:gd name="connsiteX1" fmla="*/ 2751 w 90309"/>
                  <a:gd name="connsiteY1" fmla="*/ 198620 h 198619"/>
                  <a:gd name="connsiteX2" fmla="*/ 0 w 90309"/>
                  <a:gd name="connsiteY2" fmla="*/ 197364 h 198619"/>
                  <a:gd name="connsiteX3" fmla="*/ 87498 w 90309"/>
                  <a:gd name="connsiteY3" fmla="*/ 0 h 198619"/>
                </a:gdLst>
                <a:ahLst/>
                <a:cxnLst>
                  <a:cxn ang="0">
                    <a:pos x="connsiteX0" y="connsiteY0"/>
                  </a:cxn>
                  <a:cxn ang="0">
                    <a:pos x="connsiteX1" y="connsiteY1"/>
                  </a:cxn>
                  <a:cxn ang="0">
                    <a:pos x="connsiteX2" y="connsiteY2"/>
                  </a:cxn>
                  <a:cxn ang="0">
                    <a:pos x="connsiteX3" y="connsiteY3"/>
                  </a:cxn>
                </a:cxnLst>
                <a:rect l="l" t="t" r="r" b="b"/>
                <a:pathLst>
                  <a:path w="90309" h="198619">
                    <a:moveTo>
                      <a:pt x="90309" y="1256"/>
                    </a:moveTo>
                    <a:lnTo>
                      <a:pt x="2751" y="198620"/>
                    </a:lnTo>
                    <a:lnTo>
                      <a:pt x="0" y="197364"/>
                    </a:lnTo>
                    <a:lnTo>
                      <a:pt x="87498" y="0"/>
                    </a:lnTo>
                    <a:close/>
                  </a:path>
                </a:pathLst>
              </a:custGeom>
              <a:grpFill/>
              <a:ln w="5978" cap="flat">
                <a:noFill/>
                <a:prstDash val="solid"/>
                <a:miter/>
              </a:ln>
            </p:spPr>
            <p:txBody>
              <a:bodyPr rtlCol="0" anchor="ctr"/>
              <a:lstStyle/>
              <a:p>
                <a:endParaRPr lang="en-GB"/>
              </a:p>
            </p:txBody>
          </p:sp>
          <p:sp>
            <p:nvSpPr>
              <p:cNvPr id="4216" name="Vrije vorm: vorm 4215">
                <a:extLst>
                  <a:ext uri="{FF2B5EF4-FFF2-40B4-BE49-F238E27FC236}">
                    <a16:creationId xmlns:a16="http://schemas.microsoft.com/office/drawing/2014/main" id="{54FA702B-7776-4FE5-AB91-12C03ACBAC98}"/>
                  </a:ext>
                </a:extLst>
              </p:cNvPr>
              <p:cNvSpPr/>
              <p:nvPr/>
            </p:nvSpPr>
            <p:spPr>
              <a:xfrm>
                <a:off x="6819144" y="1664968"/>
                <a:ext cx="18335" cy="18450"/>
              </a:xfrm>
              <a:custGeom>
                <a:avLst/>
                <a:gdLst>
                  <a:gd name="connsiteX0" fmla="*/ 812 w 18335"/>
                  <a:gd name="connsiteY0" fmla="*/ 5428 h 18450"/>
                  <a:gd name="connsiteX1" fmla="*/ 12893 w 18335"/>
                  <a:gd name="connsiteY1" fmla="*/ 823 h 18450"/>
                  <a:gd name="connsiteX2" fmla="*/ 17558 w 18335"/>
                  <a:gd name="connsiteY2" fmla="*/ 13023 h 18450"/>
                  <a:gd name="connsiteX3" fmla="*/ 5477 w 18335"/>
                  <a:gd name="connsiteY3" fmla="*/ 17628 h 18450"/>
                  <a:gd name="connsiteX4" fmla="*/ 812 w 18335"/>
                  <a:gd name="connsiteY4" fmla="*/ 5428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0">
                    <a:moveTo>
                      <a:pt x="812" y="5428"/>
                    </a:moveTo>
                    <a:cubicBezTo>
                      <a:pt x="2846" y="763"/>
                      <a:pt x="8288" y="-1271"/>
                      <a:pt x="12893" y="823"/>
                    </a:cubicBezTo>
                    <a:cubicBezTo>
                      <a:pt x="17499" y="2916"/>
                      <a:pt x="19592" y="8358"/>
                      <a:pt x="17558" y="13023"/>
                    </a:cubicBezTo>
                    <a:cubicBezTo>
                      <a:pt x="15525" y="17688"/>
                      <a:pt x="10082" y="19722"/>
                      <a:pt x="5477" y="17628"/>
                    </a:cubicBezTo>
                    <a:cubicBezTo>
                      <a:pt x="812" y="15535"/>
                      <a:pt x="-1281" y="10033"/>
                      <a:pt x="812" y="5428"/>
                    </a:cubicBezTo>
                    <a:close/>
                  </a:path>
                </a:pathLst>
              </a:custGeom>
              <a:grpFill/>
              <a:ln w="5978" cap="flat">
                <a:noFill/>
                <a:prstDash val="solid"/>
                <a:miter/>
              </a:ln>
            </p:spPr>
            <p:txBody>
              <a:bodyPr rtlCol="0" anchor="ctr"/>
              <a:lstStyle/>
              <a:p>
                <a:endParaRPr lang="en-GB"/>
              </a:p>
            </p:txBody>
          </p:sp>
          <p:sp>
            <p:nvSpPr>
              <p:cNvPr id="4217" name="Vrije vorm: vorm 4216">
                <a:extLst>
                  <a:ext uri="{FF2B5EF4-FFF2-40B4-BE49-F238E27FC236}">
                    <a16:creationId xmlns:a16="http://schemas.microsoft.com/office/drawing/2014/main" id="{27288CA1-6B9D-47BE-8F3E-45497342F63F}"/>
                  </a:ext>
                </a:extLst>
              </p:cNvPr>
              <p:cNvSpPr/>
              <p:nvPr/>
            </p:nvSpPr>
            <p:spPr>
              <a:xfrm>
                <a:off x="6731971" y="1861444"/>
                <a:ext cx="18319" cy="18432"/>
              </a:xfrm>
              <a:custGeom>
                <a:avLst/>
                <a:gdLst>
                  <a:gd name="connsiteX0" fmla="*/ 787 w 18319"/>
                  <a:gd name="connsiteY0" fmla="*/ 5418 h 18432"/>
                  <a:gd name="connsiteX1" fmla="*/ 5452 w 18319"/>
                  <a:gd name="connsiteY1" fmla="*/ 17619 h 18432"/>
                  <a:gd name="connsiteX2" fmla="*/ 17533 w 18319"/>
                  <a:gd name="connsiteY2" fmla="*/ 13014 h 18432"/>
                  <a:gd name="connsiteX3" fmla="*/ 12868 w 18319"/>
                  <a:gd name="connsiteY3" fmla="*/ 813 h 18432"/>
                  <a:gd name="connsiteX4" fmla="*/ 787 w 18319"/>
                  <a:gd name="connsiteY4" fmla="*/ 5418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32">
                    <a:moveTo>
                      <a:pt x="787" y="5418"/>
                    </a:moveTo>
                    <a:cubicBezTo>
                      <a:pt x="-1247" y="10083"/>
                      <a:pt x="787" y="15526"/>
                      <a:pt x="5452" y="17619"/>
                    </a:cubicBezTo>
                    <a:cubicBezTo>
                      <a:pt x="10057" y="19712"/>
                      <a:pt x="15499" y="17619"/>
                      <a:pt x="17533" y="13014"/>
                    </a:cubicBezTo>
                    <a:cubicBezTo>
                      <a:pt x="19566" y="8349"/>
                      <a:pt x="17533" y="2907"/>
                      <a:pt x="12868" y="813"/>
                    </a:cubicBezTo>
                    <a:cubicBezTo>
                      <a:pt x="8262" y="-1280"/>
                      <a:pt x="2820" y="813"/>
                      <a:pt x="787" y="5418"/>
                    </a:cubicBezTo>
                    <a:close/>
                  </a:path>
                </a:pathLst>
              </a:custGeom>
              <a:grpFill/>
              <a:ln w="5978" cap="flat">
                <a:noFill/>
                <a:prstDash val="solid"/>
                <a:miter/>
              </a:ln>
            </p:spPr>
            <p:txBody>
              <a:bodyPr rtlCol="0" anchor="ctr"/>
              <a:lstStyle/>
              <a:p>
                <a:endParaRPr lang="en-GB"/>
              </a:p>
            </p:txBody>
          </p:sp>
        </p:grpSp>
        <p:grpSp>
          <p:nvGrpSpPr>
            <p:cNvPr id="390" name="Graphic 3">
              <a:extLst>
                <a:ext uri="{FF2B5EF4-FFF2-40B4-BE49-F238E27FC236}">
                  <a16:creationId xmlns:a16="http://schemas.microsoft.com/office/drawing/2014/main" id="{FF0CE349-A415-47EA-9325-AED2148E2ACE}"/>
                </a:ext>
              </a:extLst>
            </p:cNvPr>
            <p:cNvGrpSpPr/>
            <p:nvPr/>
          </p:nvGrpSpPr>
          <p:grpSpPr>
            <a:xfrm>
              <a:off x="7604147" y="4444687"/>
              <a:ext cx="215548" cy="149730"/>
              <a:chOff x="7604147" y="4444687"/>
              <a:chExt cx="215548" cy="149730"/>
            </a:xfrm>
            <a:grpFill/>
          </p:grpSpPr>
          <p:sp>
            <p:nvSpPr>
              <p:cNvPr id="4212" name="Vrije vorm: vorm 4211">
                <a:extLst>
                  <a:ext uri="{FF2B5EF4-FFF2-40B4-BE49-F238E27FC236}">
                    <a16:creationId xmlns:a16="http://schemas.microsoft.com/office/drawing/2014/main" id="{5A242F0C-E0F5-4F58-A021-771F2D99663B}"/>
                  </a:ext>
                </a:extLst>
              </p:cNvPr>
              <p:cNvSpPr/>
              <p:nvPr/>
            </p:nvSpPr>
            <p:spPr>
              <a:xfrm>
                <a:off x="7612044" y="4452328"/>
                <a:ext cx="199755" cy="134386"/>
              </a:xfrm>
              <a:custGeom>
                <a:avLst/>
                <a:gdLst>
                  <a:gd name="connsiteX0" fmla="*/ 199756 w 199755"/>
                  <a:gd name="connsiteY0" fmla="*/ 131815 h 134386"/>
                  <a:gd name="connsiteX1" fmla="*/ 198082 w 199755"/>
                  <a:gd name="connsiteY1" fmla="*/ 134387 h 134386"/>
                  <a:gd name="connsiteX2" fmla="*/ 0 w 199755"/>
                  <a:gd name="connsiteY2" fmla="*/ 2572 h 134386"/>
                  <a:gd name="connsiteX3" fmla="*/ 1674 w 199755"/>
                  <a:gd name="connsiteY3" fmla="*/ 0 h 134386"/>
                </a:gdLst>
                <a:ahLst/>
                <a:cxnLst>
                  <a:cxn ang="0">
                    <a:pos x="connsiteX0" y="connsiteY0"/>
                  </a:cxn>
                  <a:cxn ang="0">
                    <a:pos x="connsiteX1" y="connsiteY1"/>
                  </a:cxn>
                  <a:cxn ang="0">
                    <a:pos x="connsiteX2" y="connsiteY2"/>
                  </a:cxn>
                  <a:cxn ang="0">
                    <a:pos x="connsiteX3" y="connsiteY3"/>
                  </a:cxn>
                </a:cxnLst>
                <a:rect l="l" t="t" r="r" b="b"/>
                <a:pathLst>
                  <a:path w="199755" h="134386">
                    <a:moveTo>
                      <a:pt x="199756" y="131815"/>
                    </a:moveTo>
                    <a:lnTo>
                      <a:pt x="198082" y="134387"/>
                    </a:lnTo>
                    <a:lnTo>
                      <a:pt x="0" y="2572"/>
                    </a:lnTo>
                    <a:lnTo>
                      <a:pt x="1674" y="0"/>
                    </a:lnTo>
                    <a:close/>
                  </a:path>
                </a:pathLst>
              </a:custGeom>
              <a:grpFill/>
              <a:ln w="5978" cap="flat">
                <a:noFill/>
                <a:prstDash val="solid"/>
                <a:miter/>
              </a:ln>
            </p:spPr>
            <p:txBody>
              <a:bodyPr rtlCol="0" anchor="ctr"/>
              <a:lstStyle/>
              <a:p>
                <a:endParaRPr lang="en-GB"/>
              </a:p>
            </p:txBody>
          </p:sp>
          <p:sp>
            <p:nvSpPr>
              <p:cNvPr id="4213" name="Vrije vorm: vorm 4212">
                <a:extLst>
                  <a:ext uri="{FF2B5EF4-FFF2-40B4-BE49-F238E27FC236}">
                    <a16:creationId xmlns:a16="http://schemas.microsoft.com/office/drawing/2014/main" id="{870CD30A-8ADF-4BDE-88CC-CB5D7547DC0B}"/>
                  </a:ext>
                </a:extLst>
              </p:cNvPr>
              <p:cNvSpPr/>
              <p:nvPr/>
            </p:nvSpPr>
            <p:spPr>
              <a:xfrm>
                <a:off x="7801391" y="4575963"/>
                <a:ext cx="18304" cy="18453"/>
              </a:xfrm>
              <a:custGeom>
                <a:avLst/>
                <a:gdLst>
                  <a:gd name="connsiteX0" fmla="*/ 14176 w 18304"/>
                  <a:gd name="connsiteY0" fmla="*/ 1541 h 18453"/>
                  <a:gd name="connsiteX1" fmla="*/ 16808 w 18304"/>
                  <a:gd name="connsiteY1" fmla="*/ 14340 h 18453"/>
                  <a:gd name="connsiteX2" fmla="*/ 4128 w 18304"/>
                  <a:gd name="connsiteY2" fmla="*/ 16912 h 18453"/>
                  <a:gd name="connsiteX3" fmla="*/ 1497 w 18304"/>
                  <a:gd name="connsiteY3" fmla="*/ 4113 h 18453"/>
                  <a:gd name="connsiteX4" fmla="*/ 14176 w 18304"/>
                  <a:gd name="connsiteY4" fmla="*/ 154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3">
                    <a:moveTo>
                      <a:pt x="14176" y="1541"/>
                    </a:moveTo>
                    <a:cubicBezTo>
                      <a:pt x="18422" y="4352"/>
                      <a:pt x="19558" y="10094"/>
                      <a:pt x="16808" y="14340"/>
                    </a:cubicBezTo>
                    <a:cubicBezTo>
                      <a:pt x="14056" y="18587"/>
                      <a:pt x="8315" y="19723"/>
                      <a:pt x="4128" y="16912"/>
                    </a:cubicBezTo>
                    <a:cubicBezTo>
                      <a:pt x="-118" y="14101"/>
                      <a:pt x="-1254" y="8359"/>
                      <a:pt x="1497" y="4113"/>
                    </a:cubicBezTo>
                    <a:cubicBezTo>
                      <a:pt x="4307" y="-133"/>
                      <a:pt x="9989" y="-1269"/>
                      <a:pt x="14176" y="1541"/>
                    </a:cubicBezTo>
                    <a:close/>
                  </a:path>
                </a:pathLst>
              </a:custGeom>
              <a:grpFill/>
              <a:ln w="5978" cap="flat">
                <a:noFill/>
                <a:prstDash val="solid"/>
                <a:miter/>
              </a:ln>
            </p:spPr>
            <p:txBody>
              <a:bodyPr rtlCol="0" anchor="ctr"/>
              <a:lstStyle/>
              <a:p>
                <a:endParaRPr lang="en-GB"/>
              </a:p>
            </p:txBody>
          </p:sp>
          <p:sp>
            <p:nvSpPr>
              <p:cNvPr id="4214" name="Vrije vorm: vorm 4213">
                <a:extLst>
                  <a:ext uri="{FF2B5EF4-FFF2-40B4-BE49-F238E27FC236}">
                    <a16:creationId xmlns:a16="http://schemas.microsoft.com/office/drawing/2014/main" id="{F962AFAC-2A41-4F0F-8B49-F0DC7D92FE2F}"/>
                  </a:ext>
                </a:extLst>
              </p:cNvPr>
              <p:cNvSpPr/>
              <p:nvPr/>
            </p:nvSpPr>
            <p:spPr>
              <a:xfrm>
                <a:off x="7604147" y="4444687"/>
                <a:ext cx="18288" cy="18453"/>
              </a:xfrm>
              <a:custGeom>
                <a:avLst/>
                <a:gdLst>
                  <a:gd name="connsiteX0" fmla="*/ 14176 w 18288"/>
                  <a:gd name="connsiteY0" fmla="*/ 1542 h 18453"/>
                  <a:gd name="connsiteX1" fmla="*/ 1497 w 18288"/>
                  <a:gd name="connsiteY1" fmla="*/ 4113 h 18453"/>
                  <a:gd name="connsiteX2" fmla="*/ 4128 w 18288"/>
                  <a:gd name="connsiteY2" fmla="*/ 16912 h 18453"/>
                  <a:gd name="connsiteX3" fmla="*/ 16808 w 18288"/>
                  <a:gd name="connsiteY3" fmla="*/ 14340 h 18453"/>
                  <a:gd name="connsiteX4" fmla="*/ 14176 w 18288"/>
                  <a:gd name="connsiteY4" fmla="*/ 154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14176" y="1542"/>
                    </a:moveTo>
                    <a:cubicBezTo>
                      <a:pt x="9930" y="-1270"/>
                      <a:pt x="4247" y="-133"/>
                      <a:pt x="1497" y="4113"/>
                    </a:cubicBezTo>
                    <a:cubicBezTo>
                      <a:pt x="-1254" y="8359"/>
                      <a:pt x="-118" y="14041"/>
                      <a:pt x="4128" y="16912"/>
                    </a:cubicBezTo>
                    <a:cubicBezTo>
                      <a:pt x="8375" y="19723"/>
                      <a:pt x="14056" y="18586"/>
                      <a:pt x="16808" y="14340"/>
                    </a:cubicBezTo>
                    <a:cubicBezTo>
                      <a:pt x="19558" y="10034"/>
                      <a:pt x="18363" y="4352"/>
                      <a:pt x="14176" y="1542"/>
                    </a:cubicBezTo>
                    <a:close/>
                  </a:path>
                </a:pathLst>
              </a:custGeom>
              <a:grpFill/>
              <a:ln w="5978" cap="flat">
                <a:noFill/>
                <a:prstDash val="solid"/>
                <a:miter/>
              </a:ln>
            </p:spPr>
            <p:txBody>
              <a:bodyPr rtlCol="0" anchor="ctr"/>
              <a:lstStyle/>
              <a:p>
                <a:endParaRPr lang="en-GB"/>
              </a:p>
            </p:txBody>
          </p:sp>
        </p:grpSp>
        <p:grpSp>
          <p:nvGrpSpPr>
            <p:cNvPr id="391" name="Graphic 3">
              <a:extLst>
                <a:ext uri="{FF2B5EF4-FFF2-40B4-BE49-F238E27FC236}">
                  <a16:creationId xmlns:a16="http://schemas.microsoft.com/office/drawing/2014/main" id="{F70246AF-0789-4D81-89A4-C6009010457C}"/>
                </a:ext>
              </a:extLst>
            </p:cNvPr>
            <p:cNvGrpSpPr/>
            <p:nvPr/>
          </p:nvGrpSpPr>
          <p:grpSpPr>
            <a:xfrm>
              <a:off x="7495998" y="4296675"/>
              <a:ext cx="352527" cy="223271"/>
              <a:chOff x="7495998" y="4296675"/>
              <a:chExt cx="352527" cy="223271"/>
            </a:xfrm>
            <a:grpFill/>
          </p:grpSpPr>
          <p:sp>
            <p:nvSpPr>
              <p:cNvPr id="4209" name="Vrije vorm: vorm 4208">
                <a:extLst>
                  <a:ext uri="{FF2B5EF4-FFF2-40B4-BE49-F238E27FC236}">
                    <a16:creationId xmlns:a16="http://schemas.microsoft.com/office/drawing/2014/main" id="{0E22D557-DA15-41B3-9F01-E4B1EDAC7D32}"/>
                  </a:ext>
                </a:extLst>
              </p:cNvPr>
              <p:cNvSpPr/>
              <p:nvPr/>
            </p:nvSpPr>
            <p:spPr>
              <a:xfrm>
                <a:off x="7503972" y="4304365"/>
                <a:ext cx="336595" cy="207949"/>
              </a:xfrm>
              <a:custGeom>
                <a:avLst/>
                <a:gdLst>
                  <a:gd name="connsiteX0" fmla="*/ 336595 w 336595"/>
                  <a:gd name="connsiteY0" fmla="*/ 205318 h 207949"/>
                  <a:gd name="connsiteX1" fmla="*/ 334980 w 336595"/>
                  <a:gd name="connsiteY1" fmla="*/ 207950 h 207949"/>
                  <a:gd name="connsiteX2" fmla="*/ 0 w 336595"/>
                  <a:gd name="connsiteY2" fmla="*/ 2572 h 207949"/>
                  <a:gd name="connsiteX3" fmla="*/ 1615 w 336595"/>
                  <a:gd name="connsiteY3" fmla="*/ 0 h 207949"/>
                </a:gdLst>
                <a:ahLst/>
                <a:cxnLst>
                  <a:cxn ang="0">
                    <a:pos x="connsiteX0" y="connsiteY0"/>
                  </a:cxn>
                  <a:cxn ang="0">
                    <a:pos x="connsiteX1" y="connsiteY1"/>
                  </a:cxn>
                  <a:cxn ang="0">
                    <a:pos x="connsiteX2" y="connsiteY2"/>
                  </a:cxn>
                  <a:cxn ang="0">
                    <a:pos x="connsiteX3" y="connsiteY3"/>
                  </a:cxn>
                </a:cxnLst>
                <a:rect l="l" t="t" r="r" b="b"/>
                <a:pathLst>
                  <a:path w="336595" h="207949">
                    <a:moveTo>
                      <a:pt x="336595" y="205318"/>
                    </a:moveTo>
                    <a:lnTo>
                      <a:pt x="334980" y="207950"/>
                    </a:lnTo>
                    <a:lnTo>
                      <a:pt x="0" y="2572"/>
                    </a:lnTo>
                    <a:lnTo>
                      <a:pt x="1615" y="0"/>
                    </a:lnTo>
                    <a:close/>
                  </a:path>
                </a:pathLst>
              </a:custGeom>
              <a:grpFill/>
              <a:ln w="5978" cap="flat">
                <a:noFill/>
                <a:prstDash val="solid"/>
                <a:miter/>
              </a:ln>
            </p:spPr>
            <p:txBody>
              <a:bodyPr rtlCol="0" anchor="ctr"/>
              <a:lstStyle/>
              <a:p>
                <a:endParaRPr lang="en-GB"/>
              </a:p>
            </p:txBody>
          </p:sp>
          <p:sp>
            <p:nvSpPr>
              <p:cNvPr id="4210" name="Vrije vorm: vorm 4209">
                <a:extLst>
                  <a:ext uri="{FF2B5EF4-FFF2-40B4-BE49-F238E27FC236}">
                    <a16:creationId xmlns:a16="http://schemas.microsoft.com/office/drawing/2014/main" id="{B205EBCD-FD64-45B7-9B98-131D638417A5}"/>
                  </a:ext>
                </a:extLst>
              </p:cNvPr>
              <p:cNvSpPr/>
              <p:nvPr/>
            </p:nvSpPr>
            <p:spPr>
              <a:xfrm>
                <a:off x="7830215" y="4501528"/>
                <a:ext cx="18310" cy="18417"/>
              </a:xfrm>
              <a:custGeom>
                <a:avLst/>
                <a:gdLst>
                  <a:gd name="connsiteX0" fmla="*/ 13880 w 18310"/>
                  <a:gd name="connsiteY0" fmla="*/ 1337 h 18417"/>
                  <a:gd name="connsiteX1" fmla="*/ 16990 w 18310"/>
                  <a:gd name="connsiteY1" fmla="*/ 14016 h 18417"/>
                  <a:gd name="connsiteX2" fmla="*/ 4431 w 18310"/>
                  <a:gd name="connsiteY2" fmla="*/ 17066 h 18417"/>
                  <a:gd name="connsiteX3" fmla="*/ 1321 w 18310"/>
                  <a:gd name="connsiteY3" fmla="*/ 4387 h 18417"/>
                  <a:gd name="connsiteX4" fmla="*/ 13880 w 18310"/>
                  <a:gd name="connsiteY4" fmla="*/ 133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7">
                    <a:moveTo>
                      <a:pt x="13880" y="1337"/>
                    </a:moveTo>
                    <a:cubicBezTo>
                      <a:pt x="18186" y="3969"/>
                      <a:pt x="19621" y="9650"/>
                      <a:pt x="16990" y="14016"/>
                    </a:cubicBezTo>
                    <a:cubicBezTo>
                      <a:pt x="14358" y="18382"/>
                      <a:pt x="8737" y="19698"/>
                      <a:pt x="4431" y="17066"/>
                    </a:cubicBezTo>
                    <a:cubicBezTo>
                      <a:pt x="125" y="14435"/>
                      <a:pt x="-1311" y="8753"/>
                      <a:pt x="1321" y="4387"/>
                    </a:cubicBezTo>
                    <a:cubicBezTo>
                      <a:pt x="3952" y="81"/>
                      <a:pt x="9574" y="-1294"/>
                      <a:pt x="13880" y="1337"/>
                    </a:cubicBezTo>
                    <a:close/>
                  </a:path>
                </a:pathLst>
              </a:custGeom>
              <a:grpFill/>
              <a:ln w="5978" cap="flat">
                <a:noFill/>
                <a:prstDash val="solid"/>
                <a:miter/>
              </a:ln>
            </p:spPr>
            <p:txBody>
              <a:bodyPr rtlCol="0" anchor="ctr"/>
              <a:lstStyle/>
              <a:p>
                <a:endParaRPr lang="en-GB"/>
              </a:p>
            </p:txBody>
          </p:sp>
          <p:sp>
            <p:nvSpPr>
              <p:cNvPr id="4211" name="Vrije vorm: vorm 4210">
                <a:extLst>
                  <a:ext uri="{FF2B5EF4-FFF2-40B4-BE49-F238E27FC236}">
                    <a16:creationId xmlns:a16="http://schemas.microsoft.com/office/drawing/2014/main" id="{EA910D09-8FA8-4EF7-86B5-C7F97C899BA4}"/>
                  </a:ext>
                </a:extLst>
              </p:cNvPr>
              <p:cNvSpPr/>
              <p:nvPr/>
            </p:nvSpPr>
            <p:spPr>
              <a:xfrm>
                <a:off x="7495998" y="4296675"/>
                <a:ext cx="18338" cy="18417"/>
              </a:xfrm>
              <a:custGeom>
                <a:avLst/>
                <a:gdLst>
                  <a:gd name="connsiteX0" fmla="*/ 13894 w 18338"/>
                  <a:gd name="connsiteY0" fmla="*/ 1351 h 18417"/>
                  <a:gd name="connsiteX1" fmla="*/ 1335 w 18338"/>
                  <a:gd name="connsiteY1" fmla="*/ 4401 h 18417"/>
                  <a:gd name="connsiteX2" fmla="*/ 4445 w 18338"/>
                  <a:gd name="connsiteY2" fmla="*/ 17080 h 18417"/>
                  <a:gd name="connsiteX3" fmla="*/ 17004 w 18338"/>
                  <a:gd name="connsiteY3" fmla="*/ 14030 h 18417"/>
                  <a:gd name="connsiteX4" fmla="*/ 13894 w 18338"/>
                  <a:gd name="connsiteY4" fmla="*/ 1351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7">
                    <a:moveTo>
                      <a:pt x="13894" y="1351"/>
                    </a:moveTo>
                    <a:cubicBezTo>
                      <a:pt x="9588" y="-1281"/>
                      <a:pt x="3907" y="35"/>
                      <a:pt x="1335" y="4401"/>
                    </a:cubicBezTo>
                    <a:cubicBezTo>
                      <a:pt x="-1297" y="8767"/>
                      <a:pt x="79" y="14389"/>
                      <a:pt x="4445" y="17080"/>
                    </a:cubicBezTo>
                    <a:cubicBezTo>
                      <a:pt x="8751" y="19712"/>
                      <a:pt x="14432" y="18336"/>
                      <a:pt x="17004" y="14030"/>
                    </a:cubicBezTo>
                    <a:cubicBezTo>
                      <a:pt x="19635" y="9664"/>
                      <a:pt x="18260" y="4042"/>
                      <a:pt x="13894" y="1351"/>
                    </a:cubicBezTo>
                    <a:close/>
                  </a:path>
                </a:pathLst>
              </a:custGeom>
              <a:grpFill/>
              <a:ln w="5978" cap="flat">
                <a:noFill/>
                <a:prstDash val="solid"/>
                <a:miter/>
              </a:ln>
            </p:spPr>
            <p:txBody>
              <a:bodyPr rtlCol="0" anchor="ctr"/>
              <a:lstStyle/>
              <a:p>
                <a:endParaRPr lang="en-GB"/>
              </a:p>
            </p:txBody>
          </p:sp>
        </p:grpSp>
        <p:grpSp>
          <p:nvGrpSpPr>
            <p:cNvPr id="392" name="Graphic 3">
              <a:extLst>
                <a:ext uri="{FF2B5EF4-FFF2-40B4-BE49-F238E27FC236}">
                  <a16:creationId xmlns:a16="http://schemas.microsoft.com/office/drawing/2014/main" id="{F6744CE0-2EC4-41FE-932B-982CCC485C81}"/>
                </a:ext>
              </a:extLst>
            </p:cNvPr>
            <p:cNvGrpSpPr/>
            <p:nvPr/>
          </p:nvGrpSpPr>
          <p:grpSpPr>
            <a:xfrm>
              <a:off x="6685437" y="1573129"/>
              <a:ext cx="112231" cy="253324"/>
              <a:chOff x="6685437" y="1573129"/>
              <a:chExt cx="112231" cy="253324"/>
            </a:xfrm>
            <a:grpFill/>
          </p:grpSpPr>
          <p:sp>
            <p:nvSpPr>
              <p:cNvPr id="4206" name="Vrije vorm: vorm 4205">
                <a:extLst>
                  <a:ext uri="{FF2B5EF4-FFF2-40B4-BE49-F238E27FC236}">
                    <a16:creationId xmlns:a16="http://schemas.microsoft.com/office/drawing/2014/main" id="{C33C4D99-AFA3-463F-8D8F-CEDA7CFE04CE}"/>
                  </a:ext>
                </a:extLst>
              </p:cNvPr>
              <p:cNvSpPr/>
              <p:nvPr/>
            </p:nvSpPr>
            <p:spPr>
              <a:xfrm>
                <a:off x="6693046" y="1581343"/>
                <a:ext cx="97067" cy="236896"/>
              </a:xfrm>
              <a:custGeom>
                <a:avLst/>
                <a:gdLst>
                  <a:gd name="connsiteX0" fmla="*/ 97067 w 97067"/>
                  <a:gd name="connsiteY0" fmla="*/ 1136 h 236896"/>
                  <a:gd name="connsiteX1" fmla="*/ 2811 w 97067"/>
                  <a:gd name="connsiteY1" fmla="*/ 236896 h 236896"/>
                  <a:gd name="connsiteX2" fmla="*/ 0 w 97067"/>
                  <a:gd name="connsiteY2" fmla="*/ 235760 h 236896"/>
                  <a:gd name="connsiteX3" fmla="*/ 94256 w 97067"/>
                  <a:gd name="connsiteY3" fmla="*/ 0 h 236896"/>
                </a:gdLst>
                <a:ahLst/>
                <a:cxnLst>
                  <a:cxn ang="0">
                    <a:pos x="connsiteX0" y="connsiteY0"/>
                  </a:cxn>
                  <a:cxn ang="0">
                    <a:pos x="connsiteX1" y="connsiteY1"/>
                  </a:cxn>
                  <a:cxn ang="0">
                    <a:pos x="connsiteX2" y="connsiteY2"/>
                  </a:cxn>
                  <a:cxn ang="0">
                    <a:pos x="connsiteX3" y="connsiteY3"/>
                  </a:cxn>
                </a:cxnLst>
                <a:rect l="l" t="t" r="r" b="b"/>
                <a:pathLst>
                  <a:path w="97067" h="236896">
                    <a:moveTo>
                      <a:pt x="97067" y="1136"/>
                    </a:moveTo>
                    <a:lnTo>
                      <a:pt x="2811" y="236896"/>
                    </a:lnTo>
                    <a:lnTo>
                      <a:pt x="0" y="235760"/>
                    </a:lnTo>
                    <a:lnTo>
                      <a:pt x="94256" y="0"/>
                    </a:lnTo>
                    <a:close/>
                  </a:path>
                </a:pathLst>
              </a:custGeom>
              <a:grpFill/>
              <a:ln w="5978" cap="flat">
                <a:noFill/>
                <a:prstDash val="solid"/>
                <a:miter/>
              </a:ln>
            </p:spPr>
            <p:txBody>
              <a:bodyPr rtlCol="0" anchor="ctr"/>
              <a:lstStyle/>
              <a:p>
                <a:endParaRPr lang="en-GB"/>
              </a:p>
            </p:txBody>
          </p:sp>
          <p:sp>
            <p:nvSpPr>
              <p:cNvPr id="4207" name="Vrije vorm: vorm 4206">
                <a:extLst>
                  <a:ext uri="{FF2B5EF4-FFF2-40B4-BE49-F238E27FC236}">
                    <a16:creationId xmlns:a16="http://schemas.microsoft.com/office/drawing/2014/main" id="{51C55CA9-FCD6-48F6-B32D-0C24AF4D8764}"/>
                  </a:ext>
                </a:extLst>
              </p:cNvPr>
              <p:cNvSpPr/>
              <p:nvPr/>
            </p:nvSpPr>
            <p:spPr>
              <a:xfrm>
                <a:off x="6779359" y="1573129"/>
                <a:ext cx="18309" cy="18461"/>
              </a:xfrm>
              <a:custGeom>
                <a:avLst/>
                <a:gdLst>
                  <a:gd name="connsiteX0" fmla="*/ 646 w 18309"/>
                  <a:gd name="connsiteY0" fmla="*/ 5762 h 18461"/>
                  <a:gd name="connsiteX1" fmla="*/ 12547 w 18309"/>
                  <a:gd name="connsiteY1" fmla="*/ 679 h 18461"/>
                  <a:gd name="connsiteX2" fmla="*/ 17631 w 18309"/>
                  <a:gd name="connsiteY2" fmla="*/ 12700 h 18461"/>
                  <a:gd name="connsiteX3" fmla="*/ 5729 w 18309"/>
                  <a:gd name="connsiteY3" fmla="*/ 17783 h 18461"/>
                  <a:gd name="connsiteX4" fmla="*/ 646 w 18309"/>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646" y="5762"/>
                    </a:moveTo>
                    <a:cubicBezTo>
                      <a:pt x="2560" y="1037"/>
                      <a:pt x="7883" y="-1235"/>
                      <a:pt x="12547" y="679"/>
                    </a:cubicBezTo>
                    <a:cubicBezTo>
                      <a:pt x="17272" y="2592"/>
                      <a:pt x="19545" y="7975"/>
                      <a:pt x="17631" y="12700"/>
                    </a:cubicBezTo>
                    <a:cubicBezTo>
                      <a:pt x="15717" y="17425"/>
                      <a:pt x="10395" y="19697"/>
                      <a:pt x="5729" y="17783"/>
                    </a:cubicBezTo>
                    <a:cubicBezTo>
                      <a:pt x="1065" y="15810"/>
                      <a:pt x="-1208" y="10427"/>
                      <a:pt x="646" y="5762"/>
                    </a:cubicBezTo>
                    <a:close/>
                  </a:path>
                </a:pathLst>
              </a:custGeom>
              <a:grpFill/>
              <a:ln w="5978" cap="flat">
                <a:noFill/>
                <a:prstDash val="solid"/>
                <a:miter/>
              </a:ln>
            </p:spPr>
            <p:txBody>
              <a:bodyPr rtlCol="0" anchor="ctr"/>
              <a:lstStyle/>
              <a:p>
                <a:endParaRPr lang="en-GB"/>
              </a:p>
            </p:txBody>
          </p:sp>
          <p:sp>
            <p:nvSpPr>
              <p:cNvPr id="4208" name="Vrije vorm: vorm 4207">
                <a:extLst>
                  <a:ext uri="{FF2B5EF4-FFF2-40B4-BE49-F238E27FC236}">
                    <a16:creationId xmlns:a16="http://schemas.microsoft.com/office/drawing/2014/main" id="{401B2643-6110-41D6-8310-DD3FA42B99EF}"/>
                  </a:ext>
                </a:extLst>
              </p:cNvPr>
              <p:cNvSpPr/>
              <p:nvPr/>
            </p:nvSpPr>
            <p:spPr>
              <a:xfrm>
                <a:off x="6685437" y="1807992"/>
                <a:ext cx="18326" cy="18461"/>
              </a:xfrm>
              <a:custGeom>
                <a:avLst/>
                <a:gdLst>
                  <a:gd name="connsiteX0" fmla="*/ 671 w 18326"/>
                  <a:gd name="connsiteY0" fmla="*/ 5762 h 18461"/>
                  <a:gd name="connsiteX1" fmla="*/ 5755 w 18326"/>
                  <a:gd name="connsiteY1" fmla="*/ 17783 h 18461"/>
                  <a:gd name="connsiteX2" fmla="*/ 17656 w 18326"/>
                  <a:gd name="connsiteY2" fmla="*/ 12700 h 18461"/>
                  <a:gd name="connsiteX3" fmla="*/ 12572 w 18326"/>
                  <a:gd name="connsiteY3" fmla="*/ 679 h 18461"/>
                  <a:gd name="connsiteX4" fmla="*/ 671 w 18326"/>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1">
                    <a:moveTo>
                      <a:pt x="671" y="5762"/>
                    </a:moveTo>
                    <a:cubicBezTo>
                      <a:pt x="-1243" y="10487"/>
                      <a:pt x="1089" y="15870"/>
                      <a:pt x="5755" y="17783"/>
                    </a:cubicBezTo>
                    <a:cubicBezTo>
                      <a:pt x="10419" y="19697"/>
                      <a:pt x="15802" y="17425"/>
                      <a:pt x="17656" y="12700"/>
                    </a:cubicBezTo>
                    <a:cubicBezTo>
                      <a:pt x="19570" y="7975"/>
                      <a:pt x="17237" y="2592"/>
                      <a:pt x="12572" y="679"/>
                    </a:cubicBezTo>
                    <a:cubicBezTo>
                      <a:pt x="7908" y="-1235"/>
                      <a:pt x="2585" y="1037"/>
                      <a:pt x="671" y="5762"/>
                    </a:cubicBezTo>
                    <a:close/>
                  </a:path>
                </a:pathLst>
              </a:custGeom>
              <a:grpFill/>
              <a:ln w="5978" cap="flat">
                <a:noFill/>
                <a:prstDash val="solid"/>
                <a:miter/>
              </a:ln>
            </p:spPr>
            <p:txBody>
              <a:bodyPr rtlCol="0" anchor="ctr"/>
              <a:lstStyle/>
              <a:p>
                <a:endParaRPr lang="en-GB"/>
              </a:p>
            </p:txBody>
          </p:sp>
        </p:grpSp>
        <p:grpSp>
          <p:nvGrpSpPr>
            <p:cNvPr id="393" name="Graphic 3">
              <a:extLst>
                <a:ext uri="{FF2B5EF4-FFF2-40B4-BE49-F238E27FC236}">
                  <a16:creationId xmlns:a16="http://schemas.microsoft.com/office/drawing/2014/main" id="{E89A07AE-A8E3-440D-AD60-992E7528A431}"/>
                </a:ext>
              </a:extLst>
            </p:cNvPr>
            <p:cNvGrpSpPr/>
            <p:nvPr/>
          </p:nvGrpSpPr>
          <p:grpSpPr>
            <a:xfrm>
              <a:off x="6706727" y="1611113"/>
              <a:ext cx="114917" cy="247510"/>
              <a:chOff x="6706727" y="1611113"/>
              <a:chExt cx="114917" cy="247510"/>
            </a:xfrm>
            <a:grpFill/>
          </p:grpSpPr>
          <p:sp>
            <p:nvSpPr>
              <p:cNvPr id="4203" name="Vrije vorm: vorm 4202">
                <a:extLst>
                  <a:ext uri="{FF2B5EF4-FFF2-40B4-BE49-F238E27FC236}">
                    <a16:creationId xmlns:a16="http://schemas.microsoft.com/office/drawing/2014/main" id="{F5ADABF2-C012-4643-B110-102DEDF3F114}"/>
                  </a:ext>
                </a:extLst>
              </p:cNvPr>
              <p:cNvSpPr/>
              <p:nvPr/>
            </p:nvSpPr>
            <p:spPr>
              <a:xfrm>
                <a:off x="6714277" y="1619261"/>
                <a:ext cx="99758" cy="231214"/>
              </a:xfrm>
              <a:custGeom>
                <a:avLst/>
                <a:gdLst>
                  <a:gd name="connsiteX0" fmla="*/ 99758 w 99758"/>
                  <a:gd name="connsiteY0" fmla="*/ 1196 h 231214"/>
                  <a:gd name="connsiteX1" fmla="*/ 2811 w 99758"/>
                  <a:gd name="connsiteY1" fmla="*/ 231215 h 231214"/>
                  <a:gd name="connsiteX2" fmla="*/ 0 w 99758"/>
                  <a:gd name="connsiteY2" fmla="*/ 230018 h 231214"/>
                  <a:gd name="connsiteX3" fmla="*/ 96947 w 99758"/>
                  <a:gd name="connsiteY3" fmla="*/ 0 h 231214"/>
                </a:gdLst>
                <a:ahLst/>
                <a:cxnLst>
                  <a:cxn ang="0">
                    <a:pos x="connsiteX0" y="connsiteY0"/>
                  </a:cxn>
                  <a:cxn ang="0">
                    <a:pos x="connsiteX1" y="connsiteY1"/>
                  </a:cxn>
                  <a:cxn ang="0">
                    <a:pos x="connsiteX2" y="connsiteY2"/>
                  </a:cxn>
                  <a:cxn ang="0">
                    <a:pos x="connsiteX3" y="connsiteY3"/>
                  </a:cxn>
                </a:cxnLst>
                <a:rect l="l" t="t" r="r" b="b"/>
                <a:pathLst>
                  <a:path w="99758" h="231214">
                    <a:moveTo>
                      <a:pt x="99758" y="1196"/>
                    </a:moveTo>
                    <a:lnTo>
                      <a:pt x="2811" y="231215"/>
                    </a:lnTo>
                    <a:lnTo>
                      <a:pt x="0" y="230018"/>
                    </a:lnTo>
                    <a:lnTo>
                      <a:pt x="96947" y="0"/>
                    </a:lnTo>
                    <a:close/>
                  </a:path>
                </a:pathLst>
              </a:custGeom>
              <a:grpFill/>
              <a:ln w="5978" cap="flat">
                <a:noFill/>
                <a:prstDash val="solid"/>
                <a:miter/>
              </a:ln>
            </p:spPr>
            <p:txBody>
              <a:bodyPr rtlCol="0" anchor="ctr"/>
              <a:lstStyle/>
              <a:p>
                <a:endParaRPr lang="en-GB"/>
              </a:p>
            </p:txBody>
          </p:sp>
          <p:sp>
            <p:nvSpPr>
              <p:cNvPr id="4204" name="Vrije vorm: vorm 4203">
                <a:extLst>
                  <a:ext uri="{FF2B5EF4-FFF2-40B4-BE49-F238E27FC236}">
                    <a16:creationId xmlns:a16="http://schemas.microsoft.com/office/drawing/2014/main" id="{F4EABB77-A5EE-4D94-A1D4-B52D534DDCC7}"/>
                  </a:ext>
                </a:extLst>
              </p:cNvPr>
              <p:cNvSpPr/>
              <p:nvPr/>
            </p:nvSpPr>
            <p:spPr>
              <a:xfrm>
                <a:off x="6803316" y="1611113"/>
                <a:ext cx="18329" cy="18388"/>
              </a:xfrm>
              <a:custGeom>
                <a:avLst/>
                <a:gdLst>
                  <a:gd name="connsiteX0" fmla="*/ 732 w 18329"/>
                  <a:gd name="connsiteY0" fmla="*/ 5576 h 18388"/>
                  <a:gd name="connsiteX1" fmla="*/ 12753 w 18329"/>
                  <a:gd name="connsiteY1" fmla="*/ 732 h 18388"/>
                  <a:gd name="connsiteX2" fmla="*/ 17597 w 18329"/>
                  <a:gd name="connsiteY2" fmla="*/ 12813 h 18388"/>
                  <a:gd name="connsiteX3" fmla="*/ 5576 w 18329"/>
                  <a:gd name="connsiteY3" fmla="*/ 17657 h 18388"/>
                  <a:gd name="connsiteX4" fmla="*/ 732 w 18329"/>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88">
                    <a:moveTo>
                      <a:pt x="732" y="5576"/>
                    </a:moveTo>
                    <a:cubicBezTo>
                      <a:pt x="2705" y="911"/>
                      <a:pt x="8088" y="-1242"/>
                      <a:pt x="12753" y="732"/>
                    </a:cubicBezTo>
                    <a:cubicBezTo>
                      <a:pt x="17418" y="2705"/>
                      <a:pt x="19571" y="8148"/>
                      <a:pt x="17597" y="12813"/>
                    </a:cubicBezTo>
                    <a:cubicBezTo>
                      <a:pt x="15624" y="17478"/>
                      <a:pt x="10241" y="19631"/>
                      <a:pt x="5576" y="17657"/>
                    </a:cubicBezTo>
                    <a:cubicBezTo>
                      <a:pt x="911" y="15684"/>
                      <a:pt x="-1242" y="10241"/>
                      <a:pt x="732" y="5576"/>
                    </a:cubicBezTo>
                    <a:close/>
                  </a:path>
                </a:pathLst>
              </a:custGeom>
              <a:grpFill/>
              <a:ln w="5978" cap="flat">
                <a:noFill/>
                <a:prstDash val="solid"/>
                <a:miter/>
              </a:ln>
            </p:spPr>
            <p:txBody>
              <a:bodyPr rtlCol="0" anchor="ctr"/>
              <a:lstStyle/>
              <a:p>
                <a:endParaRPr lang="en-GB"/>
              </a:p>
            </p:txBody>
          </p:sp>
          <p:sp>
            <p:nvSpPr>
              <p:cNvPr id="4205" name="Vrije vorm: vorm 4204">
                <a:extLst>
                  <a:ext uri="{FF2B5EF4-FFF2-40B4-BE49-F238E27FC236}">
                    <a16:creationId xmlns:a16="http://schemas.microsoft.com/office/drawing/2014/main" id="{D1C61252-F64E-4850-893F-15966C4C6FF7}"/>
                  </a:ext>
                </a:extLst>
              </p:cNvPr>
              <p:cNvSpPr/>
              <p:nvPr/>
            </p:nvSpPr>
            <p:spPr>
              <a:xfrm>
                <a:off x="6706727" y="1840234"/>
                <a:ext cx="18329" cy="18388"/>
              </a:xfrm>
              <a:custGeom>
                <a:avLst/>
                <a:gdLst>
                  <a:gd name="connsiteX0" fmla="*/ 732 w 18329"/>
                  <a:gd name="connsiteY0" fmla="*/ 5576 h 18388"/>
                  <a:gd name="connsiteX1" fmla="*/ 5576 w 18329"/>
                  <a:gd name="connsiteY1" fmla="*/ 17657 h 18388"/>
                  <a:gd name="connsiteX2" fmla="*/ 17597 w 18329"/>
                  <a:gd name="connsiteY2" fmla="*/ 12813 h 18388"/>
                  <a:gd name="connsiteX3" fmla="*/ 12753 w 18329"/>
                  <a:gd name="connsiteY3" fmla="*/ 732 h 18388"/>
                  <a:gd name="connsiteX4" fmla="*/ 732 w 18329"/>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388">
                    <a:moveTo>
                      <a:pt x="732" y="5576"/>
                    </a:moveTo>
                    <a:cubicBezTo>
                      <a:pt x="-1242" y="10241"/>
                      <a:pt x="911" y="15684"/>
                      <a:pt x="5576" y="17657"/>
                    </a:cubicBezTo>
                    <a:cubicBezTo>
                      <a:pt x="10241" y="19631"/>
                      <a:pt x="15624" y="17478"/>
                      <a:pt x="17597" y="12813"/>
                    </a:cubicBezTo>
                    <a:cubicBezTo>
                      <a:pt x="19571" y="8148"/>
                      <a:pt x="17418" y="2705"/>
                      <a:pt x="12753" y="732"/>
                    </a:cubicBezTo>
                    <a:cubicBezTo>
                      <a:pt x="8028" y="-1242"/>
                      <a:pt x="2705" y="911"/>
                      <a:pt x="732" y="5576"/>
                    </a:cubicBezTo>
                    <a:close/>
                  </a:path>
                </a:pathLst>
              </a:custGeom>
              <a:grpFill/>
              <a:ln w="5978" cap="flat">
                <a:noFill/>
                <a:prstDash val="solid"/>
                <a:miter/>
              </a:ln>
            </p:spPr>
            <p:txBody>
              <a:bodyPr rtlCol="0" anchor="ctr"/>
              <a:lstStyle/>
              <a:p>
                <a:endParaRPr lang="en-GB"/>
              </a:p>
            </p:txBody>
          </p:sp>
        </p:grpSp>
        <p:grpSp>
          <p:nvGrpSpPr>
            <p:cNvPr id="394" name="Graphic 3">
              <a:extLst>
                <a:ext uri="{FF2B5EF4-FFF2-40B4-BE49-F238E27FC236}">
                  <a16:creationId xmlns:a16="http://schemas.microsoft.com/office/drawing/2014/main" id="{3750BCE0-30AE-42A5-B2DB-0F48F14B72AF}"/>
                </a:ext>
              </a:extLst>
            </p:cNvPr>
            <p:cNvGrpSpPr/>
            <p:nvPr/>
          </p:nvGrpSpPr>
          <p:grpSpPr>
            <a:xfrm>
              <a:off x="6695271" y="1582461"/>
              <a:ext cx="20990" cy="25813"/>
              <a:chOff x="6695271" y="1582461"/>
              <a:chExt cx="20990" cy="25813"/>
            </a:xfrm>
            <a:grpFill/>
          </p:grpSpPr>
          <p:sp>
            <p:nvSpPr>
              <p:cNvPr id="4201" name="Vrije vorm: vorm 4200">
                <a:extLst>
                  <a:ext uri="{FF2B5EF4-FFF2-40B4-BE49-F238E27FC236}">
                    <a16:creationId xmlns:a16="http://schemas.microsoft.com/office/drawing/2014/main" id="{01E8C826-227B-4FB9-86B6-AE158601E8D6}"/>
                  </a:ext>
                </a:extLst>
              </p:cNvPr>
              <p:cNvSpPr/>
              <p:nvPr/>
            </p:nvSpPr>
            <p:spPr>
              <a:xfrm>
                <a:off x="6695271" y="1589877"/>
                <a:ext cx="18335" cy="18397"/>
              </a:xfrm>
              <a:custGeom>
                <a:avLst/>
                <a:gdLst>
                  <a:gd name="connsiteX0" fmla="*/ 526 w 18335"/>
                  <a:gd name="connsiteY0" fmla="*/ 6059 h 18397"/>
                  <a:gd name="connsiteX1" fmla="*/ 12248 w 18335"/>
                  <a:gd name="connsiteY1" fmla="*/ 557 h 18397"/>
                  <a:gd name="connsiteX2" fmla="*/ 17810 w 18335"/>
                  <a:gd name="connsiteY2" fmla="*/ 12339 h 18397"/>
                  <a:gd name="connsiteX3" fmla="*/ 6088 w 18335"/>
                  <a:gd name="connsiteY3" fmla="*/ 17841 h 18397"/>
                  <a:gd name="connsiteX4" fmla="*/ 526 w 18335"/>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7">
                    <a:moveTo>
                      <a:pt x="526" y="6059"/>
                    </a:moveTo>
                    <a:cubicBezTo>
                      <a:pt x="2260" y="1274"/>
                      <a:pt x="7464" y="-1178"/>
                      <a:pt x="12248" y="557"/>
                    </a:cubicBezTo>
                    <a:cubicBezTo>
                      <a:pt x="17033" y="2291"/>
                      <a:pt x="19485" y="7554"/>
                      <a:pt x="17810" y="12339"/>
                    </a:cubicBezTo>
                    <a:cubicBezTo>
                      <a:pt x="16076" y="17123"/>
                      <a:pt x="10873" y="19575"/>
                      <a:pt x="6088" y="17841"/>
                    </a:cubicBezTo>
                    <a:cubicBezTo>
                      <a:pt x="1303" y="16107"/>
                      <a:pt x="-1149" y="10843"/>
                      <a:pt x="526" y="6059"/>
                    </a:cubicBezTo>
                    <a:close/>
                  </a:path>
                </a:pathLst>
              </a:custGeom>
              <a:grpFill/>
              <a:ln w="5978" cap="flat">
                <a:noFill/>
                <a:prstDash val="solid"/>
                <a:miter/>
              </a:ln>
            </p:spPr>
            <p:txBody>
              <a:bodyPr rtlCol="0" anchor="ctr"/>
              <a:lstStyle/>
              <a:p>
                <a:endParaRPr lang="en-GB"/>
              </a:p>
            </p:txBody>
          </p:sp>
          <p:sp>
            <p:nvSpPr>
              <p:cNvPr id="4202" name="Vrije vorm: vorm 4201">
                <a:extLst>
                  <a:ext uri="{FF2B5EF4-FFF2-40B4-BE49-F238E27FC236}">
                    <a16:creationId xmlns:a16="http://schemas.microsoft.com/office/drawing/2014/main" id="{F26F49A6-72F8-486C-9B79-4A99515AE5A9}"/>
                  </a:ext>
                </a:extLst>
              </p:cNvPr>
              <p:cNvSpPr/>
              <p:nvPr/>
            </p:nvSpPr>
            <p:spPr>
              <a:xfrm>
                <a:off x="6697879" y="1582461"/>
                <a:ext cx="18383" cy="18397"/>
              </a:xfrm>
              <a:custGeom>
                <a:avLst/>
                <a:gdLst>
                  <a:gd name="connsiteX0" fmla="*/ 549 w 18383"/>
                  <a:gd name="connsiteY0" fmla="*/ 6059 h 18397"/>
                  <a:gd name="connsiteX1" fmla="*/ 6111 w 18383"/>
                  <a:gd name="connsiteY1" fmla="*/ 17841 h 18397"/>
                  <a:gd name="connsiteX2" fmla="*/ 17834 w 18383"/>
                  <a:gd name="connsiteY2" fmla="*/ 12339 h 18397"/>
                  <a:gd name="connsiteX3" fmla="*/ 12272 w 18383"/>
                  <a:gd name="connsiteY3" fmla="*/ 557 h 18397"/>
                  <a:gd name="connsiteX4" fmla="*/ 549 w 18383"/>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397">
                    <a:moveTo>
                      <a:pt x="549" y="6059"/>
                    </a:moveTo>
                    <a:cubicBezTo>
                      <a:pt x="-1185" y="10843"/>
                      <a:pt x="1327" y="16107"/>
                      <a:pt x="6111" y="17841"/>
                    </a:cubicBezTo>
                    <a:cubicBezTo>
                      <a:pt x="10896" y="19575"/>
                      <a:pt x="16099" y="17123"/>
                      <a:pt x="17834" y="12339"/>
                    </a:cubicBezTo>
                    <a:cubicBezTo>
                      <a:pt x="19568" y="7554"/>
                      <a:pt x="17056" y="2291"/>
                      <a:pt x="12272" y="557"/>
                    </a:cubicBezTo>
                    <a:cubicBezTo>
                      <a:pt x="7547" y="-1178"/>
                      <a:pt x="2284" y="1274"/>
                      <a:pt x="549" y="6059"/>
                    </a:cubicBezTo>
                    <a:close/>
                  </a:path>
                </a:pathLst>
              </a:custGeom>
              <a:grpFill/>
              <a:ln w="5978" cap="flat">
                <a:noFill/>
                <a:prstDash val="solid"/>
                <a:miter/>
              </a:ln>
            </p:spPr>
            <p:txBody>
              <a:bodyPr rtlCol="0" anchor="ctr"/>
              <a:lstStyle/>
              <a:p>
                <a:endParaRPr lang="en-GB"/>
              </a:p>
            </p:txBody>
          </p:sp>
        </p:grpSp>
        <p:grpSp>
          <p:nvGrpSpPr>
            <p:cNvPr id="395" name="Graphic 3">
              <a:extLst>
                <a:ext uri="{FF2B5EF4-FFF2-40B4-BE49-F238E27FC236}">
                  <a16:creationId xmlns:a16="http://schemas.microsoft.com/office/drawing/2014/main" id="{CA72554D-2B8E-472E-9FA6-1F3CE24DAD0C}"/>
                </a:ext>
              </a:extLst>
            </p:cNvPr>
            <p:cNvGrpSpPr/>
            <p:nvPr/>
          </p:nvGrpSpPr>
          <p:grpSpPr>
            <a:xfrm>
              <a:off x="7551636" y="4292639"/>
              <a:ext cx="165272" cy="104791"/>
              <a:chOff x="7551636" y="4292639"/>
              <a:chExt cx="165272" cy="104791"/>
            </a:xfrm>
            <a:grpFill/>
          </p:grpSpPr>
          <p:sp>
            <p:nvSpPr>
              <p:cNvPr id="4198" name="Vrije vorm: vorm 4197">
                <a:extLst>
                  <a:ext uri="{FF2B5EF4-FFF2-40B4-BE49-F238E27FC236}">
                    <a16:creationId xmlns:a16="http://schemas.microsoft.com/office/drawing/2014/main" id="{36A2D180-1874-455A-AD17-DCB68520F196}"/>
                  </a:ext>
                </a:extLst>
              </p:cNvPr>
              <p:cNvSpPr/>
              <p:nvPr/>
            </p:nvSpPr>
            <p:spPr>
              <a:xfrm>
                <a:off x="7559652" y="4300298"/>
                <a:ext cx="149278" cy="89471"/>
              </a:xfrm>
              <a:custGeom>
                <a:avLst/>
                <a:gdLst>
                  <a:gd name="connsiteX0" fmla="*/ 149279 w 149278"/>
                  <a:gd name="connsiteY0" fmla="*/ 86780 h 89471"/>
                  <a:gd name="connsiteX1" fmla="*/ 147724 w 149278"/>
                  <a:gd name="connsiteY1" fmla="*/ 89472 h 89471"/>
                  <a:gd name="connsiteX2" fmla="*/ 0 w 149278"/>
                  <a:gd name="connsiteY2" fmla="*/ 2632 h 89471"/>
                  <a:gd name="connsiteX3" fmla="*/ 1495 w 149278"/>
                  <a:gd name="connsiteY3" fmla="*/ 0 h 89471"/>
                </a:gdLst>
                <a:ahLst/>
                <a:cxnLst>
                  <a:cxn ang="0">
                    <a:pos x="connsiteX0" y="connsiteY0"/>
                  </a:cxn>
                  <a:cxn ang="0">
                    <a:pos x="connsiteX1" y="connsiteY1"/>
                  </a:cxn>
                  <a:cxn ang="0">
                    <a:pos x="connsiteX2" y="connsiteY2"/>
                  </a:cxn>
                  <a:cxn ang="0">
                    <a:pos x="connsiteX3" y="connsiteY3"/>
                  </a:cxn>
                </a:cxnLst>
                <a:rect l="l" t="t" r="r" b="b"/>
                <a:pathLst>
                  <a:path w="149278" h="89471">
                    <a:moveTo>
                      <a:pt x="149279" y="86780"/>
                    </a:moveTo>
                    <a:lnTo>
                      <a:pt x="147724" y="89472"/>
                    </a:lnTo>
                    <a:lnTo>
                      <a:pt x="0" y="2632"/>
                    </a:lnTo>
                    <a:lnTo>
                      <a:pt x="1495" y="0"/>
                    </a:lnTo>
                    <a:close/>
                  </a:path>
                </a:pathLst>
              </a:custGeom>
              <a:grpFill/>
              <a:ln w="5978" cap="flat">
                <a:noFill/>
                <a:prstDash val="solid"/>
                <a:miter/>
              </a:ln>
            </p:spPr>
            <p:txBody>
              <a:bodyPr rtlCol="0" anchor="ctr"/>
              <a:lstStyle/>
              <a:p>
                <a:endParaRPr lang="en-GB"/>
              </a:p>
            </p:txBody>
          </p:sp>
          <p:sp>
            <p:nvSpPr>
              <p:cNvPr id="4199" name="Vrije vorm: vorm 4198">
                <a:extLst>
                  <a:ext uri="{FF2B5EF4-FFF2-40B4-BE49-F238E27FC236}">
                    <a16:creationId xmlns:a16="http://schemas.microsoft.com/office/drawing/2014/main" id="{C06860D0-10B1-416F-9108-FDA888EE515A}"/>
                  </a:ext>
                </a:extLst>
              </p:cNvPr>
              <p:cNvSpPr/>
              <p:nvPr/>
            </p:nvSpPr>
            <p:spPr>
              <a:xfrm>
                <a:off x="7698621" y="4378987"/>
                <a:ext cx="18286" cy="18442"/>
              </a:xfrm>
              <a:custGeom>
                <a:avLst/>
                <a:gdLst>
                  <a:gd name="connsiteX0" fmla="*/ 13718 w 18286"/>
                  <a:gd name="connsiteY0" fmla="*/ 1274 h 18442"/>
                  <a:gd name="connsiteX1" fmla="*/ 17068 w 18286"/>
                  <a:gd name="connsiteY1" fmla="*/ 13893 h 18442"/>
                  <a:gd name="connsiteX2" fmla="*/ 4568 w 18286"/>
                  <a:gd name="connsiteY2" fmla="*/ 17182 h 18442"/>
                  <a:gd name="connsiteX3" fmla="*/ 1219 w 18286"/>
                  <a:gd name="connsiteY3" fmla="*/ 4563 h 18442"/>
                  <a:gd name="connsiteX4" fmla="*/ 13718 w 18286"/>
                  <a:gd name="connsiteY4" fmla="*/ 1274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442">
                    <a:moveTo>
                      <a:pt x="13718" y="1274"/>
                    </a:moveTo>
                    <a:cubicBezTo>
                      <a:pt x="18085" y="3845"/>
                      <a:pt x="19580" y="9467"/>
                      <a:pt x="17068" y="13893"/>
                    </a:cubicBezTo>
                    <a:cubicBezTo>
                      <a:pt x="14496" y="18259"/>
                      <a:pt x="8934" y="19754"/>
                      <a:pt x="4568" y="17182"/>
                    </a:cubicBezTo>
                    <a:cubicBezTo>
                      <a:pt x="202" y="14611"/>
                      <a:pt x="-1293" y="8989"/>
                      <a:pt x="1219" y="4563"/>
                    </a:cubicBezTo>
                    <a:cubicBezTo>
                      <a:pt x="3731" y="137"/>
                      <a:pt x="9352" y="-1298"/>
                      <a:pt x="13718" y="1274"/>
                    </a:cubicBezTo>
                    <a:close/>
                  </a:path>
                </a:pathLst>
              </a:custGeom>
              <a:grpFill/>
              <a:ln w="5978" cap="flat">
                <a:noFill/>
                <a:prstDash val="solid"/>
                <a:miter/>
              </a:ln>
            </p:spPr>
            <p:txBody>
              <a:bodyPr rtlCol="0" anchor="ctr"/>
              <a:lstStyle/>
              <a:p>
                <a:endParaRPr lang="en-GB"/>
              </a:p>
            </p:txBody>
          </p:sp>
          <p:sp>
            <p:nvSpPr>
              <p:cNvPr id="4200" name="Vrije vorm: vorm 4199">
                <a:extLst>
                  <a:ext uri="{FF2B5EF4-FFF2-40B4-BE49-F238E27FC236}">
                    <a16:creationId xmlns:a16="http://schemas.microsoft.com/office/drawing/2014/main" id="{0DEE3ED0-C686-4737-880A-E074AA6A183C}"/>
                  </a:ext>
                </a:extLst>
              </p:cNvPr>
              <p:cNvSpPr/>
              <p:nvPr/>
            </p:nvSpPr>
            <p:spPr>
              <a:xfrm>
                <a:off x="7551636" y="4292639"/>
                <a:ext cx="18325" cy="18429"/>
              </a:xfrm>
              <a:custGeom>
                <a:avLst/>
                <a:gdLst>
                  <a:gd name="connsiteX0" fmla="*/ 13758 w 18325"/>
                  <a:gd name="connsiteY0" fmla="*/ 1260 h 18429"/>
                  <a:gd name="connsiteX1" fmla="*/ 1258 w 18325"/>
                  <a:gd name="connsiteY1" fmla="*/ 4550 h 18429"/>
                  <a:gd name="connsiteX2" fmla="*/ 4607 w 18325"/>
                  <a:gd name="connsiteY2" fmla="*/ 17169 h 18429"/>
                  <a:gd name="connsiteX3" fmla="*/ 17107 w 18325"/>
                  <a:gd name="connsiteY3" fmla="*/ 13880 h 18429"/>
                  <a:gd name="connsiteX4" fmla="*/ 13758 w 18325"/>
                  <a:gd name="connsiteY4" fmla="*/ 126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9">
                    <a:moveTo>
                      <a:pt x="13758" y="1260"/>
                    </a:moveTo>
                    <a:cubicBezTo>
                      <a:pt x="9392" y="-1311"/>
                      <a:pt x="3770" y="184"/>
                      <a:pt x="1258" y="4550"/>
                    </a:cubicBezTo>
                    <a:cubicBezTo>
                      <a:pt x="-1314" y="8916"/>
                      <a:pt x="182" y="14597"/>
                      <a:pt x="4607" y="17169"/>
                    </a:cubicBezTo>
                    <a:cubicBezTo>
                      <a:pt x="8973" y="19741"/>
                      <a:pt x="14595" y="18246"/>
                      <a:pt x="17107" y="13880"/>
                    </a:cubicBezTo>
                    <a:cubicBezTo>
                      <a:pt x="19619" y="9514"/>
                      <a:pt x="18124" y="3832"/>
                      <a:pt x="13758" y="1260"/>
                    </a:cubicBezTo>
                    <a:close/>
                  </a:path>
                </a:pathLst>
              </a:custGeom>
              <a:grpFill/>
              <a:ln w="5978" cap="flat">
                <a:noFill/>
                <a:prstDash val="solid"/>
                <a:miter/>
              </a:ln>
            </p:spPr>
            <p:txBody>
              <a:bodyPr rtlCol="0" anchor="ctr"/>
              <a:lstStyle/>
              <a:p>
                <a:endParaRPr lang="en-GB"/>
              </a:p>
            </p:txBody>
          </p:sp>
        </p:grpSp>
        <p:grpSp>
          <p:nvGrpSpPr>
            <p:cNvPr id="396" name="Graphic 3">
              <a:extLst>
                <a:ext uri="{FF2B5EF4-FFF2-40B4-BE49-F238E27FC236}">
                  <a16:creationId xmlns:a16="http://schemas.microsoft.com/office/drawing/2014/main" id="{3E9519CE-946E-4CDE-AD30-5AEA9CA0B21F}"/>
                </a:ext>
              </a:extLst>
            </p:cNvPr>
            <p:cNvGrpSpPr/>
            <p:nvPr/>
          </p:nvGrpSpPr>
          <p:grpSpPr>
            <a:xfrm>
              <a:off x="7470087" y="4318633"/>
              <a:ext cx="373180" cy="290622"/>
              <a:chOff x="7470087" y="4318633"/>
              <a:chExt cx="373180" cy="290622"/>
            </a:xfrm>
            <a:grpFill/>
          </p:grpSpPr>
          <p:sp>
            <p:nvSpPr>
              <p:cNvPr id="4195" name="Vrije vorm: vorm 4194">
                <a:extLst>
                  <a:ext uri="{FF2B5EF4-FFF2-40B4-BE49-F238E27FC236}">
                    <a16:creationId xmlns:a16="http://schemas.microsoft.com/office/drawing/2014/main" id="{D9A2BD47-6201-4838-B807-EE5B7AD89DF8}"/>
                  </a:ext>
                </a:extLst>
              </p:cNvPr>
              <p:cNvSpPr/>
              <p:nvPr/>
            </p:nvSpPr>
            <p:spPr>
              <a:xfrm>
                <a:off x="7477956" y="4326374"/>
                <a:ext cx="357408" cy="275173"/>
              </a:xfrm>
              <a:custGeom>
                <a:avLst/>
                <a:gdLst>
                  <a:gd name="connsiteX0" fmla="*/ 357408 w 357408"/>
                  <a:gd name="connsiteY0" fmla="*/ 272721 h 275173"/>
                  <a:gd name="connsiteX1" fmla="*/ 355554 w 357408"/>
                  <a:gd name="connsiteY1" fmla="*/ 275173 h 275173"/>
                  <a:gd name="connsiteX2" fmla="*/ 0 w 357408"/>
                  <a:gd name="connsiteY2" fmla="*/ 2392 h 275173"/>
                  <a:gd name="connsiteX3" fmla="*/ 1854 w 357408"/>
                  <a:gd name="connsiteY3" fmla="*/ 0 h 275173"/>
                </a:gdLst>
                <a:ahLst/>
                <a:cxnLst>
                  <a:cxn ang="0">
                    <a:pos x="connsiteX0" y="connsiteY0"/>
                  </a:cxn>
                  <a:cxn ang="0">
                    <a:pos x="connsiteX1" y="connsiteY1"/>
                  </a:cxn>
                  <a:cxn ang="0">
                    <a:pos x="connsiteX2" y="connsiteY2"/>
                  </a:cxn>
                  <a:cxn ang="0">
                    <a:pos x="connsiteX3" y="connsiteY3"/>
                  </a:cxn>
                </a:cxnLst>
                <a:rect l="l" t="t" r="r" b="b"/>
                <a:pathLst>
                  <a:path w="357408" h="275173">
                    <a:moveTo>
                      <a:pt x="357408" y="272721"/>
                    </a:moveTo>
                    <a:lnTo>
                      <a:pt x="355554" y="275173"/>
                    </a:lnTo>
                    <a:lnTo>
                      <a:pt x="0" y="2392"/>
                    </a:lnTo>
                    <a:lnTo>
                      <a:pt x="1854" y="0"/>
                    </a:lnTo>
                    <a:close/>
                  </a:path>
                </a:pathLst>
              </a:custGeom>
              <a:grpFill/>
              <a:ln w="5978" cap="flat">
                <a:noFill/>
                <a:prstDash val="solid"/>
                <a:miter/>
              </a:ln>
            </p:spPr>
            <p:txBody>
              <a:bodyPr rtlCol="0" anchor="ctr"/>
              <a:lstStyle/>
              <a:p>
                <a:endParaRPr lang="en-GB"/>
              </a:p>
            </p:txBody>
          </p:sp>
          <p:sp>
            <p:nvSpPr>
              <p:cNvPr id="4196" name="Vrije vorm: vorm 4195">
                <a:extLst>
                  <a:ext uri="{FF2B5EF4-FFF2-40B4-BE49-F238E27FC236}">
                    <a16:creationId xmlns:a16="http://schemas.microsoft.com/office/drawing/2014/main" id="{6133DA42-72C8-4658-AAA5-7EE9F1FE1713}"/>
                  </a:ext>
                </a:extLst>
              </p:cNvPr>
              <p:cNvSpPr/>
              <p:nvPr/>
            </p:nvSpPr>
            <p:spPr>
              <a:xfrm>
                <a:off x="7470087" y="4318633"/>
                <a:ext cx="18369" cy="18439"/>
              </a:xfrm>
              <a:custGeom>
                <a:avLst/>
                <a:gdLst>
                  <a:gd name="connsiteX0" fmla="*/ 3623 w 18369"/>
                  <a:gd name="connsiteY0" fmla="*/ 16534 h 18439"/>
                  <a:gd name="connsiteX1" fmla="*/ 1888 w 18369"/>
                  <a:gd name="connsiteY1" fmla="*/ 3615 h 18439"/>
                  <a:gd name="connsiteX2" fmla="*/ 14747 w 18369"/>
                  <a:gd name="connsiteY2" fmla="*/ 1881 h 18439"/>
                  <a:gd name="connsiteX3" fmla="*/ 16481 w 18369"/>
                  <a:gd name="connsiteY3" fmla="*/ 14799 h 18439"/>
                  <a:gd name="connsiteX4" fmla="*/ 3623 w 18369"/>
                  <a:gd name="connsiteY4" fmla="*/ 165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39">
                    <a:moveTo>
                      <a:pt x="3623" y="16534"/>
                    </a:moveTo>
                    <a:cubicBezTo>
                      <a:pt x="-384" y="13423"/>
                      <a:pt x="-1222" y="7682"/>
                      <a:pt x="1888" y="3615"/>
                    </a:cubicBezTo>
                    <a:cubicBezTo>
                      <a:pt x="4939" y="-452"/>
                      <a:pt x="10680" y="-1170"/>
                      <a:pt x="14747" y="1881"/>
                    </a:cubicBezTo>
                    <a:cubicBezTo>
                      <a:pt x="18754" y="4991"/>
                      <a:pt x="19591" y="10732"/>
                      <a:pt x="16481" y="14799"/>
                    </a:cubicBezTo>
                    <a:cubicBezTo>
                      <a:pt x="13372" y="18866"/>
                      <a:pt x="7630" y="19643"/>
                      <a:pt x="3623" y="16534"/>
                    </a:cubicBezTo>
                    <a:close/>
                  </a:path>
                </a:pathLst>
              </a:custGeom>
              <a:grpFill/>
              <a:ln w="5978" cap="flat">
                <a:noFill/>
                <a:prstDash val="solid"/>
                <a:miter/>
              </a:ln>
            </p:spPr>
            <p:txBody>
              <a:bodyPr rtlCol="0" anchor="ctr"/>
              <a:lstStyle/>
              <a:p>
                <a:endParaRPr lang="en-GB"/>
              </a:p>
            </p:txBody>
          </p:sp>
          <p:sp>
            <p:nvSpPr>
              <p:cNvPr id="4197" name="Vrije vorm: vorm 4196">
                <a:extLst>
                  <a:ext uri="{FF2B5EF4-FFF2-40B4-BE49-F238E27FC236}">
                    <a16:creationId xmlns:a16="http://schemas.microsoft.com/office/drawing/2014/main" id="{CD4CCB30-ACB6-4EF7-BFEF-372A211AC2B0}"/>
                  </a:ext>
                </a:extLst>
              </p:cNvPr>
              <p:cNvSpPr/>
              <p:nvPr/>
            </p:nvSpPr>
            <p:spPr>
              <a:xfrm>
                <a:off x="7824905" y="4590790"/>
                <a:ext cx="18362" cy="18464"/>
              </a:xfrm>
              <a:custGeom>
                <a:avLst/>
                <a:gdLst>
                  <a:gd name="connsiteX0" fmla="*/ 3641 w 18362"/>
                  <a:gd name="connsiteY0" fmla="*/ 16559 h 18464"/>
                  <a:gd name="connsiteX1" fmla="*/ 16500 w 18362"/>
                  <a:gd name="connsiteY1" fmla="*/ 14824 h 18464"/>
                  <a:gd name="connsiteX2" fmla="*/ 14765 w 18362"/>
                  <a:gd name="connsiteY2" fmla="*/ 1906 h 18464"/>
                  <a:gd name="connsiteX3" fmla="*/ 1906 w 18362"/>
                  <a:gd name="connsiteY3" fmla="*/ 3641 h 18464"/>
                  <a:gd name="connsiteX4" fmla="*/ 3641 w 18362"/>
                  <a:gd name="connsiteY4" fmla="*/ 1655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64">
                    <a:moveTo>
                      <a:pt x="3641" y="16559"/>
                    </a:moveTo>
                    <a:cubicBezTo>
                      <a:pt x="7648" y="19669"/>
                      <a:pt x="13449" y="18891"/>
                      <a:pt x="16500" y="14824"/>
                    </a:cubicBezTo>
                    <a:cubicBezTo>
                      <a:pt x="19550" y="10758"/>
                      <a:pt x="18772" y="5016"/>
                      <a:pt x="14765" y="1906"/>
                    </a:cubicBezTo>
                    <a:cubicBezTo>
                      <a:pt x="10758" y="-1204"/>
                      <a:pt x="4956" y="-426"/>
                      <a:pt x="1906" y="3641"/>
                    </a:cubicBezTo>
                    <a:cubicBezTo>
                      <a:pt x="-1204" y="7707"/>
                      <a:pt x="-426" y="13509"/>
                      <a:pt x="3641" y="16559"/>
                    </a:cubicBezTo>
                    <a:close/>
                  </a:path>
                </a:pathLst>
              </a:custGeom>
              <a:grpFill/>
              <a:ln w="5978" cap="flat">
                <a:noFill/>
                <a:prstDash val="solid"/>
                <a:miter/>
              </a:ln>
            </p:spPr>
            <p:txBody>
              <a:bodyPr rtlCol="0" anchor="ctr"/>
              <a:lstStyle/>
              <a:p>
                <a:endParaRPr lang="en-GB"/>
              </a:p>
            </p:txBody>
          </p:sp>
        </p:grpSp>
        <p:grpSp>
          <p:nvGrpSpPr>
            <p:cNvPr id="397" name="Graphic 3">
              <a:extLst>
                <a:ext uri="{FF2B5EF4-FFF2-40B4-BE49-F238E27FC236}">
                  <a16:creationId xmlns:a16="http://schemas.microsoft.com/office/drawing/2014/main" id="{AB4DFC5C-4585-436C-B154-67C570FBB0B5}"/>
                </a:ext>
              </a:extLst>
            </p:cNvPr>
            <p:cNvGrpSpPr/>
            <p:nvPr/>
          </p:nvGrpSpPr>
          <p:grpSpPr>
            <a:xfrm>
              <a:off x="6600860" y="1342570"/>
              <a:ext cx="115449" cy="326173"/>
              <a:chOff x="6600860" y="1342570"/>
              <a:chExt cx="115449" cy="326173"/>
            </a:xfrm>
            <a:grpFill/>
          </p:grpSpPr>
          <p:sp>
            <p:nvSpPr>
              <p:cNvPr id="4192" name="Vrije vorm: vorm 4191">
                <a:extLst>
                  <a:ext uri="{FF2B5EF4-FFF2-40B4-BE49-F238E27FC236}">
                    <a16:creationId xmlns:a16="http://schemas.microsoft.com/office/drawing/2014/main" id="{AE9CAC2A-BBBA-4B8B-BCF0-FE8671A82109}"/>
                  </a:ext>
                </a:extLst>
              </p:cNvPr>
              <p:cNvSpPr/>
              <p:nvPr/>
            </p:nvSpPr>
            <p:spPr>
              <a:xfrm>
                <a:off x="6608418" y="1350906"/>
                <a:ext cx="100296" cy="309502"/>
              </a:xfrm>
              <a:custGeom>
                <a:avLst/>
                <a:gdLst>
                  <a:gd name="connsiteX0" fmla="*/ 100297 w 100296"/>
                  <a:gd name="connsiteY0" fmla="*/ 897 h 309502"/>
                  <a:gd name="connsiteX1" fmla="*/ 2930 w 100296"/>
                  <a:gd name="connsiteY1" fmla="*/ 309502 h 309502"/>
                  <a:gd name="connsiteX2" fmla="*/ 0 w 100296"/>
                  <a:gd name="connsiteY2" fmla="*/ 308545 h 309502"/>
                  <a:gd name="connsiteX3" fmla="*/ 97426 w 100296"/>
                  <a:gd name="connsiteY3" fmla="*/ 0 h 309502"/>
                </a:gdLst>
                <a:ahLst/>
                <a:cxnLst>
                  <a:cxn ang="0">
                    <a:pos x="connsiteX0" y="connsiteY0"/>
                  </a:cxn>
                  <a:cxn ang="0">
                    <a:pos x="connsiteX1" y="connsiteY1"/>
                  </a:cxn>
                  <a:cxn ang="0">
                    <a:pos x="connsiteX2" y="connsiteY2"/>
                  </a:cxn>
                  <a:cxn ang="0">
                    <a:pos x="connsiteX3" y="connsiteY3"/>
                  </a:cxn>
                </a:cxnLst>
                <a:rect l="l" t="t" r="r" b="b"/>
                <a:pathLst>
                  <a:path w="100296" h="309502">
                    <a:moveTo>
                      <a:pt x="100297" y="897"/>
                    </a:moveTo>
                    <a:lnTo>
                      <a:pt x="2930" y="309502"/>
                    </a:lnTo>
                    <a:lnTo>
                      <a:pt x="0" y="308545"/>
                    </a:lnTo>
                    <a:lnTo>
                      <a:pt x="97426" y="0"/>
                    </a:lnTo>
                    <a:close/>
                  </a:path>
                </a:pathLst>
              </a:custGeom>
              <a:grpFill/>
              <a:ln w="5978" cap="flat">
                <a:noFill/>
                <a:prstDash val="solid"/>
                <a:miter/>
              </a:ln>
            </p:spPr>
            <p:txBody>
              <a:bodyPr rtlCol="0" anchor="ctr"/>
              <a:lstStyle/>
              <a:p>
                <a:endParaRPr lang="en-GB"/>
              </a:p>
            </p:txBody>
          </p:sp>
          <p:sp>
            <p:nvSpPr>
              <p:cNvPr id="4193" name="Vrije vorm: vorm 4192">
                <a:extLst>
                  <a:ext uri="{FF2B5EF4-FFF2-40B4-BE49-F238E27FC236}">
                    <a16:creationId xmlns:a16="http://schemas.microsoft.com/office/drawing/2014/main" id="{4A6A0DBF-EC1F-4FD2-8BD0-E6A2F2526F19}"/>
                  </a:ext>
                </a:extLst>
              </p:cNvPr>
              <p:cNvSpPr/>
              <p:nvPr/>
            </p:nvSpPr>
            <p:spPr>
              <a:xfrm>
                <a:off x="6697987" y="1342570"/>
                <a:ext cx="18323" cy="18465"/>
              </a:xfrm>
              <a:custGeom>
                <a:avLst/>
                <a:gdLst>
                  <a:gd name="connsiteX0" fmla="*/ 441 w 18323"/>
                  <a:gd name="connsiteY0" fmla="*/ 6422 h 18465"/>
                  <a:gd name="connsiteX1" fmla="*/ 11924 w 18323"/>
                  <a:gd name="connsiteY1" fmla="*/ 441 h 18465"/>
                  <a:gd name="connsiteX2" fmla="*/ 17905 w 18323"/>
                  <a:gd name="connsiteY2" fmla="*/ 12043 h 18465"/>
                  <a:gd name="connsiteX3" fmla="*/ 6422 w 18323"/>
                  <a:gd name="connsiteY3" fmla="*/ 18024 h 18465"/>
                  <a:gd name="connsiteX4" fmla="*/ 441 w 18323"/>
                  <a:gd name="connsiteY4" fmla="*/ 642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65">
                    <a:moveTo>
                      <a:pt x="441" y="6422"/>
                    </a:moveTo>
                    <a:cubicBezTo>
                      <a:pt x="1996" y="1577"/>
                      <a:pt x="7139" y="-1114"/>
                      <a:pt x="11924" y="441"/>
                    </a:cubicBezTo>
                    <a:cubicBezTo>
                      <a:pt x="16769" y="1996"/>
                      <a:pt x="19400" y="7199"/>
                      <a:pt x="17905" y="12043"/>
                    </a:cubicBezTo>
                    <a:cubicBezTo>
                      <a:pt x="16350" y="16888"/>
                      <a:pt x="11206" y="19579"/>
                      <a:pt x="6422" y="18024"/>
                    </a:cubicBezTo>
                    <a:cubicBezTo>
                      <a:pt x="1577" y="16409"/>
                      <a:pt x="-1114" y="11266"/>
                      <a:pt x="441" y="6422"/>
                    </a:cubicBezTo>
                    <a:close/>
                  </a:path>
                </a:pathLst>
              </a:custGeom>
              <a:grpFill/>
              <a:ln w="5978" cap="flat">
                <a:noFill/>
                <a:prstDash val="solid"/>
                <a:miter/>
              </a:ln>
            </p:spPr>
            <p:txBody>
              <a:bodyPr rtlCol="0" anchor="ctr"/>
              <a:lstStyle/>
              <a:p>
                <a:endParaRPr lang="en-GB"/>
              </a:p>
            </p:txBody>
          </p:sp>
          <p:sp>
            <p:nvSpPr>
              <p:cNvPr id="4194" name="Vrije vorm: vorm 4193">
                <a:extLst>
                  <a:ext uri="{FF2B5EF4-FFF2-40B4-BE49-F238E27FC236}">
                    <a16:creationId xmlns:a16="http://schemas.microsoft.com/office/drawing/2014/main" id="{ACE15AB1-6CD6-4EBF-B4F5-2D97F80D58AD}"/>
                  </a:ext>
                </a:extLst>
              </p:cNvPr>
              <p:cNvSpPr/>
              <p:nvPr/>
            </p:nvSpPr>
            <p:spPr>
              <a:xfrm>
                <a:off x="6600860" y="1650278"/>
                <a:ext cx="18345" cy="18465"/>
              </a:xfrm>
              <a:custGeom>
                <a:avLst/>
                <a:gdLst>
                  <a:gd name="connsiteX0" fmla="*/ 441 w 18345"/>
                  <a:gd name="connsiteY0" fmla="*/ 6422 h 18465"/>
                  <a:gd name="connsiteX1" fmla="*/ 6422 w 18345"/>
                  <a:gd name="connsiteY1" fmla="*/ 18024 h 18465"/>
                  <a:gd name="connsiteX2" fmla="*/ 17905 w 18345"/>
                  <a:gd name="connsiteY2" fmla="*/ 12043 h 18465"/>
                  <a:gd name="connsiteX3" fmla="*/ 11924 w 18345"/>
                  <a:gd name="connsiteY3" fmla="*/ 441 h 18465"/>
                  <a:gd name="connsiteX4" fmla="*/ 441 w 18345"/>
                  <a:gd name="connsiteY4" fmla="*/ 642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5">
                    <a:moveTo>
                      <a:pt x="441" y="6422"/>
                    </a:moveTo>
                    <a:cubicBezTo>
                      <a:pt x="-1114" y="11266"/>
                      <a:pt x="1577" y="16469"/>
                      <a:pt x="6422" y="18024"/>
                    </a:cubicBezTo>
                    <a:cubicBezTo>
                      <a:pt x="11266" y="19579"/>
                      <a:pt x="16409" y="16888"/>
                      <a:pt x="17905" y="12043"/>
                    </a:cubicBezTo>
                    <a:cubicBezTo>
                      <a:pt x="19460" y="7199"/>
                      <a:pt x="16768" y="1996"/>
                      <a:pt x="11924" y="441"/>
                    </a:cubicBezTo>
                    <a:cubicBezTo>
                      <a:pt x="7079" y="-1114"/>
                      <a:pt x="1936" y="1577"/>
                      <a:pt x="441" y="6422"/>
                    </a:cubicBezTo>
                    <a:close/>
                  </a:path>
                </a:pathLst>
              </a:custGeom>
              <a:grpFill/>
              <a:ln w="5978" cap="flat">
                <a:noFill/>
                <a:prstDash val="solid"/>
                <a:miter/>
              </a:ln>
            </p:spPr>
            <p:txBody>
              <a:bodyPr rtlCol="0" anchor="ctr"/>
              <a:lstStyle/>
              <a:p>
                <a:endParaRPr lang="en-GB"/>
              </a:p>
            </p:txBody>
          </p:sp>
        </p:grpSp>
        <p:grpSp>
          <p:nvGrpSpPr>
            <p:cNvPr id="398" name="Graphic 3">
              <a:extLst>
                <a:ext uri="{FF2B5EF4-FFF2-40B4-BE49-F238E27FC236}">
                  <a16:creationId xmlns:a16="http://schemas.microsoft.com/office/drawing/2014/main" id="{3917DBA6-E86F-4A6B-A52C-0F62705E39D1}"/>
                </a:ext>
              </a:extLst>
            </p:cNvPr>
            <p:cNvGrpSpPr/>
            <p:nvPr/>
          </p:nvGrpSpPr>
          <p:grpSpPr>
            <a:xfrm>
              <a:off x="6562226" y="1297767"/>
              <a:ext cx="211102" cy="495621"/>
              <a:chOff x="6562226" y="1297767"/>
              <a:chExt cx="211102" cy="495621"/>
            </a:xfrm>
            <a:grpFill/>
          </p:grpSpPr>
          <p:sp>
            <p:nvSpPr>
              <p:cNvPr id="4189" name="Vrije vorm: vorm 4188">
                <a:extLst>
                  <a:ext uri="{FF2B5EF4-FFF2-40B4-BE49-F238E27FC236}">
                    <a16:creationId xmlns:a16="http://schemas.microsoft.com/office/drawing/2014/main" id="{E88B2711-8104-42A8-ABEA-CC6BB2DFF947}"/>
                  </a:ext>
                </a:extLst>
              </p:cNvPr>
              <p:cNvSpPr/>
              <p:nvPr/>
            </p:nvSpPr>
            <p:spPr>
              <a:xfrm>
                <a:off x="6569842" y="1305991"/>
                <a:ext cx="195928" cy="479235"/>
              </a:xfrm>
              <a:custGeom>
                <a:avLst/>
                <a:gdLst>
                  <a:gd name="connsiteX0" fmla="*/ 195929 w 195928"/>
                  <a:gd name="connsiteY0" fmla="*/ 1136 h 479235"/>
                  <a:gd name="connsiteX1" fmla="*/ 2811 w 195928"/>
                  <a:gd name="connsiteY1" fmla="*/ 479235 h 479235"/>
                  <a:gd name="connsiteX2" fmla="*/ 0 w 195928"/>
                  <a:gd name="connsiteY2" fmla="*/ 478039 h 479235"/>
                  <a:gd name="connsiteX3" fmla="*/ 193118 w 195928"/>
                  <a:gd name="connsiteY3" fmla="*/ 0 h 479235"/>
                </a:gdLst>
                <a:ahLst/>
                <a:cxnLst>
                  <a:cxn ang="0">
                    <a:pos x="connsiteX0" y="connsiteY0"/>
                  </a:cxn>
                  <a:cxn ang="0">
                    <a:pos x="connsiteX1" y="connsiteY1"/>
                  </a:cxn>
                  <a:cxn ang="0">
                    <a:pos x="connsiteX2" y="connsiteY2"/>
                  </a:cxn>
                  <a:cxn ang="0">
                    <a:pos x="connsiteX3" y="connsiteY3"/>
                  </a:cxn>
                </a:cxnLst>
                <a:rect l="l" t="t" r="r" b="b"/>
                <a:pathLst>
                  <a:path w="195928" h="479235">
                    <a:moveTo>
                      <a:pt x="195929" y="1136"/>
                    </a:moveTo>
                    <a:lnTo>
                      <a:pt x="2811" y="479235"/>
                    </a:lnTo>
                    <a:lnTo>
                      <a:pt x="0" y="478039"/>
                    </a:lnTo>
                    <a:lnTo>
                      <a:pt x="193118" y="0"/>
                    </a:lnTo>
                    <a:close/>
                  </a:path>
                </a:pathLst>
              </a:custGeom>
              <a:grpFill/>
              <a:ln w="5978" cap="flat">
                <a:noFill/>
                <a:prstDash val="solid"/>
                <a:miter/>
              </a:ln>
            </p:spPr>
            <p:txBody>
              <a:bodyPr rtlCol="0" anchor="ctr"/>
              <a:lstStyle/>
              <a:p>
                <a:endParaRPr lang="en-GB"/>
              </a:p>
            </p:txBody>
          </p:sp>
          <p:sp>
            <p:nvSpPr>
              <p:cNvPr id="4190" name="Vrije vorm: vorm 4189">
                <a:extLst>
                  <a:ext uri="{FF2B5EF4-FFF2-40B4-BE49-F238E27FC236}">
                    <a16:creationId xmlns:a16="http://schemas.microsoft.com/office/drawing/2014/main" id="{0EFF4230-7CBA-405F-94AE-10701A3BA814}"/>
                  </a:ext>
                </a:extLst>
              </p:cNvPr>
              <p:cNvSpPr/>
              <p:nvPr/>
            </p:nvSpPr>
            <p:spPr>
              <a:xfrm>
                <a:off x="6562226" y="1774969"/>
                <a:ext cx="18343" cy="18419"/>
              </a:xfrm>
              <a:custGeom>
                <a:avLst/>
                <a:gdLst>
                  <a:gd name="connsiteX0" fmla="*/ 17664 w 18343"/>
                  <a:gd name="connsiteY0" fmla="*/ 12709 h 18419"/>
                  <a:gd name="connsiteX1" fmla="*/ 5703 w 18343"/>
                  <a:gd name="connsiteY1" fmla="*/ 17732 h 18419"/>
                  <a:gd name="connsiteX2" fmla="*/ 679 w 18343"/>
                  <a:gd name="connsiteY2" fmla="*/ 5711 h 18419"/>
                  <a:gd name="connsiteX3" fmla="*/ 12641 w 18343"/>
                  <a:gd name="connsiteY3" fmla="*/ 687 h 18419"/>
                  <a:gd name="connsiteX4" fmla="*/ 17664 w 18343"/>
                  <a:gd name="connsiteY4" fmla="*/ 12709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9">
                    <a:moveTo>
                      <a:pt x="17664" y="12709"/>
                    </a:moveTo>
                    <a:cubicBezTo>
                      <a:pt x="15751" y="17433"/>
                      <a:pt x="10428" y="19646"/>
                      <a:pt x="5703" y="17732"/>
                    </a:cubicBezTo>
                    <a:cubicBezTo>
                      <a:pt x="1038" y="15819"/>
                      <a:pt x="-1235" y="10436"/>
                      <a:pt x="679" y="5711"/>
                    </a:cubicBezTo>
                    <a:cubicBezTo>
                      <a:pt x="2593" y="986"/>
                      <a:pt x="7916" y="-1227"/>
                      <a:pt x="12641" y="687"/>
                    </a:cubicBezTo>
                    <a:cubicBezTo>
                      <a:pt x="17306" y="2601"/>
                      <a:pt x="19578" y="7984"/>
                      <a:pt x="17664" y="12709"/>
                    </a:cubicBezTo>
                    <a:close/>
                  </a:path>
                </a:pathLst>
              </a:custGeom>
              <a:grpFill/>
              <a:ln w="5978" cap="flat">
                <a:noFill/>
                <a:prstDash val="solid"/>
                <a:miter/>
              </a:ln>
            </p:spPr>
            <p:txBody>
              <a:bodyPr rtlCol="0" anchor="ctr"/>
              <a:lstStyle/>
              <a:p>
                <a:endParaRPr lang="en-GB"/>
              </a:p>
            </p:txBody>
          </p:sp>
          <p:sp>
            <p:nvSpPr>
              <p:cNvPr id="4191" name="Vrije vorm: vorm 4190">
                <a:extLst>
                  <a:ext uri="{FF2B5EF4-FFF2-40B4-BE49-F238E27FC236}">
                    <a16:creationId xmlns:a16="http://schemas.microsoft.com/office/drawing/2014/main" id="{682A48ED-88C5-459F-AEFF-C1A71467905D}"/>
                  </a:ext>
                </a:extLst>
              </p:cNvPr>
              <p:cNvSpPr/>
              <p:nvPr/>
            </p:nvSpPr>
            <p:spPr>
              <a:xfrm>
                <a:off x="6754984" y="1297767"/>
                <a:ext cx="18344" cy="18419"/>
              </a:xfrm>
              <a:custGeom>
                <a:avLst/>
                <a:gdLst>
                  <a:gd name="connsiteX0" fmla="*/ 17665 w 18344"/>
                  <a:gd name="connsiteY0" fmla="*/ 12709 h 18419"/>
                  <a:gd name="connsiteX1" fmla="*/ 12641 w 18344"/>
                  <a:gd name="connsiteY1" fmla="*/ 687 h 18419"/>
                  <a:gd name="connsiteX2" fmla="*/ 679 w 18344"/>
                  <a:gd name="connsiteY2" fmla="*/ 5711 h 18419"/>
                  <a:gd name="connsiteX3" fmla="*/ 5703 w 18344"/>
                  <a:gd name="connsiteY3" fmla="*/ 17732 h 18419"/>
                  <a:gd name="connsiteX4" fmla="*/ 17665 w 18344"/>
                  <a:gd name="connsiteY4" fmla="*/ 12709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19">
                    <a:moveTo>
                      <a:pt x="17665" y="12709"/>
                    </a:moveTo>
                    <a:cubicBezTo>
                      <a:pt x="19579" y="7984"/>
                      <a:pt x="17306" y="2601"/>
                      <a:pt x="12641" y="687"/>
                    </a:cubicBezTo>
                    <a:cubicBezTo>
                      <a:pt x="7976" y="-1227"/>
                      <a:pt x="2593" y="986"/>
                      <a:pt x="679" y="5711"/>
                    </a:cubicBezTo>
                    <a:cubicBezTo>
                      <a:pt x="-1235" y="10436"/>
                      <a:pt x="1038" y="15819"/>
                      <a:pt x="5703" y="17732"/>
                    </a:cubicBezTo>
                    <a:cubicBezTo>
                      <a:pt x="10368" y="19646"/>
                      <a:pt x="15811" y="17433"/>
                      <a:pt x="17665" y="12709"/>
                    </a:cubicBezTo>
                    <a:close/>
                  </a:path>
                </a:pathLst>
              </a:custGeom>
              <a:grpFill/>
              <a:ln w="5978" cap="flat">
                <a:noFill/>
                <a:prstDash val="solid"/>
                <a:miter/>
              </a:ln>
            </p:spPr>
            <p:txBody>
              <a:bodyPr rtlCol="0" anchor="ctr"/>
              <a:lstStyle/>
              <a:p>
                <a:endParaRPr lang="en-GB"/>
              </a:p>
            </p:txBody>
          </p:sp>
        </p:grpSp>
        <p:grpSp>
          <p:nvGrpSpPr>
            <p:cNvPr id="399" name="Graphic 3">
              <a:extLst>
                <a:ext uri="{FF2B5EF4-FFF2-40B4-BE49-F238E27FC236}">
                  <a16:creationId xmlns:a16="http://schemas.microsoft.com/office/drawing/2014/main" id="{A6BE82EB-06E2-426D-92E1-2E67310527CC}"/>
                </a:ext>
              </a:extLst>
            </p:cNvPr>
            <p:cNvGrpSpPr/>
            <p:nvPr/>
          </p:nvGrpSpPr>
          <p:grpSpPr>
            <a:xfrm>
              <a:off x="6657282" y="1531166"/>
              <a:ext cx="116979" cy="279088"/>
              <a:chOff x="6657282" y="1531166"/>
              <a:chExt cx="116979" cy="279088"/>
            </a:xfrm>
            <a:grpFill/>
          </p:grpSpPr>
          <p:sp>
            <p:nvSpPr>
              <p:cNvPr id="4186" name="Vrije vorm: vorm 4185">
                <a:extLst>
                  <a:ext uri="{FF2B5EF4-FFF2-40B4-BE49-F238E27FC236}">
                    <a16:creationId xmlns:a16="http://schemas.microsoft.com/office/drawing/2014/main" id="{391F3F7B-6D83-4CF6-8509-16B9914D9F17}"/>
                  </a:ext>
                </a:extLst>
              </p:cNvPr>
              <p:cNvSpPr/>
              <p:nvPr/>
            </p:nvSpPr>
            <p:spPr>
              <a:xfrm>
                <a:off x="6664876" y="1539418"/>
                <a:ext cx="101792" cy="262613"/>
              </a:xfrm>
              <a:custGeom>
                <a:avLst/>
                <a:gdLst>
                  <a:gd name="connsiteX0" fmla="*/ 101792 w 101792"/>
                  <a:gd name="connsiteY0" fmla="*/ 1076 h 262613"/>
                  <a:gd name="connsiteX1" fmla="*/ 2811 w 101792"/>
                  <a:gd name="connsiteY1" fmla="*/ 262614 h 262613"/>
                  <a:gd name="connsiteX2" fmla="*/ 0 w 101792"/>
                  <a:gd name="connsiteY2" fmla="*/ 261477 h 262613"/>
                  <a:gd name="connsiteX3" fmla="*/ 98921 w 101792"/>
                  <a:gd name="connsiteY3" fmla="*/ 0 h 262613"/>
                </a:gdLst>
                <a:ahLst/>
                <a:cxnLst>
                  <a:cxn ang="0">
                    <a:pos x="connsiteX0" y="connsiteY0"/>
                  </a:cxn>
                  <a:cxn ang="0">
                    <a:pos x="connsiteX1" y="connsiteY1"/>
                  </a:cxn>
                  <a:cxn ang="0">
                    <a:pos x="connsiteX2" y="connsiteY2"/>
                  </a:cxn>
                  <a:cxn ang="0">
                    <a:pos x="connsiteX3" y="connsiteY3"/>
                  </a:cxn>
                </a:cxnLst>
                <a:rect l="l" t="t" r="r" b="b"/>
                <a:pathLst>
                  <a:path w="101792" h="262613">
                    <a:moveTo>
                      <a:pt x="101792" y="1076"/>
                    </a:moveTo>
                    <a:lnTo>
                      <a:pt x="2811" y="262614"/>
                    </a:lnTo>
                    <a:lnTo>
                      <a:pt x="0" y="261477"/>
                    </a:lnTo>
                    <a:lnTo>
                      <a:pt x="98921" y="0"/>
                    </a:lnTo>
                    <a:close/>
                  </a:path>
                </a:pathLst>
              </a:custGeom>
              <a:grpFill/>
              <a:ln w="5978" cap="flat">
                <a:noFill/>
                <a:prstDash val="solid"/>
                <a:miter/>
              </a:ln>
            </p:spPr>
            <p:txBody>
              <a:bodyPr rtlCol="0" anchor="ctr"/>
              <a:lstStyle/>
              <a:p>
                <a:endParaRPr lang="en-GB"/>
              </a:p>
            </p:txBody>
          </p:sp>
          <p:sp>
            <p:nvSpPr>
              <p:cNvPr id="4187" name="Vrije vorm: vorm 4186">
                <a:extLst>
                  <a:ext uri="{FF2B5EF4-FFF2-40B4-BE49-F238E27FC236}">
                    <a16:creationId xmlns:a16="http://schemas.microsoft.com/office/drawing/2014/main" id="{4E44FEDA-DC51-479E-8CEE-8F81348CCE6B}"/>
                  </a:ext>
                </a:extLst>
              </p:cNvPr>
              <p:cNvSpPr/>
              <p:nvPr/>
            </p:nvSpPr>
            <p:spPr>
              <a:xfrm>
                <a:off x="6755905" y="1531166"/>
                <a:ext cx="18357" cy="18417"/>
              </a:xfrm>
              <a:custGeom>
                <a:avLst/>
                <a:gdLst>
                  <a:gd name="connsiteX0" fmla="*/ 596 w 18357"/>
                  <a:gd name="connsiteY0" fmla="*/ 5919 h 18417"/>
                  <a:gd name="connsiteX1" fmla="*/ 12438 w 18357"/>
                  <a:gd name="connsiteY1" fmla="*/ 596 h 18417"/>
                  <a:gd name="connsiteX2" fmla="*/ 17761 w 18357"/>
                  <a:gd name="connsiteY2" fmla="*/ 12498 h 18417"/>
                  <a:gd name="connsiteX3" fmla="*/ 5919 w 18357"/>
                  <a:gd name="connsiteY3" fmla="*/ 17821 h 18417"/>
                  <a:gd name="connsiteX4" fmla="*/ 596 w 18357"/>
                  <a:gd name="connsiteY4" fmla="*/ 5919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7">
                    <a:moveTo>
                      <a:pt x="596" y="5919"/>
                    </a:moveTo>
                    <a:cubicBezTo>
                      <a:pt x="2391" y="1195"/>
                      <a:pt x="7713" y="-1198"/>
                      <a:pt x="12438" y="596"/>
                    </a:cubicBezTo>
                    <a:cubicBezTo>
                      <a:pt x="17163" y="2450"/>
                      <a:pt x="19555" y="7773"/>
                      <a:pt x="17761" y="12498"/>
                    </a:cubicBezTo>
                    <a:cubicBezTo>
                      <a:pt x="15967" y="17223"/>
                      <a:pt x="10644" y="19615"/>
                      <a:pt x="5919" y="17821"/>
                    </a:cubicBezTo>
                    <a:cubicBezTo>
                      <a:pt x="1194" y="15967"/>
                      <a:pt x="-1198" y="10644"/>
                      <a:pt x="596" y="5919"/>
                    </a:cubicBezTo>
                    <a:close/>
                  </a:path>
                </a:pathLst>
              </a:custGeom>
              <a:grpFill/>
              <a:ln w="5978" cap="flat">
                <a:noFill/>
                <a:prstDash val="solid"/>
                <a:miter/>
              </a:ln>
            </p:spPr>
            <p:txBody>
              <a:bodyPr rtlCol="0" anchor="ctr"/>
              <a:lstStyle/>
              <a:p>
                <a:endParaRPr lang="en-GB"/>
              </a:p>
            </p:txBody>
          </p:sp>
          <p:sp>
            <p:nvSpPr>
              <p:cNvPr id="4188" name="Vrije vorm: vorm 4187">
                <a:extLst>
                  <a:ext uri="{FF2B5EF4-FFF2-40B4-BE49-F238E27FC236}">
                    <a16:creationId xmlns:a16="http://schemas.microsoft.com/office/drawing/2014/main" id="{62ED4B00-9D96-4D45-8D6A-EEFD86A5DBA2}"/>
                  </a:ext>
                </a:extLst>
              </p:cNvPr>
              <p:cNvSpPr/>
              <p:nvPr/>
            </p:nvSpPr>
            <p:spPr>
              <a:xfrm>
                <a:off x="6657282" y="1791806"/>
                <a:ext cx="18357" cy="18448"/>
              </a:xfrm>
              <a:custGeom>
                <a:avLst/>
                <a:gdLst>
                  <a:gd name="connsiteX0" fmla="*/ 597 w 18357"/>
                  <a:gd name="connsiteY0" fmla="*/ 5919 h 18448"/>
                  <a:gd name="connsiteX1" fmla="*/ 5919 w 18357"/>
                  <a:gd name="connsiteY1" fmla="*/ 17821 h 18448"/>
                  <a:gd name="connsiteX2" fmla="*/ 17761 w 18357"/>
                  <a:gd name="connsiteY2" fmla="*/ 12498 h 18448"/>
                  <a:gd name="connsiteX3" fmla="*/ 12438 w 18357"/>
                  <a:gd name="connsiteY3" fmla="*/ 596 h 18448"/>
                  <a:gd name="connsiteX4" fmla="*/ 597 w 18357"/>
                  <a:gd name="connsiteY4" fmla="*/ 5919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8">
                    <a:moveTo>
                      <a:pt x="597" y="5919"/>
                    </a:moveTo>
                    <a:cubicBezTo>
                      <a:pt x="-1198" y="10644"/>
                      <a:pt x="1194" y="16027"/>
                      <a:pt x="5919" y="17821"/>
                    </a:cubicBezTo>
                    <a:cubicBezTo>
                      <a:pt x="10644" y="19675"/>
                      <a:pt x="15967" y="17283"/>
                      <a:pt x="17761" y="12498"/>
                    </a:cubicBezTo>
                    <a:cubicBezTo>
                      <a:pt x="19555" y="7773"/>
                      <a:pt x="17163" y="2391"/>
                      <a:pt x="12438" y="596"/>
                    </a:cubicBezTo>
                    <a:cubicBezTo>
                      <a:pt x="7714" y="-1198"/>
                      <a:pt x="2391" y="1194"/>
                      <a:pt x="597" y="5919"/>
                    </a:cubicBezTo>
                    <a:close/>
                  </a:path>
                </a:pathLst>
              </a:custGeom>
              <a:grpFill/>
              <a:ln w="5978" cap="flat">
                <a:noFill/>
                <a:prstDash val="solid"/>
                <a:miter/>
              </a:ln>
            </p:spPr>
            <p:txBody>
              <a:bodyPr rtlCol="0" anchor="ctr"/>
              <a:lstStyle/>
              <a:p>
                <a:endParaRPr lang="en-GB"/>
              </a:p>
            </p:txBody>
          </p:sp>
        </p:grpSp>
        <p:grpSp>
          <p:nvGrpSpPr>
            <p:cNvPr id="400" name="Graphic 3">
              <a:extLst>
                <a:ext uri="{FF2B5EF4-FFF2-40B4-BE49-F238E27FC236}">
                  <a16:creationId xmlns:a16="http://schemas.microsoft.com/office/drawing/2014/main" id="{0128B0C9-5B68-4411-8CD7-E997B7DC8935}"/>
                </a:ext>
              </a:extLst>
            </p:cNvPr>
            <p:cNvGrpSpPr/>
            <p:nvPr/>
          </p:nvGrpSpPr>
          <p:grpSpPr>
            <a:xfrm>
              <a:off x="7520766" y="4237929"/>
              <a:ext cx="114353" cy="72467"/>
              <a:chOff x="7520766" y="4237929"/>
              <a:chExt cx="114353" cy="72467"/>
            </a:xfrm>
            <a:grpFill/>
          </p:grpSpPr>
          <p:sp>
            <p:nvSpPr>
              <p:cNvPr id="4183" name="Vrije vorm: vorm 4182">
                <a:extLst>
                  <a:ext uri="{FF2B5EF4-FFF2-40B4-BE49-F238E27FC236}">
                    <a16:creationId xmlns:a16="http://schemas.microsoft.com/office/drawing/2014/main" id="{B400B892-87AD-4823-8F7E-E1FFDE9D2C5E}"/>
                  </a:ext>
                </a:extLst>
              </p:cNvPr>
              <p:cNvSpPr/>
              <p:nvPr/>
            </p:nvSpPr>
            <p:spPr>
              <a:xfrm>
                <a:off x="7528792" y="4245575"/>
                <a:ext cx="98322" cy="57175"/>
              </a:xfrm>
              <a:custGeom>
                <a:avLst/>
                <a:gdLst>
                  <a:gd name="connsiteX0" fmla="*/ 98323 w 98322"/>
                  <a:gd name="connsiteY0" fmla="*/ 54485 h 57175"/>
                  <a:gd name="connsiteX1" fmla="*/ 96828 w 98322"/>
                  <a:gd name="connsiteY1" fmla="*/ 57176 h 57175"/>
                  <a:gd name="connsiteX2" fmla="*/ 0 w 98322"/>
                  <a:gd name="connsiteY2" fmla="*/ 2691 h 57175"/>
                  <a:gd name="connsiteX3" fmla="*/ 1495 w 98322"/>
                  <a:gd name="connsiteY3" fmla="*/ 0 h 57175"/>
                </a:gdLst>
                <a:ahLst/>
                <a:cxnLst>
                  <a:cxn ang="0">
                    <a:pos x="connsiteX0" y="connsiteY0"/>
                  </a:cxn>
                  <a:cxn ang="0">
                    <a:pos x="connsiteX1" y="connsiteY1"/>
                  </a:cxn>
                  <a:cxn ang="0">
                    <a:pos x="connsiteX2" y="connsiteY2"/>
                  </a:cxn>
                  <a:cxn ang="0">
                    <a:pos x="connsiteX3" y="connsiteY3"/>
                  </a:cxn>
                </a:cxnLst>
                <a:rect l="l" t="t" r="r" b="b"/>
                <a:pathLst>
                  <a:path w="98322" h="57175">
                    <a:moveTo>
                      <a:pt x="98323" y="54485"/>
                    </a:moveTo>
                    <a:lnTo>
                      <a:pt x="96828" y="57176"/>
                    </a:lnTo>
                    <a:lnTo>
                      <a:pt x="0" y="2691"/>
                    </a:lnTo>
                    <a:lnTo>
                      <a:pt x="1495" y="0"/>
                    </a:lnTo>
                    <a:close/>
                  </a:path>
                </a:pathLst>
              </a:custGeom>
              <a:grpFill/>
              <a:ln w="5978" cap="flat">
                <a:noFill/>
                <a:prstDash val="solid"/>
                <a:miter/>
              </a:ln>
            </p:spPr>
            <p:txBody>
              <a:bodyPr rtlCol="0" anchor="ctr"/>
              <a:lstStyle/>
              <a:p>
                <a:endParaRPr lang="en-GB"/>
              </a:p>
            </p:txBody>
          </p:sp>
          <p:sp>
            <p:nvSpPr>
              <p:cNvPr id="4184" name="Vrije vorm: vorm 4183">
                <a:extLst>
                  <a:ext uri="{FF2B5EF4-FFF2-40B4-BE49-F238E27FC236}">
                    <a16:creationId xmlns:a16="http://schemas.microsoft.com/office/drawing/2014/main" id="{C0737860-CCB9-43A9-84E3-2A2A7F67189B}"/>
                  </a:ext>
                </a:extLst>
              </p:cNvPr>
              <p:cNvSpPr/>
              <p:nvPr/>
            </p:nvSpPr>
            <p:spPr>
              <a:xfrm>
                <a:off x="7616777" y="4291961"/>
                <a:ext cx="18342" cy="18435"/>
              </a:xfrm>
              <a:custGeom>
                <a:avLst/>
                <a:gdLst>
                  <a:gd name="connsiteX0" fmla="*/ 13627 w 18342"/>
                  <a:gd name="connsiteY0" fmla="*/ 1160 h 18435"/>
                  <a:gd name="connsiteX1" fmla="*/ 17155 w 18342"/>
                  <a:gd name="connsiteY1" fmla="*/ 13720 h 18435"/>
                  <a:gd name="connsiteX2" fmla="*/ 4715 w 18342"/>
                  <a:gd name="connsiteY2" fmla="*/ 17248 h 18435"/>
                  <a:gd name="connsiteX3" fmla="*/ 1187 w 18342"/>
                  <a:gd name="connsiteY3" fmla="*/ 4689 h 18435"/>
                  <a:gd name="connsiteX4" fmla="*/ 13627 w 18342"/>
                  <a:gd name="connsiteY4" fmla="*/ 1160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35">
                    <a:moveTo>
                      <a:pt x="13627" y="1160"/>
                    </a:moveTo>
                    <a:cubicBezTo>
                      <a:pt x="18052" y="3672"/>
                      <a:pt x="19667" y="9294"/>
                      <a:pt x="17155" y="13720"/>
                    </a:cubicBezTo>
                    <a:cubicBezTo>
                      <a:pt x="14703" y="18146"/>
                      <a:pt x="9141" y="19760"/>
                      <a:pt x="4715" y="17248"/>
                    </a:cubicBezTo>
                    <a:cubicBezTo>
                      <a:pt x="290" y="14737"/>
                      <a:pt x="-1325" y="9115"/>
                      <a:pt x="1187" y="4689"/>
                    </a:cubicBezTo>
                    <a:cubicBezTo>
                      <a:pt x="3639" y="263"/>
                      <a:pt x="9201" y="-1292"/>
                      <a:pt x="13627" y="1160"/>
                    </a:cubicBezTo>
                    <a:close/>
                  </a:path>
                </a:pathLst>
              </a:custGeom>
              <a:grpFill/>
              <a:ln w="5978" cap="flat">
                <a:noFill/>
                <a:prstDash val="solid"/>
                <a:miter/>
              </a:ln>
            </p:spPr>
            <p:txBody>
              <a:bodyPr rtlCol="0" anchor="ctr"/>
              <a:lstStyle/>
              <a:p>
                <a:endParaRPr lang="en-GB"/>
              </a:p>
            </p:txBody>
          </p:sp>
          <p:sp>
            <p:nvSpPr>
              <p:cNvPr id="4185" name="Vrije vorm: vorm 4184">
                <a:extLst>
                  <a:ext uri="{FF2B5EF4-FFF2-40B4-BE49-F238E27FC236}">
                    <a16:creationId xmlns:a16="http://schemas.microsoft.com/office/drawing/2014/main" id="{B6A69817-0D51-48D5-B247-FE7652AA53A5}"/>
                  </a:ext>
                </a:extLst>
              </p:cNvPr>
              <p:cNvSpPr/>
              <p:nvPr/>
            </p:nvSpPr>
            <p:spPr>
              <a:xfrm>
                <a:off x="7520766" y="4237929"/>
                <a:ext cx="18303" cy="18461"/>
              </a:xfrm>
              <a:custGeom>
                <a:avLst/>
                <a:gdLst>
                  <a:gd name="connsiteX0" fmla="*/ 13588 w 18303"/>
                  <a:gd name="connsiteY0" fmla="*/ 1187 h 18461"/>
                  <a:gd name="connsiteX1" fmla="*/ 1148 w 18303"/>
                  <a:gd name="connsiteY1" fmla="*/ 4715 h 18461"/>
                  <a:gd name="connsiteX2" fmla="*/ 4676 w 18303"/>
                  <a:gd name="connsiteY2" fmla="*/ 17275 h 18461"/>
                  <a:gd name="connsiteX3" fmla="*/ 17117 w 18303"/>
                  <a:gd name="connsiteY3" fmla="*/ 13746 h 18461"/>
                  <a:gd name="connsiteX4" fmla="*/ 13588 w 18303"/>
                  <a:gd name="connsiteY4" fmla="*/ 1187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1">
                    <a:moveTo>
                      <a:pt x="13588" y="1187"/>
                    </a:moveTo>
                    <a:cubicBezTo>
                      <a:pt x="9162" y="-1325"/>
                      <a:pt x="3600" y="290"/>
                      <a:pt x="1148" y="4715"/>
                    </a:cubicBezTo>
                    <a:cubicBezTo>
                      <a:pt x="-1304" y="9141"/>
                      <a:pt x="311" y="14763"/>
                      <a:pt x="4676" y="17275"/>
                    </a:cubicBezTo>
                    <a:cubicBezTo>
                      <a:pt x="9043" y="19787"/>
                      <a:pt x="14664" y="18172"/>
                      <a:pt x="17117" y="13746"/>
                    </a:cubicBezTo>
                    <a:cubicBezTo>
                      <a:pt x="19628" y="9261"/>
                      <a:pt x="18014" y="3639"/>
                      <a:pt x="13588" y="1187"/>
                    </a:cubicBezTo>
                    <a:close/>
                  </a:path>
                </a:pathLst>
              </a:custGeom>
              <a:grpFill/>
              <a:ln w="5978" cap="flat">
                <a:noFill/>
                <a:prstDash val="solid"/>
                <a:miter/>
              </a:ln>
            </p:spPr>
            <p:txBody>
              <a:bodyPr rtlCol="0" anchor="ctr"/>
              <a:lstStyle/>
              <a:p>
                <a:endParaRPr lang="en-GB"/>
              </a:p>
            </p:txBody>
          </p:sp>
        </p:grpSp>
        <p:grpSp>
          <p:nvGrpSpPr>
            <p:cNvPr id="401" name="Graphic 3">
              <a:extLst>
                <a:ext uri="{FF2B5EF4-FFF2-40B4-BE49-F238E27FC236}">
                  <a16:creationId xmlns:a16="http://schemas.microsoft.com/office/drawing/2014/main" id="{526047A3-41F6-4609-A55B-69384CC93A24}"/>
                </a:ext>
              </a:extLst>
            </p:cNvPr>
            <p:cNvGrpSpPr/>
            <p:nvPr/>
          </p:nvGrpSpPr>
          <p:grpSpPr>
            <a:xfrm>
              <a:off x="7526704" y="4433416"/>
              <a:ext cx="268761" cy="191854"/>
              <a:chOff x="7526704" y="4433416"/>
              <a:chExt cx="268761" cy="191854"/>
            </a:xfrm>
            <a:grpFill/>
          </p:grpSpPr>
          <p:sp>
            <p:nvSpPr>
              <p:cNvPr id="4180" name="Vrije vorm: vorm 4179">
                <a:extLst>
                  <a:ext uri="{FF2B5EF4-FFF2-40B4-BE49-F238E27FC236}">
                    <a16:creationId xmlns:a16="http://schemas.microsoft.com/office/drawing/2014/main" id="{4D5CAC71-E9E4-488D-958A-D6E7AC326FC6}"/>
                  </a:ext>
                </a:extLst>
              </p:cNvPr>
              <p:cNvSpPr/>
              <p:nvPr/>
            </p:nvSpPr>
            <p:spPr>
              <a:xfrm>
                <a:off x="7534653" y="4441084"/>
                <a:ext cx="252865" cy="176551"/>
              </a:xfrm>
              <a:custGeom>
                <a:avLst/>
                <a:gdLst>
                  <a:gd name="connsiteX0" fmla="*/ 252865 w 252865"/>
                  <a:gd name="connsiteY0" fmla="*/ 173979 h 176551"/>
                  <a:gd name="connsiteX1" fmla="*/ 251130 w 252865"/>
                  <a:gd name="connsiteY1" fmla="*/ 176551 h 176551"/>
                  <a:gd name="connsiteX2" fmla="*/ 0 w 252865"/>
                  <a:gd name="connsiteY2" fmla="*/ 2572 h 176551"/>
                  <a:gd name="connsiteX3" fmla="*/ 1675 w 252865"/>
                  <a:gd name="connsiteY3" fmla="*/ 0 h 176551"/>
                </a:gdLst>
                <a:ahLst/>
                <a:cxnLst>
                  <a:cxn ang="0">
                    <a:pos x="connsiteX0" y="connsiteY0"/>
                  </a:cxn>
                  <a:cxn ang="0">
                    <a:pos x="connsiteX1" y="connsiteY1"/>
                  </a:cxn>
                  <a:cxn ang="0">
                    <a:pos x="connsiteX2" y="connsiteY2"/>
                  </a:cxn>
                  <a:cxn ang="0">
                    <a:pos x="connsiteX3" y="connsiteY3"/>
                  </a:cxn>
                </a:cxnLst>
                <a:rect l="l" t="t" r="r" b="b"/>
                <a:pathLst>
                  <a:path w="252865" h="176551">
                    <a:moveTo>
                      <a:pt x="252865" y="173979"/>
                    </a:moveTo>
                    <a:lnTo>
                      <a:pt x="251130" y="176551"/>
                    </a:lnTo>
                    <a:lnTo>
                      <a:pt x="0" y="2572"/>
                    </a:lnTo>
                    <a:lnTo>
                      <a:pt x="1675" y="0"/>
                    </a:lnTo>
                    <a:close/>
                  </a:path>
                </a:pathLst>
              </a:custGeom>
              <a:grpFill/>
              <a:ln w="5978" cap="flat">
                <a:noFill/>
                <a:prstDash val="solid"/>
                <a:miter/>
              </a:ln>
            </p:spPr>
            <p:txBody>
              <a:bodyPr rtlCol="0" anchor="ctr"/>
              <a:lstStyle/>
              <a:p>
                <a:endParaRPr lang="en-GB"/>
              </a:p>
            </p:txBody>
          </p:sp>
          <p:sp>
            <p:nvSpPr>
              <p:cNvPr id="4181" name="Vrije vorm: vorm 4180">
                <a:extLst>
                  <a:ext uri="{FF2B5EF4-FFF2-40B4-BE49-F238E27FC236}">
                    <a16:creationId xmlns:a16="http://schemas.microsoft.com/office/drawing/2014/main" id="{0101D328-32AD-4BAF-A567-33FF795222EF}"/>
                  </a:ext>
                </a:extLst>
              </p:cNvPr>
              <p:cNvSpPr/>
              <p:nvPr/>
            </p:nvSpPr>
            <p:spPr>
              <a:xfrm>
                <a:off x="7777117" y="4606873"/>
                <a:ext cx="18348" cy="18397"/>
              </a:xfrm>
              <a:custGeom>
                <a:avLst/>
                <a:gdLst>
                  <a:gd name="connsiteX0" fmla="*/ 14348 w 18348"/>
                  <a:gd name="connsiteY0" fmla="*/ 1612 h 18397"/>
                  <a:gd name="connsiteX1" fmla="*/ 16740 w 18348"/>
                  <a:gd name="connsiteY1" fmla="*/ 14411 h 18397"/>
                  <a:gd name="connsiteX2" fmla="*/ 4001 w 18348"/>
                  <a:gd name="connsiteY2" fmla="*/ 16743 h 18397"/>
                  <a:gd name="connsiteX3" fmla="*/ 1609 w 18348"/>
                  <a:gd name="connsiteY3" fmla="*/ 3944 h 18397"/>
                  <a:gd name="connsiteX4" fmla="*/ 14348 w 18348"/>
                  <a:gd name="connsiteY4" fmla="*/ 161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97">
                    <a:moveTo>
                      <a:pt x="14348" y="1612"/>
                    </a:moveTo>
                    <a:cubicBezTo>
                      <a:pt x="18534" y="4483"/>
                      <a:pt x="19610" y="10224"/>
                      <a:pt x="16740" y="14411"/>
                    </a:cubicBezTo>
                    <a:cubicBezTo>
                      <a:pt x="13869" y="18597"/>
                      <a:pt x="8188" y="19674"/>
                      <a:pt x="4001" y="16743"/>
                    </a:cubicBezTo>
                    <a:cubicBezTo>
                      <a:pt x="-185" y="13873"/>
                      <a:pt x="-1262" y="8131"/>
                      <a:pt x="1609" y="3944"/>
                    </a:cubicBezTo>
                    <a:cubicBezTo>
                      <a:pt x="4480" y="-182"/>
                      <a:pt x="10161" y="-1259"/>
                      <a:pt x="14348" y="1612"/>
                    </a:cubicBezTo>
                    <a:close/>
                  </a:path>
                </a:pathLst>
              </a:custGeom>
              <a:grpFill/>
              <a:ln w="5978" cap="flat">
                <a:noFill/>
                <a:prstDash val="solid"/>
                <a:miter/>
              </a:ln>
            </p:spPr>
            <p:txBody>
              <a:bodyPr rtlCol="0" anchor="ctr"/>
              <a:lstStyle/>
              <a:p>
                <a:endParaRPr lang="en-GB"/>
              </a:p>
            </p:txBody>
          </p:sp>
          <p:sp>
            <p:nvSpPr>
              <p:cNvPr id="4182" name="Vrije vorm: vorm 4181">
                <a:extLst>
                  <a:ext uri="{FF2B5EF4-FFF2-40B4-BE49-F238E27FC236}">
                    <a16:creationId xmlns:a16="http://schemas.microsoft.com/office/drawing/2014/main" id="{FDDAD42C-A22A-4615-8F8D-54DF818CC408}"/>
                  </a:ext>
                </a:extLst>
              </p:cNvPr>
              <p:cNvSpPr/>
              <p:nvPr/>
            </p:nvSpPr>
            <p:spPr>
              <a:xfrm>
                <a:off x="7526704" y="4433416"/>
                <a:ext cx="18348" cy="18387"/>
              </a:xfrm>
              <a:custGeom>
                <a:avLst/>
                <a:gdLst>
                  <a:gd name="connsiteX0" fmla="*/ 14347 w 18348"/>
                  <a:gd name="connsiteY0" fmla="*/ 1628 h 18387"/>
                  <a:gd name="connsiteX1" fmla="*/ 1609 w 18348"/>
                  <a:gd name="connsiteY1" fmla="*/ 3961 h 18387"/>
                  <a:gd name="connsiteX2" fmla="*/ 4001 w 18348"/>
                  <a:gd name="connsiteY2" fmla="*/ 16759 h 18387"/>
                  <a:gd name="connsiteX3" fmla="*/ 16740 w 18348"/>
                  <a:gd name="connsiteY3" fmla="*/ 14427 h 18387"/>
                  <a:gd name="connsiteX4" fmla="*/ 14347 w 18348"/>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87">
                    <a:moveTo>
                      <a:pt x="14347" y="1628"/>
                    </a:moveTo>
                    <a:cubicBezTo>
                      <a:pt x="10161" y="-1243"/>
                      <a:pt x="4480" y="-226"/>
                      <a:pt x="1609" y="3961"/>
                    </a:cubicBezTo>
                    <a:cubicBezTo>
                      <a:pt x="-1262" y="8147"/>
                      <a:pt x="-185" y="13889"/>
                      <a:pt x="4001" y="16759"/>
                    </a:cubicBezTo>
                    <a:cubicBezTo>
                      <a:pt x="8188" y="19630"/>
                      <a:pt x="13869" y="18613"/>
                      <a:pt x="16740" y="14427"/>
                    </a:cubicBezTo>
                    <a:cubicBezTo>
                      <a:pt x="19610" y="10300"/>
                      <a:pt x="18534" y="4559"/>
                      <a:pt x="14347" y="1628"/>
                    </a:cubicBezTo>
                    <a:close/>
                  </a:path>
                </a:pathLst>
              </a:custGeom>
              <a:grpFill/>
              <a:ln w="5978" cap="flat">
                <a:noFill/>
                <a:prstDash val="solid"/>
                <a:miter/>
              </a:ln>
            </p:spPr>
            <p:txBody>
              <a:bodyPr rtlCol="0" anchor="ctr"/>
              <a:lstStyle/>
              <a:p>
                <a:endParaRPr lang="en-GB"/>
              </a:p>
            </p:txBody>
          </p:sp>
        </p:grpSp>
        <p:grpSp>
          <p:nvGrpSpPr>
            <p:cNvPr id="402" name="Graphic 3">
              <a:extLst>
                <a:ext uri="{FF2B5EF4-FFF2-40B4-BE49-F238E27FC236}">
                  <a16:creationId xmlns:a16="http://schemas.microsoft.com/office/drawing/2014/main" id="{65FA5FAC-6F04-45EE-95B9-4B3B0ECB502E}"/>
                </a:ext>
              </a:extLst>
            </p:cNvPr>
            <p:cNvGrpSpPr/>
            <p:nvPr/>
          </p:nvGrpSpPr>
          <p:grpSpPr>
            <a:xfrm>
              <a:off x="7380373" y="4447457"/>
              <a:ext cx="731117" cy="634488"/>
              <a:chOff x="7380373" y="4447457"/>
              <a:chExt cx="731117" cy="634488"/>
            </a:xfrm>
            <a:grpFill/>
          </p:grpSpPr>
          <p:sp>
            <p:nvSpPr>
              <p:cNvPr id="4177" name="Vrije vorm: vorm 4176">
                <a:extLst>
                  <a:ext uri="{FF2B5EF4-FFF2-40B4-BE49-F238E27FC236}">
                    <a16:creationId xmlns:a16="http://schemas.microsoft.com/office/drawing/2014/main" id="{56B077F2-B1EB-4E09-A1B6-FF9FB50D9D95}"/>
                  </a:ext>
                </a:extLst>
              </p:cNvPr>
              <p:cNvSpPr/>
              <p:nvPr/>
            </p:nvSpPr>
            <p:spPr>
              <a:xfrm>
                <a:off x="7388245" y="4455199"/>
                <a:ext cx="715413" cy="619004"/>
              </a:xfrm>
              <a:custGeom>
                <a:avLst/>
                <a:gdLst>
                  <a:gd name="connsiteX0" fmla="*/ 715414 w 715413"/>
                  <a:gd name="connsiteY0" fmla="*/ 616672 h 619004"/>
                  <a:gd name="connsiteX1" fmla="*/ 713441 w 715413"/>
                  <a:gd name="connsiteY1" fmla="*/ 619005 h 619004"/>
                  <a:gd name="connsiteX2" fmla="*/ 0 w 715413"/>
                  <a:gd name="connsiteY2" fmla="*/ 2332 h 619004"/>
                  <a:gd name="connsiteX3" fmla="*/ 1973 w 715413"/>
                  <a:gd name="connsiteY3" fmla="*/ 0 h 619004"/>
                </a:gdLst>
                <a:ahLst/>
                <a:cxnLst>
                  <a:cxn ang="0">
                    <a:pos x="connsiteX0" y="connsiteY0"/>
                  </a:cxn>
                  <a:cxn ang="0">
                    <a:pos x="connsiteX1" y="connsiteY1"/>
                  </a:cxn>
                  <a:cxn ang="0">
                    <a:pos x="connsiteX2" y="connsiteY2"/>
                  </a:cxn>
                  <a:cxn ang="0">
                    <a:pos x="connsiteX3" y="connsiteY3"/>
                  </a:cxn>
                </a:cxnLst>
                <a:rect l="l" t="t" r="r" b="b"/>
                <a:pathLst>
                  <a:path w="715413" h="619004">
                    <a:moveTo>
                      <a:pt x="715414" y="616672"/>
                    </a:moveTo>
                    <a:lnTo>
                      <a:pt x="713441" y="619005"/>
                    </a:lnTo>
                    <a:lnTo>
                      <a:pt x="0" y="2332"/>
                    </a:lnTo>
                    <a:lnTo>
                      <a:pt x="1973" y="0"/>
                    </a:lnTo>
                    <a:close/>
                  </a:path>
                </a:pathLst>
              </a:custGeom>
              <a:grpFill/>
              <a:ln w="5978" cap="flat">
                <a:noFill/>
                <a:prstDash val="solid"/>
                <a:miter/>
              </a:ln>
            </p:spPr>
            <p:txBody>
              <a:bodyPr rtlCol="0" anchor="ctr"/>
              <a:lstStyle/>
              <a:p>
                <a:endParaRPr lang="en-GB"/>
              </a:p>
            </p:txBody>
          </p:sp>
          <p:sp>
            <p:nvSpPr>
              <p:cNvPr id="4178" name="Vrije vorm: vorm 4177">
                <a:extLst>
                  <a:ext uri="{FF2B5EF4-FFF2-40B4-BE49-F238E27FC236}">
                    <a16:creationId xmlns:a16="http://schemas.microsoft.com/office/drawing/2014/main" id="{3FFFDE5A-D4FA-47AA-A60C-B7FE28F8D26D}"/>
                  </a:ext>
                </a:extLst>
              </p:cNvPr>
              <p:cNvSpPr/>
              <p:nvPr/>
            </p:nvSpPr>
            <p:spPr>
              <a:xfrm>
                <a:off x="7380373" y="4447457"/>
                <a:ext cx="18314" cy="18414"/>
              </a:xfrm>
              <a:custGeom>
                <a:avLst/>
                <a:gdLst>
                  <a:gd name="connsiteX0" fmla="*/ 3207 w 18314"/>
                  <a:gd name="connsiteY0" fmla="*/ 16175 h 18414"/>
                  <a:gd name="connsiteX1" fmla="*/ 2190 w 18314"/>
                  <a:gd name="connsiteY1" fmla="*/ 3197 h 18414"/>
                  <a:gd name="connsiteX2" fmla="*/ 15108 w 18314"/>
                  <a:gd name="connsiteY2" fmla="*/ 2240 h 18414"/>
                  <a:gd name="connsiteX3" fmla="*/ 16125 w 18314"/>
                  <a:gd name="connsiteY3" fmla="*/ 15218 h 18414"/>
                  <a:gd name="connsiteX4" fmla="*/ 3207 w 18314"/>
                  <a:gd name="connsiteY4" fmla="*/ 1617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14">
                    <a:moveTo>
                      <a:pt x="3207" y="16175"/>
                    </a:moveTo>
                    <a:cubicBezTo>
                      <a:pt x="-621" y="12826"/>
                      <a:pt x="-1099" y="7024"/>
                      <a:pt x="2190" y="3197"/>
                    </a:cubicBezTo>
                    <a:cubicBezTo>
                      <a:pt x="5479" y="-631"/>
                      <a:pt x="11280" y="-1110"/>
                      <a:pt x="15108" y="2240"/>
                    </a:cubicBezTo>
                    <a:cubicBezTo>
                      <a:pt x="18936" y="5589"/>
                      <a:pt x="19414" y="11390"/>
                      <a:pt x="16125" y="15218"/>
                    </a:cubicBezTo>
                    <a:cubicBezTo>
                      <a:pt x="12836" y="19045"/>
                      <a:pt x="7094" y="19524"/>
                      <a:pt x="3207" y="16175"/>
                    </a:cubicBezTo>
                    <a:close/>
                  </a:path>
                </a:pathLst>
              </a:custGeom>
              <a:grpFill/>
              <a:ln w="5978" cap="flat">
                <a:noFill/>
                <a:prstDash val="solid"/>
                <a:miter/>
              </a:ln>
            </p:spPr>
            <p:txBody>
              <a:bodyPr rtlCol="0" anchor="ctr"/>
              <a:lstStyle/>
              <a:p>
                <a:endParaRPr lang="en-GB"/>
              </a:p>
            </p:txBody>
          </p:sp>
          <p:sp>
            <p:nvSpPr>
              <p:cNvPr id="4179" name="Vrije vorm: vorm 4178">
                <a:extLst>
                  <a:ext uri="{FF2B5EF4-FFF2-40B4-BE49-F238E27FC236}">
                    <a16:creationId xmlns:a16="http://schemas.microsoft.com/office/drawing/2014/main" id="{FE722841-1938-489E-98AB-DA25041A6548}"/>
                  </a:ext>
                </a:extLst>
              </p:cNvPr>
              <p:cNvSpPr/>
              <p:nvPr/>
            </p:nvSpPr>
            <p:spPr>
              <a:xfrm>
                <a:off x="8093180" y="5063531"/>
                <a:ext cx="18310" cy="18414"/>
              </a:xfrm>
              <a:custGeom>
                <a:avLst/>
                <a:gdLst>
                  <a:gd name="connsiteX0" fmla="*/ 3182 w 18310"/>
                  <a:gd name="connsiteY0" fmla="*/ 16175 h 18414"/>
                  <a:gd name="connsiteX1" fmla="*/ 16100 w 18310"/>
                  <a:gd name="connsiteY1" fmla="*/ 15218 h 18414"/>
                  <a:gd name="connsiteX2" fmla="*/ 15084 w 18310"/>
                  <a:gd name="connsiteY2" fmla="*/ 2240 h 18414"/>
                  <a:gd name="connsiteX3" fmla="*/ 2165 w 18310"/>
                  <a:gd name="connsiteY3" fmla="*/ 3197 h 18414"/>
                  <a:gd name="connsiteX4" fmla="*/ 3182 w 18310"/>
                  <a:gd name="connsiteY4" fmla="*/ 1617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4">
                    <a:moveTo>
                      <a:pt x="3182" y="16175"/>
                    </a:moveTo>
                    <a:cubicBezTo>
                      <a:pt x="7010" y="19524"/>
                      <a:pt x="12811" y="19045"/>
                      <a:pt x="16100" y="15218"/>
                    </a:cubicBezTo>
                    <a:cubicBezTo>
                      <a:pt x="19390" y="11390"/>
                      <a:pt x="18972" y="5529"/>
                      <a:pt x="15084" y="2240"/>
                    </a:cubicBezTo>
                    <a:cubicBezTo>
                      <a:pt x="11256" y="-1110"/>
                      <a:pt x="5455" y="-631"/>
                      <a:pt x="2165" y="3197"/>
                    </a:cubicBezTo>
                    <a:cubicBezTo>
                      <a:pt x="-1064" y="7024"/>
                      <a:pt x="-645" y="12826"/>
                      <a:pt x="3182" y="16175"/>
                    </a:cubicBezTo>
                    <a:close/>
                  </a:path>
                </a:pathLst>
              </a:custGeom>
              <a:grpFill/>
              <a:ln w="5978" cap="flat">
                <a:noFill/>
                <a:prstDash val="solid"/>
                <a:miter/>
              </a:ln>
            </p:spPr>
            <p:txBody>
              <a:bodyPr rtlCol="0" anchor="ctr"/>
              <a:lstStyle/>
              <a:p>
                <a:endParaRPr lang="en-GB"/>
              </a:p>
            </p:txBody>
          </p:sp>
        </p:grpSp>
        <p:grpSp>
          <p:nvGrpSpPr>
            <p:cNvPr id="403" name="Graphic 3">
              <a:extLst>
                <a:ext uri="{FF2B5EF4-FFF2-40B4-BE49-F238E27FC236}">
                  <a16:creationId xmlns:a16="http://schemas.microsoft.com/office/drawing/2014/main" id="{F734F825-4328-4FD7-A1B0-6C3CA47D50AC}"/>
                </a:ext>
              </a:extLst>
            </p:cNvPr>
            <p:cNvGrpSpPr/>
            <p:nvPr/>
          </p:nvGrpSpPr>
          <p:grpSpPr>
            <a:xfrm>
              <a:off x="7363606" y="4474292"/>
              <a:ext cx="811062" cy="724678"/>
              <a:chOff x="7363606" y="4474292"/>
              <a:chExt cx="811062" cy="724678"/>
            </a:xfrm>
            <a:grpFill/>
          </p:grpSpPr>
          <p:sp>
            <p:nvSpPr>
              <p:cNvPr id="4174" name="Vrije vorm: vorm 4173">
                <a:extLst>
                  <a:ext uri="{FF2B5EF4-FFF2-40B4-BE49-F238E27FC236}">
                    <a16:creationId xmlns:a16="http://schemas.microsoft.com/office/drawing/2014/main" id="{D3D07BA9-C462-4743-B26A-AE71B3D0CBAB}"/>
                  </a:ext>
                </a:extLst>
              </p:cNvPr>
              <p:cNvSpPr/>
              <p:nvPr/>
            </p:nvSpPr>
            <p:spPr>
              <a:xfrm>
                <a:off x="7371379" y="4482053"/>
                <a:ext cx="795495" cy="709193"/>
              </a:xfrm>
              <a:custGeom>
                <a:avLst/>
                <a:gdLst>
                  <a:gd name="connsiteX0" fmla="*/ 795496 w 795495"/>
                  <a:gd name="connsiteY0" fmla="*/ 706861 h 709193"/>
                  <a:gd name="connsiteX1" fmla="*/ 793463 w 795495"/>
                  <a:gd name="connsiteY1" fmla="*/ 709194 h 709193"/>
                  <a:gd name="connsiteX2" fmla="*/ 0 w 795495"/>
                  <a:gd name="connsiteY2" fmla="*/ 2273 h 709193"/>
                  <a:gd name="connsiteX3" fmla="*/ 2034 w 795495"/>
                  <a:gd name="connsiteY3" fmla="*/ 0 h 709193"/>
                </a:gdLst>
                <a:ahLst/>
                <a:cxnLst>
                  <a:cxn ang="0">
                    <a:pos x="connsiteX0" y="connsiteY0"/>
                  </a:cxn>
                  <a:cxn ang="0">
                    <a:pos x="connsiteX1" y="connsiteY1"/>
                  </a:cxn>
                  <a:cxn ang="0">
                    <a:pos x="connsiteX2" y="connsiteY2"/>
                  </a:cxn>
                  <a:cxn ang="0">
                    <a:pos x="connsiteX3" y="connsiteY3"/>
                  </a:cxn>
                </a:cxnLst>
                <a:rect l="l" t="t" r="r" b="b"/>
                <a:pathLst>
                  <a:path w="795495" h="709193">
                    <a:moveTo>
                      <a:pt x="795496" y="706861"/>
                    </a:moveTo>
                    <a:lnTo>
                      <a:pt x="793463" y="709194"/>
                    </a:lnTo>
                    <a:lnTo>
                      <a:pt x="0" y="2273"/>
                    </a:lnTo>
                    <a:lnTo>
                      <a:pt x="2034" y="0"/>
                    </a:lnTo>
                    <a:close/>
                  </a:path>
                </a:pathLst>
              </a:custGeom>
              <a:grpFill/>
              <a:ln w="5978" cap="flat">
                <a:noFill/>
                <a:prstDash val="solid"/>
                <a:miter/>
              </a:ln>
            </p:spPr>
            <p:txBody>
              <a:bodyPr rtlCol="0" anchor="ctr"/>
              <a:lstStyle/>
              <a:p>
                <a:endParaRPr lang="en-GB"/>
              </a:p>
            </p:txBody>
          </p:sp>
          <p:sp>
            <p:nvSpPr>
              <p:cNvPr id="4175" name="Vrije vorm: vorm 4174">
                <a:extLst>
                  <a:ext uri="{FF2B5EF4-FFF2-40B4-BE49-F238E27FC236}">
                    <a16:creationId xmlns:a16="http://schemas.microsoft.com/office/drawing/2014/main" id="{0FDBDFB7-8A6F-469B-87E8-76CBA9BB2E6B}"/>
                  </a:ext>
                </a:extLst>
              </p:cNvPr>
              <p:cNvSpPr/>
              <p:nvPr/>
            </p:nvSpPr>
            <p:spPr>
              <a:xfrm>
                <a:off x="7363606" y="4474292"/>
                <a:ext cx="18273" cy="18415"/>
              </a:xfrm>
              <a:custGeom>
                <a:avLst/>
                <a:gdLst>
                  <a:gd name="connsiteX0" fmla="*/ 3108 w 18273"/>
                  <a:gd name="connsiteY0" fmla="*/ 16073 h 18415"/>
                  <a:gd name="connsiteX1" fmla="*/ 2271 w 18273"/>
                  <a:gd name="connsiteY1" fmla="*/ 3095 h 18415"/>
                  <a:gd name="connsiteX2" fmla="*/ 15190 w 18273"/>
                  <a:gd name="connsiteY2" fmla="*/ 2318 h 18415"/>
                  <a:gd name="connsiteX3" fmla="*/ 16026 w 18273"/>
                  <a:gd name="connsiteY3" fmla="*/ 15296 h 18415"/>
                  <a:gd name="connsiteX4" fmla="*/ 3108 w 18273"/>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15">
                    <a:moveTo>
                      <a:pt x="3108" y="16073"/>
                    </a:moveTo>
                    <a:cubicBezTo>
                      <a:pt x="-659" y="12665"/>
                      <a:pt x="-1078" y="6863"/>
                      <a:pt x="2271" y="3095"/>
                    </a:cubicBezTo>
                    <a:cubicBezTo>
                      <a:pt x="5620" y="-733"/>
                      <a:pt x="11422" y="-1031"/>
                      <a:pt x="15190" y="2318"/>
                    </a:cubicBezTo>
                    <a:cubicBezTo>
                      <a:pt x="18957" y="5727"/>
                      <a:pt x="19316" y="11528"/>
                      <a:pt x="16026" y="15296"/>
                    </a:cubicBezTo>
                    <a:cubicBezTo>
                      <a:pt x="12678" y="19124"/>
                      <a:pt x="6876" y="19482"/>
                      <a:pt x="3108" y="16073"/>
                    </a:cubicBezTo>
                    <a:close/>
                  </a:path>
                </a:pathLst>
              </a:custGeom>
              <a:grpFill/>
              <a:ln w="5978" cap="flat">
                <a:noFill/>
                <a:prstDash val="solid"/>
                <a:miter/>
              </a:ln>
            </p:spPr>
            <p:txBody>
              <a:bodyPr rtlCol="0" anchor="ctr"/>
              <a:lstStyle/>
              <a:p>
                <a:endParaRPr lang="en-GB"/>
              </a:p>
            </p:txBody>
          </p:sp>
          <p:sp>
            <p:nvSpPr>
              <p:cNvPr id="4176" name="Vrije vorm: vorm 4175">
                <a:extLst>
                  <a:ext uri="{FF2B5EF4-FFF2-40B4-BE49-F238E27FC236}">
                    <a16:creationId xmlns:a16="http://schemas.microsoft.com/office/drawing/2014/main" id="{971C42E5-2AD1-4BA4-B1A5-10F3ADD50233}"/>
                  </a:ext>
                </a:extLst>
              </p:cNvPr>
              <p:cNvSpPr/>
              <p:nvPr/>
            </p:nvSpPr>
            <p:spPr>
              <a:xfrm>
                <a:off x="8156330" y="5180556"/>
                <a:ext cx="18338" cy="18415"/>
              </a:xfrm>
              <a:custGeom>
                <a:avLst/>
                <a:gdLst>
                  <a:gd name="connsiteX0" fmla="*/ 3129 w 18338"/>
                  <a:gd name="connsiteY0" fmla="*/ 16073 h 18415"/>
                  <a:gd name="connsiteX1" fmla="*/ 16047 w 18338"/>
                  <a:gd name="connsiteY1" fmla="*/ 15296 h 18415"/>
                  <a:gd name="connsiteX2" fmla="*/ 15210 w 18338"/>
                  <a:gd name="connsiteY2" fmla="*/ 2318 h 18415"/>
                  <a:gd name="connsiteX3" fmla="*/ 2291 w 18338"/>
                  <a:gd name="connsiteY3" fmla="*/ 3095 h 18415"/>
                  <a:gd name="connsiteX4" fmla="*/ 3129 w 18338"/>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5">
                    <a:moveTo>
                      <a:pt x="3129" y="16073"/>
                    </a:moveTo>
                    <a:cubicBezTo>
                      <a:pt x="6896" y="19482"/>
                      <a:pt x="12698" y="19124"/>
                      <a:pt x="16047" y="15296"/>
                    </a:cubicBezTo>
                    <a:cubicBezTo>
                      <a:pt x="19397" y="11468"/>
                      <a:pt x="19038" y="5667"/>
                      <a:pt x="15210" y="2318"/>
                    </a:cubicBezTo>
                    <a:cubicBezTo>
                      <a:pt x="11382" y="-1031"/>
                      <a:pt x="5641" y="-733"/>
                      <a:pt x="2291" y="3095"/>
                    </a:cubicBezTo>
                    <a:cubicBezTo>
                      <a:pt x="-1058" y="6923"/>
                      <a:pt x="-699" y="12724"/>
                      <a:pt x="3129" y="16073"/>
                    </a:cubicBezTo>
                    <a:close/>
                  </a:path>
                </a:pathLst>
              </a:custGeom>
              <a:grpFill/>
              <a:ln w="5978" cap="flat">
                <a:noFill/>
                <a:prstDash val="solid"/>
                <a:miter/>
              </a:ln>
            </p:spPr>
            <p:txBody>
              <a:bodyPr rtlCol="0" anchor="ctr"/>
              <a:lstStyle/>
              <a:p>
                <a:endParaRPr lang="en-GB"/>
              </a:p>
            </p:txBody>
          </p:sp>
        </p:grpSp>
        <p:grpSp>
          <p:nvGrpSpPr>
            <p:cNvPr id="404" name="Graphic 3">
              <a:extLst>
                <a:ext uri="{FF2B5EF4-FFF2-40B4-BE49-F238E27FC236}">
                  <a16:creationId xmlns:a16="http://schemas.microsoft.com/office/drawing/2014/main" id="{E803F614-67C2-463D-9971-BB99B34324EA}"/>
                </a:ext>
              </a:extLst>
            </p:cNvPr>
            <p:cNvGrpSpPr/>
            <p:nvPr/>
          </p:nvGrpSpPr>
          <p:grpSpPr>
            <a:xfrm>
              <a:off x="7489403" y="4575473"/>
              <a:ext cx="482116" cy="393614"/>
              <a:chOff x="7489403" y="4575473"/>
              <a:chExt cx="482116" cy="393614"/>
            </a:xfrm>
            <a:grpFill/>
          </p:grpSpPr>
          <p:sp>
            <p:nvSpPr>
              <p:cNvPr id="4171" name="Vrije vorm: vorm 4170">
                <a:extLst>
                  <a:ext uri="{FF2B5EF4-FFF2-40B4-BE49-F238E27FC236}">
                    <a16:creationId xmlns:a16="http://schemas.microsoft.com/office/drawing/2014/main" id="{EDF44873-86CA-441A-B9F3-ABFBB2DBBD64}"/>
                  </a:ext>
                </a:extLst>
              </p:cNvPr>
              <p:cNvSpPr/>
              <p:nvPr/>
            </p:nvSpPr>
            <p:spPr>
              <a:xfrm>
                <a:off x="7497213" y="4583186"/>
                <a:ext cx="466436" cy="378160"/>
              </a:xfrm>
              <a:custGeom>
                <a:avLst/>
                <a:gdLst>
                  <a:gd name="connsiteX0" fmla="*/ 466436 w 466436"/>
                  <a:gd name="connsiteY0" fmla="*/ 375769 h 378160"/>
                  <a:gd name="connsiteX1" fmla="*/ 464523 w 466436"/>
                  <a:gd name="connsiteY1" fmla="*/ 378161 h 378160"/>
                  <a:gd name="connsiteX2" fmla="*/ 0 w 466436"/>
                  <a:gd name="connsiteY2" fmla="*/ 2392 h 378160"/>
                  <a:gd name="connsiteX3" fmla="*/ 1914 w 466436"/>
                  <a:gd name="connsiteY3" fmla="*/ 0 h 378160"/>
                </a:gdLst>
                <a:ahLst/>
                <a:cxnLst>
                  <a:cxn ang="0">
                    <a:pos x="connsiteX0" y="connsiteY0"/>
                  </a:cxn>
                  <a:cxn ang="0">
                    <a:pos x="connsiteX1" y="connsiteY1"/>
                  </a:cxn>
                  <a:cxn ang="0">
                    <a:pos x="connsiteX2" y="connsiteY2"/>
                  </a:cxn>
                  <a:cxn ang="0">
                    <a:pos x="connsiteX3" y="connsiteY3"/>
                  </a:cxn>
                </a:cxnLst>
                <a:rect l="l" t="t" r="r" b="b"/>
                <a:pathLst>
                  <a:path w="466436" h="378160">
                    <a:moveTo>
                      <a:pt x="466436" y="375769"/>
                    </a:moveTo>
                    <a:lnTo>
                      <a:pt x="464523" y="378161"/>
                    </a:lnTo>
                    <a:lnTo>
                      <a:pt x="0" y="2392"/>
                    </a:lnTo>
                    <a:lnTo>
                      <a:pt x="1914" y="0"/>
                    </a:lnTo>
                    <a:close/>
                  </a:path>
                </a:pathLst>
              </a:custGeom>
              <a:grpFill/>
              <a:ln w="5978" cap="flat">
                <a:noFill/>
                <a:prstDash val="solid"/>
                <a:miter/>
              </a:ln>
            </p:spPr>
            <p:txBody>
              <a:bodyPr rtlCol="0" anchor="ctr"/>
              <a:lstStyle/>
              <a:p>
                <a:endParaRPr lang="en-GB"/>
              </a:p>
            </p:txBody>
          </p:sp>
          <p:sp>
            <p:nvSpPr>
              <p:cNvPr id="4172" name="Vrije vorm: vorm 4171">
                <a:extLst>
                  <a:ext uri="{FF2B5EF4-FFF2-40B4-BE49-F238E27FC236}">
                    <a16:creationId xmlns:a16="http://schemas.microsoft.com/office/drawing/2014/main" id="{BE483D7C-34D1-4048-A114-B0AA369A53B9}"/>
                  </a:ext>
                </a:extLst>
              </p:cNvPr>
              <p:cNvSpPr/>
              <p:nvPr/>
            </p:nvSpPr>
            <p:spPr>
              <a:xfrm>
                <a:off x="7953208" y="4950643"/>
                <a:ext cx="18311" cy="18443"/>
              </a:xfrm>
              <a:custGeom>
                <a:avLst/>
                <a:gdLst>
                  <a:gd name="connsiteX0" fmla="*/ 14867 w 18311"/>
                  <a:gd name="connsiteY0" fmla="*/ 2032 h 18443"/>
                  <a:gd name="connsiteX1" fmla="*/ 16302 w 18311"/>
                  <a:gd name="connsiteY1" fmla="*/ 15010 h 18443"/>
                  <a:gd name="connsiteX2" fmla="*/ 3444 w 18311"/>
                  <a:gd name="connsiteY2" fmla="*/ 16386 h 18443"/>
                  <a:gd name="connsiteX3" fmla="*/ 2008 w 18311"/>
                  <a:gd name="connsiteY3" fmla="*/ 3408 h 18443"/>
                  <a:gd name="connsiteX4" fmla="*/ 14867 w 18311"/>
                  <a:gd name="connsiteY4" fmla="*/ 20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43">
                    <a:moveTo>
                      <a:pt x="14867" y="2032"/>
                    </a:moveTo>
                    <a:cubicBezTo>
                      <a:pt x="18814" y="5202"/>
                      <a:pt x="19472" y="11003"/>
                      <a:pt x="16302" y="15010"/>
                    </a:cubicBezTo>
                    <a:cubicBezTo>
                      <a:pt x="13133" y="18958"/>
                      <a:pt x="7391" y="19616"/>
                      <a:pt x="3444" y="16386"/>
                    </a:cubicBezTo>
                    <a:cubicBezTo>
                      <a:pt x="-503" y="13216"/>
                      <a:pt x="-1161" y="7415"/>
                      <a:pt x="2008" y="3408"/>
                    </a:cubicBezTo>
                    <a:cubicBezTo>
                      <a:pt x="5118" y="-539"/>
                      <a:pt x="10920" y="-1138"/>
                      <a:pt x="14867" y="2032"/>
                    </a:cubicBezTo>
                    <a:close/>
                  </a:path>
                </a:pathLst>
              </a:custGeom>
              <a:grpFill/>
              <a:ln w="5978" cap="flat">
                <a:noFill/>
                <a:prstDash val="solid"/>
                <a:miter/>
              </a:ln>
            </p:spPr>
            <p:txBody>
              <a:bodyPr rtlCol="0" anchor="ctr"/>
              <a:lstStyle/>
              <a:p>
                <a:endParaRPr lang="en-GB"/>
              </a:p>
            </p:txBody>
          </p:sp>
          <p:sp>
            <p:nvSpPr>
              <p:cNvPr id="4173" name="Vrije vorm: vorm 4172">
                <a:extLst>
                  <a:ext uri="{FF2B5EF4-FFF2-40B4-BE49-F238E27FC236}">
                    <a16:creationId xmlns:a16="http://schemas.microsoft.com/office/drawing/2014/main" id="{BCC9BF95-61FC-4FDB-9926-9A29D77F67E8}"/>
                  </a:ext>
                </a:extLst>
              </p:cNvPr>
              <p:cNvSpPr/>
              <p:nvPr/>
            </p:nvSpPr>
            <p:spPr>
              <a:xfrm>
                <a:off x="7489403" y="4575473"/>
                <a:ext cx="18286" cy="18418"/>
              </a:xfrm>
              <a:custGeom>
                <a:avLst/>
                <a:gdLst>
                  <a:gd name="connsiteX0" fmla="*/ 14868 w 18286"/>
                  <a:gd name="connsiteY0" fmla="*/ 2032 h 18418"/>
                  <a:gd name="connsiteX1" fmla="*/ 2009 w 18286"/>
                  <a:gd name="connsiteY1" fmla="*/ 3408 h 18418"/>
                  <a:gd name="connsiteX2" fmla="*/ 3444 w 18286"/>
                  <a:gd name="connsiteY2" fmla="*/ 16386 h 18418"/>
                  <a:gd name="connsiteX3" fmla="*/ 16303 w 18286"/>
                  <a:gd name="connsiteY3" fmla="*/ 15011 h 18418"/>
                  <a:gd name="connsiteX4" fmla="*/ 14868 w 18286"/>
                  <a:gd name="connsiteY4" fmla="*/ 203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418">
                    <a:moveTo>
                      <a:pt x="14868" y="2032"/>
                    </a:moveTo>
                    <a:cubicBezTo>
                      <a:pt x="10920" y="-1137"/>
                      <a:pt x="5119" y="-539"/>
                      <a:pt x="2009" y="3408"/>
                    </a:cubicBezTo>
                    <a:cubicBezTo>
                      <a:pt x="-1161" y="7355"/>
                      <a:pt x="-503" y="13157"/>
                      <a:pt x="3444" y="16386"/>
                    </a:cubicBezTo>
                    <a:cubicBezTo>
                      <a:pt x="7392" y="19556"/>
                      <a:pt x="13193" y="18958"/>
                      <a:pt x="16303" y="15011"/>
                    </a:cubicBezTo>
                    <a:cubicBezTo>
                      <a:pt x="19413" y="11003"/>
                      <a:pt x="18814" y="5202"/>
                      <a:pt x="14868" y="2032"/>
                    </a:cubicBezTo>
                    <a:close/>
                  </a:path>
                </a:pathLst>
              </a:custGeom>
              <a:grpFill/>
              <a:ln w="5978" cap="flat">
                <a:noFill/>
                <a:prstDash val="solid"/>
                <a:miter/>
              </a:ln>
            </p:spPr>
            <p:txBody>
              <a:bodyPr rtlCol="0" anchor="ctr"/>
              <a:lstStyle/>
              <a:p>
                <a:endParaRPr lang="en-GB"/>
              </a:p>
            </p:txBody>
          </p:sp>
        </p:grpSp>
        <p:grpSp>
          <p:nvGrpSpPr>
            <p:cNvPr id="405" name="Graphic 3">
              <a:extLst>
                <a:ext uri="{FF2B5EF4-FFF2-40B4-BE49-F238E27FC236}">
                  <a16:creationId xmlns:a16="http://schemas.microsoft.com/office/drawing/2014/main" id="{54040D93-7EAF-4203-8E6A-222D99B2E410}"/>
                </a:ext>
              </a:extLst>
            </p:cNvPr>
            <p:cNvGrpSpPr/>
            <p:nvPr/>
          </p:nvGrpSpPr>
          <p:grpSpPr>
            <a:xfrm>
              <a:off x="7470561" y="4317979"/>
              <a:ext cx="262810" cy="174682"/>
              <a:chOff x="7470561" y="4317979"/>
              <a:chExt cx="262810" cy="174682"/>
            </a:xfrm>
            <a:grpFill/>
          </p:grpSpPr>
          <p:sp>
            <p:nvSpPr>
              <p:cNvPr id="4168" name="Vrije vorm: vorm 4167">
                <a:extLst>
                  <a:ext uri="{FF2B5EF4-FFF2-40B4-BE49-F238E27FC236}">
                    <a16:creationId xmlns:a16="http://schemas.microsoft.com/office/drawing/2014/main" id="{812EE809-3B89-47BC-BA34-AE1244BD549D}"/>
                  </a:ext>
                </a:extLst>
              </p:cNvPr>
              <p:cNvSpPr/>
              <p:nvPr/>
            </p:nvSpPr>
            <p:spPr>
              <a:xfrm>
                <a:off x="7478494" y="4325657"/>
                <a:ext cx="246884" cy="159326"/>
              </a:xfrm>
              <a:custGeom>
                <a:avLst/>
                <a:gdLst>
                  <a:gd name="connsiteX0" fmla="*/ 246884 w 246884"/>
                  <a:gd name="connsiteY0" fmla="*/ 156695 h 159326"/>
                  <a:gd name="connsiteX1" fmla="*/ 245269 w 246884"/>
                  <a:gd name="connsiteY1" fmla="*/ 159327 h 159326"/>
                  <a:gd name="connsiteX2" fmla="*/ 0 w 246884"/>
                  <a:gd name="connsiteY2" fmla="*/ 2572 h 159326"/>
                  <a:gd name="connsiteX3" fmla="*/ 1615 w 246884"/>
                  <a:gd name="connsiteY3" fmla="*/ 0 h 159326"/>
                </a:gdLst>
                <a:ahLst/>
                <a:cxnLst>
                  <a:cxn ang="0">
                    <a:pos x="connsiteX0" y="connsiteY0"/>
                  </a:cxn>
                  <a:cxn ang="0">
                    <a:pos x="connsiteX1" y="connsiteY1"/>
                  </a:cxn>
                  <a:cxn ang="0">
                    <a:pos x="connsiteX2" y="connsiteY2"/>
                  </a:cxn>
                  <a:cxn ang="0">
                    <a:pos x="connsiteX3" y="connsiteY3"/>
                  </a:cxn>
                </a:cxnLst>
                <a:rect l="l" t="t" r="r" b="b"/>
                <a:pathLst>
                  <a:path w="246884" h="159326">
                    <a:moveTo>
                      <a:pt x="246884" y="156695"/>
                    </a:moveTo>
                    <a:lnTo>
                      <a:pt x="245269" y="159327"/>
                    </a:lnTo>
                    <a:lnTo>
                      <a:pt x="0" y="2572"/>
                    </a:lnTo>
                    <a:lnTo>
                      <a:pt x="1615" y="0"/>
                    </a:lnTo>
                    <a:close/>
                  </a:path>
                </a:pathLst>
              </a:custGeom>
              <a:grpFill/>
              <a:ln w="5978" cap="flat">
                <a:noFill/>
                <a:prstDash val="solid"/>
                <a:miter/>
              </a:ln>
            </p:spPr>
            <p:txBody>
              <a:bodyPr rtlCol="0" anchor="ctr"/>
              <a:lstStyle/>
              <a:p>
                <a:endParaRPr lang="en-GB"/>
              </a:p>
            </p:txBody>
          </p:sp>
          <p:sp>
            <p:nvSpPr>
              <p:cNvPr id="4169" name="Vrije vorm: vorm 4168">
                <a:extLst>
                  <a:ext uri="{FF2B5EF4-FFF2-40B4-BE49-F238E27FC236}">
                    <a16:creationId xmlns:a16="http://schemas.microsoft.com/office/drawing/2014/main" id="{A6EA4444-4C5C-4379-9BEC-83C14BA576F5}"/>
                  </a:ext>
                </a:extLst>
              </p:cNvPr>
              <p:cNvSpPr/>
              <p:nvPr/>
            </p:nvSpPr>
            <p:spPr>
              <a:xfrm>
                <a:off x="7715053" y="4474195"/>
                <a:ext cx="18318" cy="18465"/>
              </a:xfrm>
              <a:custGeom>
                <a:avLst/>
                <a:gdLst>
                  <a:gd name="connsiteX0" fmla="*/ 14033 w 18318"/>
                  <a:gd name="connsiteY0" fmla="*/ 1458 h 18465"/>
                  <a:gd name="connsiteX1" fmla="*/ 16904 w 18318"/>
                  <a:gd name="connsiteY1" fmla="*/ 14197 h 18465"/>
                  <a:gd name="connsiteX2" fmla="*/ 4285 w 18318"/>
                  <a:gd name="connsiteY2" fmla="*/ 17008 h 18465"/>
                  <a:gd name="connsiteX3" fmla="*/ 1414 w 18318"/>
                  <a:gd name="connsiteY3" fmla="*/ 4269 h 18465"/>
                  <a:gd name="connsiteX4" fmla="*/ 14033 w 18318"/>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65">
                    <a:moveTo>
                      <a:pt x="14033" y="1458"/>
                    </a:moveTo>
                    <a:cubicBezTo>
                      <a:pt x="18339" y="4209"/>
                      <a:pt x="19596" y="9891"/>
                      <a:pt x="16904" y="14197"/>
                    </a:cubicBezTo>
                    <a:cubicBezTo>
                      <a:pt x="14213" y="18503"/>
                      <a:pt x="8531" y="19759"/>
                      <a:pt x="4285" y="17008"/>
                    </a:cubicBezTo>
                    <a:cubicBezTo>
                      <a:pt x="-21" y="14257"/>
                      <a:pt x="-1278" y="8575"/>
                      <a:pt x="1414" y="4269"/>
                    </a:cubicBezTo>
                    <a:cubicBezTo>
                      <a:pt x="4105" y="-37"/>
                      <a:pt x="9787" y="-1293"/>
                      <a:pt x="14033" y="1458"/>
                    </a:cubicBezTo>
                    <a:close/>
                  </a:path>
                </a:pathLst>
              </a:custGeom>
              <a:grpFill/>
              <a:ln w="5978" cap="flat">
                <a:noFill/>
                <a:prstDash val="solid"/>
                <a:miter/>
              </a:ln>
            </p:spPr>
            <p:txBody>
              <a:bodyPr rtlCol="0" anchor="ctr"/>
              <a:lstStyle/>
              <a:p>
                <a:endParaRPr lang="en-GB"/>
              </a:p>
            </p:txBody>
          </p:sp>
          <p:sp>
            <p:nvSpPr>
              <p:cNvPr id="4170" name="Vrije vorm: vorm 4169">
                <a:extLst>
                  <a:ext uri="{FF2B5EF4-FFF2-40B4-BE49-F238E27FC236}">
                    <a16:creationId xmlns:a16="http://schemas.microsoft.com/office/drawing/2014/main" id="{F1174424-E9D5-421B-A5D6-6990044629E3}"/>
                  </a:ext>
                </a:extLst>
              </p:cNvPr>
              <p:cNvSpPr/>
              <p:nvPr/>
            </p:nvSpPr>
            <p:spPr>
              <a:xfrm>
                <a:off x="7470561" y="4317979"/>
                <a:ext cx="18303" cy="18465"/>
              </a:xfrm>
              <a:custGeom>
                <a:avLst/>
                <a:gdLst>
                  <a:gd name="connsiteX0" fmla="*/ 14033 w 18303"/>
                  <a:gd name="connsiteY0" fmla="*/ 1458 h 18465"/>
                  <a:gd name="connsiteX1" fmla="*/ 1414 w 18303"/>
                  <a:gd name="connsiteY1" fmla="*/ 4269 h 18465"/>
                  <a:gd name="connsiteX2" fmla="*/ 4285 w 18303"/>
                  <a:gd name="connsiteY2" fmla="*/ 17008 h 18465"/>
                  <a:gd name="connsiteX3" fmla="*/ 16904 w 18303"/>
                  <a:gd name="connsiteY3" fmla="*/ 14197 h 18465"/>
                  <a:gd name="connsiteX4" fmla="*/ 14033 w 18303"/>
                  <a:gd name="connsiteY4" fmla="*/ 1458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33" y="1458"/>
                    </a:moveTo>
                    <a:cubicBezTo>
                      <a:pt x="9728" y="-1293"/>
                      <a:pt x="4105" y="-37"/>
                      <a:pt x="1414" y="4269"/>
                    </a:cubicBezTo>
                    <a:cubicBezTo>
                      <a:pt x="-1278" y="8575"/>
                      <a:pt x="-21" y="14256"/>
                      <a:pt x="4285" y="17008"/>
                    </a:cubicBezTo>
                    <a:cubicBezTo>
                      <a:pt x="8591" y="19759"/>
                      <a:pt x="14213" y="18503"/>
                      <a:pt x="16904" y="14197"/>
                    </a:cubicBezTo>
                    <a:cubicBezTo>
                      <a:pt x="19596" y="9891"/>
                      <a:pt x="18280" y="4209"/>
                      <a:pt x="14033" y="1458"/>
                    </a:cubicBezTo>
                    <a:close/>
                  </a:path>
                </a:pathLst>
              </a:custGeom>
              <a:grpFill/>
              <a:ln w="5978" cap="flat">
                <a:noFill/>
                <a:prstDash val="solid"/>
                <a:miter/>
              </a:ln>
            </p:spPr>
            <p:txBody>
              <a:bodyPr rtlCol="0" anchor="ctr"/>
              <a:lstStyle/>
              <a:p>
                <a:endParaRPr lang="en-GB"/>
              </a:p>
            </p:txBody>
          </p:sp>
        </p:grpSp>
        <p:grpSp>
          <p:nvGrpSpPr>
            <p:cNvPr id="406" name="Graphic 3">
              <a:extLst>
                <a:ext uri="{FF2B5EF4-FFF2-40B4-BE49-F238E27FC236}">
                  <a16:creationId xmlns:a16="http://schemas.microsoft.com/office/drawing/2014/main" id="{FA4F9829-2CE9-4DAA-9BE5-71D699057B95}"/>
                </a:ext>
              </a:extLst>
            </p:cNvPr>
            <p:cNvGrpSpPr/>
            <p:nvPr/>
          </p:nvGrpSpPr>
          <p:grpSpPr>
            <a:xfrm>
              <a:off x="7500148" y="4540106"/>
              <a:ext cx="420976" cy="331848"/>
              <a:chOff x="7500148" y="4540106"/>
              <a:chExt cx="420976" cy="331848"/>
            </a:xfrm>
            <a:grpFill/>
          </p:grpSpPr>
          <p:sp>
            <p:nvSpPr>
              <p:cNvPr id="4165" name="Vrije vorm: vorm 4164">
                <a:extLst>
                  <a:ext uri="{FF2B5EF4-FFF2-40B4-BE49-F238E27FC236}">
                    <a16:creationId xmlns:a16="http://schemas.microsoft.com/office/drawing/2014/main" id="{D0416139-BD37-444D-8C79-0D052DC5AF5D}"/>
                  </a:ext>
                </a:extLst>
              </p:cNvPr>
              <p:cNvSpPr/>
              <p:nvPr/>
            </p:nvSpPr>
            <p:spPr>
              <a:xfrm>
                <a:off x="7508039" y="4547841"/>
                <a:ext cx="405193" cy="316439"/>
              </a:xfrm>
              <a:custGeom>
                <a:avLst/>
                <a:gdLst>
                  <a:gd name="connsiteX0" fmla="*/ 405194 w 405193"/>
                  <a:gd name="connsiteY0" fmla="*/ 314048 h 316439"/>
                  <a:gd name="connsiteX1" fmla="*/ 403340 w 405193"/>
                  <a:gd name="connsiteY1" fmla="*/ 316440 h 316439"/>
                  <a:gd name="connsiteX2" fmla="*/ 0 w 405193"/>
                  <a:gd name="connsiteY2" fmla="*/ 2392 h 316439"/>
                  <a:gd name="connsiteX3" fmla="*/ 1854 w 405193"/>
                  <a:gd name="connsiteY3" fmla="*/ 0 h 316439"/>
                </a:gdLst>
                <a:ahLst/>
                <a:cxnLst>
                  <a:cxn ang="0">
                    <a:pos x="connsiteX0" y="connsiteY0"/>
                  </a:cxn>
                  <a:cxn ang="0">
                    <a:pos x="connsiteX1" y="connsiteY1"/>
                  </a:cxn>
                  <a:cxn ang="0">
                    <a:pos x="connsiteX2" y="connsiteY2"/>
                  </a:cxn>
                  <a:cxn ang="0">
                    <a:pos x="connsiteX3" y="connsiteY3"/>
                  </a:cxn>
                </a:cxnLst>
                <a:rect l="l" t="t" r="r" b="b"/>
                <a:pathLst>
                  <a:path w="405193" h="316439">
                    <a:moveTo>
                      <a:pt x="405194" y="314048"/>
                    </a:moveTo>
                    <a:lnTo>
                      <a:pt x="403340" y="316440"/>
                    </a:lnTo>
                    <a:lnTo>
                      <a:pt x="0" y="2392"/>
                    </a:lnTo>
                    <a:lnTo>
                      <a:pt x="1854" y="0"/>
                    </a:lnTo>
                    <a:close/>
                  </a:path>
                </a:pathLst>
              </a:custGeom>
              <a:grpFill/>
              <a:ln w="5978" cap="flat">
                <a:noFill/>
                <a:prstDash val="solid"/>
                <a:miter/>
              </a:ln>
            </p:spPr>
            <p:txBody>
              <a:bodyPr rtlCol="0" anchor="ctr"/>
              <a:lstStyle/>
              <a:p>
                <a:endParaRPr lang="en-GB"/>
              </a:p>
            </p:txBody>
          </p:sp>
          <p:sp>
            <p:nvSpPr>
              <p:cNvPr id="4166" name="Vrije vorm: vorm 4165">
                <a:extLst>
                  <a:ext uri="{FF2B5EF4-FFF2-40B4-BE49-F238E27FC236}">
                    <a16:creationId xmlns:a16="http://schemas.microsoft.com/office/drawing/2014/main" id="{8213A57F-2E35-414C-BE5C-83E473BD1050}"/>
                  </a:ext>
                </a:extLst>
              </p:cNvPr>
              <p:cNvSpPr/>
              <p:nvPr/>
            </p:nvSpPr>
            <p:spPr>
              <a:xfrm>
                <a:off x="7902795" y="4853556"/>
                <a:ext cx="18328" cy="18398"/>
              </a:xfrm>
              <a:custGeom>
                <a:avLst/>
                <a:gdLst>
                  <a:gd name="connsiteX0" fmla="*/ 14744 w 18328"/>
                  <a:gd name="connsiteY0" fmla="*/ 1933 h 18398"/>
                  <a:gd name="connsiteX1" fmla="*/ 16418 w 18328"/>
                  <a:gd name="connsiteY1" fmla="*/ 14851 h 18398"/>
                  <a:gd name="connsiteX2" fmla="*/ 3560 w 18328"/>
                  <a:gd name="connsiteY2" fmla="*/ 16466 h 18398"/>
                  <a:gd name="connsiteX3" fmla="*/ 1885 w 18328"/>
                  <a:gd name="connsiteY3" fmla="*/ 3548 h 18398"/>
                  <a:gd name="connsiteX4" fmla="*/ 14744 w 1832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398">
                    <a:moveTo>
                      <a:pt x="14744" y="1933"/>
                    </a:moveTo>
                    <a:cubicBezTo>
                      <a:pt x="18751" y="5043"/>
                      <a:pt x="19528" y="10844"/>
                      <a:pt x="16418" y="14851"/>
                    </a:cubicBezTo>
                    <a:cubicBezTo>
                      <a:pt x="13308" y="18858"/>
                      <a:pt x="7566" y="19576"/>
                      <a:pt x="3560" y="16466"/>
                    </a:cubicBezTo>
                    <a:cubicBezTo>
                      <a:pt x="-448" y="13356"/>
                      <a:pt x="-1165" y="7555"/>
                      <a:pt x="1885" y="3548"/>
                    </a:cubicBezTo>
                    <a:cubicBezTo>
                      <a:pt x="4995" y="-459"/>
                      <a:pt x="10736" y="-1177"/>
                      <a:pt x="14744" y="1933"/>
                    </a:cubicBezTo>
                    <a:close/>
                  </a:path>
                </a:pathLst>
              </a:custGeom>
              <a:grpFill/>
              <a:ln w="5978" cap="flat">
                <a:noFill/>
                <a:prstDash val="solid"/>
                <a:miter/>
              </a:ln>
            </p:spPr>
            <p:txBody>
              <a:bodyPr rtlCol="0" anchor="ctr"/>
              <a:lstStyle/>
              <a:p>
                <a:endParaRPr lang="en-GB"/>
              </a:p>
            </p:txBody>
          </p:sp>
          <p:sp>
            <p:nvSpPr>
              <p:cNvPr id="4167" name="Vrije vorm: vorm 4166">
                <a:extLst>
                  <a:ext uri="{FF2B5EF4-FFF2-40B4-BE49-F238E27FC236}">
                    <a16:creationId xmlns:a16="http://schemas.microsoft.com/office/drawing/2014/main" id="{F4384A55-77BC-45C4-91AA-1363E77384EE}"/>
                  </a:ext>
                </a:extLst>
              </p:cNvPr>
              <p:cNvSpPr/>
              <p:nvPr/>
            </p:nvSpPr>
            <p:spPr>
              <a:xfrm>
                <a:off x="7500148" y="4540106"/>
                <a:ext cx="18353" cy="18398"/>
              </a:xfrm>
              <a:custGeom>
                <a:avLst/>
                <a:gdLst>
                  <a:gd name="connsiteX0" fmla="*/ 14768 w 18353"/>
                  <a:gd name="connsiteY0" fmla="*/ 1933 h 18398"/>
                  <a:gd name="connsiteX1" fmla="*/ 1911 w 18353"/>
                  <a:gd name="connsiteY1" fmla="*/ 3548 h 18398"/>
                  <a:gd name="connsiteX2" fmla="*/ 3585 w 18353"/>
                  <a:gd name="connsiteY2" fmla="*/ 16466 h 18398"/>
                  <a:gd name="connsiteX3" fmla="*/ 16443 w 18353"/>
                  <a:gd name="connsiteY3" fmla="*/ 14851 h 18398"/>
                  <a:gd name="connsiteX4" fmla="*/ 14768 w 18353"/>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398">
                    <a:moveTo>
                      <a:pt x="14768" y="1933"/>
                    </a:moveTo>
                    <a:cubicBezTo>
                      <a:pt x="10762" y="-1177"/>
                      <a:pt x="5020" y="-459"/>
                      <a:pt x="1911" y="3548"/>
                    </a:cubicBezTo>
                    <a:cubicBezTo>
                      <a:pt x="-1200" y="7555"/>
                      <a:pt x="-422" y="13356"/>
                      <a:pt x="3585" y="16466"/>
                    </a:cubicBezTo>
                    <a:cubicBezTo>
                      <a:pt x="7592" y="19576"/>
                      <a:pt x="13333" y="18858"/>
                      <a:pt x="16443" y="14851"/>
                    </a:cubicBezTo>
                    <a:cubicBezTo>
                      <a:pt x="19553" y="10844"/>
                      <a:pt x="18776" y="5043"/>
                      <a:pt x="14768" y="1933"/>
                    </a:cubicBezTo>
                    <a:close/>
                  </a:path>
                </a:pathLst>
              </a:custGeom>
              <a:grpFill/>
              <a:ln w="5978" cap="flat">
                <a:noFill/>
                <a:prstDash val="solid"/>
                <a:miter/>
              </a:ln>
            </p:spPr>
            <p:txBody>
              <a:bodyPr rtlCol="0" anchor="ctr"/>
              <a:lstStyle/>
              <a:p>
                <a:endParaRPr lang="en-GB"/>
              </a:p>
            </p:txBody>
          </p:sp>
        </p:grpSp>
        <p:grpSp>
          <p:nvGrpSpPr>
            <p:cNvPr id="407" name="Graphic 3">
              <a:extLst>
                <a:ext uri="{FF2B5EF4-FFF2-40B4-BE49-F238E27FC236}">
                  <a16:creationId xmlns:a16="http://schemas.microsoft.com/office/drawing/2014/main" id="{51A71B79-413B-4983-B972-B7F56E434D80}"/>
                </a:ext>
              </a:extLst>
            </p:cNvPr>
            <p:cNvGrpSpPr/>
            <p:nvPr/>
          </p:nvGrpSpPr>
          <p:grpSpPr>
            <a:xfrm>
              <a:off x="7400403" y="4423230"/>
              <a:ext cx="587330" cy="500170"/>
              <a:chOff x="7400403" y="4423230"/>
              <a:chExt cx="587330" cy="500170"/>
            </a:xfrm>
            <a:grpFill/>
          </p:grpSpPr>
          <p:sp>
            <p:nvSpPr>
              <p:cNvPr id="4162" name="Vrije vorm: vorm 4161">
                <a:extLst>
                  <a:ext uri="{FF2B5EF4-FFF2-40B4-BE49-F238E27FC236}">
                    <a16:creationId xmlns:a16="http://schemas.microsoft.com/office/drawing/2014/main" id="{CD28F37A-05B2-48A6-81DD-4F3E8AE737CC}"/>
                  </a:ext>
                </a:extLst>
              </p:cNvPr>
              <p:cNvSpPr/>
              <p:nvPr/>
            </p:nvSpPr>
            <p:spPr>
              <a:xfrm>
                <a:off x="7408220" y="4430977"/>
                <a:ext cx="571637" cy="484677"/>
              </a:xfrm>
              <a:custGeom>
                <a:avLst/>
                <a:gdLst>
                  <a:gd name="connsiteX0" fmla="*/ 571638 w 571637"/>
                  <a:gd name="connsiteY0" fmla="*/ 482345 h 484677"/>
                  <a:gd name="connsiteX1" fmla="*/ 569724 w 571637"/>
                  <a:gd name="connsiteY1" fmla="*/ 484678 h 484677"/>
                  <a:gd name="connsiteX2" fmla="*/ 0 w 571637"/>
                  <a:gd name="connsiteY2" fmla="*/ 2333 h 484677"/>
                  <a:gd name="connsiteX3" fmla="*/ 1974 w 571637"/>
                  <a:gd name="connsiteY3" fmla="*/ 0 h 484677"/>
                </a:gdLst>
                <a:ahLst/>
                <a:cxnLst>
                  <a:cxn ang="0">
                    <a:pos x="connsiteX0" y="connsiteY0"/>
                  </a:cxn>
                  <a:cxn ang="0">
                    <a:pos x="connsiteX1" y="connsiteY1"/>
                  </a:cxn>
                  <a:cxn ang="0">
                    <a:pos x="connsiteX2" y="connsiteY2"/>
                  </a:cxn>
                  <a:cxn ang="0">
                    <a:pos x="connsiteX3" y="connsiteY3"/>
                  </a:cxn>
                </a:cxnLst>
                <a:rect l="l" t="t" r="r" b="b"/>
                <a:pathLst>
                  <a:path w="571637" h="484677">
                    <a:moveTo>
                      <a:pt x="571638" y="482345"/>
                    </a:moveTo>
                    <a:lnTo>
                      <a:pt x="569724" y="484678"/>
                    </a:lnTo>
                    <a:lnTo>
                      <a:pt x="0" y="2333"/>
                    </a:lnTo>
                    <a:lnTo>
                      <a:pt x="1974" y="0"/>
                    </a:lnTo>
                    <a:close/>
                  </a:path>
                </a:pathLst>
              </a:custGeom>
              <a:grpFill/>
              <a:ln w="5978" cap="flat">
                <a:noFill/>
                <a:prstDash val="solid"/>
                <a:miter/>
              </a:ln>
            </p:spPr>
            <p:txBody>
              <a:bodyPr rtlCol="0" anchor="ctr"/>
              <a:lstStyle/>
              <a:p>
                <a:endParaRPr lang="en-GB"/>
              </a:p>
            </p:txBody>
          </p:sp>
          <p:sp>
            <p:nvSpPr>
              <p:cNvPr id="4163" name="Vrije vorm: vorm 4162">
                <a:extLst>
                  <a:ext uri="{FF2B5EF4-FFF2-40B4-BE49-F238E27FC236}">
                    <a16:creationId xmlns:a16="http://schemas.microsoft.com/office/drawing/2014/main" id="{92203A5C-9F36-4991-9200-6A420986ACE2}"/>
                  </a:ext>
                </a:extLst>
              </p:cNvPr>
              <p:cNvSpPr/>
              <p:nvPr/>
            </p:nvSpPr>
            <p:spPr>
              <a:xfrm>
                <a:off x="7400403" y="4423230"/>
                <a:ext cx="18324" cy="18423"/>
              </a:xfrm>
              <a:custGeom>
                <a:avLst/>
                <a:gdLst>
                  <a:gd name="connsiteX0" fmla="*/ 3271 w 18324"/>
                  <a:gd name="connsiteY0" fmla="*/ 16239 h 18423"/>
                  <a:gd name="connsiteX1" fmla="*/ 2135 w 18324"/>
                  <a:gd name="connsiteY1" fmla="*/ 3261 h 18423"/>
                  <a:gd name="connsiteX2" fmla="*/ 15053 w 18324"/>
                  <a:gd name="connsiteY2" fmla="*/ 2185 h 18423"/>
                  <a:gd name="connsiteX3" fmla="*/ 16190 w 18324"/>
                  <a:gd name="connsiteY3" fmla="*/ 15163 h 18423"/>
                  <a:gd name="connsiteX4" fmla="*/ 3271 w 18324"/>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3">
                    <a:moveTo>
                      <a:pt x="3271" y="16239"/>
                    </a:moveTo>
                    <a:cubicBezTo>
                      <a:pt x="-616" y="12950"/>
                      <a:pt x="-1095" y="7149"/>
                      <a:pt x="2135" y="3261"/>
                    </a:cubicBezTo>
                    <a:cubicBezTo>
                      <a:pt x="5364" y="-626"/>
                      <a:pt x="11166" y="-1105"/>
                      <a:pt x="15053" y="2185"/>
                    </a:cubicBezTo>
                    <a:cubicBezTo>
                      <a:pt x="18941" y="5474"/>
                      <a:pt x="19420" y="11275"/>
                      <a:pt x="16190" y="15163"/>
                    </a:cubicBezTo>
                    <a:cubicBezTo>
                      <a:pt x="12960" y="19050"/>
                      <a:pt x="7159" y="19529"/>
                      <a:pt x="3271" y="16239"/>
                    </a:cubicBezTo>
                    <a:close/>
                  </a:path>
                </a:pathLst>
              </a:custGeom>
              <a:grpFill/>
              <a:ln w="5978" cap="flat">
                <a:noFill/>
                <a:prstDash val="solid"/>
                <a:miter/>
              </a:ln>
            </p:spPr>
            <p:txBody>
              <a:bodyPr rtlCol="0" anchor="ctr"/>
              <a:lstStyle/>
              <a:p>
                <a:endParaRPr lang="en-GB"/>
              </a:p>
            </p:txBody>
          </p:sp>
          <p:sp>
            <p:nvSpPr>
              <p:cNvPr id="4164" name="Vrije vorm: vorm 4163">
                <a:extLst>
                  <a:ext uri="{FF2B5EF4-FFF2-40B4-BE49-F238E27FC236}">
                    <a16:creationId xmlns:a16="http://schemas.microsoft.com/office/drawing/2014/main" id="{3AC341AE-EC66-447C-A6CE-88CD9E8702E2}"/>
                  </a:ext>
                </a:extLst>
              </p:cNvPr>
              <p:cNvSpPr/>
              <p:nvPr/>
            </p:nvSpPr>
            <p:spPr>
              <a:xfrm>
                <a:off x="7969385" y="4904978"/>
                <a:ext cx="18349" cy="18423"/>
              </a:xfrm>
              <a:custGeom>
                <a:avLst/>
                <a:gdLst>
                  <a:gd name="connsiteX0" fmla="*/ 3296 w 18349"/>
                  <a:gd name="connsiteY0" fmla="*/ 16239 h 18423"/>
                  <a:gd name="connsiteX1" fmla="*/ 16215 w 18349"/>
                  <a:gd name="connsiteY1" fmla="*/ 15163 h 18423"/>
                  <a:gd name="connsiteX2" fmla="*/ 15078 w 18349"/>
                  <a:gd name="connsiteY2" fmla="*/ 2184 h 18423"/>
                  <a:gd name="connsiteX3" fmla="*/ 2160 w 18349"/>
                  <a:gd name="connsiteY3" fmla="*/ 3261 h 18423"/>
                  <a:gd name="connsiteX4" fmla="*/ 3296 w 18349"/>
                  <a:gd name="connsiteY4" fmla="*/ 16239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3">
                    <a:moveTo>
                      <a:pt x="3296" y="16239"/>
                    </a:moveTo>
                    <a:cubicBezTo>
                      <a:pt x="7184" y="19529"/>
                      <a:pt x="12925" y="19050"/>
                      <a:pt x="16215" y="15163"/>
                    </a:cubicBezTo>
                    <a:cubicBezTo>
                      <a:pt x="19444" y="11275"/>
                      <a:pt x="18965" y="5474"/>
                      <a:pt x="15078" y="2184"/>
                    </a:cubicBezTo>
                    <a:cubicBezTo>
                      <a:pt x="11191" y="-1105"/>
                      <a:pt x="5449" y="-626"/>
                      <a:pt x="2160" y="3261"/>
                    </a:cubicBezTo>
                    <a:cubicBezTo>
                      <a:pt x="-1130" y="7149"/>
                      <a:pt x="-592" y="12950"/>
                      <a:pt x="3296" y="16239"/>
                    </a:cubicBezTo>
                    <a:close/>
                  </a:path>
                </a:pathLst>
              </a:custGeom>
              <a:grpFill/>
              <a:ln w="5978" cap="flat">
                <a:noFill/>
                <a:prstDash val="solid"/>
                <a:miter/>
              </a:ln>
            </p:spPr>
            <p:txBody>
              <a:bodyPr rtlCol="0" anchor="ctr"/>
              <a:lstStyle/>
              <a:p>
                <a:endParaRPr lang="en-GB"/>
              </a:p>
            </p:txBody>
          </p:sp>
        </p:grpSp>
        <p:grpSp>
          <p:nvGrpSpPr>
            <p:cNvPr id="408" name="Graphic 3">
              <a:extLst>
                <a:ext uri="{FF2B5EF4-FFF2-40B4-BE49-F238E27FC236}">
                  <a16:creationId xmlns:a16="http://schemas.microsoft.com/office/drawing/2014/main" id="{6C61B767-1A5F-4984-B09E-960E722DD64B}"/>
                </a:ext>
              </a:extLst>
            </p:cNvPr>
            <p:cNvGrpSpPr/>
            <p:nvPr/>
          </p:nvGrpSpPr>
          <p:grpSpPr>
            <a:xfrm>
              <a:off x="7671250" y="4825652"/>
              <a:ext cx="156221" cy="138738"/>
              <a:chOff x="7671250" y="4825652"/>
              <a:chExt cx="156221" cy="138738"/>
            </a:xfrm>
            <a:grpFill/>
          </p:grpSpPr>
          <p:sp>
            <p:nvSpPr>
              <p:cNvPr id="4159" name="Vrije vorm: vorm 4158">
                <a:extLst>
                  <a:ext uri="{FF2B5EF4-FFF2-40B4-BE49-F238E27FC236}">
                    <a16:creationId xmlns:a16="http://schemas.microsoft.com/office/drawing/2014/main" id="{61EB75AA-46F5-4B18-9E00-D2D75C718FC8}"/>
                  </a:ext>
                </a:extLst>
              </p:cNvPr>
              <p:cNvSpPr/>
              <p:nvPr/>
            </p:nvSpPr>
            <p:spPr>
              <a:xfrm>
                <a:off x="7679027" y="4833420"/>
                <a:ext cx="140666" cy="123262"/>
              </a:xfrm>
              <a:custGeom>
                <a:avLst/>
                <a:gdLst>
                  <a:gd name="connsiteX0" fmla="*/ 140667 w 140666"/>
                  <a:gd name="connsiteY0" fmla="*/ 120930 h 123262"/>
                  <a:gd name="connsiteX1" fmla="*/ 138633 w 140666"/>
                  <a:gd name="connsiteY1" fmla="*/ 123263 h 123262"/>
                  <a:gd name="connsiteX2" fmla="*/ 0 w 140666"/>
                  <a:gd name="connsiteY2" fmla="*/ 2332 h 123262"/>
                  <a:gd name="connsiteX3" fmla="*/ 2033 w 140666"/>
                  <a:gd name="connsiteY3" fmla="*/ 0 h 123262"/>
                </a:gdLst>
                <a:ahLst/>
                <a:cxnLst>
                  <a:cxn ang="0">
                    <a:pos x="connsiteX0" y="connsiteY0"/>
                  </a:cxn>
                  <a:cxn ang="0">
                    <a:pos x="connsiteX1" y="connsiteY1"/>
                  </a:cxn>
                  <a:cxn ang="0">
                    <a:pos x="connsiteX2" y="connsiteY2"/>
                  </a:cxn>
                  <a:cxn ang="0">
                    <a:pos x="connsiteX3" y="connsiteY3"/>
                  </a:cxn>
                </a:cxnLst>
                <a:rect l="l" t="t" r="r" b="b"/>
                <a:pathLst>
                  <a:path w="140666" h="123262">
                    <a:moveTo>
                      <a:pt x="140667" y="120930"/>
                    </a:moveTo>
                    <a:lnTo>
                      <a:pt x="138633" y="123263"/>
                    </a:lnTo>
                    <a:lnTo>
                      <a:pt x="0" y="2332"/>
                    </a:lnTo>
                    <a:lnTo>
                      <a:pt x="2033" y="0"/>
                    </a:lnTo>
                    <a:close/>
                  </a:path>
                </a:pathLst>
              </a:custGeom>
              <a:grpFill/>
              <a:ln w="5978" cap="flat">
                <a:noFill/>
                <a:prstDash val="solid"/>
                <a:miter/>
              </a:ln>
            </p:spPr>
            <p:txBody>
              <a:bodyPr rtlCol="0" anchor="ctr"/>
              <a:lstStyle/>
              <a:p>
                <a:endParaRPr lang="en-GB"/>
              </a:p>
            </p:txBody>
          </p:sp>
          <p:sp>
            <p:nvSpPr>
              <p:cNvPr id="4160" name="Vrije vorm: vorm 4159">
                <a:extLst>
                  <a:ext uri="{FF2B5EF4-FFF2-40B4-BE49-F238E27FC236}">
                    <a16:creationId xmlns:a16="http://schemas.microsoft.com/office/drawing/2014/main" id="{E5E0CD79-479A-4BD8-9CAD-79512203278C}"/>
                  </a:ext>
                </a:extLst>
              </p:cNvPr>
              <p:cNvSpPr/>
              <p:nvPr/>
            </p:nvSpPr>
            <p:spPr>
              <a:xfrm>
                <a:off x="7809165" y="4945984"/>
                <a:ext cx="18305" cy="18406"/>
              </a:xfrm>
              <a:custGeom>
                <a:avLst/>
                <a:gdLst>
                  <a:gd name="connsiteX0" fmla="*/ 15134 w 18305"/>
                  <a:gd name="connsiteY0" fmla="*/ 2265 h 18406"/>
                  <a:gd name="connsiteX1" fmla="*/ 16090 w 18305"/>
                  <a:gd name="connsiteY1" fmla="*/ 15244 h 18406"/>
                  <a:gd name="connsiteX2" fmla="*/ 3173 w 18305"/>
                  <a:gd name="connsiteY2" fmla="*/ 16141 h 18406"/>
                  <a:gd name="connsiteX3" fmla="*/ 2215 w 18305"/>
                  <a:gd name="connsiteY3" fmla="*/ 3163 h 18406"/>
                  <a:gd name="connsiteX4" fmla="*/ 15134 w 18305"/>
                  <a:gd name="connsiteY4" fmla="*/ 2265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6">
                    <a:moveTo>
                      <a:pt x="15134" y="2265"/>
                    </a:moveTo>
                    <a:cubicBezTo>
                      <a:pt x="18961" y="5615"/>
                      <a:pt x="19380" y="11416"/>
                      <a:pt x="16090" y="15244"/>
                    </a:cubicBezTo>
                    <a:cubicBezTo>
                      <a:pt x="12801" y="19071"/>
                      <a:pt x="7000" y="19490"/>
                      <a:pt x="3173" y="16141"/>
                    </a:cubicBezTo>
                    <a:cubicBezTo>
                      <a:pt x="-655" y="12791"/>
                      <a:pt x="-1074" y="6990"/>
                      <a:pt x="2215" y="3163"/>
                    </a:cubicBezTo>
                    <a:cubicBezTo>
                      <a:pt x="5504" y="-665"/>
                      <a:pt x="11306" y="-1084"/>
                      <a:pt x="15134" y="2265"/>
                    </a:cubicBezTo>
                    <a:close/>
                  </a:path>
                </a:pathLst>
              </a:custGeom>
              <a:grpFill/>
              <a:ln w="5978" cap="flat">
                <a:noFill/>
                <a:prstDash val="solid"/>
                <a:miter/>
              </a:ln>
            </p:spPr>
            <p:txBody>
              <a:bodyPr rtlCol="0" anchor="ctr"/>
              <a:lstStyle/>
              <a:p>
                <a:endParaRPr lang="en-GB"/>
              </a:p>
            </p:txBody>
          </p:sp>
          <p:sp>
            <p:nvSpPr>
              <p:cNvPr id="4161" name="Vrije vorm: vorm 4160">
                <a:extLst>
                  <a:ext uri="{FF2B5EF4-FFF2-40B4-BE49-F238E27FC236}">
                    <a16:creationId xmlns:a16="http://schemas.microsoft.com/office/drawing/2014/main" id="{FDDD927A-F8CD-4648-A806-49A734A70467}"/>
                  </a:ext>
                </a:extLst>
              </p:cNvPr>
              <p:cNvSpPr/>
              <p:nvPr/>
            </p:nvSpPr>
            <p:spPr>
              <a:xfrm>
                <a:off x="7671250" y="4825652"/>
                <a:ext cx="18305" cy="18405"/>
              </a:xfrm>
              <a:custGeom>
                <a:avLst/>
                <a:gdLst>
                  <a:gd name="connsiteX0" fmla="*/ 15134 w 18305"/>
                  <a:gd name="connsiteY0" fmla="*/ 2265 h 18405"/>
                  <a:gd name="connsiteX1" fmla="*/ 2215 w 18305"/>
                  <a:gd name="connsiteY1" fmla="*/ 3163 h 18405"/>
                  <a:gd name="connsiteX2" fmla="*/ 3172 w 18305"/>
                  <a:gd name="connsiteY2" fmla="*/ 16141 h 18405"/>
                  <a:gd name="connsiteX3" fmla="*/ 16091 w 18305"/>
                  <a:gd name="connsiteY3" fmla="*/ 15244 h 18405"/>
                  <a:gd name="connsiteX4" fmla="*/ 15134 w 18305"/>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5134" y="2265"/>
                    </a:moveTo>
                    <a:cubicBezTo>
                      <a:pt x="11306" y="-1084"/>
                      <a:pt x="5505" y="-665"/>
                      <a:pt x="2215" y="3163"/>
                    </a:cubicBezTo>
                    <a:cubicBezTo>
                      <a:pt x="-1074" y="6990"/>
                      <a:pt x="-656" y="12791"/>
                      <a:pt x="3172" y="16141"/>
                    </a:cubicBezTo>
                    <a:cubicBezTo>
                      <a:pt x="7000" y="19490"/>
                      <a:pt x="12801" y="19071"/>
                      <a:pt x="16091" y="15244"/>
                    </a:cubicBezTo>
                    <a:cubicBezTo>
                      <a:pt x="19380" y="11476"/>
                      <a:pt x="18961" y="5615"/>
                      <a:pt x="15134" y="2265"/>
                    </a:cubicBezTo>
                    <a:close/>
                  </a:path>
                </a:pathLst>
              </a:custGeom>
              <a:grpFill/>
              <a:ln w="5978" cap="flat">
                <a:noFill/>
                <a:prstDash val="solid"/>
                <a:miter/>
              </a:ln>
            </p:spPr>
            <p:txBody>
              <a:bodyPr rtlCol="0" anchor="ctr"/>
              <a:lstStyle/>
              <a:p>
                <a:endParaRPr lang="en-GB"/>
              </a:p>
            </p:txBody>
          </p:sp>
        </p:grpSp>
        <p:grpSp>
          <p:nvGrpSpPr>
            <p:cNvPr id="409" name="Graphic 3">
              <a:extLst>
                <a:ext uri="{FF2B5EF4-FFF2-40B4-BE49-F238E27FC236}">
                  <a16:creationId xmlns:a16="http://schemas.microsoft.com/office/drawing/2014/main" id="{2BCD938C-4FE5-4851-85E9-7DF791416983}"/>
                </a:ext>
              </a:extLst>
            </p:cNvPr>
            <p:cNvGrpSpPr/>
            <p:nvPr/>
          </p:nvGrpSpPr>
          <p:grpSpPr>
            <a:xfrm>
              <a:off x="6573350" y="1405227"/>
              <a:ext cx="82397" cy="235487"/>
              <a:chOff x="6573350" y="1405227"/>
              <a:chExt cx="82397" cy="235487"/>
            </a:xfrm>
            <a:grpFill/>
          </p:grpSpPr>
          <p:sp>
            <p:nvSpPr>
              <p:cNvPr id="4156" name="Vrije vorm: vorm 4155">
                <a:extLst>
                  <a:ext uri="{FF2B5EF4-FFF2-40B4-BE49-F238E27FC236}">
                    <a16:creationId xmlns:a16="http://schemas.microsoft.com/office/drawing/2014/main" id="{6FA15ED9-B2F6-432B-BE28-3D09922E7E52}"/>
                  </a:ext>
                </a:extLst>
              </p:cNvPr>
              <p:cNvSpPr/>
              <p:nvPr/>
            </p:nvSpPr>
            <p:spPr>
              <a:xfrm>
                <a:off x="6580967" y="1413584"/>
                <a:ext cx="67283" cy="218774"/>
              </a:xfrm>
              <a:custGeom>
                <a:avLst/>
                <a:gdLst>
                  <a:gd name="connsiteX0" fmla="*/ 67283 w 67283"/>
                  <a:gd name="connsiteY0" fmla="*/ 897 h 218774"/>
                  <a:gd name="connsiteX1" fmla="*/ 2871 w 67283"/>
                  <a:gd name="connsiteY1" fmla="*/ 218775 h 218774"/>
                  <a:gd name="connsiteX2" fmla="*/ 0 w 67283"/>
                  <a:gd name="connsiteY2" fmla="*/ 217878 h 218774"/>
                  <a:gd name="connsiteX3" fmla="*/ 64353 w 67283"/>
                  <a:gd name="connsiteY3" fmla="*/ 0 h 218774"/>
                </a:gdLst>
                <a:ahLst/>
                <a:cxnLst>
                  <a:cxn ang="0">
                    <a:pos x="connsiteX0" y="connsiteY0"/>
                  </a:cxn>
                  <a:cxn ang="0">
                    <a:pos x="connsiteX1" y="connsiteY1"/>
                  </a:cxn>
                  <a:cxn ang="0">
                    <a:pos x="connsiteX2" y="connsiteY2"/>
                  </a:cxn>
                  <a:cxn ang="0">
                    <a:pos x="connsiteX3" y="connsiteY3"/>
                  </a:cxn>
                </a:cxnLst>
                <a:rect l="l" t="t" r="r" b="b"/>
                <a:pathLst>
                  <a:path w="67283" h="218774">
                    <a:moveTo>
                      <a:pt x="67283" y="897"/>
                    </a:moveTo>
                    <a:lnTo>
                      <a:pt x="2871" y="218775"/>
                    </a:lnTo>
                    <a:lnTo>
                      <a:pt x="0" y="217878"/>
                    </a:lnTo>
                    <a:lnTo>
                      <a:pt x="64353" y="0"/>
                    </a:lnTo>
                    <a:close/>
                  </a:path>
                </a:pathLst>
              </a:custGeom>
              <a:grpFill/>
              <a:ln w="5978" cap="flat">
                <a:noFill/>
                <a:prstDash val="solid"/>
                <a:miter/>
              </a:ln>
            </p:spPr>
            <p:txBody>
              <a:bodyPr rtlCol="0" anchor="ctr"/>
              <a:lstStyle/>
              <a:p>
                <a:endParaRPr lang="en-GB"/>
              </a:p>
            </p:txBody>
          </p:sp>
          <p:sp>
            <p:nvSpPr>
              <p:cNvPr id="4157" name="Vrije vorm: vorm 4156">
                <a:extLst>
                  <a:ext uri="{FF2B5EF4-FFF2-40B4-BE49-F238E27FC236}">
                    <a16:creationId xmlns:a16="http://schemas.microsoft.com/office/drawing/2014/main" id="{ECC35EDD-D385-4585-9D88-1B697721CA6D}"/>
                  </a:ext>
                </a:extLst>
              </p:cNvPr>
              <p:cNvSpPr/>
              <p:nvPr/>
            </p:nvSpPr>
            <p:spPr>
              <a:xfrm>
                <a:off x="6637463" y="1405227"/>
                <a:ext cx="18284" cy="18447"/>
              </a:xfrm>
              <a:custGeom>
                <a:avLst/>
                <a:gdLst>
                  <a:gd name="connsiteX0" fmla="*/ 380 w 18284"/>
                  <a:gd name="connsiteY0" fmla="*/ 6562 h 18447"/>
                  <a:gd name="connsiteX1" fmla="*/ 11744 w 18284"/>
                  <a:gd name="connsiteY1" fmla="*/ 402 h 18447"/>
                  <a:gd name="connsiteX2" fmla="*/ 17904 w 18284"/>
                  <a:gd name="connsiteY2" fmla="*/ 11885 h 18447"/>
                  <a:gd name="connsiteX3" fmla="*/ 6541 w 18284"/>
                  <a:gd name="connsiteY3" fmla="*/ 18045 h 18447"/>
                  <a:gd name="connsiteX4" fmla="*/ 380 w 1828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7">
                    <a:moveTo>
                      <a:pt x="380" y="6562"/>
                    </a:moveTo>
                    <a:cubicBezTo>
                      <a:pt x="1816" y="1718"/>
                      <a:pt x="6899" y="-1093"/>
                      <a:pt x="11744" y="402"/>
                    </a:cubicBezTo>
                    <a:cubicBezTo>
                      <a:pt x="16588" y="1897"/>
                      <a:pt x="19340" y="6981"/>
                      <a:pt x="17904" y="11885"/>
                    </a:cubicBezTo>
                    <a:cubicBezTo>
                      <a:pt x="16469" y="16730"/>
                      <a:pt x="11385" y="19540"/>
                      <a:pt x="6541" y="18045"/>
                    </a:cubicBezTo>
                    <a:cubicBezTo>
                      <a:pt x="1696" y="16610"/>
                      <a:pt x="-1055" y="11467"/>
                      <a:pt x="380" y="6562"/>
                    </a:cubicBezTo>
                    <a:close/>
                  </a:path>
                </a:pathLst>
              </a:custGeom>
              <a:grpFill/>
              <a:ln w="5978" cap="flat">
                <a:noFill/>
                <a:prstDash val="solid"/>
                <a:miter/>
              </a:ln>
            </p:spPr>
            <p:txBody>
              <a:bodyPr rtlCol="0" anchor="ctr"/>
              <a:lstStyle/>
              <a:p>
                <a:endParaRPr lang="en-GB"/>
              </a:p>
            </p:txBody>
          </p:sp>
          <p:sp>
            <p:nvSpPr>
              <p:cNvPr id="4158" name="Vrije vorm: vorm 4157">
                <a:extLst>
                  <a:ext uri="{FF2B5EF4-FFF2-40B4-BE49-F238E27FC236}">
                    <a16:creationId xmlns:a16="http://schemas.microsoft.com/office/drawing/2014/main" id="{686417A6-2ED3-4C4D-B312-C670B13D5930}"/>
                  </a:ext>
                </a:extLst>
              </p:cNvPr>
              <p:cNvSpPr/>
              <p:nvPr/>
            </p:nvSpPr>
            <p:spPr>
              <a:xfrm>
                <a:off x="6573350" y="1622268"/>
                <a:ext cx="18344" cy="18447"/>
              </a:xfrm>
              <a:custGeom>
                <a:avLst/>
                <a:gdLst>
                  <a:gd name="connsiteX0" fmla="*/ 380 w 18344"/>
                  <a:gd name="connsiteY0" fmla="*/ 6562 h 18447"/>
                  <a:gd name="connsiteX1" fmla="*/ 6540 w 18344"/>
                  <a:gd name="connsiteY1" fmla="*/ 18045 h 18447"/>
                  <a:gd name="connsiteX2" fmla="*/ 17964 w 18344"/>
                  <a:gd name="connsiteY2" fmla="*/ 11885 h 18447"/>
                  <a:gd name="connsiteX3" fmla="*/ 11803 w 18344"/>
                  <a:gd name="connsiteY3" fmla="*/ 402 h 18447"/>
                  <a:gd name="connsiteX4" fmla="*/ 380 w 1834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47">
                    <a:moveTo>
                      <a:pt x="380" y="6562"/>
                    </a:moveTo>
                    <a:cubicBezTo>
                      <a:pt x="-1055" y="11407"/>
                      <a:pt x="1696" y="16550"/>
                      <a:pt x="6540" y="18045"/>
                    </a:cubicBezTo>
                    <a:cubicBezTo>
                      <a:pt x="11385" y="19540"/>
                      <a:pt x="16469" y="16730"/>
                      <a:pt x="17964" y="11885"/>
                    </a:cubicBezTo>
                    <a:cubicBezTo>
                      <a:pt x="19399" y="7041"/>
                      <a:pt x="16648" y="1897"/>
                      <a:pt x="11803" y="402"/>
                    </a:cubicBezTo>
                    <a:cubicBezTo>
                      <a:pt x="6959" y="-1093"/>
                      <a:pt x="1816" y="1718"/>
                      <a:pt x="380" y="6562"/>
                    </a:cubicBezTo>
                    <a:close/>
                  </a:path>
                </a:pathLst>
              </a:custGeom>
              <a:grpFill/>
              <a:ln w="5978" cap="flat">
                <a:noFill/>
                <a:prstDash val="solid"/>
                <a:miter/>
              </a:ln>
            </p:spPr>
            <p:txBody>
              <a:bodyPr rtlCol="0" anchor="ctr"/>
              <a:lstStyle/>
              <a:p>
                <a:endParaRPr lang="en-GB"/>
              </a:p>
            </p:txBody>
          </p:sp>
        </p:grpSp>
        <p:grpSp>
          <p:nvGrpSpPr>
            <p:cNvPr id="410" name="Graphic 3">
              <a:extLst>
                <a:ext uri="{FF2B5EF4-FFF2-40B4-BE49-F238E27FC236}">
                  <a16:creationId xmlns:a16="http://schemas.microsoft.com/office/drawing/2014/main" id="{6B372CC3-4A33-4012-93F3-79882A5326BA}"/>
                </a:ext>
              </a:extLst>
            </p:cNvPr>
            <p:cNvGrpSpPr/>
            <p:nvPr/>
          </p:nvGrpSpPr>
          <p:grpSpPr>
            <a:xfrm>
              <a:off x="6627186" y="1599745"/>
              <a:ext cx="82891" cy="199194"/>
              <a:chOff x="6627186" y="1599745"/>
              <a:chExt cx="82891" cy="199194"/>
            </a:xfrm>
            <a:grpFill/>
          </p:grpSpPr>
          <p:sp>
            <p:nvSpPr>
              <p:cNvPr id="4153" name="Vrije vorm: vorm 4152">
                <a:extLst>
                  <a:ext uri="{FF2B5EF4-FFF2-40B4-BE49-F238E27FC236}">
                    <a16:creationId xmlns:a16="http://schemas.microsoft.com/office/drawing/2014/main" id="{CE92BBE9-0087-4280-A2EC-640D6CD4FE79}"/>
                  </a:ext>
                </a:extLst>
              </p:cNvPr>
              <p:cNvSpPr/>
              <p:nvPr/>
            </p:nvSpPr>
            <p:spPr>
              <a:xfrm>
                <a:off x="6634734" y="1608017"/>
                <a:ext cx="67761" cy="182651"/>
              </a:xfrm>
              <a:custGeom>
                <a:avLst/>
                <a:gdLst>
                  <a:gd name="connsiteX0" fmla="*/ 67761 w 67761"/>
                  <a:gd name="connsiteY0" fmla="*/ 1076 h 182651"/>
                  <a:gd name="connsiteX1" fmla="*/ 2871 w 67761"/>
                  <a:gd name="connsiteY1" fmla="*/ 182651 h 182651"/>
                  <a:gd name="connsiteX2" fmla="*/ 0 w 67761"/>
                  <a:gd name="connsiteY2" fmla="*/ 181634 h 182651"/>
                  <a:gd name="connsiteX3" fmla="*/ 64891 w 67761"/>
                  <a:gd name="connsiteY3" fmla="*/ 0 h 182651"/>
                </a:gdLst>
                <a:ahLst/>
                <a:cxnLst>
                  <a:cxn ang="0">
                    <a:pos x="connsiteX0" y="connsiteY0"/>
                  </a:cxn>
                  <a:cxn ang="0">
                    <a:pos x="connsiteX1" y="connsiteY1"/>
                  </a:cxn>
                  <a:cxn ang="0">
                    <a:pos x="connsiteX2" y="connsiteY2"/>
                  </a:cxn>
                  <a:cxn ang="0">
                    <a:pos x="connsiteX3" y="connsiteY3"/>
                  </a:cxn>
                </a:cxnLst>
                <a:rect l="l" t="t" r="r" b="b"/>
                <a:pathLst>
                  <a:path w="67761" h="182651">
                    <a:moveTo>
                      <a:pt x="67761" y="1076"/>
                    </a:moveTo>
                    <a:lnTo>
                      <a:pt x="2871" y="182651"/>
                    </a:lnTo>
                    <a:lnTo>
                      <a:pt x="0" y="181634"/>
                    </a:lnTo>
                    <a:lnTo>
                      <a:pt x="64891" y="0"/>
                    </a:lnTo>
                    <a:close/>
                  </a:path>
                </a:pathLst>
              </a:custGeom>
              <a:grpFill/>
              <a:ln w="5978" cap="flat">
                <a:noFill/>
                <a:prstDash val="solid"/>
                <a:miter/>
              </a:ln>
            </p:spPr>
            <p:txBody>
              <a:bodyPr rtlCol="0" anchor="ctr"/>
              <a:lstStyle/>
              <a:p>
                <a:endParaRPr lang="en-GB"/>
              </a:p>
            </p:txBody>
          </p:sp>
          <p:sp>
            <p:nvSpPr>
              <p:cNvPr id="4154" name="Vrije vorm: vorm 4153">
                <a:extLst>
                  <a:ext uri="{FF2B5EF4-FFF2-40B4-BE49-F238E27FC236}">
                    <a16:creationId xmlns:a16="http://schemas.microsoft.com/office/drawing/2014/main" id="{EDACCADE-D840-46FC-9C05-5E918D7D7692}"/>
                  </a:ext>
                </a:extLst>
              </p:cNvPr>
              <p:cNvSpPr/>
              <p:nvPr/>
            </p:nvSpPr>
            <p:spPr>
              <a:xfrm>
                <a:off x="6691719" y="1599745"/>
                <a:ext cx="18359" cy="18397"/>
              </a:xfrm>
              <a:custGeom>
                <a:avLst/>
                <a:gdLst>
                  <a:gd name="connsiteX0" fmla="*/ 550 w 18359"/>
                  <a:gd name="connsiteY0" fmla="*/ 6059 h 18397"/>
                  <a:gd name="connsiteX1" fmla="*/ 12272 w 18359"/>
                  <a:gd name="connsiteY1" fmla="*/ 557 h 18397"/>
                  <a:gd name="connsiteX2" fmla="*/ 17834 w 18359"/>
                  <a:gd name="connsiteY2" fmla="*/ 12339 h 18397"/>
                  <a:gd name="connsiteX3" fmla="*/ 6112 w 18359"/>
                  <a:gd name="connsiteY3" fmla="*/ 17841 h 18397"/>
                  <a:gd name="connsiteX4" fmla="*/ 550 w 18359"/>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97">
                    <a:moveTo>
                      <a:pt x="550" y="6059"/>
                    </a:moveTo>
                    <a:cubicBezTo>
                      <a:pt x="2284" y="1274"/>
                      <a:pt x="7487" y="-1178"/>
                      <a:pt x="12272" y="557"/>
                    </a:cubicBezTo>
                    <a:cubicBezTo>
                      <a:pt x="17056" y="2291"/>
                      <a:pt x="19508" y="7554"/>
                      <a:pt x="17834" y="12339"/>
                    </a:cubicBezTo>
                    <a:cubicBezTo>
                      <a:pt x="16159" y="17123"/>
                      <a:pt x="10896" y="19575"/>
                      <a:pt x="6112" y="17841"/>
                    </a:cubicBezTo>
                    <a:cubicBezTo>
                      <a:pt x="1327" y="16166"/>
                      <a:pt x="-1185" y="10843"/>
                      <a:pt x="550" y="6059"/>
                    </a:cubicBezTo>
                    <a:close/>
                  </a:path>
                </a:pathLst>
              </a:custGeom>
              <a:grpFill/>
              <a:ln w="5978" cap="flat">
                <a:noFill/>
                <a:prstDash val="solid"/>
                <a:miter/>
              </a:ln>
            </p:spPr>
            <p:txBody>
              <a:bodyPr rtlCol="0" anchor="ctr"/>
              <a:lstStyle/>
              <a:p>
                <a:endParaRPr lang="en-GB"/>
              </a:p>
            </p:txBody>
          </p:sp>
          <p:sp>
            <p:nvSpPr>
              <p:cNvPr id="4155" name="Vrije vorm: vorm 4154">
                <a:extLst>
                  <a:ext uri="{FF2B5EF4-FFF2-40B4-BE49-F238E27FC236}">
                    <a16:creationId xmlns:a16="http://schemas.microsoft.com/office/drawing/2014/main" id="{29B422CB-4A4D-4442-8C01-379C4941E704}"/>
                  </a:ext>
                </a:extLst>
              </p:cNvPr>
              <p:cNvSpPr/>
              <p:nvPr/>
            </p:nvSpPr>
            <p:spPr>
              <a:xfrm>
                <a:off x="6627186" y="1780542"/>
                <a:ext cx="18383" cy="18397"/>
              </a:xfrm>
              <a:custGeom>
                <a:avLst/>
                <a:gdLst>
                  <a:gd name="connsiteX0" fmla="*/ 549 w 18383"/>
                  <a:gd name="connsiteY0" fmla="*/ 6059 h 18397"/>
                  <a:gd name="connsiteX1" fmla="*/ 6111 w 18383"/>
                  <a:gd name="connsiteY1" fmla="*/ 17841 h 18397"/>
                  <a:gd name="connsiteX2" fmla="*/ 17834 w 18383"/>
                  <a:gd name="connsiteY2" fmla="*/ 12339 h 18397"/>
                  <a:gd name="connsiteX3" fmla="*/ 12272 w 18383"/>
                  <a:gd name="connsiteY3" fmla="*/ 557 h 18397"/>
                  <a:gd name="connsiteX4" fmla="*/ 549 w 18383"/>
                  <a:gd name="connsiteY4" fmla="*/ 6059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397">
                    <a:moveTo>
                      <a:pt x="549" y="6059"/>
                    </a:moveTo>
                    <a:cubicBezTo>
                      <a:pt x="-1185" y="10844"/>
                      <a:pt x="1327" y="16106"/>
                      <a:pt x="6111" y="17841"/>
                    </a:cubicBezTo>
                    <a:cubicBezTo>
                      <a:pt x="10896" y="19575"/>
                      <a:pt x="16099" y="17123"/>
                      <a:pt x="17834" y="12339"/>
                    </a:cubicBezTo>
                    <a:cubicBezTo>
                      <a:pt x="19568" y="7554"/>
                      <a:pt x="17056" y="2291"/>
                      <a:pt x="12272" y="557"/>
                    </a:cubicBezTo>
                    <a:cubicBezTo>
                      <a:pt x="7487" y="-1178"/>
                      <a:pt x="2224" y="1274"/>
                      <a:pt x="549" y="6059"/>
                    </a:cubicBezTo>
                    <a:close/>
                  </a:path>
                </a:pathLst>
              </a:custGeom>
              <a:grpFill/>
              <a:ln w="5978" cap="flat">
                <a:noFill/>
                <a:prstDash val="solid"/>
                <a:miter/>
              </a:ln>
            </p:spPr>
            <p:txBody>
              <a:bodyPr rtlCol="0" anchor="ctr"/>
              <a:lstStyle/>
              <a:p>
                <a:endParaRPr lang="en-GB"/>
              </a:p>
            </p:txBody>
          </p:sp>
        </p:grpSp>
        <p:grpSp>
          <p:nvGrpSpPr>
            <p:cNvPr id="411" name="Graphic 3">
              <a:extLst>
                <a:ext uri="{FF2B5EF4-FFF2-40B4-BE49-F238E27FC236}">
                  <a16:creationId xmlns:a16="http://schemas.microsoft.com/office/drawing/2014/main" id="{DF873338-2D10-4E67-B240-07074509D54B}"/>
                </a:ext>
              </a:extLst>
            </p:cNvPr>
            <p:cNvGrpSpPr/>
            <p:nvPr/>
          </p:nvGrpSpPr>
          <p:grpSpPr>
            <a:xfrm>
              <a:off x="6530152" y="1342367"/>
              <a:ext cx="185599" cy="447263"/>
              <a:chOff x="6530152" y="1342367"/>
              <a:chExt cx="185599" cy="447263"/>
            </a:xfrm>
            <a:grpFill/>
          </p:grpSpPr>
          <p:sp>
            <p:nvSpPr>
              <p:cNvPr id="4150" name="Vrije vorm: vorm 4149">
                <a:extLst>
                  <a:ext uri="{FF2B5EF4-FFF2-40B4-BE49-F238E27FC236}">
                    <a16:creationId xmlns:a16="http://schemas.microsoft.com/office/drawing/2014/main" id="{E85842F0-68F0-46B0-A4A5-F28C4E9E1F6D}"/>
                  </a:ext>
                </a:extLst>
              </p:cNvPr>
              <p:cNvSpPr/>
              <p:nvPr/>
            </p:nvSpPr>
            <p:spPr>
              <a:xfrm>
                <a:off x="6537786" y="1350607"/>
                <a:ext cx="170390" cy="430731"/>
              </a:xfrm>
              <a:custGeom>
                <a:avLst/>
                <a:gdLst>
                  <a:gd name="connsiteX0" fmla="*/ 170391 w 170390"/>
                  <a:gd name="connsiteY0" fmla="*/ 1136 h 430731"/>
                  <a:gd name="connsiteX1" fmla="*/ 2811 w 170390"/>
                  <a:gd name="connsiteY1" fmla="*/ 430732 h 430731"/>
                  <a:gd name="connsiteX2" fmla="*/ 0 w 170390"/>
                  <a:gd name="connsiteY2" fmla="*/ 429655 h 430731"/>
                  <a:gd name="connsiteX3" fmla="*/ 167520 w 170390"/>
                  <a:gd name="connsiteY3" fmla="*/ 0 h 430731"/>
                </a:gdLst>
                <a:ahLst/>
                <a:cxnLst>
                  <a:cxn ang="0">
                    <a:pos x="connsiteX0" y="connsiteY0"/>
                  </a:cxn>
                  <a:cxn ang="0">
                    <a:pos x="connsiteX1" y="connsiteY1"/>
                  </a:cxn>
                  <a:cxn ang="0">
                    <a:pos x="connsiteX2" y="connsiteY2"/>
                  </a:cxn>
                  <a:cxn ang="0">
                    <a:pos x="connsiteX3" y="connsiteY3"/>
                  </a:cxn>
                </a:cxnLst>
                <a:rect l="l" t="t" r="r" b="b"/>
                <a:pathLst>
                  <a:path w="170390" h="430731">
                    <a:moveTo>
                      <a:pt x="170391" y="1136"/>
                    </a:moveTo>
                    <a:lnTo>
                      <a:pt x="2811" y="430732"/>
                    </a:lnTo>
                    <a:lnTo>
                      <a:pt x="0" y="429655"/>
                    </a:lnTo>
                    <a:lnTo>
                      <a:pt x="167520" y="0"/>
                    </a:lnTo>
                    <a:close/>
                  </a:path>
                </a:pathLst>
              </a:custGeom>
              <a:grpFill/>
              <a:ln w="5978" cap="flat">
                <a:noFill/>
                <a:prstDash val="solid"/>
                <a:miter/>
              </a:ln>
            </p:spPr>
            <p:txBody>
              <a:bodyPr rtlCol="0" anchor="ctr"/>
              <a:lstStyle/>
              <a:p>
                <a:endParaRPr lang="en-GB"/>
              </a:p>
            </p:txBody>
          </p:sp>
          <p:sp>
            <p:nvSpPr>
              <p:cNvPr id="4151" name="Vrije vorm: vorm 4150">
                <a:extLst>
                  <a:ext uri="{FF2B5EF4-FFF2-40B4-BE49-F238E27FC236}">
                    <a16:creationId xmlns:a16="http://schemas.microsoft.com/office/drawing/2014/main" id="{0435AF62-BF1A-4CBD-9FCC-43FB1F8A69DB}"/>
                  </a:ext>
                </a:extLst>
              </p:cNvPr>
              <p:cNvSpPr/>
              <p:nvPr/>
            </p:nvSpPr>
            <p:spPr>
              <a:xfrm>
                <a:off x="6530152" y="1771192"/>
                <a:ext cx="18378" cy="18438"/>
              </a:xfrm>
              <a:custGeom>
                <a:avLst/>
                <a:gdLst>
                  <a:gd name="connsiteX0" fmla="*/ 17742 w 18378"/>
                  <a:gd name="connsiteY0" fmla="*/ 12598 h 18438"/>
                  <a:gd name="connsiteX1" fmla="*/ 5840 w 18378"/>
                  <a:gd name="connsiteY1" fmla="*/ 17801 h 18438"/>
                  <a:gd name="connsiteX2" fmla="*/ 637 w 18378"/>
                  <a:gd name="connsiteY2" fmla="*/ 5840 h 18438"/>
                  <a:gd name="connsiteX3" fmla="*/ 12538 w 18378"/>
                  <a:gd name="connsiteY3" fmla="*/ 637 h 18438"/>
                  <a:gd name="connsiteX4" fmla="*/ 17742 w 1837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38">
                    <a:moveTo>
                      <a:pt x="17742" y="12598"/>
                    </a:moveTo>
                    <a:cubicBezTo>
                      <a:pt x="15888" y="17323"/>
                      <a:pt x="10565" y="19655"/>
                      <a:pt x="5840" y="17801"/>
                    </a:cubicBezTo>
                    <a:cubicBezTo>
                      <a:pt x="1115" y="15947"/>
                      <a:pt x="-1217" y="10565"/>
                      <a:pt x="637" y="5840"/>
                    </a:cubicBezTo>
                    <a:cubicBezTo>
                      <a:pt x="2491" y="1115"/>
                      <a:pt x="7813" y="-1217"/>
                      <a:pt x="12538" y="637"/>
                    </a:cubicBezTo>
                    <a:cubicBezTo>
                      <a:pt x="17263" y="2491"/>
                      <a:pt x="19596" y="7814"/>
                      <a:pt x="17742" y="12598"/>
                    </a:cubicBezTo>
                    <a:close/>
                  </a:path>
                </a:pathLst>
              </a:custGeom>
              <a:grpFill/>
              <a:ln w="5978" cap="flat">
                <a:noFill/>
                <a:prstDash val="solid"/>
                <a:miter/>
              </a:ln>
            </p:spPr>
            <p:txBody>
              <a:bodyPr rtlCol="0" anchor="ctr"/>
              <a:lstStyle/>
              <a:p>
                <a:endParaRPr lang="en-GB"/>
              </a:p>
            </p:txBody>
          </p:sp>
          <p:sp>
            <p:nvSpPr>
              <p:cNvPr id="4152" name="Vrije vorm: vorm 4151">
                <a:extLst>
                  <a:ext uri="{FF2B5EF4-FFF2-40B4-BE49-F238E27FC236}">
                    <a16:creationId xmlns:a16="http://schemas.microsoft.com/office/drawing/2014/main" id="{B630E789-FF8E-4A34-B43C-662C0D8FBEBB}"/>
                  </a:ext>
                </a:extLst>
              </p:cNvPr>
              <p:cNvSpPr/>
              <p:nvPr/>
            </p:nvSpPr>
            <p:spPr>
              <a:xfrm>
                <a:off x="6697373" y="1342367"/>
                <a:ext cx="18378" cy="18445"/>
              </a:xfrm>
              <a:custGeom>
                <a:avLst/>
                <a:gdLst>
                  <a:gd name="connsiteX0" fmla="*/ 17742 w 18378"/>
                  <a:gd name="connsiteY0" fmla="*/ 12606 h 18445"/>
                  <a:gd name="connsiteX1" fmla="*/ 12538 w 18378"/>
                  <a:gd name="connsiteY1" fmla="*/ 644 h 18445"/>
                  <a:gd name="connsiteX2" fmla="*/ 637 w 18378"/>
                  <a:gd name="connsiteY2" fmla="*/ 5848 h 18445"/>
                  <a:gd name="connsiteX3" fmla="*/ 5840 w 18378"/>
                  <a:gd name="connsiteY3" fmla="*/ 17809 h 18445"/>
                  <a:gd name="connsiteX4" fmla="*/ 17742 w 18378"/>
                  <a:gd name="connsiteY4" fmla="*/ 12606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45">
                    <a:moveTo>
                      <a:pt x="17742" y="12606"/>
                    </a:moveTo>
                    <a:cubicBezTo>
                      <a:pt x="19596" y="7881"/>
                      <a:pt x="17263" y="2498"/>
                      <a:pt x="12538" y="644"/>
                    </a:cubicBezTo>
                    <a:cubicBezTo>
                      <a:pt x="7814" y="-1210"/>
                      <a:pt x="2491" y="1063"/>
                      <a:pt x="637" y="5848"/>
                    </a:cubicBezTo>
                    <a:cubicBezTo>
                      <a:pt x="-1217" y="10572"/>
                      <a:pt x="1115" y="15955"/>
                      <a:pt x="5840" y="17809"/>
                    </a:cubicBezTo>
                    <a:cubicBezTo>
                      <a:pt x="10565" y="19663"/>
                      <a:pt x="15888" y="17331"/>
                      <a:pt x="17742" y="12606"/>
                    </a:cubicBezTo>
                    <a:close/>
                  </a:path>
                </a:pathLst>
              </a:custGeom>
              <a:grpFill/>
              <a:ln w="5978" cap="flat">
                <a:noFill/>
                <a:prstDash val="solid"/>
                <a:miter/>
              </a:ln>
            </p:spPr>
            <p:txBody>
              <a:bodyPr rtlCol="0" anchor="ctr"/>
              <a:lstStyle/>
              <a:p>
                <a:endParaRPr lang="en-GB"/>
              </a:p>
            </p:txBody>
          </p:sp>
        </p:grpSp>
        <p:grpSp>
          <p:nvGrpSpPr>
            <p:cNvPr id="412" name="Graphic 3">
              <a:extLst>
                <a:ext uri="{FF2B5EF4-FFF2-40B4-BE49-F238E27FC236}">
                  <a16:creationId xmlns:a16="http://schemas.microsoft.com/office/drawing/2014/main" id="{1B741EED-9B63-41D9-B941-FE5CD715A730}"/>
                </a:ext>
              </a:extLst>
            </p:cNvPr>
            <p:cNvGrpSpPr/>
            <p:nvPr/>
          </p:nvGrpSpPr>
          <p:grpSpPr>
            <a:xfrm>
              <a:off x="7443472" y="4338719"/>
              <a:ext cx="343183" cy="279687"/>
              <a:chOff x="7443472" y="4338719"/>
              <a:chExt cx="343183" cy="279687"/>
            </a:xfrm>
            <a:grpFill/>
          </p:grpSpPr>
          <p:sp>
            <p:nvSpPr>
              <p:cNvPr id="4147" name="Vrije vorm: vorm 4146">
                <a:extLst>
                  <a:ext uri="{FF2B5EF4-FFF2-40B4-BE49-F238E27FC236}">
                    <a16:creationId xmlns:a16="http://schemas.microsoft.com/office/drawing/2014/main" id="{E548459F-DC98-4C8C-8922-D8262368378A}"/>
                  </a:ext>
                </a:extLst>
              </p:cNvPr>
              <p:cNvSpPr/>
              <p:nvPr/>
            </p:nvSpPr>
            <p:spPr>
              <a:xfrm>
                <a:off x="7451282" y="4346469"/>
                <a:ext cx="327503" cy="264228"/>
              </a:xfrm>
              <a:custGeom>
                <a:avLst/>
                <a:gdLst>
                  <a:gd name="connsiteX0" fmla="*/ 327504 w 327503"/>
                  <a:gd name="connsiteY0" fmla="*/ 261836 h 264228"/>
                  <a:gd name="connsiteX1" fmla="*/ 325590 w 327503"/>
                  <a:gd name="connsiteY1" fmla="*/ 264229 h 264228"/>
                  <a:gd name="connsiteX2" fmla="*/ 0 w 327503"/>
                  <a:gd name="connsiteY2" fmla="*/ 2392 h 264228"/>
                  <a:gd name="connsiteX3" fmla="*/ 1914 w 327503"/>
                  <a:gd name="connsiteY3" fmla="*/ 0 h 264228"/>
                </a:gdLst>
                <a:ahLst/>
                <a:cxnLst>
                  <a:cxn ang="0">
                    <a:pos x="connsiteX0" y="connsiteY0"/>
                  </a:cxn>
                  <a:cxn ang="0">
                    <a:pos x="connsiteX1" y="connsiteY1"/>
                  </a:cxn>
                  <a:cxn ang="0">
                    <a:pos x="connsiteX2" y="connsiteY2"/>
                  </a:cxn>
                  <a:cxn ang="0">
                    <a:pos x="connsiteX3" y="connsiteY3"/>
                  </a:cxn>
                </a:cxnLst>
                <a:rect l="l" t="t" r="r" b="b"/>
                <a:pathLst>
                  <a:path w="327503" h="264228">
                    <a:moveTo>
                      <a:pt x="327504" y="261836"/>
                    </a:moveTo>
                    <a:lnTo>
                      <a:pt x="325590" y="264229"/>
                    </a:lnTo>
                    <a:lnTo>
                      <a:pt x="0" y="2392"/>
                    </a:lnTo>
                    <a:lnTo>
                      <a:pt x="1914" y="0"/>
                    </a:lnTo>
                    <a:close/>
                  </a:path>
                </a:pathLst>
              </a:custGeom>
              <a:grpFill/>
              <a:ln w="5978" cap="flat">
                <a:noFill/>
                <a:prstDash val="solid"/>
                <a:miter/>
              </a:ln>
            </p:spPr>
            <p:txBody>
              <a:bodyPr rtlCol="0" anchor="ctr"/>
              <a:lstStyle/>
              <a:p>
                <a:endParaRPr lang="en-GB"/>
              </a:p>
            </p:txBody>
          </p:sp>
          <p:sp>
            <p:nvSpPr>
              <p:cNvPr id="4148" name="Vrije vorm: vorm 4147">
                <a:extLst>
                  <a:ext uri="{FF2B5EF4-FFF2-40B4-BE49-F238E27FC236}">
                    <a16:creationId xmlns:a16="http://schemas.microsoft.com/office/drawing/2014/main" id="{7B3B2DDF-F22F-4888-931E-0860CB2FB9DA}"/>
                  </a:ext>
                </a:extLst>
              </p:cNvPr>
              <p:cNvSpPr/>
              <p:nvPr/>
            </p:nvSpPr>
            <p:spPr>
              <a:xfrm>
                <a:off x="7443472" y="4338719"/>
                <a:ext cx="18311" cy="18474"/>
              </a:xfrm>
              <a:custGeom>
                <a:avLst/>
                <a:gdLst>
                  <a:gd name="connsiteX0" fmla="*/ 3444 w 18311"/>
                  <a:gd name="connsiteY0" fmla="*/ 16422 h 18474"/>
                  <a:gd name="connsiteX1" fmla="*/ 2008 w 18311"/>
                  <a:gd name="connsiteY1" fmla="*/ 3444 h 18474"/>
                  <a:gd name="connsiteX2" fmla="*/ 14867 w 18311"/>
                  <a:gd name="connsiteY2" fmla="*/ 2009 h 18474"/>
                  <a:gd name="connsiteX3" fmla="*/ 16302 w 18311"/>
                  <a:gd name="connsiteY3" fmla="*/ 14987 h 18474"/>
                  <a:gd name="connsiteX4" fmla="*/ 3444 w 18311"/>
                  <a:gd name="connsiteY4" fmla="*/ 16422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74">
                    <a:moveTo>
                      <a:pt x="3444" y="16422"/>
                    </a:moveTo>
                    <a:cubicBezTo>
                      <a:pt x="-503" y="13253"/>
                      <a:pt x="-1161" y="7451"/>
                      <a:pt x="2008" y="3444"/>
                    </a:cubicBezTo>
                    <a:cubicBezTo>
                      <a:pt x="5178" y="-503"/>
                      <a:pt x="10920" y="-1161"/>
                      <a:pt x="14867" y="2009"/>
                    </a:cubicBezTo>
                    <a:cubicBezTo>
                      <a:pt x="18815" y="5178"/>
                      <a:pt x="19472" y="10980"/>
                      <a:pt x="16302" y="14987"/>
                    </a:cubicBezTo>
                    <a:cubicBezTo>
                      <a:pt x="13132" y="18994"/>
                      <a:pt x="7391" y="19652"/>
                      <a:pt x="3444" y="16422"/>
                    </a:cubicBezTo>
                    <a:close/>
                  </a:path>
                </a:pathLst>
              </a:custGeom>
              <a:grpFill/>
              <a:ln w="5978" cap="flat">
                <a:noFill/>
                <a:prstDash val="solid"/>
                <a:miter/>
              </a:ln>
            </p:spPr>
            <p:txBody>
              <a:bodyPr rtlCol="0" anchor="ctr"/>
              <a:lstStyle/>
              <a:p>
                <a:endParaRPr lang="en-GB"/>
              </a:p>
            </p:txBody>
          </p:sp>
          <p:sp>
            <p:nvSpPr>
              <p:cNvPr id="4149" name="Vrije vorm: vorm 4148">
                <a:extLst>
                  <a:ext uri="{FF2B5EF4-FFF2-40B4-BE49-F238E27FC236}">
                    <a16:creationId xmlns:a16="http://schemas.microsoft.com/office/drawing/2014/main" id="{65F794E5-B7C8-4EC4-AC4F-BC28749AD543}"/>
                  </a:ext>
                </a:extLst>
              </p:cNvPr>
              <p:cNvSpPr/>
              <p:nvPr/>
            </p:nvSpPr>
            <p:spPr>
              <a:xfrm>
                <a:off x="7768344" y="4599938"/>
                <a:ext cx="18311" cy="18468"/>
              </a:xfrm>
              <a:custGeom>
                <a:avLst/>
                <a:gdLst>
                  <a:gd name="connsiteX0" fmla="*/ 3444 w 18311"/>
                  <a:gd name="connsiteY0" fmla="*/ 16441 h 18468"/>
                  <a:gd name="connsiteX1" fmla="*/ 16303 w 18311"/>
                  <a:gd name="connsiteY1" fmla="*/ 15006 h 18468"/>
                  <a:gd name="connsiteX2" fmla="*/ 14868 w 18311"/>
                  <a:gd name="connsiteY2" fmla="*/ 2028 h 18468"/>
                  <a:gd name="connsiteX3" fmla="*/ 2009 w 18311"/>
                  <a:gd name="connsiteY3" fmla="*/ 3463 h 18468"/>
                  <a:gd name="connsiteX4" fmla="*/ 3444 w 18311"/>
                  <a:gd name="connsiteY4" fmla="*/ 16441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68">
                    <a:moveTo>
                      <a:pt x="3444" y="16441"/>
                    </a:moveTo>
                    <a:cubicBezTo>
                      <a:pt x="7392" y="19611"/>
                      <a:pt x="13193" y="19013"/>
                      <a:pt x="16303" y="15006"/>
                    </a:cubicBezTo>
                    <a:cubicBezTo>
                      <a:pt x="19472" y="11059"/>
                      <a:pt x="18814" y="5257"/>
                      <a:pt x="14868" y="2028"/>
                    </a:cubicBezTo>
                    <a:cubicBezTo>
                      <a:pt x="10920" y="-1142"/>
                      <a:pt x="5119" y="-544"/>
                      <a:pt x="2009" y="3463"/>
                    </a:cubicBezTo>
                    <a:cubicBezTo>
                      <a:pt x="-1161" y="7470"/>
                      <a:pt x="-503" y="13271"/>
                      <a:pt x="3444" y="16441"/>
                    </a:cubicBezTo>
                    <a:close/>
                  </a:path>
                </a:pathLst>
              </a:custGeom>
              <a:grpFill/>
              <a:ln w="5978" cap="flat">
                <a:noFill/>
                <a:prstDash val="solid"/>
                <a:miter/>
              </a:ln>
            </p:spPr>
            <p:txBody>
              <a:bodyPr rtlCol="0" anchor="ctr"/>
              <a:lstStyle/>
              <a:p>
                <a:endParaRPr lang="en-GB"/>
              </a:p>
            </p:txBody>
          </p:sp>
        </p:grpSp>
        <p:grpSp>
          <p:nvGrpSpPr>
            <p:cNvPr id="413" name="Graphic 3">
              <a:extLst>
                <a:ext uri="{FF2B5EF4-FFF2-40B4-BE49-F238E27FC236}">
                  <a16:creationId xmlns:a16="http://schemas.microsoft.com/office/drawing/2014/main" id="{56AFA0E0-415E-4F11-9C65-54BF55ED80BD}"/>
                </a:ext>
              </a:extLst>
            </p:cNvPr>
            <p:cNvGrpSpPr/>
            <p:nvPr/>
          </p:nvGrpSpPr>
          <p:grpSpPr>
            <a:xfrm>
              <a:off x="6644538" y="1617044"/>
              <a:ext cx="22016" cy="29462"/>
              <a:chOff x="6644538" y="1617044"/>
              <a:chExt cx="22016" cy="29462"/>
            </a:xfrm>
            <a:grpFill/>
          </p:grpSpPr>
          <p:sp>
            <p:nvSpPr>
              <p:cNvPr id="4145" name="Vrije vorm: vorm 4144">
                <a:extLst>
                  <a:ext uri="{FF2B5EF4-FFF2-40B4-BE49-F238E27FC236}">
                    <a16:creationId xmlns:a16="http://schemas.microsoft.com/office/drawing/2014/main" id="{1DCC8665-9892-468A-9498-947A4AAA0B97}"/>
                  </a:ext>
                </a:extLst>
              </p:cNvPr>
              <p:cNvSpPr/>
              <p:nvPr/>
            </p:nvSpPr>
            <p:spPr>
              <a:xfrm>
                <a:off x="6648246" y="1617044"/>
                <a:ext cx="18308" cy="18428"/>
              </a:xfrm>
              <a:custGeom>
                <a:avLst/>
                <a:gdLst>
                  <a:gd name="connsiteX0" fmla="*/ 17827 w 18308"/>
                  <a:gd name="connsiteY0" fmla="*/ 12205 h 18428"/>
                  <a:gd name="connsiteX1" fmla="*/ 6224 w 18308"/>
                  <a:gd name="connsiteY1" fmla="*/ 17946 h 18428"/>
                  <a:gd name="connsiteX2" fmla="*/ 482 w 18308"/>
                  <a:gd name="connsiteY2" fmla="*/ 6224 h 18428"/>
                  <a:gd name="connsiteX3" fmla="*/ 12085 w 18308"/>
                  <a:gd name="connsiteY3" fmla="*/ 482 h 18428"/>
                  <a:gd name="connsiteX4" fmla="*/ 17827 w 18308"/>
                  <a:gd name="connsiteY4" fmla="*/ 1220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8">
                    <a:moveTo>
                      <a:pt x="17827" y="12205"/>
                    </a:moveTo>
                    <a:cubicBezTo>
                      <a:pt x="16212" y="16989"/>
                      <a:pt x="11009" y="19561"/>
                      <a:pt x="6224" y="17946"/>
                    </a:cubicBezTo>
                    <a:cubicBezTo>
                      <a:pt x="1440" y="16271"/>
                      <a:pt x="-1133" y="11068"/>
                      <a:pt x="482" y="6224"/>
                    </a:cubicBezTo>
                    <a:cubicBezTo>
                      <a:pt x="2097" y="1439"/>
                      <a:pt x="7300" y="-1132"/>
                      <a:pt x="12085" y="482"/>
                    </a:cubicBezTo>
                    <a:cubicBezTo>
                      <a:pt x="16870" y="2157"/>
                      <a:pt x="19441" y="7420"/>
                      <a:pt x="17827" y="12205"/>
                    </a:cubicBezTo>
                    <a:close/>
                  </a:path>
                </a:pathLst>
              </a:custGeom>
              <a:grpFill/>
              <a:ln w="5978" cap="flat">
                <a:noFill/>
                <a:prstDash val="solid"/>
                <a:miter/>
              </a:ln>
            </p:spPr>
            <p:txBody>
              <a:bodyPr rtlCol="0" anchor="ctr"/>
              <a:lstStyle/>
              <a:p>
                <a:endParaRPr lang="en-GB"/>
              </a:p>
            </p:txBody>
          </p:sp>
          <p:sp>
            <p:nvSpPr>
              <p:cNvPr id="4146" name="Vrije vorm: vorm 4145">
                <a:extLst>
                  <a:ext uri="{FF2B5EF4-FFF2-40B4-BE49-F238E27FC236}">
                    <a16:creationId xmlns:a16="http://schemas.microsoft.com/office/drawing/2014/main" id="{9A135ECA-AC2D-441A-8A45-9ACC93E7C88F}"/>
                  </a:ext>
                </a:extLst>
              </p:cNvPr>
              <p:cNvSpPr/>
              <p:nvPr/>
            </p:nvSpPr>
            <p:spPr>
              <a:xfrm>
                <a:off x="6644538" y="1628019"/>
                <a:ext cx="18308" cy="18486"/>
              </a:xfrm>
              <a:custGeom>
                <a:avLst/>
                <a:gdLst>
                  <a:gd name="connsiteX0" fmla="*/ 17827 w 18308"/>
                  <a:gd name="connsiteY0" fmla="*/ 12234 h 18486"/>
                  <a:gd name="connsiteX1" fmla="*/ 12085 w 18308"/>
                  <a:gd name="connsiteY1" fmla="*/ 512 h 18486"/>
                  <a:gd name="connsiteX2" fmla="*/ 482 w 18308"/>
                  <a:gd name="connsiteY2" fmla="*/ 6253 h 18486"/>
                  <a:gd name="connsiteX3" fmla="*/ 6224 w 18308"/>
                  <a:gd name="connsiteY3" fmla="*/ 17975 h 18486"/>
                  <a:gd name="connsiteX4" fmla="*/ 17827 w 18308"/>
                  <a:gd name="connsiteY4" fmla="*/ 12234 h 18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86">
                    <a:moveTo>
                      <a:pt x="17827" y="12234"/>
                    </a:moveTo>
                    <a:cubicBezTo>
                      <a:pt x="19441" y="7449"/>
                      <a:pt x="16870" y="2186"/>
                      <a:pt x="12085" y="512"/>
                    </a:cubicBezTo>
                    <a:cubicBezTo>
                      <a:pt x="7300" y="-1163"/>
                      <a:pt x="2097" y="1409"/>
                      <a:pt x="482" y="6253"/>
                    </a:cubicBezTo>
                    <a:cubicBezTo>
                      <a:pt x="-1133" y="11038"/>
                      <a:pt x="1440" y="16301"/>
                      <a:pt x="6224" y="17975"/>
                    </a:cubicBezTo>
                    <a:cubicBezTo>
                      <a:pt x="11009" y="19650"/>
                      <a:pt x="16212" y="17078"/>
                      <a:pt x="17827" y="12234"/>
                    </a:cubicBezTo>
                    <a:close/>
                  </a:path>
                </a:pathLst>
              </a:custGeom>
              <a:grpFill/>
              <a:ln w="5978" cap="flat">
                <a:noFill/>
                <a:prstDash val="solid"/>
                <a:miter/>
              </a:ln>
            </p:spPr>
            <p:txBody>
              <a:bodyPr rtlCol="0" anchor="ctr"/>
              <a:lstStyle/>
              <a:p>
                <a:endParaRPr lang="en-GB"/>
              </a:p>
            </p:txBody>
          </p:sp>
        </p:grpSp>
        <p:grpSp>
          <p:nvGrpSpPr>
            <p:cNvPr id="414" name="Graphic 3">
              <a:extLst>
                <a:ext uri="{FF2B5EF4-FFF2-40B4-BE49-F238E27FC236}">
                  <a16:creationId xmlns:a16="http://schemas.microsoft.com/office/drawing/2014/main" id="{76527113-3604-49F8-BD11-DE4915086DFF}"/>
                </a:ext>
              </a:extLst>
            </p:cNvPr>
            <p:cNvGrpSpPr/>
            <p:nvPr/>
          </p:nvGrpSpPr>
          <p:grpSpPr>
            <a:xfrm>
              <a:off x="7502979" y="4264051"/>
              <a:ext cx="51133" cy="37687"/>
              <a:chOff x="7502979" y="4264051"/>
              <a:chExt cx="51133" cy="37687"/>
            </a:xfrm>
            <a:grpFill/>
          </p:grpSpPr>
          <p:sp>
            <p:nvSpPr>
              <p:cNvPr id="4142" name="Vrije vorm: vorm 4141">
                <a:extLst>
                  <a:ext uri="{FF2B5EF4-FFF2-40B4-BE49-F238E27FC236}">
                    <a16:creationId xmlns:a16="http://schemas.microsoft.com/office/drawing/2014/main" id="{DC6CADFF-E074-4A1F-A42B-9414139719E1}"/>
                  </a:ext>
                </a:extLst>
              </p:cNvPr>
              <p:cNvSpPr/>
              <p:nvPr/>
            </p:nvSpPr>
            <p:spPr>
              <a:xfrm>
                <a:off x="7510969" y="4271710"/>
                <a:ext cx="35166" cy="22368"/>
              </a:xfrm>
              <a:custGeom>
                <a:avLst/>
                <a:gdLst>
                  <a:gd name="connsiteX0" fmla="*/ 35167 w 35166"/>
                  <a:gd name="connsiteY0" fmla="*/ 19737 h 22368"/>
                  <a:gd name="connsiteX1" fmla="*/ 33612 w 35166"/>
                  <a:gd name="connsiteY1" fmla="*/ 22368 h 22368"/>
                  <a:gd name="connsiteX2" fmla="*/ 0 w 35166"/>
                  <a:gd name="connsiteY2" fmla="*/ 2632 h 22368"/>
                  <a:gd name="connsiteX3" fmla="*/ 1495 w 35166"/>
                  <a:gd name="connsiteY3" fmla="*/ 0 h 22368"/>
                </a:gdLst>
                <a:ahLst/>
                <a:cxnLst>
                  <a:cxn ang="0">
                    <a:pos x="connsiteX0" y="connsiteY0"/>
                  </a:cxn>
                  <a:cxn ang="0">
                    <a:pos x="connsiteX1" y="connsiteY1"/>
                  </a:cxn>
                  <a:cxn ang="0">
                    <a:pos x="connsiteX2" y="connsiteY2"/>
                  </a:cxn>
                  <a:cxn ang="0">
                    <a:pos x="connsiteX3" y="connsiteY3"/>
                  </a:cxn>
                </a:cxnLst>
                <a:rect l="l" t="t" r="r" b="b"/>
                <a:pathLst>
                  <a:path w="35166" h="22368">
                    <a:moveTo>
                      <a:pt x="35167" y="19737"/>
                    </a:moveTo>
                    <a:lnTo>
                      <a:pt x="33612" y="22368"/>
                    </a:lnTo>
                    <a:lnTo>
                      <a:pt x="0" y="2632"/>
                    </a:lnTo>
                    <a:lnTo>
                      <a:pt x="1495" y="0"/>
                    </a:lnTo>
                    <a:close/>
                  </a:path>
                </a:pathLst>
              </a:custGeom>
              <a:grpFill/>
              <a:ln w="5978" cap="flat">
                <a:noFill/>
                <a:prstDash val="solid"/>
                <a:miter/>
              </a:ln>
            </p:spPr>
            <p:txBody>
              <a:bodyPr rtlCol="0" anchor="ctr"/>
              <a:lstStyle/>
              <a:p>
                <a:endParaRPr lang="en-GB"/>
              </a:p>
            </p:txBody>
          </p:sp>
          <p:sp>
            <p:nvSpPr>
              <p:cNvPr id="4143" name="Vrije vorm: vorm 4142">
                <a:extLst>
                  <a:ext uri="{FF2B5EF4-FFF2-40B4-BE49-F238E27FC236}">
                    <a16:creationId xmlns:a16="http://schemas.microsoft.com/office/drawing/2014/main" id="{981DD3BA-BAA4-4472-891A-8AFE222A0E5C}"/>
                  </a:ext>
                </a:extLst>
              </p:cNvPr>
              <p:cNvSpPr/>
              <p:nvPr/>
            </p:nvSpPr>
            <p:spPr>
              <a:xfrm>
                <a:off x="7535826" y="4283309"/>
                <a:ext cx="18285" cy="18429"/>
              </a:xfrm>
              <a:custGeom>
                <a:avLst/>
                <a:gdLst>
                  <a:gd name="connsiteX0" fmla="*/ 13718 w 18285"/>
                  <a:gd name="connsiteY0" fmla="*/ 1260 h 18429"/>
                  <a:gd name="connsiteX1" fmla="*/ 17068 w 18285"/>
                  <a:gd name="connsiteY1" fmla="*/ 13880 h 18429"/>
                  <a:gd name="connsiteX2" fmla="*/ 4568 w 18285"/>
                  <a:gd name="connsiteY2" fmla="*/ 17169 h 18429"/>
                  <a:gd name="connsiteX3" fmla="*/ 1219 w 18285"/>
                  <a:gd name="connsiteY3" fmla="*/ 4550 h 18429"/>
                  <a:gd name="connsiteX4" fmla="*/ 13718 w 18285"/>
                  <a:gd name="connsiteY4" fmla="*/ 126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29">
                    <a:moveTo>
                      <a:pt x="13718" y="1260"/>
                    </a:moveTo>
                    <a:cubicBezTo>
                      <a:pt x="18084" y="3832"/>
                      <a:pt x="19579" y="9454"/>
                      <a:pt x="17068" y="13880"/>
                    </a:cubicBezTo>
                    <a:cubicBezTo>
                      <a:pt x="14496" y="18246"/>
                      <a:pt x="8934" y="19741"/>
                      <a:pt x="4568" y="17169"/>
                    </a:cubicBezTo>
                    <a:cubicBezTo>
                      <a:pt x="202" y="14597"/>
                      <a:pt x="-1293" y="8975"/>
                      <a:pt x="1219" y="4550"/>
                    </a:cubicBezTo>
                    <a:cubicBezTo>
                      <a:pt x="3730" y="184"/>
                      <a:pt x="9352" y="-1311"/>
                      <a:pt x="13718" y="1260"/>
                    </a:cubicBezTo>
                    <a:close/>
                  </a:path>
                </a:pathLst>
              </a:custGeom>
              <a:grpFill/>
              <a:ln w="5978" cap="flat">
                <a:noFill/>
                <a:prstDash val="solid"/>
                <a:miter/>
              </a:ln>
            </p:spPr>
            <p:txBody>
              <a:bodyPr rtlCol="0" anchor="ctr"/>
              <a:lstStyle/>
              <a:p>
                <a:endParaRPr lang="en-GB"/>
              </a:p>
            </p:txBody>
          </p:sp>
          <p:sp>
            <p:nvSpPr>
              <p:cNvPr id="4144" name="Vrije vorm: vorm 4143">
                <a:extLst>
                  <a:ext uri="{FF2B5EF4-FFF2-40B4-BE49-F238E27FC236}">
                    <a16:creationId xmlns:a16="http://schemas.microsoft.com/office/drawing/2014/main" id="{991D2DF4-A933-4FC3-A577-50A2DBD232C5}"/>
                  </a:ext>
                </a:extLst>
              </p:cNvPr>
              <p:cNvSpPr/>
              <p:nvPr/>
            </p:nvSpPr>
            <p:spPr>
              <a:xfrm>
                <a:off x="7502979" y="4264051"/>
                <a:ext cx="18299" cy="18429"/>
              </a:xfrm>
              <a:custGeom>
                <a:avLst/>
                <a:gdLst>
                  <a:gd name="connsiteX0" fmla="*/ 13731 w 18299"/>
                  <a:gd name="connsiteY0" fmla="*/ 1261 h 18429"/>
                  <a:gd name="connsiteX1" fmla="*/ 1232 w 18299"/>
                  <a:gd name="connsiteY1" fmla="*/ 4550 h 18429"/>
                  <a:gd name="connsiteX2" fmla="*/ 4581 w 18299"/>
                  <a:gd name="connsiteY2" fmla="*/ 17169 h 18429"/>
                  <a:gd name="connsiteX3" fmla="*/ 17081 w 18299"/>
                  <a:gd name="connsiteY3" fmla="*/ 13880 h 18429"/>
                  <a:gd name="connsiteX4" fmla="*/ 13731 w 18299"/>
                  <a:gd name="connsiteY4" fmla="*/ 126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29">
                    <a:moveTo>
                      <a:pt x="13731" y="1261"/>
                    </a:moveTo>
                    <a:cubicBezTo>
                      <a:pt x="9366" y="-1311"/>
                      <a:pt x="3743" y="184"/>
                      <a:pt x="1232" y="4550"/>
                    </a:cubicBezTo>
                    <a:cubicBezTo>
                      <a:pt x="-1280" y="8916"/>
                      <a:pt x="155" y="14597"/>
                      <a:pt x="4581" y="17169"/>
                    </a:cubicBezTo>
                    <a:cubicBezTo>
                      <a:pt x="8946" y="19741"/>
                      <a:pt x="14569" y="18246"/>
                      <a:pt x="17081" y="13880"/>
                    </a:cubicBezTo>
                    <a:cubicBezTo>
                      <a:pt x="19592" y="9514"/>
                      <a:pt x="18097" y="3832"/>
                      <a:pt x="13731" y="1261"/>
                    </a:cubicBezTo>
                    <a:close/>
                  </a:path>
                </a:pathLst>
              </a:custGeom>
              <a:grpFill/>
              <a:ln w="5978" cap="flat">
                <a:noFill/>
                <a:prstDash val="solid"/>
                <a:miter/>
              </a:ln>
            </p:spPr>
            <p:txBody>
              <a:bodyPr rtlCol="0" anchor="ctr"/>
              <a:lstStyle/>
              <a:p>
                <a:endParaRPr lang="en-GB"/>
              </a:p>
            </p:txBody>
          </p:sp>
        </p:grpSp>
        <p:grpSp>
          <p:nvGrpSpPr>
            <p:cNvPr id="415" name="Graphic 3">
              <a:extLst>
                <a:ext uri="{FF2B5EF4-FFF2-40B4-BE49-F238E27FC236}">
                  <a16:creationId xmlns:a16="http://schemas.microsoft.com/office/drawing/2014/main" id="{798EF53F-7A1D-4DDB-8BAE-7FF876D0CD85}"/>
                </a:ext>
              </a:extLst>
            </p:cNvPr>
            <p:cNvGrpSpPr/>
            <p:nvPr/>
          </p:nvGrpSpPr>
          <p:grpSpPr>
            <a:xfrm>
              <a:off x="7585167" y="4516851"/>
              <a:ext cx="21696" cy="20831"/>
              <a:chOff x="7585167" y="4516851"/>
              <a:chExt cx="21696" cy="20831"/>
            </a:xfrm>
            <a:grpFill/>
          </p:grpSpPr>
          <p:sp>
            <p:nvSpPr>
              <p:cNvPr id="4139" name="Vrije vorm: vorm 4138">
                <a:extLst>
                  <a:ext uri="{FF2B5EF4-FFF2-40B4-BE49-F238E27FC236}">
                    <a16:creationId xmlns:a16="http://schemas.microsoft.com/office/drawing/2014/main" id="{A3F5ED76-2141-4EEE-BF77-510C72393B3E}"/>
                  </a:ext>
                </a:extLst>
              </p:cNvPr>
              <p:cNvSpPr/>
              <p:nvPr/>
            </p:nvSpPr>
            <p:spPr>
              <a:xfrm>
                <a:off x="7593084" y="4524575"/>
                <a:ext cx="5860" cy="5442"/>
              </a:xfrm>
              <a:custGeom>
                <a:avLst/>
                <a:gdLst>
                  <a:gd name="connsiteX0" fmla="*/ 5861 w 5860"/>
                  <a:gd name="connsiteY0" fmla="*/ 2930 h 5442"/>
                  <a:gd name="connsiteX1" fmla="*/ 4066 w 5860"/>
                  <a:gd name="connsiteY1" fmla="*/ 5442 h 5442"/>
                  <a:gd name="connsiteX2" fmla="*/ 0 w 5860"/>
                  <a:gd name="connsiteY2" fmla="*/ 2452 h 5442"/>
                  <a:gd name="connsiteX3" fmla="*/ 1735 w 5860"/>
                  <a:gd name="connsiteY3" fmla="*/ 0 h 5442"/>
                </a:gdLst>
                <a:ahLst/>
                <a:cxnLst>
                  <a:cxn ang="0">
                    <a:pos x="connsiteX0" y="connsiteY0"/>
                  </a:cxn>
                  <a:cxn ang="0">
                    <a:pos x="connsiteX1" y="connsiteY1"/>
                  </a:cxn>
                  <a:cxn ang="0">
                    <a:pos x="connsiteX2" y="connsiteY2"/>
                  </a:cxn>
                  <a:cxn ang="0">
                    <a:pos x="connsiteX3" y="connsiteY3"/>
                  </a:cxn>
                </a:cxnLst>
                <a:rect l="l" t="t" r="r" b="b"/>
                <a:pathLst>
                  <a:path w="5860" h="5442">
                    <a:moveTo>
                      <a:pt x="5861" y="2930"/>
                    </a:moveTo>
                    <a:lnTo>
                      <a:pt x="4066" y="5442"/>
                    </a:lnTo>
                    <a:lnTo>
                      <a:pt x="0" y="2452"/>
                    </a:lnTo>
                    <a:lnTo>
                      <a:pt x="1735" y="0"/>
                    </a:lnTo>
                    <a:close/>
                  </a:path>
                </a:pathLst>
              </a:custGeom>
              <a:grpFill/>
              <a:ln w="5978" cap="flat">
                <a:noFill/>
                <a:prstDash val="solid"/>
                <a:miter/>
              </a:ln>
            </p:spPr>
            <p:txBody>
              <a:bodyPr rtlCol="0" anchor="ctr"/>
              <a:lstStyle/>
              <a:p>
                <a:endParaRPr lang="en-GB"/>
              </a:p>
            </p:txBody>
          </p:sp>
          <p:sp>
            <p:nvSpPr>
              <p:cNvPr id="4140" name="Vrije vorm: vorm 4139">
                <a:extLst>
                  <a:ext uri="{FF2B5EF4-FFF2-40B4-BE49-F238E27FC236}">
                    <a16:creationId xmlns:a16="http://schemas.microsoft.com/office/drawing/2014/main" id="{B40B66B2-07E8-424A-B6E9-3A1C50DDD4C1}"/>
                  </a:ext>
                </a:extLst>
              </p:cNvPr>
              <p:cNvSpPr/>
              <p:nvPr/>
            </p:nvSpPr>
            <p:spPr>
              <a:xfrm>
                <a:off x="7588516" y="4519269"/>
                <a:ext cx="18346" cy="18413"/>
              </a:xfrm>
              <a:custGeom>
                <a:avLst/>
                <a:gdLst>
                  <a:gd name="connsiteX0" fmla="*/ 14496 w 18346"/>
                  <a:gd name="connsiteY0" fmla="*/ 1718 h 18413"/>
                  <a:gd name="connsiteX1" fmla="*/ 16649 w 18346"/>
                  <a:gd name="connsiteY1" fmla="*/ 14576 h 18413"/>
                  <a:gd name="connsiteX2" fmla="*/ 3851 w 18346"/>
                  <a:gd name="connsiteY2" fmla="*/ 16670 h 18413"/>
                  <a:gd name="connsiteX3" fmla="*/ 1698 w 18346"/>
                  <a:gd name="connsiteY3" fmla="*/ 3811 h 18413"/>
                  <a:gd name="connsiteX4" fmla="*/ 14496 w 18346"/>
                  <a:gd name="connsiteY4" fmla="*/ 171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3">
                    <a:moveTo>
                      <a:pt x="14496" y="1718"/>
                    </a:moveTo>
                    <a:cubicBezTo>
                      <a:pt x="18623" y="4708"/>
                      <a:pt x="19580" y="10450"/>
                      <a:pt x="16649" y="14576"/>
                    </a:cubicBezTo>
                    <a:cubicBezTo>
                      <a:pt x="13719" y="18703"/>
                      <a:pt x="7977" y="19660"/>
                      <a:pt x="3851" y="16670"/>
                    </a:cubicBezTo>
                    <a:cubicBezTo>
                      <a:pt x="-277" y="13680"/>
                      <a:pt x="-1233" y="7938"/>
                      <a:pt x="1698" y="3811"/>
                    </a:cubicBezTo>
                    <a:cubicBezTo>
                      <a:pt x="4628" y="-315"/>
                      <a:pt x="10369" y="-1213"/>
                      <a:pt x="14496" y="1718"/>
                    </a:cubicBezTo>
                    <a:close/>
                  </a:path>
                </a:pathLst>
              </a:custGeom>
              <a:grpFill/>
              <a:ln w="5978" cap="flat">
                <a:noFill/>
                <a:prstDash val="solid"/>
                <a:miter/>
              </a:ln>
            </p:spPr>
            <p:txBody>
              <a:bodyPr rtlCol="0" anchor="ctr"/>
              <a:lstStyle/>
              <a:p>
                <a:endParaRPr lang="en-GB"/>
              </a:p>
            </p:txBody>
          </p:sp>
          <p:sp>
            <p:nvSpPr>
              <p:cNvPr id="4141" name="Vrije vorm: vorm 4140">
                <a:extLst>
                  <a:ext uri="{FF2B5EF4-FFF2-40B4-BE49-F238E27FC236}">
                    <a16:creationId xmlns:a16="http://schemas.microsoft.com/office/drawing/2014/main" id="{4D14E11C-37D5-4F54-9EEA-834363C380DF}"/>
                  </a:ext>
                </a:extLst>
              </p:cNvPr>
              <p:cNvSpPr/>
              <p:nvPr/>
            </p:nvSpPr>
            <p:spPr>
              <a:xfrm>
                <a:off x="7585167" y="4516851"/>
                <a:ext cx="18346" cy="18439"/>
              </a:xfrm>
              <a:custGeom>
                <a:avLst/>
                <a:gdLst>
                  <a:gd name="connsiteX0" fmla="*/ 14496 w 18346"/>
                  <a:gd name="connsiteY0" fmla="*/ 1744 h 18439"/>
                  <a:gd name="connsiteX1" fmla="*/ 1697 w 18346"/>
                  <a:gd name="connsiteY1" fmla="*/ 3837 h 18439"/>
                  <a:gd name="connsiteX2" fmla="*/ 3850 w 18346"/>
                  <a:gd name="connsiteY2" fmla="*/ 16696 h 18439"/>
                  <a:gd name="connsiteX3" fmla="*/ 16649 w 18346"/>
                  <a:gd name="connsiteY3" fmla="*/ 14603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0370" y="-1246"/>
                      <a:pt x="4628" y="-290"/>
                      <a:pt x="1697" y="3837"/>
                    </a:cubicBezTo>
                    <a:cubicBezTo>
                      <a:pt x="-1233" y="7964"/>
                      <a:pt x="-276" y="13705"/>
                      <a:pt x="3850" y="16696"/>
                    </a:cubicBezTo>
                    <a:cubicBezTo>
                      <a:pt x="7977" y="19686"/>
                      <a:pt x="13719" y="18729"/>
                      <a:pt x="16649" y="14603"/>
                    </a:cubicBezTo>
                    <a:cubicBezTo>
                      <a:pt x="19580" y="10476"/>
                      <a:pt x="18623" y="4734"/>
                      <a:pt x="14496" y="1744"/>
                    </a:cubicBezTo>
                    <a:close/>
                  </a:path>
                </a:pathLst>
              </a:custGeom>
              <a:grpFill/>
              <a:ln w="5978" cap="flat">
                <a:noFill/>
                <a:prstDash val="solid"/>
                <a:miter/>
              </a:ln>
            </p:spPr>
            <p:txBody>
              <a:bodyPr rtlCol="0" anchor="ctr"/>
              <a:lstStyle/>
              <a:p>
                <a:endParaRPr lang="en-GB"/>
              </a:p>
            </p:txBody>
          </p:sp>
        </p:grpSp>
        <p:grpSp>
          <p:nvGrpSpPr>
            <p:cNvPr id="416" name="Graphic 3">
              <a:extLst>
                <a:ext uri="{FF2B5EF4-FFF2-40B4-BE49-F238E27FC236}">
                  <a16:creationId xmlns:a16="http://schemas.microsoft.com/office/drawing/2014/main" id="{5A6D67E2-C034-467C-BC31-678C8DB3631E}"/>
                </a:ext>
              </a:extLst>
            </p:cNvPr>
            <p:cNvGrpSpPr/>
            <p:nvPr/>
          </p:nvGrpSpPr>
          <p:grpSpPr>
            <a:xfrm>
              <a:off x="7474589" y="4608119"/>
              <a:ext cx="424964" cy="360052"/>
              <a:chOff x="7474589" y="4608119"/>
              <a:chExt cx="424964" cy="360052"/>
            </a:xfrm>
            <a:grpFill/>
          </p:grpSpPr>
          <p:sp>
            <p:nvSpPr>
              <p:cNvPr id="4136" name="Vrije vorm: vorm 4135">
                <a:extLst>
                  <a:ext uri="{FF2B5EF4-FFF2-40B4-BE49-F238E27FC236}">
                    <a16:creationId xmlns:a16="http://schemas.microsoft.com/office/drawing/2014/main" id="{75C48226-8213-4804-8EA6-F5E384DCF5CC}"/>
                  </a:ext>
                </a:extLst>
              </p:cNvPr>
              <p:cNvSpPr/>
              <p:nvPr/>
            </p:nvSpPr>
            <p:spPr>
              <a:xfrm>
                <a:off x="7482441" y="4615841"/>
                <a:ext cx="409260" cy="344549"/>
              </a:xfrm>
              <a:custGeom>
                <a:avLst/>
                <a:gdLst>
                  <a:gd name="connsiteX0" fmla="*/ 409260 w 409260"/>
                  <a:gd name="connsiteY0" fmla="*/ 342217 h 344549"/>
                  <a:gd name="connsiteX1" fmla="*/ 407287 w 409260"/>
                  <a:gd name="connsiteY1" fmla="*/ 344549 h 344549"/>
                  <a:gd name="connsiteX2" fmla="*/ 0 w 409260"/>
                  <a:gd name="connsiteY2" fmla="*/ 2333 h 344549"/>
                  <a:gd name="connsiteX3" fmla="*/ 1914 w 409260"/>
                  <a:gd name="connsiteY3" fmla="*/ 0 h 344549"/>
                </a:gdLst>
                <a:ahLst/>
                <a:cxnLst>
                  <a:cxn ang="0">
                    <a:pos x="connsiteX0" y="connsiteY0"/>
                  </a:cxn>
                  <a:cxn ang="0">
                    <a:pos x="connsiteX1" y="connsiteY1"/>
                  </a:cxn>
                  <a:cxn ang="0">
                    <a:pos x="connsiteX2" y="connsiteY2"/>
                  </a:cxn>
                  <a:cxn ang="0">
                    <a:pos x="connsiteX3" y="connsiteY3"/>
                  </a:cxn>
                </a:cxnLst>
                <a:rect l="l" t="t" r="r" b="b"/>
                <a:pathLst>
                  <a:path w="409260" h="344549">
                    <a:moveTo>
                      <a:pt x="409260" y="342217"/>
                    </a:moveTo>
                    <a:lnTo>
                      <a:pt x="407287" y="344549"/>
                    </a:lnTo>
                    <a:lnTo>
                      <a:pt x="0" y="2333"/>
                    </a:lnTo>
                    <a:lnTo>
                      <a:pt x="1914" y="0"/>
                    </a:lnTo>
                    <a:close/>
                  </a:path>
                </a:pathLst>
              </a:custGeom>
              <a:grpFill/>
              <a:ln w="5978" cap="flat">
                <a:noFill/>
                <a:prstDash val="solid"/>
                <a:miter/>
              </a:ln>
            </p:spPr>
            <p:txBody>
              <a:bodyPr rtlCol="0" anchor="ctr"/>
              <a:lstStyle/>
              <a:p>
                <a:endParaRPr lang="en-GB"/>
              </a:p>
            </p:txBody>
          </p:sp>
          <p:sp>
            <p:nvSpPr>
              <p:cNvPr id="4137" name="Vrije vorm: vorm 4136">
                <a:extLst>
                  <a:ext uri="{FF2B5EF4-FFF2-40B4-BE49-F238E27FC236}">
                    <a16:creationId xmlns:a16="http://schemas.microsoft.com/office/drawing/2014/main" id="{43D9DB38-DE22-411B-94BC-CAA9FBC52930}"/>
                  </a:ext>
                </a:extLst>
              </p:cNvPr>
              <p:cNvSpPr/>
              <p:nvPr/>
            </p:nvSpPr>
            <p:spPr>
              <a:xfrm>
                <a:off x="7881218" y="4949738"/>
                <a:ext cx="18335" cy="18433"/>
              </a:xfrm>
              <a:custGeom>
                <a:avLst/>
                <a:gdLst>
                  <a:gd name="connsiteX0" fmla="*/ 15028 w 18335"/>
                  <a:gd name="connsiteY0" fmla="*/ 2160 h 18433"/>
                  <a:gd name="connsiteX1" fmla="*/ 16225 w 18335"/>
                  <a:gd name="connsiteY1" fmla="*/ 15138 h 18433"/>
                  <a:gd name="connsiteX2" fmla="*/ 3306 w 18335"/>
                  <a:gd name="connsiteY2" fmla="*/ 16274 h 18433"/>
                  <a:gd name="connsiteX3" fmla="*/ 2111 w 18335"/>
                  <a:gd name="connsiteY3" fmla="*/ 3296 h 18433"/>
                  <a:gd name="connsiteX4" fmla="*/ 15028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8" y="2160"/>
                    </a:moveTo>
                    <a:cubicBezTo>
                      <a:pt x="18916" y="5449"/>
                      <a:pt x="19454" y="11250"/>
                      <a:pt x="16225" y="15138"/>
                    </a:cubicBezTo>
                    <a:cubicBezTo>
                      <a:pt x="12995" y="19025"/>
                      <a:pt x="7194" y="19563"/>
                      <a:pt x="3306" y="16274"/>
                    </a:cubicBezTo>
                    <a:cubicBezTo>
                      <a:pt x="-581" y="12985"/>
                      <a:pt x="-1119" y="7183"/>
                      <a:pt x="2111" y="3296"/>
                    </a:cubicBezTo>
                    <a:cubicBezTo>
                      <a:pt x="5340" y="-592"/>
                      <a:pt x="11142" y="-1130"/>
                      <a:pt x="15028" y="2160"/>
                    </a:cubicBezTo>
                    <a:close/>
                  </a:path>
                </a:pathLst>
              </a:custGeom>
              <a:grpFill/>
              <a:ln w="5978" cap="flat">
                <a:noFill/>
                <a:prstDash val="solid"/>
                <a:miter/>
              </a:ln>
            </p:spPr>
            <p:txBody>
              <a:bodyPr rtlCol="0" anchor="ctr"/>
              <a:lstStyle/>
              <a:p>
                <a:endParaRPr lang="en-GB"/>
              </a:p>
            </p:txBody>
          </p:sp>
          <p:sp>
            <p:nvSpPr>
              <p:cNvPr id="4138" name="Vrije vorm: vorm 4137">
                <a:extLst>
                  <a:ext uri="{FF2B5EF4-FFF2-40B4-BE49-F238E27FC236}">
                    <a16:creationId xmlns:a16="http://schemas.microsoft.com/office/drawing/2014/main" id="{9D5C5283-E43F-4AF1-8C1D-93051B7D345F}"/>
                  </a:ext>
                </a:extLst>
              </p:cNvPr>
              <p:cNvSpPr/>
              <p:nvPr/>
            </p:nvSpPr>
            <p:spPr>
              <a:xfrm>
                <a:off x="7474589" y="4608119"/>
                <a:ext cx="18335" cy="18433"/>
              </a:xfrm>
              <a:custGeom>
                <a:avLst/>
                <a:gdLst>
                  <a:gd name="connsiteX0" fmla="*/ 15028 w 18335"/>
                  <a:gd name="connsiteY0" fmla="*/ 2160 h 18433"/>
                  <a:gd name="connsiteX1" fmla="*/ 2111 w 18335"/>
                  <a:gd name="connsiteY1" fmla="*/ 3296 h 18433"/>
                  <a:gd name="connsiteX2" fmla="*/ 3306 w 18335"/>
                  <a:gd name="connsiteY2" fmla="*/ 16274 h 18433"/>
                  <a:gd name="connsiteX3" fmla="*/ 16225 w 18335"/>
                  <a:gd name="connsiteY3" fmla="*/ 15138 h 18433"/>
                  <a:gd name="connsiteX4" fmla="*/ 15028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8" y="2160"/>
                    </a:moveTo>
                    <a:cubicBezTo>
                      <a:pt x="11141" y="-1130"/>
                      <a:pt x="5340" y="-591"/>
                      <a:pt x="2111" y="3296"/>
                    </a:cubicBezTo>
                    <a:cubicBezTo>
                      <a:pt x="-1119" y="7183"/>
                      <a:pt x="-581" y="12985"/>
                      <a:pt x="3306" y="16274"/>
                    </a:cubicBezTo>
                    <a:cubicBezTo>
                      <a:pt x="7194" y="19564"/>
                      <a:pt x="12995" y="19026"/>
                      <a:pt x="16225" y="15138"/>
                    </a:cubicBezTo>
                    <a:cubicBezTo>
                      <a:pt x="19454" y="11250"/>
                      <a:pt x="18916" y="5389"/>
                      <a:pt x="15028" y="2160"/>
                    </a:cubicBezTo>
                    <a:close/>
                  </a:path>
                </a:pathLst>
              </a:custGeom>
              <a:grpFill/>
              <a:ln w="5978" cap="flat">
                <a:noFill/>
                <a:prstDash val="solid"/>
                <a:miter/>
              </a:ln>
            </p:spPr>
            <p:txBody>
              <a:bodyPr rtlCol="0" anchor="ctr"/>
              <a:lstStyle/>
              <a:p>
                <a:endParaRPr lang="en-GB"/>
              </a:p>
            </p:txBody>
          </p:sp>
        </p:grpSp>
        <p:grpSp>
          <p:nvGrpSpPr>
            <p:cNvPr id="417" name="Graphic 3">
              <a:extLst>
                <a:ext uri="{FF2B5EF4-FFF2-40B4-BE49-F238E27FC236}">
                  <a16:creationId xmlns:a16="http://schemas.microsoft.com/office/drawing/2014/main" id="{FA79FD71-EF7E-4CAF-A4D7-94E076545AF1}"/>
                </a:ext>
              </a:extLst>
            </p:cNvPr>
            <p:cNvGrpSpPr/>
            <p:nvPr/>
          </p:nvGrpSpPr>
          <p:grpSpPr>
            <a:xfrm>
              <a:off x="6600883" y="1614035"/>
              <a:ext cx="29746" cy="54708"/>
              <a:chOff x="6600883" y="1614035"/>
              <a:chExt cx="29746" cy="54708"/>
            </a:xfrm>
            <a:grpFill/>
          </p:grpSpPr>
          <p:sp>
            <p:nvSpPr>
              <p:cNvPr id="4133" name="Vrije vorm: vorm 4132">
                <a:extLst>
                  <a:ext uri="{FF2B5EF4-FFF2-40B4-BE49-F238E27FC236}">
                    <a16:creationId xmlns:a16="http://schemas.microsoft.com/office/drawing/2014/main" id="{27794DCA-44D9-4CDD-9501-44CD6997D757}"/>
                  </a:ext>
                </a:extLst>
              </p:cNvPr>
              <p:cNvSpPr/>
              <p:nvPr/>
            </p:nvSpPr>
            <p:spPr>
              <a:xfrm>
                <a:off x="6608418" y="1622371"/>
                <a:ext cx="14592" cy="38037"/>
              </a:xfrm>
              <a:custGeom>
                <a:avLst/>
                <a:gdLst>
                  <a:gd name="connsiteX0" fmla="*/ 14593 w 14592"/>
                  <a:gd name="connsiteY0" fmla="*/ 957 h 38037"/>
                  <a:gd name="connsiteX1" fmla="*/ 2930 w 14592"/>
                  <a:gd name="connsiteY1" fmla="*/ 38037 h 38037"/>
                  <a:gd name="connsiteX2" fmla="*/ 0 w 14592"/>
                  <a:gd name="connsiteY2" fmla="*/ 37081 h 38037"/>
                  <a:gd name="connsiteX3" fmla="*/ 11722 w 14592"/>
                  <a:gd name="connsiteY3" fmla="*/ 0 h 38037"/>
                </a:gdLst>
                <a:ahLst/>
                <a:cxnLst>
                  <a:cxn ang="0">
                    <a:pos x="connsiteX0" y="connsiteY0"/>
                  </a:cxn>
                  <a:cxn ang="0">
                    <a:pos x="connsiteX1" y="connsiteY1"/>
                  </a:cxn>
                  <a:cxn ang="0">
                    <a:pos x="connsiteX2" y="connsiteY2"/>
                  </a:cxn>
                  <a:cxn ang="0">
                    <a:pos x="connsiteX3" y="connsiteY3"/>
                  </a:cxn>
                </a:cxnLst>
                <a:rect l="l" t="t" r="r" b="b"/>
                <a:pathLst>
                  <a:path w="14592" h="38037">
                    <a:moveTo>
                      <a:pt x="14593" y="957"/>
                    </a:moveTo>
                    <a:lnTo>
                      <a:pt x="2930" y="38037"/>
                    </a:lnTo>
                    <a:lnTo>
                      <a:pt x="0" y="37081"/>
                    </a:lnTo>
                    <a:lnTo>
                      <a:pt x="11722" y="0"/>
                    </a:lnTo>
                    <a:close/>
                  </a:path>
                </a:pathLst>
              </a:custGeom>
              <a:grpFill/>
              <a:ln w="5978" cap="flat">
                <a:noFill/>
                <a:prstDash val="solid"/>
                <a:miter/>
              </a:ln>
            </p:spPr>
            <p:txBody>
              <a:bodyPr rtlCol="0" anchor="ctr"/>
              <a:lstStyle/>
              <a:p>
                <a:endParaRPr lang="en-GB"/>
              </a:p>
            </p:txBody>
          </p:sp>
          <p:sp>
            <p:nvSpPr>
              <p:cNvPr id="4134" name="Vrije vorm: vorm 4133">
                <a:extLst>
                  <a:ext uri="{FF2B5EF4-FFF2-40B4-BE49-F238E27FC236}">
                    <a16:creationId xmlns:a16="http://schemas.microsoft.com/office/drawing/2014/main" id="{BAEECA0A-7932-4244-A3F2-39FF4715742E}"/>
                  </a:ext>
                </a:extLst>
              </p:cNvPr>
              <p:cNvSpPr/>
              <p:nvPr/>
            </p:nvSpPr>
            <p:spPr>
              <a:xfrm>
                <a:off x="6600883" y="1650278"/>
                <a:ext cx="18300" cy="18465"/>
              </a:xfrm>
              <a:custGeom>
                <a:avLst/>
                <a:gdLst>
                  <a:gd name="connsiteX0" fmla="*/ 17882 w 18300"/>
                  <a:gd name="connsiteY0" fmla="*/ 12043 h 18465"/>
                  <a:gd name="connsiteX1" fmla="*/ 6399 w 18300"/>
                  <a:gd name="connsiteY1" fmla="*/ 18024 h 18465"/>
                  <a:gd name="connsiteX2" fmla="*/ 418 w 18300"/>
                  <a:gd name="connsiteY2" fmla="*/ 6422 h 18465"/>
                  <a:gd name="connsiteX3" fmla="*/ 11901 w 18300"/>
                  <a:gd name="connsiteY3" fmla="*/ 441 h 18465"/>
                  <a:gd name="connsiteX4" fmla="*/ 17882 w 18300"/>
                  <a:gd name="connsiteY4" fmla="*/ 12043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65">
                    <a:moveTo>
                      <a:pt x="17882" y="12043"/>
                    </a:moveTo>
                    <a:cubicBezTo>
                      <a:pt x="16327" y="16888"/>
                      <a:pt x="11184" y="19579"/>
                      <a:pt x="6399" y="18024"/>
                    </a:cubicBezTo>
                    <a:cubicBezTo>
                      <a:pt x="1555" y="16469"/>
                      <a:pt x="-1077" y="11266"/>
                      <a:pt x="418" y="6422"/>
                    </a:cubicBezTo>
                    <a:cubicBezTo>
                      <a:pt x="1974" y="1577"/>
                      <a:pt x="7117" y="-1114"/>
                      <a:pt x="11901" y="441"/>
                    </a:cubicBezTo>
                    <a:cubicBezTo>
                      <a:pt x="16746" y="1996"/>
                      <a:pt x="19377" y="7199"/>
                      <a:pt x="17882" y="12043"/>
                    </a:cubicBezTo>
                    <a:close/>
                  </a:path>
                </a:pathLst>
              </a:custGeom>
              <a:grpFill/>
              <a:ln w="5978" cap="flat">
                <a:noFill/>
                <a:prstDash val="solid"/>
                <a:miter/>
              </a:ln>
            </p:spPr>
            <p:txBody>
              <a:bodyPr rtlCol="0" anchor="ctr"/>
              <a:lstStyle/>
              <a:p>
                <a:endParaRPr lang="en-GB"/>
              </a:p>
            </p:txBody>
          </p:sp>
          <p:sp>
            <p:nvSpPr>
              <p:cNvPr id="4135" name="Vrije vorm: vorm 4134">
                <a:extLst>
                  <a:ext uri="{FF2B5EF4-FFF2-40B4-BE49-F238E27FC236}">
                    <a16:creationId xmlns:a16="http://schemas.microsoft.com/office/drawing/2014/main" id="{0CF48063-72A0-41D8-AEBF-8493A2D68EE9}"/>
                  </a:ext>
                </a:extLst>
              </p:cNvPr>
              <p:cNvSpPr/>
              <p:nvPr/>
            </p:nvSpPr>
            <p:spPr>
              <a:xfrm>
                <a:off x="6612283" y="1614035"/>
                <a:ext cx="18345" cy="18465"/>
              </a:xfrm>
              <a:custGeom>
                <a:avLst/>
                <a:gdLst>
                  <a:gd name="connsiteX0" fmla="*/ 17905 w 18345"/>
                  <a:gd name="connsiteY0" fmla="*/ 12044 h 18465"/>
                  <a:gd name="connsiteX1" fmla="*/ 11924 w 18345"/>
                  <a:gd name="connsiteY1" fmla="*/ 441 h 18465"/>
                  <a:gd name="connsiteX2" fmla="*/ 441 w 18345"/>
                  <a:gd name="connsiteY2" fmla="*/ 6422 h 18465"/>
                  <a:gd name="connsiteX3" fmla="*/ 6421 w 18345"/>
                  <a:gd name="connsiteY3" fmla="*/ 18024 h 18465"/>
                  <a:gd name="connsiteX4" fmla="*/ 17905 w 18345"/>
                  <a:gd name="connsiteY4" fmla="*/ 1204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5">
                    <a:moveTo>
                      <a:pt x="17905" y="12044"/>
                    </a:moveTo>
                    <a:cubicBezTo>
                      <a:pt x="19460" y="7199"/>
                      <a:pt x="16768" y="1996"/>
                      <a:pt x="11924" y="441"/>
                    </a:cubicBezTo>
                    <a:cubicBezTo>
                      <a:pt x="7080" y="-1114"/>
                      <a:pt x="1936" y="1577"/>
                      <a:pt x="441" y="6422"/>
                    </a:cubicBezTo>
                    <a:cubicBezTo>
                      <a:pt x="-1114" y="11266"/>
                      <a:pt x="1577" y="16469"/>
                      <a:pt x="6421" y="18024"/>
                    </a:cubicBezTo>
                    <a:cubicBezTo>
                      <a:pt x="11206" y="19579"/>
                      <a:pt x="16350" y="16888"/>
                      <a:pt x="17905" y="12044"/>
                    </a:cubicBezTo>
                    <a:close/>
                  </a:path>
                </a:pathLst>
              </a:custGeom>
              <a:grpFill/>
              <a:ln w="5978" cap="flat">
                <a:noFill/>
                <a:prstDash val="solid"/>
                <a:miter/>
              </a:ln>
            </p:spPr>
            <p:txBody>
              <a:bodyPr rtlCol="0" anchor="ctr"/>
              <a:lstStyle/>
              <a:p>
                <a:endParaRPr lang="en-GB"/>
              </a:p>
            </p:txBody>
          </p:sp>
        </p:grpSp>
        <p:grpSp>
          <p:nvGrpSpPr>
            <p:cNvPr id="418" name="Graphic 3">
              <a:extLst>
                <a:ext uri="{FF2B5EF4-FFF2-40B4-BE49-F238E27FC236}">
                  <a16:creationId xmlns:a16="http://schemas.microsoft.com/office/drawing/2014/main" id="{977F7415-5273-4317-89BC-17966A7F7CDE}"/>
                </a:ext>
              </a:extLst>
            </p:cNvPr>
            <p:cNvGrpSpPr/>
            <p:nvPr/>
          </p:nvGrpSpPr>
          <p:grpSpPr>
            <a:xfrm>
              <a:off x="7536691" y="4524653"/>
              <a:ext cx="109976" cy="87104"/>
              <a:chOff x="7536691" y="4524653"/>
              <a:chExt cx="109976" cy="87104"/>
            </a:xfrm>
            <a:grpFill/>
          </p:grpSpPr>
          <p:sp>
            <p:nvSpPr>
              <p:cNvPr id="4130" name="Vrije vorm: vorm 4129">
                <a:extLst>
                  <a:ext uri="{FF2B5EF4-FFF2-40B4-BE49-F238E27FC236}">
                    <a16:creationId xmlns:a16="http://schemas.microsoft.com/office/drawing/2014/main" id="{3BDF88F2-4D85-4DDD-B7AC-5CA8E96265F8}"/>
                  </a:ext>
                </a:extLst>
              </p:cNvPr>
              <p:cNvSpPr/>
              <p:nvPr/>
            </p:nvSpPr>
            <p:spPr>
              <a:xfrm>
                <a:off x="7544581" y="4532350"/>
                <a:ext cx="94196" cy="71648"/>
              </a:xfrm>
              <a:custGeom>
                <a:avLst/>
                <a:gdLst>
                  <a:gd name="connsiteX0" fmla="*/ 94196 w 94196"/>
                  <a:gd name="connsiteY0" fmla="*/ 69197 h 71648"/>
                  <a:gd name="connsiteX1" fmla="*/ 92402 w 94196"/>
                  <a:gd name="connsiteY1" fmla="*/ 71649 h 71648"/>
                  <a:gd name="connsiteX2" fmla="*/ 0 w 94196"/>
                  <a:gd name="connsiteY2" fmla="*/ 2452 h 71648"/>
                  <a:gd name="connsiteX3" fmla="*/ 1794 w 94196"/>
                  <a:gd name="connsiteY3" fmla="*/ 0 h 71648"/>
                </a:gdLst>
                <a:ahLst/>
                <a:cxnLst>
                  <a:cxn ang="0">
                    <a:pos x="connsiteX0" y="connsiteY0"/>
                  </a:cxn>
                  <a:cxn ang="0">
                    <a:pos x="connsiteX1" y="connsiteY1"/>
                  </a:cxn>
                  <a:cxn ang="0">
                    <a:pos x="connsiteX2" y="connsiteY2"/>
                  </a:cxn>
                  <a:cxn ang="0">
                    <a:pos x="connsiteX3" y="connsiteY3"/>
                  </a:cxn>
                </a:cxnLst>
                <a:rect l="l" t="t" r="r" b="b"/>
                <a:pathLst>
                  <a:path w="94196" h="71648">
                    <a:moveTo>
                      <a:pt x="94196" y="69197"/>
                    </a:moveTo>
                    <a:lnTo>
                      <a:pt x="92402" y="71649"/>
                    </a:lnTo>
                    <a:lnTo>
                      <a:pt x="0" y="2452"/>
                    </a:lnTo>
                    <a:lnTo>
                      <a:pt x="1794" y="0"/>
                    </a:lnTo>
                    <a:close/>
                  </a:path>
                </a:pathLst>
              </a:custGeom>
              <a:grpFill/>
              <a:ln w="5978" cap="flat">
                <a:noFill/>
                <a:prstDash val="solid"/>
                <a:miter/>
              </a:ln>
            </p:spPr>
            <p:txBody>
              <a:bodyPr rtlCol="0" anchor="ctr"/>
              <a:lstStyle/>
              <a:p>
                <a:endParaRPr lang="en-GB"/>
              </a:p>
            </p:txBody>
          </p:sp>
          <p:sp>
            <p:nvSpPr>
              <p:cNvPr id="4131" name="Vrije vorm: vorm 4130">
                <a:extLst>
                  <a:ext uri="{FF2B5EF4-FFF2-40B4-BE49-F238E27FC236}">
                    <a16:creationId xmlns:a16="http://schemas.microsoft.com/office/drawing/2014/main" id="{AB1E43BE-45AD-42F3-93A6-EA2D52AFAEA8}"/>
                  </a:ext>
                </a:extLst>
              </p:cNvPr>
              <p:cNvSpPr/>
              <p:nvPr/>
            </p:nvSpPr>
            <p:spPr>
              <a:xfrm>
                <a:off x="7628375" y="4593311"/>
                <a:ext cx="18292" cy="18445"/>
              </a:xfrm>
              <a:custGeom>
                <a:avLst/>
                <a:gdLst>
                  <a:gd name="connsiteX0" fmla="*/ 14588 w 18292"/>
                  <a:gd name="connsiteY0" fmla="*/ 1837 h 18445"/>
                  <a:gd name="connsiteX1" fmla="*/ 16503 w 18292"/>
                  <a:gd name="connsiteY1" fmla="*/ 14755 h 18445"/>
                  <a:gd name="connsiteX2" fmla="*/ 3704 w 18292"/>
                  <a:gd name="connsiteY2" fmla="*/ 16609 h 18445"/>
                  <a:gd name="connsiteX3" fmla="*/ 1789 w 18292"/>
                  <a:gd name="connsiteY3" fmla="*/ 3691 h 18445"/>
                  <a:gd name="connsiteX4" fmla="*/ 14588 w 18292"/>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445">
                    <a:moveTo>
                      <a:pt x="14588" y="1837"/>
                    </a:moveTo>
                    <a:cubicBezTo>
                      <a:pt x="18656" y="4887"/>
                      <a:pt x="19493" y="10629"/>
                      <a:pt x="16503" y="14755"/>
                    </a:cubicBezTo>
                    <a:cubicBezTo>
                      <a:pt x="13512" y="18822"/>
                      <a:pt x="7770" y="19659"/>
                      <a:pt x="3704" y="16609"/>
                    </a:cubicBezTo>
                    <a:cubicBezTo>
                      <a:pt x="-363" y="13559"/>
                      <a:pt x="-1201" y="7817"/>
                      <a:pt x="1789" y="3691"/>
                    </a:cubicBezTo>
                    <a:cubicBezTo>
                      <a:pt x="4780" y="-376"/>
                      <a:pt x="10522" y="-1213"/>
                      <a:pt x="14588" y="1837"/>
                    </a:cubicBezTo>
                    <a:close/>
                  </a:path>
                </a:pathLst>
              </a:custGeom>
              <a:grpFill/>
              <a:ln w="5978" cap="flat">
                <a:noFill/>
                <a:prstDash val="solid"/>
                <a:miter/>
              </a:ln>
            </p:spPr>
            <p:txBody>
              <a:bodyPr rtlCol="0" anchor="ctr"/>
              <a:lstStyle/>
              <a:p>
                <a:endParaRPr lang="en-GB"/>
              </a:p>
            </p:txBody>
          </p:sp>
          <p:sp>
            <p:nvSpPr>
              <p:cNvPr id="4132" name="Vrije vorm: vorm 4131">
                <a:extLst>
                  <a:ext uri="{FF2B5EF4-FFF2-40B4-BE49-F238E27FC236}">
                    <a16:creationId xmlns:a16="http://schemas.microsoft.com/office/drawing/2014/main" id="{92B69F5D-3DF5-452E-B2FE-48E5F314E7CB}"/>
                  </a:ext>
                </a:extLst>
              </p:cNvPr>
              <p:cNvSpPr/>
              <p:nvPr/>
            </p:nvSpPr>
            <p:spPr>
              <a:xfrm>
                <a:off x="7536691" y="4524653"/>
                <a:ext cx="18317" cy="18445"/>
              </a:xfrm>
              <a:custGeom>
                <a:avLst/>
                <a:gdLst>
                  <a:gd name="connsiteX0" fmla="*/ 14588 w 18317"/>
                  <a:gd name="connsiteY0" fmla="*/ 1837 h 18445"/>
                  <a:gd name="connsiteX1" fmla="*/ 1790 w 18317"/>
                  <a:gd name="connsiteY1" fmla="*/ 3691 h 18445"/>
                  <a:gd name="connsiteX2" fmla="*/ 3703 w 18317"/>
                  <a:gd name="connsiteY2" fmla="*/ 16609 h 18445"/>
                  <a:gd name="connsiteX3" fmla="*/ 16502 w 18317"/>
                  <a:gd name="connsiteY3" fmla="*/ 14755 h 18445"/>
                  <a:gd name="connsiteX4" fmla="*/ 14588 w 18317"/>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5">
                    <a:moveTo>
                      <a:pt x="14588" y="1837"/>
                    </a:moveTo>
                    <a:cubicBezTo>
                      <a:pt x="10521" y="-1213"/>
                      <a:pt x="4780" y="-376"/>
                      <a:pt x="1790" y="3691"/>
                    </a:cubicBezTo>
                    <a:cubicBezTo>
                      <a:pt x="-1201" y="7758"/>
                      <a:pt x="-363" y="13559"/>
                      <a:pt x="3703" y="16609"/>
                    </a:cubicBezTo>
                    <a:cubicBezTo>
                      <a:pt x="7770" y="19659"/>
                      <a:pt x="13512" y="18822"/>
                      <a:pt x="16502" y="14755"/>
                    </a:cubicBezTo>
                    <a:cubicBezTo>
                      <a:pt x="19552" y="10628"/>
                      <a:pt x="18655" y="4887"/>
                      <a:pt x="14588" y="1837"/>
                    </a:cubicBezTo>
                    <a:close/>
                  </a:path>
                </a:pathLst>
              </a:custGeom>
              <a:grpFill/>
              <a:ln w="5978" cap="flat">
                <a:noFill/>
                <a:prstDash val="solid"/>
                <a:miter/>
              </a:ln>
            </p:spPr>
            <p:txBody>
              <a:bodyPr rtlCol="0" anchor="ctr"/>
              <a:lstStyle/>
              <a:p>
                <a:endParaRPr lang="en-GB"/>
              </a:p>
            </p:txBody>
          </p:sp>
        </p:grpSp>
        <p:grpSp>
          <p:nvGrpSpPr>
            <p:cNvPr id="419" name="Graphic 3">
              <a:extLst>
                <a:ext uri="{FF2B5EF4-FFF2-40B4-BE49-F238E27FC236}">
                  <a16:creationId xmlns:a16="http://schemas.microsoft.com/office/drawing/2014/main" id="{DC8D5FE2-F6C0-4FFB-8B37-C2AED042B7C5}"/>
                </a:ext>
              </a:extLst>
            </p:cNvPr>
            <p:cNvGrpSpPr/>
            <p:nvPr/>
          </p:nvGrpSpPr>
          <p:grpSpPr>
            <a:xfrm>
              <a:off x="6596812" y="1628108"/>
              <a:ext cx="65975" cy="160140"/>
              <a:chOff x="6596812" y="1628108"/>
              <a:chExt cx="65975" cy="160140"/>
            </a:xfrm>
            <a:grpFill/>
          </p:grpSpPr>
          <p:sp>
            <p:nvSpPr>
              <p:cNvPr id="4127" name="Vrije vorm: vorm 4126">
                <a:extLst>
                  <a:ext uri="{FF2B5EF4-FFF2-40B4-BE49-F238E27FC236}">
                    <a16:creationId xmlns:a16="http://schemas.microsoft.com/office/drawing/2014/main" id="{EF462F43-349F-4E34-A077-92A46BE785DC}"/>
                  </a:ext>
                </a:extLst>
              </p:cNvPr>
              <p:cNvSpPr/>
              <p:nvPr/>
            </p:nvSpPr>
            <p:spPr>
              <a:xfrm>
                <a:off x="6604411" y="1636366"/>
                <a:ext cx="50836" cy="143537"/>
              </a:xfrm>
              <a:custGeom>
                <a:avLst/>
                <a:gdLst>
                  <a:gd name="connsiteX0" fmla="*/ 50836 w 50836"/>
                  <a:gd name="connsiteY0" fmla="*/ 957 h 143537"/>
                  <a:gd name="connsiteX1" fmla="*/ 2871 w 50836"/>
                  <a:gd name="connsiteY1" fmla="*/ 143537 h 143537"/>
                  <a:gd name="connsiteX2" fmla="*/ 0 w 50836"/>
                  <a:gd name="connsiteY2" fmla="*/ 142580 h 143537"/>
                  <a:gd name="connsiteX3" fmla="*/ 47965 w 50836"/>
                  <a:gd name="connsiteY3" fmla="*/ 0 h 143537"/>
                </a:gdLst>
                <a:ahLst/>
                <a:cxnLst>
                  <a:cxn ang="0">
                    <a:pos x="connsiteX0" y="connsiteY0"/>
                  </a:cxn>
                  <a:cxn ang="0">
                    <a:pos x="connsiteX1" y="connsiteY1"/>
                  </a:cxn>
                  <a:cxn ang="0">
                    <a:pos x="connsiteX2" y="connsiteY2"/>
                  </a:cxn>
                  <a:cxn ang="0">
                    <a:pos x="connsiteX3" y="connsiteY3"/>
                  </a:cxn>
                </a:cxnLst>
                <a:rect l="l" t="t" r="r" b="b"/>
                <a:pathLst>
                  <a:path w="50836" h="143537">
                    <a:moveTo>
                      <a:pt x="50836" y="957"/>
                    </a:moveTo>
                    <a:lnTo>
                      <a:pt x="2871" y="143537"/>
                    </a:lnTo>
                    <a:lnTo>
                      <a:pt x="0" y="142580"/>
                    </a:lnTo>
                    <a:lnTo>
                      <a:pt x="47965" y="0"/>
                    </a:lnTo>
                    <a:close/>
                  </a:path>
                </a:pathLst>
              </a:custGeom>
              <a:grpFill/>
              <a:ln w="5978" cap="flat">
                <a:noFill/>
                <a:prstDash val="solid"/>
                <a:miter/>
              </a:ln>
            </p:spPr>
            <p:txBody>
              <a:bodyPr rtlCol="0" anchor="ctr"/>
              <a:lstStyle/>
              <a:p>
                <a:endParaRPr lang="en-GB"/>
              </a:p>
            </p:txBody>
          </p:sp>
          <p:sp>
            <p:nvSpPr>
              <p:cNvPr id="4128" name="Vrije vorm: vorm 4127">
                <a:extLst>
                  <a:ext uri="{FF2B5EF4-FFF2-40B4-BE49-F238E27FC236}">
                    <a16:creationId xmlns:a16="http://schemas.microsoft.com/office/drawing/2014/main" id="{BCBB4D41-00A2-4E8E-BC2D-79115833ED4A}"/>
                  </a:ext>
                </a:extLst>
              </p:cNvPr>
              <p:cNvSpPr/>
              <p:nvPr/>
            </p:nvSpPr>
            <p:spPr>
              <a:xfrm>
                <a:off x="6644478" y="1628108"/>
                <a:ext cx="18308" cy="18428"/>
              </a:xfrm>
              <a:custGeom>
                <a:avLst/>
                <a:gdLst>
                  <a:gd name="connsiteX0" fmla="*/ 482 w 18308"/>
                  <a:gd name="connsiteY0" fmla="*/ 6224 h 18428"/>
                  <a:gd name="connsiteX1" fmla="*/ 12085 w 18308"/>
                  <a:gd name="connsiteY1" fmla="*/ 482 h 18428"/>
                  <a:gd name="connsiteX2" fmla="*/ 17826 w 18308"/>
                  <a:gd name="connsiteY2" fmla="*/ 12205 h 18428"/>
                  <a:gd name="connsiteX3" fmla="*/ 6224 w 18308"/>
                  <a:gd name="connsiteY3" fmla="*/ 17946 h 18428"/>
                  <a:gd name="connsiteX4" fmla="*/ 482 w 18308"/>
                  <a:gd name="connsiteY4" fmla="*/ 622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8">
                    <a:moveTo>
                      <a:pt x="482" y="6224"/>
                    </a:moveTo>
                    <a:cubicBezTo>
                      <a:pt x="2097" y="1439"/>
                      <a:pt x="7300" y="-1132"/>
                      <a:pt x="12085" y="482"/>
                    </a:cubicBezTo>
                    <a:cubicBezTo>
                      <a:pt x="16869" y="2157"/>
                      <a:pt x="19441" y="7360"/>
                      <a:pt x="17826" y="12205"/>
                    </a:cubicBezTo>
                    <a:cubicBezTo>
                      <a:pt x="16212" y="16989"/>
                      <a:pt x="11008" y="19561"/>
                      <a:pt x="6224" y="17946"/>
                    </a:cubicBezTo>
                    <a:cubicBezTo>
                      <a:pt x="1439" y="16271"/>
                      <a:pt x="-1132" y="11008"/>
                      <a:pt x="482" y="6224"/>
                    </a:cubicBezTo>
                    <a:close/>
                  </a:path>
                </a:pathLst>
              </a:custGeom>
              <a:grpFill/>
              <a:ln w="5978" cap="flat">
                <a:noFill/>
                <a:prstDash val="solid"/>
                <a:miter/>
              </a:ln>
            </p:spPr>
            <p:txBody>
              <a:bodyPr rtlCol="0" anchor="ctr"/>
              <a:lstStyle/>
              <a:p>
                <a:endParaRPr lang="en-GB"/>
              </a:p>
            </p:txBody>
          </p:sp>
          <p:sp>
            <p:nvSpPr>
              <p:cNvPr id="4129" name="Vrije vorm: vorm 4128">
                <a:extLst>
                  <a:ext uri="{FF2B5EF4-FFF2-40B4-BE49-F238E27FC236}">
                    <a16:creationId xmlns:a16="http://schemas.microsoft.com/office/drawing/2014/main" id="{B7647B79-651B-45EA-81C2-95AEB9EF70EA}"/>
                  </a:ext>
                </a:extLst>
              </p:cNvPr>
              <p:cNvSpPr/>
              <p:nvPr/>
            </p:nvSpPr>
            <p:spPr>
              <a:xfrm>
                <a:off x="6596812" y="1769792"/>
                <a:ext cx="18308" cy="18457"/>
              </a:xfrm>
              <a:custGeom>
                <a:avLst/>
                <a:gdLst>
                  <a:gd name="connsiteX0" fmla="*/ 482 w 18308"/>
                  <a:gd name="connsiteY0" fmla="*/ 6224 h 18457"/>
                  <a:gd name="connsiteX1" fmla="*/ 6224 w 18308"/>
                  <a:gd name="connsiteY1" fmla="*/ 17946 h 18457"/>
                  <a:gd name="connsiteX2" fmla="*/ 17826 w 18308"/>
                  <a:gd name="connsiteY2" fmla="*/ 12205 h 18457"/>
                  <a:gd name="connsiteX3" fmla="*/ 12085 w 18308"/>
                  <a:gd name="connsiteY3" fmla="*/ 482 h 18457"/>
                  <a:gd name="connsiteX4" fmla="*/ 482 w 18308"/>
                  <a:gd name="connsiteY4" fmla="*/ 6224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7">
                    <a:moveTo>
                      <a:pt x="482" y="6224"/>
                    </a:moveTo>
                    <a:cubicBezTo>
                      <a:pt x="-1132" y="11008"/>
                      <a:pt x="1439" y="16271"/>
                      <a:pt x="6224" y="17946"/>
                    </a:cubicBezTo>
                    <a:cubicBezTo>
                      <a:pt x="11009" y="19621"/>
                      <a:pt x="16212" y="17049"/>
                      <a:pt x="17826" y="12205"/>
                    </a:cubicBezTo>
                    <a:cubicBezTo>
                      <a:pt x="19441" y="7420"/>
                      <a:pt x="16870" y="2157"/>
                      <a:pt x="12085" y="482"/>
                    </a:cubicBezTo>
                    <a:cubicBezTo>
                      <a:pt x="7360" y="-1132"/>
                      <a:pt x="2157" y="1439"/>
                      <a:pt x="482" y="6224"/>
                    </a:cubicBezTo>
                    <a:close/>
                  </a:path>
                </a:pathLst>
              </a:custGeom>
              <a:grpFill/>
              <a:ln w="5978" cap="flat">
                <a:noFill/>
                <a:prstDash val="solid"/>
                <a:miter/>
              </a:ln>
            </p:spPr>
            <p:txBody>
              <a:bodyPr rtlCol="0" anchor="ctr"/>
              <a:lstStyle/>
              <a:p>
                <a:endParaRPr lang="en-GB"/>
              </a:p>
            </p:txBody>
          </p:sp>
        </p:grpSp>
        <p:grpSp>
          <p:nvGrpSpPr>
            <p:cNvPr id="420" name="Graphic 3">
              <a:extLst>
                <a:ext uri="{FF2B5EF4-FFF2-40B4-BE49-F238E27FC236}">
                  <a16:creationId xmlns:a16="http://schemas.microsoft.com/office/drawing/2014/main" id="{4F00A3D0-4A09-494A-9229-319B242C0E2E}"/>
                </a:ext>
              </a:extLst>
            </p:cNvPr>
            <p:cNvGrpSpPr/>
            <p:nvPr/>
          </p:nvGrpSpPr>
          <p:grpSpPr>
            <a:xfrm>
              <a:off x="6543363" y="1454028"/>
              <a:ext cx="58740" cy="165098"/>
              <a:chOff x="6543363" y="1454028"/>
              <a:chExt cx="58740" cy="165098"/>
            </a:xfrm>
            <a:grpFill/>
          </p:grpSpPr>
          <p:sp>
            <p:nvSpPr>
              <p:cNvPr id="4124" name="Vrije vorm: vorm 4123">
                <a:extLst>
                  <a:ext uri="{FF2B5EF4-FFF2-40B4-BE49-F238E27FC236}">
                    <a16:creationId xmlns:a16="http://schemas.microsoft.com/office/drawing/2014/main" id="{5C755FD9-7462-48FC-80FF-6A185CC32515}"/>
                  </a:ext>
                </a:extLst>
              </p:cNvPr>
              <p:cNvSpPr/>
              <p:nvPr/>
            </p:nvSpPr>
            <p:spPr>
              <a:xfrm>
                <a:off x="6550944" y="1462386"/>
                <a:ext cx="43539" cy="148381"/>
              </a:xfrm>
              <a:custGeom>
                <a:avLst/>
                <a:gdLst>
                  <a:gd name="connsiteX0" fmla="*/ 43539 w 43539"/>
                  <a:gd name="connsiteY0" fmla="*/ 837 h 148381"/>
                  <a:gd name="connsiteX1" fmla="*/ 2930 w 43539"/>
                  <a:gd name="connsiteY1" fmla="*/ 148382 h 148381"/>
                  <a:gd name="connsiteX2" fmla="*/ 0 w 43539"/>
                  <a:gd name="connsiteY2" fmla="*/ 147544 h 148381"/>
                  <a:gd name="connsiteX3" fmla="*/ 40609 w 43539"/>
                  <a:gd name="connsiteY3" fmla="*/ 0 h 148381"/>
                </a:gdLst>
                <a:ahLst/>
                <a:cxnLst>
                  <a:cxn ang="0">
                    <a:pos x="connsiteX0" y="connsiteY0"/>
                  </a:cxn>
                  <a:cxn ang="0">
                    <a:pos x="connsiteX1" y="connsiteY1"/>
                  </a:cxn>
                  <a:cxn ang="0">
                    <a:pos x="connsiteX2" y="connsiteY2"/>
                  </a:cxn>
                  <a:cxn ang="0">
                    <a:pos x="connsiteX3" y="connsiteY3"/>
                  </a:cxn>
                </a:cxnLst>
                <a:rect l="l" t="t" r="r" b="b"/>
                <a:pathLst>
                  <a:path w="43539" h="148381">
                    <a:moveTo>
                      <a:pt x="43539" y="837"/>
                    </a:moveTo>
                    <a:lnTo>
                      <a:pt x="2930" y="148382"/>
                    </a:lnTo>
                    <a:lnTo>
                      <a:pt x="0" y="147544"/>
                    </a:lnTo>
                    <a:lnTo>
                      <a:pt x="40609" y="0"/>
                    </a:lnTo>
                    <a:close/>
                  </a:path>
                </a:pathLst>
              </a:custGeom>
              <a:grpFill/>
              <a:ln w="5978" cap="flat">
                <a:noFill/>
                <a:prstDash val="solid"/>
                <a:miter/>
              </a:ln>
            </p:spPr>
            <p:txBody>
              <a:bodyPr rtlCol="0" anchor="ctr"/>
              <a:lstStyle/>
              <a:p>
                <a:endParaRPr lang="en-GB"/>
              </a:p>
            </p:txBody>
          </p:sp>
          <p:sp>
            <p:nvSpPr>
              <p:cNvPr id="4125" name="Vrije vorm: vorm 4124">
                <a:extLst>
                  <a:ext uri="{FF2B5EF4-FFF2-40B4-BE49-F238E27FC236}">
                    <a16:creationId xmlns:a16="http://schemas.microsoft.com/office/drawing/2014/main" id="{3A236FF5-D1E6-461A-9E84-8B34786D18DB}"/>
                  </a:ext>
                </a:extLst>
              </p:cNvPr>
              <p:cNvSpPr/>
              <p:nvPr/>
            </p:nvSpPr>
            <p:spPr>
              <a:xfrm>
                <a:off x="6583753" y="1454028"/>
                <a:ext cx="18349" cy="18451"/>
              </a:xfrm>
              <a:custGeom>
                <a:avLst/>
                <a:gdLst>
                  <a:gd name="connsiteX0" fmla="*/ 323 w 18349"/>
                  <a:gd name="connsiteY0" fmla="*/ 6744 h 18451"/>
                  <a:gd name="connsiteX1" fmla="*/ 11627 w 18349"/>
                  <a:gd name="connsiteY1" fmla="*/ 344 h 18451"/>
                  <a:gd name="connsiteX2" fmla="*/ 18026 w 18349"/>
                  <a:gd name="connsiteY2" fmla="*/ 11708 h 18451"/>
                  <a:gd name="connsiteX3" fmla="*/ 6723 w 18349"/>
                  <a:gd name="connsiteY3" fmla="*/ 18107 h 18451"/>
                  <a:gd name="connsiteX4" fmla="*/ 323 w 18349"/>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1">
                    <a:moveTo>
                      <a:pt x="323" y="6744"/>
                    </a:moveTo>
                    <a:cubicBezTo>
                      <a:pt x="1699" y="1839"/>
                      <a:pt x="6723" y="-1031"/>
                      <a:pt x="11627" y="344"/>
                    </a:cubicBezTo>
                    <a:cubicBezTo>
                      <a:pt x="16531" y="1720"/>
                      <a:pt x="19342" y="6803"/>
                      <a:pt x="18026" y="11708"/>
                    </a:cubicBezTo>
                    <a:cubicBezTo>
                      <a:pt x="16651" y="16612"/>
                      <a:pt x="11627" y="19483"/>
                      <a:pt x="6723" y="18107"/>
                    </a:cubicBezTo>
                    <a:cubicBezTo>
                      <a:pt x="1819" y="16731"/>
                      <a:pt x="-992" y="11648"/>
                      <a:pt x="323" y="6744"/>
                    </a:cubicBezTo>
                    <a:close/>
                  </a:path>
                </a:pathLst>
              </a:custGeom>
              <a:grpFill/>
              <a:ln w="5978" cap="flat">
                <a:noFill/>
                <a:prstDash val="solid"/>
                <a:miter/>
              </a:ln>
            </p:spPr>
            <p:txBody>
              <a:bodyPr rtlCol="0" anchor="ctr"/>
              <a:lstStyle/>
              <a:p>
                <a:endParaRPr lang="en-GB"/>
              </a:p>
            </p:txBody>
          </p:sp>
          <p:sp>
            <p:nvSpPr>
              <p:cNvPr id="4126" name="Vrije vorm: vorm 4125">
                <a:extLst>
                  <a:ext uri="{FF2B5EF4-FFF2-40B4-BE49-F238E27FC236}">
                    <a16:creationId xmlns:a16="http://schemas.microsoft.com/office/drawing/2014/main" id="{927ABF8C-D40E-4BDF-A0C3-38D3939CE8EF}"/>
                  </a:ext>
                </a:extLst>
              </p:cNvPr>
              <p:cNvSpPr/>
              <p:nvPr/>
            </p:nvSpPr>
            <p:spPr>
              <a:xfrm>
                <a:off x="6543363" y="1600696"/>
                <a:ext cx="18391" cy="18430"/>
              </a:xfrm>
              <a:custGeom>
                <a:avLst/>
                <a:gdLst>
                  <a:gd name="connsiteX0" fmla="*/ 344 w 18391"/>
                  <a:gd name="connsiteY0" fmla="*/ 6723 h 18430"/>
                  <a:gd name="connsiteX1" fmla="*/ 6744 w 18391"/>
                  <a:gd name="connsiteY1" fmla="*/ 18086 h 18430"/>
                  <a:gd name="connsiteX2" fmla="*/ 18047 w 18391"/>
                  <a:gd name="connsiteY2" fmla="*/ 11687 h 18430"/>
                  <a:gd name="connsiteX3" fmla="*/ 11648 w 18391"/>
                  <a:gd name="connsiteY3" fmla="*/ 323 h 18430"/>
                  <a:gd name="connsiteX4" fmla="*/ 344 w 18391"/>
                  <a:gd name="connsiteY4" fmla="*/ 672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30">
                    <a:moveTo>
                      <a:pt x="344" y="6723"/>
                    </a:moveTo>
                    <a:cubicBezTo>
                      <a:pt x="-1031" y="11627"/>
                      <a:pt x="1839" y="16711"/>
                      <a:pt x="6744" y="18086"/>
                    </a:cubicBezTo>
                    <a:cubicBezTo>
                      <a:pt x="11648" y="19462"/>
                      <a:pt x="16671" y="16591"/>
                      <a:pt x="18047" y="11687"/>
                    </a:cubicBezTo>
                    <a:cubicBezTo>
                      <a:pt x="19423" y="6783"/>
                      <a:pt x="16552" y="1699"/>
                      <a:pt x="11648" y="323"/>
                    </a:cubicBezTo>
                    <a:cubicBezTo>
                      <a:pt x="6744" y="-992"/>
                      <a:pt x="1720" y="1819"/>
                      <a:pt x="344" y="6723"/>
                    </a:cubicBezTo>
                    <a:close/>
                  </a:path>
                </a:pathLst>
              </a:custGeom>
              <a:grpFill/>
              <a:ln w="5978" cap="flat">
                <a:noFill/>
                <a:prstDash val="solid"/>
                <a:miter/>
              </a:ln>
            </p:spPr>
            <p:txBody>
              <a:bodyPr rtlCol="0" anchor="ctr"/>
              <a:lstStyle/>
              <a:p>
                <a:endParaRPr lang="en-GB"/>
              </a:p>
            </p:txBody>
          </p:sp>
        </p:grpSp>
        <p:grpSp>
          <p:nvGrpSpPr>
            <p:cNvPr id="421" name="Graphic 3">
              <a:extLst>
                <a:ext uri="{FF2B5EF4-FFF2-40B4-BE49-F238E27FC236}">
                  <a16:creationId xmlns:a16="http://schemas.microsoft.com/office/drawing/2014/main" id="{EC6DB407-AF2D-4CA3-A0AB-1411680C19E6}"/>
                </a:ext>
              </a:extLst>
            </p:cNvPr>
            <p:cNvGrpSpPr/>
            <p:nvPr/>
          </p:nvGrpSpPr>
          <p:grpSpPr>
            <a:xfrm>
              <a:off x="6499503" y="1405053"/>
              <a:ext cx="155630" cy="377033"/>
              <a:chOff x="6499503" y="1405053"/>
              <a:chExt cx="155630" cy="377033"/>
            </a:xfrm>
            <a:grpFill/>
          </p:grpSpPr>
          <p:sp>
            <p:nvSpPr>
              <p:cNvPr id="4121" name="Vrije vorm: vorm 4120">
                <a:extLst>
                  <a:ext uri="{FF2B5EF4-FFF2-40B4-BE49-F238E27FC236}">
                    <a16:creationId xmlns:a16="http://schemas.microsoft.com/office/drawing/2014/main" id="{527403FE-5F1D-4D77-B946-20DC79E95474}"/>
                  </a:ext>
                </a:extLst>
              </p:cNvPr>
              <p:cNvSpPr/>
              <p:nvPr/>
            </p:nvSpPr>
            <p:spPr>
              <a:xfrm>
                <a:off x="6507045" y="1413225"/>
                <a:ext cx="140487" cy="360577"/>
              </a:xfrm>
              <a:custGeom>
                <a:avLst/>
                <a:gdLst>
                  <a:gd name="connsiteX0" fmla="*/ 140487 w 140487"/>
                  <a:gd name="connsiteY0" fmla="*/ 1136 h 360577"/>
                  <a:gd name="connsiteX1" fmla="*/ 2871 w 140487"/>
                  <a:gd name="connsiteY1" fmla="*/ 360578 h 360577"/>
                  <a:gd name="connsiteX2" fmla="*/ 0 w 140487"/>
                  <a:gd name="connsiteY2" fmla="*/ 359501 h 360577"/>
                  <a:gd name="connsiteX3" fmla="*/ 137676 w 140487"/>
                  <a:gd name="connsiteY3" fmla="*/ 0 h 360577"/>
                </a:gdLst>
                <a:ahLst/>
                <a:cxnLst>
                  <a:cxn ang="0">
                    <a:pos x="connsiteX0" y="connsiteY0"/>
                  </a:cxn>
                  <a:cxn ang="0">
                    <a:pos x="connsiteX1" y="connsiteY1"/>
                  </a:cxn>
                  <a:cxn ang="0">
                    <a:pos x="connsiteX2" y="connsiteY2"/>
                  </a:cxn>
                  <a:cxn ang="0">
                    <a:pos x="connsiteX3" y="connsiteY3"/>
                  </a:cxn>
                </a:cxnLst>
                <a:rect l="l" t="t" r="r" b="b"/>
                <a:pathLst>
                  <a:path w="140487" h="360577">
                    <a:moveTo>
                      <a:pt x="140487" y="1136"/>
                    </a:moveTo>
                    <a:lnTo>
                      <a:pt x="2871" y="360578"/>
                    </a:lnTo>
                    <a:lnTo>
                      <a:pt x="0" y="359501"/>
                    </a:lnTo>
                    <a:lnTo>
                      <a:pt x="137676" y="0"/>
                    </a:lnTo>
                    <a:close/>
                  </a:path>
                </a:pathLst>
              </a:custGeom>
              <a:grpFill/>
              <a:ln w="5978" cap="flat">
                <a:noFill/>
                <a:prstDash val="solid"/>
                <a:miter/>
              </a:ln>
            </p:spPr>
            <p:txBody>
              <a:bodyPr rtlCol="0" anchor="ctr"/>
              <a:lstStyle/>
              <a:p>
                <a:endParaRPr lang="en-GB"/>
              </a:p>
            </p:txBody>
          </p:sp>
          <p:sp>
            <p:nvSpPr>
              <p:cNvPr id="4122" name="Vrije vorm: vorm 4121">
                <a:extLst>
                  <a:ext uri="{FF2B5EF4-FFF2-40B4-BE49-F238E27FC236}">
                    <a16:creationId xmlns:a16="http://schemas.microsoft.com/office/drawing/2014/main" id="{4138609F-9693-4D54-B76B-D8E9A4D95290}"/>
                  </a:ext>
                </a:extLst>
              </p:cNvPr>
              <p:cNvSpPr/>
              <p:nvPr/>
            </p:nvSpPr>
            <p:spPr>
              <a:xfrm>
                <a:off x="6499503" y="1763664"/>
                <a:ext cx="18306" cy="18422"/>
              </a:xfrm>
              <a:custGeom>
                <a:avLst/>
                <a:gdLst>
                  <a:gd name="connsiteX0" fmla="*/ 17709 w 18306"/>
                  <a:gd name="connsiteY0" fmla="*/ 12530 h 18422"/>
                  <a:gd name="connsiteX1" fmla="*/ 5867 w 18306"/>
                  <a:gd name="connsiteY1" fmla="*/ 17793 h 18422"/>
                  <a:gd name="connsiteX2" fmla="*/ 604 w 18306"/>
                  <a:gd name="connsiteY2" fmla="*/ 5892 h 18422"/>
                  <a:gd name="connsiteX3" fmla="*/ 12446 w 18306"/>
                  <a:gd name="connsiteY3" fmla="*/ 629 h 18422"/>
                  <a:gd name="connsiteX4" fmla="*/ 17709 w 18306"/>
                  <a:gd name="connsiteY4" fmla="*/ 12530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7709" y="12530"/>
                    </a:moveTo>
                    <a:cubicBezTo>
                      <a:pt x="15915" y="17255"/>
                      <a:pt x="10592" y="19647"/>
                      <a:pt x="5867" y="17793"/>
                    </a:cubicBezTo>
                    <a:cubicBezTo>
                      <a:pt x="1142" y="15939"/>
                      <a:pt x="-1190" y="10617"/>
                      <a:pt x="604" y="5892"/>
                    </a:cubicBezTo>
                    <a:cubicBezTo>
                      <a:pt x="2398" y="1167"/>
                      <a:pt x="7721" y="-1225"/>
                      <a:pt x="12446" y="629"/>
                    </a:cubicBezTo>
                    <a:cubicBezTo>
                      <a:pt x="17111" y="2423"/>
                      <a:pt x="19503" y="7746"/>
                      <a:pt x="17709" y="12530"/>
                    </a:cubicBezTo>
                    <a:close/>
                  </a:path>
                </a:pathLst>
              </a:custGeom>
              <a:grpFill/>
              <a:ln w="5978" cap="flat">
                <a:noFill/>
                <a:prstDash val="solid"/>
                <a:miter/>
              </a:ln>
            </p:spPr>
            <p:txBody>
              <a:bodyPr rtlCol="0" anchor="ctr"/>
              <a:lstStyle/>
              <a:p>
                <a:endParaRPr lang="en-GB"/>
              </a:p>
            </p:txBody>
          </p:sp>
          <p:sp>
            <p:nvSpPr>
              <p:cNvPr id="4123" name="Vrije vorm: vorm 4122">
                <a:extLst>
                  <a:ext uri="{FF2B5EF4-FFF2-40B4-BE49-F238E27FC236}">
                    <a16:creationId xmlns:a16="http://schemas.microsoft.com/office/drawing/2014/main" id="{3C01C510-446A-45E2-8164-C7569ED6D775}"/>
                  </a:ext>
                </a:extLst>
              </p:cNvPr>
              <p:cNvSpPr/>
              <p:nvPr/>
            </p:nvSpPr>
            <p:spPr>
              <a:xfrm>
                <a:off x="6636820" y="1405053"/>
                <a:ext cx="18313" cy="18404"/>
              </a:xfrm>
              <a:custGeom>
                <a:avLst/>
                <a:gdLst>
                  <a:gd name="connsiteX0" fmla="*/ 17709 w 18313"/>
                  <a:gd name="connsiteY0" fmla="*/ 12538 h 18404"/>
                  <a:gd name="connsiteX1" fmla="*/ 12446 w 18313"/>
                  <a:gd name="connsiteY1" fmla="*/ 636 h 18404"/>
                  <a:gd name="connsiteX2" fmla="*/ 604 w 18313"/>
                  <a:gd name="connsiteY2" fmla="*/ 5899 h 18404"/>
                  <a:gd name="connsiteX3" fmla="*/ 5867 w 18313"/>
                  <a:gd name="connsiteY3" fmla="*/ 17801 h 18404"/>
                  <a:gd name="connsiteX4" fmla="*/ 17709 w 18313"/>
                  <a:gd name="connsiteY4" fmla="*/ 12538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17709" y="12538"/>
                    </a:moveTo>
                    <a:cubicBezTo>
                      <a:pt x="19503" y="7813"/>
                      <a:pt x="17171" y="2430"/>
                      <a:pt x="12446" y="636"/>
                    </a:cubicBezTo>
                    <a:cubicBezTo>
                      <a:pt x="7721" y="-1218"/>
                      <a:pt x="2399" y="1115"/>
                      <a:pt x="604" y="5899"/>
                    </a:cubicBezTo>
                    <a:cubicBezTo>
                      <a:pt x="-1190" y="10624"/>
                      <a:pt x="1143" y="16007"/>
                      <a:pt x="5867" y="17801"/>
                    </a:cubicBezTo>
                    <a:cubicBezTo>
                      <a:pt x="10592" y="19595"/>
                      <a:pt x="15855" y="17262"/>
                      <a:pt x="17709" y="12538"/>
                    </a:cubicBezTo>
                    <a:close/>
                  </a:path>
                </a:pathLst>
              </a:custGeom>
              <a:grpFill/>
              <a:ln w="5978" cap="flat">
                <a:noFill/>
                <a:prstDash val="solid"/>
                <a:miter/>
              </a:ln>
            </p:spPr>
            <p:txBody>
              <a:bodyPr rtlCol="0" anchor="ctr"/>
              <a:lstStyle/>
              <a:p>
                <a:endParaRPr lang="en-GB"/>
              </a:p>
            </p:txBody>
          </p:sp>
        </p:grpSp>
        <p:grpSp>
          <p:nvGrpSpPr>
            <p:cNvPr id="422" name="Graphic 3">
              <a:extLst>
                <a:ext uri="{FF2B5EF4-FFF2-40B4-BE49-F238E27FC236}">
                  <a16:creationId xmlns:a16="http://schemas.microsoft.com/office/drawing/2014/main" id="{42EC5E70-86A0-41EB-881A-D79A29A1C8AC}"/>
                </a:ext>
              </a:extLst>
            </p:cNvPr>
            <p:cNvGrpSpPr/>
            <p:nvPr/>
          </p:nvGrpSpPr>
          <p:grpSpPr>
            <a:xfrm>
              <a:off x="7443983" y="4338110"/>
              <a:ext cx="163157" cy="114802"/>
              <a:chOff x="7443983" y="4338110"/>
              <a:chExt cx="163157" cy="114802"/>
            </a:xfrm>
            <a:grpFill/>
          </p:grpSpPr>
          <p:sp>
            <p:nvSpPr>
              <p:cNvPr id="4118" name="Vrije vorm: vorm 4117">
                <a:extLst>
                  <a:ext uri="{FF2B5EF4-FFF2-40B4-BE49-F238E27FC236}">
                    <a16:creationId xmlns:a16="http://schemas.microsoft.com/office/drawing/2014/main" id="{83273309-EFA0-4A0D-8020-72F4A47FCE3D}"/>
                  </a:ext>
                </a:extLst>
              </p:cNvPr>
              <p:cNvSpPr/>
              <p:nvPr/>
            </p:nvSpPr>
            <p:spPr>
              <a:xfrm>
                <a:off x="7451880" y="4345752"/>
                <a:ext cx="147305" cy="99459"/>
              </a:xfrm>
              <a:custGeom>
                <a:avLst/>
                <a:gdLst>
                  <a:gd name="connsiteX0" fmla="*/ 147305 w 147305"/>
                  <a:gd name="connsiteY0" fmla="*/ 96888 h 99459"/>
                  <a:gd name="connsiteX1" fmla="*/ 145630 w 147305"/>
                  <a:gd name="connsiteY1" fmla="*/ 99459 h 99459"/>
                  <a:gd name="connsiteX2" fmla="*/ 0 w 147305"/>
                  <a:gd name="connsiteY2" fmla="*/ 2572 h 99459"/>
                  <a:gd name="connsiteX3" fmla="*/ 1675 w 147305"/>
                  <a:gd name="connsiteY3" fmla="*/ 0 h 99459"/>
                </a:gdLst>
                <a:ahLst/>
                <a:cxnLst>
                  <a:cxn ang="0">
                    <a:pos x="connsiteX0" y="connsiteY0"/>
                  </a:cxn>
                  <a:cxn ang="0">
                    <a:pos x="connsiteX1" y="connsiteY1"/>
                  </a:cxn>
                  <a:cxn ang="0">
                    <a:pos x="connsiteX2" y="connsiteY2"/>
                  </a:cxn>
                  <a:cxn ang="0">
                    <a:pos x="connsiteX3" y="connsiteY3"/>
                  </a:cxn>
                </a:cxnLst>
                <a:rect l="l" t="t" r="r" b="b"/>
                <a:pathLst>
                  <a:path w="147305" h="99459">
                    <a:moveTo>
                      <a:pt x="147305" y="96888"/>
                    </a:moveTo>
                    <a:lnTo>
                      <a:pt x="145630" y="99459"/>
                    </a:lnTo>
                    <a:lnTo>
                      <a:pt x="0" y="2572"/>
                    </a:lnTo>
                    <a:lnTo>
                      <a:pt x="1675" y="0"/>
                    </a:lnTo>
                    <a:close/>
                  </a:path>
                </a:pathLst>
              </a:custGeom>
              <a:grpFill/>
              <a:ln w="5978" cap="flat">
                <a:noFill/>
                <a:prstDash val="solid"/>
                <a:miter/>
              </a:ln>
            </p:spPr>
            <p:txBody>
              <a:bodyPr rtlCol="0" anchor="ctr"/>
              <a:lstStyle/>
              <a:p>
                <a:endParaRPr lang="en-GB"/>
              </a:p>
            </p:txBody>
          </p:sp>
          <p:sp>
            <p:nvSpPr>
              <p:cNvPr id="4119" name="Vrije vorm: vorm 4118">
                <a:extLst>
                  <a:ext uri="{FF2B5EF4-FFF2-40B4-BE49-F238E27FC236}">
                    <a16:creationId xmlns:a16="http://schemas.microsoft.com/office/drawing/2014/main" id="{38C46663-AE40-4468-8C72-78C47EF051BD}"/>
                  </a:ext>
                </a:extLst>
              </p:cNvPr>
              <p:cNvSpPr/>
              <p:nvPr/>
            </p:nvSpPr>
            <p:spPr>
              <a:xfrm>
                <a:off x="7588852" y="4434459"/>
                <a:ext cx="18288" cy="18453"/>
              </a:xfrm>
              <a:custGeom>
                <a:avLst/>
                <a:gdLst>
                  <a:gd name="connsiteX0" fmla="*/ 14161 w 18288"/>
                  <a:gd name="connsiteY0" fmla="*/ 1542 h 18453"/>
                  <a:gd name="connsiteX1" fmla="*/ 16792 w 18288"/>
                  <a:gd name="connsiteY1" fmla="*/ 14340 h 18453"/>
                  <a:gd name="connsiteX2" fmla="*/ 4113 w 18288"/>
                  <a:gd name="connsiteY2" fmla="*/ 16912 h 18453"/>
                  <a:gd name="connsiteX3" fmla="*/ 1482 w 18288"/>
                  <a:gd name="connsiteY3" fmla="*/ 4113 h 18453"/>
                  <a:gd name="connsiteX4" fmla="*/ 14161 w 18288"/>
                  <a:gd name="connsiteY4" fmla="*/ 154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14161" y="1542"/>
                    </a:moveTo>
                    <a:cubicBezTo>
                      <a:pt x="18407" y="4352"/>
                      <a:pt x="19543" y="10094"/>
                      <a:pt x="16792" y="14340"/>
                    </a:cubicBezTo>
                    <a:cubicBezTo>
                      <a:pt x="14041" y="18586"/>
                      <a:pt x="8299" y="19723"/>
                      <a:pt x="4113" y="16912"/>
                    </a:cubicBezTo>
                    <a:cubicBezTo>
                      <a:pt x="-73" y="14101"/>
                      <a:pt x="-1270" y="8360"/>
                      <a:pt x="1482" y="4113"/>
                    </a:cubicBezTo>
                    <a:cubicBezTo>
                      <a:pt x="4233" y="-133"/>
                      <a:pt x="9914" y="-1270"/>
                      <a:pt x="14161" y="1542"/>
                    </a:cubicBezTo>
                    <a:close/>
                  </a:path>
                </a:pathLst>
              </a:custGeom>
              <a:grpFill/>
              <a:ln w="5978" cap="flat">
                <a:noFill/>
                <a:prstDash val="solid"/>
                <a:miter/>
              </a:ln>
            </p:spPr>
            <p:txBody>
              <a:bodyPr rtlCol="0" anchor="ctr"/>
              <a:lstStyle/>
              <a:p>
                <a:endParaRPr lang="en-GB"/>
              </a:p>
            </p:txBody>
          </p:sp>
          <p:sp>
            <p:nvSpPr>
              <p:cNvPr id="4120" name="Vrije vorm: vorm 4119">
                <a:extLst>
                  <a:ext uri="{FF2B5EF4-FFF2-40B4-BE49-F238E27FC236}">
                    <a16:creationId xmlns:a16="http://schemas.microsoft.com/office/drawing/2014/main" id="{C4941AA2-0073-45B7-A3E6-119BEDA786ED}"/>
                  </a:ext>
                </a:extLst>
              </p:cNvPr>
              <p:cNvSpPr/>
              <p:nvPr/>
            </p:nvSpPr>
            <p:spPr>
              <a:xfrm>
                <a:off x="7443983" y="4338110"/>
                <a:ext cx="18288" cy="18453"/>
              </a:xfrm>
              <a:custGeom>
                <a:avLst/>
                <a:gdLst>
                  <a:gd name="connsiteX0" fmla="*/ 14176 w 18288"/>
                  <a:gd name="connsiteY0" fmla="*/ 1542 h 18453"/>
                  <a:gd name="connsiteX1" fmla="*/ 1497 w 18288"/>
                  <a:gd name="connsiteY1" fmla="*/ 4113 h 18453"/>
                  <a:gd name="connsiteX2" fmla="*/ 4128 w 18288"/>
                  <a:gd name="connsiteY2" fmla="*/ 16912 h 18453"/>
                  <a:gd name="connsiteX3" fmla="*/ 16808 w 18288"/>
                  <a:gd name="connsiteY3" fmla="*/ 14340 h 18453"/>
                  <a:gd name="connsiteX4" fmla="*/ 14176 w 18288"/>
                  <a:gd name="connsiteY4" fmla="*/ 154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14176" y="1542"/>
                    </a:moveTo>
                    <a:cubicBezTo>
                      <a:pt x="9930" y="-1270"/>
                      <a:pt x="4248" y="-133"/>
                      <a:pt x="1497" y="4113"/>
                    </a:cubicBezTo>
                    <a:cubicBezTo>
                      <a:pt x="-1254" y="8359"/>
                      <a:pt x="-118" y="14041"/>
                      <a:pt x="4128" y="16912"/>
                    </a:cubicBezTo>
                    <a:cubicBezTo>
                      <a:pt x="8375" y="19723"/>
                      <a:pt x="14057" y="18586"/>
                      <a:pt x="16808" y="14340"/>
                    </a:cubicBezTo>
                    <a:cubicBezTo>
                      <a:pt x="19558" y="10034"/>
                      <a:pt x="18363" y="4352"/>
                      <a:pt x="14176" y="1542"/>
                    </a:cubicBezTo>
                    <a:close/>
                  </a:path>
                </a:pathLst>
              </a:custGeom>
              <a:grpFill/>
              <a:ln w="5978" cap="flat">
                <a:noFill/>
                <a:prstDash val="solid"/>
                <a:miter/>
              </a:ln>
            </p:spPr>
            <p:txBody>
              <a:bodyPr rtlCol="0" anchor="ctr"/>
              <a:lstStyle/>
              <a:p>
                <a:endParaRPr lang="en-GB"/>
              </a:p>
            </p:txBody>
          </p:sp>
        </p:grpSp>
        <p:grpSp>
          <p:nvGrpSpPr>
            <p:cNvPr id="423" name="Graphic 3">
              <a:extLst>
                <a:ext uri="{FF2B5EF4-FFF2-40B4-BE49-F238E27FC236}">
                  <a16:creationId xmlns:a16="http://schemas.microsoft.com/office/drawing/2014/main" id="{7304BBF2-7530-45F8-BFB5-FEF2BB2EA20A}"/>
                </a:ext>
              </a:extLst>
            </p:cNvPr>
            <p:cNvGrpSpPr/>
            <p:nvPr/>
          </p:nvGrpSpPr>
          <p:grpSpPr>
            <a:xfrm>
              <a:off x="7483614" y="4443707"/>
              <a:ext cx="104947" cy="80818"/>
              <a:chOff x="7483614" y="4443707"/>
              <a:chExt cx="104947" cy="80818"/>
            </a:xfrm>
            <a:grpFill/>
          </p:grpSpPr>
          <p:sp>
            <p:nvSpPr>
              <p:cNvPr id="4115" name="Vrije vorm: vorm 4114">
                <a:extLst>
                  <a:ext uri="{FF2B5EF4-FFF2-40B4-BE49-F238E27FC236}">
                    <a16:creationId xmlns:a16="http://schemas.microsoft.com/office/drawing/2014/main" id="{4C9F38BE-8F45-4112-9B2E-7CCD84AFCE1D}"/>
                  </a:ext>
                </a:extLst>
              </p:cNvPr>
              <p:cNvSpPr/>
              <p:nvPr/>
            </p:nvSpPr>
            <p:spPr>
              <a:xfrm>
                <a:off x="7491532" y="4451371"/>
                <a:ext cx="89112" cy="65429"/>
              </a:xfrm>
              <a:custGeom>
                <a:avLst/>
                <a:gdLst>
                  <a:gd name="connsiteX0" fmla="*/ 89113 w 89112"/>
                  <a:gd name="connsiteY0" fmla="*/ 62977 h 65429"/>
                  <a:gd name="connsiteX1" fmla="*/ 87378 w 89112"/>
                  <a:gd name="connsiteY1" fmla="*/ 65429 h 65429"/>
                  <a:gd name="connsiteX2" fmla="*/ 0 w 89112"/>
                  <a:gd name="connsiteY2" fmla="*/ 2512 h 65429"/>
                  <a:gd name="connsiteX3" fmla="*/ 1734 w 89112"/>
                  <a:gd name="connsiteY3" fmla="*/ 0 h 65429"/>
                </a:gdLst>
                <a:ahLst/>
                <a:cxnLst>
                  <a:cxn ang="0">
                    <a:pos x="connsiteX0" y="connsiteY0"/>
                  </a:cxn>
                  <a:cxn ang="0">
                    <a:pos x="connsiteX1" y="connsiteY1"/>
                  </a:cxn>
                  <a:cxn ang="0">
                    <a:pos x="connsiteX2" y="connsiteY2"/>
                  </a:cxn>
                  <a:cxn ang="0">
                    <a:pos x="connsiteX3" y="connsiteY3"/>
                  </a:cxn>
                </a:cxnLst>
                <a:rect l="l" t="t" r="r" b="b"/>
                <a:pathLst>
                  <a:path w="89112" h="65429">
                    <a:moveTo>
                      <a:pt x="89113" y="62977"/>
                    </a:moveTo>
                    <a:lnTo>
                      <a:pt x="87378" y="65429"/>
                    </a:lnTo>
                    <a:lnTo>
                      <a:pt x="0" y="2512"/>
                    </a:lnTo>
                    <a:lnTo>
                      <a:pt x="1734" y="0"/>
                    </a:lnTo>
                    <a:close/>
                  </a:path>
                </a:pathLst>
              </a:custGeom>
              <a:grpFill/>
              <a:ln w="5978" cap="flat">
                <a:noFill/>
                <a:prstDash val="solid"/>
                <a:miter/>
              </a:ln>
            </p:spPr>
            <p:txBody>
              <a:bodyPr rtlCol="0" anchor="ctr"/>
              <a:lstStyle/>
              <a:p>
                <a:endParaRPr lang="en-GB"/>
              </a:p>
            </p:txBody>
          </p:sp>
          <p:sp>
            <p:nvSpPr>
              <p:cNvPr id="4116" name="Vrije vorm: vorm 4115">
                <a:extLst>
                  <a:ext uri="{FF2B5EF4-FFF2-40B4-BE49-F238E27FC236}">
                    <a16:creationId xmlns:a16="http://schemas.microsoft.com/office/drawing/2014/main" id="{8B63740B-D214-45BC-8D3F-1D428D7C99FF}"/>
                  </a:ext>
                </a:extLst>
              </p:cNvPr>
              <p:cNvSpPr/>
              <p:nvPr/>
            </p:nvSpPr>
            <p:spPr>
              <a:xfrm>
                <a:off x="7570215" y="4506086"/>
                <a:ext cx="18346" cy="18439"/>
              </a:xfrm>
              <a:custGeom>
                <a:avLst/>
                <a:gdLst>
                  <a:gd name="connsiteX0" fmla="*/ 14496 w 18346"/>
                  <a:gd name="connsiteY0" fmla="*/ 1744 h 18439"/>
                  <a:gd name="connsiteX1" fmla="*/ 16649 w 18346"/>
                  <a:gd name="connsiteY1" fmla="*/ 14602 h 18439"/>
                  <a:gd name="connsiteX2" fmla="*/ 3850 w 18346"/>
                  <a:gd name="connsiteY2" fmla="*/ 16696 h 18439"/>
                  <a:gd name="connsiteX3" fmla="*/ 1697 w 18346"/>
                  <a:gd name="connsiteY3" fmla="*/ 3837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8623" y="4734"/>
                      <a:pt x="19580" y="10476"/>
                      <a:pt x="16649" y="14602"/>
                    </a:cubicBezTo>
                    <a:cubicBezTo>
                      <a:pt x="13719" y="18729"/>
                      <a:pt x="7977" y="19686"/>
                      <a:pt x="3850" y="16696"/>
                    </a:cubicBezTo>
                    <a:cubicBezTo>
                      <a:pt x="-276" y="13705"/>
                      <a:pt x="-1233" y="7964"/>
                      <a:pt x="1697" y="3837"/>
                    </a:cubicBezTo>
                    <a:cubicBezTo>
                      <a:pt x="4688" y="-290"/>
                      <a:pt x="10370" y="-1246"/>
                      <a:pt x="14496" y="1744"/>
                    </a:cubicBezTo>
                    <a:close/>
                  </a:path>
                </a:pathLst>
              </a:custGeom>
              <a:grpFill/>
              <a:ln w="5978" cap="flat">
                <a:noFill/>
                <a:prstDash val="solid"/>
                <a:miter/>
              </a:ln>
            </p:spPr>
            <p:txBody>
              <a:bodyPr rtlCol="0" anchor="ctr"/>
              <a:lstStyle/>
              <a:p>
                <a:endParaRPr lang="en-GB"/>
              </a:p>
            </p:txBody>
          </p:sp>
          <p:sp>
            <p:nvSpPr>
              <p:cNvPr id="4117" name="Vrije vorm: vorm 4116">
                <a:extLst>
                  <a:ext uri="{FF2B5EF4-FFF2-40B4-BE49-F238E27FC236}">
                    <a16:creationId xmlns:a16="http://schemas.microsoft.com/office/drawing/2014/main" id="{E9F784D1-9ED4-47B1-9140-3B7E26F876DA}"/>
                  </a:ext>
                </a:extLst>
              </p:cNvPr>
              <p:cNvSpPr/>
              <p:nvPr/>
            </p:nvSpPr>
            <p:spPr>
              <a:xfrm>
                <a:off x="7483614" y="4443707"/>
                <a:ext cx="18346" cy="18439"/>
              </a:xfrm>
              <a:custGeom>
                <a:avLst/>
                <a:gdLst>
                  <a:gd name="connsiteX0" fmla="*/ 14496 w 18346"/>
                  <a:gd name="connsiteY0" fmla="*/ 1744 h 18439"/>
                  <a:gd name="connsiteX1" fmla="*/ 1697 w 18346"/>
                  <a:gd name="connsiteY1" fmla="*/ 3837 h 18439"/>
                  <a:gd name="connsiteX2" fmla="*/ 3850 w 18346"/>
                  <a:gd name="connsiteY2" fmla="*/ 16696 h 18439"/>
                  <a:gd name="connsiteX3" fmla="*/ 16649 w 18346"/>
                  <a:gd name="connsiteY3" fmla="*/ 14602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0369" y="-1246"/>
                      <a:pt x="4628" y="-290"/>
                      <a:pt x="1697" y="3837"/>
                    </a:cubicBezTo>
                    <a:cubicBezTo>
                      <a:pt x="-1233" y="7964"/>
                      <a:pt x="-276" y="13705"/>
                      <a:pt x="3850" y="16696"/>
                    </a:cubicBezTo>
                    <a:cubicBezTo>
                      <a:pt x="7977" y="19686"/>
                      <a:pt x="13719" y="18729"/>
                      <a:pt x="16649" y="14602"/>
                    </a:cubicBezTo>
                    <a:cubicBezTo>
                      <a:pt x="19580" y="10416"/>
                      <a:pt x="18623" y="4674"/>
                      <a:pt x="14496" y="1744"/>
                    </a:cubicBezTo>
                    <a:close/>
                  </a:path>
                </a:pathLst>
              </a:custGeom>
              <a:grpFill/>
              <a:ln w="5978" cap="flat">
                <a:noFill/>
                <a:prstDash val="solid"/>
                <a:miter/>
              </a:ln>
            </p:spPr>
            <p:txBody>
              <a:bodyPr rtlCol="0" anchor="ctr"/>
              <a:lstStyle/>
              <a:p>
                <a:endParaRPr lang="en-GB"/>
              </a:p>
            </p:txBody>
          </p:sp>
        </p:grpSp>
        <p:grpSp>
          <p:nvGrpSpPr>
            <p:cNvPr id="424" name="Graphic 3">
              <a:extLst>
                <a:ext uri="{FF2B5EF4-FFF2-40B4-BE49-F238E27FC236}">
                  <a16:creationId xmlns:a16="http://schemas.microsoft.com/office/drawing/2014/main" id="{733F6C12-883A-4A10-8910-03F75BD6F438}"/>
                </a:ext>
              </a:extLst>
            </p:cNvPr>
            <p:cNvGrpSpPr/>
            <p:nvPr/>
          </p:nvGrpSpPr>
          <p:grpSpPr>
            <a:xfrm>
              <a:off x="6561567" y="1614035"/>
              <a:ext cx="69039" cy="179107"/>
              <a:chOff x="6561567" y="1614035"/>
              <a:chExt cx="69039" cy="179107"/>
            </a:xfrm>
            <a:grpFill/>
          </p:grpSpPr>
          <p:sp>
            <p:nvSpPr>
              <p:cNvPr id="4112" name="Vrije vorm: vorm 4111">
                <a:extLst>
                  <a:ext uri="{FF2B5EF4-FFF2-40B4-BE49-F238E27FC236}">
                    <a16:creationId xmlns:a16="http://schemas.microsoft.com/office/drawing/2014/main" id="{8A21573B-2726-4EF5-AEFD-146550CCAD38}"/>
                  </a:ext>
                </a:extLst>
              </p:cNvPr>
              <p:cNvSpPr/>
              <p:nvPr/>
            </p:nvSpPr>
            <p:spPr>
              <a:xfrm>
                <a:off x="6569125" y="1622371"/>
                <a:ext cx="53886" cy="162496"/>
              </a:xfrm>
              <a:custGeom>
                <a:avLst/>
                <a:gdLst>
                  <a:gd name="connsiteX0" fmla="*/ 53886 w 53886"/>
                  <a:gd name="connsiteY0" fmla="*/ 957 h 162496"/>
                  <a:gd name="connsiteX1" fmla="*/ 2930 w 53886"/>
                  <a:gd name="connsiteY1" fmla="*/ 162496 h 162496"/>
                  <a:gd name="connsiteX2" fmla="*/ 0 w 53886"/>
                  <a:gd name="connsiteY2" fmla="*/ 161539 h 162496"/>
                  <a:gd name="connsiteX3" fmla="*/ 51016 w 53886"/>
                  <a:gd name="connsiteY3" fmla="*/ 0 h 162496"/>
                </a:gdLst>
                <a:ahLst/>
                <a:cxnLst>
                  <a:cxn ang="0">
                    <a:pos x="connsiteX0" y="connsiteY0"/>
                  </a:cxn>
                  <a:cxn ang="0">
                    <a:pos x="connsiteX1" y="connsiteY1"/>
                  </a:cxn>
                  <a:cxn ang="0">
                    <a:pos x="connsiteX2" y="connsiteY2"/>
                  </a:cxn>
                  <a:cxn ang="0">
                    <a:pos x="connsiteX3" y="connsiteY3"/>
                  </a:cxn>
                </a:cxnLst>
                <a:rect l="l" t="t" r="r" b="b"/>
                <a:pathLst>
                  <a:path w="53886" h="162496">
                    <a:moveTo>
                      <a:pt x="53886" y="957"/>
                    </a:moveTo>
                    <a:lnTo>
                      <a:pt x="2930" y="162496"/>
                    </a:lnTo>
                    <a:lnTo>
                      <a:pt x="0" y="161539"/>
                    </a:lnTo>
                    <a:lnTo>
                      <a:pt x="51016" y="0"/>
                    </a:lnTo>
                    <a:close/>
                  </a:path>
                </a:pathLst>
              </a:custGeom>
              <a:grpFill/>
              <a:ln w="5978" cap="flat">
                <a:noFill/>
                <a:prstDash val="solid"/>
                <a:miter/>
              </a:ln>
            </p:spPr>
            <p:txBody>
              <a:bodyPr rtlCol="0" anchor="ctr"/>
              <a:lstStyle/>
              <a:p>
                <a:endParaRPr lang="en-GB"/>
              </a:p>
            </p:txBody>
          </p:sp>
          <p:sp>
            <p:nvSpPr>
              <p:cNvPr id="4113" name="Vrije vorm: vorm 4112">
                <a:extLst>
                  <a:ext uri="{FF2B5EF4-FFF2-40B4-BE49-F238E27FC236}">
                    <a16:creationId xmlns:a16="http://schemas.microsoft.com/office/drawing/2014/main" id="{68399E1B-CA3F-47D0-9318-78F8DCD98456}"/>
                  </a:ext>
                </a:extLst>
              </p:cNvPr>
              <p:cNvSpPr/>
              <p:nvPr/>
            </p:nvSpPr>
            <p:spPr>
              <a:xfrm>
                <a:off x="6612283" y="1614035"/>
                <a:ext cx="18323" cy="18465"/>
              </a:xfrm>
              <a:custGeom>
                <a:avLst/>
                <a:gdLst>
                  <a:gd name="connsiteX0" fmla="*/ 441 w 18323"/>
                  <a:gd name="connsiteY0" fmla="*/ 6422 h 18465"/>
                  <a:gd name="connsiteX1" fmla="*/ 11924 w 18323"/>
                  <a:gd name="connsiteY1" fmla="*/ 441 h 18465"/>
                  <a:gd name="connsiteX2" fmla="*/ 17905 w 18323"/>
                  <a:gd name="connsiteY2" fmla="*/ 12044 h 18465"/>
                  <a:gd name="connsiteX3" fmla="*/ 6421 w 18323"/>
                  <a:gd name="connsiteY3" fmla="*/ 18024 h 18465"/>
                  <a:gd name="connsiteX4" fmla="*/ 441 w 18323"/>
                  <a:gd name="connsiteY4" fmla="*/ 642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65">
                    <a:moveTo>
                      <a:pt x="441" y="6422"/>
                    </a:moveTo>
                    <a:cubicBezTo>
                      <a:pt x="1996" y="1577"/>
                      <a:pt x="7140" y="-1114"/>
                      <a:pt x="11924" y="441"/>
                    </a:cubicBezTo>
                    <a:cubicBezTo>
                      <a:pt x="16768" y="1996"/>
                      <a:pt x="19400" y="7199"/>
                      <a:pt x="17905" y="12044"/>
                    </a:cubicBezTo>
                    <a:cubicBezTo>
                      <a:pt x="16350" y="16888"/>
                      <a:pt x="11206" y="19579"/>
                      <a:pt x="6421" y="18024"/>
                    </a:cubicBezTo>
                    <a:cubicBezTo>
                      <a:pt x="1577" y="16469"/>
                      <a:pt x="-1114" y="11266"/>
                      <a:pt x="441" y="6422"/>
                    </a:cubicBezTo>
                    <a:close/>
                  </a:path>
                </a:pathLst>
              </a:custGeom>
              <a:grpFill/>
              <a:ln w="5978" cap="flat">
                <a:noFill/>
                <a:prstDash val="solid"/>
                <a:miter/>
              </a:ln>
            </p:spPr>
            <p:txBody>
              <a:bodyPr rtlCol="0" anchor="ctr"/>
              <a:lstStyle/>
              <a:p>
                <a:endParaRPr lang="en-GB"/>
              </a:p>
            </p:txBody>
          </p:sp>
          <p:sp>
            <p:nvSpPr>
              <p:cNvPr id="4114" name="Vrije vorm: vorm 4113">
                <a:extLst>
                  <a:ext uri="{FF2B5EF4-FFF2-40B4-BE49-F238E27FC236}">
                    <a16:creationId xmlns:a16="http://schemas.microsoft.com/office/drawing/2014/main" id="{3257E25F-8015-412A-8597-F22456ADB067}"/>
                  </a:ext>
                </a:extLst>
              </p:cNvPr>
              <p:cNvSpPr/>
              <p:nvPr/>
            </p:nvSpPr>
            <p:spPr>
              <a:xfrm>
                <a:off x="6561567" y="1774700"/>
                <a:ext cx="18345" cy="18442"/>
              </a:xfrm>
              <a:custGeom>
                <a:avLst/>
                <a:gdLst>
                  <a:gd name="connsiteX0" fmla="*/ 441 w 18345"/>
                  <a:gd name="connsiteY0" fmla="*/ 6399 h 18442"/>
                  <a:gd name="connsiteX1" fmla="*/ 6422 w 18345"/>
                  <a:gd name="connsiteY1" fmla="*/ 18002 h 18442"/>
                  <a:gd name="connsiteX2" fmla="*/ 17905 w 18345"/>
                  <a:gd name="connsiteY2" fmla="*/ 12021 h 18442"/>
                  <a:gd name="connsiteX3" fmla="*/ 11924 w 18345"/>
                  <a:gd name="connsiteY3" fmla="*/ 418 h 18442"/>
                  <a:gd name="connsiteX4" fmla="*/ 441 w 18345"/>
                  <a:gd name="connsiteY4" fmla="*/ 639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2">
                    <a:moveTo>
                      <a:pt x="441" y="6399"/>
                    </a:moveTo>
                    <a:cubicBezTo>
                      <a:pt x="-1114" y="11244"/>
                      <a:pt x="1577" y="16447"/>
                      <a:pt x="6422" y="18002"/>
                    </a:cubicBezTo>
                    <a:cubicBezTo>
                      <a:pt x="11266" y="19557"/>
                      <a:pt x="16409" y="16865"/>
                      <a:pt x="17905" y="12021"/>
                    </a:cubicBezTo>
                    <a:cubicBezTo>
                      <a:pt x="19460" y="7177"/>
                      <a:pt x="16768" y="1973"/>
                      <a:pt x="11924" y="418"/>
                    </a:cubicBezTo>
                    <a:cubicBezTo>
                      <a:pt x="7079" y="-1077"/>
                      <a:pt x="1936" y="1555"/>
                      <a:pt x="441" y="6399"/>
                    </a:cubicBezTo>
                    <a:close/>
                  </a:path>
                </a:pathLst>
              </a:custGeom>
              <a:grpFill/>
              <a:ln w="5978" cap="flat">
                <a:noFill/>
                <a:prstDash val="solid"/>
                <a:miter/>
              </a:ln>
            </p:spPr>
            <p:txBody>
              <a:bodyPr rtlCol="0" anchor="ctr"/>
              <a:lstStyle/>
              <a:p>
                <a:endParaRPr lang="en-GB"/>
              </a:p>
            </p:txBody>
          </p:sp>
        </p:grpSp>
        <p:grpSp>
          <p:nvGrpSpPr>
            <p:cNvPr id="425" name="Graphic 3">
              <a:extLst>
                <a:ext uri="{FF2B5EF4-FFF2-40B4-BE49-F238E27FC236}">
                  <a16:creationId xmlns:a16="http://schemas.microsoft.com/office/drawing/2014/main" id="{89EE94E1-460A-4F98-BAE6-82A1A2FB8723}"/>
                </a:ext>
              </a:extLst>
            </p:cNvPr>
            <p:cNvGrpSpPr/>
            <p:nvPr/>
          </p:nvGrpSpPr>
          <p:grpSpPr>
            <a:xfrm>
              <a:off x="7415866" y="4396169"/>
              <a:ext cx="231352" cy="214828"/>
              <a:chOff x="7415866" y="4396169"/>
              <a:chExt cx="231352" cy="214828"/>
            </a:xfrm>
            <a:grpFill/>
          </p:grpSpPr>
          <p:sp>
            <p:nvSpPr>
              <p:cNvPr id="4109" name="Vrije vorm: vorm 4108">
                <a:extLst>
                  <a:ext uri="{FF2B5EF4-FFF2-40B4-BE49-F238E27FC236}">
                    <a16:creationId xmlns:a16="http://schemas.microsoft.com/office/drawing/2014/main" id="{21190226-A6E7-42FF-B0A9-86AFAC01FA33}"/>
                  </a:ext>
                </a:extLst>
              </p:cNvPr>
              <p:cNvSpPr/>
              <p:nvPr/>
            </p:nvSpPr>
            <p:spPr>
              <a:xfrm>
                <a:off x="7423651" y="4404004"/>
                <a:ext cx="215784" cy="199218"/>
              </a:xfrm>
              <a:custGeom>
                <a:avLst/>
                <a:gdLst>
                  <a:gd name="connsiteX0" fmla="*/ 215784 w 215784"/>
                  <a:gd name="connsiteY0" fmla="*/ 196945 h 199218"/>
                  <a:gd name="connsiteX1" fmla="*/ 213751 w 215784"/>
                  <a:gd name="connsiteY1" fmla="*/ 199218 h 199218"/>
                  <a:gd name="connsiteX2" fmla="*/ 0 w 215784"/>
                  <a:gd name="connsiteY2" fmla="*/ 2273 h 199218"/>
                  <a:gd name="connsiteX3" fmla="*/ 2093 w 215784"/>
                  <a:gd name="connsiteY3" fmla="*/ 0 h 199218"/>
                </a:gdLst>
                <a:ahLst/>
                <a:cxnLst>
                  <a:cxn ang="0">
                    <a:pos x="connsiteX0" y="connsiteY0"/>
                  </a:cxn>
                  <a:cxn ang="0">
                    <a:pos x="connsiteX1" y="connsiteY1"/>
                  </a:cxn>
                  <a:cxn ang="0">
                    <a:pos x="connsiteX2" y="connsiteY2"/>
                  </a:cxn>
                  <a:cxn ang="0">
                    <a:pos x="connsiteX3" y="connsiteY3"/>
                  </a:cxn>
                </a:cxnLst>
                <a:rect l="l" t="t" r="r" b="b"/>
                <a:pathLst>
                  <a:path w="215784" h="199218">
                    <a:moveTo>
                      <a:pt x="215784" y="196945"/>
                    </a:moveTo>
                    <a:lnTo>
                      <a:pt x="213751" y="199218"/>
                    </a:lnTo>
                    <a:lnTo>
                      <a:pt x="0" y="2273"/>
                    </a:lnTo>
                    <a:lnTo>
                      <a:pt x="2093" y="0"/>
                    </a:lnTo>
                    <a:close/>
                  </a:path>
                </a:pathLst>
              </a:custGeom>
              <a:grpFill/>
              <a:ln w="5978" cap="flat">
                <a:noFill/>
                <a:prstDash val="solid"/>
                <a:miter/>
              </a:ln>
            </p:spPr>
            <p:txBody>
              <a:bodyPr rtlCol="0" anchor="ctr"/>
              <a:lstStyle/>
              <a:p>
                <a:endParaRPr lang="en-GB"/>
              </a:p>
            </p:txBody>
          </p:sp>
          <p:sp>
            <p:nvSpPr>
              <p:cNvPr id="4110" name="Vrije vorm: vorm 4109">
                <a:extLst>
                  <a:ext uri="{FF2B5EF4-FFF2-40B4-BE49-F238E27FC236}">
                    <a16:creationId xmlns:a16="http://schemas.microsoft.com/office/drawing/2014/main" id="{22F2DA63-9F29-4FCB-A489-30E48CC5A411}"/>
                  </a:ext>
                </a:extLst>
              </p:cNvPr>
              <p:cNvSpPr/>
              <p:nvPr/>
            </p:nvSpPr>
            <p:spPr>
              <a:xfrm>
                <a:off x="7415866" y="4396169"/>
                <a:ext cx="18298" cy="18481"/>
              </a:xfrm>
              <a:custGeom>
                <a:avLst/>
                <a:gdLst>
                  <a:gd name="connsiteX0" fmla="*/ 3000 w 18298"/>
                  <a:gd name="connsiteY0" fmla="*/ 16029 h 18481"/>
                  <a:gd name="connsiteX1" fmla="*/ 2402 w 18298"/>
                  <a:gd name="connsiteY1" fmla="*/ 2991 h 18481"/>
                  <a:gd name="connsiteX2" fmla="*/ 15320 w 18298"/>
                  <a:gd name="connsiteY2" fmla="*/ 2452 h 18481"/>
                  <a:gd name="connsiteX3" fmla="*/ 15918 w 18298"/>
                  <a:gd name="connsiteY3" fmla="*/ 15490 h 18481"/>
                  <a:gd name="connsiteX4" fmla="*/ 3000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3000" y="16029"/>
                    </a:moveTo>
                    <a:cubicBezTo>
                      <a:pt x="-768" y="12560"/>
                      <a:pt x="-1008" y="6758"/>
                      <a:pt x="2402" y="2991"/>
                    </a:cubicBezTo>
                    <a:cubicBezTo>
                      <a:pt x="5810" y="-777"/>
                      <a:pt x="11611" y="-1016"/>
                      <a:pt x="15320" y="2452"/>
                    </a:cubicBezTo>
                    <a:cubicBezTo>
                      <a:pt x="19028" y="5921"/>
                      <a:pt x="19327" y="11723"/>
                      <a:pt x="15918" y="15490"/>
                    </a:cubicBezTo>
                    <a:cubicBezTo>
                      <a:pt x="12509" y="19258"/>
                      <a:pt x="6708" y="19497"/>
                      <a:pt x="3000" y="16029"/>
                    </a:cubicBezTo>
                    <a:close/>
                  </a:path>
                </a:pathLst>
              </a:custGeom>
              <a:grpFill/>
              <a:ln w="5978" cap="flat">
                <a:noFill/>
                <a:prstDash val="solid"/>
                <a:miter/>
              </a:ln>
            </p:spPr>
            <p:txBody>
              <a:bodyPr rtlCol="0" anchor="ctr"/>
              <a:lstStyle/>
              <a:p>
                <a:endParaRPr lang="en-GB"/>
              </a:p>
            </p:txBody>
          </p:sp>
          <p:sp>
            <p:nvSpPr>
              <p:cNvPr id="4111" name="Vrije vorm: vorm 4110">
                <a:extLst>
                  <a:ext uri="{FF2B5EF4-FFF2-40B4-BE49-F238E27FC236}">
                    <a16:creationId xmlns:a16="http://schemas.microsoft.com/office/drawing/2014/main" id="{9E6C9D2F-AA20-4FCF-9AF9-A4616749F7DC}"/>
                  </a:ext>
                </a:extLst>
              </p:cNvPr>
              <p:cNvSpPr/>
              <p:nvPr/>
            </p:nvSpPr>
            <p:spPr>
              <a:xfrm>
                <a:off x="7628921" y="4592516"/>
                <a:ext cx="18298" cy="18481"/>
              </a:xfrm>
              <a:custGeom>
                <a:avLst/>
                <a:gdLst>
                  <a:gd name="connsiteX0" fmla="*/ 2979 w 18298"/>
                  <a:gd name="connsiteY0" fmla="*/ 16029 h 18481"/>
                  <a:gd name="connsiteX1" fmla="*/ 15897 w 18298"/>
                  <a:gd name="connsiteY1" fmla="*/ 15491 h 18481"/>
                  <a:gd name="connsiteX2" fmla="*/ 15299 w 18298"/>
                  <a:gd name="connsiteY2" fmla="*/ 2453 h 18481"/>
                  <a:gd name="connsiteX3" fmla="*/ 2381 w 18298"/>
                  <a:gd name="connsiteY3" fmla="*/ 2991 h 18481"/>
                  <a:gd name="connsiteX4" fmla="*/ 2979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2979" y="16029"/>
                    </a:moveTo>
                    <a:cubicBezTo>
                      <a:pt x="6746" y="19498"/>
                      <a:pt x="12488" y="19258"/>
                      <a:pt x="15897" y="15491"/>
                    </a:cubicBezTo>
                    <a:cubicBezTo>
                      <a:pt x="19306" y="11723"/>
                      <a:pt x="19066" y="5921"/>
                      <a:pt x="15299" y="2453"/>
                    </a:cubicBezTo>
                    <a:cubicBezTo>
                      <a:pt x="11590" y="-1016"/>
                      <a:pt x="5789" y="-777"/>
                      <a:pt x="2381" y="2991"/>
                    </a:cubicBezTo>
                    <a:cubicBezTo>
                      <a:pt x="-1029" y="6759"/>
                      <a:pt x="-729" y="12620"/>
                      <a:pt x="2979" y="16029"/>
                    </a:cubicBezTo>
                    <a:close/>
                  </a:path>
                </a:pathLst>
              </a:custGeom>
              <a:grpFill/>
              <a:ln w="5978" cap="flat">
                <a:noFill/>
                <a:prstDash val="solid"/>
                <a:miter/>
              </a:ln>
            </p:spPr>
            <p:txBody>
              <a:bodyPr rtlCol="0" anchor="ctr"/>
              <a:lstStyle/>
              <a:p>
                <a:endParaRPr lang="en-GB"/>
              </a:p>
            </p:txBody>
          </p:sp>
        </p:grpSp>
        <p:grpSp>
          <p:nvGrpSpPr>
            <p:cNvPr id="426" name="Graphic 3">
              <a:extLst>
                <a:ext uri="{FF2B5EF4-FFF2-40B4-BE49-F238E27FC236}">
                  <a16:creationId xmlns:a16="http://schemas.microsoft.com/office/drawing/2014/main" id="{4E36BE90-F73D-4C8A-880D-D0BAE161854A}"/>
                </a:ext>
              </a:extLst>
            </p:cNvPr>
            <p:cNvGrpSpPr/>
            <p:nvPr/>
          </p:nvGrpSpPr>
          <p:grpSpPr>
            <a:xfrm>
              <a:off x="6568146" y="1636224"/>
              <a:ext cx="19361" cy="22133"/>
              <a:chOff x="6568146" y="1636224"/>
              <a:chExt cx="19361" cy="22133"/>
            </a:xfrm>
            <a:grpFill/>
          </p:grpSpPr>
          <p:sp>
            <p:nvSpPr>
              <p:cNvPr id="4107" name="Vrije vorm: vorm 4106">
                <a:extLst>
                  <a:ext uri="{FF2B5EF4-FFF2-40B4-BE49-F238E27FC236}">
                    <a16:creationId xmlns:a16="http://schemas.microsoft.com/office/drawing/2014/main" id="{64C72417-E352-48A8-81DB-D48FA4CB53D2}"/>
                  </a:ext>
                </a:extLst>
              </p:cNvPr>
              <p:cNvSpPr/>
              <p:nvPr/>
            </p:nvSpPr>
            <p:spPr>
              <a:xfrm>
                <a:off x="6568146" y="1639911"/>
                <a:ext cx="18284" cy="18447"/>
              </a:xfrm>
              <a:custGeom>
                <a:avLst/>
                <a:gdLst>
                  <a:gd name="connsiteX0" fmla="*/ 381 w 18284"/>
                  <a:gd name="connsiteY0" fmla="*/ 6562 h 18447"/>
                  <a:gd name="connsiteX1" fmla="*/ 11744 w 18284"/>
                  <a:gd name="connsiteY1" fmla="*/ 402 h 18447"/>
                  <a:gd name="connsiteX2" fmla="*/ 17904 w 18284"/>
                  <a:gd name="connsiteY2" fmla="*/ 11885 h 18447"/>
                  <a:gd name="connsiteX3" fmla="*/ 6481 w 18284"/>
                  <a:gd name="connsiteY3" fmla="*/ 18045 h 18447"/>
                  <a:gd name="connsiteX4" fmla="*/ 381 w 1828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7">
                    <a:moveTo>
                      <a:pt x="381" y="6562"/>
                    </a:moveTo>
                    <a:cubicBezTo>
                      <a:pt x="1816" y="1718"/>
                      <a:pt x="6900" y="-1093"/>
                      <a:pt x="11744" y="402"/>
                    </a:cubicBezTo>
                    <a:cubicBezTo>
                      <a:pt x="16588" y="1897"/>
                      <a:pt x="19340" y="6981"/>
                      <a:pt x="17904" y="11885"/>
                    </a:cubicBezTo>
                    <a:cubicBezTo>
                      <a:pt x="16469" y="16730"/>
                      <a:pt x="11385" y="19541"/>
                      <a:pt x="6481" y="18045"/>
                    </a:cubicBezTo>
                    <a:cubicBezTo>
                      <a:pt x="1696" y="16550"/>
                      <a:pt x="-1055" y="11467"/>
                      <a:pt x="381" y="6562"/>
                    </a:cubicBezTo>
                    <a:close/>
                  </a:path>
                </a:pathLst>
              </a:custGeom>
              <a:grpFill/>
              <a:ln w="5978" cap="flat">
                <a:noFill/>
                <a:prstDash val="solid"/>
                <a:miter/>
              </a:ln>
            </p:spPr>
            <p:txBody>
              <a:bodyPr rtlCol="0" anchor="ctr"/>
              <a:lstStyle/>
              <a:p>
                <a:endParaRPr lang="en-GB"/>
              </a:p>
            </p:txBody>
          </p:sp>
          <p:sp>
            <p:nvSpPr>
              <p:cNvPr id="4108" name="Vrije vorm: vorm 4107">
                <a:extLst>
                  <a:ext uri="{FF2B5EF4-FFF2-40B4-BE49-F238E27FC236}">
                    <a16:creationId xmlns:a16="http://schemas.microsoft.com/office/drawing/2014/main" id="{A3F3933F-469B-4843-87CD-7D8201BB4832}"/>
                  </a:ext>
                </a:extLst>
              </p:cNvPr>
              <p:cNvSpPr/>
              <p:nvPr/>
            </p:nvSpPr>
            <p:spPr>
              <a:xfrm>
                <a:off x="6569223" y="1636224"/>
                <a:ext cx="18284" cy="18425"/>
              </a:xfrm>
              <a:custGeom>
                <a:avLst/>
                <a:gdLst>
                  <a:gd name="connsiteX0" fmla="*/ 380 w 18284"/>
                  <a:gd name="connsiteY0" fmla="*/ 6541 h 18425"/>
                  <a:gd name="connsiteX1" fmla="*/ 6540 w 18284"/>
                  <a:gd name="connsiteY1" fmla="*/ 18024 h 18425"/>
                  <a:gd name="connsiteX2" fmla="*/ 17904 w 18284"/>
                  <a:gd name="connsiteY2" fmla="*/ 11863 h 18425"/>
                  <a:gd name="connsiteX3" fmla="*/ 11744 w 18284"/>
                  <a:gd name="connsiteY3" fmla="*/ 380 h 18425"/>
                  <a:gd name="connsiteX4" fmla="*/ 380 w 18284"/>
                  <a:gd name="connsiteY4" fmla="*/ 6541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25">
                    <a:moveTo>
                      <a:pt x="380" y="6541"/>
                    </a:moveTo>
                    <a:cubicBezTo>
                      <a:pt x="-1055" y="11385"/>
                      <a:pt x="1696" y="16528"/>
                      <a:pt x="6540" y="18024"/>
                    </a:cubicBezTo>
                    <a:cubicBezTo>
                      <a:pt x="11385" y="19519"/>
                      <a:pt x="16469" y="16708"/>
                      <a:pt x="17904" y="11863"/>
                    </a:cubicBezTo>
                    <a:cubicBezTo>
                      <a:pt x="19339" y="7019"/>
                      <a:pt x="16588" y="1876"/>
                      <a:pt x="11744" y="380"/>
                    </a:cubicBezTo>
                    <a:cubicBezTo>
                      <a:pt x="6959" y="-1055"/>
                      <a:pt x="1816" y="1696"/>
                      <a:pt x="380" y="6541"/>
                    </a:cubicBezTo>
                    <a:close/>
                  </a:path>
                </a:pathLst>
              </a:custGeom>
              <a:grpFill/>
              <a:ln w="5978" cap="flat">
                <a:noFill/>
                <a:prstDash val="solid"/>
                <a:miter/>
              </a:ln>
            </p:spPr>
            <p:txBody>
              <a:bodyPr rtlCol="0" anchor="ctr"/>
              <a:lstStyle/>
              <a:p>
                <a:endParaRPr lang="en-GB"/>
              </a:p>
            </p:txBody>
          </p:sp>
        </p:grpSp>
        <p:grpSp>
          <p:nvGrpSpPr>
            <p:cNvPr id="427" name="Graphic 3">
              <a:extLst>
                <a:ext uri="{FF2B5EF4-FFF2-40B4-BE49-F238E27FC236}">
                  <a16:creationId xmlns:a16="http://schemas.microsoft.com/office/drawing/2014/main" id="{BF4FC8C9-C216-4C0C-B18B-0FE7829B8C82}"/>
                </a:ext>
              </a:extLst>
            </p:cNvPr>
            <p:cNvGrpSpPr/>
            <p:nvPr/>
          </p:nvGrpSpPr>
          <p:grpSpPr>
            <a:xfrm>
              <a:off x="7427734" y="4366530"/>
              <a:ext cx="179890" cy="170220"/>
              <a:chOff x="7427734" y="4366530"/>
              <a:chExt cx="179890" cy="170220"/>
            </a:xfrm>
            <a:grpFill/>
          </p:grpSpPr>
          <p:sp>
            <p:nvSpPr>
              <p:cNvPr id="4104" name="Vrije vorm: vorm 4103">
                <a:extLst>
                  <a:ext uri="{FF2B5EF4-FFF2-40B4-BE49-F238E27FC236}">
                    <a16:creationId xmlns:a16="http://schemas.microsoft.com/office/drawing/2014/main" id="{E2A5D180-72AB-409F-8F32-CD960B8A9B9A}"/>
                  </a:ext>
                </a:extLst>
              </p:cNvPr>
              <p:cNvSpPr/>
              <p:nvPr/>
            </p:nvSpPr>
            <p:spPr>
              <a:xfrm>
                <a:off x="7435493" y="4374280"/>
                <a:ext cx="164290" cy="154721"/>
              </a:xfrm>
              <a:custGeom>
                <a:avLst/>
                <a:gdLst>
                  <a:gd name="connsiteX0" fmla="*/ 164290 w 164290"/>
                  <a:gd name="connsiteY0" fmla="*/ 152508 h 154721"/>
                  <a:gd name="connsiteX1" fmla="*/ 162257 w 164290"/>
                  <a:gd name="connsiteY1" fmla="*/ 154721 h 154721"/>
                  <a:gd name="connsiteX2" fmla="*/ 0 w 164290"/>
                  <a:gd name="connsiteY2" fmla="*/ 2273 h 154721"/>
                  <a:gd name="connsiteX3" fmla="*/ 2093 w 164290"/>
                  <a:gd name="connsiteY3" fmla="*/ 0 h 154721"/>
                </a:gdLst>
                <a:ahLst/>
                <a:cxnLst>
                  <a:cxn ang="0">
                    <a:pos x="connsiteX0" y="connsiteY0"/>
                  </a:cxn>
                  <a:cxn ang="0">
                    <a:pos x="connsiteX1" y="connsiteY1"/>
                  </a:cxn>
                  <a:cxn ang="0">
                    <a:pos x="connsiteX2" y="connsiteY2"/>
                  </a:cxn>
                  <a:cxn ang="0">
                    <a:pos x="connsiteX3" y="connsiteY3"/>
                  </a:cxn>
                </a:cxnLst>
                <a:rect l="l" t="t" r="r" b="b"/>
                <a:pathLst>
                  <a:path w="164290" h="154721">
                    <a:moveTo>
                      <a:pt x="164290" y="152508"/>
                    </a:moveTo>
                    <a:lnTo>
                      <a:pt x="162257" y="154721"/>
                    </a:lnTo>
                    <a:lnTo>
                      <a:pt x="0" y="2273"/>
                    </a:lnTo>
                    <a:lnTo>
                      <a:pt x="2093" y="0"/>
                    </a:lnTo>
                    <a:close/>
                  </a:path>
                </a:pathLst>
              </a:custGeom>
              <a:grpFill/>
              <a:ln w="5978" cap="flat">
                <a:noFill/>
                <a:prstDash val="solid"/>
                <a:miter/>
              </a:ln>
            </p:spPr>
            <p:txBody>
              <a:bodyPr rtlCol="0" anchor="ctr"/>
              <a:lstStyle/>
              <a:p>
                <a:endParaRPr lang="en-GB"/>
              </a:p>
            </p:txBody>
          </p:sp>
          <p:sp>
            <p:nvSpPr>
              <p:cNvPr id="4105" name="Vrije vorm: vorm 4104">
                <a:extLst>
                  <a:ext uri="{FF2B5EF4-FFF2-40B4-BE49-F238E27FC236}">
                    <a16:creationId xmlns:a16="http://schemas.microsoft.com/office/drawing/2014/main" id="{3FC8B5E7-3C21-44BA-B097-C412951ED324}"/>
                  </a:ext>
                </a:extLst>
              </p:cNvPr>
              <p:cNvSpPr/>
              <p:nvPr/>
            </p:nvSpPr>
            <p:spPr>
              <a:xfrm>
                <a:off x="7427734" y="4366530"/>
                <a:ext cx="18327" cy="18429"/>
              </a:xfrm>
              <a:custGeom>
                <a:avLst/>
                <a:gdLst>
                  <a:gd name="connsiteX0" fmla="*/ 2914 w 18327"/>
                  <a:gd name="connsiteY0" fmla="*/ 15943 h 18429"/>
                  <a:gd name="connsiteX1" fmla="*/ 2436 w 18327"/>
                  <a:gd name="connsiteY1" fmla="*/ 2905 h 18429"/>
                  <a:gd name="connsiteX2" fmla="*/ 15413 w 18327"/>
                  <a:gd name="connsiteY2" fmla="*/ 2487 h 18429"/>
                  <a:gd name="connsiteX3" fmla="*/ 15892 w 18327"/>
                  <a:gd name="connsiteY3" fmla="*/ 15525 h 18429"/>
                  <a:gd name="connsiteX4" fmla="*/ 2914 w 18327"/>
                  <a:gd name="connsiteY4" fmla="*/ 1594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2914" y="15943"/>
                    </a:moveTo>
                    <a:cubicBezTo>
                      <a:pt x="-794" y="12474"/>
                      <a:pt x="-974" y="6613"/>
                      <a:pt x="2436" y="2905"/>
                    </a:cubicBezTo>
                    <a:cubicBezTo>
                      <a:pt x="5904" y="-803"/>
                      <a:pt x="11705" y="-982"/>
                      <a:pt x="15413" y="2487"/>
                    </a:cubicBezTo>
                    <a:cubicBezTo>
                      <a:pt x="19121" y="5956"/>
                      <a:pt x="19301" y="11817"/>
                      <a:pt x="15892" y="15525"/>
                    </a:cubicBezTo>
                    <a:cubicBezTo>
                      <a:pt x="12364" y="19233"/>
                      <a:pt x="6562" y="19412"/>
                      <a:pt x="2914" y="15943"/>
                    </a:cubicBezTo>
                    <a:close/>
                  </a:path>
                </a:pathLst>
              </a:custGeom>
              <a:grpFill/>
              <a:ln w="5978" cap="flat">
                <a:noFill/>
                <a:prstDash val="solid"/>
                <a:miter/>
              </a:ln>
            </p:spPr>
            <p:txBody>
              <a:bodyPr rtlCol="0" anchor="ctr"/>
              <a:lstStyle/>
              <a:p>
                <a:endParaRPr lang="en-GB"/>
              </a:p>
            </p:txBody>
          </p:sp>
          <p:sp>
            <p:nvSpPr>
              <p:cNvPr id="4106" name="Vrije vorm: vorm 4105">
                <a:extLst>
                  <a:ext uri="{FF2B5EF4-FFF2-40B4-BE49-F238E27FC236}">
                    <a16:creationId xmlns:a16="http://schemas.microsoft.com/office/drawing/2014/main" id="{7FDC83B9-9697-488C-96CC-38CF31D161C5}"/>
                  </a:ext>
                </a:extLst>
              </p:cNvPr>
              <p:cNvSpPr/>
              <p:nvPr/>
            </p:nvSpPr>
            <p:spPr>
              <a:xfrm>
                <a:off x="7589273" y="4518321"/>
                <a:ext cx="18350" cy="18429"/>
              </a:xfrm>
              <a:custGeom>
                <a:avLst/>
                <a:gdLst>
                  <a:gd name="connsiteX0" fmla="*/ 2914 w 18350"/>
                  <a:gd name="connsiteY0" fmla="*/ 15943 h 18429"/>
                  <a:gd name="connsiteX1" fmla="*/ 15892 w 18350"/>
                  <a:gd name="connsiteY1" fmla="*/ 15525 h 18429"/>
                  <a:gd name="connsiteX2" fmla="*/ 15413 w 18350"/>
                  <a:gd name="connsiteY2" fmla="*/ 2487 h 18429"/>
                  <a:gd name="connsiteX3" fmla="*/ 2436 w 18350"/>
                  <a:gd name="connsiteY3" fmla="*/ 2905 h 18429"/>
                  <a:gd name="connsiteX4" fmla="*/ 2914 w 18350"/>
                  <a:gd name="connsiteY4" fmla="*/ 1594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29">
                    <a:moveTo>
                      <a:pt x="2914" y="15943"/>
                    </a:moveTo>
                    <a:cubicBezTo>
                      <a:pt x="6622" y="19412"/>
                      <a:pt x="12423" y="19233"/>
                      <a:pt x="15892" y="15525"/>
                    </a:cubicBezTo>
                    <a:cubicBezTo>
                      <a:pt x="19361" y="11817"/>
                      <a:pt x="19121" y="5956"/>
                      <a:pt x="15413" y="2487"/>
                    </a:cubicBezTo>
                    <a:cubicBezTo>
                      <a:pt x="11705" y="-982"/>
                      <a:pt x="5904" y="-803"/>
                      <a:pt x="2436" y="2905"/>
                    </a:cubicBezTo>
                    <a:cubicBezTo>
                      <a:pt x="-974" y="6673"/>
                      <a:pt x="-794" y="12474"/>
                      <a:pt x="2914" y="15943"/>
                    </a:cubicBezTo>
                    <a:close/>
                  </a:path>
                </a:pathLst>
              </a:custGeom>
              <a:grpFill/>
              <a:ln w="5978" cap="flat">
                <a:noFill/>
                <a:prstDash val="solid"/>
                <a:miter/>
              </a:ln>
            </p:spPr>
            <p:txBody>
              <a:bodyPr rtlCol="0" anchor="ctr"/>
              <a:lstStyle/>
              <a:p>
                <a:endParaRPr lang="en-GB"/>
              </a:p>
            </p:txBody>
          </p:sp>
        </p:grpSp>
        <p:grpSp>
          <p:nvGrpSpPr>
            <p:cNvPr id="428" name="Graphic 3">
              <a:extLst>
                <a:ext uri="{FF2B5EF4-FFF2-40B4-BE49-F238E27FC236}">
                  <a16:creationId xmlns:a16="http://schemas.microsoft.com/office/drawing/2014/main" id="{CF8F7967-06C4-4CB7-A4C5-6E0DA6C53D6C}"/>
                </a:ext>
              </a:extLst>
            </p:cNvPr>
            <p:cNvGrpSpPr/>
            <p:nvPr/>
          </p:nvGrpSpPr>
          <p:grpSpPr>
            <a:xfrm>
              <a:off x="7558345" y="4777458"/>
              <a:ext cx="181975" cy="166706"/>
              <a:chOff x="7558345" y="4777458"/>
              <a:chExt cx="181975" cy="166706"/>
            </a:xfrm>
            <a:grpFill/>
          </p:grpSpPr>
          <p:sp>
            <p:nvSpPr>
              <p:cNvPr id="4101" name="Vrije vorm: vorm 4100">
                <a:extLst>
                  <a:ext uri="{FF2B5EF4-FFF2-40B4-BE49-F238E27FC236}">
                    <a16:creationId xmlns:a16="http://schemas.microsoft.com/office/drawing/2014/main" id="{B68DD1D3-C0B8-4761-A8C8-8AD5AC2118EF}"/>
                  </a:ext>
                </a:extLst>
              </p:cNvPr>
              <p:cNvSpPr/>
              <p:nvPr/>
            </p:nvSpPr>
            <p:spPr>
              <a:xfrm>
                <a:off x="7566111" y="4785275"/>
                <a:ext cx="166383" cy="151073"/>
              </a:xfrm>
              <a:custGeom>
                <a:avLst/>
                <a:gdLst>
                  <a:gd name="connsiteX0" fmla="*/ 166383 w 166383"/>
                  <a:gd name="connsiteY0" fmla="*/ 148800 h 151073"/>
                  <a:gd name="connsiteX1" fmla="*/ 164350 w 166383"/>
                  <a:gd name="connsiteY1" fmla="*/ 151073 h 151073"/>
                  <a:gd name="connsiteX2" fmla="*/ 0 w 166383"/>
                  <a:gd name="connsiteY2" fmla="*/ 2273 h 151073"/>
                  <a:gd name="connsiteX3" fmla="*/ 2033 w 166383"/>
                  <a:gd name="connsiteY3" fmla="*/ 0 h 151073"/>
                </a:gdLst>
                <a:ahLst/>
                <a:cxnLst>
                  <a:cxn ang="0">
                    <a:pos x="connsiteX0" y="connsiteY0"/>
                  </a:cxn>
                  <a:cxn ang="0">
                    <a:pos x="connsiteX1" y="connsiteY1"/>
                  </a:cxn>
                  <a:cxn ang="0">
                    <a:pos x="connsiteX2" y="connsiteY2"/>
                  </a:cxn>
                  <a:cxn ang="0">
                    <a:pos x="connsiteX3" y="connsiteY3"/>
                  </a:cxn>
                </a:cxnLst>
                <a:rect l="l" t="t" r="r" b="b"/>
                <a:pathLst>
                  <a:path w="166383" h="151073">
                    <a:moveTo>
                      <a:pt x="166383" y="148800"/>
                    </a:moveTo>
                    <a:lnTo>
                      <a:pt x="164350" y="151073"/>
                    </a:lnTo>
                    <a:lnTo>
                      <a:pt x="0" y="2273"/>
                    </a:lnTo>
                    <a:lnTo>
                      <a:pt x="2033" y="0"/>
                    </a:lnTo>
                    <a:close/>
                  </a:path>
                </a:pathLst>
              </a:custGeom>
              <a:grpFill/>
              <a:ln w="5978" cap="flat">
                <a:noFill/>
                <a:prstDash val="solid"/>
                <a:miter/>
              </a:ln>
            </p:spPr>
            <p:txBody>
              <a:bodyPr rtlCol="0" anchor="ctr"/>
              <a:lstStyle/>
              <a:p>
                <a:endParaRPr lang="en-GB"/>
              </a:p>
            </p:txBody>
          </p:sp>
          <p:sp>
            <p:nvSpPr>
              <p:cNvPr id="4102" name="Vrije vorm: vorm 4101">
                <a:extLst>
                  <a:ext uri="{FF2B5EF4-FFF2-40B4-BE49-F238E27FC236}">
                    <a16:creationId xmlns:a16="http://schemas.microsoft.com/office/drawing/2014/main" id="{2AB36013-D622-489E-8562-3688EB77FFA2}"/>
                  </a:ext>
                </a:extLst>
              </p:cNvPr>
              <p:cNvSpPr/>
              <p:nvPr/>
            </p:nvSpPr>
            <p:spPr>
              <a:xfrm>
                <a:off x="7722037" y="4925720"/>
                <a:ext cx="18283" cy="18444"/>
              </a:xfrm>
              <a:custGeom>
                <a:avLst/>
                <a:gdLst>
                  <a:gd name="connsiteX0" fmla="*/ 15242 w 18283"/>
                  <a:gd name="connsiteY0" fmla="*/ 2374 h 18444"/>
                  <a:gd name="connsiteX1" fmla="*/ 15960 w 18283"/>
                  <a:gd name="connsiteY1" fmla="*/ 15412 h 18444"/>
                  <a:gd name="connsiteX2" fmla="*/ 3041 w 18283"/>
                  <a:gd name="connsiteY2" fmla="*/ 16070 h 18444"/>
                  <a:gd name="connsiteX3" fmla="*/ 2324 w 18283"/>
                  <a:gd name="connsiteY3" fmla="*/ 303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9010" y="5783"/>
                      <a:pt x="19309" y="11585"/>
                      <a:pt x="15960" y="15412"/>
                    </a:cubicBezTo>
                    <a:cubicBezTo>
                      <a:pt x="12551" y="19180"/>
                      <a:pt x="6809" y="19479"/>
                      <a:pt x="3041" y="16070"/>
                    </a:cubicBezTo>
                    <a:cubicBezTo>
                      <a:pt x="-727" y="12661"/>
                      <a:pt x="-1025" y="6860"/>
                      <a:pt x="2324" y="3032"/>
                    </a:cubicBezTo>
                    <a:cubicBezTo>
                      <a:pt x="5673" y="-736"/>
                      <a:pt x="11474" y="-1035"/>
                      <a:pt x="15242" y="2374"/>
                    </a:cubicBezTo>
                    <a:close/>
                  </a:path>
                </a:pathLst>
              </a:custGeom>
              <a:grpFill/>
              <a:ln w="5978" cap="flat">
                <a:noFill/>
                <a:prstDash val="solid"/>
                <a:miter/>
              </a:ln>
            </p:spPr>
            <p:txBody>
              <a:bodyPr rtlCol="0" anchor="ctr"/>
              <a:lstStyle/>
              <a:p>
                <a:endParaRPr lang="en-GB"/>
              </a:p>
            </p:txBody>
          </p:sp>
          <p:sp>
            <p:nvSpPr>
              <p:cNvPr id="4103" name="Vrije vorm: vorm 4102">
                <a:extLst>
                  <a:ext uri="{FF2B5EF4-FFF2-40B4-BE49-F238E27FC236}">
                    <a16:creationId xmlns:a16="http://schemas.microsoft.com/office/drawing/2014/main" id="{680AE8E6-A744-461E-989A-8D884AB0653A}"/>
                  </a:ext>
                </a:extLst>
              </p:cNvPr>
              <p:cNvSpPr/>
              <p:nvPr/>
            </p:nvSpPr>
            <p:spPr>
              <a:xfrm>
                <a:off x="7558345" y="4777458"/>
                <a:ext cx="18283" cy="18444"/>
              </a:xfrm>
              <a:custGeom>
                <a:avLst/>
                <a:gdLst>
                  <a:gd name="connsiteX0" fmla="*/ 15242 w 18283"/>
                  <a:gd name="connsiteY0" fmla="*/ 2374 h 18444"/>
                  <a:gd name="connsiteX1" fmla="*/ 2324 w 18283"/>
                  <a:gd name="connsiteY1" fmla="*/ 3032 h 18444"/>
                  <a:gd name="connsiteX2" fmla="*/ 3041 w 18283"/>
                  <a:gd name="connsiteY2" fmla="*/ 16070 h 18444"/>
                  <a:gd name="connsiteX3" fmla="*/ 15960 w 18283"/>
                  <a:gd name="connsiteY3" fmla="*/ 1541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1474" y="-1035"/>
                      <a:pt x="5673" y="-736"/>
                      <a:pt x="2324" y="3032"/>
                    </a:cubicBezTo>
                    <a:cubicBezTo>
                      <a:pt x="-1025" y="6800"/>
                      <a:pt x="-727" y="12661"/>
                      <a:pt x="3041" y="16070"/>
                    </a:cubicBezTo>
                    <a:cubicBezTo>
                      <a:pt x="6809" y="19479"/>
                      <a:pt x="12610" y="19180"/>
                      <a:pt x="15960" y="15412"/>
                    </a:cubicBezTo>
                    <a:cubicBezTo>
                      <a:pt x="19309" y="11644"/>
                      <a:pt x="19010" y="5783"/>
                      <a:pt x="15242" y="2374"/>
                    </a:cubicBezTo>
                    <a:close/>
                  </a:path>
                </a:pathLst>
              </a:custGeom>
              <a:grpFill/>
              <a:ln w="5978" cap="flat">
                <a:noFill/>
                <a:prstDash val="solid"/>
                <a:miter/>
              </a:ln>
            </p:spPr>
            <p:txBody>
              <a:bodyPr rtlCol="0" anchor="ctr"/>
              <a:lstStyle/>
              <a:p>
                <a:endParaRPr lang="en-GB"/>
              </a:p>
            </p:txBody>
          </p:sp>
        </p:grpSp>
        <p:grpSp>
          <p:nvGrpSpPr>
            <p:cNvPr id="429" name="Graphic 3">
              <a:extLst>
                <a:ext uri="{FF2B5EF4-FFF2-40B4-BE49-F238E27FC236}">
                  <a16:creationId xmlns:a16="http://schemas.microsoft.com/office/drawing/2014/main" id="{132B21C8-2BA3-4988-BE85-35160DDAFB46}"/>
                </a:ext>
              </a:extLst>
            </p:cNvPr>
            <p:cNvGrpSpPr/>
            <p:nvPr/>
          </p:nvGrpSpPr>
          <p:grpSpPr>
            <a:xfrm>
              <a:off x="6514290" y="1500352"/>
              <a:ext cx="37003" cy="91807"/>
              <a:chOff x="6514290" y="1500352"/>
              <a:chExt cx="37003" cy="91807"/>
            </a:xfrm>
            <a:grpFill/>
          </p:grpSpPr>
          <p:sp>
            <p:nvSpPr>
              <p:cNvPr id="4098" name="Vrije vorm: vorm 4097">
                <a:extLst>
                  <a:ext uri="{FF2B5EF4-FFF2-40B4-BE49-F238E27FC236}">
                    <a16:creationId xmlns:a16="http://schemas.microsoft.com/office/drawing/2014/main" id="{4BA3D72D-E4A2-44B9-BC1B-3022065103A6}"/>
                  </a:ext>
                </a:extLst>
              </p:cNvPr>
              <p:cNvSpPr/>
              <p:nvPr/>
            </p:nvSpPr>
            <p:spPr>
              <a:xfrm>
                <a:off x="6521877" y="1508737"/>
                <a:ext cx="21889" cy="75058"/>
              </a:xfrm>
              <a:custGeom>
                <a:avLst/>
                <a:gdLst>
                  <a:gd name="connsiteX0" fmla="*/ 21889 w 21889"/>
                  <a:gd name="connsiteY0" fmla="*/ 778 h 75058"/>
                  <a:gd name="connsiteX1" fmla="*/ 2930 w 21889"/>
                  <a:gd name="connsiteY1" fmla="*/ 75058 h 75058"/>
                  <a:gd name="connsiteX2" fmla="*/ 0 w 21889"/>
                  <a:gd name="connsiteY2" fmla="*/ 74281 h 75058"/>
                  <a:gd name="connsiteX3" fmla="*/ 18959 w 21889"/>
                  <a:gd name="connsiteY3" fmla="*/ 0 h 75058"/>
                </a:gdLst>
                <a:ahLst/>
                <a:cxnLst>
                  <a:cxn ang="0">
                    <a:pos x="connsiteX0" y="connsiteY0"/>
                  </a:cxn>
                  <a:cxn ang="0">
                    <a:pos x="connsiteX1" y="connsiteY1"/>
                  </a:cxn>
                  <a:cxn ang="0">
                    <a:pos x="connsiteX2" y="connsiteY2"/>
                  </a:cxn>
                  <a:cxn ang="0">
                    <a:pos x="connsiteX3" y="connsiteY3"/>
                  </a:cxn>
                </a:cxnLst>
                <a:rect l="l" t="t" r="r" b="b"/>
                <a:pathLst>
                  <a:path w="21889" h="75058">
                    <a:moveTo>
                      <a:pt x="21889" y="778"/>
                    </a:moveTo>
                    <a:lnTo>
                      <a:pt x="2930" y="75058"/>
                    </a:lnTo>
                    <a:lnTo>
                      <a:pt x="0" y="74281"/>
                    </a:lnTo>
                    <a:lnTo>
                      <a:pt x="18959" y="0"/>
                    </a:lnTo>
                    <a:close/>
                  </a:path>
                </a:pathLst>
              </a:custGeom>
              <a:grpFill/>
              <a:ln w="5978" cap="flat">
                <a:noFill/>
                <a:prstDash val="solid"/>
                <a:miter/>
              </a:ln>
            </p:spPr>
            <p:txBody>
              <a:bodyPr rtlCol="0" anchor="ctr"/>
              <a:lstStyle/>
              <a:p>
                <a:endParaRPr lang="en-GB"/>
              </a:p>
            </p:txBody>
          </p:sp>
          <p:sp>
            <p:nvSpPr>
              <p:cNvPr id="4099" name="Vrije vorm: vorm 4098">
                <a:extLst>
                  <a:ext uri="{FF2B5EF4-FFF2-40B4-BE49-F238E27FC236}">
                    <a16:creationId xmlns:a16="http://schemas.microsoft.com/office/drawing/2014/main" id="{33A77D81-154D-4B49-8441-59BDB40000AC}"/>
                  </a:ext>
                </a:extLst>
              </p:cNvPr>
              <p:cNvSpPr/>
              <p:nvPr/>
            </p:nvSpPr>
            <p:spPr>
              <a:xfrm>
                <a:off x="6533013" y="1500352"/>
                <a:ext cx="18280" cy="18443"/>
              </a:xfrm>
              <a:custGeom>
                <a:avLst/>
                <a:gdLst>
                  <a:gd name="connsiteX0" fmla="*/ 287 w 18280"/>
                  <a:gd name="connsiteY0" fmla="*/ 6889 h 18443"/>
                  <a:gd name="connsiteX1" fmla="*/ 11411 w 18280"/>
                  <a:gd name="connsiteY1" fmla="*/ 311 h 18443"/>
                  <a:gd name="connsiteX2" fmla="*/ 17990 w 18280"/>
                  <a:gd name="connsiteY2" fmla="*/ 11554 h 18443"/>
                  <a:gd name="connsiteX3" fmla="*/ 6866 w 18280"/>
                  <a:gd name="connsiteY3" fmla="*/ 18133 h 18443"/>
                  <a:gd name="connsiteX4" fmla="*/ 287 w 18280"/>
                  <a:gd name="connsiteY4" fmla="*/ 68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43">
                    <a:moveTo>
                      <a:pt x="287" y="6889"/>
                    </a:moveTo>
                    <a:cubicBezTo>
                      <a:pt x="1543" y="1985"/>
                      <a:pt x="6567" y="-1005"/>
                      <a:pt x="11411" y="311"/>
                    </a:cubicBezTo>
                    <a:cubicBezTo>
                      <a:pt x="16315" y="1567"/>
                      <a:pt x="19246" y="6650"/>
                      <a:pt x="17990" y="11554"/>
                    </a:cubicBezTo>
                    <a:cubicBezTo>
                      <a:pt x="16734" y="16459"/>
                      <a:pt x="11710" y="19449"/>
                      <a:pt x="6866" y="18133"/>
                    </a:cubicBezTo>
                    <a:cubicBezTo>
                      <a:pt x="2021" y="16877"/>
                      <a:pt x="-969" y="11853"/>
                      <a:pt x="287" y="6889"/>
                    </a:cubicBezTo>
                    <a:close/>
                  </a:path>
                </a:pathLst>
              </a:custGeom>
              <a:grpFill/>
              <a:ln w="5978" cap="flat">
                <a:noFill/>
                <a:prstDash val="solid"/>
                <a:miter/>
              </a:ln>
            </p:spPr>
            <p:txBody>
              <a:bodyPr rtlCol="0" anchor="ctr"/>
              <a:lstStyle/>
              <a:p>
                <a:endParaRPr lang="en-GB"/>
              </a:p>
            </p:txBody>
          </p:sp>
          <p:sp>
            <p:nvSpPr>
              <p:cNvPr id="4100" name="Vrije vorm: vorm 4099">
                <a:extLst>
                  <a:ext uri="{FF2B5EF4-FFF2-40B4-BE49-F238E27FC236}">
                    <a16:creationId xmlns:a16="http://schemas.microsoft.com/office/drawing/2014/main" id="{627C04B8-044B-40A7-8B5E-5B78508AE731}"/>
                  </a:ext>
                </a:extLst>
              </p:cNvPr>
              <p:cNvSpPr/>
              <p:nvPr/>
            </p:nvSpPr>
            <p:spPr>
              <a:xfrm>
                <a:off x="6514290" y="1573756"/>
                <a:ext cx="18284" cy="18403"/>
              </a:xfrm>
              <a:custGeom>
                <a:avLst/>
                <a:gdLst>
                  <a:gd name="connsiteX0" fmla="*/ 291 w 18284"/>
                  <a:gd name="connsiteY0" fmla="*/ 6869 h 18403"/>
                  <a:gd name="connsiteX1" fmla="*/ 6869 w 18284"/>
                  <a:gd name="connsiteY1" fmla="*/ 18113 h 18403"/>
                  <a:gd name="connsiteX2" fmla="*/ 17994 w 18284"/>
                  <a:gd name="connsiteY2" fmla="*/ 11534 h 18403"/>
                  <a:gd name="connsiteX3" fmla="*/ 11415 w 18284"/>
                  <a:gd name="connsiteY3" fmla="*/ 291 h 18403"/>
                  <a:gd name="connsiteX4" fmla="*/ 291 w 18284"/>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03">
                    <a:moveTo>
                      <a:pt x="291" y="6869"/>
                    </a:moveTo>
                    <a:cubicBezTo>
                      <a:pt x="-966" y="11774"/>
                      <a:pt x="1965" y="16797"/>
                      <a:pt x="6869" y="18113"/>
                    </a:cubicBezTo>
                    <a:cubicBezTo>
                      <a:pt x="11773" y="19369"/>
                      <a:pt x="16738" y="16439"/>
                      <a:pt x="17994" y="11534"/>
                    </a:cubicBezTo>
                    <a:cubicBezTo>
                      <a:pt x="19249" y="6630"/>
                      <a:pt x="16319" y="1606"/>
                      <a:pt x="11415" y="291"/>
                    </a:cubicBezTo>
                    <a:cubicBezTo>
                      <a:pt x="6570" y="-965"/>
                      <a:pt x="1547" y="1965"/>
                      <a:pt x="291" y="6869"/>
                    </a:cubicBezTo>
                    <a:close/>
                  </a:path>
                </a:pathLst>
              </a:custGeom>
              <a:grpFill/>
              <a:ln w="5978" cap="flat">
                <a:noFill/>
                <a:prstDash val="solid"/>
                <a:miter/>
              </a:ln>
            </p:spPr>
            <p:txBody>
              <a:bodyPr rtlCol="0" anchor="ctr"/>
              <a:lstStyle/>
              <a:p>
                <a:endParaRPr lang="en-GB"/>
              </a:p>
            </p:txBody>
          </p:sp>
        </p:grpSp>
        <p:grpSp>
          <p:nvGrpSpPr>
            <p:cNvPr id="430" name="Graphic 3">
              <a:extLst>
                <a:ext uri="{FF2B5EF4-FFF2-40B4-BE49-F238E27FC236}">
                  <a16:creationId xmlns:a16="http://schemas.microsoft.com/office/drawing/2014/main" id="{50D6D60F-2999-4706-8191-09C456A40878}"/>
                </a:ext>
              </a:extLst>
            </p:cNvPr>
            <p:cNvGrpSpPr/>
            <p:nvPr/>
          </p:nvGrpSpPr>
          <p:grpSpPr>
            <a:xfrm>
              <a:off x="7503079" y="4499414"/>
              <a:ext cx="37190" cy="32620"/>
              <a:chOff x="7503079" y="4499414"/>
              <a:chExt cx="37190" cy="32620"/>
            </a:xfrm>
            <a:grpFill/>
          </p:grpSpPr>
          <p:sp>
            <p:nvSpPr>
              <p:cNvPr id="4095" name="Vrije vorm: vorm 4094">
                <a:extLst>
                  <a:ext uri="{FF2B5EF4-FFF2-40B4-BE49-F238E27FC236}">
                    <a16:creationId xmlns:a16="http://schemas.microsoft.com/office/drawing/2014/main" id="{C124D187-EB37-47BB-8709-75DFC5D1329C}"/>
                  </a:ext>
                </a:extLst>
              </p:cNvPr>
              <p:cNvSpPr/>
              <p:nvPr/>
            </p:nvSpPr>
            <p:spPr>
              <a:xfrm>
                <a:off x="7510909" y="4507112"/>
                <a:ext cx="21470" cy="17224"/>
              </a:xfrm>
              <a:custGeom>
                <a:avLst/>
                <a:gdLst>
                  <a:gd name="connsiteX0" fmla="*/ 21471 w 21470"/>
                  <a:gd name="connsiteY0" fmla="*/ 14772 h 17224"/>
                  <a:gd name="connsiteX1" fmla="*/ 19676 w 21470"/>
                  <a:gd name="connsiteY1" fmla="*/ 17225 h 17224"/>
                  <a:gd name="connsiteX2" fmla="*/ 0 w 21470"/>
                  <a:gd name="connsiteY2" fmla="*/ 2452 h 17224"/>
                  <a:gd name="connsiteX3" fmla="*/ 1854 w 21470"/>
                  <a:gd name="connsiteY3" fmla="*/ 0 h 17224"/>
                </a:gdLst>
                <a:ahLst/>
                <a:cxnLst>
                  <a:cxn ang="0">
                    <a:pos x="connsiteX0" y="connsiteY0"/>
                  </a:cxn>
                  <a:cxn ang="0">
                    <a:pos x="connsiteX1" y="connsiteY1"/>
                  </a:cxn>
                  <a:cxn ang="0">
                    <a:pos x="connsiteX2" y="connsiteY2"/>
                  </a:cxn>
                  <a:cxn ang="0">
                    <a:pos x="connsiteX3" y="connsiteY3"/>
                  </a:cxn>
                </a:cxnLst>
                <a:rect l="l" t="t" r="r" b="b"/>
                <a:pathLst>
                  <a:path w="21470" h="17224">
                    <a:moveTo>
                      <a:pt x="21471" y="14772"/>
                    </a:moveTo>
                    <a:lnTo>
                      <a:pt x="19676" y="17225"/>
                    </a:lnTo>
                    <a:lnTo>
                      <a:pt x="0" y="2452"/>
                    </a:lnTo>
                    <a:lnTo>
                      <a:pt x="1854" y="0"/>
                    </a:lnTo>
                    <a:close/>
                  </a:path>
                </a:pathLst>
              </a:custGeom>
              <a:grpFill/>
              <a:ln w="5978" cap="flat">
                <a:noFill/>
                <a:prstDash val="solid"/>
                <a:miter/>
              </a:ln>
            </p:spPr>
            <p:txBody>
              <a:bodyPr rtlCol="0" anchor="ctr"/>
              <a:lstStyle/>
              <a:p>
                <a:endParaRPr lang="en-GB"/>
              </a:p>
            </p:txBody>
          </p:sp>
          <p:sp>
            <p:nvSpPr>
              <p:cNvPr id="4096" name="Vrije vorm: vorm 4095">
                <a:extLst>
                  <a:ext uri="{FF2B5EF4-FFF2-40B4-BE49-F238E27FC236}">
                    <a16:creationId xmlns:a16="http://schemas.microsoft.com/office/drawing/2014/main" id="{F2F9FA3E-ABB4-47FC-B744-6F5D99D08073}"/>
                  </a:ext>
                </a:extLst>
              </p:cNvPr>
              <p:cNvSpPr/>
              <p:nvPr/>
            </p:nvSpPr>
            <p:spPr>
              <a:xfrm>
                <a:off x="7521978" y="4513588"/>
                <a:ext cx="18291" cy="18445"/>
              </a:xfrm>
              <a:custGeom>
                <a:avLst/>
                <a:gdLst>
                  <a:gd name="connsiteX0" fmla="*/ 14588 w 18291"/>
                  <a:gd name="connsiteY0" fmla="*/ 1837 h 18445"/>
                  <a:gd name="connsiteX1" fmla="*/ 16502 w 18291"/>
                  <a:gd name="connsiteY1" fmla="*/ 14755 h 18445"/>
                  <a:gd name="connsiteX2" fmla="*/ 3703 w 18291"/>
                  <a:gd name="connsiteY2" fmla="*/ 16609 h 18445"/>
                  <a:gd name="connsiteX3" fmla="*/ 1790 w 18291"/>
                  <a:gd name="connsiteY3" fmla="*/ 3691 h 18445"/>
                  <a:gd name="connsiteX4" fmla="*/ 14588 w 18291"/>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4588" y="1837"/>
                    </a:moveTo>
                    <a:cubicBezTo>
                      <a:pt x="18655" y="4887"/>
                      <a:pt x="19492" y="10628"/>
                      <a:pt x="16502" y="14755"/>
                    </a:cubicBezTo>
                    <a:cubicBezTo>
                      <a:pt x="13512" y="18822"/>
                      <a:pt x="7770" y="19659"/>
                      <a:pt x="3703" y="16609"/>
                    </a:cubicBezTo>
                    <a:cubicBezTo>
                      <a:pt x="-364" y="13559"/>
                      <a:pt x="-1201" y="7817"/>
                      <a:pt x="1790" y="3691"/>
                    </a:cubicBezTo>
                    <a:cubicBezTo>
                      <a:pt x="4780" y="-376"/>
                      <a:pt x="10521" y="-1213"/>
                      <a:pt x="14588" y="1837"/>
                    </a:cubicBezTo>
                    <a:close/>
                  </a:path>
                </a:pathLst>
              </a:custGeom>
              <a:grpFill/>
              <a:ln w="5978" cap="flat">
                <a:noFill/>
                <a:prstDash val="solid"/>
                <a:miter/>
              </a:ln>
            </p:spPr>
            <p:txBody>
              <a:bodyPr rtlCol="0" anchor="ctr"/>
              <a:lstStyle/>
              <a:p>
                <a:endParaRPr lang="en-GB"/>
              </a:p>
            </p:txBody>
          </p:sp>
          <p:sp>
            <p:nvSpPr>
              <p:cNvPr id="4097" name="Vrije vorm: vorm 4096">
                <a:extLst>
                  <a:ext uri="{FF2B5EF4-FFF2-40B4-BE49-F238E27FC236}">
                    <a16:creationId xmlns:a16="http://schemas.microsoft.com/office/drawing/2014/main" id="{BF7AAE47-9B11-415C-88E7-9CA6AE92CC0F}"/>
                  </a:ext>
                </a:extLst>
              </p:cNvPr>
              <p:cNvSpPr/>
              <p:nvPr/>
            </p:nvSpPr>
            <p:spPr>
              <a:xfrm>
                <a:off x="7503079" y="4499414"/>
                <a:ext cx="18291" cy="18446"/>
              </a:xfrm>
              <a:custGeom>
                <a:avLst/>
                <a:gdLst>
                  <a:gd name="connsiteX0" fmla="*/ 14588 w 18291"/>
                  <a:gd name="connsiteY0" fmla="*/ 1837 h 18446"/>
                  <a:gd name="connsiteX1" fmla="*/ 1790 w 18291"/>
                  <a:gd name="connsiteY1" fmla="*/ 3691 h 18446"/>
                  <a:gd name="connsiteX2" fmla="*/ 3703 w 18291"/>
                  <a:gd name="connsiteY2" fmla="*/ 16609 h 18446"/>
                  <a:gd name="connsiteX3" fmla="*/ 16502 w 18291"/>
                  <a:gd name="connsiteY3" fmla="*/ 14755 h 18446"/>
                  <a:gd name="connsiteX4" fmla="*/ 14588 w 18291"/>
                  <a:gd name="connsiteY4" fmla="*/ 1837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6">
                    <a:moveTo>
                      <a:pt x="14588" y="1837"/>
                    </a:moveTo>
                    <a:cubicBezTo>
                      <a:pt x="10521" y="-1213"/>
                      <a:pt x="4780" y="-376"/>
                      <a:pt x="1790" y="3691"/>
                    </a:cubicBezTo>
                    <a:cubicBezTo>
                      <a:pt x="-1201" y="7758"/>
                      <a:pt x="-363" y="13559"/>
                      <a:pt x="3703" y="16609"/>
                    </a:cubicBezTo>
                    <a:cubicBezTo>
                      <a:pt x="7770" y="19660"/>
                      <a:pt x="13512" y="18822"/>
                      <a:pt x="16502" y="14755"/>
                    </a:cubicBezTo>
                    <a:cubicBezTo>
                      <a:pt x="19492" y="10688"/>
                      <a:pt x="18655" y="4887"/>
                      <a:pt x="14588" y="1837"/>
                    </a:cubicBezTo>
                    <a:close/>
                  </a:path>
                </a:pathLst>
              </a:custGeom>
              <a:grpFill/>
              <a:ln w="5978" cap="flat">
                <a:noFill/>
                <a:prstDash val="solid"/>
                <a:miter/>
              </a:ln>
            </p:spPr>
            <p:txBody>
              <a:bodyPr rtlCol="0" anchor="ctr"/>
              <a:lstStyle/>
              <a:p>
                <a:endParaRPr lang="en-GB"/>
              </a:p>
            </p:txBody>
          </p:sp>
        </p:grpSp>
        <p:grpSp>
          <p:nvGrpSpPr>
            <p:cNvPr id="431" name="Graphic 3">
              <a:extLst>
                <a:ext uri="{FF2B5EF4-FFF2-40B4-BE49-F238E27FC236}">
                  <a16:creationId xmlns:a16="http://schemas.microsoft.com/office/drawing/2014/main" id="{EE331D9B-AD68-484B-ADD5-EE01816BC0A5}"/>
                </a:ext>
              </a:extLst>
            </p:cNvPr>
            <p:cNvGrpSpPr/>
            <p:nvPr/>
          </p:nvGrpSpPr>
          <p:grpSpPr>
            <a:xfrm>
              <a:off x="6531102" y="1618438"/>
              <a:ext cx="25786" cy="45364"/>
              <a:chOff x="6531102" y="1618438"/>
              <a:chExt cx="25786" cy="45364"/>
            </a:xfrm>
            <a:grpFill/>
          </p:grpSpPr>
          <p:sp>
            <p:nvSpPr>
              <p:cNvPr id="4092" name="Vrije vorm: vorm 4091">
                <a:extLst>
                  <a:ext uri="{FF2B5EF4-FFF2-40B4-BE49-F238E27FC236}">
                    <a16:creationId xmlns:a16="http://schemas.microsoft.com/office/drawing/2014/main" id="{0A72BCC2-C911-4D9C-937C-AA27F993A895}"/>
                  </a:ext>
                </a:extLst>
              </p:cNvPr>
              <p:cNvSpPr/>
              <p:nvPr/>
            </p:nvSpPr>
            <p:spPr>
              <a:xfrm>
                <a:off x="6538683" y="1626796"/>
                <a:ext cx="10585" cy="28647"/>
              </a:xfrm>
              <a:custGeom>
                <a:avLst/>
                <a:gdLst>
                  <a:gd name="connsiteX0" fmla="*/ 10586 w 10585"/>
                  <a:gd name="connsiteY0" fmla="*/ 837 h 28647"/>
                  <a:gd name="connsiteX1" fmla="*/ 2930 w 10585"/>
                  <a:gd name="connsiteY1" fmla="*/ 28648 h 28647"/>
                  <a:gd name="connsiteX2" fmla="*/ 0 w 10585"/>
                  <a:gd name="connsiteY2" fmla="*/ 27810 h 28647"/>
                  <a:gd name="connsiteX3" fmla="*/ 7655 w 10585"/>
                  <a:gd name="connsiteY3" fmla="*/ 0 h 28647"/>
                </a:gdLst>
                <a:ahLst/>
                <a:cxnLst>
                  <a:cxn ang="0">
                    <a:pos x="connsiteX0" y="connsiteY0"/>
                  </a:cxn>
                  <a:cxn ang="0">
                    <a:pos x="connsiteX1" y="connsiteY1"/>
                  </a:cxn>
                  <a:cxn ang="0">
                    <a:pos x="connsiteX2" y="connsiteY2"/>
                  </a:cxn>
                  <a:cxn ang="0">
                    <a:pos x="connsiteX3" y="connsiteY3"/>
                  </a:cxn>
                </a:cxnLst>
                <a:rect l="l" t="t" r="r" b="b"/>
                <a:pathLst>
                  <a:path w="10585" h="28647">
                    <a:moveTo>
                      <a:pt x="10586" y="837"/>
                    </a:moveTo>
                    <a:lnTo>
                      <a:pt x="2930" y="28648"/>
                    </a:lnTo>
                    <a:lnTo>
                      <a:pt x="0" y="27810"/>
                    </a:lnTo>
                    <a:lnTo>
                      <a:pt x="7655" y="0"/>
                    </a:lnTo>
                    <a:close/>
                  </a:path>
                </a:pathLst>
              </a:custGeom>
              <a:grpFill/>
              <a:ln w="5978" cap="flat">
                <a:noFill/>
                <a:prstDash val="solid"/>
                <a:miter/>
              </a:ln>
            </p:spPr>
            <p:txBody>
              <a:bodyPr rtlCol="0" anchor="ctr"/>
              <a:lstStyle/>
              <a:p>
                <a:endParaRPr lang="en-GB"/>
              </a:p>
            </p:txBody>
          </p:sp>
          <p:sp>
            <p:nvSpPr>
              <p:cNvPr id="4093" name="Vrije vorm: vorm 4092">
                <a:extLst>
                  <a:ext uri="{FF2B5EF4-FFF2-40B4-BE49-F238E27FC236}">
                    <a16:creationId xmlns:a16="http://schemas.microsoft.com/office/drawing/2014/main" id="{A0A7EF34-A7CB-4090-881A-A591FD7BD3BA}"/>
                  </a:ext>
                </a:extLst>
              </p:cNvPr>
              <p:cNvSpPr/>
              <p:nvPr/>
            </p:nvSpPr>
            <p:spPr>
              <a:xfrm>
                <a:off x="6538518" y="1618438"/>
                <a:ext cx="18370" cy="18451"/>
              </a:xfrm>
              <a:custGeom>
                <a:avLst/>
                <a:gdLst>
                  <a:gd name="connsiteX0" fmla="*/ 344 w 18370"/>
                  <a:gd name="connsiteY0" fmla="*/ 6744 h 18451"/>
                  <a:gd name="connsiteX1" fmla="*/ 11648 w 18370"/>
                  <a:gd name="connsiteY1" fmla="*/ 344 h 18451"/>
                  <a:gd name="connsiteX2" fmla="*/ 18047 w 18370"/>
                  <a:gd name="connsiteY2" fmla="*/ 11708 h 18451"/>
                  <a:gd name="connsiteX3" fmla="*/ 6744 w 18370"/>
                  <a:gd name="connsiteY3" fmla="*/ 18107 h 18451"/>
                  <a:gd name="connsiteX4" fmla="*/ 344 w 18370"/>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51">
                    <a:moveTo>
                      <a:pt x="344" y="6744"/>
                    </a:moveTo>
                    <a:cubicBezTo>
                      <a:pt x="1720" y="1839"/>
                      <a:pt x="6744" y="-1031"/>
                      <a:pt x="11648" y="344"/>
                    </a:cubicBezTo>
                    <a:cubicBezTo>
                      <a:pt x="16552" y="1720"/>
                      <a:pt x="19363" y="6803"/>
                      <a:pt x="18047" y="11708"/>
                    </a:cubicBezTo>
                    <a:cubicBezTo>
                      <a:pt x="16671" y="16612"/>
                      <a:pt x="11648" y="19483"/>
                      <a:pt x="6744" y="18107"/>
                    </a:cubicBezTo>
                    <a:cubicBezTo>
                      <a:pt x="1839" y="16731"/>
                      <a:pt x="-1031" y="11648"/>
                      <a:pt x="344" y="6744"/>
                    </a:cubicBezTo>
                    <a:close/>
                  </a:path>
                </a:pathLst>
              </a:custGeom>
              <a:grpFill/>
              <a:ln w="5978" cap="flat">
                <a:noFill/>
                <a:prstDash val="solid"/>
                <a:miter/>
              </a:ln>
            </p:spPr>
            <p:txBody>
              <a:bodyPr rtlCol="0" anchor="ctr"/>
              <a:lstStyle/>
              <a:p>
                <a:endParaRPr lang="en-GB"/>
              </a:p>
            </p:txBody>
          </p:sp>
          <p:sp>
            <p:nvSpPr>
              <p:cNvPr id="4094" name="Vrije vorm: vorm 4093">
                <a:extLst>
                  <a:ext uri="{FF2B5EF4-FFF2-40B4-BE49-F238E27FC236}">
                    <a16:creationId xmlns:a16="http://schemas.microsoft.com/office/drawing/2014/main" id="{24CAC095-D82C-48E6-B884-127513867646}"/>
                  </a:ext>
                </a:extLst>
              </p:cNvPr>
              <p:cNvSpPr/>
              <p:nvPr/>
            </p:nvSpPr>
            <p:spPr>
              <a:xfrm>
                <a:off x="6531102" y="1645351"/>
                <a:ext cx="18391" cy="18451"/>
              </a:xfrm>
              <a:custGeom>
                <a:avLst/>
                <a:gdLst>
                  <a:gd name="connsiteX0" fmla="*/ 344 w 18391"/>
                  <a:gd name="connsiteY0" fmla="*/ 6744 h 18451"/>
                  <a:gd name="connsiteX1" fmla="*/ 6744 w 18391"/>
                  <a:gd name="connsiteY1" fmla="*/ 18107 h 18451"/>
                  <a:gd name="connsiteX2" fmla="*/ 18047 w 18391"/>
                  <a:gd name="connsiteY2" fmla="*/ 11708 h 18451"/>
                  <a:gd name="connsiteX3" fmla="*/ 11648 w 18391"/>
                  <a:gd name="connsiteY3" fmla="*/ 344 h 18451"/>
                  <a:gd name="connsiteX4" fmla="*/ 344 w 18391"/>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51">
                    <a:moveTo>
                      <a:pt x="344" y="6744"/>
                    </a:moveTo>
                    <a:cubicBezTo>
                      <a:pt x="-1031" y="11648"/>
                      <a:pt x="1839" y="16731"/>
                      <a:pt x="6744" y="18107"/>
                    </a:cubicBezTo>
                    <a:cubicBezTo>
                      <a:pt x="11648" y="19483"/>
                      <a:pt x="16671" y="16612"/>
                      <a:pt x="18047" y="11708"/>
                    </a:cubicBezTo>
                    <a:cubicBezTo>
                      <a:pt x="19423" y="6803"/>
                      <a:pt x="16552" y="1720"/>
                      <a:pt x="11648" y="344"/>
                    </a:cubicBezTo>
                    <a:cubicBezTo>
                      <a:pt x="6744" y="-1031"/>
                      <a:pt x="1660" y="1839"/>
                      <a:pt x="344" y="6744"/>
                    </a:cubicBezTo>
                    <a:close/>
                  </a:path>
                </a:pathLst>
              </a:custGeom>
              <a:grpFill/>
              <a:ln w="5978" cap="flat">
                <a:noFill/>
                <a:prstDash val="solid"/>
                <a:miter/>
              </a:ln>
            </p:spPr>
            <p:txBody>
              <a:bodyPr rtlCol="0" anchor="ctr"/>
              <a:lstStyle/>
              <a:p>
                <a:endParaRPr lang="en-GB"/>
              </a:p>
            </p:txBody>
          </p:sp>
        </p:grpSp>
        <p:grpSp>
          <p:nvGrpSpPr>
            <p:cNvPr id="432" name="Graphic 3">
              <a:extLst>
                <a:ext uri="{FF2B5EF4-FFF2-40B4-BE49-F238E27FC236}">
                  <a16:creationId xmlns:a16="http://schemas.microsoft.com/office/drawing/2014/main" id="{3E2AC6FA-B842-482B-A67A-46D5D3D6B7A6}"/>
                </a:ext>
              </a:extLst>
            </p:cNvPr>
            <p:cNvGrpSpPr/>
            <p:nvPr/>
          </p:nvGrpSpPr>
          <p:grpSpPr>
            <a:xfrm>
              <a:off x="7345381" y="4500344"/>
              <a:ext cx="482396" cy="463749"/>
              <a:chOff x="7345381" y="4500344"/>
              <a:chExt cx="482396" cy="463749"/>
            </a:xfrm>
            <a:grpFill/>
          </p:grpSpPr>
          <p:sp>
            <p:nvSpPr>
              <p:cNvPr id="4089" name="Vrije vorm: vorm 4088">
                <a:extLst>
                  <a:ext uri="{FF2B5EF4-FFF2-40B4-BE49-F238E27FC236}">
                    <a16:creationId xmlns:a16="http://schemas.microsoft.com/office/drawing/2014/main" id="{69CD869C-72FE-4417-8629-C6EABD1223A0}"/>
                  </a:ext>
                </a:extLst>
              </p:cNvPr>
              <p:cNvSpPr/>
              <p:nvPr/>
            </p:nvSpPr>
            <p:spPr>
              <a:xfrm>
                <a:off x="7353138" y="4508128"/>
                <a:ext cx="466854" cy="448195"/>
              </a:xfrm>
              <a:custGeom>
                <a:avLst/>
                <a:gdLst>
                  <a:gd name="connsiteX0" fmla="*/ 466855 w 466854"/>
                  <a:gd name="connsiteY0" fmla="*/ 445982 h 448195"/>
                  <a:gd name="connsiteX1" fmla="*/ 464762 w 466854"/>
                  <a:gd name="connsiteY1" fmla="*/ 448195 h 448195"/>
                  <a:gd name="connsiteX2" fmla="*/ 0 w 466854"/>
                  <a:gd name="connsiteY2" fmla="*/ 2213 h 448195"/>
                  <a:gd name="connsiteX3" fmla="*/ 2093 w 466854"/>
                  <a:gd name="connsiteY3" fmla="*/ 0 h 448195"/>
                </a:gdLst>
                <a:ahLst/>
                <a:cxnLst>
                  <a:cxn ang="0">
                    <a:pos x="connsiteX0" y="connsiteY0"/>
                  </a:cxn>
                  <a:cxn ang="0">
                    <a:pos x="connsiteX1" y="connsiteY1"/>
                  </a:cxn>
                  <a:cxn ang="0">
                    <a:pos x="connsiteX2" y="connsiteY2"/>
                  </a:cxn>
                  <a:cxn ang="0">
                    <a:pos x="connsiteX3" y="connsiteY3"/>
                  </a:cxn>
                </a:cxnLst>
                <a:rect l="l" t="t" r="r" b="b"/>
                <a:pathLst>
                  <a:path w="466854" h="448195">
                    <a:moveTo>
                      <a:pt x="466855" y="445982"/>
                    </a:moveTo>
                    <a:lnTo>
                      <a:pt x="464762" y="448195"/>
                    </a:lnTo>
                    <a:lnTo>
                      <a:pt x="0" y="2213"/>
                    </a:lnTo>
                    <a:lnTo>
                      <a:pt x="2093" y="0"/>
                    </a:lnTo>
                    <a:close/>
                  </a:path>
                </a:pathLst>
              </a:custGeom>
              <a:grpFill/>
              <a:ln w="5978" cap="flat">
                <a:noFill/>
                <a:prstDash val="solid"/>
                <a:miter/>
              </a:ln>
            </p:spPr>
            <p:txBody>
              <a:bodyPr rtlCol="0" anchor="ctr"/>
              <a:lstStyle/>
              <a:p>
                <a:endParaRPr lang="en-GB"/>
              </a:p>
            </p:txBody>
          </p:sp>
          <p:sp>
            <p:nvSpPr>
              <p:cNvPr id="4090" name="Vrije vorm: vorm 4089">
                <a:extLst>
                  <a:ext uri="{FF2B5EF4-FFF2-40B4-BE49-F238E27FC236}">
                    <a16:creationId xmlns:a16="http://schemas.microsoft.com/office/drawing/2014/main" id="{118AEBD3-BDCA-47CD-9EE2-10371D33EEF7}"/>
                  </a:ext>
                </a:extLst>
              </p:cNvPr>
              <p:cNvSpPr/>
              <p:nvPr/>
            </p:nvSpPr>
            <p:spPr>
              <a:xfrm>
                <a:off x="7345381" y="4500344"/>
                <a:ext cx="18315" cy="18425"/>
              </a:xfrm>
              <a:custGeom>
                <a:avLst/>
                <a:gdLst>
                  <a:gd name="connsiteX0" fmla="*/ 2852 w 18315"/>
                  <a:gd name="connsiteY0" fmla="*/ 15859 h 18425"/>
                  <a:gd name="connsiteX1" fmla="*/ 2493 w 18315"/>
                  <a:gd name="connsiteY1" fmla="*/ 2821 h 18425"/>
                  <a:gd name="connsiteX2" fmla="*/ 15472 w 18315"/>
                  <a:gd name="connsiteY2" fmla="*/ 2522 h 18425"/>
                  <a:gd name="connsiteX3" fmla="*/ 15770 w 18315"/>
                  <a:gd name="connsiteY3" fmla="*/ 15560 h 18425"/>
                  <a:gd name="connsiteX4" fmla="*/ 2852 w 18315"/>
                  <a:gd name="connsiteY4" fmla="*/ 15859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5">
                    <a:moveTo>
                      <a:pt x="2852" y="15859"/>
                    </a:moveTo>
                    <a:cubicBezTo>
                      <a:pt x="-796" y="12330"/>
                      <a:pt x="-975" y="6529"/>
                      <a:pt x="2493" y="2821"/>
                    </a:cubicBezTo>
                    <a:cubicBezTo>
                      <a:pt x="5962" y="-827"/>
                      <a:pt x="11763" y="-947"/>
                      <a:pt x="15472" y="2522"/>
                    </a:cubicBezTo>
                    <a:cubicBezTo>
                      <a:pt x="19120" y="6051"/>
                      <a:pt x="19299" y="11852"/>
                      <a:pt x="15770" y="15560"/>
                    </a:cubicBezTo>
                    <a:cubicBezTo>
                      <a:pt x="12302" y="19268"/>
                      <a:pt x="6501" y="19387"/>
                      <a:pt x="2852" y="15859"/>
                    </a:cubicBezTo>
                    <a:close/>
                  </a:path>
                </a:pathLst>
              </a:custGeom>
              <a:grpFill/>
              <a:ln w="5978" cap="flat">
                <a:noFill/>
                <a:prstDash val="solid"/>
                <a:miter/>
              </a:ln>
            </p:spPr>
            <p:txBody>
              <a:bodyPr rtlCol="0" anchor="ctr"/>
              <a:lstStyle/>
              <a:p>
                <a:endParaRPr lang="en-GB"/>
              </a:p>
            </p:txBody>
          </p:sp>
          <p:sp>
            <p:nvSpPr>
              <p:cNvPr id="4091" name="Vrije vorm: vorm 4090">
                <a:extLst>
                  <a:ext uri="{FF2B5EF4-FFF2-40B4-BE49-F238E27FC236}">
                    <a16:creationId xmlns:a16="http://schemas.microsoft.com/office/drawing/2014/main" id="{D1058227-B0A4-46CB-BC10-27F032860EEA}"/>
                  </a:ext>
                </a:extLst>
              </p:cNvPr>
              <p:cNvSpPr/>
              <p:nvPr/>
            </p:nvSpPr>
            <p:spPr>
              <a:xfrm>
                <a:off x="7809457" y="4945623"/>
                <a:ext cx="18320" cy="18470"/>
              </a:xfrm>
              <a:custGeom>
                <a:avLst/>
                <a:gdLst>
                  <a:gd name="connsiteX0" fmla="*/ 2821 w 18320"/>
                  <a:gd name="connsiteY0" fmla="*/ 15903 h 18470"/>
                  <a:gd name="connsiteX1" fmla="*/ 15798 w 18320"/>
                  <a:gd name="connsiteY1" fmla="*/ 15605 h 18470"/>
                  <a:gd name="connsiteX2" fmla="*/ 15500 w 18320"/>
                  <a:gd name="connsiteY2" fmla="*/ 2567 h 18470"/>
                  <a:gd name="connsiteX3" fmla="*/ 2521 w 18320"/>
                  <a:gd name="connsiteY3" fmla="*/ 2866 h 18470"/>
                  <a:gd name="connsiteX4" fmla="*/ 2821 w 18320"/>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70">
                    <a:moveTo>
                      <a:pt x="2821" y="15903"/>
                    </a:moveTo>
                    <a:cubicBezTo>
                      <a:pt x="6469" y="19432"/>
                      <a:pt x="12270" y="19313"/>
                      <a:pt x="15798" y="15605"/>
                    </a:cubicBezTo>
                    <a:cubicBezTo>
                      <a:pt x="19268" y="11956"/>
                      <a:pt x="19148" y="6095"/>
                      <a:pt x="15500" y="2567"/>
                    </a:cubicBezTo>
                    <a:cubicBezTo>
                      <a:pt x="11852" y="-962"/>
                      <a:pt x="6050" y="-842"/>
                      <a:pt x="2521" y="2866"/>
                    </a:cubicBezTo>
                    <a:cubicBezTo>
                      <a:pt x="-947" y="6574"/>
                      <a:pt x="-827" y="12375"/>
                      <a:pt x="2821" y="15903"/>
                    </a:cubicBezTo>
                    <a:close/>
                  </a:path>
                </a:pathLst>
              </a:custGeom>
              <a:grpFill/>
              <a:ln w="5978" cap="flat">
                <a:noFill/>
                <a:prstDash val="solid"/>
                <a:miter/>
              </a:ln>
            </p:spPr>
            <p:txBody>
              <a:bodyPr rtlCol="0" anchor="ctr"/>
              <a:lstStyle/>
              <a:p>
                <a:endParaRPr lang="en-GB"/>
              </a:p>
            </p:txBody>
          </p:sp>
        </p:grpSp>
        <p:grpSp>
          <p:nvGrpSpPr>
            <p:cNvPr id="433" name="Graphic 3">
              <a:extLst>
                <a:ext uri="{FF2B5EF4-FFF2-40B4-BE49-F238E27FC236}">
                  <a16:creationId xmlns:a16="http://schemas.microsoft.com/office/drawing/2014/main" id="{8C50570F-BC30-4F7F-8CFE-0E0CC6A1FAB4}"/>
                </a:ext>
              </a:extLst>
            </p:cNvPr>
            <p:cNvGrpSpPr/>
            <p:nvPr/>
          </p:nvGrpSpPr>
          <p:grpSpPr>
            <a:xfrm>
              <a:off x="6465931" y="1453776"/>
              <a:ext cx="135367" cy="331898"/>
              <a:chOff x="6465931" y="1453776"/>
              <a:chExt cx="135367" cy="331898"/>
            </a:xfrm>
            <a:grpFill/>
          </p:grpSpPr>
          <p:sp>
            <p:nvSpPr>
              <p:cNvPr id="4086" name="Vrije vorm: vorm 4085">
                <a:extLst>
                  <a:ext uri="{FF2B5EF4-FFF2-40B4-BE49-F238E27FC236}">
                    <a16:creationId xmlns:a16="http://schemas.microsoft.com/office/drawing/2014/main" id="{7915BC39-081E-4C22-8819-EC96A22C0452}"/>
                  </a:ext>
                </a:extLst>
              </p:cNvPr>
              <p:cNvSpPr/>
              <p:nvPr/>
            </p:nvSpPr>
            <p:spPr>
              <a:xfrm>
                <a:off x="6473493" y="1462027"/>
                <a:ext cx="120212" cy="315423"/>
              </a:xfrm>
              <a:custGeom>
                <a:avLst/>
                <a:gdLst>
                  <a:gd name="connsiteX0" fmla="*/ 120212 w 120212"/>
                  <a:gd name="connsiteY0" fmla="*/ 1077 h 315423"/>
                  <a:gd name="connsiteX1" fmla="*/ 2871 w 120212"/>
                  <a:gd name="connsiteY1" fmla="*/ 315423 h 315423"/>
                  <a:gd name="connsiteX2" fmla="*/ 0 w 120212"/>
                  <a:gd name="connsiteY2" fmla="*/ 314347 h 315423"/>
                  <a:gd name="connsiteX3" fmla="*/ 117402 w 120212"/>
                  <a:gd name="connsiteY3" fmla="*/ 0 h 315423"/>
                </a:gdLst>
                <a:ahLst/>
                <a:cxnLst>
                  <a:cxn ang="0">
                    <a:pos x="connsiteX0" y="connsiteY0"/>
                  </a:cxn>
                  <a:cxn ang="0">
                    <a:pos x="connsiteX1" y="connsiteY1"/>
                  </a:cxn>
                  <a:cxn ang="0">
                    <a:pos x="connsiteX2" y="connsiteY2"/>
                  </a:cxn>
                  <a:cxn ang="0">
                    <a:pos x="connsiteX3" y="connsiteY3"/>
                  </a:cxn>
                </a:cxnLst>
                <a:rect l="l" t="t" r="r" b="b"/>
                <a:pathLst>
                  <a:path w="120212" h="315423">
                    <a:moveTo>
                      <a:pt x="120212" y="1077"/>
                    </a:moveTo>
                    <a:lnTo>
                      <a:pt x="2871" y="315423"/>
                    </a:lnTo>
                    <a:lnTo>
                      <a:pt x="0" y="314347"/>
                    </a:lnTo>
                    <a:lnTo>
                      <a:pt x="117402" y="0"/>
                    </a:lnTo>
                    <a:close/>
                  </a:path>
                </a:pathLst>
              </a:custGeom>
              <a:grpFill/>
              <a:ln w="5978" cap="flat">
                <a:noFill/>
                <a:prstDash val="solid"/>
                <a:miter/>
              </a:ln>
            </p:spPr>
            <p:txBody>
              <a:bodyPr rtlCol="0" anchor="ctr"/>
              <a:lstStyle/>
              <a:p>
                <a:endParaRPr lang="en-GB"/>
              </a:p>
            </p:txBody>
          </p:sp>
          <p:sp>
            <p:nvSpPr>
              <p:cNvPr id="4087" name="Vrije vorm: vorm 4086">
                <a:extLst>
                  <a:ext uri="{FF2B5EF4-FFF2-40B4-BE49-F238E27FC236}">
                    <a16:creationId xmlns:a16="http://schemas.microsoft.com/office/drawing/2014/main" id="{5D6E3764-3858-40E7-BD8C-81BCB9C80D1A}"/>
                  </a:ext>
                </a:extLst>
              </p:cNvPr>
              <p:cNvSpPr/>
              <p:nvPr/>
            </p:nvSpPr>
            <p:spPr>
              <a:xfrm>
                <a:off x="6465931" y="1767194"/>
                <a:ext cx="18318" cy="18480"/>
              </a:xfrm>
              <a:custGeom>
                <a:avLst/>
                <a:gdLst>
                  <a:gd name="connsiteX0" fmla="*/ 17729 w 18318"/>
                  <a:gd name="connsiteY0" fmla="*/ 12530 h 18480"/>
                  <a:gd name="connsiteX1" fmla="*/ 5947 w 18318"/>
                  <a:gd name="connsiteY1" fmla="*/ 17852 h 18480"/>
                  <a:gd name="connsiteX2" fmla="*/ 565 w 18318"/>
                  <a:gd name="connsiteY2" fmla="*/ 5951 h 18480"/>
                  <a:gd name="connsiteX3" fmla="*/ 12347 w 18318"/>
                  <a:gd name="connsiteY3" fmla="*/ 628 h 18480"/>
                  <a:gd name="connsiteX4" fmla="*/ 17729 w 18318"/>
                  <a:gd name="connsiteY4" fmla="*/ 1253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80">
                    <a:moveTo>
                      <a:pt x="17729" y="12530"/>
                    </a:moveTo>
                    <a:cubicBezTo>
                      <a:pt x="15935" y="17314"/>
                      <a:pt x="10672" y="19706"/>
                      <a:pt x="5947" y="17852"/>
                    </a:cubicBezTo>
                    <a:cubicBezTo>
                      <a:pt x="1223" y="16058"/>
                      <a:pt x="-1170" y="10735"/>
                      <a:pt x="565" y="5951"/>
                    </a:cubicBezTo>
                    <a:cubicBezTo>
                      <a:pt x="2359" y="1166"/>
                      <a:pt x="7622" y="-1226"/>
                      <a:pt x="12347" y="628"/>
                    </a:cubicBezTo>
                    <a:cubicBezTo>
                      <a:pt x="17072" y="2482"/>
                      <a:pt x="19524" y="7805"/>
                      <a:pt x="17729" y="12530"/>
                    </a:cubicBezTo>
                    <a:close/>
                  </a:path>
                </a:pathLst>
              </a:custGeom>
              <a:grpFill/>
              <a:ln w="5978" cap="flat">
                <a:noFill/>
                <a:prstDash val="solid"/>
                <a:miter/>
              </a:ln>
            </p:spPr>
            <p:txBody>
              <a:bodyPr rtlCol="0" anchor="ctr"/>
              <a:lstStyle/>
              <a:p>
                <a:endParaRPr lang="en-GB"/>
              </a:p>
            </p:txBody>
          </p:sp>
          <p:sp>
            <p:nvSpPr>
              <p:cNvPr id="4088" name="Vrije vorm: vorm 4087">
                <a:extLst>
                  <a:ext uri="{FF2B5EF4-FFF2-40B4-BE49-F238E27FC236}">
                    <a16:creationId xmlns:a16="http://schemas.microsoft.com/office/drawing/2014/main" id="{FE1922EF-2333-4139-8260-2E3C467BA139}"/>
                  </a:ext>
                </a:extLst>
              </p:cNvPr>
              <p:cNvSpPr/>
              <p:nvPr/>
            </p:nvSpPr>
            <p:spPr>
              <a:xfrm>
                <a:off x="6582943" y="1453776"/>
                <a:ext cx="18356" cy="18448"/>
              </a:xfrm>
              <a:custGeom>
                <a:avLst/>
                <a:gdLst>
                  <a:gd name="connsiteX0" fmla="*/ 17760 w 18356"/>
                  <a:gd name="connsiteY0" fmla="*/ 12498 h 18448"/>
                  <a:gd name="connsiteX1" fmla="*/ 12378 w 18356"/>
                  <a:gd name="connsiteY1" fmla="*/ 596 h 18448"/>
                  <a:gd name="connsiteX2" fmla="*/ 596 w 18356"/>
                  <a:gd name="connsiteY2" fmla="*/ 5919 h 18448"/>
                  <a:gd name="connsiteX3" fmla="*/ 5978 w 18356"/>
                  <a:gd name="connsiteY3" fmla="*/ 17821 h 18448"/>
                  <a:gd name="connsiteX4" fmla="*/ 17760 w 18356"/>
                  <a:gd name="connsiteY4" fmla="*/ 124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48">
                    <a:moveTo>
                      <a:pt x="17760" y="12498"/>
                    </a:moveTo>
                    <a:cubicBezTo>
                      <a:pt x="19555" y="7713"/>
                      <a:pt x="17162" y="2450"/>
                      <a:pt x="12378" y="596"/>
                    </a:cubicBezTo>
                    <a:cubicBezTo>
                      <a:pt x="7653" y="-1198"/>
                      <a:pt x="2330" y="1194"/>
                      <a:pt x="596" y="5919"/>
                    </a:cubicBezTo>
                    <a:cubicBezTo>
                      <a:pt x="-1199" y="10704"/>
                      <a:pt x="1194" y="15967"/>
                      <a:pt x="5978" y="17821"/>
                    </a:cubicBezTo>
                    <a:cubicBezTo>
                      <a:pt x="10703" y="19675"/>
                      <a:pt x="16026" y="17283"/>
                      <a:pt x="17760" y="12498"/>
                    </a:cubicBezTo>
                    <a:close/>
                  </a:path>
                </a:pathLst>
              </a:custGeom>
              <a:grpFill/>
              <a:ln w="5978" cap="flat">
                <a:noFill/>
                <a:prstDash val="solid"/>
                <a:miter/>
              </a:ln>
            </p:spPr>
            <p:txBody>
              <a:bodyPr rtlCol="0" anchor="ctr"/>
              <a:lstStyle/>
              <a:p>
                <a:endParaRPr lang="en-GB"/>
              </a:p>
            </p:txBody>
          </p:sp>
        </p:grpSp>
        <p:grpSp>
          <p:nvGrpSpPr>
            <p:cNvPr id="434" name="Graphic 3">
              <a:extLst>
                <a:ext uri="{FF2B5EF4-FFF2-40B4-BE49-F238E27FC236}">
                  <a16:creationId xmlns:a16="http://schemas.microsoft.com/office/drawing/2014/main" id="{308CA2B1-57D6-4510-9714-82F44A3A28B7}"/>
                </a:ext>
              </a:extLst>
            </p:cNvPr>
            <p:cNvGrpSpPr/>
            <p:nvPr/>
          </p:nvGrpSpPr>
          <p:grpSpPr>
            <a:xfrm>
              <a:off x="7428561" y="4365475"/>
              <a:ext cx="101360" cy="75888"/>
              <a:chOff x="7428561" y="4365475"/>
              <a:chExt cx="101360" cy="75888"/>
            </a:xfrm>
            <a:grpFill/>
          </p:grpSpPr>
          <p:sp>
            <p:nvSpPr>
              <p:cNvPr id="4083" name="Vrije vorm: vorm 4082">
                <a:extLst>
                  <a:ext uri="{FF2B5EF4-FFF2-40B4-BE49-F238E27FC236}">
                    <a16:creationId xmlns:a16="http://schemas.microsoft.com/office/drawing/2014/main" id="{6CB1C62A-0626-4614-91F8-EE4A45B9CAEA}"/>
                  </a:ext>
                </a:extLst>
              </p:cNvPr>
              <p:cNvSpPr/>
              <p:nvPr/>
            </p:nvSpPr>
            <p:spPr>
              <a:xfrm>
                <a:off x="7436449" y="4373144"/>
                <a:ext cx="85524" cy="60524"/>
              </a:xfrm>
              <a:custGeom>
                <a:avLst/>
                <a:gdLst>
                  <a:gd name="connsiteX0" fmla="*/ 85525 w 85524"/>
                  <a:gd name="connsiteY0" fmla="*/ 58013 h 60524"/>
                  <a:gd name="connsiteX1" fmla="*/ 83790 w 85524"/>
                  <a:gd name="connsiteY1" fmla="*/ 60525 h 60524"/>
                  <a:gd name="connsiteX2" fmla="*/ 0 w 85524"/>
                  <a:gd name="connsiteY2" fmla="*/ 2512 h 60524"/>
                  <a:gd name="connsiteX3" fmla="*/ 1735 w 85524"/>
                  <a:gd name="connsiteY3" fmla="*/ 0 h 60524"/>
                </a:gdLst>
                <a:ahLst/>
                <a:cxnLst>
                  <a:cxn ang="0">
                    <a:pos x="connsiteX0" y="connsiteY0"/>
                  </a:cxn>
                  <a:cxn ang="0">
                    <a:pos x="connsiteX1" y="connsiteY1"/>
                  </a:cxn>
                  <a:cxn ang="0">
                    <a:pos x="connsiteX2" y="connsiteY2"/>
                  </a:cxn>
                  <a:cxn ang="0">
                    <a:pos x="connsiteX3" y="connsiteY3"/>
                  </a:cxn>
                </a:cxnLst>
                <a:rect l="l" t="t" r="r" b="b"/>
                <a:pathLst>
                  <a:path w="85524" h="60524">
                    <a:moveTo>
                      <a:pt x="85525" y="58013"/>
                    </a:moveTo>
                    <a:lnTo>
                      <a:pt x="83790" y="60525"/>
                    </a:lnTo>
                    <a:lnTo>
                      <a:pt x="0" y="2512"/>
                    </a:lnTo>
                    <a:lnTo>
                      <a:pt x="1735" y="0"/>
                    </a:lnTo>
                    <a:close/>
                  </a:path>
                </a:pathLst>
              </a:custGeom>
              <a:grpFill/>
              <a:ln w="5978" cap="flat">
                <a:noFill/>
                <a:prstDash val="solid"/>
                <a:miter/>
              </a:ln>
            </p:spPr>
            <p:txBody>
              <a:bodyPr rtlCol="0" anchor="ctr"/>
              <a:lstStyle/>
              <a:p>
                <a:endParaRPr lang="en-GB"/>
              </a:p>
            </p:txBody>
          </p:sp>
          <p:sp>
            <p:nvSpPr>
              <p:cNvPr id="4084" name="Vrije vorm: vorm 4083">
                <a:extLst>
                  <a:ext uri="{FF2B5EF4-FFF2-40B4-BE49-F238E27FC236}">
                    <a16:creationId xmlns:a16="http://schemas.microsoft.com/office/drawing/2014/main" id="{6C39D8B1-F1D7-47E6-98D5-5441D6442C78}"/>
                  </a:ext>
                </a:extLst>
              </p:cNvPr>
              <p:cNvSpPr/>
              <p:nvPr/>
            </p:nvSpPr>
            <p:spPr>
              <a:xfrm>
                <a:off x="7511573" y="4422950"/>
                <a:ext cx="18348" cy="18413"/>
              </a:xfrm>
              <a:custGeom>
                <a:avLst/>
                <a:gdLst>
                  <a:gd name="connsiteX0" fmla="*/ 14348 w 18348"/>
                  <a:gd name="connsiteY0" fmla="*/ 1628 h 18413"/>
                  <a:gd name="connsiteX1" fmla="*/ 16740 w 18348"/>
                  <a:gd name="connsiteY1" fmla="*/ 14427 h 18413"/>
                  <a:gd name="connsiteX2" fmla="*/ 4001 w 18348"/>
                  <a:gd name="connsiteY2" fmla="*/ 16759 h 18413"/>
                  <a:gd name="connsiteX3" fmla="*/ 1609 w 18348"/>
                  <a:gd name="connsiteY3" fmla="*/ 3961 h 18413"/>
                  <a:gd name="connsiteX4" fmla="*/ 14348 w 18348"/>
                  <a:gd name="connsiteY4" fmla="*/ 162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3">
                    <a:moveTo>
                      <a:pt x="14348" y="1628"/>
                    </a:moveTo>
                    <a:cubicBezTo>
                      <a:pt x="18534" y="4499"/>
                      <a:pt x="19611" y="10240"/>
                      <a:pt x="16740" y="14427"/>
                    </a:cubicBezTo>
                    <a:cubicBezTo>
                      <a:pt x="13869" y="18613"/>
                      <a:pt x="8187" y="19690"/>
                      <a:pt x="4001" y="16759"/>
                    </a:cubicBezTo>
                    <a:cubicBezTo>
                      <a:pt x="-186" y="13889"/>
                      <a:pt x="-1262" y="8147"/>
                      <a:pt x="1609" y="3961"/>
                    </a:cubicBezTo>
                    <a:cubicBezTo>
                      <a:pt x="4479" y="-226"/>
                      <a:pt x="10161" y="-1243"/>
                      <a:pt x="14348" y="1628"/>
                    </a:cubicBezTo>
                    <a:close/>
                  </a:path>
                </a:pathLst>
              </a:custGeom>
              <a:grpFill/>
              <a:ln w="5978" cap="flat">
                <a:noFill/>
                <a:prstDash val="solid"/>
                <a:miter/>
              </a:ln>
            </p:spPr>
            <p:txBody>
              <a:bodyPr rtlCol="0" anchor="ctr"/>
              <a:lstStyle/>
              <a:p>
                <a:endParaRPr lang="en-GB"/>
              </a:p>
            </p:txBody>
          </p:sp>
          <p:sp>
            <p:nvSpPr>
              <p:cNvPr id="4085" name="Vrije vorm: vorm 4084">
                <a:extLst>
                  <a:ext uri="{FF2B5EF4-FFF2-40B4-BE49-F238E27FC236}">
                    <a16:creationId xmlns:a16="http://schemas.microsoft.com/office/drawing/2014/main" id="{E14042EB-EF6C-4721-AAD3-CC1642EA1733}"/>
                  </a:ext>
                </a:extLst>
              </p:cNvPr>
              <p:cNvSpPr/>
              <p:nvPr/>
            </p:nvSpPr>
            <p:spPr>
              <a:xfrm>
                <a:off x="7428561" y="4365475"/>
                <a:ext cx="18322" cy="18387"/>
              </a:xfrm>
              <a:custGeom>
                <a:avLst/>
                <a:gdLst>
                  <a:gd name="connsiteX0" fmla="*/ 14348 w 18322"/>
                  <a:gd name="connsiteY0" fmla="*/ 1628 h 18387"/>
                  <a:gd name="connsiteX1" fmla="*/ 1609 w 18322"/>
                  <a:gd name="connsiteY1" fmla="*/ 3961 h 18387"/>
                  <a:gd name="connsiteX2" fmla="*/ 4001 w 18322"/>
                  <a:gd name="connsiteY2" fmla="*/ 16759 h 18387"/>
                  <a:gd name="connsiteX3" fmla="*/ 16740 w 18322"/>
                  <a:gd name="connsiteY3" fmla="*/ 14427 h 18387"/>
                  <a:gd name="connsiteX4" fmla="*/ 14348 w 18322"/>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87">
                    <a:moveTo>
                      <a:pt x="14348" y="1628"/>
                    </a:moveTo>
                    <a:cubicBezTo>
                      <a:pt x="10161" y="-1243"/>
                      <a:pt x="4479" y="-226"/>
                      <a:pt x="1609" y="3961"/>
                    </a:cubicBezTo>
                    <a:cubicBezTo>
                      <a:pt x="-1262" y="8147"/>
                      <a:pt x="-186" y="13888"/>
                      <a:pt x="4001" y="16759"/>
                    </a:cubicBezTo>
                    <a:cubicBezTo>
                      <a:pt x="8187" y="19630"/>
                      <a:pt x="13869" y="18613"/>
                      <a:pt x="16740" y="14427"/>
                    </a:cubicBezTo>
                    <a:cubicBezTo>
                      <a:pt x="19551" y="10240"/>
                      <a:pt x="18534" y="4499"/>
                      <a:pt x="14348" y="1628"/>
                    </a:cubicBezTo>
                    <a:close/>
                  </a:path>
                </a:pathLst>
              </a:custGeom>
              <a:grpFill/>
              <a:ln w="5978" cap="flat">
                <a:noFill/>
                <a:prstDash val="solid"/>
                <a:miter/>
              </a:ln>
            </p:spPr>
            <p:txBody>
              <a:bodyPr rtlCol="0" anchor="ctr"/>
              <a:lstStyle/>
              <a:p>
                <a:endParaRPr lang="en-GB"/>
              </a:p>
            </p:txBody>
          </p:sp>
        </p:grpSp>
        <p:grpSp>
          <p:nvGrpSpPr>
            <p:cNvPr id="435" name="Graphic 3">
              <a:extLst>
                <a:ext uri="{FF2B5EF4-FFF2-40B4-BE49-F238E27FC236}">
                  <a16:creationId xmlns:a16="http://schemas.microsoft.com/office/drawing/2014/main" id="{A1337ADB-767A-4E47-BEE8-5F78BCEB033B}"/>
                </a:ext>
              </a:extLst>
            </p:cNvPr>
            <p:cNvGrpSpPr/>
            <p:nvPr/>
          </p:nvGrpSpPr>
          <p:grpSpPr>
            <a:xfrm>
              <a:off x="6529451" y="1653846"/>
              <a:ext cx="52852" cy="135490"/>
              <a:chOff x="6529451" y="1653846"/>
              <a:chExt cx="52852" cy="135490"/>
            </a:xfrm>
            <a:grpFill/>
          </p:grpSpPr>
          <p:sp>
            <p:nvSpPr>
              <p:cNvPr id="4080" name="Vrije vorm: vorm 4079">
                <a:extLst>
                  <a:ext uri="{FF2B5EF4-FFF2-40B4-BE49-F238E27FC236}">
                    <a16:creationId xmlns:a16="http://schemas.microsoft.com/office/drawing/2014/main" id="{3C4742D8-21D6-4957-AD7F-5F473AA61EDE}"/>
                  </a:ext>
                </a:extLst>
              </p:cNvPr>
              <p:cNvSpPr/>
              <p:nvPr/>
            </p:nvSpPr>
            <p:spPr>
              <a:xfrm>
                <a:off x="6537068" y="1662202"/>
                <a:ext cx="37738" cy="118777"/>
              </a:xfrm>
              <a:custGeom>
                <a:avLst/>
                <a:gdLst>
                  <a:gd name="connsiteX0" fmla="*/ 37738 w 37738"/>
                  <a:gd name="connsiteY0" fmla="*/ 897 h 118777"/>
                  <a:gd name="connsiteX1" fmla="*/ 2871 w 37738"/>
                  <a:gd name="connsiteY1" fmla="*/ 118777 h 118777"/>
                  <a:gd name="connsiteX2" fmla="*/ 0 w 37738"/>
                  <a:gd name="connsiteY2" fmla="*/ 117880 h 118777"/>
                  <a:gd name="connsiteX3" fmla="*/ 34808 w 37738"/>
                  <a:gd name="connsiteY3" fmla="*/ 0 h 118777"/>
                </a:gdLst>
                <a:ahLst/>
                <a:cxnLst>
                  <a:cxn ang="0">
                    <a:pos x="connsiteX0" y="connsiteY0"/>
                  </a:cxn>
                  <a:cxn ang="0">
                    <a:pos x="connsiteX1" y="connsiteY1"/>
                  </a:cxn>
                  <a:cxn ang="0">
                    <a:pos x="connsiteX2" y="connsiteY2"/>
                  </a:cxn>
                  <a:cxn ang="0">
                    <a:pos x="connsiteX3" y="connsiteY3"/>
                  </a:cxn>
                </a:cxnLst>
                <a:rect l="l" t="t" r="r" b="b"/>
                <a:pathLst>
                  <a:path w="37738" h="118777">
                    <a:moveTo>
                      <a:pt x="37738" y="897"/>
                    </a:moveTo>
                    <a:lnTo>
                      <a:pt x="2871" y="118777"/>
                    </a:lnTo>
                    <a:lnTo>
                      <a:pt x="0" y="117880"/>
                    </a:lnTo>
                    <a:lnTo>
                      <a:pt x="34808" y="0"/>
                    </a:lnTo>
                    <a:close/>
                  </a:path>
                </a:pathLst>
              </a:custGeom>
              <a:grpFill/>
              <a:ln w="5978" cap="flat">
                <a:noFill/>
                <a:prstDash val="solid"/>
                <a:miter/>
              </a:ln>
            </p:spPr>
            <p:txBody>
              <a:bodyPr rtlCol="0" anchor="ctr"/>
              <a:lstStyle/>
              <a:p>
                <a:endParaRPr lang="en-GB"/>
              </a:p>
            </p:txBody>
          </p:sp>
          <p:sp>
            <p:nvSpPr>
              <p:cNvPr id="4081" name="Vrije vorm: vorm 4080">
                <a:extLst>
                  <a:ext uri="{FF2B5EF4-FFF2-40B4-BE49-F238E27FC236}">
                    <a16:creationId xmlns:a16="http://schemas.microsoft.com/office/drawing/2014/main" id="{9F9950FC-909C-42EF-8A65-EBCB46144361}"/>
                  </a:ext>
                </a:extLst>
              </p:cNvPr>
              <p:cNvSpPr/>
              <p:nvPr/>
            </p:nvSpPr>
            <p:spPr>
              <a:xfrm>
                <a:off x="6564020" y="1653846"/>
                <a:ext cx="18284" cy="18447"/>
              </a:xfrm>
              <a:custGeom>
                <a:avLst/>
                <a:gdLst>
                  <a:gd name="connsiteX0" fmla="*/ 380 w 18284"/>
                  <a:gd name="connsiteY0" fmla="*/ 6562 h 18447"/>
                  <a:gd name="connsiteX1" fmla="*/ 11744 w 18284"/>
                  <a:gd name="connsiteY1" fmla="*/ 402 h 18447"/>
                  <a:gd name="connsiteX2" fmla="*/ 17904 w 18284"/>
                  <a:gd name="connsiteY2" fmla="*/ 11885 h 18447"/>
                  <a:gd name="connsiteX3" fmla="*/ 6540 w 18284"/>
                  <a:gd name="connsiteY3" fmla="*/ 18045 h 18447"/>
                  <a:gd name="connsiteX4" fmla="*/ 380 w 1828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7">
                    <a:moveTo>
                      <a:pt x="380" y="6562"/>
                    </a:moveTo>
                    <a:cubicBezTo>
                      <a:pt x="1816" y="1718"/>
                      <a:pt x="6899" y="-1093"/>
                      <a:pt x="11744" y="402"/>
                    </a:cubicBezTo>
                    <a:cubicBezTo>
                      <a:pt x="16588" y="1838"/>
                      <a:pt x="19339" y="6981"/>
                      <a:pt x="17904" y="11885"/>
                    </a:cubicBezTo>
                    <a:cubicBezTo>
                      <a:pt x="16469" y="16730"/>
                      <a:pt x="11385" y="19540"/>
                      <a:pt x="6540" y="18045"/>
                    </a:cubicBezTo>
                    <a:cubicBezTo>
                      <a:pt x="1696" y="16610"/>
                      <a:pt x="-1055" y="11467"/>
                      <a:pt x="380" y="6562"/>
                    </a:cubicBezTo>
                    <a:close/>
                  </a:path>
                </a:pathLst>
              </a:custGeom>
              <a:grpFill/>
              <a:ln w="5978" cap="flat">
                <a:noFill/>
                <a:prstDash val="solid"/>
                <a:miter/>
              </a:ln>
            </p:spPr>
            <p:txBody>
              <a:bodyPr rtlCol="0" anchor="ctr"/>
              <a:lstStyle/>
              <a:p>
                <a:endParaRPr lang="en-GB"/>
              </a:p>
            </p:txBody>
          </p:sp>
          <p:sp>
            <p:nvSpPr>
              <p:cNvPr id="4082" name="Vrije vorm: vorm 4081">
                <a:extLst>
                  <a:ext uri="{FF2B5EF4-FFF2-40B4-BE49-F238E27FC236}">
                    <a16:creationId xmlns:a16="http://schemas.microsoft.com/office/drawing/2014/main" id="{2D3E1B6D-4187-4842-BE95-6754D200B54E}"/>
                  </a:ext>
                </a:extLst>
              </p:cNvPr>
              <p:cNvSpPr/>
              <p:nvPr/>
            </p:nvSpPr>
            <p:spPr>
              <a:xfrm>
                <a:off x="6529451" y="1770910"/>
                <a:ext cx="18284" cy="18425"/>
              </a:xfrm>
              <a:custGeom>
                <a:avLst/>
                <a:gdLst>
                  <a:gd name="connsiteX0" fmla="*/ 380 w 18284"/>
                  <a:gd name="connsiteY0" fmla="*/ 6541 h 18425"/>
                  <a:gd name="connsiteX1" fmla="*/ 6541 w 18284"/>
                  <a:gd name="connsiteY1" fmla="*/ 18024 h 18425"/>
                  <a:gd name="connsiteX2" fmla="*/ 17904 w 18284"/>
                  <a:gd name="connsiteY2" fmla="*/ 11863 h 18425"/>
                  <a:gd name="connsiteX3" fmla="*/ 11744 w 18284"/>
                  <a:gd name="connsiteY3" fmla="*/ 380 h 18425"/>
                  <a:gd name="connsiteX4" fmla="*/ 380 w 18284"/>
                  <a:gd name="connsiteY4" fmla="*/ 6541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25">
                    <a:moveTo>
                      <a:pt x="380" y="6541"/>
                    </a:moveTo>
                    <a:cubicBezTo>
                      <a:pt x="-1055" y="11385"/>
                      <a:pt x="1696" y="16528"/>
                      <a:pt x="6541" y="18024"/>
                    </a:cubicBezTo>
                    <a:cubicBezTo>
                      <a:pt x="11385" y="19519"/>
                      <a:pt x="16469" y="16708"/>
                      <a:pt x="17904" y="11863"/>
                    </a:cubicBezTo>
                    <a:cubicBezTo>
                      <a:pt x="19340" y="7019"/>
                      <a:pt x="16588" y="1876"/>
                      <a:pt x="11744" y="380"/>
                    </a:cubicBezTo>
                    <a:cubicBezTo>
                      <a:pt x="6959" y="-1055"/>
                      <a:pt x="1816" y="1696"/>
                      <a:pt x="380" y="6541"/>
                    </a:cubicBezTo>
                    <a:close/>
                  </a:path>
                </a:pathLst>
              </a:custGeom>
              <a:grpFill/>
              <a:ln w="5978" cap="flat">
                <a:noFill/>
                <a:prstDash val="solid"/>
                <a:miter/>
              </a:ln>
            </p:spPr>
            <p:txBody>
              <a:bodyPr rtlCol="0" anchor="ctr"/>
              <a:lstStyle/>
              <a:p>
                <a:endParaRPr lang="en-GB"/>
              </a:p>
            </p:txBody>
          </p:sp>
        </p:grpSp>
        <p:grpSp>
          <p:nvGrpSpPr>
            <p:cNvPr id="436" name="Graphic 3">
              <a:extLst>
                <a:ext uri="{FF2B5EF4-FFF2-40B4-BE49-F238E27FC236}">
                  <a16:creationId xmlns:a16="http://schemas.microsoft.com/office/drawing/2014/main" id="{DB7B3D24-3342-48D9-AD3B-39A37764AF9D}"/>
                </a:ext>
              </a:extLst>
            </p:cNvPr>
            <p:cNvGrpSpPr/>
            <p:nvPr/>
          </p:nvGrpSpPr>
          <p:grpSpPr>
            <a:xfrm>
              <a:off x="6480612" y="1529829"/>
              <a:ext cx="26192" cy="51774"/>
              <a:chOff x="6480612" y="1529829"/>
              <a:chExt cx="26192" cy="51774"/>
            </a:xfrm>
            <a:grpFill/>
          </p:grpSpPr>
          <p:sp>
            <p:nvSpPr>
              <p:cNvPr id="4077" name="Vrije vorm: vorm 4076">
                <a:extLst>
                  <a:ext uri="{FF2B5EF4-FFF2-40B4-BE49-F238E27FC236}">
                    <a16:creationId xmlns:a16="http://schemas.microsoft.com/office/drawing/2014/main" id="{142027A2-6D36-4147-B9B2-22506A78A1C7}"/>
                  </a:ext>
                </a:extLst>
              </p:cNvPr>
              <p:cNvSpPr/>
              <p:nvPr/>
            </p:nvSpPr>
            <p:spPr>
              <a:xfrm>
                <a:off x="6488206" y="1538222"/>
                <a:ext cx="11064" cy="34987"/>
              </a:xfrm>
              <a:custGeom>
                <a:avLst/>
                <a:gdLst>
                  <a:gd name="connsiteX0" fmla="*/ 11064 w 11064"/>
                  <a:gd name="connsiteY0" fmla="*/ 718 h 34987"/>
                  <a:gd name="connsiteX1" fmla="*/ 2990 w 11064"/>
                  <a:gd name="connsiteY1" fmla="*/ 34987 h 34987"/>
                  <a:gd name="connsiteX2" fmla="*/ 0 w 11064"/>
                  <a:gd name="connsiteY2" fmla="*/ 34270 h 34987"/>
                  <a:gd name="connsiteX3" fmla="*/ 8074 w 11064"/>
                  <a:gd name="connsiteY3" fmla="*/ 0 h 34987"/>
                </a:gdLst>
                <a:ahLst/>
                <a:cxnLst>
                  <a:cxn ang="0">
                    <a:pos x="connsiteX0" y="connsiteY0"/>
                  </a:cxn>
                  <a:cxn ang="0">
                    <a:pos x="connsiteX1" y="connsiteY1"/>
                  </a:cxn>
                  <a:cxn ang="0">
                    <a:pos x="connsiteX2" y="connsiteY2"/>
                  </a:cxn>
                  <a:cxn ang="0">
                    <a:pos x="connsiteX3" y="connsiteY3"/>
                  </a:cxn>
                </a:cxnLst>
                <a:rect l="l" t="t" r="r" b="b"/>
                <a:pathLst>
                  <a:path w="11064" h="34987">
                    <a:moveTo>
                      <a:pt x="11064" y="718"/>
                    </a:moveTo>
                    <a:lnTo>
                      <a:pt x="2990" y="34987"/>
                    </a:lnTo>
                    <a:lnTo>
                      <a:pt x="0" y="34270"/>
                    </a:lnTo>
                    <a:lnTo>
                      <a:pt x="8074" y="0"/>
                    </a:lnTo>
                    <a:close/>
                  </a:path>
                </a:pathLst>
              </a:custGeom>
              <a:grpFill/>
              <a:ln w="5978" cap="flat">
                <a:noFill/>
                <a:prstDash val="solid"/>
                <a:miter/>
              </a:ln>
            </p:spPr>
            <p:txBody>
              <a:bodyPr rtlCol="0" anchor="ctr"/>
              <a:lstStyle/>
              <a:p>
                <a:endParaRPr lang="en-GB"/>
              </a:p>
            </p:txBody>
          </p:sp>
          <p:sp>
            <p:nvSpPr>
              <p:cNvPr id="4078" name="Vrije vorm: vorm 4077">
                <a:extLst>
                  <a:ext uri="{FF2B5EF4-FFF2-40B4-BE49-F238E27FC236}">
                    <a16:creationId xmlns:a16="http://schemas.microsoft.com/office/drawing/2014/main" id="{35C91B55-E79E-4281-B55C-EED28F56E616}"/>
                  </a:ext>
                </a:extLst>
              </p:cNvPr>
              <p:cNvSpPr/>
              <p:nvPr/>
            </p:nvSpPr>
            <p:spPr>
              <a:xfrm>
                <a:off x="6488484" y="1529829"/>
                <a:ext cx="18319" cy="18461"/>
              </a:xfrm>
              <a:custGeom>
                <a:avLst/>
                <a:gdLst>
                  <a:gd name="connsiteX0" fmla="*/ 260 w 18319"/>
                  <a:gd name="connsiteY0" fmla="*/ 7078 h 18461"/>
                  <a:gd name="connsiteX1" fmla="*/ 11264 w 18319"/>
                  <a:gd name="connsiteY1" fmla="*/ 260 h 18461"/>
                  <a:gd name="connsiteX2" fmla="*/ 18082 w 18319"/>
                  <a:gd name="connsiteY2" fmla="*/ 11384 h 18461"/>
                  <a:gd name="connsiteX3" fmla="*/ 7078 w 18319"/>
                  <a:gd name="connsiteY3" fmla="*/ 18202 h 18461"/>
                  <a:gd name="connsiteX4" fmla="*/ 260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60" y="7078"/>
                    </a:moveTo>
                    <a:cubicBezTo>
                      <a:pt x="1396" y="2114"/>
                      <a:pt x="6360" y="-936"/>
                      <a:pt x="11264" y="260"/>
                    </a:cubicBezTo>
                    <a:cubicBezTo>
                      <a:pt x="16169" y="1456"/>
                      <a:pt x="19218" y="6420"/>
                      <a:pt x="18082" y="11384"/>
                    </a:cubicBezTo>
                    <a:cubicBezTo>
                      <a:pt x="16946" y="16348"/>
                      <a:pt x="11982" y="19398"/>
                      <a:pt x="7078" y="18202"/>
                    </a:cubicBezTo>
                    <a:cubicBezTo>
                      <a:pt x="2114" y="17006"/>
                      <a:pt x="-937" y="12042"/>
                      <a:pt x="260" y="7078"/>
                    </a:cubicBezTo>
                    <a:close/>
                  </a:path>
                </a:pathLst>
              </a:custGeom>
              <a:grpFill/>
              <a:ln w="5978" cap="flat">
                <a:noFill/>
                <a:prstDash val="solid"/>
                <a:miter/>
              </a:ln>
            </p:spPr>
            <p:txBody>
              <a:bodyPr rtlCol="0" anchor="ctr"/>
              <a:lstStyle/>
              <a:p>
                <a:endParaRPr lang="en-GB"/>
              </a:p>
            </p:txBody>
          </p:sp>
          <p:sp>
            <p:nvSpPr>
              <p:cNvPr id="4079" name="Vrije vorm: vorm 4078">
                <a:extLst>
                  <a:ext uri="{FF2B5EF4-FFF2-40B4-BE49-F238E27FC236}">
                    <a16:creationId xmlns:a16="http://schemas.microsoft.com/office/drawing/2014/main" id="{6D67455C-9B7D-42C0-B6E7-80C3EB862910}"/>
                  </a:ext>
                </a:extLst>
              </p:cNvPr>
              <p:cNvSpPr/>
              <p:nvPr/>
            </p:nvSpPr>
            <p:spPr>
              <a:xfrm>
                <a:off x="6480612" y="1563141"/>
                <a:ext cx="18297" cy="18461"/>
              </a:xfrm>
              <a:custGeom>
                <a:avLst/>
                <a:gdLst>
                  <a:gd name="connsiteX0" fmla="*/ 238 w 18297"/>
                  <a:gd name="connsiteY0" fmla="*/ 7078 h 18461"/>
                  <a:gd name="connsiteX1" fmla="*/ 7056 w 18297"/>
                  <a:gd name="connsiteY1" fmla="*/ 18202 h 18461"/>
                  <a:gd name="connsiteX2" fmla="*/ 18060 w 18297"/>
                  <a:gd name="connsiteY2" fmla="*/ 11384 h 18461"/>
                  <a:gd name="connsiteX3" fmla="*/ 11242 w 18297"/>
                  <a:gd name="connsiteY3" fmla="*/ 260 h 18461"/>
                  <a:gd name="connsiteX4" fmla="*/ 238 w 18297"/>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61">
                    <a:moveTo>
                      <a:pt x="238" y="7078"/>
                    </a:moveTo>
                    <a:cubicBezTo>
                      <a:pt x="-899" y="12042"/>
                      <a:pt x="2151" y="17006"/>
                      <a:pt x="7056" y="18202"/>
                    </a:cubicBezTo>
                    <a:cubicBezTo>
                      <a:pt x="11960" y="19398"/>
                      <a:pt x="16924" y="16348"/>
                      <a:pt x="18060" y="11384"/>
                    </a:cubicBezTo>
                    <a:cubicBezTo>
                      <a:pt x="19197" y="6420"/>
                      <a:pt x="16146" y="1456"/>
                      <a:pt x="11242" y="260"/>
                    </a:cubicBezTo>
                    <a:cubicBezTo>
                      <a:pt x="6398" y="-937"/>
                      <a:pt x="1434" y="2114"/>
                      <a:pt x="238" y="7078"/>
                    </a:cubicBezTo>
                    <a:close/>
                  </a:path>
                </a:pathLst>
              </a:custGeom>
              <a:grpFill/>
              <a:ln w="5978" cap="flat">
                <a:noFill/>
                <a:prstDash val="solid"/>
                <a:miter/>
              </a:ln>
            </p:spPr>
            <p:txBody>
              <a:bodyPr rtlCol="0" anchor="ctr"/>
              <a:lstStyle/>
              <a:p>
                <a:endParaRPr lang="en-GB"/>
              </a:p>
            </p:txBody>
          </p:sp>
        </p:grpSp>
        <p:grpSp>
          <p:nvGrpSpPr>
            <p:cNvPr id="437" name="Graphic 3">
              <a:extLst>
                <a:ext uri="{FF2B5EF4-FFF2-40B4-BE49-F238E27FC236}">
                  <a16:creationId xmlns:a16="http://schemas.microsoft.com/office/drawing/2014/main" id="{7E79D091-9872-4271-B72E-1D6F427C433D}"/>
                </a:ext>
              </a:extLst>
            </p:cNvPr>
            <p:cNvGrpSpPr/>
            <p:nvPr/>
          </p:nvGrpSpPr>
          <p:grpSpPr>
            <a:xfrm>
              <a:off x="6494434" y="1591558"/>
              <a:ext cx="33594" cy="78290"/>
              <a:chOff x="6494434" y="1591558"/>
              <a:chExt cx="33594" cy="78290"/>
            </a:xfrm>
            <a:grpFill/>
          </p:grpSpPr>
          <p:sp>
            <p:nvSpPr>
              <p:cNvPr id="4074" name="Vrije vorm: vorm 4073">
                <a:extLst>
                  <a:ext uri="{FF2B5EF4-FFF2-40B4-BE49-F238E27FC236}">
                    <a16:creationId xmlns:a16="http://schemas.microsoft.com/office/drawing/2014/main" id="{098D35D8-C13D-4324-ABD7-CCC3C4B16DF3}"/>
                  </a:ext>
                </a:extLst>
              </p:cNvPr>
              <p:cNvSpPr/>
              <p:nvPr/>
            </p:nvSpPr>
            <p:spPr>
              <a:xfrm>
                <a:off x="6502021" y="1599943"/>
                <a:ext cx="18480" cy="61541"/>
              </a:xfrm>
              <a:custGeom>
                <a:avLst/>
                <a:gdLst>
                  <a:gd name="connsiteX0" fmla="*/ 18480 w 18480"/>
                  <a:gd name="connsiteY0" fmla="*/ 778 h 61541"/>
                  <a:gd name="connsiteX1" fmla="*/ 2930 w 18480"/>
                  <a:gd name="connsiteY1" fmla="*/ 61542 h 61541"/>
                  <a:gd name="connsiteX2" fmla="*/ 0 w 18480"/>
                  <a:gd name="connsiteY2" fmla="*/ 60764 h 61541"/>
                  <a:gd name="connsiteX3" fmla="*/ 15550 w 18480"/>
                  <a:gd name="connsiteY3" fmla="*/ 0 h 61541"/>
                </a:gdLst>
                <a:ahLst/>
                <a:cxnLst>
                  <a:cxn ang="0">
                    <a:pos x="connsiteX0" y="connsiteY0"/>
                  </a:cxn>
                  <a:cxn ang="0">
                    <a:pos x="connsiteX1" y="connsiteY1"/>
                  </a:cxn>
                  <a:cxn ang="0">
                    <a:pos x="connsiteX2" y="connsiteY2"/>
                  </a:cxn>
                  <a:cxn ang="0">
                    <a:pos x="connsiteX3" y="connsiteY3"/>
                  </a:cxn>
                </a:cxnLst>
                <a:rect l="l" t="t" r="r" b="b"/>
                <a:pathLst>
                  <a:path w="18480" h="61541">
                    <a:moveTo>
                      <a:pt x="18480" y="778"/>
                    </a:moveTo>
                    <a:lnTo>
                      <a:pt x="2930" y="61542"/>
                    </a:lnTo>
                    <a:lnTo>
                      <a:pt x="0" y="60764"/>
                    </a:lnTo>
                    <a:lnTo>
                      <a:pt x="15550" y="0"/>
                    </a:lnTo>
                    <a:close/>
                  </a:path>
                </a:pathLst>
              </a:custGeom>
              <a:grpFill/>
              <a:ln w="5978" cap="flat">
                <a:noFill/>
                <a:prstDash val="solid"/>
                <a:miter/>
              </a:ln>
            </p:spPr>
            <p:txBody>
              <a:bodyPr rtlCol="0" anchor="ctr"/>
              <a:lstStyle/>
              <a:p>
                <a:endParaRPr lang="en-GB"/>
              </a:p>
            </p:txBody>
          </p:sp>
          <p:sp>
            <p:nvSpPr>
              <p:cNvPr id="4075" name="Vrije vorm: vorm 4074">
                <a:extLst>
                  <a:ext uri="{FF2B5EF4-FFF2-40B4-BE49-F238E27FC236}">
                    <a16:creationId xmlns:a16="http://schemas.microsoft.com/office/drawing/2014/main" id="{233BF99D-57D5-4471-BD94-E9045E074F02}"/>
                  </a:ext>
                </a:extLst>
              </p:cNvPr>
              <p:cNvSpPr/>
              <p:nvPr/>
            </p:nvSpPr>
            <p:spPr>
              <a:xfrm>
                <a:off x="6509745" y="1591558"/>
                <a:ext cx="18283" cy="18443"/>
              </a:xfrm>
              <a:custGeom>
                <a:avLst/>
                <a:gdLst>
                  <a:gd name="connsiteX0" fmla="*/ 290 w 18283"/>
                  <a:gd name="connsiteY0" fmla="*/ 6889 h 18443"/>
                  <a:gd name="connsiteX1" fmla="*/ 11415 w 18283"/>
                  <a:gd name="connsiteY1" fmla="*/ 311 h 18443"/>
                  <a:gd name="connsiteX2" fmla="*/ 17994 w 18283"/>
                  <a:gd name="connsiteY2" fmla="*/ 11554 h 18443"/>
                  <a:gd name="connsiteX3" fmla="*/ 6869 w 18283"/>
                  <a:gd name="connsiteY3" fmla="*/ 18133 h 18443"/>
                  <a:gd name="connsiteX4" fmla="*/ 290 w 18283"/>
                  <a:gd name="connsiteY4" fmla="*/ 68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3">
                    <a:moveTo>
                      <a:pt x="290" y="6889"/>
                    </a:moveTo>
                    <a:cubicBezTo>
                      <a:pt x="1547" y="1985"/>
                      <a:pt x="6570" y="-1005"/>
                      <a:pt x="11415" y="311"/>
                    </a:cubicBezTo>
                    <a:cubicBezTo>
                      <a:pt x="16319" y="1567"/>
                      <a:pt x="19249" y="6650"/>
                      <a:pt x="17994" y="11554"/>
                    </a:cubicBezTo>
                    <a:cubicBezTo>
                      <a:pt x="16737" y="16459"/>
                      <a:pt x="11714" y="19449"/>
                      <a:pt x="6869" y="18133"/>
                    </a:cubicBezTo>
                    <a:cubicBezTo>
                      <a:pt x="1965" y="16877"/>
                      <a:pt x="-965" y="11853"/>
                      <a:pt x="290" y="6889"/>
                    </a:cubicBezTo>
                    <a:close/>
                  </a:path>
                </a:pathLst>
              </a:custGeom>
              <a:grpFill/>
              <a:ln w="5978" cap="flat">
                <a:noFill/>
                <a:prstDash val="solid"/>
                <a:miter/>
              </a:ln>
            </p:spPr>
            <p:txBody>
              <a:bodyPr rtlCol="0" anchor="ctr"/>
              <a:lstStyle/>
              <a:p>
                <a:endParaRPr lang="en-GB"/>
              </a:p>
            </p:txBody>
          </p:sp>
          <p:sp>
            <p:nvSpPr>
              <p:cNvPr id="4076" name="Vrije vorm: vorm 4075">
                <a:extLst>
                  <a:ext uri="{FF2B5EF4-FFF2-40B4-BE49-F238E27FC236}">
                    <a16:creationId xmlns:a16="http://schemas.microsoft.com/office/drawing/2014/main" id="{FA756CEA-CB05-4AFC-BAE8-689E840C3ABB}"/>
                  </a:ext>
                </a:extLst>
              </p:cNvPr>
              <p:cNvSpPr/>
              <p:nvPr/>
            </p:nvSpPr>
            <p:spPr>
              <a:xfrm>
                <a:off x="6494434" y="1651445"/>
                <a:ext cx="18283" cy="18403"/>
              </a:xfrm>
              <a:custGeom>
                <a:avLst/>
                <a:gdLst>
                  <a:gd name="connsiteX0" fmla="*/ 290 w 18283"/>
                  <a:gd name="connsiteY0" fmla="*/ 6869 h 18403"/>
                  <a:gd name="connsiteX1" fmla="*/ 6869 w 18283"/>
                  <a:gd name="connsiteY1" fmla="*/ 18113 h 18403"/>
                  <a:gd name="connsiteX2" fmla="*/ 17994 w 18283"/>
                  <a:gd name="connsiteY2" fmla="*/ 11534 h 18403"/>
                  <a:gd name="connsiteX3" fmla="*/ 11415 w 18283"/>
                  <a:gd name="connsiteY3" fmla="*/ 291 h 18403"/>
                  <a:gd name="connsiteX4" fmla="*/ 290 w 18283"/>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03">
                    <a:moveTo>
                      <a:pt x="290" y="6869"/>
                    </a:moveTo>
                    <a:cubicBezTo>
                      <a:pt x="-965" y="11773"/>
                      <a:pt x="1965" y="16797"/>
                      <a:pt x="6869" y="18113"/>
                    </a:cubicBezTo>
                    <a:cubicBezTo>
                      <a:pt x="11773" y="19369"/>
                      <a:pt x="16737" y="16438"/>
                      <a:pt x="17994" y="11534"/>
                    </a:cubicBezTo>
                    <a:cubicBezTo>
                      <a:pt x="19249" y="6630"/>
                      <a:pt x="16319" y="1606"/>
                      <a:pt x="11415" y="291"/>
                    </a:cubicBezTo>
                    <a:cubicBezTo>
                      <a:pt x="6570" y="-965"/>
                      <a:pt x="1547" y="1965"/>
                      <a:pt x="290" y="6869"/>
                    </a:cubicBezTo>
                    <a:close/>
                  </a:path>
                </a:pathLst>
              </a:custGeom>
              <a:grpFill/>
              <a:ln w="5978" cap="flat">
                <a:noFill/>
                <a:prstDash val="solid"/>
                <a:miter/>
              </a:ln>
            </p:spPr>
            <p:txBody>
              <a:bodyPr rtlCol="0" anchor="ctr"/>
              <a:lstStyle/>
              <a:p>
                <a:endParaRPr lang="en-GB"/>
              </a:p>
            </p:txBody>
          </p:sp>
        </p:grpSp>
        <p:grpSp>
          <p:nvGrpSpPr>
            <p:cNvPr id="438" name="Graphic 3">
              <a:extLst>
                <a:ext uri="{FF2B5EF4-FFF2-40B4-BE49-F238E27FC236}">
                  <a16:creationId xmlns:a16="http://schemas.microsoft.com/office/drawing/2014/main" id="{C3D8FD19-FF60-4C8F-8174-0A3DBA7843AC}"/>
                </a:ext>
              </a:extLst>
            </p:cNvPr>
            <p:cNvGrpSpPr/>
            <p:nvPr/>
          </p:nvGrpSpPr>
          <p:grpSpPr>
            <a:xfrm>
              <a:off x="7449006" y="4631817"/>
              <a:ext cx="226674" cy="200160"/>
              <a:chOff x="7449006" y="4631817"/>
              <a:chExt cx="226674" cy="200160"/>
            </a:xfrm>
            <a:grpFill/>
          </p:grpSpPr>
          <p:sp>
            <p:nvSpPr>
              <p:cNvPr id="4071" name="Vrije vorm: vorm 4070">
                <a:extLst>
                  <a:ext uri="{FF2B5EF4-FFF2-40B4-BE49-F238E27FC236}">
                    <a16:creationId xmlns:a16="http://schemas.microsoft.com/office/drawing/2014/main" id="{0A1C574A-F378-4861-B7C5-F47E91F75034}"/>
                  </a:ext>
                </a:extLst>
              </p:cNvPr>
              <p:cNvSpPr/>
              <p:nvPr/>
            </p:nvSpPr>
            <p:spPr>
              <a:xfrm>
                <a:off x="7456784" y="4639525"/>
                <a:ext cx="211059" cy="184744"/>
              </a:xfrm>
              <a:custGeom>
                <a:avLst/>
                <a:gdLst>
                  <a:gd name="connsiteX0" fmla="*/ 211060 w 211059"/>
                  <a:gd name="connsiteY0" fmla="*/ 182412 h 184744"/>
                  <a:gd name="connsiteX1" fmla="*/ 209087 w 211059"/>
                  <a:gd name="connsiteY1" fmla="*/ 184745 h 184744"/>
                  <a:gd name="connsiteX2" fmla="*/ 0 w 211059"/>
                  <a:gd name="connsiteY2" fmla="*/ 2333 h 184744"/>
                  <a:gd name="connsiteX3" fmla="*/ 2033 w 211059"/>
                  <a:gd name="connsiteY3" fmla="*/ 0 h 184744"/>
                </a:gdLst>
                <a:ahLst/>
                <a:cxnLst>
                  <a:cxn ang="0">
                    <a:pos x="connsiteX0" y="connsiteY0"/>
                  </a:cxn>
                  <a:cxn ang="0">
                    <a:pos x="connsiteX1" y="connsiteY1"/>
                  </a:cxn>
                  <a:cxn ang="0">
                    <a:pos x="connsiteX2" y="connsiteY2"/>
                  </a:cxn>
                  <a:cxn ang="0">
                    <a:pos x="connsiteX3" y="connsiteY3"/>
                  </a:cxn>
                </a:cxnLst>
                <a:rect l="l" t="t" r="r" b="b"/>
                <a:pathLst>
                  <a:path w="211059" h="184744">
                    <a:moveTo>
                      <a:pt x="211060" y="182412"/>
                    </a:moveTo>
                    <a:lnTo>
                      <a:pt x="209087" y="184745"/>
                    </a:lnTo>
                    <a:lnTo>
                      <a:pt x="0" y="2333"/>
                    </a:lnTo>
                    <a:lnTo>
                      <a:pt x="2033" y="0"/>
                    </a:lnTo>
                    <a:close/>
                  </a:path>
                </a:pathLst>
              </a:custGeom>
              <a:grpFill/>
              <a:ln w="5978" cap="flat">
                <a:noFill/>
                <a:prstDash val="solid"/>
                <a:miter/>
              </a:ln>
            </p:spPr>
            <p:txBody>
              <a:bodyPr rtlCol="0" anchor="ctr"/>
              <a:lstStyle/>
              <a:p>
                <a:endParaRPr lang="en-GB"/>
              </a:p>
            </p:txBody>
          </p:sp>
          <p:sp>
            <p:nvSpPr>
              <p:cNvPr id="4072" name="Vrije vorm: vorm 4071">
                <a:extLst>
                  <a:ext uri="{FF2B5EF4-FFF2-40B4-BE49-F238E27FC236}">
                    <a16:creationId xmlns:a16="http://schemas.microsoft.com/office/drawing/2014/main" id="{50E2DEBB-1597-4821-92F9-F0B91F7D3EB7}"/>
                  </a:ext>
                </a:extLst>
              </p:cNvPr>
              <p:cNvSpPr/>
              <p:nvPr/>
            </p:nvSpPr>
            <p:spPr>
              <a:xfrm>
                <a:off x="7657375" y="4813571"/>
                <a:ext cx="18306" cy="18405"/>
              </a:xfrm>
              <a:custGeom>
                <a:avLst/>
                <a:gdLst>
                  <a:gd name="connsiteX0" fmla="*/ 15134 w 18306"/>
                  <a:gd name="connsiteY0" fmla="*/ 2265 h 18405"/>
                  <a:gd name="connsiteX1" fmla="*/ 16090 w 18306"/>
                  <a:gd name="connsiteY1" fmla="*/ 15243 h 18405"/>
                  <a:gd name="connsiteX2" fmla="*/ 3173 w 18306"/>
                  <a:gd name="connsiteY2" fmla="*/ 16141 h 18405"/>
                  <a:gd name="connsiteX3" fmla="*/ 2215 w 18306"/>
                  <a:gd name="connsiteY3" fmla="*/ 3162 h 18405"/>
                  <a:gd name="connsiteX4" fmla="*/ 15134 w 18306"/>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5134" y="2265"/>
                    </a:moveTo>
                    <a:cubicBezTo>
                      <a:pt x="18962" y="5615"/>
                      <a:pt x="19380" y="11416"/>
                      <a:pt x="16090" y="15243"/>
                    </a:cubicBezTo>
                    <a:cubicBezTo>
                      <a:pt x="12801" y="19071"/>
                      <a:pt x="7000" y="19490"/>
                      <a:pt x="3173" y="16141"/>
                    </a:cubicBezTo>
                    <a:cubicBezTo>
                      <a:pt x="-655" y="12791"/>
                      <a:pt x="-1074" y="6990"/>
                      <a:pt x="2215" y="3162"/>
                    </a:cubicBezTo>
                    <a:cubicBezTo>
                      <a:pt x="5505" y="-665"/>
                      <a:pt x="11306" y="-1084"/>
                      <a:pt x="15134" y="2265"/>
                    </a:cubicBezTo>
                    <a:close/>
                  </a:path>
                </a:pathLst>
              </a:custGeom>
              <a:grpFill/>
              <a:ln w="5978" cap="flat">
                <a:noFill/>
                <a:prstDash val="solid"/>
                <a:miter/>
              </a:ln>
            </p:spPr>
            <p:txBody>
              <a:bodyPr rtlCol="0" anchor="ctr"/>
              <a:lstStyle/>
              <a:p>
                <a:endParaRPr lang="en-GB"/>
              </a:p>
            </p:txBody>
          </p:sp>
          <p:sp>
            <p:nvSpPr>
              <p:cNvPr id="4073" name="Vrije vorm: vorm 4072">
                <a:extLst>
                  <a:ext uri="{FF2B5EF4-FFF2-40B4-BE49-F238E27FC236}">
                    <a16:creationId xmlns:a16="http://schemas.microsoft.com/office/drawing/2014/main" id="{C28B1412-4152-4765-B7E5-E5525ADF8EF8}"/>
                  </a:ext>
                </a:extLst>
              </p:cNvPr>
              <p:cNvSpPr/>
              <p:nvPr/>
            </p:nvSpPr>
            <p:spPr>
              <a:xfrm>
                <a:off x="7449006" y="4631817"/>
                <a:ext cx="18306" cy="18405"/>
              </a:xfrm>
              <a:custGeom>
                <a:avLst/>
                <a:gdLst>
                  <a:gd name="connsiteX0" fmla="*/ 15134 w 18306"/>
                  <a:gd name="connsiteY0" fmla="*/ 2265 h 18405"/>
                  <a:gd name="connsiteX1" fmla="*/ 2216 w 18306"/>
                  <a:gd name="connsiteY1" fmla="*/ 3163 h 18405"/>
                  <a:gd name="connsiteX2" fmla="*/ 3172 w 18306"/>
                  <a:gd name="connsiteY2" fmla="*/ 16141 h 18405"/>
                  <a:gd name="connsiteX3" fmla="*/ 16091 w 18306"/>
                  <a:gd name="connsiteY3" fmla="*/ 15243 h 18405"/>
                  <a:gd name="connsiteX4" fmla="*/ 15134 w 18306"/>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5">
                    <a:moveTo>
                      <a:pt x="15134" y="2265"/>
                    </a:moveTo>
                    <a:cubicBezTo>
                      <a:pt x="11306" y="-1084"/>
                      <a:pt x="5505" y="-665"/>
                      <a:pt x="2216" y="3163"/>
                    </a:cubicBezTo>
                    <a:cubicBezTo>
                      <a:pt x="-1074" y="6990"/>
                      <a:pt x="-656" y="12791"/>
                      <a:pt x="3172" y="16141"/>
                    </a:cubicBezTo>
                    <a:cubicBezTo>
                      <a:pt x="7000" y="19490"/>
                      <a:pt x="12801" y="19071"/>
                      <a:pt x="16091" y="15243"/>
                    </a:cubicBezTo>
                    <a:cubicBezTo>
                      <a:pt x="19380" y="11416"/>
                      <a:pt x="18961" y="5555"/>
                      <a:pt x="15134" y="2265"/>
                    </a:cubicBezTo>
                    <a:close/>
                  </a:path>
                </a:pathLst>
              </a:custGeom>
              <a:grpFill/>
              <a:ln w="5978" cap="flat">
                <a:noFill/>
                <a:prstDash val="solid"/>
                <a:miter/>
              </a:ln>
            </p:spPr>
            <p:txBody>
              <a:bodyPr rtlCol="0" anchor="ctr"/>
              <a:lstStyle/>
              <a:p>
                <a:endParaRPr lang="en-GB"/>
              </a:p>
            </p:txBody>
          </p:sp>
        </p:grpSp>
        <p:grpSp>
          <p:nvGrpSpPr>
            <p:cNvPr id="439" name="Graphic 3">
              <a:extLst>
                <a:ext uri="{FF2B5EF4-FFF2-40B4-BE49-F238E27FC236}">
                  <a16:creationId xmlns:a16="http://schemas.microsoft.com/office/drawing/2014/main" id="{B921F25D-7C66-4B0B-9861-3C098ACBD413}"/>
                </a:ext>
              </a:extLst>
            </p:cNvPr>
            <p:cNvGrpSpPr/>
            <p:nvPr/>
          </p:nvGrpSpPr>
          <p:grpSpPr>
            <a:xfrm>
              <a:off x="7416570" y="4395382"/>
              <a:ext cx="70438" cy="55998"/>
              <a:chOff x="7416570" y="4395382"/>
              <a:chExt cx="70438" cy="55998"/>
            </a:xfrm>
            <a:grpFill/>
          </p:grpSpPr>
          <p:sp>
            <p:nvSpPr>
              <p:cNvPr id="4068" name="Vrije vorm: vorm 4067">
                <a:extLst>
                  <a:ext uri="{FF2B5EF4-FFF2-40B4-BE49-F238E27FC236}">
                    <a16:creationId xmlns:a16="http://schemas.microsoft.com/office/drawing/2014/main" id="{67ABBB56-64CF-431B-892B-B71300D23741}"/>
                  </a:ext>
                </a:extLst>
              </p:cNvPr>
              <p:cNvSpPr/>
              <p:nvPr/>
            </p:nvSpPr>
            <p:spPr>
              <a:xfrm>
                <a:off x="7424487" y="4403047"/>
                <a:ext cx="54604" cy="40608"/>
              </a:xfrm>
              <a:custGeom>
                <a:avLst/>
                <a:gdLst>
                  <a:gd name="connsiteX0" fmla="*/ 54604 w 54604"/>
                  <a:gd name="connsiteY0" fmla="*/ 38097 h 40608"/>
                  <a:gd name="connsiteX1" fmla="*/ 52870 w 54604"/>
                  <a:gd name="connsiteY1" fmla="*/ 40609 h 40608"/>
                  <a:gd name="connsiteX2" fmla="*/ 0 w 54604"/>
                  <a:gd name="connsiteY2" fmla="*/ 2512 h 40608"/>
                  <a:gd name="connsiteX3" fmla="*/ 1735 w 54604"/>
                  <a:gd name="connsiteY3" fmla="*/ 0 h 40608"/>
                </a:gdLst>
                <a:ahLst/>
                <a:cxnLst>
                  <a:cxn ang="0">
                    <a:pos x="connsiteX0" y="connsiteY0"/>
                  </a:cxn>
                  <a:cxn ang="0">
                    <a:pos x="connsiteX1" y="connsiteY1"/>
                  </a:cxn>
                  <a:cxn ang="0">
                    <a:pos x="connsiteX2" y="connsiteY2"/>
                  </a:cxn>
                  <a:cxn ang="0">
                    <a:pos x="connsiteX3" y="connsiteY3"/>
                  </a:cxn>
                </a:cxnLst>
                <a:rect l="l" t="t" r="r" b="b"/>
                <a:pathLst>
                  <a:path w="54604" h="40608">
                    <a:moveTo>
                      <a:pt x="54604" y="38097"/>
                    </a:moveTo>
                    <a:lnTo>
                      <a:pt x="52870" y="40609"/>
                    </a:lnTo>
                    <a:lnTo>
                      <a:pt x="0" y="2512"/>
                    </a:lnTo>
                    <a:lnTo>
                      <a:pt x="1735" y="0"/>
                    </a:lnTo>
                    <a:close/>
                  </a:path>
                </a:pathLst>
              </a:custGeom>
              <a:grpFill/>
              <a:ln w="5978" cap="flat">
                <a:noFill/>
                <a:prstDash val="solid"/>
                <a:miter/>
              </a:ln>
            </p:spPr>
            <p:txBody>
              <a:bodyPr rtlCol="0" anchor="ctr"/>
              <a:lstStyle/>
              <a:p>
                <a:endParaRPr lang="en-GB"/>
              </a:p>
            </p:txBody>
          </p:sp>
          <p:sp>
            <p:nvSpPr>
              <p:cNvPr id="4069" name="Vrije vorm: vorm 4068">
                <a:extLst>
                  <a:ext uri="{FF2B5EF4-FFF2-40B4-BE49-F238E27FC236}">
                    <a16:creationId xmlns:a16="http://schemas.microsoft.com/office/drawing/2014/main" id="{99F9794F-A0C7-40CA-9DDE-52946FF3E0E6}"/>
                  </a:ext>
                </a:extLst>
              </p:cNvPr>
              <p:cNvSpPr/>
              <p:nvPr/>
            </p:nvSpPr>
            <p:spPr>
              <a:xfrm>
                <a:off x="7468663" y="4432941"/>
                <a:ext cx="18346" cy="18439"/>
              </a:xfrm>
              <a:custGeom>
                <a:avLst/>
                <a:gdLst>
                  <a:gd name="connsiteX0" fmla="*/ 14496 w 18346"/>
                  <a:gd name="connsiteY0" fmla="*/ 1744 h 18439"/>
                  <a:gd name="connsiteX1" fmla="*/ 16649 w 18346"/>
                  <a:gd name="connsiteY1" fmla="*/ 14603 h 18439"/>
                  <a:gd name="connsiteX2" fmla="*/ 3850 w 18346"/>
                  <a:gd name="connsiteY2" fmla="*/ 16696 h 18439"/>
                  <a:gd name="connsiteX3" fmla="*/ 1697 w 18346"/>
                  <a:gd name="connsiteY3" fmla="*/ 3837 h 18439"/>
                  <a:gd name="connsiteX4" fmla="*/ 14496 w 18346"/>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9">
                    <a:moveTo>
                      <a:pt x="14496" y="1744"/>
                    </a:moveTo>
                    <a:cubicBezTo>
                      <a:pt x="18623" y="4734"/>
                      <a:pt x="19580" y="10476"/>
                      <a:pt x="16649" y="14603"/>
                    </a:cubicBezTo>
                    <a:cubicBezTo>
                      <a:pt x="13719" y="18729"/>
                      <a:pt x="7977" y="19686"/>
                      <a:pt x="3850" y="16696"/>
                    </a:cubicBezTo>
                    <a:cubicBezTo>
                      <a:pt x="-276" y="13705"/>
                      <a:pt x="-1233" y="7964"/>
                      <a:pt x="1697" y="3837"/>
                    </a:cubicBezTo>
                    <a:cubicBezTo>
                      <a:pt x="4688" y="-289"/>
                      <a:pt x="10369" y="-1247"/>
                      <a:pt x="14496" y="1744"/>
                    </a:cubicBezTo>
                    <a:close/>
                  </a:path>
                </a:pathLst>
              </a:custGeom>
              <a:grpFill/>
              <a:ln w="5978" cap="flat">
                <a:noFill/>
                <a:prstDash val="solid"/>
                <a:miter/>
              </a:ln>
            </p:spPr>
            <p:txBody>
              <a:bodyPr rtlCol="0" anchor="ctr"/>
              <a:lstStyle/>
              <a:p>
                <a:endParaRPr lang="en-GB"/>
              </a:p>
            </p:txBody>
          </p:sp>
          <p:sp>
            <p:nvSpPr>
              <p:cNvPr id="4070" name="Vrije vorm: vorm 4069">
                <a:extLst>
                  <a:ext uri="{FF2B5EF4-FFF2-40B4-BE49-F238E27FC236}">
                    <a16:creationId xmlns:a16="http://schemas.microsoft.com/office/drawing/2014/main" id="{B84E3F7F-001D-4C65-94A0-FA7FC2DF232D}"/>
                  </a:ext>
                </a:extLst>
              </p:cNvPr>
              <p:cNvSpPr/>
              <p:nvPr/>
            </p:nvSpPr>
            <p:spPr>
              <a:xfrm>
                <a:off x="7416570" y="4395382"/>
                <a:ext cx="18330" cy="18439"/>
              </a:xfrm>
              <a:custGeom>
                <a:avLst/>
                <a:gdLst>
                  <a:gd name="connsiteX0" fmla="*/ 14496 w 18330"/>
                  <a:gd name="connsiteY0" fmla="*/ 1744 h 18439"/>
                  <a:gd name="connsiteX1" fmla="*/ 1698 w 18330"/>
                  <a:gd name="connsiteY1" fmla="*/ 3837 h 18439"/>
                  <a:gd name="connsiteX2" fmla="*/ 3851 w 18330"/>
                  <a:gd name="connsiteY2" fmla="*/ 16696 h 18439"/>
                  <a:gd name="connsiteX3" fmla="*/ 16649 w 18330"/>
                  <a:gd name="connsiteY3" fmla="*/ 14602 h 18439"/>
                  <a:gd name="connsiteX4" fmla="*/ 14496 w 18330"/>
                  <a:gd name="connsiteY4" fmla="*/ 174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39">
                    <a:moveTo>
                      <a:pt x="14496" y="1744"/>
                    </a:moveTo>
                    <a:cubicBezTo>
                      <a:pt x="10369" y="-1246"/>
                      <a:pt x="4628" y="-290"/>
                      <a:pt x="1698" y="3837"/>
                    </a:cubicBezTo>
                    <a:cubicBezTo>
                      <a:pt x="-1233" y="7964"/>
                      <a:pt x="-277" y="13705"/>
                      <a:pt x="3851" y="16696"/>
                    </a:cubicBezTo>
                    <a:cubicBezTo>
                      <a:pt x="7977" y="19686"/>
                      <a:pt x="13719" y="18729"/>
                      <a:pt x="16649" y="14602"/>
                    </a:cubicBezTo>
                    <a:cubicBezTo>
                      <a:pt x="19580" y="10476"/>
                      <a:pt x="18563" y="4674"/>
                      <a:pt x="14496" y="1744"/>
                    </a:cubicBezTo>
                    <a:close/>
                  </a:path>
                </a:pathLst>
              </a:custGeom>
              <a:grpFill/>
              <a:ln w="5978" cap="flat">
                <a:noFill/>
                <a:prstDash val="solid"/>
                <a:miter/>
              </a:ln>
            </p:spPr>
            <p:txBody>
              <a:bodyPr rtlCol="0" anchor="ctr"/>
              <a:lstStyle/>
              <a:p>
                <a:endParaRPr lang="en-GB"/>
              </a:p>
            </p:txBody>
          </p:sp>
        </p:grpSp>
        <p:grpSp>
          <p:nvGrpSpPr>
            <p:cNvPr id="440" name="Graphic 3">
              <a:extLst>
                <a:ext uri="{FF2B5EF4-FFF2-40B4-BE49-F238E27FC236}">
                  <a16:creationId xmlns:a16="http://schemas.microsoft.com/office/drawing/2014/main" id="{0DA122E2-3E6F-4B09-A75B-FD1320C613F4}"/>
                </a:ext>
              </a:extLst>
            </p:cNvPr>
            <p:cNvGrpSpPr/>
            <p:nvPr/>
          </p:nvGrpSpPr>
          <p:grpSpPr>
            <a:xfrm>
              <a:off x="6433702" y="1500074"/>
              <a:ext cx="116728" cy="285507"/>
              <a:chOff x="6433702" y="1500074"/>
              <a:chExt cx="116728" cy="285507"/>
            </a:xfrm>
            <a:grpFill/>
          </p:grpSpPr>
          <p:sp>
            <p:nvSpPr>
              <p:cNvPr id="4065" name="Vrije vorm: vorm 4064">
                <a:extLst>
                  <a:ext uri="{FF2B5EF4-FFF2-40B4-BE49-F238E27FC236}">
                    <a16:creationId xmlns:a16="http://schemas.microsoft.com/office/drawing/2014/main" id="{3CBA70E5-5728-4F52-A271-EC90162EB7C6}"/>
                  </a:ext>
                </a:extLst>
              </p:cNvPr>
              <p:cNvSpPr/>
              <p:nvPr/>
            </p:nvSpPr>
            <p:spPr>
              <a:xfrm>
                <a:off x="6441317" y="1508318"/>
                <a:ext cx="101552" cy="269012"/>
              </a:xfrm>
              <a:custGeom>
                <a:avLst/>
                <a:gdLst>
                  <a:gd name="connsiteX0" fmla="*/ 101553 w 101552"/>
                  <a:gd name="connsiteY0" fmla="*/ 1076 h 269012"/>
                  <a:gd name="connsiteX1" fmla="*/ 2811 w 101552"/>
                  <a:gd name="connsiteY1" fmla="*/ 269013 h 269012"/>
                  <a:gd name="connsiteX2" fmla="*/ 0 w 101552"/>
                  <a:gd name="connsiteY2" fmla="*/ 267936 h 269012"/>
                  <a:gd name="connsiteX3" fmla="*/ 98682 w 101552"/>
                  <a:gd name="connsiteY3" fmla="*/ 0 h 269012"/>
                </a:gdLst>
                <a:ahLst/>
                <a:cxnLst>
                  <a:cxn ang="0">
                    <a:pos x="connsiteX0" y="connsiteY0"/>
                  </a:cxn>
                  <a:cxn ang="0">
                    <a:pos x="connsiteX1" y="connsiteY1"/>
                  </a:cxn>
                  <a:cxn ang="0">
                    <a:pos x="connsiteX2" y="connsiteY2"/>
                  </a:cxn>
                  <a:cxn ang="0">
                    <a:pos x="connsiteX3" y="connsiteY3"/>
                  </a:cxn>
                </a:cxnLst>
                <a:rect l="l" t="t" r="r" b="b"/>
                <a:pathLst>
                  <a:path w="101552" h="269012">
                    <a:moveTo>
                      <a:pt x="101553" y="1076"/>
                    </a:moveTo>
                    <a:lnTo>
                      <a:pt x="2811" y="269013"/>
                    </a:lnTo>
                    <a:lnTo>
                      <a:pt x="0" y="267936"/>
                    </a:lnTo>
                    <a:lnTo>
                      <a:pt x="98682" y="0"/>
                    </a:lnTo>
                    <a:close/>
                  </a:path>
                </a:pathLst>
              </a:custGeom>
              <a:grpFill/>
              <a:ln w="5978" cap="flat">
                <a:noFill/>
                <a:prstDash val="solid"/>
                <a:miter/>
              </a:ln>
            </p:spPr>
            <p:txBody>
              <a:bodyPr rtlCol="0" anchor="ctr"/>
              <a:lstStyle/>
              <a:p>
                <a:endParaRPr lang="en-GB"/>
              </a:p>
            </p:txBody>
          </p:sp>
          <p:sp>
            <p:nvSpPr>
              <p:cNvPr id="4066" name="Vrije vorm: vorm 4065">
                <a:extLst>
                  <a:ext uri="{FF2B5EF4-FFF2-40B4-BE49-F238E27FC236}">
                    <a16:creationId xmlns:a16="http://schemas.microsoft.com/office/drawing/2014/main" id="{9224BF67-4CE2-4D21-B94F-D45E7F7E04CF}"/>
                  </a:ext>
                </a:extLst>
              </p:cNvPr>
              <p:cNvSpPr/>
              <p:nvPr/>
            </p:nvSpPr>
            <p:spPr>
              <a:xfrm>
                <a:off x="6433702" y="1767166"/>
                <a:ext cx="18345" cy="18415"/>
              </a:xfrm>
              <a:custGeom>
                <a:avLst/>
                <a:gdLst>
                  <a:gd name="connsiteX0" fmla="*/ 17782 w 18345"/>
                  <a:gd name="connsiteY0" fmla="*/ 12438 h 18415"/>
                  <a:gd name="connsiteX1" fmla="*/ 6000 w 18345"/>
                  <a:gd name="connsiteY1" fmla="*/ 17820 h 18415"/>
                  <a:gd name="connsiteX2" fmla="*/ 557 w 18345"/>
                  <a:gd name="connsiteY2" fmla="*/ 5978 h 18415"/>
                  <a:gd name="connsiteX3" fmla="*/ 12339 w 18345"/>
                  <a:gd name="connsiteY3" fmla="*/ 596 h 18415"/>
                  <a:gd name="connsiteX4" fmla="*/ 17782 w 18345"/>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15">
                    <a:moveTo>
                      <a:pt x="17782" y="12438"/>
                    </a:moveTo>
                    <a:cubicBezTo>
                      <a:pt x="16047" y="17222"/>
                      <a:pt x="10784" y="19614"/>
                      <a:pt x="6000" y="17820"/>
                    </a:cubicBezTo>
                    <a:cubicBezTo>
                      <a:pt x="1275" y="16026"/>
                      <a:pt x="-1177" y="10703"/>
                      <a:pt x="557" y="5978"/>
                    </a:cubicBezTo>
                    <a:cubicBezTo>
                      <a:pt x="2291" y="1194"/>
                      <a:pt x="7555" y="-1198"/>
                      <a:pt x="12339" y="596"/>
                    </a:cubicBezTo>
                    <a:cubicBezTo>
                      <a:pt x="17124" y="2390"/>
                      <a:pt x="19516" y="7713"/>
                      <a:pt x="17782" y="12438"/>
                    </a:cubicBezTo>
                    <a:close/>
                  </a:path>
                </a:pathLst>
              </a:custGeom>
              <a:grpFill/>
              <a:ln w="5978" cap="flat">
                <a:noFill/>
                <a:prstDash val="solid"/>
                <a:miter/>
              </a:ln>
            </p:spPr>
            <p:txBody>
              <a:bodyPr rtlCol="0" anchor="ctr"/>
              <a:lstStyle/>
              <a:p>
                <a:endParaRPr lang="en-GB"/>
              </a:p>
            </p:txBody>
          </p:sp>
          <p:sp>
            <p:nvSpPr>
              <p:cNvPr id="4067" name="Vrije vorm: vorm 4066">
                <a:extLst>
                  <a:ext uri="{FF2B5EF4-FFF2-40B4-BE49-F238E27FC236}">
                    <a16:creationId xmlns:a16="http://schemas.microsoft.com/office/drawing/2014/main" id="{E35ED370-480F-4891-872F-DDC694AC6051}"/>
                  </a:ext>
                </a:extLst>
              </p:cNvPr>
              <p:cNvSpPr/>
              <p:nvPr/>
            </p:nvSpPr>
            <p:spPr>
              <a:xfrm>
                <a:off x="6532078" y="1500074"/>
                <a:ext cx="18352" cy="18408"/>
              </a:xfrm>
              <a:custGeom>
                <a:avLst/>
                <a:gdLst>
                  <a:gd name="connsiteX0" fmla="*/ 17789 w 18352"/>
                  <a:gd name="connsiteY0" fmla="*/ 12431 h 18408"/>
                  <a:gd name="connsiteX1" fmla="*/ 12346 w 18352"/>
                  <a:gd name="connsiteY1" fmla="*/ 589 h 18408"/>
                  <a:gd name="connsiteX2" fmla="*/ 564 w 18352"/>
                  <a:gd name="connsiteY2" fmla="*/ 5971 h 18408"/>
                  <a:gd name="connsiteX3" fmla="*/ 6006 w 18352"/>
                  <a:gd name="connsiteY3" fmla="*/ 17813 h 18408"/>
                  <a:gd name="connsiteX4" fmla="*/ 17789 w 18352"/>
                  <a:gd name="connsiteY4" fmla="*/ 1243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8">
                    <a:moveTo>
                      <a:pt x="17789" y="12431"/>
                    </a:moveTo>
                    <a:cubicBezTo>
                      <a:pt x="19523" y="7646"/>
                      <a:pt x="17130" y="2383"/>
                      <a:pt x="12346" y="589"/>
                    </a:cubicBezTo>
                    <a:cubicBezTo>
                      <a:pt x="7621" y="-1206"/>
                      <a:pt x="2298" y="1247"/>
                      <a:pt x="564" y="5971"/>
                    </a:cubicBezTo>
                    <a:cubicBezTo>
                      <a:pt x="-1171" y="10756"/>
                      <a:pt x="1222" y="16019"/>
                      <a:pt x="6006" y="17813"/>
                    </a:cubicBezTo>
                    <a:cubicBezTo>
                      <a:pt x="10791" y="19607"/>
                      <a:pt x="16054" y="17215"/>
                      <a:pt x="17789" y="12431"/>
                    </a:cubicBezTo>
                    <a:close/>
                  </a:path>
                </a:pathLst>
              </a:custGeom>
              <a:grpFill/>
              <a:ln w="5978" cap="flat">
                <a:noFill/>
                <a:prstDash val="solid"/>
                <a:miter/>
              </a:ln>
            </p:spPr>
            <p:txBody>
              <a:bodyPr rtlCol="0" anchor="ctr"/>
              <a:lstStyle/>
              <a:p>
                <a:endParaRPr lang="en-GB"/>
              </a:p>
            </p:txBody>
          </p:sp>
        </p:grpSp>
        <p:grpSp>
          <p:nvGrpSpPr>
            <p:cNvPr id="441" name="Graphic 3">
              <a:extLst>
                <a:ext uri="{FF2B5EF4-FFF2-40B4-BE49-F238E27FC236}">
                  <a16:creationId xmlns:a16="http://schemas.microsoft.com/office/drawing/2014/main" id="{C738F927-A880-48B5-817E-6D8B6B338719}"/>
                </a:ext>
              </a:extLst>
            </p:cNvPr>
            <p:cNvGrpSpPr/>
            <p:nvPr/>
          </p:nvGrpSpPr>
          <p:grpSpPr>
            <a:xfrm>
              <a:off x="6443559" y="1484882"/>
              <a:ext cx="36247" cy="101637"/>
              <a:chOff x="6443559" y="1484882"/>
              <a:chExt cx="36247" cy="101637"/>
            </a:xfrm>
            <a:grpFill/>
          </p:grpSpPr>
          <p:sp>
            <p:nvSpPr>
              <p:cNvPr id="4062" name="Vrije vorm: vorm 4061">
                <a:extLst>
                  <a:ext uri="{FF2B5EF4-FFF2-40B4-BE49-F238E27FC236}">
                    <a16:creationId xmlns:a16="http://schemas.microsoft.com/office/drawing/2014/main" id="{80E129A3-5E1A-40FA-BA46-B0E43ED42A3B}"/>
                  </a:ext>
                </a:extLst>
              </p:cNvPr>
              <p:cNvSpPr/>
              <p:nvPr/>
            </p:nvSpPr>
            <p:spPr>
              <a:xfrm>
                <a:off x="6451125" y="1493307"/>
                <a:ext cx="21111" cy="84746"/>
              </a:xfrm>
              <a:custGeom>
                <a:avLst/>
                <a:gdLst>
                  <a:gd name="connsiteX0" fmla="*/ 21112 w 21111"/>
                  <a:gd name="connsiteY0" fmla="*/ 658 h 84746"/>
                  <a:gd name="connsiteX1" fmla="*/ 2990 w 21111"/>
                  <a:gd name="connsiteY1" fmla="*/ 84747 h 84746"/>
                  <a:gd name="connsiteX2" fmla="*/ 0 w 21111"/>
                  <a:gd name="connsiteY2" fmla="*/ 84089 h 84746"/>
                  <a:gd name="connsiteX3" fmla="*/ 18181 w 21111"/>
                  <a:gd name="connsiteY3" fmla="*/ 0 h 84746"/>
                </a:gdLst>
                <a:ahLst/>
                <a:cxnLst>
                  <a:cxn ang="0">
                    <a:pos x="connsiteX0" y="connsiteY0"/>
                  </a:cxn>
                  <a:cxn ang="0">
                    <a:pos x="connsiteX1" y="connsiteY1"/>
                  </a:cxn>
                  <a:cxn ang="0">
                    <a:pos x="connsiteX2" y="connsiteY2"/>
                  </a:cxn>
                  <a:cxn ang="0">
                    <a:pos x="connsiteX3" y="connsiteY3"/>
                  </a:cxn>
                </a:cxnLst>
                <a:rect l="l" t="t" r="r" b="b"/>
                <a:pathLst>
                  <a:path w="21111" h="84746">
                    <a:moveTo>
                      <a:pt x="21112" y="658"/>
                    </a:moveTo>
                    <a:lnTo>
                      <a:pt x="2990" y="84747"/>
                    </a:lnTo>
                    <a:lnTo>
                      <a:pt x="0" y="84089"/>
                    </a:lnTo>
                    <a:lnTo>
                      <a:pt x="18181" y="0"/>
                    </a:lnTo>
                    <a:close/>
                  </a:path>
                </a:pathLst>
              </a:custGeom>
              <a:grpFill/>
              <a:ln w="5978" cap="flat">
                <a:noFill/>
                <a:prstDash val="solid"/>
                <a:miter/>
              </a:ln>
            </p:spPr>
            <p:txBody>
              <a:bodyPr rtlCol="0" anchor="ctr"/>
              <a:lstStyle/>
              <a:p>
                <a:endParaRPr lang="en-GB"/>
              </a:p>
            </p:txBody>
          </p:sp>
          <p:sp>
            <p:nvSpPr>
              <p:cNvPr id="4063" name="Vrije vorm: vorm 4062">
                <a:extLst>
                  <a:ext uri="{FF2B5EF4-FFF2-40B4-BE49-F238E27FC236}">
                    <a16:creationId xmlns:a16="http://schemas.microsoft.com/office/drawing/2014/main" id="{DB442AB3-DFAF-4704-A1E5-B5E529AE76B2}"/>
                  </a:ext>
                </a:extLst>
              </p:cNvPr>
              <p:cNvSpPr/>
              <p:nvPr/>
            </p:nvSpPr>
            <p:spPr>
              <a:xfrm>
                <a:off x="6461501" y="1484882"/>
                <a:ext cx="18305" cy="18463"/>
              </a:xfrm>
              <a:custGeom>
                <a:avLst/>
                <a:gdLst>
                  <a:gd name="connsiteX0" fmla="*/ 210 w 18305"/>
                  <a:gd name="connsiteY0" fmla="*/ 7228 h 18463"/>
                  <a:gd name="connsiteX1" fmla="*/ 11095 w 18305"/>
                  <a:gd name="connsiteY1" fmla="*/ 231 h 18463"/>
                  <a:gd name="connsiteX2" fmla="*/ 18093 w 18305"/>
                  <a:gd name="connsiteY2" fmla="*/ 11236 h 18463"/>
                  <a:gd name="connsiteX3" fmla="*/ 7208 w 18305"/>
                  <a:gd name="connsiteY3" fmla="*/ 18233 h 18463"/>
                  <a:gd name="connsiteX4" fmla="*/ 210 w 18305"/>
                  <a:gd name="connsiteY4" fmla="*/ 7228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63">
                    <a:moveTo>
                      <a:pt x="210" y="7228"/>
                    </a:moveTo>
                    <a:cubicBezTo>
                      <a:pt x="1287" y="2264"/>
                      <a:pt x="6191" y="-905"/>
                      <a:pt x="11095" y="231"/>
                    </a:cubicBezTo>
                    <a:cubicBezTo>
                      <a:pt x="16059" y="1308"/>
                      <a:pt x="19169" y="6272"/>
                      <a:pt x="18093" y="11236"/>
                    </a:cubicBezTo>
                    <a:cubicBezTo>
                      <a:pt x="17016" y="16200"/>
                      <a:pt x="12112" y="19369"/>
                      <a:pt x="7208" y="18233"/>
                    </a:cubicBezTo>
                    <a:cubicBezTo>
                      <a:pt x="2304" y="17097"/>
                      <a:pt x="-866" y="12192"/>
                      <a:pt x="210" y="7228"/>
                    </a:cubicBezTo>
                    <a:close/>
                  </a:path>
                </a:pathLst>
              </a:custGeom>
              <a:grpFill/>
              <a:ln w="5978" cap="flat">
                <a:noFill/>
                <a:prstDash val="solid"/>
                <a:miter/>
              </a:ln>
            </p:spPr>
            <p:txBody>
              <a:bodyPr rtlCol="0" anchor="ctr"/>
              <a:lstStyle/>
              <a:p>
                <a:endParaRPr lang="en-GB"/>
              </a:p>
            </p:txBody>
          </p:sp>
          <p:sp>
            <p:nvSpPr>
              <p:cNvPr id="4064" name="Vrije vorm: vorm 4063">
                <a:extLst>
                  <a:ext uri="{FF2B5EF4-FFF2-40B4-BE49-F238E27FC236}">
                    <a16:creationId xmlns:a16="http://schemas.microsoft.com/office/drawing/2014/main" id="{3E8BB913-2233-45DF-AAD5-F63098CF70E1}"/>
                  </a:ext>
                </a:extLst>
              </p:cNvPr>
              <p:cNvSpPr/>
              <p:nvPr/>
            </p:nvSpPr>
            <p:spPr>
              <a:xfrm>
                <a:off x="6443559" y="1568074"/>
                <a:ext cx="18302" cy="18445"/>
              </a:xfrm>
              <a:custGeom>
                <a:avLst/>
                <a:gdLst>
                  <a:gd name="connsiteX0" fmla="*/ 210 w 18302"/>
                  <a:gd name="connsiteY0" fmla="*/ 7228 h 18445"/>
                  <a:gd name="connsiteX1" fmla="*/ 7208 w 18302"/>
                  <a:gd name="connsiteY1" fmla="*/ 18233 h 18445"/>
                  <a:gd name="connsiteX2" fmla="*/ 18093 w 18302"/>
                  <a:gd name="connsiteY2" fmla="*/ 11236 h 18445"/>
                  <a:gd name="connsiteX3" fmla="*/ 11095 w 18302"/>
                  <a:gd name="connsiteY3" fmla="*/ 231 h 18445"/>
                  <a:gd name="connsiteX4" fmla="*/ 210 w 18302"/>
                  <a:gd name="connsiteY4" fmla="*/ 72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45">
                    <a:moveTo>
                      <a:pt x="210" y="7228"/>
                    </a:moveTo>
                    <a:cubicBezTo>
                      <a:pt x="-866" y="12192"/>
                      <a:pt x="2304" y="17097"/>
                      <a:pt x="7208" y="18233"/>
                    </a:cubicBezTo>
                    <a:cubicBezTo>
                      <a:pt x="12172" y="19310"/>
                      <a:pt x="17016" y="16200"/>
                      <a:pt x="18093" y="11236"/>
                    </a:cubicBezTo>
                    <a:cubicBezTo>
                      <a:pt x="19169" y="6272"/>
                      <a:pt x="15999" y="1367"/>
                      <a:pt x="11095" y="231"/>
                    </a:cubicBezTo>
                    <a:cubicBezTo>
                      <a:pt x="6131" y="-905"/>
                      <a:pt x="1287" y="2264"/>
                      <a:pt x="210" y="7228"/>
                    </a:cubicBezTo>
                    <a:close/>
                  </a:path>
                </a:pathLst>
              </a:custGeom>
              <a:grpFill/>
              <a:ln w="5978" cap="flat">
                <a:noFill/>
                <a:prstDash val="solid"/>
                <a:miter/>
              </a:ln>
            </p:spPr>
            <p:txBody>
              <a:bodyPr rtlCol="0" anchor="ctr"/>
              <a:lstStyle/>
              <a:p>
                <a:endParaRPr lang="en-GB"/>
              </a:p>
            </p:txBody>
          </p:sp>
        </p:grpSp>
        <p:grpSp>
          <p:nvGrpSpPr>
            <p:cNvPr id="442" name="Graphic 3">
              <a:extLst>
                <a:ext uri="{FF2B5EF4-FFF2-40B4-BE49-F238E27FC236}">
                  <a16:creationId xmlns:a16="http://schemas.microsoft.com/office/drawing/2014/main" id="{A3ED96AB-30D8-4867-82AD-8BBAD26A1D24}"/>
                </a:ext>
              </a:extLst>
            </p:cNvPr>
            <p:cNvGrpSpPr/>
            <p:nvPr/>
          </p:nvGrpSpPr>
          <p:grpSpPr>
            <a:xfrm>
              <a:off x="6498627" y="1663054"/>
              <a:ext cx="45941" cy="118688"/>
              <a:chOff x="6498627" y="1663054"/>
              <a:chExt cx="45941" cy="118688"/>
            </a:xfrm>
            <a:grpFill/>
          </p:grpSpPr>
          <p:sp>
            <p:nvSpPr>
              <p:cNvPr id="4059" name="Vrije vorm: vorm 4058">
                <a:extLst>
                  <a:ext uri="{FF2B5EF4-FFF2-40B4-BE49-F238E27FC236}">
                    <a16:creationId xmlns:a16="http://schemas.microsoft.com/office/drawing/2014/main" id="{BE1C3DE6-99A5-4E6A-A069-D2B7899A7202}"/>
                  </a:ext>
                </a:extLst>
              </p:cNvPr>
              <p:cNvSpPr/>
              <p:nvPr/>
            </p:nvSpPr>
            <p:spPr>
              <a:xfrm>
                <a:off x="6506208" y="1671472"/>
                <a:ext cx="30741" cy="101911"/>
              </a:xfrm>
              <a:custGeom>
                <a:avLst/>
                <a:gdLst>
                  <a:gd name="connsiteX0" fmla="*/ 30741 w 30741"/>
                  <a:gd name="connsiteY0" fmla="*/ 778 h 101911"/>
                  <a:gd name="connsiteX1" fmla="*/ 2931 w 30741"/>
                  <a:gd name="connsiteY1" fmla="*/ 101911 h 101911"/>
                  <a:gd name="connsiteX2" fmla="*/ 0 w 30741"/>
                  <a:gd name="connsiteY2" fmla="*/ 101134 h 101911"/>
                  <a:gd name="connsiteX3" fmla="*/ 27811 w 30741"/>
                  <a:gd name="connsiteY3" fmla="*/ 0 h 101911"/>
                </a:gdLst>
                <a:ahLst/>
                <a:cxnLst>
                  <a:cxn ang="0">
                    <a:pos x="connsiteX0" y="connsiteY0"/>
                  </a:cxn>
                  <a:cxn ang="0">
                    <a:pos x="connsiteX1" y="connsiteY1"/>
                  </a:cxn>
                  <a:cxn ang="0">
                    <a:pos x="connsiteX2" y="connsiteY2"/>
                  </a:cxn>
                  <a:cxn ang="0">
                    <a:pos x="connsiteX3" y="connsiteY3"/>
                  </a:cxn>
                </a:cxnLst>
                <a:rect l="l" t="t" r="r" b="b"/>
                <a:pathLst>
                  <a:path w="30741" h="101911">
                    <a:moveTo>
                      <a:pt x="30741" y="778"/>
                    </a:moveTo>
                    <a:lnTo>
                      <a:pt x="2931" y="101911"/>
                    </a:lnTo>
                    <a:lnTo>
                      <a:pt x="0" y="101134"/>
                    </a:lnTo>
                    <a:lnTo>
                      <a:pt x="27811" y="0"/>
                    </a:lnTo>
                    <a:close/>
                  </a:path>
                </a:pathLst>
              </a:custGeom>
              <a:grpFill/>
              <a:ln w="5978" cap="flat">
                <a:noFill/>
                <a:prstDash val="solid"/>
                <a:miter/>
              </a:ln>
            </p:spPr>
            <p:txBody>
              <a:bodyPr rtlCol="0" anchor="ctr"/>
              <a:lstStyle/>
              <a:p>
                <a:endParaRPr lang="en-GB"/>
              </a:p>
            </p:txBody>
          </p:sp>
          <p:sp>
            <p:nvSpPr>
              <p:cNvPr id="4060" name="Vrije vorm: vorm 4059">
                <a:extLst>
                  <a:ext uri="{FF2B5EF4-FFF2-40B4-BE49-F238E27FC236}">
                    <a16:creationId xmlns:a16="http://schemas.microsoft.com/office/drawing/2014/main" id="{F8A2ABB1-F603-400A-8F04-B5F1D9086A61}"/>
                  </a:ext>
                </a:extLst>
              </p:cNvPr>
              <p:cNvSpPr/>
              <p:nvPr/>
            </p:nvSpPr>
            <p:spPr>
              <a:xfrm>
                <a:off x="6526219" y="1663054"/>
                <a:ext cx="18349" cy="18451"/>
              </a:xfrm>
              <a:custGeom>
                <a:avLst/>
                <a:gdLst>
                  <a:gd name="connsiteX0" fmla="*/ 323 w 18349"/>
                  <a:gd name="connsiteY0" fmla="*/ 6744 h 18451"/>
                  <a:gd name="connsiteX1" fmla="*/ 11627 w 18349"/>
                  <a:gd name="connsiteY1" fmla="*/ 344 h 18451"/>
                  <a:gd name="connsiteX2" fmla="*/ 18026 w 18349"/>
                  <a:gd name="connsiteY2" fmla="*/ 11708 h 18451"/>
                  <a:gd name="connsiteX3" fmla="*/ 6723 w 18349"/>
                  <a:gd name="connsiteY3" fmla="*/ 18107 h 18451"/>
                  <a:gd name="connsiteX4" fmla="*/ 323 w 18349"/>
                  <a:gd name="connsiteY4" fmla="*/ 6744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1">
                    <a:moveTo>
                      <a:pt x="323" y="6744"/>
                    </a:moveTo>
                    <a:cubicBezTo>
                      <a:pt x="1699" y="1839"/>
                      <a:pt x="6723" y="-1031"/>
                      <a:pt x="11627" y="344"/>
                    </a:cubicBezTo>
                    <a:cubicBezTo>
                      <a:pt x="16531" y="1720"/>
                      <a:pt x="19342" y="6803"/>
                      <a:pt x="18026" y="11708"/>
                    </a:cubicBezTo>
                    <a:cubicBezTo>
                      <a:pt x="16651" y="16612"/>
                      <a:pt x="11627" y="19483"/>
                      <a:pt x="6723" y="18107"/>
                    </a:cubicBezTo>
                    <a:cubicBezTo>
                      <a:pt x="1819" y="16731"/>
                      <a:pt x="-992" y="11648"/>
                      <a:pt x="323" y="6744"/>
                    </a:cubicBezTo>
                    <a:close/>
                  </a:path>
                </a:pathLst>
              </a:custGeom>
              <a:grpFill/>
              <a:ln w="5978" cap="flat">
                <a:noFill/>
                <a:prstDash val="solid"/>
                <a:miter/>
              </a:ln>
            </p:spPr>
            <p:txBody>
              <a:bodyPr rtlCol="0" anchor="ctr"/>
              <a:lstStyle/>
              <a:p>
                <a:endParaRPr lang="en-GB"/>
              </a:p>
            </p:txBody>
          </p:sp>
          <p:sp>
            <p:nvSpPr>
              <p:cNvPr id="4061" name="Vrije vorm: vorm 4060">
                <a:extLst>
                  <a:ext uri="{FF2B5EF4-FFF2-40B4-BE49-F238E27FC236}">
                    <a16:creationId xmlns:a16="http://schemas.microsoft.com/office/drawing/2014/main" id="{0772D8F9-419A-4A9F-9142-CCBCDE34F5B1}"/>
                  </a:ext>
                </a:extLst>
              </p:cNvPr>
              <p:cNvSpPr/>
              <p:nvPr/>
            </p:nvSpPr>
            <p:spPr>
              <a:xfrm>
                <a:off x="6498627" y="1763312"/>
                <a:ext cx="18391" cy="18430"/>
              </a:xfrm>
              <a:custGeom>
                <a:avLst/>
                <a:gdLst>
                  <a:gd name="connsiteX0" fmla="*/ 344 w 18391"/>
                  <a:gd name="connsiteY0" fmla="*/ 6723 h 18430"/>
                  <a:gd name="connsiteX1" fmla="*/ 6744 w 18391"/>
                  <a:gd name="connsiteY1" fmla="*/ 18086 h 18430"/>
                  <a:gd name="connsiteX2" fmla="*/ 18047 w 18391"/>
                  <a:gd name="connsiteY2" fmla="*/ 11687 h 18430"/>
                  <a:gd name="connsiteX3" fmla="*/ 11648 w 18391"/>
                  <a:gd name="connsiteY3" fmla="*/ 323 h 18430"/>
                  <a:gd name="connsiteX4" fmla="*/ 344 w 18391"/>
                  <a:gd name="connsiteY4" fmla="*/ 672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30">
                    <a:moveTo>
                      <a:pt x="344" y="6723"/>
                    </a:moveTo>
                    <a:cubicBezTo>
                      <a:pt x="-1031" y="11627"/>
                      <a:pt x="1840" y="16711"/>
                      <a:pt x="6744" y="18086"/>
                    </a:cubicBezTo>
                    <a:cubicBezTo>
                      <a:pt x="11648" y="19462"/>
                      <a:pt x="16672" y="16591"/>
                      <a:pt x="18047" y="11687"/>
                    </a:cubicBezTo>
                    <a:cubicBezTo>
                      <a:pt x="19423" y="6783"/>
                      <a:pt x="16552" y="1699"/>
                      <a:pt x="11648" y="323"/>
                    </a:cubicBezTo>
                    <a:cubicBezTo>
                      <a:pt x="6744" y="-992"/>
                      <a:pt x="1660" y="1819"/>
                      <a:pt x="344" y="6723"/>
                    </a:cubicBezTo>
                    <a:close/>
                  </a:path>
                </a:pathLst>
              </a:custGeom>
              <a:grpFill/>
              <a:ln w="5978" cap="flat">
                <a:noFill/>
                <a:prstDash val="solid"/>
                <a:miter/>
              </a:ln>
            </p:spPr>
            <p:txBody>
              <a:bodyPr rtlCol="0" anchor="ctr"/>
              <a:lstStyle/>
              <a:p>
                <a:endParaRPr lang="en-GB"/>
              </a:p>
            </p:txBody>
          </p:sp>
        </p:grpSp>
        <p:grpSp>
          <p:nvGrpSpPr>
            <p:cNvPr id="443" name="Graphic 3">
              <a:extLst>
                <a:ext uri="{FF2B5EF4-FFF2-40B4-BE49-F238E27FC236}">
                  <a16:creationId xmlns:a16="http://schemas.microsoft.com/office/drawing/2014/main" id="{6B7814D6-920A-448C-B143-5230DDBF1BF2}"/>
                </a:ext>
              </a:extLst>
            </p:cNvPr>
            <p:cNvGrpSpPr/>
            <p:nvPr/>
          </p:nvGrpSpPr>
          <p:grpSpPr>
            <a:xfrm>
              <a:off x="7499898" y="4774595"/>
              <a:ext cx="173909" cy="164658"/>
              <a:chOff x="7499898" y="4774595"/>
              <a:chExt cx="173909" cy="164658"/>
            </a:xfrm>
            <a:grpFill/>
          </p:grpSpPr>
          <p:sp>
            <p:nvSpPr>
              <p:cNvPr id="4056" name="Vrije vorm: vorm 4055">
                <a:extLst>
                  <a:ext uri="{FF2B5EF4-FFF2-40B4-BE49-F238E27FC236}">
                    <a16:creationId xmlns:a16="http://schemas.microsoft.com/office/drawing/2014/main" id="{87A705C4-2997-4CC8-854A-198C15BFC265}"/>
                  </a:ext>
                </a:extLst>
              </p:cNvPr>
              <p:cNvSpPr/>
              <p:nvPr/>
            </p:nvSpPr>
            <p:spPr>
              <a:xfrm>
                <a:off x="7507680" y="4782344"/>
                <a:ext cx="158369" cy="149159"/>
              </a:xfrm>
              <a:custGeom>
                <a:avLst/>
                <a:gdLst>
                  <a:gd name="connsiteX0" fmla="*/ 158369 w 158369"/>
                  <a:gd name="connsiteY0" fmla="*/ 146887 h 149159"/>
                  <a:gd name="connsiteX1" fmla="*/ 156276 w 158369"/>
                  <a:gd name="connsiteY1" fmla="*/ 149159 h 149159"/>
                  <a:gd name="connsiteX2" fmla="*/ 0 w 158369"/>
                  <a:gd name="connsiteY2" fmla="*/ 2273 h 149159"/>
                  <a:gd name="connsiteX3" fmla="*/ 2093 w 158369"/>
                  <a:gd name="connsiteY3" fmla="*/ 0 h 149159"/>
                </a:gdLst>
                <a:ahLst/>
                <a:cxnLst>
                  <a:cxn ang="0">
                    <a:pos x="connsiteX0" y="connsiteY0"/>
                  </a:cxn>
                  <a:cxn ang="0">
                    <a:pos x="connsiteX1" y="connsiteY1"/>
                  </a:cxn>
                  <a:cxn ang="0">
                    <a:pos x="connsiteX2" y="connsiteY2"/>
                  </a:cxn>
                  <a:cxn ang="0">
                    <a:pos x="connsiteX3" y="connsiteY3"/>
                  </a:cxn>
                </a:cxnLst>
                <a:rect l="l" t="t" r="r" b="b"/>
                <a:pathLst>
                  <a:path w="158369" h="149159">
                    <a:moveTo>
                      <a:pt x="158369" y="146887"/>
                    </a:moveTo>
                    <a:lnTo>
                      <a:pt x="156276" y="149159"/>
                    </a:lnTo>
                    <a:lnTo>
                      <a:pt x="0" y="2273"/>
                    </a:lnTo>
                    <a:lnTo>
                      <a:pt x="2093" y="0"/>
                    </a:lnTo>
                    <a:close/>
                  </a:path>
                </a:pathLst>
              </a:custGeom>
              <a:grpFill/>
              <a:ln w="5978" cap="flat">
                <a:noFill/>
                <a:prstDash val="solid"/>
                <a:miter/>
              </a:ln>
            </p:spPr>
            <p:txBody>
              <a:bodyPr rtlCol="0" anchor="ctr"/>
              <a:lstStyle/>
              <a:p>
                <a:endParaRPr lang="en-GB"/>
              </a:p>
            </p:txBody>
          </p:sp>
          <p:sp>
            <p:nvSpPr>
              <p:cNvPr id="4057" name="Vrije vorm: vorm 4056">
                <a:extLst>
                  <a:ext uri="{FF2B5EF4-FFF2-40B4-BE49-F238E27FC236}">
                    <a16:creationId xmlns:a16="http://schemas.microsoft.com/office/drawing/2014/main" id="{BC66B2EF-5A49-4095-95CE-C1AFB743E98A}"/>
                  </a:ext>
                </a:extLst>
              </p:cNvPr>
              <p:cNvSpPr/>
              <p:nvPr/>
            </p:nvSpPr>
            <p:spPr>
              <a:xfrm>
                <a:off x="7655480" y="4920823"/>
                <a:ext cx="18327" cy="18429"/>
              </a:xfrm>
              <a:custGeom>
                <a:avLst/>
                <a:gdLst>
                  <a:gd name="connsiteX0" fmla="*/ 15414 w 18327"/>
                  <a:gd name="connsiteY0" fmla="*/ 2487 h 18429"/>
                  <a:gd name="connsiteX1" fmla="*/ 15892 w 18327"/>
                  <a:gd name="connsiteY1" fmla="*/ 15525 h 18429"/>
                  <a:gd name="connsiteX2" fmla="*/ 2914 w 18327"/>
                  <a:gd name="connsiteY2" fmla="*/ 15943 h 18429"/>
                  <a:gd name="connsiteX3" fmla="*/ 2435 w 18327"/>
                  <a:gd name="connsiteY3" fmla="*/ 2905 h 18429"/>
                  <a:gd name="connsiteX4" fmla="*/ 15414 w 18327"/>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5414" y="2487"/>
                    </a:moveTo>
                    <a:cubicBezTo>
                      <a:pt x="19122" y="5956"/>
                      <a:pt x="19301" y="11817"/>
                      <a:pt x="15892" y="15525"/>
                    </a:cubicBezTo>
                    <a:cubicBezTo>
                      <a:pt x="12423" y="19233"/>
                      <a:pt x="6622" y="19412"/>
                      <a:pt x="2914" y="15943"/>
                    </a:cubicBezTo>
                    <a:cubicBezTo>
                      <a:pt x="-795" y="12474"/>
                      <a:pt x="-973" y="6613"/>
                      <a:pt x="2435" y="2905"/>
                    </a:cubicBezTo>
                    <a:cubicBezTo>
                      <a:pt x="5905" y="-803"/>
                      <a:pt x="11706" y="-982"/>
                      <a:pt x="15414" y="2487"/>
                    </a:cubicBezTo>
                    <a:close/>
                  </a:path>
                </a:pathLst>
              </a:custGeom>
              <a:grpFill/>
              <a:ln w="5978" cap="flat">
                <a:noFill/>
                <a:prstDash val="solid"/>
                <a:miter/>
              </a:ln>
            </p:spPr>
            <p:txBody>
              <a:bodyPr rtlCol="0" anchor="ctr"/>
              <a:lstStyle/>
              <a:p>
                <a:endParaRPr lang="en-GB"/>
              </a:p>
            </p:txBody>
          </p:sp>
          <p:sp>
            <p:nvSpPr>
              <p:cNvPr id="4058" name="Vrije vorm: vorm 4057">
                <a:extLst>
                  <a:ext uri="{FF2B5EF4-FFF2-40B4-BE49-F238E27FC236}">
                    <a16:creationId xmlns:a16="http://schemas.microsoft.com/office/drawing/2014/main" id="{9752FF2A-4ED4-4CEA-BE64-8875A315BB6C}"/>
                  </a:ext>
                </a:extLst>
              </p:cNvPr>
              <p:cNvSpPr/>
              <p:nvPr/>
            </p:nvSpPr>
            <p:spPr>
              <a:xfrm>
                <a:off x="7499898" y="4774595"/>
                <a:ext cx="18350" cy="18430"/>
              </a:xfrm>
              <a:custGeom>
                <a:avLst/>
                <a:gdLst>
                  <a:gd name="connsiteX0" fmla="*/ 15437 w 18350"/>
                  <a:gd name="connsiteY0" fmla="*/ 2487 h 18430"/>
                  <a:gd name="connsiteX1" fmla="*/ 2458 w 18350"/>
                  <a:gd name="connsiteY1" fmla="*/ 2905 h 18430"/>
                  <a:gd name="connsiteX2" fmla="*/ 2937 w 18350"/>
                  <a:gd name="connsiteY2" fmla="*/ 15943 h 18430"/>
                  <a:gd name="connsiteX3" fmla="*/ 15915 w 18350"/>
                  <a:gd name="connsiteY3" fmla="*/ 15525 h 18430"/>
                  <a:gd name="connsiteX4" fmla="*/ 15437 w 18350"/>
                  <a:gd name="connsiteY4" fmla="*/ 24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0">
                    <a:moveTo>
                      <a:pt x="15437" y="2487"/>
                    </a:moveTo>
                    <a:cubicBezTo>
                      <a:pt x="11729" y="-982"/>
                      <a:pt x="5928" y="-803"/>
                      <a:pt x="2458" y="2905"/>
                    </a:cubicBezTo>
                    <a:cubicBezTo>
                      <a:pt x="-1010" y="6613"/>
                      <a:pt x="-771" y="12475"/>
                      <a:pt x="2937" y="15943"/>
                    </a:cubicBezTo>
                    <a:cubicBezTo>
                      <a:pt x="6645" y="19412"/>
                      <a:pt x="12447" y="19233"/>
                      <a:pt x="15915" y="15525"/>
                    </a:cubicBezTo>
                    <a:cubicBezTo>
                      <a:pt x="19325" y="11816"/>
                      <a:pt x="19145" y="5955"/>
                      <a:pt x="15437" y="2487"/>
                    </a:cubicBezTo>
                    <a:close/>
                  </a:path>
                </a:pathLst>
              </a:custGeom>
              <a:grpFill/>
              <a:ln w="5978" cap="flat">
                <a:noFill/>
                <a:prstDash val="solid"/>
                <a:miter/>
              </a:ln>
            </p:spPr>
            <p:txBody>
              <a:bodyPr rtlCol="0" anchor="ctr"/>
              <a:lstStyle/>
              <a:p>
                <a:endParaRPr lang="en-GB"/>
              </a:p>
            </p:txBody>
          </p:sp>
        </p:grpSp>
        <p:grpSp>
          <p:nvGrpSpPr>
            <p:cNvPr id="444" name="Graphic 3">
              <a:extLst>
                <a:ext uri="{FF2B5EF4-FFF2-40B4-BE49-F238E27FC236}">
                  <a16:creationId xmlns:a16="http://schemas.microsoft.com/office/drawing/2014/main" id="{61638ED9-046C-42D2-9B5B-9C046A65EF2B}"/>
                </a:ext>
              </a:extLst>
            </p:cNvPr>
            <p:cNvGrpSpPr/>
            <p:nvPr/>
          </p:nvGrpSpPr>
          <p:grpSpPr>
            <a:xfrm>
              <a:off x="7400809" y="4422801"/>
              <a:ext cx="105849" cy="84054"/>
              <a:chOff x="7400809" y="4422801"/>
              <a:chExt cx="105849" cy="84054"/>
            </a:xfrm>
            <a:grpFill/>
          </p:grpSpPr>
          <p:sp>
            <p:nvSpPr>
              <p:cNvPr id="4053" name="Vrije vorm: vorm 4052">
                <a:extLst>
                  <a:ext uri="{FF2B5EF4-FFF2-40B4-BE49-F238E27FC236}">
                    <a16:creationId xmlns:a16="http://schemas.microsoft.com/office/drawing/2014/main" id="{1014B792-7CAB-4E90-ABAE-523687ECCA05}"/>
                  </a:ext>
                </a:extLst>
              </p:cNvPr>
              <p:cNvSpPr/>
              <p:nvPr/>
            </p:nvSpPr>
            <p:spPr>
              <a:xfrm>
                <a:off x="7408639" y="4430499"/>
                <a:ext cx="90129" cy="68598"/>
              </a:xfrm>
              <a:custGeom>
                <a:avLst/>
                <a:gdLst>
                  <a:gd name="connsiteX0" fmla="*/ 90129 w 90129"/>
                  <a:gd name="connsiteY0" fmla="*/ 66147 h 68598"/>
                  <a:gd name="connsiteX1" fmla="*/ 88276 w 90129"/>
                  <a:gd name="connsiteY1" fmla="*/ 68599 h 68598"/>
                  <a:gd name="connsiteX2" fmla="*/ 0 w 90129"/>
                  <a:gd name="connsiteY2" fmla="*/ 2452 h 68598"/>
                  <a:gd name="connsiteX3" fmla="*/ 1794 w 90129"/>
                  <a:gd name="connsiteY3" fmla="*/ 0 h 68598"/>
                </a:gdLst>
                <a:ahLst/>
                <a:cxnLst>
                  <a:cxn ang="0">
                    <a:pos x="connsiteX0" y="connsiteY0"/>
                  </a:cxn>
                  <a:cxn ang="0">
                    <a:pos x="connsiteX1" y="connsiteY1"/>
                  </a:cxn>
                  <a:cxn ang="0">
                    <a:pos x="connsiteX2" y="connsiteY2"/>
                  </a:cxn>
                  <a:cxn ang="0">
                    <a:pos x="connsiteX3" y="connsiteY3"/>
                  </a:cxn>
                </a:cxnLst>
                <a:rect l="l" t="t" r="r" b="b"/>
                <a:pathLst>
                  <a:path w="90129" h="68598">
                    <a:moveTo>
                      <a:pt x="90129" y="66147"/>
                    </a:moveTo>
                    <a:lnTo>
                      <a:pt x="88276" y="68599"/>
                    </a:lnTo>
                    <a:lnTo>
                      <a:pt x="0" y="2452"/>
                    </a:lnTo>
                    <a:lnTo>
                      <a:pt x="1794" y="0"/>
                    </a:lnTo>
                    <a:close/>
                  </a:path>
                </a:pathLst>
              </a:custGeom>
              <a:grpFill/>
              <a:ln w="5978" cap="flat">
                <a:noFill/>
                <a:prstDash val="solid"/>
                <a:miter/>
              </a:ln>
            </p:spPr>
            <p:txBody>
              <a:bodyPr rtlCol="0" anchor="ctr"/>
              <a:lstStyle/>
              <a:p>
                <a:endParaRPr lang="en-GB"/>
              </a:p>
            </p:txBody>
          </p:sp>
          <p:sp>
            <p:nvSpPr>
              <p:cNvPr id="4054" name="Vrije vorm: vorm 4053">
                <a:extLst>
                  <a:ext uri="{FF2B5EF4-FFF2-40B4-BE49-F238E27FC236}">
                    <a16:creationId xmlns:a16="http://schemas.microsoft.com/office/drawing/2014/main" id="{98DD74B2-0B97-4232-830F-ECD7F1ACEB8E}"/>
                  </a:ext>
                </a:extLst>
              </p:cNvPr>
              <p:cNvSpPr/>
              <p:nvPr/>
            </p:nvSpPr>
            <p:spPr>
              <a:xfrm>
                <a:off x="7488367" y="4488409"/>
                <a:ext cx="18291" cy="18445"/>
              </a:xfrm>
              <a:custGeom>
                <a:avLst/>
                <a:gdLst>
                  <a:gd name="connsiteX0" fmla="*/ 14588 w 18291"/>
                  <a:gd name="connsiteY0" fmla="*/ 1837 h 18445"/>
                  <a:gd name="connsiteX1" fmla="*/ 16502 w 18291"/>
                  <a:gd name="connsiteY1" fmla="*/ 14755 h 18445"/>
                  <a:gd name="connsiteX2" fmla="*/ 3703 w 18291"/>
                  <a:gd name="connsiteY2" fmla="*/ 16609 h 18445"/>
                  <a:gd name="connsiteX3" fmla="*/ 1790 w 18291"/>
                  <a:gd name="connsiteY3" fmla="*/ 3691 h 18445"/>
                  <a:gd name="connsiteX4" fmla="*/ 14588 w 18291"/>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4588" y="1837"/>
                    </a:moveTo>
                    <a:cubicBezTo>
                      <a:pt x="18655" y="4887"/>
                      <a:pt x="19492" y="10628"/>
                      <a:pt x="16502" y="14755"/>
                    </a:cubicBezTo>
                    <a:cubicBezTo>
                      <a:pt x="13512" y="18822"/>
                      <a:pt x="7770" y="19659"/>
                      <a:pt x="3703" y="16609"/>
                    </a:cubicBezTo>
                    <a:cubicBezTo>
                      <a:pt x="-364" y="13559"/>
                      <a:pt x="-1201" y="7817"/>
                      <a:pt x="1790" y="3691"/>
                    </a:cubicBezTo>
                    <a:cubicBezTo>
                      <a:pt x="4780" y="-376"/>
                      <a:pt x="10521" y="-1213"/>
                      <a:pt x="14588" y="1837"/>
                    </a:cubicBezTo>
                    <a:close/>
                  </a:path>
                </a:pathLst>
              </a:custGeom>
              <a:grpFill/>
              <a:ln w="5978" cap="flat">
                <a:noFill/>
                <a:prstDash val="solid"/>
                <a:miter/>
              </a:ln>
            </p:spPr>
            <p:txBody>
              <a:bodyPr rtlCol="0" anchor="ctr"/>
              <a:lstStyle/>
              <a:p>
                <a:endParaRPr lang="en-GB"/>
              </a:p>
            </p:txBody>
          </p:sp>
          <p:sp>
            <p:nvSpPr>
              <p:cNvPr id="4055" name="Vrije vorm: vorm 4054">
                <a:extLst>
                  <a:ext uri="{FF2B5EF4-FFF2-40B4-BE49-F238E27FC236}">
                    <a16:creationId xmlns:a16="http://schemas.microsoft.com/office/drawing/2014/main" id="{A8DCF9ED-D871-4D09-B11F-C28B20B46B4C}"/>
                  </a:ext>
                </a:extLst>
              </p:cNvPr>
              <p:cNvSpPr/>
              <p:nvPr/>
            </p:nvSpPr>
            <p:spPr>
              <a:xfrm>
                <a:off x="7400809" y="4422801"/>
                <a:ext cx="18291" cy="18446"/>
              </a:xfrm>
              <a:custGeom>
                <a:avLst/>
                <a:gdLst>
                  <a:gd name="connsiteX0" fmla="*/ 14588 w 18291"/>
                  <a:gd name="connsiteY0" fmla="*/ 1837 h 18446"/>
                  <a:gd name="connsiteX1" fmla="*/ 1790 w 18291"/>
                  <a:gd name="connsiteY1" fmla="*/ 3691 h 18446"/>
                  <a:gd name="connsiteX2" fmla="*/ 3703 w 18291"/>
                  <a:gd name="connsiteY2" fmla="*/ 16609 h 18446"/>
                  <a:gd name="connsiteX3" fmla="*/ 16502 w 18291"/>
                  <a:gd name="connsiteY3" fmla="*/ 14755 h 18446"/>
                  <a:gd name="connsiteX4" fmla="*/ 14588 w 18291"/>
                  <a:gd name="connsiteY4" fmla="*/ 1837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6">
                    <a:moveTo>
                      <a:pt x="14588" y="1837"/>
                    </a:moveTo>
                    <a:cubicBezTo>
                      <a:pt x="10521" y="-1213"/>
                      <a:pt x="4780" y="-376"/>
                      <a:pt x="1790" y="3691"/>
                    </a:cubicBezTo>
                    <a:cubicBezTo>
                      <a:pt x="-1201" y="7758"/>
                      <a:pt x="-363" y="13559"/>
                      <a:pt x="3703" y="16609"/>
                    </a:cubicBezTo>
                    <a:cubicBezTo>
                      <a:pt x="7770" y="19660"/>
                      <a:pt x="13512" y="18822"/>
                      <a:pt x="16502" y="14755"/>
                    </a:cubicBezTo>
                    <a:cubicBezTo>
                      <a:pt x="19492" y="10688"/>
                      <a:pt x="18655" y="4887"/>
                      <a:pt x="14588" y="1837"/>
                    </a:cubicBezTo>
                    <a:close/>
                  </a:path>
                </a:pathLst>
              </a:custGeom>
              <a:grpFill/>
              <a:ln w="5978" cap="flat">
                <a:noFill/>
                <a:prstDash val="solid"/>
                <a:miter/>
              </a:ln>
            </p:spPr>
            <p:txBody>
              <a:bodyPr rtlCol="0" anchor="ctr"/>
              <a:lstStyle/>
              <a:p>
                <a:endParaRPr lang="en-GB"/>
              </a:p>
            </p:txBody>
          </p:sp>
        </p:grpSp>
        <p:grpSp>
          <p:nvGrpSpPr>
            <p:cNvPr id="445" name="Graphic 3">
              <a:extLst>
                <a:ext uri="{FF2B5EF4-FFF2-40B4-BE49-F238E27FC236}">
                  <a16:creationId xmlns:a16="http://schemas.microsoft.com/office/drawing/2014/main" id="{360AE75D-6766-42A5-9CFD-8A75F2A2656E}"/>
                </a:ext>
              </a:extLst>
            </p:cNvPr>
            <p:cNvGrpSpPr/>
            <p:nvPr/>
          </p:nvGrpSpPr>
          <p:grpSpPr>
            <a:xfrm>
              <a:off x="7380653" y="4447106"/>
              <a:ext cx="123290" cy="100095"/>
              <a:chOff x="7380653" y="4447106"/>
              <a:chExt cx="123290" cy="100095"/>
            </a:xfrm>
            <a:grpFill/>
          </p:grpSpPr>
          <p:sp>
            <p:nvSpPr>
              <p:cNvPr id="4050" name="Vrije vorm: vorm 4049">
                <a:extLst>
                  <a:ext uri="{FF2B5EF4-FFF2-40B4-BE49-F238E27FC236}">
                    <a16:creationId xmlns:a16="http://schemas.microsoft.com/office/drawing/2014/main" id="{4345785B-E296-4819-94D2-4ABCEFDD9964}"/>
                  </a:ext>
                </a:extLst>
              </p:cNvPr>
              <p:cNvSpPr/>
              <p:nvPr/>
            </p:nvSpPr>
            <p:spPr>
              <a:xfrm>
                <a:off x="7388543" y="4454781"/>
                <a:ext cx="107534" cy="84746"/>
              </a:xfrm>
              <a:custGeom>
                <a:avLst/>
                <a:gdLst>
                  <a:gd name="connsiteX0" fmla="*/ 107534 w 107534"/>
                  <a:gd name="connsiteY0" fmla="*/ 82294 h 84746"/>
                  <a:gd name="connsiteX1" fmla="*/ 105680 w 107534"/>
                  <a:gd name="connsiteY1" fmla="*/ 84747 h 84746"/>
                  <a:gd name="connsiteX2" fmla="*/ 0 w 107534"/>
                  <a:gd name="connsiteY2" fmla="*/ 2452 h 84746"/>
                  <a:gd name="connsiteX3" fmla="*/ 1854 w 107534"/>
                  <a:gd name="connsiteY3" fmla="*/ 0 h 84746"/>
                </a:gdLst>
                <a:ahLst/>
                <a:cxnLst>
                  <a:cxn ang="0">
                    <a:pos x="connsiteX0" y="connsiteY0"/>
                  </a:cxn>
                  <a:cxn ang="0">
                    <a:pos x="connsiteX1" y="connsiteY1"/>
                  </a:cxn>
                  <a:cxn ang="0">
                    <a:pos x="connsiteX2" y="connsiteY2"/>
                  </a:cxn>
                  <a:cxn ang="0">
                    <a:pos x="connsiteX3" y="connsiteY3"/>
                  </a:cxn>
                </a:cxnLst>
                <a:rect l="l" t="t" r="r" b="b"/>
                <a:pathLst>
                  <a:path w="107534" h="84746">
                    <a:moveTo>
                      <a:pt x="107534" y="82294"/>
                    </a:moveTo>
                    <a:lnTo>
                      <a:pt x="105680" y="84747"/>
                    </a:lnTo>
                    <a:lnTo>
                      <a:pt x="0" y="2452"/>
                    </a:lnTo>
                    <a:lnTo>
                      <a:pt x="1854" y="0"/>
                    </a:lnTo>
                    <a:close/>
                  </a:path>
                </a:pathLst>
              </a:custGeom>
              <a:grpFill/>
              <a:ln w="5978" cap="flat">
                <a:noFill/>
                <a:prstDash val="solid"/>
                <a:miter/>
              </a:ln>
            </p:spPr>
            <p:txBody>
              <a:bodyPr rtlCol="0" anchor="ctr"/>
              <a:lstStyle/>
              <a:p>
                <a:endParaRPr lang="en-GB"/>
              </a:p>
            </p:txBody>
          </p:sp>
          <p:sp>
            <p:nvSpPr>
              <p:cNvPr id="4051" name="Vrije vorm: vorm 4050">
                <a:extLst>
                  <a:ext uri="{FF2B5EF4-FFF2-40B4-BE49-F238E27FC236}">
                    <a16:creationId xmlns:a16="http://schemas.microsoft.com/office/drawing/2014/main" id="{66B07843-F7A2-4379-981F-6BE4EAE0CC12}"/>
                  </a:ext>
                </a:extLst>
              </p:cNvPr>
              <p:cNvSpPr/>
              <p:nvPr/>
            </p:nvSpPr>
            <p:spPr>
              <a:xfrm>
                <a:off x="7485640" y="4528803"/>
                <a:ext cx="18303" cy="18398"/>
              </a:xfrm>
              <a:custGeom>
                <a:avLst/>
                <a:gdLst>
                  <a:gd name="connsiteX0" fmla="*/ 14744 w 18303"/>
                  <a:gd name="connsiteY0" fmla="*/ 1933 h 18398"/>
                  <a:gd name="connsiteX1" fmla="*/ 16418 w 18303"/>
                  <a:gd name="connsiteY1" fmla="*/ 14851 h 18398"/>
                  <a:gd name="connsiteX2" fmla="*/ 3560 w 18303"/>
                  <a:gd name="connsiteY2" fmla="*/ 16466 h 18398"/>
                  <a:gd name="connsiteX3" fmla="*/ 1885 w 18303"/>
                  <a:gd name="connsiteY3" fmla="*/ 3548 h 18398"/>
                  <a:gd name="connsiteX4" fmla="*/ 14744 w 18303"/>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98">
                    <a:moveTo>
                      <a:pt x="14744" y="1933"/>
                    </a:moveTo>
                    <a:cubicBezTo>
                      <a:pt x="18751" y="5043"/>
                      <a:pt x="19469" y="10844"/>
                      <a:pt x="16418" y="14851"/>
                    </a:cubicBezTo>
                    <a:cubicBezTo>
                      <a:pt x="13308" y="18858"/>
                      <a:pt x="7566" y="19576"/>
                      <a:pt x="3560" y="16466"/>
                    </a:cubicBezTo>
                    <a:cubicBezTo>
                      <a:pt x="-448" y="13356"/>
                      <a:pt x="-1165" y="7555"/>
                      <a:pt x="1885" y="3548"/>
                    </a:cubicBezTo>
                    <a:cubicBezTo>
                      <a:pt x="4995" y="-459"/>
                      <a:pt x="10736" y="-1177"/>
                      <a:pt x="14744" y="1933"/>
                    </a:cubicBezTo>
                    <a:close/>
                  </a:path>
                </a:pathLst>
              </a:custGeom>
              <a:grpFill/>
              <a:ln w="5978" cap="flat">
                <a:noFill/>
                <a:prstDash val="solid"/>
                <a:miter/>
              </a:ln>
            </p:spPr>
            <p:txBody>
              <a:bodyPr rtlCol="0" anchor="ctr"/>
              <a:lstStyle/>
              <a:p>
                <a:endParaRPr lang="en-GB"/>
              </a:p>
            </p:txBody>
          </p:sp>
          <p:sp>
            <p:nvSpPr>
              <p:cNvPr id="4052" name="Vrije vorm: vorm 4051">
                <a:extLst>
                  <a:ext uri="{FF2B5EF4-FFF2-40B4-BE49-F238E27FC236}">
                    <a16:creationId xmlns:a16="http://schemas.microsoft.com/office/drawing/2014/main" id="{FB02E91D-320F-4C0A-A136-F03656E1C379}"/>
                  </a:ext>
                </a:extLst>
              </p:cNvPr>
              <p:cNvSpPr/>
              <p:nvPr/>
            </p:nvSpPr>
            <p:spPr>
              <a:xfrm>
                <a:off x="7380653" y="4447106"/>
                <a:ext cx="18353" cy="18399"/>
              </a:xfrm>
              <a:custGeom>
                <a:avLst/>
                <a:gdLst>
                  <a:gd name="connsiteX0" fmla="*/ 14769 w 18353"/>
                  <a:gd name="connsiteY0" fmla="*/ 1933 h 18399"/>
                  <a:gd name="connsiteX1" fmla="*/ 1910 w 18353"/>
                  <a:gd name="connsiteY1" fmla="*/ 3548 h 18399"/>
                  <a:gd name="connsiteX2" fmla="*/ 3585 w 18353"/>
                  <a:gd name="connsiteY2" fmla="*/ 16466 h 18399"/>
                  <a:gd name="connsiteX3" fmla="*/ 16443 w 18353"/>
                  <a:gd name="connsiteY3" fmla="*/ 14851 h 18399"/>
                  <a:gd name="connsiteX4" fmla="*/ 14769 w 18353"/>
                  <a:gd name="connsiteY4" fmla="*/ 193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399">
                    <a:moveTo>
                      <a:pt x="14769" y="1933"/>
                    </a:moveTo>
                    <a:cubicBezTo>
                      <a:pt x="10762" y="-1177"/>
                      <a:pt x="5020" y="-459"/>
                      <a:pt x="1910" y="3548"/>
                    </a:cubicBezTo>
                    <a:cubicBezTo>
                      <a:pt x="-1199" y="7555"/>
                      <a:pt x="-422" y="13356"/>
                      <a:pt x="3585" y="16466"/>
                    </a:cubicBezTo>
                    <a:cubicBezTo>
                      <a:pt x="7592" y="19576"/>
                      <a:pt x="13333" y="18859"/>
                      <a:pt x="16443" y="14851"/>
                    </a:cubicBezTo>
                    <a:cubicBezTo>
                      <a:pt x="19553" y="10844"/>
                      <a:pt x="18776" y="5043"/>
                      <a:pt x="14769" y="1933"/>
                    </a:cubicBezTo>
                    <a:close/>
                  </a:path>
                </a:pathLst>
              </a:custGeom>
              <a:grpFill/>
              <a:ln w="5978" cap="flat">
                <a:noFill/>
                <a:prstDash val="solid"/>
                <a:miter/>
              </a:ln>
            </p:spPr>
            <p:txBody>
              <a:bodyPr rtlCol="0" anchor="ctr"/>
              <a:lstStyle/>
              <a:p>
                <a:endParaRPr lang="en-GB"/>
              </a:p>
            </p:txBody>
          </p:sp>
        </p:grpSp>
        <p:grpSp>
          <p:nvGrpSpPr>
            <p:cNvPr id="446" name="Graphic 3">
              <a:extLst>
                <a:ext uri="{FF2B5EF4-FFF2-40B4-BE49-F238E27FC236}">
                  <a16:creationId xmlns:a16="http://schemas.microsoft.com/office/drawing/2014/main" id="{C134B8E0-6D5D-4F1B-A627-73BD22073761}"/>
                </a:ext>
              </a:extLst>
            </p:cNvPr>
            <p:cNvGrpSpPr/>
            <p:nvPr/>
          </p:nvGrpSpPr>
          <p:grpSpPr>
            <a:xfrm>
              <a:off x="7322576" y="4522430"/>
              <a:ext cx="418112" cy="421364"/>
              <a:chOff x="7322576" y="4522430"/>
              <a:chExt cx="418112" cy="421364"/>
            </a:xfrm>
            <a:grpFill/>
          </p:grpSpPr>
          <p:sp>
            <p:nvSpPr>
              <p:cNvPr id="4047" name="Vrije vorm: vorm 4046">
                <a:extLst>
                  <a:ext uri="{FF2B5EF4-FFF2-40B4-BE49-F238E27FC236}">
                    <a16:creationId xmlns:a16="http://schemas.microsoft.com/office/drawing/2014/main" id="{FB4E40CE-EB5B-40EF-9644-533FB4DC5891}"/>
                  </a:ext>
                </a:extLst>
              </p:cNvPr>
              <p:cNvSpPr/>
              <p:nvPr/>
            </p:nvSpPr>
            <p:spPr>
              <a:xfrm>
                <a:off x="7330351" y="4530257"/>
                <a:ext cx="402562" cy="405731"/>
              </a:xfrm>
              <a:custGeom>
                <a:avLst/>
                <a:gdLst>
                  <a:gd name="connsiteX0" fmla="*/ 402563 w 402562"/>
                  <a:gd name="connsiteY0" fmla="*/ 403579 h 405731"/>
                  <a:gd name="connsiteX1" fmla="*/ 400410 w 402562"/>
                  <a:gd name="connsiteY1" fmla="*/ 405732 h 405731"/>
                  <a:gd name="connsiteX2" fmla="*/ 0 w 402562"/>
                  <a:gd name="connsiteY2" fmla="*/ 2153 h 405731"/>
                  <a:gd name="connsiteX3" fmla="*/ 2153 w 402562"/>
                  <a:gd name="connsiteY3" fmla="*/ 0 h 405731"/>
                </a:gdLst>
                <a:ahLst/>
                <a:cxnLst>
                  <a:cxn ang="0">
                    <a:pos x="connsiteX0" y="connsiteY0"/>
                  </a:cxn>
                  <a:cxn ang="0">
                    <a:pos x="connsiteX1" y="connsiteY1"/>
                  </a:cxn>
                  <a:cxn ang="0">
                    <a:pos x="connsiteX2" y="connsiteY2"/>
                  </a:cxn>
                  <a:cxn ang="0">
                    <a:pos x="connsiteX3" y="connsiteY3"/>
                  </a:cxn>
                </a:cxnLst>
                <a:rect l="l" t="t" r="r" b="b"/>
                <a:pathLst>
                  <a:path w="402562" h="405731">
                    <a:moveTo>
                      <a:pt x="402563" y="403579"/>
                    </a:moveTo>
                    <a:lnTo>
                      <a:pt x="400410" y="405732"/>
                    </a:lnTo>
                    <a:lnTo>
                      <a:pt x="0" y="2153"/>
                    </a:lnTo>
                    <a:lnTo>
                      <a:pt x="2153" y="0"/>
                    </a:lnTo>
                    <a:close/>
                  </a:path>
                </a:pathLst>
              </a:custGeom>
              <a:grpFill/>
              <a:ln w="5978" cap="flat">
                <a:noFill/>
                <a:prstDash val="solid"/>
                <a:miter/>
              </a:ln>
            </p:spPr>
            <p:txBody>
              <a:bodyPr rtlCol="0" anchor="ctr"/>
              <a:lstStyle/>
              <a:p>
                <a:endParaRPr lang="en-GB"/>
              </a:p>
            </p:txBody>
          </p:sp>
          <p:sp>
            <p:nvSpPr>
              <p:cNvPr id="4048" name="Vrije vorm: vorm 4047">
                <a:extLst>
                  <a:ext uri="{FF2B5EF4-FFF2-40B4-BE49-F238E27FC236}">
                    <a16:creationId xmlns:a16="http://schemas.microsoft.com/office/drawing/2014/main" id="{184D59D3-26FB-4DE7-A2D6-B08F203CC90C}"/>
                  </a:ext>
                </a:extLst>
              </p:cNvPr>
              <p:cNvSpPr/>
              <p:nvPr/>
            </p:nvSpPr>
            <p:spPr>
              <a:xfrm>
                <a:off x="7322576" y="4522430"/>
                <a:ext cx="18360" cy="18420"/>
              </a:xfrm>
              <a:custGeom>
                <a:avLst/>
                <a:gdLst>
                  <a:gd name="connsiteX0" fmla="*/ 2691 w 18360"/>
                  <a:gd name="connsiteY0" fmla="*/ 15722 h 18420"/>
                  <a:gd name="connsiteX1" fmla="*/ 2691 w 18360"/>
                  <a:gd name="connsiteY1" fmla="*/ 2684 h 18420"/>
                  <a:gd name="connsiteX2" fmla="*/ 15670 w 18360"/>
                  <a:gd name="connsiteY2" fmla="*/ 2744 h 18420"/>
                  <a:gd name="connsiteX3" fmla="*/ 15670 w 18360"/>
                  <a:gd name="connsiteY3" fmla="*/ 15782 h 18420"/>
                  <a:gd name="connsiteX4" fmla="*/ 2691 w 18360"/>
                  <a:gd name="connsiteY4" fmla="*/ 15722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2691" y="15722"/>
                    </a:moveTo>
                    <a:cubicBezTo>
                      <a:pt x="-897" y="12133"/>
                      <a:pt x="-897" y="6272"/>
                      <a:pt x="2691" y="2684"/>
                    </a:cubicBezTo>
                    <a:cubicBezTo>
                      <a:pt x="6280" y="-905"/>
                      <a:pt x="12081" y="-905"/>
                      <a:pt x="15670" y="2744"/>
                    </a:cubicBezTo>
                    <a:cubicBezTo>
                      <a:pt x="19258" y="6332"/>
                      <a:pt x="19258" y="12193"/>
                      <a:pt x="15670" y="15782"/>
                    </a:cubicBezTo>
                    <a:cubicBezTo>
                      <a:pt x="12081" y="19310"/>
                      <a:pt x="6280" y="19310"/>
                      <a:pt x="2691" y="15722"/>
                    </a:cubicBezTo>
                    <a:close/>
                  </a:path>
                </a:pathLst>
              </a:custGeom>
              <a:grpFill/>
              <a:ln w="5978" cap="flat">
                <a:noFill/>
                <a:prstDash val="solid"/>
                <a:miter/>
              </a:ln>
            </p:spPr>
            <p:txBody>
              <a:bodyPr rtlCol="0" anchor="ctr"/>
              <a:lstStyle/>
              <a:p>
                <a:endParaRPr lang="en-GB"/>
              </a:p>
            </p:txBody>
          </p:sp>
          <p:sp>
            <p:nvSpPr>
              <p:cNvPr id="4049" name="Vrije vorm: vorm 4048">
                <a:extLst>
                  <a:ext uri="{FF2B5EF4-FFF2-40B4-BE49-F238E27FC236}">
                    <a16:creationId xmlns:a16="http://schemas.microsoft.com/office/drawing/2014/main" id="{9CC40F2D-71BF-49D0-8E7C-A01EA1215151}"/>
                  </a:ext>
                </a:extLst>
              </p:cNvPr>
              <p:cNvSpPr/>
              <p:nvPr/>
            </p:nvSpPr>
            <p:spPr>
              <a:xfrm>
                <a:off x="7722328" y="4925373"/>
                <a:ext cx="18360" cy="18421"/>
              </a:xfrm>
              <a:custGeom>
                <a:avLst/>
                <a:gdLst>
                  <a:gd name="connsiteX0" fmla="*/ 2691 w 18360"/>
                  <a:gd name="connsiteY0" fmla="*/ 15700 h 18421"/>
                  <a:gd name="connsiteX1" fmla="*/ 15670 w 18360"/>
                  <a:gd name="connsiteY1" fmla="*/ 15760 h 18421"/>
                  <a:gd name="connsiteX2" fmla="*/ 15670 w 18360"/>
                  <a:gd name="connsiteY2" fmla="*/ 2721 h 18421"/>
                  <a:gd name="connsiteX3" fmla="*/ 2691 w 18360"/>
                  <a:gd name="connsiteY3" fmla="*/ 2662 h 18421"/>
                  <a:gd name="connsiteX4" fmla="*/ 2691 w 18360"/>
                  <a:gd name="connsiteY4" fmla="*/ 1570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2691" y="15700"/>
                    </a:moveTo>
                    <a:cubicBezTo>
                      <a:pt x="6280" y="19288"/>
                      <a:pt x="12081" y="19348"/>
                      <a:pt x="15670" y="15760"/>
                    </a:cubicBezTo>
                    <a:cubicBezTo>
                      <a:pt x="19258" y="12171"/>
                      <a:pt x="19258" y="6370"/>
                      <a:pt x="15670" y="2721"/>
                    </a:cubicBezTo>
                    <a:cubicBezTo>
                      <a:pt x="12081" y="-867"/>
                      <a:pt x="6280" y="-927"/>
                      <a:pt x="2691" y="2662"/>
                    </a:cubicBezTo>
                    <a:cubicBezTo>
                      <a:pt x="-897" y="6250"/>
                      <a:pt x="-897" y="12051"/>
                      <a:pt x="2691" y="15700"/>
                    </a:cubicBezTo>
                    <a:close/>
                  </a:path>
                </a:pathLst>
              </a:custGeom>
              <a:grpFill/>
              <a:ln w="5978" cap="flat">
                <a:noFill/>
                <a:prstDash val="solid"/>
                <a:miter/>
              </a:ln>
            </p:spPr>
            <p:txBody>
              <a:bodyPr rtlCol="0" anchor="ctr"/>
              <a:lstStyle/>
              <a:p>
                <a:endParaRPr lang="en-GB"/>
              </a:p>
            </p:txBody>
          </p:sp>
        </p:grpSp>
        <p:grpSp>
          <p:nvGrpSpPr>
            <p:cNvPr id="447" name="Graphic 3">
              <a:extLst>
                <a:ext uri="{FF2B5EF4-FFF2-40B4-BE49-F238E27FC236}">
                  <a16:creationId xmlns:a16="http://schemas.microsoft.com/office/drawing/2014/main" id="{DB7CF7E1-0173-4C7E-BD5E-A77A768A423C}"/>
                </a:ext>
              </a:extLst>
            </p:cNvPr>
            <p:cNvGrpSpPr/>
            <p:nvPr/>
          </p:nvGrpSpPr>
          <p:grpSpPr>
            <a:xfrm>
              <a:off x="6405623" y="1463235"/>
              <a:ext cx="41244" cy="134681"/>
              <a:chOff x="6405623" y="1463235"/>
              <a:chExt cx="41244" cy="134681"/>
            </a:xfrm>
            <a:grpFill/>
          </p:grpSpPr>
          <p:sp>
            <p:nvSpPr>
              <p:cNvPr id="4044" name="Vrije vorm: vorm 4043">
                <a:extLst>
                  <a:ext uri="{FF2B5EF4-FFF2-40B4-BE49-F238E27FC236}">
                    <a16:creationId xmlns:a16="http://schemas.microsoft.com/office/drawing/2014/main" id="{5D66DD71-6555-473D-B9BE-6D6C7925FCEF}"/>
                  </a:ext>
                </a:extLst>
              </p:cNvPr>
              <p:cNvSpPr/>
              <p:nvPr/>
            </p:nvSpPr>
            <p:spPr>
              <a:xfrm>
                <a:off x="6413207" y="1471716"/>
                <a:ext cx="26075" cy="117760"/>
              </a:xfrm>
              <a:custGeom>
                <a:avLst/>
                <a:gdLst>
                  <a:gd name="connsiteX0" fmla="*/ 26076 w 26075"/>
                  <a:gd name="connsiteY0" fmla="*/ 598 h 117760"/>
                  <a:gd name="connsiteX1" fmla="*/ 2990 w 26075"/>
                  <a:gd name="connsiteY1" fmla="*/ 117760 h 117760"/>
                  <a:gd name="connsiteX2" fmla="*/ 0 w 26075"/>
                  <a:gd name="connsiteY2" fmla="*/ 117162 h 117760"/>
                  <a:gd name="connsiteX3" fmla="*/ 23086 w 26075"/>
                  <a:gd name="connsiteY3" fmla="*/ 0 h 117760"/>
                </a:gdLst>
                <a:ahLst/>
                <a:cxnLst>
                  <a:cxn ang="0">
                    <a:pos x="connsiteX0" y="connsiteY0"/>
                  </a:cxn>
                  <a:cxn ang="0">
                    <a:pos x="connsiteX1" y="connsiteY1"/>
                  </a:cxn>
                  <a:cxn ang="0">
                    <a:pos x="connsiteX2" y="connsiteY2"/>
                  </a:cxn>
                  <a:cxn ang="0">
                    <a:pos x="connsiteX3" y="connsiteY3"/>
                  </a:cxn>
                </a:cxnLst>
                <a:rect l="l" t="t" r="r" b="b"/>
                <a:pathLst>
                  <a:path w="26075" h="117760">
                    <a:moveTo>
                      <a:pt x="26076" y="598"/>
                    </a:moveTo>
                    <a:lnTo>
                      <a:pt x="2990" y="117760"/>
                    </a:lnTo>
                    <a:lnTo>
                      <a:pt x="0" y="117162"/>
                    </a:lnTo>
                    <a:lnTo>
                      <a:pt x="23086" y="0"/>
                    </a:lnTo>
                    <a:close/>
                  </a:path>
                </a:pathLst>
              </a:custGeom>
              <a:grpFill/>
              <a:ln w="5978" cap="flat">
                <a:noFill/>
                <a:prstDash val="solid"/>
                <a:miter/>
              </a:ln>
            </p:spPr>
            <p:txBody>
              <a:bodyPr rtlCol="0" anchor="ctr"/>
              <a:lstStyle/>
              <a:p>
                <a:endParaRPr lang="en-GB"/>
              </a:p>
            </p:txBody>
          </p:sp>
          <p:sp>
            <p:nvSpPr>
              <p:cNvPr id="4045" name="Vrije vorm: vorm 4044">
                <a:extLst>
                  <a:ext uri="{FF2B5EF4-FFF2-40B4-BE49-F238E27FC236}">
                    <a16:creationId xmlns:a16="http://schemas.microsoft.com/office/drawing/2014/main" id="{0CC09C45-C472-4563-A236-A268ADED182A}"/>
                  </a:ext>
                </a:extLst>
              </p:cNvPr>
              <p:cNvSpPr/>
              <p:nvPr/>
            </p:nvSpPr>
            <p:spPr>
              <a:xfrm>
                <a:off x="6428511" y="1463235"/>
                <a:ext cx="18356" cy="18457"/>
              </a:xfrm>
              <a:custGeom>
                <a:avLst/>
                <a:gdLst>
                  <a:gd name="connsiteX0" fmla="*/ 187 w 18356"/>
                  <a:gd name="connsiteY0" fmla="*/ 7405 h 18457"/>
                  <a:gd name="connsiteX1" fmla="*/ 10952 w 18356"/>
                  <a:gd name="connsiteY1" fmla="*/ 168 h 18457"/>
                  <a:gd name="connsiteX2" fmla="*/ 18189 w 18356"/>
                  <a:gd name="connsiteY2" fmla="*/ 11053 h 18457"/>
                  <a:gd name="connsiteX3" fmla="*/ 7423 w 18356"/>
                  <a:gd name="connsiteY3" fmla="*/ 18289 h 18457"/>
                  <a:gd name="connsiteX4" fmla="*/ 187 w 18356"/>
                  <a:gd name="connsiteY4" fmla="*/ 7405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57">
                    <a:moveTo>
                      <a:pt x="187" y="7405"/>
                    </a:moveTo>
                    <a:cubicBezTo>
                      <a:pt x="1144" y="2441"/>
                      <a:pt x="5988" y="-789"/>
                      <a:pt x="10952" y="168"/>
                    </a:cubicBezTo>
                    <a:cubicBezTo>
                      <a:pt x="15916" y="1185"/>
                      <a:pt x="19146" y="6029"/>
                      <a:pt x="18189" y="11053"/>
                    </a:cubicBezTo>
                    <a:cubicBezTo>
                      <a:pt x="17232" y="16017"/>
                      <a:pt x="12388" y="19246"/>
                      <a:pt x="7423" y="18289"/>
                    </a:cubicBezTo>
                    <a:cubicBezTo>
                      <a:pt x="2400" y="17273"/>
                      <a:pt x="-830" y="12428"/>
                      <a:pt x="187" y="7405"/>
                    </a:cubicBezTo>
                    <a:close/>
                  </a:path>
                </a:pathLst>
              </a:custGeom>
              <a:grpFill/>
              <a:ln w="5978" cap="flat">
                <a:noFill/>
                <a:prstDash val="solid"/>
                <a:miter/>
              </a:ln>
            </p:spPr>
            <p:txBody>
              <a:bodyPr rtlCol="0" anchor="ctr"/>
              <a:lstStyle/>
              <a:p>
                <a:endParaRPr lang="en-GB"/>
              </a:p>
            </p:txBody>
          </p:sp>
          <p:sp>
            <p:nvSpPr>
              <p:cNvPr id="4046" name="Vrije vorm: vorm 4045">
                <a:extLst>
                  <a:ext uri="{FF2B5EF4-FFF2-40B4-BE49-F238E27FC236}">
                    <a16:creationId xmlns:a16="http://schemas.microsoft.com/office/drawing/2014/main" id="{0683338C-B0D5-4D5F-BF37-3EB60B1C74B8}"/>
                  </a:ext>
                </a:extLst>
              </p:cNvPr>
              <p:cNvSpPr/>
              <p:nvPr/>
            </p:nvSpPr>
            <p:spPr>
              <a:xfrm>
                <a:off x="6405623" y="1579498"/>
                <a:ext cx="18337" cy="18418"/>
              </a:xfrm>
              <a:custGeom>
                <a:avLst/>
                <a:gdLst>
                  <a:gd name="connsiteX0" fmla="*/ 168 w 18337"/>
                  <a:gd name="connsiteY0" fmla="*/ 7407 h 18418"/>
                  <a:gd name="connsiteX1" fmla="*/ 7405 w 18337"/>
                  <a:gd name="connsiteY1" fmla="*/ 18232 h 18418"/>
                  <a:gd name="connsiteX2" fmla="*/ 18170 w 18337"/>
                  <a:gd name="connsiteY2" fmla="*/ 10995 h 18418"/>
                  <a:gd name="connsiteX3" fmla="*/ 10933 w 18337"/>
                  <a:gd name="connsiteY3" fmla="*/ 170 h 18418"/>
                  <a:gd name="connsiteX4" fmla="*/ 168 w 18337"/>
                  <a:gd name="connsiteY4" fmla="*/ 740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8">
                    <a:moveTo>
                      <a:pt x="168" y="7407"/>
                    </a:moveTo>
                    <a:cubicBezTo>
                      <a:pt x="-789" y="12371"/>
                      <a:pt x="2441" y="17275"/>
                      <a:pt x="7405" y="18232"/>
                    </a:cubicBezTo>
                    <a:cubicBezTo>
                      <a:pt x="12368" y="19249"/>
                      <a:pt x="17213" y="16019"/>
                      <a:pt x="18170" y="10995"/>
                    </a:cubicBezTo>
                    <a:cubicBezTo>
                      <a:pt x="19127" y="6031"/>
                      <a:pt x="15897" y="1127"/>
                      <a:pt x="10933" y="170"/>
                    </a:cubicBezTo>
                    <a:cubicBezTo>
                      <a:pt x="5969" y="-787"/>
                      <a:pt x="1184" y="2383"/>
                      <a:pt x="168" y="7407"/>
                    </a:cubicBezTo>
                    <a:close/>
                  </a:path>
                </a:pathLst>
              </a:custGeom>
              <a:grpFill/>
              <a:ln w="5978" cap="flat">
                <a:noFill/>
                <a:prstDash val="solid"/>
                <a:miter/>
              </a:ln>
            </p:spPr>
            <p:txBody>
              <a:bodyPr rtlCol="0" anchor="ctr"/>
              <a:lstStyle/>
              <a:p>
                <a:endParaRPr lang="en-GB"/>
              </a:p>
            </p:txBody>
          </p:sp>
        </p:grpSp>
        <p:grpSp>
          <p:nvGrpSpPr>
            <p:cNvPr id="448" name="Graphic 3">
              <a:extLst>
                <a:ext uri="{FF2B5EF4-FFF2-40B4-BE49-F238E27FC236}">
                  <a16:creationId xmlns:a16="http://schemas.microsoft.com/office/drawing/2014/main" id="{6409BDCC-D91E-4D81-A3B6-738629331F31}"/>
                </a:ext>
              </a:extLst>
            </p:cNvPr>
            <p:cNvGrpSpPr/>
            <p:nvPr/>
          </p:nvGrpSpPr>
          <p:grpSpPr>
            <a:xfrm>
              <a:off x="6457643" y="1581083"/>
              <a:ext cx="37080" cy="98064"/>
              <a:chOff x="6457643" y="1581083"/>
              <a:chExt cx="37080" cy="98064"/>
            </a:xfrm>
            <a:grpFill/>
          </p:grpSpPr>
          <p:sp>
            <p:nvSpPr>
              <p:cNvPr id="4041" name="Vrije vorm: vorm 4040">
                <a:extLst>
                  <a:ext uri="{FF2B5EF4-FFF2-40B4-BE49-F238E27FC236}">
                    <a16:creationId xmlns:a16="http://schemas.microsoft.com/office/drawing/2014/main" id="{C1BAE23E-FF33-4964-889B-7D45A38847D8}"/>
                  </a:ext>
                </a:extLst>
              </p:cNvPr>
              <p:cNvSpPr/>
              <p:nvPr/>
            </p:nvSpPr>
            <p:spPr>
              <a:xfrm>
                <a:off x="6465240" y="1589477"/>
                <a:ext cx="21949" cy="81218"/>
              </a:xfrm>
              <a:custGeom>
                <a:avLst/>
                <a:gdLst>
                  <a:gd name="connsiteX0" fmla="*/ 21949 w 21949"/>
                  <a:gd name="connsiteY0" fmla="*/ 718 h 81218"/>
                  <a:gd name="connsiteX1" fmla="*/ 2930 w 21949"/>
                  <a:gd name="connsiteY1" fmla="*/ 81218 h 81218"/>
                  <a:gd name="connsiteX2" fmla="*/ 0 w 21949"/>
                  <a:gd name="connsiteY2" fmla="*/ 80501 h 81218"/>
                  <a:gd name="connsiteX3" fmla="*/ 18959 w 21949"/>
                  <a:gd name="connsiteY3" fmla="*/ 0 h 81218"/>
                </a:gdLst>
                <a:ahLst/>
                <a:cxnLst>
                  <a:cxn ang="0">
                    <a:pos x="connsiteX0" y="connsiteY0"/>
                  </a:cxn>
                  <a:cxn ang="0">
                    <a:pos x="connsiteX1" y="connsiteY1"/>
                  </a:cxn>
                  <a:cxn ang="0">
                    <a:pos x="connsiteX2" y="connsiteY2"/>
                  </a:cxn>
                  <a:cxn ang="0">
                    <a:pos x="connsiteX3" y="connsiteY3"/>
                  </a:cxn>
                </a:cxnLst>
                <a:rect l="l" t="t" r="r" b="b"/>
                <a:pathLst>
                  <a:path w="21949" h="81218">
                    <a:moveTo>
                      <a:pt x="21949" y="718"/>
                    </a:moveTo>
                    <a:lnTo>
                      <a:pt x="2930" y="81218"/>
                    </a:lnTo>
                    <a:lnTo>
                      <a:pt x="0" y="80501"/>
                    </a:lnTo>
                    <a:lnTo>
                      <a:pt x="18959" y="0"/>
                    </a:lnTo>
                    <a:close/>
                  </a:path>
                </a:pathLst>
              </a:custGeom>
              <a:grpFill/>
              <a:ln w="5978" cap="flat">
                <a:noFill/>
                <a:prstDash val="solid"/>
                <a:miter/>
              </a:ln>
            </p:spPr>
            <p:txBody>
              <a:bodyPr rtlCol="0" anchor="ctr"/>
              <a:lstStyle/>
              <a:p>
                <a:endParaRPr lang="en-GB"/>
              </a:p>
            </p:txBody>
          </p:sp>
          <p:sp>
            <p:nvSpPr>
              <p:cNvPr id="4042" name="Vrije vorm: vorm 4041">
                <a:extLst>
                  <a:ext uri="{FF2B5EF4-FFF2-40B4-BE49-F238E27FC236}">
                    <a16:creationId xmlns:a16="http://schemas.microsoft.com/office/drawing/2014/main" id="{BFC43BF3-C26C-4BB5-B20F-C82338C711EE}"/>
                  </a:ext>
                </a:extLst>
              </p:cNvPr>
              <p:cNvSpPr/>
              <p:nvPr/>
            </p:nvSpPr>
            <p:spPr>
              <a:xfrm>
                <a:off x="6476403" y="1581083"/>
                <a:ext cx="18319" cy="18461"/>
              </a:xfrm>
              <a:custGeom>
                <a:avLst/>
                <a:gdLst>
                  <a:gd name="connsiteX0" fmla="*/ 260 w 18319"/>
                  <a:gd name="connsiteY0" fmla="*/ 7078 h 18461"/>
                  <a:gd name="connsiteX1" fmla="*/ 11264 w 18319"/>
                  <a:gd name="connsiteY1" fmla="*/ 260 h 18461"/>
                  <a:gd name="connsiteX2" fmla="*/ 18082 w 18319"/>
                  <a:gd name="connsiteY2" fmla="*/ 11384 h 18461"/>
                  <a:gd name="connsiteX3" fmla="*/ 7078 w 18319"/>
                  <a:gd name="connsiteY3" fmla="*/ 18202 h 18461"/>
                  <a:gd name="connsiteX4" fmla="*/ 260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60" y="7078"/>
                    </a:moveTo>
                    <a:cubicBezTo>
                      <a:pt x="1396" y="2114"/>
                      <a:pt x="6360" y="-937"/>
                      <a:pt x="11264" y="260"/>
                    </a:cubicBezTo>
                    <a:cubicBezTo>
                      <a:pt x="16168" y="1456"/>
                      <a:pt x="19219" y="6420"/>
                      <a:pt x="18082" y="11384"/>
                    </a:cubicBezTo>
                    <a:cubicBezTo>
                      <a:pt x="16886" y="16348"/>
                      <a:pt x="11982" y="19398"/>
                      <a:pt x="7078" y="18202"/>
                    </a:cubicBezTo>
                    <a:cubicBezTo>
                      <a:pt x="2114" y="16946"/>
                      <a:pt x="-936" y="11982"/>
                      <a:pt x="260" y="7078"/>
                    </a:cubicBezTo>
                    <a:close/>
                  </a:path>
                </a:pathLst>
              </a:custGeom>
              <a:grpFill/>
              <a:ln w="5978" cap="flat">
                <a:noFill/>
                <a:prstDash val="solid"/>
                <a:miter/>
              </a:ln>
            </p:spPr>
            <p:txBody>
              <a:bodyPr rtlCol="0" anchor="ctr"/>
              <a:lstStyle/>
              <a:p>
                <a:endParaRPr lang="en-GB"/>
              </a:p>
            </p:txBody>
          </p:sp>
          <p:sp>
            <p:nvSpPr>
              <p:cNvPr id="4043" name="Vrije vorm: vorm 4042">
                <a:extLst>
                  <a:ext uri="{FF2B5EF4-FFF2-40B4-BE49-F238E27FC236}">
                    <a16:creationId xmlns:a16="http://schemas.microsoft.com/office/drawing/2014/main" id="{D486E5EF-CECD-456D-875E-9DD0044F454A}"/>
                  </a:ext>
                </a:extLst>
              </p:cNvPr>
              <p:cNvSpPr/>
              <p:nvPr/>
            </p:nvSpPr>
            <p:spPr>
              <a:xfrm>
                <a:off x="6457643" y="1660687"/>
                <a:ext cx="18322" cy="18461"/>
              </a:xfrm>
              <a:custGeom>
                <a:avLst/>
                <a:gdLst>
                  <a:gd name="connsiteX0" fmla="*/ 241 w 18322"/>
                  <a:gd name="connsiteY0" fmla="*/ 7078 h 18461"/>
                  <a:gd name="connsiteX1" fmla="*/ 7058 w 18322"/>
                  <a:gd name="connsiteY1" fmla="*/ 18202 h 18461"/>
                  <a:gd name="connsiteX2" fmla="*/ 18063 w 18322"/>
                  <a:gd name="connsiteY2" fmla="*/ 11384 h 18461"/>
                  <a:gd name="connsiteX3" fmla="*/ 11245 w 18322"/>
                  <a:gd name="connsiteY3" fmla="*/ 260 h 18461"/>
                  <a:gd name="connsiteX4" fmla="*/ 241 w 18322"/>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61">
                    <a:moveTo>
                      <a:pt x="241" y="7078"/>
                    </a:moveTo>
                    <a:cubicBezTo>
                      <a:pt x="-896" y="12042"/>
                      <a:pt x="2095" y="17006"/>
                      <a:pt x="7058" y="18202"/>
                    </a:cubicBezTo>
                    <a:cubicBezTo>
                      <a:pt x="11963" y="19398"/>
                      <a:pt x="16927" y="16348"/>
                      <a:pt x="18063" y="11384"/>
                    </a:cubicBezTo>
                    <a:cubicBezTo>
                      <a:pt x="19259" y="6420"/>
                      <a:pt x="16209" y="1456"/>
                      <a:pt x="11245" y="260"/>
                    </a:cubicBezTo>
                    <a:cubicBezTo>
                      <a:pt x="6341" y="-937"/>
                      <a:pt x="1437" y="2114"/>
                      <a:pt x="241" y="7078"/>
                    </a:cubicBezTo>
                    <a:close/>
                  </a:path>
                </a:pathLst>
              </a:custGeom>
              <a:grpFill/>
              <a:ln w="5978" cap="flat">
                <a:noFill/>
                <a:prstDash val="solid"/>
                <a:miter/>
              </a:ln>
            </p:spPr>
            <p:txBody>
              <a:bodyPr rtlCol="0" anchor="ctr"/>
              <a:lstStyle/>
              <a:p>
                <a:endParaRPr lang="en-GB"/>
              </a:p>
            </p:txBody>
          </p:sp>
        </p:grpSp>
        <p:grpSp>
          <p:nvGrpSpPr>
            <p:cNvPr id="449" name="Graphic 3">
              <a:extLst>
                <a:ext uri="{FF2B5EF4-FFF2-40B4-BE49-F238E27FC236}">
                  <a16:creationId xmlns:a16="http://schemas.microsoft.com/office/drawing/2014/main" id="{FE48E8D0-3EAF-42E9-AA4D-071B5A4C17F9}"/>
                </a:ext>
              </a:extLst>
            </p:cNvPr>
            <p:cNvGrpSpPr/>
            <p:nvPr/>
          </p:nvGrpSpPr>
          <p:grpSpPr>
            <a:xfrm>
              <a:off x="6464949" y="1669308"/>
              <a:ext cx="43223" cy="116088"/>
              <a:chOff x="6464949" y="1669308"/>
              <a:chExt cx="43223" cy="116088"/>
            </a:xfrm>
            <a:grpFill/>
          </p:grpSpPr>
          <p:sp>
            <p:nvSpPr>
              <p:cNvPr id="4038" name="Vrije vorm: vorm 4037">
                <a:extLst>
                  <a:ext uri="{FF2B5EF4-FFF2-40B4-BE49-F238E27FC236}">
                    <a16:creationId xmlns:a16="http://schemas.microsoft.com/office/drawing/2014/main" id="{4CF7D534-EB3B-4E8B-8B85-103B9959B809}"/>
                  </a:ext>
                </a:extLst>
              </p:cNvPr>
              <p:cNvSpPr/>
              <p:nvPr/>
            </p:nvSpPr>
            <p:spPr>
              <a:xfrm>
                <a:off x="6472536" y="1677633"/>
                <a:ext cx="28109" cy="99339"/>
              </a:xfrm>
              <a:custGeom>
                <a:avLst/>
                <a:gdLst>
                  <a:gd name="connsiteX0" fmla="*/ 28109 w 28109"/>
                  <a:gd name="connsiteY0" fmla="*/ 778 h 99339"/>
                  <a:gd name="connsiteX1" fmla="*/ 2930 w 28109"/>
                  <a:gd name="connsiteY1" fmla="*/ 99340 h 99339"/>
                  <a:gd name="connsiteX2" fmla="*/ 0 w 28109"/>
                  <a:gd name="connsiteY2" fmla="*/ 98622 h 99339"/>
                  <a:gd name="connsiteX3" fmla="*/ 25179 w 28109"/>
                  <a:gd name="connsiteY3" fmla="*/ 0 h 99339"/>
                </a:gdLst>
                <a:ahLst/>
                <a:cxnLst>
                  <a:cxn ang="0">
                    <a:pos x="connsiteX0" y="connsiteY0"/>
                  </a:cxn>
                  <a:cxn ang="0">
                    <a:pos x="connsiteX1" y="connsiteY1"/>
                  </a:cxn>
                  <a:cxn ang="0">
                    <a:pos x="connsiteX2" y="connsiteY2"/>
                  </a:cxn>
                  <a:cxn ang="0">
                    <a:pos x="connsiteX3" y="connsiteY3"/>
                  </a:cxn>
                </a:cxnLst>
                <a:rect l="l" t="t" r="r" b="b"/>
                <a:pathLst>
                  <a:path w="28109" h="99339">
                    <a:moveTo>
                      <a:pt x="28109" y="778"/>
                    </a:moveTo>
                    <a:lnTo>
                      <a:pt x="2930" y="99340"/>
                    </a:lnTo>
                    <a:lnTo>
                      <a:pt x="0" y="98622"/>
                    </a:lnTo>
                    <a:lnTo>
                      <a:pt x="25179" y="0"/>
                    </a:lnTo>
                    <a:close/>
                  </a:path>
                </a:pathLst>
              </a:custGeom>
              <a:grpFill/>
              <a:ln w="5978" cap="flat">
                <a:noFill/>
                <a:prstDash val="solid"/>
                <a:miter/>
              </a:ln>
            </p:spPr>
            <p:txBody>
              <a:bodyPr rtlCol="0" anchor="ctr"/>
              <a:lstStyle/>
              <a:p>
                <a:endParaRPr lang="en-GB"/>
              </a:p>
            </p:txBody>
          </p:sp>
          <p:sp>
            <p:nvSpPr>
              <p:cNvPr id="4039" name="Vrije vorm: vorm 4038">
                <a:extLst>
                  <a:ext uri="{FF2B5EF4-FFF2-40B4-BE49-F238E27FC236}">
                    <a16:creationId xmlns:a16="http://schemas.microsoft.com/office/drawing/2014/main" id="{78947345-4F1B-45B7-A078-ADC0CBDCA85A}"/>
                  </a:ext>
                </a:extLst>
              </p:cNvPr>
              <p:cNvSpPr/>
              <p:nvPr/>
            </p:nvSpPr>
            <p:spPr>
              <a:xfrm>
                <a:off x="6489892" y="1669308"/>
                <a:ext cx="18280" cy="18443"/>
              </a:xfrm>
              <a:custGeom>
                <a:avLst/>
                <a:gdLst>
                  <a:gd name="connsiteX0" fmla="*/ 287 w 18280"/>
                  <a:gd name="connsiteY0" fmla="*/ 6889 h 18443"/>
                  <a:gd name="connsiteX1" fmla="*/ 11411 w 18280"/>
                  <a:gd name="connsiteY1" fmla="*/ 311 h 18443"/>
                  <a:gd name="connsiteX2" fmla="*/ 17990 w 18280"/>
                  <a:gd name="connsiteY2" fmla="*/ 11554 h 18443"/>
                  <a:gd name="connsiteX3" fmla="*/ 6866 w 18280"/>
                  <a:gd name="connsiteY3" fmla="*/ 18133 h 18443"/>
                  <a:gd name="connsiteX4" fmla="*/ 287 w 18280"/>
                  <a:gd name="connsiteY4" fmla="*/ 68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43">
                    <a:moveTo>
                      <a:pt x="287" y="6889"/>
                    </a:moveTo>
                    <a:cubicBezTo>
                      <a:pt x="1543" y="1985"/>
                      <a:pt x="6567" y="-1005"/>
                      <a:pt x="11411" y="311"/>
                    </a:cubicBezTo>
                    <a:cubicBezTo>
                      <a:pt x="16315" y="1567"/>
                      <a:pt x="19246" y="6650"/>
                      <a:pt x="17990" y="11554"/>
                    </a:cubicBezTo>
                    <a:cubicBezTo>
                      <a:pt x="16734" y="16459"/>
                      <a:pt x="11710" y="19449"/>
                      <a:pt x="6866" y="18133"/>
                    </a:cubicBezTo>
                    <a:cubicBezTo>
                      <a:pt x="2021" y="16817"/>
                      <a:pt x="-969" y="11794"/>
                      <a:pt x="287" y="6889"/>
                    </a:cubicBezTo>
                    <a:close/>
                  </a:path>
                </a:pathLst>
              </a:custGeom>
              <a:grpFill/>
              <a:ln w="5978" cap="flat">
                <a:noFill/>
                <a:prstDash val="solid"/>
                <a:miter/>
              </a:ln>
            </p:spPr>
            <p:txBody>
              <a:bodyPr rtlCol="0" anchor="ctr"/>
              <a:lstStyle/>
              <a:p>
                <a:endParaRPr lang="en-GB"/>
              </a:p>
            </p:txBody>
          </p:sp>
          <p:sp>
            <p:nvSpPr>
              <p:cNvPr id="4040" name="Vrije vorm: vorm 4039">
                <a:extLst>
                  <a:ext uri="{FF2B5EF4-FFF2-40B4-BE49-F238E27FC236}">
                    <a16:creationId xmlns:a16="http://schemas.microsoft.com/office/drawing/2014/main" id="{E023EB5A-07CC-40C0-A023-AE8F26DB020F}"/>
                  </a:ext>
                </a:extLst>
              </p:cNvPr>
              <p:cNvSpPr/>
              <p:nvPr/>
            </p:nvSpPr>
            <p:spPr>
              <a:xfrm>
                <a:off x="6464949" y="1766969"/>
                <a:ext cx="18284" cy="18427"/>
              </a:xfrm>
              <a:custGeom>
                <a:avLst/>
                <a:gdLst>
                  <a:gd name="connsiteX0" fmla="*/ 291 w 18284"/>
                  <a:gd name="connsiteY0" fmla="*/ 6893 h 18427"/>
                  <a:gd name="connsiteX1" fmla="*/ 6869 w 18284"/>
                  <a:gd name="connsiteY1" fmla="*/ 18137 h 18427"/>
                  <a:gd name="connsiteX2" fmla="*/ 17994 w 18284"/>
                  <a:gd name="connsiteY2" fmla="*/ 11558 h 18427"/>
                  <a:gd name="connsiteX3" fmla="*/ 11415 w 18284"/>
                  <a:gd name="connsiteY3" fmla="*/ 315 h 18427"/>
                  <a:gd name="connsiteX4" fmla="*/ 291 w 18284"/>
                  <a:gd name="connsiteY4" fmla="*/ 6893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27">
                    <a:moveTo>
                      <a:pt x="291" y="6893"/>
                    </a:moveTo>
                    <a:cubicBezTo>
                      <a:pt x="-966" y="11798"/>
                      <a:pt x="1965" y="16821"/>
                      <a:pt x="6869" y="18137"/>
                    </a:cubicBezTo>
                    <a:cubicBezTo>
                      <a:pt x="11773" y="19393"/>
                      <a:pt x="16738" y="16462"/>
                      <a:pt x="17994" y="11558"/>
                    </a:cubicBezTo>
                    <a:cubicBezTo>
                      <a:pt x="19249" y="6654"/>
                      <a:pt x="16319" y="1630"/>
                      <a:pt x="11415" y="315"/>
                    </a:cubicBezTo>
                    <a:cubicBezTo>
                      <a:pt x="6570" y="-1001"/>
                      <a:pt x="1547" y="1929"/>
                      <a:pt x="291" y="6893"/>
                    </a:cubicBezTo>
                    <a:close/>
                  </a:path>
                </a:pathLst>
              </a:custGeom>
              <a:grpFill/>
              <a:ln w="5978" cap="flat">
                <a:noFill/>
                <a:prstDash val="solid"/>
                <a:miter/>
              </a:ln>
            </p:spPr>
            <p:txBody>
              <a:bodyPr rtlCol="0" anchor="ctr"/>
              <a:lstStyle/>
              <a:p>
                <a:endParaRPr lang="en-GB"/>
              </a:p>
            </p:txBody>
          </p:sp>
        </p:grpSp>
        <p:grpSp>
          <p:nvGrpSpPr>
            <p:cNvPr id="450" name="Graphic 3">
              <a:extLst>
                <a:ext uri="{FF2B5EF4-FFF2-40B4-BE49-F238E27FC236}">
                  <a16:creationId xmlns:a16="http://schemas.microsoft.com/office/drawing/2014/main" id="{46A787B9-3028-4D21-BEA0-CFBDA9F8E09C}"/>
                </a:ext>
              </a:extLst>
            </p:cNvPr>
            <p:cNvGrpSpPr/>
            <p:nvPr/>
          </p:nvGrpSpPr>
          <p:grpSpPr>
            <a:xfrm>
              <a:off x="7363868" y="4473920"/>
              <a:ext cx="129553" cy="108393"/>
              <a:chOff x="7363868" y="4473920"/>
              <a:chExt cx="129553" cy="108393"/>
            </a:xfrm>
            <a:grpFill/>
          </p:grpSpPr>
          <p:sp>
            <p:nvSpPr>
              <p:cNvPr id="4035" name="Vrije vorm: vorm 4034">
                <a:extLst>
                  <a:ext uri="{FF2B5EF4-FFF2-40B4-BE49-F238E27FC236}">
                    <a16:creationId xmlns:a16="http://schemas.microsoft.com/office/drawing/2014/main" id="{65253B6B-74ED-4AC2-B17A-B1366C24E048}"/>
                  </a:ext>
                </a:extLst>
              </p:cNvPr>
              <p:cNvSpPr/>
              <p:nvPr/>
            </p:nvSpPr>
            <p:spPr>
              <a:xfrm>
                <a:off x="7371738" y="4481694"/>
                <a:ext cx="113813" cy="92880"/>
              </a:xfrm>
              <a:custGeom>
                <a:avLst/>
                <a:gdLst>
                  <a:gd name="connsiteX0" fmla="*/ 113813 w 113813"/>
                  <a:gd name="connsiteY0" fmla="*/ 90488 h 92880"/>
                  <a:gd name="connsiteX1" fmla="*/ 111899 w 113813"/>
                  <a:gd name="connsiteY1" fmla="*/ 92880 h 92880"/>
                  <a:gd name="connsiteX2" fmla="*/ 0 w 113813"/>
                  <a:gd name="connsiteY2" fmla="*/ 2332 h 92880"/>
                  <a:gd name="connsiteX3" fmla="*/ 1914 w 113813"/>
                  <a:gd name="connsiteY3" fmla="*/ 0 h 92880"/>
                </a:gdLst>
                <a:ahLst/>
                <a:cxnLst>
                  <a:cxn ang="0">
                    <a:pos x="connsiteX0" y="connsiteY0"/>
                  </a:cxn>
                  <a:cxn ang="0">
                    <a:pos x="connsiteX1" y="connsiteY1"/>
                  </a:cxn>
                  <a:cxn ang="0">
                    <a:pos x="connsiteX2" y="connsiteY2"/>
                  </a:cxn>
                  <a:cxn ang="0">
                    <a:pos x="connsiteX3" y="connsiteY3"/>
                  </a:cxn>
                </a:cxnLst>
                <a:rect l="l" t="t" r="r" b="b"/>
                <a:pathLst>
                  <a:path w="113813" h="92880">
                    <a:moveTo>
                      <a:pt x="113813" y="90488"/>
                    </a:moveTo>
                    <a:lnTo>
                      <a:pt x="111899" y="92880"/>
                    </a:lnTo>
                    <a:lnTo>
                      <a:pt x="0" y="2332"/>
                    </a:lnTo>
                    <a:lnTo>
                      <a:pt x="1914" y="0"/>
                    </a:lnTo>
                    <a:close/>
                  </a:path>
                </a:pathLst>
              </a:custGeom>
              <a:grpFill/>
              <a:ln w="5978" cap="flat">
                <a:noFill/>
                <a:prstDash val="solid"/>
                <a:miter/>
              </a:ln>
            </p:spPr>
            <p:txBody>
              <a:bodyPr rtlCol="0" anchor="ctr"/>
              <a:lstStyle/>
              <a:p>
                <a:endParaRPr lang="en-GB"/>
              </a:p>
            </p:txBody>
          </p:sp>
          <p:sp>
            <p:nvSpPr>
              <p:cNvPr id="4036" name="Vrije vorm: vorm 4035">
                <a:extLst>
                  <a:ext uri="{FF2B5EF4-FFF2-40B4-BE49-F238E27FC236}">
                    <a16:creationId xmlns:a16="http://schemas.microsoft.com/office/drawing/2014/main" id="{85516DA3-C99A-41CA-831B-66B083A9AB7B}"/>
                  </a:ext>
                </a:extLst>
              </p:cNvPr>
              <p:cNvSpPr/>
              <p:nvPr/>
            </p:nvSpPr>
            <p:spPr>
              <a:xfrm>
                <a:off x="7475109" y="4563870"/>
                <a:ext cx="18311" cy="18443"/>
              </a:xfrm>
              <a:custGeom>
                <a:avLst/>
                <a:gdLst>
                  <a:gd name="connsiteX0" fmla="*/ 14868 w 18311"/>
                  <a:gd name="connsiteY0" fmla="*/ 2032 h 18443"/>
                  <a:gd name="connsiteX1" fmla="*/ 16303 w 18311"/>
                  <a:gd name="connsiteY1" fmla="*/ 15011 h 18443"/>
                  <a:gd name="connsiteX2" fmla="*/ 3444 w 18311"/>
                  <a:gd name="connsiteY2" fmla="*/ 16386 h 18443"/>
                  <a:gd name="connsiteX3" fmla="*/ 2009 w 18311"/>
                  <a:gd name="connsiteY3" fmla="*/ 3408 h 18443"/>
                  <a:gd name="connsiteX4" fmla="*/ 14868 w 18311"/>
                  <a:gd name="connsiteY4" fmla="*/ 20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43">
                    <a:moveTo>
                      <a:pt x="14868" y="2032"/>
                    </a:moveTo>
                    <a:cubicBezTo>
                      <a:pt x="18815" y="5202"/>
                      <a:pt x="19473" y="11003"/>
                      <a:pt x="16303" y="15011"/>
                    </a:cubicBezTo>
                    <a:cubicBezTo>
                      <a:pt x="13133" y="18958"/>
                      <a:pt x="7392" y="19616"/>
                      <a:pt x="3444" y="16386"/>
                    </a:cubicBezTo>
                    <a:cubicBezTo>
                      <a:pt x="-503" y="13216"/>
                      <a:pt x="-1161" y="7415"/>
                      <a:pt x="2009" y="3408"/>
                    </a:cubicBezTo>
                    <a:cubicBezTo>
                      <a:pt x="5119" y="-539"/>
                      <a:pt x="10860" y="-1137"/>
                      <a:pt x="14868" y="2032"/>
                    </a:cubicBezTo>
                    <a:close/>
                  </a:path>
                </a:pathLst>
              </a:custGeom>
              <a:grpFill/>
              <a:ln w="5978" cap="flat">
                <a:noFill/>
                <a:prstDash val="solid"/>
                <a:miter/>
              </a:ln>
            </p:spPr>
            <p:txBody>
              <a:bodyPr rtlCol="0" anchor="ctr"/>
              <a:lstStyle/>
              <a:p>
                <a:endParaRPr lang="en-GB"/>
              </a:p>
            </p:txBody>
          </p:sp>
          <p:sp>
            <p:nvSpPr>
              <p:cNvPr id="4037" name="Vrije vorm: vorm 4036">
                <a:extLst>
                  <a:ext uri="{FF2B5EF4-FFF2-40B4-BE49-F238E27FC236}">
                    <a16:creationId xmlns:a16="http://schemas.microsoft.com/office/drawing/2014/main" id="{237D8001-880E-4CEE-9EA6-550021E9E973}"/>
                  </a:ext>
                </a:extLst>
              </p:cNvPr>
              <p:cNvSpPr/>
              <p:nvPr/>
            </p:nvSpPr>
            <p:spPr>
              <a:xfrm>
                <a:off x="7363868" y="4473920"/>
                <a:ext cx="18311" cy="18418"/>
              </a:xfrm>
              <a:custGeom>
                <a:avLst/>
                <a:gdLst>
                  <a:gd name="connsiteX0" fmla="*/ 14868 w 18311"/>
                  <a:gd name="connsiteY0" fmla="*/ 2032 h 18418"/>
                  <a:gd name="connsiteX1" fmla="*/ 2009 w 18311"/>
                  <a:gd name="connsiteY1" fmla="*/ 3408 h 18418"/>
                  <a:gd name="connsiteX2" fmla="*/ 3444 w 18311"/>
                  <a:gd name="connsiteY2" fmla="*/ 16386 h 18418"/>
                  <a:gd name="connsiteX3" fmla="*/ 16303 w 18311"/>
                  <a:gd name="connsiteY3" fmla="*/ 15010 h 18418"/>
                  <a:gd name="connsiteX4" fmla="*/ 14868 w 18311"/>
                  <a:gd name="connsiteY4" fmla="*/ 2032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4868" y="2032"/>
                    </a:moveTo>
                    <a:cubicBezTo>
                      <a:pt x="10920" y="-1138"/>
                      <a:pt x="5119" y="-539"/>
                      <a:pt x="2009" y="3408"/>
                    </a:cubicBezTo>
                    <a:cubicBezTo>
                      <a:pt x="-1161" y="7355"/>
                      <a:pt x="-503" y="13156"/>
                      <a:pt x="3444" y="16386"/>
                    </a:cubicBezTo>
                    <a:cubicBezTo>
                      <a:pt x="7392" y="19556"/>
                      <a:pt x="13133" y="18958"/>
                      <a:pt x="16303" y="15010"/>
                    </a:cubicBezTo>
                    <a:cubicBezTo>
                      <a:pt x="19472" y="11063"/>
                      <a:pt x="18814" y="5262"/>
                      <a:pt x="14868" y="2032"/>
                    </a:cubicBezTo>
                    <a:close/>
                  </a:path>
                </a:pathLst>
              </a:custGeom>
              <a:grpFill/>
              <a:ln w="5978" cap="flat">
                <a:noFill/>
                <a:prstDash val="solid"/>
                <a:miter/>
              </a:ln>
            </p:spPr>
            <p:txBody>
              <a:bodyPr rtlCol="0" anchor="ctr"/>
              <a:lstStyle/>
              <a:p>
                <a:endParaRPr lang="en-GB"/>
              </a:p>
            </p:txBody>
          </p:sp>
        </p:grpSp>
        <p:grpSp>
          <p:nvGrpSpPr>
            <p:cNvPr id="451" name="Graphic 3">
              <a:extLst>
                <a:ext uri="{FF2B5EF4-FFF2-40B4-BE49-F238E27FC236}">
                  <a16:creationId xmlns:a16="http://schemas.microsoft.com/office/drawing/2014/main" id="{AFAAE8CF-224B-4C63-B449-E13989982703}"/>
                </a:ext>
              </a:extLst>
            </p:cNvPr>
            <p:cNvGrpSpPr/>
            <p:nvPr/>
          </p:nvGrpSpPr>
          <p:grpSpPr>
            <a:xfrm>
              <a:off x="6402484" y="1529524"/>
              <a:ext cx="103323" cy="252820"/>
              <a:chOff x="6402484" y="1529524"/>
              <a:chExt cx="103323" cy="252820"/>
            </a:xfrm>
            <a:grpFill/>
          </p:grpSpPr>
          <p:sp>
            <p:nvSpPr>
              <p:cNvPr id="4032" name="Vrije vorm: vorm 4031">
                <a:extLst>
                  <a:ext uri="{FF2B5EF4-FFF2-40B4-BE49-F238E27FC236}">
                    <a16:creationId xmlns:a16="http://schemas.microsoft.com/office/drawing/2014/main" id="{FBCAA196-32BE-461D-919E-0AC9CF879625}"/>
                  </a:ext>
                </a:extLst>
              </p:cNvPr>
              <p:cNvSpPr/>
              <p:nvPr/>
            </p:nvSpPr>
            <p:spPr>
              <a:xfrm>
                <a:off x="6410038" y="1537803"/>
                <a:ext cx="88155" cy="236298"/>
              </a:xfrm>
              <a:custGeom>
                <a:avLst/>
                <a:gdLst>
                  <a:gd name="connsiteX0" fmla="*/ 88156 w 88155"/>
                  <a:gd name="connsiteY0" fmla="*/ 1017 h 236298"/>
                  <a:gd name="connsiteX1" fmla="*/ 2871 w 88155"/>
                  <a:gd name="connsiteY1" fmla="*/ 236298 h 236298"/>
                  <a:gd name="connsiteX2" fmla="*/ 0 w 88155"/>
                  <a:gd name="connsiteY2" fmla="*/ 235222 h 236298"/>
                  <a:gd name="connsiteX3" fmla="*/ 85285 w 88155"/>
                  <a:gd name="connsiteY3" fmla="*/ 0 h 236298"/>
                </a:gdLst>
                <a:ahLst/>
                <a:cxnLst>
                  <a:cxn ang="0">
                    <a:pos x="connsiteX0" y="connsiteY0"/>
                  </a:cxn>
                  <a:cxn ang="0">
                    <a:pos x="connsiteX1" y="connsiteY1"/>
                  </a:cxn>
                  <a:cxn ang="0">
                    <a:pos x="connsiteX2" y="connsiteY2"/>
                  </a:cxn>
                  <a:cxn ang="0">
                    <a:pos x="connsiteX3" y="connsiteY3"/>
                  </a:cxn>
                </a:cxnLst>
                <a:rect l="l" t="t" r="r" b="b"/>
                <a:pathLst>
                  <a:path w="88155" h="236298">
                    <a:moveTo>
                      <a:pt x="88156" y="1017"/>
                    </a:moveTo>
                    <a:lnTo>
                      <a:pt x="2871" y="236298"/>
                    </a:lnTo>
                    <a:lnTo>
                      <a:pt x="0" y="235222"/>
                    </a:lnTo>
                    <a:lnTo>
                      <a:pt x="85285" y="0"/>
                    </a:lnTo>
                    <a:close/>
                  </a:path>
                </a:pathLst>
              </a:custGeom>
              <a:grpFill/>
              <a:ln w="5978" cap="flat">
                <a:noFill/>
                <a:prstDash val="solid"/>
                <a:miter/>
              </a:ln>
            </p:spPr>
            <p:txBody>
              <a:bodyPr rtlCol="0" anchor="ctr"/>
              <a:lstStyle/>
              <a:p>
                <a:endParaRPr lang="en-GB"/>
              </a:p>
            </p:txBody>
          </p:sp>
          <p:sp>
            <p:nvSpPr>
              <p:cNvPr id="4033" name="Vrije vorm: vorm 4032">
                <a:extLst>
                  <a:ext uri="{FF2B5EF4-FFF2-40B4-BE49-F238E27FC236}">
                    <a16:creationId xmlns:a16="http://schemas.microsoft.com/office/drawing/2014/main" id="{58AAC555-67BF-462C-8FCE-7616ABE5EAF2}"/>
                  </a:ext>
                </a:extLst>
              </p:cNvPr>
              <p:cNvSpPr/>
              <p:nvPr/>
            </p:nvSpPr>
            <p:spPr>
              <a:xfrm>
                <a:off x="6402484" y="1763885"/>
                <a:ext cx="18337" cy="18460"/>
              </a:xfrm>
              <a:custGeom>
                <a:avLst/>
                <a:gdLst>
                  <a:gd name="connsiteX0" fmla="*/ 17781 w 18337"/>
                  <a:gd name="connsiteY0" fmla="*/ 12430 h 18460"/>
                  <a:gd name="connsiteX1" fmla="*/ 6059 w 18337"/>
                  <a:gd name="connsiteY1" fmla="*/ 17872 h 18460"/>
                  <a:gd name="connsiteX2" fmla="*/ 557 w 18337"/>
                  <a:gd name="connsiteY2" fmla="*/ 6030 h 18460"/>
                  <a:gd name="connsiteX3" fmla="*/ 12279 w 18337"/>
                  <a:gd name="connsiteY3" fmla="*/ 588 h 18460"/>
                  <a:gd name="connsiteX4" fmla="*/ 17781 w 18337"/>
                  <a:gd name="connsiteY4" fmla="*/ 12430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60">
                    <a:moveTo>
                      <a:pt x="17781" y="12430"/>
                    </a:moveTo>
                    <a:cubicBezTo>
                      <a:pt x="16047" y="17214"/>
                      <a:pt x="10784" y="19667"/>
                      <a:pt x="6059" y="17872"/>
                    </a:cubicBezTo>
                    <a:cubicBezTo>
                      <a:pt x="1275" y="16138"/>
                      <a:pt x="-1178" y="10815"/>
                      <a:pt x="557" y="6030"/>
                    </a:cubicBezTo>
                    <a:cubicBezTo>
                      <a:pt x="2291" y="1246"/>
                      <a:pt x="7554" y="-1206"/>
                      <a:pt x="12279" y="588"/>
                    </a:cubicBezTo>
                    <a:cubicBezTo>
                      <a:pt x="17063" y="2322"/>
                      <a:pt x="19516" y="7645"/>
                      <a:pt x="17781" y="12430"/>
                    </a:cubicBezTo>
                    <a:close/>
                  </a:path>
                </a:pathLst>
              </a:custGeom>
              <a:grpFill/>
              <a:ln w="5978" cap="flat">
                <a:noFill/>
                <a:prstDash val="solid"/>
                <a:miter/>
              </a:ln>
            </p:spPr>
            <p:txBody>
              <a:bodyPr rtlCol="0" anchor="ctr"/>
              <a:lstStyle/>
              <a:p>
                <a:endParaRPr lang="en-GB"/>
              </a:p>
            </p:txBody>
          </p:sp>
          <p:sp>
            <p:nvSpPr>
              <p:cNvPr id="4034" name="Vrije vorm: vorm 4033">
                <a:extLst>
                  <a:ext uri="{FF2B5EF4-FFF2-40B4-BE49-F238E27FC236}">
                    <a16:creationId xmlns:a16="http://schemas.microsoft.com/office/drawing/2014/main" id="{B33BA60F-7147-47C7-8830-6701B0F9A6E1}"/>
                  </a:ext>
                </a:extLst>
              </p:cNvPr>
              <p:cNvSpPr/>
              <p:nvPr/>
            </p:nvSpPr>
            <p:spPr>
              <a:xfrm>
                <a:off x="6487470" y="1529524"/>
                <a:ext cx="18337" cy="18436"/>
              </a:xfrm>
              <a:custGeom>
                <a:avLst/>
                <a:gdLst>
                  <a:gd name="connsiteX0" fmla="*/ 17781 w 18337"/>
                  <a:gd name="connsiteY0" fmla="*/ 12406 h 18436"/>
                  <a:gd name="connsiteX1" fmla="*/ 12279 w 18337"/>
                  <a:gd name="connsiteY1" fmla="*/ 564 h 18436"/>
                  <a:gd name="connsiteX2" fmla="*/ 557 w 18337"/>
                  <a:gd name="connsiteY2" fmla="*/ 6006 h 18436"/>
                  <a:gd name="connsiteX3" fmla="*/ 6059 w 18337"/>
                  <a:gd name="connsiteY3" fmla="*/ 17848 h 18436"/>
                  <a:gd name="connsiteX4" fmla="*/ 17781 w 18337"/>
                  <a:gd name="connsiteY4" fmla="*/ 1240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7781" y="12406"/>
                    </a:moveTo>
                    <a:cubicBezTo>
                      <a:pt x="19515" y="7621"/>
                      <a:pt x="17063" y="2358"/>
                      <a:pt x="12279" y="564"/>
                    </a:cubicBezTo>
                    <a:cubicBezTo>
                      <a:pt x="7494" y="-1170"/>
                      <a:pt x="2291" y="1222"/>
                      <a:pt x="557" y="6006"/>
                    </a:cubicBezTo>
                    <a:cubicBezTo>
                      <a:pt x="-1178" y="10791"/>
                      <a:pt x="1274" y="16054"/>
                      <a:pt x="6059" y="17848"/>
                    </a:cubicBezTo>
                    <a:cubicBezTo>
                      <a:pt x="10784" y="19643"/>
                      <a:pt x="16047" y="17190"/>
                      <a:pt x="17781" y="12406"/>
                    </a:cubicBezTo>
                    <a:close/>
                  </a:path>
                </a:pathLst>
              </a:custGeom>
              <a:grpFill/>
              <a:ln w="5978" cap="flat">
                <a:noFill/>
                <a:prstDash val="solid"/>
                <a:miter/>
              </a:ln>
            </p:spPr>
            <p:txBody>
              <a:bodyPr rtlCol="0" anchor="ctr"/>
              <a:lstStyle/>
              <a:p>
                <a:endParaRPr lang="en-GB"/>
              </a:p>
            </p:txBody>
          </p:sp>
        </p:grpSp>
        <p:grpSp>
          <p:nvGrpSpPr>
            <p:cNvPr id="452" name="Graphic 3">
              <a:extLst>
                <a:ext uri="{FF2B5EF4-FFF2-40B4-BE49-F238E27FC236}">
                  <a16:creationId xmlns:a16="http://schemas.microsoft.com/office/drawing/2014/main" id="{23EA53CD-20AC-4DB8-8696-A21042258168}"/>
                </a:ext>
              </a:extLst>
            </p:cNvPr>
            <p:cNvGrpSpPr/>
            <p:nvPr/>
          </p:nvGrpSpPr>
          <p:grpSpPr>
            <a:xfrm>
              <a:off x="7457081" y="4784587"/>
              <a:ext cx="153326" cy="150117"/>
              <a:chOff x="7457081" y="4784587"/>
              <a:chExt cx="153326" cy="150117"/>
            </a:xfrm>
            <a:grpFill/>
          </p:grpSpPr>
          <p:sp>
            <p:nvSpPr>
              <p:cNvPr id="4029" name="Vrije vorm: vorm 4028">
                <a:extLst>
                  <a:ext uri="{FF2B5EF4-FFF2-40B4-BE49-F238E27FC236}">
                    <a16:creationId xmlns:a16="http://schemas.microsoft.com/office/drawing/2014/main" id="{769E30FB-9D0B-4F89-9C23-241291761A43}"/>
                  </a:ext>
                </a:extLst>
              </p:cNvPr>
              <p:cNvSpPr/>
              <p:nvPr/>
            </p:nvSpPr>
            <p:spPr>
              <a:xfrm>
                <a:off x="7464857" y="4792392"/>
                <a:ext cx="137736" cy="134566"/>
              </a:xfrm>
              <a:custGeom>
                <a:avLst/>
                <a:gdLst>
                  <a:gd name="connsiteX0" fmla="*/ 137736 w 137736"/>
                  <a:gd name="connsiteY0" fmla="*/ 132353 h 134566"/>
                  <a:gd name="connsiteX1" fmla="*/ 135643 w 137736"/>
                  <a:gd name="connsiteY1" fmla="*/ 134566 h 134566"/>
                  <a:gd name="connsiteX2" fmla="*/ 0 w 137736"/>
                  <a:gd name="connsiteY2" fmla="*/ 2213 h 134566"/>
                  <a:gd name="connsiteX3" fmla="*/ 2154 w 137736"/>
                  <a:gd name="connsiteY3" fmla="*/ 0 h 134566"/>
                </a:gdLst>
                <a:ahLst/>
                <a:cxnLst>
                  <a:cxn ang="0">
                    <a:pos x="connsiteX0" y="connsiteY0"/>
                  </a:cxn>
                  <a:cxn ang="0">
                    <a:pos x="connsiteX1" y="connsiteY1"/>
                  </a:cxn>
                  <a:cxn ang="0">
                    <a:pos x="connsiteX2" y="connsiteY2"/>
                  </a:cxn>
                  <a:cxn ang="0">
                    <a:pos x="connsiteX3" y="connsiteY3"/>
                  </a:cxn>
                </a:cxnLst>
                <a:rect l="l" t="t" r="r" b="b"/>
                <a:pathLst>
                  <a:path w="137736" h="134566">
                    <a:moveTo>
                      <a:pt x="137736" y="132353"/>
                    </a:moveTo>
                    <a:lnTo>
                      <a:pt x="135643" y="134566"/>
                    </a:lnTo>
                    <a:lnTo>
                      <a:pt x="0" y="2213"/>
                    </a:lnTo>
                    <a:lnTo>
                      <a:pt x="2154" y="0"/>
                    </a:lnTo>
                    <a:close/>
                  </a:path>
                </a:pathLst>
              </a:custGeom>
              <a:grpFill/>
              <a:ln w="5978" cap="flat">
                <a:noFill/>
                <a:prstDash val="solid"/>
                <a:miter/>
              </a:ln>
            </p:spPr>
            <p:txBody>
              <a:bodyPr rtlCol="0" anchor="ctr"/>
              <a:lstStyle/>
              <a:p>
                <a:endParaRPr lang="en-GB"/>
              </a:p>
            </p:txBody>
          </p:sp>
          <p:sp>
            <p:nvSpPr>
              <p:cNvPr id="4030" name="Vrije vorm: vorm 4029">
                <a:extLst>
                  <a:ext uri="{FF2B5EF4-FFF2-40B4-BE49-F238E27FC236}">
                    <a16:creationId xmlns:a16="http://schemas.microsoft.com/office/drawing/2014/main" id="{D99F2A1B-D804-40F7-8D82-06931E53B10F}"/>
                  </a:ext>
                </a:extLst>
              </p:cNvPr>
              <p:cNvSpPr/>
              <p:nvPr/>
            </p:nvSpPr>
            <p:spPr>
              <a:xfrm>
                <a:off x="7592089" y="4916282"/>
                <a:ext cx="18318" cy="18422"/>
              </a:xfrm>
              <a:custGeom>
                <a:avLst/>
                <a:gdLst>
                  <a:gd name="connsiteX0" fmla="*/ 15529 w 18318"/>
                  <a:gd name="connsiteY0" fmla="*/ 2602 h 18422"/>
                  <a:gd name="connsiteX1" fmla="*/ 15768 w 18318"/>
                  <a:gd name="connsiteY1" fmla="*/ 15640 h 18422"/>
                  <a:gd name="connsiteX2" fmla="*/ 2790 w 18318"/>
                  <a:gd name="connsiteY2" fmla="*/ 15820 h 18422"/>
                  <a:gd name="connsiteX3" fmla="*/ 2551 w 18318"/>
                  <a:gd name="connsiteY3" fmla="*/ 2782 h 18422"/>
                  <a:gd name="connsiteX4" fmla="*/ 15529 w 18318"/>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2">
                    <a:moveTo>
                      <a:pt x="15529" y="2602"/>
                    </a:moveTo>
                    <a:cubicBezTo>
                      <a:pt x="19177" y="6131"/>
                      <a:pt x="19237" y="11992"/>
                      <a:pt x="15768" y="15640"/>
                    </a:cubicBezTo>
                    <a:cubicBezTo>
                      <a:pt x="12240" y="19289"/>
                      <a:pt x="6438" y="19348"/>
                      <a:pt x="2790" y="15820"/>
                    </a:cubicBezTo>
                    <a:cubicBezTo>
                      <a:pt x="-859" y="12291"/>
                      <a:pt x="-918" y="6430"/>
                      <a:pt x="2551" y="2782"/>
                    </a:cubicBezTo>
                    <a:cubicBezTo>
                      <a:pt x="6079" y="-866"/>
                      <a:pt x="11880" y="-926"/>
                      <a:pt x="15529" y="2602"/>
                    </a:cubicBezTo>
                    <a:close/>
                  </a:path>
                </a:pathLst>
              </a:custGeom>
              <a:grpFill/>
              <a:ln w="5978" cap="flat">
                <a:noFill/>
                <a:prstDash val="solid"/>
                <a:miter/>
              </a:ln>
            </p:spPr>
            <p:txBody>
              <a:bodyPr rtlCol="0" anchor="ctr"/>
              <a:lstStyle/>
              <a:p>
                <a:endParaRPr lang="en-GB"/>
              </a:p>
            </p:txBody>
          </p:sp>
          <p:sp>
            <p:nvSpPr>
              <p:cNvPr id="4031" name="Vrije vorm: vorm 4030">
                <a:extLst>
                  <a:ext uri="{FF2B5EF4-FFF2-40B4-BE49-F238E27FC236}">
                    <a16:creationId xmlns:a16="http://schemas.microsoft.com/office/drawing/2014/main" id="{FD07CD22-8434-41B2-BC73-F30B3E88407B}"/>
                  </a:ext>
                </a:extLst>
              </p:cNvPr>
              <p:cNvSpPr/>
              <p:nvPr/>
            </p:nvSpPr>
            <p:spPr>
              <a:xfrm>
                <a:off x="7457081" y="4784587"/>
                <a:ext cx="18341" cy="18422"/>
              </a:xfrm>
              <a:custGeom>
                <a:avLst/>
                <a:gdLst>
                  <a:gd name="connsiteX0" fmla="*/ 15552 w 18341"/>
                  <a:gd name="connsiteY0" fmla="*/ 2602 h 18422"/>
                  <a:gd name="connsiteX1" fmla="*/ 2573 w 18341"/>
                  <a:gd name="connsiteY1" fmla="*/ 2782 h 18422"/>
                  <a:gd name="connsiteX2" fmla="*/ 2813 w 18341"/>
                  <a:gd name="connsiteY2" fmla="*/ 15820 h 18422"/>
                  <a:gd name="connsiteX3" fmla="*/ 15791 w 18341"/>
                  <a:gd name="connsiteY3" fmla="*/ 15640 h 18422"/>
                  <a:gd name="connsiteX4" fmla="*/ 15552 w 18341"/>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2">
                    <a:moveTo>
                      <a:pt x="15552" y="2602"/>
                    </a:moveTo>
                    <a:cubicBezTo>
                      <a:pt x="11903" y="-926"/>
                      <a:pt x="6102" y="-866"/>
                      <a:pt x="2573" y="2782"/>
                    </a:cubicBezTo>
                    <a:cubicBezTo>
                      <a:pt x="-955" y="6430"/>
                      <a:pt x="-836" y="12231"/>
                      <a:pt x="2813" y="15820"/>
                    </a:cubicBezTo>
                    <a:cubicBezTo>
                      <a:pt x="6461" y="19348"/>
                      <a:pt x="12262" y="19289"/>
                      <a:pt x="15791" y="15640"/>
                    </a:cubicBezTo>
                    <a:cubicBezTo>
                      <a:pt x="19260" y="11992"/>
                      <a:pt x="19200" y="6191"/>
                      <a:pt x="15552" y="2602"/>
                    </a:cubicBezTo>
                    <a:close/>
                  </a:path>
                </a:pathLst>
              </a:custGeom>
              <a:grpFill/>
              <a:ln w="5978" cap="flat">
                <a:noFill/>
                <a:prstDash val="solid"/>
                <a:miter/>
              </a:ln>
            </p:spPr>
            <p:txBody>
              <a:bodyPr rtlCol="0" anchor="ctr"/>
              <a:lstStyle/>
              <a:p>
                <a:endParaRPr lang="en-GB"/>
              </a:p>
            </p:txBody>
          </p:sp>
        </p:grpSp>
        <p:grpSp>
          <p:nvGrpSpPr>
            <p:cNvPr id="453" name="Graphic 3">
              <a:extLst>
                <a:ext uri="{FF2B5EF4-FFF2-40B4-BE49-F238E27FC236}">
                  <a16:creationId xmlns:a16="http://schemas.microsoft.com/office/drawing/2014/main" id="{EACEC17F-EEBF-41A5-85A3-D69C593187B8}"/>
                </a:ext>
              </a:extLst>
            </p:cNvPr>
            <p:cNvGrpSpPr/>
            <p:nvPr/>
          </p:nvGrpSpPr>
          <p:grpSpPr>
            <a:xfrm>
              <a:off x="7297148" y="4541893"/>
              <a:ext cx="377044" cy="396969"/>
              <a:chOff x="7297148" y="4541893"/>
              <a:chExt cx="377044" cy="396969"/>
            </a:xfrm>
            <a:grpFill/>
          </p:grpSpPr>
          <p:sp>
            <p:nvSpPr>
              <p:cNvPr id="4026" name="Vrije vorm: vorm 4025">
                <a:extLst>
                  <a:ext uri="{FF2B5EF4-FFF2-40B4-BE49-F238E27FC236}">
                    <a16:creationId xmlns:a16="http://schemas.microsoft.com/office/drawing/2014/main" id="{F5883BF2-98E9-4DDC-9E7C-A3AFADF65D19}"/>
                  </a:ext>
                </a:extLst>
              </p:cNvPr>
              <p:cNvSpPr/>
              <p:nvPr/>
            </p:nvSpPr>
            <p:spPr>
              <a:xfrm>
                <a:off x="7304873" y="4549695"/>
                <a:ext cx="361535" cy="381390"/>
              </a:xfrm>
              <a:custGeom>
                <a:avLst/>
                <a:gdLst>
                  <a:gd name="connsiteX0" fmla="*/ 361535 w 361535"/>
                  <a:gd name="connsiteY0" fmla="*/ 379237 h 381390"/>
                  <a:gd name="connsiteX1" fmla="*/ 359382 w 361535"/>
                  <a:gd name="connsiteY1" fmla="*/ 381390 h 381390"/>
                  <a:gd name="connsiteX2" fmla="*/ 0 w 361535"/>
                  <a:gd name="connsiteY2" fmla="*/ 2153 h 381390"/>
                  <a:gd name="connsiteX3" fmla="*/ 2213 w 361535"/>
                  <a:gd name="connsiteY3" fmla="*/ 0 h 381390"/>
                </a:gdLst>
                <a:ahLst/>
                <a:cxnLst>
                  <a:cxn ang="0">
                    <a:pos x="connsiteX0" y="connsiteY0"/>
                  </a:cxn>
                  <a:cxn ang="0">
                    <a:pos x="connsiteX1" y="connsiteY1"/>
                  </a:cxn>
                  <a:cxn ang="0">
                    <a:pos x="connsiteX2" y="connsiteY2"/>
                  </a:cxn>
                  <a:cxn ang="0">
                    <a:pos x="connsiteX3" y="connsiteY3"/>
                  </a:cxn>
                </a:cxnLst>
                <a:rect l="l" t="t" r="r" b="b"/>
                <a:pathLst>
                  <a:path w="361535" h="381390">
                    <a:moveTo>
                      <a:pt x="361535" y="379237"/>
                    </a:moveTo>
                    <a:lnTo>
                      <a:pt x="359382" y="381390"/>
                    </a:lnTo>
                    <a:lnTo>
                      <a:pt x="0" y="2153"/>
                    </a:lnTo>
                    <a:lnTo>
                      <a:pt x="2213" y="0"/>
                    </a:lnTo>
                    <a:close/>
                  </a:path>
                </a:pathLst>
              </a:custGeom>
              <a:grpFill/>
              <a:ln w="5978" cap="flat">
                <a:noFill/>
                <a:prstDash val="solid"/>
                <a:miter/>
              </a:ln>
            </p:spPr>
            <p:txBody>
              <a:bodyPr rtlCol="0" anchor="ctr"/>
              <a:lstStyle/>
              <a:p>
                <a:endParaRPr lang="en-GB"/>
              </a:p>
            </p:txBody>
          </p:sp>
          <p:sp>
            <p:nvSpPr>
              <p:cNvPr id="4027" name="Vrije vorm: vorm 4026">
                <a:extLst>
                  <a:ext uri="{FF2B5EF4-FFF2-40B4-BE49-F238E27FC236}">
                    <a16:creationId xmlns:a16="http://schemas.microsoft.com/office/drawing/2014/main" id="{F89F5B93-2161-4E40-B6B2-21C439054B3F}"/>
                  </a:ext>
                </a:extLst>
              </p:cNvPr>
              <p:cNvSpPr/>
              <p:nvPr/>
            </p:nvSpPr>
            <p:spPr>
              <a:xfrm>
                <a:off x="7297148" y="4541893"/>
                <a:ext cx="18320" cy="18428"/>
              </a:xfrm>
              <a:custGeom>
                <a:avLst/>
                <a:gdLst>
                  <a:gd name="connsiteX0" fmla="*/ 2521 w 18320"/>
                  <a:gd name="connsiteY0" fmla="*/ 15576 h 18428"/>
                  <a:gd name="connsiteX1" fmla="*/ 2821 w 18320"/>
                  <a:gd name="connsiteY1" fmla="*/ 2538 h 18428"/>
                  <a:gd name="connsiteX2" fmla="*/ 15799 w 18320"/>
                  <a:gd name="connsiteY2" fmla="*/ 2897 h 18428"/>
                  <a:gd name="connsiteX3" fmla="*/ 15500 w 18320"/>
                  <a:gd name="connsiteY3" fmla="*/ 15935 h 18428"/>
                  <a:gd name="connsiteX4" fmla="*/ 2521 w 18320"/>
                  <a:gd name="connsiteY4" fmla="*/ 1557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8">
                    <a:moveTo>
                      <a:pt x="2521" y="15576"/>
                    </a:moveTo>
                    <a:cubicBezTo>
                      <a:pt x="-947" y="11868"/>
                      <a:pt x="-827" y="6067"/>
                      <a:pt x="2821" y="2538"/>
                    </a:cubicBezTo>
                    <a:cubicBezTo>
                      <a:pt x="6469" y="-991"/>
                      <a:pt x="12270" y="-811"/>
                      <a:pt x="15799" y="2897"/>
                    </a:cubicBezTo>
                    <a:cubicBezTo>
                      <a:pt x="19268" y="6605"/>
                      <a:pt x="19148" y="12406"/>
                      <a:pt x="15500" y="15935"/>
                    </a:cubicBezTo>
                    <a:cubicBezTo>
                      <a:pt x="11852" y="19404"/>
                      <a:pt x="6051" y="19224"/>
                      <a:pt x="2521" y="15576"/>
                    </a:cubicBezTo>
                    <a:close/>
                  </a:path>
                </a:pathLst>
              </a:custGeom>
              <a:grpFill/>
              <a:ln w="5978" cap="flat">
                <a:noFill/>
                <a:prstDash val="solid"/>
                <a:miter/>
              </a:ln>
            </p:spPr>
            <p:txBody>
              <a:bodyPr rtlCol="0" anchor="ctr"/>
              <a:lstStyle/>
              <a:p>
                <a:endParaRPr lang="en-GB"/>
              </a:p>
            </p:txBody>
          </p:sp>
          <p:sp>
            <p:nvSpPr>
              <p:cNvPr id="4028" name="Vrije vorm: vorm 4027">
                <a:extLst>
                  <a:ext uri="{FF2B5EF4-FFF2-40B4-BE49-F238E27FC236}">
                    <a16:creationId xmlns:a16="http://schemas.microsoft.com/office/drawing/2014/main" id="{68274C63-DD2D-46A5-88A2-53B5EA4B2414}"/>
                  </a:ext>
                </a:extLst>
              </p:cNvPr>
              <p:cNvSpPr/>
              <p:nvPr/>
            </p:nvSpPr>
            <p:spPr>
              <a:xfrm>
                <a:off x="7655872" y="4920436"/>
                <a:ext cx="18320" cy="18426"/>
              </a:xfrm>
              <a:custGeom>
                <a:avLst/>
                <a:gdLst>
                  <a:gd name="connsiteX0" fmla="*/ 2522 w 18320"/>
                  <a:gd name="connsiteY0" fmla="*/ 15553 h 18426"/>
                  <a:gd name="connsiteX1" fmla="*/ 15500 w 18320"/>
                  <a:gd name="connsiteY1" fmla="*/ 15912 h 18426"/>
                  <a:gd name="connsiteX2" fmla="*/ 15799 w 18320"/>
                  <a:gd name="connsiteY2" fmla="*/ 2874 h 18426"/>
                  <a:gd name="connsiteX3" fmla="*/ 2821 w 18320"/>
                  <a:gd name="connsiteY3" fmla="*/ 2515 h 18426"/>
                  <a:gd name="connsiteX4" fmla="*/ 2522 w 18320"/>
                  <a:gd name="connsiteY4" fmla="*/ 15553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6">
                    <a:moveTo>
                      <a:pt x="2522" y="15553"/>
                    </a:moveTo>
                    <a:cubicBezTo>
                      <a:pt x="5991" y="19261"/>
                      <a:pt x="11792" y="19381"/>
                      <a:pt x="15500" y="15912"/>
                    </a:cubicBezTo>
                    <a:cubicBezTo>
                      <a:pt x="19148" y="12383"/>
                      <a:pt x="19268" y="6582"/>
                      <a:pt x="15799" y="2874"/>
                    </a:cubicBezTo>
                    <a:cubicBezTo>
                      <a:pt x="12330" y="-834"/>
                      <a:pt x="6469" y="-954"/>
                      <a:pt x="2821" y="2515"/>
                    </a:cubicBezTo>
                    <a:cubicBezTo>
                      <a:pt x="-828" y="6044"/>
                      <a:pt x="-947" y="11905"/>
                      <a:pt x="2522" y="15553"/>
                    </a:cubicBezTo>
                    <a:close/>
                  </a:path>
                </a:pathLst>
              </a:custGeom>
              <a:grpFill/>
              <a:ln w="5978" cap="flat">
                <a:noFill/>
                <a:prstDash val="solid"/>
                <a:miter/>
              </a:ln>
            </p:spPr>
            <p:txBody>
              <a:bodyPr rtlCol="0" anchor="ctr"/>
              <a:lstStyle/>
              <a:p>
                <a:endParaRPr lang="en-GB"/>
              </a:p>
            </p:txBody>
          </p:sp>
        </p:grpSp>
        <p:grpSp>
          <p:nvGrpSpPr>
            <p:cNvPr id="454" name="Graphic 3">
              <a:extLst>
                <a:ext uri="{FF2B5EF4-FFF2-40B4-BE49-F238E27FC236}">
                  <a16:creationId xmlns:a16="http://schemas.microsoft.com/office/drawing/2014/main" id="{2D714A72-3FFA-418F-A3E1-08D39E5CDACC}"/>
                </a:ext>
              </a:extLst>
            </p:cNvPr>
            <p:cNvGrpSpPr/>
            <p:nvPr/>
          </p:nvGrpSpPr>
          <p:grpSpPr>
            <a:xfrm>
              <a:off x="6421071" y="1586016"/>
              <a:ext cx="36905" cy="104448"/>
              <a:chOff x="6421071" y="1586016"/>
              <a:chExt cx="36905" cy="104448"/>
            </a:xfrm>
            <a:grpFill/>
          </p:grpSpPr>
          <p:sp>
            <p:nvSpPr>
              <p:cNvPr id="4023" name="Vrije vorm: vorm 4022">
                <a:extLst>
                  <a:ext uri="{FF2B5EF4-FFF2-40B4-BE49-F238E27FC236}">
                    <a16:creationId xmlns:a16="http://schemas.microsoft.com/office/drawing/2014/main" id="{227C4E1E-6D8D-4BCA-BC2B-98A55265051B}"/>
                  </a:ext>
                </a:extLst>
              </p:cNvPr>
              <p:cNvSpPr/>
              <p:nvPr/>
            </p:nvSpPr>
            <p:spPr>
              <a:xfrm>
                <a:off x="6428638" y="1594501"/>
                <a:ext cx="21769" cy="87497"/>
              </a:xfrm>
              <a:custGeom>
                <a:avLst/>
                <a:gdLst>
                  <a:gd name="connsiteX0" fmla="*/ 21770 w 21769"/>
                  <a:gd name="connsiteY0" fmla="*/ 658 h 87497"/>
                  <a:gd name="connsiteX1" fmla="*/ 2990 w 21769"/>
                  <a:gd name="connsiteY1" fmla="*/ 87498 h 87497"/>
                  <a:gd name="connsiteX2" fmla="*/ 0 w 21769"/>
                  <a:gd name="connsiteY2" fmla="*/ 86840 h 87497"/>
                  <a:gd name="connsiteX3" fmla="*/ 18780 w 21769"/>
                  <a:gd name="connsiteY3" fmla="*/ 0 h 87497"/>
                </a:gdLst>
                <a:ahLst/>
                <a:cxnLst>
                  <a:cxn ang="0">
                    <a:pos x="connsiteX0" y="connsiteY0"/>
                  </a:cxn>
                  <a:cxn ang="0">
                    <a:pos x="connsiteX1" y="connsiteY1"/>
                  </a:cxn>
                  <a:cxn ang="0">
                    <a:pos x="connsiteX2" y="connsiteY2"/>
                  </a:cxn>
                  <a:cxn ang="0">
                    <a:pos x="connsiteX3" y="connsiteY3"/>
                  </a:cxn>
                </a:cxnLst>
                <a:rect l="l" t="t" r="r" b="b"/>
                <a:pathLst>
                  <a:path w="21769" h="87497">
                    <a:moveTo>
                      <a:pt x="21770" y="658"/>
                    </a:moveTo>
                    <a:lnTo>
                      <a:pt x="2990" y="87498"/>
                    </a:lnTo>
                    <a:lnTo>
                      <a:pt x="0" y="86840"/>
                    </a:lnTo>
                    <a:lnTo>
                      <a:pt x="18780" y="0"/>
                    </a:lnTo>
                    <a:close/>
                  </a:path>
                </a:pathLst>
              </a:custGeom>
              <a:grpFill/>
              <a:ln w="5978" cap="flat">
                <a:noFill/>
                <a:prstDash val="solid"/>
                <a:miter/>
              </a:ln>
            </p:spPr>
            <p:txBody>
              <a:bodyPr rtlCol="0" anchor="ctr"/>
              <a:lstStyle/>
              <a:p>
                <a:endParaRPr lang="en-GB"/>
              </a:p>
            </p:txBody>
          </p:sp>
          <p:sp>
            <p:nvSpPr>
              <p:cNvPr id="4024" name="Vrije vorm: vorm 4023">
                <a:extLst>
                  <a:ext uri="{FF2B5EF4-FFF2-40B4-BE49-F238E27FC236}">
                    <a16:creationId xmlns:a16="http://schemas.microsoft.com/office/drawing/2014/main" id="{CB9A79A8-14ED-4E83-A3CA-275A96F01014}"/>
                  </a:ext>
                </a:extLst>
              </p:cNvPr>
              <p:cNvSpPr/>
              <p:nvPr/>
            </p:nvSpPr>
            <p:spPr>
              <a:xfrm>
                <a:off x="6439669" y="1586016"/>
                <a:ext cx="18307" cy="18464"/>
              </a:xfrm>
              <a:custGeom>
                <a:avLst/>
                <a:gdLst>
                  <a:gd name="connsiteX0" fmla="*/ 213 w 18307"/>
                  <a:gd name="connsiteY0" fmla="*/ 7228 h 18464"/>
                  <a:gd name="connsiteX1" fmla="*/ 11098 w 18307"/>
                  <a:gd name="connsiteY1" fmla="*/ 231 h 18464"/>
                  <a:gd name="connsiteX2" fmla="*/ 18095 w 18307"/>
                  <a:gd name="connsiteY2" fmla="*/ 11236 h 18464"/>
                  <a:gd name="connsiteX3" fmla="*/ 7210 w 18307"/>
                  <a:gd name="connsiteY3" fmla="*/ 18233 h 18464"/>
                  <a:gd name="connsiteX4" fmla="*/ 213 w 18307"/>
                  <a:gd name="connsiteY4" fmla="*/ 7228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64">
                    <a:moveTo>
                      <a:pt x="213" y="7228"/>
                    </a:moveTo>
                    <a:cubicBezTo>
                      <a:pt x="1289" y="2264"/>
                      <a:pt x="6194" y="-905"/>
                      <a:pt x="11098" y="231"/>
                    </a:cubicBezTo>
                    <a:cubicBezTo>
                      <a:pt x="16062" y="1308"/>
                      <a:pt x="19172" y="6272"/>
                      <a:pt x="18095" y="11236"/>
                    </a:cubicBezTo>
                    <a:cubicBezTo>
                      <a:pt x="17019" y="16200"/>
                      <a:pt x="12114" y="19369"/>
                      <a:pt x="7210" y="18233"/>
                    </a:cubicBezTo>
                    <a:cubicBezTo>
                      <a:pt x="2246" y="17156"/>
                      <a:pt x="-864" y="12192"/>
                      <a:pt x="213" y="7228"/>
                    </a:cubicBezTo>
                    <a:close/>
                  </a:path>
                </a:pathLst>
              </a:custGeom>
              <a:grpFill/>
              <a:ln w="5978" cap="flat">
                <a:noFill/>
                <a:prstDash val="solid"/>
                <a:miter/>
              </a:ln>
            </p:spPr>
            <p:txBody>
              <a:bodyPr rtlCol="0" anchor="ctr"/>
              <a:lstStyle/>
              <a:p>
                <a:endParaRPr lang="en-GB"/>
              </a:p>
            </p:txBody>
          </p:sp>
          <p:sp>
            <p:nvSpPr>
              <p:cNvPr id="4025" name="Vrije vorm: vorm 4024">
                <a:extLst>
                  <a:ext uri="{FF2B5EF4-FFF2-40B4-BE49-F238E27FC236}">
                    <a16:creationId xmlns:a16="http://schemas.microsoft.com/office/drawing/2014/main" id="{46D875FA-CBFE-4D1D-81E7-47B4460444FB}"/>
                  </a:ext>
                </a:extLst>
              </p:cNvPr>
              <p:cNvSpPr/>
              <p:nvPr/>
            </p:nvSpPr>
            <p:spPr>
              <a:xfrm>
                <a:off x="6421071" y="1672019"/>
                <a:ext cx="18302" cy="18445"/>
              </a:xfrm>
              <a:custGeom>
                <a:avLst/>
                <a:gdLst>
                  <a:gd name="connsiteX0" fmla="*/ 210 w 18302"/>
                  <a:gd name="connsiteY0" fmla="*/ 7228 h 18445"/>
                  <a:gd name="connsiteX1" fmla="*/ 7207 w 18302"/>
                  <a:gd name="connsiteY1" fmla="*/ 18233 h 18445"/>
                  <a:gd name="connsiteX2" fmla="*/ 18092 w 18302"/>
                  <a:gd name="connsiteY2" fmla="*/ 11236 h 18445"/>
                  <a:gd name="connsiteX3" fmla="*/ 11095 w 18302"/>
                  <a:gd name="connsiteY3" fmla="*/ 231 h 18445"/>
                  <a:gd name="connsiteX4" fmla="*/ 210 w 18302"/>
                  <a:gd name="connsiteY4" fmla="*/ 72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45">
                    <a:moveTo>
                      <a:pt x="210" y="7228"/>
                    </a:moveTo>
                    <a:cubicBezTo>
                      <a:pt x="-866" y="12192"/>
                      <a:pt x="2303" y="17097"/>
                      <a:pt x="7207" y="18233"/>
                    </a:cubicBezTo>
                    <a:cubicBezTo>
                      <a:pt x="12172" y="19309"/>
                      <a:pt x="17016" y="16200"/>
                      <a:pt x="18092" y="11236"/>
                    </a:cubicBezTo>
                    <a:cubicBezTo>
                      <a:pt x="19169" y="6272"/>
                      <a:pt x="15999" y="1367"/>
                      <a:pt x="11095" y="231"/>
                    </a:cubicBezTo>
                    <a:cubicBezTo>
                      <a:pt x="6131" y="-905"/>
                      <a:pt x="1287" y="2264"/>
                      <a:pt x="210" y="7228"/>
                    </a:cubicBezTo>
                    <a:close/>
                  </a:path>
                </a:pathLst>
              </a:custGeom>
              <a:grpFill/>
              <a:ln w="5978" cap="flat">
                <a:noFill/>
                <a:prstDash val="solid"/>
                <a:miter/>
              </a:ln>
            </p:spPr>
            <p:txBody>
              <a:bodyPr rtlCol="0" anchor="ctr"/>
              <a:lstStyle/>
              <a:p>
                <a:endParaRPr lang="en-GB"/>
              </a:p>
            </p:txBody>
          </p:sp>
        </p:grpSp>
        <p:grpSp>
          <p:nvGrpSpPr>
            <p:cNvPr id="455" name="Graphic 3">
              <a:extLst>
                <a:ext uri="{FF2B5EF4-FFF2-40B4-BE49-F238E27FC236}">
                  <a16:creationId xmlns:a16="http://schemas.microsoft.com/office/drawing/2014/main" id="{FB6035A1-0305-4CB6-9FBF-F54D4BC43B64}"/>
                </a:ext>
              </a:extLst>
            </p:cNvPr>
            <p:cNvGrpSpPr/>
            <p:nvPr/>
          </p:nvGrpSpPr>
          <p:grpSpPr>
            <a:xfrm>
              <a:off x="7390825" y="4625787"/>
              <a:ext cx="172167" cy="157795"/>
              <a:chOff x="7390825" y="4625787"/>
              <a:chExt cx="172167" cy="157795"/>
            </a:xfrm>
            <a:grpFill/>
          </p:grpSpPr>
          <p:sp>
            <p:nvSpPr>
              <p:cNvPr id="4020" name="Vrije vorm: vorm 4019">
                <a:extLst>
                  <a:ext uri="{FF2B5EF4-FFF2-40B4-BE49-F238E27FC236}">
                    <a16:creationId xmlns:a16="http://schemas.microsoft.com/office/drawing/2014/main" id="{807661DC-60FE-49E8-BFBC-457218E4459B}"/>
                  </a:ext>
                </a:extLst>
              </p:cNvPr>
              <p:cNvSpPr/>
              <p:nvPr/>
            </p:nvSpPr>
            <p:spPr>
              <a:xfrm>
                <a:off x="7398591" y="4633544"/>
                <a:ext cx="156575" cy="142221"/>
              </a:xfrm>
              <a:custGeom>
                <a:avLst/>
                <a:gdLst>
                  <a:gd name="connsiteX0" fmla="*/ 156576 w 156575"/>
                  <a:gd name="connsiteY0" fmla="*/ 139949 h 142221"/>
                  <a:gd name="connsiteX1" fmla="*/ 154542 w 156575"/>
                  <a:gd name="connsiteY1" fmla="*/ 142222 h 142221"/>
                  <a:gd name="connsiteX2" fmla="*/ 0 w 156575"/>
                  <a:gd name="connsiteY2" fmla="*/ 2273 h 142221"/>
                  <a:gd name="connsiteX3" fmla="*/ 2033 w 156575"/>
                  <a:gd name="connsiteY3" fmla="*/ 0 h 142221"/>
                </a:gdLst>
                <a:ahLst/>
                <a:cxnLst>
                  <a:cxn ang="0">
                    <a:pos x="connsiteX0" y="connsiteY0"/>
                  </a:cxn>
                  <a:cxn ang="0">
                    <a:pos x="connsiteX1" y="connsiteY1"/>
                  </a:cxn>
                  <a:cxn ang="0">
                    <a:pos x="connsiteX2" y="connsiteY2"/>
                  </a:cxn>
                  <a:cxn ang="0">
                    <a:pos x="connsiteX3" y="connsiteY3"/>
                  </a:cxn>
                </a:cxnLst>
                <a:rect l="l" t="t" r="r" b="b"/>
                <a:pathLst>
                  <a:path w="156575" h="142221">
                    <a:moveTo>
                      <a:pt x="156576" y="139949"/>
                    </a:moveTo>
                    <a:lnTo>
                      <a:pt x="154542" y="142222"/>
                    </a:lnTo>
                    <a:lnTo>
                      <a:pt x="0" y="2273"/>
                    </a:lnTo>
                    <a:lnTo>
                      <a:pt x="2033" y="0"/>
                    </a:lnTo>
                    <a:close/>
                  </a:path>
                </a:pathLst>
              </a:custGeom>
              <a:grpFill/>
              <a:ln w="5978" cap="flat">
                <a:noFill/>
                <a:prstDash val="solid"/>
                <a:miter/>
              </a:ln>
            </p:spPr>
            <p:txBody>
              <a:bodyPr rtlCol="0" anchor="ctr"/>
              <a:lstStyle/>
              <a:p>
                <a:endParaRPr lang="en-GB"/>
              </a:p>
            </p:txBody>
          </p:sp>
          <p:sp>
            <p:nvSpPr>
              <p:cNvPr id="4021" name="Vrije vorm: vorm 4020">
                <a:extLst>
                  <a:ext uri="{FF2B5EF4-FFF2-40B4-BE49-F238E27FC236}">
                    <a16:creationId xmlns:a16="http://schemas.microsoft.com/office/drawing/2014/main" id="{B7D35408-279C-4A76-B4A9-BC1195372AA2}"/>
                  </a:ext>
                </a:extLst>
              </p:cNvPr>
              <p:cNvSpPr/>
              <p:nvPr/>
            </p:nvSpPr>
            <p:spPr>
              <a:xfrm>
                <a:off x="7544709" y="4765117"/>
                <a:ext cx="18283" cy="18465"/>
              </a:xfrm>
              <a:custGeom>
                <a:avLst/>
                <a:gdLst>
                  <a:gd name="connsiteX0" fmla="*/ 15242 w 18283"/>
                  <a:gd name="connsiteY0" fmla="*/ 2395 h 18465"/>
                  <a:gd name="connsiteX1" fmla="*/ 15959 w 18283"/>
                  <a:gd name="connsiteY1" fmla="*/ 15433 h 18465"/>
                  <a:gd name="connsiteX2" fmla="*/ 3042 w 18283"/>
                  <a:gd name="connsiteY2" fmla="*/ 16091 h 18465"/>
                  <a:gd name="connsiteX3" fmla="*/ 2323 w 18283"/>
                  <a:gd name="connsiteY3" fmla="*/ 3053 h 18465"/>
                  <a:gd name="connsiteX4" fmla="*/ 15242 w 18283"/>
                  <a:gd name="connsiteY4" fmla="*/ 2395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65">
                    <a:moveTo>
                      <a:pt x="15242" y="2395"/>
                    </a:moveTo>
                    <a:cubicBezTo>
                      <a:pt x="19010" y="5804"/>
                      <a:pt x="19309" y="11606"/>
                      <a:pt x="15959" y="15433"/>
                    </a:cubicBezTo>
                    <a:cubicBezTo>
                      <a:pt x="12611" y="19201"/>
                      <a:pt x="6809" y="19500"/>
                      <a:pt x="3042" y="16091"/>
                    </a:cubicBezTo>
                    <a:cubicBezTo>
                      <a:pt x="-726" y="12682"/>
                      <a:pt x="-1026" y="6881"/>
                      <a:pt x="2323" y="3053"/>
                    </a:cubicBezTo>
                    <a:cubicBezTo>
                      <a:pt x="5673" y="-775"/>
                      <a:pt x="11474" y="-1014"/>
                      <a:pt x="15242" y="2395"/>
                    </a:cubicBezTo>
                    <a:close/>
                  </a:path>
                </a:pathLst>
              </a:custGeom>
              <a:grpFill/>
              <a:ln w="5978" cap="flat">
                <a:noFill/>
                <a:prstDash val="solid"/>
                <a:miter/>
              </a:ln>
            </p:spPr>
            <p:txBody>
              <a:bodyPr rtlCol="0" anchor="ctr"/>
              <a:lstStyle/>
              <a:p>
                <a:endParaRPr lang="en-GB"/>
              </a:p>
            </p:txBody>
          </p:sp>
          <p:sp>
            <p:nvSpPr>
              <p:cNvPr id="4022" name="Vrije vorm: vorm 4021">
                <a:extLst>
                  <a:ext uri="{FF2B5EF4-FFF2-40B4-BE49-F238E27FC236}">
                    <a16:creationId xmlns:a16="http://schemas.microsoft.com/office/drawing/2014/main" id="{68A91C57-41C7-467B-8912-B12E48A1C064}"/>
                  </a:ext>
                </a:extLst>
              </p:cNvPr>
              <p:cNvSpPr/>
              <p:nvPr/>
            </p:nvSpPr>
            <p:spPr>
              <a:xfrm>
                <a:off x="7390825" y="4625787"/>
                <a:ext cx="18283" cy="18444"/>
              </a:xfrm>
              <a:custGeom>
                <a:avLst/>
                <a:gdLst>
                  <a:gd name="connsiteX0" fmla="*/ 15242 w 18283"/>
                  <a:gd name="connsiteY0" fmla="*/ 2374 h 18444"/>
                  <a:gd name="connsiteX1" fmla="*/ 2324 w 18283"/>
                  <a:gd name="connsiteY1" fmla="*/ 3032 h 18444"/>
                  <a:gd name="connsiteX2" fmla="*/ 3041 w 18283"/>
                  <a:gd name="connsiteY2" fmla="*/ 16070 h 18444"/>
                  <a:gd name="connsiteX3" fmla="*/ 15960 w 18283"/>
                  <a:gd name="connsiteY3" fmla="*/ 1541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1474" y="-1035"/>
                      <a:pt x="5673" y="-736"/>
                      <a:pt x="2324" y="3032"/>
                    </a:cubicBezTo>
                    <a:cubicBezTo>
                      <a:pt x="-1025" y="6800"/>
                      <a:pt x="-727" y="12601"/>
                      <a:pt x="3041" y="16070"/>
                    </a:cubicBezTo>
                    <a:cubicBezTo>
                      <a:pt x="6809" y="19479"/>
                      <a:pt x="12611" y="19180"/>
                      <a:pt x="15960" y="15412"/>
                    </a:cubicBezTo>
                    <a:cubicBezTo>
                      <a:pt x="19309" y="11585"/>
                      <a:pt x="19010" y="5783"/>
                      <a:pt x="15242" y="2374"/>
                    </a:cubicBezTo>
                    <a:close/>
                  </a:path>
                </a:pathLst>
              </a:custGeom>
              <a:grpFill/>
              <a:ln w="5978" cap="flat">
                <a:noFill/>
                <a:prstDash val="solid"/>
                <a:miter/>
              </a:ln>
            </p:spPr>
            <p:txBody>
              <a:bodyPr rtlCol="0" anchor="ctr"/>
              <a:lstStyle/>
              <a:p>
                <a:endParaRPr lang="en-GB"/>
              </a:p>
            </p:txBody>
          </p:sp>
        </p:grpSp>
        <p:grpSp>
          <p:nvGrpSpPr>
            <p:cNvPr id="456" name="Graphic 3">
              <a:extLst>
                <a:ext uri="{FF2B5EF4-FFF2-40B4-BE49-F238E27FC236}">
                  <a16:creationId xmlns:a16="http://schemas.microsoft.com/office/drawing/2014/main" id="{E4B55A1B-686B-48D8-A96A-9B313C098573}"/>
                </a:ext>
              </a:extLst>
            </p:cNvPr>
            <p:cNvGrpSpPr/>
            <p:nvPr/>
          </p:nvGrpSpPr>
          <p:grpSpPr>
            <a:xfrm>
              <a:off x="6371374" y="1484578"/>
              <a:ext cx="107590" cy="293408"/>
              <a:chOff x="6371374" y="1484578"/>
              <a:chExt cx="107590" cy="293408"/>
            </a:xfrm>
            <a:grpFill/>
          </p:grpSpPr>
          <p:sp>
            <p:nvSpPr>
              <p:cNvPr id="4017" name="Vrije vorm: vorm 4016">
                <a:extLst>
                  <a:ext uri="{FF2B5EF4-FFF2-40B4-BE49-F238E27FC236}">
                    <a16:creationId xmlns:a16="http://schemas.microsoft.com/office/drawing/2014/main" id="{2F9E15E8-4503-46B0-B034-DD60DD2A15AB}"/>
                  </a:ext>
                </a:extLst>
              </p:cNvPr>
              <p:cNvSpPr/>
              <p:nvPr/>
            </p:nvSpPr>
            <p:spPr>
              <a:xfrm>
                <a:off x="6378938" y="1492948"/>
                <a:ext cx="92402" cy="276727"/>
              </a:xfrm>
              <a:custGeom>
                <a:avLst/>
                <a:gdLst>
                  <a:gd name="connsiteX0" fmla="*/ 92402 w 92402"/>
                  <a:gd name="connsiteY0" fmla="*/ 957 h 276727"/>
                  <a:gd name="connsiteX1" fmla="*/ 2871 w 92402"/>
                  <a:gd name="connsiteY1" fmla="*/ 276728 h 276727"/>
                  <a:gd name="connsiteX2" fmla="*/ 0 w 92402"/>
                  <a:gd name="connsiteY2" fmla="*/ 275771 h 276727"/>
                  <a:gd name="connsiteX3" fmla="*/ 89531 w 92402"/>
                  <a:gd name="connsiteY3" fmla="*/ 0 h 276727"/>
                </a:gdLst>
                <a:ahLst/>
                <a:cxnLst>
                  <a:cxn ang="0">
                    <a:pos x="connsiteX0" y="connsiteY0"/>
                  </a:cxn>
                  <a:cxn ang="0">
                    <a:pos x="connsiteX1" y="connsiteY1"/>
                  </a:cxn>
                  <a:cxn ang="0">
                    <a:pos x="connsiteX2" y="connsiteY2"/>
                  </a:cxn>
                  <a:cxn ang="0">
                    <a:pos x="connsiteX3" y="connsiteY3"/>
                  </a:cxn>
                </a:cxnLst>
                <a:rect l="l" t="t" r="r" b="b"/>
                <a:pathLst>
                  <a:path w="92402" h="276727">
                    <a:moveTo>
                      <a:pt x="92402" y="957"/>
                    </a:moveTo>
                    <a:lnTo>
                      <a:pt x="2871" y="276728"/>
                    </a:lnTo>
                    <a:lnTo>
                      <a:pt x="0" y="275771"/>
                    </a:lnTo>
                    <a:lnTo>
                      <a:pt x="89531" y="0"/>
                    </a:lnTo>
                    <a:close/>
                  </a:path>
                </a:pathLst>
              </a:custGeom>
              <a:grpFill/>
              <a:ln w="5978" cap="flat">
                <a:noFill/>
                <a:prstDash val="solid"/>
                <a:miter/>
              </a:ln>
            </p:spPr>
            <p:txBody>
              <a:bodyPr rtlCol="0" anchor="ctr"/>
              <a:lstStyle/>
              <a:p>
                <a:endParaRPr lang="en-GB"/>
              </a:p>
            </p:txBody>
          </p:sp>
          <p:sp>
            <p:nvSpPr>
              <p:cNvPr id="4018" name="Vrije vorm: vorm 4017">
                <a:extLst>
                  <a:ext uri="{FF2B5EF4-FFF2-40B4-BE49-F238E27FC236}">
                    <a16:creationId xmlns:a16="http://schemas.microsoft.com/office/drawing/2014/main" id="{06525208-D696-48DE-BC9B-1D152F9A1E8A}"/>
                  </a:ext>
                </a:extLst>
              </p:cNvPr>
              <p:cNvSpPr/>
              <p:nvPr/>
            </p:nvSpPr>
            <p:spPr>
              <a:xfrm>
                <a:off x="6371374" y="1759511"/>
                <a:ext cx="18298" cy="18474"/>
              </a:xfrm>
              <a:custGeom>
                <a:avLst/>
                <a:gdLst>
                  <a:gd name="connsiteX0" fmla="*/ 17851 w 18298"/>
                  <a:gd name="connsiteY0" fmla="*/ 12138 h 18474"/>
                  <a:gd name="connsiteX1" fmla="*/ 6308 w 18298"/>
                  <a:gd name="connsiteY1" fmla="*/ 17999 h 18474"/>
                  <a:gd name="connsiteX2" fmla="*/ 447 w 18298"/>
                  <a:gd name="connsiteY2" fmla="*/ 6337 h 18474"/>
                  <a:gd name="connsiteX3" fmla="*/ 11990 w 18298"/>
                  <a:gd name="connsiteY3" fmla="*/ 476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6296" y="16982"/>
                      <a:pt x="11093" y="19614"/>
                      <a:pt x="6308" y="17999"/>
                    </a:cubicBezTo>
                    <a:cubicBezTo>
                      <a:pt x="1524" y="16384"/>
                      <a:pt x="-1108" y="11181"/>
                      <a:pt x="447" y="6337"/>
                    </a:cubicBezTo>
                    <a:cubicBezTo>
                      <a:pt x="2002" y="1492"/>
                      <a:pt x="7205" y="-1139"/>
                      <a:pt x="11990" y="476"/>
                    </a:cubicBezTo>
                    <a:cubicBezTo>
                      <a:pt x="16774" y="2090"/>
                      <a:pt x="19406" y="7294"/>
                      <a:pt x="17851" y="12138"/>
                    </a:cubicBezTo>
                    <a:close/>
                  </a:path>
                </a:pathLst>
              </a:custGeom>
              <a:grpFill/>
              <a:ln w="5978" cap="flat">
                <a:noFill/>
                <a:prstDash val="solid"/>
                <a:miter/>
              </a:ln>
            </p:spPr>
            <p:txBody>
              <a:bodyPr rtlCol="0" anchor="ctr"/>
              <a:lstStyle/>
              <a:p>
                <a:endParaRPr lang="en-GB"/>
              </a:p>
            </p:txBody>
          </p:sp>
          <p:sp>
            <p:nvSpPr>
              <p:cNvPr id="4019" name="Vrije vorm: vorm 4018">
                <a:extLst>
                  <a:ext uri="{FF2B5EF4-FFF2-40B4-BE49-F238E27FC236}">
                    <a16:creationId xmlns:a16="http://schemas.microsoft.com/office/drawing/2014/main" id="{54FFC527-4452-477F-9780-9E9982048C5E}"/>
                  </a:ext>
                </a:extLst>
              </p:cNvPr>
              <p:cNvSpPr/>
              <p:nvPr/>
            </p:nvSpPr>
            <p:spPr>
              <a:xfrm>
                <a:off x="6460666" y="1484578"/>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8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4" y="2090"/>
                      <a:pt x="11990" y="476"/>
                    </a:cubicBezTo>
                    <a:cubicBezTo>
                      <a:pt x="7205" y="-1139"/>
                      <a:pt x="2002" y="1492"/>
                      <a:pt x="447" y="6337"/>
                    </a:cubicBezTo>
                    <a:cubicBezTo>
                      <a:pt x="-1108" y="11181"/>
                      <a:pt x="1524" y="16384"/>
                      <a:pt x="6308" y="17999"/>
                    </a:cubicBezTo>
                    <a:cubicBezTo>
                      <a:pt x="11093" y="19614"/>
                      <a:pt x="16236" y="16982"/>
                      <a:pt x="17851" y="12138"/>
                    </a:cubicBezTo>
                    <a:close/>
                  </a:path>
                </a:pathLst>
              </a:custGeom>
              <a:grpFill/>
              <a:ln w="5978" cap="flat">
                <a:noFill/>
                <a:prstDash val="solid"/>
                <a:miter/>
              </a:ln>
            </p:spPr>
            <p:txBody>
              <a:bodyPr rtlCol="0" anchor="ctr"/>
              <a:lstStyle/>
              <a:p>
                <a:endParaRPr lang="en-GB"/>
              </a:p>
            </p:txBody>
          </p:sp>
        </p:grpSp>
        <p:grpSp>
          <p:nvGrpSpPr>
            <p:cNvPr id="457" name="Graphic 3">
              <a:extLst>
                <a:ext uri="{FF2B5EF4-FFF2-40B4-BE49-F238E27FC236}">
                  <a16:creationId xmlns:a16="http://schemas.microsoft.com/office/drawing/2014/main" id="{FA011854-E9B3-4467-B0A0-A4A3BEE09981}"/>
                </a:ext>
              </a:extLst>
            </p:cNvPr>
            <p:cNvGrpSpPr/>
            <p:nvPr/>
          </p:nvGrpSpPr>
          <p:grpSpPr>
            <a:xfrm>
              <a:off x="7428974" y="4808271"/>
              <a:ext cx="156873" cy="158668"/>
              <a:chOff x="7428974" y="4808271"/>
              <a:chExt cx="156873" cy="158668"/>
            </a:xfrm>
            <a:grpFill/>
          </p:grpSpPr>
          <p:sp>
            <p:nvSpPr>
              <p:cNvPr id="4014" name="Vrije vorm: vorm 4013">
                <a:extLst>
                  <a:ext uri="{FF2B5EF4-FFF2-40B4-BE49-F238E27FC236}">
                    <a16:creationId xmlns:a16="http://schemas.microsoft.com/office/drawing/2014/main" id="{A61B724A-17EF-4CA4-BFCE-207E3522F6DD}"/>
                  </a:ext>
                </a:extLst>
              </p:cNvPr>
              <p:cNvSpPr/>
              <p:nvPr/>
            </p:nvSpPr>
            <p:spPr>
              <a:xfrm>
                <a:off x="7436748" y="4816016"/>
                <a:ext cx="141324" cy="143118"/>
              </a:xfrm>
              <a:custGeom>
                <a:avLst/>
                <a:gdLst>
                  <a:gd name="connsiteX0" fmla="*/ 141325 w 141324"/>
                  <a:gd name="connsiteY0" fmla="*/ 140966 h 143118"/>
                  <a:gd name="connsiteX1" fmla="*/ 139172 w 141324"/>
                  <a:gd name="connsiteY1" fmla="*/ 143119 h 143118"/>
                  <a:gd name="connsiteX2" fmla="*/ 0 w 141324"/>
                  <a:gd name="connsiteY2" fmla="*/ 2153 h 143118"/>
                  <a:gd name="connsiteX3" fmla="*/ 2153 w 141324"/>
                  <a:gd name="connsiteY3" fmla="*/ 0 h 143118"/>
                </a:gdLst>
                <a:ahLst/>
                <a:cxnLst>
                  <a:cxn ang="0">
                    <a:pos x="connsiteX0" y="connsiteY0"/>
                  </a:cxn>
                  <a:cxn ang="0">
                    <a:pos x="connsiteX1" y="connsiteY1"/>
                  </a:cxn>
                  <a:cxn ang="0">
                    <a:pos x="connsiteX2" y="connsiteY2"/>
                  </a:cxn>
                  <a:cxn ang="0">
                    <a:pos x="connsiteX3" y="connsiteY3"/>
                  </a:cxn>
                </a:cxnLst>
                <a:rect l="l" t="t" r="r" b="b"/>
                <a:pathLst>
                  <a:path w="141324" h="143118">
                    <a:moveTo>
                      <a:pt x="141325" y="140966"/>
                    </a:moveTo>
                    <a:lnTo>
                      <a:pt x="139172" y="143119"/>
                    </a:lnTo>
                    <a:lnTo>
                      <a:pt x="0" y="2153"/>
                    </a:lnTo>
                    <a:lnTo>
                      <a:pt x="2153" y="0"/>
                    </a:lnTo>
                    <a:close/>
                  </a:path>
                </a:pathLst>
              </a:custGeom>
              <a:grpFill/>
              <a:ln w="5978" cap="flat">
                <a:noFill/>
                <a:prstDash val="solid"/>
                <a:miter/>
              </a:ln>
            </p:spPr>
            <p:txBody>
              <a:bodyPr rtlCol="0" anchor="ctr"/>
              <a:lstStyle/>
              <a:p>
                <a:endParaRPr lang="en-GB"/>
              </a:p>
            </p:txBody>
          </p:sp>
          <p:sp>
            <p:nvSpPr>
              <p:cNvPr id="4015" name="Vrije vorm: vorm 4014">
                <a:extLst>
                  <a:ext uri="{FF2B5EF4-FFF2-40B4-BE49-F238E27FC236}">
                    <a16:creationId xmlns:a16="http://schemas.microsoft.com/office/drawing/2014/main" id="{21133545-6370-426E-A356-808F0C5EEE19}"/>
                  </a:ext>
                </a:extLst>
              </p:cNvPr>
              <p:cNvSpPr/>
              <p:nvPr/>
            </p:nvSpPr>
            <p:spPr>
              <a:xfrm>
                <a:off x="7567487" y="4948519"/>
                <a:ext cx="18360" cy="18421"/>
              </a:xfrm>
              <a:custGeom>
                <a:avLst/>
                <a:gdLst>
                  <a:gd name="connsiteX0" fmla="*/ 15669 w 18360"/>
                  <a:gd name="connsiteY0" fmla="*/ 2721 h 18421"/>
                  <a:gd name="connsiteX1" fmla="*/ 15669 w 18360"/>
                  <a:gd name="connsiteY1" fmla="*/ 15760 h 18421"/>
                  <a:gd name="connsiteX2" fmla="*/ 2692 w 18360"/>
                  <a:gd name="connsiteY2" fmla="*/ 15700 h 18421"/>
                  <a:gd name="connsiteX3" fmla="*/ 2692 w 18360"/>
                  <a:gd name="connsiteY3" fmla="*/ 2662 h 18421"/>
                  <a:gd name="connsiteX4" fmla="*/ 15669 w 18360"/>
                  <a:gd name="connsiteY4" fmla="*/ 27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1">
                    <a:moveTo>
                      <a:pt x="15669" y="2721"/>
                    </a:moveTo>
                    <a:cubicBezTo>
                      <a:pt x="19258" y="6310"/>
                      <a:pt x="19258" y="12171"/>
                      <a:pt x="15669" y="15760"/>
                    </a:cubicBezTo>
                    <a:cubicBezTo>
                      <a:pt x="12081" y="19348"/>
                      <a:pt x="6280" y="19288"/>
                      <a:pt x="2692" y="15700"/>
                    </a:cubicBezTo>
                    <a:cubicBezTo>
                      <a:pt x="-897" y="12111"/>
                      <a:pt x="-897" y="6250"/>
                      <a:pt x="2692" y="2662"/>
                    </a:cubicBezTo>
                    <a:cubicBezTo>
                      <a:pt x="6280" y="-927"/>
                      <a:pt x="12081" y="-867"/>
                      <a:pt x="15669" y="2721"/>
                    </a:cubicBezTo>
                    <a:close/>
                  </a:path>
                </a:pathLst>
              </a:custGeom>
              <a:grpFill/>
              <a:ln w="5978" cap="flat">
                <a:noFill/>
                <a:prstDash val="solid"/>
                <a:miter/>
              </a:ln>
            </p:spPr>
            <p:txBody>
              <a:bodyPr rtlCol="0" anchor="ctr"/>
              <a:lstStyle/>
              <a:p>
                <a:endParaRPr lang="en-GB"/>
              </a:p>
            </p:txBody>
          </p:sp>
          <p:sp>
            <p:nvSpPr>
              <p:cNvPr id="4016" name="Vrije vorm: vorm 4015">
                <a:extLst>
                  <a:ext uri="{FF2B5EF4-FFF2-40B4-BE49-F238E27FC236}">
                    <a16:creationId xmlns:a16="http://schemas.microsoft.com/office/drawing/2014/main" id="{8898119D-A4BD-403C-8E9E-503FB54F885F}"/>
                  </a:ext>
                </a:extLst>
              </p:cNvPr>
              <p:cNvSpPr/>
              <p:nvPr/>
            </p:nvSpPr>
            <p:spPr>
              <a:xfrm>
                <a:off x="7428974" y="4808271"/>
                <a:ext cx="18315" cy="18421"/>
              </a:xfrm>
              <a:custGeom>
                <a:avLst/>
                <a:gdLst>
                  <a:gd name="connsiteX0" fmla="*/ 15669 w 18315"/>
                  <a:gd name="connsiteY0" fmla="*/ 2722 h 18421"/>
                  <a:gd name="connsiteX1" fmla="*/ 2691 w 18315"/>
                  <a:gd name="connsiteY1" fmla="*/ 2662 h 18421"/>
                  <a:gd name="connsiteX2" fmla="*/ 2691 w 18315"/>
                  <a:gd name="connsiteY2" fmla="*/ 15700 h 18421"/>
                  <a:gd name="connsiteX3" fmla="*/ 15669 w 18315"/>
                  <a:gd name="connsiteY3" fmla="*/ 15760 h 18421"/>
                  <a:gd name="connsiteX4" fmla="*/ 15669 w 18315"/>
                  <a:gd name="connsiteY4" fmla="*/ 272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1">
                    <a:moveTo>
                      <a:pt x="15669" y="2722"/>
                    </a:moveTo>
                    <a:cubicBezTo>
                      <a:pt x="12081" y="-867"/>
                      <a:pt x="6280" y="-927"/>
                      <a:pt x="2691" y="2662"/>
                    </a:cubicBezTo>
                    <a:cubicBezTo>
                      <a:pt x="-897" y="6250"/>
                      <a:pt x="-897" y="12052"/>
                      <a:pt x="2691" y="15700"/>
                    </a:cubicBezTo>
                    <a:cubicBezTo>
                      <a:pt x="6280" y="19288"/>
                      <a:pt x="12081" y="19348"/>
                      <a:pt x="15669" y="15760"/>
                    </a:cubicBezTo>
                    <a:cubicBezTo>
                      <a:pt x="19198" y="12171"/>
                      <a:pt x="19198" y="6310"/>
                      <a:pt x="15669" y="2722"/>
                    </a:cubicBezTo>
                    <a:close/>
                  </a:path>
                </a:pathLst>
              </a:custGeom>
              <a:grpFill/>
              <a:ln w="5978" cap="flat">
                <a:noFill/>
                <a:prstDash val="solid"/>
                <a:miter/>
              </a:ln>
            </p:spPr>
            <p:txBody>
              <a:bodyPr rtlCol="0" anchor="ctr"/>
              <a:lstStyle/>
              <a:p>
                <a:endParaRPr lang="en-GB"/>
              </a:p>
            </p:txBody>
          </p:sp>
        </p:grpSp>
        <p:grpSp>
          <p:nvGrpSpPr>
            <p:cNvPr id="458" name="Graphic 3">
              <a:extLst>
                <a:ext uri="{FF2B5EF4-FFF2-40B4-BE49-F238E27FC236}">
                  <a16:creationId xmlns:a16="http://schemas.microsoft.com/office/drawing/2014/main" id="{DFC7BC39-1503-4C50-9F95-0EA5066D2B44}"/>
                </a:ext>
              </a:extLst>
            </p:cNvPr>
            <p:cNvGrpSpPr/>
            <p:nvPr/>
          </p:nvGrpSpPr>
          <p:grpSpPr>
            <a:xfrm>
              <a:off x="6367848" y="1467502"/>
              <a:ext cx="40840" cy="145147"/>
              <a:chOff x="6367848" y="1467502"/>
              <a:chExt cx="40840" cy="145147"/>
            </a:xfrm>
            <a:grpFill/>
          </p:grpSpPr>
          <p:sp>
            <p:nvSpPr>
              <p:cNvPr id="4011" name="Vrije vorm: vorm 4010">
                <a:extLst>
                  <a:ext uri="{FF2B5EF4-FFF2-40B4-BE49-F238E27FC236}">
                    <a16:creationId xmlns:a16="http://schemas.microsoft.com/office/drawing/2014/main" id="{5C79947A-A027-4995-AF11-B1E2255DB0E9}"/>
                  </a:ext>
                </a:extLst>
              </p:cNvPr>
              <p:cNvSpPr/>
              <p:nvPr/>
            </p:nvSpPr>
            <p:spPr>
              <a:xfrm>
                <a:off x="6375469" y="1476022"/>
                <a:ext cx="25597" cy="128107"/>
              </a:xfrm>
              <a:custGeom>
                <a:avLst/>
                <a:gdLst>
                  <a:gd name="connsiteX0" fmla="*/ 25598 w 25597"/>
                  <a:gd name="connsiteY0" fmla="*/ 538 h 128107"/>
                  <a:gd name="connsiteX1" fmla="*/ 2990 w 25597"/>
                  <a:gd name="connsiteY1" fmla="*/ 128107 h 128107"/>
                  <a:gd name="connsiteX2" fmla="*/ 0 w 25597"/>
                  <a:gd name="connsiteY2" fmla="*/ 127569 h 128107"/>
                  <a:gd name="connsiteX3" fmla="*/ 22607 w 25597"/>
                  <a:gd name="connsiteY3" fmla="*/ 0 h 128107"/>
                </a:gdLst>
                <a:ahLst/>
                <a:cxnLst>
                  <a:cxn ang="0">
                    <a:pos x="connsiteX0" y="connsiteY0"/>
                  </a:cxn>
                  <a:cxn ang="0">
                    <a:pos x="connsiteX1" y="connsiteY1"/>
                  </a:cxn>
                  <a:cxn ang="0">
                    <a:pos x="connsiteX2" y="connsiteY2"/>
                  </a:cxn>
                  <a:cxn ang="0">
                    <a:pos x="connsiteX3" y="connsiteY3"/>
                  </a:cxn>
                </a:cxnLst>
                <a:rect l="l" t="t" r="r" b="b"/>
                <a:pathLst>
                  <a:path w="25597" h="128107">
                    <a:moveTo>
                      <a:pt x="25598" y="538"/>
                    </a:moveTo>
                    <a:lnTo>
                      <a:pt x="2990" y="128107"/>
                    </a:lnTo>
                    <a:lnTo>
                      <a:pt x="0" y="127569"/>
                    </a:lnTo>
                    <a:lnTo>
                      <a:pt x="22607" y="0"/>
                    </a:lnTo>
                    <a:close/>
                  </a:path>
                </a:pathLst>
              </a:custGeom>
              <a:grpFill/>
              <a:ln w="5978" cap="flat">
                <a:noFill/>
                <a:prstDash val="solid"/>
                <a:miter/>
              </a:ln>
            </p:spPr>
            <p:txBody>
              <a:bodyPr rtlCol="0" anchor="ctr"/>
              <a:lstStyle/>
              <a:p>
                <a:endParaRPr lang="en-GB"/>
              </a:p>
            </p:txBody>
          </p:sp>
          <p:sp>
            <p:nvSpPr>
              <p:cNvPr id="4012" name="Vrije vorm: vorm 4011">
                <a:extLst>
                  <a:ext uri="{FF2B5EF4-FFF2-40B4-BE49-F238E27FC236}">
                    <a16:creationId xmlns:a16="http://schemas.microsoft.com/office/drawing/2014/main" id="{8F72D80E-120E-4C69-9A10-60DE1E597F75}"/>
                  </a:ext>
                </a:extLst>
              </p:cNvPr>
              <p:cNvSpPr/>
              <p:nvPr/>
            </p:nvSpPr>
            <p:spPr>
              <a:xfrm>
                <a:off x="6390335" y="1467502"/>
                <a:ext cx="18352" cy="18416"/>
              </a:xfrm>
              <a:custGeom>
                <a:avLst/>
                <a:gdLst>
                  <a:gd name="connsiteX0" fmla="*/ 145 w 18352"/>
                  <a:gd name="connsiteY0" fmla="*/ 7563 h 18416"/>
                  <a:gd name="connsiteX1" fmla="*/ 10791 w 18352"/>
                  <a:gd name="connsiteY1" fmla="*/ 147 h 18416"/>
                  <a:gd name="connsiteX2" fmla="*/ 18207 w 18352"/>
                  <a:gd name="connsiteY2" fmla="*/ 10853 h 18416"/>
                  <a:gd name="connsiteX3" fmla="*/ 7561 w 18352"/>
                  <a:gd name="connsiteY3" fmla="*/ 18269 h 18416"/>
                  <a:gd name="connsiteX4" fmla="*/ 145 w 18352"/>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6">
                    <a:moveTo>
                      <a:pt x="145" y="7563"/>
                    </a:moveTo>
                    <a:cubicBezTo>
                      <a:pt x="1043" y="2540"/>
                      <a:pt x="5767" y="-750"/>
                      <a:pt x="10791" y="147"/>
                    </a:cubicBezTo>
                    <a:cubicBezTo>
                      <a:pt x="15755" y="1044"/>
                      <a:pt x="19104" y="5889"/>
                      <a:pt x="18207" y="10853"/>
                    </a:cubicBezTo>
                    <a:cubicBezTo>
                      <a:pt x="17310" y="15877"/>
                      <a:pt x="12585" y="19166"/>
                      <a:pt x="7561" y="18269"/>
                    </a:cubicBezTo>
                    <a:cubicBezTo>
                      <a:pt x="2597" y="17372"/>
                      <a:pt x="-752" y="12587"/>
                      <a:pt x="145" y="7563"/>
                    </a:cubicBezTo>
                    <a:close/>
                  </a:path>
                </a:pathLst>
              </a:custGeom>
              <a:grpFill/>
              <a:ln w="5978" cap="flat">
                <a:noFill/>
                <a:prstDash val="solid"/>
                <a:miter/>
              </a:ln>
            </p:spPr>
            <p:txBody>
              <a:bodyPr rtlCol="0" anchor="ctr"/>
              <a:lstStyle/>
              <a:p>
                <a:endParaRPr lang="en-GB"/>
              </a:p>
            </p:txBody>
          </p:sp>
          <p:sp>
            <p:nvSpPr>
              <p:cNvPr id="4013" name="Vrije vorm: vorm 4012">
                <a:extLst>
                  <a:ext uri="{FF2B5EF4-FFF2-40B4-BE49-F238E27FC236}">
                    <a16:creationId xmlns:a16="http://schemas.microsoft.com/office/drawing/2014/main" id="{DFC1DEBB-40CF-439E-AAEC-1DA7A79B5FAE}"/>
                  </a:ext>
                </a:extLst>
              </p:cNvPr>
              <p:cNvSpPr/>
              <p:nvPr/>
            </p:nvSpPr>
            <p:spPr>
              <a:xfrm>
                <a:off x="6367848" y="1594234"/>
                <a:ext cx="18352" cy="18416"/>
              </a:xfrm>
              <a:custGeom>
                <a:avLst/>
                <a:gdLst>
                  <a:gd name="connsiteX0" fmla="*/ 145 w 18352"/>
                  <a:gd name="connsiteY0" fmla="*/ 7563 h 18416"/>
                  <a:gd name="connsiteX1" fmla="*/ 7561 w 18352"/>
                  <a:gd name="connsiteY1" fmla="*/ 18269 h 18416"/>
                  <a:gd name="connsiteX2" fmla="*/ 18207 w 18352"/>
                  <a:gd name="connsiteY2" fmla="*/ 10853 h 18416"/>
                  <a:gd name="connsiteX3" fmla="*/ 10791 w 18352"/>
                  <a:gd name="connsiteY3" fmla="*/ 147 h 18416"/>
                  <a:gd name="connsiteX4" fmla="*/ 145 w 18352"/>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6">
                    <a:moveTo>
                      <a:pt x="145" y="7563"/>
                    </a:moveTo>
                    <a:cubicBezTo>
                      <a:pt x="-752" y="12587"/>
                      <a:pt x="2598" y="17372"/>
                      <a:pt x="7561" y="18269"/>
                    </a:cubicBezTo>
                    <a:cubicBezTo>
                      <a:pt x="12525" y="19166"/>
                      <a:pt x="17310" y="15877"/>
                      <a:pt x="18207" y="10853"/>
                    </a:cubicBezTo>
                    <a:cubicBezTo>
                      <a:pt x="19104" y="5829"/>
                      <a:pt x="15755" y="1044"/>
                      <a:pt x="10791" y="147"/>
                    </a:cubicBezTo>
                    <a:cubicBezTo>
                      <a:pt x="5827" y="-750"/>
                      <a:pt x="1043" y="2540"/>
                      <a:pt x="145" y="7563"/>
                    </a:cubicBezTo>
                    <a:close/>
                  </a:path>
                </a:pathLst>
              </a:custGeom>
              <a:grpFill/>
              <a:ln w="5978" cap="flat">
                <a:noFill/>
                <a:prstDash val="solid"/>
                <a:miter/>
              </a:ln>
            </p:spPr>
            <p:txBody>
              <a:bodyPr rtlCol="0" anchor="ctr"/>
              <a:lstStyle/>
              <a:p>
                <a:endParaRPr lang="en-GB"/>
              </a:p>
            </p:txBody>
          </p:sp>
        </p:grpSp>
        <p:grpSp>
          <p:nvGrpSpPr>
            <p:cNvPr id="459" name="Graphic 3">
              <a:extLst>
                <a:ext uri="{FF2B5EF4-FFF2-40B4-BE49-F238E27FC236}">
                  <a16:creationId xmlns:a16="http://schemas.microsoft.com/office/drawing/2014/main" id="{E242F214-B79F-4CF9-B70E-CEFF893F358D}"/>
                </a:ext>
              </a:extLst>
            </p:cNvPr>
            <p:cNvGrpSpPr/>
            <p:nvPr/>
          </p:nvGrpSpPr>
          <p:grpSpPr>
            <a:xfrm>
              <a:off x="7345764" y="4499868"/>
              <a:ext cx="133045" cy="114843"/>
              <a:chOff x="7345764" y="4499868"/>
              <a:chExt cx="133045" cy="114843"/>
            </a:xfrm>
            <a:grpFill/>
          </p:grpSpPr>
          <p:sp>
            <p:nvSpPr>
              <p:cNvPr id="4008" name="Vrije vorm: vorm 4007">
                <a:extLst>
                  <a:ext uri="{FF2B5EF4-FFF2-40B4-BE49-F238E27FC236}">
                    <a16:creationId xmlns:a16="http://schemas.microsoft.com/office/drawing/2014/main" id="{DEDD9C46-86EE-4A72-A4D8-CF2C09D30038}"/>
                  </a:ext>
                </a:extLst>
              </p:cNvPr>
              <p:cNvSpPr/>
              <p:nvPr/>
            </p:nvSpPr>
            <p:spPr>
              <a:xfrm>
                <a:off x="7353616" y="4507650"/>
                <a:ext cx="117401" cy="99280"/>
              </a:xfrm>
              <a:custGeom>
                <a:avLst/>
                <a:gdLst>
                  <a:gd name="connsiteX0" fmla="*/ 117402 w 117401"/>
                  <a:gd name="connsiteY0" fmla="*/ 96948 h 99280"/>
                  <a:gd name="connsiteX1" fmla="*/ 115428 w 117401"/>
                  <a:gd name="connsiteY1" fmla="*/ 99280 h 99280"/>
                  <a:gd name="connsiteX2" fmla="*/ 0 w 117401"/>
                  <a:gd name="connsiteY2" fmla="*/ 2333 h 99280"/>
                  <a:gd name="connsiteX3" fmla="*/ 1914 w 117401"/>
                  <a:gd name="connsiteY3" fmla="*/ 0 h 99280"/>
                </a:gdLst>
                <a:ahLst/>
                <a:cxnLst>
                  <a:cxn ang="0">
                    <a:pos x="connsiteX0" y="connsiteY0"/>
                  </a:cxn>
                  <a:cxn ang="0">
                    <a:pos x="connsiteX1" y="connsiteY1"/>
                  </a:cxn>
                  <a:cxn ang="0">
                    <a:pos x="connsiteX2" y="connsiteY2"/>
                  </a:cxn>
                  <a:cxn ang="0">
                    <a:pos x="connsiteX3" y="connsiteY3"/>
                  </a:cxn>
                </a:cxnLst>
                <a:rect l="l" t="t" r="r" b="b"/>
                <a:pathLst>
                  <a:path w="117401" h="99280">
                    <a:moveTo>
                      <a:pt x="117402" y="96948"/>
                    </a:moveTo>
                    <a:lnTo>
                      <a:pt x="115428" y="99280"/>
                    </a:lnTo>
                    <a:lnTo>
                      <a:pt x="0" y="2333"/>
                    </a:lnTo>
                    <a:lnTo>
                      <a:pt x="1914" y="0"/>
                    </a:lnTo>
                    <a:close/>
                  </a:path>
                </a:pathLst>
              </a:custGeom>
              <a:grpFill/>
              <a:ln w="5978" cap="flat">
                <a:noFill/>
                <a:prstDash val="solid"/>
                <a:miter/>
              </a:ln>
            </p:spPr>
            <p:txBody>
              <a:bodyPr rtlCol="0" anchor="ctr"/>
              <a:lstStyle/>
              <a:p>
                <a:endParaRPr lang="en-GB"/>
              </a:p>
            </p:txBody>
          </p:sp>
          <p:sp>
            <p:nvSpPr>
              <p:cNvPr id="4009" name="Vrije vorm: vorm 4008">
                <a:extLst>
                  <a:ext uri="{FF2B5EF4-FFF2-40B4-BE49-F238E27FC236}">
                    <a16:creationId xmlns:a16="http://schemas.microsoft.com/office/drawing/2014/main" id="{FFA666E1-3E93-41AE-A63D-BD4F7FEEB90E}"/>
                  </a:ext>
                </a:extLst>
              </p:cNvPr>
              <p:cNvSpPr/>
              <p:nvPr/>
            </p:nvSpPr>
            <p:spPr>
              <a:xfrm>
                <a:off x="7460475" y="4596278"/>
                <a:ext cx="18335" cy="18433"/>
              </a:xfrm>
              <a:custGeom>
                <a:avLst/>
                <a:gdLst>
                  <a:gd name="connsiteX0" fmla="*/ 15029 w 18335"/>
                  <a:gd name="connsiteY0" fmla="*/ 2160 h 18433"/>
                  <a:gd name="connsiteX1" fmla="*/ 16225 w 18335"/>
                  <a:gd name="connsiteY1" fmla="*/ 15138 h 18433"/>
                  <a:gd name="connsiteX2" fmla="*/ 3307 w 18335"/>
                  <a:gd name="connsiteY2" fmla="*/ 16274 h 18433"/>
                  <a:gd name="connsiteX3" fmla="*/ 2110 w 18335"/>
                  <a:gd name="connsiteY3" fmla="*/ 3296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8916" y="5449"/>
                      <a:pt x="19454" y="11250"/>
                      <a:pt x="16225" y="15138"/>
                    </a:cubicBezTo>
                    <a:cubicBezTo>
                      <a:pt x="12995" y="19025"/>
                      <a:pt x="7194" y="19564"/>
                      <a:pt x="3307" y="16274"/>
                    </a:cubicBezTo>
                    <a:cubicBezTo>
                      <a:pt x="-581" y="12985"/>
                      <a:pt x="-1119" y="7184"/>
                      <a:pt x="2110" y="3296"/>
                    </a:cubicBezTo>
                    <a:cubicBezTo>
                      <a:pt x="5400" y="-591"/>
                      <a:pt x="11141" y="-1130"/>
                      <a:pt x="15029" y="2160"/>
                    </a:cubicBezTo>
                    <a:close/>
                  </a:path>
                </a:pathLst>
              </a:custGeom>
              <a:grpFill/>
              <a:ln w="5978" cap="flat">
                <a:noFill/>
                <a:prstDash val="solid"/>
                <a:miter/>
              </a:ln>
            </p:spPr>
            <p:txBody>
              <a:bodyPr rtlCol="0" anchor="ctr"/>
              <a:lstStyle/>
              <a:p>
                <a:endParaRPr lang="en-GB"/>
              </a:p>
            </p:txBody>
          </p:sp>
          <p:sp>
            <p:nvSpPr>
              <p:cNvPr id="4010" name="Vrije vorm: vorm 4009">
                <a:extLst>
                  <a:ext uri="{FF2B5EF4-FFF2-40B4-BE49-F238E27FC236}">
                    <a16:creationId xmlns:a16="http://schemas.microsoft.com/office/drawing/2014/main" id="{40F86E14-CE4A-4BE3-B8D7-033164F899F0}"/>
                  </a:ext>
                </a:extLst>
              </p:cNvPr>
              <p:cNvSpPr/>
              <p:nvPr/>
            </p:nvSpPr>
            <p:spPr>
              <a:xfrm>
                <a:off x="7345764" y="4499868"/>
                <a:ext cx="18335" cy="18433"/>
              </a:xfrm>
              <a:custGeom>
                <a:avLst/>
                <a:gdLst>
                  <a:gd name="connsiteX0" fmla="*/ 15029 w 18335"/>
                  <a:gd name="connsiteY0" fmla="*/ 2160 h 18433"/>
                  <a:gd name="connsiteX1" fmla="*/ 2111 w 18335"/>
                  <a:gd name="connsiteY1" fmla="*/ 3296 h 18433"/>
                  <a:gd name="connsiteX2" fmla="*/ 3306 w 18335"/>
                  <a:gd name="connsiteY2" fmla="*/ 16274 h 18433"/>
                  <a:gd name="connsiteX3" fmla="*/ 16225 w 18335"/>
                  <a:gd name="connsiteY3" fmla="*/ 15138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1142" y="-1130"/>
                      <a:pt x="5340" y="-591"/>
                      <a:pt x="2111" y="3296"/>
                    </a:cubicBezTo>
                    <a:cubicBezTo>
                      <a:pt x="-1119" y="7184"/>
                      <a:pt x="-581" y="12985"/>
                      <a:pt x="3306" y="16274"/>
                    </a:cubicBezTo>
                    <a:cubicBezTo>
                      <a:pt x="7194" y="19564"/>
                      <a:pt x="12995" y="19025"/>
                      <a:pt x="16225" y="15138"/>
                    </a:cubicBezTo>
                    <a:cubicBezTo>
                      <a:pt x="19455" y="11250"/>
                      <a:pt x="18916" y="5449"/>
                      <a:pt x="15029" y="2160"/>
                    </a:cubicBezTo>
                    <a:close/>
                  </a:path>
                </a:pathLst>
              </a:custGeom>
              <a:grpFill/>
              <a:ln w="5978" cap="flat">
                <a:noFill/>
                <a:prstDash val="solid"/>
                <a:miter/>
              </a:ln>
            </p:spPr>
            <p:txBody>
              <a:bodyPr rtlCol="0" anchor="ctr"/>
              <a:lstStyle/>
              <a:p>
                <a:endParaRPr lang="en-GB"/>
              </a:p>
            </p:txBody>
          </p:sp>
        </p:grpSp>
        <p:grpSp>
          <p:nvGrpSpPr>
            <p:cNvPr id="460" name="Graphic 3">
              <a:extLst>
                <a:ext uri="{FF2B5EF4-FFF2-40B4-BE49-F238E27FC236}">
                  <a16:creationId xmlns:a16="http://schemas.microsoft.com/office/drawing/2014/main" id="{2DEF7BB0-3445-4012-B996-1CF667C88E91}"/>
                </a:ext>
              </a:extLst>
            </p:cNvPr>
            <p:cNvGrpSpPr/>
            <p:nvPr/>
          </p:nvGrpSpPr>
          <p:grpSpPr>
            <a:xfrm>
              <a:off x="6432647" y="1678569"/>
              <a:ext cx="39110" cy="106736"/>
              <a:chOff x="6432647" y="1678569"/>
              <a:chExt cx="39110" cy="106736"/>
            </a:xfrm>
            <a:grpFill/>
          </p:grpSpPr>
          <p:sp>
            <p:nvSpPr>
              <p:cNvPr id="4005" name="Vrije vorm: vorm 4004">
                <a:extLst>
                  <a:ext uri="{FF2B5EF4-FFF2-40B4-BE49-F238E27FC236}">
                    <a16:creationId xmlns:a16="http://schemas.microsoft.com/office/drawing/2014/main" id="{B1801FDF-5395-4C14-BD4D-ABF2F839E0EA}"/>
                  </a:ext>
                </a:extLst>
              </p:cNvPr>
              <p:cNvSpPr/>
              <p:nvPr/>
            </p:nvSpPr>
            <p:spPr>
              <a:xfrm>
                <a:off x="6440240" y="1687022"/>
                <a:ext cx="23922" cy="89830"/>
              </a:xfrm>
              <a:custGeom>
                <a:avLst/>
                <a:gdLst>
                  <a:gd name="connsiteX0" fmla="*/ 23923 w 23922"/>
                  <a:gd name="connsiteY0" fmla="*/ 718 h 89830"/>
                  <a:gd name="connsiteX1" fmla="*/ 2930 w 23922"/>
                  <a:gd name="connsiteY1" fmla="*/ 89830 h 89830"/>
                  <a:gd name="connsiteX2" fmla="*/ 0 w 23922"/>
                  <a:gd name="connsiteY2" fmla="*/ 89113 h 89830"/>
                  <a:gd name="connsiteX3" fmla="*/ 20992 w 23922"/>
                  <a:gd name="connsiteY3" fmla="*/ 0 h 89830"/>
                </a:gdLst>
                <a:ahLst/>
                <a:cxnLst>
                  <a:cxn ang="0">
                    <a:pos x="connsiteX0" y="connsiteY0"/>
                  </a:cxn>
                  <a:cxn ang="0">
                    <a:pos x="connsiteX1" y="connsiteY1"/>
                  </a:cxn>
                  <a:cxn ang="0">
                    <a:pos x="connsiteX2" y="connsiteY2"/>
                  </a:cxn>
                  <a:cxn ang="0">
                    <a:pos x="connsiteX3" y="connsiteY3"/>
                  </a:cxn>
                </a:cxnLst>
                <a:rect l="l" t="t" r="r" b="b"/>
                <a:pathLst>
                  <a:path w="23922" h="89830">
                    <a:moveTo>
                      <a:pt x="23923" y="718"/>
                    </a:moveTo>
                    <a:lnTo>
                      <a:pt x="2930" y="89830"/>
                    </a:lnTo>
                    <a:lnTo>
                      <a:pt x="0" y="89113"/>
                    </a:lnTo>
                    <a:lnTo>
                      <a:pt x="20992" y="0"/>
                    </a:lnTo>
                    <a:close/>
                  </a:path>
                </a:pathLst>
              </a:custGeom>
              <a:grpFill/>
              <a:ln w="5978" cap="flat">
                <a:noFill/>
                <a:prstDash val="solid"/>
                <a:miter/>
              </a:ln>
            </p:spPr>
            <p:txBody>
              <a:bodyPr rtlCol="0" anchor="ctr"/>
              <a:lstStyle/>
              <a:p>
                <a:endParaRPr lang="en-GB"/>
              </a:p>
            </p:txBody>
          </p:sp>
          <p:sp>
            <p:nvSpPr>
              <p:cNvPr id="4006" name="Vrije vorm: vorm 4005">
                <a:extLst>
                  <a:ext uri="{FF2B5EF4-FFF2-40B4-BE49-F238E27FC236}">
                    <a16:creationId xmlns:a16="http://schemas.microsoft.com/office/drawing/2014/main" id="{1B7ECDEF-7548-4EA3-B06F-9D2600DF7E99}"/>
                  </a:ext>
                </a:extLst>
              </p:cNvPr>
              <p:cNvSpPr/>
              <p:nvPr/>
            </p:nvSpPr>
            <p:spPr>
              <a:xfrm>
                <a:off x="6453437" y="1678569"/>
                <a:ext cx="18319" cy="18461"/>
              </a:xfrm>
              <a:custGeom>
                <a:avLst/>
                <a:gdLst>
                  <a:gd name="connsiteX0" fmla="*/ 260 w 18319"/>
                  <a:gd name="connsiteY0" fmla="*/ 7078 h 18461"/>
                  <a:gd name="connsiteX1" fmla="*/ 11264 w 18319"/>
                  <a:gd name="connsiteY1" fmla="*/ 260 h 18461"/>
                  <a:gd name="connsiteX2" fmla="*/ 18082 w 18319"/>
                  <a:gd name="connsiteY2" fmla="*/ 11384 h 18461"/>
                  <a:gd name="connsiteX3" fmla="*/ 7078 w 18319"/>
                  <a:gd name="connsiteY3" fmla="*/ 18202 h 18461"/>
                  <a:gd name="connsiteX4" fmla="*/ 260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60" y="7078"/>
                    </a:moveTo>
                    <a:cubicBezTo>
                      <a:pt x="1456" y="2114"/>
                      <a:pt x="6360" y="-936"/>
                      <a:pt x="11264" y="260"/>
                    </a:cubicBezTo>
                    <a:cubicBezTo>
                      <a:pt x="16168" y="1456"/>
                      <a:pt x="19218" y="6420"/>
                      <a:pt x="18082" y="11384"/>
                    </a:cubicBezTo>
                    <a:cubicBezTo>
                      <a:pt x="16886" y="16348"/>
                      <a:pt x="11982" y="19398"/>
                      <a:pt x="7078" y="18202"/>
                    </a:cubicBezTo>
                    <a:cubicBezTo>
                      <a:pt x="2114" y="17006"/>
                      <a:pt x="-937" y="12042"/>
                      <a:pt x="260" y="7078"/>
                    </a:cubicBezTo>
                    <a:close/>
                  </a:path>
                </a:pathLst>
              </a:custGeom>
              <a:grpFill/>
              <a:ln w="5978" cap="flat">
                <a:noFill/>
                <a:prstDash val="solid"/>
                <a:miter/>
              </a:ln>
            </p:spPr>
            <p:txBody>
              <a:bodyPr rtlCol="0" anchor="ctr"/>
              <a:lstStyle/>
              <a:p>
                <a:endParaRPr lang="en-GB"/>
              </a:p>
            </p:txBody>
          </p:sp>
          <p:sp>
            <p:nvSpPr>
              <p:cNvPr id="4007" name="Vrije vorm: vorm 4006">
                <a:extLst>
                  <a:ext uri="{FF2B5EF4-FFF2-40B4-BE49-F238E27FC236}">
                    <a16:creationId xmlns:a16="http://schemas.microsoft.com/office/drawing/2014/main" id="{9488B018-E4E9-49E2-BC53-E882727BFBEE}"/>
                  </a:ext>
                </a:extLst>
              </p:cNvPr>
              <p:cNvSpPr/>
              <p:nvPr/>
            </p:nvSpPr>
            <p:spPr>
              <a:xfrm>
                <a:off x="6432647" y="1766844"/>
                <a:ext cx="18319" cy="18461"/>
              </a:xfrm>
              <a:custGeom>
                <a:avLst/>
                <a:gdLst>
                  <a:gd name="connsiteX0" fmla="*/ 238 w 18319"/>
                  <a:gd name="connsiteY0" fmla="*/ 7078 h 18461"/>
                  <a:gd name="connsiteX1" fmla="*/ 7055 w 18319"/>
                  <a:gd name="connsiteY1" fmla="*/ 18202 h 18461"/>
                  <a:gd name="connsiteX2" fmla="*/ 18060 w 18319"/>
                  <a:gd name="connsiteY2" fmla="*/ 11384 h 18461"/>
                  <a:gd name="connsiteX3" fmla="*/ 11242 w 18319"/>
                  <a:gd name="connsiteY3" fmla="*/ 260 h 18461"/>
                  <a:gd name="connsiteX4" fmla="*/ 238 w 18319"/>
                  <a:gd name="connsiteY4" fmla="*/ 7078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1">
                    <a:moveTo>
                      <a:pt x="238" y="7078"/>
                    </a:moveTo>
                    <a:cubicBezTo>
                      <a:pt x="-899" y="12042"/>
                      <a:pt x="2151" y="17006"/>
                      <a:pt x="7055" y="18202"/>
                    </a:cubicBezTo>
                    <a:cubicBezTo>
                      <a:pt x="11960" y="19398"/>
                      <a:pt x="16924" y="16348"/>
                      <a:pt x="18060" y="11384"/>
                    </a:cubicBezTo>
                    <a:cubicBezTo>
                      <a:pt x="19256" y="6420"/>
                      <a:pt x="16206" y="1456"/>
                      <a:pt x="11242" y="260"/>
                    </a:cubicBezTo>
                    <a:cubicBezTo>
                      <a:pt x="6338" y="-937"/>
                      <a:pt x="1433" y="2114"/>
                      <a:pt x="238" y="7078"/>
                    </a:cubicBezTo>
                    <a:close/>
                  </a:path>
                </a:pathLst>
              </a:custGeom>
              <a:grpFill/>
              <a:ln w="5978" cap="flat">
                <a:noFill/>
                <a:prstDash val="solid"/>
                <a:miter/>
              </a:ln>
            </p:spPr>
            <p:txBody>
              <a:bodyPr rtlCol="0" anchor="ctr"/>
              <a:lstStyle/>
              <a:p>
                <a:endParaRPr lang="en-GB"/>
              </a:p>
            </p:txBody>
          </p:sp>
        </p:grpSp>
        <p:grpSp>
          <p:nvGrpSpPr>
            <p:cNvPr id="461" name="Graphic 3">
              <a:extLst>
                <a:ext uri="{FF2B5EF4-FFF2-40B4-BE49-F238E27FC236}">
                  <a16:creationId xmlns:a16="http://schemas.microsoft.com/office/drawing/2014/main" id="{578F9D3C-8621-455D-A732-10BFF3536DB7}"/>
                </a:ext>
              </a:extLst>
            </p:cNvPr>
            <p:cNvGrpSpPr/>
            <p:nvPr/>
          </p:nvGrpSpPr>
          <p:grpSpPr>
            <a:xfrm>
              <a:off x="6340460" y="1463055"/>
              <a:ext cx="105543" cy="309958"/>
              <a:chOff x="6340460" y="1463055"/>
              <a:chExt cx="105543" cy="309958"/>
            </a:xfrm>
            <a:grpFill/>
          </p:grpSpPr>
          <p:sp>
            <p:nvSpPr>
              <p:cNvPr id="4002" name="Vrije vorm: vorm 4001">
                <a:extLst>
                  <a:ext uri="{FF2B5EF4-FFF2-40B4-BE49-F238E27FC236}">
                    <a16:creationId xmlns:a16="http://schemas.microsoft.com/office/drawing/2014/main" id="{9D13D2A8-B2BD-4538-B625-E095089D266E}"/>
                  </a:ext>
                </a:extLst>
              </p:cNvPr>
              <p:cNvSpPr/>
              <p:nvPr/>
            </p:nvSpPr>
            <p:spPr>
              <a:xfrm>
                <a:off x="6348018" y="1471357"/>
                <a:ext cx="90368" cy="293354"/>
              </a:xfrm>
              <a:custGeom>
                <a:avLst/>
                <a:gdLst>
                  <a:gd name="connsiteX0" fmla="*/ 90369 w 90368"/>
                  <a:gd name="connsiteY0" fmla="*/ 897 h 293354"/>
                  <a:gd name="connsiteX1" fmla="*/ 2930 w 90368"/>
                  <a:gd name="connsiteY1" fmla="*/ 293354 h 293354"/>
                  <a:gd name="connsiteX2" fmla="*/ 0 w 90368"/>
                  <a:gd name="connsiteY2" fmla="*/ 292457 h 293354"/>
                  <a:gd name="connsiteX3" fmla="*/ 87498 w 90368"/>
                  <a:gd name="connsiteY3" fmla="*/ 0 h 293354"/>
                </a:gdLst>
                <a:ahLst/>
                <a:cxnLst>
                  <a:cxn ang="0">
                    <a:pos x="connsiteX0" y="connsiteY0"/>
                  </a:cxn>
                  <a:cxn ang="0">
                    <a:pos x="connsiteX1" y="connsiteY1"/>
                  </a:cxn>
                  <a:cxn ang="0">
                    <a:pos x="connsiteX2" y="connsiteY2"/>
                  </a:cxn>
                  <a:cxn ang="0">
                    <a:pos x="connsiteX3" y="connsiteY3"/>
                  </a:cxn>
                </a:cxnLst>
                <a:rect l="l" t="t" r="r" b="b"/>
                <a:pathLst>
                  <a:path w="90368" h="293354">
                    <a:moveTo>
                      <a:pt x="90369" y="897"/>
                    </a:moveTo>
                    <a:lnTo>
                      <a:pt x="2930" y="293354"/>
                    </a:lnTo>
                    <a:lnTo>
                      <a:pt x="0" y="292457"/>
                    </a:lnTo>
                    <a:lnTo>
                      <a:pt x="87498" y="0"/>
                    </a:lnTo>
                    <a:close/>
                  </a:path>
                </a:pathLst>
              </a:custGeom>
              <a:grpFill/>
              <a:ln w="5978" cap="flat">
                <a:noFill/>
                <a:prstDash val="solid"/>
                <a:miter/>
              </a:ln>
            </p:spPr>
            <p:txBody>
              <a:bodyPr rtlCol="0" anchor="ctr"/>
              <a:lstStyle/>
              <a:p>
                <a:endParaRPr lang="en-GB"/>
              </a:p>
            </p:txBody>
          </p:sp>
          <p:sp>
            <p:nvSpPr>
              <p:cNvPr id="4003" name="Vrije vorm: vorm 4002">
                <a:extLst>
                  <a:ext uri="{FF2B5EF4-FFF2-40B4-BE49-F238E27FC236}">
                    <a16:creationId xmlns:a16="http://schemas.microsoft.com/office/drawing/2014/main" id="{304E9412-513B-465B-A2DF-D90E4F18D368}"/>
                  </a:ext>
                </a:extLst>
              </p:cNvPr>
              <p:cNvSpPr/>
              <p:nvPr/>
            </p:nvSpPr>
            <p:spPr>
              <a:xfrm>
                <a:off x="6340460" y="1754616"/>
                <a:ext cx="18344" cy="18398"/>
              </a:xfrm>
              <a:custGeom>
                <a:avLst/>
                <a:gdLst>
                  <a:gd name="connsiteX0" fmla="*/ 17964 w 18344"/>
                  <a:gd name="connsiteY0" fmla="*/ 11890 h 18398"/>
                  <a:gd name="connsiteX1" fmla="*/ 6540 w 18344"/>
                  <a:gd name="connsiteY1" fmla="*/ 17991 h 18398"/>
                  <a:gd name="connsiteX2" fmla="*/ 380 w 18344"/>
                  <a:gd name="connsiteY2" fmla="*/ 6508 h 18398"/>
                  <a:gd name="connsiteX3" fmla="*/ 11803 w 18344"/>
                  <a:gd name="connsiteY3" fmla="*/ 407 h 18398"/>
                  <a:gd name="connsiteX4" fmla="*/ 17964 w 18344"/>
                  <a:gd name="connsiteY4" fmla="*/ 1189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98">
                    <a:moveTo>
                      <a:pt x="17964" y="11890"/>
                    </a:moveTo>
                    <a:cubicBezTo>
                      <a:pt x="16528" y="16735"/>
                      <a:pt x="11385" y="19486"/>
                      <a:pt x="6540" y="17991"/>
                    </a:cubicBezTo>
                    <a:cubicBezTo>
                      <a:pt x="1696" y="16496"/>
                      <a:pt x="-1055" y="11352"/>
                      <a:pt x="380" y="6508"/>
                    </a:cubicBezTo>
                    <a:cubicBezTo>
                      <a:pt x="1816" y="1663"/>
                      <a:pt x="6959" y="-1088"/>
                      <a:pt x="11803" y="407"/>
                    </a:cubicBezTo>
                    <a:cubicBezTo>
                      <a:pt x="16648" y="1903"/>
                      <a:pt x="19399" y="7046"/>
                      <a:pt x="17964" y="11890"/>
                    </a:cubicBezTo>
                    <a:close/>
                  </a:path>
                </a:pathLst>
              </a:custGeom>
              <a:grpFill/>
              <a:ln w="5978" cap="flat">
                <a:noFill/>
                <a:prstDash val="solid"/>
                <a:miter/>
              </a:ln>
            </p:spPr>
            <p:txBody>
              <a:bodyPr rtlCol="0" anchor="ctr"/>
              <a:lstStyle/>
              <a:p>
                <a:endParaRPr lang="en-GB"/>
              </a:p>
            </p:txBody>
          </p:sp>
          <p:sp>
            <p:nvSpPr>
              <p:cNvPr id="4004" name="Vrije vorm: vorm 4003">
                <a:extLst>
                  <a:ext uri="{FF2B5EF4-FFF2-40B4-BE49-F238E27FC236}">
                    <a16:creationId xmlns:a16="http://schemas.microsoft.com/office/drawing/2014/main" id="{50D84246-5278-40DD-A037-A23C24810DE1}"/>
                  </a:ext>
                </a:extLst>
              </p:cNvPr>
              <p:cNvSpPr/>
              <p:nvPr/>
            </p:nvSpPr>
            <p:spPr>
              <a:xfrm>
                <a:off x="6427659" y="1463055"/>
                <a:ext cx="18344" cy="18398"/>
              </a:xfrm>
              <a:custGeom>
                <a:avLst/>
                <a:gdLst>
                  <a:gd name="connsiteX0" fmla="*/ 17964 w 18344"/>
                  <a:gd name="connsiteY0" fmla="*/ 11890 h 18398"/>
                  <a:gd name="connsiteX1" fmla="*/ 11804 w 18344"/>
                  <a:gd name="connsiteY1" fmla="*/ 407 h 18398"/>
                  <a:gd name="connsiteX2" fmla="*/ 381 w 18344"/>
                  <a:gd name="connsiteY2" fmla="*/ 6508 h 18398"/>
                  <a:gd name="connsiteX3" fmla="*/ 6540 w 18344"/>
                  <a:gd name="connsiteY3" fmla="*/ 17991 h 18398"/>
                  <a:gd name="connsiteX4" fmla="*/ 17964 w 18344"/>
                  <a:gd name="connsiteY4" fmla="*/ 1189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98">
                    <a:moveTo>
                      <a:pt x="17964" y="11890"/>
                    </a:moveTo>
                    <a:cubicBezTo>
                      <a:pt x="19399" y="7046"/>
                      <a:pt x="16648" y="1903"/>
                      <a:pt x="11804" y="407"/>
                    </a:cubicBezTo>
                    <a:cubicBezTo>
                      <a:pt x="6959" y="-1088"/>
                      <a:pt x="1816" y="1663"/>
                      <a:pt x="381" y="6508"/>
                    </a:cubicBezTo>
                    <a:cubicBezTo>
                      <a:pt x="-1055" y="11352"/>
                      <a:pt x="1696" y="16496"/>
                      <a:pt x="6540" y="17991"/>
                    </a:cubicBezTo>
                    <a:cubicBezTo>
                      <a:pt x="11385" y="19486"/>
                      <a:pt x="16469" y="16735"/>
                      <a:pt x="17964" y="11890"/>
                    </a:cubicBezTo>
                    <a:close/>
                  </a:path>
                </a:pathLst>
              </a:custGeom>
              <a:grpFill/>
              <a:ln w="5978" cap="flat">
                <a:noFill/>
                <a:prstDash val="solid"/>
                <a:miter/>
              </a:ln>
            </p:spPr>
            <p:txBody>
              <a:bodyPr rtlCol="0" anchor="ctr"/>
              <a:lstStyle/>
              <a:p>
                <a:endParaRPr lang="en-GB"/>
              </a:p>
            </p:txBody>
          </p:sp>
        </p:grpSp>
        <p:grpSp>
          <p:nvGrpSpPr>
            <p:cNvPr id="462" name="Graphic 3">
              <a:extLst>
                <a:ext uri="{FF2B5EF4-FFF2-40B4-BE49-F238E27FC236}">
                  <a16:creationId xmlns:a16="http://schemas.microsoft.com/office/drawing/2014/main" id="{AFF68BC1-342D-4C93-8075-D20A86AB4B92}"/>
                </a:ext>
              </a:extLst>
            </p:cNvPr>
            <p:cNvGrpSpPr/>
            <p:nvPr/>
          </p:nvGrpSpPr>
          <p:grpSpPr>
            <a:xfrm>
              <a:off x="6386964" y="1597562"/>
              <a:ext cx="33468" cy="95328"/>
              <a:chOff x="6386964" y="1597562"/>
              <a:chExt cx="33468" cy="95328"/>
            </a:xfrm>
            <a:grpFill/>
          </p:grpSpPr>
          <p:sp>
            <p:nvSpPr>
              <p:cNvPr id="3999" name="Vrije vorm: vorm 3998">
                <a:extLst>
                  <a:ext uri="{FF2B5EF4-FFF2-40B4-BE49-F238E27FC236}">
                    <a16:creationId xmlns:a16="http://schemas.microsoft.com/office/drawing/2014/main" id="{A55DEE1D-0BAA-4100-832B-30F753D3DADF}"/>
                  </a:ext>
                </a:extLst>
              </p:cNvPr>
              <p:cNvSpPr/>
              <p:nvPr/>
            </p:nvSpPr>
            <p:spPr>
              <a:xfrm>
                <a:off x="6394548" y="1606043"/>
                <a:ext cx="18300" cy="78347"/>
              </a:xfrm>
              <a:custGeom>
                <a:avLst/>
                <a:gdLst>
                  <a:gd name="connsiteX0" fmla="*/ 18301 w 18300"/>
                  <a:gd name="connsiteY0" fmla="*/ 598 h 78347"/>
                  <a:gd name="connsiteX1" fmla="*/ 2990 w 18300"/>
                  <a:gd name="connsiteY1" fmla="*/ 78347 h 78347"/>
                  <a:gd name="connsiteX2" fmla="*/ 0 w 18300"/>
                  <a:gd name="connsiteY2" fmla="*/ 77749 h 78347"/>
                  <a:gd name="connsiteX3" fmla="*/ 15311 w 18300"/>
                  <a:gd name="connsiteY3" fmla="*/ 0 h 78347"/>
                </a:gdLst>
                <a:ahLst/>
                <a:cxnLst>
                  <a:cxn ang="0">
                    <a:pos x="connsiteX0" y="connsiteY0"/>
                  </a:cxn>
                  <a:cxn ang="0">
                    <a:pos x="connsiteX1" y="connsiteY1"/>
                  </a:cxn>
                  <a:cxn ang="0">
                    <a:pos x="connsiteX2" y="connsiteY2"/>
                  </a:cxn>
                  <a:cxn ang="0">
                    <a:pos x="connsiteX3" y="connsiteY3"/>
                  </a:cxn>
                </a:cxnLst>
                <a:rect l="l" t="t" r="r" b="b"/>
                <a:pathLst>
                  <a:path w="18300" h="78347">
                    <a:moveTo>
                      <a:pt x="18301" y="598"/>
                    </a:moveTo>
                    <a:lnTo>
                      <a:pt x="2990" y="78347"/>
                    </a:lnTo>
                    <a:lnTo>
                      <a:pt x="0" y="77749"/>
                    </a:lnTo>
                    <a:lnTo>
                      <a:pt x="15311" y="0"/>
                    </a:lnTo>
                    <a:close/>
                  </a:path>
                </a:pathLst>
              </a:custGeom>
              <a:grpFill/>
              <a:ln w="5978" cap="flat">
                <a:noFill/>
                <a:prstDash val="solid"/>
                <a:miter/>
              </a:ln>
            </p:spPr>
            <p:txBody>
              <a:bodyPr rtlCol="0" anchor="ctr"/>
              <a:lstStyle/>
              <a:p>
                <a:endParaRPr lang="en-GB"/>
              </a:p>
            </p:txBody>
          </p:sp>
          <p:sp>
            <p:nvSpPr>
              <p:cNvPr id="4000" name="Vrije vorm: vorm 3999">
                <a:extLst>
                  <a:ext uri="{FF2B5EF4-FFF2-40B4-BE49-F238E27FC236}">
                    <a16:creationId xmlns:a16="http://schemas.microsoft.com/office/drawing/2014/main" id="{58687C68-82BD-4086-B1FD-9BBF5F249821}"/>
                  </a:ext>
                </a:extLst>
              </p:cNvPr>
              <p:cNvSpPr/>
              <p:nvPr/>
            </p:nvSpPr>
            <p:spPr>
              <a:xfrm>
                <a:off x="6402076" y="1597562"/>
                <a:ext cx="18356" cy="18397"/>
              </a:xfrm>
              <a:custGeom>
                <a:avLst/>
                <a:gdLst>
                  <a:gd name="connsiteX0" fmla="*/ 187 w 18356"/>
                  <a:gd name="connsiteY0" fmla="*/ 7405 h 18397"/>
                  <a:gd name="connsiteX1" fmla="*/ 10952 w 18356"/>
                  <a:gd name="connsiteY1" fmla="*/ 168 h 18397"/>
                  <a:gd name="connsiteX2" fmla="*/ 18189 w 18356"/>
                  <a:gd name="connsiteY2" fmla="*/ 10993 h 18397"/>
                  <a:gd name="connsiteX3" fmla="*/ 7424 w 18356"/>
                  <a:gd name="connsiteY3" fmla="*/ 18230 h 18397"/>
                  <a:gd name="connsiteX4" fmla="*/ 187 w 18356"/>
                  <a:gd name="connsiteY4" fmla="*/ 7405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87" y="7405"/>
                    </a:moveTo>
                    <a:cubicBezTo>
                      <a:pt x="1144" y="2441"/>
                      <a:pt x="5988" y="-789"/>
                      <a:pt x="10952" y="168"/>
                    </a:cubicBezTo>
                    <a:cubicBezTo>
                      <a:pt x="15916" y="1185"/>
                      <a:pt x="19146" y="6029"/>
                      <a:pt x="18189" y="10993"/>
                    </a:cubicBezTo>
                    <a:cubicBezTo>
                      <a:pt x="17232" y="15957"/>
                      <a:pt x="12388" y="19187"/>
                      <a:pt x="7424" y="18230"/>
                    </a:cubicBezTo>
                    <a:cubicBezTo>
                      <a:pt x="2400" y="17273"/>
                      <a:pt x="-830" y="12369"/>
                      <a:pt x="187" y="7405"/>
                    </a:cubicBezTo>
                    <a:close/>
                  </a:path>
                </a:pathLst>
              </a:custGeom>
              <a:grpFill/>
              <a:ln w="5978" cap="flat">
                <a:noFill/>
                <a:prstDash val="solid"/>
                <a:miter/>
              </a:ln>
            </p:spPr>
            <p:txBody>
              <a:bodyPr rtlCol="0" anchor="ctr"/>
              <a:lstStyle/>
              <a:p>
                <a:endParaRPr lang="en-GB"/>
              </a:p>
            </p:txBody>
          </p:sp>
          <p:sp>
            <p:nvSpPr>
              <p:cNvPr id="4001" name="Vrije vorm: vorm 4000">
                <a:extLst>
                  <a:ext uri="{FF2B5EF4-FFF2-40B4-BE49-F238E27FC236}">
                    <a16:creationId xmlns:a16="http://schemas.microsoft.com/office/drawing/2014/main" id="{851AF6C4-CD79-4E9E-AE4C-DF2F15AB6DC9}"/>
                  </a:ext>
                </a:extLst>
              </p:cNvPr>
              <p:cNvSpPr/>
              <p:nvPr/>
            </p:nvSpPr>
            <p:spPr>
              <a:xfrm>
                <a:off x="6386964" y="1674435"/>
                <a:ext cx="18337" cy="18455"/>
              </a:xfrm>
              <a:custGeom>
                <a:avLst/>
                <a:gdLst>
                  <a:gd name="connsiteX0" fmla="*/ 168 w 18337"/>
                  <a:gd name="connsiteY0" fmla="*/ 7384 h 18455"/>
                  <a:gd name="connsiteX1" fmla="*/ 7405 w 18337"/>
                  <a:gd name="connsiteY1" fmla="*/ 18269 h 18455"/>
                  <a:gd name="connsiteX2" fmla="*/ 18170 w 18337"/>
                  <a:gd name="connsiteY2" fmla="*/ 11032 h 18455"/>
                  <a:gd name="connsiteX3" fmla="*/ 10933 w 18337"/>
                  <a:gd name="connsiteY3" fmla="*/ 207 h 18455"/>
                  <a:gd name="connsiteX4" fmla="*/ 168 w 18337"/>
                  <a:gd name="connsiteY4" fmla="*/ 7384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5">
                    <a:moveTo>
                      <a:pt x="168" y="7384"/>
                    </a:moveTo>
                    <a:cubicBezTo>
                      <a:pt x="-789" y="12348"/>
                      <a:pt x="2441" y="17252"/>
                      <a:pt x="7405" y="18269"/>
                    </a:cubicBezTo>
                    <a:cubicBezTo>
                      <a:pt x="12368" y="19286"/>
                      <a:pt x="17213" y="16056"/>
                      <a:pt x="18170" y="11032"/>
                    </a:cubicBezTo>
                    <a:cubicBezTo>
                      <a:pt x="19127" y="6068"/>
                      <a:pt x="15897" y="1164"/>
                      <a:pt x="10933" y="207"/>
                    </a:cubicBezTo>
                    <a:cubicBezTo>
                      <a:pt x="5969" y="-870"/>
                      <a:pt x="1125" y="2360"/>
                      <a:pt x="168" y="7384"/>
                    </a:cubicBezTo>
                    <a:close/>
                  </a:path>
                </a:pathLst>
              </a:custGeom>
              <a:grpFill/>
              <a:ln w="5978" cap="flat">
                <a:noFill/>
                <a:prstDash val="solid"/>
                <a:miter/>
              </a:ln>
            </p:spPr>
            <p:txBody>
              <a:bodyPr rtlCol="0" anchor="ctr"/>
              <a:lstStyle/>
              <a:p>
                <a:endParaRPr lang="en-GB"/>
              </a:p>
            </p:txBody>
          </p:sp>
        </p:grpSp>
        <p:grpSp>
          <p:nvGrpSpPr>
            <p:cNvPr id="463" name="Graphic 3">
              <a:extLst>
                <a:ext uri="{FF2B5EF4-FFF2-40B4-BE49-F238E27FC236}">
                  <a16:creationId xmlns:a16="http://schemas.microsoft.com/office/drawing/2014/main" id="{29DC5D97-0AAE-462E-8BF8-C7322CFD6D38}"/>
                </a:ext>
              </a:extLst>
            </p:cNvPr>
            <p:cNvGrpSpPr/>
            <p:nvPr/>
          </p:nvGrpSpPr>
          <p:grpSpPr>
            <a:xfrm>
              <a:off x="7409235" y="4840482"/>
              <a:ext cx="210165" cy="220058"/>
              <a:chOff x="7409235" y="4840482"/>
              <a:chExt cx="210165" cy="220058"/>
            </a:xfrm>
            <a:grpFill/>
          </p:grpSpPr>
          <p:sp>
            <p:nvSpPr>
              <p:cNvPr id="3996" name="Vrije vorm: vorm 3995">
                <a:extLst>
                  <a:ext uri="{FF2B5EF4-FFF2-40B4-BE49-F238E27FC236}">
                    <a16:creationId xmlns:a16="http://schemas.microsoft.com/office/drawing/2014/main" id="{72C3EB5F-F0E9-4CDF-8775-F03B78C0C31C}"/>
                  </a:ext>
                </a:extLst>
              </p:cNvPr>
              <p:cNvSpPr/>
              <p:nvPr/>
            </p:nvSpPr>
            <p:spPr>
              <a:xfrm>
                <a:off x="7417012" y="4848312"/>
                <a:ext cx="194612" cy="204421"/>
              </a:xfrm>
              <a:custGeom>
                <a:avLst/>
                <a:gdLst>
                  <a:gd name="connsiteX0" fmla="*/ 194613 w 194612"/>
                  <a:gd name="connsiteY0" fmla="*/ 202268 h 204421"/>
                  <a:gd name="connsiteX1" fmla="*/ 192460 w 194612"/>
                  <a:gd name="connsiteY1" fmla="*/ 204421 h 204421"/>
                  <a:gd name="connsiteX2" fmla="*/ 0 w 194612"/>
                  <a:gd name="connsiteY2" fmla="*/ 2153 h 204421"/>
                  <a:gd name="connsiteX3" fmla="*/ 2154 w 194612"/>
                  <a:gd name="connsiteY3" fmla="*/ 0 h 204421"/>
                </a:gdLst>
                <a:ahLst/>
                <a:cxnLst>
                  <a:cxn ang="0">
                    <a:pos x="connsiteX0" y="connsiteY0"/>
                  </a:cxn>
                  <a:cxn ang="0">
                    <a:pos x="connsiteX1" y="connsiteY1"/>
                  </a:cxn>
                  <a:cxn ang="0">
                    <a:pos x="connsiteX2" y="connsiteY2"/>
                  </a:cxn>
                  <a:cxn ang="0">
                    <a:pos x="connsiteX3" y="connsiteY3"/>
                  </a:cxn>
                </a:cxnLst>
                <a:rect l="l" t="t" r="r" b="b"/>
                <a:pathLst>
                  <a:path w="194612" h="204421">
                    <a:moveTo>
                      <a:pt x="194613" y="202268"/>
                    </a:moveTo>
                    <a:lnTo>
                      <a:pt x="192460" y="204421"/>
                    </a:lnTo>
                    <a:lnTo>
                      <a:pt x="0" y="2153"/>
                    </a:lnTo>
                    <a:lnTo>
                      <a:pt x="2154" y="0"/>
                    </a:lnTo>
                    <a:close/>
                  </a:path>
                </a:pathLst>
              </a:custGeom>
              <a:grpFill/>
              <a:ln w="5978" cap="flat">
                <a:noFill/>
                <a:prstDash val="solid"/>
                <a:miter/>
              </a:ln>
            </p:spPr>
            <p:txBody>
              <a:bodyPr rtlCol="0" anchor="ctr"/>
              <a:lstStyle/>
              <a:p>
                <a:endParaRPr lang="en-GB"/>
              </a:p>
            </p:txBody>
          </p:sp>
          <p:sp>
            <p:nvSpPr>
              <p:cNvPr id="3997" name="Vrije vorm: vorm 3996">
                <a:extLst>
                  <a:ext uri="{FF2B5EF4-FFF2-40B4-BE49-F238E27FC236}">
                    <a16:creationId xmlns:a16="http://schemas.microsoft.com/office/drawing/2014/main" id="{C4EF3A06-0397-4E0E-836B-1B6C85E775EF}"/>
                  </a:ext>
                </a:extLst>
              </p:cNvPr>
              <p:cNvSpPr/>
              <p:nvPr/>
            </p:nvSpPr>
            <p:spPr>
              <a:xfrm>
                <a:off x="7601037" y="5042114"/>
                <a:ext cx="18364" cy="18426"/>
              </a:xfrm>
              <a:custGeom>
                <a:avLst/>
                <a:gdLst>
                  <a:gd name="connsiteX0" fmla="*/ 15791 w 18364"/>
                  <a:gd name="connsiteY0" fmla="*/ 2844 h 18426"/>
                  <a:gd name="connsiteX1" fmla="*/ 15551 w 18364"/>
                  <a:gd name="connsiteY1" fmla="*/ 15882 h 18426"/>
                  <a:gd name="connsiteX2" fmla="*/ 2574 w 18364"/>
                  <a:gd name="connsiteY2" fmla="*/ 15583 h 18426"/>
                  <a:gd name="connsiteX3" fmla="*/ 2812 w 18364"/>
                  <a:gd name="connsiteY3" fmla="*/ 2545 h 18426"/>
                  <a:gd name="connsiteX4" fmla="*/ 15791 w 18364"/>
                  <a:gd name="connsiteY4" fmla="*/ 284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15791" y="2844"/>
                    </a:moveTo>
                    <a:cubicBezTo>
                      <a:pt x="19319" y="6552"/>
                      <a:pt x="19200" y="12353"/>
                      <a:pt x="15551" y="15882"/>
                    </a:cubicBezTo>
                    <a:cubicBezTo>
                      <a:pt x="11903" y="19410"/>
                      <a:pt x="6102" y="19231"/>
                      <a:pt x="2574" y="15583"/>
                    </a:cubicBezTo>
                    <a:cubicBezTo>
                      <a:pt x="-955" y="11875"/>
                      <a:pt x="-836" y="6073"/>
                      <a:pt x="2812" y="2545"/>
                    </a:cubicBezTo>
                    <a:cubicBezTo>
                      <a:pt x="6521" y="-984"/>
                      <a:pt x="12322" y="-804"/>
                      <a:pt x="15791" y="2844"/>
                    </a:cubicBezTo>
                    <a:close/>
                  </a:path>
                </a:pathLst>
              </a:custGeom>
              <a:grpFill/>
              <a:ln w="5978" cap="flat">
                <a:noFill/>
                <a:prstDash val="solid"/>
                <a:miter/>
              </a:ln>
            </p:spPr>
            <p:txBody>
              <a:bodyPr rtlCol="0" anchor="ctr"/>
              <a:lstStyle/>
              <a:p>
                <a:endParaRPr lang="en-GB"/>
              </a:p>
            </p:txBody>
          </p:sp>
          <p:sp>
            <p:nvSpPr>
              <p:cNvPr id="3998" name="Vrije vorm: vorm 3997">
                <a:extLst>
                  <a:ext uri="{FF2B5EF4-FFF2-40B4-BE49-F238E27FC236}">
                    <a16:creationId xmlns:a16="http://schemas.microsoft.com/office/drawing/2014/main" id="{C07F64A6-4AF8-416D-84D8-BC6A5478E736}"/>
                  </a:ext>
                </a:extLst>
              </p:cNvPr>
              <p:cNvSpPr/>
              <p:nvPr/>
            </p:nvSpPr>
            <p:spPr>
              <a:xfrm>
                <a:off x="7409235" y="4840482"/>
                <a:ext cx="18319" cy="18470"/>
              </a:xfrm>
              <a:custGeom>
                <a:avLst/>
                <a:gdLst>
                  <a:gd name="connsiteX0" fmla="*/ 15791 w 18319"/>
                  <a:gd name="connsiteY0" fmla="*/ 2866 h 18470"/>
                  <a:gd name="connsiteX1" fmla="*/ 2813 w 18319"/>
                  <a:gd name="connsiteY1" fmla="*/ 2567 h 18470"/>
                  <a:gd name="connsiteX2" fmla="*/ 2573 w 18319"/>
                  <a:gd name="connsiteY2" fmla="*/ 15605 h 18470"/>
                  <a:gd name="connsiteX3" fmla="*/ 15552 w 18319"/>
                  <a:gd name="connsiteY3" fmla="*/ 15903 h 18470"/>
                  <a:gd name="connsiteX4" fmla="*/ 15791 w 18319"/>
                  <a:gd name="connsiteY4" fmla="*/ 286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5791" y="2866"/>
                    </a:moveTo>
                    <a:cubicBezTo>
                      <a:pt x="12262" y="-842"/>
                      <a:pt x="6461" y="-962"/>
                      <a:pt x="2813" y="2567"/>
                    </a:cubicBezTo>
                    <a:cubicBezTo>
                      <a:pt x="-836" y="6095"/>
                      <a:pt x="-955" y="11897"/>
                      <a:pt x="2573" y="15605"/>
                    </a:cubicBezTo>
                    <a:cubicBezTo>
                      <a:pt x="6102" y="19313"/>
                      <a:pt x="11903" y="19432"/>
                      <a:pt x="15552" y="15903"/>
                    </a:cubicBezTo>
                    <a:cubicBezTo>
                      <a:pt x="19140" y="12435"/>
                      <a:pt x="19260" y="6574"/>
                      <a:pt x="15791" y="2866"/>
                    </a:cubicBezTo>
                    <a:close/>
                  </a:path>
                </a:pathLst>
              </a:custGeom>
              <a:grpFill/>
              <a:ln w="5978" cap="flat">
                <a:noFill/>
                <a:prstDash val="solid"/>
                <a:miter/>
              </a:ln>
            </p:spPr>
            <p:txBody>
              <a:bodyPr rtlCol="0" anchor="ctr"/>
              <a:lstStyle/>
              <a:p>
                <a:endParaRPr lang="en-GB"/>
              </a:p>
            </p:txBody>
          </p:sp>
        </p:grpSp>
        <p:grpSp>
          <p:nvGrpSpPr>
            <p:cNvPr id="464" name="Graphic 3">
              <a:extLst>
                <a:ext uri="{FF2B5EF4-FFF2-40B4-BE49-F238E27FC236}">
                  <a16:creationId xmlns:a16="http://schemas.microsoft.com/office/drawing/2014/main" id="{921D8EC4-5652-4677-9D13-6541E3335AC6}"/>
                </a:ext>
              </a:extLst>
            </p:cNvPr>
            <p:cNvGrpSpPr/>
            <p:nvPr/>
          </p:nvGrpSpPr>
          <p:grpSpPr>
            <a:xfrm>
              <a:off x="7323052" y="4521951"/>
              <a:ext cx="130384" cy="116130"/>
              <a:chOff x="7323052" y="4521951"/>
              <a:chExt cx="130384" cy="116130"/>
            </a:xfrm>
            <a:grpFill/>
          </p:grpSpPr>
          <p:sp>
            <p:nvSpPr>
              <p:cNvPr id="3993" name="Vrije vorm: vorm 3992">
                <a:extLst>
                  <a:ext uri="{FF2B5EF4-FFF2-40B4-BE49-F238E27FC236}">
                    <a16:creationId xmlns:a16="http://schemas.microsoft.com/office/drawing/2014/main" id="{330583F0-33D2-455F-A6F2-353211F85300}"/>
                  </a:ext>
                </a:extLst>
              </p:cNvPr>
              <p:cNvSpPr/>
              <p:nvPr/>
            </p:nvSpPr>
            <p:spPr>
              <a:xfrm>
                <a:off x="7330890" y="4529719"/>
                <a:ext cx="114709" cy="100655"/>
              </a:xfrm>
              <a:custGeom>
                <a:avLst/>
                <a:gdLst>
                  <a:gd name="connsiteX0" fmla="*/ 114710 w 114709"/>
                  <a:gd name="connsiteY0" fmla="*/ 98323 h 100655"/>
                  <a:gd name="connsiteX1" fmla="*/ 112736 w 114709"/>
                  <a:gd name="connsiteY1" fmla="*/ 100656 h 100655"/>
                  <a:gd name="connsiteX2" fmla="*/ 0 w 114709"/>
                  <a:gd name="connsiteY2" fmla="*/ 2273 h 100655"/>
                  <a:gd name="connsiteX3" fmla="*/ 1973 w 114709"/>
                  <a:gd name="connsiteY3" fmla="*/ 0 h 100655"/>
                </a:gdLst>
                <a:ahLst/>
                <a:cxnLst>
                  <a:cxn ang="0">
                    <a:pos x="connsiteX0" y="connsiteY0"/>
                  </a:cxn>
                  <a:cxn ang="0">
                    <a:pos x="connsiteX1" y="connsiteY1"/>
                  </a:cxn>
                  <a:cxn ang="0">
                    <a:pos x="connsiteX2" y="connsiteY2"/>
                  </a:cxn>
                  <a:cxn ang="0">
                    <a:pos x="connsiteX3" y="connsiteY3"/>
                  </a:cxn>
                </a:cxnLst>
                <a:rect l="l" t="t" r="r" b="b"/>
                <a:pathLst>
                  <a:path w="114709" h="100655">
                    <a:moveTo>
                      <a:pt x="114710" y="98323"/>
                    </a:moveTo>
                    <a:lnTo>
                      <a:pt x="112736" y="100656"/>
                    </a:lnTo>
                    <a:lnTo>
                      <a:pt x="0" y="2273"/>
                    </a:lnTo>
                    <a:lnTo>
                      <a:pt x="1973" y="0"/>
                    </a:lnTo>
                    <a:close/>
                  </a:path>
                </a:pathLst>
              </a:custGeom>
              <a:grpFill/>
              <a:ln w="5978" cap="flat">
                <a:noFill/>
                <a:prstDash val="solid"/>
                <a:miter/>
              </a:ln>
            </p:spPr>
            <p:txBody>
              <a:bodyPr rtlCol="0" anchor="ctr"/>
              <a:lstStyle/>
              <a:p>
                <a:endParaRPr lang="en-GB"/>
              </a:p>
            </p:txBody>
          </p:sp>
          <p:sp>
            <p:nvSpPr>
              <p:cNvPr id="3994" name="Vrije vorm: vorm 3993">
                <a:extLst>
                  <a:ext uri="{FF2B5EF4-FFF2-40B4-BE49-F238E27FC236}">
                    <a16:creationId xmlns:a16="http://schemas.microsoft.com/office/drawing/2014/main" id="{188F6EC9-61D0-4705-8B29-23790D79FFEB}"/>
                  </a:ext>
                </a:extLst>
              </p:cNvPr>
              <p:cNvSpPr/>
              <p:nvPr/>
            </p:nvSpPr>
            <p:spPr>
              <a:xfrm>
                <a:off x="7435131" y="4619676"/>
                <a:ext cx="18305" cy="18405"/>
              </a:xfrm>
              <a:custGeom>
                <a:avLst/>
                <a:gdLst>
                  <a:gd name="connsiteX0" fmla="*/ 15134 w 18305"/>
                  <a:gd name="connsiteY0" fmla="*/ 2265 h 18405"/>
                  <a:gd name="connsiteX1" fmla="*/ 16091 w 18305"/>
                  <a:gd name="connsiteY1" fmla="*/ 15244 h 18405"/>
                  <a:gd name="connsiteX2" fmla="*/ 3172 w 18305"/>
                  <a:gd name="connsiteY2" fmla="*/ 16141 h 18405"/>
                  <a:gd name="connsiteX3" fmla="*/ 2215 w 18305"/>
                  <a:gd name="connsiteY3" fmla="*/ 3163 h 18405"/>
                  <a:gd name="connsiteX4" fmla="*/ 15134 w 18305"/>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05">
                    <a:moveTo>
                      <a:pt x="15134" y="2265"/>
                    </a:moveTo>
                    <a:cubicBezTo>
                      <a:pt x="18961" y="5615"/>
                      <a:pt x="19380" y="11416"/>
                      <a:pt x="16091" y="15244"/>
                    </a:cubicBezTo>
                    <a:cubicBezTo>
                      <a:pt x="12801" y="19071"/>
                      <a:pt x="7000" y="19490"/>
                      <a:pt x="3172" y="16141"/>
                    </a:cubicBezTo>
                    <a:cubicBezTo>
                      <a:pt x="-656" y="12791"/>
                      <a:pt x="-1074" y="6990"/>
                      <a:pt x="2215" y="3163"/>
                    </a:cubicBezTo>
                    <a:cubicBezTo>
                      <a:pt x="5505" y="-665"/>
                      <a:pt x="11306" y="-1084"/>
                      <a:pt x="15134" y="2265"/>
                    </a:cubicBezTo>
                    <a:close/>
                  </a:path>
                </a:pathLst>
              </a:custGeom>
              <a:grpFill/>
              <a:ln w="5978" cap="flat">
                <a:noFill/>
                <a:prstDash val="solid"/>
                <a:miter/>
              </a:ln>
            </p:spPr>
            <p:txBody>
              <a:bodyPr rtlCol="0" anchor="ctr"/>
              <a:lstStyle/>
              <a:p>
                <a:endParaRPr lang="en-GB"/>
              </a:p>
            </p:txBody>
          </p:sp>
          <p:sp>
            <p:nvSpPr>
              <p:cNvPr id="3995" name="Vrije vorm: vorm 3994">
                <a:extLst>
                  <a:ext uri="{FF2B5EF4-FFF2-40B4-BE49-F238E27FC236}">
                    <a16:creationId xmlns:a16="http://schemas.microsoft.com/office/drawing/2014/main" id="{098BEAAF-BD0B-4519-84E8-CE8DC762EA7D}"/>
                  </a:ext>
                </a:extLst>
              </p:cNvPr>
              <p:cNvSpPr/>
              <p:nvPr/>
            </p:nvSpPr>
            <p:spPr>
              <a:xfrm>
                <a:off x="7323052" y="4521951"/>
                <a:ext cx="18326" cy="18405"/>
              </a:xfrm>
              <a:custGeom>
                <a:avLst/>
                <a:gdLst>
                  <a:gd name="connsiteX0" fmla="*/ 15134 w 18326"/>
                  <a:gd name="connsiteY0" fmla="*/ 2265 h 18405"/>
                  <a:gd name="connsiteX1" fmla="*/ 2215 w 18326"/>
                  <a:gd name="connsiteY1" fmla="*/ 3162 h 18405"/>
                  <a:gd name="connsiteX2" fmla="*/ 3172 w 18326"/>
                  <a:gd name="connsiteY2" fmla="*/ 16141 h 18405"/>
                  <a:gd name="connsiteX3" fmla="*/ 16091 w 18326"/>
                  <a:gd name="connsiteY3" fmla="*/ 15243 h 18405"/>
                  <a:gd name="connsiteX4" fmla="*/ 15134 w 18326"/>
                  <a:gd name="connsiteY4" fmla="*/ 2265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05">
                    <a:moveTo>
                      <a:pt x="15134" y="2265"/>
                    </a:moveTo>
                    <a:cubicBezTo>
                      <a:pt x="11306" y="-1084"/>
                      <a:pt x="5505" y="-665"/>
                      <a:pt x="2215" y="3162"/>
                    </a:cubicBezTo>
                    <a:cubicBezTo>
                      <a:pt x="-1074" y="6990"/>
                      <a:pt x="-656" y="12791"/>
                      <a:pt x="3172" y="16141"/>
                    </a:cubicBezTo>
                    <a:cubicBezTo>
                      <a:pt x="7000" y="19490"/>
                      <a:pt x="12801" y="19071"/>
                      <a:pt x="16091" y="15243"/>
                    </a:cubicBezTo>
                    <a:cubicBezTo>
                      <a:pt x="19380" y="11416"/>
                      <a:pt x="19021" y="5615"/>
                      <a:pt x="15134" y="2265"/>
                    </a:cubicBezTo>
                    <a:close/>
                  </a:path>
                </a:pathLst>
              </a:custGeom>
              <a:grpFill/>
              <a:ln w="5978" cap="flat">
                <a:noFill/>
                <a:prstDash val="solid"/>
                <a:miter/>
              </a:ln>
            </p:spPr>
            <p:txBody>
              <a:bodyPr rtlCol="0" anchor="ctr"/>
              <a:lstStyle/>
              <a:p>
                <a:endParaRPr lang="en-GB"/>
              </a:p>
            </p:txBody>
          </p:sp>
        </p:grpSp>
        <p:grpSp>
          <p:nvGrpSpPr>
            <p:cNvPr id="465" name="Graphic 3">
              <a:extLst>
                <a:ext uri="{FF2B5EF4-FFF2-40B4-BE49-F238E27FC236}">
                  <a16:creationId xmlns:a16="http://schemas.microsoft.com/office/drawing/2014/main" id="{3420E6B8-7120-454E-8EB8-548024D03176}"/>
                </a:ext>
              </a:extLst>
            </p:cNvPr>
            <p:cNvGrpSpPr/>
            <p:nvPr/>
          </p:nvGrpSpPr>
          <p:grpSpPr>
            <a:xfrm>
              <a:off x="6401275" y="1690039"/>
              <a:ext cx="34213" cy="91930"/>
              <a:chOff x="6401275" y="1690039"/>
              <a:chExt cx="34213" cy="91930"/>
            </a:xfrm>
            <a:grpFill/>
          </p:grpSpPr>
          <p:sp>
            <p:nvSpPr>
              <p:cNvPr id="3990" name="Vrije vorm: vorm 3989">
                <a:extLst>
                  <a:ext uri="{FF2B5EF4-FFF2-40B4-BE49-F238E27FC236}">
                    <a16:creationId xmlns:a16="http://schemas.microsoft.com/office/drawing/2014/main" id="{4274B771-F814-4E3E-BB4B-1B7289BF53F1}"/>
                  </a:ext>
                </a:extLst>
              </p:cNvPr>
              <p:cNvSpPr/>
              <p:nvPr/>
            </p:nvSpPr>
            <p:spPr>
              <a:xfrm>
                <a:off x="6408842" y="1698445"/>
                <a:ext cx="19078" cy="75117"/>
              </a:xfrm>
              <a:custGeom>
                <a:avLst/>
                <a:gdLst>
                  <a:gd name="connsiteX0" fmla="*/ 19079 w 19078"/>
                  <a:gd name="connsiteY0" fmla="*/ 658 h 75117"/>
                  <a:gd name="connsiteX1" fmla="*/ 2990 w 19078"/>
                  <a:gd name="connsiteY1" fmla="*/ 75118 h 75117"/>
                  <a:gd name="connsiteX2" fmla="*/ 0 w 19078"/>
                  <a:gd name="connsiteY2" fmla="*/ 74460 h 75117"/>
                  <a:gd name="connsiteX3" fmla="*/ 16088 w 19078"/>
                  <a:gd name="connsiteY3" fmla="*/ 0 h 75117"/>
                </a:gdLst>
                <a:ahLst/>
                <a:cxnLst>
                  <a:cxn ang="0">
                    <a:pos x="connsiteX0" y="connsiteY0"/>
                  </a:cxn>
                  <a:cxn ang="0">
                    <a:pos x="connsiteX1" y="connsiteY1"/>
                  </a:cxn>
                  <a:cxn ang="0">
                    <a:pos x="connsiteX2" y="connsiteY2"/>
                  </a:cxn>
                  <a:cxn ang="0">
                    <a:pos x="connsiteX3" y="connsiteY3"/>
                  </a:cxn>
                </a:cxnLst>
                <a:rect l="l" t="t" r="r" b="b"/>
                <a:pathLst>
                  <a:path w="19078" h="75117">
                    <a:moveTo>
                      <a:pt x="19079" y="658"/>
                    </a:moveTo>
                    <a:lnTo>
                      <a:pt x="2990" y="75118"/>
                    </a:lnTo>
                    <a:lnTo>
                      <a:pt x="0" y="74460"/>
                    </a:lnTo>
                    <a:lnTo>
                      <a:pt x="16088" y="0"/>
                    </a:lnTo>
                    <a:close/>
                  </a:path>
                </a:pathLst>
              </a:custGeom>
              <a:grpFill/>
              <a:ln w="5978" cap="flat">
                <a:noFill/>
                <a:prstDash val="solid"/>
                <a:miter/>
              </a:ln>
            </p:spPr>
            <p:txBody>
              <a:bodyPr rtlCol="0" anchor="ctr"/>
              <a:lstStyle/>
              <a:p>
                <a:endParaRPr lang="en-GB"/>
              </a:p>
            </p:txBody>
          </p:sp>
          <p:sp>
            <p:nvSpPr>
              <p:cNvPr id="3991" name="Vrije vorm: vorm 3990">
                <a:extLst>
                  <a:ext uri="{FF2B5EF4-FFF2-40B4-BE49-F238E27FC236}">
                    <a16:creationId xmlns:a16="http://schemas.microsoft.com/office/drawing/2014/main" id="{483F75AF-3CCF-4202-AE44-FBB8E6503EA0}"/>
                  </a:ext>
                </a:extLst>
              </p:cNvPr>
              <p:cNvSpPr/>
              <p:nvPr/>
            </p:nvSpPr>
            <p:spPr>
              <a:xfrm>
                <a:off x="6417181" y="1690039"/>
                <a:ext cx="18307" cy="18445"/>
              </a:xfrm>
              <a:custGeom>
                <a:avLst/>
                <a:gdLst>
                  <a:gd name="connsiteX0" fmla="*/ 213 w 18307"/>
                  <a:gd name="connsiteY0" fmla="*/ 7210 h 18445"/>
                  <a:gd name="connsiteX1" fmla="*/ 11098 w 18307"/>
                  <a:gd name="connsiteY1" fmla="*/ 213 h 18445"/>
                  <a:gd name="connsiteX2" fmla="*/ 18095 w 18307"/>
                  <a:gd name="connsiteY2" fmla="*/ 11217 h 18445"/>
                  <a:gd name="connsiteX3" fmla="*/ 7210 w 18307"/>
                  <a:gd name="connsiteY3" fmla="*/ 18215 h 18445"/>
                  <a:gd name="connsiteX4" fmla="*/ 213 w 18307"/>
                  <a:gd name="connsiteY4" fmla="*/ 721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45">
                    <a:moveTo>
                      <a:pt x="213" y="7210"/>
                    </a:moveTo>
                    <a:cubicBezTo>
                      <a:pt x="1289" y="2246"/>
                      <a:pt x="6194" y="-864"/>
                      <a:pt x="11098" y="213"/>
                    </a:cubicBezTo>
                    <a:cubicBezTo>
                      <a:pt x="16062" y="1289"/>
                      <a:pt x="19172" y="6253"/>
                      <a:pt x="18095" y="11217"/>
                    </a:cubicBezTo>
                    <a:cubicBezTo>
                      <a:pt x="17019" y="16181"/>
                      <a:pt x="12114" y="19351"/>
                      <a:pt x="7210" y="18215"/>
                    </a:cubicBezTo>
                    <a:cubicBezTo>
                      <a:pt x="2246" y="17078"/>
                      <a:pt x="-864" y="12174"/>
                      <a:pt x="213" y="7210"/>
                    </a:cubicBezTo>
                    <a:close/>
                  </a:path>
                </a:pathLst>
              </a:custGeom>
              <a:grpFill/>
              <a:ln w="5978" cap="flat">
                <a:noFill/>
                <a:prstDash val="solid"/>
                <a:miter/>
              </a:ln>
            </p:spPr>
            <p:txBody>
              <a:bodyPr rtlCol="0" anchor="ctr"/>
              <a:lstStyle/>
              <a:p>
                <a:endParaRPr lang="en-GB"/>
              </a:p>
            </p:txBody>
          </p:sp>
          <p:sp>
            <p:nvSpPr>
              <p:cNvPr id="3992" name="Vrije vorm: vorm 3991">
                <a:extLst>
                  <a:ext uri="{FF2B5EF4-FFF2-40B4-BE49-F238E27FC236}">
                    <a16:creationId xmlns:a16="http://schemas.microsoft.com/office/drawing/2014/main" id="{A3E400AD-2615-48A7-A1A7-0E9A92C611BB}"/>
                  </a:ext>
                </a:extLst>
              </p:cNvPr>
              <p:cNvSpPr/>
              <p:nvPr/>
            </p:nvSpPr>
            <p:spPr>
              <a:xfrm>
                <a:off x="6401275" y="1763542"/>
                <a:ext cx="18302" cy="18427"/>
              </a:xfrm>
              <a:custGeom>
                <a:avLst/>
                <a:gdLst>
                  <a:gd name="connsiteX0" fmla="*/ 210 w 18302"/>
                  <a:gd name="connsiteY0" fmla="*/ 7210 h 18427"/>
                  <a:gd name="connsiteX1" fmla="*/ 7208 w 18302"/>
                  <a:gd name="connsiteY1" fmla="*/ 18215 h 18427"/>
                  <a:gd name="connsiteX2" fmla="*/ 18093 w 18302"/>
                  <a:gd name="connsiteY2" fmla="*/ 11217 h 18427"/>
                  <a:gd name="connsiteX3" fmla="*/ 11095 w 18302"/>
                  <a:gd name="connsiteY3" fmla="*/ 213 h 18427"/>
                  <a:gd name="connsiteX4" fmla="*/ 210 w 18302"/>
                  <a:gd name="connsiteY4" fmla="*/ 7210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7">
                    <a:moveTo>
                      <a:pt x="210" y="7210"/>
                    </a:moveTo>
                    <a:cubicBezTo>
                      <a:pt x="-867" y="12174"/>
                      <a:pt x="2303" y="17079"/>
                      <a:pt x="7208" y="18215"/>
                    </a:cubicBezTo>
                    <a:cubicBezTo>
                      <a:pt x="12172" y="19291"/>
                      <a:pt x="17016" y="16181"/>
                      <a:pt x="18093" y="11217"/>
                    </a:cubicBezTo>
                    <a:cubicBezTo>
                      <a:pt x="19169" y="6253"/>
                      <a:pt x="15999" y="1349"/>
                      <a:pt x="11095" y="213"/>
                    </a:cubicBezTo>
                    <a:cubicBezTo>
                      <a:pt x="6191" y="-864"/>
                      <a:pt x="1287" y="2246"/>
                      <a:pt x="210" y="7210"/>
                    </a:cubicBezTo>
                    <a:close/>
                  </a:path>
                </a:pathLst>
              </a:custGeom>
              <a:grpFill/>
              <a:ln w="5978" cap="flat">
                <a:noFill/>
                <a:prstDash val="solid"/>
                <a:miter/>
              </a:ln>
            </p:spPr>
            <p:txBody>
              <a:bodyPr rtlCol="0" anchor="ctr"/>
              <a:lstStyle/>
              <a:p>
                <a:endParaRPr lang="en-GB"/>
              </a:p>
            </p:txBody>
          </p:sp>
        </p:grpSp>
        <p:grpSp>
          <p:nvGrpSpPr>
            <p:cNvPr id="466" name="Graphic 3">
              <a:extLst>
                <a:ext uri="{FF2B5EF4-FFF2-40B4-BE49-F238E27FC236}">
                  <a16:creationId xmlns:a16="http://schemas.microsoft.com/office/drawing/2014/main" id="{00200ECC-FC79-44EE-A5E0-4B952816D8B7}"/>
                </a:ext>
              </a:extLst>
            </p:cNvPr>
            <p:cNvGrpSpPr/>
            <p:nvPr/>
          </p:nvGrpSpPr>
          <p:grpSpPr>
            <a:xfrm>
              <a:off x="7267425" y="4557069"/>
              <a:ext cx="343350" cy="377287"/>
              <a:chOff x="7267425" y="4557069"/>
              <a:chExt cx="343350" cy="377287"/>
            </a:xfrm>
            <a:grpFill/>
          </p:grpSpPr>
          <p:sp>
            <p:nvSpPr>
              <p:cNvPr id="3987" name="Vrije vorm: vorm 3986">
                <a:extLst>
                  <a:ext uri="{FF2B5EF4-FFF2-40B4-BE49-F238E27FC236}">
                    <a16:creationId xmlns:a16="http://schemas.microsoft.com/office/drawing/2014/main" id="{AD9AF432-EC24-433E-9354-ED70AB700060}"/>
                  </a:ext>
                </a:extLst>
              </p:cNvPr>
              <p:cNvSpPr/>
              <p:nvPr/>
            </p:nvSpPr>
            <p:spPr>
              <a:xfrm>
                <a:off x="7275149" y="4564945"/>
                <a:ext cx="327923" cy="361534"/>
              </a:xfrm>
              <a:custGeom>
                <a:avLst/>
                <a:gdLst>
                  <a:gd name="connsiteX0" fmla="*/ 327923 w 327923"/>
                  <a:gd name="connsiteY0" fmla="*/ 359501 h 361534"/>
                  <a:gd name="connsiteX1" fmla="*/ 325651 w 327923"/>
                  <a:gd name="connsiteY1" fmla="*/ 361535 h 361534"/>
                  <a:gd name="connsiteX2" fmla="*/ 0 w 327923"/>
                  <a:gd name="connsiteY2" fmla="*/ 2033 h 361534"/>
                  <a:gd name="connsiteX3" fmla="*/ 2273 w 327923"/>
                  <a:gd name="connsiteY3" fmla="*/ 0 h 361534"/>
                </a:gdLst>
                <a:ahLst/>
                <a:cxnLst>
                  <a:cxn ang="0">
                    <a:pos x="connsiteX0" y="connsiteY0"/>
                  </a:cxn>
                  <a:cxn ang="0">
                    <a:pos x="connsiteX1" y="connsiteY1"/>
                  </a:cxn>
                  <a:cxn ang="0">
                    <a:pos x="connsiteX2" y="connsiteY2"/>
                  </a:cxn>
                  <a:cxn ang="0">
                    <a:pos x="connsiteX3" y="connsiteY3"/>
                  </a:cxn>
                </a:cxnLst>
                <a:rect l="l" t="t" r="r" b="b"/>
                <a:pathLst>
                  <a:path w="327923" h="361534">
                    <a:moveTo>
                      <a:pt x="327923" y="359501"/>
                    </a:moveTo>
                    <a:lnTo>
                      <a:pt x="325651" y="361535"/>
                    </a:lnTo>
                    <a:lnTo>
                      <a:pt x="0" y="2033"/>
                    </a:lnTo>
                    <a:lnTo>
                      <a:pt x="2273" y="0"/>
                    </a:lnTo>
                    <a:close/>
                  </a:path>
                </a:pathLst>
              </a:custGeom>
              <a:grpFill/>
              <a:ln w="5978" cap="flat">
                <a:noFill/>
                <a:prstDash val="solid"/>
                <a:miter/>
              </a:ln>
            </p:spPr>
            <p:txBody>
              <a:bodyPr rtlCol="0" anchor="ctr"/>
              <a:lstStyle/>
              <a:p>
                <a:endParaRPr lang="en-GB"/>
              </a:p>
            </p:txBody>
          </p:sp>
          <p:sp>
            <p:nvSpPr>
              <p:cNvPr id="3988" name="Vrije vorm: vorm 3987">
                <a:extLst>
                  <a:ext uri="{FF2B5EF4-FFF2-40B4-BE49-F238E27FC236}">
                    <a16:creationId xmlns:a16="http://schemas.microsoft.com/office/drawing/2014/main" id="{137D3E08-3020-4131-A8FE-F50663BDBB36}"/>
                  </a:ext>
                </a:extLst>
              </p:cNvPr>
              <p:cNvSpPr/>
              <p:nvPr/>
            </p:nvSpPr>
            <p:spPr>
              <a:xfrm>
                <a:off x="7267425" y="4557069"/>
                <a:ext cx="18319" cy="18444"/>
              </a:xfrm>
              <a:custGeom>
                <a:avLst/>
                <a:gdLst>
                  <a:gd name="connsiteX0" fmla="*/ 2401 w 18319"/>
                  <a:gd name="connsiteY0" fmla="*/ 15412 h 18444"/>
                  <a:gd name="connsiteX1" fmla="*/ 2999 w 18319"/>
                  <a:gd name="connsiteY1" fmla="*/ 2374 h 18444"/>
                  <a:gd name="connsiteX2" fmla="*/ 15918 w 18319"/>
                  <a:gd name="connsiteY2" fmla="*/ 3032 h 18444"/>
                  <a:gd name="connsiteX3" fmla="*/ 15320 w 18319"/>
                  <a:gd name="connsiteY3" fmla="*/ 16070 h 18444"/>
                  <a:gd name="connsiteX4" fmla="*/ 2401 w 18319"/>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2401" y="15412"/>
                    </a:moveTo>
                    <a:cubicBezTo>
                      <a:pt x="-1008" y="11644"/>
                      <a:pt x="-768" y="5843"/>
                      <a:pt x="2999" y="2374"/>
                    </a:cubicBezTo>
                    <a:cubicBezTo>
                      <a:pt x="6708" y="-1035"/>
                      <a:pt x="12509" y="-736"/>
                      <a:pt x="15918" y="3032"/>
                    </a:cubicBezTo>
                    <a:cubicBezTo>
                      <a:pt x="19327" y="6800"/>
                      <a:pt x="19088" y="12601"/>
                      <a:pt x="15320" y="16070"/>
                    </a:cubicBezTo>
                    <a:cubicBezTo>
                      <a:pt x="11612" y="19479"/>
                      <a:pt x="5811" y="19180"/>
                      <a:pt x="2401" y="15412"/>
                    </a:cubicBezTo>
                    <a:close/>
                  </a:path>
                </a:pathLst>
              </a:custGeom>
              <a:grpFill/>
              <a:ln w="5978" cap="flat">
                <a:noFill/>
                <a:prstDash val="solid"/>
                <a:miter/>
              </a:ln>
            </p:spPr>
            <p:txBody>
              <a:bodyPr rtlCol="0" anchor="ctr"/>
              <a:lstStyle/>
              <a:p>
                <a:endParaRPr lang="en-GB"/>
              </a:p>
            </p:txBody>
          </p:sp>
          <p:sp>
            <p:nvSpPr>
              <p:cNvPr id="3989" name="Vrije vorm: vorm 3988">
                <a:extLst>
                  <a:ext uri="{FF2B5EF4-FFF2-40B4-BE49-F238E27FC236}">
                    <a16:creationId xmlns:a16="http://schemas.microsoft.com/office/drawing/2014/main" id="{FAB7B720-F4A4-4FA0-A73E-1F7FC0C7403A}"/>
                  </a:ext>
                </a:extLst>
              </p:cNvPr>
              <p:cNvSpPr/>
              <p:nvPr/>
            </p:nvSpPr>
            <p:spPr>
              <a:xfrm>
                <a:off x="7592471" y="4915912"/>
                <a:ext cx="18304" cy="18444"/>
              </a:xfrm>
              <a:custGeom>
                <a:avLst/>
                <a:gdLst>
                  <a:gd name="connsiteX0" fmla="*/ 2407 w 18304"/>
                  <a:gd name="connsiteY0" fmla="*/ 15412 h 18444"/>
                  <a:gd name="connsiteX1" fmla="*/ 15326 w 18304"/>
                  <a:gd name="connsiteY1" fmla="*/ 16070 h 18444"/>
                  <a:gd name="connsiteX2" fmla="*/ 15924 w 18304"/>
                  <a:gd name="connsiteY2" fmla="*/ 3032 h 18444"/>
                  <a:gd name="connsiteX3" fmla="*/ 2946 w 18304"/>
                  <a:gd name="connsiteY3" fmla="*/ 2374 h 18444"/>
                  <a:gd name="connsiteX4" fmla="*/ 2407 w 18304"/>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44">
                    <a:moveTo>
                      <a:pt x="2407" y="15412"/>
                    </a:moveTo>
                    <a:cubicBezTo>
                      <a:pt x="5817" y="19180"/>
                      <a:pt x="11618" y="19479"/>
                      <a:pt x="15326" y="16070"/>
                    </a:cubicBezTo>
                    <a:cubicBezTo>
                      <a:pt x="19034" y="12661"/>
                      <a:pt x="19333" y="6800"/>
                      <a:pt x="15924" y="3032"/>
                    </a:cubicBezTo>
                    <a:cubicBezTo>
                      <a:pt x="12515" y="-736"/>
                      <a:pt x="6714" y="-1035"/>
                      <a:pt x="2946" y="2374"/>
                    </a:cubicBezTo>
                    <a:cubicBezTo>
                      <a:pt x="-762" y="5783"/>
                      <a:pt x="-1001" y="11644"/>
                      <a:pt x="2407" y="15412"/>
                    </a:cubicBezTo>
                    <a:close/>
                  </a:path>
                </a:pathLst>
              </a:custGeom>
              <a:grpFill/>
              <a:ln w="5978" cap="flat">
                <a:noFill/>
                <a:prstDash val="solid"/>
                <a:miter/>
              </a:ln>
            </p:spPr>
            <p:txBody>
              <a:bodyPr rtlCol="0" anchor="ctr"/>
              <a:lstStyle/>
              <a:p>
                <a:endParaRPr lang="en-GB"/>
              </a:p>
            </p:txBody>
          </p:sp>
        </p:grpSp>
        <p:grpSp>
          <p:nvGrpSpPr>
            <p:cNvPr id="467" name="Graphic 3">
              <a:extLst>
                <a:ext uri="{FF2B5EF4-FFF2-40B4-BE49-F238E27FC236}">
                  <a16:creationId xmlns:a16="http://schemas.microsoft.com/office/drawing/2014/main" id="{7656D1EF-F0BD-4700-8564-569DED1FD4FF}"/>
                </a:ext>
              </a:extLst>
            </p:cNvPr>
            <p:cNvGrpSpPr/>
            <p:nvPr/>
          </p:nvGrpSpPr>
          <p:grpSpPr>
            <a:xfrm>
              <a:off x="7331301" y="4616166"/>
              <a:ext cx="173490" cy="164239"/>
              <a:chOff x="7331301" y="4616166"/>
              <a:chExt cx="173490" cy="164239"/>
            </a:xfrm>
            <a:grpFill/>
          </p:grpSpPr>
          <p:sp>
            <p:nvSpPr>
              <p:cNvPr id="3984" name="Vrije vorm: vorm 3983">
                <a:extLst>
                  <a:ext uri="{FF2B5EF4-FFF2-40B4-BE49-F238E27FC236}">
                    <a16:creationId xmlns:a16="http://schemas.microsoft.com/office/drawing/2014/main" id="{7871D253-1F94-4E65-AF24-68DE932D0744}"/>
                  </a:ext>
                </a:extLst>
              </p:cNvPr>
              <p:cNvSpPr/>
              <p:nvPr/>
            </p:nvSpPr>
            <p:spPr>
              <a:xfrm>
                <a:off x="7339143" y="4623915"/>
                <a:ext cx="157890" cy="148680"/>
              </a:xfrm>
              <a:custGeom>
                <a:avLst/>
                <a:gdLst>
                  <a:gd name="connsiteX0" fmla="*/ 157890 w 157890"/>
                  <a:gd name="connsiteY0" fmla="*/ 146468 h 148680"/>
                  <a:gd name="connsiteX1" fmla="*/ 155797 w 157890"/>
                  <a:gd name="connsiteY1" fmla="*/ 148681 h 148680"/>
                  <a:gd name="connsiteX2" fmla="*/ 0 w 157890"/>
                  <a:gd name="connsiteY2" fmla="*/ 2213 h 148680"/>
                  <a:gd name="connsiteX3" fmla="*/ 2093 w 157890"/>
                  <a:gd name="connsiteY3" fmla="*/ 0 h 148680"/>
                </a:gdLst>
                <a:ahLst/>
                <a:cxnLst>
                  <a:cxn ang="0">
                    <a:pos x="connsiteX0" y="connsiteY0"/>
                  </a:cxn>
                  <a:cxn ang="0">
                    <a:pos x="connsiteX1" y="connsiteY1"/>
                  </a:cxn>
                  <a:cxn ang="0">
                    <a:pos x="connsiteX2" y="connsiteY2"/>
                  </a:cxn>
                  <a:cxn ang="0">
                    <a:pos x="connsiteX3" y="connsiteY3"/>
                  </a:cxn>
                </a:cxnLst>
                <a:rect l="l" t="t" r="r" b="b"/>
                <a:pathLst>
                  <a:path w="157890" h="148680">
                    <a:moveTo>
                      <a:pt x="157890" y="146468"/>
                    </a:moveTo>
                    <a:lnTo>
                      <a:pt x="155797" y="148681"/>
                    </a:lnTo>
                    <a:lnTo>
                      <a:pt x="0" y="2213"/>
                    </a:lnTo>
                    <a:lnTo>
                      <a:pt x="2093" y="0"/>
                    </a:lnTo>
                    <a:close/>
                  </a:path>
                </a:pathLst>
              </a:custGeom>
              <a:grpFill/>
              <a:ln w="5978" cap="flat">
                <a:noFill/>
                <a:prstDash val="solid"/>
                <a:miter/>
              </a:ln>
            </p:spPr>
            <p:txBody>
              <a:bodyPr rtlCol="0" anchor="ctr"/>
              <a:lstStyle/>
              <a:p>
                <a:endParaRPr lang="en-GB"/>
              </a:p>
            </p:txBody>
          </p:sp>
          <p:sp>
            <p:nvSpPr>
              <p:cNvPr id="3985" name="Vrije vorm: vorm 3984">
                <a:extLst>
                  <a:ext uri="{FF2B5EF4-FFF2-40B4-BE49-F238E27FC236}">
                    <a16:creationId xmlns:a16="http://schemas.microsoft.com/office/drawing/2014/main" id="{935FC139-AAF6-4E52-8B50-46A8A879FA48}"/>
                  </a:ext>
                </a:extLst>
              </p:cNvPr>
              <p:cNvSpPr/>
              <p:nvPr/>
            </p:nvSpPr>
            <p:spPr>
              <a:xfrm>
                <a:off x="7486465" y="4761975"/>
                <a:ext cx="18327" cy="18429"/>
              </a:xfrm>
              <a:custGeom>
                <a:avLst/>
                <a:gdLst>
                  <a:gd name="connsiteX0" fmla="*/ 15413 w 18327"/>
                  <a:gd name="connsiteY0" fmla="*/ 2487 h 18429"/>
                  <a:gd name="connsiteX1" fmla="*/ 15892 w 18327"/>
                  <a:gd name="connsiteY1" fmla="*/ 15525 h 18429"/>
                  <a:gd name="connsiteX2" fmla="*/ 2914 w 18327"/>
                  <a:gd name="connsiteY2" fmla="*/ 15943 h 18429"/>
                  <a:gd name="connsiteX3" fmla="*/ 2435 w 18327"/>
                  <a:gd name="connsiteY3" fmla="*/ 2905 h 18429"/>
                  <a:gd name="connsiteX4" fmla="*/ 15413 w 18327"/>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5413" y="2487"/>
                    </a:moveTo>
                    <a:cubicBezTo>
                      <a:pt x="19121" y="5956"/>
                      <a:pt x="19301" y="11817"/>
                      <a:pt x="15892" y="15525"/>
                    </a:cubicBezTo>
                    <a:cubicBezTo>
                      <a:pt x="12423" y="19233"/>
                      <a:pt x="6622" y="19412"/>
                      <a:pt x="2914" y="15943"/>
                    </a:cubicBezTo>
                    <a:cubicBezTo>
                      <a:pt x="-794" y="12474"/>
                      <a:pt x="-974" y="6613"/>
                      <a:pt x="2435" y="2905"/>
                    </a:cubicBezTo>
                    <a:cubicBezTo>
                      <a:pt x="5904" y="-803"/>
                      <a:pt x="11705" y="-982"/>
                      <a:pt x="15413" y="2487"/>
                    </a:cubicBezTo>
                    <a:close/>
                  </a:path>
                </a:pathLst>
              </a:custGeom>
              <a:grpFill/>
              <a:ln w="5978" cap="flat">
                <a:noFill/>
                <a:prstDash val="solid"/>
                <a:miter/>
              </a:ln>
            </p:spPr>
            <p:txBody>
              <a:bodyPr rtlCol="0" anchor="ctr"/>
              <a:lstStyle/>
              <a:p>
                <a:endParaRPr lang="en-GB"/>
              </a:p>
            </p:txBody>
          </p:sp>
          <p:sp>
            <p:nvSpPr>
              <p:cNvPr id="3986" name="Vrije vorm: vorm 3985">
                <a:extLst>
                  <a:ext uri="{FF2B5EF4-FFF2-40B4-BE49-F238E27FC236}">
                    <a16:creationId xmlns:a16="http://schemas.microsoft.com/office/drawing/2014/main" id="{BB82E276-B69E-4889-B939-926434BACF8F}"/>
                  </a:ext>
                </a:extLst>
              </p:cNvPr>
              <p:cNvSpPr/>
              <p:nvPr/>
            </p:nvSpPr>
            <p:spPr>
              <a:xfrm>
                <a:off x="7331301" y="4616166"/>
                <a:ext cx="18374" cy="18429"/>
              </a:xfrm>
              <a:custGeom>
                <a:avLst/>
                <a:gdLst>
                  <a:gd name="connsiteX0" fmla="*/ 15437 w 18374"/>
                  <a:gd name="connsiteY0" fmla="*/ 2487 h 18429"/>
                  <a:gd name="connsiteX1" fmla="*/ 2459 w 18374"/>
                  <a:gd name="connsiteY1" fmla="*/ 2905 h 18429"/>
                  <a:gd name="connsiteX2" fmla="*/ 2937 w 18374"/>
                  <a:gd name="connsiteY2" fmla="*/ 15943 h 18429"/>
                  <a:gd name="connsiteX3" fmla="*/ 15916 w 18374"/>
                  <a:gd name="connsiteY3" fmla="*/ 15524 h 18429"/>
                  <a:gd name="connsiteX4" fmla="*/ 15437 w 18374"/>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9">
                    <a:moveTo>
                      <a:pt x="15437" y="2487"/>
                    </a:moveTo>
                    <a:cubicBezTo>
                      <a:pt x="11729" y="-982"/>
                      <a:pt x="5928" y="-803"/>
                      <a:pt x="2459" y="2905"/>
                    </a:cubicBezTo>
                    <a:cubicBezTo>
                      <a:pt x="-1010" y="6613"/>
                      <a:pt x="-771" y="12415"/>
                      <a:pt x="2937" y="15943"/>
                    </a:cubicBezTo>
                    <a:cubicBezTo>
                      <a:pt x="6645" y="19412"/>
                      <a:pt x="12446" y="19232"/>
                      <a:pt x="15916" y="15524"/>
                    </a:cubicBezTo>
                    <a:cubicBezTo>
                      <a:pt x="19384" y="11757"/>
                      <a:pt x="19145" y="5955"/>
                      <a:pt x="15437" y="2487"/>
                    </a:cubicBezTo>
                    <a:close/>
                  </a:path>
                </a:pathLst>
              </a:custGeom>
              <a:grpFill/>
              <a:ln w="5978" cap="flat">
                <a:noFill/>
                <a:prstDash val="solid"/>
                <a:miter/>
              </a:ln>
            </p:spPr>
            <p:txBody>
              <a:bodyPr rtlCol="0" anchor="ctr"/>
              <a:lstStyle/>
              <a:p>
                <a:endParaRPr lang="en-GB"/>
              </a:p>
            </p:txBody>
          </p:sp>
        </p:grpSp>
        <p:grpSp>
          <p:nvGrpSpPr>
            <p:cNvPr id="468" name="Graphic 3">
              <a:extLst>
                <a:ext uri="{FF2B5EF4-FFF2-40B4-BE49-F238E27FC236}">
                  <a16:creationId xmlns:a16="http://schemas.microsoft.com/office/drawing/2014/main" id="{8108CF53-D44A-47F0-BB1C-BD6998784873}"/>
                </a:ext>
              </a:extLst>
            </p:cNvPr>
            <p:cNvGrpSpPr/>
            <p:nvPr/>
          </p:nvGrpSpPr>
          <p:grpSpPr>
            <a:xfrm>
              <a:off x="7364853" y="4846458"/>
              <a:ext cx="282638" cy="306730"/>
              <a:chOff x="7364853" y="4846458"/>
              <a:chExt cx="282638" cy="306730"/>
            </a:xfrm>
            <a:grpFill/>
          </p:grpSpPr>
          <p:sp>
            <p:nvSpPr>
              <p:cNvPr id="3981" name="Vrije vorm: vorm 3980">
                <a:extLst>
                  <a:ext uri="{FF2B5EF4-FFF2-40B4-BE49-F238E27FC236}">
                    <a16:creationId xmlns:a16="http://schemas.microsoft.com/office/drawing/2014/main" id="{10B8DB03-BF01-4871-B5EF-A21AC0F529F2}"/>
                  </a:ext>
                </a:extLst>
              </p:cNvPr>
              <p:cNvSpPr/>
              <p:nvPr/>
            </p:nvSpPr>
            <p:spPr>
              <a:xfrm>
                <a:off x="7372635" y="4854293"/>
                <a:ext cx="267098" cy="291021"/>
              </a:xfrm>
              <a:custGeom>
                <a:avLst/>
                <a:gdLst>
                  <a:gd name="connsiteX0" fmla="*/ 267099 w 267098"/>
                  <a:gd name="connsiteY0" fmla="*/ 288929 h 291021"/>
                  <a:gd name="connsiteX1" fmla="*/ 264886 w 267098"/>
                  <a:gd name="connsiteY1" fmla="*/ 291022 h 291021"/>
                  <a:gd name="connsiteX2" fmla="*/ 0 w 267098"/>
                  <a:gd name="connsiteY2" fmla="*/ 2093 h 291021"/>
                  <a:gd name="connsiteX3" fmla="*/ 2213 w 267098"/>
                  <a:gd name="connsiteY3" fmla="*/ 0 h 291021"/>
                </a:gdLst>
                <a:ahLst/>
                <a:cxnLst>
                  <a:cxn ang="0">
                    <a:pos x="connsiteX0" y="connsiteY0"/>
                  </a:cxn>
                  <a:cxn ang="0">
                    <a:pos x="connsiteX1" y="connsiteY1"/>
                  </a:cxn>
                  <a:cxn ang="0">
                    <a:pos x="connsiteX2" y="connsiteY2"/>
                  </a:cxn>
                  <a:cxn ang="0">
                    <a:pos x="connsiteX3" y="connsiteY3"/>
                  </a:cxn>
                </a:cxnLst>
                <a:rect l="l" t="t" r="r" b="b"/>
                <a:pathLst>
                  <a:path w="267098" h="291021">
                    <a:moveTo>
                      <a:pt x="267099" y="288929"/>
                    </a:moveTo>
                    <a:lnTo>
                      <a:pt x="264886" y="291022"/>
                    </a:lnTo>
                    <a:lnTo>
                      <a:pt x="0" y="2093"/>
                    </a:lnTo>
                    <a:lnTo>
                      <a:pt x="2213" y="0"/>
                    </a:lnTo>
                    <a:close/>
                  </a:path>
                </a:pathLst>
              </a:custGeom>
              <a:grpFill/>
              <a:ln w="5978" cap="flat">
                <a:noFill/>
                <a:prstDash val="solid"/>
                <a:miter/>
              </a:ln>
            </p:spPr>
            <p:txBody>
              <a:bodyPr rtlCol="0" anchor="ctr"/>
              <a:lstStyle/>
              <a:p>
                <a:endParaRPr lang="en-GB"/>
              </a:p>
            </p:txBody>
          </p:sp>
          <p:sp>
            <p:nvSpPr>
              <p:cNvPr id="3982" name="Vrije vorm: vorm 3981">
                <a:extLst>
                  <a:ext uri="{FF2B5EF4-FFF2-40B4-BE49-F238E27FC236}">
                    <a16:creationId xmlns:a16="http://schemas.microsoft.com/office/drawing/2014/main" id="{C1B30CAC-2DF6-49F6-9761-7EDD61DC880B}"/>
                  </a:ext>
                </a:extLst>
              </p:cNvPr>
              <p:cNvSpPr/>
              <p:nvPr/>
            </p:nvSpPr>
            <p:spPr>
              <a:xfrm>
                <a:off x="7629165" y="5134728"/>
                <a:ext cx="18327" cy="18459"/>
              </a:xfrm>
              <a:custGeom>
                <a:avLst/>
                <a:gdLst>
                  <a:gd name="connsiteX0" fmla="*/ 15892 w 18327"/>
                  <a:gd name="connsiteY0" fmla="*/ 2991 h 18459"/>
                  <a:gd name="connsiteX1" fmla="*/ 15413 w 18327"/>
                  <a:gd name="connsiteY1" fmla="*/ 16029 h 18459"/>
                  <a:gd name="connsiteX2" fmla="*/ 2435 w 18327"/>
                  <a:gd name="connsiteY2" fmla="*/ 15490 h 18459"/>
                  <a:gd name="connsiteX3" fmla="*/ 2914 w 18327"/>
                  <a:gd name="connsiteY3" fmla="*/ 2452 h 18459"/>
                  <a:gd name="connsiteX4" fmla="*/ 15892 w 18327"/>
                  <a:gd name="connsiteY4" fmla="*/ 2991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59">
                    <a:moveTo>
                      <a:pt x="15892" y="2991"/>
                    </a:moveTo>
                    <a:cubicBezTo>
                      <a:pt x="19301" y="6759"/>
                      <a:pt x="19121" y="12560"/>
                      <a:pt x="15413" y="16029"/>
                    </a:cubicBezTo>
                    <a:cubicBezTo>
                      <a:pt x="11705" y="19497"/>
                      <a:pt x="5904" y="19198"/>
                      <a:pt x="2435" y="15490"/>
                    </a:cubicBezTo>
                    <a:cubicBezTo>
                      <a:pt x="-974" y="11722"/>
                      <a:pt x="-794" y="5921"/>
                      <a:pt x="2914" y="2452"/>
                    </a:cubicBezTo>
                    <a:cubicBezTo>
                      <a:pt x="6622" y="-1016"/>
                      <a:pt x="12423" y="-777"/>
                      <a:pt x="15892" y="2991"/>
                    </a:cubicBezTo>
                    <a:close/>
                  </a:path>
                </a:pathLst>
              </a:custGeom>
              <a:grpFill/>
              <a:ln w="5978" cap="flat">
                <a:noFill/>
                <a:prstDash val="solid"/>
                <a:miter/>
              </a:ln>
            </p:spPr>
            <p:txBody>
              <a:bodyPr rtlCol="0" anchor="ctr"/>
              <a:lstStyle/>
              <a:p>
                <a:endParaRPr lang="en-GB"/>
              </a:p>
            </p:txBody>
          </p:sp>
          <p:sp>
            <p:nvSpPr>
              <p:cNvPr id="3983" name="Vrije vorm: vorm 3982">
                <a:extLst>
                  <a:ext uri="{FF2B5EF4-FFF2-40B4-BE49-F238E27FC236}">
                    <a16:creationId xmlns:a16="http://schemas.microsoft.com/office/drawing/2014/main" id="{4149D71C-CF3B-4984-995A-247774714E28}"/>
                  </a:ext>
                </a:extLst>
              </p:cNvPr>
              <p:cNvSpPr/>
              <p:nvPr/>
            </p:nvSpPr>
            <p:spPr>
              <a:xfrm>
                <a:off x="7364853" y="4846458"/>
                <a:ext cx="18374" cy="18481"/>
              </a:xfrm>
              <a:custGeom>
                <a:avLst/>
                <a:gdLst>
                  <a:gd name="connsiteX0" fmla="*/ 15915 w 18374"/>
                  <a:gd name="connsiteY0" fmla="*/ 2991 h 18481"/>
                  <a:gd name="connsiteX1" fmla="*/ 2937 w 18374"/>
                  <a:gd name="connsiteY1" fmla="*/ 2452 h 18481"/>
                  <a:gd name="connsiteX2" fmla="*/ 2459 w 18374"/>
                  <a:gd name="connsiteY2" fmla="*/ 15490 h 18481"/>
                  <a:gd name="connsiteX3" fmla="*/ 15437 w 18374"/>
                  <a:gd name="connsiteY3" fmla="*/ 16029 h 18481"/>
                  <a:gd name="connsiteX4" fmla="*/ 15915 w 18374"/>
                  <a:gd name="connsiteY4" fmla="*/ 2991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81">
                    <a:moveTo>
                      <a:pt x="15915" y="2991"/>
                    </a:moveTo>
                    <a:cubicBezTo>
                      <a:pt x="12506" y="-777"/>
                      <a:pt x="6705" y="-1016"/>
                      <a:pt x="2937" y="2452"/>
                    </a:cubicBezTo>
                    <a:cubicBezTo>
                      <a:pt x="-771" y="5921"/>
                      <a:pt x="-1010" y="11722"/>
                      <a:pt x="2459" y="15490"/>
                    </a:cubicBezTo>
                    <a:cubicBezTo>
                      <a:pt x="5868" y="19258"/>
                      <a:pt x="11669" y="19498"/>
                      <a:pt x="15437" y="16029"/>
                    </a:cubicBezTo>
                    <a:cubicBezTo>
                      <a:pt x="19145" y="12560"/>
                      <a:pt x="19384" y="6759"/>
                      <a:pt x="15915" y="2991"/>
                    </a:cubicBezTo>
                    <a:close/>
                  </a:path>
                </a:pathLst>
              </a:custGeom>
              <a:grpFill/>
              <a:ln w="5978" cap="flat">
                <a:noFill/>
                <a:prstDash val="solid"/>
                <a:miter/>
              </a:ln>
            </p:spPr>
            <p:txBody>
              <a:bodyPr rtlCol="0" anchor="ctr"/>
              <a:lstStyle/>
              <a:p>
                <a:endParaRPr lang="en-GB"/>
              </a:p>
            </p:txBody>
          </p:sp>
        </p:grpSp>
        <p:grpSp>
          <p:nvGrpSpPr>
            <p:cNvPr id="469" name="Graphic 3">
              <a:extLst>
                <a:ext uri="{FF2B5EF4-FFF2-40B4-BE49-F238E27FC236}">
                  <a16:creationId xmlns:a16="http://schemas.microsoft.com/office/drawing/2014/main" id="{F84C57CD-7D9F-4C64-923A-22085FFAB01A}"/>
                </a:ext>
              </a:extLst>
            </p:cNvPr>
            <p:cNvGrpSpPr/>
            <p:nvPr/>
          </p:nvGrpSpPr>
          <p:grpSpPr>
            <a:xfrm>
              <a:off x="7348770" y="4678967"/>
              <a:ext cx="113457" cy="111183"/>
              <a:chOff x="7348770" y="4678967"/>
              <a:chExt cx="113457" cy="111183"/>
            </a:xfrm>
            <a:grpFill/>
          </p:grpSpPr>
          <p:sp>
            <p:nvSpPr>
              <p:cNvPr id="3978" name="Vrije vorm: vorm 3977">
                <a:extLst>
                  <a:ext uri="{FF2B5EF4-FFF2-40B4-BE49-F238E27FC236}">
                    <a16:creationId xmlns:a16="http://schemas.microsoft.com/office/drawing/2014/main" id="{36C5C5C1-DDA0-4FA2-9917-34A839B2DD5D}"/>
                  </a:ext>
                </a:extLst>
              </p:cNvPr>
              <p:cNvSpPr/>
              <p:nvPr/>
            </p:nvSpPr>
            <p:spPr>
              <a:xfrm>
                <a:off x="7356547" y="4686713"/>
                <a:ext cx="97904" cy="95631"/>
              </a:xfrm>
              <a:custGeom>
                <a:avLst/>
                <a:gdLst>
                  <a:gd name="connsiteX0" fmla="*/ 97904 w 97904"/>
                  <a:gd name="connsiteY0" fmla="*/ 93479 h 95631"/>
                  <a:gd name="connsiteX1" fmla="*/ 95811 w 97904"/>
                  <a:gd name="connsiteY1" fmla="*/ 95632 h 95631"/>
                  <a:gd name="connsiteX2" fmla="*/ 0 w 97904"/>
                  <a:gd name="connsiteY2" fmla="*/ 2213 h 95631"/>
                  <a:gd name="connsiteX3" fmla="*/ 2093 w 97904"/>
                  <a:gd name="connsiteY3" fmla="*/ 0 h 95631"/>
                </a:gdLst>
                <a:ahLst/>
                <a:cxnLst>
                  <a:cxn ang="0">
                    <a:pos x="connsiteX0" y="connsiteY0"/>
                  </a:cxn>
                  <a:cxn ang="0">
                    <a:pos x="connsiteX1" y="connsiteY1"/>
                  </a:cxn>
                  <a:cxn ang="0">
                    <a:pos x="connsiteX2" y="connsiteY2"/>
                  </a:cxn>
                  <a:cxn ang="0">
                    <a:pos x="connsiteX3" y="connsiteY3"/>
                  </a:cxn>
                </a:cxnLst>
                <a:rect l="l" t="t" r="r" b="b"/>
                <a:pathLst>
                  <a:path w="97904" h="95631">
                    <a:moveTo>
                      <a:pt x="97904" y="93479"/>
                    </a:moveTo>
                    <a:lnTo>
                      <a:pt x="95811" y="95632"/>
                    </a:lnTo>
                    <a:lnTo>
                      <a:pt x="0" y="2213"/>
                    </a:lnTo>
                    <a:lnTo>
                      <a:pt x="2093" y="0"/>
                    </a:lnTo>
                    <a:close/>
                  </a:path>
                </a:pathLst>
              </a:custGeom>
              <a:grpFill/>
              <a:ln w="5978" cap="flat">
                <a:noFill/>
                <a:prstDash val="solid"/>
                <a:miter/>
              </a:ln>
            </p:spPr>
            <p:txBody>
              <a:bodyPr rtlCol="0" anchor="ctr"/>
              <a:lstStyle/>
              <a:p>
                <a:endParaRPr lang="en-GB"/>
              </a:p>
            </p:txBody>
          </p:sp>
          <p:sp>
            <p:nvSpPr>
              <p:cNvPr id="3979" name="Vrije vorm: vorm 3978">
                <a:extLst>
                  <a:ext uri="{FF2B5EF4-FFF2-40B4-BE49-F238E27FC236}">
                    <a16:creationId xmlns:a16="http://schemas.microsoft.com/office/drawing/2014/main" id="{2D3AD3F7-527E-4F91-888A-D30493ACF5B6}"/>
                  </a:ext>
                </a:extLst>
              </p:cNvPr>
              <p:cNvSpPr/>
              <p:nvPr/>
            </p:nvSpPr>
            <p:spPr>
              <a:xfrm>
                <a:off x="7443887" y="4771728"/>
                <a:ext cx="18341" cy="18422"/>
              </a:xfrm>
              <a:custGeom>
                <a:avLst/>
                <a:gdLst>
                  <a:gd name="connsiteX0" fmla="*/ 15529 w 18341"/>
                  <a:gd name="connsiteY0" fmla="*/ 2602 h 18422"/>
                  <a:gd name="connsiteX1" fmla="*/ 15767 w 18341"/>
                  <a:gd name="connsiteY1" fmla="*/ 15640 h 18422"/>
                  <a:gd name="connsiteX2" fmla="*/ 2790 w 18341"/>
                  <a:gd name="connsiteY2" fmla="*/ 15820 h 18422"/>
                  <a:gd name="connsiteX3" fmla="*/ 2550 w 18341"/>
                  <a:gd name="connsiteY3" fmla="*/ 2782 h 18422"/>
                  <a:gd name="connsiteX4" fmla="*/ 15529 w 18341"/>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2">
                    <a:moveTo>
                      <a:pt x="15529" y="2602"/>
                    </a:moveTo>
                    <a:cubicBezTo>
                      <a:pt x="19177" y="6131"/>
                      <a:pt x="19297" y="11992"/>
                      <a:pt x="15767" y="15640"/>
                    </a:cubicBezTo>
                    <a:cubicBezTo>
                      <a:pt x="12239" y="19289"/>
                      <a:pt x="6438" y="19348"/>
                      <a:pt x="2790" y="15820"/>
                    </a:cubicBezTo>
                    <a:cubicBezTo>
                      <a:pt x="-858" y="12291"/>
                      <a:pt x="-918" y="6430"/>
                      <a:pt x="2550" y="2782"/>
                    </a:cubicBezTo>
                    <a:cubicBezTo>
                      <a:pt x="6139" y="-866"/>
                      <a:pt x="11940" y="-926"/>
                      <a:pt x="15529" y="2602"/>
                    </a:cubicBezTo>
                    <a:close/>
                  </a:path>
                </a:pathLst>
              </a:custGeom>
              <a:grpFill/>
              <a:ln w="5978" cap="flat">
                <a:noFill/>
                <a:prstDash val="solid"/>
                <a:miter/>
              </a:ln>
            </p:spPr>
            <p:txBody>
              <a:bodyPr rtlCol="0" anchor="ctr"/>
              <a:lstStyle/>
              <a:p>
                <a:endParaRPr lang="en-GB"/>
              </a:p>
            </p:txBody>
          </p:sp>
          <p:sp>
            <p:nvSpPr>
              <p:cNvPr id="3980" name="Vrije vorm: vorm 3979">
                <a:extLst>
                  <a:ext uri="{FF2B5EF4-FFF2-40B4-BE49-F238E27FC236}">
                    <a16:creationId xmlns:a16="http://schemas.microsoft.com/office/drawing/2014/main" id="{9D5B611D-D2D3-4204-9EF5-3F5CAE121BA4}"/>
                  </a:ext>
                </a:extLst>
              </p:cNvPr>
              <p:cNvSpPr/>
              <p:nvPr/>
            </p:nvSpPr>
            <p:spPr>
              <a:xfrm>
                <a:off x="7348770" y="4678967"/>
                <a:ext cx="18319" cy="18422"/>
              </a:xfrm>
              <a:custGeom>
                <a:avLst/>
                <a:gdLst>
                  <a:gd name="connsiteX0" fmla="*/ 15552 w 18319"/>
                  <a:gd name="connsiteY0" fmla="*/ 2602 h 18422"/>
                  <a:gd name="connsiteX1" fmla="*/ 2573 w 18319"/>
                  <a:gd name="connsiteY1" fmla="*/ 2782 h 18422"/>
                  <a:gd name="connsiteX2" fmla="*/ 2813 w 18319"/>
                  <a:gd name="connsiteY2" fmla="*/ 15820 h 18422"/>
                  <a:gd name="connsiteX3" fmla="*/ 15791 w 18319"/>
                  <a:gd name="connsiteY3" fmla="*/ 15640 h 18422"/>
                  <a:gd name="connsiteX4" fmla="*/ 15552 w 18319"/>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2">
                    <a:moveTo>
                      <a:pt x="15552" y="2602"/>
                    </a:moveTo>
                    <a:cubicBezTo>
                      <a:pt x="11903" y="-926"/>
                      <a:pt x="6102" y="-866"/>
                      <a:pt x="2573" y="2782"/>
                    </a:cubicBezTo>
                    <a:cubicBezTo>
                      <a:pt x="-955" y="6430"/>
                      <a:pt x="-836" y="12231"/>
                      <a:pt x="2813" y="15820"/>
                    </a:cubicBezTo>
                    <a:cubicBezTo>
                      <a:pt x="6461" y="19348"/>
                      <a:pt x="12262" y="19289"/>
                      <a:pt x="15791" y="15640"/>
                    </a:cubicBezTo>
                    <a:cubicBezTo>
                      <a:pt x="19260" y="11932"/>
                      <a:pt x="19140" y="6131"/>
                      <a:pt x="15552" y="2602"/>
                    </a:cubicBezTo>
                    <a:close/>
                  </a:path>
                </a:pathLst>
              </a:custGeom>
              <a:grpFill/>
              <a:ln w="5978" cap="flat">
                <a:noFill/>
                <a:prstDash val="solid"/>
                <a:miter/>
              </a:ln>
            </p:spPr>
            <p:txBody>
              <a:bodyPr rtlCol="0" anchor="ctr"/>
              <a:lstStyle/>
              <a:p>
                <a:endParaRPr lang="en-GB"/>
              </a:p>
            </p:txBody>
          </p:sp>
        </p:grpSp>
        <p:grpSp>
          <p:nvGrpSpPr>
            <p:cNvPr id="470" name="Graphic 3">
              <a:extLst>
                <a:ext uri="{FF2B5EF4-FFF2-40B4-BE49-F238E27FC236}">
                  <a16:creationId xmlns:a16="http://schemas.microsoft.com/office/drawing/2014/main" id="{1F349759-E939-48C8-A906-227F71CFC761}"/>
                </a:ext>
              </a:extLst>
            </p:cNvPr>
            <p:cNvGrpSpPr/>
            <p:nvPr/>
          </p:nvGrpSpPr>
          <p:grpSpPr>
            <a:xfrm>
              <a:off x="6310148" y="1467279"/>
              <a:ext cx="97607" cy="298047"/>
              <a:chOff x="6310148" y="1467279"/>
              <a:chExt cx="97607" cy="298047"/>
            </a:xfrm>
            <a:grpFill/>
          </p:grpSpPr>
          <p:sp>
            <p:nvSpPr>
              <p:cNvPr id="3975" name="Vrije vorm: vorm 3974">
                <a:extLst>
                  <a:ext uri="{FF2B5EF4-FFF2-40B4-BE49-F238E27FC236}">
                    <a16:creationId xmlns:a16="http://schemas.microsoft.com/office/drawing/2014/main" id="{67408FE9-87BA-4EE8-8865-9ED91BAA93AA}"/>
                  </a:ext>
                </a:extLst>
              </p:cNvPr>
              <p:cNvSpPr/>
              <p:nvPr/>
            </p:nvSpPr>
            <p:spPr>
              <a:xfrm>
                <a:off x="6317695" y="1475664"/>
                <a:ext cx="82533" cy="281333"/>
              </a:xfrm>
              <a:custGeom>
                <a:avLst/>
                <a:gdLst>
                  <a:gd name="connsiteX0" fmla="*/ 82534 w 82533"/>
                  <a:gd name="connsiteY0" fmla="*/ 837 h 281333"/>
                  <a:gd name="connsiteX1" fmla="*/ 2930 w 82533"/>
                  <a:gd name="connsiteY1" fmla="*/ 281333 h 281333"/>
                  <a:gd name="connsiteX2" fmla="*/ 0 w 82533"/>
                  <a:gd name="connsiteY2" fmla="*/ 280496 h 281333"/>
                  <a:gd name="connsiteX3" fmla="*/ 79603 w 82533"/>
                  <a:gd name="connsiteY3" fmla="*/ 0 h 281333"/>
                </a:gdLst>
                <a:ahLst/>
                <a:cxnLst>
                  <a:cxn ang="0">
                    <a:pos x="connsiteX0" y="connsiteY0"/>
                  </a:cxn>
                  <a:cxn ang="0">
                    <a:pos x="connsiteX1" y="connsiteY1"/>
                  </a:cxn>
                  <a:cxn ang="0">
                    <a:pos x="connsiteX2" y="connsiteY2"/>
                  </a:cxn>
                  <a:cxn ang="0">
                    <a:pos x="connsiteX3" y="connsiteY3"/>
                  </a:cxn>
                </a:cxnLst>
                <a:rect l="l" t="t" r="r" b="b"/>
                <a:pathLst>
                  <a:path w="82533" h="281333">
                    <a:moveTo>
                      <a:pt x="82534" y="837"/>
                    </a:moveTo>
                    <a:lnTo>
                      <a:pt x="2930" y="281333"/>
                    </a:lnTo>
                    <a:lnTo>
                      <a:pt x="0" y="280496"/>
                    </a:lnTo>
                    <a:lnTo>
                      <a:pt x="79603" y="0"/>
                    </a:lnTo>
                    <a:close/>
                  </a:path>
                </a:pathLst>
              </a:custGeom>
              <a:grpFill/>
              <a:ln w="5978" cap="flat">
                <a:noFill/>
                <a:prstDash val="solid"/>
                <a:miter/>
              </a:ln>
            </p:spPr>
            <p:txBody>
              <a:bodyPr rtlCol="0" anchor="ctr"/>
              <a:lstStyle/>
              <a:p>
                <a:endParaRPr lang="en-GB"/>
              </a:p>
            </p:txBody>
          </p:sp>
          <p:sp>
            <p:nvSpPr>
              <p:cNvPr id="3976" name="Vrije vorm: vorm 3975">
                <a:extLst>
                  <a:ext uri="{FF2B5EF4-FFF2-40B4-BE49-F238E27FC236}">
                    <a16:creationId xmlns:a16="http://schemas.microsoft.com/office/drawing/2014/main" id="{0EBC3255-5E13-47FF-95B9-BD5A43CA6E29}"/>
                  </a:ext>
                </a:extLst>
              </p:cNvPr>
              <p:cNvSpPr/>
              <p:nvPr/>
            </p:nvSpPr>
            <p:spPr>
              <a:xfrm>
                <a:off x="6310148" y="1746873"/>
                <a:ext cx="18302" cy="18453"/>
              </a:xfrm>
              <a:custGeom>
                <a:avLst/>
                <a:gdLst>
                  <a:gd name="connsiteX0" fmla="*/ 17954 w 18302"/>
                  <a:gd name="connsiteY0" fmla="*/ 11798 h 18453"/>
                  <a:gd name="connsiteX1" fmla="*/ 6650 w 18302"/>
                  <a:gd name="connsiteY1" fmla="*/ 18078 h 18453"/>
                  <a:gd name="connsiteX2" fmla="*/ 370 w 18302"/>
                  <a:gd name="connsiteY2" fmla="*/ 6655 h 18453"/>
                  <a:gd name="connsiteX3" fmla="*/ 11674 w 18302"/>
                  <a:gd name="connsiteY3" fmla="*/ 375 h 18453"/>
                  <a:gd name="connsiteX4" fmla="*/ 17954 w 18302"/>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53">
                    <a:moveTo>
                      <a:pt x="17954" y="11798"/>
                    </a:moveTo>
                    <a:cubicBezTo>
                      <a:pt x="16578" y="16702"/>
                      <a:pt x="11494" y="19513"/>
                      <a:pt x="6650" y="18078"/>
                    </a:cubicBezTo>
                    <a:cubicBezTo>
                      <a:pt x="1806" y="16643"/>
                      <a:pt x="-1065" y="11559"/>
                      <a:pt x="370" y="6655"/>
                    </a:cubicBezTo>
                    <a:cubicBezTo>
                      <a:pt x="1746" y="1751"/>
                      <a:pt x="6830" y="-1060"/>
                      <a:pt x="11674" y="375"/>
                    </a:cubicBezTo>
                    <a:cubicBezTo>
                      <a:pt x="16518" y="1810"/>
                      <a:pt x="19329" y="6954"/>
                      <a:pt x="17954" y="11798"/>
                    </a:cubicBezTo>
                    <a:close/>
                  </a:path>
                </a:pathLst>
              </a:custGeom>
              <a:grpFill/>
              <a:ln w="5978" cap="flat">
                <a:noFill/>
                <a:prstDash val="solid"/>
                <a:miter/>
              </a:ln>
            </p:spPr>
            <p:txBody>
              <a:bodyPr rtlCol="0" anchor="ctr"/>
              <a:lstStyle/>
              <a:p>
                <a:endParaRPr lang="en-GB"/>
              </a:p>
            </p:txBody>
          </p:sp>
          <p:sp>
            <p:nvSpPr>
              <p:cNvPr id="3977" name="Vrije vorm: vorm 3976">
                <a:extLst>
                  <a:ext uri="{FF2B5EF4-FFF2-40B4-BE49-F238E27FC236}">
                    <a16:creationId xmlns:a16="http://schemas.microsoft.com/office/drawing/2014/main" id="{1759ADAD-7FA6-4000-9D37-59CA0D83978C}"/>
                  </a:ext>
                </a:extLst>
              </p:cNvPr>
              <p:cNvSpPr/>
              <p:nvPr/>
            </p:nvSpPr>
            <p:spPr>
              <a:xfrm>
                <a:off x="6389474" y="1467279"/>
                <a:ext cx="18281" cy="18448"/>
              </a:xfrm>
              <a:custGeom>
                <a:avLst/>
                <a:gdLst>
                  <a:gd name="connsiteX0" fmla="*/ 17933 w 18281"/>
                  <a:gd name="connsiteY0" fmla="*/ 11794 h 18448"/>
                  <a:gd name="connsiteX1" fmla="*/ 11653 w 18281"/>
                  <a:gd name="connsiteY1" fmla="*/ 370 h 18448"/>
                  <a:gd name="connsiteX2" fmla="*/ 349 w 18281"/>
                  <a:gd name="connsiteY2" fmla="*/ 6650 h 18448"/>
                  <a:gd name="connsiteX3" fmla="*/ 6629 w 18281"/>
                  <a:gd name="connsiteY3" fmla="*/ 18073 h 18448"/>
                  <a:gd name="connsiteX4" fmla="*/ 17933 w 18281"/>
                  <a:gd name="connsiteY4" fmla="*/ 11794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48">
                    <a:moveTo>
                      <a:pt x="17933" y="11794"/>
                    </a:moveTo>
                    <a:cubicBezTo>
                      <a:pt x="19308" y="6889"/>
                      <a:pt x="16497" y="1806"/>
                      <a:pt x="11653" y="370"/>
                    </a:cubicBezTo>
                    <a:cubicBezTo>
                      <a:pt x="6809" y="-1065"/>
                      <a:pt x="1725" y="1806"/>
                      <a:pt x="349" y="6650"/>
                    </a:cubicBezTo>
                    <a:cubicBezTo>
                      <a:pt x="-1027" y="11554"/>
                      <a:pt x="1785" y="16638"/>
                      <a:pt x="6629" y="18073"/>
                    </a:cubicBezTo>
                    <a:cubicBezTo>
                      <a:pt x="11473" y="19509"/>
                      <a:pt x="16557" y="16698"/>
                      <a:pt x="17933" y="11794"/>
                    </a:cubicBezTo>
                    <a:close/>
                  </a:path>
                </a:pathLst>
              </a:custGeom>
              <a:grpFill/>
              <a:ln w="5978" cap="flat">
                <a:noFill/>
                <a:prstDash val="solid"/>
                <a:miter/>
              </a:ln>
            </p:spPr>
            <p:txBody>
              <a:bodyPr rtlCol="0" anchor="ctr"/>
              <a:lstStyle/>
              <a:p>
                <a:endParaRPr lang="en-GB"/>
              </a:p>
            </p:txBody>
          </p:sp>
        </p:grpSp>
        <p:grpSp>
          <p:nvGrpSpPr>
            <p:cNvPr id="471" name="Graphic 3">
              <a:extLst>
                <a:ext uri="{FF2B5EF4-FFF2-40B4-BE49-F238E27FC236}">
                  <a16:creationId xmlns:a16="http://schemas.microsoft.com/office/drawing/2014/main" id="{C968C45D-697B-495E-BF77-5BD539032F50}"/>
                </a:ext>
              </a:extLst>
            </p:cNvPr>
            <p:cNvGrpSpPr/>
            <p:nvPr/>
          </p:nvGrpSpPr>
          <p:grpSpPr>
            <a:xfrm>
              <a:off x="6333434" y="1485644"/>
              <a:ext cx="35284" cy="125608"/>
              <a:chOff x="6333434" y="1485644"/>
              <a:chExt cx="35284" cy="125608"/>
            </a:xfrm>
            <a:grpFill/>
          </p:grpSpPr>
          <p:sp>
            <p:nvSpPr>
              <p:cNvPr id="3972" name="Vrije vorm: vorm 3971">
                <a:extLst>
                  <a:ext uri="{FF2B5EF4-FFF2-40B4-BE49-F238E27FC236}">
                    <a16:creationId xmlns:a16="http://schemas.microsoft.com/office/drawing/2014/main" id="{11CDCE03-5929-4847-9D56-7A5046A17F8C}"/>
                  </a:ext>
                </a:extLst>
              </p:cNvPr>
              <p:cNvSpPr/>
              <p:nvPr/>
            </p:nvSpPr>
            <p:spPr>
              <a:xfrm>
                <a:off x="6341020" y="1494144"/>
                <a:ext cx="20155" cy="108609"/>
              </a:xfrm>
              <a:custGeom>
                <a:avLst/>
                <a:gdLst>
                  <a:gd name="connsiteX0" fmla="*/ 20155 w 20155"/>
                  <a:gd name="connsiteY0" fmla="*/ 478 h 108609"/>
                  <a:gd name="connsiteX1" fmla="*/ 2990 w 20155"/>
                  <a:gd name="connsiteY1" fmla="*/ 108610 h 108609"/>
                  <a:gd name="connsiteX2" fmla="*/ 0 w 20155"/>
                  <a:gd name="connsiteY2" fmla="*/ 108131 h 108609"/>
                  <a:gd name="connsiteX3" fmla="*/ 17105 w 20155"/>
                  <a:gd name="connsiteY3" fmla="*/ 0 h 108609"/>
                </a:gdLst>
                <a:ahLst/>
                <a:cxnLst>
                  <a:cxn ang="0">
                    <a:pos x="connsiteX0" y="connsiteY0"/>
                  </a:cxn>
                  <a:cxn ang="0">
                    <a:pos x="connsiteX1" y="connsiteY1"/>
                  </a:cxn>
                  <a:cxn ang="0">
                    <a:pos x="connsiteX2" y="connsiteY2"/>
                  </a:cxn>
                  <a:cxn ang="0">
                    <a:pos x="connsiteX3" y="connsiteY3"/>
                  </a:cxn>
                </a:cxnLst>
                <a:rect l="l" t="t" r="r" b="b"/>
                <a:pathLst>
                  <a:path w="20155" h="108609">
                    <a:moveTo>
                      <a:pt x="20155" y="478"/>
                    </a:moveTo>
                    <a:lnTo>
                      <a:pt x="2990" y="108610"/>
                    </a:lnTo>
                    <a:lnTo>
                      <a:pt x="0" y="108131"/>
                    </a:lnTo>
                    <a:lnTo>
                      <a:pt x="17105" y="0"/>
                    </a:lnTo>
                    <a:close/>
                  </a:path>
                </a:pathLst>
              </a:custGeom>
              <a:grpFill/>
              <a:ln w="5978" cap="flat">
                <a:noFill/>
                <a:prstDash val="solid"/>
                <a:miter/>
              </a:ln>
            </p:spPr>
            <p:txBody>
              <a:bodyPr rtlCol="0" anchor="ctr"/>
              <a:lstStyle/>
              <a:p>
                <a:endParaRPr lang="en-GB"/>
              </a:p>
            </p:txBody>
          </p:sp>
          <p:sp>
            <p:nvSpPr>
              <p:cNvPr id="3973" name="Vrije vorm: vorm 3972">
                <a:extLst>
                  <a:ext uri="{FF2B5EF4-FFF2-40B4-BE49-F238E27FC236}">
                    <a16:creationId xmlns:a16="http://schemas.microsoft.com/office/drawing/2014/main" id="{F3112713-9E64-441F-8923-4D56C2301D03}"/>
                  </a:ext>
                </a:extLst>
              </p:cNvPr>
              <p:cNvSpPr/>
              <p:nvPr/>
            </p:nvSpPr>
            <p:spPr>
              <a:xfrm>
                <a:off x="6350419" y="1485644"/>
                <a:ext cx="18298" cy="18434"/>
              </a:xfrm>
              <a:custGeom>
                <a:avLst/>
                <a:gdLst>
                  <a:gd name="connsiteX0" fmla="*/ 111 w 18298"/>
                  <a:gd name="connsiteY0" fmla="*/ 7722 h 18434"/>
                  <a:gd name="connsiteX1" fmla="*/ 10577 w 18298"/>
                  <a:gd name="connsiteY1" fmla="*/ 126 h 18434"/>
                  <a:gd name="connsiteX2" fmla="*/ 18172 w 18298"/>
                  <a:gd name="connsiteY2" fmla="*/ 10712 h 18434"/>
                  <a:gd name="connsiteX3" fmla="*/ 7706 w 18298"/>
                  <a:gd name="connsiteY3" fmla="*/ 18308 h 18434"/>
                  <a:gd name="connsiteX4" fmla="*/ 111 w 1829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4">
                    <a:moveTo>
                      <a:pt x="111" y="7722"/>
                    </a:moveTo>
                    <a:cubicBezTo>
                      <a:pt x="888" y="2698"/>
                      <a:pt x="5613" y="-711"/>
                      <a:pt x="10577" y="126"/>
                    </a:cubicBezTo>
                    <a:cubicBezTo>
                      <a:pt x="15600" y="964"/>
                      <a:pt x="19009" y="5689"/>
                      <a:pt x="18172" y="10712"/>
                    </a:cubicBezTo>
                    <a:cubicBezTo>
                      <a:pt x="17395" y="15736"/>
                      <a:pt x="12670" y="19145"/>
                      <a:pt x="7706" y="18308"/>
                    </a:cubicBezTo>
                    <a:cubicBezTo>
                      <a:pt x="2742" y="17471"/>
                      <a:pt x="-667" y="12746"/>
                      <a:pt x="111" y="7722"/>
                    </a:cubicBezTo>
                    <a:close/>
                  </a:path>
                </a:pathLst>
              </a:custGeom>
              <a:grpFill/>
              <a:ln w="5978" cap="flat">
                <a:noFill/>
                <a:prstDash val="solid"/>
                <a:miter/>
              </a:ln>
            </p:spPr>
            <p:txBody>
              <a:bodyPr rtlCol="0" anchor="ctr"/>
              <a:lstStyle/>
              <a:p>
                <a:endParaRPr lang="en-GB"/>
              </a:p>
            </p:txBody>
          </p:sp>
          <p:sp>
            <p:nvSpPr>
              <p:cNvPr id="3974" name="Vrije vorm: vorm 3973">
                <a:extLst>
                  <a:ext uri="{FF2B5EF4-FFF2-40B4-BE49-F238E27FC236}">
                    <a16:creationId xmlns:a16="http://schemas.microsoft.com/office/drawing/2014/main" id="{C69BD105-788F-46B7-93BE-82D455511DDB}"/>
                  </a:ext>
                </a:extLst>
              </p:cNvPr>
              <p:cNvSpPr/>
              <p:nvPr/>
            </p:nvSpPr>
            <p:spPr>
              <a:xfrm>
                <a:off x="6333434" y="1592819"/>
                <a:ext cx="18282" cy="18434"/>
              </a:xfrm>
              <a:custGeom>
                <a:avLst/>
                <a:gdLst>
                  <a:gd name="connsiteX0" fmla="*/ 111 w 18282"/>
                  <a:gd name="connsiteY0" fmla="*/ 7722 h 18434"/>
                  <a:gd name="connsiteX1" fmla="*/ 7706 w 18282"/>
                  <a:gd name="connsiteY1" fmla="*/ 18308 h 18434"/>
                  <a:gd name="connsiteX2" fmla="*/ 18172 w 18282"/>
                  <a:gd name="connsiteY2" fmla="*/ 10712 h 18434"/>
                  <a:gd name="connsiteX3" fmla="*/ 10577 w 18282"/>
                  <a:gd name="connsiteY3" fmla="*/ 126 h 18434"/>
                  <a:gd name="connsiteX4" fmla="*/ 111 w 18282"/>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34">
                    <a:moveTo>
                      <a:pt x="111" y="7722"/>
                    </a:moveTo>
                    <a:cubicBezTo>
                      <a:pt x="-667" y="12746"/>
                      <a:pt x="2742" y="17471"/>
                      <a:pt x="7706" y="18308"/>
                    </a:cubicBezTo>
                    <a:cubicBezTo>
                      <a:pt x="12730" y="19145"/>
                      <a:pt x="17395" y="15736"/>
                      <a:pt x="18172" y="10712"/>
                    </a:cubicBezTo>
                    <a:cubicBezTo>
                      <a:pt x="18950" y="5689"/>
                      <a:pt x="15541" y="964"/>
                      <a:pt x="10577" y="126"/>
                    </a:cubicBezTo>
                    <a:cubicBezTo>
                      <a:pt x="5613" y="-711"/>
                      <a:pt x="888" y="2698"/>
                      <a:pt x="111" y="7722"/>
                    </a:cubicBezTo>
                    <a:close/>
                  </a:path>
                </a:pathLst>
              </a:custGeom>
              <a:grpFill/>
              <a:ln w="5978" cap="flat">
                <a:noFill/>
                <a:prstDash val="solid"/>
                <a:miter/>
              </a:ln>
            </p:spPr>
            <p:txBody>
              <a:bodyPr rtlCol="0" anchor="ctr"/>
              <a:lstStyle/>
              <a:p>
                <a:endParaRPr lang="en-GB"/>
              </a:p>
            </p:txBody>
          </p:sp>
        </p:grpSp>
        <p:grpSp>
          <p:nvGrpSpPr>
            <p:cNvPr id="472" name="Graphic 3">
              <a:extLst>
                <a:ext uri="{FF2B5EF4-FFF2-40B4-BE49-F238E27FC236}">
                  <a16:creationId xmlns:a16="http://schemas.microsoft.com/office/drawing/2014/main" id="{C94A2DD8-EBB1-4C2F-8B62-E6D21FE51ABA}"/>
                </a:ext>
              </a:extLst>
            </p:cNvPr>
            <p:cNvGrpSpPr/>
            <p:nvPr/>
          </p:nvGrpSpPr>
          <p:grpSpPr>
            <a:xfrm>
              <a:off x="7256910" y="4590371"/>
              <a:ext cx="329375" cy="376172"/>
              <a:chOff x="7256910" y="4590371"/>
              <a:chExt cx="329375" cy="376172"/>
            </a:xfrm>
            <a:grpFill/>
          </p:grpSpPr>
          <p:sp>
            <p:nvSpPr>
              <p:cNvPr id="3969" name="Vrije vorm: vorm 3968">
                <a:extLst>
                  <a:ext uri="{FF2B5EF4-FFF2-40B4-BE49-F238E27FC236}">
                    <a16:creationId xmlns:a16="http://schemas.microsoft.com/office/drawing/2014/main" id="{80E11311-985D-4084-BF85-97CD65201B7A}"/>
                  </a:ext>
                </a:extLst>
              </p:cNvPr>
              <p:cNvSpPr/>
              <p:nvPr/>
            </p:nvSpPr>
            <p:spPr>
              <a:xfrm>
                <a:off x="7264623" y="4598198"/>
                <a:ext cx="313928" cy="360517"/>
              </a:xfrm>
              <a:custGeom>
                <a:avLst/>
                <a:gdLst>
                  <a:gd name="connsiteX0" fmla="*/ 313928 w 313928"/>
                  <a:gd name="connsiteY0" fmla="*/ 358484 h 360517"/>
                  <a:gd name="connsiteX1" fmla="*/ 311655 w 313928"/>
                  <a:gd name="connsiteY1" fmla="*/ 360518 h 360517"/>
                  <a:gd name="connsiteX2" fmla="*/ 0 w 313928"/>
                  <a:gd name="connsiteY2" fmla="*/ 2034 h 360517"/>
                  <a:gd name="connsiteX3" fmla="*/ 2273 w 313928"/>
                  <a:gd name="connsiteY3" fmla="*/ 0 h 360517"/>
                </a:gdLst>
                <a:ahLst/>
                <a:cxnLst>
                  <a:cxn ang="0">
                    <a:pos x="connsiteX0" y="connsiteY0"/>
                  </a:cxn>
                  <a:cxn ang="0">
                    <a:pos x="connsiteX1" y="connsiteY1"/>
                  </a:cxn>
                  <a:cxn ang="0">
                    <a:pos x="connsiteX2" y="connsiteY2"/>
                  </a:cxn>
                  <a:cxn ang="0">
                    <a:pos x="connsiteX3" y="connsiteY3"/>
                  </a:cxn>
                </a:cxnLst>
                <a:rect l="l" t="t" r="r" b="b"/>
                <a:pathLst>
                  <a:path w="313928" h="360517">
                    <a:moveTo>
                      <a:pt x="313928" y="358484"/>
                    </a:moveTo>
                    <a:lnTo>
                      <a:pt x="311655" y="360518"/>
                    </a:lnTo>
                    <a:lnTo>
                      <a:pt x="0" y="2034"/>
                    </a:lnTo>
                    <a:lnTo>
                      <a:pt x="2273" y="0"/>
                    </a:lnTo>
                    <a:close/>
                  </a:path>
                </a:pathLst>
              </a:custGeom>
              <a:grpFill/>
              <a:ln w="5978" cap="flat">
                <a:noFill/>
                <a:prstDash val="solid"/>
                <a:miter/>
              </a:ln>
            </p:spPr>
            <p:txBody>
              <a:bodyPr rtlCol="0" anchor="ctr"/>
              <a:lstStyle/>
              <a:p>
                <a:endParaRPr lang="en-GB"/>
              </a:p>
            </p:txBody>
          </p:sp>
          <p:sp>
            <p:nvSpPr>
              <p:cNvPr id="3970" name="Vrije vorm: vorm 3969">
                <a:extLst>
                  <a:ext uri="{FF2B5EF4-FFF2-40B4-BE49-F238E27FC236}">
                    <a16:creationId xmlns:a16="http://schemas.microsoft.com/office/drawing/2014/main" id="{CF607022-84BF-4144-BC54-660CC1D79C47}"/>
                  </a:ext>
                </a:extLst>
              </p:cNvPr>
              <p:cNvSpPr/>
              <p:nvPr/>
            </p:nvSpPr>
            <p:spPr>
              <a:xfrm>
                <a:off x="7256910" y="4590371"/>
                <a:ext cx="18297" cy="18405"/>
              </a:xfrm>
              <a:custGeom>
                <a:avLst/>
                <a:gdLst>
                  <a:gd name="connsiteX0" fmla="*/ 2271 w 18297"/>
                  <a:gd name="connsiteY0" fmla="*/ 15243 h 18405"/>
                  <a:gd name="connsiteX1" fmla="*/ 3108 w 18297"/>
                  <a:gd name="connsiteY1" fmla="*/ 2265 h 18405"/>
                  <a:gd name="connsiteX2" fmla="*/ 16027 w 18297"/>
                  <a:gd name="connsiteY2" fmla="*/ 3162 h 18405"/>
                  <a:gd name="connsiteX3" fmla="*/ 15189 w 18297"/>
                  <a:gd name="connsiteY3" fmla="*/ 16141 h 18405"/>
                  <a:gd name="connsiteX4" fmla="*/ 2271 w 18297"/>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2271" y="15243"/>
                    </a:moveTo>
                    <a:cubicBezTo>
                      <a:pt x="-1078" y="11416"/>
                      <a:pt x="-660" y="5615"/>
                      <a:pt x="3108" y="2265"/>
                    </a:cubicBezTo>
                    <a:cubicBezTo>
                      <a:pt x="6936" y="-1084"/>
                      <a:pt x="12678" y="-665"/>
                      <a:pt x="16027" y="3162"/>
                    </a:cubicBezTo>
                    <a:cubicBezTo>
                      <a:pt x="19376" y="6990"/>
                      <a:pt x="18957" y="12791"/>
                      <a:pt x="15189" y="16141"/>
                    </a:cubicBezTo>
                    <a:cubicBezTo>
                      <a:pt x="11362" y="19490"/>
                      <a:pt x="5620" y="19071"/>
                      <a:pt x="2271" y="15243"/>
                    </a:cubicBezTo>
                    <a:close/>
                  </a:path>
                </a:pathLst>
              </a:custGeom>
              <a:grpFill/>
              <a:ln w="5978" cap="flat">
                <a:noFill/>
                <a:prstDash val="solid"/>
                <a:miter/>
              </a:ln>
            </p:spPr>
            <p:txBody>
              <a:bodyPr rtlCol="0" anchor="ctr"/>
              <a:lstStyle/>
              <a:p>
                <a:endParaRPr lang="en-GB"/>
              </a:p>
            </p:txBody>
          </p:sp>
          <p:sp>
            <p:nvSpPr>
              <p:cNvPr id="3971" name="Vrije vorm: vorm 3970">
                <a:extLst>
                  <a:ext uri="{FF2B5EF4-FFF2-40B4-BE49-F238E27FC236}">
                    <a16:creationId xmlns:a16="http://schemas.microsoft.com/office/drawing/2014/main" id="{9A132759-1BFD-4AA6-8727-769F6E013E68}"/>
                  </a:ext>
                </a:extLst>
              </p:cNvPr>
              <p:cNvSpPr/>
              <p:nvPr/>
            </p:nvSpPr>
            <p:spPr>
              <a:xfrm>
                <a:off x="7567946" y="4948138"/>
                <a:ext cx="18338" cy="18405"/>
              </a:xfrm>
              <a:custGeom>
                <a:avLst/>
                <a:gdLst>
                  <a:gd name="connsiteX0" fmla="*/ 2291 w 18338"/>
                  <a:gd name="connsiteY0" fmla="*/ 15243 h 18405"/>
                  <a:gd name="connsiteX1" fmla="*/ 15210 w 18338"/>
                  <a:gd name="connsiteY1" fmla="*/ 16141 h 18405"/>
                  <a:gd name="connsiteX2" fmla="*/ 16047 w 18338"/>
                  <a:gd name="connsiteY2" fmla="*/ 3162 h 18405"/>
                  <a:gd name="connsiteX3" fmla="*/ 3129 w 18338"/>
                  <a:gd name="connsiteY3" fmla="*/ 2265 h 18405"/>
                  <a:gd name="connsiteX4" fmla="*/ 2291 w 18338"/>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5">
                    <a:moveTo>
                      <a:pt x="2291" y="15243"/>
                    </a:moveTo>
                    <a:cubicBezTo>
                      <a:pt x="5641" y="19071"/>
                      <a:pt x="11442" y="19490"/>
                      <a:pt x="15210" y="16141"/>
                    </a:cubicBezTo>
                    <a:cubicBezTo>
                      <a:pt x="19038" y="12791"/>
                      <a:pt x="19397" y="6990"/>
                      <a:pt x="16047" y="3162"/>
                    </a:cubicBezTo>
                    <a:cubicBezTo>
                      <a:pt x="12698" y="-665"/>
                      <a:pt x="6896" y="-1084"/>
                      <a:pt x="3129" y="2265"/>
                    </a:cubicBezTo>
                    <a:cubicBezTo>
                      <a:pt x="-699" y="5615"/>
                      <a:pt x="-1058" y="11416"/>
                      <a:pt x="2291" y="15243"/>
                    </a:cubicBezTo>
                    <a:close/>
                  </a:path>
                </a:pathLst>
              </a:custGeom>
              <a:grpFill/>
              <a:ln w="5978" cap="flat">
                <a:noFill/>
                <a:prstDash val="solid"/>
                <a:miter/>
              </a:ln>
            </p:spPr>
            <p:txBody>
              <a:bodyPr rtlCol="0" anchor="ctr"/>
              <a:lstStyle/>
              <a:p>
                <a:endParaRPr lang="en-GB"/>
              </a:p>
            </p:txBody>
          </p:sp>
        </p:grpSp>
        <p:grpSp>
          <p:nvGrpSpPr>
            <p:cNvPr id="473" name="Graphic 3">
              <a:extLst>
                <a:ext uri="{FF2B5EF4-FFF2-40B4-BE49-F238E27FC236}">
                  <a16:creationId xmlns:a16="http://schemas.microsoft.com/office/drawing/2014/main" id="{7CB1CD84-6EFE-4F5C-A03B-C5779464DC3B}"/>
                </a:ext>
              </a:extLst>
            </p:cNvPr>
            <p:cNvGrpSpPr/>
            <p:nvPr/>
          </p:nvGrpSpPr>
          <p:grpSpPr>
            <a:xfrm>
              <a:off x="6370277" y="1692476"/>
              <a:ext cx="31495" cy="85221"/>
              <a:chOff x="6370277" y="1692476"/>
              <a:chExt cx="31495" cy="85221"/>
            </a:xfrm>
            <a:grpFill/>
          </p:grpSpPr>
          <p:sp>
            <p:nvSpPr>
              <p:cNvPr id="3966" name="Vrije vorm: vorm 3965">
                <a:extLst>
                  <a:ext uri="{FF2B5EF4-FFF2-40B4-BE49-F238E27FC236}">
                    <a16:creationId xmlns:a16="http://schemas.microsoft.com/office/drawing/2014/main" id="{BCDED9BE-22A2-4169-837D-084939EB1D8E}"/>
                  </a:ext>
                </a:extLst>
              </p:cNvPr>
              <p:cNvSpPr/>
              <p:nvPr/>
            </p:nvSpPr>
            <p:spPr>
              <a:xfrm>
                <a:off x="6377861" y="1700957"/>
                <a:ext cx="16267" cy="68299"/>
              </a:xfrm>
              <a:custGeom>
                <a:avLst/>
                <a:gdLst>
                  <a:gd name="connsiteX0" fmla="*/ 16267 w 16267"/>
                  <a:gd name="connsiteY0" fmla="*/ 598 h 68299"/>
                  <a:gd name="connsiteX1" fmla="*/ 2990 w 16267"/>
                  <a:gd name="connsiteY1" fmla="*/ 68300 h 68299"/>
                  <a:gd name="connsiteX2" fmla="*/ 0 w 16267"/>
                  <a:gd name="connsiteY2" fmla="*/ 67702 h 68299"/>
                  <a:gd name="connsiteX3" fmla="*/ 13277 w 16267"/>
                  <a:gd name="connsiteY3" fmla="*/ 0 h 68299"/>
                </a:gdLst>
                <a:ahLst/>
                <a:cxnLst>
                  <a:cxn ang="0">
                    <a:pos x="connsiteX0" y="connsiteY0"/>
                  </a:cxn>
                  <a:cxn ang="0">
                    <a:pos x="connsiteX1" y="connsiteY1"/>
                  </a:cxn>
                  <a:cxn ang="0">
                    <a:pos x="connsiteX2" y="connsiteY2"/>
                  </a:cxn>
                  <a:cxn ang="0">
                    <a:pos x="connsiteX3" y="connsiteY3"/>
                  </a:cxn>
                </a:cxnLst>
                <a:rect l="l" t="t" r="r" b="b"/>
                <a:pathLst>
                  <a:path w="16267" h="68299">
                    <a:moveTo>
                      <a:pt x="16267" y="598"/>
                    </a:moveTo>
                    <a:lnTo>
                      <a:pt x="2990" y="68300"/>
                    </a:lnTo>
                    <a:lnTo>
                      <a:pt x="0" y="67702"/>
                    </a:lnTo>
                    <a:lnTo>
                      <a:pt x="13277" y="0"/>
                    </a:lnTo>
                    <a:close/>
                  </a:path>
                </a:pathLst>
              </a:custGeom>
              <a:grpFill/>
              <a:ln w="5978" cap="flat">
                <a:noFill/>
                <a:prstDash val="solid"/>
                <a:miter/>
              </a:ln>
            </p:spPr>
            <p:txBody>
              <a:bodyPr rtlCol="0" anchor="ctr"/>
              <a:lstStyle/>
              <a:p>
                <a:endParaRPr lang="en-GB"/>
              </a:p>
            </p:txBody>
          </p:sp>
          <p:sp>
            <p:nvSpPr>
              <p:cNvPr id="3967" name="Vrije vorm: vorm 3966">
                <a:extLst>
                  <a:ext uri="{FF2B5EF4-FFF2-40B4-BE49-F238E27FC236}">
                    <a16:creationId xmlns:a16="http://schemas.microsoft.com/office/drawing/2014/main" id="{277FBFE5-545A-479C-B7F9-2988A0CD20FB}"/>
                  </a:ext>
                </a:extLst>
              </p:cNvPr>
              <p:cNvSpPr/>
              <p:nvPr/>
            </p:nvSpPr>
            <p:spPr>
              <a:xfrm>
                <a:off x="6383416" y="1692476"/>
                <a:ext cx="18356" cy="18397"/>
              </a:xfrm>
              <a:custGeom>
                <a:avLst/>
                <a:gdLst>
                  <a:gd name="connsiteX0" fmla="*/ 187 w 18356"/>
                  <a:gd name="connsiteY0" fmla="*/ 7405 h 18397"/>
                  <a:gd name="connsiteX1" fmla="*/ 10953 w 18356"/>
                  <a:gd name="connsiteY1" fmla="*/ 168 h 18397"/>
                  <a:gd name="connsiteX2" fmla="*/ 18189 w 18356"/>
                  <a:gd name="connsiteY2" fmla="*/ 10993 h 18397"/>
                  <a:gd name="connsiteX3" fmla="*/ 7424 w 18356"/>
                  <a:gd name="connsiteY3" fmla="*/ 18230 h 18397"/>
                  <a:gd name="connsiteX4" fmla="*/ 187 w 18356"/>
                  <a:gd name="connsiteY4" fmla="*/ 7405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87" y="7405"/>
                    </a:moveTo>
                    <a:cubicBezTo>
                      <a:pt x="1144" y="2441"/>
                      <a:pt x="5988" y="-789"/>
                      <a:pt x="10953" y="168"/>
                    </a:cubicBezTo>
                    <a:cubicBezTo>
                      <a:pt x="15916" y="1185"/>
                      <a:pt x="19146" y="6029"/>
                      <a:pt x="18189" y="10993"/>
                    </a:cubicBezTo>
                    <a:cubicBezTo>
                      <a:pt x="17232" y="15957"/>
                      <a:pt x="12388" y="19187"/>
                      <a:pt x="7424" y="18230"/>
                    </a:cubicBezTo>
                    <a:cubicBezTo>
                      <a:pt x="2400" y="17213"/>
                      <a:pt x="-830" y="12369"/>
                      <a:pt x="187" y="7405"/>
                    </a:cubicBezTo>
                    <a:close/>
                  </a:path>
                </a:pathLst>
              </a:custGeom>
              <a:grpFill/>
              <a:ln w="5978" cap="flat">
                <a:noFill/>
                <a:prstDash val="solid"/>
                <a:miter/>
              </a:ln>
            </p:spPr>
            <p:txBody>
              <a:bodyPr rtlCol="0" anchor="ctr"/>
              <a:lstStyle/>
              <a:p>
                <a:endParaRPr lang="en-GB"/>
              </a:p>
            </p:txBody>
          </p:sp>
          <p:sp>
            <p:nvSpPr>
              <p:cNvPr id="3968" name="Vrije vorm: vorm 3967">
                <a:extLst>
                  <a:ext uri="{FF2B5EF4-FFF2-40B4-BE49-F238E27FC236}">
                    <a16:creationId xmlns:a16="http://schemas.microsoft.com/office/drawing/2014/main" id="{F6301CCE-042F-4551-86E5-37628EF4F39B}"/>
                  </a:ext>
                </a:extLst>
              </p:cNvPr>
              <p:cNvSpPr/>
              <p:nvPr/>
            </p:nvSpPr>
            <p:spPr>
              <a:xfrm>
                <a:off x="6370277" y="1759262"/>
                <a:ext cx="18337" cy="18435"/>
              </a:xfrm>
              <a:custGeom>
                <a:avLst/>
                <a:gdLst>
                  <a:gd name="connsiteX0" fmla="*/ 168 w 18337"/>
                  <a:gd name="connsiteY0" fmla="*/ 7424 h 18435"/>
                  <a:gd name="connsiteX1" fmla="*/ 7404 w 18337"/>
                  <a:gd name="connsiteY1" fmla="*/ 18249 h 18435"/>
                  <a:gd name="connsiteX2" fmla="*/ 18170 w 18337"/>
                  <a:gd name="connsiteY2" fmla="*/ 11012 h 18435"/>
                  <a:gd name="connsiteX3" fmla="*/ 10933 w 18337"/>
                  <a:gd name="connsiteY3" fmla="*/ 187 h 18435"/>
                  <a:gd name="connsiteX4" fmla="*/ 168 w 18337"/>
                  <a:gd name="connsiteY4" fmla="*/ 742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5">
                    <a:moveTo>
                      <a:pt x="168" y="7424"/>
                    </a:moveTo>
                    <a:cubicBezTo>
                      <a:pt x="-789" y="12388"/>
                      <a:pt x="2441" y="17292"/>
                      <a:pt x="7404" y="18249"/>
                    </a:cubicBezTo>
                    <a:cubicBezTo>
                      <a:pt x="12368" y="19266"/>
                      <a:pt x="17213" y="16036"/>
                      <a:pt x="18170" y="11012"/>
                    </a:cubicBezTo>
                    <a:cubicBezTo>
                      <a:pt x="19127" y="6048"/>
                      <a:pt x="15897" y="1144"/>
                      <a:pt x="10933" y="187"/>
                    </a:cubicBezTo>
                    <a:cubicBezTo>
                      <a:pt x="5969" y="-830"/>
                      <a:pt x="1125" y="2400"/>
                      <a:pt x="168" y="7424"/>
                    </a:cubicBezTo>
                    <a:close/>
                  </a:path>
                </a:pathLst>
              </a:custGeom>
              <a:grpFill/>
              <a:ln w="5978" cap="flat">
                <a:noFill/>
                <a:prstDash val="solid"/>
                <a:miter/>
              </a:ln>
            </p:spPr>
            <p:txBody>
              <a:bodyPr rtlCol="0" anchor="ctr"/>
              <a:lstStyle/>
              <a:p>
                <a:endParaRPr lang="en-GB"/>
              </a:p>
            </p:txBody>
          </p:sp>
        </p:grpSp>
        <p:grpSp>
          <p:nvGrpSpPr>
            <p:cNvPr id="474" name="Graphic 3">
              <a:extLst>
                <a:ext uri="{FF2B5EF4-FFF2-40B4-BE49-F238E27FC236}">
                  <a16:creationId xmlns:a16="http://schemas.microsoft.com/office/drawing/2014/main" id="{F262DEE1-A9D5-4F5D-8C7E-39EAD14F5458}"/>
                </a:ext>
              </a:extLst>
            </p:cNvPr>
            <p:cNvGrpSpPr/>
            <p:nvPr/>
          </p:nvGrpSpPr>
          <p:grpSpPr>
            <a:xfrm>
              <a:off x="6357142" y="1612355"/>
              <a:ext cx="25828" cy="60520"/>
              <a:chOff x="6357142" y="1612355"/>
              <a:chExt cx="25828" cy="60520"/>
            </a:xfrm>
            <a:grpFill/>
          </p:grpSpPr>
          <p:sp>
            <p:nvSpPr>
              <p:cNvPr id="3963" name="Vrije vorm: vorm 3962">
                <a:extLst>
                  <a:ext uri="{FF2B5EF4-FFF2-40B4-BE49-F238E27FC236}">
                    <a16:creationId xmlns:a16="http://schemas.microsoft.com/office/drawing/2014/main" id="{C35011C9-B564-4A64-85E9-E334ADAD339F}"/>
                  </a:ext>
                </a:extLst>
              </p:cNvPr>
              <p:cNvSpPr/>
              <p:nvPr/>
            </p:nvSpPr>
            <p:spPr>
              <a:xfrm>
                <a:off x="6364764" y="1620816"/>
                <a:ext cx="10645" cy="43599"/>
              </a:xfrm>
              <a:custGeom>
                <a:avLst/>
                <a:gdLst>
                  <a:gd name="connsiteX0" fmla="*/ 10645 w 10645"/>
                  <a:gd name="connsiteY0" fmla="*/ 598 h 43599"/>
                  <a:gd name="connsiteX1" fmla="*/ 2990 w 10645"/>
                  <a:gd name="connsiteY1" fmla="*/ 43599 h 43599"/>
                  <a:gd name="connsiteX2" fmla="*/ 0 w 10645"/>
                  <a:gd name="connsiteY2" fmla="*/ 43061 h 43599"/>
                  <a:gd name="connsiteX3" fmla="*/ 7655 w 10645"/>
                  <a:gd name="connsiteY3" fmla="*/ 0 h 43599"/>
                </a:gdLst>
                <a:ahLst/>
                <a:cxnLst>
                  <a:cxn ang="0">
                    <a:pos x="connsiteX0" y="connsiteY0"/>
                  </a:cxn>
                  <a:cxn ang="0">
                    <a:pos x="connsiteX1" y="connsiteY1"/>
                  </a:cxn>
                  <a:cxn ang="0">
                    <a:pos x="connsiteX2" y="connsiteY2"/>
                  </a:cxn>
                  <a:cxn ang="0">
                    <a:pos x="connsiteX3" y="connsiteY3"/>
                  </a:cxn>
                </a:cxnLst>
                <a:rect l="l" t="t" r="r" b="b"/>
                <a:pathLst>
                  <a:path w="10645" h="43599">
                    <a:moveTo>
                      <a:pt x="10645" y="598"/>
                    </a:moveTo>
                    <a:lnTo>
                      <a:pt x="2990" y="43599"/>
                    </a:lnTo>
                    <a:lnTo>
                      <a:pt x="0" y="43061"/>
                    </a:lnTo>
                    <a:lnTo>
                      <a:pt x="7655" y="0"/>
                    </a:lnTo>
                    <a:close/>
                  </a:path>
                </a:pathLst>
              </a:custGeom>
              <a:grpFill/>
              <a:ln w="5978" cap="flat">
                <a:noFill/>
                <a:prstDash val="solid"/>
                <a:miter/>
              </a:ln>
            </p:spPr>
            <p:txBody>
              <a:bodyPr rtlCol="0" anchor="ctr"/>
              <a:lstStyle/>
              <a:p>
                <a:endParaRPr lang="en-GB"/>
              </a:p>
            </p:txBody>
          </p:sp>
          <p:sp>
            <p:nvSpPr>
              <p:cNvPr id="3964" name="Vrije vorm: vorm 3963">
                <a:extLst>
                  <a:ext uri="{FF2B5EF4-FFF2-40B4-BE49-F238E27FC236}">
                    <a16:creationId xmlns:a16="http://schemas.microsoft.com/office/drawing/2014/main" id="{32DEA7B4-67A8-465A-8CFC-6B55DBB9D05B}"/>
                  </a:ext>
                </a:extLst>
              </p:cNvPr>
              <p:cNvSpPr/>
              <p:nvPr/>
            </p:nvSpPr>
            <p:spPr>
              <a:xfrm>
                <a:off x="6364634" y="1612355"/>
                <a:ext cx="18337" cy="18416"/>
              </a:xfrm>
              <a:custGeom>
                <a:avLst/>
                <a:gdLst>
                  <a:gd name="connsiteX0" fmla="*/ 130 w 18337"/>
                  <a:gd name="connsiteY0" fmla="*/ 7563 h 18416"/>
                  <a:gd name="connsiteX1" fmla="*/ 10776 w 18337"/>
                  <a:gd name="connsiteY1" fmla="*/ 147 h 18416"/>
                  <a:gd name="connsiteX2" fmla="*/ 18192 w 18337"/>
                  <a:gd name="connsiteY2" fmla="*/ 10853 h 18416"/>
                  <a:gd name="connsiteX3" fmla="*/ 7546 w 18337"/>
                  <a:gd name="connsiteY3" fmla="*/ 18269 h 18416"/>
                  <a:gd name="connsiteX4" fmla="*/ 130 w 18337"/>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6">
                    <a:moveTo>
                      <a:pt x="130" y="7563"/>
                    </a:moveTo>
                    <a:cubicBezTo>
                      <a:pt x="1027" y="2540"/>
                      <a:pt x="5752" y="-750"/>
                      <a:pt x="10776" y="147"/>
                    </a:cubicBezTo>
                    <a:cubicBezTo>
                      <a:pt x="15740" y="1044"/>
                      <a:pt x="19089" y="5889"/>
                      <a:pt x="18192" y="10853"/>
                    </a:cubicBezTo>
                    <a:cubicBezTo>
                      <a:pt x="17295" y="15877"/>
                      <a:pt x="12570" y="19166"/>
                      <a:pt x="7546" y="18269"/>
                    </a:cubicBezTo>
                    <a:cubicBezTo>
                      <a:pt x="2582" y="17372"/>
                      <a:pt x="-707" y="12527"/>
                      <a:pt x="130" y="7563"/>
                    </a:cubicBezTo>
                    <a:close/>
                  </a:path>
                </a:pathLst>
              </a:custGeom>
              <a:grpFill/>
              <a:ln w="5978" cap="flat">
                <a:noFill/>
                <a:prstDash val="solid"/>
                <a:miter/>
              </a:ln>
            </p:spPr>
            <p:txBody>
              <a:bodyPr rtlCol="0" anchor="ctr"/>
              <a:lstStyle/>
              <a:p>
                <a:endParaRPr lang="en-GB"/>
              </a:p>
            </p:txBody>
          </p:sp>
          <p:sp>
            <p:nvSpPr>
              <p:cNvPr id="3965" name="Vrije vorm: vorm 3964">
                <a:extLst>
                  <a:ext uri="{FF2B5EF4-FFF2-40B4-BE49-F238E27FC236}">
                    <a16:creationId xmlns:a16="http://schemas.microsoft.com/office/drawing/2014/main" id="{C5CFA67F-66C6-41D6-A290-14E9CAD82122}"/>
                  </a:ext>
                </a:extLst>
              </p:cNvPr>
              <p:cNvSpPr/>
              <p:nvPr/>
            </p:nvSpPr>
            <p:spPr>
              <a:xfrm>
                <a:off x="6357142" y="1654461"/>
                <a:ext cx="18352" cy="18414"/>
              </a:xfrm>
              <a:custGeom>
                <a:avLst/>
                <a:gdLst>
                  <a:gd name="connsiteX0" fmla="*/ 145 w 18352"/>
                  <a:gd name="connsiteY0" fmla="*/ 7562 h 18414"/>
                  <a:gd name="connsiteX1" fmla="*/ 7561 w 18352"/>
                  <a:gd name="connsiteY1" fmla="*/ 18267 h 18414"/>
                  <a:gd name="connsiteX2" fmla="*/ 18207 w 18352"/>
                  <a:gd name="connsiteY2" fmla="*/ 10851 h 18414"/>
                  <a:gd name="connsiteX3" fmla="*/ 10791 w 18352"/>
                  <a:gd name="connsiteY3" fmla="*/ 145 h 18414"/>
                  <a:gd name="connsiteX4" fmla="*/ 145 w 18352"/>
                  <a:gd name="connsiteY4" fmla="*/ 756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145" y="7562"/>
                    </a:moveTo>
                    <a:cubicBezTo>
                      <a:pt x="-752" y="12585"/>
                      <a:pt x="2597" y="17370"/>
                      <a:pt x="7561" y="18267"/>
                    </a:cubicBezTo>
                    <a:cubicBezTo>
                      <a:pt x="12526" y="19164"/>
                      <a:pt x="17310" y="15875"/>
                      <a:pt x="18207" y="10851"/>
                    </a:cubicBezTo>
                    <a:cubicBezTo>
                      <a:pt x="19104" y="5827"/>
                      <a:pt x="15755" y="1043"/>
                      <a:pt x="10791" y="145"/>
                    </a:cubicBezTo>
                    <a:cubicBezTo>
                      <a:pt x="5827" y="-752"/>
                      <a:pt x="1042" y="2598"/>
                      <a:pt x="145" y="7562"/>
                    </a:cubicBezTo>
                    <a:close/>
                  </a:path>
                </a:pathLst>
              </a:custGeom>
              <a:grpFill/>
              <a:ln w="5978" cap="flat">
                <a:noFill/>
                <a:prstDash val="solid"/>
                <a:miter/>
              </a:ln>
            </p:spPr>
            <p:txBody>
              <a:bodyPr rtlCol="0" anchor="ctr"/>
              <a:lstStyle/>
              <a:p>
                <a:endParaRPr lang="en-GB"/>
              </a:p>
            </p:txBody>
          </p:sp>
        </p:grpSp>
        <p:grpSp>
          <p:nvGrpSpPr>
            <p:cNvPr id="475" name="Graphic 3">
              <a:extLst>
                <a:ext uri="{FF2B5EF4-FFF2-40B4-BE49-F238E27FC236}">
                  <a16:creationId xmlns:a16="http://schemas.microsoft.com/office/drawing/2014/main" id="{5563A5EA-BE75-4164-B534-39018A7C617C}"/>
                </a:ext>
              </a:extLst>
            </p:cNvPr>
            <p:cNvGrpSpPr/>
            <p:nvPr/>
          </p:nvGrpSpPr>
          <p:grpSpPr>
            <a:xfrm>
              <a:off x="6283480" y="1393291"/>
              <a:ext cx="23574" cy="61684"/>
              <a:chOff x="6283480" y="1393291"/>
              <a:chExt cx="23574" cy="61684"/>
            </a:xfrm>
            <a:grpFill/>
          </p:grpSpPr>
          <p:sp>
            <p:nvSpPr>
              <p:cNvPr id="3960" name="Vrije vorm: vorm 3959">
                <a:extLst>
                  <a:ext uri="{FF2B5EF4-FFF2-40B4-BE49-F238E27FC236}">
                    <a16:creationId xmlns:a16="http://schemas.microsoft.com/office/drawing/2014/main" id="{9530D176-EC52-4A07-88D1-3D8BD7BC7EF5}"/>
                  </a:ext>
                </a:extLst>
              </p:cNvPr>
              <p:cNvSpPr/>
              <p:nvPr/>
            </p:nvSpPr>
            <p:spPr>
              <a:xfrm>
                <a:off x="6291141" y="1401861"/>
                <a:ext cx="8372" cy="44496"/>
              </a:xfrm>
              <a:custGeom>
                <a:avLst/>
                <a:gdLst>
                  <a:gd name="connsiteX0" fmla="*/ 8373 w 8372"/>
                  <a:gd name="connsiteY0" fmla="*/ 359 h 44496"/>
                  <a:gd name="connsiteX1" fmla="*/ 3050 w 8372"/>
                  <a:gd name="connsiteY1" fmla="*/ 44497 h 44496"/>
                  <a:gd name="connsiteX2" fmla="*/ 0 w 8372"/>
                  <a:gd name="connsiteY2" fmla="*/ 44138 h 44496"/>
                  <a:gd name="connsiteX3" fmla="*/ 5323 w 8372"/>
                  <a:gd name="connsiteY3" fmla="*/ 0 h 44496"/>
                </a:gdLst>
                <a:ahLst/>
                <a:cxnLst>
                  <a:cxn ang="0">
                    <a:pos x="connsiteX0" y="connsiteY0"/>
                  </a:cxn>
                  <a:cxn ang="0">
                    <a:pos x="connsiteX1" y="connsiteY1"/>
                  </a:cxn>
                  <a:cxn ang="0">
                    <a:pos x="connsiteX2" y="connsiteY2"/>
                  </a:cxn>
                  <a:cxn ang="0">
                    <a:pos x="connsiteX3" y="connsiteY3"/>
                  </a:cxn>
                </a:cxnLst>
                <a:rect l="l" t="t" r="r" b="b"/>
                <a:pathLst>
                  <a:path w="8372" h="44496">
                    <a:moveTo>
                      <a:pt x="8373" y="359"/>
                    </a:moveTo>
                    <a:lnTo>
                      <a:pt x="3050" y="44497"/>
                    </a:lnTo>
                    <a:lnTo>
                      <a:pt x="0" y="44138"/>
                    </a:lnTo>
                    <a:lnTo>
                      <a:pt x="5323" y="0"/>
                    </a:lnTo>
                    <a:close/>
                  </a:path>
                </a:pathLst>
              </a:custGeom>
              <a:grpFill/>
              <a:ln w="5978" cap="flat">
                <a:noFill/>
                <a:prstDash val="solid"/>
                <a:miter/>
              </a:ln>
            </p:spPr>
            <p:txBody>
              <a:bodyPr rtlCol="0" anchor="ctr"/>
              <a:lstStyle/>
              <a:p>
                <a:endParaRPr lang="en-GB"/>
              </a:p>
            </p:txBody>
          </p:sp>
          <p:sp>
            <p:nvSpPr>
              <p:cNvPr id="3961" name="Vrije vorm: vorm 3960">
                <a:extLst>
                  <a:ext uri="{FF2B5EF4-FFF2-40B4-BE49-F238E27FC236}">
                    <a16:creationId xmlns:a16="http://schemas.microsoft.com/office/drawing/2014/main" id="{1C6FF741-80C7-468F-81C2-D0CAD8D3F121}"/>
                  </a:ext>
                </a:extLst>
              </p:cNvPr>
              <p:cNvSpPr/>
              <p:nvPr/>
            </p:nvSpPr>
            <p:spPr>
              <a:xfrm>
                <a:off x="6283480" y="1436544"/>
                <a:ext cx="18384" cy="18431"/>
              </a:xfrm>
              <a:custGeom>
                <a:avLst/>
                <a:gdLst>
                  <a:gd name="connsiteX0" fmla="*/ 18306 w 18384"/>
                  <a:gd name="connsiteY0" fmla="*/ 10352 h 18431"/>
                  <a:gd name="connsiteX1" fmla="*/ 8079 w 18384"/>
                  <a:gd name="connsiteY1" fmla="*/ 18366 h 18431"/>
                  <a:gd name="connsiteX2" fmla="*/ 65 w 18384"/>
                  <a:gd name="connsiteY2" fmla="*/ 8079 h 18431"/>
                  <a:gd name="connsiteX3" fmla="*/ 10292 w 18384"/>
                  <a:gd name="connsiteY3" fmla="*/ 65 h 18431"/>
                  <a:gd name="connsiteX4" fmla="*/ 18306 w 18384"/>
                  <a:gd name="connsiteY4" fmla="*/ 1035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31">
                    <a:moveTo>
                      <a:pt x="18306" y="10352"/>
                    </a:moveTo>
                    <a:cubicBezTo>
                      <a:pt x="17708" y="15376"/>
                      <a:pt x="13103" y="18964"/>
                      <a:pt x="8079" y="18366"/>
                    </a:cubicBezTo>
                    <a:cubicBezTo>
                      <a:pt x="3055" y="17708"/>
                      <a:pt x="-533" y="13103"/>
                      <a:pt x="65" y="8079"/>
                    </a:cubicBezTo>
                    <a:cubicBezTo>
                      <a:pt x="663" y="3055"/>
                      <a:pt x="5268" y="-533"/>
                      <a:pt x="10292" y="65"/>
                    </a:cubicBezTo>
                    <a:cubicBezTo>
                      <a:pt x="15376" y="663"/>
                      <a:pt x="18964" y="5268"/>
                      <a:pt x="18306" y="10352"/>
                    </a:cubicBezTo>
                    <a:close/>
                  </a:path>
                </a:pathLst>
              </a:custGeom>
              <a:grpFill/>
              <a:ln w="5978" cap="flat">
                <a:noFill/>
                <a:prstDash val="solid"/>
                <a:miter/>
              </a:ln>
            </p:spPr>
            <p:txBody>
              <a:bodyPr rtlCol="0" anchor="ctr"/>
              <a:lstStyle/>
              <a:p>
                <a:endParaRPr lang="en-GB"/>
              </a:p>
            </p:txBody>
          </p:sp>
          <p:sp>
            <p:nvSpPr>
              <p:cNvPr id="3962" name="Vrije vorm: vorm 3961">
                <a:extLst>
                  <a:ext uri="{FF2B5EF4-FFF2-40B4-BE49-F238E27FC236}">
                    <a16:creationId xmlns:a16="http://schemas.microsoft.com/office/drawing/2014/main" id="{E38F1789-238F-4EC4-B671-33C9D682325C}"/>
                  </a:ext>
                </a:extLst>
              </p:cNvPr>
              <p:cNvSpPr/>
              <p:nvPr/>
            </p:nvSpPr>
            <p:spPr>
              <a:xfrm>
                <a:off x="6288683" y="1393291"/>
                <a:ext cx="18371" cy="18443"/>
              </a:xfrm>
              <a:custGeom>
                <a:avLst/>
                <a:gdLst>
                  <a:gd name="connsiteX0" fmla="*/ 18306 w 18371"/>
                  <a:gd name="connsiteY0" fmla="*/ 10365 h 18443"/>
                  <a:gd name="connsiteX1" fmla="*/ 10292 w 18371"/>
                  <a:gd name="connsiteY1" fmla="*/ 78 h 18443"/>
                  <a:gd name="connsiteX2" fmla="*/ 65 w 18371"/>
                  <a:gd name="connsiteY2" fmla="*/ 8092 h 18443"/>
                  <a:gd name="connsiteX3" fmla="*/ 8079 w 18371"/>
                  <a:gd name="connsiteY3" fmla="*/ 18379 h 18443"/>
                  <a:gd name="connsiteX4" fmla="*/ 18306 w 18371"/>
                  <a:gd name="connsiteY4" fmla="*/ 1036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3">
                    <a:moveTo>
                      <a:pt x="18306" y="10365"/>
                    </a:moveTo>
                    <a:cubicBezTo>
                      <a:pt x="18905" y="5341"/>
                      <a:pt x="15316" y="736"/>
                      <a:pt x="10292" y="78"/>
                    </a:cubicBezTo>
                    <a:cubicBezTo>
                      <a:pt x="5268" y="-580"/>
                      <a:pt x="723" y="3008"/>
                      <a:pt x="65" y="8092"/>
                    </a:cubicBezTo>
                    <a:cubicBezTo>
                      <a:pt x="-533" y="13116"/>
                      <a:pt x="3055" y="17721"/>
                      <a:pt x="8079" y="18379"/>
                    </a:cubicBezTo>
                    <a:cubicBezTo>
                      <a:pt x="13163" y="18977"/>
                      <a:pt x="17708" y="15388"/>
                      <a:pt x="18306" y="10365"/>
                    </a:cubicBezTo>
                    <a:close/>
                  </a:path>
                </a:pathLst>
              </a:custGeom>
              <a:grpFill/>
              <a:ln w="5978" cap="flat">
                <a:noFill/>
                <a:prstDash val="solid"/>
                <a:miter/>
              </a:ln>
            </p:spPr>
            <p:txBody>
              <a:bodyPr rtlCol="0" anchor="ctr"/>
              <a:lstStyle/>
              <a:p>
                <a:endParaRPr lang="en-GB"/>
              </a:p>
            </p:txBody>
          </p:sp>
        </p:grpSp>
        <p:grpSp>
          <p:nvGrpSpPr>
            <p:cNvPr id="476" name="Graphic 3">
              <a:extLst>
                <a:ext uri="{FF2B5EF4-FFF2-40B4-BE49-F238E27FC236}">
                  <a16:creationId xmlns:a16="http://schemas.microsoft.com/office/drawing/2014/main" id="{6FA6E4B1-0FE9-4438-8963-287A1DB679B0}"/>
                </a:ext>
              </a:extLst>
            </p:cNvPr>
            <p:cNvGrpSpPr/>
            <p:nvPr/>
          </p:nvGrpSpPr>
          <p:grpSpPr>
            <a:xfrm>
              <a:off x="7238724" y="4616562"/>
              <a:ext cx="381036" cy="443643"/>
              <a:chOff x="7238724" y="4616562"/>
              <a:chExt cx="381036" cy="443643"/>
            </a:xfrm>
            <a:grpFill/>
          </p:grpSpPr>
          <p:sp>
            <p:nvSpPr>
              <p:cNvPr id="3957" name="Vrije vorm: vorm 3956">
                <a:extLst>
                  <a:ext uri="{FF2B5EF4-FFF2-40B4-BE49-F238E27FC236}">
                    <a16:creationId xmlns:a16="http://schemas.microsoft.com/office/drawing/2014/main" id="{476FD9D4-47F5-401B-9624-561B782947CA}"/>
                  </a:ext>
                </a:extLst>
              </p:cNvPr>
              <p:cNvSpPr/>
              <p:nvPr/>
            </p:nvSpPr>
            <p:spPr>
              <a:xfrm>
                <a:off x="7246442" y="4624394"/>
                <a:ext cx="365601" cy="427920"/>
              </a:xfrm>
              <a:custGeom>
                <a:avLst/>
                <a:gdLst>
                  <a:gd name="connsiteX0" fmla="*/ 365602 w 365601"/>
                  <a:gd name="connsiteY0" fmla="*/ 425947 h 427920"/>
                  <a:gd name="connsiteX1" fmla="*/ 363329 w 365601"/>
                  <a:gd name="connsiteY1" fmla="*/ 427921 h 427920"/>
                  <a:gd name="connsiteX2" fmla="*/ 0 w 365601"/>
                  <a:gd name="connsiteY2" fmla="*/ 1974 h 427920"/>
                  <a:gd name="connsiteX3" fmla="*/ 2273 w 365601"/>
                  <a:gd name="connsiteY3" fmla="*/ 0 h 427920"/>
                </a:gdLst>
                <a:ahLst/>
                <a:cxnLst>
                  <a:cxn ang="0">
                    <a:pos x="connsiteX0" y="connsiteY0"/>
                  </a:cxn>
                  <a:cxn ang="0">
                    <a:pos x="connsiteX1" y="connsiteY1"/>
                  </a:cxn>
                  <a:cxn ang="0">
                    <a:pos x="connsiteX2" y="connsiteY2"/>
                  </a:cxn>
                  <a:cxn ang="0">
                    <a:pos x="connsiteX3" y="connsiteY3"/>
                  </a:cxn>
                </a:cxnLst>
                <a:rect l="l" t="t" r="r" b="b"/>
                <a:pathLst>
                  <a:path w="365601" h="427920">
                    <a:moveTo>
                      <a:pt x="365602" y="425947"/>
                    </a:moveTo>
                    <a:lnTo>
                      <a:pt x="363329" y="427921"/>
                    </a:lnTo>
                    <a:lnTo>
                      <a:pt x="0" y="1974"/>
                    </a:lnTo>
                    <a:lnTo>
                      <a:pt x="2273" y="0"/>
                    </a:lnTo>
                    <a:close/>
                  </a:path>
                </a:pathLst>
              </a:custGeom>
              <a:grpFill/>
              <a:ln w="5978" cap="flat">
                <a:noFill/>
                <a:prstDash val="solid"/>
                <a:miter/>
              </a:ln>
            </p:spPr>
            <p:txBody>
              <a:bodyPr rtlCol="0" anchor="ctr"/>
              <a:lstStyle/>
              <a:p>
                <a:endParaRPr lang="en-GB"/>
              </a:p>
            </p:txBody>
          </p:sp>
          <p:sp>
            <p:nvSpPr>
              <p:cNvPr id="3958" name="Vrije vorm: vorm 3957">
                <a:extLst>
                  <a:ext uri="{FF2B5EF4-FFF2-40B4-BE49-F238E27FC236}">
                    <a16:creationId xmlns:a16="http://schemas.microsoft.com/office/drawing/2014/main" id="{5FCE9F02-10EC-499B-B96D-9A39625525B5}"/>
                  </a:ext>
                </a:extLst>
              </p:cNvPr>
              <p:cNvSpPr/>
              <p:nvPr/>
            </p:nvSpPr>
            <p:spPr>
              <a:xfrm>
                <a:off x="7238724" y="4616562"/>
                <a:ext cx="18306" cy="18394"/>
              </a:xfrm>
              <a:custGeom>
                <a:avLst/>
                <a:gdLst>
                  <a:gd name="connsiteX0" fmla="*/ 2215 w 18306"/>
                  <a:gd name="connsiteY0" fmla="*/ 15188 h 18394"/>
                  <a:gd name="connsiteX1" fmla="*/ 3173 w 18306"/>
                  <a:gd name="connsiteY1" fmla="*/ 2210 h 18394"/>
                  <a:gd name="connsiteX2" fmla="*/ 16090 w 18306"/>
                  <a:gd name="connsiteY2" fmla="*/ 3226 h 18394"/>
                  <a:gd name="connsiteX3" fmla="*/ 15134 w 18306"/>
                  <a:gd name="connsiteY3" fmla="*/ 16204 h 18394"/>
                  <a:gd name="connsiteX4" fmla="*/ 2215 w 18306"/>
                  <a:gd name="connsiteY4" fmla="*/ 151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4">
                    <a:moveTo>
                      <a:pt x="2215" y="15188"/>
                    </a:moveTo>
                    <a:cubicBezTo>
                      <a:pt x="-1074" y="11301"/>
                      <a:pt x="-655" y="5499"/>
                      <a:pt x="3173" y="2210"/>
                    </a:cubicBezTo>
                    <a:cubicBezTo>
                      <a:pt x="7000" y="-1080"/>
                      <a:pt x="12801" y="-661"/>
                      <a:pt x="16090" y="3226"/>
                    </a:cubicBezTo>
                    <a:cubicBezTo>
                      <a:pt x="19380" y="7114"/>
                      <a:pt x="18962" y="12915"/>
                      <a:pt x="15134" y="16204"/>
                    </a:cubicBezTo>
                    <a:cubicBezTo>
                      <a:pt x="11306" y="19494"/>
                      <a:pt x="5505" y="19016"/>
                      <a:pt x="2215" y="15188"/>
                    </a:cubicBezTo>
                    <a:close/>
                  </a:path>
                </a:pathLst>
              </a:custGeom>
              <a:grpFill/>
              <a:ln w="5978" cap="flat">
                <a:noFill/>
                <a:prstDash val="solid"/>
                <a:miter/>
              </a:ln>
            </p:spPr>
            <p:txBody>
              <a:bodyPr rtlCol="0" anchor="ctr"/>
              <a:lstStyle/>
              <a:p>
                <a:endParaRPr lang="en-GB"/>
              </a:p>
            </p:txBody>
          </p:sp>
          <p:sp>
            <p:nvSpPr>
              <p:cNvPr id="3959" name="Vrije vorm: vorm 3958">
                <a:extLst>
                  <a:ext uri="{FF2B5EF4-FFF2-40B4-BE49-F238E27FC236}">
                    <a16:creationId xmlns:a16="http://schemas.microsoft.com/office/drawing/2014/main" id="{B4421F10-2C60-4B12-A76C-BE9E59463B24}"/>
                  </a:ext>
                </a:extLst>
              </p:cNvPr>
              <p:cNvSpPr/>
              <p:nvPr/>
            </p:nvSpPr>
            <p:spPr>
              <a:xfrm>
                <a:off x="7601455" y="5041791"/>
                <a:ext cx="18305" cy="18414"/>
              </a:xfrm>
              <a:custGeom>
                <a:avLst/>
                <a:gdLst>
                  <a:gd name="connsiteX0" fmla="*/ 2215 w 18305"/>
                  <a:gd name="connsiteY0" fmla="*/ 15188 h 18414"/>
                  <a:gd name="connsiteX1" fmla="*/ 15133 w 18305"/>
                  <a:gd name="connsiteY1" fmla="*/ 16205 h 18414"/>
                  <a:gd name="connsiteX2" fmla="*/ 16090 w 18305"/>
                  <a:gd name="connsiteY2" fmla="*/ 3227 h 18414"/>
                  <a:gd name="connsiteX3" fmla="*/ 3172 w 18305"/>
                  <a:gd name="connsiteY3" fmla="*/ 2210 h 18414"/>
                  <a:gd name="connsiteX4" fmla="*/ 2215 w 18305"/>
                  <a:gd name="connsiteY4" fmla="*/ 1518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14">
                    <a:moveTo>
                      <a:pt x="2215" y="15188"/>
                    </a:moveTo>
                    <a:cubicBezTo>
                      <a:pt x="5504" y="19075"/>
                      <a:pt x="11306" y="19494"/>
                      <a:pt x="15133" y="16205"/>
                    </a:cubicBezTo>
                    <a:cubicBezTo>
                      <a:pt x="18961" y="12915"/>
                      <a:pt x="19380" y="7114"/>
                      <a:pt x="16090" y="3227"/>
                    </a:cubicBezTo>
                    <a:cubicBezTo>
                      <a:pt x="12801" y="-661"/>
                      <a:pt x="7000" y="-1080"/>
                      <a:pt x="3172" y="2210"/>
                    </a:cubicBezTo>
                    <a:cubicBezTo>
                      <a:pt x="-655" y="5499"/>
                      <a:pt x="-1074" y="11301"/>
                      <a:pt x="2215" y="15188"/>
                    </a:cubicBezTo>
                    <a:close/>
                  </a:path>
                </a:pathLst>
              </a:custGeom>
              <a:grpFill/>
              <a:ln w="5978" cap="flat">
                <a:noFill/>
                <a:prstDash val="solid"/>
                <a:miter/>
              </a:ln>
            </p:spPr>
            <p:txBody>
              <a:bodyPr rtlCol="0" anchor="ctr"/>
              <a:lstStyle/>
              <a:p>
                <a:endParaRPr lang="en-GB"/>
              </a:p>
            </p:txBody>
          </p:sp>
        </p:grpSp>
        <p:grpSp>
          <p:nvGrpSpPr>
            <p:cNvPr id="477" name="Graphic 3">
              <a:extLst>
                <a:ext uri="{FF2B5EF4-FFF2-40B4-BE49-F238E27FC236}">
                  <a16:creationId xmlns:a16="http://schemas.microsoft.com/office/drawing/2014/main" id="{BFC47BEF-4374-4E4E-9AF3-2319A18F0654}"/>
                </a:ext>
              </a:extLst>
            </p:cNvPr>
            <p:cNvGrpSpPr/>
            <p:nvPr/>
          </p:nvGrpSpPr>
          <p:grpSpPr>
            <a:xfrm>
              <a:off x="6304505" y="1483271"/>
              <a:ext cx="28102" cy="88297"/>
              <a:chOff x="6304505" y="1483271"/>
              <a:chExt cx="28102" cy="88297"/>
            </a:xfrm>
            <a:grpFill/>
          </p:grpSpPr>
          <p:sp>
            <p:nvSpPr>
              <p:cNvPr id="3954" name="Vrije vorm: vorm 3953">
                <a:extLst>
                  <a:ext uri="{FF2B5EF4-FFF2-40B4-BE49-F238E27FC236}">
                    <a16:creationId xmlns:a16="http://schemas.microsoft.com/office/drawing/2014/main" id="{0BDC7835-01FA-4AB9-AEB5-4E9C2C88A44F}"/>
                  </a:ext>
                </a:extLst>
              </p:cNvPr>
              <p:cNvSpPr/>
              <p:nvPr/>
            </p:nvSpPr>
            <p:spPr>
              <a:xfrm>
                <a:off x="6312074" y="1491812"/>
                <a:ext cx="12918" cy="71230"/>
              </a:xfrm>
              <a:custGeom>
                <a:avLst/>
                <a:gdLst>
                  <a:gd name="connsiteX0" fmla="*/ 12918 w 12918"/>
                  <a:gd name="connsiteY0" fmla="*/ 419 h 71230"/>
                  <a:gd name="connsiteX1" fmla="*/ 3050 w 12918"/>
                  <a:gd name="connsiteY1" fmla="*/ 71230 h 71230"/>
                  <a:gd name="connsiteX2" fmla="*/ 0 w 12918"/>
                  <a:gd name="connsiteY2" fmla="*/ 70812 h 71230"/>
                  <a:gd name="connsiteX3" fmla="*/ 9868 w 12918"/>
                  <a:gd name="connsiteY3" fmla="*/ 0 h 71230"/>
                </a:gdLst>
                <a:ahLst/>
                <a:cxnLst>
                  <a:cxn ang="0">
                    <a:pos x="connsiteX0" y="connsiteY0"/>
                  </a:cxn>
                  <a:cxn ang="0">
                    <a:pos x="connsiteX1" y="connsiteY1"/>
                  </a:cxn>
                  <a:cxn ang="0">
                    <a:pos x="connsiteX2" y="connsiteY2"/>
                  </a:cxn>
                  <a:cxn ang="0">
                    <a:pos x="connsiteX3" y="connsiteY3"/>
                  </a:cxn>
                </a:cxnLst>
                <a:rect l="l" t="t" r="r" b="b"/>
                <a:pathLst>
                  <a:path w="12918" h="71230">
                    <a:moveTo>
                      <a:pt x="12918" y="419"/>
                    </a:moveTo>
                    <a:lnTo>
                      <a:pt x="3050" y="71230"/>
                    </a:lnTo>
                    <a:lnTo>
                      <a:pt x="0" y="70812"/>
                    </a:lnTo>
                    <a:lnTo>
                      <a:pt x="9868" y="0"/>
                    </a:lnTo>
                    <a:close/>
                  </a:path>
                </a:pathLst>
              </a:custGeom>
              <a:grpFill/>
              <a:ln w="5978" cap="flat">
                <a:noFill/>
                <a:prstDash val="solid"/>
                <a:miter/>
              </a:ln>
            </p:spPr>
            <p:txBody>
              <a:bodyPr rtlCol="0" anchor="ctr"/>
              <a:lstStyle/>
              <a:p>
                <a:endParaRPr lang="en-GB"/>
              </a:p>
            </p:txBody>
          </p:sp>
          <p:sp>
            <p:nvSpPr>
              <p:cNvPr id="3955" name="Vrije vorm: vorm 3954">
                <a:extLst>
                  <a:ext uri="{FF2B5EF4-FFF2-40B4-BE49-F238E27FC236}">
                    <a16:creationId xmlns:a16="http://schemas.microsoft.com/office/drawing/2014/main" id="{BFD91E7C-A5BC-45E2-80A0-B6FE5F85357C}"/>
                  </a:ext>
                </a:extLst>
              </p:cNvPr>
              <p:cNvSpPr/>
              <p:nvPr/>
            </p:nvSpPr>
            <p:spPr>
              <a:xfrm>
                <a:off x="6314254" y="1483271"/>
                <a:ext cx="18353" cy="18396"/>
              </a:xfrm>
              <a:custGeom>
                <a:avLst/>
                <a:gdLst>
                  <a:gd name="connsiteX0" fmla="*/ 93 w 18353"/>
                  <a:gd name="connsiteY0" fmla="*/ 7882 h 18396"/>
                  <a:gd name="connsiteX1" fmla="*/ 10439 w 18353"/>
                  <a:gd name="connsiteY1" fmla="*/ 107 h 18396"/>
                  <a:gd name="connsiteX2" fmla="*/ 18274 w 18353"/>
                  <a:gd name="connsiteY2" fmla="*/ 10514 h 18396"/>
                  <a:gd name="connsiteX3" fmla="*/ 7927 w 18353"/>
                  <a:gd name="connsiteY3" fmla="*/ 18289 h 18396"/>
                  <a:gd name="connsiteX4" fmla="*/ 93 w 18353"/>
                  <a:gd name="connsiteY4" fmla="*/ 788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396">
                    <a:moveTo>
                      <a:pt x="93" y="7882"/>
                    </a:moveTo>
                    <a:cubicBezTo>
                      <a:pt x="810" y="2859"/>
                      <a:pt x="5415" y="-670"/>
                      <a:pt x="10439" y="107"/>
                    </a:cubicBezTo>
                    <a:cubicBezTo>
                      <a:pt x="15463" y="825"/>
                      <a:pt x="18932" y="5490"/>
                      <a:pt x="18274" y="10514"/>
                    </a:cubicBezTo>
                    <a:cubicBezTo>
                      <a:pt x="17556" y="15538"/>
                      <a:pt x="12951" y="19066"/>
                      <a:pt x="7927" y="18289"/>
                    </a:cubicBezTo>
                    <a:cubicBezTo>
                      <a:pt x="2903" y="17631"/>
                      <a:pt x="-625" y="12966"/>
                      <a:pt x="93" y="7882"/>
                    </a:cubicBezTo>
                    <a:close/>
                  </a:path>
                </a:pathLst>
              </a:custGeom>
              <a:grpFill/>
              <a:ln w="5978" cap="flat">
                <a:noFill/>
                <a:prstDash val="solid"/>
                <a:miter/>
              </a:ln>
            </p:spPr>
            <p:txBody>
              <a:bodyPr rtlCol="0" anchor="ctr"/>
              <a:lstStyle/>
              <a:p>
                <a:endParaRPr lang="en-GB"/>
              </a:p>
            </p:txBody>
          </p:sp>
          <p:sp>
            <p:nvSpPr>
              <p:cNvPr id="3956" name="Vrije vorm: vorm 3955">
                <a:extLst>
                  <a:ext uri="{FF2B5EF4-FFF2-40B4-BE49-F238E27FC236}">
                    <a16:creationId xmlns:a16="http://schemas.microsoft.com/office/drawing/2014/main" id="{425E620A-4AA4-43E5-9E93-AF381E4A07F9}"/>
                  </a:ext>
                </a:extLst>
              </p:cNvPr>
              <p:cNvSpPr/>
              <p:nvPr/>
            </p:nvSpPr>
            <p:spPr>
              <a:xfrm>
                <a:off x="6304505" y="1553186"/>
                <a:ext cx="18366" cy="18382"/>
              </a:xfrm>
              <a:custGeom>
                <a:avLst/>
                <a:gdLst>
                  <a:gd name="connsiteX0" fmla="*/ 93 w 18366"/>
                  <a:gd name="connsiteY0" fmla="*/ 7882 h 18382"/>
                  <a:gd name="connsiteX1" fmla="*/ 7927 w 18366"/>
                  <a:gd name="connsiteY1" fmla="*/ 18289 h 18382"/>
                  <a:gd name="connsiteX2" fmla="*/ 18274 w 18366"/>
                  <a:gd name="connsiteY2" fmla="*/ 10514 h 18382"/>
                  <a:gd name="connsiteX3" fmla="*/ 10439 w 18366"/>
                  <a:gd name="connsiteY3" fmla="*/ 107 h 18382"/>
                  <a:gd name="connsiteX4" fmla="*/ 93 w 18366"/>
                  <a:gd name="connsiteY4" fmla="*/ 7882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382">
                    <a:moveTo>
                      <a:pt x="93" y="7882"/>
                    </a:moveTo>
                    <a:cubicBezTo>
                      <a:pt x="-625" y="12906"/>
                      <a:pt x="2903" y="17571"/>
                      <a:pt x="7927" y="18289"/>
                    </a:cubicBezTo>
                    <a:cubicBezTo>
                      <a:pt x="12951" y="19006"/>
                      <a:pt x="17556" y="15538"/>
                      <a:pt x="18274" y="10514"/>
                    </a:cubicBezTo>
                    <a:cubicBezTo>
                      <a:pt x="18992" y="5490"/>
                      <a:pt x="15463" y="825"/>
                      <a:pt x="10439" y="107"/>
                    </a:cubicBezTo>
                    <a:cubicBezTo>
                      <a:pt x="5416" y="-670"/>
                      <a:pt x="810" y="2859"/>
                      <a:pt x="93" y="7882"/>
                    </a:cubicBezTo>
                    <a:close/>
                  </a:path>
                </a:pathLst>
              </a:custGeom>
              <a:grpFill/>
              <a:ln w="5978" cap="flat">
                <a:noFill/>
                <a:prstDash val="solid"/>
                <a:miter/>
              </a:ln>
            </p:spPr>
            <p:txBody>
              <a:bodyPr rtlCol="0" anchor="ctr"/>
              <a:lstStyle/>
              <a:p>
                <a:endParaRPr lang="en-GB"/>
              </a:p>
            </p:txBody>
          </p:sp>
        </p:grpSp>
        <p:grpSp>
          <p:nvGrpSpPr>
            <p:cNvPr id="478" name="Graphic 3">
              <a:extLst>
                <a:ext uri="{FF2B5EF4-FFF2-40B4-BE49-F238E27FC236}">
                  <a16:creationId xmlns:a16="http://schemas.microsoft.com/office/drawing/2014/main" id="{6439A9EA-1018-4E25-A6D2-959799FD97C4}"/>
                </a:ext>
              </a:extLst>
            </p:cNvPr>
            <p:cNvGrpSpPr/>
            <p:nvPr/>
          </p:nvGrpSpPr>
          <p:grpSpPr>
            <a:xfrm>
              <a:off x="7216556" y="4638890"/>
              <a:ext cx="431233" cy="513977"/>
              <a:chOff x="7216556" y="4638890"/>
              <a:chExt cx="431233" cy="513977"/>
            </a:xfrm>
            <a:grpFill/>
          </p:grpSpPr>
          <p:sp>
            <p:nvSpPr>
              <p:cNvPr id="3951" name="Vrije vorm: vorm 3950">
                <a:extLst>
                  <a:ext uri="{FF2B5EF4-FFF2-40B4-BE49-F238E27FC236}">
                    <a16:creationId xmlns:a16="http://schemas.microsoft.com/office/drawing/2014/main" id="{3F9CF8E8-DD9F-4965-8CC1-17D3F8CE3DCC}"/>
                  </a:ext>
                </a:extLst>
              </p:cNvPr>
              <p:cNvSpPr/>
              <p:nvPr/>
            </p:nvSpPr>
            <p:spPr>
              <a:xfrm>
                <a:off x="7224253" y="4646762"/>
                <a:ext cx="415839" cy="498194"/>
              </a:xfrm>
              <a:custGeom>
                <a:avLst/>
                <a:gdLst>
                  <a:gd name="connsiteX0" fmla="*/ 415840 w 415839"/>
                  <a:gd name="connsiteY0" fmla="*/ 496221 h 498194"/>
                  <a:gd name="connsiteX1" fmla="*/ 413507 w 415839"/>
                  <a:gd name="connsiteY1" fmla="*/ 498194 h 498194"/>
                  <a:gd name="connsiteX2" fmla="*/ 0 w 415839"/>
                  <a:gd name="connsiteY2" fmla="*/ 1974 h 498194"/>
                  <a:gd name="connsiteX3" fmla="*/ 2333 w 415839"/>
                  <a:gd name="connsiteY3" fmla="*/ 0 h 498194"/>
                </a:gdLst>
                <a:ahLst/>
                <a:cxnLst>
                  <a:cxn ang="0">
                    <a:pos x="connsiteX0" y="connsiteY0"/>
                  </a:cxn>
                  <a:cxn ang="0">
                    <a:pos x="connsiteX1" y="connsiteY1"/>
                  </a:cxn>
                  <a:cxn ang="0">
                    <a:pos x="connsiteX2" y="connsiteY2"/>
                  </a:cxn>
                  <a:cxn ang="0">
                    <a:pos x="connsiteX3" y="connsiteY3"/>
                  </a:cxn>
                </a:cxnLst>
                <a:rect l="l" t="t" r="r" b="b"/>
                <a:pathLst>
                  <a:path w="415839" h="498194">
                    <a:moveTo>
                      <a:pt x="415840" y="496221"/>
                    </a:moveTo>
                    <a:lnTo>
                      <a:pt x="413507" y="498194"/>
                    </a:lnTo>
                    <a:lnTo>
                      <a:pt x="0" y="1974"/>
                    </a:lnTo>
                    <a:lnTo>
                      <a:pt x="2333" y="0"/>
                    </a:lnTo>
                    <a:close/>
                  </a:path>
                </a:pathLst>
              </a:custGeom>
              <a:grpFill/>
              <a:ln w="5978" cap="flat">
                <a:noFill/>
                <a:prstDash val="solid"/>
                <a:miter/>
              </a:ln>
            </p:spPr>
            <p:txBody>
              <a:bodyPr rtlCol="0" anchor="ctr"/>
              <a:lstStyle/>
              <a:p>
                <a:endParaRPr lang="en-GB"/>
              </a:p>
            </p:txBody>
          </p:sp>
          <p:sp>
            <p:nvSpPr>
              <p:cNvPr id="3952" name="Vrije vorm: vorm 3951">
                <a:extLst>
                  <a:ext uri="{FF2B5EF4-FFF2-40B4-BE49-F238E27FC236}">
                    <a16:creationId xmlns:a16="http://schemas.microsoft.com/office/drawing/2014/main" id="{ACF0051E-02BF-4704-87C6-2B8D7CCA4F52}"/>
                  </a:ext>
                </a:extLst>
              </p:cNvPr>
              <p:cNvSpPr/>
              <p:nvPr/>
            </p:nvSpPr>
            <p:spPr>
              <a:xfrm>
                <a:off x="7216556" y="4638890"/>
                <a:ext cx="18324" cy="18433"/>
              </a:xfrm>
              <a:custGeom>
                <a:avLst/>
                <a:gdLst>
                  <a:gd name="connsiteX0" fmla="*/ 2135 w 18324"/>
                  <a:gd name="connsiteY0" fmla="*/ 15108 h 18433"/>
                  <a:gd name="connsiteX1" fmla="*/ 3271 w 18324"/>
                  <a:gd name="connsiteY1" fmla="*/ 2130 h 18433"/>
                  <a:gd name="connsiteX2" fmla="*/ 16190 w 18324"/>
                  <a:gd name="connsiteY2" fmla="*/ 3326 h 18433"/>
                  <a:gd name="connsiteX3" fmla="*/ 15053 w 18324"/>
                  <a:gd name="connsiteY3" fmla="*/ 16304 h 18433"/>
                  <a:gd name="connsiteX4" fmla="*/ 2135 w 18324"/>
                  <a:gd name="connsiteY4" fmla="*/ 15108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3">
                    <a:moveTo>
                      <a:pt x="2135" y="15108"/>
                    </a:moveTo>
                    <a:cubicBezTo>
                      <a:pt x="-1095" y="11221"/>
                      <a:pt x="-616" y="5360"/>
                      <a:pt x="3271" y="2130"/>
                    </a:cubicBezTo>
                    <a:cubicBezTo>
                      <a:pt x="7159" y="-1100"/>
                      <a:pt x="12900" y="-621"/>
                      <a:pt x="16190" y="3326"/>
                    </a:cubicBezTo>
                    <a:cubicBezTo>
                      <a:pt x="19420" y="7214"/>
                      <a:pt x="18941" y="13015"/>
                      <a:pt x="15053" y="16304"/>
                    </a:cubicBezTo>
                    <a:cubicBezTo>
                      <a:pt x="11166" y="19534"/>
                      <a:pt x="5424" y="19055"/>
                      <a:pt x="2135" y="15108"/>
                    </a:cubicBezTo>
                    <a:close/>
                  </a:path>
                </a:pathLst>
              </a:custGeom>
              <a:grpFill/>
              <a:ln w="5978" cap="flat">
                <a:noFill/>
                <a:prstDash val="solid"/>
                <a:miter/>
              </a:ln>
            </p:spPr>
            <p:txBody>
              <a:bodyPr rtlCol="0" anchor="ctr"/>
              <a:lstStyle/>
              <a:p>
                <a:endParaRPr lang="en-GB"/>
              </a:p>
            </p:txBody>
          </p:sp>
          <p:sp>
            <p:nvSpPr>
              <p:cNvPr id="3953" name="Vrije vorm: vorm 3952">
                <a:extLst>
                  <a:ext uri="{FF2B5EF4-FFF2-40B4-BE49-F238E27FC236}">
                    <a16:creationId xmlns:a16="http://schemas.microsoft.com/office/drawing/2014/main" id="{C27B1FE7-9795-4FB7-A47D-2662BB6216BD}"/>
                  </a:ext>
                </a:extLst>
              </p:cNvPr>
              <p:cNvSpPr/>
              <p:nvPr/>
            </p:nvSpPr>
            <p:spPr>
              <a:xfrm>
                <a:off x="7629465" y="5134472"/>
                <a:ext cx="18324" cy="18395"/>
              </a:xfrm>
              <a:custGeom>
                <a:avLst/>
                <a:gdLst>
                  <a:gd name="connsiteX0" fmla="*/ 2135 w 18324"/>
                  <a:gd name="connsiteY0" fmla="*/ 15089 h 18395"/>
                  <a:gd name="connsiteX1" fmla="*/ 15053 w 18324"/>
                  <a:gd name="connsiteY1" fmla="*/ 16285 h 18395"/>
                  <a:gd name="connsiteX2" fmla="*/ 16190 w 18324"/>
                  <a:gd name="connsiteY2" fmla="*/ 3306 h 18395"/>
                  <a:gd name="connsiteX3" fmla="*/ 3271 w 18324"/>
                  <a:gd name="connsiteY3" fmla="*/ 2111 h 18395"/>
                  <a:gd name="connsiteX4" fmla="*/ 2135 w 18324"/>
                  <a:gd name="connsiteY4" fmla="*/ 15089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5">
                    <a:moveTo>
                      <a:pt x="2135" y="15089"/>
                    </a:moveTo>
                    <a:cubicBezTo>
                      <a:pt x="5365" y="18976"/>
                      <a:pt x="11166" y="19514"/>
                      <a:pt x="15053" y="16285"/>
                    </a:cubicBezTo>
                    <a:cubicBezTo>
                      <a:pt x="18941" y="13055"/>
                      <a:pt x="19419" y="7194"/>
                      <a:pt x="16190" y="3306"/>
                    </a:cubicBezTo>
                    <a:cubicBezTo>
                      <a:pt x="12960" y="-581"/>
                      <a:pt x="7159" y="-1119"/>
                      <a:pt x="3271" y="2111"/>
                    </a:cubicBezTo>
                    <a:cubicBezTo>
                      <a:pt x="-616" y="5340"/>
                      <a:pt x="-1094" y="11141"/>
                      <a:pt x="2135" y="15089"/>
                    </a:cubicBezTo>
                    <a:close/>
                  </a:path>
                </a:pathLst>
              </a:custGeom>
              <a:grpFill/>
              <a:ln w="5978" cap="flat">
                <a:noFill/>
                <a:prstDash val="solid"/>
                <a:miter/>
              </a:ln>
            </p:spPr>
            <p:txBody>
              <a:bodyPr rtlCol="0" anchor="ctr"/>
              <a:lstStyle/>
              <a:p>
                <a:endParaRPr lang="en-GB"/>
              </a:p>
            </p:txBody>
          </p:sp>
        </p:grpSp>
        <p:grpSp>
          <p:nvGrpSpPr>
            <p:cNvPr id="479" name="Graphic 3">
              <a:extLst>
                <a:ext uri="{FF2B5EF4-FFF2-40B4-BE49-F238E27FC236}">
                  <a16:creationId xmlns:a16="http://schemas.microsoft.com/office/drawing/2014/main" id="{54DCBC8B-F1D0-46ED-91D2-85D7083969C4}"/>
                </a:ext>
              </a:extLst>
            </p:cNvPr>
            <p:cNvGrpSpPr/>
            <p:nvPr/>
          </p:nvGrpSpPr>
          <p:grpSpPr>
            <a:xfrm>
              <a:off x="7297622" y="4541399"/>
              <a:ext cx="97850" cy="90452"/>
              <a:chOff x="7297622" y="4541399"/>
              <a:chExt cx="97850" cy="90452"/>
            </a:xfrm>
            <a:grpFill/>
          </p:grpSpPr>
          <p:sp>
            <p:nvSpPr>
              <p:cNvPr id="3948" name="Vrije vorm: vorm 3947">
                <a:extLst>
                  <a:ext uri="{FF2B5EF4-FFF2-40B4-BE49-F238E27FC236}">
                    <a16:creationId xmlns:a16="http://schemas.microsoft.com/office/drawing/2014/main" id="{3D173218-BEAE-4A08-8810-02BA6F6BF2AD}"/>
                  </a:ext>
                </a:extLst>
              </p:cNvPr>
              <p:cNvSpPr/>
              <p:nvPr/>
            </p:nvSpPr>
            <p:spPr>
              <a:xfrm>
                <a:off x="7305412" y="4549156"/>
                <a:ext cx="82234" cy="74878"/>
              </a:xfrm>
              <a:custGeom>
                <a:avLst/>
                <a:gdLst>
                  <a:gd name="connsiteX0" fmla="*/ 82235 w 82234"/>
                  <a:gd name="connsiteY0" fmla="*/ 72606 h 74878"/>
                  <a:gd name="connsiteX1" fmla="*/ 80201 w 82234"/>
                  <a:gd name="connsiteY1" fmla="*/ 74879 h 74878"/>
                  <a:gd name="connsiteX2" fmla="*/ 0 w 82234"/>
                  <a:gd name="connsiteY2" fmla="*/ 2273 h 74878"/>
                  <a:gd name="connsiteX3" fmla="*/ 2033 w 82234"/>
                  <a:gd name="connsiteY3" fmla="*/ 0 h 74878"/>
                </a:gdLst>
                <a:ahLst/>
                <a:cxnLst>
                  <a:cxn ang="0">
                    <a:pos x="connsiteX0" y="connsiteY0"/>
                  </a:cxn>
                  <a:cxn ang="0">
                    <a:pos x="connsiteX1" y="connsiteY1"/>
                  </a:cxn>
                  <a:cxn ang="0">
                    <a:pos x="connsiteX2" y="connsiteY2"/>
                  </a:cxn>
                  <a:cxn ang="0">
                    <a:pos x="connsiteX3" y="connsiteY3"/>
                  </a:cxn>
                </a:cxnLst>
                <a:rect l="l" t="t" r="r" b="b"/>
                <a:pathLst>
                  <a:path w="82234" h="74878">
                    <a:moveTo>
                      <a:pt x="82235" y="72606"/>
                    </a:moveTo>
                    <a:lnTo>
                      <a:pt x="80201" y="74879"/>
                    </a:lnTo>
                    <a:lnTo>
                      <a:pt x="0" y="2273"/>
                    </a:lnTo>
                    <a:lnTo>
                      <a:pt x="2033" y="0"/>
                    </a:lnTo>
                    <a:close/>
                  </a:path>
                </a:pathLst>
              </a:custGeom>
              <a:grpFill/>
              <a:ln w="5978" cap="flat">
                <a:noFill/>
                <a:prstDash val="solid"/>
                <a:miter/>
              </a:ln>
            </p:spPr>
            <p:txBody>
              <a:bodyPr rtlCol="0" anchor="ctr"/>
              <a:lstStyle/>
              <a:p>
                <a:endParaRPr lang="en-GB"/>
              </a:p>
            </p:txBody>
          </p:sp>
          <p:sp>
            <p:nvSpPr>
              <p:cNvPr id="3949" name="Vrije vorm: vorm 3948">
                <a:extLst>
                  <a:ext uri="{FF2B5EF4-FFF2-40B4-BE49-F238E27FC236}">
                    <a16:creationId xmlns:a16="http://schemas.microsoft.com/office/drawing/2014/main" id="{8D62244F-616D-41E8-9B33-0E187D45B8CC}"/>
                  </a:ext>
                </a:extLst>
              </p:cNvPr>
              <p:cNvSpPr/>
              <p:nvPr/>
            </p:nvSpPr>
            <p:spPr>
              <a:xfrm>
                <a:off x="7377189" y="4613386"/>
                <a:ext cx="18283" cy="18465"/>
              </a:xfrm>
              <a:custGeom>
                <a:avLst/>
                <a:gdLst>
                  <a:gd name="connsiteX0" fmla="*/ 15242 w 18283"/>
                  <a:gd name="connsiteY0" fmla="*/ 2395 h 18465"/>
                  <a:gd name="connsiteX1" fmla="*/ 15959 w 18283"/>
                  <a:gd name="connsiteY1" fmla="*/ 15433 h 18465"/>
                  <a:gd name="connsiteX2" fmla="*/ 3041 w 18283"/>
                  <a:gd name="connsiteY2" fmla="*/ 16091 h 18465"/>
                  <a:gd name="connsiteX3" fmla="*/ 2324 w 18283"/>
                  <a:gd name="connsiteY3" fmla="*/ 3053 h 18465"/>
                  <a:gd name="connsiteX4" fmla="*/ 15242 w 18283"/>
                  <a:gd name="connsiteY4" fmla="*/ 2395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65">
                    <a:moveTo>
                      <a:pt x="15242" y="2395"/>
                    </a:moveTo>
                    <a:cubicBezTo>
                      <a:pt x="19010" y="5804"/>
                      <a:pt x="19309" y="11606"/>
                      <a:pt x="15959" y="15433"/>
                    </a:cubicBezTo>
                    <a:cubicBezTo>
                      <a:pt x="12610" y="19201"/>
                      <a:pt x="6809" y="19500"/>
                      <a:pt x="3041" y="16091"/>
                    </a:cubicBezTo>
                    <a:cubicBezTo>
                      <a:pt x="-726" y="12682"/>
                      <a:pt x="-1026" y="6881"/>
                      <a:pt x="2324" y="3053"/>
                    </a:cubicBezTo>
                    <a:cubicBezTo>
                      <a:pt x="5673" y="-775"/>
                      <a:pt x="11474" y="-1014"/>
                      <a:pt x="15242" y="2395"/>
                    </a:cubicBezTo>
                    <a:close/>
                  </a:path>
                </a:pathLst>
              </a:custGeom>
              <a:grpFill/>
              <a:ln w="5978" cap="flat">
                <a:noFill/>
                <a:prstDash val="solid"/>
                <a:miter/>
              </a:ln>
            </p:spPr>
            <p:txBody>
              <a:bodyPr rtlCol="0" anchor="ctr"/>
              <a:lstStyle/>
              <a:p>
                <a:endParaRPr lang="en-GB"/>
              </a:p>
            </p:txBody>
          </p:sp>
          <p:sp>
            <p:nvSpPr>
              <p:cNvPr id="3950" name="Vrije vorm: vorm 3949">
                <a:extLst>
                  <a:ext uri="{FF2B5EF4-FFF2-40B4-BE49-F238E27FC236}">
                    <a16:creationId xmlns:a16="http://schemas.microsoft.com/office/drawing/2014/main" id="{C839EFA9-33FF-43C9-9CDA-4D299F5D9E1A}"/>
                  </a:ext>
                </a:extLst>
              </p:cNvPr>
              <p:cNvSpPr/>
              <p:nvPr/>
            </p:nvSpPr>
            <p:spPr>
              <a:xfrm>
                <a:off x="7297622" y="4541399"/>
                <a:ext cx="18331" cy="18444"/>
              </a:xfrm>
              <a:custGeom>
                <a:avLst/>
                <a:gdLst>
                  <a:gd name="connsiteX0" fmla="*/ 15266 w 18331"/>
                  <a:gd name="connsiteY0" fmla="*/ 2374 h 18444"/>
                  <a:gd name="connsiteX1" fmla="*/ 2347 w 18331"/>
                  <a:gd name="connsiteY1" fmla="*/ 3032 h 18444"/>
                  <a:gd name="connsiteX2" fmla="*/ 3065 w 18331"/>
                  <a:gd name="connsiteY2" fmla="*/ 16070 h 18444"/>
                  <a:gd name="connsiteX3" fmla="*/ 15984 w 18331"/>
                  <a:gd name="connsiteY3" fmla="*/ 15412 h 18444"/>
                  <a:gd name="connsiteX4" fmla="*/ 15266 w 18331"/>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44">
                    <a:moveTo>
                      <a:pt x="15266" y="2374"/>
                    </a:moveTo>
                    <a:cubicBezTo>
                      <a:pt x="11498" y="-1035"/>
                      <a:pt x="5696" y="-736"/>
                      <a:pt x="2347" y="3032"/>
                    </a:cubicBezTo>
                    <a:cubicBezTo>
                      <a:pt x="-1061" y="6800"/>
                      <a:pt x="-703" y="12661"/>
                      <a:pt x="3065" y="16070"/>
                    </a:cubicBezTo>
                    <a:cubicBezTo>
                      <a:pt x="6833" y="19479"/>
                      <a:pt x="12634" y="19180"/>
                      <a:pt x="15984" y="15412"/>
                    </a:cubicBezTo>
                    <a:cubicBezTo>
                      <a:pt x="19392" y="11585"/>
                      <a:pt x="19034" y="5783"/>
                      <a:pt x="15266" y="2374"/>
                    </a:cubicBezTo>
                    <a:close/>
                  </a:path>
                </a:pathLst>
              </a:custGeom>
              <a:grpFill/>
              <a:ln w="5978" cap="flat">
                <a:noFill/>
                <a:prstDash val="solid"/>
                <a:miter/>
              </a:ln>
            </p:spPr>
            <p:txBody>
              <a:bodyPr rtlCol="0" anchor="ctr"/>
              <a:lstStyle/>
              <a:p>
                <a:endParaRPr lang="en-GB"/>
              </a:p>
            </p:txBody>
          </p:sp>
        </p:grpSp>
        <p:grpSp>
          <p:nvGrpSpPr>
            <p:cNvPr id="480" name="Graphic 3">
              <a:extLst>
                <a:ext uri="{FF2B5EF4-FFF2-40B4-BE49-F238E27FC236}">
                  <a16:creationId xmlns:a16="http://schemas.microsoft.com/office/drawing/2014/main" id="{57FD51A4-5BD1-461A-BB41-8CD4E795E4B6}"/>
                </a:ext>
              </a:extLst>
            </p:cNvPr>
            <p:cNvGrpSpPr/>
            <p:nvPr/>
          </p:nvGrpSpPr>
          <p:grpSpPr>
            <a:xfrm>
              <a:off x="6330084" y="1611000"/>
              <a:ext cx="18777" cy="21424"/>
              <a:chOff x="6330084" y="1611000"/>
              <a:chExt cx="18777" cy="21424"/>
            </a:xfrm>
            <a:grpFill/>
          </p:grpSpPr>
          <p:sp>
            <p:nvSpPr>
              <p:cNvPr id="3945" name="Vrije vorm: vorm 3944">
                <a:extLst>
                  <a:ext uri="{FF2B5EF4-FFF2-40B4-BE49-F238E27FC236}">
                    <a16:creationId xmlns:a16="http://schemas.microsoft.com/office/drawing/2014/main" id="{4AC27B1D-377F-4077-97C5-B2D4CCCAFA09}"/>
                  </a:ext>
                </a:extLst>
              </p:cNvPr>
              <p:cNvSpPr/>
              <p:nvPr/>
            </p:nvSpPr>
            <p:spPr>
              <a:xfrm>
                <a:off x="6337671" y="1619560"/>
                <a:ext cx="3648" cy="4306"/>
              </a:xfrm>
              <a:custGeom>
                <a:avLst/>
                <a:gdLst>
                  <a:gd name="connsiteX0" fmla="*/ 3649 w 3648"/>
                  <a:gd name="connsiteY0" fmla="*/ 478 h 4306"/>
                  <a:gd name="connsiteX1" fmla="*/ 2990 w 3648"/>
                  <a:gd name="connsiteY1" fmla="*/ 4306 h 4306"/>
                  <a:gd name="connsiteX2" fmla="*/ 0 w 3648"/>
                  <a:gd name="connsiteY2" fmla="*/ 3828 h 4306"/>
                  <a:gd name="connsiteX3" fmla="*/ 598 w 3648"/>
                  <a:gd name="connsiteY3" fmla="*/ 0 h 4306"/>
                </a:gdLst>
                <a:ahLst/>
                <a:cxnLst>
                  <a:cxn ang="0">
                    <a:pos x="connsiteX0" y="connsiteY0"/>
                  </a:cxn>
                  <a:cxn ang="0">
                    <a:pos x="connsiteX1" y="connsiteY1"/>
                  </a:cxn>
                  <a:cxn ang="0">
                    <a:pos x="connsiteX2" y="connsiteY2"/>
                  </a:cxn>
                  <a:cxn ang="0">
                    <a:pos x="connsiteX3" y="connsiteY3"/>
                  </a:cxn>
                </a:cxnLst>
                <a:rect l="l" t="t" r="r" b="b"/>
                <a:pathLst>
                  <a:path w="3648" h="4306">
                    <a:moveTo>
                      <a:pt x="3649" y="478"/>
                    </a:moveTo>
                    <a:lnTo>
                      <a:pt x="2990" y="4306"/>
                    </a:lnTo>
                    <a:lnTo>
                      <a:pt x="0" y="3828"/>
                    </a:lnTo>
                    <a:lnTo>
                      <a:pt x="598" y="0"/>
                    </a:lnTo>
                    <a:close/>
                  </a:path>
                </a:pathLst>
              </a:custGeom>
              <a:grpFill/>
              <a:ln w="5978" cap="flat">
                <a:noFill/>
                <a:prstDash val="solid"/>
                <a:miter/>
              </a:ln>
            </p:spPr>
            <p:txBody>
              <a:bodyPr rtlCol="0" anchor="ctr"/>
              <a:lstStyle/>
              <a:p>
                <a:endParaRPr lang="en-GB"/>
              </a:p>
            </p:txBody>
          </p:sp>
          <p:sp>
            <p:nvSpPr>
              <p:cNvPr id="3946" name="Vrije vorm: vorm 3945">
                <a:extLst>
                  <a:ext uri="{FF2B5EF4-FFF2-40B4-BE49-F238E27FC236}">
                    <a16:creationId xmlns:a16="http://schemas.microsoft.com/office/drawing/2014/main" id="{6A688215-37A2-4E4B-BA6E-DCFE9E0C6B2B}"/>
                  </a:ext>
                </a:extLst>
              </p:cNvPr>
              <p:cNvSpPr/>
              <p:nvPr/>
            </p:nvSpPr>
            <p:spPr>
              <a:xfrm>
                <a:off x="6330563" y="1611000"/>
                <a:ext cx="18298" cy="18434"/>
              </a:xfrm>
              <a:custGeom>
                <a:avLst/>
                <a:gdLst>
                  <a:gd name="connsiteX0" fmla="*/ 111 w 18298"/>
                  <a:gd name="connsiteY0" fmla="*/ 7722 h 18434"/>
                  <a:gd name="connsiteX1" fmla="*/ 10577 w 18298"/>
                  <a:gd name="connsiteY1" fmla="*/ 126 h 18434"/>
                  <a:gd name="connsiteX2" fmla="*/ 18172 w 18298"/>
                  <a:gd name="connsiteY2" fmla="*/ 10712 h 18434"/>
                  <a:gd name="connsiteX3" fmla="*/ 7706 w 18298"/>
                  <a:gd name="connsiteY3" fmla="*/ 18308 h 18434"/>
                  <a:gd name="connsiteX4" fmla="*/ 111 w 1829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4">
                    <a:moveTo>
                      <a:pt x="111" y="7722"/>
                    </a:moveTo>
                    <a:cubicBezTo>
                      <a:pt x="888" y="2698"/>
                      <a:pt x="5613" y="-711"/>
                      <a:pt x="10577" y="126"/>
                    </a:cubicBezTo>
                    <a:cubicBezTo>
                      <a:pt x="15601" y="964"/>
                      <a:pt x="19009" y="5688"/>
                      <a:pt x="18172" y="10712"/>
                    </a:cubicBezTo>
                    <a:cubicBezTo>
                      <a:pt x="17395" y="15736"/>
                      <a:pt x="12670" y="19145"/>
                      <a:pt x="7706" y="18308"/>
                    </a:cubicBezTo>
                    <a:cubicBezTo>
                      <a:pt x="2742" y="17530"/>
                      <a:pt x="-667" y="12746"/>
                      <a:pt x="111" y="7722"/>
                    </a:cubicBezTo>
                    <a:close/>
                  </a:path>
                </a:pathLst>
              </a:custGeom>
              <a:grpFill/>
              <a:ln w="5978" cap="flat">
                <a:noFill/>
                <a:prstDash val="solid"/>
                <a:miter/>
              </a:ln>
            </p:spPr>
            <p:txBody>
              <a:bodyPr rtlCol="0" anchor="ctr"/>
              <a:lstStyle/>
              <a:p>
                <a:endParaRPr lang="en-GB"/>
              </a:p>
            </p:txBody>
          </p:sp>
          <p:sp>
            <p:nvSpPr>
              <p:cNvPr id="3947" name="Vrije vorm: vorm 3946">
                <a:extLst>
                  <a:ext uri="{FF2B5EF4-FFF2-40B4-BE49-F238E27FC236}">
                    <a16:creationId xmlns:a16="http://schemas.microsoft.com/office/drawing/2014/main" id="{46BABD70-40B3-4A38-ACAB-26A5CACB2692}"/>
                  </a:ext>
                </a:extLst>
              </p:cNvPr>
              <p:cNvSpPr/>
              <p:nvPr/>
            </p:nvSpPr>
            <p:spPr>
              <a:xfrm>
                <a:off x="6330084" y="1613991"/>
                <a:ext cx="18282" cy="18434"/>
              </a:xfrm>
              <a:custGeom>
                <a:avLst/>
                <a:gdLst>
                  <a:gd name="connsiteX0" fmla="*/ 111 w 18282"/>
                  <a:gd name="connsiteY0" fmla="*/ 7722 h 18434"/>
                  <a:gd name="connsiteX1" fmla="*/ 7706 w 18282"/>
                  <a:gd name="connsiteY1" fmla="*/ 18308 h 18434"/>
                  <a:gd name="connsiteX2" fmla="*/ 18172 w 18282"/>
                  <a:gd name="connsiteY2" fmla="*/ 10712 h 18434"/>
                  <a:gd name="connsiteX3" fmla="*/ 10577 w 18282"/>
                  <a:gd name="connsiteY3" fmla="*/ 126 h 18434"/>
                  <a:gd name="connsiteX4" fmla="*/ 111 w 18282"/>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34">
                    <a:moveTo>
                      <a:pt x="111" y="7722"/>
                    </a:moveTo>
                    <a:cubicBezTo>
                      <a:pt x="-667" y="12746"/>
                      <a:pt x="2742" y="17471"/>
                      <a:pt x="7706" y="18308"/>
                    </a:cubicBezTo>
                    <a:cubicBezTo>
                      <a:pt x="12730" y="19145"/>
                      <a:pt x="17395" y="15736"/>
                      <a:pt x="18172" y="10712"/>
                    </a:cubicBezTo>
                    <a:cubicBezTo>
                      <a:pt x="18950" y="5688"/>
                      <a:pt x="15541" y="964"/>
                      <a:pt x="10577" y="126"/>
                    </a:cubicBezTo>
                    <a:cubicBezTo>
                      <a:pt x="5613" y="-711"/>
                      <a:pt x="888" y="2698"/>
                      <a:pt x="111" y="7722"/>
                    </a:cubicBezTo>
                    <a:close/>
                  </a:path>
                </a:pathLst>
              </a:custGeom>
              <a:grpFill/>
              <a:ln w="5978" cap="flat">
                <a:noFill/>
                <a:prstDash val="solid"/>
                <a:miter/>
              </a:ln>
            </p:spPr>
            <p:txBody>
              <a:bodyPr rtlCol="0" anchor="ctr"/>
              <a:lstStyle/>
              <a:p>
                <a:endParaRPr lang="en-GB"/>
              </a:p>
            </p:txBody>
          </p:sp>
        </p:grpSp>
        <p:grpSp>
          <p:nvGrpSpPr>
            <p:cNvPr id="481" name="Graphic 3">
              <a:extLst>
                <a:ext uri="{FF2B5EF4-FFF2-40B4-BE49-F238E27FC236}">
                  <a16:creationId xmlns:a16="http://schemas.microsoft.com/office/drawing/2014/main" id="{ED982405-2188-43C9-9250-ABFD0E4C0979}"/>
                </a:ext>
              </a:extLst>
            </p:cNvPr>
            <p:cNvGrpSpPr/>
            <p:nvPr/>
          </p:nvGrpSpPr>
          <p:grpSpPr>
            <a:xfrm>
              <a:off x="7339861" y="4718082"/>
              <a:ext cx="94495" cy="95512"/>
              <a:chOff x="7339861" y="4718082"/>
              <a:chExt cx="94495" cy="95512"/>
            </a:xfrm>
            <a:grpFill/>
          </p:grpSpPr>
          <p:sp>
            <p:nvSpPr>
              <p:cNvPr id="3942" name="Vrije vorm: vorm 3941">
                <a:extLst>
                  <a:ext uri="{FF2B5EF4-FFF2-40B4-BE49-F238E27FC236}">
                    <a16:creationId xmlns:a16="http://schemas.microsoft.com/office/drawing/2014/main" id="{1CC6DEA1-606D-48C7-A2C5-703176B037AD}"/>
                  </a:ext>
                </a:extLst>
              </p:cNvPr>
              <p:cNvSpPr/>
              <p:nvPr/>
            </p:nvSpPr>
            <p:spPr>
              <a:xfrm>
                <a:off x="7347635" y="4725827"/>
                <a:ext cx="78945" cy="79902"/>
              </a:xfrm>
              <a:custGeom>
                <a:avLst/>
                <a:gdLst>
                  <a:gd name="connsiteX0" fmla="*/ 78946 w 78945"/>
                  <a:gd name="connsiteY0" fmla="*/ 77749 h 79902"/>
                  <a:gd name="connsiteX1" fmla="*/ 76792 w 78945"/>
                  <a:gd name="connsiteY1" fmla="*/ 79902 h 79902"/>
                  <a:gd name="connsiteX2" fmla="*/ 0 w 78945"/>
                  <a:gd name="connsiteY2" fmla="*/ 2153 h 79902"/>
                  <a:gd name="connsiteX3" fmla="*/ 2213 w 78945"/>
                  <a:gd name="connsiteY3" fmla="*/ 0 h 79902"/>
                </a:gdLst>
                <a:ahLst/>
                <a:cxnLst>
                  <a:cxn ang="0">
                    <a:pos x="connsiteX0" y="connsiteY0"/>
                  </a:cxn>
                  <a:cxn ang="0">
                    <a:pos x="connsiteX1" y="connsiteY1"/>
                  </a:cxn>
                  <a:cxn ang="0">
                    <a:pos x="connsiteX2" y="connsiteY2"/>
                  </a:cxn>
                  <a:cxn ang="0">
                    <a:pos x="connsiteX3" y="connsiteY3"/>
                  </a:cxn>
                </a:cxnLst>
                <a:rect l="l" t="t" r="r" b="b"/>
                <a:pathLst>
                  <a:path w="78945" h="79902">
                    <a:moveTo>
                      <a:pt x="78946" y="77749"/>
                    </a:moveTo>
                    <a:lnTo>
                      <a:pt x="76792" y="79902"/>
                    </a:lnTo>
                    <a:lnTo>
                      <a:pt x="0" y="2153"/>
                    </a:lnTo>
                    <a:lnTo>
                      <a:pt x="2213" y="0"/>
                    </a:lnTo>
                    <a:close/>
                  </a:path>
                </a:pathLst>
              </a:custGeom>
              <a:grpFill/>
              <a:ln w="5978" cap="flat">
                <a:noFill/>
                <a:prstDash val="solid"/>
                <a:miter/>
              </a:ln>
            </p:spPr>
            <p:txBody>
              <a:bodyPr rtlCol="0" anchor="ctr"/>
              <a:lstStyle/>
              <a:p>
                <a:endParaRPr lang="en-GB"/>
              </a:p>
            </p:txBody>
          </p:sp>
          <p:sp>
            <p:nvSpPr>
              <p:cNvPr id="3943" name="Vrije vorm: vorm 3942">
                <a:extLst>
                  <a:ext uri="{FF2B5EF4-FFF2-40B4-BE49-F238E27FC236}">
                    <a16:creationId xmlns:a16="http://schemas.microsoft.com/office/drawing/2014/main" id="{1A297B27-F26F-4108-804D-AC4A845F806C}"/>
                  </a:ext>
                </a:extLst>
              </p:cNvPr>
              <p:cNvSpPr/>
              <p:nvPr/>
            </p:nvSpPr>
            <p:spPr>
              <a:xfrm>
                <a:off x="7415995" y="4795151"/>
                <a:ext cx="18360" cy="18443"/>
              </a:xfrm>
              <a:custGeom>
                <a:avLst/>
                <a:gdLst>
                  <a:gd name="connsiteX0" fmla="*/ 15670 w 18360"/>
                  <a:gd name="connsiteY0" fmla="*/ 2744 h 18443"/>
                  <a:gd name="connsiteX1" fmla="*/ 15670 w 18360"/>
                  <a:gd name="connsiteY1" fmla="*/ 15782 h 18443"/>
                  <a:gd name="connsiteX2" fmla="*/ 2691 w 18360"/>
                  <a:gd name="connsiteY2" fmla="*/ 15722 h 18443"/>
                  <a:gd name="connsiteX3" fmla="*/ 2691 w 18360"/>
                  <a:gd name="connsiteY3" fmla="*/ 2684 h 18443"/>
                  <a:gd name="connsiteX4" fmla="*/ 15670 w 18360"/>
                  <a:gd name="connsiteY4" fmla="*/ 274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43">
                    <a:moveTo>
                      <a:pt x="15670" y="2744"/>
                    </a:moveTo>
                    <a:cubicBezTo>
                      <a:pt x="19258" y="6392"/>
                      <a:pt x="19258" y="12193"/>
                      <a:pt x="15670" y="15782"/>
                    </a:cubicBezTo>
                    <a:cubicBezTo>
                      <a:pt x="12081" y="19370"/>
                      <a:pt x="6280" y="19310"/>
                      <a:pt x="2691" y="15722"/>
                    </a:cubicBezTo>
                    <a:cubicBezTo>
                      <a:pt x="-897" y="12134"/>
                      <a:pt x="-897" y="6272"/>
                      <a:pt x="2691" y="2684"/>
                    </a:cubicBezTo>
                    <a:cubicBezTo>
                      <a:pt x="6339" y="-905"/>
                      <a:pt x="12141" y="-905"/>
                      <a:pt x="15670" y="2744"/>
                    </a:cubicBezTo>
                    <a:close/>
                  </a:path>
                </a:pathLst>
              </a:custGeom>
              <a:grpFill/>
              <a:ln w="5978" cap="flat">
                <a:noFill/>
                <a:prstDash val="solid"/>
                <a:miter/>
              </a:ln>
            </p:spPr>
            <p:txBody>
              <a:bodyPr rtlCol="0" anchor="ctr"/>
              <a:lstStyle/>
              <a:p>
                <a:endParaRPr lang="en-GB"/>
              </a:p>
            </p:txBody>
          </p:sp>
          <p:sp>
            <p:nvSpPr>
              <p:cNvPr id="3944" name="Vrije vorm: vorm 3943">
                <a:extLst>
                  <a:ext uri="{FF2B5EF4-FFF2-40B4-BE49-F238E27FC236}">
                    <a16:creationId xmlns:a16="http://schemas.microsoft.com/office/drawing/2014/main" id="{3FD76247-463C-469C-820A-ACFF1BF26A26}"/>
                  </a:ext>
                </a:extLst>
              </p:cNvPr>
              <p:cNvSpPr/>
              <p:nvPr/>
            </p:nvSpPr>
            <p:spPr>
              <a:xfrm>
                <a:off x="7339861" y="4718082"/>
                <a:ext cx="18360" cy="18420"/>
              </a:xfrm>
              <a:custGeom>
                <a:avLst/>
                <a:gdLst>
                  <a:gd name="connsiteX0" fmla="*/ 15670 w 18360"/>
                  <a:gd name="connsiteY0" fmla="*/ 2721 h 18420"/>
                  <a:gd name="connsiteX1" fmla="*/ 2691 w 18360"/>
                  <a:gd name="connsiteY1" fmla="*/ 2661 h 18420"/>
                  <a:gd name="connsiteX2" fmla="*/ 2691 w 18360"/>
                  <a:gd name="connsiteY2" fmla="*/ 15699 h 18420"/>
                  <a:gd name="connsiteX3" fmla="*/ 15670 w 18360"/>
                  <a:gd name="connsiteY3" fmla="*/ 15759 h 18420"/>
                  <a:gd name="connsiteX4" fmla="*/ 15670 w 18360"/>
                  <a:gd name="connsiteY4" fmla="*/ 27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15670" y="2721"/>
                    </a:moveTo>
                    <a:cubicBezTo>
                      <a:pt x="12081" y="-867"/>
                      <a:pt x="6280" y="-927"/>
                      <a:pt x="2691" y="2661"/>
                    </a:cubicBezTo>
                    <a:cubicBezTo>
                      <a:pt x="-897" y="6250"/>
                      <a:pt x="-897" y="12051"/>
                      <a:pt x="2691" y="15699"/>
                    </a:cubicBezTo>
                    <a:cubicBezTo>
                      <a:pt x="6280" y="19288"/>
                      <a:pt x="12081" y="19348"/>
                      <a:pt x="15670" y="15759"/>
                    </a:cubicBezTo>
                    <a:cubicBezTo>
                      <a:pt x="19258" y="12171"/>
                      <a:pt x="19258" y="6310"/>
                      <a:pt x="15670" y="2721"/>
                    </a:cubicBezTo>
                    <a:close/>
                  </a:path>
                </a:pathLst>
              </a:custGeom>
              <a:grpFill/>
              <a:ln w="5978" cap="flat">
                <a:noFill/>
                <a:prstDash val="solid"/>
                <a:miter/>
              </a:ln>
            </p:spPr>
            <p:txBody>
              <a:bodyPr rtlCol="0" anchor="ctr"/>
              <a:lstStyle/>
              <a:p>
                <a:endParaRPr lang="en-GB"/>
              </a:p>
            </p:txBody>
          </p:sp>
        </p:grpSp>
        <p:grpSp>
          <p:nvGrpSpPr>
            <p:cNvPr id="482" name="Graphic 3">
              <a:extLst>
                <a:ext uri="{FF2B5EF4-FFF2-40B4-BE49-F238E27FC236}">
                  <a16:creationId xmlns:a16="http://schemas.microsoft.com/office/drawing/2014/main" id="{E69B3763-169B-4A24-A4C1-89C169F06156}"/>
                </a:ext>
              </a:extLst>
            </p:cNvPr>
            <p:cNvGrpSpPr/>
            <p:nvPr/>
          </p:nvGrpSpPr>
          <p:grpSpPr>
            <a:xfrm>
              <a:off x="6246473" y="1409404"/>
              <a:ext cx="21086" cy="45439"/>
              <a:chOff x="6246473" y="1409404"/>
              <a:chExt cx="21086" cy="45439"/>
            </a:xfrm>
            <a:grpFill/>
          </p:grpSpPr>
          <p:sp>
            <p:nvSpPr>
              <p:cNvPr id="3939" name="Vrije vorm: vorm 3938">
                <a:extLst>
                  <a:ext uri="{FF2B5EF4-FFF2-40B4-BE49-F238E27FC236}">
                    <a16:creationId xmlns:a16="http://schemas.microsoft.com/office/drawing/2014/main" id="{332CBFC0-DCB7-4FCB-B6F6-89D45D6FEBA5}"/>
                  </a:ext>
                </a:extLst>
              </p:cNvPr>
              <p:cNvSpPr/>
              <p:nvPr/>
            </p:nvSpPr>
            <p:spPr>
              <a:xfrm>
                <a:off x="6254120" y="1418009"/>
                <a:ext cx="5860" cy="28229"/>
              </a:xfrm>
              <a:custGeom>
                <a:avLst/>
                <a:gdLst>
                  <a:gd name="connsiteX0" fmla="*/ 5861 w 5860"/>
                  <a:gd name="connsiteY0" fmla="*/ 299 h 28229"/>
                  <a:gd name="connsiteX1" fmla="*/ 2990 w 5860"/>
                  <a:gd name="connsiteY1" fmla="*/ 28229 h 28229"/>
                  <a:gd name="connsiteX2" fmla="*/ 0 w 5860"/>
                  <a:gd name="connsiteY2" fmla="*/ 27930 h 28229"/>
                  <a:gd name="connsiteX3" fmla="*/ 2811 w 5860"/>
                  <a:gd name="connsiteY3" fmla="*/ 0 h 28229"/>
                </a:gdLst>
                <a:ahLst/>
                <a:cxnLst>
                  <a:cxn ang="0">
                    <a:pos x="connsiteX0" y="connsiteY0"/>
                  </a:cxn>
                  <a:cxn ang="0">
                    <a:pos x="connsiteX1" y="connsiteY1"/>
                  </a:cxn>
                  <a:cxn ang="0">
                    <a:pos x="connsiteX2" y="connsiteY2"/>
                  </a:cxn>
                  <a:cxn ang="0">
                    <a:pos x="connsiteX3" y="connsiteY3"/>
                  </a:cxn>
                </a:cxnLst>
                <a:rect l="l" t="t" r="r" b="b"/>
                <a:pathLst>
                  <a:path w="5860" h="28229">
                    <a:moveTo>
                      <a:pt x="5861" y="299"/>
                    </a:moveTo>
                    <a:lnTo>
                      <a:pt x="2990" y="28229"/>
                    </a:lnTo>
                    <a:lnTo>
                      <a:pt x="0" y="27930"/>
                    </a:lnTo>
                    <a:lnTo>
                      <a:pt x="2811" y="0"/>
                    </a:lnTo>
                    <a:close/>
                  </a:path>
                </a:pathLst>
              </a:custGeom>
              <a:grpFill/>
              <a:ln w="5978" cap="flat">
                <a:noFill/>
                <a:prstDash val="solid"/>
                <a:miter/>
              </a:ln>
            </p:spPr>
            <p:txBody>
              <a:bodyPr rtlCol="0" anchor="ctr"/>
              <a:lstStyle/>
              <a:p>
                <a:endParaRPr lang="en-GB"/>
              </a:p>
            </p:txBody>
          </p:sp>
          <p:sp>
            <p:nvSpPr>
              <p:cNvPr id="3940" name="Vrije vorm: vorm 3939">
                <a:extLst>
                  <a:ext uri="{FF2B5EF4-FFF2-40B4-BE49-F238E27FC236}">
                    <a16:creationId xmlns:a16="http://schemas.microsoft.com/office/drawing/2014/main" id="{0179B5AB-AE2E-4B10-AE6B-57FF469F0423}"/>
                  </a:ext>
                </a:extLst>
              </p:cNvPr>
              <p:cNvSpPr/>
              <p:nvPr/>
            </p:nvSpPr>
            <p:spPr>
              <a:xfrm>
                <a:off x="6249234" y="1409404"/>
                <a:ext cx="18325" cy="18406"/>
              </a:xfrm>
              <a:custGeom>
                <a:avLst/>
                <a:gdLst>
                  <a:gd name="connsiteX0" fmla="*/ 42 w 18325"/>
                  <a:gd name="connsiteY0" fmla="*/ 8246 h 18406"/>
                  <a:gd name="connsiteX1" fmla="*/ 10090 w 18325"/>
                  <a:gd name="connsiteY1" fmla="*/ 53 h 18406"/>
                  <a:gd name="connsiteX2" fmla="*/ 18283 w 18325"/>
                  <a:gd name="connsiteY2" fmla="*/ 10160 h 18406"/>
                  <a:gd name="connsiteX3" fmla="*/ 8236 w 18325"/>
                  <a:gd name="connsiteY3" fmla="*/ 18354 h 18406"/>
                  <a:gd name="connsiteX4" fmla="*/ 42 w 1832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6">
                    <a:moveTo>
                      <a:pt x="42" y="8246"/>
                    </a:moveTo>
                    <a:cubicBezTo>
                      <a:pt x="580" y="3163"/>
                      <a:pt x="5066" y="-486"/>
                      <a:pt x="10090" y="53"/>
                    </a:cubicBezTo>
                    <a:cubicBezTo>
                      <a:pt x="15113" y="591"/>
                      <a:pt x="18762" y="5136"/>
                      <a:pt x="18283" y="10160"/>
                    </a:cubicBezTo>
                    <a:cubicBezTo>
                      <a:pt x="17745" y="15244"/>
                      <a:pt x="13259" y="18892"/>
                      <a:pt x="8236" y="18354"/>
                    </a:cubicBezTo>
                    <a:cubicBezTo>
                      <a:pt x="3212" y="17815"/>
                      <a:pt x="-436" y="13270"/>
                      <a:pt x="42" y="8246"/>
                    </a:cubicBezTo>
                    <a:close/>
                  </a:path>
                </a:pathLst>
              </a:custGeom>
              <a:grpFill/>
              <a:ln w="5978" cap="flat">
                <a:noFill/>
                <a:prstDash val="solid"/>
                <a:miter/>
              </a:ln>
            </p:spPr>
            <p:txBody>
              <a:bodyPr rtlCol="0" anchor="ctr"/>
              <a:lstStyle/>
              <a:p>
                <a:endParaRPr lang="en-GB"/>
              </a:p>
            </p:txBody>
          </p:sp>
          <p:sp>
            <p:nvSpPr>
              <p:cNvPr id="3941" name="Vrije vorm: vorm 3940">
                <a:extLst>
                  <a:ext uri="{FF2B5EF4-FFF2-40B4-BE49-F238E27FC236}">
                    <a16:creationId xmlns:a16="http://schemas.microsoft.com/office/drawing/2014/main" id="{AA9B3728-A1B6-472A-9FC5-4EA492CB3F32}"/>
                  </a:ext>
                </a:extLst>
              </p:cNvPr>
              <p:cNvSpPr/>
              <p:nvPr/>
            </p:nvSpPr>
            <p:spPr>
              <a:xfrm>
                <a:off x="6246473" y="1436437"/>
                <a:ext cx="18345" cy="18406"/>
              </a:xfrm>
              <a:custGeom>
                <a:avLst/>
                <a:gdLst>
                  <a:gd name="connsiteX0" fmla="*/ 52 w 18345"/>
                  <a:gd name="connsiteY0" fmla="*/ 8246 h 18406"/>
                  <a:gd name="connsiteX1" fmla="*/ 8245 w 18345"/>
                  <a:gd name="connsiteY1" fmla="*/ 18354 h 18406"/>
                  <a:gd name="connsiteX2" fmla="*/ 18293 w 18345"/>
                  <a:gd name="connsiteY2" fmla="*/ 10160 h 18406"/>
                  <a:gd name="connsiteX3" fmla="*/ 10099 w 18345"/>
                  <a:gd name="connsiteY3" fmla="*/ 53 h 18406"/>
                  <a:gd name="connsiteX4" fmla="*/ 52 w 1834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6">
                    <a:moveTo>
                      <a:pt x="52" y="8246"/>
                    </a:moveTo>
                    <a:cubicBezTo>
                      <a:pt x="-486" y="13330"/>
                      <a:pt x="3222" y="17815"/>
                      <a:pt x="8245" y="18354"/>
                    </a:cubicBezTo>
                    <a:cubicBezTo>
                      <a:pt x="13269" y="18892"/>
                      <a:pt x="17755" y="15244"/>
                      <a:pt x="18293" y="10160"/>
                    </a:cubicBezTo>
                    <a:cubicBezTo>
                      <a:pt x="18831" y="5076"/>
                      <a:pt x="15123" y="591"/>
                      <a:pt x="10099" y="53"/>
                    </a:cubicBezTo>
                    <a:cubicBezTo>
                      <a:pt x="5076" y="-486"/>
                      <a:pt x="590" y="3163"/>
                      <a:pt x="52" y="8246"/>
                    </a:cubicBezTo>
                    <a:close/>
                  </a:path>
                </a:pathLst>
              </a:custGeom>
              <a:grpFill/>
              <a:ln w="5978" cap="flat">
                <a:noFill/>
                <a:prstDash val="solid"/>
                <a:miter/>
              </a:ln>
            </p:spPr>
            <p:txBody>
              <a:bodyPr rtlCol="0" anchor="ctr"/>
              <a:lstStyle/>
              <a:p>
                <a:endParaRPr lang="en-GB"/>
              </a:p>
            </p:txBody>
          </p:sp>
        </p:grpSp>
        <p:grpSp>
          <p:nvGrpSpPr>
            <p:cNvPr id="483" name="Graphic 3">
              <a:extLst>
                <a:ext uri="{FF2B5EF4-FFF2-40B4-BE49-F238E27FC236}">
                  <a16:creationId xmlns:a16="http://schemas.microsoft.com/office/drawing/2014/main" id="{1C8573DD-402F-4FE9-A3AB-8481E14B6E51}"/>
                </a:ext>
              </a:extLst>
            </p:cNvPr>
            <p:cNvGrpSpPr/>
            <p:nvPr/>
          </p:nvGrpSpPr>
          <p:grpSpPr>
            <a:xfrm>
              <a:off x="6294876" y="1571427"/>
              <a:ext cx="25411" cy="69278"/>
              <a:chOff x="6294876" y="1571427"/>
              <a:chExt cx="25411" cy="69278"/>
            </a:xfrm>
            <a:grpFill/>
          </p:grpSpPr>
          <p:sp>
            <p:nvSpPr>
              <p:cNvPr id="3936" name="Vrije vorm: vorm 3935">
                <a:extLst>
                  <a:ext uri="{FF2B5EF4-FFF2-40B4-BE49-F238E27FC236}">
                    <a16:creationId xmlns:a16="http://schemas.microsoft.com/office/drawing/2014/main" id="{11BA12EC-5146-4A49-A22F-AD511B8301F9}"/>
                  </a:ext>
                </a:extLst>
              </p:cNvPr>
              <p:cNvSpPr/>
              <p:nvPr/>
            </p:nvSpPr>
            <p:spPr>
              <a:xfrm>
                <a:off x="6302445" y="1579967"/>
                <a:ext cx="10286" cy="52211"/>
              </a:xfrm>
              <a:custGeom>
                <a:avLst/>
                <a:gdLst>
                  <a:gd name="connsiteX0" fmla="*/ 10287 w 10286"/>
                  <a:gd name="connsiteY0" fmla="*/ 419 h 52211"/>
                  <a:gd name="connsiteX1" fmla="*/ 3050 w 10286"/>
                  <a:gd name="connsiteY1" fmla="*/ 52212 h 52211"/>
                  <a:gd name="connsiteX2" fmla="*/ 0 w 10286"/>
                  <a:gd name="connsiteY2" fmla="*/ 51793 h 52211"/>
                  <a:gd name="connsiteX3" fmla="*/ 7236 w 10286"/>
                  <a:gd name="connsiteY3" fmla="*/ 0 h 52211"/>
                </a:gdLst>
                <a:ahLst/>
                <a:cxnLst>
                  <a:cxn ang="0">
                    <a:pos x="connsiteX0" y="connsiteY0"/>
                  </a:cxn>
                  <a:cxn ang="0">
                    <a:pos x="connsiteX1" y="connsiteY1"/>
                  </a:cxn>
                  <a:cxn ang="0">
                    <a:pos x="connsiteX2" y="connsiteY2"/>
                  </a:cxn>
                  <a:cxn ang="0">
                    <a:pos x="connsiteX3" y="connsiteY3"/>
                  </a:cxn>
                </a:cxnLst>
                <a:rect l="l" t="t" r="r" b="b"/>
                <a:pathLst>
                  <a:path w="10286" h="52211">
                    <a:moveTo>
                      <a:pt x="10287" y="419"/>
                    </a:moveTo>
                    <a:lnTo>
                      <a:pt x="3050" y="52212"/>
                    </a:lnTo>
                    <a:lnTo>
                      <a:pt x="0" y="51793"/>
                    </a:lnTo>
                    <a:lnTo>
                      <a:pt x="7236" y="0"/>
                    </a:lnTo>
                    <a:close/>
                  </a:path>
                </a:pathLst>
              </a:custGeom>
              <a:grpFill/>
              <a:ln w="5978" cap="flat">
                <a:noFill/>
                <a:prstDash val="solid"/>
                <a:miter/>
              </a:ln>
            </p:spPr>
            <p:txBody>
              <a:bodyPr rtlCol="0" anchor="ctr"/>
              <a:lstStyle/>
              <a:p>
                <a:endParaRPr lang="en-GB"/>
              </a:p>
            </p:txBody>
          </p:sp>
          <p:sp>
            <p:nvSpPr>
              <p:cNvPr id="3937" name="Vrije vorm: vorm 3936">
                <a:extLst>
                  <a:ext uri="{FF2B5EF4-FFF2-40B4-BE49-F238E27FC236}">
                    <a16:creationId xmlns:a16="http://schemas.microsoft.com/office/drawing/2014/main" id="{390B859C-15BC-4A65-AF48-4ED7D99AA044}"/>
                  </a:ext>
                </a:extLst>
              </p:cNvPr>
              <p:cNvSpPr/>
              <p:nvPr/>
            </p:nvSpPr>
            <p:spPr>
              <a:xfrm>
                <a:off x="6301946" y="1571427"/>
                <a:ext cx="18341" cy="18396"/>
              </a:xfrm>
              <a:custGeom>
                <a:avLst/>
                <a:gdLst>
                  <a:gd name="connsiteX0" fmla="*/ 80 w 18341"/>
                  <a:gd name="connsiteY0" fmla="*/ 7882 h 18396"/>
                  <a:gd name="connsiteX1" fmla="*/ 10427 w 18341"/>
                  <a:gd name="connsiteY1" fmla="*/ 107 h 18396"/>
                  <a:gd name="connsiteX2" fmla="*/ 18261 w 18341"/>
                  <a:gd name="connsiteY2" fmla="*/ 10514 h 18396"/>
                  <a:gd name="connsiteX3" fmla="*/ 7915 w 18341"/>
                  <a:gd name="connsiteY3" fmla="*/ 18289 h 18396"/>
                  <a:gd name="connsiteX4" fmla="*/ 80 w 18341"/>
                  <a:gd name="connsiteY4" fmla="*/ 788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6">
                    <a:moveTo>
                      <a:pt x="80" y="7882"/>
                    </a:moveTo>
                    <a:cubicBezTo>
                      <a:pt x="798" y="2859"/>
                      <a:pt x="5403" y="-670"/>
                      <a:pt x="10427" y="107"/>
                    </a:cubicBezTo>
                    <a:cubicBezTo>
                      <a:pt x="15451" y="825"/>
                      <a:pt x="18919" y="5490"/>
                      <a:pt x="18261" y="10514"/>
                    </a:cubicBezTo>
                    <a:cubicBezTo>
                      <a:pt x="17544" y="15538"/>
                      <a:pt x="12938" y="19066"/>
                      <a:pt x="7915" y="18289"/>
                    </a:cubicBezTo>
                    <a:cubicBezTo>
                      <a:pt x="2891" y="17571"/>
                      <a:pt x="-578" y="12906"/>
                      <a:pt x="80" y="7882"/>
                    </a:cubicBezTo>
                    <a:close/>
                  </a:path>
                </a:pathLst>
              </a:custGeom>
              <a:grpFill/>
              <a:ln w="5978" cap="flat">
                <a:noFill/>
                <a:prstDash val="solid"/>
                <a:miter/>
              </a:ln>
            </p:spPr>
            <p:txBody>
              <a:bodyPr rtlCol="0" anchor="ctr"/>
              <a:lstStyle/>
              <a:p>
                <a:endParaRPr lang="en-GB"/>
              </a:p>
            </p:txBody>
          </p:sp>
          <p:sp>
            <p:nvSpPr>
              <p:cNvPr id="3938" name="Vrije vorm: vorm 3937">
                <a:extLst>
                  <a:ext uri="{FF2B5EF4-FFF2-40B4-BE49-F238E27FC236}">
                    <a16:creationId xmlns:a16="http://schemas.microsoft.com/office/drawing/2014/main" id="{DE81A2C6-4F12-4F67-B569-9314912B8FDA}"/>
                  </a:ext>
                </a:extLst>
              </p:cNvPr>
              <p:cNvSpPr/>
              <p:nvPr/>
            </p:nvSpPr>
            <p:spPr>
              <a:xfrm>
                <a:off x="6294876" y="1622323"/>
                <a:ext cx="18366" cy="18382"/>
              </a:xfrm>
              <a:custGeom>
                <a:avLst/>
                <a:gdLst>
                  <a:gd name="connsiteX0" fmla="*/ 93 w 18366"/>
                  <a:gd name="connsiteY0" fmla="*/ 7882 h 18382"/>
                  <a:gd name="connsiteX1" fmla="*/ 7928 w 18366"/>
                  <a:gd name="connsiteY1" fmla="*/ 18289 h 18382"/>
                  <a:gd name="connsiteX2" fmla="*/ 18274 w 18366"/>
                  <a:gd name="connsiteY2" fmla="*/ 10514 h 18382"/>
                  <a:gd name="connsiteX3" fmla="*/ 10439 w 18366"/>
                  <a:gd name="connsiteY3" fmla="*/ 107 h 18382"/>
                  <a:gd name="connsiteX4" fmla="*/ 93 w 18366"/>
                  <a:gd name="connsiteY4" fmla="*/ 7882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382">
                    <a:moveTo>
                      <a:pt x="93" y="7882"/>
                    </a:moveTo>
                    <a:cubicBezTo>
                      <a:pt x="-625" y="12906"/>
                      <a:pt x="2904" y="17571"/>
                      <a:pt x="7928" y="18289"/>
                    </a:cubicBezTo>
                    <a:cubicBezTo>
                      <a:pt x="12951" y="19006"/>
                      <a:pt x="17556" y="15538"/>
                      <a:pt x="18274" y="10514"/>
                    </a:cubicBezTo>
                    <a:cubicBezTo>
                      <a:pt x="18992" y="5490"/>
                      <a:pt x="15463" y="825"/>
                      <a:pt x="10439" y="107"/>
                    </a:cubicBezTo>
                    <a:cubicBezTo>
                      <a:pt x="5415" y="-670"/>
                      <a:pt x="810" y="2859"/>
                      <a:pt x="93" y="7882"/>
                    </a:cubicBezTo>
                    <a:close/>
                  </a:path>
                </a:pathLst>
              </a:custGeom>
              <a:grpFill/>
              <a:ln w="5978" cap="flat">
                <a:noFill/>
                <a:prstDash val="solid"/>
                <a:miter/>
              </a:ln>
            </p:spPr>
            <p:txBody>
              <a:bodyPr rtlCol="0" anchor="ctr"/>
              <a:lstStyle/>
              <a:p>
                <a:endParaRPr lang="en-GB"/>
              </a:p>
            </p:txBody>
          </p:sp>
        </p:grpSp>
        <p:grpSp>
          <p:nvGrpSpPr>
            <p:cNvPr id="484" name="Graphic 3">
              <a:extLst>
                <a:ext uri="{FF2B5EF4-FFF2-40B4-BE49-F238E27FC236}">
                  <a16:creationId xmlns:a16="http://schemas.microsoft.com/office/drawing/2014/main" id="{AFFA061F-8D45-4725-A4D2-654FECF33949}"/>
                </a:ext>
              </a:extLst>
            </p:cNvPr>
            <p:cNvGrpSpPr/>
            <p:nvPr/>
          </p:nvGrpSpPr>
          <p:grpSpPr>
            <a:xfrm>
              <a:off x="6279673" y="1485367"/>
              <a:ext cx="88101" cy="273170"/>
              <a:chOff x="6279673" y="1485367"/>
              <a:chExt cx="88101" cy="273170"/>
            </a:xfrm>
            <a:grpFill/>
          </p:grpSpPr>
          <p:sp>
            <p:nvSpPr>
              <p:cNvPr id="3933" name="Vrije vorm: vorm 3932">
                <a:extLst>
                  <a:ext uri="{FF2B5EF4-FFF2-40B4-BE49-F238E27FC236}">
                    <a16:creationId xmlns:a16="http://schemas.microsoft.com/office/drawing/2014/main" id="{016D8D43-5A79-458E-A5A5-81E045E39E81}"/>
                  </a:ext>
                </a:extLst>
              </p:cNvPr>
              <p:cNvSpPr/>
              <p:nvPr/>
            </p:nvSpPr>
            <p:spPr>
              <a:xfrm>
                <a:off x="6287194" y="1493785"/>
                <a:ext cx="72964" cy="256393"/>
              </a:xfrm>
              <a:custGeom>
                <a:avLst/>
                <a:gdLst>
                  <a:gd name="connsiteX0" fmla="*/ 72965 w 72964"/>
                  <a:gd name="connsiteY0" fmla="*/ 837 h 256393"/>
                  <a:gd name="connsiteX1" fmla="*/ 2990 w 72964"/>
                  <a:gd name="connsiteY1" fmla="*/ 256394 h 256393"/>
                  <a:gd name="connsiteX2" fmla="*/ 0 w 72964"/>
                  <a:gd name="connsiteY2" fmla="*/ 255556 h 256393"/>
                  <a:gd name="connsiteX3" fmla="*/ 70034 w 72964"/>
                  <a:gd name="connsiteY3" fmla="*/ 0 h 256393"/>
                </a:gdLst>
                <a:ahLst/>
                <a:cxnLst>
                  <a:cxn ang="0">
                    <a:pos x="connsiteX0" y="connsiteY0"/>
                  </a:cxn>
                  <a:cxn ang="0">
                    <a:pos x="connsiteX1" y="connsiteY1"/>
                  </a:cxn>
                  <a:cxn ang="0">
                    <a:pos x="connsiteX2" y="connsiteY2"/>
                  </a:cxn>
                  <a:cxn ang="0">
                    <a:pos x="connsiteX3" y="connsiteY3"/>
                  </a:cxn>
                </a:cxnLst>
                <a:rect l="l" t="t" r="r" b="b"/>
                <a:pathLst>
                  <a:path w="72964" h="256393">
                    <a:moveTo>
                      <a:pt x="72965" y="837"/>
                    </a:moveTo>
                    <a:lnTo>
                      <a:pt x="2990" y="256394"/>
                    </a:lnTo>
                    <a:lnTo>
                      <a:pt x="0" y="255556"/>
                    </a:lnTo>
                    <a:lnTo>
                      <a:pt x="70034" y="0"/>
                    </a:lnTo>
                    <a:close/>
                  </a:path>
                </a:pathLst>
              </a:custGeom>
              <a:grpFill/>
              <a:ln w="5978" cap="flat">
                <a:noFill/>
                <a:prstDash val="solid"/>
                <a:miter/>
              </a:ln>
            </p:spPr>
            <p:txBody>
              <a:bodyPr rtlCol="0" anchor="ctr"/>
              <a:lstStyle/>
              <a:p>
                <a:endParaRPr lang="en-GB"/>
              </a:p>
            </p:txBody>
          </p:sp>
          <p:sp>
            <p:nvSpPr>
              <p:cNvPr id="3934" name="Vrije vorm: vorm 3933">
                <a:extLst>
                  <a:ext uri="{FF2B5EF4-FFF2-40B4-BE49-F238E27FC236}">
                    <a16:creationId xmlns:a16="http://schemas.microsoft.com/office/drawing/2014/main" id="{E3F8C81F-7FBA-4B0D-A2C1-CE5BDB766B9F}"/>
                  </a:ext>
                </a:extLst>
              </p:cNvPr>
              <p:cNvSpPr/>
              <p:nvPr/>
            </p:nvSpPr>
            <p:spPr>
              <a:xfrm>
                <a:off x="6279673" y="1740086"/>
                <a:ext cx="18306" cy="18451"/>
              </a:xfrm>
              <a:custGeom>
                <a:avLst/>
                <a:gdLst>
                  <a:gd name="connsiteX0" fmla="*/ 17987 w 18306"/>
                  <a:gd name="connsiteY0" fmla="*/ 11708 h 18451"/>
                  <a:gd name="connsiteX1" fmla="*/ 6743 w 18306"/>
                  <a:gd name="connsiteY1" fmla="*/ 18107 h 18451"/>
                  <a:gd name="connsiteX2" fmla="*/ 344 w 18306"/>
                  <a:gd name="connsiteY2" fmla="*/ 6744 h 18451"/>
                  <a:gd name="connsiteX3" fmla="*/ 11588 w 18306"/>
                  <a:gd name="connsiteY3" fmla="*/ 344 h 18451"/>
                  <a:gd name="connsiteX4" fmla="*/ 17987 w 18306"/>
                  <a:gd name="connsiteY4" fmla="*/ 1170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51">
                    <a:moveTo>
                      <a:pt x="17987" y="11708"/>
                    </a:moveTo>
                    <a:cubicBezTo>
                      <a:pt x="16672" y="16612"/>
                      <a:pt x="11588" y="19483"/>
                      <a:pt x="6743" y="18107"/>
                    </a:cubicBezTo>
                    <a:cubicBezTo>
                      <a:pt x="1840" y="16731"/>
                      <a:pt x="-1031" y="11648"/>
                      <a:pt x="344" y="6744"/>
                    </a:cubicBezTo>
                    <a:cubicBezTo>
                      <a:pt x="1660" y="1839"/>
                      <a:pt x="6743" y="-1031"/>
                      <a:pt x="11588" y="344"/>
                    </a:cubicBezTo>
                    <a:cubicBezTo>
                      <a:pt x="16433" y="1720"/>
                      <a:pt x="19303" y="6803"/>
                      <a:pt x="17987" y="11708"/>
                    </a:cubicBezTo>
                    <a:close/>
                  </a:path>
                </a:pathLst>
              </a:custGeom>
              <a:grpFill/>
              <a:ln w="5978" cap="flat">
                <a:noFill/>
                <a:prstDash val="solid"/>
                <a:miter/>
              </a:ln>
            </p:spPr>
            <p:txBody>
              <a:bodyPr rtlCol="0" anchor="ctr"/>
              <a:lstStyle/>
              <a:p>
                <a:endParaRPr lang="en-GB"/>
              </a:p>
            </p:txBody>
          </p:sp>
          <p:sp>
            <p:nvSpPr>
              <p:cNvPr id="3935" name="Vrije vorm: vorm 3934">
                <a:extLst>
                  <a:ext uri="{FF2B5EF4-FFF2-40B4-BE49-F238E27FC236}">
                    <a16:creationId xmlns:a16="http://schemas.microsoft.com/office/drawing/2014/main" id="{3F717B59-DE1B-432D-8690-A9837BB54063}"/>
                  </a:ext>
                </a:extLst>
              </p:cNvPr>
              <p:cNvSpPr/>
              <p:nvPr/>
            </p:nvSpPr>
            <p:spPr>
              <a:xfrm>
                <a:off x="6349492" y="1485367"/>
                <a:ext cx="18281" cy="18451"/>
              </a:xfrm>
              <a:custGeom>
                <a:avLst/>
                <a:gdLst>
                  <a:gd name="connsiteX0" fmla="*/ 17963 w 18281"/>
                  <a:gd name="connsiteY0" fmla="*/ 11708 h 18451"/>
                  <a:gd name="connsiteX1" fmla="*/ 11563 w 18281"/>
                  <a:gd name="connsiteY1" fmla="*/ 344 h 18451"/>
                  <a:gd name="connsiteX2" fmla="*/ 319 w 18281"/>
                  <a:gd name="connsiteY2" fmla="*/ 6744 h 18451"/>
                  <a:gd name="connsiteX3" fmla="*/ 6719 w 18281"/>
                  <a:gd name="connsiteY3" fmla="*/ 18107 h 18451"/>
                  <a:gd name="connsiteX4" fmla="*/ 17963 w 18281"/>
                  <a:gd name="connsiteY4" fmla="*/ 1170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1">
                    <a:moveTo>
                      <a:pt x="17963" y="11708"/>
                    </a:moveTo>
                    <a:cubicBezTo>
                      <a:pt x="19278" y="6803"/>
                      <a:pt x="16408" y="1720"/>
                      <a:pt x="11563" y="344"/>
                    </a:cubicBezTo>
                    <a:cubicBezTo>
                      <a:pt x="6659" y="-1031"/>
                      <a:pt x="1635" y="1839"/>
                      <a:pt x="319" y="6744"/>
                    </a:cubicBezTo>
                    <a:cubicBezTo>
                      <a:pt x="-997" y="11648"/>
                      <a:pt x="1874" y="16731"/>
                      <a:pt x="6719" y="18107"/>
                    </a:cubicBezTo>
                    <a:cubicBezTo>
                      <a:pt x="11563" y="19483"/>
                      <a:pt x="16587" y="16612"/>
                      <a:pt x="17963" y="11708"/>
                    </a:cubicBezTo>
                    <a:close/>
                  </a:path>
                </a:pathLst>
              </a:custGeom>
              <a:grpFill/>
              <a:ln w="5978" cap="flat">
                <a:noFill/>
                <a:prstDash val="solid"/>
                <a:miter/>
              </a:ln>
            </p:spPr>
            <p:txBody>
              <a:bodyPr rtlCol="0" anchor="ctr"/>
              <a:lstStyle/>
              <a:p>
                <a:endParaRPr lang="en-GB"/>
              </a:p>
            </p:txBody>
          </p:sp>
        </p:grpSp>
        <p:grpSp>
          <p:nvGrpSpPr>
            <p:cNvPr id="485" name="Graphic 3">
              <a:extLst>
                <a:ext uri="{FF2B5EF4-FFF2-40B4-BE49-F238E27FC236}">
                  <a16:creationId xmlns:a16="http://schemas.microsoft.com/office/drawing/2014/main" id="{ED6F6DB0-FB09-461C-8E47-38AC4D38F8ED}"/>
                </a:ext>
              </a:extLst>
            </p:cNvPr>
            <p:cNvGrpSpPr/>
            <p:nvPr/>
          </p:nvGrpSpPr>
          <p:grpSpPr>
            <a:xfrm>
              <a:off x="6339439" y="1672581"/>
              <a:ext cx="32825" cy="100172"/>
              <a:chOff x="6339439" y="1672581"/>
              <a:chExt cx="32825" cy="100172"/>
            </a:xfrm>
            <a:grpFill/>
          </p:grpSpPr>
          <p:sp>
            <p:nvSpPr>
              <p:cNvPr id="3930" name="Vrije vorm: vorm 3929">
                <a:extLst>
                  <a:ext uri="{FF2B5EF4-FFF2-40B4-BE49-F238E27FC236}">
                    <a16:creationId xmlns:a16="http://schemas.microsoft.com/office/drawing/2014/main" id="{068DB05D-0F45-4CE7-86B0-AEAA6E440376}"/>
                  </a:ext>
                </a:extLst>
              </p:cNvPr>
              <p:cNvSpPr/>
              <p:nvPr/>
            </p:nvSpPr>
            <p:spPr>
              <a:xfrm>
                <a:off x="6347001" y="1681101"/>
                <a:ext cx="17703" cy="83191"/>
              </a:xfrm>
              <a:custGeom>
                <a:avLst/>
                <a:gdLst>
                  <a:gd name="connsiteX0" fmla="*/ 17703 w 17703"/>
                  <a:gd name="connsiteY0" fmla="*/ 538 h 83191"/>
                  <a:gd name="connsiteX1" fmla="*/ 3050 w 17703"/>
                  <a:gd name="connsiteY1" fmla="*/ 83192 h 83191"/>
                  <a:gd name="connsiteX2" fmla="*/ 0 w 17703"/>
                  <a:gd name="connsiteY2" fmla="*/ 82654 h 83191"/>
                  <a:gd name="connsiteX3" fmla="*/ 14713 w 17703"/>
                  <a:gd name="connsiteY3" fmla="*/ 0 h 83191"/>
                </a:gdLst>
                <a:ahLst/>
                <a:cxnLst>
                  <a:cxn ang="0">
                    <a:pos x="connsiteX0" y="connsiteY0"/>
                  </a:cxn>
                  <a:cxn ang="0">
                    <a:pos x="connsiteX1" y="connsiteY1"/>
                  </a:cxn>
                  <a:cxn ang="0">
                    <a:pos x="connsiteX2" y="connsiteY2"/>
                  </a:cxn>
                  <a:cxn ang="0">
                    <a:pos x="connsiteX3" y="connsiteY3"/>
                  </a:cxn>
                </a:cxnLst>
                <a:rect l="l" t="t" r="r" b="b"/>
                <a:pathLst>
                  <a:path w="17703" h="83191">
                    <a:moveTo>
                      <a:pt x="17703" y="538"/>
                    </a:moveTo>
                    <a:lnTo>
                      <a:pt x="3050" y="83192"/>
                    </a:lnTo>
                    <a:lnTo>
                      <a:pt x="0" y="82654"/>
                    </a:lnTo>
                    <a:lnTo>
                      <a:pt x="14713" y="0"/>
                    </a:lnTo>
                    <a:close/>
                  </a:path>
                </a:pathLst>
              </a:custGeom>
              <a:grpFill/>
              <a:ln w="5978" cap="flat">
                <a:noFill/>
                <a:prstDash val="solid"/>
                <a:miter/>
              </a:ln>
            </p:spPr>
            <p:txBody>
              <a:bodyPr rtlCol="0" anchor="ctr"/>
              <a:lstStyle/>
              <a:p>
                <a:endParaRPr lang="en-GB"/>
              </a:p>
            </p:txBody>
          </p:sp>
          <p:sp>
            <p:nvSpPr>
              <p:cNvPr id="3931" name="Vrije vorm: vorm 3930">
                <a:extLst>
                  <a:ext uri="{FF2B5EF4-FFF2-40B4-BE49-F238E27FC236}">
                    <a16:creationId xmlns:a16="http://schemas.microsoft.com/office/drawing/2014/main" id="{A828E6AC-8A49-4A6A-AE6D-283BA6D55605}"/>
                  </a:ext>
                </a:extLst>
              </p:cNvPr>
              <p:cNvSpPr/>
              <p:nvPr/>
            </p:nvSpPr>
            <p:spPr>
              <a:xfrm>
                <a:off x="6353928" y="1672581"/>
                <a:ext cx="18337" cy="18416"/>
              </a:xfrm>
              <a:custGeom>
                <a:avLst/>
                <a:gdLst>
                  <a:gd name="connsiteX0" fmla="*/ 130 w 18337"/>
                  <a:gd name="connsiteY0" fmla="*/ 7563 h 18416"/>
                  <a:gd name="connsiteX1" fmla="*/ 10776 w 18337"/>
                  <a:gd name="connsiteY1" fmla="*/ 147 h 18416"/>
                  <a:gd name="connsiteX2" fmla="*/ 18192 w 18337"/>
                  <a:gd name="connsiteY2" fmla="*/ 10853 h 18416"/>
                  <a:gd name="connsiteX3" fmla="*/ 7546 w 18337"/>
                  <a:gd name="connsiteY3" fmla="*/ 18269 h 18416"/>
                  <a:gd name="connsiteX4" fmla="*/ 130 w 18337"/>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6">
                    <a:moveTo>
                      <a:pt x="130" y="7563"/>
                    </a:moveTo>
                    <a:cubicBezTo>
                      <a:pt x="1027" y="2540"/>
                      <a:pt x="5752" y="-750"/>
                      <a:pt x="10776" y="147"/>
                    </a:cubicBezTo>
                    <a:cubicBezTo>
                      <a:pt x="15740" y="1044"/>
                      <a:pt x="19089" y="5829"/>
                      <a:pt x="18192" y="10853"/>
                    </a:cubicBezTo>
                    <a:cubicBezTo>
                      <a:pt x="17295" y="15877"/>
                      <a:pt x="12570" y="19166"/>
                      <a:pt x="7546" y="18269"/>
                    </a:cubicBezTo>
                    <a:cubicBezTo>
                      <a:pt x="2582" y="17372"/>
                      <a:pt x="-707" y="12587"/>
                      <a:pt x="130" y="7563"/>
                    </a:cubicBezTo>
                    <a:close/>
                  </a:path>
                </a:pathLst>
              </a:custGeom>
              <a:grpFill/>
              <a:ln w="5978" cap="flat">
                <a:noFill/>
                <a:prstDash val="solid"/>
                <a:miter/>
              </a:ln>
            </p:spPr>
            <p:txBody>
              <a:bodyPr rtlCol="0" anchor="ctr"/>
              <a:lstStyle/>
              <a:p>
                <a:endParaRPr lang="en-GB"/>
              </a:p>
            </p:txBody>
          </p:sp>
          <p:sp>
            <p:nvSpPr>
              <p:cNvPr id="3932" name="Vrije vorm: vorm 3931">
                <a:extLst>
                  <a:ext uri="{FF2B5EF4-FFF2-40B4-BE49-F238E27FC236}">
                    <a16:creationId xmlns:a16="http://schemas.microsoft.com/office/drawing/2014/main" id="{6346807B-28C7-490C-9875-09C7D3F15745}"/>
                  </a:ext>
                </a:extLst>
              </p:cNvPr>
              <p:cNvSpPr/>
              <p:nvPr/>
            </p:nvSpPr>
            <p:spPr>
              <a:xfrm>
                <a:off x="6339439" y="1754339"/>
                <a:ext cx="18352" cy="18414"/>
              </a:xfrm>
              <a:custGeom>
                <a:avLst/>
                <a:gdLst>
                  <a:gd name="connsiteX0" fmla="*/ 145 w 18352"/>
                  <a:gd name="connsiteY0" fmla="*/ 7561 h 18414"/>
                  <a:gd name="connsiteX1" fmla="*/ 7561 w 18352"/>
                  <a:gd name="connsiteY1" fmla="*/ 18267 h 18414"/>
                  <a:gd name="connsiteX2" fmla="*/ 18207 w 18352"/>
                  <a:gd name="connsiteY2" fmla="*/ 10851 h 18414"/>
                  <a:gd name="connsiteX3" fmla="*/ 10791 w 18352"/>
                  <a:gd name="connsiteY3" fmla="*/ 145 h 18414"/>
                  <a:gd name="connsiteX4" fmla="*/ 145 w 18352"/>
                  <a:gd name="connsiteY4" fmla="*/ 7561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145" y="7561"/>
                    </a:moveTo>
                    <a:cubicBezTo>
                      <a:pt x="-752" y="12585"/>
                      <a:pt x="2598" y="17370"/>
                      <a:pt x="7561" y="18267"/>
                    </a:cubicBezTo>
                    <a:cubicBezTo>
                      <a:pt x="12525" y="19164"/>
                      <a:pt x="17310" y="15875"/>
                      <a:pt x="18207" y="10851"/>
                    </a:cubicBezTo>
                    <a:cubicBezTo>
                      <a:pt x="19104" y="5827"/>
                      <a:pt x="15755" y="1043"/>
                      <a:pt x="10791" y="145"/>
                    </a:cubicBezTo>
                    <a:cubicBezTo>
                      <a:pt x="5827" y="-752"/>
                      <a:pt x="1043" y="2597"/>
                      <a:pt x="145" y="7561"/>
                    </a:cubicBezTo>
                    <a:close/>
                  </a:path>
                </a:pathLst>
              </a:custGeom>
              <a:grpFill/>
              <a:ln w="5978" cap="flat">
                <a:noFill/>
                <a:prstDash val="solid"/>
                <a:miter/>
              </a:ln>
            </p:spPr>
            <p:txBody>
              <a:bodyPr rtlCol="0" anchor="ctr"/>
              <a:lstStyle/>
              <a:p>
                <a:endParaRPr lang="en-GB"/>
              </a:p>
            </p:txBody>
          </p:sp>
        </p:grpSp>
        <p:grpSp>
          <p:nvGrpSpPr>
            <p:cNvPr id="486" name="Graphic 3">
              <a:extLst>
                <a:ext uri="{FF2B5EF4-FFF2-40B4-BE49-F238E27FC236}">
                  <a16:creationId xmlns:a16="http://schemas.microsoft.com/office/drawing/2014/main" id="{B696530B-1564-4873-B8DF-0662B981A3D0}"/>
                </a:ext>
              </a:extLst>
            </p:cNvPr>
            <p:cNvGrpSpPr/>
            <p:nvPr/>
          </p:nvGrpSpPr>
          <p:grpSpPr>
            <a:xfrm>
              <a:off x="7257444" y="4589854"/>
              <a:ext cx="96449" cy="94616"/>
              <a:chOff x="7257444" y="4589854"/>
              <a:chExt cx="96449" cy="94616"/>
            </a:xfrm>
            <a:grpFill/>
          </p:grpSpPr>
          <p:sp>
            <p:nvSpPr>
              <p:cNvPr id="3927" name="Vrije vorm: vorm 3926">
                <a:extLst>
                  <a:ext uri="{FF2B5EF4-FFF2-40B4-BE49-F238E27FC236}">
                    <a16:creationId xmlns:a16="http://schemas.microsoft.com/office/drawing/2014/main" id="{1DB7848A-0109-46B8-AAB5-DAA6B3CD7588}"/>
                  </a:ext>
                </a:extLst>
              </p:cNvPr>
              <p:cNvSpPr/>
              <p:nvPr/>
            </p:nvSpPr>
            <p:spPr>
              <a:xfrm>
                <a:off x="7265221" y="4597600"/>
                <a:ext cx="80919" cy="79124"/>
              </a:xfrm>
              <a:custGeom>
                <a:avLst/>
                <a:gdLst>
                  <a:gd name="connsiteX0" fmla="*/ 80919 w 80919"/>
                  <a:gd name="connsiteY0" fmla="*/ 76912 h 79124"/>
                  <a:gd name="connsiteX1" fmla="*/ 78826 w 80919"/>
                  <a:gd name="connsiteY1" fmla="*/ 79125 h 79124"/>
                  <a:gd name="connsiteX2" fmla="*/ 0 w 80919"/>
                  <a:gd name="connsiteY2" fmla="*/ 2213 h 79124"/>
                  <a:gd name="connsiteX3" fmla="*/ 2094 w 80919"/>
                  <a:gd name="connsiteY3" fmla="*/ 0 h 79124"/>
                </a:gdLst>
                <a:ahLst/>
                <a:cxnLst>
                  <a:cxn ang="0">
                    <a:pos x="connsiteX0" y="connsiteY0"/>
                  </a:cxn>
                  <a:cxn ang="0">
                    <a:pos x="connsiteX1" y="connsiteY1"/>
                  </a:cxn>
                  <a:cxn ang="0">
                    <a:pos x="connsiteX2" y="connsiteY2"/>
                  </a:cxn>
                  <a:cxn ang="0">
                    <a:pos x="connsiteX3" y="connsiteY3"/>
                  </a:cxn>
                </a:cxnLst>
                <a:rect l="l" t="t" r="r" b="b"/>
                <a:pathLst>
                  <a:path w="80919" h="79124">
                    <a:moveTo>
                      <a:pt x="80919" y="76912"/>
                    </a:moveTo>
                    <a:lnTo>
                      <a:pt x="78826" y="79125"/>
                    </a:lnTo>
                    <a:lnTo>
                      <a:pt x="0" y="2213"/>
                    </a:lnTo>
                    <a:lnTo>
                      <a:pt x="2094" y="0"/>
                    </a:lnTo>
                    <a:close/>
                  </a:path>
                </a:pathLst>
              </a:custGeom>
              <a:grpFill/>
              <a:ln w="5978" cap="flat">
                <a:noFill/>
                <a:prstDash val="solid"/>
                <a:miter/>
              </a:ln>
            </p:spPr>
            <p:txBody>
              <a:bodyPr rtlCol="0" anchor="ctr"/>
              <a:lstStyle/>
              <a:p>
                <a:endParaRPr lang="en-GB"/>
              </a:p>
            </p:txBody>
          </p:sp>
          <p:sp>
            <p:nvSpPr>
              <p:cNvPr id="3928" name="Vrije vorm: vorm 3927">
                <a:extLst>
                  <a:ext uri="{FF2B5EF4-FFF2-40B4-BE49-F238E27FC236}">
                    <a16:creationId xmlns:a16="http://schemas.microsoft.com/office/drawing/2014/main" id="{33238BEA-6690-4862-9124-1352ED8136C9}"/>
                  </a:ext>
                </a:extLst>
              </p:cNvPr>
              <p:cNvSpPr/>
              <p:nvPr/>
            </p:nvSpPr>
            <p:spPr>
              <a:xfrm>
                <a:off x="7335576" y="4666049"/>
                <a:ext cx="18318" cy="18422"/>
              </a:xfrm>
              <a:custGeom>
                <a:avLst/>
                <a:gdLst>
                  <a:gd name="connsiteX0" fmla="*/ 15529 w 18318"/>
                  <a:gd name="connsiteY0" fmla="*/ 2602 h 18422"/>
                  <a:gd name="connsiteX1" fmla="*/ 15768 w 18318"/>
                  <a:gd name="connsiteY1" fmla="*/ 15640 h 18422"/>
                  <a:gd name="connsiteX2" fmla="*/ 2790 w 18318"/>
                  <a:gd name="connsiteY2" fmla="*/ 15820 h 18422"/>
                  <a:gd name="connsiteX3" fmla="*/ 2550 w 18318"/>
                  <a:gd name="connsiteY3" fmla="*/ 2782 h 18422"/>
                  <a:gd name="connsiteX4" fmla="*/ 15529 w 18318"/>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2">
                    <a:moveTo>
                      <a:pt x="15529" y="2602"/>
                    </a:moveTo>
                    <a:cubicBezTo>
                      <a:pt x="19177" y="6131"/>
                      <a:pt x="19237" y="11992"/>
                      <a:pt x="15768" y="15640"/>
                    </a:cubicBezTo>
                    <a:cubicBezTo>
                      <a:pt x="12239" y="19289"/>
                      <a:pt x="6438" y="19348"/>
                      <a:pt x="2790" y="15820"/>
                    </a:cubicBezTo>
                    <a:cubicBezTo>
                      <a:pt x="-859" y="12291"/>
                      <a:pt x="-918" y="6430"/>
                      <a:pt x="2550" y="2782"/>
                    </a:cubicBezTo>
                    <a:cubicBezTo>
                      <a:pt x="6079" y="-866"/>
                      <a:pt x="11880" y="-926"/>
                      <a:pt x="15529" y="2602"/>
                    </a:cubicBezTo>
                    <a:close/>
                  </a:path>
                </a:pathLst>
              </a:custGeom>
              <a:grpFill/>
              <a:ln w="5978" cap="flat">
                <a:noFill/>
                <a:prstDash val="solid"/>
                <a:miter/>
              </a:ln>
            </p:spPr>
            <p:txBody>
              <a:bodyPr rtlCol="0" anchor="ctr"/>
              <a:lstStyle/>
              <a:p>
                <a:endParaRPr lang="en-GB"/>
              </a:p>
            </p:txBody>
          </p:sp>
          <p:sp>
            <p:nvSpPr>
              <p:cNvPr id="3929" name="Vrije vorm: vorm 3928">
                <a:extLst>
                  <a:ext uri="{FF2B5EF4-FFF2-40B4-BE49-F238E27FC236}">
                    <a16:creationId xmlns:a16="http://schemas.microsoft.com/office/drawing/2014/main" id="{66E14ADF-7F1A-46DE-8770-34FC2CF65614}"/>
                  </a:ext>
                </a:extLst>
              </p:cNvPr>
              <p:cNvSpPr/>
              <p:nvPr/>
            </p:nvSpPr>
            <p:spPr>
              <a:xfrm>
                <a:off x="7257444" y="4589854"/>
                <a:ext cx="18319" cy="18422"/>
              </a:xfrm>
              <a:custGeom>
                <a:avLst/>
                <a:gdLst>
                  <a:gd name="connsiteX0" fmla="*/ 15552 w 18319"/>
                  <a:gd name="connsiteY0" fmla="*/ 2602 h 18422"/>
                  <a:gd name="connsiteX1" fmla="*/ 2573 w 18319"/>
                  <a:gd name="connsiteY1" fmla="*/ 2782 h 18422"/>
                  <a:gd name="connsiteX2" fmla="*/ 2813 w 18319"/>
                  <a:gd name="connsiteY2" fmla="*/ 15820 h 18422"/>
                  <a:gd name="connsiteX3" fmla="*/ 15791 w 18319"/>
                  <a:gd name="connsiteY3" fmla="*/ 15640 h 18422"/>
                  <a:gd name="connsiteX4" fmla="*/ 15552 w 18319"/>
                  <a:gd name="connsiteY4" fmla="*/ 2602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2">
                    <a:moveTo>
                      <a:pt x="15552" y="2602"/>
                    </a:moveTo>
                    <a:cubicBezTo>
                      <a:pt x="11903" y="-926"/>
                      <a:pt x="6102" y="-866"/>
                      <a:pt x="2573" y="2782"/>
                    </a:cubicBezTo>
                    <a:cubicBezTo>
                      <a:pt x="-955" y="6430"/>
                      <a:pt x="-836" y="12231"/>
                      <a:pt x="2813" y="15820"/>
                    </a:cubicBezTo>
                    <a:cubicBezTo>
                      <a:pt x="6461" y="19348"/>
                      <a:pt x="12262" y="19289"/>
                      <a:pt x="15791" y="15640"/>
                    </a:cubicBezTo>
                    <a:cubicBezTo>
                      <a:pt x="19260" y="11992"/>
                      <a:pt x="19140" y="6131"/>
                      <a:pt x="15552" y="2602"/>
                    </a:cubicBezTo>
                    <a:close/>
                  </a:path>
                </a:pathLst>
              </a:custGeom>
              <a:grpFill/>
              <a:ln w="5978" cap="flat">
                <a:noFill/>
                <a:prstDash val="solid"/>
                <a:miter/>
              </a:ln>
            </p:spPr>
            <p:txBody>
              <a:bodyPr rtlCol="0" anchor="ctr"/>
              <a:lstStyle/>
              <a:p>
                <a:endParaRPr lang="en-GB"/>
              </a:p>
            </p:txBody>
          </p:sp>
        </p:grpSp>
        <p:grpSp>
          <p:nvGrpSpPr>
            <p:cNvPr id="487" name="Graphic 3">
              <a:extLst>
                <a:ext uri="{FF2B5EF4-FFF2-40B4-BE49-F238E27FC236}">
                  <a16:creationId xmlns:a16="http://schemas.microsoft.com/office/drawing/2014/main" id="{FBA582F7-C406-48B2-86C9-18005AF1E718}"/>
                </a:ext>
              </a:extLst>
            </p:cNvPr>
            <p:cNvGrpSpPr/>
            <p:nvPr/>
          </p:nvGrpSpPr>
          <p:grpSpPr>
            <a:xfrm>
              <a:off x="7314381" y="4740784"/>
              <a:ext cx="100539" cy="104809"/>
              <a:chOff x="7314381" y="4740784"/>
              <a:chExt cx="100539" cy="104809"/>
            </a:xfrm>
            <a:grpFill/>
          </p:grpSpPr>
          <p:sp>
            <p:nvSpPr>
              <p:cNvPr id="3924" name="Vrije vorm: vorm 3923">
                <a:extLst>
                  <a:ext uri="{FF2B5EF4-FFF2-40B4-BE49-F238E27FC236}">
                    <a16:creationId xmlns:a16="http://schemas.microsoft.com/office/drawing/2014/main" id="{2E6E2AE2-F7C5-4E82-BB16-A6B6EDB0E3C0}"/>
                  </a:ext>
                </a:extLst>
              </p:cNvPr>
              <p:cNvSpPr/>
              <p:nvPr/>
            </p:nvSpPr>
            <p:spPr>
              <a:xfrm>
                <a:off x="7322098" y="4748613"/>
                <a:ext cx="85046" cy="89172"/>
              </a:xfrm>
              <a:custGeom>
                <a:avLst/>
                <a:gdLst>
                  <a:gd name="connsiteX0" fmla="*/ 85046 w 85046"/>
                  <a:gd name="connsiteY0" fmla="*/ 87079 h 89172"/>
                  <a:gd name="connsiteX1" fmla="*/ 82834 w 85046"/>
                  <a:gd name="connsiteY1" fmla="*/ 89172 h 89172"/>
                  <a:gd name="connsiteX2" fmla="*/ 0 w 85046"/>
                  <a:gd name="connsiteY2" fmla="*/ 2153 h 89172"/>
                  <a:gd name="connsiteX3" fmla="*/ 2213 w 85046"/>
                  <a:gd name="connsiteY3" fmla="*/ 0 h 89172"/>
                </a:gdLst>
                <a:ahLst/>
                <a:cxnLst>
                  <a:cxn ang="0">
                    <a:pos x="connsiteX0" y="connsiteY0"/>
                  </a:cxn>
                  <a:cxn ang="0">
                    <a:pos x="connsiteX1" y="connsiteY1"/>
                  </a:cxn>
                  <a:cxn ang="0">
                    <a:pos x="connsiteX2" y="connsiteY2"/>
                  </a:cxn>
                  <a:cxn ang="0">
                    <a:pos x="connsiteX3" y="connsiteY3"/>
                  </a:cxn>
                </a:cxnLst>
                <a:rect l="l" t="t" r="r" b="b"/>
                <a:pathLst>
                  <a:path w="85046" h="89172">
                    <a:moveTo>
                      <a:pt x="85046" y="87079"/>
                    </a:moveTo>
                    <a:lnTo>
                      <a:pt x="82834" y="89172"/>
                    </a:lnTo>
                    <a:lnTo>
                      <a:pt x="0" y="2153"/>
                    </a:lnTo>
                    <a:lnTo>
                      <a:pt x="2213" y="0"/>
                    </a:lnTo>
                    <a:close/>
                  </a:path>
                </a:pathLst>
              </a:custGeom>
              <a:grpFill/>
              <a:ln w="5978" cap="flat">
                <a:noFill/>
                <a:prstDash val="solid"/>
                <a:miter/>
              </a:ln>
            </p:spPr>
            <p:txBody>
              <a:bodyPr rtlCol="0" anchor="ctr"/>
              <a:lstStyle/>
              <a:p>
                <a:endParaRPr lang="en-GB"/>
              </a:p>
            </p:txBody>
          </p:sp>
          <p:sp>
            <p:nvSpPr>
              <p:cNvPr id="3925" name="Vrije vorm: vorm 3924">
                <a:extLst>
                  <a:ext uri="{FF2B5EF4-FFF2-40B4-BE49-F238E27FC236}">
                    <a16:creationId xmlns:a16="http://schemas.microsoft.com/office/drawing/2014/main" id="{3B450E1D-E607-4350-A37F-067D4CAC5B0C}"/>
                  </a:ext>
                </a:extLst>
              </p:cNvPr>
              <p:cNvSpPr/>
              <p:nvPr/>
            </p:nvSpPr>
            <p:spPr>
              <a:xfrm>
                <a:off x="7396556" y="4827167"/>
                <a:ext cx="18364" cy="18426"/>
              </a:xfrm>
              <a:custGeom>
                <a:avLst/>
                <a:gdLst>
                  <a:gd name="connsiteX0" fmla="*/ 15791 w 18364"/>
                  <a:gd name="connsiteY0" fmla="*/ 2844 h 18426"/>
                  <a:gd name="connsiteX1" fmla="*/ 15552 w 18364"/>
                  <a:gd name="connsiteY1" fmla="*/ 15882 h 18426"/>
                  <a:gd name="connsiteX2" fmla="*/ 2573 w 18364"/>
                  <a:gd name="connsiteY2" fmla="*/ 15583 h 18426"/>
                  <a:gd name="connsiteX3" fmla="*/ 2813 w 18364"/>
                  <a:gd name="connsiteY3" fmla="*/ 2545 h 18426"/>
                  <a:gd name="connsiteX4" fmla="*/ 15791 w 18364"/>
                  <a:gd name="connsiteY4" fmla="*/ 284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15791" y="2844"/>
                    </a:moveTo>
                    <a:cubicBezTo>
                      <a:pt x="19319" y="6552"/>
                      <a:pt x="19200" y="12353"/>
                      <a:pt x="15552" y="15882"/>
                    </a:cubicBezTo>
                    <a:cubicBezTo>
                      <a:pt x="11903" y="19410"/>
                      <a:pt x="6102" y="19231"/>
                      <a:pt x="2573" y="15583"/>
                    </a:cubicBezTo>
                    <a:cubicBezTo>
                      <a:pt x="-955" y="11875"/>
                      <a:pt x="-836" y="6073"/>
                      <a:pt x="2813" y="2545"/>
                    </a:cubicBezTo>
                    <a:cubicBezTo>
                      <a:pt x="6461" y="-984"/>
                      <a:pt x="12262" y="-804"/>
                      <a:pt x="15791" y="2844"/>
                    </a:cubicBezTo>
                    <a:close/>
                  </a:path>
                </a:pathLst>
              </a:custGeom>
              <a:grpFill/>
              <a:ln w="5978" cap="flat">
                <a:noFill/>
                <a:prstDash val="solid"/>
                <a:miter/>
              </a:ln>
            </p:spPr>
            <p:txBody>
              <a:bodyPr rtlCol="0" anchor="ctr"/>
              <a:lstStyle/>
              <a:p>
                <a:endParaRPr lang="en-GB"/>
              </a:p>
            </p:txBody>
          </p:sp>
          <p:sp>
            <p:nvSpPr>
              <p:cNvPr id="3926" name="Vrije vorm: vorm 3925">
                <a:extLst>
                  <a:ext uri="{FF2B5EF4-FFF2-40B4-BE49-F238E27FC236}">
                    <a16:creationId xmlns:a16="http://schemas.microsoft.com/office/drawing/2014/main" id="{96F06D23-8015-4136-BFCF-CDA845245D2F}"/>
                  </a:ext>
                </a:extLst>
              </p:cNvPr>
              <p:cNvSpPr/>
              <p:nvPr/>
            </p:nvSpPr>
            <p:spPr>
              <a:xfrm>
                <a:off x="7314381" y="4740784"/>
                <a:ext cx="18319" cy="18470"/>
              </a:xfrm>
              <a:custGeom>
                <a:avLst/>
                <a:gdLst>
                  <a:gd name="connsiteX0" fmla="*/ 15791 w 18319"/>
                  <a:gd name="connsiteY0" fmla="*/ 2866 h 18470"/>
                  <a:gd name="connsiteX1" fmla="*/ 2813 w 18319"/>
                  <a:gd name="connsiteY1" fmla="*/ 2567 h 18470"/>
                  <a:gd name="connsiteX2" fmla="*/ 2573 w 18319"/>
                  <a:gd name="connsiteY2" fmla="*/ 15605 h 18470"/>
                  <a:gd name="connsiteX3" fmla="*/ 15552 w 18319"/>
                  <a:gd name="connsiteY3" fmla="*/ 15903 h 18470"/>
                  <a:gd name="connsiteX4" fmla="*/ 15791 w 18319"/>
                  <a:gd name="connsiteY4" fmla="*/ 286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5791" y="2866"/>
                    </a:moveTo>
                    <a:cubicBezTo>
                      <a:pt x="12262" y="-842"/>
                      <a:pt x="6461" y="-962"/>
                      <a:pt x="2813" y="2567"/>
                    </a:cubicBezTo>
                    <a:cubicBezTo>
                      <a:pt x="-836" y="6095"/>
                      <a:pt x="-955" y="11897"/>
                      <a:pt x="2573" y="15605"/>
                    </a:cubicBezTo>
                    <a:cubicBezTo>
                      <a:pt x="6102" y="19313"/>
                      <a:pt x="11903" y="19432"/>
                      <a:pt x="15552" y="15903"/>
                    </a:cubicBezTo>
                    <a:cubicBezTo>
                      <a:pt x="19140" y="12375"/>
                      <a:pt x="19260" y="6574"/>
                      <a:pt x="15791" y="2866"/>
                    </a:cubicBezTo>
                    <a:close/>
                  </a:path>
                </a:pathLst>
              </a:custGeom>
              <a:grpFill/>
              <a:ln w="5978" cap="flat">
                <a:noFill/>
                <a:prstDash val="solid"/>
                <a:miter/>
              </a:ln>
            </p:spPr>
            <p:txBody>
              <a:bodyPr rtlCol="0" anchor="ctr"/>
              <a:lstStyle/>
              <a:p>
                <a:endParaRPr lang="en-GB"/>
              </a:p>
            </p:txBody>
          </p:sp>
        </p:grpSp>
        <p:grpSp>
          <p:nvGrpSpPr>
            <p:cNvPr id="488" name="Graphic 3">
              <a:extLst>
                <a:ext uri="{FF2B5EF4-FFF2-40B4-BE49-F238E27FC236}">
                  <a16:creationId xmlns:a16="http://schemas.microsoft.com/office/drawing/2014/main" id="{2CF32E71-150E-4AA4-8B29-45650101ACB9}"/>
                </a:ext>
              </a:extLst>
            </p:cNvPr>
            <p:cNvGrpSpPr/>
            <p:nvPr/>
          </p:nvGrpSpPr>
          <p:grpSpPr>
            <a:xfrm>
              <a:off x="7267906" y="4556538"/>
              <a:ext cx="68349" cy="65438"/>
              <a:chOff x="7267906" y="4556538"/>
              <a:chExt cx="68349" cy="65438"/>
            </a:xfrm>
            <a:grpFill/>
          </p:grpSpPr>
          <p:sp>
            <p:nvSpPr>
              <p:cNvPr id="3921" name="Vrije vorm: vorm 3920">
                <a:extLst>
                  <a:ext uri="{FF2B5EF4-FFF2-40B4-BE49-F238E27FC236}">
                    <a16:creationId xmlns:a16="http://schemas.microsoft.com/office/drawing/2014/main" id="{E661F096-725D-43C8-A514-284636FB4E9E}"/>
                  </a:ext>
                </a:extLst>
              </p:cNvPr>
              <p:cNvSpPr/>
              <p:nvPr/>
            </p:nvSpPr>
            <p:spPr>
              <a:xfrm>
                <a:off x="7275747" y="4564347"/>
                <a:ext cx="52690" cy="49819"/>
              </a:xfrm>
              <a:custGeom>
                <a:avLst/>
                <a:gdLst>
                  <a:gd name="connsiteX0" fmla="*/ 52691 w 52690"/>
                  <a:gd name="connsiteY0" fmla="*/ 47606 h 49819"/>
                  <a:gd name="connsiteX1" fmla="*/ 50657 w 52690"/>
                  <a:gd name="connsiteY1" fmla="*/ 49819 h 49819"/>
                  <a:gd name="connsiteX2" fmla="*/ 0 w 52690"/>
                  <a:gd name="connsiteY2" fmla="*/ 2213 h 49819"/>
                  <a:gd name="connsiteX3" fmla="*/ 2034 w 52690"/>
                  <a:gd name="connsiteY3" fmla="*/ 0 h 49819"/>
                </a:gdLst>
                <a:ahLst/>
                <a:cxnLst>
                  <a:cxn ang="0">
                    <a:pos x="connsiteX0" y="connsiteY0"/>
                  </a:cxn>
                  <a:cxn ang="0">
                    <a:pos x="connsiteX1" y="connsiteY1"/>
                  </a:cxn>
                  <a:cxn ang="0">
                    <a:pos x="connsiteX2" y="connsiteY2"/>
                  </a:cxn>
                  <a:cxn ang="0">
                    <a:pos x="connsiteX3" y="connsiteY3"/>
                  </a:cxn>
                </a:cxnLst>
                <a:rect l="l" t="t" r="r" b="b"/>
                <a:pathLst>
                  <a:path w="52690" h="49819">
                    <a:moveTo>
                      <a:pt x="52691" y="47606"/>
                    </a:moveTo>
                    <a:lnTo>
                      <a:pt x="50657" y="49819"/>
                    </a:lnTo>
                    <a:lnTo>
                      <a:pt x="0" y="2213"/>
                    </a:lnTo>
                    <a:lnTo>
                      <a:pt x="2034" y="0"/>
                    </a:lnTo>
                    <a:close/>
                  </a:path>
                </a:pathLst>
              </a:custGeom>
              <a:grpFill/>
              <a:ln w="5978" cap="flat">
                <a:noFill/>
                <a:prstDash val="solid"/>
                <a:miter/>
              </a:ln>
            </p:spPr>
            <p:txBody>
              <a:bodyPr rtlCol="0" anchor="ctr"/>
              <a:lstStyle/>
              <a:p>
                <a:endParaRPr lang="en-GB"/>
              </a:p>
            </p:txBody>
          </p:sp>
          <p:sp>
            <p:nvSpPr>
              <p:cNvPr id="3922" name="Vrije vorm: vorm 3921">
                <a:extLst>
                  <a:ext uri="{FF2B5EF4-FFF2-40B4-BE49-F238E27FC236}">
                    <a16:creationId xmlns:a16="http://schemas.microsoft.com/office/drawing/2014/main" id="{5758E04C-6DB2-4DD7-A229-6B45D9695F10}"/>
                  </a:ext>
                </a:extLst>
              </p:cNvPr>
              <p:cNvSpPr/>
              <p:nvPr/>
            </p:nvSpPr>
            <p:spPr>
              <a:xfrm>
                <a:off x="7317928" y="4603546"/>
                <a:ext cx="18327" cy="18429"/>
              </a:xfrm>
              <a:custGeom>
                <a:avLst/>
                <a:gdLst>
                  <a:gd name="connsiteX0" fmla="*/ 15413 w 18327"/>
                  <a:gd name="connsiteY0" fmla="*/ 2487 h 18429"/>
                  <a:gd name="connsiteX1" fmla="*/ 15892 w 18327"/>
                  <a:gd name="connsiteY1" fmla="*/ 15525 h 18429"/>
                  <a:gd name="connsiteX2" fmla="*/ 2914 w 18327"/>
                  <a:gd name="connsiteY2" fmla="*/ 15943 h 18429"/>
                  <a:gd name="connsiteX3" fmla="*/ 2436 w 18327"/>
                  <a:gd name="connsiteY3" fmla="*/ 2905 h 18429"/>
                  <a:gd name="connsiteX4" fmla="*/ 15413 w 18327"/>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5413" y="2487"/>
                    </a:moveTo>
                    <a:cubicBezTo>
                      <a:pt x="19121" y="5956"/>
                      <a:pt x="19301" y="11817"/>
                      <a:pt x="15892" y="15525"/>
                    </a:cubicBezTo>
                    <a:cubicBezTo>
                      <a:pt x="12423" y="19233"/>
                      <a:pt x="6622" y="19412"/>
                      <a:pt x="2914" y="15943"/>
                    </a:cubicBezTo>
                    <a:cubicBezTo>
                      <a:pt x="-794" y="12474"/>
                      <a:pt x="-974" y="6613"/>
                      <a:pt x="2436" y="2905"/>
                    </a:cubicBezTo>
                    <a:cubicBezTo>
                      <a:pt x="5904" y="-803"/>
                      <a:pt x="11705" y="-982"/>
                      <a:pt x="15413" y="2487"/>
                    </a:cubicBezTo>
                    <a:close/>
                  </a:path>
                </a:pathLst>
              </a:custGeom>
              <a:grpFill/>
              <a:ln w="5978" cap="flat">
                <a:noFill/>
                <a:prstDash val="solid"/>
                <a:miter/>
              </a:ln>
            </p:spPr>
            <p:txBody>
              <a:bodyPr rtlCol="0" anchor="ctr"/>
              <a:lstStyle/>
              <a:p>
                <a:endParaRPr lang="en-GB"/>
              </a:p>
            </p:txBody>
          </p:sp>
          <p:sp>
            <p:nvSpPr>
              <p:cNvPr id="3923" name="Vrije vorm: vorm 3922">
                <a:extLst>
                  <a:ext uri="{FF2B5EF4-FFF2-40B4-BE49-F238E27FC236}">
                    <a16:creationId xmlns:a16="http://schemas.microsoft.com/office/drawing/2014/main" id="{1A58AAE5-A061-4C48-8FDF-086BFE14A8A4}"/>
                  </a:ext>
                </a:extLst>
              </p:cNvPr>
              <p:cNvSpPr/>
              <p:nvPr/>
            </p:nvSpPr>
            <p:spPr>
              <a:xfrm>
                <a:off x="7267906" y="4556538"/>
                <a:ext cx="18374" cy="18429"/>
              </a:xfrm>
              <a:custGeom>
                <a:avLst/>
                <a:gdLst>
                  <a:gd name="connsiteX0" fmla="*/ 15437 w 18374"/>
                  <a:gd name="connsiteY0" fmla="*/ 2487 h 18429"/>
                  <a:gd name="connsiteX1" fmla="*/ 2459 w 18374"/>
                  <a:gd name="connsiteY1" fmla="*/ 2905 h 18429"/>
                  <a:gd name="connsiteX2" fmla="*/ 2937 w 18374"/>
                  <a:gd name="connsiteY2" fmla="*/ 15943 h 18429"/>
                  <a:gd name="connsiteX3" fmla="*/ 15916 w 18374"/>
                  <a:gd name="connsiteY3" fmla="*/ 15525 h 18429"/>
                  <a:gd name="connsiteX4" fmla="*/ 15437 w 18374"/>
                  <a:gd name="connsiteY4" fmla="*/ 248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9">
                    <a:moveTo>
                      <a:pt x="15437" y="2487"/>
                    </a:moveTo>
                    <a:cubicBezTo>
                      <a:pt x="11729" y="-982"/>
                      <a:pt x="5928" y="-803"/>
                      <a:pt x="2459" y="2905"/>
                    </a:cubicBezTo>
                    <a:cubicBezTo>
                      <a:pt x="-1010" y="6613"/>
                      <a:pt x="-771" y="12474"/>
                      <a:pt x="2937" y="15943"/>
                    </a:cubicBezTo>
                    <a:cubicBezTo>
                      <a:pt x="6645" y="19412"/>
                      <a:pt x="12446" y="19233"/>
                      <a:pt x="15916" y="15525"/>
                    </a:cubicBezTo>
                    <a:cubicBezTo>
                      <a:pt x="19384" y="11817"/>
                      <a:pt x="19145" y="6015"/>
                      <a:pt x="15437" y="2487"/>
                    </a:cubicBezTo>
                    <a:close/>
                  </a:path>
                </a:pathLst>
              </a:custGeom>
              <a:grpFill/>
              <a:ln w="5978" cap="flat">
                <a:noFill/>
                <a:prstDash val="solid"/>
                <a:miter/>
              </a:ln>
            </p:spPr>
            <p:txBody>
              <a:bodyPr rtlCol="0" anchor="ctr"/>
              <a:lstStyle/>
              <a:p>
                <a:endParaRPr lang="en-GB"/>
              </a:p>
            </p:txBody>
          </p:sp>
        </p:grpSp>
        <p:grpSp>
          <p:nvGrpSpPr>
            <p:cNvPr id="489" name="Graphic 3">
              <a:extLst>
                <a:ext uri="{FF2B5EF4-FFF2-40B4-BE49-F238E27FC236}">
                  <a16:creationId xmlns:a16="http://schemas.microsoft.com/office/drawing/2014/main" id="{BD183FC4-2289-4E1C-9B33-665DF3FDE57C}"/>
                </a:ext>
              </a:extLst>
            </p:cNvPr>
            <p:cNvGrpSpPr/>
            <p:nvPr/>
          </p:nvGrpSpPr>
          <p:grpSpPr>
            <a:xfrm>
              <a:off x="6309092" y="1632172"/>
              <a:ext cx="36420" cy="132965"/>
              <a:chOff x="6309092" y="1632172"/>
              <a:chExt cx="36420" cy="132965"/>
            </a:xfrm>
            <a:grpFill/>
          </p:grpSpPr>
          <p:sp>
            <p:nvSpPr>
              <p:cNvPr id="3918" name="Vrije vorm: vorm 3917">
                <a:extLst>
                  <a:ext uri="{FF2B5EF4-FFF2-40B4-BE49-F238E27FC236}">
                    <a16:creationId xmlns:a16="http://schemas.microsoft.com/office/drawing/2014/main" id="{786A8D14-223A-4B3D-BE6C-B9D1B9CD3E4A}"/>
                  </a:ext>
                </a:extLst>
              </p:cNvPr>
              <p:cNvSpPr/>
              <p:nvPr/>
            </p:nvSpPr>
            <p:spPr>
              <a:xfrm>
                <a:off x="6316678" y="1640672"/>
                <a:ext cx="21291" cy="115906"/>
              </a:xfrm>
              <a:custGeom>
                <a:avLst/>
                <a:gdLst>
                  <a:gd name="connsiteX0" fmla="*/ 21292 w 21291"/>
                  <a:gd name="connsiteY0" fmla="*/ 478 h 115906"/>
                  <a:gd name="connsiteX1" fmla="*/ 2990 w 21291"/>
                  <a:gd name="connsiteY1" fmla="*/ 115906 h 115906"/>
                  <a:gd name="connsiteX2" fmla="*/ 0 w 21291"/>
                  <a:gd name="connsiteY2" fmla="*/ 115428 h 115906"/>
                  <a:gd name="connsiteX3" fmla="*/ 18241 w 21291"/>
                  <a:gd name="connsiteY3" fmla="*/ 0 h 115906"/>
                </a:gdLst>
                <a:ahLst/>
                <a:cxnLst>
                  <a:cxn ang="0">
                    <a:pos x="connsiteX0" y="connsiteY0"/>
                  </a:cxn>
                  <a:cxn ang="0">
                    <a:pos x="connsiteX1" y="connsiteY1"/>
                  </a:cxn>
                  <a:cxn ang="0">
                    <a:pos x="connsiteX2" y="connsiteY2"/>
                  </a:cxn>
                  <a:cxn ang="0">
                    <a:pos x="connsiteX3" y="connsiteY3"/>
                  </a:cxn>
                </a:cxnLst>
                <a:rect l="l" t="t" r="r" b="b"/>
                <a:pathLst>
                  <a:path w="21291" h="115906">
                    <a:moveTo>
                      <a:pt x="21292" y="478"/>
                    </a:moveTo>
                    <a:lnTo>
                      <a:pt x="2990" y="115906"/>
                    </a:lnTo>
                    <a:lnTo>
                      <a:pt x="0" y="115428"/>
                    </a:lnTo>
                    <a:lnTo>
                      <a:pt x="18241" y="0"/>
                    </a:lnTo>
                    <a:close/>
                  </a:path>
                </a:pathLst>
              </a:custGeom>
              <a:grpFill/>
              <a:ln w="5978" cap="flat">
                <a:noFill/>
                <a:prstDash val="solid"/>
                <a:miter/>
              </a:ln>
            </p:spPr>
            <p:txBody>
              <a:bodyPr rtlCol="0" anchor="ctr"/>
              <a:lstStyle/>
              <a:p>
                <a:endParaRPr lang="en-GB"/>
              </a:p>
            </p:txBody>
          </p:sp>
          <p:sp>
            <p:nvSpPr>
              <p:cNvPr id="3919" name="Vrije vorm: vorm 3918">
                <a:extLst>
                  <a:ext uri="{FF2B5EF4-FFF2-40B4-BE49-F238E27FC236}">
                    <a16:creationId xmlns:a16="http://schemas.microsoft.com/office/drawing/2014/main" id="{A9C0D924-17CA-49FD-A799-49C309C874B3}"/>
                  </a:ext>
                </a:extLst>
              </p:cNvPr>
              <p:cNvSpPr/>
              <p:nvPr/>
            </p:nvSpPr>
            <p:spPr>
              <a:xfrm>
                <a:off x="6327214" y="1632172"/>
                <a:ext cx="18298" cy="18434"/>
              </a:xfrm>
              <a:custGeom>
                <a:avLst/>
                <a:gdLst>
                  <a:gd name="connsiteX0" fmla="*/ 111 w 18298"/>
                  <a:gd name="connsiteY0" fmla="*/ 7722 h 18434"/>
                  <a:gd name="connsiteX1" fmla="*/ 10577 w 18298"/>
                  <a:gd name="connsiteY1" fmla="*/ 126 h 18434"/>
                  <a:gd name="connsiteX2" fmla="*/ 18172 w 18298"/>
                  <a:gd name="connsiteY2" fmla="*/ 10712 h 18434"/>
                  <a:gd name="connsiteX3" fmla="*/ 7706 w 18298"/>
                  <a:gd name="connsiteY3" fmla="*/ 18308 h 18434"/>
                  <a:gd name="connsiteX4" fmla="*/ 111 w 1829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4">
                    <a:moveTo>
                      <a:pt x="111" y="7722"/>
                    </a:moveTo>
                    <a:cubicBezTo>
                      <a:pt x="888" y="2698"/>
                      <a:pt x="5613" y="-711"/>
                      <a:pt x="10577" y="126"/>
                    </a:cubicBezTo>
                    <a:cubicBezTo>
                      <a:pt x="15601" y="964"/>
                      <a:pt x="19009" y="5689"/>
                      <a:pt x="18172" y="10712"/>
                    </a:cubicBezTo>
                    <a:cubicBezTo>
                      <a:pt x="17395" y="15736"/>
                      <a:pt x="12670" y="19145"/>
                      <a:pt x="7706" y="18308"/>
                    </a:cubicBezTo>
                    <a:cubicBezTo>
                      <a:pt x="2742" y="17471"/>
                      <a:pt x="-667" y="12746"/>
                      <a:pt x="111" y="7722"/>
                    </a:cubicBezTo>
                    <a:close/>
                  </a:path>
                </a:pathLst>
              </a:custGeom>
              <a:grpFill/>
              <a:ln w="5978" cap="flat">
                <a:noFill/>
                <a:prstDash val="solid"/>
                <a:miter/>
              </a:ln>
            </p:spPr>
            <p:txBody>
              <a:bodyPr rtlCol="0" anchor="ctr"/>
              <a:lstStyle/>
              <a:p>
                <a:endParaRPr lang="en-GB"/>
              </a:p>
            </p:txBody>
          </p:sp>
          <p:sp>
            <p:nvSpPr>
              <p:cNvPr id="3920" name="Vrije vorm: vorm 3919">
                <a:extLst>
                  <a:ext uri="{FF2B5EF4-FFF2-40B4-BE49-F238E27FC236}">
                    <a16:creationId xmlns:a16="http://schemas.microsoft.com/office/drawing/2014/main" id="{97D8FEEF-0F14-49CF-BEDB-3589CAB77E72}"/>
                  </a:ext>
                </a:extLst>
              </p:cNvPr>
              <p:cNvSpPr/>
              <p:nvPr/>
            </p:nvSpPr>
            <p:spPr>
              <a:xfrm>
                <a:off x="6309092" y="1746703"/>
                <a:ext cx="18282" cy="18434"/>
              </a:xfrm>
              <a:custGeom>
                <a:avLst/>
                <a:gdLst>
                  <a:gd name="connsiteX0" fmla="*/ 110 w 18282"/>
                  <a:gd name="connsiteY0" fmla="*/ 7722 h 18434"/>
                  <a:gd name="connsiteX1" fmla="*/ 7706 w 18282"/>
                  <a:gd name="connsiteY1" fmla="*/ 18308 h 18434"/>
                  <a:gd name="connsiteX2" fmla="*/ 18172 w 18282"/>
                  <a:gd name="connsiteY2" fmla="*/ 10712 h 18434"/>
                  <a:gd name="connsiteX3" fmla="*/ 10577 w 18282"/>
                  <a:gd name="connsiteY3" fmla="*/ 126 h 18434"/>
                  <a:gd name="connsiteX4" fmla="*/ 110 w 18282"/>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34">
                    <a:moveTo>
                      <a:pt x="110" y="7722"/>
                    </a:moveTo>
                    <a:cubicBezTo>
                      <a:pt x="-667" y="12746"/>
                      <a:pt x="2742" y="17471"/>
                      <a:pt x="7706" y="18308"/>
                    </a:cubicBezTo>
                    <a:cubicBezTo>
                      <a:pt x="12730" y="19145"/>
                      <a:pt x="17395" y="15736"/>
                      <a:pt x="18172" y="10712"/>
                    </a:cubicBezTo>
                    <a:cubicBezTo>
                      <a:pt x="18950" y="5689"/>
                      <a:pt x="15541" y="964"/>
                      <a:pt x="10577" y="126"/>
                    </a:cubicBezTo>
                    <a:cubicBezTo>
                      <a:pt x="5613" y="-711"/>
                      <a:pt x="888" y="2698"/>
                      <a:pt x="110" y="7722"/>
                    </a:cubicBezTo>
                    <a:close/>
                  </a:path>
                </a:pathLst>
              </a:custGeom>
              <a:grpFill/>
              <a:ln w="5978" cap="flat">
                <a:noFill/>
                <a:prstDash val="solid"/>
                <a:miter/>
              </a:ln>
            </p:spPr>
            <p:txBody>
              <a:bodyPr rtlCol="0" anchor="ctr"/>
              <a:lstStyle/>
              <a:p>
                <a:endParaRPr lang="en-GB"/>
              </a:p>
            </p:txBody>
          </p:sp>
        </p:grpSp>
        <p:grpSp>
          <p:nvGrpSpPr>
            <p:cNvPr id="490" name="Graphic 3">
              <a:extLst>
                <a:ext uri="{FF2B5EF4-FFF2-40B4-BE49-F238E27FC236}">
                  <a16:creationId xmlns:a16="http://schemas.microsoft.com/office/drawing/2014/main" id="{EA52E30F-134D-43D8-A3AF-B21B53129638}"/>
                </a:ext>
              </a:extLst>
            </p:cNvPr>
            <p:cNvGrpSpPr/>
            <p:nvPr/>
          </p:nvGrpSpPr>
          <p:grpSpPr>
            <a:xfrm>
              <a:off x="6259079" y="1393244"/>
              <a:ext cx="48035" cy="264670"/>
              <a:chOff x="6259079" y="1393244"/>
              <a:chExt cx="48035" cy="264670"/>
            </a:xfrm>
            <a:grpFill/>
          </p:grpSpPr>
          <p:sp>
            <p:nvSpPr>
              <p:cNvPr id="3915" name="Vrije vorm: vorm 3914">
                <a:extLst>
                  <a:ext uri="{FF2B5EF4-FFF2-40B4-BE49-F238E27FC236}">
                    <a16:creationId xmlns:a16="http://schemas.microsoft.com/office/drawing/2014/main" id="{AB58EBDF-EDDF-4475-AA09-64D388639E8C}"/>
                  </a:ext>
                </a:extLst>
              </p:cNvPr>
              <p:cNvSpPr/>
              <p:nvPr/>
            </p:nvSpPr>
            <p:spPr>
              <a:xfrm>
                <a:off x="6266680" y="1401861"/>
                <a:ext cx="32834" cy="247482"/>
              </a:xfrm>
              <a:custGeom>
                <a:avLst/>
                <a:gdLst>
                  <a:gd name="connsiteX0" fmla="*/ 32834 w 32834"/>
                  <a:gd name="connsiteY0" fmla="*/ 359 h 247482"/>
                  <a:gd name="connsiteX1" fmla="*/ 3050 w 32834"/>
                  <a:gd name="connsiteY1" fmla="*/ 247482 h 247482"/>
                  <a:gd name="connsiteX2" fmla="*/ 0 w 32834"/>
                  <a:gd name="connsiteY2" fmla="*/ 247123 h 247482"/>
                  <a:gd name="connsiteX3" fmla="*/ 29784 w 32834"/>
                  <a:gd name="connsiteY3" fmla="*/ 0 h 247482"/>
                </a:gdLst>
                <a:ahLst/>
                <a:cxnLst>
                  <a:cxn ang="0">
                    <a:pos x="connsiteX0" y="connsiteY0"/>
                  </a:cxn>
                  <a:cxn ang="0">
                    <a:pos x="connsiteX1" y="connsiteY1"/>
                  </a:cxn>
                  <a:cxn ang="0">
                    <a:pos x="connsiteX2" y="connsiteY2"/>
                  </a:cxn>
                  <a:cxn ang="0">
                    <a:pos x="connsiteX3" y="connsiteY3"/>
                  </a:cxn>
                </a:cxnLst>
                <a:rect l="l" t="t" r="r" b="b"/>
                <a:pathLst>
                  <a:path w="32834" h="247482">
                    <a:moveTo>
                      <a:pt x="32834" y="359"/>
                    </a:moveTo>
                    <a:lnTo>
                      <a:pt x="3050" y="247482"/>
                    </a:lnTo>
                    <a:lnTo>
                      <a:pt x="0" y="247123"/>
                    </a:lnTo>
                    <a:lnTo>
                      <a:pt x="29784" y="0"/>
                    </a:lnTo>
                    <a:close/>
                  </a:path>
                </a:pathLst>
              </a:custGeom>
              <a:grpFill/>
              <a:ln w="5978" cap="flat">
                <a:noFill/>
                <a:prstDash val="solid"/>
                <a:miter/>
              </a:ln>
            </p:spPr>
            <p:txBody>
              <a:bodyPr rtlCol="0" anchor="ctr"/>
              <a:lstStyle/>
              <a:p>
                <a:endParaRPr lang="en-GB"/>
              </a:p>
            </p:txBody>
          </p:sp>
          <p:sp>
            <p:nvSpPr>
              <p:cNvPr id="3916" name="Vrije vorm: vorm 3915">
                <a:extLst>
                  <a:ext uri="{FF2B5EF4-FFF2-40B4-BE49-F238E27FC236}">
                    <a16:creationId xmlns:a16="http://schemas.microsoft.com/office/drawing/2014/main" id="{00CF298B-4719-4A6A-9880-28D57E8F8061}"/>
                  </a:ext>
                </a:extLst>
              </p:cNvPr>
              <p:cNvSpPr/>
              <p:nvPr/>
            </p:nvSpPr>
            <p:spPr>
              <a:xfrm>
                <a:off x="6288743" y="1393244"/>
                <a:ext cx="18371" cy="18431"/>
              </a:xfrm>
              <a:custGeom>
                <a:avLst/>
                <a:gdLst>
                  <a:gd name="connsiteX0" fmla="*/ 65 w 18371"/>
                  <a:gd name="connsiteY0" fmla="*/ 8079 h 18431"/>
                  <a:gd name="connsiteX1" fmla="*/ 10292 w 18371"/>
                  <a:gd name="connsiteY1" fmla="*/ 65 h 18431"/>
                  <a:gd name="connsiteX2" fmla="*/ 18306 w 18371"/>
                  <a:gd name="connsiteY2" fmla="*/ 10352 h 18431"/>
                  <a:gd name="connsiteX3" fmla="*/ 8079 w 18371"/>
                  <a:gd name="connsiteY3" fmla="*/ 18366 h 18431"/>
                  <a:gd name="connsiteX4" fmla="*/ 65 w 18371"/>
                  <a:gd name="connsiteY4" fmla="*/ 807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31">
                    <a:moveTo>
                      <a:pt x="65" y="8079"/>
                    </a:moveTo>
                    <a:cubicBezTo>
                      <a:pt x="663" y="3055"/>
                      <a:pt x="5268" y="-533"/>
                      <a:pt x="10292" y="65"/>
                    </a:cubicBezTo>
                    <a:cubicBezTo>
                      <a:pt x="15316" y="723"/>
                      <a:pt x="18905" y="5328"/>
                      <a:pt x="18306" y="10352"/>
                    </a:cubicBezTo>
                    <a:cubicBezTo>
                      <a:pt x="17708" y="15376"/>
                      <a:pt x="13103" y="18964"/>
                      <a:pt x="8079" y="18366"/>
                    </a:cubicBezTo>
                    <a:cubicBezTo>
                      <a:pt x="3055" y="17768"/>
                      <a:pt x="-533" y="13163"/>
                      <a:pt x="65" y="8079"/>
                    </a:cubicBezTo>
                    <a:close/>
                  </a:path>
                </a:pathLst>
              </a:custGeom>
              <a:grpFill/>
              <a:ln w="5978" cap="flat">
                <a:noFill/>
                <a:prstDash val="solid"/>
                <a:miter/>
              </a:ln>
            </p:spPr>
            <p:txBody>
              <a:bodyPr rtlCol="0" anchor="ctr"/>
              <a:lstStyle/>
              <a:p>
                <a:endParaRPr lang="en-GB"/>
              </a:p>
            </p:txBody>
          </p:sp>
          <p:sp>
            <p:nvSpPr>
              <p:cNvPr id="3917" name="Vrije vorm: vorm 3916">
                <a:extLst>
                  <a:ext uri="{FF2B5EF4-FFF2-40B4-BE49-F238E27FC236}">
                    <a16:creationId xmlns:a16="http://schemas.microsoft.com/office/drawing/2014/main" id="{77D5F510-BB05-453E-9CC0-F797339DB02B}"/>
                  </a:ext>
                </a:extLst>
              </p:cNvPr>
              <p:cNvSpPr/>
              <p:nvPr/>
            </p:nvSpPr>
            <p:spPr>
              <a:xfrm>
                <a:off x="6259079" y="1639470"/>
                <a:ext cx="18371" cy="18443"/>
              </a:xfrm>
              <a:custGeom>
                <a:avLst/>
                <a:gdLst>
                  <a:gd name="connsiteX0" fmla="*/ 65 w 18371"/>
                  <a:gd name="connsiteY0" fmla="*/ 8079 h 18443"/>
                  <a:gd name="connsiteX1" fmla="*/ 8079 w 18371"/>
                  <a:gd name="connsiteY1" fmla="*/ 18366 h 18443"/>
                  <a:gd name="connsiteX2" fmla="*/ 18307 w 18371"/>
                  <a:gd name="connsiteY2" fmla="*/ 10352 h 18443"/>
                  <a:gd name="connsiteX3" fmla="*/ 10292 w 18371"/>
                  <a:gd name="connsiteY3" fmla="*/ 65 h 18443"/>
                  <a:gd name="connsiteX4" fmla="*/ 65 w 18371"/>
                  <a:gd name="connsiteY4" fmla="*/ 807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3">
                    <a:moveTo>
                      <a:pt x="65" y="8079"/>
                    </a:moveTo>
                    <a:cubicBezTo>
                      <a:pt x="-533" y="13103"/>
                      <a:pt x="3055" y="17708"/>
                      <a:pt x="8079" y="18366"/>
                    </a:cubicBezTo>
                    <a:cubicBezTo>
                      <a:pt x="13103" y="19024"/>
                      <a:pt x="17648" y="15436"/>
                      <a:pt x="18307" y="10352"/>
                    </a:cubicBezTo>
                    <a:cubicBezTo>
                      <a:pt x="18905" y="5328"/>
                      <a:pt x="15316" y="723"/>
                      <a:pt x="10292" y="65"/>
                    </a:cubicBezTo>
                    <a:cubicBezTo>
                      <a:pt x="5268" y="-533"/>
                      <a:pt x="663" y="3055"/>
                      <a:pt x="65" y="8079"/>
                    </a:cubicBezTo>
                    <a:close/>
                  </a:path>
                </a:pathLst>
              </a:custGeom>
              <a:grpFill/>
              <a:ln w="5978" cap="flat">
                <a:noFill/>
                <a:prstDash val="solid"/>
                <a:miter/>
              </a:ln>
            </p:spPr>
            <p:txBody>
              <a:bodyPr rtlCol="0" anchor="ctr"/>
              <a:lstStyle/>
              <a:p>
                <a:endParaRPr lang="en-GB"/>
              </a:p>
            </p:txBody>
          </p:sp>
        </p:grpSp>
        <p:grpSp>
          <p:nvGrpSpPr>
            <p:cNvPr id="491" name="Graphic 3">
              <a:extLst>
                <a:ext uri="{FF2B5EF4-FFF2-40B4-BE49-F238E27FC236}">
                  <a16:creationId xmlns:a16="http://schemas.microsoft.com/office/drawing/2014/main" id="{238D3CCA-CAC6-49CE-8760-9BECEE57D7C2}"/>
                </a:ext>
              </a:extLst>
            </p:cNvPr>
            <p:cNvGrpSpPr/>
            <p:nvPr/>
          </p:nvGrpSpPr>
          <p:grpSpPr>
            <a:xfrm>
              <a:off x="7288880" y="4815110"/>
              <a:ext cx="324110" cy="364618"/>
              <a:chOff x="7288880" y="4815110"/>
              <a:chExt cx="324110" cy="364618"/>
            </a:xfrm>
            <a:grpFill/>
          </p:grpSpPr>
          <p:sp>
            <p:nvSpPr>
              <p:cNvPr id="3912" name="Vrije vorm: vorm 3911">
                <a:extLst>
                  <a:ext uri="{FF2B5EF4-FFF2-40B4-BE49-F238E27FC236}">
                    <a16:creationId xmlns:a16="http://schemas.microsoft.com/office/drawing/2014/main" id="{A7F46826-0BEE-46D8-AD6B-0AA8EAEC3AA9}"/>
                  </a:ext>
                </a:extLst>
              </p:cNvPr>
              <p:cNvSpPr/>
              <p:nvPr/>
            </p:nvSpPr>
            <p:spPr>
              <a:xfrm>
                <a:off x="7296620" y="4823014"/>
                <a:ext cx="308665" cy="348915"/>
              </a:xfrm>
              <a:custGeom>
                <a:avLst/>
                <a:gdLst>
                  <a:gd name="connsiteX0" fmla="*/ 308666 w 308665"/>
                  <a:gd name="connsiteY0" fmla="*/ 346882 h 348915"/>
                  <a:gd name="connsiteX1" fmla="*/ 306393 w 308665"/>
                  <a:gd name="connsiteY1" fmla="*/ 348915 h 348915"/>
                  <a:gd name="connsiteX2" fmla="*/ 0 w 308665"/>
                  <a:gd name="connsiteY2" fmla="*/ 2033 h 348915"/>
                  <a:gd name="connsiteX3" fmla="*/ 2273 w 308665"/>
                  <a:gd name="connsiteY3" fmla="*/ 0 h 348915"/>
                </a:gdLst>
                <a:ahLst/>
                <a:cxnLst>
                  <a:cxn ang="0">
                    <a:pos x="connsiteX0" y="connsiteY0"/>
                  </a:cxn>
                  <a:cxn ang="0">
                    <a:pos x="connsiteX1" y="connsiteY1"/>
                  </a:cxn>
                  <a:cxn ang="0">
                    <a:pos x="connsiteX2" y="connsiteY2"/>
                  </a:cxn>
                  <a:cxn ang="0">
                    <a:pos x="connsiteX3" y="connsiteY3"/>
                  </a:cxn>
                </a:cxnLst>
                <a:rect l="l" t="t" r="r" b="b"/>
                <a:pathLst>
                  <a:path w="308665" h="348915">
                    <a:moveTo>
                      <a:pt x="308666" y="346882"/>
                    </a:moveTo>
                    <a:lnTo>
                      <a:pt x="306393" y="348915"/>
                    </a:lnTo>
                    <a:lnTo>
                      <a:pt x="0" y="2033"/>
                    </a:lnTo>
                    <a:lnTo>
                      <a:pt x="2273" y="0"/>
                    </a:lnTo>
                    <a:close/>
                  </a:path>
                </a:pathLst>
              </a:custGeom>
              <a:grpFill/>
              <a:ln w="5978" cap="flat">
                <a:noFill/>
                <a:prstDash val="solid"/>
                <a:miter/>
              </a:ln>
            </p:spPr>
            <p:txBody>
              <a:bodyPr rtlCol="0" anchor="ctr"/>
              <a:lstStyle/>
              <a:p>
                <a:endParaRPr lang="en-GB"/>
              </a:p>
            </p:txBody>
          </p:sp>
          <p:sp>
            <p:nvSpPr>
              <p:cNvPr id="3913" name="Vrije vorm: vorm 3912">
                <a:extLst>
                  <a:ext uri="{FF2B5EF4-FFF2-40B4-BE49-F238E27FC236}">
                    <a16:creationId xmlns:a16="http://schemas.microsoft.com/office/drawing/2014/main" id="{DA96A4B9-772D-4FF0-BAB1-8056C984B0B9}"/>
                  </a:ext>
                </a:extLst>
              </p:cNvPr>
              <p:cNvSpPr/>
              <p:nvPr/>
            </p:nvSpPr>
            <p:spPr>
              <a:xfrm>
                <a:off x="7594714" y="5161333"/>
                <a:ext cx="18277" cy="18394"/>
              </a:xfrm>
              <a:custGeom>
                <a:avLst/>
                <a:gdLst>
                  <a:gd name="connsiteX0" fmla="*/ 15953 w 18277"/>
                  <a:gd name="connsiteY0" fmla="*/ 3119 h 18394"/>
                  <a:gd name="connsiteX1" fmla="*/ 15236 w 18277"/>
                  <a:gd name="connsiteY1" fmla="*/ 16097 h 18394"/>
                  <a:gd name="connsiteX2" fmla="*/ 2318 w 18277"/>
                  <a:gd name="connsiteY2" fmla="*/ 15320 h 18394"/>
                  <a:gd name="connsiteX3" fmla="*/ 3095 w 18277"/>
                  <a:gd name="connsiteY3" fmla="*/ 2342 h 18394"/>
                  <a:gd name="connsiteX4" fmla="*/ 15953 w 18277"/>
                  <a:gd name="connsiteY4" fmla="*/ 311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394">
                    <a:moveTo>
                      <a:pt x="15953" y="3119"/>
                    </a:moveTo>
                    <a:cubicBezTo>
                      <a:pt x="19303" y="6947"/>
                      <a:pt x="19004" y="12748"/>
                      <a:pt x="15236" y="16097"/>
                    </a:cubicBezTo>
                    <a:cubicBezTo>
                      <a:pt x="11468" y="19447"/>
                      <a:pt x="5667" y="19088"/>
                      <a:pt x="2318" y="15320"/>
                    </a:cubicBezTo>
                    <a:cubicBezTo>
                      <a:pt x="-1032" y="11492"/>
                      <a:pt x="-732" y="5691"/>
                      <a:pt x="3095" y="2342"/>
                    </a:cubicBezTo>
                    <a:cubicBezTo>
                      <a:pt x="6803" y="-1067"/>
                      <a:pt x="12605" y="-708"/>
                      <a:pt x="15953" y="3119"/>
                    </a:cubicBezTo>
                    <a:close/>
                  </a:path>
                </a:pathLst>
              </a:custGeom>
              <a:grpFill/>
              <a:ln w="5978" cap="flat">
                <a:noFill/>
                <a:prstDash val="solid"/>
                <a:miter/>
              </a:ln>
            </p:spPr>
            <p:txBody>
              <a:bodyPr rtlCol="0" anchor="ctr"/>
              <a:lstStyle/>
              <a:p>
                <a:endParaRPr lang="en-GB"/>
              </a:p>
            </p:txBody>
          </p:sp>
          <p:sp>
            <p:nvSpPr>
              <p:cNvPr id="3914" name="Vrije vorm: vorm 3913">
                <a:extLst>
                  <a:ext uri="{FF2B5EF4-FFF2-40B4-BE49-F238E27FC236}">
                    <a16:creationId xmlns:a16="http://schemas.microsoft.com/office/drawing/2014/main" id="{38BCCC7C-305F-415D-9380-0609BBADB4DF}"/>
                  </a:ext>
                </a:extLst>
              </p:cNvPr>
              <p:cNvSpPr/>
              <p:nvPr/>
            </p:nvSpPr>
            <p:spPr>
              <a:xfrm>
                <a:off x="7288880" y="4815110"/>
                <a:ext cx="18334" cy="18438"/>
              </a:xfrm>
              <a:custGeom>
                <a:avLst/>
                <a:gdLst>
                  <a:gd name="connsiteX0" fmla="*/ 15993 w 18334"/>
                  <a:gd name="connsiteY0" fmla="*/ 3119 h 18438"/>
                  <a:gd name="connsiteX1" fmla="*/ 3075 w 18334"/>
                  <a:gd name="connsiteY1" fmla="*/ 2341 h 18438"/>
                  <a:gd name="connsiteX2" fmla="*/ 2297 w 18334"/>
                  <a:gd name="connsiteY2" fmla="*/ 15320 h 18438"/>
                  <a:gd name="connsiteX3" fmla="*/ 15215 w 18334"/>
                  <a:gd name="connsiteY3" fmla="*/ 16097 h 18438"/>
                  <a:gd name="connsiteX4" fmla="*/ 15993 w 18334"/>
                  <a:gd name="connsiteY4" fmla="*/ 311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8">
                    <a:moveTo>
                      <a:pt x="15993" y="3119"/>
                    </a:moveTo>
                    <a:cubicBezTo>
                      <a:pt x="12644" y="-708"/>
                      <a:pt x="6843" y="-1067"/>
                      <a:pt x="3075" y="2341"/>
                    </a:cubicBezTo>
                    <a:cubicBezTo>
                      <a:pt x="-693" y="5691"/>
                      <a:pt x="-1052" y="11552"/>
                      <a:pt x="2297" y="15320"/>
                    </a:cubicBezTo>
                    <a:cubicBezTo>
                      <a:pt x="5646" y="19147"/>
                      <a:pt x="11447" y="19506"/>
                      <a:pt x="15215" y="16097"/>
                    </a:cubicBezTo>
                    <a:cubicBezTo>
                      <a:pt x="19043" y="12748"/>
                      <a:pt x="19402" y="6947"/>
                      <a:pt x="15993" y="3119"/>
                    </a:cubicBezTo>
                    <a:close/>
                  </a:path>
                </a:pathLst>
              </a:custGeom>
              <a:grpFill/>
              <a:ln w="5978" cap="flat">
                <a:noFill/>
                <a:prstDash val="solid"/>
                <a:miter/>
              </a:ln>
            </p:spPr>
            <p:txBody>
              <a:bodyPr rtlCol="0" anchor="ctr"/>
              <a:lstStyle/>
              <a:p>
                <a:endParaRPr lang="en-GB"/>
              </a:p>
            </p:txBody>
          </p:sp>
        </p:grpSp>
        <p:grpSp>
          <p:nvGrpSpPr>
            <p:cNvPr id="492" name="Graphic 3">
              <a:extLst>
                <a:ext uri="{FF2B5EF4-FFF2-40B4-BE49-F238E27FC236}">
                  <a16:creationId xmlns:a16="http://schemas.microsoft.com/office/drawing/2014/main" id="{E7FA0548-59BB-450C-92F6-FD885025997D}"/>
                </a:ext>
              </a:extLst>
            </p:cNvPr>
            <p:cNvGrpSpPr/>
            <p:nvPr/>
          </p:nvGrpSpPr>
          <p:grpSpPr>
            <a:xfrm>
              <a:off x="7192317" y="4659088"/>
              <a:ext cx="421040" cy="520411"/>
              <a:chOff x="7192317" y="4659088"/>
              <a:chExt cx="421040" cy="520411"/>
            </a:xfrm>
            <a:grpFill/>
          </p:grpSpPr>
          <p:sp>
            <p:nvSpPr>
              <p:cNvPr id="3909" name="Vrije vorm: vorm 3908">
                <a:extLst>
                  <a:ext uri="{FF2B5EF4-FFF2-40B4-BE49-F238E27FC236}">
                    <a16:creationId xmlns:a16="http://schemas.microsoft.com/office/drawing/2014/main" id="{9086AA2A-0D89-4A8F-990D-0C413E3039E5}"/>
                  </a:ext>
                </a:extLst>
              </p:cNvPr>
              <p:cNvSpPr/>
              <p:nvPr/>
            </p:nvSpPr>
            <p:spPr>
              <a:xfrm>
                <a:off x="7200032" y="4667036"/>
                <a:ext cx="405612" cy="504533"/>
              </a:xfrm>
              <a:custGeom>
                <a:avLst/>
                <a:gdLst>
                  <a:gd name="connsiteX0" fmla="*/ 405612 w 405612"/>
                  <a:gd name="connsiteY0" fmla="*/ 502620 h 504533"/>
                  <a:gd name="connsiteX1" fmla="*/ 403220 w 405612"/>
                  <a:gd name="connsiteY1" fmla="*/ 504534 h 504533"/>
                  <a:gd name="connsiteX2" fmla="*/ 0 w 405612"/>
                  <a:gd name="connsiteY2" fmla="*/ 1914 h 504533"/>
                  <a:gd name="connsiteX3" fmla="*/ 2333 w 405612"/>
                  <a:gd name="connsiteY3" fmla="*/ 0 h 504533"/>
                </a:gdLst>
                <a:ahLst/>
                <a:cxnLst>
                  <a:cxn ang="0">
                    <a:pos x="connsiteX0" y="connsiteY0"/>
                  </a:cxn>
                  <a:cxn ang="0">
                    <a:pos x="connsiteX1" y="connsiteY1"/>
                  </a:cxn>
                  <a:cxn ang="0">
                    <a:pos x="connsiteX2" y="connsiteY2"/>
                  </a:cxn>
                  <a:cxn ang="0">
                    <a:pos x="connsiteX3" y="connsiteY3"/>
                  </a:cxn>
                </a:cxnLst>
                <a:rect l="l" t="t" r="r" b="b"/>
                <a:pathLst>
                  <a:path w="405612" h="504533">
                    <a:moveTo>
                      <a:pt x="405612" y="502620"/>
                    </a:moveTo>
                    <a:lnTo>
                      <a:pt x="403220" y="504534"/>
                    </a:lnTo>
                    <a:lnTo>
                      <a:pt x="0" y="1914"/>
                    </a:lnTo>
                    <a:lnTo>
                      <a:pt x="2333" y="0"/>
                    </a:lnTo>
                    <a:close/>
                  </a:path>
                </a:pathLst>
              </a:custGeom>
              <a:grpFill/>
              <a:ln w="5978" cap="flat">
                <a:noFill/>
                <a:prstDash val="solid"/>
                <a:miter/>
              </a:ln>
            </p:spPr>
            <p:txBody>
              <a:bodyPr rtlCol="0" anchor="ctr"/>
              <a:lstStyle/>
              <a:p>
                <a:endParaRPr lang="en-GB"/>
              </a:p>
            </p:txBody>
          </p:sp>
          <p:sp>
            <p:nvSpPr>
              <p:cNvPr id="3910" name="Vrije vorm: vorm 3909">
                <a:extLst>
                  <a:ext uri="{FF2B5EF4-FFF2-40B4-BE49-F238E27FC236}">
                    <a16:creationId xmlns:a16="http://schemas.microsoft.com/office/drawing/2014/main" id="{B9C30CFE-748D-432B-98BF-51FEE855A115}"/>
                  </a:ext>
                </a:extLst>
              </p:cNvPr>
              <p:cNvSpPr/>
              <p:nvPr/>
            </p:nvSpPr>
            <p:spPr>
              <a:xfrm>
                <a:off x="7192317" y="4659088"/>
                <a:ext cx="18358" cy="18468"/>
              </a:xfrm>
              <a:custGeom>
                <a:avLst/>
                <a:gdLst>
                  <a:gd name="connsiteX0" fmla="*/ 2032 w 18358"/>
                  <a:gd name="connsiteY0" fmla="*/ 15006 h 18468"/>
                  <a:gd name="connsiteX1" fmla="*/ 3408 w 18358"/>
                  <a:gd name="connsiteY1" fmla="*/ 2028 h 18468"/>
                  <a:gd name="connsiteX2" fmla="*/ 16326 w 18358"/>
                  <a:gd name="connsiteY2" fmla="*/ 3463 h 18468"/>
                  <a:gd name="connsiteX3" fmla="*/ 14951 w 18358"/>
                  <a:gd name="connsiteY3" fmla="*/ 16441 h 18468"/>
                  <a:gd name="connsiteX4" fmla="*/ 2032 w 18358"/>
                  <a:gd name="connsiteY4" fmla="*/ 1500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68">
                    <a:moveTo>
                      <a:pt x="2032" y="15006"/>
                    </a:moveTo>
                    <a:cubicBezTo>
                      <a:pt x="-1138" y="11058"/>
                      <a:pt x="-539" y="5257"/>
                      <a:pt x="3408" y="2028"/>
                    </a:cubicBezTo>
                    <a:cubicBezTo>
                      <a:pt x="7355" y="-1142"/>
                      <a:pt x="13096" y="-544"/>
                      <a:pt x="16326" y="3463"/>
                    </a:cubicBezTo>
                    <a:cubicBezTo>
                      <a:pt x="19496" y="7410"/>
                      <a:pt x="18898" y="13212"/>
                      <a:pt x="14951" y="16441"/>
                    </a:cubicBezTo>
                    <a:cubicBezTo>
                      <a:pt x="11003" y="19611"/>
                      <a:pt x="5262" y="19013"/>
                      <a:pt x="2032" y="15006"/>
                    </a:cubicBezTo>
                    <a:close/>
                  </a:path>
                </a:pathLst>
              </a:custGeom>
              <a:grpFill/>
              <a:ln w="5978" cap="flat">
                <a:noFill/>
                <a:prstDash val="solid"/>
                <a:miter/>
              </a:ln>
            </p:spPr>
            <p:txBody>
              <a:bodyPr rtlCol="0" anchor="ctr"/>
              <a:lstStyle/>
              <a:p>
                <a:endParaRPr lang="en-GB"/>
              </a:p>
            </p:txBody>
          </p:sp>
          <p:sp>
            <p:nvSpPr>
              <p:cNvPr id="3911" name="Vrije vorm: vorm 3910">
                <a:extLst>
                  <a:ext uri="{FF2B5EF4-FFF2-40B4-BE49-F238E27FC236}">
                    <a16:creationId xmlns:a16="http://schemas.microsoft.com/office/drawing/2014/main" id="{FE5B76D5-8AF4-4A24-8FD7-E8F0AB9E0FF5}"/>
                  </a:ext>
                </a:extLst>
              </p:cNvPr>
              <p:cNvSpPr/>
              <p:nvPr/>
            </p:nvSpPr>
            <p:spPr>
              <a:xfrm>
                <a:off x="7594999" y="5161068"/>
                <a:ext cx="18358" cy="18431"/>
              </a:xfrm>
              <a:custGeom>
                <a:avLst/>
                <a:gdLst>
                  <a:gd name="connsiteX0" fmla="*/ 2032 w 18358"/>
                  <a:gd name="connsiteY0" fmla="*/ 14987 h 18431"/>
                  <a:gd name="connsiteX1" fmla="*/ 14950 w 18358"/>
                  <a:gd name="connsiteY1" fmla="*/ 16422 h 18431"/>
                  <a:gd name="connsiteX2" fmla="*/ 16326 w 18358"/>
                  <a:gd name="connsiteY2" fmla="*/ 3444 h 18431"/>
                  <a:gd name="connsiteX3" fmla="*/ 3408 w 18358"/>
                  <a:gd name="connsiteY3" fmla="*/ 2009 h 18431"/>
                  <a:gd name="connsiteX4" fmla="*/ 2032 w 18358"/>
                  <a:gd name="connsiteY4" fmla="*/ 14987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31">
                    <a:moveTo>
                      <a:pt x="2032" y="14987"/>
                    </a:moveTo>
                    <a:cubicBezTo>
                      <a:pt x="5202" y="18934"/>
                      <a:pt x="11004" y="19592"/>
                      <a:pt x="14950" y="16422"/>
                    </a:cubicBezTo>
                    <a:cubicBezTo>
                      <a:pt x="18898" y="13253"/>
                      <a:pt x="19496" y="7451"/>
                      <a:pt x="16326" y="3444"/>
                    </a:cubicBezTo>
                    <a:cubicBezTo>
                      <a:pt x="13157" y="-503"/>
                      <a:pt x="7355" y="-1161"/>
                      <a:pt x="3408" y="2009"/>
                    </a:cubicBezTo>
                    <a:cubicBezTo>
                      <a:pt x="-540" y="5178"/>
                      <a:pt x="-1137" y="10980"/>
                      <a:pt x="2032" y="14987"/>
                    </a:cubicBezTo>
                    <a:close/>
                  </a:path>
                </a:pathLst>
              </a:custGeom>
              <a:grpFill/>
              <a:ln w="5978" cap="flat">
                <a:noFill/>
                <a:prstDash val="solid"/>
                <a:miter/>
              </a:ln>
            </p:spPr>
            <p:txBody>
              <a:bodyPr rtlCol="0" anchor="ctr"/>
              <a:lstStyle/>
              <a:p>
                <a:endParaRPr lang="en-GB"/>
              </a:p>
            </p:txBody>
          </p:sp>
        </p:grpSp>
        <p:grpSp>
          <p:nvGrpSpPr>
            <p:cNvPr id="493" name="Graphic 3">
              <a:extLst>
                <a:ext uri="{FF2B5EF4-FFF2-40B4-BE49-F238E27FC236}">
                  <a16:creationId xmlns:a16="http://schemas.microsoft.com/office/drawing/2014/main" id="{5F7EE865-1744-4181-A7B4-A2C4B9150490}"/>
                </a:ext>
              </a:extLst>
            </p:cNvPr>
            <p:cNvGrpSpPr/>
            <p:nvPr/>
          </p:nvGrpSpPr>
          <p:grpSpPr>
            <a:xfrm>
              <a:off x="6248686" y="1483088"/>
              <a:ext cx="82875" cy="271169"/>
              <a:chOff x="6248686" y="1483088"/>
              <a:chExt cx="82875" cy="271169"/>
            </a:xfrm>
            <a:grpFill/>
          </p:grpSpPr>
          <p:sp>
            <p:nvSpPr>
              <p:cNvPr id="3906" name="Vrije vorm: vorm 3905">
                <a:extLst>
                  <a:ext uri="{FF2B5EF4-FFF2-40B4-BE49-F238E27FC236}">
                    <a16:creationId xmlns:a16="http://schemas.microsoft.com/office/drawing/2014/main" id="{C5379E1A-0E61-4D0A-AAA1-39ACC24E232E}"/>
                  </a:ext>
                </a:extLst>
              </p:cNvPr>
              <p:cNvSpPr/>
              <p:nvPr/>
            </p:nvSpPr>
            <p:spPr>
              <a:xfrm>
                <a:off x="6256273" y="1491453"/>
                <a:ext cx="67701" cy="254419"/>
              </a:xfrm>
              <a:custGeom>
                <a:avLst/>
                <a:gdLst>
                  <a:gd name="connsiteX0" fmla="*/ 67702 w 67701"/>
                  <a:gd name="connsiteY0" fmla="*/ 777 h 254419"/>
                  <a:gd name="connsiteX1" fmla="*/ 2930 w 67701"/>
                  <a:gd name="connsiteY1" fmla="*/ 254420 h 254419"/>
                  <a:gd name="connsiteX2" fmla="*/ 0 w 67701"/>
                  <a:gd name="connsiteY2" fmla="*/ 253642 h 254419"/>
                  <a:gd name="connsiteX3" fmla="*/ 64771 w 67701"/>
                  <a:gd name="connsiteY3" fmla="*/ 0 h 254419"/>
                </a:gdLst>
                <a:ahLst/>
                <a:cxnLst>
                  <a:cxn ang="0">
                    <a:pos x="connsiteX0" y="connsiteY0"/>
                  </a:cxn>
                  <a:cxn ang="0">
                    <a:pos x="connsiteX1" y="connsiteY1"/>
                  </a:cxn>
                  <a:cxn ang="0">
                    <a:pos x="connsiteX2" y="connsiteY2"/>
                  </a:cxn>
                  <a:cxn ang="0">
                    <a:pos x="connsiteX3" y="connsiteY3"/>
                  </a:cxn>
                </a:cxnLst>
                <a:rect l="l" t="t" r="r" b="b"/>
                <a:pathLst>
                  <a:path w="67701" h="254419">
                    <a:moveTo>
                      <a:pt x="67702" y="777"/>
                    </a:moveTo>
                    <a:lnTo>
                      <a:pt x="2930" y="254420"/>
                    </a:lnTo>
                    <a:lnTo>
                      <a:pt x="0" y="253642"/>
                    </a:lnTo>
                    <a:lnTo>
                      <a:pt x="64771" y="0"/>
                    </a:lnTo>
                    <a:close/>
                  </a:path>
                </a:pathLst>
              </a:custGeom>
              <a:grpFill/>
              <a:ln w="5978" cap="flat">
                <a:noFill/>
                <a:prstDash val="solid"/>
                <a:miter/>
              </a:ln>
            </p:spPr>
            <p:txBody>
              <a:bodyPr rtlCol="0" anchor="ctr"/>
              <a:lstStyle/>
              <a:p>
                <a:endParaRPr lang="en-GB"/>
              </a:p>
            </p:txBody>
          </p:sp>
          <p:sp>
            <p:nvSpPr>
              <p:cNvPr id="3907" name="Vrije vorm: vorm 3906">
                <a:extLst>
                  <a:ext uri="{FF2B5EF4-FFF2-40B4-BE49-F238E27FC236}">
                    <a16:creationId xmlns:a16="http://schemas.microsoft.com/office/drawing/2014/main" id="{468436AF-BE2B-42CD-9C93-DFB37C64F5EA}"/>
                  </a:ext>
                </a:extLst>
              </p:cNvPr>
              <p:cNvSpPr/>
              <p:nvPr/>
            </p:nvSpPr>
            <p:spPr>
              <a:xfrm>
                <a:off x="6248686" y="1735813"/>
                <a:ext cx="18339" cy="18443"/>
              </a:xfrm>
              <a:custGeom>
                <a:avLst/>
                <a:gdLst>
                  <a:gd name="connsiteX0" fmla="*/ 18053 w 18339"/>
                  <a:gd name="connsiteY0" fmla="*/ 11554 h 18443"/>
                  <a:gd name="connsiteX1" fmla="*/ 6869 w 18339"/>
                  <a:gd name="connsiteY1" fmla="*/ 18133 h 18443"/>
                  <a:gd name="connsiteX2" fmla="*/ 291 w 18339"/>
                  <a:gd name="connsiteY2" fmla="*/ 6889 h 18443"/>
                  <a:gd name="connsiteX3" fmla="*/ 11415 w 18339"/>
                  <a:gd name="connsiteY3" fmla="*/ 311 h 18443"/>
                  <a:gd name="connsiteX4" fmla="*/ 18053 w 18339"/>
                  <a:gd name="connsiteY4" fmla="*/ 1155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3">
                    <a:moveTo>
                      <a:pt x="18053" y="11554"/>
                    </a:moveTo>
                    <a:cubicBezTo>
                      <a:pt x="16797" y="16459"/>
                      <a:pt x="11773" y="19449"/>
                      <a:pt x="6869" y="18133"/>
                    </a:cubicBezTo>
                    <a:cubicBezTo>
                      <a:pt x="1965" y="16877"/>
                      <a:pt x="-965" y="11794"/>
                      <a:pt x="291" y="6889"/>
                    </a:cubicBezTo>
                    <a:cubicBezTo>
                      <a:pt x="1546" y="1985"/>
                      <a:pt x="6570" y="-1005"/>
                      <a:pt x="11415" y="311"/>
                    </a:cubicBezTo>
                    <a:cubicBezTo>
                      <a:pt x="16319" y="1567"/>
                      <a:pt x="19309" y="6590"/>
                      <a:pt x="18053" y="11554"/>
                    </a:cubicBezTo>
                    <a:close/>
                  </a:path>
                </a:pathLst>
              </a:custGeom>
              <a:grpFill/>
              <a:ln w="5978" cap="flat">
                <a:noFill/>
                <a:prstDash val="solid"/>
                <a:miter/>
              </a:ln>
            </p:spPr>
            <p:txBody>
              <a:bodyPr rtlCol="0" anchor="ctr"/>
              <a:lstStyle/>
              <a:p>
                <a:endParaRPr lang="en-GB"/>
              </a:p>
            </p:txBody>
          </p:sp>
          <p:sp>
            <p:nvSpPr>
              <p:cNvPr id="3908" name="Vrije vorm: vorm 3907">
                <a:extLst>
                  <a:ext uri="{FF2B5EF4-FFF2-40B4-BE49-F238E27FC236}">
                    <a16:creationId xmlns:a16="http://schemas.microsoft.com/office/drawing/2014/main" id="{C05EA309-5F80-4CFE-95DE-A55B1130B268}"/>
                  </a:ext>
                </a:extLst>
              </p:cNvPr>
              <p:cNvSpPr/>
              <p:nvPr/>
            </p:nvSpPr>
            <p:spPr>
              <a:xfrm>
                <a:off x="6313278" y="1483088"/>
                <a:ext cx="18283" cy="18403"/>
              </a:xfrm>
              <a:custGeom>
                <a:avLst/>
                <a:gdLst>
                  <a:gd name="connsiteX0" fmla="*/ 17993 w 18283"/>
                  <a:gd name="connsiteY0" fmla="*/ 11534 h 18403"/>
                  <a:gd name="connsiteX1" fmla="*/ 11415 w 18283"/>
                  <a:gd name="connsiteY1" fmla="*/ 291 h 18403"/>
                  <a:gd name="connsiteX2" fmla="*/ 291 w 18283"/>
                  <a:gd name="connsiteY2" fmla="*/ 6869 h 18403"/>
                  <a:gd name="connsiteX3" fmla="*/ 6869 w 18283"/>
                  <a:gd name="connsiteY3" fmla="*/ 18113 h 18403"/>
                  <a:gd name="connsiteX4" fmla="*/ 17993 w 18283"/>
                  <a:gd name="connsiteY4" fmla="*/ 11534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03">
                    <a:moveTo>
                      <a:pt x="17993" y="11534"/>
                    </a:moveTo>
                    <a:cubicBezTo>
                      <a:pt x="19249" y="6630"/>
                      <a:pt x="16319" y="1606"/>
                      <a:pt x="11415" y="291"/>
                    </a:cubicBezTo>
                    <a:cubicBezTo>
                      <a:pt x="6510" y="-965"/>
                      <a:pt x="1546" y="1965"/>
                      <a:pt x="291" y="6869"/>
                    </a:cubicBezTo>
                    <a:cubicBezTo>
                      <a:pt x="-965" y="11774"/>
                      <a:pt x="1965" y="16797"/>
                      <a:pt x="6869" y="18113"/>
                    </a:cubicBezTo>
                    <a:cubicBezTo>
                      <a:pt x="11773" y="19369"/>
                      <a:pt x="16738" y="16439"/>
                      <a:pt x="17993" y="11534"/>
                    </a:cubicBezTo>
                    <a:close/>
                  </a:path>
                </a:pathLst>
              </a:custGeom>
              <a:grpFill/>
              <a:ln w="5978" cap="flat">
                <a:noFill/>
                <a:prstDash val="solid"/>
                <a:miter/>
              </a:ln>
            </p:spPr>
            <p:txBody>
              <a:bodyPr rtlCol="0" anchor="ctr"/>
              <a:lstStyle/>
              <a:p>
                <a:endParaRPr lang="en-GB"/>
              </a:p>
            </p:txBody>
          </p:sp>
        </p:grpSp>
        <p:grpSp>
          <p:nvGrpSpPr>
            <p:cNvPr id="494" name="Graphic 3">
              <a:extLst>
                <a:ext uri="{FF2B5EF4-FFF2-40B4-BE49-F238E27FC236}">
                  <a16:creationId xmlns:a16="http://schemas.microsoft.com/office/drawing/2014/main" id="{E3A99BBF-3950-4E1F-9B4B-B0F7E418F203}"/>
                </a:ext>
              </a:extLst>
            </p:cNvPr>
            <p:cNvGrpSpPr/>
            <p:nvPr/>
          </p:nvGrpSpPr>
          <p:grpSpPr>
            <a:xfrm>
              <a:off x="7251070" y="4824427"/>
              <a:ext cx="318866" cy="371700"/>
              <a:chOff x="7251070" y="4824427"/>
              <a:chExt cx="318866" cy="371700"/>
            </a:xfrm>
            <a:grpFill/>
          </p:grpSpPr>
          <p:sp>
            <p:nvSpPr>
              <p:cNvPr id="3903" name="Vrije vorm: vorm 3902">
                <a:extLst>
                  <a:ext uri="{FF2B5EF4-FFF2-40B4-BE49-F238E27FC236}">
                    <a16:creationId xmlns:a16="http://schemas.microsoft.com/office/drawing/2014/main" id="{634791C2-C523-45A8-9736-E48BA3FC617D}"/>
                  </a:ext>
                </a:extLst>
              </p:cNvPr>
              <p:cNvSpPr/>
              <p:nvPr/>
            </p:nvSpPr>
            <p:spPr>
              <a:xfrm>
                <a:off x="7258762" y="4832343"/>
                <a:ext cx="303461" cy="355912"/>
              </a:xfrm>
              <a:custGeom>
                <a:avLst/>
                <a:gdLst>
                  <a:gd name="connsiteX0" fmla="*/ 303462 w 303461"/>
                  <a:gd name="connsiteY0" fmla="*/ 353939 h 355912"/>
                  <a:gd name="connsiteX1" fmla="*/ 301129 w 303461"/>
                  <a:gd name="connsiteY1" fmla="*/ 355912 h 355912"/>
                  <a:gd name="connsiteX2" fmla="*/ 0 w 303461"/>
                  <a:gd name="connsiteY2" fmla="*/ 1973 h 355912"/>
                  <a:gd name="connsiteX3" fmla="*/ 2333 w 303461"/>
                  <a:gd name="connsiteY3" fmla="*/ 0 h 355912"/>
                </a:gdLst>
                <a:ahLst/>
                <a:cxnLst>
                  <a:cxn ang="0">
                    <a:pos x="connsiteX0" y="connsiteY0"/>
                  </a:cxn>
                  <a:cxn ang="0">
                    <a:pos x="connsiteX1" y="connsiteY1"/>
                  </a:cxn>
                  <a:cxn ang="0">
                    <a:pos x="connsiteX2" y="connsiteY2"/>
                  </a:cxn>
                  <a:cxn ang="0">
                    <a:pos x="connsiteX3" y="connsiteY3"/>
                  </a:cxn>
                </a:cxnLst>
                <a:rect l="l" t="t" r="r" b="b"/>
                <a:pathLst>
                  <a:path w="303461" h="355912">
                    <a:moveTo>
                      <a:pt x="303462" y="353939"/>
                    </a:moveTo>
                    <a:lnTo>
                      <a:pt x="301129" y="355912"/>
                    </a:lnTo>
                    <a:lnTo>
                      <a:pt x="0" y="1973"/>
                    </a:lnTo>
                    <a:lnTo>
                      <a:pt x="2333" y="0"/>
                    </a:lnTo>
                    <a:close/>
                  </a:path>
                </a:pathLst>
              </a:custGeom>
              <a:grpFill/>
              <a:ln w="5978" cap="flat">
                <a:noFill/>
                <a:prstDash val="solid"/>
                <a:miter/>
              </a:ln>
            </p:spPr>
            <p:txBody>
              <a:bodyPr rtlCol="0" anchor="ctr"/>
              <a:lstStyle/>
              <a:p>
                <a:endParaRPr lang="en-GB"/>
              </a:p>
            </p:txBody>
          </p:sp>
          <p:sp>
            <p:nvSpPr>
              <p:cNvPr id="3904" name="Vrije vorm: vorm 3903">
                <a:extLst>
                  <a:ext uri="{FF2B5EF4-FFF2-40B4-BE49-F238E27FC236}">
                    <a16:creationId xmlns:a16="http://schemas.microsoft.com/office/drawing/2014/main" id="{3C382906-66B7-4714-BC8A-67FE6267A460}"/>
                  </a:ext>
                </a:extLst>
              </p:cNvPr>
              <p:cNvSpPr/>
              <p:nvPr/>
            </p:nvSpPr>
            <p:spPr>
              <a:xfrm>
                <a:off x="7551581" y="5177709"/>
                <a:ext cx="18354" cy="18419"/>
              </a:xfrm>
              <a:custGeom>
                <a:avLst/>
                <a:gdLst>
                  <a:gd name="connsiteX0" fmla="*/ 16145 w 18354"/>
                  <a:gd name="connsiteY0" fmla="*/ 3251 h 18419"/>
                  <a:gd name="connsiteX1" fmla="*/ 15128 w 18354"/>
                  <a:gd name="connsiteY1" fmla="*/ 16229 h 18419"/>
                  <a:gd name="connsiteX2" fmla="*/ 2210 w 18354"/>
                  <a:gd name="connsiteY2" fmla="*/ 15212 h 18419"/>
                  <a:gd name="connsiteX3" fmla="*/ 3227 w 18354"/>
                  <a:gd name="connsiteY3" fmla="*/ 2234 h 18419"/>
                  <a:gd name="connsiteX4" fmla="*/ 16145 w 18354"/>
                  <a:gd name="connsiteY4" fmla="*/ 325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9">
                    <a:moveTo>
                      <a:pt x="16145" y="3251"/>
                    </a:moveTo>
                    <a:cubicBezTo>
                      <a:pt x="19434" y="7139"/>
                      <a:pt x="19016" y="12940"/>
                      <a:pt x="15128" y="16229"/>
                    </a:cubicBezTo>
                    <a:cubicBezTo>
                      <a:pt x="11300" y="19518"/>
                      <a:pt x="5499" y="19040"/>
                      <a:pt x="2210" y="15212"/>
                    </a:cubicBezTo>
                    <a:cubicBezTo>
                      <a:pt x="-1079" y="11325"/>
                      <a:pt x="-661" y="5524"/>
                      <a:pt x="3227" y="2234"/>
                    </a:cubicBezTo>
                    <a:cubicBezTo>
                      <a:pt x="7054" y="-1115"/>
                      <a:pt x="12855" y="-637"/>
                      <a:pt x="16145" y="3251"/>
                    </a:cubicBezTo>
                    <a:close/>
                  </a:path>
                </a:pathLst>
              </a:custGeom>
              <a:grpFill/>
              <a:ln w="5978" cap="flat">
                <a:noFill/>
                <a:prstDash val="solid"/>
                <a:miter/>
              </a:ln>
            </p:spPr>
            <p:txBody>
              <a:bodyPr rtlCol="0" anchor="ctr"/>
              <a:lstStyle/>
              <a:p>
                <a:endParaRPr lang="en-GB"/>
              </a:p>
            </p:txBody>
          </p:sp>
          <p:sp>
            <p:nvSpPr>
              <p:cNvPr id="3905" name="Vrije vorm: vorm 3904">
                <a:extLst>
                  <a:ext uri="{FF2B5EF4-FFF2-40B4-BE49-F238E27FC236}">
                    <a16:creationId xmlns:a16="http://schemas.microsoft.com/office/drawing/2014/main" id="{16686957-CA41-4B66-B87F-614EA7568DDE}"/>
                  </a:ext>
                </a:extLst>
              </p:cNvPr>
              <p:cNvSpPr/>
              <p:nvPr/>
            </p:nvSpPr>
            <p:spPr>
              <a:xfrm>
                <a:off x="7251070" y="4824427"/>
                <a:ext cx="18334" cy="18463"/>
              </a:xfrm>
              <a:custGeom>
                <a:avLst/>
                <a:gdLst>
                  <a:gd name="connsiteX0" fmla="*/ 16125 w 18334"/>
                  <a:gd name="connsiteY0" fmla="*/ 3251 h 18463"/>
                  <a:gd name="connsiteX1" fmla="*/ 3207 w 18334"/>
                  <a:gd name="connsiteY1" fmla="*/ 2234 h 18463"/>
                  <a:gd name="connsiteX2" fmla="*/ 2190 w 18334"/>
                  <a:gd name="connsiteY2" fmla="*/ 15212 h 18463"/>
                  <a:gd name="connsiteX3" fmla="*/ 15108 w 18334"/>
                  <a:gd name="connsiteY3" fmla="*/ 16229 h 18463"/>
                  <a:gd name="connsiteX4" fmla="*/ 16125 w 18334"/>
                  <a:gd name="connsiteY4" fmla="*/ 32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3">
                    <a:moveTo>
                      <a:pt x="16125" y="3251"/>
                    </a:moveTo>
                    <a:cubicBezTo>
                      <a:pt x="12836" y="-637"/>
                      <a:pt x="7034" y="-1115"/>
                      <a:pt x="3207" y="2234"/>
                    </a:cubicBezTo>
                    <a:cubicBezTo>
                      <a:pt x="-621" y="5524"/>
                      <a:pt x="-1099" y="11325"/>
                      <a:pt x="2190" y="15212"/>
                    </a:cubicBezTo>
                    <a:cubicBezTo>
                      <a:pt x="5479" y="19100"/>
                      <a:pt x="11280" y="19578"/>
                      <a:pt x="15108" y="16229"/>
                    </a:cubicBezTo>
                    <a:cubicBezTo>
                      <a:pt x="18996" y="12940"/>
                      <a:pt x="19414" y="7139"/>
                      <a:pt x="16125" y="3251"/>
                    </a:cubicBezTo>
                    <a:close/>
                  </a:path>
                </a:pathLst>
              </a:custGeom>
              <a:grpFill/>
              <a:ln w="5978" cap="flat">
                <a:noFill/>
                <a:prstDash val="solid"/>
                <a:miter/>
              </a:ln>
            </p:spPr>
            <p:txBody>
              <a:bodyPr rtlCol="0" anchor="ctr"/>
              <a:lstStyle/>
              <a:p>
                <a:endParaRPr lang="en-GB"/>
              </a:p>
            </p:txBody>
          </p:sp>
        </p:grpSp>
        <p:grpSp>
          <p:nvGrpSpPr>
            <p:cNvPr id="495" name="Graphic 3">
              <a:extLst>
                <a:ext uri="{FF2B5EF4-FFF2-40B4-BE49-F238E27FC236}">
                  <a16:creationId xmlns:a16="http://schemas.microsoft.com/office/drawing/2014/main" id="{71781C4B-35A8-4325-9A2F-A5F6C63BD725}"/>
                </a:ext>
              </a:extLst>
            </p:cNvPr>
            <p:cNvGrpSpPr/>
            <p:nvPr/>
          </p:nvGrpSpPr>
          <p:grpSpPr>
            <a:xfrm>
              <a:off x="6278489" y="1640564"/>
              <a:ext cx="32123" cy="117722"/>
              <a:chOff x="6278489" y="1640564"/>
              <a:chExt cx="32123" cy="117722"/>
            </a:xfrm>
            <a:grpFill/>
          </p:grpSpPr>
          <p:sp>
            <p:nvSpPr>
              <p:cNvPr id="3900" name="Vrije vorm: vorm 3899">
                <a:extLst>
                  <a:ext uri="{FF2B5EF4-FFF2-40B4-BE49-F238E27FC236}">
                    <a16:creationId xmlns:a16="http://schemas.microsoft.com/office/drawing/2014/main" id="{14E1DBB1-6B30-44E8-999A-27C9E58C164A}"/>
                  </a:ext>
                </a:extLst>
              </p:cNvPr>
              <p:cNvSpPr/>
              <p:nvPr/>
            </p:nvSpPr>
            <p:spPr>
              <a:xfrm>
                <a:off x="6286057" y="1649104"/>
                <a:ext cx="16985" cy="100655"/>
              </a:xfrm>
              <a:custGeom>
                <a:avLst/>
                <a:gdLst>
                  <a:gd name="connsiteX0" fmla="*/ 16985 w 16985"/>
                  <a:gd name="connsiteY0" fmla="*/ 419 h 100655"/>
                  <a:gd name="connsiteX1" fmla="*/ 3050 w 16985"/>
                  <a:gd name="connsiteY1" fmla="*/ 100656 h 100655"/>
                  <a:gd name="connsiteX2" fmla="*/ 0 w 16985"/>
                  <a:gd name="connsiteY2" fmla="*/ 100237 h 100655"/>
                  <a:gd name="connsiteX3" fmla="*/ 13995 w 16985"/>
                  <a:gd name="connsiteY3" fmla="*/ 0 h 100655"/>
                </a:gdLst>
                <a:ahLst/>
                <a:cxnLst>
                  <a:cxn ang="0">
                    <a:pos x="connsiteX0" y="connsiteY0"/>
                  </a:cxn>
                  <a:cxn ang="0">
                    <a:pos x="connsiteX1" y="connsiteY1"/>
                  </a:cxn>
                  <a:cxn ang="0">
                    <a:pos x="connsiteX2" y="connsiteY2"/>
                  </a:cxn>
                  <a:cxn ang="0">
                    <a:pos x="connsiteX3" y="connsiteY3"/>
                  </a:cxn>
                </a:cxnLst>
                <a:rect l="l" t="t" r="r" b="b"/>
                <a:pathLst>
                  <a:path w="16985" h="100655">
                    <a:moveTo>
                      <a:pt x="16985" y="419"/>
                    </a:moveTo>
                    <a:lnTo>
                      <a:pt x="3050" y="100656"/>
                    </a:lnTo>
                    <a:lnTo>
                      <a:pt x="0" y="100237"/>
                    </a:lnTo>
                    <a:lnTo>
                      <a:pt x="13995" y="0"/>
                    </a:lnTo>
                    <a:close/>
                  </a:path>
                </a:pathLst>
              </a:custGeom>
              <a:grpFill/>
              <a:ln w="5978" cap="flat">
                <a:noFill/>
                <a:prstDash val="solid"/>
                <a:miter/>
              </a:ln>
            </p:spPr>
            <p:txBody>
              <a:bodyPr rtlCol="0" anchor="ctr"/>
              <a:lstStyle/>
              <a:p>
                <a:endParaRPr lang="en-GB"/>
              </a:p>
            </p:txBody>
          </p:sp>
          <p:sp>
            <p:nvSpPr>
              <p:cNvPr id="3901" name="Vrije vorm: vorm 3900">
                <a:extLst>
                  <a:ext uri="{FF2B5EF4-FFF2-40B4-BE49-F238E27FC236}">
                    <a16:creationId xmlns:a16="http://schemas.microsoft.com/office/drawing/2014/main" id="{25C0186A-8515-4DC4-9646-7E01A9712730}"/>
                  </a:ext>
                </a:extLst>
              </p:cNvPr>
              <p:cNvSpPr/>
              <p:nvPr/>
            </p:nvSpPr>
            <p:spPr>
              <a:xfrm>
                <a:off x="6292317" y="1640564"/>
                <a:ext cx="18295" cy="18396"/>
              </a:xfrm>
              <a:custGeom>
                <a:avLst/>
                <a:gdLst>
                  <a:gd name="connsiteX0" fmla="*/ 80 w 18295"/>
                  <a:gd name="connsiteY0" fmla="*/ 7882 h 18396"/>
                  <a:gd name="connsiteX1" fmla="*/ 10427 w 18295"/>
                  <a:gd name="connsiteY1" fmla="*/ 107 h 18396"/>
                  <a:gd name="connsiteX2" fmla="*/ 18202 w 18295"/>
                  <a:gd name="connsiteY2" fmla="*/ 10514 h 18396"/>
                  <a:gd name="connsiteX3" fmla="*/ 7855 w 18295"/>
                  <a:gd name="connsiteY3" fmla="*/ 18289 h 18396"/>
                  <a:gd name="connsiteX4" fmla="*/ 80 w 18295"/>
                  <a:gd name="connsiteY4" fmla="*/ 788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396">
                    <a:moveTo>
                      <a:pt x="80" y="7882"/>
                    </a:moveTo>
                    <a:cubicBezTo>
                      <a:pt x="798" y="2859"/>
                      <a:pt x="5403" y="-670"/>
                      <a:pt x="10427" y="107"/>
                    </a:cubicBezTo>
                    <a:cubicBezTo>
                      <a:pt x="15451" y="825"/>
                      <a:pt x="18919" y="5490"/>
                      <a:pt x="18202" y="10514"/>
                    </a:cubicBezTo>
                    <a:cubicBezTo>
                      <a:pt x="17484" y="15538"/>
                      <a:pt x="12879" y="19066"/>
                      <a:pt x="7855" y="18289"/>
                    </a:cubicBezTo>
                    <a:cubicBezTo>
                      <a:pt x="2891" y="17571"/>
                      <a:pt x="-578" y="12906"/>
                      <a:pt x="80" y="7882"/>
                    </a:cubicBezTo>
                    <a:close/>
                  </a:path>
                </a:pathLst>
              </a:custGeom>
              <a:grpFill/>
              <a:ln w="5978" cap="flat">
                <a:noFill/>
                <a:prstDash val="solid"/>
                <a:miter/>
              </a:ln>
            </p:spPr>
            <p:txBody>
              <a:bodyPr rtlCol="0" anchor="ctr"/>
              <a:lstStyle/>
              <a:p>
                <a:endParaRPr lang="en-GB"/>
              </a:p>
            </p:txBody>
          </p:sp>
          <p:sp>
            <p:nvSpPr>
              <p:cNvPr id="3902" name="Vrije vorm: vorm 3901">
                <a:extLst>
                  <a:ext uri="{FF2B5EF4-FFF2-40B4-BE49-F238E27FC236}">
                    <a16:creationId xmlns:a16="http://schemas.microsoft.com/office/drawing/2014/main" id="{A3D58F6A-E81A-4C12-A9CB-AAFDC611A29A}"/>
                  </a:ext>
                </a:extLst>
              </p:cNvPr>
              <p:cNvSpPr/>
              <p:nvPr/>
            </p:nvSpPr>
            <p:spPr>
              <a:xfrm>
                <a:off x="6278489" y="1739903"/>
                <a:ext cx="18367" cy="18384"/>
              </a:xfrm>
              <a:custGeom>
                <a:avLst/>
                <a:gdLst>
                  <a:gd name="connsiteX0" fmla="*/ 93 w 18367"/>
                  <a:gd name="connsiteY0" fmla="*/ 7884 h 18384"/>
                  <a:gd name="connsiteX1" fmla="*/ 7927 w 18367"/>
                  <a:gd name="connsiteY1" fmla="*/ 18290 h 18384"/>
                  <a:gd name="connsiteX2" fmla="*/ 18274 w 18367"/>
                  <a:gd name="connsiteY2" fmla="*/ 10515 h 18384"/>
                  <a:gd name="connsiteX3" fmla="*/ 10499 w 18367"/>
                  <a:gd name="connsiteY3" fmla="*/ 109 h 18384"/>
                  <a:gd name="connsiteX4" fmla="*/ 93 w 18367"/>
                  <a:gd name="connsiteY4" fmla="*/ 7884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384">
                    <a:moveTo>
                      <a:pt x="93" y="7884"/>
                    </a:moveTo>
                    <a:cubicBezTo>
                      <a:pt x="-625" y="12908"/>
                      <a:pt x="2904" y="17573"/>
                      <a:pt x="7927" y="18290"/>
                    </a:cubicBezTo>
                    <a:cubicBezTo>
                      <a:pt x="12951" y="19008"/>
                      <a:pt x="17557" y="15539"/>
                      <a:pt x="18274" y="10515"/>
                    </a:cubicBezTo>
                    <a:cubicBezTo>
                      <a:pt x="18992" y="5492"/>
                      <a:pt x="15463" y="827"/>
                      <a:pt x="10499" y="109"/>
                    </a:cubicBezTo>
                    <a:cubicBezTo>
                      <a:pt x="5416" y="-669"/>
                      <a:pt x="810" y="2800"/>
                      <a:pt x="93" y="7884"/>
                    </a:cubicBezTo>
                    <a:close/>
                  </a:path>
                </a:pathLst>
              </a:custGeom>
              <a:grpFill/>
              <a:ln w="5978" cap="flat">
                <a:noFill/>
                <a:prstDash val="solid"/>
                <a:miter/>
              </a:ln>
            </p:spPr>
            <p:txBody>
              <a:bodyPr rtlCol="0" anchor="ctr"/>
              <a:lstStyle/>
              <a:p>
                <a:endParaRPr lang="en-GB"/>
              </a:p>
            </p:txBody>
          </p:sp>
        </p:grpSp>
        <p:grpSp>
          <p:nvGrpSpPr>
            <p:cNvPr id="496" name="Graphic 3">
              <a:extLst>
                <a:ext uri="{FF2B5EF4-FFF2-40B4-BE49-F238E27FC236}">
                  <a16:creationId xmlns:a16="http://schemas.microsoft.com/office/drawing/2014/main" id="{86AC4A57-DB40-4E5C-B8D2-51B0E93F731D}"/>
                </a:ext>
              </a:extLst>
            </p:cNvPr>
            <p:cNvGrpSpPr/>
            <p:nvPr/>
          </p:nvGrpSpPr>
          <p:grpSpPr>
            <a:xfrm>
              <a:off x="7239205" y="4616088"/>
              <a:ext cx="106098" cy="107316"/>
              <a:chOff x="7239205" y="4616088"/>
              <a:chExt cx="106098" cy="107316"/>
            </a:xfrm>
            <a:grpFill/>
          </p:grpSpPr>
          <p:sp>
            <p:nvSpPr>
              <p:cNvPr id="3897" name="Vrije vorm: vorm 3896">
                <a:extLst>
                  <a:ext uri="{FF2B5EF4-FFF2-40B4-BE49-F238E27FC236}">
                    <a16:creationId xmlns:a16="http://schemas.microsoft.com/office/drawing/2014/main" id="{0566AD6F-7BC1-4588-98F7-03D7BB2F2F7A}"/>
                  </a:ext>
                </a:extLst>
              </p:cNvPr>
              <p:cNvSpPr/>
              <p:nvPr/>
            </p:nvSpPr>
            <p:spPr>
              <a:xfrm>
                <a:off x="7246980" y="4623915"/>
                <a:ext cx="90548" cy="91624"/>
              </a:xfrm>
              <a:custGeom>
                <a:avLst/>
                <a:gdLst>
                  <a:gd name="connsiteX0" fmla="*/ 90548 w 90548"/>
                  <a:gd name="connsiteY0" fmla="*/ 89472 h 91624"/>
                  <a:gd name="connsiteX1" fmla="*/ 88395 w 90548"/>
                  <a:gd name="connsiteY1" fmla="*/ 91625 h 91624"/>
                  <a:gd name="connsiteX2" fmla="*/ 0 w 90548"/>
                  <a:gd name="connsiteY2" fmla="*/ 2153 h 91624"/>
                  <a:gd name="connsiteX3" fmla="*/ 2153 w 90548"/>
                  <a:gd name="connsiteY3" fmla="*/ 0 h 91624"/>
                </a:gdLst>
                <a:ahLst/>
                <a:cxnLst>
                  <a:cxn ang="0">
                    <a:pos x="connsiteX0" y="connsiteY0"/>
                  </a:cxn>
                  <a:cxn ang="0">
                    <a:pos x="connsiteX1" y="connsiteY1"/>
                  </a:cxn>
                  <a:cxn ang="0">
                    <a:pos x="connsiteX2" y="connsiteY2"/>
                  </a:cxn>
                  <a:cxn ang="0">
                    <a:pos x="connsiteX3" y="connsiteY3"/>
                  </a:cxn>
                </a:cxnLst>
                <a:rect l="l" t="t" r="r" b="b"/>
                <a:pathLst>
                  <a:path w="90548" h="91624">
                    <a:moveTo>
                      <a:pt x="90548" y="89472"/>
                    </a:moveTo>
                    <a:lnTo>
                      <a:pt x="88395" y="91625"/>
                    </a:lnTo>
                    <a:lnTo>
                      <a:pt x="0" y="2153"/>
                    </a:lnTo>
                    <a:lnTo>
                      <a:pt x="2153" y="0"/>
                    </a:lnTo>
                    <a:close/>
                  </a:path>
                </a:pathLst>
              </a:custGeom>
              <a:grpFill/>
              <a:ln w="5978" cap="flat">
                <a:noFill/>
                <a:prstDash val="solid"/>
                <a:miter/>
              </a:ln>
            </p:spPr>
            <p:txBody>
              <a:bodyPr rtlCol="0" anchor="ctr"/>
              <a:lstStyle/>
              <a:p>
                <a:endParaRPr lang="en-GB"/>
              </a:p>
            </p:txBody>
          </p:sp>
          <p:sp>
            <p:nvSpPr>
              <p:cNvPr id="3898" name="Vrije vorm: vorm 3897">
                <a:extLst>
                  <a:ext uri="{FF2B5EF4-FFF2-40B4-BE49-F238E27FC236}">
                    <a16:creationId xmlns:a16="http://schemas.microsoft.com/office/drawing/2014/main" id="{4472C507-E1B7-4E48-A7E5-50D6966ED67D}"/>
                  </a:ext>
                </a:extLst>
              </p:cNvPr>
              <p:cNvSpPr/>
              <p:nvPr/>
            </p:nvSpPr>
            <p:spPr>
              <a:xfrm>
                <a:off x="7326942" y="4704961"/>
                <a:ext cx="18360" cy="18443"/>
              </a:xfrm>
              <a:custGeom>
                <a:avLst/>
                <a:gdLst>
                  <a:gd name="connsiteX0" fmla="*/ 15670 w 18360"/>
                  <a:gd name="connsiteY0" fmla="*/ 2744 h 18443"/>
                  <a:gd name="connsiteX1" fmla="*/ 15670 w 18360"/>
                  <a:gd name="connsiteY1" fmla="*/ 15782 h 18443"/>
                  <a:gd name="connsiteX2" fmla="*/ 2691 w 18360"/>
                  <a:gd name="connsiteY2" fmla="*/ 15722 h 18443"/>
                  <a:gd name="connsiteX3" fmla="*/ 2691 w 18360"/>
                  <a:gd name="connsiteY3" fmla="*/ 2684 h 18443"/>
                  <a:gd name="connsiteX4" fmla="*/ 15670 w 18360"/>
                  <a:gd name="connsiteY4" fmla="*/ 274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43">
                    <a:moveTo>
                      <a:pt x="15670" y="2744"/>
                    </a:moveTo>
                    <a:cubicBezTo>
                      <a:pt x="19258" y="6392"/>
                      <a:pt x="19258" y="12193"/>
                      <a:pt x="15670" y="15782"/>
                    </a:cubicBezTo>
                    <a:cubicBezTo>
                      <a:pt x="12081" y="19370"/>
                      <a:pt x="6280" y="19310"/>
                      <a:pt x="2691" y="15722"/>
                    </a:cubicBezTo>
                    <a:cubicBezTo>
                      <a:pt x="-897" y="12133"/>
                      <a:pt x="-897" y="6272"/>
                      <a:pt x="2691" y="2684"/>
                    </a:cubicBezTo>
                    <a:cubicBezTo>
                      <a:pt x="6280" y="-905"/>
                      <a:pt x="12081" y="-905"/>
                      <a:pt x="15670" y="2744"/>
                    </a:cubicBezTo>
                    <a:close/>
                  </a:path>
                </a:pathLst>
              </a:custGeom>
              <a:grpFill/>
              <a:ln w="5978" cap="flat">
                <a:noFill/>
                <a:prstDash val="solid"/>
                <a:miter/>
              </a:ln>
            </p:spPr>
            <p:txBody>
              <a:bodyPr rtlCol="0" anchor="ctr"/>
              <a:lstStyle/>
              <a:p>
                <a:endParaRPr lang="en-GB"/>
              </a:p>
            </p:txBody>
          </p:sp>
          <p:sp>
            <p:nvSpPr>
              <p:cNvPr id="3899" name="Vrije vorm: vorm 3898">
                <a:extLst>
                  <a:ext uri="{FF2B5EF4-FFF2-40B4-BE49-F238E27FC236}">
                    <a16:creationId xmlns:a16="http://schemas.microsoft.com/office/drawing/2014/main" id="{FD003990-D791-49DB-B3CD-459882D29EE4}"/>
                  </a:ext>
                </a:extLst>
              </p:cNvPr>
              <p:cNvSpPr/>
              <p:nvPr/>
            </p:nvSpPr>
            <p:spPr>
              <a:xfrm>
                <a:off x="7239205" y="4616088"/>
                <a:ext cx="18316" cy="18443"/>
              </a:xfrm>
              <a:custGeom>
                <a:avLst/>
                <a:gdLst>
                  <a:gd name="connsiteX0" fmla="*/ 15669 w 18316"/>
                  <a:gd name="connsiteY0" fmla="*/ 2744 h 18443"/>
                  <a:gd name="connsiteX1" fmla="*/ 2692 w 18316"/>
                  <a:gd name="connsiteY1" fmla="*/ 2684 h 18443"/>
                  <a:gd name="connsiteX2" fmla="*/ 2692 w 18316"/>
                  <a:gd name="connsiteY2" fmla="*/ 15722 h 18443"/>
                  <a:gd name="connsiteX3" fmla="*/ 15669 w 18316"/>
                  <a:gd name="connsiteY3" fmla="*/ 15782 h 18443"/>
                  <a:gd name="connsiteX4" fmla="*/ 15669 w 18316"/>
                  <a:gd name="connsiteY4" fmla="*/ 274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3">
                    <a:moveTo>
                      <a:pt x="15669" y="2744"/>
                    </a:moveTo>
                    <a:cubicBezTo>
                      <a:pt x="12081" y="-905"/>
                      <a:pt x="6280" y="-905"/>
                      <a:pt x="2692" y="2684"/>
                    </a:cubicBezTo>
                    <a:cubicBezTo>
                      <a:pt x="-897" y="6272"/>
                      <a:pt x="-897" y="12074"/>
                      <a:pt x="2692" y="15722"/>
                    </a:cubicBezTo>
                    <a:cubicBezTo>
                      <a:pt x="6280" y="19310"/>
                      <a:pt x="12081" y="19370"/>
                      <a:pt x="15669" y="15782"/>
                    </a:cubicBezTo>
                    <a:cubicBezTo>
                      <a:pt x="19199" y="12193"/>
                      <a:pt x="19199" y="6332"/>
                      <a:pt x="15669" y="2744"/>
                    </a:cubicBezTo>
                    <a:close/>
                  </a:path>
                </a:pathLst>
              </a:custGeom>
              <a:grpFill/>
              <a:ln w="5978" cap="flat">
                <a:noFill/>
                <a:prstDash val="solid"/>
                <a:miter/>
              </a:ln>
            </p:spPr>
            <p:txBody>
              <a:bodyPr rtlCol="0" anchor="ctr"/>
              <a:lstStyle/>
              <a:p>
                <a:endParaRPr lang="en-GB"/>
              </a:p>
            </p:txBody>
          </p:sp>
        </p:grpSp>
        <p:grpSp>
          <p:nvGrpSpPr>
            <p:cNvPr id="497" name="Graphic 3">
              <a:extLst>
                <a:ext uri="{FF2B5EF4-FFF2-40B4-BE49-F238E27FC236}">
                  <a16:creationId xmlns:a16="http://schemas.microsoft.com/office/drawing/2014/main" id="{B0BE3736-023F-4414-8907-EACEF42951D8}"/>
                </a:ext>
              </a:extLst>
            </p:cNvPr>
            <p:cNvGrpSpPr/>
            <p:nvPr/>
          </p:nvGrpSpPr>
          <p:grpSpPr>
            <a:xfrm>
              <a:off x="7294639" y="4769844"/>
              <a:ext cx="76124" cy="81496"/>
              <a:chOff x="7294639" y="4769844"/>
              <a:chExt cx="76124" cy="81496"/>
            </a:xfrm>
            <a:grpFill/>
          </p:grpSpPr>
          <p:sp>
            <p:nvSpPr>
              <p:cNvPr id="3894" name="Vrije vorm: vorm 3893">
                <a:extLst>
                  <a:ext uri="{FF2B5EF4-FFF2-40B4-BE49-F238E27FC236}">
                    <a16:creationId xmlns:a16="http://schemas.microsoft.com/office/drawing/2014/main" id="{93B4A972-5426-4207-AC58-B9A6C971283E}"/>
                  </a:ext>
                </a:extLst>
              </p:cNvPr>
              <p:cNvSpPr/>
              <p:nvPr/>
            </p:nvSpPr>
            <p:spPr>
              <a:xfrm>
                <a:off x="7302362" y="4777680"/>
                <a:ext cx="60704" cy="65787"/>
              </a:xfrm>
              <a:custGeom>
                <a:avLst/>
                <a:gdLst>
                  <a:gd name="connsiteX0" fmla="*/ 60704 w 60704"/>
                  <a:gd name="connsiteY0" fmla="*/ 63754 h 65787"/>
                  <a:gd name="connsiteX1" fmla="*/ 58432 w 60704"/>
                  <a:gd name="connsiteY1" fmla="*/ 65788 h 65787"/>
                  <a:gd name="connsiteX2" fmla="*/ 0 w 60704"/>
                  <a:gd name="connsiteY2" fmla="*/ 2093 h 65787"/>
                  <a:gd name="connsiteX3" fmla="*/ 2273 w 60704"/>
                  <a:gd name="connsiteY3" fmla="*/ 0 h 65787"/>
                </a:gdLst>
                <a:ahLst/>
                <a:cxnLst>
                  <a:cxn ang="0">
                    <a:pos x="connsiteX0" y="connsiteY0"/>
                  </a:cxn>
                  <a:cxn ang="0">
                    <a:pos x="connsiteX1" y="connsiteY1"/>
                  </a:cxn>
                  <a:cxn ang="0">
                    <a:pos x="connsiteX2" y="connsiteY2"/>
                  </a:cxn>
                  <a:cxn ang="0">
                    <a:pos x="connsiteX3" y="connsiteY3"/>
                  </a:cxn>
                </a:cxnLst>
                <a:rect l="l" t="t" r="r" b="b"/>
                <a:pathLst>
                  <a:path w="60704" h="65787">
                    <a:moveTo>
                      <a:pt x="60704" y="63754"/>
                    </a:moveTo>
                    <a:lnTo>
                      <a:pt x="58432" y="65788"/>
                    </a:lnTo>
                    <a:lnTo>
                      <a:pt x="0" y="2093"/>
                    </a:lnTo>
                    <a:lnTo>
                      <a:pt x="2273" y="0"/>
                    </a:lnTo>
                    <a:close/>
                  </a:path>
                </a:pathLst>
              </a:custGeom>
              <a:grpFill/>
              <a:ln w="5978" cap="flat">
                <a:noFill/>
                <a:prstDash val="solid"/>
                <a:miter/>
              </a:ln>
            </p:spPr>
            <p:txBody>
              <a:bodyPr rtlCol="0" anchor="ctr"/>
              <a:lstStyle/>
              <a:p>
                <a:endParaRPr lang="en-GB"/>
              </a:p>
            </p:txBody>
          </p:sp>
          <p:sp>
            <p:nvSpPr>
              <p:cNvPr id="3895" name="Vrije vorm: vorm 3894">
                <a:extLst>
                  <a:ext uri="{FF2B5EF4-FFF2-40B4-BE49-F238E27FC236}">
                    <a16:creationId xmlns:a16="http://schemas.microsoft.com/office/drawing/2014/main" id="{F4EBFFD1-7905-4EDC-8545-57BAD96E3F5B}"/>
                  </a:ext>
                </a:extLst>
              </p:cNvPr>
              <p:cNvSpPr/>
              <p:nvPr/>
            </p:nvSpPr>
            <p:spPr>
              <a:xfrm>
                <a:off x="7352437" y="4832881"/>
                <a:ext cx="18327" cy="18460"/>
              </a:xfrm>
              <a:custGeom>
                <a:avLst/>
                <a:gdLst>
                  <a:gd name="connsiteX0" fmla="*/ 15892 w 18327"/>
                  <a:gd name="connsiteY0" fmla="*/ 2991 h 18460"/>
                  <a:gd name="connsiteX1" fmla="*/ 15413 w 18327"/>
                  <a:gd name="connsiteY1" fmla="*/ 16029 h 18460"/>
                  <a:gd name="connsiteX2" fmla="*/ 2436 w 18327"/>
                  <a:gd name="connsiteY2" fmla="*/ 15491 h 18460"/>
                  <a:gd name="connsiteX3" fmla="*/ 2914 w 18327"/>
                  <a:gd name="connsiteY3" fmla="*/ 2453 h 18460"/>
                  <a:gd name="connsiteX4" fmla="*/ 15892 w 18327"/>
                  <a:gd name="connsiteY4" fmla="*/ 2991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0">
                    <a:moveTo>
                      <a:pt x="15892" y="2991"/>
                    </a:moveTo>
                    <a:cubicBezTo>
                      <a:pt x="19301" y="6759"/>
                      <a:pt x="19121" y="12560"/>
                      <a:pt x="15413" y="16029"/>
                    </a:cubicBezTo>
                    <a:cubicBezTo>
                      <a:pt x="11705" y="19498"/>
                      <a:pt x="5904" y="19199"/>
                      <a:pt x="2436" y="15491"/>
                    </a:cubicBezTo>
                    <a:cubicBezTo>
                      <a:pt x="-974" y="11723"/>
                      <a:pt x="-794" y="5921"/>
                      <a:pt x="2914" y="2453"/>
                    </a:cubicBezTo>
                    <a:cubicBezTo>
                      <a:pt x="6682" y="-1016"/>
                      <a:pt x="12483" y="-777"/>
                      <a:pt x="15892" y="2991"/>
                    </a:cubicBezTo>
                    <a:close/>
                  </a:path>
                </a:pathLst>
              </a:custGeom>
              <a:grpFill/>
              <a:ln w="5978" cap="flat">
                <a:noFill/>
                <a:prstDash val="solid"/>
                <a:miter/>
              </a:ln>
            </p:spPr>
            <p:txBody>
              <a:bodyPr rtlCol="0" anchor="ctr"/>
              <a:lstStyle/>
              <a:p>
                <a:endParaRPr lang="en-GB"/>
              </a:p>
            </p:txBody>
          </p:sp>
          <p:sp>
            <p:nvSpPr>
              <p:cNvPr id="3896" name="Vrije vorm: vorm 3895">
                <a:extLst>
                  <a:ext uri="{FF2B5EF4-FFF2-40B4-BE49-F238E27FC236}">
                    <a16:creationId xmlns:a16="http://schemas.microsoft.com/office/drawing/2014/main" id="{C33828D1-3267-4D89-A021-3371A51F5FA8}"/>
                  </a:ext>
                </a:extLst>
              </p:cNvPr>
              <p:cNvSpPr/>
              <p:nvPr/>
            </p:nvSpPr>
            <p:spPr>
              <a:xfrm>
                <a:off x="7294639" y="4769844"/>
                <a:ext cx="18372" cy="18481"/>
              </a:xfrm>
              <a:custGeom>
                <a:avLst/>
                <a:gdLst>
                  <a:gd name="connsiteX0" fmla="*/ 15916 w 18372"/>
                  <a:gd name="connsiteY0" fmla="*/ 2991 h 18481"/>
                  <a:gd name="connsiteX1" fmla="*/ 2937 w 18372"/>
                  <a:gd name="connsiteY1" fmla="*/ 2452 h 18481"/>
                  <a:gd name="connsiteX2" fmla="*/ 2459 w 18372"/>
                  <a:gd name="connsiteY2" fmla="*/ 15490 h 18481"/>
                  <a:gd name="connsiteX3" fmla="*/ 15437 w 18372"/>
                  <a:gd name="connsiteY3" fmla="*/ 16029 h 18481"/>
                  <a:gd name="connsiteX4" fmla="*/ 15916 w 18372"/>
                  <a:gd name="connsiteY4" fmla="*/ 2991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81">
                    <a:moveTo>
                      <a:pt x="15916" y="2991"/>
                    </a:moveTo>
                    <a:cubicBezTo>
                      <a:pt x="12506" y="-777"/>
                      <a:pt x="6705" y="-1016"/>
                      <a:pt x="2937" y="2452"/>
                    </a:cubicBezTo>
                    <a:cubicBezTo>
                      <a:pt x="-771" y="5921"/>
                      <a:pt x="-1010" y="11722"/>
                      <a:pt x="2459" y="15490"/>
                    </a:cubicBezTo>
                    <a:cubicBezTo>
                      <a:pt x="5868" y="19258"/>
                      <a:pt x="11669" y="19498"/>
                      <a:pt x="15437" y="16029"/>
                    </a:cubicBezTo>
                    <a:cubicBezTo>
                      <a:pt x="19205" y="12560"/>
                      <a:pt x="19324" y="6759"/>
                      <a:pt x="15916" y="2991"/>
                    </a:cubicBezTo>
                    <a:close/>
                  </a:path>
                </a:pathLst>
              </a:custGeom>
              <a:grpFill/>
              <a:ln w="5978" cap="flat">
                <a:noFill/>
                <a:prstDash val="solid"/>
                <a:miter/>
              </a:ln>
            </p:spPr>
            <p:txBody>
              <a:bodyPr rtlCol="0" anchor="ctr"/>
              <a:lstStyle/>
              <a:p>
                <a:endParaRPr lang="en-GB"/>
              </a:p>
            </p:txBody>
          </p:sp>
        </p:grpSp>
        <p:grpSp>
          <p:nvGrpSpPr>
            <p:cNvPr id="498" name="Graphic 3">
              <a:extLst>
                <a:ext uri="{FF2B5EF4-FFF2-40B4-BE49-F238E27FC236}">
                  <a16:creationId xmlns:a16="http://schemas.microsoft.com/office/drawing/2014/main" id="{763B66F2-32CD-4293-BBF5-51B30DEC3F19}"/>
                </a:ext>
              </a:extLst>
            </p:cNvPr>
            <p:cNvGrpSpPr/>
            <p:nvPr/>
          </p:nvGrpSpPr>
          <p:grpSpPr>
            <a:xfrm>
              <a:off x="7167417" y="4678523"/>
              <a:ext cx="402839" cy="517325"/>
              <a:chOff x="7167417" y="4678523"/>
              <a:chExt cx="402839" cy="517325"/>
            </a:xfrm>
            <a:grpFill/>
          </p:grpSpPr>
          <p:sp>
            <p:nvSpPr>
              <p:cNvPr id="3891" name="Vrije vorm: vorm 3890">
                <a:extLst>
                  <a:ext uri="{FF2B5EF4-FFF2-40B4-BE49-F238E27FC236}">
                    <a16:creationId xmlns:a16="http://schemas.microsoft.com/office/drawing/2014/main" id="{B3A8F673-D108-4E81-8433-8DD91B471B78}"/>
                  </a:ext>
                </a:extLst>
              </p:cNvPr>
              <p:cNvSpPr/>
              <p:nvPr/>
            </p:nvSpPr>
            <p:spPr>
              <a:xfrm>
                <a:off x="7175092" y="4686414"/>
                <a:ext cx="387491" cy="501543"/>
              </a:xfrm>
              <a:custGeom>
                <a:avLst/>
                <a:gdLst>
                  <a:gd name="connsiteX0" fmla="*/ 387491 w 387491"/>
                  <a:gd name="connsiteY0" fmla="*/ 499629 h 501543"/>
                  <a:gd name="connsiteX1" fmla="*/ 385099 w 387491"/>
                  <a:gd name="connsiteY1" fmla="*/ 501543 h 501543"/>
                  <a:gd name="connsiteX2" fmla="*/ 0 w 387491"/>
                  <a:gd name="connsiteY2" fmla="*/ 1854 h 501543"/>
                  <a:gd name="connsiteX3" fmla="*/ 2392 w 387491"/>
                  <a:gd name="connsiteY3" fmla="*/ 0 h 501543"/>
                </a:gdLst>
                <a:ahLst/>
                <a:cxnLst>
                  <a:cxn ang="0">
                    <a:pos x="connsiteX0" y="connsiteY0"/>
                  </a:cxn>
                  <a:cxn ang="0">
                    <a:pos x="connsiteX1" y="connsiteY1"/>
                  </a:cxn>
                  <a:cxn ang="0">
                    <a:pos x="connsiteX2" y="connsiteY2"/>
                  </a:cxn>
                  <a:cxn ang="0">
                    <a:pos x="connsiteX3" y="connsiteY3"/>
                  </a:cxn>
                </a:cxnLst>
                <a:rect l="l" t="t" r="r" b="b"/>
                <a:pathLst>
                  <a:path w="387491" h="501543">
                    <a:moveTo>
                      <a:pt x="387491" y="499629"/>
                    </a:moveTo>
                    <a:lnTo>
                      <a:pt x="385099" y="501543"/>
                    </a:lnTo>
                    <a:lnTo>
                      <a:pt x="0" y="1854"/>
                    </a:lnTo>
                    <a:lnTo>
                      <a:pt x="2392" y="0"/>
                    </a:lnTo>
                    <a:close/>
                  </a:path>
                </a:pathLst>
              </a:custGeom>
              <a:grpFill/>
              <a:ln w="5978" cap="flat">
                <a:noFill/>
                <a:prstDash val="solid"/>
                <a:miter/>
              </a:ln>
            </p:spPr>
            <p:txBody>
              <a:bodyPr rtlCol="0" anchor="ctr"/>
              <a:lstStyle/>
              <a:p>
                <a:endParaRPr lang="en-GB"/>
              </a:p>
            </p:txBody>
          </p:sp>
          <p:sp>
            <p:nvSpPr>
              <p:cNvPr id="3892" name="Vrije vorm: vorm 3891">
                <a:extLst>
                  <a:ext uri="{FF2B5EF4-FFF2-40B4-BE49-F238E27FC236}">
                    <a16:creationId xmlns:a16="http://schemas.microsoft.com/office/drawing/2014/main" id="{F61DB58E-6D6D-4682-9E94-67A28C5E7912}"/>
                  </a:ext>
                </a:extLst>
              </p:cNvPr>
              <p:cNvSpPr/>
              <p:nvPr/>
            </p:nvSpPr>
            <p:spPr>
              <a:xfrm>
                <a:off x="7167417" y="4678523"/>
                <a:ext cx="18338" cy="18413"/>
              </a:xfrm>
              <a:custGeom>
                <a:avLst/>
                <a:gdLst>
                  <a:gd name="connsiteX0" fmla="*/ 1933 w 18338"/>
                  <a:gd name="connsiteY0" fmla="*/ 14829 h 18413"/>
                  <a:gd name="connsiteX1" fmla="*/ 3548 w 18338"/>
                  <a:gd name="connsiteY1" fmla="*/ 1910 h 18413"/>
                  <a:gd name="connsiteX2" fmla="*/ 16406 w 18338"/>
                  <a:gd name="connsiteY2" fmla="*/ 3585 h 18413"/>
                  <a:gd name="connsiteX3" fmla="*/ 14791 w 18338"/>
                  <a:gd name="connsiteY3" fmla="*/ 16503 h 18413"/>
                  <a:gd name="connsiteX4" fmla="*/ 1933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3" y="14829"/>
                    </a:moveTo>
                    <a:cubicBezTo>
                      <a:pt x="-1177" y="10822"/>
                      <a:pt x="-459" y="5021"/>
                      <a:pt x="3548" y="1910"/>
                    </a:cubicBezTo>
                    <a:cubicBezTo>
                      <a:pt x="7554" y="-1200"/>
                      <a:pt x="13296" y="-422"/>
                      <a:pt x="16406" y="3585"/>
                    </a:cubicBezTo>
                    <a:cubicBezTo>
                      <a:pt x="19516" y="7592"/>
                      <a:pt x="18798" y="13393"/>
                      <a:pt x="14791" y="16503"/>
                    </a:cubicBezTo>
                    <a:cubicBezTo>
                      <a:pt x="10784" y="19614"/>
                      <a:pt x="5043" y="18836"/>
                      <a:pt x="1933" y="14829"/>
                    </a:cubicBezTo>
                    <a:close/>
                  </a:path>
                </a:pathLst>
              </a:custGeom>
              <a:grpFill/>
              <a:ln w="5978" cap="flat">
                <a:noFill/>
                <a:prstDash val="solid"/>
                <a:miter/>
              </a:ln>
            </p:spPr>
            <p:txBody>
              <a:bodyPr rtlCol="0" anchor="ctr"/>
              <a:lstStyle/>
              <a:p>
                <a:endParaRPr lang="en-GB"/>
              </a:p>
            </p:txBody>
          </p:sp>
          <p:sp>
            <p:nvSpPr>
              <p:cNvPr id="3893" name="Vrije vorm: vorm 3892">
                <a:extLst>
                  <a:ext uri="{FF2B5EF4-FFF2-40B4-BE49-F238E27FC236}">
                    <a16:creationId xmlns:a16="http://schemas.microsoft.com/office/drawing/2014/main" id="{DA2A4A64-3B39-46E0-87EB-4706774AF9EF}"/>
                  </a:ext>
                </a:extLst>
              </p:cNvPr>
              <p:cNvSpPr/>
              <p:nvPr/>
            </p:nvSpPr>
            <p:spPr>
              <a:xfrm>
                <a:off x="7551918" y="5177434"/>
                <a:ext cx="18338" cy="18413"/>
              </a:xfrm>
              <a:custGeom>
                <a:avLst/>
                <a:gdLst>
                  <a:gd name="connsiteX0" fmla="*/ 1932 w 18338"/>
                  <a:gd name="connsiteY0" fmla="*/ 14829 h 18413"/>
                  <a:gd name="connsiteX1" fmla="*/ 14791 w 18338"/>
                  <a:gd name="connsiteY1" fmla="*/ 16503 h 18413"/>
                  <a:gd name="connsiteX2" fmla="*/ 16406 w 18338"/>
                  <a:gd name="connsiteY2" fmla="*/ 3585 h 18413"/>
                  <a:gd name="connsiteX3" fmla="*/ 3547 w 18338"/>
                  <a:gd name="connsiteY3" fmla="*/ 1910 h 18413"/>
                  <a:gd name="connsiteX4" fmla="*/ 1932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2" y="14829"/>
                    </a:moveTo>
                    <a:cubicBezTo>
                      <a:pt x="5043" y="18836"/>
                      <a:pt x="10785" y="19613"/>
                      <a:pt x="14791" y="16503"/>
                    </a:cubicBezTo>
                    <a:cubicBezTo>
                      <a:pt x="18798" y="13394"/>
                      <a:pt x="19516" y="7592"/>
                      <a:pt x="16406" y="3585"/>
                    </a:cubicBezTo>
                    <a:cubicBezTo>
                      <a:pt x="13296" y="-422"/>
                      <a:pt x="7555" y="-1199"/>
                      <a:pt x="3547" y="1910"/>
                    </a:cubicBezTo>
                    <a:cubicBezTo>
                      <a:pt x="-459" y="5020"/>
                      <a:pt x="-1177" y="10762"/>
                      <a:pt x="1932" y="14829"/>
                    </a:cubicBezTo>
                    <a:close/>
                  </a:path>
                </a:pathLst>
              </a:custGeom>
              <a:grpFill/>
              <a:ln w="5978" cap="flat">
                <a:noFill/>
                <a:prstDash val="solid"/>
                <a:miter/>
              </a:ln>
            </p:spPr>
            <p:txBody>
              <a:bodyPr rtlCol="0" anchor="ctr"/>
              <a:lstStyle/>
              <a:p>
                <a:endParaRPr lang="en-GB"/>
              </a:p>
            </p:txBody>
          </p:sp>
        </p:grpSp>
        <p:grpSp>
          <p:nvGrpSpPr>
            <p:cNvPr id="499" name="Graphic 3">
              <a:extLst>
                <a:ext uri="{FF2B5EF4-FFF2-40B4-BE49-F238E27FC236}">
                  <a16:creationId xmlns:a16="http://schemas.microsoft.com/office/drawing/2014/main" id="{FFDAFD04-B52F-469D-ABD7-734EDC0DF6C7}"/>
                </a:ext>
              </a:extLst>
            </p:cNvPr>
            <p:cNvGrpSpPr/>
            <p:nvPr/>
          </p:nvGrpSpPr>
          <p:grpSpPr>
            <a:xfrm>
              <a:off x="6203312" y="1478263"/>
              <a:ext cx="21115" cy="52455"/>
              <a:chOff x="6203312" y="1478263"/>
              <a:chExt cx="21115" cy="52455"/>
            </a:xfrm>
            <a:grpFill/>
          </p:grpSpPr>
          <p:sp>
            <p:nvSpPr>
              <p:cNvPr id="3888" name="Vrije vorm: vorm 3887">
                <a:extLst>
                  <a:ext uri="{FF2B5EF4-FFF2-40B4-BE49-F238E27FC236}">
                    <a16:creationId xmlns:a16="http://schemas.microsoft.com/office/drawing/2014/main" id="{C53E6D28-EB36-43A6-B7E5-5E1EB8F36328}"/>
                  </a:ext>
                </a:extLst>
              </p:cNvPr>
              <p:cNvSpPr/>
              <p:nvPr/>
            </p:nvSpPr>
            <p:spPr>
              <a:xfrm>
                <a:off x="6210880" y="1486907"/>
                <a:ext cx="5980" cy="35166"/>
              </a:xfrm>
              <a:custGeom>
                <a:avLst/>
                <a:gdLst>
                  <a:gd name="connsiteX0" fmla="*/ 5981 w 5980"/>
                  <a:gd name="connsiteY0" fmla="*/ 239 h 35166"/>
                  <a:gd name="connsiteX1" fmla="*/ 3050 w 5980"/>
                  <a:gd name="connsiteY1" fmla="*/ 35167 h 35166"/>
                  <a:gd name="connsiteX2" fmla="*/ 0 w 5980"/>
                  <a:gd name="connsiteY2" fmla="*/ 34927 h 35166"/>
                  <a:gd name="connsiteX3" fmla="*/ 2930 w 5980"/>
                  <a:gd name="connsiteY3" fmla="*/ 0 h 35166"/>
                </a:gdLst>
                <a:ahLst/>
                <a:cxnLst>
                  <a:cxn ang="0">
                    <a:pos x="connsiteX0" y="connsiteY0"/>
                  </a:cxn>
                  <a:cxn ang="0">
                    <a:pos x="connsiteX1" y="connsiteY1"/>
                  </a:cxn>
                  <a:cxn ang="0">
                    <a:pos x="connsiteX2" y="connsiteY2"/>
                  </a:cxn>
                  <a:cxn ang="0">
                    <a:pos x="connsiteX3" y="connsiteY3"/>
                  </a:cxn>
                </a:cxnLst>
                <a:rect l="l" t="t" r="r" b="b"/>
                <a:pathLst>
                  <a:path w="5980" h="35166">
                    <a:moveTo>
                      <a:pt x="5981" y="239"/>
                    </a:moveTo>
                    <a:lnTo>
                      <a:pt x="3050" y="35167"/>
                    </a:lnTo>
                    <a:lnTo>
                      <a:pt x="0" y="34927"/>
                    </a:lnTo>
                    <a:lnTo>
                      <a:pt x="2930" y="0"/>
                    </a:lnTo>
                    <a:close/>
                  </a:path>
                </a:pathLst>
              </a:custGeom>
              <a:grpFill/>
              <a:ln w="5978" cap="flat">
                <a:noFill/>
                <a:prstDash val="solid"/>
                <a:miter/>
              </a:ln>
            </p:spPr>
            <p:txBody>
              <a:bodyPr rtlCol="0" anchor="ctr"/>
              <a:lstStyle/>
              <a:p>
                <a:endParaRPr lang="en-GB"/>
              </a:p>
            </p:txBody>
          </p:sp>
          <p:sp>
            <p:nvSpPr>
              <p:cNvPr id="3889" name="Vrije vorm: vorm 3888">
                <a:extLst>
                  <a:ext uri="{FF2B5EF4-FFF2-40B4-BE49-F238E27FC236}">
                    <a16:creationId xmlns:a16="http://schemas.microsoft.com/office/drawing/2014/main" id="{D2E67EB8-C832-499B-AF54-02C905107B0D}"/>
                  </a:ext>
                </a:extLst>
              </p:cNvPr>
              <p:cNvSpPr/>
              <p:nvPr/>
            </p:nvSpPr>
            <p:spPr>
              <a:xfrm>
                <a:off x="6206123" y="1478263"/>
                <a:ext cx="18304" cy="18425"/>
              </a:xfrm>
              <a:custGeom>
                <a:avLst/>
                <a:gdLst>
                  <a:gd name="connsiteX0" fmla="*/ 32 w 18304"/>
                  <a:gd name="connsiteY0" fmla="*/ 8405 h 18425"/>
                  <a:gd name="connsiteX1" fmla="*/ 9900 w 18304"/>
                  <a:gd name="connsiteY1" fmla="*/ 32 h 18425"/>
                  <a:gd name="connsiteX2" fmla="*/ 18273 w 18304"/>
                  <a:gd name="connsiteY2" fmla="*/ 10020 h 18425"/>
                  <a:gd name="connsiteX3" fmla="*/ 8405 w 18304"/>
                  <a:gd name="connsiteY3" fmla="*/ 18393 h 18425"/>
                  <a:gd name="connsiteX4" fmla="*/ 32 w 1830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32" y="8405"/>
                    </a:moveTo>
                    <a:cubicBezTo>
                      <a:pt x="450" y="3322"/>
                      <a:pt x="4876" y="-386"/>
                      <a:pt x="9900" y="32"/>
                    </a:cubicBezTo>
                    <a:cubicBezTo>
                      <a:pt x="14924" y="451"/>
                      <a:pt x="18692" y="4936"/>
                      <a:pt x="18273" y="10020"/>
                    </a:cubicBezTo>
                    <a:cubicBezTo>
                      <a:pt x="17854" y="15104"/>
                      <a:pt x="13429" y="18812"/>
                      <a:pt x="8405" y="18393"/>
                    </a:cubicBezTo>
                    <a:cubicBezTo>
                      <a:pt x="3381" y="17974"/>
                      <a:pt x="-387" y="13489"/>
                      <a:pt x="32" y="8405"/>
                    </a:cubicBezTo>
                    <a:close/>
                  </a:path>
                </a:pathLst>
              </a:custGeom>
              <a:grpFill/>
              <a:ln w="5978" cap="flat">
                <a:noFill/>
                <a:prstDash val="solid"/>
                <a:miter/>
              </a:ln>
            </p:spPr>
            <p:txBody>
              <a:bodyPr rtlCol="0" anchor="ctr"/>
              <a:lstStyle/>
              <a:p>
                <a:endParaRPr lang="en-GB"/>
              </a:p>
            </p:txBody>
          </p:sp>
          <p:sp>
            <p:nvSpPr>
              <p:cNvPr id="3890" name="Vrije vorm: vorm 3889">
                <a:extLst>
                  <a:ext uri="{FF2B5EF4-FFF2-40B4-BE49-F238E27FC236}">
                    <a16:creationId xmlns:a16="http://schemas.microsoft.com/office/drawing/2014/main" id="{DFBAB166-1FBC-4BBD-8CEF-2E9955EEE647}"/>
                  </a:ext>
                </a:extLst>
              </p:cNvPr>
              <p:cNvSpPr/>
              <p:nvPr/>
            </p:nvSpPr>
            <p:spPr>
              <a:xfrm>
                <a:off x="6203312" y="1512284"/>
                <a:ext cx="18304" cy="18433"/>
              </a:xfrm>
              <a:custGeom>
                <a:avLst/>
                <a:gdLst>
                  <a:gd name="connsiteX0" fmla="*/ 32 w 18304"/>
                  <a:gd name="connsiteY0" fmla="*/ 8414 h 18433"/>
                  <a:gd name="connsiteX1" fmla="*/ 8405 w 18304"/>
                  <a:gd name="connsiteY1" fmla="*/ 18402 h 18433"/>
                  <a:gd name="connsiteX2" fmla="*/ 18273 w 18304"/>
                  <a:gd name="connsiteY2" fmla="*/ 10029 h 18433"/>
                  <a:gd name="connsiteX3" fmla="*/ 9900 w 18304"/>
                  <a:gd name="connsiteY3" fmla="*/ 41 h 18433"/>
                  <a:gd name="connsiteX4" fmla="*/ 32 w 18304"/>
                  <a:gd name="connsiteY4" fmla="*/ 8414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3">
                    <a:moveTo>
                      <a:pt x="32" y="8414"/>
                    </a:moveTo>
                    <a:cubicBezTo>
                      <a:pt x="-387" y="13498"/>
                      <a:pt x="3381" y="17923"/>
                      <a:pt x="8405" y="18402"/>
                    </a:cubicBezTo>
                    <a:cubicBezTo>
                      <a:pt x="13429" y="18820"/>
                      <a:pt x="17854" y="15112"/>
                      <a:pt x="18273" y="10029"/>
                    </a:cubicBezTo>
                    <a:cubicBezTo>
                      <a:pt x="18692" y="4945"/>
                      <a:pt x="14924" y="519"/>
                      <a:pt x="9900" y="41"/>
                    </a:cubicBezTo>
                    <a:cubicBezTo>
                      <a:pt x="4876" y="-437"/>
                      <a:pt x="450" y="3330"/>
                      <a:pt x="32" y="8414"/>
                    </a:cubicBezTo>
                    <a:close/>
                  </a:path>
                </a:pathLst>
              </a:custGeom>
              <a:grpFill/>
              <a:ln w="5978" cap="flat">
                <a:noFill/>
                <a:prstDash val="solid"/>
                <a:miter/>
              </a:ln>
            </p:spPr>
            <p:txBody>
              <a:bodyPr rtlCol="0" anchor="ctr"/>
              <a:lstStyle/>
              <a:p>
                <a:endParaRPr lang="en-GB"/>
              </a:p>
            </p:txBody>
          </p:sp>
        </p:grpSp>
        <p:grpSp>
          <p:nvGrpSpPr>
            <p:cNvPr id="500" name="Graphic 3">
              <a:extLst>
                <a:ext uri="{FF2B5EF4-FFF2-40B4-BE49-F238E27FC236}">
                  <a16:creationId xmlns:a16="http://schemas.microsoft.com/office/drawing/2014/main" id="{E8F6DE0D-5343-4F54-B71F-588596194520}"/>
                </a:ext>
              </a:extLst>
            </p:cNvPr>
            <p:cNvGrpSpPr/>
            <p:nvPr/>
          </p:nvGrpSpPr>
          <p:grpSpPr>
            <a:xfrm>
              <a:off x="6217520" y="1454613"/>
              <a:ext cx="81211" cy="296718"/>
              <a:chOff x="6217520" y="1454613"/>
              <a:chExt cx="81211" cy="296718"/>
            </a:xfrm>
            <a:grpFill/>
          </p:grpSpPr>
          <p:sp>
            <p:nvSpPr>
              <p:cNvPr id="3885" name="Vrije vorm: vorm 3884">
                <a:extLst>
                  <a:ext uri="{FF2B5EF4-FFF2-40B4-BE49-F238E27FC236}">
                    <a16:creationId xmlns:a16="http://schemas.microsoft.com/office/drawing/2014/main" id="{A5FBB4B1-EF2B-4AF5-B7C4-0EFAF4EFCA54}"/>
                  </a:ext>
                </a:extLst>
              </p:cNvPr>
              <p:cNvSpPr/>
              <p:nvPr/>
            </p:nvSpPr>
            <p:spPr>
              <a:xfrm>
                <a:off x="6225054" y="1463044"/>
                <a:ext cx="66086" cy="279897"/>
              </a:xfrm>
              <a:custGeom>
                <a:avLst/>
                <a:gdLst>
                  <a:gd name="connsiteX0" fmla="*/ 66087 w 66086"/>
                  <a:gd name="connsiteY0" fmla="*/ 718 h 279897"/>
                  <a:gd name="connsiteX1" fmla="*/ 2930 w 66086"/>
                  <a:gd name="connsiteY1" fmla="*/ 279898 h 279897"/>
                  <a:gd name="connsiteX2" fmla="*/ 0 w 66086"/>
                  <a:gd name="connsiteY2" fmla="*/ 279180 h 279897"/>
                  <a:gd name="connsiteX3" fmla="*/ 63156 w 66086"/>
                  <a:gd name="connsiteY3" fmla="*/ 0 h 279897"/>
                </a:gdLst>
                <a:ahLst/>
                <a:cxnLst>
                  <a:cxn ang="0">
                    <a:pos x="connsiteX0" y="connsiteY0"/>
                  </a:cxn>
                  <a:cxn ang="0">
                    <a:pos x="connsiteX1" y="connsiteY1"/>
                  </a:cxn>
                  <a:cxn ang="0">
                    <a:pos x="connsiteX2" y="connsiteY2"/>
                  </a:cxn>
                  <a:cxn ang="0">
                    <a:pos x="connsiteX3" y="connsiteY3"/>
                  </a:cxn>
                </a:cxnLst>
                <a:rect l="l" t="t" r="r" b="b"/>
                <a:pathLst>
                  <a:path w="66086" h="279897">
                    <a:moveTo>
                      <a:pt x="66087" y="718"/>
                    </a:moveTo>
                    <a:lnTo>
                      <a:pt x="2930" y="279898"/>
                    </a:lnTo>
                    <a:lnTo>
                      <a:pt x="0" y="279180"/>
                    </a:lnTo>
                    <a:lnTo>
                      <a:pt x="63156" y="0"/>
                    </a:lnTo>
                    <a:close/>
                  </a:path>
                </a:pathLst>
              </a:custGeom>
              <a:grpFill/>
              <a:ln w="5978" cap="flat">
                <a:noFill/>
                <a:prstDash val="solid"/>
                <a:miter/>
              </a:ln>
            </p:spPr>
            <p:txBody>
              <a:bodyPr rtlCol="0" anchor="ctr"/>
              <a:lstStyle/>
              <a:p>
                <a:endParaRPr lang="en-GB"/>
              </a:p>
            </p:txBody>
          </p:sp>
          <p:sp>
            <p:nvSpPr>
              <p:cNvPr id="3886" name="Vrije vorm: vorm 3885">
                <a:extLst>
                  <a:ext uri="{FF2B5EF4-FFF2-40B4-BE49-F238E27FC236}">
                    <a16:creationId xmlns:a16="http://schemas.microsoft.com/office/drawing/2014/main" id="{F53C72D2-52A8-432D-B092-81C9E433484A}"/>
                  </a:ext>
                </a:extLst>
              </p:cNvPr>
              <p:cNvSpPr/>
              <p:nvPr/>
            </p:nvSpPr>
            <p:spPr>
              <a:xfrm>
                <a:off x="6217520" y="1732877"/>
                <a:ext cx="18275" cy="18454"/>
              </a:xfrm>
              <a:custGeom>
                <a:avLst/>
                <a:gdLst>
                  <a:gd name="connsiteX0" fmla="*/ 18060 w 18275"/>
                  <a:gd name="connsiteY0" fmla="*/ 11321 h 18454"/>
                  <a:gd name="connsiteX1" fmla="*/ 7115 w 18275"/>
                  <a:gd name="connsiteY1" fmla="*/ 18198 h 18454"/>
                  <a:gd name="connsiteX2" fmla="*/ 237 w 18275"/>
                  <a:gd name="connsiteY2" fmla="*/ 7134 h 18454"/>
                  <a:gd name="connsiteX3" fmla="*/ 11182 w 18275"/>
                  <a:gd name="connsiteY3" fmla="*/ 256 h 18454"/>
                  <a:gd name="connsiteX4" fmla="*/ 18060 w 18275"/>
                  <a:gd name="connsiteY4" fmla="*/ 1132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54">
                    <a:moveTo>
                      <a:pt x="18060" y="11321"/>
                    </a:moveTo>
                    <a:cubicBezTo>
                      <a:pt x="16923" y="16285"/>
                      <a:pt x="12020" y="19394"/>
                      <a:pt x="7115" y="18198"/>
                    </a:cubicBezTo>
                    <a:cubicBezTo>
                      <a:pt x="2151" y="17062"/>
                      <a:pt x="-899" y="12098"/>
                      <a:pt x="237" y="7134"/>
                    </a:cubicBezTo>
                    <a:cubicBezTo>
                      <a:pt x="1374" y="2170"/>
                      <a:pt x="6278" y="-940"/>
                      <a:pt x="11182" y="256"/>
                    </a:cubicBezTo>
                    <a:cubicBezTo>
                      <a:pt x="16086" y="1452"/>
                      <a:pt x="19137" y="6416"/>
                      <a:pt x="18060" y="11321"/>
                    </a:cubicBezTo>
                    <a:close/>
                  </a:path>
                </a:pathLst>
              </a:custGeom>
              <a:grpFill/>
              <a:ln w="5978" cap="flat">
                <a:noFill/>
                <a:prstDash val="solid"/>
                <a:miter/>
              </a:ln>
            </p:spPr>
            <p:txBody>
              <a:bodyPr rtlCol="0" anchor="ctr"/>
              <a:lstStyle/>
              <a:p>
                <a:endParaRPr lang="en-GB"/>
              </a:p>
            </p:txBody>
          </p:sp>
          <p:sp>
            <p:nvSpPr>
              <p:cNvPr id="3887" name="Vrije vorm: vorm 3886">
                <a:extLst>
                  <a:ext uri="{FF2B5EF4-FFF2-40B4-BE49-F238E27FC236}">
                    <a16:creationId xmlns:a16="http://schemas.microsoft.com/office/drawing/2014/main" id="{98A189AA-0153-4CE1-A664-946F1BD1ED3C}"/>
                  </a:ext>
                </a:extLst>
              </p:cNvPr>
              <p:cNvSpPr/>
              <p:nvPr/>
            </p:nvSpPr>
            <p:spPr>
              <a:xfrm>
                <a:off x="6280440" y="1454613"/>
                <a:ext cx="18291" cy="18435"/>
              </a:xfrm>
              <a:custGeom>
                <a:avLst/>
                <a:gdLst>
                  <a:gd name="connsiteX0" fmla="*/ 18057 w 18291"/>
                  <a:gd name="connsiteY0" fmla="*/ 11302 h 18435"/>
                  <a:gd name="connsiteX1" fmla="*/ 11179 w 18291"/>
                  <a:gd name="connsiteY1" fmla="*/ 237 h 18435"/>
                  <a:gd name="connsiteX2" fmla="*/ 234 w 18291"/>
                  <a:gd name="connsiteY2" fmla="*/ 7115 h 18435"/>
                  <a:gd name="connsiteX3" fmla="*/ 7112 w 18291"/>
                  <a:gd name="connsiteY3" fmla="*/ 18180 h 18435"/>
                  <a:gd name="connsiteX4" fmla="*/ 18057 w 18291"/>
                  <a:gd name="connsiteY4" fmla="*/ 1130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35">
                    <a:moveTo>
                      <a:pt x="18057" y="11302"/>
                    </a:moveTo>
                    <a:cubicBezTo>
                      <a:pt x="19193" y="6338"/>
                      <a:pt x="16083" y="1374"/>
                      <a:pt x="11179" y="237"/>
                    </a:cubicBezTo>
                    <a:cubicBezTo>
                      <a:pt x="6215" y="-899"/>
                      <a:pt x="1311" y="2151"/>
                      <a:pt x="234" y="7115"/>
                    </a:cubicBezTo>
                    <a:cubicBezTo>
                      <a:pt x="-902" y="12079"/>
                      <a:pt x="2208" y="17043"/>
                      <a:pt x="7112" y="18180"/>
                    </a:cubicBezTo>
                    <a:cubicBezTo>
                      <a:pt x="12016" y="19376"/>
                      <a:pt x="16980" y="16266"/>
                      <a:pt x="18057" y="11302"/>
                    </a:cubicBezTo>
                    <a:close/>
                  </a:path>
                </a:pathLst>
              </a:custGeom>
              <a:grpFill/>
              <a:ln w="5978" cap="flat">
                <a:noFill/>
                <a:prstDash val="solid"/>
                <a:miter/>
              </a:ln>
            </p:spPr>
            <p:txBody>
              <a:bodyPr rtlCol="0" anchor="ctr"/>
              <a:lstStyle/>
              <a:p>
                <a:endParaRPr lang="en-GB"/>
              </a:p>
            </p:txBody>
          </p:sp>
        </p:grpSp>
        <p:grpSp>
          <p:nvGrpSpPr>
            <p:cNvPr id="501" name="Graphic 3">
              <a:extLst>
                <a:ext uri="{FF2B5EF4-FFF2-40B4-BE49-F238E27FC236}">
                  <a16:creationId xmlns:a16="http://schemas.microsoft.com/office/drawing/2014/main" id="{0D36B5D3-84EA-48C7-918D-52324F8C4CD3}"/>
                </a:ext>
              </a:extLst>
            </p:cNvPr>
            <p:cNvGrpSpPr/>
            <p:nvPr/>
          </p:nvGrpSpPr>
          <p:grpSpPr>
            <a:xfrm>
              <a:off x="6224643" y="1454738"/>
              <a:ext cx="38310" cy="214693"/>
              <a:chOff x="6224643" y="1454738"/>
              <a:chExt cx="38310" cy="214693"/>
            </a:xfrm>
            <a:grpFill/>
          </p:grpSpPr>
          <p:sp>
            <p:nvSpPr>
              <p:cNvPr id="3882" name="Vrije vorm: vorm 3881">
                <a:extLst>
                  <a:ext uri="{FF2B5EF4-FFF2-40B4-BE49-F238E27FC236}">
                    <a16:creationId xmlns:a16="http://schemas.microsoft.com/office/drawing/2014/main" id="{F407731B-0366-4BB6-8240-AAD2A79FFC63}"/>
                  </a:ext>
                </a:extLst>
              </p:cNvPr>
              <p:cNvSpPr/>
              <p:nvPr/>
            </p:nvSpPr>
            <p:spPr>
              <a:xfrm>
                <a:off x="6232291" y="1463343"/>
                <a:ext cx="23085" cy="197543"/>
              </a:xfrm>
              <a:custGeom>
                <a:avLst/>
                <a:gdLst>
                  <a:gd name="connsiteX0" fmla="*/ 23086 w 23085"/>
                  <a:gd name="connsiteY0" fmla="*/ 359 h 197543"/>
                  <a:gd name="connsiteX1" fmla="*/ 2990 w 23085"/>
                  <a:gd name="connsiteY1" fmla="*/ 197543 h 197543"/>
                  <a:gd name="connsiteX2" fmla="*/ 0 w 23085"/>
                  <a:gd name="connsiteY2" fmla="*/ 197244 h 197543"/>
                  <a:gd name="connsiteX3" fmla="*/ 20036 w 23085"/>
                  <a:gd name="connsiteY3" fmla="*/ 0 h 197543"/>
                </a:gdLst>
                <a:ahLst/>
                <a:cxnLst>
                  <a:cxn ang="0">
                    <a:pos x="connsiteX0" y="connsiteY0"/>
                  </a:cxn>
                  <a:cxn ang="0">
                    <a:pos x="connsiteX1" y="connsiteY1"/>
                  </a:cxn>
                  <a:cxn ang="0">
                    <a:pos x="connsiteX2" y="connsiteY2"/>
                  </a:cxn>
                  <a:cxn ang="0">
                    <a:pos x="connsiteX3" y="connsiteY3"/>
                  </a:cxn>
                </a:cxnLst>
                <a:rect l="l" t="t" r="r" b="b"/>
                <a:pathLst>
                  <a:path w="23085" h="197543">
                    <a:moveTo>
                      <a:pt x="23086" y="359"/>
                    </a:moveTo>
                    <a:lnTo>
                      <a:pt x="2990" y="197543"/>
                    </a:lnTo>
                    <a:lnTo>
                      <a:pt x="0" y="197244"/>
                    </a:lnTo>
                    <a:lnTo>
                      <a:pt x="20036" y="0"/>
                    </a:lnTo>
                    <a:close/>
                  </a:path>
                </a:pathLst>
              </a:custGeom>
              <a:grpFill/>
              <a:ln w="5978" cap="flat">
                <a:noFill/>
                <a:prstDash val="solid"/>
                <a:miter/>
              </a:ln>
            </p:spPr>
            <p:txBody>
              <a:bodyPr rtlCol="0" anchor="ctr"/>
              <a:lstStyle/>
              <a:p>
                <a:endParaRPr lang="en-GB"/>
              </a:p>
            </p:txBody>
          </p:sp>
          <p:sp>
            <p:nvSpPr>
              <p:cNvPr id="3883" name="Vrije vorm: vorm 3882">
                <a:extLst>
                  <a:ext uri="{FF2B5EF4-FFF2-40B4-BE49-F238E27FC236}">
                    <a16:creationId xmlns:a16="http://schemas.microsoft.com/office/drawing/2014/main" id="{9B624F09-B44D-494B-8BB4-2C9C3AC6A6E1}"/>
                  </a:ext>
                </a:extLst>
              </p:cNvPr>
              <p:cNvSpPr/>
              <p:nvPr/>
            </p:nvSpPr>
            <p:spPr>
              <a:xfrm>
                <a:off x="6244628" y="1454738"/>
                <a:ext cx="18325" cy="18406"/>
              </a:xfrm>
              <a:custGeom>
                <a:avLst/>
                <a:gdLst>
                  <a:gd name="connsiteX0" fmla="*/ 42 w 18325"/>
                  <a:gd name="connsiteY0" fmla="*/ 8246 h 18406"/>
                  <a:gd name="connsiteX1" fmla="*/ 10090 w 18325"/>
                  <a:gd name="connsiteY1" fmla="*/ 53 h 18406"/>
                  <a:gd name="connsiteX2" fmla="*/ 18283 w 18325"/>
                  <a:gd name="connsiteY2" fmla="*/ 10160 h 18406"/>
                  <a:gd name="connsiteX3" fmla="*/ 8236 w 18325"/>
                  <a:gd name="connsiteY3" fmla="*/ 18354 h 18406"/>
                  <a:gd name="connsiteX4" fmla="*/ 42 w 1832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6">
                    <a:moveTo>
                      <a:pt x="42" y="8246"/>
                    </a:moveTo>
                    <a:cubicBezTo>
                      <a:pt x="581" y="3163"/>
                      <a:pt x="5066" y="-486"/>
                      <a:pt x="10090" y="53"/>
                    </a:cubicBezTo>
                    <a:cubicBezTo>
                      <a:pt x="15114" y="591"/>
                      <a:pt x="18762" y="5136"/>
                      <a:pt x="18283" y="10160"/>
                    </a:cubicBezTo>
                    <a:cubicBezTo>
                      <a:pt x="17745" y="15244"/>
                      <a:pt x="13260" y="18892"/>
                      <a:pt x="8236" y="18354"/>
                    </a:cubicBezTo>
                    <a:cubicBezTo>
                      <a:pt x="3212" y="17875"/>
                      <a:pt x="-436" y="13330"/>
                      <a:pt x="42" y="8246"/>
                    </a:cubicBezTo>
                    <a:close/>
                  </a:path>
                </a:pathLst>
              </a:custGeom>
              <a:grpFill/>
              <a:ln w="5978" cap="flat">
                <a:noFill/>
                <a:prstDash val="solid"/>
                <a:miter/>
              </a:ln>
            </p:spPr>
            <p:txBody>
              <a:bodyPr rtlCol="0" anchor="ctr"/>
              <a:lstStyle/>
              <a:p>
                <a:endParaRPr lang="en-GB"/>
              </a:p>
            </p:txBody>
          </p:sp>
          <p:sp>
            <p:nvSpPr>
              <p:cNvPr id="3884" name="Vrije vorm: vorm 3883">
                <a:extLst>
                  <a:ext uri="{FF2B5EF4-FFF2-40B4-BE49-F238E27FC236}">
                    <a16:creationId xmlns:a16="http://schemas.microsoft.com/office/drawing/2014/main" id="{0DBFECA1-B6AB-401D-9871-63F2159ACA74}"/>
                  </a:ext>
                </a:extLst>
              </p:cNvPr>
              <p:cNvSpPr/>
              <p:nvPr/>
            </p:nvSpPr>
            <p:spPr>
              <a:xfrm>
                <a:off x="6224643" y="1651036"/>
                <a:ext cx="18345" cy="18395"/>
              </a:xfrm>
              <a:custGeom>
                <a:avLst/>
                <a:gdLst>
                  <a:gd name="connsiteX0" fmla="*/ 52 w 18345"/>
                  <a:gd name="connsiteY0" fmla="*/ 8236 h 18395"/>
                  <a:gd name="connsiteX1" fmla="*/ 8246 w 18345"/>
                  <a:gd name="connsiteY1" fmla="*/ 18343 h 18395"/>
                  <a:gd name="connsiteX2" fmla="*/ 18293 w 18345"/>
                  <a:gd name="connsiteY2" fmla="*/ 10150 h 18395"/>
                  <a:gd name="connsiteX3" fmla="*/ 10100 w 18345"/>
                  <a:gd name="connsiteY3" fmla="*/ 42 h 18395"/>
                  <a:gd name="connsiteX4" fmla="*/ 52 w 18345"/>
                  <a:gd name="connsiteY4" fmla="*/ 8236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395">
                    <a:moveTo>
                      <a:pt x="52" y="8236"/>
                    </a:moveTo>
                    <a:cubicBezTo>
                      <a:pt x="-486" y="13319"/>
                      <a:pt x="3222" y="17805"/>
                      <a:pt x="8246" y="18343"/>
                    </a:cubicBezTo>
                    <a:cubicBezTo>
                      <a:pt x="13269" y="18881"/>
                      <a:pt x="17755" y="15233"/>
                      <a:pt x="18293" y="10150"/>
                    </a:cubicBezTo>
                    <a:cubicBezTo>
                      <a:pt x="18831" y="5066"/>
                      <a:pt x="15123" y="580"/>
                      <a:pt x="10100" y="42"/>
                    </a:cubicBezTo>
                    <a:cubicBezTo>
                      <a:pt x="5076" y="-436"/>
                      <a:pt x="590" y="3212"/>
                      <a:pt x="52" y="8236"/>
                    </a:cubicBezTo>
                    <a:close/>
                  </a:path>
                </a:pathLst>
              </a:custGeom>
              <a:grpFill/>
              <a:ln w="5978" cap="flat">
                <a:noFill/>
                <a:prstDash val="solid"/>
                <a:miter/>
              </a:ln>
            </p:spPr>
            <p:txBody>
              <a:bodyPr rtlCol="0" anchor="ctr"/>
              <a:lstStyle/>
              <a:p>
                <a:endParaRPr lang="en-GB"/>
              </a:p>
            </p:txBody>
          </p:sp>
        </p:grpSp>
        <p:grpSp>
          <p:nvGrpSpPr>
            <p:cNvPr id="502" name="Graphic 3">
              <a:extLst>
                <a:ext uri="{FF2B5EF4-FFF2-40B4-BE49-F238E27FC236}">
                  <a16:creationId xmlns:a16="http://schemas.microsoft.com/office/drawing/2014/main" id="{8785206E-8FA1-4002-AC8D-A89AA340A5B6}"/>
                </a:ext>
              </a:extLst>
            </p:cNvPr>
            <p:cNvGrpSpPr/>
            <p:nvPr/>
          </p:nvGrpSpPr>
          <p:grpSpPr>
            <a:xfrm>
              <a:off x="7217015" y="4638513"/>
              <a:ext cx="102991" cy="107381"/>
              <a:chOff x="7217015" y="4638513"/>
              <a:chExt cx="102991" cy="107381"/>
            </a:xfrm>
            <a:grpFill/>
          </p:grpSpPr>
          <p:sp>
            <p:nvSpPr>
              <p:cNvPr id="3879" name="Vrije vorm: vorm 3878">
                <a:extLst>
                  <a:ext uri="{FF2B5EF4-FFF2-40B4-BE49-F238E27FC236}">
                    <a16:creationId xmlns:a16="http://schemas.microsoft.com/office/drawing/2014/main" id="{EFC523E1-F2BF-4BA5-90B8-D74EFAED27CE}"/>
                  </a:ext>
                </a:extLst>
              </p:cNvPr>
              <p:cNvSpPr/>
              <p:nvPr/>
            </p:nvSpPr>
            <p:spPr>
              <a:xfrm>
                <a:off x="7224792" y="4646343"/>
                <a:ext cx="87438" cy="91744"/>
              </a:xfrm>
              <a:custGeom>
                <a:avLst/>
                <a:gdLst>
                  <a:gd name="connsiteX0" fmla="*/ 87438 w 87438"/>
                  <a:gd name="connsiteY0" fmla="*/ 89591 h 91744"/>
                  <a:gd name="connsiteX1" fmla="*/ 85284 w 87438"/>
                  <a:gd name="connsiteY1" fmla="*/ 91744 h 91744"/>
                  <a:gd name="connsiteX2" fmla="*/ 0 w 87438"/>
                  <a:gd name="connsiteY2" fmla="*/ 2093 h 91744"/>
                  <a:gd name="connsiteX3" fmla="*/ 2153 w 87438"/>
                  <a:gd name="connsiteY3" fmla="*/ 0 h 91744"/>
                </a:gdLst>
                <a:ahLst/>
                <a:cxnLst>
                  <a:cxn ang="0">
                    <a:pos x="connsiteX0" y="connsiteY0"/>
                  </a:cxn>
                  <a:cxn ang="0">
                    <a:pos x="connsiteX1" y="connsiteY1"/>
                  </a:cxn>
                  <a:cxn ang="0">
                    <a:pos x="connsiteX2" y="connsiteY2"/>
                  </a:cxn>
                  <a:cxn ang="0">
                    <a:pos x="connsiteX3" y="connsiteY3"/>
                  </a:cxn>
                </a:cxnLst>
                <a:rect l="l" t="t" r="r" b="b"/>
                <a:pathLst>
                  <a:path w="87438" h="91744">
                    <a:moveTo>
                      <a:pt x="87438" y="89591"/>
                    </a:moveTo>
                    <a:lnTo>
                      <a:pt x="85284" y="91744"/>
                    </a:lnTo>
                    <a:lnTo>
                      <a:pt x="0" y="2093"/>
                    </a:lnTo>
                    <a:lnTo>
                      <a:pt x="2153" y="0"/>
                    </a:lnTo>
                    <a:close/>
                  </a:path>
                </a:pathLst>
              </a:custGeom>
              <a:grpFill/>
              <a:ln w="5978" cap="flat">
                <a:noFill/>
                <a:prstDash val="solid"/>
                <a:miter/>
              </a:ln>
            </p:spPr>
            <p:txBody>
              <a:bodyPr rtlCol="0" anchor="ctr"/>
              <a:lstStyle/>
              <a:p>
                <a:endParaRPr lang="en-GB"/>
              </a:p>
            </p:txBody>
          </p:sp>
          <p:sp>
            <p:nvSpPr>
              <p:cNvPr id="3880" name="Vrije vorm: vorm 3879">
                <a:extLst>
                  <a:ext uri="{FF2B5EF4-FFF2-40B4-BE49-F238E27FC236}">
                    <a16:creationId xmlns:a16="http://schemas.microsoft.com/office/drawing/2014/main" id="{4FA244E8-E1AC-4A6E-935A-F366DE209925}"/>
                  </a:ext>
                </a:extLst>
              </p:cNvPr>
              <p:cNvSpPr/>
              <p:nvPr/>
            </p:nvSpPr>
            <p:spPr>
              <a:xfrm>
                <a:off x="7301642" y="4727468"/>
                <a:ext cx="18364" cy="18426"/>
              </a:xfrm>
              <a:custGeom>
                <a:avLst/>
                <a:gdLst>
                  <a:gd name="connsiteX0" fmla="*/ 15791 w 18364"/>
                  <a:gd name="connsiteY0" fmla="*/ 2844 h 18426"/>
                  <a:gd name="connsiteX1" fmla="*/ 15552 w 18364"/>
                  <a:gd name="connsiteY1" fmla="*/ 15882 h 18426"/>
                  <a:gd name="connsiteX2" fmla="*/ 2573 w 18364"/>
                  <a:gd name="connsiteY2" fmla="*/ 15583 h 18426"/>
                  <a:gd name="connsiteX3" fmla="*/ 2813 w 18364"/>
                  <a:gd name="connsiteY3" fmla="*/ 2545 h 18426"/>
                  <a:gd name="connsiteX4" fmla="*/ 15791 w 18364"/>
                  <a:gd name="connsiteY4" fmla="*/ 2844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15791" y="2844"/>
                    </a:moveTo>
                    <a:cubicBezTo>
                      <a:pt x="19319" y="6552"/>
                      <a:pt x="19200" y="12353"/>
                      <a:pt x="15552" y="15882"/>
                    </a:cubicBezTo>
                    <a:cubicBezTo>
                      <a:pt x="11903" y="19410"/>
                      <a:pt x="6102" y="19231"/>
                      <a:pt x="2573" y="15583"/>
                    </a:cubicBezTo>
                    <a:cubicBezTo>
                      <a:pt x="-955" y="11875"/>
                      <a:pt x="-836" y="6073"/>
                      <a:pt x="2813" y="2545"/>
                    </a:cubicBezTo>
                    <a:cubicBezTo>
                      <a:pt x="6521" y="-984"/>
                      <a:pt x="12322" y="-805"/>
                      <a:pt x="15791" y="2844"/>
                    </a:cubicBezTo>
                    <a:close/>
                  </a:path>
                </a:pathLst>
              </a:custGeom>
              <a:grpFill/>
              <a:ln w="5978" cap="flat">
                <a:noFill/>
                <a:prstDash val="solid"/>
                <a:miter/>
              </a:ln>
            </p:spPr>
            <p:txBody>
              <a:bodyPr rtlCol="0" anchor="ctr"/>
              <a:lstStyle/>
              <a:p>
                <a:endParaRPr lang="en-GB"/>
              </a:p>
            </p:txBody>
          </p:sp>
          <p:sp>
            <p:nvSpPr>
              <p:cNvPr id="3881" name="Vrije vorm: vorm 3880">
                <a:extLst>
                  <a:ext uri="{FF2B5EF4-FFF2-40B4-BE49-F238E27FC236}">
                    <a16:creationId xmlns:a16="http://schemas.microsoft.com/office/drawing/2014/main" id="{9A9F5C9A-5FDE-40D5-963B-4FED791B38A7}"/>
                  </a:ext>
                </a:extLst>
              </p:cNvPr>
              <p:cNvSpPr/>
              <p:nvPr/>
            </p:nvSpPr>
            <p:spPr>
              <a:xfrm>
                <a:off x="7217015" y="4638513"/>
                <a:ext cx="18319" cy="18469"/>
              </a:xfrm>
              <a:custGeom>
                <a:avLst/>
                <a:gdLst>
                  <a:gd name="connsiteX0" fmla="*/ 15791 w 18319"/>
                  <a:gd name="connsiteY0" fmla="*/ 2865 h 18469"/>
                  <a:gd name="connsiteX1" fmla="*/ 2813 w 18319"/>
                  <a:gd name="connsiteY1" fmla="*/ 2566 h 18469"/>
                  <a:gd name="connsiteX2" fmla="*/ 2573 w 18319"/>
                  <a:gd name="connsiteY2" fmla="*/ 15604 h 18469"/>
                  <a:gd name="connsiteX3" fmla="*/ 15552 w 18319"/>
                  <a:gd name="connsiteY3" fmla="*/ 15904 h 18469"/>
                  <a:gd name="connsiteX4" fmla="*/ 15791 w 18319"/>
                  <a:gd name="connsiteY4" fmla="*/ 2865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69">
                    <a:moveTo>
                      <a:pt x="15791" y="2865"/>
                    </a:moveTo>
                    <a:cubicBezTo>
                      <a:pt x="12263" y="-843"/>
                      <a:pt x="6461" y="-962"/>
                      <a:pt x="2813" y="2566"/>
                    </a:cubicBezTo>
                    <a:cubicBezTo>
                      <a:pt x="-836" y="6095"/>
                      <a:pt x="-955" y="11896"/>
                      <a:pt x="2573" y="15604"/>
                    </a:cubicBezTo>
                    <a:cubicBezTo>
                      <a:pt x="6102" y="19312"/>
                      <a:pt x="11903" y="19432"/>
                      <a:pt x="15552" y="15904"/>
                    </a:cubicBezTo>
                    <a:cubicBezTo>
                      <a:pt x="19140" y="12375"/>
                      <a:pt x="19260" y="6514"/>
                      <a:pt x="15791" y="2865"/>
                    </a:cubicBezTo>
                    <a:close/>
                  </a:path>
                </a:pathLst>
              </a:custGeom>
              <a:grpFill/>
              <a:ln w="5978" cap="flat">
                <a:noFill/>
                <a:prstDash val="solid"/>
                <a:miter/>
              </a:ln>
            </p:spPr>
            <p:txBody>
              <a:bodyPr rtlCol="0" anchor="ctr"/>
              <a:lstStyle/>
              <a:p>
                <a:endParaRPr lang="en-GB"/>
              </a:p>
            </p:txBody>
          </p:sp>
        </p:grpSp>
        <p:grpSp>
          <p:nvGrpSpPr>
            <p:cNvPr id="503" name="Graphic 3">
              <a:extLst>
                <a:ext uri="{FF2B5EF4-FFF2-40B4-BE49-F238E27FC236}">
                  <a16:creationId xmlns:a16="http://schemas.microsoft.com/office/drawing/2014/main" id="{1057E320-9906-4649-97B3-E92374850AD7}"/>
                </a:ext>
              </a:extLst>
            </p:cNvPr>
            <p:cNvGrpSpPr/>
            <p:nvPr/>
          </p:nvGrpSpPr>
          <p:grpSpPr>
            <a:xfrm>
              <a:off x="6186191" y="1409272"/>
              <a:ext cx="80597" cy="339954"/>
              <a:chOff x="6186191" y="1409272"/>
              <a:chExt cx="80597" cy="339954"/>
            </a:xfrm>
            <a:grpFill/>
          </p:grpSpPr>
          <p:sp>
            <p:nvSpPr>
              <p:cNvPr id="3876" name="Vrije vorm: vorm 3875">
                <a:extLst>
                  <a:ext uri="{FF2B5EF4-FFF2-40B4-BE49-F238E27FC236}">
                    <a16:creationId xmlns:a16="http://schemas.microsoft.com/office/drawing/2014/main" id="{5744EC39-6321-4C34-917D-A6EE87FD451C}"/>
                  </a:ext>
                </a:extLst>
              </p:cNvPr>
              <p:cNvSpPr/>
              <p:nvPr/>
            </p:nvSpPr>
            <p:spPr>
              <a:xfrm>
                <a:off x="6193775" y="1417710"/>
                <a:ext cx="65369" cy="323018"/>
              </a:xfrm>
              <a:custGeom>
                <a:avLst/>
                <a:gdLst>
                  <a:gd name="connsiteX0" fmla="*/ 65369 w 65369"/>
                  <a:gd name="connsiteY0" fmla="*/ 598 h 323018"/>
                  <a:gd name="connsiteX1" fmla="*/ 2990 w 65369"/>
                  <a:gd name="connsiteY1" fmla="*/ 323019 h 323018"/>
                  <a:gd name="connsiteX2" fmla="*/ 0 w 65369"/>
                  <a:gd name="connsiteY2" fmla="*/ 322421 h 323018"/>
                  <a:gd name="connsiteX3" fmla="*/ 62439 w 65369"/>
                  <a:gd name="connsiteY3" fmla="*/ 0 h 323018"/>
                </a:gdLst>
                <a:ahLst/>
                <a:cxnLst>
                  <a:cxn ang="0">
                    <a:pos x="connsiteX0" y="connsiteY0"/>
                  </a:cxn>
                  <a:cxn ang="0">
                    <a:pos x="connsiteX1" y="connsiteY1"/>
                  </a:cxn>
                  <a:cxn ang="0">
                    <a:pos x="connsiteX2" y="connsiteY2"/>
                  </a:cxn>
                  <a:cxn ang="0">
                    <a:pos x="connsiteX3" y="connsiteY3"/>
                  </a:cxn>
                </a:cxnLst>
                <a:rect l="l" t="t" r="r" b="b"/>
                <a:pathLst>
                  <a:path w="65369" h="323018">
                    <a:moveTo>
                      <a:pt x="65369" y="598"/>
                    </a:moveTo>
                    <a:lnTo>
                      <a:pt x="2990" y="323019"/>
                    </a:lnTo>
                    <a:lnTo>
                      <a:pt x="0" y="322421"/>
                    </a:lnTo>
                    <a:lnTo>
                      <a:pt x="62439" y="0"/>
                    </a:lnTo>
                    <a:close/>
                  </a:path>
                </a:pathLst>
              </a:custGeom>
              <a:grpFill/>
              <a:ln w="5978" cap="flat">
                <a:noFill/>
                <a:prstDash val="solid"/>
                <a:miter/>
              </a:ln>
            </p:spPr>
            <p:txBody>
              <a:bodyPr rtlCol="0" anchor="ctr"/>
              <a:lstStyle/>
              <a:p>
                <a:endParaRPr lang="en-GB"/>
              </a:p>
            </p:txBody>
          </p:sp>
          <p:sp>
            <p:nvSpPr>
              <p:cNvPr id="3877" name="Vrije vorm: vorm 3876">
                <a:extLst>
                  <a:ext uri="{FF2B5EF4-FFF2-40B4-BE49-F238E27FC236}">
                    <a16:creationId xmlns:a16="http://schemas.microsoft.com/office/drawing/2014/main" id="{186334F8-0736-43EA-92BC-709B99170941}"/>
                  </a:ext>
                </a:extLst>
              </p:cNvPr>
              <p:cNvSpPr/>
              <p:nvPr/>
            </p:nvSpPr>
            <p:spPr>
              <a:xfrm>
                <a:off x="6186191" y="1730796"/>
                <a:ext cx="18335" cy="18431"/>
              </a:xfrm>
              <a:custGeom>
                <a:avLst/>
                <a:gdLst>
                  <a:gd name="connsiteX0" fmla="*/ 18170 w 18335"/>
                  <a:gd name="connsiteY0" fmla="*/ 11010 h 18431"/>
                  <a:gd name="connsiteX1" fmla="*/ 7405 w 18335"/>
                  <a:gd name="connsiteY1" fmla="*/ 18246 h 18431"/>
                  <a:gd name="connsiteX2" fmla="*/ 168 w 18335"/>
                  <a:gd name="connsiteY2" fmla="*/ 7421 h 18431"/>
                  <a:gd name="connsiteX3" fmla="*/ 10933 w 18335"/>
                  <a:gd name="connsiteY3" fmla="*/ 185 h 18431"/>
                  <a:gd name="connsiteX4" fmla="*/ 18170 w 18335"/>
                  <a:gd name="connsiteY4" fmla="*/ 1101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1">
                    <a:moveTo>
                      <a:pt x="18170" y="11010"/>
                    </a:moveTo>
                    <a:cubicBezTo>
                      <a:pt x="17213" y="15974"/>
                      <a:pt x="12368" y="19263"/>
                      <a:pt x="7405" y="18246"/>
                    </a:cubicBezTo>
                    <a:cubicBezTo>
                      <a:pt x="2441" y="17230"/>
                      <a:pt x="-789" y="12385"/>
                      <a:pt x="168" y="7421"/>
                    </a:cubicBezTo>
                    <a:cubicBezTo>
                      <a:pt x="1125" y="2457"/>
                      <a:pt x="5969" y="-832"/>
                      <a:pt x="10933" y="185"/>
                    </a:cubicBezTo>
                    <a:cubicBezTo>
                      <a:pt x="15837" y="1142"/>
                      <a:pt x="19127" y="5986"/>
                      <a:pt x="18170" y="11010"/>
                    </a:cubicBezTo>
                    <a:close/>
                  </a:path>
                </a:pathLst>
              </a:custGeom>
              <a:grpFill/>
              <a:ln w="5978" cap="flat">
                <a:noFill/>
                <a:prstDash val="solid"/>
                <a:miter/>
              </a:ln>
            </p:spPr>
            <p:txBody>
              <a:bodyPr rtlCol="0" anchor="ctr"/>
              <a:lstStyle/>
              <a:p>
                <a:endParaRPr lang="en-GB"/>
              </a:p>
            </p:txBody>
          </p:sp>
          <p:sp>
            <p:nvSpPr>
              <p:cNvPr id="3878" name="Vrije vorm: vorm 3877">
                <a:extLst>
                  <a:ext uri="{FF2B5EF4-FFF2-40B4-BE49-F238E27FC236}">
                    <a16:creationId xmlns:a16="http://schemas.microsoft.com/office/drawing/2014/main" id="{74006024-D8E6-4ED7-B1B5-E0E81B6EC226}"/>
                  </a:ext>
                </a:extLst>
              </p:cNvPr>
              <p:cNvSpPr/>
              <p:nvPr/>
            </p:nvSpPr>
            <p:spPr>
              <a:xfrm>
                <a:off x="6248450" y="1409272"/>
                <a:ext cx="18337" cy="18431"/>
              </a:xfrm>
              <a:custGeom>
                <a:avLst/>
                <a:gdLst>
                  <a:gd name="connsiteX0" fmla="*/ 18170 w 18337"/>
                  <a:gd name="connsiteY0" fmla="*/ 11010 h 18431"/>
                  <a:gd name="connsiteX1" fmla="*/ 10933 w 18337"/>
                  <a:gd name="connsiteY1" fmla="*/ 185 h 18431"/>
                  <a:gd name="connsiteX2" fmla="*/ 168 w 18337"/>
                  <a:gd name="connsiteY2" fmla="*/ 7421 h 18431"/>
                  <a:gd name="connsiteX3" fmla="*/ 7404 w 18337"/>
                  <a:gd name="connsiteY3" fmla="*/ 18246 h 18431"/>
                  <a:gd name="connsiteX4" fmla="*/ 18170 w 18337"/>
                  <a:gd name="connsiteY4" fmla="*/ 1101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1">
                    <a:moveTo>
                      <a:pt x="18170" y="11010"/>
                    </a:moveTo>
                    <a:cubicBezTo>
                      <a:pt x="19127" y="6046"/>
                      <a:pt x="15897" y="1142"/>
                      <a:pt x="10933" y="185"/>
                    </a:cubicBezTo>
                    <a:cubicBezTo>
                      <a:pt x="5969" y="-832"/>
                      <a:pt x="1125" y="2457"/>
                      <a:pt x="168" y="7421"/>
                    </a:cubicBezTo>
                    <a:cubicBezTo>
                      <a:pt x="-789" y="12385"/>
                      <a:pt x="2440" y="17289"/>
                      <a:pt x="7404" y="18246"/>
                    </a:cubicBezTo>
                    <a:cubicBezTo>
                      <a:pt x="12369" y="19263"/>
                      <a:pt x="17153" y="15974"/>
                      <a:pt x="18170" y="11010"/>
                    </a:cubicBezTo>
                    <a:close/>
                  </a:path>
                </a:pathLst>
              </a:custGeom>
              <a:grpFill/>
              <a:ln w="5978" cap="flat">
                <a:noFill/>
                <a:prstDash val="solid"/>
                <a:miter/>
              </a:ln>
            </p:spPr>
            <p:txBody>
              <a:bodyPr rtlCol="0" anchor="ctr"/>
              <a:lstStyle/>
              <a:p>
                <a:endParaRPr lang="en-GB"/>
              </a:p>
            </p:txBody>
          </p:sp>
        </p:grpSp>
        <p:grpSp>
          <p:nvGrpSpPr>
            <p:cNvPr id="504" name="Graphic 3">
              <a:extLst>
                <a:ext uri="{FF2B5EF4-FFF2-40B4-BE49-F238E27FC236}">
                  <a16:creationId xmlns:a16="http://schemas.microsoft.com/office/drawing/2014/main" id="{990A176C-E1AC-4F4A-9A48-16EED6E1341D}"/>
                </a:ext>
              </a:extLst>
            </p:cNvPr>
            <p:cNvGrpSpPr/>
            <p:nvPr/>
          </p:nvGrpSpPr>
          <p:grpSpPr>
            <a:xfrm>
              <a:off x="6165828" y="1375164"/>
              <a:ext cx="29278" cy="188439"/>
              <a:chOff x="6165828" y="1375164"/>
              <a:chExt cx="29278" cy="188439"/>
            </a:xfrm>
            <a:grpFill/>
          </p:grpSpPr>
          <p:sp>
            <p:nvSpPr>
              <p:cNvPr id="3873" name="Vrije vorm: vorm 3872">
                <a:extLst>
                  <a:ext uri="{FF2B5EF4-FFF2-40B4-BE49-F238E27FC236}">
                    <a16:creationId xmlns:a16="http://schemas.microsoft.com/office/drawing/2014/main" id="{8CBD74B5-100D-4AA8-9D93-E62DA49FF3E5}"/>
                  </a:ext>
                </a:extLst>
              </p:cNvPr>
              <p:cNvSpPr/>
              <p:nvPr/>
            </p:nvSpPr>
            <p:spPr>
              <a:xfrm>
                <a:off x="6173440" y="1383800"/>
                <a:ext cx="14054" cy="171168"/>
              </a:xfrm>
              <a:custGeom>
                <a:avLst/>
                <a:gdLst>
                  <a:gd name="connsiteX0" fmla="*/ 14055 w 14054"/>
                  <a:gd name="connsiteY0" fmla="*/ 239 h 171168"/>
                  <a:gd name="connsiteX1" fmla="*/ 3050 w 14054"/>
                  <a:gd name="connsiteY1" fmla="*/ 171168 h 171168"/>
                  <a:gd name="connsiteX2" fmla="*/ 0 w 14054"/>
                  <a:gd name="connsiteY2" fmla="*/ 170929 h 171168"/>
                  <a:gd name="connsiteX3" fmla="*/ 11004 w 14054"/>
                  <a:gd name="connsiteY3" fmla="*/ 0 h 171168"/>
                </a:gdLst>
                <a:ahLst/>
                <a:cxnLst>
                  <a:cxn ang="0">
                    <a:pos x="connsiteX0" y="connsiteY0"/>
                  </a:cxn>
                  <a:cxn ang="0">
                    <a:pos x="connsiteX1" y="connsiteY1"/>
                  </a:cxn>
                  <a:cxn ang="0">
                    <a:pos x="connsiteX2" y="connsiteY2"/>
                  </a:cxn>
                  <a:cxn ang="0">
                    <a:pos x="connsiteX3" y="connsiteY3"/>
                  </a:cxn>
                </a:cxnLst>
                <a:rect l="l" t="t" r="r" b="b"/>
                <a:pathLst>
                  <a:path w="14054" h="171168">
                    <a:moveTo>
                      <a:pt x="14055" y="239"/>
                    </a:moveTo>
                    <a:lnTo>
                      <a:pt x="3050" y="171168"/>
                    </a:lnTo>
                    <a:lnTo>
                      <a:pt x="0" y="170929"/>
                    </a:lnTo>
                    <a:lnTo>
                      <a:pt x="11004" y="0"/>
                    </a:lnTo>
                    <a:close/>
                  </a:path>
                </a:pathLst>
              </a:custGeom>
              <a:grpFill/>
              <a:ln w="5978" cap="flat">
                <a:noFill/>
                <a:prstDash val="solid"/>
                <a:miter/>
              </a:ln>
            </p:spPr>
            <p:txBody>
              <a:bodyPr rtlCol="0" anchor="ctr"/>
              <a:lstStyle/>
              <a:p>
                <a:endParaRPr lang="en-GB"/>
              </a:p>
            </p:txBody>
          </p:sp>
          <p:sp>
            <p:nvSpPr>
              <p:cNvPr id="3874" name="Vrije vorm: vorm 3873">
                <a:extLst>
                  <a:ext uri="{FF2B5EF4-FFF2-40B4-BE49-F238E27FC236}">
                    <a16:creationId xmlns:a16="http://schemas.microsoft.com/office/drawing/2014/main" id="{031B871C-CF17-4AD0-9CBF-107A6E63EFAC}"/>
                  </a:ext>
                </a:extLst>
              </p:cNvPr>
              <p:cNvSpPr/>
              <p:nvPr/>
            </p:nvSpPr>
            <p:spPr>
              <a:xfrm>
                <a:off x="6176766" y="1375164"/>
                <a:ext cx="18340" cy="18407"/>
              </a:xfrm>
              <a:custGeom>
                <a:avLst/>
                <a:gdLst>
                  <a:gd name="connsiteX0" fmla="*/ 23 w 18340"/>
                  <a:gd name="connsiteY0" fmla="*/ 8576 h 18407"/>
                  <a:gd name="connsiteX1" fmla="*/ 9772 w 18340"/>
                  <a:gd name="connsiteY1" fmla="*/ 23 h 18407"/>
                  <a:gd name="connsiteX2" fmla="*/ 18324 w 18340"/>
                  <a:gd name="connsiteY2" fmla="*/ 9832 h 18407"/>
                  <a:gd name="connsiteX3" fmla="*/ 8576 w 18340"/>
                  <a:gd name="connsiteY3" fmla="*/ 18384 h 18407"/>
                  <a:gd name="connsiteX4" fmla="*/ 23 w 18340"/>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7">
                    <a:moveTo>
                      <a:pt x="23" y="8576"/>
                    </a:moveTo>
                    <a:cubicBezTo>
                      <a:pt x="322" y="3492"/>
                      <a:pt x="4688" y="-336"/>
                      <a:pt x="9772" y="23"/>
                    </a:cubicBezTo>
                    <a:cubicBezTo>
                      <a:pt x="14796" y="382"/>
                      <a:pt x="18623" y="4748"/>
                      <a:pt x="18324" y="9832"/>
                    </a:cubicBezTo>
                    <a:cubicBezTo>
                      <a:pt x="18025" y="14915"/>
                      <a:pt x="13659" y="18743"/>
                      <a:pt x="8576" y="18384"/>
                    </a:cubicBezTo>
                    <a:cubicBezTo>
                      <a:pt x="3492" y="18025"/>
                      <a:pt x="-336" y="13659"/>
                      <a:pt x="23" y="8576"/>
                    </a:cubicBezTo>
                    <a:close/>
                  </a:path>
                </a:pathLst>
              </a:custGeom>
              <a:grpFill/>
              <a:ln w="5978" cap="flat">
                <a:noFill/>
                <a:prstDash val="solid"/>
                <a:miter/>
              </a:ln>
            </p:spPr>
            <p:txBody>
              <a:bodyPr rtlCol="0" anchor="ctr"/>
              <a:lstStyle/>
              <a:p>
                <a:endParaRPr lang="en-GB"/>
              </a:p>
            </p:txBody>
          </p:sp>
          <p:sp>
            <p:nvSpPr>
              <p:cNvPr id="3875" name="Vrije vorm: vorm 3874">
                <a:extLst>
                  <a:ext uri="{FF2B5EF4-FFF2-40B4-BE49-F238E27FC236}">
                    <a16:creationId xmlns:a16="http://schemas.microsoft.com/office/drawing/2014/main" id="{18F201E6-4085-401B-9BD1-9F95AB44F77A}"/>
                  </a:ext>
                </a:extLst>
              </p:cNvPr>
              <p:cNvSpPr/>
              <p:nvPr/>
            </p:nvSpPr>
            <p:spPr>
              <a:xfrm>
                <a:off x="6165828" y="1545196"/>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3" y="18743"/>
                      <a:pt x="17959" y="14915"/>
                      <a:pt x="18317" y="9832"/>
                    </a:cubicBezTo>
                    <a:cubicBezTo>
                      <a:pt x="18616" y="4748"/>
                      <a:pt x="14789" y="382"/>
                      <a:pt x="9765" y="23"/>
                    </a:cubicBezTo>
                    <a:cubicBezTo>
                      <a:pt x="4682" y="-336"/>
                      <a:pt x="315" y="3492"/>
                      <a:pt x="16" y="8576"/>
                    </a:cubicBezTo>
                    <a:close/>
                  </a:path>
                </a:pathLst>
              </a:custGeom>
              <a:grpFill/>
              <a:ln w="5978" cap="flat">
                <a:noFill/>
                <a:prstDash val="solid"/>
                <a:miter/>
              </a:ln>
            </p:spPr>
            <p:txBody>
              <a:bodyPr rtlCol="0" anchor="ctr"/>
              <a:lstStyle/>
              <a:p>
                <a:endParaRPr lang="en-GB"/>
              </a:p>
            </p:txBody>
          </p:sp>
        </p:grpSp>
        <p:grpSp>
          <p:nvGrpSpPr>
            <p:cNvPr id="505" name="Graphic 3">
              <a:extLst>
                <a:ext uri="{FF2B5EF4-FFF2-40B4-BE49-F238E27FC236}">
                  <a16:creationId xmlns:a16="http://schemas.microsoft.com/office/drawing/2014/main" id="{1F30DB1D-00C6-4285-84C3-2EF270AF0590}"/>
                </a:ext>
              </a:extLst>
            </p:cNvPr>
            <p:cNvGrpSpPr/>
            <p:nvPr/>
          </p:nvGrpSpPr>
          <p:grpSpPr>
            <a:xfrm>
              <a:off x="7285289" y="4920667"/>
              <a:ext cx="222522" cy="267697"/>
              <a:chOff x="7285289" y="4920667"/>
              <a:chExt cx="222522" cy="267697"/>
            </a:xfrm>
            <a:grpFill/>
          </p:grpSpPr>
          <p:sp>
            <p:nvSpPr>
              <p:cNvPr id="3870" name="Vrije vorm: vorm 3869">
                <a:extLst>
                  <a:ext uri="{FF2B5EF4-FFF2-40B4-BE49-F238E27FC236}">
                    <a16:creationId xmlns:a16="http://schemas.microsoft.com/office/drawing/2014/main" id="{306CDFF4-ACDD-4517-B883-866FFFF89C4D}"/>
                  </a:ext>
                </a:extLst>
              </p:cNvPr>
              <p:cNvSpPr/>
              <p:nvPr/>
            </p:nvSpPr>
            <p:spPr>
              <a:xfrm>
                <a:off x="7292971" y="4928573"/>
                <a:ext cx="207112" cy="251848"/>
              </a:xfrm>
              <a:custGeom>
                <a:avLst/>
                <a:gdLst>
                  <a:gd name="connsiteX0" fmla="*/ 207112 w 207112"/>
                  <a:gd name="connsiteY0" fmla="*/ 249934 h 251848"/>
                  <a:gd name="connsiteX1" fmla="*/ 204780 w 207112"/>
                  <a:gd name="connsiteY1" fmla="*/ 251848 h 251848"/>
                  <a:gd name="connsiteX2" fmla="*/ 0 w 207112"/>
                  <a:gd name="connsiteY2" fmla="*/ 1914 h 251848"/>
                  <a:gd name="connsiteX3" fmla="*/ 2333 w 207112"/>
                  <a:gd name="connsiteY3" fmla="*/ 0 h 251848"/>
                </a:gdLst>
                <a:ahLst/>
                <a:cxnLst>
                  <a:cxn ang="0">
                    <a:pos x="connsiteX0" y="connsiteY0"/>
                  </a:cxn>
                  <a:cxn ang="0">
                    <a:pos x="connsiteX1" y="connsiteY1"/>
                  </a:cxn>
                  <a:cxn ang="0">
                    <a:pos x="connsiteX2" y="connsiteY2"/>
                  </a:cxn>
                  <a:cxn ang="0">
                    <a:pos x="connsiteX3" y="connsiteY3"/>
                  </a:cxn>
                </a:cxnLst>
                <a:rect l="l" t="t" r="r" b="b"/>
                <a:pathLst>
                  <a:path w="207112" h="251848">
                    <a:moveTo>
                      <a:pt x="207112" y="249934"/>
                    </a:moveTo>
                    <a:lnTo>
                      <a:pt x="204780" y="251848"/>
                    </a:lnTo>
                    <a:lnTo>
                      <a:pt x="0" y="1914"/>
                    </a:lnTo>
                    <a:lnTo>
                      <a:pt x="2333" y="0"/>
                    </a:lnTo>
                    <a:close/>
                  </a:path>
                </a:pathLst>
              </a:custGeom>
              <a:grpFill/>
              <a:ln w="5978" cap="flat">
                <a:noFill/>
                <a:prstDash val="solid"/>
                <a:miter/>
              </a:ln>
            </p:spPr>
            <p:txBody>
              <a:bodyPr rtlCol="0" anchor="ctr"/>
              <a:lstStyle/>
              <a:p>
                <a:endParaRPr lang="en-GB"/>
              </a:p>
            </p:txBody>
          </p:sp>
          <p:sp>
            <p:nvSpPr>
              <p:cNvPr id="3871" name="Vrije vorm: vorm 3870">
                <a:extLst>
                  <a:ext uri="{FF2B5EF4-FFF2-40B4-BE49-F238E27FC236}">
                    <a16:creationId xmlns:a16="http://schemas.microsoft.com/office/drawing/2014/main" id="{53F16F12-6A10-4902-A6A2-D242A748689E}"/>
                  </a:ext>
                </a:extLst>
              </p:cNvPr>
              <p:cNvSpPr/>
              <p:nvPr/>
            </p:nvSpPr>
            <p:spPr>
              <a:xfrm>
                <a:off x="7489426" y="5169907"/>
                <a:ext cx="18384" cy="18456"/>
              </a:xfrm>
              <a:custGeom>
                <a:avLst/>
                <a:gdLst>
                  <a:gd name="connsiteX0" fmla="*/ 16280 w 18384"/>
                  <a:gd name="connsiteY0" fmla="*/ 3397 h 18456"/>
                  <a:gd name="connsiteX1" fmla="*/ 15023 w 18384"/>
                  <a:gd name="connsiteY1" fmla="*/ 16375 h 18456"/>
                  <a:gd name="connsiteX2" fmla="*/ 2106 w 18384"/>
                  <a:gd name="connsiteY2" fmla="*/ 15059 h 18456"/>
                  <a:gd name="connsiteX3" fmla="*/ 3361 w 18384"/>
                  <a:gd name="connsiteY3" fmla="*/ 2081 h 18456"/>
                  <a:gd name="connsiteX4" fmla="*/ 16280 w 18384"/>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56">
                    <a:moveTo>
                      <a:pt x="16280" y="3397"/>
                    </a:moveTo>
                    <a:cubicBezTo>
                      <a:pt x="19509" y="7344"/>
                      <a:pt x="18971" y="13145"/>
                      <a:pt x="15023" y="16375"/>
                    </a:cubicBezTo>
                    <a:cubicBezTo>
                      <a:pt x="11137" y="19605"/>
                      <a:pt x="5335" y="19007"/>
                      <a:pt x="2106" y="15059"/>
                    </a:cubicBezTo>
                    <a:cubicBezTo>
                      <a:pt x="-1124" y="11112"/>
                      <a:pt x="-586" y="5311"/>
                      <a:pt x="3361" y="2081"/>
                    </a:cubicBezTo>
                    <a:cubicBezTo>
                      <a:pt x="7249" y="-1148"/>
                      <a:pt x="13050" y="-550"/>
                      <a:pt x="16280" y="3397"/>
                    </a:cubicBezTo>
                    <a:close/>
                  </a:path>
                </a:pathLst>
              </a:custGeom>
              <a:grpFill/>
              <a:ln w="5978" cap="flat">
                <a:noFill/>
                <a:prstDash val="solid"/>
                <a:miter/>
              </a:ln>
            </p:spPr>
            <p:txBody>
              <a:bodyPr rtlCol="0" anchor="ctr"/>
              <a:lstStyle/>
              <a:p>
                <a:endParaRPr lang="en-GB"/>
              </a:p>
            </p:txBody>
          </p:sp>
          <p:sp>
            <p:nvSpPr>
              <p:cNvPr id="3872" name="Vrije vorm: vorm 3871">
                <a:extLst>
                  <a:ext uri="{FF2B5EF4-FFF2-40B4-BE49-F238E27FC236}">
                    <a16:creationId xmlns:a16="http://schemas.microsoft.com/office/drawing/2014/main" id="{735FDBB2-EF2C-4B07-8167-320074BC048F}"/>
                  </a:ext>
                </a:extLst>
              </p:cNvPr>
              <p:cNvSpPr/>
              <p:nvPr/>
            </p:nvSpPr>
            <p:spPr>
              <a:xfrm>
                <a:off x="7285289" y="4920667"/>
                <a:ext cx="18341" cy="18455"/>
              </a:xfrm>
              <a:custGeom>
                <a:avLst/>
                <a:gdLst>
                  <a:gd name="connsiteX0" fmla="*/ 16236 w 18341"/>
                  <a:gd name="connsiteY0" fmla="*/ 3361 h 18455"/>
                  <a:gd name="connsiteX1" fmla="*/ 3317 w 18341"/>
                  <a:gd name="connsiteY1" fmla="*/ 2105 h 18455"/>
                  <a:gd name="connsiteX2" fmla="*/ 2061 w 18341"/>
                  <a:gd name="connsiteY2" fmla="*/ 15084 h 18455"/>
                  <a:gd name="connsiteX3" fmla="*/ 14980 w 18341"/>
                  <a:gd name="connsiteY3" fmla="*/ 16399 h 18455"/>
                  <a:gd name="connsiteX4" fmla="*/ 16236 w 18341"/>
                  <a:gd name="connsiteY4" fmla="*/ 3361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5">
                    <a:moveTo>
                      <a:pt x="16236" y="3361"/>
                    </a:moveTo>
                    <a:cubicBezTo>
                      <a:pt x="13006" y="-586"/>
                      <a:pt x="7205" y="-1124"/>
                      <a:pt x="3317" y="2105"/>
                    </a:cubicBezTo>
                    <a:cubicBezTo>
                      <a:pt x="-571" y="5335"/>
                      <a:pt x="-1109" y="11136"/>
                      <a:pt x="2061" y="15084"/>
                    </a:cubicBezTo>
                    <a:cubicBezTo>
                      <a:pt x="5291" y="19031"/>
                      <a:pt x="11092" y="19569"/>
                      <a:pt x="14980" y="16399"/>
                    </a:cubicBezTo>
                    <a:cubicBezTo>
                      <a:pt x="18927" y="13110"/>
                      <a:pt x="19465" y="7309"/>
                      <a:pt x="16236" y="3361"/>
                    </a:cubicBezTo>
                    <a:close/>
                  </a:path>
                </a:pathLst>
              </a:custGeom>
              <a:grpFill/>
              <a:ln w="5978" cap="flat">
                <a:noFill/>
                <a:prstDash val="solid"/>
                <a:miter/>
              </a:ln>
            </p:spPr>
            <p:txBody>
              <a:bodyPr rtlCol="0" anchor="ctr"/>
              <a:lstStyle/>
              <a:p>
                <a:endParaRPr lang="en-GB"/>
              </a:p>
            </p:txBody>
          </p:sp>
        </p:grpSp>
        <p:grpSp>
          <p:nvGrpSpPr>
            <p:cNvPr id="506" name="Graphic 3">
              <a:extLst>
                <a:ext uri="{FF2B5EF4-FFF2-40B4-BE49-F238E27FC236}">
                  <a16:creationId xmlns:a16="http://schemas.microsoft.com/office/drawing/2014/main" id="{006C7506-D3CF-489E-B786-E892B8523885}"/>
                </a:ext>
              </a:extLst>
            </p:cNvPr>
            <p:cNvGrpSpPr/>
            <p:nvPr/>
          </p:nvGrpSpPr>
          <p:grpSpPr>
            <a:xfrm>
              <a:off x="6247536" y="1657771"/>
              <a:ext cx="27701" cy="96253"/>
              <a:chOff x="6247536" y="1657771"/>
              <a:chExt cx="27701" cy="96253"/>
            </a:xfrm>
            <a:grpFill/>
          </p:grpSpPr>
          <p:sp>
            <p:nvSpPr>
              <p:cNvPr id="3867" name="Vrije vorm: vorm 3866">
                <a:extLst>
                  <a:ext uri="{FF2B5EF4-FFF2-40B4-BE49-F238E27FC236}">
                    <a16:creationId xmlns:a16="http://schemas.microsoft.com/office/drawing/2014/main" id="{FA07DD5A-D76A-4FA9-9794-C2AC930E282D}"/>
                  </a:ext>
                </a:extLst>
              </p:cNvPr>
              <p:cNvSpPr/>
              <p:nvPr/>
            </p:nvSpPr>
            <p:spPr>
              <a:xfrm>
                <a:off x="6255077" y="1666329"/>
                <a:ext cx="12559" cy="79124"/>
              </a:xfrm>
              <a:custGeom>
                <a:avLst/>
                <a:gdLst>
                  <a:gd name="connsiteX0" fmla="*/ 12560 w 12559"/>
                  <a:gd name="connsiteY0" fmla="*/ 419 h 79124"/>
                  <a:gd name="connsiteX1" fmla="*/ 3050 w 12559"/>
                  <a:gd name="connsiteY1" fmla="*/ 79125 h 79124"/>
                  <a:gd name="connsiteX2" fmla="*/ 0 w 12559"/>
                  <a:gd name="connsiteY2" fmla="*/ 78706 h 79124"/>
                  <a:gd name="connsiteX3" fmla="*/ 9510 w 12559"/>
                  <a:gd name="connsiteY3" fmla="*/ 0 h 79124"/>
                </a:gdLst>
                <a:ahLst/>
                <a:cxnLst>
                  <a:cxn ang="0">
                    <a:pos x="connsiteX0" y="connsiteY0"/>
                  </a:cxn>
                  <a:cxn ang="0">
                    <a:pos x="connsiteX1" y="connsiteY1"/>
                  </a:cxn>
                  <a:cxn ang="0">
                    <a:pos x="connsiteX2" y="connsiteY2"/>
                  </a:cxn>
                  <a:cxn ang="0">
                    <a:pos x="connsiteX3" y="connsiteY3"/>
                  </a:cxn>
                </a:cxnLst>
                <a:rect l="l" t="t" r="r" b="b"/>
                <a:pathLst>
                  <a:path w="12559" h="79124">
                    <a:moveTo>
                      <a:pt x="12560" y="419"/>
                    </a:moveTo>
                    <a:lnTo>
                      <a:pt x="3050" y="79125"/>
                    </a:lnTo>
                    <a:lnTo>
                      <a:pt x="0" y="78706"/>
                    </a:lnTo>
                    <a:lnTo>
                      <a:pt x="9510" y="0"/>
                    </a:lnTo>
                    <a:close/>
                  </a:path>
                </a:pathLst>
              </a:custGeom>
              <a:grpFill/>
              <a:ln w="5978" cap="flat">
                <a:noFill/>
                <a:prstDash val="solid"/>
                <a:miter/>
              </a:ln>
            </p:spPr>
            <p:txBody>
              <a:bodyPr rtlCol="0" anchor="ctr"/>
              <a:lstStyle/>
              <a:p>
                <a:endParaRPr lang="en-GB"/>
              </a:p>
            </p:txBody>
          </p:sp>
          <p:sp>
            <p:nvSpPr>
              <p:cNvPr id="3868" name="Vrije vorm: vorm 3867">
                <a:extLst>
                  <a:ext uri="{FF2B5EF4-FFF2-40B4-BE49-F238E27FC236}">
                    <a16:creationId xmlns:a16="http://schemas.microsoft.com/office/drawing/2014/main" id="{76D7D7B3-1360-418A-9106-FFBD5C6D7203}"/>
                  </a:ext>
                </a:extLst>
              </p:cNvPr>
              <p:cNvSpPr/>
              <p:nvPr/>
            </p:nvSpPr>
            <p:spPr>
              <a:xfrm>
                <a:off x="6256866" y="1657771"/>
                <a:ext cx="18371" cy="18431"/>
              </a:xfrm>
              <a:custGeom>
                <a:avLst/>
                <a:gdLst>
                  <a:gd name="connsiteX0" fmla="*/ 65 w 18371"/>
                  <a:gd name="connsiteY0" fmla="*/ 8079 h 18431"/>
                  <a:gd name="connsiteX1" fmla="*/ 10292 w 18371"/>
                  <a:gd name="connsiteY1" fmla="*/ 65 h 18431"/>
                  <a:gd name="connsiteX2" fmla="*/ 18307 w 18371"/>
                  <a:gd name="connsiteY2" fmla="*/ 10352 h 18431"/>
                  <a:gd name="connsiteX3" fmla="*/ 8079 w 18371"/>
                  <a:gd name="connsiteY3" fmla="*/ 18366 h 18431"/>
                  <a:gd name="connsiteX4" fmla="*/ 65 w 18371"/>
                  <a:gd name="connsiteY4" fmla="*/ 807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31">
                    <a:moveTo>
                      <a:pt x="65" y="8079"/>
                    </a:moveTo>
                    <a:cubicBezTo>
                      <a:pt x="663" y="3055"/>
                      <a:pt x="5268" y="-533"/>
                      <a:pt x="10292" y="65"/>
                    </a:cubicBezTo>
                    <a:cubicBezTo>
                      <a:pt x="15316" y="723"/>
                      <a:pt x="18905" y="5328"/>
                      <a:pt x="18307" y="10352"/>
                    </a:cubicBezTo>
                    <a:cubicBezTo>
                      <a:pt x="17708" y="15376"/>
                      <a:pt x="13103" y="18964"/>
                      <a:pt x="8079" y="18366"/>
                    </a:cubicBezTo>
                    <a:cubicBezTo>
                      <a:pt x="3055" y="17708"/>
                      <a:pt x="-533" y="13103"/>
                      <a:pt x="65" y="8079"/>
                    </a:cubicBezTo>
                    <a:close/>
                  </a:path>
                </a:pathLst>
              </a:custGeom>
              <a:grpFill/>
              <a:ln w="5978" cap="flat">
                <a:noFill/>
                <a:prstDash val="solid"/>
                <a:miter/>
              </a:ln>
            </p:spPr>
            <p:txBody>
              <a:bodyPr rtlCol="0" anchor="ctr"/>
              <a:lstStyle/>
              <a:p>
                <a:endParaRPr lang="en-GB"/>
              </a:p>
            </p:txBody>
          </p:sp>
          <p:sp>
            <p:nvSpPr>
              <p:cNvPr id="3869" name="Vrije vorm: vorm 3868">
                <a:extLst>
                  <a:ext uri="{FF2B5EF4-FFF2-40B4-BE49-F238E27FC236}">
                    <a16:creationId xmlns:a16="http://schemas.microsoft.com/office/drawing/2014/main" id="{C9E77473-196C-421A-9287-83E7DF9C3D1D}"/>
                  </a:ext>
                </a:extLst>
              </p:cNvPr>
              <p:cNvSpPr/>
              <p:nvPr/>
            </p:nvSpPr>
            <p:spPr>
              <a:xfrm>
                <a:off x="6247536" y="1735579"/>
                <a:ext cx="18371" cy="18444"/>
              </a:xfrm>
              <a:custGeom>
                <a:avLst/>
                <a:gdLst>
                  <a:gd name="connsiteX0" fmla="*/ 65 w 18371"/>
                  <a:gd name="connsiteY0" fmla="*/ 8080 h 18444"/>
                  <a:gd name="connsiteX1" fmla="*/ 8079 w 18371"/>
                  <a:gd name="connsiteY1" fmla="*/ 18367 h 18444"/>
                  <a:gd name="connsiteX2" fmla="*/ 18306 w 18371"/>
                  <a:gd name="connsiteY2" fmla="*/ 10353 h 18444"/>
                  <a:gd name="connsiteX3" fmla="*/ 10292 w 18371"/>
                  <a:gd name="connsiteY3" fmla="*/ 66 h 18444"/>
                  <a:gd name="connsiteX4" fmla="*/ 65 w 18371"/>
                  <a:gd name="connsiteY4" fmla="*/ 808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4">
                    <a:moveTo>
                      <a:pt x="65" y="8080"/>
                    </a:moveTo>
                    <a:cubicBezTo>
                      <a:pt x="-533" y="13104"/>
                      <a:pt x="3055" y="17709"/>
                      <a:pt x="8079" y="18367"/>
                    </a:cubicBezTo>
                    <a:cubicBezTo>
                      <a:pt x="13103" y="19025"/>
                      <a:pt x="17648" y="15437"/>
                      <a:pt x="18306" y="10353"/>
                    </a:cubicBezTo>
                    <a:cubicBezTo>
                      <a:pt x="18905" y="5329"/>
                      <a:pt x="15316" y="724"/>
                      <a:pt x="10292" y="66"/>
                    </a:cubicBezTo>
                    <a:cubicBezTo>
                      <a:pt x="5209" y="-532"/>
                      <a:pt x="663" y="2997"/>
                      <a:pt x="65" y="8080"/>
                    </a:cubicBezTo>
                    <a:close/>
                  </a:path>
                </a:pathLst>
              </a:custGeom>
              <a:grpFill/>
              <a:ln w="5978" cap="flat">
                <a:noFill/>
                <a:prstDash val="solid"/>
                <a:miter/>
              </a:ln>
            </p:spPr>
            <p:txBody>
              <a:bodyPr rtlCol="0" anchor="ctr"/>
              <a:lstStyle/>
              <a:p>
                <a:endParaRPr lang="en-GB"/>
              </a:p>
            </p:txBody>
          </p:sp>
        </p:grpSp>
        <p:grpSp>
          <p:nvGrpSpPr>
            <p:cNvPr id="507" name="Graphic 3">
              <a:extLst>
                <a:ext uri="{FF2B5EF4-FFF2-40B4-BE49-F238E27FC236}">
                  <a16:creationId xmlns:a16="http://schemas.microsoft.com/office/drawing/2014/main" id="{66D8C855-4BA0-418E-948D-B9E812580B20}"/>
                </a:ext>
              </a:extLst>
            </p:cNvPr>
            <p:cNvGrpSpPr/>
            <p:nvPr/>
          </p:nvGrpSpPr>
          <p:grpSpPr>
            <a:xfrm>
              <a:off x="6134017" y="1292165"/>
              <a:ext cx="26993" cy="209106"/>
              <a:chOff x="6134017" y="1292165"/>
              <a:chExt cx="26993" cy="209106"/>
            </a:xfrm>
            <a:grpFill/>
          </p:grpSpPr>
          <p:sp>
            <p:nvSpPr>
              <p:cNvPr id="3864" name="Vrije vorm: vorm 3863">
                <a:extLst>
                  <a:ext uri="{FF2B5EF4-FFF2-40B4-BE49-F238E27FC236}">
                    <a16:creationId xmlns:a16="http://schemas.microsoft.com/office/drawing/2014/main" id="{77EB3C8E-BA39-4E53-A09B-DC40673D3521}"/>
                  </a:ext>
                </a:extLst>
              </p:cNvPr>
              <p:cNvSpPr/>
              <p:nvPr/>
            </p:nvSpPr>
            <p:spPr>
              <a:xfrm>
                <a:off x="6141623" y="1300847"/>
                <a:ext cx="11781" cy="191741"/>
              </a:xfrm>
              <a:custGeom>
                <a:avLst/>
                <a:gdLst>
                  <a:gd name="connsiteX0" fmla="*/ 11782 w 11781"/>
                  <a:gd name="connsiteY0" fmla="*/ 120 h 191741"/>
                  <a:gd name="connsiteX1" fmla="*/ 3050 w 11781"/>
                  <a:gd name="connsiteY1" fmla="*/ 191742 h 191741"/>
                  <a:gd name="connsiteX2" fmla="*/ 0 w 11781"/>
                  <a:gd name="connsiteY2" fmla="*/ 191622 h 191741"/>
                  <a:gd name="connsiteX3" fmla="*/ 8791 w 11781"/>
                  <a:gd name="connsiteY3" fmla="*/ 0 h 191741"/>
                </a:gdLst>
                <a:ahLst/>
                <a:cxnLst>
                  <a:cxn ang="0">
                    <a:pos x="connsiteX0" y="connsiteY0"/>
                  </a:cxn>
                  <a:cxn ang="0">
                    <a:pos x="connsiteX1" y="connsiteY1"/>
                  </a:cxn>
                  <a:cxn ang="0">
                    <a:pos x="connsiteX2" y="connsiteY2"/>
                  </a:cxn>
                  <a:cxn ang="0">
                    <a:pos x="connsiteX3" y="connsiteY3"/>
                  </a:cxn>
                </a:cxnLst>
                <a:rect l="l" t="t" r="r" b="b"/>
                <a:pathLst>
                  <a:path w="11781" h="191741">
                    <a:moveTo>
                      <a:pt x="11782" y="120"/>
                    </a:moveTo>
                    <a:lnTo>
                      <a:pt x="3050" y="191742"/>
                    </a:lnTo>
                    <a:lnTo>
                      <a:pt x="0" y="191622"/>
                    </a:lnTo>
                    <a:lnTo>
                      <a:pt x="8791" y="0"/>
                    </a:lnTo>
                    <a:close/>
                  </a:path>
                </a:pathLst>
              </a:custGeom>
              <a:grpFill/>
              <a:ln w="5978" cap="flat">
                <a:noFill/>
                <a:prstDash val="solid"/>
                <a:miter/>
              </a:ln>
            </p:spPr>
            <p:txBody>
              <a:bodyPr rtlCol="0" anchor="ctr"/>
              <a:lstStyle/>
              <a:p>
                <a:endParaRPr lang="en-GB"/>
              </a:p>
            </p:txBody>
          </p:sp>
          <p:sp>
            <p:nvSpPr>
              <p:cNvPr id="3865" name="Vrije vorm: vorm 3864">
                <a:extLst>
                  <a:ext uri="{FF2B5EF4-FFF2-40B4-BE49-F238E27FC236}">
                    <a16:creationId xmlns:a16="http://schemas.microsoft.com/office/drawing/2014/main" id="{9599A11B-FE5C-4E10-97E2-A253E54AC234}"/>
                  </a:ext>
                </a:extLst>
              </p:cNvPr>
              <p:cNvSpPr/>
              <p:nvPr/>
            </p:nvSpPr>
            <p:spPr>
              <a:xfrm>
                <a:off x="6142693" y="1292165"/>
                <a:ext cx="18317" cy="18441"/>
              </a:xfrm>
              <a:custGeom>
                <a:avLst/>
                <a:gdLst>
                  <a:gd name="connsiteX0" fmla="*/ 6 w 18317"/>
                  <a:gd name="connsiteY0" fmla="*/ 8742 h 18441"/>
                  <a:gd name="connsiteX1" fmla="*/ 9575 w 18317"/>
                  <a:gd name="connsiteY1" fmla="*/ 10 h 18441"/>
                  <a:gd name="connsiteX2" fmla="*/ 18307 w 18317"/>
                  <a:gd name="connsiteY2" fmla="*/ 9699 h 18441"/>
                  <a:gd name="connsiteX3" fmla="*/ 8738 w 18317"/>
                  <a:gd name="connsiteY3" fmla="*/ 18431 h 18441"/>
                  <a:gd name="connsiteX4" fmla="*/ 6 w 18317"/>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1">
                    <a:moveTo>
                      <a:pt x="6" y="8742"/>
                    </a:moveTo>
                    <a:cubicBezTo>
                      <a:pt x="245" y="3659"/>
                      <a:pt x="4551" y="-229"/>
                      <a:pt x="9575" y="10"/>
                    </a:cubicBezTo>
                    <a:cubicBezTo>
                      <a:pt x="14659" y="250"/>
                      <a:pt x="18546" y="4616"/>
                      <a:pt x="18307" y="9699"/>
                    </a:cubicBezTo>
                    <a:cubicBezTo>
                      <a:pt x="18068" y="14783"/>
                      <a:pt x="13762" y="18670"/>
                      <a:pt x="8738" y="18431"/>
                    </a:cubicBezTo>
                    <a:cubicBezTo>
                      <a:pt x="3714" y="18132"/>
                      <a:pt x="-174" y="13826"/>
                      <a:pt x="6" y="8742"/>
                    </a:cubicBezTo>
                    <a:close/>
                  </a:path>
                </a:pathLst>
              </a:custGeom>
              <a:grpFill/>
              <a:ln w="5978" cap="flat">
                <a:noFill/>
                <a:prstDash val="solid"/>
                <a:miter/>
              </a:ln>
            </p:spPr>
            <p:txBody>
              <a:bodyPr rtlCol="0" anchor="ctr"/>
              <a:lstStyle/>
              <a:p>
                <a:endParaRPr lang="en-GB"/>
              </a:p>
            </p:txBody>
          </p:sp>
          <p:sp>
            <p:nvSpPr>
              <p:cNvPr id="3866" name="Vrije vorm: vorm 3865">
                <a:extLst>
                  <a:ext uri="{FF2B5EF4-FFF2-40B4-BE49-F238E27FC236}">
                    <a16:creationId xmlns:a16="http://schemas.microsoft.com/office/drawing/2014/main" id="{4FB2A34C-895C-49F7-8561-A3D039926EB7}"/>
                  </a:ext>
                </a:extLst>
              </p:cNvPr>
              <p:cNvSpPr/>
              <p:nvPr/>
            </p:nvSpPr>
            <p:spPr>
              <a:xfrm>
                <a:off x="6134017" y="1482830"/>
                <a:ext cx="18321" cy="18441"/>
              </a:xfrm>
              <a:custGeom>
                <a:avLst/>
                <a:gdLst>
                  <a:gd name="connsiteX0" fmla="*/ 10 w 18321"/>
                  <a:gd name="connsiteY0" fmla="*/ 8742 h 18441"/>
                  <a:gd name="connsiteX1" fmla="*/ 8742 w 18321"/>
                  <a:gd name="connsiteY1" fmla="*/ 18431 h 18441"/>
                  <a:gd name="connsiteX2" fmla="*/ 18311 w 18321"/>
                  <a:gd name="connsiteY2" fmla="*/ 9699 h 18441"/>
                  <a:gd name="connsiteX3" fmla="*/ 9580 w 18321"/>
                  <a:gd name="connsiteY3" fmla="*/ 10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29" y="13826"/>
                      <a:pt x="3718" y="18132"/>
                      <a:pt x="8742" y="18431"/>
                    </a:cubicBezTo>
                    <a:cubicBezTo>
                      <a:pt x="13826" y="18670"/>
                      <a:pt x="18072" y="14783"/>
                      <a:pt x="18311" y="9699"/>
                    </a:cubicBezTo>
                    <a:cubicBezTo>
                      <a:pt x="18551" y="4616"/>
                      <a:pt x="14603" y="309"/>
                      <a:pt x="9580" y="10"/>
                    </a:cubicBezTo>
                    <a:cubicBezTo>
                      <a:pt x="4496" y="-229"/>
                      <a:pt x="249" y="3659"/>
                      <a:pt x="10" y="8742"/>
                    </a:cubicBezTo>
                    <a:close/>
                  </a:path>
                </a:pathLst>
              </a:custGeom>
              <a:grpFill/>
              <a:ln w="5978" cap="flat">
                <a:noFill/>
                <a:prstDash val="solid"/>
                <a:miter/>
              </a:ln>
            </p:spPr>
            <p:txBody>
              <a:bodyPr rtlCol="0" anchor="ctr"/>
              <a:lstStyle/>
              <a:p>
                <a:endParaRPr lang="en-GB"/>
              </a:p>
            </p:txBody>
          </p:sp>
        </p:grpSp>
        <p:grpSp>
          <p:nvGrpSpPr>
            <p:cNvPr id="508" name="Graphic 3">
              <a:extLst>
                <a:ext uri="{FF2B5EF4-FFF2-40B4-BE49-F238E27FC236}">
                  <a16:creationId xmlns:a16="http://schemas.microsoft.com/office/drawing/2014/main" id="{2C32B43D-AE2D-4E3B-AF7B-11566FA9C9DC}"/>
                </a:ext>
              </a:extLst>
            </p:cNvPr>
            <p:cNvGrpSpPr/>
            <p:nvPr/>
          </p:nvGrpSpPr>
          <p:grpSpPr>
            <a:xfrm>
              <a:off x="7192788" y="4658723"/>
              <a:ext cx="107762" cy="116005"/>
              <a:chOff x="7192788" y="4658723"/>
              <a:chExt cx="107762" cy="116005"/>
            </a:xfrm>
            <a:grpFill/>
          </p:grpSpPr>
          <p:sp>
            <p:nvSpPr>
              <p:cNvPr id="3861" name="Vrije vorm: vorm 3860">
                <a:extLst>
                  <a:ext uri="{FF2B5EF4-FFF2-40B4-BE49-F238E27FC236}">
                    <a16:creationId xmlns:a16="http://schemas.microsoft.com/office/drawing/2014/main" id="{48EA1A19-C261-456D-ACFB-727A30626B45}"/>
                  </a:ext>
                </a:extLst>
              </p:cNvPr>
              <p:cNvSpPr/>
              <p:nvPr/>
            </p:nvSpPr>
            <p:spPr>
              <a:xfrm>
                <a:off x="7200510" y="4666558"/>
                <a:ext cx="92282" cy="100296"/>
              </a:xfrm>
              <a:custGeom>
                <a:avLst/>
                <a:gdLst>
                  <a:gd name="connsiteX0" fmla="*/ 92283 w 92282"/>
                  <a:gd name="connsiteY0" fmla="*/ 98203 h 100296"/>
                  <a:gd name="connsiteX1" fmla="*/ 90070 w 92282"/>
                  <a:gd name="connsiteY1" fmla="*/ 100297 h 100296"/>
                  <a:gd name="connsiteX2" fmla="*/ 0 w 92282"/>
                  <a:gd name="connsiteY2" fmla="*/ 2093 h 100296"/>
                  <a:gd name="connsiteX3" fmla="*/ 2273 w 92282"/>
                  <a:gd name="connsiteY3" fmla="*/ 0 h 100296"/>
                </a:gdLst>
                <a:ahLst/>
                <a:cxnLst>
                  <a:cxn ang="0">
                    <a:pos x="connsiteX0" y="connsiteY0"/>
                  </a:cxn>
                  <a:cxn ang="0">
                    <a:pos x="connsiteX1" y="connsiteY1"/>
                  </a:cxn>
                  <a:cxn ang="0">
                    <a:pos x="connsiteX2" y="connsiteY2"/>
                  </a:cxn>
                  <a:cxn ang="0">
                    <a:pos x="connsiteX3" y="connsiteY3"/>
                  </a:cxn>
                </a:cxnLst>
                <a:rect l="l" t="t" r="r" b="b"/>
                <a:pathLst>
                  <a:path w="92282" h="100296">
                    <a:moveTo>
                      <a:pt x="92283" y="98203"/>
                    </a:moveTo>
                    <a:lnTo>
                      <a:pt x="90070" y="100297"/>
                    </a:lnTo>
                    <a:lnTo>
                      <a:pt x="0" y="2093"/>
                    </a:lnTo>
                    <a:lnTo>
                      <a:pt x="2273" y="0"/>
                    </a:lnTo>
                    <a:close/>
                  </a:path>
                </a:pathLst>
              </a:custGeom>
              <a:grpFill/>
              <a:ln w="5978" cap="flat">
                <a:noFill/>
                <a:prstDash val="solid"/>
                <a:miter/>
              </a:ln>
            </p:spPr>
            <p:txBody>
              <a:bodyPr rtlCol="0" anchor="ctr"/>
              <a:lstStyle/>
              <a:p>
                <a:endParaRPr lang="en-GB"/>
              </a:p>
            </p:txBody>
          </p:sp>
          <p:sp>
            <p:nvSpPr>
              <p:cNvPr id="3862" name="Vrije vorm: vorm 3861">
                <a:extLst>
                  <a:ext uri="{FF2B5EF4-FFF2-40B4-BE49-F238E27FC236}">
                    <a16:creationId xmlns:a16="http://schemas.microsoft.com/office/drawing/2014/main" id="{CE47CFE4-1FA5-4014-934E-AA24E69F826F}"/>
                  </a:ext>
                </a:extLst>
              </p:cNvPr>
              <p:cNvSpPr/>
              <p:nvPr/>
            </p:nvSpPr>
            <p:spPr>
              <a:xfrm>
                <a:off x="7282223" y="4756268"/>
                <a:ext cx="18327" cy="18460"/>
              </a:xfrm>
              <a:custGeom>
                <a:avLst/>
                <a:gdLst>
                  <a:gd name="connsiteX0" fmla="*/ 15892 w 18327"/>
                  <a:gd name="connsiteY0" fmla="*/ 2991 h 18460"/>
                  <a:gd name="connsiteX1" fmla="*/ 15413 w 18327"/>
                  <a:gd name="connsiteY1" fmla="*/ 16029 h 18460"/>
                  <a:gd name="connsiteX2" fmla="*/ 2435 w 18327"/>
                  <a:gd name="connsiteY2" fmla="*/ 15491 h 18460"/>
                  <a:gd name="connsiteX3" fmla="*/ 2914 w 18327"/>
                  <a:gd name="connsiteY3" fmla="*/ 2453 h 18460"/>
                  <a:gd name="connsiteX4" fmla="*/ 15892 w 18327"/>
                  <a:gd name="connsiteY4" fmla="*/ 2991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0">
                    <a:moveTo>
                      <a:pt x="15892" y="2991"/>
                    </a:moveTo>
                    <a:cubicBezTo>
                      <a:pt x="19301" y="6759"/>
                      <a:pt x="19121" y="12560"/>
                      <a:pt x="15413" y="16029"/>
                    </a:cubicBezTo>
                    <a:cubicBezTo>
                      <a:pt x="11705" y="19498"/>
                      <a:pt x="5904" y="19199"/>
                      <a:pt x="2435" y="15491"/>
                    </a:cubicBezTo>
                    <a:cubicBezTo>
                      <a:pt x="-974" y="11723"/>
                      <a:pt x="-794" y="5921"/>
                      <a:pt x="2914" y="2453"/>
                    </a:cubicBezTo>
                    <a:cubicBezTo>
                      <a:pt x="6622" y="-1016"/>
                      <a:pt x="12423" y="-777"/>
                      <a:pt x="15892" y="2991"/>
                    </a:cubicBezTo>
                    <a:close/>
                  </a:path>
                </a:pathLst>
              </a:custGeom>
              <a:grpFill/>
              <a:ln w="5978" cap="flat">
                <a:noFill/>
                <a:prstDash val="solid"/>
                <a:miter/>
              </a:ln>
            </p:spPr>
            <p:txBody>
              <a:bodyPr rtlCol="0" anchor="ctr"/>
              <a:lstStyle/>
              <a:p>
                <a:endParaRPr lang="en-GB"/>
              </a:p>
            </p:txBody>
          </p:sp>
          <p:sp>
            <p:nvSpPr>
              <p:cNvPr id="3863" name="Vrije vorm: vorm 3862">
                <a:extLst>
                  <a:ext uri="{FF2B5EF4-FFF2-40B4-BE49-F238E27FC236}">
                    <a16:creationId xmlns:a16="http://schemas.microsoft.com/office/drawing/2014/main" id="{C4130F83-21B8-44FE-BC76-762C6AD1B22F}"/>
                  </a:ext>
                </a:extLst>
              </p:cNvPr>
              <p:cNvSpPr/>
              <p:nvPr/>
            </p:nvSpPr>
            <p:spPr>
              <a:xfrm>
                <a:off x="7192788" y="4658723"/>
                <a:ext cx="18329" cy="18481"/>
              </a:xfrm>
              <a:custGeom>
                <a:avLst/>
                <a:gdLst>
                  <a:gd name="connsiteX0" fmla="*/ 15915 w 18329"/>
                  <a:gd name="connsiteY0" fmla="*/ 2991 h 18481"/>
                  <a:gd name="connsiteX1" fmla="*/ 2937 w 18329"/>
                  <a:gd name="connsiteY1" fmla="*/ 2452 h 18481"/>
                  <a:gd name="connsiteX2" fmla="*/ 2459 w 18329"/>
                  <a:gd name="connsiteY2" fmla="*/ 15491 h 18481"/>
                  <a:gd name="connsiteX3" fmla="*/ 15437 w 18329"/>
                  <a:gd name="connsiteY3" fmla="*/ 16029 h 18481"/>
                  <a:gd name="connsiteX4" fmla="*/ 15915 w 18329"/>
                  <a:gd name="connsiteY4" fmla="*/ 2991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81">
                    <a:moveTo>
                      <a:pt x="15915" y="2991"/>
                    </a:moveTo>
                    <a:cubicBezTo>
                      <a:pt x="12507" y="-777"/>
                      <a:pt x="6705" y="-1016"/>
                      <a:pt x="2937" y="2452"/>
                    </a:cubicBezTo>
                    <a:cubicBezTo>
                      <a:pt x="-771" y="5921"/>
                      <a:pt x="-1010" y="11723"/>
                      <a:pt x="2459" y="15491"/>
                    </a:cubicBezTo>
                    <a:cubicBezTo>
                      <a:pt x="5868" y="19258"/>
                      <a:pt x="11669" y="19498"/>
                      <a:pt x="15437" y="16029"/>
                    </a:cubicBezTo>
                    <a:cubicBezTo>
                      <a:pt x="19085" y="12560"/>
                      <a:pt x="19324" y="6759"/>
                      <a:pt x="15915" y="2991"/>
                    </a:cubicBezTo>
                    <a:close/>
                  </a:path>
                </a:pathLst>
              </a:custGeom>
              <a:grpFill/>
              <a:ln w="5978" cap="flat">
                <a:noFill/>
                <a:prstDash val="solid"/>
                <a:miter/>
              </a:ln>
            </p:spPr>
            <p:txBody>
              <a:bodyPr rtlCol="0" anchor="ctr"/>
              <a:lstStyle/>
              <a:p>
                <a:endParaRPr lang="en-GB"/>
              </a:p>
            </p:txBody>
          </p:sp>
        </p:grpSp>
        <p:grpSp>
          <p:nvGrpSpPr>
            <p:cNvPr id="509" name="Graphic 3">
              <a:extLst>
                <a:ext uri="{FF2B5EF4-FFF2-40B4-BE49-F238E27FC236}">
                  <a16:creationId xmlns:a16="http://schemas.microsoft.com/office/drawing/2014/main" id="{B6D8758B-B47A-4B25-AC6A-97893B7DC5EA}"/>
                </a:ext>
              </a:extLst>
            </p:cNvPr>
            <p:cNvGrpSpPr/>
            <p:nvPr/>
          </p:nvGrpSpPr>
          <p:grpSpPr>
            <a:xfrm>
              <a:off x="7278011" y="4802840"/>
              <a:ext cx="29159" cy="30742"/>
              <a:chOff x="7278011" y="4802840"/>
              <a:chExt cx="29159" cy="30742"/>
            </a:xfrm>
            <a:grpFill/>
          </p:grpSpPr>
          <p:sp>
            <p:nvSpPr>
              <p:cNvPr id="3859" name="Vrije vorm: vorm 3858">
                <a:extLst>
                  <a:ext uri="{FF2B5EF4-FFF2-40B4-BE49-F238E27FC236}">
                    <a16:creationId xmlns:a16="http://schemas.microsoft.com/office/drawing/2014/main" id="{AAE229A0-6439-4B38-99CE-4B7668FF38C7}"/>
                  </a:ext>
                </a:extLst>
              </p:cNvPr>
              <p:cNvSpPr/>
              <p:nvPr/>
            </p:nvSpPr>
            <p:spPr>
              <a:xfrm>
                <a:off x="7288880" y="4815160"/>
                <a:ext cx="18289" cy="18422"/>
              </a:xfrm>
              <a:custGeom>
                <a:avLst/>
                <a:gdLst>
                  <a:gd name="connsiteX0" fmla="*/ 2297 w 18289"/>
                  <a:gd name="connsiteY0" fmla="*/ 15270 h 18422"/>
                  <a:gd name="connsiteX1" fmla="*/ 3075 w 18289"/>
                  <a:gd name="connsiteY1" fmla="*/ 2291 h 18422"/>
                  <a:gd name="connsiteX2" fmla="*/ 15993 w 18289"/>
                  <a:gd name="connsiteY2" fmla="*/ 3129 h 18422"/>
                  <a:gd name="connsiteX3" fmla="*/ 15215 w 18289"/>
                  <a:gd name="connsiteY3" fmla="*/ 16107 h 18422"/>
                  <a:gd name="connsiteX4" fmla="*/ 2297 w 18289"/>
                  <a:gd name="connsiteY4" fmla="*/ 15270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22">
                    <a:moveTo>
                      <a:pt x="2297" y="15270"/>
                    </a:moveTo>
                    <a:cubicBezTo>
                      <a:pt x="-1052" y="11442"/>
                      <a:pt x="-693" y="5641"/>
                      <a:pt x="3075" y="2291"/>
                    </a:cubicBezTo>
                    <a:cubicBezTo>
                      <a:pt x="6843" y="-1058"/>
                      <a:pt x="12644" y="-699"/>
                      <a:pt x="15993" y="3129"/>
                    </a:cubicBezTo>
                    <a:cubicBezTo>
                      <a:pt x="19342" y="6956"/>
                      <a:pt x="18983" y="12758"/>
                      <a:pt x="15215" y="16107"/>
                    </a:cubicBezTo>
                    <a:cubicBezTo>
                      <a:pt x="11447" y="19516"/>
                      <a:pt x="5646" y="19097"/>
                      <a:pt x="2297" y="15270"/>
                    </a:cubicBezTo>
                    <a:close/>
                  </a:path>
                </a:pathLst>
              </a:custGeom>
              <a:grpFill/>
              <a:ln w="5978" cap="flat">
                <a:noFill/>
                <a:prstDash val="solid"/>
                <a:miter/>
              </a:ln>
            </p:spPr>
            <p:txBody>
              <a:bodyPr rtlCol="0" anchor="ctr"/>
              <a:lstStyle/>
              <a:p>
                <a:endParaRPr lang="en-GB"/>
              </a:p>
            </p:txBody>
          </p:sp>
          <p:sp>
            <p:nvSpPr>
              <p:cNvPr id="3860" name="Vrije vorm: vorm 3859">
                <a:extLst>
                  <a:ext uri="{FF2B5EF4-FFF2-40B4-BE49-F238E27FC236}">
                    <a16:creationId xmlns:a16="http://schemas.microsoft.com/office/drawing/2014/main" id="{81075A28-041E-4D80-8ECA-FDB9E03FF58C}"/>
                  </a:ext>
                </a:extLst>
              </p:cNvPr>
              <p:cNvSpPr/>
              <p:nvPr/>
            </p:nvSpPr>
            <p:spPr>
              <a:xfrm>
                <a:off x="7278011" y="4802840"/>
                <a:ext cx="18334" cy="18398"/>
              </a:xfrm>
              <a:custGeom>
                <a:avLst/>
                <a:gdLst>
                  <a:gd name="connsiteX0" fmla="*/ 2342 w 18334"/>
                  <a:gd name="connsiteY0" fmla="*/ 15270 h 18398"/>
                  <a:gd name="connsiteX1" fmla="*/ 15260 w 18334"/>
                  <a:gd name="connsiteY1" fmla="*/ 16107 h 18398"/>
                  <a:gd name="connsiteX2" fmla="*/ 16038 w 18334"/>
                  <a:gd name="connsiteY2" fmla="*/ 3129 h 18398"/>
                  <a:gd name="connsiteX3" fmla="*/ 3119 w 18334"/>
                  <a:gd name="connsiteY3" fmla="*/ 2291 h 18398"/>
                  <a:gd name="connsiteX4" fmla="*/ 2342 w 18334"/>
                  <a:gd name="connsiteY4" fmla="*/ 1527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98">
                    <a:moveTo>
                      <a:pt x="2342" y="15270"/>
                    </a:moveTo>
                    <a:cubicBezTo>
                      <a:pt x="5691" y="19097"/>
                      <a:pt x="11492" y="19456"/>
                      <a:pt x="15260" y="16107"/>
                    </a:cubicBezTo>
                    <a:cubicBezTo>
                      <a:pt x="19028" y="12758"/>
                      <a:pt x="19387" y="6897"/>
                      <a:pt x="16038" y="3129"/>
                    </a:cubicBezTo>
                    <a:cubicBezTo>
                      <a:pt x="12688" y="-699"/>
                      <a:pt x="6887" y="-1058"/>
                      <a:pt x="3119" y="2291"/>
                    </a:cubicBezTo>
                    <a:cubicBezTo>
                      <a:pt x="-709" y="5581"/>
                      <a:pt x="-1067" y="11442"/>
                      <a:pt x="2342" y="15270"/>
                    </a:cubicBezTo>
                    <a:close/>
                  </a:path>
                </a:pathLst>
              </a:custGeom>
              <a:grpFill/>
              <a:ln w="5978" cap="flat">
                <a:noFill/>
                <a:prstDash val="solid"/>
                <a:miter/>
              </a:ln>
            </p:spPr>
            <p:txBody>
              <a:bodyPr rtlCol="0" anchor="ctr"/>
              <a:lstStyle/>
              <a:p>
                <a:endParaRPr lang="en-GB"/>
              </a:p>
            </p:txBody>
          </p:sp>
        </p:grpSp>
        <p:grpSp>
          <p:nvGrpSpPr>
            <p:cNvPr id="510" name="Graphic 3">
              <a:extLst>
                <a:ext uri="{FF2B5EF4-FFF2-40B4-BE49-F238E27FC236}">
                  <a16:creationId xmlns:a16="http://schemas.microsoft.com/office/drawing/2014/main" id="{B8942030-FE54-49A3-B227-6876D7824BDF}"/>
                </a:ext>
              </a:extLst>
            </p:cNvPr>
            <p:cNvGrpSpPr/>
            <p:nvPr/>
          </p:nvGrpSpPr>
          <p:grpSpPr>
            <a:xfrm>
              <a:off x="7139631" y="4694496"/>
              <a:ext cx="368522" cy="493554"/>
              <a:chOff x="7139631" y="4694496"/>
              <a:chExt cx="368522" cy="493554"/>
            </a:xfrm>
            <a:grpFill/>
          </p:grpSpPr>
          <p:sp>
            <p:nvSpPr>
              <p:cNvPr id="3856" name="Vrije vorm: vorm 3855">
                <a:extLst>
                  <a:ext uri="{FF2B5EF4-FFF2-40B4-BE49-F238E27FC236}">
                    <a16:creationId xmlns:a16="http://schemas.microsoft.com/office/drawing/2014/main" id="{B82B7C2D-7F57-4A14-8518-84FB82CCA298}"/>
                  </a:ext>
                </a:extLst>
              </p:cNvPr>
              <p:cNvSpPr/>
              <p:nvPr/>
            </p:nvSpPr>
            <p:spPr>
              <a:xfrm>
                <a:off x="7147281" y="4702382"/>
                <a:ext cx="353221" cy="477740"/>
              </a:xfrm>
              <a:custGeom>
                <a:avLst/>
                <a:gdLst>
                  <a:gd name="connsiteX0" fmla="*/ 353222 w 353221"/>
                  <a:gd name="connsiteY0" fmla="*/ 475886 h 477740"/>
                  <a:gd name="connsiteX1" fmla="*/ 350770 w 353221"/>
                  <a:gd name="connsiteY1" fmla="*/ 477740 h 477740"/>
                  <a:gd name="connsiteX2" fmla="*/ 0 w 353221"/>
                  <a:gd name="connsiteY2" fmla="*/ 1794 h 477740"/>
                  <a:gd name="connsiteX3" fmla="*/ 2452 w 353221"/>
                  <a:gd name="connsiteY3" fmla="*/ 0 h 477740"/>
                </a:gdLst>
                <a:ahLst/>
                <a:cxnLst>
                  <a:cxn ang="0">
                    <a:pos x="connsiteX0" y="connsiteY0"/>
                  </a:cxn>
                  <a:cxn ang="0">
                    <a:pos x="connsiteX1" y="connsiteY1"/>
                  </a:cxn>
                  <a:cxn ang="0">
                    <a:pos x="connsiteX2" y="connsiteY2"/>
                  </a:cxn>
                  <a:cxn ang="0">
                    <a:pos x="connsiteX3" y="connsiteY3"/>
                  </a:cxn>
                </a:cxnLst>
                <a:rect l="l" t="t" r="r" b="b"/>
                <a:pathLst>
                  <a:path w="353221" h="477740">
                    <a:moveTo>
                      <a:pt x="353222" y="475886"/>
                    </a:moveTo>
                    <a:lnTo>
                      <a:pt x="350770" y="477740"/>
                    </a:lnTo>
                    <a:lnTo>
                      <a:pt x="0" y="1794"/>
                    </a:lnTo>
                    <a:lnTo>
                      <a:pt x="2452" y="0"/>
                    </a:lnTo>
                    <a:close/>
                  </a:path>
                </a:pathLst>
              </a:custGeom>
              <a:grpFill/>
              <a:ln w="5978" cap="flat">
                <a:noFill/>
                <a:prstDash val="solid"/>
                <a:miter/>
              </a:ln>
            </p:spPr>
            <p:txBody>
              <a:bodyPr rtlCol="0" anchor="ctr"/>
              <a:lstStyle/>
              <a:p>
                <a:endParaRPr lang="en-GB"/>
              </a:p>
            </p:txBody>
          </p:sp>
          <p:sp>
            <p:nvSpPr>
              <p:cNvPr id="3857" name="Vrije vorm: vorm 3856">
                <a:extLst>
                  <a:ext uri="{FF2B5EF4-FFF2-40B4-BE49-F238E27FC236}">
                    <a16:creationId xmlns:a16="http://schemas.microsoft.com/office/drawing/2014/main" id="{2E0D62C0-43AB-4AA1-A411-4E76FE14F42F}"/>
                  </a:ext>
                </a:extLst>
              </p:cNvPr>
              <p:cNvSpPr/>
              <p:nvPr/>
            </p:nvSpPr>
            <p:spPr>
              <a:xfrm>
                <a:off x="7139631" y="4694496"/>
                <a:ext cx="18291" cy="18386"/>
              </a:xfrm>
              <a:custGeom>
                <a:avLst/>
                <a:gdLst>
                  <a:gd name="connsiteX0" fmla="*/ 1790 w 18291"/>
                  <a:gd name="connsiteY0" fmla="*/ 14644 h 18386"/>
                  <a:gd name="connsiteX1" fmla="*/ 3703 w 18291"/>
                  <a:gd name="connsiteY1" fmla="*/ 1786 h 18386"/>
                  <a:gd name="connsiteX2" fmla="*/ 16502 w 18291"/>
                  <a:gd name="connsiteY2" fmla="*/ 3759 h 18386"/>
                  <a:gd name="connsiteX3" fmla="*/ 14588 w 18291"/>
                  <a:gd name="connsiteY3" fmla="*/ 16618 h 18386"/>
                  <a:gd name="connsiteX4" fmla="*/ 1790 w 18291"/>
                  <a:gd name="connsiteY4" fmla="*/ 14644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386">
                    <a:moveTo>
                      <a:pt x="1790" y="14644"/>
                    </a:moveTo>
                    <a:cubicBezTo>
                      <a:pt x="-1201" y="10517"/>
                      <a:pt x="-363" y="4776"/>
                      <a:pt x="3703" y="1786"/>
                    </a:cubicBezTo>
                    <a:cubicBezTo>
                      <a:pt x="7770" y="-1205"/>
                      <a:pt x="13512" y="-368"/>
                      <a:pt x="16502" y="3759"/>
                    </a:cubicBezTo>
                    <a:cubicBezTo>
                      <a:pt x="19492" y="7826"/>
                      <a:pt x="18655" y="13627"/>
                      <a:pt x="14588" y="16618"/>
                    </a:cubicBezTo>
                    <a:cubicBezTo>
                      <a:pt x="10581" y="19608"/>
                      <a:pt x="4840" y="18711"/>
                      <a:pt x="1790" y="14644"/>
                    </a:cubicBezTo>
                    <a:close/>
                  </a:path>
                </a:pathLst>
              </a:custGeom>
              <a:grpFill/>
              <a:ln w="5978" cap="flat">
                <a:noFill/>
                <a:prstDash val="solid"/>
                <a:miter/>
              </a:ln>
            </p:spPr>
            <p:txBody>
              <a:bodyPr rtlCol="0" anchor="ctr"/>
              <a:lstStyle/>
              <a:p>
                <a:endParaRPr lang="en-GB"/>
              </a:p>
            </p:txBody>
          </p:sp>
          <p:sp>
            <p:nvSpPr>
              <p:cNvPr id="3858" name="Vrije vorm: vorm 3857">
                <a:extLst>
                  <a:ext uri="{FF2B5EF4-FFF2-40B4-BE49-F238E27FC236}">
                    <a16:creationId xmlns:a16="http://schemas.microsoft.com/office/drawing/2014/main" id="{D1EB8FF9-9EF3-4F18-A935-365107D9EAEE}"/>
                  </a:ext>
                </a:extLst>
              </p:cNvPr>
              <p:cNvSpPr/>
              <p:nvPr/>
            </p:nvSpPr>
            <p:spPr>
              <a:xfrm>
                <a:off x="7489836" y="5169682"/>
                <a:ext cx="18317" cy="18369"/>
              </a:xfrm>
              <a:custGeom>
                <a:avLst/>
                <a:gdLst>
                  <a:gd name="connsiteX0" fmla="*/ 1816 w 18317"/>
                  <a:gd name="connsiteY0" fmla="*/ 14627 h 18369"/>
                  <a:gd name="connsiteX1" fmla="*/ 14614 w 18317"/>
                  <a:gd name="connsiteY1" fmla="*/ 16601 h 18369"/>
                  <a:gd name="connsiteX2" fmla="*/ 16528 w 18317"/>
                  <a:gd name="connsiteY2" fmla="*/ 3742 h 18369"/>
                  <a:gd name="connsiteX3" fmla="*/ 3729 w 18317"/>
                  <a:gd name="connsiteY3" fmla="*/ 1768 h 18369"/>
                  <a:gd name="connsiteX4" fmla="*/ 1816 w 18317"/>
                  <a:gd name="connsiteY4" fmla="*/ 14627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69">
                    <a:moveTo>
                      <a:pt x="1816" y="14627"/>
                    </a:moveTo>
                    <a:cubicBezTo>
                      <a:pt x="4806" y="18694"/>
                      <a:pt x="10547" y="19591"/>
                      <a:pt x="14614" y="16601"/>
                    </a:cubicBezTo>
                    <a:cubicBezTo>
                      <a:pt x="18681" y="13610"/>
                      <a:pt x="19518" y="7809"/>
                      <a:pt x="16528" y="3742"/>
                    </a:cubicBezTo>
                    <a:cubicBezTo>
                      <a:pt x="13538" y="-325"/>
                      <a:pt x="7796" y="-1222"/>
                      <a:pt x="3729" y="1768"/>
                    </a:cubicBezTo>
                    <a:cubicBezTo>
                      <a:pt x="-338" y="4759"/>
                      <a:pt x="-1235" y="10500"/>
                      <a:pt x="1816" y="14627"/>
                    </a:cubicBezTo>
                    <a:close/>
                  </a:path>
                </a:pathLst>
              </a:custGeom>
              <a:grpFill/>
              <a:ln w="5978" cap="flat">
                <a:noFill/>
                <a:prstDash val="solid"/>
                <a:miter/>
              </a:ln>
            </p:spPr>
            <p:txBody>
              <a:bodyPr rtlCol="0" anchor="ctr"/>
              <a:lstStyle/>
              <a:p>
                <a:endParaRPr lang="en-GB"/>
              </a:p>
            </p:txBody>
          </p:sp>
        </p:grpSp>
        <p:grpSp>
          <p:nvGrpSpPr>
            <p:cNvPr id="511" name="Graphic 3">
              <a:extLst>
                <a:ext uri="{FF2B5EF4-FFF2-40B4-BE49-F238E27FC236}">
                  <a16:creationId xmlns:a16="http://schemas.microsoft.com/office/drawing/2014/main" id="{2FDA1706-DBE4-47E4-BED8-7787B35130F4}"/>
                </a:ext>
              </a:extLst>
            </p:cNvPr>
            <p:cNvGrpSpPr/>
            <p:nvPr/>
          </p:nvGrpSpPr>
          <p:grpSpPr>
            <a:xfrm>
              <a:off x="6193265" y="1530654"/>
              <a:ext cx="26797" cy="121054"/>
              <a:chOff x="6193265" y="1530654"/>
              <a:chExt cx="26797" cy="121054"/>
            </a:xfrm>
            <a:grpFill/>
          </p:grpSpPr>
          <p:sp>
            <p:nvSpPr>
              <p:cNvPr id="3853" name="Vrije vorm: vorm 3852">
                <a:extLst>
                  <a:ext uri="{FF2B5EF4-FFF2-40B4-BE49-F238E27FC236}">
                    <a16:creationId xmlns:a16="http://schemas.microsoft.com/office/drawing/2014/main" id="{D5F9F782-D014-43DF-9D68-CEE1969E3D33}"/>
                  </a:ext>
                </a:extLst>
              </p:cNvPr>
              <p:cNvSpPr/>
              <p:nvPr/>
            </p:nvSpPr>
            <p:spPr>
              <a:xfrm>
                <a:off x="6200892" y="1539239"/>
                <a:ext cx="11602" cy="103885"/>
              </a:xfrm>
              <a:custGeom>
                <a:avLst/>
                <a:gdLst>
                  <a:gd name="connsiteX0" fmla="*/ 11603 w 11602"/>
                  <a:gd name="connsiteY0" fmla="*/ 299 h 103885"/>
                  <a:gd name="connsiteX1" fmla="*/ 2990 w 11602"/>
                  <a:gd name="connsiteY1" fmla="*/ 103885 h 103885"/>
                  <a:gd name="connsiteX2" fmla="*/ 0 w 11602"/>
                  <a:gd name="connsiteY2" fmla="*/ 103586 h 103885"/>
                  <a:gd name="connsiteX3" fmla="*/ 8552 w 11602"/>
                  <a:gd name="connsiteY3" fmla="*/ 0 h 103885"/>
                </a:gdLst>
                <a:ahLst/>
                <a:cxnLst>
                  <a:cxn ang="0">
                    <a:pos x="connsiteX0" y="connsiteY0"/>
                  </a:cxn>
                  <a:cxn ang="0">
                    <a:pos x="connsiteX1" y="connsiteY1"/>
                  </a:cxn>
                  <a:cxn ang="0">
                    <a:pos x="connsiteX2" y="connsiteY2"/>
                  </a:cxn>
                  <a:cxn ang="0">
                    <a:pos x="connsiteX3" y="connsiteY3"/>
                  </a:cxn>
                </a:cxnLst>
                <a:rect l="l" t="t" r="r" b="b"/>
                <a:pathLst>
                  <a:path w="11602" h="103885">
                    <a:moveTo>
                      <a:pt x="11603" y="299"/>
                    </a:moveTo>
                    <a:lnTo>
                      <a:pt x="2990" y="103885"/>
                    </a:lnTo>
                    <a:lnTo>
                      <a:pt x="0" y="103586"/>
                    </a:lnTo>
                    <a:lnTo>
                      <a:pt x="8552" y="0"/>
                    </a:lnTo>
                    <a:close/>
                  </a:path>
                </a:pathLst>
              </a:custGeom>
              <a:grpFill/>
              <a:ln w="5978" cap="flat">
                <a:noFill/>
                <a:prstDash val="solid"/>
                <a:miter/>
              </a:ln>
            </p:spPr>
            <p:txBody>
              <a:bodyPr rtlCol="0" anchor="ctr"/>
              <a:lstStyle/>
              <a:p>
                <a:endParaRPr lang="en-GB"/>
              </a:p>
            </p:txBody>
          </p:sp>
          <p:sp>
            <p:nvSpPr>
              <p:cNvPr id="3854" name="Vrije vorm: vorm 3853">
                <a:extLst>
                  <a:ext uri="{FF2B5EF4-FFF2-40B4-BE49-F238E27FC236}">
                    <a16:creationId xmlns:a16="http://schemas.microsoft.com/office/drawing/2014/main" id="{9894FD17-D96C-438E-A693-BAE8887CE389}"/>
                  </a:ext>
                </a:extLst>
              </p:cNvPr>
              <p:cNvSpPr/>
              <p:nvPr/>
            </p:nvSpPr>
            <p:spPr>
              <a:xfrm>
                <a:off x="6201757" y="1530654"/>
                <a:ext cx="18304" cy="18425"/>
              </a:xfrm>
              <a:custGeom>
                <a:avLst/>
                <a:gdLst>
                  <a:gd name="connsiteX0" fmla="*/ 32 w 18304"/>
                  <a:gd name="connsiteY0" fmla="*/ 8405 h 18425"/>
                  <a:gd name="connsiteX1" fmla="*/ 9900 w 18304"/>
                  <a:gd name="connsiteY1" fmla="*/ 32 h 18425"/>
                  <a:gd name="connsiteX2" fmla="*/ 18273 w 18304"/>
                  <a:gd name="connsiteY2" fmla="*/ 10020 h 18425"/>
                  <a:gd name="connsiteX3" fmla="*/ 8405 w 18304"/>
                  <a:gd name="connsiteY3" fmla="*/ 18393 h 18425"/>
                  <a:gd name="connsiteX4" fmla="*/ 32 w 1830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32" y="8405"/>
                    </a:moveTo>
                    <a:cubicBezTo>
                      <a:pt x="450" y="3322"/>
                      <a:pt x="4876" y="-386"/>
                      <a:pt x="9900" y="32"/>
                    </a:cubicBezTo>
                    <a:cubicBezTo>
                      <a:pt x="14924" y="451"/>
                      <a:pt x="18692" y="4936"/>
                      <a:pt x="18273" y="10020"/>
                    </a:cubicBezTo>
                    <a:cubicBezTo>
                      <a:pt x="17854" y="15104"/>
                      <a:pt x="13429" y="18812"/>
                      <a:pt x="8405" y="18393"/>
                    </a:cubicBezTo>
                    <a:cubicBezTo>
                      <a:pt x="3381" y="17915"/>
                      <a:pt x="-387" y="13429"/>
                      <a:pt x="32" y="8405"/>
                    </a:cubicBezTo>
                    <a:close/>
                  </a:path>
                </a:pathLst>
              </a:custGeom>
              <a:grpFill/>
              <a:ln w="5978" cap="flat">
                <a:noFill/>
                <a:prstDash val="solid"/>
                <a:miter/>
              </a:ln>
            </p:spPr>
            <p:txBody>
              <a:bodyPr rtlCol="0" anchor="ctr"/>
              <a:lstStyle/>
              <a:p>
                <a:endParaRPr lang="en-GB"/>
              </a:p>
            </p:txBody>
          </p:sp>
          <p:sp>
            <p:nvSpPr>
              <p:cNvPr id="3855" name="Vrije vorm: vorm 3854">
                <a:extLst>
                  <a:ext uri="{FF2B5EF4-FFF2-40B4-BE49-F238E27FC236}">
                    <a16:creationId xmlns:a16="http://schemas.microsoft.com/office/drawing/2014/main" id="{58AABADC-9DEC-4B74-BB60-483F8A0F3615}"/>
                  </a:ext>
                </a:extLst>
              </p:cNvPr>
              <p:cNvSpPr/>
              <p:nvPr/>
            </p:nvSpPr>
            <p:spPr>
              <a:xfrm>
                <a:off x="6193265" y="1633284"/>
                <a:ext cx="18304" cy="18424"/>
              </a:xfrm>
              <a:custGeom>
                <a:avLst/>
                <a:gdLst>
                  <a:gd name="connsiteX0" fmla="*/ 32 w 18304"/>
                  <a:gd name="connsiteY0" fmla="*/ 8405 h 18424"/>
                  <a:gd name="connsiteX1" fmla="*/ 8405 w 18304"/>
                  <a:gd name="connsiteY1" fmla="*/ 18393 h 18424"/>
                  <a:gd name="connsiteX2" fmla="*/ 18273 w 18304"/>
                  <a:gd name="connsiteY2" fmla="*/ 10020 h 18424"/>
                  <a:gd name="connsiteX3" fmla="*/ 9900 w 18304"/>
                  <a:gd name="connsiteY3" fmla="*/ 32 h 18424"/>
                  <a:gd name="connsiteX4" fmla="*/ 32 w 18304"/>
                  <a:gd name="connsiteY4" fmla="*/ 8405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4">
                    <a:moveTo>
                      <a:pt x="32" y="8405"/>
                    </a:moveTo>
                    <a:cubicBezTo>
                      <a:pt x="-387" y="13488"/>
                      <a:pt x="3381" y="17914"/>
                      <a:pt x="8405" y="18393"/>
                    </a:cubicBezTo>
                    <a:cubicBezTo>
                      <a:pt x="13429" y="18811"/>
                      <a:pt x="17854" y="15103"/>
                      <a:pt x="18273" y="10020"/>
                    </a:cubicBezTo>
                    <a:cubicBezTo>
                      <a:pt x="18692" y="4936"/>
                      <a:pt x="14924" y="510"/>
                      <a:pt x="9900" y="32"/>
                    </a:cubicBezTo>
                    <a:cubicBezTo>
                      <a:pt x="4876" y="-387"/>
                      <a:pt x="450" y="3381"/>
                      <a:pt x="32" y="8405"/>
                    </a:cubicBezTo>
                    <a:close/>
                  </a:path>
                </a:pathLst>
              </a:custGeom>
              <a:grpFill/>
              <a:ln w="5978" cap="flat">
                <a:noFill/>
                <a:prstDash val="solid"/>
                <a:miter/>
              </a:ln>
            </p:spPr>
            <p:txBody>
              <a:bodyPr rtlCol="0" anchor="ctr"/>
              <a:lstStyle/>
              <a:p>
                <a:endParaRPr lang="en-GB"/>
              </a:p>
            </p:txBody>
          </p:sp>
        </p:grpSp>
        <p:grpSp>
          <p:nvGrpSpPr>
            <p:cNvPr id="512" name="Graphic 3">
              <a:extLst>
                <a:ext uri="{FF2B5EF4-FFF2-40B4-BE49-F238E27FC236}">
                  <a16:creationId xmlns:a16="http://schemas.microsoft.com/office/drawing/2014/main" id="{DF2DAA3C-D787-4616-B420-4F429735090C}"/>
                </a:ext>
              </a:extLst>
            </p:cNvPr>
            <p:cNvGrpSpPr/>
            <p:nvPr/>
          </p:nvGrpSpPr>
          <p:grpSpPr>
            <a:xfrm>
              <a:off x="6099337" y="1280985"/>
              <a:ext cx="22672" cy="179851"/>
              <a:chOff x="6099337" y="1280985"/>
              <a:chExt cx="22672" cy="179851"/>
            </a:xfrm>
            <a:grpFill/>
          </p:grpSpPr>
          <p:sp>
            <p:nvSpPr>
              <p:cNvPr id="3850" name="Vrije vorm: vorm 3849">
                <a:extLst>
                  <a:ext uri="{FF2B5EF4-FFF2-40B4-BE49-F238E27FC236}">
                    <a16:creationId xmlns:a16="http://schemas.microsoft.com/office/drawing/2014/main" id="{7EDC7274-6BBC-41AE-BBA9-3600A22E2D68}"/>
                  </a:ext>
                </a:extLst>
              </p:cNvPr>
              <p:cNvSpPr/>
              <p:nvPr/>
            </p:nvSpPr>
            <p:spPr>
              <a:xfrm>
                <a:off x="6106935" y="1289663"/>
                <a:ext cx="7475" cy="162496"/>
              </a:xfrm>
              <a:custGeom>
                <a:avLst/>
                <a:gdLst>
                  <a:gd name="connsiteX0" fmla="*/ 7476 w 7475"/>
                  <a:gd name="connsiteY0" fmla="*/ 120 h 162496"/>
                  <a:gd name="connsiteX1" fmla="*/ 3050 w 7475"/>
                  <a:gd name="connsiteY1" fmla="*/ 162496 h 162496"/>
                  <a:gd name="connsiteX2" fmla="*/ 0 w 7475"/>
                  <a:gd name="connsiteY2" fmla="*/ 162377 h 162496"/>
                  <a:gd name="connsiteX3" fmla="*/ 4426 w 7475"/>
                  <a:gd name="connsiteY3" fmla="*/ 0 h 162496"/>
                </a:gdLst>
                <a:ahLst/>
                <a:cxnLst>
                  <a:cxn ang="0">
                    <a:pos x="connsiteX0" y="connsiteY0"/>
                  </a:cxn>
                  <a:cxn ang="0">
                    <a:pos x="connsiteX1" y="connsiteY1"/>
                  </a:cxn>
                  <a:cxn ang="0">
                    <a:pos x="connsiteX2" y="connsiteY2"/>
                  </a:cxn>
                  <a:cxn ang="0">
                    <a:pos x="connsiteX3" y="connsiteY3"/>
                  </a:cxn>
                </a:cxnLst>
                <a:rect l="l" t="t" r="r" b="b"/>
                <a:pathLst>
                  <a:path w="7475" h="162496">
                    <a:moveTo>
                      <a:pt x="7476" y="120"/>
                    </a:moveTo>
                    <a:lnTo>
                      <a:pt x="3050" y="162496"/>
                    </a:lnTo>
                    <a:lnTo>
                      <a:pt x="0" y="162377"/>
                    </a:lnTo>
                    <a:lnTo>
                      <a:pt x="4426" y="0"/>
                    </a:lnTo>
                    <a:close/>
                  </a:path>
                </a:pathLst>
              </a:custGeom>
              <a:grpFill/>
              <a:ln w="5978" cap="flat">
                <a:noFill/>
                <a:prstDash val="solid"/>
                <a:miter/>
              </a:ln>
            </p:spPr>
            <p:txBody>
              <a:bodyPr rtlCol="0" anchor="ctr"/>
              <a:lstStyle/>
              <a:p>
                <a:endParaRPr lang="en-GB"/>
              </a:p>
            </p:txBody>
          </p:sp>
          <p:sp>
            <p:nvSpPr>
              <p:cNvPr id="3851" name="Vrije vorm: vorm 3850">
                <a:extLst>
                  <a:ext uri="{FF2B5EF4-FFF2-40B4-BE49-F238E27FC236}">
                    <a16:creationId xmlns:a16="http://schemas.microsoft.com/office/drawing/2014/main" id="{440AAA5A-3912-45CB-8590-4A72C6AE80A0}"/>
                  </a:ext>
                </a:extLst>
              </p:cNvPr>
              <p:cNvSpPr/>
              <p:nvPr/>
            </p:nvSpPr>
            <p:spPr>
              <a:xfrm>
                <a:off x="6103702" y="1280985"/>
                <a:ext cx="18306" cy="18432"/>
              </a:xfrm>
              <a:custGeom>
                <a:avLst/>
                <a:gdLst>
                  <a:gd name="connsiteX0" fmla="*/ 3 w 18306"/>
                  <a:gd name="connsiteY0" fmla="*/ 8917 h 18432"/>
                  <a:gd name="connsiteX1" fmla="*/ 9392 w 18306"/>
                  <a:gd name="connsiteY1" fmla="*/ 6 h 18432"/>
                  <a:gd name="connsiteX2" fmla="*/ 18304 w 18306"/>
                  <a:gd name="connsiteY2" fmla="*/ 9515 h 18432"/>
                  <a:gd name="connsiteX3" fmla="*/ 8914 w 18306"/>
                  <a:gd name="connsiteY3" fmla="*/ 1842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22" y="3833"/>
                      <a:pt x="4369" y="-174"/>
                      <a:pt x="9392" y="6"/>
                    </a:cubicBezTo>
                    <a:cubicBezTo>
                      <a:pt x="14476" y="185"/>
                      <a:pt x="18423" y="4432"/>
                      <a:pt x="18304" y="9515"/>
                    </a:cubicBezTo>
                    <a:cubicBezTo>
                      <a:pt x="18184" y="14599"/>
                      <a:pt x="13938" y="18606"/>
                      <a:pt x="8914" y="18426"/>
                    </a:cubicBezTo>
                    <a:cubicBezTo>
                      <a:pt x="3890" y="18247"/>
                      <a:pt x="-117" y="14001"/>
                      <a:pt x="3" y="8917"/>
                    </a:cubicBezTo>
                    <a:close/>
                  </a:path>
                </a:pathLst>
              </a:custGeom>
              <a:grpFill/>
              <a:ln w="5978" cap="flat">
                <a:noFill/>
                <a:prstDash val="solid"/>
                <a:miter/>
              </a:ln>
            </p:spPr>
            <p:txBody>
              <a:bodyPr rtlCol="0" anchor="ctr"/>
              <a:lstStyle/>
              <a:p>
                <a:endParaRPr lang="en-GB"/>
              </a:p>
            </p:txBody>
          </p:sp>
          <p:sp>
            <p:nvSpPr>
              <p:cNvPr id="3852" name="Vrije vorm: vorm 3851">
                <a:extLst>
                  <a:ext uri="{FF2B5EF4-FFF2-40B4-BE49-F238E27FC236}">
                    <a16:creationId xmlns:a16="http://schemas.microsoft.com/office/drawing/2014/main" id="{056B1532-02F5-4C47-8051-14A236DF2A82}"/>
                  </a:ext>
                </a:extLst>
              </p:cNvPr>
              <p:cNvSpPr/>
              <p:nvPr/>
            </p:nvSpPr>
            <p:spPr>
              <a:xfrm>
                <a:off x="6099337" y="1442408"/>
                <a:ext cx="18306" cy="18429"/>
              </a:xfrm>
              <a:custGeom>
                <a:avLst/>
                <a:gdLst>
                  <a:gd name="connsiteX0" fmla="*/ 3 w 18306"/>
                  <a:gd name="connsiteY0" fmla="*/ 8914 h 18429"/>
                  <a:gd name="connsiteX1" fmla="*/ 8914 w 18306"/>
                  <a:gd name="connsiteY1" fmla="*/ 18423 h 18429"/>
                  <a:gd name="connsiteX2" fmla="*/ 18304 w 18306"/>
                  <a:gd name="connsiteY2" fmla="*/ 9512 h 18429"/>
                  <a:gd name="connsiteX3" fmla="*/ 9392 w 18306"/>
                  <a:gd name="connsiteY3" fmla="*/ 3 h 18429"/>
                  <a:gd name="connsiteX4" fmla="*/ 3 w 18306"/>
                  <a:gd name="connsiteY4" fmla="*/ 891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9">
                    <a:moveTo>
                      <a:pt x="3" y="8914"/>
                    </a:moveTo>
                    <a:cubicBezTo>
                      <a:pt x="-117" y="13998"/>
                      <a:pt x="3830" y="18244"/>
                      <a:pt x="8914" y="18423"/>
                    </a:cubicBezTo>
                    <a:cubicBezTo>
                      <a:pt x="13997" y="18603"/>
                      <a:pt x="18184" y="14596"/>
                      <a:pt x="18304" y="9512"/>
                    </a:cubicBezTo>
                    <a:cubicBezTo>
                      <a:pt x="18423" y="4428"/>
                      <a:pt x="14476" y="182"/>
                      <a:pt x="9392" y="3"/>
                    </a:cubicBezTo>
                    <a:cubicBezTo>
                      <a:pt x="4368" y="-117"/>
                      <a:pt x="122" y="3830"/>
                      <a:pt x="3" y="8914"/>
                    </a:cubicBezTo>
                    <a:close/>
                  </a:path>
                </a:pathLst>
              </a:custGeom>
              <a:grpFill/>
              <a:ln w="5978" cap="flat">
                <a:noFill/>
                <a:prstDash val="solid"/>
                <a:miter/>
              </a:ln>
            </p:spPr>
            <p:txBody>
              <a:bodyPr rtlCol="0" anchor="ctr"/>
              <a:lstStyle/>
              <a:p>
                <a:endParaRPr lang="en-GB"/>
              </a:p>
            </p:txBody>
          </p:sp>
        </p:grpSp>
        <p:grpSp>
          <p:nvGrpSpPr>
            <p:cNvPr id="513" name="Graphic 3">
              <a:extLst>
                <a:ext uri="{FF2B5EF4-FFF2-40B4-BE49-F238E27FC236}">
                  <a16:creationId xmlns:a16="http://schemas.microsoft.com/office/drawing/2014/main" id="{A3BEC209-7296-44D4-BE66-1474DBE238BE}"/>
                </a:ext>
              </a:extLst>
            </p:cNvPr>
            <p:cNvGrpSpPr/>
            <p:nvPr/>
          </p:nvGrpSpPr>
          <p:grpSpPr>
            <a:xfrm>
              <a:off x="6155191" y="1478108"/>
              <a:ext cx="68255" cy="269566"/>
              <a:chOff x="6155191" y="1478108"/>
              <a:chExt cx="68255" cy="269566"/>
            </a:xfrm>
            <a:grpFill/>
          </p:grpSpPr>
          <p:sp>
            <p:nvSpPr>
              <p:cNvPr id="3847" name="Vrije vorm: vorm 3846">
                <a:extLst>
                  <a:ext uri="{FF2B5EF4-FFF2-40B4-BE49-F238E27FC236}">
                    <a16:creationId xmlns:a16="http://schemas.microsoft.com/office/drawing/2014/main" id="{D8DCB4B5-FF69-4A8E-99A1-E2AE0794BACA}"/>
                  </a:ext>
                </a:extLst>
              </p:cNvPr>
              <p:cNvSpPr/>
              <p:nvPr/>
            </p:nvSpPr>
            <p:spPr>
              <a:xfrm>
                <a:off x="6162735" y="1486608"/>
                <a:ext cx="53108" cy="252625"/>
              </a:xfrm>
              <a:custGeom>
                <a:avLst/>
                <a:gdLst>
                  <a:gd name="connsiteX0" fmla="*/ 53109 w 53108"/>
                  <a:gd name="connsiteY0" fmla="*/ 598 h 252625"/>
                  <a:gd name="connsiteX1" fmla="*/ 2990 w 53108"/>
                  <a:gd name="connsiteY1" fmla="*/ 252626 h 252625"/>
                  <a:gd name="connsiteX2" fmla="*/ 0 w 53108"/>
                  <a:gd name="connsiteY2" fmla="*/ 252028 h 252625"/>
                  <a:gd name="connsiteX3" fmla="*/ 50118 w 53108"/>
                  <a:gd name="connsiteY3" fmla="*/ 0 h 252625"/>
                </a:gdLst>
                <a:ahLst/>
                <a:cxnLst>
                  <a:cxn ang="0">
                    <a:pos x="connsiteX0" y="connsiteY0"/>
                  </a:cxn>
                  <a:cxn ang="0">
                    <a:pos x="connsiteX1" y="connsiteY1"/>
                  </a:cxn>
                  <a:cxn ang="0">
                    <a:pos x="connsiteX2" y="connsiteY2"/>
                  </a:cxn>
                  <a:cxn ang="0">
                    <a:pos x="connsiteX3" y="connsiteY3"/>
                  </a:cxn>
                </a:cxnLst>
                <a:rect l="l" t="t" r="r" b="b"/>
                <a:pathLst>
                  <a:path w="53108" h="252625">
                    <a:moveTo>
                      <a:pt x="53109" y="598"/>
                    </a:moveTo>
                    <a:lnTo>
                      <a:pt x="2990" y="252626"/>
                    </a:lnTo>
                    <a:lnTo>
                      <a:pt x="0" y="252028"/>
                    </a:lnTo>
                    <a:lnTo>
                      <a:pt x="50118" y="0"/>
                    </a:lnTo>
                    <a:close/>
                  </a:path>
                </a:pathLst>
              </a:custGeom>
              <a:grpFill/>
              <a:ln w="5978" cap="flat">
                <a:noFill/>
                <a:prstDash val="solid"/>
                <a:miter/>
              </a:ln>
            </p:spPr>
            <p:txBody>
              <a:bodyPr rtlCol="0" anchor="ctr"/>
              <a:lstStyle/>
              <a:p>
                <a:endParaRPr lang="en-GB"/>
              </a:p>
            </p:txBody>
          </p:sp>
          <p:sp>
            <p:nvSpPr>
              <p:cNvPr id="3848" name="Vrije vorm: vorm 3847">
                <a:extLst>
                  <a:ext uri="{FF2B5EF4-FFF2-40B4-BE49-F238E27FC236}">
                    <a16:creationId xmlns:a16="http://schemas.microsoft.com/office/drawing/2014/main" id="{EDB9AB59-E515-47AE-9982-6468A445CB52}"/>
                  </a:ext>
                </a:extLst>
              </p:cNvPr>
              <p:cNvSpPr/>
              <p:nvPr/>
            </p:nvSpPr>
            <p:spPr>
              <a:xfrm>
                <a:off x="6155191" y="1729238"/>
                <a:ext cx="18316" cy="18436"/>
              </a:xfrm>
              <a:custGeom>
                <a:avLst/>
                <a:gdLst>
                  <a:gd name="connsiteX0" fmla="*/ 18129 w 18316"/>
                  <a:gd name="connsiteY0" fmla="*/ 11072 h 18436"/>
                  <a:gd name="connsiteX1" fmla="*/ 7364 w 18316"/>
                  <a:gd name="connsiteY1" fmla="*/ 18249 h 18436"/>
                  <a:gd name="connsiteX2" fmla="*/ 187 w 18316"/>
                  <a:gd name="connsiteY2" fmla="*/ 7364 h 18436"/>
                  <a:gd name="connsiteX3" fmla="*/ 10952 w 18316"/>
                  <a:gd name="connsiteY3" fmla="*/ 187 h 18436"/>
                  <a:gd name="connsiteX4" fmla="*/ 18129 w 18316"/>
                  <a:gd name="connsiteY4" fmla="*/ 1107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18129" y="11072"/>
                    </a:moveTo>
                    <a:cubicBezTo>
                      <a:pt x="17113" y="16036"/>
                      <a:pt x="12328" y="19266"/>
                      <a:pt x="7364" y="18249"/>
                    </a:cubicBezTo>
                    <a:cubicBezTo>
                      <a:pt x="2400" y="17232"/>
                      <a:pt x="-830" y="12388"/>
                      <a:pt x="187" y="7364"/>
                    </a:cubicBezTo>
                    <a:cubicBezTo>
                      <a:pt x="1204" y="2400"/>
                      <a:pt x="5988" y="-830"/>
                      <a:pt x="10952" y="187"/>
                    </a:cubicBezTo>
                    <a:cubicBezTo>
                      <a:pt x="15916" y="1204"/>
                      <a:pt x="19146" y="6108"/>
                      <a:pt x="18129" y="11072"/>
                    </a:cubicBezTo>
                    <a:close/>
                  </a:path>
                </a:pathLst>
              </a:custGeom>
              <a:grpFill/>
              <a:ln w="5978" cap="flat">
                <a:noFill/>
                <a:prstDash val="solid"/>
                <a:miter/>
              </a:ln>
            </p:spPr>
            <p:txBody>
              <a:bodyPr rtlCol="0" anchor="ctr"/>
              <a:lstStyle/>
              <a:p>
                <a:endParaRPr lang="en-GB"/>
              </a:p>
            </p:txBody>
          </p:sp>
          <p:sp>
            <p:nvSpPr>
              <p:cNvPr id="3849" name="Vrije vorm: vorm 3848">
                <a:extLst>
                  <a:ext uri="{FF2B5EF4-FFF2-40B4-BE49-F238E27FC236}">
                    <a16:creationId xmlns:a16="http://schemas.microsoft.com/office/drawing/2014/main" id="{CA8F5E77-F966-47EC-A024-8D1FECE6E248}"/>
                  </a:ext>
                </a:extLst>
              </p:cNvPr>
              <p:cNvSpPr/>
              <p:nvPr/>
            </p:nvSpPr>
            <p:spPr>
              <a:xfrm>
                <a:off x="6205130" y="1478108"/>
                <a:ext cx="18316" cy="18436"/>
              </a:xfrm>
              <a:custGeom>
                <a:avLst/>
                <a:gdLst>
                  <a:gd name="connsiteX0" fmla="*/ 18129 w 18316"/>
                  <a:gd name="connsiteY0" fmla="*/ 11072 h 18436"/>
                  <a:gd name="connsiteX1" fmla="*/ 10953 w 18316"/>
                  <a:gd name="connsiteY1" fmla="*/ 187 h 18436"/>
                  <a:gd name="connsiteX2" fmla="*/ 187 w 18316"/>
                  <a:gd name="connsiteY2" fmla="*/ 7364 h 18436"/>
                  <a:gd name="connsiteX3" fmla="*/ 7364 w 18316"/>
                  <a:gd name="connsiteY3" fmla="*/ 18249 h 18436"/>
                  <a:gd name="connsiteX4" fmla="*/ 18129 w 18316"/>
                  <a:gd name="connsiteY4" fmla="*/ 1107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6">
                    <a:moveTo>
                      <a:pt x="18129" y="11072"/>
                    </a:moveTo>
                    <a:cubicBezTo>
                      <a:pt x="19146" y="6108"/>
                      <a:pt x="15916" y="1204"/>
                      <a:pt x="10953" y="187"/>
                    </a:cubicBezTo>
                    <a:cubicBezTo>
                      <a:pt x="5989" y="-830"/>
                      <a:pt x="1144" y="2400"/>
                      <a:pt x="187" y="7364"/>
                    </a:cubicBezTo>
                    <a:cubicBezTo>
                      <a:pt x="-830" y="12328"/>
                      <a:pt x="2400" y="17232"/>
                      <a:pt x="7364" y="18249"/>
                    </a:cubicBezTo>
                    <a:cubicBezTo>
                      <a:pt x="12328" y="19266"/>
                      <a:pt x="17113" y="16036"/>
                      <a:pt x="18129" y="11072"/>
                    </a:cubicBezTo>
                    <a:close/>
                  </a:path>
                </a:pathLst>
              </a:custGeom>
              <a:grpFill/>
              <a:ln w="5978" cap="flat">
                <a:noFill/>
                <a:prstDash val="solid"/>
                <a:miter/>
              </a:ln>
            </p:spPr>
            <p:txBody>
              <a:bodyPr rtlCol="0" anchor="ctr"/>
              <a:lstStyle/>
              <a:p>
                <a:endParaRPr lang="en-GB"/>
              </a:p>
            </p:txBody>
          </p:sp>
        </p:grpSp>
        <p:grpSp>
          <p:nvGrpSpPr>
            <p:cNvPr id="514" name="Graphic 3">
              <a:extLst>
                <a:ext uri="{FF2B5EF4-FFF2-40B4-BE49-F238E27FC236}">
                  <a16:creationId xmlns:a16="http://schemas.microsoft.com/office/drawing/2014/main" id="{185D8887-893F-4FA1-90DD-07E20E97EB51}"/>
                </a:ext>
              </a:extLst>
            </p:cNvPr>
            <p:cNvGrpSpPr/>
            <p:nvPr/>
          </p:nvGrpSpPr>
          <p:grpSpPr>
            <a:xfrm>
              <a:off x="6216330" y="1669386"/>
              <a:ext cx="24794" cy="81742"/>
              <a:chOff x="6216330" y="1669386"/>
              <a:chExt cx="24794" cy="81742"/>
            </a:xfrm>
            <a:grpFill/>
          </p:grpSpPr>
          <p:sp>
            <p:nvSpPr>
              <p:cNvPr id="3844" name="Vrije vorm: vorm 3843">
                <a:extLst>
                  <a:ext uri="{FF2B5EF4-FFF2-40B4-BE49-F238E27FC236}">
                    <a16:creationId xmlns:a16="http://schemas.microsoft.com/office/drawing/2014/main" id="{BAF80530-1033-4E15-8924-BF7A91FD5E50}"/>
                  </a:ext>
                </a:extLst>
              </p:cNvPr>
              <p:cNvSpPr/>
              <p:nvPr/>
            </p:nvSpPr>
            <p:spPr>
              <a:xfrm>
                <a:off x="6223977" y="1677991"/>
                <a:ext cx="9569" cy="64591"/>
              </a:xfrm>
              <a:custGeom>
                <a:avLst/>
                <a:gdLst>
                  <a:gd name="connsiteX0" fmla="*/ 9569 w 9569"/>
                  <a:gd name="connsiteY0" fmla="*/ 299 h 64591"/>
                  <a:gd name="connsiteX1" fmla="*/ 2990 w 9569"/>
                  <a:gd name="connsiteY1" fmla="*/ 64592 h 64591"/>
                  <a:gd name="connsiteX2" fmla="*/ 0 w 9569"/>
                  <a:gd name="connsiteY2" fmla="*/ 64293 h 64591"/>
                  <a:gd name="connsiteX3" fmla="*/ 6519 w 9569"/>
                  <a:gd name="connsiteY3" fmla="*/ 0 h 64591"/>
                </a:gdLst>
                <a:ahLst/>
                <a:cxnLst>
                  <a:cxn ang="0">
                    <a:pos x="connsiteX0" y="connsiteY0"/>
                  </a:cxn>
                  <a:cxn ang="0">
                    <a:pos x="connsiteX1" y="connsiteY1"/>
                  </a:cxn>
                  <a:cxn ang="0">
                    <a:pos x="connsiteX2" y="connsiteY2"/>
                  </a:cxn>
                  <a:cxn ang="0">
                    <a:pos x="connsiteX3" y="connsiteY3"/>
                  </a:cxn>
                </a:cxnLst>
                <a:rect l="l" t="t" r="r" b="b"/>
                <a:pathLst>
                  <a:path w="9569" h="64591">
                    <a:moveTo>
                      <a:pt x="9569" y="299"/>
                    </a:moveTo>
                    <a:lnTo>
                      <a:pt x="2990" y="64592"/>
                    </a:lnTo>
                    <a:lnTo>
                      <a:pt x="0" y="64293"/>
                    </a:lnTo>
                    <a:lnTo>
                      <a:pt x="6519" y="0"/>
                    </a:lnTo>
                    <a:close/>
                  </a:path>
                </a:pathLst>
              </a:custGeom>
              <a:grpFill/>
              <a:ln w="5978" cap="flat">
                <a:noFill/>
                <a:prstDash val="solid"/>
                <a:miter/>
              </a:ln>
            </p:spPr>
            <p:txBody>
              <a:bodyPr rtlCol="0" anchor="ctr"/>
              <a:lstStyle/>
              <a:p>
                <a:endParaRPr lang="en-GB"/>
              </a:p>
            </p:txBody>
          </p:sp>
          <p:sp>
            <p:nvSpPr>
              <p:cNvPr id="3845" name="Vrije vorm: vorm 3844">
                <a:extLst>
                  <a:ext uri="{FF2B5EF4-FFF2-40B4-BE49-F238E27FC236}">
                    <a16:creationId xmlns:a16="http://schemas.microsoft.com/office/drawing/2014/main" id="{B83E8638-370A-4DAB-AC1B-09C005F705D7}"/>
                  </a:ext>
                </a:extLst>
              </p:cNvPr>
              <p:cNvSpPr/>
              <p:nvPr/>
            </p:nvSpPr>
            <p:spPr>
              <a:xfrm>
                <a:off x="6222799" y="1669386"/>
                <a:ext cx="18325" cy="18406"/>
              </a:xfrm>
              <a:custGeom>
                <a:avLst/>
                <a:gdLst>
                  <a:gd name="connsiteX0" fmla="*/ 42 w 18325"/>
                  <a:gd name="connsiteY0" fmla="*/ 8246 h 18406"/>
                  <a:gd name="connsiteX1" fmla="*/ 10090 w 18325"/>
                  <a:gd name="connsiteY1" fmla="*/ 53 h 18406"/>
                  <a:gd name="connsiteX2" fmla="*/ 18283 w 18325"/>
                  <a:gd name="connsiteY2" fmla="*/ 10160 h 18406"/>
                  <a:gd name="connsiteX3" fmla="*/ 8236 w 18325"/>
                  <a:gd name="connsiteY3" fmla="*/ 18354 h 18406"/>
                  <a:gd name="connsiteX4" fmla="*/ 42 w 18325"/>
                  <a:gd name="connsiteY4" fmla="*/ 824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06">
                    <a:moveTo>
                      <a:pt x="42" y="8246"/>
                    </a:moveTo>
                    <a:cubicBezTo>
                      <a:pt x="580" y="3163"/>
                      <a:pt x="5066" y="-486"/>
                      <a:pt x="10090" y="53"/>
                    </a:cubicBezTo>
                    <a:cubicBezTo>
                      <a:pt x="15113" y="591"/>
                      <a:pt x="18762" y="5136"/>
                      <a:pt x="18283" y="10160"/>
                    </a:cubicBezTo>
                    <a:cubicBezTo>
                      <a:pt x="17745" y="15244"/>
                      <a:pt x="13259" y="18892"/>
                      <a:pt x="8236" y="18354"/>
                    </a:cubicBezTo>
                    <a:cubicBezTo>
                      <a:pt x="3212" y="17815"/>
                      <a:pt x="-436" y="13270"/>
                      <a:pt x="42" y="8246"/>
                    </a:cubicBezTo>
                    <a:close/>
                  </a:path>
                </a:pathLst>
              </a:custGeom>
              <a:grpFill/>
              <a:ln w="5978" cap="flat">
                <a:noFill/>
                <a:prstDash val="solid"/>
                <a:miter/>
              </a:ln>
            </p:spPr>
            <p:txBody>
              <a:bodyPr rtlCol="0" anchor="ctr"/>
              <a:lstStyle/>
              <a:p>
                <a:endParaRPr lang="en-GB"/>
              </a:p>
            </p:txBody>
          </p:sp>
          <p:sp>
            <p:nvSpPr>
              <p:cNvPr id="3846" name="Vrije vorm: vorm 3845">
                <a:extLst>
                  <a:ext uri="{FF2B5EF4-FFF2-40B4-BE49-F238E27FC236}">
                    <a16:creationId xmlns:a16="http://schemas.microsoft.com/office/drawing/2014/main" id="{ECB46709-D7A7-4B07-BB96-A61D5E7FF03F}"/>
                  </a:ext>
                </a:extLst>
              </p:cNvPr>
              <p:cNvSpPr/>
              <p:nvPr/>
            </p:nvSpPr>
            <p:spPr>
              <a:xfrm>
                <a:off x="6216330" y="1732723"/>
                <a:ext cx="18345" cy="18405"/>
              </a:xfrm>
              <a:custGeom>
                <a:avLst/>
                <a:gdLst>
                  <a:gd name="connsiteX0" fmla="*/ 52 w 18345"/>
                  <a:gd name="connsiteY0" fmla="*/ 8246 h 18405"/>
                  <a:gd name="connsiteX1" fmla="*/ 8246 w 18345"/>
                  <a:gd name="connsiteY1" fmla="*/ 18353 h 18405"/>
                  <a:gd name="connsiteX2" fmla="*/ 18293 w 18345"/>
                  <a:gd name="connsiteY2" fmla="*/ 10159 h 18405"/>
                  <a:gd name="connsiteX3" fmla="*/ 10100 w 18345"/>
                  <a:gd name="connsiteY3" fmla="*/ 52 h 18405"/>
                  <a:gd name="connsiteX4" fmla="*/ 52 w 18345"/>
                  <a:gd name="connsiteY4" fmla="*/ 8246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5">
                    <a:moveTo>
                      <a:pt x="52" y="8246"/>
                    </a:moveTo>
                    <a:cubicBezTo>
                      <a:pt x="-486" y="13329"/>
                      <a:pt x="3222" y="17815"/>
                      <a:pt x="8246" y="18353"/>
                    </a:cubicBezTo>
                    <a:cubicBezTo>
                      <a:pt x="13269" y="18891"/>
                      <a:pt x="17755" y="15243"/>
                      <a:pt x="18293" y="10159"/>
                    </a:cubicBezTo>
                    <a:cubicBezTo>
                      <a:pt x="18832" y="5076"/>
                      <a:pt x="15123" y="590"/>
                      <a:pt x="10100" y="52"/>
                    </a:cubicBezTo>
                    <a:cubicBezTo>
                      <a:pt x="5076" y="-486"/>
                      <a:pt x="590" y="3222"/>
                      <a:pt x="52" y="8246"/>
                    </a:cubicBezTo>
                    <a:close/>
                  </a:path>
                </a:pathLst>
              </a:custGeom>
              <a:grpFill/>
              <a:ln w="5978" cap="flat">
                <a:noFill/>
                <a:prstDash val="solid"/>
                <a:miter/>
              </a:ln>
            </p:spPr>
            <p:txBody>
              <a:bodyPr rtlCol="0" anchor="ctr"/>
              <a:lstStyle/>
              <a:p>
                <a:endParaRPr lang="en-GB"/>
              </a:p>
            </p:txBody>
          </p:sp>
        </p:grpSp>
        <p:grpSp>
          <p:nvGrpSpPr>
            <p:cNvPr id="515" name="Graphic 3">
              <a:extLst>
                <a:ext uri="{FF2B5EF4-FFF2-40B4-BE49-F238E27FC236}">
                  <a16:creationId xmlns:a16="http://schemas.microsoft.com/office/drawing/2014/main" id="{C46FCF07-36A2-4267-A114-9911DD5C9730}"/>
                </a:ext>
              </a:extLst>
            </p:cNvPr>
            <p:cNvGrpSpPr/>
            <p:nvPr/>
          </p:nvGrpSpPr>
          <p:grpSpPr>
            <a:xfrm>
              <a:off x="6160446" y="1563557"/>
              <a:ext cx="22520" cy="83597"/>
              <a:chOff x="6160446" y="1563557"/>
              <a:chExt cx="22520" cy="83597"/>
            </a:xfrm>
            <a:grpFill/>
          </p:grpSpPr>
          <p:sp>
            <p:nvSpPr>
              <p:cNvPr id="3841" name="Vrije vorm: vorm 3840">
                <a:extLst>
                  <a:ext uri="{FF2B5EF4-FFF2-40B4-BE49-F238E27FC236}">
                    <a16:creationId xmlns:a16="http://schemas.microsoft.com/office/drawing/2014/main" id="{7F483FDD-2D34-42CB-91B2-E9EFD10A9E8D}"/>
                  </a:ext>
                </a:extLst>
              </p:cNvPr>
              <p:cNvSpPr/>
              <p:nvPr/>
            </p:nvSpPr>
            <p:spPr>
              <a:xfrm>
                <a:off x="6168058" y="1572192"/>
                <a:ext cx="7296" cy="66326"/>
              </a:xfrm>
              <a:custGeom>
                <a:avLst/>
                <a:gdLst>
                  <a:gd name="connsiteX0" fmla="*/ 7297 w 7296"/>
                  <a:gd name="connsiteY0" fmla="*/ 239 h 66326"/>
                  <a:gd name="connsiteX1" fmla="*/ 3050 w 7296"/>
                  <a:gd name="connsiteY1" fmla="*/ 66326 h 66326"/>
                  <a:gd name="connsiteX2" fmla="*/ 0 w 7296"/>
                  <a:gd name="connsiteY2" fmla="*/ 66147 h 66326"/>
                  <a:gd name="connsiteX3" fmla="*/ 4246 w 7296"/>
                  <a:gd name="connsiteY3" fmla="*/ 0 h 66326"/>
                </a:gdLst>
                <a:ahLst/>
                <a:cxnLst>
                  <a:cxn ang="0">
                    <a:pos x="connsiteX0" y="connsiteY0"/>
                  </a:cxn>
                  <a:cxn ang="0">
                    <a:pos x="connsiteX1" y="connsiteY1"/>
                  </a:cxn>
                  <a:cxn ang="0">
                    <a:pos x="connsiteX2" y="connsiteY2"/>
                  </a:cxn>
                  <a:cxn ang="0">
                    <a:pos x="connsiteX3" y="connsiteY3"/>
                  </a:cxn>
                </a:cxnLst>
                <a:rect l="l" t="t" r="r" b="b"/>
                <a:pathLst>
                  <a:path w="7296" h="66326">
                    <a:moveTo>
                      <a:pt x="7297" y="239"/>
                    </a:moveTo>
                    <a:lnTo>
                      <a:pt x="3050" y="66326"/>
                    </a:lnTo>
                    <a:lnTo>
                      <a:pt x="0" y="66147"/>
                    </a:lnTo>
                    <a:lnTo>
                      <a:pt x="4246" y="0"/>
                    </a:lnTo>
                    <a:close/>
                  </a:path>
                </a:pathLst>
              </a:custGeom>
              <a:grpFill/>
              <a:ln w="5978" cap="flat">
                <a:noFill/>
                <a:prstDash val="solid"/>
                <a:miter/>
              </a:ln>
            </p:spPr>
            <p:txBody>
              <a:bodyPr rtlCol="0" anchor="ctr"/>
              <a:lstStyle/>
              <a:p>
                <a:endParaRPr lang="en-GB"/>
              </a:p>
            </p:txBody>
          </p:sp>
          <p:sp>
            <p:nvSpPr>
              <p:cNvPr id="3842" name="Vrije vorm: vorm 3841">
                <a:extLst>
                  <a:ext uri="{FF2B5EF4-FFF2-40B4-BE49-F238E27FC236}">
                    <a16:creationId xmlns:a16="http://schemas.microsoft.com/office/drawing/2014/main" id="{573A401E-047E-4DEB-A3D0-3C761BBD4AC4}"/>
                  </a:ext>
                </a:extLst>
              </p:cNvPr>
              <p:cNvSpPr/>
              <p:nvPr/>
            </p:nvSpPr>
            <p:spPr>
              <a:xfrm>
                <a:off x="6164632" y="1563557"/>
                <a:ext cx="18333" cy="18407"/>
              </a:xfrm>
              <a:custGeom>
                <a:avLst/>
                <a:gdLst>
                  <a:gd name="connsiteX0" fmla="*/ 16 w 18333"/>
                  <a:gd name="connsiteY0" fmla="*/ 8576 h 18407"/>
                  <a:gd name="connsiteX1" fmla="*/ 9765 w 18333"/>
                  <a:gd name="connsiteY1" fmla="*/ 23 h 18407"/>
                  <a:gd name="connsiteX2" fmla="*/ 18317 w 18333"/>
                  <a:gd name="connsiteY2" fmla="*/ 9832 h 18407"/>
                  <a:gd name="connsiteX3" fmla="*/ 8569 w 18333"/>
                  <a:gd name="connsiteY3" fmla="*/ 18384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315" y="3492"/>
                      <a:pt x="4682" y="-336"/>
                      <a:pt x="9765" y="23"/>
                    </a:cubicBezTo>
                    <a:cubicBezTo>
                      <a:pt x="14789" y="382"/>
                      <a:pt x="18616" y="4748"/>
                      <a:pt x="18317" y="9832"/>
                    </a:cubicBezTo>
                    <a:cubicBezTo>
                      <a:pt x="18018" y="14915"/>
                      <a:pt x="13653" y="18743"/>
                      <a:pt x="8569" y="18384"/>
                    </a:cubicBezTo>
                    <a:cubicBezTo>
                      <a:pt x="3545" y="18085"/>
                      <a:pt x="-283" y="13659"/>
                      <a:pt x="16" y="8576"/>
                    </a:cubicBezTo>
                    <a:close/>
                  </a:path>
                </a:pathLst>
              </a:custGeom>
              <a:grpFill/>
              <a:ln w="5978" cap="flat">
                <a:noFill/>
                <a:prstDash val="solid"/>
                <a:miter/>
              </a:ln>
            </p:spPr>
            <p:txBody>
              <a:bodyPr rtlCol="0" anchor="ctr"/>
              <a:lstStyle/>
              <a:p>
                <a:endParaRPr lang="en-GB"/>
              </a:p>
            </p:txBody>
          </p:sp>
          <p:sp>
            <p:nvSpPr>
              <p:cNvPr id="3843" name="Vrije vorm: vorm 3842">
                <a:extLst>
                  <a:ext uri="{FF2B5EF4-FFF2-40B4-BE49-F238E27FC236}">
                    <a16:creationId xmlns:a16="http://schemas.microsoft.com/office/drawing/2014/main" id="{92EA8941-31C2-4F01-A073-368BB516851D}"/>
                  </a:ext>
                </a:extLst>
              </p:cNvPr>
              <p:cNvSpPr/>
              <p:nvPr/>
            </p:nvSpPr>
            <p:spPr>
              <a:xfrm>
                <a:off x="6160446" y="1628747"/>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3" y="18743"/>
                      <a:pt x="17959" y="14915"/>
                      <a:pt x="18317" y="9832"/>
                    </a:cubicBezTo>
                    <a:cubicBezTo>
                      <a:pt x="18617" y="4748"/>
                      <a:pt x="14789" y="382"/>
                      <a:pt x="9765" y="23"/>
                    </a:cubicBezTo>
                    <a:cubicBezTo>
                      <a:pt x="4682" y="-336"/>
                      <a:pt x="316" y="3492"/>
                      <a:pt x="16" y="8576"/>
                    </a:cubicBezTo>
                    <a:close/>
                  </a:path>
                </a:pathLst>
              </a:custGeom>
              <a:grpFill/>
              <a:ln w="5978" cap="flat">
                <a:noFill/>
                <a:prstDash val="solid"/>
                <a:miter/>
              </a:ln>
            </p:spPr>
            <p:txBody>
              <a:bodyPr rtlCol="0" anchor="ctr"/>
              <a:lstStyle/>
              <a:p>
                <a:endParaRPr lang="en-GB"/>
              </a:p>
            </p:txBody>
          </p:sp>
        </p:grpSp>
        <p:grpSp>
          <p:nvGrpSpPr>
            <p:cNvPr id="516" name="Graphic 3">
              <a:extLst>
                <a:ext uri="{FF2B5EF4-FFF2-40B4-BE49-F238E27FC236}">
                  <a16:creationId xmlns:a16="http://schemas.microsoft.com/office/drawing/2014/main" id="{C51B66CB-3325-45D2-B5FF-2F1C19036665}"/>
                </a:ext>
              </a:extLst>
            </p:cNvPr>
            <p:cNvGrpSpPr/>
            <p:nvPr/>
          </p:nvGrpSpPr>
          <p:grpSpPr>
            <a:xfrm>
              <a:off x="6123765" y="1375019"/>
              <a:ext cx="70583" cy="371261"/>
              <a:chOff x="6123765" y="1375019"/>
              <a:chExt cx="70583" cy="371261"/>
            </a:xfrm>
            <a:grpFill/>
          </p:grpSpPr>
          <p:sp>
            <p:nvSpPr>
              <p:cNvPr id="3838" name="Vrije vorm: vorm 3837">
                <a:extLst>
                  <a:ext uri="{FF2B5EF4-FFF2-40B4-BE49-F238E27FC236}">
                    <a16:creationId xmlns:a16="http://schemas.microsoft.com/office/drawing/2014/main" id="{C77A2AAE-9527-415B-B3AB-D103C0723956}"/>
                  </a:ext>
                </a:extLst>
              </p:cNvPr>
              <p:cNvSpPr/>
              <p:nvPr/>
            </p:nvSpPr>
            <p:spPr>
              <a:xfrm>
                <a:off x="6131336" y="1383620"/>
                <a:ext cx="55381" cy="354118"/>
              </a:xfrm>
              <a:custGeom>
                <a:avLst/>
                <a:gdLst>
                  <a:gd name="connsiteX0" fmla="*/ 55382 w 55381"/>
                  <a:gd name="connsiteY0" fmla="*/ 419 h 354118"/>
                  <a:gd name="connsiteX1" fmla="*/ 2990 w 55381"/>
                  <a:gd name="connsiteY1" fmla="*/ 354119 h 354118"/>
                  <a:gd name="connsiteX2" fmla="*/ 0 w 55381"/>
                  <a:gd name="connsiteY2" fmla="*/ 353640 h 354118"/>
                  <a:gd name="connsiteX3" fmla="*/ 52391 w 55381"/>
                  <a:gd name="connsiteY3" fmla="*/ 0 h 354118"/>
                </a:gdLst>
                <a:ahLst/>
                <a:cxnLst>
                  <a:cxn ang="0">
                    <a:pos x="connsiteX0" y="connsiteY0"/>
                  </a:cxn>
                  <a:cxn ang="0">
                    <a:pos x="connsiteX1" y="connsiteY1"/>
                  </a:cxn>
                  <a:cxn ang="0">
                    <a:pos x="connsiteX2" y="connsiteY2"/>
                  </a:cxn>
                  <a:cxn ang="0">
                    <a:pos x="connsiteX3" y="connsiteY3"/>
                  </a:cxn>
                </a:cxnLst>
                <a:rect l="l" t="t" r="r" b="b"/>
                <a:pathLst>
                  <a:path w="55381" h="354118">
                    <a:moveTo>
                      <a:pt x="55382" y="419"/>
                    </a:moveTo>
                    <a:lnTo>
                      <a:pt x="2990" y="354119"/>
                    </a:lnTo>
                    <a:lnTo>
                      <a:pt x="0" y="353640"/>
                    </a:lnTo>
                    <a:lnTo>
                      <a:pt x="52391" y="0"/>
                    </a:lnTo>
                    <a:close/>
                  </a:path>
                </a:pathLst>
              </a:custGeom>
              <a:grpFill/>
              <a:ln w="5978" cap="flat">
                <a:noFill/>
                <a:prstDash val="solid"/>
                <a:miter/>
              </a:ln>
            </p:spPr>
            <p:txBody>
              <a:bodyPr rtlCol="0" anchor="ctr"/>
              <a:lstStyle/>
              <a:p>
                <a:endParaRPr lang="en-GB"/>
              </a:p>
            </p:txBody>
          </p:sp>
          <p:sp>
            <p:nvSpPr>
              <p:cNvPr id="3839" name="Vrije vorm: vorm 3838">
                <a:extLst>
                  <a:ext uri="{FF2B5EF4-FFF2-40B4-BE49-F238E27FC236}">
                    <a16:creationId xmlns:a16="http://schemas.microsoft.com/office/drawing/2014/main" id="{B723CD24-C61D-4183-87D5-163D06C1486D}"/>
                  </a:ext>
                </a:extLst>
              </p:cNvPr>
              <p:cNvSpPr/>
              <p:nvPr/>
            </p:nvSpPr>
            <p:spPr>
              <a:xfrm>
                <a:off x="6123765" y="1727821"/>
                <a:ext cx="18311" cy="18459"/>
              </a:xfrm>
              <a:custGeom>
                <a:avLst/>
                <a:gdLst>
                  <a:gd name="connsiteX0" fmla="*/ 18217 w 18311"/>
                  <a:gd name="connsiteY0" fmla="*/ 10635 h 18459"/>
                  <a:gd name="connsiteX1" fmla="*/ 7811 w 18311"/>
                  <a:gd name="connsiteY1" fmla="*/ 18350 h 18459"/>
                  <a:gd name="connsiteX2" fmla="*/ 95 w 18311"/>
                  <a:gd name="connsiteY2" fmla="*/ 7824 h 18459"/>
                  <a:gd name="connsiteX3" fmla="*/ 10502 w 18311"/>
                  <a:gd name="connsiteY3" fmla="*/ 109 h 18459"/>
                  <a:gd name="connsiteX4" fmla="*/ 18217 w 18311"/>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9">
                    <a:moveTo>
                      <a:pt x="18217" y="10635"/>
                    </a:moveTo>
                    <a:cubicBezTo>
                      <a:pt x="17499" y="15659"/>
                      <a:pt x="12834" y="19128"/>
                      <a:pt x="7811" y="18350"/>
                    </a:cubicBezTo>
                    <a:cubicBezTo>
                      <a:pt x="2787" y="17573"/>
                      <a:pt x="-622" y="12908"/>
                      <a:pt x="95" y="7824"/>
                    </a:cubicBezTo>
                    <a:cubicBezTo>
                      <a:pt x="813" y="2800"/>
                      <a:pt x="5478" y="-669"/>
                      <a:pt x="10502" y="109"/>
                    </a:cubicBezTo>
                    <a:cubicBezTo>
                      <a:pt x="15466" y="886"/>
                      <a:pt x="18935" y="5611"/>
                      <a:pt x="18217" y="10635"/>
                    </a:cubicBezTo>
                    <a:close/>
                  </a:path>
                </a:pathLst>
              </a:custGeom>
              <a:grpFill/>
              <a:ln w="5978" cap="flat">
                <a:noFill/>
                <a:prstDash val="solid"/>
                <a:miter/>
              </a:ln>
            </p:spPr>
            <p:txBody>
              <a:bodyPr rtlCol="0" anchor="ctr"/>
              <a:lstStyle/>
              <a:p>
                <a:endParaRPr lang="en-GB"/>
              </a:p>
            </p:txBody>
          </p:sp>
          <p:sp>
            <p:nvSpPr>
              <p:cNvPr id="3840" name="Vrije vorm: vorm 3839">
                <a:extLst>
                  <a:ext uri="{FF2B5EF4-FFF2-40B4-BE49-F238E27FC236}">
                    <a16:creationId xmlns:a16="http://schemas.microsoft.com/office/drawing/2014/main" id="{9FBEF8B6-2B22-42E8-8E9D-3DE063DE6564}"/>
                  </a:ext>
                </a:extLst>
              </p:cNvPr>
              <p:cNvSpPr/>
              <p:nvPr/>
            </p:nvSpPr>
            <p:spPr>
              <a:xfrm>
                <a:off x="6176036" y="1375019"/>
                <a:ext cx="18312" cy="18460"/>
              </a:xfrm>
              <a:custGeom>
                <a:avLst/>
                <a:gdLst>
                  <a:gd name="connsiteX0" fmla="*/ 18217 w 18312"/>
                  <a:gd name="connsiteY0" fmla="*/ 10635 h 18460"/>
                  <a:gd name="connsiteX1" fmla="*/ 10502 w 18312"/>
                  <a:gd name="connsiteY1" fmla="*/ 109 h 18460"/>
                  <a:gd name="connsiteX2" fmla="*/ 95 w 18312"/>
                  <a:gd name="connsiteY2" fmla="*/ 7824 h 18460"/>
                  <a:gd name="connsiteX3" fmla="*/ 7811 w 18312"/>
                  <a:gd name="connsiteY3" fmla="*/ 18350 h 18460"/>
                  <a:gd name="connsiteX4" fmla="*/ 18217 w 18312"/>
                  <a:gd name="connsiteY4" fmla="*/ 10635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60">
                    <a:moveTo>
                      <a:pt x="18217" y="10635"/>
                    </a:moveTo>
                    <a:cubicBezTo>
                      <a:pt x="18935" y="5611"/>
                      <a:pt x="15526" y="886"/>
                      <a:pt x="10502" y="109"/>
                    </a:cubicBezTo>
                    <a:cubicBezTo>
                      <a:pt x="5478" y="-669"/>
                      <a:pt x="813" y="2800"/>
                      <a:pt x="95" y="7824"/>
                    </a:cubicBezTo>
                    <a:cubicBezTo>
                      <a:pt x="-622" y="12848"/>
                      <a:pt x="2787" y="17573"/>
                      <a:pt x="7811" y="18350"/>
                    </a:cubicBezTo>
                    <a:cubicBezTo>
                      <a:pt x="12775" y="19128"/>
                      <a:pt x="17440" y="15719"/>
                      <a:pt x="18217" y="10635"/>
                    </a:cubicBezTo>
                    <a:close/>
                  </a:path>
                </a:pathLst>
              </a:custGeom>
              <a:grpFill/>
              <a:ln w="5978" cap="flat">
                <a:noFill/>
                <a:prstDash val="solid"/>
                <a:miter/>
              </a:ln>
            </p:spPr>
            <p:txBody>
              <a:bodyPr rtlCol="0" anchor="ctr"/>
              <a:lstStyle/>
              <a:p>
                <a:endParaRPr lang="en-GB"/>
              </a:p>
            </p:txBody>
          </p:sp>
        </p:grpSp>
        <p:grpSp>
          <p:nvGrpSpPr>
            <p:cNvPr id="517" name="Graphic 3">
              <a:extLst>
                <a:ext uri="{FF2B5EF4-FFF2-40B4-BE49-F238E27FC236}">
                  <a16:creationId xmlns:a16="http://schemas.microsoft.com/office/drawing/2014/main" id="{B56F6D5A-6D60-4C20-8379-5165501696FC}"/>
                </a:ext>
              </a:extLst>
            </p:cNvPr>
            <p:cNvGrpSpPr/>
            <p:nvPr/>
          </p:nvGrpSpPr>
          <p:grpSpPr>
            <a:xfrm>
              <a:off x="7167900" y="4678091"/>
              <a:ext cx="128412" cy="143092"/>
              <a:chOff x="7167900" y="4678091"/>
              <a:chExt cx="128412" cy="143092"/>
            </a:xfrm>
            <a:grpFill/>
          </p:grpSpPr>
          <p:sp>
            <p:nvSpPr>
              <p:cNvPr id="3835" name="Vrije vorm: vorm 3834">
                <a:extLst>
                  <a:ext uri="{FF2B5EF4-FFF2-40B4-BE49-F238E27FC236}">
                    <a16:creationId xmlns:a16="http://schemas.microsoft.com/office/drawing/2014/main" id="{8434C679-A786-4245-ACAA-EF3C6850DC31}"/>
                  </a:ext>
                </a:extLst>
              </p:cNvPr>
              <p:cNvSpPr/>
              <p:nvPr/>
            </p:nvSpPr>
            <p:spPr>
              <a:xfrm>
                <a:off x="7175630" y="4685935"/>
                <a:ext cx="112975" cy="127449"/>
              </a:xfrm>
              <a:custGeom>
                <a:avLst/>
                <a:gdLst>
                  <a:gd name="connsiteX0" fmla="*/ 112976 w 112975"/>
                  <a:gd name="connsiteY0" fmla="*/ 125416 h 127449"/>
                  <a:gd name="connsiteX1" fmla="*/ 110703 w 112975"/>
                  <a:gd name="connsiteY1" fmla="*/ 127449 h 127449"/>
                  <a:gd name="connsiteX2" fmla="*/ 0 w 112975"/>
                  <a:gd name="connsiteY2" fmla="*/ 2034 h 127449"/>
                  <a:gd name="connsiteX3" fmla="*/ 2273 w 112975"/>
                  <a:gd name="connsiteY3" fmla="*/ 0 h 127449"/>
                </a:gdLst>
                <a:ahLst/>
                <a:cxnLst>
                  <a:cxn ang="0">
                    <a:pos x="connsiteX0" y="connsiteY0"/>
                  </a:cxn>
                  <a:cxn ang="0">
                    <a:pos x="connsiteX1" y="connsiteY1"/>
                  </a:cxn>
                  <a:cxn ang="0">
                    <a:pos x="connsiteX2" y="connsiteY2"/>
                  </a:cxn>
                  <a:cxn ang="0">
                    <a:pos x="connsiteX3" y="connsiteY3"/>
                  </a:cxn>
                </a:cxnLst>
                <a:rect l="l" t="t" r="r" b="b"/>
                <a:pathLst>
                  <a:path w="112975" h="127449">
                    <a:moveTo>
                      <a:pt x="112976" y="125416"/>
                    </a:moveTo>
                    <a:lnTo>
                      <a:pt x="110703" y="127449"/>
                    </a:lnTo>
                    <a:lnTo>
                      <a:pt x="0" y="2034"/>
                    </a:lnTo>
                    <a:lnTo>
                      <a:pt x="2273" y="0"/>
                    </a:lnTo>
                    <a:close/>
                  </a:path>
                </a:pathLst>
              </a:custGeom>
              <a:grpFill/>
              <a:ln w="5978" cap="flat">
                <a:noFill/>
                <a:prstDash val="solid"/>
                <a:miter/>
              </a:ln>
            </p:spPr>
            <p:txBody>
              <a:bodyPr rtlCol="0" anchor="ctr"/>
              <a:lstStyle/>
              <a:p>
                <a:endParaRPr lang="en-GB"/>
              </a:p>
            </p:txBody>
          </p:sp>
          <p:sp>
            <p:nvSpPr>
              <p:cNvPr id="3836" name="Vrije vorm: vorm 3835">
                <a:extLst>
                  <a:ext uri="{FF2B5EF4-FFF2-40B4-BE49-F238E27FC236}">
                    <a16:creationId xmlns:a16="http://schemas.microsoft.com/office/drawing/2014/main" id="{00BEE20E-0EBB-4682-8746-9EDCC759106A}"/>
                  </a:ext>
                </a:extLst>
              </p:cNvPr>
              <p:cNvSpPr/>
              <p:nvPr/>
            </p:nvSpPr>
            <p:spPr>
              <a:xfrm>
                <a:off x="7278035" y="4802789"/>
                <a:ext cx="18277" cy="18394"/>
              </a:xfrm>
              <a:custGeom>
                <a:avLst/>
                <a:gdLst>
                  <a:gd name="connsiteX0" fmla="*/ 15954 w 18277"/>
                  <a:gd name="connsiteY0" fmla="*/ 3119 h 18394"/>
                  <a:gd name="connsiteX1" fmla="*/ 15236 w 18277"/>
                  <a:gd name="connsiteY1" fmla="*/ 16098 h 18394"/>
                  <a:gd name="connsiteX2" fmla="*/ 2318 w 18277"/>
                  <a:gd name="connsiteY2" fmla="*/ 15320 h 18394"/>
                  <a:gd name="connsiteX3" fmla="*/ 3095 w 18277"/>
                  <a:gd name="connsiteY3" fmla="*/ 2342 h 18394"/>
                  <a:gd name="connsiteX4" fmla="*/ 15954 w 18277"/>
                  <a:gd name="connsiteY4" fmla="*/ 311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394">
                    <a:moveTo>
                      <a:pt x="15954" y="3119"/>
                    </a:moveTo>
                    <a:cubicBezTo>
                      <a:pt x="19303" y="6947"/>
                      <a:pt x="19004" y="12748"/>
                      <a:pt x="15236" y="16098"/>
                    </a:cubicBezTo>
                    <a:cubicBezTo>
                      <a:pt x="11468" y="19447"/>
                      <a:pt x="5667" y="19088"/>
                      <a:pt x="2318" y="15320"/>
                    </a:cubicBezTo>
                    <a:cubicBezTo>
                      <a:pt x="-1031" y="11492"/>
                      <a:pt x="-733" y="5691"/>
                      <a:pt x="3095" y="2342"/>
                    </a:cubicBezTo>
                    <a:cubicBezTo>
                      <a:pt x="6803" y="-1067"/>
                      <a:pt x="12604" y="-708"/>
                      <a:pt x="15954" y="3119"/>
                    </a:cubicBezTo>
                    <a:close/>
                  </a:path>
                </a:pathLst>
              </a:custGeom>
              <a:grpFill/>
              <a:ln w="5978" cap="flat">
                <a:noFill/>
                <a:prstDash val="solid"/>
                <a:miter/>
              </a:ln>
            </p:spPr>
            <p:txBody>
              <a:bodyPr rtlCol="0" anchor="ctr"/>
              <a:lstStyle/>
              <a:p>
                <a:endParaRPr lang="en-GB"/>
              </a:p>
            </p:txBody>
          </p:sp>
          <p:sp>
            <p:nvSpPr>
              <p:cNvPr id="3837" name="Vrije vorm: vorm 3836">
                <a:extLst>
                  <a:ext uri="{FF2B5EF4-FFF2-40B4-BE49-F238E27FC236}">
                    <a16:creationId xmlns:a16="http://schemas.microsoft.com/office/drawing/2014/main" id="{52109176-77C3-43DA-80C7-25CAA7A7ECC8}"/>
                  </a:ext>
                </a:extLst>
              </p:cNvPr>
              <p:cNvSpPr/>
              <p:nvPr/>
            </p:nvSpPr>
            <p:spPr>
              <a:xfrm>
                <a:off x="7167900" y="4678091"/>
                <a:ext cx="18307" cy="18439"/>
              </a:xfrm>
              <a:custGeom>
                <a:avLst/>
                <a:gdLst>
                  <a:gd name="connsiteX0" fmla="*/ 15983 w 18307"/>
                  <a:gd name="connsiteY0" fmla="*/ 3119 h 18439"/>
                  <a:gd name="connsiteX1" fmla="*/ 3066 w 18307"/>
                  <a:gd name="connsiteY1" fmla="*/ 2342 h 18439"/>
                  <a:gd name="connsiteX2" fmla="*/ 2347 w 18307"/>
                  <a:gd name="connsiteY2" fmla="*/ 15320 h 18439"/>
                  <a:gd name="connsiteX3" fmla="*/ 15266 w 18307"/>
                  <a:gd name="connsiteY3" fmla="*/ 16097 h 18439"/>
                  <a:gd name="connsiteX4" fmla="*/ 15983 w 18307"/>
                  <a:gd name="connsiteY4" fmla="*/ 3119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9">
                    <a:moveTo>
                      <a:pt x="15983" y="3119"/>
                    </a:moveTo>
                    <a:cubicBezTo>
                      <a:pt x="12635" y="-708"/>
                      <a:pt x="6833" y="-1067"/>
                      <a:pt x="3066" y="2342"/>
                    </a:cubicBezTo>
                    <a:cubicBezTo>
                      <a:pt x="-702" y="5691"/>
                      <a:pt x="-1062" y="11552"/>
                      <a:pt x="2347" y="15320"/>
                    </a:cubicBezTo>
                    <a:cubicBezTo>
                      <a:pt x="5697" y="19148"/>
                      <a:pt x="11498" y="19506"/>
                      <a:pt x="15266" y="16097"/>
                    </a:cubicBezTo>
                    <a:cubicBezTo>
                      <a:pt x="19034" y="12748"/>
                      <a:pt x="19333" y="6947"/>
                      <a:pt x="15983" y="3119"/>
                    </a:cubicBezTo>
                    <a:close/>
                  </a:path>
                </a:pathLst>
              </a:custGeom>
              <a:grpFill/>
              <a:ln w="5978" cap="flat">
                <a:noFill/>
                <a:prstDash val="solid"/>
                <a:miter/>
              </a:ln>
            </p:spPr>
            <p:txBody>
              <a:bodyPr rtlCol="0" anchor="ctr"/>
              <a:lstStyle/>
              <a:p>
                <a:endParaRPr lang="en-GB"/>
              </a:p>
            </p:txBody>
          </p:sp>
        </p:grpSp>
        <p:grpSp>
          <p:nvGrpSpPr>
            <p:cNvPr id="518" name="Graphic 3">
              <a:extLst>
                <a:ext uri="{FF2B5EF4-FFF2-40B4-BE49-F238E27FC236}">
                  <a16:creationId xmlns:a16="http://schemas.microsoft.com/office/drawing/2014/main" id="{4C17DCBA-87DD-439E-8453-528F94D534AA}"/>
                </a:ext>
              </a:extLst>
            </p:cNvPr>
            <p:cNvGrpSpPr/>
            <p:nvPr/>
          </p:nvGrpSpPr>
          <p:grpSpPr>
            <a:xfrm>
              <a:off x="7247063" y="4819703"/>
              <a:ext cx="22341" cy="23188"/>
              <a:chOff x="7247063" y="4819703"/>
              <a:chExt cx="22341" cy="23188"/>
            </a:xfrm>
            <a:grpFill/>
          </p:grpSpPr>
          <p:sp>
            <p:nvSpPr>
              <p:cNvPr id="3833" name="Vrije vorm: vorm 3832">
                <a:extLst>
                  <a:ext uri="{FF2B5EF4-FFF2-40B4-BE49-F238E27FC236}">
                    <a16:creationId xmlns:a16="http://schemas.microsoft.com/office/drawing/2014/main" id="{7D755599-31F6-4002-9DC1-AADD770D239C}"/>
                  </a:ext>
                </a:extLst>
              </p:cNvPr>
              <p:cNvSpPr/>
              <p:nvPr/>
            </p:nvSpPr>
            <p:spPr>
              <a:xfrm>
                <a:off x="7251050" y="4824472"/>
                <a:ext cx="18354" cy="18419"/>
              </a:xfrm>
              <a:custGeom>
                <a:avLst/>
                <a:gdLst>
                  <a:gd name="connsiteX0" fmla="*/ 2210 w 18354"/>
                  <a:gd name="connsiteY0" fmla="*/ 15168 h 18419"/>
                  <a:gd name="connsiteX1" fmla="*/ 3227 w 18354"/>
                  <a:gd name="connsiteY1" fmla="*/ 2190 h 18419"/>
                  <a:gd name="connsiteX2" fmla="*/ 16145 w 18354"/>
                  <a:gd name="connsiteY2" fmla="*/ 3207 h 18419"/>
                  <a:gd name="connsiteX3" fmla="*/ 15128 w 18354"/>
                  <a:gd name="connsiteY3" fmla="*/ 16185 h 18419"/>
                  <a:gd name="connsiteX4" fmla="*/ 2210 w 18354"/>
                  <a:gd name="connsiteY4" fmla="*/ 15168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9">
                    <a:moveTo>
                      <a:pt x="2210" y="15168"/>
                    </a:moveTo>
                    <a:cubicBezTo>
                      <a:pt x="-1079" y="11280"/>
                      <a:pt x="-661" y="5479"/>
                      <a:pt x="3227" y="2190"/>
                    </a:cubicBezTo>
                    <a:cubicBezTo>
                      <a:pt x="7054" y="-1099"/>
                      <a:pt x="12855" y="-621"/>
                      <a:pt x="16145" y="3207"/>
                    </a:cubicBezTo>
                    <a:cubicBezTo>
                      <a:pt x="19434" y="7094"/>
                      <a:pt x="19016" y="12895"/>
                      <a:pt x="15128" y="16185"/>
                    </a:cubicBezTo>
                    <a:cubicBezTo>
                      <a:pt x="11300" y="19534"/>
                      <a:pt x="5559" y="19056"/>
                      <a:pt x="2210" y="15168"/>
                    </a:cubicBezTo>
                    <a:close/>
                  </a:path>
                </a:pathLst>
              </a:custGeom>
              <a:grpFill/>
              <a:ln w="5978" cap="flat">
                <a:noFill/>
                <a:prstDash val="solid"/>
                <a:miter/>
              </a:ln>
            </p:spPr>
            <p:txBody>
              <a:bodyPr rtlCol="0" anchor="ctr"/>
              <a:lstStyle/>
              <a:p>
                <a:endParaRPr lang="en-GB"/>
              </a:p>
            </p:txBody>
          </p:sp>
          <p:sp>
            <p:nvSpPr>
              <p:cNvPr id="3834" name="Vrije vorm: vorm 3833">
                <a:extLst>
                  <a:ext uri="{FF2B5EF4-FFF2-40B4-BE49-F238E27FC236}">
                    <a16:creationId xmlns:a16="http://schemas.microsoft.com/office/drawing/2014/main" id="{32C90674-1064-4B78-803F-923C3818D86A}"/>
                  </a:ext>
                </a:extLst>
              </p:cNvPr>
              <p:cNvSpPr/>
              <p:nvPr/>
            </p:nvSpPr>
            <p:spPr>
              <a:xfrm>
                <a:off x="7247063" y="4819703"/>
                <a:ext cx="18314" cy="18463"/>
              </a:xfrm>
              <a:custGeom>
                <a:avLst/>
                <a:gdLst>
                  <a:gd name="connsiteX0" fmla="*/ 2190 w 18314"/>
                  <a:gd name="connsiteY0" fmla="*/ 15213 h 18463"/>
                  <a:gd name="connsiteX1" fmla="*/ 15109 w 18314"/>
                  <a:gd name="connsiteY1" fmla="*/ 16229 h 18463"/>
                  <a:gd name="connsiteX2" fmla="*/ 16125 w 18314"/>
                  <a:gd name="connsiteY2" fmla="*/ 3251 h 18463"/>
                  <a:gd name="connsiteX3" fmla="*/ 3206 w 18314"/>
                  <a:gd name="connsiteY3" fmla="*/ 2234 h 18463"/>
                  <a:gd name="connsiteX4" fmla="*/ 2190 w 18314"/>
                  <a:gd name="connsiteY4" fmla="*/ 15213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63">
                    <a:moveTo>
                      <a:pt x="2190" y="15213"/>
                    </a:moveTo>
                    <a:cubicBezTo>
                      <a:pt x="5479" y="19100"/>
                      <a:pt x="11281" y="19578"/>
                      <a:pt x="15109" y="16229"/>
                    </a:cubicBezTo>
                    <a:cubicBezTo>
                      <a:pt x="18936" y="12940"/>
                      <a:pt x="19415" y="7138"/>
                      <a:pt x="16125" y="3251"/>
                    </a:cubicBezTo>
                    <a:cubicBezTo>
                      <a:pt x="12836" y="-636"/>
                      <a:pt x="7034" y="-1115"/>
                      <a:pt x="3206" y="2234"/>
                    </a:cubicBezTo>
                    <a:cubicBezTo>
                      <a:pt x="-621" y="5524"/>
                      <a:pt x="-1100" y="11325"/>
                      <a:pt x="2190" y="15213"/>
                    </a:cubicBezTo>
                    <a:close/>
                  </a:path>
                </a:pathLst>
              </a:custGeom>
              <a:grpFill/>
              <a:ln w="5978" cap="flat">
                <a:noFill/>
                <a:prstDash val="solid"/>
                <a:miter/>
              </a:ln>
            </p:spPr>
            <p:txBody>
              <a:bodyPr rtlCol="0" anchor="ctr"/>
              <a:lstStyle/>
              <a:p>
                <a:endParaRPr lang="en-GB"/>
              </a:p>
            </p:txBody>
          </p:sp>
        </p:grpSp>
        <p:grpSp>
          <p:nvGrpSpPr>
            <p:cNvPr id="519" name="Graphic 3">
              <a:extLst>
                <a:ext uri="{FF2B5EF4-FFF2-40B4-BE49-F238E27FC236}">
                  <a16:creationId xmlns:a16="http://schemas.microsoft.com/office/drawing/2014/main" id="{4EFE12D6-42A0-444B-A156-7612120716DA}"/>
                </a:ext>
              </a:extLst>
            </p:cNvPr>
            <p:cNvGrpSpPr/>
            <p:nvPr/>
          </p:nvGrpSpPr>
          <p:grpSpPr>
            <a:xfrm>
              <a:off x="7289277" y="4984272"/>
              <a:ext cx="101868" cy="124303"/>
              <a:chOff x="7289277" y="4984272"/>
              <a:chExt cx="101868" cy="124303"/>
            </a:xfrm>
            <a:grpFill/>
          </p:grpSpPr>
          <p:sp>
            <p:nvSpPr>
              <p:cNvPr id="3830" name="Vrije vorm: vorm 3829">
                <a:extLst>
                  <a:ext uri="{FF2B5EF4-FFF2-40B4-BE49-F238E27FC236}">
                    <a16:creationId xmlns:a16="http://schemas.microsoft.com/office/drawing/2014/main" id="{F8EE3DDE-EB32-4EB1-B7E9-CF5EA6BFA7E2}"/>
                  </a:ext>
                </a:extLst>
              </p:cNvPr>
              <p:cNvSpPr/>
              <p:nvPr/>
            </p:nvSpPr>
            <p:spPr>
              <a:xfrm>
                <a:off x="7296979" y="4992208"/>
                <a:ext cx="86481" cy="108490"/>
              </a:xfrm>
              <a:custGeom>
                <a:avLst/>
                <a:gdLst>
                  <a:gd name="connsiteX0" fmla="*/ 86481 w 86481"/>
                  <a:gd name="connsiteY0" fmla="*/ 106636 h 108490"/>
                  <a:gd name="connsiteX1" fmla="*/ 84089 w 86481"/>
                  <a:gd name="connsiteY1" fmla="*/ 108490 h 108490"/>
                  <a:gd name="connsiteX2" fmla="*/ 0 w 86481"/>
                  <a:gd name="connsiteY2" fmla="*/ 1914 h 108490"/>
                  <a:gd name="connsiteX3" fmla="*/ 2333 w 86481"/>
                  <a:gd name="connsiteY3" fmla="*/ 0 h 108490"/>
                </a:gdLst>
                <a:ahLst/>
                <a:cxnLst>
                  <a:cxn ang="0">
                    <a:pos x="connsiteX0" y="connsiteY0"/>
                  </a:cxn>
                  <a:cxn ang="0">
                    <a:pos x="connsiteX1" y="connsiteY1"/>
                  </a:cxn>
                  <a:cxn ang="0">
                    <a:pos x="connsiteX2" y="connsiteY2"/>
                  </a:cxn>
                  <a:cxn ang="0">
                    <a:pos x="connsiteX3" y="connsiteY3"/>
                  </a:cxn>
                </a:cxnLst>
                <a:rect l="l" t="t" r="r" b="b"/>
                <a:pathLst>
                  <a:path w="86481" h="108490">
                    <a:moveTo>
                      <a:pt x="86481" y="106636"/>
                    </a:moveTo>
                    <a:lnTo>
                      <a:pt x="84089" y="108490"/>
                    </a:lnTo>
                    <a:lnTo>
                      <a:pt x="0" y="1914"/>
                    </a:lnTo>
                    <a:lnTo>
                      <a:pt x="2333" y="0"/>
                    </a:lnTo>
                    <a:close/>
                  </a:path>
                </a:pathLst>
              </a:custGeom>
              <a:grpFill/>
              <a:ln w="5978" cap="flat">
                <a:noFill/>
                <a:prstDash val="solid"/>
                <a:miter/>
              </a:ln>
            </p:spPr>
            <p:txBody>
              <a:bodyPr rtlCol="0" anchor="ctr"/>
              <a:lstStyle/>
              <a:p>
                <a:endParaRPr lang="en-GB"/>
              </a:p>
            </p:txBody>
          </p:sp>
          <p:sp>
            <p:nvSpPr>
              <p:cNvPr id="3831" name="Vrije vorm: vorm 3830">
                <a:extLst>
                  <a:ext uri="{FF2B5EF4-FFF2-40B4-BE49-F238E27FC236}">
                    <a16:creationId xmlns:a16="http://schemas.microsoft.com/office/drawing/2014/main" id="{CD198406-6876-48E5-98B8-F0C137CA01D7}"/>
                  </a:ext>
                </a:extLst>
              </p:cNvPr>
              <p:cNvSpPr/>
              <p:nvPr/>
            </p:nvSpPr>
            <p:spPr>
              <a:xfrm>
                <a:off x="7372809" y="5090190"/>
                <a:ext cx="18336" cy="18384"/>
              </a:xfrm>
              <a:custGeom>
                <a:avLst/>
                <a:gdLst>
                  <a:gd name="connsiteX0" fmla="*/ 16333 w 18336"/>
                  <a:gd name="connsiteY0" fmla="*/ 3511 h 18384"/>
                  <a:gd name="connsiteX1" fmla="*/ 14838 w 18336"/>
                  <a:gd name="connsiteY1" fmla="*/ 16429 h 18384"/>
                  <a:gd name="connsiteX2" fmla="*/ 1979 w 18336"/>
                  <a:gd name="connsiteY2" fmla="*/ 14874 h 18384"/>
                  <a:gd name="connsiteX3" fmla="*/ 3474 w 18336"/>
                  <a:gd name="connsiteY3" fmla="*/ 1956 h 18384"/>
                  <a:gd name="connsiteX4" fmla="*/ 16333 w 18336"/>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384">
                    <a:moveTo>
                      <a:pt x="16333" y="3511"/>
                    </a:moveTo>
                    <a:cubicBezTo>
                      <a:pt x="19502" y="7518"/>
                      <a:pt x="18844" y="13319"/>
                      <a:pt x="14838" y="16429"/>
                    </a:cubicBezTo>
                    <a:cubicBezTo>
                      <a:pt x="10830" y="19539"/>
                      <a:pt x="5089" y="18881"/>
                      <a:pt x="1979" y="14874"/>
                    </a:cubicBezTo>
                    <a:cubicBezTo>
                      <a:pt x="-1131" y="10867"/>
                      <a:pt x="-533" y="5066"/>
                      <a:pt x="3474" y="1956"/>
                    </a:cubicBezTo>
                    <a:cubicBezTo>
                      <a:pt x="7482" y="-1154"/>
                      <a:pt x="13163" y="-496"/>
                      <a:pt x="16333" y="3511"/>
                    </a:cubicBezTo>
                    <a:close/>
                  </a:path>
                </a:pathLst>
              </a:custGeom>
              <a:grpFill/>
              <a:ln w="5978" cap="flat">
                <a:noFill/>
                <a:prstDash val="solid"/>
                <a:miter/>
              </a:ln>
            </p:spPr>
            <p:txBody>
              <a:bodyPr rtlCol="0" anchor="ctr"/>
              <a:lstStyle/>
              <a:p>
                <a:endParaRPr lang="en-GB"/>
              </a:p>
            </p:txBody>
          </p:sp>
          <p:sp>
            <p:nvSpPr>
              <p:cNvPr id="3832" name="Vrije vorm: vorm 3831">
                <a:extLst>
                  <a:ext uri="{FF2B5EF4-FFF2-40B4-BE49-F238E27FC236}">
                    <a16:creationId xmlns:a16="http://schemas.microsoft.com/office/drawing/2014/main" id="{F6D32721-DFF6-4C95-83D7-02C5DCD5F2B2}"/>
                  </a:ext>
                </a:extLst>
              </p:cNvPr>
              <p:cNvSpPr/>
              <p:nvPr/>
            </p:nvSpPr>
            <p:spPr>
              <a:xfrm>
                <a:off x="7289277" y="4984272"/>
                <a:ext cx="18317" cy="18384"/>
              </a:xfrm>
              <a:custGeom>
                <a:avLst/>
                <a:gdLst>
                  <a:gd name="connsiteX0" fmla="*/ 16314 w 18317"/>
                  <a:gd name="connsiteY0" fmla="*/ 3511 h 18384"/>
                  <a:gd name="connsiteX1" fmla="*/ 3456 w 18317"/>
                  <a:gd name="connsiteY1" fmla="*/ 1956 h 18384"/>
                  <a:gd name="connsiteX2" fmla="*/ 1960 w 18317"/>
                  <a:gd name="connsiteY2" fmla="*/ 14874 h 18384"/>
                  <a:gd name="connsiteX3" fmla="*/ 14818 w 18317"/>
                  <a:gd name="connsiteY3" fmla="*/ 16429 h 18384"/>
                  <a:gd name="connsiteX4" fmla="*/ 16314 w 18317"/>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84">
                    <a:moveTo>
                      <a:pt x="16314" y="3511"/>
                    </a:moveTo>
                    <a:cubicBezTo>
                      <a:pt x="13144" y="-496"/>
                      <a:pt x="7402" y="-1154"/>
                      <a:pt x="3456" y="1956"/>
                    </a:cubicBezTo>
                    <a:cubicBezTo>
                      <a:pt x="-492" y="5125"/>
                      <a:pt x="-1150" y="10927"/>
                      <a:pt x="1960" y="14874"/>
                    </a:cubicBezTo>
                    <a:cubicBezTo>
                      <a:pt x="5130" y="18881"/>
                      <a:pt x="10872" y="19539"/>
                      <a:pt x="14818" y="16429"/>
                    </a:cubicBezTo>
                    <a:cubicBezTo>
                      <a:pt x="18826" y="13319"/>
                      <a:pt x="19483" y="7518"/>
                      <a:pt x="16314" y="3511"/>
                    </a:cubicBezTo>
                    <a:close/>
                  </a:path>
                </a:pathLst>
              </a:custGeom>
              <a:grpFill/>
              <a:ln w="5978" cap="flat">
                <a:noFill/>
                <a:prstDash val="solid"/>
                <a:miter/>
              </a:ln>
            </p:spPr>
            <p:txBody>
              <a:bodyPr rtlCol="0" anchor="ctr"/>
              <a:lstStyle/>
              <a:p>
                <a:endParaRPr lang="en-GB"/>
              </a:p>
            </p:txBody>
          </p:sp>
        </p:grpSp>
        <p:grpSp>
          <p:nvGrpSpPr>
            <p:cNvPr id="520" name="Graphic 3">
              <a:extLst>
                <a:ext uri="{FF2B5EF4-FFF2-40B4-BE49-F238E27FC236}">
                  <a16:creationId xmlns:a16="http://schemas.microsoft.com/office/drawing/2014/main" id="{3D9EBF1C-F716-4778-B4B9-722B6337AD6B}"/>
                </a:ext>
              </a:extLst>
            </p:cNvPr>
            <p:cNvGrpSpPr/>
            <p:nvPr/>
          </p:nvGrpSpPr>
          <p:grpSpPr>
            <a:xfrm>
              <a:off x="6092408" y="1292110"/>
              <a:ext cx="67998" cy="452331"/>
              <a:chOff x="6092408" y="1292110"/>
              <a:chExt cx="67998" cy="452331"/>
            </a:xfrm>
            <a:grpFill/>
          </p:grpSpPr>
          <p:sp>
            <p:nvSpPr>
              <p:cNvPr id="3827" name="Vrije vorm: vorm 3826">
                <a:extLst>
                  <a:ext uri="{FF2B5EF4-FFF2-40B4-BE49-F238E27FC236}">
                    <a16:creationId xmlns:a16="http://schemas.microsoft.com/office/drawing/2014/main" id="{2E88FCC1-C1A3-4A46-B1C5-FDF10E9734F6}"/>
                  </a:ext>
                </a:extLst>
              </p:cNvPr>
              <p:cNvSpPr/>
              <p:nvPr/>
            </p:nvSpPr>
            <p:spPr>
              <a:xfrm>
                <a:off x="6100057" y="1300668"/>
                <a:ext cx="52750" cy="435157"/>
              </a:xfrm>
              <a:custGeom>
                <a:avLst/>
                <a:gdLst>
                  <a:gd name="connsiteX0" fmla="*/ 52750 w 52750"/>
                  <a:gd name="connsiteY0" fmla="*/ 359 h 435157"/>
                  <a:gd name="connsiteX1" fmla="*/ 2990 w 52750"/>
                  <a:gd name="connsiteY1" fmla="*/ 435157 h 435157"/>
                  <a:gd name="connsiteX2" fmla="*/ 0 w 52750"/>
                  <a:gd name="connsiteY2" fmla="*/ 434798 h 435157"/>
                  <a:gd name="connsiteX3" fmla="*/ 49760 w 52750"/>
                  <a:gd name="connsiteY3" fmla="*/ 0 h 435157"/>
                </a:gdLst>
                <a:ahLst/>
                <a:cxnLst>
                  <a:cxn ang="0">
                    <a:pos x="connsiteX0" y="connsiteY0"/>
                  </a:cxn>
                  <a:cxn ang="0">
                    <a:pos x="connsiteX1" y="connsiteY1"/>
                  </a:cxn>
                  <a:cxn ang="0">
                    <a:pos x="connsiteX2" y="connsiteY2"/>
                  </a:cxn>
                  <a:cxn ang="0">
                    <a:pos x="connsiteX3" y="connsiteY3"/>
                  </a:cxn>
                </a:cxnLst>
                <a:rect l="l" t="t" r="r" b="b"/>
                <a:pathLst>
                  <a:path w="52750" h="435157">
                    <a:moveTo>
                      <a:pt x="52750" y="359"/>
                    </a:moveTo>
                    <a:lnTo>
                      <a:pt x="2990" y="435157"/>
                    </a:lnTo>
                    <a:lnTo>
                      <a:pt x="0" y="434798"/>
                    </a:lnTo>
                    <a:lnTo>
                      <a:pt x="49760" y="0"/>
                    </a:lnTo>
                    <a:close/>
                  </a:path>
                </a:pathLst>
              </a:custGeom>
              <a:grpFill/>
              <a:ln w="5978" cap="flat">
                <a:noFill/>
                <a:prstDash val="solid"/>
                <a:miter/>
              </a:ln>
            </p:spPr>
            <p:txBody>
              <a:bodyPr rtlCol="0" anchor="ctr"/>
              <a:lstStyle/>
              <a:p>
                <a:endParaRPr lang="en-GB"/>
              </a:p>
            </p:txBody>
          </p:sp>
          <p:sp>
            <p:nvSpPr>
              <p:cNvPr id="3828" name="Vrije vorm: vorm 3827">
                <a:extLst>
                  <a:ext uri="{FF2B5EF4-FFF2-40B4-BE49-F238E27FC236}">
                    <a16:creationId xmlns:a16="http://schemas.microsoft.com/office/drawing/2014/main" id="{05E198B9-BCC5-471B-9743-AA24A600D3E4}"/>
                  </a:ext>
                </a:extLst>
              </p:cNvPr>
              <p:cNvSpPr/>
              <p:nvPr/>
            </p:nvSpPr>
            <p:spPr>
              <a:xfrm>
                <a:off x="6092408" y="1726012"/>
                <a:ext cx="18359" cy="18429"/>
              </a:xfrm>
              <a:custGeom>
                <a:avLst/>
                <a:gdLst>
                  <a:gd name="connsiteX0" fmla="*/ 18295 w 18359"/>
                  <a:gd name="connsiteY0" fmla="*/ 10291 h 18429"/>
                  <a:gd name="connsiteX1" fmla="*/ 8128 w 18359"/>
                  <a:gd name="connsiteY1" fmla="*/ 18365 h 18429"/>
                  <a:gd name="connsiteX2" fmla="*/ 53 w 18359"/>
                  <a:gd name="connsiteY2" fmla="*/ 8138 h 18429"/>
                  <a:gd name="connsiteX3" fmla="*/ 10221 w 18359"/>
                  <a:gd name="connsiteY3" fmla="*/ 64 h 18429"/>
                  <a:gd name="connsiteX4" fmla="*/ 18295 w 18359"/>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29">
                    <a:moveTo>
                      <a:pt x="18295" y="10291"/>
                    </a:moveTo>
                    <a:cubicBezTo>
                      <a:pt x="17697" y="15315"/>
                      <a:pt x="13151" y="18963"/>
                      <a:pt x="8128" y="18365"/>
                    </a:cubicBezTo>
                    <a:cubicBezTo>
                      <a:pt x="3104" y="17767"/>
                      <a:pt x="-485" y="13162"/>
                      <a:pt x="53" y="8138"/>
                    </a:cubicBezTo>
                    <a:cubicBezTo>
                      <a:pt x="652" y="3114"/>
                      <a:pt x="5197" y="-534"/>
                      <a:pt x="10221" y="64"/>
                    </a:cubicBezTo>
                    <a:cubicBezTo>
                      <a:pt x="15245" y="602"/>
                      <a:pt x="18893" y="5208"/>
                      <a:pt x="18295" y="10291"/>
                    </a:cubicBezTo>
                    <a:close/>
                  </a:path>
                </a:pathLst>
              </a:custGeom>
              <a:grpFill/>
              <a:ln w="5978" cap="flat">
                <a:noFill/>
                <a:prstDash val="solid"/>
                <a:miter/>
              </a:ln>
            </p:spPr>
            <p:txBody>
              <a:bodyPr rtlCol="0" anchor="ctr"/>
              <a:lstStyle/>
              <a:p>
                <a:endParaRPr lang="en-GB"/>
              </a:p>
            </p:txBody>
          </p:sp>
          <p:sp>
            <p:nvSpPr>
              <p:cNvPr id="3829" name="Vrije vorm: vorm 3828">
                <a:extLst>
                  <a:ext uri="{FF2B5EF4-FFF2-40B4-BE49-F238E27FC236}">
                    <a16:creationId xmlns:a16="http://schemas.microsoft.com/office/drawing/2014/main" id="{F753A609-64C7-469E-A608-B7698DFBF76E}"/>
                  </a:ext>
                </a:extLst>
              </p:cNvPr>
              <p:cNvSpPr/>
              <p:nvPr/>
            </p:nvSpPr>
            <p:spPr>
              <a:xfrm>
                <a:off x="6142037" y="1292110"/>
                <a:ext cx="18369" cy="18430"/>
              </a:xfrm>
              <a:custGeom>
                <a:avLst/>
                <a:gdLst>
                  <a:gd name="connsiteX0" fmla="*/ 18305 w 18369"/>
                  <a:gd name="connsiteY0" fmla="*/ 10292 h 18430"/>
                  <a:gd name="connsiteX1" fmla="*/ 10231 w 18369"/>
                  <a:gd name="connsiteY1" fmla="*/ 65 h 18430"/>
                  <a:gd name="connsiteX2" fmla="*/ 64 w 18369"/>
                  <a:gd name="connsiteY2" fmla="*/ 8139 h 18430"/>
                  <a:gd name="connsiteX3" fmla="*/ 8138 w 18369"/>
                  <a:gd name="connsiteY3" fmla="*/ 18366 h 18430"/>
                  <a:gd name="connsiteX4" fmla="*/ 18305 w 18369"/>
                  <a:gd name="connsiteY4" fmla="*/ 1029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30">
                    <a:moveTo>
                      <a:pt x="18305" y="10292"/>
                    </a:moveTo>
                    <a:cubicBezTo>
                      <a:pt x="18903" y="5268"/>
                      <a:pt x="15255" y="663"/>
                      <a:pt x="10231" y="65"/>
                    </a:cubicBezTo>
                    <a:cubicBezTo>
                      <a:pt x="5208" y="-533"/>
                      <a:pt x="662" y="3055"/>
                      <a:pt x="64" y="8139"/>
                    </a:cubicBezTo>
                    <a:cubicBezTo>
                      <a:pt x="-534" y="13163"/>
                      <a:pt x="3114" y="17768"/>
                      <a:pt x="8138" y="18366"/>
                    </a:cubicBezTo>
                    <a:cubicBezTo>
                      <a:pt x="13222" y="18964"/>
                      <a:pt x="17767" y="15316"/>
                      <a:pt x="18305" y="10292"/>
                    </a:cubicBezTo>
                    <a:close/>
                  </a:path>
                </a:pathLst>
              </a:custGeom>
              <a:grpFill/>
              <a:ln w="5978" cap="flat">
                <a:noFill/>
                <a:prstDash val="solid"/>
                <a:miter/>
              </a:ln>
            </p:spPr>
            <p:txBody>
              <a:bodyPr rtlCol="0" anchor="ctr"/>
              <a:lstStyle/>
              <a:p>
                <a:endParaRPr lang="en-GB"/>
              </a:p>
            </p:txBody>
          </p:sp>
        </p:grpSp>
        <p:grpSp>
          <p:nvGrpSpPr>
            <p:cNvPr id="521" name="Graphic 3">
              <a:extLst>
                <a:ext uri="{FF2B5EF4-FFF2-40B4-BE49-F238E27FC236}">
                  <a16:creationId xmlns:a16="http://schemas.microsoft.com/office/drawing/2014/main" id="{E4D9B980-7B57-4BFF-BB73-95C4500BA20A}"/>
                </a:ext>
              </a:extLst>
            </p:cNvPr>
            <p:cNvGrpSpPr/>
            <p:nvPr/>
          </p:nvGrpSpPr>
          <p:grpSpPr>
            <a:xfrm>
              <a:off x="6185190" y="1651644"/>
              <a:ext cx="24823" cy="97430"/>
              <a:chOff x="6185190" y="1651644"/>
              <a:chExt cx="24823" cy="97430"/>
            </a:xfrm>
            <a:grpFill/>
          </p:grpSpPr>
          <p:sp>
            <p:nvSpPr>
              <p:cNvPr id="3824" name="Vrije vorm: vorm 3823">
                <a:extLst>
                  <a:ext uri="{FF2B5EF4-FFF2-40B4-BE49-F238E27FC236}">
                    <a16:creationId xmlns:a16="http://schemas.microsoft.com/office/drawing/2014/main" id="{6C5D9C06-154E-4311-AE0A-AB21FC8237B0}"/>
                  </a:ext>
                </a:extLst>
              </p:cNvPr>
              <p:cNvSpPr/>
              <p:nvPr/>
            </p:nvSpPr>
            <p:spPr>
              <a:xfrm>
                <a:off x="6192818" y="1660288"/>
                <a:ext cx="9628" cy="80141"/>
              </a:xfrm>
              <a:custGeom>
                <a:avLst/>
                <a:gdLst>
                  <a:gd name="connsiteX0" fmla="*/ 9629 w 9628"/>
                  <a:gd name="connsiteY0" fmla="*/ 239 h 80141"/>
                  <a:gd name="connsiteX1" fmla="*/ 2990 w 9628"/>
                  <a:gd name="connsiteY1" fmla="*/ 80142 h 80141"/>
                  <a:gd name="connsiteX2" fmla="*/ 0 w 9628"/>
                  <a:gd name="connsiteY2" fmla="*/ 79902 h 80141"/>
                  <a:gd name="connsiteX3" fmla="*/ 6579 w 9628"/>
                  <a:gd name="connsiteY3" fmla="*/ 0 h 80141"/>
                </a:gdLst>
                <a:ahLst/>
                <a:cxnLst>
                  <a:cxn ang="0">
                    <a:pos x="connsiteX0" y="connsiteY0"/>
                  </a:cxn>
                  <a:cxn ang="0">
                    <a:pos x="connsiteX1" y="connsiteY1"/>
                  </a:cxn>
                  <a:cxn ang="0">
                    <a:pos x="connsiteX2" y="connsiteY2"/>
                  </a:cxn>
                  <a:cxn ang="0">
                    <a:pos x="connsiteX3" y="connsiteY3"/>
                  </a:cxn>
                </a:cxnLst>
                <a:rect l="l" t="t" r="r" b="b"/>
                <a:pathLst>
                  <a:path w="9628" h="80141">
                    <a:moveTo>
                      <a:pt x="9629" y="239"/>
                    </a:moveTo>
                    <a:lnTo>
                      <a:pt x="2990" y="80142"/>
                    </a:lnTo>
                    <a:lnTo>
                      <a:pt x="0" y="79902"/>
                    </a:lnTo>
                    <a:lnTo>
                      <a:pt x="6579" y="0"/>
                    </a:lnTo>
                    <a:close/>
                  </a:path>
                </a:pathLst>
              </a:custGeom>
              <a:grpFill/>
              <a:ln w="5978" cap="flat">
                <a:noFill/>
                <a:prstDash val="solid"/>
                <a:miter/>
              </a:ln>
            </p:spPr>
            <p:txBody>
              <a:bodyPr rtlCol="0" anchor="ctr"/>
              <a:lstStyle/>
              <a:p>
                <a:endParaRPr lang="en-GB"/>
              </a:p>
            </p:txBody>
          </p:sp>
          <p:sp>
            <p:nvSpPr>
              <p:cNvPr id="3825" name="Vrije vorm: vorm 3824">
                <a:extLst>
                  <a:ext uri="{FF2B5EF4-FFF2-40B4-BE49-F238E27FC236}">
                    <a16:creationId xmlns:a16="http://schemas.microsoft.com/office/drawing/2014/main" id="{5064D4EF-3362-4719-8222-59CA652226F3}"/>
                  </a:ext>
                </a:extLst>
              </p:cNvPr>
              <p:cNvSpPr/>
              <p:nvPr/>
            </p:nvSpPr>
            <p:spPr>
              <a:xfrm>
                <a:off x="6191710" y="1651644"/>
                <a:ext cx="18304" cy="18425"/>
              </a:xfrm>
              <a:custGeom>
                <a:avLst/>
                <a:gdLst>
                  <a:gd name="connsiteX0" fmla="*/ 32 w 18304"/>
                  <a:gd name="connsiteY0" fmla="*/ 8405 h 18425"/>
                  <a:gd name="connsiteX1" fmla="*/ 9900 w 18304"/>
                  <a:gd name="connsiteY1" fmla="*/ 32 h 18425"/>
                  <a:gd name="connsiteX2" fmla="*/ 18273 w 18304"/>
                  <a:gd name="connsiteY2" fmla="*/ 10020 h 18425"/>
                  <a:gd name="connsiteX3" fmla="*/ 8405 w 18304"/>
                  <a:gd name="connsiteY3" fmla="*/ 18393 h 18425"/>
                  <a:gd name="connsiteX4" fmla="*/ 32 w 1830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32" y="8405"/>
                    </a:moveTo>
                    <a:cubicBezTo>
                      <a:pt x="450" y="3322"/>
                      <a:pt x="4876" y="-386"/>
                      <a:pt x="9900" y="32"/>
                    </a:cubicBezTo>
                    <a:cubicBezTo>
                      <a:pt x="14924" y="451"/>
                      <a:pt x="18692" y="4936"/>
                      <a:pt x="18273" y="10020"/>
                    </a:cubicBezTo>
                    <a:cubicBezTo>
                      <a:pt x="17854" y="15104"/>
                      <a:pt x="13429" y="18812"/>
                      <a:pt x="8405" y="18393"/>
                    </a:cubicBezTo>
                    <a:cubicBezTo>
                      <a:pt x="3381" y="17974"/>
                      <a:pt x="-387" y="13489"/>
                      <a:pt x="32" y="8405"/>
                    </a:cubicBezTo>
                    <a:close/>
                  </a:path>
                </a:pathLst>
              </a:custGeom>
              <a:grpFill/>
              <a:ln w="5978" cap="flat">
                <a:noFill/>
                <a:prstDash val="solid"/>
                <a:miter/>
              </a:ln>
            </p:spPr>
            <p:txBody>
              <a:bodyPr rtlCol="0" anchor="ctr"/>
              <a:lstStyle/>
              <a:p>
                <a:endParaRPr lang="en-GB"/>
              </a:p>
            </p:txBody>
          </p:sp>
          <p:sp>
            <p:nvSpPr>
              <p:cNvPr id="3826" name="Vrije vorm: vorm 3825">
                <a:extLst>
                  <a:ext uri="{FF2B5EF4-FFF2-40B4-BE49-F238E27FC236}">
                    <a16:creationId xmlns:a16="http://schemas.microsoft.com/office/drawing/2014/main" id="{98CC9FBC-1A9A-4F4D-AD30-600194B655E7}"/>
                  </a:ext>
                </a:extLst>
              </p:cNvPr>
              <p:cNvSpPr/>
              <p:nvPr/>
            </p:nvSpPr>
            <p:spPr>
              <a:xfrm>
                <a:off x="6185190" y="1730641"/>
                <a:ext cx="18304" cy="18434"/>
              </a:xfrm>
              <a:custGeom>
                <a:avLst/>
                <a:gdLst>
                  <a:gd name="connsiteX0" fmla="*/ 32 w 18304"/>
                  <a:gd name="connsiteY0" fmla="*/ 8414 h 18434"/>
                  <a:gd name="connsiteX1" fmla="*/ 8405 w 18304"/>
                  <a:gd name="connsiteY1" fmla="*/ 18402 h 18434"/>
                  <a:gd name="connsiteX2" fmla="*/ 18273 w 18304"/>
                  <a:gd name="connsiteY2" fmla="*/ 10029 h 18434"/>
                  <a:gd name="connsiteX3" fmla="*/ 9900 w 18304"/>
                  <a:gd name="connsiteY3" fmla="*/ 41 h 18434"/>
                  <a:gd name="connsiteX4" fmla="*/ 32 w 18304"/>
                  <a:gd name="connsiteY4" fmla="*/ 841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4">
                    <a:moveTo>
                      <a:pt x="32" y="8414"/>
                    </a:moveTo>
                    <a:cubicBezTo>
                      <a:pt x="-387" y="13498"/>
                      <a:pt x="3381" y="17923"/>
                      <a:pt x="8405" y="18402"/>
                    </a:cubicBezTo>
                    <a:cubicBezTo>
                      <a:pt x="13429" y="18820"/>
                      <a:pt x="17854" y="15112"/>
                      <a:pt x="18273" y="10029"/>
                    </a:cubicBezTo>
                    <a:cubicBezTo>
                      <a:pt x="18692" y="4945"/>
                      <a:pt x="14924" y="519"/>
                      <a:pt x="9900" y="41"/>
                    </a:cubicBezTo>
                    <a:cubicBezTo>
                      <a:pt x="4876" y="-437"/>
                      <a:pt x="450" y="3330"/>
                      <a:pt x="32" y="8414"/>
                    </a:cubicBezTo>
                    <a:close/>
                  </a:path>
                </a:pathLst>
              </a:custGeom>
              <a:grpFill/>
              <a:ln w="5978" cap="flat">
                <a:noFill/>
                <a:prstDash val="solid"/>
                <a:miter/>
              </a:ln>
            </p:spPr>
            <p:txBody>
              <a:bodyPr rtlCol="0" anchor="ctr"/>
              <a:lstStyle/>
              <a:p>
                <a:endParaRPr lang="en-GB"/>
              </a:p>
            </p:txBody>
          </p:sp>
        </p:grpSp>
        <p:grpSp>
          <p:nvGrpSpPr>
            <p:cNvPr id="522" name="Graphic 3">
              <a:extLst>
                <a:ext uri="{FF2B5EF4-FFF2-40B4-BE49-F238E27FC236}">
                  <a16:creationId xmlns:a16="http://schemas.microsoft.com/office/drawing/2014/main" id="{6D56FEE2-C72D-4CAC-87A6-D58433D176E5}"/>
                </a:ext>
              </a:extLst>
            </p:cNvPr>
            <p:cNvGrpSpPr/>
            <p:nvPr/>
          </p:nvGrpSpPr>
          <p:grpSpPr>
            <a:xfrm>
              <a:off x="7214178" y="4833875"/>
              <a:ext cx="77789" cy="90977"/>
              <a:chOff x="7214178" y="4833875"/>
              <a:chExt cx="77789" cy="90977"/>
            </a:xfrm>
            <a:grpFill/>
          </p:grpSpPr>
          <p:sp>
            <p:nvSpPr>
              <p:cNvPr id="3821" name="Vrije vorm: vorm 3820">
                <a:extLst>
                  <a:ext uri="{FF2B5EF4-FFF2-40B4-BE49-F238E27FC236}">
                    <a16:creationId xmlns:a16="http://schemas.microsoft.com/office/drawing/2014/main" id="{E851DE31-3841-410A-A46B-B6284226E0E1}"/>
                  </a:ext>
                </a:extLst>
              </p:cNvPr>
              <p:cNvSpPr/>
              <p:nvPr/>
            </p:nvSpPr>
            <p:spPr>
              <a:xfrm>
                <a:off x="7221920" y="4841793"/>
                <a:ext cx="62319" cy="75177"/>
              </a:xfrm>
              <a:custGeom>
                <a:avLst/>
                <a:gdLst>
                  <a:gd name="connsiteX0" fmla="*/ 62319 w 62319"/>
                  <a:gd name="connsiteY0" fmla="*/ 73204 h 75177"/>
                  <a:gd name="connsiteX1" fmla="*/ 59987 w 62319"/>
                  <a:gd name="connsiteY1" fmla="*/ 75178 h 75177"/>
                  <a:gd name="connsiteX2" fmla="*/ 0 w 62319"/>
                  <a:gd name="connsiteY2" fmla="*/ 1914 h 75177"/>
                  <a:gd name="connsiteX3" fmla="*/ 2333 w 62319"/>
                  <a:gd name="connsiteY3" fmla="*/ 0 h 75177"/>
                </a:gdLst>
                <a:ahLst/>
                <a:cxnLst>
                  <a:cxn ang="0">
                    <a:pos x="connsiteX0" y="connsiteY0"/>
                  </a:cxn>
                  <a:cxn ang="0">
                    <a:pos x="connsiteX1" y="connsiteY1"/>
                  </a:cxn>
                  <a:cxn ang="0">
                    <a:pos x="connsiteX2" y="connsiteY2"/>
                  </a:cxn>
                  <a:cxn ang="0">
                    <a:pos x="connsiteX3" y="connsiteY3"/>
                  </a:cxn>
                </a:cxnLst>
                <a:rect l="l" t="t" r="r" b="b"/>
                <a:pathLst>
                  <a:path w="62319" h="75177">
                    <a:moveTo>
                      <a:pt x="62319" y="73204"/>
                    </a:moveTo>
                    <a:lnTo>
                      <a:pt x="59987" y="75178"/>
                    </a:lnTo>
                    <a:lnTo>
                      <a:pt x="0" y="1914"/>
                    </a:lnTo>
                    <a:lnTo>
                      <a:pt x="2333" y="0"/>
                    </a:lnTo>
                    <a:close/>
                  </a:path>
                </a:pathLst>
              </a:custGeom>
              <a:grpFill/>
              <a:ln w="5978" cap="flat">
                <a:noFill/>
                <a:prstDash val="solid"/>
                <a:miter/>
              </a:ln>
            </p:spPr>
            <p:txBody>
              <a:bodyPr rtlCol="0" anchor="ctr"/>
              <a:lstStyle/>
              <a:p>
                <a:endParaRPr lang="en-GB"/>
              </a:p>
            </p:txBody>
          </p:sp>
          <p:sp>
            <p:nvSpPr>
              <p:cNvPr id="3822" name="Vrije vorm: vorm 3821">
                <a:extLst>
                  <a:ext uri="{FF2B5EF4-FFF2-40B4-BE49-F238E27FC236}">
                    <a16:creationId xmlns:a16="http://schemas.microsoft.com/office/drawing/2014/main" id="{82F7A91D-859C-480D-A236-5688CCD070DB}"/>
                  </a:ext>
                </a:extLst>
              </p:cNvPr>
              <p:cNvSpPr/>
              <p:nvPr/>
            </p:nvSpPr>
            <p:spPr>
              <a:xfrm>
                <a:off x="7273582" y="4906397"/>
                <a:ext cx="18384" cy="18456"/>
              </a:xfrm>
              <a:custGeom>
                <a:avLst/>
                <a:gdLst>
                  <a:gd name="connsiteX0" fmla="*/ 16279 w 18384"/>
                  <a:gd name="connsiteY0" fmla="*/ 3397 h 18456"/>
                  <a:gd name="connsiteX1" fmla="*/ 15024 w 18384"/>
                  <a:gd name="connsiteY1" fmla="*/ 16375 h 18456"/>
                  <a:gd name="connsiteX2" fmla="*/ 2105 w 18384"/>
                  <a:gd name="connsiteY2" fmla="*/ 15059 h 18456"/>
                  <a:gd name="connsiteX3" fmla="*/ 3361 w 18384"/>
                  <a:gd name="connsiteY3" fmla="*/ 2081 h 18456"/>
                  <a:gd name="connsiteX4" fmla="*/ 16279 w 18384"/>
                  <a:gd name="connsiteY4" fmla="*/ 339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56">
                    <a:moveTo>
                      <a:pt x="16279" y="3397"/>
                    </a:moveTo>
                    <a:cubicBezTo>
                      <a:pt x="19509" y="7344"/>
                      <a:pt x="18971" y="13145"/>
                      <a:pt x="15024" y="16375"/>
                    </a:cubicBezTo>
                    <a:cubicBezTo>
                      <a:pt x="11136" y="19605"/>
                      <a:pt x="5335" y="19007"/>
                      <a:pt x="2105" y="15059"/>
                    </a:cubicBezTo>
                    <a:cubicBezTo>
                      <a:pt x="-1124" y="11112"/>
                      <a:pt x="-586" y="5311"/>
                      <a:pt x="3361" y="2081"/>
                    </a:cubicBezTo>
                    <a:cubicBezTo>
                      <a:pt x="7249" y="-1148"/>
                      <a:pt x="13050" y="-550"/>
                      <a:pt x="16279" y="3397"/>
                    </a:cubicBezTo>
                    <a:close/>
                  </a:path>
                </a:pathLst>
              </a:custGeom>
              <a:grpFill/>
              <a:ln w="5978" cap="flat">
                <a:noFill/>
                <a:prstDash val="solid"/>
                <a:miter/>
              </a:ln>
            </p:spPr>
            <p:txBody>
              <a:bodyPr rtlCol="0" anchor="ctr"/>
              <a:lstStyle/>
              <a:p>
                <a:endParaRPr lang="en-GB"/>
              </a:p>
            </p:txBody>
          </p:sp>
          <p:sp>
            <p:nvSpPr>
              <p:cNvPr id="3823" name="Vrije vorm: vorm 3822">
                <a:extLst>
                  <a:ext uri="{FF2B5EF4-FFF2-40B4-BE49-F238E27FC236}">
                    <a16:creationId xmlns:a16="http://schemas.microsoft.com/office/drawing/2014/main" id="{4D5F208F-5F52-4EE8-B9AA-B8CD1D9DA32D}"/>
                  </a:ext>
                </a:extLst>
              </p:cNvPr>
              <p:cNvSpPr/>
              <p:nvPr/>
            </p:nvSpPr>
            <p:spPr>
              <a:xfrm>
                <a:off x="7214178" y="4833875"/>
                <a:ext cx="18341" cy="18406"/>
              </a:xfrm>
              <a:custGeom>
                <a:avLst/>
                <a:gdLst>
                  <a:gd name="connsiteX0" fmla="*/ 16236 w 18341"/>
                  <a:gd name="connsiteY0" fmla="*/ 3372 h 18406"/>
                  <a:gd name="connsiteX1" fmla="*/ 3317 w 18341"/>
                  <a:gd name="connsiteY1" fmla="*/ 2056 h 18406"/>
                  <a:gd name="connsiteX2" fmla="*/ 2061 w 18341"/>
                  <a:gd name="connsiteY2" fmla="*/ 15034 h 18406"/>
                  <a:gd name="connsiteX3" fmla="*/ 14980 w 18341"/>
                  <a:gd name="connsiteY3" fmla="*/ 16350 h 18406"/>
                  <a:gd name="connsiteX4" fmla="*/ 16236 w 18341"/>
                  <a:gd name="connsiteY4" fmla="*/ 3372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6">
                    <a:moveTo>
                      <a:pt x="16236" y="3372"/>
                    </a:moveTo>
                    <a:cubicBezTo>
                      <a:pt x="13006" y="-575"/>
                      <a:pt x="7205" y="-1114"/>
                      <a:pt x="3317" y="2056"/>
                    </a:cubicBezTo>
                    <a:cubicBezTo>
                      <a:pt x="-571" y="5286"/>
                      <a:pt x="-1109" y="11087"/>
                      <a:pt x="2061" y="15034"/>
                    </a:cubicBezTo>
                    <a:cubicBezTo>
                      <a:pt x="5291" y="18982"/>
                      <a:pt x="11092" y="19520"/>
                      <a:pt x="14980" y="16350"/>
                    </a:cubicBezTo>
                    <a:cubicBezTo>
                      <a:pt x="18927" y="13120"/>
                      <a:pt x="19465" y="7319"/>
                      <a:pt x="16236" y="3372"/>
                    </a:cubicBezTo>
                    <a:close/>
                  </a:path>
                </a:pathLst>
              </a:custGeom>
              <a:grpFill/>
              <a:ln w="5978" cap="flat">
                <a:noFill/>
                <a:prstDash val="solid"/>
                <a:miter/>
              </a:ln>
            </p:spPr>
            <p:txBody>
              <a:bodyPr rtlCol="0" anchor="ctr"/>
              <a:lstStyle/>
              <a:p>
                <a:endParaRPr lang="en-GB"/>
              </a:p>
            </p:txBody>
          </p:sp>
        </p:grpSp>
        <p:grpSp>
          <p:nvGrpSpPr>
            <p:cNvPr id="523" name="Graphic 3">
              <a:extLst>
                <a:ext uri="{FF2B5EF4-FFF2-40B4-BE49-F238E27FC236}">
                  <a16:creationId xmlns:a16="http://schemas.microsoft.com/office/drawing/2014/main" id="{FF8A31AD-58A2-403F-AB59-C622A57C291A}"/>
                </a:ext>
              </a:extLst>
            </p:cNvPr>
            <p:cNvGrpSpPr/>
            <p:nvPr/>
          </p:nvGrpSpPr>
          <p:grpSpPr>
            <a:xfrm>
              <a:off x="6063035" y="1266697"/>
              <a:ext cx="19677" cy="173860"/>
              <a:chOff x="6063035" y="1266697"/>
              <a:chExt cx="19677" cy="173860"/>
            </a:xfrm>
            <a:grpFill/>
          </p:grpSpPr>
          <p:sp>
            <p:nvSpPr>
              <p:cNvPr id="3818" name="Vrije vorm: vorm 3817">
                <a:extLst>
                  <a:ext uri="{FF2B5EF4-FFF2-40B4-BE49-F238E27FC236}">
                    <a16:creationId xmlns:a16="http://schemas.microsoft.com/office/drawing/2014/main" id="{8848FE32-E5D0-4D75-A46D-8AEBF7F7EEBF}"/>
                  </a:ext>
                </a:extLst>
              </p:cNvPr>
              <p:cNvSpPr/>
              <p:nvPr/>
            </p:nvSpPr>
            <p:spPr>
              <a:xfrm>
                <a:off x="6070692" y="1275429"/>
                <a:ext cx="4365" cy="156395"/>
              </a:xfrm>
              <a:custGeom>
                <a:avLst/>
                <a:gdLst>
                  <a:gd name="connsiteX0" fmla="*/ 4366 w 4365"/>
                  <a:gd name="connsiteY0" fmla="*/ 0 h 156395"/>
                  <a:gd name="connsiteX1" fmla="*/ 2990 w 4365"/>
                  <a:gd name="connsiteY1" fmla="*/ 156396 h 156395"/>
                  <a:gd name="connsiteX2" fmla="*/ 0 w 4365"/>
                  <a:gd name="connsiteY2" fmla="*/ 156396 h 156395"/>
                  <a:gd name="connsiteX3" fmla="*/ 1316 w 4365"/>
                  <a:gd name="connsiteY3" fmla="*/ 0 h 156395"/>
                </a:gdLst>
                <a:ahLst/>
                <a:cxnLst>
                  <a:cxn ang="0">
                    <a:pos x="connsiteX0" y="connsiteY0"/>
                  </a:cxn>
                  <a:cxn ang="0">
                    <a:pos x="connsiteX1" y="connsiteY1"/>
                  </a:cxn>
                  <a:cxn ang="0">
                    <a:pos x="connsiteX2" y="connsiteY2"/>
                  </a:cxn>
                  <a:cxn ang="0">
                    <a:pos x="connsiteX3" y="connsiteY3"/>
                  </a:cxn>
                </a:cxnLst>
                <a:rect l="l" t="t" r="r" b="b"/>
                <a:pathLst>
                  <a:path w="4365" h="156395">
                    <a:moveTo>
                      <a:pt x="4366" y="0"/>
                    </a:moveTo>
                    <a:lnTo>
                      <a:pt x="2990" y="156396"/>
                    </a:lnTo>
                    <a:lnTo>
                      <a:pt x="0" y="156396"/>
                    </a:lnTo>
                    <a:lnTo>
                      <a:pt x="1316" y="0"/>
                    </a:lnTo>
                    <a:close/>
                  </a:path>
                </a:pathLst>
              </a:custGeom>
              <a:grpFill/>
              <a:ln w="5978" cap="flat">
                <a:noFill/>
                <a:prstDash val="solid"/>
                <a:miter/>
              </a:ln>
            </p:spPr>
            <p:txBody>
              <a:bodyPr rtlCol="0" anchor="ctr"/>
              <a:lstStyle/>
              <a:p>
                <a:endParaRPr lang="en-GB"/>
              </a:p>
            </p:txBody>
          </p:sp>
          <p:sp>
            <p:nvSpPr>
              <p:cNvPr id="3819" name="Vrije vorm: vorm 3818">
                <a:extLst>
                  <a:ext uri="{FF2B5EF4-FFF2-40B4-BE49-F238E27FC236}">
                    <a16:creationId xmlns:a16="http://schemas.microsoft.com/office/drawing/2014/main" id="{AC3F6793-8D9D-4DC4-BBCC-2756D8735901}"/>
                  </a:ext>
                </a:extLst>
              </p:cNvPr>
              <p:cNvSpPr/>
              <p:nvPr/>
            </p:nvSpPr>
            <p:spPr>
              <a:xfrm>
                <a:off x="6064352" y="1266697"/>
                <a:ext cx="18361" cy="18421"/>
              </a:xfrm>
              <a:custGeom>
                <a:avLst/>
                <a:gdLst>
                  <a:gd name="connsiteX0" fmla="*/ 0 w 18361"/>
                  <a:gd name="connsiteY0" fmla="*/ 9091 h 18421"/>
                  <a:gd name="connsiteX1" fmla="*/ 9270 w 18361"/>
                  <a:gd name="connsiteY1" fmla="*/ 1 h 18421"/>
                  <a:gd name="connsiteX2" fmla="*/ 18360 w 18361"/>
                  <a:gd name="connsiteY2" fmla="*/ 9331 h 18421"/>
                  <a:gd name="connsiteX3" fmla="*/ 9090 w 18361"/>
                  <a:gd name="connsiteY3" fmla="*/ 18421 h 18421"/>
                  <a:gd name="connsiteX4" fmla="*/ 0 w 18361"/>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0" y="9091"/>
                    </a:moveTo>
                    <a:cubicBezTo>
                      <a:pt x="60" y="4008"/>
                      <a:pt x="4186" y="-59"/>
                      <a:pt x="9270" y="1"/>
                    </a:cubicBezTo>
                    <a:cubicBezTo>
                      <a:pt x="14354" y="60"/>
                      <a:pt x="18420" y="4247"/>
                      <a:pt x="18360" y="9331"/>
                    </a:cubicBezTo>
                    <a:cubicBezTo>
                      <a:pt x="18301" y="14414"/>
                      <a:pt x="14174" y="18481"/>
                      <a:pt x="9090" y="18421"/>
                    </a:cubicBezTo>
                    <a:cubicBezTo>
                      <a:pt x="4067" y="18361"/>
                      <a:pt x="0" y="14175"/>
                      <a:pt x="0" y="9091"/>
                    </a:cubicBezTo>
                    <a:close/>
                  </a:path>
                </a:pathLst>
              </a:custGeom>
              <a:grpFill/>
              <a:ln w="5978" cap="flat">
                <a:noFill/>
                <a:prstDash val="solid"/>
                <a:miter/>
              </a:ln>
            </p:spPr>
            <p:txBody>
              <a:bodyPr rtlCol="0" anchor="ctr"/>
              <a:lstStyle/>
              <a:p>
                <a:endParaRPr lang="en-GB"/>
              </a:p>
            </p:txBody>
          </p:sp>
          <p:sp>
            <p:nvSpPr>
              <p:cNvPr id="3820" name="Vrije vorm: vorm 3819">
                <a:extLst>
                  <a:ext uri="{FF2B5EF4-FFF2-40B4-BE49-F238E27FC236}">
                    <a16:creationId xmlns:a16="http://schemas.microsoft.com/office/drawing/2014/main" id="{F3D7DE4D-FC99-4944-AF2B-111A53B2193B}"/>
                  </a:ext>
                </a:extLst>
              </p:cNvPr>
              <p:cNvSpPr/>
              <p:nvPr/>
            </p:nvSpPr>
            <p:spPr>
              <a:xfrm>
                <a:off x="6063035" y="1422135"/>
                <a:ext cx="18362" cy="18421"/>
              </a:xfrm>
              <a:custGeom>
                <a:avLst/>
                <a:gdLst>
                  <a:gd name="connsiteX0" fmla="*/ 1 w 18362"/>
                  <a:gd name="connsiteY0" fmla="*/ 9091 h 18421"/>
                  <a:gd name="connsiteX1" fmla="*/ 9091 w 18362"/>
                  <a:gd name="connsiteY1" fmla="*/ 18421 h 18421"/>
                  <a:gd name="connsiteX2" fmla="*/ 18362 w 18362"/>
                  <a:gd name="connsiteY2" fmla="*/ 9331 h 18421"/>
                  <a:gd name="connsiteX3" fmla="*/ 9271 w 18362"/>
                  <a:gd name="connsiteY3" fmla="*/ 1 h 18421"/>
                  <a:gd name="connsiteX4" fmla="*/ 1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091"/>
                    </a:moveTo>
                    <a:cubicBezTo>
                      <a:pt x="-59" y="14175"/>
                      <a:pt x="4008" y="18361"/>
                      <a:pt x="9091" y="18421"/>
                    </a:cubicBezTo>
                    <a:cubicBezTo>
                      <a:pt x="14175" y="18481"/>
                      <a:pt x="18302" y="14414"/>
                      <a:pt x="18362" y="9331"/>
                    </a:cubicBezTo>
                    <a:cubicBezTo>
                      <a:pt x="18421" y="4247"/>
                      <a:pt x="14355" y="60"/>
                      <a:pt x="9271" y="1"/>
                    </a:cubicBezTo>
                    <a:cubicBezTo>
                      <a:pt x="4187" y="-59"/>
                      <a:pt x="61" y="4008"/>
                      <a:pt x="1" y="9091"/>
                    </a:cubicBezTo>
                    <a:close/>
                  </a:path>
                </a:pathLst>
              </a:custGeom>
              <a:grpFill/>
              <a:ln w="5978" cap="flat">
                <a:noFill/>
                <a:prstDash val="solid"/>
                <a:miter/>
              </a:ln>
            </p:spPr>
            <p:txBody>
              <a:bodyPr rtlCol="0" anchor="ctr"/>
              <a:lstStyle/>
              <a:p>
                <a:endParaRPr lang="en-GB"/>
              </a:p>
            </p:txBody>
          </p:sp>
        </p:grpSp>
        <p:grpSp>
          <p:nvGrpSpPr>
            <p:cNvPr id="524" name="Graphic 3">
              <a:extLst>
                <a:ext uri="{FF2B5EF4-FFF2-40B4-BE49-F238E27FC236}">
                  <a16:creationId xmlns:a16="http://schemas.microsoft.com/office/drawing/2014/main" id="{57BA5412-2B9C-483E-B7CB-03EF6762E1A9}"/>
                </a:ext>
              </a:extLst>
            </p:cNvPr>
            <p:cNvGrpSpPr/>
            <p:nvPr/>
          </p:nvGrpSpPr>
          <p:grpSpPr>
            <a:xfrm>
              <a:off x="6127498" y="1501251"/>
              <a:ext cx="24003" cy="142302"/>
              <a:chOff x="6127498" y="1501251"/>
              <a:chExt cx="24003" cy="142302"/>
            </a:xfrm>
            <a:grpFill/>
          </p:grpSpPr>
          <p:sp>
            <p:nvSpPr>
              <p:cNvPr id="3815" name="Vrije vorm: vorm 3814">
                <a:extLst>
                  <a:ext uri="{FF2B5EF4-FFF2-40B4-BE49-F238E27FC236}">
                    <a16:creationId xmlns:a16="http://schemas.microsoft.com/office/drawing/2014/main" id="{07C9A060-FF57-46BD-A221-DA2E3BD575E5}"/>
                  </a:ext>
                </a:extLst>
              </p:cNvPr>
              <p:cNvSpPr/>
              <p:nvPr/>
            </p:nvSpPr>
            <p:spPr>
              <a:xfrm>
                <a:off x="6135104" y="1509933"/>
                <a:ext cx="8731" cy="124937"/>
              </a:xfrm>
              <a:custGeom>
                <a:avLst/>
                <a:gdLst>
                  <a:gd name="connsiteX0" fmla="*/ 8732 w 8731"/>
                  <a:gd name="connsiteY0" fmla="*/ 120 h 124937"/>
                  <a:gd name="connsiteX1" fmla="*/ 3050 w 8731"/>
                  <a:gd name="connsiteY1" fmla="*/ 124937 h 124937"/>
                  <a:gd name="connsiteX2" fmla="*/ 0 w 8731"/>
                  <a:gd name="connsiteY2" fmla="*/ 124758 h 124937"/>
                  <a:gd name="connsiteX3" fmla="*/ 5742 w 8731"/>
                  <a:gd name="connsiteY3" fmla="*/ 0 h 124937"/>
                </a:gdLst>
                <a:ahLst/>
                <a:cxnLst>
                  <a:cxn ang="0">
                    <a:pos x="connsiteX0" y="connsiteY0"/>
                  </a:cxn>
                  <a:cxn ang="0">
                    <a:pos x="connsiteX1" y="connsiteY1"/>
                  </a:cxn>
                  <a:cxn ang="0">
                    <a:pos x="connsiteX2" y="connsiteY2"/>
                  </a:cxn>
                  <a:cxn ang="0">
                    <a:pos x="connsiteX3" y="connsiteY3"/>
                  </a:cxn>
                </a:cxnLst>
                <a:rect l="l" t="t" r="r" b="b"/>
                <a:pathLst>
                  <a:path w="8731" h="124937">
                    <a:moveTo>
                      <a:pt x="8732" y="120"/>
                    </a:moveTo>
                    <a:lnTo>
                      <a:pt x="3050" y="124937"/>
                    </a:lnTo>
                    <a:lnTo>
                      <a:pt x="0" y="124758"/>
                    </a:lnTo>
                    <a:lnTo>
                      <a:pt x="5742" y="0"/>
                    </a:lnTo>
                    <a:close/>
                  </a:path>
                </a:pathLst>
              </a:custGeom>
              <a:grpFill/>
              <a:ln w="5978" cap="flat">
                <a:noFill/>
                <a:prstDash val="solid"/>
                <a:miter/>
              </a:ln>
            </p:spPr>
            <p:txBody>
              <a:bodyPr rtlCol="0" anchor="ctr"/>
              <a:lstStyle/>
              <a:p>
                <a:endParaRPr lang="en-GB"/>
              </a:p>
            </p:txBody>
          </p:sp>
          <p:sp>
            <p:nvSpPr>
              <p:cNvPr id="3816" name="Vrije vorm: vorm 3815">
                <a:extLst>
                  <a:ext uri="{FF2B5EF4-FFF2-40B4-BE49-F238E27FC236}">
                    <a16:creationId xmlns:a16="http://schemas.microsoft.com/office/drawing/2014/main" id="{AF994455-9238-4B6F-8AC2-726452DC6196}"/>
                  </a:ext>
                </a:extLst>
              </p:cNvPr>
              <p:cNvSpPr/>
              <p:nvPr/>
            </p:nvSpPr>
            <p:spPr>
              <a:xfrm>
                <a:off x="6133179" y="1501251"/>
                <a:ext cx="18321" cy="18441"/>
              </a:xfrm>
              <a:custGeom>
                <a:avLst/>
                <a:gdLst>
                  <a:gd name="connsiteX0" fmla="*/ 10 w 18321"/>
                  <a:gd name="connsiteY0" fmla="*/ 8742 h 18441"/>
                  <a:gd name="connsiteX1" fmla="*/ 9580 w 18321"/>
                  <a:gd name="connsiteY1" fmla="*/ 10 h 18441"/>
                  <a:gd name="connsiteX2" fmla="*/ 18311 w 18321"/>
                  <a:gd name="connsiteY2" fmla="*/ 9699 h 18441"/>
                  <a:gd name="connsiteX3" fmla="*/ 8742 w 18321"/>
                  <a:gd name="connsiteY3" fmla="*/ 18431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50" y="3659"/>
                      <a:pt x="4556" y="-229"/>
                      <a:pt x="9580" y="10"/>
                    </a:cubicBezTo>
                    <a:cubicBezTo>
                      <a:pt x="14663" y="250"/>
                      <a:pt x="18551" y="4616"/>
                      <a:pt x="18311" y="9699"/>
                    </a:cubicBezTo>
                    <a:cubicBezTo>
                      <a:pt x="18072" y="14783"/>
                      <a:pt x="13766" y="18670"/>
                      <a:pt x="8742" y="18431"/>
                    </a:cubicBezTo>
                    <a:cubicBezTo>
                      <a:pt x="3659" y="18132"/>
                      <a:pt x="-229" y="13826"/>
                      <a:pt x="10" y="8742"/>
                    </a:cubicBezTo>
                    <a:close/>
                  </a:path>
                </a:pathLst>
              </a:custGeom>
              <a:grpFill/>
              <a:ln w="5978" cap="flat">
                <a:noFill/>
                <a:prstDash val="solid"/>
                <a:miter/>
              </a:ln>
            </p:spPr>
            <p:txBody>
              <a:bodyPr rtlCol="0" anchor="ctr"/>
              <a:lstStyle/>
              <a:p>
                <a:endParaRPr lang="en-GB"/>
              </a:p>
            </p:txBody>
          </p:sp>
          <p:sp>
            <p:nvSpPr>
              <p:cNvPr id="3817" name="Vrije vorm: vorm 3816">
                <a:extLst>
                  <a:ext uri="{FF2B5EF4-FFF2-40B4-BE49-F238E27FC236}">
                    <a16:creationId xmlns:a16="http://schemas.microsoft.com/office/drawing/2014/main" id="{030D3C09-0793-43FC-BAE3-61AC565473D0}"/>
                  </a:ext>
                </a:extLst>
              </p:cNvPr>
              <p:cNvSpPr/>
              <p:nvPr/>
            </p:nvSpPr>
            <p:spPr>
              <a:xfrm>
                <a:off x="6127498" y="1625106"/>
                <a:ext cx="18321" cy="18447"/>
              </a:xfrm>
              <a:custGeom>
                <a:avLst/>
                <a:gdLst>
                  <a:gd name="connsiteX0" fmla="*/ 10 w 18321"/>
                  <a:gd name="connsiteY0" fmla="*/ 8748 h 18447"/>
                  <a:gd name="connsiteX1" fmla="*/ 8742 w 18321"/>
                  <a:gd name="connsiteY1" fmla="*/ 18437 h 18447"/>
                  <a:gd name="connsiteX2" fmla="*/ 18311 w 18321"/>
                  <a:gd name="connsiteY2" fmla="*/ 9705 h 18447"/>
                  <a:gd name="connsiteX3" fmla="*/ 9579 w 18321"/>
                  <a:gd name="connsiteY3" fmla="*/ 16 h 18447"/>
                  <a:gd name="connsiteX4" fmla="*/ 10 w 18321"/>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7">
                    <a:moveTo>
                      <a:pt x="10" y="8748"/>
                    </a:moveTo>
                    <a:cubicBezTo>
                      <a:pt x="-229" y="13831"/>
                      <a:pt x="3718" y="18138"/>
                      <a:pt x="8742" y="18437"/>
                    </a:cubicBezTo>
                    <a:cubicBezTo>
                      <a:pt x="13826" y="18676"/>
                      <a:pt x="18072" y="14788"/>
                      <a:pt x="18311" y="9705"/>
                    </a:cubicBezTo>
                    <a:cubicBezTo>
                      <a:pt x="18550" y="4621"/>
                      <a:pt x="14663" y="315"/>
                      <a:pt x="9579" y="16"/>
                    </a:cubicBezTo>
                    <a:cubicBezTo>
                      <a:pt x="4496" y="-283"/>
                      <a:pt x="249" y="3664"/>
                      <a:pt x="10" y="8748"/>
                    </a:cubicBezTo>
                    <a:close/>
                  </a:path>
                </a:pathLst>
              </a:custGeom>
              <a:grpFill/>
              <a:ln w="5978" cap="flat">
                <a:noFill/>
                <a:prstDash val="solid"/>
                <a:miter/>
              </a:ln>
            </p:spPr>
            <p:txBody>
              <a:bodyPr rtlCol="0" anchor="ctr"/>
              <a:lstStyle/>
              <a:p>
                <a:endParaRPr lang="en-GB"/>
              </a:p>
            </p:txBody>
          </p:sp>
        </p:grpSp>
        <p:grpSp>
          <p:nvGrpSpPr>
            <p:cNvPr id="525" name="Graphic 3">
              <a:extLst>
                <a:ext uri="{FF2B5EF4-FFF2-40B4-BE49-F238E27FC236}">
                  <a16:creationId xmlns:a16="http://schemas.microsoft.com/office/drawing/2014/main" id="{24C11403-AAAC-41D9-BF43-ADFBC793D22D}"/>
                </a:ext>
              </a:extLst>
            </p:cNvPr>
            <p:cNvGrpSpPr/>
            <p:nvPr/>
          </p:nvGrpSpPr>
          <p:grpSpPr>
            <a:xfrm>
              <a:off x="6094671" y="1460826"/>
              <a:ext cx="22492" cy="172196"/>
              <a:chOff x="6094671" y="1460826"/>
              <a:chExt cx="22492" cy="172196"/>
            </a:xfrm>
            <a:grpFill/>
          </p:grpSpPr>
          <p:sp>
            <p:nvSpPr>
              <p:cNvPr id="3812" name="Vrije vorm: vorm 3811">
                <a:extLst>
                  <a:ext uri="{FF2B5EF4-FFF2-40B4-BE49-F238E27FC236}">
                    <a16:creationId xmlns:a16="http://schemas.microsoft.com/office/drawing/2014/main" id="{31F69057-8D82-4FB6-9BB4-B332735AC3A5}"/>
                  </a:ext>
                </a:extLst>
              </p:cNvPr>
              <p:cNvSpPr/>
              <p:nvPr/>
            </p:nvSpPr>
            <p:spPr>
              <a:xfrm>
                <a:off x="6102270" y="1469563"/>
                <a:ext cx="7236" cy="154721"/>
              </a:xfrm>
              <a:custGeom>
                <a:avLst/>
                <a:gdLst>
                  <a:gd name="connsiteX0" fmla="*/ 7237 w 7236"/>
                  <a:gd name="connsiteY0" fmla="*/ 60 h 154721"/>
                  <a:gd name="connsiteX1" fmla="*/ 3050 w 7236"/>
                  <a:gd name="connsiteY1" fmla="*/ 154721 h 154721"/>
                  <a:gd name="connsiteX2" fmla="*/ 0 w 7236"/>
                  <a:gd name="connsiteY2" fmla="*/ 154602 h 154721"/>
                  <a:gd name="connsiteX3" fmla="*/ 4187 w 7236"/>
                  <a:gd name="connsiteY3" fmla="*/ 0 h 154721"/>
                </a:gdLst>
                <a:ahLst/>
                <a:cxnLst>
                  <a:cxn ang="0">
                    <a:pos x="connsiteX0" y="connsiteY0"/>
                  </a:cxn>
                  <a:cxn ang="0">
                    <a:pos x="connsiteX1" y="connsiteY1"/>
                  </a:cxn>
                  <a:cxn ang="0">
                    <a:pos x="connsiteX2" y="connsiteY2"/>
                  </a:cxn>
                  <a:cxn ang="0">
                    <a:pos x="connsiteX3" y="connsiteY3"/>
                  </a:cxn>
                </a:cxnLst>
                <a:rect l="l" t="t" r="r" b="b"/>
                <a:pathLst>
                  <a:path w="7236" h="154721">
                    <a:moveTo>
                      <a:pt x="7237" y="60"/>
                    </a:moveTo>
                    <a:lnTo>
                      <a:pt x="3050" y="154721"/>
                    </a:lnTo>
                    <a:lnTo>
                      <a:pt x="0" y="154602"/>
                    </a:lnTo>
                    <a:lnTo>
                      <a:pt x="4187" y="0"/>
                    </a:lnTo>
                    <a:close/>
                  </a:path>
                </a:pathLst>
              </a:custGeom>
              <a:grpFill/>
              <a:ln w="5978" cap="flat">
                <a:noFill/>
                <a:prstDash val="solid"/>
                <a:miter/>
              </a:ln>
            </p:spPr>
            <p:txBody>
              <a:bodyPr rtlCol="0" anchor="ctr"/>
              <a:lstStyle/>
              <a:p>
                <a:endParaRPr lang="en-GB"/>
              </a:p>
            </p:txBody>
          </p:sp>
          <p:sp>
            <p:nvSpPr>
              <p:cNvPr id="3813" name="Vrije vorm: vorm 3812">
                <a:extLst>
                  <a:ext uri="{FF2B5EF4-FFF2-40B4-BE49-F238E27FC236}">
                    <a16:creationId xmlns:a16="http://schemas.microsoft.com/office/drawing/2014/main" id="{117C9DAB-3D21-4EBE-8348-450CD04FD25F}"/>
                  </a:ext>
                </a:extLst>
              </p:cNvPr>
              <p:cNvSpPr/>
              <p:nvPr/>
            </p:nvSpPr>
            <p:spPr>
              <a:xfrm>
                <a:off x="6098855" y="1460826"/>
                <a:ext cx="18309" cy="18432"/>
              </a:xfrm>
              <a:custGeom>
                <a:avLst/>
                <a:gdLst>
                  <a:gd name="connsiteX0" fmla="*/ 6 w 18309"/>
                  <a:gd name="connsiteY0" fmla="*/ 8917 h 18432"/>
                  <a:gd name="connsiteX1" fmla="*/ 9396 w 18309"/>
                  <a:gd name="connsiteY1" fmla="*/ 6 h 18432"/>
                  <a:gd name="connsiteX2" fmla="*/ 18307 w 18309"/>
                  <a:gd name="connsiteY2" fmla="*/ 9515 h 18432"/>
                  <a:gd name="connsiteX3" fmla="*/ 8917 w 18309"/>
                  <a:gd name="connsiteY3" fmla="*/ 18426 h 18432"/>
                  <a:gd name="connsiteX4" fmla="*/ 6 w 18309"/>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2">
                    <a:moveTo>
                      <a:pt x="6" y="8917"/>
                    </a:moveTo>
                    <a:cubicBezTo>
                      <a:pt x="126" y="3833"/>
                      <a:pt x="4372" y="-174"/>
                      <a:pt x="9396" y="6"/>
                    </a:cubicBezTo>
                    <a:cubicBezTo>
                      <a:pt x="14479" y="185"/>
                      <a:pt x="18427" y="4432"/>
                      <a:pt x="18307" y="9515"/>
                    </a:cubicBezTo>
                    <a:cubicBezTo>
                      <a:pt x="18187" y="14599"/>
                      <a:pt x="13941" y="18606"/>
                      <a:pt x="8917" y="18426"/>
                    </a:cubicBezTo>
                    <a:cubicBezTo>
                      <a:pt x="3834" y="18247"/>
                      <a:pt x="-173" y="14001"/>
                      <a:pt x="6" y="8917"/>
                    </a:cubicBezTo>
                    <a:close/>
                  </a:path>
                </a:pathLst>
              </a:custGeom>
              <a:grpFill/>
              <a:ln w="5978" cap="flat">
                <a:noFill/>
                <a:prstDash val="solid"/>
                <a:miter/>
              </a:ln>
            </p:spPr>
            <p:txBody>
              <a:bodyPr rtlCol="0" anchor="ctr"/>
              <a:lstStyle/>
              <a:p>
                <a:endParaRPr lang="en-GB"/>
              </a:p>
            </p:txBody>
          </p:sp>
          <p:sp>
            <p:nvSpPr>
              <p:cNvPr id="3814" name="Vrije vorm: vorm 3813">
                <a:extLst>
                  <a:ext uri="{FF2B5EF4-FFF2-40B4-BE49-F238E27FC236}">
                    <a16:creationId xmlns:a16="http://schemas.microsoft.com/office/drawing/2014/main" id="{56CA2BD4-31E8-4927-BDF1-CE77B19BC1F4}"/>
                  </a:ext>
                </a:extLst>
              </p:cNvPr>
              <p:cNvSpPr/>
              <p:nvPr/>
            </p:nvSpPr>
            <p:spPr>
              <a:xfrm>
                <a:off x="6094671" y="1614590"/>
                <a:ext cx="18306" cy="18432"/>
              </a:xfrm>
              <a:custGeom>
                <a:avLst/>
                <a:gdLst>
                  <a:gd name="connsiteX0" fmla="*/ 3 w 18306"/>
                  <a:gd name="connsiteY0" fmla="*/ 8917 h 18432"/>
                  <a:gd name="connsiteX1" fmla="*/ 8914 w 18306"/>
                  <a:gd name="connsiteY1" fmla="*/ 18426 h 18432"/>
                  <a:gd name="connsiteX2" fmla="*/ 18304 w 18306"/>
                  <a:gd name="connsiteY2" fmla="*/ 9515 h 18432"/>
                  <a:gd name="connsiteX3" fmla="*/ 9392 w 18306"/>
                  <a:gd name="connsiteY3" fmla="*/ 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17" y="14001"/>
                      <a:pt x="3830" y="18247"/>
                      <a:pt x="8914" y="18426"/>
                    </a:cubicBezTo>
                    <a:cubicBezTo>
                      <a:pt x="13998" y="18606"/>
                      <a:pt x="18184" y="14599"/>
                      <a:pt x="18304" y="9515"/>
                    </a:cubicBezTo>
                    <a:cubicBezTo>
                      <a:pt x="18423" y="4431"/>
                      <a:pt x="14476" y="185"/>
                      <a:pt x="9392" y="6"/>
                    </a:cubicBezTo>
                    <a:cubicBezTo>
                      <a:pt x="4369" y="-174"/>
                      <a:pt x="122" y="3833"/>
                      <a:pt x="3" y="8917"/>
                    </a:cubicBezTo>
                    <a:close/>
                  </a:path>
                </a:pathLst>
              </a:custGeom>
              <a:grpFill/>
              <a:ln w="5978" cap="flat">
                <a:noFill/>
                <a:prstDash val="solid"/>
                <a:miter/>
              </a:ln>
            </p:spPr>
            <p:txBody>
              <a:bodyPr rtlCol="0" anchor="ctr"/>
              <a:lstStyle/>
              <a:p>
                <a:endParaRPr lang="en-GB"/>
              </a:p>
            </p:txBody>
          </p:sp>
        </p:grpSp>
        <p:grpSp>
          <p:nvGrpSpPr>
            <p:cNvPr id="526" name="Graphic 3">
              <a:extLst>
                <a:ext uri="{FF2B5EF4-FFF2-40B4-BE49-F238E27FC236}">
                  <a16:creationId xmlns:a16="http://schemas.microsoft.com/office/drawing/2014/main" id="{42C9B158-2DA7-41CC-979B-851FE7D68A68}"/>
                </a:ext>
              </a:extLst>
            </p:cNvPr>
            <p:cNvGrpSpPr/>
            <p:nvPr/>
          </p:nvGrpSpPr>
          <p:grpSpPr>
            <a:xfrm>
              <a:off x="7140127" y="4694048"/>
              <a:ext cx="125270" cy="144073"/>
              <a:chOff x="7140127" y="4694048"/>
              <a:chExt cx="125270" cy="144073"/>
            </a:xfrm>
            <a:grpFill/>
          </p:grpSpPr>
          <p:sp>
            <p:nvSpPr>
              <p:cNvPr id="3809" name="Vrije vorm: vorm 3808">
                <a:extLst>
                  <a:ext uri="{FF2B5EF4-FFF2-40B4-BE49-F238E27FC236}">
                    <a16:creationId xmlns:a16="http://schemas.microsoft.com/office/drawing/2014/main" id="{720CDF2A-0ED9-4464-8F73-4689D8A1F61C}"/>
                  </a:ext>
                </a:extLst>
              </p:cNvPr>
              <p:cNvSpPr/>
              <p:nvPr/>
            </p:nvSpPr>
            <p:spPr>
              <a:xfrm>
                <a:off x="7147819" y="4701904"/>
                <a:ext cx="109866" cy="128405"/>
              </a:xfrm>
              <a:custGeom>
                <a:avLst/>
                <a:gdLst>
                  <a:gd name="connsiteX0" fmla="*/ 109867 w 109866"/>
                  <a:gd name="connsiteY0" fmla="*/ 126372 h 128405"/>
                  <a:gd name="connsiteX1" fmla="*/ 107534 w 109866"/>
                  <a:gd name="connsiteY1" fmla="*/ 128406 h 128405"/>
                  <a:gd name="connsiteX2" fmla="*/ 0 w 109866"/>
                  <a:gd name="connsiteY2" fmla="*/ 1973 h 128405"/>
                  <a:gd name="connsiteX3" fmla="*/ 2333 w 109866"/>
                  <a:gd name="connsiteY3" fmla="*/ 0 h 128405"/>
                </a:gdLst>
                <a:ahLst/>
                <a:cxnLst>
                  <a:cxn ang="0">
                    <a:pos x="connsiteX0" y="connsiteY0"/>
                  </a:cxn>
                  <a:cxn ang="0">
                    <a:pos x="connsiteX1" y="connsiteY1"/>
                  </a:cxn>
                  <a:cxn ang="0">
                    <a:pos x="connsiteX2" y="connsiteY2"/>
                  </a:cxn>
                  <a:cxn ang="0">
                    <a:pos x="connsiteX3" y="connsiteY3"/>
                  </a:cxn>
                </a:cxnLst>
                <a:rect l="l" t="t" r="r" b="b"/>
                <a:pathLst>
                  <a:path w="109866" h="128405">
                    <a:moveTo>
                      <a:pt x="109867" y="126372"/>
                    </a:moveTo>
                    <a:lnTo>
                      <a:pt x="107534" y="128406"/>
                    </a:lnTo>
                    <a:lnTo>
                      <a:pt x="0" y="1973"/>
                    </a:lnTo>
                    <a:lnTo>
                      <a:pt x="2333" y="0"/>
                    </a:lnTo>
                    <a:close/>
                  </a:path>
                </a:pathLst>
              </a:custGeom>
              <a:grpFill/>
              <a:ln w="5978" cap="flat">
                <a:noFill/>
                <a:prstDash val="solid"/>
                <a:miter/>
              </a:ln>
            </p:spPr>
            <p:txBody>
              <a:bodyPr rtlCol="0" anchor="ctr"/>
              <a:lstStyle/>
              <a:p>
                <a:endParaRPr lang="en-GB"/>
              </a:p>
            </p:txBody>
          </p:sp>
          <p:sp>
            <p:nvSpPr>
              <p:cNvPr id="3810" name="Vrije vorm: vorm 3809">
                <a:extLst>
                  <a:ext uri="{FF2B5EF4-FFF2-40B4-BE49-F238E27FC236}">
                    <a16:creationId xmlns:a16="http://schemas.microsoft.com/office/drawing/2014/main" id="{9F40F8D6-70BA-410F-8121-BE98C550606D}"/>
                  </a:ext>
                </a:extLst>
              </p:cNvPr>
              <p:cNvSpPr/>
              <p:nvPr/>
            </p:nvSpPr>
            <p:spPr>
              <a:xfrm>
                <a:off x="7247037" y="4819747"/>
                <a:ext cx="18360" cy="18374"/>
              </a:xfrm>
              <a:custGeom>
                <a:avLst/>
                <a:gdLst>
                  <a:gd name="connsiteX0" fmla="*/ 16150 w 18360"/>
                  <a:gd name="connsiteY0" fmla="*/ 3207 h 18374"/>
                  <a:gd name="connsiteX1" fmla="*/ 15134 w 18360"/>
                  <a:gd name="connsiteY1" fmla="*/ 16185 h 18374"/>
                  <a:gd name="connsiteX2" fmla="*/ 2215 w 18360"/>
                  <a:gd name="connsiteY2" fmla="*/ 15168 h 18374"/>
                  <a:gd name="connsiteX3" fmla="*/ 3173 w 18360"/>
                  <a:gd name="connsiteY3" fmla="*/ 2190 h 18374"/>
                  <a:gd name="connsiteX4" fmla="*/ 16150 w 18360"/>
                  <a:gd name="connsiteY4" fmla="*/ 3207 h 1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374">
                    <a:moveTo>
                      <a:pt x="16150" y="3207"/>
                    </a:moveTo>
                    <a:cubicBezTo>
                      <a:pt x="19440" y="7094"/>
                      <a:pt x="19021" y="12896"/>
                      <a:pt x="15134" y="16185"/>
                    </a:cubicBezTo>
                    <a:cubicBezTo>
                      <a:pt x="11306" y="19474"/>
                      <a:pt x="5504" y="18996"/>
                      <a:pt x="2215" y="15168"/>
                    </a:cubicBezTo>
                    <a:cubicBezTo>
                      <a:pt x="-1074" y="11281"/>
                      <a:pt x="-655" y="5480"/>
                      <a:pt x="3173" y="2190"/>
                    </a:cubicBezTo>
                    <a:cubicBezTo>
                      <a:pt x="7059" y="-1100"/>
                      <a:pt x="12861" y="-621"/>
                      <a:pt x="16150" y="3207"/>
                    </a:cubicBezTo>
                    <a:close/>
                  </a:path>
                </a:pathLst>
              </a:custGeom>
              <a:grpFill/>
              <a:ln w="5978" cap="flat">
                <a:noFill/>
                <a:prstDash val="solid"/>
                <a:miter/>
              </a:ln>
            </p:spPr>
            <p:txBody>
              <a:bodyPr rtlCol="0" anchor="ctr"/>
              <a:lstStyle/>
              <a:p>
                <a:endParaRPr lang="en-GB"/>
              </a:p>
            </p:txBody>
          </p:sp>
          <p:sp>
            <p:nvSpPr>
              <p:cNvPr id="3811" name="Vrije vorm: vorm 3810">
                <a:extLst>
                  <a:ext uri="{FF2B5EF4-FFF2-40B4-BE49-F238E27FC236}">
                    <a16:creationId xmlns:a16="http://schemas.microsoft.com/office/drawing/2014/main" id="{5B3D3B34-224A-480C-93A9-1B058CC50FED}"/>
                  </a:ext>
                </a:extLst>
              </p:cNvPr>
              <p:cNvSpPr/>
              <p:nvPr/>
            </p:nvSpPr>
            <p:spPr>
              <a:xfrm>
                <a:off x="7140127" y="4694048"/>
                <a:ext cx="18334" cy="18463"/>
              </a:xfrm>
              <a:custGeom>
                <a:avLst/>
                <a:gdLst>
                  <a:gd name="connsiteX0" fmla="*/ 16125 w 18334"/>
                  <a:gd name="connsiteY0" fmla="*/ 3251 h 18463"/>
                  <a:gd name="connsiteX1" fmla="*/ 3206 w 18334"/>
                  <a:gd name="connsiteY1" fmla="*/ 2234 h 18463"/>
                  <a:gd name="connsiteX2" fmla="*/ 2190 w 18334"/>
                  <a:gd name="connsiteY2" fmla="*/ 15212 h 18463"/>
                  <a:gd name="connsiteX3" fmla="*/ 15109 w 18334"/>
                  <a:gd name="connsiteY3" fmla="*/ 16229 h 18463"/>
                  <a:gd name="connsiteX4" fmla="*/ 16125 w 18334"/>
                  <a:gd name="connsiteY4" fmla="*/ 32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63">
                    <a:moveTo>
                      <a:pt x="16125" y="3251"/>
                    </a:moveTo>
                    <a:cubicBezTo>
                      <a:pt x="12836" y="-637"/>
                      <a:pt x="7034" y="-1115"/>
                      <a:pt x="3206" y="2234"/>
                    </a:cubicBezTo>
                    <a:cubicBezTo>
                      <a:pt x="-621" y="5524"/>
                      <a:pt x="-1100" y="11325"/>
                      <a:pt x="2190" y="15212"/>
                    </a:cubicBezTo>
                    <a:cubicBezTo>
                      <a:pt x="5479" y="19100"/>
                      <a:pt x="11281" y="19578"/>
                      <a:pt x="15109" y="16229"/>
                    </a:cubicBezTo>
                    <a:cubicBezTo>
                      <a:pt x="18995" y="12940"/>
                      <a:pt x="19415" y="7079"/>
                      <a:pt x="16125" y="3251"/>
                    </a:cubicBezTo>
                    <a:close/>
                  </a:path>
                </a:pathLst>
              </a:custGeom>
              <a:grpFill/>
              <a:ln w="5978" cap="flat">
                <a:noFill/>
                <a:prstDash val="solid"/>
                <a:miter/>
              </a:ln>
            </p:spPr>
            <p:txBody>
              <a:bodyPr rtlCol="0" anchor="ctr"/>
              <a:lstStyle/>
              <a:p>
                <a:endParaRPr lang="en-GB"/>
              </a:p>
            </p:txBody>
          </p:sp>
        </p:grpSp>
        <p:grpSp>
          <p:nvGrpSpPr>
            <p:cNvPr id="527" name="Graphic 3">
              <a:extLst>
                <a:ext uri="{FF2B5EF4-FFF2-40B4-BE49-F238E27FC236}">
                  <a16:creationId xmlns:a16="http://schemas.microsoft.com/office/drawing/2014/main" id="{4569EFCA-DBB8-4C86-927F-A4C8432E3BD6}"/>
                </a:ext>
              </a:extLst>
            </p:cNvPr>
            <p:cNvGrpSpPr/>
            <p:nvPr/>
          </p:nvGrpSpPr>
          <p:grpSpPr>
            <a:xfrm>
              <a:off x="7110423" y="4708473"/>
              <a:ext cx="281153" cy="399800"/>
              <a:chOff x="7110423" y="4708473"/>
              <a:chExt cx="281153" cy="399800"/>
            </a:xfrm>
            <a:grpFill/>
          </p:grpSpPr>
          <p:sp>
            <p:nvSpPr>
              <p:cNvPr id="3806" name="Vrije vorm: vorm 3805">
                <a:extLst>
                  <a:ext uri="{FF2B5EF4-FFF2-40B4-BE49-F238E27FC236}">
                    <a16:creationId xmlns:a16="http://schemas.microsoft.com/office/drawing/2014/main" id="{6A4EC290-BE57-4776-9740-171590EB9975}"/>
                  </a:ext>
                </a:extLst>
              </p:cNvPr>
              <p:cNvSpPr/>
              <p:nvPr/>
            </p:nvSpPr>
            <p:spPr>
              <a:xfrm>
                <a:off x="7118095" y="4716437"/>
                <a:ext cx="265843" cy="383902"/>
              </a:xfrm>
              <a:custGeom>
                <a:avLst/>
                <a:gdLst>
                  <a:gd name="connsiteX0" fmla="*/ 265844 w 265843"/>
                  <a:gd name="connsiteY0" fmla="*/ 382108 h 383902"/>
                  <a:gd name="connsiteX1" fmla="*/ 263331 w 265843"/>
                  <a:gd name="connsiteY1" fmla="*/ 383903 h 383902"/>
                  <a:gd name="connsiteX2" fmla="*/ 0 w 265843"/>
                  <a:gd name="connsiteY2" fmla="*/ 1734 h 383902"/>
                  <a:gd name="connsiteX3" fmla="*/ 2512 w 265843"/>
                  <a:gd name="connsiteY3" fmla="*/ 0 h 383902"/>
                </a:gdLst>
                <a:ahLst/>
                <a:cxnLst>
                  <a:cxn ang="0">
                    <a:pos x="connsiteX0" y="connsiteY0"/>
                  </a:cxn>
                  <a:cxn ang="0">
                    <a:pos x="connsiteX1" y="connsiteY1"/>
                  </a:cxn>
                  <a:cxn ang="0">
                    <a:pos x="connsiteX2" y="connsiteY2"/>
                  </a:cxn>
                  <a:cxn ang="0">
                    <a:pos x="connsiteX3" y="connsiteY3"/>
                  </a:cxn>
                </a:cxnLst>
                <a:rect l="l" t="t" r="r" b="b"/>
                <a:pathLst>
                  <a:path w="265843" h="383902">
                    <a:moveTo>
                      <a:pt x="265844" y="382108"/>
                    </a:moveTo>
                    <a:lnTo>
                      <a:pt x="263331" y="383903"/>
                    </a:lnTo>
                    <a:lnTo>
                      <a:pt x="0" y="1734"/>
                    </a:lnTo>
                    <a:lnTo>
                      <a:pt x="2512" y="0"/>
                    </a:lnTo>
                    <a:close/>
                  </a:path>
                </a:pathLst>
              </a:custGeom>
              <a:grpFill/>
              <a:ln w="5978" cap="flat">
                <a:noFill/>
                <a:prstDash val="solid"/>
                <a:miter/>
              </a:ln>
            </p:spPr>
            <p:txBody>
              <a:bodyPr rtlCol="0" anchor="ctr"/>
              <a:lstStyle/>
              <a:p>
                <a:endParaRPr lang="en-GB"/>
              </a:p>
            </p:txBody>
          </p:sp>
          <p:sp>
            <p:nvSpPr>
              <p:cNvPr id="3807" name="Vrije vorm: vorm 3806">
                <a:extLst>
                  <a:ext uri="{FF2B5EF4-FFF2-40B4-BE49-F238E27FC236}">
                    <a16:creationId xmlns:a16="http://schemas.microsoft.com/office/drawing/2014/main" id="{E01AF56D-2BE9-4338-950F-0B6899D6C1F8}"/>
                  </a:ext>
                </a:extLst>
              </p:cNvPr>
              <p:cNvSpPr/>
              <p:nvPr/>
            </p:nvSpPr>
            <p:spPr>
              <a:xfrm>
                <a:off x="7110423" y="4708473"/>
                <a:ext cx="18274" cy="18424"/>
              </a:xfrm>
              <a:custGeom>
                <a:avLst/>
                <a:gdLst>
                  <a:gd name="connsiteX0" fmla="*/ 1631 w 18274"/>
                  <a:gd name="connsiteY0" fmla="*/ 14423 h 18424"/>
                  <a:gd name="connsiteX1" fmla="*/ 3904 w 18274"/>
                  <a:gd name="connsiteY1" fmla="*/ 1625 h 18424"/>
                  <a:gd name="connsiteX2" fmla="*/ 16643 w 18274"/>
                  <a:gd name="connsiteY2" fmla="*/ 4017 h 18424"/>
                  <a:gd name="connsiteX3" fmla="*/ 14370 w 18274"/>
                  <a:gd name="connsiteY3" fmla="*/ 16816 h 18424"/>
                  <a:gd name="connsiteX4" fmla="*/ 1631 w 18274"/>
                  <a:gd name="connsiteY4" fmla="*/ 14423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24">
                    <a:moveTo>
                      <a:pt x="1631" y="14423"/>
                    </a:moveTo>
                    <a:cubicBezTo>
                      <a:pt x="-1239" y="10237"/>
                      <a:pt x="-222" y="4495"/>
                      <a:pt x="3904" y="1625"/>
                    </a:cubicBezTo>
                    <a:cubicBezTo>
                      <a:pt x="8031" y="-1246"/>
                      <a:pt x="13772" y="-229"/>
                      <a:pt x="16643" y="4017"/>
                    </a:cubicBezTo>
                    <a:cubicBezTo>
                      <a:pt x="19514" y="8203"/>
                      <a:pt x="18497" y="13945"/>
                      <a:pt x="14370" y="16816"/>
                    </a:cubicBezTo>
                    <a:cubicBezTo>
                      <a:pt x="10244" y="19686"/>
                      <a:pt x="4562" y="18610"/>
                      <a:pt x="1631" y="14423"/>
                    </a:cubicBezTo>
                    <a:close/>
                  </a:path>
                </a:pathLst>
              </a:custGeom>
              <a:grpFill/>
              <a:ln w="5978" cap="flat">
                <a:noFill/>
                <a:prstDash val="solid"/>
                <a:miter/>
              </a:ln>
            </p:spPr>
            <p:txBody>
              <a:bodyPr rtlCol="0" anchor="ctr"/>
              <a:lstStyle/>
              <a:p>
                <a:endParaRPr lang="en-GB"/>
              </a:p>
            </p:txBody>
          </p:sp>
          <p:sp>
            <p:nvSpPr>
              <p:cNvPr id="3808" name="Vrije vorm: vorm 3807">
                <a:extLst>
                  <a:ext uri="{FF2B5EF4-FFF2-40B4-BE49-F238E27FC236}">
                    <a16:creationId xmlns:a16="http://schemas.microsoft.com/office/drawing/2014/main" id="{177BC451-882F-4378-8B21-DE74A464A480}"/>
                  </a:ext>
                </a:extLst>
              </p:cNvPr>
              <p:cNvSpPr/>
              <p:nvPr/>
            </p:nvSpPr>
            <p:spPr>
              <a:xfrm>
                <a:off x="7373276" y="5089834"/>
                <a:ext cx="18300" cy="18439"/>
              </a:xfrm>
              <a:custGeom>
                <a:avLst/>
                <a:gdLst>
                  <a:gd name="connsiteX0" fmla="*/ 1631 w 18300"/>
                  <a:gd name="connsiteY0" fmla="*/ 14453 h 18439"/>
                  <a:gd name="connsiteX1" fmla="*/ 14370 w 18300"/>
                  <a:gd name="connsiteY1" fmla="*/ 16786 h 18439"/>
                  <a:gd name="connsiteX2" fmla="*/ 16643 w 18300"/>
                  <a:gd name="connsiteY2" fmla="*/ 3987 h 18439"/>
                  <a:gd name="connsiteX3" fmla="*/ 3904 w 18300"/>
                  <a:gd name="connsiteY3" fmla="*/ 1654 h 18439"/>
                  <a:gd name="connsiteX4" fmla="*/ 1631 w 18300"/>
                  <a:gd name="connsiteY4" fmla="*/ 14453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39">
                    <a:moveTo>
                      <a:pt x="1631" y="14453"/>
                    </a:moveTo>
                    <a:cubicBezTo>
                      <a:pt x="4502" y="18640"/>
                      <a:pt x="10243" y="19716"/>
                      <a:pt x="14370" y="16786"/>
                    </a:cubicBezTo>
                    <a:cubicBezTo>
                      <a:pt x="18497" y="13915"/>
                      <a:pt x="19574" y="8173"/>
                      <a:pt x="16643" y="3987"/>
                    </a:cubicBezTo>
                    <a:cubicBezTo>
                      <a:pt x="13772" y="-200"/>
                      <a:pt x="8031" y="-1276"/>
                      <a:pt x="3904" y="1654"/>
                    </a:cubicBezTo>
                    <a:cubicBezTo>
                      <a:pt x="-223" y="4525"/>
                      <a:pt x="-1239" y="10266"/>
                      <a:pt x="1631" y="14453"/>
                    </a:cubicBezTo>
                    <a:close/>
                  </a:path>
                </a:pathLst>
              </a:custGeom>
              <a:grpFill/>
              <a:ln w="5978" cap="flat">
                <a:noFill/>
                <a:prstDash val="solid"/>
                <a:miter/>
              </a:ln>
            </p:spPr>
            <p:txBody>
              <a:bodyPr rtlCol="0" anchor="ctr"/>
              <a:lstStyle/>
              <a:p>
                <a:endParaRPr lang="en-GB"/>
              </a:p>
            </p:txBody>
          </p:sp>
        </p:grpSp>
        <p:grpSp>
          <p:nvGrpSpPr>
            <p:cNvPr id="528" name="Graphic 3">
              <a:extLst>
                <a:ext uri="{FF2B5EF4-FFF2-40B4-BE49-F238E27FC236}">
                  <a16:creationId xmlns:a16="http://schemas.microsoft.com/office/drawing/2014/main" id="{617A5DA0-95A1-4BBA-A300-B262B63276BC}"/>
                </a:ext>
              </a:extLst>
            </p:cNvPr>
            <p:cNvGrpSpPr/>
            <p:nvPr/>
          </p:nvGrpSpPr>
          <p:grpSpPr>
            <a:xfrm>
              <a:off x="7196038" y="4866093"/>
              <a:ext cx="100134" cy="122175"/>
              <a:chOff x="7196038" y="4866093"/>
              <a:chExt cx="100134" cy="122175"/>
            </a:xfrm>
            <a:grpFill/>
          </p:grpSpPr>
          <p:sp>
            <p:nvSpPr>
              <p:cNvPr id="3803" name="Vrije vorm: vorm 3802">
                <a:extLst>
                  <a:ext uri="{FF2B5EF4-FFF2-40B4-BE49-F238E27FC236}">
                    <a16:creationId xmlns:a16="http://schemas.microsoft.com/office/drawing/2014/main" id="{C8A3E56A-0CFE-41F6-AEA3-AAE652AC2A62}"/>
                  </a:ext>
                </a:extLst>
              </p:cNvPr>
              <p:cNvSpPr/>
              <p:nvPr/>
            </p:nvSpPr>
            <p:spPr>
              <a:xfrm>
                <a:off x="7203740" y="4873969"/>
                <a:ext cx="84746" cy="106397"/>
              </a:xfrm>
              <a:custGeom>
                <a:avLst/>
                <a:gdLst>
                  <a:gd name="connsiteX0" fmla="*/ 84746 w 84746"/>
                  <a:gd name="connsiteY0" fmla="*/ 104483 h 106397"/>
                  <a:gd name="connsiteX1" fmla="*/ 82355 w 84746"/>
                  <a:gd name="connsiteY1" fmla="*/ 106397 h 106397"/>
                  <a:gd name="connsiteX2" fmla="*/ 0 w 84746"/>
                  <a:gd name="connsiteY2" fmla="*/ 1914 h 106397"/>
                  <a:gd name="connsiteX3" fmla="*/ 2392 w 84746"/>
                  <a:gd name="connsiteY3" fmla="*/ 0 h 106397"/>
                </a:gdLst>
                <a:ahLst/>
                <a:cxnLst>
                  <a:cxn ang="0">
                    <a:pos x="connsiteX0" y="connsiteY0"/>
                  </a:cxn>
                  <a:cxn ang="0">
                    <a:pos x="connsiteX1" y="connsiteY1"/>
                  </a:cxn>
                  <a:cxn ang="0">
                    <a:pos x="connsiteX2" y="connsiteY2"/>
                  </a:cxn>
                  <a:cxn ang="0">
                    <a:pos x="connsiteX3" y="connsiteY3"/>
                  </a:cxn>
                </a:cxnLst>
                <a:rect l="l" t="t" r="r" b="b"/>
                <a:pathLst>
                  <a:path w="84746" h="106397">
                    <a:moveTo>
                      <a:pt x="84746" y="104483"/>
                    </a:moveTo>
                    <a:lnTo>
                      <a:pt x="82355" y="106397"/>
                    </a:lnTo>
                    <a:lnTo>
                      <a:pt x="0" y="1914"/>
                    </a:lnTo>
                    <a:lnTo>
                      <a:pt x="2392" y="0"/>
                    </a:lnTo>
                    <a:close/>
                  </a:path>
                </a:pathLst>
              </a:custGeom>
              <a:grpFill/>
              <a:ln w="5978" cap="flat">
                <a:noFill/>
                <a:prstDash val="solid"/>
                <a:miter/>
              </a:ln>
            </p:spPr>
            <p:txBody>
              <a:bodyPr rtlCol="0" anchor="ctr"/>
              <a:lstStyle/>
              <a:p>
                <a:endParaRPr lang="en-GB"/>
              </a:p>
            </p:txBody>
          </p:sp>
          <p:sp>
            <p:nvSpPr>
              <p:cNvPr id="3804" name="Vrije vorm: vorm 3803">
                <a:extLst>
                  <a:ext uri="{FF2B5EF4-FFF2-40B4-BE49-F238E27FC236}">
                    <a16:creationId xmlns:a16="http://schemas.microsoft.com/office/drawing/2014/main" id="{04BE5357-7DAE-43A4-966A-74DAF9D57F26}"/>
                  </a:ext>
                </a:extLst>
              </p:cNvPr>
              <p:cNvSpPr/>
              <p:nvPr/>
            </p:nvSpPr>
            <p:spPr>
              <a:xfrm>
                <a:off x="7277810" y="4969833"/>
                <a:ext cx="18361" cy="18435"/>
              </a:xfrm>
              <a:custGeom>
                <a:avLst/>
                <a:gdLst>
                  <a:gd name="connsiteX0" fmla="*/ 16358 w 18361"/>
                  <a:gd name="connsiteY0" fmla="*/ 3536 h 18435"/>
                  <a:gd name="connsiteX1" fmla="*/ 14863 w 18361"/>
                  <a:gd name="connsiteY1" fmla="*/ 16454 h 18435"/>
                  <a:gd name="connsiteX2" fmla="*/ 2004 w 18361"/>
                  <a:gd name="connsiteY2" fmla="*/ 14899 h 18435"/>
                  <a:gd name="connsiteX3" fmla="*/ 3499 w 18361"/>
                  <a:gd name="connsiteY3" fmla="*/ 1981 h 18435"/>
                  <a:gd name="connsiteX4" fmla="*/ 16358 w 18361"/>
                  <a:gd name="connsiteY4" fmla="*/ 3536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35">
                    <a:moveTo>
                      <a:pt x="16358" y="3536"/>
                    </a:moveTo>
                    <a:cubicBezTo>
                      <a:pt x="19527" y="7543"/>
                      <a:pt x="18870" y="13344"/>
                      <a:pt x="14863" y="16454"/>
                    </a:cubicBezTo>
                    <a:cubicBezTo>
                      <a:pt x="10915" y="19624"/>
                      <a:pt x="5114" y="18906"/>
                      <a:pt x="2004" y="14899"/>
                    </a:cubicBezTo>
                    <a:cubicBezTo>
                      <a:pt x="-1166" y="10892"/>
                      <a:pt x="-508" y="5091"/>
                      <a:pt x="3499" y="1981"/>
                    </a:cubicBezTo>
                    <a:cubicBezTo>
                      <a:pt x="7447" y="-1189"/>
                      <a:pt x="13248" y="-471"/>
                      <a:pt x="16358" y="3536"/>
                    </a:cubicBezTo>
                    <a:close/>
                  </a:path>
                </a:pathLst>
              </a:custGeom>
              <a:grpFill/>
              <a:ln w="5978" cap="flat">
                <a:noFill/>
                <a:prstDash val="solid"/>
                <a:miter/>
              </a:ln>
            </p:spPr>
            <p:txBody>
              <a:bodyPr rtlCol="0" anchor="ctr"/>
              <a:lstStyle/>
              <a:p>
                <a:endParaRPr lang="en-GB"/>
              </a:p>
            </p:txBody>
          </p:sp>
          <p:sp>
            <p:nvSpPr>
              <p:cNvPr id="3805" name="Vrije vorm: vorm 3804">
                <a:extLst>
                  <a:ext uri="{FF2B5EF4-FFF2-40B4-BE49-F238E27FC236}">
                    <a16:creationId xmlns:a16="http://schemas.microsoft.com/office/drawing/2014/main" id="{C88DCD10-7842-4F6A-BE7E-BB1B93E31CA2}"/>
                  </a:ext>
                </a:extLst>
              </p:cNvPr>
              <p:cNvSpPr/>
              <p:nvPr/>
            </p:nvSpPr>
            <p:spPr>
              <a:xfrm>
                <a:off x="7196038" y="4866093"/>
                <a:ext cx="18299" cy="18384"/>
              </a:xfrm>
              <a:custGeom>
                <a:avLst/>
                <a:gdLst>
                  <a:gd name="connsiteX0" fmla="*/ 16314 w 18299"/>
                  <a:gd name="connsiteY0" fmla="*/ 3511 h 18384"/>
                  <a:gd name="connsiteX1" fmla="*/ 3455 w 18299"/>
                  <a:gd name="connsiteY1" fmla="*/ 1956 h 18384"/>
                  <a:gd name="connsiteX2" fmla="*/ 1960 w 18299"/>
                  <a:gd name="connsiteY2" fmla="*/ 14874 h 18384"/>
                  <a:gd name="connsiteX3" fmla="*/ 14819 w 18299"/>
                  <a:gd name="connsiteY3" fmla="*/ 16429 h 18384"/>
                  <a:gd name="connsiteX4" fmla="*/ 16314 w 18299"/>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84">
                    <a:moveTo>
                      <a:pt x="16314" y="3511"/>
                    </a:moveTo>
                    <a:cubicBezTo>
                      <a:pt x="13144" y="-496"/>
                      <a:pt x="7402" y="-1154"/>
                      <a:pt x="3455" y="1956"/>
                    </a:cubicBezTo>
                    <a:cubicBezTo>
                      <a:pt x="-492" y="5126"/>
                      <a:pt x="-1150" y="10927"/>
                      <a:pt x="1960" y="14874"/>
                    </a:cubicBezTo>
                    <a:cubicBezTo>
                      <a:pt x="5130" y="18881"/>
                      <a:pt x="10871" y="19539"/>
                      <a:pt x="14819" y="16429"/>
                    </a:cubicBezTo>
                    <a:cubicBezTo>
                      <a:pt x="18766" y="13319"/>
                      <a:pt x="19484" y="7458"/>
                      <a:pt x="16314" y="3511"/>
                    </a:cubicBezTo>
                    <a:close/>
                  </a:path>
                </a:pathLst>
              </a:custGeom>
              <a:grpFill/>
              <a:ln w="5978" cap="flat">
                <a:noFill/>
                <a:prstDash val="solid"/>
                <a:miter/>
              </a:ln>
            </p:spPr>
            <p:txBody>
              <a:bodyPr rtlCol="0" anchor="ctr"/>
              <a:lstStyle/>
              <a:p>
                <a:endParaRPr lang="en-GB"/>
              </a:p>
            </p:txBody>
          </p:sp>
        </p:grpSp>
        <p:grpSp>
          <p:nvGrpSpPr>
            <p:cNvPr id="529" name="Graphic 3">
              <a:extLst>
                <a:ext uri="{FF2B5EF4-FFF2-40B4-BE49-F238E27FC236}">
                  <a16:creationId xmlns:a16="http://schemas.microsoft.com/office/drawing/2014/main" id="{61D49486-D019-4EBE-AAA1-292A86845B0A}"/>
                </a:ext>
              </a:extLst>
            </p:cNvPr>
            <p:cNvGrpSpPr/>
            <p:nvPr/>
          </p:nvGrpSpPr>
          <p:grpSpPr>
            <a:xfrm>
              <a:off x="7232199" y="4970733"/>
              <a:ext cx="89327" cy="111908"/>
              <a:chOff x="7232199" y="4970733"/>
              <a:chExt cx="89327" cy="111908"/>
            </a:xfrm>
            <a:grpFill/>
          </p:grpSpPr>
          <p:sp>
            <p:nvSpPr>
              <p:cNvPr id="3800" name="Vrije vorm: vorm 3799">
                <a:extLst>
                  <a:ext uri="{FF2B5EF4-FFF2-40B4-BE49-F238E27FC236}">
                    <a16:creationId xmlns:a16="http://schemas.microsoft.com/office/drawing/2014/main" id="{9149A600-EE6F-4714-838F-967BCB2E4D17}"/>
                  </a:ext>
                </a:extLst>
              </p:cNvPr>
              <p:cNvSpPr/>
              <p:nvPr/>
            </p:nvSpPr>
            <p:spPr>
              <a:xfrm>
                <a:off x="7239922" y="4978632"/>
                <a:ext cx="73921" cy="96110"/>
              </a:xfrm>
              <a:custGeom>
                <a:avLst/>
                <a:gdLst>
                  <a:gd name="connsiteX0" fmla="*/ 73922 w 73921"/>
                  <a:gd name="connsiteY0" fmla="*/ 94256 h 96110"/>
                  <a:gd name="connsiteX1" fmla="*/ 71470 w 73921"/>
                  <a:gd name="connsiteY1" fmla="*/ 96110 h 96110"/>
                  <a:gd name="connsiteX2" fmla="*/ 0 w 73921"/>
                  <a:gd name="connsiteY2" fmla="*/ 1854 h 96110"/>
                  <a:gd name="connsiteX3" fmla="*/ 2392 w 73921"/>
                  <a:gd name="connsiteY3" fmla="*/ 0 h 96110"/>
                </a:gdLst>
                <a:ahLst/>
                <a:cxnLst>
                  <a:cxn ang="0">
                    <a:pos x="connsiteX0" y="connsiteY0"/>
                  </a:cxn>
                  <a:cxn ang="0">
                    <a:pos x="connsiteX1" y="connsiteY1"/>
                  </a:cxn>
                  <a:cxn ang="0">
                    <a:pos x="connsiteX2" y="connsiteY2"/>
                  </a:cxn>
                  <a:cxn ang="0">
                    <a:pos x="connsiteX3" y="connsiteY3"/>
                  </a:cxn>
                </a:cxnLst>
                <a:rect l="l" t="t" r="r" b="b"/>
                <a:pathLst>
                  <a:path w="73921" h="96110">
                    <a:moveTo>
                      <a:pt x="73922" y="94256"/>
                    </a:moveTo>
                    <a:lnTo>
                      <a:pt x="71470" y="96110"/>
                    </a:lnTo>
                    <a:lnTo>
                      <a:pt x="0" y="1854"/>
                    </a:lnTo>
                    <a:lnTo>
                      <a:pt x="2392" y="0"/>
                    </a:lnTo>
                    <a:close/>
                  </a:path>
                </a:pathLst>
              </a:custGeom>
              <a:grpFill/>
              <a:ln w="5978" cap="flat">
                <a:noFill/>
                <a:prstDash val="solid"/>
                <a:miter/>
              </a:ln>
            </p:spPr>
            <p:txBody>
              <a:bodyPr rtlCol="0" anchor="ctr"/>
              <a:lstStyle/>
              <a:p>
                <a:endParaRPr lang="en-GB"/>
              </a:p>
            </p:txBody>
          </p:sp>
          <p:sp>
            <p:nvSpPr>
              <p:cNvPr id="3801" name="Vrije vorm: vorm 3800">
                <a:extLst>
                  <a:ext uri="{FF2B5EF4-FFF2-40B4-BE49-F238E27FC236}">
                    <a16:creationId xmlns:a16="http://schemas.microsoft.com/office/drawing/2014/main" id="{4C1EE72F-7C0E-4D92-968B-8DF546693016}"/>
                  </a:ext>
                </a:extLst>
              </p:cNvPr>
              <p:cNvSpPr/>
              <p:nvPr/>
            </p:nvSpPr>
            <p:spPr>
              <a:xfrm>
                <a:off x="7303172" y="5064211"/>
                <a:ext cx="18354" cy="18429"/>
              </a:xfrm>
              <a:custGeom>
                <a:avLst/>
                <a:gdLst>
                  <a:gd name="connsiteX0" fmla="*/ 16474 w 18354"/>
                  <a:gd name="connsiteY0" fmla="*/ 3653 h 18429"/>
                  <a:gd name="connsiteX1" fmla="*/ 14739 w 18354"/>
                  <a:gd name="connsiteY1" fmla="*/ 16571 h 18429"/>
                  <a:gd name="connsiteX2" fmla="*/ 1881 w 18354"/>
                  <a:gd name="connsiteY2" fmla="*/ 14777 h 18429"/>
                  <a:gd name="connsiteX3" fmla="*/ 3615 w 18354"/>
                  <a:gd name="connsiteY3" fmla="*/ 1859 h 18429"/>
                  <a:gd name="connsiteX4" fmla="*/ 16474 w 18354"/>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29">
                    <a:moveTo>
                      <a:pt x="16474" y="3653"/>
                    </a:moveTo>
                    <a:cubicBezTo>
                      <a:pt x="19524" y="7720"/>
                      <a:pt x="18807" y="13461"/>
                      <a:pt x="14739" y="16571"/>
                    </a:cubicBezTo>
                    <a:cubicBezTo>
                      <a:pt x="10732" y="19621"/>
                      <a:pt x="4991" y="18844"/>
                      <a:pt x="1881" y="14777"/>
                    </a:cubicBezTo>
                    <a:cubicBezTo>
                      <a:pt x="-1170" y="10710"/>
                      <a:pt x="-452" y="4969"/>
                      <a:pt x="3615" y="1859"/>
                    </a:cubicBezTo>
                    <a:cubicBezTo>
                      <a:pt x="7622" y="-1192"/>
                      <a:pt x="13364" y="-414"/>
                      <a:pt x="16474" y="3653"/>
                    </a:cubicBezTo>
                    <a:close/>
                  </a:path>
                </a:pathLst>
              </a:custGeom>
              <a:grpFill/>
              <a:ln w="5978" cap="flat">
                <a:noFill/>
                <a:prstDash val="solid"/>
                <a:miter/>
              </a:ln>
            </p:spPr>
            <p:txBody>
              <a:bodyPr rtlCol="0" anchor="ctr"/>
              <a:lstStyle/>
              <a:p>
                <a:endParaRPr lang="en-GB"/>
              </a:p>
            </p:txBody>
          </p:sp>
          <p:sp>
            <p:nvSpPr>
              <p:cNvPr id="3802" name="Vrije vorm: vorm 3801">
                <a:extLst>
                  <a:ext uri="{FF2B5EF4-FFF2-40B4-BE49-F238E27FC236}">
                    <a16:creationId xmlns:a16="http://schemas.microsoft.com/office/drawing/2014/main" id="{09699063-3052-4152-B671-FE2C1F7984A1}"/>
                  </a:ext>
                </a:extLst>
              </p:cNvPr>
              <p:cNvSpPr/>
              <p:nvPr/>
            </p:nvSpPr>
            <p:spPr>
              <a:xfrm>
                <a:off x="7232199" y="4970733"/>
                <a:ext cx="18361" cy="18429"/>
              </a:xfrm>
              <a:custGeom>
                <a:avLst/>
                <a:gdLst>
                  <a:gd name="connsiteX0" fmla="*/ 16456 w 18361"/>
                  <a:gd name="connsiteY0" fmla="*/ 3653 h 18429"/>
                  <a:gd name="connsiteX1" fmla="*/ 3597 w 18361"/>
                  <a:gd name="connsiteY1" fmla="*/ 1858 h 18429"/>
                  <a:gd name="connsiteX2" fmla="*/ 1863 w 18361"/>
                  <a:gd name="connsiteY2" fmla="*/ 14777 h 18429"/>
                  <a:gd name="connsiteX3" fmla="*/ 14721 w 18361"/>
                  <a:gd name="connsiteY3" fmla="*/ 16571 h 18429"/>
                  <a:gd name="connsiteX4" fmla="*/ 16456 w 18361"/>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9">
                    <a:moveTo>
                      <a:pt x="16456" y="3653"/>
                    </a:moveTo>
                    <a:cubicBezTo>
                      <a:pt x="13406" y="-414"/>
                      <a:pt x="7604" y="-1191"/>
                      <a:pt x="3597" y="1858"/>
                    </a:cubicBezTo>
                    <a:cubicBezTo>
                      <a:pt x="-410" y="4909"/>
                      <a:pt x="-1188" y="10710"/>
                      <a:pt x="1863" y="14777"/>
                    </a:cubicBezTo>
                    <a:cubicBezTo>
                      <a:pt x="4913" y="18844"/>
                      <a:pt x="10714" y="19621"/>
                      <a:pt x="14721" y="16571"/>
                    </a:cubicBezTo>
                    <a:cubicBezTo>
                      <a:pt x="18788" y="13461"/>
                      <a:pt x="19565" y="7720"/>
                      <a:pt x="16456" y="3653"/>
                    </a:cubicBezTo>
                    <a:close/>
                  </a:path>
                </a:pathLst>
              </a:custGeom>
              <a:grpFill/>
              <a:ln w="5978" cap="flat">
                <a:noFill/>
                <a:prstDash val="solid"/>
                <a:miter/>
              </a:ln>
            </p:spPr>
            <p:txBody>
              <a:bodyPr rtlCol="0" anchor="ctr"/>
              <a:lstStyle/>
              <a:p>
                <a:endParaRPr lang="en-GB"/>
              </a:p>
            </p:txBody>
          </p:sp>
        </p:grpSp>
        <p:grpSp>
          <p:nvGrpSpPr>
            <p:cNvPr id="530" name="Graphic 3">
              <a:extLst>
                <a:ext uri="{FF2B5EF4-FFF2-40B4-BE49-F238E27FC236}">
                  <a16:creationId xmlns:a16="http://schemas.microsoft.com/office/drawing/2014/main" id="{6959D872-B224-47C6-8A4D-29D5E17BC682}"/>
                </a:ext>
              </a:extLst>
            </p:cNvPr>
            <p:cNvGrpSpPr/>
            <p:nvPr/>
          </p:nvGrpSpPr>
          <p:grpSpPr>
            <a:xfrm>
              <a:off x="6153987" y="1647167"/>
              <a:ext cx="23596" cy="100343"/>
              <a:chOff x="6153987" y="1647167"/>
              <a:chExt cx="23596" cy="100343"/>
            </a:xfrm>
            <a:grpFill/>
          </p:grpSpPr>
          <p:sp>
            <p:nvSpPr>
              <p:cNvPr id="3797" name="Vrije vorm: vorm 3796">
                <a:extLst>
                  <a:ext uri="{FF2B5EF4-FFF2-40B4-BE49-F238E27FC236}">
                    <a16:creationId xmlns:a16="http://schemas.microsoft.com/office/drawing/2014/main" id="{A575E1FC-BE7B-459F-8CB0-DBEB4C673586}"/>
                  </a:ext>
                </a:extLst>
              </p:cNvPr>
              <p:cNvSpPr/>
              <p:nvPr/>
            </p:nvSpPr>
            <p:spPr>
              <a:xfrm>
                <a:off x="6161598" y="1655803"/>
                <a:ext cx="8373" cy="83072"/>
              </a:xfrm>
              <a:custGeom>
                <a:avLst/>
                <a:gdLst>
                  <a:gd name="connsiteX0" fmla="*/ 8373 w 8373"/>
                  <a:gd name="connsiteY0" fmla="*/ 179 h 83072"/>
                  <a:gd name="connsiteX1" fmla="*/ 3050 w 8373"/>
                  <a:gd name="connsiteY1" fmla="*/ 83072 h 83072"/>
                  <a:gd name="connsiteX2" fmla="*/ 0 w 8373"/>
                  <a:gd name="connsiteY2" fmla="*/ 82893 h 83072"/>
                  <a:gd name="connsiteX3" fmla="*/ 5323 w 8373"/>
                  <a:gd name="connsiteY3" fmla="*/ 0 h 83072"/>
                </a:gdLst>
                <a:ahLst/>
                <a:cxnLst>
                  <a:cxn ang="0">
                    <a:pos x="connsiteX0" y="connsiteY0"/>
                  </a:cxn>
                  <a:cxn ang="0">
                    <a:pos x="connsiteX1" y="connsiteY1"/>
                  </a:cxn>
                  <a:cxn ang="0">
                    <a:pos x="connsiteX2" y="connsiteY2"/>
                  </a:cxn>
                  <a:cxn ang="0">
                    <a:pos x="connsiteX3" y="connsiteY3"/>
                  </a:cxn>
                </a:cxnLst>
                <a:rect l="l" t="t" r="r" b="b"/>
                <a:pathLst>
                  <a:path w="8373" h="83072">
                    <a:moveTo>
                      <a:pt x="8373" y="179"/>
                    </a:moveTo>
                    <a:lnTo>
                      <a:pt x="3050" y="83072"/>
                    </a:lnTo>
                    <a:lnTo>
                      <a:pt x="0" y="82893"/>
                    </a:lnTo>
                    <a:lnTo>
                      <a:pt x="5323" y="0"/>
                    </a:lnTo>
                    <a:close/>
                  </a:path>
                </a:pathLst>
              </a:custGeom>
              <a:grpFill/>
              <a:ln w="5978" cap="flat">
                <a:noFill/>
                <a:prstDash val="solid"/>
                <a:miter/>
              </a:ln>
            </p:spPr>
            <p:txBody>
              <a:bodyPr rtlCol="0" anchor="ctr"/>
              <a:lstStyle/>
              <a:p>
                <a:endParaRPr lang="en-GB"/>
              </a:p>
            </p:txBody>
          </p:sp>
          <p:sp>
            <p:nvSpPr>
              <p:cNvPr id="3798" name="Vrije vorm: vorm 3797">
                <a:extLst>
                  <a:ext uri="{FF2B5EF4-FFF2-40B4-BE49-F238E27FC236}">
                    <a16:creationId xmlns:a16="http://schemas.microsoft.com/office/drawing/2014/main" id="{45D2F15E-E45D-4B66-A276-3E65DCBFA886}"/>
                  </a:ext>
                </a:extLst>
              </p:cNvPr>
              <p:cNvSpPr/>
              <p:nvPr/>
            </p:nvSpPr>
            <p:spPr>
              <a:xfrm>
                <a:off x="6159250" y="1647167"/>
                <a:ext cx="18333" cy="18407"/>
              </a:xfrm>
              <a:custGeom>
                <a:avLst/>
                <a:gdLst>
                  <a:gd name="connsiteX0" fmla="*/ 16 w 18333"/>
                  <a:gd name="connsiteY0" fmla="*/ 8576 h 18407"/>
                  <a:gd name="connsiteX1" fmla="*/ 9765 w 18333"/>
                  <a:gd name="connsiteY1" fmla="*/ 23 h 18407"/>
                  <a:gd name="connsiteX2" fmla="*/ 18317 w 18333"/>
                  <a:gd name="connsiteY2" fmla="*/ 9832 h 18407"/>
                  <a:gd name="connsiteX3" fmla="*/ 8569 w 18333"/>
                  <a:gd name="connsiteY3" fmla="*/ 18384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315" y="3492"/>
                      <a:pt x="4681" y="-336"/>
                      <a:pt x="9765" y="23"/>
                    </a:cubicBezTo>
                    <a:cubicBezTo>
                      <a:pt x="14789" y="382"/>
                      <a:pt x="18616" y="4748"/>
                      <a:pt x="18317" y="9832"/>
                    </a:cubicBezTo>
                    <a:cubicBezTo>
                      <a:pt x="18018" y="14915"/>
                      <a:pt x="13652" y="18743"/>
                      <a:pt x="8569" y="18384"/>
                    </a:cubicBezTo>
                    <a:cubicBezTo>
                      <a:pt x="3545" y="18025"/>
                      <a:pt x="-283" y="13659"/>
                      <a:pt x="16" y="8576"/>
                    </a:cubicBezTo>
                    <a:close/>
                  </a:path>
                </a:pathLst>
              </a:custGeom>
              <a:grpFill/>
              <a:ln w="5978" cap="flat">
                <a:noFill/>
                <a:prstDash val="solid"/>
                <a:miter/>
              </a:ln>
            </p:spPr>
            <p:txBody>
              <a:bodyPr rtlCol="0" anchor="ctr"/>
              <a:lstStyle/>
              <a:p>
                <a:endParaRPr lang="en-GB"/>
              </a:p>
            </p:txBody>
          </p:sp>
          <p:sp>
            <p:nvSpPr>
              <p:cNvPr id="3799" name="Vrije vorm: vorm 3798">
                <a:extLst>
                  <a:ext uri="{FF2B5EF4-FFF2-40B4-BE49-F238E27FC236}">
                    <a16:creationId xmlns:a16="http://schemas.microsoft.com/office/drawing/2014/main" id="{4BDCB9C3-C91E-48E4-82EC-A7DCD256674D}"/>
                  </a:ext>
                </a:extLst>
              </p:cNvPr>
              <p:cNvSpPr/>
              <p:nvPr/>
            </p:nvSpPr>
            <p:spPr>
              <a:xfrm>
                <a:off x="6153987" y="1729103"/>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2" y="18743"/>
                      <a:pt x="17959" y="14915"/>
                      <a:pt x="18317" y="9832"/>
                    </a:cubicBezTo>
                    <a:cubicBezTo>
                      <a:pt x="18616" y="4748"/>
                      <a:pt x="14789" y="382"/>
                      <a:pt x="9765" y="23"/>
                    </a:cubicBezTo>
                    <a:cubicBezTo>
                      <a:pt x="4681" y="-336"/>
                      <a:pt x="315" y="3492"/>
                      <a:pt x="16" y="8576"/>
                    </a:cubicBezTo>
                    <a:close/>
                  </a:path>
                </a:pathLst>
              </a:custGeom>
              <a:grpFill/>
              <a:ln w="5978" cap="flat">
                <a:noFill/>
                <a:prstDash val="solid"/>
                <a:miter/>
              </a:ln>
            </p:spPr>
            <p:txBody>
              <a:bodyPr rtlCol="0" anchor="ctr"/>
              <a:lstStyle/>
              <a:p>
                <a:endParaRPr lang="en-GB"/>
              </a:p>
            </p:txBody>
          </p:sp>
        </p:grpSp>
        <p:grpSp>
          <p:nvGrpSpPr>
            <p:cNvPr id="531" name="Graphic 3">
              <a:extLst>
                <a:ext uri="{FF2B5EF4-FFF2-40B4-BE49-F238E27FC236}">
                  <a16:creationId xmlns:a16="http://schemas.microsoft.com/office/drawing/2014/main" id="{098C9B39-5BA1-4627-A749-470450DBD231}"/>
                </a:ext>
              </a:extLst>
            </p:cNvPr>
            <p:cNvGrpSpPr/>
            <p:nvPr/>
          </p:nvGrpSpPr>
          <p:grpSpPr>
            <a:xfrm>
              <a:off x="6061200" y="1281009"/>
              <a:ext cx="60249" cy="461736"/>
              <a:chOff x="6061200" y="1281009"/>
              <a:chExt cx="60249" cy="461736"/>
            </a:xfrm>
            <a:grpFill/>
          </p:grpSpPr>
          <p:sp>
            <p:nvSpPr>
              <p:cNvPr id="3794" name="Vrije vorm: vorm 3793">
                <a:extLst>
                  <a:ext uri="{FF2B5EF4-FFF2-40B4-BE49-F238E27FC236}">
                    <a16:creationId xmlns:a16="http://schemas.microsoft.com/office/drawing/2014/main" id="{0D896C47-25D6-49DC-A175-B9B9650D6BA7}"/>
                  </a:ext>
                </a:extLst>
              </p:cNvPr>
              <p:cNvSpPr/>
              <p:nvPr/>
            </p:nvSpPr>
            <p:spPr>
              <a:xfrm>
                <a:off x="6068838" y="1289544"/>
                <a:ext cx="44974" cy="444606"/>
              </a:xfrm>
              <a:custGeom>
                <a:avLst/>
                <a:gdLst>
                  <a:gd name="connsiteX0" fmla="*/ 44975 w 44974"/>
                  <a:gd name="connsiteY0" fmla="*/ 299 h 444606"/>
                  <a:gd name="connsiteX1" fmla="*/ 3050 w 44974"/>
                  <a:gd name="connsiteY1" fmla="*/ 444607 h 444606"/>
                  <a:gd name="connsiteX2" fmla="*/ 0 w 44974"/>
                  <a:gd name="connsiteY2" fmla="*/ 444308 h 444606"/>
                  <a:gd name="connsiteX3" fmla="*/ 41925 w 44974"/>
                  <a:gd name="connsiteY3" fmla="*/ 0 h 444606"/>
                </a:gdLst>
                <a:ahLst/>
                <a:cxnLst>
                  <a:cxn ang="0">
                    <a:pos x="connsiteX0" y="connsiteY0"/>
                  </a:cxn>
                  <a:cxn ang="0">
                    <a:pos x="connsiteX1" y="connsiteY1"/>
                  </a:cxn>
                  <a:cxn ang="0">
                    <a:pos x="connsiteX2" y="connsiteY2"/>
                  </a:cxn>
                  <a:cxn ang="0">
                    <a:pos x="connsiteX3" y="connsiteY3"/>
                  </a:cxn>
                </a:cxnLst>
                <a:rect l="l" t="t" r="r" b="b"/>
                <a:pathLst>
                  <a:path w="44974" h="444606">
                    <a:moveTo>
                      <a:pt x="44975" y="299"/>
                    </a:moveTo>
                    <a:lnTo>
                      <a:pt x="3050" y="444607"/>
                    </a:lnTo>
                    <a:lnTo>
                      <a:pt x="0" y="444308"/>
                    </a:lnTo>
                    <a:lnTo>
                      <a:pt x="41925" y="0"/>
                    </a:lnTo>
                    <a:close/>
                  </a:path>
                </a:pathLst>
              </a:custGeom>
              <a:grpFill/>
              <a:ln w="5978" cap="flat">
                <a:noFill/>
                <a:prstDash val="solid"/>
                <a:miter/>
              </a:ln>
            </p:spPr>
            <p:txBody>
              <a:bodyPr rtlCol="0" anchor="ctr"/>
              <a:lstStyle/>
              <a:p>
                <a:endParaRPr lang="en-GB"/>
              </a:p>
            </p:txBody>
          </p:sp>
          <p:sp>
            <p:nvSpPr>
              <p:cNvPr id="3795" name="Vrije vorm: vorm 3794">
                <a:extLst>
                  <a:ext uri="{FF2B5EF4-FFF2-40B4-BE49-F238E27FC236}">
                    <a16:creationId xmlns:a16="http://schemas.microsoft.com/office/drawing/2014/main" id="{81C26FDB-54FB-4AFE-B1AF-2E255D866985}"/>
                  </a:ext>
                </a:extLst>
              </p:cNvPr>
              <p:cNvSpPr/>
              <p:nvPr/>
            </p:nvSpPr>
            <p:spPr>
              <a:xfrm>
                <a:off x="6061200" y="1724360"/>
                <a:ext cx="18324" cy="18385"/>
              </a:xfrm>
              <a:custGeom>
                <a:avLst/>
                <a:gdLst>
                  <a:gd name="connsiteX0" fmla="*/ 18283 w 18324"/>
                  <a:gd name="connsiteY0" fmla="*/ 10090 h 18385"/>
                  <a:gd name="connsiteX1" fmla="*/ 8295 w 18324"/>
                  <a:gd name="connsiteY1" fmla="*/ 18343 h 18385"/>
                  <a:gd name="connsiteX2" fmla="*/ 42 w 18324"/>
                  <a:gd name="connsiteY2" fmla="*/ 8296 h 18385"/>
                  <a:gd name="connsiteX3" fmla="*/ 10029 w 18324"/>
                  <a:gd name="connsiteY3" fmla="*/ 42 h 18385"/>
                  <a:gd name="connsiteX4" fmla="*/ 18283 w 18324"/>
                  <a:gd name="connsiteY4" fmla="*/ 10090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5">
                    <a:moveTo>
                      <a:pt x="18283" y="10090"/>
                    </a:moveTo>
                    <a:cubicBezTo>
                      <a:pt x="17804" y="15173"/>
                      <a:pt x="13319" y="18822"/>
                      <a:pt x="8295" y="18343"/>
                    </a:cubicBezTo>
                    <a:cubicBezTo>
                      <a:pt x="3271" y="17865"/>
                      <a:pt x="-437" y="13319"/>
                      <a:pt x="42" y="8296"/>
                    </a:cubicBezTo>
                    <a:cubicBezTo>
                      <a:pt x="520" y="3212"/>
                      <a:pt x="5006" y="-436"/>
                      <a:pt x="10029" y="42"/>
                    </a:cubicBezTo>
                    <a:cubicBezTo>
                      <a:pt x="15113" y="461"/>
                      <a:pt x="18761" y="5006"/>
                      <a:pt x="18283" y="10090"/>
                    </a:cubicBezTo>
                    <a:close/>
                  </a:path>
                </a:pathLst>
              </a:custGeom>
              <a:grpFill/>
              <a:ln w="5978" cap="flat">
                <a:noFill/>
                <a:prstDash val="solid"/>
                <a:miter/>
              </a:ln>
            </p:spPr>
            <p:txBody>
              <a:bodyPr rtlCol="0" anchor="ctr"/>
              <a:lstStyle/>
              <a:p>
                <a:endParaRPr lang="en-GB"/>
              </a:p>
            </p:txBody>
          </p:sp>
          <p:sp>
            <p:nvSpPr>
              <p:cNvPr id="3796" name="Vrije vorm: vorm 3795">
                <a:extLst>
                  <a:ext uri="{FF2B5EF4-FFF2-40B4-BE49-F238E27FC236}">
                    <a16:creationId xmlns:a16="http://schemas.microsoft.com/office/drawing/2014/main" id="{3F767908-4036-4F7E-AEFD-71AD4073246A}"/>
                  </a:ext>
                </a:extLst>
              </p:cNvPr>
              <p:cNvSpPr/>
              <p:nvPr/>
            </p:nvSpPr>
            <p:spPr>
              <a:xfrm>
                <a:off x="6103125" y="1281009"/>
                <a:ext cx="18324" cy="18384"/>
              </a:xfrm>
              <a:custGeom>
                <a:avLst/>
                <a:gdLst>
                  <a:gd name="connsiteX0" fmla="*/ 18283 w 18324"/>
                  <a:gd name="connsiteY0" fmla="*/ 10090 h 18384"/>
                  <a:gd name="connsiteX1" fmla="*/ 10029 w 18324"/>
                  <a:gd name="connsiteY1" fmla="*/ 42 h 18384"/>
                  <a:gd name="connsiteX2" fmla="*/ 42 w 18324"/>
                  <a:gd name="connsiteY2" fmla="*/ 8296 h 18384"/>
                  <a:gd name="connsiteX3" fmla="*/ 8295 w 18324"/>
                  <a:gd name="connsiteY3" fmla="*/ 18343 h 18384"/>
                  <a:gd name="connsiteX4" fmla="*/ 18283 w 18324"/>
                  <a:gd name="connsiteY4" fmla="*/ 10090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18283" y="10090"/>
                    </a:moveTo>
                    <a:cubicBezTo>
                      <a:pt x="18761" y="5006"/>
                      <a:pt x="15053" y="521"/>
                      <a:pt x="10029" y="42"/>
                    </a:cubicBezTo>
                    <a:cubicBezTo>
                      <a:pt x="5005" y="-436"/>
                      <a:pt x="520" y="3212"/>
                      <a:pt x="42" y="8296"/>
                    </a:cubicBezTo>
                    <a:cubicBezTo>
                      <a:pt x="-437" y="13379"/>
                      <a:pt x="3271" y="17865"/>
                      <a:pt x="8295" y="18343"/>
                    </a:cubicBezTo>
                    <a:cubicBezTo>
                      <a:pt x="13319" y="18822"/>
                      <a:pt x="17804" y="15114"/>
                      <a:pt x="18283" y="10090"/>
                    </a:cubicBezTo>
                    <a:close/>
                  </a:path>
                </a:pathLst>
              </a:custGeom>
              <a:grpFill/>
              <a:ln w="5978" cap="flat">
                <a:noFill/>
                <a:prstDash val="solid"/>
                <a:miter/>
              </a:ln>
            </p:spPr>
            <p:txBody>
              <a:bodyPr rtlCol="0" anchor="ctr"/>
              <a:lstStyle/>
              <a:p>
                <a:endParaRPr lang="en-GB"/>
              </a:p>
            </p:txBody>
          </p:sp>
        </p:grpSp>
        <p:grpSp>
          <p:nvGrpSpPr>
            <p:cNvPr id="532" name="Graphic 3">
              <a:extLst>
                <a:ext uri="{FF2B5EF4-FFF2-40B4-BE49-F238E27FC236}">
                  <a16:creationId xmlns:a16="http://schemas.microsoft.com/office/drawing/2014/main" id="{8863FFEE-8F6E-4522-8F90-ABDAB8A5CDF1}"/>
                </a:ext>
              </a:extLst>
            </p:cNvPr>
            <p:cNvGrpSpPr/>
            <p:nvPr/>
          </p:nvGrpSpPr>
          <p:grpSpPr>
            <a:xfrm>
              <a:off x="6061480" y="1440556"/>
              <a:ext cx="19737" cy="178645"/>
              <a:chOff x="6061480" y="1440556"/>
              <a:chExt cx="19737" cy="178645"/>
            </a:xfrm>
            <a:grpFill/>
          </p:grpSpPr>
          <p:sp>
            <p:nvSpPr>
              <p:cNvPr id="3791" name="Vrije vorm: vorm 3790">
                <a:extLst>
                  <a:ext uri="{FF2B5EF4-FFF2-40B4-BE49-F238E27FC236}">
                    <a16:creationId xmlns:a16="http://schemas.microsoft.com/office/drawing/2014/main" id="{A65B1F97-38C0-4175-BBCD-1A36DAE5FB85}"/>
                  </a:ext>
                </a:extLst>
              </p:cNvPr>
              <p:cNvSpPr/>
              <p:nvPr/>
            </p:nvSpPr>
            <p:spPr>
              <a:xfrm>
                <a:off x="6069137" y="1449289"/>
                <a:ext cx="4425" cy="161180"/>
              </a:xfrm>
              <a:custGeom>
                <a:avLst/>
                <a:gdLst>
                  <a:gd name="connsiteX0" fmla="*/ 4426 w 4425"/>
                  <a:gd name="connsiteY0" fmla="*/ 60 h 161180"/>
                  <a:gd name="connsiteX1" fmla="*/ 3050 w 4425"/>
                  <a:gd name="connsiteY1" fmla="*/ 161180 h 161180"/>
                  <a:gd name="connsiteX2" fmla="*/ 0 w 4425"/>
                  <a:gd name="connsiteY2" fmla="*/ 161121 h 161180"/>
                  <a:gd name="connsiteX3" fmla="*/ 1375 w 4425"/>
                  <a:gd name="connsiteY3" fmla="*/ 0 h 161180"/>
                </a:gdLst>
                <a:ahLst/>
                <a:cxnLst>
                  <a:cxn ang="0">
                    <a:pos x="connsiteX0" y="connsiteY0"/>
                  </a:cxn>
                  <a:cxn ang="0">
                    <a:pos x="connsiteX1" y="connsiteY1"/>
                  </a:cxn>
                  <a:cxn ang="0">
                    <a:pos x="connsiteX2" y="connsiteY2"/>
                  </a:cxn>
                  <a:cxn ang="0">
                    <a:pos x="connsiteX3" y="connsiteY3"/>
                  </a:cxn>
                </a:cxnLst>
                <a:rect l="l" t="t" r="r" b="b"/>
                <a:pathLst>
                  <a:path w="4425" h="161180">
                    <a:moveTo>
                      <a:pt x="4426" y="60"/>
                    </a:moveTo>
                    <a:lnTo>
                      <a:pt x="3050" y="161180"/>
                    </a:lnTo>
                    <a:lnTo>
                      <a:pt x="0" y="161121"/>
                    </a:lnTo>
                    <a:lnTo>
                      <a:pt x="1375" y="0"/>
                    </a:lnTo>
                    <a:close/>
                  </a:path>
                </a:pathLst>
              </a:custGeom>
              <a:grpFill/>
              <a:ln w="5978" cap="flat">
                <a:noFill/>
                <a:prstDash val="solid"/>
                <a:miter/>
              </a:ln>
            </p:spPr>
            <p:txBody>
              <a:bodyPr rtlCol="0" anchor="ctr"/>
              <a:lstStyle/>
              <a:p>
                <a:endParaRPr lang="en-GB"/>
              </a:p>
            </p:txBody>
          </p:sp>
          <p:sp>
            <p:nvSpPr>
              <p:cNvPr id="3792" name="Vrije vorm: vorm 3791">
                <a:extLst>
                  <a:ext uri="{FF2B5EF4-FFF2-40B4-BE49-F238E27FC236}">
                    <a16:creationId xmlns:a16="http://schemas.microsoft.com/office/drawing/2014/main" id="{01BE2C37-6E72-4A00-95B2-C19FBA58B065}"/>
                  </a:ext>
                </a:extLst>
              </p:cNvPr>
              <p:cNvSpPr/>
              <p:nvPr/>
            </p:nvSpPr>
            <p:spPr>
              <a:xfrm>
                <a:off x="6062856" y="1440556"/>
                <a:ext cx="18361" cy="18421"/>
              </a:xfrm>
              <a:custGeom>
                <a:avLst/>
                <a:gdLst>
                  <a:gd name="connsiteX0" fmla="*/ 1 w 18361"/>
                  <a:gd name="connsiteY0" fmla="*/ 9091 h 18421"/>
                  <a:gd name="connsiteX1" fmla="*/ 9271 w 18361"/>
                  <a:gd name="connsiteY1" fmla="*/ 1 h 18421"/>
                  <a:gd name="connsiteX2" fmla="*/ 18361 w 18361"/>
                  <a:gd name="connsiteY2" fmla="*/ 9331 h 18421"/>
                  <a:gd name="connsiteX3" fmla="*/ 9091 w 18361"/>
                  <a:gd name="connsiteY3" fmla="*/ 18421 h 18421"/>
                  <a:gd name="connsiteX4" fmla="*/ 1 w 18361"/>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1" y="9091"/>
                    </a:moveTo>
                    <a:cubicBezTo>
                      <a:pt x="60" y="4008"/>
                      <a:pt x="4187" y="-59"/>
                      <a:pt x="9271" y="1"/>
                    </a:cubicBezTo>
                    <a:cubicBezTo>
                      <a:pt x="14354" y="60"/>
                      <a:pt x="18421" y="4247"/>
                      <a:pt x="18361" y="9331"/>
                    </a:cubicBezTo>
                    <a:cubicBezTo>
                      <a:pt x="18302" y="14414"/>
                      <a:pt x="14175" y="18481"/>
                      <a:pt x="9091" y="18421"/>
                    </a:cubicBezTo>
                    <a:cubicBezTo>
                      <a:pt x="4067" y="18361"/>
                      <a:pt x="-59" y="14235"/>
                      <a:pt x="1" y="9091"/>
                    </a:cubicBezTo>
                    <a:close/>
                  </a:path>
                </a:pathLst>
              </a:custGeom>
              <a:grpFill/>
              <a:ln w="5978" cap="flat">
                <a:noFill/>
                <a:prstDash val="solid"/>
                <a:miter/>
              </a:ln>
            </p:spPr>
            <p:txBody>
              <a:bodyPr rtlCol="0" anchor="ctr"/>
              <a:lstStyle/>
              <a:p>
                <a:endParaRPr lang="en-GB"/>
              </a:p>
            </p:txBody>
          </p:sp>
          <p:sp>
            <p:nvSpPr>
              <p:cNvPr id="3793" name="Vrije vorm: vorm 3792">
                <a:extLst>
                  <a:ext uri="{FF2B5EF4-FFF2-40B4-BE49-F238E27FC236}">
                    <a16:creationId xmlns:a16="http://schemas.microsoft.com/office/drawing/2014/main" id="{0D3E5110-C450-4E49-ABD0-56449B990F5A}"/>
                  </a:ext>
                </a:extLst>
              </p:cNvPr>
              <p:cNvSpPr/>
              <p:nvPr/>
            </p:nvSpPr>
            <p:spPr>
              <a:xfrm>
                <a:off x="6061480" y="1600780"/>
                <a:ext cx="18362" cy="18421"/>
              </a:xfrm>
              <a:custGeom>
                <a:avLst/>
                <a:gdLst>
                  <a:gd name="connsiteX0" fmla="*/ 1 w 18362"/>
                  <a:gd name="connsiteY0" fmla="*/ 9091 h 18421"/>
                  <a:gd name="connsiteX1" fmla="*/ 9091 w 18362"/>
                  <a:gd name="connsiteY1" fmla="*/ 18421 h 18421"/>
                  <a:gd name="connsiteX2" fmla="*/ 18362 w 18362"/>
                  <a:gd name="connsiteY2" fmla="*/ 9331 h 18421"/>
                  <a:gd name="connsiteX3" fmla="*/ 9271 w 18362"/>
                  <a:gd name="connsiteY3" fmla="*/ 1 h 18421"/>
                  <a:gd name="connsiteX4" fmla="*/ 1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091"/>
                    </a:moveTo>
                    <a:cubicBezTo>
                      <a:pt x="-59" y="14175"/>
                      <a:pt x="4008" y="18362"/>
                      <a:pt x="9091" y="18421"/>
                    </a:cubicBezTo>
                    <a:cubicBezTo>
                      <a:pt x="14175" y="18481"/>
                      <a:pt x="18302" y="14414"/>
                      <a:pt x="18362" y="9331"/>
                    </a:cubicBezTo>
                    <a:cubicBezTo>
                      <a:pt x="18421" y="4247"/>
                      <a:pt x="14355" y="61"/>
                      <a:pt x="9271" y="1"/>
                    </a:cubicBezTo>
                    <a:cubicBezTo>
                      <a:pt x="4187" y="-59"/>
                      <a:pt x="61" y="4008"/>
                      <a:pt x="1" y="9091"/>
                    </a:cubicBezTo>
                    <a:close/>
                  </a:path>
                </a:pathLst>
              </a:custGeom>
              <a:grpFill/>
              <a:ln w="5978" cap="flat">
                <a:noFill/>
                <a:prstDash val="solid"/>
                <a:miter/>
              </a:ln>
            </p:spPr>
            <p:txBody>
              <a:bodyPr rtlCol="0" anchor="ctr"/>
              <a:lstStyle/>
              <a:p>
                <a:endParaRPr lang="en-GB"/>
              </a:p>
            </p:txBody>
          </p:sp>
        </p:grpSp>
        <p:grpSp>
          <p:nvGrpSpPr>
            <p:cNvPr id="533" name="Graphic 3">
              <a:extLst>
                <a:ext uri="{FF2B5EF4-FFF2-40B4-BE49-F238E27FC236}">
                  <a16:creationId xmlns:a16="http://schemas.microsoft.com/office/drawing/2014/main" id="{624CA216-4D94-4A6E-A4E9-721A2EF776DE}"/>
                </a:ext>
              </a:extLst>
            </p:cNvPr>
            <p:cNvGrpSpPr/>
            <p:nvPr/>
          </p:nvGrpSpPr>
          <p:grpSpPr>
            <a:xfrm>
              <a:off x="7111070" y="4707981"/>
              <a:ext cx="109786" cy="130096"/>
              <a:chOff x="7111070" y="4707981"/>
              <a:chExt cx="109786" cy="130096"/>
            </a:xfrm>
            <a:grpFill/>
          </p:grpSpPr>
          <p:sp>
            <p:nvSpPr>
              <p:cNvPr id="3788" name="Vrije vorm: vorm 3787">
                <a:extLst>
                  <a:ext uri="{FF2B5EF4-FFF2-40B4-BE49-F238E27FC236}">
                    <a16:creationId xmlns:a16="http://schemas.microsoft.com/office/drawing/2014/main" id="{CECE14C2-EBB7-424E-AFB7-6CDB3A7DCD1F}"/>
                  </a:ext>
                </a:extLst>
              </p:cNvPr>
              <p:cNvSpPr/>
              <p:nvPr/>
            </p:nvSpPr>
            <p:spPr>
              <a:xfrm>
                <a:off x="7118753" y="4715899"/>
                <a:ext cx="94435" cy="114291"/>
              </a:xfrm>
              <a:custGeom>
                <a:avLst/>
                <a:gdLst>
                  <a:gd name="connsiteX0" fmla="*/ 94436 w 94435"/>
                  <a:gd name="connsiteY0" fmla="*/ 112378 h 114291"/>
                  <a:gd name="connsiteX1" fmla="*/ 92043 w 94435"/>
                  <a:gd name="connsiteY1" fmla="*/ 114291 h 114291"/>
                  <a:gd name="connsiteX2" fmla="*/ 0 w 94435"/>
                  <a:gd name="connsiteY2" fmla="*/ 1914 h 114291"/>
                  <a:gd name="connsiteX3" fmla="*/ 2333 w 94435"/>
                  <a:gd name="connsiteY3" fmla="*/ 0 h 114291"/>
                </a:gdLst>
                <a:ahLst/>
                <a:cxnLst>
                  <a:cxn ang="0">
                    <a:pos x="connsiteX0" y="connsiteY0"/>
                  </a:cxn>
                  <a:cxn ang="0">
                    <a:pos x="connsiteX1" y="connsiteY1"/>
                  </a:cxn>
                  <a:cxn ang="0">
                    <a:pos x="connsiteX2" y="connsiteY2"/>
                  </a:cxn>
                  <a:cxn ang="0">
                    <a:pos x="connsiteX3" y="connsiteY3"/>
                  </a:cxn>
                </a:cxnLst>
                <a:rect l="l" t="t" r="r" b="b"/>
                <a:pathLst>
                  <a:path w="94435" h="114291">
                    <a:moveTo>
                      <a:pt x="94436" y="112378"/>
                    </a:moveTo>
                    <a:lnTo>
                      <a:pt x="92043" y="114291"/>
                    </a:lnTo>
                    <a:lnTo>
                      <a:pt x="0" y="1914"/>
                    </a:lnTo>
                    <a:lnTo>
                      <a:pt x="2333" y="0"/>
                    </a:lnTo>
                    <a:close/>
                  </a:path>
                </a:pathLst>
              </a:custGeom>
              <a:grpFill/>
              <a:ln w="5978" cap="flat">
                <a:noFill/>
                <a:prstDash val="solid"/>
                <a:miter/>
              </a:ln>
            </p:spPr>
            <p:txBody>
              <a:bodyPr rtlCol="0" anchor="ctr"/>
              <a:lstStyle/>
              <a:p>
                <a:endParaRPr lang="en-GB"/>
              </a:p>
            </p:txBody>
          </p:sp>
          <p:sp>
            <p:nvSpPr>
              <p:cNvPr id="3789" name="Vrije vorm: vorm 3788">
                <a:extLst>
                  <a:ext uri="{FF2B5EF4-FFF2-40B4-BE49-F238E27FC236}">
                    <a16:creationId xmlns:a16="http://schemas.microsoft.com/office/drawing/2014/main" id="{52FCE6E7-8558-447E-9DD7-4FDC5CF90C95}"/>
                  </a:ext>
                </a:extLst>
              </p:cNvPr>
              <p:cNvSpPr/>
              <p:nvPr/>
            </p:nvSpPr>
            <p:spPr>
              <a:xfrm>
                <a:off x="7202466" y="4819652"/>
                <a:ext cx="18389" cy="18425"/>
              </a:xfrm>
              <a:custGeom>
                <a:avLst/>
                <a:gdLst>
                  <a:gd name="connsiteX0" fmla="*/ 16285 w 18389"/>
                  <a:gd name="connsiteY0" fmla="*/ 3361 h 18425"/>
                  <a:gd name="connsiteX1" fmla="*/ 15028 w 18389"/>
                  <a:gd name="connsiteY1" fmla="*/ 16339 h 18425"/>
                  <a:gd name="connsiteX2" fmla="*/ 2111 w 18389"/>
                  <a:gd name="connsiteY2" fmla="*/ 15083 h 18425"/>
                  <a:gd name="connsiteX3" fmla="*/ 3306 w 18389"/>
                  <a:gd name="connsiteY3" fmla="*/ 2105 h 18425"/>
                  <a:gd name="connsiteX4" fmla="*/ 16285 w 18389"/>
                  <a:gd name="connsiteY4" fmla="*/ 3361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9" h="18425">
                    <a:moveTo>
                      <a:pt x="16285" y="3361"/>
                    </a:moveTo>
                    <a:cubicBezTo>
                      <a:pt x="19514" y="7308"/>
                      <a:pt x="18976" y="13110"/>
                      <a:pt x="15028" y="16339"/>
                    </a:cubicBezTo>
                    <a:cubicBezTo>
                      <a:pt x="11141" y="19569"/>
                      <a:pt x="5340" y="18971"/>
                      <a:pt x="2111" y="15083"/>
                    </a:cubicBezTo>
                    <a:cubicBezTo>
                      <a:pt x="-1119" y="11136"/>
                      <a:pt x="-581" y="5335"/>
                      <a:pt x="3306" y="2105"/>
                    </a:cubicBezTo>
                    <a:cubicBezTo>
                      <a:pt x="7314" y="-1124"/>
                      <a:pt x="13055" y="-586"/>
                      <a:pt x="16285" y="3361"/>
                    </a:cubicBezTo>
                    <a:close/>
                  </a:path>
                </a:pathLst>
              </a:custGeom>
              <a:grpFill/>
              <a:ln w="5978" cap="flat">
                <a:noFill/>
                <a:prstDash val="solid"/>
                <a:miter/>
              </a:ln>
            </p:spPr>
            <p:txBody>
              <a:bodyPr rtlCol="0" anchor="ctr"/>
              <a:lstStyle/>
              <a:p>
                <a:endParaRPr lang="en-GB"/>
              </a:p>
            </p:txBody>
          </p:sp>
          <p:sp>
            <p:nvSpPr>
              <p:cNvPr id="3790" name="Vrije vorm: vorm 3789">
                <a:extLst>
                  <a:ext uri="{FF2B5EF4-FFF2-40B4-BE49-F238E27FC236}">
                    <a16:creationId xmlns:a16="http://schemas.microsoft.com/office/drawing/2014/main" id="{801647B7-D464-449D-8158-83B8C55EF916}"/>
                  </a:ext>
                </a:extLst>
              </p:cNvPr>
              <p:cNvSpPr/>
              <p:nvPr/>
            </p:nvSpPr>
            <p:spPr>
              <a:xfrm>
                <a:off x="7111070" y="4707981"/>
                <a:ext cx="18321" cy="18395"/>
              </a:xfrm>
              <a:custGeom>
                <a:avLst/>
                <a:gdLst>
                  <a:gd name="connsiteX0" fmla="*/ 16236 w 18321"/>
                  <a:gd name="connsiteY0" fmla="*/ 3372 h 18395"/>
                  <a:gd name="connsiteX1" fmla="*/ 3317 w 18321"/>
                  <a:gd name="connsiteY1" fmla="*/ 2056 h 18395"/>
                  <a:gd name="connsiteX2" fmla="*/ 2061 w 18321"/>
                  <a:gd name="connsiteY2" fmla="*/ 15034 h 18395"/>
                  <a:gd name="connsiteX3" fmla="*/ 14980 w 18321"/>
                  <a:gd name="connsiteY3" fmla="*/ 16290 h 18395"/>
                  <a:gd name="connsiteX4" fmla="*/ 16236 w 18321"/>
                  <a:gd name="connsiteY4" fmla="*/ 3372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95">
                    <a:moveTo>
                      <a:pt x="16236" y="3372"/>
                    </a:moveTo>
                    <a:cubicBezTo>
                      <a:pt x="13006" y="-575"/>
                      <a:pt x="7265" y="-1114"/>
                      <a:pt x="3317" y="2056"/>
                    </a:cubicBezTo>
                    <a:cubicBezTo>
                      <a:pt x="-571" y="5286"/>
                      <a:pt x="-1109" y="11087"/>
                      <a:pt x="2061" y="15034"/>
                    </a:cubicBezTo>
                    <a:cubicBezTo>
                      <a:pt x="5291" y="18981"/>
                      <a:pt x="11032" y="19520"/>
                      <a:pt x="14980" y="16290"/>
                    </a:cubicBezTo>
                    <a:cubicBezTo>
                      <a:pt x="18867" y="13120"/>
                      <a:pt x="19465" y="7319"/>
                      <a:pt x="16236" y="3372"/>
                    </a:cubicBezTo>
                    <a:close/>
                  </a:path>
                </a:pathLst>
              </a:custGeom>
              <a:grpFill/>
              <a:ln w="5978" cap="flat">
                <a:noFill/>
                <a:prstDash val="solid"/>
                <a:miter/>
              </a:ln>
            </p:spPr>
            <p:txBody>
              <a:bodyPr rtlCol="0" anchor="ctr"/>
              <a:lstStyle/>
              <a:p>
                <a:endParaRPr lang="en-GB"/>
              </a:p>
            </p:txBody>
          </p:sp>
        </p:grpSp>
        <p:grpSp>
          <p:nvGrpSpPr>
            <p:cNvPr id="534" name="Graphic 3">
              <a:extLst>
                <a:ext uri="{FF2B5EF4-FFF2-40B4-BE49-F238E27FC236}">
                  <a16:creationId xmlns:a16="http://schemas.microsoft.com/office/drawing/2014/main" id="{06F07A23-5461-4A1F-97C4-ADF5C2754044}"/>
                </a:ext>
              </a:extLst>
            </p:cNvPr>
            <p:cNvGrpSpPr/>
            <p:nvPr/>
          </p:nvGrpSpPr>
          <p:grpSpPr>
            <a:xfrm>
              <a:off x="6024460" y="1247977"/>
              <a:ext cx="20216" cy="206754"/>
              <a:chOff x="6024460" y="1247977"/>
              <a:chExt cx="20216" cy="206754"/>
            </a:xfrm>
            <a:grpFill/>
          </p:grpSpPr>
          <p:sp>
            <p:nvSpPr>
              <p:cNvPr id="3785" name="Vrije vorm: vorm 3784">
                <a:extLst>
                  <a:ext uri="{FF2B5EF4-FFF2-40B4-BE49-F238E27FC236}">
                    <a16:creationId xmlns:a16="http://schemas.microsoft.com/office/drawing/2014/main" id="{5BBC8853-589C-4969-A8A3-E9DDB2CBB47F}"/>
                  </a:ext>
                </a:extLst>
              </p:cNvPr>
              <p:cNvSpPr/>
              <p:nvPr/>
            </p:nvSpPr>
            <p:spPr>
              <a:xfrm>
                <a:off x="6032116" y="1256709"/>
                <a:ext cx="4904" cy="189289"/>
              </a:xfrm>
              <a:custGeom>
                <a:avLst/>
                <a:gdLst>
                  <a:gd name="connsiteX0" fmla="*/ 3050 w 4904"/>
                  <a:gd name="connsiteY0" fmla="*/ 0 h 189289"/>
                  <a:gd name="connsiteX1" fmla="*/ 4904 w 4904"/>
                  <a:gd name="connsiteY1" fmla="*/ 189290 h 189289"/>
                  <a:gd name="connsiteX2" fmla="*/ 1854 w 4904"/>
                  <a:gd name="connsiteY2" fmla="*/ 189290 h 189289"/>
                  <a:gd name="connsiteX3" fmla="*/ 0 w 4904"/>
                  <a:gd name="connsiteY3" fmla="*/ 0 h 189289"/>
                </a:gdLst>
                <a:ahLst/>
                <a:cxnLst>
                  <a:cxn ang="0">
                    <a:pos x="connsiteX0" y="connsiteY0"/>
                  </a:cxn>
                  <a:cxn ang="0">
                    <a:pos x="connsiteX1" y="connsiteY1"/>
                  </a:cxn>
                  <a:cxn ang="0">
                    <a:pos x="connsiteX2" y="connsiteY2"/>
                  </a:cxn>
                  <a:cxn ang="0">
                    <a:pos x="connsiteX3" y="connsiteY3"/>
                  </a:cxn>
                </a:cxnLst>
                <a:rect l="l" t="t" r="r" b="b"/>
                <a:pathLst>
                  <a:path w="4904" h="189289">
                    <a:moveTo>
                      <a:pt x="3050" y="0"/>
                    </a:moveTo>
                    <a:lnTo>
                      <a:pt x="4904" y="189290"/>
                    </a:lnTo>
                    <a:lnTo>
                      <a:pt x="1854" y="189290"/>
                    </a:lnTo>
                    <a:lnTo>
                      <a:pt x="0" y="0"/>
                    </a:lnTo>
                    <a:close/>
                  </a:path>
                </a:pathLst>
              </a:custGeom>
              <a:grpFill/>
              <a:ln w="5978" cap="flat">
                <a:noFill/>
                <a:prstDash val="solid"/>
                <a:miter/>
              </a:ln>
            </p:spPr>
            <p:txBody>
              <a:bodyPr rtlCol="0" anchor="ctr"/>
              <a:lstStyle/>
              <a:p>
                <a:endParaRPr lang="en-GB"/>
              </a:p>
            </p:txBody>
          </p:sp>
          <p:sp>
            <p:nvSpPr>
              <p:cNvPr id="3786" name="Vrije vorm: vorm 3785">
                <a:extLst>
                  <a:ext uri="{FF2B5EF4-FFF2-40B4-BE49-F238E27FC236}">
                    <a16:creationId xmlns:a16="http://schemas.microsoft.com/office/drawing/2014/main" id="{60B1F58F-A352-4644-8C00-BFB8E44DAE69}"/>
                  </a:ext>
                </a:extLst>
              </p:cNvPr>
              <p:cNvSpPr/>
              <p:nvPr/>
            </p:nvSpPr>
            <p:spPr>
              <a:xfrm>
                <a:off x="6024460" y="1247977"/>
                <a:ext cx="18362" cy="18421"/>
              </a:xfrm>
              <a:custGeom>
                <a:avLst/>
                <a:gdLst>
                  <a:gd name="connsiteX0" fmla="*/ 1 w 18362"/>
                  <a:gd name="connsiteY0" fmla="*/ 9271 h 18421"/>
                  <a:gd name="connsiteX1" fmla="*/ 9091 w 18362"/>
                  <a:gd name="connsiteY1" fmla="*/ 1 h 18421"/>
                  <a:gd name="connsiteX2" fmla="*/ 18362 w 18362"/>
                  <a:gd name="connsiteY2" fmla="*/ 9151 h 18421"/>
                  <a:gd name="connsiteX3" fmla="*/ 9271 w 18362"/>
                  <a:gd name="connsiteY3" fmla="*/ 1842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59" y="4187"/>
                      <a:pt x="4008" y="60"/>
                      <a:pt x="9091" y="1"/>
                    </a:cubicBezTo>
                    <a:cubicBezTo>
                      <a:pt x="14175" y="-59"/>
                      <a:pt x="18302" y="4068"/>
                      <a:pt x="18362" y="9151"/>
                    </a:cubicBezTo>
                    <a:cubicBezTo>
                      <a:pt x="18421" y="14235"/>
                      <a:pt x="14355" y="18361"/>
                      <a:pt x="9271" y="18421"/>
                    </a:cubicBezTo>
                    <a:cubicBezTo>
                      <a:pt x="4187" y="18481"/>
                      <a:pt x="61" y="14354"/>
                      <a:pt x="1" y="9271"/>
                    </a:cubicBezTo>
                    <a:close/>
                  </a:path>
                </a:pathLst>
              </a:custGeom>
              <a:grpFill/>
              <a:ln w="5978" cap="flat">
                <a:noFill/>
                <a:prstDash val="solid"/>
                <a:miter/>
              </a:ln>
            </p:spPr>
            <p:txBody>
              <a:bodyPr rtlCol="0" anchor="ctr"/>
              <a:lstStyle/>
              <a:p>
                <a:endParaRPr lang="en-GB"/>
              </a:p>
            </p:txBody>
          </p:sp>
          <p:sp>
            <p:nvSpPr>
              <p:cNvPr id="3787" name="Vrije vorm: vorm 3786">
                <a:extLst>
                  <a:ext uri="{FF2B5EF4-FFF2-40B4-BE49-F238E27FC236}">
                    <a16:creationId xmlns:a16="http://schemas.microsoft.com/office/drawing/2014/main" id="{82602ECB-717A-4B04-9375-4E6A1EB03FE6}"/>
                  </a:ext>
                </a:extLst>
              </p:cNvPr>
              <p:cNvSpPr/>
              <p:nvPr/>
            </p:nvSpPr>
            <p:spPr>
              <a:xfrm>
                <a:off x="6026314" y="1436310"/>
                <a:ext cx="18361" cy="18421"/>
              </a:xfrm>
              <a:custGeom>
                <a:avLst/>
                <a:gdLst>
                  <a:gd name="connsiteX0" fmla="*/ 0 w 18361"/>
                  <a:gd name="connsiteY0" fmla="*/ 9271 h 18421"/>
                  <a:gd name="connsiteX1" fmla="*/ 9270 w 18361"/>
                  <a:gd name="connsiteY1" fmla="*/ 18421 h 18421"/>
                  <a:gd name="connsiteX2" fmla="*/ 18361 w 18361"/>
                  <a:gd name="connsiteY2" fmla="*/ 9151 h 18421"/>
                  <a:gd name="connsiteX3" fmla="*/ 9091 w 18361"/>
                  <a:gd name="connsiteY3" fmla="*/ 1 h 18421"/>
                  <a:gd name="connsiteX4" fmla="*/ 0 w 18361"/>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0" y="9271"/>
                    </a:moveTo>
                    <a:cubicBezTo>
                      <a:pt x="60" y="14354"/>
                      <a:pt x="4187" y="18481"/>
                      <a:pt x="9270" y="18421"/>
                    </a:cubicBezTo>
                    <a:cubicBezTo>
                      <a:pt x="14354" y="18421"/>
                      <a:pt x="18421" y="14235"/>
                      <a:pt x="18361" y="9151"/>
                    </a:cubicBezTo>
                    <a:cubicBezTo>
                      <a:pt x="18301" y="4068"/>
                      <a:pt x="14174" y="-59"/>
                      <a:pt x="9091" y="1"/>
                    </a:cubicBezTo>
                    <a:cubicBezTo>
                      <a:pt x="4067" y="60"/>
                      <a:pt x="0" y="4187"/>
                      <a:pt x="0" y="9271"/>
                    </a:cubicBezTo>
                    <a:close/>
                  </a:path>
                </a:pathLst>
              </a:custGeom>
              <a:grpFill/>
              <a:ln w="5978" cap="flat">
                <a:noFill/>
                <a:prstDash val="solid"/>
                <a:miter/>
              </a:ln>
            </p:spPr>
            <p:txBody>
              <a:bodyPr rtlCol="0" anchor="ctr"/>
              <a:lstStyle/>
              <a:p>
                <a:endParaRPr lang="en-GB"/>
              </a:p>
            </p:txBody>
          </p:sp>
        </p:grpSp>
        <p:grpSp>
          <p:nvGrpSpPr>
            <p:cNvPr id="535" name="Graphic 3">
              <a:extLst>
                <a:ext uri="{FF2B5EF4-FFF2-40B4-BE49-F238E27FC236}">
                  <a16:creationId xmlns:a16="http://schemas.microsoft.com/office/drawing/2014/main" id="{EA5A909C-8B03-4F17-8110-460BE3996254}"/>
                </a:ext>
              </a:extLst>
            </p:cNvPr>
            <p:cNvGrpSpPr/>
            <p:nvPr/>
          </p:nvGrpSpPr>
          <p:grpSpPr>
            <a:xfrm>
              <a:off x="6122773" y="1643532"/>
              <a:ext cx="22209" cy="102650"/>
              <a:chOff x="6122773" y="1643532"/>
              <a:chExt cx="22209" cy="102650"/>
            </a:xfrm>
            <a:grpFill/>
          </p:grpSpPr>
          <p:sp>
            <p:nvSpPr>
              <p:cNvPr id="3782" name="Vrije vorm: vorm 3781">
                <a:extLst>
                  <a:ext uri="{FF2B5EF4-FFF2-40B4-BE49-F238E27FC236}">
                    <a16:creationId xmlns:a16="http://schemas.microsoft.com/office/drawing/2014/main" id="{01AF7659-FCE2-420F-9208-1CA3D3C65E0A}"/>
                  </a:ext>
                </a:extLst>
              </p:cNvPr>
              <p:cNvSpPr/>
              <p:nvPr/>
            </p:nvSpPr>
            <p:spPr>
              <a:xfrm>
                <a:off x="6130439" y="1652155"/>
                <a:ext cx="6937" cy="85344"/>
              </a:xfrm>
              <a:custGeom>
                <a:avLst/>
                <a:gdLst>
                  <a:gd name="connsiteX0" fmla="*/ 6937 w 6937"/>
                  <a:gd name="connsiteY0" fmla="*/ 179 h 85344"/>
                  <a:gd name="connsiteX1" fmla="*/ 2990 w 6937"/>
                  <a:gd name="connsiteY1" fmla="*/ 85345 h 85344"/>
                  <a:gd name="connsiteX2" fmla="*/ 0 w 6937"/>
                  <a:gd name="connsiteY2" fmla="*/ 85165 h 85344"/>
                  <a:gd name="connsiteX3" fmla="*/ 3887 w 6937"/>
                  <a:gd name="connsiteY3" fmla="*/ 0 h 85344"/>
                </a:gdLst>
                <a:ahLst/>
                <a:cxnLst>
                  <a:cxn ang="0">
                    <a:pos x="connsiteX0" y="connsiteY0"/>
                  </a:cxn>
                  <a:cxn ang="0">
                    <a:pos x="connsiteX1" y="connsiteY1"/>
                  </a:cxn>
                  <a:cxn ang="0">
                    <a:pos x="connsiteX2" y="connsiteY2"/>
                  </a:cxn>
                  <a:cxn ang="0">
                    <a:pos x="connsiteX3" y="connsiteY3"/>
                  </a:cxn>
                </a:cxnLst>
                <a:rect l="l" t="t" r="r" b="b"/>
                <a:pathLst>
                  <a:path w="6937" h="85344">
                    <a:moveTo>
                      <a:pt x="6937" y="179"/>
                    </a:moveTo>
                    <a:lnTo>
                      <a:pt x="2990" y="85345"/>
                    </a:lnTo>
                    <a:lnTo>
                      <a:pt x="0" y="85165"/>
                    </a:lnTo>
                    <a:lnTo>
                      <a:pt x="3887" y="0"/>
                    </a:lnTo>
                    <a:close/>
                  </a:path>
                </a:pathLst>
              </a:custGeom>
              <a:grpFill/>
              <a:ln w="5978" cap="flat">
                <a:noFill/>
                <a:prstDash val="solid"/>
                <a:miter/>
              </a:ln>
            </p:spPr>
            <p:txBody>
              <a:bodyPr rtlCol="0" anchor="ctr"/>
              <a:lstStyle/>
              <a:p>
                <a:endParaRPr lang="en-GB"/>
              </a:p>
            </p:txBody>
          </p:sp>
          <p:sp>
            <p:nvSpPr>
              <p:cNvPr id="3783" name="Vrije vorm: vorm 3782">
                <a:extLst>
                  <a:ext uri="{FF2B5EF4-FFF2-40B4-BE49-F238E27FC236}">
                    <a16:creationId xmlns:a16="http://schemas.microsoft.com/office/drawing/2014/main" id="{FD550DAD-107B-49B8-B714-4E4364C6CA19}"/>
                  </a:ext>
                </a:extLst>
              </p:cNvPr>
              <p:cNvSpPr/>
              <p:nvPr/>
            </p:nvSpPr>
            <p:spPr>
              <a:xfrm>
                <a:off x="6126661" y="1643532"/>
                <a:ext cx="18321" cy="18441"/>
              </a:xfrm>
              <a:custGeom>
                <a:avLst/>
                <a:gdLst>
                  <a:gd name="connsiteX0" fmla="*/ 10 w 18321"/>
                  <a:gd name="connsiteY0" fmla="*/ 8742 h 18441"/>
                  <a:gd name="connsiteX1" fmla="*/ 9580 w 18321"/>
                  <a:gd name="connsiteY1" fmla="*/ 10 h 18441"/>
                  <a:gd name="connsiteX2" fmla="*/ 18311 w 18321"/>
                  <a:gd name="connsiteY2" fmla="*/ 9699 h 18441"/>
                  <a:gd name="connsiteX3" fmla="*/ 8742 w 18321"/>
                  <a:gd name="connsiteY3" fmla="*/ 18431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50" y="3659"/>
                      <a:pt x="4556" y="-229"/>
                      <a:pt x="9580" y="10"/>
                    </a:cubicBezTo>
                    <a:cubicBezTo>
                      <a:pt x="14663" y="250"/>
                      <a:pt x="18551" y="4616"/>
                      <a:pt x="18311" y="9699"/>
                    </a:cubicBezTo>
                    <a:cubicBezTo>
                      <a:pt x="18072" y="14783"/>
                      <a:pt x="13766" y="18670"/>
                      <a:pt x="8742" y="18431"/>
                    </a:cubicBezTo>
                    <a:cubicBezTo>
                      <a:pt x="3659" y="18132"/>
                      <a:pt x="-229" y="13826"/>
                      <a:pt x="10" y="8742"/>
                    </a:cubicBezTo>
                    <a:close/>
                  </a:path>
                </a:pathLst>
              </a:custGeom>
              <a:grpFill/>
              <a:ln w="5978" cap="flat">
                <a:noFill/>
                <a:prstDash val="solid"/>
                <a:miter/>
              </a:ln>
            </p:spPr>
            <p:txBody>
              <a:bodyPr rtlCol="0" anchor="ctr"/>
              <a:lstStyle/>
              <a:p>
                <a:endParaRPr lang="en-GB"/>
              </a:p>
            </p:txBody>
          </p:sp>
          <p:sp>
            <p:nvSpPr>
              <p:cNvPr id="3784" name="Vrije vorm: vorm 3783">
                <a:extLst>
                  <a:ext uri="{FF2B5EF4-FFF2-40B4-BE49-F238E27FC236}">
                    <a16:creationId xmlns:a16="http://schemas.microsoft.com/office/drawing/2014/main" id="{F39CF41F-B2EB-42EF-855D-4575C67B01E0}"/>
                  </a:ext>
                </a:extLst>
              </p:cNvPr>
              <p:cNvSpPr/>
              <p:nvPr/>
            </p:nvSpPr>
            <p:spPr>
              <a:xfrm>
                <a:off x="6122773" y="1727741"/>
                <a:ext cx="18321" cy="18441"/>
              </a:xfrm>
              <a:custGeom>
                <a:avLst/>
                <a:gdLst>
                  <a:gd name="connsiteX0" fmla="*/ 10 w 18321"/>
                  <a:gd name="connsiteY0" fmla="*/ 8742 h 18441"/>
                  <a:gd name="connsiteX1" fmla="*/ 8742 w 18321"/>
                  <a:gd name="connsiteY1" fmla="*/ 18431 h 18441"/>
                  <a:gd name="connsiteX2" fmla="*/ 18311 w 18321"/>
                  <a:gd name="connsiteY2" fmla="*/ 9699 h 18441"/>
                  <a:gd name="connsiteX3" fmla="*/ 9580 w 18321"/>
                  <a:gd name="connsiteY3" fmla="*/ 10 h 18441"/>
                  <a:gd name="connsiteX4" fmla="*/ 10 w 18321"/>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8742"/>
                    </a:moveTo>
                    <a:cubicBezTo>
                      <a:pt x="-229" y="13826"/>
                      <a:pt x="3718" y="18132"/>
                      <a:pt x="8742" y="18431"/>
                    </a:cubicBezTo>
                    <a:cubicBezTo>
                      <a:pt x="13826" y="18670"/>
                      <a:pt x="18072" y="14783"/>
                      <a:pt x="18311" y="9699"/>
                    </a:cubicBezTo>
                    <a:cubicBezTo>
                      <a:pt x="18551" y="4616"/>
                      <a:pt x="14603" y="309"/>
                      <a:pt x="9580" y="10"/>
                    </a:cubicBezTo>
                    <a:cubicBezTo>
                      <a:pt x="4556" y="-229"/>
                      <a:pt x="250" y="3659"/>
                      <a:pt x="10" y="8742"/>
                    </a:cubicBezTo>
                    <a:close/>
                  </a:path>
                </a:pathLst>
              </a:custGeom>
              <a:grpFill/>
              <a:ln w="5978" cap="flat">
                <a:noFill/>
                <a:prstDash val="solid"/>
                <a:miter/>
              </a:ln>
            </p:spPr>
            <p:txBody>
              <a:bodyPr rtlCol="0" anchor="ctr"/>
              <a:lstStyle/>
              <a:p>
                <a:endParaRPr lang="en-GB"/>
              </a:p>
            </p:txBody>
          </p:sp>
        </p:grpSp>
        <p:grpSp>
          <p:nvGrpSpPr>
            <p:cNvPr id="536" name="Graphic 3">
              <a:extLst>
                <a:ext uri="{FF2B5EF4-FFF2-40B4-BE49-F238E27FC236}">
                  <a16:creationId xmlns:a16="http://schemas.microsoft.com/office/drawing/2014/main" id="{E7D2B30A-17A9-4CC6-9B8C-D586CFF63AE5}"/>
                </a:ext>
              </a:extLst>
            </p:cNvPr>
            <p:cNvGrpSpPr/>
            <p:nvPr/>
          </p:nvGrpSpPr>
          <p:grpSpPr>
            <a:xfrm>
              <a:off x="7086112" y="4728059"/>
              <a:ext cx="235953" cy="354184"/>
              <a:chOff x="7086112" y="4728059"/>
              <a:chExt cx="235953" cy="354184"/>
            </a:xfrm>
            <a:grpFill/>
          </p:grpSpPr>
          <p:sp>
            <p:nvSpPr>
              <p:cNvPr id="3779" name="Vrije vorm: vorm 3778">
                <a:extLst>
                  <a:ext uri="{FF2B5EF4-FFF2-40B4-BE49-F238E27FC236}">
                    <a16:creationId xmlns:a16="http://schemas.microsoft.com/office/drawing/2014/main" id="{5899F112-9157-4338-AFE8-5E1DA4240E96}"/>
                  </a:ext>
                </a:extLst>
              </p:cNvPr>
              <p:cNvSpPr/>
              <p:nvPr/>
            </p:nvSpPr>
            <p:spPr>
              <a:xfrm>
                <a:off x="7093694" y="4736054"/>
                <a:ext cx="220748" cy="338209"/>
              </a:xfrm>
              <a:custGeom>
                <a:avLst/>
                <a:gdLst>
                  <a:gd name="connsiteX0" fmla="*/ 220749 w 220748"/>
                  <a:gd name="connsiteY0" fmla="*/ 336535 h 338209"/>
                  <a:gd name="connsiteX1" fmla="*/ 218177 w 220748"/>
                  <a:gd name="connsiteY1" fmla="*/ 338210 h 338209"/>
                  <a:gd name="connsiteX2" fmla="*/ 0 w 220748"/>
                  <a:gd name="connsiteY2" fmla="*/ 1615 h 338209"/>
                  <a:gd name="connsiteX3" fmla="*/ 2571 w 220748"/>
                  <a:gd name="connsiteY3" fmla="*/ 0 h 338209"/>
                </a:gdLst>
                <a:ahLst/>
                <a:cxnLst>
                  <a:cxn ang="0">
                    <a:pos x="connsiteX0" y="connsiteY0"/>
                  </a:cxn>
                  <a:cxn ang="0">
                    <a:pos x="connsiteX1" y="connsiteY1"/>
                  </a:cxn>
                  <a:cxn ang="0">
                    <a:pos x="connsiteX2" y="connsiteY2"/>
                  </a:cxn>
                  <a:cxn ang="0">
                    <a:pos x="connsiteX3" y="connsiteY3"/>
                  </a:cxn>
                </a:cxnLst>
                <a:rect l="l" t="t" r="r" b="b"/>
                <a:pathLst>
                  <a:path w="220748" h="338209">
                    <a:moveTo>
                      <a:pt x="220749" y="336535"/>
                    </a:moveTo>
                    <a:lnTo>
                      <a:pt x="218177" y="338210"/>
                    </a:lnTo>
                    <a:lnTo>
                      <a:pt x="0" y="1615"/>
                    </a:lnTo>
                    <a:lnTo>
                      <a:pt x="2571" y="0"/>
                    </a:lnTo>
                    <a:close/>
                  </a:path>
                </a:pathLst>
              </a:custGeom>
              <a:grpFill/>
              <a:ln w="5978" cap="flat">
                <a:noFill/>
                <a:prstDash val="solid"/>
                <a:miter/>
              </a:ln>
            </p:spPr>
            <p:txBody>
              <a:bodyPr rtlCol="0" anchor="ctr"/>
              <a:lstStyle/>
              <a:p>
                <a:endParaRPr lang="en-GB"/>
              </a:p>
            </p:txBody>
          </p:sp>
          <p:sp>
            <p:nvSpPr>
              <p:cNvPr id="3780" name="Vrije vorm: vorm 3779">
                <a:extLst>
                  <a:ext uri="{FF2B5EF4-FFF2-40B4-BE49-F238E27FC236}">
                    <a16:creationId xmlns:a16="http://schemas.microsoft.com/office/drawing/2014/main" id="{C339430D-2380-4B60-AC2B-8FAE5B755931}"/>
                  </a:ext>
                </a:extLst>
              </p:cNvPr>
              <p:cNvSpPr/>
              <p:nvPr/>
            </p:nvSpPr>
            <p:spPr>
              <a:xfrm>
                <a:off x="7086112" y="4728059"/>
                <a:ext cx="18273" cy="18426"/>
              </a:xfrm>
              <a:custGeom>
                <a:avLst/>
                <a:gdLst>
                  <a:gd name="connsiteX0" fmla="*/ 1481 w 18273"/>
                  <a:gd name="connsiteY0" fmla="*/ 14215 h 18426"/>
                  <a:gd name="connsiteX1" fmla="*/ 4113 w 18273"/>
                  <a:gd name="connsiteY1" fmla="*/ 1476 h 18426"/>
                  <a:gd name="connsiteX2" fmla="*/ 16792 w 18273"/>
                  <a:gd name="connsiteY2" fmla="*/ 4227 h 18426"/>
                  <a:gd name="connsiteX3" fmla="*/ 14160 w 18273"/>
                  <a:gd name="connsiteY3" fmla="*/ 16966 h 18426"/>
                  <a:gd name="connsiteX4" fmla="*/ 1481 w 18273"/>
                  <a:gd name="connsiteY4" fmla="*/ 1421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26">
                    <a:moveTo>
                      <a:pt x="1481" y="14215"/>
                    </a:moveTo>
                    <a:cubicBezTo>
                      <a:pt x="-1270" y="9968"/>
                      <a:pt x="-74" y="4227"/>
                      <a:pt x="4113" y="1476"/>
                    </a:cubicBezTo>
                    <a:cubicBezTo>
                      <a:pt x="8359" y="-1276"/>
                      <a:pt x="14041" y="-79"/>
                      <a:pt x="16792" y="4227"/>
                    </a:cubicBezTo>
                    <a:cubicBezTo>
                      <a:pt x="19543" y="8533"/>
                      <a:pt x="18347" y="14215"/>
                      <a:pt x="14160" y="16966"/>
                    </a:cubicBezTo>
                    <a:cubicBezTo>
                      <a:pt x="9974" y="19717"/>
                      <a:pt x="4232" y="18461"/>
                      <a:pt x="1481" y="14215"/>
                    </a:cubicBezTo>
                    <a:close/>
                  </a:path>
                </a:pathLst>
              </a:custGeom>
              <a:grpFill/>
              <a:ln w="5978" cap="flat">
                <a:noFill/>
                <a:prstDash val="solid"/>
                <a:miter/>
              </a:ln>
            </p:spPr>
            <p:txBody>
              <a:bodyPr rtlCol="0" anchor="ctr"/>
              <a:lstStyle/>
              <a:p>
                <a:endParaRPr lang="en-GB"/>
              </a:p>
            </p:txBody>
          </p:sp>
          <p:sp>
            <p:nvSpPr>
              <p:cNvPr id="3781" name="Vrije vorm: vorm 3780">
                <a:extLst>
                  <a:ext uri="{FF2B5EF4-FFF2-40B4-BE49-F238E27FC236}">
                    <a16:creationId xmlns:a16="http://schemas.microsoft.com/office/drawing/2014/main" id="{1ABE281D-2F59-4B45-9D6E-4C6D6A9E9884}"/>
                  </a:ext>
                </a:extLst>
              </p:cNvPr>
              <p:cNvSpPr/>
              <p:nvPr/>
            </p:nvSpPr>
            <p:spPr>
              <a:xfrm>
                <a:off x="7303736" y="5063832"/>
                <a:ext cx="18330" cy="18411"/>
              </a:xfrm>
              <a:custGeom>
                <a:avLst/>
                <a:gdLst>
                  <a:gd name="connsiteX0" fmla="*/ 1497 w 18330"/>
                  <a:gd name="connsiteY0" fmla="*/ 14200 h 18411"/>
                  <a:gd name="connsiteX1" fmla="*/ 14176 w 18330"/>
                  <a:gd name="connsiteY1" fmla="*/ 16951 h 18411"/>
                  <a:gd name="connsiteX2" fmla="*/ 16807 w 18330"/>
                  <a:gd name="connsiteY2" fmla="*/ 4212 h 18411"/>
                  <a:gd name="connsiteX3" fmla="*/ 4128 w 18330"/>
                  <a:gd name="connsiteY3" fmla="*/ 1461 h 18411"/>
                  <a:gd name="connsiteX4" fmla="*/ 1497 w 18330"/>
                  <a:gd name="connsiteY4" fmla="*/ 1420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411">
                    <a:moveTo>
                      <a:pt x="1497" y="14200"/>
                    </a:moveTo>
                    <a:cubicBezTo>
                      <a:pt x="4247" y="18446"/>
                      <a:pt x="9930" y="19702"/>
                      <a:pt x="14176" y="16951"/>
                    </a:cubicBezTo>
                    <a:cubicBezTo>
                      <a:pt x="18422" y="14200"/>
                      <a:pt x="19618" y="8458"/>
                      <a:pt x="16807" y="4212"/>
                    </a:cubicBezTo>
                    <a:cubicBezTo>
                      <a:pt x="14056" y="-35"/>
                      <a:pt x="8375" y="-1290"/>
                      <a:pt x="4128" y="1461"/>
                    </a:cubicBezTo>
                    <a:cubicBezTo>
                      <a:pt x="-118" y="4212"/>
                      <a:pt x="-1254" y="9953"/>
                      <a:pt x="1497" y="14200"/>
                    </a:cubicBezTo>
                    <a:close/>
                  </a:path>
                </a:pathLst>
              </a:custGeom>
              <a:grpFill/>
              <a:ln w="5978" cap="flat">
                <a:noFill/>
                <a:prstDash val="solid"/>
                <a:miter/>
              </a:ln>
            </p:spPr>
            <p:txBody>
              <a:bodyPr rtlCol="0" anchor="ctr"/>
              <a:lstStyle/>
              <a:p>
                <a:endParaRPr lang="en-GB"/>
              </a:p>
            </p:txBody>
          </p:sp>
        </p:grpSp>
        <p:grpSp>
          <p:nvGrpSpPr>
            <p:cNvPr id="537" name="Graphic 3">
              <a:extLst>
                <a:ext uri="{FF2B5EF4-FFF2-40B4-BE49-F238E27FC236}">
                  <a16:creationId xmlns:a16="http://schemas.microsoft.com/office/drawing/2014/main" id="{DEC40A7B-83BD-492B-92C3-3460481F7560}"/>
                </a:ext>
              </a:extLst>
            </p:cNvPr>
            <p:cNvGrpSpPr/>
            <p:nvPr/>
          </p:nvGrpSpPr>
          <p:grpSpPr>
            <a:xfrm>
              <a:off x="6091622" y="1633010"/>
              <a:ext cx="20818" cy="111372"/>
              <a:chOff x="6091622" y="1633010"/>
              <a:chExt cx="20818" cy="111372"/>
            </a:xfrm>
            <a:grpFill/>
          </p:grpSpPr>
          <p:sp>
            <p:nvSpPr>
              <p:cNvPr id="3776" name="Vrije vorm: vorm 3775">
                <a:extLst>
                  <a:ext uri="{FF2B5EF4-FFF2-40B4-BE49-F238E27FC236}">
                    <a16:creationId xmlns:a16="http://schemas.microsoft.com/office/drawing/2014/main" id="{70C2260E-A186-4E87-AA6B-6497BFA9404A}"/>
                  </a:ext>
                </a:extLst>
              </p:cNvPr>
              <p:cNvSpPr/>
              <p:nvPr/>
            </p:nvSpPr>
            <p:spPr>
              <a:xfrm>
                <a:off x="6099279" y="1641688"/>
                <a:ext cx="5562" cy="93957"/>
              </a:xfrm>
              <a:custGeom>
                <a:avLst/>
                <a:gdLst>
                  <a:gd name="connsiteX0" fmla="*/ 5562 w 5562"/>
                  <a:gd name="connsiteY0" fmla="*/ 120 h 93957"/>
                  <a:gd name="connsiteX1" fmla="*/ 3050 w 5562"/>
                  <a:gd name="connsiteY1" fmla="*/ 93957 h 93957"/>
                  <a:gd name="connsiteX2" fmla="*/ 0 w 5562"/>
                  <a:gd name="connsiteY2" fmla="*/ 93837 h 93957"/>
                  <a:gd name="connsiteX3" fmla="*/ 2512 w 5562"/>
                  <a:gd name="connsiteY3" fmla="*/ 0 h 93957"/>
                </a:gdLst>
                <a:ahLst/>
                <a:cxnLst>
                  <a:cxn ang="0">
                    <a:pos x="connsiteX0" y="connsiteY0"/>
                  </a:cxn>
                  <a:cxn ang="0">
                    <a:pos x="connsiteX1" y="connsiteY1"/>
                  </a:cxn>
                  <a:cxn ang="0">
                    <a:pos x="connsiteX2" y="connsiteY2"/>
                  </a:cxn>
                  <a:cxn ang="0">
                    <a:pos x="connsiteX3" y="connsiteY3"/>
                  </a:cxn>
                </a:cxnLst>
                <a:rect l="l" t="t" r="r" b="b"/>
                <a:pathLst>
                  <a:path w="5562" h="93957">
                    <a:moveTo>
                      <a:pt x="5562" y="120"/>
                    </a:moveTo>
                    <a:lnTo>
                      <a:pt x="3050" y="93957"/>
                    </a:lnTo>
                    <a:lnTo>
                      <a:pt x="0" y="93837"/>
                    </a:lnTo>
                    <a:lnTo>
                      <a:pt x="2512" y="0"/>
                    </a:lnTo>
                    <a:close/>
                  </a:path>
                </a:pathLst>
              </a:custGeom>
              <a:grpFill/>
              <a:ln w="5978" cap="flat">
                <a:noFill/>
                <a:prstDash val="solid"/>
                <a:miter/>
              </a:ln>
            </p:spPr>
            <p:txBody>
              <a:bodyPr rtlCol="0" anchor="ctr"/>
              <a:lstStyle/>
              <a:p>
                <a:endParaRPr lang="en-GB"/>
              </a:p>
            </p:txBody>
          </p:sp>
          <p:sp>
            <p:nvSpPr>
              <p:cNvPr id="3777" name="Vrije vorm: vorm 3776">
                <a:extLst>
                  <a:ext uri="{FF2B5EF4-FFF2-40B4-BE49-F238E27FC236}">
                    <a16:creationId xmlns:a16="http://schemas.microsoft.com/office/drawing/2014/main" id="{48874180-B8DA-4BD5-B090-CE61BE6D3E4B}"/>
                  </a:ext>
                </a:extLst>
              </p:cNvPr>
              <p:cNvSpPr/>
              <p:nvPr/>
            </p:nvSpPr>
            <p:spPr>
              <a:xfrm>
                <a:off x="6094133" y="1633010"/>
                <a:ext cx="18306" cy="18432"/>
              </a:xfrm>
              <a:custGeom>
                <a:avLst/>
                <a:gdLst>
                  <a:gd name="connsiteX0" fmla="*/ 3 w 18306"/>
                  <a:gd name="connsiteY0" fmla="*/ 8917 h 18432"/>
                  <a:gd name="connsiteX1" fmla="*/ 9392 w 18306"/>
                  <a:gd name="connsiteY1" fmla="*/ 6 h 18432"/>
                  <a:gd name="connsiteX2" fmla="*/ 18304 w 18306"/>
                  <a:gd name="connsiteY2" fmla="*/ 9515 h 18432"/>
                  <a:gd name="connsiteX3" fmla="*/ 8914 w 18306"/>
                  <a:gd name="connsiteY3" fmla="*/ 1842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22" y="3833"/>
                      <a:pt x="4368" y="-174"/>
                      <a:pt x="9392" y="6"/>
                    </a:cubicBezTo>
                    <a:cubicBezTo>
                      <a:pt x="14476" y="185"/>
                      <a:pt x="18423" y="4432"/>
                      <a:pt x="18304" y="9515"/>
                    </a:cubicBezTo>
                    <a:cubicBezTo>
                      <a:pt x="18184" y="14599"/>
                      <a:pt x="13938" y="18606"/>
                      <a:pt x="8914" y="18426"/>
                    </a:cubicBezTo>
                    <a:cubicBezTo>
                      <a:pt x="3890" y="18247"/>
                      <a:pt x="-117" y="14001"/>
                      <a:pt x="3" y="8917"/>
                    </a:cubicBezTo>
                    <a:close/>
                  </a:path>
                </a:pathLst>
              </a:custGeom>
              <a:grpFill/>
              <a:ln w="5978" cap="flat">
                <a:noFill/>
                <a:prstDash val="solid"/>
                <a:miter/>
              </a:ln>
            </p:spPr>
            <p:txBody>
              <a:bodyPr rtlCol="0" anchor="ctr"/>
              <a:lstStyle/>
              <a:p>
                <a:endParaRPr lang="en-GB"/>
              </a:p>
            </p:txBody>
          </p:sp>
          <p:sp>
            <p:nvSpPr>
              <p:cNvPr id="3778" name="Vrije vorm: vorm 3777">
                <a:extLst>
                  <a:ext uri="{FF2B5EF4-FFF2-40B4-BE49-F238E27FC236}">
                    <a16:creationId xmlns:a16="http://schemas.microsoft.com/office/drawing/2014/main" id="{584AC038-DC37-44C5-B4AD-8D439485BA78}"/>
                  </a:ext>
                </a:extLst>
              </p:cNvPr>
              <p:cNvSpPr/>
              <p:nvPr/>
            </p:nvSpPr>
            <p:spPr>
              <a:xfrm>
                <a:off x="6091622" y="1725951"/>
                <a:ext cx="18306" cy="18432"/>
              </a:xfrm>
              <a:custGeom>
                <a:avLst/>
                <a:gdLst>
                  <a:gd name="connsiteX0" fmla="*/ 3 w 18306"/>
                  <a:gd name="connsiteY0" fmla="*/ 8917 h 18432"/>
                  <a:gd name="connsiteX1" fmla="*/ 8914 w 18306"/>
                  <a:gd name="connsiteY1" fmla="*/ 18427 h 18432"/>
                  <a:gd name="connsiteX2" fmla="*/ 18304 w 18306"/>
                  <a:gd name="connsiteY2" fmla="*/ 9515 h 18432"/>
                  <a:gd name="connsiteX3" fmla="*/ 9392 w 18306"/>
                  <a:gd name="connsiteY3" fmla="*/ 6 h 18432"/>
                  <a:gd name="connsiteX4" fmla="*/ 3 w 18306"/>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3" y="8917"/>
                    </a:moveTo>
                    <a:cubicBezTo>
                      <a:pt x="-117" y="14001"/>
                      <a:pt x="3830" y="18247"/>
                      <a:pt x="8914" y="18427"/>
                    </a:cubicBezTo>
                    <a:cubicBezTo>
                      <a:pt x="13997" y="18606"/>
                      <a:pt x="18184" y="14599"/>
                      <a:pt x="18304" y="9515"/>
                    </a:cubicBezTo>
                    <a:cubicBezTo>
                      <a:pt x="18423" y="4432"/>
                      <a:pt x="14476" y="185"/>
                      <a:pt x="9392" y="6"/>
                    </a:cubicBezTo>
                    <a:cubicBezTo>
                      <a:pt x="4368" y="-174"/>
                      <a:pt x="182" y="3774"/>
                      <a:pt x="3" y="8917"/>
                    </a:cubicBezTo>
                    <a:close/>
                  </a:path>
                </a:pathLst>
              </a:custGeom>
              <a:grpFill/>
              <a:ln w="5978" cap="flat">
                <a:noFill/>
                <a:prstDash val="solid"/>
                <a:miter/>
              </a:ln>
            </p:spPr>
            <p:txBody>
              <a:bodyPr rtlCol="0" anchor="ctr"/>
              <a:lstStyle/>
              <a:p>
                <a:endParaRPr lang="en-GB"/>
              </a:p>
            </p:txBody>
          </p:sp>
        </p:grpSp>
        <p:grpSp>
          <p:nvGrpSpPr>
            <p:cNvPr id="538" name="Graphic 3">
              <a:extLst>
                <a:ext uri="{FF2B5EF4-FFF2-40B4-BE49-F238E27FC236}">
                  <a16:creationId xmlns:a16="http://schemas.microsoft.com/office/drawing/2014/main" id="{39F91989-0B05-4BDF-8966-5700FC6168E8}"/>
                </a:ext>
              </a:extLst>
            </p:cNvPr>
            <p:cNvGrpSpPr/>
            <p:nvPr/>
          </p:nvGrpSpPr>
          <p:grpSpPr>
            <a:xfrm>
              <a:off x="6029999" y="1266606"/>
              <a:ext cx="52079" cy="477675"/>
              <a:chOff x="6029999" y="1266606"/>
              <a:chExt cx="52079" cy="477675"/>
            </a:xfrm>
            <a:grpFill/>
          </p:grpSpPr>
          <p:sp>
            <p:nvSpPr>
              <p:cNvPr id="3773" name="Vrije vorm: vorm 3772">
                <a:extLst>
                  <a:ext uri="{FF2B5EF4-FFF2-40B4-BE49-F238E27FC236}">
                    <a16:creationId xmlns:a16="http://schemas.microsoft.com/office/drawing/2014/main" id="{F5E5E677-558E-4FD7-9E18-C2821F28B85B}"/>
                  </a:ext>
                </a:extLst>
              </p:cNvPr>
              <p:cNvSpPr/>
              <p:nvPr/>
            </p:nvSpPr>
            <p:spPr>
              <a:xfrm>
                <a:off x="6037618" y="1275309"/>
                <a:ext cx="36900" cy="460276"/>
              </a:xfrm>
              <a:custGeom>
                <a:avLst/>
                <a:gdLst>
                  <a:gd name="connsiteX0" fmla="*/ 36901 w 36900"/>
                  <a:gd name="connsiteY0" fmla="*/ 239 h 460276"/>
                  <a:gd name="connsiteX1" fmla="*/ 3050 w 36900"/>
                  <a:gd name="connsiteY1" fmla="*/ 460276 h 460276"/>
                  <a:gd name="connsiteX2" fmla="*/ 0 w 36900"/>
                  <a:gd name="connsiteY2" fmla="*/ 460097 h 460276"/>
                  <a:gd name="connsiteX3" fmla="*/ 33851 w 36900"/>
                  <a:gd name="connsiteY3" fmla="*/ 0 h 460276"/>
                </a:gdLst>
                <a:ahLst/>
                <a:cxnLst>
                  <a:cxn ang="0">
                    <a:pos x="connsiteX0" y="connsiteY0"/>
                  </a:cxn>
                  <a:cxn ang="0">
                    <a:pos x="connsiteX1" y="connsiteY1"/>
                  </a:cxn>
                  <a:cxn ang="0">
                    <a:pos x="connsiteX2" y="connsiteY2"/>
                  </a:cxn>
                  <a:cxn ang="0">
                    <a:pos x="connsiteX3" y="connsiteY3"/>
                  </a:cxn>
                </a:cxnLst>
                <a:rect l="l" t="t" r="r" b="b"/>
                <a:pathLst>
                  <a:path w="36900" h="460276">
                    <a:moveTo>
                      <a:pt x="36901" y="239"/>
                    </a:moveTo>
                    <a:lnTo>
                      <a:pt x="3050" y="460276"/>
                    </a:lnTo>
                    <a:lnTo>
                      <a:pt x="0" y="460097"/>
                    </a:lnTo>
                    <a:lnTo>
                      <a:pt x="33851" y="0"/>
                    </a:lnTo>
                    <a:close/>
                  </a:path>
                </a:pathLst>
              </a:custGeom>
              <a:grpFill/>
              <a:ln w="5978" cap="flat">
                <a:noFill/>
                <a:prstDash val="solid"/>
                <a:miter/>
              </a:ln>
            </p:spPr>
            <p:txBody>
              <a:bodyPr rtlCol="0" anchor="ctr"/>
              <a:lstStyle/>
              <a:p>
                <a:endParaRPr lang="en-GB"/>
              </a:p>
            </p:txBody>
          </p:sp>
          <p:sp>
            <p:nvSpPr>
              <p:cNvPr id="3774" name="Vrije vorm: vorm 3773">
                <a:extLst>
                  <a:ext uri="{FF2B5EF4-FFF2-40B4-BE49-F238E27FC236}">
                    <a16:creationId xmlns:a16="http://schemas.microsoft.com/office/drawing/2014/main" id="{04FFBC22-C7F8-450F-A488-4EA29FB0AAC0}"/>
                  </a:ext>
                </a:extLst>
              </p:cNvPr>
              <p:cNvSpPr/>
              <p:nvPr/>
            </p:nvSpPr>
            <p:spPr>
              <a:xfrm>
                <a:off x="6029999" y="1725813"/>
                <a:ext cx="18347" cy="18467"/>
              </a:xfrm>
              <a:custGeom>
                <a:avLst/>
                <a:gdLst>
                  <a:gd name="connsiteX0" fmla="*/ 18324 w 18347"/>
                  <a:gd name="connsiteY0" fmla="*/ 9952 h 18467"/>
                  <a:gd name="connsiteX1" fmla="*/ 8516 w 18347"/>
                  <a:gd name="connsiteY1" fmla="*/ 18444 h 18467"/>
                  <a:gd name="connsiteX2" fmla="*/ 23 w 18347"/>
                  <a:gd name="connsiteY2" fmla="*/ 8516 h 18467"/>
                  <a:gd name="connsiteX3" fmla="*/ 9832 w 18347"/>
                  <a:gd name="connsiteY3" fmla="*/ 24 h 18467"/>
                  <a:gd name="connsiteX4" fmla="*/ 18324 w 18347"/>
                  <a:gd name="connsiteY4" fmla="*/ 995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67">
                    <a:moveTo>
                      <a:pt x="18324" y="9952"/>
                    </a:moveTo>
                    <a:cubicBezTo>
                      <a:pt x="17965" y="15035"/>
                      <a:pt x="13540" y="18803"/>
                      <a:pt x="8516" y="18444"/>
                    </a:cubicBezTo>
                    <a:cubicBezTo>
                      <a:pt x="3492" y="18026"/>
                      <a:pt x="-336" y="13600"/>
                      <a:pt x="23" y="8516"/>
                    </a:cubicBezTo>
                    <a:cubicBezTo>
                      <a:pt x="382" y="3433"/>
                      <a:pt x="4808" y="-335"/>
                      <a:pt x="9832" y="24"/>
                    </a:cubicBezTo>
                    <a:cubicBezTo>
                      <a:pt x="14856" y="442"/>
                      <a:pt x="18683" y="4868"/>
                      <a:pt x="18324" y="9952"/>
                    </a:cubicBezTo>
                    <a:close/>
                  </a:path>
                </a:pathLst>
              </a:custGeom>
              <a:grpFill/>
              <a:ln w="5978" cap="flat">
                <a:noFill/>
                <a:prstDash val="solid"/>
                <a:miter/>
              </a:ln>
            </p:spPr>
            <p:txBody>
              <a:bodyPr rtlCol="0" anchor="ctr"/>
              <a:lstStyle/>
              <a:p>
                <a:endParaRPr lang="en-GB"/>
              </a:p>
            </p:txBody>
          </p:sp>
          <p:sp>
            <p:nvSpPr>
              <p:cNvPr id="3775" name="Vrije vorm: vorm 3774">
                <a:extLst>
                  <a:ext uri="{FF2B5EF4-FFF2-40B4-BE49-F238E27FC236}">
                    <a16:creationId xmlns:a16="http://schemas.microsoft.com/office/drawing/2014/main" id="{FFE7DD56-A0A0-4C12-A412-3ABB8222616A}"/>
                  </a:ext>
                </a:extLst>
              </p:cNvPr>
              <p:cNvSpPr/>
              <p:nvPr/>
            </p:nvSpPr>
            <p:spPr>
              <a:xfrm>
                <a:off x="6063730" y="1266606"/>
                <a:ext cx="18348" cy="18483"/>
              </a:xfrm>
              <a:custGeom>
                <a:avLst/>
                <a:gdLst>
                  <a:gd name="connsiteX0" fmla="*/ 18325 w 18348"/>
                  <a:gd name="connsiteY0" fmla="*/ 9959 h 18483"/>
                  <a:gd name="connsiteX1" fmla="*/ 9832 w 18348"/>
                  <a:gd name="connsiteY1" fmla="*/ 31 h 18483"/>
                  <a:gd name="connsiteX2" fmla="*/ 24 w 18348"/>
                  <a:gd name="connsiteY2" fmla="*/ 8524 h 18483"/>
                  <a:gd name="connsiteX3" fmla="*/ 8516 w 18348"/>
                  <a:gd name="connsiteY3" fmla="*/ 18452 h 18483"/>
                  <a:gd name="connsiteX4" fmla="*/ 18325 w 18348"/>
                  <a:gd name="connsiteY4" fmla="*/ 9959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83">
                    <a:moveTo>
                      <a:pt x="18325" y="9959"/>
                    </a:moveTo>
                    <a:cubicBezTo>
                      <a:pt x="18683" y="4876"/>
                      <a:pt x="14916" y="450"/>
                      <a:pt x="9832" y="31"/>
                    </a:cubicBezTo>
                    <a:cubicBezTo>
                      <a:pt x="4808" y="-387"/>
                      <a:pt x="382" y="3440"/>
                      <a:pt x="24" y="8524"/>
                    </a:cubicBezTo>
                    <a:cubicBezTo>
                      <a:pt x="-335" y="13608"/>
                      <a:pt x="3433" y="18033"/>
                      <a:pt x="8516" y="18452"/>
                    </a:cubicBezTo>
                    <a:cubicBezTo>
                      <a:pt x="13600" y="18871"/>
                      <a:pt x="17966" y="15043"/>
                      <a:pt x="18325" y="9959"/>
                    </a:cubicBezTo>
                    <a:close/>
                  </a:path>
                </a:pathLst>
              </a:custGeom>
              <a:grpFill/>
              <a:ln w="5978" cap="flat">
                <a:noFill/>
                <a:prstDash val="solid"/>
                <a:miter/>
              </a:ln>
            </p:spPr>
            <p:txBody>
              <a:bodyPr rtlCol="0" anchor="ctr"/>
              <a:lstStyle/>
              <a:p>
                <a:endParaRPr lang="en-GB"/>
              </a:p>
            </p:txBody>
          </p:sp>
        </p:grpSp>
        <p:grpSp>
          <p:nvGrpSpPr>
            <p:cNvPr id="539" name="Graphic 3">
              <a:extLst>
                <a:ext uri="{FF2B5EF4-FFF2-40B4-BE49-F238E27FC236}">
                  <a16:creationId xmlns:a16="http://schemas.microsoft.com/office/drawing/2014/main" id="{39E2D91E-72A8-478F-BEB1-60ACABE53B59}"/>
                </a:ext>
              </a:extLst>
            </p:cNvPr>
            <p:cNvGrpSpPr/>
            <p:nvPr/>
          </p:nvGrpSpPr>
          <p:grpSpPr>
            <a:xfrm>
              <a:off x="7086770" y="4727519"/>
              <a:ext cx="116222" cy="142510"/>
              <a:chOff x="7086770" y="4727519"/>
              <a:chExt cx="116222" cy="142510"/>
            </a:xfrm>
            <a:grpFill/>
          </p:grpSpPr>
          <p:sp>
            <p:nvSpPr>
              <p:cNvPr id="3770" name="Vrije vorm: vorm 3769">
                <a:extLst>
                  <a:ext uri="{FF2B5EF4-FFF2-40B4-BE49-F238E27FC236}">
                    <a16:creationId xmlns:a16="http://schemas.microsoft.com/office/drawing/2014/main" id="{94A4DB96-2443-46CA-B3C7-E02D7F4E766B}"/>
                  </a:ext>
                </a:extLst>
              </p:cNvPr>
              <p:cNvSpPr/>
              <p:nvPr/>
            </p:nvSpPr>
            <p:spPr>
              <a:xfrm>
                <a:off x="7094472" y="4735456"/>
                <a:ext cx="100775" cy="126671"/>
              </a:xfrm>
              <a:custGeom>
                <a:avLst/>
                <a:gdLst>
                  <a:gd name="connsiteX0" fmla="*/ 100775 w 100775"/>
                  <a:gd name="connsiteY0" fmla="*/ 124758 h 126671"/>
                  <a:gd name="connsiteX1" fmla="*/ 98383 w 100775"/>
                  <a:gd name="connsiteY1" fmla="*/ 126672 h 126671"/>
                  <a:gd name="connsiteX2" fmla="*/ 0 w 100775"/>
                  <a:gd name="connsiteY2" fmla="*/ 1854 h 126671"/>
                  <a:gd name="connsiteX3" fmla="*/ 2392 w 100775"/>
                  <a:gd name="connsiteY3" fmla="*/ 0 h 126671"/>
                </a:gdLst>
                <a:ahLst/>
                <a:cxnLst>
                  <a:cxn ang="0">
                    <a:pos x="connsiteX0" y="connsiteY0"/>
                  </a:cxn>
                  <a:cxn ang="0">
                    <a:pos x="connsiteX1" y="connsiteY1"/>
                  </a:cxn>
                  <a:cxn ang="0">
                    <a:pos x="connsiteX2" y="connsiteY2"/>
                  </a:cxn>
                  <a:cxn ang="0">
                    <a:pos x="connsiteX3" y="connsiteY3"/>
                  </a:cxn>
                </a:cxnLst>
                <a:rect l="l" t="t" r="r" b="b"/>
                <a:pathLst>
                  <a:path w="100775" h="126671">
                    <a:moveTo>
                      <a:pt x="100775" y="124758"/>
                    </a:moveTo>
                    <a:lnTo>
                      <a:pt x="98383" y="126672"/>
                    </a:lnTo>
                    <a:lnTo>
                      <a:pt x="0" y="1854"/>
                    </a:lnTo>
                    <a:lnTo>
                      <a:pt x="2392" y="0"/>
                    </a:lnTo>
                    <a:close/>
                  </a:path>
                </a:pathLst>
              </a:custGeom>
              <a:grpFill/>
              <a:ln w="5978" cap="flat">
                <a:noFill/>
                <a:prstDash val="solid"/>
                <a:miter/>
              </a:ln>
            </p:spPr>
            <p:txBody>
              <a:bodyPr rtlCol="0" anchor="ctr"/>
              <a:lstStyle/>
              <a:p>
                <a:endParaRPr lang="en-GB"/>
              </a:p>
            </p:txBody>
          </p:sp>
          <p:sp>
            <p:nvSpPr>
              <p:cNvPr id="3771" name="Vrije vorm: vorm 3770">
                <a:extLst>
                  <a:ext uri="{FF2B5EF4-FFF2-40B4-BE49-F238E27FC236}">
                    <a16:creationId xmlns:a16="http://schemas.microsoft.com/office/drawing/2014/main" id="{83131DCE-B4C3-489C-B6C7-6854533653E1}"/>
                  </a:ext>
                </a:extLst>
              </p:cNvPr>
              <p:cNvSpPr/>
              <p:nvPr/>
            </p:nvSpPr>
            <p:spPr>
              <a:xfrm>
                <a:off x="7184631" y="4851619"/>
                <a:ext cx="18361" cy="18410"/>
              </a:xfrm>
              <a:custGeom>
                <a:avLst/>
                <a:gdLst>
                  <a:gd name="connsiteX0" fmla="*/ 16357 w 18361"/>
                  <a:gd name="connsiteY0" fmla="*/ 3511 h 18410"/>
                  <a:gd name="connsiteX1" fmla="*/ 14862 w 18361"/>
                  <a:gd name="connsiteY1" fmla="*/ 16429 h 18410"/>
                  <a:gd name="connsiteX2" fmla="*/ 2004 w 18361"/>
                  <a:gd name="connsiteY2" fmla="*/ 14874 h 18410"/>
                  <a:gd name="connsiteX3" fmla="*/ 3499 w 18361"/>
                  <a:gd name="connsiteY3" fmla="*/ 1956 h 18410"/>
                  <a:gd name="connsiteX4" fmla="*/ 16357 w 18361"/>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0">
                    <a:moveTo>
                      <a:pt x="16357" y="3511"/>
                    </a:moveTo>
                    <a:cubicBezTo>
                      <a:pt x="19527" y="7518"/>
                      <a:pt x="18870" y="13319"/>
                      <a:pt x="14862" y="16429"/>
                    </a:cubicBezTo>
                    <a:cubicBezTo>
                      <a:pt x="10915" y="19599"/>
                      <a:pt x="5114" y="18881"/>
                      <a:pt x="2004" y="14874"/>
                    </a:cubicBezTo>
                    <a:cubicBezTo>
                      <a:pt x="-1166" y="10867"/>
                      <a:pt x="-508" y="5066"/>
                      <a:pt x="3499" y="1956"/>
                    </a:cubicBezTo>
                    <a:cubicBezTo>
                      <a:pt x="7446" y="-1154"/>
                      <a:pt x="13188" y="-496"/>
                      <a:pt x="16357" y="3511"/>
                    </a:cubicBezTo>
                    <a:close/>
                  </a:path>
                </a:pathLst>
              </a:custGeom>
              <a:grpFill/>
              <a:ln w="5978" cap="flat">
                <a:noFill/>
                <a:prstDash val="solid"/>
                <a:miter/>
              </a:ln>
            </p:spPr>
            <p:txBody>
              <a:bodyPr rtlCol="0" anchor="ctr"/>
              <a:lstStyle/>
              <a:p>
                <a:endParaRPr lang="en-GB"/>
              </a:p>
            </p:txBody>
          </p:sp>
          <p:sp>
            <p:nvSpPr>
              <p:cNvPr id="3772" name="Vrije vorm: vorm 3771">
                <a:extLst>
                  <a:ext uri="{FF2B5EF4-FFF2-40B4-BE49-F238E27FC236}">
                    <a16:creationId xmlns:a16="http://schemas.microsoft.com/office/drawing/2014/main" id="{C6317D13-B747-4259-9ED2-74E84EF68EFE}"/>
                  </a:ext>
                </a:extLst>
              </p:cNvPr>
              <p:cNvSpPr/>
              <p:nvPr/>
            </p:nvSpPr>
            <p:spPr>
              <a:xfrm>
                <a:off x="7086770" y="4727519"/>
                <a:ext cx="18317" cy="18366"/>
              </a:xfrm>
              <a:custGeom>
                <a:avLst/>
                <a:gdLst>
                  <a:gd name="connsiteX0" fmla="*/ 16314 w 18317"/>
                  <a:gd name="connsiteY0" fmla="*/ 3511 h 18366"/>
                  <a:gd name="connsiteX1" fmla="*/ 3456 w 18317"/>
                  <a:gd name="connsiteY1" fmla="*/ 1956 h 18366"/>
                  <a:gd name="connsiteX2" fmla="*/ 1960 w 18317"/>
                  <a:gd name="connsiteY2" fmla="*/ 14874 h 18366"/>
                  <a:gd name="connsiteX3" fmla="*/ 14818 w 18317"/>
                  <a:gd name="connsiteY3" fmla="*/ 16429 h 18366"/>
                  <a:gd name="connsiteX4" fmla="*/ 16314 w 18317"/>
                  <a:gd name="connsiteY4" fmla="*/ 3511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66">
                    <a:moveTo>
                      <a:pt x="16314" y="3511"/>
                    </a:moveTo>
                    <a:cubicBezTo>
                      <a:pt x="13144" y="-496"/>
                      <a:pt x="7402" y="-1154"/>
                      <a:pt x="3456" y="1956"/>
                    </a:cubicBezTo>
                    <a:cubicBezTo>
                      <a:pt x="-492" y="5066"/>
                      <a:pt x="-1150" y="10927"/>
                      <a:pt x="1960" y="14874"/>
                    </a:cubicBezTo>
                    <a:cubicBezTo>
                      <a:pt x="5070" y="18821"/>
                      <a:pt x="10872" y="19539"/>
                      <a:pt x="14818" y="16429"/>
                    </a:cubicBezTo>
                    <a:cubicBezTo>
                      <a:pt x="18826" y="13319"/>
                      <a:pt x="19483" y="7518"/>
                      <a:pt x="16314" y="3511"/>
                    </a:cubicBezTo>
                    <a:close/>
                  </a:path>
                </a:pathLst>
              </a:custGeom>
              <a:grpFill/>
              <a:ln w="5978" cap="flat">
                <a:noFill/>
                <a:prstDash val="solid"/>
                <a:miter/>
              </a:ln>
            </p:spPr>
            <p:txBody>
              <a:bodyPr rtlCol="0" anchor="ctr"/>
              <a:lstStyle/>
              <a:p>
                <a:endParaRPr lang="en-GB"/>
              </a:p>
            </p:txBody>
          </p:sp>
        </p:grpSp>
        <p:grpSp>
          <p:nvGrpSpPr>
            <p:cNvPr id="540" name="Graphic 3">
              <a:extLst>
                <a:ext uri="{FF2B5EF4-FFF2-40B4-BE49-F238E27FC236}">
                  <a16:creationId xmlns:a16="http://schemas.microsoft.com/office/drawing/2014/main" id="{2273B860-E16B-4D27-AA3E-1BC2D4D8D2C3}"/>
                </a:ext>
              </a:extLst>
            </p:cNvPr>
            <p:cNvGrpSpPr/>
            <p:nvPr/>
          </p:nvGrpSpPr>
          <p:grpSpPr>
            <a:xfrm>
              <a:off x="7154091" y="4867864"/>
              <a:ext cx="85319" cy="106585"/>
              <a:chOff x="7154091" y="4867864"/>
              <a:chExt cx="85319" cy="106585"/>
            </a:xfrm>
            <a:grpFill/>
          </p:grpSpPr>
          <p:sp>
            <p:nvSpPr>
              <p:cNvPr id="3767" name="Vrije vorm: vorm 3766">
                <a:extLst>
                  <a:ext uri="{FF2B5EF4-FFF2-40B4-BE49-F238E27FC236}">
                    <a16:creationId xmlns:a16="http://schemas.microsoft.com/office/drawing/2014/main" id="{A8411188-E987-4198-AF9F-D10298EC1D36}"/>
                  </a:ext>
                </a:extLst>
              </p:cNvPr>
              <p:cNvSpPr/>
              <p:nvPr/>
            </p:nvSpPr>
            <p:spPr>
              <a:xfrm>
                <a:off x="7161815" y="4875763"/>
                <a:ext cx="69914" cy="90787"/>
              </a:xfrm>
              <a:custGeom>
                <a:avLst/>
                <a:gdLst>
                  <a:gd name="connsiteX0" fmla="*/ 69914 w 69914"/>
                  <a:gd name="connsiteY0" fmla="*/ 88933 h 90787"/>
                  <a:gd name="connsiteX1" fmla="*/ 67522 w 69914"/>
                  <a:gd name="connsiteY1" fmla="*/ 90788 h 90787"/>
                  <a:gd name="connsiteX2" fmla="*/ 0 w 69914"/>
                  <a:gd name="connsiteY2" fmla="*/ 1854 h 90787"/>
                  <a:gd name="connsiteX3" fmla="*/ 2392 w 69914"/>
                  <a:gd name="connsiteY3" fmla="*/ 0 h 90787"/>
                </a:gdLst>
                <a:ahLst/>
                <a:cxnLst>
                  <a:cxn ang="0">
                    <a:pos x="connsiteX0" y="connsiteY0"/>
                  </a:cxn>
                  <a:cxn ang="0">
                    <a:pos x="connsiteX1" y="connsiteY1"/>
                  </a:cxn>
                  <a:cxn ang="0">
                    <a:pos x="connsiteX2" y="connsiteY2"/>
                  </a:cxn>
                  <a:cxn ang="0">
                    <a:pos x="connsiteX3" y="connsiteY3"/>
                  </a:cxn>
                </a:cxnLst>
                <a:rect l="l" t="t" r="r" b="b"/>
                <a:pathLst>
                  <a:path w="69914" h="90787">
                    <a:moveTo>
                      <a:pt x="69914" y="88933"/>
                    </a:moveTo>
                    <a:lnTo>
                      <a:pt x="67522" y="90788"/>
                    </a:lnTo>
                    <a:lnTo>
                      <a:pt x="0" y="1854"/>
                    </a:lnTo>
                    <a:lnTo>
                      <a:pt x="2392" y="0"/>
                    </a:lnTo>
                    <a:close/>
                  </a:path>
                </a:pathLst>
              </a:custGeom>
              <a:grpFill/>
              <a:ln w="5978" cap="flat">
                <a:noFill/>
                <a:prstDash val="solid"/>
                <a:miter/>
              </a:ln>
            </p:spPr>
            <p:txBody>
              <a:bodyPr rtlCol="0" anchor="ctr"/>
              <a:lstStyle/>
              <a:p>
                <a:endParaRPr lang="en-GB"/>
              </a:p>
            </p:txBody>
          </p:sp>
          <p:sp>
            <p:nvSpPr>
              <p:cNvPr id="3768" name="Vrije vorm: vorm 3767">
                <a:extLst>
                  <a:ext uri="{FF2B5EF4-FFF2-40B4-BE49-F238E27FC236}">
                    <a16:creationId xmlns:a16="http://schemas.microsoft.com/office/drawing/2014/main" id="{E1B32682-E6A3-4E96-9C32-9F7789734E16}"/>
                  </a:ext>
                </a:extLst>
              </p:cNvPr>
              <p:cNvSpPr/>
              <p:nvPr/>
            </p:nvSpPr>
            <p:spPr>
              <a:xfrm>
                <a:off x="7221057" y="4956038"/>
                <a:ext cx="18353" cy="18411"/>
              </a:xfrm>
              <a:custGeom>
                <a:avLst/>
                <a:gdLst>
                  <a:gd name="connsiteX0" fmla="*/ 16473 w 18353"/>
                  <a:gd name="connsiteY0" fmla="*/ 3635 h 18411"/>
                  <a:gd name="connsiteX1" fmla="*/ 14739 w 18353"/>
                  <a:gd name="connsiteY1" fmla="*/ 16553 h 18411"/>
                  <a:gd name="connsiteX2" fmla="*/ 1881 w 18353"/>
                  <a:gd name="connsiteY2" fmla="*/ 14759 h 18411"/>
                  <a:gd name="connsiteX3" fmla="*/ 3615 w 18353"/>
                  <a:gd name="connsiteY3" fmla="*/ 1841 h 18411"/>
                  <a:gd name="connsiteX4" fmla="*/ 16473 w 18353"/>
                  <a:gd name="connsiteY4" fmla="*/ 3635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1">
                    <a:moveTo>
                      <a:pt x="16473" y="3635"/>
                    </a:moveTo>
                    <a:cubicBezTo>
                      <a:pt x="19524" y="7702"/>
                      <a:pt x="18806" y="13443"/>
                      <a:pt x="14739" y="16553"/>
                    </a:cubicBezTo>
                    <a:cubicBezTo>
                      <a:pt x="10732" y="19603"/>
                      <a:pt x="4991" y="18826"/>
                      <a:pt x="1881" y="14759"/>
                    </a:cubicBezTo>
                    <a:cubicBezTo>
                      <a:pt x="-1170" y="10692"/>
                      <a:pt x="-452" y="4951"/>
                      <a:pt x="3615" y="1841"/>
                    </a:cubicBezTo>
                    <a:cubicBezTo>
                      <a:pt x="7622" y="-1209"/>
                      <a:pt x="13424" y="-372"/>
                      <a:pt x="16473" y="3635"/>
                    </a:cubicBezTo>
                    <a:close/>
                  </a:path>
                </a:pathLst>
              </a:custGeom>
              <a:grpFill/>
              <a:ln w="5978" cap="flat">
                <a:noFill/>
                <a:prstDash val="solid"/>
                <a:miter/>
              </a:ln>
            </p:spPr>
            <p:txBody>
              <a:bodyPr rtlCol="0" anchor="ctr"/>
              <a:lstStyle/>
              <a:p>
                <a:endParaRPr lang="en-GB"/>
              </a:p>
            </p:txBody>
          </p:sp>
          <p:sp>
            <p:nvSpPr>
              <p:cNvPr id="3769" name="Vrije vorm: vorm 3768">
                <a:extLst>
                  <a:ext uri="{FF2B5EF4-FFF2-40B4-BE49-F238E27FC236}">
                    <a16:creationId xmlns:a16="http://schemas.microsoft.com/office/drawing/2014/main" id="{94D2975A-91D7-44BD-A3CC-669CBEEFDAB2}"/>
                  </a:ext>
                </a:extLst>
              </p:cNvPr>
              <p:cNvSpPr/>
              <p:nvPr/>
            </p:nvSpPr>
            <p:spPr>
              <a:xfrm>
                <a:off x="7154091" y="4867864"/>
                <a:ext cx="18361" cy="18429"/>
              </a:xfrm>
              <a:custGeom>
                <a:avLst/>
                <a:gdLst>
                  <a:gd name="connsiteX0" fmla="*/ 16455 w 18361"/>
                  <a:gd name="connsiteY0" fmla="*/ 3653 h 18429"/>
                  <a:gd name="connsiteX1" fmla="*/ 3597 w 18361"/>
                  <a:gd name="connsiteY1" fmla="*/ 1859 h 18429"/>
                  <a:gd name="connsiteX2" fmla="*/ 1863 w 18361"/>
                  <a:gd name="connsiteY2" fmla="*/ 14777 h 18429"/>
                  <a:gd name="connsiteX3" fmla="*/ 14721 w 18361"/>
                  <a:gd name="connsiteY3" fmla="*/ 16571 h 18429"/>
                  <a:gd name="connsiteX4" fmla="*/ 16455 w 18361"/>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9">
                    <a:moveTo>
                      <a:pt x="16455" y="3653"/>
                    </a:moveTo>
                    <a:cubicBezTo>
                      <a:pt x="13405" y="-414"/>
                      <a:pt x="7604" y="-1192"/>
                      <a:pt x="3597" y="1859"/>
                    </a:cubicBezTo>
                    <a:cubicBezTo>
                      <a:pt x="-410" y="4908"/>
                      <a:pt x="-1187" y="10710"/>
                      <a:pt x="1863" y="14777"/>
                    </a:cubicBezTo>
                    <a:cubicBezTo>
                      <a:pt x="4913" y="18844"/>
                      <a:pt x="10714" y="19621"/>
                      <a:pt x="14721" y="16571"/>
                    </a:cubicBezTo>
                    <a:cubicBezTo>
                      <a:pt x="18788" y="13461"/>
                      <a:pt x="19565" y="7660"/>
                      <a:pt x="16455" y="3653"/>
                    </a:cubicBezTo>
                    <a:close/>
                  </a:path>
                </a:pathLst>
              </a:custGeom>
              <a:grpFill/>
              <a:ln w="5978" cap="flat">
                <a:noFill/>
                <a:prstDash val="solid"/>
                <a:miter/>
              </a:ln>
            </p:spPr>
            <p:txBody>
              <a:bodyPr rtlCol="0" anchor="ctr"/>
              <a:lstStyle/>
              <a:p>
                <a:endParaRPr lang="en-GB"/>
              </a:p>
            </p:txBody>
          </p:sp>
        </p:grpSp>
        <p:grpSp>
          <p:nvGrpSpPr>
            <p:cNvPr id="541" name="Graphic 3">
              <a:extLst>
                <a:ext uri="{FF2B5EF4-FFF2-40B4-BE49-F238E27FC236}">
                  <a16:creationId xmlns:a16="http://schemas.microsoft.com/office/drawing/2014/main" id="{238EBF2B-8728-421F-9199-A533E8197629}"/>
                </a:ext>
              </a:extLst>
            </p:cNvPr>
            <p:cNvGrpSpPr/>
            <p:nvPr/>
          </p:nvGrpSpPr>
          <p:grpSpPr>
            <a:xfrm>
              <a:off x="7176732" y="4956413"/>
              <a:ext cx="143502" cy="189888"/>
              <a:chOff x="7176732" y="4956413"/>
              <a:chExt cx="143502" cy="189888"/>
            </a:xfrm>
            <a:grpFill/>
          </p:grpSpPr>
          <p:sp>
            <p:nvSpPr>
              <p:cNvPr id="3764" name="Vrije vorm: vorm 3763">
                <a:extLst>
                  <a:ext uri="{FF2B5EF4-FFF2-40B4-BE49-F238E27FC236}">
                    <a16:creationId xmlns:a16="http://schemas.microsoft.com/office/drawing/2014/main" id="{FC14EA7F-68A5-4994-97B7-DF6ED604006B}"/>
                  </a:ext>
                </a:extLst>
              </p:cNvPr>
              <p:cNvSpPr/>
              <p:nvPr/>
            </p:nvSpPr>
            <p:spPr>
              <a:xfrm>
                <a:off x="7184422" y="4964398"/>
                <a:ext cx="128166" cy="173979"/>
              </a:xfrm>
              <a:custGeom>
                <a:avLst/>
                <a:gdLst>
                  <a:gd name="connsiteX0" fmla="*/ 128166 w 128166"/>
                  <a:gd name="connsiteY0" fmla="*/ 172185 h 173979"/>
                  <a:gd name="connsiteX1" fmla="*/ 125714 w 128166"/>
                  <a:gd name="connsiteY1" fmla="*/ 173979 h 173979"/>
                  <a:gd name="connsiteX2" fmla="*/ 0 w 128166"/>
                  <a:gd name="connsiteY2" fmla="*/ 1794 h 173979"/>
                  <a:gd name="connsiteX3" fmla="*/ 2452 w 128166"/>
                  <a:gd name="connsiteY3" fmla="*/ 0 h 173979"/>
                </a:gdLst>
                <a:ahLst/>
                <a:cxnLst>
                  <a:cxn ang="0">
                    <a:pos x="connsiteX0" y="connsiteY0"/>
                  </a:cxn>
                  <a:cxn ang="0">
                    <a:pos x="connsiteX1" y="connsiteY1"/>
                  </a:cxn>
                  <a:cxn ang="0">
                    <a:pos x="connsiteX2" y="connsiteY2"/>
                  </a:cxn>
                  <a:cxn ang="0">
                    <a:pos x="connsiteX3" y="connsiteY3"/>
                  </a:cxn>
                </a:cxnLst>
                <a:rect l="l" t="t" r="r" b="b"/>
                <a:pathLst>
                  <a:path w="128166" h="173979">
                    <a:moveTo>
                      <a:pt x="128166" y="172185"/>
                    </a:moveTo>
                    <a:lnTo>
                      <a:pt x="125714" y="173979"/>
                    </a:lnTo>
                    <a:lnTo>
                      <a:pt x="0" y="1794"/>
                    </a:lnTo>
                    <a:lnTo>
                      <a:pt x="2452" y="0"/>
                    </a:lnTo>
                    <a:close/>
                  </a:path>
                </a:pathLst>
              </a:custGeom>
              <a:grpFill/>
              <a:ln w="5978" cap="flat">
                <a:noFill/>
                <a:prstDash val="solid"/>
                <a:miter/>
              </a:ln>
            </p:spPr>
            <p:txBody>
              <a:bodyPr rtlCol="0" anchor="ctr"/>
              <a:lstStyle/>
              <a:p>
                <a:endParaRPr lang="en-GB"/>
              </a:p>
            </p:txBody>
          </p:sp>
          <p:sp>
            <p:nvSpPr>
              <p:cNvPr id="3765" name="Vrije vorm: vorm 3764">
                <a:extLst>
                  <a:ext uri="{FF2B5EF4-FFF2-40B4-BE49-F238E27FC236}">
                    <a16:creationId xmlns:a16="http://schemas.microsoft.com/office/drawing/2014/main" id="{DC7887A0-C2A2-4168-B2AF-B1A633A67636}"/>
                  </a:ext>
                </a:extLst>
              </p:cNvPr>
              <p:cNvSpPr/>
              <p:nvPr/>
            </p:nvSpPr>
            <p:spPr>
              <a:xfrm>
                <a:off x="7301892" y="5127880"/>
                <a:ext cx="18343" cy="18421"/>
              </a:xfrm>
              <a:custGeom>
                <a:avLst/>
                <a:gdLst>
                  <a:gd name="connsiteX0" fmla="*/ 16558 w 18343"/>
                  <a:gd name="connsiteY0" fmla="*/ 3798 h 18421"/>
                  <a:gd name="connsiteX1" fmla="*/ 14584 w 18343"/>
                  <a:gd name="connsiteY1" fmla="*/ 16656 h 18421"/>
                  <a:gd name="connsiteX2" fmla="*/ 1786 w 18343"/>
                  <a:gd name="connsiteY2" fmla="*/ 14623 h 18421"/>
                  <a:gd name="connsiteX3" fmla="*/ 3759 w 18343"/>
                  <a:gd name="connsiteY3" fmla="*/ 1765 h 18421"/>
                  <a:gd name="connsiteX4" fmla="*/ 16558 w 1834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1">
                    <a:moveTo>
                      <a:pt x="16558" y="3798"/>
                    </a:moveTo>
                    <a:cubicBezTo>
                      <a:pt x="19548" y="7925"/>
                      <a:pt x="18711" y="13666"/>
                      <a:pt x="14584" y="16656"/>
                    </a:cubicBezTo>
                    <a:cubicBezTo>
                      <a:pt x="10457" y="19647"/>
                      <a:pt x="4776" y="18750"/>
                      <a:pt x="1786" y="14623"/>
                    </a:cubicBezTo>
                    <a:cubicBezTo>
                      <a:pt x="-1205" y="10497"/>
                      <a:pt x="-367" y="4755"/>
                      <a:pt x="3759" y="1765"/>
                    </a:cubicBezTo>
                    <a:cubicBezTo>
                      <a:pt x="7826" y="-1226"/>
                      <a:pt x="13567" y="-329"/>
                      <a:pt x="16558" y="3798"/>
                    </a:cubicBezTo>
                    <a:close/>
                  </a:path>
                </a:pathLst>
              </a:custGeom>
              <a:grpFill/>
              <a:ln w="5978" cap="flat">
                <a:noFill/>
                <a:prstDash val="solid"/>
                <a:miter/>
              </a:ln>
            </p:spPr>
            <p:txBody>
              <a:bodyPr rtlCol="0" anchor="ctr"/>
              <a:lstStyle/>
              <a:p>
                <a:endParaRPr lang="en-GB"/>
              </a:p>
            </p:txBody>
          </p:sp>
          <p:sp>
            <p:nvSpPr>
              <p:cNvPr id="3766" name="Vrije vorm: vorm 3765">
                <a:extLst>
                  <a:ext uri="{FF2B5EF4-FFF2-40B4-BE49-F238E27FC236}">
                    <a16:creationId xmlns:a16="http://schemas.microsoft.com/office/drawing/2014/main" id="{549DC6F0-A82E-4657-9A84-F2E637945875}"/>
                  </a:ext>
                </a:extLst>
              </p:cNvPr>
              <p:cNvSpPr/>
              <p:nvPr/>
            </p:nvSpPr>
            <p:spPr>
              <a:xfrm>
                <a:off x="7176732" y="4956413"/>
                <a:ext cx="18326" cy="18421"/>
              </a:xfrm>
              <a:custGeom>
                <a:avLst/>
                <a:gdLst>
                  <a:gd name="connsiteX0" fmla="*/ 16541 w 18326"/>
                  <a:gd name="connsiteY0" fmla="*/ 3798 h 18421"/>
                  <a:gd name="connsiteX1" fmla="*/ 3742 w 18326"/>
                  <a:gd name="connsiteY1" fmla="*/ 1765 h 18421"/>
                  <a:gd name="connsiteX2" fmla="*/ 1768 w 18326"/>
                  <a:gd name="connsiteY2" fmla="*/ 14623 h 18421"/>
                  <a:gd name="connsiteX3" fmla="*/ 14567 w 18326"/>
                  <a:gd name="connsiteY3" fmla="*/ 16657 h 18421"/>
                  <a:gd name="connsiteX4" fmla="*/ 16541 w 18326"/>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1">
                    <a:moveTo>
                      <a:pt x="16541" y="3798"/>
                    </a:moveTo>
                    <a:cubicBezTo>
                      <a:pt x="13551" y="-329"/>
                      <a:pt x="7809" y="-1226"/>
                      <a:pt x="3742" y="1765"/>
                    </a:cubicBezTo>
                    <a:cubicBezTo>
                      <a:pt x="-325" y="4755"/>
                      <a:pt x="-1222" y="10556"/>
                      <a:pt x="1768" y="14623"/>
                    </a:cubicBezTo>
                    <a:cubicBezTo>
                      <a:pt x="4759" y="18750"/>
                      <a:pt x="10501" y="19647"/>
                      <a:pt x="14567" y="16657"/>
                    </a:cubicBezTo>
                    <a:cubicBezTo>
                      <a:pt x="18694" y="13666"/>
                      <a:pt x="19532" y="7925"/>
                      <a:pt x="16541" y="3798"/>
                    </a:cubicBezTo>
                    <a:close/>
                  </a:path>
                </a:pathLst>
              </a:custGeom>
              <a:grpFill/>
              <a:ln w="5978" cap="flat">
                <a:noFill/>
                <a:prstDash val="solid"/>
                <a:miter/>
              </a:ln>
            </p:spPr>
            <p:txBody>
              <a:bodyPr rtlCol="0" anchor="ctr"/>
              <a:lstStyle/>
              <a:p>
                <a:endParaRPr lang="en-GB"/>
              </a:p>
            </p:txBody>
          </p:sp>
        </p:grpSp>
        <p:grpSp>
          <p:nvGrpSpPr>
            <p:cNvPr id="542" name="Graphic 3">
              <a:extLst>
                <a:ext uri="{FF2B5EF4-FFF2-40B4-BE49-F238E27FC236}">
                  <a16:creationId xmlns:a16="http://schemas.microsoft.com/office/drawing/2014/main" id="{33EE762F-B845-48F2-98CB-77EA88F6CAB5}"/>
                </a:ext>
              </a:extLst>
            </p:cNvPr>
            <p:cNvGrpSpPr/>
            <p:nvPr/>
          </p:nvGrpSpPr>
          <p:grpSpPr>
            <a:xfrm>
              <a:off x="5984746" y="1259757"/>
              <a:ext cx="23928" cy="213217"/>
              <a:chOff x="5984746" y="1259757"/>
              <a:chExt cx="23928" cy="213217"/>
            </a:xfrm>
            <a:grpFill/>
          </p:grpSpPr>
          <p:sp>
            <p:nvSpPr>
              <p:cNvPr id="3761" name="Vrije vorm: vorm 3760">
                <a:extLst>
                  <a:ext uri="{FF2B5EF4-FFF2-40B4-BE49-F238E27FC236}">
                    <a16:creationId xmlns:a16="http://schemas.microsoft.com/office/drawing/2014/main" id="{0F9F8315-45C0-43AE-9773-AF6856380E30}"/>
                  </a:ext>
                </a:extLst>
              </p:cNvPr>
              <p:cNvSpPr/>
              <p:nvPr/>
            </p:nvSpPr>
            <p:spPr>
              <a:xfrm>
                <a:off x="5992344" y="1268432"/>
                <a:ext cx="8672" cy="195868"/>
              </a:xfrm>
              <a:custGeom>
                <a:avLst/>
                <a:gdLst>
                  <a:gd name="connsiteX0" fmla="*/ 3050 w 8672"/>
                  <a:gd name="connsiteY0" fmla="*/ 0 h 195868"/>
                  <a:gd name="connsiteX1" fmla="*/ 8672 w 8672"/>
                  <a:gd name="connsiteY1" fmla="*/ 195749 h 195868"/>
                  <a:gd name="connsiteX2" fmla="*/ 5622 w 8672"/>
                  <a:gd name="connsiteY2" fmla="*/ 195869 h 195868"/>
                  <a:gd name="connsiteX3" fmla="*/ 0 w 8672"/>
                  <a:gd name="connsiteY3" fmla="*/ 120 h 195868"/>
                </a:gdLst>
                <a:ahLst/>
                <a:cxnLst>
                  <a:cxn ang="0">
                    <a:pos x="connsiteX0" y="connsiteY0"/>
                  </a:cxn>
                  <a:cxn ang="0">
                    <a:pos x="connsiteX1" y="connsiteY1"/>
                  </a:cxn>
                  <a:cxn ang="0">
                    <a:pos x="connsiteX2" y="connsiteY2"/>
                  </a:cxn>
                  <a:cxn ang="0">
                    <a:pos x="connsiteX3" y="connsiteY3"/>
                  </a:cxn>
                </a:cxnLst>
                <a:rect l="l" t="t" r="r" b="b"/>
                <a:pathLst>
                  <a:path w="8672" h="195868">
                    <a:moveTo>
                      <a:pt x="3050" y="0"/>
                    </a:moveTo>
                    <a:lnTo>
                      <a:pt x="8672" y="195749"/>
                    </a:lnTo>
                    <a:lnTo>
                      <a:pt x="5622" y="195869"/>
                    </a:lnTo>
                    <a:lnTo>
                      <a:pt x="0" y="120"/>
                    </a:lnTo>
                    <a:close/>
                  </a:path>
                </a:pathLst>
              </a:custGeom>
              <a:grpFill/>
              <a:ln w="5978" cap="flat">
                <a:noFill/>
                <a:prstDash val="solid"/>
                <a:miter/>
              </a:ln>
            </p:spPr>
            <p:txBody>
              <a:bodyPr rtlCol="0" anchor="ctr"/>
              <a:lstStyle/>
              <a:p>
                <a:endParaRPr lang="en-GB"/>
              </a:p>
            </p:txBody>
          </p:sp>
          <p:sp>
            <p:nvSpPr>
              <p:cNvPr id="3762" name="Vrije vorm: vorm 3761">
                <a:extLst>
                  <a:ext uri="{FF2B5EF4-FFF2-40B4-BE49-F238E27FC236}">
                    <a16:creationId xmlns:a16="http://schemas.microsoft.com/office/drawing/2014/main" id="{D9734D0C-BA43-4934-8074-5D73E03BE1C2}"/>
                  </a:ext>
                </a:extLst>
              </p:cNvPr>
              <p:cNvSpPr/>
              <p:nvPr/>
            </p:nvSpPr>
            <p:spPr>
              <a:xfrm>
                <a:off x="5984746" y="1259757"/>
                <a:ext cx="18366" cy="18425"/>
              </a:xfrm>
              <a:custGeom>
                <a:avLst/>
                <a:gdLst>
                  <a:gd name="connsiteX0" fmla="*/ 3 w 18366"/>
                  <a:gd name="connsiteY0" fmla="*/ 9452 h 18425"/>
                  <a:gd name="connsiteX1" fmla="*/ 8914 w 18366"/>
                  <a:gd name="connsiteY1" fmla="*/ 3 h 18425"/>
                  <a:gd name="connsiteX2" fmla="*/ 18363 w 18366"/>
                  <a:gd name="connsiteY2" fmla="*/ 8974 h 18425"/>
                  <a:gd name="connsiteX3" fmla="*/ 9452 w 18366"/>
                  <a:gd name="connsiteY3" fmla="*/ 1842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17" y="4369"/>
                      <a:pt x="3830" y="122"/>
                      <a:pt x="8914" y="3"/>
                    </a:cubicBezTo>
                    <a:cubicBezTo>
                      <a:pt x="13998" y="-117"/>
                      <a:pt x="18184" y="3890"/>
                      <a:pt x="18363" y="8974"/>
                    </a:cubicBezTo>
                    <a:cubicBezTo>
                      <a:pt x="18483" y="14057"/>
                      <a:pt x="14536" y="18304"/>
                      <a:pt x="9452" y="18423"/>
                    </a:cubicBezTo>
                    <a:cubicBezTo>
                      <a:pt x="4369" y="18543"/>
                      <a:pt x="122" y="14536"/>
                      <a:pt x="3" y="9452"/>
                    </a:cubicBezTo>
                    <a:close/>
                  </a:path>
                </a:pathLst>
              </a:custGeom>
              <a:grpFill/>
              <a:ln w="5978" cap="flat">
                <a:noFill/>
                <a:prstDash val="solid"/>
                <a:miter/>
              </a:ln>
            </p:spPr>
            <p:txBody>
              <a:bodyPr rtlCol="0" anchor="ctr"/>
              <a:lstStyle/>
              <a:p>
                <a:endParaRPr lang="en-GB"/>
              </a:p>
            </p:txBody>
          </p:sp>
          <p:sp>
            <p:nvSpPr>
              <p:cNvPr id="3763" name="Vrije vorm: vorm 3762">
                <a:extLst>
                  <a:ext uri="{FF2B5EF4-FFF2-40B4-BE49-F238E27FC236}">
                    <a16:creationId xmlns:a16="http://schemas.microsoft.com/office/drawing/2014/main" id="{DBE181C8-297B-4CA7-AD02-8423E48D1407}"/>
                  </a:ext>
                </a:extLst>
              </p:cNvPr>
              <p:cNvSpPr/>
              <p:nvPr/>
            </p:nvSpPr>
            <p:spPr>
              <a:xfrm>
                <a:off x="5990305" y="1454549"/>
                <a:ext cx="18368" cy="18425"/>
              </a:xfrm>
              <a:custGeom>
                <a:avLst/>
                <a:gdLst>
                  <a:gd name="connsiteX0" fmla="*/ 6 w 18368"/>
                  <a:gd name="connsiteY0" fmla="*/ 9452 h 18425"/>
                  <a:gd name="connsiteX1" fmla="*/ 9455 w 18368"/>
                  <a:gd name="connsiteY1" fmla="*/ 18423 h 18425"/>
                  <a:gd name="connsiteX2" fmla="*/ 18366 w 18368"/>
                  <a:gd name="connsiteY2" fmla="*/ 8974 h 18425"/>
                  <a:gd name="connsiteX3" fmla="*/ 8917 w 18368"/>
                  <a:gd name="connsiteY3" fmla="*/ 3 h 18425"/>
                  <a:gd name="connsiteX4" fmla="*/ 6 w 18368"/>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5">
                    <a:moveTo>
                      <a:pt x="6" y="9452"/>
                    </a:moveTo>
                    <a:cubicBezTo>
                      <a:pt x="125" y="14536"/>
                      <a:pt x="4372" y="18543"/>
                      <a:pt x="9455" y="18423"/>
                    </a:cubicBezTo>
                    <a:cubicBezTo>
                      <a:pt x="14539" y="18304"/>
                      <a:pt x="18486" y="14057"/>
                      <a:pt x="18366" y="8974"/>
                    </a:cubicBezTo>
                    <a:cubicBezTo>
                      <a:pt x="18247" y="3890"/>
                      <a:pt x="14000" y="-117"/>
                      <a:pt x="8917" y="3"/>
                    </a:cubicBezTo>
                    <a:cubicBezTo>
                      <a:pt x="3833" y="182"/>
                      <a:pt x="-174" y="4369"/>
                      <a:pt x="6" y="9452"/>
                    </a:cubicBezTo>
                    <a:close/>
                  </a:path>
                </a:pathLst>
              </a:custGeom>
              <a:grpFill/>
              <a:ln w="5978" cap="flat">
                <a:noFill/>
                <a:prstDash val="solid"/>
                <a:miter/>
              </a:ln>
            </p:spPr>
            <p:txBody>
              <a:bodyPr rtlCol="0" anchor="ctr"/>
              <a:lstStyle/>
              <a:p>
                <a:endParaRPr lang="en-GB"/>
              </a:p>
            </p:txBody>
          </p:sp>
        </p:grpSp>
        <p:grpSp>
          <p:nvGrpSpPr>
            <p:cNvPr id="543" name="Graphic 3">
              <a:extLst>
                <a:ext uri="{FF2B5EF4-FFF2-40B4-BE49-F238E27FC236}">
                  <a16:creationId xmlns:a16="http://schemas.microsoft.com/office/drawing/2014/main" id="{801C098F-8632-458A-9AEC-705680CBAB6C}"/>
                </a:ext>
              </a:extLst>
            </p:cNvPr>
            <p:cNvGrpSpPr/>
            <p:nvPr/>
          </p:nvGrpSpPr>
          <p:grpSpPr>
            <a:xfrm>
              <a:off x="7065364" y="4752163"/>
              <a:ext cx="255399" cy="393787"/>
              <a:chOff x="7065364" y="4752163"/>
              <a:chExt cx="255399" cy="393787"/>
            </a:xfrm>
            <a:grpFill/>
          </p:grpSpPr>
          <p:sp>
            <p:nvSpPr>
              <p:cNvPr id="3758" name="Vrije vorm: vorm 3757">
                <a:extLst>
                  <a:ext uri="{FF2B5EF4-FFF2-40B4-BE49-F238E27FC236}">
                    <a16:creationId xmlns:a16="http://schemas.microsoft.com/office/drawing/2014/main" id="{6FDBBCE6-B5EA-4289-A57F-10B5A98B58F4}"/>
                  </a:ext>
                </a:extLst>
              </p:cNvPr>
              <p:cNvSpPr/>
              <p:nvPr/>
            </p:nvSpPr>
            <p:spPr>
              <a:xfrm>
                <a:off x="7072941" y="4760156"/>
                <a:ext cx="240185" cy="377802"/>
              </a:xfrm>
              <a:custGeom>
                <a:avLst/>
                <a:gdLst>
                  <a:gd name="connsiteX0" fmla="*/ 240185 w 240185"/>
                  <a:gd name="connsiteY0" fmla="*/ 376187 h 377802"/>
                  <a:gd name="connsiteX1" fmla="*/ 237614 w 240185"/>
                  <a:gd name="connsiteY1" fmla="*/ 377802 h 377802"/>
                  <a:gd name="connsiteX2" fmla="*/ 0 w 240185"/>
                  <a:gd name="connsiteY2" fmla="*/ 1674 h 377802"/>
                  <a:gd name="connsiteX3" fmla="*/ 2571 w 240185"/>
                  <a:gd name="connsiteY3" fmla="*/ 0 h 377802"/>
                </a:gdLst>
                <a:ahLst/>
                <a:cxnLst>
                  <a:cxn ang="0">
                    <a:pos x="connsiteX0" y="connsiteY0"/>
                  </a:cxn>
                  <a:cxn ang="0">
                    <a:pos x="connsiteX1" y="connsiteY1"/>
                  </a:cxn>
                  <a:cxn ang="0">
                    <a:pos x="connsiteX2" y="connsiteY2"/>
                  </a:cxn>
                  <a:cxn ang="0">
                    <a:pos x="connsiteX3" y="connsiteY3"/>
                  </a:cxn>
                </a:cxnLst>
                <a:rect l="l" t="t" r="r" b="b"/>
                <a:pathLst>
                  <a:path w="240185" h="377802">
                    <a:moveTo>
                      <a:pt x="240185" y="376187"/>
                    </a:moveTo>
                    <a:lnTo>
                      <a:pt x="237614" y="377802"/>
                    </a:lnTo>
                    <a:lnTo>
                      <a:pt x="0" y="1674"/>
                    </a:lnTo>
                    <a:lnTo>
                      <a:pt x="2571" y="0"/>
                    </a:lnTo>
                    <a:close/>
                  </a:path>
                </a:pathLst>
              </a:custGeom>
              <a:grpFill/>
              <a:ln w="5978" cap="flat">
                <a:noFill/>
                <a:prstDash val="solid"/>
                <a:miter/>
              </a:ln>
            </p:spPr>
            <p:txBody>
              <a:bodyPr rtlCol="0" anchor="ctr"/>
              <a:lstStyle/>
              <a:p>
                <a:endParaRPr lang="en-GB"/>
              </a:p>
            </p:txBody>
          </p:sp>
          <p:sp>
            <p:nvSpPr>
              <p:cNvPr id="3759" name="Vrije vorm: vorm 3758">
                <a:extLst>
                  <a:ext uri="{FF2B5EF4-FFF2-40B4-BE49-F238E27FC236}">
                    <a16:creationId xmlns:a16="http://schemas.microsoft.com/office/drawing/2014/main" id="{6D51C5BA-30D9-4A88-9EF3-5E3A37F40561}"/>
                  </a:ext>
                </a:extLst>
              </p:cNvPr>
              <p:cNvSpPr/>
              <p:nvPr/>
            </p:nvSpPr>
            <p:spPr>
              <a:xfrm>
                <a:off x="7065364" y="4752163"/>
                <a:ext cx="18323" cy="18395"/>
              </a:xfrm>
              <a:custGeom>
                <a:avLst/>
                <a:gdLst>
                  <a:gd name="connsiteX0" fmla="*/ 1417 w 18323"/>
                  <a:gd name="connsiteY0" fmla="*/ 14153 h 18395"/>
                  <a:gd name="connsiteX1" fmla="*/ 4228 w 18323"/>
                  <a:gd name="connsiteY1" fmla="*/ 1414 h 18395"/>
                  <a:gd name="connsiteX2" fmla="*/ 16907 w 18323"/>
                  <a:gd name="connsiteY2" fmla="*/ 4285 h 18395"/>
                  <a:gd name="connsiteX3" fmla="*/ 14096 w 18323"/>
                  <a:gd name="connsiteY3" fmla="*/ 16964 h 18395"/>
                  <a:gd name="connsiteX4" fmla="*/ 1417 w 18323"/>
                  <a:gd name="connsiteY4" fmla="*/ 14153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95">
                    <a:moveTo>
                      <a:pt x="1417" y="14153"/>
                    </a:moveTo>
                    <a:cubicBezTo>
                      <a:pt x="-1275" y="9847"/>
                      <a:pt x="-18" y="4165"/>
                      <a:pt x="4228" y="1414"/>
                    </a:cubicBezTo>
                    <a:cubicBezTo>
                      <a:pt x="8474" y="-1277"/>
                      <a:pt x="14156" y="-21"/>
                      <a:pt x="16907" y="4285"/>
                    </a:cubicBezTo>
                    <a:cubicBezTo>
                      <a:pt x="19599" y="8591"/>
                      <a:pt x="18342" y="14273"/>
                      <a:pt x="14096" y="16964"/>
                    </a:cubicBezTo>
                    <a:cubicBezTo>
                      <a:pt x="9850" y="19655"/>
                      <a:pt x="4108" y="18459"/>
                      <a:pt x="1417" y="14153"/>
                    </a:cubicBezTo>
                    <a:close/>
                  </a:path>
                </a:pathLst>
              </a:custGeom>
              <a:grpFill/>
              <a:ln w="5978" cap="flat">
                <a:noFill/>
                <a:prstDash val="solid"/>
                <a:miter/>
              </a:ln>
            </p:spPr>
            <p:txBody>
              <a:bodyPr rtlCol="0" anchor="ctr"/>
              <a:lstStyle/>
              <a:p>
                <a:endParaRPr lang="en-GB"/>
              </a:p>
            </p:txBody>
          </p:sp>
          <p:sp>
            <p:nvSpPr>
              <p:cNvPr id="3760" name="Vrije vorm: vorm 3759">
                <a:extLst>
                  <a:ext uri="{FF2B5EF4-FFF2-40B4-BE49-F238E27FC236}">
                    <a16:creationId xmlns:a16="http://schemas.microsoft.com/office/drawing/2014/main" id="{96B205DB-BE75-40E7-89AF-457BE9F7243F}"/>
                  </a:ext>
                </a:extLst>
              </p:cNvPr>
              <p:cNvSpPr/>
              <p:nvPr/>
            </p:nvSpPr>
            <p:spPr>
              <a:xfrm>
                <a:off x="7302440" y="5127573"/>
                <a:ext cx="18323" cy="18377"/>
              </a:xfrm>
              <a:custGeom>
                <a:avLst/>
                <a:gdLst>
                  <a:gd name="connsiteX0" fmla="*/ 1417 w 18323"/>
                  <a:gd name="connsiteY0" fmla="*/ 14093 h 18377"/>
                  <a:gd name="connsiteX1" fmla="*/ 14096 w 18323"/>
                  <a:gd name="connsiteY1" fmla="*/ 16964 h 18377"/>
                  <a:gd name="connsiteX2" fmla="*/ 16907 w 18323"/>
                  <a:gd name="connsiteY2" fmla="*/ 4285 h 18377"/>
                  <a:gd name="connsiteX3" fmla="*/ 4228 w 18323"/>
                  <a:gd name="connsiteY3" fmla="*/ 1414 h 18377"/>
                  <a:gd name="connsiteX4" fmla="*/ 1417 w 18323"/>
                  <a:gd name="connsiteY4" fmla="*/ 14093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77">
                    <a:moveTo>
                      <a:pt x="1417" y="14093"/>
                    </a:moveTo>
                    <a:cubicBezTo>
                      <a:pt x="4108" y="18399"/>
                      <a:pt x="9790" y="19655"/>
                      <a:pt x="14096" y="16964"/>
                    </a:cubicBezTo>
                    <a:cubicBezTo>
                      <a:pt x="18342" y="14273"/>
                      <a:pt x="19598" y="8531"/>
                      <a:pt x="16907" y="4285"/>
                    </a:cubicBezTo>
                    <a:cubicBezTo>
                      <a:pt x="14216" y="-21"/>
                      <a:pt x="8534" y="-1277"/>
                      <a:pt x="4228" y="1414"/>
                    </a:cubicBezTo>
                    <a:cubicBezTo>
                      <a:pt x="-18" y="4105"/>
                      <a:pt x="-1275" y="9787"/>
                      <a:pt x="1417" y="14093"/>
                    </a:cubicBezTo>
                    <a:close/>
                  </a:path>
                </a:pathLst>
              </a:custGeom>
              <a:grpFill/>
              <a:ln w="5978" cap="flat">
                <a:noFill/>
                <a:prstDash val="solid"/>
                <a:miter/>
              </a:ln>
            </p:spPr>
            <p:txBody>
              <a:bodyPr rtlCol="0" anchor="ctr"/>
              <a:lstStyle/>
              <a:p>
                <a:endParaRPr lang="en-GB"/>
              </a:p>
            </p:txBody>
          </p:sp>
        </p:grpSp>
        <p:grpSp>
          <p:nvGrpSpPr>
            <p:cNvPr id="544" name="Graphic 3">
              <a:extLst>
                <a:ext uri="{FF2B5EF4-FFF2-40B4-BE49-F238E27FC236}">
                  <a16:creationId xmlns:a16="http://schemas.microsoft.com/office/drawing/2014/main" id="{B9323806-1AC3-4913-819C-CE6887339747}"/>
                </a:ext>
              </a:extLst>
            </p:cNvPr>
            <p:cNvGrpSpPr/>
            <p:nvPr/>
          </p:nvGrpSpPr>
          <p:grpSpPr>
            <a:xfrm>
              <a:off x="6026553" y="1454731"/>
              <a:ext cx="19916" cy="175714"/>
              <a:chOff x="6026553" y="1454731"/>
              <a:chExt cx="19916" cy="175714"/>
            </a:xfrm>
            <a:grpFill/>
          </p:grpSpPr>
          <p:sp>
            <p:nvSpPr>
              <p:cNvPr id="3755" name="Vrije vorm: vorm 3754">
                <a:extLst>
                  <a:ext uri="{FF2B5EF4-FFF2-40B4-BE49-F238E27FC236}">
                    <a16:creationId xmlns:a16="http://schemas.microsoft.com/office/drawing/2014/main" id="{4702B2E7-74B5-47B2-81F1-E36D73003251}"/>
                  </a:ext>
                </a:extLst>
              </p:cNvPr>
              <p:cNvSpPr/>
              <p:nvPr/>
            </p:nvSpPr>
            <p:spPr>
              <a:xfrm>
                <a:off x="6034149" y="1463523"/>
                <a:ext cx="4605" cy="158190"/>
              </a:xfrm>
              <a:custGeom>
                <a:avLst/>
                <a:gdLst>
                  <a:gd name="connsiteX0" fmla="*/ 3050 w 4605"/>
                  <a:gd name="connsiteY0" fmla="*/ 0 h 158190"/>
                  <a:gd name="connsiteX1" fmla="*/ 4605 w 4605"/>
                  <a:gd name="connsiteY1" fmla="*/ 158190 h 158190"/>
                  <a:gd name="connsiteX2" fmla="*/ 1615 w 4605"/>
                  <a:gd name="connsiteY2" fmla="*/ 158190 h 158190"/>
                  <a:gd name="connsiteX3" fmla="*/ 0 w 4605"/>
                  <a:gd name="connsiteY3" fmla="*/ 0 h 158190"/>
                </a:gdLst>
                <a:ahLst/>
                <a:cxnLst>
                  <a:cxn ang="0">
                    <a:pos x="connsiteX0" y="connsiteY0"/>
                  </a:cxn>
                  <a:cxn ang="0">
                    <a:pos x="connsiteX1" y="connsiteY1"/>
                  </a:cxn>
                  <a:cxn ang="0">
                    <a:pos x="connsiteX2" y="connsiteY2"/>
                  </a:cxn>
                  <a:cxn ang="0">
                    <a:pos x="connsiteX3" y="connsiteY3"/>
                  </a:cxn>
                </a:cxnLst>
                <a:rect l="l" t="t" r="r" b="b"/>
                <a:pathLst>
                  <a:path w="4605" h="158190">
                    <a:moveTo>
                      <a:pt x="3050" y="0"/>
                    </a:moveTo>
                    <a:lnTo>
                      <a:pt x="4605" y="158190"/>
                    </a:lnTo>
                    <a:lnTo>
                      <a:pt x="1615" y="158190"/>
                    </a:lnTo>
                    <a:lnTo>
                      <a:pt x="0" y="0"/>
                    </a:lnTo>
                    <a:close/>
                  </a:path>
                </a:pathLst>
              </a:custGeom>
              <a:grpFill/>
              <a:ln w="5978" cap="flat">
                <a:noFill/>
                <a:prstDash val="solid"/>
                <a:miter/>
              </a:ln>
            </p:spPr>
            <p:txBody>
              <a:bodyPr rtlCol="0" anchor="ctr"/>
              <a:lstStyle/>
              <a:p>
                <a:endParaRPr lang="en-GB"/>
              </a:p>
            </p:txBody>
          </p:sp>
          <p:sp>
            <p:nvSpPr>
              <p:cNvPr id="3756" name="Vrije vorm: vorm 3755">
                <a:extLst>
                  <a:ext uri="{FF2B5EF4-FFF2-40B4-BE49-F238E27FC236}">
                    <a16:creationId xmlns:a16="http://schemas.microsoft.com/office/drawing/2014/main" id="{28B2CBA5-15F6-46A0-B569-045B84EBBE3F}"/>
                  </a:ext>
                </a:extLst>
              </p:cNvPr>
              <p:cNvSpPr/>
              <p:nvPr/>
            </p:nvSpPr>
            <p:spPr>
              <a:xfrm>
                <a:off x="6026553" y="1454731"/>
                <a:ext cx="18362" cy="18421"/>
              </a:xfrm>
              <a:custGeom>
                <a:avLst/>
                <a:gdLst>
                  <a:gd name="connsiteX0" fmla="*/ 1 w 18362"/>
                  <a:gd name="connsiteY0" fmla="*/ 9270 h 18421"/>
                  <a:gd name="connsiteX1" fmla="*/ 9091 w 18362"/>
                  <a:gd name="connsiteY1" fmla="*/ 0 h 18421"/>
                  <a:gd name="connsiteX2" fmla="*/ 18362 w 18362"/>
                  <a:gd name="connsiteY2" fmla="*/ 9151 h 18421"/>
                  <a:gd name="connsiteX3" fmla="*/ 9271 w 18362"/>
                  <a:gd name="connsiteY3" fmla="*/ 18421 h 18421"/>
                  <a:gd name="connsiteX4" fmla="*/ 1 w 18362"/>
                  <a:gd name="connsiteY4" fmla="*/ 927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0"/>
                    </a:moveTo>
                    <a:cubicBezTo>
                      <a:pt x="-59" y="4187"/>
                      <a:pt x="4008" y="60"/>
                      <a:pt x="9091" y="0"/>
                    </a:cubicBezTo>
                    <a:cubicBezTo>
                      <a:pt x="14175" y="0"/>
                      <a:pt x="18302" y="4067"/>
                      <a:pt x="18362" y="9151"/>
                    </a:cubicBezTo>
                    <a:cubicBezTo>
                      <a:pt x="18421" y="14234"/>
                      <a:pt x="14354" y="18361"/>
                      <a:pt x="9271" y="18421"/>
                    </a:cubicBezTo>
                    <a:cubicBezTo>
                      <a:pt x="4187" y="18480"/>
                      <a:pt x="1" y="14414"/>
                      <a:pt x="1" y="9270"/>
                    </a:cubicBezTo>
                    <a:close/>
                  </a:path>
                </a:pathLst>
              </a:custGeom>
              <a:grpFill/>
              <a:ln w="5978" cap="flat">
                <a:noFill/>
                <a:prstDash val="solid"/>
                <a:miter/>
              </a:ln>
            </p:spPr>
            <p:txBody>
              <a:bodyPr rtlCol="0" anchor="ctr"/>
              <a:lstStyle/>
              <a:p>
                <a:endParaRPr lang="en-GB"/>
              </a:p>
            </p:txBody>
          </p:sp>
          <p:sp>
            <p:nvSpPr>
              <p:cNvPr id="3757" name="Vrije vorm: vorm 3756">
                <a:extLst>
                  <a:ext uri="{FF2B5EF4-FFF2-40B4-BE49-F238E27FC236}">
                    <a16:creationId xmlns:a16="http://schemas.microsoft.com/office/drawing/2014/main" id="{5A14D198-D81A-442D-923C-2E2D1004FA98}"/>
                  </a:ext>
                </a:extLst>
              </p:cNvPr>
              <p:cNvSpPr/>
              <p:nvPr/>
            </p:nvSpPr>
            <p:spPr>
              <a:xfrm>
                <a:off x="6028108" y="1612023"/>
                <a:ext cx="18362" cy="18421"/>
              </a:xfrm>
              <a:custGeom>
                <a:avLst/>
                <a:gdLst>
                  <a:gd name="connsiteX0" fmla="*/ 1 w 18362"/>
                  <a:gd name="connsiteY0" fmla="*/ 9271 h 18421"/>
                  <a:gd name="connsiteX1" fmla="*/ 9271 w 18362"/>
                  <a:gd name="connsiteY1" fmla="*/ 18421 h 18421"/>
                  <a:gd name="connsiteX2" fmla="*/ 18362 w 18362"/>
                  <a:gd name="connsiteY2" fmla="*/ 9151 h 18421"/>
                  <a:gd name="connsiteX3" fmla="*/ 9091 w 18362"/>
                  <a:gd name="connsiteY3" fmla="*/ 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61" y="14354"/>
                      <a:pt x="4187" y="18481"/>
                      <a:pt x="9271" y="18421"/>
                    </a:cubicBezTo>
                    <a:cubicBezTo>
                      <a:pt x="14355" y="18362"/>
                      <a:pt x="18421" y="14235"/>
                      <a:pt x="18362" y="9151"/>
                    </a:cubicBezTo>
                    <a:cubicBezTo>
                      <a:pt x="18302" y="4068"/>
                      <a:pt x="14175" y="-59"/>
                      <a:pt x="9091" y="1"/>
                    </a:cubicBezTo>
                    <a:cubicBezTo>
                      <a:pt x="4008" y="1"/>
                      <a:pt x="-59" y="4187"/>
                      <a:pt x="1" y="9271"/>
                    </a:cubicBezTo>
                    <a:close/>
                  </a:path>
                </a:pathLst>
              </a:custGeom>
              <a:grpFill/>
              <a:ln w="5978" cap="flat">
                <a:noFill/>
                <a:prstDash val="solid"/>
                <a:miter/>
              </a:ln>
            </p:spPr>
            <p:txBody>
              <a:bodyPr rtlCol="0" anchor="ctr"/>
              <a:lstStyle/>
              <a:p>
                <a:endParaRPr lang="en-GB"/>
              </a:p>
            </p:txBody>
          </p:sp>
        </p:grpSp>
        <p:grpSp>
          <p:nvGrpSpPr>
            <p:cNvPr id="545" name="Graphic 3">
              <a:extLst>
                <a:ext uri="{FF2B5EF4-FFF2-40B4-BE49-F238E27FC236}">
                  <a16:creationId xmlns:a16="http://schemas.microsoft.com/office/drawing/2014/main" id="{14D7671C-1372-4064-9620-D510FEA0C766}"/>
                </a:ext>
              </a:extLst>
            </p:cNvPr>
            <p:cNvGrpSpPr/>
            <p:nvPr/>
          </p:nvGrpSpPr>
          <p:grpSpPr>
            <a:xfrm>
              <a:off x="6060404" y="1619200"/>
              <a:ext cx="19318" cy="123503"/>
              <a:chOff x="6060404" y="1619200"/>
              <a:chExt cx="19318" cy="123503"/>
            </a:xfrm>
            <a:grpFill/>
          </p:grpSpPr>
          <p:sp>
            <p:nvSpPr>
              <p:cNvPr id="3752" name="Vrije vorm: vorm 3751">
                <a:extLst>
                  <a:ext uri="{FF2B5EF4-FFF2-40B4-BE49-F238E27FC236}">
                    <a16:creationId xmlns:a16="http://schemas.microsoft.com/office/drawing/2014/main" id="{F1536D28-02B4-46DA-8DF9-959B092DC89E}"/>
                  </a:ext>
                </a:extLst>
              </p:cNvPr>
              <p:cNvSpPr/>
              <p:nvPr/>
            </p:nvSpPr>
            <p:spPr>
              <a:xfrm>
                <a:off x="6068060" y="1627933"/>
                <a:ext cx="3947" cy="106038"/>
              </a:xfrm>
              <a:custGeom>
                <a:avLst/>
                <a:gdLst>
                  <a:gd name="connsiteX0" fmla="*/ 3947 w 3947"/>
                  <a:gd name="connsiteY0" fmla="*/ 0 h 106038"/>
                  <a:gd name="connsiteX1" fmla="*/ 3050 w 3947"/>
                  <a:gd name="connsiteY1" fmla="*/ 106038 h 106038"/>
                  <a:gd name="connsiteX2" fmla="*/ 0 w 3947"/>
                  <a:gd name="connsiteY2" fmla="*/ 105978 h 106038"/>
                  <a:gd name="connsiteX3" fmla="*/ 897 w 3947"/>
                  <a:gd name="connsiteY3" fmla="*/ 0 h 106038"/>
                </a:gdLst>
                <a:ahLst/>
                <a:cxnLst>
                  <a:cxn ang="0">
                    <a:pos x="connsiteX0" y="connsiteY0"/>
                  </a:cxn>
                  <a:cxn ang="0">
                    <a:pos x="connsiteX1" y="connsiteY1"/>
                  </a:cxn>
                  <a:cxn ang="0">
                    <a:pos x="connsiteX2" y="connsiteY2"/>
                  </a:cxn>
                  <a:cxn ang="0">
                    <a:pos x="connsiteX3" y="connsiteY3"/>
                  </a:cxn>
                </a:cxnLst>
                <a:rect l="l" t="t" r="r" b="b"/>
                <a:pathLst>
                  <a:path w="3947" h="106038">
                    <a:moveTo>
                      <a:pt x="3947" y="0"/>
                    </a:moveTo>
                    <a:lnTo>
                      <a:pt x="3050" y="106038"/>
                    </a:lnTo>
                    <a:lnTo>
                      <a:pt x="0" y="105978"/>
                    </a:lnTo>
                    <a:lnTo>
                      <a:pt x="897" y="0"/>
                    </a:lnTo>
                    <a:close/>
                  </a:path>
                </a:pathLst>
              </a:custGeom>
              <a:grpFill/>
              <a:ln w="5978" cap="flat">
                <a:noFill/>
                <a:prstDash val="solid"/>
                <a:miter/>
              </a:ln>
            </p:spPr>
            <p:txBody>
              <a:bodyPr rtlCol="0" anchor="ctr"/>
              <a:lstStyle/>
              <a:p>
                <a:endParaRPr lang="en-GB"/>
              </a:p>
            </p:txBody>
          </p:sp>
          <p:sp>
            <p:nvSpPr>
              <p:cNvPr id="3753" name="Vrije vorm: vorm 3752">
                <a:extLst>
                  <a:ext uri="{FF2B5EF4-FFF2-40B4-BE49-F238E27FC236}">
                    <a16:creationId xmlns:a16="http://schemas.microsoft.com/office/drawing/2014/main" id="{2C33C638-7583-47A9-AF59-E0F6D6396BAE}"/>
                  </a:ext>
                </a:extLst>
              </p:cNvPr>
              <p:cNvSpPr/>
              <p:nvPr/>
            </p:nvSpPr>
            <p:spPr>
              <a:xfrm>
                <a:off x="6061361" y="1619200"/>
                <a:ext cx="18361" cy="18421"/>
              </a:xfrm>
              <a:custGeom>
                <a:avLst/>
                <a:gdLst>
                  <a:gd name="connsiteX0" fmla="*/ 1 w 18361"/>
                  <a:gd name="connsiteY0" fmla="*/ 9091 h 18421"/>
                  <a:gd name="connsiteX1" fmla="*/ 9271 w 18361"/>
                  <a:gd name="connsiteY1" fmla="*/ 1 h 18421"/>
                  <a:gd name="connsiteX2" fmla="*/ 18361 w 18361"/>
                  <a:gd name="connsiteY2" fmla="*/ 9331 h 18421"/>
                  <a:gd name="connsiteX3" fmla="*/ 9091 w 18361"/>
                  <a:gd name="connsiteY3" fmla="*/ 18421 h 18421"/>
                  <a:gd name="connsiteX4" fmla="*/ 1 w 18361"/>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1" y="9091"/>
                    </a:moveTo>
                    <a:cubicBezTo>
                      <a:pt x="60" y="4008"/>
                      <a:pt x="4187" y="-59"/>
                      <a:pt x="9271" y="1"/>
                    </a:cubicBezTo>
                    <a:cubicBezTo>
                      <a:pt x="14354" y="61"/>
                      <a:pt x="18421" y="4247"/>
                      <a:pt x="18361" y="9331"/>
                    </a:cubicBezTo>
                    <a:cubicBezTo>
                      <a:pt x="18302" y="14414"/>
                      <a:pt x="14175" y="18481"/>
                      <a:pt x="9091" y="18421"/>
                    </a:cubicBezTo>
                    <a:cubicBezTo>
                      <a:pt x="4008" y="18362"/>
                      <a:pt x="-59" y="14175"/>
                      <a:pt x="1" y="9091"/>
                    </a:cubicBezTo>
                    <a:close/>
                  </a:path>
                </a:pathLst>
              </a:custGeom>
              <a:grpFill/>
              <a:ln w="5978" cap="flat">
                <a:noFill/>
                <a:prstDash val="solid"/>
                <a:miter/>
              </a:ln>
            </p:spPr>
            <p:txBody>
              <a:bodyPr rtlCol="0" anchor="ctr"/>
              <a:lstStyle/>
              <a:p>
                <a:endParaRPr lang="en-GB"/>
              </a:p>
            </p:txBody>
          </p:sp>
          <p:sp>
            <p:nvSpPr>
              <p:cNvPr id="3754" name="Vrije vorm: vorm 3753">
                <a:extLst>
                  <a:ext uri="{FF2B5EF4-FFF2-40B4-BE49-F238E27FC236}">
                    <a16:creationId xmlns:a16="http://schemas.microsoft.com/office/drawing/2014/main" id="{8E6226F7-6AD1-483D-ADCB-8B9C4D29FDD0}"/>
                  </a:ext>
                </a:extLst>
              </p:cNvPr>
              <p:cNvSpPr/>
              <p:nvPr/>
            </p:nvSpPr>
            <p:spPr>
              <a:xfrm>
                <a:off x="6060404" y="1724282"/>
                <a:ext cx="18362" cy="18421"/>
              </a:xfrm>
              <a:custGeom>
                <a:avLst/>
                <a:gdLst>
                  <a:gd name="connsiteX0" fmla="*/ 1 w 18362"/>
                  <a:gd name="connsiteY0" fmla="*/ 9091 h 18421"/>
                  <a:gd name="connsiteX1" fmla="*/ 9091 w 18362"/>
                  <a:gd name="connsiteY1" fmla="*/ 18421 h 18421"/>
                  <a:gd name="connsiteX2" fmla="*/ 18362 w 18362"/>
                  <a:gd name="connsiteY2" fmla="*/ 9331 h 18421"/>
                  <a:gd name="connsiteX3" fmla="*/ 9271 w 18362"/>
                  <a:gd name="connsiteY3" fmla="*/ 1 h 18421"/>
                  <a:gd name="connsiteX4" fmla="*/ 1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091"/>
                    </a:moveTo>
                    <a:cubicBezTo>
                      <a:pt x="-59" y="14175"/>
                      <a:pt x="4008" y="18361"/>
                      <a:pt x="9091" y="18421"/>
                    </a:cubicBezTo>
                    <a:cubicBezTo>
                      <a:pt x="14175" y="18481"/>
                      <a:pt x="18302" y="14414"/>
                      <a:pt x="18362" y="9331"/>
                    </a:cubicBezTo>
                    <a:cubicBezTo>
                      <a:pt x="18421" y="4247"/>
                      <a:pt x="14355" y="60"/>
                      <a:pt x="9271" y="1"/>
                    </a:cubicBezTo>
                    <a:cubicBezTo>
                      <a:pt x="4187" y="-59"/>
                      <a:pt x="61" y="4008"/>
                      <a:pt x="1" y="9091"/>
                    </a:cubicBezTo>
                    <a:close/>
                  </a:path>
                </a:pathLst>
              </a:custGeom>
              <a:grpFill/>
              <a:ln w="5978" cap="flat">
                <a:noFill/>
                <a:prstDash val="solid"/>
                <a:miter/>
              </a:ln>
            </p:spPr>
            <p:txBody>
              <a:bodyPr rtlCol="0" anchor="ctr"/>
              <a:lstStyle/>
              <a:p>
                <a:endParaRPr lang="en-GB"/>
              </a:p>
            </p:txBody>
          </p:sp>
        </p:grpSp>
        <p:grpSp>
          <p:nvGrpSpPr>
            <p:cNvPr id="546" name="Graphic 3">
              <a:extLst>
                <a:ext uri="{FF2B5EF4-FFF2-40B4-BE49-F238E27FC236}">
                  <a16:creationId xmlns:a16="http://schemas.microsoft.com/office/drawing/2014/main" id="{C5836F52-B9FF-4DDB-BEB8-7B1E30D2021A}"/>
                </a:ext>
              </a:extLst>
            </p:cNvPr>
            <p:cNvGrpSpPr/>
            <p:nvPr/>
          </p:nvGrpSpPr>
          <p:grpSpPr>
            <a:xfrm>
              <a:off x="5998793" y="1247902"/>
              <a:ext cx="43441" cy="497030"/>
              <a:chOff x="5998793" y="1247902"/>
              <a:chExt cx="43441" cy="497030"/>
            </a:xfrm>
            <a:grpFill/>
          </p:grpSpPr>
          <p:sp>
            <p:nvSpPr>
              <p:cNvPr id="3749" name="Vrije vorm: vorm 3748">
                <a:extLst>
                  <a:ext uri="{FF2B5EF4-FFF2-40B4-BE49-F238E27FC236}">
                    <a16:creationId xmlns:a16="http://schemas.microsoft.com/office/drawing/2014/main" id="{95420BF9-51C6-4521-B39B-5767E98F277C}"/>
                  </a:ext>
                </a:extLst>
              </p:cNvPr>
              <p:cNvSpPr/>
              <p:nvPr/>
            </p:nvSpPr>
            <p:spPr>
              <a:xfrm>
                <a:off x="6006399" y="1256650"/>
                <a:ext cx="28228" cy="479653"/>
              </a:xfrm>
              <a:custGeom>
                <a:avLst/>
                <a:gdLst>
                  <a:gd name="connsiteX0" fmla="*/ 28229 w 28228"/>
                  <a:gd name="connsiteY0" fmla="*/ 179 h 479653"/>
                  <a:gd name="connsiteX1" fmla="*/ 3050 w 28228"/>
                  <a:gd name="connsiteY1" fmla="*/ 479654 h 479653"/>
                  <a:gd name="connsiteX2" fmla="*/ 0 w 28228"/>
                  <a:gd name="connsiteY2" fmla="*/ 479474 h 479653"/>
                  <a:gd name="connsiteX3" fmla="*/ 25179 w 28228"/>
                  <a:gd name="connsiteY3" fmla="*/ 0 h 479653"/>
                </a:gdLst>
                <a:ahLst/>
                <a:cxnLst>
                  <a:cxn ang="0">
                    <a:pos x="connsiteX0" y="connsiteY0"/>
                  </a:cxn>
                  <a:cxn ang="0">
                    <a:pos x="connsiteX1" y="connsiteY1"/>
                  </a:cxn>
                  <a:cxn ang="0">
                    <a:pos x="connsiteX2" y="connsiteY2"/>
                  </a:cxn>
                  <a:cxn ang="0">
                    <a:pos x="connsiteX3" y="connsiteY3"/>
                  </a:cxn>
                </a:cxnLst>
                <a:rect l="l" t="t" r="r" b="b"/>
                <a:pathLst>
                  <a:path w="28228" h="479653">
                    <a:moveTo>
                      <a:pt x="28229" y="179"/>
                    </a:moveTo>
                    <a:lnTo>
                      <a:pt x="3050" y="479654"/>
                    </a:lnTo>
                    <a:lnTo>
                      <a:pt x="0" y="479474"/>
                    </a:lnTo>
                    <a:lnTo>
                      <a:pt x="25179" y="0"/>
                    </a:lnTo>
                    <a:close/>
                  </a:path>
                </a:pathLst>
              </a:custGeom>
              <a:grpFill/>
              <a:ln w="5978" cap="flat">
                <a:noFill/>
                <a:prstDash val="solid"/>
                <a:miter/>
              </a:ln>
            </p:spPr>
            <p:txBody>
              <a:bodyPr rtlCol="0" anchor="ctr"/>
              <a:lstStyle/>
              <a:p>
                <a:endParaRPr lang="en-GB"/>
              </a:p>
            </p:txBody>
          </p:sp>
          <p:sp>
            <p:nvSpPr>
              <p:cNvPr id="3750" name="Vrije vorm: vorm 3749">
                <a:extLst>
                  <a:ext uri="{FF2B5EF4-FFF2-40B4-BE49-F238E27FC236}">
                    <a16:creationId xmlns:a16="http://schemas.microsoft.com/office/drawing/2014/main" id="{7909405A-3DFF-4EE9-8F2B-418F305D4D63}"/>
                  </a:ext>
                </a:extLst>
              </p:cNvPr>
              <p:cNvSpPr/>
              <p:nvPr/>
            </p:nvSpPr>
            <p:spPr>
              <a:xfrm>
                <a:off x="5998793" y="1726479"/>
                <a:ext cx="18322" cy="18452"/>
              </a:xfrm>
              <a:custGeom>
                <a:avLst/>
                <a:gdLst>
                  <a:gd name="connsiteX0" fmla="*/ 18312 w 18322"/>
                  <a:gd name="connsiteY0" fmla="*/ 9765 h 18452"/>
                  <a:gd name="connsiteX1" fmla="*/ 8683 w 18322"/>
                  <a:gd name="connsiteY1" fmla="*/ 18437 h 18452"/>
                  <a:gd name="connsiteX2" fmla="*/ 11 w 18322"/>
                  <a:gd name="connsiteY2" fmla="*/ 8688 h 18452"/>
                  <a:gd name="connsiteX3" fmla="*/ 9639 w 18322"/>
                  <a:gd name="connsiteY3" fmla="*/ 16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073" y="14848"/>
                      <a:pt x="13706" y="18736"/>
                      <a:pt x="8683" y="18437"/>
                    </a:cubicBezTo>
                    <a:cubicBezTo>
                      <a:pt x="3599" y="18138"/>
                      <a:pt x="-228" y="13772"/>
                      <a:pt x="11" y="8688"/>
                    </a:cubicBezTo>
                    <a:cubicBezTo>
                      <a:pt x="250" y="3605"/>
                      <a:pt x="4616" y="-283"/>
                      <a:pt x="9639" y="16"/>
                    </a:cubicBezTo>
                    <a:cubicBezTo>
                      <a:pt x="14723" y="375"/>
                      <a:pt x="18551" y="4741"/>
                      <a:pt x="18312" y="9765"/>
                    </a:cubicBezTo>
                    <a:close/>
                  </a:path>
                </a:pathLst>
              </a:custGeom>
              <a:grpFill/>
              <a:ln w="5978" cap="flat">
                <a:noFill/>
                <a:prstDash val="solid"/>
                <a:miter/>
              </a:ln>
            </p:spPr>
            <p:txBody>
              <a:bodyPr rtlCol="0" anchor="ctr"/>
              <a:lstStyle/>
              <a:p>
                <a:endParaRPr lang="en-GB"/>
              </a:p>
            </p:txBody>
          </p:sp>
          <p:sp>
            <p:nvSpPr>
              <p:cNvPr id="3751" name="Vrije vorm: vorm 3750">
                <a:extLst>
                  <a:ext uri="{FF2B5EF4-FFF2-40B4-BE49-F238E27FC236}">
                    <a16:creationId xmlns:a16="http://schemas.microsoft.com/office/drawing/2014/main" id="{25FD513A-27A8-4536-B201-B6F7E091CC4A}"/>
                  </a:ext>
                </a:extLst>
              </p:cNvPr>
              <p:cNvSpPr/>
              <p:nvPr/>
            </p:nvSpPr>
            <p:spPr>
              <a:xfrm>
                <a:off x="6023912" y="1247902"/>
                <a:ext cx="18322" cy="18452"/>
              </a:xfrm>
              <a:custGeom>
                <a:avLst/>
                <a:gdLst>
                  <a:gd name="connsiteX0" fmla="*/ 18312 w 18322"/>
                  <a:gd name="connsiteY0" fmla="*/ 9765 h 18452"/>
                  <a:gd name="connsiteX1" fmla="*/ 9640 w 18322"/>
                  <a:gd name="connsiteY1" fmla="*/ 16 h 18452"/>
                  <a:gd name="connsiteX2" fmla="*/ 11 w 18322"/>
                  <a:gd name="connsiteY2" fmla="*/ 8688 h 18452"/>
                  <a:gd name="connsiteX3" fmla="*/ 8682 w 18322"/>
                  <a:gd name="connsiteY3" fmla="*/ 18437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551" y="4681"/>
                      <a:pt x="14723" y="315"/>
                      <a:pt x="9640" y="16"/>
                    </a:cubicBezTo>
                    <a:cubicBezTo>
                      <a:pt x="4556" y="-283"/>
                      <a:pt x="250" y="3605"/>
                      <a:pt x="11" y="8688"/>
                    </a:cubicBezTo>
                    <a:cubicBezTo>
                      <a:pt x="-229" y="13772"/>
                      <a:pt x="3599" y="18138"/>
                      <a:pt x="8682" y="18437"/>
                    </a:cubicBezTo>
                    <a:cubicBezTo>
                      <a:pt x="13706" y="18736"/>
                      <a:pt x="18013" y="14848"/>
                      <a:pt x="18312" y="9765"/>
                    </a:cubicBezTo>
                    <a:close/>
                  </a:path>
                </a:pathLst>
              </a:custGeom>
              <a:grpFill/>
              <a:ln w="5978" cap="flat">
                <a:noFill/>
                <a:prstDash val="solid"/>
                <a:miter/>
              </a:ln>
            </p:spPr>
            <p:txBody>
              <a:bodyPr rtlCol="0" anchor="ctr"/>
              <a:lstStyle/>
              <a:p>
                <a:endParaRPr lang="en-GB"/>
              </a:p>
            </p:txBody>
          </p:sp>
        </p:grpSp>
        <p:grpSp>
          <p:nvGrpSpPr>
            <p:cNvPr id="547" name="Graphic 3">
              <a:extLst>
                <a:ext uri="{FF2B5EF4-FFF2-40B4-BE49-F238E27FC236}">
                  <a16:creationId xmlns:a16="http://schemas.microsoft.com/office/drawing/2014/main" id="{142E6E95-7E0B-418F-A281-58C78C2C7D05}"/>
                </a:ext>
              </a:extLst>
            </p:cNvPr>
            <p:cNvGrpSpPr/>
            <p:nvPr/>
          </p:nvGrpSpPr>
          <p:grpSpPr>
            <a:xfrm>
              <a:off x="7065995" y="4751719"/>
              <a:ext cx="95308" cy="119862"/>
              <a:chOff x="7065995" y="4751719"/>
              <a:chExt cx="95308" cy="119862"/>
            </a:xfrm>
            <a:grpFill/>
          </p:grpSpPr>
          <p:sp>
            <p:nvSpPr>
              <p:cNvPr id="3746" name="Vrije vorm: vorm 3745">
                <a:extLst>
                  <a:ext uri="{FF2B5EF4-FFF2-40B4-BE49-F238E27FC236}">
                    <a16:creationId xmlns:a16="http://schemas.microsoft.com/office/drawing/2014/main" id="{1C7BC87B-43DB-4033-96C4-24BA65F03859}"/>
                  </a:ext>
                </a:extLst>
              </p:cNvPr>
              <p:cNvSpPr/>
              <p:nvPr/>
            </p:nvSpPr>
            <p:spPr>
              <a:xfrm>
                <a:off x="7073659" y="4759618"/>
                <a:ext cx="79962" cy="104064"/>
              </a:xfrm>
              <a:custGeom>
                <a:avLst/>
                <a:gdLst>
                  <a:gd name="connsiteX0" fmla="*/ 79962 w 79962"/>
                  <a:gd name="connsiteY0" fmla="*/ 102211 h 104064"/>
                  <a:gd name="connsiteX1" fmla="*/ 77570 w 79962"/>
                  <a:gd name="connsiteY1" fmla="*/ 104065 h 104064"/>
                  <a:gd name="connsiteX2" fmla="*/ 0 w 79962"/>
                  <a:gd name="connsiteY2" fmla="*/ 1854 h 104064"/>
                  <a:gd name="connsiteX3" fmla="*/ 2392 w 79962"/>
                  <a:gd name="connsiteY3" fmla="*/ 0 h 104064"/>
                </a:gdLst>
                <a:ahLst/>
                <a:cxnLst>
                  <a:cxn ang="0">
                    <a:pos x="connsiteX0" y="connsiteY0"/>
                  </a:cxn>
                  <a:cxn ang="0">
                    <a:pos x="connsiteX1" y="connsiteY1"/>
                  </a:cxn>
                  <a:cxn ang="0">
                    <a:pos x="connsiteX2" y="connsiteY2"/>
                  </a:cxn>
                  <a:cxn ang="0">
                    <a:pos x="connsiteX3" y="connsiteY3"/>
                  </a:cxn>
                </a:cxnLst>
                <a:rect l="l" t="t" r="r" b="b"/>
                <a:pathLst>
                  <a:path w="79962" h="104064">
                    <a:moveTo>
                      <a:pt x="79962" y="102211"/>
                    </a:moveTo>
                    <a:lnTo>
                      <a:pt x="77570" y="104065"/>
                    </a:lnTo>
                    <a:lnTo>
                      <a:pt x="0" y="1854"/>
                    </a:lnTo>
                    <a:lnTo>
                      <a:pt x="2392" y="0"/>
                    </a:lnTo>
                    <a:close/>
                  </a:path>
                </a:pathLst>
              </a:custGeom>
              <a:grpFill/>
              <a:ln w="5978" cap="flat">
                <a:noFill/>
                <a:prstDash val="solid"/>
                <a:miter/>
              </a:ln>
            </p:spPr>
            <p:txBody>
              <a:bodyPr rtlCol="0" anchor="ctr"/>
              <a:lstStyle/>
              <a:p>
                <a:endParaRPr lang="en-GB"/>
              </a:p>
            </p:txBody>
          </p:sp>
          <p:sp>
            <p:nvSpPr>
              <p:cNvPr id="3747" name="Vrije vorm: vorm 3746">
                <a:extLst>
                  <a:ext uri="{FF2B5EF4-FFF2-40B4-BE49-F238E27FC236}">
                    <a16:creationId xmlns:a16="http://schemas.microsoft.com/office/drawing/2014/main" id="{7F6C006F-7DB0-4141-8AE9-D70D599AD21F}"/>
                  </a:ext>
                </a:extLst>
              </p:cNvPr>
              <p:cNvSpPr/>
              <p:nvPr/>
            </p:nvSpPr>
            <p:spPr>
              <a:xfrm>
                <a:off x="7142949" y="4853152"/>
                <a:ext cx="18354" cy="18429"/>
              </a:xfrm>
              <a:custGeom>
                <a:avLst/>
                <a:gdLst>
                  <a:gd name="connsiteX0" fmla="*/ 16473 w 18354"/>
                  <a:gd name="connsiteY0" fmla="*/ 3653 h 18429"/>
                  <a:gd name="connsiteX1" fmla="*/ 14739 w 18354"/>
                  <a:gd name="connsiteY1" fmla="*/ 16571 h 18429"/>
                  <a:gd name="connsiteX2" fmla="*/ 1880 w 18354"/>
                  <a:gd name="connsiteY2" fmla="*/ 14777 h 18429"/>
                  <a:gd name="connsiteX3" fmla="*/ 3615 w 18354"/>
                  <a:gd name="connsiteY3" fmla="*/ 1859 h 18429"/>
                  <a:gd name="connsiteX4" fmla="*/ 16473 w 18354"/>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29">
                    <a:moveTo>
                      <a:pt x="16473" y="3653"/>
                    </a:moveTo>
                    <a:cubicBezTo>
                      <a:pt x="19524" y="7720"/>
                      <a:pt x="18806" y="13461"/>
                      <a:pt x="14739" y="16571"/>
                    </a:cubicBezTo>
                    <a:cubicBezTo>
                      <a:pt x="10732" y="19621"/>
                      <a:pt x="4990" y="18844"/>
                      <a:pt x="1880" y="14777"/>
                    </a:cubicBezTo>
                    <a:cubicBezTo>
                      <a:pt x="-1169" y="10710"/>
                      <a:pt x="-452" y="4969"/>
                      <a:pt x="3615" y="1859"/>
                    </a:cubicBezTo>
                    <a:cubicBezTo>
                      <a:pt x="7622" y="-1192"/>
                      <a:pt x="13423" y="-414"/>
                      <a:pt x="16473" y="3653"/>
                    </a:cubicBezTo>
                    <a:close/>
                  </a:path>
                </a:pathLst>
              </a:custGeom>
              <a:grpFill/>
              <a:ln w="5978" cap="flat">
                <a:noFill/>
                <a:prstDash val="solid"/>
                <a:miter/>
              </a:ln>
            </p:spPr>
            <p:txBody>
              <a:bodyPr rtlCol="0" anchor="ctr"/>
              <a:lstStyle/>
              <a:p>
                <a:endParaRPr lang="en-GB"/>
              </a:p>
            </p:txBody>
          </p:sp>
          <p:sp>
            <p:nvSpPr>
              <p:cNvPr id="3748" name="Vrije vorm: vorm 3747">
                <a:extLst>
                  <a:ext uri="{FF2B5EF4-FFF2-40B4-BE49-F238E27FC236}">
                    <a16:creationId xmlns:a16="http://schemas.microsoft.com/office/drawing/2014/main" id="{304AFE81-00B1-4291-AF0E-47CF44965D9E}"/>
                  </a:ext>
                </a:extLst>
              </p:cNvPr>
              <p:cNvSpPr/>
              <p:nvPr/>
            </p:nvSpPr>
            <p:spPr>
              <a:xfrm>
                <a:off x="7065995" y="4751719"/>
                <a:ext cx="18318" cy="18429"/>
              </a:xfrm>
              <a:custGeom>
                <a:avLst/>
                <a:gdLst>
                  <a:gd name="connsiteX0" fmla="*/ 16456 w 18318"/>
                  <a:gd name="connsiteY0" fmla="*/ 3653 h 18429"/>
                  <a:gd name="connsiteX1" fmla="*/ 3597 w 18318"/>
                  <a:gd name="connsiteY1" fmla="*/ 1859 h 18429"/>
                  <a:gd name="connsiteX2" fmla="*/ 1862 w 18318"/>
                  <a:gd name="connsiteY2" fmla="*/ 14777 h 18429"/>
                  <a:gd name="connsiteX3" fmla="*/ 14721 w 18318"/>
                  <a:gd name="connsiteY3" fmla="*/ 16571 h 18429"/>
                  <a:gd name="connsiteX4" fmla="*/ 16456 w 18318"/>
                  <a:gd name="connsiteY4" fmla="*/ 3653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9">
                    <a:moveTo>
                      <a:pt x="16456" y="3653"/>
                    </a:moveTo>
                    <a:cubicBezTo>
                      <a:pt x="13405" y="-414"/>
                      <a:pt x="7604" y="-1192"/>
                      <a:pt x="3597" y="1859"/>
                    </a:cubicBezTo>
                    <a:cubicBezTo>
                      <a:pt x="-410" y="4909"/>
                      <a:pt x="-1187" y="10710"/>
                      <a:pt x="1862" y="14777"/>
                    </a:cubicBezTo>
                    <a:cubicBezTo>
                      <a:pt x="4913" y="18844"/>
                      <a:pt x="10714" y="19621"/>
                      <a:pt x="14721" y="16571"/>
                    </a:cubicBezTo>
                    <a:cubicBezTo>
                      <a:pt x="18728" y="13461"/>
                      <a:pt x="19506" y="7720"/>
                      <a:pt x="16456" y="3653"/>
                    </a:cubicBezTo>
                    <a:close/>
                  </a:path>
                </a:pathLst>
              </a:custGeom>
              <a:grpFill/>
              <a:ln w="5978" cap="flat">
                <a:noFill/>
                <a:prstDash val="solid"/>
                <a:miter/>
              </a:ln>
            </p:spPr>
            <p:txBody>
              <a:bodyPr rtlCol="0" anchor="ctr"/>
              <a:lstStyle/>
              <a:p>
                <a:endParaRPr lang="en-GB"/>
              </a:p>
            </p:txBody>
          </p:sp>
        </p:grpSp>
        <p:grpSp>
          <p:nvGrpSpPr>
            <p:cNvPr id="548" name="Graphic 3">
              <a:extLst>
                <a:ext uri="{FF2B5EF4-FFF2-40B4-BE49-F238E27FC236}">
                  <a16:creationId xmlns:a16="http://schemas.microsoft.com/office/drawing/2014/main" id="{4608D394-E6B3-41BD-A005-E603EF074A56}"/>
                </a:ext>
              </a:extLst>
            </p:cNvPr>
            <p:cNvGrpSpPr/>
            <p:nvPr/>
          </p:nvGrpSpPr>
          <p:grpSpPr>
            <a:xfrm>
              <a:off x="7101854" y="4853904"/>
              <a:ext cx="82319" cy="106038"/>
              <a:chOff x="7101854" y="4853904"/>
              <a:chExt cx="82319" cy="106038"/>
            </a:xfrm>
            <a:grpFill/>
          </p:grpSpPr>
          <p:sp>
            <p:nvSpPr>
              <p:cNvPr id="3743" name="Vrije vorm: vorm 3742">
                <a:extLst>
                  <a:ext uri="{FF2B5EF4-FFF2-40B4-BE49-F238E27FC236}">
                    <a16:creationId xmlns:a16="http://schemas.microsoft.com/office/drawing/2014/main" id="{928D52FB-8FF3-4B8D-A069-3956B2B0A7DA}"/>
                  </a:ext>
                </a:extLst>
              </p:cNvPr>
              <p:cNvSpPr/>
              <p:nvPr/>
            </p:nvSpPr>
            <p:spPr>
              <a:xfrm>
                <a:off x="7109543" y="4861888"/>
                <a:ext cx="66983" cy="90129"/>
              </a:xfrm>
              <a:custGeom>
                <a:avLst/>
                <a:gdLst>
                  <a:gd name="connsiteX0" fmla="*/ 66984 w 66983"/>
                  <a:gd name="connsiteY0" fmla="*/ 88335 h 90129"/>
                  <a:gd name="connsiteX1" fmla="*/ 64531 w 66983"/>
                  <a:gd name="connsiteY1" fmla="*/ 90129 h 90129"/>
                  <a:gd name="connsiteX2" fmla="*/ 0 w 66983"/>
                  <a:gd name="connsiteY2" fmla="*/ 1794 h 90129"/>
                  <a:gd name="connsiteX3" fmla="*/ 2452 w 66983"/>
                  <a:gd name="connsiteY3" fmla="*/ 0 h 90129"/>
                </a:gdLst>
                <a:ahLst/>
                <a:cxnLst>
                  <a:cxn ang="0">
                    <a:pos x="connsiteX0" y="connsiteY0"/>
                  </a:cxn>
                  <a:cxn ang="0">
                    <a:pos x="connsiteX1" y="connsiteY1"/>
                  </a:cxn>
                  <a:cxn ang="0">
                    <a:pos x="connsiteX2" y="connsiteY2"/>
                  </a:cxn>
                  <a:cxn ang="0">
                    <a:pos x="connsiteX3" y="connsiteY3"/>
                  </a:cxn>
                </a:cxnLst>
                <a:rect l="l" t="t" r="r" b="b"/>
                <a:pathLst>
                  <a:path w="66983" h="90129">
                    <a:moveTo>
                      <a:pt x="66984" y="88335"/>
                    </a:moveTo>
                    <a:lnTo>
                      <a:pt x="64531" y="90129"/>
                    </a:lnTo>
                    <a:lnTo>
                      <a:pt x="0" y="1794"/>
                    </a:lnTo>
                    <a:lnTo>
                      <a:pt x="2452" y="0"/>
                    </a:lnTo>
                    <a:close/>
                  </a:path>
                </a:pathLst>
              </a:custGeom>
              <a:grpFill/>
              <a:ln w="5978" cap="flat">
                <a:noFill/>
                <a:prstDash val="solid"/>
                <a:miter/>
              </a:ln>
            </p:spPr>
            <p:txBody>
              <a:bodyPr rtlCol="0" anchor="ctr"/>
              <a:lstStyle/>
              <a:p>
                <a:endParaRPr lang="en-GB"/>
              </a:p>
            </p:txBody>
          </p:sp>
          <p:sp>
            <p:nvSpPr>
              <p:cNvPr id="3744" name="Vrije vorm: vorm 3743">
                <a:extLst>
                  <a:ext uri="{FF2B5EF4-FFF2-40B4-BE49-F238E27FC236}">
                    <a16:creationId xmlns:a16="http://schemas.microsoft.com/office/drawing/2014/main" id="{C99650E7-C521-4CBE-89E9-14659563CB7E}"/>
                  </a:ext>
                </a:extLst>
              </p:cNvPr>
              <p:cNvSpPr/>
              <p:nvPr/>
            </p:nvSpPr>
            <p:spPr>
              <a:xfrm>
                <a:off x="7165830" y="4941564"/>
                <a:ext cx="18343" cy="18378"/>
              </a:xfrm>
              <a:custGeom>
                <a:avLst/>
                <a:gdLst>
                  <a:gd name="connsiteX0" fmla="*/ 16558 w 18343"/>
                  <a:gd name="connsiteY0" fmla="*/ 3755 h 18378"/>
                  <a:gd name="connsiteX1" fmla="*/ 14584 w 18343"/>
                  <a:gd name="connsiteY1" fmla="*/ 16614 h 18378"/>
                  <a:gd name="connsiteX2" fmla="*/ 1786 w 18343"/>
                  <a:gd name="connsiteY2" fmla="*/ 14580 h 18378"/>
                  <a:gd name="connsiteX3" fmla="*/ 3759 w 18343"/>
                  <a:gd name="connsiteY3" fmla="*/ 1722 h 18378"/>
                  <a:gd name="connsiteX4" fmla="*/ 16558 w 18343"/>
                  <a:gd name="connsiteY4" fmla="*/ 3755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8">
                    <a:moveTo>
                      <a:pt x="16558" y="3755"/>
                    </a:moveTo>
                    <a:cubicBezTo>
                      <a:pt x="19548" y="7882"/>
                      <a:pt x="18711" y="13623"/>
                      <a:pt x="14584" y="16614"/>
                    </a:cubicBezTo>
                    <a:cubicBezTo>
                      <a:pt x="10517" y="19604"/>
                      <a:pt x="4776" y="18707"/>
                      <a:pt x="1786" y="14580"/>
                    </a:cubicBezTo>
                    <a:cubicBezTo>
                      <a:pt x="-1205" y="10453"/>
                      <a:pt x="-367" y="4712"/>
                      <a:pt x="3759" y="1722"/>
                    </a:cubicBezTo>
                    <a:cubicBezTo>
                      <a:pt x="7826" y="-1209"/>
                      <a:pt x="13567" y="-312"/>
                      <a:pt x="16558" y="3755"/>
                    </a:cubicBezTo>
                    <a:close/>
                  </a:path>
                </a:pathLst>
              </a:custGeom>
              <a:grpFill/>
              <a:ln w="5978" cap="flat">
                <a:noFill/>
                <a:prstDash val="solid"/>
                <a:miter/>
              </a:ln>
            </p:spPr>
            <p:txBody>
              <a:bodyPr rtlCol="0" anchor="ctr"/>
              <a:lstStyle/>
              <a:p>
                <a:endParaRPr lang="en-GB"/>
              </a:p>
            </p:txBody>
          </p:sp>
          <p:sp>
            <p:nvSpPr>
              <p:cNvPr id="3745" name="Vrije vorm: vorm 3744">
                <a:extLst>
                  <a:ext uri="{FF2B5EF4-FFF2-40B4-BE49-F238E27FC236}">
                    <a16:creationId xmlns:a16="http://schemas.microsoft.com/office/drawing/2014/main" id="{34B99986-8959-4213-8C15-3A425EBD47C4}"/>
                  </a:ext>
                </a:extLst>
              </p:cNvPr>
              <p:cNvSpPr/>
              <p:nvPr/>
            </p:nvSpPr>
            <p:spPr>
              <a:xfrm>
                <a:off x="7101854" y="4853904"/>
                <a:ext cx="18352" cy="18421"/>
              </a:xfrm>
              <a:custGeom>
                <a:avLst/>
                <a:gdLst>
                  <a:gd name="connsiteX0" fmla="*/ 16541 w 18352"/>
                  <a:gd name="connsiteY0" fmla="*/ 3798 h 18421"/>
                  <a:gd name="connsiteX1" fmla="*/ 3742 w 18352"/>
                  <a:gd name="connsiteY1" fmla="*/ 1765 h 18421"/>
                  <a:gd name="connsiteX2" fmla="*/ 1769 w 18352"/>
                  <a:gd name="connsiteY2" fmla="*/ 14623 h 18421"/>
                  <a:gd name="connsiteX3" fmla="*/ 14567 w 18352"/>
                  <a:gd name="connsiteY3" fmla="*/ 16656 h 18421"/>
                  <a:gd name="connsiteX4" fmla="*/ 16541 w 18352"/>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21">
                    <a:moveTo>
                      <a:pt x="16541" y="3798"/>
                    </a:moveTo>
                    <a:cubicBezTo>
                      <a:pt x="13550" y="-329"/>
                      <a:pt x="7809" y="-1226"/>
                      <a:pt x="3742" y="1765"/>
                    </a:cubicBezTo>
                    <a:cubicBezTo>
                      <a:pt x="-325" y="4755"/>
                      <a:pt x="-1222" y="10556"/>
                      <a:pt x="1769" y="14623"/>
                    </a:cubicBezTo>
                    <a:cubicBezTo>
                      <a:pt x="4759" y="18750"/>
                      <a:pt x="10500" y="19647"/>
                      <a:pt x="14567" y="16656"/>
                    </a:cubicBezTo>
                    <a:cubicBezTo>
                      <a:pt x="18694" y="13666"/>
                      <a:pt x="19591" y="7925"/>
                      <a:pt x="16541" y="3798"/>
                    </a:cubicBezTo>
                    <a:close/>
                  </a:path>
                </a:pathLst>
              </a:custGeom>
              <a:grpFill/>
              <a:ln w="5978" cap="flat">
                <a:noFill/>
                <a:prstDash val="solid"/>
                <a:miter/>
              </a:ln>
            </p:spPr>
            <p:txBody>
              <a:bodyPr rtlCol="0" anchor="ctr"/>
              <a:lstStyle/>
              <a:p>
                <a:endParaRPr lang="en-GB"/>
              </a:p>
            </p:txBody>
          </p:sp>
        </p:grpSp>
        <p:grpSp>
          <p:nvGrpSpPr>
            <p:cNvPr id="549" name="Graphic 3">
              <a:extLst>
                <a:ext uri="{FF2B5EF4-FFF2-40B4-BE49-F238E27FC236}">
                  <a16:creationId xmlns:a16="http://schemas.microsoft.com/office/drawing/2014/main" id="{83C53D6E-153D-4A66-9D15-D9129EF024FD}"/>
                </a:ext>
              </a:extLst>
            </p:cNvPr>
            <p:cNvGrpSpPr/>
            <p:nvPr/>
          </p:nvGrpSpPr>
          <p:grpSpPr>
            <a:xfrm>
              <a:off x="7044136" y="4776163"/>
              <a:ext cx="261220" cy="416580"/>
              <a:chOff x="7044136" y="4776163"/>
              <a:chExt cx="261220" cy="416580"/>
            </a:xfrm>
            <a:grpFill/>
          </p:grpSpPr>
          <p:sp>
            <p:nvSpPr>
              <p:cNvPr id="3740" name="Vrije vorm: vorm 3739">
                <a:extLst>
                  <a:ext uri="{FF2B5EF4-FFF2-40B4-BE49-F238E27FC236}">
                    <a16:creationId xmlns:a16="http://schemas.microsoft.com/office/drawing/2014/main" id="{808A5D4B-1E06-4069-9AAB-D57C7B78EFF8}"/>
                  </a:ext>
                </a:extLst>
              </p:cNvPr>
              <p:cNvSpPr/>
              <p:nvPr/>
            </p:nvSpPr>
            <p:spPr>
              <a:xfrm>
                <a:off x="7051769" y="4784198"/>
                <a:ext cx="245927" cy="400529"/>
              </a:xfrm>
              <a:custGeom>
                <a:avLst/>
                <a:gdLst>
                  <a:gd name="connsiteX0" fmla="*/ 245927 w 245927"/>
                  <a:gd name="connsiteY0" fmla="*/ 398914 h 400529"/>
                  <a:gd name="connsiteX1" fmla="*/ 243355 w 245927"/>
                  <a:gd name="connsiteY1" fmla="*/ 400529 h 400529"/>
                  <a:gd name="connsiteX2" fmla="*/ 0 w 245927"/>
                  <a:gd name="connsiteY2" fmla="*/ 1615 h 400529"/>
                  <a:gd name="connsiteX3" fmla="*/ 2631 w 245927"/>
                  <a:gd name="connsiteY3" fmla="*/ 0 h 400529"/>
                </a:gdLst>
                <a:ahLst/>
                <a:cxnLst>
                  <a:cxn ang="0">
                    <a:pos x="connsiteX0" y="connsiteY0"/>
                  </a:cxn>
                  <a:cxn ang="0">
                    <a:pos x="connsiteX1" y="connsiteY1"/>
                  </a:cxn>
                  <a:cxn ang="0">
                    <a:pos x="connsiteX2" y="connsiteY2"/>
                  </a:cxn>
                  <a:cxn ang="0">
                    <a:pos x="connsiteX3" y="connsiteY3"/>
                  </a:cxn>
                </a:cxnLst>
                <a:rect l="l" t="t" r="r" b="b"/>
                <a:pathLst>
                  <a:path w="245927" h="400529">
                    <a:moveTo>
                      <a:pt x="245927" y="398914"/>
                    </a:moveTo>
                    <a:lnTo>
                      <a:pt x="243355" y="400529"/>
                    </a:lnTo>
                    <a:lnTo>
                      <a:pt x="0" y="1615"/>
                    </a:lnTo>
                    <a:lnTo>
                      <a:pt x="2631" y="0"/>
                    </a:lnTo>
                    <a:close/>
                  </a:path>
                </a:pathLst>
              </a:custGeom>
              <a:grpFill/>
              <a:ln w="5978" cap="flat">
                <a:noFill/>
                <a:prstDash val="solid"/>
                <a:miter/>
              </a:ln>
            </p:spPr>
            <p:txBody>
              <a:bodyPr rtlCol="0" anchor="ctr"/>
              <a:lstStyle/>
              <a:p>
                <a:endParaRPr lang="en-GB"/>
              </a:p>
            </p:txBody>
          </p:sp>
          <p:sp>
            <p:nvSpPr>
              <p:cNvPr id="3741" name="Vrije vorm: vorm 3740">
                <a:extLst>
                  <a:ext uri="{FF2B5EF4-FFF2-40B4-BE49-F238E27FC236}">
                    <a16:creationId xmlns:a16="http://schemas.microsoft.com/office/drawing/2014/main" id="{B8828A92-3787-405C-A438-C2722DAD23FD}"/>
                  </a:ext>
                </a:extLst>
              </p:cNvPr>
              <p:cNvSpPr/>
              <p:nvPr/>
            </p:nvSpPr>
            <p:spPr>
              <a:xfrm>
                <a:off x="7044136" y="4776163"/>
                <a:ext cx="18343" cy="18443"/>
              </a:xfrm>
              <a:custGeom>
                <a:avLst/>
                <a:gdLst>
                  <a:gd name="connsiteX0" fmla="*/ 1353 w 18343"/>
                  <a:gd name="connsiteY0" fmla="*/ 14016 h 18443"/>
                  <a:gd name="connsiteX1" fmla="*/ 4344 w 18343"/>
                  <a:gd name="connsiteY1" fmla="*/ 1337 h 18443"/>
                  <a:gd name="connsiteX2" fmla="*/ 16963 w 18343"/>
                  <a:gd name="connsiteY2" fmla="*/ 4387 h 18443"/>
                  <a:gd name="connsiteX3" fmla="*/ 13973 w 18343"/>
                  <a:gd name="connsiteY3" fmla="*/ 17066 h 18443"/>
                  <a:gd name="connsiteX4" fmla="*/ 1353 w 18343"/>
                  <a:gd name="connsiteY4" fmla="*/ 14016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3">
                    <a:moveTo>
                      <a:pt x="1353" y="14016"/>
                    </a:moveTo>
                    <a:cubicBezTo>
                      <a:pt x="-1278" y="9650"/>
                      <a:pt x="38" y="4028"/>
                      <a:pt x="4344" y="1337"/>
                    </a:cubicBezTo>
                    <a:cubicBezTo>
                      <a:pt x="8650" y="-1295"/>
                      <a:pt x="14272" y="81"/>
                      <a:pt x="16963" y="4387"/>
                    </a:cubicBezTo>
                    <a:cubicBezTo>
                      <a:pt x="19655" y="8693"/>
                      <a:pt x="18279" y="14375"/>
                      <a:pt x="13973" y="17066"/>
                    </a:cubicBezTo>
                    <a:cubicBezTo>
                      <a:pt x="9667" y="19758"/>
                      <a:pt x="4045" y="18382"/>
                      <a:pt x="1353" y="14016"/>
                    </a:cubicBezTo>
                    <a:close/>
                  </a:path>
                </a:pathLst>
              </a:custGeom>
              <a:grpFill/>
              <a:ln w="5978" cap="flat">
                <a:noFill/>
                <a:prstDash val="solid"/>
                <a:miter/>
              </a:ln>
            </p:spPr>
            <p:txBody>
              <a:bodyPr rtlCol="0" anchor="ctr"/>
              <a:lstStyle/>
              <a:p>
                <a:endParaRPr lang="en-GB"/>
              </a:p>
            </p:txBody>
          </p:sp>
          <p:sp>
            <p:nvSpPr>
              <p:cNvPr id="3742" name="Vrije vorm: vorm 3741">
                <a:extLst>
                  <a:ext uri="{FF2B5EF4-FFF2-40B4-BE49-F238E27FC236}">
                    <a16:creationId xmlns:a16="http://schemas.microsoft.com/office/drawing/2014/main" id="{8DE50A5D-7220-4725-B627-3CF0822D322F}"/>
                  </a:ext>
                </a:extLst>
              </p:cNvPr>
              <p:cNvSpPr/>
              <p:nvPr/>
            </p:nvSpPr>
            <p:spPr>
              <a:xfrm>
                <a:off x="7287013" y="5174259"/>
                <a:ext cx="18343" cy="18484"/>
              </a:xfrm>
              <a:custGeom>
                <a:avLst/>
                <a:gdLst>
                  <a:gd name="connsiteX0" fmla="*/ 1353 w 18343"/>
                  <a:gd name="connsiteY0" fmla="*/ 14057 h 18484"/>
                  <a:gd name="connsiteX1" fmla="*/ 13973 w 18343"/>
                  <a:gd name="connsiteY1" fmla="*/ 17107 h 18484"/>
                  <a:gd name="connsiteX2" fmla="*/ 16964 w 18343"/>
                  <a:gd name="connsiteY2" fmla="*/ 4428 h 18484"/>
                  <a:gd name="connsiteX3" fmla="*/ 4344 w 18343"/>
                  <a:gd name="connsiteY3" fmla="*/ 1378 h 18484"/>
                  <a:gd name="connsiteX4" fmla="*/ 1353 w 18343"/>
                  <a:gd name="connsiteY4" fmla="*/ 14057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1353" y="14057"/>
                    </a:moveTo>
                    <a:cubicBezTo>
                      <a:pt x="3985" y="18423"/>
                      <a:pt x="9667" y="19798"/>
                      <a:pt x="13973" y="17107"/>
                    </a:cubicBezTo>
                    <a:cubicBezTo>
                      <a:pt x="18279" y="14475"/>
                      <a:pt x="19655" y="8794"/>
                      <a:pt x="16964" y="4428"/>
                    </a:cubicBezTo>
                    <a:cubicBezTo>
                      <a:pt x="14332" y="62"/>
                      <a:pt x="8650" y="-1314"/>
                      <a:pt x="4344" y="1378"/>
                    </a:cubicBezTo>
                    <a:cubicBezTo>
                      <a:pt x="38" y="4069"/>
                      <a:pt x="-1278" y="9751"/>
                      <a:pt x="1353" y="14057"/>
                    </a:cubicBezTo>
                    <a:close/>
                  </a:path>
                </a:pathLst>
              </a:custGeom>
              <a:grpFill/>
              <a:ln w="5978" cap="flat">
                <a:noFill/>
                <a:prstDash val="solid"/>
                <a:miter/>
              </a:ln>
            </p:spPr>
            <p:txBody>
              <a:bodyPr rtlCol="0" anchor="ctr"/>
              <a:lstStyle/>
              <a:p>
                <a:endParaRPr lang="en-GB"/>
              </a:p>
            </p:txBody>
          </p:sp>
        </p:grpSp>
        <p:grpSp>
          <p:nvGrpSpPr>
            <p:cNvPr id="550" name="Graphic 3">
              <a:extLst>
                <a:ext uri="{FF2B5EF4-FFF2-40B4-BE49-F238E27FC236}">
                  <a16:creationId xmlns:a16="http://schemas.microsoft.com/office/drawing/2014/main" id="{0B6FE75E-94F2-4D23-8305-106CADA73694}"/>
                </a:ext>
              </a:extLst>
            </p:cNvPr>
            <p:cNvGrpSpPr/>
            <p:nvPr/>
          </p:nvGrpSpPr>
          <p:grpSpPr>
            <a:xfrm>
              <a:off x="7111181" y="4925011"/>
              <a:ext cx="193651" cy="268088"/>
              <a:chOff x="7111181" y="4925011"/>
              <a:chExt cx="193651" cy="268088"/>
            </a:xfrm>
            <a:grpFill/>
          </p:grpSpPr>
          <p:sp>
            <p:nvSpPr>
              <p:cNvPr id="3737" name="Vrije vorm: vorm 3736">
                <a:extLst>
                  <a:ext uri="{FF2B5EF4-FFF2-40B4-BE49-F238E27FC236}">
                    <a16:creationId xmlns:a16="http://schemas.microsoft.com/office/drawing/2014/main" id="{3EEEDE60-19C4-4735-BE11-59550274C457}"/>
                  </a:ext>
                </a:extLst>
              </p:cNvPr>
              <p:cNvSpPr/>
              <p:nvPr/>
            </p:nvSpPr>
            <p:spPr>
              <a:xfrm>
                <a:off x="7118873" y="4932939"/>
                <a:ext cx="178285" cy="252207"/>
              </a:xfrm>
              <a:custGeom>
                <a:avLst/>
                <a:gdLst>
                  <a:gd name="connsiteX0" fmla="*/ 178286 w 178285"/>
                  <a:gd name="connsiteY0" fmla="*/ 250413 h 252207"/>
                  <a:gd name="connsiteX1" fmla="*/ 175833 w 178285"/>
                  <a:gd name="connsiteY1" fmla="*/ 252207 h 252207"/>
                  <a:gd name="connsiteX2" fmla="*/ 0 w 178285"/>
                  <a:gd name="connsiteY2" fmla="*/ 1795 h 252207"/>
                  <a:gd name="connsiteX3" fmla="*/ 2512 w 178285"/>
                  <a:gd name="connsiteY3" fmla="*/ 0 h 252207"/>
                </a:gdLst>
                <a:ahLst/>
                <a:cxnLst>
                  <a:cxn ang="0">
                    <a:pos x="connsiteX0" y="connsiteY0"/>
                  </a:cxn>
                  <a:cxn ang="0">
                    <a:pos x="connsiteX1" y="connsiteY1"/>
                  </a:cxn>
                  <a:cxn ang="0">
                    <a:pos x="connsiteX2" y="connsiteY2"/>
                  </a:cxn>
                  <a:cxn ang="0">
                    <a:pos x="connsiteX3" y="connsiteY3"/>
                  </a:cxn>
                </a:cxnLst>
                <a:rect l="l" t="t" r="r" b="b"/>
                <a:pathLst>
                  <a:path w="178285" h="252207">
                    <a:moveTo>
                      <a:pt x="178286" y="250413"/>
                    </a:moveTo>
                    <a:lnTo>
                      <a:pt x="175833" y="252207"/>
                    </a:lnTo>
                    <a:lnTo>
                      <a:pt x="0" y="1795"/>
                    </a:lnTo>
                    <a:lnTo>
                      <a:pt x="2512" y="0"/>
                    </a:lnTo>
                    <a:close/>
                  </a:path>
                </a:pathLst>
              </a:custGeom>
              <a:grpFill/>
              <a:ln w="5978" cap="flat">
                <a:noFill/>
                <a:prstDash val="solid"/>
                <a:miter/>
              </a:ln>
            </p:spPr>
            <p:txBody>
              <a:bodyPr rtlCol="0" anchor="ctr"/>
              <a:lstStyle/>
              <a:p>
                <a:endParaRPr lang="en-GB"/>
              </a:p>
            </p:txBody>
          </p:sp>
          <p:sp>
            <p:nvSpPr>
              <p:cNvPr id="3738" name="Vrije vorm: vorm 3737">
                <a:extLst>
                  <a:ext uri="{FF2B5EF4-FFF2-40B4-BE49-F238E27FC236}">
                    <a16:creationId xmlns:a16="http://schemas.microsoft.com/office/drawing/2014/main" id="{AD8B43F7-F6D3-4331-810E-1D6D1F6CA6E4}"/>
                  </a:ext>
                </a:extLst>
              </p:cNvPr>
              <p:cNvSpPr/>
              <p:nvPr/>
            </p:nvSpPr>
            <p:spPr>
              <a:xfrm>
                <a:off x="7286433" y="5174663"/>
                <a:ext cx="18399" cy="18436"/>
              </a:xfrm>
              <a:custGeom>
                <a:avLst/>
                <a:gdLst>
                  <a:gd name="connsiteX0" fmla="*/ 16706 w 18399"/>
                  <a:gd name="connsiteY0" fmla="*/ 3904 h 18436"/>
                  <a:gd name="connsiteX1" fmla="*/ 14493 w 18399"/>
                  <a:gd name="connsiteY1" fmla="*/ 16763 h 18436"/>
                  <a:gd name="connsiteX2" fmla="*/ 1694 w 18399"/>
                  <a:gd name="connsiteY2" fmla="*/ 14490 h 18436"/>
                  <a:gd name="connsiteX3" fmla="*/ 3907 w 18399"/>
                  <a:gd name="connsiteY3" fmla="*/ 1631 h 18436"/>
                  <a:gd name="connsiteX4" fmla="*/ 16706 w 18399"/>
                  <a:gd name="connsiteY4" fmla="*/ 390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36">
                    <a:moveTo>
                      <a:pt x="16706" y="3904"/>
                    </a:moveTo>
                    <a:cubicBezTo>
                      <a:pt x="19636" y="8091"/>
                      <a:pt x="18679" y="13832"/>
                      <a:pt x="14493" y="16763"/>
                    </a:cubicBezTo>
                    <a:cubicBezTo>
                      <a:pt x="10366" y="19693"/>
                      <a:pt x="4625" y="18677"/>
                      <a:pt x="1694" y="14490"/>
                    </a:cubicBezTo>
                    <a:cubicBezTo>
                      <a:pt x="-1236" y="10303"/>
                      <a:pt x="-280" y="4562"/>
                      <a:pt x="3907" y="1631"/>
                    </a:cubicBezTo>
                    <a:cubicBezTo>
                      <a:pt x="8093" y="-1239"/>
                      <a:pt x="13775" y="-223"/>
                      <a:pt x="16706" y="3904"/>
                    </a:cubicBezTo>
                    <a:close/>
                  </a:path>
                </a:pathLst>
              </a:custGeom>
              <a:grpFill/>
              <a:ln w="5978" cap="flat">
                <a:noFill/>
                <a:prstDash val="solid"/>
                <a:miter/>
              </a:ln>
            </p:spPr>
            <p:txBody>
              <a:bodyPr rtlCol="0" anchor="ctr"/>
              <a:lstStyle/>
              <a:p>
                <a:endParaRPr lang="en-GB"/>
              </a:p>
            </p:txBody>
          </p:sp>
          <p:sp>
            <p:nvSpPr>
              <p:cNvPr id="3739" name="Vrije vorm: vorm 3738">
                <a:extLst>
                  <a:ext uri="{FF2B5EF4-FFF2-40B4-BE49-F238E27FC236}">
                    <a16:creationId xmlns:a16="http://schemas.microsoft.com/office/drawing/2014/main" id="{98F360B0-3987-4BD5-A3CC-FDFEA98D3A9A}"/>
                  </a:ext>
                </a:extLst>
              </p:cNvPr>
              <p:cNvSpPr/>
              <p:nvPr/>
            </p:nvSpPr>
            <p:spPr>
              <a:xfrm>
                <a:off x="7111181" y="4925011"/>
                <a:ext cx="18356" cy="18426"/>
              </a:xfrm>
              <a:custGeom>
                <a:avLst/>
                <a:gdLst>
                  <a:gd name="connsiteX0" fmla="*/ 16663 w 18356"/>
                  <a:gd name="connsiteY0" fmla="*/ 3920 h 18426"/>
                  <a:gd name="connsiteX1" fmla="*/ 3864 w 18356"/>
                  <a:gd name="connsiteY1" fmla="*/ 1648 h 18426"/>
                  <a:gd name="connsiteX2" fmla="*/ 1651 w 18356"/>
                  <a:gd name="connsiteY2" fmla="*/ 14506 h 18426"/>
                  <a:gd name="connsiteX3" fmla="*/ 14450 w 18356"/>
                  <a:gd name="connsiteY3" fmla="*/ 16779 h 18426"/>
                  <a:gd name="connsiteX4" fmla="*/ 16663 w 18356"/>
                  <a:gd name="connsiteY4" fmla="*/ 392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6">
                    <a:moveTo>
                      <a:pt x="16663" y="3920"/>
                    </a:moveTo>
                    <a:cubicBezTo>
                      <a:pt x="13732" y="-266"/>
                      <a:pt x="7991" y="-1223"/>
                      <a:pt x="3864" y="1648"/>
                    </a:cubicBezTo>
                    <a:cubicBezTo>
                      <a:pt x="-262" y="4578"/>
                      <a:pt x="-1219" y="10320"/>
                      <a:pt x="1651" y="14506"/>
                    </a:cubicBezTo>
                    <a:cubicBezTo>
                      <a:pt x="4582" y="18693"/>
                      <a:pt x="10324" y="19650"/>
                      <a:pt x="14450" y="16779"/>
                    </a:cubicBezTo>
                    <a:cubicBezTo>
                      <a:pt x="18637" y="13849"/>
                      <a:pt x="19593" y="8107"/>
                      <a:pt x="16663" y="3920"/>
                    </a:cubicBezTo>
                    <a:close/>
                  </a:path>
                </a:pathLst>
              </a:custGeom>
              <a:grpFill/>
              <a:ln w="5978" cap="flat">
                <a:noFill/>
                <a:prstDash val="solid"/>
                <a:miter/>
              </a:ln>
            </p:spPr>
            <p:txBody>
              <a:bodyPr rtlCol="0" anchor="ctr"/>
              <a:lstStyle/>
              <a:p>
                <a:endParaRPr lang="en-GB"/>
              </a:p>
            </p:txBody>
          </p:sp>
        </p:grpSp>
        <p:grpSp>
          <p:nvGrpSpPr>
            <p:cNvPr id="551" name="Graphic 3">
              <a:extLst>
                <a:ext uri="{FF2B5EF4-FFF2-40B4-BE49-F238E27FC236}">
                  <a16:creationId xmlns:a16="http://schemas.microsoft.com/office/drawing/2014/main" id="{89D5160C-F345-4AEF-98E3-B37930C30DB5}"/>
                </a:ext>
              </a:extLst>
            </p:cNvPr>
            <p:cNvGrpSpPr/>
            <p:nvPr/>
          </p:nvGrpSpPr>
          <p:grpSpPr>
            <a:xfrm>
              <a:off x="7111269" y="4986521"/>
              <a:ext cx="172287" cy="246561"/>
              <a:chOff x="7111269" y="4986521"/>
              <a:chExt cx="172287" cy="246561"/>
            </a:xfrm>
            <a:grpFill/>
          </p:grpSpPr>
          <p:sp>
            <p:nvSpPr>
              <p:cNvPr id="3734" name="Vrije vorm: vorm 3733">
                <a:extLst>
                  <a:ext uri="{FF2B5EF4-FFF2-40B4-BE49-F238E27FC236}">
                    <a16:creationId xmlns:a16="http://schemas.microsoft.com/office/drawing/2014/main" id="{28DB708B-4E25-49F4-A6C5-11A51526415D}"/>
                  </a:ext>
                </a:extLst>
              </p:cNvPr>
              <p:cNvSpPr/>
              <p:nvPr/>
            </p:nvSpPr>
            <p:spPr>
              <a:xfrm>
                <a:off x="7118933" y="4994481"/>
                <a:ext cx="156993" cy="230616"/>
              </a:xfrm>
              <a:custGeom>
                <a:avLst/>
                <a:gdLst>
                  <a:gd name="connsiteX0" fmla="*/ 156994 w 156993"/>
                  <a:gd name="connsiteY0" fmla="*/ 228882 h 230616"/>
                  <a:gd name="connsiteX1" fmla="*/ 154423 w 156993"/>
                  <a:gd name="connsiteY1" fmla="*/ 230617 h 230616"/>
                  <a:gd name="connsiteX2" fmla="*/ 0 w 156993"/>
                  <a:gd name="connsiteY2" fmla="*/ 1734 h 230616"/>
                  <a:gd name="connsiteX3" fmla="*/ 2512 w 156993"/>
                  <a:gd name="connsiteY3" fmla="*/ 0 h 230616"/>
                </a:gdLst>
                <a:ahLst/>
                <a:cxnLst>
                  <a:cxn ang="0">
                    <a:pos x="connsiteX0" y="connsiteY0"/>
                  </a:cxn>
                  <a:cxn ang="0">
                    <a:pos x="connsiteX1" y="connsiteY1"/>
                  </a:cxn>
                  <a:cxn ang="0">
                    <a:pos x="connsiteX2" y="connsiteY2"/>
                  </a:cxn>
                  <a:cxn ang="0">
                    <a:pos x="connsiteX3" y="connsiteY3"/>
                  </a:cxn>
                </a:cxnLst>
                <a:rect l="l" t="t" r="r" b="b"/>
                <a:pathLst>
                  <a:path w="156993" h="230616">
                    <a:moveTo>
                      <a:pt x="156994" y="228882"/>
                    </a:moveTo>
                    <a:lnTo>
                      <a:pt x="154423" y="230617"/>
                    </a:lnTo>
                    <a:lnTo>
                      <a:pt x="0" y="1734"/>
                    </a:lnTo>
                    <a:lnTo>
                      <a:pt x="2512" y="0"/>
                    </a:lnTo>
                    <a:close/>
                  </a:path>
                </a:pathLst>
              </a:custGeom>
              <a:grpFill/>
              <a:ln w="5978" cap="flat">
                <a:noFill/>
                <a:prstDash val="solid"/>
                <a:miter/>
              </a:ln>
            </p:spPr>
            <p:txBody>
              <a:bodyPr rtlCol="0" anchor="ctr"/>
              <a:lstStyle/>
              <a:p>
                <a:endParaRPr lang="en-GB"/>
              </a:p>
            </p:txBody>
          </p:sp>
          <p:sp>
            <p:nvSpPr>
              <p:cNvPr id="3735" name="Vrije vorm: vorm 3734">
                <a:extLst>
                  <a:ext uri="{FF2B5EF4-FFF2-40B4-BE49-F238E27FC236}">
                    <a16:creationId xmlns:a16="http://schemas.microsoft.com/office/drawing/2014/main" id="{5BA4FBBA-D03D-49FF-802C-D2D9154A0EFF}"/>
                  </a:ext>
                </a:extLst>
              </p:cNvPr>
              <p:cNvSpPr/>
              <p:nvPr/>
            </p:nvSpPr>
            <p:spPr>
              <a:xfrm>
                <a:off x="7265187" y="5214642"/>
                <a:ext cx="18370" cy="18441"/>
              </a:xfrm>
              <a:custGeom>
                <a:avLst/>
                <a:gdLst>
                  <a:gd name="connsiteX0" fmla="*/ 16781 w 18370"/>
                  <a:gd name="connsiteY0" fmla="*/ 4056 h 18441"/>
                  <a:gd name="connsiteX1" fmla="*/ 14328 w 18370"/>
                  <a:gd name="connsiteY1" fmla="*/ 16855 h 18441"/>
                  <a:gd name="connsiteX2" fmla="*/ 1589 w 18370"/>
                  <a:gd name="connsiteY2" fmla="*/ 14343 h 18441"/>
                  <a:gd name="connsiteX3" fmla="*/ 4042 w 18370"/>
                  <a:gd name="connsiteY3" fmla="*/ 1545 h 18441"/>
                  <a:gd name="connsiteX4" fmla="*/ 16781 w 18370"/>
                  <a:gd name="connsiteY4" fmla="*/ 405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41">
                    <a:moveTo>
                      <a:pt x="16781" y="4056"/>
                    </a:moveTo>
                    <a:cubicBezTo>
                      <a:pt x="19651" y="8303"/>
                      <a:pt x="18515" y="13984"/>
                      <a:pt x="14328" y="16855"/>
                    </a:cubicBezTo>
                    <a:cubicBezTo>
                      <a:pt x="10142" y="19726"/>
                      <a:pt x="4461" y="18590"/>
                      <a:pt x="1589" y="14343"/>
                    </a:cubicBezTo>
                    <a:cubicBezTo>
                      <a:pt x="-1281" y="10097"/>
                      <a:pt x="-145" y="4415"/>
                      <a:pt x="4042" y="1545"/>
                    </a:cubicBezTo>
                    <a:cubicBezTo>
                      <a:pt x="8228" y="-1267"/>
                      <a:pt x="13910" y="-130"/>
                      <a:pt x="16781" y="4056"/>
                    </a:cubicBezTo>
                    <a:close/>
                  </a:path>
                </a:pathLst>
              </a:custGeom>
              <a:grpFill/>
              <a:ln w="5978" cap="flat">
                <a:noFill/>
                <a:prstDash val="solid"/>
                <a:miter/>
              </a:ln>
            </p:spPr>
            <p:txBody>
              <a:bodyPr rtlCol="0" anchor="ctr"/>
              <a:lstStyle/>
              <a:p>
                <a:endParaRPr lang="en-GB"/>
              </a:p>
            </p:txBody>
          </p:sp>
          <p:sp>
            <p:nvSpPr>
              <p:cNvPr id="3736" name="Vrije vorm: vorm 3735">
                <a:extLst>
                  <a:ext uri="{FF2B5EF4-FFF2-40B4-BE49-F238E27FC236}">
                    <a16:creationId xmlns:a16="http://schemas.microsoft.com/office/drawing/2014/main" id="{87EFE632-16AE-41A9-89E2-BA5480A51238}"/>
                  </a:ext>
                </a:extLst>
              </p:cNvPr>
              <p:cNvSpPr/>
              <p:nvPr/>
            </p:nvSpPr>
            <p:spPr>
              <a:xfrm>
                <a:off x="7111269" y="4986521"/>
                <a:ext cx="18317" cy="18430"/>
              </a:xfrm>
              <a:custGeom>
                <a:avLst/>
                <a:gdLst>
                  <a:gd name="connsiteX0" fmla="*/ 16754 w 18317"/>
                  <a:gd name="connsiteY0" fmla="*/ 4072 h 18430"/>
                  <a:gd name="connsiteX1" fmla="*/ 4015 w 18317"/>
                  <a:gd name="connsiteY1" fmla="*/ 1560 h 18430"/>
                  <a:gd name="connsiteX2" fmla="*/ 1563 w 18317"/>
                  <a:gd name="connsiteY2" fmla="*/ 14359 h 18430"/>
                  <a:gd name="connsiteX3" fmla="*/ 14302 w 18317"/>
                  <a:gd name="connsiteY3" fmla="*/ 16871 h 18430"/>
                  <a:gd name="connsiteX4" fmla="*/ 16754 w 18317"/>
                  <a:gd name="connsiteY4" fmla="*/ 407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30">
                    <a:moveTo>
                      <a:pt x="16754" y="4072"/>
                    </a:moveTo>
                    <a:cubicBezTo>
                      <a:pt x="13884" y="-174"/>
                      <a:pt x="8202" y="-1251"/>
                      <a:pt x="4015" y="1560"/>
                    </a:cubicBezTo>
                    <a:cubicBezTo>
                      <a:pt x="-171" y="4431"/>
                      <a:pt x="-1248" y="10113"/>
                      <a:pt x="1563" y="14359"/>
                    </a:cubicBezTo>
                    <a:cubicBezTo>
                      <a:pt x="4434" y="18605"/>
                      <a:pt x="10116" y="19682"/>
                      <a:pt x="14302" y="16871"/>
                    </a:cubicBezTo>
                    <a:cubicBezTo>
                      <a:pt x="18489" y="14000"/>
                      <a:pt x="19565" y="8259"/>
                      <a:pt x="16754" y="4072"/>
                    </a:cubicBezTo>
                    <a:close/>
                  </a:path>
                </a:pathLst>
              </a:custGeom>
              <a:grpFill/>
              <a:ln w="5978" cap="flat">
                <a:noFill/>
                <a:prstDash val="solid"/>
                <a:miter/>
              </a:ln>
            </p:spPr>
            <p:txBody>
              <a:bodyPr rtlCol="0" anchor="ctr"/>
              <a:lstStyle/>
              <a:p>
                <a:endParaRPr lang="en-GB"/>
              </a:p>
            </p:txBody>
          </p:sp>
        </p:grpSp>
        <p:grpSp>
          <p:nvGrpSpPr>
            <p:cNvPr id="552" name="Graphic 3">
              <a:extLst>
                <a:ext uri="{FF2B5EF4-FFF2-40B4-BE49-F238E27FC236}">
                  <a16:creationId xmlns:a16="http://schemas.microsoft.com/office/drawing/2014/main" id="{132E2F7D-9D16-4E0C-A6CB-AFB40AE399B7}"/>
                </a:ext>
              </a:extLst>
            </p:cNvPr>
            <p:cNvGrpSpPr/>
            <p:nvPr/>
          </p:nvGrpSpPr>
          <p:grpSpPr>
            <a:xfrm>
              <a:off x="5967458" y="1259754"/>
              <a:ext cx="34998" cy="483313"/>
              <a:chOff x="5967458" y="1259754"/>
              <a:chExt cx="34998" cy="483313"/>
            </a:xfrm>
            <a:grpFill/>
          </p:grpSpPr>
          <p:sp>
            <p:nvSpPr>
              <p:cNvPr id="3731" name="Vrije vorm: vorm 3730">
                <a:extLst>
                  <a:ext uri="{FF2B5EF4-FFF2-40B4-BE49-F238E27FC236}">
                    <a16:creationId xmlns:a16="http://schemas.microsoft.com/office/drawing/2014/main" id="{FA370265-22EB-4911-800A-3D6E28C91DB6}"/>
                  </a:ext>
                </a:extLst>
              </p:cNvPr>
              <p:cNvSpPr/>
              <p:nvPr/>
            </p:nvSpPr>
            <p:spPr>
              <a:xfrm>
                <a:off x="5975119" y="1268432"/>
                <a:ext cx="19736" cy="465958"/>
              </a:xfrm>
              <a:custGeom>
                <a:avLst/>
                <a:gdLst>
                  <a:gd name="connsiteX0" fmla="*/ 19736 w 19736"/>
                  <a:gd name="connsiteY0" fmla="*/ 120 h 465958"/>
                  <a:gd name="connsiteX1" fmla="*/ 3050 w 19736"/>
                  <a:gd name="connsiteY1" fmla="*/ 465958 h 465958"/>
                  <a:gd name="connsiteX2" fmla="*/ 0 w 19736"/>
                  <a:gd name="connsiteY2" fmla="*/ 465779 h 465958"/>
                  <a:gd name="connsiteX3" fmla="*/ 16686 w 19736"/>
                  <a:gd name="connsiteY3" fmla="*/ 0 h 465958"/>
                </a:gdLst>
                <a:ahLst/>
                <a:cxnLst>
                  <a:cxn ang="0">
                    <a:pos x="connsiteX0" y="connsiteY0"/>
                  </a:cxn>
                  <a:cxn ang="0">
                    <a:pos x="connsiteX1" y="connsiteY1"/>
                  </a:cxn>
                  <a:cxn ang="0">
                    <a:pos x="connsiteX2" y="connsiteY2"/>
                  </a:cxn>
                  <a:cxn ang="0">
                    <a:pos x="connsiteX3" y="connsiteY3"/>
                  </a:cxn>
                </a:cxnLst>
                <a:rect l="l" t="t" r="r" b="b"/>
                <a:pathLst>
                  <a:path w="19736" h="465958">
                    <a:moveTo>
                      <a:pt x="19736" y="120"/>
                    </a:moveTo>
                    <a:lnTo>
                      <a:pt x="3050" y="465958"/>
                    </a:lnTo>
                    <a:lnTo>
                      <a:pt x="0" y="465779"/>
                    </a:lnTo>
                    <a:lnTo>
                      <a:pt x="16686" y="0"/>
                    </a:lnTo>
                    <a:close/>
                  </a:path>
                </a:pathLst>
              </a:custGeom>
              <a:grpFill/>
              <a:ln w="5978" cap="flat">
                <a:noFill/>
                <a:prstDash val="solid"/>
                <a:miter/>
              </a:ln>
            </p:spPr>
            <p:txBody>
              <a:bodyPr rtlCol="0" anchor="ctr"/>
              <a:lstStyle/>
              <a:p>
                <a:endParaRPr lang="en-GB"/>
              </a:p>
            </p:txBody>
          </p:sp>
          <p:sp>
            <p:nvSpPr>
              <p:cNvPr id="3732" name="Vrije vorm: vorm 3731">
                <a:extLst>
                  <a:ext uri="{FF2B5EF4-FFF2-40B4-BE49-F238E27FC236}">
                    <a16:creationId xmlns:a16="http://schemas.microsoft.com/office/drawing/2014/main" id="{BE44179E-4CE8-4851-91C1-081C445B8C8C}"/>
                  </a:ext>
                </a:extLst>
              </p:cNvPr>
              <p:cNvSpPr/>
              <p:nvPr/>
            </p:nvSpPr>
            <p:spPr>
              <a:xfrm>
                <a:off x="5967458" y="1724635"/>
                <a:ext cx="18372" cy="18432"/>
              </a:xfrm>
              <a:custGeom>
                <a:avLst/>
                <a:gdLst>
                  <a:gd name="connsiteX0" fmla="*/ 18367 w 18372"/>
                  <a:gd name="connsiteY0" fmla="*/ 9575 h 18432"/>
                  <a:gd name="connsiteX1" fmla="*/ 8857 w 18372"/>
                  <a:gd name="connsiteY1" fmla="*/ 18427 h 18432"/>
                  <a:gd name="connsiteX2" fmla="*/ 6 w 18372"/>
                  <a:gd name="connsiteY2" fmla="*/ 8857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7" y="14659"/>
                      <a:pt x="13941" y="18606"/>
                      <a:pt x="8857" y="18427"/>
                    </a:cubicBezTo>
                    <a:cubicBezTo>
                      <a:pt x="3774" y="18247"/>
                      <a:pt x="-174" y="13941"/>
                      <a:pt x="6" y="8857"/>
                    </a:cubicBezTo>
                    <a:cubicBezTo>
                      <a:pt x="185" y="3774"/>
                      <a:pt x="4432" y="-174"/>
                      <a:pt x="9515" y="6"/>
                    </a:cubicBezTo>
                    <a:cubicBezTo>
                      <a:pt x="14599" y="185"/>
                      <a:pt x="18546" y="4491"/>
                      <a:pt x="18367" y="9575"/>
                    </a:cubicBezTo>
                    <a:close/>
                  </a:path>
                </a:pathLst>
              </a:custGeom>
              <a:grpFill/>
              <a:ln w="5978" cap="flat">
                <a:noFill/>
                <a:prstDash val="solid"/>
                <a:miter/>
              </a:ln>
            </p:spPr>
            <p:txBody>
              <a:bodyPr rtlCol="0" anchor="ctr"/>
              <a:lstStyle/>
              <a:p>
                <a:endParaRPr lang="en-GB"/>
              </a:p>
            </p:txBody>
          </p:sp>
          <p:sp>
            <p:nvSpPr>
              <p:cNvPr id="3733" name="Vrije vorm: vorm 3732">
                <a:extLst>
                  <a:ext uri="{FF2B5EF4-FFF2-40B4-BE49-F238E27FC236}">
                    <a16:creationId xmlns:a16="http://schemas.microsoft.com/office/drawing/2014/main" id="{8AAC0BCC-EFA4-4E58-A825-1A175165FACC}"/>
                  </a:ext>
                </a:extLst>
              </p:cNvPr>
              <p:cNvSpPr/>
              <p:nvPr/>
            </p:nvSpPr>
            <p:spPr>
              <a:xfrm>
                <a:off x="5984085" y="1259754"/>
                <a:ext cx="18372" cy="18432"/>
              </a:xfrm>
              <a:custGeom>
                <a:avLst/>
                <a:gdLst>
                  <a:gd name="connsiteX0" fmla="*/ 18367 w 18372"/>
                  <a:gd name="connsiteY0" fmla="*/ 9575 h 18432"/>
                  <a:gd name="connsiteX1" fmla="*/ 9515 w 18372"/>
                  <a:gd name="connsiteY1" fmla="*/ 6 h 18432"/>
                  <a:gd name="connsiteX2" fmla="*/ 6 w 18372"/>
                  <a:gd name="connsiteY2" fmla="*/ 8857 h 18432"/>
                  <a:gd name="connsiteX3" fmla="*/ 8858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4"/>
                      <a:pt x="185" y="3774"/>
                      <a:pt x="6" y="8857"/>
                    </a:cubicBezTo>
                    <a:cubicBezTo>
                      <a:pt x="-173" y="13941"/>
                      <a:pt x="3774" y="18247"/>
                      <a:pt x="8858" y="18427"/>
                    </a:cubicBezTo>
                    <a:cubicBezTo>
                      <a:pt x="13941" y="18606"/>
                      <a:pt x="18188" y="14659"/>
                      <a:pt x="18367" y="9575"/>
                    </a:cubicBezTo>
                    <a:close/>
                  </a:path>
                </a:pathLst>
              </a:custGeom>
              <a:grpFill/>
              <a:ln w="5978" cap="flat">
                <a:noFill/>
                <a:prstDash val="solid"/>
                <a:miter/>
              </a:ln>
            </p:spPr>
            <p:txBody>
              <a:bodyPr rtlCol="0" anchor="ctr"/>
              <a:lstStyle/>
              <a:p>
                <a:endParaRPr lang="en-GB"/>
              </a:p>
            </p:txBody>
          </p:sp>
        </p:grpSp>
        <p:grpSp>
          <p:nvGrpSpPr>
            <p:cNvPr id="553" name="Graphic 3">
              <a:extLst>
                <a:ext uri="{FF2B5EF4-FFF2-40B4-BE49-F238E27FC236}">
                  <a16:creationId xmlns:a16="http://schemas.microsoft.com/office/drawing/2014/main" id="{12E7D127-6498-4FC4-8296-8B0AC6866A00}"/>
                </a:ext>
              </a:extLst>
            </p:cNvPr>
            <p:cNvGrpSpPr/>
            <p:nvPr/>
          </p:nvGrpSpPr>
          <p:grpSpPr>
            <a:xfrm>
              <a:off x="5990786" y="1472970"/>
              <a:ext cx="22791" cy="173206"/>
              <a:chOff x="5990786" y="1472970"/>
              <a:chExt cx="22791" cy="173206"/>
            </a:xfrm>
            <a:grpFill/>
          </p:grpSpPr>
          <p:sp>
            <p:nvSpPr>
              <p:cNvPr id="3728" name="Vrije vorm: vorm 3727">
                <a:extLst>
                  <a:ext uri="{FF2B5EF4-FFF2-40B4-BE49-F238E27FC236}">
                    <a16:creationId xmlns:a16="http://schemas.microsoft.com/office/drawing/2014/main" id="{5A13F604-C917-48EA-BB67-02979723BC03}"/>
                  </a:ext>
                </a:extLst>
              </p:cNvPr>
              <p:cNvSpPr/>
              <p:nvPr/>
            </p:nvSpPr>
            <p:spPr>
              <a:xfrm>
                <a:off x="5998444" y="1481704"/>
                <a:ext cx="7475" cy="155797"/>
              </a:xfrm>
              <a:custGeom>
                <a:avLst/>
                <a:gdLst>
                  <a:gd name="connsiteX0" fmla="*/ 3050 w 7475"/>
                  <a:gd name="connsiteY0" fmla="*/ 0 h 155797"/>
                  <a:gd name="connsiteX1" fmla="*/ 7476 w 7475"/>
                  <a:gd name="connsiteY1" fmla="*/ 155678 h 155797"/>
                  <a:gd name="connsiteX2" fmla="*/ 4426 w 7475"/>
                  <a:gd name="connsiteY2" fmla="*/ 155798 h 155797"/>
                  <a:gd name="connsiteX3" fmla="*/ 0 w 7475"/>
                  <a:gd name="connsiteY3" fmla="*/ 60 h 155797"/>
                </a:gdLst>
                <a:ahLst/>
                <a:cxnLst>
                  <a:cxn ang="0">
                    <a:pos x="connsiteX0" y="connsiteY0"/>
                  </a:cxn>
                  <a:cxn ang="0">
                    <a:pos x="connsiteX1" y="connsiteY1"/>
                  </a:cxn>
                  <a:cxn ang="0">
                    <a:pos x="connsiteX2" y="connsiteY2"/>
                  </a:cxn>
                  <a:cxn ang="0">
                    <a:pos x="connsiteX3" y="connsiteY3"/>
                  </a:cxn>
                </a:cxnLst>
                <a:rect l="l" t="t" r="r" b="b"/>
                <a:pathLst>
                  <a:path w="7475" h="155797">
                    <a:moveTo>
                      <a:pt x="3050" y="0"/>
                    </a:moveTo>
                    <a:lnTo>
                      <a:pt x="7476" y="155678"/>
                    </a:lnTo>
                    <a:lnTo>
                      <a:pt x="4426" y="155798"/>
                    </a:lnTo>
                    <a:lnTo>
                      <a:pt x="0" y="60"/>
                    </a:lnTo>
                    <a:close/>
                  </a:path>
                </a:pathLst>
              </a:custGeom>
              <a:grpFill/>
              <a:ln w="5978" cap="flat">
                <a:noFill/>
                <a:prstDash val="solid"/>
                <a:miter/>
              </a:ln>
            </p:spPr>
            <p:txBody>
              <a:bodyPr rtlCol="0" anchor="ctr"/>
              <a:lstStyle/>
              <a:p>
                <a:endParaRPr lang="en-GB"/>
              </a:p>
            </p:txBody>
          </p:sp>
          <p:sp>
            <p:nvSpPr>
              <p:cNvPr id="3729" name="Vrije vorm: vorm 3728">
                <a:extLst>
                  <a:ext uri="{FF2B5EF4-FFF2-40B4-BE49-F238E27FC236}">
                    <a16:creationId xmlns:a16="http://schemas.microsoft.com/office/drawing/2014/main" id="{97FA0D6B-FDCA-45AD-AC09-B185C418385A}"/>
                  </a:ext>
                </a:extLst>
              </p:cNvPr>
              <p:cNvSpPr/>
              <p:nvPr/>
            </p:nvSpPr>
            <p:spPr>
              <a:xfrm>
                <a:off x="5990786" y="1472970"/>
                <a:ext cx="18366" cy="18425"/>
              </a:xfrm>
              <a:custGeom>
                <a:avLst/>
                <a:gdLst>
                  <a:gd name="connsiteX0" fmla="*/ 3 w 18366"/>
                  <a:gd name="connsiteY0" fmla="*/ 9452 h 18425"/>
                  <a:gd name="connsiteX1" fmla="*/ 8914 w 18366"/>
                  <a:gd name="connsiteY1" fmla="*/ 3 h 18425"/>
                  <a:gd name="connsiteX2" fmla="*/ 18363 w 18366"/>
                  <a:gd name="connsiteY2" fmla="*/ 8974 h 18425"/>
                  <a:gd name="connsiteX3" fmla="*/ 9452 w 18366"/>
                  <a:gd name="connsiteY3" fmla="*/ 1842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17" y="4369"/>
                      <a:pt x="3830" y="122"/>
                      <a:pt x="8914" y="3"/>
                    </a:cubicBezTo>
                    <a:cubicBezTo>
                      <a:pt x="13998" y="-117"/>
                      <a:pt x="18184" y="3890"/>
                      <a:pt x="18363" y="8974"/>
                    </a:cubicBezTo>
                    <a:cubicBezTo>
                      <a:pt x="18483" y="14057"/>
                      <a:pt x="14536" y="18304"/>
                      <a:pt x="9452" y="18423"/>
                    </a:cubicBezTo>
                    <a:cubicBezTo>
                      <a:pt x="4369" y="18543"/>
                      <a:pt x="182" y="14536"/>
                      <a:pt x="3" y="9452"/>
                    </a:cubicBezTo>
                    <a:close/>
                  </a:path>
                </a:pathLst>
              </a:custGeom>
              <a:grpFill/>
              <a:ln w="5978" cap="flat">
                <a:noFill/>
                <a:prstDash val="solid"/>
                <a:miter/>
              </a:ln>
            </p:spPr>
            <p:txBody>
              <a:bodyPr rtlCol="0" anchor="ctr"/>
              <a:lstStyle/>
              <a:p>
                <a:endParaRPr lang="en-GB"/>
              </a:p>
            </p:txBody>
          </p:sp>
          <p:sp>
            <p:nvSpPr>
              <p:cNvPr id="3730" name="Vrije vorm: vorm 3729">
                <a:extLst>
                  <a:ext uri="{FF2B5EF4-FFF2-40B4-BE49-F238E27FC236}">
                    <a16:creationId xmlns:a16="http://schemas.microsoft.com/office/drawing/2014/main" id="{4E5F5DC7-9EB8-47F8-AE09-044CC6EA39B5}"/>
                  </a:ext>
                </a:extLst>
              </p:cNvPr>
              <p:cNvSpPr/>
              <p:nvPr/>
            </p:nvSpPr>
            <p:spPr>
              <a:xfrm>
                <a:off x="5995212" y="1627751"/>
                <a:ext cx="18366" cy="18425"/>
              </a:xfrm>
              <a:custGeom>
                <a:avLst/>
                <a:gdLst>
                  <a:gd name="connsiteX0" fmla="*/ 3 w 18366"/>
                  <a:gd name="connsiteY0" fmla="*/ 9452 h 18425"/>
                  <a:gd name="connsiteX1" fmla="*/ 9452 w 18366"/>
                  <a:gd name="connsiteY1" fmla="*/ 18423 h 18425"/>
                  <a:gd name="connsiteX2" fmla="*/ 18363 w 18366"/>
                  <a:gd name="connsiteY2" fmla="*/ 8974 h 18425"/>
                  <a:gd name="connsiteX3" fmla="*/ 8914 w 18366"/>
                  <a:gd name="connsiteY3" fmla="*/ 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22" y="14536"/>
                      <a:pt x="4369" y="18543"/>
                      <a:pt x="9452" y="18423"/>
                    </a:cubicBezTo>
                    <a:cubicBezTo>
                      <a:pt x="14536" y="18304"/>
                      <a:pt x="18483" y="14057"/>
                      <a:pt x="18363" y="8974"/>
                    </a:cubicBezTo>
                    <a:cubicBezTo>
                      <a:pt x="18244" y="3890"/>
                      <a:pt x="13998" y="-117"/>
                      <a:pt x="8914" y="3"/>
                    </a:cubicBezTo>
                    <a:cubicBezTo>
                      <a:pt x="3890" y="122"/>
                      <a:pt x="-117" y="4369"/>
                      <a:pt x="3" y="9452"/>
                    </a:cubicBezTo>
                    <a:close/>
                  </a:path>
                </a:pathLst>
              </a:custGeom>
              <a:grpFill/>
              <a:ln w="5978" cap="flat">
                <a:noFill/>
                <a:prstDash val="solid"/>
                <a:miter/>
              </a:ln>
            </p:spPr>
            <p:txBody>
              <a:bodyPr rtlCol="0" anchor="ctr"/>
              <a:lstStyle/>
              <a:p>
                <a:endParaRPr lang="en-GB"/>
              </a:p>
            </p:txBody>
          </p:sp>
        </p:grpSp>
        <p:grpSp>
          <p:nvGrpSpPr>
            <p:cNvPr id="554" name="Graphic 3">
              <a:extLst>
                <a:ext uri="{FF2B5EF4-FFF2-40B4-BE49-F238E27FC236}">
                  <a16:creationId xmlns:a16="http://schemas.microsoft.com/office/drawing/2014/main" id="{2393419A-FE4A-49D7-9BFF-CB11E52ECD61}"/>
                </a:ext>
              </a:extLst>
            </p:cNvPr>
            <p:cNvGrpSpPr/>
            <p:nvPr/>
          </p:nvGrpSpPr>
          <p:grpSpPr>
            <a:xfrm>
              <a:off x="6028288" y="1630444"/>
              <a:ext cx="19318" cy="113754"/>
              <a:chOff x="6028288" y="1630444"/>
              <a:chExt cx="19318" cy="113754"/>
            </a:xfrm>
            <a:grpFill/>
          </p:grpSpPr>
          <p:sp>
            <p:nvSpPr>
              <p:cNvPr id="3725" name="Vrije vorm: vorm 3724">
                <a:extLst>
                  <a:ext uri="{FF2B5EF4-FFF2-40B4-BE49-F238E27FC236}">
                    <a16:creationId xmlns:a16="http://schemas.microsoft.com/office/drawing/2014/main" id="{773F0F1C-F2D8-400F-A979-F7EEF9018018}"/>
                  </a:ext>
                </a:extLst>
              </p:cNvPr>
              <p:cNvSpPr/>
              <p:nvPr/>
            </p:nvSpPr>
            <p:spPr>
              <a:xfrm>
                <a:off x="6035884" y="1639176"/>
                <a:ext cx="4006" cy="96289"/>
              </a:xfrm>
              <a:custGeom>
                <a:avLst/>
                <a:gdLst>
                  <a:gd name="connsiteX0" fmla="*/ 3050 w 4006"/>
                  <a:gd name="connsiteY0" fmla="*/ 0 h 96289"/>
                  <a:gd name="connsiteX1" fmla="*/ 4007 w 4006"/>
                  <a:gd name="connsiteY1" fmla="*/ 96290 h 96289"/>
                  <a:gd name="connsiteX2" fmla="*/ 1017 w 4006"/>
                  <a:gd name="connsiteY2" fmla="*/ 96290 h 96289"/>
                  <a:gd name="connsiteX3" fmla="*/ 0 w 4006"/>
                  <a:gd name="connsiteY3" fmla="*/ 60 h 96289"/>
                </a:gdLst>
                <a:ahLst/>
                <a:cxnLst>
                  <a:cxn ang="0">
                    <a:pos x="connsiteX0" y="connsiteY0"/>
                  </a:cxn>
                  <a:cxn ang="0">
                    <a:pos x="connsiteX1" y="connsiteY1"/>
                  </a:cxn>
                  <a:cxn ang="0">
                    <a:pos x="connsiteX2" y="connsiteY2"/>
                  </a:cxn>
                  <a:cxn ang="0">
                    <a:pos x="connsiteX3" y="connsiteY3"/>
                  </a:cxn>
                </a:cxnLst>
                <a:rect l="l" t="t" r="r" b="b"/>
                <a:pathLst>
                  <a:path w="4006" h="96289">
                    <a:moveTo>
                      <a:pt x="3050" y="0"/>
                    </a:moveTo>
                    <a:lnTo>
                      <a:pt x="4007" y="96290"/>
                    </a:lnTo>
                    <a:lnTo>
                      <a:pt x="1017" y="96290"/>
                    </a:lnTo>
                    <a:lnTo>
                      <a:pt x="0" y="60"/>
                    </a:lnTo>
                    <a:close/>
                  </a:path>
                </a:pathLst>
              </a:custGeom>
              <a:grpFill/>
              <a:ln w="5978" cap="flat">
                <a:noFill/>
                <a:prstDash val="solid"/>
                <a:miter/>
              </a:ln>
            </p:spPr>
            <p:txBody>
              <a:bodyPr rtlCol="0" anchor="ctr"/>
              <a:lstStyle/>
              <a:p>
                <a:endParaRPr lang="en-GB"/>
              </a:p>
            </p:txBody>
          </p:sp>
          <p:sp>
            <p:nvSpPr>
              <p:cNvPr id="3726" name="Vrije vorm: vorm 3725">
                <a:extLst>
                  <a:ext uri="{FF2B5EF4-FFF2-40B4-BE49-F238E27FC236}">
                    <a16:creationId xmlns:a16="http://schemas.microsoft.com/office/drawing/2014/main" id="{517F48FC-4AB1-4F95-95E0-46A1528CE08A}"/>
                  </a:ext>
                </a:extLst>
              </p:cNvPr>
              <p:cNvSpPr/>
              <p:nvPr/>
            </p:nvSpPr>
            <p:spPr>
              <a:xfrm>
                <a:off x="6028288" y="1630444"/>
                <a:ext cx="18362" cy="18421"/>
              </a:xfrm>
              <a:custGeom>
                <a:avLst/>
                <a:gdLst>
                  <a:gd name="connsiteX0" fmla="*/ 1 w 18362"/>
                  <a:gd name="connsiteY0" fmla="*/ 9271 h 18421"/>
                  <a:gd name="connsiteX1" fmla="*/ 9091 w 18362"/>
                  <a:gd name="connsiteY1" fmla="*/ 1 h 18421"/>
                  <a:gd name="connsiteX2" fmla="*/ 18362 w 18362"/>
                  <a:gd name="connsiteY2" fmla="*/ 9151 h 18421"/>
                  <a:gd name="connsiteX3" fmla="*/ 9271 w 18362"/>
                  <a:gd name="connsiteY3" fmla="*/ 1842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59" y="4187"/>
                      <a:pt x="4008" y="60"/>
                      <a:pt x="9091" y="1"/>
                    </a:cubicBezTo>
                    <a:cubicBezTo>
                      <a:pt x="14175" y="-59"/>
                      <a:pt x="18302" y="4067"/>
                      <a:pt x="18362" y="9151"/>
                    </a:cubicBezTo>
                    <a:cubicBezTo>
                      <a:pt x="18421" y="14235"/>
                      <a:pt x="14355" y="18361"/>
                      <a:pt x="9271" y="18421"/>
                    </a:cubicBezTo>
                    <a:cubicBezTo>
                      <a:pt x="4187" y="18481"/>
                      <a:pt x="61" y="14354"/>
                      <a:pt x="1" y="9271"/>
                    </a:cubicBezTo>
                    <a:close/>
                  </a:path>
                </a:pathLst>
              </a:custGeom>
              <a:grpFill/>
              <a:ln w="5978" cap="flat">
                <a:noFill/>
                <a:prstDash val="solid"/>
                <a:miter/>
              </a:ln>
            </p:spPr>
            <p:txBody>
              <a:bodyPr rtlCol="0" anchor="ctr"/>
              <a:lstStyle/>
              <a:p>
                <a:endParaRPr lang="en-GB"/>
              </a:p>
            </p:txBody>
          </p:sp>
          <p:sp>
            <p:nvSpPr>
              <p:cNvPr id="3727" name="Vrije vorm: vorm 3726">
                <a:extLst>
                  <a:ext uri="{FF2B5EF4-FFF2-40B4-BE49-F238E27FC236}">
                    <a16:creationId xmlns:a16="http://schemas.microsoft.com/office/drawing/2014/main" id="{88472D3A-8864-462C-99CB-B595E92325C3}"/>
                  </a:ext>
                </a:extLst>
              </p:cNvPr>
              <p:cNvSpPr/>
              <p:nvPr/>
            </p:nvSpPr>
            <p:spPr>
              <a:xfrm>
                <a:off x="6029244" y="1725777"/>
                <a:ext cx="18362" cy="18421"/>
              </a:xfrm>
              <a:custGeom>
                <a:avLst/>
                <a:gdLst>
                  <a:gd name="connsiteX0" fmla="*/ 1 w 18362"/>
                  <a:gd name="connsiteY0" fmla="*/ 9271 h 18421"/>
                  <a:gd name="connsiteX1" fmla="*/ 9271 w 18362"/>
                  <a:gd name="connsiteY1" fmla="*/ 18421 h 18421"/>
                  <a:gd name="connsiteX2" fmla="*/ 18362 w 18362"/>
                  <a:gd name="connsiteY2" fmla="*/ 9151 h 18421"/>
                  <a:gd name="connsiteX3" fmla="*/ 9091 w 18362"/>
                  <a:gd name="connsiteY3" fmla="*/ 1 h 18421"/>
                  <a:gd name="connsiteX4" fmla="*/ 1 w 18362"/>
                  <a:gd name="connsiteY4" fmla="*/ 927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 y="9271"/>
                    </a:moveTo>
                    <a:cubicBezTo>
                      <a:pt x="61" y="14354"/>
                      <a:pt x="4187" y="18481"/>
                      <a:pt x="9271" y="18421"/>
                    </a:cubicBezTo>
                    <a:cubicBezTo>
                      <a:pt x="14355" y="18361"/>
                      <a:pt x="18421" y="14235"/>
                      <a:pt x="18362" y="9151"/>
                    </a:cubicBezTo>
                    <a:cubicBezTo>
                      <a:pt x="18302" y="4067"/>
                      <a:pt x="14175" y="-59"/>
                      <a:pt x="9091" y="1"/>
                    </a:cubicBezTo>
                    <a:cubicBezTo>
                      <a:pt x="4008" y="60"/>
                      <a:pt x="-59" y="4187"/>
                      <a:pt x="1" y="9271"/>
                    </a:cubicBezTo>
                    <a:close/>
                  </a:path>
                </a:pathLst>
              </a:custGeom>
              <a:grpFill/>
              <a:ln w="5978" cap="flat">
                <a:noFill/>
                <a:prstDash val="solid"/>
                <a:miter/>
              </a:ln>
            </p:spPr>
            <p:txBody>
              <a:bodyPr rtlCol="0" anchor="ctr"/>
              <a:lstStyle/>
              <a:p>
                <a:endParaRPr lang="en-GB"/>
              </a:p>
            </p:txBody>
          </p:sp>
        </p:grpSp>
        <p:grpSp>
          <p:nvGrpSpPr>
            <p:cNvPr id="555" name="Graphic 3">
              <a:extLst>
                <a:ext uri="{FF2B5EF4-FFF2-40B4-BE49-F238E27FC236}">
                  <a16:creationId xmlns:a16="http://schemas.microsoft.com/office/drawing/2014/main" id="{BF6CE61C-B589-498A-AFC0-E233EB8EF85A}"/>
                </a:ext>
              </a:extLst>
            </p:cNvPr>
            <p:cNvGrpSpPr/>
            <p:nvPr/>
          </p:nvGrpSpPr>
          <p:grpSpPr>
            <a:xfrm>
              <a:off x="5952861" y="1430140"/>
              <a:ext cx="22269" cy="101932"/>
              <a:chOff x="5952861" y="1430140"/>
              <a:chExt cx="22269" cy="101932"/>
            </a:xfrm>
            <a:grpFill/>
          </p:grpSpPr>
          <p:sp>
            <p:nvSpPr>
              <p:cNvPr id="3722" name="Vrije vorm: vorm 3721">
                <a:extLst>
                  <a:ext uri="{FF2B5EF4-FFF2-40B4-BE49-F238E27FC236}">
                    <a16:creationId xmlns:a16="http://schemas.microsoft.com/office/drawing/2014/main" id="{AE576C0E-15A9-410A-AFEA-D0B64042EAC4}"/>
                  </a:ext>
                </a:extLst>
              </p:cNvPr>
              <p:cNvSpPr/>
              <p:nvPr/>
            </p:nvSpPr>
            <p:spPr>
              <a:xfrm>
                <a:off x="5960467" y="1438822"/>
                <a:ext cx="7057" cy="84567"/>
              </a:xfrm>
              <a:custGeom>
                <a:avLst/>
                <a:gdLst>
                  <a:gd name="connsiteX0" fmla="*/ 3050 w 7057"/>
                  <a:gd name="connsiteY0" fmla="*/ 0 h 84567"/>
                  <a:gd name="connsiteX1" fmla="*/ 7058 w 7057"/>
                  <a:gd name="connsiteY1" fmla="*/ 84448 h 84567"/>
                  <a:gd name="connsiteX2" fmla="*/ 4007 w 7057"/>
                  <a:gd name="connsiteY2" fmla="*/ 84567 h 84567"/>
                  <a:gd name="connsiteX3" fmla="*/ 0 w 7057"/>
                  <a:gd name="connsiteY3" fmla="*/ 179 h 84567"/>
                </a:gdLst>
                <a:ahLst/>
                <a:cxnLst>
                  <a:cxn ang="0">
                    <a:pos x="connsiteX0" y="connsiteY0"/>
                  </a:cxn>
                  <a:cxn ang="0">
                    <a:pos x="connsiteX1" y="connsiteY1"/>
                  </a:cxn>
                  <a:cxn ang="0">
                    <a:pos x="connsiteX2" y="connsiteY2"/>
                  </a:cxn>
                  <a:cxn ang="0">
                    <a:pos x="connsiteX3" y="connsiteY3"/>
                  </a:cxn>
                </a:cxnLst>
                <a:rect l="l" t="t" r="r" b="b"/>
                <a:pathLst>
                  <a:path w="7057" h="84567">
                    <a:moveTo>
                      <a:pt x="3050" y="0"/>
                    </a:moveTo>
                    <a:lnTo>
                      <a:pt x="7058" y="84448"/>
                    </a:lnTo>
                    <a:lnTo>
                      <a:pt x="4007" y="84567"/>
                    </a:lnTo>
                    <a:lnTo>
                      <a:pt x="0" y="179"/>
                    </a:lnTo>
                    <a:close/>
                  </a:path>
                </a:pathLst>
              </a:custGeom>
              <a:grpFill/>
              <a:ln w="5978" cap="flat">
                <a:noFill/>
                <a:prstDash val="solid"/>
                <a:miter/>
              </a:ln>
            </p:spPr>
            <p:txBody>
              <a:bodyPr rtlCol="0" anchor="ctr"/>
              <a:lstStyle/>
              <a:p>
                <a:endParaRPr lang="en-GB"/>
              </a:p>
            </p:txBody>
          </p:sp>
          <p:sp>
            <p:nvSpPr>
              <p:cNvPr id="3723" name="Vrije vorm: vorm 3722">
                <a:extLst>
                  <a:ext uri="{FF2B5EF4-FFF2-40B4-BE49-F238E27FC236}">
                    <a16:creationId xmlns:a16="http://schemas.microsoft.com/office/drawing/2014/main" id="{383956B5-9014-4FD5-B188-690190502713}"/>
                  </a:ext>
                </a:extLst>
              </p:cNvPr>
              <p:cNvSpPr/>
              <p:nvPr/>
            </p:nvSpPr>
            <p:spPr>
              <a:xfrm>
                <a:off x="5952861" y="1430140"/>
                <a:ext cx="18321" cy="18441"/>
              </a:xfrm>
              <a:custGeom>
                <a:avLst/>
                <a:gdLst>
                  <a:gd name="connsiteX0" fmla="*/ 10 w 18321"/>
                  <a:gd name="connsiteY0" fmla="*/ 9639 h 18441"/>
                  <a:gd name="connsiteX1" fmla="*/ 8742 w 18321"/>
                  <a:gd name="connsiteY1" fmla="*/ 10 h 18441"/>
                  <a:gd name="connsiteX2" fmla="*/ 18311 w 18321"/>
                  <a:gd name="connsiteY2" fmla="*/ 8802 h 18441"/>
                  <a:gd name="connsiteX3" fmla="*/ 9580 w 18321"/>
                  <a:gd name="connsiteY3" fmla="*/ 18431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29" y="4556"/>
                      <a:pt x="3659" y="250"/>
                      <a:pt x="8742" y="10"/>
                    </a:cubicBezTo>
                    <a:cubicBezTo>
                      <a:pt x="13826" y="-229"/>
                      <a:pt x="18072" y="3718"/>
                      <a:pt x="18311" y="8802"/>
                    </a:cubicBezTo>
                    <a:cubicBezTo>
                      <a:pt x="18551" y="13886"/>
                      <a:pt x="14663" y="18192"/>
                      <a:pt x="9580" y="18431"/>
                    </a:cubicBezTo>
                    <a:cubicBezTo>
                      <a:pt x="4556" y="18670"/>
                      <a:pt x="250" y="14723"/>
                      <a:pt x="10" y="9639"/>
                    </a:cubicBezTo>
                    <a:close/>
                  </a:path>
                </a:pathLst>
              </a:custGeom>
              <a:grpFill/>
              <a:ln w="5978" cap="flat">
                <a:noFill/>
                <a:prstDash val="solid"/>
                <a:miter/>
              </a:ln>
            </p:spPr>
            <p:txBody>
              <a:bodyPr rtlCol="0" anchor="ctr"/>
              <a:lstStyle/>
              <a:p>
                <a:endParaRPr lang="en-GB"/>
              </a:p>
            </p:txBody>
          </p:sp>
          <p:sp>
            <p:nvSpPr>
              <p:cNvPr id="3724" name="Vrije vorm: vorm 3723">
                <a:extLst>
                  <a:ext uri="{FF2B5EF4-FFF2-40B4-BE49-F238E27FC236}">
                    <a16:creationId xmlns:a16="http://schemas.microsoft.com/office/drawing/2014/main" id="{99A28216-7186-49F0-8BE1-DE37B9EF0759}"/>
                  </a:ext>
                </a:extLst>
              </p:cNvPr>
              <p:cNvSpPr/>
              <p:nvPr/>
            </p:nvSpPr>
            <p:spPr>
              <a:xfrm>
                <a:off x="5956808" y="1513631"/>
                <a:ext cx="18321" cy="18441"/>
              </a:xfrm>
              <a:custGeom>
                <a:avLst/>
                <a:gdLst>
                  <a:gd name="connsiteX0" fmla="*/ 10 w 18321"/>
                  <a:gd name="connsiteY0" fmla="*/ 9639 h 18441"/>
                  <a:gd name="connsiteX1" fmla="*/ 9580 w 18321"/>
                  <a:gd name="connsiteY1" fmla="*/ 18431 h 18441"/>
                  <a:gd name="connsiteX2" fmla="*/ 18311 w 18321"/>
                  <a:gd name="connsiteY2" fmla="*/ 8802 h 18441"/>
                  <a:gd name="connsiteX3" fmla="*/ 8742 w 18321"/>
                  <a:gd name="connsiteY3" fmla="*/ 10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50" y="14723"/>
                      <a:pt x="4556" y="18670"/>
                      <a:pt x="9580" y="18431"/>
                    </a:cubicBezTo>
                    <a:cubicBezTo>
                      <a:pt x="14663" y="18192"/>
                      <a:pt x="18551" y="13886"/>
                      <a:pt x="18311" y="8802"/>
                    </a:cubicBezTo>
                    <a:cubicBezTo>
                      <a:pt x="18072" y="3718"/>
                      <a:pt x="13766" y="-229"/>
                      <a:pt x="8742" y="10"/>
                    </a:cubicBezTo>
                    <a:cubicBezTo>
                      <a:pt x="3659" y="250"/>
                      <a:pt x="-229" y="4556"/>
                      <a:pt x="10" y="9639"/>
                    </a:cubicBezTo>
                    <a:close/>
                  </a:path>
                </a:pathLst>
              </a:custGeom>
              <a:grpFill/>
              <a:ln w="5978" cap="flat">
                <a:noFill/>
                <a:prstDash val="solid"/>
                <a:miter/>
              </a:ln>
            </p:spPr>
            <p:txBody>
              <a:bodyPr rtlCol="0" anchor="ctr"/>
              <a:lstStyle/>
              <a:p>
                <a:endParaRPr lang="en-GB"/>
              </a:p>
            </p:txBody>
          </p:sp>
        </p:grpSp>
        <p:grpSp>
          <p:nvGrpSpPr>
            <p:cNvPr id="556" name="Graphic 3">
              <a:extLst>
                <a:ext uri="{FF2B5EF4-FFF2-40B4-BE49-F238E27FC236}">
                  <a16:creationId xmlns:a16="http://schemas.microsoft.com/office/drawing/2014/main" id="{37F235EE-9CC8-4B15-A9D9-45D19A62B266}"/>
                </a:ext>
              </a:extLst>
            </p:cNvPr>
            <p:cNvGrpSpPr/>
            <p:nvPr/>
          </p:nvGrpSpPr>
          <p:grpSpPr>
            <a:xfrm>
              <a:off x="7020589" y="4797232"/>
              <a:ext cx="263431" cy="435525"/>
              <a:chOff x="7020589" y="4797232"/>
              <a:chExt cx="263431" cy="435525"/>
            </a:xfrm>
            <a:grpFill/>
          </p:grpSpPr>
          <p:sp>
            <p:nvSpPr>
              <p:cNvPr id="3719" name="Vrije vorm: vorm 3718">
                <a:extLst>
                  <a:ext uri="{FF2B5EF4-FFF2-40B4-BE49-F238E27FC236}">
                    <a16:creationId xmlns:a16="http://schemas.microsoft.com/office/drawing/2014/main" id="{1856F713-E4FF-482A-AC1F-34B3D0824A83}"/>
                  </a:ext>
                </a:extLst>
              </p:cNvPr>
              <p:cNvSpPr/>
              <p:nvPr/>
            </p:nvSpPr>
            <p:spPr>
              <a:xfrm>
                <a:off x="7028205" y="4805251"/>
                <a:ext cx="248199" cy="419487"/>
              </a:xfrm>
              <a:custGeom>
                <a:avLst/>
                <a:gdLst>
                  <a:gd name="connsiteX0" fmla="*/ 248200 w 248199"/>
                  <a:gd name="connsiteY0" fmla="*/ 417933 h 419487"/>
                  <a:gd name="connsiteX1" fmla="*/ 245569 w 248199"/>
                  <a:gd name="connsiteY1" fmla="*/ 419488 h 419487"/>
                  <a:gd name="connsiteX2" fmla="*/ 0 w 248199"/>
                  <a:gd name="connsiteY2" fmla="*/ 1555 h 419487"/>
                  <a:gd name="connsiteX3" fmla="*/ 2632 w 248199"/>
                  <a:gd name="connsiteY3" fmla="*/ 0 h 419487"/>
                </a:gdLst>
                <a:ahLst/>
                <a:cxnLst>
                  <a:cxn ang="0">
                    <a:pos x="connsiteX0" y="connsiteY0"/>
                  </a:cxn>
                  <a:cxn ang="0">
                    <a:pos x="connsiteX1" y="connsiteY1"/>
                  </a:cxn>
                  <a:cxn ang="0">
                    <a:pos x="connsiteX2" y="connsiteY2"/>
                  </a:cxn>
                  <a:cxn ang="0">
                    <a:pos x="connsiteX3" y="connsiteY3"/>
                  </a:cxn>
                </a:cxnLst>
                <a:rect l="l" t="t" r="r" b="b"/>
                <a:pathLst>
                  <a:path w="248199" h="419487">
                    <a:moveTo>
                      <a:pt x="248200" y="417933"/>
                    </a:moveTo>
                    <a:lnTo>
                      <a:pt x="245569" y="419488"/>
                    </a:lnTo>
                    <a:lnTo>
                      <a:pt x="0" y="1555"/>
                    </a:lnTo>
                    <a:lnTo>
                      <a:pt x="2632" y="0"/>
                    </a:lnTo>
                    <a:close/>
                  </a:path>
                </a:pathLst>
              </a:custGeom>
              <a:grpFill/>
              <a:ln w="5978" cap="flat">
                <a:noFill/>
                <a:prstDash val="solid"/>
                <a:miter/>
              </a:ln>
            </p:spPr>
            <p:txBody>
              <a:bodyPr rtlCol="0" anchor="ctr"/>
              <a:lstStyle/>
              <a:p>
                <a:endParaRPr lang="en-GB"/>
              </a:p>
            </p:txBody>
          </p:sp>
          <p:sp>
            <p:nvSpPr>
              <p:cNvPr id="3720" name="Vrije vorm: vorm 3719">
                <a:extLst>
                  <a:ext uri="{FF2B5EF4-FFF2-40B4-BE49-F238E27FC236}">
                    <a16:creationId xmlns:a16="http://schemas.microsoft.com/office/drawing/2014/main" id="{A772B014-904A-40D2-B300-1F342825FAE5}"/>
                  </a:ext>
                </a:extLst>
              </p:cNvPr>
              <p:cNvSpPr/>
              <p:nvPr/>
            </p:nvSpPr>
            <p:spPr>
              <a:xfrm>
                <a:off x="7020589" y="4797232"/>
                <a:ext cx="18341" cy="18429"/>
              </a:xfrm>
              <a:custGeom>
                <a:avLst/>
                <a:gdLst>
                  <a:gd name="connsiteX0" fmla="*/ 1276 w 18341"/>
                  <a:gd name="connsiteY0" fmla="*/ 13880 h 18429"/>
                  <a:gd name="connsiteX1" fmla="*/ 4506 w 18341"/>
                  <a:gd name="connsiteY1" fmla="*/ 1260 h 18429"/>
                  <a:gd name="connsiteX2" fmla="*/ 17065 w 18341"/>
                  <a:gd name="connsiteY2" fmla="*/ 4550 h 18429"/>
                  <a:gd name="connsiteX3" fmla="*/ 13836 w 18341"/>
                  <a:gd name="connsiteY3" fmla="*/ 17169 h 18429"/>
                  <a:gd name="connsiteX4" fmla="*/ 1276 w 18341"/>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276" y="13880"/>
                    </a:moveTo>
                    <a:cubicBezTo>
                      <a:pt x="-1296" y="9514"/>
                      <a:pt x="139" y="3832"/>
                      <a:pt x="4506" y="1260"/>
                    </a:cubicBezTo>
                    <a:cubicBezTo>
                      <a:pt x="8872" y="-1311"/>
                      <a:pt x="14493" y="184"/>
                      <a:pt x="17065" y="4550"/>
                    </a:cubicBezTo>
                    <a:cubicBezTo>
                      <a:pt x="19637" y="8916"/>
                      <a:pt x="18201" y="14597"/>
                      <a:pt x="13836" y="17169"/>
                    </a:cubicBezTo>
                    <a:cubicBezTo>
                      <a:pt x="9470" y="19741"/>
                      <a:pt x="3848" y="18246"/>
                      <a:pt x="1276" y="13880"/>
                    </a:cubicBezTo>
                    <a:close/>
                  </a:path>
                </a:pathLst>
              </a:custGeom>
              <a:grpFill/>
              <a:ln w="5978" cap="flat">
                <a:noFill/>
                <a:prstDash val="solid"/>
                <a:miter/>
              </a:ln>
            </p:spPr>
            <p:txBody>
              <a:bodyPr rtlCol="0" anchor="ctr"/>
              <a:lstStyle/>
              <a:p>
                <a:endParaRPr lang="en-GB"/>
              </a:p>
            </p:txBody>
          </p:sp>
          <p:sp>
            <p:nvSpPr>
              <p:cNvPr id="3721" name="Vrije vorm: vorm 3720">
                <a:extLst>
                  <a:ext uri="{FF2B5EF4-FFF2-40B4-BE49-F238E27FC236}">
                    <a16:creationId xmlns:a16="http://schemas.microsoft.com/office/drawing/2014/main" id="{1AB2EE95-CC2A-450E-A678-D7F1AC6DD799}"/>
                  </a:ext>
                </a:extLst>
              </p:cNvPr>
              <p:cNvSpPr/>
              <p:nvPr/>
            </p:nvSpPr>
            <p:spPr>
              <a:xfrm>
                <a:off x="7265680" y="5214327"/>
                <a:ext cx="18340" cy="18429"/>
              </a:xfrm>
              <a:custGeom>
                <a:avLst/>
                <a:gdLst>
                  <a:gd name="connsiteX0" fmla="*/ 1276 w 18340"/>
                  <a:gd name="connsiteY0" fmla="*/ 13880 h 18429"/>
                  <a:gd name="connsiteX1" fmla="*/ 13835 w 18340"/>
                  <a:gd name="connsiteY1" fmla="*/ 17169 h 18429"/>
                  <a:gd name="connsiteX2" fmla="*/ 17065 w 18340"/>
                  <a:gd name="connsiteY2" fmla="*/ 4550 h 18429"/>
                  <a:gd name="connsiteX3" fmla="*/ 4506 w 18340"/>
                  <a:gd name="connsiteY3" fmla="*/ 1260 h 18429"/>
                  <a:gd name="connsiteX4" fmla="*/ 1276 w 18340"/>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9">
                    <a:moveTo>
                      <a:pt x="1276" y="13880"/>
                    </a:moveTo>
                    <a:cubicBezTo>
                      <a:pt x="3848" y="18246"/>
                      <a:pt x="9469" y="19741"/>
                      <a:pt x="13835" y="17169"/>
                    </a:cubicBezTo>
                    <a:cubicBezTo>
                      <a:pt x="18201" y="14598"/>
                      <a:pt x="19637" y="8976"/>
                      <a:pt x="17065" y="4550"/>
                    </a:cubicBezTo>
                    <a:cubicBezTo>
                      <a:pt x="14493" y="184"/>
                      <a:pt x="8871" y="-1311"/>
                      <a:pt x="4506" y="1260"/>
                    </a:cubicBezTo>
                    <a:cubicBezTo>
                      <a:pt x="140" y="3832"/>
                      <a:pt x="-1296" y="9514"/>
                      <a:pt x="1276" y="13880"/>
                    </a:cubicBezTo>
                    <a:close/>
                  </a:path>
                </a:pathLst>
              </a:custGeom>
              <a:grpFill/>
              <a:ln w="5978" cap="flat">
                <a:noFill/>
                <a:prstDash val="solid"/>
                <a:miter/>
              </a:ln>
            </p:spPr>
            <p:txBody>
              <a:bodyPr rtlCol="0" anchor="ctr"/>
              <a:lstStyle/>
              <a:p>
                <a:endParaRPr lang="en-GB"/>
              </a:p>
            </p:txBody>
          </p:sp>
        </p:grpSp>
        <p:grpSp>
          <p:nvGrpSpPr>
            <p:cNvPr id="557" name="Graphic 3">
              <a:extLst>
                <a:ext uri="{FF2B5EF4-FFF2-40B4-BE49-F238E27FC236}">
                  <a16:creationId xmlns:a16="http://schemas.microsoft.com/office/drawing/2014/main" id="{65283CE8-4F8C-49C1-AE19-08C05BBD5FD7}"/>
                </a:ext>
              </a:extLst>
            </p:cNvPr>
            <p:cNvGrpSpPr/>
            <p:nvPr/>
          </p:nvGrpSpPr>
          <p:grpSpPr>
            <a:xfrm>
              <a:off x="7044798" y="4775735"/>
              <a:ext cx="64557" cy="81697"/>
              <a:chOff x="7044798" y="4775735"/>
              <a:chExt cx="64557" cy="81697"/>
            </a:xfrm>
            <a:grpFill/>
          </p:grpSpPr>
          <p:sp>
            <p:nvSpPr>
              <p:cNvPr id="3716" name="Vrije vorm: vorm 3715">
                <a:extLst>
                  <a:ext uri="{FF2B5EF4-FFF2-40B4-BE49-F238E27FC236}">
                    <a16:creationId xmlns:a16="http://schemas.microsoft.com/office/drawing/2014/main" id="{7DAF8FEF-8C00-45AC-98CE-9A7F270F9E51}"/>
                  </a:ext>
                </a:extLst>
              </p:cNvPr>
              <p:cNvSpPr/>
              <p:nvPr/>
            </p:nvSpPr>
            <p:spPr>
              <a:xfrm>
                <a:off x="7052487" y="4783660"/>
                <a:ext cx="49161" cy="65847"/>
              </a:xfrm>
              <a:custGeom>
                <a:avLst/>
                <a:gdLst>
                  <a:gd name="connsiteX0" fmla="*/ 49161 w 49161"/>
                  <a:gd name="connsiteY0" fmla="*/ 64053 h 65847"/>
                  <a:gd name="connsiteX1" fmla="*/ 46710 w 49161"/>
                  <a:gd name="connsiteY1" fmla="*/ 65848 h 65847"/>
                  <a:gd name="connsiteX2" fmla="*/ 0 w 49161"/>
                  <a:gd name="connsiteY2" fmla="*/ 1854 h 65847"/>
                  <a:gd name="connsiteX3" fmla="*/ 2452 w 49161"/>
                  <a:gd name="connsiteY3" fmla="*/ 0 h 65847"/>
                </a:gdLst>
                <a:ahLst/>
                <a:cxnLst>
                  <a:cxn ang="0">
                    <a:pos x="connsiteX0" y="connsiteY0"/>
                  </a:cxn>
                  <a:cxn ang="0">
                    <a:pos x="connsiteX1" y="connsiteY1"/>
                  </a:cxn>
                  <a:cxn ang="0">
                    <a:pos x="connsiteX2" y="connsiteY2"/>
                  </a:cxn>
                  <a:cxn ang="0">
                    <a:pos x="connsiteX3" y="connsiteY3"/>
                  </a:cxn>
                </a:cxnLst>
                <a:rect l="l" t="t" r="r" b="b"/>
                <a:pathLst>
                  <a:path w="49161" h="65847">
                    <a:moveTo>
                      <a:pt x="49161" y="64053"/>
                    </a:moveTo>
                    <a:lnTo>
                      <a:pt x="46710" y="65848"/>
                    </a:lnTo>
                    <a:lnTo>
                      <a:pt x="0" y="1854"/>
                    </a:lnTo>
                    <a:lnTo>
                      <a:pt x="2452" y="0"/>
                    </a:lnTo>
                    <a:close/>
                  </a:path>
                </a:pathLst>
              </a:custGeom>
              <a:grpFill/>
              <a:ln w="5978" cap="flat">
                <a:noFill/>
                <a:prstDash val="solid"/>
                <a:miter/>
              </a:ln>
            </p:spPr>
            <p:txBody>
              <a:bodyPr rtlCol="0" anchor="ctr"/>
              <a:lstStyle/>
              <a:p>
                <a:endParaRPr lang="en-GB"/>
              </a:p>
            </p:txBody>
          </p:sp>
          <p:sp>
            <p:nvSpPr>
              <p:cNvPr id="3717" name="Vrije vorm: vorm 3716">
                <a:extLst>
                  <a:ext uri="{FF2B5EF4-FFF2-40B4-BE49-F238E27FC236}">
                    <a16:creationId xmlns:a16="http://schemas.microsoft.com/office/drawing/2014/main" id="{93F4CAFC-7364-465B-9C85-2A4FA51BA489}"/>
                  </a:ext>
                </a:extLst>
              </p:cNvPr>
              <p:cNvSpPr/>
              <p:nvPr/>
            </p:nvSpPr>
            <p:spPr>
              <a:xfrm>
                <a:off x="7091011" y="4839012"/>
                <a:ext cx="18343" cy="18421"/>
              </a:xfrm>
              <a:custGeom>
                <a:avLst/>
                <a:gdLst>
                  <a:gd name="connsiteX0" fmla="*/ 16558 w 18343"/>
                  <a:gd name="connsiteY0" fmla="*/ 3798 h 18421"/>
                  <a:gd name="connsiteX1" fmla="*/ 14584 w 18343"/>
                  <a:gd name="connsiteY1" fmla="*/ 16656 h 18421"/>
                  <a:gd name="connsiteX2" fmla="*/ 1786 w 18343"/>
                  <a:gd name="connsiteY2" fmla="*/ 14623 h 18421"/>
                  <a:gd name="connsiteX3" fmla="*/ 3759 w 18343"/>
                  <a:gd name="connsiteY3" fmla="*/ 1765 h 18421"/>
                  <a:gd name="connsiteX4" fmla="*/ 16558 w 18343"/>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1">
                    <a:moveTo>
                      <a:pt x="16558" y="3798"/>
                    </a:moveTo>
                    <a:cubicBezTo>
                      <a:pt x="19548" y="7925"/>
                      <a:pt x="18711" y="13666"/>
                      <a:pt x="14584" y="16656"/>
                    </a:cubicBezTo>
                    <a:cubicBezTo>
                      <a:pt x="10517" y="19647"/>
                      <a:pt x="4776" y="18750"/>
                      <a:pt x="1786" y="14623"/>
                    </a:cubicBezTo>
                    <a:cubicBezTo>
                      <a:pt x="-1205" y="10497"/>
                      <a:pt x="-367" y="4755"/>
                      <a:pt x="3759" y="1765"/>
                    </a:cubicBezTo>
                    <a:cubicBezTo>
                      <a:pt x="7826" y="-1226"/>
                      <a:pt x="13567" y="-329"/>
                      <a:pt x="16558" y="3798"/>
                    </a:cubicBezTo>
                    <a:close/>
                  </a:path>
                </a:pathLst>
              </a:custGeom>
              <a:grpFill/>
              <a:ln w="5978" cap="flat">
                <a:noFill/>
                <a:prstDash val="solid"/>
                <a:miter/>
              </a:ln>
            </p:spPr>
            <p:txBody>
              <a:bodyPr rtlCol="0" anchor="ctr"/>
              <a:lstStyle/>
              <a:p>
                <a:endParaRPr lang="en-GB"/>
              </a:p>
            </p:txBody>
          </p:sp>
          <p:sp>
            <p:nvSpPr>
              <p:cNvPr id="3718" name="Vrije vorm: vorm 3717">
                <a:extLst>
                  <a:ext uri="{FF2B5EF4-FFF2-40B4-BE49-F238E27FC236}">
                    <a16:creationId xmlns:a16="http://schemas.microsoft.com/office/drawing/2014/main" id="{55419CA2-2255-4F86-BBA2-428FB168BCDA}"/>
                  </a:ext>
                </a:extLst>
              </p:cNvPr>
              <p:cNvSpPr/>
              <p:nvPr/>
            </p:nvSpPr>
            <p:spPr>
              <a:xfrm>
                <a:off x="7044798" y="4775735"/>
                <a:ext cx="18326" cy="18421"/>
              </a:xfrm>
              <a:custGeom>
                <a:avLst/>
                <a:gdLst>
                  <a:gd name="connsiteX0" fmla="*/ 16541 w 18326"/>
                  <a:gd name="connsiteY0" fmla="*/ 3798 h 18421"/>
                  <a:gd name="connsiteX1" fmla="*/ 3742 w 18326"/>
                  <a:gd name="connsiteY1" fmla="*/ 1765 h 18421"/>
                  <a:gd name="connsiteX2" fmla="*/ 1768 w 18326"/>
                  <a:gd name="connsiteY2" fmla="*/ 14623 h 18421"/>
                  <a:gd name="connsiteX3" fmla="*/ 14567 w 18326"/>
                  <a:gd name="connsiteY3" fmla="*/ 16656 h 18421"/>
                  <a:gd name="connsiteX4" fmla="*/ 16541 w 18326"/>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1">
                    <a:moveTo>
                      <a:pt x="16541" y="3798"/>
                    </a:moveTo>
                    <a:cubicBezTo>
                      <a:pt x="13550" y="-329"/>
                      <a:pt x="7809" y="-1226"/>
                      <a:pt x="3742" y="1765"/>
                    </a:cubicBezTo>
                    <a:cubicBezTo>
                      <a:pt x="-325" y="4755"/>
                      <a:pt x="-1222" y="10556"/>
                      <a:pt x="1768" y="14623"/>
                    </a:cubicBezTo>
                    <a:cubicBezTo>
                      <a:pt x="4759" y="18750"/>
                      <a:pt x="10500" y="19647"/>
                      <a:pt x="14567" y="16656"/>
                    </a:cubicBezTo>
                    <a:cubicBezTo>
                      <a:pt x="18694" y="13666"/>
                      <a:pt x="19531" y="7925"/>
                      <a:pt x="16541" y="3798"/>
                    </a:cubicBezTo>
                    <a:close/>
                  </a:path>
                </a:pathLst>
              </a:custGeom>
              <a:grpFill/>
              <a:ln w="5978" cap="flat">
                <a:noFill/>
                <a:prstDash val="solid"/>
                <a:miter/>
              </a:ln>
            </p:spPr>
            <p:txBody>
              <a:bodyPr rtlCol="0" anchor="ctr"/>
              <a:lstStyle/>
              <a:p>
                <a:endParaRPr lang="en-GB"/>
              </a:p>
            </p:txBody>
          </p:sp>
        </p:grpSp>
        <p:grpSp>
          <p:nvGrpSpPr>
            <p:cNvPr id="558" name="Graphic 3">
              <a:extLst>
                <a:ext uri="{FF2B5EF4-FFF2-40B4-BE49-F238E27FC236}">
                  <a16:creationId xmlns:a16="http://schemas.microsoft.com/office/drawing/2014/main" id="{4FA15DE6-FF18-4E4A-A497-D24021B92F6E}"/>
                </a:ext>
              </a:extLst>
            </p:cNvPr>
            <p:cNvGrpSpPr/>
            <p:nvPr/>
          </p:nvGrpSpPr>
          <p:grpSpPr>
            <a:xfrm>
              <a:off x="7106210" y="5043677"/>
              <a:ext cx="163482" cy="242284"/>
              <a:chOff x="7106210" y="5043677"/>
              <a:chExt cx="163482" cy="242284"/>
            </a:xfrm>
            <a:grpFill/>
          </p:grpSpPr>
          <p:sp>
            <p:nvSpPr>
              <p:cNvPr id="3713" name="Vrije vorm: vorm 3712">
                <a:extLst>
                  <a:ext uri="{FF2B5EF4-FFF2-40B4-BE49-F238E27FC236}">
                    <a16:creationId xmlns:a16="http://schemas.microsoft.com/office/drawing/2014/main" id="{EA3FF2AB-9AE7-4F91-86A0-C7C813147B73}"/>
                  </a:ext>
                </a:extLst>
              </p:cNvPr>
              <p:cNvSpPr/>
              <p:nvPr/>
            </p:nvSpPr>
            <p:spPr>
              <a:xfrm>
                <a:off x="7113909" y="5051656"/>
                <a:ext cx="148142" cy="226370"/>
              </a:xfrm>
              <a:custGeom>
                <a:avLst/>
                <a:gdLst>
                  <a:gd name="connsiteX0" fmla="*/ 148143 w 148142"/>
                  <a:gd name="connsiteY0" fmla="*/ 224696 h 226370"/>
                  <a:gd name="connsiteX1" fmla="*/ 145571 w 148142"/>
                  <a:gd name="connsiteY1" fmla="*/ 226370 h 226370"/>
                  <a:gd name="connsiteX2" fmla="*/ 0 w 148142"/>
                  <a:gd name="connsiteY2" fmla="*/ 1674 h 226370"/>
                  <a:gd name="connsiteX3" fmla="*/ 2511 w 148142"/>
                  <a:gd name="connsiteY3" fmla="*/ 0 h 226370"/>
                </a:gdLst>
                <a:ahLst/>
                <a:cxnLst>
                  <a:cxn ang="0">
                    <a:pos x="connsiteX0" y="connsiteY0"/>
                  </a:cxn>
                  <a:cxn ang="0">
                    <a:pos x="connsiteX1" y="connsiteY1"/>
                  </a:cxn>
                  <a:cxn ang="0">
                    <a:pos x="connsiteX2" y="connsiteY2"/>
                  </a:cxn>
                  <a:cxn ang="0">
                    <a:pos x="connsiteX3" y="connsiteY3"/>
                  </a:cxn>
                </a:cxnLst>
                <a:rect l="l" t="t" r="r" b="b"/>
                <a:pathLst>
                  <a:path w="148142" h="226370">
                    <a:moveTo>
                      <a:pt x="148143" y="224696"/>
                    </a:moveTo>
                    <a:lnTo>
                      <a:pt x="145571" y="226370"/>
                    </a:lnTo>
                    <a:lnTo>
                      <a:pt x="0" y="1674"/>
                    </a:lnTo>
                    <a:lnTo>
                      <a:pt x="2511" y="0"/>
                    </a:lnTo>
                    <a:close/>
                  </a:path>
                </a:pathLst>
              </a:custGeom>
              <a:grpFill/>
              <a:ln w="5978" cap="flat">
                <a:noFill/>
                <a:prstDash val="solid"/>
                <a:miter/>
              </a:ln>
            </p:spPr>
            <p:txBody>
              <a:bodyPr rtlCol="0" anchor="ctr"/>
              <a:lstStyle/>
              <a:p>
                <a:endParaRPr lang="en-GB"/>
              </a:p>
            </p:txBody>
          </p:sp>
          <p:sp>
            <p:nvSpPr>
              <p:cNvPr id="3714" name="Vrije vorm: vorm 3713">
                <a:extLst>
                  <a:ext uri="{FF2B5EF4-FFF2-40B4-BE49-F238E27FC236}">
                    <a16:creationId xmlns:a16="http://schemas.microsoft.com/office/drawing/2014/main" id="{F066CA4E-F52E-48B1-BCEC-A7C8AE83B815}"/>
                  </a:ext>
                </a:extLst>
              </p:cNvPr>
              <p:cNvSpPr/>
              <p:nvPr/>
            </p:nvSpPr>
            <p:spPr>
              <a:xfrm>
                <a:off x="7251420" y="5267535"/>
                <a:ext cx="18273" cy="18426"/>
              </a:xfrm>
              <a:custGeom>
                <a:avLst/>
                <a:gdLst>
                  <a:gd name="connsiteX0" fmla="*/ 16792 w 18273"/>
                  <a:gd name="connsiteY0" fmla="*/ 4212 h 18426"/>
                  <a:gd name="connsiteX1" fmla="*/ 14160 w 18273"/>
                  <a:gd name="connsiteY1" fmla="*/ 16951 h 18426"/>
                  <a:gd name="connsiteX2" fmla="*/ 1481 w 18273"/>
                  <a:gd name="connsiteY2" fmla="*/ 14200 h 18426"/>
                  <a:gd name="connsiteX3" fmla="*/ 4112 w 18273"/>
                  <a:gd name="connsiteY3" fmla="*/ 1461 h 18426"/>
                  <a:gd name="connsiteX4" fmla="*/ 16792 w 18273"/>
                  <a:gd name="connsiteY4" fmla="*/ 421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26">
                    <a:moveTo>
                      <a:pt x="16792" y="4212"/>
                    </a:moveTo>
                    <a:cubicBezTo>
                      <a:pt x="19543" y="8458"/>
                      <a:pt x="18347" y="14200"/>
                      <a:pt x="14160" y="16951"/>
                    </a:cubicBezTo>
                    <a:cubicBezTo>
                      <a:pt x="9914" y="19702"/>
                      <a:pt x="4232" y="18506"/>
                      <a:pt x="1481" y="14200"/>
                    </a:cubicBezTo>
                    <a:cubicBezTo>
                      <a:pt x="-1270" y="9953"/>
                      <a:pt x="-74" y="4212"/>
                      <a:pt x="4112" y="1461"/>
                    </a:cubicBezTo>
                    <a:cubicBezTo>
                      <a:pt x="8299" y="-1290"/>
                      <a:pt x="14041" y="-35"/>
                      <a:pt x="16792" y="4212"/>
                    </a:cubicBezTo>
                    <a:close/>
                  </a:path>
                </a:pathLst>
              </a:custGeom>
              <a:grpFill/>
              <a:ln w="5978" cap="flat">
                <a:noFill/>
                <a:prstDash val="solid"/>
                <a:miter/>
              </a:ln>
            </p:spPr>
            <p:txBody>
              <a:bodyPr rtlCol="0" anchor="ctr"/>
              <a:lstStyle/>
              <a:p>
                <a:endParaRPr lang="en-GB"/>
              </a:p>
            </p:txBody>
          </p:sp>
          <p:sp>
            <p:nvSpPr>
              <p:cNvPr id="3715" name="Vrije vorm: vorm 3714">
                <a:extLst>
                  <a:ext uri="{FF2B5EF4-FFF2-40B4-BE49-F238E27FC236}">
                    <a16:creationId xmlns:a16="http://schemas.microsoft.com/office/drawing/2014/main" id="{4A11684E-89A5-4499-88E2-2B93619C8C48}"/>
                  </a:ext>
                </a:extLst>
              </p:cNvPr>
              <p:cNvSpPr/>
              <p:nvPr/>
            </p:nvSpPr>
            <p:spPr>
              <a:xfrm>
                <a:off x="7106210" y="5043677"/>
                <a:ext cx="18369" cy="18411"/>
              </a:xfrm>
              <a:custGeom>
                <a:avLst/>
                <a:gdLst>
                  <a:gd name="connsiteX0" fmla="*/ 16849 w 18369"/>
                  <a:gd name="connsiteY0" fmla="*/ 4212 h 18411"/>
                  <a:gd name="connsiteX1" fmla="*/ 4170 w 18369"/>
                  <a:gd name="connsiteY1" fmla="*/ 1461 h 18411"/>
                  <a:gd name="connsiteX2" fmla="*/ 1478 w 18369"/>
                  <a:gd name="connsiteY2" fmla="*/ 14200 h 18411"/>
                  <a:gd name="connsiteX3" fmla="*/ 14158 w 18369"/>
                  <a:gd name="connsiteY3" fmla="*/ 16951 h 18411"/>
                  <a:gd name="connsiteX4" fmla="*/ 16849 w 18369"/>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1">
                    <a:moveTo>
                      <a:pt x="16849" y="4212"/>
                    </a:moveTo>
                    <a:cubicBezTo>
                      <a:pt x="14098" y="-35"/>
                      <a:pt x="8416" y="-1290"/>
                      <a:pt x="4170" y="1461"/>
                    </a:cubicBezTo>
                    <a:cubicBezTo>
                      <a:pt x="-77" y="4212"/>
                      <a:pt x="-1272" y="9953"/>
                      <a:pt x="1478" y="14200"/>
                    </a:cubicBezTo>
                    <a:cubicBezTo>
                      <a:pt x="4229" y="18446"/>
                      <a:pt x="9911" y="19702"/>
                      <a:pt x="14158" y="16951"/>
                    </a:cubicBezTo>
                    <a:cubicBezTo>
                      <a:pt x="18463" y="14200"/>
                      <a:pt x="19660" y="8458"/>
                      <a:pt x="16849" y="4212"/>
                    </a:cubicBezTo>
                    <a:close/>
                  </a:path>
                </a:pathLst>
              </a:custGeom>
              <a:grpFill/>
              <a:ln w="5978" cap="flat">
                <a:noFill/>
                <a:prstDash val="solid"/>
                <a:miter/>
              </a:ln>
            </p:spPr>
            <p:txBody>
              <a:bodyPr rtlCol="0" anchor="ctr"/>
              <a:lstStyle/>
              <a:p>
                <a:endParaRPr lang="en-GB"/>
              </a:p>
            </p:txBody>
          </p:sp>
        </p:grpSp>
        <p:grpSp>
          <p:nvGrpSpPr>
            <p:cNvPr id="559" name="Graphic 3">
              <a:extLst>
                <a:ext uri="{FF2B5EF4-FFF2-40B4-BE49-F238E27FC236}">
                  <a16:creationId xmlns:a16="http://schemas.microsoft.com/office/drawing/2014/main" id="{C5701AD1-877A-471E-A409-6C49DFAF7A07}"/>
                </a:ext>
              </a:extLst>
            </p:cNvPr>
            <p:cNvGrpSpPr/>
            <p:nvPr/>
          </p:nvGrpSpPr>
          <p:grpSpPr>
            <a:xfrm>
              <a:off x="7060943" y="4853422"/>
              <a:ext cx="58009" cy="74970"/>
              <a:chOff x="7060943" y="4853422"/>
              <a:chExt cx="58009" cy="74970"/>
            </a:xfrm>
            <a:grpFill/>
          </p:grpSpPr>
          <p:sp>
            <p:nvSpPr>
              <p:cNvPr id="3710" name="Vrije vorm: vorm 3709">
                <a:extLst>
                  <a:ext uri="{FF2B5EF4-FFF2-40B4-BE49-F238E27FC236}">
                    <a16:creationId xmlns:a16="http://schemas.microsoft.com/office/drawing/2014/main" id="{57F4B219-954F-42C6-859B-5081849A1A97}"/>
                  </a:ext>
                </a:extLst>
              </p:cNvPr>
              <p:cNvSpPr/>
              <p:nvPr/>
            </p:nvSpPr>
            <p:spPr>
              <a:xfrm>
                <a:off x="7068635" y="4861410"/>
                <a:ext cx="42642" cy="58969"/>
              </a:xfrm>
              <a:custGeom>
                <a:avLst/>
                <a:gdLst>
                  <a:gd name="connsiteX0" fmla="*/ 42643 w 42642"/>
                  <a:gd name="connsiteY0" fmla="*/ 57236 h 58969"/>
                  <a:gd name="connsiteX1" fmla="*/ 40191 w 42642"/>
                  <a:gd name="connsiteY1" fmla="*/ 58970 h 58969"/>
                  <a:gd name="connsiteX2" fmla="*/ 0 w 42642"/>
                  <a:gd name="connsiteY2" fmla="*/ 1734 h 58969"/>
                  <a:gd name="connsiteX3" fmla="*/ 2452 w 42642"/>
                  <a:gd name="connsiteY3" fmla="*/ 0 h 58969"/>
                </a:gdLst>
                <a:ahLst/>
                <a:cxnLst>
                  <a:cxn ang="0">
                    <a:pos x="connsiteX0" y="connsiteY0"/>
                  </a:cxn>
                  <a:cxn ang="0">
                    <a:pos x="connsiteX1" y="connsiteY1"/>
                  </a:cxn>
                  <a:cxn ang="0">
                    <a:pos x="connsiteX2" y="connsiteY2"/>
                  </a:cxn>
                  <a:cxn ang="0">
                    <a:pos x="connsiteX3" y="connsiteY3"/>
                  </a:cxn>
                </a:cxnLst>
                <a:rect l="l" t="t" r="r" b="b"/>
                <a:pathLst>
                  <a:path w="42642" h="58969">
                    <a:moveTo>
                      <a:pt x="42643" y="57236"/>
                    </a:moveTo>
                    <a:lnTo>
                      <a:pt x="40191" y="58970"/>
                    </a:lnTo>
                    <a:lnTo>
                      <a:pt x="0" y="1734"/>
                    </a:lnTo>
                    <a:lnTo>
                      <a:pt x="2452" y="0"/>
                    </a:lnTo>
                    <a:close/>
                  </a:path>
                </a:pathLst>
              </a:custGeom>
              <a:grpFill/>
              <a:ln w="5978" cap="flat">
                <a:noFill/>
                <a:prstDash val="solid"/>
                <a:miter/>
              </a:ln>
            </p:spPr>
            <p:txBody>
              <a:bodyPr rtlCol="0" anchor="ctr"/>
              <a:lstStyle/>
              <a:p>
                <a:endParaRPr lang="en-GB"/>
              </a:p>
            </p:txBody>
          </p:sp>
          <p:sp>
            <p:nvSpPr>
              <p:cNvPr id="3711" name="Vrije vorm: vorm 3710">
                <a:extLst>
                  <a:ext uri="{FF2B5EF4-FFF2-40B4-BE49-F238E27FC236}">
                    <a16:creationId xmlns:a16="http://schemas.microsoft.com/office/drawing/2014/main" id="{B31E0816-7248-4A18-B468-5A7E4930773A}"/>
                  </a:ext>
                </a:extLst>
              </p:cNvPr>
              <p:cNvSpPr/>
              <p:nvPr/>
            </p:nvSpPr>
            <p:spPr>
              <a:xfrm>
                <a:off x="7100552" y="4909914"/>
                <a:ext cx="18399" cy="18479"/>
              </a:xfrm>
              <a:custGeom>
                <a:avLst/>
                <a:gdLst>
                  <a:gd name="connsiteX0" fmla="*/ 16705 w 18399"/>
                  <a:gd name="connsiteY0" fmla="*/ 3946 h 18479"/>
                  <a:gd name="connsiteX1" fmla="*/ 14493 w 18399"/>
                  <a:gd name="connsiteY1" fmla="*/ 16805 h 18479"/>
                  <a:gd name="connsiteX2" fmla="*/ 1694 w 18399"/>
                  <a:gd name="connsiteY2" fmla="*/ 14532 h 18479"/>
                  <a:gd name="connsiteX3" fmla="*/ 3907 w 18399"/>
                  <a:gd name="connsiteY3" fmla="*/ 1674 h 18479"/>
                  <a:gd name="connsiteX4" fmla="*/ 16705 w 18399"/>
                  <a:gd name="connsiteY4" fmla="*/ 3946 h 1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79">
                    <a:moveTo>
                      <a:pt x="16705" y="3946"/>
                    </a:moveTo>
                    <a:cubicBezTo>
                      <a:pt x="19636" y="8133"/>
                      <a:pt x="18680" y="13875"/>
                      <a:pt x="14493" y="16805"/>
                    </a:cubicBezTo>
                    <a:cubicBezTo>
                      <a:pt x="10366" y="19736"/>
                      <a:pt x="4625" y="18719"/>
                      <a:pt x="1694" y="14532"/>
                    </a:cubicBezTo>
                    <a:cubicBezTo>
                      <a:pt x="-1237" y="10346"/>
                      <a:pt x="-280" y="4605"/>
                      <a:pt x="3907" y="1674"/>
                    </a:cubicBezTo>
                    <a:cubicBezTo>
                      <a:pt x="8094" y="-1257"/>
                      <a:pt x="13775" y="-240"/>
                      <a:pt x="16705" y="3946"/>
                    </a:cubicBezTo>
                    <a:close/>
                  </a:path>
                </a:pathLst>
              </a:custGeom>
              <a:grpFill/>
              <a:ln w="5978" cap="flat">
                <a:noFill/>
                <a:prstDash val="solid"/>
                <a:miter/>
              </a:ln>
            </p:spPr>
            <p:txBody>
              <a:bodyPr rtlCol="0" anchor="ctr"/>
              <a:lstStyle/>
              <a:p>
                <a:endParaRPr lang="en-GB"/>
              </a:p>
            </p:txBody>
          </p:sp>
          <p:sp>
            <p:nvSpPr>
              <p:cNvPr id="3712" name="Vrije vorm: vorm 3711">
                <a:extLst>
                  <a:ext uri="{FF2B5EF4-FFF2-40B4-BE49-F238E27FC236}">
                    <a16:creationId xmlns:a16="http://schemas.microsoft.com/office/drawing/2014/main" id="{B51C7BC5-C52D-4465-B845-F5E68F59D596}"/>
                  </a:ext>
                </a:extLst>
              </p:cNvPr>
              <p:cNvSpPr/>
              <p:nvPr/>
            </p:nvSpPr>
            <p:spPr>
              <a:xfrm>
                <a:off x="7060943" y="4853422"/>
                <a:ext cx="18356" cy="18426"/>
              </a:xfrm>
              <a:custGeom>
                <a:avLst/>
                <a:gdLst>
                  <a:gd name="connsiteX0" fmla="*/ 16663 w 18356"/>
                  <a:gd name="connsiteY0" fmla="*/ 3921 h 18426"/>
                  <a:gd name="connsiteX1" fmla="*/ 3865 w 18356"/>
                  <a:gd name="connsiteY1" fmla="*/ 1648 h 18426"/>
                  <a:gd name="connsiteX2" fmla="*/ 1651 w 18356"/>
                  <a:gd name="connsiteY2" fmla="*/ 14506 h 18426"/>
                  <a:gd name="connsiteX3" fmla="*/ 14450 w 18356"/>
                  <a:gd name="connsiteY3" fmla="*/ 16779 h 18426"/>
                  <a:gd name="connsiteX4" fmla="*/ 16663 w 18356"/>
                  <a:gd name="connsiteY4" fmla="*/ 3921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6">
                    <a:moveTo>
                      <a:pt x="16663" y="3921"/>
                    </a:moveTo>
                    <a:cubicBezTo>
                      <a:pt x="13732" y="-266"/>
                      <a:pt x="7991" y="-1223"/>
                      <a:pt x="3865" y="1648"/>
                    </a:cubicBezTo>
                    <a:cubicBezTo>
                      <a:pt x="-262" y="4578"/>
                      <a:pt x="-1220" y="10320"/>
                      <a:pt x="1651" y="14506"/>
                    </a:cubicBezTo>
                    <a:cubicBezTo>
                      <a:pt x="4522" y="18693"/>
                      <a:pt x="10324" y="19650"/>
                      <a:pt x="14450" y="16779"/>
                    </a:cubicBezTo>
                    <a:cubicBezTo>
                      <a:pt x="18637" y="13848"/>
                      <a:pt x="19593" y="8107"/>
                      <a:pt x="16663" y="3921"/>
                    </a:cubicBezTo>
                    <a:close/>
                  </a:path>
                </a:pathLst>
              </a:custGeom>
              <a:grpFill/>
              <a:ln w="5978" cap="flat">
                <a:noFill/>
                <a:prstDash val="solid"/>
                <a:miter/>
              </a:ln>
            </p:spPr>
            <p:txBody>
              <a:bodyPr rtlCol="0" anchor="ctr"/>
              <a:lstStyle/>
              <a:p>
                <a:endParaRPr lang="en-GB"/>
              </a:p>
            </p:txBody>
          </p:sp>
        </p:grpSp>
        <p:grpSp>
          <p:nvGrpSpPr>
            <p:cNvPr id="560" name="Graphic 3">
              <a:extLst>
                <a:ext uri="{FF2B5EF4-FFF2-40B4-BE49-F238E27FC236}">
                  <a16:creationId xmlns:a16="http://schemas.microsoft.com/office/drawing/2014/main" id="{23E1800D-A112-41A6-8945-3CC3699A5B01}"/>
                </a:ext>
              </a:extLst>
            </p:cNvPr>
            <p:cNvGrpSpPr/>
            <p:nvPr/>
          </p:nvGrpSpPr>
          <p:grpSpPr>
            <a:xfrm>
              <a:off x="5957645" y="1532051"/>
              <a:ext cx="22807" cy="113594"/>
              <a:chOff x="5957645" y="1532051"/>
              <a:chExt cx="22807" cy="113594"/>
            </a:xfrm>
            <a:grpFill/>
          </p:grpSpPr>
          <p:sp>
            <p:nvSpPr>
              <p:cNvPr id="3707" name="Vrije vorm: vorm 3706">
                <a:extLst>
                  <a:ext uri="{FF2B5EF4-FFF2-40B4-BE49-F238E27FC236}">
                    <a16:creationId xmlns:a16="http://schemas.microsoft.com/office/drawing/2014/main" id="{35297B01-BBD4-4C28-8C08-E5D7B96D9506}"/>
                  </a:ext>
                </a:extLst>
              </p:cNvPr>
              <p:cNvSpPr/>
              <p:nvPr/>
            </p:nvSpPr>
            <p:spPr>
              <a:xfrm>
                <a:off x="5965311" y="1540794"/>
                <a:ext cx="7535" cy="96170"/>
              </a:xfrm>
              <a:custGeom>
                <a:avLst/>
                <a:gdLst>
                  <a:gd name="connsiteX0" fmla="*/ 2990 w 7535"/>
                  <a:gd name="connsiteY0" fmla="*/ 0 h 96170"/>
                  <a:gd name="connsiteX1" fmla="*/ 7536 w 7535"/>
                  <a:gd name="connsiteY1" fmla="*/ 96050 h 96170"/>
                  <a:gd name="connsiteX2" fmla="*/ 4486 w 7535"/>
                  <a:gd name="connsiteY2" fmla="*/ 96170 h 96170"/>
                  <a:gd name="connsiteX3" fmla="*/ 0 w 7535"/>
                  <a:gd name="connsiteY3" fmla="*/ 120 h 96170"/>
                </a:gdLst>
                <a:ahLst/>
                <a:cxnLst>
                  <a:cxn ang="0">
                    <a:pos x="connsiteX0" y="connsiteY0"/>
                  </a:cxn>
                  <a:cxn ang="0">
                    <a:pos x="connsiteX1" y="connsiteY1"/>
                  </a:cxn>
                  <a:cxn ang="0">
                    <a:pos x="connsiteX2" y="connsiteY2"/>
                  </a:cxn>
                  <a:cxn ang="0">
                    <a:pos x="connsiteX3" y="connsiteY3"/>
                  </a:cxn>
                </a:cxnLst>
                <a:rect l="l" t="t" r="r" b="b"/>
                <a:pathLst>
                  <a:path w="7535" h="96170">
                    <a:moveTo>
                      <a:pt x="2990" y="0"/>
                    </a:moveTo>
                    <a:lnTo>
                      <a:pt x="7536" y="96050"/>
                    </a:lnTo>
                    <a:lnTo>
                      <a:pt x="4486" y="96170"/>
                    </a:lnTo>
                    <a:lnTo>
                      <a:pt x="0" y="120"/>
                    </a:lnTo>
                    <a:close/>
                  </a:path>
                </a:pathLst>
              </a:custGeom>
              <a:grpFill/>
              <a:ln w="5978" cap="flat">
                <a:noFill/>
                <a:prstDash val="solid"/>
                <a:miter/>
              </a:ln>
            </p:spPr>
            <p:txBody>
              <a:bodyPr rtlCol="0" anchor="ctr"/>
              <a:lstStyle/>
              <a:p>
                <a:endParaRPr lang="en-GB"/>
              </a:p>
            </p:txBody>
          </p:sp>
          <p:sp>
            <p:nvSpPr>
              <p:cNvPr id="3708" name="Vrije vorm: vorm 3707">
                <a:extLst>
                  <a:ext uri="{FF2B5EF4-FFF2-40B4-BE49-F238E27FC236}">
                    <a16:creationId xmlns:a16="http://schemas.microsoft.com/office/drawing/2014/main" id="{412FD8C8-D484-4BA3-84F3-2C1DEA301EF9}"/>
                  </a:ext>
                </a:extLst>
              </p:cNvPr>
              <p:cNvSpPr/>
              <p:nvPr/>
            </p:nvSpPr>
            <p:spPr>
              <a:xfrm>
                <a:off x="5957645" y="1532051"/>
                <a:ext cx="18321" cy="18441"/>
              </a:xfrm>
              <a:custGeom>
                <a:avLst/>
                <a:gdLst>
                  <a:gd name="connsiteX0" fmla="*/ 10 w 18321"/>
                  <a:gd name="connsiteY0" fmla="*/ 9639 h 18441"/>
                  <a:gd name="connsiteX1" fmla="*/ 8742 w 18321"/>
                  <a:gd name="connsiteY1" fmla="*/ 10 h 18441"/>
                  <a:gd name="connsiteX2" fmla="*/ 18311 w 18321"/>
                  <a:gd name="connsiteY2" fmla="*/ 8802 h 18441"/>
                  <a:gd name="connsiteX3" fmla="*/ 9579 w 18321"/>
                  <a:gd name="connsiteY3" fmla="*/ 18431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29" y="4556"/>
                      <a:pt x="3659" y="250"/>
                      <a:pt x="8742" y="10"/>
                    </a:cubicBezTo>
                    <a:cubicBezTo>
                      <a:pt x="13826" y="-229"/>
                      <a:pt x="18072" y="3718"/>
                      <a:pt x="18311" y="8802"/>
                    </a:cubicBezTo>
                    <a:cubicBezTo>
                      <a:pt x="18551" y="13886"/>
                      <a:pt x="14663" y="18192"/>
                      <a:pt x="9579" y="18431"/>
                    </a:cubicBezTo>
                    <a:cubicBezTo>
                      <a:pt x="4556" y="18670"/>
                      <a:pt x="250" y="14723"/>
                      <a:pt x="10" y="9639"/>
                    </a:cubicBezTo>
                    <a:close/>
                  </a:path>
                </a:pathLst>
              </a:custGeom>
              <a:grpFill/>
              <a:ln w="5978" cap="flat">
                <a:noFill/>
                <a:prstDash val="solid"/>
                <a:miter/>
              </a:ln>
            </p:spPr>
            <p:txBody>
              <a:bodyPr rtlCol="0" anchor="ctr"/>
              <a:lstStyle/>
              <a:p>
                <a:endParaRPr lang="en-GB"/>
              </a:p>
            </p:txBody>
          </p:sp>
          <p:sp>
            <p:nvSpPr>
              <p:cNvPr id="3709" name="Vrije vorm: vorm 3708">
                <a:extLst>
                  <a:ext uri="{FF2B5EF4-FFF2-40B4-BE49-F238E27FC236}">
                    <a16:creationId xmlns:a16="http://schemas.microsoft.com/office/drawing/2014/main" id="{6C7B297B-4088-49AF-A98E-1EE057C48C98}"/>
                  </a:ext>
                </a:extLst>
              </p:cNvPr>
              <p:cNvSpPr/>
              <p:nvPr/>
            </p:nvSpPr>
            <p:spPr>
              <a:xfrm>
                <a:off x="5962131" y="1627205"/>
                <a:ext cx="18321" cy="18441"/>
              </a:xfrm>
              <a:custGeom>
                <a:avLst/>
                <a:gdLst>
                  <a:gd name="connsiteX0" fmla="*/ 10 w 18321"/>
                  <a:gd name="connsiteY0" fmla="*/ 9639 h 18441"/>
                  <a:gd name="connsiteX1" fmla="*/ 9579 w 18321"/>
                  <a:gd name="connsiteY1" fmla="*/ 18431 h 18441"/>
                  <a:gd name="connsiteX2" fmla="*/ 18311 w 18321"/>
                  <a:gd name="connsiteY2" fmla="*/ 8802 h 18441"/>
                  <a:gd name="connsiteX3" fmla="*/ 8742 w 18321"/>
                  <a:gd name="connsiteY3" fmla="*/ 10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49" y="14723"/>
                      <a:pt x="4556" y="18670"/>
                      <a:pt x="9579" y="18431"/>
                    </a:cubicBezTo>
                    <a:cubicBezTo>
                      <a:pt x="14663" y="18192"/>
                      <a:pt x="18550" y="13886"/>
                      <a:pt x="18311" y="8802"/>
                    </a:cubicBezTo>
                    <a:cubicBezTo>
                      <a:pt x="18072" y="3718"/>
                      <a:pt x="13766" y="-229"/>
                      <a:pt x="8742" y="10"/>
                    </a:cubicBezTo>
                    <a:cubicBezTo>
                      <a:pt x="3718" y="250"/>
                      <a:pt x="-229" y="4556"/>
                      <a:pt x="10" y="9639"/>
                    </a:cubicBezTo>
                    <a:close/>
                  </a:path>
                </a:pathLst>
              </a:custGeom>
              <a:grpFill/>
              <a:ln w="5978" cap="flat">
                <a:noFill/>
                <a:prstDash val="solid"/>
                <a:miter/>
              </a:ln>
            </p:spPr>
            <p:txBody>
              <a:bodyPr rtlCol="0" anchor="ctr"/>
              <a:lstStyle/>
              <a:p>
                <a:endParaRPr lang="en-GB"/>
              </a:p>
            </p:txBody>
          </p:sp>
        </p:grpSp>
        <p:grpSp>
          <p:nvGrpSpPr>
            <p:cNvPr id="561" name="Graphic 3">
              <a:extLst>
                <a:ext uri="{FF2B5EF4-FFF2-40B4-BE49-F238E27FC236}">
                  <a16:creationId xmlns:a16="http://schemas.microsoft.com/office/drawing/2014/main" id="{DEA32474-A5B7-4FE7-AFD5-601420B0ED6B}"/>
                </a:ext>
              </a:extLst>
            </p:cNvPr>
            <p:cNvGrpSpPr/>
            <p:nvPr/>
          </p:nvGrpSpPr>
          <p:grpSpPr>
            <a:xfrm>
              <a:off x="5914631" y="1407766"/>
              <a:ext cx="26833" cy="148414"/>
              <a:chOff x="5914631" y="1407766"/>
              <a:chExt cx="26833" cy="148414"/>
            </a:xfrm>
            <a:grpFill/>
          </p:grpSpPr>
          <p:sp>
            <p:nvSpPr>
              <p:cNvPr id="3704" name="Vrije vorm: vorm 3703">
                <a:extLst>
                  <a:ext uri="{FF2B5EF4-FFF2-40B4-BE49-F238E27FC236}">
                    <a16:creationId xmlns:a16="http://schemas.microsoft.com/office/drawing/2014/main" id="{D24D4986-796E-478A-9BF5-B73CB60E0CF7}"/>
                  </a:ext>
                </a:extLst>
              </p:cNvPr>
              <p:cNvSpPr/>
              <p:nvPr/>
            </p:nvSpPr>
            <p:spPr>
              <a:xfrm>
                <a:off x="5922250" y="1416395"/>
                <a:ext cx="11602" cy="131097"/>
              </a:xfrm>
              <a:custGeom>
                <a:avLst/>
                <a:gdLst>
                  <a:gd name="connsiteX0" fmla="*/ 2990 w 11602"/>
                  <a:gd name="connsiteY0" fmla="*/ 0 h 131097"/>
                  <a:gd name="connsiteX1" fmla="*/ 11603 w 11602"/>
                  <a:gd name="connsiteY1" fmla="*/ 130918 h 131097"/>
                  <a:gd name="connsiteX2" fmla="*/ 8552 w 11602"/>
                  <a:gd name="connsiteY2" fmla="*/ 131097 h 131097"/>
                  <a:gd name="connsiteX3" fmla="*/ 0 w 11602"/>
                  <a:gd name="connsiteY3" fmla="*/ 179 h 131097"/>
                </a:gdLst>
                <a:ahLst/>
                <a:cxnLst>
                  <a:cxn ang="0">
                    <a:pos x="connsiteX0" y="connsiteY0"/>
                  </a:cxn>
                  <a:cxn ang="0">
                    <a:pos x="connsiteX1" y="connsiteY1"/>
                  </a:cxn>
                  <a:cxn ang="0">
                    <a:pos x="connsiteX2" y="connsiteY2"/>
                  </a:cxn>
                  <a:cxn ang="0">
                    <a:pos x="connsiteX3" y="connsiteY3"/>
                  </a:cxn>
                </a:cxnLst>
                <a:rect l="l" t="t" r="r" b="b"/>
                <a:pathLst>
                  <a:path w="11602" h="131097">
                    <a:moveTo>
                      <a:pt x="2990" y="0"/>
                    </a:moveTo>
                    <a:lnTo>
                      <a:pt x="11603" y="130918"/>
                    </a:lnTo>
                    <a:lnTo>
                      <a:pt x="8552" y="131097"/>
                    </a:lnTo>
                    <a:lnTo>
                      <a:pt x="0" y="179"/>
                    </a:lnTo>
                    <a:close/>
                  </a:path>
                </a:pathLst>
              </a:custGeom>
              <a:grpFill/>
              <a:ln w="5978" cap="flat">
                <a:noFill/>
                <a:prstDash val="solid"/>
                <a:miter/>
              </a:ln>
            </p:spPr>
            <p:txBody>
              <a:bodyPr rtlCol="0" anchor="ctr"/>
              <a:lstStyle/>
              <a:p>
                <a:endParaRPr lang="en-GB"/>
              </a:p>
            </p:txBody>
          </p:sp>
          <p:sp>
            <p:nvSpPr>
              <p:cNvPr id="3705" name="Vrije vorm: vorm 3704">
                <a:extLst>
                  <a:ext uri="{FF2B5EF4-FFF2-40B4-BE49-F238E27FC236}">
                    <a16:creationId xmlns:a16="http://schemas.microsoft.com/office/drawing/2014/main" id="{86F4296E-DF9D-418F-B299-54B477B1E122}"/>
                  </a:ext>
                </a:extLst>
              </p:cNvPr>
              <p:cNvSpPr/>
              <p:nvPr/>
            </p:nvSpPr>
            <p:spPr>
              <a:xfrm>
                <a:off x="5914631" y="1407766"/>
                <a:ext cx="18347" cy="18393"/>
              </a:xfrm>
              <a:custGeom>
                <a:avLst/>
                <a:gdLst>
                  <a:gd name="connsiteX0" fmla="*/ 23 w 18347"/>
                  <a:gd name="connsiteY0" fmla="*/ 9765 h 18393"/>
                  <a:gd name="connsiteX1" fmla="*/ 8576 w 18347"/>
                  <a:gd name="connsiteY1" fmla="*/ 16 h 18393"/>
                  <a:gd name="connsiteX2" fmla="*/ 18324 w 18347"/>
                  <a:gd name="connsiteY2" fmla="*/ 8629 h 18393"/>
                  <a:gd name="connsiteX3" fmla="*/ 9772 w 18347"/>
                  <a:gd name="connsiteY3" fmla="*/ 18377 h 18393"/>
                  <a:gd name="connsiteX4" fmla="*/ 23 w 18347"/>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393">
                    <a:moveTo>
                      <a:pt x="23" y="9765"/>
                    </a:moveTo>
                    <a:cubicBezTo>
                      <a:pt x="-336" y="4681"/>
                      <a:pt x="3492" y="315"/>
                      <a:pt x="8576" y="16"/>
                    </a:cubicBezTo>
                    <a:cubicBezTo>
                      <a:pt x="13600" y="-283"/>
                      <a:pt x="17965" y="3545"/>
                      <a:pt x="18324" y="8629"/>
                    </a:cubicBezTo>
                    <a:cubicBezTo>
                      <a:pt x="18683" y="13712"/>
                      <a:pt x="14855" y="18078"/>
                      <a:pt x="9772" y="18377"/>
                    </a:cubicBezTo>
                    <a:cubicBezTo>
                      <a:pt x="4688" y="18676"/>
                      <a:pt x="322" y="14849"/>
                      <a:pt x="23" y="9765"/>
                    </a:cubicBezTo>
                    <a:close/>
                  </a:path>
                </a:pathLst>
              </a:custGeom>
              <a:grpFill/>
              <a:ln w="5978" cap="flat">
                <a:noFill/>
                <a:prstDash val="solid"/>
                <a:miter/>
              </a:ln>
            </p:spPr>
            <p:txBody>
              <a:bodyPr rtlCol="0" anchor="ctr"/>
              <a:lstStyle/>
              <a:p>
                <a:endParaRPr lang="en-GB"/>
              </a:p>
            </p:txBody>
          </p:sp>
          <p:sp>
            <p:nvSpPr>
              <p:cNvPr id="3706" name="Vrije vorm: vorm 3705">
                <a:extLst>
                  <a:ext uri="{FF2B5EF4-FFF2-40B4-BE49-F238E27FC236}">
                    <a16:creationId xmlns:a16="http://schemas.microsoft.com/office/drawing/2014/main" id="{AB0C8E44-7FE7-4A28-81CD-AA3FFF802C34}"/>
                  </a:ext>
                </a:extLst>
              </p:cNvPr>
              <p:cNvSpPr/>
              <p:nvPr/>
            </p:nvSpPr>
            <p:spPr>
              <a:xfrm>
                <a:off x="5923131" y="1537787"/>
                <a:ext cx="18333" cy="18393"/>
              </a:xfrm>
              <a:custGeom>
                <a:avLst/>
                <a:gdLst>
                  <a:gd name="connsiteX0" fmla="*/ 16 w 18333"/>
                  <a:gd name="connsiteY0" fmla="*/ 9765 h 18393"/>
                  <a:gd name="connsiteX1" fmla="*/ 9765 w 18333"/>
                  <a:gd name="connsiteY1" fmla="*/ 18377 h 18393"/>
                  <a:gd name="connsiteX2" fmla="*/ 18317 w 18333"/>
                  <a:gd name="connsiteY2" fmla="*/ 8629 h 18393"/>
                  <a:gd name="connsiteX3" fmla="*/ 8569 w 18333"/>
                  <a:gd name="connsiteY3" fmla="*/ 16 h 18393"/>
                  <a:gd name="connsiteX4" fmla="*/ 16 w 18333"/>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6" y="9765"/>
                    </a:moveTo>
                    <a:cubicBezTo>
                      <a:pt x="375" y="14849"/>
                      <a:pt x="4741" y="18676"/>
                      <a:pt x="9765" y="18377"/>
                    </a:cubicBezTo>
                    <a:cubicBezTo>
                      <a:pt x="14789" y="18078"/>
                      <a:pt x="18617" y="13712"/>
                      <a:pt x="18317" y="8629"/>
                    </a:cubicBezTo>
                    <a:cubicBezTo>
                      <a:pt x="17959" y="3545"/>
                      <a:pt x="13593" y="-283"/>
                      <a:pt x="8569" y="16"/>
                    </a:cubicBezTo>
                    <a:cubicBezTo>
                      <a:pt x="3545" y="315"/>
                      <a:pt x="-283" y="4681"/>
                      <a:pt x="16" y="9765"/>
                    </a:cubicBezTo>
                    <a:close/>
                  </a:path>
                </a:pathLst>
              </a:custGeom>
              <a:grpFill/>
              <a:ln w="5978" cap="flat">
                <a:noFill/>
                <a:prstDash val="solid"/>
                <a:miter/>
              </a:ln>
            </p:spPr>
            <p:txBody>
              <a:bodyPr rtlCol="0" anchor="ctr"/>
              <a:lstStyle/>
              <a:p>
                <a:endParaRPr lang="en-GB"/>
              </a:p>
            </p:txBody>
          </p:sp>
        </p:grpSp>
        <p:grpSp>
          <p:nvGrpSpPr>
            <p:cNvPr id="562" name="Graphic 3">
              <a:extLst>
                <a:ext uri="{FF2B5EF4-FFF2-40B4-BE49-F238E27FC236}">
                  <a16:creationId xmlns:a16="http://schemas.microsoft.com/office/drawing/2014/main" id="{28778F56-EDA3-4CCB-8ED6-35A8831782DA}"/>
                </a:ext>
              </a:extLst>
            </p:cNvPr>
            <p:cNvGrpSpPr/>
            <p:nvPr/>
          </p:nvGrpSpPr>
          <p:grpSpPr>
            <a:xfrm>
              <a:off x="5995750" y="1646171"/>
              <a:ext cx="20638" cy="98746"/>
              <a:chOff x="5995750" y="1646171"/>
              <a:chExt cx="20638" cy="98746"/>
            </a:xfrm>
            <a:grpFill/>
          </p:grpSpPr>
          <p:sp>
            <p:nvSpPr>
              <p:cNvPr id="3701" name="Vrije vorm: vorm 3700">
                <a:extLst>
                  <a:ext uri="{FF2B5EF4-FFF2-40B4-BE49-F238E27FC236}">
                    <a16:creationId xmlns:a16="http://schemas.microsoft.com/office/drawing/2014/main" id="{5C87CD9A-8578-48B6-9604-DECC9124BA7E}"/>
                  </a:ext>
                </a:extLst>
              </p:cNvPr>
              <p:cNvSpPr/>
              <p:nvPr/>
            </p:nvSpPr>
            <p:spPr>
              <a:xfrm>
                <a:off x="6003409" y="1654906"/>
                <a:ext cx="5322" cy="81337"/>
              </a:xfrm>
              <a:custGeom>
                <a:avLst/>
                <a:gdLst>
                  <a:gd name="connsiteX0" fmla="*/ 2990 w 5322"/>
                  <a:gd name="connsiteY0" fmla="*/ 0 h 81337"/>
                  <a:gd name="connsiteX1" fmla="*/ 5323 w 5322"/>
                  <a:gd name="connsiteY1" fmla="*/ 81278 h 81337"/>
                  <a:gd name="connsiteX2" fmla="*/ 2272 w 5322"/>
                  <a:gd name="connsiteY2" fmla="*/ 81338 h 81337"/>
                  <a:gd name="connsiteX3" fmla="*/ 0 w 5322"/>
                  <a:gd name="connsiteY3" fmla="*/ 60 h 81337"/>
                </a:gdLst>
                <a:ahLst/>
                <a:cxnLst>
                  <a:cxn ang="0">
                    <a:pos x="connsiteX0" y="connsiteY0"/>
                  </a:cxn>
                  <a:cxn ang="0">
                    <a:pos x="connsiteX1" y="connsiteY1"/>
                  </a:cxn>
                  <a:cxn ang="0">
                    <a:pos x="connsiteX2" y="connsiteY2"/>
                  </a:cxn>
                  <a:cxn ang="0">
                    <a:pos x="connsiteX3" y="connsiteY3"/>
                  </a:cxn>
                </a:cxnLst>
                <a:rect l="l" t="t" r="r" b="b"/>
                <a:pathLst>
                  <a:path w="5322" h="81337">
                    <a:moveTo>
                      <a:pt x="2990" y="0"/>
                    </a:moveTo>
                    <a:lnTo>
                      <a:pt x="5323" y="81278"/>
                    </a:lnTo>
                    <a:lnTo>
                      <a:pt x="2272" y="81338"/>
                    </a:lnTo>
                    <a:lnTo>
                      <a:pt x="0" y="60"/>
                    </a:lnTo>
                    <a:close/>
                  </a:path>
                </a:pathLst>
              </a:custGeom>
              <a:grpFill/>
              <a:ln w="5978" cap="flat">
                <a:noFill/>
                <a:prstDash val="solid"/>
                <a:miter/>
              </a:ln>
            </p:spPr>
            <p:txBody>
              <a:bodyPr rtlCol="0" anchor="ctr"/>
              <a:lstStyle/>
              <a:p>
                <a:endParaRPr lang="en-GB"/>
              </a:p>
            </p:txBody>
          </p:sp>
          <p:sp>
            <p:nvSpPr>
              <p:cNvPr id="3702" name="Vrije vorm: vorm 3701">
                <a:extLst>
                  <a:ext uri="{FF2B5EF4-FFF2-40B4-BE49-F238E27FC236}">
                    <a16:creationId xmlns:a16="http://schemas.microsoft.com/office/drawing/2014/main" id="{F3876676-EB9C-4943-9884-75859A42AD97}"/>
                  </a:ext>
                </a:extLst>
              </p:cNvPr>
              <p:cNvSpPr/>
              <p:nvPr/>
            </p:nvSpPr>
            <p:spPr>
              <a:xfrm>
                <a:off x="5995750" y="1646171"/>
                <a:ext cx="18366" cy="18425"/>
              </a:xfrm>
              <a:custGeom>
                <a:avLst/>
                <a:gdLst>
                  <a:gd name="connsiteX0" fmla="*/ 3 w 18366"/>
                  <a:gd name="connsiteY0" fmla="*/ 9452 h 18425"/>
                  <a:gd name="connsiteX1" fmla="*/ 8914 w 18366"/>
                  <a:gd name="connsiteY1" fmla="*/ 3 h 18425"/>
                  <a:gd name="connsiteX2" fmla="*/ 18364 w 18366"/>
                  <a:gd name="connsiteY2" fmla="*/ 8974 h 18425"/>
                  <a:gd name="connsiteX3" fmla="*/ 9452 w 18366"/>
                  <a:gd name="connsiteY3" fmla="*/ 1842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17" y="4369"/>
                      <a:pt x="3830" y="122"/>
                      <a:pt x="8914" y="3"/>
                    </a:cubicBezTo>
                    <a:cubicBezTo>
                      <a:pt x="13998" y="-117"/>
                      <a:pt x="18184" y="3890"/>
                      <a:pt x="18364" y="8974"/>
                    </a:cubicBezTo>
                    <a:cubicBezTo>
                      <a:pt x="18483" y="14057"/>
                      <a:pt x="14536" y="18304"/>
                      <a:pt x="9452" y="18423"/>
                    </a:cubicBezTo>
                    <a:cubicBezTo>
                      <a:pt x="4368" y="18543"/>
                      <a:pt x="182" y="14536"/>
                      <a:pt x="3" y="9452"/>
                    </a:cubicBezTo>
                    <a:close/>
                  </a:path>
                </a:pathLst>
              </a:custGeom>
              <a:grpFill/>
              <a:ln w="5978" cap="flat">
                <a:noFill/>
                <a:prstDash val="solid"/>
                <a:miter/>
              </a:ln>
            </p:spPr>
            <p:txBody>
              <a:bodyPr rtlCol="0" anchor="ctr"/>
              <a:lstStyle/>
              <a:p>
                <a:endParaRPr lang="en-GB"/>
              </a:p>
            </p:txBody>
          </p:sp>
          <p:sp>
            <p:nvSpPr>
              <p:cNvPr id="3703" name="Vrije vorm: vorm 3702">
                <a:extLst>
                  <a:ext uri="{FF2B5EF4-FFF2-40B4-BE49-F238E27FC236}">
                    <a16:creationId xmlns:a16="http://schemas.microsoft.com/office/drawing/2014/main" id="{116802D1-9044-45FE-8758-75EC5551F60F}"/>
                  </a:ext>
                </a:extLst>
              </p:cNvPr>
              <p:cNvSpPr/>
              <p:nvPr/>
            </p:nvSpPr>
            <p:spPr>
              <a:xfrm>
                <a:off x="5998023" y="1726492"/>
                <a:ext cx="18366" cy="18425"/>
              </a:xfrm>
              <a:custGeom>
                <a:avLst/>
                <a:gdLst>
                  <a:gd name="connsiteX0" fmla="*/ 3 w 18366"/>
                  <a:gd name="connsiteY0" fmla="*/ 9452 h 18425"/>
                  <a:gd name="connsiteX1" fmla="*/ 9452 w 18366"/>
                  <a:gd name="connsiteY1" fmla="*/ 18423 h 18425"/>
                  <a:gd name="connsiteX2" fmla="*/ 18363 w 18366"/>
                  <a:gd name="connsiteY2" fmla="*/ 8974 h 18425"/>
                  <a:gd name="connsiteX3" fmla="*/ 8914 w 18366"/>
                  <a:gd name="connsiteY3" fmla="*/ 3 h 18425"/>
                  <a:gd name="connsiteX4" fmla="*/ 3 w 18366"/>
                  <a:gd name="connsiteY4" fmla="*/ 945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3" y="9452"/>
                    </a:moveTo>
                    <a:cubicBezTo>
                      <a:pt x="122" y="14536"/>
                      <a:pt x="4368" y="18543"/>
                      <a:pt x="9452" y="18423"/>
                    </a:cubicBezTo>
                    <a:cubicBezTo>
                      <a:pt x="14536" y="18304"/>
                      <a:pt x="18483" y="14057"/>
                      <a:pt x="18363" y="8974"/>
                    </a:cubicBezTo>
                    <a:cubicBezTo>
                      <a:pt x="18244" y="3890"/>
                      <a:pt x="13998" y="-117"/>
                      <a:pt x="8914" y="3"/>
                    </a:cubicBezTo>
                    <a:cubicBezTo>
                      <a:pt x="3890" y="182"/>
                      <a:pt x="-117" y="4369"/>
                      <a:pt x="3" y="9452"/>
                    </a:cubicBezTo>
                    <a:close/>
                  </a:path>
                </a:pathLst>
              </a:custGeom>
              <a:grpFill/>
              <a:ln w="5978" cap="flat">
                <a:noFill/>
                <a:prstDash val="solid"/>
                <a:miter/>
              </a:ln>
            </p:spPr>
            <p:txBody>
              <a:bodyPr rtlCol="0" anchor="ctr"/>
              <a:lstStyle/>
              <a:p>
                <a:endParaRPr lang="en-GB"/>
              </a:p>
            </p:txBody>
          </p:sp>
        </p:grpSp>
        <p:grpSp>
          <p:nvGrpSpPr>
            <p:cNvPr id="563" name="Graphic 3">
              <a:extLst>
                <a:ext uri="{FF2B5EF4-FFF2-40B4-BE49-F238E27FC236}">
                  <a16:creationId xmlns:a16="http://schemas.microsoft.com/office/drawing/2014/main" id="{04F929A9-8EA7-49E3-9E64-F83D8D016F71}"/>
                </a:ext>
              </a:extLst>
            </p:cNvPr>
            <p:cNvGrpSpPr/>
            <p:nvPr/>
          </p:nvGrpSpPr>
          <p:grpSpPr>
            <a:xfrm>
              <a:off x="7021231" y="4796845"/>
              <a:ext cx="47483" cy="59959"/>
              <a:chOff x="7021231" y="4796845"/>
              <a:chExt cx="47483" cy="59959"/>
            </a:xfrm>
            <a:grpFill/>
          </p:grpSpPr>
          <p:sp>
            <p:nvSpPr>
              <p:cNvPr id="3698" name="Vrije vorm: vorm 3697">
                <a:extLst>
                  <a:ext uri="{FF2B5EF4-FFF2-40B4-BE49-F238E27FC236}">
                    <a16:creationId xmlns:a16="http://schemas.microsoft.com/office/drawing/2014/main" id="{1FA171B3-F58A-47AC-8130-5AC541E720EC}"/>
                  </a:ext>
                </a:extLst>
              </p:cNvPr>
              <p:cNvSpPr/>
              <p:nvPr/>
            </p:nvSpPr>
            <p:spPr>
              <a:xfrm>
                <a:off x="7028863" y="4804772"/>
                <a:ext cx="32176" cy="44018"/>
              </a:xfrm>
              <a:custGeom>
                <a:avLst/>
                <a:gdLst>
                  <a:gd name="connsiteX0" fmla="*/ 32176 w 32176"/>
                  <a:gd name="connsiteY0" fmla="*/ 42284 h 44018"/>
                  <a:gd name="connsiteX1" fmla="*/ 29724 w 32176"/>
                  <a:gd name="connsiteY1" fmla="*/ 44018 h 44018"/>
                  <a:gd name="connsiteX2" fmla="*/ 0 w 32176"/>
                  <a:gd name="connsiteY2" fmla="*/ 1795 h 44018"/>
                  <a:gd name="connsiteX3" fmla="*/ 2511 w 32176"/>
                  <a:gd name="connsiteY3" fmla="*/ 0 h 44018"/>
                </a:gdLst>
                <a:ahLst/>
                <a:cxnLst>
                  <a:cxn ang="0">
                    <a:pos x="connsiteX0" y="connsiteY0"/>
                  </a:cxn>
                  <a:cxn ang="0">
                    <a:pos x="connsiteX1" y="connsiteY1"/>
                  </a:cxn>
                  <a:cxn ang="0">
                    <a:pos x="connsiteX2" y="connsiteY2"/>
                  </a:cxn>
                  <a:cxn ang="0">
                    <a:pos x="connsiteX3" y="connsiteY3"/>
                  </a:cxn>
                </a:cxnLst>
                <a:rect l="l" t="t" r="r" b="b"/>
                <a:pathLst>
                  <a:path w="32176" h="44018">
                    <a:moveTo>
                      <a:pt x="32176" y="42284"/>
                    </a:moveTo>
                    <a:lnTo>
                      <a:pt x="29724" y="44018"/>
                    </a:lnTo>
                    <a:lnTo>
                      <a:pt x="0" y="1795"/>
                    </a:lnTo>
                    <a:lnTo>
                      <a:pt x="2511" y="0"/>
                    </a:lnTo>
                    <a:close/>
                  </a:path>
                </a:pathLst>
              </a:custGeom>
              <a:grpFill/>
              <a:ln w="5978" cap="flat">
                <a:noFill/>
                <a:prstDash val="solid"/>
                <a:miter/>
              </a:ln>
            </p:spPr>
            <p:txBody>
              <a:bodyPr rtlCol="0" anchor="ctr"/>
              <a:lstStyle/>
              <a:p>
                <a:endParaRPr lang="en-GB"/>
              </a:p>
            </p:txBody>
          </p:sp>
          <p:sp>
            <p:nvSpPr>
              <p:cNvPr id="3699" name="Vrije vorm: vorm 3698">
                <a:extLst>
                  <a:ext uri="{FF2B5EF4-FFF2-40B4-BE49-F238E27FC236}">
                    <a16:creationId xmlns:a16="http://schemas.microsoft.com/office/drawing/2014/main" id="{B33E4C3B-88D2-4281-A601-8EBF45AB8D70}"/>
                  </a:ext>
                </a:extLst>
              </p:cNvPr>
              <p:cNvSpPr/>
              <p:nvPr/>
            </p:nvSpPr>
            <p:spPr>
              <a:xfrm>
                <a:off x="7050315" y="4838351"/>
                <a:ext cx="18399" cy="18452"/>
              </a:xfrm>
              <a:custGeom>
                <a:avLst/>
                <a:gdLst>
                  <a:gd name="connsiteX0" fmla="*/ 16706 w 18399"/>
                  <a:gd name="connsiteY0" fmla="*/ 3920 h 18452"/>
                  <a:gd name="connsiteX1" fmla="*/ 14493 w 18399"/>
                  <a:gd name="connsiteY1" fmla="*/ 16779 h 18452"/>
                  <a:gd name="connsiteX2" fmla="*/ 1694 w 18399"/>
                  <a:gd name="connsiteY2" fmla="*/ 14506 h 18452"/>
                  <a:gd name="connsiteX3" fmla="*/ 3907 w 18399"/>
                  <a:gd name="connsiteY3" fmla="*/ 1648 h 18452"/>
                  <a:gd name="connsiteX4" fmla="*/ 16706 w 18399"/>
                  <a:gd name="connsiteY4" fmla="*/ 3920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52">
                    <a:moveTo>
                      <a:pt x="16706" y="3920"/>
                    </a:moveTo>
                    <a:cubicBezTo>
                      <a:pt x="19636" y="8107"/>
                      <a:pt x="18679" y="13848"/>
                      <a:pt x="14493" y="16779"/>
                    </a:cubicBezTo>
                    <a:cubicBezTo>
                      <a:pt x="10366" y="19710"/>
                      <a:pt x="4625" y="18693"/>
                      <a:pt x="1694" y="14506"/>
                    </a:cubicBezTo>
                    <a:cubicBezTo>
                      <a:pt x="-1236" y="10320"/>
                      <a:pt x="-280" y="4578"/>
                      <a:pt x="3907" y="1648"/>
                    </a:cubicBezTo>
                    <a:cubicBezTo>
                      <a:pt x="8033" y="-1223"/>
                      <a:pt x="13774" y="-266"/>
                      <a:pt x="16706" y="3920"/>
                    </a:cubicBezTo>
                    <a:close/>
                  </a:path>
                </a:pathLst>
              </a:custGeom>
              <a:grpFill/>
              <a:ln w="5978" cap="flat">
                <a:noFill/>
                <a:prstDash val="solid"/>
                <a:miter/>
              </a:ln>
            </p:spPr>
            <p:txBody>
              <a:bodyPr rtlCol="0" anchor="ctr"/>
              <a:lstStyle/>
              <a:p>
                <a:endParaRPr lang="en-GB"/>
              </a:p>
            </p:txBody>
          </p:sp>
          <p:sp>
            <p:nvSpPr>
              <p:cNvPr id="3700" name="Vrije vorm: vorm 3699">
                <a:extLst>
                  <a:ext uri="{FF2B5EF4-FFF2-40B4-BE49-F238E27FC236}">
                    <a16:creationId xmlns:a16="http://schemas.microsoft.com/office/drawing/2014/main" id="{5715CFF8-45C3-4416-A802-E11E3EA3EF8B}"/>
                  </a:ext>
                </a:extLst>
              </p:cNvPr>
              <p:cNvSpPr/>
              <p:nvPr/>
            </p:nvSpPr>
            <p:spPr>
              <a:xfrm>
                <a:off x="7021231" y="4796845"/>
                <a:ext cx="18314" cy="18426"/>
              </a:xfrm>
              <a:custGeom>
                <a:avLst/>
                <a:gdLst>
                  <a:gd name="connsiteX0" fmla="*/ 16663 w 18314"/>
                  <a:gd name="connsiteY0" fmla="*/ 3920 h 18426"/>
                  <a:gd name="connsiteX1" fmla="*/ 3865 w 18314"/>
                  <a:gd name="connsiteY1" fmla="*/ 1648 h 18426"/>
                  <a:gd name="connsiteX2" fmla="*/ 1652 w 18314"/>
                  <a:gd name="connsiteY2" fmla="*/ 14506 h 18426"/>
                  <a:gd name="connsiteX3" fmla="*/ 14450 w 18314"/>
                  <a:gd name="connsiteY3" fmla="*/ 16779 h 18426"/>
                  <a:gd name="connsiteX4" fmla="*/ 16663 w 18314"/>
                  <a:gd name="connsiteY4" fmla="*/ 392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26">
                    <a:moveTo>
                      <a:pt x="16663" y="3920"/>
                    </a:moveTo>
                    <a:cubicBezTo>
                      <a:pt x="13732" y="-266"/>
                      <a:pt x="7991" y="-1223"/>
                      <a:pt x="3865" y="1648"/>
                    </a:cubicBezTo>
                    <a:cubicBezTo>
                      <a:pt x="-263" y="4578"/>
                      <a:pt x="-1220" y="10320"/>
                      <a:pt x="1652" y="14506"/>
                    </a:cubicBezTo>
                    <a:cubicBezTo>
                      <a:pt x="4582" y="18693"/>
                      <a:pt x="10323" y="19650"/>
                      <a:pt x="14450" y="16779"/>
                    </a:cubicBezTo>
                    <a:cubicBezTo>
                      <a:pt x="18577" y="13848"/>
                      <a:pt x="19534" y="8047"/>
                      <a:pt x="16663" y="3920"/>
                    </a:cubicBezTo>
                    <a:close/>
                  </a:path>
                </a:pathLst>
              </a:custGeom>
              <a:grpFill/>
              <a:ln w="5978" cap="flat">
                <a:noFill/>
                <a:prstDash val="solid"/>
                <a:miter/>
              </a:ln>
            </p:spPr>
            <p:txBody>
              <a:bodyPr rtlCol="0" anchor="ctr"/>
              <a:lstStyle/>
              <a:p>
                <a:endParaRPr lang="en-GB"/>
              </a:p>
            </p:txBody>
          </p:sp>
        </p:grpSp>
        <p:grpSp>
          <p:nvGrpSpPr>
            <p:cNvPr id="564" name="Graphic 3">
              <a:extLst>
                <a:ext uri="{FF2B5EF4-FFF2-40B4-BE49-F238E27FC236}">
                  <a16:creationId xmlns:a16="http://schemas.microsoft.com/office/drawing/2014/main" id="{563937BC-30CE-4C0C-ABBA-3FBCBB41C911}"/>
                </a:ext>
              </a:extLst>
            </p:cNvPr>
            <p:cNvGrpSpPr/>
            <p:nvPr/>
          </p:nvGrpSpPr>
          <p:grpSpPr>
            <a:xfrm>
              <a:off x="7050220" y="4896033"/>
              <a:ext cx="69105" cy="93634"/>
              <a:chOff x="7050220" y="4896033"/>
              <a:chExt cx="69105" cy="93634"/>
            </a:xfrm>
            <a:grpFill/>
          </p:grpSpPr>
          <p:sp>
            <p:nvSpPr>
              <p:cNvPr id="3695" name="Vrije vorm: vorm 3694">
                <a:extLst>
                  <a:ext uri="{FF2B5EF4-FFF2-40B4-BE49-F238E27FC236}">
                    <a16:creationId xmlns:a16="http://schemas.microsoft.com/office/drawing/2014/main" id="{A500B238-26EE-47B0-B6E2-9D91D38BBA2C}"/>
                  </a:ext>
                </a:extLst>
              </p:cNvPr>
              <p:cNvSpPr/>
              <p:nvPr/>
            </p:nvSpPr>
            <p:spPr>
              <a:xfrm>
                <a:off x="7057870" y="4904052"/>
                <a:ext cx="53766" cy="77629"/>
              </a:xfrm>
              <a:custGeom>
                <a:avLst/>
                <a:gdLst>
                  <a:gd name="connsiteX0" fmla="*/ 53767 w 53766"/>
                  <a:gd name="connsiteY0" fmla="*/ 75955 h 77629"/>
                  <a:gd name="connsiteX1" fmla="*/ 51254 w 53766"/>
                  <a:gd name="connsiteY1" fmla="*/ 77630 h 77629"/>
                  <a:gd name="connsiteX2" fmla="*/ 0 w 53766"/>
                  <a:gd name="connsiteY2" fmla="*/ 1674 h 77629"/>
                  <a:gd name="connsiteX3" fmla="*/ 2511 w 53766"/>
                  <a:gd name="connsiteY3" fmla="*/ 0 h 77629"/>
                </a:gdLst>
                <a:ahLst/>
                <a:cxnLst>
                  <a:cxn ang="0">
                    <a:pos x="connsiteX0" y="connsiteY0"/>
                  </a:cxn>
                  <a:cxn ang="0">
                    <a:pos x="connsiteX1" y="connsiteY1"/>
                  </a:cxn>
                  <a:cxn ang="0">
                    <a:pos x="connsiteX2" y="connsiteY2"/>
                  </a:cxn>
                  <a:cxn ang="0">
                    <a:pos x="connsiteX3" y="connsiteY3"/>
                  </a:cxn>
                </a:cxnLst>
                <a:rect l="l" t="t" r="r" b="b"/>
                <a:pathLst>
                  <a:path w="53766" h="77629">
                    <a:moveTo>
                      <a:pt x="53767" y="75955"/>
                    </a:moveTo>
                    <a:lnTo>
                      <a:pt x="51254" y="77630"/>
                    </a:lnTo>
                    <a:lnTo>
                      <a:pt x="0" y="1674"/>
                    </a:lnTo>
                    <a:lnTo>
                      <a:pt x="2511" y="0"/>
                    </a:lnTo>
                    <a:close/>
                  </a:path>
                </a:pathLst>
              </a:custGeom>
              <a:grpFill/>
              <a:ln w="5978" cap="flat">
                <a:noFill/>
                <a:prstDash val="solid"/>
                <a:miter/>
              </a:ln>
            </p:spPr>
            <p:txBody>
              <a:bodyPr rtlCol="0" anchor="ctr"/>
              <a:lstStyle/>
              <a:p>
                <a:endParaRPr lang="en-GB"/>
              </a:p>
            </p:txBody>
          </p:sp>
          <p:sp>
            <p:nvSpPr>
              <p:cNvPr id="3696" name="Vrije vorm: vorm 3695">
                <a:extLst>
                  <a:ext uri="{FF2B5EF4-FFF2-40B4-BE49-F238E27FC236}">
                    <a16:creationId xmlns:a16="http://schemas.microsoft.com/office/drawing/2014/main" id="{E5E5A434-7862-4462-AB62-FECCFFBEF85F}"/>
                  </a:ext>
                </a:extLst>
              </p:cNvPr>
              <p:cNvSpPr/>
              <p:nvPr/>
            </p:nvSpPr>
            <p:spPr>
              <a:xfrm>
                <a:off x="7100956" y="4971226"/>
                <a:ext cx="18370" cy="18441"/>
              </a:xfrm>
              <a:custGeom>
                <a:avLst/>
                <a:gdLst>
                  <a:gd name="connsiteX0" fmla="*/ 16781 w 18370"/>
                  <a:gd name="connsiteY0" fmla="*/ 4056 h 18441"/>
                  <a:gd name="connsiteX1" fmla="*/ 14329 w 18370"/>
                  <a:gd name="connsiteY1" fmla="*/ 16855 h 18441"/>
                  <a:gd name="connsiteX2" fmla="*/ 1590 w 18370"/>
                  <a:gd name="connsiteY2" fmla="*/ 14343 h 18441"/>
                  <a:gd name="connsiteX3" fmla="*/ 4042 w 18370"/>
                  <a:gd name="connsiteY3" fmla="*/ 1545 h 18441"/>
                  <a:gd name="connsiteX4" fmla="*/ 16781 w 18370"/>
                  <a:gd name="connsiteY4" fmla="*/ 405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41">
                    <a:moveTo>
                      <a:pt x="16781" y="4056"/>
                    </a:moveTo>
                    <a:cubicBezTo>
                      <a:pt x="19651" y="8303"/>
                      <a:pt x="18515" y="13985"/>
                      <a:pt x="14329" y="16855"/>
                    </a:cubicBezTo>
                    <a:cubicBezTo>
                      <a:pt x="10142" y="19726"/>
                      <a:pt x="4460" y="18590"/>
                      <a:pt x="1590" y="14343"/>
                    </a:cubicBezTo>
                    <a:cubicBezTo>
                      <a:pt x="-1281" y="10097"/>
                      <a:pt x="-145" y="4415"/>
                      <a:pt x="4042" y="1545"/>
                    </a:cubicBezTo>
                    <a:cubicBezTo>
                      <a:pt x="8228" y="-1267"/>
                      <a:pt x="13910" y="-130"/>
                      <a:pt x="16781" y="4056"/>
                    </a:cubicBezTo>
                    <a:close/>
                  </a:path>
                </a:pathLst>
              </a:custGeom>
              <a:grpFill/>
              <a:ln w="5978" cap="flat">
                <a:noFill/>
                <a:prstDash val="solid"/>
                <a:miter/>
              </a:ln>
            </p:spPr>
            <p:txBody>
              <a:bodyPr rtlCol="0" anchor="ctr"/>
              <a:lstStyle/>
              <a:p>
                <a:endParaRPr lang="en-GB"/>
              </a:p>
            </p:txBody>
          </p:sp>
          <p:sp>
            <p:nvSpPr>
              <p:cNvPr id="3697" name="Vrije vorm: vorm 3696">
                <a:extLst>
                  <a:ext uri="{FF2B5EF4-FFF2-40B4-BE49-F238E27FC236}">
                    <a16:creationId xmlns:a16="http://schemas.microsoft.com/office/drawing/2014/main" id="{D43A92D1-B52D-4337-B642-BB708375EF74}"/>
                  </a:ext>
                </a:extLst>
              </p:cNvPr>
              <p:cNvSpPr/>
              <p:nvPr/>
            </p:nvSpPr>
            <p:spPr>
              <a:xfrm>
                <a:off x="7050220" y="4896033"/>
                <a:ext cx="18332" cy="18430"/>
              </a:xfrm>
              <a:custGeom>
                <a:avLst/>
                <a:gdLst>
                  <a:gd name="connsiteX0" fmla="*/ 16740 w 18332"/>
                  <a:gd name="connsiteY0" fmla="*/ 4072 h 18430"/>
                  <a:gd name="connsiteX1" fmla="*/ 4001 w 18332"/>
                  <a:gd name="connsiteY1" fmla="*/ 1560 h 18430"/>
                  <a:gd name="connsiteX2" fmla="*/ 1609 w 18332"/>
                  <a:gd name="connsiteY2" fmla="*/ 14359 h 18430"/>
                  <a:gd name="connsiteX3" fmla="*/ 14348 w 18332"/>
                  <a:gd name="connsiteY3" fmla="*/ 16871 h 18430"/>
                  <a:gd name="connsiteX4" fmla="*/ 16740 w 18332"/>
                  <a:gd name="connsiteY4" fmla="*/ 407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30">
                    <a:moveTo>
                      <a:pt x="16740" y="4072"/>
                    </a:moveTo>
                    <a:cubicBezTo>
                      <a:pt x="13869" y="-174"/>
                      <a:pt x="8187" y="-1251"/>
                      <a:pt x="4001" y="1560"/>
                    </a:cubicBezTo>
                    <a:cubicBezTo>
                      <a:pt x="-186" y="4431"/>
                      <a:pt x="-1262" y="10112"/>
                      <a:pt x="1609" y="14359"/>
                    </a:cubicBezTo>
                    <a:cubicBezTo>
                      <a:pt x="4479" y="18605"/>
                      <a:pt x="10161" y="19682"/>
                      <a:pt x="14348" y="16871"/>
                    </a:cubicBezTo>
                    <a:cubicBezTo>
                      <a:pt x="18474" y="14000"/>
                      <a:pt x="19611" y="8318"/>
                      <a:pt x="16740" y="4072"/>
                    </a:cubicBezTo>
                    <a:close/>
                  </a:path>
                </a:pathLst>
              </a:custGeom>
              <a:grpFill/>
              <a:ln w="5978" cap="flat">
                <a:noFill/>
                <a:prstDash val="solid"/>
                <a:miter/>
              </a:ln>
            </p:spPr>
            <p:txBody>
              <a:bodyPr rtlCol="0" anchor="ctr"/>
              <a:lstStyle/>
              <a:p>
                <a:endParaRPr lang="en-GB"/>
              </a:p>
            </p:txBody>
          </p:sp>
        </p:grpSp>
        <p:grpSp>
          <p:nvGrpSpPr>
            <p:cNvPr id="565" name="Graphic 3">
              <a:extLst>
                <a:ext uri="{FF2B5EF4-FFF2-40B4-BE49-F238E27FC236}">
                  <a16:creationId xmlns:a16="http://schemas.microsoft.com/office/drawing/2014/main" id="{AB934E80-B630-440F-B215-876FA5D74375}"/>
                </a:ext>
              </a:extLst>
            </p:cNvPr>
            <p:cNvGrpSpPr/>
            <p:nvPr/>
          </p:nvGrpSpPr>
          <p:grpSpPr>
            <a:xfrm>
              <a:off x="6996966" y="4818403"/>
              <a:ext cx="273166" cy="467284"/>
              <a:chOff x="6996966" y="4818403"/>
              <a:chExt cx="273166" cy="467284"/>
            </a:xfrm>
            <a:grpFill/>
          </p:grpSpPr>
          <p:sp>
            <p:nvSpPr>
              <p:cNvPr id="3692" name="Vrije vorm: vorm 3691">
                <a:extLst>
                  <a:ext uri="{FF2B5EF4-FFF2-40B4-BE49-F238E27FC236}">
                    <a16:creationId xmlns:a16="http://schemas.microsoft.com/office/drawing/2014/main" id="{7DCC689D-5066-4472-8A99-02F69E916B26}"/>
                  </a:ext>
                </a:extLst>
              </p:cNvPr>
              <p:cNvSpPr/>
              <p:nvPr/>
            </p:nvSpPr>
            <p:spPr>
              <a:xfrm>
                <a:off x="7004581" y="4826422"/>
                <a:ext cx="257948" cy="451245"/>
              </a:xfrm>
              <a:custGeom>
                <a:avLst/>
                <a:gdLst>
                  <a:gd name="connsiteX0" fmla="*/ 257949 w 257948"/>
                  <a:gd name="connsiteY0" fmla="*/ 449750 h 451245"/>
                  <a:gd name="connsiteX1" fmla="*/ 255317 w 257948"/>
                  <a:gd name="connsiteY1" fmla="*/ 451246 h 451245"/>
                  <a:gd name="connsiteX2" fmla="*/ 0 w 257948"/>
                  <a:gd name="connsiteY2" fmla="*/ 1555 h 451245"/>
                  <a:gd name="connsiteX3" fmla="*/ 2632 w 257948"/>
                  <a:gd name="connsiteY3" fmla="*/ 0 h 451245"/>
                </a:gdLst>
                <a:ahLst/>
                <a:cxnLst>
                  <a:cxn ang="0">
                    <a:pos x="connsiteX0" y="connsiteY0"/>
                  </a:cxn>
                  <a:cxn ang="0">
                    <a:pos x="connsiteX1" y="connsiteY1"/>
                  </a:cxn>
                  <a:cxn ang="0">
                    <a:pos x="connsiteX2" y="connsiteY2"/>
                  </a:cxn>
                  <a:cxn ang="0">
                    <a:pos x="connsiteX3" y="connsiteY3"/>
                  </a:cxn>
                </a:cxnLst>
                <a:rect l="l" t="t" r="r" b="b"/>
                <a:pathLst>
                  <a:path w="257948" h="451245">
                    <a:moveTo>
                      <a:pt x="257949" y="449750"/>
                    </a:moveTo>
                    <a:lnTo>
                      <a:pt x="255317" y="451246"/>
                    </a:lnTo>
                    <a:lnTo>
                      <a:pt x="0" y="1555"/>
                    </a:lnTo>
                    <a:lnTo>
                      <a:pt x="2632" y="0"/>
                    </a:lnTo>
                    <a:close/>
                  </a:path>
                </a:pathLst>
              </a:custGeom>
              <a:grpFill/>
              <a:ln w="5978" cap="flat">
                <a:noFill/>
                <a:prstDash val="solid"/>
                <a:miter/>
              </a:ln>
            </p:spPr>
            <p:txBody>
              <a:bodyPr rtlCol="0" anchor="ctr"/>
              <a:lstStyle/>
              <a:p>
                <a:endParaRPr lang="en-GB"/>
              </a:p>
            </p:txBody>
          </p:sp>
          <p:sp>
            <p:nvSpPr>
              <p:cNvPr id="3693" name="Vrije vorm: vorm 3692">
                <a:extLst>
                  <a:ext uri="{FF2B5EF4-FFF2-40B4-BE49-F238E27FC236}">
                    <a16:creationId xmlns:a16="http://schemas.microsoft.com/office/drawing/2014/main" id="{470BCCBB-93B5-4C01-AEC8-376BCB819209}"/>
                  </a:ext>
                </a:extLst>
              </p:cNvPr>
              <p:cNvSpPr/>
              <p:nvPr/>
            </p:nvSpPr>
            <p:spPr>
              <a:xfrm>
                <a:off x="6996966" y="4818403"/>
                <a:ext cx="18341" cy="18431"/>
              </a:xfrm>
              <a:custGeom>
                <a:avLst/>
                <a:gdLst>
                  <a:gd name="connsiteX0" fmla="*/ 1217 w 18341"/>
                  <a:gd name="connsiteY0" fmla="*/ 13761 h 18431"/>
                  <a:gd name="connsiteX1" fmla="*/ 4625 w 18341"/>
                  <a:gd name="connsiteY1" fmla="*/ 1202 h 18431"/>
                  <a:gd name="connsiteX2" fmla="*/ 17125 w 18341"/>
                  <a:gd name="connsiteY2" fmla="*/ 4670 h 18431"/>
                  <a:gd name="connsiteX3" fmla="*/ 13716 w 18341"/>
                  <a:gd name="connsiteY3" fmla="*/ 17230 h 18431"/>
                  <a:gd name="connsiteX4" fmla="*/ 1217 w 18341"/>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1">
                    <a:moveTo>
                      <a:pt x="1217" y="13761"/>
                    </a:moveTo>
                    <a:cubicBezTo>
                      <a:pt x="-1296" y="9335"/>
                      <a:pt x="200" y="3713"/>
                      <a:pt x="4625" y="1202"/>
                    </a:cubicBezTo>
                    <a:cubicBezTo>
                      <a:pt x="8991" y="-1311"/>
                      <a:pt x="14613" y="245"/>
                      <a:pt x="17125" y="4670"/>
                    </a:cubicBezTo>
                    <a:cubicBezTo>
                      <a:pt x="19637" y="9096"/>
                      <a:pt x="18142" y="14718"/>
                      <a:pt x="13716" y="17230"/>
                    </a:cubicBezTo>
                    <a:cubicBezTo>
                      <a:pt x="9290" y="19742"/>
                      <a:pt x="3728" y="18187"/>
                      <a:pt x="1217" y="13761"/>
                    </a:cubicBezTo>
                    <a:close/>
                  </a:path>
                </a:pathLst>
              </a:custGeom>
              <a:grpFill/>
              <a:ln w="5978" cap="flat">
                <a:noFill/>
                <a:prstDash val="solid"/>
                <a:miter/>
              </a:ln>
            </p:spPr>
            <p:txBody>
              <a:bodyPr rtlCol="0" anchor="ctr"/>
              <a:lstStyle/>
              <a:p>
                <a:endParaRPr lang="en-GB"/>
              </a:p>
            </p:txBody>
          </p:sp>
          <p:sp>
            <p:nvSpPr>
              <p:cNvPr id="3694" name="Vrije vorm: vorm 3693">
                <a:extLst>
                  <a:ext uri="{FF2B5EF4-FFF2-40B4-BE49-F238E27FC236}">
                    <a16:creationId xmlns:a16="http://schemas.microsoft.com/office/drawing/2014/main" id="{D10A0D0C-2603-4716-B0B7-60632D1E1BDB}"/>
                  </a:ext>
                </a:extLst>
              </p:cNvPr>
              <p:cNvSpPr/>
              <p:nvPr/>
            </p:nvSpPr>
            <p:spPr>
              <a:xfrm>
                <a:off x="7251817" y="5267256"/>
                <a:ext cx="18315" cy="18431"/>
              </a:xfrm>
              <a:custGeom>
                <a:avLst/>
                <a:gdLst>
                  <a:gd name="connsiteX0" fmla="*/ 1204 w 18315"/>
                  <a:gd name="connsiteY0" fmla="*/ 13761 h 18431"/>
                  <a:gd name="connsiteX1" fmla="*/ 13703 w 18315"/>
                  <a:gd name="connsiteY1" fmla="*/ 17230 h 18431"/>
                  <a:gd name="connsiteX2" fmla="*/ 17112 w 18315"/>
                  <a:gd name="connsiteY2" fmla="*/ 4670 h 18431"/>
                  <a:gd name="connsiteX3" fmla="*/ 4612 w 18315"/>
                  <a:gd name="connsiteY3" fmla="*/ 1201 h 18431"/>
                  <a:gd name="connsiteX4" fmla="*/ 1204 w 18315"/>
                  <a:gd name="connsiteY4" fmla="*/ 13761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204" y="13761"/>
                    </a:moveTo>
                    <a:cubicBezTo>
                      <a:pt x="3715" y="18187"/>
                      <a:pt x="9337" y="19742"/>
                      <a:pt x="13703" y="17230"/>
                    </a:cubicBezTo>
                    <a:cubicBezTo>
                      <a:pt x="18069" y="14718"/>
                      <a:pt x="19624" y="9096"/>
                      <a:pt x="17112" y="4670"/>
                    </a:cubicBezTo>
                    <a:cubicBezTo>
                      <a:pt x="14600" y="244"/>
                      <a:pt x="8978" y="-1310"/>
                      <a:pt x="4612" y="1201"/>
                    </a:cubicBezTo>
                    <a:cubicBezTo>
                      <a:pt x="247" y="3713"/>
                      <a:pt x="-1308" y="9335"/>
                      <a:pt x="1204" y="13761"/>
                    </a:cubicBezTo>
                    <a:close/>
                  </a:path>
                </a:pathLst>
              </a:custGeom>
              <a:grpFill/>
              <a:ln w="5978" cap="flat">
                <a:noFill/>
                <a:prstDash val="solid"/>
                <a:miter/>
              </a:ln>
            </p:spPr>
            <p:txBody>
              <a:bodyPr rtlCol="0" anchor="ctr"/>
              <a:lstStyle/>
              <a:p>
                <a:endParaRPr lang="en-GB"/>
              </a:p>
            </p:txBody>
          </p:sp>
        </p:grpSp>
        <p:grpSp>
          <p:nvGrpSpPr>
            <p:cNvPr id="566" name="Graphic 3">
              <a:extLst>
                <a:ext uri="{FF2B5EF4-FFF2-40B4-BE49-F238E27FC236}">
                  <a16:creationId xmlns:a16="http://schemas.microsoft.com/office/drawing/2014/main" id="{A58486DD-F90C-446B-8841-BADC16F765B2}"/>
                </a:ext>
              </a:extLst>
            </p:cNvPr>
            <p:cNvGrpSpPr/>
            <p:nvPr/>
          </p:nvGrpSpPr>
          <p:grpSpPr>
            <a:xfrm>
              <a:off x="7088452" y="5083496"/>
              <a:ext cx="142164" cy="217455"/>
              <a:chOff x="7088452" y="5083496"/>
              <a:chExt cx="142164" cy="217455"/>
            </a:xfrm>
            <a:grpFill/>
          </p:grpSpPr>
          <p:sp>
            <p:nvSpPr>
              <p:cNvPr id="3689" name="Vrije vorm: vorm 3688">
                <a:extLst>
                  <a:ext uri="{FF2B5EF4-FFF2-40B4-BE49-F238E27FC236}">
                    <a16:creationId xmlns:a16="http://schemas.microsoft.com/office/drawing/2014/main" id="{9CD3ED02-22CE-4767-8703-93551CA10415}"/>
                  </a:ext>
                </a:extLst>
              </p:cNvPr>
              <p:cNvSpPr/>
              <p:nvPr/>
            </p:nvSpPr>
            <p:spPr>
              <a:xfrm>
                <a:off x="7096087" y="5091488"/>
                <a:ext cx="126910" cy="201490"/>
              </a:xfrm>
              <a:custGeom>
                <a:avLst/>
                <a:gdLst>
                  <a:gd name="connsiteX0" fmla="*/ 126911 w 126910"/>
                  <a:gd name="connsiteY0" fmla="*/ 199876 h 201490"/>
                  <a:gd name="connsiteX1" fmla="*/ 124339 w 126910"/>
                  <a:gd name="connsiteY1" fmla="*/ 201491 h 201490"/>
                  <a:gd name="connsiteX2" fmla="*/ 0 w 126910"/>
                  <a:gd name="connsiteY2" fmla="*/ 1615 h 201490"/>
                  <a:gd name="connsiteX3" fmla="*/ 2571 w 126910"/>
                  <a:gd name="connsiteY3" fmla="*/ 0 h 201490"/>
                </a:gdLst>
                <a:ahLst/>
                <a:cxnLst>
                  <a:cxn ang="0">
                    <a:pos x="connsiteX0" y="connsiteY0"/>
                  </a:cxn>
                  <a:cxn ang="0">
                    <a:pos x="connsiteX1" y="connsiteY1"/>
                  </a:cxn>
                  <a:cxn ang="0">
                    <a:pos x="connsiteX2" y="connsiteY2"/>
                  </a:cxn>
                  <a:cxn ang="0">
                    <a:pos x="connsiteX3" y="connsiteY3"/>
                  </a:cxn>
                </a:cxnLst>
                <a:rect l="l" t="t" r="r" b="b"/>
                <a:pathLst>
                  <a:path w="126910" h="201490">
                    <a:moveTo>
                      <a:pt x="126911" y="199876"/>
                    </a:moveTo>
                    <a:lnTo>
                      <a:pt x="124339" y="201491"/>
                    </a:lnTo>
                    <a:lnTo>
                      <a:pt x="0" y="1615"/>
                    </a:lnTo>
                    <a:lnTo>
                      <a:pt x="2571" y="0"/>
                    </a:lnTo>
                    <a:close/>
                  </a:path>
                </a:pathLst>
              </a:custGeom>
              <a:grpFill/>
              <a:ln w="5978" cap="flat">
                <a:noFill/>
                <a:prstDash val="solid"/>
                <a:miter/>
              </a:ln>
            </p:spPr>
            <p:txBody>
              <a:bodyPr rtlCol="0" anchor="ctr"/>
              <a:lstStyle/>
              <a:p>
                <a:endParaRPr lang="en-GB"/>
              </a:p>
            </p:txBody>
          </p:sp>
          <p:sp>
            <p:nvSpPr>
              <p:cNvPr id="3690" name="Vrije vorm: vorm 3689">
                <a:extLst>
                  <a:ext uri="{FF2B5EF4-FFF2-40B4-BE49-F238E27FC236}">
                    <a16:creationId xmlns:a16="http://schemas.microsoft.com/office/drawing/2014/main" id="{A155456B-15C0-4B32-BCCF-73BEAC709A02}"/>
                  </a:ext>
                </a:extLst>
              </p:cNvPr>
              <p:cNvSpPr/>
              <p:nvPr/>
            </p:nvSpPr>
            <p:spPr>
              <a:xfrm>
                <a:off x="7212328" y="5282534"/>
                <a:ext cx="18289" cy="18417"/>
              </a:xfrm>
              <a:custGeom>
                <a:avLst/>
                <a:gdLst>
                  <a:gd name="connsiteX0" fmla="*/ 16890 w 18289"/>
                  <a:gd name="connsiteY0" fmla="*/ 4344 h 18417"/>
                  <a:gd name="connsiteX1" fmla="*/ 14019 w 18289"/>
                  <a:gd name="connsiteY1" fmla="*/ 17023 h 18417"/>
                  <a:gd name="connsiteX2" fmla="*/ 1399 w 18289"/>
                  <a:gd name="connsiteY2" fmla="*/ 14033 h 18417"/>
                  <a:gd name="connsiteX3" fmla="*/ 4270 w 18289"/>
                  <a:gd name="connsiteY3" fmla="*/ 1354 h 18417"/>
                  <a:gd name="connsiteX4" fmla="*/ 16890 w 18289"/>
                  <a:gd name="connsiteY4" fmla="*/ 4344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17">
                    <a:moveTo>
                      <a:pt x="16890" y="4344"/>
                    </a:moveTo>
                    <a:cubicBezTo>
                      <a:pt x="19581" y="8650"/>
                      <a:pt x="18265" y="14332"/>
                      <a:pt x="14019" y="17023"/>
                    </a:cubicBezTo>
                    <a:cubicBezTo>
                      <a:pt x="9713" y="19714"/>
                      <a:pt x="4091" y="18399"/>
                      <a:pt x="1399" y="14033"/>
                    </a:cubicBezTo>
                    <a:cubicBezTo>
                      <a:pt x="-1292" y="9726"/>
                      <a:pt x="24" y="4045"/>
                      <a:pt x="4270" y="1354"/>
                    </a:cubicBezTo>
                    <a:cubicBezTo>
                      <a:pt x="8577" y="-1278"/>
                      <a:pt x="14198" y="38"/>
                      <a:pt x="16890" y="4344"/>
                    </a:cubicBezTo>
                    <a:close/>
                  </a:path>
                </a:pathLst>
              </a:custGeom>
              <a:grpFill/>
              <a:ln w="5978" cap="flat">
                <a:noFill/>
                <a:prstDash val="solid"/>
                <a:miter/>
              </a:ln>
            </p:spPr>
            <p:txBody>
              <a:bodyPr rtlCol="0" anchor="ctr"/>
              <a:lstStyle/>
              <a:p>
                <a:endParaRPr lang="en-GB"/>
              </a:p>
            </p:txBody>
          </p:sp>
          <p:sp>
            <p:nvSpPr>
              <p:cNvPr id="3691" name="Vrije vorm: vorm 3690">
                <a:extLst>
                  <a:ext uri="{FF2B5EF4-FFF2-40B4-BE49-F238E27FC236}">
                    <a16:creationId xmlns:a16="http://schemas.microsoft.com/office/drawing/2014/main" id="{9306B7BC-1B7A-4BD8-ACA5-F6201D6BB2B0}"/>
                  </a:ext>
                </a:extLst>
              </p:cNvPr>
              <p:cNvSpPr/>
              <p:nvPr/>
            </p:nvSpPr>
            <p:spPr>
              <a:xfrm>
                <a:off x="7088452" y="5083496"/>
                <a:ext cx="18317" cy="18376"/>
              </a:xfrm>
              <a:custGeom>
                <a:avLst/>
                <a:gdLst>
                  <a:gd name="connsiteX0" fmla="*/ 16904 w 18317"/>
                  <a:gd name="connsiteY0" fmla="*/ 4344 h 18376"/>
                  <a:gd name="connsiteX1" fmla="*/ 4285 w 18317"/>
                  <a:gd name="connsiteY1" fmla="*/ 1354 h 18376"/>
                  <a:gd name="connsiteX2" fmla="*/ 1414 w 18317"/>
                  <a:gd name="connsiteY2" fmla="*/ 14033 h 18376"/>
                  <a:gd name="connsiteX3" fmla="*/ 14033 w 18317"/>
                  <a:gd name="connsiteY3" fmla="*/ 17023 h 18376"/>
                  <a:gd name="connsiteX4" fmla="*/ 16904 w 18317"/>
                  <a:gd name="connsiteY4" fmla="*/ 4344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76">
                    <a:moveTo>
                      <a:pt x="16904" y="4344"/>
                    </a:moveTo>
                    <a:cubicBezTo>
                      <a:pt x="14213" y="38"/>
                      <a:pt x="8531" y="-1278"/>
                      <a:pt x="4285" y="1354"/>
                    </a:cubicBezTo>
                    <a:cubicBezTo>
                      <a:pt x="-21" y="4045"/>
                      <a:pt x="-1277" y="9727"/>
                      <a:pt x="1414" y="14033"/>
                    </a:cubicBezTo>
                    <a:cubicBezTo>
                      <a:pt x="4105" y="18339"/>
                      <a:pt x="9787" y="19654"/>
                      <a:pt x="14033" y="17023"/>
                    </a:cubicBezTo>
                    <a:cubicBezTo>
                      <a:pt x="18339" y="14332"/>
                      <a:pt x="19596" y="8650"/>
                      <a:pt x="16904" y="4344"/>
                    </a:cubicBezTo>
                    <a:close/>
                  </a:path>
                </a:pathLst>
              </a:custGeom>
              <a:grpFill/>
              <a:ln w="5978" cap="flat">
                <a:noFill/>
                <a:prstDash val="solid"/>
                <a:miter/>
              </a:ln>
            </p:spPr>
            <p:txBody>
              <a:bodyPr rtlCol="0" anchor="ctr"/>
              <a:lstStyle/>
              <a:p>
                <a:endParaRPr lang="en-GB"/>
              </a:p>
            </p:txBody>
          </p:sp>
        </p:grpSp>
        <p:grpSp>
          <p:nvGrpSpPr>
            <p:cNvPr id="567" name="Graphic 3">
              <a:extLst>
                <a:ext uri="{FF2B5EF4-FFF2-40B4-BE49-F238E27FC236}">
                  <a16:creationId xmlns:a16="http://schemas.microsoft.com/office/drawing/2014/main" id="{916383EA-18F3-4482-AE2F-36BD2541D78E}"/>
                </a:ext>
              </a:extLst>
            </p:cNvPr>
            <p:cNvGrpSpPr/>
            <p:nvPr/>
          </p:nvGrpSpPr>
          <p:grpSpPr>
            <a:xfrm>
              <a:off x="5866418" y="1278029"/>
              <a:ext cx="35230" cy="219077"/>
              <a:chOff x="5866418" y="1278029"/>
              <a:chExt cx="35230" cy="219077"/>
            </a:xfrm>
            <a:grpFill/>
          </p:grpSpPr>
          <p:sp>
            <p:nvSpPr>
              <p:cNvPr id="3686" name="Vrije vorm: vorm 3685">
                <a:extLst>
                  <a:ext uri="{FF2B5EF4-FFF2-40B4-BE49-F238E27FC236}">
                    <a16:creationId xmlns:a16="http://schemas.microsoft.com/office/drawing/2014/main" id="{BFB98CDC-2B75-4A78-91BA-83D448156A3A}"/>
                  </a:ext>
                </a:extLst>
              </p:cNvPr>
              <p:cNvSpPr/>
              <p:nvPr/>
            </p:nvSpPr>
            <p:spPr>
              <a:xfrm>
                <a:off x="5873986" y="1286613"/>
                <a:ext cx="20035" cy="201909"/>
              </a:xfrm>
              <a:custGeom>
                <a:avLst/>
                <a:gdLst>
                  <a:gd name="connsiteX0" fmla="*/ 3050 w 20035"/>
                  <a:gd name="connsiteY0" fmla="*/ 0 h 201909"/>
                  <a:gd name="connsiteX1" fmla="*/ 20035 w 20035"/>
                  <a:gd name="connsiteY1" fmla="*/ 201610 h 201909"/>
                  <a:gd name="connsiteX2" fmla="*/ 16985 w 20035"/>
                  <a:gd name="connsiteY2" fmla="*/ 201909 h 201909"/>
                  <a:gd name="connsiteX3" fmla="*/ 0 w 20035"/>
                  <a:gd name="connsiteY3" fmla="*/ 299 h 201909"/>
                </a:gdLst>
                <a:ahLst/>
                <a:cxnLst>
                  <a:cxn ang="0">
                    <a:pos x="connsiteX0" y="connsiteY0"/>
                  </a:cxn>
                  <a:cxn ang="0">
                    <a:pos x="connsiteX1" y="connsiteY1"/>
                  </a:cxn>
                  <a:cxn ang="0">
                    <a:pos x="connsiteX2" y="connsiteY2"/>
                  </a:cxn>
                  <a:cxn ang="0">
                    <a:pos x="connsiteX3" y="connsiteY3"/>
                  </a:cxn>
                </a:cxnLst>
                <a:rect l="l" t="t" r="r" b="b"/>
                <a:pathLst>
                  <a:path w="20035" h="201909">
                    <a:moveTo>
                      <a:pt x="3050" y="0"/>
                    </a:moveTo>
                    <a:lnTo>
                      <a:pt x="20035" y="201610"/>
                    </a:lnTo>
                    <a:lnTo>
                      <a:pt x="16985" y="201909"/>
                    </a:lnTo>
                    <a:lnTo>
                      <a:pt x="0" y="299"/>
                    </a:lnTo>
                    <a:close/>
                  </a:path>
                </a:pathLst>
              </a:custGeom>
              <a:grpFill/>
              <a:ln w="5978" cap="flat">
                <a:noFill/>
                <a:prstDash val="solid"/>
                <a:miter/>
              </a:ln>
            </p:spPr>
            <p:txBody>
              <a:bodyPr rtlCol="0" anchor="ctr"/>
              <a:lstStyle/>
              <a:p>
                <a:endParaRPr lang="en-GB"/>
              </a:p>
            </p:txBody>
          </p:sp>
          <p:sp>
            <p:nvSpPr>
              <p:cNvPr id="3687" name="Vrije vorm: vorm 3686">
                <a:extLst>
                  <a:ext uri="{FF2B5EF4-FFF2-40B4-BE49-F238E27FC236}">
                    <a16:creationId xmlns:a16="http://schemas.microsoft.com/office/drawing/2014/main" id="{B0929D75-247F-480B-B84C-DD340FD97B80}"/>
                  </a:ext>
                </a:extLst>
              </p:cNvPr>
              <p:cNvSpPr/>
              <p:nvPr/>
            </p:nvSpPr>
            <p:spPr>
              <a:xfrm>
                <a:off x="5866418" y="1278029"/>
                <a:ext cx="18365" cy="18423"/>
              </a:xfrm>
              <a:custGeom>
                <a:avLst/>
                <a:gdLst>
                  <a:gd name="connsiteX0" fmla="*/ 32 w 18365"/>
                  <a:gd name="connsiteY0" fmla="*/ 9960 h 18423"/>
                  <a:gd name="connsiteX1" fmla="*/ 8405 w 18365"/>
                  <a:gd name="connsiteY1" fmla="*/ 32 h 18423"/>
                  <a:gd name="connsiteX2" fmla="*/ 18333 w 18365"/>
                  <a:gd name="connsiteY2" fmla="*/ 8465 h 18423"/>
                  <a:gd name="connsiteX3" fmla="*/ 9960 w 18365"/>
                  <a:gd name="connsiteY3" fmla="*/ 18393 h 18423"/>
                  <a:gd name="connsiteX4" fmla="*/ 32 w 18365"/>
                  <a:gd name="connsiteY4" fmla="*/ 9960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3">
                    <a:moveTo>
                      <a:pt x="32" y="9960"/>
                    </a:moveTo>
                    <a:cubicBezTo>
                      <a:pt x="-386" y="4876"/>
                      <a:pt x="3322" y="450"/>
                      <a:pt x="8405" y="32"/>
                    </a:cubicBezTo>
                    <a:cubicBezTo>
                      <a:pt x="13429" y="-387"/>
                      <a:pt x="17855" y="3381"/>
                      <a:pt x="18333" y="8465"/>
                    </a:cubicBezTo>
                    <a:cubicBezTo>
                      <a:pt x="18752" y="13548"/>
                      <a:pt x="15044" y="17974"/>
                      <a:pt x="9960" y="18393"/>
                    </a:cubicBezTo>
                    <a:cubicBezTo>
                      <a:pt x="4877" y="18811"/>
                      <a:pt x="451" y="14984"/>
                      <a:pt x="32" y="9960"/>
                    </a:cubicBezTo>
                    <a:close/>
                  </a:path>
                </a:pathLst>
              </a:custGeom>
              <a:grpFill/>
              <a:ln w="5978" cap="flat">
                <a:noFill/>
                <a:prstDash val="solid"/>
                <a:miter/>
              </a:ln>
            </p:spPr>
            <p:txBody>
              <a:bodyPr rtlCol="0" anchor="ctr"/>
              <a:lstStyle/>
              <a:p>
                <a:endParaRPr lang="en-GB"/>
              </a:p>
            </p:txBody>
          </p:sp>
          <p:sp>
            <p:nvSpPr>
              <p:cNvPr id="3688" name="Vrije vorm: vorm 3687">
                <a:extLst>
                  <a:ext uri="{FF2B5EF4-FFF2-40B4-BE49-F238E27FC236}">
                    <a16:creationId xmlns:a16="http://schemas.microsoft.com/office/drawing/2014/main" id="{CB97EE11-77E1-4C97-9758-66A7424F610A}"/>
                  </a:ext>
                </a:extLst>
              </p:cNvPr>
              <p:cNvSpPr/>
              <p:nvPr/>
            </p:nvSpPr>
            <p:spPr>
              <a:xfrm>
                <a:off x="5883284" y="1478682"/>
                <a:ext cx="18364" cy="18424"/>
              </a:xfrm>
              <a:custGeom>
                <a:avLst/>
                <a:gdLst>
                  <a:gd name="connsiteX0" fmla="*/ 32 w 18364"/>
                  <a:gd name="connsiteY0" fmla="*/ 9960 h 18424"/>
                  <a:gd name="connsiteX1" fmla="*/ 9960 w 18364"/>
                  <a:gd name="connsiteY1" fmla="*/ 18393 h 18424"/>
                  <a:gd name="connsiteX2" fmla="*/ 18333 w 18364"/>
                  <a:gd name="connsiteY2" fmla="*/ 8465 h 18424"/>
                  <a:gd name="connsiteX3" fmla="*/ 8405 w 18364"/>
                  <a:gd name="connsiteY3" fmla="*/ 32 h 18424"/>
                  <a:gd name="connsiteX4" fmla="*/ 32 w 18364"/>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32" y="9960"/>
                    </a:moveTo>
                    <a:cubicBezTo>
                      <a:pt x="450" y="15043"/>
                      <a:pt x="4876" y="18811"/>
                      <a:pt x="9960" y="18393"/>
                    </a:cubicBezTo>
                    <a:cubicBezTo>
                      <a:pt x="14984" y="17974"/>
                      <a:pt x="18751" y="13548"/>
                      <a:pt x="18333" y="8465"/>
                    </a:cubicBezTo>
                    <a:cubicBezTo>
                      <a:pt x="17914" y="3381"/>
                      <a:pt x="13488" y="-387"/>
                      <a:pt x="8405" y="32"/>
                    </a:cubicBezTo>
                    <a:cubicBezTo>
                      <a:pt x="3381" y="450"/>
                      <a:pt x="-387" y="4876"/>
                      <a:pt x="32" y="9960"/>
                    </a:cubicBezTo>
                    <a:close/>
                  </a:path>
                </a:pathLst>
              </a:custGeom>
              <a:grpFill/>
              <a:ln w="5978" cap="flat">
                <a:noFill/>
                <a:prstDash val="solid"/>
                <a:miter/>
              </a:ln>
            </p:spPr>
            <p:txBody>
              <a:bodyPr rtlCol="0" anchor="ctr"/>
              <a:lstStyle/>
              <a:p>
                <a:endParaRPr lang="en-GB"/>
              </a:p>
            </p:txBody>
          </p:sp>
        </p:grpSp>
        <p:grpSp>
          <p:nvGrpSpPr>
            <p:cNvPr id="568" name="Graphic 3">
              <a:extLst>
                <a:ext uri="{FF2B5EF4-FFF2-40B4-BE49-F238E27FC236}">
                  <a16:creationId xmlns:a16="http://schemas.microsoft.com/office/drawing/2014/main" id="{8DAFC986-6360-4BFF-AB94-3219A53AD1FE}"/>
                </a:ext>
              </a:extLst>
            </p:cNvPr>
            <p:cNvGrpSpPr/>
            <p:nvPr/>
          </p:nvGrpSpPr>
          <p:grpSpPr>
            <a:xfrm>
              <a:off x="5807487" y="1092915"/>
              <a:ext cx="49375" cy="319394"/>
              <a:chOff x="5807487" y="1092915"/>
              <a:chExt cx="49375" cy="319394"/>
            </a:xfrm>
            <a:grpFill/>
          </p:grpSpPr>
          <p:sp>
            <p:nvSpPr>
              <p:cNvPr id="3683" name="Vrije vorm: vorm 3682">
                <a:extLst>
                  <a:ext uri="{FF2B5EF4-FFF2-40B4-BE49-F238E27FC236}">
                    <a16:creationId xmlns:a16="http://schemas.microsoft.com/office/drawing/2014/main" id="{C141D522-6E65-4E09-A8E8-4B059981888B}"/>
                  </a:ext>
                </a:extLst>
              </p:cNvPr>
              <p:cNvSpPr/>
              <p:nvPr/>
            </p:nvSpPr>
            <p:spPr>
              <a:xfrm>
                <a:off x="5815135" y="1101569"/>
                <a:ext cx="34090" cy="302146"/>
              </a:xfrm>
              <a:custGeom>
                <a:avLst/>
                <a:gdLst>
                  <a:gd name="connsiteX0" fmla="*/ 2990 w 34090"/>
                  <a:gd name="connsiteY0" fmla="*/ 0 h 302146"/>
                  <a:gd name="connsiteX1" fmla="*/ 34090 w 34090"/>
                  <a:gd name="connsiteY1" fmla="*/ 301847 h 302146"/>
                  <a:gd name="connsiteX2" fmla="*/ 31100 w 34090"/>
                  <a:gd name="connsiteY2" fmla="*/ 302146 h 302146"/>
                  <a:gd name="connsiteX3" fmla="*/ 0 w 34090"/>
                  <a:gd name="connsiteY3" fmla="*/ 299 h 302146"/>
                </a:gdLst>
                <a:ahLst/>
                <a:cxnLst>
                  <a:cxn ang="0">
                    <a:pos x="connsiteX0" y="connsiteY0"/>
                  </a:cxn>
                  <a:cxn ang="0">
                    <a:pos x="connsiteX1" y="connsiteY1"/>
                  </a:cxn>
                  <a:cxn ang="0">
                    <a:pos x="connsiteX2" y="connsiteY2"/>
                  </a:cxn>
                  <a:cxn ang="0">
                    <a:pos x="connsiteX3" y="connsiteY3"/>
                  </a:cxn>
                </a:cxnLst>
                <a:rect l="l" t="t" r="r" b="b"/>
                <a:pathLst>
                  <a:path w="34090" h="302146">
                    <a:moveTo>
                      <a:pt x="2990" y="0"/>
                    </a:moveTo>
                    <a:lnTo>
                      <a:pt x="34090" y="301847"/>
                    </a:lnTo>
                    <a:lnTo>
                      <a:pt x="31100" y="302146"/>
                    </a:lnTo>
                    <a:lnTo>
                      <a:pt x="0" y="299"/>
                    </a:lnTo>
                    <a:close/>
                  </a:path>
                </a:pathLst>
              </a:custGeom>
              <a:grpFill/>
              <a:ln w="5978" cap="flat">
                <a:noFill/>
                <a:prstDash val="solid"/>
                <a:miter/>
              </a:ln>
            </p:spPr>
            <p:txBody>
              <a:bodyPr rtlCol="0" anchor="ctr"/>
              <a:lstStyle/>
              <a:p>
                <a:endParaRPr lang="en-GB"/>
              </a:p>
            </p:txBody>
          </p:sp>
          <p:sp>
            <p:nvSpPr>
              <p:cNvPr id="3684" name="Vrije vorm: vorm 3683">
                <a:extLst>
                  <a:ext uri="{FF2B5EF4-FFF2-40B4-BE49-F238E27FC236}">
                    <a16:creationId xmlns:a16="http://schemas.microsoft.com/office/drawing/2014/main" id="{A19435C2-4A67-43E1-8145-694BABA1389D}"/>
                  </a:ext>
                </a:extLst>
              </p:cNvPr>
              <p:cNvSpPr/>
              <p:nvPr/>
            </p:nvSpPr>
            <p:spPr>
              <a:xfrm>
                <a:off x="5807487" y="1092915"/>
                <a:ext cx="18346" cy="18454"/>
              </a:xfrm>
              <a:custGeom>
                <a:avLst/>
                <a:gdLst>
                  <a:gd name="connsiteX0" fmla="*/ 53 w 18346"/>
                  <a:gd name="connsiteY0" fmla="*/ 10150 h 18454"/>
                  <a:gd name="connsiteX1" fmla="*/ 8246 w 18346"/>
                  <a:gd name="connsiteY1" fmla="*/ 42 h 18454"/>
                  <a:gd name="connsiteX2" fmla="*/ 18294 w 18346"/>
                  <a:gd name="connsiteY2" fmla="*/ 8296 h 18454"/>
                  <a:gd name="connsiteX3" fmla="*/ 10100 w 18346"/>
                  <a:gd name="connsiteY3" fmla="*/ 18403 h 18454"/>
                  <a:gd name="connsiteX4" fmla="*/ 53 w 18346"/>
                  <a:gd name="connsiteY4" fmla="*/ 10150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4">
                    <a:moveTo>
                      <a:pt x="53" y="10150"/>
                    </a:moveTo>
                    <a:cubicBezTo>
                      <a:pt x="-486" y="5066"/>
                      <a:pt x="3162" y="580"/>
                      <a:pt x="8246" y="42"/>
                    </a:cubicBezTo>
                    <a:cubicBezTo>
                      <a:pt x="13270" y="-436"/>
                      <a:pt x="17755" y="3212"/>
                      <a:pt x="18294" y="8296"/>
                    </a:cubicBezTo>
                    <a:cubicBezTo>
                      <a:pt x="18832" y="13379"/>
                      <a:pt x="15184" y="17865"/>
                      <a:pt x="10100" y="18403"/>
                    </a:cubicBezTo>
                    <a:cubicBezTo>
                      <a:pt x="5076" y="18941"/>
                      <a:pt x="591" y="15233"/>
                      <a:pt x="53" y="10150"/>
                    </a:cubicBezTo>
                    <a:close/>
                  </a:path>
                </a:pathLst>
              </a:custGeom>
              <a:grpFill/>
              <a:ln w="5978" cap="flat">
                <a:noFill/>
                <a:prstDash val="solid"/>
                <a:miter/>
              </a:ln>
            </p:spPr>
            <p:txBody>
              <a:bodyPr rtlCol="0" anchor="ctr"/>
              <a:lstStyle/>
              <a:p>
                <a:endParaRPr lang="en-GB"/>
              </a:p>
            </p:txBody>
          </p:sp>
          <p:sp>
            <p:nvSpPr>
              <p:cNvPr id="3685" name="Vrije vorm: vorm 3684">
                <a:extLst>
                  <a:ext uri="{FF2B5EF4-FFF2-40B4-BE49-F238E27FC236}">
                    <a16:creationId xmlns:a16="http://schemas.microsoft.com/office/drawing/2014/main" id="{2C667A1E-D04A-4F7A-BE40-FE0CEA697349}"/>
                  </a:ext>
                </a:extLst>
              </p:cNvPr>
              <p:cNvSpPr/>
              <p:nvPr/>
            </p:nvSpPr>
            <p:spPr>
              <a:xfrm>
                <a:off x="5838527" y="1393865"/>
                <a:ext cx="18335" cy="18445"/>
              </a:xfrm>
              <a:custGeom>
                <a:avLst/>
                <a:gdLst>
                  <a:gd name="connsiteX0" fmla="*/ 53 w 18335"/>
                  <a:gd name="connsiteY0" fmla="*/ 10150 h 18445"/>
                  <a:gd name="connsiteX1" fmla="*/ 10100 w 18335"/>
                  <a:gd name="connsiteY1" fmla="*/ 18403 h 18445"/>
                  <a:gd name="connsiteX2" fmla="*/ 18294 w 18335"/>
                  <a:gd name="connsiteY2" fmla="*/ 8296 h 18445"/>
                  <a:gd name="connsiteX3" fmla="*/ 8246 w 18335"/>
                  <a:gd name="connsiteY3" fmla="*/ 42 h 18445"/>
                  <a:gd name="connsiteX4" fmla="*/ 53 w 18335"/>
                  <a:gd name="connsiteY4" fmla="*/ 1015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5">
                    <a:moveTo>
                      <a:pt x="53" y="10150"/>
                    </a:moveTo>
                    <a:cubicBezTo>
                      <a:pt x="591" y="15233"/>
                      <a:pt x="5076" y="18881"/>
                      <a:pt x="10100" y="18403"/>
                    </a:cubicBezTo>
                    <a:cubicBezTo>
                      <a:pt x="15124" y="17925"/>
                      <a:pt x="18772" y="13379"/>
                      <a:pt x="18294" y="8296"/>
                    </a:cubicBezTo>
                    <a:cubicBezTo>
                      <a:pt x="17755" y="3212"/>
                      <a:pt x="13270" y="-436"/>
                      <a:pt x="8246" y="42"/>
                    </a:cubicBezTo>
                    <a:cubicBezTo>
                      <a:pt x="3162" y="580"/>
                      <a:pt x="-486" y="5126"/>
                      <a:pt x="53" y="10150"/>
                    </a:cubicBezTo>
                    <a:close/>
                  </a:path>
                </a:pathLst>
              </a:custGeom>
              <a:grpFill/>
              <a:ln w="5978" cap="flat">
                <a:noFill/>
                <a:prstDash val="solid"/>
                <a:miter/>
              </a:ln>
            </p:spPr>
            <p:txBody>
              <a:bodyPr rtlCol="0" anchor="ctr"/>
              <a:lstStyle/>
              <a:p>
                <a:endParaRPr lang="en-GB"/>
              </a:p>
            </p:txBody>
          </p:sp>
        </p:grpSp>
        <p:grpSp>
          <p:nvGrpSpPr>
            <p:cNvPr id="569" name="Graphic 3">
              <a:extLst>
                <a:ext uri="{FF2B5EF4-FFF2-40B4-BE49-F238E27FC236}">
                  <a16:creationId xmlns:a16="http://schemas.microsoft.com/office/drawing/2014/main" id="{C70E474A-8AAA-47EE-913B-26607FE1DCAA}"/>
                </a:ext>
              </a:extLst>
            </p:cNvPr>
            <p:cNvGrpSpPr/>
            <p:nvPr/>
          </p:nvGrpSpPr>
          <p:grpSpPr>
            <a:xfrm>
              <a:off x="5936414" y="1430134"/>
              <a:ext cx="33872" cy="311269"/>
              <a:chOff x="5936414" y="1430134"/>
              <a:chExt cx="33872" cy="311269"/>
            </a:xfrm>
            <a:grpFill/>
          </p:grpSpPr>
          <p:sp>
            <p:nvSpPr>
              <p:cNvPr id="3680" name="Vrije vorm: vorm 3679">
                <a:extLst>
                  <a:ext uri="{FF2B5EF4-FFF2-40B4-BE49-F238E27FC236}">
                    <a16:creationId xmlns:a16="http://schemas.microsoft.com/office/drawing/2014/main" id="{900625E1-5692-4FF9-9542-D5E6F3F130F1}"/>
                  </a:ext>
                </a:extLst>
              </p:cNvPr>
              <p:cNvSpPr/>
              <p:nvPr/>
            </p:nvSpPr>
            <p:spPr>
              <a:xfrm>
                <a:off x="5944020" y="1438822"/>
                <a:ext cx="18660" cy="293892"/>
              </a:xfrm>
              <a:custGeom>
                <a:avLst/>
                <a:gdLst>
                  <a:gd name="connsiteX0" fmla="*/ 18660 w 18660"/>
                  <a:gd name="connsiteY0" fmla="*/ 179 h 293892"/>
                  <a:gd name="connsiteX1" fmla="*/ 3050 w 18660"/>
                  <a:gd name="connsiteY1" fmla="*/ 293893 h 293892"/>
                  <a:gd name="connsiteX2" fmla="*/ 0 w 18660"/>
                  <a:gd name="connsiteY2" fmla="*/ 293713 h 293892"/>
                  <a:gd name="connsiteX3" fmla="*/ 15610 w 18660"/>
                  <a:gd name="connsiteY3" fmla="*/ 0 h 293892"/>
                </a:gdLst>
                <a:ahLst/>
                <a:cxnLst>
                  <a:cxn ang="0">
                    <a:pos x="connsiteX0" y="connsiteY0"/>
                  </a:cxn>
                  <a:cxn ang="0">
                    <a:pos x="connsiteX1" y="connsiteY1"/>
                  </a:cxn>
                  <a:cxn ang="0">
                    <a:pos x="connsiteX2" y="connsiteY2"/>
                  </a:cxn>
                  <a:cxn ang="0">
                    <a:pos x="connsiteX3" y="connsiteY3"/>
                  </a:cxn>
                </a:cxnLst>
                <a:rect l="l" t="t" r="r" b="b"/>
                <a:pathLst>
                  <a:path w="18660" h="293892">
                    <a:moveTo>
                      <a:pt x="18660" y="179"/>
                    </a:moveTo>
                    <a:lnTo>
                      <a:pt x="3050" y="293893"/>
                    </a:lnTo>
                    <a:lnTo>
                      <a:pt x="0" y="293713"/>
                    </a:lnTo>
                    <a:lnTo>
                      <a:pt x="15610" y="0"/>
                    </a:lnTo>
                    <a:close/>
                  </a:path>
                </a:pathLst>
              </a:custGeom>
              <a:grpFill/>
              <a:ln w="5978" cap="flat">
                <a:noFill/>
                <a:prstDash val="solid"/>
                <a:miter/>
              </a:ln>
            </p:spPr>
            <p:txBody>
              <a:bodyPr rtlCol="0" anchor="ctr"/>
              <a:lstStyle/>
              <a:p>
                <a:endParaRPr lang="en-GB"/>
              </a:p>
            </p:txBody>
          </p:sp>
          <p:sp>
            <p:nvSpPr>
              <p:cNvPr id="3681" name="Vrije vorm: vorm 3680">
                <a:extLst>
                  <a:ext uri="{FF2B5EF4-FFF2-40B4-BE49-F238E27FC236}">
                    <a16:creationId xmlns:a16="http://schemas.microsoft.com/office/drawing/2014/main" id="{5EF22C2C-F05D-45FF-8511-827504CF4BCD}"/>
                  </a:ext>
                </a:extLst>
              </p:cNvPr>
              <p:cNvSpPr/>
              <p:nvPr/>
            </p:nvSpPr>
            <p:spPr>
              <a:xfrm>
                <a:off x="5936414" y="1722950"/>
                <a:ext cx="18322" cy="18452"/>
              </a:xfrm>
              <a:custGeom>
                <a:avLst/>
                <a:gdLst>
                  <a:gd name="connsiteX0" fmla="*/ 18312 w 18322"/>
                  <a:gd name="connsiteY0" fmla="*/ 9765 h 18452"/>
                  <a:gd name="connsiteX1" fmla="*/ 8683 w 18322"/>
                  <a:gd name="connsiteY1" fmla="*/ 18437 h 18452"/>
                  <a:gd name="connsiteX2" fmla="*/ 11 w 18322"/>
                  <a:gd name="connsiteY2" fmla="*/ 8688 h 18452"/>
                  <a:gd name="connsiteX3" fmla="*/ 9640 w 18322"/>
                  <a:gd name="connsiteY3" fmla="*/ 16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072" y="14848"/>
                      <a:pt x="13706" y="18736"/>
                      <a:pt x="8683" y="18437"/>
                    </a:cubicBezTo>
                    <a:cubicBezTo>
                      <a:pt x="3599" y="18138"/>
                      <a:pt x="-229" y="13772"/>
                      <a:pt x="11" y="8688"/>
                    </a:cubicBezTo>
                    <a:cubicBezTo>
                      <a:pt x="310" y="3605"/>
                      <a:pt x="4616" y="-283"/>
                      <a:pt x="9640" y="16"/>
                    </a:cubicBezTo>
                    <a:cubicBezTo>
                      <a:pt x="14663" y="315"/>
                      <a:pt x="18551" y="4681"/>
                      <a:pt x="18312" y="9765"/>
                    </a:cubicBezTo>
                    <a:close/>
                  </a:path>
                </a:pathLst>
              </a:custGeom>
              <a:grpFill/>
              <a:ln w="5978" cap="flat">
                <a:noFill/>
                <a:prstDash val="solid"/>
                <a:miter/>
              </a:ln>
            </p:spPr>
            <p:txBody>
              <a:bodyPr rtlCol="0" anchor="ctr"/>
              <a:lstStyle/>
              <a:p>
                <a:endParaRPr lang="en-GB"/>
              </a:p>
            </p:txBody>
          </p:sp>
          <p:sp>
            <p:nvSpPr>
              <p:cNvPr id="3682" name="Vrije vorm: vorm 3681">
                <a:extLst>
                  <a:ext uri="{FF2B5EF4-FFF2-40B4-BE49-F238E27FC236}">
                    <a16:creationId xmlns:a16="http://schemas.microsoft.com/office/drawing/2014/main" id="{E14D5646-67C6-4A4D-A779-5FA822A72CB7}"/>
                  </a:ext>
                </a:extLst>
              </p:cNvPr>
              <p:cNvSpPr/>
              <p:nvPr/>
            </p:nvSpPr>
            <p:spPr>
              <a:xfrm>
                <a:off x="5951963" y="1430134"/>
                <a:ext cx="18322" cy="18452"/>
              </a:xfrm>
              <a:custGeom>
                <a:avLst/>
                <a:gdLst>
                  <a:gd name="connsiteX0" fmla="*/ 18312 w 18322"/>
                  <a:gd name="connsiteY0" fmla="*/ 9765 h 18452"/>
                  <a:gd name="connsiteX1" fmla="*/ 9639 w 18322"/>
                  <a:gd name="connsiteY1" fmla="*/ 16 h 18452"/>
                  <a:gd name="connsiteX2" fmla="*/ 11 w 18322"/>
                  <a:gd name="connsiteY2" fmla="*/ 8688 h 18452"/>
                  <a:gd name="connsiteX3" fmla="*/ 8683 w 18322"/>
                  <a:gd name="connsiteY3" fmla="*/ 18437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551" y="4681"/>
                      <a:pt x="14723" y="315"/>
                      <a:pt x="9639" y="16"/>
                    </a:cubicBezTo>
                    <a:cubicBezTo>
                      <a:pt x="4556" y="-283"/>
                      <a:pt x="250" y="3605"/>
                      <a:pt x="11" y="8688"/>
                    </a:cubicBezTo>
                    <a:cubicBezTo>
                      <a:pt x="-228" y="13772"/>
                      <a:pt x="3599" y="18138"/>
                      <a:pt x="8683" y="18437"/>
                    </a:cubicBezTo>
                    <a:cubicBezTo>
                      <a:pt x="13707" y="18736"/>
                      <a:pt x="18013" y="14848"/>
                      <a:pt x="18312" y="9765"/>
                    </a:cubicBezTo>
                    <a:close/>
                  </a:path>
                </a:pathLst>
              </a:custGeom>
              <a:grpFill/>
              <a:ln w="5978" cap="flat">
                <a:noFill/>
                <a:prstDash val="solid"/>
                <a:miter/>
              </a:ln>
            </p:spPr>
            <p:txBody>
              <a:bodyPr rtlCol="0" anchor="ctr"/>
              <a:lstStyle/>
              <a:p>
                <a:endParaRPr lang="en-GB"/>
              </a:p>
            </p:txBody>
          </p:sp>
        </p:grpSp>
        <p:grpSp>
          <p:nvGrpSpPr>
            <p:cNvPr id="570" name="Graphic 3">
              <a:extLst>
                <a:ext uri="{FF2B5EF4-FFF2-40B4-BE49-F238E27FC236}">
                  <a16:creationId xmlns:a16="http://schemas.microsoft.com/office/drawing/2014/main" id="{07C7CB0D-050E-4FDE-9C42-CFED4E807F43}"/>
                </a:ext>
              </a:extLst>
            </p:cNvPr>
            <p:cNvGrpSpPr/>
            <p:nvPr/>
          </p:nvGrpSpPr>
          <p:grpSpPr>
            <a:xfrm>
              <a:off x="5963028" y="1645625"/>
              <a:ext cx="22029" cy="97386"/>
              <a:chOff x="5963028" y="1645625"/>
              <a:chExt cx="22029" cy="97386"/>
            </a:xfrm>
            <a:grpFill/>
          </p:grpSpPr>
          <p:sp>
            <p:nvSpPr>
              <p:cNvPr id="3677" name="Vrije vorm: vorm 3676">
                <a:extLst>
                  <a:ext uri="{FF2B5EF4-FFF2-40B4-BE49-F238E27FC236}">
                    <a16:creationId xmlns:a16="http://schemas.microsoft.com/office/drawing/2014/main" id="{78F198F2-7759-4359-A8CC-17F8E05079B5}"/>
                  </a:ext>
                </a:extLst>
              </p:cNvPr>
              <p:cNvSpPr/>
              <p:nvPr/>
            </p:nvSpPr>
            <p:spPr>
              <a:xfrm>
                <a:off x="5970634" y="1654308"/>
                <a:ext cx="6818" cy="80081"/>
              </a:xfrm>
              <a:custGeom>
                <a:avLst/>
                <a:gdLst>
                  <a:gd name="connsiteX0" fmla="*/ 3050 w 6818"/>
                  <a:gd name="connsiteY0" fmla="*/ 0 h 80081"/>
                  <a:gd name="connsiteX1" fmla="*/ 6818 w 6818"/>
                  <a:gd name="connsiteY1" fmla="*/ 79902 h 80081"/>
                  <a:gd name="connsiteX2" fmla="*/ 3768 w 6818"/>
                  <a:gd name="connsiteY2" fmla="*/ 80082 h 80081"/>
                  <a:gd name="connsiteX3" fmla="*/ 0 w 6818"/>
                  <a:gd name="connsiteY3" fmla="*/ 120 h 80081"/>
                </a:gdLst>
                <a:ahLst/>
                <a:cxnLst>
                  <a:cxn ang="0">
                    <a:pos x="connsiteX0" y="connsiteY0"/>
                  </a:cxn>
                  <a:cxn ang="0">
                    <a:pos x="connsiteX1" y="connsiteY1"/>
                  </a:cxn>
                  <a:cxn ang="0">
                    <a:pos x="connsiteX2" y="connsiteY2"/>
                  </a:cxn>
                  <a:cxn ang="0">
                    <a:pos x="connsiteX3" y="connsiteY3"/>
                  </a:cxn>
                </a:cxnLst>
                <a:rect l="l" t="t" r="r" b="b"/>
                <a:pathLst>
                  <a:path w="6818" h="80081">
                    <a:moveTo>
                      <a:pt x="3050" y="0"/>
                    </a:moveTo>
                    <a:lnTo>
                      <a:pt x="6818" y="79902"/>
                    </a:lnTo>
                    <a:lnTo>
                      <a:pt x="3768" y="80082"/>
                    </a:lnTo>
                    <a:lnTo>
                      <a:pt x="0" y="120"/>
                    </a:lnTo>
                    <a:close/>
                  </a:path>
                </a:pathLst>
              </a:custGeom>
              <a:grpFill/>
              <a:ln w="5978" cap="flat">
                <a:noFill/>
                <a:prstDash val="solid"/>
                <a:miter/>
              </a:ln>
            </p:spPr>
            <p:txBody>
              <a:bodyPr rtlCol="0" anchor="ctr"/>
              <a:lstStyle/>
              <a:p>
                <a:endParaRPr lang="en-GB"/>
              </a:p>
            </p:txBody>
          </p:sp>
          <p:sp>
            <p:nvSpPr>
              <p:cNvPr id="3678" name="Vrije vorm: vorm 3677">
                <a:extLst>
                  <a:ext uri="{FF2B5EF4-FFF2-40B4-BE49-F238E27FC236}">
                    <a16:creationId xmlns:a16="http://schemas.microsoft.com/office/drawing/2014/main" id="{8D604000-DF7D-497D-B8A7-472320B4A105}"/>
                  </a:ext>
                </a:extLst>
              </p:cNvPr>
              <p:cNvSpPr/>
              <p:nvPr/>
            </p:nvSpPr>
            <p:spPr>
              <a:xfrm>
                <a:off x="5963028" y="1645625"/>
                <a:ext cx="18321" cy="18436"/>
              </a:xfrm>
              <a:custGeom>
                <a:avLst/>
                <a:gdLst>
                  <a:gd name="connsiteX0" fmla="*/ 10 w 18321"/>
                  <a:gd name="connsiteY0" fmla="*/ 9639 h 18436"/>
                  <a:gd name="connsiteX1" fmla="*/ 8742 w 18321"/>
                  <a:gd name="connsiteY1" fmla="*/ 10 h 18436"/>
                  <a:gd name="connsiteX2" fmla="*/ 18311 w 18321"/>
                  <a:gd name="connsiteY2" fmla="*/ 8802 h 18436"/>
                  <a:gd name="connsiteX3" fmla="*/ 9580 w 18321"/>
                  <a:gd name="connsiteY3" fmla="*/ 18431 h 18436"/>
                  <a:gd name="connsiteX4" fmla="*/ 10 w 18321"/>
                  <a:gd name="connsiteY4" fmla="*/ 963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0" y="9639"/>
                    </a:moveTo>
                    <a:cubicBezTo>
                      <a:pt x="-229" y="4556"/>
                      <a:pt x="3659" y="250"/>
                      <a:pt x="8742" y="10"/>
                    </a:cubicBezTo>
                    <a:cubicBezTo>
                      <a:pt x="13826" y="-229"/>
                      <a:pt x="18072" y="3718"/>
                      <a:pt x="18311" y="8802"/>
                    </a:cubicBezTo>
                    <a:cubicBezTo>
                      <a:pt x="18551" y="13886"/>
                      <a:pt x="14663" y="18192"/>
                      <a:pt x="9580" y="18431"/>
                    </a:cubicBezTo>
                    <a:cubicBezTo>
                      <a:pt x="4496" y="18610"/>
                      <a:pt x="250" y="14723"/>
                      <a:pt x="10" y="9639"/>
                    </a:cubicBezTo>
                    <a:close/>
                  </a:path>
                </a:pathLst>
              </a:custGeom>
              <a:grpFill/>
              <a:ln w="5978" cap="flat">
                <a:noFill/>
                <a:prstDash val="solid"/>
                <a:miter/>
              </a:ln>
            </p:spPr>
            <p:txBody>
              <a:bodyPr rtlCol="0" anchor="ctr"/>
              <a:lstStyle/>
              <a:p>
                <a:endParaRPr lang="en-GB"/>
              </a:p>
            </p:txBody>
          </p:sp>
          <p:sp>
            <p:nvSpPr>
              <p:cNvPr id="3679" name="Vrije vorm: vorm 3678">
                <a:extLst>
                  <a:ext uri="{FF2B5EF4-FFF2-40B4-BE49-F238E27FC236}">
                    <a16:creationId xmlns:a16="http://schemas.microsoft.com/office/drawing/2014/main" id="{A38985EB-4873-491B-AABD-D05F411A815E}"/>
                  </a:ext>
                </a:extLst>
              </p:cNvPr>
              <p:cNvSpPr/>
              <p:nvPr/>
            </p:nvSpPr>
            <p:spPr>
              <a:xfrm>
                <a:off x="5966736" y="1724571"/>
                <a:ext cx="18321" cy="18441"/>
              </a:xfrm>
              <a:custGeom>
                <a:avLst/>
                <a:gdLst>
                  <a:gd name="connsiteX0" fmla="*/ 10 w 18321"/>
                  <a:gd name="connsiteY0" fmla="*/ 9639 h 18441"/>
                  <a:gd name="connsiteX1" fmla="*/ 9580 w 18321"/>
                  <a:gd name="connsiteY1" fmla="*/ 18431 h 18441"/>
                  <a:gd name="connsiteX2" fmla="*/ 18311 w 18321"/>
                  <a:gd name="connsiteY2" fmla="*/ 8802 h 18441"/>
                  <a:gd name="connsiteX3" fmla="*/ 8742 w 18321"/>
                  <a:gd name="connsiteY3" fmla="*/ 10 h 18441"/>
                  <a:gd name="connsiteX4" fmla="*/ 10 w 1832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0" y="9639"/>
                    </a:moveTo>
                    <a:cubicBezTo>
                      <a:pt x="250" y="14723"/>
                      <a:pt x="4556" y="18670"/>
                      <a:pt x="9580" y="18431"/>
                    </a:cubicBezTo>
                    <a:cubicBezTo>
                      <a:pt x="14663" y="18192"/>
                      <a:pt x="18551" y="13886"/>
                      <a:pt x="18311" y="8802"/>
                    </a:cubicBezTo>
                    <a:cubicBezTo>
                      <a:pt x="18072" y="3718"/>
                      <a:pt x="13766" y="-229"/>
                      <a:pt x="8742" y="10"/>
                    </a:cubicBezTo>
                    <a:cubicBezTo>
                      <a:pt x="3659" y="309"/>
                      <a:pt x="-229" y="4556"/>
                      <a:pt x="10" y="9639"/>
                    </a:cubicBezTo>
                    <a:close/>
                  </a:path>
                </a:pathLst>
              </a:custGeom>
              <a:grpFill/>
              <a:ln w="5978" cap="flat">
                <a:noFill/>
                <a:prstDash val="solid"/>
                <a:miter/>
              </a:ln>
            </p:spPr>
            <p:txBody>
              <a:bodyPr rtlCol="0" anchor="ctr"/>
              <a:lstStyle/>
              <a:p>
                <a:endParaRPr lang="en-GB"/>
              </a:p>
            </p:txBody>
          </p:sp>
        </p:grpSp>
        <p:grpSp>
          <p:nvGrpSpPr>
            <p:cNvPr id="571" name="Graphic 3">
              <a:extLst>
                <a:ext uri="{FF2B5EF4-FFF2-40B4-BE49-F238E27FC236}">
                  <a16:creationId xmlns:a16="http://schemas.microsoft.com/office/drawing/2014/main" id="{C2D87CC3-31D4-4BEA-85FD-93D4755908C6}"/>
                </a:ext>
              </a:extLst>
            </p:cNvPr>
            <p:cNvGrpSpPr/>
            <p:nvPr/>
          </p:nvGrpSpPr>
          <p:grpSpPr>
            <a:xfrm>
              <a:off x="5924380" y="1556148"/>
              <a:ext cx="21211" cy="62292"/>
              <a:chOff x="5924380" y="1556148"/>
              <a:chExt cx="21211" cy="62292"/>
            </a:xfrm>
            <a:grpFill/>
          </p:grpSpPr>
          <p:sp>
            <p:nvSpPr>
              <p:cNvPr id="3674" name="Vrije vorm: vorm 3673">
                <a:extLst>
                  <a:ext uri="{FF2B5EF4-FFF2-40B4-BE49-F238E27FC236}">
                    <a16:creationId xmlns:a16="http://schemas.microsoft.com/office/drawing/2014/main" id="{A206D277-FAD7-448C-9B5D-6D01CC1ED65F}"/>
                  </a:ext>
                </a:extLst>
              </p:cNvPr>
              <p:cNvSpPr/>
              <p:nvPr/>
            </p:nvSpPr>
            <p:spPr>
              <a:xfrm>
                <a:off x="5931999" y="1564776"/>
                <a:ext cx="5980" cy="44974"/>
              </a:xfrm>
              <a:custGeom>
                <a:avLst/>
                <a:gdLst>
                  <a:gd name="connsiteX0" fmla="*/ 2990 w 5980"/>
                  <a:gd name="connsiteY0" fmla="*/ 0 h 44974"/>
                  <a:gd name="connsiteX1" fmla="*/ 5981 w 5980"/>
                  <a:gd name="connsiteY1" fmla="*/ 44796 h 44974"/>
                  <a:gd name="connsiteX2" fmla="*/ 2930 w 5980"/>
                  <a:gd name="connsiteY2" fmla="*/ 44975 h 44974"/>
                  <a:gd name="connsiteX3" fmla="*/ 0 w 5980"/>
                  <a:gd name="connsiteY3" fmla="*/ 239 h 44974"/>
                </a:gdLst>
                <a:ahLst/>
                <a:cxnLst>
                  <a:cxn ang="0">
                    <a:pos x="connsiteX0" y="connsiteY0"/>
                  </a:cxn>
                  <a:cxn ang="0">
                    <a:pos x="connsiteX1" y="connsiteY1"/>
                  </a:cxn>
                  <a:cxn ang="0">
                    <a:pos x="connsiteX2" y="connsiteY2"/>
                  </a:cxn>
                  <a:cxn ang="0">
                    <a:pos x="connsiteX3" y="connsiteY3"/>
                  </a:cxn>
                </a:cxnLst>
                <a:rect l="l" t="t" r="r" b="b"/>
                <a:pathLst>
                  <a:path w="5980" h="44974">
                    <a:moveTo>
                      <a:pt x="2990" y="0"/>
                    </a:moveTo>
                    <a:lnTo>
                      <a:pt x="5981" y="44796"/>
                    </a:lnTo>
                    <a:lnTo>
                      <a:pt x="2930" y="44975"/>
                    </a:lnTo>
                    <a:lnTo>
                      <a:pt x="0" y="239"/>
                    </a:lnTo>
                    <a:close/>
                  </a:path>
                </a:pathLst>
              </a:custGeom>
              <a:grpFill/>
              <a:ln w="5978" cap="flat">
                <a:noFill/>
                <a:prstDash val="solid"/>
                <a:miter/>
              </a:ln>
            </p:spPr>
            <p:txBody>
              <a:bodyPr rtlCol="0" anchor="ctr"/>
              <a:lstStyle/>
              <a:p>
                <a:endParaRPr lang="en-GB"/>
              </a:p>
            </p:txBody>
          </p:sp>
          <p:sp>
            <p:nvSpPr>
              <p:cNvPr id="3675" name="Vrije vorm: vorm 3674">
                <a:extLst>
                  <a:ext uri="{FF2B5EF4-FFF2-40B4-BE49-F238E27FC236}">
                    <a16:creationId xmlns:a16="http://schemas.microsoft.com/office/drawing/2014/main" id="{88BF150E-D5F8-4621-BF82-31E9CB4A24EB}"/>
                  </a:ext>
                </a:extLst>
              </p:cNvPr>
              <p:cNvSpPr/>
              <p:nvPr/>
            </p:nvSpPr>
            <p:spPr>
              <a:xfrm>
                <a:off x="5924380" y="1556148"/>
                <a:ext cx="18347" cy="18400"/>
              </a:xfrm>
              <a:custGeom>
                <a:avLst/>
                <a:gdLst>
                  <a:gd name="connsiteX0" fmla="*/ 23 w 18347"/>
                  <a:gd name="connsiteY0" fmla="*/ 9765 h 18400"/>
                  <a:gd name="connsiteX1" fmla="*/ 8576 w 18347"/>
                  <a:gd name="connsiteY1" fmla="*/ 16 h 18400"/>
                  <a:gd name="connsiteX2" fmla="*/ 18324 w 18347"/>
                  <a:gd name="connsiteY2" fmla="*/ 8629 h 18400"/>
                  <a:gd name="connsiteX3" fmla="*/ 9772 w 18347"/>
                  <a:gd name="connsiteY3" fmla="*/ 18377 h 18400"/>
                  <a:gd name="connsiteX4" fmla="*/ 23 w 18347"/>
                  <a:gd name="connsiteY4" fmla="*/ 976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23" y="9765"/>
                    </a:moveTo>
                    <a:cubicBezTo>
                      <a:pt x="-336" y="4681"/>
                      <a:pt x="3492" y="315"/>
                      <a:pt x="8576" y="16"/>
                    </a:cubicBezTo>
                    <a:cubicBezTo>
                      <a:pt x="13600" y="-283"/>
                      <a:pt x="17965" y="3545"/>
                      <a:pt x="18324" y="8629"/>
                    </a:cubicBezTo>
                    <a:cubicBezTo>
                      <a:pt x="18683" y="13712"/>
                      <a:pt x="14855" y="18078"/>
                      <a:pt x="9772" y="18377"/>
                    </a:cubicBezTo>
                    <a:cubicBezTo>
                      <a:pt x="4688" y="18736"/>
                      <a:pt x="322" y="14849"/>
                      <a:pt x="23" y="9765"/>
                    </a:cubicBezTo>
                    <a:close/>
                  </a:path>
                </a:pathLst>
              </a:custGeom>
              <a:grpFill/>
              <a:ln w="5978" cap="flat">
                <a:noFill/>
                <a:prstDash val="solid"/>
                <a:miter/>
              </a:ln>
            </p:spPr>
            <p:txBody>
              <a:bodyPr rtlCol="0" anchor="ctr"/>
              <a:lstStyle/>
              <a:p>
                <a:endParaRPr lang="en-GB"/>
              </a:p>
            </p:txBody>
          </p:sp>
          <p:sp>
            <p:nvSpPr>
              <p:cNvPr id="3676" name="Vrije vorm: vorm 3675">
                <a:extLst>
                  <a:ext uri="{FF2B5EF4-FFF2-40B4-BE49-F238E27FC236}">
                    <a16:creationId xmlns:a16="http://schemas.microsoft.com/office/drawing/2014/main" id="{3829A73C-F80C-44B4-89E8-892F2DE8D3BA}"/>
                  </a:ext>
                </a:extLst>
              </p:cNvPr>
              <p:cNvSpPr/>
              <p:nvPr/>
            </p:nvSpPr>
            <p:spPr>
              <a:xfrm>
                <a:off x="5927250" y="1600046"/>
                <a:ext cx="18340" cy="18393"/>
              </a:xfrm>
              <a:custGeom>
                <a:avLst/>
                <a:gdLst>
                  <a:gd name="connsiteX0" fmla="*/ 23 w 18340"/>
                  <a:gd name="connsiteY0" fmla="*/ 9765 h 18393"/>
                  <a:gd name="connsiteX1" fmla="*/ 9772 w 18340"/>
                  <a:gd name="connsiteY1" fmla="*/ 18377 h 18393"/>
                  <a:gd name="connsiteX2" fmla="*/ 18324 w 18340"/>
                  <a:gd name="connsiteY2" fmla="*/ 8629 h 18393"/>
                  <a:gd name="connsiteX3" fmla="*/ 8576 w 18340"/>
                  <a:gd name="connsiteY3" fmla="*/ 16 h 18393"/>
                  <a:gd name="connsiteX4" fmla="*/ 23 w 18340"/>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23" y="9765"/>
                    </a:moveTo>
                    <a:cubicBezTo>
                      <a:pt x="382" y="14849"/>
                      <a:pt x="4748" y="18676"/>
                      <a:pt x="9772" y="18377"/>
                    </a:cubicBezTo>
                    <a:cubicBezTo>
                      <a:pt x="14796" y="18078"/>
                      <a:pt x="18623" y="13712"/>
                      <a:pt x="18324" y="8629"/>
                    </a:cubicBezTo>
                    <a:cubicBezTo>
                      <a:pt x="17965" y="3545"/>
                      <a:pt x="13600" y="-283"/>
                      <a:pt x="8576" y="16"/>
                    </a:cubicBezTo>
                    <a:cubicBezTo>
                      <a:pt x="3492" y="315"/>
                      <a:pt x="-336" y="4681"/>
                      <a:pt x="23" y="9765"/>
                    </a:cubicBezTo>
                    <a:close/>
                  </a:path>
                </a:pathLst>
              </a:custGeom>
              <a:grpFill/>
              <a:ln w="5978" cap="flat">
                <a:noFill/>
                <a:prstDash val="solid"/>
                <a:miter/>
              </a:ln>
            </p:spPr>
            <p:txBody>
              <a:bodyPr rtlCol="0" anchor="ctr"/>
              <a:lstStyle/>
              <a:p>
                <a:endParaRPr lang="en-GB"/>
              </a:p>
            </p:txBody>
          </p:sp>
        </p:grpSp>
        <p:grpSp>
          <p:nvGrpSpPr>
            <p:cNvPr id="572" name="Graphic 3">
              <a:extLst>
                <a:ext uri="{FF2B5EF4-FFF2-40B4-BE49-F238E27FC236}">
                  <a16:creationId xmlns:a16="http://schemas.microsoft.com/office/drawing/2014/main" id="{9DF36171-7690-46CB-98B1-E5C7D2FE096E}"/>
                </a:ext>
              </a:extLst>
            </p:cNvPr>
            <p:cNvGrpSpPr/>
            <p:nvPr/>
          </p:nvGrpSpPr>
          <p:grpSpPr>
            <a:xfrm>
              <a:off x="6969778" y="4834469"/>
              <a:ext cx="261348" cy="466217"/>
              <a:chOff x="6969778" y="4834469"/>
              <a:chExt cx="261348" cy="466217"/>
            </a:xfrm>
            <a:grpFill/>
          </p:grpSpPr>
          <p:sp>
            <p:nvSpPr>
              <p:cNvPr id="3671" name="Vrije vorm: vorm 3670">
                <a:extLst>
                  <a:ext uri="{FF2B5EF4-FFF2-40B4-BE49-F238E27FC236}">
                    <a16:creationId xmlns:a16="http://schemas.microsoft.com/office/drawing/2014/main" id="{04FE1DBB-24B5-44E8-A568-BD27755CE891}"/>
                  </a:ext>
                </a:extLst>
              </p:cNvPr>
              <p:cNvSpPr/>
              <p:nvPr/>
            </p:nvSpPr>
            <p:spPr>
              <a:xfrm>
                <a:off x="6977429" y="4842570"/>
                <a:ext cx="246047" cy="450049"/>
              </a:xfrm>
              <a:custGeom>
                <a:avLst/>
                <a:gdLst>
                  <a:gd name="connsiteX0" fmla="*/ 246047 w 246047"/>
                  <a:gd name="connsiteY0" fmla="*/ 448614 h 450049"/>
                  <a:gd name="connsiteX1" fmla="*/ 243416 w 246047"/>
                  <a:gd name="connsiteY1" fmla="*/ 450049 h 450049"/>
                  <a:gd name="connsiteX2" fmla="*/ 0 w 246047"/>
                  <a:gd name="connsiteY2" fmla="*/ 1435 h 450049"/>
                  <a:gd name="connsiteX3" fmla="*/ 2692 w 246047"/>
                  <a:gd name="connsiteY3" fmla="*/ 0 h 450049"/>
                </a:gdLst>
                <a:ahLst/>
                <a:cxnLst>
                  <a:cxn ang="0">
                    <a:pos x="connsiteX0" y="connsiteY0"/>
                  </a:cxn>
                  <a:cxn ang="0">
                    <a:pos x="connsiteX1" y="connsiteY1"/>
                  </a:cxn>
                  <a:cxn ang="0">
                    <a:pos x="connsiteX2" y="connsiteY2"/>
                  </a:cxn>
                  <a:cxn ang="0">
                    <a:pos x="connsiteX3" y="connsiteY3"/>
                  </a:cxn>
                </a:cxnLst>
                <a:rect l="l" t="t" r="r" b="b"/>
                <a:pathLst>
                  <a:path w="246047" h="450049">
                    <a:moveTo>
                      <a:pt x="246047" y="448614"/>
                    </a:moveTo>
                    <a:lnTo>
                      <a:pt x="243416" y="450049"/>
                    </a:lnTo>
                    <a:lnTo>
                      <a:pt x="0" y="1435"/>
                    </a:lnTo>
                    <a:lnTo>
                      <a:pt x="2692" y="0"/>
                    </a:lnTo>
                    <a:close/>
                  </a:path>
                </a:pathLst>
              </a:custGeom>
              <a:grpFill/>
              <a:ln w="5978" cap="flat">
                <a:noFill/>
                <a:prstDash val="solid"/>
                <a:miter/>
              </a:ln>
            </p:spPr>
            <p:txBody>
              <a:bodyPr rtlCol="0" anchor="ctr"/>
              <a:lstStyle/>
              <a:p>
                <a:endParaRPr lang="en-GB"/>
              </a:p>
            </p:txBody>
          </p:sp>
          <p:sp>
            <p:nvSpPr>
              <p:cNvPr id="3672" name="Vrije vorm: vorm 3671">
                <a:extLst>
                  <a:ext uri="{FF2B5EF4-FFF2-40B4-BE49-F238E27FC236}">
                    <a16:creationId xmlns:a16="http://schemas.microsoft.com/office/drawing/2014/main" id="{8C434EDD-F266-4360-9A0F-EF9E641A393B}"/>
                  </a:ext>
                </a:extLst>
              </p:cNvPr>
              <p:cNvSpPr/>
              <p:nvPr/>
            </p:nvSpPr>
            <p:spPr>
              <a:xfrm>
                <a:off x="6969778" y="4834469"/>
                <a:ext cx="18352" cy="18441"/>
              </a:xfrm>
              <a:custGeom>
                <a:avLst/>
                <a:gdLst>
                  <a:gd name="connsiteX0" fmla="*/ 1132 w 18352"/>
                  <a:gd name="connsiteY0" fmla="*/ 13603 h 18441"/>
                  <a:gd name="connsiteX1" fmla="*/ 4780 w 18352"/>
                  <a:gd name="connsiteY1" fmla="*/ 1104 h 18441"/>
                  <a:gd name="connsiteX2" fmla="*/ 17220 w 18352"/>
                  <a:gd name="connsiteY2" fmla="*/ 4812 h 18441"/>
                  <a:gd name="connsiteX3" fmla="*/ 13572 w 18352"/>
                  <a:gd name="connsiteY3" fmla="*/ 17311 h 18441"/>
                  <a:gd name="connsiteX4" fmla="*/ 1132 w 18352"/>
                  <a:gd name="connsiteY4" fmla="*/ 13603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41">
                    <a:moveTo>
                      <a:pt x="1132" y="13603"/>
                    </a:moveTo>
                    <a:cubicBezTo>
                      <a:pt x="-1320" y="9118"/>
                      <a:pt x="354" y="3556"/>
                      <a:pt x="4780" y="1104"/>
                    </a:cubicBezTo>
                    <a:cubicBezTo>
                      <a:pt x="9206" y="-1289"/>
                      <a:pt x="14768" y="326"/>
                      <a:pt x="17220" y="4812"/>
                    </a:cubicBezTo>
                    <a:cubicBezTo>
                      <a:pt x="19672" y="9297"/>
                      <a:pt x="17998" y="14859"/>
                      <a:pt x="13572" y="17311"/>
                    </a:cubicBezTo>
                    <a:cubicBezTo>
                      <a:pt x="9146" y="19763"/>
                      <a:pt x="3584" y="18089"/>
                      <a:pt x="1132" y="13603"/>
                    </a:cubicBezTo>
                    <a:close/>
                  </a:path>
                </a:pathLst>
              </a:custGeom>
              <a:grpFill/>
              <a:ln w="5978" cap="flat">
                <a:noFill/>
                <a:prstDash val="solid"/>
                <a:miter/>
              </a:ln>
            </p:spPr>
            <p:txBody>
              <a:bodyPr rtlCol="0" anchor="ctr"/>
              <a:lstStyle/>
              <a:p>
                <a:endParaRPr lang="en-GB"/>
              </a:p>
            </p:txBody>
          </p:sp>
          <p:sp>
            <p:nvSpPr>
              <p:cNvPr id="3673" name="Vrije vorm: vorm 3672">
                <a:extLst>
                  <a:ext uri="{FF2B5EF4-FFF2-40B4-BE49-F238E27FC236}">
                    <a16:creationId xmlns:a16="http://schemas.microsoft.com/office/drawing/2014/main" id="{9DFF922C-B45D-462E-BFDA-BAD38B2FF175}"/>
                  </a:ext>
                </a:extLst>
              </p:cNvPr>
              <p:cNvSpPr/>
              <p:nvPr/>
            </p:nvSpPr>
            <p:spPr>
              <a:xfrm>
                <a:off x="7212762" y="5282220"/>
                <a:ext cx="18364" cy="18467"/>
              </a:xfrm>
              <a:custGeom>
                <a:avLst/>
                <a:gdLst>
                  <a:gd name="connsiteX0" fmla="*/ 1144 w 18364"/>
                  <a:gd name="connsiteY0" fmla="*/ 13630 h 18467"/>
                  <a:gd name="connsiteX1" fmla="*/ 13584 w 18364"/>
                  <a:gd name="connsiteY1" fmla="*/ 17338 h 18467"/>
                  <a:gd name="connsiteX2" fmla="*/ 17233 w 18364"/>
                  <a:gd name="connsiteY2" fmla="*/ 4838 h 18467"/>
                  <a:gd name="connsiteX3" fmla="*/ 4792 w 18364"/>
                  <a:gd name="connsiteY3" fmla="*/ 1130 h 18467"/>
                  <a:gd name="connsiteX4" fmla="*/ 1144 w 18364"/>
                  <a:gd name="connsiteY4" fmla="*/ 136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67">
                    <a:moveTo>
                      <a:pt x="1144" y="13630"/>
                    </a:moveTo>
                    <a:cubicBezTo>
                      <a:pt x="3596" y="18115"/>
                      <a:pt x="9158" y="19790"/>
                      <a:pt x="13584" y="17338"/>
                    </a:cubicBezTo>
                    <a:cubicBezTo>
                      <a:pt x="18010" y="14886"/>
                      <a:pt x="19684" y="9323"/>
                      <a:pt x="17233" y="4838"/>
                    </a:cubicBezTo>
                    <a:cubicBezTo>
                      <a:pt x="14780" y="352"/>
                      <a:pt x="9218" y="-1322"/>
                      <a:pt x="4792" y="1130"/>
                    </a:cubicBezTo>
                    <a:cubicBezTo>
                      <a:pt x="307" y="3582"/>
                      <a:pt x="-1308" y="9204"/>
                      <a:pt x="1144" y="13630"/>
                    </a:cubicBezTo>
                    <a:close/>
                  </a:path>
                </a:pathLst>
              </a:custGeom>
              <a:grpFill/>
              <a:ln w="5978" cap="flat">
                <a:noFill/>
                <a:prstDash val="solid"/>
                <a:miter/>
              </a:ln>
            </p:spPr>
            <p:txBody>
              <a:bodyPr rtlCol="0" anchor="ctr"/>
              <a:lstStyle/>
              <a:p>
                <a:endParaRPr lang="en-GB"/>
              </a:p>
            </p:txBody>
          </p:sp>
        </p:grpSp>
        <p:grpSp>
          <p:nvGrpSpPr>
            <p:cNvPr id="573" name="Graphic 3">
              <a:extLst>
                <a:ext uri="{FF2B5EF4-FFF2-40B4-BE49-F238E27FC236}">
                  <a16:creationId xmlns:a16="http://schemas.microsoft.com/office/drawing/2014/main" id="{8643EEE0-B78A-4D24-B1AF-191D9CBA04A9}"/>
                </a:ext>
              </a:extLst>
            </p:cNvPr>
            <p:cNvGrpSpPr/>
            <p:nvPr/>
          </p:nvGrpSpPr>
          <p:grpSpPr>
            <a:xfrm>
              <a:off x="7049035" y="4955461"/>
              <a:ext cx="65518" cy="91151"/>
              <a:chOff x="7049035" y="4955461"/>
              <a:chExt cx="65518" cy="91151"/>
            </a:xfrm>
            <a:grpFill/>
          </p:grpSpPr>
          <p:sp>
            <p:nvSpPr>
              <p:cNvPr id="3668" name="Vrije vorm: vorm 3667">
                <a:extLst>
                  <a:ext uri="{FF2B5EF4-FFF2-40B4-BE49-F238E27FC236}">
                    <a16:creationId xmlns:a16="http://schemas.microsoft.com/office/drawing/2014/main" id="{B27FA27A-4335-4172-A5A8-388B59E4500E}"/>
                  </a:ext>
                </a:extLst>
              </p:cNvPr>
              <p:cNvSpPr/>
              <p:nvPr/>
            </p:nvSpPr>
            <p:spPr>
              <a:xfrm>
                <a:off x="7056673" y="4963441"/>
                <a:ext cx="50238" cy="75177"/>
              </a:xfrm>
              <a:custGeom>
                <a:avLst/>
                <a:gdLst>
                  <a:gd name="connsiteX0" fmla="*/ 50238 w 50238"/>
                  <a:gd name="connsiteY0" fmla="*/ 73563 h 75177"/>
                  <a:gd name="connsiteX1" fmla="*/ 47667 w 50238"/>
                  <a:gd name="connsiteY1" fmla="*/ 75178 h 75177"/>
                  <a:gd name="connsiteX2" fmla="*/ 0 w 50238"/>
                  <a:gd name="connsiteY2" fmla="*/ 1674 h 75177"/>
                  <a:gd name="connsiteX3" fmla="*/ 2572 w 50238"/>
                  <a:gd name="connsiteY3" fmla="*/ 0 h 75177"/>
                </a:gdLst>
                <a:ahLst/>
                <a:cxnLst>
                  <a:cxn ang="0">
                    <a:pos x="connsiteX0" y="connsiteY0"/>
                  </a:cxn>
                  <a:cxn ang="0">
                    <a:pos x="connsiteX1" y="connsiteY1"/>
                  </a:cxn>
                  <a:cxn ang="0">
                    <a:pos x="connsiteX2" y="connsiteY2"/>
                  </a:cxn>
                  <a:cxn ang="0">
                    <a:pos x="connsiteX3" y="connsiteY3"/>
                  </a:cxn>
                </a:cxnLst>
                <a:rect l="l" t="t" r="r" b="b"/>
                <a:pathLst>
                  <a:path w="50238" h="75177">
                    <a:moveTo>
                      <a:pt x="50238" y="73563"/>
                    </a:moveTo>
                    <a:lnTo>
                      <a:pt x="47667" y="75178"/>
                    </a:lnTo>
                    <a:lnTo>
                      <a:pt x="0" y="1674"/>
                    </a:lnTo>
                    <a:lnTo>
                      <a:pt x="2572" y="0"/>
                    </a:lnTo>
                    <a:close/>
                  </a:path>
                </a:pathLst>
              </a:custGeom>
              <a:grpFill/>
              <a:ln w="5978" cap="flat">
                <a:noFill/>
                <a:prstDash val="solid"/>
                <a:miter/>
              </a:ln>
            </p:spPr>
            <p:txBody>
              <a:bodyPr rtlCol="0" anchor="ctr"/>
              <a:lstStyle/>
              <a:p>
                <a:endParaRPr lang="en-GB"/>
              </a:p>
            </p:txBody>
          </p:sp>
          <p:sp>
            <p:nvSpPr>
              <p:cNvPr id="3669" name="Vrije vorm: vorm 3668">
                <a:extLst>
                  <a:ext uri="{FF2B5EF4-FFF2-40B4-BE49-F238E27FC236}">
                    <a16:creationId xmlns:a16="http://schemas.microsoft.com/office/drawing/2014/main" id="{B69D35BA-13B9-4F62-93A3-154F508C6277}"/>
                  </a:ext>
                </a:extLst>
              </p:cNvPr>
              <p:cNvSpPr/>
              <p:nvPr/>
            </p:nvSpPr>
            <p:spPr>
              <a:xfrm>
                <a:off x="7096282" y="5028213"/>
                <a:ext cx="18270" cy="18399"/>
              </a:xfrm>
              <a:custGeom>
                <a:avLst/>
                <a:gdLst>
                  <a:gd name="connsiteX0" fmla="*/ 16789 w 18270"/>
                  <a:gd name="connsiteY0" fmla="*/ 4185 h 18399"/>
                  <a:gd name="connsiteX1" fmla="*/ 14157 w 18270"/>
                  <a:gd name="connsiteY1" fmla="*/ 16924 h 18399"/>
                  <a:gd name="connsiteX2" fmla="*/ 1478 w 18270"/>
                  <a:gd name="connsiteY2" fmla="*/ 14173 h 18399"/>
                  <a:gd name="connsiteX3" fmla="*/ 4170 w 18270"/>
                  <a:gd name="connsiteY3" fmla="*/ 1434 h 18399"/>
                  <a:gd name="connsiteX4" fmla="*/ 16789 w 18270"/>
                  <a:gd name="connsiteY4" fmla="*/ 4185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0" h="18399">
                    <a:moveTo>
                      <a:pt x="16789" y="4185"/>
                    </a:moveTo>
                    <a:cubicBezTo>
                      <a:pt x="19540" y="8432"/>
                      <a:pt x="18344" y="14173"/>
                      <a:pt x="14157" y="16924"/>
                    </a:cubicBezTo>
                    <a:cubicBezTo>
                      <a:pt x="9911" y="19675"/>
                      <a:pt x="4230" y="18479"/>
                      <a:pt x="1478" y="14173"/>
                    </a:cubicBezTo>
                    <a:cubicBezTo>
                      <a:pt x="-1273" y="9927"/>
                      <a:pt x="-76" y="4185"/>
                      <a:pt x="4170" y="1434"/>
                    </a:cubicBezTo>
                    <a:cubicBezTo>
                      <a:pt x="8296" y="-1257"/>
                      <a:pt x="13978" y="-61"/>
                      <a:pt x="16789" y="4185"/>
                    </a:cubicBezTo>
                    <a:close/>
                  </a:path>
                </a:pathLst>
              </a:custGeom>
              <a:grpFill/>
              <a:ln w="5978" cap="flat">
                <a:noFill/>
                <a:prstDash val="solid"/>
                <a:miter/>
              </a:ln>
            </p:spPr>
            <p:txBody>
              <a:bodyPr rtlCol="0" anchor="ctr"/>
              <a:lstStyle/>
              <a:p>
                <a:endParaRPr lang="en-GB"/>
              </a:p>
            </p:txBody>
          </p:sp>
          <p:sp>
            <p:nvSpPr>
              <p:cNvPr id="3670" name="Vrije vorm: vorm 3669">
                <a:extLst>
                  <a:ext uri="{FF2B5EF4-FFF2-40B4-BE49-F238E27FC236}">
                    <a16:creationId xmlns:a16="http://schemas.microsoft.com/office/drawing/2014/main" id="{CE772C38-1A4F-47EA-AB37-EA56F29B47A5}"/>
                  </a:ext>
                </a:extLst>
              </p:cNvPr>
              <p:cNvSpPr/>
              <p:nvPr/>
            </p:nvSpPr>
            <p:spPr>
              <a:xfrm>
                <a:off x="7049035" y="4955461"/>
                <a:ext cx="18368" cy="18411"/>
              </a:xfrm>
              <a:custGeom>
                <a:avLst/>
                <a:gdLst>
                  <a:gd name="connsiteX0" fmla="*/ 16849 w 18368"/>
                  <a:gd name="connsiteY0" fmla="*/ 4212 h 18411"/>
                  <a:gd name="connsiteX1" fmla="*/ 4170 w 18368"/>
                  <a:gd name="connsiteY1" fmla="*/ 1461 h 18411"/>
                  <a:gd name="connsiteX2" fmla="*/ 1479 w 18368"/>
                  <a:gd name="connsiteY2" fmla="*/ 14200 h 18411"/>
                  <a:gd name="connsiteX3" fmla="*/ 14158 w 18368"/>
                  <a:gd name="connsiteY3" fmla="*/ 16951 h 18411"/>
                  <a:gd name="connsiteX4" fmla="*/ 16849 w 18368"/>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11">
                    <a:moveTo>
                      <a:pt x="16849" y="4212"/>
                    </a:moveTo>
                    <a:cubicBezTo>
                      <a:pt x="14098" y="-35"/>
                      <a:pt x="8416" y="-1290"/>
                      <a:pt x="4170" y="1461"/>
                    </a:cubicBezTo>
                    <a:cubicBezTo>
                      <a:pt x="-76" y="4212"/>
                      <a:pt x="-1273" y="9953"/>
                      <a:pt x="1479" y="14200"/>
                    </a:cubicBezTo>
                    <a:cubicBezTo>
                      <a:pt x="4230" y="18446"/>
                      <a:pt x="9911" y="19702"/>
                      <a:pt x="14158" y="16951"/>
                    </a:cubicBezTo>
                    <a:cubicBezTo>
                      <a:pt x="18464" y="14200"/>
                      <a:pt x="19660" y="8458"/>
                      <a:pt x="16849" y="4212"/>
                    </a:cubicBezTo>
                    <a:close/>
                  </a:path>
                </a:pathLst>
              </a:custGeom>
              <a:grpFill/>
              <a:ln w="5978" cap="flat">
                <a:noFill/>
                <a:prstDash val="solid"/>
                <a:miter/>
              </a:ln>
            </p:spPr>
            <p:txBody>
              <a:bodyPr rtlCol="0" anchor="ctr"/>
              <a:lstStyle/>
              <a:p>
                <a:endParaRPr lang="en-GB"/>
              </a:p>
            </p:txBody>
          </p:sp>
        </p:grpSp>
        <p:grpSp>
          <p:nvGrpSpPr>
            <p:cNvPr id="574" name="Graphic 3">
              <a:extLst>
                <a:ext uri="{FF2B5EF4-FFF2-40B4-BE49-F238E27FC236}">
                  <a16:creationId xmlns:a16="http://schemas.microsoft.com/office/drawing/2014/main" id="{0C23C0DB-5016-49CF-A998-B84AF3CEE23C}"/>
                </a:ext>
              </a:extLst>
            </p:cNvPr>
            <p:cNvGrpSpPr/>
            <p:nvPr/>
          </p:nvGrpSpPr>
          <p:grpSpPr>
            <a:xfrm>
              <a:off x="6997516" y="4817984"/>
              <a:ext cx="60747" cy="81254"/>
              <a:chOff x="6997516" y="4817984"/>
              <a:chExt cx="60747" cy="81254"/>
            </a:xfrm>
            <a:grpFill/>
          </p:grpSpPr>
          <p:sp>
            <p:nvSpPr>
              <p:cNvPr id="3665" name="Vrije vorm: vorm 3664">
                <a:extLst>
                  <a:ext uri="{FF2B5EF4-FFF2-40B4-BE49-F238E27FC236}">
                    <a16:creationId xmlns:a16="http://schemas.microsoft.com/office/drawing/2014/main" id="{03505982-2455-48F8-A605-C0D0986DADAC}"/>
                  </a:ext>
                </a:extLst>
              </p:cNvPr>
              <p:cNvSpPr/>
              <p:nvPr/>
            </p:nvSpPr>
            <p:spPr>
              <a:xfrm>
                <a:off x="7005179" y="4826004"/>
                <a:ext cx="45394" cy="65249"/>
              </a:xfrm>
              <a:custGeom>
                <a:avLst/>
                <a:gdLst>
                  <a:gd name="connsiteX0" fmla="*/ 45394 w 45394"/>
                  <a:gd name="connsiteY0" fmla="*/ 63515 h 65249"/>
                  <a:gd name="connsiteX1" fmla="*/ 42882 w 45394"/>
                  <a:gd name="connsiteY1" fmla="*/ 65250 h 65249"/>
                  <a:gd name="connsiteX2" fmla="*/ 0 w 45394"/>
                  <a:gd name="connsiteY2" fmla="*/ 1674 h 65249"/>
                  <a:gd name="connsiteX3" fmla="*/ 2572 w 45394"/>
                  <a:gd name="connsiteY3" fmla="*/ 0 h 65249"/>
                </a:gdLst>
                <a:ahLst/>
                <a:cxnLst>
                  <a:cxn ang="0">
                    <a:pos x="connsiteX0" y="connsiteY0"/>
                  </a:cxn>
                  <a:cxn ang="0">
                    <a:pos x="connsiteX1" y="connsiteY1"/>
                  </a:cxn>
                  <a:cxn ang="0">
                    <a:pos x="connsiteX2" y="connsiteY2"/>
                  </a:cxn>
                  <a:cxn ang="0">
                    <a:pos x="connsiteX3" y="connsiteY3"/>
                  </a:cxn>
                </a:cxnLst>
                <a:rect l="l" t="t" r="r" b="b"/>
                <a:pathLst>
                  <a:path w="45394" h="65249">
                    <a:moveTo>
                      <a:pt x="45394" y="63515"/>
                    </a:moveTo>
                    <a:lnTo>
                      <a:pt x="42882" y="65250"/>
                    </a:lnTo>
                    <a:lnTo>
                      <a:pt x="0" y="1674"/>
                    </a:lnTo>
                    <a:lnTo>
                      <a:pt x="2572" y="0"/>
                    </a:lnTo>
                    <a:close/>
                  </a:path>
                </a:pathLst>
              </a:custGeom>
              <a:grpFill/>
              <a:ln w="5978" cap="flat">
                <a:noFill/>
                <a:prstDash val="solid"/>
                <a:miter/>
              </a:ln>
            </p:spPr>
            <p:txBody>
              <a:bodyPr rtlCol="0" anchor="ctr"/>
              <a:lstStyle/>
              <a:p>
                <a:endParaRPr lang="en-GB"/>
              </a:p>
            </p:txBody>
          </p:sp>
          <p:sp>
            <p:nvSpPr>
              <p:cNvPr id="3666" name="Vrije vorm: vorm 3665">
                <a:extLst>
                  <a:ext uri="{FF2B5EF4-FFF2-40B4-BE49-F238E27FC236}">
                    <a16:creationId xmlns:a16="http://schemas.microsoft.com/office/drawing/2014/main" id="{A2D7977D-850A-4C38-AC3F-F4C00D7B0266}"/>
                  </a:ext>
                </a:extLst>
              </p:cNvPr>
              <p:cNvSpPr/>
              <p:nvPr/>
            </p:nvSpPr>
            <p:spPr>
              <a:xfrm>
                <a:off x="7039893" y="4880782"/>
                <a:ext cx="18370" cy="18457"/>
              </a:xfrm>
              <a:custGeom>
                <a:avLst/>
                <a:gdLst>
                  <a:gd name="connsiteX0" fmla="*/ 16780 w 18370"/>
                  <a:gd name="connsiteY0" fmla="*/ 4072 h 18457"/>
                  <a:gd name="connsiteX1" fmla="*/ 14329 w 18370"/>
                  <a:gd name="connsiteY1" fmla="*/ 16871 h 18457"/>
                  <a:gd name="connsiteX2" fmla="*/ 1590 w 18370"/>
                  <a:gd name="connsiteY2" fmla="*/ 14359 h 18457"/>
                  <a:gd name="connsiteX3" fmla="*/ 4041 w 18370"/>
                  <a:gd name="connsiteY3" fmla="*/ 1560 h 18457"/>
                  <a:gd name="connsiteX4" fmla="*/ 16780 w 18370"/>
                  <a:gd name="connsiteY4" fmla="*/ 407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57">
                    <a:moveTo>
                      <a:pt x="16780" y="4072"/>
                    </a:moveTo>
                    <a:cubicBezTo>
                      <a:pt x="19652" y="8319"/>
                      <a:pt x="18515" y="14000"/>
                      <a:pt x="14329" y="16871"/>
                    </a:cubicBezTo>
                    <a:cubicBezTo>
                      <a:pt x="10142" y="19742"/>
                      <a:pt x="4460" y="18605"/>
                      <a:pt x="1590" y="14359"/>
                    </a:cubicBezTo>
                    <a:cubicBezTo>
                      <a:pt x="-1281" y="10113"/>
                      <a:pt x="-145" y="4431"/>
                      <a:pt x="4041" y="1560"/>
                    </a:cubicBezTo>
                    <a:cubicBezTo>
                      <a:pt x="8228" y="-1251"/>
                      <a:pt x="13910" y="-174"/>
                      <a:pt x="16780" y="4072"/>
                    </a:cubicBezTo>
                    <a:close/>
                  </a:path>
                </a:pathLst>
              </a:custGeom>
              <a:grpFill/>
              <a:ln w="5978" cap="flat">
                <a:noFill/>
                <a:prstDash val="solid"/>
                <a:miter/>
              </a:ln>
            </p:spPr>
            <p:txBody>
              <a:bodyPr rtlCol="0" anchor="ctr"/>
              <a:lstStyle/>
              <a:p>
                <a:endParaRPr lang="en-GB"/>
              </a:p>
            </p:txBody>
          </p:sp>
          <p:sp>
            <p:nvSpPr>
              <p:cNvPr id="3667" name="Vrije vorm: vorm 3666">
                <a:extLst>
                  <a:ext uri="{FF2B5EF4-FFF2-40B4-BE49-F238E27FC236}">
                    <a16:creationId xmlns:a16="http://schemas.microsoft.com/office/drawing/2014/main" id="{2747E9A6-CE98-4C29-92C7-D19A1816209A}"/>
                  </a:ext>
                </a:extLst>
              </p:cNvPr>
              <p:cNvSpPr/>
              <p:nvPr/>
            </p:nvSpPr>
            <p:spPr>
              <a:xfrm>
                <a:off x="6997516" y="4817984"/>
                <a:ext cx="18359" cy="18430"/>
              </a:xfrm>
              <a:custGeom>
                <a:avLst/>
                <a:gdLst>
                  <a:gd name="connsiteX0" fmla="*/ 16754 w 18359"/>
                  <a:gd name="connsiteY0" fmla="*/ 4072 h 18430"/>
                  <a:gd name="connsiteX1" fmla="*/ 4015 w 18359"/>
                  <a:gd name="connsiteY1" fmla="*/ 1560 h 18430"/>
                  <a:gd name="connsiteX2" fmla="*/ 1563 w 18359"/>
                  <a:gd name="connsiteY2" fmla="*/ 14359 h 18430"/>
                  <a:gd name="connsiteX3" fmla="*/ 14302 w 18359"/>
                  <a:gd name="connsiteY3" fmla="*/ 16871 h 18430"/>
                  <a:gd name="connsiteX4" fmla="*/ 16754 w 18359"/>
                  <a:gd name="connsiteY4" fmla="*/ 407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30">
                    <a:moveTo>
                      <a:pt x="16754" y="4072"/>
                    </a:moveTo>
                    <a:cubicBezTo>
                      <a:pt x="13884" y="-174"/>
                      <a:pt x="8202" y="-1251"/>
                      <a:pt x="4015" y="1560"/>
                    </a:cubicBezTo>
                    <a:cubicBezTo>
                      <a:pt x="-171" y="4431"/>
                      <a:pt x="-1248" y="10113"/>
                      <a:pt x="1563" y="14359"/>
                    </a:cubicBezTo>
                    <a:cubicBezTo>
                      <a:pt x="4434" y="18605"/>
                      <a:pt x="10116" y="19682"/>
                      <a:pt x="14302" y="16871"/>
                    </a:cubicBezTo>
                    <a:cubicBezTo>
                      <a:pt x="18549" y="14000"/>
                      <a:pt x="19625" y="8319"/>
                      <a:pt x="16754" y="4072"/>
                    </a:cubicBezTo>
                    <a:close/>
                  </a:path>
                </a:pathLst>
              </a:custGeom>
              <a:grpFill/>
              <a:ln w="5978" cap="flat">
                <a:noFill/>
                <a:prstDash val="solid"/>
                <a:miter/>
              </a:ln>
            </p:spPr>
            <p:txBody>
              <a:bodyPr rtlCol="0" anchor="ctr"/>
              <a:lstStyle/>
              <a:p>
                <a:endParaRPr lang="en-GB"/>
              </a:p>
            </p:txBody>
          </p:sp>
        </p:grpSp>
        <p:grpSp>
          <p:nvGrpSpPr>
            <p:cNvPr id="575" name="Graphic 3">
              <a:extLst>
                <a:ext uri="{FF2B5EF4-FFF2-40B4-BE49-F238E27FC236}">
                  <a16:creationId xmlns:a16="http://schemas.microsoft.com/office/drawing/2014/main" id="{E9719AD6-3418-4322-8161-9DBC06CCC7B3}"/>
                </a:ext>
              </a:extLst>
            </p:cNvPr>
            <p:cNvGrpSpPr/>
            <p:nvPr/>
          </p:nvGrpSpPr>
          <p:grpSpPr>
            <a:xfrm>
              <a:off x="5905023" y="1407717"/>
              <a:ext cx="27037" cy="334154"/>
              <a:chOff x="5905023" y="1407717"/>
              <a:chExt cx="27037" cy="334154"/>
            </a:xfrm>
            <a:grpFill/>
          </p:grpSpPr>
          <p:sp>
            <p:nvSpPr>
              <p:cNvPr id="3662" name="Vrije vorm: vorm 3661">
                <a:extLst>
                  <a:ext uri="{FF2B5EF4-FFF2-40B4-BE49-F238E27FC236}">
                    <a16:creationId xmlns:a16="http://schemas.microsoft.com/office/drawing/2014/main" id="{9E9F55FD-CE2A-47F2-82CC-B46D8B7B96D3}"/>
                  </a:ext>
                </a:extLst>
              </p:cNvPr>
              <p:cNvSpPr/>
              <p:nvPr/>
            </p:nvSpPr>
            <p:spPr>
              <a:xfrm>
                <a:off x="5912621" y="1416454"/>
                <a:ext cx="11842" cy="316738"/>
              </a:xfrm>
              <a:custGeom>
                <a:avLst/>
                <a:gdLst>
                  <a:gd name="connsiteX0" fmla="*/ 11842 w 11842"/>
                  <a:gd name="connsiteY0" fmla="*/ 60 h 316738"/>
                  <a:gd name="connsiteX1" fmla="*/ 3050 w 11842"/>
                  <a:gd name="connsiteY1" fmla="*/ 316739 h 316738"/>
                  <a:gd name="connsiteX2" fmla="*/ 0 w 11842"/>
                  <a:gd name="connsiteY2" fmla="*/ 316619 h 316738"/>
                  <a:gd name="connsiteX3" fmla="*/ 8792 w 11842"/>
                  <a:gd name="connsiteY3" fmla="*/ 0 h 316738"/>
                </a:gdLst>
                <a:ahLst/>
                <a:cxnLst>
                  <a:cxn ang="0">
                    <a:pos x="connsiteX0" y="connsiteY0"/>
                  </a:cxn>
                  <a:cxn ang="0">
                    <a:pos x="connsiteX1" y="connsiteY1"/>
                  </a:cxn>
                  <a:cxn ang="0">
                    <a:pos x="connsiteX2" y="connsiteY2"/>
                  </a:cxn>
                  <a:cxn ang="0">
                    <a:pos x="connsiteX3" y="connsiteY3"/>
                  </a:cxn>
                </a:cxnLst>
                <a:rect l="l" t="t" r="r" b="b"/>
                <a:pathLst>
                  <a:path w="11842" h="316738">
                    <a:moveTo>
                      <a:pt x="11842" y="60"/>
                    </a:moveTo>
                    <a:lnTo>
                      <a:pt x="3050" y="316739"/>
                    </a:lnTo>
                    <a:lnTo>
                      <a:pt x="0" y="316619"/>
                    </a:lnTo>
                    <a:lnTo>
                      <a:pt x="8792" y="0"/>
                    </a:lnTo>
                    <a:close/>
                  </a:path>
                </a:pathLst>
              </a:custGeom>
              <a:grpFill/>
              <a:ln w="5978" cap="flat">
                <a:noFill/>
                <a:prstDash val="solid"/>
                <a:miter/>
              </a:ln>
            </p:spPr>
            <p:txBody>
              <a:bodyPr rtlCol="0" anchor="ctr"/>
              <a:lstStyle/>
              <a:p>
                <a:endParaRPr lang="en-GB"/>
              </a:p>
            </p:txBody>
          </p:sp>
          <p:sp>
            <p:nvSpPr>
              <p:cNvPr id="3663" name="Vrije vorm: vorm 3662">
                <a:extLst>
                  <a:ext uri="{FF2B5EF4-FFF2-40B4-BE49-F238E27FC236}">
                    <a16:creationId xmlns:a16="http://schemas.microsoft.com/office/drawing/2014/main" id="{B62E2761-D102-447F-896D-7DE09E020215}"/>
                  </a:ext>
                </a:extLst>
              </p:cNvPr>
              <p:cNvSpPr/>
              <p:nvPr/>
            </p:nvSpPr>
            <p:spPr>
              <a:xfrm>
                <a:off x="5905023" y="1723439"/>
                <a:ext cx="18306" cy="18432"/>
              </a:xfrm>
              <a:custGeom>
                <a:avLst/>
                <a:gdLst>
                  <a:gd name="connsiteX0" fmla="*/ 18304 w 18306"/>
                  <a:gd name="connsiteY0" fmla="*/ 9515 h 18432"/>
                  <a:gd name="connsiteX1" fmla="*/ 8914 w 18306"/>
                  <a:gd name="connsiteY1" fmla="*/ 18426 h 18432"/>
                  <a:gd name="connsiteX2" fmla="*/ 3 w 18306"/>
                  <a:gd name="connsiteY2" fmla="*/ 8917 h 18432"/>
                  <a:gd name="connsiteX3" fmla="*/ 9392 w 18306"/>
                  <a:gd name="connsiteY3" fmla="*/ 6 h 18432"/>
                  <a:gd name="connsiteX4" fmla="*/ 18304 w 18306"/>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18304" y="9515"/>
                    </a:moveTo>
                    <a:cubicBezTo>
                      <a:pt x="18184" y="14599"/>
                      <a:pt x="13937" y="18606"/>
                      <a:pt x="8914" y="18426"/>
                    </a:cubicBezTo>
                    <a:cubicBezTo>
                      <a:pt x="3830" y="18247"/>
                      <a:pt x="-117" y="14001"/>
                      <a:pt x="3" y="8917"/>
                    </a:cubicBezTo>
                    <a:cubicBezTo>
                      <a:pt x="122" y="3833"/>
                      <a:pt x="4368" y="-174"/>
                      <a:pt x="9392" y="6"/>
                    </a:cubicBezTo>
                    <a:cubicBezTo>
                      <a:pt x="14416" y="185"/>
                      <a:pt x="18423" y="4431"/>
                      <a:pt x="18304" y="9515"/>
                    </a:cubicBezTo>
                    <a:close/>
                  </a:path>
                </a:pathLst>
              </a:custGeom>
              <a:grpFill/>
              <a:ln w="5978" cap="flat">
                <a:noFill/>
                <a:prstDash val="solid"/>
                <a:miter/>
              </a:ln>
            </p:spPr>
            <p:txBody>
              <a:bodyPr rtlCol="0" anchor="ctr"/>
              <a:lstStyle/>
              <a:p>
                <a:endParaRPr lang="en-GB"/>
              </a:p>
            </p:txBody>
          </p:sp>
          <p:sp>
            <p:nvSpPr>
              <p:cNvPr id="3664" name="Vrije vorm: vorm 3663">
                <a:extLst>
                  <a:ext uri="{FF2B5EF4-FFF2-40B4-BE49-F238E27FC236}">
                    <a16:creationId xmlns:a16="http://schemas.microsoft.com/office/drawing/2014/main" id="{A7F970A2-741B-4EB2-9F92-0683FC943DFD}"/>
                  </a:ext>
                </a:extLst>
              </p:cNvPr>
              <p:cNvSpPr/>
              <p:nvPr/>
            </p:nvSpPr>
            <p:spPr>
              <a:xfrm>
                <a:off x="5913755" y="1407717"/>
                <a:ext cx="18306" cy="18432"/>
              </a:xfrm>
              <a:custGeom>
                <a:avLst/>
                <a:gdLst>
                  <a:gd name="connsiteX0" fmla="*/ 18304 w 18306"/>
                  <a:gd name="connsiteY0" fmla="*/ 9515 h 18432"/>
                  <a:gd name="connsiteX1" fmla="*/ 9392 w 18306"/>
                  <a:gd name="connsiteY1" fmla="*/ 6 h 18432"/>
                  <a:gd name="connsiteX2" fmla="*/ 3 w 18306"/>
                  <a:gd name="connsiteY2" fmla="*/ 8917 h 18432"/>
                  <a:gd name="connsiteX3" fmla="*/ 8914 w 18306"/>
                  <a:gd name="connsiteY3" fmla="*/ 18426 h 18432"/>
                  <a:gd name="connsiteX4" fmla="*/ 18304 w 18306"/>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2">
                    <a:moveTo>
                      <a:pt x="18304" y="9515"/>
                    </a:moveTo>
                    <a:cubicBezTo>
                      <a:pt x="18423" y="4432"/>
                      <a:pt x="14476" y="185"/>
                      <a:pt x="9392" y="6"/>
                    </a:cubicBezTo>
                    <a:cubicBezTo>
                      <a:pt x="4309" y="-174"/>
                      <a:pt x="122" y="3833"/>
                      <a:pt x="3" y="8917"/>
                    </a:cubicBezTo>
                    <a:cubicBezTo>
                      <a:pt x="-117" y="14001"/>
                      <a:pt x="3830" y="18247"/>
                      <a:pt x="8914" y="18426"/>
                    </a:cubicBezTo>
                    <a:cubicBezTo>
                      <a:pt x="13938" y="18606"/>
                      <a:pt x="18184" y="14599"/>
                      <a:pt x="18304" y="9515"/>
                    </a:cubicBezTo>
                    <a:close/>
                  </a:path>
                </a:pathLst>
              </a:custGeom>
              <a:grpFill/>
              <a:ln w="5978" cap="flat">
                <a:noFill/>
                <a:prstDash val="solid"/>
                <a:miter/>
              </a:ln>
            </p:spPr>
            <p:txBody>
              <a:bodyPr rtlCol="0" anchor="ctr"/>
              <a:lstStyle/>
              <a:p>
                <a:endParaRPr lang="en-GB"/>
              </a:p>
            </p:txBody>
          </p:sp>
        </p:grpSp>
        <p:grpSp>
          <p:nvGrpSpPr>
            <p:cNvPr id="576" name="Graphic 3">
              <a:extLst>
                <a:ext uri="{FF2B5EF4-FFF2-40B4-BE49-F238E27FC236}">
                  <a16:creationId xmlns:a16="http://schemas.microsoft.com/office/drawing/2014/main" id="{BFE21453-CCC2-491B-9161-096FD8AE2183}"/>
                </a:ext>
              </a:extLst>
            </p:cNvPr>
            <p:cNvGrpSpPr/>
            <p:nvPr/>
          </p:nvGrpSpPr>
          <p:grpSpPr>
            <a:xfrm>
              <a:off x="5884838" y="1497043"/>
              <a:ext cx="25422" cy="101975"/>
              <a:chOff x="5884838" y="1497043"/>
              <a:chExt cx="25422" cy="101975"/>
            </a:xfrm>
            <a:grpFill/>
          </p:grpSpPr>
          <p:sp>
            <p:nvSpPr>
              <p:cNvPr id="3659" name="Vrije vorm: vorm 3658">
                <a:extLst>
                  <a:ext uri="{FF2B5EF4-FFF2-40B4-BE49-F238E27FC236}">
                    <a16:creationId xmlns:a16="http://schemas.microsoft.com/office/drawing/2014/main" id="{EA02110E-A497-4100-A174-3F7FB1CA8B4F}"/>
                  </a:ext>
                </a:extLst>
              </p:cNvPr>
              <p:cNvSpPr/>
              <p:nvPr/>
            </p:nvSpPr>
            <p:spPr>
              <a:xfrm>
                <a:off x="5892466" y="1505687"/>
                <a:ext cx="10167" cy="84687"/>
              </a:xfrm>
              <a:custGeom>
                <a:avLst/>
                <a:gdLst>
                  <a:gd name="connsiteX0" fmla="*/ 3050 w 10167"/>
                  <a:gd name="connsiteY0" fmla="*/ 0 h 84687"/>
                  <a:gd name="connsiteX1" fmla="*/ 10167 w 10167"/>
                  <a:gd name="connsiteY1" fmla="*/ 84448 h 84687"/>
                  <a:gd name="connsiteX2" fmla="*/ 7117 w 10167"/>
                  <a:gd name="connsiteY2" fmla="*/ 84687 h 84687"/>
                  <a:gd name="connsiteX3" fmla="*/ 0 w 10167"/>
                  <a:gd name="connsiteY3" fmla="*/ 239 h 84687"/>
                </a:gdLst>
                <a:ahLst/>
                <a:cxnLst>
                  <a:cxn ang="0">
                    <a:pos x="connsiteX0" y="connsiteY0"/>
                  </a:cxn>
                  <a:cxn ang="0">
                    <a:pos x="connsiteX1" y="connsiteY1"/>
                  </a:cxn>
                  <a:cxn ang="0">
                    <a:pos x="connsiteX2" y="connsiteY2"/>
                  </a:cxn>
                  <a:cxn ang="0">
                    <a:pos x="connsiteX3" y="connsiteY3"/>
                  </a:cxn>
                </a:cxnLst>
                <a:rect l="l" t="t" r="r" b="b"/>
                <a:pathLst>
                  <a:path w="10167" h="84687">
                    <a:moveTo>
                      <a:pt x="3050" y="0"/>
                    </a:moveTo>
                    <a:lnTo>
                      <a:pt x="10167" y="84448"/>
                    </a:lnTo>
                    <a:lnTo>
                      <a:pt x="7117" y="84687"/>
                    </a:lnTo>
                    <a:lnTo>
                      <a:pt x="0" y="239"/>
                    </a:lnTo>
                    <a:close/>
                  </a:path>
                </a:pathLst>
              </a:custGeom>
              <a:grpFill/>
              <a:ln w="5978" cap="flat">
                <a:noFill/>
                <a:prstDash val="solid"/>
                <a:miter/>
              </a:ln>
            </p:spPr>
            <p:txBody>
              <a:bodyPr rtlCol="0" anchor="ctr"/>
              <a:lstStyle/>
              <a:p>
                <a:endParaRPr lang="en-GB"/>
              </a:p>
            </p:txBody>
          </p:sp>
          <p:sp>
            <p:nvSpPr>
              <p:cNvPr id="3660" name="Vrije vorm: vorm 3659">
                <a:extLst>
                  <a:ext uri="{FF2B5EF4-FFF2-40B4-BE49-F238E27FC236}">
                    <a16:creationId xmlns:a16="http://schemas.microsoft.com/office/drawing/2014/main" id="{9D31873E-4140-4BFE-8D1D-0EA6123EC710}"/>
                  </a:ext>
                </a:extLst>
              </p:cNvPr>
              <p:cNvSpPr/>
              <p:nvPr/>
            </p:nvSpPr>
            <p:spPr>
              <a:xfrm>
                <a:off x="5884838" y="1497043"/>
                <a:ext cx="18365" cy="18424"/>
              </a:xfrm>
              <a:custGeom>
                <a:avLst/>
                <a:gdLst>
                  <a:gd name="connsiteX0" fmla="*/ 32 w 18365"/>
                  <a:gd name="connsiteY0" fmla="*/ 9960 h 18424"/>
                  <a:gd name="connsiteX1" fmla="*/ 8405 w 18365"/>
                  <a:gd name="connsiteY1" fmla="*/ 32 h 18424"/>
                  <a:gd name="connsiteX2" fmla="*/ 18333 w 18365"/>
                  <a:gd name="connsiteY2" fmla="*/ 8465 h 18424"/>
                  <a:gd name="connsiteX3" fmla="*/ 9960 w 18365"/>
                  <a:gd name="connsiteY3" fmla="*/ 18393 h 18424"/>
                  <a:gd name="connsiteX4" fmla="*/ 32 w 18365"/>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4">
                    <a:moveTo>
                      <a:pt x="32" y="9960"/>
                    </a:moveTo>
                    <a:cubicBezTo>
                      <a:pt x="-386" y="4876"/>
                      <a:pt x="3322" y="450"/>
                      <a:pt x="8405" y="32"/>
                    </a:cubicBezTo>
                    <a:cubicBezTo>
                      <a:pt x="13429" y="-387"/>
                      <a:pt x="17855" y="3381"/>
                      <a:pt x="18333" y="8465"/>
                    </a:cubicBezTo>
                    <a:cubicBezTo>
                      <a:pt x="18752" y="13548"/>
                      <a:pt x="15044" y="17974"/>
                      <a:pt x="9960" y="18393"/>
                    </a:cubicBezTo>
                    <a:cubicBezTo>
                      <a:pt x="4936" y="18811"/>
                      <a:pt x="451" y="15043"/>
                      <a:pt x="32" y="9960"/>
                    </a:cubicBezTo>
                    <a:close/>
                  </a:path>
                </a:pathLst>
              </a:custGeom>
              <a:grpFill/>
              <a:ln w="5978" cap="flat">
                <a:noFill/>
                <a:prstDash val="solid"/>
                <a:miter/>
              </a:ln>
            </p:spPr>
            <p:txBody>
              <a:bodyPr rtlCol="0" anchor="ctr"/>
              <a:lstStyle/>
              <a:p>
                <a:endParaRPr lang="en-GB"/>
              </a:p>
            </p:txBody>
          </p:sp>
          <p:sp>
            <p:nvSpPr>
              <p:cNvPr id="3661" name="Vrije vorm: vorm 3660">
                <a:extLst>
                  <a:ext uri="{FF2B5EF4-FFF2-40B4-BE49-F238E27FC236}">
                    <a16:creationId xmlns:a16="http://schemas.microsoft.com/office/drawing/2014/main" id="{F54E4E4E-D826-4272-BF8C-CC5E525EA1C0}"/>
                  </a:ext>
                </a:extLst>
              </p:cNvPr>
              <p:cNvSpPr/>
              <p:nvPr/>
            </p:nvSpPr>
            <p:spPr>
              <a:xfrm>
                <a:off x="5891896" y="1580593"/>
                <a:ext cx="18364" cy="18424"/>
              </a:xfrm>
              <a:custGeom>
                <a:avLst/>
                <a:gdLst>
                  <a:gd name="connsiteX0" fmla="*/ 32 w 18364"/>
                  <a:gd name="connsiteY0" fmla="*/ 9960 h 18424"/>
                  <a:gd name="connsiteX1" fmla="*/ 9960 w 18364"/>
                  <a:gd name="connsiteY1" fmla="*/ 18393 h 18424"/>
                  <a:gd name="connsiteX2" fmla="*/ 18333 w 18364"/>
                  <a:gd name="connsiteY2" fmla="*/ 8465 h 18424"/>
                  <a:gd name="connsiteX3" fmla="*/ 8405 w 18364"/>
                  <a:gd name="connsiteY3" fmla="*/ 32 h 18424"/>
                  <a:gd name="connsiteX4" fmla="*/ 32 w 18364"/>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4">
                    <a:moveTo>
                      <a:pt x="32" y="9960"/>
                    </a:moveTo>
                    <a:cubicBezTo>
                      <a:pt x="450" y="15043"/>
                      <a:pt x="4876" y="18811"/>
                      <a:pt x="9960" y="18393"/>
                    </a:cubicBezTo>
                    <a:cubicBezTo>
                      <a:pt x="14984" y="17974"/>
                      <a:pt x="18751" y="13548"/>
                      <a:pt x="18333" y="8465"/>
                    </a:cubicBezTo>
                    <a:cubicBezTo>
                      <a:pt x="17914" y="3381"/>
                      <a:pt x="13488" y="-387"/>
                      <a:pt x="8405" y="32"/>
                    </a:cubicBezTo>
                    <a:cubicBezTo>
                      <a:pt x="3381" y="450"/>
                      <a:pt x="-387" y="4876"/>
                      <a:pt x="32" y="9960"/>
                    </a:cubicBezTo>
                    <a:close/>
                  </a:path>
                </a:pathLst>
              </a:custGeom>
              <a:grpFill/>
              <a:ln w="5978" cap="flat">
                <a:noFill/>
                <a:prstDash val="solid"/>
                <a:miter/>
              </a:ln>
            </p:spPr>
            <p:txBody>
              <a:bodyPr rtlCol="0" anchor="ctr"/>
              <a:lstStyle/>
              <a:p>
                <a:endParaRPr lang="en-GB"/>
              </a:p>
            </p:txBody>
          </p:sp>
        </p:grpSp>
        <p:grpSp>
          <p:nvGrpSpPr>
            <p:cNvPr id="577" name="Graphic 3">
              <a:extLst>
                <a:ext uri="{FF2B5EF4-FFF2-40B4-BE49-F238E27FC236}">
                  <a16:creationId xmlns:a16="http://schemas.microsoft.com/office/drawing/2014/main" id="{89C3F372-B981-411A-B7A8-1DFB9001F5CF}"/>
                </a:ext>
              </a:extLst>
            </p:cNvPr>
            <p:cNvGrpSpPr/>
            <p:nvPr/>
          </p:nvGrpSpPr>
          <p:grpSpPr>
            <a:xfrm>
              <a:off x="7013574" y="4963104"/>
              <a:ext cx="83493" cy="123139"/>
              <a:chOff x="7013574" y="4963104"/>
              <a:chExt cx="83493" cy="123139"/>
            </a:xfrm>
            <a:grpFill/>
          </p:grpSpPr>
          <p:sp>
            <p:nvSpPr>
              <p:cNvPr id="3656" name="Vrije vorm: vorm 3655">
                <a:extLst>
                  <a:ext uri="{FF2B5EF4-FFF2-40B4-BE49-F238E27FC236}">
                    <a16:creationId xmlns:a16="http://schemas.microsoft.com/office/drawing/2014/main" id="{77B25DE9-C954-48AD-9B92-0A9083B5D367}"/>
                  </a:ext>
                </a:extLst>
              </p:cNvPr>
              <p:cNvSpPr/>
              <p:nvPr/>
            </p:nvSpPr>
            <p:spPr>
              <a:xfrm>
                <a:off x="7021208" y="4971156"/>
                <a:ext cx="68180" cy="107114"/>
              </a:xfrm>
              <a:custGeom>
                <a:avLst/>
                <a:gdLst>
                  <a:gd name="connsiteX0" fmla="*/ 68180 w 68180"/>
                  <a:gd name="connsiteY0" fmla="*/ 105500 h 107114"/>
                  <a:gd name="connsiteX1" fmla="*/ 65608 w 68180"/>
                  <a:gd name="connsiteY1" fmla="*/ 107115 h 107114"/>
                  <a:gd name="connsiteX2" fmla="*/ 0 w 68180"/>
                  <a:gd name="connsiteY2" fmla="*/ 1615 h 107114"/>
                  <a:gd name="connsiteX3" fmla="*/ 2571 w 68180"/>
                  <a:gd name="connsiteY3" fmla="*/ 0 h 107114"/>
                </a:gdLst>
                <a:ahLst/>
                <a:cxnLst>
                  <a:cxn ang="0">
                    <a:pos x="connsiteX0" y="connsiteY0"/>
                  </a:cxn>
                  <a:cxn ang="0">
                    <a:pos x="connsiteX1" y="connsiteY1"/>
                  </a:cxn>
                  <a:cxn ang="0">
                    <a:pos x="connsiteX2" y="connsiteY2"/>
                  </a:cxn>
                  <a:cxn ang="0">
                    <a:pos x="connsiteX3" y="connsiteY3"/>
                  </a:cxn>
                </a:cxnLst>
                <a:rect l="l" t="t" r="r" b="b"/>
                <a:pathLst>
                  <a:path w="68180" h="107114">
                    <a:moveTo>
                      <a:pt x="68180" y="105500"/>
                    </a:moveTo>
                    <a:lnTo>
                      <a:pt x="65608" y="107115"/>
                    </a:lnTo>
                    <a:lnTo>
                      <a:pt x="0" y="1615"/>
                    </a:lnTo>
                    <a:lnTo>
                      <a:pt x="2571" y="0"/>
                    </a:lnTo>
                    <a:close/>
                  </a:path>
                </a:pathLst>
              </a:custGeom>
              <a:grpFill/>
              <a:ln w="5978" cap="flat">
                <a:noFill/>
                <a:prstDash val="solid"/>
                <a:miter/>
              </a:ln>
            </p:spPr>
            <p:txBody>
              <a:bodyPr rtlCol="0" anchor="ctr"/>
              <a:lstStyle/>
              <a:p>
                <a:endParaRPr lang="en-GB"/>
              </a:p>
            </p:txBody>
          </p:sp>
          <p:sp>
            <p:nvSpPr>
              <p:cNvPr id="3657" name="Vrije vorm: vorm 3656">
                <a:extLst>
                  <a:ext uri="{FF2B5EF4-FFF2-40B4-BE49-F238E27FC236}">
                    <a16:creationId xmlns:a16="http://schemas.microsoft.com/office/drawing/2014/main" id="{1945629C-27A7-4568-A8F1-5370AA8AE0A3}"/>
                  </a:ext>
                </a:extLst>
              </p:cNvPr>
              <p:cNvSpPr/>
              <p:nvPr/>
            </p:nvSpPr>
            <p:spPr>
              <a:xfrm>
                <a:off x="7078778" y="5067826"/>
                <a:ext cx="18288" cy="18417"/>
              </a:xfrm>
              <a:custGeom>
                <a:avLst/>
                <a:gdLst>
                  <a:gd name="connsiteX0" fmla="*/ 16889 w 18288"/>
                  <a:gd name="connsiteY0" fmla="*/ 4344 h 18417"/>
                  <a:gd name="connsiteX1" fmla="*/ 14019 w 18288"/>
                  <a:gd name="connsiteY1" fmla="*/ 17023 h 18417"/>
                  <a:gd name="connsiteX2" fmla="*/ 1399 w 18288"/>
                  <a:gd name="connsiteY2" fmla="*/ 14033 h 18417"/>
                  <a:gd name="connsiteX3" fmla="*/ 4270 w 18288"/>
                  <a:gd name="connsiteY3" fmla="*/ 1354 h 18417"/>
                  <a:gd name="connsiteX4" fmla="*/ 16889 w 18288"/>
                  <a:gd name="connsiteY4" fmla="*/ 4344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17">
                    <a:moveTo>
                      <a:pt x="16889" y="4344"/>
                    </a:moveTo>
                    <a:cubicBezTo>
                      <a:pt x="19581" y="8650"/>
                      <a:pt x="18265" y="14332"/>
                      <a:pt x="14019" y="17023"/>
                    </a:cubicBezTo>
                    <a:cubicBezTo>
                      <a:pt x="9713" y="19714"/>
                      <a:pt x="4090" y="18399"/>
                      <a:pt x="1399" y="14033"/>
                    </a:cubicBezTo>
                    <a:cubicBezTo>
                      <a:pt x="-1292" y="9727"/>
                      <a:pt x="24" y="4045"/>
                      <a:pt x="4270" y="1354"/>
                    </a:cubicBezTo>
                    <a:cubicBezTo>
                      <a:pt x="8516" y="-1278"/>
                      <a:pt x="14198" y="38"/>
                      <a:pt x="16889" y="4344"/>
                    </a:cubicBezTo>
                    <a:close/>
                  </a:path>
                </a:pathLst>
              </a:custGeom>
              <a:grpFill/>
              <a:ln w="5978" cap="flat">
                <a:noFill/>
                <a:prstDash val="solid"/>
                <a:miter/>
              </a:ln>
            </p:spPr>
            <p:txBody>
              <a:bodyPr rtlCol="0" anchor="ctr"/>
              <a:lstStyle/>
              <a:p>
                <a:endParaRPr lang="en-GB"/>
              </a:p>
            </p:txBody>
          </p:sp>
          <p:sp>
            <p:nvSpPr>
              <p:cNvPr id="3658" name="Vrije vorm: vorm 3657">
                <a:extLst>
                  <a:ext uri="{FF2B5EF4-FFF2-40B4-BE49-F238E27FC236}">
                    <a16:creationId xmlns:a16="http://schemas.microsoft.com/office/drawing/2014/main" id="{2AA8C2BA-C13E-4408-B834-B467213ABB13}"/>
                  </a:ext>
                </a:extLst>
              </p:cNvPr>
              <p:cNvSpPr/>
              <p:nvPr/>
            </p:nvSpPr>
            <p:spPr>
              <a:xfrm>
                <a:off x="7013574" y="4963104"/>
                <a:ext cx="18318" cy="18376"/>
              </a:xfrm>
              <a:custGeom>
                <a:avLst/>
                <a:gdLst>
                  <a:gd name="connsiteX0" fmla="*/ 16904 w 18318"/>
                  <a:gd name="connsiteY0" fmla="*/ 4344 h 18376"/>
                  <a:gd name="connsiteX1" fmla="*/ 4285 w 18318"/>
                  <a:gd name="connsiteY1" fmla="*/ 1354 h 18376"/>
                  <a:gd name="connsiteX2" fmla="*/ 1414 w 18318"/>
                  <a:gd name="connsiteY2" fmla="*/ 14033 h 18376"/>
                  <a:gd name="connsiteX3" fmla="*/ 14033 w 18318"/>
                  <a:gd name="connsiteY3" fmla="*/ 17023 h 18376"/>
                  <a:gd name="connsiteX4" fmla="*/ 16904 w 18318"/>
                  <a:gd name="connsiteY4" fmla="*/ 4344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76">
                    <a:moveTo>
                      <a:pt x="16904" y="4344"/>
                    </a:moveTo>
                    <a:cubicBezTo>
                      <a:pt x="14213" y="38"/>
                      <a:pt x="8531" y="-1278"/>
                      <a:pt x="4285" y="1354"/>
                    </a:cubicBezTo>
                    <a:cubicBezTo>
                      <a:pt x="-21" y="4045"/>
                      <a:pt x="-1277" y="9727"/>
                      <a:pt x="1414" y="14033"/>
                    </a:cubicBezTo>
                    <a:cubicBezTo>
                      <a:pt x="4106" y="18339"/>
                      <a:pt x="9787" y="19654"/>
                      <a:pt x="14033" y="17023"/>
                    </a:cubicBezTo>
                    <a:cubicBezTo>
                      <a:pt x="18340" y="14391"/>
                      <a:pt x="19596" y="8710"/>
                      <a:pt x="16904" y="4344"/>
                    </a:cubicBezTo>
                    <a:close/>
                  </a:path>
                </a:pathLst>
              </a:custGeom>
              <a:grpFill/>
              <a:ln w="5978" cap="flat">
                <a:noFill/>
                <a:prstDash val="solid"/>
                <a:miter/>
              </a:ln>
            </p:spPr>
            <p:txBody>
              <a:bodyPr rtlCol="0" anchor="ctr"/>
              <a:lstStyle/>
              <a:p>
                <a:endParaRPr lang="en-GB"/>
              </a:p>
            </p:txBody>
          </p:sp>
        </p:grpSp>
        <p:grpSp>
          <p:nvGrpSpPr>
            <p:cNvPr id="578" name="Graphic 3">
              <a:extLst>
                <a:ext uri="{FF2B5EF4-FFF2-40B4-BE49-F238E27FC236}">
                  <a16:creationId xmlns:a16="http://schemas.microsoft.com/office/drawing/2014/main" id="{320CFFBD-4A0B-4E85-8B88-C703721641EC}"/>
                </a:ext>
              </a:extLst>
            </p:cNvPr>
            <p:cNvGrpSpPr/>
            <p:nvPr/>
          </p:nvGrpSpPr>
          <p:grpSpPr>
            <a:xfrm>
              <a:off x="6970388" y="4834112"/>
              <a:ext cx="86988" cy="124285"/>
              <a:chOff x="6970388" y="4834112"/>
              <a:chExt cx="86988" cy="124285"/>
            </a:xfrm>
            <a:grpFill/>
          </p:grpSpPr>
          <p:sp>
            <p:nvSpPr>
              <p:cNvPr id="3653" name="Vrije vorm: vorm 3652">
                <a:extLst>
                  <a:ext uri="{FF2B5EF4-FFF2-40B4-BE49-F238E27FC236}">
                    <a16:creationId xmlns:a16="http://schemas.microsoft.com/office/drawing/2014/main" id="{8814621E-816B-4ECD-AA4D-7468362BF0BB}"/>
                  </a:ext>
                </a:extLst>
              </p:cNvPr>
              <p:cNvSpPr/>
              <p:nvPr/>
            </p:nvSpPr>
            <p:spPr>
              <a:xfrm>
                <a:off x="6978087" y="4842152"/>
                <a:ext cx="71648" cy="108251"/>
              </a:xfrm>
              <a:custGeom>
                <a:avLst/>
                <a:gdLst>
                  <a:gd name="connsiteX0" fmla="*/ 71649 w 71648"/>
                  <a:gd name="connsiteY0" fmla="*/ 106576 h 108251"/>
                  <a:gd name="connsiteX1" fmla="*/ 69077 w 71648"/>
                  <a:gd name="connsiteY1" fmla="*/ 108251 h 108251"/>
                  <a:gd name="connsiteX2" fmla="*/ 0 w 71648"/>
                  <a:gd name="connsiteY2" fmla="*/ 1615 h 108251"/>
                  <a:gd name="connsiteX3" fmla="*/ 2511 w 71648"/>
                  <a:gd name="connsiteY3" fmla="*/ 0 h 108251"/>
                </a:gdLst>
                <a:ahLst/>
                <a:cxnLst>
                  <a:cxn ang="0">
                    <a:pos x="connsiteX0" y="connsiteY0"/>
                  </a:cxn>
                  <a:cxn ang="0">
                    <a:pos x="connsiteX1" y="connsiteY1"/>
                  </a:cxn>
                  <a:cxn ang="0">
                    <a:pos x="connsiteX2" y="connsiteY2"/>
                  </a:cxn>
                  <a:cxn ang="0">
                    <a:pos x="connsiteX3" y="connsiteY3"/>
                  </a:cxn>
                </a:cxnLst>
                <a:rect l="l" t="t" r="r" b="b"/>
                <a:pathLst>
                  <a:path w="71648" h="108251">
                    <a:moveTo>
                      <a:pt x="71649" y="106576"/>
                    </a:moveTo>
                    <a:lnTo>
                      <a:pt x="69077" y="108251"/>
                    </a:lnTo>
                    <a:lnTo>
                      <a:pt x="0" y="1615"/>
                    </a:lnTo>
                    <a:lnTo>
                      <a:pt x="2511" y="0"/>
                    </a:lnTo>
                    <a:close/>
                  </a:path>
                </a:pathLst>
              </a:custGeom>
              <a:grpFill/>
              <a:ln w="5978" cap="flat">
                <a:noFill/>
                <a:prstDash val="solid"/>
                <a:miter/>
              </a:ln>
            </p:spPr>
            <p:txBody>
              <a:bodyPr rtlCol="0" anchor="ctr"/>
              <a:lstStyle/>
              <a:p>
                <a:endParaRPr lang="en-GB"/>
              </a:p>
            </p:txBody>
          </p:sp>
          <p:sp>
            <p:nvSpPr>
              <p:cNvPr id="3654" name="Vrije vorm: vorm 3653">
                <a:extLst>
                  <a:ext uri="{FF2B5EF4-FFF2-40B4-BE49-F238E27FC236}">
                    <a16:creationId xmlns:a16="http://schemas.microsoft.com/office/drawing/2014/main" id="{1BC568DA-9C8F-4076-8270-72EA0E2E879E}"/>
                  </a:ext>
                </a:extLst>
              </p:cNvPr>
              <p:cNvSpPr/>
              <p:nvPr/>
            </p:nvSpPr>
            <p:spPr>
              <a:xfrm>
                <a:off x="7039104" y="4939971"/>
                <a:ext cx="18273" cy="18426"/>
              </a:xfrm>
              <a:custGeom>
                <a:avLst/>
                <a:gdLst>
                  <a:gd name="connsiteX0" fmla="*/ 16792 w 18273"/>
                  <a:gd name="connsiteY0" fmla="*/ 4212 h 18426"/>
                  <a:gd name="connsiteX1" fmla="*/ 14160 w 18273"/>
                  <a:gd name="connsiteY1" fmla="*/ 16951 h 18426"/>
                  <a:gd name="connsiteX2" fmla="*/ 1481 w 18273"/>
                  <a:gd name="connsiteY2" fmla="*/ 14200 h 18426"/>
                  <a:gd name="connsiteX3" fmla="*/ 4112 w 18273"/>
                  <a:gd name="connsiteY3" fmla="*/ 1461 h 18426"/>
                  <a:gd name="connsiteX4" fmla="*/ 16792 w 18273"/>
                  <a:gd name="connsiteY4" fmla="*/ 421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26">
                    <a:moveTo>
                      <a:pt x="16792" y="4212"/>
                    </a:moveTo>
                    <a:cubicBezTo>
                      <a:pt x="19543" y="8458"/>
                      <a:pt x="18347" y="14200"/>
                      <a:pt x="14160" y="16951"/>
                    </a:cubicBezTo>
                    <a:cubicBezTo>
                      <a:pt x="9914" y="19702"/>
                      <a:pt x="4232" y="18506"/>
                      <a:pt x="1481" y="14200"/>
                    </a:cubicBezTo>
                    <a:cubicBezTo>
                      <a:pt x="-1270" y="9953"/>
                      <a:pt x="-74" y="4212"/>
                      <a:pt x="4112" y="1461"/>
                    </a:cubicBezTo>
                    <a:cubicBezTo>
                      <a:pt x="8299" y="-1290"/>
                      <a:pt x="13981" y="-34"/>
                      <a:pt x="16792" y="4212"/>
                    </a:cubicBezTo>
                    <a:close/>
                  </a:path>
                </a:pathLst>
              </a:custGeom>
              <a:grpFill/>
              <a:ln w="5978" cap="flat">
                <a:noFill/>
                <a:prstDash val="solid"/>
                <a:miter/>
              </a:ln>
            </p:spPr>
            <p:txBody>
              <a:bodyPr rtlCol="0" anchor="ctr"/>
              <a:lstStyle/>
              <a:p>
                <a:endParaRPr lang="en-GB"/>
              </a:p>
            </p:txBody>
          </p:sp>
          <p:sp>
            <p:nvSpPr>
              <p:cNvPr id="3655" name="Vrije vorm: vorm 3654">
                <a:extLst>
                  <a:ext uri="{FF2B5EF4-FFF2-40B4-BE49-F238E27FC236}">
                    <a16:creationId xmlns:a16="http://schemas.microsoft.com/office/drawing/2014/main" id="{19B1FDC5-C864-4FC5-9BC7-9E086C1110EC}"/>
                  </a:ext>
                </a:extLst>
              </p:cNvPr>
              <p:cNvSpPr/>
              <p:nvPr/>
            </p:nvSpPr>
            <p:spPr>
              <a:xfrm>
                <a:off x="6970388" y="4834112"/>
                <a:ext cx="18368" cy="18411"/>
              </a:xfrm>
              <a:custGeom>
                <a:avLst/>
                <a:gdLst>
                  <a:gd name="connsiteX0" fmla="*/ 16849 w 18368"/>
                  <a:gd name="connsiteY0" fmla="*/ 4212 h 18411"/>
                  <a:gd name="connsiteX1" fmla="*/ 4169 w 18368"/>
                  <a:gd name="connsiteY1" fmla="*/ 1461 h 18411"/>
                  <a:gd name="connsiteX2" fmla="*/ 1478 w 18368"/>
                  <a:gd name="connsiteY2" fmla="*/ 14200 h 18411"/>
                  <a:gd name="connsiteX3" fmla="*/ 14158 w 18368"/>
                  <a:gd name="connsiteY3" fmla="*/ 16951 h 18411"/>
                  <a:gd name="connsiteX4" fmla="*/ 16849 w 18368"/>
                  <a:gd name="connsiteY4" fmla="*/ 4212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11">
                    <a:moveTo>
                      <a:pt x="16849" y="4212"/>
                    </a:moveTo>
                    <a:cubicBezTo>
                      <a:pt x="14098" y="-34"/>
                      <a:pt x="8416" y="-1291"/>
                      <a:pt x="4169" y="1461"/>
                    </a:cubicBezTo>
                    <a:cubicBezTo>
                      <a:pt x="-77" y="4212"/>
                      <a:pt x="-1272" y="9953"/>
                      <a:pt x="1478" y="14200"/>
                    </a:cubicBezTo>
                    <a:cubicBezTo>
                      <a:pt x="4229" y="18446"/>
                      <a:pt x="9911" y="19702"/>
                      <a:pt x="14158" y="16951"/>
                    </a:cubicBezTo>
                    <a:cubicBezTo>
                      <a:pt x="18463" y="14200"/>
                      <a:pt x="19660" y="8518"/>
                      <a:pt x="16849" y="4212"/>
                    </a:cubicBezTo>
                    <a:close/>
                  </a:path>
                </a:pathLst>
              </a:custGeom>
              <a:grpFill/>
              <a:ln w="5978" cap="flat">
                <a:noFill/>
                <a:prstDash val="solid"/>
                <a:miter/>
              </a:ln>
            </p:spPr>
            <p:txBody>
              <a:bodyPr rtlCol="0" anchor="ctr"/>
              <a:lstStyle/>
              <a:p>
                <a:endParaRPr lang="en-GB"/>
              </a:p>
            </p:txBody>
          </p:sp>
        </p:grpSp>
        <p:grpSp>
          <p:nvGrpSpPr>
            <p:cNvPr id="579" name="Graphic 3">
              <a:extLst>
                <a:ext uri="{FF2B5EF4-FFF2-40B4-BE49-F238E27FC236}">
                  <a16:creationId xmlns:a16="http://schemas.microsoft.com/office/drawing/2014/main" id="{2C6FA1E8-8406-4537-A4A3-D9927EFCA0DA}"/>
                </a:ext>
              </a:extLst>
            </p:cNvPr>
            <p:cNvGrpSpPr/>
            <p:nvPr/>
          </p:nvGrpSpPr>
          <p:grpSpPr>
            <a:xfrm>
              <a:off x="5776194" y="1192411"/>
              <a:ext cx="36207" cy="165376"/>
              <a:chOff x="5776194" y="1192411"/>
              <a:chExt cx="36207" cy="165376"/>
            </a:xfrm>
            <a:grpFill/>
          </p:grpSpPr>
          <p:sp>
            <p:nvSpPr>
              <p:cNvPr id="3650" name="Vrije vorm: vorm 3649">
                <a:extLst>
                  <a:ext uri="{FF2B5EF4-FFF2-40B4-BE49-F238E27FC236}">
                    <a16:creationId xmlns:a16="http://schemas.microsoft.com/office/drawing/2014/main" id="{51B3CBEF-E2DD-4B04-AE72-7DF0E07036DC}"/>
                  </a:ext>
                </a:extLst>
              </p:cNvPr>
              <p:cNvSpPr/>
              <p:nvPr/>
            </p:nvSpPr>
            <p:spPr>
              <a:xfrm>
                <a:off x="5783736" y="1200969"/>
                <a:ext cx="21052" cy="148262"/>
              </a:xfrm>
              <a:custGeom>
                <a:avLst/>
                <a:gdLst>
                  <a:gd name="connsiteX0" fmla="*/ 3050 w 21052"/>
                  <a:gd name="connsiteY0" fmla="*/ 0 h 148262"/>
                  <a:gd name="connsiteX1" fmla="*/ 21052 w 21052"/>
                  <a:gd name="connsiteY1" fmla="*/ 147903 h 148262"/>
                  <a:gd name="connsiteX2" fmla="*/ 18062 w 21052"/>
                  <a:gd name="connsiteY2" fmla="*/ 148262 h 148262"/>
                  <a:gd name="connsiteX3" fmla="*/ 0 w 21052"/>
                  <a:gd name="connsiteY3" fmla="*/ 359 h 148262"/>
                </a:gdLst>
                <a:ahLst/>
                <a:cxnLst>
                  <a:cxn ang="0">
                    <a:pos x="connsiteX0" y="connsiteY0"/>
                  </a:cxn>
                  <a:cxn ang="0">
                    <a:pos x="connsiteX1" y="connsiteY1"/>
                  </a:cxn>
                  <a:cxn ang="0">
                    <a:pos x="connsiteX2" y="connsiteY2"/>
                  </a:cxn>
                  <a:cxn ang="0">
                    <a:pos x="connsiteX3" y="connsiteY3"/>
                  </a:cxn>
                </a:cxnLst>
                <a:rect l="l" t="t" r="r" b="b"/>
                <a:pathLst>
                  <a:path w="21052" h="148262">
                    <a:moveTo>
                      <a:pt x="3050" y="0"/>
                    </a:moveTo>
                    <a:lnTo>
                      <a:pt x="21052" y="147903"/>
                    </a:lnTo>
                    <a:lnTo>
                      <a:pt x="18062" y="148262"/>
                    </a:lnTo>
                    <a:lnTo>
                      <a:pt x="0" y="359"/>
                    </a:lnTo>
                    <a:close/>
                  </a:path>
                </a:pathLst>
              </a:custGeom>
              <a:grpFill/>
              <a:ln w="5978" cap="flat">
                <a:noFill/>
                <a:prstDash val="solid"/>
                <a:miter/>
              </a:ln>
            </p:spPr>
            <p:txBody>
              <a:bodyPr rtlCol="0" anchor="ctr"/>
              <a:lstStyle/>
              <a:p>
                <a:endParaRPr lang="en-GB"/>
              </a:p>
            </p:txBody>
          </p:sp>
          <p:sp>
            <p:nvSpPr>
              <p:cNvPr id="3651" name="Vrije vorm: vorm 3650">
                <a:extLst>
                  <a:ext uri="{FF2B5EF4-FFF2-40B4-BE49-F238E27FC236}">
                    <a16:creationId xmlns:a16="http://schemas.microsoft.com/office/drawing/2014/main" id="{401EEAC5-0068-4F0A-877C-D058882CF420}"/>
                  </a:ext>
                </a:extLst>
              </p:cNvPr>
              <p:cNvSpPr/>
              <p:nvPr/>
            </p:nvSpPr>
            <p:spPr>
              <a:xfrm>
                <a:off x="5776194" y="1192411"/>
                <a:ext cx="18313" cy="18431"/>
              </a:xfrm>
              <a:custGeom>
                <a:avLst/>
                <a:gdLst>
                  <a:gd name="connsiteX0" fmla="*/ 66 w 18313"/>
                  <a:gd name="connsiteY0" fmla="*/ 10292 h 18431"/>
                  <a:gd name="connsiteX1" fmla="*/ 8020 w 18313"/>
                  <a:gd name="connsiteY1" fmla="*/ 65 h 18431"/>
                  <a:gd name="connsiteX2" fmla="*/ 18248 w 18313"/>
                  <a:gd name="connsiteY2" fmla="*/ 8139 h 18431"/>
                  <a:gd name="connsiteX3" fmla="*/ 10293 w 18313"/>
                  <a:gd name="connsiteY3" fmla="*/ 18366 h 18431"/>
                  <a:gd name="connsiteX4" fmla="*/ 66 w 18313"/>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66" y="10292"/>
                    </a:moveTo>
                    <a:cubicBezTo>
                      <a:pt x="-532" y="5268"/>
                      <a:pt x="2997" y="663"/>
                      <a:pt x="8020" y="65"/>
                    </a:cubicBezTo>
                    <a:cubicBezTo>
                      <a:pt x="13044" y="-533"/>
                      <a:pt x="17589" y="3055"/>
                      <a:pt x="18248" y="8139"/>
                    </a:cubicBezTo>
                    <a:cubicBezTo>
                      <a:pt x="18846" y="13163"/>
                      <a:pt x="15317" y="17768"/>
                      <a:pt x="10293" y="18366"/>
                    </a:cubicBezTo>
                    <a:cubicBezTo>
                      <a:pt x="5209" y="18964"/>
                      <a:pt x="664" y="15376"/>
                      <a:pt x="66" y="10292"/>
                    </a:cubicBezTo>
                    <a:close/>
                  </a:path>
                </a:pathLst>
              </a:custGeom>
              <a:grpFill/>
              <a:ln w="5978" cap="flat">
                <a:noFill/>
                <a:prstDash val="solid"/>
                <a:miter/>
              </a:ln>
            </p:spPr>
            <p:txBody>
              <a:bodyPr rtlCol="0" anchor="ctr"/>
              <a:lstStyle/>
              <a:p>
                <a:endParaRPr lang="en-GB"/>
              </a:p>
            </p:txBody>
          </p:sp>
          <p:sp>
            <p:nvSpPr>
              <p:cNvPr id="3652" name="Vrije vorm: vorm 3651">
                <a:extLst>
                  <a:ext uri="{FF2B5EF4-FFF2-40B4-BE49-F238E27FC236}">
                    <a16:creationId xmlns:a16="http://schemas.microsoft.com/office/drawing/2014/main" id="{15426CDE-ED04-4681-80CF-D9113AFDB9FD}"/>
                  </a:ext>
                </a:extLst>
              </p:cNvPr>
              <p:cNvSpPr/>
              <p:nvPr/>
            </p:nvSpPr>
            <p:spPr>
              <a:xfrm>
                <a:off x="5794077" y="1339358"/>
                <a:ext cx="18325" cy="18429"/>
              </a:xfrm>
              <a:custGeom>
                <a:avLst/>
                <a:gdLst>
                  <a:gd name="connsiteX0" fmla="*/ 66 w 18325"/>
                  <a:gd name="connsiteY0" fmla="*/ 10291 h 18429"/>
                  <a:gd name="connsiteX1" fmla="*/ 10293 w 18325"/>
                  <a:gd name="connsiteY1" fmla="*/ 18365 h 18429"/>
                  <a:gd name="connsiteX2" fmla="*/ 18248 w 18325"/>
                  <a:gd name="connsiteY2" fmla="*/ 8138 h 18429"/>
                  <a:gd name="connsiteX3" fmla="*/ 8020 w 18325"/>
                  <a:gd name="connsiteY3" fmla="*/ 64 h 18429"/>
                  <a:gd name="connsiteX4" fmla="*/ 66 w 18325"/>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9">
                    <a:moveTo>
                      <a:pt x="66" y="10291"/>
                    </a:moveTo>
                    <a:cubicBezTo>
                      <a:pt x="664" y="15315"/>
                      <a:pt x="5269" y="18963"/>
                      <a:pt x="10293" y="18365"/>
                    </a:cubicBezTo>
                    <a:cubicBezTo>
                      <a:pt x="15317" y="17767"/>
                      <a:pt x="18905" y="13162"/>
                      <a:pt x="18248" y="8138"/>
                    </a:cubicBezTo>
                    <a:cubicBezTo>
                      <a:pt x="17649" y="3114"/>
                      <a:pt x="13044" y="-534"/>
                      <a:pt x="8020" y="64"/>
                    </a:cubicBezTo>
                    <a:cubicBezTo>
                      <a:pt x="2997" y="662"/>
                      <a:pt x="-532" y="5267"/>
                      <a:pt x="66" y="10291"/>
                    </a:cubicBezTo>
                    <a:close/>
                  </a:path>
                </a:pathLst>
              </a:custGeom>
              <a:grpFill/>
              <a:ln w="5978" cap="flat">
                <a:noFill/>
                <a:prstDash val="solid"/>
                <a:miter/>
              </a:ln>
            </p:spPr>
            <p:txBody>
              <a:bodyPr rtlCol="0" anchor="ctr"/>
              <a:lstStyle/>
              <a:p>
                <a:endParaRPr lang="en-GB"/>
              </a:p>
            </p:txBody>
          </p:sp>
        </p:grpSp>
        <p:grpSp>
          <p:nvGrpSpPr>
            <p:cNvPr id="580" name="Graphic 3">
              <a:extLst>
                <a:ext uri="{FF2B5EF4-FFF2-40B4-BE49-F238E27FC236}">
                  <a16:creationId xmlns:a16="http://schemas.microsoft.com/office/drawing/2014/main" id="{16F13F82-E5C8-4347-A1DD-F47832C6471B}"/>
                </a:ext>
              </a:extLst>
            </p:cNvPr>
            <p:cNvGrpSpPr/>
            <p:nvPr/>
          </p:nvGrpSpPr>
          <p:grpSpPr>
            <a:xfrm>
              <a:off x="7041523" y="5076175"/>
              <a:ext cx="88239" cy="135648"/>
              <a:chOff x="7041523" y="5076175"/>
              <a:chExt cx="88239" cy="135648"/>
            </a:xfrm>
            <a:grpFill/>
          </p:grpSpPr>
          <p:sp>
            <p:nvSpPr>
              <p:cNvPr id="3647" name="Vrije vorm: vorm 3646">
                <a:extLst>
                  <a:ext uri="{FF2B5EF4-FFF2-40B4-BE49-F238E27FC236}">
                    <a16:creationId xmlns:a16="http://schemas.microsoft.com/office/drawing/2014/main" id="{39C2F602-4019-4E36-9BB6-3878EC61EEA0}"/>
                  </a:ext>
                </a:extLst>
              </p:cNvPr>
              <p:cNvSpPr/>
              <p:nvPr/>
            </p:nvSpPr>
            <p:spPr>
              <a:xfrm>
                <a:off x="7049137" y="5084251"/>
                <a:ext cx="73025" cy="119494"/>
              </a:xfrm>
              <a:custGeom>
                <a:avLst/>
                <a:gdLst>
                  <a:gd name="connsiteX0" fmla="*/ 73025 w 73025"/>
                  <a:gd name="connsiteY0" fmla="*/ 117940 h 119494"/>
                  <a:gd name="connsiteX1" fmla="*/ 70393 w 73025"/>
                  <a:gd name="connsiteY1" fmla="*/ 119495 h 119494"/>
                  <a:gd name="connsiteX2" fmla="*/ 0 w 73025"/>
                  <a:gd name="connsiteY2" fmla="*/ 1555 h 119494"/>
                  <a:gd name="connsiteX3" fmla="*/ 2632 w 73025"/>
                  <a:gd name="connsiteY3" fmla="*/ 0 h 119494"/>
                </a:gdLst>
                <a:ahLst/>
                <a:cxnLst>
                  <a:cxn ang="0">
                    <a:pos x="connsiteX0" y="connsiteY0"/>
                  </a:cxn>
                  <a:cxn ang="0">
                    <a:pos x="connsiteX1" y="connsiteY1"/>
                  </a:cxn>
                  <a:cxn ang="0">
                    <a:pos x="connsiteX2" y="connsiteY2"/>
                  </a:cxn>
                  <a:cxn ang="0">
                    <a:pos x="connsiteX3" y="connsiteY3"/>
                  </a:cxn>
                </a:cxnLst>
                <a:rect l="l" t="t" r="r" b="b"/>
                <a:pathLst>
                  <a:path w="73025" h="119494">
                    <a:moveTo>
                      <a:pt x="73025" y="117940"/>
                    </a:moveTo>
                    <a:lnTo>
                      <a:pt x="70393" y="119495"/>
                    </a:lnTo>
                    <a:lnTo>
                      <a:pt x="0" y="1555"/>
                    </a:lnTo>
                    <a:lnTo>
                      <a:pt x="2632" y="0"/>
                    </a:lnTo>
                    <a:close/>
                  </a:path>
                </a:pathLst>
              </a:custGeom>
              <a:grpFill/>
              <a:ln w="5978" cap="flat">
                <a:noFill/>
                <a:prstDash val="solid"/>
                <a:miter/>
              </a:ln>
            </p:spPr>
            <p:txBody>
              <a:bodyPr rtlCol="0" anchor="ctr"/>
              <a:lstStyle/>
              <a:p>
                <a:endParaRPr lang="en-GB"/>
              </a:p>
            </p:txBody>
          </p:sp>
          <p:sp>
            <p:nvSpPr>
              <p:cNvPr id="3648" name="Vrije vorm: vorm 3647">
                <a:extLst>
                  <a:ext uri="{FF2B5EF4-FFF2-40B4-BE49-F238E27FC236}">
                    <a16:creationId xmlns:a16="http://schemas.microsoft.com/office/drawing/2014/main" id="{E9A887AC-79DC-425D-856D-4E90157F158D}"/>
                  </a:ext>
                </a:extLst>
              </p:cNvPr>
              <p:cNvSpPr/>
              <p:nvPr/>
            </p:nvSpPr>
            <p:spPr>
              <a:xfrm>
                <a:off x="7111452" y="5193397"/>
                <a:ext cx="18311" cy="18426"/>
              </a:xfrm>
              <a:custGeom>
                <a:avLst/>
                <a:gdLst>
                  <a:gd name="connsiteX0" fmla="*/ 16990 w 18311"/>
                  <a:gd name="connsiteY0" fmla="*/ 4488 h 18426"/>
                  <a:gd name="connsiteX1" fmla="*/ 13881 w 18311"/>
                  <a:gd name="connsiteY1" fmla="*/ 17108 h 18426"/>
                  <a:gd name="connsiteX2" fmla="*/ 1321 w 18311"/>
                  <a:gd name="connsiteY2" fmla="*/ 13938 h 18426"/>
                  <a:gd name="connsiteX3" fmla="*/ 4431 w 18311"/>
                  <a:gd name="connsiteY3" fmla="*/ 1318 h 18426"/>
                  <a:gd name="connsiteX4" fmla="*/ 16990 w 18311"/>
                  <a:gd name="connsiteY4" fmla="*/ 448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6">
                    <a:moveTo>
                      <a:pt x="16990" y="4488"/>
                    </a:moveTo>
                    <a:cubicBezTo>
                      <a:pt x="19622" y="8854"/>
                      <a:pt x="18187" y="14536"/>
                      <a:pt x="13881" y="17108"/>
                    </a:cubicBezTo>
                    <a:cubicBezTo>
                      <a:pt x="9514" y="19739"/>
                      <a:pt x="3893" y="18304"/>
                      <a:pt x="1321" y="13938"/>
                    </a:cubicBezTo>
                    <a:cubicBezTo>
                      <a:pt x="-1311" y="9572"/>
                      <a:pt x="125" y="3890"/>
                      <a:pt x="4431" y="1318"/>
                    </a:cubicBezTo>
                    <a:cubicBezTo>
                      <a:pt x="8737" y="-1313"/>
                      <a:pt x="14359" y="122"/>
                      <a:pt x="16990" y="4488"/>
                    </a:cubicBezTo>
                    <a:close/>
                  </a:path>
                </a:pathLst>
              </a:custGeom>
              <a:grpFill/>
              <a:ln w="5978" cap="flat">
                <a:noFill/>
                <a:prstDash val="solid"/>
                <a:miter/>
              </a:ln>
            </p:spPr>
            <p:txBody>
              <a:bodyPr rtlCol="0" anchor="ctr"/>
              <a:lstStyle/>
              <a:p>
                <a:endParaRPr lang="en-GB"/>
              </a:p>
            </p:txBody>
          </p:sp>
          <p:sp>
            <p:nvSpPr>
              <p:cNvPr id="3649" name="Vrije vorm: vorm 3648">
                <a:extLst>
                  <a:ext uri="{FF2B5EF4-FFF2-40B4-BE49-F238E27FC236}">
                    <a16:creationId xmlns:a16="http://schemas.microsoft.com/office/drawing/2014/main" id="{3BF420D1-CF8D-4753-8615-037957E80DAC}"/>
                  </a:ext>
                </a:extLst>
              </p:cNvPr>
              <p:cNvSpPr/>
              <p:nvPr/>
            </p:nvSpPr>
            <p:spPr>
              <a:xfrm>
                <a:off x="7041523" y="5076175"/>
                <a:ext cx="18324" cy="18425"/>
              </a:xfrm>
              <a:custGeom>
                <a:avLst/>
                <a:gdLst>
                  <a:gd name="connsiteX0" fmla="*/ 17004 w 18324"/>
                  <a:gd name="connsiteY0" fmla="*/ 4488 h 18425"/>
                  <a:gd name="connsiteX1" fmla="*/ 4445 w 18324"/>
                  <a:gd name="connsiteY1" fmla="*/ 1318 h 18425"/>
                  <a:gd name="connsiteX2" fmla="*/ 1335 w 18324"/>
                  <a:gd name="connsiteY2" fmla="*/ 13938 h 18425"/>
                  <a:gd name="connsiteX3" fmla="*/ 13894 w 18324"/>
                  <a:gd name="connsiteY3" fmla="*/ 17107 h 18425"/>
                  <a:gd name="connsiteX4" fmla="*/ 17004 w 18324"/>
                  <a:gd name="connsiteY4" fmla="*/ 448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7004" y="4488"/>
                    </a:moveTo>
                    <a:cubicBezTo>
                      <a:pt x="14372" y="122"/>
                      <a:pt x="8751" y="-1313"/>
                      <a:pt x="4445" y="1318"/>
                    </a:cubicBezTo>
                    <a:cubicBezTo>
                      <a:pt x="79" y="3950"/>
                      <a:pt x="-1297" y="9572"/>
                      <a:pt x="1335" y="13938"/>
                    </a:cubicBezTo>
                    <a:cubicBezTo>
                      <a:pt x="3966" y="18303"/>
                      <a:pt x="9588" y="19739"/>
                      <a:pt x="13894" y="17107"/>
                    </a:cubicBezTo>
                    <a:cubicBezTo>
                      <a:pt x="18200" y="14536"/>
                      <a:pt x="19635" y="8914"/>
                      <a:pt x="17004" y="4488"/>
                    </a:cubicBezTo>
                    <a:close/>
                  </a:path>
                </a:pathLst>
              </a:custGeom>
              <a:grpFill/>
              <a:ln w="5978" cap="flat">
                <a:noFill/>
                <a:prstDash val="solid"/>
                <a:miter/>
              </a:ln>
            </p:spPr>
            <p:txBody>
              <a:bodyPr rtlCol="0" anchor="ctr"/>
              <a:lstStyle/>
              <a:p>
                <a:endParaRPr lang="en-GB"/>
              </a:p>
            </p:txBody>
          </p:sp>
        </p:grpSp>
        <p:grpSp>
          <p:nvGrpSpPr>
            <p:cNvPr id="581" name="Graphic 3">
              <a:extLst>
                <a:ext uri="{FF2B5EF4-FFF2-40B4-BE49-F238E27FC236}">
                  <a16:creationId xmlns:a16="http://schemas.microsoft.com/office/drawing/2014/main" id="{CFD8A539-E565-4E69-A6AC-703E385E56CD}"/>
                </a:ext>
              </a:extLst>
            </p:cNvPr>
            <p:cNvGrpSpPr/>
            <p:nvPr/>
          </p:nvGrpSpPr>
          <p:grpSpPr>
            <a:xfrm>
              <a:off x="5840381" y="1412226"/>
              <a:ext cx="34603" cy="175977"/>
              <a:chOff x="5840381" y="1412226"/>
              <a:chExt cx="34603" cy="175977"/>
            </a:xfrm>
            <a:grpFill/>
          </p:grpSpPr>
          <p:sp>
            <p:nvSpPr>
              <p:cNvPr id="3644" name="Vrije vorm: vorm 3643">
                <a:extLst>
                  <a:ext uri="{FF2B5EF4-FFF2-40B4-BE49-F238E27FC236}">
                    <a16:creationId xmlns:a16="http://schemas.microsoft.com/office/drawing/2014/main" id="{4C8BA775-72D8-424F-8FBA-5DD2A9DE09C3}"/>
                  </a:ext>
                </a:extLst>
              </p:cNvPr>
              <p:cNvSpPr/>
              <p:nvPr/>
            </p:nvSpPr>
            <p:spPr>
              <a:xfrm>
                <a:off x="5848029" y="1420880"/>
                <a:ext cx="19317" cy="158728"/>
              </a:xfrm>
              <a:custGeom>
                <a:avLst/>
                <a:gdLst>
                  <a:gd name="connsiteX0" fmla="*/ 2990 w 19317"/>
                  <a:gd name="connsiteY0" fmla="*/ 0 h 158728"/>
                  <a:gd name="connsiteX1" fmla="*/ 19318 w 19317"/>
                  <a:gd name="connsiteY1" fmla="*/ 158429 h 158728"/>
                  <a:gd name="connsiteX2" fmla="*/ 16268 w 19317"/>
                  <a:gd name="connsiteY2" fmla="*/ 158728 h 158728"/>
                  <a:gd name="connsiteX3" fmla="*/ 0 w 19317"/>
                  <a:gd name="connsiteY3" fmla="*/ 299 h 158728"/>
                </a:gdLst>
                <a:ahLst/>
                <a:cxnLst>
                  <a:cxn ang="0">
                    <a:pos x="connsiteX0" y="connsiteY0"/>
                  </a:cxn>
                  <a:cxn ang="0">
                    <a:pos x="connsiteX1" y="connsiteY1"/>
                  </a:cxn>
                  <a:cxn ang="0">
                    <a:pos x="connsiteX2" y="connsiteY2"/>
                  </a:cxn>
                  <a:cxn ang="0">
                    <a:pos x="connsiteX3" y="connsiteY3"/>
                  </a:cxn>
                </a:cxnLst>
                <a:rect l="l" t="t" r="r" b="b"/>
                <a:pathLst>
                  <a:path w="19317" h="158728">
                    <a:moveTo>
                      <a:pt x="2990" y="0"/>
                    </a:moveTo>
                    <a:lnTo>
                      <a:pt x="19318" y="158429"/>
                    </a:lnTo>
                    <a:lnTo>
                      <a:pt x="16268" y="158728"/>
                    </a:lnTo>
                    <a:lnTo>
                      <a:pt x="0" y="299"/>
                    </a:lnTo>
                    <a:close/>
                  </a:path>
                </a:pathLst>
              </a:custGeom>
              <a:grpFill/>
              <a:ln w="5978" cap="flat">
                <a:noFill/>
                <a:prstDash val="solid"/>
                <a:miter/>
              </a:ln>
            </p:spPr>
            <p:txBody>
              <a:bodyPr rtlCol="0" anchor="ctr"/>
              <a:lstStyle/>
              <a:p>
                <a:endParaRPr lang="en-GB"/>
              </a:p>
            </p:txBody>
          </p:sp>
          <p:sp>
            <p:nvSpPr>
              <p:cNvPr id="3645" name="Vrije vorm: vorm 3644">
                <a:extLst>
                  <a:ext uri="{FF2B5EF4-FFF2-40B4-BE49-F238E27FC236}">
                    <a16:creationId xmlns:a16="http://schemas.microsoft.com/office/drawing/2014/main" id="{EB4B97E7-A356-4F1A-AF1C-D1493D1B545D}"/>
                  </a:ext>
                </a:extLst>
              </p:cNvPr>
              <p:cNvSpPr/>
              <p:nvPr/>
            </p:nvSpPr>
            <p:spPr>
              <a:xfrm>
                <a:off x="5840381" y="1412226"/>
                <a:ext cx="18346" cy="18445"/>
              </a:xfrm>
              <a:custGeom>
                <a:avLst/>
                <a:gdLst>
                  <a:gd name="connsiteX0" fmla="*/ 53 w 18346"/>
                  <a:gd name="connsiteY0" fmla="*/ 10150 h 18445"/>
                  <a:gd name="connsiteX1" fmla="*/ 8246 w 18346"/>
                  <a:gd name="connsiteY1" fmla="*/ 42 h 18445"/>
                  <a:gd name="connsiteX2" fmla="*/ 18294 w 18346"/>
                  <a:gd name="connsiteY2" fmla="*/ 8296 h 18445"/>
                  <a:gd name="connsiteX3" fmla="*/ 10100 w 18346"/>
                  <a:gd name="connsiteY3" fmla="*/ 18403 h 18445"/>
                  <a:gd name="connsiteX4" fmla="*/ 53 w 18346"/>
                  <a:gd name="connsiteY4" fmla="*/ 1015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5">
                    <a:moveTo>
                      <a:pt x="53" y="10150"/>
                    </a:moveTo>
                    <a:cubicBezTo>
                      <a:pt x="-486" y="5066"/>
                      <a:pt x="3162" y="580"/>
                      <a:pt x="8246" y="42"/>
                    </a:cubicBezTo>
                    <a:cubicBezTo>
                      <a:pt x="13270" y="-436"/>
                      <a:pt x="17755" y="3212"/>
                      <a:pt x="18294" y="8296"/>
                    </a:cubicBezTo>
                    <a:cubicBezTo>
                      <a:pt x="18832" y="13379"/>
                      <a:pt x="15184" y="17865"/>
                      <a:pt x="10100" y="18403"/>
                    </a:cubicBezTo>
                    <a:cubicBezTo>
                      <a:pt x="5076" y="18881"/>
                      <a:pt x="591" y="15233"/>
                      <a:pt x="53" y="10150"/>
                    </a:cubicBezTo>
                    <a:close/>
                  </a:path>
                </a:pathLst>
              </a:custGeom>
              <a:grpFill/>
              <a:ln w="5978" cap="flat">
                <a:noFill/>
                <a:prstDash val="solid"/>
                <a:miter/>
              </a:ln>
            </p:spPr>
            <p:txBody>
              <a:bodyPr rtlCol="0" anchor="ctr"/>
              <a:lstStyle/>
              <a:p>
                <a:endParaRPr lang="en-GB"/>
              </a:p>
            </p:txBody>
          </p:sp>
          <p:sp>
            <p:nvSpPr>
              <p:cNvPr id="3646" name="Vrije vorm: vorm 3645">
                <a:extLst>
                  <a:ext uri="{FF2B5EF4-FFF2-40B4-BE49-F238E27FC236}">
                    <a16:creationId xmlns:a16="http://schemas.microsoft.com/office/drawing/2014/main" id="{511169C6-463B-4BF6-B6E2-285E4DBDF84F}"/>
                  </a:ext>
                </a:extLst>
              </p:cNvPr>
              <p:cNvSpPr/>
              <p:nvPr/>
            </p:nvSpPr>
            <p:spPr>
              <a:xfrm>
                <a:off x="5856649" y="1569758"/>
                <a:ext cx="18335" cy="18445"/>
              </a:xfrm>
              <a:custGeom>
                <a:avLst/>
                <a:gdLst>
                  <a:gd name="connsiteX0" fmla="*/ 53 w 18335"/>
                  <a:gd name="connsiteY0" fmla="*/ 10150 h 18445"/>
                  <a:gd name="connsiteX1" fmla="*/ 10100 w 18335"/>
                  <a:gd name="connsiteY1" fmla="*/ 18403 h 18445"/>
                  <a:gd name="connsiteX2" fmla="*/ 18294 w 18335"/>
                  <a:gd name="connsiteY2" fmla="*/ 8296 h 18445"/>
                  <a:gd name="connsiteX3" fmla="*/ 8246 w 18335"/>
                  <a:gd name="connsiteY3" fmla="*/ 42 h 18445"/>
                  <a:gd name="connsiteX4" fmla="*/ 53 w 18335"/>
                  <a:gd name="connsiteY4" fmla="*/ 1015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5">
                    <a:moveTo>
                      <a:pt x="53" y="10150"/>
                    </a:moveTo>
                    <a:cubicBezTo>
                      <a:pt x="591" y="15233"/>
                      <a:pt x="5077" y="18881"/>
                      <a:pt x="10100" y="18403"/>
                    </a:cubicBezTo>
                    <a:cubicBezTo>
                      <a:pt x="15124" y="17925"/>
                      <a:pt x="18772" y="13379"/>
                      <a:pt x="18294" y="8296"/>
                    </a:cubicBezTo>
                    <a:cubicBezTo>
                      <a:pt x="17756" y="3212"/>
                      <a:pt x="13270" y="-436"/>
                      <a:pt x="8246" y="42"/>
                    </a:cubicBezTo>
                    <a:cubicBezTo>
                      <a:pt x="3163" y="580"/>
                      <a:pt x="-486" y="5066"/>
                      <a:pt x="53" y="10150"/>
                    </a:cubicBezTo>
                    <a:close/>
                  </a:path>
                </a:pathLst>
              </a:custGeom>
              <a:grpFill/>
              <a:ln w="5978" cap="flat">
                <a:noFill/>
                <a:prstDash val="solid"/>
                <a:miter/>
              </a:ln>
            </p:spPr>
            <p:txBody>
              <a:bodyPr rtlCol="0" anchor="ctr"/>
              <a:lstStyle/>
              <a:p>
                <a:endParaRPr lang="en-GB"/>
              </a:p>
            </p:txBody>
          </p:sp>
        </p:grpSp>
        <p:grpSp>
          <p:nvGrpSpPr>
            <p:cNvPr id="582" name="Graphic 3">
              <a:extLst>
                <a:ext uri="{FF2B5EF4-FFF2-40B4-BE49-F238E27FC236}">
                  <a16:creationId xmlns:a16="http://schemas.microsoft.com/office/drawing/2014/main" id="{4A997375-FF45-4F80-94AE-9EB81F5952D6}"/>
                </a:ext>
              </a:extLst>
            </p:cNvPr>
            <p:cNvGrpSpPr/>
            <p:nvPr/>
          </p:nvGrpSpPr>
          <p:grpSpPr>
            <a:xfrm>
              <a:off x="5865732" y="1278060"/>
              <a:ext cx="26017" cy="465540"/>
              <a:chOff x="5865732" y="1278060"/>
              <a:chExt cx="26017" cy="465540"/>
            </a:xfrm>
            <a:grpFill/>
          </p:grpSpPr>
          <p:sp>
            <p:nvSpPr>
              <p:cNvPr id="3641" name="Vrije vorm: vorm 3640">
                <a:extLst>
                  <a:ext uri="{FF2B5EF4-FFF2-40B4-BE49-F238E27FC236}">
                    <a16:creationId xmlns:a16="http://schemas.microsoft.com/office/drawing/2014/main" id="{466B81F5-95FA-46A8-8B36-122199CA0E53}"/>
                  </a:ext>
                </a:extLst>
              </p:cNvPr>
              <p:cNvSpPr/>
              <p:nvPr/>
            </p:nvSpPr>
            <p:spPr>
              <a:xfrm>
                <a:off x="5873387" y="1286792"/>
                <a:ext cx="10705" cy="448075"/>
              </a:xfrm>
              <a:custGeom>
                <a:avLst/>
                <a:gdLst>
                  <a:gd name="connsiteX0" fmla="*/ 3050 w 10705"/>
                  <a:gd name="connsiteY0" fmla="*/ 0 h 448075"/>
                  <a:gd name="connsiteX1" fmla="*/ 10706 w 10705"/>
                  <a:gd name="connsiteY1" fmla="*/ 448076 h 448075"/>
                  <a:gd name="connsiteX2" fmla="*/ 7656 w 10705"/>
                  <a:gd name="connsiteY2" fmla="*/ 448076 h 448075"/>
                  <a:gd name="connsiteX3" fmla="*/ 0 w 10705"/>
                  <a:gd name="connsiteY3" fmla="*/ 0 h 448075"/>
                </a:gdLst>
                <a:ahLst/>
                <a:cxnLst>
                  <a:cxn ang="0">
                    <a:pos x="connsiteX0" y="connsiteY0"/>
                  </a:cxn>
                  <a:cxn ang="0">
                    <a:pos x="connsiteX1" y="connsiteY1"/>
                  </a:cxn>
                  <a:cxn ang="0">
                    <a:pos x="connsiteX2" y="connsiteY2"/>
                  </a:cxn>
                  <a:cxn ang="0">
                    <a:pos x="connsiteX3" y="connsiteY3"/>
                  </a:cxn>
                </a:cxnLst>
                <a:rect l="l" t="t" r="r" b="b"/>
                <a:pathLst>
                  <a:path w="10705" h="448075">
                    <a:moveTo>
                      <a:pt x="3050" y="0"/>
                    </a:moveTo>
                    <a:lnTo>
                      <a:pt x="10706" y="448076"/>
                    </a:lnTo>
                    <a:lnTo>
                      <a:pt x="7656" y="448076"/>
                    </a:lnTo>
                    <a:lnTo>
                      <a:pt x="0" y="0"/>
                    </a:lnTo>
                    <a:close/>
                  </a:path>
                </a:pathLst>
              </a:custGeom>
              <a:grpFill/>
              <a:ln w="5978" cap="flat">
                <a:noFill/>
                <a:prstDash val="solid"/>
                <a:miter/>
              </a:ln>
            </p:spPr>
            <p:txBody>
              <a:bodyPr rtlCol="0" anchor="ctr"/>
              <a:lstStyle/>
              <a:p>
                <a:endParaRPr lang="en-GB"/>
              </a:p>
            </p:txBody>
          </p:sp>
          <p:sp>
            <p:nvSpPr>
              <p:cNvPr id="3642" name="Vrije vorm: vorm 3641">
                <a:extLst>
                  <a:ext uri="{FF2B5EF4-FFF2-40B4-BE49-F238E27FC236}">
                    <a16:creationId xmlns:a16="http://schemas.microsoft.com/office/drawing/2014/main" id="{1FCCB632-5AE2-4553-9C43-57D3543DB916}"/>
                  </a:ext>
                </a:extLst>
              </p:cNvPr>
              <p:cNvSpPr/>
              <p:nvPr/>
            </p:nvSpPr>
            <p:spPr>
              <a:xfrm>
                <a:off x="5873387" y="1725179"/>
                <a:ext cx="18362" cy="18421"/>
              </a:xfrm>
              <a:custGeom>
                <a:avLst/>
                <a:gdLst>
                  <a:gd name="connsiteX0" fmla="*/ 18362 w 18362"/>
                  <a:gd name="connsiteY0" fmla="*/ 9091 h 18421"/>
                  <a:gd name="connsiteX1" fmla="*/ 9331 w 18362"/>
                  <a:gd name="connsiteY1" fmla="*/ 18421 h 18421"/>
                  <a:gd name="connsiteX2" fmla="*/ 1 w 18362"/>
                  <a:gd name="connsiteY2" fmla="*/ 9331 h 18421"/>
                  <a:gd name="connsiteX3" fmla="*/ 9032 w 18362"/>
                  <a:gd name="connsiteY3" fmla="*/ 1 h 18421"/>
                  <a:gd name="connsiteX4" fmla="*/ 18362 w 18362"/>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18362" y="9091"/>
                    </a:moveTo>
                    <a:cubicBezTo>
                      <a:pt x="18421" y="14175"/>
                      <a:pt x="14414" y="18362"/>
                      <a:pt x="9331" y="18421"/>
                    </a:cubicBezTo>
                    <a:cubicBezTo>
                      <a:pt x="4247" y="18481"/>
                      <a:pt x="120" y="14414"/>
                      <a:pt x="1" y="9331"/>
                    </a:cubicBezTo>
                    <a:cubicBezTo>
                      <a:pt x="-59" y="4247"/>
                      <a:pt x="3948" y="61"/>
                      <a:pt x="9032" y="1"/>
                    </a:cubicBezTo>
                    <a:cubicBezTo>
                      <a:pt x="14115" y="-59"/>
                      <a:pt x="18302" y="4008"/>
                      <a:pt x="18362" y="9091"/>
                    </a:cubicBezTo>
                    <a:close/>
                  </a:path>
                </a:pathLst>
              </a:custGeom>
              <a:grpFill/>
              <a:ln w="5978" cap="flat">
                <a:noFill/>
                <a:prstDash val="solid"/>
                <a:miter/>
              </a:ln>
            </p:spPr>
            <p:txBody>
              <a:bodyPr rtlCol="0" anchor="ctr"/>
              <a:lstStyle/>
              <a:p>
                <a:endParaRPr lang="en-GB"/>
              </a:p>
            </p:txBody>
          </p:sp>
          <p:sp>
            <p:nvSpPr>
              <p:cNvPr id="3643" name="Vrije vorm: vorm 3642">
                <a:extLst>
                  <a:ext uri="{FF2B5EF4-FFF2-40B4-BE49-F238E27FC236}">
                    <a16:creationId xmlns:a16="http://schemas.microsoft.com/office/drawing/2014/main" id="{B78322FE-5237-4834-974B-620D7D385496}"/>
                  </a:ext>
                </a:extLst>
              </p:cNvPr>
              <p:cNvSpPr/>
              <p:nvPr/>
            </p:nvSpPr>
            <p:spPr>
              <a:xfrm>
                <a:off x="5865732" y="1278060"/>
                <a:ext cx="18364" cy="18421"/>
              </a:xfrm>
              <a:custGeom>
                <a:avLst/>
                <a:gdLst>
                  <a:gd name="connsiteX0" fmla="*/ 18362 w 18364"/>
                  <a:gd name="connsiteY0" fmla="*/ 9091 h 18421"/>
                  <a:gd name="connsiteX1" fmla="*/ 9032 w 18364"/>
                  <a:gd name="connsiteY1" fmla="*/ 1 h 18421"/>
                  <a:gd name="connsiteX2" fmla="*/ 1 w 18364"/>
                  <a:gd name="connsiteY2" fmla="*/ 9331 h 18421"/>
                  <a:gd name="connsiteX3" fmla="*/ 9331 w 18364"/>
                  <a:gd name="connsiteY3" fmla="*/ 18421 h 18421"/>
                  <a:gd name="connsiteX4" fmla="*/ 18362 w 18364"/>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1">
                    <a:moveTo>
                      <a:pt x="18362" y="9091"/>
                    </a:moveTo>
                    <a:cubicBezTo>
                      <a:pt x="18302" y="4008"/>
                      <a:pt x="14115" y="-59"/>
                      <a:pt x="9032" y="1"/>
                    </a:cubicBezTo>
                    <a:cubicBezTo>
                      <a:pt x="3948" y="60"/>
                      <a:pt x="-59" y="4247"/>
                      <a:pt x="1" y="9331"/>
                    </a:cubicBezTo>
                    <a:cubicBezTo>
                      <a:pt x="61" y="14414"/>
                      <a:pt x="4247" y="18481"/>
                      <a:pt x="9331" y="18421"/>
                    </a:cubicBezTo>
                    <a:cubicBezTo>
                      <a:pt x="14414" y="18361"/>
                      <a:pt x="18481" y="14175"/>
                      <a:pt x="18362" y="9091"/>
                    </a:cubicBezTo>
                    <a:close/>
                  </a:path>
                </a:pathLst>
              </a:custGeom>
              <a:grpFill/>
              <a:ln w="5978" cap="flat">
                <a:noFill/>
                <a:prstDash val="solid"/>
                <a:miter/>
              </a:ln>
            </p:spPr>
            <p:txBody>
              <a:bodyPr rtlCol="0" anchor="ctr"/>
              <a:lstStyle/>
              <a:p>
                <a:endParaRPr lang="en-GB"/>
              </a:p>
            </p:txBody>
          </p:sp>
        </p:grpSp>
        <p:grpSp>
          <p:nvGrpSpPr>
            <p:cNvPr id="583" name="Graphic 3">
              <a:extLst>
                <a:ext uri="{FF2B5EF4-FFF2-40B4-BE49-F238E27FC236}">
                  <a16:creationId xmlns:a16="http://schemas.microsoft.com/office/drawing/2014/main" id="{1E53FFDF-D945-4C48-B267-4608AEEBC9FF}"/>
                </a:ext>
              </a:extLst>
            </p:cNvPr>
            <p:cNvGrpSpPr/>
            <p:nvPr/>
          </p:nvGrpSpPr>
          <p:grpSpPr>
            <a:xfrm>
              <a:off x="5928447" y="1618407"/>
              <a:ext cx="25218" cy="122996"/>
              <a:chOff x="5928447" y="1618407"/>
              <a:chExt cx="25218" cy="122996"/>
            </a:xfrm>
            <a:grpFill/>
          </p:grpSpPr>
          <p:sp>
            <p:nvSpPr>
              <p:cNvPr id="3638" name="Vrije vorm: vorm 3637">
                <a:extLst>
                  <a:ext uri="{FF2B5EF4-FFF2-40B4-BE49-F238E27FC236}">
                    <a16:creationId xmlns:a16="http://schemas.microsoft.com/office/drawing/2014/main" id="{2AF6F826-B55F-4AE5-A6A2-BE067F2DD97D}"/>
                  </a:ext>
                </a:extLst>
              </p:cNvPr>
              <p:cNvSpPr/>
              <p:nvPr/>
            </p:nvSpPr>
            <p:spPr>
              <a:xfrm>
                <a:off x="5936066" y="1627036"/>
                <a:ext cx="9927" cy="105679"/>
              </a:xfrm>
              <a:custGeom>
                <a:avLst/>
                <a:gdLst>
                  <a:gd name="connsiteX0" fmla="*/ 3050 w 9927"/>
                  <a:gd name="connsiteY0" fmla="*/ 0 h 105679"/>
                  <a:gd name="connsiteX1" fmla="*/ 9928 w 9927"/>
                  <a:gd name="connsiteY1" fmla="*/ 105500 h 105679"/>
                  <a:gd name="connsiteX2" fmla="*/ 6937 w 9927"/>
                  <a:gd name="connsiteY2" fmla="*/ 105679 h 105679"/>
                  <a:gd name="connsiteX3" fmla="*/ 0 w 9927"/>
                  <a:gd name="connsiteY3" fmla="*/ 179 h 105679"/>
                </a:gdLst>
                <a:ahLst/>
                <a:cxnLst>
                  <a:cxn ang="0">
                    <a:pos x="connsiteX0" y="connsiteY0"/>
                  </a:cxn>
                  <a:cxn ang="0">
                    <a:pos x="connsiteX1" y="connsiteY1"/>
                  </a:cxn>
                  <a:cxn ang="0">
                    <a:pos x="connsiteX2" y="connsiteY2"/>
                  </a:cxn>
                  <a:cxn ang="0">
                    <a:pos x="connsiteX3" y="connsiteY3"/>
                  </a:cxn>
                </a:cxnLst>
                <a:rect l="l" t="t" r="r" b="b"/>
                <a:pathLst>
                  <a:path w="9927" h="105679">
                    <a:moveTo>
                      <a:pt x="3050" y="0"/>
                    </a:moveTo>
                    <a:lnTo>
                      <a:pt x="9928" y="105500"/>
                    </a:lnTo>
                    <a:lnTo>
                      <a:pt x="6937" y="105679"/>
                    </a:lnTo>
                    <a:lnTo>
                      <a:pt x="0" y="179"/>
                    </a:lnTo>
                    <a:close/>
                  </a:path>
                </a:pathLst>
              </a:custGeom>
              <a:grpFill/>
              <a:ln w="5978" cap="flat">
                <a:noFill/>
                <a:prstDash val="solid"/>
                <a:miter/>
              </a:ln>
            </p:spPr>
            <p:txBody>
              <a:bodyPr rtlCol="0" anchor="ctr"/>
              <a:lstStyle/>
              <a:p>
                <a:endParaRPr lang="en-GB"/>
              </a:p>
            </p:txBody>
          </p:sp>
          <p:sp>
            <p:nvSpPr>
              <p:cNvPr id="3639" name="Vrije vorm: vorm 3638">
                <a:extLst>
                  <a:ext uri="{FF2B5EF4-FFF2-40B4-BE49-F238E27FC236}">
                    <a16:creationId xmlns:a16="http://schemas.microsoft.com/office/drawing/2014/main" id="{D377CA4E-D91E-4A40-B795-D412430AA605}"/>
                  </a:ext>
                </a:extLst>
              </p:cNvPr>
              <p:cNvSpPr/>
              <p:nvPr/>
            </p:nvSpPr>
            <p:spPr>
              <a:xfrm>
                <a:off x="5928447" y="1618407"/>
                <a:ext cx="18347" cy="18400"/>
              </a:xfrm>
              <a:custGeom>
                <a:avLst/>
                <a:gdLst>
                  <a:gd name="connsiteX0" fmla="*/ 23 w 18347"/>
                  <a:gd name="connsiteY0" fmla="*/ 9765 h 18400"/>
                  <a:gd name="connsiteX1" fmla="*/ 8576 w 18347"/>
                  <a:gd name="connsiteY1" fmla="*/ 16 h 18400"/>
                  <a:gd name="connsiteX2" fmla="*/ 18324 w 18347"/>
                  <a:gd name="connsiteY2" fmla="*/ 8629 h 18400"/>
                  <a:gd name="connsiteX3" fmla="*/ 9772 w 18347"/>
                  <a:gd name="connsiteY3" fmla="*/ 18377 h 18400"/>
                  <a:gd name="connsiteX4" fmla="*/ 23 w 18347"/>
                  <a:gd name="connsiteY4" fmla="*/ 976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23" y="9765"/>
                    </a:moveTo>
                    <a:cubicBezTo>
                      <a:pt x="-336" y="4681"/>
                      <a:pt x="3492" y="315"/>
                      <a:pt x="8576" y="16"/>
                    </a:cubicBezTo>
                    <a:cubicBezTo>
                      <a:pt x="13600" y="-283"/>
                      <a:pt x="17965" y="3545"/>
                      <a:pt x="18324" y="8629"/>
                    </a:cubicBezTo>
                    <a:cubicBezTo>
                      <a:pt x="18683" y="13712"/>
                      <a:pt x="14855" y="18078"/>
                      <a:pt x="9772" y="18377"/>
                    </a:cubicBezTo>
                    <a:cubicBezTo>
                      <a:pt x="4688" y="18736"/>
                      <a:pt x="382" y="14849"/>
                      <a:pt x="23" y="9765"/>
                    </a:cubicBezTo>
                    <a:close/>
                  </a:path>
                </a:pathLst>
              </a:custGeom>
              <a:grpFill/>
              <a:ln w="5978" cap="flat">
                <a:noFill/>
                <a:prstDash val="solid"/>
                <a:miter/>
              </a:ln>
            </p:spPr>
            <p:txBody>
              <a:bodyPr rtlCol="0" anchor="ctr"/>
              <a:lstStyle/>
              <a:p>
                <a:endParaRPr lang="en-GB"/>
              </a:p>
            </p:txBody>
          </p:sp>
          <p:sp>
            <p:nvSpPr>
              <p:cNvPr id="3640" name="Vrije vorm: vorm 3639">
                <a:extLst>
                  <a:ext uri="{FF2B5EF4-FFF2-40B4-BE49-F238E27FC236}">
                    <a16:creationId xmlns:a16="http://schemas.microsoft.com/office/drawing/2014/main" id="{68B974F7-CC70-421F-9A09-471AED020F01}"/>
                  </a:ext>
                </a:extLst>
              </p:cNvPr>
              <p:cNvSpPr/>
              <p:nvPr/>
            </p:nvSpPr>
            <p:spPr>
              <a:xfrm>
                <a:off x="5935325" y="1723010"/>
                <a:ext cx="18340" cy="18393"/>
              </a:xfrm>
              <a:custGeom>
                <a:avLst/>
                <a:gdLst>
                  <a:gd name="connsiteX0" fmla="*/ 23 w 18340"/>
                  <a:gd name="connsiteY0" fmla="*/ 9765 h 18393"/>
                  <a:gd name="connsiteX1" fmla="*/ 9772 w 18340"/>
                  <a:gd name="connsiteY1" fmla="*/ 18377 h 18393"/>
                  <a:gd name="connsiteX2" fmla="*/ 18324 w 18340"/>
                  <a:gd name="connsiteY2" fmla="*/ 8629 h 18393"/>
                  <a:gd name="connsiteX3" fmla="*/ 8576 w 18340"/>
                  <a:gd name="connsiteY3" fmla="*/ 16 h 18393"/>
                  <a:gd name="connsiteX4" fmla="*/ 23 w 18340"/>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23" y="9765"/>
                    </a:moveTo>
                    <a:cubicBezTo>
                      <a:pt x="382" y="14849"/>
                      <a:pt x="4748" y="18676"/>
                      <a:pt x="9772" y="18377"/>
                    </a:cubicBezTo>
                    <a:cubicBezTo>
                      <a:pt x="14796" y="18078"/>
                      <a:pt x="18623" y="13712"/>
                      <a:pt x="18324" y="8629"/>
                    </a:cubicBezTo>
                    <a:cubicBezTo>
                      <a:pt x="17965" y="3545"/>
                      <a:pt x="13599" y="-283"/>
                      <a:pt x="8576" y="16"/>
                    </a:cubicBezTo>
                    <a:cubicBezTo>
                      <a:pt x="3492" y="256"/>
                      <a:pt x="-336" y="4681"/>
                      <a:pt x="23" y="9765"/>
                    </a:cubicBezTo>
                    <a:close/>
                  </a:path>
                </a:pathLst>
              </a:custGeom>
              <a:grpFill/>
              <a:ln w="5978" cap="flat">
                <a:noFill/>
                <a:prstDash val="solid"/>
                <a:miter/>
              </a:ln>
            </p:spPr>
            <p:txBody>
              <a:bodyPr rtlCol="0" anchor="ctr"/>
              <a:lstStyle/>
              <a:p>
                <a:endParaRPr lang="en-GB"/>
              </a:p>
            </p:txBody>
          </p:sp>
        </p:grpSp>
        <p:grpSp>
          <p:nvGrpSpPr>
            <p:cNvPr id="584" name="Graphic 3">
              <a:extLst>
                <a:ext uri="{FF2B5EF4-FFF2-40B4-BE49-F238E27FC236}">
                  <a16:creationId xmlns:a16="http://schemas.microsoft.com/office/drawing/2014/main" id="{6E9E0A70-9799-4B88-B74C-F5B48AFB3967}"/>
                </a:ext>
              </a:extLst>
            </p:cNvPr>
            <p:cNvGrpSpPr/>
            <p:nvPr/>
          </p:nvGrpSpPr>
          <p:grpSpPr>
            <a:xfrm>
              <a:off x="6942487" y="4850582"/>
              <a:ext cx="187916" cy="360881"/>
              <a:chOff x="6942487" y="4850582"/>
              <a:chExt cx="187916" cy="360881"/>
            </a:xfrm>
            <a:grpFill/>
          </p:grpSpPr>
          <p:sp>
            <p:nvSpPr>
              <p:cNvPr id="3635" name="Vrije vorm: vorm 3634">
                <a:extLst>
                  <a:ext uri="{FF2B5EF4-FFF2-40B4-BE49-F238E27FC236}">
                    <a16:creationId xmlns:a16="http://schemas.microsoft.com/office/drawing/2014/main" id="{2D9F64F6-2EA2-4E23-8996-EE5EB1F4720E}"/>
                  </a:ext>
                </a:extLst>
              </p:cNvPr>
              <p:cNvSpPr/>
              <p:nvPr/>
            </p:nvSpPr>
            <p:spPr>
              <a:xfrm>
                <a:off x="6950097" y="4858658"/>
                <a:ext cx="172723" cy="344668"/>
              </a:xfrm>
              <a:custGeom>
                <a:avLst/>
                <a:gdLst>
                  <a:gd name="connsiteX0" fmla="*/ 172723 w 172723"/>
                  <a:gd name="connsiteY0" fmla="*/ 343294 h 344668"/>
                  <a:gd name="connsiteX1" fmla="*/ 169972 w 172723"/>
                  <a:gd name="connsiteY1" fmla="*/ 344669 h 344668"/>
                  <a:gd name="connsiteX2" fmla="*/ 0 w 172723"/>
                  <a:gd name="connsiteY2" fmla="*/ 1375 h 344668"/>
                  <a:gd name="connsiteX3" fmla="*/ 2691 w 172723"/>
                  <a:gd name="connsiteY3" fmla="*/ 0 h 344668"/>
                </a:gdLst>
                <a:ahLst/>
                <a:cxnLst>
                  <a:cxn ang="0">
                    <a:pos x="connsiteX0" y="connsiteY0"/>
                  </a:cxn>
                  <a:cxn ang="0">
                    <a:pos x="connsiteX1" y="connsiteY1"/>
                  </a:cxn>
                  <a:cxn ang="0">
                    <a:pos x="connsiteX2" y="connsiteY2"/>
                  </a:cxn>
                  <a:cxn ang="0">
                    <a:pos x="connsiteX3" y="connsiteY3"/>
                  </a:cxn>
                </a:cxnLst>
                <a:rect l="l" t="t" r="r" b="b"/>
                <a:pathLst>
                  <a:path w="172723" h="344668">
                    <a:moveTo>
                      <a:pt x="172723" y="343294"/>
                    </a:moveTo>
                    <a:lnTo>
                      <a:pt x="169972" y="344669"/>
                    </a:lnTo>
                    <a:lnTo>
                      <a:pt x="0" y="1375"/>
                    </a:lnTo>
                    <a:lnTo>
                      <a:pt x="2691" y="0"/>
                    </a:lnTo>
                    <a:close/>
                  </a:path>
                </a:pathLst>
              </a:custGeom>
              <a:grpFill/>
              <a:ln w="5978" cap="flat">
                <a:noFill/>
                <a:prstDash val="solid"/>
                <a:miter/>
              </a:ln>
            </p:spPr>
            <p:txBody>
              <a:bodyPr rtlCol="0" anchor="ctr"/>
              <a:lstStyle/>
              <a:p>
                <a:endParaRPr lang="en-GB"/>
              </a:p>
            </p:txBody>
          </p:sp>
          <p:sp>
            <p:nvSpPr>
              <p:cNvPr id="3636" name="Vrije vorm: vorm 3635">
                <a:extLst>
                  <a:ext uri="{FF2B5EF4-FFF2-40B4-BE49-F238E27FC236}">
                    <a16:creationId xmlns:a16="http://schemas.microsoft.com/office/drawing/2014/main" id="{869FD681-2C37-49F1-A60B-6B67781D8522}"/>
                  </a:ext>
                </a:extLst>
              </p:cNvPr>
              <p:cNvSpPr/>
              <p:nvPr/>
            </p:nvSpPr>
            <p:spPr>
              <a:xfrm>
                <a:off x="6942487" y="4850582"/>
                <a:ext cx="18389" cy="18398"/>
              </a:xfrm>
              <a:custGeom>
                <a:avLst/>
                <a:gdLst>
                  <a:gd name="connsiteX0" fmla="*/ 971 w 18389"/>
                  <a:gd name="connsiteY0" fmla="*/ 13279 h 18398"/>
                  <a:gd name="connsiteX1" fmla="*/ 5098 w 18389"/>
                  <a:gd name="connsiteY1" fmla="*/ 959 h 18398"/>
                  <a:gd name="connsiteX2" fmla="*/ 17418 w 18389"/>
                  <a:gd name="connsiteY2" fmla="*/ 5146 h 18398"/>
                  <a:gd name="connsiteX3" fmla="*/ 13291 w 18389"/>
                  <a:gd name="connsiteY3" fmla="*/ 17466 h 18398"/>
                  <a:gd name="connsiteX4" fmla="*/ 971 w 18389"/>
                  <a:gd name="connsiteY4" fmla="*/ 1327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9" h="18398">
                    <a:moveTo>
                      <a:pt x="971" y="13279"/>
                    </a:moveTo>
                    <a:cubicBezTo>
                      <a:pt x="-1302" y="8734"/>
                      <a:pt x="552" y="3172"/>
                      <a:pt x="5098" y="959"/>
                    </a:cubicBezTo>
                    <a:cubicBezTo>
                      <a:pt x="9643" y="-1314"/>
                      <a:pt x="15145" y="600"/>
                      <a:pt x="17418" y="5146"/>
                    </a:cubicBezTo>
                    <a:cubicBezTo>
                      <a:pt x="19691" y="9691"/>
                      <a:pt x="17836" y="15253"/>
                      <a:pt x="13291" y="17466"/>
                    </a:cubicBezTo>
                    <a:cubicBezTo>
                      <a:pt x="8746" y="19679"/>
                      <a:pt x="3244" y="17825"/>
                      <a:pt x="971" y="13279"/>
                    </a:cubicBezTo>
                    <a:close/>
                  </a:path>
                </a:pathLst>
              </a:custGeom>
              <a:grpFill/>
              <a:ln w="5978" cap="flat">
                <a:noFill/>
                <a:prstDash val="solid"/>
                <a:miter/>
              </a:ln>
            </p:spPr>
            <p:txBody>
              <a:bodyPr rtlCol="0" anchor="ctr"/>
              <a:lstStyle/>
              <a:p>
                <a:endParaRPr lang="en-GB"/>
              </a:p>
            </p:txBody>
          </p:sp>
          <p:sp>
            <p:nvSpPr>
              <p:cNvPr id="3637" name="Vrije vorm: vorm 3636">
                <a:extLst>
                  <a:ext uri="{FF2B5EF4-FFF2-40B4-BE49-F238E27FC236}">
                    <a16:creationId xmlns:a16="http://schemas.microsoft.com/office/drawing/2014/main" id="{401EF243-290B-4BD9-964C-3B1A4362F459}"/>
                  </a:ext>
                </a:extLst>
              </p:cNvPr>
              <p:cNvSpPr/>
              <p:nvPr/>
            </p:nvSpPr>
            <p:spPr>
              <a:xfrm>
                <a:off x="7112041" y="5193039"/>
                <a:ext cx="18362" cy="18424"/>
              </a:xfrm>
              <a:custGeom>
                <a:avLst/>
                <a:gdLst>
                  <a:gd name="connsiteX0" fmla="*/ 971 w 18362"/>
                  <a:gd name="connsiteY0" fmla="*/ 13279 h 18424"/>
                  <a:gd name="connsiteX1" fmla="*/ 13292 w 18362"/>
                  <a:gd name="connsiteY1" fmla="*/ 17466 h 18424"/>
                  <a:gd name="connsiteX2" fmla="*/ 17418 w 18362"/>
                  <a:gd name="connsiteY2" fmla="*/ 5146 h 18424"/>
                  <a:gd name="connsiteX3" fmla="*/ 5098 w 18362"/>
                  <a:gd name="connsiteY3" fmla="*/ 959 h 18424"/>
                  <a:gd name="connsiteX4" fmla="*/ 971 w 18362"/>
                  <a:gd name="connsiteY4" fmla="*/ 13279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971" y="13279"/>
                    </a:moveTo>
                    <a:cubicBezTo>
                      <a:pt x="3244" y="17825"/>
                      <a:pt x="8746" y="19739"/>
                      <a:pt x="13292" y="17466"/>
                    </a:cubicBezTo>
                    <a:cubicBezTo>
                      <a:pt x="17836" y="15193"/>
                      <a:pt x="19631" y="9691"/>
                      <a:pt x="17418" y="5146"/>
                    </a:cubicBezTo>
                    <a:cubicBezTo>
                      <a:pt x="15145" y="600"/>
                      <a:pt x="9643" y="-1314"/>
                      <a:pt x="5098" y="959"/>
                    </a:cubicBezTo>
                    <a:cubicBezTo>
                      <a:pt x="553" y="3172"/>
                      <a:pt x="-1302" y="8734"/>
                      <a:pt x="971" y="13279"/>
                    </a:cubicBezTo>
                    <a:close/>
                  </a:path>
                </a:pathLst>
              </a:custGeom>
              <a:grpFill/>
              <a:ln w="5978" cap="flat">
                <a:noFill/>
                <a:prstDash val="solid"/>
                <a:miter/>
              </a:ln>
            </p:spPr>
            <p:txBody>
              <a:bodyPr rtlCol="0" anchor="ctr"/>
              <a:lstStyle/>
              <a:p>
                <a:endParaRPr lang="en-GB"/>
              </a:p>
            </p:txBody>
          </p:sp>
        </p:grpSp>
        <p:grpSp>
          <p:nvGrpSpPr>
            <p:cNvPr id="585" name="Graphic 3">
              <a:extLst>
                <a:ext uri="{FF2B5EF4-FFF2-40B4-BE49-F238E27FC236}">
                  <a16:creationId xmlns:a16="http://schemas.microsoft.com/office/drawing/2014/main" id="{3F4DABA6-3239-4756-BA8F-FD7788F17C9D}"/>
                </a:ext>
              </a:extLst>
            </p:cNvPr>
            <p:cNvGrpSpPr/>
            <p:nvPr/>
          </p:nvGrpSpPr>
          <p:grpSpPr>
            <a:xfrm>
              <a:off x="5807051" y="1093007"/>
              <a:ext cx="53254" cy="653354"/>
              <a:chOff x="5807051" y="1093007"/>
              <a:chExt cx="53254" cy="653354"/>
            </a:xfrm>
            <a:grpFill/>
          </p:grpSpPr>
          <p:sp>
            <p:nvSpPr>
              <p:cNvPr id="3632" name="Vrije vorm: vorm 3631">
                <a:extLst>
                  <a:ext uri="{FF2B5EF4-FFF2-40B4-BE49-F238E27FC236}">
                    <a16:creationId xmlns:a16="http://schemas.microsoft.com/office/drawing/2014/main" id="{2C42B4B7-AF8E-4DCD-ADCC-C29D01D4B970}"/>
                  </a:ext>
                </a:extLst>
              </p:cNvPr>
              <p:cNvSpPr/>
              <p:nvPr/>
            </p:nvSpPr>
            <p:spPr>
              <a:xfrm>
                <a:off x="5814657" y="1101689"/>
                <a:ext cx="38037" cy="635989"/>
              </a:xfrm>
              <a:custGeom>
                <a:avLst/>
                <a:gdLst>
                  <a:gd name="connsiteX0" fmla="*/ 3050 w 38037"/>
                  <a:gd name="connsiteY0" fmla="*/ 0 h 635989"/>
                  <a:gd name="connsiteX1" fmla="*/ 38037 w 38037"/>
                  <a:gd name="connsiteY1" fmla="*/ 635810 h 635989"/>
                  <a:gd name="connsiteX2" fmla="*/ 34987 w 38037"/>
                  <a:gd name="connsiteY2" fmla="*/ 635990 h 635989"/>
                  <a:gd name="connsiteX3" fmla="*/ 0 w 38037"/>
                  <a:gd name="connsiteY3" fmla="*/ 120 h 635989"/>
                </a:gdLst>
                <a:ahLst/>
                <a:cxnLst>
                  <a:cxn ang="0">
                    <a:pos x="connsiteX0" y="connsiteY0"/>
                  </a:cxn>
                  <a:cxn ang="0">
                    <a:pos x="connsiteX1" y="connsiteY1"/>
                  </a:cxn>
                  <a:cxn ang="0">
                    <a:pos x="connsiteX2" y="connsiteY2"/>
                  </a:cxn>
                  <a:cxn ang="0">
                    <a:pos x="connsiteX3" y="connsiteY3"/>
                  </a:cxn>
                </a:cxnLst>
                <a:rect l="l" t="t" r="r" b="b"/>
                <a:pathLst>
                  <a:path w="38037" h="635989">
                    <a:moveTo>
                      <a:pt x="3050" y="0"/>
                    </a:moveTo>
                    <a:lnTo>
                      <a:pt x="38037" y="635810"/>
                    </a:lnTo>
                    <a:lnTo>
                      <a:pt x="34987" y="635990"/>
                    </a:lnTo>
                    <a:lnTo>
                      <a:pt x="0" y="120"/>
                    </a:lnTo>
                    <a:close/>
                  </a:path>
                </a:pathLst>
              </a:custGeom>
              <a:grpFill/>
              <a:ln w="5978" cap="flat">
                <a:noFill/>
                <a:prstDash val="solid"/>
                <a:miter/>
              </a:ln>
            </p:spPr>
            <p:txBody>
              <a:bodyPr rtlCol="0" anchor="ctr"/>
              <a:lstStyle/>
              <a:p>
                <a:endParaRPr lang="en-GB"/>
              </a:p>
            </p:txBody>
          </p:sp>
          <p:sp>
            <p:nvSpPr>
              <p:cNvPr id="3633" name="Vrije vorm: vorm 3632">
                <a:extLst>
                  <a:ext uri="{FF2B5EF4-FFF2-40B4-BE49-F238E27FC236}">
                    <a16:creationId xmlns:a16="http://schemas.microsoft.com/office/drawing/2014/main" id="{19F966EF-E4F7-4D42-8513-335353200EEC}"/>
                  </a:ext>
                </a:extLst>
              </p:cNvPr>
              <p:cNvSpPr/>
              <p:nvPr/>
            </p:nvSpPr>
            <p:spPr>
              <a:xfrm>
                <a:off x="5841972" y="1727914"/>
                <a:ext cx="18333" cy="18447"/>
              </a:xfrm>
              <a:custGeom>
                <a:avLst/>
                <a:gdLst>
                  <a:gd name="connsiteX0" fmla="*/ 18317 w 18333"/>
                  <a:gd name="connsiteY0" fmla="*/ 8748 h 18447"/>
                  <a:gd name="connsiteX1" fmla="*/ 9645 w 18333"/>
                  <a:gd name="connsiteY1" fmla="*/ 18437 h 18447"/>
                  <a:gd name="connsiteX2" fmla="*/ 16 w 18333"/>
                  <a:gd name="connsiteY2" fmla="*/ 9705 h 18447"/>
                  <a:gd name="connsiteX3" fmla="*/ 8688 w 18333"/>
                  <a:gd name="connsiteY3" fmla="*/ 16 h 18447"/>
                  <a:gd name="connsiteX4" fmla="*/ 18317 w 18333"/>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8748"/>
                    </a:moveTo>
                    <a:cubicBezTo>
                      <a:pt x="18616" y="13831"/>
                      <a:pt x="14729" y="18138"/>
                      <a:pt x="9645" y="18437"/>
                    </a:cubicBezTo>
                    <a:cubicBezTo>
                      <a:pt x="4621" y="18676"/>
                      <a:pt x="256" y="14788"/>
                      <a:pt x="16" y="9705"/>
                    </a:cubicBezTo>
                    <a:cubicBezTo>
                      <a:pt x="-283" y="4621"/>
                      <a:pt x="3605" y="315"/>
                      <a:pt x="8688" y="16"/>
                    </a:cubicBezTo>
                    <a:cubicBezTo>
                      <a:pt x="13772" y="-283"/>
                      <a:pt x="18078" y="3664"/>
                      <a:pt x="18317" y="8748"/>
                    </a:cubicBezTo>
                    <a:close/>
                  </a:path>
                </a:pathLst>
              </a:custGeom>
              <a:grpFill/>
              <a:ln w="5978" cap="flat">
                <a:noFill/>
                <a:prstDash val="solid"/>
                <a:miter/>
              </a:ln>
            </p:spPr>
            <p:txBody>
              <a:bodyPr rtlCol="0" anchor="ctr"/>
              <a:lstStyle/>
              <a:p>
                <a:endParaRPr lang="en-GB"/>
              </a:p>
            </p:txBody>
          </p:sp>
          <p:sp>
            <p:nvSpPr>
              <p:cNvPr id="3634" name="Vrije vorm: vorm 3633">
                <a:extLst>
                  <a:ext uri="{FF2B5EF4-FFF2-40B4-BE49-F238E27FC236}">
                    <a16:creationId xmlns:a16="http://schemas.microsoft.com/office/drawing/2014/main" id="{5EB9F76A-6274-453D-AE63-EA691AE42C9A}"/>
                  </a:ext>
                </a:extLst>
              </p:cNvPr>
              <p:cNvSpPr/>
              <p:nvPr/>
            </p:nvSpPr>
            <p:spPr>
              <a:xfrm>
                <a:off x="5807051" y="1093007"/>
                <a:ext cx="18327" cy="18441"/>
              </a:xfrm>
              <a:custGeom>
                <a:avLst/>
                <a:gdLst>
                  <a:gd name="connsiteX0" fmla="*/ 18311 w 18327"/>
                  <a:gd name="connsiteY0" fmla="*/ 8742 h 18441"/>
                  <a:gd name="connsiteX1" fmla="*/ 8683 w 18327"/>
                  <a:gd name="connsiteY1" fmla="*/ 10 h 18441"/>
                  <a:gd name="connsiteX2" fmla="*/ 10 w 18327"/>
                  <a:gd name="connsiteY2" fmla="*/ 9699 h 18441"/>
                  <a:gd name="connsiteX3" fmla="*/ 9639 w 18327"/>
                  <a:gd name="connsiteY3" fmla="*/ 18431 h 18441"/>
                  <a:gd name="connsiteX4" fmla="*/ 18311 w 18327"/>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18311" y="8742"/>
                    </a:moveTo>
                    <a:cubicBezTo>
                      <a:pt x="18013" y="3659"/>
                      <a:pt x="13706" y="-229"/>
                      <a:pt x="8683" y="10"/>
                    </a:cubicBezTo>
                    <a:cubicBezTo>
                      <a:pt x="3659" y="250"/>
                      <a:pt x="-229" y="4616"/>
                      <a:pt x="10" y="9699"/>
                    </a:cubicBezTo>
                    <a:cubicBezTo>
                      <a:pt x="309" y="14783"/>
                      <a:pt x="4616" y="18670"/>
                      <a:pt x="9639" y="18431"/>
                    </a:cubicBezTo>
                    <a:cubicBezTo>
                      <a:pt x="14723" y="18132"/>
                      <a:pt x="18610" y="13826"/>
                      <a:pt x="18311" y="8742"/>
                    </a:cubicBezTo>
                    <a:close/>
                  </a:path>
                </a:pathLst>
              </a:custGeom>
              <a:grpFill/>
              <a:ln w="5978" cap="flat">
                <a:noFill/>
                <a:prstDash val="solid"/>
                <a:miter/>
              </a:ln>
            </p:spPr>
            <p:txBody>
              <a:bodyPr rtlCol="0" anchor="ctr"/>
              <a:lstStyle/>
              <a:p>
                <a:endParaRPr lang="en-GB"/>
              </a:p>
            </p:txBody>
          </p:sp>
        </p:grpSp>
        <p:grpSp>
          <p:nvGrpSpPr>
            <p:cNvPr id="586" name="Graphic 3">
              <a:extLst>
                <a:ext uri="{FF2B5EF4-FFF2-40B4-BE49-F238E27FC236}">
                  <a16:creationId xmlns:a16="http://schemas.microsoft.com/office/drawing/2014/main" id="{154E5433-E809-4644-9454-BAE9CEBC5939}"/>
                </a:ext>
              </a:extLst>
            </p:cNvPr>
            <p:cNvGrpSpPr/>
            <p:nvPr/>
          </p:nvGrpSpPr>
          <p:grpSpPr>
            <a:xfrm>
              <a:off x="5893451" y="1598954"/>
              <a:ext cx="28891" cy="142942"/>
              <a:chOff x="5893451" y="1598954"/>
              <a:chExt cx="28891" cy="142942"/>
            </a:xfrm>
            <a:grpFill/>
          </p:grpSpPr>
          <p:sp>
            <p:nvSpPr>
              <p:cNvPr id="3629" name="Vrije vorm: vorm 3628">
                <a:extLst>
                  <a:ext uri="{FF2B5EF4-FFF2-40B4-BE49-F238E27FC236}">
                    <a16:creationId xmlns:a16="http://schemas.microsoft.com/office/drawing/2014/main" id="{902D0D18-9EC6-4752-8042-2A8A67A038AC}"/>
                  </a:ext>
                </a:extLst>
              </p:cNvPr>
              <p:cNvSpPr/>
              <p:nvPr/>
            </p:nvSpPr>
            <p:spPr>
              <a:xfrm>
                <a:off x="5901078" y="1607598"/>
                <a:ext cx="13576" cy="125655"/>
              </a:xfrm>
              <a:custGeom>
                <a:avLst/>
                <a:gdLst>
                  <a:gd name="connsiteX0" fmla="*/ 3050 w 13576"/>
                  <a:gd name="connsiteY0" fmla="*/ 0 h 125655"/>
                  <a:gd name="connsiteX1" fmla="*/ 13576 w 13576"/>
                  <a:gd name="connsiteY1" fmla="*/ 125416 h 125655"/>
                  <a:gd name="connsiteX2" fmla="*/ 10526 w 13576"/>
                  <a:gd name="connsiteY2" fmla="*/ 125655 h 125655"/>
                  <a:gd name="connsiteX3" fmla="*/ 0 w 13576"/>
                  <a:gd name="connsiteY3" fmla="*/ 239 h 125655"/>
                </a:gdLst>
                <a:ahLst/>
                <a:cxnLst>
                  <a:cxn ang="0">
                    <a:pos x="connsiteX0" y="connsiteY0"/>
                  </a:cxn>
                  <a:cxn ang="0">
                    <a:pos x="connsiteX1" y="connsiteY1"/>
                  </a:cxn>
                  <a:cxn ang="0">
                    <a:pos x="connsiteX2" y="connsiteY2"/>
                  </a:cxn>
                  <a:cxn ang="0">
                    <a:pos x="connsiteX3" y="connsiteY3"/>
                  </a:cxn>
                </a:cxnLst>
                <a:rect l="l" t="t" r="r" b="b"/>
                <a:pathLst>
                  <a:path w="13576" h="125655">
                    <a:moveTo>
                      <a:pt x="3050" y="0"/>
                    </a:moveTo>
                    <a:lnTo>
                      <a:pt x="13576" y="125416"/>
                    </a:lnTo>
                    <a:lnTo>
                      <a:pt x="10526" y="125655"/>
                    </a:lnTo>
                    <a:lnTo>
                      <a:pt x="0" y="239"/>
                    </a:lnTo>
                    <a:close/>
                  </a:path>
                </a:pathLst>
              </a:custGeom>
              <a:grpFill/>
              <a:ln w="5978" cap="flat">
                <a:noFill/>
                <a:prstDash val="solid"/>
                <a:miter/>
              </a:ln>
            </p:spPr>
            <p:txBody>
              <a:bodyPr rtlCol="0" anchor="ctr"/>
              <a:lstStyle/>
              <a:p>
                <a:endParaRPr lang="en-GB"/>
              </a:p>
            </p:txBody>
          </p:sp>
          <p:sp>
            <p:nvSpPr>
              <p:cNvPr id="3630" name="Vrije vorm: vorm 3629">
                <a:extLst>
                  <a:ext uri="{FF2B5EF4-FFF2-40B4-BE49-F238E27FC236}">
                    <a16:creationId xmlns:a16="http://schemas.microsoft.com/office/drawing/2014/main" id="{41FFD874-0F50-46D5-91D5-139AF533EADF}"/>
                  </a:ext>
                </a:extLst>
              </p:cNvPr>
              <p:cNvSpPr/>
              <p:nvPr/>
            </p:nvSpPr>
            <p:spPr>
              <a:xfrm>
                <a:off x="5893451" y="1598954"/>
                <a:ext cx="18365" cy="18424"/>
              </a:xfrm>
              <a:custGeom>
                <a:avLst/>
                <a:gdLst>
                  <a:gd name="connsiteX0" fmla="*/ 32 w 18365"/>
                  <a:gd name="connsiteY0" fmla="*/ 9960 h 18424"/>
                  <a:gd name="connsiteX1" fmla="*/ 8405 w 18365"/>
                  <a:gd name="connsiteY1" fmla="*/ 32 h 18424"/>
                  <a:gd name="connsiteX2" fmla="*/ 18333 w 18365"/>
                  <a:gd name="connsiteY2" fmla="*/ 8465 h 18424"/>
                  <a:gd name="connsiteX3" fmla="*/ 9960 w 18365"/>
                  <a:gd name="connsiteY3" fmla="*/ 18393 h 18424"/>
                  <a:gd name="connsiteX4" fmla="*/ 32 w 18365"/>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4">
                    <a:moveTo>
                      <a:pt x="32" y="9960"/>
                    </a:moveTo>
                    <a:cubicBezTo>
                      <a:pt x="-386" y="4876"/>
                      <a:pt x="3322" y="450"/>
                      <a:pt x="8405" y="32"/>
                    </a:cubicBezTo>
                    <a:cubicBezTo>
                      <a:pt x="13429" y="-387"/>
                      <a:pt x="17855" y="3381"/>
                      <a:pt x="18333" y="8465"/>
                    </a:cubicBezTo>
                    <a:cubicBezTo>
                      <a:pt x="18752" y="13548"/>
                      <a:pt x="15044" y="17974"/>
                      <a:pt x="9960" y="18393"/>
                    </a:cubicBezTo>
                    <a:cubicBezTo>
                      <a:pt x="4877" y="18811"/>
                      <a:pt x="451" y="15043"/>
                      <a:pt x="32" y="9960"/>
                    </a:cubicBezTo>
                    <a:close/>
                  </a:path>
                </a:pathLst>
              </a:custGeom>
              <a:grpFill/>
              <a:ln w="5978" cap="flat">
                <a:noFill/>
                <a:prstDash val="solid"/>
                <a:miter/>
              </a:ln>
            </p:spPr>
            <p:txBody>
              <a:bodyPr rtlCol="0" anchor="ctr"/>
              <a:lstStyle/>
              <a:p>
                <a:endParaRPr lang="en-GB"/>
              </a:p>
            </p:txBody>
          </p:sp>
          <p:sp>
            <p:nvSpPr>
              <p:cNvPr id="3631" name="Vrije vorm: vorm 3630">
                <a:extLst>
                  <a:ext uri="{FF2B5EF4-FFF2-40B4-BE49-F238E27FC236}">
                    <a16:creationId xmlns:a16="http://schemas.microsoft.com/office/drawing/2014/main" id="{C1A02021-743B-4A57-92D6-F5AD5FADA7B9}"/>
                  </a:ext>
                </a:extLst>
              </p:cNvPr>
              <p:cNvSpPr/>
              <p:nvPr/>
            </p:nvSpPr>
            <p:spPr>
              <a:xfrm>
                <a:off x="5903968" y="1723473"/>
                <a:ext cx="18374" cy="18424"/>
              </a:xfrm>
              <a:custGeom>
                <a:avLst/>
                <a:gdLst>
                  <a:gd name="connsiteX0" fmla="*/ 41 w 18374"/>
                  <a:gd name="connsiteY0" fmla="*/ 9960 h 18424"/>
                  <a:gd name="connsiteX1" fmla="*/ 9969 w 18374"/>
                  <a:gd name="connsiteY1" fmla="*/ 18393 h 18424"/>
                  <a:gd name="connsiteX2" fmla="*/ 18342 w 18374"/>
                  <a:gd name="connsiteY2" fmla="*/ 8465 h 18424"/>
                  <a:gd name="connsiteX3" fmla="*/ 8414 w 18374"/>
                  <a:gd name="connsiteY3" fmla="*/ 32 h 18424"/>
                  <a:gd name="connsiteX4" fmla="*/ 41 w 18374"/>
                  <a:gd name="connsiteY4" fmla="*/ 9960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4">
                    <a:moveTo>
                      <a:pt x="41" y="9960"/>
                    </a:moveTo>
                    <a:cubicBezTo>
                      <a:pt x="460" y="15043"/>
                      <a:pt x="4886" y="18811"/>
                      <a:pt x="9969" y="18393"/>
                    </a:cubicBezTo>
                    <a:cubicBezTo>
                      <a:pt x="14993" y="17974"/>
                      <a:pt x="18761" y="13548"/>
                      <a:pt x="18342" y="8465"/>
                    </a:cubicBezTo>
                    <a:cubicBezTo>
                      <a:pt x="17924" y="3381"/>
                      <a:pt x="13498" y="-387"/>
                      <a:pt x="8414" y="32"/>
                    </a:cubicBezTo>
                    <a:cubicBezTo>
                      <a:pt x="3331" y="450"/>
                      <a:pt x="-437" y="4876"/>
                      <a:pt x="41" y="9960"/>
                    </a:cubicBezTo>
                    <a:close/>
                  </a:path>
                </a:pathLst>
              </a:custGeom>
              <a:grpFill/>
              <a:ln w="5978" cap="flat">
                <a:noFill/>
                <a:prstDash val="solid"/>
                <a:miter/>
              </a:ln>
            </p:spPr>
            <p:txBody>
              <a:bodyPr rtlCol="0" anchor="ctr"/>
              <a:lstStyle/>
              <a:p>
                <a:endParaRPr lang="en-GB"/>
              </a:p>
            </p:txBody>
          </p:sp>
        </p:grpSp>
        <p:grpSp>
          <p:nvGrpSpPr>
            <p:cNvPr id="587" name="Graphic 3">
              <a:extLst>
                <a:ext uri="{FF2B5EF4-FFF2-40B4-BE49-F238E27FC236}">
                  <a16:creationId xmlns:a16="http://schemas.microsoft.com/office/drawing/2014/main" id="{81F1CC90-E3AB-4F50-B8C4-5DB5DCDFCFF0}"/>
                </a:ext>
              </a:extLst>
            </p:cNvPr>
            <p:cNvGrpSpPr/>
            <p:nvPr/>
          </p:nvGrpSpPr>
          <p:grpSpPr>
            <a:xfrm>
              <a:off x="6976752" y="4967684"/>
              <a:ext cx="73646" cy="111127"/>
              <a:chOff x="6976752" y="4967684"/>
              <a:chExt cx="73646" cy="111127"/>
            </a:xfrm>
            <a:grpFill/>
          </p:grpSpPr>
          <p:sp>
            <p:nvSpPr>
              <p:cNvPr id="3626" name="Vrije vorm: vorm 3625">
                <a:extLst>
                  <a:ext uri="{FF2B5EF4-FFF2-40B4-BE49-F238E27FC236}">
                    <a16:creationId xmlns:a16="http://schemas.microsoft.com/office/drawing/2014/main" id="{5E4960A7-1E15-425A-99B2-FD664FC0E76F}"/>
                  </a:ext>
                </a:extLst>
              </p:cNvPr>
              <p:cNvSpPr/>
              <p:nvPr/>
            </p:nvSpPr>
            <p:spPr>
              <a:xfrm>
                <a:off x="6984366" y="4975701"/>
                <a:ext cx="58431" cy="95033"/>
              </a:xfrm>
              <a:custGeom>
                <a:avLst/>
                <a:gdLst>
                  <a:gd name="connsiteX0" fmla="*/ 58432 w 58431"/>
                  <a:gd name="connsiteY0" fmla="*/ 93479 h 95033"/>
                  <a:gd name="connsiteX1" fmla="*/ 55800 w 58431"/>
                  <a:gd name="connsiteY1" fmla="*/ 95034 h 95033"/>
                  <a:gd name="connsiteX2" fmla="*/ 0 w 58431"/>
                  <a:gd name="connsiteY2" fmla="*/ 1555 h 95033"/>
                  <a:gd name="connsiteX3" fmla="*/ 2632 w 58431"/>
                  <a:gd name="connsiteY3" fmla="*/ 0 h 95033"/>
                </a:gdLst>
                <a:ahLst/>
                <a:cxnLst>
                  <a:cxn ang="0">
                    <a:pos x="connsiteX0" y="connsiteY0"/>
                  </a:cxn>
                  <a:cxn ang="0">
                    <a:pos x="connsiteX1" y="connsiteY1"/>
                  </a:cxn>
                  <a:cxn ang="0">
                    <a:pos x="connsiteX2" y="connsiteY2"/>
                  </a:cxn>
                  <a:cxn ang="0">
                    <a:pos x="connsiteX3" y="connsiteY3"/>
                  </a:cxn>
                </a:cxnLst>
                <a:rect l="l" t="t" r="r" b="b"/>
                <a:pathLst>
                  <a:path w="58431" h="95033">
                    <a:moveTo>
                      <a:pt x="58432" y="93479"/>
                    </a:moveTo>
                    <a:lnTo>
                      <a:pt x="55800" y="95034"/>
                    </a:lnTo>
                    <a:lnTo>
                      <a:pt x="0" y="1555"/>
                    </a:lnTo>
                    <a:lnTo>
                      <a:pt x="2632" y="0"/>
                    </a:lnTo>
                    <a:close/>
                  </a:path>
                </a:pathLst>
              </a:custGeom>
              <a:grpFill/>
              <a:ln w="5978" cap="flat">
                <a:noFill/>
                <a:prstDash val="solid"/>
                <a:miter/>
              </a:ln>
            </p:spPr>
            <p:txBody>
              <a:bodyPr rtlCol="0" anchor="ctr"/>
              <a:lstStyle/>
              <a:p>
                <a:endParaRPr lang="en-GB"/>
              </a:p>
            </p:txBody>
          </p:sp>
          <p:sp>
            <p:nvSpPr>
              <p:cNvPr id="3627" name="Vrije vorm: vorm 3626">
                <a:extLst>
                  <a:ext uri="{FF2B5EF4-FFF2-40B4-BE49-F238E27FC236}">
                    <a16:creationId xmlns:a16="http://schemas.microsoft.com/office/drawing/2014/main" id="{536A678A-F52F-4E35-A8A2-CC477B0214B1}"/>
                  </a:ext>
                </a:extLst>
              </p:cNvPr>
              <p:cNvSpPr/>
              <p:nvPr/>
            </p:nvSpPr>
            <p:spPr>
              <a:xfrm>
                <a:off x="7032088" y="5060386"/>
                <a:ext cx="18311" cy="18426"/>
              </a:xfrm>
              <a:custGeom>
                <a:avLst/>
                <a:gdLst>
                  <a:gd name="connsiteX0" fmla="*/ 16991 w 18311"/>
                  <a:gd name="connsiteY0" fmla="*/ 4488 h 18426"/>
                  <a:gd name="connsiteX1" fmla="*/ 13880 w 18311"/>
                  <a:gd name="connsiteY1" fmla="*/ 17108 h 18426"/>
                  <a:gd name="connsiteX2" fmla="*/ 1321 w 18311"/>
                  <a:gd name="connsiteY2" fmla="*/ 13938 h 18426"/>
                  <a:gd name="connsiteX3" fmla="*/ 4430 w 18311"/>
                  <a:gd name="connsiteY3" fmla="*/ 1318 h 18426"/>
                  <a:gd name="connsiteX4" fmla="*/ 16991 w 18311"/>
                  <a:gd name="connsiteY4" fmla="*/ 448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6">
                    <a:moveTo>
                      <a:pt x="16991" y="4488"/>
                    </a:moveTo>
                    <a:cubicBezTo>
                      <a:pt x="19622" y="8854"/>
                      <a:pt x="18186" y="14536"/>
                      <a:pt x="13880" y="17108"/>
                    </a:cubicBezTo>
                    <a:cubicBezTo>
                      <a:pt x="9515" y="19739"/>
                      <a:pt x="3892" y="18304"/>
                      <a:pt x="1321" y="13938"/>
                    </a:cubicBezTo>
                    <a:cubicBezTo>
                      <a:pt x="-1311" y="9572"/>
                      <a:pt x="124" y="3890"/>
                      <a:pt x="4430" y="1318"/>
                    </a:cubicBezTo>
                    <a:cubicBezTo>
                      <a:pt x="8737" y="-1313"/>
                      <a:pt x="14418" y="122"/>
                      <a:pt x="16991" y="4488"/>
                    </a:cubicBezTo>
                    <a:close/>
                  </a:path>
                </a:pathLst>
              </a:custGeom>
              <a:grpFill/>
              <a:ln w="5978" cap="flat">
                <a:noFill/>
                <a:prstDash val="solid"/>
                <a:miter/>
              </a:ln>
            </p:spPr>
            <p:txBody>
              <a:bodyPr rtlCol="0" anchor="ctr"/>
              <a:lstStyle/>
              <a:p>
                <a:endParaRPr lang="en-GB"/>
              </a:p>
            </p:txBody>
          </p:sp>
          <p:sp>
            <p:nvSpPr>
              <p:cNvPr id="3628" name="Vrije vorm: vorm 3627">
                <a:extLst>
                  <a:ext uri="{FF2B5EF4-FFF2-40B4-BE49-F238E27FC236}">
                    <a16:creationId xmlns:a16="http://schemas.microsoft.com/office/drawing/2014/main" id="{90AA412B-AB9D-47E2-9326-23AD4A6DE88F}"/>
                  </a:ext>
                </a:extLst>
              </p:cNvPr>
              <p:cNvSpPr/>
              <p:nvPr/>
            </p:nvSpPr>
            <p:spPr>
              <a:xfrm>
                <a:off x="6976752" y="4967684"/>
                <a:ext cx="18338" cy="18426"/>
              </a:xfrm>
              <a:custGeom>
                <a:avLst/>
                <a:gdLst>
                  <a:gd name="connsiteX0" fmla="*/ 17004 w 18338"/>
                  <a:gd name="connsiteY0" fmla="*/ 4488 h 18426"/>
                  <a:gd name="connsiteX1" fmla="*/ 4444 w 18338"/>
                  <a:gd name="connsiteY1" fmla="*/ 1318 h 18426"/>
                  <a:gd name="connsiteX2" fmla="*/ 1335 w 18338"/>
                  <a:gd name="connsiteY2" fmla="*/ 13938 h 18426"/>
                  <a:gd name="connsiteX3" fmla="*/ 13894 w 18338"/>
                  <a:gd name="connsiteY3" fmla="*/ 17108 h 18426"/>
                  <a:gd name="connsiteX4" fmla="*/ 17004 w 18338"/>
                  <a:gd name="connsiteY4" fmla="*/ 448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6">
                    <a:moveTo>
                      <a:pt x="17004" y="4488"/>
                    </a:moveTo>
                    <a:cubicBezTo>
                      <a:pt x="14372" y="122"/>
                      <a:pt x="8751" y="-1313"/>
                      <a:pt x="4444" y="1318"/>
                    </a:cubicBezTo>
                    <a:cubicBezTo>
                      <a:pt x="78" y="3950"/>
                      <a:pt x="-1297" y="9572"/>
                      <a:pt x="1335" y="13938"/>
                    </a:cubicBezTo>
                    <a:cubicBezTo>
                      <a:pt x="3966" y="18304"/>
                      <a:pt x="9588" y="19739"/>
                      <a:pt x="13894" y="17108"/>
                    </a:cubicBezTo>
                    <a:cubicBezTo>
                      <a:pt x="18260" y="14536"/>
                      <a:pt x="19636" y="8854"/>
                      <a:pt x="17004" y="4488"/>
                    </a:cubicBezTo>
                    <a:close/>
                  </a:path>
                </a:pathLst>
              </a:custGeom>
              <a:grpFill/>
              <a:ln w="5978" cap="flat">
                <a:noFill/>
                <a:prstDash val="solid"/>
                <a:miter/>
              </a:ln>
            </p:spPr>
            <p:txBody>
              <a:bodyPr rtlCol="0" anchor="ctr"/>
              <a:lstStyle/>
              <a:p>
                <a:endParaRPr lang="en-GB"/>
              </a:p>
            </p:txBody>
          </p:sp>
        </p:grpSp>
        <p:grpSp>
          <p:nvGrpSpPr>
            <p:cNvPr id="588" name="Graphic 3">
              <a:extLst>
                <a:ext uri="{FF2B5EF4-FFF2-40B4-BE49-F238E27FC236}">
                  <a16:creationId xmlns:a16="http://schemas.microsoft.com/office/drawing/2014/main" id="{1D5E942B-676F-4F5D-A7AE-A1F2F7A4A33F}"/>
                </a:ext>
              </a:extLst>
            </p:cNvPr>
            <p:cNvGrpSpPr/>
            <p:nvPr/>
          </p:nvGrpSpPr>
          <p:grpSpPr>
            <a:xfrm>
              <a:off x="6943300" y="4850128"/>
              <a:ext cx="78828" cy="115783"/>
              <a:chOff x="6943300" y="4850128"/>
              <a:chExt cx="78828" cy="115783"/>
            </a:xfrm>
            <a:grpFill/>
          </p:grpSpPr>
          <p:sp>
            <p:nvSpPr>
              <p:cNvPr id="3623" name="Vrije vorm: vorm 3622">
                <a:extLst>
                  <a:ext uri="{FF2B5EF4-FFF2-40B4-BE49-F238E27FC236}">
                    <a16:creationId xmlns:a16="http://schemas.microsoft.com/office/drawing/2014/main" id="{6C4A4B97-72D6-4AD0-BADB-6C7D196E4D14}"/>
                  </a:ext>
                </a:extLst>
              </p:cNvPr>
              <p:cNvSpPr/>
              <p:nvPr/>
            </p:nvSpPr>
            <p:spPr>
              <a:xfrm>
                <a:off x="6950874" y="4858120"/>
                <a:ext cx="63634" cy="99758"/>
              </a:xfrm>
              <a:custGeom>
                <a:avLst/>
                <a:gdLst>
                  <a:gd name="connsiteX0" fmla="*/ 63635 w 63634"/>
                  <a:gd name="connsiteY0" fmla="*/ 98143 h 99758"/>
                  <a:gd name="connsiteX1" fmla="*/ 61063 w 63634"/>
                  <a:gd name="connsiteY1" fmla="*/ 99758 h 99758"/>
                  <a:gd name="connsiteX2" fmla="*/ 0 w 63634"/>
                  <a:gd name="connsiteY2" fmla="*/ 1615 h 99758"/>
                  <a:gd name="connsiteX3" fmla="*/ 2571 w 63634"/>
                  <a:gd name="connsiteY3" fmla="*/ 0 h 99758"/>
                </a:gdLst>
                <a:ahLst/>
                <a:cxnLst>
                  <a:cxn ang="0">
                    <a:pos x="connsiteX0" y="connsiteY0"/>
                  </a:cxn>
                  <a:cxn ang="0">
                    <a:pos x="connsiteX1" y="connsiteY1"/>
                  </a:cxn>
                  <a:cxn ang="0">
                    <a:pos x="connsiteX2" y="connsiteY2"/>
                  </a:cxn>
                  <a:cxn ang="0">
                    <a:pos x="connsiteX3" y="connsiteY3"/>
                  </a:cxn>
                </a:cxnLst>
                <a:rect l="l" t="t" r="r" b="b"/>
                <a:pathLst>
                  <a:path w="63634" h="99758">
                    <a:moveTo>
                      <a:pt x="63635" y="98143"/>
                    </a:moveTo>
                    <a:lnTo>
                      <a:pt x="61063" y="99758"/>
                    </a:lnTo>
                    <a:lnTo>
                      <a:pt x="0" y="1615"/>
                    </a:lnTo>
                    <a:lnTo>
                      <a:pt x="2571" y="0"/>
                    </a:lnTo>
                    <a:close/>
                  </a:path>
                </a:pathLst>
              </a:custGeom>
              <a:grpFill/>
              <a:ln w="5978" cap="flat">
                <a:noFill/>
                <a:prstDash val="solid"/>
                <a:miter/>
              </a:ln>
            </p:spPr>
            <p:txBody>
              <a:bodyPr rtlCol="0" anchor="ctr"/>
              <a:lstStyle/>
              <a:p>
                <a:endParaRPr lang="en-GB"/>
              </a:p>
            </p:txBody>
          </p:sp>
          <p:sp>
            <p:nvSpPr>
              <p:cNvPr id="3624" name="Vrije vorm: vorm 3623">
                <a:extLst>
                  <a:ext uri="{FF2B5EF4-FFF2-40B4-BE49-F238E27FC236}">
                    <a16:creationId xmlns:a16="http://schemas.microsoft.com/office/drawing/2014/main" id="{F50720CC-EE58-410B-940B-3CDCF093A289}"/>
                  </a:ext>
                </a:extLst>
              </p:cNvPr>
              <p:cNvSpPr/>
              <p:nvPr/>
            </p:nvSpPr>
            <p:spPr>
              <a:xfrm>
                <a:off x="7003840" y="4947454"/>
                <a:ext cx="18289" cy="18458"/>
              </a:xfrm>
              <a:custGeom>
                <a:avLst/>
                <a:gdLst>
                  <a:gd name="connsiteX0" fmla="*/ 16889 w 18289"/>
                  <a:gd name="connsiteY0" fmla="*/ 4385 h 18458"/>
                  <a:gd name="connsiteX1" fmla="*/ 14019 w 18289"/>
                  <a:gd name="connsiteY1" fmla="*/ 17064 h 18458"/>
                  <a:gd name="connsiteX2" fmla="*/ 1399 w 18289"/>
                  <a:gd name="connsiteY2" fmla="*/ 14073 h 18458"/>
                  <a:gd name="connsiteX3" fmla="*/ 4270 w 18289"/>
                  <a:gd name="connsiteY3" fmla="*/ 1394 h 18458"/>
                  <a:gd name="connsiteX4" fmla="*/ 16889 w 18289"/>
                  <a:gd name="connsiteY4" fmla="*/ 438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8">
                    <a:moveTo>
                      <a:pt x="16889" y="4385"/>
                    </a:moveTo>
                    <a:cubicBezTo>
                      <a:pt x="19581" y="8691"/>
                      <a:pt x="18265" y="14372"/>
                      <a:pt x="14019" y="17064"/>
                    </a:cubicBezTo>
                    <a:cubicBezTo>
                      <a:pt x="9713" y="19755"/>
                      <a:pt x="4091" y="18439"/>
                      <a:pt x="1399" y="14073"/>
                    </a:cubicBezTo>
                    <a:cubicBezTo>
                      <a:pt x="-1292" y="9767"/>
                      <a:pt x="24" y="4086"/>
                      <a:pt x="4270" y="1394"/>
                    </a:cubicBezTo>
                    <a:cubicBezTo>
                      <a:pt x="8577" y="-1297"/>
                      <a:pt x="14258" y="19"/>
                      <a:pt x="16889" y="4385"/>
                    </a:cubicBezTo>
                    <a:close/>
                  </a:path>
                </a:pathLst>
              </a:custGeom>
              <a:grpFill/>
              <a:ln w="5978" cap="flat">
                <a:noFill/>
                <a:prstDash val="solid"/>
                <a:miter/>
              </a:ln>
            </p:spPr>
            <p:txBody>
              <a:bodyPr rtlCol="0" anchor="ctr"/>
              <a:lstStyle/>
              <a:p>
                <a:endParaRPr lang="en-GB"/>
              </a:p>
            </p:txBody>
          </p:sp>
          <p:sp>
            <p:nvSpPr>
              <p:cNvPr id="3625" name="Vrije vorm: vorm 3624">
                <a:extLst>
                  <a:ext uri="{FF2B5EF4-FFF2-40B4-BE49-F238E27FC236}">
                    <a16:creationId xmlns:a16="http://schemas.microsoft.com/office/drawing/2014/main" id="{8071BBC3-E174-4759-8945-540A4A92F93D}"/>
                  </a:ext>
                </a:extLst>
              </p:cNvPr>
              <p:cNvSpPr/>
              <p:nvPr/>
            </p:nvSpPr>
            <p:spPr>
              <a:xfrm>
                <a:off x="6943300" y="4850128"/>
                <a:ext cx="18303" cy="18376"/>
              </a:xfrm>
              <a:custGeom>
                <a:avLst/>
                <a:gdLst>
                  <a:gd name="connsiteX0" fmla="*/ 16904 w 18303"/>
                  <a:gd name="connsiteY0" fmla="*/ 4344 h 18376"/>
                  <a:gd name="connsiteX1" fmla="*/ 4285 w 18303"/>
                  <a:gd name="connsiteY1" fmla="*/ 1354 h 18376"/>
                  <a:gd name="connsiteX2" fmla="*/ 1414 w 18303"/>
                  <a:gd name="connsiteY2" fmla="*/ 14033 h 18376"/>
                  <a:gd name="connsiteX3" fmla="*/ 14033 w 18303"/>
                  <a:gd name="connsiteY3" fmla="*/ 17023 h 18376"/>
                  <a:gd name="connsiteX4" fmla="*/ 16904 w 18303"/>
                  <a:gd name="connsiteY4" fmla="*/ 4344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76">
                    <a:moveTo>
                      <a:pt x="16904" y="4344"/>
                    </a:moveTo>
                    <a:cubicBezTo>
                      <a:pt x="14213" y="38"/>
                      <a:pt x="8531" y="-1278"/>
                      <a:pt x="4285" y="1354"/>
                    </a:cubicBezTo>
                    <a:cubicBezTo>
                      <a:pt x="-21" y="4045"/>
                      <a:pt x="-1277" y="9727"/>
                      <a:pt x="1414" y="14033"/>
                    </a:cubicBezTo>
                    <a:cubicBezTo>
                      <a:pt x="4106" y="18339"/>
                      <a:pt x="9787" y="19654"/>
                      <a:pt x="14033" y="17023"/>
                    </a:cubicBezTo>
                    <a:cubicBezTo>
                      <a:pt x="18280" y="14332"/>
                      <a:pt x="19596" y="8650"/>
                      <a:pt x="16904" y="4344"/>
                    </a:cubicBezTo>
                    <a:close/>
                  </a:path>
                </a:pathLst>
              </a:custGeom>
              <a:grpFill/>
              <a:ln w="5978" cap="flat">
                <a:noFill/>
                <a:prstDash val="solid"/>
                <a:miter/>
              </a:ln>
            </p:spPr>
            <p:txBody>
              <a:bodyPr rtlCol="0" anchor="ctr"/>
              <a:lstStyle/>
              <a:p>
                <a:endParaRPr lang="en-GB"/>
              </a:p>
            </p:txBody>
          </p:sp>
        </p:grpSp>
        <p:grpSp>
          <p:nvGrpSpPr>
            <p:cNvPr id="589" name="Graphic 3">
              <a:extLst>
                <a:ext uri="{FF2B5EF4-FFF2-40B4-BE49-F238E27FC236}">
                  <a16:creationId xmlns:a16="http://schemas.microsoft.com/office/drawing/2014/main" id="{640155A8-CDAE-41F0-A9A1-BFEED6DD742F}"/>
                </a:ext>
              </a:extLst>
            </p:cNvPr>
            <p:cNvGrpSpPr/>
            <p:nvPr/>
          </p:nvGrpSpPr>
          <p:grpSpPr>
            <a:xfrm>
              <a:off x="5796290" y="1357659"/>
              <a:ext cx="42893" cy="219741"/>
              <a:chOff x="5796290" y="1357659"/>
              <a:chExt cx="42893" cy="219741"/>
            </a:xfrm>
            <a:grpFill/>
          </p:grpSpPr>
          <p:sp>
            <p:nvSpPr>
              <p:cNvPr id="3620" name="Vrije vorm: vorm 3619">
                <a:extLst>
                  <a:ext uri="{FF2B5EF4-FFF2-40B4-BE49-F238E27FC236}">
                    <a16:creationId xmlns:a16="http://schemas.microsoft.com/office/drawing/2014/main" id="{9029220C-D38B-48AF-A5C4-0550EF1EB4F3}"/>
                  </a:ext>
                </a:extLst>
              </p:cNvPr>
              <p:cNvSpPr/>
              <p:nvPr/>
            </p:nvSpPr>
            <p:spPr>
              <a:xfrm>
                <a:off x="5803891" y="1366216"/>
                <a:ext cx="27630" cy="202626"/>
              </a:xfrm>
              <a:custGeom>
                <a:avLst/>
                <a:gdLst>
                  <a:gd name="connsiteX0" fmla="*/ 3050 w 27630"/>
                  <a:gd name="connsiteY0" fmla="*/ 0 h 202626"/>
                  <a:gd name="connsiteX1" fmla="*/ 27631 w 27630"/>
                  <a:gd name="connsiteY1" fmla="*/ 202268 h 202626"/>
                  <a:gd name="connsiteX2" fmla="*/ 24641 w 27630"/>
                  <a:gd name="connsiteY2" fmla="*/ 202627 h 202626"/>
                  <a:gd name="connsiteX3" fmla="*/ 0 w 27630"/>
                  <a:gd name="connsiteY3" fmla="*/ 419 h 202626"/>
                </a:gdLst>
                <a:ahLst/>
                <a:cxnLst>
                  <a:cxn ang="0">
                    <a:pos x="connsiteX0" y="connsiteY0"/>
                  </a:cxn>
                  <a:cxn ang="0">
                    <a:pos x="connsiteX1" y="connsiteY1"/>
                  </a:cxn>
                  <a:cxn ang="0">
                    <a:pos x="connsiteX2" y="connsiteY2"/>
                  </a:cxn>
                  <a:cxn ang="0">
                    <a:pos x="connsiteX3" y="connsiteY3"/>
                  </a:cxn>
                </a:cxnLst>
                <a:rect l="l" t="t" r="r" b="b"/>
                <a:pathLst>
                  <a:path w="27630" h="202626">
                    <a:moveTo>
                      <a:pt x="3050" y="0"/>
                    </a:moveTo>
                    <a:lnTo>
                      <a:pt x="27631" y="202268"/>
                    </a:lnTo>
                    <a:lnTo>
                      <a:pt x="24641" y="202627"/>
                    </a:lnTo>
                    <a:lnTo>
                      <a:pt x="0" y="419"/>
                    </a:lnTo>
                    <a:close/>
                  </a:path>
                </a:pathLst>
              </a:custGeom>
              <a:grpFill/>
              <a:ln w="5978" cap="flat">
                <a:noFill/>
                <a:prstDash val="solid"/>
                <a:miter/>
              </a:ln>
            </p:spPr>
            <p:txBody>
              <a:bodyPr rtlCol="0" anchor="ctr"/>
              <a:lstStyle/>
              <a:p>
                <a:endParaRPr lang="en-GB"/>
              </a:p>
            </p:txBody>
          </p:sp>
          <p:sp>
            <p:nvSpPr>
              <p:cNvPr id="3621" name="Vrije vorm: vorm 3620">
                <a:extLst>
                  <a:ext uri="{FF2B5EF4-FFF2-40B4-BE49-F238E27FC236}">
                    <a16:creationId xmlns:a16="http://schemas.microsoft.com/office/drawing/2014/main" id="{4C6EC543-5E0F-4BD3-8512-0A723805B006}"/>
                  </a:ext>
                </a:extLst>
              </p:cNvPr>
              <p:cNvSpPr/>
              <p:nvPr/>
            </p:nvSpPr>
            <p:spPr>
              <a:xfrm>
                <a:off x="5796290" y="1357659"/>
                <a:ext cx="18312" cy="18431"/>
              </a:xfrm>
              <a:custGeom>
                <a:avLst/>
                <a:gdLst>
                  <a:gd name="connsiteX0" fmla="*/ 66 w 18312"/>
                  <a:gd name="connsiteY0" fmla="*/ 10292 h 18431"/>
                  <a:gd name="connsiteX1" fmla="*/ 8020 w 18312"/>
                  <a:gd name="connsiteY1" fmla="*/ 65 h 18431"/>
                  <a:gd name="connsiteX2" fmla="*/ 18248 w 18312"/>
                  <a:gd name="connsiteY2" fmla="*/ 8139 h 18431"/>
                  <a:gd name="connsiteX3" fmla="*/ 10293 w 18312"/>
                  <a:gd name="connsiteY3" fmla="*/ 18366 h 18431"/>
                  <a:gd name="connsiteX4" fmla="*/ 66 w 18312"/>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1">
                    <a:moveTo>
                      <a:pt x="66" y="10292"/>
                    </a:moveTo>
                    <a:cubicBezTo>
                      <a:pt x="-532" y="5268"/>
                      <a:pt x="2997" y="663"/>
                      <a:pt x="8020" y="65"/>
                    </a:cubicBezTo>
                    <a:cubicBezTo>
                      <a:pt x="13044" y="-533"/>
                      <a:pt x="17590" y="3055"/>
                      <a:pt x="18248" y="8139"/>
                    </a:cubicBezTo>
                    <a:cubicBezTo>
                      <a:pt x="18846" y="13163"/>
                      <a:pt x="15257" y="17768"/>
                      <a:pt x="10293" y="18366"/>
                    </a:cubicBezTo>
                    <a:cubicBezTo>
                      <a:pt x="5270" y="18964"/>
                      <a:pt x="724" y="15376"/>
                      <a:pt x="66" y="10292"/>
                    </a:cubicBezTo>
                    <a:close/>
                  </a:path>
                </a:pathLst>
              </a:custGeom>
              <a:grpFill/>
              <a:ln w="5978" cap="flat">
                <a:noFill/>
                <a:prstDash val="solid"/>
                <a:miter/>
              </a:ln>
            </p:spPr>
            <p:txBody>
              <a:bodyPr rtlCol="0" anchor="ctr"/>
              <a:lstStyle/>
              <a:p>
                <a:endParaRPr lang="en-GB"/>
              </a:p>
            </p:txBody>
          </p:sp>
          <p:sp>
            <p:nvSpPr>
              <p:cNvPr id="3622" name="Vrije vorm: vorm 3621">
                <a:extLst>
                  <a:ext uri="{FF2B5EF4-FFF2-40B4-BE49-F238E27FC236}">
                    <a16:creationId xmlns:a16="http://schemas.microsoft.com/office/drawing/2014/main" id="{6489C2B3-F6BC-44CA-90CA-2A0EF2E32DBF}"/>
                  </a:ext>
                </a:extLst>
              </p:cNvPr>
              <p:cNvSpPr/>
              <p:nvPr/>
            </p:nvSpPr>
            <p:spPr>
              <a:xfrm>
                <a:off x="5820812" y="1558971"/>
                <a:ext cx="18371" cy="18429"/>
              </a:xfrm>
              <a:custGeom>
                <a:avLst/>
                <a:gdLst>
                  <a:gd name="connsiteX0" fmla="*/ 65 w 18371"/>
                  <a:gd name="connsiteY0" fmla="*/ 10291 h 18429"/>
                  <a:gd name="connsiteX1" fmla="*/ 10292 w 18371"/>
                  <a:gd name="connsiteY1" fmla="*/ 18365 h 18429"/>
                  <a:gd name="connsiteX2" fmla="*/ 18306 w 18371"/>
                  <a:gd name="connsiteY2" fmla="*/ 8138 h 18429"/>
                  <a:gd name="connsiteX3" fmla="*/ 8079 w 18371"/>
                  <a:gd name="connsiteY3" fmla="*/ 64 h 18429"/>
                  <a:gd name="connsiteX4" fmla="*/ 65 w 18371"/>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29">
                    <a:moveTo>
                      <a:pt x="65" y="10291"/>
                    </a:moveTo>
                    <a:cubicBezTo>
                      <a:pt x="663" y="15315"/>
                      <a:pt x="5268" y="18963"/>
                      <a:pt x="10292" y="18365"/>
                    </a:cubicBezTo>
                    <a:cubicBezTo>
                      <a:pt x="15316" y="17767"/>
                      <a:pt x="18904" y="13162"/>
                      <a:pt x="18306" y="8138"/>
                    </a:cubicBezTo>
                    <a:cubicBezTo>
                      <a:pt x="17708" y="3114"/>
                      <a:pt x="13103" y="-534"/>
                      <a:pt x="8079" y="64"/>
                    </a:cubicBezTo>
                    <a:cubicBezTo>
                      <a:pt x="3056" y="662"/>
                      <a:pt x="-533" y="5267"/>
                      <a:pt x="65" y="10291"/>
                    </a:cubicBezTo>
                    <a:close/>
                  </a:path>
                </a:pathLst>
              </a:custGeom>
              <a:grpFill/>
              <a:ln w="5978" cap="flat">
                <a:noFill/>
                <a:prstDash val="solid"/>
                <a:miter/>
              </a:ln>
            </p:spPr>
            <p:txBody>
              <a:bodyPr rtlCol="0" anchor="ctr"/>
              <a:lstStyle/>
              <a:p>
                <a:endParaRPr lang="en-GB"/>
              </a:p>
            </p:txBody>
          </p:sp>
        </p:grpSp>
        <p:grpSp>
          <p:nvGrpSpPr>
            <p:cNvPr id="590" name="Graphic 3">
              <a:extLst>
                <a:ext uri="{FF2B5EF4-FFF2-40B4-BE49-F238E27FC236}">
                  <a16:creationId xmlns:a16="http://schemas.microsoft.com/office/drawing/2014/main" id="{0CBA5E59-B1CF-4181-8AFF-FF8FD4874603}"/>
                </a:ext>
              </a:extLst>
            </p:cNvPr>
            <p:cNvGrpSpPr/>
            <p:nvPr/>
          </p:nvGrpSpPr>
          <p:grpSpPr>
            <a:xfrm>
              <a:off x="5758597" y="1364151"/>
              <a:ext cx="20567" cy="34990"/>
              <a:chOff x="5758597" y="1364151"/>
              <a:chExt cx="20567" cy="34990"/>
            </a:xfrm>
            <a:grpFill/>
          </p:grpSpPr>
          <p:sp>
            <p:nvSpPr>
              <p:cNvPr id="3618" name="Vrije vorm: vorm 3617">
                <a:extLst>
                  <a:ext uri="{FF2B5EF4-FFF2-40B4-BE49-F238E27FC236}">
                    <a16:creationId xmlns:a16="http://schemas.microsoft.com/office/drawing/2014/main" id="{71298661-A510-4A25-A643-5EC18EBF9344}"/>
                  </a:ext>
                </a:extLst>
              </p:cNvPr>
              <p:cNvSpPr/>
              <p:nvPr/>
            </p:nvSpPr>
            <p:spPr>
              <a:xfrm>
                <a:off x="5758597" y="1364151"/>
                <a:ext cx="18341" cy="18411"/>
              </a:xfrm>
              <a:custGeom>
                <a:avLst/>
                <a:gdLst>
                  <a:gd name="connsiteX0" fmla="*/ 18262 w 18341"/>
                  <a:gd name="connsiteY0" fmla="*/ 7986 h 18411"/>
                  <a:gd name="connsiteX1" fmla="*/ 10427 w 18341"/>
                  <a:gd name="connsiteY1" fmla="*/ 18333 h 18411"/>
                  <a:gd name="connsiteX2" fmla="*/ 80 w 18341"/>
                  <a:gd name="connsiteY2" fmla="*/ 10438 h 18411"/>
                  <a:gd name="connsiteX3" fmla="*/ 7915 w 18341"/>
                  <a:gd name="connsiteY3" fmla="*/ 91 h 18411"/>
                  <a:gd name="connsiteX4" fmla="*/ 18262 w 18341"/>
                  <a:gd name="connsiteY4" fmla="*/ 7986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11">
                    <a:moveTo>
                      <a:pt x="18262" y="7986"/>
                    </a:moveTo>
                    <a:cubicBezTo>
                      <a:pt x="18919" y="13010"/>
                      <a:pt x="15450" y="17675"/>
                      <a:pt x="10427" y="18333"/>
                    </a:cubicBezTo>
                    <a:cubicBezTo>
                      <a:pt x="5403" y="18991"/>
                      <a:pt x="798" y="15462"/>
                      <a:pt x="80" y="10438"/>
                    </a:cubicBezTo>
                    <a:cubicBezTo>
                      <a:pt x="-578" y="5414"/>
                      <a:pt x="2891" y="749"/>
                      <a:pt x="7915" y="91"/>
                    </a:cubicBezTo>
                    <a:cubicBezTo>
                      <a:pt x="12939" y="-626"/>
                      <a:pt x="17544" y="2962"/>
                      <a:pt x="18262" y="7986"/>
                    </a:cubicBezTo>
                    <a:close/>
                  </a:path>
                </a:pathLst>
              </a:custGeom>
              <a:grpFill/>
              <a:ln w="5978" cap="flat">
                <a:noFill/>
                <a:prstDash val="solid"/>
                <a:miter/>
              </a:ln>
            </p:spPr>
            <p:txBody>
              <a:bodyPr rtlCol="0" anchor="ctr"/>
              <a:lstStyle/>
              <a:p>
                <a:endParaRPr lang="en-GB"/>
              </a:p>
            </p:txBody>
          </p:sp>
          <p:sp>
            <p:nvSpPr>
              <p:cNvPr id="3619" name="Vrije vorm: vorm 3618">
                <a:extLst>
                  <a:ext uri="{FF2B5EF4-FFF2-40B4-BE49-F238E27FC236}">
                    <a16:creationId xmlns:a16="http://schemas.microsoft.com/office/drawing/2014/main" id="{EBDB3FCF-AD1B-4E44-B850-19516347CC2B}"/>
                  </a:ext>
                </a:extLst>
              </p:cNvPr>
              <p:cNvSpPr/>
              <p:nvPr/>
            </p:nvSpPr>
            <p:spPr>
              <a:xfrm>
                <a:off x="5760797" y="1380718"/>
                <a:ext cx="18367" cy="18424"/>
              </a:xfrm>
              <a:custGeom>
                <a:avLst/>
                <a:gdLst>
                  <a:gd name="connsiteX0" fmla="*/ 18274 w 18367"/>
                  <a:gd name="connsiteY0" fmla="*/ 7986 h 18424"/>
                  <a:gd name="connsiteX1" fmla="*/ 7927 w 18367"/>
                  <a:gd name="connsiteY1" fmla="*/ 91 h 18424"/>
                  <a:gd name="connsiteX2" fmla="*/ 93 w 18367"/>
                  <a:gd name="connsiteY2" fmla="*/ 10438 h 18424"/>
                  <a:gd name="connsiteX3" fmla="*/ 10440 w 18367"/>
                  <a:gd name="connsiteY3" fmla="*/ 18333 h 18424"/>
                  <a:gd name="connsiteX4" fmla="*/ 18274 w 18367"/>
                  <a:gd name="connsiteY4" fmla="*/ 7986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24">
                    <a:moveTo>
                      <a:pt x="18274" y="7986"/>
                    </a:moveTo>
                    <a:cubicBezTo>
                      <a:pt x="17616" y="2962"/>
                      <a:pt x="12951" y="-626"/>
                      <a:pt x="7927" y="91"/>
                    </a:cubicBezTo>
                    <a:cubicBezTo>
                      <a:pt x="2904" y="749"/>
                      <a:pt x="-625" y="5414"/>
                      <a:pt x="93" y="10438"/>
                    </a:cubicBezTo>
                    <a:cubicBezTo>
                      <a:pt x="751" y="15462"/>
                      <a:pt x="5416" y="19050"/>
                      <a:pt x="10440" y="18333"/>
                    </a:cubicBezTo>
                    <a:cubicBezTo>
                      <a:pt x="15463" y="17675"/>
                      <a:pt x="18992" y="13070"/>
                      <a:pt x="18274" y="7986"/>
                    </a:cubicBezTo>
                    <a:close/>
                  </a:path>
                </a:pathLst>
              </a:custGeom>
              <a:grpFill/>
              <a:ln w="5978" cap="flat">
                <a:noFill/>
                <a:prstDash val="solid"/>
                <a:miter/>
              </a:ln>
            </p:spPr>
            <p:txBody>
              <a:bodyPr rtlCol="0" anchor="ctr"/>
              <a:lstStyle/>
              <a:p>
                <a:endParaRPr lang="en-GB"/>
              </a:p>
            </p:txBody>
          </p:sp>
        </p:grpSp>
        <p:grpSp>
          <p:nvGrpSpPr>
            <p:cNvPr id="591" name="Graphic 3">
              <a:extLst>
                <a:ext uri="{FF2B5EF4-FFF2-40B4-BE49-F238E27FC236}">
                  <a16:creationId xmlns:a16="http://schemas.microsoft.com/office/drawing/2014/main" id="{9D05DA87-913C-422D-92DF-2C80BC7A3B24}"/>
                </a:ext>
              </a:extLst>
            </p:cNvPr>
            <p:cNvGrpSpPr/>
            <p:nvPr/>
          </p:nvGrpSpPr>
          <p:grpSpPr>
            <a:xfrm>
              <a:off x="5858503" y="1588119"/>
              <a:ext cx="32450" cy="155523"/>
              <a:chOff x="5858503" y="1588119"/>
              <a:chExt cx="32450" cy="155523"/>
            </a:xfrm>
            <a:grpFill/>
          </p:grpSpPr>
          <p:sp>
            <p:nvSpPr>
              <p:cNvPr id="3615" name="Vrije vorm: vorm 3614">
                <a:extLst>
                  <a:ext uri="{FF2B5EF4-FFF2-40B4-BE49-F238E27FC236}">
                    <a16:creationId xmlns:a16="http://schemas.microsoft.com/office/drawing/2014/main" id="{EC30255E-A22F-42D6-81FC-5C4233E4ACF7}"/>
                  </a:ext>
                </a:extLst>
              </p:cNvPr>
              <p:cNvSpPr/>
              <p:nvPr/>
            </p:nvSpPr>
            <p:spPr>
              <a:xfrm>
                <a:off x="5866091" y="1596713"/>
                <a:ext cx="17284" cy="138334"/>
              </a:xfrm>
              <a:custGeom>
                <a:avLst/>
                <a:gdLst>
                  <a:gd name="connsiteX0" fmla="*/ 3050 w 17284"/>
                  <a:gd name="connsiteY0" fmla="*/ 0 h 138334"/>
                  <a:gd name="connsiteX1" fmla="*/ 17284 w 17284"/>
                  <a:gd name="connsiteY1" fmla="*/ 138035 h 138334"/>
                  <a:gd name="connsiteX2" fmla="*/ 14234 w 17284"/>
                  <a:gd name="connsiteY2" fmla="*/ 138334 h 138334"/>
                  <a:gd name="connsiteX3" fmla="*/ 0 w 17284"/>
                  <a:gd name="connsiteY3" fmla="*/ 299 h 138334"/>
                </a:gdLst>
                <a:ahLst/>
                <a:cxnLst>
                  <a:cxn ang="0">
                    <a:pos x="connsiteX0" y="connsiteY0"/>
                  </a:cxn>
                  <a:cxn ang="0">
                    <a:pos x="connsiteX1" y="connsiteY1"/>
                  </a:cxn>
                  <a:cxn ang="0">
                    <a:pos x="connsiteX2" y="connsiteY2"/>
                  </a:cxn>
                  <a:cxn ang="0">
                    <a:pos x="connsiteX3" y="connsiteY3"/>
                  </a:cxn>
                </a:cxnLst>
                <a:rect l="l" t="t" r="r" b="b"/>
                <a:pathLst>
                  <a:path w="17284" h="138334">
                    <a:moveTo>
                      <a:pt x="3050" y="0"/>
                    </a:moveTo>
                    <a:lnTo>
                      <a:pt x="17284" y="138035"/>
                    </a:lnTo>
                    <a:lnTo>
                      <a:pt x="14234" y="138334"/>
                    </a:lnTo>
                    <a:lnTo>
                      <a:pt x="0" y="299"/>
                    </a:lnTo>
                    <a:close/>
                  </a:path>
                </a:pathLst>
              </a:custGeom>
              <a:grpFill/>
              <a:ln w="5978" cap="flat">
                <a:noFill/>
                <a:prstDash val="solid"/>
                <a:miter/>
              </a:ln>
            </p:spPr>
            <p:txBody>
              <a:bodyPr rtlCol="0" anchor="ctr"/>
              <a:lstStyle/>
              <a:p>
                <a:endParaRPr lang="en-GB"/>
              </a:p>
            </p:txBody>
          </p:sp>
          <p:sp>
            <p:nvSpPr>
              <p:cNvPr id="3616" name="Vrije vorm: vorm 3615">
                <a:extLst>
                  <a:ext uri="{FF2B5EF4-FFF2-40B4-BE49-F238E27FC236}">
                    <a16:creationId xmlns:a16="http://schemas.microsoft.com/office/drawing/2014/main" id="{15B39CC9-9C3F-4EBE-AF56-D12880ACBACA}"/>
                  </a:ext>
                </a:extLst>
              </p:cNvPr>
              <p:cNvSpPr/>
              <p:nvPr/>
            </p:nvSpPr>
            <p:spPr>
              <a:xfrm>
                <a:off x="5858503" y="1588119"/>
                <a:ext cx="18346" cy="18444"/>
              </a:xfrm>
              <a:custGeom>
                <a:avLst/>
                <a:gdLst>
                  <a:gd name="connsiteX0" fmla="*/ 53 w 18346"/>
                  <a:gd name="connsiteY0" fmla="*/ 10150 h 18444"/>
                  <a:gd name="connsiteX1" fmla="*/ 8246 w 18346"/>
                  <a:gd name="connsiteY1" fmla="*/ 42 h 18444"/>
                  <a:gd name="connsiteX2" fmla="*/ 18294 w 18346"/>
                  <a:gd name="connsiteY2" fmla="*/ 8296 h 18444"/>
                  <a:gd name="connsiteX3" fmla="*/ 10100 w 18346"/>
                  <a:gd name="connsiteY3" fmla="*/ 18403 h 18444"/>
                  <a:gd name="connsiteX4" fmla="*/ 53 w 18346"/>
                  <a:gd name="connsiteY4" fmla="*/ 1015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53" y="10150"/>
                    </a:moveTo>
                    <a:cubicBezTo>
                      <a:pt x="-485" y="5066"/>
                      <a:pt x="3163" y="580"/>
                      <a:pt x="8246" y="42"/>
                    </a:cubicBezTo>
                    <a:cubicBezTo>
                      <a:pt x="13270" y="-436"/>
                      <a:pt x="17756" y="3212"/>
                      <a:pt x="18294" y="8296"/>
                    </a:cubicBezTo>
                    <a:cubicBezTo>
                      <a:pt x="18832" y="13379"/>
                      <a:pt x="15184" y="17865"/>
                      <a:pt x="10100" y="18403"/>
                    </a:cubicBezTo>
                    <a:cubicBezTo>
                      <a:pt x="5077" y="18881"/>
                      <a:pt x="591" y="15173"/>
                      <a:pt x="53" y="10150"/>
                    </a:cubicBezTo>
                    <a:close/>
                  </a:path>
                </a:pathLst>
              </a:custGeom>
              <a:grpFill/>
              <a:ln w="5978" cap="flat">
                <a:noFill/>
                <a:prstDash val="solid"/>
                <a:miter/>
              </a:ln>
            </p:spPr>
            <p:txBody>
              <a:bodyPr rtlCol="0" anchor="ctr"/>
              <a:lstStyle/>
              <a:p>
                <a:endParaRPr lang="en-GB"/>
              </a:p>
            </p:txBody>
          </p:sp>
          <p:sp>
            <p:nvSpPr>
              <p:cNvPr id="3617" name="Vrije vorm: vorm 3616">
                <a:extLst>
                  <a:ext uri="{FF2B5EF4-FFF2-40B4-BE49-F238E27FC236}">
                    <a16:creationId xmlns:a16="http://schemas.microsoft.com/office/drawing/2014/main" id="{65BDB5CD-9F65-49D3-A5D8-01B0409306D4}"/>
                  </a:ext>
                </a:extLst>
              </p:cNvPr>
              <p:cNvSpPr/>
              <p:nvPr/>
            </p:nvSpPr>
            <p:spPr>
              <a:xfrm>
                <a:off x="5872628" y="1725197"/>
                <a:ext cx="18325" cy="18445"/>
              </a:xfrm>
              <a:custGeom>
                <a:avLst/>
                <a:gdLst>
                  <a:gd name="connsiteX0" fmla="*/ 42 w 18325"/>
                  <a:gd name="connsiteY0" fmla="*/ 10149 h 18445"/>
                  <a:gd name="connsiteX1" fmla="*/ 10090 w 18325"/>
                  <a:gd name="connsiteY1" fmla="*/ 18403 h 18445"/>
                  <a:gd name="connsiteX2" fmla="*/ 18284 w 18325"/>
                  <a:gd name="connsiteY2" fmla="*/ 8295 h 18445"/>
                  <a:gd name="connsiteX3" fmla="*/ 8236 w 18325"/>
                  <a:gd name="connsiteY3" fmla="*/ 42 h 18445"/>
                  <a:gd name="connsiteX4" fmla="*/ 42 w 18325"/>
                  <a:gd name="connsiteY4" fmla="*/ 10149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45">
                    <a:moveTo>
                      <a:pt x="42" y="10149"/>
                    </a:moveTo>
                    <a:cubicBezTo>
                      <a:pt x="581" y="15233"/>
                      <a:pt x="5066" y="18881"/>
                      <a:pt x="10090" y="18403"/>
                    </a:cubicBezTo>
                    <a:cubicBezTo>
                      <a:pt x="15114" y="17924"/>
                      <a:pt x="18762" y="13379"/>
                      <a:pt x="18284" y="8295"/>
                    </a:cubicBezTo>
                    <a:cubicBezTo>
                      <a:pt x="17745" y="3212"/>
                      <a:pt x="13260" y="-436"/>
                      <a:pt x="8236" y="42"/>
                    </a:cubicBezTo>
                    <a:cubicBezTo>
                      <a:pt x="3212" y="580"/>
                      <a:pt x="-436" y="5126"/>
                      <a:pt x="42" y="10149"/>
                    </a:cubicBezTo>
                    <a:close/>
                  </a:path>
                </a:pathLst>
              </a:custGeom>
              <a:grpFill/>
              <a:ln w="5978" cap="flat">
                <a:noFill/>
                <a:prstDash val="solid"/>
                <a:miter/>
              </a:ln>
            </p:spPr>
            <p:txBody>
              <a:bodyPr rtlCol="0" anchor="ctr"/>
              <a:lstStyle/>
              <a:p>
                <a:endParaRPr lang="en-GB"/>
              </a:p>
            </p:txBody>
          </p:sp>
        </p:grpSp>
        <p:grpSp>
          <p:nvGrpSpPr>
            <p:cNvPr id="592" name="Graphic 3">
              <a:extLst>
                <a:ext uri="{FF2B5EF4-FFF2-40B4-BE49-F238E27FC236}">
                  <a16:creationId xmlns:a16="http://schemas.microsoft.com/office/drawing/2014/main" id="{C47319F5-F712-4915-AE10-E0ECD84ED257}"/>
                </a:ext>
              </a:extLst>
            </p:cNvPr>
            <p:cNvGrpSpPr/>
            <p:nvPr/>
          </p:nvGrpSpPr>
          <p:grpSpPr>
            <a:xfrm>
              <a:off x="6913476" y="4861646"/>
              <a:ext cx="72151" cy="108615"/>
              <a:chOff x="6913476" y="4861646"/>
              <a:chExt cx="72151" cy="108615"/>
            </a:xfrm>
            <a:grpFill/>
          </p:grpSpPr>
          <p:sp>
            <p:nvSpPr>
              <p:cNvPr id="3612" name="Vrije vorm: vorm 3611">
                <a:extLst>
                  <a:ext uri="{FF2B5EF4-FFF2-40B4-BE49-F238E27FC236}">
                    <a16:creationId xmlns:a16="http://schemas.microsoft.com/office/drawing/2014/main" id="{73446041-323D-49A5-9DAA-EFF1A0CE7B1A}"/>
                  </a:ext>
                </a:extLst>
              </p:cNvPr>
              <p:cNvSpPr/>
              <p:nvPr/>
            </p:nvSpPr>
            <p:spPr>
              <a:xfrm>
                <a:off x="6921091" y="4869663"/>
                <a:ext cx="56936" cy="92581"/>
              </a:xfrm>
              <a:custGeom>
                <a:avLst/>
                <a:gdLst>
                  <a:gd name="connsiteX0" fmla="*/ 56937 w 56936"/>
                  <a:gd name="connsiteY0" fmla="*/ 91026 h 92581"/>
                  <a:gd name="connsiteX1" fmla="*/ 54305 w 56936"/>
                  <a:gd name="connsiteY1" fmla="*/ 92581 h 92581"/>
                  <a:gd name="connsiteX2" fmla="*/ 0 w 56936"/>
                  <a:gd name="connsiteY2" fmla="*/ 1555 h 92581"/>
                  <a:gd name="connsiteX3" fmla="*/ 2631 w 56936"/>
                  <a:gd name="connsiteY3" fmla="*/ 0 h 92581"/>
                </a:gdLst>
                <a:ahLst/>
                <a:cxnLst>
                  <a:cxn ang="0">
                    <a:pos x="connsiteX0" y="connsiteY0"/>
                  </a:cxn>
                  <a:cxn ang="0">
                    <a:pos x="connsiteX1" y="connsiteY1"/>
                  </a:cxn>
                  <a:cxn ang="0">
                    <a:pos x="connsiteX2" y="connsiteY2"/>
                  </a:cxn>
                  <a:cxn ang="0">
                    <a:pos x="connsiteX3" y="connsiteY3"/>
                  </a:cxn>
                </a:cxnLst>
                <a:rect l="l" t="t" r="r" b="b"/>
                <a:pathLst>
                  <a:path w="56936" h="92581">
                    <a:moveTo>
                      <a:pt x="56937" y="91026"/>
                    </a:moveTo>
                    <a:lnTo>
                      <a:pt x="54305" y="92581"/>
                    </a:lnTo>
                    <a:lnTo>
                      <a:pt x="0" y="1555"/>
                    </a:lnTo>
                    <a:lnTo>
                      <a:pt x="2631" y="0"/>
                    </a:lnTo>
                    <a:close/>
                  </a:path>
                </a:pathLst>
              </a:custGeom>
              <a:grpFill/>
              <a:ln w="5978" cap="flat">
                <a:noFill/>
                <a:prstDash val="solid"/>
                <a:miter/>
              </a:ln>
            </p:spPr>
            <p:txBody>
              <a:bodyPr rtlCol="0" anchor="ctr"/>
              <a:lstStyle/>
              <a:p>
                <a:endParaRPr lang="en-GB"/>
              </a:p>
            </p:txBody>
          </p:sp>
          <p:sp>
            <p:nvSpPr>
              <p:cNvPr id="3613" name="Vrije vorm: vorm 3612">
                <a:extLst>
                  <a:ext uri="{FF2B5EF4-FFF2-40B4-BE49-F238E27FC236}">
                    <a16:creationId xmlns:a16="http://schemas.microsoft.com/office/drawing/2014/main" id="{6F137229-C0EF-4504-AA52-FD10BCFE7E04}"/>
                  </a:ext>
                </a:extLst>
              </p:cNvPr>
              <p:cNvSpPr/>
              <p:nvPr/>
            </p:nvSpPr>
            <p:spPr>
              <a:xfrm>
                <a:off x="6967316" y="4951835"/>
                <a:ext cx="18311" cy="18425"/>
              </a:xfrm>
              <a:custGeom>
                <a:avLst/>
                <a:gdLst>
                  <a:gd name="connsiteX0" fmla="*/ 16990 w 18311"/>
                  <a:gd name="connsiteY0" fmla="*/ 4488 h 18425"/>
                  <a:gd name="connsiteX1" fmla="*/ 13880 w 18311"/>
                  <a:gd name="connsiteY1" fmla="*/ 17108 h 18425"/>
                  <a:gd name="connsiteX2" fmla="*/ 1321 w 18311"/>
                  <a:gd name="connsiteY2" fmla="*/ 13938 h 18425"/>
                  <a:gd name="connsiteX3" fmla="*/ 4431 w 18311"/>
                  <a:gd name="connsiteY3" fmla="*/ 1318 h 18425"/>
                  <a:gd name="connsiteX4" fmla="*/ 16990 w 18311"/>
                  <a:gd name="connsiteY4" fmla="*/ 448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5">
                    <a:moveTo>
                      <a:pt x="16990" y="4488"/>
                    </a:moveTo>
                    <a:cubicBezTo>
                      <a:pt x="19622" y="8854"/>
                      <a:pt x="18187" y="14536"/>
                      <a:pt x="13880" y="17108"/>
                    </a:cubicBezTo>
                    <a:cubicBezTo>
                      <a:pt x="9514" y="19739"/>
                      <a:pt x="3893" y="18304"/>
                      <a:pt x="1321" y="13938"/>
                    </a:cubicBezTo>
                    <a:cubicBezTo>
                      <a:pt x="-1311" y="9572"/>
                      <a:pt x="125" y="3890"/>
                      <a:pt x="4431" y="1318"/>
                    </a:cubicBezTo>
                    <a:cubicBezTo>
                      <a:pt x="8796" y="-1313"/>
                      <a:pt x="14419" y="122"/>
                      <a:pt x="16990" y="4488"/>
                    </a:cubicBezTo>
                    <a:close/>
                  </a:path>
                </a:pathLst>
              </a:custGeom>
              <a:grpFill/>
              <a:ln w="5978" cap="flat">
                <a:noFill/>
                <a:prstDash val="solid"/>
                <a:miter/>
              </a:ln>
            </p:spPr>
            <p:txBody>
              <a:bodyPr rtlCol="0" anchor="ctr"/>
              <a:lstStyle/>
              <a:p>
                <a:endParaRPr lang="en-GB"/>
              </a:p>
            </p:txBody>
          </p:sp>
          <p:sp>
            <p:nvSpPr>
              <p:cNvPr id="3614" name="Vrije vorm: vorm 3613">
                <a:extLst>
                  <a:ext uri="{FF2B5EF4-FFF2-40B4-BE49-F238E27FC236}">
                    <a16:creationId xmlns:a16="http://schemas.microsoft.com/office/drawing/2014/main" id="{89791272-7D59-4942-889D-C93F66B3864E}"/>
                  </a:ext>
                </a:extLst>
              </p:cNvPr>
              <p:cNvSpPr/>
              <p:nvPr/>
            </p:nvSpPr>
            <p:spPr>
              <a:xfrm>
                <a:off x="6913476" y="4861646"/>
                <a:ext cx="18324" cy="18425"/>
              </a:xfrm>
              <a:custGeom>
                <a:avLst/>
                <a:gdLst>
                  <a:gd name="connsiteX0" fmla="*/ 17004 w 18324"/>
                  <a:gd name="connsiteY0" fmla="*/ 4488 h 18425"/>
                  <a:gd name="connsiteX1" fmla="*/ 4444 w 18324"/>
                  <a:gd name="connsiteY1" fmla="*/ 1318 h 18425"/>
                  <a:gd name="connsiteX2" fmla="*/ 1334 w 18324"/>
                  <a:gd name="connsiteY2" fmla="*/ 13938 h 18425"/>
                  <a:gd name="connsiteX3" fmla="*/ 13894 w 18324"/>
                  <a:gd name="connsiteY3" fmla="*/ 17107 h 18425"/>
                  <a:gd name="connsiteX4" fmla="*/ 17004 w 18324"/>
                  <a:gd name="connsiteY4" fmla="*/ 448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7004" y="4488"/>
                    </a:moveTo>
                    <a:cubicBezTo>
                      <a:pt x="14373" y="122"/>
                      <a:pt x="8750" y="-1313"/>
                      <a:pt x="4444" y="1318"/>
                    </a:cubicBezTo>
                    <a:cubicBezTo>
                      <a:pt x="79" y="3950"/>
                      <a:pt x="-1297" y="9572"/>
                      <a:pt x="1334" y="13938"/>
                    </a:cubicBezTo>
                    <a:cubicBezTo>
                      <a:pt x="3966" y="18303"/>
                      <a:pt x="9588" y="19739"/>
                      <a:pt x="13894" y="17107"/>
                    </a:cubicBezTo>
                    <a:cubicBezTo>
                      <a:pt x="18200" y="14476"/>
                      <a:pt x="19636" y="8854"/>
                      <a:pt x="17004" y="4488"/>
                    </a:cubicBezTo>
                    <a:close/>
                  </a:path>
                </a:pathLst>
              </a:custGeom>
              <a:grpFill/>
              <a:ln w="5978" cap="flat">
                <a:noFill/>
                <a:prstDash val="solid"/>
                <a:miter/>
              </a:ln>
            </p:spPr>
            <p:txBody>
              <a:bodyPr rtlCol="0" anchor="ctr"/>
              <a:lstStyle/>
              <a:p>
                <a:endParaRPr lang="en-GB"/>
              </a:p>
            </p:txBody>
          </p:sp>
        </p:grpSp>
        <p:grpSp>
          <p:nvGrpSpPr>
            <p:cNvPr id="593" name="Graphic 3">
              <a:extLst>
                <a:ext uri="{FF2B5EF4-FFF2-40B4-BE49-F238E27FC236}">
                  <a16:creationId xmlns:a16="http://schemas.microsoft.com/office/drawing/2014/main" id="{70D96C41-16F1-4735-B544-81623C2959E9}"/>
                </a:ext>
              </a:extLst>
            </p:cNvPr>
            <p:cNvGrpSpPr/>
            <p:nvPr/>
          </p:nvGrpSpPr>
          <p:grpSpPr>
            <a:xfrm>
              <a:off x="5775646" y="1192460"/>
              <a:ext cx="55062" cy="567782"/>
              <a:chOff x="5775646" y="1192460"/>
              <a:chExt cx="55062" cy="567782"/>
            </a:xfrm>
            <a:grpFill/>
          </p:grpSpPr>
          <p:sp>
            <p:nvSpPr>
              <p:cNvPr id="3609" name="Vrije vorm: vorm 3608">
                <a:extLst>
                  <a:ext uri="{FF2B5EF4-FFF2-40B4-BE49-F238E27FC236}">
                    <a16:creationId xmlns:a16="http://schemas.microsoft.com/office/drawing/2014/main" id="{F7C64A2F-4A79-4F8B-BA91-A2FD7A9A1353}"/>
                  </a:ext>
                </a:extLst>
              </p:cNvPr>
              <p:cNvSpPr/>
              <p:nvPr/>
            </p:nvSpPr>
            <p:spPr>
              <a:xfrm>
                <a:off x="5783258" y="1201148"/>
                <a:ext cx="39831" cy="550465"/>
              </a:xfrm>
              <a:custGeom>
                <a:avLst/>
                <a:gdLst>
                  <a:gd name="connsiteX0" fmla="*/ 3050 w 39831"/>
                  <a:gd name="connsiteY0" fmla="*/ 0 h 550465"/>
                  <a:gd name="connsiteX1" fmla="*/ 39831 w 39831"/>
                  <a:gd name="connsiteY1" fmla="*/ 550286 h 550465"/>
                  <a:gd name="connsiteX2" fmla="*/ 36781 w 39831"/>
                  <a:gd name="connsiteY2" fmla="*/ 550466 h 550465"/>
                  <a:gd name="connsiteX3" fmla="*/ 0 w 39831"/>
                  <a:gd name="connsiteY3" fmla="*/ 179 h 550465"/>
                </a:gdLst>
                <a:ahLst/>
                <a:cxnLst>
                  <a:cxn ang="0">
                    <a:pos x="connsiteX0" y="connsiteY0"/>
                  </a:cxn>
                  <a:cxn ang="0">
                    <a:pos x="connsiteX1" y="connsiteY1"/>
                  </a:cxn>
                  <a:cxn ang="0">
                    <a:pos x="connsiteX2" y="connsiteY2"/>
                  </a:cxn>
                  <a:cxn ang="0">
                    <a:pos x="connsiteX3" y="connsiteY3"/>
                  </a:cxn>
                </a:cxnLst>
                <a:rect l="l" t="t" r="r" b="b"/>
                <a:pathLst>
                  <a:path w="39831" h="550465">
                    <a:moveTo>
                      <a:pt x="3050" y="0"/>
                    </a:moveTo>
                    <a:lnTo>
                      <a:pt x="39831" y="550286"/>
                    </a:lnTo>
                    <a:lnTo>
                      <a:pt x="36781" y="550466"/>
                    </a:lnTo>
                    <a:lnTo>
                      <a:pt x="0" y="179"/>
                    </a:lnTo>
                    <a:close/>
                  </a:path>
                </a:pathLst>
              </a:custGeom>
              <a:grpFill/>
              <a:ln w="5978" cap="flat">
                <a:noFill/>
                <a:prstDash val="solid"/>
                <a:miter/>
              </a:ln>
            </p:spPr>
            <p:txBody>
              <a:bodyPr rtlCol="0" anchor="ctr"/>
              <a:lstStyle/>
              <a:p>
                <a:endParaRPr lang="en-GB"/>
              </a:p>
            </p:txBody>
          </p:sp>
          <p:sp>
            <p:nvSpPr>
              <p:cNvPr id="3610" name="Vrije vorm: vorm 3609">
                <a:extLst>
                  <a:ext uri="{FF2B5EF4-FFF2-40B4-BE49-F238E27FC236}">
                    <a16:creationId xmlns:a16="http://schemas.microsoft.com/office/drawing/2014/main" id="{2BC7C9EA-1A00-4A63-BE48-28F8296AA001}"/>
                  </a:ext>
                </a:extLst>
              </p:cNvPr>
              <p:cNvSpPr/>
              <p:nvPr/>
            </p:nvSpPr>
            <p:spPr>
              <a:xfrm>
                <a:off x="5812361" y="1741843"/>
                <a:ext cx="18347" cy="18400"/>
              </a:xfrm>
              <a:custGeom>
                <a:avLst/>
                <a:gdLst>
                  <a:gd name="connsiteX0" fmla="*/ 18324 w 18347"/>
                  <a:gd name="connsiteY0" fmla="*/ 8635 h 18400"/>
                  <a:gd name="connsiteX1" fmla="*/ 9772 w 18347"/>
                  <a:gd name="connsiteY1" fmla="*/ 18384 h 18400"/>
                  <a:gd name="connsiteX2" fmla="*/ 23 w 18347"/>
                  <a:gd name="connsiteY2" fmla="*/ 9772 h 18400"/>
                  <a:gd name="connsiteX3" fmla="*/ 8576 w 18347"/>
                  <a:gd name="connsiteY3" fmla="*/ 23 h 18400"/>
                  <a:gd name="connsiteX4" fmla="*/ 18324 w 18347"/>
                  <a:gd name="connsiteY4" fmla="*/ 863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18324" y="8635"/>
                    </a:moveTo>
                    <a:cubicBezTo>
                      <a:pt x="18683" y="13719"/>
                      <a:pt x="14855" y="18085"/>
                      <a:pt x="9772" y="18384"/>
                    </a:cubicBezTo>
                    <a:cubicBezTo>
                      <a:pt x="4748" y="18683"/>
                      <a:pt x="382" y="14855"/>
                      <a:pt x="23" y="9772"/>
                    </a:cubicBezTo>
                    <a:cubicBezTo>
                      <a:pt x="-336" y="4688"/>
                      <a:pt x="3492" y="322"/>
                      <a:pt x="8576" y="23"/>
                    </a:cubicBezTo>
                    <a:cubicBezTo>
                      <a:pt x="13599" y="-336"/>
                      <a:pt x="17965" y="3552"/>
                      <a:pt x="18324" y="8635"/>
                    </a:cubicBezTo>
                    <a:close/>
                  </a:path>
                </a:pathLst>
              </a:custGeom>
              <a:grpFill/>
              <a:ln w="5978" cap="flat">
                <a:noFill/>
                <a:prstDash val="solid"/>
                <a:miter/>
              </a:ln>
            </p:spPr>
            <p:txBody>
              <a:bodyPr rtlCol="0" anchor="ctr"/>
              <a:lstStyle/>
              <a:p>
                <a:endParaRPr lang="en-GB"/>
              </a:p>
            </p:txBody>
          </p:sp>
          <p:sp>
            <p:nvSpPr>
              <p:cNvPr id="3611" name="Vrije vorm: vorm 3610">
                <a:extLst>
                  <a:ext uri="{FF2B5EF4-FFF2-40B4-BE49-F238E27FC236}">
                    <a16:creationId xmlns:a16="http://schemas.microsoft.com/office/drawing/2014/main" id="{31204F70-B14E-4D3D-99AD-C0C8555A80DD}"/>
                  </a:ext>
                </a:extLst>
              </p:cNvPr>
              <p:cNvSpPr/>
              <p:nvPr/>
            </p:nvSpPr>
            <p:spPr>
              <a:xfrm>
                <a:off x="5775646" y="1192460"/>
                <a:ext cx="18340" cy="18393"/>
              </a:xfrm>
              <a:custGeom>
                <a:avLst/>
                <a:gdLst>
                  <a:gd name="connsiteX0" fmla="*/ 18317 w 18340"/>
                  <a:gd name="connsiteY0" fmla="*/ 8629 h 18393"/>
                  <a:gd name="connsiteX1" fmla="*/ 8569 w 18340"/>
                  <a:gd name="connsiteY1" fmla="*/ 16 h 18393"/>
                  <a:gd name="connsiteX2" fmla="*/ 16 w 18340"/>
                  <a:gd name="connsiteY2" fmla="*/ 9765 h 18393"/>
                  <a:gd name="connsiteX3" fmla="*/ 9765 w 18340"/>
                  <a:gd name="connsiteY3" fmla="*/ 18377 h 18393"/>
                  <a:gd name="connsiteX4" fmla="*/ 18317 w 18340"/>
                  <a:gd name="connsiteY4" fmla="*/ 8629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18317" y="8629"/>
                    </a:moveTo>
                    <a:cubicBezTo>
                      <a:pt x="17959" y="3545"/>
                      <a:pt x="13593" y="-283"/>
                      <a:pt x="8569" y="16"/>
                    </a:cubicBezTo>
                    <a:cubicBezTo>
                      <a:pt x="3545" y="315"/>
                      <a:pt x="-283" y="4741"/>
                      <a:pt x="16" y="9765"/>
                    </a:cubicBezTo>
                    <a:cubicBezTo>
                      <a:pt x="375" y="14849"/>
                      <a:pt x="4741" y="18676"/>
                      <a:pt x="9765" y="18377"/>
                    </a:cubicBezTo>
                    <a:cubicBezTo>
                      <a:pt x="14848" y="18078"/>
                      <a:pt x="18676" y="13712"/>
                      <a:pt x="18317" y="8629"/>
                    </a:cubicBezTo>
                    <a:close/>
                  </a:path>
                </a:pathLst>
              </a:custGeom>
              <a:grpFill/>
              <a:ln w="5978" cap="flat">
                <a:noFill/>
                <a:prstDash val="solid"/>
                <a:miter/>
              </a:ln>
            </p:spPr>
            <p:txBody>
              <a:bodyPr rtlCol="0" anchor="ctr"/>
              <a:lstStyle/>
              <a:p>
                <a:endParaRPr lang="en-GB"/>
              </a:p>
            </p:txBody>
          </p:sp>
        </p:grpSp>
        <p:grpSp>
          <p:nvGrpSpPr>
            <p:cNvPr id="594" name="Graphic 3">
              <a:extLst>
                <a:ext uri="{FF2B5EF4-FFF2-40B4-BE49-F238E27FC236}">
                  <a16:creationId xmlns:a16="http://schemas.microsoft.com/office/drawing/2014/main" id="{A9709FB4-2FA4-4447-8FEA-C6A9CD01D320}"/>
                </a:ext>
              </a:extLst>
            </p:cNvPr>
            <p:cNvGrpSpPr/>
            <p:nvPr/>
          </p:nvGrpSpPr>
          <p:grpSpPr>
            <a:xfrm>
              <a:off x="6976901" y="5035701"/>
              <a:ext cx="60895" cy="92934"/>
              <a:chOff x="6976901" y="5035701"/>
              <a:chExt cx="60895" cy="92934"/>
            </a:xfrm>
            <a:grpFill/>
          </p:grpSpPr>
          <p:sp>
            <p:nvSpPr>
              <p:cNvPr id="3606" name="Vrije vorm: vorm 3605">
                <a:extLst>
                  <a:ext uri="{FF2B5EF4-FFF2-40B4-BE49-F238E27FC236}">
                    <a16:creationId xmlns:a16="http://schemas.microsoft.com/office/drawing/2014/main" id="{E97D65BE-E103-47EC-826F-392A19A944AA}"/>
                  </a:ext>
                </a:extLst>
              </p:cNvPr>
              <p:cNvSpPr/>
              <p:nvPr/>
            </p:nvSpPr>
            <p:spPr>
              <a:xfrm>
                <a:off x="6984486" y="5043762"/>
                <a:ext cx="45692" cy="76792"/>
              </a:xfrm>
              <a:custGeom>
                <a:avLst/>
                <a:gdLst>
                  <a:gd name="connsiteX0" fmla="*/ 45693 w 45692"/>
                  <a:gd name="connsiteY0" fmla="*/ 75297 h 76792"/>
                  <a:gd name="connsiteX1" fmla="*/ 43061 w 45692"/>
                  <a:gd name="connsiteY1" fmla="*/ 76793 h 76792"/>
                  <a:gd name="connsiteX2" fmla="*/ 0 w 45692"/>
                  <a:gd name="connsiteY2" fmla="*/ 1495 h 76792"/>
                  <a:gd name="connsiteX3" fmla="*/ 2631 w 45692"/>
                  <a:gd name="connsiteY3" fmla="*/ 0 h 76792"/>
                </a:gdLst>
                <a:ahLst/>
                <a:cxnLst>
                  <a:cxn ang="0">
                    <a:pos x="connsiteX0" y="connsiteY0"/>
                  </a:cxn>
                  <a:cxn ang="0">
                    <a:pos x="connsiteX1" y="connsiteY1"/>
                  </a:cxn>
                  <a:cxn ang="0">
                    <a:pos x="connsiteX2" y="connsiteY2"/>
                  </a:cxn>
                  <a:cxn ang="0">
                    <a:pos x="connsiteX3" y="connsiteY3"/>
                  </a:cxn>
                </a:cxnLst>
                <a:rect l="l" t="t" r="r" b="b"/>
                <a:pathLst>
                  <a:path w="45692" h="76792">
                    <a:moveTo>
                      <a:pt x="45693" y="75297"/>
                    </a:moveTo>
                    <a:lnTo>
                      <a:pt x="43061" y="76793"/>
                    </a:lnTo>
                    <a:lnTo>
                      <a:pt x="0" y="1495"/>
                    </a:lnTo>
                    <a:lnTo>
                      <a:pt x="2631" y="0"/>
                    </a:lnTo>
                    <a:close/>
                  </a:path>
                </a:pathLst>
              </a:custGeom>
              <a:grpFill/>
              <a:ln w="5978" cap="flat">
                <a:noFill/>
                <a:prstDash val="solid"/>
                <a:miter/>
              </a:ln>
            </p:spPr>
            <p:txBody>
              <a:bodyPr rtlCol="0" anchor="ctr"/>
              <a:lstStyle/>
              <a:p>
                <a:endParaRPr lang="en-GB"/>
              </a:p>
            </p:txBody>
          </p:sp>
          <p:sp>
            <p:nvSpPr>
              <p:cNvPr id="3607" name="Vrije vorm: vorm 3606">
                <a:extLst>
                  <a:ext uri="{FF2B5EF4-FFF2-40B4-BE49-F238E27FC236}">
                    <a16:creationId xmlns:a16="http://schemas.microsoft.com/office/drawing/2014/main" id="{009AD185-F9F9-43B0-964E-E3CB9A4E71CE}"/>
                  </a:ext>
                </a:extLst>
              </p:cNvPr>
              <p:cNvSpPr/>
              <p:nvPr/>
            </p:nvSpPr>
            <p:spPr>
              <a:xfrm>
                <a:off x="7019511" y="5110221"/>
                <a:ext cx="18285" cy="18414"/>
              </a:xfrm>
              <a:custGeom>
                <a:avLst/>
                <a:gdLst>
                  <a:gd name="connsiteX0" fmla="*/ 17067 w 18285"/>
                  <a:gd name="connsiteY0" fmla="*/ 4652 h 18414"/>
                  <a:gd name="connsiteX1" fmla="*/ 13718 w 18285"/>
                  <a:gd name="connsiteY1" fmla="*/ 17211 h 18414"/>
                  <a:gd name="connsiteX2" fmla="*/ 1218 w 18285"/>
                  <a:gd name="connsiteY2" fmla="*/ 13802 h 18414"/>
                  <a:gd name="connsiteX3" fmla="*/ 4568 w 18285"/>
                  <a:gd name="connsiteY3" fmla="*/ 1243 h 18414"/>
                  <a:gd name="connsiteX4" fmla="*/ 17067 w 18285"/>
                  <a:gd name="connsiteY4" fmla="*/ 465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14">
                    <a:moveTo>
                      <a:pt x="17067" y="4652"/>
                    </a:moveTo>
                    <a:cubicBezTo>
                      <a:pt x="19579" y="9078"/>
                      <a:pt x="18084" y="14700"/>
                      <a:pt x="13718" y="17211"/>
                    </a:cubicBezTo>
                    <a:cubicBezTo>
                      <a:pt x="9353" y="19723"/>
                      <a:pt x="3730" y="18168"/>
                      <a:pt x="1218" y="13802"/>
                    </a:cubicBezTo>
                    <a:cubicBezTo>
                      <a:pt x="-1293" y="9377"/>
                      <a:pt x="202" y="3755"/>
                      <a:pt x="4568" y="1243"/>
                    </a:cubicBezTo>
                    <a:cubicBezTo>
                      <a:pt x="8934" y="-1329"/>
                      <a:pt x="14556" y="226"/>
                      <a:pt x="17067" y="4652"/>
                    </a:cubicBezTo>
                    <a:close/>
                  </a:path>
                </a:pathLst>
              </a:custGeom>
              <a:grpFill/>
              <a:ln w="5978" cap="flat">
                <a:noFill/>
                <a:prstDash val="solid"/>
                <a:miter/>
              </a:ln>
            </p:spPr>
            <p:txBody>
              <a:bodyPr rtlCol="0" anchor="ctr"/>
              <a:lstStyle/>
              <a:p>
                <a:endParaRPr lang="en-GB"/>
              </a:p>
            </p:txBody>
          </p:sp>
          <p:sp>
            <p:nvSpPr>
              <p:cNvPr id="3608" name="Vrije vorm: vorm 3607">
                <a:extLst>
                  <a:ext uri="{FF2B5EF4-FFF2-40B4-BE49-F238E27FC236}">
                    <a16:creationId xmlns:a16="http://schemas.microsoft.com/office/drawing/2014/main" id="{06116166-3FF4-4493-8819-101773F9304B}"/>
                  </a:ext>
                </a:extLst>
              </p:cNvPr>
              <p:cNvSpPr/>
              <p:nvPr/>
            </p:nvSpPr>
            <p:spPr>
              <a:xfrm>
                <a:off x="6976901" y="5035701"/>
                <a:ext cx="18312" cy="18454"/>
              </a:xfrm>
              <a:custGeom>
                <a:avLst/>
                <a:gdLst>
                  <a:gd name="connsiteX0" fmla="*/ 17094 w 18312"/>
                  <a:gd name="connsiteY0" fmla="*/ 4652 h 18454"/>
                  <a:gd name="connsiteX1" fmla="*/ 4594 w 18312"/>
                  <a:gd name="connsiteY1" fmla="*/ 1243 h 18454"/>
                  <a:gd name="connsiteX2" fmla="*/ 1245 w 18312"/>
                  <a:gd name="connsiteY2" fmla="*/ 13803 h 18454"/>
                  <a:gd name="connsiteX3" fmla="*/ 13745 w 18312"/>
                  <a:gd name="connsiteY3" fmla="*/ 17211 h 18454"/>
                  <a:gd name="connsiteX4" fmla="*/ 17094 w 18312"/>
                  <a:gd name="connsiteY4" fmla="*/ 46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4">
                    <a:moveTo>
                      <a:pt x="17094" y="4652"/>
                    </a:moveTo>
                    <a:cubicBezTo>
                      <a:pt x="14582" y="226"/>
                      <a:pt x="8960" y="-1329"/>
                      <a:pt x="4594" y="1243"/>
                    </a:cubicBezTo>
                    <a:cubicBezTo>
                      <a:pt x="229" y="3755"/>
                      <a:pt x="-1326" y="9377"/>
                      <a:pt x="1245" y="13803"/>
                    </a:cubicBezTo>
                    <a:cubicBezTo>
                      <a:pt x="3757" y="18228"/>
                      <a:pt x="9379" y="19783"/>
                      <a:pt x="13745" y="17211"/>
                    </a:cubicBezTo>
                    <a:cubicBezTo>
                      <a:pt x="18111" y="14700"/>
                      <a:pt x="19606" y="9078"/>
                      <a:pt x="17094" y="4652"/>
                    </a:cubicBezTo>
                    <a:close/>
                  </a:path>
                </a:pathLst>
              </a:custGeom>
              <a:grpFill/>
              <a:ln w="5978" cap="flat">
                <a:noFill/>
                <a:prstDash val="solid"/>
                <a:miter/>
              </a:ln>
            </p:spPr>
            <p:txBody>
              <a:bodyPr rtlCol="0" anchor="ctr"/>
              <a:lstStyle/>
              <a:p>
                <a:endParaRPr lang="en-GB"/>
              </a:p>
            </p:txBody>
          </p:sp>
        </p:grpSp>
        <p:grpSp>
          <p:nvGrpSpPr>
            <p:cNvPr id="595" name="Graphic 3">
              <a:extLst>
                <a:ext uri="{FF2B5EF4-FFF2-40B4-BE49-F238E27FC236}">
                  <a16:creationId xmlns:a16="http://schemas.microsoft.com/office/drawing/2014/main" id="{E003F2D9-96E8-4D33-A827-203EF24F85B0}"/>
                </a:ext>
              </a:extLst>
            </p:cNvPr>
            <p:cNvGrpSpPr/>
            <p:nvPr/>
          </p:nvGrpSpPr>
          <p:grpSpPr>
            <a:xfrm>
              <a:off x="6912419" y="4862138"/>
              <a:ext cx="126311" cy="266060"/>
              <a:chOff x="6912419" y="4862138"/>
              <a:chExt cx="126311" cy="266060"/>
            </a:xfrm>
            <a:grpFill/>
          </p:grpSpPr>
          <p:sp>
            <p:nvSpPr>
              <p:cNvPr id="3603" name="Vrije vorm: vorm 3602">
                <a:extLst>
                  <a:ext uri="{FF2B5EF4-FFF2-40B4-BE49-F238E27FC236}">
                    <a16:creationId xmlns:a16="http://schemas.microsoft.com/office/drawing/2014/main" id="{DD0B4CA8-094A-47AC-92AF-ABD2E1BDE586}"/>
                  </a:ext>
                </a:extLst>
              </p:cNvPr>
              <p:cNvSpPr/>
              <p:nvPr/>
            </p:nvSpPr>
            <p:spPr>
              <a:xfrm>
                <a:off x="6919951" y="4870436"/>
                <a:ext cx="111160" cy="249660"/>
              </a:xfrm>
              <a:custGeom>
                <a:avLst/>
                <a:gdLst>
                  <a:gd name="connsiteX0" fmla="*/ 0 w 111160"/>
                  <a:gd name="connsiteY0" fmla="*/ 1219 h 249660"/>
                  <a:gd name="connsiteX1" fmla="*/ 2796 w 111160"/>
                  <a:gd name="connsiteY1" fmla="*/ 0 h 249660"/>
                  <a:gd name="connsiteX2" fmla="*/ 111160 w 111160"/>
                  <a:gd name="connsiteY2" fmla="*/ 248441 h 249660"/>
                  <a:gd name="connsiteX3" fmla="*/ 108364 w 111160"/>
                  <a:gd name="connsiteY3" fmla="*/ 249660 h 249660"/>
                </a:gdLst>
                <a:ahLst/>
                <a:cxnLst>
                  <a:cxn ang="0">
                    <a:pos x="connsiteX0" y="connsiteY0"/>
                  </a:cxn>
                  <a:cxn ang="0">
                    <a:pos x="connsiteX1" y="connsiteY1"/>
                  </a:cxn>
                  <a:cxn ang="0">
                    <a:pos x="connsiteX2" y="connsiteY2"/>
                  </a:cxn>
                  <a:cxn ang="0">
                    <a:pos x="connsiteX3" y="connsiteY3"/>
                  </a:cxn>
                </a:cxnLst>
                <a:rect l="l" t="t" r="r" b="b"/>
                <a:pathLst>
                  <a:path w="111160" h="249660">
                    <a:moveTo>
                      <a:pt x="0" y="1219"/>
                    </a:moveTo>
                    <a:lnTo>
                      <a:pt x="2796" y="0"/>
                    </a:lnTo>
                    <a:lnTo>
                      <a:pt x="111160" y="248441"/>
                    </a:lnTo>
                    <a:lnTo>
                      <a:pt x="108364" y="249660"/>
                    </a:lnTo>
                    <a:close/>
                  </a:path>
                </a:pathLst>
              </a:custGeom>
              <a:grpFill/>
              <a:ln w="5978" cap="flat">
                <a:noFill/>
                <a:prstDash val="solid"/>
                <a:miter/>
              </a:ln>
            </p:spPr>
            <p:txBody>
              <a:bodyPr rtlCol="0" anchor="ctr"/>
              <a:lstStyle/>
              <a:p>
                <a:endParaRPr lang="en-GB"/>
              </a:p>
            </p:txBody>
          </p:sp>
          <p:sp>
            <p:nvSpPr>
              <p:cNvPr id="3604" name="Vrije vorm: vorm 3603">
                <a:extLst>
                  <a:ext uri="{FF2B5EF4-FFF2-40B4-BE49-F238E27FC236}">
                    <a16:creationId xmlns:a16="http://schemas.microsoft.com/office/drawing/2014/main" id="{76953BC1-9BD2-4DA3-9ECC-3FB038A7DFC7}"/>
                  </a:ext>
                </a:extLst>
              </p:cNvPr>
              <p:cNvSpPr/>
              <p:nvPr/>
            </p:nvSpPr>
            <p:spPr>
              <a:xfrm>
                <a:off x="6912419" y="4862138"/>
                <a:ext cx="18359" cy="18458"/>
              </a:xfrm>
              <a:custGeom>
                <a:avLst/>
                <a:gdLst>
                  <a:gd name="connsiteX0" fmla="*/ 776 w 18359"/>
                  <a:gd name="connsiteY0" fmla="*/ 12907 h 18458"/>
                  <a:gd name="connsiteX1" fmla="*/ 5501 w 18359"/>
                  <a:gd name="connsiteY1" fmla="*/ 767 h 18458"/>
                  <a:gd name="connsiteX2" fmla="*/ 17583 w 18359"/>
                  <a:gd name="connsiteY2" fmla="*/ 5551 h 18458"/>
                  <a:gd name="connsiteX3" fmla="*/ 12858 w 18359"/>
                  <a:gd name="connsiteY3" fmla="*/ 17692 h 18458"/>
                  <a:gd name="connsiteX4" fmla="*/ 776 w 18359"/>
                  <a:gd name="connsiteY4" fmla="*/ 12907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58">
                    <a:moveTo>
                      <a:pt x="776" y="12907"/>
                    </a:moveTo>
                    <a:cubicBezTo>
                      <a:pt x="-1257" y="8243"/>
                      <a:pt x="836" y="2800"/>
                      <a:pt x="5501" y="767"/>
                    </a:cubicBezTo>
                    <a:cubicBezTo>
                      <a:pt x="10107" y="-1267"/>
                      <a:pt x="15549" y="886"/>
                      <a:pt x="17583" y="5551"/>
                    </a:cubicBezTo>
                    <a:cubicBezTo>
                      <a:pt x="19616" y="10216"/>
                      <a:pt x="17523" y="15659"/>
                      <a:pt x="12858" y="17692"/>
                    </a:cubicBezTo>
                    <a:cubicBezTo>
                      <a:pt x="8252" y="19726"/>
                      <a:pt x="2810" y="17573"/>
                      <a:pt x="776" y="12907"/>
                    </a:cubicBezTo>
                    <a:close/>
                  </a:path>
                </a:pathLst>
              </a:custGeom>
              <a:grpFill/>
              <a:ln w="5978" cap="flat">
                <a:noFill/>
                <a:prstDash val="solid"/>
                <a:miter/>
              </a:ln>
            </p:spPr>
            <p:txBody>
              <a:bodyPr rtlCol="0" anchor="ctr"/>
              <a:lstStyle/>
              <a:p>
                <a:endParaRPr lang="en-GB"/>
              </a:p>
            </p:txBody>
          </p:sp>
          <p:sp>
            <p:nvSpPr>
              <p:cNvPr id="3605" name="Vrije vorm: vorm 3604">
                <a:extLst>
                  <a:ext uri="{FF2B5EF4-FFF2-40B4-BE49-F238E27FC236}">
                    <a16:creationId xmlns:a16="http://schemas.microsoft.com/office/drawing/2014/main" id="{53D6363D-0C29-4F18-BEB6-FD8F5F9CFC59}"/>
                  </a:ext>
                </a:extLst>
              </p:cNvPr>
              <p:cNvSpPr/>
              <p:nvPr/>
            </p:nvSpPr>
            <p:spPr>
              <a:xfrm>
                <a:off x="7020371" y="5109740"/>
                <a:ext cx="18358" cy="18458"/>
              </a:xfrm>
              <a:custGeom>
                <a:avLst/>
                <a:gdLst>
                  <a:gd name="connsiteX0" fmla="*/ 776 w 18358"/>
                  <a:gd name="connsiteY0" fmla="*/ 12908 h 18458"/>
                  <a:gd name="connsiteX1" fmla="*/ 12858 w 18358"/>
                  <a:gd name="connsiteY1" fmla="*/ 17692 h 18458"/>
                  <a:gd name="connsiteX2" fmla="*/ 17582 w 18358"/>
                  <a:gd name="connsiteY2" fmla="*/ 5551 h 18458"/>
                  <a:gd name="connsiteX3" fmla="*/ 5501 w 18358"/>
                  <a:gd name="connsiteY3" fmla="*/ 767 h 18458"/>
                  <a:gd name="connsiteX4" fmla="*/ 776 w 18358"/>
                  <a:gd name="connsiteY4" fmla="*/ 12908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58">
                    <a:moveTo>
                      <a:pt x="776" y="12908"/>
                    </a:moveTo>
                    <a:cubicBezTo>
                      <a:pt x="2810" y="17572"/>
                      <a:pt x="8192" y="19726"/>
                      <a:pt x="12858" y="17692"/>
                    </a:cubicBezTo>
                    <a:cubicBezTo>
                      <a:pt x="17523" y="15659"/>
                      <a:pt x="19616" y="10216"/>
                      <a:pt x="17582" y="5551"/>
                    </a:cubicBezTo>
                    <a:cubicBezTo>
                      <a:pt x="15549" y="886"/>
                      <a:pt x="10166" y="-1267"/>
                      <a:pt x="5501" y="767"/>
                    </a:cubicBezTo>
                    <a:cubicBezTo>
                      <a:pt x="836" y="2800"/>
                      <a:pt x="-1257" y="8242"/>
                      <a:pt x="776" y="12908"/>
                    </a:cubicBezTo>
                    <a:close/>
                  </a:path>
                </a:pathLst>
              </a:custGeom>
              <a:grpFill/>
              <a:ln w="5978" cap="flat">
                <a:noFill/>
                <a:prstDash val="solid"/>
                <a:miter/>
              </a:ln>
            </p:spPr>
            <p:txBody>
              <a:bodyPr rtlCol="0" anchor="ctr"/>
              <a:lstStyle/>
              <a:p>
                <a:endParaRPr lang="en-GB"/>
              </a:p>
            </p:txBody>
          </p:sp>
        </p:grpSp>
        <p:grpSp>
          <p:nvGrpSpPr>
            <p:cNvPr id="596" name="Graphic 3">
              <a:extLst>
                <a:ext uri="{FF2B5EF4-FFF2-40B4-BE49-F238E27FC236}">
                  <a16:creationId xmlns:a16="http://schemas.microsoft.com/office/drawing/2014/main" id="{F55CB92A-FF17-4702-80D4-718B1C3894A8}"/>
                </a:ext>
              </a:extLst>
            </p:cNvPr>
            <p:cNvGrpSpPr/>
            <p:nvPr/>
          </p:nvGrpSpPr>
          <p:grpSpPr>
            <a:xfrm>
              <a:off x="5676570" y="1092907"/>
              <a:ext cx="35091" cy="123318"/>
              <a:chOff x="5676570" y="1092907"/>
              <a:chExt cx="35091" cy="123318"/>
            </a:xfrm>
            <a:grpFill/>
          </p:grpSpPr>
          <p:sp>
            <p:nvSpPr>
              <p:cNvPr id="3600" name="Vrije vorm: vorm 3599">
                <a:extLst>
                  <a:ext uri="{FF2B5EF4-FFF2-40B4-BE49-F238E27FC236}">
                    <a16:creationId xmlns:a16="http://schemas.microsoft.com/office/drawing/2014/main" id="{2B573B2F-DFA6-4FEF-9634-0A1ABC765437}"/>
                  </a:ext>
                </a:extLst>
              </p:cNvPr>
              <p:cNvSpPr/>
              <p:nvPr/>
            </p:nvSpPr>
            <p:spPr>
              <a:xfrm>
                <a:off x="5684158" y="1101450"/>
                <a:ext cx="19856" cy="106277"/>
              </a:xfrm>
              <a:custGeom>
                <a:avLst/>
                <a:gdLst>
                  <a:gd name="connsiteX0" fmla="*/ 2990 w 19856"/>
                  <a:gd name="connsiteY0" fmla="*/ 0 h 106277"/>
                  <a:gd name="connsiteX1" fmla="*/ 19856 w 19856"/>
                  <a:gd name="connsiteY1" fmla="*/ 105799 h 106277"/>
                  <a:gd name="connsiteX2" fmla="*/ 16866 w 19856"/>
                  <a:gd name="connsiteY2" fmla="*/ 106277 h 106277"/>
                  <a:gd name="connsiteX3" fmla="*/ 0 w 19856"/>
                  <a:gd name="connsiteY3" fmla="*/ 419 h 106277"/>
                </a:gdLst>
                <a:ahLst/>
                <a:cxnLst>
                  <a:cxn ang="0">
                    <a:pos x="connsiteX0" y="connsiteY0"/>
                  </a:cxn>
                  <a:cxn ang="0">
                    <a:pos x="connsiteX1" y="connsiteY1"/>
                  </a:cxn>
                  <a:cxn ang="0">
                    <a:pos x="connsiteX2" y="connsiteY2"/>
                  </a:cxn>
                  <a:cxn ang="0">
                    <a:pos x="connsiteX3" y="connsiteY3"/>
                  </a:cxn>
                </a:cxnLst>
                <a:rect l="l" t="t" r="r" b="b"/>
                <a:pathLst>
                  <a:path w="19856" h="106277">
                    <a:moveTo>
                      <a:pt x="2990" y="0"/>
                    </a:moveTo>
                    <a:lnTo>
                      <a:pt x="19856" y="105799"/>
                    </a:lnTo>
                    <a:lnTo>
                      <a:pt x="16866" y="106277"/>
                    </a:lnTo>
                    <a:lnTo>
                      <a:pt x="0" y="419"/>
                    </a:lnTo>
                    <a:close/>
                  </a:path>
                </a:pathLst>
              </a:custGeom>
              <a:grpFill/>
              <a:ln w="5978" cap="flat">
                <a:noFill/>
                <a:prstDash val="solid"/>
                <a:miter/>
              </a:ln>
            </p:spPr>
            <p:txBody>
              <a:bodyPr rtlCol="0" anchor="ctr"/>
              <a:lstStyle/>
              <a:p>
                <a:endParaRPr lang="en-GB"/>
              </a:p>
            </p:txBody>
          </p:sp>
          <p:sp>
            <p:nvSpPr>
              <p:cNvPr id="3601" name="Vrije vorm: vorm 3600">
                <a:extLst>
                  <a:ext uri="{FF2B5EF4-FFF2-40B4-BE49-F238E27FC236}">
                    <a16:creationId xmlns:a16="http://schemas.microsoft.com/office/drawing/2014/main" id="{4451C2FA-A7AE-4B53-8B51-E7FDABF39254}"/>
                  </a:ext>
                </a:extLst>
              </p:cNvPr>
              <p:cNvSpPr/>
              <p:nvPr/>
            </p:nvSpPr>
            <p:spPr>
              <a:xfrm>
                <a:off x="5676570" y="1092907"/>
                <a:ext cx="18345" cy="18402"/>
              </a:xfrm>
              <a:custGeom>
                <a:avLst/>
                <a:gdLst>
                  <a:gd name="connsiteX0" fmla="*/ 112 w 18345"/>
                  <a:gd name="connsiteY0" fmla="*/ 10637 h 18402"/>
                  <a:gd name="connsiteX1" fmla="*/ 7707 w 18345"/>
                  <a:gd name="connsiteY1" fmla="*/ 110 h 18402"/>
                  <a:gd name="connsiteX2" fmla="*/ 18233 w 18345"/>
                  <a:gd name="connsiteY2" fmla="*/ 7766 h 18402"/>
                  <a:gd name="connsiteX3" fmla="*/ 10638 w 18345"/>
                  <a:gd name="connsiteY3" fmla="*/ 18292 h 18402"/>
                  <a:gd name="connsiteX4" fmla="*/ 112 w 18345"/>
                  <a:gd name="connsiteY4" fmla="*/ 10637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2">
                    <a:moveTo>
                      <a:pt x="112" y="10637"/>
                    </a:moveTo>
                    <a:cubicBezTo>
                      <a:pt x="-666" y="5613"/>
                      <a:pt x="2684" y="888"/>
                      <a:pt x="7707" y="110"/>
                    </a:cubicBezTo>
                    <a:cubicBezTo>
                      <a:pt x="12731" y="-667"/>
                      <a:pt x="17396" y="2742"/>
                      <a:pt x="18233" y="7766"/>
                    </a:cubicBezTo>
                    <a:cubicBezTo>
                      <a:pt x="19011" y="12790"/>
                      <a:pt x="15662" y="17514"/>
                      <a:pt x="10638" y="18292"/>
                    </a:cubicBezTo>
                    <a:cubicBezTo>
                      <a:pt x="5614" y="19069"/>
                      <a:pt x="890" y="15660"/>
                      <a:pt x="112" y="10637"/>
                    </a:cubicBezTo>
                    <a:close/>
                  </a:path>
                </a:pathLst>
              </a:custGeom>
              <a:grpFill/>
              <a:ln w="5978" cap="flat">
                <a:noFill/>
                <a:prstDash val="solid"/>
                <a:miter/>
              </a:ln>
            </p:spPr>
            <p:txBody>
              <a:bodyPr rtlCol="0" anchor="ctr"/>
              <a:lstStyle/>
              <a:p>
                <a:endParaRPr lang="en-GB"/>
              </a:p>
            </p:txBody>
          </p:sp>
          <p:sp>
            <p:nvSpPr>
              <p:cNvPr id="3602" name="Vrije vorm: vorm 3601">
                <a:extLst>
                  <a:ext uri="{FF2B5EF4-FFF2-40B4-BE49-F238E27FC236}">
                    <a16:creationId xmlns:a16="http://schemas.microsoft.com/office/drawing/2014/main" id="{B6D93D91-925B-4DCA-92EC-1D01D6421298}"/>
                  </a:ext>
                </a:extLst>
              </p:cNvPr>
              <p:cNvSpPr/>
              <p:nvPr/>
            </p:nvSpPr>
            <p:spPr>
              <a:xfrm>
                <a:off x="5693301" y="1197794"/>
                <a:ext cx="18359" cy="18430"/>
              </a:xfrm>
              <a:custGeom>
                <a:avLst/>
                <a:gdLst>
                  <a:gd name="connsiteX0" fmla="*/ 126 w 18359"/>
                  <a:gd name="connsiteY0" fmla="*/ 10651 h 18430"/>
                  <a:gd name="connsiteX1" fmla="*/ 10653 w 18359"/>
                  <a:gd name="connsiteY1" fmla="*/ 18306 h 18430"/>
                  <a:gd name="connsiteX2" fmla="*/ 18248 w 18359"/>
                  <a:gd name="connsiteY2" fmla="*/ 7780 h 18430"/>
                  <a:gd name="connsiteX3" fmla="*/ 7722 w 18359"/>
                  <a:gd name="connsiteY3" fmla="*/ 125 h 18430"/>
                  <a:gd name="connsiteX4" fmla="*/ 126 w 18359"/>
                  <a:gd name="connsiteY4" fmla="*/ 1065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30">
                    <a:moveTo>
                      <a:pt x="126" y="10651"/>
                    </a:moveTo>
                    <a:cubicBezTo>
                      <a:pt x="904" y="15675"/>
                      <a:pt x="5629" y="19143"/>
                      <a:pt x="10653" y="18306"/>
                    </a:cubicBezTo>
                    <a:cubicBezTo>
                      <a:pt x="15676" y="17529"/>
                      <a:pt x="19025" y="12804"/>
                      <a:pt x="18248" y="7780"/>
                    </a:cubicBezTo>
                    <a:cubicBezTo>
                      <a:pt x="17470" y="2756"/>
                      <a:pt x="12746" y="-713"/>
                      <a:pt x="7722" y="125"/>
                    </a:cubicBezTo>
                    <a:cubicBezTo>
                      <a:pt x="2698" y="902"/>
                      <a:pt x="-711" y="5627"/>
                      <a:pt x="126" y="10651"/>
                    </a:cubicBezTo>
                    <a:close/>
                  </a:path>
                </a:pathLst>
              </a:custGeom>
              <a:grpFill/>
              <a:ln w="5978" cap="flat">
                <a:noFill/>
                <a:prstDash val="solid"/>
                <a:miter/>
              </a:ln>
            </p:spPr>
            <p:txBody>
              <a:bodyPr rtlCol="0" anchor="ctr"/>
              <a:lstStyle/>
              <a:p>
                <a:endParaRPr lang="en-GB"/>
              </a:p>
            </p:txBody>
          </p:sp>
        </p:grpSp>
        <p:grpSp>
          <p:nvGrpSpPr>
            <p:cNvPr id="597" name="Graphic 3">
              <a:extLst>
                <a:ext uri="{FF2B5EF4-FFF2-40B4-BE49-F238E27FC236}">
                  <a16:creationId xmlns:a16="http://schemas.microsoft.com/office/drawing/2014/main" id="{8840D0F4-98A9-4450-8F09-3F9C347A0BB1}"/>
                </a:ext>
              </a:extLst>
            </p:cNvPr>
            <p:cNvGrpSpPr/>
            <p:nvPr/>
          </p:nvGrpSpPr>
          <p:grpSpPr>
            <a:xfrm>
              <a:off x="6938445" y="4968418"/>
              <a:ext cx="47618" cy="69669"/>
              <a:chOff x="6938445" y="4968418"/>
              <a:chExt cx="47618" cy="69669"/>
            </a:xfrm>
            <a:grpFill/>
          </p:grpSpPr>
          <p:sp>
            <p:nvSpPr>
              <p:cNvPr id="3597" name="Vrije vorm: vorm 3596">
                <a:extLst>
                  <a:ext uri="{FF2B5EF4-FFF2-40B4-BE49-F238E27FC236}">
                    <a16:creationId xmlns:a16="http://schemas.microsoft.com/office/drawing/2014/main" id="{746D9A05-6A10-45C0-B0EF-94ADA0F75AD2}"/>
                  </a:ext>
                </a:extLst>
              </p:cNvPr>
              <p:cNvSpPr/>
              <p:nvPr/>
            </p:nvSpPr>
            <p:spPr>
              <a:xfrm>
                <a:off x="6946030" y="4976479"/>
                <a:ext cx="32415" cy="53587"/>
              </a:xfrm>
              <a:custGeom>
                <a:avLst/>
                <a:gdLst>
                  <a:gd name="connsiteX0" fmla="*/ 32416 w 32415"/>
                  <a:gd name="connsiteY0" fmla="*/ 52092 h 53587"/>
                  <a:gd name="connsiteX1" fmla="*/ 29785 w 32415"/>
                  <a:gd name="connsiteY1" fmla="*/ 53587 h 53587"/>
                  <a:gd name="connsiteX2" fmla="*/ 0 w 32415"/>
                  <a:gd name="connsiteY2" fmla="*/ 1495 h 53587"/>
                  <a:gd name="connsiteX3" fmla="*/ 2632 w 32415"/>
                  <a:gd name="connsiteY3" fmla="*/ 0 h 53587"/>
                </a:gdLst>
                <a:ahLst/>
                <a:cxnLst>
                  <a:cxn ang="0">
                    <a:pos x="connsiteX0" y="connsiteY0"/>
                  </a:cxn>
                  <a:cxn ang="0">
                    <a:pos x="connsiteX1" y="connsiteY1"/>
                  </a:cxn>
                  <a:cxn ang="0">
                    <a:pos x="connsiteX2" y="connsiteY2"/>
                  </a:cxn>
                  <a:cxn ang="0">
                    <a:pos x="connsiteX3" y="connsiteY3"/>
                  </a:cxn>
                </a:cxnLst>
                <a:rect l="l" t="t" r="r" b="b"/>
                <a:pathLst>
                  <a:path w="32415" h="53587">
                    <a:moveTo>
                      <a:pt x="32416" y="52092"/>
                    </a:moveTo>
                    <a:lnTo>
                      <a:pt x="29785" y="53587"/>
                    </a:lnTo>
                    <a:lnTo>
                      <a:pt x="0" y="1495"/>
                    </a:lnTo>
                    <a:lnTo>
                      <a:pt x="2632" y="0"/>
                    </a:lnTo>
                    <a:close/>
                  </a:path>
                </a:pathLst>
              </a:custGeom>
              <a:grpFill/>
              <a:ln w="5978" cap="flat">
                <a:noFill/>
                <a:prstDash val="solid"/>
                <a:miter/>
              </a:ln>
            </p:spPr>
            <p:txBody>
              <a:bodyPr rtlCol="0" anchor="ctr"/>
              <a:lstStyle/>
              <a:p>
                <a:endParaRPr lang="en-GB"/>
              </a:p>
            </p:txBody>
          </p:sp>
          <p:sp>
            <p:nvSpPr>
              <p:cNvPr id="3598" name="Vrije vorm: vorm 3597">
                <a:extLst>
                  <a:ext uri="{FF2B5EF4-FFF2-40B4-BE49-F238E27FC236}">
                    <a16:creationId xmlns:a16="http://schemas.microsoft.com/office/drawing/2014/main" id="{7AF69177-1576-4FFC-955C-24913C7412C2}"/>
                  </a:ext>
                </a:extLst>
              </p:cNvPr>
              <p:cNvSpPr/>
              <p:nvPr/>
            </p:nvSpPr>
            <p:spPr>
              <a:xfrm>
                <a:off x="6967777" y="5019699"/>
                <a:ext cx="18285" cy="18388"/>
              </a:xfrm>
              <a:custGeom>
                <a:avLst/>
                <a:gdLst>
                  <a:gd name="connsiteX0" fmla="*/ 17067 w 18285"/>
                  <a:gd name="connsiteY0" fmla="*/ 4625 h 18388"/>
                  <a:gd name="connsiteX1" fmla="*/ 13718 w 18285"/>
                  <a:gd name="connsiteY1" fmla="*/ 17185 h 18388"/>
                  <a:gd name="connsiteX2" fmla="*/ 1219 w 18285"/>
                  <a:gd name="connsiteY2" fmla="*/ 13776 h 18388"/>
                  <a:gd name="connsiteX3" fmla="*/ 4568 w 18285"/>
                  <a:gd name="connsiteY3" fmla="*/ 1216 h 18388"/>
                  <a:gd name="connsiteX4" fmla="*/ 17067 w 18285"/>
                  <a:gd name="connsiteY4" fmla="*/ 4625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388">
                    <a:moveTo>
                      <a:pt x="17067" y="4625"/>
                    </a:moveTo>
                    <a:cubicBezTo>
                      <a:pt x="19579" y="9051"/>
                      <a:pt x="18084" y="14673"/>
                      <a:pt x="13718" y="17185"/>
                    </a:cubicBezTo>
                    <a:cubicBezTo>
                      <a:pt x="9352" y="19697"/>
                      <a:pt x="3730" y="18142"/>
                      <a:pt x="1219" y="13776"/>
                    </a:cubicBezTo>
                    <a:cubicBezTo>
                      <a:pt x="-1293" y="9350"/>
                      <a:pt x="202" y="3728"/>
                      <a:pt x="4568" y="1216"/>
                    </a:cubicBezTo>
                    <a:cubicBezTo>
                      <a:pt x="8933" y="-1295"/>
                      <a:pt x="14556" y="200"/>
                      <a:pt x="17067" y="4625"/>
                    </a:cubicBezTo>
                    <a:close/>
                  </a:path>
                </a:pathLst>
              </a:custGeom>
              <a:grpFill/>
              <a:ln w="5978" cap="flat">
                <a:noFill/>
                <a:prstDash val="solid"/>
                <a:miter/>
              </a:ln>
            </p:spPr>
            <p:txBody>
              <a:bodyPr rtlCol="0" anchor="ctr"/>
              <a:lstStyle/>
              <a:p>
                <a:endParaRPr lang="en-GB"/>
              </a:p>
            </p:txBody>
          </p:sp>
          <p:sp>
            <p:nvSpPr>
              <p:cNvPr id="3599" name="Vrije vorm: vorm 3598">
                <a:extLst>
                  <a:ext uri="{FF2B5EF4-FFF2-40B4-BE49-F238E27FC236}">
                    <a16:creationId xmlns:a16="http://schemas.microsoft.com/office/drawing/2014/main" id="{06B310AA-005A-4492-B20C-CD28468E9567}"/>
                  </a:ext>
                </a:extLst>
              </p:cNvPr>
              <p:cNvSpPr/>
              <p:nvPr/>
            </p:nvSpPr>
            <p:spPr>
              <a:xfrm>
                <a:off x="6938445" y="4968418"/>
                <a:ext cx="18312" cy="18454"/>
              </a:xfrm>
              <a:custGeom>
                <a:avLst/>
                <a:gdLst>
                  <a:gd name="connsiteX0" fmla="*/ 17094 w 18312"/>
                  <a:gd name="connsiteY0" fmla="*/ 4652 h 18454"/>
                  <a:gd name="connsiteX1" fmla="*/ 4594 w 18312"/>
                  <a:gd name="connsiteY1" fmla="*/ 1243 h 18454"/>
                  <a:gd name="connsiteX2" fmla="*/ 1245 w 18312"/>
                  <a:gd name="connsiteY2" fmla="*/ 13803 h 18454"/>
                  <a:gd name="connsiteX3" fmla="*/ 13745 w 18312"/>
                  <a:gd name="connsiteY3" fmla="*/ 17211 h 18454"/>
                  <a:gd name="connsiteX4" fmla="*/ 17094 w 18312"/>
                  <a:gd name="connsiteY4" fmla="*/ 46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4">
                    <a:moveTo>
                      <a:pt x="17094" y="4652"/>
                    </a:moveTo>
                    <a:cubicBezTo>
                      <a:pt x="14582" y="226"/>
                      <a:pt x="8961" y="-1329"/>
                      <a:pt x="4594" y="1243"/>
                    </a:cubicBezTo>
                    <a:cubicBezTo>
                      <a:pt x="228" y="3755"/>
                      <a:pt x="-1327" y="9377"/>
                      <a:pt x="1245" y="13803"/>
                    </a:cubicBezTo>
                    <a:cubicBezTo>
                      <a:pt x="3757" y="18228"/>
                      <a:pt x="9379" y="19783"/>
                      <a:pt x="13745" y="17211"/>
                    </a:cubicBezTo>
                    <a:cubicBezTo>
                      <a:pt x="18111" y="14640"/>
                      <a:pt x="19606" y="9078"/>
                      <a:pt x="17094" y="4652"/>
                    </a:cubicBezTo>
                    <a:close/>
                  </a:path>
                </a:pathLst>
              </a:custGeom>
              <a:grpFill/>
              <a:ln w="5978" cap="flat">
                <a:noFill/>
                <a:prstDash val="solid"/>
                <a:miter/>
              </a:ln>
            </p:spPr>
            <p:txBody>
              <a:bodyPr rtlCol="0" anchor="ctr"/>
              <a:lstStyle/>
              <a:p>
                <a:endParaRPr lang="en-GB"/>
              </a:p>
            </p:txBody>
          </p:sp>
        </p:grpSp>
        <p:grpSp>
          <p:nvGrpSpPr>
            <p:cNvPr id="598" name="Graphic 3">
              <a:extLst>
                <a:ext uri="{FF2B5EF4-FFF2-40B4-BE49-F238E27FC236}">
                  <a16:creationId xmlns:a16="http://schemas.microsoft.com/office/drawing/2014/main" id="{D8D39C49-7CB9-4096-A8C8-973CBFDD06F9}"/>
                </a:ext>
              </a:extLst>
            </p:cNvPr>
            <p:cNvGrpSpPr/>
            <p:nvPr/>
          </p:nvGrpSpPr>
          <p:grpSpPr>
            <a:xfrm>
              <a:off x="5823024" y="1577271"/>
              <a:ext cx="36685" cy="169144"/>
              <a:chOff x="5823024" y="1577271"/>
              <a:chExt cx="36685" cy="169144"/>
            </a:xfrm>
            <a:grpFill/>
          </p:grpSpPr>
          <p:sp>
            <p:nvSpPr>
              <p:cNvPr id="3594" name="Vrije vorm: vorm 3593">
                <a:extLst>
                  <a:ext uri="{FF2B5EF4-FFF2-40B4-BE49-F238E27FC236}">
                    <a16:creationId xmlns:a16="http://schemas.microsoft.com/office/drawing/2014/main" id="{EA30CC34-F862-4397-AD25-F3EAF8A655B6}"/>
                  </a:ext>
                </a:extLst>
              </p:cNvPr>
              <p:cNvSpPr/>
              <p:nvPr/>
            </p:nvSpPr>
            <p:spPr>
              <a:xfrm>
                <a:off x="5830625" y="1585888"/>
                <a:ext cx="21530" cy="151910"/>
              </a:xfrm>
              <a:custGeom>
                <a:avLst/>
                <a:gdLst>
                  <a:gd name="connsiteX0" fmla="*/ 3050 w 21530"/>
                  <a:gd name="connsiteY0" fmla="*/ 0 h 151910"/>
                  <a:gd name="connsiteX1" fmla="*/ 21530 w 21530"/>
                  <a:gd name="connsiteY1" fmla="*/ 151551 h 151910"/>
                  <a:gd name="connsiteX2" fmla="*/ 18480 w 21530"/>
                  <a:gd name="connsiteY2" fmla="*/ 151910 h 151910"/>
                  <a:gd name="connsiteX3" fmla="*/ 0 w 21530"/>
                  <a:gd name="connsiteY3" fmla="*/ 359 h 151910"/>
                </a:gdLst>
                <a:ahLst/>
                <a:cxnLst>
                  <a:cxn ang="0">
                    <a:pos x="connsiteX0" y="connsiteY0"/>
                  </a:cxn>
                  <a:cxn ang="0">
                    <a:pos x="connsiteX1" y="connsiteY1"/>
                  </a:cxn>
                  <a:cxn ang="0">
                    <a:pos x="connsiteX2" y="connsiteY2"/>
                  </a:cxn>
                  <a:cxn ang="0">
                    <a:pos x="connsiteX3" y="connsiteY3"/>
                  </a:cxn>
                </a:cxnLst>
                <a:rect l="l" t="t" r="r" b="b"/>
                <a:pathLst>
                  <a:path w="21530" h="151910">
                    <a:moveTo>
                      <a:pt x="3050" y="0"/>
                    </a:moveTo>
                    <a:lnTo>
                      <a:pt x="21530" y="151551"/>
                    </a:lnTo>
                    <a:lnTo>
                      <a:pt x="18480" y="151910"/>
                    </a:lnTo>
                    <a:lnTo>
                      <a:pt x="0" y="359"/>
                    </a:lnTo>
                    <a:close/>
                  </a:path>
                </a:pathLst>
              </a:custGeom>
              <a:grpFill/>
              <a:ln w="5978" cap="flat">
                <a:noFill/>
                <a:prstDash val="solid"/>
                <a:miter/>
              </a:ln>
            </p:spPr>
            <p:txBody>
              <a:bodyPr rtlCol="0" anchor="ctr"/>
              <a:lstStyle/>
              <a:p>
                <a:endParaRPr lang="en-GB"/>
              </a:p>
            </p:txBody>
          </p:sp>
          <p:sp>
            <p:nvSpPr>
              <p:cNvPr id="3595" name="Vrije vorm: vorm 3594">
                <a:extLst>
                  <a:ext uri="{FF2B5EF4-FFF2-40B4-BE49-F238E27FC236}">
                    <a16:creationId xmlns:a16="http://schemas.microsoft.com/office/drawing/2014/main" id="{026C564F-E331-44F1-8FD1-FDACD9C07005}"/>
                  </a:ext>
                </a:extLst>
              </p:cNvPr>
              <p:cNvSpPr/>
              <p:nvPr/>
            </p:nvSpPr>
            <p:spPr>
              <a:xfrm>
                <a:off x="5823024" y="1577271"/>
                <a:ext cx="18313" cy="18431"/>
              </a:xfrm>
              <a:custGeom>
                <a:avLst/>
                <a:gdLst>
                  <a:gd name="connsiteX0" fmla="*/ 66 w 18313"/>
                  <a:gd name="connsiteY0" fmla="*/ 10292 h 18431"/>
                  <a:gd name="connsiteX1" fmla="*/ 8020 w 18313"/>
                  <a:gd name="connsiteY1" fmla="*/ 65 h 18431"/>
                  <a:gd name="connsiteX2" fmla="*/ 18247 w 18313"/>
                  <a:gd name="connsiteY2" fmla="*/ 8139 h 18431"/>
                  <a:gd name="connsiteX3" fmla="*/ 10293 w 18313"/>
                  <a:gd name="connsiteY3" fmla="*/ 18366 h 18431"/>
                  <a:gd name="connsiteX4" fmla="*/ 66 w 18313"/>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1">
                    <a:moveTo>
                      <a:pt x="66" y="10292"/>
                    </a:moveTo>
                    <a:cubicBezTo>
                      <a:pt x="-532" y="5268"/>
                      <a:pt x="2997" y="663"/>
                      <a:pt x="8020" y="65"/>
                    </a:cubicBezTo>
                    <a:cubicBezTo>
                      <a:pt x="13044" y="-533"/>
                      <a:pt x="17589" y="3055"/>
                      <a:pt x="18247" y="8139"/>
                    </a:cubicBezTo>
                    <a:cubicBezTo>
                      <a:pt x="18846" y="13163"/>
                      <a:pt x="15317" y="17768"/>
                      <a:pt x="10293" y="18366"/>
                    </a:cubicBezTo>
                    <a:cubicBezTo>
                      <a:pt x="5269" y="18964"/>
                      <a:pt x="724" y="15376"/>
                      <a:pt x="66" y="10292"/>
                    </a:cubicBezTo>
                    <a:close/>
                  </a:path>
                </a:pathLst>
              </a:custGeom>
              <a:grpFill/>
              <a:ln w="5978" cap="flat">
                <a:noFill/>
                <a:prstDash val="solid"/>
                <a:miter/>
              </a:ln>
            </p:spPr>
            <p:txBody>
              <a:bodyPr rtlCol="0" anchor="ctr"/>
              <a:lstStyle/>
              <a:p>
                <a:endParaRPr lang="en-GB"/>
              </a:p>
            </p:txBody>
          </p:sp>
          <p:sp>
            <p:nvSpPr>
              <p:cNvPr id="3596" name="Vrije vorm: vorm 3595">
                <a:extLst>
                  <a:ext uri="{FF2B5EF4-FFF2-40B4-BE49-F238E27FC236}">
                    <a16:creationId xmlns:a16="http://schemas.microsoft.com/office/drawing/2014/main" id="{2B32FA56-015A-427D-BABC-67CCE2E548AF}"/>
                  </a:ext>
                </a:extLst>
              </p:cNvPr>
              <p:cNvSpPr/>
              <p:nvPr/>
            </p:nvSpPr>
            <p:spPr>
              <a:xfrm>
                <a:off x="5841385" y="1727986"/>
                <a:ext cx="18324" cy="18429"/>
              </a:xfrm>
              <a:custGeom>
                <a:avLst/>
                <a:gdLst>
                  <a:gd name="connsiteX0" fmla="*/ 65 w 18324"/>
                  <a:gd name="connsiteY0" fmla="*/ 10291 h 18429"/>
                  <a:gd name="connsiteX1" fmla="*/ 10292 w 18324"/>
                  <a:gd name="connsiteY1" fmla="*/ 18365 h 18429"/>
                  <a:gd name="connsiteX2" fmla="*/ 18246 w 18324"/>
                  <a:gd name="connsiteY2" fmla="*/ 8138 h 18429"/>
                  <a:gd name="connsiteX3" fmla="*/ 8020 w 18324"/>
                  <a:gd name="connsiteY3" fmla="*/ 64 h 18429"/>
                  <a:gd name="connsiteX4" fmla="*/ 65 w 18324"/>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9">
                    <a:moveTo>
                      <a:pt x="65" y="10291"/>
                    </a:moveTo>
                    <a:cubicBezTo>
                      <a:pt x="663" y="15315"/>
                      <a:pt x="5268" y="18963"/>
                      <a:pt x="10292" y="18365"/>
                    </a:cubicBezTo>
                    <a:cubicBezTo>
                      <a:pt x="15316" y="17767"/>
                      <a:pt x="18904" y="13162"/>
                      <a:pt x="18246" y="8138"/>
                    </a:cubicBezTo>
                    <a:cubicBezTo>
                      <a:pt x="17649" y="3114"/>
                      <a:pt x="13043" y="-534"/>
                      <a:pt x="8020" y="64"/>
                    </a:cubicBezTo>
                    <a:cubicBezTo>
                      <a:pt x="3056" y="662"/>
                      <a:pt x="-533" y="5208"/>
                      <a:pt x="65" y="10291"/>
                    </a:cubicBezTo>
                    <a:close/>
                  </a:path>
                </a:pathLst>
              </a:custGeom>
              <a:grpFill/>
              <a:ln w="5978" cap="flat">
                <a:noFill/>
                <a:prstDash val="solid"/>
                <a:miter/>
              </a:ln>
            </p:spPr>
            <p:txBody>
              <a:bodyPr rtlCol="0" anchor="ctr"/>
              <a:lstStyle/>
              <a:p>
                <a:endParaRPr lang="en-GB"/>
              </a:p>
            </p:txBody>
          </p:sp>
        </p:grpSp>
        <p:grpSp>
          <p:nvGrpSpPr>
            <p:cNvPr id="599" name="Graphic 3">
              <a:extLst>
                <a:ext uri="{FF2B5EF4-FFF2-40B4-BE49-F238E27FC236}">
                  <a16:creationId xmlns:a16="http://schemas.microsoft.com/office/drawing/2014/main" id="{953428AC-6547-48D2-ACEE-1394BBD12C41}"/>
                </a:ext>
              </a:extLst>
            </p:cNvPr>
            <p:cNvGrpSpPr/>
            <p:nvPr/>
          </p:nvGrpSpPr>
          <p:grpSpPr>
            <a:xfrm>
              <a:off x="5760917" y="1380717"/>
              <a:ext cx="42769" cy="192750"/>
              <a:chOff x="5760917" y="1380717"/>
              <a:chExt cx="42769" cy="192750"/>
            </a:xfrm>
            <a:grpFill/>
          </p:grpSpPr>
          <p:sp>
            <p:nvSpPr>
              <p:cNvPr id="3591" name="Vrije vorm: vorm 3590">
                <a:extLst>
                  <a:ext uri="{FF2B5EF4-FFF2-40B4-BE49-F238E27FC236}">
                    <a16:creationId xmlns:a16="http://schemas.microsoft.com/office/drawing/2014/main" id="{CCC73A96-0846-4A9A-B8DD-6E0D16A2025D}"/>
                  </a:ext>
                </a:extLst>
              </p:cNvPr>
              <p:cNvSpPr/>
              <p:nvPr/>
            </p:nvSpPr>
            <p:spPr>
              <a:xfrm>
                <a:off x="5768690" y="1389517"/>
                <a:ext cx="27646" cy="175618"/>
              </a:xfrm>
              <a:custGeom>
                <a:avLst/>
                <a:gdLst>
                  <a:gd name="connsiteX0" fmla="*/ 0 w 27646"/>
                  <a:gd name="connsiteY0" fmla="*/ 425 h 175618"/>
                  <a:gd name="connsiteX1" fmla="*/ 3021 w 27646"/>
                  <a:gd name="connsiteY1" fmla="*/ 0 h 175618"/>
                  <a:gd name="connsiteX2" fmla="*/ 27646 w 27646"/>
                  <a:gd name="connsiteY2" fmla="*/ 175194 h 175618"/>
                  <a:gd name="connsiteX3" fmla="*/ 24626 w 27646"/>
                  <a:gd name="connsiteY3" fmla="*/ 175618 h 175618"/>
                </a:gdLst>
                <a:ahLst/>
                <a:cxnLst>
                  <a:cxn ang="0">
                    <a:pos x="connsiteX0" y="connsiteY0"/>
                  </a:cxn>
                  <a:cxn ang="0">
                    <a:pos x="connsiteX1" y="connsiteY1"/>
                  </a:cxn>
                  <a:cxn ang="0">
                    <a:pos x="connsiteX2" y="connsiteY2"/>
                  </a:cxn>
                  <a:cxn ang="0">
                    <a:pos x="connsiteX3" y="connsiteY3"/>
                  </a:cxn>
                </a:cxnLst>
                <a:rect l="l" t="t" r="r" b="b"/>
                <a:pathLst>
                  <a:path w="27646" h="175618">
                    <a:moveTo>
                      <a:pt x="0" y="425"/>
                    </a:moveTo>
                    <a:lnTo>
                      <a:pt x="3021" y="0"/>
                    </a:lnTo>
                    <a:lnTo>
                      <a:pt x="27646" y="175194"/>
                    </a:lnTo>
                    <a:lnTo>
                      <a:pt x="24626" y="175618"/>
                    </a:lnTo>
                    <a:close/>
                  </a:path>
                </a:pathLst>
              </a:custGeom>
              <a:grpFill/>
              <a:ln w="5978" cap="flat">
                <a:noFill/>
                <a:prstDash val="solid"/>
                <a:miter/>
              </a:ln>
            </p:spPr>
            <p:txBody>
              <a:bodyPr rtlCol="0" anchor="ctr"/>
              <a:lstStyle/>
              <a:p>
                <a:endParaRPr lang="en-GB"/>
              </a:p>
            </p:txBody>
          </p:sp>
          <p:sp>
            <p:nvSpPr>
              <p:cNvPr id="3592" name="Vrije vorm: vorm 3591">
                <a:extLst>
                  <a:ext uri="{FF2B5EF4-FFF2-40B4-BE49-F238E27FC236}">
                    <a16:creationId xmlns:a16="http://schemas.microsoft.com/office/drawing/2014/main" id="{941E187B-E930-456C-825E-F93C29093078}"/>
                  </a:ext>
                </a:extLst>
              </p:cNvPr>
              <p:cNvSpPr/>
              <p:nvPr/>
            </p:nvSpPr>
            <p:spPr>
              <a:xfrm>
                <a:off x="5760917" y="1380717"/>
                <a:ext cx="18308" cy="18472"/>
              </a:xfrm>
              <a:custGeom>
                <a:avLst/>
                <a:gdLst>
                  <a:gd name="connsiteX0" fmla="*/ 93 w 18308"/>
                  <a:gd name="connsiteY0" fmla="*/ 10499 h 18472"/>
                  <a:gd name="connsiteX1" fmla="*/ 7868 w 18308"/>
                  <a:gd name="connsiteY1" fmla="*/ 93 h 18472"/>
                  <a:gd name="connsiteX2" fmla="*/ 18215 w 18308"/>
                  <a:gd name="connsiteY2" fmla="*/ 7987 h 18472"/>
                  <a:gd name="connsiteX3" fmla="*/ 10439 w 18308"/>
                  <a:gd name="connsiteY3" fmla="*/ 18394 h 18472"/>
                  <a:gd name="connsiteX4" fmla="*/ 93 w 18308"/>
                  <a:gd name="connsiteY4" fmla="*/ 10499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72">
                    <a:moveTo>
                      <a:pt x="93" y="10499"/>
                    </a:moveTo>
                    <a:cubicBezTo>
                      <a:pt x="-625" y="5475"/>
                      <a:pt x="2904" y="810"/>
                      <a:pt x="7868" y="93"/>
                    </a:cubicBezTo>
                    <a:cubicBezTo>
                      <a:pt x="12892" y="-625"/>
                      <a:pt x="17496" y="2904"/>
                      <a:pt x="18215" y="7987"/>
                    </a:cubicBezTo>
                    <a:cubicBezTo>
                      <a:pt x="18932" y="13011"/>
                      <a:pt x="15463" y="17676"/>
                      <a:pt x="10439" y="18394"/>
                    </a:cubicBezTo>
                    <a:cubicBezTo>
                      <a:pt x="5416" y="19052"/>
                      <a:pt x="751" y="15523"/>
                      <a:pt x="93" y="10499"/>
                    </a:cubicBezTo>
                    <a:close/>
                  </a:path>
                </a:pathLst>
              </a:custGeom>
              <a:grpFill/>
              <a:ln w="5978" cap="flat">
                <a:noFill/>
                <a:prstDash val="solid"/>
                <a:miter/>
              </a:ln>
            </p:spPr>
            <p:txBody>
              <a:bodyPr rtlCol="0" anchor="ctr"/>
              <a:lstStyle/>
              <a:p>
                <a:endParaRPr lang="en-GB"/>
              </a:p>
            </p:txBody>
          </p:sp>
          <p:sp>
            <p:nvSpPr>
              <p:cNvPr id="3593" name="Vrije vorm: vorm 3592">
                <a:extLst>
                  <a:ext uri="{FF2B5EF4-FFF2-40B4-BE49-F238E27FC236}">
                    <a16:creationId xmlns:a16="http://schemas.microsoft.com/office/drawing/2014/main" id="{1B1CACC9-C64F-424B-966E-80D356F3A329}"/>
                  </a:ext>
                </a:extLst>
              </p:cNvPr>
              <p:cNvSpPr/>
              <p:nvPr/>
            </p:nvSpPr>
            <p:spPr>
              <a:xfrm>
                <a:off x="5785378" y="1555009"/>
                <a:ext cx="18308" cy="18458"/>
              </a:xfrm>
              <a:custGeom>
                <a:avLst/>
                <a:gdLst>
                  <a:gd name="connsiteX0" fmla="*/ 93 w 18308"/>
                  <a:gd name="connsiteY0" fmla="*/ 10485 h 18458"/>
                  <a:gd name="connsiteX1" fmla="*/ 10439 w 18308"/>
                  <a:gd name="connsiteY1" fmla="*/ 18380 h 18458"/>
                  <a:gd name="connsiteX2" fmla="*/ 18214 w 18308"/>
                  <a:gd name="connsiteY2" fmla="*/ 7973 h 18458"/>
                  <a:gd name="connsiteX3" fmla="*/ 7868 w 18308"/>
                  <a:gd name="connsiteY3" fmla="*/ 79 h 18458"/>
                  <a:gd name="connsiteX4" fmla="*/ 93 w 18308"/>
                  <a:gd name="connsiteY4" fmla="*/ 1048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8">
                    <a:moveTo>
                      <a:pt x="93" y="10485"/>
                    </a:moveTo>
                    <a:cubicBezTo>
                      <a:pt x="810" y="15509"/>
                      <a:pt x="5415" y="19038"/>
                      <a:pt x="10439" y="18380"/>
                    </a:cubicBezTo>
                    <a:cubicBezTo>
                      <a:pt x="15463" y="17662"/>
                      <a:pt x="18932" y="13057"/>
                      <a:pt x="18214" y="7973"/>
                    </a:cubicBezTo>
                    <a:cubicBezTo>
                      <a:pt x="17496" y="2950"/>
                      <a:pt x="12891" y="-579"/>
                      <a:pt x="7868" y="79"/>
                    </a:cubicBezTo>
                    <a:cubicBezTo>
                      <a:pt x="2904" y="797"/>
                      <a:pt x="-625" y="5402"/>
                      <a:pt x="93" y="10485"/>
                    </a:cubicBezTo>
                    <a:close/>
                  </a:path>
                </a:pathLst>
              </a:custGeom>
              <a:grpFill/>
              <a:ln w="5978" cap="flat">
                <a:noFill/>
                <a:prstDash val="solid"/>
                <a:miter/>
              </a:ln>
            </p:spPr>
            <p:txBody>
              <a:bodyPr rtlCol="0" anchor="ctr"/>
              <a:lstStyle/>
              <a:p>
                <a:endParaRPr lang="en-GB"/>
              </a:p>
            </p:txBody>
          </p:sp>
        </p:grpSp>
        <p:grpSp>
          <p:nvGrpSpPr>
            <p:cNvPr id="600" name="Graphic 3">
              <a:extLst>
                <a:ext uri="{FF2B5EF4-FFF2-40B4-BE49-F238E27FC236}">
                  <a16:creationId xmlns:a16="http://schemas.microsoft.com/office/drawing/2014/main" id="{37A02C6B-2DF9-47F0-A54A-4EEE577C00B9}"/>
                </a:ext>
              </a:extLst>
            </p:cNvPr>
            <p:cNvGrpSpPr/>
            <p:nvPr/>
          </p:nvGrpSpPr>
          <p:grpSpPr>
            <a:xfrm>
              <a:off x="6885695" y="4876255"/>
              <a:ext cx="61912" cy="94549"/>
              <a:chOff x="6885695" y="4876255"/>
              <a:chExt cx="61912" cy="94549"/>
            </a:xfrm>
            <a:grpFill/>
          </p:grpSpPr>
          <p:sp>
            <p:nvSpPr>
              <p:cNvPr id="3588" name="Vrije vorm: vorm 3587">
                <a:extLst>
                  <a:ext uri="{FF2B5EF4-FFF2-40B4-BE49-F238E27FC236}">
                    <a16:creationId xmlns:a16="http://schemas.microsoft.com/office/drawing/2014/main" id="{9493CD1F-E0F4-4070-AAA3-84555A136B17}"/>
                  </a:ext>
                </a:extLst>
              </p:cNvPr>
              <p:cNvSpPr/>
              <p:nvPr/>
            </p:nvSpPr>
            <p:spPr>
              <a:xfrm>
                <a:off x="6893340" y="4884316"/>
                <a:ext cx="46649" cy="78467"/>
              </a:xfrm>
              <a:custGeom>
                <a:avLst/>
                <a:gdLst>
                  <a:gd name="connsiteX0" fmla="*/ 46649 w 46649"/>
                  <a:gd name="connsiteY0" fmla="*/ 76972 h 78467"/>
                  <a:gd name="connsiteX1" fmla="*/ 44018 w 46649"/>
                  <a:gd name="connsiteY1" fmla="*/ 78467 h 78467"/>
                  <a:gd name="connsiteX2" fmla="*/ 0 w 46649"/>
                  <a:gd name="connsiteY2" fmla="*/ 1495 h 78467"/>
                  <a:gd name="connsiteX3" fmla="*/ 2631 w 46649"/>
                  <a:gd name="connsiteY3" fmla="*/ 0 h 78467"/>
                </a:gdLst>
                <a:ahLst/>
                <a:cxnLst>
                  <a:cxn ang="0">
                    <a:pos x="connsiteX0" y="connsiteY0"/>
                  </a:cxn>
                  <a:cxn ang="0">
                    <a:pos x="connsiteX1" y="connsiteY1"/>
                  </a:cxn>
                  <a:cxn ang="0">
                    <a:pos x="connsiteX2" y="connsiteY2"/>
                  </a:cxn>
                  <a:cxn ang="0">
                    <a:pos x="connsiteX3" y="connsiteY3"/>
                  </a:cxn>
                </a:cxnLst>
                <a:rect l="l" t="t" r="r" b="b"/>
                <a:pathLst>
                  <a:path w="46649" h="78467">
                    <a:moveTo>
                      <a:pt x="46649" y="76972"/>
                    </a:moveTo>
                    <a:lnTo>
                      <a:pt x="44018" y="78467"/>
                    </a:lnTo>
                    <a:lnTo>
                      <a:pt x="0" y="1495"/>
                    </a:lnTo>
                    <a:lnTo>
                      <a:pt x="2631" y="0"/>
                    </a:lnTo>
                    <a:close/>
                  </a:path>
                </a:pathLst>
              </a:custGeom>
              <a:grpFill/>
              <a:ln w="5978" cap="flat">
                <a:noFill/>
                <a:prstDash val="solid"/>
                <a:miter/>
              </a:ln>
            </p:spPr>
            <p:txBody>
              <a:bodyPr rtlCol="0" anchor="ctr"/>
              <a:lstStyle/>
              <a:p>
                <a:endParaRPr lang="en-GB"/>
              </a:p>
            </p:txBody>
          </p:sp>
          <p:sp>
            <p:nvSpPr>
              <p:cNvPr id="3589" name="Vrije vorm: vorm 3588">
                <a:extLst>
                  <a:ext uri="{FF2B5EF4-FFF2-40B4-BE49-F238E27FC236}">
                    <a16:creationId xmlns:a16="http://schemas.microsoft.com/office/drawing/2014/main" id="{562A6EB7-D10A-41E8-849F-0A332B88605A}"/>
                  </a:ext>
                </a:extLst>
              </p:cNvPr>
              <p:cNvSpPr/>
              <p:nvPr/>
            </p:nvSpPr>
            <p:spPr>
              <a:xfrm>
                <a:off x="6929321" y="4952429"/>
                <a:ext cx="18286" cy="18375"/>
              </a:xfrm>
              <a:custGeom>
                <a:avLst/>
                <a:gdLst>
                  <a:gd name="connsiteX0" fmla="*/ 17068 w 18286"/>
                  <a:gd name="connsiteY0" fmla="*/ 4612 h 18375"/>
                  <a:gd name="connsiteX1" fmla="*/ 13718 w 18286"/>
                  <a:gd name="connsiteY1" fmla="*/ 17172 h 18375"/>
                  <a:gd name="connsiteX2" fmla="*/ 1219 w 18286"/>
                  <a:gd name="connsiteY2" fmla="*/ 13763 h 18375"/>
                  <a:gd name="connsiteX3" fmla="*/ 4568 w 18286"/>
                  <a:gd name="connsiteY3" fmla="*/ 1203 h 18375"/>
                  <a:gd name="connsiteX4" fmla="*/ 17068 w 18286"/>
                  <a:gd name="connsiteY4" fmla="*/ 4612 h 18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375">
                    <a:moveTo>
                      <a:pt x="17068" y="4612"/>
                    </a:moveTo>
                    <a:cubicBezTo>
                      <a:pt x="19580" y="9038"/>
                      <a:pt x="18085" y="14660"/>
                      <a:pt x="13718" y="17172"/>
                    </a:cubicBezTo>
                    <a:cubicBezTo>
                      <a:pt x="9352" y="19684"/>
                      <a:pt x="3731" y="18129"/>
                      <a:pt x="1219" y="13763"/>
                    </a:cubicBezTo>
                    <a:cubicBezTo>
                      <a:pt x="-1293" y="9397"/>
                      <a:pt x="202" y="3715"/>
                      <a:pt x="4568" y="1203"/>
                    </a:cubicBezTo>
                    <a:cubicBezTo>
                      <a:pt x="8934" y="-1308"/>
                      <a:pt x="14496" y="247"/>
                      <a:pt x="17068" y="4612"/>
                    </a:cubicBezTo>
                    <a:close/>
                  </a:path>
                </a:pathLst>
              </a:custGeom>
              <a:grpFill/>
              <a:ln w="5978" cap="flat">
                <a:noFill/>
                <a:prstDash val="solid"/>
                <a:miter/>
              </a:ln>
            </p:spPr>
            <p:txBody>
              <a:bodyPr rtlCol="0" anchor="ctr"/>
              <a:lstStyle/>
              <a:p>
                <a:endParaRPr lang="en-GB"/>
              </a:p>
            </p:txBody>
          </p:sp>
          <p:sp>
            <p:nvSpPr>
              <p:cNvPr id="3590" name="Vrije vorm: vorm 3589">
                <a:extLst>
                  <a:ext uri="{FF2B5EF4-FFF2-40B4-BE49-F238E27FC236}">
                    <a16:creationId xmlns:a16="http://schemas.microsoft.com/office/drawing/2014/main" id="{246CAA3C-7393-4A93-B26A-5540A5CDD825}"/>
                  </a:ext>
                </a:extLst>
              </p:cNvPr>
              <p:cNvSpPr/>
              <p:nvPr/>
            </p:nvSpPr>
            <p:spPr>
              <a:xfrm>
                <a:off x="6885695" y="4876255"/>
                <a:ext cx="18339" cy="18454"/>
              </a:xfrm>
              <a:custGeom>
                <a:avLst/>
                <a:gdLst>
                  <a:gd name="connsiteX0" fmla="*/ 17094 w 18339"/>
                  <a:gd name="connsiteY0" fmla="*/ 4652 h 18454"/>
                  <a:gd name="connsiteX1" fmla="*/ 4594 w 18339"/>
                  <a:gd name="connsiteY1" fmla="*/ 1243 h 18454"/>
                  <a:gd name="connsiteX2" fmla="*/ 1245 w 18339"/>
                  <a:gd name="connsiteY2" fmla="*/ 13802 h 18454"/>
                  <a:gd name="connsiteX3" fmla="*/ 13745 w 18339"/>
                  <a:gd name="connsiteY3" fmla="*/ 17211 h 18454"/>
                  <a:gd name="connsiteX4" fmla="*/ 17094 w 18339"/>
                  <a:gd name="connsiteY4" fmla="*/ 4652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4">
                    <a:moveTo>
                      <a:pt x="17094" y="4652"/>
                    </a:moveTo>
                    <a:cubicBezTo>
                      <a:pt x="14582" y="226"/>
                      <a:pt x="8960" y="-1329"/>
                      <a:pt x="4594" y="1243"/>
                    </a:cubicBezTo>
                    <a:cubicBezTo>
                      <a:pt x="229" y="3755"/>
                      <a:pt x="-1326" y="9377"/>
                      <a:pt x="1245" y="13802"/>
                    </a:cubicBezTo>
                    <a:cubicBezTo>
                      <a:pt x="3757" y="18228"/>
                      <a:pt x="9379" y="19783"/>
                      <a:pt x="13745" y="17211"/>
                    </a:cubicBezTo>
                    <a:cubicBezTo>
                      <a:pt x="18111" y="14700"/>
                      <a:pt x="19666" y="9078"/>
                      <a:pt x="17094" y="4652"/>
                    </a:cubicBezTo>
                    <a:close/>
                  </a:path>
                </a:pathLst>
              </a:custGeom>
              <a:grpFill/>
              <a:ln w="5978" cap="flat">
                <a:noFill/>
                <a:prstDash val="solid"/>
                <a:miter/>
              </a:ln>
            </p:spPr>
            <p:txBody>
              <a:bodyPr rtlCol="0" anchor="ctr"/>
              <a:lstStyle/>
              <a:p>
                <a:endParaRPr lang="en-GB"/>
              </a:p>
            </p:txBody>
          </p:sp>
        </p:grpSp>
        <p:grpSp>
          <p:nvGrpSpPr>
            <p:cNvPr id="601" name="Graphic 3">
              <a:extLst>
                <a:ext uri="{FF2B5EF4-FFF2-40B4-BE49-F238E27FC236}">
                  <a16:creationId xmlns:a16="http://schemas.microsoft.com/office/drawing/2014/main" id="{AEDC410D-3F91-4CEA-B157-1E8FC349E5C8}"/>
                </a:ext>
              </a:extLst>
            </p:cNvPr>
            <p:cNvGrpSpPr/>
            <p:nvPr/>
          </p:nvGrpSpPr>
          <p:grpSpPr>
            <a:xfrm>
              <a:off x="5629049" y="1074152"/>
              <a:ext cx="37791" cy="127081"/>
              <a:chOff x="5629049" y="1074152"/>
              <a:chExt cx="37791" cy="127081"/>
            </a:xfrm>
            <a:grpFill/>
          </p:grpSpPr>
          <p:sp>
            <p:nvSpPr>
              <p:cNvPr id="3585" name="Vrije vorm: vorm 3584">
                <a:extLst>
                  <a:ext uri="{FF2B5EF4-FFF2-40B4-BE49-F238E27FC236}">
                    <a16:creationId xmlns:a16="http://schemas.microsoft.com/office/drawing/2014/main" id="{24D8F2FE-D21F-43B7-BFB5-B0FBFBB5A5D6}"/>
                  </a:ext>
                </a:extLst>
              </p:cNvPr>
              <p:cNvSpPr/>
              <p:nvPr/>
            </p:nvSpPr>
            <p:spPr>
              <a:xfrm>
                <a:off x="5636671" y="1082670"/>
                <a:ext cx="22547" cy="110045"/>
              </a:xfrm>
              <a:custGeom>
                <a:avLst/>
                <a:gdLst>
                  <a:gd name="connsiteX0" fmla="*/ 2990 w 22547"/>
                  <a:gd name="connsiteY0" fmla="*/ 0 h 110045"/>
                  <a:gd name="connsiteX1" fmla="*/ 22547 w 22547"/>
                  <a:gd name="connsiteY1" fmla="*/ 109507 h 110045"/>
                  <a:gd name="connsiteX2" fmla="*/ 19557 w 22547"/>
                  <a:gd name="connsiteY2" fmla="*/ 110045 h 110045"/>
                  <a:gd name="connsiteX3" fmla="*/ 0 w 22547"/>
                  <a:gd name="connsiteY3" fmla="*/ 478 h 110045"/>
                </a:gdLst>
                <a:ahLst/>
                <a:cxnLst>
                  <a:cxn ang="0">
                    <a:pos x="connsiteX0" y="connsiteY0"/>
                  </a:cxn>
                  <a:cxn ang="0">
                    <a:pos x="connsiteX1" y="connsiteY1"/>
                  </a:cxn>
                  <a:cxn ang="0">
                    <a:pos x="connsiteX2" y="connsiteY2"/>
                  </a:cxn>
                  <a:cxn ang="0">
                    <a:pos x="connsiteX3" y="connsiteY3"/>
                  </a:cxn>
                </a:cxnLst>
                <a:rect l="l" t="t" r="r" b="b"/>
                <a:pathLst>
                  <a:path w="22547" h="110045">
                    <a:moveTo>
                      <a:pt x="2990" y="0"/>
                    </a:moveTo>
                    <a:lnTo>
                      <a:pt x="22547" y="109507"/>
                    </a:lnTo>
                    <a:lnTo>
                      <a:pt x="19557" y="110045"/>
                    </a:lnTo>
                    <a:lnTo>
                      <a:pt x="0" y="478"/>
                    </a:lnTo>
                    <a:close/>
                  </a:path>
                </a:pathLst>
              </a:custGeom>
              <a:grpFill/>
              <a:ln w="5978" cap="flat">
                <a:noFill/>
                <a:prstDash val="solid"/>
                <a:miter/>
              </a:ln>
            </p:spPr>
            <p:txBody>
              <a:bodyPr rtlCol="0" anchor="ctr"/>
              <a:lstStyle/>
              <a:p>
                <a:endParaRPr lang="en-GB"/>
              </a:p>
            </p:txBody>
          </p:sp>
          <p:sp>
            <p:nvSpPr>
              <p:cNvPr id="3586" name="Vrije vorm: vorm 3585">
                <a:extLst>
                  <a:ext uri="{FF2B5EF4-FFF2-40B4-BE49-F238E27FC236}">
                    <a16:creationId xmlns:a16="http://schemas.microsoft.com/office/drawing/2014/main" id="{C694F73D-916F-4394-9769-030B194515CB}"/>
                  </a:ext>
                </a:extLst>
              </p:cNvPr>
              <p:cNvSpPr/>
              <p:nvPr/>
            </p:nvSpPr>
            <p:spPr>
              <a:xfrm>
                <a:off x="5648485" y="1182822"/>
                <a:ext cx="18356" cy="18412"/>
              </a:xfrm>
              <a:custGeom>
                <a:avLst/>
                <a:gdLst>
                  <a:gd name="connsiteX0" fmla="*/ 18209 w 18356"/>
                  <a:gd name="connsiteY0" fmla="*/ 7621 h 18412"/>
                  <a:gd name="connsiteX1" fmla="*/ 10793 w 18356"/>
                  <a:gd name="connsiteY1" fmla="*/ 18267 h 18412"/>
                  <a:gd name="connsiteX2" fmla="*/ 147 w 18356"/>
                  <a:gd name="connsiteY2" fmla="*/ 10791 h 18412"/>
                  <a:gd name="connsiteX3" fmla="*/ 7563 w 18356"/>
                  <a:gd name="connsiteY3" fmla="*/ 145 h 18412"/>
                  <a:gd name="connsiteX4" fmla="*/ 18209 w 18356"/>
                  <a:gd name="connsiteY4" fmla="*/ 762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2">
                    <a:moveTo>
                      <a:pt x="18209" y="7621"/>
                    </a:moveTo>
                    <a:cubicBezTo>
                      <a:pt x="19106" y="12645"/>
                      <a:pt x="15817" y="17430"/>
                      <a:pt x="10793" y="18267"/>
                    </a:cubicBezTo>
                    <a:cubicBezTo>
                      <a:pt x="5829" y="19164"/>
                      <a:pt x="1044" y="15815"/>
                      <a:pt x="147" y="10791"/>
                    </a:cubicBezTo>
                    <a:cubicBezTo>
                      <a:pt x="-750" y="5767"/>
                      <a:pt x="2539" y="983"/>
                      <a:pt x="7563" y="145"/>
                    </a:cubicBezTo>
                    <a:cubicBezTo>
                      <a:pt x="12528" y="-752"/>
                      <a:pt x="17312" y="2597"/>
                      <a:pt x="18209" y="7621"/>
                    </a:cubicBezTo>
                    <a:close/>
                  </a:path>
                </a:pathLst>
              </a:custGeom>
              <a:grpFill/>
              <a:ln w="5978" cap="flat">
                <a:noFill/>
                <a:prstDash val="solid"/>
                <a:miter/>
              </a:ln>
            </p:spPr>
            <p:txBody>
              <a:bodyPr rtlCol="0" anchor="ctr"/>
              <a:lstStyle/>
              <a:p>
                <a:endParaRPr lang="en-GB"/>
              </a:p>
            </p:txBody>
          </p:sp>
          <p:sp>
            <p:nvSpPr>
              <p:cNvPr id="3587" name="Vrije vorm: vorm 3586">
                <a:extLst>
                  <a:ext uri="{FF2B5EF4-FFF2-40B4-BE49-F238E27FC236}">
                    <a16:creationId xmlns:a16="http://schemas.microsoft.com/office/drawing/2014/main" id="{90183F04-CA08-4A5C-915C-9BF141F831C6}"/>
                  </a:ext>
                </a:extLst>
              </p:cNvPr>
              <p:cNvSpPr/>
              <p:nvPr/>
            </p:nvSpPr>
            <p:spPr>
              <a:xfrm>
                <a:off x="5629049" y="1074152"/>
                <a:ext cx="18354" cy="18412"/>
              </a:xfrm>
              <a:custGeom>
                <a:avLst/>
                <a:gdLst>
                  <a:gd name="connsiteX0" fmla="*/ 18207 w 18354"/>
                  <a:gd name="connsiteY0" fmla="*/ 7621 h 18412"/>
                  <a:gd name="connsiteX1" fmla="*/ 7561 w 18354"/>
                  <a:gd name="connsiteY1" fmla="*/ 145 h 18412"/>
                  <a:gd name="connsiteX2" fmla="*/ 145 w 18354"/>
                  <a:gd name="connsiteY2" fmla="*/ 10791 h 18412"/>
                  <a:gd name="connsiteX3" fmla="*/ 10791 w 18354"/>
                  <a:gd name="connsiteY3" fmla="*/ 18267 h 18412"/>
                  <a:gd name="connsiteX4" fmla="*/ 18207 w 18354"/>
                  <a:gd name="connsiteY4" fmla="*/ 762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8207" y="7621"/>
                    </a:moveTo>
                    <a:cubicBezTo>
                      <a:pt x="17310" y="2597"/>
                      <a:pt x="12526" y="-752"/>
                      <a:pt x="7561" y="145"/>
                    </a:cubicBezTo>
                    <a:cubicBezTo>
                      <a:pt x="2597" y="1042"/>
                      <a:pt x="-752" y="5827"/>
                      <a:pt x="145" y="10791"/>
                    </a:cubicBezTo>
                    <a:cubicBezTo>
                      <a:pt x="1042" y="15815"/>
                      <a:pt x="5827" y="19164"/>
                      <a:pt x="10791" y="18267"/>
                    </a:cubicBezTo>
                    <a:cubicBezTo>
                      <a:pt x="15815" y="17430"/>
                      <a:pt x="19104" y="12645"/>
                      <a:pt x="18207" y="7621"/>
                    </a:cubicBezTo>
                    <a:close/>
                  </a:path>
                </a:pathLst>
              </a:custGeom>
              <a:grpFill/>
              <a:ln w="5978" cap="flat">
                <a:noFill/>
                <a:prstDash val="solid"/>
                <a:miter/>
              </a:ln>
            </p:spPr>
            <p:txBody>
              <a:bodyPr rtlCol="0" anchor="ctr"/>
              <a:lstStyle/>
              <a:p>
                <a:endParaRPr lang="en-GB"/>
              </a:p>
            </p:txBody>
          </p:sp>
        </p:grpSp>
        <p:grpSp>
          <p:nvGrpSpPr>
            <p:cNvPr id="602" name="Graphic 3">
              <a:extLst>
                <a:ext uri="{FF2B5EF4-FFF2-40B4-BE49-F238E27FC236}">
                  <a16:creationId xmlns:a16="http://schemas.microsoft.com/office/drawing/2014/main" id="{25F9CB89-D127-45E9-AFEB-89BA8D38F430}"/>
                </a:ext>
              </a:extLst>
            </p:cNvPr>
            <p:cNvGrpSpPr/>
            <p:nvPr/>
          </p:nvGrpSpPr>
          <p:grpSpPr>
            <a:xfrm>
              <a:off x="5696186" y="1215990"/>
              <a:ext cx="75700" cy="377798"/>
              <a:chOff x="5696186" y="1215990"/>
              <a:chExt cx="75700" cy="377798"/>
            </a:xfrm>
            <a:grpFill/>
          </p:grpSpPr>
          <p:sp>
            <p:nvSpPr>
              <p:cNvPr id="3582" name="Vrije vorm: vorm 3581">
                <a:extLst>
                  <a:ext uri="{FF2B5EF4-FFF2-40B4-BE49-F238E27FC236}">
                    <a16:creationId xmlns:a16="http://schemas.microsoft.com/office/drawing/2014/main" id="{7A29960D-83CA-4CCC-92A2-2A408952D191}"/>
                  </a:ext>
                </a:extLst>
              </p:cNvPr>
              <p:cNvSpPr/>
              <p:nvPr/>
            </p:nvSpPr>
            <p:spPr>
              <a:xfrm>
                <a:off x="5703774" y="1224533"/>
                <a:ext cx="60524" cy="360697"/>
              </a:xfrm>
              <a:custGeom>
                <a:avLst/>
                <a:gdLst>
                  <a:gd name="connsiteX0" fmla="*/ 3050 w 60524"/>
                  <a:gd name="connsiteY0" fmla="*/ 0 h 360697"/>
                  <a:gd name="connsiteX1" fmla="*/ 60525 w 60524"/>
                  <a:gd name="connsiteY1" fmla="*/ 360219 h 360697"/>
                  <a:gd name="connsiteX2" fmla="*/ 57475 w 60524"/>
                  <a:gd name="connsiteY2" fmla="*/ 360697 h 360697"/>
                  <a:gd name="connsiteX3" fmla="*/ 0 w 60524"/>
                  <a:gd name="connsiteY3" fmla="*/ 478 h 360697"/>
                </a:gdLst>
                <a:ahLst/>
                <a:cxnLst>
                  <a:cxn ang="0">
                    <a:pos x="connsiteX0" y="connsiteY0"/>
                  </a:cxn>
                  <a:cxn ang="0">
                    <a:pos x="connsiteX1" y="connsiteY1"/>
                  </a:cxn>
                  <a:cxn ang="0">
                    <a:pos x="connsiteX2" y="connsiteY2"/>
                  </a:cxn>
                  <a:cxn ang="0">
                    <a:pos x="connsiteX3" y="connsiteY3"/>
                  </a:cxn>
                </a:cxnLst>
                <a:rect l="l" t="t" r="r" b="b"/>
                <a:pathLst>
                  <a:path w="60524" h="360697">
                    <a:moveTo>
                      <a:pt x="3050" y="0"/>
                    </a:moveTo>
                    <a:lnTo>
                      <a:pt x="60525" y="360219"/>
                    </a:lnTo>
                    <a:lnTo>
                      <a:pt x="57475" y="360697"/>
                    </a:lnTo>
                    <a:lnTo>
                      <a:pt x="0" y="478"/>
                    </a:lnTo>
                    <a:close/>
                  </a:path>
                </a:pathLst>
              </a:custGeom>
              <a:grpFill/>
              <a:ln w="5978" cap="flat">
                <a:noFill/>
                <a:prstDash val="solid"/>
                <a:miter/>
              </a:ln>
            </p:spPr>
            <p:txBody>
              <a:bodyPr rtlCol="0" anchor="ctr"/>
              <a:lstStyle/>
              <a:p>
                <a:endParaRPr lang="en-GB"/>
              </a:p>
            </p:txBody>
          </p:sp>
          <p:sp>
            <p:nvSpPr>
              <p:cNvPr id="3583" name="Vrije vorm: vorm 3582">
                <a:extLst>
                  <a:ext uri="{FF2B5EF4-FFF2-40B4-BE49-F238E27FC236}">
                    <a16:creationId xmlns:a16="http://schemas.microsoft.com/office/drawing/2014/main" id="{7BA70F70-516F-4854-9F10-1987872457E9}"/>
                  </a:ext>
                </a:extLst>
              </p:cNvPr>
              <p:cNvSpPr/>
              <p:nvPr/>
            </p:nvSpPr>
            <p:spPr>
              <a:xfrm>
                <a:off x="5696186" y="1215990"/>
                <a:ext cx="18345" cy="18416"/>
              </a:xfrm>
              <a:custGeom>
                <a:avLst/>
                <a:gdLst>
                  <a:gd name="connsiteX0" fmla="*/ 112 w 18345"/>
                  <a:gd name="connsiteY0" fmla="*/ 10636 h 18416"/>
                  <a:gd name="connsiteX1" fmla="*/ 7708 w 18345"/>
                  <a:gd name="connsiteY1" fmla="*/ 110 h 18416"/>
                  <a:gd name="connsiteX2" fmla="*/ 18234 w 18345"/>
                  <a:gd name="connsiteY2" fmla="*/ 7766 h 18416"/>
                  <a:gd name="connsiteX3" fmla="*/ 10638 w 18345"/>
                  <a:gd name="connsiteY3" fmla="*/ 18292 h 18416"/>
                  <a:gd name="connsiteX4" fmla="*/ 112 w 18345"/>
                  <a:gd name="connsiteY4" fmla="*/ 10636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16">
                    <a:moveTo>
                      <a:pt x="112" y="10636"/>
                    </a:moveTo>
                    <a:cubicBezTo>
                      <a:pt x="-666" y="5613"/>
                      <a:pt x="2684" y="888"/>
                      <a:pt x="7708" y="110"/>
                    </a:cubicBezTo>
                    <a:cubicBezTo>
                      <a:pt x="12731" y="-667"/>
                      <a:pt x="17396" y="2742"/>
                      <a:pt x="18234" y="7766"/>
                    </a:cubicBezTo>
                    <a:cubicBezTo>
                      <a:pt x="19011" y="12790"/>
                      <a:pt x="15662" y="17514"/>
                      <a:pt x="10638" y="18292"/>
                    </a:cubicBezTo>
                    <a:cubicBezTo>
                      <a:pt x="5614" y="19129"/>
                      <a:pt x="949" y="15660"/>
                      <a:pt x="112" y="10636"/>
                    </a:cubicBezTo>
                    <a:close/>
                  </a:path>
                </a:pathLst>
              </a:custGeom>
              <a:grpFill/>
              <a:ln w="5978" cap="flat">
                <a:noFill/>
                <a:prstDash val="solid"/>
                <a:miter/>
              </a:ln>
            </p:spPr>
            <p:txBody>
              <a:bodyPr rtlCol="0" anchor="ctr"/>
              <a:lstStyle/>
              <a:p>
                <a:endParaRPr lang="en-GB"/>
              </a:p>
            </p:txBody>
          </p:sp>
          <p:sp>
            <p:nvSpPr>
              <p:cNvPr id="3584" name="Vrije vorm: vorm 3583">
                <a:extLst>
                  <a:ext uri="{FF2B5EF4-FFF2-40B4-BE49-F238E27FC236}">
                    <a16:creationId xmlns:a16="http://schemas.microsoft.com/office/drawing/2014/main" id="{7989D0EE-C566-4E6E-B1F3-C3956B3FCDCD}"/>
                  </a:ext>
                </a:extLst>
              </p:cNvPr>
              <p:cNvSpPr/>
              <p:nvPr/>
            </p:nvSpPr>
            <p:spPr>
              <a:xfrm>
                <a:off x="5753543" y="1575357"/>
                <a:ext cx="18343" cy="18430"/>
              </a:xfrm>
              <a:custGeom>
                <a:avLst/>
                <a:gdLst>
                  <a:gd name="connsiteX0" fmla="*/ 111 w 18343"/>
                  <a:gd name="connsiteY0" fmla="*/ 10651 h 18430"/>
                  <a:gd name="connsiteX1" fmla="*/ 10637 w 18343"/>
                  <a:gd name="connsiteY1" fmla="*/ 18306 h 18430"/>
                  <a:gd name="connsiteX2" fmla="*/ 18232 w 18343"/>
                  <a:gd name="connsiteY2" fmla="*/ 7780 h 18430"/>
                  <a:gd name="connsiteX3" fmla="*/ 7706 w 18343"/>
                  <a:gd name="connsiteY3" fmla="*/ 125 h 18430"/>
                  <a:gd name="connsiteX4" fmla="*/ 111 w 18343"/>
                  <a:gd name="connsiteY4" fmla="*/ 1065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30">
                    <a:moveTo>
                      <a:pt x="111" y="10651"/>
                    </a:moveTo>
                    <a:cubicBezTo>
                      <a:pt x="888" y="15675"/>
                      <a:pt x="5613" y="19144"/>
                      <a:pt x="10637" y="18306"/>
                    </a:cubicBezTo>
                    <a:cubicBezTo>
                      <a:pt x="15660" y="17469"/>
                      <a:pt x="19009" y="12804"/>
                      <a:pt x="18232" y="7780"/>
                    </a:cubicBezTo>
                    <a:cubicBezTo>
                      <a:pt x="17454" y="2756"/>
                      <a:pt x="12730" y="-713"/>
                      <a:pt x="7706" y="125"/>
                    </a:cubicBezTo>
                    <a:cubicBezTo>
                      <a:pt x="2742" y="902"/>
                      <a:pt x="-667" y="5627"/>
                      <a:pt x="111" y="10651"/>
                    </a:cubicBezTo>
                    <a:close/>
                  </a:path>
                </a:pathLst>
              </a:custGeom>
              <a:grpFill/>
              <a:ln w="5978" cap="flat">
                <a:noFill/>
                <a:prstDash val="solid"/>
                <a:miter/>
              </a:ln>
            </p:spPr>
            <p:txBody>
              <a:bodyPr rtlCol="0" anchor="ctr"/>
              <a:lstStyle/>
              <a:p>
                <a:endParaRPr lang="en-GB"/>
              </a:p>
            </p:txBody>
          </p:sp>
        </p:grpSp>
        <p:grpSp>
          <p:nvGrpSpPr>
            <p:cNvPr id="603" name="Graphic 3">
              <a:extLst>
                <a:ext uri="{FF2B5EF4-FFF2-40B4-BE49-F238E27FC236}">
                  <a16:creationId xmlns:a16="http://schemas.microsoft.com/office/drawing/2014/main" id="{5FF6FE7E-6C49-4044-8C7A-55944CC2E345}"/>
                </a:ext>
              </a:extLst>
            </p:cNvPr>
            <p:cNvGrpSpPr/>
            <p:nvPr/>
          </p:nvGrpSpPr>
          <p:grpSpPr>
            <a:xfrm>
              <a:off x="5760336" y="1382473"/>
              <a:ext cx="38727" cy="375914"/>
              <a:chOff x="5760336" y="1382473"/>
              <a:chExt cx="38727" cy="375914"/>
            </a:xfrm>
            <a:grpFill/>
          </p:grpSpPr>
          <p:sp>
            <p:nvSpPr>
              <p:cNvPr id="3579" name="Vrije vorm: vorm 3578">
                <a:extLst>
                  <a:ext uri="{FF2B5EF4-FFF2-40B4-BE49-F238E27FC236}">
                    <a16:creationId xmlns:a16="http://schemas.microsoft.com/office/drawing/2014/main" id="{3284FFDC-7993-4534-8AE2-A706AC4B31BB}"/>
                  </a:ext>
                </a:extLst>
              </p:cNvPr>
              <p:cNvSpPr/>
              <p:nvPr/>
            </p:nvSpPr>
            <p:spPr>
              <a:xfrm>
                <a:off x="5768007" y="1391156"/>
                <a:ext cx="23444" cy="358544"/>
              </a:xfrm>
              <a:custGeom>
                <a:avLst/>
                <a:gdLst>
                  <a:gd name="connsiteX0" fmla="*/ 2990 w 23444"/>
                  <a:gd name="connsiteY0" fmla="*/ 0 h 358544"/>
                  <a:gd name="connsiteX1" fmla="*/ 23445 w 23444"/>
                  <a:gd name="connsiteY1" fmla="*/ 358365 h 358544"/>
                  <a:gd name="connsiteX2" fmla="*/ 20394 w 23444"/>
                  <a:gd name="connsiteY2" fmla="*/ 358544 h 358544"/>
                  <a:gd name="connsiteX3" fmla="*/ 0 w 23444"/>
                  <a:gd name="connsiteY3" fmla="*/ 179 h 358544"/>
                </a:gdLst>
                <a:ahLst/>
                <a:cxnLst>
                  <a:cxn ang="0">
                    <a:pos x="connsiteX0" y="connsiteY0"/>
                  </a:cxn>
                  <a:cxn ang="0">
                    <a:pos x="connsiteX1" y="connsiteY1"/>
                  </a:cxn>
                  <a:cxn ang="0">
                    <a:pos x="connsiteX2" y="connsiteY2"/>
                  </a:cxn>
                  <a:cxn ang="0">
                    <a:pos x="connsiteX3" y="connsiteY3"/>
                  </a:cxn>
                </a:cxnLst>
                <a:rect l="l" t="t" r="r" b="b"/>
                <a:pathLst>
                  <a:path w="23444" h="358544">
                    <a:moveTo>
                      <a:pt x="2990" y="0"/>
                    </a:moveTo>
                    <a:lnTo>
                      <a:pt x="23445" y="358365"/>
                    </a:lnTo>
                    <a:lnTo>
                      <a:pt x="20394" y="358544"/>
                    </a:lnTo>
                    <a:lnTo>
                      <a:pt x="0" y="179"/>
                    </a:lnTo>
                    <a:close/>
                  </a:path>
                </a:pathLst>
              </a:custGeom>
              <a:grpFill/>
              <a:ln w="5978" cap="flat">
                <a:noFill/>
                <a:prstDash val="solid"/>
                <a:miter/>
              </a:ln>
            </p:spPr>
            <p:txBody>
              <a:bodyPr rtlCol="0" anchor="ctr"/>
              <a:lstStyle/>
              <a:p>
                <a:endParaRPr lang="en-GB"/>
              </a:p>
            </p:txBody>
          </p:sp>
          <p:sp>
            <p:nvSpPr>
              <p:cNvPr id="3580" name="Vrije vorm: vorm 3579">
                <a:extLst>
                  <a:ext uri="{FF2B5EF4-FFF2-40B4-BE49-F238E27FC236}">
                    <a16:creationId xmlns:a16="http://schemas.microsoft.com/office/drawing/2014/main" id="{8180070D-E112-414A-9D56-37B38E383A2C}"/>
                  </a:ext>
                </a:extLst>
              </p:cNvPr>
              <p:cNvSpPr/>
              <p:nvPr/>
            </p:nvSpPr>
            <p:spPr>
              <a:xfrm>
                <a:off x="5780730" y="1739936"/>
                <a:ext cx="18333" cy="18452"/>
              </a:xfrm>
              <a:custGeom>
                <a:avLst/>
                <a:gdLst>
                  <a:gd name="connsiteX0" fmla="*/ 18317 w 18333"/>
                  <a:gd name="connsiteY0" fmla="*/ 8748 h 18452"/>
                  <a:gd name="connsiteX1" fmla="*/ 9705 w 18333"/>
                  <a:gd name="connsiteY1" fmla="*/ 18437 h 18452"/>
                  <a:gd name="connsiteX2" fmla="*/ 16 w 18333"/>
                  <a:gd name="connsiteY2" fmla="*/ 9705 h 18452"/>
                  <a:gd name="connsiteX3" fmla="*/ 8628 w 18333"/>
                  <a:gd name="connsiteY3" fmla="*/ 16 h 18452"/>
                  <a:gd name="connsiteX4" fmla="*/ 18317 w 18333"/>
                  <a:gd name="connsiteY4" fmla="*/ 874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317" y="8748"/>
                    </a:moveTo>
                    <a:cubicBezTo>
                      <a:pt x="18616" y="13831"/>
                      <a:pt x="14729" y="18138"/>
                      <a:pt x="9705" y="18437"/>
                    </a:cubicBezTo>
                    <a:cubicBezTo>
                      <a:pt x="4681" y="18736"/>
                      <a:pt x="315" y="14788"/>
                      <a:pt x="16" y="9705"/>
                    </a:cubicBezTo>
                    <a:cubicBezTo>
                      <a:pt x="-283" y="4621"/>
                      <a:pt x="3605" y="315"/>
                      <a:pt x="8628" y="16"/>
                    </a:cubicBezTo>
                    <a:cubicBezTo>
                      <a:pt x="13712" y="-283"/>
                      <a:pt x="18018" y="3664"/>
                      <a:pt x="18317" y="8748"/>
                    </a:cubicBezTo>
                    <a:close/>
                  </a:path>
                </a:pathLst>
              </a:custGeom>
              <a:grpFill/>
              <a:ln w="5978" cap="flat">
                <a:noFill/>
                <a:prstDash val="solid"/>
                <a:miter/>
              </a:ln>
            </p:spPr>
            <p:txBody>
              <a:bodyPr rtlCol="0" anchor="ctr"/>
              <a:lstStyle/>
              <a:p>
                <a:endParaRPr lang="en-GB"/>
              </a:p>
            </p:txBody>
          </p:sp>
          <p:sp>
            <p:nvSpPr>
              <p:cNvPr id="3581" name="Vrije vorm: vorm 3580">
                <a:extLst>
                  <a:ext uri="{FF2B5EF4-FFF2-40B4-BE49-F238E27FC236}">
                    <a16:creationId xmlns:a16="http://schemas.microsoft.com/office/drawing/2014/main" id="{B7E9C045-E441-49AE-AD3B-C3727AB50CE0}"/>
                  </a:ext>
                </a:extLst>
              </p:cNvPr>
              <p:cNvSpPr/>
              <p:nvPr/>
            </p:nvSpPr>
            <p:spPr>
              <a:xfrm>
                <a:off x="5760336" y="1382473"/>
                <a:ext cx="18333" cy="18441"/>
              </a:xfrm>
              <a:custGeom>
                <a:avLst/>
                <a:gdLst>
                  <a:gd name="connsiteX0" fmla="*/ 18317 w 18333"/>
                  <a:gd name="connsiteY0" fmla="*/ 8742 h 18441"/>
                  <a:gd name="connsiteX1" fmla="*/ 8628 w 18333"/>
                  <a:gd name="connsiteY1" fmla="*/ 10 h 18441"/>
                  <a:gd name="connsiteX2" fmla="*/ 16 w 18333"/>
                  <a:gd name="connsiteY2" fmla="*/ 9699 h 18441"/>
                  <a:gd name="connsiteX3" fmla="*/ 9705 w 18333"/>
                  <a:gd name="connsiteY3" fmla="*/ 18431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018" y="3659"/>
                      <a:pt x="13712" y="-229"/>
                      <a:pt x="8628" y="10"/>
                    </a:cubicBezTo>
                    <a:cubicBezTo>
                      <a:pt x="3604" y="309"/>
                      <a:pt x="-283" y="4616"/>
                      <a:pt x="16" y="9699"/>
                    </a:cubicBezTo>
                    <a:cubicBezTo>
                      <a:pt x="315" y="14783"/>
                      <a:pt x="4621" y="18670"/>
                      <a:pt x="9705" y="18431"/>
                    </a:cubicBezTo>
                    <a:cubicBezTo>
                      <a:pt x="14788" y="18132"/>
                      <a:pt x="18616" y="13826"/>
                      <a:pt x="18317" y="8742"/>
                    </a:cubicBezTo>
                    <a:close/>
                  </a:path>
                </a:pathLst>
              </a:custGeom>
              <a:grpFill/>
              <a:ln w="5978" cap="flat">
                <a:noFill/>
                <a:prstDash val="solid"/>
                <a:miter/>
              </a:ln>
            </p:spPr>
            <p:txBody>
              <a:bodyPr rtlCol="0" anchor="ctr"/>
              <a:lstStyle/>
              <a:p>
                <a:endParaRPr lang="en-GB"/>
              </a:p>
            </p:txBody>
          </p:sp>
        </p:grpSp>
        <p:grpSp>
          <p:nvGrpSpPr>
            <p:cNvPr id="604" name="Graphic 3">
              <a:extLst>
                <a:ext uri="{FF2B5EF4-FFF2-40B4-BE49-F238E27FC236}">
                  <a16:creationId xmlns:a16="http://schemas.microsoft.com/office/drawing/2014/main" id="{99349340-442B-4495-9895-7FAAE27D6786}"/>
                </a:ext>
              </a:extLst>
            </p:cNvPr>
            <p:cNvGrpSpPr/>
            <p:nvPr/>
          </p:nvGrpSpPr>
          <p:grpSpPr>
            <a:xfrm>
              <a:off x="6884509" y="4876802"/>
              <a:ext cx="101280" cy="230002"/>
              <a:chOff x="6884509" y="4876802"/>
              <a:chExt cx="101280" cy="230002"/>
            </a:xfrm>
            <a:grpFill/>
          </p:grpSpPr>
          <p:sp>
            <p:nvSpPr>
              <p:cNvPr id="3576" name="Vrije vorm: vorm 3575">
                <a:extLst>
                  <a:ext uri="{FF2B5EF4-FFF2-40B4-BE49-F238E27FC236}">
                    <a16:creationId xmlns:a16="http://schemas.microsoft.com/office/drawing/2014/main" id="{BA0A8042-F8EF-4DE3-AFFF-255A9022628C}"/>
                  </a:ext>
                </a:extLst>
              </p:cNvPr>
              <p:cNvSpPr/>
              <p:nvPr/>
            </p:nvSpPr>
            <p:spPr>
              <a:xfrm>
                <a:off x="6892121" y="4884962"/>
                <a:ext cx="86166" cy="213456"/>
              </a:xfrm>
              <a:custGeom>
                <a:avLst/>
                <a:gdLst>
                  <a:gd name="connsiteX0" fmla="*/ 0 w 86166"/>
                  <a:gd name="connsiteY0" fmla="*/ 1114 h 213456"/>
                  <a:gd name="connsiteX1" fmla="*/ 2839 w 86166"/>
                  <a:gd name="connsiteY1" fmla="*/ 0 h 213456"/>
                  <a:gd name="connsiteX2" fmla="*/ 86166 w 86166"/>
                  <a:gd name="connsiteY2" fmla="*/ 212343 h 213456"/>
                  <a:gd name="connsiteX3" fmla="*/ 83327 w 86166"/>
                  <a:gd name="connsiteY3" fmla="*/ 213457 h 213456"/>
                </a:gdLst>
                <a:ahLst/>
                <a:cxnLst>
                  <a:cxn ang="0">
                    <a:pos x="connsiteX0" y="connsiteY0"/>
                  </a:cxn>
                  <a:cxn ang="0">
                    <a:pos x="connsiteX1" y="connsiteY1"/>
                  </a:cxn>
                  <a:cxn ang="0">
                    <a:pos x="connsiteX2" y="connsiteY2"/>
                  </a:cxn>
                  <a:cxn ang="0">
                    <a:pos x="connsiteX3" y="connsiteY3"/>
                  </a:cxn>
                </a:cxnLst>
                <a:rect l="l" t="t" r="r" b="b"/>
                <a:pathLst>
                  <a:path w="86166" h="213456">
                    <a:moveTo>
                      <a:pt x="0" y="1114"/>
                    </a:moveTo>
                    <a:lnTo>
                      <a:pt x="2839" y="0"/>
                    </a:lnTo>
                    <a:lnTo>
                      <a:pt x="86166" y="212343"/>
                    </a:lnTo>
                    <a:lnTo>
                      <a:pt x="83327" y="213457"/>
                    </a:lnTo>
                    <a:close/>
                  </a:path>
                </a:pathLst>
              </a:custGeom>
              <a:grpFill/>
              <a:ln w="5978" cap="flat">
                <a:noFill/>
                <a:prstDash val="solid"/>
                <a:miter/>
              </a:ln>
            </p:spPr>
            <p:txBody>
              <a:bodyPr rtlCol="0" anchor="ctr"/>
              <a:lstStyle/>
              <a:p>
                <a:endParaRPr lang="en-GB"/>
              </a:p>
            </p:txBody>
          </p:sp>
          <p:sp>
            <p:nvSpPr>
              <p:cNvPr id="3577" name="Vrije vorm: vorm 3576">
                <a:extLst>
                  <a:ext uri="{FF2B5EF4-FFF2-40B4-BE49-F238E27FC236}">
                    <a16:creationId xmlns:a16="http://schemas.microsoft.com/office/drawing/2014/main" id="{B2A771A6-2F35-4764-AAD9-B05560363AA4}"/>
                  </a:ext>
                </a:extLst>
              </p:cNvPr>
              <p:cNvSpPr/>
              <p:nvPr/>
            </p:nvSpPr>
            <p:spPr>
              <a:xfrm>
                <a:off x="6884509" y="4876802"/>
                <a:ext cx="18320" cy="18437"/>
              </a:xfrm>
              <a:custGeom>
                <a:avLst/>
                <a:gdLst>
                  <a:gd name="connsiteX0" fmla="*/ 638 w 18320"/>
                  <a:gd name="connsiteY0" fmla="*/ 12597 h 18437"/>
                  <a:gd name="connsiteX1" fmla="*/ 5781 w 18320"/>
                  <a:gd name="connsiteY1" fmla="*/ 636 h 18437"/>
                  <a:gd name="connsiteX2" fmla="*/ 17683 w 18320"/>
                  <a:gd name="connsiteY2" fmla="*/ 5899 h 18437"/>
                  <a:gd name="connsiteX3" fmla="*/ 12539 w 18320"/>
                  <a:gd name="connsiteY3" fmla="*/ 17801 h 18437"/>
                  <a:gd name="connsiteX4" fmla="*/ 638 w 18320"/>
                  <a:gd name="connsiteY4" fmla="*/ 12597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7">
                    <a:moveTo>
                      <a:pt x="638" y="12597"/>
                    </a:moveTo>
                    <a:cubicBezTo>
                      <a:pt x="-1217" y="7873"/>
                      <a:pt x="1116" y="2490"/>
                      <a:pt x="5781" y="636"/>
                    </a:cubicBezTo>
                    <a:cubicBezTo>
                      <a:pt x="10506" y="-1218"/>
                      <a:pt x="15829" y="1115"/>
                      <a:pt x="17683" y="5899"/>
                    </a:cubicBezTo>
                    <a:cubicBezTo>
                      <a:pt x="19537" y="10624"/>
                      <a:pt x="17204" y="16007"/>
                      <a:pt x="12539" y="17801"/>
                    </a:cubicBezTo>
                    <a:cubicBezTo>
                      <a:pt x="7814" y="19655"/>
                      <a:pt x="2491" y="17322"/>
                      <a:pt x="638" y="12597"/>
                    </a:cubicBezTo>
                    <a:close/>
                  </a:path>
                </a:pathLst>
              </a:custGeom>
              <a:grpFill/>
              <a:ln w="5978" cap="flat">
                <a:noFill/>
                <a:prstDash val="solid"/>
                <a:miter/>
              </a:ln>
            </p:spPr>
            <p:txBody>
              <a:bodyPr rtlCol="0" anchor="ctr"/>
              <a:lstStyle/>
              <a:p>
                <a:endParaRPr lang="en-GB"/>
              </a:p>
            </p:txBody>
          </p:sp>
          <p:sp>
            <p:nvSpPr>
              <p:cNvPr id="3578" name="Vrije vorm: vorm 3577">
                <a:extLst>
                  <a:ext uri="{FF2B5EF4-FFF2-40B4-BE49-F238E27FC236}">
                    <a16:creationId xmlns:a16="http://schemas.microsoft.com/office/drawing/2014/main" id="{BE501748-D06F-47C7-BFD7-ED620C8AC8CD}"/>
                  </a:ext>
                </a:extLst>
              </p:cNvPr>
              <p:cNvSpPr/>
              <p:nvPr/>
            </p:nvSpPr>
            <p:spPr>
              <a:xfrm>
                <a:off x="6967454" y="5088399"/>
                <a:ext cx="18335" cy="18405"/>
              </a:xfrm>
              <a:custGeom>
                <a:avLst/>
                <a:gdLst>
                  <a:gd name="connsiteX0" fmla="*/ 645 w 18335"/>
                  <a:gd name="connsiteY0" fmla="*/ 12538 h 18405"/>
                  <a:gd name="connsiteX1" fmla="*/ 12547 w 18335"/>
                  <a:gd name="connsiteY1" fmla="*/ 17801 h 18405"/>
                  <a:gd name="connsiteX2" fmla="*/ 17690 w 18335"/>
                  <a:gd name="connsiteY2" fmla="*/ 5840 h 18405"/>
                  <a:gd name="connsiteX3" fmla="*/ 5789 w 18335"/>
                  <a:gd name="connsiteY3" fmla="*/ 637 h 18405"/>
                  <a:gd name="connsiteX4" fmla="*/ 645 w 18335"/>
                  <a:gd name="connsiteY4" fmla="*/ 12538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05">
                    <a:moveTo>
                      <a:pt x="645" y="12538"/>
                    </a:moveTo>
                    <a:cubicBezTo>
                      <a:pt x="2499" y="17263"/>
                      <a:pt x="7822" y="19596"/>
                      <a:pt x="12547" y="17801"/>
                    </a:cubicBezTo>
                    <a:cubicBezTo>
                      <a:pt x="17272" y="15947"/>
                      <a:pt x="19545" y="10624"/>
                      <a:pt x="17690" y="5840"/>
                    </a:cubicBezTo>
                    <a:cubicBezTo>
                      <a:pt x="15837" y="1115"/>
                      <a:pt x="10514" y="-1217"/>
                      <a:pt x="5789" y="637"/>
                    </a:cubicBezTo>
                    <a:cubicBezTo>
                      <a:pt x="1064" y="2431"/>
                      <a:pt x="-1209" y="7814"/>
                      <a:pt x="645" y="12538"/>
                    </a:cubicBezTo>
                    <a:close/>
                  </a:path>
                </a:pathLst>
              </a:custGeom>
              <a:grpFill/>
              <a:ln w="5978" cap="flat">
                <a:noFill/>
                <a:prstDash val="solid"/>
                <a:miter/>
              </a:ln>
            </p:spPr>
            <p:txBody>
              <a:bodyPr rtlCol="0" anchor="ctr"/>
              <a:lstStyle/>
              <a:p>
                <a:endParaRPr lang="en-GB"/>
              </a:p>
            </p:txBody>
          </p:sp>
        </p:grpSp>
        <p:grpSp>
          <p:nvGrpSpPr>
            <p:cNvPr id="605" name="Graphic 3">
              <a:extLst>
                <a:ext uri="{FF2B5EF4-FFF2-40B4-BE49-F238E27FC236}">
                  <a16:creationId xmlns:a16="http://schemas.microsoft.com/office/drawing/2014/main" id="{14F5E1AF-FD9F-4452-8DBF-D766AB741A0C}"/>
                </a:ext>
              </a:extLst>
            </p:cNvPr>
            <p:cNvGrpSpPr/>
            <p:nvPr/>
          </p:nvGrpSpPr>
          <p:grpSpPr>
            <a:xfrm>
              <a:off x="6944585" y="5049077"/>
              <a:ext cx="40149" cy="58195"/>
              <a:chOff x="6944585" y="5049077"/>
              <a:chExt cx="40149" cy="58195"/>
            </a:xfrm>
            <a:grpFill/>
          </p:grpSpPr>
          <p:sp>
            <p:nvSpPr>
              <p:cNvPr id="3573" name="Vrije vorm: vorm 3572">
                <a:extLst>
                  <a:ext uri="{FF2B5EF4-FFF2-40B4-BE49-F238E27FC236}">
                    <a16:creationId xmlns:a16="http://schemas.microsoft.com/office/drawing/2014/main" id="{BA14CACC-1618-4353-AEA1-F561BA051D1C}"/>
                  </a:ext>
                </a:extLst>
              </p:cNvPr>
              <p:cNvSpPr/>
              <p:nvPr/>
            </p:nvSpPr>
            <p:spPr>
              <a:xfrm>
                <a:off x="6952190" y="5057159"/>
                <a:ext cx="24880" cy="42044"/>
              </a:xfrm>
              <a:custGeom>
                <a:avLst/>
                <a:gdLst>
                  <a:gd name="connsiteX0" fmla="*/ 24880 w 24880"/>
                  <a:gd name="connsiteY0" fmla="*/ 40609 h 42044"/>
                  <a:gd name="connsiteX1" fmla="*/ 22248 w 24880"/>
                  <a:gd name="connsiteY1" fmla="*/ 42045 h 42044"/>
                  <a:gd name="connsiteX2" fmla="*/ 0 w 24880"/>
                  <a:gd name="connsiteY2" fmla="*/ 1495 h 42044"/>
                  <a:gd name="connsiteX3" fmla="*/ 2692 w 24880"/>
                  <a:gd name="connsiteY3" fmla="*/ 0 h 42044"/>
                </a:gdLst>
                <a:ahLst/>
                <a:cxnLst>
                  <a:cxn ang="0">
                    <a:pos x="connsiteX0" y="connsiteY0"/>
                  </a:cxn>
                  <a:cxn ang="0">
                    <a:pos x="connsiteX1" y="connsiteY1"/>
                  </a:cxn>
                  <a:cxn ang="0">
                    <a:pos x="connsiteX2" y="connsiteY2"/>
                  </a:cxn>
                  <a:cxn ang="0">
                    <a:pos x="connsiteX3" y="connsiteY3"/>
                  </a:cxn>
                </a:cxnLst>
                <a:rect l="l" t="t" r="r" b="b"/>
                <a:pathLst>
                  <a:path w="24880" h="42044">
                    <a:moveTo>
                      <a:pt x="24880" y="40609"/>
                    </a:moveTo>
                    <a:lnTo>
                      <a:pt x="22248" y="42045"/>
                    </a:lnTo>
                    <a:lnTo>
                      <a:pt x="0" y="1495"/>
                    </a:lnTo>
                    <a:lnTo>
                      <a:pt x="2692" y="0"/>
                    </a:lnTo>
                    <a:close/>
                  </a:path>
                </a:pathLst>
              </a:custGeom>
              <a:grpFill/>
              <a:ln w="5978" cap="flat">
                <a:noFill/>
                <a:prstDash val="solid"/>
                <a:miter/>
              </a:ln>
            </p:spPr>
            <p:txBody>
              <a:bodyPr rtlCol="0" anchor="ctr"/>
              <a:lstStyle/>
              <a:p>
                <a:endParaRPr lang="en-GB"/>
              </a:p>
            </p:txBody>
          </p:sp>
          <p:sp>
            <p:nvSpPr>
              <p:cNvPr id="3574" name="Vrije vorm: vorm 3573">
                <a:extLst>
                  <a:ext uri="{FF2B5EF4-FFF2-40B4-BE49-F238E27FC236}">
                    <a16:creationId xmlns:a16="http://schemas.microsoft.com/office/drawing/2014/main" id="{F0A2D3FE-E7F4-4DE8-8B31-5BA7755C4C39}"/>
                  </a:ext>
                </a:extLst>
              </p:cNvPr>
              <p:cNvSpPr/>
              <p:nvPr/>
            </p:nvSpPr>
            <p:spPr>
              <a:xfrm>
                <a:off x="6966415" y="5088861"/>
                <a:ext cx="18319" cy="18411"/>
              </a:xfrm>
              <a:custGeom>
                <a:avLst/>
                <a:gdLst>
                  <a:gd name="connsiteX0" fmla="*/ 17174 w 18319"/>
                  <a:gd name="connsiteY0" fmla="*/ 4780 h 18411"/>
                  <a:gd name="connsiteX1" fmla="*/ 13586 w 18319"/>
                  <a:gd name="connsiteY1" fmla="*/ 17280 h 18411"/>
                  <a:gd name="connsiteX2" fmla="*/ 1146 w 18319"/>
                  <a:gd name="connsiteY2" fmla="*/ 13632 h 18411"/>
                  <a:gd name="connsiteX3" fmla="*/ 4734 w 18319"/>
                  <a:gd name="connsiteY3" fmla="*/ 1132 h 18411"/>
                  <a:gd name="connsiteX4" fmla="*/ 17174 w 18319"/>
                  <a:gd name="connsiteY4" fmla="*/ 4780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1">
                    <a:moveTo>
                      <a:pt x="17174" y="4780"/>
                    </a:moveTo>
                    <a:cubicBezTo>
                      <a:pt x="19626" y="9266"/>
                      <a:pt x="18011" y="14828"/>
                      <a:pt x="13586" y="17280"/>
                    </a:cubicBezTo>
                    <a:cubicBezTo>
                      <a:pt x="9160" y="19732"/>
                      <a:pt x="3598" y="18057"/>
                      <a:pt x="1146" y="13632"/>
                    </a:cubicBezTo>
                    <a:cubicBezTo>
                      <a:pt x="-1306" y="9146"/>
                      <a:pt x="309" y="3584"/>
                      <a:pt x="4734" y="1132"/>
                    </a:cubicBezTo>
                    <a:cubicBezTo>
                      <a:pt x="9160" y="-1320"/>
                      <a:pt x="14722" y="354"/>
                      <a:pt x="17174" y="4780"/>
                    </a:cubicBezTo>
                    <a:close/>
                  </a:path>
                </a:pathLst>
              </a:custGeom>
              <a:grpFill/>
              <a:ln w="5978" cap="flat">
                <a:noFill/>
                <a:prstDash val="solid"/>
                <a:miter/>
              </a:ln>
            </p:spPr>
            <p:txBody>
              <a:bodyPr rtlCol="0" anchor="ctr"/>
              <a:lstStyle/>
              <a:p>
                <a:endParaRPr lang="en-GB"/>
              </a:p>
            </p:txBody>
          </p:sp>
          <p:sp>
            <p:nvSpPr>
              <p:cNvPr id="3575" name="Vrije vorm: vorm 3574">
                <a:extLst>
                  <a:ext uri="{FF2B5EF4-FFF2-40B4-BE49-F238E27FC236}">
                    <a16:creationId xmlns:a16="http://schemas.microsoft.com/office/drawing/2014/main" id="{EA583C4A-B35E-48ED-A2EA-0E65BC9AE6C5}"/>
                  </a:ext>
                </a:extLst>
              </p:cNvPr>
              <p:cNvSpPr/>
              <p:nvPr/>
            </p:nvSpPr>
            <p:spPr>
              <a:xfrm>
                <a:off x="6944585" y="5049077"/>
                <a:ext cx="18319" cy="18435"/>
              </a:xfrm>
              <a:custGeom>
                <a:avLst/>
                <a:gdLst>
                  <a:gd name="connsiteX0" fmla="*/ 17174 w 18319"/>
                  <a:gd name="connsiteY0" fmla="*/ 4792 h 18435"/>
                  <a:gd name="connsiteX1" fmla="*/ 4734 w 18319"/>
                  <a:gd name="connsiteY1" fmla="*/ 1144 h 18435"/>
                  <a:gd name="connsiteX2" fmla="*/ 1146 w 18319"/>
                  <a:gd name="connsiteY2" fmla="*/ 13644 h 18435"/>
                  <a:gd name="connsiteX3" fmla="*/ 13586 w 18319"/>
                  <a:gd name="connsiteY3" fmla="*/ 17292 h 18435"/>
                  <a:gd name="connsiteX4" fmla="*/ 17174 w 18319"/>
                  <a:gd name="connsiteY4" fmla="*/ 479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35">
                    <a:moveTo>
                      <a:pt x="17174" y="4792"/>
                    </a:moveTo>
                    <a:cubicBezTo>
                      <a:pt x="14722" y="307"/>
                      <a:pt x="9160" y="-1308"/>
                      <a:pt x="4734" y="1144"/>
                    </a:cubicBezTo>
                    <a:cubicBezTo>
                      <a:pt x="309" y="3596"/>
                      <a:pt x="-1306" y="9158"/>
                      <a:pt x="1146" y="13644"/>
                    </a:cubicBezTo>
                    <a:cubicBezTo>
                      <a:pt x="3598" y="18129"/>
                      <a:pt x="9160" y="19744"/>
                      <a:pt x="13586" y="17292"/>
                    </a:cubicBezTo>
                    <a:cubicBezTo>
                      <a:pt x="18011" y="14840"/>
                      <a:pt x="19626" y="9278"/>
                      <a:pt x="17174" y="4792"/>
                    </a:cubicBezTo>
                    <a:close/>
                  </a:path>
                </a:pathLst>
              </a:custGeom>
              <a:grpFill/>
              <a:ln w="5978" cap="flat">
                <a:noFill/>
                <a:prstDash val="solid"/>
                <a:miter/>
              </a:ln>
            </p:spPr>
            <p:txBody>
              <a:bodyPr rtlCol="0" anchor="ctr"/>
              <a:lstStyle/>
              <a:p>
                <a:endParaRPr lang="en-GB"/>
              </a:p>
            </p:txBody>
          </p:sp>
        </p:grpSp>
        <p:grpSp>
          <p:nvGrpSpPr>
            <p:cNvPr id="606" name="Graphic 3">
              <a:extLst>
                <a:ext uri="{FF2B5EF4-FFF2-40B4-BE49-F238E27FC236}">
                  <a16:creationId xmlns:a16="http://schemas.microsoft.com/office/drawing/2014/main" id="{FC4A1472-B636-4D31-8764-4BBAB8BC914C}"/>
                </a:ext>
              </a:extLst>
            </p:cNvPr>
            <p:cNvGrpSpPr/>
            <p:nvPr/>
          </p:nvGrpSpPr>
          <p:grpSpPr>
            <a:xfrm>
              <a:off x="5787949" y="1573236"/>
              <a:ext cx="42053" cy="187128"/>
              <a:chOff x="5787949" y="1573236"/>
              <a:chExt cx="42053" cy="187128"/>
            </a:xfrm>
            <a:grpFill/>
          </p:grpSpPr>
          <p:sp>
            <p:nvSpPr>
              <p:cNvPr id="3570" name="Vrije vorm: vorm 3569">
                <a:extLst>
                  <a:ext uri="{FF2B5EF4-FFF2-40B4-BE49-F238E27FC236}">
                    <a16:creationId xmlns:a16="http://schemas.microsoft.com/office/drawing/2014/main" id="{7DAE3487-DC21-4934-BD1E-5C9F1CD0480E}"/>
                  </a:ext>
                </a:extLst>
              </p:cNvPr>
              <p:cNvSpPr/>
              <p:nvPr/>
            </p:nvSpPr>
            <p:spPr>
              <a:xfrm>
                <a:off x="5795828" y="1581640"/>
                <a:ext cx="26872" cy="169992"/>
              </a:xfrm>
              <a:custGeom>
                <a:avLst/>
                <a:gdLst>
                  <a:gd name="connsiteX0" fmla="*/ 0 w 26872"/>
                  <a:gd name="connsiteY0" fmla="*/ 425 h 169992"/>
                  <a:gd name="connsiteX1" fmla="*/ 3021 w 26872"/>
                  <a:gd name="connsiteY1" fmla="*/ 0 h 169992"/>
                  <a:gd name="connsiteX2" fmla="*/ 26873 w 26872"/>
                  <a:gd name="connsiteY2" fmla="*/ 169567 h 169992"/>
                  <a:gd name="connsiteX3" fmla="*/ 23852 w 26872"/>
                  <a:gd name="connsiteY3" fmla="*/ 169992 h 169992"/>
                </a:gdLst>
                <a:ahLst/>
                <a:cxnLst>
                  <a:cxn ang="0">
                    <a:pos x="connsiteX0" y="connsiteY0"/>
                  </a:cxn>
                  <a:cxn ang="0">
                    <a:pos x="connsiteX1" y="connsiteY1"/>
                  </a:cxn>
                  <a:cxn ang="0">
                    <a:pos x="connsiteX2" y="connsiteY2"/>
                  </a:cxn>
                  <a:cxn ang="0">
                    <a:pos x="connsiteX3" y="connsiteY3"/>
                  </a:cxn>
                </a:cxnLst>
                <a:rect l="l" t="t" r="r" b="b"/>
                <a:pathLst>
                  <a:path w="26872" h="169992">
                    <a:moveTo>
                      <a:pt x="0" y="425"/>
                    </a:moveTo>
                    <a:lnTo>
                      <a:pt x="3021" y="0"/>
                    </a:lnTo>
                    <a:lnTo>
                      <a:pt x="26873" y="169567"/>
                    </a:lnTo>
                    <a:lnTo>
                      <a:pt x="23852" y="169992"/>
                    </a:lnTo>
                    <a:close/>
                  </a:path>
                </a:pathLst>
              </a:custGeom>
              <a:grpFill/>
              <a:ln w="5978" cap="flat">
                <a:noFill/>
                <a:prstDash val="solid"/>
                <a:miter/>
              </a:ln>
            </p:spPr>
            <p:txBody>
              <a:bodyPr rtlCol="0" anchor="ctr"/>
              <a:lstStyle/>
              <a:p>
                <a:endParaRPr lang="en-GB"/>
              </a:p>
            </p:txBody>
          </p:sp>
          <p:sp>
            <p:nvSpPr>
              <p:cNvPr id="3571" name="Vrije vorm: vorm 3570">
                <a:extLst>
                  <a:ext uri="{FF2B5EF4-FFF2-40B4-BE49-F238E27FC236}">
                    <a16:creationId xmlns:a16="http://schemas.microsoft.com/office/drawing/2014/main" id="{E892E94C-E8CC-4450-A616-E82A0DA1FE74}"/>
                  </a:ext>
                </a:extLst>
              </p:cNvPr>
              <p:cNvSpPr/>
              <p:nvPr/>
            </p:nvSpPr>
            <p:spPr>
              <a:xfrm>
                <a:off x="5787949" y="1573236"/>
                <a:ext cx="18309" cy="18472"/>
              </a:xfrm>
              <a:custGeom>
                <a:avLst/>
                <a:gdLst>
                  <a:gd name="connsiteX0" fmla="*/ 94 w 18309"/>
                  <a:gd name="connsiteY0" fmla="*/ 10499 h 18472"/>
                  <a:gd name="connsiteX1" fmla="*/ 7869 w 18309"/>
                  <a:gd name="connsiteY1" fmla="*/ 93 h 18472"/>
                  <a:gd name="connsiteX2" fmla="*/ 18215 w 18309"/>
                  <a:gd name="connsiteY2" fmla="*/ 7987 h 18472"/>
                  <a:gd name="connsiteX3" fmla="*/ 10441 w 18309"/>
                  <a:gd name="connsiteY3" fmla="*/ 18394 h 18472"/>
                  <a:gd name="connsiteX4" fmla="*/ 94 w 18309"/>
                  <a:gd name="connsiteY4" fmla="*/ 10499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72">
                    <a:moveTo>
                      <a:pt x="94" y="10499"/>
                    </a:moveTo>
                    <a:cubicBezTo>
                      <a:pt x="-624" y="5475"/>
                      <a:pt x="2845" y="810"/>
                      <a:pt x="7869" y="93"/>
                    </a:cubicBezTo>
                    <a:cubicBezTo>
                      <a:pt x="12892" y="-625"/>
                      <a:pt x="17498" y="2904"/>
                      <a:pt x="18215" y="7987"/>
                    </a:cubicBezTo>
                    <a:cubicBezTo>
                      <a:pt x="18933" y="13011"/>
                      <a:pt x="15465" y="17676"/>
                      <a:pt x="10441" y="18394"/>
                    </a:cubicBezTo>
                    <a:cubicBezTo>
                      <a:pt x="5476" y="19052"/>
                      <a:pt x="812" y="15523"/>
                      <a:pt x="94" y="10499"/>
                    </a:cubicBezTo>
                    <a:close/>
                  </a:path>
                </a:pathLst>
              </a:custGeom>
              <a:grpFill/>
              <a:ln w="5978" cap="flat">
                <a:noFill/>
                <a:prstDash val="solid"/>
                <a:miter/>
              </a:ln>
            </p:spPr>
            <p:txBody>
              <a:bodyPr rtlCol="0" anchor="ctr"/>
              <a:lstStyle/>
              <a:p>
                <a:endParaRPr lang="en-GB"/>
              </a:p>
            </p:txBody>
          </p:sp>
          <p:sp>
            <p:nvSpPr>
              <p:cNvPr id="3572" name="Vrije vorm: vorm 3571">
                <a:extLst>
                  <a:ext uri="{FF2B5EF4-FFF2-40B4-BE49-F238E27FC236}">
                    <a16:creationId xmlns:a16="http://schemas.microsoft.com/office/drawing/2014/main" id="{0D56C2F0-4C8A-4EFA-88CC-61A09B6FB836}"/>
                  </a:ext>
                </a:extLst>
              </p:cNvPr>
              <p:cNvSpPr/>
              <p:nvPr/>
            </p:nvSpPr>
            <p:spPr>
              <a:xfrm>
                <a:off x="5811692" y="1741905"/>
                <a:ext cx="18309" cy="18459"/>
              </a:xfrm>
              <a:custGeom>
                <a:avLst/>
                <a:gdLst>
                  <a:gd name="connsiteX0" fmla="*/ 94 w 18309"/>
                  <a:gd name="connsiteY0" fmla="*/ 10486 h 18459"/>
                  <a:gd name="connsiteX1" fmla="*/ 10441 w 18309"/>
                  <a:gd name="connsiteY1" fmla="*/ 18381 h 18459"/>
                  <a:gd name="connsiteX2" fmla="*/ 18216 w 18309"/>
                  <a:gd name="connsiteY2" fmla="*/ 7975 h 18459"/>
                  <a:gd name="connsiteX3" fmla="*/ 7869 w 18309"/>
                  <a:gd name="connsiteY3" fmla="*/ 80 h 18459"/>
                  <a:gd name="connsiteX4" fmla="*/ 94 w 18309"/>
                  <a:gd name="connsiteY4" fmla="*/ 10486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59">
                    <a:moveTo>
                      <a:pt x="94" y="10486"/>
                    </a:moveTo>
                    <a:cubicBezTo>
                      <a:pt x="812" y="15510"/>
                      <a:pt x="5417" y="19039"/>
                      <a:pt x="10441" y="18381"/>
                    </a:cubicBezTo>
                    <a:cubicBezTo>
                      <a:pt x="15464" y="17663"/>
                      <a:pt x="18933" y="13058"/>
                      <a:pt x="18216" y="7975"/>
                    </a:cubicBezTo>
                    <a:cubicBezTo>
                      <a:pt x="17498" y="2891"/>
                      <a:pt x="12893" y="-578"/>
                      <a:pt x="7869" y="80"/>
                    </a:cubicBezTo>
                    <a:cubicBezTo>
                      <a:pt x="2845" y="798"/>
                      <a:pt x="-624" y="5403"/>
                      <a:pt x="94" y="10486"/>
                    </a:cubicBezTo>
                    <a:close/>
                  </a:path>
                </a:pathLst>
              </a:custGeom>
              <a:grpFill/>
              <a:ln w="5978" cap="flat">
                <a:noFill/>
                <a:prstDash val="solid"/>
                <a:miter/>
              </a:ln>
            </p:spPr>
            <p:txBody>
              <a:bodyPr rtlCol="0" anchor="ctr"/>
              <a:lstStyle/>
              <a:p>
                <a:endParaRPr lang="en-GB"/>
              </a:p>
            </p:txBody>
          </p:sp>
        </p:grpSp>
        <p:grpSp>
          <p:nvGrpSpPr>
            <p:cNvPr id="607" name="Graphic 3">
              <a:extLst>
                <a:ext uri="{FF2B5EF4-FFF2-40B4-BE49-F238E27FC236}">
                  <a16:creationId xmlns:a16="http://schemas.microsoft.com/office/drawing/2014/main" id="{E9893063-B887-410F-AD02-E6DAAAED1F47}"/>
                </a:ext>
              </a:extLst>
            </p:cNvPr>
            <p:cNvGrpSpPr/>
            <p:nvPr/>
          </p:nvGrpSpPr>
          <p:grpSpPr>
            <a:xfrm>
              <a:off x="6899132" y="4966005"/>
              <a:ext cx="54921" cy="85348"/>
              <a:chOff x="6899132" y="4966005"/>
              <a:chExt cx="54921" cy="85348"/>
            </a:xfrm>
            <a:grpFill/>
          </p:grpSpPr>
          <p:sp>
            <p:nvSpPr>
              <p:cNvPr id="3567" name="Vrije vorm: vorm 3566">
                <a:extLst>
                  <a:ext uri="{FF2B5EF4-FFF2-40B4-BE49-F238E27FC236}">
                    <a16:creationId xmlns:a16="http://schemas.microsoft.com/office/drawing/2014/main" id="{C71F44FD-A9E4-41D4-9CBD-1131A19209A2}"/>
                  </a:ext>
                </a:extLst>
              </p:cNvPr>
              <p:cNvSpPr/>
              <p:nvPr/>
            </p:nvSpPr>
            <p:spPr>
              <a:xfrm>
                <a:off x="6906737" y="4974086"/>
                <a:ext cx="39712" cy="69196"/>
              </a:xfrm>
              <a:custGeom>
                <a:avLst/>
                <a:gdLst>
                  <a:gd name="connsiteX0" fmla="*/ 39712 w 39712"/>
                  <a:gd name="connsiteY0" fmla="*/ 67702 h 69196"/>
                  <a:gd name="connsiteX1" fmla="*/ 37080 w 39712"/>
                  <a:gd name="connsiteY1" fmla="*/ 69197 h 69196"/>
                  <a:gd name="connsiteX2" fmla="*/ 0 w 39712"/>
                  <a:gd name="connsiteY2" fmla="*/ 1436 h 69196"/>
                  <a:gd name="connsiteX3" fmla="*/ 2631 w 39712"/>
                  <a:gd name="connsiteY3" fmla="*/ 0 h 69196"/>
                </a:gdLst>
                <a:ahLst/>
                <a:cxnLst>
                  <a:cxn ang="0">
                    <a:pos x="connsiteX0" y="connsiteY0"/>
                  </a:cxn>
                  <a:cxn ang="0">
                    <a:pos x="connsiteX1" y="connsiteY1"/>
                  </a:cxn>
                  <a:cxn ang="0">
                    <a:pos x="connsiteX2" y="connsiteY2"/>
                  </a:cxn>
                  <a:cxn ang="0">
                    <a:pos x="connsiteX3" y="connsiteY3"/>
                  </a:cxn>
                </a:cxnLst>
                <a:rect l="l" t="t" r="r" b="b"/>
                <a:pathLst>
                  <a:path w="39712" h="69196">
                    <a:moveTo>
                      <a:pt x="39712" y="67702"/>
                    </a:moveTo>
                    <a:lnTo>
                      <a:pt x="37080" y="69197"/>
                    </a:lnTo>
                    <a:lnTo>
                      <a:pt x="0" y="1436"/>
                    </a:lnTo>
                    <a:lnTo>
                      <a:pt x="2631" y="0"/>
                    </a:lnTo>
                    <a:close/>
                  </a:path>
                </a:pathLst>
              </a:custGeom>
              <a:grpFill/>
              <a:ln w="5978" cap="flat">
                <a:noFill/>
                <a:prstDash val="solid"/>
                <a:miter/>
              </a:ln>
            </p:spPr>
            <p:txBody>
              <a:bodyPr rtlCol="0" anchor="ctr"/>
              <a:lstStyle/>
              <a:p>
                <a:endParaRPr lang="en-GB"/>
              </a:p>
            </p:txBody>
          </p:sp>
          <p:sp>
            <p:nvSpPr>
              <p:cNvPr id="3568" name="Vrije vorm: vorm 3567">
                <a:extLst>
                  <a:ext uri="{FF2B5EF4-FFF2-40B4-BE49-F238E27FC236}">
                    <a16:creationId xmlns:a16="http://schemas.microsoft.com/office/drawing/2014/main" id="{AB2608B4-2610-4853-BE46-88F59B764E2A}"/>
                  </a:ext>
                </a:extLst>
              </p:cNvPr>
              <p:cNvSpPr/>
              <p:nvPr/>
            </p:nvSpPr>
            <p:spPr>
              <a:xfrm>
                <a:off x="6935734" y="5032929"/>
                <a:ext cx="18319" cy="18423"/>
              </a:xfrm>
              <a:custGeom>
                <a:avLst/>
                <a:gdLst>
                  <a:gd name="connsiteX0" fmla="*/ 17174 w 18319"/>
                  <a:gd name="connsiteY0" fmla="*/ 4792 h 18423"/>
                  <a:gd name="connsiteX1" fmla="*/ 13586 w 18319"/>
                  <a:gd name="connsiteY1" fmla="*/ 17292 h 18423"/>
                  <a:gd name="connsiteX2" fmla="*/ 1146 w 18319"/>
                  <a:gd name="connsiteY2" fmla="*/ 13644 h 18423"/>
                  <a:gd name="connsiteX3" fmla="*/ 4734 w 18319"/>
                  <a:gd name="connsiteY3" fmla="*/ 1144 h 18423"/>
                  <a:gd name="connsiteX4" fmla="*/ 17174 w 18319"/>
                  <a:gd name="connsiteY4" fmla="*/ 47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23">
                    <a:moveTo>
                      <a:pt x="17174" y="4792"/>
                    </a:moveTo>
                    <a:cubicBezTo>
                      <a:pt x="19626" y="9278"/>
                      <a:pt x="18011" y="14840"/>
                      <a:pt x="13586" y="17292"/>
                    </a:cubicBezTo>
                    <a:cubicBezTo>
                      <a:pt x="9160" y="19744"/>
                      <a:pt x="3598" y="18070"/>
                      <a:pt x="1146" y="13644"/>
                    </a:cubicBezTo>
                    <a:cubicBezTo>
                      <a:pt x="-1306" y="9158"/>
                      <a:pt x="309" y="3596"/>
                      <a:pt x="4734" y="1144"/>
                    </a:cubicBezTo>
                    <a:cubicBezTo>
                      <a:pt x="9160" y="-1308"/>
                      <a:pt x="14722" y="307"/>
                      <a:pt x="17174" y="4792"/>
                    </a:cubicBezTo>
                    <a:close/>
                  </a:path>
                </a:pathLst>
              </a:custGeom>
              <a:grpFill/>
              <a:ln w="5978" cap="flat">
                <a:noFill/>
                <a:prstDash val="solid"/>
                <a:miter/>
              </a:ln>
            </p:spPr>
            <p:txBody>
              <a:bodyPr rtlCol="0" anchor="ctr"/>
              <a:lstStyle/>
              <a:p>
                <a:endParaRPr lang="en-GB"/>
              </a:p>
            </p:txBody>
          </p:sp>
          <p:sp>
            <p:nvSpPr>
              <p:cNvPr id="3569" name="Vrije vorm: vorm 3568">
                <a:extLst>
                  <a:ext uri="{FF2B5EF4-FFF2-40B4-BE49-F238E27FC236}">
                    <a16:creationId xmlns:a16="http://schemas.microsoft.com/office/drawing/2014/main" id="{6890D734-5D29-4D89-924F-4B664AD751A4}"/>
                  </a:ext>
                </a:extLst>
              </p:cNvPr>
              <p:cNvSpPr/>
              <p:nvPr/>
            </p:nvSpPr>
            <p:spPr>
              <a:xfrm>
                <a:off x="6899132" y="4966005"/>
                <a:ext cx="18319" cy="18436"/>
              </a:xfrm>
              <a:custGeom>
                <a:avLst/>
                <a:gdLst>
                  <a:gd name="connsiteX0" fmla="*/ 17174 w 18319"/>
                  <a:gd name="connsiteY0" fmla="*/ 4792 h 18436"/>
                  <a:gd name="connsiteX1" fmla="*/ 4734 w 18319"/>
                  <a:gd name="connsiteY1" fmla="*/ 1144 h 18436"/>
                  <a:gd name="connsiteX2" fmla="*/ 1146 w 18319"/>
                  <a:gd name="connsiteY2" fmla="*/ 13644 h 18436"/>
                  <a:gd name="connsiteX3" fmla="*/ 13586 w 18319"/>
                  <a:gd name="connsiteY3" fmla="*/ 17292 h 18436"/>
                  <a:gd name="connsiteX4" fmla="*/ 17174 w 18319"/>
                  <a:gd name="connsiteY4" fmla="*/ 47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36">
                    <a:moveTo>
                      <a:pt x="17174" y="4792"/>
                    </a:moveTo>
                    <a:cubicBezTo>
                      <a:pt x="14722" y="307"/>
                      <a:pt x="9160" y="-1308"/>
                      <a:pt x="4734" y="1144"/>
                    </a:cubicBezTo>
                    <a:cubicBezTo>
                      <a:pt x="309" y="3596"/>
                      <a:pt x="-1306" y="9158"/>
                      <a:pt x="1146" y="13644"/>
                    </a:cubicBezTo>
                    <a:cubicBezTo>
                      <a:pt x="3598" y="18129"/>
                      <a:pt x="9160" y="19744"/>
                      <a:pt x="13586" y="17292"/>
                    </a:cubicBezTo>
                    <a:cubicBezTo>
                      <a:pt x="18011" y="14840"/>
                      <a:pt x="19626" y="9278"/>
                      <a:pt x="17174" y="4792"/>
                    </a:cubicBezTo>
                    <a:close/>
                  </a:path>
                </a:pathLst>
              </a:custGeom>
              <a:grpFill/>
              <a:ln w="5978" cap="flat">
                <a:noFill/>
                <a:prstDash val="solid"/>
                <a:miter/>
              </a:ln>
            </p:spPr>
            <p:txBody>
              <a:bodyPr rtlCol="0" anchor="ctr"/>
              <a:lstStyle/>
              <a:p>
                <a:endParaRPr lang="en-GB"/>
              </a:p>
            </p:txBody>
          </p:sp>
        </p:grpSp>
        <p:grpSp>
          <p:nvGrpSpPr>
            <p:cNvPr id="608" name="Graphic 3">
              <a:extLst>
                <a:ext uri="{FF2B5EF4-FFF2-40B4-BE49-F238E27FC236}">
                  <a16:creationId xmlns:a16="http://schemas.microsoft.com/office/drawing/2014/main" id="{C1894B41-59E6-4111-BFE4-4A1BA447F497}"/>
                </a:ext>
              </a:extLst>
            </p:cNvPr>
            <p:cNvGrpSpPr/>
            <p:nvPr/>
          </p:nvGrpSpPr>
          <p:grpSpPr>
            <a:xfrm>
              <a:off x="6856528" y="4890395"/>
              <a:ext cx="135788" cy="306194"/>
              <a:chOff x="6856528" y="4890395"/>
              <a:chExt cx="135788" cy="306194"/>
            </a:xfrm>
            <a:grpFill/>
          </p:grpSpPr>
          <p:sp>
            <p:nvSpPr>
              <p:cNvPr id="3564" name="Vrije vorm: vorm 3563">
                <a:extLst>
                  <a:ext uri="{FF2B5EF4-FFF2-40B4-BE49-F238E27FC236}">
                    <a16:creationId xmlns:a16="http://schemas.microsoft.com/office/drawing/2014/main" id="{3B609624-5D83-418A-99AA-2A8968F26BD3}"/>
                  </a:ext>
                </a:extLst>
              </p:cNvPr>
              <p:cNvSpPr/>
              <p:nvPr/>
            </p:nvSpPr>
            <p:spPr>
              <a:xfrm>
                <a:off x="6864269" y="4899017"/>
                <a:ext cx="120838" cy="289678"/>
              </a:xfrm>
              <a:custGeom>
                <a:avLst/>
                <a:gdLst>
                  <a:gd name="connsiteX0" fmla="*/ 0 w 120838"/>
                  <a:gd name="connsiteY0" fmla="*/ 1155 h 289678"/>
                  <a:gd name="connsiteX1" fmla="*/ 2823 w 120838"/>
                  <a:gd name="connsiteY1" fmla="*/ 0 h 289678"/>
                  <a:gd name="connsiteX2" fmla="*/ 120839 w 120838"/>
                  <a:gd name="connsiteY2" fmla="*/ 288524 h 289678"/>
                  <a:gd name="connsiteX3" fmla="*/ 118015 w 120838"/>
                  <a:gd name="connsiteY3" fmla="*/ 289679 h 289678"/>
                </a:gdLst>
                <a:ahLst/>
                <a:cxnLst>
                  <a:cxn ang="0">
                    <a:pos x="connsiteX0" y="connsiteY0"/>
                  </a:cxn>
                  <a:cxn ang="0">
                    <a:pos x="connsiteX1" y="connsiteY1"/>
                  </a:cxn>
                  <a:cxn ang="0">
                    <a:pos x="connsiteX2" y="connsiteY2"/>
                  </a:cxn>
                  <a:cxn ang="0">
                    <a:pos x="connsiteX3" y="connsiteY3"/>
                  </a:cxn>
                </a:cxnLst>
                <a:rect l="l" t="t" r="r" b="b"/>
                <a:pathLst>
                  <a:path w="120838" h="289678">
                    <a:moveTo>
                      <a:pt x="0" y="1155"/>
                    </a:moveTo>
                    <a:lnTo>
                      <a:pt x="2823" y="0"/>
                    </a:lnTo>
                    <a:lnTo>
                      <a:pt x="120839" y="288524"/>
                    </a:lnTo>
                    <a:lnTo>
                      <a:pt x="118015" y="289679"/>
                    </a:lnTo>
                    <a:close/>
                  </a:path>
                </a:pathLst>
              </a:custGeom>
              <a:grpFill/>
              <a:ln w="5978" cap="flat">
                <a:noFill/>
                <a:prstDash val="solid"/>
                <a:miter/>
              </a:ln>
            </p:spPr>
            <p:txBody>
              <a:bodyPr rtlCol="0" anchor="ctr"/>
              <a:lstStyle/>
              <a:p>
                <a:endParaRPr lang="en-GB"/>
              </a:p>
            </p:txBody>
          </p:sp>
          <p:sp>
            <p:nvSpPr>
              <p:cNvPr id="3565" name="Vrije vorm: vorm 3564">
                <a:extLst>
                  <a:ext uri="{FF2B5EF4-FFF2-40B4-BE49-F238E27FC236}">
                    <a16:creationId xmlns:a16="http://schemas.microsoft.com/office/drawing/2014/main" id="{AF51D0F1-9A3D-473B-ABEB-7160C900B8BE}"/>
                  </a:ext>
                </a:extLst>
              </p:cNvPr>
              <p:cNvSpPr/>
              <p:nvPr/>
            </p:nvSpPr>
            <p:spPr>
              <a:xfrm>
                <a:off x="6856528" y="4890395"/>
                <a:ext cx="18301" cy="18462"/>
              </a:xfrm>
              <a:custGeom>
                <a:avLst/>
                <a:gdLst>
                  <a:gd name="connsiteX0" fmla="*/ 688 w 18301"/>
                  <a:gd name="connsiteY0" fmla="*/ 12700 h 18462"/>
                  <a:gd name="connsiteX1" fmla="*/ 5652 w 18301"/>
                  <a:gd name="connsiteY1" fmla="*/ 678 h 18462"/>
                  <a:gd name="connsiteX2" fmla="*/ 17614 w 18301"/>
                  <a:gd name="connsiteY2" fmla="*/ 5762 h 18462"/>
                  <a:gd name="connsiteX3" fmla="*/ 12649 w 18301"/>
                  <a:gd name="connsiteY3" fmla="*/ 17784 h 18462"/>
                  <a:gd name="connsiteX4" fmla="*/ 688 w 18301"/>
                  <a:gd name="connsiteY4" fmla="*/ 12700 h 1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2">
                    <a:moveTo>
                      <a:pt x="688" y="12700"/>
                    </a:moveTo>
                    <a:cubicBezTo>
                      <a:pt x="-1226" y="7975"/>
                      <a:pt x="987" y="2592"/>
                      <a:pt x="5652" y="678"/>
                    </a:cubicBezTo>
                    <a:cubicBezTo>
                      <a:pt x="10317" y="-1235"/>
                      <a:pt x="15700" y="1037"/>
                      <a:pt x="17614" y="5762"/>
                    </a:cubicBezTo>
                    <a:cubicBezTo>
                      <a:pt x="19527" y="10487"/>
                      <a:pt x="17315" y="15870"/>
                      <a:pt x="12649" y="17784"/>
                    </a:cubicBezTo>
                    <a:cubicBezTo>
                      <a:pt x="7984" y="19697"/>
                      <a:pt x="2602" y="17425"/>
                      <a:pt x="688" y="12700"/>
                    </a:cubicBezTo>
                    <a:close/>
                  </a:path>
                </a:pathLst>
              </a:custGeom>
              <a:grpFill/>
              <a:ln w="5978" cap="flat">
                <a:noFill/>
                <a:prstDash val="solid"/>
                <a:miter/>
              </a:ln>
            </p:spPr>
            <p:txBody>
              <a:bodyPr rtlCol="0" anchor="ctr"/>
              <a:lstStyle/>
              <a:p>
                <a:endParaRPr lang="en-GB"/>
              </a:p>
            </p:txBody>
          </p:sp>
          <p:sp>
            <p:nvSpPr>
              <p:cNvPr id="3566" name="Vrije vorm: vorm 3565">
                <a:extLst>
                  <a:ext uri="{FF2B5EF4-FFF2-40B4-BE49-F238E27FC236}">
                    <a16:creationId xmlns:a16="http://schemas.microsoft.com/office/drawing/2014/main" id="{90B4E575-9515-4CD1-A8B2-882ADB27BFA0}"/>
                  </a:ext>
                </a:extLst>
              </p:cNvPr>
              <p:cNvSpPr/>
              <p:nvPr/>
            </p:nvSpPr>
            <p:spPr>
              <a:xfrm>
                <a:off x="6973998" y="5178128"/>
                <a:ext cx="18318" cy="18461"/>
              </a:xfrm>
              <a:custGeom>
                <a:avLst/>
                <a:gdLst>
                  <a:gd name="connsiteX0" fmla="*/ 680 w 18318"/>
                  <a:gd name="connsiteY0" fmla="*/ 12700 h 18461"/>
                  <a:gd name="connsiteX1" fmla="*/ 12641 w 18318"/>
                  <a:gd name="connsiteY1" fmla="*/ 17783 h 18461"/>
                  <a:gd name="connsiteX2" fmla="*/ 17605 w 18318"/>
                  <a:gd name="connsiteY2" fmla="*/ 5762 h 18461"/>
                  <a:gd name="connsiteX3" fmla="*/ 5644 w 18318"/>
                  <a:gd name="connsiteY3" fmla="*/ 679 h 18461"/>
                  <a:gd name="connsiteX4" fmla="*/ 680 w 18318"/>
                  <a:gd name="connsiteY4" fmla="*/ 12700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61">
                    <a:moveTo>
                      <a:pt x="680" y="12700"/>
                    </a:moveTo>
                    <a:cubicBezTo>
                      <a:pt x="2594" y="17424"/>
                      <a:pt x="7976" y="19697"/>
                      <a:pt x="12641" y="17783"/>
                    </a:cubicBezTo>
                    <a:cubicBezTo>
                      <a:pt x="17307" y="15869"/>
                      <a:pt x="19579" y="10487"/>
                      <a:pt x="17605" y="5762"/>
                    </a:cubicBezTo>
                    <a:cubicBezTo>
                      <a:pt x="15692" y="1037"/>
                      <a:pt x="10309" y="-1235"/>
                      <a:pt x="5644" y="679"/>
                    </a:cubicBezTo>
                    <a:cubicBezTo>
                      <a:pt x="1039" y="2592"/>
                      <a:pt x="-1234" y="7975"/>
                      <a:pt x="680" y="12700"/>
                    </a:cubicBezTo>
                    <a:close/>
                  </a:path>
                </a:pathLst>
              </a:custGeom>
              <a:grpFill/>
              <a:ln w="5978" cap="flat">
                <a:noFill/>
                <a:prstDash val="solid"/>
                <a:miter/>
              </a:ln>
            </p:spPr>
            <p:txBody>
              <a:bodyPr rtlCol="0" anchor="ctr"/>
              <a:lstStyle/>
              <a:p>
                <a:endParaRPr lang="en-GB"/>
              </a:p>
            </p:txBody>
          </p:sp>
        </p:grpSp>
        <p:grpSp>
          <p:nvGrpSpPr>
            <p:cNvPr id="609" name="Graphic 3">
              <a:extLst>
                <a:ext uri="{FF2B5EF4-FFF2-40B4-BE49-F238E27FC236}">
                  <a16:creationId xmlns:a16="http://schemas.microsoft.com/office/drawing/2014/main" id="{86E93204-9797-45D7-9593-22D2AFC012FA}"/>
                </a:ext>
              </a:extLst>
            </p:cNvPr>
            <p:cNvGrpSpPr/>
            <p:nvPr/>
          </p:nvGrpSpPr>
          <p:grpSpPr>
            <a:xfrm>
              <a:off x="6936222" y="5107829"/>
              <a:ext cx="55294" cy="89119"/>
              <a:chOff x="6936222" y="5107829"/>
              <a:chExt cx="55294" cy="89119"/>
            </a:xfrm>
            <a:grpFill/>
          </p:grpSpPr>
          <p:sp>
            <p:nvSpPr>
              <p:cNvPr id="3561" name="Vrije vorm: vorm 3560">
                <a:extLst>
                  <a:ext uri="{FF2B5EF4-FFF2-40B4-BE49-F238E27FC236}">
                    <a16:creationId xmlns:a16="http://schemas.microsoft.com/office/drawing/2014/main" id="{1A1E179A-7EA7-412F-BC19-B43782C21BDD}"/>
                  </a:ext>
                </a:extLst>
              </p:cNvPr>
              <p:cNvSpPr/>
              <p:nvPr/>
            </p:nvSpPr>
            <p:spPr>
              <a:xfrm>
                <a:off x="6943817" y="5115889"/>
                <a:ext cx="40131" cy="72964"/>
              </a:xfrm>
              <a:custGeom>
                <a:avLst/>
                <a:gdLst>
                  <a:gd name="connsiteX0" fmla="*/ 40131 w 40131"/>
                  <a:gd name="connsiteY0" fmla="*/ 71530 h 72964"/>
                  <a:gd name="connsiteX1" fmla="*/ 37439 w 40131"/>
                  <a:gd name="connsiteY1" fmla="*/ 72965 h 72964"/>
                  <a:gd name="connsiteX2" fmla="*/ 0 w 40131"/>
                  <a:gd name="connsiteY2" fmla="*/ 1435 h 72964"/>
                  <a:gd name="connsiteX3" fmla="*/ 2692 w 40131"/>
                  <a:gd name="connsiteY3" fmla="*/ 0 h 72964"/>
                </a:gdLst>
                <a:ahLst/>
                <a:cxnLst>
                  <a:cxn ang="0">
                    <a:pos x="connsiteX0" y="connsiteY0"/>
                  </a:cxn>
                  <a:cxn ang="0">
                    <a:pos x="connsiteX1" y="connsiteY1"/>
                  </a:cxn>
                  <a:cxn ang="0">
                    <a:pos x="connsiteX2" y="connsiteY2"/>
                  </a:cxn>
                  <a:cxn ang="0">
                    <a:pos x="connsiteX3" y="connsiteY3"/>
                  </a:cxn>
                </a:cxnLst>
                <a:rect l="l" t="t" r="r" b="b"/>
                <a:pathLst>
                  <a:path w="40131" h="72964">
                    <a:moveTo>
                      <a:pt x="40131" y="71530"/>
                    </a:moveTo>
                    <a:lnTo>
                      <a:pt x="37439" y="72965"/>
                    </a:lnTo>
                    <a:lnTo>
                      <a:pt x="0" y="1435"/>
                    </a:lnTo>
                    <a:lnTo>
                      <a:pt x="2692" y="0"/>
                    </a:lnTo>
                    <a:close/>
                  </a:path>
                </a:pathLst>
              </a:custGeom>
              <a:grpFill/>
              <a:ln w="5978" cap="flat">
                <a:noFill/>
                <a:prstDash val="solid"/>
                <a:miter/>
              </a:ln>
            </p:spPr>
            <p:txBody>
              <a:bodyPr rtlCol="0" anchor="ctr"/>
              <a:lstStyle/>
              <a:p>
                <a:endParaRPr lang="en-GB"/>
              </a:p>
            </p:txBody>
          </p:sp>
          <p:sp>
            <p:nvSpPr>
              <p:cNvPr id="3562" name="Vrije vorm: vorm 3561">
                <a:extLst>
                  <a:ext uri="{FF2B5EF4-FFF2-40B4-BE49-F238E27FC236}">
                    <a16:creationId xmlns:a16="http://schemas.microsoft.com/office/drawing/2014/main" id="{739DF00A-B1C5-4916-A0E8-FB5D3B19A610}"/>
                  </a:ext>
                </a:extLst>
              </p:cNvPr>
              <p:cNvSpPr/>
              <p:nvPr/>
            </p:nvSpPr>
            <p:spPr>
              <a:xfrm>
                <a:off x="6973209" y="5178509"/>
                <a:ext cx="18307" cy="18438"/>
              </a:xfrm>
              <a:custGeom>
                <a:avLst/>
                <a:gdLst>
                  <a:gd name="connsiteX0" fmla="*/ 17257 w 18307"/>
                  <a:gd name="connsiteY0" fmla="*/ 4962 h 18438"/>
                  <a:gd name="connsiteX1" fmla="*/ 13430 w 18307"/>
                  <a:gd name="connsiteY1" fmla="*/ 17402 h 18438"/>
                  <a:gd name="connsiteX2" fmla="*/ 1050 w 18307"/>
                  <a:gd name="connsiteY2" fmla="*/ 13514 h 18438"/>
                  <a:gd name="connsiteX3" fmla="*/ 4878 w 18307"/>
                  <a:gd name="connsiteY3" fmla="*/ 1075 h 18438"/>
                  <a:gd name="connsiteX4" fmla="*/ 17257 w 18307"/>
                  <a:gd name="connsiteY4" fmla="*/ 496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17257" y="4962"/>
                    </a:moveTo>
                    <a:cubicBezTo>
                      <a:pt x="19590" y="9448"/>
                      <a:pt x="17915" y="15010"/>
                      <a:pt x="13430" y="17402"/>
                    </a:cubicBezTo>
                    <a:cubicBezTo>
                      <a:pt x="8944" y="19735"/>
                      <a:pt x="3382" y="18000"/>
                      <a:pt x="1050" y="13514"/>
                    </a:cubicBezTo>
                    <a:cubicBezTo>
                      <a:pt x="-1283" y="9029"/>
                      <a:pt x="392" y="3467"/>
                      <a:pt x="4878" y="1075"/>
                    </a:cubicBezTo>
                    <a:cubicBezTo>
                      <a:pt x="9363" y="-1318"/>
                      <a:pt x="14925" y="417"/>
                      <a:pt x="17257" y="4962"/>
                    </a:cubicBezTo>
                    <a:close/>
                  </a:path>
                </a:pathLst>
              </a:custGeom>
              <a:grpFill/>
              <a:ln w="5978" cap="flat">
                <a:noFill/>
                <a:prstDash val="solid"/>
                <a:miter/>
              </a:ln>
            </p:spPr>
            <p:txBody>
              <a:bodyPr rtlCol="0" anchor="ctr"/>
              <a:lstStyle/>
              <a:p>
                <a:endParaRPr lang="en-GB"/>
              </a:p>
            </p:txBody>
          </p:sp>
          <p:sp>
            <p:nvSpPr>
              <p:cNvPr id="3563" name="Vrije vorm: vorm 3562">
                <a:extLst>
                  <a:ext uri="{FF2B5EF4-FFF2-40B4-BE49-F238E27FC236}">
                    <a16:creationId xmlns:a16="http://schemas.microsoft.com/office/drawing/2014/main" id="{C5AB06BA-0CBE-4C77-88AB-7A0473FCC3A6}"/>
                  </a:ext>
                </a:extLst>
              </p:cNvPr>
              <p:cNvSpPr/>
              <p:nvPr/>
            </p:nvSpPr>
            <p:spPr>
              <a:xfrm>
                <a:off x="6936222" y="5107829"/>
                <a:ext cx="18322" cy="18453"/>
              </a:xfrm>
              <a:custGeom>
                <a:avLst/>
                <a:gdLst>
                  <a:gd name="connsiteX0" fmla="*/ 17284 w 18322"/>
                  <a:gd name="connsiteY0" fmla="*/ 4950 h 18453"/>
                  <a:gd name="connsiteX1" fmla="*/ 4904 w 18322"/>
                  <a:gd name="connsiteY1" fmla="*/ 1063 h 18453"/>
                  <a:gd name="connsiteX2" fmla="*/ 1076 w 18322"/>
                  <a:gd name="connsiteY2" fmla="*/ 13503 h 18453"/>
                  <a:gd name="connsiteX3" fmla="*/ 13457 w 18322"/>
                  <a:gd name="connsiteY3" fmla="*/ 17390 h 18453"/>
                  <a:gd name="connsiteX4" fmla="*/ 17284 w 18322"/>
                  <a:gd name="connsiteY4" fmla="*/ 4950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7284" y="4950"/>
                    </a:moveTo>
                    <a:cubicBezTo>
                      <a:pt x="14952" y="465"/>
                      <a:pt x="9390" y="-1329"/>
                      <a:pt x="4904" y="1063"/>
                    </a:cubicBezTo>
                    <a:cubicBezTo>
                      <a:pt x="419" y="3395"/>
                      <a:pt x="-1316" y="8958"/>
                      <a:pt x="1076" y="13503"/>
                    </a:cubicBezTo>
                    <a:cubicBezTo>
                      <a:pt x="3409" y="17988"/>
                      <a:pt x="8971" y="19783"/>
                      <a:pt x="13457" y="17390"/>
                    </a:cubicBezTo>
                    <a:cubicBezTo>
                      <a:pt x="17883" y="14998"/>
                      <a:pt x="19616" y="9436"/>
                      <a:pt x="17284" y="4950"/>
                    </a:cubicBezTo>
                    <a:close/>
                  </a:path>
                </a:pathLst>
              </a:custGeom>
              <a:grpFill/>
              <a:ln w="5978" cap="flat">
                <a:noFill/>
                <a:prstDash val="solid"/>
                <a:miter/>
              </a:ln>
            </p:spPr>
            <p:txBody>
              <a:bodyPr rtlCol="0" anchor="ctr"/>
              <a:lstStyle/>
              <a:p>
                <a:endParaRPr lang="en-GB"/>
              </a:p>
            </p:txBody>
          </p:sp>
        </p:grpSp>
        <p:grpSp>
          <p:nvGrpSpPr>
            <p:cNvPr id="610" name="Graphic 3">
              <a:extLst>
                <a:ext uri="{FF2B5EF4-FFF2-40B4-BE49-F238E27FC236}">
                  <a16:creationId xmlns:a16="http://schemas.microsoft.com/office/drawing/2014/main" id="{230250D4-090F-4293-8349-39E16B0EECF8}"/>
                </a:ext>
              </a:extLst>
            </p:cNvPr>
            <p:cNvGrpSpPr/>
            <p:nvPr/>
          </p:nvGrpSpPr>
          <p:grpSpPr>
            <a:xfrm>
              <a:off x="5629107" y="1074152"/>
              <a:ext cx="123495" cy="607094"/>
              <a:chOff x="5629107" y="1074152"/>
              <a:chExt cx="123495" cy="607094"/>
            </a:xfrm>
            <a:grpFill/>
          </p:grpSpPr>
          <p:sp>
            <p:nvSpPr>
              <p:cNvPr id="3558" name="Vrije vorm: vorm 3557">
                <a:extLst>
                  <a:ext uri="{FF2B5EF4-FFF2-40B4-BE49-F238E27FC236}">
                    <a16:creationId xmlns:a16="http://schemas.microsoft.com/office/drawing/2014/main" id="{E3BB4426-F3E7-487B-B814-54D91F1B39D4}"/>
                  </a:ext>
                </a:extLst>
              </p:cNvPr>
              <p:cNvSpPr/>
              <p:nvPr/>
            </p:nvSpPr>
            <p:spPr>
              <a:xfrm>
                <a:off x="5636671" y="1082670"/>
                <a:ext cx="108310" cy="590057"/>
              </a:xfrm>
              <a:custGeom>
                <a:avLst/>
                <a:gdLst>
                  <a:gd name="connsiteX0" fmla="*/ 2990 w 108310"/>
                  <a:gd name="connsiteY0" fmla="*/ 0 h 590057"/>
                  <a:gd name="connsiteX1" fmla="*/ 108311 w 108310"/>
                  <a:gd name="connsiteY1" fmla="*/ 589580 h 590057"/>
                  <a:gd name="connsiteX2" fmla="*/ 105320 w 108310"/>
                  <a:gd name="connsiteY2" fmla="*/ 590058 h 590057"/>
                  <a:gd name="connsiteX3" fmla="*/ 0 w 108310"/>
                  <a:gd name="connsiteY3" fmla="*/ 478 h 590057"/>
                </a:gdLst>
                <a:ahLst/>
                <a:cxnLst>
                  <a:cxn ang="0">
                    <a:pos x="connsiteX0" y="connsiteY0"/>
                  </a:cxn>
                  <a:cxn ang="0">
                    <a:pos x="connsiteX1" y="connsiteY1"/>
                  </a:cxn>
                  <a:cxn ang="0">
                    <a:pos x="connsiteX2" y="connsiteY2"/>
                  </a:cxn>
                  <a:cxn ang="0">
                    <a:pos x="connsiteX3" y="connsiteY3"/>
                  </a:cxn>
                </a:cxnLst>
                <a:rect l="l" t="t" r="r" b="b"/>
                <a:pathLst>
                  <a:path w="108310" h="590057">
                    <a:moveTo>
                      <a:pt x="2990" y="0"/>
                    </a:moveTo>
                    <a:lnTo>
                      <a:pt x="108311" y="589580"/>
                    </a:lnTo>
                    <a:lnTo>
                      <a:pt x="105320" y="590058"/>
                    </a:lnTo>
                    <a:lnTo>
                      <a:pt x="0" y="478"/>
                    </a:lnTo>
                    <a:close/>
                  </a:path>
                </a:pathLst>
              </a:custGeom>
              <a:grpFill/>
              <a:ln w="5978" cap="flat">
                <a:noFill/>
                <a:prstDash val="solid"/>
                <a:miter/>
              </a:ln>
            </p:spPr>
            <p:txBody>
              <a:bodyPr rtlCol="0" anchor="ctr"/>
              <a:lstStyle/>
              <a:p>
                <a:endParaRPr lang="en-GB"/>
              </a:p>
            </p:txBody>
          </p:sp>
          <p:sp>
            <p:nvSpPr>
              <p:cNvPr id="3559" name="Vrije vorm: vorm 3558">
                <a:extLst>
                  <a:ext uri="{FF2B5EF4-FFF2-40B4-BE49-F238E27FC236}">
                    <a16:creationId xmlns:a16="http://schemas.microsoft.com/office/drawing/2014/main" id="{FE929F68-D9B3-4B66-BD3B-C81E980E1256}"/>
                  </a:ext>
                </a:extLst>
              </p:cNvPr>
              <p:cNvSpPr/>
              <p:nvPr/>
            </p:nvSpPr>
            <p:spPr>
              <a:xfrm>
                <a:off x="5629107" y="1074152"/>
                <a:ext cx="18356" cy="18412"/>
              </a:xfrm>
              <a:custGeom>
                <a:avLst/>
                <a:gdLst>
                  <a:gd name="connsiteX0" fmla="*/ 147 w 18356"/>
                  <a:gd name="connsiteY0" fmla="*/ 10791 h 18412"/>
                  <a:gd name="connsiteX1" fmla="*/ 7563 w 18356"/>
                  <a:gd name="connsiteY1" fmla="*/ 145 h 18412"/>
                  <a:gd name="connsiteX2" fmla="*/ 18209 w 18356"/>
                  <a:gd name="connsiteY2" fmla="*/ 7621 h 18412"/>
                  <a:gd name="connsiteX3" fmla="*/ 10793 w 18356"/>
                  <a:gd name="connsiteY3" fmla="*/ 18267 h 18412"/>
                  <a:gd name="connsiteX4" fmla="*/ 147 w 18356"/>
                  <a:gd name="connsiteY4" fmla="*/ 1079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2">
                    <a:moveTo>
                      <a:pt x="147" y="10791"/>
                    </a:moveTo>
                    <a:cubicBezTo>
                      <a:pt x="-750" y="5767"/>
                      <a:pt x="2539" y="983"/>
                      <a:pt x="7563" y="145"/>
                    </a:cubicBezTo>
                    <a:cubicBezTo>
                      <a:pt x="12527" y="-752"/>
                      <a:pt x="17312" y="2597"/>
                      <a:pt x="18209" y="7621"/>
                    </a:cubicBezTo>
                    <a:cubicBezTo>
                      <a:pt x="19106" y="12645"/>
                      <a:pt x="15817" y="17430"/>
                      <a:pt x="10793" y="18267"/>
                    </a:cubicBezTo>
                    <a:cubicBezTo>
                      <a:pt x="5769" y="19164"/>
                      <a:pt x="984" y="15815"/>
                      <a:pt x="147" y="10791"/>
                    </a:cubicBezTo>
                    <a:close/>
                  </a:path>
                </a:pathLst>
              </a:custGeom>
              <a:grpFill/>
              <a:ln w="5978" cap="flat">
                <a:noFill/>
                <a:prstDash val="solid"/>
                <a:miter/>
              </a:ln>
            </p:spPr>
            <p:txBody>
              <a:bodyPr rtlCol="0" anchor="ctr"/>
              <a:lstStyle/>
              <a:p>
                <a:endParaRPr lang="en-GB"/>
              </a:p>
            </p:txBody>
          </p:sp>
          <p:sp>
            <p:nvSpPr>
              <p:cNvPr id="3560" name="Vrije vorm: vorm 3559">
                <a:extLst>
                  <a:ext uri="{FF2B5EF4-FFF2-40B4-BE49-F238E27FC236}">
                    <a16:creationId xmlns:a16="http://schemas.microsoft.com/office/drawing/2014/main" id="{07E751B6-43EF-485E-BF9C-2E466DD35A14}"/>
                  </a:ext>
                </a:extLst>
              </p:cNvPr>
              <p:cNvSpPr/>
              <p:nvPr/>
            </p:nvSpPr>
            <p:spPr>
              <a:xfrm>
                <a:off x="5734248" y="1662834"/>
                <a:ext cx="18354" cy="18412"/>
              </a:xfrm>
              <a:custGeom>
                <a:avLst/>
                <a:gdLst>
                  <a:gd name="connsiteX0" fmla="*/ 147 w 18354"/>
                  <a:gd name="connsiteY0" fmla="*/ 10791 h 18412"/>
                  <a:gd name="connsiteX1" fmla="*/ 10793 w 18354"/>
                  <a:gd name="connsiteY1" fmla="*/ 18267 h 18412"/>
                  <a:gd name="connsiteX2" fmla="*/ 18209 w 18354"/>
                  <a:gd name="connsiteY2" fmla="*/ 7621 h 18412"/>
                  <a:gd name="connsiteX3" fmla="*/ 7563 w 18354"/>
                  <a:gd name="connsiteY3" fmla="*/ 145 h 18412"/>
                  <a:gd name="connsiteX4" fmla="*/ 147 w 18354"/>
                  <a:gd name="connsiteY4" fmla="*/ 1079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47" y="10791"/>
                    </a:moveTo>
                    <a:cubicBezTo>
                      <a:pt x="1045" y="15815"/>
                      <a:pt x="5829" y="19164"/>
                      <a:pt x="10793" y="18267"/>
                    </a:cubicBezTo>
                    <a:cubicBezTo>
                      <a:pt x="15757" y="17370"/>
                      <a:pt x="19106" y="12585"/>
                      <a:pt x="18209" y="7621"/>
                    </a:cubicBezTo>
                    <a:cubicBezTo>
                      <a:pt x="17312" y="2597"/>
                      <a:pt x="12527" y="-752"/>
                      <a:pt x="7563" y="145"/>
                    </a:cubicBezTo>
                    <a:cubicBezTo>
                      <a:pt x="2540" y="983"/>
                      <a:pt x="-750" y="5767"/>
                      <a:pt x="147" y="10791"/>
                    </a:cubicBezTo>
                    <a:close/>
                  </a:path>
                </a:pathLst>
              </a:custGeom>
              <a:grpFill/>
              <a:ln w="5978" cap="flat">
                <a:noFill/>
                <a:prstDash val="solid"/>
                <a:miter/>
              </a:ln>
            </p:spPr>
            <p:txBody>
              <a:bodyPr rtlCol="0" anchor="ctr"/>
              <a:lstStyle/>
              <a:p>
                <a:endParaRPr lang="en-GB"/>
              </a:p>
            </p:txBody>
          </p:sp>
        </p:grpSp>
        <p:grpSp>
          <p:nvGrpSpPr>
            <p:cNvPr id="611" name="Graphic 3">
              <a:extLst>
                <a:ext uri="{FF2B5EF4-FFF2-40B4-BE49-F238E27FC236}">
                  <a16:creationId xmlns:a16="http://schemas.microsoft.com/office/drawing/2014/main" id="{5A4BADE3-E427-4443-A731-0293A10F39CB}"/>
                </a:ext>
              </a:extLst>
            </p:cNvPr>
            <p:cNvGrpSpPr/>
            <p:nvPr/>
          </p:nvGrpSpPr>
          <p:grpSpPr>
            <a:xfrm>
              <a:off x="5676139" y="1092905"/>
              <a:ext cx="90366" cy="662888"/>
              <a:chOff x="5676139" y="1092905"/>
              <a:chExt cx="90366" cy="662888"/>
            </a:xfrm>
            <a:grpFill/>
          </p:grpSpPr>
          <p:sp>
            <p:nvSpPr>
              <p:cNvPr id="3555" name="Vrije vorm: vorm 3554">
                <a:extLst>
                  <a:ext uri="{FF2B5EF4-FFF2-40B4-BE49-F238E27FC236}">
                    <a16:creationId xmlns:a16="http://schemas.microsoft.com/office/drawing/2014/main" id="{A71AC03A-6647-4521-9959-202F6F4D60BE}"/>
                  </a:ext>
                </a:extLst>
              </p:cNvPr>
              <p:cNvSpPr/>
              <p:nvPr/>
            </p:nvSpPr>
            <p:spPr>
              <a:xfrm>
                <a:off x="5683739" y="1101569"/>
                <a:ext cx="75177" cy="645618"/>
              </a:xfrm>
              <a:custGeom>
                <a:avLst/>
                <a:gdLst>
                  <a:gd name="connsiteX0" fmla="*/ 2990 w 75177"/>
                  <a:gd name="connsiteY0" fmla="*/ 0 h 645618"/>
                  <a:gd name="connsiteX1" fmla="*/ 75178 w 75177"/>
                  <a:gd name="connsiteY1" fmla="*/ 645260 h 645618"/>
                  <a:gd name="connsiteX2" fmla="*/ 72128 w 75177"/>
                  <a:gd name="connsiteY2" fmla="*/ 645619 h 645618"/>
                  <a:gd name="connsiteX3" fmla="*/ 0 w 75177"/>
                  <a:gd name="connsiteY3" fmla="*/ 299 h 645618"/>
                </a:gdLst>
                <a:ahLst/>
                <a:cxnLst>
                  <a:cxn ang="0">
                    <a:pos x="connsiteX0" y="connsiteY0"/>
                  </a:cxn>
                  <a:cxn ang="0">
                    <a:pos x="connsiteX1" y="connsiteY1"/>
                  </a:cxn>
                  <a:cxn ang="0">
                    <a:pos x="connsiteX2" y="connsiteY2"/>
                  </a:cxn>
                  <a:cxn ang="0">
                    <a:pos x="connsiteX3" y="connsiteY3"/>
                  </a:cxn>
                </a:cxnLst>
                <a:rect l="l" t="t" r="r" b="b"/>
                <a:pathLst>
                  <a:path w="75177" h="645618">
                    <a:moveTo>
                      <a:pt x="2990" y="0"/>
                    </a:moveTo>
                    <a:lnTo>
                      <a:pt x="75178" y="645260"/>
                    </a:lnTo>
                    <a:lnTo>
                      <a:pt x="72128" y="645619"/>
                    </a:lnTo>
                    <a:lnTo>
                      <a:pt x="0" y="299"/>
                    </a:lnTo>
                    <a:close/>
                  </a:path>
                </a:pathLst>
              </a:custGeom>
              <a:grpFill/>
              <a:ln w="5978" cap="flat">
                <a:noFill/>
                <a:prstDash val="solid"/>
                <a:miter/>
              </a:ln>
            </p:spPr>
            <p:txBody>
              <a:bodyPr rtlCol="0" anchor="ctr"/>
              <a:lstStyle/>
              <a:p>
                <a:endParaRPr lang="en-GB"/>
              </a:p>
            </p:txBody>
          </p:sp>
          <p:sp>
            <p:nvSpPr>
              <p:cNvPr id="3556" name="Vrije vorm: vorm 3555">
                <a:extLst>
                  <a:ext uri="{FF2B5EF4-FFF2-40B4-BE49-F238E27FC236}">
                    <a16:creationId xmlns:a16="http://schemas.microsoft.com/office/drawing/2014/main" id="{92B82D09-67CE-4F90-860E-CA4B710C698E}"/>
                  </a:ext>
                </a:extLst>
              </p:cNvPr>
              <p:cNvSpPr/>
              <p:nvPr/>
            </p:nvSpPr>
            <p:spPr>
              <a:xfrm>
                <a:off x="5748217" y="1737327"/>
                <a:ext cx="18288" cy="18466"/>
              </a:xfrm>
              <a:custGeom>
                <a:avLst/>
                <a:gdLst>
                  <a:gd name="connsiteX0" fmla="*/ 18235 w 18288"/>
                  <a:gd name="connsiteY0" fmla="*/ 8246 h 18466"/>
                  <a:gd name="connsiteX1" fmla="*/ 10161 w 18288"/>
                  <a:gd name="connsiteY1" fmla="*/ 18413 h 18466"/>
                  <a:gd name="connsiteX2" fmla="*/ 53 w 18288"/>
                  <a:gd name="connsiteY2" fmla="*/ 10220 h 18466"/>
                  <a:gd name="connsiteX3" fmla="*/ 8128 w 18288"/>
                  <a:gd name="connsiteY3" fmla="*/ 53 h 18466"/>
                  <a:gd name="connsiteX4" fmla="*/ 18235 w 18288"/>
                  <a:gd name="connsiteY4" fmla="*/ 82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6">
                    <a:moveTo>
                      <a:pt x="18235" y="8246"/>
                    </a:moveTo>
                    <a:cubicBezTo>
                      <a:pt x="18773" y="13330"/>
                      <a:pt x="15185" y="17875"/>
                      <a:pt x="10161" y="18413"/>
                    </a:cubicBezTo>
                    <a:cubicBezTo>
                      <a:pt x="5137" y="18952"/>
                      <a:pt x="592" y="15303"/>
                      <a:pt x="53" y="10220"/>
                    </a:cubicBezTo>
                    <a:cubicBezTo>
                      <a:pt x="-485" y="5136"/>
                      <a:pt x="3104" y="591"/>
                      <a:pt x="8128" y="53"/>
                    </a:cubicBezTo>
                    <a:cubicBezTo>
                      <a:pt x="13091" y="-486"/>
                      <a:pt x="17637" y="3163"/>
                      <a:pt x="18235" y="8246"/>
                    </a:cubicBezTo>
                    <a:close/>
                  </a:path>
                </a:pathLst>
              </a:custGeom>
              <a:grpFill/>
              <a:ln w="5978" cap="flat">
                <a:noFill/>
                <a:prstDash val="solid"/>
                <a:miter/>
              </a:ln>
            </p:spPr>
            <p:txBody>
              <a:bodyPr rtlCol="0" anchor="ctr"/>
              <a:lstStyle/>
              <a:p>
                <a:endParaRPr lang="en-GB"/>
              </a:p>
            </p:txBody>
          </p:sp>
          <p:sp>
            <p:nvSpPr>
              <p:cNvPr id="3557" name="Vrije vorm: vorm 3556">
                <a:extLst>
                  <a:ext uri="{FF2B5EF4-FFF2-40B4-BE49-F238E27FC236}">
                    <a16:creationId xmlns:a16="http://schemas.microsoft.com/office/drawing/2014/main" id="{3FADEA22-AE21-4D00-817C-38BE1A2A0B78}"/>
                  </a:ext>
                </a:extLst>
              </p:cNvPr>
              <p:cNvSpPr/>
              <p:nvPr/>
            </p:nvSpPr>
            <p:spPr>
              <a:xfrm>
                <a:off x="5676139" y="1092905"/>
                <a:ext cx="18309" cy="18466"/>
              </a:xfrm>
              <a:custGeom>
                <a:avLst/>
                <a:gdLst>
                  <a:gd name="connsiteX0" fmla="*/ 18245 w 18309"/>
                  <a:gd name="connsiteY0" fmla="*/ 8246 h 18466"/>
                  <a:gd name="connsiteX1" fmla="*/ 8138 w 18309"/>
                  <a:gd name="connsiteY1" fmla="*/ 53 h 18466"/>
                  <a:gd name="connsiteX2" fmla="*/ 64 w 18309"/>
                  <a:gd name="connsiteY2" fmla="*/ 10220 h 18466"/>
                  <a:gd name="connsiteX3" fmla="*/ 10172 w 18309"/>
                  <a:gd name="connsiteY3" fmla="*/ 18413 h 18466"/>
                  <a:gd name="connsiteX4" fmla="*/ 18245 w 18309"/>
                  <a:gd name="connsiteY4" fmla="*/ 82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6">
                    <a:moveTo>
                      <a:pt x="18245" y="8246"/>
                    </a:moveTo>
                    <a:cubicBezTo>
                      <a:pt x="17707" y="3163"/>
                      <a:pt x="13162" y="-486"/>
                      <a:pt x="8138" y="53"/>
                    </a:cubicBezTo>
                    <a:cubicBezTo>
                      <a:pt x="3114" y="591"/>
                      <a:pt x="-534" y="5136"/>
                      <a:pt x="64" y="10220"/>
                    </a:cubicBezTo>
                    <a:cubicBezTo>
                      <a:pt x="602" y="15304"/>
                      <a:pt x="5148" y="18952"/>
                      <a:pt x="10172" y="18413"/>
                    </a:cubicBezTo>
                    <a:cubicBezTo>
                      <a:pt x="15195" y="17875"/>
                      <a:pt x="18844" y="13330"/>
                      <a:pt x="18245" y="8246"/>
                    </a:cubicBezTo>
                    <a:close/>
                  </a:path>
                </a:pathLst>
              </a:custGeom>
              <a:grpFill/>
              <a:ln w="5978" cap="flat">
                <a:noFill/>
                <a:prstDash val="solid"/>
                <a:miter/>
              </a:ln>
            </p:spPr>
            <p:txBody>
              <a:bodyPr rtlCol="0" anchor="ctr"/>
              <a:lstStyle/>
              <a:p>
                <a:endParaRPr lang="en-GB"/>
              </a:p>
            </p:txBody>
          </p:sp>
        </p:grpSp>
        <p:grpSp>
          <p:nvGrpSpPr>
            <p:cNvPr id="612" name="Graphic 3">
              <a:extLst>
                <a:ext uri="{FF2B5EF4-FFF2-40B4-BE49-F238E27FC236}">
                  <a16:creationId xmlns:a16="http://schemas.microsoft.com/office/drawing/2014/main" id="{D5A9CABD-D139-4D99-B0D7-568993C3356A}"/>
                </a:ext>
              </a:extLst>
            </p:cNvPr>
            <p:cNvGrpSpPr/>
            <p:nvPr/>
          </p:nvGrpSpPr>
          <p:grpSpPr>
            <a:xfrm>
              <a:off x="5604666" y="1177060"/>
              <a:ext cx="20512" cy="29636"/>
              <a:chOff x="5604666" y="1177060"/>
              <a:chExt cx="20512" cy="29636"/>
            </a:xfrm>
            <a:grpFill/>
          </p:grpSpPr>
          <p:sp>
            <p:nvSpPr>
              <p:cNvPr id="3553" name="Vrije vorm: vorm 3552">
                <a:extLst>
                  <a:ext uri="{FF2B5EF4-FFF2-40B4-BE49-F238E27FC236}">
                    <a16:creationId xmlns:a16="http://schemas.microsoft.com/office/drawing/2014/main" id="{F3DC00BA-D3DC-40B9-90DC-64EEEDC79FB8}"/>
                  </a:ext>
                </a:extLst>
              </p:cNvPr>
              <p:cNvSpPr/>
              <p:nvPr/>
            </p:nvSpPr>
            <p:spPr>
              <a:xfrm>
                <a:off x="5606879" y="1188225"/>
                <a:ext cx="18299" cy="18471"/>
              </a:xfrm>
              <a:custGeom>
                <a:avLst/>
                <a:gdLst>
                  <a:gd name="connsiteX0" fmla="*/ 187 w 18299"/>
                  <a:gd name="connsiteY0" fmla="*/ 11010 h 18471"/>
                  <a:gd name="connsiteX1" fmla="*/ 7364 w 18299"/>
                  <a:gd name="connsiteY1" fmla="*/ 185 h 18471"/>
                  <a:gd name="connsiteX2" fmla="*/ 18129 w 18299"/>
                  <a:gd name="connsiteY2" fmla="*/ 7481 h 18471"/>
                  <a:gd name="connsiteX3" fmla="*/ 10952 w 18299"/>
                  <a:gd name="connsiteY3" fmla="*/ 18306 h 18471"/>
                  <a:gd name="connsiteX4" fmla="*/ 187 w 18299"/>
                  <a:gd name="connsiteY4" fmla="*/ 11010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71">
                    <a:moveTo>
                      <a:pt x="187" y="11010"/>
                    </a:moveTo>
                    <a:cubicBezTo>
                      <a:pt x="-830" y="6046"/>
                      <a:pt x="2400" y="1201"/>
                      <a:pt x="7364" y="185"/>
                    </a:cubicBezTo>
                    <a:cubicBezTo>
                      <a:pt x="12328" y="-832"/>
                      <a:pt x="17172" y="2457"/>
                      <a:pt x="18129" y="7481"/>
                    </a:cubicBezTo>
                    <a:cubicBezTo>
                      <a:pt x="19086" y="12505"/>
                      <a:pt x="15916" y="17289"/>
                      <a:pt x="10952" y="18306"/>
                    </a:cubicBezTo>
                    <a:cubicBezTo>
                      <a:pt x="5988" y="19263"/>
                      <a:pt x="1144" y="15974"/>
                      <a:pt x="187" y="11010"/>
                    </a:cubicBezTo>
                    <a:close/>
                  </a:path>
                </a:pathLst>
              </a:custGeom>
              <a:grpFill/>
              <a:ln w="5978" cap="flat">
                <a:noFill/>
                <a:prstDash val="solid"/>
                <a:miter/>
              </a:ln>
            </p:spPr>
            <p:txBody>
              <a:bodyPr rtlCol="0" anchor="ctr"/>
              <a:lstStyle/>
              <a:p>
                <a:endParaRPr lang="en-GB"/>
              </a:p>
            </p:txBody>
          </p:sp>
          <p:sp>
            <p:nvSpPr>
              <p:cNvPr id="3554" name="Vrije vorm: vorm 3553">
                <a:extLst>
                  <a:ext uri="{FF2B5EF4-FFF2-40B4-BE49-F238E27FC236}">
                    <a16:creationId xmlns:a16="http://schemas.microsoft.com/office/drawing/2014/main" id="{EBD0B915-316C-413F-B7E0-F0D28A81D119}"/>
                  </a:ext>
                </a:extLst>
              </p:cNvPr>
              <p:cNvSpPr/>
              <p:nvPr/>
            </p:nvSpPr>
            <p:spPr>
              <a:xfrm>
                <a:off x="5604666" y="1177060"/>
                <a:ext cx="18316" cy="18452"/>
              </a:xfrm>
              <a:custGeom>
                <a:avLst/>
                <a:gdLst>
                  <a:gd name="connsiteX0" fmla="*/ 187 w 18316"/>
                  <a:gd name="connsiteY0" fmla="*/ 10991 h 18452"/>
                  <a:gd name="connsiteX1" fmla="*/ 10952 w 18316"/>
                  <a:gd name="connsiteY1" fmla="*/ 18287 h 18452"/>
                  <a:gd name="connsiteX2" fmla="*/ 18129 w 18316"/>
                  <a:gd name="connsiteY2" fmla="*/ 7462 h 18452"/>
                  <a:gd name="connsiteX3" fmla="*/ 7364 w 18316"/>
                  <a:gd name="connsiteY3" fmla="*/ 166 h 18452"/>
                  <a:gd name="connsiteX4" fmla="*/ 187 w 18316"/>
                  <a:gd name="connsiteY4" fmla="*/ 1099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2">
                    <a:moveTo>
                      <a:pt x="187" y="10991"/>
                    </a:moveTo>
                    <a:cubicBezTo>
                      <a:pt x="1144" y="15955"/>
                      <a:pt x="5988" y="19244"/>
                      <a:pt x="10952" y="18287"/>
                    </a:cubicBezTo>
                    <a:cubicBezTo>
                      <a:pt x="15916" y="17330"/>
                      <a:pt x="19146" y="12486"/>
                      <a:pt x="18129" y="7462"/>
                    </a:cubicBezTo>
                    <a:cubicBezTo>
                      <a:pt x="17172" y="2498"/>
                      <a:pt x="12328" y="-791"/>
                      <a:pt x="7364" y="166"/>
                    </a:cubicBezTo>
                    <a:cubicBezTo>
                      <a:pt x="2400" y="1182"/>
                      <a:pt x="-830" y="6027"/>
                      <a:pt x="187" y="10991"/>
                    </a:cubicBezTo>
                    <a:close/>
                  </a:path>
                </a:pathLst>
              </a:custGeom>
              <a:grpFill/>
              <a:ln w="5978" cap="flat">
                <a:noFill/>
                <a:prstDash val="solid"/>
                <a:miter/>
              </a:ln>
            </p:spPr>
            <p:txBody>
              <a:bodyPr rtlCol="0" anchor="ctr"/>
              <a:lstStyle/>
              <a:p>
                <a:endParaRPr lang="en-GB"/>
              </a:p>
            </p:txBody>
          </p:sp>
        </p:grpSp>
        <p:grpSp>
          <p:nvGrpSpPr>
            <p:cNvPr id="613" name="Graphic 3">
              <a:extLst>
                <a:ext uri="{FF2B5EF4-FFF2-40B4-BE49-F238E27FC236}">
                  <a16:creationId xmlns:a16="http://schemas.microsoft.com/office/drawing/2014/main" id="{D954CF97-3FD3-411F-970F-A51B64F77B55}"/>
                </a:ext>
              </a:extLst>
            </p:cNvPr>
            <p:cNvGrpSpPr/>
            <p:nvPr/>
          </p:nvGrpSpPr>
          <p:grpSpPr>
            <a:xfrm>
              <a:off x="6857506" y="4889990"/>
              <a:ext cx="51094" cy="78290"/>
              <a:chOff x="6857506" y="4889990"/>
              <a:chExt cx="51094" cy="78290"/>
            </a:xfrm>
            <a:grpFill/>
          </p:grpSpPr>
          <p:sp>
            <p:nvSpPr>
              <p:cNvPr id="3550" name="Vrije vorm: vorm 3549">
                <a:extLst>
                  <a:ext uri="{FF2B5EF4-FFF2-40B4-BE49-F238E27FC236}">
                    <a16:creationId xmlns:a16="http://schemas.microsoft.com/office/drawing/2014/main" id="{20632D33-FDB4-4C2D-B64C-6F2745B9AF0A}"/>
                  </a:ext>
                </a:extLst>
              </p:cNvPr>
              <p:cNvSpPr/>
              <p:nvPr/>
            </p:nvSpPr>
            <p:spPr>
              <a:xfrm>
                <a:off x="6865051" y="4898072"/>
                <a:ext cx="35944" cy="62139"/>
              </a:xfrm>
              <a:custGeom>
                <a:avLst/>
                <a:gdLst>
                  <a:gd name="connsiteX0" fmla="*/ 35944 w 35944"/>
                  <a:gd name="connsiteY0" fmla="*/ 60644 h 62139"/>
                  <a:gd name="connsiteX1" fmla="*/ 33252 w 35944"/>
                  <a:gd name="connsiteY1" fmla="*/ 62139 h 62139"/>
                  <a:gd name="connsiteX2" fmla="*/ 0 w 35944"/>
                  <a:gd name="connsiteY2" fmla="*/ 1435 h 62139"/>
                  <a:gd name="connsiteX3" fmla="*/ 2691 w 35944"/>
                  <a:gd name="connsiteY3" fmla="*/ 0 h 62139"/>
                </a:gdLst>
                <a:ahLst/>
                <a:cxnLst>
                  <a:cxn ang="0">
                    <a:pos x="connsiteX0" y="connsiteY0"/>
                  </a:cxn>
                  <a:cxn ang="0">
                    <a:pos x="connsiteX1" y="connsiteY1"/>
                  </a:cxn>
                  <a:cxn ang="0">
                    <a:pos x="connsiteX2" y="connsiteY2"/>
                  </a:cxn>
                  <a:cxn ang="0">
                    <a:pos x="connsiteX3" y="connsiteY3"/>
                  </a:cxn>
                </a:cxnLst>
                <a:rect l="l" t="t" r="r" b="b"/>
                <a:pathLst>
                  <a:path w="35944" h="62139">
                    <a:moveTo>
                      <a:pt x="35944" y="60644"/>
                    </a:moveTo>
                    <a:lnTo>
                      <a:pt x="33252" y="62139"/>
                    </a:lnTo>
                    <a:lnTo>
                      <a:pt x="0" y="1435"/>
                    </a:lnTo>
                    <a:lnTo>
                      <a:pt x="2691" y="0"/>
                    </a:lnTo>
                    <a:close/>
                  </a:path>
                </a:pathLst>
              </a:custGeom>
              <a:grpFill/>
              <a:ln w="5978" cap="flat">
                <a:noFill/>
                <a:prstDash val="solid"/>
                <a:miter/>
              </a:ln>
            </p:spPr>
            <p:txBody>
              <a:bodyPr rtlCol="0" anchor="ctr"/>
              <a:lstStyle/>
              <a:p>
                <a:endParaRPr lang="en-GB"/>
              </a:p>
            </p:txBody>
          </p:sp>
          <p:sp>
            <p:nvSpPr>
              <p:cNvPr id="3551" name="Vrije vorm: vorm 3550">
                <a:extLst>
                  <a:ext uri="{FF2B5EF4-FFF2-40B4-BE49-F238E27FC236}">
                    <a16:creationId xmlns:a16="http://schemas.microsoft.com/office/drawing/2014/main" id="{32566E7F-5EC5-4F9F-84A2-5F534C362597}"/>
                  </a:ext>
                </a:extLst>
              </p:cNvPr>
              <p:cNvSpPr/>
              <p:nvPr/>
            </p:nvSpPr>
            <p:spPr>
              <a:xfrm>
                <a:off x="6890280" y="4949857"/>
                <a:ext cx="18320" cy="18423"/>
              </a:xfrm>
              <a:custGeom>
                <a:avLst/>
                <a:gdLst>
                  <a:gd name="connsiteX0" fmla="*/ 17174 w 18320"/>
                  <a:gd name="connsiteY0" fmla="*/ 4792 h 18423"/>
                  <a:gd name="connsiteX1" fmla="*/ 13586 w 18320"/>
                  <a:gd name="connsiteY1" fmla="*/ 17292 h 18423"/>
                  <a:gd name="connsiteX2" fmla="*/ 1146 w 18320"/>
                  <a:gd name="connsiteY2" fmla="*/ 13644 h 18423"/>
                  <a:gd name="connsiteX3" fmla="*/ 4735 w 18320"/>
                  <a:gd name="connsiteY3" fmla="*/ 1144 h 18423"/>
                  <a:gd name="connsiteX4" fmla="*/ 17174 w 18320"/>
                  <a:gd name="connsiteY4" fmla="*/ 47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17174" y="4792"/>
                    </a:moveTo>
                    <a:cubicBezTo>
                      <a:pt x="19626" y="9278"/>
                      <a:pt x="18012" y="14840"/>
                      <a:pt x="13586" y="17292"/>
                    </a:cubicBezTo>
                    <a:cubicBezTo>
                      <a:pt x="9160" y="19744"/>
                      <a:pt x="3598" y="18070"/>
                      <a:pt x="1146" y="13644"/>
                    </a:cubicBezTo>
                    <a:cubicBezTo>
                      <a:pt x="-1306" y="9158"/>
                      <a:pt x="309" y="3596"/>
                      <a:pt x="4735" y="1144"/>
                    </a:cubicBezTo>
                    <a:cubicBezTo>
                      <a:pt x="9160" y="-1308"/>
                      <a:pt x="14722" y="307"/>
                      <a:pt x="17174" y="4792"/>
                    </a:cubicBezTo>
                    <a:close/>
                  </a:path>
                </a:pathLst>
              </a:custGeom>
              <a:grpFill/>
              <a:ln w="5978" cap="flat">
                <a:noFill/>
                <a:prstDash val="solid"/>
                <a:miter/>
              </a:ln>
            </p:spPr>
            <p:txBody>
              <a:bodyPr rtlCol="0" anchor="ctr"/>
              <a:lstStyle/>
              <a:p>
                <a:endParaRPr lang="en-GB"/>
              </a:p>
            </p:txBody>
          </p:sp>
          <p:sp>
            <p:nvSpPr>
              <p:cNvPr id="3552" name="Vrije vorm: vorm 3551">
                <a:extLst>
                  <a:ext uri="{FF2B5EF4-FFF2-40B4-BE49-F238E27FC236}">
                    <a16:creationId xmlns:a16="http://schemas.microsoft.com/office/drawing/2014/main" id="{121B0080-AEE7-4F0D-8006-E132027DFC6E}"/>
                  </a:ext>
                </a:extLst>
              </p:cNvPr>
              <p:cNvSpPr/>
              <p:nvPr/>
            </p:nvSpPr>
            <p:spPr>
              <a:xfrm>
                <a:off x="6857506" y="4889990"/>
                <a:ext cx="18293" cy="18436"/>
              </a:xfrm>
              <a:custGeom>
                <a:avLst/>
                <a:gdLst>
                  <a:gd name="connsiteX0" fmla="*/ 17174 w 18293"/>
                  <a:gd name="connsiteY0" fmla="*/ 4792 h 18436"/>
                  <a:gd name="connsiteX1" fmla="*/ 4734 w 18293"/>
                  <a:gd name="connsiteY1" fmla="*/ 1144 h 18436"/>
                  <a:gd name="connsiteX2" fmla="*/ 1146 w 18293"/>
                  <a:gd name="connsiteY2" fmla="*/ 13644 h 18436"/>
                  <a:gd name="connsiteX3" fmla="*/ 13586 w 18293"/>
                  <a:gd name="connsiteY3" fmla="*/ 17292 h 18436"/>
                  <a:gd name="connsiteX4" fmla="*/ 17174 w 18293"/>
                  <a:gd name="connsiteY4" fmla="*/ 47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36">
                    <a:moveTo>
                      <a:pt x="17174" y="4792"/>
                    </a:moveTo>
                    <a:cubicBezTo>
                      <a:pt x="14722" y="307"/>
                      <a:pt x="9160" y="-1308"/>
                      <a:pt x="4734" y="1144"/>
                    </a:cubicBezTo>
                    <a:cubicBezTo>
                      <a:pt x="308" y="3596"/>
                      <a:pt x="-1306" y="9158"/>
                      <a:pt x="1146" y="13644"/>
                    </a:cubicBezTo>
                    <a:cubicBezTo>
                      <a:pt x="3598" y="18129"/>
                      <a:pt x="9160" y="19744"/>
                      <a:pt x="13586" y="17292"/>
                    </a:cubicBezTo>
                    <a:cubicBezTo>
                      <a:pt x="18012" y="14840"/>
                      <a:pt x="19567" y="9218"/>
                      <a:pt x="17174" y="4792"/>
                    </a:cubicBezTo>
                    <a:close/>
                  </a:path>
                </a:pathLst>
              </a:custGeom>
              <a:grpFill/>
              <a:ln w="5978" cap="flat">
                <a:noFill/>
                <a:prstDash val="solid"/>
                <a:miter/>
              </a:ln>
            </p:spPr>
            <p:txBody>
              <a:bodyPr rtlCol="0" anchor="ctr"/>
              <a:lstStyle/>
              <a:p>
                <a:endParaRPr lang="en-GB"/>
              </a:p>
            </p:txBody>
          </p:sp>
        </p:grpSp>
        <p:grpSp>
          <p:nvGrpSpPr>
            <p:cNvPr id="614" name="Graphic 3">
              <a:extLst>
                <a:ext uri="{FF2B5EF4-FFF2-40B4-BE49-F238E27FC236}">
                  <a16:creationId xmlns:a16="http://schemas.microsoft.com/office/drawing/2014/main" id="{D5F6875D-E6C2-461A-B034-027DFBAE19CC}"/>
                </a:ext>
              </a:extLst>
            </p:cNvPr>
            <p:cNvGrpSpPr/>
            <p:nvPr/>
          </p:nvGrpSpPr>
          <p:grpSpPr>
            <a:xfrm>
              <a:off x="6875517" y="4991863"/>
              <a:ext cx="70486" cy="118065"/>
              <a:chOff x="6875517" y="4991863"/>
              <a:chExt cx="70486" cy="118065"/>
            </a:xfrm>
            <a:grpFill/>
          </p:grpSpPr>
          <p:sp>
            <p:nvSpPr>
              <p:cNvPr id="3547" name="Vrije vorm: vorm 3546">
                <a:extLst>
                  <a:ext uri="{FF2B5EF4-FFF2-40B4-BE49-F238E27FC236}">
                    <a16:creationId xmlns:a16="http://schemas.microsoft.com/office/drawing/2014/main" id="{A53913C4-E14B-4772-B902-44ACADF88D7F}"/>
                  </a:ext>
                </a:extLst>
              </p:cNvPr>
              <p:cNvSpPr/>
              <p:nvPr/>
            </p:nvSpPr>
            <p:spPr>
              <a:xfrm>
                <a:off x="6883113" y="4999983"/>
                <a:ext cx="55261" cy="101851"/>
              </a:xfrm>
              <a:custGeom>
                <a:avLst/>
                <a:gdLst>
                  <a:gd name="connsiteX0" fmla="*/ 55262 w 55261"/>
                  <a:gd name="connsiteY0" fmla="*/ 100416 h 101851"/>
                  <a:gd name="connsiteX1" fmla="*/ 52570 w 55261"/>
                  <a:gd name="connsiteY1" fmla="*/ 101852 h 101851"/>
                  <a:gd name="connsiteX2" fmla="*/ 0 w 55261"/>
                  <a:gd name="connsiteY2" fmla="*/ 1435 h 101851"/>
                  <a:gd name="connsiteX3" fmla="*/ 2691 w 55261"/>
                  <a:gd name="connsiteY3" fmla="*/ 0 h 101851"/>
                </a:gdLst>
                <a:ahLst/>
                <a:cxnLst>
                  <a:cxn ang="0">
                    <a:pos x="connsiteX0" y="connsiteY0"/>
                  </a:cxn>
                  <a:cxn ang="0">
                    <a:pos x="connsiteX1" y="connsiteY1"/>
                  </a:cxn>
                  <a:cxn ang="0">
                    <a:pos x="connsiteX2" y="connsiteY2"/>
                  </a:cxn>
                  <a:cxn ang="0">
                    <a:pos x="connsiteX3" y="connsiteY3"/>
                  </a:cxn>
                </a:cxnLst>
                <a:rect l="l" t="t" r="r" b="b"/>
                <a:pathLst>
                  <a:path w="55261" h="101851">
                    <a:moveTo>
                      <a:pt x="55262" y="100416"/>
                    </a:moveTo>
                    <a:lnTo>
                      <a:pt x="52570" y="101852"/>
                    </a:lnTo>
                    <a:lnTo>
                      <a:pt x="0" y="1435"/>
                    </a:lnTo>
                    <a:lnTo>
                      <a:pt x="2691" y="0"/>
                    </a:lnTo>
                    <a:close/>
                  </a:path>
                </a:pathLst>
              </a:custGeom>
              <a:grpFill/>
              <a:ln w="5978" cap="flat">
                <a:noFill/>
                <a:prstDash val="solid"/>
                <a:miter/>
              </a:ln>
            </p:spPr>
            <p:txBody>
              <a:bodyPr rtlCol="0" anchor="ctr"/>
              <a:lstStyle/>
              <a:p>
                <a:endParaRPr lang="en-GB"/>
              </a:p>
            </p:txBody>
          </p:sp>
          <p:sp>
            <p:nvSpPr>
              <p:cNvPr id="3548" name="Vrije vorm: vorm 3547">
                <a:extLst>
                  <a:ext uri="{FF2B5EF4-FFF2-40B4-BE49-F238E27FC236}">
                    <a16:creationId xmlns:a16="http://schemas.microsoft.com/office/drawing/2014/main" id="{5AC6454A-8219-4B8F-B70D-69A4DC95C2F0}"/>
                  </a:ext>
                </a:extLst>
              </p:cNvPr>
              <p:cNvSpPr/>
              <p:nvPr/>
            </p:nvSpPr>
            <p:spPr>
              <a:xfrm>
                <a:off x="6927696" y="5091490"/>
                <a:ext cx="18307" cy="18438"/>
              </a:xfrm>
              <a:custGeom>
                <a:avLst/>
                <a:gdLst>
                  <a:gd name="connsiteX0" fmla="*/ 17258 w 18307"/>
                  <a:gd name="connsiteY0" fmla="*/ 4962 h 18438"/>
                  <a:gd name="connsiteX1" fmla="*/ 13430 w 18307"/>
                  <a:gd name="connsiteY1" fmla="*/ 17402 h 18438"/>
                  <a:gd name="connsiteX2" fmla="*/ 1050 w 18307"/>
                  <a:gd name="connsiteY2" fmla="*/ 13515 h 18438"/>
                  <a:gd name="connsiteX3" fmla="*/ 4877 w 18307"/>
                  <a:gd name="connsiteY3" fmla="*/ 1075 h 18438"/>
                  <a:gd name="connsiteX4" fmla="*/ 17258 w 18307"/>
                  <a:gd name="connsiteY4" fmla="*/ 496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17258" y="4962"/>
                    </a:moveTo>
                    <a:cubicBezTo>
                      <a:pt x="19590" y="9448"/>
                      <a:pt x="17915" y="15010"/>
                      <a:pt x="13430" y="17402"/>
                    </a:cubicBezTo>
                    <a:cubicBezTo>
                      <a:pt x="8944" y="19734"/>
                      <a:pt x="3382" y="18000"/>
                      <a:pt x="1050" y="13515"/>
                    </a:cubicBezTo>
                    <a:cubicBezTo>
                      <a:pt x="-1283" y="9029"/>
                      <a:pt x="392" y="3467"/>
                      <a:pt x="4877" y="1075"/>
                    </a:cubicBezTo>
                    <a:cubicBezTo>
                      <a:pt x="9303" y="-1318"/>
                      <a:pt x="14865" y="417"/>
                      <a:pt x="17258" y="4962"/>
                    </a:cubicBezTo>
                    <a:close/>
                  </a:path>
                </a:pathLst>
              </a:custGeom>
              <a:grpFill/>
              <a:ln w="5978" cap="flat">
                <a:noFill/>
                <a:prstDash val="solid"/>
                <a:miter/>
              </a:ln>
            </p:spPr>
            <p:txBody>
              <a:bodyPr rtlCol="0" anchor="ctr"/>
              <a:lstStyle/>
              <a:p>
                <a:endParaRPr lang="en-GB"/>
              </a:p>
            </p:txBody>
          </p:sp>
          <p:sp>
            <p:nvSpPr>
              <p:cNvPr id="3549" name="Vrije vorm: vorm 3548">
                <a:extLst>
                  <a:ext uri="{FF2B5EF4-FFF2-40B4-BE49-F238E27FC236}">
                    <a16:creationId xmlns:a16="http://schemas.microsoft.com/office/drawing/2014/main" id="{BD621ACD-3230-49B9-B732-6DB4E32C39FE}"/>
                  </a:ext>
                </a:extLst>
              </p:cNvPr>
              <p:cNvSpPr/>
              <p:nvPr/>
            </p:nvSpPr>
            <p:spPr>
              <a:xfrm>
                <a:off x="6875517" y="4991863"/>
                <a:ext cx="18322" cy="18453"/>
              </a:xfrm>
              <a:custGeom>
                <a:avLst/>
                <a:gdLst>
                  <a:gd name="connsiteX0" fmla="*/ 17285 w 18322"/>
                  <a:gd name="connsiteY0" fmla="*/ 4951 h 18453"/>
                  <a:gd name="connsiteX1" fmla="*/ 4904 w 18322"/>
                  <a:gd name="connsiteY1" fmla="*/ 1063 h 18453"/>
                  <a:gd name="connsiteX2" fmla="*/ 1076 w 18322"/>
                  <a:gd name="connsiteY2" fmla="*/ 13503 h 18453"/>
                  <a:gd name="connsiteX3" fmla="*/ 13457 w 18322"/>
                  <a:gd name="connsiteY3" fmla="*/ 17390 h 18453"/>
                  <a:gd name="connsiteX4" fmla="*/ 17285 w 18322"/>
                  <a:gd name="connsiteY4" fmla="*/ 495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7285" y="4951"/>
                    </a:moveTo>
                    <a:cubicBezTo>
                      <a:pt x="14952" y="465"/>
                      <a:pt x="9390" y="-1329"/>
                      <a:pt x="4904" y="1063"/>
                    </a:cubicBezTo>
                    <a:cubicBezTo>
                      <a:pt x="419" y="3396"/>
                      <a:pt x="-1316" y="8958"/>
                      <a:pt x="1076" y="13503"/>
                    </a:cubicBezTo>
                    <a:cubicBezTo>
                      <a:pt x="3409" y="17989"/>
                      <a:pt x="8971" y="19783"/>
                      <a:pt x="13457" y="17390"/>
                    </a:cubicBezTo>
                    <a:cubicBezTo>
                      <a:pt x="17883" y="15058"/>
                      <a:pt x="19616" y="9496"/>
                      <a:pt x="17285" y="4951"/>
                    </a:cubicBezTo>
                    <a:close/>
                  </a:path>
                </a:pathLst>
              </a:custGeom>
              <a:grpFill/>
              <a:ln w="5978" cap="flat">
                <a:noFill/>
                <a:prstDash val="solid"/>
                <a:miter/>
              </a:ln>
            </p:spPr>
            <p:txBody>
              <a:bodyPr rtlCol="0" anchor="ctr"/>
              <a:lstStyle/>
              <a:p>
                <a:endParaRPr lang="en-GB"/>
              </a:p>
            </p:txBody>
          </p:sp>
        </p:grpSp>
        <p:grpSp>
          <p:nvGrpSpPr>
            <p:cNvPr id="615" name="Graphic 3">
              <a:extLst>
                <a:ext uri="{FF2B5EF4-FFF2-40B4-BE49-F238E27FC236}">
                  <a16:creationId xmlns:a16="http://schemas.microsoft.com/office/drawing/2014/main" id="{8A9FB1DE-8BFF-43D9-B965-1916824301A4}"/>
                </a:ext>
              </a:extLst>
            </p:cNvPr>
            <p:cNvGrpSpPr/>
            <p:nvPr/>
          </p:nvGrpSpPr>
          <p:grpSpPr>
            <a:xfrm>
              <a:off x="6828000" y="4902954"/>
              <a:ext cx="169434" cy="387028"/>
              <a:chOff x="6828000" y="4902954"/>
              <a:chExt cx="169434" cy="387028"/>
            </a:xfrm>
            <a:grpFill/>
          </p:grpSpPr>
          <p:sp>
            <p:nvSpPr>
              <p:cNvPr id="3544" name="Vrije vorm: vorm 3543">
                <a:extLst>
                  <a:ext uri="{FF2B5EF4-FFF2-40B4-BE49-F238E27FC236}">
                    <a16:creationId xmlns:a16="http://schemas.microsoft.com/office/drawing/2014/main" id="{80176387-A781-4AF5-BE74-D153D755E5AF}"/>
                  </a:ext>
                </a:extLst>
              </p:cNvPr>
              <p:cNvSpPr/>
              <p:nvPr/>
            </p:nvSpPr>
            <p:spPr>
              <a:xfrm>
                <a:off x="6835373" y="4910830"/>
                <a:ext cx="154505" cy="370486"/>
              </a:xfrm>
              <a:custGeom>
                <a:avLst/>
                <a:gdLst>
                  <a:gd name="connsiteX0" fmla="*/ 0 w 154505"/>
                  <a:gd name="connsiteY0" fmla="*/ 1159 h 370486"/>
                  <a:gd name="connsiteX1" fmla="*/ 2821 w 154505"/>
                  <a:gd name="connsiteY1" fmla="*/ 0 h 370486"/>
                  <a:gd name="connsiteX2" fmla="*/ 154505 w 154505"/>
                  <a:gd name="connsiteY2" fmla="*/ 369327 h 370486"/>
                  <a:gd name="connsiteX3" fmla="*/ 151684 w 154505"/>
                  <a:gd name="connsiteY3" fmla="*/ 370486 h 370486"/>
                </a:gdLst>
                <a:ahLst/>
                <a:cxnLst>
                  <a:cxn ang="0">
                    <a:pos x="connsiteX0" y="connsiteY0"/>
                  </a:cxn>
                  <a:cxn ang="0">
                    <a:pos x="connsiteX1" y="connsiteY1"/>
                  </a:cxn>
                  <a:cxn ang="0">
                    <a:pos x="connsiteX2" y="connsiteY2"/>
                  </a:cxn>
                  <a:cxn ang="0">
                    <a:pos x="connsiteX3" y="connsiteY3"/>
                  </a:cxn>
                </a:cxnLst>
                <a:rect l="l" t="t" r="r" b="b"/>
                <a:pathLst>
                  <a:path w="154505" h="370486">
                    <a:moveTo>
                      <a:pt x="0" y="1159"/>
                    </a:moveTo>
                    <a:lnTo>
                      <a:pt x="2821" y="0"/>
                    </a:lnTo>
                    <a:lnTo>
                      <a:pt x="154505" y="369327"/>
                    </a:lnTo>
                    <a:lnTo>
                      <a:pt x="151684" y="370486"/>
                    </a:lnTo>
                    <a:close/>
                  </a:path>
                </a:pathLst>
              </a:custGeom>
              <a:grpFill/>
              <a:ln w="5978" cap="flat">
                <a:noFill/>
                <a:prstDash val="solid"/>
                <a:miter/>
              </a:ln>
            </p:spPr>
            <p:txBody>
              <a:bodyPr rtlCol="0" anchor="ctr"/>
              <a:lstStyle/>
              <a:p>
                <a:endParaRPr lang="en-GB"/>
              </a:p>
            </p:txBody>
          </p:sp>
          <p:sp>
            <p:nvSpPr>
              <p:cNvPr id="3545" name="Vrije vorm: vorm 3544">
                <a:extLst>
                  <a:ext uri="{FF2B5EF4-FFF2-40B4-BE49-F238E27FC236}">
                    <a16:creationId xmlns:a16="http://schemas.microsoft.com/office/drawing/2014/main" id="{AF957197-0452-456E-93E2-A266819FBF9D}"/>
                  </a:ext>
                </a:extLst>
              </p:cNvPr>
              <p:cNvSpPr/>
              <p:nvPr/>
            </p:nvSpPr>
            <p:spPr>
              <a:xfrm>
                <a:off x="6828000" y="4902954"/>
                <a:ext cx="18301" cy="18436"/>
              </a:xfrm>
              <a:custGeom>
                <a:avLst/>
                <a:gdLst>
                  <a:gd name="connsiteX0" fmla="*/ 688 w 18301"/>
                  <a:gd name="connsiteY0" fmla="*/ 12701 h 18436"/>
                  <a:gd name="connsiteX1" fmla="*/ 5652 w 18301"/>
                  <a:gd name="connsiteY1" fmla="*/ 679 h 18436"/>
                  <a:gd name="connsiteX2" fmla="*/ 17614 w 18301"/>
                  <a:gd name="connsiteY2" fmla="*/ 5703 h 18436"/>
                  <a:gd name="connsiteX3" fmla="*/ 12649 w 18301"/>
                  <a:gd name="connsiteY3" fmla="*/ 17724 h 18436"/>
                  <a:gd name="connsiteX4" fmla="*/ 688 w 18301"/>
                  <a:gd name="connsiteY4" fmla="*/ 127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6">
                    <a:moveTo>
                      <a:pt x="688" y="12701"/>
                    </a:moveTo>
                    <a:cubicBezTo>
                      <a:pt x="-1226" y="7976"/>
                      <a:pt x="987" y="2593"/>
                      <a:pt x="5652" y="679"/>
                    </a:cubicBezTo>
                    <a:cubicBezTo>
                      <a:pt x="10317" y="-1235"/>
                      <a:pt x="15700" y="1038"/>
                      <a:pt x="17614" y="5703"/>
                    </a:cubicBezTo>
                    <a:cubicBezTo>
                      <a:pt x="19527" y="10428"/>
                      <a:pt x="17314" y="15810"/>
                      <a:pt x="12649" y="17724"/>
                    </a:cubicBezTo>
                    <a:cubicBezTo>
                      <a:pt x="7985" y="19698"/>
                      <a:pt x="2602" y="17425"/>
                      <a:pt x="688" y="12701"/>
                    </a:cubicBezTo>
                    <a:close/>
                  </a:path>
                </a:pathLst>
              </a:custGeom>
              <a:grpFill/>
              <a:ln w="5978" cap="flat">
                <a:noFill/>
                <a:prstDash val="solid"/>
                <a:miter/>
              </a:ln>
            </p:spPr>
            <p:txBody>
              <a:bodyPr rtlCol="0" anchor="ctr"/>
              <a:lstStyle/>
              <a:p>
                <a:endParaRPr lang="en-GB"/>
              </a:p>
            </p:txBody>
          </p:sp>
          <p:sp>
            <p:nvSpPr>
              <p:cNvPr id="3546" name="Vrije vorm: vorm 3545">
                <a:extLst>
                  <a:ext uri="{FF2B5EF4-FFF2-40B4-BE49-F238E27FC236}">
                    <a16:creationId xmlns:a16="http://schemas.microsoft.com/office/drawing/2014/main" id="{0294D27F-4F89-4D24-802C-3BA5AF42072A}"/>
                  </a:ext>
                </a:extLst>
              </p:cNvPr>
              <p:cNvSpPr/>
              <p:nvPr/>
            </p:nvSpPr>
            <p:spPr>
              <a:xfrm>
                <a:off x="6979133" y="5271513"/>
                <a:ext cx="18301" cy="18469"/>
              </a:xfrm>
              <a:custGeom>
                <a:avLst/>
                <a:gdLst>
                  <a:gd name="connsiteX0" fmla="*/ 688 w 18301"/>
                  <a:gd name="connsiteY0" fmla="*/ 12734 h 18469"/>
                  <a:gd name="connsiteX1" fmla="*/ 12649 w 18301"/>
                  <a:gd name="connsiteY1" fmla="*/ 17757 h 18469"/>
                  <a:gd name="connsiteX2" fmla="*/ 17614 w 18301"/>
                  <a:gd name="connsiteY2" fmla="*/ 5736 h 18469"/>
                  <a:gd name="connsiteX3" fmla="*/ 5652 w 18301"/>
                  <a:gd name="connsiteY3" fmla="*/ 712 h 18469"/>
                  <a:gd name="connsiteX4" fmla="*/ 688 w 18301"/>
                  <a:gd name="connsiteY4" fmla="*/ 12734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9">
                    <a:moveTo>
                      <a:pt x="688" y="12734"/>
                    </a:moveTo>
                    <a:cubicBezTo>
                      <a:pt x="2602" y="17458"/>
                      <a:pt x="7984" y="19731"/>
                      <a:pt x="12649" y="17757"/>
                    </a:cubicBezTo>
                    <a:cubicBezTo>
                      <a:pt x="17315" y="15843"/>
                      <a:pt x="19527" y="10461"/>
                      <a:pt x="17614" y="5736"/>
                    </a:cubicBezTo>
                    <a:cubicBezTo>
                      <a:pt x="15700" y="1011"/>
                      <a:pt x="10317" y="-1261"/>
                      <a:pt x="5652" y="712"/>
                    </a:cubicBezTo>
                    <a:cubicBezTo>
                      <a:pt x="987" y="2626"/>
                      <a:pt x="-1226" y="8009"/>
                      <a:pt x="688" y="12734"/>
                    </a:cubicBezTo>
                    <a:close/>
                  </a:path>
                </a:pathLst>
              </a:custGeom>
              <a:grpFill/>
              <a:ln w="5978" cap="flat">
                <a:noFill/>
                <a:prstDash val="solid"/>
                <a:miter/>
              </a:ln>
            </p:spPr>
            <p:txBody>
              <a:bodyPr rtlCol="0" anchor="ctr"/>
              <a:lstStyle/>
              <a:p>
                <a:endParaRPr lang="en-GB"/>
              </a:p>
            </p:txBody>
          </p:sp>
        </p:grpSp>
        <p:grpSp>
          <p:nvGrpSpPr>
            <p:cNvPr id="616" name="Graphic 3">
              <a:extLst>
                <a:ext uri="{FF2B5EF4-FFF2-40B4-BE49-F238E27FC236}">
                  <a16:creationId xmlns:a16="http://schemas.microsoft.com/office/drawing/2014/main" id="{7CFD283E-B7B0-4CA3-83C2-FF4A16292D64}"/>
                </a:ext>
              </a:extLst>
            </p:cNvPr>
            <p:cNvGrpSpPr/>
            <p:nvPr/>
          </p:nvGrpSpPr>
          <p:grpSpPr>
            <a:xfrm>
              <a:off x="6919150" y="5153195"/>
              <a:ext cx="77682" cy="137046"/>
              <a:chOff x="6919150" y="5153195"/>
              <a:chExt cx="77682" cy="137046"/>
            </a:xfrm>
            <a:grpFill/>
          </p:grpSpPr>
          <p:sp>
            <p:nvSpPr>
              <p:cNvPr id="3541" name="Vrije vorm: vorm 3540">
                <a:extLst>
                  <a:ext uri="{FF2B5EF4-FFF2-40B4-BE49-F238E27FC236}">
                    <a16:creationId xmlns:a16="http://schemas.microsoft.com/office/drawing/2014/main" id="{39032886-87B7-47B9-A49E-EBC3C91639CD}"/>
                  </a:ext>
                </a:extLst>
              </p:cNvPr>
              <p:cNvSpPr/>
              <p:nvPr/>
            </p:nvSpPr>
            <p:spPr>
              <a:xfrm>
                <a:off x="6926562" y="5160999"/>
                <a:ext cx="62557" cy="120759"/>
              </a:xfrm>
              <a:custGeom>
                <a:avLst/>
                <a:gdLst>
                  <a:gd name="connsiteX0" fmla="*/ 0 w 62557"/>
                  <a:gd name="connsiteY0" fmla="*/ 1367 h 120759"/>
                  <a:gd name="connsiteX1" fmla="*/ 2727 w 62557"/>
                  <a:gd name="connsiteY1" fmla="*/ 0 h 120759"/>
                  <a:gd name="connsiteX2" fmla="*/ 62557 w 62557"/>
                  <a:gd name="connsiteY2" fmla="*/ 119394 h 120759"/>
                  <a:gd name="connsiteX3" fmla="*/ 59830 w 62557"/>
                  <a:gd name="connsiteY3" fmla="*/ 120760 h 120759"/>
                </a:gdLst>
                <a:ahLst/>
                <a:cxnLst>
                  <a:cxn ang="0">
                    <a:pos x="connsiteX0" y="connsiteY0"/>
                  </a:cxn>
                  <a:cxn ang="0">
                    <a:pos x="connsiteX1" y="connsiteY1"/>
                  </a:cxn>
                  <a:cxn ang="0">
                    <a:pos x="connsiteX2" y="connsiteY2"/>
                  </a:cxn>
                  <a:cxn ang="0">
                    <a:pos x="connsiteX3" y="connsiteY3"/>
                  </a:cxn>
                </a:cxnLst>
                <a:rect l="l" t="t" r="r" b="b"/>
                <a:pathLst>
                  <a:path w="62557" h="120759">
                    <a:moveTo>
                      <a:pt x="0" y="1367"/>
                    </a:moveTo>
                    <a:lnTo>
                      <a:pt x="2727" y="0"/>
                    </a:lnTo>
                    <a:lnTo>
                      <a:pt x="62557" y="119394"/>
                    </a:lnTo>
                    <a:lnTo>
                      <a:pt x="59830" y="120760"/>
                    </a:lnTo>
                    <a:close/>
                  </a:path>
                </a:pathLst>
              </a:custGeom>
              <a:grpFill/>
              <a:ln w="5978" cap="flat">
                <a:noFill/>
                <a:prstDash val="solid"/>
                <a:miter/>
              </a:ln>
            </p:spPr>
            <p:txBody>
              <a:bodyPr rtlCol="0" anchor="ctr"/>
              <a:lstStyle/>
              <a:p>
                <a:endParaRPr lang="en-GB"/>
              </a:p>
            </p:txBody>
          </p:sp>
          <p:sp>
            <p:nvSpPr>
              <p:cNvPr id="3542" name="Vrije vorm: vorm 3541">
                <a:extLst>
                  <a:ext uri="{FF2B5EF4-FFF2-40B4-BE49-F238E27FC236}">
                    <a16:creationId xmlns:a16="http://schemas.microsoft.com/office/drawing/2014/main" id="{9E169934-9301-49D4-B1CE-A797722BFFBC}"/>
                  </a:ext>
                </a:extLst>
              </p:cNvPr>
              <p:cNvSpPr/>
              <p:nvPr/>
            </p:nvSpPr>
            <p:spPr>
              <a:xfrm>
                <a:off x="6978479" y="5271792"/>
                <a:ext cx="18353" cy="18449"/>
              </a:xfrm>
              <a:custGeom>
                <a:avLst/>
                <a:gdLst>
                  <a:gd name="connsiteX0" fmla="*/ 17371 w 18353"/>
                  <a:gd name="connsiteY0" fmla="*/ 5098 h 18449"/>
                  <a:gd name="connsiteX1" fmla="*/ 13303 w 18353"/>
                  <a:gd name="connsiteY1" fmla="*/ 17478 h 18449"/>
                  <a:gd name="connsiteX2" fmla="*/ 983 w 18353"/>
                  <a:gd name="connsiteY2" fmla="*/ 13351 h 18449"/>
                  <a:gd name="connsiteX3" fmla="*/ 5050 w 18353"/>
                  <a:gd name="connsiteY3" fmla="*/ 971 h 18449"/>
                  <a:gd name="connsiteX4" fmla="*/ 17371 w 18353"/>
                  <a:gd name="connsiteY4" fmla="*/ 509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9">
                    <a:moveTo>
                      <a:pt x="17371" y="5098"/>
                    </a:moveTo>
                    <a:cubicBezTo>
                      <a:pt x="19643" y="9643"/>
                      <a:pt x="17849" y="15205"/>
                      <a:pt x="13303" y="17478"/>
                    </a:cubicBezTo>
                    <a:cubicBezTo>
                      <a:pt x="8758" y="19751"/>
                      <a:pt x="3256" y="17897"/>
                      <a:pt x="983" y="13351"/>
                    </a:cubicBezTo>
                    <a:cubicBezTo>
                      <a:pt x="-1289" y="8806"/>
                      <a:pt x="505" y="3244"/>
                      <a:pt x="5050" y="971"/>
                    </a:cubicBezTo>
                    <a:cubicBezTo>
                      <a:pt x="9595" y="-1302"/>
                      <a:pt x="15098" y="552"/>
                      <a:pt x="17371" y="5098"/>
                    </a:cubicBezTo>
                    <a:close/>
                  </a:path>
                </a:pathLst>
              </a:custGeom>
              <a:grpFill/>
              <a:ln w="5978" cap="flat">
                <a:noFill/>
                <a:prstDash val="solid"/>
                <a:miter/>
              </a:ln>
            </p:spPr>
            <p:txBody>
              <a:bodyPr rtlCol="0" anchor="ctr"/>
              <a:lstStyle/>
              <a:p>
                <a:endParaRPr lang="en-GB"/>
              </a:p>
            </p:txBody>
          </p:sp>
          <p:sp>
            <p:nvSpPr>
              <p:cNvPr id="3543" name="Vrije vorm: vorm 3542">
                <a:extLst>
                  <a:ext uri="{FF2B5EF4-FFF2-40B4-BE49-F238E27FC236}">
                    <a16:creationId xmlns:a16="http://schemas.microsoft.com/office/drawing/2014/main" id="{D123FC2E-AE4C-440C-9C04-BE0B734CC64B}"/>
                  </a:ext>
                </a:extLst>
              </p:cNvPr>
              <p:cNvSpPr/>
              <p:nvPr/>
            </p:nvSpPr>
            <p:spPr>
              <a:xfrm>
                <a:off x="6919150" y="5153195"/>
                <a:ext cx="18343" cy="18448"/>
              </a:xfrm>
              <a:custGeom>
                <a:avLst/>
                <a:gdLst>
                  <a:gd name="connsiteX0" fmla="*/ 17370 w 18343"/>
                  <a:gd name="connsiteY0" fmla="*/ 5098 h 18448"/>
                  <a:gd name="connsiteX1" fmla="*/ 5051 w 18343"/>
                  <a:gd name="connsiteY1" fmla="*/ 971 h 18448"/>
                  <a:gd name="connsiteX2" fmla="*/ 983 w 18343"/>
                  <a:gd name="connsiteY2" fmla="*/ 13351 h 18448"/>
                  <a:gd name="connsiteX3" fmla="*/ 13304 w 18343"/>
                  <a:gd name="connsiteY3" fmla="*/ 17478 h 18448"/>
                  <a:gd name="connsiteX4" fmla="*/ 17370 w 18343"/>
                  <a:gd name="connsiteY4" fmla="*/ 50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8">
                    <a:moveTo>
                      <a:pt x="17370" y="5098"/>
                    </a:moveTo>
                    <a:cubicBezTo>
                      <a:pt x="15098" y="552"/>
                      <a:pt x="9596" y="-1302"/>
                      <a:pt x="5051" y="971"/>
                    </a:cubicBezTo>
                    <a:cubicBezTo>
                      <a:pt x="505" y="3244"/>
                      <a:pt x="-1289" y="8746"/>
                      <a:pt x="983" y="13351"/>
                    </a:cubicBezTo>
                    <a:cubicBezTo>
                      <a:pt x="3256" y="17896"/>
                      <a:pt x="8759" y="19750"/>
                      <a:pt x="13304" y="17478"/>
                    </a:cubicBezTo>
                    <a:cubicBezTo>
                      <a:pt x="17790" y="15145"/>
                      <a:pt x="19643" y="9643"/>
                      <a:pt x="17370" y="5098"/>
                    </a:cubicBezTo>
                    <a:close/>
                  </a:path>
                </a:pathLst>
              </a:custGeom>
              <a:grpFill/>
              <a:ln w="5978" cap="flat">
                <a:noFill/>
                <a:prstDash val="solid"/>
                <a:miter/>
              </a:ln>
            </p:spPr>
            <p:txBody>
              <a:bodyPr rtlCol="0" anchor="ctr"/>
              <a:lstStyle/>
              <a:p>
                <a:endParaRPr lang="en-GB"/>
              </a:p>
            </p:txBody>
          </p:sp>
        </p:grpSp>
        <p:grpSp>
          <p:nvGrpSpPr>
            <p:cNvPr id="617" name="Graphic 3">
              <a:extLst>
                <a:ext uri="{FF2B5EF4-FFF2-40B4-BE49-F238E27FC236}">
                  <a16:creationId xmlns:a16="http://schemas.microsoft.com/office/drawing/2014/main" id="{41BF0245-9E06-40EB-AE95-E0F226990E9D}"/>
                </a:ext>
              </a:extLst>
            </p:cNvPr>
            <p:cNvGrpSpPr/>
            <p:nvPr/>
          </p:nvGrpSpPr>
          <p:grpSpPr>
            <a:xfrm>
              <a:off x="5756472" y="1593553"/>
              <a:ext cx="41670" cy="164884"/>
              <a:chOff x="5756472" y="1593553"/>
              <a:chExt cx="41670" cy="164884"/>
            </a:xfrm>
            <a:grpFill/>
          </p:grpSpPr>
          <p:sp>
            <p:nvSpPr>
              <p:cNvPr id="3538" name="Vrije vorm: vorm 3537">
                <a:extLst>
                  <a:ext uri="{FF2B5EF4-FFF2-40B4-BE49-F238E27FC236}">
                    <a16:creationId xmlns:a16="http://schemas.microsoft.com/office/drawing/2014/main" id="{64B8B5BF-1ACB-4C45-A36E-74A93B7362DC}"/>
                  </a:ext>
                </a:extLst>
              </p:cNvPr>
              <p:cNvSpPr/>
              <p:nvPr/>
            </p:nvSpPr>
            <p:spPr>
              <a:xfrm>
                <a:off x="5764060" y="1602096"/>
                <a:ext cx="26494" cy="147843"/>
              </a:xfrm>
              <a:custGeom>
                <a:avLst/>
                <a:gdLst>
                  <a:gd name="connsiteX0" fmla="*/ 2990 w 26494"/>
                  <a:gd name="connsiteY0" fmla="*/ 0 h 147843"/>
                  <a:gd name="connsiteX1" fmla="*/ 26495 w 26494"/>
                  <a:gd name="connsiteY1" fmla="*/ 147365 h 147843"/>
                  <a:gd name="connsiteX2" fmla="*/ 23504 w 26494"/>
                  <a:gd name="connsiteY2" fmla="*/ 147843 h 147843"/>
                  <a:gd name="connsiteX3" fmla="*/ 0 w 26494"/>
                  <a:gd name="connsiteY3" fmla="*/ 478 h 147843"/>
                </a:gdLst>
                <a:ahLst/>
                <a:cxnLst>
                  <a:cxn ang="0">
                    <a:pos x="connsiteX0" y="connsiteY0"/>
                  </a:cxn>
                  <a:cxn ang="0">
                    <a:pos x="connsiteX1" y="connsiteY1"/>
                  </a:cxn>
                  <a:cxn ang="0">
                    <a:pos x="connsiteX2" y="connsiteY2"/>
                  </a:cxn>
                  <a:cxn ang="0">
                    <a:pos x="connsiteX3" y="connsiteY3"/>
                  </a:cxn>
                </a:cxnLst>
                <a:rect l="l" t="t" r="r" b="b"/>
                <a:pathLst>
                  <a:path w="26494" h="147843">
                    <a:moveTo>
                      <a:pt x="2990" y="0"/>
                    </a:moveTo>
                    <a:lnTo>
                      <a:pt x="26495" y="147365"/>
                    </a:lnTo>
                    <a:lnTo>
                      <a:pt x="23504" y="147843"/>
                    </a:lnTo>
                    <a:lnTo>
                      <a:pt x="0" y="478"/>
                    </a:lnTo>
                    <a:close/>
                  </a:path>
                </a:pathLst>
              </a:custGeom>
              <a:grpFill/>
              <a:ln w="5978" cap="flat">
                <a:noFill/>
                <a:prstDash val="solid"/>
                <a:miter/>
              </a:ln>
            </p:spPr>
            <p:txBody>
              <a:bodyPr rtlCol="0" anchor="ctr"/>
              <a:lstStyle/>
              <a:p>
                <a:endParaRPr lang="en-GB"/>
              </a:p>
            </p:txBody>
          </p:sp>
          <p:sp>
            <p:nvSpPr>
              <p:cNvPr id="3539" name="Vrije vorm: vorm 3538">
                <a:extLst>
                  <a:ext uri="{FF2B5EF4-FFF2-40B4-BE49-F238E27FC236}">
                    <a16:creationId xmlns:a16="http://schemas.microsoft.com/office/drawing/2014/main" id="{9C39FBAD-1549-46D4-83E4-834BB8B84CDB}"/>
                  </a:ext>
                </a:extLst>
              </p:cNvPr>
              <p:cNvSpPr/>
              <p:nvPr/>
            </p:nvSpPr>
            <p:spPr>
              <a:xfrm>
                <a:off x="5756472" y="1593553"/>
                <a:ext cx="18343" cy="18416"/>
              </a:xfrm>
              <a:custGeom>
                <a:avLst/>
                <a:gdLst>
                  <a:gd name="connsiteX0" fmla="*/ 112 w 18343"/>
                  <a:gd name="connsiteY0" fmla="*/ 10636 h 18416"/>
                  <a:gd name="connsiteX1" fmla="*/ 7708 w 18343"/>
                  <a:gd name="connsiteY1" fmla="*/ 110 h 18416"/>
                  <a:gd name="connsiteX2" fmla="*/ 18233 w 18343"/>
                  <a:gd name="connsiteY2" fmla="*/ 7766 h 18416"/>
                  <a:gd name="connsiteX3" fmla="*/ 10638 w 18343"/>
                  <a:gd name="connsiteY3" fmla="*/ 18292 h 18416"/>
                  <a:gd name="connsiteX4" fmla="*/ 112 w 18343"/>
                  <a:gd name="connsiteY4" fmla="*/ 10636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6">
                    <a:moveTo>
                      <a:pt x="112" y="10636"/>
                    </a:moveTo>
                    <a:cubicBezTo>
                      <a:pt x="-666" y="5613"/>
                      <a:pt x="2684" y="888"/>
                      <a:pt x="7708" y="110"/>
                    </a:cubicBezTo>
                    <a:cubicBezTo>
                      <a:pt x="12731" y="-667"/>
                      <a:pt x="17396" y="2742"/>
                      <a:pt x="18233" y="7766"/>
                    </a:cubicBezTo>
                    <a:cubicBezTo>
                      <a:pt x="19011" y="12790"/>
                      <a:pt x="15602" y="17514"/>
                      <a:pt x="10638" y="18292"/>
                    </a:cubicBezTo>
                    <a:cubicBezTo>
                      <a:pt x="5614" y="19129"/>
                      <a:pt x="890" y="15660"/>
                      <a:pt x="112" y="10636"/>
                    </a:cubicBezTo>
                    <a:close/>
                  </a:path>
                </a:pathLst>
              </a:custGeom>
              <a:grpFill/>
              <a:ln w="5978" cap="flat">
                <a:noFill/>
                <a:prstDash val="solid"/>
                <a:miter/>
              </a:ln>
            </p:spPr>
            <p:txBody>
              <a:bodyPr rtlCol="0" anchor="ctr"/>
              <a:lstStyle/>
              <a:p>
                <a:endParaRPr lang="en-GB"/>
              </a:p>
            </p:txBody>
          </p:sp>
          <p:sp>
            <p:nvSpPr>
              <p:cNvPr id="3540" name="Vrije vorm: vorm 3539">
                <a:extLst>
                  <a:ext uri="{FF2B5EF4-FFF2-40B4-BE49-F238E27FC236}">
                    <a16:creationId xmlns:a16="http://schemas.microsoft.com/office/drawing/2014/main" id="{EFBC1623-F8A3-417E-90A8-50327CD7F7DC}"/>
                  </a:ext>
                </a:extLst>
              </p:cNvPr>
              <p:cNvSpPr/>
              <p:nvPr/>
            </p:nvSpPr>
            <p:spPr>
              <a:xfrm>
                <a:off x="5779798" y="1740006"/>
                <a:ext cx="18344" cy="18430"/>
              </a:xfrm>
              <a:custGeom>
                <a:avLst/>
                <a:gdLst>
                  <a:gd name="connsiteX0" fmla="*/ 110 w 18344"/>
                  <a:gd name="connsiteY0" fmla="*/ 10651 h 18430"/>
                  <a:gd name="connsiteX1" fmla="*/ 10637 w 18344"/>
                  <a:gd name="connsiteY1" fmla="*/ 18306 h 18430"/>
                  <a:gd name="connsiteX2" fmla="*/ 18232 w 18344"/>
                  <a:gd name="connsiteY2" fmla="*/ 7780 h 18430"/>
                  <a:gd name="connsiteX3" fmla="*/ 7706 w 18344"/>
                  <a:gd name="connsiteY3" fmla="*/ 125 h 18430"/>
                  <a:gd name="connsiteX4" fmla="*/ 110 w 18344"/>
                  <a:gd name="connsiteY4" fmla="*/ 1065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30">
                    <a:moveTo>
                      <a:pt x="110" y="10651"/>
                    </a:moveTo>
                    <a:cubicBezTo>
                      <a:pt x="888" y="15675"/>
                      <a:pt x="5613" y="19144"/>
                      <a:pt x="10637" y="18306"/>
                    </a:cubicBezTo>
                    <a:cubicBezTo>
                      <a:pt x="15661" y="17529"/>
                      <a:pt x="19010" y="12804"/>
                      <a:pt x="18232" y="7780"/>
                    </a:cubicBezTo>
                    <a:cubicBezTo>
                      <a:pt x="17455" y="2756"/>
                      <a:pt x="12730" y="-713"/>
                      <a:pt x="7706" y="125"/>
                    </a:cubicBezTo>
                    <a:cubicBezTo>
                      <a:pt x="2742" y="902"/>
                      <a:pt x="-667" y="5627"/>
                      <a:pt x="110" y="10651"/>
                    </a:cubicBezTo>
                    <a:close/>
                  </a:path>
                </a:pathLst>
              </a:custGeom>
              <a:grpFill/>
              <a:ln w="5978" cap="flat">
                <a:noFill/>
                <a:prstDash val="solid"/>
                <a:miter/>
              </a:ln>
            </p:spPr>
            <p:txBody>
              <a:bodyPr rtlCol="0" anchor="ctr"/>
              <a:lstStyle/>
              <a:p>
                <a:endParaRPr lang="en-GB"/>
              </a:p>
            </p:txBody>
          </p:sp>
        </p:grpSp>
        <p:grpSp>
          <p:nvGrpSpPr>
            <p:cNvPr id="618" name="Graphic 3">
              <a:extLst>
                <a:ext uri="{FF2B5EF4-FFF2-40B4-BE49-F238E27FC236}">
                  <a16:creationId xmlns:a16="http://schemas.microsoft.com/office/drawing/2014/main" id="{4176038C-1185-4985-9437-40ABB6C7C700}"/>
                </a:ext>
              </a:extLst>
            </p:cNvPr>
            <p:cNvGrpSpPr/>
            <p:nvPr/>
          </p:nvGrpSpPr>
          <p:grpSpPr>
            <a:xfrm>
              <a:off x="5545850" y="1104828"/>
              <a:ext cx="23750" cy="43421"/>
              <a:chOff x="5545850" y="1104828"/>
              <a:chExt cx="23750" cy="43421"/>
            </a:xfrm>
            <a:grpFill/>
          </p:grpSpPr>
          <p:sp>
            <p:nvSpPr>
              <p:cNvPr id="3535" name="Vrije vorm: vorm 3534">
                <a:extLst>
                  <a:ext uri="{FF2B5EF4-FFF2-40B4-BE49-F238E27FC236}">
                    <a16:creationId xmlns:a16="http://schemas.microsoft.com/office/drawing/2014/main" id="{6A4B81DD-F191-4E13-B064-BCAA0CDB93EC}"/>
                  </a:ext>
                </a:extLst>
              </p:cNvPr>
              <p:cNvSpPr/>
              <p:nvPr/>
            </p:nvSpPr>
            <p:spPr>
              <a:xfrm>
                <a:off x="5553479" y="1113292"/>
                <a:ext cx="8552" cy="26494"/>
              </a:xfrm>
              <a:custGeom>
                <a:avLst/>
                <a:gdLst>
                  <a:gd name="connsiteX0" fmla="*/ 2930 w 8552"/>
                  <a:gd name="connsiteY0" fmla="*/ 0 h 26494"/>
                  <a:gd name="connsiteX1" fmla="*/ 8552 w 8552"/>
                  <a:gd name="connsiteY1" fmla="*/ 25897 h 26494"/>
                  <a:gd name="connsiteX2" fmla="*/ 5622 w 8552"/>
                  <a:gd name="connsiteY2" fmla="*/ 26495 h 26494"/>
                  <a:gd name="connsiteX3" fmla="*/ 0 w 8552"/>
                  <a:gd name="connsiteY3" fmla="*/ 598 h 26494"/>
                </a:gdLst>
                <a:ahLst/>
                <a:cxnLst>
                  <a:cxn ang="0">
                    <a:pos x="connsiteX0" y="connsiteY0"/>
                  </a:cxn>
                  <a:cxn ang="0">
                    <a:pos x="connsiteX1" y="connsiteY1"/>
                  </a:cxn>
                  <a:cxn ang="0">
                    <a:pos x="connsiteX2" y="connsiteY2"/>
                  </a:cxn>
                  <a:cxn ang="0">
                    <a:pos x="connsiteX3" y="connsiteY3"/>
                  </a:cxn>
                </a:cxnLst>
                <a:rect l="l" t="t" r="r" b="b"/>
                <a:pathLst>
                  <a:path w="8552" h="26494">
                    <a:moveTo>
                      <a:pt x="2930" y="0"/>
                    </a:moveTo>
                    <a:lnTo>
                      <a:pt x="8552" y="25897"/>
                    </a:lnTo>
                    <a:lnTo>
                      <a:pt x="5622" y="26495"/>
                    </a:lnTo>
                    <a:lnTo>
                      <a:pt x="0" y="598"/>
                    </a:lnTo>
                    <a:close/>
                  </a:path>
                </a:pathLst>
              </a:custGeom>
              <a:grpFill/>
              <a:ln w="5978" cap="flat">
                <a:noFill/>
                <a:prstDash val="solid"/>
                <a:miter/>
              </a:ln>
            </p:spPr>
            <p:txBody>
              <a:bodyPr rtlCol="0" anchor="ctr"/>
              <a:lstStyle/>
              <a:p>
                <a:endParaRPr lang="en-GB"/>
              </a:p>
            </p:txBody>
          </p:sp>
          <p:sp>
            <p:nvSpPr>
              <p:cNvPr id="3536" name="Vrije vorm: vorm 3535">
                <a:extLst>
                  <a:ext uri="{FF2B5EF4-FFF2-40B4-BE49-F238E27FC236}">
                    <a16:creationId xmlns:a16="http://schemas.microsoft.com/office/drawing/2014/main" id="{7A07D969-B083-4290-8998-5EA1521A1150}"/>
                  </a:ext>
                </a:extLst>
              </p:cNvPr>
              <p:cNvSpPr/>
              <p:nvPr/>
            </p:nvSpPr>
            <p:spPr>
              <a:xfrm>
                <a:off x="5545850" y="1104828"/>
                <a:ext cx="18307" cy="18421"/>
              </a:xfrm>
              <a:custGeom>
                <a:avLst/>
                <a:gdLst>
                  <a:gd name="connsiteX0" fmla="*/ 213 w 18307"/>
                  <a:gd name="connsiteY0" fmla="*/ 11155 h 18421"/>
                  <a:gd name="connsiteX1" fmla="*/ 7210 w 18307"/>
                  <a:gd name="connsiteY1" fmla="*/ 210 h 18421"/>
                  <a:gd name="connsiteX2" fmla="*/ 18095 w 18307"/>
                  <a:gd name="connsiteY2" fmla="*/ 7267 h 18421"/>
                  <a:gd name="connsiteX3" fmla="*/ 11098 w 18307"/>
                  <a:gd name="connsiteY3" fmla="*/ 18212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864" y="6191"/>
                      <a:pt x="2246" y="1287"/>
                      <a:pt x="7210" y="210"/>
                    </a:cubicBezTo>
                    <a:cubicBezTo>
                      <a:pt x="12174" y="-867"/>
                      <a:pt x="17019" y="2303"/>
                      <a:pt x="18095" y="7267"/>
                    </a:cubicBezTo>
                    <a:cubicBezTo>
                      <a:pt x="19172" y="12231"/>
                      <a:pt x="16062" y="17135"/>
                      <a:pt x="11098" y="18212"/>
                    </a:cubicBezTo>
                    <a:cubicBezTo>
                      <a:pt x="6194" y="19288"/>
                      <a:pt x="1349" y="16119"/>
                      <a:pt x="213" y="11155"/>
                    </a:cubicBezTo>
                    <a:close/>
                  </a:path>
                </a:pathLst>
              </a:custGeom>
              <a:grpFill/>
              <a:ln w="5978" cap="flat">
                <a:noFill/>
                <a:prstDash val="solid"/>
                <a:miter/>
              </a:ln>
            </p:spPr>
            <p:txBody>
              <a:bodyPr rtlCol="0" anchor="ctr"/>
              <a:lstStyle/>
              <a:p>
                <a:endParaRPr lang="en-GB"/>
              </a:p>
            </p:txBody>
          </p:sp>
          <p:sp>
            <p:nvSpPr>
              <p:cNvPr id="3537" name="Vrije vorm: vorm 3536">
                <a:extLst>
                  <a:ext uri="{FF2B5EF4-FFF2-40B4-BE49-F238E27FC236}">
                    <a16:creationId xmlns:a16="http://schemas.microsoft.com/office/drawing/2014/main" id="{21B09680-091B-4E3D-8428-82D9A14B8F74}"/>
                  </a:ext>
                </a:extLst>
              </p:cNvPr>
              <p:cNvSpPr/>
              <p:nvPr/>
            </p:nvSpPr>
            <p:spPr>
              <a:xfrm>
                <a:off x="5551295" y="1129828"/>
                <a:ext cx="18305" cy="18421"/>
              </a:xfrm>
              <a:custGeom>
                <a:avLst/>
                <a:gdLst>
                  <a:gd name="connsiteX0" fmla="*/ 210 w 18305"/>
                  <a:gd name="connsiteY0" fmla="*/ 11155 h 18421"/>
                  <a:gd name="connsiteX1" fmla="*/ 11095 w 18305"/>
                  <a:gd name="connsiteY1" fmla="*/ 18212 h 18421"/>
                  <a:gd name="connsiteX2" fmla="*/ 18093 w 18305"/>
                  <a:gd name="connsiteY2" fmla="*/ 7267 h 18421"/>
                  <a:gd name="connsiteX3" fmla="*/ 7208 w 18305"/>
                  <a:gd name="connsiteY3" fmla="*/ 210 h 18421"/>
                  <a:gd name="connsiteX4" fmla="*/ 210 w 18305"/>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21">
                    <a:moveTo>
                      <a:pt x="210" y="11155"/>
                    </a:moveTo>
                    <a:cubicBezTo>
                      <a:pt x="1287" y="16119"/>
                      <a:pt x="6191" y="19288"/>
                      <a:pt x="11095" y="18212"/>
                    </a:cubicBezTo>
                    <a:cubicBezTo>
                      <a:pt x="16059" y="17135"/>
                      <a:pt x="19169" y="12231"/>
                      <a:pt x="18093" y="7267"/>
                    </a:cubicBezTo>
                    <a:cubicBezTo>
                      <a:pt x="17016" y="2303"/>
                      <a:pt x="12112" y="-867"/>
                      <a:pt x="7208" y="210"/>
                    </a:cubicBezTo>
                    <a:cubicBezTo>
                      <a:pt x="2303" y="1287"/>
                      <a:pt x="-867" y="6131"/>
                      <a:pt x="210" y="11155"/>
                    </a:cubicBezTo>
                    <a:close/>
                  </a:path>
                </a:pathLst>
              </a:custGeom>
              <a:grpFill/>
              <a:ln w="5978" cap="flat">
                <a:noFill/>
                <a:prstDash val="solid"/>
                <a:miter/>
              </a:ln>
            </p:spPr>
            <p:txBody>
              <a:bodyPr rtlCol="0" anchor="ctr"/>
              <a:lstStyle/>
              <a:p>
                <a:endParaRPr lang="en-GB"/>
              </a:p>
            </p:txBody>
          </p:sp>
        </p:grpSp>
        <p:grpSp>
          <p:nvGrpSpPr>
            <p:cNvPr id="619" name="Graphic 3">
              <a:extLst>
                <a:ext uri="{FF2B5EF4-FFF2-40B4-BE49-F238E27FC236}">
                  <a16:creationId xmlns:a16="http://schemas.microsoft.com/office/drawing/2014/main" id="{F2EDC22B-9E18-4C62-980F-10860DA6C5DC}"/>
                </a:ext>
              </a:extLst>
            </p:cNvPr>
            <p:cNvGrpSpPr/>
            <p:nvPr/>
          </p:nvGrpSpPr>
          <p:grpSpPr>
            <a:xfrm>
              <a:off x="5608254" y="1195179"/>
              <a:ext cx="91161" cy="386628"/>
              <a:chOff x="5608254" y="1195179"/>
              <a:chExt cx="91161" cy="386628"/>
            </a:xfrm>
            <a:grpFill/>
          </p:grpSpPr>
          <p:sp>
            <p:nvSpPr>
              <p:cNvPr id="3532" name="Vrije vorm: vorm 3531">
                <a:extLst>
                  <a:ext uri="{FF2B5EF4-FFF2-40B4-BE49-F238E27FC236}">
                    <a16:creationId xmlns:a16="http://schemas.microsoft.com/office/drawing/2014/main" id="{2F8B8327-0A5F-4C84-A4CC-6BBE7CCAB706}"/>
                  </a:ext>
                </a:extLst>
              </p:cNvPr>
              <p:cNvSpPr/>
              <p:nvPr/>
            </p:nvSpPr>
            <p:spPr>
              <a:xfrm>
                <a:off x="5615930" y="1203431"/>
                <a:ext cx="76021" cy="369690"/>
              </a:xfrm>
              <a:custGeom>
                <a:avLst/>
                <a:gdLst>
                  <a:gd name="connsiteX0" fmla="*/ 0 w 76021"/>
                  <a:gd name="connsiteY0" fmla="*/ 592 h 369690"/>
                  <a:gd name="connsiteX1" fmla="*/ 2992 w 76021"/>
                  <a:gd name="connsiteY1" fmla="*/ 0 h 369690"/>
                  <a:gd name="connsiteX2" fmla="*/ 76022 w 76021"/>
                  <a:gd name="connsiteY2" fmla="*/ 369098 h 369690"/>
                  <a:gd name="connsiteX3" fmla="*/ 73030 w 76021"/>
                  <a:gd name="connsiteY3" fmla="*/ 369691 h 369690"/>
                </a:gdLst>
                <a:ahLst/>
                <a:cxnLst>
                  <a:cxn ang="0">
                    <a:pos x="connsiteX0" y="connsiteY0"/>
                  </a:cxn>
                  <a:cxn ang="0">
                    <a:pos x="connsiteX1" y="connsiteY1"/>
                  </a:cxn>
                  <a:cxn ang="0">
                    <a:pos x="connsiteX2" y="connsiteY2"/>
                  </a:cxn>
                  <a:cxn ang="0">
                    <a:pos x="connsiteX3" y="connsiteY3"/>
                  </a:cxn>
                </a:cxnLst>
                <a:rect l="l" t="t" r="r" b="b"/>
                <a:pathLst>
                  <a:path w="76021" h="369690">
                    <a:moveTo>
                      <a:pt x="0" y="592"/>
                    </a:moveTo>
                    <a:lnTo>
                      <a:pt x="2992" y="0"/>
                    </a:lnTo>
                    <a:lnTo>
                      <a:pt x="76022" y="369098"/>
                    </a:lnTo>
                    <a:lnTo>
                      <a:pt x="73030" y="369691"/>
                    </a:lnTo>
                    <a:close/>
                  </a:path>
                </a:pathLst>
              </a:custGeom>
              <a:grpFill/>
              <a:ln w="5978" cap="flat">
                <a:noFill/>
                <a:prstDash val="solid"/>
                <a:miter/>
              </a:ln>
            </p:spPr>
            <p:txBody>
              <a:bodyPr rtlCol="0" anchor="ctr"/>
              <a:lstStyle/>
              <a:p>
                <a:endParaRPr lang="en-GB"/>
              </a:p>
            </p:txBody>
          </p:sp>
          <p:sp>
            <p:nvSpPr>
              <p:cNvPr id="3533" name="Vrije vorm: vorm 3532">
                <a:extLst>
                  <a:ext uri="{FF2B5EF4-FFF2-40B4-BE49-F238E27FC236}">
                    <a16:creationId xmlns:a16="http://schemas.microsoft.com/office/drawing/2014/main" id="{96C2AE73-84AB-49D4-8857-BCA91FB1AF82}"/>
                  </a:ext>
                </a:extLst>
              </p:cNvPr>
              <p:cNvSpPr/>
              <p:nvPr/>
            </p:nvSpPr>
            <p:spPr>
              <a:xfrm>
                <a:off x="5608254" y="1195179"/>
                <a:ext cx="18316" cy="18455"/>
              </a:xfrm>
              <a:custGeom>
                <a:avLst/>
                <a:gdLst>
                  <a:gd name="connsiteX0" fmla="*/ 187 w 18316"/>
                  <a:gd name="connsiteY0" fmla="*/ 10993 h 18455"/>
                  <a:gd name="connsiteX1" fmla="*/ 7364 w 18316"/>
                  <a:gd name="connsiteY1" fmla="*/ 168 h 18455"/>
                  <a:gd name="connsiteX2" fmla="*/ 18129 w 18316"/>
                  <a:gd name="connsiteY2" fmla="*/ 7464 h 18455"/>
                  <a:gd name="connsiteX3" fmla="*/ 10952 w 18316"/>
                  <a:gd name="connsiteY3" fmla="*/ 18289 h 18455"/>
                  <a:gd name="connsiteX4" fmla="*/ 187 w 18316"/>
                  <a:gd name="connsiteY4" fmla="*/ 10993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5">
                    <a:moveTo>
                      <a:pt x="187" y="10993"/>
                    </a:moveTo>
                    <a:cubicBezTo>
                      <a:pt x="-830" y="6029"/>
                      <a:pt x="2400" y="1185"/>
                      <a:pt x="7364" y="168"/>
                    </a:cubicBezTo>
                    <a:cubicBezTo>
                      <a:pt x="12328" y="-789"/>
                      <a:pt x="17173" y="2440"/>
                      <a:pt x="18129" y="7464"/>
                    </a:cubicBezTo>
                    <a:cubicBezTo>
                      <a:pt x="19146" y="12428"/>
                      <a:pt x="15916" y="17273"/>
                      <a:pt x="10952" y="18289"/>
                    </a:cubicBezTo>
                    <a:cubicBezTo>
                      <a:pt x="5989" y="19246"/>
                      <a:pt x="1144" y="15957"/>
                      <a:pt x="187" y="10993"/>
                    </a:cubicBezTo>
                    <a:close/>
                  </a:path>
                </a:pathLst>
              </a:custGeom>
              <a:grpFill/>
              <a:ln w="5978" cap="flat">
                <a:noFill/>
                <a:prstDash val="solid"/>
                <a:miter/>
              </a:ln>
            </p:spPr>
            <p:txBody>
              <a:bodyPr rtlCol="0" anchor="ctr"/>
              <a:lstStyle/>
              <a:p>
                <a:endParaRPr lang="en-GB"/>
              </a:p>
            </p:txBody>
          </p:sp>
          <p:sp>
            <p:nvSpPr>
              <p:cNvPr id="3534" name="Vrije vorm: vorm 3533">
                <a:extLst>
                  <a:ext uri="{FF2B5EF4-FFF2-40B4-BE49-F238E27FC236}">
                    <a16:creationId xmlns:a16="http://schemas.microsoft.com/office/drawing/2014/main" id="{003F7DBB-452B-438F-B5B3-8BCFDF3902A2}"/>
                  </a:ext>
                </a:extLst>
              </p:cNvPr>
              <p:cNvSpPr/>
              <p:nvPr/>
            </p:nvSpPr>
            <p:spPr>
              <a:xfrm>
                <a:off x="5681099" y="1563355"/>
                <a:ext cx="18316" cy="18452"/>
              </a:xfrm>
              <a:custGeom>
                <a:avLst/>
                <a:gdLst>
                  <a:gd name="connsiteX0" fmla="*/ 187 w 18316"/>
                  <a:gd name="connsiteY0" fmla="*/ 10991 h 18452"/>
                  <a:gd name="connsiteX1" fmla="*/ 10953 w 18316"/>
                  <a:gd name="connsiteY1" fmla="*/ 18287 h 18452"/>
                  <a:gd name="connsiteX2" fmla="*/ 18129 w 18316"/>
                  <a:gd name="connsiteY2" fmla="*/ 7462 h 18452"/>
                  <a:gd name="connsiteX3" fmla="*/ 7364 w 18316"/>
                  <a:gd name="connsiteY3" fmla="*/ 166 h 18452"/>
                  <a:gd name="connsiteX4" fmla="*/ 187 w 18316"/>
                  <a:gd name="connsiteY4" fmla="*/ 1099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2">
                    <a:moveTo>
                      <a:pt x="187" y="10991"/>
                    </a:moveTo>
                    <a:cubicBezTo>
                      <a:pt x="1204" y="15955"/>
                      <a:pt x="5989" y="19244"/>
                      <a:pt x="10953" y="18287"/>
                    </a:cubicBezTo>
                    <a:cubicBezTo>
                      <a:pt x="15916" y="17330"/>
                      <a:pt x="19146" y="12486"/>
                      <a:pt x="18129" y="7462"/>
                    </a:cubicBezTo>
                    <a:cubicBezTo>
                      <a:pt x="17113" y="2498"/>
                      <a:pt x="12328" y="-791"/>
                      <a:pt x="7364" y="166"/>
                    </a:cubicBezTo>
                    <a:cubicBezTo>
                      <a:pt x="2400" y="1182"/>
                      <a:pt x="-830" y="6027"/>
                      <a:pt x="187" y="10991"/>
                    </a:cubicBezTo>
                    <a:close/>
                  </a:path>
                </a:pathLst>
              </a:custGeom>
              <a:grpFill/>
              <a:ln w="5978" cap="flat">
                <a:noFill/>
                <a:prstDash val="solid"/>
                <a:miter/>
              </a:ln>
            </p:spPr>
            <p:txBody>
              <a:bodyPr rtlCol="0" anchor="ctr"/>
              <a:lstStyle/>
              <a:p>
                <a:endParaRPr lang="en-GB"/>
              </a:p>
            </p:txBody>
          </p:sp>
        </p:grpSp>
        <p:grpSp>
          <p:nvGrpSpPr>
            <p:cNvPr id="620" name="Graphic 3">
              <a:extLst>
                <a:ext uri="{FF2B5EF4-FFF2-40B4-BE49-F238E27FC236}">
                  <a16:creationId xmlns:a16="http://schemas.microsoft.com/office/drawing/2014/main" id="{EC0858EB-3B6E-4FA6-80DD-990AD5C52479}"/>
                </a:ext>
              </a:extLst>
            </p:cNvPr>
            <p:cNvGrpSpPr/>
            <p:nvPr/>
          </p:nvGrpSpPr>
          <p:grpSpPr>
            <a:xfrm>
              <a:off x="5651139" y="1201024"/>
              <a:ext cx="82544" cy="550535"/>
              <a:chOff x="5651139" y="1201024"/>
              <a:chExt cx="82544" cy="550535"/>
            </a:xfrm>
            <a:grpFill/>
          </p:grpSpPr>
          <p:sp>
            <p:nvSpPr>
              <p:cNvPr id="3529" name="Vrije vorm: vorm 3528">
                <a:extLst>
                  <a:ext uri="{FF2B5EF4-FFF2-40B4-BE49-F238E27FC236}">
                    <a16:creationId xmlns:a16="http://schemas.microsoft.com/office/drawing/2014/main" id="{37113411-BFA7-4A89-8D20-0BFE9FDE65BD}"/>
                  </a:ext>
                </a:extLst>
              </p:cNvPr>
              <p:cNvSpPr/>
              <p:nvPr/>
            </p:nvSpPr>
            <p:spPr>
              <a:xfrm>
                <a:off x="5658743" y="1209659"/>
                <a:ext cx="67293" cy="533388"/>
              </a:xfrm>
              <a:custGeom>
                <a:avLst/>
                <a:gdLst>
                  <a:gd name="connsiteX0" fmla="*/ 0 w 67293"/>
                  <a:gd name="connsiteY0" fmla="*/ 365 h 533388"/>
                  <a:gd name="connsiteX1" fmla="*/ 3028 w 67293"/>
                  <a:gd name="connsiteY1" fmla="*/ 0 h 533388"/>
                  <a:gd name="connsiteX2" fmla="*/ 67294 w 67293"/>
                  <a:gd name="connsiteY2" fmla="*/ 533024 h 533388"/>
                  <a:gd name="connsiteX3" fmla="*/ 64266 w 67293"/>
                  <a:gd name="connsiteY3" fmla="*/ 533389 h 533388"/>
                </a:gdLst>
                <a:ahLst/>
                <a:cxnLst>
                  <a:cxn ang="0">
                    <a:pos x="connsiteX0" y="connsiteY0"/>
                  </a:cxn>
                  <a:cxn ang="0">
                    <a:pos x="connsiteX1" y="connsiteY1"/>
                  </a:cxn>
                  <a:cxn ang="0">
                    <a:pos x="connsiteX2" y="connsiteY2"/>
                  </a:cxn>
                  <a:cxn ang="0">
                    <a:pos x="connsiteX3" y="connsiteY3"/>
                  </a:cxn>
                </a:cxnLst>
                <a:rect l="l" t="t" r="r" b="b"/>
                <a:pathLst>
                  <a:path w="67293" h="533388">
                    <a:moveTo>
                      <a:pt x="0" y="365"/>
                    </a:moveTo>
                    <a:lnTo>
                      <a:pt x="3028" y="0"/>
                    </a:lnTo>
                    <a:lnTo>
                      <a:pt x="67294" y="533024"/>
                    </a:lnTo>
                    <a:lnTo>
                      <a:pt x="64266" y="533389"/>
                    </a:lnTo>
                    <a:close/>
                  </a:path>
                </a:pathLst>
              </a:custGeom>
              <a:grpFill/>
              <a:ln w="5978" cap="flat">
                <a:noFill/>
                <a:prstDash val="solid"/>
                <a:miter/>
              </a:ln>
            </p:spPr>
            <p:txBody>
              <a:bodyPr rtlCol="0" anchor="ctr"/>
              <a:lstStyle/>
              <a:p>
                <a:endParaRPr lang="en-GB"/>
              </a:p>
            </p:txBody>
          </p:sp>
          <p:sp>
            <p:nvSpPr>
              <p:cNvPr id="3530" name="Vrije vorm: vorm 3529">
                <a:extLst>
                  <a:ext uri="{FF2B5EF4-FFF2-40B4-BE49-F238E27FC236}">
                    <a16:creationId xmlns:a16="http://schemas.microsoft.com/office/drawing/2014/main" id="{41D595B5-D348-4A6F-8FAA-26F4FBB7B309}"/>
                  </a:ext>
                </a:extLst>
              </p:cNvPr>
              <p:cNvSpPr/>
              <p:nvPr/>
            </p:nvSpPr>
            <p:spPr>
              <a:xfrm>
                <a:off x="5715312" y="1733128"/>
                <a:ext cx="18371" cy="18430"/>
              </a:xfrm>
              <a:custGeom>
                <a:avLst/>
                <a:gdLst>
                  <a:gd name="connsiteX0" fmla="*/ 18306 w 18371"/>
                  <a:gd name="connsiteY0" fmla="*/ 8139 h 18430"/>
                  <a:gd name="connsiteX1" fmla="*/ 10292 w 18371"/>
                  <a:gd name="connsiteY1" fmla="*/ 18366 h 18430"/>
                  <a:gd name="connsiteX2" fmla="*/ 65 w 18371"/>
                  <a:gd name="connsiteY2" fmla="*/ 10292 h 18430"/>
                  <a:gd name="connsiteX3" fmla="*/ 8079 w 18371"/>
                  <a:gd name="connsiteY3" fmla="*/ 65 h 18430"/>
                  <a:gd name="connsiteX4" fmla="*/ 18306 w 18371"/>
                  <a:gd name="connsiteY4" fmla="*/ 8139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30">
                    <a:moveTo>
                      <a:pt x="18306" y="8139"/>
                    </a:moveTo>
                    <a:cubicBezTo>
                      <a:pt x="18905" y="13163"/>
                      <a:pt x="15316" y="17768"/>
                      <a:pt x="10292" y="18366"/>
                    </a:cubicBezTo>
                    <a:cubicBezTo>
                      <a:pt x="5268" y="18964"/>
                      <a:pt x="723" y="15316"/>
                      <a:pt x="65" y="10292"/>
                    </a:cubicBezTo>
                    <a:cubicBezTo>
                      <a:pt x="-533" y="5268"/>
                      <a:pt x="3055" y="663"/>
                      <a:pt x="8079" y="65"/>
                    </a:cubicBezTo>
                    <a:cubicBezTo>
                      <a:pt x="13163" y="-533"/>
                      <a:pt x="17708" y="3055"/>
                      <a:pt x="18306" y="8139"/>
                    </a:cubicBezTo>
                    <a:close/>
                  </a:path>
                </a:pathLst>
              </a:custGeom>
              <a:grpFill/>
              <a:ln w="5978" cap="flat">
                <a:noFill/>
                <a:prstDash val="solid"/>
                <a:miter/>
              </a:ln>
            </p:spPr>
            <p:txBody>
              <a:bodyPr rtlCol="0" anchor="ctr"/>
              <a:lstStyle/>
              <a:p>
                <a:endParaRPr lang="en-GB"/>
              </a:p>
            </p:txBody>
          </p:sp>
          <p:sp>
            <p:nvSpPr>
              <p:cNvPr id="3531" name="Vrije vorm: vorm 3530">
                <a:extLst>
                  <a:ext uri="{FF2B5EF4-FFF2-40B4-BE49-F238E27FC236}">
                    <a16:creationId xmlns:a16="http://schemas.microsoft.com/office/drawing/2014/main" id="{7B5AF072-E594-48C5-92ED-8D30BB2BB006}"/>
                  </a:ext>
                </a:extLst>
              </p:cNvPr>
              <p:cNvSpPr/>
              <p:nvPr/>
            </p:nvSpPr>
            <p:spPr>
              <a:xfrm>
                <a:off x="5651139" y="1201024"/>
                <a:ext cx="18384" cy="18430"/>
              </a:xfrm>
              <a:custGeom>
                <a:avLst/>
                <a:gdLst>
                  <a:gd name="connsiteX0" fmla="*/ 18306 w 18384"/>
                  <a:gd name="connsiteY0" fmla="*/ 8139 h 18430"/>
                  <a:gd name="connsiteX1" fmla="*/ 8079 w 18384"/>
                  <a:gd name="connsiteY1" fmla="*/ 65 h 18430"/>
                  <a:gd name="connsiteX2" fmla="*/ 65 w 18384"/>
                  <a:gd name="connsiteY2" fmla="*/ 10292 h 18430"/>
                  <a:gd name="connsiteX3" fmla="*/ 10292 w 18384"/>
                  <a:gd name="connsiteY3" fmla="*/ 18366 h 18430"/>
                  <a:gd name="connsiteX4" fmla="*/ 18306 w 18384"/>
                  <a:gd name="connsiteY4" fmla="*/ 8139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30">
                    <a:moveTo>
                      <a:pt x="18306" y="8139"/>
                    </a:moveTo>
                    <a:cubicBezTo>
                      <a:pt x="17708" y="3055"/>
                      <a:pt x="13103" y="-533"/>
                      <a:pt x="8079" y="65"/>
                    </a:cubicBezTo>
                    <a:cubicBezTo>
                      <a:pt x="3056" y="663"/>
                      <a:pt x="-533" y="5209"/>
                      <a:pt x="65" y="10292"/>
                    </a:cubicBezTo>
                    <a:cubicBezTo>
                      <a:pt x="663" y="15316"/>
                      <a:pt x="5268" y="18964"/>
                      <a:pt x="10292" y="18366"/>
                    </a:cubicBezTo>
                    <a:cubicBezTo>
                      <a:pt x="15376" y="17768"/>
                      <a:pt x="18964" y="13223"/>
                      <a:pt x="18306" y="8139"/>
                    </a:cubicBezTo>
                    <a:close/>
                  </a:path>
                </a:pathLst>
              </a:custGeom>
              <a:grpFill/>
              <a:ln w="5978" cap="flat">
                <a:noFill/>
                <a:prstDash val="solid"/>
                <a:miter/>
              </a:ln>
            </p:spPr>
            <p:txBody>
              <a:bodyPr rtlCol="0" anchor="ctr"/>
              <a:lstStyle/>
              <a:p>
                <a:endParaRPr lang="en-GB"/>
              </a:p>
            </p:txBody>
          </p:sp>
        </p:grpSp>
        <p:grpSp>
          <p:nvGrpSpPr>
            <p:cNvPr id="621" name="Graphic 3">
              <a:extLst>
                <a:ext uri="{FF2B5EF4-FFF2-40B4-BE49-F238E27FC236}">
                  <a16:creationId xmlns:a16="http://schemas.microsoft.com/office/drawing/2014/main" id="{DDB2AC56-32BF-4217-9B4E-5C235289B8B3}"/>
                </a:ext>
              </a:extLst>
            </p:cNvPr>
            <p:cNvGrpSpPr/>
            <p:nvPr/>
          </p:nvGrpSpPr>
          <p:grpSpPr>
            <a:xfrm>
              <a:off x="6828748" y="4902630"/>
              <a:ext cx="56550" cy="91332"/>
              <a:chOff x="6828748" y="4902630"/>
              <a:chExt cx="56550" cy="91332"/>
            </a:xfrm>
            <a:grpFill/>
          </p:grpSpPr>
          <p:sp>
            <p:nvSpPr>
              <p:cNvPr id="3526" name="Vrije vorm: vorm 3525">
                <a:extLst>
                  <a:ext uri="{FF2B5EF4-FFF2-40B4-BE49-F238E27FC236}">
                    <a16:creationId xmlns:a16="http://schemas.microsoft.com/office/drawing/2014/main" id="{78573D08-EEDC-45F3-8AAE-07ACF8E86F04}"/>
                  </a:ext>
                </a:extLst>
              </p:cNvPr>
              <p:cNvSpPr/>
              <p:nvPr/>
            </p:nvSpPr>
            <p:spPr>
              <a:xfrm>
                <a:off x="6836343" y="4910691"/>
                <a:ext cx="41326" cy="75177"/>
              </a:xfrm>
              <a:custGeom>
                <a:avLst/>
                <a:gdLst>
                  <a:gd name="connsiteX0" fmla="*/ 41327 w 41326"/>
                  <a:gd name="connsiteY0" fmla="*/ 73802 h 75177"/>
                  <a:gd name="connsiteX1" fmla="*/ 38635 w 41326"/>
                  <a:gd name="connsiteY1" fmla="*/ 75178 h 75177"/>
                  <a:gd name="connsiteX2" fmla="*/ 0 w 41326"/>
                  <a:gd name="connsiteY2" fmla="*/ 1435 h 75177"/>
                  <a:gd name="connsiteX3" fmla="*/ 2692 w 41326"/>
                  <a:gd name="connsiteY3" fmla="*/ 0 h 75177"/>
                </a:gdLst>
                <a:ahLst/>
                <a:cxnLst>
                  <a:cxn ang="0">
                    <a:pos x="connsiteX0" y="connsiteY0"/>
                  </a:cxn>
                  <a:cxn ang="0">
                    <a:pos x="connsiteX1" y="connsiteY1"/>
                  </a:cxn>
                  <a:cxn ang="0">
                    <a:pos x="connsiteX2" y="connsiteY2"/>
                  </a:cxn>
                  <a:cxn ang="0">
                    <a:pos x="connsiteX3" y="connsiteY3"/>
                  </a:cxn>
                </a:cxnLst>
                <a:rect l="l" t="t" r="r" b="b"/>
                <a:pathLst>
                  <a:path w="41326" h="75177">
                    <a:moveTo>
                      <a:pt x="41327" y="73802"/>
                    </a:moveTo>
                    <a:lnTo>
                      <a:pt x="38635" y="75178"/>
                    </a:lnTo>
                    <a:lnTo>
                      <a:pt x="0" y="1435"/>
                    </a:lnTo>
                    <a:lnTo>
                      <a:pt x="2692" y="0"/>
                    </a:lnTo>
                    <a:close/>
                  </a:path>
                </a:pathLst>
              </a:custGeom>
              <a:grpFill/>
              <a:ln w="5978" cap="flat">
                <a:noFill/>
                <a:prstDash val="solid"/>
                <a:miter/>
              </a:ln>
            </p:spPr>
            <p:txBody>
              <a:bodyPr rtlCol="0" anchor="ctr"/>
              <a:lstStyle/>
              <a:p>
                <a:endParaRPr lang="en-GB"/>
              </a:p>
            </p:txBody>
          </p:sp>
          <p:sp>
            <p:nvSpPr>
              <p:cNvPr id="3527" name="Vrije vorm: vorm 3526">
                <a:extLst>
                  <a:ext uri="{FF2B5EF4-FFF2-40B4-BE49-F238E27FC236}">
                    <a16:creationId xmlns:a16="http://schemas.microsoft.com/office/drawing/2014/main" id="{7CD54FF7-EC4C-4EF8-9B9A-B687FE1B4F0E}"/>
                  </a:ext>
                </a:extLst>
              </p:cNvPr>
              <p:cNvSpPr/>
              <p:nvPr/>
            </p:nvSpPr>
            <p:spPr>
              <a:xfrm>
                <a:off x="6866992" y="4975562"/>
                <a:ext cx="18307" cy="18400"/>
              </a:xfrm>
              <a:custGeom>
                <a:avLst/>
                <a:gdLst>
                  <a:gd name="connsiteX0" fmla="*/ 17257 w 18307"/>
                  <a:gd name="connsiteY0" fmla="*/ 4924 h 18400"/>
                  <a:gd name="connsiteX1" fmla="*/ 13430 w 18307"/>
                  <a:gd name="connsiteY1" fmla="*/ 17364 h 18400"/>
                  <a:gd name="connsiteX2" fmla="*/ 1050 w 18307"/>
                  <a:gd name="connsiteY2" fmla="*/ 13476 h 18400"/>
                  <a:gd name="connsiteX3" fmla="*/ 4878 w 18307"/>
                  <a:gd name="connsiteY3" fmla="*/ 1037 h 18400"/>
                  <a:gd name="connsiteX4" fmla="*/ 17257 w 18307"/>
                  <a:gd name="connsiteY4" fmla="*/ 492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00">
                    <a:moveTo>
                      <a:pt x="17257" y="4924"/>
                    </a:moveTo>
                    <a:cubicBezTo>
                      <a:pt x="19590" y="9410"/>
                      <a:pt x="17915" y="14972"/>
                      <a:pt x="13430" y="17364"/>
                    </a:cubicBezTo>
                    <a:cubicBezTo>
                      <a:pt x="8944" y="19697"/>
                      <a:pt x="3382" y="17962"/>
                      <a:pt x="1050" y="13476"/>
                    </a:cubicBezTo>
                    <a:cubicBezTo>
                      <a:pt x="-1283" y="8991"/>
                      <a:pt x="392" y="3429"/>
                      <a:pt x="4878" y="1037"/>
                    </a:cubicBezTo>
                    <a:cubicBezTo>
                      <a:pt x="9303" y="-1296"/>
                      <a:pt x="14865" y="439"/>
                      <a:pt x="17257" y="4924"/>
                    </a:cubicBezTo>
                    <a:close/>
                  </a:path>
                </a:pathLst>
              </a:custGeom>
              <a:grpFill/>
              <a:ln w="5978" cap="flat">
                <a:noFill/>
                <a:prstDash val="solid"/>
                <a:miter/>
              </a:ln>
            </p:spPr>
            <p:txBody>
              <a:bodyPr rtlCol="0" anchor="ctr"/>
              <a:lstStyle/>
              <a:p>
                <a:endParaRPr lang="en-GB"/>
              </a:p>
            </p:txBody>
          </p:sp>
          <p:sp>
            <p:nvSpPr>
              <p:cNvPr id="3528" name="Vrije vorm: vorm 3527">
                <a:extLst>
                  <a:ext uri="{FF2B5EF4-FFF2-40B4-BE49-F238E27FC236}">
                    <a16:creationId xmlns:a16="http://schemas.microsoft.com/office/drawing/2014/main" id="{A03BB0D7-2A1E-417C-8354-62275E6CC9CB}"/>
                  </a:ext>
                </a:extLst>
              </p:cNvPr>
              <p:cNvSpPr/>
              <p:nvPr/>
            </p:nvSpPr>
            <p:spPr>
              <a:xfrm>
                <a:off x="6828748" y="4902630"/>
                <a:ext cx="18333" cy="18453"/>
              </a:xfrm>
              <a:custGeom>
                <a:avLst/>
                <a:gdLst>
                  <a:gd name="connsiteX0" fmla="*/ 17284 w 18333"/>
                  <a:gd name="connsiteY0" fmla="*/ 4950 h 18453"/>
                  <a:gd name="connsiteX1" fmla="*/ 4904 w 18333"/>
                  <a:gd name="connsiteY1" fmla="*/ 1063 h 18453"/>
                  <a:gd name="connsiteX2" fmla="*/ 1076 w 18333"/>
                  <a:gd name="connsiteY2" fmla="*/ 13503 h 18453"/>
                  <a:gd name="connsiteX3" fmla="*/ 13456 w 18333"/>
                  <a:gd name="connsiteY3" fmla="*/ 17390 h 18453"/>
                  <a:gd name="connsiteX4" fmla="*/ 17284 w 18333"/>
                  <a:gd name="connsiteY4" fmla="*/ 4950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17284" y="4950"/>
                    </a:moveTo>
                    <a:cubicBezTo>
                      <a:pt x="14892" y="465"/>
                      <a:pt x="9390" y="-1329"/>
                      <a:pt x="4904" y="1063"/>
                    </a:cubicBezTo>
                    <a:cubicBezTo>
                      <a:pt x="418" y="3395"/>
                      <a:pt x="-1316" y="8958"/>
                      <a:pt x="1076" y="13503"/>
                    </a:cubicBezTo>
                    <a:cubicBezTo>
                      <a:pt x="3409" y="17988"/>
                      <a:pt x="8971" y="19783"/>
                      <a:pt x="13456" y="17390"/>
                    </a:cubicBezTo>
                    <a:cubicBezTo>
                      <a:pt x="17942" y="14998"/>
                      <a:pt x="19617" y="9436"/>
                      <a:pt x="17284" y="4950"/>
                    </a:cubicBezTo>
                    <a:close/>
                  </a:path>
                </a:pathLst>
              </a:custGeom>
              <a:grpFill/>
              <a:ln w="5978" cap="flat">
                <a:noFill/>
                <a:prstDash val="solid"/>
                <a:miter/>
              </a:ln>
            </p:spPr>
            <p:txBody>
              <a:bodyPr rtlCol="0" anchor="ctr"/>
              <a:lstStyle/>
              <a:p>
                <a:endParaRPr lang="en-GB"/>
              </a:p>
            </p:txBody>
          </p:sp>
        </p:grpSp>
        <p:grpSp>
          <p:nvGrpSpPr>
            <p:cNvPr id="622" name="Graphic 3">
              <a:extLst>
                <a:ext uri="{FF2B5EF4-FFF2-40B4-BE49-F238E27FC236}">
                  <a16:creationId xmlns:a16="http://schemas.microsoft.com/office/drawing/2014/main" id="{5F49FEF7-A8BC-4FCD-B924-5398E063B01B}"/>
                </a:ext>
              </a:extLst>
            </p:cNvPr>
            <p:cNvGrpSpPr/>
            <p:nvPr/>
          </p:nvGrpSpPr>
          <p:grpSpPr>
            <a:xfrm>
              <a:off x="5737478" y="1681016"/>
              <a:ext cx="28461" cy="74810"/>
              <a:chOff x="5737478" y="1681016"/>
              <a:chExt cx="28461" cy="74810"/>
            </a:xfrm>
            <a:grpFill/>
          </p:grpSpPr>
          <p:sp>
            <p:nvSpPr>
              <p:cNvPr id="3523" name="Vrije vorm: vorm 3522">
                <a:extLst>
                  <a:ext uri="{FF2B5EF4-FFF2-40B4-BE49-F238E27FC236}">
                    <a16:creationId xmlns:a16="http://schemas.microsoft.com/office/drawing/2014/main" id="{7A34F75D-C574-4121-996F-89CA890D326A}"/>
                  </a:ext>
                </a:extLst>
              </p:cNvPr>
              <p:cNvSpPr/>
              <p:nvPr/>
            </p:nvSpPr>
            <p:spPr>
              <a:xfrm>
                <a:off x="5745101" y="1689474"/>
                <a:ext cx="13217" cy="57893"/>
              </a:xfrm>
              <a:custGeom>
                <a:avLst/>
                <a:gdLst>
                  <a:gd name="connsiteX0" fmla="*/ 2990 w 13217"/>
                  <a:gd name="connsiteY0" fmla="*/ 0 h 57893"/>
                  <a:gd name="connsiteX1" fmla="*/ 13217 w 13217"/>
                  <a:gd name="connsiteY1" fmla="*/ 57355 h 57893"/>
                  <a:gd name="connsiteX2" fmla="*/ 10227 w 13217"/>
                  <a:gd name="connsiteY2" fmla="*/ 57893 h 57893"/>
                  <a:gd name="connsiteX3" fmla="*/ 0 w 13217"/>
                  <a:gd name="connsiteY3" fmla="*/ 538 h 57893"/>
                </a:gdLst>
                <a:ahLst/>
                <a:cxnLst>
                  <a:cxn ang="0">
                    <a:pos x="connsiteX0" y="connsiteY0"/>
                  </a:cxn>
                  <a:cxn ang="0">
                    <a:pos x="connsiteX1" y="connsiteY1"/>
                  </a:cxn>
                  <a:cxn ang="0">
                    <a:pos x="connsiteX2" y="connsiteY2"/>
                  </a:cxn>
                  <a:cxn ang="0">
                    <a:pos x="connsiteX3" y="connsiteY3"/>
                  </a:cxn>
                </a:cxnLst>
                <a:rect l="l" t="t" r="r" b="b"/>
                <a:pathLst>
                  <a:path w="13217" h="57893">
                    <a:moveTo>
                      <a:pt x="2990" y="0"/>
                    </a:moveTo>
                    <a:lnTo>
                      <a:pt x="13217" y="57355"/>
                    </a:lnTo>
                    <a:lnTo>
                      <a:pt x="10227" y="57893"/>
                    </a:lnTo>
                    <a:lnTo>
                      <a:pt x="0" y="538"/>
                    </a:lnTo>
                    <a:close/>
                  </a:path>
                </a:pathLst>
              </a:custGeom>
              <a:grpFill/>
              <a:ln w="5978" cap="flat">
                <a:noFill/>
                <a:prstDash val="solid"/>
                <a:miter/>
              </a:ln>
            </p:spPr>
            <p:txBody>
              <a:bodyPr rtlCol="0" anchor="ctr"/>
              <a:lstStyle/>
              <a:p>
                <a:endParaRPr lang="en-GB"/>
              </a:p>
            </p:txBody>
          </p:sp>
          <p:sp>
            <p:nvSpPr>
              <p:cNvPr id="3524" name="Vrije vorm: vorm 3523">
                <a:extLst>
                  <a:ext uri="{FF2B5EF4-FFF2-40B4-BE49-F238E27FC236}">
                    <a16:creationId xmlns:a16="http://schemas.microsoft.com/office/drawing/2014/main" id="{04633B8A-9FBB-4FA8-84CE-9FA78AC471FC}"/>
                  </a:ext>
                </a:extLst>
              </p:cNvPr>
              <p:cNvSpPr/>
              <p:nvPr/>
            </p:nvSpPr>
            <p:spPr>
              <a:xfrm>
                <a:off x="5737478" y="1681016"/>
                <a:ext cx="18356" cy="18395"/>
              </a:xfrm>
              <a:custGeom>
                <a:avLst/>
                <a:gdLst>
                  <a:gd name="connsiteX0" fmla="*/ 147 w 18356"/>
                  <a:gd name="connsiteY0" fmla="*/ 10791 h 18395"/>
                  <a:gd name="connsiteX1" fmla="*/ 7563 w 18356"/>
                  <a:gd name="connsiteY1" fmla="*/ 145 h 18395"/>
                  <a:gd name="connsiteX2" fmla="*/ 18209 w 18356"/>
                  <a:gd name="connsiteY2" fmla="*/ 7621 h 18395"/>
                  <a:gd name="connsiteX3" fmla="*/ 10793 w 18356"/>
                  <a:gd name="connsiteY3" fmla="*/ 18267 h 18395"/>
                  <a:gd name="connsiteX4" fmla="*/ 147 w 18356"/>
                  <a:gd name="connsiteY4" fmla="*/ 1079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5">
                    <a:moveTo>
                      <a:pt x="147" y="10791"/>
                    </a:moveTo>
                    <a:cubicBezTo>
                      <a:pt x="-750" y="5767"/>
                      <a:pt x="2539" y="983"/>
                      <a:pt x="7563" y="145"/>
                    </a:cubicBezTo>
                    <a:cubicBezTo>
                      <a:pt x="12527" y="-752"/>
                      <a:pt x="17312" y="2597"/>
                      <a:pt x="18209" y="7621"/>
                    </a:cubicBezTo>
                    <a:cubicBezTo>
                      <a:pt x="19106" y="12645"/>
                      <a:pt x="15817" y="17430"/>
                      <a:pt x="10793" y="18267"/>
                    </a:cubicBezTo>
                    <a:cubicBezTo>
                      <a:pt x="5829" y="19104"/>
                      <a:pt x="1044" y="15755"/>
                      <a:pt x="147" y="10791"/>
                    </a:cubicBezTo>
                    <a:close/>
                  </a:path>
                </a:pathLst>
              </a:custGeom>
              <a:grpFill/>
              <a:ln w="5978" cap="flat">
                <a:noFill/>
                <a:prstDash val="solid"/>
                <a:miter/>
              </a:ln>
            </p:spPr>
            <p:txBody>
              <a:bodyPr rtlCol="0" anchor="ctr"/>
              <a:lstStyle/>
              <a:p>
                <a:endParaRPr lang="en-GB"/>
              </a:p>
            </p:txBody>
          </p:sp>
          <p:sp>
            <p:nvSpPr>
              <p:cNvPr id="3525" name="Vrije vorm: vorm 3524">
                <a:extLst>
                  <a:ext uri="{FF2B5EF4-FFF2-40B4-BE49-F238E27FC236}">
                    <a16:creationId xmlns:a16="http://schemas.microsoft.com/office/drawing/2014/main" id="{EBADA285-C0A4-467A-94B7-CC5FE9B84705}"/>
                  </a:ext>
                </a:extLst>
              </p:cNvPr>
              <p:cNvSpPr/>
              <p:nvPr/>
            </p:nvSpPr>
            <p:spPr>
              <a:xfrm>
                <a:off x="5747585" y="1737414"/>
                <a:ext cx="18354" cy="18412"/>
              </a:xfrm>
              <a:custGeom>
                <a:avLst/>
                <a:gdLst>
                  <a:gd name="connsiteX0" fmla="*/ 147 w 18354"/>
                  <a:gd name="connsiteY0" fmla="*/ 10791 h 18412"/>
                  <a:gd name="connsiteX1" fmla="*/ 10793 w 18354"/>
                  <a:gd name="connsiteY1" fmla="*/ 18267 h 18412"/>
                  <a:gd name="connsiteX2" fmla="*/ 18209 w 18354"/>
                  <a:gd name="connsiteY2" fmla="*/ 7621 h 18412"/>
                  <a:gd name="connsiteX3" fmla="*/ 7563 w 18354"/>
                  <a:gd name="connsiteY3" fmla="*/ 145 h 18412"/>
                  <a:gd name="connsiteX4" fmla="*/ 147 w 18354"/>
                  <a:gd name="connsiteY4" fmla="*/ 1079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2">
                    <a:moveTo>
                      <a:pt x="147" y="10791"/>
                    </a:moveTo>
                    <a:cubicBezTo>
                      <a:pt x="1044" y="15815"/>
                      <a:pt x="5829" y="19164"/>
                      <a:pt x="10793" y="18267"/>
                    </a:cubicBezTo>
                    <a:cubicBezTo>
                      <a:pt x="15757" y="17370"/>
                      <a:pt x="19106" y="12585"/>
                      <a:pt x="18209" y="7621"/>
                    </a:cubicBezTo>
                    <a:cubicBezTo>
                      <a:pt x="17312" y="2597"/>
                      <a:pt x="12527" y="-752"/>
                      <a:pt x="7563" y="145"/>
                    </a:cubicBezTo>
                    <a:cubicBezTo>
                      <a:pt x="2539" y="1042"/>
                      <a:pt x="-750" y="5827"/>
                      <a:pt x="147" y="10791"/>
                    </a:cubicBezTo>
                    <a:close/>
                  </a:path>
                </a:pathLst>
              </a:custGeom>
              <a:grpFill/>
              <a:ln w="5978" cap="flat">
                <a:noFill/>
                <a:prstDash val="solid"/>
                <a:miter/>
              </a:ln>
            </p:spPr>
            <p:txBody>
              <a:bodyPr rtlCol="0" anchor="ctr"/>
              <a:lstStyle/>
              <a:p>
                <a:endParaRPr lang="en-GB"/>
              </a:p>
            </p:txBody>
          </p:sp>
        </p:grpSp>
        <p:grpSp>
          <p:nvGrpSpPr>
            <p:cNvPr id="623" name="Graphic 3">
              <a:extLst>
                <a:ext uri="{FF2B5EF4-FFF2-40B4-BE49-F238E27FC236}">
                  <a16:creationId xmlns:a16="http://schemas.microsoft.com/office/drawing/2014/main" id="{F4D2E6C7-BCE8-47AE-BC07-B3E15E6A9812}"/>
                </a:ext>
              </a:extLst>
            </p:cNvPr>
            <p:cNvGrpSpPr/>
            <p:nvPr/>
          </p:nvGrpSpPr>
          <p:grpSpPr>
            <a:xfrm>
              <a:off x="6856950" y="5028856"/>
              <a:ext cx="72300" cy="126281"/>
              <a:chOff x="6856950" y="5028856"/>
              <a:chExt cx="72300" cy="126281"/>
            </a:xfrm>
            <a:grpFill/>
          </p:grpSpPr>
          <p:sp>
            <p:nvSpPr>
              <p:cNvPr id="3520" name="Vrije vorm: vorm 3519">
                <a:extLst>
                  <a:ext uri="{FF2B5EF4-FFF2-40B4-BE49-F238E27FC236}">
                    <a16:creationId xmlns:a16="http://schemas.microsoft.com/office/drawing/2014/main" id="{1D9B3AC1-9CB5-4CA5-B2B2-35B588871AE4}"/>
                  </a:ext>
                </a:extLst>
              </p:cNvPr>
              <p:cNvSpPr/>
              <p:nvPr/>
            </p:nvSpPr>
            <p:spPr>
              <a:xfrm>
                <a:off x="6864550" y="5037159"/>
                <a:ext cx="57207" cy="110001"/>
              </a:xfrm>
              <a:custGeom>
                <a:avLst/>
                <a:gdLst>
                  <a:gd name="connsiteX0" fmla="*/ 0 w 57207"/>
                  <a:gd name="connsiteY0" fmla="*/ 1368 h 110001"/>
                  <a:gd name="connsiteX1" fmla="*/ 2726 w 57207"/>
                  <a:gd name="connsiteY1" fmla="*/ 0 h 110001"/>
                  <a:gd name="connsiteX2" fmla="*/ 57208 w 57207"/>
                  <a:gd name="connsiteY2" fmla="*/ 108634 h 110001"/>
                  <a:gd name="connsiteX3" fmla="*/ 54481 w 57207"/>
                  <a:gd name="connsiteY3" fmla="*/ 110002 h 110001"/>
                </a:gdLst>
                <a:ahLst/>
                <a:cxnLst>
                  <a:cxn ang="0">
                    <a:pos x="connsiteX0" y="connsiteY0"/>
                  </a:cxn>
                  <a:cxn ang="0">
                    <a:pos x="connsiteX1" y="connsiteY1"/>
                  </a:cxn>
                  <a:cxn ang="0">
                    <a:pos x="connsiteX2" y="connsiteY2"/>
                  </a:cxn>
                  <a:cxn ang="0">
                    <a:pos x="connsiteX3" y="connsiteY3"/>
                  </a:cxn>
                </a:cxnLst>
                <a:rect l="l" t="t" r="r" b="b"/>
                <a:pathLst>
                  <a:path w="57207" h="110001">
                    <a:moveTo>
                      <a:pt x="0" y="1368"/>
                    </a:moveTo>
                    <a:lnTo>
                      <a:pt x="2726" y="0"/>
                    </a:lnTo>
                    <a:lnTo>
                      <a:pt x="57208" y="108634"/>
                    </a:lnTo>
                    <a:lnTo>
                      <a:pt x="54481" y="110002"/>
                    </a:lnTo>
                    <a:close/>
                  </a:path>
                </a:pathLst>
              </a:custGeom>
              <a:grpFill/>
              <a:ln w="5978" cap="flat">
                <a:noFill/>
                <a:prstDash val="solid"/>
                <a:miter/>
              </a:ln>
            </p:spPr>
            <p:txBody>
              <a:bodyPr rtlCol="0" anchor="ctr"/>
              <a:lstStyle/>
              <a:p>
                <a:endParaRPr lang="en-GB"/>
              </a:p>
            </p:txBody>
          </p:sp>
          <p:sp>
            <p:nvSpPr>
              <p:cNvPr id="3521" name="Vrije vorm: vorm 3520">
                <a:extLst>
                  <a:ext uri="{FF2B5EF4-FFF2-40B4-BE49-F238E27FC236}">
                    <a16:creationId xmlns:a16="http://schemas.microsoft.com/office/drawing/2014/main" id="{F8F84100-624A-417A-BB0E-A5D48DAD9922}"/>
                  </a:ext>
                </a:extLst>
              </p:cNvPr>
              <p:cNvSpPr/>
              <p:nvPr/>
            </p:nvSpPr>
            <p:spPr>
              <a:xfrm>
                <a:off x="6910897" y="5136688"/>
                <a:ext cx="18353" cy="18448"/>
              </a:xfrm>
              <a:custGeom>
                <a:avLst/>
                <a:gdLst>
                  <a:gd name="connsiteX0" fmla="*/ 17370 w 18353"/>
                  <a:gd name="connsiteY0" fmla="*/ 5098 h 18448"/>
                  <a:gd name="connsiteX1" fmla="*/ 13304 w 18353"/>
                  <a:gd name="connsiteY1" fmla="*/ 17478 h 18448"/>
                  <a:gd name="connsiteX2" fmla="*/ 983 w 18353"/>
                  <a:gd name="connsiteY2" fmla="*/ 13351 h 18448"/>
                  <a:gd name="connsiteX3" fmla="*/ 5051 w 18353"/>
                  <a:gd name="connsiteY3" fmla="*/ 971 h 18448"/>
                  <a:gd name="connsiteX4" fmla="*/ 17370 w 18353"/>
                  <a:gd name="connsiteY4" fmla="*/ 50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8">
                    <a:moveTo>
                      <a:pt x="17370" y="5098"/>
                    </a:moveTo>
                    <a:cubicBezTo>
                      <a:pt x="19643" y="9643"/>
                      <a:pt x="17849" y="15205"/>
                      <a:pt x="13304" y="17478"/>
                    </a:cubicBezTo>
                    <a:cubicBezTo>
                      <a:pt x="8759" y="19751"/>
                      <a:pt x="3256" y="17896"/>
                      <a:pt x="983" y="13351"/>
                    </a:cubicBezTo>
                    <a:cubicBezTo>
                      <a:pt x="-1289" y="8806"/>
                      <a:pt x="505" y="3244"/>
                      <a:pt x="5051" y="971"/>
                    </a:cubicBezTo>
                    <a:cubicBezTo>
                      <a:pt x="9596" y="-1302"/>
                      <a:pt x="15098" y="552"/>
                      <a:pt x="17370" y="5098"/>
                    </a:cubicBezTo>
                    <a:close/>
                  </a:path>
                </a:pathLst>
              </a:custGeom>
              <a:grpFill/>
              <a:ln w="5978" cap="flat">
                <a:noFill/>
                <a:prstDash val="solid"/>
                <a:miter/>
              </a:ln>
            </p:spPr>
            <p:txBody>
              <a:bodyPr rtlCol="0" anchor="ctr"/>
              <a:lstStyle/>
              <a:p>
                <a:endParaRPr lang="en-GB"/>
              </a:p>
            </p:txBody>
          </p:sp>
          <p:sp>
            <p:nvSpPr>
              <p:cNvPr id="3522" name="Vrije vorm: vorm 3521">
                <a:extLst>
                  <a:ext uri="{FF2B5EF4-FFF2-40B4-BE49-F238E27FC236}">
                    <a16:creationId xmlns:a16="http://schemas.microsoft.com/office/drawing/2014/main" id="{BDEA32A3-9E88-4AA3-8BE2-5BABF526259B}"/>
                  </a:ext>
                </a:extLst>
              </p:cNvPr>
              <p:cNvSpPr/>
              <p:nvPr/>
            </p:nvSpPr>
            <p:spPr>
              <a:xfrm>
                <a:off x="6856950" y="5028856"/>
                <a:ext cx="18343" cy="18449"/>
              </a:xfrm>
              <a:custGeom>
                <a:avLst/>
                <a:gdLst>
                  <a:gd name="connsiteX0" fmla="*/ 17370 w 18343"/>
                  <a:gd name="connsiteY0" fmla="*/ 5098 h 18449"/>
                  <a:gd name="connsiteX1" fmla="*/ 5051 w 18343"/>
                  <a:gd name="connsiteY1" fmla="*/ 971 h 18449"/>
                  <a:gd name="connsiteX2" fmla="*/ 983 w 18343"/>
                  <a:gd name="connsiteY2" fmla="*/ 13351 h 18449"/>
                  <a:gd name="connsiteX3" fmla="*/ 13304 w 18343"/>
                  <a:gd name="connsiteY3" fmla="*/ 17478 h 18449"/>
                  <a:gd name="connsiteX4" fmla="*/ 17370 w 18343"/>
                  <a:gd name="connsiteY4" fmla="*/ 509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9">
                    <a:moveTo>
                      <a:pt x="17370" y="5098"/>
                    </a:moveTo>
                    <a:cubicBezTo>
                      <a:pt x="15098" y="552"/>
                      <a:pt x="9596" y="-1302"/>
                      <a:pt x="5051" y="971"/>
                    </a:cubicBezTo>
                    <a:cubicBezTo>
                      <a:pt x="505" y="3244"/>
                      <a:pt x="-1289" y="8746"/>
                      <a:pt x="983" y="13351"/>
                    </a:cubicBezTo>
                    <a:cubicBezTo>
                      <a:pt x="3256" y="17897"/>
                      <a:pt x="8759" y="19751"/>
                      <a:pt x="13304" y="17478"/>
                    </a:cubicBezTo>
                    <a:cubicBezTo>
                      <a:pt x="17790" y="15145"/>
                      <a:pt x="19643" y="9643"/>
                      <a:pt x="17370" y="5098"/>
                    </a:cubicBezTo>
                    <a:close/>
                  </a:path>
                </a:pathLst>
              </a:custGeom>
              <a:grpFill/>
              <a:ln w="5978" cap="flat">
                <a:noFill/>
                <a:prstDash val="solid"/>
                <a:miter/>
              </a:ln>
            </p:spPr>
            <p:txBody>
              <a:bodyPr rtlCol="0" anchor="ctr"/>
              <a:lstStyle/>
              <a:p>
                <a:endParaRPr lang="en-GB"/>
              </a:p>
            </p:txBody>
          </p:sp>
        </p:grpSp>
        <p:grpSp>
          <p:nvGrpSpPr>
            <p:cNvPr id="624" name="Graphic 3">
              <a:extLst>
                <a:ext uri="{FF2B5EF4-FFF2-40B4-BE49-F238E27FC236}">
                  <a16:creationId xmlns:a16="http://schemas.microsoft.com/office/drawing/2014/main" id="{2F1CD9CB-C39D-4177-9A11-E66C5EBFB397}"/>
                </a:ext>
              </a:extLst>
            </p:cNvPr>
            <p:cNvGrpSpPr/>
            <p:nvPr/>
          </p:nvGrpSpPr>
          <p:grpSpPr>
            <a:xfrm>
              <a:off x="6798618" y="4914061"/>
              <a:ext cx="176346" cy="418548"/>
              <a:chOff x="6798618" y="4914061"/>
              <a:chExt cx="176346" cy="418548"/>
            </a:xfrm>
            <a:grpFill/>
          </p:grpSpPr>
          <p:sp>
            <p:nvSpPr>
              <p:cNvPr id="3517" name="Vrije vorm: vorm 3516">
                <a:extLst>
                  <a:ext uri="{FF2B5EF4-FFF2-40B4-BE49-F238E27FC236}">
                    <a16:creationId xmlns:a16="http://schemas.microsoft.com/office/drawing/2014/main" id="{0E6A3E10-92B3-4B44-9DCF-E02CC44FFF19}"/>
                  </a:ext>
                </a:extLst>
              </p:cNvPr>
              <p:cNvSpPr/>
              <p:nvPr/>
            </p:nvSpPr>
            <p:spPr>
              <a:xfrm>
                <a:off x="6806081" y="4922490"/>
                <a:ext cx="161047" cy="402119"/>
              </a:xfrm>
              <a:custGeom>
                <a:avLst/>
                <a:gdLst>
                  <a:gd name="connsiteX0" fmla="*/ 0 w 161047"/>
                  <a:gd name="connsiteY0" fmla="*/ 1119 h 402119"/>
                  <a:gd name="connsiteX1" fmla="*/ 2838 w 161047"/>
                  <a:gd name="connsiteY1" fmla="*/ 0 h 402119"/>
                  <a:gd name="connsiteX2" fmla="*/ 161048 w 161047"/>
                  <a:gd name="connsiteY2" fmla="*/ 401000 h 402119"/>
                  <a:gd name="connsiteX3" fmla="*/ 158211 w 161047"/>
                  <a:gd name="connsiteY3" fmla="*/ 402120 h 402119"/>
                </a:gdLst>
                <a:ahLst/>
                <a:cxnLst>
                  <a:cxn ang="0">
                    <a:pos x="connsiteX0" y="connsiteY0"/>
                  </a:cxn>
                  <a:cxn ang="0">
                    <a:pos x="connsiteX1" y="connsiteY1"/>
                  </a:cxn>
                  <a:cxn ang="0">
                    <a:pos x="connsiteX2" y="connsiteY2"/>
                  </a:cxn>
                  <a:cxn ang="0">
                    <a:pos x="connsiteX3" y="connsiteY3"/>
                  </a:cxn>
                </a:cxnLst>
                <a:rect l="l" t="t" r="r" b="b"/>
                <a:pathLst>
                  <a:path w="161047" h="402119">
                    <a:moveTo>
                      <a:pt x="0" y="1119"/>
                    </a:moveTo>
                    <a:lnTo>
                      <a:pt x="2838" y="0"/>
                    </a:lnTo>
                    <a:lnTo>
                      <a:pt x="161048" y="401000"/>
                    </a:lnTo>
                    <a:lnTo>
                      <a:pt x="158211" y="402120"/>
                    </a:lnTo>
                    <a:close/>
                  </a:path>
                </a:pathLst>
              </a:custGeom>
              <a:grpFill/>
              <a:ln w="5978" cap="flat">
                <a:noFill/>
                <a:prstDash val="solid"/>
                <a:miter/>
              </a:ln>
            </p:spPr>
            <p:txBody>
              <a:bodyPr rtlCol="0" anchor="ctr"/>
              <a:lstStyle/>
              <a:p>
                <a:endParaRPr lang="en-GB"/>
              </a:p>
            </p:txBody>
          </p:sp>
          <p:sp>
            <p:nvSpPr>
              <p:cNvPr id="3518" name="Vrije vorm: vorm 3517">
                <a:extLst>
                  <a:ext uri="{FF2B5EF4-FFF2-40B4-BE49-F238E27FC236}">
                    <a16:creationId xmlns:a16="http://schemas.microsoft.com/office/drawing/2014/main" id="{FA8039BF-544C-4CAD-AC74-A857B081140A}"/>
                  </a:ext>
                </a:extLst>
              </p:cNvPr>
              <p:cNvSpPr/>
              <p:nvPr/>
            </p:nvSpPr>
            <p:spPr>
              <a:xfrm>
                <a:off x="6798618" y="4914061"/>
                <a:ext cx="18335" cy="18445"/>
              </a:xfrm>
              <a:custGeom>
                <a:avLst/>
                <a:gdLst>
                  <a:gd name="connsiteX0" fmla="*/ 645 w 18335"/>
                  <a:gd name="connsiteY0" fmla="*/ 12598 h 18445"/>
                  <a:gd name="connsiteX1" fmla="*/ 5789 w 18335"/>
                  <a:gd name="connsiteY1" fmla="*/ 637 h 18445"/>
                  <a:gd name="connsiteX2" fmla="*/ 17690 w 18335"/>
                  <a:gd name="connsiteY2" fmla="*/ 5840 h 18445"/>
                  <a:gd name="connsiteX3" fmla="*/ 12547 w 18335"/>
                  <a:gd name="connsiteY3" fmla="*/ 17801 h 18445"/>
                  <a:gd name="connsiteX4" fmla="*/ 645 w 18335"/>
                  <a:gd name="connsiteY4" fmla="*/ 1259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5">
                    <a:moveTo>
                      <a:pt x="645" y="12598"/>
                    </a:moveTo>
                    <a:cubicBezTo>
                      <a:pt x="-1209" y="7874"/>
                      <a:pt x="1064" y="2491"/>
                      <a:pt x="5789" y="637"/>
                    </a:cubicBezTo>
                    <a:cubicBezTo>
                      <a:pt x="10513" y="-1217"/>
                      <a:pt x="15836" y="1115"/>
                      <a:pt x="17690" y="5840"/>
                    </a:cubicBezTo>
                    <a:cubicBezTo>
                      <a:pt x="19544" y="10565"/>
                      <a:pt x="17272" y="15947"/>
                      <a:pt x="12547" y="17801"/>
                    </a:cubicBezTo>
                    <a:cubicBezTo>
                      <a:pt x="7882" y="19655"/>
                      <a:pt x="2559" y="17383"/>
                      <a:pt x="645" y="12598"/>
                    </a:cubicBezTo>
                    <a:close/>
                  </a:path>
                </a:pathLst>
              </a:custGeom>
              <a:grpFill/>
              <a:ln w="5978" cap="flat">
                <a:noFill/>
                <a:prstDash val="solid"/>
                <a:miter/>
              </a:ln>
            </p:spPr>
            <p:txBody>
              <a:bodyPr rtlCol="0" anchor="ctr"/>
              <a:lstStyle/>
              <a:p>
                <a:endParaRPr lang="en-GB"/>
              </a:p>
            </p:txBody>
          </p:sp>
          <p:sp>
            <p:nvSpPr>
              <p:cNvPr id="3519" name="Vrije vorm: vorm 3518">
                <a:extLst>
                  <a:ext uri="{FF2B5EF4-FFF2-40B4-BE49-F238E27FC236}">
                    <a16:creationId xmlns:a16="http://schemas.microsoft.com/office/drawing/2014/main" id="{62C45BA8-1589-4F4C-98B4-DD6BE584FF44}"/>
                  </a:ext>
                </a:extLst>
              </p:cNvPr>
              <p:cNvSpPr/>
              <p:nvPr/>
            </p:nvSpPr>
            <p:spPr>
              <a:xfrm>
                <a:off x="6956629" y="5314171"/>
                <a:ext cx="18335" cy="18438"/>
              </a:xfrm>
              <a:custGeom>
                <a:avLst/>
                <a:gdLst>
                  <a:gd name="connsiteX0" fmla="*/ 645 w 18335"/>
                  <a:gd name="connsiteY0" fmla="*/ 12598 h 18438"/>
                  <a:gd name="connsiteX1" fmla="*/ 12547 w 18335"/>
                  <a:gd name="connsiteY1" fmla="*/ 17801 h 18438"/>
                  <a:gd name="connsiteX2" fmla="*/ 17691 w 18335"/>
                  <a:gd name="connsiteY2" fmla="*/ 5840 h 18438"/>
                  <a:gd name="connsiteX3" fmla="*/ 5788 w 18335"/>
                  <a:gd name="connsiteY3" fmla="*/ 637 h 18438"/>
                  <a:gd name="connsiteX4" fmla="*/ 645 w 18335"/>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645" y="12598"/>
                    </a:moveTo>
                    <a:cubicBezTo>
                      <a:pt x="2499" y="17323"/>
                      <a:pt x="7822" y="19655"/>
                      <a:pt x="12547" y="17801"/>
                    </a:cubicBezTo>
                    <a:cubicBezTo>
                      <a:pt x="17272" y="15947"/>
                      <a:pt x="19544" y="10565"/>
                      <a:pt x="17691" y="5840"/>
                    </a:cubicBezTo>
                    <a:cubicBezTo>
                      <a:pt x="15836" y="1115"/>
                      <a:pt x="10513" y="-1217"/>
                      <a:pt x="5788" y="637"/>
                    </a:cubicBezTo>
                    <a:cubicBezTo>
                      <a:pt x="1064" y="2491"/>
                      <a:pt x="-1209" y="7814"/>
                      <a:pt x="645" y="12598"/>
                    </a:cubicBezTo>
                    <a:close/>
                  </a:path>
                </a:pathLst>
              </a:custGeom>
              <a:grpFill/>
              <a:ln w="5978" cap="flat">
                <a:noFill/>
                <a:prstDash val="solid"/>
                <a:miter/>
              </a:ln>
            </p:spPr>
            <p:txBody>
              <a:bodyPr rtlCol="0" anchor="ctr"/>
              <a:lstStyle/>
              <a:p>
                <a:endParaRPr lang="en-GB"/>
              </a:p>
            </p:txBody>
          </p:sp>
        </p:grpSp>
        <p:grpSp>
          <p:nvGrpSpPr>
            <p:cNvPr id="625" name="Graphic 3">
              <a:extLst>
                <a:ext uri="{FF2B5EF4-FFF2-40B4-BE49-F238E27FC236}">
                  <a16:creationId xmlns:a16="http://schemas.microsoft.com/office/drawing/2014/main" id="{C799840A-1E96-46E9-9332-198BE3586333}"/>
                </a:ext>
              </a:extLst>
            </p:cNvPr>
            <p:cNvGrpSpPr/>
            <p:nvPr/>
          </p:nvGrpSpPr>
          <p:grpSpPr>
            <a:xfrm>
              <a:off x="6898915" y="5194730"/>
              <a:ext cx="75486" cy="138065"/>
              <a:chOff x="6898915" y="5194730"/>
              <a:chExt cx="75486" cy="138065"/>
            </a:xfrm>
            <a:grpFill/>
          </p:grpSpPr>
          <p:sp>
            <p:nvSpPr>
              <p:cNvPr id="3514" name="Vrije vorm: vorm 3513">
                <a:extLst>
                  <a:ext uri="{FF2B5EF4-FFF2-40B4-BE49-F238E27FC236}">
                    <a16:creationId xmlns:a16="http://schemas.microsoft.com/office/drawing/2014/main" id="{1CBE47AC-CC1E-4191-AEEA-99B8C438587A}"/>
                  </a:ext>
                </a:extLst>
              </p:cNvPr>
              <p:cNvSpPr/>
              <p:nvPr/>
            </p:nvSpPr>
            <p:spPr>
              <a:xfrm>
                <a:off x="6906497" y="5202849"/>
                <a:ext cx="60286" cy="121827"/>
              </a:xfrm>
              <a:custGeom>
                <a:avLst/>
                <a:gdLst>
                  <a:gd name="connsiteX0" fmla="*/ 60286 w 60286"/>
                  <a:gd name="connsiteY0" fmla="*/ 120512 h 121827"/>
                  <a:gd name="connsiteX1" fmla="*/ 57535 w 60286"/>
                  <a:gd name="connsiteY1" fmla="*/ 121827 h 121827"/>
                  <a:gd name="connsiteX2" fmla="*/ 0 w 60286"/>
                  <a:gd name="connsiteY2" fmla="*/ 1316 h 121827"/>
                  <a:gd name="connsiteX3" fmla="*/ 2752 w 60286"/>
                  <a:gd name="connsiteY3" fmla="*/ 0 h 121827"/>
                </a:gdLst>
                <a:ahLst/>
                <a:cxnLst>
                  <a:cxn ang="0">
                    <a:pos x="connsiteX0" y="connsiteY0"/>
                  </a:cxn>
                  <a:cxn ang="0">
                    <a:pos x="connsiteX1" y="connsiteY1"/>
                  </a:cxn>
                  <a:cxn ang="0">
                    <a:pos x="connsiteX2" y="connsiteY2"/>
                  </a:cxn>
                  <a:cxn ang="0">
                    <a:pos x="connsiteX3" y="connsiteY3"/>
                  </a:cxn>
                </a:cxnLst>
                <a:rect l="l" t="t" r="r" b="b"/>
                <a:pathLst>
                  <a:path w="60286" h="121827">
                    <a:moveTo>
                      <a:pt x="60286" y="120512"/>
                    </a:moveTo>
                    <a:lnTo>
                      <a:pt x="57535" y="121827"/>
                    </a:lnTo>
                    <a:lnTo>
                      <a:pt x="0" y="1316"/>
                    </a:lnTo>
                    <a:lnTo>
                      <a:pt x="2752" y="0"/>
                    </a:lnTo>
                    <a:close/>
                  </a:path>
                </a:pathLst>
              </a:custGeom>
              <a:grpFill/>
              <a:ln w="5978" cap="flat">
                <a:noFill/>
                <a:prstDash val="solid"/>
                <a:miter/>
              </a:ln>
            </p:spPr>
            <p:txBody>
              <a:bodyPr rtlCol="0" anchor="ctr"/>
              <a:lstStyle/>
              <a:p>
                <a:endParaRPr lang="en-GB"/>
              </a:p>
            </p:txBody>
          </p:sp>
          <p:sp>
            <p:nvSpPr>
              <p:cNvPr id="3515" name="Vrije vorm: vorm 3514">
                <a:extLst>
                  <a:ext uri="{FF2B5EF4-FFF2-40B4-BE49-F238E27FC236}">
                    <a16:creationId xmlns:a16="http://schemas.microsoft.com/office/drawing/2014/main" id="{420F1BEF-7CCE-4078-9E39-B5A19884F82E}"/>
                  </a:ext>
                </a:extLst>
              </p:cNvPr>
              <p:cNvSpPr/>
              <p:nvPr/>
            </p:nvSpPr>
            <p:spPr>
              <a:xfrm>
                <a:off x="6955995" y="5314404"/>
                <a:ext cx="18406" cy="18390"/>
              </a:xfrm>
              <a:custGeom>
                <a:avLst/>
                <a:gdLst>
                  <a:gd name="connsiteX0" fmla="*/ 17487 w 18406"/>
                  <a:gd name="connsiteY0" fmla="*/ 5248 h 18390"/>
                  <a:gd name="connsiteX1" fmla="*/ 13180 w 18406"/>
                  <a:gd name="connsiteY1" fmla="*/ 17509 h 18390"/>
                  <a:gd name="connsiteX2" fmla="*/ 920 w 18406"/>
                  <a:gd name="connsiteY2" fmla="*/ 13143 h 18390"/>
                  <a:gd name="connsiteX3" fmla="*/ 5226 w 18406"/>
                  <a:gd name="connsiteY3" fmla="*/ 882 h 18390"/>
                  <a:gd name="connsiteX4" fmla="*/ 17487 w 18406"/>
                  <a:gd name="connsiteY4" fmla="*/ 5248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6" h="18390">
                    <a:moveTo>
                      <a:pt x="17487" y="5248"/>
                    </a:moveTo>
                    <a:cubicBezTo>
                      <a:pt x="19699" y="9854"/>
                      <a:pt x="17785" y="15356"/>
                      <a:pt x="13180" y="17509"/>
                    </a:cubicBezTo>
                    <a:cubicBezTo>
                      <a:pt x="8575" y="19662"/>
                      <a:pt x="3133" y="17748"/>
                      <a:pt x="920" y="13143"/>
                    </a:cubicBezTo>
                    <a:cubicBezTo>
                      <a:pt x="-1293" y="8538"/>
                      <a:pt x="620" y="3035"/>
                      <a:pt x="5226" y="882"/>
                    </a:cubicBezTo>
                    <a:cubicBezTo>
                      <a:pt x="9831" y="-1271"/>
                      <a:pt x="15274" y="643"/>
                      <a:pt x="17487" y="5248"/>
                    </a:cubicBezTo>
                    <a:close/>
                  </a:path>
                </a:pathLst>
              </a:custGeom>
              <a:grpFill/>
              <a:ln w="5978" cap="flat">
                <a:noFill/>
                <a:prstDash val="solid"/>
                <a:miter/>
              </a:ln>
            </p:spPr>
            <p:txBody>
              <a:bodyPr rtlCol="0" anchor="ctr"/>
              <a:lstStyle/>
              <a:p>
                <a:endParaRPr lang="en-GB"/>
              </a:p>
            </p:txBody>
          </p:sp>
          <p:sp>
            <p:nvSpPr>
              <p:cNvPr id="3516" name="Vrije vorm: vorm 3515">
                <a:extLst>
                  <a:ext uri="{FF2B5EF4-FFF2-40B4-BE49-F238E27FC236}">
                    <a16:creationId xmlns:a16="http://schemas.microsoft.com/office/drawing/2014/main" id="{6A98C1C2-3BB8-49B6-ABC2-F43B188AB5C7}"/>
                  </a:ext>
                </a:extLst>
              </p:cNvPr>
              <p:cNvSpPr/>
              <p:nvPr/>
            </p:nvSpPr>
            <p:spPr>
              <a:xfrm>
                <a:off x="6898915" y="5194730"/>
                <a:ext cx="18333" cy="18390"/>
              </a:xfrm>
              <a:custGeom>
                <a:avLst/>
                <a:gdLst>
                  <a:gd name="connsiteX0" fmla="*/ 17450 w 18333"/>
                  <a:gd name="connsiteY0" fmla="*/ 5248 h 18390"/>
                  <a:gd name="connsiteX1" fmla="*/ 5189 w 18333"/>
                  <a:gd name="connsiteY1" fmla="*/ 882 h 18390"/>
                  <a:gd name="connsiteX2" fmla="*/ 883 w 18333"/>
                  <a:gd name="connsiteY2" fmla="*/ 13143 h 18390"/>
                  <a:gd name="connsiteX3" fmla="*/ 13144 w 18333"/>
                  <a:gd name="connsiteY3" fmla="*/ 17509 h 18390"/>
                  <a:gd name="connsiteX4" fmla="*/ 17450 w 18333"/>
                  <a:gd name="connsiteY4" fmla="*/ 5248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0">
                    <a:moveTo>
                      <a:pt x="17450" y="5248"/>
                    </a:moveTo>
                    <a:cubicBezTo>
                      <a:pt x="15237" y="643"/>
                      <a:pt x="9795" y="-1271"/>
                      <a:pt x="5189" y="882"/>
                    </a:cubicBezTo>
                    <a:cubicBezTo>
                      <a:pt x="645" y="3095"/>
                      <a:pt x="-1270" y="8538"/>
                      <a:pt x="883" y="13143"/>
                    </a:cubicBezTo>
                    <a:cubicBezTo>
                      <a:pt x="3096" y="17748"/>
                      <a:pt x="8539" y="19662"/>
                      <a:pt x="13144" y="17509"/>
                    </a:cubicBezTo>
                    <a:cubicBezTo>
                      <a:pt x="17690" y="15296"/>
                      <a:pt x="19603" y="9854"/>
                      <a:pt x="17450" y="5248"/>
                    </a:cubicBezTo>
                    <a:close/>
                  </a:path>
                </a:pathLst>
              </a:custGeom>
              <a:grpFill/>
              <a:ln w="5978" cap="flat">
                <a:noFill/>
                <a:prstDash val="solid"/>
                <a:miter/>
              </a:ln>
            </p:spPr>
            <p:txBody>
              <a:bodyPr rtlCol="0" anchor="ctr"/>
              <a:lstStyle/>
              <a:p>
                <a:endParaRPr lang="en-GB"/>
              </a:p>
            </p:txBody>
          </p:sp>
        </p:grpSp>
        <p:grpSp>
          <p:nvGrpSpPr>
            <p:cNvPr id="626" name="Graphic 3">
              <a:extLst>
                <a:ext uri="{FF2B5EF4-FFF2-40B4-BE49-F238E27FC236}">
                  <a16:creationId xmlns:a16="http://schemas.microsoft.com/office/drawing/2014/main" id="{547CB78E-283D-443C-87F2-23AE5750A3F5}"/>
                </a:ext>
              </a:extLst>
            </p:cNvPr>
            <p:cNvGrpSpPr/>
            <p:nvPr/>
          </p:nvGrpSpPr>
          <p:grpSpPr>
            <a:xfrm>
              <a:off x="5555239" y="1147830"/>
              <a:ext cx="100243" cy="395745"/>
              <a:chOff x="5555239" y="1147830"/>
              <a:chExt cx="100243" cy="395745"/>
            </a:xfrm>
            <a:grpFill/>
          </p:grpSpPr>
          <p:sp>
            <p:nvSpPr>
              <p:cNvPr id="3511" name="Vrije vorm: vorm 3510">
                <a:extLst>
                  <a:ext uri="{FF2B5EF4-FFF2-40B4-BE49-F238E27FC236}">
                    <a16:creationId xmlns:a16="http://schemas.microsoft.com/office/drawing/2014/main" id="{2246E6C0-EC15-45AA-A94E-454017C60547}"/>
                  </a:ext>
                </a:extLst>
              </p:cNvPr>
              <p:cNvSpPr/>
              <p:nvPr/>
            </p:nvSpPr>
            <p:spPr>
              <a:xfrm>
                <a:off x="5562808" y="1156293"/>
                <a:ext cx="85105" cy="378878"/>
              </a:xfrm>
              <a:custGeom>
                <a:avLst/>
                <a:gdLst>
                  <a:gd name="connsiteX0" fmla="*/ 2990 w 85105"/>
                  <a:gd name="connsiteY0" fmla="*/ 0 h 378878"/>
                  <a:gd name="connsiteX1" fmla="*/ 85106 w 85105"/>
                  <a:gd name="connsiteY1" fmla="*/ 378221 h 378878"/>
                  <a:gd name="connsiteX2" fmla="*/ 82116 w 85105"/>
                  <a:gd name="connsiteY2" fmla="*/ 378879 h 378878"/>
                  <a:gd name="connsiteX3" fmla="*/ 0 w 85105"/>
                  <a:gd name="connsiteY3" fmla="*/ 598 h 378878"/>
                </a:gdLst>
                <a:ahLst/>
                <a:cxnLst>
                  <a:cxn ang="0">
                    <a:pos x="connsiteX0" y="connsiteY0"/>
                  </a:cxn>
                  <a:cxn ang="0">
                    <a:pos x="connsiteX1" y="connsiteY1"/>
                  </a:cxn>
                  <a:cxn ang="0">
                    <a:pos x="connsiteX2" y="connsiteY2"/>
                  </a:cxn>
                  <a:cxn ang="0">
                    <a:pos x="connsiteX3" y="connsiteY3"/>
                  </a:cxn>
                </a:cxnLst>
                <a:rect l="l" t="t" r="r" b="b"/>
                <a:pathLst>
                  <a:path w="85105" h="378878">
                    <a:moveTo>
                      <a:pt x="2990" y="0"/>
                    </a:moveTo>
                    <a:lnTo>
                      <a:pt x="85106" y="378221"/>
                    </a:lnTo>
                    <a:lnTo>
                      <a:pt x="82116" y="378879"/>
                    </a:lnTo>
                    <a:lnTo>
                      <a:pt x="0" y="598"/>
                    </a:lnTo>
                    <a:close/>
                  </a:path>
                </a:pathLst>
              </a:custGeom>
              <a:grpFill/>
              <a:ln w="5978" cap="flat">
                <a:noFill/>
                <a:prstDash val="solid"/>
                <a:miter/>
              </a:ln>
            </p:spPr>
            <p:txBody>
              <a:bodyPr rtlCol="0" anchor="ctr"/>
              <a:lstStyle/>
              <a:p>
                <a:endParaRPr lang="en-GB"/>
              </a:p>
            </p:txBody>
          </p:sp>
          <p:sp>
            <p:nvSpPr>
              <p:cNvPr id="3512" name="Vrije vorm: vorm 3511">
                <a:extLst>
                  <a:ext uri="{FF2B5EF4-FFF2-40B4-BE49-F238E27FC236}">
                    <a16:creationId xmlns:a16="http://schemas.microsoft.com/office/drawing/2014/main" id="{D82251A6-9DF7-418E-94BD-E89F84CEC545}"/>
                  </a:ext>
                </a:extLst>
              </p:cNvPr>
              <p:cNvSpPr/>
              <p:nvPr/>
            </p:nvSpPr>
            <p:spPr>
              <a:xfrm>
                <a:off x="5555239" y="1147830"/>
                <a:ext cx="18307" cy="18421"/>
              </a:xfrm>
              <a:custGeom>
                <a:avLst/>
                <a:gdLst>
                  <a:gd name="connsiteX0" fmla="*/ 213 w 18307"/>
                  <a:gd name="connsiteY0" fmla="*/ 11155 h 18421"/>
                  <a:gd name="connsiteX1" fmla="*/ 7210 w 18307"/>
                  <a:gd name="connsiteY1" fmla="*/ 210 h 18421"/>
                  <a:gd name="connsiteX2" fmla="*/ 18095 w 18307"/>
                  <a:gd name="connsiteY2" fmla="*/ 7267 h 18421"/>
                  <a:gd name="connsiteX3" fmla="*/ 11098 w 18307"/>
                  <a:gd name="connsiteY3" fmla="*/ 18212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864" y="6191"/>
                      <a:pt x="2246" y="1287"/>
                      <a:pt x="7210" y="210"/>
                    </a:cubicBezTo>
                    <a:cubicBezTo>
                      <a:pt x="12174" y="-867"/>
                      <a:pt x="17019" y="2303"/>
                      <a:pt x="18095" y="7267"/>
                    </a:cubicBezTo>
                    <a:cubicBezTo>
                      <a:pt x="19172" y="12231"/>
                      <a:pt x="16062" y="17135"/>
                      <a:pt x="11098" y="18212"/>
                    </a:cubicBezTo>
                    <a:cubicBezTo>
                      <a:pt x="6134" y="19288"/>
                      <a:pt x="1289" y="16119"/>
                      <a:pt x="213" y="11155"/>
                    </a:cubicBezTo>
                    <a:close/>
                  </a:path>
                </a:pathLst>
              </a:custGeom>
              <a:grpFill/>
              <a:ln w="5978" cap="flat">
                <a:noFill/>
                <a:prstDash val="solid"/>
                <a:miter/>
              </a:ln>
            </p:spPr>
            <p:txBody>
              <a:bodyPr rtlCol="0" anchor="ctr"/>
              <a:lstStyle/>
              <a:p>
                <a:endParaRPr lang="en-GB"/>
              </a:p>
            </p:txBody>
          </p:sp>
          <p:sp>
            <p:nvSpPr>
              <p:cNvPr id="3513" name="Vrije vorm: vorm 3512">
                <a:extLst>
                  <a:ext uri="{FF2B5EF4-FFF2-40B4-BE49-F238E27FC236}">
                    <a16:creationId xmlns:a16="http://schemas.microsoft.com/office/drawing/2014/main" id="{30793D10-88F8-4098-A005-9AAD572BFCC3}"/>
                  </a:ext>
                </a:extLst>
              </p:cNvPr>
              <p:cNvSpPr/>
              <p:nvPr/>
            </p:nvSpPr>
            <p:spPr>
              <a:xfrm>
                <a:off x="5637175" y="1525153"/>
                <a:ext cx="18307" cy="18421"/>
              </a:xfrm>
              <a:custGeom>
                <a:avLst/>
                <a:gdLst>
                  <a:gd name="connsiteX0" fmla="*/ 213 w 18307"/>
                  <a:gd name="connsiteY0" fmla="*/ 11155 h 18421"/>
                  <a:gd name="connsiteX1" fmla="*/ 11098 w 18307"/>
                  <a:gd name="connsiteY1" fmla="*/ 18212 h 18421"/>
                  <a:gd name="connsiteX2" fmla="*/ 18095 w 18307"/>
                  <a:gd name="connsiteY2" fmla="*/ 7267 h 18421"/>
                  <a:gd name="connsiteX3" fmla="*/ 7210 w 18307"/>
                  <a:gd name="connsiteY3" fmla="*/ 210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1289" y="16119"/>
                      <a:pt x="6194" y="19288"/>
                      <a:pt x="11098" y="18212"/>
                    </a:cubicBezTo>
                    <a:cubicBezTo>
                      <a:pt x="16062" y="17135"/>
                      <a:pt x="19172" y="12231"/>
                      <a:pt x="18095" y="7267"/>
                    </a:cubicBezTo>
                    <a:cubicBezTo>
                      <a:pt x="17019" y="2303"/>
                      <a:pt x="12114" y="-867"/>
                      <a:pt x="7210" y="210"/>
                    </a:cubicBezTo>
                    <a:cubicBezTo>
                      <a:pt x="2246" y="1287"/>
                      <a:pt x="-864" y="6191"/>
                      <a:pt x="213" y="11155"/>
                    </a:cubicBezTo>
                    <a:close/>
                  </a:path>
                </a:pathLst>
              </a:custGeom>
              <a:grpFill/>
              <a:ln w="5978" cap="flat">
                <a:noFill/>
                <a:prstDash val="solid"/>
                <a:miter/>
              </a:ln>
            </p:spPr>
            <p:txBody>
              <a:bodyPr rtlCol="0" anchor="ctr"/>
              <a:lstStyle/>
              <a:p>
                <a:endParaRPr lang="en-GB"/>
              </a:p>
            </p:txBody>
          </p:sp>
        </p:grpSp>
        <p:grpSp>
          <p:nvGrpSpPr>
            <p:cNvPr id="627" name="Graphic 3">
              <a:extLst>
                <a:ext uri="{FF2B5EF4-FFF2-40B4-BE49-F238E27FC236}">
                  <a16:creationId xmlns:a16="http://schemas.microsoft.com/office/drawing/2014/main" id="{06C2056C-3FFF-4524-93EF-77DF8B95A55A}"/>
                </a:ext>
              </a:extLst>
            </p:cNvPr>
            <p:cNvGrpSpPr/>
            <p:nvPr/>
          </p:nvGrpSpPr>
          <p:grpSpPr>
            <a:xfrm>
              <a:off x="5606328" y="1188331"/>
              <a:ext cx="92156" cy="549845"/>
              <a:chOff x="5606328" y="1188331"/>
              <a:chExt cx="92156" cy="549845"/>
            </a:xfrm>
            <a:grpFill/>
          </p:grpSpPr>
          <p:sp>
            <p:nvSpPr>
              <p:cNvPr id="3508" name="Vrije vorm: vorm 3507">
                <a:extLst>
                  <a:ext uri="{FF2B5EF4-FFF2-40B4-BE49-F238E27FC236}">
                    <a16:creationId xmlns:a16="http://schemas.microsoft.com/office/drawing/2014/main" id="{28C3BD77-7F2D-47CD-B495-7B12511FB87A}"/>
                  </a:ext>
                </a:extLst>
              </p:cNvPr>
              <p:cNvSpPr/>
              <p:nvPr/>
            </p:nvSpPr>
            <p:spPr>
              <a:xfrm>
                <a:off x="5613944" y="1196902"/>
                <a:ext cx="76912" cy="532762"/>
              </a:xfrm>
              <a:custGeom>
                <a:avLst/>
                <a:gdLst>
                  <a:gd name="connsiteX0" fmla="*/ 3050 w 76912"/>
                  <a:gd name="connsiteY0" fmla="*/ 0 h 532762"/>
                  <a:gd name="connsiteX1" fmla="*/ 76912 w 76912"/>
                  <a:gd name="connsiteY1" fmla="*/ 532344 h 532762"/>
                  <a:gd name="connsiteX2" fmla="*/ 73922 w 76912"/>
                  <a:gd name="connsiteY2" fmla="*/ 532763 h 532762"/>
                  <a:gd name="connsiteX3" fmla="*/ 0 w 76912"/>
                  <a:gd name="connsiteY3" fmla="*/ 419 h 532762"/>
                </a:gdLst>
                <a:ahLst/>
                <a:cxnLst>
                  <a:cxn ang="0">
                    <a:pos x="connsiteX0" y="connsiteY0"/>
                  </a:cxn>
                  <a:cxn ang="0">
                    <a:pos x="connsiteX1" y="connsiteY1"/>
                  </a:cxn>
                  <a:cxn ang="0">
                    <a:pos x="connsiteX2" y="connsiteY2"/>
                  </a:cxn>
                  <a:cxn ang="0">
                    <a:pos x="connsiteX3" y="connsiteY3"/>
                  </a:cxn>
                </a:cxnLst>
                <a:rect l="l" t="t" r="r" b="b"/>
                <a:pathLst>
                  <a:path w="76912" h="532762">
                    <a:moveTo>
                      <a:pt x="3050" y="0"/>
                    </a:moveTo>
                    <a:lnTo>
                      <a:pt x="76912" y="532344"/>
                    </a:lnTo>
                    <a:lnTo>
                      <a:pt x="73922" y="532763"/>
                    </a:lnTo>
                    <a:lnTo>
                      <a:pt x="0" y="419"/>
                    </a:lnTo>
                    <a:close/>
                  </a:path>
                </a:pathLst>
              </a:custGeom>
              <a:grpFill/>
              <a:ln w="5978" cap="flat">
                <a:noFill/>
                <a:prstDash val="solid"/>
                <a:miter/>
              </a:ln>
            </p:spPr>
            <p:txBody>
              <a:bodyPr rtlCol="0" anchor="ctr"/>
              <a:lstStyle/>
              <a:p>
                <a:endParaRPr lang="en-GB"/>
              </a:p>
            </p:txBody>
          </p:sp>
          <p:sp>
            <p:nvSpPr>
              <p:cNvPr id="3509" name="Vrije vorm: vorm 3508">
                <a:extLst>
                  <a:ext uri="{FF2B5EF4-FFF2-40B4-BE49-F238E27FC236}">
                    <a16:creationId xmlns:a16="http://schemas.microsoft.com/office/drawing/2014/main" id="{DAFC706A-677F-407C-B98D-91E736B5A499}"/>
                  </a:ext>
                </a:extLst>
              </p:cNvPr>
              <p:cNvSpPr/>
              <p:nvPr/>
            </p:nvSpPr>
            <p:spPr>
              <a:xfrm>
                <a:off x="5680117" y="1719777"/>
                <a:ext cx="18367" cy="18399"/>
              </a:xfrm>
              <a:custGeom>
                <a:avLst/>
                <a:gdLst>
                  <a:gd name="connsiteX0" fmla="*/ 18274 w 18367"/>
                  <a:gd name="connsiteY0" fmla="*/ 7973 h 18399"/>
                  <a:gd name="connsiteX1" fmla="*/ 10440 w 18367"/>
                  <a:gd name="connsiteY1" fmla="*/ 18320 h 18399"/>
                  <a:gd name="connsiteX2" fmla="*/ 93 w 18367"/>
                  <a:gd name="connsiteY2" fmla="*/ 10426 h 18399"/>
                  <a:gd name="connsiteX3" fmla="*/ 7927 w 18367"/>
                  <a:gd name="connsiteY3" fmla="*/ 79 h 18399"/>
                  <a:gd name="connsiteX4" fmla="*/ 18274 w 18367"/>
                  <a:gd name="connsiteY4" fmla="*/ 797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399">
                    <a:moveTo>
                      <a:pt x="18274" y="7973"/>
                    </a:moveTo>
                    <a:cubicBezTo>
                      <a:pt x="18992" y="12997"/>
                      <a:pt x="15463" y="17662"/>
                      <a:pt x="10440" y="18320"/>
                    </a:cubicBezTo>
                    <a:cubicBezTo>
                      <a:pt x="5416" y="18978"/>
                      <a:pt x="810" y="15449"/>
                      <a:pt x="93" y="10426"/>
                    </a:cubicBezTo>
                    <a:cubicBezTo>
                      <a:pt x="-625" y="5402"/>
                      <a:pt x="2904" y="737"/>
                      <a:pt x="7927" y="79"/>
                    </a:cubicBezTo>
                    <a:cubicBezTo>
                      <a:pt x="12951" y="-579"/>
                      <a:pt x="17556" y="2950"/>
                      <a:pt x="18274" y="7973"/>
                    </a:cubicBezTo>
                    <a:close/>
                  </a:path>
                </a:pathLst>
              </a:custGeom>
              <a:grpFill/>
              <a:ln w="5978" cap="flat">
                <a:noFill/>
                <a:prstDash val="solid"/>
                <a:miter/>
              </a:ln>
            </p:spPr>
            <p:txBody>
              <a:bodyPr rtlCol="0" anchor="ctr"/>
              <a:lstStyle/>
              <a:p>
                <a:endParaRPr lang="en-GB"/>
              </a:p>
            </p:txBody>
          </p:sp>
          <p:sp>
            <p:nvSpPr>
              <p:cNvPr id="3510" name="Vrije vorm: vorm 3509">
                <a:extLst>
                  <a:ext uri="{FF2B5EF4-FFF2-40B4-BE49-F238E27FC236}">
                    <a16:creationId xmlns:a16="http://schemas.microsoft.com/office/drawing/2014/main" id="{A8123B2A-8F4A-487A-B39E-AC8548C863A3}"/>
                  </a:ext>
                </a:extLst>
              </p:cNvPr>
              <p:cNvSpPr/>
              <p:nvPr/>
            </p:nvSpPr>
            <p:spPr>
              <a:xfrm>
                <a:off x="5606328" y="1188331"/>
                <a:ext cx="18355" cy="18399"/>
              </a:xfrm>
              <a:custGeom>
                <a:avLst/>
                <a:gdLst>
                  <a:gd name="connsiteX0" fmla="*/ 18261 w 18355"/>
                  <a:gd name="connsiteY0" fmla="*/ 7973 h 18399"/>
                  <a:gd name="connsiteX1" fmla="*/ 7915 w 18355"/>
                  <a:gd name="connsiteY1" fmla="*/ 79 h 18399"/>
                  <a:gd name="connsiteX2" fmla="*/ 80 w 18355"/>
                  <a:gd name="connsiteY2" fmla="*/ 10426 h 18399"/>
                  <a:gd name="connsiteX3" fmla="*/ 10427 w 18355"/>
                  <a:gd name="connsiteY3" fmla="*/ 18320 h 18399"/>
                  <a:gd name="connsiteX4" fmla="*/ 18261 w 18355"/>
                  <a:gd name="connsiteY4" fmla="*/ 797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399">
                    <a:moveTo>
                      <a:pt x="18261" y="7973"/>
                    </a:moveTo>
                    <a:cubicBezTo>
                      <a:pt x="17544" y="2950"/>
                      <a:pt x="12938" y="-579"/>
                      <a:pt x="7915" y="79"/>
                    </a:cubicBezTo>
                    <a:cubicBezTo>
                      <a:pt x="2891" y="737"/>
                      <a:pt x="-578" y="5402"/>
                      <a:pt x="80" y="10426"/>
                    </a:cubicBezTo>
                    <a:cubicBezTo>
                      <a:pt x="798" y="15449"/>
                      <a:pt x="5403" y="18978"/>
                      <a:pt x="10427" y="18320"/>
                    </a:cubicBezTo>
                    <a:cubicBezTo>
                      <a:pt x="15510" y="17662"/>
                      <a:pt x="18979" y="13057"/>
                      <a:pt x="18261" y="7973"/>
                    </a:cubicBezTo>
                    <a:close/>
                  </a:path>
                </a:pathLst>
              </a:custGeom>
              <a:grpFill/>
              <a:ln w="5978" cap="flat">
                <a:noFill/>
                <a:prstDash val="solid"/>
                <a:miter/>
              </a:ln>
            </p:spPr>
            <p:txBody>
              <a:bodyPr rtlCol="0" anchor="ctr"/>
              <a:lstStyle/>
              <a:p>
                <a:endParaRPr lang="en-GB"/>
              </a:p>
            </p:txBody>
          </p:sp>
        </p:grpSp>
        <p:grpSp>
          <p:nvGrpSpPr>
            <p:cNvPr id="628" name="Graphic 3">
              <a:extLst>
                <a:ext uri="{FF2B5EF4-FFF2-40B4-BE49-F238E27FC236}">
                  <a16:creationId xmlns:a16="http://schemas.microsoft.com/office/drawing/2014/main" id="{63C36051-9D5C-44FE-BC3D-94935900E5AD}"/>
                </a:ext>
              </a:extLst>
            </p:cNvPr>
            <p:cNvGrpSpPr/>
            <p:nvPr/>
          </p:nvGrpSpPr>
          <p:grpSpPr>
            <a:xfrm>
              <a:off x="6799356" y="4913787"/>
              <a:ext cx="67694" cy="117011"/>
              <a:chOff x="6799356" y="4913787"/>
              <a:chExt cx="67694" cy="117011"/>
            </a:xfrm>
            <a:grpFill/>
          </p:grpSpPr>
          <p:sp>
            <p:nvSpPr>
              <p:cNvPr id="3505" name="Vrije vorm: vorm 3504">
                <a:extLst>
                  <a:ext uri="{FF2B5EF4-FFF2-40B4-BE49-F238E27FC236}">
                    <a16:creationId xmlns:a16="http://schemas.microsoft.com/office/drawing/2014/main" id="{5E04E23A-3065-4324-B472-A4240F3A229C}"/>
                  </a:ext>
                </a:extLst>
              </p:cNvPr>
              <p:cNvSpPr/>
              <p:nvPr/>
            </p:nvSpPr>
            <p:spPr>
              <a:xfrm>
                <a:off x="6807052" y="4921705"/>
                <a:ext cx="52569" cy="100752"/>
              </a:xfrm>
              <a:custGeom>
                <a:avLst/>
                <a:gdLst>
                  <a:gd name="connsiteX0" fmla="*/ 0 w 52569"/>
                  <a:gd name="connsiteY0" fmla="*/ 1368 h 100752"/>
                  <a:gd name="connsiteX1" fmla="*/ 2726 w 52569"/>
                  <a:gd name="connsiteY1" fmla="*/ 0 h 100752"/>
                  <a:gd name="connsiteX2" fmla="*/ 52569 w 52569"/>
                  <a:gd name="connsiteY2" fmla="*/ 99385 h 100752"/>
                  <a:gd name="connsiteX3" fmla="*/ 49843 w 52569"/>
                  <a:gd name="connsiteY3" fmla="*/ 100753 h 100752"/>
                </a:gdLst>
                <a:ahLst/>
                <a:cxnLst>
                  <a:cxn ang="0">
                    <a:pos x="connsiteX0" y="connsiteY0"/>
                  </a:cxn>
                  <a:cxn ang="0">
                    <a:pos x="connsiteX1" y="connsiteY1"/>
                  </a:cxn>
                  <a:cxn ang="0">
                    <a:pos x="connsiteX2" y="connsiteY2"/>
                  </a:cxn>
                  <a:cxn ang="0">
                    <a:pos x="connsiteX3" y="connsiteY3"/>
                  </a:cxn>
                </a:cxnLst>
                <a:rect l="l" t="t" r="r" b="b"/>
                <a:pathLst>
                  <a:path w="52569" h="100752">
                    <a:moveTo>
                      <a:pt x="0" y="1368"/>
                    </a:moveTo>
                    <a:lnTo>
                      <a:pt x="2726" y="0"/>
                    </a:lnTo>
                    <a:lnTo>
                      <a:pt x="52569" y="99385"/>
                    </a:lnTo>
                    <a:lnTo>
                      <a:pt x="49843" y="100753"/>
                    </a:lnTo>
                    <a:close/>
                  </a:path>
                </a:pathLst>
              </a:custGeom>
              <a:grpFill/>
              <a:ln w="5978" cap="flat">
                <a:noFill/>
                <a:prstDash val="solid"/>
                <a:miter/>
              </a:ln>
            </p:spPr>
            <p:txBody>
              <a:bodyPr rtlCol="0" anchor="ctr"/>
              <a:lstStyle/>
              <a:p>
                <a:endParaRPr lang="en-GB"/>
              </a:p>
            </p:txBody>
          </p:sp>
          <p:sp>
            <p:nvSpPr>
              <p:cNvPr id="3506" name="Vrije vorm: vorm 3505">
                <a:extLst>
                  <a:ext uri="{FF2B5EF4-FFF2-40B4-BE49-F238E27FC236}">
                    <a16:creationId xmlns:a16="http://schemas.microsoft.com/office/drawing/2014/main" id="{7AF37476-A3D4-4CC5-A15A-408673C264F0}"/>
                  </a:ext>
                </a:extLst>
              </p:cNvPr>
              <p:cNvSpPr/>
              <p:nvPr/>
            </p:nvSpPr>
            <p:spPr>
              <a:xfrm>
                <a:off x="6848697" y="5012349"/>
                <a:ext cx="18353" cy="18448"/>
              </a:xfrm>
              <a:custGeom>
                <a:avLst/>
                <a:gdLst>
                  <a:gd name="connsiteX0" fmla="*/ 17370 w 18353"/>
                  <a:gd name="connsiteY0" fmla="*/ 5098 h 18448"/>
                  <a:gd name="connsiteX1" fmla="*/ 13304 w 18353"/>
                  <a:gd name="connsiteY1" fmla="*/ 17478 h 18448"/>
                  <a:gd name="connsiteX2" fmla="*/ 983 w 18353"/>
                  <a:gd name="connsiteY2" fmla="*/ 13351 h 18448"/>
                  <a:gd name="connsiteX3" fmla="*/ 5051 w 18353"/>
                  <a:gd name="connsiteY3" fmla="*/ 971 h 18448"/>
                  <a:gd name="connsiteX4" fmla="*/ 17370 w 18353"/>
                  <a:gd name="connsiteY4" fmla="*/ 509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8">
                    <a:moveTo>
                      <a:pt x="17370" y="5098"/>
                    </a:moveTo>
                    <a:cubicBezTo>
                      <a:pt x="19643" y="9643"/>
                      <a:pt x="17849" y="15205"/>
                      <a:pt x="13304" y="17478"/>
                    </a:cubicBezTo>
                    <a:cubicBezTo>
                      <a:pt x="8759" y="19751"/>
                      <a:pt x="3256" y="17897"/>
                      <a:pt x="983" y="13351"/>
                    </a:cubicBezTo>
                    <a:cubicBezTo>
                      <a:pt x="-1289" y="8806"/>
                      <a:pt x="505" y="3244"/>
                      <a:pt x="5051" y="971"/>
                    </a:cubicBezTo>
                    <a:cubicBezTo>
                      <a:pt x="9596" y="-1302"/>
                      <a:pt x="15098" y="553"/>
                      <a:pt x="17370" y="5098"/>
                    </a:cubicBezTo>
                    <a:close/>
                  </a:path>
                </a:pathLst>
              </a:custGeom>
              <a:grpFill/>
              <a:ln w="5978" cap="flat">
                <a:noFill/>
                <a:prstDash val="solid"/>
                <a:miter/>
              </a:ln>
            </p:spPr>
            <p:txBody>
              <a:bodyPr rtlCol="0" anchor="ctr"/>
              <a:lstStyle/>
              <a:p>
                <a:endParaRPr lang="en-GB"/>
              </a:p>
            </p:txBody>
          </p:sp>
          <p:sp>
            <p:nvSpPr>
              <p:cNvPr id="3507" name="Vrije vorm: vorm 3506">
                <a:extLst>
                  <a:ext uri="{FF2B5EF4-FFF2-40B4-BE49-F238E27FC236}">
                    <a16:creationId xmlns:a16="http://schemas.microsoft.com/office/drawing/2014/main" id="{7250E5E8-6AA1-49DA-90F9-412CF2C47B78}"/>
                  </a:ext>
                </a:extLst>
              </p:cNvPr>
              <p:cNvSpPr/>
              <p:nvPr/>
            </p:nvSpPr>
            <p:spPr>
              <a:xfrm>
                <a:off x="6799356" y="4913787"/>
                <a:ext cx="18353" cy="18449"/>
              </a:xfrm>
              <a:custGeom>
                <a:avLst/>
                <a:gdLst>
                  <a:gd name="connsiteX0" fmla="*/ 17371 w 18353"/>
                  <a:gd name="connsiteY0" fmla="*/ 5098 h 18449"/>
                  <a:gd name="connsiteX1" fmla="*/ 5050 w 18353"/>
                  <a:gd name="connsiteY1" fmla="*/ 971 h 18449"/>
                  <a:gd name="connsiteX2" fmla="*/ 983 w 18353"/>
                  <a:gd name="connsiteY2" fmla="*/ 13351 h 18449"/>
                  <a:gd name="connsiteX3" fmla="*/ 13304 w 18353"/>
                  <a:gd name="connsiteY3" fmla="*/ 17478 h 18449"/>
                  <a:gd name="connsiteX4" fmla="*/ 17371 w 18353"/>
                  <a:gd name="connsiteY4" fmla="*/ 5098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49">
                    <a:moveTo>
                      <a:pt x="17371" y="5098"/>
                    </a:moveTo>
                    <a:cubicBezTo>
                      <a:pt x="15098" y="552"/>
                      <a:pt x="9596" y="-1302"/>
                      <a:pt x="5050" y="971"/>
                    </a:cubicBezTo>
                    <a:cubicBezTo>
                      <a:pt x="505" y="3244"/>
                      <a:pt x="-1289" y="8806"/>
                      <a:pt x="983" y="13351"/>
                    </a:cubicBezTo>
                    <a:cubicBezTo>
                      <a:pt x="3256" y="17897"/>
                      <a:pt x="8758" y="19751"/>
                      <a:pt x="13304" y="17478"/>
                    </a:cubicBezTo>
                    <a:cubicBezTo>
                      <a:pt x="17849" y="15145"/>
                      <a:pt x="19643" y="9643"/>
                      <a:pt x="17371" y="5098"/>
                    </a:cubicBezTo>
                    <a:close/>
                  </a:path>
                </a:pathLst>
              </a:custGeom>
              <a:grpFill/>
              <a:ln w="5978" cap="flat">
                <a:noFill/>
                <a:prstDash val="solid"/>
                <a:miter/>
              </a:ln>
            </p:spPr>
            <p:txBody>
              <a:bodyPr rtlCol="0" anchor="ctr"/>
              <a:lstStyle/>
              <a:p>
                <a:endParaRPr lang="en-GB"/>
              </a:p>
            </p:txBody>
          </p:sp>
        </p:grpSp>
        <p:grpSp>
          <p:nvGrpSpPr>
            <p:cNvPr id="629" name="Graphic 3">
              <a:extLst>
                <a:ext uri="{FF2B5EF4-FFF2-40B4-BE49-F238E27FC236}">
                  <a16:creationId xmlns:a16="http://schemas.microsoft.com/office/drawing/2014/main" id="{4381BF15-6099-4E1D-A4DC-3A9149AC25F0}"/>
                </a:ext>
              </a:extLst>
            </p:cNvPr>
            <p:cNvGrpSpPr/>
            <p:nvPr/>
          </p:nvGrpSpPr>
          <p:grpSpPr>
            <a:xfrm>
              <a:off x="5684705" y="1581474"/>
              <a:ext cx="48263" cy="170185"/>
              <a:chOff x="5684705" y="1581474"/>
              <a:chExt cx="48263" cy="170185"/>
            </a:xfrm>
            <a:grpFill/>
          </p:grpSpPr>
          <p:sp>
            <p:nvSpPr>
              <p:cNvPr id="3502" name="Vrije vorm: vorm 3501">
                <a:extLst>
                  <a:ext uri="{FF2B5EF4-FFF2-40B4-BE49-F238E27FC236}">
                    <a16:creationId xmlns:a16="http://schemas.microsoft.com/office/drawing/2014/main" id="{7F3AD1EF-617F-46FE-B5BF-6D253F105465}"/>
                  </a:ext>
                </a:extLst>
              </p:cNvPr>
              <p:cNvSpPr/>
              <p:nvPr/>
            </p:nvSpPr>
            <p:spPr>
              <a:xfrm>
                <a:off x="5692321" y="1589749"/>
                <a:ext cx="33197" cy="153253"/>
              </a:xfrm>
              <a:custGeom>
                <a:avLst/>
                <a:gdLst>
                  <a:gd name="connsiteX0" fmla="*/ 0 w 33197"/>
                  <a:gd name="connsiteY0" fmla="*/ 592 h 153253"/>
                  <a:gd name="connsiteX1" fmla="*/ 2992 w 33197"/>
                  <a:gd name="connsiteY1" fmla="*/ 0 h 153253"/>
                  <a:gd name="connsiteX2" fmla="*/ 33198 w 33197"/>
                  <a:gd name="connsiteY2" fmla="*/ 152662 h 153253"/>
                  <a:gd name="connsiteX3" fmla="*/ 30206 w 33197"/>
                  <a:gd name="connsiteY3" fmla="*/ 153254 h 153253"/>
                </a:gdLst>
                <a:ahLst/>
                <a:cxnLst>
                  <a:cxn ang="0">
                    <a:pos x="connsiteX0" y="connsiteY0"/>
                  </a:cxn>
                  <a:cxn ang="0">
                    <a:pos x="connsiteX1" y="connsiteY1"/>
                  </a:cxn>
                  <a:cxn ang="0">
                    <a:pos x="connsiteX2" y="connsiteY2"/>
                  </a:cxn>
                  <a:cxn ang="0">
                    <a:pos x="connsiteX3" y="connsiteY3"/>
                  </a:cxn>
                </a:cxnLst>
                <a:rect l="l" t="t" r="r" b="b"/>
                <a:pathLst>
                  <a:path w="33197" h="153253">
                    <a:moveTo>
                      <a:pt x="0" y="592"/>
                    </a:moveTo>
                    <a:lnTo>
                      <a:pt x="2992" y="0"/>
                    </a:lnTo>
                    <a:lnTo>
                      <a:pt x="33198" y="152662"/>
                    </a:lnTo>
                    <a:lnTo>
                      <a:pt x="30206" y="153254"/>
                    </a:lnTo>
                    <a:close/>
                  </a:path>
                </a:pathLst>
              </a:custGeom>
              <a:grpFill/>
              <a:ln w="5978" cap="flat">
                <a:noFill/>
                <a:prstDash val="solid"/>
                <a:miter/>
              </a:ln>
            </p:spPr>
            <p:txBody>
              <a:bodyPr rtlCol="0" anchor="ctr"/>
              <a:lstStyle/>
              <a:p>
                <a:endParaRPr lang="en-GB"/>
              </a:p>
            </p:txBody>
          </p:sp>
          <p:sp>
            <p:nvSpPr>
              <p:cNvPr id="3503" name="Vrije vorm: vorm 3502">
                <a:extLst>
                  <a:ext uri="{FF2B5EF4-FFF2-40B4-BE49-F238E27FC236}">
                    <a16:creationId xmlns:a16="http://schemas.microsoft.com/office/drawing/2014/main" id="{A57A90F9-07A3-442B-AE21-AE89C5B0766A}"/>
                  </a:ext>
                </a:extLst>
              </p:cNvPr>
              <p:cNvSpPr/>
              <p:nvPr/>
            </p:nvSpPr>
            <p:spPr>
              <a:xfrm>
                <a:off x="5684705" y="1581474"/>
                <a:ext cx="18282" cy="18455"/>
              </a:xfrm>
              <a:custGeom>
                <a:avLst/>
                <a:gdLst>
                  <a:gd name="connsiteX0" fmla="*/ 170 w 18282"/>
                  <a:gd name="connsiteY0" fmla="*/ 10993 h 18455"/>
                  <a:gd name="connsiteX1" fmla="*/ 7347 w 18282"/>
                  <a:gd name="connsiteY1" fmla="*/ 168 h 18455"/>
                  <a:gd name="connsiteX2" fmla="*/ 18112 w 18282"/>
                  <a:gd name="connsiteY2" fmla="*/ 7464 h 18455"/>
                  <a:gd name="connsiteX3" fmla="*/ 10936 w 18282"/>
                  <a:gd name="connsiteY3" fmla="*/ 18289 h 18455"/>
                  <a:gd name="connsiteX4" fmla="*/ 170 w 18282"/>
                  <a:gd name="connsiteY4" fmla="*/ 10993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55">
                    <a:moveTo>
                      <a:pt x="170" y="10993"/>
                    </a:moveTo>
                    <a:cubicBezTo>
                      <a:pt x="-787" y="6029"/>
                      <a:pt x="2383" y="1185"/>
                      <a:pt x="7347" y="168"/>
                    </a:cubicBezTo>
                    <a:cubicBezTo>
                      <a:pt x="12311" y="-789"/>
                      <a:pt x="17155" y="2441"/>
                      <a:pt x="18112" y="7464"/>
                    </a:cubicBezTo>
                    <a:cubicBezTo>
                      <a:pt x="19069" y="12428"/>
                      <a:pt x="15900" y="17273"/>
                      <a:pt x="10936" y="18289"/>
                    </a:cubicBezTo>
                    <a:cubicBezTo>
                      <a:pt x="5971" y="19246"/>
                      <a:pt x="1127" y="15957"/>
                      <a:pt x="170" y="10993"/>
                    </a:cubicBezTo>
                    <a:close/>
                  </a:path>
                </a:pathLst>
              </a:custGeom>
              <a:grpFill/>
              <a:ln w="5978" cap="flat">
                <a:noFill/>
                <a:prstDash val="solid"/>
                <a:miter/>
              </a:ln>
            </p:spPr>
            <p:txBody>
              <a:bodyPr rtlCol="0" anchor="ctr"/>
              <a:lstStyle/>
              <a:p>
                <a:endParaRPr lang="en-GB"/>
              </a:p>
            </p:txBody>
          </p:sp>
          <p:sp>
            <p:nvSpPr>
              <p:cNvPr id="3504" name="Vrije vorm: vorm 3503">
                <a:extLst>
                  <a:ext uri="{FF2B5EF4-FFF2-40B4-BE49-F238E27FC236}">
                    <a16:creationId xmlns:a16="http://schemas.microsoft.com/office/drawing/2014/main" id="{CD83BAB3-7612-4ADB-883D-5C07BAA76B51}"/>
                  </a:ext>
                </a:extLst>
              </p:cNvPr>
              <p:cNvSpPr/>
              <p:nvPr/>
            </p:nvSpPr>
            <p:spPr>
              <a:xfrm>
                <a:off x="5714671" y="1733207"/>
                <a:ext cx="18297" cy="18452"/>
              </a:xfrm>
              <a:custGeom>
                <a:avLst/>
                <a:gdLst>
                  <a:gd name="connsiteX0" fmla="*/ 168 w 18297"/>
                  <a:gd name="connsiteY0" fmla="*/ 10991 h 18452"/>
                  <a:gd name="connsiteX1" fmla="*/ 10933 w 18297"/>
                  <a:gd name="connsiteY1" fmla="*/ 18287 h 18452"/>
                  <a:gd name="connsiteX2" fmla="*/ 18110 w 18297"/>
                  <a:gd name="connsiteY2" fmla="*/ 7462 h 18452"/>
                  <a:gd name="connsiteX3" fmla="*/ 7345 w 18297"/>
                  <a:gd name="connsiteY3" fmla="*/ 166 h 18452"/>
                  <a:gd name="connsiteX4" fmla="*/ 168 w 18297"/>
                  <a:gd name="connsiteY4" fmla="*/ 1099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52">
                    <a:moveTo>
                      <a:pt x="168" y="10991"/>
                    </a:moveTo>
                    <a:cubicBezTo>
                      <a:pt x="1185" y="15955"/>
                      <a:pt x="5969" y="19244"/>
                      <a:pt x="10933" y="18287"/>
                    </a:cubicBezTo>
                    <a:cubicBezTo>
                      <a:pt x="15897" y="17330"/>
                      <a:pt x="19127" y="12486"/>
                      <a:pt x="18110" y="7462"/>
                    </a:cubicBezTo>
                    <a:cubicBezTo>
                      <a:pt x="17153" y="2498"/>
                      <a:pt x="12309" y="-791"/>
                      <a:pt x="7345" y="166"/>
                    </a:cubicBezTo>
                    <a:cubicBezTo>
                      <a:pt x="2440" y="1182"/>
                      <a:pt x="-789" y="5967"/>
                      <a:pt x="168" y="10991"/>
                    </a:cubicBezTo>
                    <a:close/>
                  </a:path>
                </a:pathLst>
              </a:custGeom>
              <a:grpFill/>
              <a:ln w="5978" cap="flat">
                <a:noFill/>
                <a:prstDash val="solid"/>
                <a:miter/>
              </a:ln>
            </p:spPr>
            <p:txBody>
              <a:bodyPr rtlCol="0" anchor="ctr"/>
              <a:lstStyle/>
              <a:p>
                <a:endParaRPr lang="en-GB"/>
              </a:p>
            </p:txBody>
          </p:sp>
        </p:grpSp>
        <p:grpSp>
          <p:nvGrpSpPr>
            <p:cNvPr id="630" name="Graphic 3">
              <a:extLst>
                <a:ext uri="{FF2B5EF4-FFF2-40B4-BE49-F238E27FC236}">
                  <a16:creationId xmlns:a16="http://schemas.microsoft.com/office/drawing/2014/main" id="{53EEE2DD-79AC-4D4C-A05A-4ADD83F252FA}"/>
                </a:ext>
              </a:extLst>
            </p:cNvPr>
            <p:cNvGrpSpPr/>
            <p:nvPr/>
          </p:nvGrpSpPr>
          <p:grpSpPr>
            <a:xfrm>
              <a:off x="6835400" y="5061719"/>
              <a:ext cx="73930" cy="134801"/>
              <a:chOff x="6835400" y="5061719"/>
              <a:chExt cx="73930" cy="134801"/>
            </a:xfrm>
            <a:grpFill/>
          </p:grpSpPr>
          <p:sp>
            <p:nvSpPr>
              <p:cNvPr id="3499" name="Vrije vorm: vorm 3498">
                <a:extLst>
                  <a:ext uri="{FF2B5EF4-FFF2-40B4-BE49-F238E27FC236}">
                    <a16:creationId xmlns:a16="http://schemas.microsoft.com/office/drawing/2014/main" id="{A0A6AC8A-2F72-4A29-A6BB-81B1F156C02F}"/>
                  </a:ext>
                </a:extLst>
              </p:cNvPr>
              <p:cNvSpPr/>
              <p:nvPr/>
            </p:nvSpPr>
            <p:spPr>
              <a:xfrm>
                <a:off x="6842993" y="5069930"/>
                <a:ext cx="58919" cy="118384"/>
              </a:xfrm>
              <a:custGeom>
                <a:avLst/>
                <a:gdLst>
                  <a:gd name="connsiteX0" fmla="*/ 0 w 58919"/>
                  <a:gd name="connsiteY0" fmla="*/ 1319 h 118384"/>
                  <a:gd name="connsiteX1" fmla="*/ 2750 w 58919"/>
                  <a:gd name="connsiteY1" fmla="*/ 0 h 118384"/>
                  <a:gd name="connsiteX2" fmla="*/ 58920 w 58919"/>
                  <a:gd name="connsiteY2" fmla="*/ 117065 h 118384"/>
                  <a:gd name="connsiteX3" fmla="*/ 56169 w 58919"/>
                  <a:gd name="connsiteY3" fmla="*/ 118385 h 118384"/>
                </a:gdLst>
                <a:ahLst/>
                <a:cxnLst>
                  <a:cxn ang="0">
                    <a:pos x="connsiteX0" y="connsiteY0"/>
                  </a:cxn>
                  <a:cxn ang="0">
                    <a:pos x="connsiteX1" y="connsiteY1"/>
                  </a:cxn>
                  <a:cxn ang="0">
                    <a:pos x="connsiteX2" y="connsiteY2"/>
                  </a:cxn>
                  <a:cxn ang="0">
                    <a:pos x="connsiteX3" y="connsiteY3"/>
                  </a:cxn>
                </a:cxnLst>
                <a:rect l="l" t="t" r="r" b="b"/>
                <a:pathLst>
                  <a:path w="58919" h="118384">
                    <a:moveTo>
                      <a:pt x="0" y="1319"/>
                    </a:moveTo>
                    <a:lnTo>
                      <a:pt x="2750" y="0"/>
                    </a:lnTo>
                    <a:lnTo>
                      <a:pt x="58920" y="117065"/>
                    </a:lnTo>
                    <a:lnTo>
                      <a:pt x="56169" y="118385"/>
                    </a:lnTo>
                    <a:close/>
                  </a:path>
                </a:pathLst>
              </a:custGeom>
              <a:grpFill/>
              <a:ln w="5978" cap="flat">
                <a:noFill/>
                <a:prstDash val="solid"/>
                <a:miter/>
              </a:ln>
            </p:spPr>
            <p:txBody>
              <a:bodyPr rtlCol="0" anchor="ctr"/>
              <a:lstStyle/>
              <a:p>
                <a:endParaRPr lang="en-GB"/>
              </a:p>
            </p:txBody>
          </p:sp>
          <p:sp>
            <p:nvSpPr>
              <p:cNvPr id="3500" name="Vrije vorm: vorm 3499">
                <a:extLst>
                  <a:ext uri="{FF2B5EF4-FFF2-40B4-BE49-F238E27FC236}">
                    <a16:creationId xmlns:a16="http://schemas.microsoft.com/office/drawing/2014/main" id="{83BEA4F5-2CBB-48FD-BF80-2AEC948F6575}"/>
                  </a:ext>
                </a:extLst>
              </p:cNvPr>
              <p:cNvSpPr/>
              <p:nvPr/>
            </p:nvSpPr>
            <p:spPr>
              <a:xfrm>
                <a:off x="6890925" y="5178078"/>
                <a:ext cx="18406" cy="18443"/>
              </a:xfrm>
              <a:custGeom>
                <a:avLst/>
                <a:gdLst>
                  <a:gd name="connsiteX0" fmla="*/ 17487 w 18406"/>
                  <a:gd name="connsiteY0" fmla="*/ 5274 h 18443"/>
                  <a:gd name="connsiteX1" fmla="*/ 13180 w 18406"/>
                  <a:gd name="connsiteY1" fmla="*/ 17535 h 18443"/>
                  <a:gd name="connsiteX2" fmla="*/ 920 w 18406"/>
                  <a:gd name="connsiteY2" fmla="*/ 13169 h 18443"/>
                  <a:gd name="connsiteX3" fmla="*/ 5226 w 18406"/>
                  <a:gd name="connsiteY3" fmla="*/ 908 h 18443"/>
                  <a:gd name="connsiteX4" fmla="*/ 17487 w 18406"/>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6" h="18443">
                    <a:moveTo>
                      <a:pt x="17487" y="5274"/>
                    </a:moveTo>
                    <a:cubicBezTo>
                      <a:pt x="19699" y="9879"/>
                      <a:pt x="17785" y="15381"/>
                      <a:pt x="13180" y="17535"/>
                    </a:cubicBezTo>
                    <a:cubicBezTo>
                      <a:pt x="8635" y="19748"/>
                      <a:pt x="3133" y="17774"/>
                      <a:pt x="920" y="13169"/>
                    </a:cubicBezTo>
                    <a:cubicBezTo>
                      <a:pt x="-1293" y="8564"/>
                      <a:pt x="620" y="3061"/>
                      <a:pt x="5226" y="908"/>
                    </a:cubicBezTo>
                    <a:cubicBezTo>
                      <a:pt x="9831" y="-1305"/>
                      <a:pt x="15274" y="669"/>
                      <a:pt x="17487" y="5274"/>
                    </a:cubicBezTo>
                    <a:close/>
                  </a:path>
                </a:pathLst>
              </a:custGeom>
              <a:grpFill/>
              <a:ln w="5978" cap="flat">
                <a:noFill/>
                <a:prstDash val="solid"/>
                <a:miter/>
              </a:ln>
            </p:spPr>
            <p:txBody>
              <a:bodyPr rtlCol="0" anchor="ctr"/>
              <a:lstStyle/>
              <a:p>
                <a:endParaRPr lang="en-GB"/>
              </a:p>
            </p:txBody>
          </p:sp>
          <p:sp>
            <p:nvSpPr>
              <p:cNvPr id="3501" name="Vrije vorm: vorm 3500">
                <a:extLst>
                  <a:ext uri="{FF2B5EF4-FFF2-40B4-BE49-F238E27FC236}">
                    <a16:creationId xmlns:a16="http://schemas.microsoft.com/office/drawing/2014/main" id="{16CD9641-0536-4544-BEDB-A90EFBEA90E4}"/>
                  </a:ext>
                </a:extLst>
              </p:cNvPr>
              <p:cNvSpPr/>
              <p:nvPr/>
            </p:nvSpPr>
            <p:spPr>
              <a:xfrm>
                <a:off x="6835400" y="5061719"/>
                <a:ext cx="18369" cy="18390"/>
              </a:xfrm>
              <a:custGeom>
                <a:avLst/>
                <a:gdLst>
                  <a:gd name="connsiteX0" fmla="*/ 17450 w 18369"/>
                  <a:gd name="connsiteY0" fmla="*/ 5248 h 18390"/>
                  <a:gd name="connsiteX1" fmla="*/ 5189 w 18369"/>
                  <a:gd name="connsiteY1" fmla="*/ 882 h 18390"/>
                  <a:gd name="connsiteX2" fmla="*/ 883 w 18369"/>
                  <a:gd name="connsiteY2" fmla="*/ 13143 h 18390"/>
                  <a:gd name="connsiteX3" fmla="*/ 13144 w 18369"/>
                  <a:gd name="connsiteY3" fmla="*/ 17509 h 18390"/>
                  <a:gd name="connsiteX4" fmla="*/ 17450 w 18369"/>
                  <a:gd name="connsiteY4" fmla="*/ 5248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0">
                    <a:moveTo>
                      <a:pt x="17450" y="5248"/>
                    </a:moveTo>
                    <a:cubicBezTo>
                      <a:pt x="15237" y="643"/>
                      <a:pt x="9795" y="-1271"/>
                      <a:pt x="5189" y="882"/>
                    </a:cubicBezTo>
                    <a:cubicBezTo>
                      <a:pt x="645" y="3095"/>
                      <a:pt x="-1270" y="8538"/>
                      <a:pt x="883" y="13143"/>
                    </a:cubicBezTo>
                    <a:cubicBezTo>
                      <a:pt x="3036" y="17748"/>
                      <a:pt x="8539" y="19662"/>
                      <a:pt x="13144" y="17509"/>
                    </a:cubicBezTo>
                    <a:cubicBezTo>
                      <a:pt x="17750" y="15356"/>
                      <a:pt x="19663" y="9854"/>
                      <a:pt x="17450" y="5248"/>
                    </a:cubicBezTo>
                    <a:close/>
                  </a:path>
                </a:pathLst>
              </a:custGeom>
              <a:grpFill/>
              <a:ln w="5978" cap="flat">
                <a:noFill/>
                <a:prstDash val="solid"/>
                <a:miter/>
              </a:ln>
            </p:spPr>
            <p:txBody>
              <a:bodyPr rtlCol="0" anchor="ctr"/>
              <a:lstStyle/>
              <a:p>
                <a:endParaRPr lang="en-GB"/>
              </a:p>
            </p:txBody>
          </p:sp>
        </p:grpSp>
        <p:grpSp>
          <p:nvGrpSpPr>
            <p:cNvPr id="631" name="Graphic 3">
              <a:extLst>
                <a:ext uri="{FF2B5EF4-FFF2-40B4-BE49-F238E27FC236}">
                  <a16:creationId xmlns:a16="http://schemas.microsoft.com/office/drawing/2014/main" id="{179E29DB-0388-4910-A30D-234F267B3C1F}"/>
                </a:ext>
              </a:extLst>
            </p:cNvPr>
            <p:cNvGrpSpPr/>
            <p:nvPr/>
          </p:nvGrpSpPr>
          <p:grpSpPr>
            <a:xfrm>
              <a:off x="6878365" y="5238099"/>
              <a:ext cx="57185" cy="103906"/>
              <a:chOff x="6878365" y="5238099"/>
              <a:chExt cx="57185" cy="103906"/>
            </a:xfrm>
            <a:grpFill/>
          </p:grpSpPr>
          <p:sp>
            <p:nvSpPr>
              <p:cNvPr id="3496" name="Vrije vorm: vorm 3495">
                <a:extLst>
                  <a:ext uri="{FF2B5EF4-FFF2-40B4-BE49-F238E27FC236}">
                    <a16:creationId xmlns:a16="http://schemas.microsoft.com/office/drawing/2014/main" id="{B79677A8-E6ED-4464-B6C0-551EF2599ABE}"/>
                  </a:ext>
                </a:extLst>
              </p:cNvPr>
              <p:cNvSpPr/>
              <p:nvPr/>
            </p:nvSpPr>
            <p:spPr>
              <a:xfrm>
                <a:off x="6886038" y="5245967"/>
                <a:ext cx="42058" cy="87536"/>
              </a:xfrm>
              <a:custGeom>
                <a:avLst/>
                <a:gdLst>
                  <a:gd name="connsiteX0" fmla="*/ 0 w 42058"/>
                  <a:gd name="connsiteY0" fmla="*/ 1264 h 87536"/>
                  <a:gd name="connsiteX1" fmla="*/ 2776 w 42058"/>
                  <a:gd name="connsiteY1" fmla="*/ 0 h 87536"/>
                  <a:gd name="connsiteX2" fmla="*/ 42059 w 42058"/>
                  <a:gd name="connsiteY2" fmla="*/ 86272 h 87536"/>
                  <a:gd name="connsiteX3" fmla="*/ 39283 w 42058"/>
                  <a:gd name="connsiteY3" fmla="*/ 87536 h 87536"/>
                </a:gdLst>
                <a:ahLst/>
                <a:cxnLst>
                  <a:cxn ang="0">
                    <a:pos x="connsiteX0" y="connsiteY0"/>
                  </a:cxn>
                  <a:cxn ang="0">
                    <a:pos x="connsiteX1" y="connsiteY1"/>
                  </a:cxn>
                  <a:cxn ang="0">
                    <a:pos x="connsiteX2" y="connsiteY2"/>
                  </a:cxn>
                  <a:cxn ang="0">
                    <a:pos x="connsiteX3" y="connsiteY3"/>
                  </a:cxn>
                </a:cxnLst>
                <a:rect l="l" t="t" r="r" b="b"/>
                <a:pathLst>
                  <a:path w="42058" h="87536">
                    <a:moveTo>
                      <a:pt x="0" y="1264"/>
                    </a:moveTo>
                    <a:lnTo>
                      <a:pt x="2776" y="0"/>
                    </a:lnTo>
                    <a:lnTo>
                      <a:pt x="42059" y="86272"/>
                    </a:lnTo>
                    <a:lnTo>
                      <a:pt x="39283" y="87536"/>
                    </a:lnTo>
                    <a:close/>
                  </a:path>
                </a:pathLst>
              </a:custGeom>
              <a:grpFill/>
              <a:ln w="5978" cap="flat">
                <a:noFill/>
                <a:prstDash val="solid"/>
                <a:miter/>
              </a:ln>
            </p:spPr>
            <p:txBody>
              <a:bodyPr rtlCol="0" anchor="ctr"/>
              <a:lstStyle/>
              <a:p>
                <a:endParaRPr lang="en-GB"/>
              </a:p>
            </p:txBody>
          </p:sp>
          <p:sp>
            <p:nvSpPr>
              <p:cNvPr id="3497" name="Vrije vorm: vorm 3496">
                <a:extLst>
                  <a:ext uri="{FF2B5EF4-FFF2-40B4-BE49-F238E27FC236}">
                    <a16:creationId xmlns:a16="http://schemas.microsoft.com/office/drawing/2014/main" id="{F0F76FCF-65F6-45A4-B6D4-4E4993E7E2D7}"/>
                  </a:ext>
                </a:extLst>
              </p:cNvPr>
              <p:cNvSpPr/>
              <p:nvPr/>
            </p:nvSpPr>
            <p:spPr>
              <a:xfrm>
                <a:off x="6917217" y="5323555"/>
                <a:ext cx="18333" cy="18451"/>
              </a:xfrm>
              <a:custGeom>
                <a:avLst/>
                <a:gdLst>
                  <a:gd name="connsiteX0" fmla="*/ 17510 w 18333"/>
                  <a:gd name="connsiteY0" fmla="*/ 5428 h 18451"/>
                  <a:gd name="connsiteX1" fmla="*/ 12965 w 18333"/>
                  <a:gd name="connsiteY1" fmla="*/ 17628 h 18451"/>
                  <a:gd name="connsiteX2" fmla="*/ 824 w 18333"/>
                  <a:gd name="connsiteY2" fmla="*/ 13023 h 18451"/>
                  <a:gd name="connsiteX3" fmla="*/ 5369 w 18333"/>
                  <a:gd name="connsiteY3" fmla="*/ 823 h 18451"/>
                  <a:gd name="connsiteX4" fmla="*/ 17510 w 18333"/>
                  <a:gd name="connsiteY4" fmla="*/ 542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1">
                    <a:moveTo>
                      <a:pt x="17510" y="5428"/>
                    </a:moveTo>
                    <a:cubicBezTo>
                      <a:pt x="19603" y="10033"/>
                      <a:pt x="17569" y="15535"/>
                      <a:pt x="12965" y="17628"/>
                    </a:cubicBezTo>
                    <a:cubicBezTo>
                      <a:pt x="8359" y="19722"/>
                      <a:pt x="2917" y="17688"/>
                      <a:pt x="824" y="13023"/>
                    </a:cubicBezTo>
                    <a:cubicBezTo>
                      <a:pt x="-1269" y="8358"/>
                      <a:pt x="764" y="2916"/>
                      <a:pt x="5369" y="823"/>
                    </a:cubicBezTo>
                    <a:cubicBezTo>
                      <a:pt x="9974" y="-1271"/>
                      <a:pt x="15416" y="763"/>
                      <a:pt x="17510" y="5428"/>
                    </a:cubicBezTo>
                    <a:close/>
                  </a:path>
                </a:pathLst>
              </a:custGeom>
              <a:grpFill/>
              <a:ln w="5978" cap="flat">
                <a:noFill/>
                <a:prstDash val="solid"/>
                <a:miter/>
              </a:ln>
            </p:spPr>
            <p:txBody>
              <a:bodyPr rtlCol="0" anchor="ctr"/>
              <a:lstStyle/>
              <a:p>
                <a:endParaRPr lang="en-GB"/>
              </a:p>
            </p:txBody>
          </p:sp>
          <p:sp>
            <p:nvSpPr>
              <p:cNvPr id="3498" name="Vrije vorm: vorm 3497">
                <a:extLst>
                  <a:ext uri="{FF2B5EF4-FFF2-40B4-BE49-F238E27FC236}">
                    <a16:creationId xmlns:a16="http://schemas.microsoft.com/office/drawing/2014/main" id="{5E0BF1C1-6AC3-4983-BBF5-5ABA325179AA}"/>
                  </a:ext>
                </a:extLst>
              </p:cNvPr>
              <p:cNvSpPr/>
              <p:nvPr/>
            </p:nvSpPr>
            <p:spPr>
              <a:xfrm>
                <a:off x="6878365" y="5238099"/>
                <a:ext cx="18320" cy="18432"/>
              </a:xfrm>
              <a:custGeom>
                <a:avLst/>
                <a:gdLst>
                  <a:gd name="connsiteX0" fmla="*/ 17487 w 18320"/>
                  <a:gd name="connsiteY0" fmla="*/ 5419 h 18432"/>
                  <a:gd name="connsiteX1" fmla="*/ 5346 w 18320"/>
                  <a:gd name="connsiteY1" fmla="*/ 813 h 18432"/>
                  <a:gd name="connsiteX2" fmla="*/ 860 w 18320"/>
                  <a:gd name="connsiteY2" fmla="*/ 13014 h 18432"/>
                  <a:gd name="connsiteX3" fmla="*/ 13001 w 18320"/>
                  <a:gd name="connsiteY3" fmla="*/ 17619 h 18432"/>
                  <a:gd name="connsiteX4" fmla="*/ 17487 w 18320"/>
                  <a:gd name="connsiteY4" fmla="*/ 5419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2">
                    <a:moveTo>
                      <a:pt x="17487" y="5419"/>
                    </a:moveTo>
                    <a:cubicBezTo>
                      <a:pt x="15393" y="813"/>
                      <a:pt x="9951" y="-1280"/>
                      <a:pt x="5346" y="813"/>
                    </a:cubicBezTo>
                    <a:cubicBezTo>
                      <a:pt x="740" y="2907"/>
                      <a:pt x="-1293" y="8349"/>
                      <a:pt x="860" y="13014"/>
                    </a:cubicBezTo>
                    <a:cubicBezTo>
                      <a:pt x="2953" y="17619"/>
                      <a:pt x="8396" y="19712"/>
                      <a:pt x="13001" y="17619"/>
                    </a:cubicBezTo>
                    <a:cubicBezTo>
                      <a:pt x="17606" y="15526"/>
                      <a:pt x="19580" y="10083"/>
                      <a:pt x="17487" y="5419"/>
                    </a:cubicBezTo>
                    <a:close/>
                  </a:path>
                </a:pathLst>
              </a:custGeom>
              <a:grpFill/>
              <a:ln w="5978" cap="flat">
                <a:noFill/>
                <a:prstDash val="solid"/>
                <a:miter/>
              </a:ln>
            </p:spPr>
            <p:txBody>
              <a:bodyPr rtlCol="0" anchor="ctr"/>
              <a:lstStyle/>
              <a:p>
                <a:endParaRPr lang="en-GB"/>
              </a:p>
            </p:txBody>
          </p:sp>
        </p:grpSp>
        <p:grpSp>
          <p:nvGrpSpPr>
            <p:cNvPr id="632" name="Graphic 3">
              <a:extLst>
                <a:ext uri="{FF2B5EF4-FFF2-40B4-BE49-F238E27FC236}">
                  <a16:creationId xmlns:a16="http://schemas.microsoft.com/office/drawing/2014/main" id="{3F96AB96-C1DE-4642-862B-7C1F8639ACB9}"/>
                </a:ext>
              </a:extLst>
            </p:cNvPr>
            <p:cNvGrpSpPr/>
            <p:nvPr/>
          </p:nvGrpSpPr>
          <p:grpSpPr>
            <a:xfrm>
              <a:off x="6769721" y="4926011"/>
              <a:ext cx="166407" cy="415735"/>
              <a:chOff x="6769721" y="4926011"/>
              <a:chExt cx="166407" cy="415735"/>
            </a:xfrm>
            <a:grpFill/>
          </p:grpSpPr>
          <p:sp>
            <p:nvSpPr>
              <p:cNvPr id="3493" name="Vrije vorm: vorm 3492">
                <a:extLst>
                  <a:ext uri="{FF2B5EF4-FFF2-40B4-BE49-F238E27FC236}">
                    <a16:creationId xmlns:a16="http://schemas.microsoft.com/office/drawing/2014/main" id="{454D68CB-6148-4C02-A545-954F2AC05F4B}"/>
                  </a:ext>
                </a:extLst>
              </p:cNvPr>
              <p:cNvSpPr/>
              <p:nvPr/>
            </p:nvSpPr>
            <p:spPr>
              <a:xfrm>
                <a:off x="6777135" y="4934536"/>
                <a:ext cx="151286" cy="399225"/>
              </a:xfrm>
              <a:custGeom>
                <a:avLst/>
                <a:gdLst>
                  <a:gd name="connsiteX0" fmla="*/ 0 w 151286"/>
                  <a:gd name="connsiteY0" fmla="*/ 1065 h 399225"/>
                  <a:gd name="connsiteX1" fmla="*/ 2858 w 151286"/>
                  <a:gd name="connsiteY1" fmla="*/ 0 h 399225"/>
                  <a:gd name="connsiteX2" fmla="*/ 151286 w 151286"/>
                  <a:gd name="connsiteY2" fmla="*/ 398159 h 399225"/>
                  <a:gd name="connsiteX3" fmla="*/ 148428 w 151286"/>
                  <a:gd name="connsiteY3" fmla="*/ 399225 h 399225"/>
                </a:gdLst>
                <a:ahLst/>
                <a:cxnLst>
                  <a:cxn ang="0">
                    <a:pos x="connsiteX0" y="connsiteY0"/>
                  </a:cxn>
                  <a:cxn ang="0">
                    <a:pos x="connsiteX1" y="connsiteY1"/>
                  </a:cxn>
                  <a:cxn ang="0">
                    <a:pos x="connsiteX2" y="connsiteY2"/>
                  </a:cxn>
                  <a:cxn ang="0">
                    <a:pos x="connsiteX3" y="connsiteY3"/>
                  </a:cxn>
                </a:cxnLst>
                <a:rect l="l" t="t" r="r" b="b"/>
                <a:pathLst>
                  <a:path w="151286" h="399225">
                    <a:moveTo>
                      <a:pt x="0" y="1065"/>
                    </a:moveTo>
                    <a:lnTo>
                      <a:pt x="2858" y="0"/>
                    </a:lnTo>
                    <a:lnTo>
                      <a:pt x="151286" y="398159"/>
                    </a:lnTo>
                    <a:lnTo>
                      <a:pt x="148428" y="399225"/>
                    </a:lnTo>
                    <a:close/>
                  </a:path>
                </a:pathLst>
              </a:custGeom>
              <a:grpFill/>
              <a:ln w="5978" cap="flat">
                <a:noFill/>
                <a:prstDash val="solid"/>
                <a:miter/>
              </a:ln>
            </p:spPr>
            <p:txBody>
              <a:bodyPr rtlCol="0" anchor="ctr"/>
              <a:lstStyle/>
              <a:p>
                <a:endParaRPr lang="en-GB"/>
              </a:p>
            </p:txBody>
          </p:sp>
          <p:sp>
            <p:nvSpPr>
              <p:cNvPr id="3494" name="Vrije vorm: vorm 3493">
                <a:extLst>
                  <a:ext uri="{FF2B5EF4-FFF2-40B4-BE49-F238E27FC236}">
                    <a16:creationId xmlns:a16="http://schemas.microsoft.com/office/drawing/2014/main" id="{407DB59A-B585-4366-AD92-04A0F0D239EA}"/>
                  </a:ext>
                </a:extLst>
              </p:cNvPr>
              <p:cNvSpPr/>
              <p:nvPr/>
            </p:nvSpPr>
            <p:spPr>
              <a:xfrm>
                <a:off x="6769721" y="4926011"/>
                <a:ext cx="18356" cy="18429"/>
              </a:xfrm>
              <a:custGeom>
                <a:avLst/>
                <a:gdLst>
                  <a:gd name="connsiteX0" fmla="*/ 596 w 18356"/>
                  <a:gd name="connsiteY0" fmla="*/ 12430 h 18429"/>
                  <a:gd name="connsiteX1" fmla="*/ 5978 w 18356"/>
                  <a:gd name="connsiteY1" fmla="*/ 588 h 18429"/>
                  <a:gd name="connsiteX2" fmla="*/ 17760 w 18356"/>
                  <a:gd name="connsiteY2" fmla="*/ 6031 h 18429"/>
                  <a:gd name="connsiteX3" fmla="*/ 12378 w 18356"/>
                  <a:gd name="connsiteY3" fmla="*/ 17872 h 18429"/>
                  <a:gd name="connsiteX4" fmla="*/ 596 w 18356"/>
                  <a:gd name="connsiteY4" fmla="*/ 1243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29">
                    <a:moveTo>
                      <a:pt x="596" y="12430"/>
                    </a:moveTo>
                    <a:cubicBezTo>
                      <a:pt x="-1198" y="7646"/>
                      <a:pt x="1194" y="2383"/>
                      <a:pt x="5978" y="588"/>
                    </a:cubicBezTo>
                    <a:cubicBezTo>
                      <a:pt x="10703" y="-1206"/>
                      <a:pt x="16026" y="1246"/>
                      <a:pt x="17760" y="6031"/>
                    </a:cubicBezTo>
                    <a:cubicBezTo>
                      <a:pt x="19554" y="10815"/>
                      <a:pt x="17162" y="16078"/>
                      <a:pt x="12378" y="17872"/>
                    </a:cubicBezTo>
                    <a:cubicBezTo>
                      <a:pt x="7653" y="19607"/>
                      <a:pt x="2390" y="17155"/>
                      <a:pt x="596" y="12430"/>
                    </a:cubicBezTo>
                    <a:close/>
                  </a:path>
                </a:pathLst>
              </a:custGeom>
              <a:grpFill/>
              <a:ln w="5978" cap="flat">
                <a:noFill/>
                <a:prstDash val="solid"/>
                <a:miter/>
              </a:ln>
            </p:spPr>
            <p:txBody>
              <a:bodyPr rtlCol="0" anchor="ctr"/>
              <a:lstStyle/>
              <a:p>
                <a:endParaRPr lang="en-GB"/>
              </a:p>
            </p:txBody>
          </p:sp>
          <p:sp>
            <p:nvSpPr>
              <p:cNvPr id="3495" name="Vrije vorm: vorm 3494">
                <a:extLst>
                  <a:ext uri="{FF2B5EF4-FFF2-40B4-BE49-F238E27FC236}">
                    <a16:creationId xmlns:a16="http://schemas.microsoft.com/office/drawing/2014/main" id="{386CDEBA-34F9-477C-8690-56494D179939}"/>
                  </a:ext>
                </a:extLst>
              </p:cNvPr>
              <p:cNvSpPr/>
              <p:nvPr/>
            </p:nvSpPr>
            <p:spPr>
              <a:xfrm>
                <a:off x="6917810" y="5323335"/>
                <a:ext cx="18317" cy="18412"/>
              </a:xfrm>
              <a:custGeom>
                <a:avLst/>
                <a:gdLst>
                  <a:gd name="connsiteX0" fmla="*/ 589 w 18317"/>
                  <a:gd name="connsiteY0" fmla="*/ 12406 h 18412"/>
                  <a:gd name="connsiteX1" fmla="*/ 12371 w 18317"/>
                  <a:gd name="connsiteY1" fmla="*/ 17848 h 18412"/>
                  <a:gd name="connsiteX2" fmla="*/ 17753 w 18317"/>
                  <a:gd name="connsiteY2" fmla="*/ 6006 h 18412"/>
                  <a:gd name="connsiteX3" fmla="*/ 5971 w 18317"/>
                  <a:gd name="connsiteY3" fmla="*/ 564 h 18412"/>
                  <a:gd name="connsiteX4" fmla="*/ 589 w 18317"/>
                  <a:gd name="connsiteY4" fmla="*/ 12406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12">
                    <a:moveTo>
                      <a:pt x="589" y="12406"/>
                    </a:moveTo>
                    <a:cubicBezTo>
                      <a:pt x="2383" y="17190"/>
                      <a:pt x="7646" y="19583"/>
                      <a:pt x="12371" y="17848"/>
                    </a:cubicBezTo>
                    <a:cubicBezTo>
                      <a:pt x="17095" y="16054"/>
                      <a:pt x="19488" y="10791"/>
                      <a:pt x="17753" y="6006"/>
                    </a:cubicBezTo>
                    <a:cubicBezTo>
                      <a:pt x="15959" y="1222"/>
                      <a:pt x="10696" y="-1171"/>
                      <a:pt x="5971" y="564"/>
                    </a:cubicBezTo>
                    <a:cubicBezTo>
                      <a:pt x="1246" y="2298"/>
                      <a:pt x="-1205" y="7621"/>
                      <a:pt x="589" y="12406"/>
                    </a:cubicBezTo>
                    <a:close/>
                  </a:path>
                </a:pathLst>
              </a:custGeom>
              <a:grpFill/>
              <a:ln w="5978" cap="flat">
                <a:noFill/>
                <a:prstDash val="solid"/>
                <a:miter/>
              </a:ln>
            </p:spPr>
            <p:txBody>
              <a:bodyPr rtlCol="0" anchor="ctr"/>
              <a:lstStyle/>
              <a:p>
                <a:endParaRPr lang="en-GB"/>
              </a:p>
            </p:txBody>
          </p:sp>
        </p:grpSp>
        <p:grpSp>
          <p:nvGrpSpPr>
            <p:cNvPr id="633" name="Graphic 3">
              <a:extLst>
                <a:ext uri="{FF2B5EF4-FFF2-40B4-BE49-F238E27FC236}">
                  <a16:creationId xmlns:a16="http://schemas.microsoft.com/office/drawing/2014/main" id="{DBCB7432-1B4D-43CA-B283-121C806B03F1}"/>
                </a:ext>
              </a:extLst>
            </p:cNvPr>
            <p:cNvGrpSpPr/>
            <p:nvPr/>
          </p:nvGrpSpPr>
          <p:grpSpPr>
            <a:xfrm>
              <a:off x="6770450" y="4925717"/>
              <a:ext cx="75366" cy="137792"/>
              <a:chOff x="6770450" y="4925717"/>
              <a:chExt cx="75366" cy="137792"/>
            </a:xfrm>
            <a:grpFill/>
          </p:grpSpPr>
          <p:sp>
            <p:nvSpPr>
              <p:cNvPr id="3490" name="Vrije vorm: vorm 3489">
                <a:extLst>
                  <a:ext uri="{FF2B5EF4-FFF2-40B4-BE49-F238E27FC236}">
                    <a16:creationId xmlns:a16="http://schemas.microsoft.com/office/drawing/2014/main" id="{7DF17C0B-4E17-44DE-8FDF-6B079BB11BBD}"/>
                  </a:ext>
                </a:extLst>
              </p:cNvPr>
              <p:cNvSpPr/>
              <p:nvPr/>
            </p:nvSpPr>
            <p:spPr>
              <a:xfrm>
                <a:off x="6778091" y="4933836"/>
                <a:ext cx="60166" cy="121528"/>
              </a:xfrm>
              <a:custGeom>
                <a:avLst/>
                <a:gdLst>
                  <a:gd name="connsiteX0" fmla="*/ 60166 w 60166"/>
                  <a:gd name="connsiteY0" fmla="*/ 120212 h 121528"/>
                  <a:gd name="connsiteX1" fmla="*/ 57415 w 60166"/>
                  <a:gd name="connsiteY1" fmla="*/ 121528 h 121528"/>
                  <a:gd name="connsiteX2" fmla="*/ 0 w 60166"/>
                  <a:gd name="connsiteY2" fmla="*/ 1316 h 121528"/>
                  <a:gd name="connsiteX3" fmla="*/ 2751 w 60166"/>
                  <a:gd name="connsiteY3" fmla="*/ 0 h 121528"/>
                </a:gdLst>
                <a:ahLst/>
                <a:cxnLst>
                  <a:cxn ang="0">
                    <a:pos x="connsiteX0" y="connsiteY0"/>
                  </a:cxn>
                  <a:cxn ang="0">
                    <a:pos x="connsiteX1" y="connsiteY1"/>
                  </a:cxn>
                  <a:cxn ang="0">
                    <a:pos x="connsiteX2" y="connsiteY2"/>
                  </a:cxn>
                  <a:cxn ang="0">
                    <a:pos x="connsiteX3" y="connsiteY3"/>
                  </a:cxn>
                </a:cxnLst>
                <a:rect l="l" t="t" r="r" b="b"/>
                <a:pathLst>
                  <a:path w="60166" h="121528">
                    <a:moveTo>
                      <a:pt x="60166" y="120212"/>
                    </a:moveTo>
                    <a:lnTo>
                      <a:pt x="57415" y="121528"/>
                    </a:lnTo>
                    <a:lnTo>
                      <a:pt x="0" y="1316"/>
                    </a:lnTo>
                    <a:lnTo>
                      <a:pt x="2751" y="0"/>
                    </a:lnTo>
                    <a:close/>
                  </a:path>
                </a:pathLst>
              </a:custGeom>
              <a:grpFill/>
              <a:ln w="5978" cap="flat">
                <a:noFill/>
                <a:prstDash val="solid"/>
                <a:miter/>
              </a:ln>
            </p:spPr>
            <p:txBody>
              <a:bodyPr rtlCol="0" anchor="ctr"/>
              <a:lstStyle/>
              <a:p>
                <a:endParaRPr lang="en-GB"/>
              </a:p>
            </p:txBody>
          </p:sp>
          <p:sp>
            <p:nvSpPr>
              <p:cNvPr id="3491" name="Vrije vorm: vorm 3490">
                <a:extLst>
                  <a:ext uri="{FF2B5EF4-FFF2-40B4-BE49-F238E27FC236}">
                    <a16:creationId xmlns:a16="http://schemas.microsoft.com/office/drawing/2014/main" id="{1CDBA6F4-D540-4F9B-A809-381FFD43B834}"/>
                  </a:ext>
                </a:extLst>
              </p:cNvPr>
              <p:cNvSpPr/>
              <p:nvPr/>
            </p:nvSpPr>
            <p:spPr>
              <a:xfrm>
                <a:off x="6827496" y="5045066"/>
                <a:ext cx="18320" cy="18443"/>
              </a:xfrm>
              <a:custGeom>
                <a:avLst/>
                <a:gdLst>
                  <a:gd name="connsiteX0" fmla="*/ 17401 w 18320"/>
                  <a:gd name="connsiteY0" fmla="*/ 5274 h 18443"/>
                  <a:gd name="connsiteX1" fmla="*/ 13094 w 18320"/>
                  <a:gd name="connsiteY1" fmla="*/ 17535 h 18443"/>
                  <a:gd name="connsiteX2" fmla="*/ 894 w 18320"/>
                  <a:gd name="connsiteY2" fmla="*/ 13169 h 18443"/>
                  <a:gd name="connsiteX3" fmla="*/ 5200 w 18320"/>
                  <a:gd name="connsiteY3" fmla="*/ 908 h 18443"/>
                  <a:gd name="connsiteX4" fmla="*/ 17401 w 18320"/>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43">
                    <a:moveTo>
                      <a:pt x="17401" y="5274"/>
                    </a:moveTo>
                    <a:cubicBezTo>
                      <a:pt x="19614" y="9879"/>
                      <a:pt x="17699" y="15382"/>
                      <a:pt x="13094" y="17535"/>
                    </a:cubicBezTo>
                    <a:cubicBezTo>
                      <a:pt x="8549" y="19748"/>
                      <a:pt x="3047" y="17774"/>
                      <a:pt x="894" y="13169"/>
                    </a:cubicBezTo>
                    <a:cubicBezTo>
                      <a:pt x="-1259" y="8564"/>
                      <a:pt x="595" y="3061"/>
                      <a:pt x="5200" y="908"/>
                    </a:cubicBezTo>
                    <a:cubicBezTo>
                      <a:pt x="9745" y="-1305"/>
                      <a:pt x="15248" y="669"/>
                      <a:pt x="17401" y="5274"/>
                    </a:cubicBezTo>
                    <a:close/>
                  </a:path>
                </a:pathLst>
              </a:custGeom>
              <a:grpFill/>
              <a:ln w="5978" cap="flat">
                <a:noFill/>
                <a:prstDash val="solid"/>
                <a:miter/>
              </a:ln>
            </p:spPr>
            <p:txBody>
              <a:bodyPr rtlCol="0" anchor="ctr"/>
              <a:lstStyle/>
              <a:p>
                <a:endParaRPr lang="en-GB"/>
              </a:p>
            </p:txBody>
          </p:sp>
          <p:sp>
            <p:nvSpPr>
              <p:cNvPr id="3492" name="Vrije vorm: vorm 3491">
                <a:extLst>
                  <a:ext uri="{FF2B5EF4-FFF2-40B4-BE49-F238E27FC236}">
                    <a16:creationId xmlns:a16="http://schemas.microsoft.com/office/drawing/2014/main" id="{61F243BC-E94C-40E6-8646-C513FC79D08A}"/>
                  </a:ext>
                </a:extLst>
              </p:cNvPr>
              <p:cNvSpPr/>
              <p:nvPr/>
            </p:nvSpPr>
            <p:spPr>
              <a:xfrm>
                <a:off x="6770450" y="4925717"/>
                <a:ext cx="18369" cy="18391"/>
              </a:xfrm>
              <a:custGeom>
                <a:avLst/>
                <a:gdLst>
                  <a:gd name="connsiteX0" fmla="*/ 17450 w 18369"/>
                  <a:gd name="connsiteY0" fmla="*/ 5248 h 18391"/>
                  <a:gd name="connsiteX1" fmla="*/ 5190 w 18369"/>
                  <a:gd name="connsiteY1" fmla="*/ 882 h 18391"/>
                  <a:gd name="connsiteX2" fmla="*/ 884 w 18369"/>
                  <a:gd name="connsiteY2" fmla="*/ 13143 h 18391"/>
                  <a:gd name="connsiteX3" fmla="*/ 13144 w 18369"/>
                  <a:gd name="connsiteY3" fmla="*/ 17509 h 18391"/>
                  <a:gd name="connsiteX4" fmla="*/ 17450 w 18369"/>
                  <a:gd name="connsiteY4" fmla="*/ 5248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1">
                    <a:moveTo>
                      <a:pt x="17450" y="5248"/>
                    </a:moveTo>
                    <a:cubicBezTo>
                      <a:pt x="15237" y="643"/>
                      <a:pt x="9795" y="-1271"/>
                      <a:pt x="5190" y="882"/>
                    </a:cubicBezTo>
                    <a:cubicBezTo>
                      <a:pt x="644" y="3095"/>
                      <a:pt x="-1269" y="8538"/>
                      <a:pt x="884" y="13143"/>
                    </a:cubicBezTo>
                    <a:cubicBezTo>
                      <a:pt x="3096" y="17748"/>
                      <a:pt x="8539" y="19662"/>
                      <a:pt x="13144" y="17509"/>
                    </a:cubicBezTo>
                    <a:cubicBezTo>
                      <a:pt x="17749" y="15296"/>
                      <a:pt x="19663" y="9794"/>
                      <a:pt x="17450" y="5248"/>
                    </a:cubicBezTo>
                    <a:close/>
                  </a:path>
                </a:pathLst>
              </a:custGeom>
              <a:grpFill/>
              <a:ln w="5978" cap="flat">
                <a:noFill/>
                <a:prstDash val="solid"/>
                <a:miter/>
              </a:ln>
            </p:spPr>
            <p:txBody>
              <a:bodyPr rtlCol="0" anchor="ctr"/>
              <a:lstStyle/>
              <a:p>
                <a:endParaRPr lang="en-GB"/>
              </a:p>
            </p:txBody>
          </p:sp>
        </p:grpSp>
        <p:grpSp>
          <p:nvGrpSpPr>
            <p:cNvPr id="634" name="Graphic 3">
              <a:extLst>
                <a:ext uri="{FF2B5EF4-FFF2-40B4-BE49-F238E27FC236}">
                  <a16:creationId xmlns:a16="http://schemas.microsoft.com/office/drawing/2014/main" id="{3041DF03-A8D8-4017-AACD-40005D35D7F4}"/>
                </a:ext>
              </a:extLst>
            </p:cNvPr>
            <p:cNvGrpSpPr/>
            <p:nvPr/>
          </p:nvGrpSpPr>
          <p:grpSpPr>
            <a:xfrm>
              <a:off x="5545457" y="1104912"/>
              <a:ext cx="122082" cy="641804"/>
              <a:chOff x="5545457" y="1104912"/>
              <a:chExt cx="122082" cy="641804"/>
            </a:xfrm>
            <a:grpFill/>
          </p:grpSpPr>
          <p:sp>
            <p:nvSpPr>
              <p:cNvPr id="3487" name="Vrije vorm: vorm 3486">
                <a:extLst>
                  <a:ext uri="{FF2B5EF4-FFF2-40B4-BE49-F238E27FC236}">
                    <a16:creationId xmlns:a16="http://schemas.microsoft.com/office/drawing/2014/main" id="{B6EBEAC0-6532-4F67-90A8-BA111BB5048F}"/>
                  </a:ext>
                </a:extLst>
              </p:cNvPr>
              <p:cNvSpPr/>
              <p:nvPr/>
            </p:nvSpPr>
            <p:spPr>
              <a:xfrm>
                <a:off x="5553000" y="1113411"/>
                <a:ext cx="106934" cy="624746"/>
              </a:xfrm>
              <a:custGeom>
                <a:avLst/>
                <a:gdLst>
                  <a:gd name="connsiteX0" fmla="*/ 3050 w 106934"/>
                  <a:gd name="connsiteY0" fmla="*/ 0 h 624746"/>
                  <a:gd name="connsiteX1" fmla="*/ 106935 w 106934"/>
                  <a:gd name="connsiteY1" fmla="*/ 624268 h 624746"/>
                  <a:gd name="connsiteX2" fmla="*/ 103885 w 106934"/>
                  <a:gd name="connsiteY2" fmla="*/ 624746 h 624746"/>
                  <a:gd name="connsiteX3" fmla="*/ 0 w 106934"/>
                  <a:gd name="connsiteY3" fmla="*/ 478 h 624746"/>
                </a:gdLst>
                <a:ahLst/>
                <a:cxnLst>
                  <a:cxn ang="0">
                    <a:pos x="connsiteX0" y="connsiteY0"/>
                  </a:cxn>
                  <a:cxn ang="0">
                    <a:pos x="connsiteX1" y="connsiteY1"/>
                  </a:cxn>
                  <a:cxn ang="0">
                    <a:pos x="connsiteX2" y="connsiteY2"/>
                  </a:cxn>
                  <a:cxn ang="0">
                    <a:pos x="connsiteX3" y="connsiteY3"/>
                  </a:cxn>
                </a:cxnLst>
                <a:rect l="l" t="t" r="r" b="b"/>
                <a:pathLst>
                  <a:path w="106934" h="624746">
                    <a:moveTo>
                      <a:pt x="3050" y="0"/>
                    </a:moveTo>
                    <a:lnTo>
                      <a:pt x="106935" y="624268"/>
                    </a:lnTo>
                    <a:lnTo>
                      <a:pt x="103885" y="624746"/>
                    </a:lnTo>
                    <a:lnTo>
                      <a:pt x="0" y="478"/>
                    </a:lnTo>
                    <a:close/>
                  </a:path>
                </a:pathLst>
              </a:custGeom>
              <a:grpFill/>
              <a:ln w="5978" cap="flat">
                <a:noFill/>
                <a:prstDash val="solid"/>
                <a:miter/>
              </a:ln>
            </p:spPr>
            <p:txBody>
              <a:bodyPr rtlCol="0" anchor="ctr"/>
              <a:lstStyle/>
              <a:p>
                <a:endParaRPr lang="en-GB"/>
              </a:p>
            </p:txBody>
          </p:sp>
          <p:sp>
            <p:nvSpPr>
              <p:cNvPr id="3488" name="Vrije vorm: vorm 3487">
                <a:extLst>
                  <a:ext uri="{FF2B5EF4-FFF2-40B4-BE49-F238E27FC236}">
                    <a16:creationId xmlns:a16="http://schemas.microsoft.com/office/drawing/2014/main" id="{203A377C-BC69-4FB6-A9E2-2C1D66970814}"/>
                  </a:ext>
                </a:extLst>
              </p:cNvPr>
              <p:cNvSpPr/>
              <p:nvPr/>
            </p:nvSpPr>
            <p:spPr>
              <a:xfrm>
                <a:off x="5649221" y="1728282"/>
                <a:ext cx="18318" cy="18434"/>
              </a:xfrm>
              <a:custGeom>
                <a:avLst/>
                <a:gdLst>
                  <a:gd name="connsiteX0" fmla="*/ 18190 w 18318"/>
                  <a:gd name="connsiteY0" fmla="*/ 7722 h 18434"/>
                  <a:gd name="connsiteX1" fmla="*/ 10654 w 18318"/>
                  <a:gd name="connsiteY1" fmla="*/ 18308 h 18434"/>
                  <a:gd name="connsiteX2" fmla="*/ 128 w 18318"/>
                  <a:gd name="connsiteY2" fmla="*/ 10712 h 18434"/>
                  <a:gd name="connsiteX3" fmla="*/ 766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7" y="12746"/>
                      <a:pt x="15678" y="17471"/>
                      <a:pt x="10654" y="18308"/>
                    </a:cubicBezTo>
                    <a:cubicBezTo>
                      <a:pt x="5690" y="19145"/>
                      <a:pt x="966" y="15736"/>
                      <a:pt x="128" y="10712"/>
                    </a:cubicBezTo>
                    <a:cubicBezTo>
                      <a:pt x="-709" y="5688"/>
                      <a:pt x="2640" y="964"/>
                      <a:pt x="7664" y="126"/>
                    </a:cubicBezTo>
                    <a:cubicBezTo>
                      <a:pt x="12628" y="-711"/>
                      <a:pt x="17353" y="2698"/>
                      <a:pt x="18190" y="7722"/>
                    </a:cubicBezTo>
                    <a:close/>
                  </a:path>
                </a:pathLst>
              </a:custGeom>
              <a:grpFill/>
              <a:ln w="5978" cap="flat">
                <a:noFill/>
                <a:prstDash val="solid"/>
                <a:miter/>
              </a:ln>
            </p:spPr>
            <p:txBody>
              <a:bodyPr rtlCol="0" anchor="ctr"/>
              <a:lstStyle/>
              <a:p>
                <a:endParaRPr lang="en-GB"/>
              </a:p>
            </p:txBody>
          </p:sp>
          <p:sp>
            <p:nvSpPr>
              <p:cNvPr id="3489" name="Vrije vorm: vorm 3488">
                <a:extLst>
                  <a:ext uri="{FF2B5EF4-FFF2-40B4-BE49-F238E27FC236}">
                    <a16:creationId xmlns:a16="http://schemas.microsoft.com/office/drawing/2014/main" id="{4588F8B4-9A23-49C6-B9E0-0DF5FECB9B1E}"/>
                  </a:ext>
                </a:extLst>
              </p:cNvPr>
              <p:cNvSpPr/>
              <p:nvPr/>
            </p:nvSpPr>
            <p:spPr>
              <a:xfrm>
                <a:off x="5545457" y="1104912"/>
                <a:ext cx="18316" cy="18434"/>
              </a:xfrm>
              <a:custGeom>
                <a:avLst/>
                <a:gdLst>
                  <a:gd name="connsiteX0" fmla="*/ 18188 w 18316"/>
                  <a:gd name="connsiteY0" fmla="*/ 7722 h 18434"/>
                  <a:gd name="connsiteX1" fmla="*/ 7662 w 18316"/>
                  <a:gd name="connsiteY1" fmla="*/ 126 h 18434"/>
                  <a:gd name="connsiteX2" fmla="*/ 126 w 18316"/>
                  <a:gd name="connsiteY2" fmla="*/ 10712 h 18434"/>
                  <a:gd name="connsiteX3" fmla="*/ 10653 w 18316"/>
                  <a:gd name="connsiteY3" fmla="*/ 18308 h 18434"/>
                  <a:gd name="connsiteX4" fmla="*/ 18188 w 18316"/>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34">
                    <a:moveTo>
                      <a:pt x="18188" y="7722"/>
                    </a:moveTo>
                    <a:cubicBezTo>
                      <a:pt x="17351" y="2698"/>
                      <a:pt x="12626" y="-711"/>
                      <a:pt x="7662" y="126"/>
                    </a:cubicBezTo>
                    <a:cubicBezTo>
                      <a:pt x="2698" y="964"/>
                      <a:pt x="-711" y="5689"/>
                      <a:pt x="126" y="10712"/>
                    </a:cubicBezTo>
                    <a:cubicBezTo>
                      <a:pt x="964" y="15736"/>
                      <a:pt x="5688" y="19145"/>
                      <a:pt x="10653" y="18308"/>
                    </a:cubicBezTo>
                    <a:cubicBezTo>
                      <a:pt x="15677" y="17471"/>
                      <a:pt x="19026" y="12746"/>
                      <a:pt x="18188" y="7722"/>
                    </a:cubicBezTo>
                    <a:close/>
                  </a:path>
                </a:pathLst>
              </a:custGeom>
              <a:grpFill/>
              <a:ln w="5978" cap="flat">
                <a:noFill/>
                <a:prstDash val="solid"/>
                <a:miter/>
              </a:ln>
            </p:spPr>
            <p:txBody>
              <a:bodyPr rtlCol="0" anchor="ctr"/>
              <a:lstStyle/>
              <a:p>
                <a:endParaRPr lang="en-GB"/>
              </a:p>
            </p:txBody>
          </p:sp>
        </p:grpSp>
        <p:grpSp>
          <p:nvGrpSpPr>
            <p:cNvPr id="635" name="Graphic 3">
              <a:extLst>
                <a:ext uri="{FF2B5EF4-FFF2-40B4-BE49-F238E27FC236}">
                  <a16:creationId xmlns:a16="http://schemas.microsoft.com/office/drawing/2014/main" id="{D51DC71D-C9AE-4151-9603-CCA61CBEE3E3}"/>
                </a:ext>
              </a:extLst>
            </p:cNvPr>
            <p:cNvGrpSpPr/>
            <p:nvPr/>
          </p:nvGrpSpPr>
          <p:grpSpPr>
            <a:xfrm>
              <a:off x="5510397" y="1144573"/>
              <a:ext cx="23642" cy="40605"/>
              <a:chOff x="5510397" y="1144573"/>
              <a:chExt cx="23642" cy="40605"/>
            </a:xfrm>
            <a:grpFill/>
          </p:grpSpPr>
          <p:sp>
            <p:nvSpPr>
              <p:cNvPr id="3484" name="Vrije vorm: vorm 3483">
                <a:extLst>
                  <a:ext uri="{FF2B5EF4-FFF2-40B4-BE49-F238E27FC236}">
                    <a16:creationId xmlns:a16="http://schemas.microsoft.com/office/drawing/2014/main" id="{E9B8BC26-1CF4-400F-8962-81F6EDEFAD18}"/>
                  </a:ext>
                </a:extLst>
              </p:cNvPr>
              <p:cNvSpPr/>
              <p:nvPr/>
            </p:nvSpPr>
            <p:spPr>
              <a:xfrm>
                <a:off x="5518013" y="1153004"/>
                <a:ext cx="8433" cy="23803"/>
              </a:xfrm>
              <a:custGeom>
                <a:avLst/>
                <a:gdLst>
                  <a:gd name="connsiteX0" fmla="*/ 2930 w 8433"/>
                  <a:gd name="connsiteY0" fmla="*/ 0 h 23803"/>
                  <a:gd name="connsiteX1" fmla="*/ 8433 w 8433"/>
                  <a:gd name="connsiteY1" fmla="*/ 23086 h 23803"/>
                  <a:gd name="connsiteX2" fmla="*/ 5443 w 8433"/>
                  <a:gd name="connsiteY2" fmla="*/ 23803 h 23803"/>
                  <a:gd name="connsiteX3" fmla="*/ 0 w 8433"/>
                  <a:gd name="connsiteY3" fmla="*/ 658 h 23803"/>
                </a:gdLst>
                <a:ahLst/>
                <a:cxnLst>
                  <a:cxn ang="0">
                    <a:pos x="connsiteX0" y="connsiteY0"/>
                  </a:cxn>
                  <a:cxn ang="0">
                    <a:pos x="connsiteX1" y="connsiteY1"/>
                  </a:cxn>
                  <a:cxn ang="0">
                    <a:pos x="connsiteX2" y="connsiteY2"/>
                  </a:cxn>
                  <a:cxn ang="0">
                    <a:pos x="connsiteX3" y="connsiteY3"/>
                  </a:cxn>
                </a:cxnLst>
                <a:rect l="l" t="t" r="r" b="b"/>
                <a:pathLst>
                  <a:path w="8433" h="23803">
                    <a:moveTo>
                      <a:pt x="2930" y="0"/>
                    </a:moveTo>
                    <a:lnTo>
                      <a:pt x="8433" y="23086"/>
                    </a:lnTo>
                    <a:lnTo>
                      <a:pt x="5443" y="23803"/>
                    </a:lnTo>
                    <a:lnTo>
                      <a:pt x="0" y="658"/>
                    </a:lnTo>
                    <a:close/>
                  </a:path>
                </a:pathLst>
              </a:custGeom>
              <a:grpFill/>
              <a:ln w="5978" cap="flat">
                <a:noFill/>
                <a:prstDash val="solid"/>
                <a:miter/>
              </a:ln>
            </p:spPr>
            <p:txBody>
              <a:bodyPr rtlCol="0" anchor="ctr"/>
              <a:lstStyle/>
              <a:p>
                <a:endParaRPr lang="en-GB"/>
              </a:p>
            </p:txBody>
          </p:sp>
          <p:sp>
            <p:nvSpPr>
              <p:cNvPr id="3485" name="Vrije vorm: vorm 3484">
                <a:extLst>
                  <a:ext uri="{FF2B5EF4-FFF2-40B4-BE49-F238E27FC236}">
                    <a16:creationId xmlns:a16="http://schemas.microsoft.com/office/drawing/2014/main" id="{9AA0A4C5-BBF4-4DF3-B3C7-6C7C0FAD72B7}"/>
                  </a:ext>
                </a:extLst>
              </p:cNvPr>
              <p:cNvSpPr/>
              <p:nvPr/>
            </p:nvSpPr>
            <p:spPr>
              <a:xfrm>
                <a:off x="5510397" y="1144573"/>
                <a:ext cx="18401" cy="18416"/>
              </a:xfrm>
              <a:custGeom>
                <a:avLst/>
                <a:gdLst>
                  <a:gd name="connsiteX0" fmla="*/ 260 w 18401"/>
                  <a:gd name="connsiteY0" fmla="*/ 11302 h 18416"/>
                  <a:gd name="connsiteX1" fmla="*/ 7078 w 18401"/>
                  <a:gd name="connsiteY1" fmla="*/ 237 h 18416"/>
                  <a:gd name="connsiteX2" fmla="*/ 18142 w 18401"/>
                  <a:gd name="connsiteY2" fmla="*/ 7115 h 18416"/>
                  <a:gd name="connsiteX3" fmla="*/ 11324 w 18401"/>
                  <a:gd name="connsiteY3" fmla="*/ 18180 h 18416"/>
                  <a:gd name="connsiteX4" fmla="*/ 260 w 18401"/>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16">
                    <a:moveTo>
                      <a:pt x="260" y="11302"/>
                    </a:moveTo>
                    <a:cubicBezTo>
                      <a:pt x="-937" y="6338"/>
                      <a:pt x="2114" y="1374"/>
                      <a:pt x="7078" y="237"/>
                    </a:cubicBezTo>
                    <a:cubicBezTo>
                      <a:pt x="11982" y="-899"/>
                      <a:pt x="16946" y="2151"/>
                      <a:pt x="18142" y="7115"/>
                    </a:cubicBezTo>
                    <a:cubicBezTo>
                      <a:pt x="19338" y="12079"/>
                      <a:pt x="16288" y="17043"/>
                      <a:pt x="11324" y="18180"/>
                    </a:cubicBezTo>
                    <a:cubicBezTo>
                      <a:pt x="6420" y="19316"/>
                      <a:pt x="1456" y="16266"/>
                      <a:pt x="260" y="11302"/>
                    </a:cubicBezTo>
                    <a:close/>
                  </a:path>
                </a:pathLst>
              </a:custGeom>
              <a:grpFill/>
              <a:ln w="5978" cap="flat">
                <a:noFill/>
                <a:prstDash val="solid"/>
                <a:miter/>
              </a:ln>
            </p:spPr>
            <p:txBody>
              <a:bodyPr rtlCol="0" anchor="ctr"/>
              <a:lstStyle/>
              <a:p>
                <a:endParaRPr lang="en-GB"/>
              </a:p>
            </p:txBody>
          </p:sp>
          <p:sp>
            <p:nvSpPr>
              <p:cNvPr id="3486" name="Vrije vorm: vorm 3485">
                <a:extLst>
                  <a:ext uri="{FF2B5EF4-FFF2-40B4-BE49-F238E27FC236}">
                    <a16:creationId xmlns:a16="http://schemas.microsoft.com/office/drawing/2014/main" id="{726ED0AE-A260-46B7-9877-4D32BF9A1F3D}"/>
                  </a:ext>
                </a:extLst>
              </p:cNvPr>
              <p:cNvSpPr/>
              <p:nvPr/>
            </p:nvSpPr>
            <p:spPr>
              <a:xfrm>
                <a:off x="5515679" y="1166761"/>
                <a:ext cx="18360" cy="18416"/>
              </a:xfrm>
              <a:custGeom>
                <a:avLst/>
                <a:gdLst>
                  <a:gd name="connsiteX0" fmla="*/ 241 w 18360"/>
                  <a:gd name="connsiteY0" fmla="*/ 11302 h 18416"/>
                  <a:gd name="connsiteX1" fmla="*/ 11305 w 18360"/>
                  <a:gd name="connsiteY1" fmla="*/ 18180 h 18416"/>
                  <a:gd name="connsiteX2" fmla="*/ 18123 w 18360"/>
                  <a:gd name="connsiteY2" fmla="*/ 7115 h 18416"/>
                  <a:gd name="connsiteX3" fmla="*/ 7058 w 18360"/>
                  <a:gd name="connsiteY3" fmla="*/ 237 h 18416"/>
                  <a:gd name="connsiteX4" fmla="*/ 241 w 18360"/>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6">
                    <a:moveTo>
                      <a:pt x="241" y="11302"/>
                    </a:moveTo>
                    <a:cubicBezTo>
                      <a:pt x="1437" y="16266"/>
                      <a:pt x="6341" y="19316"/>
                      <a:pt x="11305" y="18180"/>
                    </a:cubicBezTo>
                    <a:cubicBezTo>
                      <a:pt x="16209" y="17043"/>
                      <a:pt x="19259" y="12079"/>
                      <a:pt x="18123" y="7115"/>
                    </a:cubicBezTo>
                    <a:cubicBezTo>
                      <a:pt x="16927" y="2151"/>
                      <a:pt x="12022" y="-899"/>
                      <a:pt x="7058" y="237"/>
                    </a:cubicBezTo>
                    <a:cubicBezTo>
                      <a:pt x="2095" y="1433"/>
                      <a:pt x="-896" y="6397"/>
                      <a:pt x="241" y="11302"/>
                    </a:cubicBezTo>
                    <a:close/>
                  </a:path>
                </a:pathLst>
              </a:custGeom>
              <a:grpFill/>
              <a:ln w="5978" cap="flat">
                <a:noFill/>
                <a:prstDash val="solid"/>
                <a:miter/>
              </a:ln>
            </p:spPr>
            <p:txBody>
              <a:bodyPr rtlCol="0" anchor="ctr"/>
              <a:lstStyle/>
              <a:p>
                <a:endParaRPr lang="en-GB"/>
              </a:p>
            </p:txBody>
          </p:sp>
        </p:grpSp>
        <p:grpSp>
          <p:nvGrpSpPr>
            <p:cNvPr id="636" name="Graphic 3">
              <a:extLst>
                <a:ext uri="{FF2B5EF4-FFF2-40B4-BE49-F238E27FC236}">
                  <a16:creationId xmlns:a16="http://schemas.microsoft.com/office/drawing/2014/main" id="{6FA92808-0DB9-4BC8-BCD9-B9087C4755A9}"/>
                </a:ext>
              </a:extLst>
            </p:cNvPr>
            <p:cNvGrpSpPr/>
            <p:nvPr/>
          </p:nvGrpSpPr>
          <p:grpSpPr>
            <a:xfrm>
              <a:off x="6809623" y="5086957"/>
              <a:ext cx="79456" cy="152778"/>
              <a:chOff x="6809623" y="5086957"/>
              <a:chExt cx="79456" cy="152778"/>
            </a:xfrm>
            <a:grpFill/>
          </p:grpSpPr>
          <p:sp>
            <p:nvSpPr>
              <p:cNvPr id="3481" name="Vrije vorm: vorm 3480">
                <a:extLst>
                  <a:ext uri="{FF2B5EF4-FFF2-40B4-BE49-F238E27FC236}">
                    <a16:creationId xmlns:a16="http://schemas.microsoft.com/office/drawing/2014/main" id="{D6764FA2-98ED-4E21-AE65-14AAC70DB593}"/>
                  </a:ext>
                </a:extLst>
              </p:cNvPr>
              <p:cNvSpPr/>
              <p:nvPr/>
            </p:nvSpPr>
            <p:spPr>
              <a:xfrm>
                <a:off x="6817293" y="5094795"/>
                <a:ext cx="64339" cy="136469"/>
              </a:xfrm>
              <a:custGeom>
                <a:avLst/>
                <a:gdLst>
                  <a:gd name="connsiteX0" fmla="*/ 0 w 64339"/>
                  <a:gd name="connsiteY0" fmla="*/ 1264 h 136469"/>
                  <a:gd name="connsiteX1" fmla="*/ 2776 w 64339"/>
                  <a:gd name="connsiteY1" fmla="*/ 0 h 136469"/>
                  <a:gd name="connsiteX2" fmla="*/ 64340 w 64339"/>
                  <a:gd name="connsiteY2" fmla="*/ 135206 h 136469"/>
                  <a:gd name="connsiteX3" fmla="*/ 61564 w 64339"/>
                  <a:gd name="connsiteY3" fmla="*/ 136470 h 136469"/>
                </a:gdLst>
                <a:ahLst/>
                <a:cxnLst>
                  <a:cxn ang="0">
                    <a:pos x="connsiteX0" y="connsiteY0"/>
                  </a:cxn>
                  <a:cxn ang="0">
                    <a:pos x="connsiteX1" y="connsiteY1"/>
                  </a:cxn>
                  <a:cxn ang="0">
                    <a:pos x="connsiteX2" y="connsiteY2"/>
                  </a:cxn>
                  <a:cxn ang="0">
                    <a:pos x="connsiteX3" y="connsiteY3"/>
                  </a:cxn>
                </a:cxnLst>
                <a:rect l="l" t="t" r="r" b="b"/>
                <a:pathLst>
                  <a:path w="64339" h="136469">
                    <a:moveTo>
                      <a:pt x="0" y="1264"/>
                    </a:moveTo>
                    <a:lnTo>
                      <a:pt x="2776" y="0"/>
                    </a:lnTo>
                    <a:lnTo>
                      <a:pt x="64340" y="135206"/>
                    </a:lnTo>
                    <a:lnTo>
                      <a:pt x="61564" y="136470"/>
                    </a:lnTo>
                    <a:close/>
                  </a:path>
                </a:pathLst>
              </a:custGeom>
              <a:grpFill/>
              <a:ln w="5978" cap="flat">
                <a:noFill/>
                <a:prstDash val="solid"/>
                <a:miter/>
              </a:ln>
            </p:spPr>
            <p:txBody>
              <a:bodyPr rtlCol="0" anchor="ctr"/>
              <a:lstStyle/>
              <a:p>
                <a:endParaRPr lang="en-GB"/>
              </a:p>
            </p:txBody>
          </p:sp>
          <p:sp>
            <p:nvSpPr>
              <p:cNvPr id="3482" name="Vrije vorm: vorm 3481">
                <a:extLst>
                  <a:ext uri="{FF2B5EF4-FFF2-40B4-BE49-F238E27FC236}">
                    <a16:creationId xmlns:a16="http://schemas.microsoft.com/office/drawing/2014/main" id="{9D52F066-0127-4E5C-8EC1-0015EC0E6549}"/>
                  </a:ext>
                </a:extLst>
              </p:cNvPr>
              <p:cNvSpPr/>
              <p:nvPr/>
            </p:nvSpPr>
            <p:spPr>
              <a:xfrm>
                <a:off x="6870746" y="5221319"/>
                <a:ext cx="18333" cy="18416"/>
              </a:xfrm>
              <a:custGeom>
                <a:avLst/>
                <a:gdLst>
                  <a:gd name="connsiteX0" fmla="*/ 17510 w 18333"/>
                  <a:gd name="connsiteY0" fmla="*/ 5393 h 18416"/>
                  <a:gd name="connsiteX1" fmla="*/ 12965 w 18333"/>
                  <a:gd name="connsiteY1" fmla="*/ 17594 h 18416"/>
                  <a:gd name="connsiteX2" fmla="*/ 824 w 18333"/>
                  <a:gd name="connsiteY2" fmla="*/ 12988 h 18416"/>
                  <a:gd name="connsiteX3" fmla="*/ 5369 w 18333"/>
                  <a:gd name="connsiteY3" fmla="*/ 788 h 18416"/>
                  <a:gd name="connsiteX4" fmla="*/ 17510 w 18333"/>
                  <a:gd name="connsiteY4" fmla="*/ 539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17510" y="5393"/>
                    </a:moveTo>
                    <a:cubicBezTo>
                      <a:pt x="19603" y="9998"/>
                      <a:pt x="17570" y="15500"/>
                      <a:pt x="12965" y="17594"/>
                    </a:cubicBezTo>
                    <a:cubicBezTo>
                      <a:pt x="8359" y="19687"/>
                      <a:pt x="2917" y="17653"/>
                      <a:pt x="824" y="12988"/>
                    </a:cubicBezTo>
                    <a:cubicBezTo>
                      <a:pt x="-1269" y="8383"/>
                      <a:pt x="764" y="2881"/>
                      <a:pt x="5369" y="788"/>
                    </a:cubicBezTo>
                    <a:cubicBezTo>
                      <a:pt x="9914" y="-1246"/>
                      <a:pt x="15357" y="788"/>
                      <a:pt x="17510" y="5393"/>
                    </a:cubicBezTo>
                    <a:close/>
                  </a:path>
                </a:pathLst>
              </a:custGeom>
              <a:grpFill/>
              <a:ln w="5978" cap="flat">
                <a:noFill/>
                <a:prstDash val="solid"/>
                <a:miter/>
              </a:ln>
            </p:spPr>
            <p:txBody>
              <a:bodyPr rtlCol="0" anchor="ctr"/>
              <a:lstStyle/>
              <a:p>
                <a:endParaRPr lang="en-GB"/>
              </a:p>
            </p:txBody>
          </p:sp>
          <p:sp>
            <p:nvSpPr>
              <p:cNvPr id="3483" name="Vrije vorm: vorm 3482">
                <a:extLst>
                  <a:ext uri="{FF2B5EF4-FFF2-40B4-BE49-F238E27FC236}">
                    <a16:creationId xmlns:a16="http://schemas.microsoft.com/office/drawing/2014/main" id="{3EF0BA3F-80C5-44E6-9A16-AEAE889CF026}"/>
                  </a:ext>
                </a:extLst>
              </p:cNvPr>
              <p:cNvSpPr/>
              <p:nvPr/>
            </p:nvSpPr>
            <p:spPr>
              <a:xfrm>
                <a:off x="6809623" y="5086957"/>
                <a:ext cx="18333" cy="18441"/>
              </a:xfrm>
              <a:custGeom>
                <a:avLst/>
                <a:gdLst>
                  <a:gd name="connsiteX0" fmla="*/ 17510 w 18333"/>
                  <a:gd name="connsiteY0" fmla="*/ 5428 h 18441"/>
                  <a:gd name="connsiteX1" fmla="*/ 5369 w 18333"/>
                  <a:gd name="connsiteY1" fmla="*/ 823 h 18441"/>
                  <a:gd name="connsiteX2" fmla="*/ 824 w 18333"/>
                  <a:gd name="connsiteY2" fmla="*/ 13023 h 18441"/>
                  <a:gd name="connsiteX3" fmla="*/ 12965 w 18333"/>
                  <a:gd name="connsiteY3" fmla="*/ 17628 h 18441"/>
                  <a:gd name="connsiteX4" fmla="*/ 17510 w 18333"/>
                  <a:gd name="connsiteY4" fmla="*/ 542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7510" y="5428"/>
                    </a:moveTo>
                    <a:cubicBezTo>
                      <a:pt x="15416" y="763"/>
                      <a:pt x="9974" y="-1271"/>
                      <a:pt x="5369" y="823"/>
                    </a:cubicBezTo>
                    <a:cubicBezTo>
                      <a:pt x="764" y="2916"/>
                      <a:pt x="-1270" y="8358"/>
                      <a:pt x="824" y="13023"/>
                    </a:cubicBezTo>
                    <a:cubicBezTo>
                      <a:pt x="2917" y="17628"/>
                      <a:pt x="8359" y="19722"/>
                      <a:pt x="12965" y="17628"/>
                    </a:cubicBezTo>
                    <a:cubicBezTo>
                      <a:pt x="17570" y="15535"/>
                      <a:pt x="19603" y="10033"/>
                      <a:pt x="17510" y="5428"/>
                    </a:cubicBezTo>
                    <a:close/>
                  </a:path>
                </a:pathLst>
              </a:custGeom>
              <a:grpFill/>
              <a:ln w="5978" cap="flat">
                <a:noFill/>
                <a:prstDash val="solid"/>
                <a:miter/>
              </a:ln>
            </p:spPr>
            <p:txBody>
              <a:bodyPr rtlCol="0" anchor="ctr"/>
              <a:lstStyle/>
              <a:p>
                <a:endParaRPr lang="en-GB"/>
              </a:p>
            </p:txBody>
          </p:sp>
        </p:grpSp>
        <p:grpSp>
          <p:nvGrpSpPr>
            <p:cNvPr id="637" name="Graphic 3">
              <a:extLst>
                <a:ext uri="{FF2B5EF4-FFF2-40B4-BE49-F238E27FC236}">
                  <a16:creationId xmlns:a16="http://schemas.microsoft.com/office/drawing/2014/main" id="{31D80C7F-9AA1-45D7-97D2-EA378C266EDC}"/>
                </a:ext>
              </a:extLst>
            </p:cNvPr>
            <p:cNvGrpSpPr/>
            <p:nvPr/>
          </p:nvGrpSpPr>
          <p:grpSpPr>
            <a:xfrm>
              <a:off x="5641063" y="1543215"/>
              <a:ext cx="56704" cy="195092"/>
              <a:chOff x="5641063" y="1543215"/>
              <a:chExt cx="56704" cy="195092"/>
            </a:xfrm>
            <a:grpFill/>
          </p:grpSpPr>
          <p:sp>
            <p:nvSpPr>
              <p:cNvPr id="3478" name="Vrije vorm: vorm 3477">
                <a:extLst>
                  <a:ext uri="{FF2B5EF4-FFF2-40B4-BE49-F238E27FC236}">
                    <a16:creationId xmlns:a16="http://schemas.microsoft.com/office/drawing/2014/main" id="{5A954707-03C9-4DCA-BA40-3C2F7FCDBA0E}"/>
                  </a:ext>
                </a:extLst>
              </p:cNvPr>
              <p:cNvSpPr/>
              <p:nvPr/>
            </p:nvSpPr>
            <p:spPr>
              <a:xfrm>
                <a:off x="5648632" y="1551619"/>
                <a:ext cx="41565" cy="178285"/>
              </a:xfrm>
              <a:custGeom>
                <a:avLst/>
                <a:gdLst>
                  <a:gd name="connsiteX0" fmla="*/ 2990 w 41565"/>
                  <a:gd name="connsiteY0" fmla="*/ 0 h 178285"/>
                  <a:gd name="connsiteX1" fmla="*/ 41566 w 41565"/>
                  <a:gd name="connsiteY1" fmla="*/ 177628 h 178285"/>
                  <a:gd name="connsiteX2" fmla="*/ 38575 w 41565"/>
                  <a:gd name="connsiteY2" fmla="*/ 178285 h 178285"/>
                  <a:gd name="connsiteX3" fmla="*/ 0 w 41565"/>
                  <a:gd name="connsiteY3" fmla="*/ 658 h 178285"/>
                </a:gdLst>
                <a:ahLst/>
                <a:cxnLst>
                  <a:cxn ang="0">
                    <a:pos x="connsiteX0" y="connsiteY0"/>
                  </a:cxn>
                  <a:cxn ang="0">
                    <a:pos x="connsiteX1" y="connsiteY1"/>
                  </a:cxn>
                  <a:cxn ang="0">
                    <a:pos x="connsiteX2" y="connsiteY2"/>
                  </a:cxn>
                  <a:cxn ang="0">
                    <a:pos x="connsiteX3" y="connsiteY3"/>
                  </a:cxn>
                </a:cxnLst>
                <a:rect l="l" t="t" r="r" b="b"/>
                <a:pathLst>
                  <a:path w="41565" h="178285">
                    <a:moveTo>
                      <a:pt x="2990" y="0"/>
                    </a:moveTo>
                    <a:lnTo>
                      <a:pt x="41566" y="177628"/>
                    </a:lnTo>
                    <a:lnTo>
                      <a:pt x="38575" y="178285"/>
                    </a:lnTo>
                    <a:lnTo>
                      <a:pt x="0" y="658"/>
                    </a:lnTo>
                    <a:close/>
                  </a:path>
                </a:pathLst>
              </a:custGeom>
              <a:grpFill/>
              <a:ln w="5978" cap="flat">
                <a:noFill/>
                <a:prstDash val="solid"/>
                <a:miter/>
              </a:ln>
            </p:spPr>
            <p:txBody>
              <a:bodyPr rtlCol="0" anchor="ctr"/>
              <a:lstStyle/>
              <a:p>
                <a:endParaRPr lang="en-GB"/>
              </a:p>
            </p:txBody>
          </p:sp>
          <p:sp>
            <p:nvSpPr>
              <p:cNvPr id="3479" name="Vrije vorm: vorm 3478">
                <a:extLst>
                  <a:ext uri="{FF2B5EF4-FFF2-40B4-BE49-F238E27FC236}">
                    <a16:creationId xmlns:a16="http://schemas.microsoft.com/office/drawing/2014/main" id="{80A5EAC3-9658-4DE8-A1BC-FE8688D51930}"/>
                  </a:ext>
                </a:extLst>
              </p:cNvPr>
              <p:cNvSpPr/>
              <p:nvPr/>
            </p:nvSpPr>
            <p:spPr>
              <a:xfrm>
                <a:off x="5641063" y="1543215"/>
                <a:ext cx="18308" cy="18421"/>
              </a:xfrm>
              <a:custGeom>
                <a:avLst/>
                <a:gdLst>
                  <a:gd name="connsiteX0" fmla="*/ 213 w 18308"/>
                  <a:gd name="connsiteY0" fmla="*/ 11155 h 18421"/>
                  <a:gd name="connsiteX1" fmla="*/ 7211 w 18308"/>
                  <a:gd name="connsiteY1" fmla="*/ 210 h 18421"/>
                  <a:gd name="connsiteX2" fmla="*/ 18096 w 18308"/>
                  <a:gd name="connsiteY2" fmla="*/ 7267 h 18421"/>
                  <a:gd name="connsiteX3" fmla="*/ 11098 w 18308"/>
                  <a:gd name="connsiteY3" fmla="*/ 18212 h 18421"/>
                  <a:gd name="connsiteX4" fmla="*/ 213 w 18308"/>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213" y="11155"/>
                    </a:moveTo>
                    <a:cubicBezTo>
                      <a:pt x="-864" y="6191"/>
                      <a:pt x="2246" y="1287"/>
                      <a:pt x="7211" y="210"/>
                    </a:cubicBezTo>
                    <a:cubicBezTo>
                      <a:pt x="12174" y="-867"/>
                      <a:pt x="17019" y="2303"/>
                      <a:pt x="18096" y="7267"/>
                    </a:cubicBezTo>
                    <a:cubicBezTo>
                      <a:pt x="19172" y="12231"/>
                      <a:pt x="16062" y="17135"/>
                      <a:pt x="11098" y="18212"/>
                    </a:cubicBezTo>
                    <a:cubicBezTo>
                      <a:pt x="6194" y="19288"/>
                      <a:pt x="1289" y="16119"/>
                      <a:pt x="213" y="11155"/>
                    </a:cubicBezTo>
                    <a:close/>
                  </a:path>
                </a:pathLst>
              </a:custGeom>
              <a:grpFill/>
              <a:ln w="5978" cap="flat">
                <a:noFill/>
                <a:prstDash val="solid"/>
                <a:miter/>
              </a:ln>
            </p:spPr>
            <p:txBody>
              <a:bodyPr rtlCol="0" anchor="ctr"/>
              <a:lstStyle/>
              <a:p>
                <a:endParaRPr lang="en-GB"/>
              </a:p>
            </p:txBody>
          </p:sp>
          <p:sp>
            <p:nvSpPr>
              <p:cNvPr id="3480" name="Vrije vorm: vorm 3479">
                <a:extLst>
                  <a:ext uri="{FF2B5EF4-FFF2-40B4-BE49-F238E27FC236}">
                    <a16:creationId xmlns:a16="http://schemas.microsoft.com/office/drawing/2014/main" id="{202698F1-8145-4519-8089-9413337C7974}"/>
                  </a:ext>
                </a:extLst>
              </p:cNvPr>
              <p:cNvSpPr/>
              <p:nvPr/>
            </p:nvSpPr>
            <p:spPr>
              <a:xfrm>
                <a:off x="5679459" y="1719886"/>
                <a:ext cx="18307" cy="18421"/>
              </a:xfrm>
              <a:custGeom>
                <a:avLst/>
                <a:gdLst>
                  <a:gd name="connsiteX0" fmla="*/ 213 w 18307"/>
                  <a:gd name="connsiteY0" fmla="*/ 11155 h 18421"/>
                  <a:gd name="connsiteX1" fmla="*/ 11098 w 18307"/>
                  <a:gd name="connsiteY1" fmla="*/ 18212 h 18421"/>
                  <a:gd name="connsiteX2" fmla="*/ 18095 w 18307"/>
                  <a:gd name="connsiteY2" fmla="*/ 7267 h 18421"/>
                  <a:gd name="connsiteX3" fmla="*/ 7210 w 18307"/>
                  <a:gd name="connsiteY3" fmla="*/ 210 h 18421"/>
                  <a:gd name="connsiteX4" fmla="*/ 213 w 1830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213" y="11155"/>
                    </a:moveTo>
                    <a:cubicBezTo>
                      <a:pt x="1289" y="16119"/>
                      <a:pt x="6194" y="19288"/>
                      <a:pt x="11098" y="18212"/>
                    </a:cubicBezTo>
                    <a:cubicBezTo>
                      <a:pt x="16062" y="17135"/>
                      <a:pt x="19172" y="12231"/>
                      <a:pt x="18095" y="7267"/>
                    </a:cubicBezTo>
                    <a:cubicBezTo>
                      <a:pt x="17019" y="2303"/>
                      <a:pt x="12114" y="-867"/>
                      <a:pt x="7210" y="210"/>
                    </a:cubicBezTo>
                    <a:cubicBezTo>
                      <a:pt x="2246" y="1286"/>
                      <a:pt x="-864" y="6191"/>
                      <a:pt x="213" y="11155"/>
                    </a:cubicBezTo>
                    <a:close/>
                  </a:path>
                </a:pathLst>
              </a:custGeom>
              <a:grpFill/>
              <a:ln w="5978" cap="flat">
                <a:noFill/>
                <a:prstDash val="solid"/>
                <a:miter/>
              </a:ln>
            </p:spPr>
            <p:txBody>
              <a:bodyPr rtlCol="0" anchor="ctr"/>
              <a:lstStyle/>
              <a:p>
                <a:endParaRPr lang="en-GB"/>
              </a:p>
            </p:txBody>
          </p:sp>
        </p:grpSp>
        <p:grpSp>
          <p:nvGrpSpPr>
            <p:cNvPr id="638" name="Graphic 3">
              <a:extLst>
                <a:ext uri="{FF2B5EF4-FFF2-40B4-BE49-F238E27FC236}">
                  <a16:creationId xmlns:a16="http://schemas.microsoft.com/office/drawing/2014/main" id="{893BEA65-8481-4DBC-BFA5-B1FF26B5B941}"/>
                </a:ext>
              </a:extLst>
            </p:cNvPr>
            <p:cNvGrpSpPr/>
            <p:nvPr/>
          </p:nvGrpSpPr>
          <p:grpSpPr>
            <a:xfrm>
              <a:off x="5519906" y="1184763"/>
              <a:ext cx="69813" cy="235696"/>
              <a:chOff x="5519906" y="1184763"/>
              <a:chExt cx="69813" cy="235696"/>
            </a:xfrm>
            <a:grpFill/>
          </p:grpSpPr>
          <p:sp>
            <p:nvSpPr>
              <p:cNvPr id="3475" name="Vrije vorm: vorm 3474">
                <a:extLst>
                  <a:ext uri="{FF2B5EF4-FFF2-40B4-BE49-F238E27FC236}">
                    <a16:creationId xmlns:a16="http://schemas.microsoft.com/office/drawing/2014/main" id="{4C298FAB-C0C0-441A-8A4A-453435FCA488}"/>
                  </a:ext>
                </a:extLst>
              </p:cNvPr>
              <p:cNvSpPr/>
              <p:nvPr/>
            </p:nvSpPr>
            <p:spPr>
              <a:xfrm>
                <a:off x="5527522" y="1193134"/>
                <a:ext cx="54604" cy="218954"/>
              </a:xfrm>
              <a:custGeom>
                <a:avLst/>
                <a:gdLst>
                  <a:gd name="connsiteX0" fmla="*/ 2930 w 54604"/>
                  <a:gd name="connsiteY0" fmla="*/ 0 h 218954"/>
                  <a:gd name="connsiteX1" fmla="*/ 54604 w 54604"/>
                  <a:gd name="connsiteY1" fmla="*/ 218237 h 218954"/>
                  <a:gd name="connsiteX2" fmla="*/ 51614 w 54604"/>
                  <a:gd name="connsiteY2" fmla="*/ 218954 h 218954"/>
                  <a:gd name="connsiteX3" fmla="*/ 0 w 54604"/>
                  <a:gd name="connsiteY3" fmla="*/ 718 h 218954"/>
                </a:gdLst>
                <a:ahLst/>
                <a:cxnLst>
                  <a:cxn ang="0">
                    <a:pos x="connsiteX0" y="connsiteY0"/>
                  </a:cxn>
                  <a:cxn ang="0">
                    <a:pos x="connsiteX1" y="connsiteY1"/>
                  </a:cxn>
                  <a:cxn ang="0">
                    <a:pos x="connsiteX2" y="connsiteY2"/>
                  </a:cxn>
                  <a:cxn ang="0">
                    <a:pos x="connsiteX3" y="connsiteY3"/>
                  </a:cxn>
                </a:cxnLst>
                <a:rect l="l" t="t" r="r" b="b"/>
                <a:pathLst>
                  <a:path w="54604" h="218954">
                    <a:moveTo>
                      <a:pt x="2930" y="0"/>
                    </a:moveTo>
                    <a:lnTo>
                      <a:pt x="54604" y="218237"/>
                    </a:lnTo>
                    <a:lnTo>
                      <a:pt x="51614" y="218954"/>
                    </a:lnTo>
                    <a:lnTo>
                      <a:pt x="0" y="718"/>
                    </a:lnTo>
                    <a:close/>
                  </a:path>
                </a:pathLst>
              </a:custGeom>
              <a:grpFill/>
              <a:ln w="5978" cap="flat">
                <a:noFill/>
                <a:prstDash val="solid"/>
                <a:miter/>
              </a:ln>
            </p:spPr>
            <p:txBody>
              <a:bodyPr rtlCol="0" anchor="ctr"/>
              <a:lstStyle/>
              <a:p>
                <a:endParaRPr lang="en-GB"/>
              </a:p>
            </p:txBody>
          </p:sp>
          <p:sp>
            <p:nvSpPr>
              <p:cNvPr id="3476" name="Vrije vorm: vorm 3475">
                <a:extLst>
                  <a:ext uri="{FF2B5EF4-FFF2-40B4-BE49-F238E27FC236}">
                    <a16:creationId xmlns:a16="http://schemas.microsoft.com/office/drawing/2014/main" id="{087D54C3-9291-4539-BFAF-DAE81D94B802}"/>
                  </a:ext>
                </a:extLst>
              </p:cNvPr>
              <p:cNvSpPr/>
              <p:nvPr/>
            </p:nvSpPr>
            <p:spPr>
              <a:xfrm>
                <a:off x="5519906" y="1184763"/>
                <a:ext cx="18401" cy="18413"/>
              </a:xfrm>
              <a:custGeom>
                <a:avLst/>
                <a:gdLst>
                  <a:gd name="connsiteX0" fmla="*/ 260 w 18401"/>
                  <a:gd name="connsiteY0" fmla="*/ 11302 h 18413"/>
                  <a:gd name="connsiteX1" fmla="*/ 7078 w 18401"/>
                  <a:gd name="connsiteY1" fmla="*/ 237 h 18413"/>
                  <a:gd name="connsiteX2" fmla="*/ 18142 w 18401"/>
                  <a:gd name="connsiteY2" fmla="*/ 7115 h 18413"/>
                  <a:gd name="connsiteX3" fmla="*/ 11324 w 18401"/>
                  <a:gd name="connsiteY3" fmla="*/ 18180 h 18413"/>
                  <a:gd name="connsiteX4" fmla="*/ 260 w 18401"/>
                  <a:gd name="connsiteY4" fmla="*/ 11302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13">
                    <a:moveTo>
                      <a:pt x="260" y="11302"/>
                    </a:moveTo>
                    <a:cubicBezTo>
                      <a:pt x="-936" y="6338"/>
                      <a:pt x="2114" y="1374"/>
                      <a:pt x="7078" y="237"/>
                    </a:cubicBezTo>
                    <a:cubicBezTo>
                      <a:pt x="11982" y="-899"/>
                      <a:pt x="16946" y="2151"/>
                      <a:pt x="18142" y="7115"/>
                    </a:cubicBezTo>
                    <a:cubicBezTo>
                      <a:pt x="19338" y="12079"/>
                      <a:pt x="16288" y="17043"/>
                      <a:pt x="11324" y="18180"/>
                    </a:cubicBezTo>
                    <a:cubicBezTo>
                      <a:pt x="6360" y="19316"/>
                      <a:pt x="1456" y="16206"/>
                      <a:pt x="260" y="11302"/>
                    </a:cubicBezTo>
                    <a:close/>
                  </a:path>
                </a:pathLst>
              </a:custGeom>
              <a:grpFill/>
              <a:ln w="5978" cap="flat">
                <a:noFill/>
                <a:prstDash val="solid"/>
                <a:miter/>
              </a:ln>
            </p:spPr>
            <p:txBody>
              <a:bodyPr rtlCol="0" anchor="ctr"/>
              <a:lstStyle/>
              <a:p>
                <a:endParaRPr lang="en-GB"/>
              </a:p>
            </p:txBody>
          </p:sp>
          <p:sp>
            <p:nvSpPr>
              <p:cNvPr id="3477" name="Vrije vorm: vorm 3476">
                <a:extLst>
                  <a:ext uri="{FF2B5EF4-FFF2-40B4-BE49-F238E27FC236}">
                    <a16:creationId xmlns:a16="http://schemas.microsoft.com/office/drawing/2014/main" id="{34F4E889-4641-45A8-AA95-FB449460EEF5}"/>
                  </a:ext>
                </a:extLst>
              </p:cNvPr>
              <p:cNvSpPr/>
              <p:nvPr/>
            </p:nvSpPr>
            <p:spPr>
              <a:xfrm>
                <a:off x="5571360" y="1402043"/>
                <a:ext cx="18360" cy="18416"/>
              </a:xfrm>
              <a:custGeom>
                <a:avLst/>
                <a:gdLst>
                  <a:gd name="connsiteX0" fmla="*/ 241 w 18360"/>
                  <a:gd name="connsiteY0" fmla="*/ 11302 h 18416"/>
                  <a:gd name="connsiteX1" fmla="*/ 11305 w 18360"/>
                  <a:gd name="connsiteY1" fmla="*/ 18180 h 18416"/>
                  <a:gd name="connsiteX2" fmla="*/ 18123 w 18360"/>
                  <a:gd name="connsiteY2" fmla="*/ 7115 h 18416"/>
                  <a:gd name="connsiteX3" fmla="*/ 7059 w 18360"/>
                  <a:gd name="connsiteY3" fmla="*/ 237 h 18416"/>
                  <a:gd name="connsiteX4" fmla="*/ 241 w 18360"/>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6">
                    <a:moveTo>
                      <a:pt x="241" y="11302"/>
                    </a:moveTo>
                    <a:cubicBezTo>
                      <a:pt x="1437" y="16266"/>
                      <a:pt x="6341" y="19316"/>
                      <a:pt x="11305" y="18180"/>
                    </a:cubicBezTo>
                    <a:cubicBezTo>
                      <a:pt x="16209" y="17043"/>
                      <a:pt x="19259" y="12079"/>
                      <a:pt x="18123" y="7115"/>
                    </a:cubicBezTo>
                    <a:cubicBezTo>
                      <a:pt x="16927" y="2151"/>
                      <a:pt x="12022" y="-899"/>
                      <a:pt x="7059" y="237"/>
                    </a:cubicBezTo>
                    <a:cubicBezTo>
                      <a:pt x="2095" y="1433"/>
                      <a:pt x="-896" y="6397"/>
                      <a:pt x="241" y="11302"/>
                    </a:cubicBezTo>
                    <a:close/>
                  </a:path>
                </a:pathLst>
              </a:custGeom>
              <a:grpFill/>
              <a:ln w="5978" cap="flat">
                <a:noFill/>
                <a:prstDash val="solid"/>
                <a:miter/>
              </a:ln>
            </p:spPr>
            <p:txBody>
              <a:bodyPr rtlCol="0" anchor="ctr"/>
              <a:lstStyle/>
              <a:p>
                <a:endParaRPr lang="en-GB"/>
              </a:p>
            </p:txBody>
          </p:sp>
        </p:grpSp>
        <p:grpSp>
          <p:nvGrpSpPr>
            <p:cNvPr id="639" name="Graphic 3">
              <a:extLst>
                <a:ext uri="{FF2B5EF4-FFF2-40B4-BE49-F238E27FC236}">
                  <a16:creationId xmlns:a16="http://schemas.microsoft.com/office/drawing/2014/main" id="{8EEF94A9-1BB1-4523-A064-4B3AC8F0A5AE}"/>
                </a:ext>
              </a:extLst>
            </p:cNvPr>
            <p:cNvGrpSpPr/>
            <p:nvPr/>
          </p:nvGrpSpPr>
          <p:grpSpPr>
            <a:xfrm>
              <a:off x="6840411" y="5244222"/>
              <a:ext cx="56208" cy="105921"/>
              <a:chOff x="6840411" y="5244222"/>
              <a:chExt cx="56208" cy="105921"/>
            </a:xfrm>
            <a:grpFill/>
          </p:grpSpPr>
          <p:sp>
            <p:nvSpPr>
              <p:cNvPr id="3472" name="Vrije vorm: vorm 3471">
                <a:extLst>
                  <a:ext uri="{FF2B5EF4-FFF2-40B4-BE49-F238E27FC236}">
                    <a16:creationId xmlns:a16="http://schemas.microsoft.com/office/drawing/2014/main" id="{CDB0C184-0E3D-437B-8350-8AB0C9AF060E}"/>
                  </a:ext>
                </a:extLst>
              </p:cNvPr>
              <p:cNvSpPr/>
              <p:nvPr/>
            </p:nvSpPr>
            <p:spPr>
              <a:xfrm>
                <a:off x="6848006" y="5252429"/>
                <a:ext cx="41027" cy="89531"/>
              </a:xfrm>
              <a:custGeom>
                <a:avLst/>
                <a:gdLst>
                  <a:gd name="connsiteX0" fmla="*/ 41028 w 41027"/>
                  <a:gd name="connsiteY0" fmla="*/ 88276 h 89531"/>
                  <a:gd name="connsiteX1" fmla="*/ 38216 w 41027"/>
                  <a:gd name="connsiteY1" fmla="*/ 89531 h 89531"/>
                  <a:gd name="connsiteX2" fmla="*/ 0 w 41027"/>
                  <a:gd name="connsiteY2" fmla="*/ 1196 h 89531"/>
                  <a:gd name="connsiteX3" fmla="*/ 2811 w 41027"/>
                  <a:gd name="connsiteY3" fmla="*/ 0 h 89531"/>
                </a:gdLst>
                <a:ahLst/>
                <a:cxnLst>
                  <a:cxn ang="0">
                    <a:pos x="connsiteX0" y="connsiteY0"/>
                  </a:cxn>
                  <a:cxn ang="0">
                    <a:pos x="connsiteX1" y="connsiteY1"/>
                  </a:cxn>
                  <a:cxn ang="0">
                    <a:pos x="connsiteX2" y="connsiteY2"/>
                  </a:cxn>
                  <a:cxn ang="0">
                    <a:pos x="connsiteX3" y="connsiteY3"/>
                  </a:cxn>
                </a:cxnLst>
                <a:rect l="l" t="t" r="r" b="b"/>
                <a:pathLst>
                  <a:path w="41027" h="89531">
                    <a:moveTo>
                      <a:pt x="41028" y="88276"/>
                    </a:moveTo>
                    <a:lnTo>
                      <a:pt x="38216" y="89531"/>
                    </a:lnTo>
                    <a:lnTo>
                      <a:pt x="0" y="1196"/>
                    </a:lnTo>
                    <a:lnTo>
                      <a:pt x="2811" y="0"/>
                    </a:lnTo>
                    <a:close/>
                  </a:path>
                </a:pathLst>
              </a:custGeom>
              <a:grpFill/>
              <a:ln w="5978" cap="flat">
                <a:noFill/>
                <a:prstDash val="solid"/>
                <a:miter/>
              </a:ln>
            </p:spPr>
            <p:txBody>
              <a:bodyPr rtlCol="0" anchor="ctr"/>
              <a:lstStyle/>
              <a:p>
                <a:endParaRPr lang="en-GB"/>
              </a:p>
            </p:txBody>
          </p:sp>
          <p:sp>
            <p:nvSpPr>
              <p:cNvPr id="3473" name="Vrije vorm: vorm 3472">
                <a:extLst>
                  <a:ext uri="{FF2B5EF4-FFF2-40B4-BE49-F238E27FC236}">
                    <a16:creationId xmlns:a16="http://schemas.microsoft.com/office/drawing/2014/main" id="{7A6E4C2F-C1FC-4D8A-B653-469A0A9274E0}"/>
                  </a:ext>
                </a:extLst>
              </p:cNvPr>
              <p:cNvSpPr/>
              <p:nvPr/>
            </p:nvSpPr>
            <p:spPr>
              <a:xfrm>
                <a:off x="6878278" y="5331710"/>
                <a:ext cx="18341" cy="18433"/>
              </a:xfrm>
              <a:custGeom>
                <a:avLst/>
                <a:gdLst>
                  <a:gd name="connsiteX0" fmla="*/ 17574 w 18341"/>
                  <a:gd name="connsiteY0" fmla="*/ 5586 h 18433"/>
                  <a:gd name="connsiteX1" fmla="*/ 12849 w 18341"/>
                  <a:gd name="connsiteY1" fmla="*/ 17667 h 18433"/>
                  <a:gd name="connsiteX2" fmla="*/ 768 w 18341"/>
                  <a:gd name="connsiteY2" fmla="*/ 12882 h 18433"/>
                  <a:gd name="connsiteX3" fmla="*/ 5493 w 18341"/>
                  <a:gd name="connsiteY3" fmla="*/ 801 h 18433"/>
                  <a:gd name="connsiteX4" fmla="*/ 17574 w 18341"/>
                  <a:gd name="connsiteY4" fmla="*/ 5586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3">
                    <a:moveTo>
                      <a:pt x="17574" y="5586"/>
                    </a:moveTo>
                    <a:cubicBezTo>
                      <a:pt x="19607" y="10251"/>
                      <a:pt x="17454" y="15693"/>
                      <a:pt x="12849" y="17667"/>
                    </a:cubicBezTo>
                    <a:cubicBezTo>
                      <a:pt x="8184" y="19700"/>
                      <a:pt x="2801" y="17547"/>
                      <a:pt x="768" y="12882"/>
                    </a:cubicBezTo>
                    <a:cubicBezTo>
                      <a:pt x="-1266" y="8217"/>
                      <a:pt x="887" y="2775"/>
                      <a:pt x="5493" y="801"/>
                    </a:cubicBezTo>
                    <a:cubicBezTo>
                      <a:pt x="10157" y="-1292"/>
                      <a:pt x="15540" y="861"/>
                      <a:pt x="17574" y="5586"/>
                    </a:cubicBezTo>
                    <a:close/>
                  </a:path>
                </a:pathLst>
              </a:custGeom>
              <a:grpFill/>
              <a:ln w="5978" cap="flat">
                <a:noFill/>
                <a:prstDash val="solid"/>
                <a:miter/>
              </a:ln>
            </p:spPr>
            <p:txBody>
              <a:bodyPr rtlCol="0" anchor="ctr"/>
              <a:lstStyle/>
              <a:p>
                <a:endParaRPr lang="en-GB"/>
              </a:p>
            </p:txBody>
          </p:sp>
          <p:sp>
            <p:nvSpPr>
              <p:cNvPr id="3474" name="Vrije vorm: vorm 3473">
                <a:extLst>
                  <a:ext uri="{FF2B5EF4-FFF2-40B4-BE49-F238E27FC236}">
                    <a16:creationId xmlns:a16="http://schemas.microsoft.com/office/drawing/2014/main" id="{FD09B3A1-CD12-48A3-B1F8-1224C7840356}"/>
                  </a:ext>
                </a:extLst>
              </p:cNvPr>
              <p:cNvSpPr/>
              <p:nvPr/>
            </p:nvSpPr>
            <p:spPr>
              <a:xfrm>
                <a:off x="6840411" y="5244222"/>
                <a:ext cx="18358" cy="18388"/>
              </a:xfrm>
              <a:custGeom>
                <a:avLst/>
                <a:gdLst>
                  <a:gd name="connsiteX0" fmla="*/ 17582 w 18358"/>
                  <a:gd name="connsiteY0" fmla="*/ 5576 h 18388"/>
                  <a:gd name="connsiteX1" fmla="*/ 5501 w 18358"/>
                  <a:gd name="connsiteY1" fmla="*/ 732 h 18388"/>
                  <a:gd name="connsiteX2" fmla="*/ 777 w 18358"/>
                  <a:gd name="connsiteY2" fmla="*/ 12813 h 18388"/>
                  <a:gd name="connsiteX3" fmla="*/ 12857 w 18358"/>
                  <a:gd name="connsiteY3" fmla="*/ 17657 h 18388"/>
                  <a:gd name="connsiteX4" fmla="*/ 17582 w 18358"/>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388">
                    <a:moveTo>
                      <a:pt x="17582" y="5576"/>
                    </a:moveTo>
                    <a:cubicBezTo>
                      <a:pt x="15549" y="911"/>
                      <a:pt x="10166" y="-1242"/>
                      <a:pt x="5501" y="732"/>
                    </a:cubicBezTo>
                    <a:cubicBezTo>
                      <a:pt x="837" y="2765"/>
                      <a:pt x="-1257" y="8148"/>
                      <a:pt x="777" y="12813"/>
                    </a:cubicBezTo>
                    <a:cubicBezTo>
                      <a:pt x="2810" y="17478"/>
                      <a:pt x="8193" y="19631"/>
                      <a:pt x="12857" y="17657"/>
                    </a:cubicBezTo>
                    <a:cubicBezTo>
                      <a:pt x="17522" y="15684"/>
                      <a:pt x="19615" y="10241"/>
                      <a:pt x="17582" y="5576"/>
                    </a:cubicBezTo>
                    <a:close/>
                  </a:path>
                </a:pathLst>
              </a:custGeom>
              <a:grpFill/>
              <a:ln w="5978" cap="flat">
                <a:noFill/>
                <a:prstDash val="solid"/>
                <a:miter/>
              </a:ln>
            </p:spPr>
            <p:txBody>
              <a:bodyPr rtlCol="0" anchor="ctr"/>
              <a:lstStyle/>
              <a:p>
                <a:endParaRPr lang="en-GB"/>
              </a:p>
            </p:txBody>
          </p:sp>
        </p:grpSp>
        <p:grpSp>
          <p:nvGrpSpPr>
            <p:cNvPr id="640" name="Graphic 3">
              <a:extLst>
                <a:ext uri="{FF2B5EF4-FFF2-40B4-BE49-F238E27FC236}">
                  <a16:creationId xmlns:a16="http://schemas.microsoft.com/office/drawing/2014/main" id="{E9D495A3-E572-43CF-8A35-B8C078C63D7A}"/>
                </a:ext>
              </a:extLst>
            </p:cNvPr>
            <p:cNvGrpSpPr/>
            <p:nvPr/>
          </p:nvGrpSpPr>
          <p:grpSpPr>
            <a:xfrm>
              <a:off x="6741449" y="4939059"/>
              <a:ext cx="155758" cy="410829"/>
              <a:chOff x="6741449" y="4939059"/>
              <a:chExt cx="155758" cy="410829"/>
            </a:xfrm>
            <a:grpFill/>
          </p:grpSpPr>
          <p:sp>
            <p:nvSpPr>
              <p:cNvPr id="3469" name="Vrije vorm: vorm 3468">
                <a:extLst>
                  <a:ext uri="{FF2B5EF4-FFF2-40B4-BE49-F238E27FC236}">
                    <a16:creationId xmlns:a16="http://schemas.microsoft.com/office/drawing/2014/main" id="{88182E01-6FA0-47A3-A776-D14F2FC590B4}"/>
                  </a:ext>
                </a:extLst>
              </p:cNvPr>
              <p:cNvSpPr/>
              <p:nvPr/>
            </p:nvSpPr>
            <p:spPr>
              <a:xfrm>
                <a:off x="6749304" y="4947142"/>
                <a:ext cx="140632" cy="394267"/>
              </a:xfrm>
              <a:custGeom>
                <a:avLst/>
                <a:gdLst>
                  <a:gd name="connsiteX0" fmla="*/ 0 w 140632"/>
                  <a:gd name="connsiteY0" fmla="*/ 1008 h 394267"/>
                  <a:gd name="connsiteX1" fmla="*/ 2879 w 140632"/>
                  <a:gd name="connsiteY1" fmla="*/ 0 h 394267"/>
                  <a:gd name="connsiteX2" fmla="*/ 140632 w 140632"/>
                  <a:gd name="connsiteY2" fmla="*/ 393260 h 394267"/>
                  <a:gd name="connsiteX3" fmla="*/ 137753 w 140632"/>
                  <a:gd name="connsiteY3" fmla="*/ 394268 h 394267"/>
                </a:gdLst>
                <a:ahLst/>
                <a:cxnLst>
                  <a:cxn ang="0">
                    <a:pos x="connsiteX0" y="connsiteY0"/>
                  </a:cxn>
                  <a:cxn ang="0">
                    <a:pos x="connsiteX1" y="connsiteY1"/>
                  </a:cxn>
                  <a:cxn ang="0">
                    <a:pos x="connsiteX2" y="connsiteY2"/>
                  </a:cxn>
                  <a:cxn ang="0">
                    <a:pos x="connsiteX3" y="connsiteY3"/>
                  </a:cxn>
                </a:cxnLst>
                <a:rect l="l" t="t" r="r" b="b"/>
                <a:pathLst>
                  <a:path w="140632" h="394267">
                    <a:moveTo>
                      <a:pt x="0" y="1008"/>
                    </a:moveTo>
                    <a:lnTo>
                      <a:pt x="2879" y="0"/>
                    </a:lnTo>
                    <a:lnTo>
                      <a:pt x="140632" y="393260"/>
                    </a:lnTo>
                    <a:lnTo>
                      <a:pt x="137753" y="394268"/>
                    </a:lnTo>
                    <a:close/>
                  </a:path>
                </a:pathLst>
              </a:custGeom>
              <a:grpFill/>
              <a:ln w="5978" cap="flat">
                <a:noFill/>
                <a:prstDash val="solid"/>
                <a:miter/>
              </a:ln>
            </p:spPr>
            <p:txBody>
              <a:bodyPr rtlCol="0" anchor="ctr"/>
              <a:lstStyle/>
              <a:p>
                <a:endParaRPr lang="en-GB"/>
              </a:p>
            </p:txBody>
          </p:sp>
          <p:sp>
            <p:nvSpPr>
              <p:cNvPr id="3470" name="Vrije vorm: vorm 3469">
                <a:extLst>
                  <a:ext uri="{FF2B5EF4-FFF2-40B4-BE49-F238E27FC236}">
                    <a16:creationId xmlns:a16="http://schemas.microsoft.com/office/drawing/2014/main" id="{643BDC04-B640-4D7C-925C-D6F1E63ED03B}"/>
                  </a:ext>
                </a:extLst>
              </p:cNvPr>
              <p:cNvSpPr/>
              <p:nvPr/>
            </p:nvSpPr>
            <p:spPr>
              <a:xfrm>
                <a:off x="6741449" y="4939059"/>
                <a:ext cx="18381" cy="18440"/>
              </a:xfrm>
              <a:custGeom>
                <a:avLst/>
                <a:gdLst>
                  <a:gd name="connsiteX0" fmla="*/ 519 w 18381"/>
                  <a:gd name="connsiteY0" fmla="*/ 12240 h 18440"/>
                  <a:gd name="connsiteX1" fmla="*/ 6141 w 18381"/>
                  <a:gd name="connsiteY1" fmla="*/ 518 h 18440"/>
                  <a:gd name="connsiteX2" fmla="*/ 17863 w 18381"/>
                  <a:gd name="connsiteY2" fmla="*/ 6200 h 18440"/>
                  <a:gd name="connsiteX3" fmla="*/ 12241 w 18381"/>
                  <a:gd name="connsiteY3" fmla="*/ 17922 h 18440"/>
                  <a:gd name="connsiteX4" fmla="*/ 519 w 18381"/>
                  <a:gd name="connsiteY4" fmla="*/ 12240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0">
                    <a:moveTo>
                      <a:pt x="519" y="12240"/>
                    </a:moveTo>
                    <a:cubicBezTo>
                      <a:pt x="-1156" y="7456"/>
                      <a:pt x="1356" y="2193"/>
                      <a:pt x="6141" y="518"/>
                    </a:cubicBezTo>
                    <a:cubicBezTo>
                      <a:pt x="10925" y="-1156"/>
                      <a:pt x="16129" y="1355"/>
                      <a:pt x="17863" y="6200"/>
                    </a:cubicBezTo>
                    <a:cubicBezTo>
                      <a:pt x="19538" y="10985"/>
                      <a:pt x="17026" y="16248"/>
                      <a:pt x="12241" y="17922"/>
                    </a:cubicBezTo>
                    <a:cubicBezTo>
                      <a:pt x="7456" y="19597"/>
                      <a:pt x="2193" y="17085"/>
                      <a:pt x="519" y="12240"/>
                    </a:cubicBezTo>
                    <a:close/>
                  </a:path>
                </a:pathLst>
              </a:custGeom>
              <a:grpFill/>
              <a:ln w="5978" cap="flat">
                <a:noFill/>
                <a:prstDash val="solid"/>
                <a:miter/>
              </a:ln>
            </p:spPr>
            <p:txBody>
              <a:bodyPr rtlCol="0" anchor="ctr"/>
              <a:lstStyle/>
              <a:p>
                <a:endParaRPr lang="en-GB"/>
              </a:p>
            </p:txBody>
          </p:sp>
          <p:sp>
            <p:nvSpPr>
              <p:cNvPr id="3471" name="Vrije vorm: vorm 3470">
                <a:extLst>
                  <a:ext uri="{FF2B5EF4-FFF2-40B4-BE49-F238E27FC236}">
                    <a16:creationId xmlns:a16="http://schemas.microsoft.com/office/drawing/2014/main" id="{FEA4CB51-22A8-4E69-8900-A06D64843300}"/>
                  </a:ext>
                </a:extLst>
              </p:cNvPr>
              <p:cNvSpPr/>
              <p:nvPr/>
            </p:nvSpPr>
            <p:spPr>
              <a:xfrm>
                <a:off x="6878886" y="5331461"/>
                <a:ext cx="18321" cy="18428"/>
              </a:xfrm>
              <a:custGeom>
                <a:avLst/>
                <a:gdLst>
                  <a:gd name="connsiteX0" fmla="*/ 519 w 18321"/>
                  <a:gd name="connsiteY0" fmla="*/ 12235 h 18428"/>
                  <a:gd name="connsiteX1" fmla="*/ 12181 w 18321"/>
                  <a:gd name="connsiteY1" fmla="*/ 17916 h 18428"/>
                  <a:gd name="connsiteX2" fmla="*/ 17803 w 18321"/>
                  <a:gd name="connsiteY2" fmla="*/ 6194 h 18428"/>
                  <a:gd name="connsiteX3" fmla="*/ 6141 w 18321"/>
                  <a:gd name="connsiteY3" fmla="*/ 512 h 18428"/>
                  <a:gd name="connsiteX4" fmla="*/ 519 w 18321"/>
                  <a:gd name="connsiteY4" fmla="*/ 1223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519" y="12235"/>
                    </a:moveTo>
                    <a:cubicBezTo>
                      <a:pt x="2193" y="17019"/>
                      <a:pt x="7456" y="19591"/>
                      <a:pt x="12181" y="17916"/>
                    </a:cubicBezTo>
                    <a:cubicBezTo>
                      <a:pt x="16966" y="16241"/>
                      <a:pt x="19477" y="10978"/>
                      <a:pt x="17803" y="6194"/>
                    </a:cubicBezTo>
                    <a:cubicBezTo>
                      <a:pt x="16129" y="1409"/>
                      <a:pt x="10866" y="-1163"/>
                      <a:pt x="6141" y="512"/>
                    </a:cubicBezTo>
                    <a:cubicBezTo>
                      <a:pt x="1356" y="2187"/>
                      <a:pt x="-1156" y="7450"/>
                      <a:pt x="519" y="12235"/>
                    </a:cubicBezTo>
                    <a:close/>
                  </a:path>
                </a:pathLst>
              </a:custGeom>
              <a:grpFill/>
              <a:ln w="5978" cap="flat">
                <a:noFill/>
                <a:prstDash val="solid"/>
                <a:miter/>
              </a:ln>
            </p:spPr>
            <p:txBody>
              <a:bodyPr rtlCol="0" anchor="ctr"/>
              <a:lstStyle/>
              <a:p>
                <a:endParaRPr lang="en-GB"/>
              </a:p>
            </p:txBody>
          </p:sp>
        </p:grpSp>
        <p:grpSp>
          <p:nvGrpSpPr>
            <p:cNvPr id="641" name="Graphic 3">
              <a:extLst>
                <a:ext uri="{FF2B5EF4-FFF2-40B4-BE49-F238E27FC236}">
                  <a16:creationId xmlns:a16="http://schemas.microsoft.com/office/drawing/2014/main" id="{E9C8895F-B892-4329-B12B-FAC12D2D2B06}"/>
                </a:ext>
              </a:extLst>
            </p:cNvPr>
            <p:cNvGrpSpPr/>
            <p:nvPr/>
          </p:nvGrpSpPr>
          <p:grpSpPr>
            <a:xfrm>
              <a:off x="6742244" y="4938764"/>
              <a:ext cx="78058" cy="149838"/>
              <a:chOff x="6742244" y="4938764"/>
              <a:chExt cx="78058" cy="149838"/>
            </a:xfrm>
            <a:grpFill/>
          </p:grpSpPr>
          <p:sp>
            <p:nvSpPr>
              <p:cNvPr id="3466" name="Vrije vorm: vorm 3465">
                <a:extLst>
                  <a:ext uri="{FF2B5EF4-FFF2-40B4-BE49-F238E27FC236}">
                    <a16:creationId xmlns:a16="http://schemas.microsoft.com/office/drawing/2014/main" id="{7F7CBC2A-FCC9-482F-BB7A-CA8FC1EC4E48}"/>
                  </a:ext>
                </a:extLst>
              </p:cNvPr>
              <p:cNvSpPr/>
              <p:nvPr/>
            </p:nvSpPr>
            <p:spPr>
              <a:xfrm>
                <a:off x="6749702" y="4946539"/>
                <a:ext cx="63062" cy="133434"/>
              </a:xfrm>
              <a:custGeom>
                <a:avLst/>
                <a:gdLst>
                  <a:gd name="connsiteX0" fmla="*/ 0 w 63062"/>
                  <a:gd name="connsiteY0" fmla="*/ 1266 h 133434"/>
                  <a:gd name="connsiteX1" fmla="*/ 2775 w 63062"/>
                  <a:gd name="connsiteY1" fmla="*/ 0 h 133434"/>
                  <a:gd name="connsiteX2" fmla="*/ 63063 w 63062"/>
                  <a:gd name="connsiteY2" fmla="*/ 132168 h 133434"/>
                  <a:gd name="connsiteX3" fmla="*/ 60288 w 63062"/>
                  <a:gd name="connsiteY3" fmla="*/ 133434 h 133434"/>
                </a:gdLst>
                <a:ahLst/>
                <a:cxnLst>
                  <a:cxn ang="0">
                    <a:pos x="connsiteX0" y="connsiteY0"/>
                  </a:cxn>
                  <a:cxn ang="0">
                    <a:pos x="connsiteX1" y="connsiteY1"/>
                  </a:cxn>
                  <a:cxn ang="0">
                    <a:pos x="connsiteX2" y="connsiteY2"/>
                  </a:cxn>
                  <a:cxn ang="0">
                    <a:pos x="connsiteX3" y="connsiteY3"/>
                  </a:cxn>
                </a:cxnLst>
                <a:rect l="l" t="t" r="r" b="b"/>
                <a:pathLst>
                  <a:path w="63062" h="133434">
                    <a:moveTo>
                      <a:pt x="0" y="1266"/>
                    </a:moveTo>
                    <a:lnTo>
                      <a:pt x="2775" y="0"/>
                    </a:lnTo>
                    <a:lnTo>
                      <a:pt x="63063" y="132168"/>
                    </a:lnTo>
                    <a:lnTo>
                      <a:pt x="60288" y="133434"/>
                    </a:lnTo>
                    <a:close/>
                  </a:path>
                </a:pathLst>
              </a:custGeom>
              <a:grpFill/>
              <a:ln w="5978" cap="flat">
                <a:noFill/>
                <a:prstDash val="solid"/>
                <a:miter/>
              </a:ln>
            </p:spPr>
            <p:txBody>
              <a:bodyPr rtlCol="0" anchor="ctr"/>
              <a:lstStyle/>
              <a:p>
                <a:endParaRPr lang="en-GB"/>
              </a:p>
            </p:txBody>
          </p:sp>
          <p:sp>
            <p:nvSpPr>
              <p:cNvPr id="3467" name="Vrije vorm: vorm 3466">
                <a:extLst>
                  <a:ext uri="{FF2B5EF4-FFF2-40B4-BE49-F238E27FC236}">
                    <a16:creationId xmlns:a16="http://schemas.microsoft.com/office/drawing/2014/main" id="{39CA643A-8D08-46AB-A291-9EEE27A7A426}"/>
                  </a:ext>
                </a:extLst>
              </p:cNvPr>
              <p:cNvSpPr/>
              <p:nvPr/>
            </p:nvSpPr>
            <p:spPr>
              <a:xfrm>
                <a:off x="6802028" y="5070161"/>
                <a:ext cx="18275" cy="18441"/>
              </a:xfrm>
              <a:custGeom>
                <a:avLst/>
                <a:gdLst>
                  <a:gd name="connsiteX0" fmla="*/ 17450 w 18275"/>
                  <a:gd name="connsiteY0" fmla="*/ 5419 h 18441"/>
                  <a:gd name="connsiteX1" fmla="*/ 12965 w 18275"/>
                  <a:gd name="connsiteY1" fmla="*/ 17619 h 18441"/>
                  <a:gd name="connsiteX2" fmla="*/ 824 w 18275"/>
                  <a:gd name="connsiteY2" fmla="*/ 13014 h 18441"/>
                  <a:gd name="connsiteX3" fmla="*/ 5369 w 18275"/>
                  <a:gd name="connsiteY3" fmla="*/ 813 h 18441"/>
                  <a:gd name="connsiteX4" fmla="*/ 17450 w 18275"/>
                  <a:gd name="connsiteY4" fmla="*/ 541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41">
                    <a:moveTo>
                      <a:pt x="17450" y="5419"/>
                    </a:moveTo>
                    <a:cubicBezTo>
                      <a:pt x="19544" y="10024"/>
                      <a:pt x="17510" y="15526"/>
                      <a:pt x="12965" y="17619"/>
                    </a:cubicBezTo>
                    <a:cubicBezTo>
                      <a:pt x="8360" y="19713"/>
                      <a:pt x="2917" y="17679"/>
                      <a:pt x="824" y="13014"/>
                    </a:cubicBezTo>
                    <a:cubicBezTo>
                      <a:pt x="-1270" y="8349"/>
                      <a:pt x="764" y="2907"/>
                      <a:pt x="5369" y="813"/>
                    </a:cubicBezTo>
                    <a:cubicBezTo>
                      <a:pt x="9915" y="-1280"/>
                      <a:pt x="15357" y="813"/>
                      <a:pt x="17450" y="5419"/>
                    </a:cubicBezTo>
                    <a:close/>
                  </a:path>
                </a:pathLst>
              </a:custGeom>
              <a:grpFill/>
              <a:ln w="5978" cap="flat">
                <a:noFill/>
                <a:prstDash val="solid"/>
                <a:miter/>
              </a:ln>
            </p:spPr>
            <p:txBody>
              <a:bodyPr rtlCol="0" anchor="ctr"/>
              <a:lstStyle/>
              <a:p>
                <a:endParaRPr lang="en-GB"/>
              </a:p>
            </p:txBody>
          </p:sp>
          <p:sp>
            <p:nvSpPr>
              <p:cNvPr id="3468" name="Vrije vorm: vorm 3467">
                <a:extLst>
                  <a:ext uri="{FF2B5EF4-FFF2-40B4-BE49-F238E27FC236}">
                    <a16:creationId xmlns:a16="http://schemas.microsoft.com/office/drawing/2014/main" id="{A095F0D5-1240-42A1-9C9E-0F92702757F4}"/>
                  </a:ext>
                </a:extLst>
              </p:cNvPr>
              <p:cNvSpPr/>
              <p:nvPr/>
            </p:nvSpPr>
            <p:spPr>
              <a:xfrm>
                <a:off x="6742244" y="4938764"/>
                <a:ext cx="18311" cy="18432"/>
              </a:xfrm>
              <a:custGeom>
                <a:avLst/>
                <a:gdLst>
                  <a:gd name="connsiteX0" fmla="*/ 17487 w 18311"/>
                  <a:gd name="connsiteY0" fmla="*/ 5418 h 18432"/>
                  <a:gd name="connsiteX1" fmla="*/ 5346 w 18311"/>
                  <a:gd name="connsiteY1" fmla="*/ 813 h 18432"/>
                  <a:gd name="connsiteX2" fmla="*/ 860 w 18311"/>
                  <a:gd name="connsiteY2" fmla="*/ 13014 h 18432"/>
                  <a:gd name="connsiteX3" fmla="*/ 13001 w 18311"/>
                  <a:gd name="connsiteY3" fmla="*/ 17619 h 18432"/>
                  <a:gd name="connsiteX4" fmla="*/ 17487 w 18311"/>
                  <a:gd name="connsiteY4" fmla="*/ 5418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2">
                    <a:moveTo>
                      <a:pt x="17487" y="5418"/>
                    </a:moveTo>
                    <a:cubicBezTo>
                      <a:pt x="15393" y="813"/>
                      <a:pt x="9951" y="-1280"/>
                      <a:pt x="5346" y="813"/>
                    </a:cubicBezTo>
                    <a:cubicBezTo>
                      <a:pt x="741" y="2907"/>
                      <a:pt x="-1293" y="8349"/>
                      <a:pt x="860" y="13014"/>
                    </a:cubicBezTo>
                    <a:cubicBezTo>
                      <a:pt x="2953" y="17619"/>
                      <a:pt x="8396" y="19712"/>
                      <a:pt x="13001" y="17619"/>
                    </a:cubicBezTo>
                    <a:cubicBezTo>
                      <a:pt x="17546" y="15526"/>
                      <a:pt x="19580" y="10083"/>
                      <a:pt x="17487" y="5418"/>
                    </a:cubicBezTo>
                    <a:close/>
                  </a:path>
                </a:pathLst>
              </a:custGeom>
              <a:grpFill/>
              <a:ln w="5978" cap="flat">
                <a:noFill/>
                <a:prstDash val="solid"/>
                <a:miter/>
              </a:ln>
            </p:spPr>
            <p:txBody>
              <a:bodyPr rtlCol="0" anchor="ctr"/>
              <a:lstStyle/>
              <a:p>
                <a:endParaRPr lang="en-GB"/>
              </a:p>
            </p:txBody>
          </p:sp>
        </p:grpSp>
        <p:grpSp>
          <p:nvGrpSpPr>
            <p:cNvPr id="642" name="Graphic 3">
              <a:extLst>
                <a:ext uri="{FF2B5EF4-FFF2-40B4-BE49-F238E27FC236}">
                  <a16:creationId xmlns:a16="http://schemas.microsoft.com/office/drawing/2014/main" id="{CA1C3AE0-7B7C-4F83-BE5C-EDB4DB62F317}"/>
                </a:ext>
              </a:extLst>
            </p:cNvPr>
            <p:cNvGrpSpPr/>
            <p:nvPr/>
          </p:nvGrpSpPr>
          <p:grpSpPr>
            <a:xfrm>
              <a:off x="6777494" y="5098795"/>
              <a:ext cx="73970" cy="146924"/>
              <a:chOff x="6777494" y="5098795"/>
              <a:chExt cx="73970" cy="146924"/>
            </a:xfrm>
            <a:grpFill/>
          </p:grpSpPr>
          <p:sp>
            <p:nvSpPr>
              <p:cNvPr id="3463" name="Vrije vorm: vorm 3462">
                <a:extLst>
                  <a:ext uri="{FF2B5EF4-FFF2-40B4-BE49-F238E27FC236}">
                    <a16:creationId xmlns:a16="http://schemas.microsoft.com/office/drawing/2014/main" id="{E9547273-E1C1-47B4-947B-7A282FC7CD2C}"/>
                  </a:ext>
                </a:extLst>
              </p:cNvPr>
              <p:cNvSpPr/>
              <p:nvPr/>
            </p:nvSpPr>
            <p:spPr>
              <a:xfrm>
                <a:off x="6785089" y="5106978"/>
                <a:ext cx="58790" cy="130559"/>
              </a:xfrm>
              <a:custGeom>
                <a:avLst/>
                <a:gdLst>
                  <a:gd name="connsiteX0" fmla="*/ 58791 w 58790"/>
                  <a:gd name="connsiteY0" fmla="*/ 129363 h 130559"/>
                  <a:gd name="connsiteX1" fmla="*/ 55980 w 58790"/>
                  <a:gd name="connsiteY1" fmla="*/ 130559 h 130559"/>
                  <a:gd name="connsiteX2" fmla="*/ 0 w 58790"/>
                  <a:gd name="connsiteY2" fmla="*/ 1196 h 130559"/>
                  <a:gd name="connsiteX3" fmla="*/ 2811 w 58790"/>
                  <a:gd name="connsiteY3" fmla="*/ 0 h 130559"/>
                </a:gdLst>
                <a:ahLst/>
                <a:cxnLst>
                  <a:cxn ang="0">
                    <a:pos x="connsiteX0" y="connsiteY0"/>
                  </a:cxn>
                  <a:cxn ang="0">
                    <a:pos x="connsiteX1" y="connsiteY1"/>
                  </a:cxn>
                  <a:cxn ang="0">
                    <a:pos x="connsiteX2" y="connsiteY2"/>
                  </a:cxn>
                  <a:cxn ang="0">
                    <a:pos x="connsiteX3" y="connsiteY3"/>
                  </a:cxn>
                </a:cxnLst>
                <a:rect l="l" t="t" r="r" b="b"/>
                <a:pathLst>
                  <a:path w="58790" h="130559">
                    <a:moveTo>
                      <a:pt x="58791" y="129363"/>
                    </a:moveTo>
                    <a:lnTo>
                      <a:pt x="55980" y="130559"/>
                    </a:lnTo>
                    <a:lnTo>
                      <a:pt x="0" y="1196"/>
                    </a:lnTo>
                    <a:lnTo>
                      <a:pt x="2811" y="0"/>
                    </a:lnTo>
                    <a:close/>
                  </a:path>
                </a:pathLst>
              </a:custGeom>
              <a:grpFill/>
              <a:ln w="5978" cap="flat">
                <a:noFill/>
                <a:prstDash val="solid"/>
                <a:miter/>
              </a:ln>
            </p:spPr>
            <p:txBody>
              <a:bodyPr rtlCol="0" anchor="ctr"/>
              <a:lstStyle/>
              <a:p>
                <a:endParaRPr lang="en-GB"/>
              </a:p>
            </p:txBody>
          </p:sp>
          <p:sp>
            <p:nvSpPr>
              <p:cNvPr id="3464" name="Vrije vorm: vorm 3463">
                <a:extLst>
                  <a:ext uri="{FF2B5EF4-FFF2-40B4-BE49-F238E27FC236}">
                    <a16:creationId xmlns:a16="http://schemas.microsoft.com/office/drawing/2014/main" id="{AEDCFD5B-CC92-42AF-B559-9F44DB702400}"/>
                  </a:ext>
                </a:extLst>
              </p:cNvPr>
              <p:cNvSpPr/>
              <p:nvPr/>
            </p:nvSpPr>
            <p:spPr>
              <a:xfrm>
                <a:off x="6833124" y="5227321"/>
                <a:ext cx="18341" cy="18398"/>
              </a:xfrm>
              <a:custGeom>
                <a:avLst/>
                <a:gdLst>
                  <a:gd name="connsiteX0" fmla="*/ 17574 w 18341"/>
                  <a:gd name="connsiteY0" fmla="*/ 5551 h 18398"/>
                  <a:gd name="connsiteX1" fmla="*/ 12849 w 18341"/>
                  <a:gd name="connsiteY1" fmla="*/ 17632 h 18398"/>
                  <a:gd name="connsiteX2" fmla="*/ 768 w 18341"/>
                  <a:gd name="connsiteY2" fmla="*/ 12848 h 18398"/>
                  <a:gd name="connsiteX3" fmla="*/ 5493 w 18341"/>
                  <a:gd name="connsiteY3" fmla="*/ 767 h 18398"/>
                  <a:gd name="connsiteX4" fmla="*/ 17574 w 18341"/>
                  <a:gd name="connsiteY4" fmla="*/ 555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8">
                    <a:moveTo>
                      <a:pt x="17574" y="5551"/>
                    </a:moveTo>
                    <a:cubicBezTo>
                      <a:pt x="19607" y="10216"/>
                      <a:pt x="17454" y="15659"/>
                      <a:pt x="12849" y="17632"/>
                    </a:cubicBezTo>
                    <a:cubicBezTo>
                      <a:pt x="8184" y="19666"/>
                      <a:pt x="2802" y="17513"/>
                      <a:pt x="768" y="12848"/>
                    </a:cubicBezTo>
                    <a:cubicBezTo>
                      <a:pt x="-1266" y="8183"/>
                      <a:pt x="887" y="2740"/>
                      <a:pt x="5493" y="767"/>
                    </a:cubicBezTo>
                    <a:cubicBezTo>
                      <a:pt x="10158" y="-1267"/>
                      <a:pt x="15541" y="886"/>
                      <a:pt x="17574" y="5551"/>
                    </a:cubicBezTo>
                    <a:close/>
                  </a:path>
                </a:pathLst>
              </a:custGeom>
              <a:grpFill/>
              <a:ln w="5978" cap="flat">
                <a:noFill/>
                <a:prstDash val="solid"/>
                <a:miter/>
              </a:ln>
            </p:spPr>
            <p:txBody>
              <a:bodyPr rtlCol="0" anchor="ctr"/>
              <a:lstStyle/>
              <a:p>
                <a:endParaRPr lang="en-GB"/>
              </a:p>
            </p:txBody>
          </p:sp>
          <p:sp>
            <p:nvSpPr>
              <p:cNvPr id="3465" name="Vrije vorm: vorm 3464">
                <a:extLst>
                  <a:ext uri="{FF2B5EF4-FFF2-40B4-BE49-F238E27FC236}">
                    <a16:creationId xmlns:a16="http://schemas.microsoft.com/office/drawing/2014/main" id="{86FFD20B-7B00-49D9-B609-57462D5CC729}"/>
                  </a:ext>
                </a:extLst>
              </p:cNvPr>
              <p:cNvSpPr/>
              <p:nvPr/>
            </p:nvSpPr>
            <p:spPr>
              <a:xfrm>
                <a:off x="6777494" y="5098795"/>
                <a:ext cx="18350" cy="18399"/>
              </a:xfrm>
              <a:custGeom>
                <a:avLst/>
                <a:gdLst>
                  <a:gd name="connsiteX0" fmla="*/ 17582 w 18350"/>
                  <a:gd name="connsiteY0" fmla="*/ 5551 h 18399"/>
                  <a:gd name="connsiteX1" fmla="*/ 5501 w 18350"/>
                  <a:gd name="connsiteY1" fmla="*/ 767 h 18399"/>
                  <a:gd name="connsiteX2" fmla="*/ 777 w 18350"/>
                  <a:gd name="connsiteY2" fmla="*/ 12848 h 18399"/>
                  <a:gd name="connsiteX3" fmla="*/ 12857 w 18350"/>
                  <a:gd name="connsiteY3" fmla="*/ 17632 h 18399"/>
                  <a:gd name="connsiteX4" fmla="*/ 17582 w 18350"/>
                  <a:gd name="connsiteY4" fmla="*/ 5551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99">
                    <a:moveTo>
                      <a:pt x="17582" y="5551"/>
                    </a:moveTo>
                    <a:cubicBezTo>
                      <a:pt x="15549" y="886"/>
                      <a:pt x="10166" y="-1267"/>
                      <a:pt x="5501" y="767"/>
                    </a:cubicBezTo>
                    <a:cubicBezTo>
                      <a:pt x="836" y="2800"/>
                      <a:pt x="-1257" y="8183"/>
                      <a:pt x="777" y="12848"/>
                    </a:cubicBezTo>
                    <a:cubicBezTo>
                      <a:pt x="2810" y="17513"/>
                      <a:pt x="8193" y="19666"/>
                      <a:pt x="12857" y="17632"/>
                    </a:cubicBezTo>
                    <a:cubicBezTo>
                      <a:pt x="17463" y="15659"/>
                      <a:pt x="19616" y="10216"/>
                      <a:pt x="17582" y="5551"/>
                    </a:cubicBezTo>
                    <a:close/>
                  </a:path>
                </a:pathLst>
              </a:custGeom>
              <a:grpFill/>
              <a:ln w="5978" cap="flat">
                <a:noFill/>
                <a:prstDash val="solid"/>
                <a:miter/>
              </a:ln>
            </p:spPr>
            <p:txBody>
              <a:bodyPr rtlCol="0" anchor="ctr"/>
              <a:lstStyle/>
              <a:p>
                <a:endParaRPr lang="en-GB"/>
              </a:p>
            </p:txBody>
          </p:sp>
        </p:grpSp>
        <p:grpSp>
          <p:nvGrpSpPr>
            <p:cNvPr id="643" name="Graphic 3">
              <a:extLst>
                <a:ext uri="{FF2B5EF4-FFF2-40B4-BE49-F238E27FC236}">
                  <a16:creationId xmlns:a16="http://schemas.microsoft.com/office/drawing/2014/main" id="{D1E86635-6092-407D-8F62-2166FB4ECBFF}"/>
                </a:ext>
              </a:extLst>
            </p:cNvPr>
            <p:cNvGrpSpPr/>
            <p:nvPr/>
          </p:nvGrpSpPr>
          <p:grpSpPr>
            <a:xfrm>
              <a:off x="5575587" y="1419985"/>
              <a:ext cx="91344" cy="326842"/>
              <a:chOff x="5575587" y="1419985"/>
              <a:chExt cx="91344" cy="326842"/>
            </a:xfrm>
            <a:grpFill/>
          </p:grpSpPr>
          <p:sp>
            <p:nvSpPr>
              <p:cNvPr id="3460" name="Vrije vorm: vorm 3459">
                <a:extLst>
                  <a:ext uri="{FF2B5EF4-FFF2-40B4-BE49-F238E27FC236}">
                    <a16:creationId xmlns:a16="http://schemas.microsoft.com/office/drawing/2014/main" id="{BCBF8699-E2F0-450F-A4DE-2FF57861A9EB}"/>
                  </a:ext>
                </a:extLst>
              </p:cNvPr>
              <p:cNvSpPr/>
              <p:nvPr/>
            </p:nvSpPr>
            <p:spPr>
              <a:xfrm>
                <a:off x="5583203" y="1428416"/>
                <a:ext cx="76134" cy="309980"/>
              </a:xfrm>
              <a:custGeom>
                <a:avLst/>
                <a:gdLst>
                  <a:gd name="connsiteX0" fmla="*/ 2930 w 76134"/>
                  <a:gd name="connsiteY0" fmla="*/ 0 h 309980"/>
                  <a:gd name="connsiteX1" fmla="*/ 76134 w 76134"/>
                  <a:gd name="connsiteY1" fmla="*/ 309263 h 309980"/>
                  <a:gd name="connsiteX2" fmla="*/ 73144 w 76134"/>
                  <a:gd name="connsiteY2" fmla="*/ 309981 h 309980"/>
                  <a:gd name="connsiteX3" fmla="*/ 0 w 76134"/>
                  <a:gd name="connsiteY3" fmla="*/ 718 h 309980"/>
                </a:gdLst>
                <a:ahLst/>
                <a:cxnLst>
                  <a:cxn ang="0">
                    <a:pos x="connsiteX0" y="connsiteY0"/>
                  </a:cxn>
                  <a:cxn ang="0">
                    <a:pos x="connsiteX1" y="connsiteY1"/>
                  </a:cxn>
                  <a:cxn ang="0">
                    <a:pos x="connsiteX2" y="connsiteY2"/>
                  </a:cxn>
                  <a:cxn ang="0">
                    <a:pos x="connsiteX3" y="connsiteY3"/>
                  </a:cxn>
                </a:cxnLst>
                <a:rect l="l" t="t" r="r" b="b"/>
                <a:pathLst>
                  <a:path w="76134" h="309980">
                    <a:moveTo>
                      <a:pt x="2930" y="0"/>
                    </a:moveTo>
                    <a:lnTo>
                      <a:pt x="76134" y="309263"/>
                    </a:lnTo>
                    <a:lnTo>
                      <a:pt x="73144" y="309981"/>
                    </a:lnTo>
                    <a:lnTo>
                      <a:pt x="0" y="718"/>
                    </a:lnTo>
                    <a:close/>
                  </a:path>
                </a:pathLst>
              </a:custGeom>
              <a:grpFill/>
              <a:ln w="5978" cap="flat">
                <a:noFill/>
                <a:prstDash val="solid"/>
                <a:miter/>
              </a:ln>
            </p:spPr>
            <p:txBody>
              <a:bodyPr rtlCol="0" anchor="ctr"/>
              <a:lstStyle/>
              <a:p>
                <a:endParaRPr lang="en-GB"/>
              </a:p>
            </p:txBody>
          </p:sp>
          <p:sp>
            <p:nvSpPr>
              <p:cNvPr id="3461" name="Vrije vorm: vorm 3460">
                <a:extLst>
                  <a:ext uri="{FF2B5EF4-FFF2-40B4-BE49-F238E27FC236}">
                    <a16:creationId xmlns:a16="http://schemas.microsoft.com/office/drawing/2014/main" id="{A8190144-D236-4F55-B708-02EFD3C57021}"/>
                  </a:ext>
                </a:extLst>
              </p:cNvPr>
              <p:cNvSpPr/>
              <p:nvPr/>
            </p:nvSpPr>
            <p:spPr>
              <a:xfrm>
                <a:off x="5575587" y="1419985"/>
                <a:ext cx="18401" cy="18435"/>
              </a:xfrm>
              <a:custGeom>
                <a:avLst/>
                <a:gdLst>
                  <a:gd name="connsiteX0" fmla="*/ 260 w 18401"/>
                  <a:gd name="connsiteY0" fmla="*/ 11302 h 18435"/>
                  <a:gd name="connsiteX1" fmla="*/ 7078 w 18401"/>
                  <a:gd name="connsiteY1" fmla="*/ 237 h 18435"/>
                  <a:gd name="connsiteX2" fmla="*/ 18142 w 18401"/>
                  <a:gd name="connsiteY2" fmla="*/ 7115 h 18435"/>
                  <a:gd name="connsiteX3" fmla="*/ 11324 w 18401"/>
                  <a:gd name="connsiteY3" fmla="*/ 18180 h 18435"/>
                  <a:gd name="connsiteX4" fmla="*/ 260 w 18401"/>
                  <a:gd name="connsiteY4" fmla="*/ 1130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35">
                    <a:moveTo>
                      <a:pt x="260" y="11302"/>
                    </a:moveTo>
                    <a:cubicBezTo>
                      <a:pt x="-936" y="6338"/>
                      <a:pt x="2114" y="1374"/>
                      <a:pt x="7078" y="237"/>
                    </a:cubicBezTo>
                    <a:cubicBezTo>
                      <a:pt x="11982" y="-899"/>
                      <a:pt x="16946" y="2151"/>
                      <a:pt x="18142" y="7115"/>
                    </a:cubicBezTo>
                    <a:cubicBezTo>
                      <a:pt x="19338" y="12079"/>
                      <a:pt x="16288" y="17043"/>
                      <a:pt x="11324" y="18180"/>
                    </a:cubicBezTo>
                    <a:cubicBezTo>
                      <a:pt x="6360" y="19376"/>
                      <a:pt x="1456" y="16266"/>
                      <a:pt x="260" y="11302"/>
                    </a:cubicBezTo>
                    <a:close/>
                  </a:path>
                </a:pathLst>
              </a:custGeom>
              <a:grpFill/>
              <a:ln w="5978" cap="flat">
                <a:noFill/>
                <a:prstDash val="solid"/>
                <a:miter/>
              </a:ln>
            </p:spPr>
            <p:txBody>
              <a:bodyPr rtlCol="0" anchor="ctr"/>
              <a:lstStyle/>
              <a:p>
                <a:endParaRPr lang="en-GB"/>
              </a:p>
            </p:txBody>
          </p:sp>
          <p:sp>
            <p:nvSpPr>
              <p:cNvPr id="3462" name="Vrije vorm: vorm 3461">
                <a:extLst>
                  <a:ext uri="{FF2B5EF4-FFF2-40B4-BE49-F238E27FC236}">
                    <a16:creationId xmlns:a16="http://schemas.microsoft.com/office/drawing/2014/main" id="{9149EC6B-1519-423C-8E87-5CCD1854C872}"/>
                  </a:ext>
                </a:extLst>
              </p:cNvPr>
              <p:cNvSpPr/>
              <p:nvPr/>
            </p:nvSpPr>
            <p:spPr>
              <a:xfrm>
                <a:off x="5648571" y="1728411"/>
                <a:ext cx="18360" cy="18416"/>
              </a:xfrm>
              <a:custGeom>
                <a:avLst/>
                <a:gdLst>
                  <a:gd name="connsiteX0" fmla="*/ 241 w 18360"/>
                  <a:gd name="connsiteY0" fmla="*/ 11302 h 18416"/>
                  <a:gd name="connsiteX1" fmla="*/ 11305 w 18360"/>
                  <a:gd name="connsiteY1" fmla="*/ 18180 h 18416"/>
                  <a:gd name="connsiteX2" fmla="*/ 18123 w 18360"/>
                  <a:gd name="connsiteY2" fmla="*/ 7115 h 18416"/>
                  <a:gd name="connsiteX3" fmla="*/ 7059 w 18360"/>
                  <a:gd name="connsiteY3" fmla="*/ 237 h 18416"/>
                  <a:gd name="connsiteX4" fmla="*/ 241 w 18360"/>
                  <a:gd name="connsiteY4" fmla="*/ 1130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6">
                    <a:moveTo>
                      <a:pt x="241" y="11302"/>
                    </a:moveTo>
                    <a:cubicBezTo>
                      <a:pt x="1437" y="16266"/>
                      <a:pt x="6341" y="19316"/>
                      <a:pt x="11305" y="18180"/>
                    </a:cubicBezTo>
                    <a:cubicBezTo>
                      <a:pt x="16209" y="17043"/>
                      <a:pt x="19259" y="12079"/>
                      <a:pt x="18123" y="7115"/>
                    </a:cubicBezTo>
                    <a:cubicBezTo>
                      <a:pt x="16927" y="2151"/>
                      <a:pt x="12023" y="-899"/>
                      <a:pt x="7059" y="237"/>
                    </a:cubicBezTo>
                    <a:cubicBezTo>
                      <a:pt x="2095" y="1374"/>
                      <a:pt x="-896" y="6338"/>
                      <a:pt x="241" y="11302"/>
                    </a:cubicBezTo>
                    <a:close/>
                  </a:path>
                </a:pathLst>
              </a:custGeom>
              <a:grpFill/>
              <a:ln w="5978" cap="flat">
                <a:noFill/>
                <a:prstDash val="solid"/>
                <a:miter/>
              </a:ln>
            </p:spPr>
            <p:txBody>
              <a:bodyPr rtlCol="0" anchor="ctr"/>
              <a:lstStyle/>
              <a:p>
                <a:endParaRPr lang="en-GB"/>
              </a:p>
            </p:txBody>
          </p:sp>
        </p:grpSp>
        <p:grpSp>
          <p:nvGrpSpPr>
            <p:cNvPr id="644" name="Graphic 3">
              <a:extLst>
                <a:ext uri="{FF2B5EF4-FFF2-40B4-BE49-F238E27FC236}">
                  <a16:creationId xmlns:a16="http://schemas.microsoft.com/office/drawing/2014/main" id="{3CDD8B13-C956-47DC-B9C5-9F04B233EC0A}"/>
                </a:ext>
              </a:extLst>
            </p:cNvPr>
            <p:cNvGrpSpPr/>
            <p:nvPr/>
          </p:nvGrpSpPr>
          <p:grpSpPr>
            <a:xfrm>
              <a:off x="5509971" y="1144663"/>
              <a:ext cx="132068" cy="631440"/>
              <a:chOff x="5509971" y="1144663"/>
              <a:chExt cx="132068" cy="631440"/>
            </a:xfrm>
            <a:grpFill/>
          </p:grpSpPr>
          <p:sp>
            <p:nvSpPr>
              <p:cNvPr id="3457" name="Vrije vorm: vorm 3456">
                <a:extLst>
                  <a:ext uri="{FF2B5EF4-FFF2-40B4-BE49-F238E27FC236}">
                    <a16:creationId xmlns:a16="http://schemas.microsoft.com/office/drawing/2014/main" id="{F3058796-97F8-47B0-9F53-A844426849A7}"/>
                  </a:ext>
                </a:extLst>
              </p:cNvPr>
              <p:cNvSpPr/>
              <p:nvPr/>
            </p:nvSpPr>
            <p:spPr>
              <a:xfrm>
                <a:off x="5517594" y="1153123"/>
                <a:ext cx="116863" cy="614519"/>
              </a:xfrm>
              <a:custGeom>
                <a:avLst/>
                <a:gdLst>
                  <a:gd name="connsiteX0" fmla="*/ 2990 w 116863"/>
                  <a:gd name="connsiteY0" fmla="*/ 0 h 614519"/>
                  <a:gd name="connsiteX1" fmla="*/ 116864 w 116863"/>
                  <a:gd name="connsiteY1" fmla="*/ 613981 h 614519"/>
                  <a:gd name="connsiteX2" fmla="*/ 113873 w 116863"/>
                  <a:gd name="connsiteY2" fmla="*/ 614519 h 614519"/>
                  <a:gd name="connsiteX3" fmla="*/ 0 w 116863"/>
                  <a:gd name="connsiteY3" fmla="*/ 538 h 614519"/>
                </a:gdLst>
                <a:ahLst/>
                <a:cxnLst>
                  <a:cxn ang="0">
                    <a:pos x="connsiteX0" y="connsiteY0"/>
                  </a:cxn>
                  <a:cxn ang="0">
                    <a:pos x="connsiteX1" y="connsiteY1"/>
                  </a:cxn>
                  <a:cxn ang="0">
                    <a:pos x="connsiteX2" y="connsiteY2"/>
                  </a:cxn>
                  <a:cxn ang="0">
                    <a:pos x="connsiteX3" y="connsiteY3"/>
                  </a:cxn>
                </a:cxnLst>
                <a:rect l="l" t="t" r="r" b="b"/>
                <a:pathLst>
                  <a:path w="116863" h="614519">
                    <a:moveTo>
                      <a:pt x="2990" y="0"/>
                    </a:moveTo>
                    <a:lnTo>
                      <a:pt x="116864" y="613981"/>
                    </a:lnTo>
                    <a:lnTo>
                      <a:pt x="113873" y="614519"/>
                    </a:lnTo>
                    <a:lnTo>
                      <a:pt x="0" y="538"/>
                    </a:lnTo>
                    <a:close/>
                  </a:path>
                </a:pathLst>
              </a:custGeom>
              <a:grpFill/>
              <a:ln w="5978" cap="flat">
                <a:noFill/>
                <a:prstDash val="solid"/>
                <a:miter/>
              </a:ln>
            </p:spPr>
            <p:txBody>
              <a:bodyPr rtlCol="0" anchor="ctr"/>
              <a:lstStyle/>
              <a:p>
                <a:endParaRPr lang="en-GB"/>
              </a:p>
            </p:txBody>
          </p:sp>
          <p:sp>
            <p:nvSpPr>
              <p:cNvPr id="3458" name="Vrije vorm: vorm 3457">
                <a:extLst>
                  <a:ext uri="{FF2B5EF4-FFF2-40B4-BE49-F238E27FC236}">
                    <a16:creationId xmlns:a16="http://schemas.microsoft.com/office/drawing/2014/main" id="{3F24070B-E4D0-4035-BFE8-09324A501F3C}"/>
                  </a:ext>
                </a:extLst>
              </p:cNvPr>
              <p:cNvSpPr/>
              <p:nvPr/>
            </p:nvSpPr>
            <p:spPr>
              <a:xfrm>
                <a:off x="5623646" y="1757689"/>
                <a:ext cx="18392" cy="18414"/>
              </a:xfrm>
              <a:custGeom>
                <a:avLst/>
                <a:gdLst>
                  <a:gd name="connsiteX0" fmla="*/ 18227 w 18392"/>
                  <a:gd name="connsiteY0" fmla="*/ 7561 h 18414"/>
                  <a:gd name="connsiteX1" fmla="*/ 10871 w 18392"/>
                  <a:gd name="connsiteY1" fmla="*/ 18267 h 18414"/>
                  <a:gd name="connsiteX2" fmla="*/ 165 w 18392"/>
                  <a:gd name="connsiteY2" fmla="*/ 10851 h 18414"/>
                  <a:gd name="connsiteX3" fmla="*/ 7522 w 18392"/>
                  <a:gd name="connsiteY3" fmla="*/ 145 h 18414"/>
                  <a:gd name="connsiteX4" fmla="*/ 18227 w 18392"/>
                  <a:gd name="connsiteY4" fmla="*/ 7561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14">
                    <a:moveTo>
                      <a:pt x="18227" y="7561"/>
                    </a:moveTo>
                    <a:cubicBezTo>
                      <a:pt x="19184" y="12585"/>
                      <a:pt x="15895" y="17370"/>
                      <a:pt x="10871" y="18267"/>
                    </a:cubicBezTo>
                    <a:cubicBezTo>
                      <a:pt x="5907" y="19164"/>
                      <a:pt x="1123" y="15875"/>
                      <a:pt x="165" y="10851"/>
                    </a:cubicBezTo>
                    <a:cubicBezTo>
                      <a:pt x="-791" y="5827"/>
                      <a:pt x="2498" y="1043"/>
                      <a:pt x="7522" y="145"/>
                    </a:cubicBezTo>
                    <a:cubicBezTo>
                      <a:pt x="12546" y="-752"/>
                      <a:pt x="17330" y="2597"/>
                      <a:pt x="18227" y="7561"/>
                    </a:cubicBezTo>
                    <a:close/>
                  </a:path>
                </a:pathLst>
              </a:custGeom>
              <a:grpFill/>
              <a:ln w="5978" cap="flat">
                <a:noFill/>
                <a:prstDash val="solid"/>
                <a:miter/>
              </a:ln>
            </p:spPr>
            <p:txBody>
              <a:bodyPr rtlCol="0" anchor="ctr"/>
              <a:lstStyle/>
              <a:p>
                <a:endParaRPr lang="en-GB"/>
              </a:p>
            </p:txBody>
          </p:sp>
          <p:sp>
            <p:nvSpPr>
              <p:cNvPr id="3459" name="Vrije vorm: vorm 3458">
                <a:extLst>
                  <a:ext uri="{FF2B5EF4-FFF2-40B4-BE49-F238E27FC236}">
                    <a16:creationId xmlns:a16="http://schemas.microsoft.com/office/drawing/2014/main" id="{D319F4A2-C207-4C08-ADC9-3FF124B7E5BF}"/>
                  </a:ext>
                </a:extLst>
              </p:cNvPr>
              <p:cNvSpPr/>
              <p:nvPr/>
            </p:nvSpPr>
            <p:spPr>
              <a:xfrm>
                <a:off x="5509971" y="1144663"/>
                <a:ext cx="18356" cy="18416"/>
              </a:xfrm>
              <a:custGeom>
                <a:avLst/>
                <a:gdLst>
                  <a:gd name="connsiteX0" fmla="*/ 18209 w 18356"/>
                  <a:gd name="connsiteY0" fmla="*/ 7563 h 18416"/>
                  <a:gd name="connsiteX1" fmla="*/ 7504 w 18356"/>
                  <a:gd name="connsiteY1" fmla="*/ 147 h 18416"/>
                  <a:gd name="connsiteX2" fmla="*/ 147 w 18356"/>
                  <a:gd name="connsiteY2" fmla="*/ 10853 h 18416"/>
                  <a:gd name="connsiteX3" fmla="*/ 10853 w 18356"/>
                  <a:gd name="connsiteY3" fmla="*/ 18269 h 18416"/>
                  <a:gd name="connsiteX4" fmla="*/ 18209 w 18356"/>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16">
                    <a:moveTo>
                      <a:pt x="18209" y="7563"/>
                    </a:moveTo>
                    <a:cubicBezTo>
                      <a:pt x="17252" y="2540"/>
                      <a:pt x="12468" y="-750"/>
                      <a:pt x="7504" y="147"/>
                    </a:cubicBezTo>
                    <a:cubicBezTo>
                      <a:pt x="2540" y="1044"/>
                      <a:pt x="-750" y="5889"/>
                      <a:pt x="147" y="10853"/>
                    </a:cubicBezTo>
                    <a:cubicBezTo>
                      <a:pt x="1045" y="15877"/>
                      <a:pt x="5889" y="19166"/>
                      <a:pt x="10853" y="18269"/>
                    </a:cubicBezTo>
                    <a:cubicBezTo>
                      <a:pt x="15817" y="17372"/>
                      <a:pt x="19107" y="12527"/>
                      <a:pt x="18209" y="7563"/>
                    </a:cubicBezTo>
                    <a:close/>
                  </a:path>
                </a:pathLst>
              </a:custGeom>
              <a:grpFill/>
              <a:ln w="5978" cap="flat">
                <a:noFill/>
                <a:prstDash val="solid"/>
                <a:miter/>
              </a:ln>
            </p:spPr>
            <p:txBody>
              <a:bodyPr rtlCol="0" anchor="ctr"/>
              <a:lstStyle/>
              <a:p>
                <a:endParaRPr lang="en-GB"/>
              </a:p>
            </p:txBody>
          </p:sp>
        </p:grpSp>
        <p:grpSp>
          <p:nvGrpSpPr>
            <p:cNvPr id="645" name="Graphic 3">
              <a:extLst>
                <a:ext uri="{FF2B5EF4-FFF2-40B4-BE49-F238E27FC236}">
                  <a16:creationId xmlns:a16="http://schemas.microsoft.com/office/drawing/2014/main" id="{14F8A1C3-42E6-4767-9AB2-D39137A11572}"/>
                </a:ext>
              </a:extLst>
            </p:cNvPr>
            <p:cNvGrpSpPr/>
            <p:nvPr/>
          </p:nvGrpSpPr>
          <p:grpSpPr>
            <a:xfrm>
              <a:off x="5481001" y="1203434"/>
              <a:ext cx="29946" cy="63610"/>
              <a:chOff x="5481001" y="1203434"/>
              <a:chExt cx="29946" cy="63610"/>
            </a:xfrm>
            <a:grpFill/>
          </p:grpSpPr>
          <p:sp>
            <p:nvSpPr>
              <p:cNvPr id="3454" name="Vrije vorm: vorm 3453">
                <a:extLst>
                  <a:ext uri="{FF2B5EF4-FFF2-40B4-BE49-F238E27FC236}">
                    <a16:creationId xmlns:a16="http://schemas.microsoft.com/office/drawing/2014/main" id="{1120B2EB-DCE8-48A7-A814-857E7AEB43A3}"/>
                  </a:ext>
                </a:extLst>
              </p:cNvPr>
              <p:cNvSpPr/>
              <p:nvPr/>
            </p:nvSpPr>
            <p:spPr>
              <a:xfrm>
                <a:off x="5488644" y="1211642"/>
                <a:ext cx="14775" cy="46873"/>
              </a:xfrm>
              <a:custGeom>
                <a:avLst/>
                <a:gdLst>
                  <a:gd name="connsiteX0" fmla="*/ 0 w 14775"/>
                  <a:gd name="connsiteY0" fmla="*/ 757 h 46873"/>
                  <a:gd name="connsiteX1" fmla="*/ 2955 w 14775"/>
                  <a:gd name="connsiteY1" fmla="*/ 0 h 46873"/>
                  <a:gd name="connsiteX2" fmla="*/ 14775 w 14775"/>
                  <a:gd name="connsiteY2" fmla="*/ 46116 h 46873"/>
                  <a:gd name="connsiteX3" fmla="*/ 11821 w 14775"/>
                  <a:gd name="connsiteY3" fmla="*/ 46874 h 46873"/>
                </a:gdLst>
                <a:ahLst/>
                <a:cxnLst>
                  <a:cxn ang="0">
                    <a:pos x="connsiteX0" y="connsiteY0"/>
                  </a:cxn>
                  <a:cxn ang="0">
                    <a:pos x="connsiteX1" y="connsiteY1"/>
                  </a:cxn>
                  <a:cxn ang="0">
                    <a:pos x="connsiteX2" y="connsiteY2"/>
                  </a:cxn>
                  <a:cxn ang="0">
                    <a:pos x="connsiteX3" y="connsiteY3"/>
                  </a:cxn>
                </a:cxnLst>
                <a:rect l="l" t="t" r="r" b="b"/>
                <a:pathLst>
                  <a:path w="14775" h="46873">
                    <a:moveTo>
                      <a:pt x="0" y="757"/>
                    </a:moveTo>
                    <a:lnTo>
                      <a:pt x="2955" y="0"/>
                    </a:lnTo>
                    <a:lnTo>
                      <a:pt x="14775" y="46116"/>
                    </a:lnTo>
                    <a:lnTo>
                      <a:pt x="11821" y="46874"/>
                    </a:lnTo>
                    <a:close/>
                  </a:path>
                </a:pathLst>
              </a:custGeom>
              <a:grpFill/>
              <a:ln w="5978" cap="flat">
                <a:noFill/>
                <a:prstDash val="solid"/>
                <a:miter/>
              </a:ln>
            </p:spPr>
            <p:txBody>
              <a:bodyPr rtlCol="0" anchor="ctr"/>
              <a:lstStyle/>
              <a:p>
                <a:endParaRPr lang="en-GB"/>
              </a:p>
            </p:txBody>
          </p:sp>
          <p:sp>
            <p:nvSpPr>
              <p:cNvPr id="3455" name="Vrije vorm: vorm 3454">
                <a:extLst>
                  <a:ext uri="{FF2B5EF4-FFF2-40B4-BE49-F238E27FC236}">
                    <a16:creationId xmlns:a16="http://schemas.microsoft.com/office/drawing/2014/main" id="{704B1471-D319-4FF7-BED5-157B89F5632F}"/>
                  </a:ext>
                </a:extLst>
              </p:cNvPr>
              <p:cNvSpPr/>
              <p:nvPr/>
            </p:nvSpPr>
            <p:spPr>
              <a:xfrm>
                <a:off x="5492603" y="1248648"/>
                <a:ext cx="18343" cy="18395"/>
              </a:xfrm>
              <a:custGeom>
                <a:avLst/>
                <a:gdLst>
                  <a:gd name="connsiteX0" fmla="*/ 18053 w 18343"/>
                  <a:gd name="connsiteY0" fmla="*/ 6925 h 18395"/>
                  <a:gd name="connsiteX1" fmla="*/ 11474 w 18343"/>
                  <a:gd name="connsiteY1" fmla="*/ 18109 h 18395"/>
                  <a:gd name="connsiteX2" fmla="*/ 290 w 18343"/>
                  <a:gd name="connsiteY2" fmla="*/ 11471 h 18395"/>
                  <a:gd name="connsiteX3" fmla="*/ 6869 w 18343"/>
                  <a:gd name="connsiteY3" fmla="*/ 287 h 18395"/>
                  <a:gd name="connsiteX4" fmla="*/ 18053 w 18343"/>
                  <a:gd name="connsiteY4" fmla="*/ 6925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18053" y="6925"/>
                    </a:moveTo>
                    <a:cubicBezTo>
                      <a:pt x="19309" y="11829"/>
                      <a:pt x="16379" y="16853"/>
                      <a:pt x="11474" y="18109"/>
                    </a:cubicBezTo>
                    <a:cubicBezTo>
                      <a:pt x="6571" y="19365"/>
                      <a:pt x="1547" y="16375"/>
                      <a:pt x="290" y="11471"/>
                    </a:cubicBezTo>
                    <a:cubicBezTo>
                      <a:pt x="-965" y="6566"/>
                      <a:pt x="1965" y="1543"/>
                      <a:pt x="6869" y="287"/>
                    </a:cubicBezTo>
                    <a:cubicBezTo>
                      <a:pt x="11774" y="-969"/>
                      <a:pt x="16797" y="2021"/>
                      <a:pt x="18053" y="6925"/>
                    </a:cubicBezTo>
                    <a:close/>
                  </a:path>
                </a:pathLst>
              </a:custGeom>
              <a:grpFill/>
              <a:ln w="5978" cap="flat">
                <a:noFill/>
                <a:prstDash val="solid"/>
                <a:miter/>
              </a:ln>
            </p:spPr>
            <p:txBody>
              <a:bodyPr rtlCol="0" anchor="ctr"/>
              <a:lstStyle/>
              <a:p>
                <a:endParaRPr lang="en-GB"/>
              </a:p>
            </p:txBody>
          </p:sp>
          <p:sp>
            <p:nvSpPr>
              <p:cNvPr id="3456" name="Vrije vorm: vorm 3455">
                <a:extLst>
                  <a:ext uri="{FF2B5EF4-FFF2-40B4-BE49-F238E27FC236}">
                    <a16:creationId xmlns:a16="http://schemas.microsoft.com/office/drawing/2014/main" id="{6DC25708-9E8F-41F6-B268-D1A81B6B992E}"/>
                  </a:ext>
                </a:extLst>
              </p:cNvPr>
              <p:cNvSpPr/>
              <p:nvPr/>
            </p:nvSpPr>
            <p:spPr>
              <a:xfrm>
                <a:off x="5481001" y="1203434"/>
                <a:ext cx="18343" cy="18395"/>
              </a:xfrm>
              <a:custGeom>
                <a:avLst/>
                <a:gdLst>
                  <a:gd name="connsiteX0" fmla="*/ 18053 w 18343"/>
                  <a:gd name="connsiteY0" fmla="*/ 6925 h 18395"/>
                  <a:gd name="connsiteX1" fmla="*/ 6869 w 18343"/>
                  <a:gd name="connsiteY1" fmla="*/ 287 h 18395"/>
                  <a:gd name="connsiteX2" fmla="*/ 290 w 18343"/>
                  <a:gd name="connsiteY2" fmla="*/ 11471 h 18395"/>
                  <a:gd name="connsiteX3" fmla="*/ 11474 w 18343"/>
                  <a:gd name="connsiteY3" fmla="*/ 18109 h 18395"/>
                  <a:gd name="connsiteX4" fmla="*/ 18053 w 18343"/>
                  <a:gd name="connsiteY4" fmla="*/ 6925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18053" y="6925"/>
                    </a:moveTo>
                    <a:cubicBezTo>
                      <a:pt x="16797" y="2021"/>
                      <a:pt x="11774" y="-969"/>
                      <a:pt x="6869" y="287"/>
                    </a:cubicBezTo>
                    <a:cubicBezTo>
                      <a:pt x="1965" y="1543"/>
                      <a:pt x="-965" y="6566"/>
                      <a:pt x="290" y="11471"/>
                    </a:cubicBezTo>
                    <a:cubicBezTo>
                      <a:pt x="1547" y="16375"/>
                      <a:pt x="6571" y="19365"/>
                      <a:pt x="11474" y="18109"/>
                    </a:cubicBezTo>
                    <a:cubicBezTo>
                      <a:pt x="16379" y="16853"/>
                      <a:pt x="19309" y="11889"/>
                      <a:pt x="18053" y="6925"/>
                    </a:cubicBezTo>
                    <a:close/>
                  </a:path>
                </a:pathLst>
              </a:custGeom>
              <a:grpFill/>
              <a:ln w="5978" cap="flat">
                <a:noFill/>
                <a:prstDash val="solid"/>
                <a:miter/>
              </a:ln>
            </p:spPr>
            <p:txBody>
              <a:bodyPr rtlCol="0" anchor="ctr"/>
              <a:lstStyle/>
              <a:p>
                <a:endParaRPr lang="en-GB"/>
              </a:p>
            </p:txBody>
          </p:sp>
        </p:grpSp>
        <p:grpSp>
          <p:nvGrpSpPr>
            <p:cNvPr id="646" name="Graphic 3">
              <a:extLst>
                <a:ext uri="{FF2B5EF4-FFF2-40B4-BE49-F238E27FC236}">
                  <a16:creationId xmlns:a16="http://schemas.microsoft.com/office/drawing/2014/main" id="{93EA4076-4779-477B-9FBC-B2FA09945E55}"/>
                </a:ext>
              </a:extLst>
            </p:cNvPr>
            <p:cNvGrpSpPr/>
            <p:nvPr/>
          </p:nvGrpSpPr>
          <p:grpSpPr>
            <a:xfrm>
              <a:off x="5481061" y="1203434"/>
              <a:ext cx="76177" cy="244168"/>
              <a:chOff x="5481061" y="1203434"/>
              <a:chExt cx="76177" cy="244168"/>
            </a:xfrm>
            <a:grpFill/>
          </p:grpSpPr>
          <p:sp>
            <p:nvSpPr>
              <p:cNvPr id="3451" name="Vrije vorm: vorm 3450">
                <a:extLst>
                  <a:ext uri="{FF2B5EF4-FFF2-40B4-BE49-F238E27FC236}">
                    <a16:creationId xmlns:a16="http://schemas.microsoft.com/office/drawing/2014/main" id="{E286CE80-FBC1-450C-ACFC-C5DD5BFFDFBB}"/>
                  </a:ext>
                </a:extLst>
              </p:cNvPr>
              <p:cNvSpPr/>
              <p:nvPr/>
            </p:nvSpPr>
            <p:spPr>
              <a:xfrm>
                <a:off x="5488563" y="1211863"/>
                <a:ext cx="61039" cy="227457"/>
              </a:xfrm>
              <a:custGeom>
                <a:avLst/>
                <a:gdLst>
                  <a:gd name="connsiteX0" fmla="*/ 0 w 61039"/>
                  <a:gd name="connsiteY0" fmla="*/ 757 h 227457"/>
                  <a:gd name="connsiteX1" fmla="*/ 2955 w 61039"/>
                  <a:gd name="connsiteY1" fmla="*/ 0 h 227457"/>
                  <a:gd name="connsiteX2" fmla="*/ 61040 w 61039"/>
                  <a:gd name="connsiteY2" fmla="*/ 226701 h 227457"/>
                  <a:gd name="connsiteX3" fmla="*/ 58085 w 61039"/>
                  <a:gd name="connsiteY3" fmla="*/ 227458 h 227457"/>
                </a:gdLst>
                <a:ahLst/>
                <a:cxnLst>
                  <a:cxn ang="0">
                    <a:pos x="connsiteX0" y="connsiteY0"/>
                  </a:cxn>
                  <a:cxn ang="0">
                    <a:pos x="connsiteX1" y="connsiteY1"/>
                  </a:cxn>
                  <a:cxn ang="0">
                    <a:pos x="connsiteX2" y="connsiteY2"/>
                  </a:cxn>
                  <a:cxn ang="0">
                    <a:pos x="connsiteX3" y="connsiteY3"/>
                  </a:cxn>
                </a:cxnLst>
                <a:rect l="l" t="t" r="r" b="b"/>
                <a:pathLst>
                  <a:path w="61039" h="227457">
                    <a:moveTo>
                      <a:pt x="0" y="757"/>
                    </a:moveTo>
                    <a:lnTo>
                      <a:pt x="2955" y="0"/>
                    </a:lnTo>
                    <a:lnTo>
                      <a:pt x="61040" y="226701"/>
                    </a:lnTo>
                    <a:lnTo>
                      <a:pt x="58085" y="227458"/>
                    </a:lnTo>
                    <a:close/>
                  </a:path>
                </a:pathLst>
              </a:custGeom>
              <a:grpFill/>
              <a:ln w="5978" cap="flat">
                <a:noFill/>
                <a:prstDash val="solid"/>
                <a:miter/>
              </a:ln>
            </p:spPr>
            <p:txBody>
              <a:bodyPr rtlCol="0" anchor="ctr"/>
              <a:lstStyle/>
              <a:p>
                <a:endParaRPr lang="en-GB"/>
              </a:p>
            </p:txBody>
          </p:sp>
          <p:sp>
            <p:nvSpPr>
              <p:cNvPr id="3452" name="Vrije vorm: vorm 3451">
                <a:extLst>
                  <a:ext uri="{FF2B5EF4-FFF2-40B4-BE49-F238E27FC236}">
                    <a16:creationId xmlns:a16="http://schemas.microsoft.com/office/drawing/2014/main" id="{8973CC16-4ABA-4A76-A7AB-2FB4A19C0ED1}"/>
                  </a:ext>
                </a:extLst>
              </p:cNvPr>
              <p:cNvSpPr/>
              <p:nvPr/>
            </p:nvSpPr>
            <p:spPr>
              <a:xfrm>
                <a:off x="5481061" y="1203434"/>
                <a:ext cx="18343" cy="18395"/>
              </a:xfrm>
              <a:custGeom>
                <a:avLst/>
                <a:gdLst>
                  <a:gd name="connsiteX0" fmla="*/ 290 w 18343"/>
                  <a:gd name="connsiteY0" fmla="*/ 11471 h 18395"/>
                  <a:gd name="connsiteX1" fmla="*/ 6869 w 18343"/>
                  <a:gd name="connsiteY1" fmla="*/ 287 h 18395"/>
                  <a:gd name="connsiteX2" fmla="*/ 18053 w 18343"/>
                  <a:gd name="connsiteY2" fmla="*/ 6925 h 18395"/>
                  <a:gd name="connsiteX3" fmla="*/ 11474 w 18343"/>
                  <a:gd name="connsiteY3" fmla="*/ 18109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965" y="6566"/>
                      <a:pt x="1965" y="1543"/>
                      <a:pt x="6869" y="287"/>
                    </a:cubicBezTo>
                    <a:cubicBezTo>
                      <a:pt x="11773" y="-969"/>
                      <a:pt x="16797" y="2021"/>
                      <a:pt x="18053" y="6925"/>
                    </a:cubicBezTo>
                    <a:cubicBezTo>
                      <a:pt x="19309" y="11829"/>
                      <a:pt x="16379" y="16853"/>
                      <a:pt x="11474" y="18109"/>
                    </a:cubicBezTo>
                    <a:cubicBezTo>
                      <a:pt x="6511" y="19365"/>
                      <a:pt x="1547" y="16375"/>
                      <a:pt x="290" y="11471"/>
                    </a:cubicBezTo>
                    <a:close/>
                  </a:path>
                </a:pathLst>
              </a:custGeom>
              <a:grpFill/>
              <a:ln w="5978" cap="flat">
                <a:noFill/>
                <a:prstDash val="solid"/>
                <a:miter/>
              </a:ln>
            </p:spPr>
            <p:txBody>
              <a:bodyPr rtlCol="0" anchor="ctr"/>
              <a:lstStyle/>
              <a:p>
                <a:endParaRPr lang="en-GB"/>
              </a:p>
            </p:txBody>
          </p:sp>
          <p:sp>
            <p:nvSpPr>
              <p:cNvPr id="3453" name="Vrije vorm: vorm 3452">
                <a:extLst>
                  <a:ext uri="{FF2B5EF4-FFF2-40B4-BE49-F238E27FC236}">
                    <a16:creationId xmlns:a16="http://schemas.microsoft.com/office/drawing/2014/main" id="{605E9FE8-D558-4794-BCE8-88E722D8C092}"/>
                  </a:ext>
                </a:extLst>
              </p:cNvPr>
              <p:cNvSpPr/>
              <p:nvPr/>
            </p:nvSpPr>
            <p:spPr>
              <a:xfrm>
                <a:off x="5538894" y="1429206"/>
                <a:ext cx="18343" cy="18395"/>
              </a:xfrm>
              <a:custGeom>
                <a:avLst/>
                <a:gdLst>
                  <a:gd name="connsiteX0" fmla="*/ 290 w 18343"/>
                  <a:gd name="connsiteY0" fmla="*/ 11471 h 18395"/>
                  <a:gd name="connsiteX1" fmla="*/ 11475 w 18343"/>
                  <a:gd name="connsiteY1" fmla="*/ 18109 h 18395"/>
                  <a:gd name="connsiteX2" fmla="*/ 18053 w 18343"/>
                  <a:gd name="connsiteY2" fmla="*/ 6925 h 18395"/>
                  <a:gd name="connsiteX3" fmla="*/ 6869 w 18343"/>
                  <a:gd name="connsiteY3" fmla="*/ 287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1547" y="16375"/>
                      <a:pt x="6571" y="19365"/>
                      <a:pt x="11475" y="18109"/>
                    </a:cubicBezTo>
                    <a:cubicBezTo>
                      <a:pt x="16379" y="16853"/>
                      <a:pt x="19309" y="11829"/>
                      <a:pt x="18053" y="6925"/>
                    </a:cubicBezTo>
                    <a:cubicBezTo>
                      <a:pt x="16797" y="2021"/>
                      <a:pt x="11774" y="-969"/>
                      <a:pt x="6869" y="287"/>
                    </a:cubicBezTo>
                    <a:cubicBezTo>
                      <a:pt x="1965" y="1543"/>
                      <a:pt x="-965" y="6566"/>
                      <a:pt x="290" y="11471"/>
                    </a:cubicBezTo>
                    <a:close/>
                  </a:path>
                </a:pathLst>
              </a:custGeom>
              <a:grpFill/>
              <a:ln w="5978" cap="flat">
                <a:noFill/>
                <a:prstDash val="solid"/>
                <a:miter/>
              </a:ln>
            </p:spPr>
            <p:txBody>
              <a:bodyPr rtlCol="0" anchor="ctr"/>
              <a:lstStyle/>
              <a:p>
                <a:endParaRPr lang="en-GB"/>
              </a:p>
            </p:txBody>
          </p:sp>
        </p:grpSp>
        <p:grpSp>
          <p:nvGrpSpPr>
            <p:cNvPr id="647" name="Graphic 3">
              <a:extLst>
                <a:ext uri="{FF2B5EF4-FFF2-40B4-BE49-F238E27FC236}">
                  <a16:creationId xmlns:a16="http://schemas.microsoft.com/office/drawing/2014/main" id="{3AC1BDB3-4E43-4747-AFB4-BEA5BF0CE76A}"/>
                </a:ext>
              </a:extLst>
            </p:cNvPr>
            <p:cNvGrpSpPr/>
            <p:nvPr/>
          </p:nvGrpSpPr>
          <p:grpSpPr>
            <a:xfrm>
              <a:off x="6713919" y="4951849"/>
              <a:ext cx="74568" cy="148419"/>
              <a:chOff x="6713919" y="4951849"/>
              <a:chExt cx="74568" cy="148419"/>
            </a:xfrm>
            <a:grpFill/>
          </p:grpSpPr>
          <p:sp>
            <p:nvSpPr>
              <p:cNvPr id="3448" name="Vrije vorm: vorm 3447">
                <a:extLst>
                  <a:ext uri="{FF2B5EF4-FFF2-40B4-BE49-F238E27FC236}">
                    <a16:creationId xmlns:a16="http://schemas.microsoft.com/office/drawing/2014/main" id="{6952BA86-0DD9-462E-97FC-37FC8594BD67}"/>
                  </a:ext>
                </a:extLst>
              </p:cNvPr>
              <p:cNvSpPr/>
              <p:nvPr/>
            </p:nvSpPr>
            <p:spPr>
              <a:xfrm>
                <a:off x="6721514" y="4960032"/>
                <a:ext cx="59388" cy="132054"/>
              </a:xfrm>
              <a:custGeom>
                <a:avLst/>
                <a:gdLst>
                  <a:gd name="connsiteX0" fmla="*/ 59389 w 59388"/>
                  <a:gd name="connsiteY0" fmla="*/ 130858 h 132054"/>
                  <a:gd name="connsiteX1" fmla="*/ 56638 w 59388"/>
                  <a:gd name="connsiteY1" fmla="*/ 132054 h 132054"/>
                  <a:gd name="connsiteX2" fmla="*/ 0 w 59388"/>
                  <a:gd name="connsiteY2" fmla="*/ 1196 h 132054"/>
                  <a:gd name="connsiteX3" fmla="*/ 2811 w 59388"/>
                  <a:gd name="connsiteY3" fmla="*/ 0 h 132054"/>
                </a:gdLst>
                <a:ahLst/>
                <a:cxnLst>
                  <a:cxn ang="0">
                    <a:pos x="connsiteX0" y="connsiteY0"/>
                  </a:cxn>
                  <a:cxn ang="0">
                    <a:pos x="connsiteX1" y="connsiteY1"/>
                  </a:cxn>
                  <a:cxn ang="0">
                    <a:pos x="connsiteX2" y="connsiteY2"/>
                  </a:cxn>
                  <a:cxn ang="0">
                    <a:pos x="connsiteX3" y="connsiteY3"/>
                  </a:cxn>
                </a:cxnLst>
                <a:rect l="l" t="t" r="r" b="b"/>
                <a:pathLst>
                  <a:path w="59388" h="132054">
                    <a:moveTo>
                      <a:pt x="59389" y="130858"/>
                    </a:moveTo>
                    <a:lnTo>
                      <a:pt x="56638" y="132054"/>
                    </a:lnTo>
                    <a:lnTo>
                      <a:pt x="0" y="1196"/>
                    </a:lnTo>
                    <a:lnTo>
                      <a:pt x="2811" y="0"/>
                    </a:lnTo>
                    <a:close/>
                  </a:path>
                </a:pathLst>
              </a:custGeom>
              <a:grpFill/>
              <a:ln w="5978" cap="flat">
                <a:noFill/>
                <a:prstDash val="solid"/>
                <a:miter/>
              </a:ln>
            </p:spPr>
            <p:txBody>
              <a:bodyPr rtlCol="0" anchor="ctr"/>
              <a:lstStyle/>
              <a:p>
                <a:endParaRPr lang="en-GB"/>
              </a:p>
            </p:txBody>
          </p:sp>
          <p:sp>
            <p:nvSpPr>
              <p:cNvPr id="3449" name="Vrije vorm: vorm 3448">
                <a:extLst>
                  <a:ext uri="{FF2B5EF4-FFF2-40B4-BE49-F238E27FC236}">
                    <a16:creationId xmlns:a16="http://schemas.microsoft.com/office/drawing/2014/main" id="{D0E47816-290E-4E65-AC2D-E09D41378DE3}"/>
                  </a:ext>
                </a:extLst>
              </p:cNvPr>
              <p:cNvSpPr/>
              <p:nvPr/>
            </p:nvSpPr>
            <p:spPr>
              <a:xfrm>
                <a:off x="6770147" y="5081870"/>
                <a:ext cx="18341" cy="18398"/>
              </a:xfrm>
              <a:custGeom>
                <a:avLst/>
                <a:gdLst>
                  <a:gd name="connsiteX0" fmla="*/ 17573 w 18341"/>
                  <a:gd name="connsiteY0" fmla="*/ 5551 h 18398"/>
                  <a:gd name="connsiteX1" fmla="*/ 12849 w 18341"/>
                  <a:gd name="connsiteY1" fmla="*/ 17632 h 18398"/>
                  <a:gd name="connsiteX2" fmla="*/ 768 w 18341"/>
                  <a:gd name="connsiteY2" fmla="*/ 12848 h 18398"/>
                  <a:gd name="connsiteX3" fmla="*/ 5493 w 18341"/>
                  <a:gd name="connsiteY3" fmla="*/ 767 h 18398"/>
                  <a:gd name="connsiteX4" fmla="*/ 17573 w 18341"/>
                  <a:gd name="connsiteY4" fmla="*/ 555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8">
                    <a:moveTo>
                      <a:pt x="17573" y="5551"/>
                    </a:moveTo>
                    <a:cubicBezTo>
                      <a:pt x="19607" y="10216"/>
                      <a:pt x="17454" y="15659"/>
                      <a:pt x="12849" y="17632"/>
                    </a:cubicBezTo>
                    <a:cubicBezTo>
                      <a:pt x="8184" y="19666"/>
                      <a:pt x="2801" y="17513"/>
                      <a:pt x="768" y="12848"/>
                    </a:cubicBezTo>
                    <a:cubicBezTo>
                      <a:pt x="-1266" y="8183"/>
                      <a:pt x="887" y="2740"/>
                      <a:pt x="5493" y="767"/>
                    </a:cubicBezTo>
                    <a:cubicBezTo>
                      <a:pt x="10157" y="-1267"/>
                      <a:pt x="15600" y="886"/>
                      <a:pt x="17573" y="5551"/>
                    </a:cubicBezTo>
                    <a:close/>
                  </a:path>
                </a:pathLst>
              </a:custGeom>
              <a:grpFill/>
              <a:ln w="5978" cap="flat">
                <a:noFill/>
                <a:prstDash val="solid"/>
                <a:miter/>
              </a:ln>
            </p:spPr>
            <p:txBody>
              <a:bodyPr rtlCol="0" anchor="ctr"/>
              <a:lstStyle/>
              <a:p>
                <a:endParaRPr lang="en-GB"/>
              </a:p>
            </p:txBody>
          </p:sp>
          <p:sp>
            <p:nvSpPr>
              <p:cNvPr id="3450" name="Vrije vorm: vorm 3449">
                <a:extLst>
                  <a:ext uri="{FF2B5EF4-FFF2-40B4-BE49-F238E27FC236}">
                    <a16:creationId xmlns:a16="http://schemas.microsoft.com/office/drawing/2014/main" id="{018B690C-4E4E-450E-B489-2480B5895045}"/>
                  </a:ext>
                </a:extLst>
              </p:cNvPr>
              <p:cNvSpPr/>
              <p:nvPr/>
            </p:nvSpPr>
            <p:spPr>
              <a:xfrm>
                <a:off x="6713919" y="4951849"/>
                <a:ext cx="18358" cy="18399"/>
              </a:xfrm>
              <a:custGeom>
                <a:avLst/>
                <a:gdLst>
                  <a:gd name="connsiteX0" fmla="*/ 17582 w 18358"/>
                  <a:gd name="connsiteY0" fmla="*/ 5551 h 18399"/>
                  <a:gd name="connsiteX1" fmla="*/ 5501 w 18358"/>
                  <a:gd name="connsiteY1" fmla="*/ 767 h 18399"/>
                  <a:gd name="connsiteX2" fmla="*/ 777 w 18358"/>
                  <a:gd name="connsiteY2" fmla="*/ 12848 h 18399"/>
                  <a:gd name="connsiteX3" fmla="*/ 12857 w 18358"/>
                  <a:gd name="connsiteY3" fmla="*/ 17632 h 18399"/>
                  <a:gd name="connsiteX4" fmla="*/ 17582 w 18358"/>
                  <a:gd name="connsiteY4" fmla="*/ 5551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399">
                    <a:moveTo>
                      <a:pt x="17582" y="5551"/>
                    </a:moveTo>
                    <a:cubicBezTo>
                      <a:pt x="15549" y="886"/>
                      <a:pt x="10166" y="-1267"/>
                      <a:pt x="5501" y="767"/>
                    </a:cubicBezTo>
                    <a:cubicBezTo>
                      <a:pt x="836" y="2800"/>
                      <a:pt x="-1257" y="8183"/>
                      <a:pt x="777" y="12848"/>
                    </a:cubicBezTo>
                    <a:cubicBezTo>
                      <a:pt x="2810" y="17513"/>
                      <a:pt x="8193" y="19666"/>
                      <a:pt x="12857" y="17632"/>
                    </a:cubicBezTo>
                    <a:cubicBezTo>
                      <a:pt x="17523" y="15659"/>
                      <a:pt x="19616" y="10276"/>
                      <a:pt x="17582" y="5551"/>
                    </a:cubicBezTo>
                    <a:close/>
                  </a:path>
                </a:pathLst>
              </a:custGeom>
              <a:grpFill/>
              <a:ln w="5978" cap="flat">
                <a:noFill/>
                <a:prstDash val="solid"/>
                <a:miter/>
              </a:ln>
            </p:spPr>
            <p:txBody>
              <a:bodyPr rtlCol="0" anchor="ctr"/>
              <a:lstStyle/>
              <a:p>
                <a:endParaRPr lang="en-GB"/>
              </a:p>
            </p:txBody>
          </p:sp>
        </p:grpSp>
        <p:grpSp>
          <p:nvGrpSpPr>
            <p:cNvPr id="648" name="Graphic 3">
              <a:extLst>
                <a:ext uri="{FF2B5EF4-FFF2-40B4-BE49-F238E27FC236}">
                  <a16:creationId xmlns:a16="http://schemas.microsoft.com/office/drawing/2014/main" id="{472856E7-6C05-44B8-A526-EA4753AB97CB}"/>
                </a:ext>
              </a:extLst>
            </p:cNvPr>
            <p:cNvGrpSpPr/>
            <p:nvPr/>
          </p:nvGrpSpPr>
          <p:grpSpPr>
            <a:xfrm>
              <a:off x="6713203" y="4952080"/>
              <a:ext cx="153460" cy="425582"/>
              <a:chOff x="6713203" y="4952080"/>
              <a:chExt cx="153460" cy="425582"/>
            </a:xfrm>
            <a:grpFill/>
          </p:grpSpPr>
          <p:sp>
            <p:nvSpPr>
              <p:cNvPr id="3445" name="Vrije vorm: vorm 3444">
                <a:extLst>
                  <a:ext uri="{FF2B5EF4-FFF2-40B4-BE49-F238E27FC236}">
                    <a16:creationId xmlns:a16="http://schemas.microsoft.com/office/drawing/2014/main" id="{2F99D58C-7D57-43BF-8D88-19C422E7ABE3}"/>
                  </a:ext>
                </a:extLst>
              </p:cNvPr>
              <p:cNvSpPr/>
              <p:nvPr/>
            </p:nvSpPr>
            <p:spPr>
              <a:xfrm>
                <a:off x="6720816" y="4960453"/>
                <a:ext cx="138292" cy="408916"/>
              </a:xfrm>
              <a:custGeom>
                <a:avLst/>
                <a:gdLst>
                  <a:gd name="connsiteX0" fmla="*/ 0 w 138292"/>
                  <a:gd name="connsiteY0" fmla="*/ 961 h 408916"/>
                  <a:gd name="connsiteX1" fmla="*/ 2895 w 138292"/>
                  <a:gd name="connsiteY1" fmla="*/ 0 h 408916"/>
                  <a:gd name="connsiteX2" fmla="*/ 138293 w 138292"/>
                  <a:gd name="connsiteY2" fmla="*/ 407956 h 408916"/>
                  <a:gd name="connsiteX3" fmla="*/ 135398 w 138292"/>
                  <a:gd name="connsiteY3" fmla="*/ 408917 h 408916"/>
                </a:gdLst>
                <a:ahLst/>
                <a:cxnLst>
                  <a:cxn ang="0">
                    <a:pos x="connsiteX0" y="connsiteY0"/>
                  </a:cxn>
                  <a:cxn ang="0">
                    <a:pos x="connsiteX1" y="connsiteY1"/>
                  </a:cxn>
                  <a:cxn ang="0">
                    <a:pos x="connsiteX2" y="connsiteY2"/>
                  </a:cxn>
                  <a:cxn ang="0">
                    <a:pos x="connsiteX3" y="connsiteY3"/>
                  </a:cxn>
                </a:cxnLst>
                <a:rect l="l" t="t" r="r" b="b"/>
                <a:pathLst>
                  <a:path w="138292" h="408916">
                    <a:moveTo>
                      <a:pt x="0" y="961"/>
                    </a:moveTo>
                    <a:lnTo>
                      <a:pt x="2895" y="0"/>
                    </a:lnTo>
                    <a:lnTo>
                      <a:pt x="138293" y="407956"/>
                    </a:lnTo>
                    <a:lnTo>
                      <a:pt x="135398" y="408917"/>
                    </a:lnTo>
                    <a:close/>
                  </a:path>
                </a:pathLst>
              </a:custGeom>
              <a:grpFill/>
              <a:ln w="5978" cap="flat">
                <a:noFill/>
                <a:prstDash val="solid"/>
                <a:miter/>
              </a:ln>
            </p:spPr>
            <p:txBody>
              <a:bodyPr rtlCol="0" anchor="ctr"/>
              <a:lstStyle/>
              <a:p>
                <a:endParaRPr lang="en-GB"/>
              </a:p>
            </p:txBody>
          </p:sp>
          <p:sp>
            <p:nvSpPr>
              <p:cNvPr id="3446" name="Vrije vorm: vorm 3445">
                <a:extLst>
                  <a:ext uri="{FF2B5EF4-FFF2-40B4-BE49-F238E27FC236}">
                    <a16:creationId xmlns:a16="http://schemas.microsoft.com/office/drawing/2014/main" id="{9A4579A4-F1C2-48AE-A395-77B56A0C8295}"/>
                  </a:ext>
                </a:extLst>
              </p:cNvPr>
              <p:cNvSpPr/>
              <p:nvPr/>
            </p:nvSpPr>
            <p:spPr>
              <a:xfrm>
                <a:off x="6713203" y="4952080"/>
                <a:ext cx="18356" cy="18474"/>
              </a:xfrm>
              <a:custGeom>
                <a:avLst/>
                <a:gdLst>
                  <a:gd name="connsiteX0" fmla="*/ 476 w 18356"/>
                  <a:gd name="connsiteY0" fmla="*/ 12138 h 18474"/>
                  <a:gd name="connsiteX1" fmla="*/ 6277 w 18356"/>
                  <a:gd name="connsiteY1" fmla="*/ 476 h 18474"/>
                  <a:gd name="connsiteX2" fmla="*/ 17880 w 18356"/>
                  <a:gd name="connsiteY2" fmla="*/ 6337 h 18474"/>
                  <a:gd name="connsiteX3" fmla="*/ 12079 w 18356"/>
                  <a:gd name="connsiteY3" fmla="*/ 17999 h 18474"/>
                  <a:gd name="connsiteX4" fmla="*/ 476 w 18356"/>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74">
                    <a:moveTo>
                      <a:pt x="476" y="12138"/>
                    </a:moveTo>
                    <a:cubicBezTo>
                      <a:pt x="-1139" y="7294"/>
                      <a:pt x="1493" y="2091"/>
                      <a:pt x="6277" y="476"/>
                    </a:cubicBezTo>
                    <a:cubicBezTo>
                      <a:pt x="11062" y="-1139"/>
                      <a:pt x="16265" y="1492"/>
                      <a:pt x="17880" y="6337"/>
                    </a:cubicBezTo>
                    <a:cubicBezTo>
                      <a:pt x="19495" y="11181"/>
                      <a:pt x="16863" y="16384"/>
                      <a:pt x="12079" y="17999"/>
                    </a:cubicBezTo>
                    <a:cubicBezTo>
                      <a:pt x="7234" y="19614"/>
                      <a:pt x="2091" y="16982"/>
                      <a:pt x="476" y="12138"/>
                    </a:cubicBezTo>
                    <a:close/>
                  </a:path>
                </a:pathLst>
              </a:custGeom>
              <a:grpFill/>
              <a:ln w="5978" cap="flat">
                <a:noFill/>
                <a:prstDash val="solid"/>
                <a:miter/>
              </a:ln>
            </p:spPr>
            <p:txBody>
              <a:bodyPr rtlCol="0" anchor="ctr"/>
              <a:lstStyle/>
              <a:p>
                <a:endParaRPr lang="en-GB"/>
              </a:p>
            </p:txBody>
          </p:sp>
          <p:sp>
            <p:nvSpPr>
              <p:cNvPr id="3447" name="Vrije vorm: vorm 3446">
                <a:extLst>
                  <a:ext uri="{FF2B5EF4-FFF2-40B4-BE49-F238E27FC236}">
                    <a16:creationId xmlns:a16="http://schemas.microsoft.com/office/drawing/2014/main" id="{AADA398E-2F11-433A-A4C3-789B4CE54B03}"/>
                  </a:ext>
                </a:extLst>
              </p:cNvPr>
              <p:cNvSpPr/>
              <p:nvPr/>
            </p:nvSpPr>
            <p:spPr>
              <a:xfrm>
                <a:off x="6848302" y="5359188"/>
                <a:ext cx="18361" cy="18474"/>
              </a:xfrm>
              <a:custGeom>
                <a:avLst/>
                <a:gdLst>
                  <a:gd name="connsiteX0" fmla="*/ 482 w 18361"/>
                  <a:gd name="connsiteY0" fmla="*/ 12138 h 18474"/>
                  <a:gd name="connsiteX1" fmla="*/ 12085 w 18361"/>
                  <a:gd name="connsiteY1" fmla="*/ 17999 h 18474"/>
                  <a:gd name="connsiteX2" fmla="*/ 17886 w 18361"/>
                  <a:gd name="connsiteY2" fmla="*/ 6337 h 18474"/>
                  <a:gd name="connsiteX3" fmla="*/ 6283 w 18361"/>
                  <a:gd name="connsiteY3" fmla="*/ 476 h 18474"/>
                  <a:gd name="connsiteX4" fmla="*/ 482 w 18361"/>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74">
                    <a:moveTo>
                      <a:pt x="482" y="12138"/>
                    </a:moveTo>
                    <a:cubicBezTo>
                      <a:pt x="2097" y="16982"/>
                      <a:pt x="7300" y="19614"/>
                      <a:pt x="12085" y="17999"/>
                    </a:cubicBezTo>
                    <a:cubicBezTo>
                      <a:pt x="16869" y="16384"/>
                      <a:pt x="19501" y="11181"/>
                      <a:pt x="17886" y="6337"/>
                    </a:cubicBezTo>
                    <a:cubicBezTo>
                      <a:pt x="16271" y="1492"/>
                      <a:pt x="11068" y="-1139"/>
                      <a:pt x="6283" y="476"/>
                    </a:cubicBezTo>
                    <a:cubicBezTo>
                      <a:pt x="1439" y="2091"/>
                      <a:pt x="-1133" y="7294"/>
                      <a:pt x="482" y="12138"/>
                    </a:cubicBezTo>
                    <a:close/>
                  </a:path>
                </a:pathLst>
              </a:custGeom>
              <a:grpFill/>
              <a:ln w="5978" cap="flat">
                <a:noFill/>
                <a:prstDash val="solid"/>
                <a:miter/>
              </a:ln>
            </p:spPr>
            <p:txBody>
              <a:bodyPr rtlCol="0" anchor="ctr"/>
              <a:lstStyle/>
              <a:p>
                <a:endParaRPr lang="en-GB"/>
              </a:p>
            </p:txBody>
          </p:sp>
        </p:grpSp>
        <p:grpSp>
          <p:nvGrpSpPr>
            <p:cNvPr id="649" name="Graphic 3">
              <a:extLst>
                <a:ext uri="{FF2B5EF4-FFF2-40B4-BE49-F238E27FC236}">
                  <a16:creationId xmlns:a16="http://schemas.microsoft.com/office/drawing/2014/main" id="{5CE31022-1B9F-47A6-839F-EE02DE090F7C}"/>
                </a:ext>
              </a:extLst>
            </p:cNvPr>
            <p:cNvGrpSpPr/>
            <p:nvPr/>
          </p:nvGrpSpPr>
          <p:grpSpPr>
            <a:xfrm>
              <a:off x="5543499" y="1447088"/>
              <a:ext cx="97947" cy="329154"/>
              <a:chOff x="5543499" y="1447088"/>
              <a:chExt cx="97947" cy="329154"/>
            </a:xfrm>
            <a:grpFill/>
          </p:grpSpPr>
          <p:sp>
            <p:nvSpPr>
              <p:cNvPr id="3442" name="Vrije vorm: vorm 3441">
                <a:extLst>
                  <a:ext uri="{FF2B5EF4-FFF2-40B4-BE49-F238E27FC236}">
                    <a16:creationId xmlns:a16="http://schemas.microsoft.com/office/drawing/2014/main" id="{E1381848-7BB3-46EB-8E74-6C15FAFDDE97}"/>
                  </a:ext>
                </a:extLst>
              </p:cNvPr>
              <p:cNvSpPr/>
              <p:nvPr/>
            </p:nvSpPr>
            <p:spPr>
              <a:xfrm>
                <a:off x="5551105" y="1455397"/>
                <a:ext cx="82833" cy="312391"/>
              </a:xfrm>
              <a:custGeom>
                <a:avLst/>
                <a:gdLst>
                  <a:gd name="connsiteX0" fmla="*/ 0 w 82833"/>
                  <a:gd name="connsiteY0" fmla="*/ 757 h 312391"/>
                  <a:gd name="connsiteX1" fmla="*/ 2955 w 82833"/>
                  <a:gd name="connsiteY1" fmla="*/ 0 h 312391"/>
                  <a:gd name="connsiteX2" fmla="*/ 82834 w 82833"/>
                  <a:gd name="connsiteY2" fmla="*/ 311634 h 312391"/>
                  <a:gd name="connsiteX3" fmla="*/ 79879 w 82833"/>
                  <a:gd name="connsiteY3" fmla="*/ 312391 h 312391"/>
                </a:gdLst>
                <a:ahLst/>
                <a:cxnLst>
                  <a:cxn ang="0">
                    <a:pos x="connsiteX0" y="connsiteY0"/>
                  </a:cxn>
                  <a:cxn ang="0">
                    <a:pos x="connsiteX1" y="connsiteY1"/>
                  </a:cxn>
                  <a:cxn ang="0">
                    <a:pos x="connsiteX2" y="connsiteY2"/>
                  </a:cxn>
                  <a:cxn ang="0">
                    <a:pos x="connsiteX3" y="connsiteY3"/>
                  </a:cxn>
                </a:cxnLst>
                <a:rect l="l" t="t" r="r" b="b"/>
                <a:pathLst>
                  <a:path w="82833" h="312391">
                    <a:moveTo>
                      <a:pt x="0" y="757"/>
                    </a:moveTo>
                    <a:lnTo>
                      <a:pt x="2955" y="0"/>
                    </a:lnTo>
                    <a:lnTo>
                      <a:pt x="82834" y="311634"/>
                    </a:lnTo>
                    <a:lnTo>
                      <a:pt x="79879" y="312391"/>
                    </a:lnTo>
                    <a:close/>
                  </a:path>
                </a:pathLst>
              </a:custGeom>
              <a:grpFill/>
              <a:ln w="5978" cap="flat">
                <a:noFill/>
                <a:prstDash val="solid"/>
                <a:miter/>
              </a:ln>
            </p:spPr>
            <p:txBody>
              <a:bodyPr rtlCol="0" anchor="ctr"/>
              <a:lstStyle/>
              <a:p>
                <a:endParaRPr lang="en-GB"/>
              </a:p>
            </p:txBody>
          </p:sp>
          <p:sp>
            <p:nvSpPr>
              <p:cNvPr id="3443" name="Vrije vorm: vorm 3442">
                <a:extLst>
                  <a:ext uri="{FF2B5EF4-FFF2-40B4-BE49-F238E27FC236}">
                    <a16:creationId xmlns:a16="http://schemas.microsoft.com/office/drawing/2014/main" id="{B54A2E5C-DBC7-4534-817A-9D6ACA1D1BC9}"/>
                  </a:ext>
                </a:extLst>
              </p:cNvPr>
              <p:cNvSpPr/>
              <p:nvPr/>
            </p:nvSpPr>
            <p:spPr>
              <a:xfrm>
                <a:off x="5543499" y="1447088"/>
                <a:ext cx="18343" cy="18395"/>
              </a:xfrm>
              <a:custGeom>
                <a:avLst/>
                <a:gdLst>
                  <a:gd name="connsiteX0" fmla="*/ 290 w 18343"/>
                  <a:gd name="connsiteY0" fmla="*/ 11471 h 18395"/>
                  <a:gd name="connsiteX1" fmla="*/ 6869 w 18343"/>
                  <a:gd name="connsiteY1" fmla="*/ 287 h 18395"/>
                  <a:gd name="connsiteX2" fmla="*/ 18053 w 18343"/>
                  <a:gd name="connsiteY2" fmla="*/ 6925 h 18395"/>
                  <a:gd name="connsiteX3" fmla="*/ 11474 w 18343"/>
                  <a:gd name="connsiteY3" fmla="*/ 18109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965" y="6566"/>
                      <a:pt x="1965" y="1543"/>
                      <a:pt x="6869" y="287"/>
                    </a:cubicBezTo>
                    <a:cubicBezTo>
                      <a:pt x="11773" y="-969"/>
                      <a:pt x="16797" y="2021"/>
                      <a:pt x="18053" y="6925"/>
                    </a:cubicBezTo>
                    <a:cubicBezTo>
                      <a:pt x="19309" y="11829"/>
                      <a:pt x="16379" y="16853"/>
                      <a:pt x="11474" y="18109"/>
                    </a:cubicBezTo>
                    <a:cubicBezTo>
                      <a:pt x="6570" y="19365"/>
                      <a:pt x="1547" y="16375"/>
                      <a:pt x="290" y="11471"/>
                    </a:cubicBezTo>
                    <a:close/>
                  </a:path>
                </a:pathLst>
              </a:custGeom>
              <a:grpFill/>
              <a:ln w="5978" cap="flat">
                <a:noFill/>
                <a:prstDash val="solid"/>
                <a:miter/>
              </a:ln>
            </p:spPr>
            <p:txBody>
              <a:bodyPr rtlCol="0" anchor="ctr"/>
              <a:lstStyle/>
              <a:p>
                <a:endParaRPr lang="en-GB"/>
              </a:p>
            </p:txBody>
          </p:sp>
          <p:sp>
            <p:nvSpPr>
              <p:cNvPr id="3444" name="Vrije vorm: vorm 3443">
                <a:extLst>
                  <a:ext uri="{FF2B5EF4-FFF2-40B4-BE49-F238E27FC236}">
                    <a16:creationId xmlns:a16="http://schemas.microsoft.com/office/drawing/2014/main" id="{039A0AD1-88F0-45DB-AC0A-7317D57D5ABC}"/>
                  </a:ext>
                </a:extLst>
              </p:cNvPr>
              <p:cNvSpPr/>
              <p:nvPr/>
            </p:nvSpPr>
            <p:spPr>
              <a:xfrm>
                <a:off x="5623103" y="1757846"/>
                <a:ext cx="18343" cy="18395"/>
              </a:xfrm>
              <a:custGeom>
                <a:avLst/>
                <a:gdLst>
                  <a:gd name="connsiteX0" fmla="*/ 290 w 18343"/>
                  <a:gd name="connsiteY0" fmla="*/ 11471 h 18395"/>
                  <a:gd name="connsiteX1" fmla="*/ 11474 w 18343"/>
                  <a:gd name="connsiteY1" fmla="*/ 18109 h 18395"/>
                  <a:gd name="connsiteX2" fmla="*/ 18053 w 18343"/>
                  <a:gd name="connsiteY2" fmla="*/ 6925 h 18395"/>
                  <a:gd name="connsiteX3" fmla="*/ 6869 w 18343"/>
                  <a:gd name="connsiteY3" fmla="*/ 287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1547" y="16375"/>
                      <a:pt x="6570" y="19365"/>
                      <a:pt x="11474" y="18109"/>
                    </a:cubicBezTo>
                    <a:cubicBezTo>
                      <a:pt x="16379" y="16853"/>
                      <a:pt x="19309" y="11829"/>
                      <a:pt x="18053" y="6925"/>
                    </a:cubicBezTo>
                    <a:cubicBezTo>
                      <a:pt x="16797" y="2021"/>
                      <a:pt x="11773" y="-969"/>
                      <a:pt x="6869" y="287"/>
                    </a:cubicBezTo>
                    <a:cubicBezTo>
                      <a:pt x="1965" y="1543"/>
                      <a:pt x="-965" y="6566"/>
                      <a:pt x="290" y="11471"/>
                    </a:cubicBezTo>
                    <a:close/>
                  </a:path>
                </a:pathLst>
              </a:custGeom>
              <a:grpFill/>
              <a:ln w="5978" cap="flat">
                <a:noFill/>
                <a:prstDash val="solid"/>
                <a:miter/>
              </a:ln>
            </p:spPr>
            <p:txBody>
              <a:bodyPr rtlCol="0" anchor="ctr"/>
              <a:lstStyle/>
              <a:p>
                <a:endParaRPr lang="en-GB"/>
              </a:p>
            </p:txBody>
          </p:sp>
        </p:grpSp>
        <p:grpSp>
          <p:nvGrpSpPr>
            <p:cNvPr id="650" name="Graphic 3">
              <a:extLst>
                <a:ext uri="{FF2B5EF4-FFF2-40B4-BE49-F238E27FC236}">
                  <a16:creationId xmlns:a16="http://schemas.microsoft.com/office/drawing/2014/main" id="{6B424FBB-201E-4EA8-9A17-B563D96E4063}"/>
                </a:ext>
              </a:extLst>
            </p:cNvPr>
            <p:cNvGrpSpPr/>
            <p:nvPr/>
          </p:nvGrpSpPr>
          <p:grpSpPr>
            <a:xfrm>
              <a:off x="6799532" y="5242113"/>
              <a:ext cx="66506" cy="135753"/>
              <a:chOff x="6799532" y="5242113"/>
              <a:chExt cx="66506" cy="135753"/>
            </a:xfrm>
            <a:grpFill/>
          </p:grpSpPr>
          <p:sp>
            <p:nvSpPr>
              <p:cNvPr id="3439" name="Vrije vorm: vorm 3438">
                <a:extLst>
                  <a:ext uri="{FF2B5EF4-FFF2-40B4-BE49-F238E27FC236}">
                    <a16:creationId xmlns:a16="http://schemas.microsoft.com/office/drawing/2014/main" id="{FCB1AB64-673A-400C-B524-2614B975665C}"/>
                  </a:ext>
                </a:extLst>
              </p:cNvPr>
              <p:cNvSpPr/>
              <p:nvPr/>
            </p:nvSpPr>
            <p:spPr>
              <a:xfrm>
                <a:off x="6806995" y="5249917"/>
                <a:ext cx="51375" cy="119381"/>
              </a:xfrm>
              <a:custGeom>
                <a:avLst/>
                <a:gdLst>
                  <a:gd name="connsiteX0" fmla="*/ 0 w 51375"/>
                  <a:gd name="connsiteY0" fmla="*/ 1159 h 119381"/>
                  <a:gd name="connsiteX1" fmla="*/ 2822 w 51375"/>
                  <a:gd name="connsiteY1" fmla="*/ 0 h 119381"/>
                  <a:gd name="connsiteX2" fmla="*/ 51376 w 51375"/>
                  <a:gd name="connsiteY2" fmla="*/ 118222 h 119381"/>
                  <a:gd name="connsiteX3" fmla="*/ 48554 w 51375"/>
                  <a:gd name="connsiteY3" fmla="*/ 119381 h 119381"/>
                </a:gdLst>
                <a:ahLst/>
                <a:cxnLst>
                  <a:cxn ang="0">
                    <a:pos x="connsiteX0" y="connsiteY0"/>
                  </a:cxn>
                  <a:cxn ang="0">
                    <a:pos x="connsiteX1" y="connsiteY1"/>
                  </a:cxn>
                  <a:cxn ang="0">
                    <a:pos x="connsiteX2" y="connsiteY2"/>
                  </a:cxn>
                  <a:cxn ang="0">
                    <a:pos x="connsiteX3" y="connsiteY3"/>
                  </a:cxn>
                </a:cxnLst>
                <a:rect l="l" t="t" r="r" b="b"/>
                <a:pathLst>
                  <a:path w="51375" h="119381">
                    <a:moveTo>
                      <a:pt x="0" y="1159"/>
                    </a:moveTo>
                    <a:lnTo>
                      <a:pt x="2822" y="0"/>
                    </a:lnTo>
                    <a:lnTo>
                      <a:pt x="51376" y="118222"/>
                    </a:lnTo>
                    <a:lnTo>
                      <a:pt x="48554" y="119381"/>
                    </a:lnTo>
                    <a:close/>
                  </a:path>
                </a:pathLst>
              </a:custGeom>
              <a:grpFill/>
              <a:ln w="5978" cap="flat">
                <a:noFill/>
                <a:prstDash val="solid"/>
                <a:miter/>
              </a:ln>
            </p:spPr>
            <p:txBody>
              <a:bodyPr rtlCol="0" anchor="ctr"/>
              <a:lstStyle/>
              <a:p>
                <a:endParaRPr lang="en-GB"/>
              </a:p>
            </p:txBody>
          </p:sp>
          <p:sp>
            <p:nvSpPr>
              <p:cNvPr id="3440" name="Vrije vorm: vorm 3439">
                <a:extLst>
                  <a:ext uri="{FF2B5EF4-FFF2-40B4-BE49-F238E27FC236}">
                    <a16:creationId xmlns:a16="http://schemas.microsoft.com/office/drawing/2014/main" id="{FC932841-871B-493C-9218-274FADCB769B}"/>
                  </a:ext>
                </a:extLst>
              </p:cNvPr>
              <p:cNvSpPr/>
              <p:nvPr/>
            </p:nvSpPr>
            <p:spPr>
              <a:xfrm>
                <a:off x="6847737" y="5359463"/>
                <a:ext cx="18301" cy="18403"/>
              </a:xfrm>
              <a:custGeom>
                <a:avLst/>
                <a:gdLst>
                  <a:gd name="connsiteX0" fmla="*/ 17613 w 18301"/>
                  <a:gd name="connsiteY0" fmla="*/ 5703 h 18403"/>
                  <a:gd name="connsiteX1" fmla="*/ 12649 w 18301"/>
                  <a:gd name="connsiteY1" fmla="*/ 17724 h 18403"/>
                  <a:gd name="connsiteX2" fmla="*/ 688 w 18301"/>
                  <a:gd name="connsiteY2" fmla="*/ 12700 h 18403"/>
                  <a:gd name="connsiteX3" fmla="*/ 5652 w 18301"/>
                  <a:gd name="connsiteY3" fmla="*/ 679 h 18403"/>
                  <a:gd name="connsiteX4" fmla="*/ 17613 w 18301"/>
                  <a:gd name="connsiteY4" fmla="*/ 57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03">
                    <a:moveTo>
                      <a:pt x="17613" y="5703"/>
                    </a:moveTo>
                    <a:cubicBezTo>
                      <a:pt x="19527" y="10428"/>
                      <a:pt x="17315" y="15810"/>
                      <a:pt x="12649" y="17724"/>
                    </a:cubicBezTo>
                    <a:cubicBezTo>
                      <a:pt x="7984" y="19638"/>
                      <a:pt x="2602" y="17365"/>
                      <a:pt x="688" y="12700"/>
                    </a:cubicBezTo>
                    <a:cubicBezTo>
                      <a:pt x="-1225" y="7976"/>
                      <a:pt x="987" y="2593"/>
                      <a:pt x="5652" y="679"/>
                    </a:cubicBezTo>
                    <a:cubicBezTo>
                      <a:pt x="10317" y="-1235"/>
                      <a:pt x="15700" y="1038"/>
                      <a:pt x="17613" y="5703"/>
                    </a:cubicBezTo>
                    <a:close/>
                  </a:path>
                </a:pathLst>
              </a:custGeom>
              <a:grpFill/>
              <a:ln w="5978" cap="flat">
                <a:noFill/>
                <a:prstDash val="solid"/>
                <a:miter/>
              </a:ln>
            </p:spPr>
            <p:txBody>
              <a:bodyPr rtlCol="0" anchor="ctr"/>
              <a:lstStyle/>
              <a:p>
                <a:endParaRPr lang="en-GB"/>
              </a:p>
            </p:txBody>
          </p:sp>
          <p:sp>
            <p:nvSpPr>
              <p:cNvPr id="3441" name="Vrije vorm: vorm 3440">
                <a:extLst>
                  <a:ext uri="{FF2B5EF4-FFF2-40B4-BE49-F238E27FC236}">
                    <a16:creationId xmlns:a16="http://schemas.microsoft.com/office/drawing/2014/main" id="{D5054C72-D84C-4FAD-A1CC-38419A214FDE}"/>
                  </a:ext>
                </a:extLst>
              </p:cNvPr>
              <p:cNvSpPr/>
              <p:nvPr/>
            </p:nvSpPr>
            <p:spPr>
              <a:xfrm>
                <a:off x="6799532" y="5242113"/>
                <a:ext cx="18301" cy="18419"/>
              </a:xfrm>
              <a:custGeom>
                <a:avLst/>
                <a:gdLst>
                  <a:gd name="connsiteX0" fmla="*/ 17614 w 18301"/>
                  <a:gd name="connsiteY0" fmla="*/ 5711 h 18419"/>
                  <a:gd name="connsiteX1" fmla="*/ 5652 w 18301"/>
                  <a:gd name="connsiteY1" fmla="*/ 687 h 18419"/>
                  <a:gd name="connsiteX2" fmla="*/ 688 w 18301"/>
                  <a:gd name="connsiteY2" fmla="*/ 12708 h 18419"/>
                  <a:gd name="connsiteX3" fmla="*/ 12650 w 18301"/>
                  <a:gd name="connsiteY3" fmla="*/ 17732 h 18419"/>
                  <a:gd name="connsiteX4" fmla="*/ 17614 w 18301"/>
                  <a:gd name="connsiteY4" fmla="*/ 571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19">
                    <a:moveTo>
                      <a:pt x="17614" y="5711"/>
                    </a:moveTo>
                    <a:cubicBezTo>
                      <a:pt x="15700" y="986"/>
                      <a:pt x="10317" y="-1226"/>
                      <a:pt x="5652" y="687"/>
                    </a:cubicBezTo>
                    <a:cubicBezTo>
                      <a:pt x="987" y="2601"/>
                      <a:pt x="-1226" y="7984"/>
                      <a:pt x="688" y="12708"/>
                    </a:cubicBezTo>
                    <a:cubicBezTo>
                      <a:pt x="2602" y="17433"/>
                      <a:pt x="7985" y="19646"/>
                      <a:pt x="12650" y="17732"/>
                    </a:cubicBezTo>
                    <a:cubicBezTo>
                      <a:pt x="17314" y="15759"/>
                      <a:pt x="19527" y="10376"/>
                      <a:pt x="17614" y="5711"/>
                    </a:cubicBezTo>
                    <a:close/>
                  </a:path>
                </a:pathLst>
              </a:custGeom>
              <a:grpFill/>
              <a:ln w="5978" cap="flat">
                <a:noFill/>
                <a:prstDash val="solid"/>
                <a:miter/>
              </a:ln>
            </p:spPr>
            <p:txBody>
              <a:bodyPr rtlCol="0" anchor="ctr"/>
              <a:lstStyle/>
              <a:p>
                <a:endParaRPr lang="en-GB"/>
              </a:p>
            </p:txBody>
          </p:sp>
        </p:grpSp>
        <p:grpSp>
          <p:nvGrpSpPr>
            <p:cNvPr id="651" name="Graphic 3">
              <a:extLst>
                <a:ext uri="{FF2B5EF4-FFF2-40B4-BE49-F238E27FC236}">
                  <a16:creationId xmlns:a16="http://schemas.microsoft.com/office/drawing/2014/main" id="{84DC8059-0BE1-4B0E-9D74-C856F620443C}"/>
                </a:ext>
              </a:extLst>
            </p:cNvPr>
            <p:cNvGrpSpPr/>
            <p:nvPr/>
          </p:nvGrpSpPr>
          <p:grpSpPr>
            <a:xfrm>
              <a:off x="5489260" y="1391555"/>
              <a:ext cx="55690" cy="153565"/>
              <a:chOff x="5489260" y="1391555"/>
              <a:chExt cx="55690" cy="153565"/>
            </a:xfrm>
            <a:grpFill/>
          </p:grpSpPr>
          <p:sp>
            <p:nvSpPr>
              <p:cNvPr id="3436" name="Vrije vorm: vorm 3435">
                <a:extLst>
                  <a:ext uri="{FF2B5EF4-FFF2-40B4-BE49-F238E27FC236}">
                    <a16:creationId xmlns:a16="http://schemas.microsoft.com/office/drawing/2014/main" id="{76F25B51-5C47-420C-B877-7BEF85AFF048}"/>
                  </a:ext>
                </a:extLst>
              </p:cNvPr>
              <p:cNvSpPr/>
              <p:nvPr/>
            </p:nvSpPr>
            <p:spPr>
              <a:xfrm>
                <a:off x="5496710" y="1399629"/>
                <a:ext cx="40512" cy="136861"/>
              </a:xfrm>
              <a:custGeom>
                <a:avLst/>
                <a:gdLst>
                  <a:gd name="connsiteX0" fmla="*/ 0 w 40512"/>
                  <a:gd name="connsiteY0" fmla="*/ 812 h 136861"/>
                  <a:gd name="connsiteX1" fmla="*/ 2940 w 40512"/>
                  <a:gd name="connsiteY1" fmla="*/ 0 h 136861"/>
                  <a:gd name="connsiteX2" fmla="*/ 40513 w 40512"/>
                  <a:gd name="connsiteY2" fmla="*/ 136050 h 136861"/>
                  <a:gd name="connsiteX3" fmla="*/ 37573 w 40512"/>
                  <a:gd name="connsiteY3" fmla="*/ 136862 h 136861"/>
                </a:gdLst>
                <a:ahLst/>
                <a:cxnLst>
                  <a:cxn ang="0">
                    <a:pos x="connsiteX0" y="connsiteY0"/>
                  </a:cxn>
                  <a:cxn ang="0">
                    <a:pos x="connsiteX1" y="connsiteY1"/>
                  </a:cxn>
                  <a:cxn ang="0">
                    <a:pos x="connsiteX2" y="connsiteY2"/>
                  </a:cxn>
                  <a:cxn ang="0">
                    <a:pos x="connsiteX3" y="connsiteY3"/>
                  </a:cxn>
                </a:cxnLst>
                <a:rect l="l" t="t" r="r" b="b"/>
                <a:pathLst>
                  <a:path w="40512" h="136861">
                    <a:moveTo>
                      <a:pt x="0" y="812"/>
                    </a:moveTo>
                    <a:lnTo>
                      <a:pt x="2940" y="0"/>
                    </a:lnTo>
                    <a:lnTo>
                      <a:pt x="40513" y="136050"/>
                    </a:lnTo>
                    <a:lnTo>
                      <a:pt x="37573" y="136862"/>
                    </a:lnTo>
                    <a:close/>
                  </a:path>
                </a:pathLst>
              </a:custGeom>
              <a:grpFill/>
              <a:ln w="5978" cap="flat">
                <a:noFill/>
                <a:prstDash val="solid"/>
                <a:miter/>
              </a:ln>
            </p:spPr>
            <p:txBody>
              <a:bodyPr rtlCol="0" anchor="ctr"/>
              <a:lstStyle/>
              <a:p>
                <a:endParaRPr lang="en-GB"/>
              </a:p>
            </p:txBody>
          </p:sp>
          <p:sp>
            <p:nvSpPr>
              <p:cNvPr id="3437" name="Vrije vorm: vorm 3436">
                <a:extLst>
                  <a:ext uri="{FF2B5EF4-FFF2-40B4-BE49-F238E27FC236}">
                    <a16:creationId xmlns:a16="http://schemas.microsoft.com/office/drawing/2014/main" id="{F82E7C6C-938C-4D80-BDD9-5B5C949EE8B6}"/>
                  </a:ext>
                </a:extLst>
              </p:cNvPr>
              <p:cNvSpPr/>
              <p:nvPr/>
            </p:nvSpPr>
            <p:spPr>
              <a:xfrm>
                <a:off x="5489260" y="1391555"/>
                <a:ext cx="18391" cy="18400"/>
              </a:xfrm>
              <a:custGeom>
                <a:avLst/>
                <a:gdLst>
                  <a:gd name="connsiteX0" fmla="*/ 344 w 18391"/>
                  <a:gd name="connsiteY0" fmla="*/ 11623 h 18400"/>
                  <a:gd name="connsiteX1" fmla="*/ 6744 w 18391"/>
                  <a:gd name="connsiteY1" fmla="*/ 319 h 18400"/>
                  <a:gd name="connsiteX2" fmla="*/ 18047 w 18391"/>
                  <a:gd name="connsiteY2" fmla="*/ 6778 h 18400"/>
                  <a:gd name="connsiteX3" fmla="*/ 11648 w 18391"/>
                  <a:gd name="connsiteY3" fmla="*/ 18082 h 18400"/>
                  <a:gd name="connsiteX4" fmla="*/ 344 w 18391"/>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00">
                    <a:moveTo>
                      <a:pt x="344" y="11623"/>
                    </a:moveTo>
                    <a:cubicBezTo>
                      <a:pt x="-1031" y="6718"/>
                      <a:pt x="1839" y="1635"/>
                      <a:pt x="6744" y="319"/>
                    </a:cubicBezTo>
                    <a:cubicBezTo>
                      <a:pt x="11648" y="-997"/>
                      <a:pt x="16671" y="1874"/>
                      <a:pt x="18047" y="6778"/>
                    </a:cubicBezTo>
                    <a:cubicBezTo>
                      <a:pt x="19423" y="11682"/>
                      <a:pt x="16552" y="16766"/>
                      <a:pt x="11648" y="18082"/>
                    </a:cubicBezTo>
                    <a:cubicBezTo>
                      <a:pt x="6744" y="19398"/>
                      <a:pt x="1660" y="16527"/>
                      <a:pt x="344" y="11623"/>
                    </a:cubicBezTo>
                    <a:close/>
                  </a:path>
                </a:pathLst>
              </a:custGeom>
              <a:grpFill/>
              <a:ln w="5978" cap="flat">
                <a:noFill/>
                <a:prstDash val="solid"/>
                <a:miter/>
              </a:ln>
            </p:spPr>
            <p:txBody>
              <a:bodyPr rtlCol="0" anchor="ctr"/>
              <a:lstStyle/>
              <a:p>
                <a:endParaRPr lang="en-GB"/>
              </a:p>
            </p:txBody>
          </p:sp>
          <p:sp>
            <p:nvSpPr>
              <p:cNvPr id="3438" name="Vrije vorm: vorm 3437">
                <a:extLst>
                  <a:ext uri="{FF2B5EF4-FFF2-40B4-BE49-F238E27FC236}">
                    <a16:creationId xmlns:a16="http://schemas.microsoft.com/office/drawing/2014/main" id="{B9408B14-8E8A-4D07-B309-8D85330F2232}"/>
                  </a:ext>
                </a:extLst>
              </p:cNvPr>
              <p:cNvSpPr/>
              <p:nvPr/>
            </p:nvSpPr>
            <p:spPr>
              <a:xfrm>
                <a:off x="5526580" y="1526719"/>
                <a:ext cx="18370" cy="18400"/>
              </a:xfrm>
              <a:custGeom>
                <a:avLst/>
                <a:gdLst>
                  <a:gd name="connsiteX0" fmla="*/ 344 w 18370"/>
                  <a:gd name="connsiteY0" fmla="*/ 11623 h 18400"/>
                  <a:gd name="connsiteX1" fmla="*/ 11648 w 18370"/>
                  <a:gd name="connsiteY1" fmla="*/ 18082 h 18400"/>
                  <a:gd name="connsiteX2" fmla="*/ 18047 w 18370"/>
                  <a:gd name="connsiteY2" fmla="*/ 6778 h 18400"/>
                  <a:gd name="connsiteX3" fmla="*/ 6744 w 18370"/>
                  <a:gd name="connsiteY3" fmla="*/ 319 h 18400"/>
                  <a:gd name="connsiteX4" fmla="*/ 344 w 18370"/>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00">
                    <a:moveTo>
                      <a:pt x="344" y="11623"/>
                    </a:moveTo>
                    <a:cubicBezTo>
                      <a:pt x="1720" y="16527"/>
                      <a:pt x="6744" y="19398"/>
                      <a:pt x="11648" y="18082"/>
                    </a:cubicBezTo>
                    <a:cubicBezTo>
                      <a:pt x="16552" y="16766"/>
                      <a:pt x="19363" y="11682"/>
                      <a:pt x="18047" y="6778"/>
                    </a:cubicBezTo>
                    <a:cubicBezTo>
                      <a:pt x="16672" y="1874"/>
                      <a:pt x="11648" y="-997"/>
                      <a:pt x="6744" y="319"/>
                    </a:cubicBezTo>
                    <a:cubicBezTo>
                      <a:pt x="1839" y="1635"/>
                      <a:pt x="-1031" y="6718"/>
                      <a:pt x="344" y="11623"/>
                    </a:cubicBezTo>
                    <a:close/>
                  </a:path>
                </a:pathLst>
              </a:custGeom>
              <a:grpFill/>
              <a:ln w="5978" cap="flat">
                <a:noFill/>
                <a:prstDash val="solid"/>
                <a:miter/>
              </a:ln>
            </p:spPr>
            <p:txBody>
              <a:bodyPr rtlCol="0" anchor="ctr"/>
              <a:lstStyle/>
              <a:p>
                <a:endParaRPr lang="en-GB"/>
              </a:p>
            </p:txBody>
          </p:sp>
        </p:grpSp>
        <p:grpSp>
          <p:nvGrpSpPr>
            <p:cNvPr id="652" name="Graphic 3">
              <a:extLst>
                <a:ext uri="{FF2B5EF4-FFF2-40B4-BE49-F238E27FC236}">
                  <a16:creationId xmlns:a16="http://schemas.microsoft.com/office/drawing/2014/main" id="{9FA79B0B-C7D1-46C8-A7D6-787B8E25C80E}"/>
                </a:ext>
              </a:extLst>
            </p:cNvPr>
            <p:cNvGrpSpPr/>
            <p:nvPr/>
          </p:nvGrpSpPr>
          <p:grpSpPr>
            <a:xfrm>
              <a:off x="5452957" y="1260218"/>
              <a:ext cx="49709" cy="131974"/>
              <a:chOff x="5452957" y="1260218"/>
              <a:chExt cx="49709" cy="131974"/>
            </a:xfrm>
            <a:grpFill/>
          </p:grpSpPr>
          <p:sp>
            <p:nvSpPr>
              <p:cNvPr id="3433" name="Vrije vorm: vorm 3432">
                <a:extLst>
                  <a:ext uri="{FF2B5EF4-FFF2-40B4-BE49-F238E27FC236}">
                    <a16:creationId xmlns:a16="http://schemas.microsoft.com/office/drawing/2014/main" id="{EEFB1E75-E0A7-41A1-B756-7F0B24B42FFE}"/>
                  </a:ext>
                </a:extLst>
              </p:cNvPr>
              <p:cNvSpPr/>
              <p:nvPr/>
            </p:nvSpPr>
            <p:spPr>
              <a:xfrm>
                <a:off x="5460332" y="1268688"/>
                <a:ext cx="34546" cy="115300"/>
              </a:xfrm>
              <a:custGeom>
                <a:avLst/>
                <a:gdLst>
                  <a:gd name="connsiteX0" fmla="*/ 0 w 34546"/>
                  <a:gd name="connsiteY0" fmla="*/ 812 h 115300"/>
                  <a:gd name="connsiteX1" fmla="*/ 2940 w 34546"/>
                  <a:gd name="connsiteY1" fmla="*/ 0 h 115300"/>
                  <a:gd name="connsiteX2" fmla="*/ 34547 w 34546"/>
                  <a:gd name="connsiteY2" fmla="*/ 114489 h 115300"/>
                  <a:gd name="connsiteX3" fmla="*/ 31607 w 34546"/>
                  <a:gd name="connsiteY3" fmla="*/ 115301 h 115300"/>
                </a:gdLst>
                <a:ahLst/>
                <a:cxnLst>
                  <a:cxn ang="0">
                    <a:pos x="connsiteX0" y="connsiteY0"/>
                  </a:cxn>
                  <a:cxn ang="0">
                    <a:pos x="connsiteX1" y="connsiteY1"/>
                  </a:cxn>
                  <a:cxn ang="0">
                    <a:pos x="connsiteX2" y="connsiteY2"/>
                  </a:cxn>
                  <a:cxn ang="0">
                    <a:pos x="connsiteX3" y="connsiteY3"/>
                  </a:cxn>
                </a:cxnLst>
                <a:rect l="l" t="t" r="r" b="b"/>
                <a:pathLst>
                  <a:path w="34546" h="115300">
                    <a:moveTo>
                      <a:pt x="0" y="812"/>
                    </a:moveTo>
                    <a:lnTo>
                      <a:pt x="2940" y="0"/>
                    </a:lnTo>
                    <a:lnTo>
                      <a:pt x="34547" y="114489"/>
                    </a:lnTo>
                    <a:lnTo>
                      <a:pt x="31607" y="115301"/>
                    </a:lnTo>
                    <a:close/>
                  </a:path>
                </a:pathLst>
              </a:custGeom>
              <a:grpFill/>
              <a:ln w="5978" cap="flat">
                <a:noFill/>
                <a:prstDash val="solid"/>
                <a:miter/>
              </a:ln>
            </p:spPr>
            <p:txBody>
              <a:bodyPr rtlCol="0" anchor="ctr"/>
              <a:lstStyle/>
              <a:p>
                <a:endParaRPr lang="en-GB"/>
              </a:p>
            </p:txBody>
          </p:sp>
          <p:sp>
            <p:nvSpPr>
              <p:cNvPr id="3434" name="Vrije vorm: vorm 3433">
                <a:extLst>
                  <a:ext uri="{FF2B5EF4-FFF2-40B4-BE49-F238E27FC236}">
                    <a16:creationId xmlns:a16="http://schemas.microsoft.com/office/drawing/2014/main" id="{D7BBA524-1EE9-4A00-B806-5ACD6458B85F}"/>
                  </a:ext>
                </a:extLst>
              </p:cNvPr>
              <p:cNvSpPr/>
              <p:nvPr/>
            </p:nvSpPr>
            <p:spPr>
              <a:xfrm>
                <a:off x="5452957" y="1260218"/>
                <a:ext cx="18391" cy="18400"/>
              </a:xfrm>
              <a:custGeom>
                <a:avLst/>
                <a:gdLst>
                  <a:gd name="connsiteX0" fmla="*/ 344 w 18391"/>
                  <a:gd name="connsiteY0" fmla="*/ 11623 h 18400"/>
                  <a:gd name="connsiteX1" fmla="*/ 6744 w 18391"/>
                  <a:gd name="connsiteY1" fmla="*/ 319 h 18400"/>
                  <a:gd name="connsiteX2" fmla="*/ 18047 w 18391"/>
                  <a:gd name="connsiteY2" fmla="*/ 6778 h 18400"/>
                  <a:gd name="connsiteX3" fmla="*/ 11648 w 18391"/>
                  <a:gd name="connsiteY3" fmla="*/ 18082 h 18400"/>
                  <a:gd name="connsiteX4" fmla="*/ 344 w 18391"/>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00">
                    <a:moveTo>
                      <a:pt x="344" y="11623"/>
                    </a:moveTo>
                    <a:cubicBezTo>
                      <a:pt x="-1031" y="6718"/>
                      <a:pt x="1839" y="1635"/>
                      <a:pt x="6744" y="319"/>
                    </a:cubicBezTo>
                    <a:cubicBezTo>
                      <a:pt x="11648" y="-997"/>
                      <a:pt x="16672" y="1874"/>
                      <a:pt x="18047" y="6778"/>
                    </a:cubicBezTo>
                    <a:cubicBezTo>
                      <a:pt x="19423" y="11682"/>
                      <a:pt x="16552" y="16766"/>
                      <a:pt x="11648" y="18082"/>
                    </a:cubicBezTo>
                    <a:cubicBezTo>
                      <a:pt x="6744" y="19398"/>
                      <a:pt x="1720" y="16527"/>
                      <a:pt x="344" y="11623"/>
                    </a:cubicBezTo>
                    <a:close/>
                  </a:path>
                </a:pathLst>
              </a:custGeom>
              <a:grpFill/>
              <a:ln w="5978" cap="flat">
                <a:noFill/>
                <a:prstDash val="solid"/>
                <a:miter/>
              </a:ln>
            </p:spPr>
            <p:txBody>
              <a:bodyPr rtlCol="0" anchor="ctr"/>
              <a:lstStyle/>
              <a:p>
                <a:endParaRPr lang="en-GB"/>
              </a:p>
            </p:txBody>
          </p:sp>
          <p:sp>
            <p:nvSpPr>
              <p:cNvPr id="3435" name="Vrije vorm: vorm 3434">
                <a:extLst>
                  <a:ext uri="{FF2B5EF4-FFF2-40B4-BE49-F238E27FC236}">
                    <a16:creationId xmlns:a16="http://schemas.microsoft.com/office/drawing/2014/main" id="{B20B7C12-C8BE-440D-8FFD-FC1AB4D428E7}"/>
                  </a:ext>
                </a:extLst>
              </p:cNvPr>
              <p:cNvSpPr/>
              <p:nvPr/>
            </p:nvSpPr>
            <p:spPr>
              <a:xfrm>
                <a:off x="5484321" y="1373792"/>
                <a:ext cx="18345" cy="18400"/>
              </a:xfrm>
              <a:custGeom>
                <a:avLst/>
                <a:gdLst>
                  <a:gd name="connsiteX0" fmla="*/ 319 w 18345"/>
                  <a:gd name="connsiteY0" fmla="*/ 11623 h 18400"/>
                  <a:gd name="connsiteX1" fmla="*/ 11623 w 18345"/>
                  <a:gd name="connsiteY1" fmla="*/ 18082 h 18400"/>
                  <a:gd name="connsiteX2" fmla="*/ 18022 w 18345"/>
                  <a:gd name="connsiteY2" fmla="*/ 6778 h 18400"/>
                  <a:gd name="connsiteX3" fmla="*/ 6719 w 18345"/>
                  <a:gd name="connsiteY3" fmla="*/ 319 h 18400"/>
                  <a:gd name="connsiteX4" fmla="*/ 319 w 18345"/>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0">
                    <a:moveTo>
                      <a:pt x="319" y="11623"/>
                    </a:moveTo>
                    <a:cubicBezTo>
                      <a:pt x="1695" y="16527"/>
                      <a:pt x="6719" y="19398"/>
                      <a:pt x="11623" y="18082"/>
                    </a:cubicBezTo>
                    <a:cubicBezTo>
                      <a:pt x="16527" y="16766"/>
                      <a:pt x="19338" y="11682"/>
                      <a:pt x="18022" y="6778"/>
                    </a:cubicBezTo>
                    <a:cubicBezTo>
                      <a:pt x="16647" y="1874"/>
                      <a:pt x="11623" y="-997"/>
                      <a:pt x="6719" y="319"/>
                    </a:cubicBezTo>
                    <a:cubicBezTo>
                      <a:pt x="1874" y="1635"/>
                      <a:pt x="-996" y="6718"/>
                      <a:pt x="319" y="11623"/>
                    </a:cubicBezTo>
                    <a:close/>
                  </a:path>
                </a:pathLst>
              </a:custGeom>
              <a:grpFill/>
              <a:ln w="5978" cap="flat">
                <a:noFill/>
                <a:prstDash val="solid"/>
                <a:miter/>
              </a:ln>
            </p:spPr>
            <p:txBody>
              <a:bodyPr rtlCol="0" anchor="ctr"/>
              <a:lstStyle/>
              <a:p>
                <a:endParaRPr lang="en-GB"/>
              </a:p>
            </p:txBody>
          </p:sp>
        </p:grpSp>
        <p:grpSp>
          <p:nvGrpSpPr>
            <p:cNvPr id="653" name="Graphic 3">
              <a:extLst>
                <a:ext uri="{FF2B5EF4-FFF2-40B4-BE49-F238E27FC236}">
                  <a16:creationId xmlns:a16="http://schemas.microsoft.com/office/drawing/2014/main" id="{8B11DDD3-DDDC-4A9F-90DA-99B5F687C11C}"/>
                </a:ext>
              </a:extLst>
            </p:cNvPr>
            <p:cNvGrpSpPr/>
            <p:nvPr/>
          </p:nvGrpSpPr>
          <p:grpSpPr>
            <a:xfrm>
              <a:off x="5496673" y="1266589"/>
              <a:ext cx="117797" cy="527773"/>
              <a:chOff x="5496673" y="1266589"/>
              <a:chExt cx="117797" cy="527773"/>
            </a:xfrm>
            <a:grpFill/>
          </p:grpSpPr>
          <p:sp>
            <p:nvSpPr>
              <p:cNvPr id="3430" name="Vrije vorm: vorm 3429">
                <a:extLst>
                  <a:ext uri="{FF2B5EF4-FFF2-40B4-BE49-F238E27FC236}">
                    <a16:creationId xmlns:a16="http://schemas.microsoft.com/office/drawing/2014/main" id="{96461F77-5946-4BAA-919B-02A272187884}"/>
                  </a:ext>
                </a:extLst>
              </p:cNvPr>
              <p:cNvSpPr/>
              <p:nvPr/>
            </p:nvSpPr>
            <p:spPr>
              <a:xfrm>
                <a:off x="5504257" y="1275070"/>
                <a:ext cx="102629" cy="510873"/>
              </a:xfrm>
              <a:custGeom>
                <a:avLst/>
                <a:gdLst>
                  <a:gd name="connsiteX0" fmla="*/ 2990 w 102629"/>
                  <a:gd name="connsiteY0" fmla="*/ 0 h 510873"/>
                  <a:gd name="connsiteX1" fmla="*/ 102629 w 102629"/>
                  <a:gd name="connsiteY1" fmla="*/ 510275 h 510873"/>
                  <a:gd name="connsiteX2" fmla="*/ 99639 w 102629"/>
                  <a:gd name="connsiteY2" fmla="*/ 510873 h 510873"/>
                  <a:gd name="connsiteX3" fmla="*/ 0 w 102629"/>
                  <a:gd name="connsiteY3" fmla="*/ 598 h 510873"/>
                </a:gdLst>
                <a:ahLst/>
                <a:cxnLst>
                  <a:cxn ang="0">
                    <a:pos x="connsiteX0" y="connsiteY0"/>
                  </a:cxn>
                  <a:cxn ang="0">
                    <a:pos x="connsiteX1" y="connsiteY1"/>
                  </a:cxn>
                  <a:cxn ang="0">
                    <a:pos x="connsiteX2" y="connsiteY2"/>
                  </a:cxn>
                  <a:cxn ang="0">
                    <a:pos x="connsiteX3" y="connsiteY3"/>
                  </a:cxn>
                </a:cxnLst>
                <a:rect l="l" t="t" r="r" b="b"/>
                <a:pathLst>
                  <a:path w="102629" h="510873">
                    <a:moveTo>
                      <a:pt x="2990" y="0"/>
                    </a:moveTo>
                    <a:lnTo>
                      <a:pt x="102629" y="510275"/>
                    </a:lnTo>
                    <a:lnTo>
                      <a:pt x="99639" y="510873"/>
                    </a:lnTo>
                    <a:lnTo>
                      <a:pt x="0" y="598"/>
                    </a:lnTo>
                    <a:close/>
                  </a:path>
                </a:pathLst>
              </a:custGeom>
              <a:grpFill/>
              <a:ln w="5978" cap="flat">
                <a:noFill/>
                <a:prstDash val="solid"/>
                <a:miter/>
              </a:ln>
            </p:spPr>
            <p:txBody>
              <a:bodyPr rtlCol="0" anchor="ctr"/>
              <a:lstStyle/>
              <a:p>
                <a:endParaRPr lang="en-GB"/>
              </a:p>
            </p:txBody>
          </p:sp>
          <p:sp>
            <p:nvSpPr>
              <p:cNvPr id="3431" name="Vrije vorm: vorm 3430">
                <a:extLst>
                  <a:ext uri="{FF2B5EF4-FFF2-40B4-BE49-F238E27FC236}">
                    <a16:creationId xmlns:a16="http://schemas.microsoft.com/office/drawing/2014/main" id="{3C122F0F-D9D1-4C58-A65F-102675D6510E}"/>
                  </a:ext>
                </a:extLst>
              </p:cNvPr>
              <p:cNvSpPr/>
              <p:nvPr/>
            </p:nvSpPr>
            <p:spPr>
              <a:xfrm>
                <a:off x="5596133" y="1775967"/>
                <a:ext cx="18337" cy="18395"/>
              </a:xfrm>
              <a:custGeom>
                <a:avLst/>
                <a:gdLst>
                  <a:gd name="connsiteX0" fmla="*/ 18170 w 18337"/>
                  <a:gd name="connsiteY0" fmla="*/ 7464 h 18395"/>
                  <a:gd name="connsiteX1" fmla="*/ 10933 w 18337"/>
                  <a:gd name="connsiteY1" fmla="*/ 18230 h 18395"/>
                  <a:gd name="connsiteX2" fmla="*/ 168 w 18337"/>
                  <a:gd name="connsiteY2" fmla="*/ 10933 h 18395"/>
                  <a:gd name="connsiteX3" fmla="*/ 7404 w 18337"/>
                  <a:gd name="connsiteY3" fmla="*/ 168 h 18395"/>
                  <a:gd name="connsiteX4" fmla="*/ 18170 w 18337"/>
                  <a:gd name="connsiteY4" fmla="*/ 7464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395">
                    <a:moveTo>
                      <a:pt x="18170" y="7464"/>
                    </a:moveTo>
                    <a:cubicBezTo>
                      <a:pt x="19127" y="12488"/>
                      <a:pt x="15897" y="17273"/>
                      <a:pt x="10933" y="18230"/>
                    </a:cubicBezTo>
                    <a:cubicBezTo>
                      <a:pt x="5969" y="19186"/>
                      <a:pt x="1125" y="15897"/>
                      <a:pt x="168" y="10933"/>
                    </a:cubicBezTo>
                    <a:cubicBezTo>
                      <a:pt x="-789" y="5909"/>
                      <a:pt x="2441" y="1125"/>
                      <a:pt x="7404" y="168"/>
                    </a:cubicBezTo>
                    <a:cubicBezTo>
                      <a:pt x="12368" y="-789"/>
                      <a:pt x="17153" y="2441"/>
                      <a:pt x="18170" y="7464"/>
                    </a:cubicBezTo>
                    <a:close/>
                  </a:path>
                </a:pathLst>
              </a:custGeom>
              <a:grpFill/>
              <a:ln w="5978" cap="flat">
                <a:noFill/>
                <a:prstDash val="solid"/>
                <a:miter/>
              </a:ln>
            </p:spPr>
            <p:txBody>
              <a:bodyPr rtlCol="0" anchor="ctr"/>
              <a:lstStyle/>
              <a:p>
                <a:endParaRPr lang="en-GB"/>
              </a:p>
            </p:txBody>
          </p:sp>
          <p:sp>
            <p:nvSpPr>
              <p:cNvPr id="3432" name="Vrije vorm: vorm 3431">
                <a:extLst>
                  <a:ext uri="{FF2B5EF4-FFF2-40B4-BE49-F238E27FC236}">
                    <a16:creationId xmlns:a16="http://schemas.microsoft.com/office/drawing/2014/main" id="{DDABB2A8-91CC-4535-857C-09AADF3A838C}"/>
                  </a:ext>
                </a:extLst>
              </p:cNvPr>
              <p:cNvSpPr/>
              <p:nvPr/>
            </p:nvSpPr>
            <p:spPr>
              <a:xfrm>
                <a:off x="5496673" y="1266589"/>
                <a:ext cx="18337" cy="18397"/>
              </a:xfrm>
              <a:custGeom>
                <a:avLst/>
                <a:gdLst>
                  <a:gd name="connsiteX0" fmla="*/ 18170 w 18337"/>
                  <a:gd name="connsiteY0" fmla="*/ 7464 h 18397"/>
                  <a:gd name="connsiteX1" fmla="*/ 7404 w 18337"/>
                  <a:gd name="connsiteY1" fmla="*/ 168 h 18397"/>
                  <a:gd name="connsiteX2" fmla="*/ 168 w 18337"/>
                  <a:gd name="connsiteY2" fmla="*/ 10933 h 18397"/>
                  <a:gd name="connsiteX3" fmla="*/ 10933 w 18337"/>
                  <a:gd name="connsiteY3" fmla="*/ 18230 h 18397"/>
                  <a:gd name="connsiteX4" fmla="*/ 18170 w 18337"/>
                  <a:gd name="connsiteY4" fmla="*/ 7464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397">
                    <a:moveTo>
                      <a:pt x="18170" y="7464"/>
                    </a:moveTo>
                    <a:cubicBezTo>
                      <a:pt x="17213" y="2440"/>
                      <a:pt x="12368" y="-789"/>
                      <a:pt x="7404" y="168"/>
                    </a:cubicBezTo>
                    <a:cubicBezTo>
                      <a:pt x="2441" y="1125"/>
                      <a:pt x="-789" y="5969"/>
                      <a:pt x="168" y="10933"/>
                    </a:cubicBezTo>
                    <a:cubicBezTo>
                      <a:pt x="1125" y="15957"/>
                      <a:pt x="5969" y="19186"/>
                      <a:pt x="10933" y="18230"/>
                    </a:cubicBezTo>
                    <a:cubicBezTo>
                      <a:pt x="15897" y="17332"/>
                      <a:pt x="19127" y="12488"/>
                      <a:pt x="18170" y="7464"/>
                    </a:cubicBezTo>
                    <a:close/>
                  </a:path>
                </a:pathLst>
              </a:custGeom>
              <a:grpFill/>
              <a:ln w="5978" cap="flat">
                <a:noFill/>
                <a:prstDash val="solid"/>
                <a:miter/>
              </a:ln>
            </p:spPr>
            <p:txBody>
              <a:bodyPr rtlCol="0" anchor="ctr"/>
              <a:lstStyle/>
              <a:p>
                <a:endParaRPr lang="en-GB"/>
              </a:p>
            </p:txBody>
          </p:sp>
        </p:grpSp>
        <p:grpSp>
          <p:nvGrpSpPr>
            <p:cNvPr id="654" name="Graphic 3">
              <a:extLst>
                <a:ext uri="{FF2B5EF4-FFF2-40B4-BE49-F238E27FC236}">
                  <a16:creationId xmlns:a16="http://schemas.microsoft.com/office/drawing/2014/main" id="{E14516BF-B2CF-4444-8DDB-05FC9BA7CAB3}"/>
                </a:ext>
              </a:extLst>
            </p:cNvPr>
            <p:cNvGrpSpPr/>
            <p:nvPr/>
          </p:nvGrpSpPr>
          <p:grpSpPr>
            <a:xfrm>
              <a:off x="6742177" y="5102583"/>
              <a:ext cx="68599" cy="140896"/>
              <a:chOff x="6742177" y="5102583"/>
              <a:chExt cx="68599" cy="140896"/>
            </a:xfrm>
            <a:grpFill/>
          </p:grpSpPr>
          <p:sp>
            <p:nvSpPr>
              <p:cNvPr id="3427" name="Vrije vorm: vorm 3426">
                <a:extLst>
                  <a:ext uri="{FF2B5EF4-FFF2-40B4-BE49-F238E27FC236}">
                    <a16:creationId xmlns:a16="http://schemas.microsoft.com/office/drawing/2014/main" id="{08B4528C-3F63-433A-9244-F5FE371FD494}"/>
                  </a:ext>
                </a:extLst>
              </p:cNvPr>
              <p:cNvSpPr/>
              <p:nvPr/>
            </p:nvSpPr>
            <p:spPr>
              <a:xfrm>
                <a:off x="6749790" y="5110424"/>
                <a:ext cx="53505" cy="124458"/>
              </a:xfrm>
              <a:custGeom>
                <a:avLst/>
                <a:gdLst>
                  <a:gd name="connsiteX0" fmla="*/ 0 w 53505"/>
                  <a:gd name="connsiteY0" fmla="*/ 1160 h 124458"/>
                  <a:gd name="connsiteX1" fmla="*/ 2821 w 53505"/>
                  <a:gd name="connsiteY1" fmla="*/ 0 h 124458"/>
                  <a:gd name="connsiteX2" fmla="*/ 53506 w 53505"/>
                  <a:gd name="connsiteY2" fmla="*/ 123299 h 124458"/>
                  <a:gd name="connsiteX3" fmla="*/ 50684 w 53505"/>
                  <a:gd name="connsiteY3" fmla="*/ 124458 h 124458"/>
                </a:gdLst>
                <a:ahLst/>
                <a:cxnLst>
                  <a:cxn ang="0">
                    <a:pos x="connsiteX0" y="connsiteY0"/>
                  </a:cxn>
                  <a:cxn ang="0">
                    <a:pos x="connsiteX1" y="connsiteY1"/>
                  </a:cxn>
                  <a:cxn ang="0">
                    <a:pos x="connsiteX2" y="connsiteY2"/>
                  </a:cxn>
                  <a:cxn ang="0">
                    <a:pos x="connsiteX3" y="connsiteY3"/>
                  </a:cxn>
                </a:cxnLst>
                <a:rect l="l" t="t" r="r" b="b"/>
                <a:pathLst>
                  <a:path w="53505" h="124458">
                    <a:moveTo>
                      <a:pt x="0" y="1160"/>
                    </a:moveTo>
                    <a:lnTo>
                      <a:pt x="2821" y="0"/>
                    </a:lnTo>
                    <a:lnTo>
                      <a:pt x="53506" y="123299"/>
                    </a:lnTo>
                    <a:lnTo>
                      <a:pt x="50684" y="124458"/>
                    </a:lnTo>
                    <a:close/>
                  </a:path>
                </a:pathLst>
              </a:custGeom>
              <a:grpFill/>
              <a:ln w="5978" cap="flat">
                <a:noFill/>
                <a:prstDash val="solid"/>
                <a:miter/>
              </a:ln>
            </p:spPr>
            <p:txBody>
              <a:bodyPr rtlCol="0" anchor="ctr"/>
              <a:lstStyle/>
              <a:p>
                <a:endParaRPr lang="en-GB"/>
              </a:p>
            </p:txBody>
          </p:sp>
          <p:sp>
            <p:nvSpPr>
              <p:cNvPr id="3428" name="Vrije vorm: vorm 3427">
                <a:extLst>
                  <a:ext uri="{FF2B5EF4-FFF2-40B4-BE49-F238E27FC236}">
                    <a16:creationId xmlns:a16="http://schemas.microsoft.com/office/drawing/2014/main" id="{A476DEC6-2B59-4E2D-B0E5-18BCBD8857A9}"/>
                  </a:ext>
                </a:extLst>
              </p:cNvPr>
              <p:cNvSpPr/>
              <p:nvPr/>
            </p:nvSpPr>
            <p:spPr>
              <a:xfrm>
                <a:off x="6792475" y="5225043"/>
                <a:ext cx="18301" cy="18436"/>
              </a:xfrm>
              <a:custGeom>
                <a:avLst/>
                <a:gdLst>
                  <a:gd name="connsiteX0" fmla="*/ 17613 w 18301"/>
                  <a:gd name="connsiteY0" fmla="*/ 5736 h 18436"/>
                  <a:gd name="connsiteX1" fmla="*/ 12650 w 18301"/>
                  <a:gd name="connsiteY1" fmla="*/ 17757 h 18436"/>
                  <a:gd name="connsiteX2" fmla="*/ 688 w 18301"/>
                  <a:gd name="connsiteY2" fmla="*/ 12734 h 18436"/>
                  <a:gd name="connsiteX3" fmla="*/ 5652 w 18301"/>
                  <a:gd name="connsiteY3" fmla="*/ 712 h 18436"/>
                  <a:gd name="connsiteX4" fmla="*/ 17613 w 18301"/>
                  <a:gd name="connsiteY4" fmla="*/ 573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6">
                    <a:moveTo>
                      <a:pt x="17613" y="5736"/>
                    </a:moveTo>
                    <a:cubicBezTo>
                      <a:pt x="19527" y="10461"/>
                      <a:pt x="17314" y="15844"/>
                      <a:pt x="12650" y="17757"/>
                    </a:cubicBezTo>
                    <a:cubicBezTo>
                      <a:pt x="7985" y="19671"/>
                      <a:pt x="2602" y="17398"/>
                      <a:pt x="688" y="12734"/>
                    </a:cubicBezTo>
                    <a:cubicBezTo>
                      <a:pt x="-1226" y="8009"/>
                      <a:pt x="987" y="2626"/>
                      <a:pt x="5652" y="712"/>
                    </a:cubicBezTo>
                    <a:cubicBezTo>
                      <a:pt x="10317" y="-1261"/>
                      <a:pt x="15700" y="1011"/>
                      <a:pt x="17613" y="5736"/>
                    </a:cubicBezTo>
                    <a:close/>
                  </a:path>
                </a:pathLst>
              </a:custGeom>
              <a:grpFill/>
              <a:ln w="5978" cap="flat">
                <a:noFill/>
                <a:prstDash val="solid"/>
                <a:miter/>
              </a:ln>
            </p:spPr>
            <p:txBody>
              <a:bodyPr rtlCol="0" anchor="ctr"/>
              <a:lstStyle/>
              <a:p>
                <a:endParaRPr lang="en-GB"/>
              </a:p>
            </p:txBody>
          </p:sp>
          <p:sp>
            <p:nvSpPr>
              <p:cNvPr id="3429" name="Vrije vorm: vorm 3428">
                <a:extLst>
                  <a:ext uri="{FF2B5EF4-FFF2-40B4-BE49-F238E27FC236}">
                    <a16:creationId xmlns:a16="http://schemas.microsoft.com/office/drawing/2014/main" id="{36673F55-283A-4158-8D33-D69F105B029A}"/>
                  </a:ext>
                </a:extLst>
              </p:cNvPr>
              <p:cNvSpPr/>
              <p:nvPr/>
            </p:nvSpPr>
            <p:spPr>
              <a:xfrm>
                <a:off x="6742177" y="5102583"/>
                <a:ext cx="18327" cy="18419"/>
              </a:xfrm>
              <a:custGeom>
                <a:avLst/>
                <a:gdLst>
                  <a:gd name="connsiteX0" fmla="*/ 17614 w 18327"/>
                  <a:gd name="connsiteY0" fmla="*/ 5711 h 18419"/>
                  <a:gd name="connsiteX1" fmla="*/ 5652 w 18327"/>
                  <a:gd name="connsiteY1" fmla="*/ 687 h 18419"/>
                  <a:gd name="connsiteX2" fmla="*/ 688 w 18327"/>
                  <a:gd name="connsiteY2" fmla="*/ 12709 h 18419"/>
                  <a:gd name="connsiteX3" fmla="*/ 12650 w 18327"/>
                  <a:gd name="connsiteY3" fmla="*/ 17732 h 18419"/>
                  <a:gd name="connsiteX4" fmla="*/ 17614 w 18327"/>
                  <a:gd name="connsiteY4" fmla="*/ 571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9">
                    <a:moveTo>
                      <a:pt x="17614" y="5711"/>
                    </a:moveTo>
                    <a:cubicBezTo>
                      <a:pt x="15700" y="986"/>
                      <a:pt x="10317" y="-1227"/>
                      <a:pt x="5652" y="687"/>
                    </a:cubicBezTo>
                    <a:cubicBezTo>
                      <a:pt x="987" y="2601"/>
                      <a:pt x="-1226" y="7984"/>
                      <a:pt x="688" y="12709"/>
                    </a:cubicBezTo>
                    <a:cubicBezTo>
                      <a:pt x="2602" y="17433"/>
                      <a:pt x="7985" y="19646"/>
                      <a:pt x="12650" y="17732"/>
                    </a:cubicBezTo>
                    <a:cubicBezTo>
                      <a:pt x="17315" y="15759"/>
                      <a:pt x="19587" y="10376"/>
                      <a:pt x="17614" y="5711"/>
                    </a:cubicBezTo>
                    <a:close/>
                  </a:path>
                </a:pathLst>
              </a:custGeom>
              <a:grpFill/>
              <a:ln w="5978" cap="flat">
                <a:noFill/>
                <a:prstDash val="solid"/>
                <a:miter/>
              </a:ln>
            </p:spPr>
            <p:txBody>
              <a:bodyPr rtlCol="0" anchor="ctr"/>
              <a:lstStyle/>
              <a:p>
                <a:endParaRPr lang="en-GB"/>
              </a:p>
            </p:txBody>
          </p:sp>
        </p:grpSp>
        <p:grpSp>
          <p:nvGrpSpPr>
            <p:cNvPr id="655" name="Graphic 3">
              <a:extLst>
                <a:ext uri="{FF2B5EF4-FFF2-40B4-BE49-F238E27FC236}">
                  <a16:creationId xmlns:a16="http://schemas.microsoft.com/office/drawing/2014/main" id="{CD30DB70-DEA8-44CC-A290-0DE5AF7219CF}"/>
                </a:ext>
              </a:extLst>
            </p:cNvPr>
            <p:cNvGrpSpPr/>
            <p:nvPr/>
          </p:nvGrpSpPr>
          <p:grpSpPr>
            <a:xfrm>
              <a:off x="6685061" y="4963591"/>
              <a:ext cx="68420" cy="140358"/>
              <a:chOff x="6685061" y="4963591"/>
              <a:chExt cx="68420" cy="140358"/>
            </a:xfrm>
            <a:grpFill/>
          </p:grpSpPr>
          <p:sp>
            <p:nvSpPr>
              <p:cNvPr id="3424" name="Vrije vorm: vorm 3423">
                <a:extLst>
                  <a:ext uri="{FF2B5EF4-FFF2-40B4-BE49-F238E27FC236}">
                    <a16:creationId xmlns:a16="http://schemas.microsoft.com/office/drawing/2014/main" id="{E565F42E-4187-42B1-96B0-B597C7B708C4}"/>
                  </a:ext>
                </a:extLst>
              </p:cNvPr>
              <p:cNvSpPr/>
              <p:nvPr/>
            </p:nvSpPr>
            <p:spPr>
              <a:xfrm>
                <a:off x="6692657" y="4971423"/>
                <a:ext cx="53301" cy="123960"/>
              </a:xfrm>
              <a:custGeom>
                <a:avLst/>
                <a:gdLst>
                  <a:gd name="connsiteX0" fmla="*/ 0 w 53301"/>
                  <a:gd name="connsiteY0" fmla="*/ 1159 h 123960"/>
                  <a:gd name="connsiteX1" fmla="*/ 2821 w 53301"/>
                  <a:gd name="connsiteY1" fmla="*/ 0 h 123960"/>
                  <a:gd name="connsiteX2" fmla="*/ 53301 w 53301"/>
                  <a:gd name="connsiteY2" fmla="*/ 122801 h 123960"/>
                  <a:gd name="connsiteX3" fmla="*/ 50480 w 53301"/>
                  <a:gd name="connsiteY3" fmla="*/ 123960 h 123960"/>
                </a:gdLst>
                <a:ahLst/>
                <a:cxnLst>
                  <a:cxn ang="0">
                    <a:pos x="connsiteX0" y="connsiteY0"/>
                  </a:cxn>
                  <a:cxn ang="0">
                    <a:pos x="connsiteX1" y="connsiteY1"/>
                  </a:cxn>
                  <a:cxn ang="0">
                    <a:pos x="connsiteX2" y="connsiteY2"/>
                  </a:cxn>
                  <a:cxn ang="0">
                    <a:pos x="connsiteX3" y="connsiteY3"/>
                  </a:cxn>
                </a:cxnLst>
                <a:rect l="l" t="t" r="r" b="b"/>
                <a:pathLst>
                  <a:path w="53301" h="123960">
                    <a:moveTo>
                      <a:pt x="0" y="1159"/>
                    </a:moveTo>
                    <a:lnTo>
                      <a:pt x="2821" y="0"/>
                    </a:lnTo>
                    <a:lnTo>
                      <a:pt x="53301" y="122801"/>
                    </a:lnTo>
                    <a:lnTo>
                      <a:pt x="50480" y="123960"/>
                    </a:lnTo>
                    <a:close/>
                  </a:path>
                </a:pathLst>
              </a:custGeom>
              <a:grpFill/>
              <a:ln w="5978" cap="flat">
                <a:noFill/>
                <a:prstDash val="solid"/>
                <a:miter/>
              </a:ln>
            </p:spPr>
            <p:txBody>
              <a:bodyPr rtlCol="0" anchor="ctr"/>
              <a:lstStyle/>
              <a:p>
                <a:endParaRPr lang="en-GB"/>
              </a:p>
            </p:txBody>
          </p:sp>
          <p:sp>
            <p:nvSpPr>
              <p:cNvPr id="3425" name="Vrije vorm: vorm 3424">
                <a:extLst>
                  <a:ext uri="{FF2B5EF4-FFF2-40B4-BE49-F238E27FC236}">
                    <a16:creationId xmlns:a16="http://schemas.microsoft.com/office/drawing/2014/main" id="{AFA0C630-3193-4BA5-8950-8AE1D34E6E7B}"/>
                  </a:ext>
                </a:extLst>
              </p:cNvPr>
              <p:cNvSpPr/>
              <p:nvPr/>
            </p:nvSpPr>
            <p:spPr>
              <a:xfrm>
                <a:off x="6735179" y="5085513"/>
                <a:ext cx="18301" cy="18436"/>
              </a:xfrm>
              <a:custGeom>
                <a:avLst/>
                <a:gdLst>
                  <a:gd name="connsiteX0" fmla="*/ 17614 w 18301"/>
                  <a:gd name="connsiteY0" fmla="*/ 5736 h 18436"/>
                  <a:gd name="connsiteX1" fmla="*/ 12650 w 18301"/>
                  <a:gd name="connsiteY1" fmla="*/ 17757 h 18436"/>
                  <a:gd name="connsiteX2" fmla="*/ 688 w 18301"/>
                  <a:gd name="connsiteY2" fmla="*/ 12734 h 18436"/>
                  <a:gd name="connsiteX3" fmla="*/ 5652 w 18301"/>
                  <a:gd name="connsiteY3" fmla="*/ 712 h 18436"/>
                  <a:gd name="connsiteX4" fmla="*/ 17614 w 18301"/>
                  <a:gd name="connsiteY4" fmla="*/ 573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6">
                    <a:moveTo>
                      <a:pt x="17614" y="5736"/>
                    </a:moveTo>
                    <a:cubicBezTo>
                      <a:pt x="19528" y="10461"/>
                      <a:pt x="17315" y="15844"/>
                      <a:pt x="12650" y="17757"/>
                    </a:cubicBezTo>
                    <a:cubicBezTo>
                      <a:pt x="7985" y="19671"/>
                      <a:pt x="2602" y="17399"/>
                      <a:pt x="688" y="12734"/>
                    </a:cubicBezTo>
                    <a:cubicBezTo>
                      <a:pt x="-1226" y="8009"/>
                      <a:pt x="987" y="2626"/>
                      <a:pt x="5652" y="712"/>
                    </a:cubicBezTo>
                    <a:cubicBezTo>
                      <a:pt x="10317" y="-1261"/>
                      <a:pt x="15700" y="1012"/>
                      <a:pt x="17614" y="5736"/>
                    </a:cubicBezTo>
                    <a:close/>
                  </a:path>
                </a:pathLst>
              </a:custGeom>
              <a:grpFill/>
              <a:ln w="5978" cap="flat">
                <a:noFill/>
                <a:prstDash val="solid"/>
                <a:miter/>
              </a:ln>
            </p:spPr>
            <p:txBody>
              <a:bodyPr rtlCol="0" anchor="ctr"/>
              <a:lstStyle/>
              <a:p>
                <a:endParaRPr lang="en-GB"/>
              </a:p>
            </p:txBody>
          </p:sp>
          <p:sp>
            <p:nvSpPr>
              <p:cNvPr id="3426" name="Vrije vorm: vorm 3425">
                <a:extLst>
                  <a:ext uri="{FF2B5EF4-FFF2-40B4-BE49-F238E27FC236}">
                    <a16:creationId xmlns:a16="http://schemas.microsoft.com/office/drawing/2014/main" id="{AED3D6AB-F97A-4B5C-9169-E833BC45BDDB}"/>
                  </a:ext>
                </a:extLst>
              </p:cNvPr>
              <p:cNvSpPr/>
              <p:nvPr/>
            </p:nvSpPr>
            <p:spPr>
              <a:xfrm>
                <a:off x="6685061" y="4963591"/>
                <a:ext cx="18335" cy="18419"/>
              </a:xfrm>
              <a:custGeom>
                <a:avLst/>
                <a:gdLst>
                  <a:gd name="connsiteX0" fmla="*/ 17614 w 18335"/>
                  <a:gd name="connsiteY0" fmla="*/ 5711 h 18419"/>
                  <a:gd name="connsiteX1" fmla="*/ 5652 w 18335"/>
                  <a:gd name="connsiteY1" fmla="*/ 687 h 18419"/>
                  <a:gd name="connsiteX2" fmla="*/ 688 w 18335"/>
                  <a:gd name="connsiteY2" fmla="*/ 12708 h 18419"/>
                  <a:gd name="connsiteX3" fmla="*/ 12650 w 18335"/>
                  <a:gd name="connsiteY3" fmla="*/ 17732 h 18419"/>
                  <a:gd name="connsiteX4" fmla="*/ 17614 w 18335"/>
                  <a:gd name="connsiteY4" fmla="*/ 5711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19">
                    <a:moveTo>
                      <a:pt x="17614" y="5711"/>
                    </a:moveTo>
                    <a:cubicBezTo>
                      <a:pt x="15700" y="986"/>
                      <a:pt x="10317" y="-1227"/>
                      <a:pt x="5652" y="687"/>
                    </a:cubicBezTo>
                    <a:cubicBezTo>
                      <a:pt x="987" y="2601"/>
                      <a:pt x="-1226" y="7984"/>
                      <a:pt x="688" y="12708"/>
                    </a:cubicBezTo>
                    <a:cubicBezTo>
                      <a:pt x="2602" y="17433"/>
                      <a:pt x="7985" y="19646"/>
                      <a:pt x="12650" y="17732"/>
                    </a:cubicBezTo>
                    <a:cubicBezTo>
                      <a:pt x="17374" y="15759"/>
                      <a:pt x="19588" y="10376"/>
                      <a:pt x="17614" y="5711"/>
                    </a:cubicBezTo>
                    <a:close/>
                  </a:path>
                </a:pathLst>
              </a:custGeom>
              <a:grpFill/>
              <a:ln w="5978" cap="flat">
                <a:noFill/>
                <a:prstDash val="solid"/>
                <a:miter/>
              </a:ln>
            </p:spPr>
            <p:txBody>
              <a:bodyPr rtlCol="0" anchor="ctr"/>
              <a:lstStyle/>
              <a:p>
                <a:endParaRPr lang="en-GB"/>
              </a:p>
            </p:txBody>
          </p:sp>
        </p:grpSp>
        <p:grpSp>
          <p:nvGrpSpPr>
            <p:cNvPr id="656" name="Graphic 3">
              <a:extLst>
                <a:ext uri="{FF2B5EF4-FFF2-40B4-BE49-F238E27FC236}">
                  <a16:creationId xmlns:a16="http://schemas.microsoft.com/office/drawing/2014/main" id="{6214D51A-755D-4B5A-B056-8BFF0C2202E9}"/>
                </a:ext>
              </a:extLst>
            </p:cNvPr>
            <p:cNvGrpSpPr/>
            <p:nvPr/>
          </p:nvGrpSpPr>
          <p:grpSpPr>
            <a:xfrm>
              <a:off x="5531484" y="1544482"/>
              <a:ext cx="82304" cy="250034"/>
              <a:chOff x="5531484" y="1544482"/>
              <a:chExt cx="82304" cy="250034"/>
            </a:xfrm>
            <a:grpFill/>
          </p:grpSpPr>
          <p:sp>
            <p:nvSpPr>
              <p:cNvPr id="3421" name="Vrije vorm: vorm 3420">
                <a:extLst>
                  <a:ext uri="{FF2B5EF4-FFF2-40B4-BE49-F238E27FC236}">
                    <a16:creationId xmlns:a16="http://schemas.microsoft.com/office/drawing/2014/main" id="{CDF0D03E-C2C2-4ED0-90F5-AA1B6AB1C9E0}"/>
                  </a:ext>
                </a:extLst>
              </p:cNvPr>
              <p:cNvSpPr/>
              <p:nvPr/>
            </p:nvSpPr>
            <p:spPr>
              <a:xfrm>
                <a:off x="5538903" y="1552627"/>
                <a:ext cx="67164" cy="233364"/>
              </a:xfrm>
              <a:custGeom>
                <a:avLst/>
                <a:gdLst>
                  <a:gd name="connsiteX0" fmla="*/ 0 w 67164"/>
                  <a:gd name="connsiteY0" fmla="*/ 812 h 233364"/>
                  <a:gd name="connsiteX1" fmla="*/ 2940 w 67164"/>
                  <a:gd name="connsiteY1" fmla="*/ 0 h 233364"/>
                  <a:gd name="connsiteX2" fmla="*/ 67164 w 67164"/>
                  <a:gd name="connsiteY2" fmla="*/ 232553 h 233364"/>
                  <a:gd name="connsiteX3" fmla="*/ 64224 w 67164"/>
                  <a:gd name="connsiteY3" fmla="*/ 233365 h 233364"/>
                </a:gdLst>
                <a:ahLst/>
                <a:cxnLst>
                  <a:cxn ang="0">
                    <a:pos x="connsiteX0" y="connsiteY0"/>
                  </a:cxn>
                  <a:cxn ang="0">
                    <a:pos x="connsiteX1" y="connsiteY1"/>
                  </a:cxn>
                  <a:cxn ang="0">
                    <a:pos x="connsiteX2" y="connsiteY2"/>
                  </a:cxn>
                  <a:cxn ang="0">
                    <a:pos x="connsiteX3" y="connsiteY3"/>
                  </a:cxn>
                </a:cxnLst>
                <a:rect l="l" t="t" r="r" b="b"/>
                <a:pathLst>
                  <a:path w="67164" h="233364">
                    <a:moveTo>
                      <a:pt x="0" y="812"/>
                    </a:moveTo>
                    <a:lnTo>
                      <a:pt x="2940" y="0"/>
                    </a:lnTo>
                    <a:lnTo>
                      <a:pt x="67164" y="232553"/>
                    </a:lnTo>
                    <a:lnTo>
                      <a:pt x="64224" y="233365"/>
                    </a:lnTo>
                    <a:close/>
                  </a:path>
                </a:pathLst>
              </a:custGeom>
              <a:grpFill/>
              <a:ln w="5978" cap="flat">
                <a:noFill/>
                <a:prstDash val="solid"/>
                <a:miter/>
              </a:ln>
            </p:spPr>
            <p:txBody>
              <a:bodyPr rtlCol="0" anchor="ctr"/>
              <a:lstStyle/>
              <a:p>
                <a:endParaRPr lang="en-GB"/>
              </a:p>
            </p:txBody>
          </p:sp>
          <p:sp>
            <p:nvSpPr>
              <p:cNvPr id="3422" name="Vrije vorm: vorm 3421">
                <a:extLst>
                  <a:ext uri="{FF2B5EF4-FFF2-40B4-BE49-F238E27FC236}">
                    <a16:creationId xmlns:a16="http://schemas.microsoft.com/office/drawing/2014/main" id="{27DF5E4D-1278-4B0B-B973-14DA46AA2E33}"/>
                  </a:ext>
                </a:extLst>
              </p:cNvPr>
              <p:cNvSpPr/>
              <p:nvPr/>
            </p:nvSpPr>
            <p:spPr>
              <a:xfrm>
                <a:off x="5531484" y="1544482"/>
                <a:ext cx="18391" cy="18421"/>
              </a:xfrm>
              <a:custGeom>
                <a:avLst/>
                <a:gdLst>
                  <a:gd name="connsiteX0" fmla="*/ 344 w 18391"/>
                  <a:gd name="connsiteY0" fmla="*/ 11623 h 18421"/>
                  <a:gd name="connsiteX1" fmla="*/ 6744 w 18391"/>
                  <a:gd name="connsiteY1" fmla="*/ 319 h 18421"/>
                  <a:gd name="connsiteX2" fmla="*/ 18047 w 18391"/>
                  <a:gd name="connsiteY2" fmla="*/ 6778 h 18421"/>
                  <a:gd name="connsiteX3" fmla="*/ 11648 w 18391"/>
                  <a:gd name="connsiteY3" fmla="*/ 18082 h 18421"/>
                  <a:gd name="connsiteX4" fmla="*/ 344 w 18391"/>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21">
                    <a:moveTo>
                      <a:pt x="344" y="11623"/>
                    </a:moveTo>
                    <a:cubicBezTo>
                      <a:pt x="-1031" y="6718"/>
                      <a:pt x="1839" y="1635"/>
                      <a:pt x="6744" y="319"/>
                    </a:cubicBezTo>
                    <a:cubicBezTo>
                      <a:pt x="11648" y="-997"/>
                      <a:pt x="16671" y="1874"/>
                      <a:pt x="18047" y="6778"/>
                    </a:cubicBezTo>
                    <a:cubicBezTo>
                      <a:pt x="19423" y="11682"/>
                      <a:pt x="16552" y="16766"/>
                      <a:pt x="11648" y="18082"/>
                    </a:cubicBezTo>
                    <a:cubicBezTo>
                      <a:pt x="6744" y="19457"/>
                      <a:pt x="1660" y="16527"/>
                      <a:pt x="344" y="11623"/>
                    </a:cubicBezTo>
                    <a:close/>
                  </a:path>
                </a:pathLst>
              </a:custGeom>
              <a:grpFill/>
              <a:ln w="5978" cap="flat">
                <a:noFill/>
                <a:prstDash val="solid"/>
                <a:miter/>
              </a:ln>
            </p:spPr>
            <p:txBody>
              <a:bodyPr rtlCol="0" anchor="ctr"/>
              <a:lstStyle/>
              <a:p>
                <a:endParaRPr lang="en-GB"/>
              </a:p>
            </p:txBody>
          </p:sp>
          <p:sp>
            <p:nvSpPr>
              <p:cNvPr id="3423" name="Vrije vorm: vorm 3422">
                <a:extLst>
                  <a:ext uri="{FF2B5EF4-FFF2-40B4-BE49-F238E27FC236}">
                    <a16:creationId xmlns:a16="http://schemas.microsoft.com/office/drawing/2014/main" id="{67864ED3-E2CA-4693-B09A-1EE02C015348}"/>
                  </a:ext>
                </a:extLst>
              </p:cNvPr>
              <p:cNvSpPr/>
              <p:nvPr/>
            </p:nvSpPr>
            <p:spPr>
              <a:xfrm>
                <a:off x="5595418" y="1776115"/>
                <a:ext cx="18370" cy="18400"/>
              </a:xfrm>
              <a:custGeom>
                <a:avLst/>
                <a:gdLst>
                  <a:gd name="connsiteX0" fmla="*/ 344 w 18370"/>
                  <a:gd name="connsiteY0" fmla="*/ 11623 h 18400"/>
                  <a:gd name="connsiteX1" fmla="*/ 11648 w 18370"/>
                  <a:gd name="connsiteY1" fmla="*/ 18082 h 18400"/>
                  <a:gd name="connsiteX2" fmla="*/ 18047 w 18370"/>
                  <a:gd name="connsiteY2" fmla="*/ 6778 h 18400"/>
                  <a:gd name="connsiteX3" fmla="*/ 6744 w 18370"/>
                  <a:gd name="connsiteY3" fmla="*/ 319 h 18400"/>
                  <a:gd name="connsiteX4" fmla="*/ 344 w 18370"/>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00">
                    <a:moveTo>
                      <a:pt x="344" y="11623"/>
                    </a:moveTo>
                    <a:cubicBezTo>
                      <a:pt x="1720" y="16527"/>
                      <a:pt x="6744" y="19398"/>
                      <a:pt x="11648" y="18082"/>
                    </a:cubicBezTo>
                    <a:cubicBezTo>
                      <a:pt x="16552" y="16766"/>
                      <a:pt x="19363" y="11682"/>
                      <a:pt x="18047" y="6778"/>
                    </a:cubicBezTo>
                    <a:cubicBezTo>
                      <a:pt x="16671" y="1874"/>
                      <a:pt x="11648" y="-997"/>
                      <a:pt x="6744" y="319"/>
                    </a:cubicBezTo>
                    <a:cubicBezTo>
                      <a:pt x="1839" y="1695"/>
                      <a:pt x="-1031" y="6718"/>
                      <a:pt x="344" y="11623"/>
                    </a:cubicBezTo>
                    <a:close/>
                  </a:path>
                </a:pathLst>
              </a:custGeom>
              <a:grpFill/>
              <a:ln w="5978" cap="flat">
                <a:noFill/>
                <a:prstDash val="solid"/>
                <a:miter/>
              </a:ln>
            </p:spPr>
            <p:txBody>
              <a:bodyPr rtlCol="0" anchor="ctr"/>
              <a:lstStyle/>
              <a:p>
                <a:endParaRPr lang="en-GB"/>
              </a:p>
            </p:txBody>
          </p:sp>
        </p:grpSp>
        <p:grpSp>
          <p:nvGrpSpPr>
            <p:cNvPr id="657" name="Graphic 3">
              <a:extLst>
                <a:ext uri="{FF2B5EF4-FFF2-40B4-BE49-F238E27FC236}">
                  <a16:creationId xmlns:a16="http://schemas.microsoft.com/office/drawing/2014/main" id="{710817B2-C81C-42D7-8D8B-C663FAB40C3F}"/>
                </a:ext>
              </a:extLst>
            </p:cNvPr>
            <p:cNvGrpSpPr/>
            <p:nvPr/>
          </p:nvGrpSpPr>
          <p:grpSpPr>
            <a:xfrm>
              <a:off x="6684319" y="4963806"/>
              <a:ext cx="146245" cy="428979"/>
              <a:chOff x="6684319" y="4963806"/>
              <a:chExt cx="146245" cy="428979"/>
            </a:xfrm>
            <a:grpFill/>
          </p:grpSpPr>
          <p:sp>
            <p:nvSpPr>
              <p:cNvPr id="3418" name="Vrije vorm: vorm 3417">
                <a:extLst>
                  <a:ext uri="{FF2B5EF4-FFF2-40B4-BE49-F238E27FC236}">
                    <a16:creationId xmlns:a16="http://schemas.microsoft.com/office/drawing/2014/main" id="{08214C5E-5BF1-4C74-87AF-B4355B42AB7F}"/>
                  </a:ext>
                </a:extLst>
              </p:cNvPr>
              <p:cNvSpPr/>
              <p:nvPr/>
            </p:nvSpPr>
            <p:spPr>
              <a:xfrm>
                <a:off x="6691637" y="4972361"/>
                <a:ext cx="131108" cy="412298"/>
              </a:xfrm>
              <a:custGeom>
                <a:avLst/>
                <a:gdLst>
                  <a:gd name="connsiteX0" fmla="*/ 0 w 131108"/>
                  <a:gd name="connsiteY0" fmla="*/ 907 h 412298"/>
                  <a:gd name="connsiteX1" fmla="*/ 2912 w 131108"/>
                  <a:gd name="connsiteY1" fmla="*/ 0 h 412298"/>
                  <a:gd name="connsiteX2" fmla="*/ 131108 w 131108"/>
                  <a:gd name="connsiteY2" fmla="*/ 411391 h 412298"/>
                  <a:gd name="connsiteX3" fmla="*/ 128196 w 131108"/>
                  <a:gd name="connsiteY3" fmla="*/ 412298 h 412298"/>
                </a:gdLst>
                <a:ahLst/>
                <a:cxnLst>
                  <a:cxn ang="0">
                    <a:pos x="connsiteX0" y="connsiteY0"/>
                  </a:cxn>
                  <a:cxn ang="0">
                    <a:pos x="connsiteX1" y="connsiteY1"/>
                  </a:cxn>
                  <a:cxn ang="0">
                    <a:pos x="connsiteX2" y="connsiteY2"/>
                  </a:cxn>
                  <a:cxn ang="0">
                    <a:pos x="connsiteX3" y="connsiteY3"/>
                  </a:cxn>
                </a:cxnLst>
                <a:rect l="l" t="t" r="r" b="b"/>
                <a:pathLst>
                  <a:path w="131108" h="412298">
                    <a:moveTo>
                      <a:pt x="0" y="907"/>
                    </a:moveTo>
                    <a:lnTo>
                      <a:pt x="2912" y="0"/>
                    </a:lnTo>
                    <a:lnTo>
                      <a:pt x="131108" y="411391"/>
                    </a:lnTo>
                    <a:lnTo>
                      <a:pt x="128196" y="412298"/>
                    </a:lnTo>
                    <a:close/>
                  </a:path>
                </a:pathLst>
              </a:custGeom>
              <a:grpFill/>
              <a:ln w="5978" cap="flat">
                <a:noFill/>
                <a:prstDash val="solid"/>
                <a:miter/>
              </a:ln>
            </p:spPr>
            <p:txBody>
              <a:bodyPr rtlCol="0" anchor="ctr"/>
              <a:lstStyle/>
              <a:p>
                <a:endParaRPr lang="en-GB"/>
              </a:p>
            </p:txBody>
          </p:sp>
          <p:sp>
            <p:nvSpPr>
              <p:cNvPr id="3419" name="Vrije vorm: vorm 3418">
                <a:extLst>
                  <a:ext uri="{FF2B5EF4-FFF2-40B4-BE49-F238E27FC236}">
                    <a16:creationId xmlns:a16="http://schemas.microsoft.com/office/drawing/2014/main" id="{842CA8FE-6849-4F71-96F4-FE15269C9A5C}"/>
                  </a:ext>
                </a:extLst>
              </p:cNvPr>
              <p:cNvSpPr/>
              <p:nvPr/>
            </p:nvSpPr>
            <p:spPr>
              <a:xfrm>
                <a:off x="6684319" y="4963806"/>
                <a:ext cx="18290" cy="18463"/>
              </a:xfrm>
              <a:custGeom>
                <a:avLst/>
                <a:gdLst>
                  <a:gd name="connsiteX0" fmla="*/ 413 w 18290"/>
                  <a:gd name="connsiteY0" fmla="*/ 11955 h 18463"/>
                  <a:gd name="connsiteX1" fmla="*/ 6394 w 18290"/>
                  <a:gd name="connsiteY1" fmla="*/ 413 h 18463"/>
                  <a:gd name="connsiteX2" fmla="*/ 17877 w 18290"/>
                  <a:gd name="connsiteY2" fmla="*/ 6513 h 18463"/>
                  <a:gd name="connsiteX3" fmla="*/ 11896 w 18290"/>
                  <a:gd name="connsiteY3" fmla="*/ 18056 h 18463"/>
                  <a:gd name="connsiteX4" fmla="*/ 413 w 18290"/>
                  <a:gd name="connsiteY4" fmla="*/ 11955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63">
                    <a:moveTo>
                      <a:pt x="413" y="11955"/>
                    </a:moveTo>
                    <a:cubicBezTo>
                      <a:pt x="-1082" y="7111"/>
                      <a:pt x="1610" y="1908"/>
                      <a:pt x="6394" y="413"/>
                    </a:cubicBezTo>
                    <a:cubicBezTo>
                      <a:pt x="11238" y="-1083"/>
                      <a:pt x="16382" y="1609"/>
                      <a:pt x="17877" y="6513"/>
                    </a:cubicBezTo>
                    <a:cubicBezTo>
                      <a:pt x="19372" y="11357"/>
                      <a:pt x="16681" y="16561"/>
                      <a:pt x="11896" y="18056"/>
                    </a:cubicBezTo>
                    <a:cubicBezTo>
                      <a:pt x="7052" y="19551"/>
                      <a:pt x="1908" y="16800"/>
                      <a:pt x="413" y="11955"/>
                    </a:cubicBezTo>
                    <a:close/>
                  </a:path>
                </a:pathLst>
              </a:custGeom>
              <a:grpFill/>
              <a:ln w="5978" cap="flat">
                <a:noFill/>
                <a:prstDash val="solid"/>
                <a:miter/>
              </a:ln>
            </p:spPr>
            <p:txBody>
              <a:bodyPr rtlCol="0" anchor="ctr"/>
              <a:lstStyle/>
              <a:p>
                <a:endParaRPr lang="en-GB"/>
              </a:p>
            </p:txBody>
          </p:sp>
          <p:sp>
            <p:nvSpPr>
              <p:cNvPr id="3420" name="Vrije vorm: vorm 3419">
                <a:extLst>
                  <a:ext uri="{FF2B5EF4-FFF2-40B4-BE49-F238E27FC236}">
                    <a16:creationId xmlns:a16="http://schemas.microsoft.com/office/drawing/2014/main" id="{F5E321EE-3F3C-44F1-9110-F19F34AD4D26}"/>
                  </a:ext>
                </a:extLst>
              </p:cNvPr>
              <p:cNvSpPr/>
              <p:nvPr/>
            </p:nvSpPr>
            <p:spPr>
              <a:xfrm>
                <a:off x="6812247" y="5374328"/>
                <a:ext cx="18317" cy="18457"/>
              </a:xfrm>
              <a:custGeom>
                <a:avLst/>
                <a:gdLst>
                  <a:gd name="connsiteX0" fmla="*/ 413 w 18317"/>
                  <a:gd name="connsiteY0" fmla="*/ 11950 h 18457"/>
                  <a:gd name="connsiteX1" fmla="*/ 11896 w 18317"/>
                  <a:gd name="connsiteY1" fmla="*/ 18050 h 18457"/>
                  <a:gd name="connsiteX2" fmla="*/ 17877 w 18317"/>
                  <a:gd name="connsiteY2" fmla="*/ 6508 h 18457"/>
                  <a:gd name="connsiteX3" fmla="*/ 6394 w 18317"/>
                  <a:gd name="connsiteY3" fmla="*/ 407 h 18457"/>
                  <a:gd name="connsiteX4" fmla="*/ 413 w 18317"/>
                  <a:gd name="connsiteY4" fmla="*/ 1195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7">
                    <a:moveTo>
                      <a:pt x="413" y="11950"/>
                    </a:moveTo>
                    <a:cubicBezTo>
                      <a:pt x="1908" y="16795"/>
                      <a:pt x="7052" y="19546"/>
                      <a:pt x="11896" y="18050"/>
                    </a:cubicBezTo>
                    <a:cubicBezTo>
                      <a:pt x="16741" y="16555"/>
                      <a:pt x="19432" y="11412"/>
                      <a:pt x="17877" y="6508"/>
                    </a:cubicBezTo>
                    <a:cubicBezTo>
                      <a:pt x="16382" y="1663"/>
                      <a:pt x="11238" y="-1088"/>
                      <a:pt x="6394" y="407"/>
                    </a:cubicBezTo>
                    <a:cubicBezTo>
                      <a:pt x="1609" y="1962"/>
                      <a:pt x="-1082" y="7106"/>
                      <a:pt x="413" y="11950"/>
                    </a:cubicBezTo>
                    <a:close/>
                  </a:path>
                </a:pathLst>
              </a:custGeom>
              <a:grpFill/>
              <a:ln w="5978" cap="flat">
                <a:noFill/>
                <a:prstDash val="solid"/>
                <a:miter/>
              </a:ln>
            </p:spPr>
            <p:txBody>
              <a:bodyPr rtlCol="0" anchor="ctr"/>
              <a:lstStyle/>
              <a:p>
                <a:endParaRPr lang="en-GB"/>
              </a:p>
            </p:txBody>
          </p:sp>
        </p:grpSp>
        <p:grpSp>
          <p:nvGrpSpPr>
            <p:cNvPr id="658" name="Graphic 3">
              <a:extLst>
                <a:ext uri="{FF2B5EF4-FFF2-40B4-BE49-F238E27FC236}">
                  <a16:creationId xmlns:a16="http://schemas.microsoft.com/office/drawing/2014/main" id="{0472094E-11B1-461E-95D2-7F1121F90E01}"/>
                </a:ext>
              </a:extLst>
            </p:cNvPr>
            <p:cNvGrpSpPr/>
            <p:nvPr/>
          </p:nvGrpSpPr>
          <p:grpSpPr>
            <a:xfrm>
              <a:off x="6756881" y="5234038"/>
              <a:ext cx="73102" cy="158968"/>
              <a:chOff x="6756881" y="5234038"/>
              <a:chExt cx="73102" cy="158968"/>
            </a:xfrm>
            <a:grpFill/>
          </p:grpSpPr>
          <p:sp>
            <p:nvSpPr>
              <p:cNvPr id="3415" name="Vrije vorm: vorm 3414">
                <a:extLst>
                  <a:ext uri="{FF2B5EF4-FFF2-40B4-BE49-F238E27FC236}">
                    <a16:creationId xmlns:a16="http://schemas.microsoft.com/office/drawing/2014/main" id="{E8947061-8BAB-4F32-8692-EDDA907A9FD0}"/>
                  </a:ext>
                </a:extLst>
              </p:cNvPr>
              <p:cNvSpPr/>
              <p:nvPr/>
            </p:nvSpPr>
            <p:spPr>
              <a:xfrm>
                <a:off x="6764613" y="5242207"/>
                <a:ext cx="58040" cy="142446"/>
              </a:xfrm>
              <a:custGeom>
                <a:avLst/>
                <a:gdLst>
                  <a:gd name="connsiteX0" fmla="*/ 0 w 58040"/>
                  <a:gd name="connsiteY0" fmla="*/ 1110 h 142446"/>
                  <a:gd name="connsiteX1" fmla="*/ 2841 w 58040"/>
                  <a:gd name="connsiteY1" fmla="*/ 0 h 142446"/>
                  <a:gd name="connsiteX2" fmla="*/ 58041 w 58040"/>
                  <a:gd name="connsiteY2" fmla="*/ 141337 h 142446"/>
                  <a:gd name="connsiteX3" fmla="*/ 55200 w 58040"/>
                  <a:gd name="connsiteY3" fmla="*/ 142447 h 142446"/>
                </a:gdLst>
                <a:ahLst/>
                <a:cxnLst>
                  <a:cxn ang="0">
                    <a:pos x="connsiteX0" y="connsiteY0"/>
                  </a:cxn>
                  <a:cxn ang="0">
                    <a:pos x="connsiteX1" y="connsiteY1"/>
                  </a:cxn>
                  <a:cxn ang="0">
                    <a:pos x="connsiteX2" y="connsiteY2"/>
                  </a:cxn>
                  <a:cxn ang="0">
                    <a:pos x="connsiteX3" y="connsiteY3"/>
                  </a:cxn>
                </a:cxnLst>
                <a:rect l="l" t="t" r="r" b="b"/>
                <a:pathLst>
                  <a:path w="58040" h="142446">
                    <a:moveTo>
                      <a:pt x="0" y="1110"/>
                    </a:moveTo>
                    <a:lnTo>
                      <a:pt x="2841" y="0"/>
                    </a:lnTo>
                    <a:lnTo>
                      <a:pt x="58041" y="141337"/>
                    </a:lnTo>
                    <a:lnTo>
                      <a:pt x="55200" y="142447"/>
                    </a:lnTo>
                    <a:close/>
                  </a:path>
                </a:pathLst>
              </a:custGeom>
              <a:grpFill/>
              <a:ln w="5978" cap="flat">
                <a:noFill/>
                <a:prstDash val="solid"/>
                <a:miter/>
              </a:ln>
            </p:spPr>
            <p:txBody>
              <a:bodyPr rtlCol="0" anchor="ctr"/>
              <a:lstStyle/>
              <a:p>
                <a:endParaRPr lang="en-GB"/>
              </a:p>
            </p:txBody>
          </p:sp>
          <p:sp>
            <p:nvSpPr>
              <p:cNvPr id="3416" name="Vrije vorm: vorm 3415">
                <a:extLst>
                  <a:ext uri="{FF2B5EF4-FFF2-40B4-BE49-F238E27FC236}">
                    <a16:creationId xmlns:a16="http://schemas.microsoft.com/office/drawing/2014/main" id="{1A4C8DD5-ED50-40CE-A0BD-C61E503D1D74}"/>
                  </a:ext>
                </a:extLst>
              </p:cNvPr>
              <p:cNvSpPr/>
              <p:nvPr/>
            </p:nvSpPr>
            <p:spPr>
              <a:xfrm>
                <a:off x="6811605" y="5374577"/>
                <a:ext cx="18378" cy="18429"/>
              </a:xfrm>
              <a:custGeom>
                <a:avLst/>
                <a:gdLst>
                  <a:gd name="connsiteX0" fmla="*/ 17742 w 18378"/>
                  <a:gd name="connsiteY0" fmla="*/ 5899 h 18429"/>
                  <a:gd name="connsiteX1" fmla="*/ 12538 w 18378"/>
                  <a:gd name="connsiteY1" fmla="*/ 17801 h 18429"/>
                  <a:gd name="connsiteX2" fmla="*/ 637 w 18378"/>
                  <a:gd name="connsiteY2" fmla="*/ 12538 h 18429"/>
                  <a:gd name="connsiteX3" fmla="*/ 5840 w 18378"/>
                  <a:gd name="connsiteY3" fmla="*/ 636 h 18429"/>
                  <a:gd name="connsiteX4" fmla="*/ 17742 w 18378"/>
                  <a:gd name="connsiteY4" fmla="*/ 58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9">
                    <a:moveTo>
                      <a:pt x="17742" y="5899"/>
                    </a:moveTo>
                    <a:cubicBezTo>
                      <a:pt x="19596" y="10624"/>
                      <a:pt x="17263" y="16007"/>
                      <a:pt x="12538" y="17801"/>
                    </a:cubicBezTo>
                    <a:cubicBezTo>
                      <a:pt x="7814" y="19655"/>
                      <a:pt x="2491" y="17263"/>
                      <a:pt x="637" y="12538"/>
                    </a:cubicBezTo>
                    <a:cubicBezTo>
                      <a:pt x="-1217" y="7813"/>
                      <a:pt x="1115" y="2430"/>
                      <a:pt x="5840" y="636"/>
                    </a:cubicBezTo>
                    <a:cubicBezTo>
                      <a:pt x="10565" y="-1218"/>
                      <a:pt x="15888" y="1115"/>
                      <a:pt x="17742" y="5899"/>
                    </a:cubicBezTo>
                    <a:close/>
                  </a:path>
                </a:pathLst>
              </a:custGeom>
              <a:grpFill/>
              <a:ln w="5978" cap="flat">
                <a:noFill/>
                <a:prstDash val="solid"/>
                <a:miter/>
              </a:ln>
            </p:spPr>
            <p:txBody>
              <a:bodyPr rtlCol="0" anchor="ctr"/>
              <a:lstStyle/>
              <a:p>
                <a:endParaRPr lang="en-GB"/>
              </a:p>
            </p:txBody>
          </p:sp>
          <p:sp>
            <p:nvSpPr>
              <p:cNvPr id="3417" name="Vrije vorm: vorm 3416">
                <a:extLst>
                  <a:ext uri="{FF2B5EF4-FFF2-40B4-BE49-F238E27FC236}">
                    <a16:creationId xmlns:a16="http://schemas.microsoft.com/office/drawing/2014/main" id="{B101EE32-2AF9-4C8D-9509-1BCA190773CC}"/>
                  </a:ext>
                </a:extLst>
              </p:cNvPr>
              <p:cNvSpPr/>
              <p:nvPr/>
            </p:nvSpPr>
            <p:spPr>
              <a:xfrm>
                <a:off x="6756881" y="5234038"/>
                <a:ext cx="18378" cy="18421"/>
              </a:xfrm>
              <a:custGeom>
                <a:avLst/>
                <a:gdLst>
                  <a:gd name="connsiteX0" fmla="*/ 17742 w 18378"/>
                  <a:gd name="connsiteY0" fmla="*/ 5892 h 18421"/>
                  <a:gd name="connsiteX1" fmla="*/ 5840 w 18378"/>
                  <a:gd name="connsiteY1" fmla="*/ 629 h 18421"/>
                  <a:gd name="connsiteX2" fmla="*/ 637 w 18378"/>
                  <a:gd name="connsiteY2" fmla="*/ 12530 h 18421"/>
                  <a:gd name="connsiteX3" fmla="*/ 12538 w 18378"/>
                  <a:gd name="connsiteY3" fmla="*/ 17793 h 18421"/>
                  <a:gd name="connsiteX4" fmla="*/ 17742 w 18378"/>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1">
                    <a:moveTo>
                      <a:pt x="17742" y="5892"/>
                    </a:moveTo>
                    <a:cubicBezTo>
                      <a:pt x="15888" y="1167"/>
                      <a:pt x="10565" y="-1225"/>
                      <a:pt x="5840" y="629"/>
                    </a:cubicBezTo>
                    <a:cubicBezTo>
                      <a:pt x="1115" y="2483"/>
                      <a:pt x="-1217" y="7806"/>
                      <a:pt x="637" y="12530"/>
                    </a:cubicBezTo>
                    <a:cubicBezTo>
                      <a:pt x="2491" y="17255"/>
                      <a:pt x="7814" y="19647"/>
                      <a:pt x="12538" y="17793"/>
                    </a:cubicBezTo>
                    <a:cubicBezTo>
                      <a:pt x="17263" y="15939"/>
                      <a:pt x="19596" y="10617"/>
                      <a:pt x="17742" y="5892"/>
                    </a:cubicBezTo>
                    <a:close/>
                  </a:path>
                </a:pathLst>
              </a:custGeom>
              <a:grpFill/>
              <a:ln w="5978" cap="flat">
                <a:noFill/>
                <a:prstDash val="solid"/>
                <a:miter/>
              </a:ln>
            </p:spPr>
            <p:txBody>
              <a:bodyPr rtlCol="0" anchor="ctr"/>
              <a:lstStyle/>
              <a:p>
                <a:endParaRPr lang="en-GB"/>
              </a:p>
            </p:txBody>
          </p:sp>
        </p:grpSp>
        <p:grpSp>
          <p:nvGrpSpPr>
            <p:cNvPr id="659" name="Graphic 3">
              <a:extLst>
                <a:ext uri="{FF2B5EF4-FFF2-40B4-BE49-F238E27FC236}">
                  <a16:creationId xmlns:a16="http://schemas.microsoft.com/office/drawing/2014/main" id="{F9300A27-F478-4A74-9B43-535C8806BF3C}"/>
                </a:ext>
              </a:extLst>
            </p:cNvPr>
            <p:cNvGrpSpPr/>
            <p:nvPr/>
          </p:nvGrpSpPr>
          <p:grpSpPr>
            <a:xfrm>
              <a:off x="6708796" y="5110476"/>
              <a:ext cx="59764" cy="124818"/>
              <a:chOff x="6708796" y="5110476"/>
              <a:chExt cx="59764" cy="124818"/>
            </a:xfrm>
            <a:grpFill/>
          </p:grpSpPr>
          <p:sp>
            <p:nvSpPr>
              <p:cNvPr id="3412" name="Vrije vorm: vorm 3411">
                <a:extLst>
                  <a:ext uri="{FF2B5EF4-FFF2-40B4-BE49-F238E27FC236}">
                    <a16:creationId xmlns:a16="http://schemas.microsoft.com/office/drawing/2014/main" id="{AE5CC10B-4211-40B3-A108-BB87ACDAFCE0}"/>
                  </a:ext>
                </a:extLst>
              </p:cNvPr>
              <p:cNvSpPr/>
              <p:nvPr/>
            </p:nvSpPr>
            <p:spPr>
              <a:xfrm>
                <a:off x="6716487" y="5118474"/>
                <a:ext cx="44669" cy="108307"/>
              </a:xfrm>
              <a:custGeom>
                <a:avLst/>
                <a:gdLst>
                  <a:gd name="connsiteX0" fmla="*/ 0 w 44669"/>
                  <a:gd name="connsiteY0" fmla="*/ 1109 h 108307"/>
                  <a:gd name="connsiteX1" fmla="*/ 2842 w 44669"/>
                  <a:gd name="connsiteY1" fmla="*/ 0 h 108307"/>
                  <a:gd name="connsiteX2" fmla="*/ 44669 w 44669"/>
                  <a:gd name="connsiteY2" fmla="*/ 107198 h 108307"/>
                  <a:gd name="connsiteX3" fmla="*/ 41828 w 44669"/>
                  <a:gd name="connsiteY3" fmla="*/ 108307 h 108307"/>
                </a:gdLst>
                <a:ahLst/>
                <a:cxnLst>
                  <a:cxn ang="0">
                    <a:pos x="connsiteX0" y="connsiteY0"/>
                  </a:cxn>
                  <a:cxn ang="0">
                    <a:pos x="connsiteX1" y="connsiteY1"/>
                  </a:cxn>
                  <a:cxn ang="0">
                    <a:pos x="connsiteX2" y="connsiteY2"/>
                  </a:cxn>
                  <a:cxn ang="0">
                    <a:pos x="connsiteX3" y="connsiteY3"/>
                  </a:cxn>
                </a:cxnLst>
                <a:rect l="l" t="t" r="r" b="b"/>
                <a:pathLst>
                  <a:path w="44669" h="108307">
                    <a:moveTo>
                      <a:pt x="0" y="1109"/>
                    </a:moveTo>
                    <a:lnTo>
                      <a:pt x="2842" y="0"/>
                    </a:lnTo>
                    <a:lnTo>
                      <a:pt x="44669" y="107198"/>
                    </a:lnTo>
                    <a:lnTo>
                      <a:pt x="41828" y="108307"/>
                    </a:lnTo>
                    <a:close/>
                  </a:path>
                </a:pathLst>
              </a:custGeom>
              <a:grpFill/>
              <a:ln w="5978" cap="flat">
                <a:noFill/>
                <a:prstDash val="solid"/>
                <a:miter/>
              </a:ln>
            </p:spPr>
            <p:txBody>
              <a:bodyPr rtlCol="0" anchor="ctr"/>
              <a:lstStyle/>
              <a:p>
                <a:endParaRPr lang="en-GB"/>
              </a:p>
            </p:txBody>
          </p:sp>
          <p:sp>
            <p:nvSpPr>
              <p:cNvPr id="3413" name="Vrije vorm: vorm 3412">
                <a:extLst>
                  <a:ext uri="{FF2B5EF4-FFF2-40B4-BE49-F238E27FC236}">
                    <a16:creationId xmlns:a16="http://schemas.microsoft.com/office/drawing/2014/main" id="{8D99AFC1-834C-452C-92D2-557D42280C85}"/>
                  </a:ext>
                </a:extLst>
              </p:cNvPr>
              <p:cNvSpPr/>
              <p:nvPr/>
            </p:nvSpPr>
            <p:spPr>
              <a:xfrm>
                <a:off x="6750182" y="5216866"/>
                <a:ext cx="18378" cy="18429"/>
              </a:xfrm>
              <a:custGeom>
                <a:avLst/>
                <a:gdLst>
                  <a:gd name="connsiteX0" fmla="*/ 17742 w 18378"/>
                  <a:gd name="connsiteY0" fmla="*/ 5899 h 18429"/>
                  <a:gd name="connsiteX1" fmla="*/ 12538 w 18378"/>
                  <a:gd name="connsiteY1" fmla="*/ 17801 h 18429"/>
                  <a:gd name="connsiteX2" fmla="*/ 637 w 18378"/>
                  <a:gd name="connsiteY2" fmla="*/ 12538 h 18429"/>
                  <a:gd name="connsiteX3" fmla="*/ 5840 w 18378"/>
                  <a:gd name="connsiteY3" fmla="*/ 636 h 18429"/>
                  <a:gd name="connsiteX4" fmla="*/ 17742 w 18378"/>
                  <a:gd name="connsiteY4" fmla="*/ 58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9">
                    <a:moveTo>
                      <a:pt x="17742" y="5899"/>
                    </a:moveTo>
                    <a:cubicBezTo>
                      <a:pt x="19596" y="10624"/>
                      <a:pt x="17263" y="16007"/>
                      <a:pt x="12538" y="17801"/>
                    </a:cubicBezTo>
                    <a:cubicBezTo>
                      <a:pt x="7814" y="19655"/>
                      <a:pt x="2491" y="17263"/>
                      <a:pt x="637" y="12538"/>
                    </a:cubicBezTo>
                    <a:cubicBezTo>
                      <a:pt x="-1217" y="7813"/>
                      <a:pt x="1115" y="2430"/>
                      <a:pt x="5840" y="636"/>
                    </a:cubicBezTo>
                    <a:cubicBezTo>
                      <a:pt x="10625" y="-1218"/>
                      <a:pt x="15947" y="1115"/>
                      <a:pt x="17742" y="5899"/>
                    </a:cubicBezTo>
                    <a:close/>
                  </a:path>
                </a:pathLst>
              </a:custGeom>
              <a:grpFill/>
              <a:ln w="5978" cap="flat">
                <a:noFill/>
                <a:prstDash val="solid"/>
                <a:miter/>
              </a:ln>
            </p:spPr>
            <p:txBody>
              <a:bodyPr rtlCol="0" anchor="ctr"/>
              <a:lstStyle/>
              <a:p>
                <a:endParaRPr lang="en-GB"/>
              </a:p>
            </p:txBody>
          </p:sp>
          <p:sp>
            <p:nvSpPr>
              <p:cNvPr id="3414" name="Vrije vorm: vorm 3413">
                <a:extLst>
                  <a:ext uri="{FF2B5EF4-FFF2-40B4-BE49-F238E27FC236}">
                    <a16:creationId xmlns:a16="http://schemas.microsoft.com/office/drawing/2014/main" id="{D2D18025-0E6A-4256-AD4E-FFE4CD9DED29}"/>
                  </a:ext>
                </a:extLst>
              </p:cNvPr>
              <p:cNvSpPr/>
              <p:nvPr/>
            </p:nvSpPr>
            <p:spPr>
              <a:xfrm>
                <a:off x="6708796" y="5110476"/>
                <a:ext cx="18378" cy="18421"/>
              </a:xfrm>
              <a:custGeom>
                <a:avLst/>
                <a:gdLst>
                  <a:gd name="connsiteX0" fmla="*/ 17742 w 18378"/>
                  <a:gd name="connsiteY0" fmla="*/ 5892 h 18421"/>
                  <a:gd name="connsiteX1" fmla="*/ 5840 w 18378"/>
                  <a:gd name="connsiteY1" fmla="*/ 629 h 18421"/>
                  <a:gd name="connsiteX2" fmla="*/ 637 w 18378"/>
                  <a:gd name="connsiteY2" fmla="*/ 12530 h 18421"/>
                  <a:gd name="connsiteX3" fmla="*/ 12538 w 18378"/>
                  <a:gd name="connsiteY3" fmla="*/ 17793 h 18421"/>
                  <a:gd name="connsiteX4" fmla="*/ 17742 w 18378"/>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1">
                    <a:moveTo>
                      <a:pt x="17742" y="5892"/>
                    </a:moveTo>
                    <a:cubicBezTo>
                      <a:pt x="15888" y="1167"/>
                      <a:pt x="10565" y="-1225"/>
                      <a:pt x="5840" y="629"/>
                    </a:cubicBezTo>
                    <a:cubicBezTo>
                      <a:pt x="1115" y="2483"/>
                      <a:pt x="-1217" y="7806"/>
                      <a:pt x="637" y="12530"/>
                    </a:cubicBezTo>
                    <a:cubicBezTo>
                      <a:pt x="2491" y="17255"/>
                      <a:pt x="7814" y="19647"/>
                      <a:pt x="12538" y="17793"/>
                    </a:cubicBezTo>
                    <a:cubicBezTo>
                      <a:pt x="17263" y="15939"/>
                      <a:pt x="19596" y="10616"/>
                      <a:pt x="17742" y="5892"/>
                    </a:cubicBezTo>
                    <a:close/>
                  </a:path>
                </a:pathLst>
              </a:custGeom>
              <a:grpFill/>
              <a:ln w="5978" cap="flat">
                <a:noFill/>
                <a:prstDash val="solid"/>
                <a:miter/>
              </a:ln>
            </p:spPr>
            <p:txBody>
              <a:bodyPr rtlCol="0" anchor="ctr"/>
              <a:lstStyle/>
              <a:p>
                <a:endParaRPr lang="en-GB"/>
              </a:p>
            </p:txBody>
          </p:sp>
        </p:grpSp>
        <p:grpSp>
          <p:nvGrpSpPr>
            <p:cNvPr id="660" name="Graphic 3">
              <a:extLst>
                <a:ext uri="{FF2B5EF4-FFF2-40B4-BE49-F238E27FC236}">
                  <a16:creationId xmlns:a16="http://schemas.microsoft.com/office/drawing/2014/main" id="{3C64E17D-B0BE-4A5E-85C6-815C26268598}"/>
                </a:ext>
              </a:extLst>
            </p:cNvPr>
            <p:cNvGrpSpPr/>
            <p:nvPr/>
          </p:nvGrpSpPr>
          <p:grpSpPr>
            <a:xfrm>
              <a:off x="5452491" y="1260327"/>
              <a:ext cx="134393" cy="551483"/>
              <a:chOff x="5452491" y="1260327"/>
              <a:chExt cx="134393" cy="551483"/>
            </a:xfrm>
            <a:grpFill/>
          </p:grpSpPr>
          <p:sp>
            <p:nvSpPr>
              <p:cNvPr id="3409" name="Vrije vorm: vorm 3408">
                <a:extLst>
                  <a:ext uri="{FF2B5EF4-FFF2-40B4-BE49-F238E27FC236}">
                    <a16:creationId xmlns:a16="http://schemas.microsoft.com/office/drawing/2014/main" id="{2980E27A-3B61-4340-873A-35BA449B34BA}"/>
                  </a:ext>
                </a:extLst>
              </p:cNvPr>
              <p:cNvSpPr/>
              <p:nvPr/>
            </p:nvSpPr>
            <p:spPr>
              <a:xfrm>
                <a:off x="5460035" y="1268955"/>
                <a:ext cx="119212" cy="534593"/>
              </a:xfrm>
              <a:custGeom>
                <a:avLst/>
                <a:gdLst>
                  <a:gd name="connsiteX0" fmla="*/ 0 w 119212"/>
                  <a:gd name="connsiteY0" fmla="*/ 649 h 534593"/>
                  <a:gd name="connsiteX1" fmla="*/ 2981 w 119212"/>
                  <a:gd name="connsiteY1" fmla="*/ 0 h 534593"/>
                  <a:gd name="connsiteX2" fmla="*/ 119212 w 119212"/>
                  <a:gd name="connsiteY2" fmla="*/ 533945 h 534593"/>
                  <a:gd name="connsiteX3" fmla="*/ 116232 w 119212"/>
                  <a:gd name="connsiteY3" fmla="*/ 534593 h 534593"/>
                </a:gdLst>
                <a:ahLst/>
                <a:cxnLst>
                  <a:cxn ang="0">
                    <a:pos x="connsiteX0" y="connsiteY0"/>
                  </a:cxn>
                  <a:cxn ang="0">
                    <a:pos x="connsiteX1" y="connsiteY1"/>
                  </a:cxn>
                  <a:cxn ang="0">
                    <a:pos x="connsiteX2" y="connsiteY2"/>
                  </a:cxn>
                  <a:cxn ang="0">
                    <a:pos x="connsiteX3" y="connsiteY3"/>
                  </a:cxn>
                </a:cxnLst>
                <a:rect l="l" t="t" r="r" b="b"/>
                <a:pathLst>
                  <a:path w="119212" h="534593">
                    <a:moveTo>
                      <a:pt x="0" y="649"/>
                    </a:moveTo>
                    <a:lnTo>
                      <a:pt x="2981" y="0"/>
                    </a:lnTo>
                    <a:lnTo>
                      <a:pt x="119212" y="533945"/>
                    </a:lnTo>
                    <a:lnTo>
                      <a:pt x="116232" y="534593"/>
                    </a:lnTo>
                    <a:close/>
                  </a:path>
                </a:pathLst>
              </a:custGeom>
              <a:grpFill/>
              <a:ln w="5978" cap="flat">
                <a:noFill/>
                <a:prstDash val="solid"/>
                <a:miter/>
              </a:ln>
            </p:spPr>
            <p:txBody>
              <a:bodyPr rtlCol="0" anchor="ctr"/>
              <a:lstStyle/>
              <a:p>
                <a:endParaRPr lang="en-GB"/>
              </a:p>
            </p:txBody>
          </p:sp>
          <p:sp>
            <p:nvSpPr>
              <p:cNvPr id="3410" name="Vrije vorm: vorm 3409">
                <a:extLst>
                  <a:ext uri="{FF2B5EF4-FFF2-40B4-BE49-F238E27FC236}">
                    <a16:creationId xmlns:a16="http://schemas.microsoft.com/office/drawing/2014/main" id="{69D64202-8F5F-48AF-88AF-24DC60E3875A}"/>
                  </a:ext>
                </a:extLst>
              </p:cNvPr>
              <p:cNvSpPr/>
              <p:nvPr/>
            </p:nvSpPr>
            <p:spPr>
              <a:xfrm>
                <a:off x="5568576" y="1793389"/>
                <a:ext cx="18308" cy="18421"/>
              </a:xfrm>
              <a:custGeom>
                <a:avLst/>
                <a:gdLst>
                  <a:gd name="connsiteX0" fmla="*/ 18095 w 18308"/>
                  <a:gd name="connsiteY0" fmla="*/ 7267 h 18421"/>
                  <a:gd name="connsiteX1" fmla="*/ 11098 w 18308"/>
                  <a:gd name="connsiteY1" fmla="*/ 18212 h 18421"/>
                  <a:gd name="connsiteX2" fmla="*/ 213 w 18308"/>
                  <a:gd name="connsiteY2" fmla="*/ 11155 h 18421"/>
                  <a:gd name="connsiteX3" fmla="*/ 7211 w 18308"/>
                  <a:gd name="connsiteY3" fmla="*/ 210 h 18421"/>
                  <a:gd name="connsiteX4" fmla="*/ 18095 w 18308"/>
                  <a:gd name="connsiteY4" fmla="*/ 7267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18095" y="7267"/>
                    </a:moveTo>
                    <a:cubicBezTo>
                      <a:pt x="19172" y="12231"/>
                      <a:pt x="16062" y="17135"/>
                      <a:pt x="11098" y="18212"/>
                    </a:cubicBezTo>
                    <a:cubicBezTo>
                      <a:pt x="6134" y="19288"/>
                      <a:pt x="1289" y="16119"/>
                      <a:pt x="213" y="11155"/>
                    </a:cubicBezTo>
                    <a:cubicBezTo>
                      <a:pt x="-864" y="6191"/>
                      <a:pt x="2246" y="1286"/>
                      <a:pt x="7211" y="210"/>
                    </a:cubicBezTo>
                    <a:cubicBezTo>
                      <a:pt x="12114" y="-867"/>
                      <a:pt x="17019" y="2303"/>
                      <a:pt x="18095" y="7267"/>
                    </a:cubicBezTo>
                    <a:close/>
                  </a:path>
                </a:pathLst>
              </a:custGeom>
              <a:grpFill/>
              <a:ln w="5978" cap="flat">
                <a:noFill/>
                <a:prstDash val="solid"/>
                <a:miter/>
              </a:ln>
            </p:spPr>
            <p:txBody>
              <a:bodyPr rtlCol="0" anchor="ctr"/>
              <a:lstStyle/>
              <a:p>
                <a:endParaRPr lang="en-GB"/>
              </a:p>
            </p:txBody>
          </p:sp>
          <p:sp>
            <p:nvSpPr>
              <p:cNvPr id="3411" name="Vrije vorm: vorm 3410">
                <a:extLst>
                  <a:ext uri="{FF2B5EF4-FFF2-40B4-BE49-F238E27FC236}">
                    <a16:creationId xmlns:a16="http://schemas.microsoft.com/office/drawing/2014/main" id="{38642B43-F314-4A9E-B834-FD216DCAF992}"/>
                  </a:ext>
                </a:extLst>
              </p:cNvPr>
              <p:cNvSpPr/>
              <p:nvPr/>
            </p:nvSpPr>
            <p:spPr>
              <a:xfrm>
                <a:off x="5452491" y="1260327"/>
                <a:ext cx="18307" cy="18421"/>
              </a:xfrm>
              <a:custGeom>
                <a:avLst/>
                <a:gdLst>
                  <a:gd name="connsiteX0" fmla="*/ 18095 w 18307"/>
                  <a:gd name="connsiteY0" fmla="*/ 7267 h 18421"/>
                  <a:gd name="connsiteX1" fmla="*/ 7210 w 18307"/>
                  <a:gd name="connsiteY1" fmla="*/ 210 h 18421"/>
                  <a:gd name="connsiteX2" fmla="*/ 213 w 18307"/>
                  <a:gd name="connsiteY2" fmla="*/ 11155 h 18421"/>
                  <a:gd name="connsiteX3" fmla="*/ 11098 w 18307"/>
                  <a:gd name="connsiteY3" fmla="*/ 18212 h 18421"/>
                  <a:gd name="connsiteX4" fmla="*/ 18095 w 18307"/>
                  <a:gd name="connsiteY4" fmla="*/ 7267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1">
                    <a:moveTo>
                      <a:pt x="18095" y="7267"/>
                    </a:moveTo>
                    <a:cubicBezTo>
                      <a:pt x="17019" y="2303"/>
                      <a:pt x="12114" y="-867"/>
                      <a:pt x="7210" y="210"/>
                    </a:cubicBezTo>
                    <a:cubicBezTo>
                      <a:pt x="2246" y="1287"/>
                      <a:pt x="-864" y="6191"/>
                      <a:pt x="213" y="11155"/>
                    </a:cubicBezTo>
                    <a:cubicBezTo>
                      <a:pt x="1289" y="16119"/>
                      <a:pt x="6194" y="19288"/>
                      <a:pt x="11098" y="18212"/>
                    </a:cubicBezTo>
                    <a:cubicBezTo>
                      <a:pt x="16062" y="17135"/>
                      <a:pt x="19172" y="12231"/>
                      <a:pt x="18095" y="7267"/>
                    </a:cubicBezTo>
                    <a:close/>
                  </a:path>
                </a:pathLst>
              </a:custGeom>
              <a:grpFill/>
              <a:ln w="5978" cap="flat">
                <a:noFill/>
                <a:prstDash val="solid"/>
                <a:miter/>
              </a:ln>
            </p:spPr>
            <p:txBody>
              <a:bodyPr rtlCol="0" anchor="ctr"/>
              <a:lstStyle/>
              <a:p>
                <a:endParaRPr lang="en-GB"/>
              </a:p>
            </p:txBody>
          </p:sp>
        </p:grpSp>
        <p:grpSp>
          <p:nvGrpSpPr>
            <p:cNvPr id="661" name="Graphic 3">
              <a:extLst>
                <a:ext uri="{FF2B5EF4-FFF2-40B4-BE49-F238E27FC236}">
                  <a16:creationId xmlns:a16="http://schemas.microsoft.com/office/drawing/2014/main" id="{97C9B767-7FC5-4764-8EDA-0D2468EC785B}"/>
                </a:ext>
              </a:extLst>
            </p:cNvPr>
            <p:cNvGrpSpPr/>
            <p:nvPr/>
          </p:nvGrpSpPr>
          <p:grpSpPr>
            <a:xfrm>
              <a:off x="5428819" y="1323976"/>
              <a:ext cx="21753" cy="29821"/>
              <a:chOff x="5428819" y="1323976"/>
              <a:chExt cx="21753" cy="29821"/>
            </a:xfrm>
            <a:grpFill/>
          </p:grpSpPr>
          <p:sp>
            <p:nvSpPr>
              <p:cNvPr id="3406" name="Vrije vorm: vorm 3405">
                <a:extLst>
                  <a:ext uri="{FF2B5EF4-FFF2-40B4-BE49-F238E27FC236}">
                    <a16:creationId xmlns:a16="http://schemas.microsoft.com/office/drawing/2014/main" id="{C46FEBC2-6BAC-4C6F-8BB7-F26A8B8797B3}"/>
                  </a:ext>
                </a:extLst>
              </p:cNvPr>
              <p:cNvSpPr/>
              <p:nvPr/>
            </p:nvSpPr>
            <p:spPr>
              <a:xfrm>
                <a:off x="5436428" y="1332418"/>
                <a:ext cx="6552" cy="13138"/>
              </a:xfrm>
              <a:custGeom>
                <a:avLst/>
                <a:gdLst>
                  <a:gd name="connsiteX0" fmla="*/ 0 w 6552"/>
                  <a:gd name="connsiteY0" fmla="*/ 864 h 13138"/>
                  <a:gd name="connsiteX1" fmla="*/ 2925 w 6552"/>
                  <a:gd name="connsiteY1" fmla="*/ 0 h 13138"/>
                  <a:gd name="connsiteX2" fmla="*/ 6552 w 6552"/>
                  <a:gd name="connsiteY2" fmla="*/ 12274 h 13138"/>
                  <a:gd name="connsiteX3" fmla="*/ 3627 w 6552"/>
                  <a:gd name="connsiteY3" fmla="*/ 13138 h 13138"/>
                </a:gdLst>
                <a:ahLst/>
                <a:cxnLst>
                  <a:cxn ang="0">
                    <a:pos x="connsiteX0" y="connsiteY0"/>
                  </a:cxn>
                  <a:cxn ang="0">
                    <a:pos x="connsiteX1" y="connsiteY1"/>
                  </a:cxn>
                  <a:cxn ang="0">
                    <a:pos x="connsiteX2" y="connsiteY2"/>
                  </a:cxn>
                  <a:cxn ang="0">
                    <a:pos x="connsiteX3" y="connsiteY3"/>
                  </a:cxn>
                </a:cxnLst>
                <a:rect l="l" t="t" r="r" b="b"/>
                <a:pathLst>
                  <a:path w="6552" h="13138">
                    <a:moveTo>
                      <a:pt x="0" y="864"/>
                    </a:moveTo>
                    <a:lnTo>
                      <a:pt x="2925" y="0"/>
                    </a:lnTo>
                    <a:lnTo>
                      <a:pt x="6552" y="12274"/>
                    </a:lnTo>
                    <a:lnTo>
                      <a:pt x="3627" y="13138"/>
                    </a:lnTo>
                    <a:close/>
                  </a:path>
                </a:pathLst>
              </a:custGeom>
              <a:grpFill/>
              <a:ln w="5978" cap="flat">
                <a:noFill/>
                <a:prstDash val="solid"/>
                <a:miter/>
              </a:ln>
            </p:spPr>
            <p:txBody>
              <a:bodyPr rtlCol="0" anchor="ctr"/>
              <a:lstStyle/>
              <a:p>
                <a:endParaRPr lang="en-GB"/>
              </a:p>
            </p:txBody>
          </p:sp>
          <p:sp>
            <p:nvSpPr>
              <p:cNvPr id="3407" name="Vrije vorm: vorm 3406">
                <a:extLst>
                  <a:ext uri="{FF2B5EF4-FFF2-40B4-BE49-F238E27FC236}">
                    <a16:creationId xmlns:a16="http://schemas.microsoft.com/office/drawing/2014/main" id="{078A2062-1066-4846-94CC-5C691E99C08E}"/>
                  </a:ext>
                </a:extLst>
              </p:cNvPr>
              <p:cNvSpPr/>
              <p:nvPr/>
            </p:nvSpPr>
            <p:spPr>
              <a:xfrm>
                <a:off x="5428819" y="1323976"/>
                <a:ext cx="18344" cy="18398"/>
              </a:xfrm>
              <a:custGeom>
                <a:avLst/>
                <a:gdLst>
                  <a:gd name="connsiteX0" fmla="*/ 380 w 18344"/>
                  <a:gd name="connsiteY0" fmla="*/ 11799 h 18398"/>
                  <a:gd name="connsiteX1" fmla="*/ 6540 w 18344"/>
                  <a:gd name="connsiteY1" fmla="*/ 375 h 18398"/>
                  <a:gd name="connsiteX2" fmla="*/ 17964 w 18344"/>
                  <a:gd name="connsiteY2" fmla="*/ 6595 h 18398"/>
                  <a:gd name="connsiteX3" fmla="*/ 11803 w 18344"/>
                  <a:gd name="connsiteY3" fmla="*/ 18018 h 18398"/>
                  <a:gd name="connsiteX4" fmla="*/ 380 w 18344"/>
                  <a:gd name="connsiteY4" fmla="*/ 1179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398">
                    <a:moveTo>
                      <a:pt x="380" y="11799"/>
                    </a:moveTo>
                    <a:cubicBezTo>
                      <a:pt x="-1055" y="6894"/>
                      <a:pt x="1696" y="1811"/>
                      <a:pt x="6540" y="375"/>
                    </a:cubicBezTo>
                    <a:cubicBezTo>
                      <a:pt x="11385" y="-1060"/>
                      <a:pt x="16469" y="1751"/>
                      <a:pt x="17964" y="6595"/>
                    </a:cubicBezTo>
                    <a:cubicBezTo>
                      <a:pt x="19399" y="11499"/>
                      <a:pt x="16648" y="16583"/>
                      <a:pt x="11803" y="18018"/>
                    </a:cubicBezTo>
                    <a:cubicBezTo>
                      <a:pt x="6959" y="19454"/>
                      <a:pt x="1816" y="16703"/>
                      <a:pt x="380" y="11799"/>
                    </a:cubicBezTo>
                    <a:close/>
                  </a:path>
                </a:pathLst>
              </a:custGeom>
              <a:grpFill/>
              <a:ln w="5978" cap="flat">
                <a:noFill/>
                <a:prstDash val="solid"/>
                <a:miter/>
              </a:ln>
            </p:spPr>
            <p:txBody>
              <a:bodyPr rtlCol="0" anchor="ctr"/>
              <a:lstStyle/>
              <a:p>
                <a:endParaRPr lang="en-GB"/>
              </a:p>
            </p:txBody>
          </p:sp>
          <p:sp>
            <p:nvSpPr>
              <p:cNvPr id="3408" name="Vrije vorm: vorm 3407">
                <a:extLst>
                  <a:ext uri="{FF2B5EF4-FFF2-40B4-BE49-F238E27FC236}">
                    <a16:creationId xmlns:a16="http://schemas.microsoft.com/office/drawing/2014/main" id="{0951EE4E-5AFF-4EDB-9E40-EFCC1CCDEBA2}"/>
                  </a:ext>
                </a:extLst>
              </p:cNvPr>
              <p:cNvSpPr/>
              <p:nvPr/>
            </p:nvSpPr>
            <p:spPr>
              <a:xfrm>
                <a:off x="5432228" y="1335394"/>
                <a:ext cx="18344" cy="18403"/>
              </a:xfrm>
              <a:custGeom>
                <a:avLst/>
                <a:gdLst>
                  <a:gd name="connsiteX0" fmla="*/ 381 w 18344"/>
                  <a:gd name="connsiteY0" fmla="*/ 11803 h 18403"/>
                  <a:gd name="connsiteX1" fmla="*/ 11804 w 18344"/>
                  <a:gd name="connsiteY1" fmla="*/ 18023 h 18403"/>
                  <a:gd name="connsiteX2" fmla="*/ 17964 w 18344"/>
                  <a:gd name="connsiteY2" fmla="*/ 6600 h 18403"/>
                  <a:gd name="connsiteX3" fmla="*/ 6540 w 18344"/>
                  <a:gd name="connsiteY3" fmla="*/ 380 h 18403"/>
                  <a:gd name="connsiteX4" fmla="*/ 381 w 18344"/>
                  <a:gd name="connsiteY4" fmla="*/ 118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3">
                    <a:moveTo>
                      <a:pt x="381" y="11803"/>
                    </a:moveTo>
                    <a:cubicBezTo>
                      <a:pt x="1816" y="16707"/>
                      <a:pt x="6899" y="19459"/>
                      <a:pt x="11804" y="18023"/>
                    </a:cubicBezTo>
                    <a:cubicBezTo>
                      <a:pt x="16648" y="16588"/>
                      <a:pt x="19399" y="11444"/>
                      <a:pt x="17964" y="6600"/>
                    </a:cubicBezTo>
                    <a:cubicBezTo>
                      <a:pt x="16528" y="1696"/>
                      <a:pt x="11445" y="-1055"/>
                      <a:pt x="6540" y="380"/>
                    </a:cubicBezTo>
                    <a:cubicBezTo>
                      <a:pt x="1696" y="1815"/>
                      <a:pt x="-1055" y="6899"/>
                      <a:pt x="381" y="11803"/>
                    </a:cubicBezTo>
                    <a:close/>
                  </a:path>
                </a:pathLst>
              </a:custGeom>
              <a:grpFill/>
              <a:ln w="5978" cap="flat">
                <a:noFill/>
                <a:prstDash val="solid"/>
                <a:miter/>
              </a:ln>
            </p:spPr>
            <p:txBody>
              <a:bodyPr rtlCol="0" anchor="ctr"/>
              <a:lstStyle/>
              <a:p>
                <a:endParaRPr lang="en-GB"/>
              </a:p>
            </p:txBody>
          </p:sp>
        </p:grpSp>
        <p:grpSp>
          <p:nvGrpSpPr>
            <p:cNvPr id="662" name="Graphic 3">
              <a:extLst>
                <a:ext uri="{FF2B5EF4-FFF2-40B4-BE49-F238E27FC236}">
                  <a16:creationId xmlns:a16="http://schemas.microsoft.com/office/drawing/2014/main" id="{F4B25375-F4FF-409C-A067-A1FCFE45053A}"/>
                </a:ext>
              </a:extLst>
            </p:cNvPr>
            <p:cNvGrpSpPr/>
            <p:nvPr/>
          </p:nvGrpSpPr>
          <p:grpSpPr>
            <a:xfrm>
              <a:off x="6656584" y="4976448"/>
              <a:ext cx="63891" cy="135285"/>
              <a:chOff x="6656584" y="4976448"/>
              <a:chExt cx="63891" cy="135285"/>
            </a:xfrm>
            <a:grpFill/>
          </p:grpSpPr>
          <p:sp>
            <p:nvSpPr>
              <p:cNvPr id="3403" name="Vrije vorm: vorm 3402">
                <a:extLst>
                  <a:ext uri="{FF2B5EF4-FFF2-40B4-BE49-F238E27FC236}">
                    <a16:creationId xmlns:a16="http://schemas.microsoft.com/office/drawing/2014/main" id="{DA654552-22A7-4139-8AB1-1C40F1C45601}"/>
                  </a:ext>
                </a:extLst>
              </p:cNvPr>
              <p:cNvSpPr/>
              <p:nvPr/>
            </p:nvSpPr>
            <p:spPr>
              <a:xfrm>
                <a:off x="6663836" y="4984792"/>
                <a:ext cx="48706" cy="118793"/>
              </a:xfrm>
              <a:custGeom>
                <a:avLst/>
                <a:gdLst>
                  <a:gd name="connsiteX0" fmla="*/ 0 w 48706"/>
                  <a:gd name="connsiteY0" fmla="*/ 1107 h 118793"/>
                  <a:gd name="connsiteX1" fmla="*/ 2842 w 48706"/>
                  <a:gd name="connsiteY1" fmla="*/ 0 h 118793"/>
                  <a:gd name="connsiteX2" fmla="*/ 48706 w 48706"/>
                  <a:gd name="connsiteY2" fmla="*/ 117686 h 118793"/>
                  <a:gd name="connsiteX3" fmla="*/ 45864 w 48706"/>
                  <a:gd name="connsiteY3" fmla="*/ 118793 h 118793"/>
                </a:gdLst>
                <a:ahLst/>
                <a:cxnLst>
                  <a:cxn ang="0">
                    <a:pos x="connsiteX0" y="connsiteY0"/>
                  </a:cxn>
                  <a:cxn ang="0">
                    <a:pos x="connsiteX1" y="connsiteY1"/>
                  </a:cxn>
                  <a:cxn ang="0">
                    <a:pos x="connsiteX2" y="connsiteY2"/>
                  </a:cxn>
                  <a:cxn ang="0">
                    <a:pos x="connsiteX3" y="connsiteY3"/>
                  </a:cxn>
                </a:cxnLst>
                <a:rect l="l" t="t" r="r" b="b"/>
                <a:pathLst>
                  <a:path w="48706" h="118793">
                    <a:moveTo>
                      <a:pt x="0" y="1107"/>
                    </a:moveTo>
                    <a:lnTo>
                      <a:pt x="2842" y="0"/>
                    </a:lnTo>
                    <a:lnTo>
                      <a:pt x="48706" y="117686"/>
                    </a:lnTo>
                    <a:lnTo>
                      <a:pt x="45864" y="118793"/>
                    </a:lnTo>
                    <a:close/>
                  </a:path>
                </a:pathLst>
              </a:custGeom>
              <a:grpFill/>
              <a:ln w="5978" cap="flat">
                <a:noFill/>
                <a:prstDash val="solid"/>
                <a:miter/>
              </a:ln>
            </p:spPr>
            <p:txBody>
              <a:bodyPr rtlCol="0" anchor="ctr"/>
              <a:lstStyle/>
              <a:p>
                <a:endParaRPr lang="en-GB"/>
              </a:p>
            </p:txBody>
          </p:sp>
          <p:sp>
            <p:nvSpPr>
              <p:cNvPr id="3404" name="Vrije vorm: vorm 3403">
                <a:extLst>
                  <a:ext uri="{FF2B5EF4-FFF2-40B4-BE49-F238E27FC236}">
                    <a16:creationId xmlns:a16="http://schemas.microsoft.com/office/drawing/2014/main" id="{005D57CE-5158-48D8-A068-32A523F00A87}"/>
                  </a:ext>
                </a:extLst>
              </p:cNvPr>
              <p:cNvSpPr/>
              <p:nvPr/>
            </p:nvSpPr>
            <p:spPr>
              <a:xfrm>
                <a:off x="6702097" y="5093304"/>
                <a:ext cx="18378" cy="18429"/>
              </a:xfrm>
              <a:custGeom>
                <a:avLst/>
                <a:gdLst>
                  <a:gd name="connsiteX0" fmla="*/ 17742 w 18378"/>
                  <a:gd name="connsiteY0" fmla="*/ 5899 h 18429"/>
                  <a:gd name="connsiteX1" fmla="*/ 12538 w 18378"/>
                  <a:gd name="connsiteY1" fmla="*/ 17801 h 18429"/>
                  <a:gd name="connsiteX2" fmla="*/ 637 w 18378"/>
                  <a:gd name="connsiteY2" fmla="*/ 12538 h 18429"/>
                  <a:gd name="connsiteX3" fmla="*/ 5840 w 18378"/>
                  <a:gd name="connsiteY3" fmla="*/ 636 h 18429"/>
                  <a:gd name="connsiteX4" fmla="*/ 17742 w 18378"/>
                  <a:gd name="connsiteY4" fmla="*/ 58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9">
                    <a:moveTo>
                      <a:pt x="17742" y="5899"/>
                    </a:moveTo>
                    <a:cubicBezTo>
                      <a:pt x="19596" y="10624"/>
                      <a:pt x="17263" y="16007"/>
                      <a:pt x="12538" y="17801"/>
                    </a:cubicBezTo>
                    <a:cubicBezTo>
                      <a:pt x="7813" y="19655"/>
                      <a:pt x="2491" y="17262"/>
                      <a:pt x="637" y="12538"/>
                    </a:cubicBezTo>
                    <a:cubicBezTo>
                      <a:pt x="-1217" y="7813"/>
                      <a:pt x="1115" y="2430"/>
                      <a:pt x="5840" y="636"/>
                    </a:cubicBezTo>
                    <a:cubicBezTo>
                      <a:pt x="10565" y="-1218"/>
                      <a:pt x="15888" y="1114"/>
                      <a:pt x="17742" y="5899"/>
                    </a:cubicBezTo>
                    <a:close/>
                  </a:path>
                </a:pathLst>
              </a:custGeom>
              <a:grpFill/>
              <a:ln w="5978" cap="flat">
                <a:noFill/>
                <a:prstDash val="solid"/>
                <a:miter/>
              </a:ln>
            </p:spPr>
            <p:txBody>
              <a:bodyPr rtlCol="0" anchor="ctr"/>
              <a:lstStyle/>
              <a:p>
                <a:endParaRPr lang="en-GB"/>
              </a:p>
            </p:txBody>
          </p:sp>
          <p:sp>
            <p:nvSpPr>
              <p:cNvPr id="3405" name="Vrije vorm: vorm 3404">
                <a:extLst>
                  <a:ext uri="{FF2B5EF4-FFF2-40B4-BE49-F238E27FC236}">
                    <a16:creationId xmlns:a16="http://schemas.microsoft.com/office/drawing/2014/main" id="{3355A3C1-6ADC-461C-9929-6A8DCF1AA40C}"/>
                  </a:ext>
                </a:extLst>
              </p:cNvPr>
              <p:cNvSpPr/>
              <p:nvPr/>
            </p:nvSpPr>
            <p:spPr>
              <a:xfrm>
                <a:off x="6656584" y="4976448"/>
                <a:ext cx="18378" cy="18421"/>
              </a:xfrm>
              <a:custGeom>
                <a:avLst/>
                <a:gdLst>
                  <a:gd name="connsiteX0" fmla="*/ 17742 w 18378"/>
                  <a:gd name="connsiteY0" fmla="*/ 5892 h 18421"/>
                  <a:gd name="connsiteX1" fmla="*/ 5840 w 18378"/>
                  <a:gd name="connsiteY1" fmla="*/ 629 h 18421"/>
                  <a:gd name="connsiteX2" fmla="*/ 637 w 18378"/>
                  <a:gd name="connsiteY2" fmla="*/ 12531 h 18421"/>
                  <a:gd name="connsiteX3" fmla="*/ 12539 w 18378"/>
                  <a:gd name="connsiteY3" fmla="*/ 17793 h 18421"/>
                  <a:gd name="connsiteX4" fmla="*/ 17742 w 18378"/>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21">
                    <a:moveTo>
                      <a:pt x="17742" y="5892"/>
                    </a:moveTo>
                    <a:cubicBezTo>
                      <a:pt x="15888" y="1167"/>
                      <a:pt x="10565" y="-1225"/>
                      <a:pt x="5840" y="629"/>
                    </a:cubicBezTo>
                    <a:cubicBezTo>
                      <a:pt x="1115" y="2483"/>
                      <a:pt x="-1217" y="7806"/>
                      <a:pt x="637" y="12531"/>
                    </a:cubicBezTo>
                    <a:cubicBezTo>
                      <a:pt x="2491" y="17255"/>
                      <a:pt x="7814" y="19647"/>
                      <a:pt x="12539" y="17793"/>
                    </a:cubicBezTo>
                    <a:cubicBezTo>
                      <a:pt x="17263" y="15939"/>
                      <a:pt x="19596" y="10617"/>
                      <a:pt x="17742" y="5892"/>
                    </a:cubicBezTo>
                    <a:close/>
                  </a:path>
                </a:pathLst>
              </a:custGeom>
              <a:grpFill/>
              <a:ln w="5978" cap="flat">
                <a:noFill/>
                <a:prstDash val="solid"/>
                <a:miter/>
              </a:ln>
            </p:spPr>
            <p:txBody>
              <a:bodyPr rtlCol="0" anchor="ctr"/>
              <a:lstStyle/>
              <a:p>
                <a:endParaRPr lang="en-GB"/>
              </a:p>
            </p:txBody>
          </p:sp>
        </p:grpSp>
        <p:grpSp>
          <p:nvGrpSpPr>
            <p:cNvPr id="663" name="Graphic 3">
              <a:extLst>
                <a:ext uri="{FF2B5EF4-FFF2-40B4-BE49-F238E27FC236}">
                  <a16:creationId xmlns:a16="http://schemas.microsoft.com/office/drawing/2014/main" id="{34727269-AE40-4382-AB7E-F38BA832654A}"/>
                </a:ext>
              </a:extLst>
            </p:cNvPr>
            <p:cNvGrpSpPr/>
            <p:nvPr/>
          </p:nvGrpSpPr>
          <p:grpSpPr>
            <a:xfrm>
              <a:off x="5437431" y="1353042"/>
              <a:ext cx="56022" cy="145608"/>
              <a:chOff x="5437431" y="1353042"/>
              <a:chExt cx="56022" cy="145608"/>
            </a:xfrm>
            <a:grpFill/>
          </p:grpSpPr>
          <p:sp>
            <p:nvSpPr>
              <p:cNvPr id="3400" name="Vrije vorm: vorm 3399">
                <a:extLst>
                  <a:ext uri="{FF2B5EF4-FFF2-40B4-BE49-F238E27FC236}">
                    <a16:creationId xmlns:a16="http://schemas.microsoft.com/office/drawing/2014/main" id="{90A2B8CB-D6F5-4A50-88C7-787F2C94C66D}"/>
                  </a:ext>
                </a:extLst>
              </p:cNvPr>
              <p:cNvSpPr/>
              <p:nvPr/>
            </p:nvSpPr>
            <p:spPr>
              <a:xfrm>
                <a:off x="5444988" y="1361372"/>
                <a:ext cx="40848" cy="128944"/>
              </a:xfrm>
              <a:custGeom>
                <a:avLst/>
                <a:gdLst>
                  <a:gd name="connsiteX0" fmla="*/ 2931 w 40848"/>
                  <a:gd name="connsiteY0" fmla="*/ 0 h 128944"/>
                  <a:gd name="connsiteX1" fmla="*/ 40848 w 40848"/>
                  <a:gd name="connsiteY1" fmla="*/ 128047 h 128944"/>
                  <a:gd name="connsiteX2" fmla="*/ 37978 w 40848"/>
                  <a:gd name="connsiteY2" fmla="*/ 128944 h 128944"/>
                  <a:gd name="connsiteX3" fmla="*/ 0 w 40848"/>
                  <a:gd name="connsiteY3" fmla="*/ 897 h 128944"/>
                </a:gdLst>
                <a:ahLst/>
                <a:cxnLst>
                  <a:cxn ang="0">
                    <a:pos x="connsiteX0" y="connsiteY0"/>
                  </a:cxn>
                  <a:cxn ang="0">
                    <a:pos x="connsiteX1" y="connsiteY1"/>
                  </a:cxn>
                  <a:cxn ang="0">
                    <a:pos x="connsiteX2" y="connsiteY2"/>
                  </a:cxn>
                  <a:cxn ang="0">
                    <a:pos x="connsiteX3" y="connsiteY3"/>
                  </a:cxn>
                </a:cxnLst>
                <a:rect l="l" t="t" r="r" b="b"/>
                <a:pathLst>
                  <a:path w="40848" h="128944">
                    <a:moveTo>
                      <a:pt x="2931" y="0"/>
                    </a:moveTo>
                    <a:lnTo>
                      <a:pt x="40848" y="128047"/>
                    </a:lnTo>
                    <a:lnTo>
                      <a:pt x="37978" y="128944"/>
                    </a:lnTo>
                    <a:lnTo>
                      <a:pt x="0" y="897"/>
                    </a:lnTo>
                    <a:close/>
                  </a:path>
                </a:pathLst>
              </a:custGeom>
              <a:grpFill/>
              <a:ln w="5978" cap="flat">
                <a:noFill/>
                <a:prstDash val="solid"/>
                <a:miter/>
              </a:ln>
            </p:spPr>
            <p:txBody>
              <a:bodyPr rtlCol="0" anchor="ctr"/>
              <a:lstStyle/>
              <a:p>
                <a:endParaRPr lang="en-GB"/>
              </a:p>
            </p:txBody>
          </p:sp>
          <p:sp>
            <p:nvSpPr>
              <p:cNvPr id="3401" name="Vrije vorm: vorm 3400">
                <a:extLst>
                  <a:ext uri="{FF2B5EF4-FFF2-40B4-BE49-F238E27FC236}">
                    <a16:creationId xmlns:a16="http://schemas.microsoft.com/office/drawing/2014/main" id="{6353500B-28A8-4C34-81B1-DD6091B9ADA6}"/>
                  </a:ext>
                </a:extLst>
              </p:cNvPr>
              <p:cNvSpPr/>
              <p:nvPr/>
            </p:nvSpPr>
            <p:spPr>
              <a:xfrm>
                <a:off x="5437431" y="1353042"/>
                <a:ext cx="18344" cy="18420"/>
              </a:xfrm>
              <a:custGeom>
                <a:avLst/>
                <a:gdLst>
                  <a:gd name="connsiteX0" fmla="*/ 380 w 18344"/>
                  <a:gd name="connsiteY0" fmla="*/ 11799 h 18420"/>
                  <a:gd name="connsiteX1" fmla="*/ 6540 w 18344"/>
                  <a:gd name="connsiteY1" fmla="*/ 375 h 18420"/>
                  <a:gd name="connsiteX2" fmla="*/ 17964 w 18344"/>
                  <a:gd name="connsiteY2" fmla="*/ 6595 h 18420"/>
                  <a:gd name="connsiteX3" fmla="*/ 11803 w 18344"/>
                  <a:gd name="connsiteY3" fmla="*/ 18018 h 18420"/>
                  <a:gd name="connsiteX4" fmla="*/ 380 w 18344"/>
                  <a:gd name="connsiteY4" fmla="*/ 1179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0">
                    <a:moveTo>
                      <a:pt x="380" y="11799"/>
                    </a:moveTo>
                    <a:cubicBezTo>
                      <a:pt x="-1055" y="6894"/>
                      <a:pt x="1696" y="1811"/>
                      <a:pt x="6540" y="375"/>
                    </a:cubicBezTo>
                    <a:cubicBezTo>
                      <a:pt x="11385" y="-1060"/>
                      <a:pt x="16469" y="1751"/>
                      <a:pt x="17964" y="6595"/>
                    </a:cubicBezTo>
                    <a:cubicBezTo>
                      <a:pt x="19399" y="11499"/>
                      <a:pt x="16648" y="16583"/>
                      <a:pt x="11803" y="18018"/>
                    </a:cubicBezTo>
                    <a:cubicBezTo>
                      <a:pt x="6959" y="19514"/>
                      <a:pt x="1816" y="16703"/>
                      <a:pt x="380" y="11799"/>
                    </a:cubicBezTo>
                    <a:close/>
                  </a:path>
                </a:pathLst>
              </a:custGeom>
              <a:grpFill/>
              <a:ln w="5978" cap="flat">
                <a:noFill/>
                <a:prstDash val="solid"/>
                <a:miter/>
              </a:ln>
            </p:spPr>
            <p:txBody>
              <a:bodyPr rtlCol="0" anchor="ctr"/>
              <a:lstStyle/>
              <a:p>
                <a:endParaRPr lang="en-GB"/>
              </a:p>
            </p:txBody>
          </p:sp>
          <p:sp>
            <p:nvSpPr>
              <p:cNvPr id="3402" name="Vrije vorm: vorm 3401">
                <a:extLst>
                  <a:ext uri="{FF2B5EF4-FFF2-40B4-BE49-F238E27FC236}">
                    <a16:creationId xmlns:a16="http://schemas.microsoft.com/office/drawing/2014/main" id="{B7BE06A8-A585-4566-A56F-A158BE420EF8}"/>
                  </a:ext>
                </a:extLst>
              </p:cNvPr>
              <p:cNvSpPr/>
              <p:nvPr/>
            </p:nvSpPr>
            <p:spPr>
              <a:xfrm>
                <a:off x="5475110" y="1480248"/>
                <a:ext cx="18344" cy="18403"/>
              </a:xfrm>
              <a:custGeom>
                <a:avLst/>
                <a:gdLst>
                  <a:gd name="connsiteX0" fmla="*/ 380 w 18344"/>
                  <a:gd name="connsiteY0" fmla="*/ 11803 h 18403"/>
                  <a:gd name="connsiteX1" fmla="*/ 11803 w 18344"/>
                  <a:gd name="connsiteY1" fmla="*/ 18023 h 18403"/>
                  <a:gd name="connsiteX2" fmla="*/ 17964 w 18344"/>
                  <a:gd name="connsiteY2" fmla="*/ 6600 h 18403"/>
                  <a:gd name="connsiteX3" fmla="*/ 6540 w 18344"/>
                  <a:gd name="connsiteY3" fmla="*/ 380 h 18403"/>
                  <a:gd name="connsiteX4" fmla="*/ 380 w 18344"/>
                  <a:gd name="connsiteY4" fmla="*/ 118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3">
                    <a:moveTo>
                      <a:pt x="380" y="11803"/>
                    </a:moveTo>
                    <a:cubicBezTo>
                      <a:pt x="1816" y="16707"/>
                      <a:pt x="6959" y="19459"/>
                      <a:pt x="11803" y="18023"/>
                    </a:cubicBezTo>
                    <a:cubicBezTo>
                      <a:pt x="16648" y="16588"/>
                      <a:pt x="19399" y="11444"/>
                      <a:pt x="17964" y="6600"/>
                    </a:cubicBezTo>
                    <a:cubicBezTo>
                      <a:pt x="16528" y="1696"/>
                      <a:pt x="11385" y="-1055"/>
                      <a:pt x="6540" y="380"/>
                    </a:cubicBezTo>
                    <a:cubicBezTo>
                      <a:pt x="1696" y="1756"/>
                      <a:pt x="-1055" y="6899"/>
                      <a:pt x="380" y="11803"/>
                    </a:cubicBezTo>
                    <a:close/>
                  </a:path>
                </a:pathLst>
              </a:custGeom>
              <a:grpFill/>
              <a:ln w="5978" cap="flat">
                <a:noFill/>
                <a:prstDash val="solid"/>
                <a:miter/>
              </a:ln>
            </p:spPr>
            <p:txBody>
              <a:bodyPr rtlCol="0" anchor="ctr"/>
              <a:lstStyle/>
              <a:p>
                <a:endParaRPr lang="en-GB"/>
              </a:p>
            </p:txBody>
          </p:sp>
        </p:grpSp>
        <p:grpSp>
          <p:nvGrpSpPr>
            <p:cNvPr id="664" name="Graphic 3">
              <a:extLst>
                <a:ext uri="{FF2B5EF4-FFF2-40B4-BE49-F238E27FC236}">
                  <a16:creationId xmlns:a16="http://schemas.microsoft.com/office/drawing/2014/main" id="{9D90EE60-BBBE-4276-9BC9-44C104D0D136}"/>
                </a:ext>
              </a:extLst>
            </p:cNvPr>
            <p:cNvGrpSpPr/>
            <p:nvPr/>
          </p:nvGrpSpPr>
          <p:grpSpPr>
            <a:xfrm>
              <a:off x="6655889" y="4976702"/>
              <a:ext cx="139264" cy="433036"/>
              <a:chOff x="6655889" y="4976702"/>
              <a:chExt cx="139264" cy="433036"/>
            </a:xfrm>
            <a:grpFill/>
          </p:grpSpPr>
          <p:sp>
            <p:nvSpPr>
              <p:cNvPr id="3397" name="Vrije vorm: vorm 3396">
                <a:extLst>
                  <a:ext uri="{FF2B5EF4-FFF2-40B4-BE49-F238E27FC236}">
                    <a16:creationId xmlns:a16="http://schemas.microsoft.com/office/drawing/2014/main" id="{BAA9BFC3-DD4F-4C1E-89E5-90ECEF47AD53}"/>
                  </a:ext>
                </a:extLst>
              </p:cNvPr>
              <p:cNvSpPr/>
              <p:nvPr/>
            </p:nvSpPr>
            <p:spPr>
              <a:xfrm>
                <a:off x="6663391" y="4985352"/>
                <a:ext cx="124119" cy="416365"/>
              </a:xfrm>
              <a:custGeom>
                <a:avLst/>
                <a:gdLst>
                  <a:gd name="connsiteX0" fmla="*/ 0 w 124119"/>
                  <a:gd name="connsiteY0" fmla="*/ 854 h 416365"/>
                  <a:gd name="connsiteX1" fmla="*/ 2928 w 124119"/>
                  <a:gd name="connsiteY1" fmla="*/ 0 h 416365"/>
                  <a:gd name="connsiteX2" fmla="*/ 124119 w 124119"/>
                  <a:gd name="connsiteY2" fmla="*/ 415512 h 416365"/>
                  <a:gd name="connsiteX3" fmla="*/ 121191 w 124119"/>
                  <a:gd name="connsiteY3" fmla="*/ 416366 h 416365"/>
                </a:gdLst>
                <a:ahLst/>
                <a:cxnLst>
                  <a:cxn ang="0">
                    <a:pos x="connsiteX0" y="connsiteY0"/>
                  </a:cxn>
                  <a:cxn ang="0">
                    <a:pos x="connsiteX1" y="connsiteY1"/>
                  </a:cxn>
                  <a:cxn ang="0">
                    <a:pos x="connsiteX2" y="connsiteY2"/>
                  </a:cxn>
                  <a:cxn ang="0">
                    <a:pos x="connsiteX3" y="connsiteY3"/>
                  </a:cxn>
                </a:cxnLst>
                <a:rect l="l" t="t" r="r" b="b"/>
                <a:pathLst>
                  <a:path w="124119" h="416365">
                    <a:moveTo>
                      <a:pt x="0" y="854"/>
                    </a:moveTo>
                    <a:lnTo>
                      <a:pt x="2928" y="0"/>
                    </a:lnTo>
                    <a:lnTo>
                      <a:pt x="124119" y="415512"/>
                    </a:lnTo>
                    <a:lnTo>
                      <a:pt x="121191" y="416366"/>
                    </a:lnTo>
                    <a:close/>
                  </a:path>
                </a:pathLst>
              </a:custGeom>
              <a:grpFill/>
              <a:ln w="5978" cap="flat">
                <a:noFill/>
                <a:prstDash val="solid"/>
                <a:miter/>
              </a:ln>
            </p:spPr>
            <p:txBody>
              <a:bodyPr rtlCol="0" anchor="ctr"/>
              <a:lstStyle/>
              <a:p>
                <a:endParaRPr lang="en-GB"/>
              </a:p>
            </p:txBody>
          </p:sp>
          <p:sp>
            <p:nvSpPr>
              <p:cNvPr id="3398" name="Vrije vorm: vorm 3397">
                <a:extLst>
                  <a:ext uri="{FF2B5EF4-FFF2-40B4-BE49-F238E27FC236}">
                    <a16:creationId xmlns:a16="http://schemas.microsoft.com/office/drawing/2014/main" id="{7791FDE7-69FC-4804-B707-FCF4C8F86832}"/>
                  </a:ext>
                </a:extLst>
              </p:cNvPr>
              <p:cNvSpPr/>
              <p:nvPr/>
            </p:nvSpPr>
            <p:spPr>
              <a:xfrm>
                <a:off x="6655889" y="4976702"/>
                <a:ext cx="18334" cy="18427"/>
              </a:xfrm>
              <a:custGeom>
                <a:avLst/>
                <a:gdLst>
                  <a:gd name="connsiteX0" fmla="*/ 375 w 18334"/>
                  <a:gd name="connsiteY0" fmla="*/ 11798 h 18427"/>
                  <a:gd name="connsiteX1" fmla="*/ 6595 w 18334"/>
                  <a:gd name="connsiteY1" fmla="*/ 375 h 18427"/>
                  <a:gd name="connsiteX2" fmla="*/ 17959 w 18334"/>
                  <a:gd name="connsiteY2" fmla="*/ 6655 h 18427"/>
                  <a:gd name="connsiteX3" fmla="*/ 11739 w 18334"/>
                  <a:gd name="connsiteY3" fmla="*/ 18078 h 18427"/>
                  <a:gd name="connsiteX4" fmla="*/ 375 w 18334"/>
                  <a:gd name="connsiteY4" fmla="*/ 1179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7">
                    <a:moveTo>
                      <a:pt x="375" y="11798"/>
                    </a:moveTo>
                    <a:cubicBezTo>
                      <a:pt x="-1060" y="6894"/>
                      <a:pt x="1751" y="1811"/>
                      <a:pt x="6595" y="375"/>
                    </a:cubicBezTo>
                    <a:cubicBezTo>
                      <a:pt x="11440" y="-1060"/>
                      <a:pt x="16523" y="1751"/>
                      <a:pt x="17959" y="6655"/>
                    </a:cubicBezTo>
                    <a:cubicBezTo>
                      <a:pt x="19394" y="11559"/>
                      <a:pt x="16583" y="16643"/>
                      <a:pt x="11739" y="18078"/>
                    </a:cubicBezTo>
                    <a:cubicBezTo>
                      <a:pt x="6894" y="19453"/>
                      <a:pt x="1811" y="16643"/>
                      <a:pt x="375" y="11798"/>
                    </a:cubicBezTo>
                    <a:close/>
                  </a:path>
                </a:pathLst>
              </a:custGeom>
              <a:grpFill/>
              <a:ln w="5978" cap="flat">
                <a:noFill/>
                <a:prstDash val="solid"/>
                <a:miter/>
              </a:ln>
            </p:spPr>
            <p:txBody>
              <a:bodyPr rtlCol="0" anchor="ctr"/>
              <a:lstStyle/>
              <a:p>
                <a:endParaRPr lang="en-GB"/>
              </a:p>
            </p:txBody>
          </p:sp>
          <p:sp>
            <p:nvSpPr>
              <p:cNvPr id="3399" name="Vrije vorm: vorm 3398">
                <a:extLst>
                  <a:ext uri="{FF2B5EF4-FFF2-40B4-BE49-F238E27FC236}">
                    <a16:creationId xmlns:a16="http://schemas.microsoft.com/office/drawing/2014/main" id="{56878248-21C8-4DFA-911B-8E7893BE82CD}"/>
                  </a:ext>
                </a:extLst>
              </p:cNvPr>
              <p:cNvSpPr/>
              <p:nvPr/>
            </p:nvSpPr>
            <p:spPr>
              <a:xfrm>
                <a:off x="6776819" y="5391285"/>
                <a:ext cx="18334" cy="18453"/>
              </a:xfrm>
              <a:custGeom>
                <a:avLst/>
                <a:gdLst>
                  <a:gd name="connsiteX0" fmla="*/ 375 w 18334"/>
                  <a:gd name="connsiteY0" fmla="*/ 11798 h 18453"/>
                  <a:gd name="connsiteX1" fmla="*/ 11739 w 18334"/>
                  <a:gd name="connsiteY1" fmla="*/ 18078 h 18453"/>
                  <a:gd name="connsiteX2" fmla="*/ 17959 w 18334"/>
                  <a:gd name="connsiteY2" fmla="*/ 6655 h 18453"/>
                  <a:gd name="connsiteX3" fmla="*/ 6595 w 18334"/>
                  <a:gd name="connsiteY3" fmla="*/ 375 h 18453"/>
                  <a:gd name="connsiteX4" fmla="*/ 375 w 18334"/>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3">
                    <a:moveTo>
                      <a:pt x="375" y="11798"/>
                    </a:moveTo>
                    <a:cubicBezTo>
                      <a:pt x="1811" y="16703"/>
                      <a:pt x="6894" y="19513"/>
                      <a:pt x="11739" y="18078"/>
                    </a:cubicBezTo>
                    <a:cubicBezTo>
                      <a:pt x="16583" y="16643"/>
                      <a:pt x="19394" y="11559"/>
                      <a:pt x="17959" y="6655"/>
                    </a:cubicBezTo>
                    <a:cubicBezTo>
                      <a:pt x="16523" y="1751"/>
                      <a:pt x="11440" y="-1060"/>
                      <a:pt x="6595" y="375"/>
                    </a:cubicBezTo>
                    <a:cubicBezTo>
                      <a:pt x="1751" y="1810"/>
                      <a:pt x="-1060" y="6894"/>
                      <a:pt x="375" y="11798"/>
                    </a:cubicBezTo>
                    <a:close/>
                  </a:path>
                </a:pathLst>
              </a:custGeom>
              <a:grpFill/>
              <a:ln w="5978" cap="flat">
                <a:noFill/>
                <a:prstDash val="solid"/>
                <a:miter/>
              </a:ln>
            </p:spPr>
            <p:txBody>
              <a:bodyPr rtlCol="0" anchor="ctr"/>
              <a:lstStyle/>
              <a:p>
                <a:endParaRPr lang="en-GB"/>
              </a:p>
            </p:txBody>
          </p:sp>
        </p:grpSp>
        <p:grpSp>
          <p:nvGrpSpPr>
            <p:cNvPr id="665" name="Graphic 3">
              <a:extLst>
                <a:ext uri="{FF2B5EF4-FFF2-40B4-BE49-F238E27FC236}">
                  <a16:creationId xmlns:a16="http://schemas.microsoft.com/office/drawing/2014/main" id="{B24C4AA6-176F-456A-9BFF-76E041FBEA02}"/>
                </a:ext>
              </a:extLst>
            </p:cNvPr>
            <p:cNvGrpSpPr/>
            <p:nvPr/>
          </p:nvGrpSpPr>
          <p:grpSpPr>
            <a:xfrm>
              <a:off x="5480373" y="1497895"/>
              <a:ext cx="105842" cy="314025"/>
              <a:chOff x="5480373" y="1497895"/>
              <a:chExt cx="105842" cy="314025"/>
            </a:xfrm>
            <a:grpFill/>
          </p:grpSpPr>
          <p:sp>
            <p:nvSpPr>
              <p:cNvPr id="3394" name="Vrije vorm: vorm 3393">
                <a:extLst>
                  <a:ext uri="{FF2B5EF4-FFF2-40B4-BE49-F238E27FC236}">
                    <a16:creationId xmlns:a16="http://schemas.microsoft.com/office/drawing/2014/main" id="{09C0FA92-9CAA-4F8A-AF89-EAD2ACF662F7}"/>
                  </a:ext>
                </a:extLst>
              </p:cNvPr>
              <p:cNvSpPr/>
              <p:nvPr/>
            </p:nvSpPr>
            <p:spPr>
              <a:xfrm>
                <a:off x="5487930" y="1506225"/>
                <a:ext cx="90727" cy="297361"/>
              </a:xfrm>
              <a:custGeom>
                <a:avLst/>
                <a:gdLst>
                  <a:gd name="connsiteX0" fmla="*/ 2930 w 90727"/>
                  <a:gd name="connsiteY0" fmla="*/ 0 h 297361"/>
                  <a:gd name="connsiteX1" fmla="*/ 90727 w 90727"/>
                  <a:gd name="connsiteY1" fmla="*/ 296524 h 297361"/>
                  <a:gd name="connsiteX2" fmla="*/ 87797 w 90727"/>
                  <a:gd name="connsiteY2" fmla="*/ 297361 h 297361"/>
                  <a:gd name="connsiteX3" fmla="*/ 0 w 90727"/>
                  <a:gd name="connsiteY3" fmla="*/ 897 h 297361"/>
                </a:gdLst>
                <a:ahLst/>
                <a:cxnLst>
                  <a:cxn ang="0">
                    <a:pos x="connsiteX0" y="connsiteY0"/>
                  </a:cxn>
                  <a:cxn ang="0">
                    <a:pos x="connsiteX1" y="connsiteY1"/>
                  </a:cxn>
                  <a:cxn ang="0">
                    <a:pos x="connsiteX2" y="connsiteY2"/>
                  </a:cxn>
                  <a:cxn ang="0">
                    <a:pos x="connsiteX3" y="connsiteY3"/>
                  </a:cxn>
                </a:cxnLst>
                <a:rect l="l" t="t" r="r" b="b"/>
                <a:pathLst>
                  <a:path w="90727" h="297361">
                    <a:moveTo>
                      <a:pt x="2930" y="0"/>
                    </a:moveTo>
                    <a:lnTo>
                      <a:pt x="90727" y="296524"/>
                    </a:lnTo>
                    <a:lnTo>
                      <a:pt x="87797" y="297361"/>
                    </a:lnTo>
                    <a:lnTo>
                      <a:pt x="0" y="897"/>
                    </a:lnTo>
                    <a:close/>
                  </a:path>
                </a:pathLst>
              </a:custGeom>
              <a:grpFill/>
              <a:ln w="5978" cap="flat">
                <a:noFill/>
                <a:prstDash val="solid"/>
                <a:miter/>
              </a:ln>
            </p:spPr>
            <p:txBody>
              <a:bodyPr rtlCol="0" anchor="ctr"/>
              <a:lstStyle/>
              <a:p>
                <a:endParaRPr lang="en-GB"/>
              </a:p>
            </p:txBody>
          </p:sp>
          <p:sp>
            <p:nvSpPr>
              <p:cNvPr id="3395" name="Vrije vorm: vorm 3394">
                <a:extLst>
                  <a:ext uri="{FF2B5EF4-FFF2-40B4-BE49-F238E27FC236}">
                    <a16:creationId xmlns:a16="http://schemas.microsoft.com/office/drawing/2014/main" id="{528B1ACD-FFD1-40A8-B20F-79A054296921}"/>
                  </a:ext>
                </a:extLst>
              </p:cNvPr>
              <p:cNvSpPr/>
              <p:nvPr/>
            </p:nvSpPr>
            <p:spPr>
              <a:xfrm>
                <a:off x="5480373" y="1497895"/>
                <a:ext cx="18344" cy="18420"/>
              </a:xfrm>
              <a:custGeom>
                <a:avLst/>
                <a:gdLst>
                  <a:gd name="connsiteX0" fmla="*/ 380 w 18344"/>
                  <a:gd name="connsiteY0" fmla="*/ 11799 h 18420"/>
                  <a:gd name="connsiteX1" fmla="*/ 6540 w 18344"/>
                  <a:gd name="connsiteY1" fmla="*/ 375 h 18420"/>
                  <a:gd name="connsiteX2" fmla="*/ 17964 w 18344"/>
                  <a:gd name="connsiteY2" fmla="*/ 6595 h 18420"/>
                  <a:gd name="connsiteX3" fmla="*/ 11803 w 18344"/>
                  <a:gd name="connsiteY3" fmla="*/ 18019 h 18420"/>
                  <a:gd name="connsiteX4" fmla="*/ 380 w 18344"/>
                  <a:gd name="connsiteY4" fmla="*/ 1179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0">
                    <a:moveTo>
                      <a:pt x="380" y="11799"/>
                    </a:moveTo>
                    <a:cubicBezTo>
                      <a:pt x="-1055" y="6894"/>
                      <a:pt x="1696" y="1811"/>
                      <a:pt x="6540" y="375"/>
                    </a:cubicBezTo>
                    <a:cubicBezTo>
                      <a:pt x="11385" y="-1060"/>
                      <a:pt x="16469" y="1751"/>
                      <a:pt x="17964" y="6595"/>
                    </a:cubicBezTo>
                    <a:cubicBezTo>
                      <a:pt x="19399" y="11499"/>
                      <a:pt x="16648" y="16583"/>
                      <a:pt x="11803" y="18019"/>
                    </a:cubicBezTo>
                    <a:cubicBezTo>
                      <a:pt x="6899" y="19514"/>
                      <a:pt x="1816" y="16703"/>
                      <a:pt x="380" y="11799"/>
                    </a:cubicBezTo>
                    <a:close/>
                  </a:path>
                </a:pathLst>
              </a:custGeom>
              <a:grpFill/>
              <a:ln w="5978" cap="flat">
                <a:noFill/>
                <a:prstDash val="solid"/>
                <a:miter/>
              </a:ln>
            </p:spPr>
            <p:txBody>
              <a:bodyPr rtlCol="0" anchor="ctr"/>
              <a:lstStyle/>
              <a:p>
                <a:endParaRPr lang="en-GB"/>
              </a:p>
            </p:txBody>
          </p:sp>
          <p:sp>
            <p:nvSpPr>
              <p:cNvPr id="3396" name="Vrije vorm: vorm 3395">
                <a:extLst>
                  <a:ext uri="{FF2B5EF4-FFF2-40B4-BE49-F238E27FC236}">
                    <a16:creationId xmlns:a16="http://schemas.microsoft.com/office/drawing/2014/main" id="{97FF645A-EEBA-4F0A-BB89-6E1326E16DDE}"/>
                  </a:ext>
                </a:extLst>
              </p:cNvPr>
              <p:cNvSpPr/>
              <p:nvPr/>
            </p:nvSpPr>
            <p:spPr>
              <a:xfrm>
                <a:off x="5567871" y="1793518"/>
                <a:ext cx="18344" cy="18403"/>
              </a:xfrm>
              <a:custGeom>
                <a:avLst/>
                <a:gdLst>
                  <a:gd name="connsiteX0" fmla="*/ 380 w 18344"/>
                  <a:gd name="connsiteY0" fmla="*/ 11803 h 18403"/>
                  <a:gd name="connsiteX1" fmla="*/ 11803 w 18344"/>
                  <a:gd name="connsiteY1" fmla="*/ 18023 h 18403"/>
                  <a:gd name="connsiteX2" fmla="*/ 17964 w 18344"/>
                  <a:gd name="connsiteY2" fmla="*/ 6600 h 18403"/>
                  <a:gd name="connsiteX3" fmla="*/ 6540 w 18344"/>
                  <a:gd name="connsiteY3" fmla="*/ 380 h 18403"/>
                  <a:gd name="connsiteX4" fmla="*/ 380 w 18344"/>
                  <a:gd name="connsiteY4" fmla="*/ 11803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3">
                    <a:moveTo>
                      <a:pt x="380" y="11803"/>
                    </a:moveTo>
                    <a:cubicBezTo>
                      <a:pt x="1816" y="16707"/>
                      <a:pt x="6959" y="19459"/>
                      <a:pt x="11803" y="18023"/>
                    </a:cubicBezTo>
                    <a:cubicBezTo>
                      <a:pt x="16648" y="16588"/>
                      <a:pt x="19399" y="11444"/>
                      <a:pt x="17964" y="6600"/>
                    </a:cubicBezTo>
                    <a:cubicBezTo>
                      <a:pt x="16528" y="1696"/>
                      <a:pt x="11385" y="-1055"/>
                      <a:pt x="6540" y="380"/>
                    </a:cubicBezTo>
                    <a:cubicBezTo>
                      <a:pt x="1696" y="1815"/>
                      <a:pt x="-1055" y="6959"/>
                      <a:pt x="380" y="11803"/>
                    </a:cubicBezTo>
                    <a:close/>
                  </a:path>
                </a:pathLst>
              </a:custGeom>
              <a:grpFill/>
              <a:ln w="5978" cap="flat">
                <a:noFill/>
                <a:prstDash val="solid"/>
                <a:miter/>
              </a:ln>
            </p:spPr>
            <p:txBody>
              <a:bodyPr rtlCol="0" anchor="ctr"/>
              <a:lstStyle/>
              <a:p>
                <a:endParaRPr lang="en-GB"/>
              </a:p>
            </p:txBody>
          </p:sp>
        </p:grpSp>
        <p:grpSp>
          <p:nvGrpSpPr>
            <p:cNvPr id="666" name="Graphic 3">
              <a:extLst>
                <a:ext uri="{FF2B5EF4-FFF2-40B4-BE49-F238E27FC236}">
                  <a16:creationId xmlns:a16="http://schemas.microsoft.com/office/drawing/2014/main" id="{0585E98F-3870-4101-9DBD-EE56B3794443}"/>
                </a:ext>
              </a:extLst>
            </p:cNvPr>
            <p:cNvGrpSpPr/>
            <p:nvPr/>
          </p:nvGrpSpPr>
          <p:grpSpPr>
            <a:xfrm>
              <a:off x="5428247" y="1324117"/>
              <a:ext cx="128399" cy="495253"/>
              <a:chOff x="5428247" y="1324117"/>
              <a:chExt cx="128399" cy="495253"/>
            </a:xfrm>
            <a:grpFill/>
          </p:grpSpPr>
          <p:sp>
            <p:nvSpPr>
              <p:cNvPr id="3391" name="Vrije vorm: vorm 3390">
                <a:extLst>
                  <a:ext uri="{FF2B5EF4-FFF2-40B4-BE49-F238E27FC236}">
                    <a16:creationId xmlns:a16="http://schemas.microsoft.com/office/drawing/2014/main" id="{FA9B84BB-F26E-4561-A597-A2F79A3E6456}"/>
                  </a:ext>
                </a:extLst>
              </p:cNvPr>
              <p:cNvSpPr/>
              <p:nvPr/>
            </p:nvSpPr>
            <p:spPr>
              <a:xfrm>
                <a:off x="5435821" y="1332558"/>
                <a:ext cx="113191" cy="478433"/>
              </a:xfrm>
              <a:custGeom>
                <a:avLst/>
                <a:gdLst>
                  <a:gd name="connsiteX0" fmla="*/ 0 w 113191"/>
                  <a:gd name="connsiteY0" fmla="*/ 686 h 478433"/>
                  <a:gd name="connsiteX1" fmla="*/ 2972 w 113191"/>
                  <a:gd name="connsiteY1" fmla="*/ 0 h 478433"/>
                  <a:gd name="connsiteX2" fmla="*/ 113192 w 113191"/>
                  <a:gd name="connsiteY2" fmla="*/ 477748 h 478433"/>
                  <a:gd name="connsiteX3" fmla="*/ 110219 w 113191"/>
                  <a:gd name="connsiteY3" fmla="*/ 478434 h 478433"/>
                </a:gdLst>
                <a:ahLst/>
                <a:cxnLst>
                  <a:cxn ang="0">
                    <a:pos x="connsiteX0" y="connsiteY0"/>
                  </a:cxn>
                  <a:cxn ang="0">
                    <a:pos x="connsiteX1" y="connsiteY1"/>
                  </a:cxn>
                  <a:cxn ang="0">
                    <a:pos x="connsiteX2" y="connsiteY2"/>
                  </a:cxn>
                  <a:cxn ang="0">
                    <a:pos x="connsiteX3" y="connsiteY3"/>
                  </a:cxn>
                </a:cxnLst>
                <a:rect l="l" t="t" r="r" b="b"/>
                <a:pathLst>
                  <a:path w="113191" h="478433">
                    <a:moveTo>
                      <a:pt x="0" y="686"/>
                    </a:moveTo>
                    <a:lnTo>
                      <a:pt x="2972" y="0"/>
                    </a:lnTo>
                    <a:lnTo>
                      <a:pt x="113192" y="477748"/>
                    </a:lnTo>
                    <a:lnTo>
                      <a:pt x="110219" y="478434"/>
                    </a:lnTo>
                    <a:close/>
                  </a:path>
                </a:pathLst>
              </a:custGeom>
              <a:grpFill/>
              <a:ln w="5978" cap="flat">
                <a:noFill/>
                <a:prstDash val="solid"/>
                <a:miter/>
              </a:ln>
            </p:spPr>
            <p:txBody>
              <a:bodyPr rtlCol="0" anchor="ctr"/>
              <a:lstStyle/>
              <a:p>
                <a:endParaRPr lang="en-GB"/>
              </a:p>
            </p:txBody>
          </p:sp>
          <p:sp>
            <p:nvSpPr>
              <p:cNvPr id="3392" name="Vrije vorm: vorm 3391">
                <a:extLst>
                  <a:ext uri="{FF2B5EF4-FFF2-40B4-BE49-F238E27FC236}">
                    <a16:creationId xmlns:a16="http://schemas.microsoft.com/office/drawing/2014/main" id="{B40CFFAE-AE92-43FF-A26F-5F362C90211E}"/>
                  </a:ext>
                </a:extLst>
              </p:cNvPr>
              <p:cNvSpPr/>
              <p:nvPr/>
            </p:nvSpPr>
            <p:spPr>
              <a:xfrm>
                <a:off x="5538289" y="1800960"/>
                <a:ext cx="18357" cy="18410"/>
              </a:xfrm>
              <a:custGeom>
                <a:avLst/>
                <a:gdLst>
                  <a:gd name="connsiteX0" fmla="*/ 18120 w 18357"/>
                  <a:gd name="connsiteY0" fmla="*/ 7172 h 18410"/>
                  <a:gd name="connsiteX1" fmla="*/ 11242 w 18357"/>
                  <a:gd name="connsiteY1" fmla="*/ 18176 h 18410"/>
                  <a:gd name="connsiteX2" fmla="*/ 237 w 18357"/>
                  <a:gd name="connsiteY2" fmla="*/ 11239 h 18410"/>
                  <a:gd name="connsiteX3" fmla="*/ 7115 w 18357"/>
                  <a:gd name="connsiteY3" fmla="*/ 234 h 18410"/>
                  <a:gd name="connsiteX4" fmla="*/ 18120 w 18357"/>
                  <a:gd name="connsiteY4" fmla="*/ 7172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0">
                    <a:moveTo>
                      <a:pt x="18120" y="7172"/>
                    </a:moveTo>
                    <a:cubicBezTo>
                      <a:pt x="19256" y="12136"/>
                      <a:pt x="16206" y="17100"/>
                      <a:pt x="11242" y="18176"/>
                    </a:cubicBezTo>
                    <a:cubicBezTo>
                      <a:pt x="6338" y="19313"/>
                      <a:pt x="1374" y="16203"/>
                      <a:pt x="237" y="11239"/>
                    </a:cubicBezTo>
                    <a:cubicBezTo>
                      <a:pt x="-899" y="6275"/>
                      <a:pt x="2151" y="1371"/>
                      <a:pt x="7115" y="234"/>
                    </a:cubicBezTo>
                    <a:cubicBezTo>
                      <a:pt x="12020" y="-902"/>
                      <a:pt x="16983" y="2208"/>
                      <a:pt x="18120" y="7172"/>
                    </a:cubicBezTo>
                    <a:close/>
                  </a:path>
                </a:pathLst>
              </a:custGeom>
              <a:grpFill/>
              <a:ln w="5978" cap="flat">
                <a:noFill/>
                <a:prstDash val="solid"/>
                <a:miter/>
              </a:ln>
            </p:spPr>
            <p:txBody>
              <a:bodyPr rtlCol="0" anchor="ctr"/>
              <a:lstStyle/>
              <a:p>
                <a:endParaRPr lang="en-GB"/>
              </a:p>
            </p:txBody>
          </p:sp>
          <p:sp>
            <p:nvSpPr>
              <p:cNvPr id="3393" name="Vrije vorm: vorm 3392">
                <a:extLst>
                  <a:ext uri="{FF2B5EF4-FFF2-40B4-BE49-F238E27FC236}">
                    <a16:creationId xmlns:a16="http://schemas.microsoft.com/office/drawing/2014/main" id="{A34D33CB-88DB-494E-9ED4-A64B4F8ECB9F}"/>
                  </a:ext>
                </a:extLst>
              </p:cNvPr>
              <p:cNvSpPr/>
              <p:nvPr/>
            </p:nvSpPr>
            <p:spPr>
              <a:xfrm>
                <a:off x="5428247" y="1324117"/>
                <a:ext cx="18353" cy="18410"/>
              </a:xfrm>
              <a:custGeom>
                <a:avLst/>
                <a:gdLst>
                  <a:gd name="connsiteX0" fmla="*/ 18117 w 18353"/>
                  <a:gd name="connsiteY0" fmla="*/ 7172 h 18410"/>
                  <a:gd name="connsiteX1" fmla="*/ 7112 w 18353"/>
                  <a:gd name="connsiteY1" fmla="*/ 234 h 18410"/>
                  <a:gd name="connsiteX2" fmla="*/ 234 w 18353"/>
                  <a:gd name="connsiteY2" fmla="*/ 11239 h 18410"/>
                  <a:gd name="connsiteX3" fmla="*/ 11239 w 18353"/>
                  <a:gd name="connsiteY3" fmla="*/ 18176 h 18410"/>
                  <a:gd name="connsiteX4" fmla="*/ 18117 w 18353"/>
                  <a:gd name="connsiteY4" fmla="*/ 7172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0">
                    <a:moveTo>
                      <a:pt x="18117" y="7172"/>
                    </a:moveTo>
                    <a:cubicBezTo>
                      <a:pt x="16980" y="2208"/>
                      <a:pt x="12016" y="-902"/>
                      <a:pt x="7112" y="234"/>
                    </a:cubicBezTo>
                    <a:cubicBezTo>
                      <a:pt x="2208" y="1371"/>
                      <a:pt x="-902" y="6334"/>
                      <a:pt x="234" y="11239"/>
                    </a:cubicBezTo>
                    <a:cubicBezTo>
                      <a:pt x="1371" y="16203"/>
                      <a:pt x="6275" y="19313"/>
                      <a:pt x="11239" y="18176"/>
                    </a:cubicBezTo>
                    <a:cubicBezTo>
                      <a:pt x="16203" y="17040"/>
                      <a:pt x="19253" y="12136"/>
                      <a:pt x="18117" y="7172"/>
                    </a:cubicBezTo>
                    <a:close/>
                  </a:path>
                </a:pathLst>
              </a:custGeom>
              <a:grpFill/>
              <a:ln w="5978" cap="flat">
                <a:noFill/>
                <a:prstDash val="solid"/>
                <a:miter/>
              </a:ln>
            </p:spPr>
            <p:txBody>
              <a:bodyPr rtlCol="0" anchor="ctr"/>
              <a:lstStyle/>
              <a:p>
                <a:endParaRPr lang="en-GB"/>
              </a:p>
            </p:txBody>
          </p:sp>
        </p:grpSp>
        <p:grpSp>
          <p:nvGrpSpPr>
            <p:cNvPr id="667" name="Graphic 3">
              <a:extLst>
                <a:ext uri="{FF2B5EF4-FFF2-40B4-BE49-F238E27FC236}">
                  <a16:creationId xmlns:a16="http://schemas.microsoft.com/office/drawing/2014/main" id="{EF34BEB8-7C44-4C0D-973A-409F9D92FFDF}"/>
                </a:ext>
              </a:extLst>
            </p:cNvPr>
            <p:cNvGrpSpPr/>
            <p:nvPr/>
          </p:nvGrpSpPr>
          <p:grpSpPr>
            <a:xfrm>
              <a:off x="6717337" y="5231478"/>
              <a:ext cx="77228" cy="178441"/>
              <a:chOff x="6717337" y="5231478"/>
              <a:chExt cx="77228" cy="178441"/>
            </a:xfrm>
            <a:grpFill/>
          </p:grpSpPr>
          <p:sp>
            <p:nvSpPr>
              <p:cNvPr id="3388" name="Vrije vorm: vorm 3387">
                <a:extLst>
                  <a:ext uri="{FF2B5EF4-FFF2-40B4-BE49-F238E27FC236}">
                    <a16:creationId xmlns:a16="http://schemas.microsoft.com/office/drawing/2014/main" id="{A2AB2092-9604-484F-83CE-877F652AE43D}"/>
                  </a:ext>
                </a:extLst>
              </p:cNvPr>
              <p:cNvSpPr/>
              <p:nvPr/>
            </p:nvSpPr>
            <p:spPr>
              <a:xfrm>
                <a:off x="6725183" y="5239649"/>
                <a:ext cx="62015" cy="161935"/>
              </a:xfrm>
              <a:custGeom>
                <a:avLst/>
                <a:gdLst>
                  <a:gd name="connsiteX0" fmla="*/ 0 w 62015"/>
                  <a:gd name="connsiteY0" fmla="*/ 1053 h 161935"/>
                  <a:gd name="connsiteX1" fmla="*/ 2863 w 62015"/>
                  <a:gd name="connsiteY1" fmla="*/ 0 h 161935"/>
                  <a:gd name="connsiteX2" fmla="*/ 62015 w 62015"/>
                  <a:gd name="connsiteY2" fmla="*/ 160883 h 161935"/>
                  <a:gd name="connsiteX3" fmla="*/ 59152 w 62015"/>
                  <a:gd name="connsiteY3" fmla="*/ 161935 h 161935"/>
                </a:gdLst>
                <a:ahLst/>
                <a:cxnLst>
                  <a:cxn ang="0">
                    <a:pos x="connsiteX0" y="connsiteY0"/>
                  </a:cxn>
                  <a:cxn ang="0">
                    <a:pos x="connsiteX1" y="connsiteY1"/>
                  </a:cxn>
                  <a:cxn ang="0">
                    <a:pos x="connsiteX2" y="connsiteY2"/>
                  </a:cxn>
                  <a:cxn ang="0">
                    <a:pos x="connsiteX3" y="connsiteY3"/>
                  </a:cxn>
                </a:cxnLst>
                <a:rect l="l" t="t" r="r" b="b"/>
                <a:pathLst>
                  <a:path w="62015" h="161935">
                    <a:moveTo>
                      <a:pt x="0" y="1053"/>
                    </a:moveTo>
                    <a:lnTo>
                      <a:pt x="2863" y="0"/>
                    </a:lnTo>
                    <a:lnTo>
                      <a:pt x="62015" y="160883"/>
                    </a:lnTo>
                    <a:lnTo>
                      <a:pt x="59152" y="161935"/>
                    </a:lnTo>
                    <a:close/>
                  </a:path>
                </a:pathLst>
              </a:custGeom>
              <a:grpFill/>
              <a:ln w="5978" cap="flat">
                <a:noFill/>
                <a:prstDash val="solid"/>
                <a:miter/>
              </a:ln>
            </p:spPr>
            <p:txBody>
              <a:bodyPr rtlCol="0" anchor="ctr"/>
              <a:lstStyle/>
              <a:p>
                <a:endParaRPr lang="en-GB"/>
              </a:p>
            </p:txBody>
          </p:sp>
          <p:sp>
            <p:nvSpPr>
              <p:cNvPr id="3389" name="Vrije vorm: vorm 3388">
                <a:extLst>
                  <a:ext uri="{FF2B5EF4-FFF2-40B4-BE49-F238E27FC236}">
                    <a16:creationId xmlns:a16="http://schemas.microsoft.com/office/drawing/2014/main" id="{A2E2DFB1-D57C-4AFC-92DD-74D1A21ED4B3}"/>
                  </a:ext>
                </a:extLst>
              </p:cNvPr>
              <p:cNvSpPr/>
              <p:nvPr/>
            </p:nvSpPr>
            <p:spPr>
              <a:xfrm>
                <a:off x="6776271" y="5391493"/>
                <a:ext cx="18294" cy="18427"/>
              </a:xfrm>
              <a:custGeom>
                <a:avLst/>
                <a:gdLst>
                  <a:gd name="connsiteX0" fmla="*/ 17730 w 18294"/>
                  <a:gd name="connsiteY0" fmla="*/ 6029 h 18427"/>
                  <a:gd name="connsiteX1" fmla="*/ 12347 w 18294"/>
                  <a:gd name="connsiteY1" fmla="*/ 17870 h 18427"/>
                  <a:gd name="connsiteX2" fmla="*/ 565 w 18294"/>
                  <a:gd name="connsiteY2" fmla="*/ 12368 h 18427"/>
                  <a:gd name="connsiteX3" fmla="*/ 5947 w 18294"/>
                  <a:gd name="connsiteY3" fmla="*/ 526 h 18427"/>
                  <a:gd name="connsiteX4" fmla="*/ 17730 w 18294"/>
                  <a:gd name="connsiteY4" fmla="*/ 6029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7">
                    <a:moveTo>
                      <a:pt x="17730" y="6029"/>
                    </a:moveTo>
                    <a:cubicBezTo>
                      <a:pt x="19464" y="10813"/>
                      <a:pt x="17071" y="16076"/>
                      <a:pt x="12347" y="17870"/>
                    </a:cubicBezTo>
                    <a:cubicBezTo>
                      <a:pt x="7622" y="19605"/>
                      <a:pt x="2299" y="17153"/>
                      <a:pt x="565" y="12368"/>
                    </a:cubicBezTo>
                    <a:cubicBezTo>
                      <a:pt x="-1170" y="7583"/>
                      <a:pt x="1223" y="2320"/>
                      <a:pt x="5947" y="526"/>
                    </a:cubicBezTo>
                    <a:cubicBezTo>
                      <a:pt x="10672" y="-1148"/>
                      <a:pt x="15935" y="1304"/>
                      <a:pt x="17730" y="6029"/>
                    </a:cubicBezTo>
                    <a:close/>
                  </a:path>
                </a:pathLst>
              </a:custGeom>
              <a:grpFill/>
              <a:ln w="5978" cap="flat">
                <a:noFill/>
                <a:prstDash val="solid"/>
                <a:miter/>
              </a:ln>
            </p:spPr>
            <p:txBody>
              <a:bodyPr rtlCol="0" anchor="ctr"/>
              <a:lstStyle/>
              <a:p>
                <a:endParaRPr lang="en-GB"/>
              </a:p>
            </p:txBody>
          </p:sp>
          <p:sp>
            <p:nvSpPr>
              <p:cNvPr id="3390" name="Vrije vorm: vorm 3389">
                <a:extLst>
                  <a:ext uri="{FF2B5EF4-FFF2-40B4-BE49-F238E27FC236}">
                    <a16:creationId xmlns:a16="http://schemas.microsoft.com/office/drawing/2014/main" id="{C16B772F-1CA0-40AC-8A10-746D80B0515F}"/>
                  </a:ext>
                </a:extLst>
              </p:cNvPr>
              <p:cNvSpPr/>
              <p:nvPr/>
            </p:nvSpPr>
            <p:spPr>
              <a:xfrm>
                <a:off x="6717337" y="5231478"/>
                <a:ext cx="18317" cy="18457"/>
              </a:xfrm>
              <a:custGeom>
                <a:avLst/>
                <a:gdLst>
                  <a:gd name="connsiteX0" fmla="*/ 17753 w 18317"/>
                  <a:gd name="connsiteY0" fmla="*/ 6059 h 18457"/>
                  <a:gd name="connsiteX1" fmla="*/ 5971 w 18317"/>
                  <a:gd name="connsiteY1" fmla="*/ 557 h 18457"/>
                  <a:gd name="connsiteX2" fmla="*/ 589 w 18317"/>
                  <a:gd name="connsiteY2" fmla="*/ 12399 h 18457"/>
                  <a:gd name="connsiteX3" fmla="*/ 12371 w 18317"/>
                  <a:gd name="connsiteY3" fmla="*/ 17901 h 18457"/>
                  <a:gd name="connsiteX4" fmla="*/ 17753 w 18317"/>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7">
                    <a:moveTo>
                      <a:pt x="17753" y="6059"/>
                    </a:moveTo>
                    <a:cubicBezTo>
                      <a:pt x="16019" y="1274"/>
                      <a:pt x="10696" y="-1178"/>
                      <a:pt x="5971" y="557"/>
                    </a:cubicBezTo>
                    <a:cubicBezTo>
                      <a:pt x="1246" y="2291"/>
                      <a:pt x="-1205" y="7614"/>
                      <a:pt x="589" y="12399"/>
                    </a:cubicBezTo>
                    <a:cubicBezTo>
                      <a:pt x="2323" y="17183"/>
                      <a:pt x="7646" y="19635"/>
                      <a:pt x="12371" y="17901"/>
                    </a:cubicBezTo>
                    <a:cubicBezTo>
                      <a:pt x="17096" y="16107"/>
                      <a:pt x="19488" y="10844"/>
                      <a:pt x="17753" y="6059"/>
                    </a:cubicBezTo>
                    <a:close/>
                  </a:path>
                </a:pathLst>
              </a:custGeom>
              <a:grpFill/>
              <a:ln w="5978" cap="flat">
                <a:noFill/>
                <a:prstDash val="solid"/>
                <a:miter/>
              </a:ln>
            </p:spPr>
            <p:txBody>
              <a:bodyPr rtlCol="0" anchor="ctr"/>
              <a:lstStyle/>
              <a:p>
                <a:endParaRPr lang="en-GB"/>
              </a:p>
            </p:txBody>
          </p:sp>
        </p:grpSp>
        <p:grpSp>
          <p:nvGrpSpPr>
            <p:cNvPr id="668" name="Graphic 3">
              <a:extLst>
                <a:ext uri="{FF2B5EF4-FFF2-40B4-BE49-F238E27FC236}">
                  <a16:creationId xmlns:a16="http://schemas.microsoft.com/office/drawing/2014/main" id="{A2F87086-C94D-4859-ABE8-6E876A81CD49}"/>
                </a:ext>
              </a:extLst>
            </p:cNvPr>
            <p:cNvGrpSpPr/>
            <p:nvPr/>
          </p:nvGrpSpPr>
          <p:grpSpPr>
            <a:xfrm>
              <a:off x="6677624" y="5123706"/>
              <a:ext cx="51630" cy="108945"/>
              <a:chOff x="6677624" y="5123706"/>
              <a:chExt cx="51630" cy="108945"/>
            </a:xfrm>
            <a:grpFill/>
          </p:grpSpPr>
          <p:sp>
            <p:nvSpPr>
              <p:cNvPr id="3385" name="Vrije vorm: vorm 3384">
                <a:extLst>
                  <a:ext uri="{FF2B5EF4-FFF2-40B4-BE49-F238E27FC236}">
                    <a16:creationId xmlns:a16="http://schemas.microsoft.com/office/drawing/2014/main" id="{EC6153C4-8EAF-41C0-ACC2-C3734935441E}"/>
                  </a:ext>
                </a:extLst>
              </p:cNvPr>
              <p:cNvSpPr/>
              <p:nvPr/>
            </p:nvSpPr>
            <p:spPr>
              <a:xfrm>
                <a:off x="6685169" y="5132254"/>
                <a:ext cx="36433" cy="92384"/>
              </a:xfrm>
              <a:custGeom>
                <a:avLst/>
                <a:gdLst>
                  <a:gd name="connsiteX0" fmla="*/ 0 w 36433"/>
                  <a:gd name="connsiteY0" fmla="*/ 1052 h 92384"/>
                  <a:gd name="connsiteX1" fmla="*/ 2863 w 36433"/>
                  <a:gd name="connsiteY1" fmla="*/ 0 h 92384"/>
                  <a:gd name="connsiteX2" fmla="*/ 36434 w 36433"/>
                  <a:gd name="connsiteY2" fmla="*/ 91332 h 92384"/>
                  <a:gd name="connsiteX3" fmla="*/ 33571 w 36433"/>
                  <a:gd name="connsiteY3" fmla="*/ 92384 h 92384"/>
                </a:gdLst>
                <a:ahLst/>
                <a:cxnLst>
                  <a:cxn ang="0">
                    <a:pos x="connsiteX0" y="connsiteY0"/>
                  </a:cxn>
                  <a:cxn ang="0">
                    <a:pos x="connsiteX1" y="connsiteY1"/>
                  </a:cxn>
                  <a:cxn ang="0">
                    <a:pos x="connsiteX2" y="connsiteY2"/>
                  </a:cxn>
                  <a:cxn ang="0">
                    <a:pos x="connsiteX3" y="connsiteY3"/>
                  </a:cxn>
                </a:cxnLst>
                <a:rect l="l" t="t" r="r" b="b"/>
                <a:pathLst>
                  <a:path w="36433" h="92384">
                    <a:moveTo>
                      <a:pt x="0" y="1052"/>
                    </a:moveTo>
                    <a:lnTo>
                      <a:pt x="2863" y="0"/>
                    </a:lnTo>
                    <a:lnTo>
                      <a:pt x="36434" y="91332"/>
                    </a:lnTo>
                    <a:lnTo>
                      <a:pt x="33571" y="92384"/>
                    </a:lnTo>
                    <a:close/>
                  </a:path>
                </a:pathLst>
              </a:custGeom>
              <a:grpFill/>
              <a:ln w="5978" cap="flat">
                <a:noFill/>
                <a:prstDash val="solid"/>
                <a:miter/>
              </a:ln>
            </p:spPr>
            <p:txBody>
              <a:bodyPr rtlCol="0" anchor="ctr"/>
              <a:lstStyle/>
              <a:p>
                <a:endParaRPr lang="en-GB"/>
              </a:p>
            </p:txBody>
          </p:sp>
          <p:sp>
            <p:nvSpPr>
              <p:cNvPr id="3386" name="Vrije vorm: vorm 3385">
                <a:extLst>
                  <a:ext uri="{FF2B5EF4-FFF2-40B4-BE49-F238E27FC236}">
                    <a16:creationId xmlns:a16="http://schemas.microsoft.com/office/drawing/2014/main" id="{EBF4D62B-B4CD-4FA7-A26C-B09E4E7D8019}"/>
                  </a:ext>
                </a:extLst>
              </p:cNvPr>
              <p:cNvSpPr/>
              <p:nvPr/>
            </p:nvSpPr>
            <p:spPr>
              <a:xfrm>
                <a:off x="6710961" y="5214194"/>
                <a:ext cx="18293" cy="18457"/>
              </a:xfrm>
              <a:custGeom>
                <a:avLst/>
                <a:gdLst>
                  <a:gd name="connsiteX0" fmla="*/ 17729 w 18293"/>
                  <a:gd name="connsiteY0" fmla="*/ 6059 h 18457"/>
                  <a:gd name="connsiteX1" fmla="*/ 12347 w 18293"/>
                  <a:gd name="connsiteY1" fmla="*/ 17901 h 18457"/>
                  <a:gd name="connsiteX2" fmla="*/ 565 w 18293"/>
                  <a:gd name="connsiteY2" fmla="*/ 12398 h 18457"/>
                  <a:gd name="connsiteX3" fmla="*/ 5947 w 18293"/>
                  <a:gd name="connsiteY3" fmla="*/ 557 h 18457"/>
                  <a:gd name="connsiteX4" fmla="*/ 17729 w 18293"/>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57">
                    <a:moveTo>
                      <a:pt x="17729" y="6059"/>
                    </a:moveTo>
                    <a:cubicBezTo>
                      <a:pt x="19464" y="10843"/>
                      <a:pt x="17071" y="16106"/>
                      <a:pt x="12347" y="17901"/>
                    </a:cubicBezTo>
                    <a:cubicBezTo>
                      <a:pt x="7622" y="19635"/>
                      <a:pt x="2299" y="17183"/>
                      <a:pt x="565" y="12398"/>
                    </a:cubicBezTo>
                    <a:cubicBezTo>
                      <a:pt x="-1170" y="7614"/>
                      <a:pt x="1222" y="2351"/>
                      <a:pt x="5947" y="557"/>
                    </a:cubicBezTo>
                    <a:cubicBezTo>
                      <a:pt x="10732" y="-1178"/>
                      <a:pt x="15995" y="1274"/>
                      <a:pt x="17729" y="6059"/>
                    </a:cubicBezTo>
                    <a:close/>
                  </a:path>
                </a:pathLst>
              </a:custGeom>
              <a:grpFill/>
              <a:ln w="5978" cap="flat">
                <a:noFill/>
                <a:prstDash val="solid"/>
                <a:miter/>
              </a:ln>
            </p:spPr>
            <p:txBody>
              <a:bodyPr rtlCol="0" anchor="ctr"/>
              <a:lstStyle/>
              <a:p>
                <a:endParaRPr lang="en-GB"/>
              </a:p>
            </p:txBody>
          </p:sp>
          <p:sp>
            <p:nvSpPr>
              <p:cNvPr id="3387" name="Vrije vorm: vorm 3386">
                <a:extLst>
                  <a:ext uri="{FF2B5EF4-FFF2-40B4-BE49-F238E27FC236}">
                    <a16:creationId xmlns:a16="http://schemas.microsoft.com/office/drawing/2014/main" id="{A255D988-D71E-4B95-AB9B-88F2B6C59DDD}"/>
                  </a:ext>
                </a:extLst>
              </p:cNvPr>
              <p:cNvSpPr/>
              <p:nvPr/>
            </p:nvSpPr>
            <p:spPr>
              <a:xfrm>
                <a:off x="6677624" y="5123706"/>
                <a:ext cx="18342" cy="18457"/>
              </a:xfrm>
              <a:custGeom>
                <a:avLst/>
                <a:gdLst>
                  <a:gd name="connsiteX0" fmla="*/ 17753 w 18342"/>
                  <a:gd name="connsiteY0" fmla="*/ 6059 h 18457"/>
                  <a:gd name="connsiteX1" fmla="*/ 5971 w 18342"/>
                  <a:gd name="connsiteY1" fmla="*/ 557 h 18457"/>
                  <a:gd name="connsiteX2" fmla="*/ 589 w 18342"/>
                  <a:gd name="connsiteY2" fmla="*/ 12398 h 18457"/>
                  <a:gd name="connsiteX3" fmla="*/ 12371 w 18342"/>
                  <a:gd name="connsiteY3" fmla="*/ 17901 h 18457"/>
                  <a:gd name="connsiteX4" fmla="*/ 17753 w 18342"/>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57">
                    <a:moveTo>
                      <a:pt x="17753" y="6059"/>
                    </a:moveTo>
                    <a:cubicBezTo>
                      <a:pt x="16019" y="1274"/>
                      <a:pt x="10696" y="-1178"/>
                      <a:pt x="5971" y="557"/>
                    </a:cubicBezTo>
                    <a:cubicBezTo>
                      <a:pt x="1247" y="2291"/>
                      <a:pt x="-1205" y="7614"/>
                      <a:pt x="589" y="12398"/>
                    </a:cubicBezTo>
                    <a:cubicBezTo>
                      <a:pt x="2323" y="17183"/>
                      <a:pt x="7646" y="19635"/>
                      <a:pt x="12371" y="17901"/>
                    </a:cubicBezTo>
                    <a:cubicBezTo>
                      <a:pt x="17096" y="16106"/>
                      <a:pt x="19548" y="10843"/>
                      <a:pt x="17753" y="6059"/>
                    </a:cubicBezTo>
                    <a:close/>
                  </a:path>
                </a:pathLst>
              </a:custGeom>
              <a:grpFill/>
              <a:ln w="5978" cap="flat">
                <a:noFill/>
                <a:prstDash val="solid"/>
                <a:miter/>
              </a:ln>
            </p:spPr>
            <p:txBody>
              <a:bodyPr rtlCol="0" anchor="ctr"/>
              <a:lstStyle/>
              <a:p>
                <a:endParaRPr lang="en-GB"/>
              </a:p>
            </p:txBody>
          </p:sp>
        </p:grpSp>
        <p:grpSp>
          <p:nvGrpSpPr>
            <p:cNvPr id="669" name="Graphic 3">
              <a:extLst>
                <a:ext uri="{FF2B5EF4-FFF2-40B4-BE49-F238E27FC236}">
                  <a16:creationId xmlns:a16="http://schemas.microsoft.com/office/drawing/2014/main" id="{7990F7CC-29AC-422E-924D-4DAF95E8DB58}"/>
                </a:ext>
              </a:extLst>
            </p:cNvPr>
            <p:cNvGrpSpPr/>
            <p:nvPr/>
          </p:nvGrpSpPr>
          <p:grpSpPr>
            <a:xfrm>
              <a:off x="6627805" y="4988242"/>
              <a:ext cx="61797" cy="136636"/>
              <a:chOff x="6627805" y="4988242"/>
              <a:chExt cx="61797" cy="136636"/>
            </a:xfrm>
            <a:grpFill/>
          </p:grpSpPr>
          <p:sp>
            <p:nvSpPr>
              <p:cNvPr id="3382" name="Vrije vorm: vorm 3381">
                <a:extLst>
                  <a:ext uri="{FF2B5EF4-FFF2-40B4-BE49-F238E27FC236}">
                    <a16:creationId xmlns:a16="http://schemas.microsoft.com/office/drawing/2014/main" id="{BB3FFD13-75EF-41A0-AD02-75A69A58088C}"/>
                  </a:ext>
                </a:extLst>
              </p:cNvPr>
              <p:cNvSpPr/>
              <p:nvPr/>
            </p:nvSpPr>
            <p:spPr>
              <a:xfrm>
                <a:off x="6635702" y="4996551"/>
                <a:ext cx="46714" cy="120091"/>
              </a:xfrm>
              <a:custGeom>
                <a:avLst/>
                <a:gdLst>
                  <a:gd name="connsiteX0" fmla="*/ 0 w 46714"/>
                  <a:gd name="connsiteY0" fmla="*/ 1054 h 120091"/>
                  <a:gd name="connsiteX1" fmla="*/ 2862 w 46714"/>
                  <a:gd name="connsiteY1" fmla="*/ 0 h 120091"/>
                  <a:gd name="connsiteX2" fmla="*/ 46715 w 46714"/>
                  <a:gd name="connsiteY2" fmla="*/ 119037 h 120091"/>
                  <a:gd name="connsiteX3" fmla="*/ 43853 w 46714"/>
                  <a:gd name="connsiteY3" fmla="*/ 120091 h 120091"/>
                </a:gdLst>
                <a:ahLst/>
                <a:cxnLst>
                  <a:cxn ang="0">
                    <a:pos x="connsiteX0" y="connsiteY0"/>
                  </a:cxn>
                  <a:cxn ang="0">
                    <a:pos x="connsiteX1" y="connsiteY1"/>
                  </a:cxn>
                  <a:cxn ang="0">
                    <a:pos x="connsiteX2" y="connsiteY2"/>
                  </a:cxn>
                  <a:cxn ang="0">
                    <a:pos x="connsiteX3" y="connsiteY3"/>
                  </a:cxn>
                </a:cxnLst>
                <a:rect l="l" t="t" r="r" b="b"/>
                <a:pathLst>
                  <a:path w="46714" h="120091">
                    <a:moveTo>
                      <a:pt x="0" y="1054"/>
                    </a:moveTo>
                    <a:lnTo>
                      <a:pt x="2862" y="0"/>
                    </a:lnTo>
                    <a:lnTo>
                      <a:pt x="46715" y="119037"/>
                    </a:lnTo>
                    <a:lnTo>
                      <a:pt x="43853" y="120091"/>
                    </a:lnTo>
                    <a:close/>
                  </a:path>
                </a:pathLst>
              </a:custGeom>
              <a:grpFill/>
              <a:ln w="5978" cap="flat">
                <a:noFill/>
                <a:prstDash val="solid"/>
                <a:miter/>
              </a:ln>
            </p:spPr>
            <p:txBody>
              <a:bodyPr rtlCol="0" anchor="ctr"/>
              <a:lstStyle/>
              <a:p>
                <a:endParaRPr lang="en-GB"/>
              </a:p>
            </p:txBody>
          </p:sp>
          <p:sp>
            <p:nvSpPr>
              <p:cNvPr id="3383" name="Vrije vorm: vorm 3382">
                <a:extLst>
                  <a:ext uri="{FF2B5EF4-FFF2-40B4-BE49-F238E27FC236}">
                    <a16:creationId xmlns:a16="http://schemas.microsoft.com/office/drawing/2014/main" id="{C251EA86-BC60-473D-98EC-6125F31A9462}"/>
                  </a:ext>
                </a:extLst>
              </p:cNvPr>
              <p:cNvSpPr/>
              <p:nvPr/>
            </p:nvSpPr>
            <p:spPr>
              <a:xfrm>
                <a:off x="6671309" y="5106421"/>
                <a:ext cx="18293" cy="18457"/>
              </a:xfrm>
              <a:custGeom>
                <a:avLst/>
                <a:gdLst>
                  <a:gd name="connsiteX0" fmla="*/ 17729 w 18293"/>
                  <a:gd name="connsiteY0" fmla="*/ 6059 h 18457"/>
                  <a:gd name="connsiteX1" fmla="*/ 12347 w 18293"/>
                  <a:gd name="connsiteY1" fmla="*/ 17901 h 18457"/>
                  <a:gd name="connsiteX2" fmla="*/ 565 w 18293"/>
                  <a:gd name="connsiteY2" fmla="*/ 12398 h 18457"/>
                  <a:gd name="connsiteX3" fmla="*/ 5947 w 18293"/>
                  <a:gd name="connsiteY3" fmla="*/ 557 h 18457"/>
                  <a:gd name="connsiteX4" fmla="*/ 17729 w 18293"/>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57">
                    <a:moveTo>
                      <a:pt x="17729" y="6059"/>
                    </a:moveTo>
                    <a:cubicBezTo>
                      <a:pt x="19464" y="10843"/>
                      <a:pt x="17071" y="16106"/>
                      <a:pt x="12347" y="17901"/>
                    </a:cubicBezTo>
                    <a:cubicBezTo>
                      <a:pt x="7622" y="19635"/>
                      <a:pt x="2299" y="17183"/>
                      <a:pt x="565" y="12398"/>
                    </a:cubicBezTo>
                    <a:cubicBezTo>
                      <a:pt x="-1170" y="7614"/>
                      <a:pt x="1222" y="2351"/>
                      <a:pt x="5947" y="557"/>
                    </a:cubicBezTo>
                    <a:cubicBezTo>
                      <a:pt x="10672" y="-1178"/>
                      <a:pt x="15995" y="1274"/>
                      <a:pt x="17729" y="6059"/>
                    </a:cubicBezTo>
                    <a:close/>
                  </a:path>
                </a:pathLst>
              </a:custGeom>
              <a:grpFill/>
              <a:ln w="5978" cap="flat">
                <a:noFill/>
                <a:prstDash val="solid"/>
                <a:miter/>
              </a:ln>
            </p:spPr>
            <p:txBody>
              <a:bodyPr rtlCol="0" anchor="ctr"/>
              <a:lstStyle/>
              <a:p>
                <a:endParaRPr lang="en-GB"/>
              </a:p>
            </p:txBody>
          </p:sp>
          <p:sp>
            <p:nvSpPr>
              <p:cNvPr id="3384" name="Vrije vorm: vorm 3383">
                <a:extLst>
                  <a:ext uri="{FF2B5EF4-FFF2-40B4-BE49-F238E27FC236}">
                    <a16:creationId xmlns:a16="http://schemas.microsoft.com/office/drawing/2014/main" id="{5D38ED4A-FF2A-4639-B76D-A3C1CB9FA7BD}"/>
                  </a:ext>
                </a:extLst>
              </p:cNvPr>
              <p:cNvSpPr/>
              <p:nvPr/>
            </p:nvSpPr>
            <p:spPr>
              <a:xfrm>
                <a:off x="6627805" y="4988242"/>
                <a:ext cx="18311" cy="18457"/>
              </a:xfrm>
              <a:custGeom>
                <a:avLst/>
                <a:gdLst>
                  <a:gd name="connsiteX0" fmla="*/ 17753 w 18311"/>
                  <a:gd name="connsiteY0" fmla="*/ 6059 h 18457"/>
                  <a:gd name="connsiteX1" fmla="*/ 5971 w 18311"/>
                  <a:gd name="connsiteY1" fmla="*/ 557 h 18457"/>
                  <a:gd name="connsiteX2" fmla="*/ 589 w 18311"/>
                  <a:gd name="connsiteY2" fmla="*/ 12398 h 18457"/>
                  <a:gd name="connsiteX3" fmla="*/ 12371 w 18311"/>
                  <a:gd name="connsiteY3" fmla="*/ 17901 h 18457"/>
                  <a:gd name="connsiteX4" fmla="*/ 17753 w 18311"/>
                  <a:gd name="connsiteY4" fmla="*/ 605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7">
                    <a:moveTo>
                      <a:pt x="17753" y="6059"/>
                    </a:moveTo>
                    <a:cubicBezTo>
                      <a:pt x="16019" y="1274"/>
                      <a:pt x="10696" y="-1178"/>
                      <a:pt x="5971" y="557"/>
                    </a:cubicBezTo>
                    <a:cubicBezTo>
                      <a:pt x="1247" y="2291"/>
                      <a:pt x="-1206" y="7614"/>
                      <a:pt x="589" y="12398"/>
                    </a:cubicBezTo>
                    <a:cubicBezTo>
                      <a:pt x="2323" y="17183"/>
                      <a:pt x="7646" y="19635"/>
                      <a:pt x="12371" y="17901"/>
                    </a:cubicBezTo>
                    <a:cubicBezTo>
                      <a:pt x="17036" y="16106"/>
                      <a:pt x="19488" y="10843"/>
                      <a:pt x="17753" y="6059"/>
                    </a:cubicBezTo>
                    <a:close/>
                  </a:path>
                </a:pathLst>
              </a:custGeom>
              <a:grpFill/>
              <a:ln w="5978" cap="flat">
                <a:noFill/>
                <a:prstDash val="solid"/>
                <a:miter/>
              </a:ln>
            </p:spPr>
            <p:txBody>
              <a:bodyPr rtlCol="0" anchor="ctr"/>
              <a:lstStyle/>
              <a:p>
                <a:endParaRPr lang="en-GB"/>
              </a:p>
            </p:txBody>
          </p:sp>
        </p:grpSp>
        <p:grpSp>
          <p:nvGrpSpPr>
            <p:cNvPr id="670" name="Graphic 3">
              <a:extLst>
                <a:ext uri="{FF2B5EF4-FFF2-40B4-BE49-F238E27FC236}">
                  <a16:creationId xmlns:a16="http://schemas.microsoft.com/office/drawing/2014/main" id="{5531C3ED-2E7C-4D62-B41B-5ECF9CE522D6}"/>
                </a:ext>
              </a:extLst>
            </p:cNvPr>
            <p:cNvGrpSpPr/>
            <p:nvPr/>
          </p:nvGrpSpPr>
          <p:grpSpPr>
            <a:xfrm>
              <a:off x="6627033" y="4988480"/>
              <a:ext cx="142111" cy="465758"/>
              <a:chOff x="6627033" y="4988480"/>
              <a:chExt cx="142111" cy="465758"/>
            </a:xfrm>
            <a:grpFill/>
          </p:grpSpPr>
          <p:sp>
            <p:nvSpPr>
              <p:cNvPr id="3379" name="Vrije vorm: vorm 3378">
                <a:extLst>
                  <a:ext uri="{FF2B5EF4-FFF2-40B4-BE49-F238E27FC236}">
                    <a16:creationId xmlns:a16="http://schemas.microsoft.com/office/drawing/2014/main" id="{C7BF92C6-4B69-4B5F-9E2E-28EB52F11BB3}"/>
                  </a:ext>
                </a:extLst>
              </p:cNvPr>
              <p:cNvSpPr/>
              <p:nvPr/>
            </p:nvSpPr>
            <p:spPr>
              <a:xfrm>
                <a:off x="6634461" y="4997092"/>
                <a:ext cx="126925" cy="449038"/>
              </a:xfrm>
              <a:custGeom>
                <a:avLst/>
                <a:gdLst>
                  <a:gd name="connsiteX0" fmla="*/ 0 w 126925"/>
                  <a:gd name="connsiteY0" fmla="*/ 813 h 449038"/>
                  <a:gd name="connsiteX1" fmla="*/ 2940 w 126925"/>
                  <a:gd name="connsiteY1" fmla="*/ 0 h 449038"/>
                  <a:gd name="connsiteX2" fmla="*/ 126925 w 126925"/>
                  <a:gd name="connsiteY2" fmla="*/ 448226 h 449038"/>
                  <a:gd name="connsiteX3" fmla="*/ 123985 w 126925"/>
                  <a:gd name="connsiteY3" fmla="*/ 449039 h 449038"/>
                </a:gdLst>
                <a:ahLst/>
                <a:cxnLst>
                  <a:cxn ang="0">
                    <a:pos x="connsiteX0" y="connsiteY0"/>
                  </a:cxn>
                  <a:cxn ang="0">
                    <a:pos x="connsiteX1" y="connsiteY1"/>
                  </a:cxn>
                  <a:cxn ang="0">
                    <a:pos x="connsiteX2" y="connsiteY2"/>
                  </a:cxn>
                  <a:cxn ang="0">
                    <a:pos x="connsiteX3" y="connsiteY3"/>
                  </a:cxn>
                </a:cxnLst>
                <a:rect l="l" t="t" r="r" b="b"/>
                <a:pathLst>
                  <a:path w="126925" h="449038">
                    <a:moveTo>
                      <a:pt x="0" y="813"/>
                    </a:moveTo>
                    <a:lnTo>
                      <a:pt x="2940" y="0"/>
                    </a:lnTo>
                    <a:lnTo>
                      <a:pt x="126925" y="448226"/>
                    </a:lnTo>
                    <a:lnTo>
                      <a:pt x="123985" y="449039"/>
                    </a:lnTo>
                    <a:close/>
                  </a:path>
                </a:pathLst>
              </a:custGeom>
              <a:grpFill/>
              <a:ln w="5978" cap="flat">
                <a:noFill/>
                <a:prstDash val="solid"/>
                <a:miter/>
              </a:ln>
            </p:spPr>
            <p:txBody>
              <a:bodyPr rtlCol="0" anchor="ctr"/>
              <a:lstStyle/>
              <a:p>
                <a:endParaRPr lang="en-GB"/>
              </a:p>
            </p:txBody>
          </p:sp>
          <p:sp>
            <p:nvSpPr>
              <p:cNvPr id="3380" name="Vrije vorm: vorm 3379">
                <a:extLst>
                  <a:ext uri="{FF2B5EF4-FFF2-40B4-BE49-F238E27FC236}">
                    <a16:creationId xmlns:a16="http://schemas.microsoft.com/office/drawing/2014/main" id="{B077A602-A6DB-4CE3-8985-45200BD18684}"/>
                  </a:ext>
                </a:extLst>
              </p:cNvPr>
              <p:cNvSpPr/>
              <p:nvPr/>
            </p:nvSpPr>
            <p:spPr>
              <a:xfrm>
                <a:off x="6627033" y="4988480"/>
                <a:ext cx="18391" cy="18421"/>
              </a:xfrm>
              <a:custGeom>
                <a:avLst/>
                <a:gdLst>
                  <a:gd name="connsiteX0" fmla="*/ 344 w 18391"/>
                  <a:gd name="connsiteY0" fmla="*/ 11623 h 18421"/>
                  <a:gd name="connsiteX1" fmla="*/ 6744 w 18391"/>
                  <a:gd name="connsiteY1" fmla="*/ 319 h 18421"/>
                  <a:gd name="connsiteX2" fmla="*/ 18047 w 18391"/>
                  <a:gd name="connsiteY2" fmla="*/ 6778 h 18421"/>
                  <a:gd name="connsiteX3" fmla="*/ 11648 w 18391"/>
                  <a:gd name="connsiteY3" fmla="*/ 18082 h 18421"/>
                  <a:gd name="connsiteX4" fmla="*/ 344 w 18391"/>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1" h="18421">
                    <a:moveTo>
                      <a:pt x="344" y="11623"/>
                    </a:moveTo>
                    <a:cubicBezTo>
                      <a:pt x="-1031" y="6718"/>
                      <a:pt x="1839" y="1635"/>
                      <a:pt x="6744" y="319"/>
                    </a:cubicBezTo>
                    <a:cubicBezTo>
                      <a:pt x="11648" y="-997"/>
                      <a:pt x="16672" y="1874"/>
                      <a:pt x="18047" y="6778"/>
                    </a:cubicBezTo>
                    <a:cubicBezTo>
                      <a:pt x="19423" y="11683"/>
                      <a:pt x="16552" y="16766"/>
                      <a:pt x="11648" y="18082"/>
                    </a:cubicBezTo>
                    <a:cubicBezTo>
                      <a:pt x="6744" y="19457"/>
                      <a:pt x="1720" y="16527"/>
                      <a:pt x="344" y="11623"/>
                    </a:cubicBezTo>
                    <a:close/>
                  </a:path>
                </a:pathLst>
              </a:custGeom>
              <a:grpFill/>
              <a:ln w="5978" cap="flat">
                <a:noFill/>
                <a:prstDash val="solid"/>
                <a:miter/>
              </a:ln>
            </p:spPr>
            <p:txBody>
              <a:bodyPr rtlCol="0" anchor="ctr"/>
              <a:lstStyle/>
              <a:p>
                <a:endParaRPr lang="en-GB"/>
              </a:p>
            </p:txBody>
          </p:sp>
          <p:sp>
            <p:nvSpPr>
              <p:cNvPr id="3381" name="Vrije vorm: vorm 3380">
                <a:extLst>
                  <a:ext uri="{FF2B5EF4-FFF2-40B4-BE49-F238E27FC236}">
                    <a16:creationId xmlns:a16="http://schemas.microsoft.com/office/drawing/2014/main" id="{339D241C-9FE2-46A1-9566-C57679CCEB1B}"/>
                  </a:ext>
                </a:extLst>
              </p:cNvPr>
              <p:cNvSpPr/>
              <p:nvPr/>
            </p:nvSpPr>
            <p:spPr>
              <a:xfrm>
                <a:off x="6750795" y="5435838"/>
                <a:ext cx="18349" cy="18400"/>
              </a:xfrm>
              <a:custGeom>
                <a:avLst/>
                <a:gdLst>
                  <a:gd name="connsiteX0" fmla="*/ 323 w 18349"/>
                  <a:gd name="connsiteY0" fmla="*/ 11623 h 18400"/>
                  <a:gd name="connsiteX1" fmla="*/ 11627 w 18349"/>
                  <a:gd name="connsiteY1" fmla="*/ 18082 h 18400"/>
                  <a:gd name="connsiteX2" fmla="*/ 18026 w 18349"/>
                  <a:gd name="connsiteY2" fmla="*/ 6778 h 18400"/>
                  <a:gd name="connsiteX3" fmla="*/ 6723 w 18349"/>
                  <a:gd name="connsiteY3" fmla="*/ 319 h 18400"/>
                  <a:gd name="connsiteX4" fmla="*/ 323 w 18349"/>
                  <a:gd name="connsiteY4" fmla="*/ 11623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0">
                    <a:moveTo>
                      <a:pt x="323" y="11623"/>
                    </a:moveTo>
                    <a:cubicBezTo>
                      <a:pt x="1699" y="16527"/>
                      <a:pt x="6723" y="19398"/>
                      <a:pt x="11627" y="18082"/>
                    </a:cubicBezTo>
                    <a:cubicBezTo>
                      <a:pt x="16531" y="16766"/>
                      <a:pt x="19342" y="11683"/>
                      <a:pt x="18026" y="6778"/>
                    </a:cubicBezTo>
                    <a:cubicBezTo>
                      <a:pt x="16710" y="1874"/>
                      <a:pt x="11627" y="-997"/>
                      <a:pt x="6723" y="319"/>
                    </a:cubicBezTo>
                    <a:cubicBezTo>
                      <a:pt x="1819" y="1635"/>
                      <a:pt x="-992" y="6718"/>
                      <a:pt x="323" y="11623"/>
                    </a:cubicBezTo>
                    <a:close/>
                  </a:path>
                </a:pathLst>
              </a:custGeom>
              <a:grpFill/>
              <a:ln w="5978" cap="flat">
                <a:noFill/>
                <a:prstDash val="solid"/>
                <a:miter/>
              </a:ln>
            </p:spPr>
            <p:txBody>
              <a:bodyPr rtlCol="0" anchor="ctr"/>
              <a:lstStyle/>
              <a:p>
                <a:endParaRPr lang="en-GB"/>
              </a:p>
            </p:txBody>
          </p:sp>
        </p:grpSp>
        <p:grpSp>
          <p:nvGrpSpPr>
            <p:cNvPr id="671" name="Graphic 3">
              <a:extLst>
                <a:ext uri="{FF2B5EF4-FFF2-40B4-BE49-F238E27FC236}">
                  <a16:creationId xmlns:a16="http://schemas.microsoft.com/office/drawing/2014/main" id="{ED46F552-764F-42E7-8AFD-32ECC6B59253}"/>
                </a:ext>
              </a:extLst>
            </p:cNvPr>
            <p:cNvGrpSpPr/>
            <p:nvPr/>
          </p:nvGrpSpPr>
          <p:grpSpPr>
            <a:xfrm>
              <a:off x="6688400" y="5257898"/>
              <a:ext cx="80162" cy="196534"/>
              <a:chOff x="6688400" y="5257898"/>
              <a:chExt cx="80162" cy="196534"/>
            </a:xfrm>
            <a:grpFill/>
          </p:grpSpPr>
          <p:sp>
            <p:nvSpPr>
              <p:cNvPr id="3376" name="Vrije vorm: vorm 3375">
                <a:extLst>
                  <a:ext uri="{FF2B5EF4-FFF2-40B4-BE49-F238E27FC236}">
                    <a16:creationId xmlns:a16="http://schemas.microsoft.com/office/drawing/2014/main" id="{E8E59544-D8B4-45F4-9466-6099FA6E9622}"/>
                  </a:ext>
                </a:extLst>
              </p:cNvPr>
              <p:cNvSpPr/>
              <p:nvPr/>
            </p:nvSpPr>
            <p:spPr>
              <a:xfrm>
                <a:off x="6695747" y="5265916"/>
                <a:ext cx="65102" cy="179955"/>
              </a:xfrm>
              <a:custGeom>
                <a:avLst/>
                <a:gdLst>
                  <a:gd name="connsiteX0" fmla="*/ 0 w 65102"/>
                  <a:gd name="connsiteY0" fmla="*/ 1002 h 179955"/>
                  <a:gd name="connsiteX1" fmla="*/ 2881 w 65102"/>
                  <a:gd name="connsiteY1" fmla="*/ 0 h 179955"/>
                  <a:gd name="connsiteX2" fmla="*/ 65103 w 65102"/>
                  <a:gd name="connsiteY2" fmla="*/ 178954 h 179955"/>
                  <a:gd name="connsiteX3" fmla="*/ 62222 w 65102"/>
                  <a:gd name="connsiteY3" fmla="*/ 179955 h 179955"/>
                </a:gdLst>
                <a:ahLst/>
                <a:cxnLst>
                  <a:cxn ang="0">
                    <a:pos x="connsiteX0" y="connsiteY0"/>
                  </a:cxn>
                  <a:cxn ang="0">
                    <a:pos x="connsiteX1" y="connsiteY1"/>
                  </a:cxn>
                  <a:cxn ang="0">
                    <a:pos x="connsiteX2" y="connsiteY2"/>
                  </a:cxn>
                  <a:cxn ang="0">
                    <a:pos x="connsiteX3" y="connsiteY3"/>
                  </a:cxn>
                </a:cxnLst>
                <a:rect l="l" t="t" r="r" b="b"/>
                <a:pathLst>
                  <a:path w="65102" h="179955">
                    <a:moveTo>
                      <a:pt x="0" y="1002"/>
                    </a:moveTo>
                    <a:lnTo>
                      <a:pt x="2881" y="0"/>
                    </a:lnTo>
                    <a:lnTo>
                      <a:pt x="65103" y="178954"/>
                    </a:lnTo>
                    <a:lnTo>
                      <a:pt x="62222" y="179955"/>
                    </a:lnTo>
                    <a:close/>
                  </a:path>
                </a:pathLst>
              </a:custGeom>
              <a:grpFill/>
              <a:ln w="5978" cap="flat">
                <a:noFill/>
                <a:prstDash val="solid"/>
                <a:miter/>
              </a:ln>
            </p:spPr>
            <p:txBody>
              <a:bodyPr rtlCol="0" anchor="ctr"/>
              <a:lstStyle/>
              <a:p>
                <a:endParaRPr lang="en-GB"/>
              </a:p>
            </p:txBody>
          </p:sp>
          <p:sp>
            <p:nvSpPr>
              <p:cNvPr id="3377" name="Vrije vorm: vorm 3376">
                <a:extLst>
                  <a:ext uri="{FF2B5EF4-FFF2-40B4-BE49-F238E27FC236}">
                    <a16:creationId xmlns:a16="http://schemas.microsoft.com/office/drawing/2014/main" id="{DEC503CB-CEF3-4E98-891B-D30FF5890EC2}"/>
                  </a:ext>
                </a:extLst>
              </p:cNvPr>
              <p:cNvSpPr/>
              <p:nvPr/>
            </p:nvSpPr>
            <p:spPr>
              <a:xfrm>
                <a:off x="6750241" y="5436004"/>
                <a:ext cx="18321" cy="18428"/>
              </a:xfrm>
              <a:custGeom>
                <a:avLst/>
                <a:gdLst>
                  <a:gd name="connsiteX0" fmla="*/ 17803 w 18321"/>
                  <a:gd name="connsiteY0" fmla="*/ 6194 h 18428"/>
                  <a:gd name="connsiteX1" fmla="*/ 12181 w 18321"/>
                  <a:gd name="connsiteY1" fmla="*/ 17916 h 18428"/>
                  <a:gd name="connsiteX2" fmla="*/ 519 w 18321"/>
                  <a:gd name="connsiteY2" fmla="*/ 12234 h 18428"/>
                  <a:gd name="connsiteX3" fmla="*/ 6141 w 18321"/>
                  <a:gd name="connsiteY3" fmla="*/ 512 h 18428"/>
                  <a:gd name="connsiteX4" fmla="*/ 17803 w 18321"/>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7803" y="6194"/>
                    </a:moveTo>
                    <a:cubicBezTo>
                      <a:pt x="19478" y="10978"/>
                      <a:pt x="16966" y="16241"/>
                      <a:pt x="12181" y="17916"/>
                    </a:cubicBezTo>
                    <a:cubicBezTo>
                      <a:pt x="7397" y="19591"/>
                      <a:pt x="2194" y="17019"/>
                      <a:pt x="519" y="12234"/>
                    </a:cubicBezTo>
                    <a:cubicBezTo>
                      <a:pt x="-1156" y="7450"/>
                      <a:pt x="1356" y="2187"/>
                      <a:pt x="6141" y="512"/>
                    </a:cubicBezTo>
                    <a:cubicBezTo>
                      <a:pt x="10925" y="-1162"/>
                      <a:pt x="16128" y="1409"/>
                      <a:pt x="17803" y="6194"/>
                    </a:cubicBezTo>
                    <a:close/>
                  </a:path>
                </a:pathLst>
              </a:custGeom>
              <a:grpFill/>
              <a:ln w="5978" cap="flat">
                <a:noFill/>
                <a:prstDash val="solid"/>
                <a:miter/>
              </a:ln>
            </p:spPr>
            <p:txBody>
              <a:bodyPr rtlCol="0" anchor="ctr"/>
              <a:lstStyle/>
              <a:p>
                <a:endParaRPr lang="en-GB"/>
              </a:p>
            </p:txBody>
          </p:sp>
          <p:sp>
            <p:nvSpPr>
              <p:cNvPr id="3378" name="Vrije vorm: vorm 3377">
                <a:extLst>
                  <a:ext uri="{FF2B5EF4-FFF2-40B4-BE49-F238E27FC236}">
                    <a16:creationId xmlns:a16="http://schemas.microsoft.com/office/drawing/2014/main" id="{09CA30B7-0C02-4805-952B-EE760F508DC0}"/>
                  </a:ext>
                </a:extLst>
              </p:cNvPr>
              <p:cNvSpPr/>
              <p:nvPr/>
            </p:nvSpPr>
            <p:spPr>
              <a:xfrm>
                <a:off x="6688400" y="5257898"/>
                <a:ext cx="18321" cy="18428"/>
              </a:xfrm>
              <a:custGeom>
                <a:avLst/>
                <a:gdLst>
                  <a:gd name="connsiteX0" fmla="*/ 17803 w 18321"/>
                  <a:gd name="connsiteY0" fmla="*/ 6194 h 18428"/>
                  <a:gd name="connsiteX1" fmla="*/ 6141 w 18321"/>
                  <a:gd name="connsiteY1" fmla="*/ 512 h 18428"/>
                  <a:gd name="connsiteX2" fmla="*/ 519 w 18321"/>
                  <a:gd name="connsiteY2" fmla="*/ 12234 h 18428"/>
                  <a:gd name="connsiteX3" fmla="*/ 12181 w 18321"/>
                  <a:gd name="connsiteY3" fmla="*/ 17916 h 18428"/>
                  <a:gd name="connsiteX4" fmla="*/ 17803 w 18321"/>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7803" y="6194"/>
                    </a:moveTo>
                    <a:cubicBezTo>
                      <a:pt x="16129" y="1409"/>
                      <a:pt x="10925" y="-1163"/>
                      <a:pt x="6141" y="512"/>
                    </a:cubicBezTo>
                    <a:cubicBezTo>
                      <a:pt x="1356" y="2187"/>
                      <a:pt x="-1156" y="7390"/>
                      <a:pt x="519" y="12234"/>
                    </a:cubicBezTo>
                    <a:cubicBezTo>
                      <a:pt x="2193" y="17019"/>
                      <a:pt x="7397" y="19591"/>
                      <a:pt x="12181" y="17916"/>
                    </a:cubicBezTo>
                    <a:cubicBezTo>
                      <a:pt x="16966" y="16242"/>
                      <a:pt x="19478" y="11038"/>
                      <a:pt x="17803" y="6194"/>
                    </a:cubicBezTo>
                    <a:close/>
                  </a:path>
                </a:pathLst>
              </a:custGeom>
              <a:grpFill/>
              <a:ln w="5978" cap="flat">
                <a:noFill/>
                <a:prstDash val="solid"/>
                <a:miter/>
              </a:ln>
            </p:spPr>
            <p:txBody>
              <a:bodyPr rtlCol="0" anchor="ctr"/>
              <a:lstStyle/>
              <a:p>
                <a:endParaRPr lang="en-GB"/>
              </a:p>
            </p:txBody>
          </p:sp>
        </p:grpSp>
        <p:grpSp>
          <p:nvGrpSpPr>
            <p:cNvPr id="672" name="Graphic 3">
              <a:extLst>
                <a:ext uri="{FF2B5EF4-FFF2-40B4-BE49-F238E27FC236}">
                  <a16:creationId xmlns:a16="http://schemas.microsoft.com/office/drawing/2014/main" id="{6C47D993-60BC-4023-A657-7E7157031075}"/>
                </a:ext>
              </a:extLst>
            </p:cNvPr>
            <p:cNvGrpSpPr/>
            <p:nvPr/>
          </p:nvGrpSpPr>
          <p:grpSpPr>
            <a:xfrm>
              <a:off x="5494785" y="1665856"/>
              <a:ext cx="61173" cy="153752"/>
              <a:chOff x="5494785" y="1665856"/>
              <a:chExt cx="61173" cy="153752"/>
            </a:xfrm>
            <a:grpFill/>
          </p:grpSpPr>
          <p:sp>
            <p:nvSpPr>
              <p:cNvPr id="3373" name="Vrije vorm: vorm 3372">
                <a:extLst>
                  <a:ext uri="{FF2B5EF4-FFF2-40B4-BE49-F238E27FC236}">
                    <a16:creationId xmlns:a16="http://schemas.microsoft.com/office/drawing/2014/main" id="{ED842606-AB08-4772-BB32-0BA248F2DF80}"/>
                  </a:ext>
                </a:extLst>
              </p:cNvPr>
              <p:cNvSpPr/>
              <p:nvPr/>
            </p:nvSpPr>
            <p:spPr>
              <a:xfrm>
                <a:off x="5502343" y="1674164"/>
                <a:ext cx="45991" cy="137137"/>
              </a:xfrm>
              <a:custGeom>
                <a:avLst/>
                <a:gdLst>
                  <a:gd name="connsiteX0" fmla="*/ 2930 w 45991"/>
                  <a:gd name="connsiteY0" fmla="*/ 0 h 137137"/>
                  <a:gd name="connsiteX1" fmla="*/ 45992 w 45991"/>
                  <a:gd name="connsiteY1" fmla="*/ 136181 h 137137"/>
                  <a:gd name="connsiteX2" fmla="*/ 43121 w 45991"/>
                  <a:gd name="connsiteY2" fmla="*/ 137138 h 137137"/>
                  <a:gd name="connsiteX3" fmla="*/ 0 w 45991"/>
                  <a:gd name="connsiteY3" fmla="*/ 957 h 137137"/>
                </a:gdLst>
                <a:ahLst/>
                <a:cxnLst>
                  <a:cxn ang="0">
                    <a:pos x="connsiteX0" y="connsiteY0"/>
                  </a:cxn>
                  <a:cxn ang="0">
                    <a:pos x="connsiteX1" y="connsiteY1"/>
                  </a:cxn>
                  <a:cxn ang="0">
                    <a:pos x="connsiteX2" y="connsiteY2"/>
                  </a:cxn>
                  <a:cxn ang="0">
                    <a:pos x="connsiteX3" y="connsiteY3"/>
                  </a:cxn>
                </a:cxnLst>
                <a:rect l="l" t="t" r="r" b="b"/>
                <a:pathLst>
                  <a:path w="45991" h="137137">
                    <a:moveTo>
                      <a:pt x="2930" y="0"/>
                    </a:moveTo>
                    <a:lnTo>
                      <a:pt x="45992" y="136181"/>
                    </a:lnTo>
                    <a:lnTo>
                      <a:pt x="43121" y="137138"/>
                    </a:lnTo>
                    <a:lnTo>
                      <a:pt x="0" y="957"/>
                    </a:lnTo>
                    <a:close/>
                  </a:path>
                </a:pathLst>
              </a:custGeom>
              <a:grpFill/>
              <a:ln w="5978" cap="flat">
                <a:noFill/>
                <a:prstDash val="solid"/>
                <a:miter/>
              </a:ln>
            </p:spPr>
            <p:txBody>
              <a:bodyPr rtlCol="0" anchor="ctr"/>
              <a:lstStyle/>
              <a:p>
                <a:endParaRPr lang="en-GB"/>
              </a:p>
            </p:txBody>
          </p:sp>
          <p:sp>
            <p:nvSpPr>
              <p:cNvPr id="3374" name="Vrije vorm: vorm 3373">
                <a:extLst>
                  <a:ext uri="{FF2B5EF4-FFF2-40B4-BE49-F238E27FC236}">
                    <a16:creationId xmlns:a16="http://schemas.microsoft.com/office/drawing/2014/main" id="{AA21365D-FC24-4C19-9496-61A4F82D4877}"/>
                  </a:ext>
                </a:extLst>
              </p:cNvPr>
              <p:cNvSpPr/>
              <p:nvPr/>
            </p:nvSpPr>
            <p:spPr>
              <a:xfrm>
                <a:off x="5494785" y="1665856"/>
                <a:ext cx="18345" cy="18431"/>
              </a:xfrm>
              <a:custGeom>
                <a:avLst/>
                <a:gdLst>
                  <a:gd name="connsiteX0" fmla="*/ 441 w 18345"/>
                  <a:gd name="connsiteY0" fmla="*/ 11956 h 18431"/>
                  <a:gd name="connsiteX1" fmla="*/ 6362 w 18345"/>
                  <a:gd name="connsiteY1" fmla="*/ 413 h 18431"/>
                  <a:gd name="connsiteX2" fmla="*/ 17905 w 18345"/>
                  <a:gd name="connsiteY2" fmla="*/ 6453 h 18431"/>
                  <a:gd name="connsiteX3" fmla="*/ 11924 w 18345"/>
                  <a:gd name="connsiteY3" fmla="*/ 17996 h 18431"/>
                  <a:gd name="connsiteX4" fmla="*/ 441 w 18345"/>
                  <a:gd name="connsiteY4" fmla="*/ 11956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31">
                    <a:moveTo>
                      <a:pt x="441" y="11956"/>
                    </a:moveTo>
                    <a:cubicBezTo>
                      <a:pt x="-1114" y="7111"/>
                      <a:pt x="1578" y="1908"/>
                      <a:pt x="6362" y="413"/>
                    </a:cubicBezTo>
                    <a:cubicBezTo>
                      <a:pt x="11207" y="-1082"/>
                      <a:pt x="16350" y="1609"/>
                      <a:pt x="17905" y="6453"/>
                    </a:cubicBezTo>
                    <a:cubicBezTo>
                      <a:pt x="19460" y="11298"/>
                      <a:pt x="16769" y="16501"/>
                      <a:pt x="11924" y="17996"/>
                    </a:cubicBezTo>
                    <a:cubicBezTo>
                      <a:pt x="7140" y="19551"/>
                      <a:pt x="1996" y="16800"/>
                      <a:pt x="441" y="11956"/>
                    </a:cubicBezTo>
                    <a:close/>
                  </a:path>
                </a:pathLst>
              </a:custGeom>
              <a:grpFill/>
              <a:ln w="5978" cap="flat">
                <a:noFill/>
                <a:prstDash val="solid"/>
                <a:miter/>
              </a:ln>
            </p:spPr>
            <p:txBody>
              <a:bodyPr rtlCol="0" anchor="ctr"/>
              <a:lstStyle/>
              <a:p>
                <a:endParaRPr lang="en-GB"/>
              </a:p>
            </p:txBody>
          </p:sp>
          <p:sp>
            <p:nvSpPr>
              <p:cNvPr id="3375" name="Vrije vorm: vorm 3374">
                <a:extLst>
                  <a:ext uri="{FF2B5EF4-FFF2-40B4-BE49-F238E27FC236}">
                    <a16:creationId xmlns:a16="http://schemas.microsoft.com/office/drawing/2014/main" id="{AE0F2F07-1430-4A94-9461-1D6B5DB2FFDB}"/>
                  </a:ext>
                </a:extLst>
              </p:cNvPr>
              <p:cNvSpPr/>
              <p:nvPr/>
            </p:nvSpPr>
            <p:spPr>
              <a:xfrm>
                <a:off x="5537608" y="1801200"/>
                <a:ext cx="18351" cy="18409"/>
              </a:xfrm>
              <a:custGeom>
                <a:avLst/>
                <a:gdLst>
                  <a:gd name="connsiteX0" fmla="*/ 441 w 18351"/>
                  <a:gd name="connsiteY0" fmla="*/ 11956 h 18409"/>
                  <a:gd name="connsiteX1" fmla="*/ 11984 w 18351"/>
                  <a:gd name="connsiteY1" fmla="*/ 17996 h 18409"/>
                  <a:gd name="connsiteX2" fmla="*/ 17905 w 18351"/>
                  <a:gd name="connsiteY2" fmla="*/ 6453 h 18409"/>
                  <a:gd name="connsiteX3" fmla="*/ 6422 w 18351"/>
                  <a:gd name="connsiteY3" fmla="*/ 413 h 18409"/>
                  <a:gd name="connsiteX4" fmla="*/ 441 w 18351"/>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09">
                    <a:moveTo>
                      <a:pt x="441" y="11956"/>
                    </a:moveTo>
                    <a:cubicBezTo>
                      <a:pt x="1996" y="16800"/>
                      <a:pt x="7139" y="19491"/>
                      <a:pt x="11984" y="17996"/>
                    </a:cubicBezTo>
                    <a:cubicBezTo>
                      <a:pt x="16828" y="16441"/>
                      <a:pt x="19460" y="11298"/>
                      <a:pt x="17905" y="6453"/>
                    </a:cubicBezTo>
                    <a:cubicBezTo>
                      <a:pt x="16349" y="1609"/>
                      <a:pt x="11206" y="-1082"/>
                      <a:pt x="6422" y="413"/>
                    </a:cubicBezTo>
                    <a:cubicBezTo>
                      <a:pt x="1577" y="1908"/>
                      <a:pt x="-1114" y="7111"/>
                      <a:pt x="441" y="11956"/>
                    </a:cubicBezTo>
                    <a:close/>
                  </a:path>
                </a:pathLst>
              </a:custGeom>
              <a:grpFill/>
              <a:ln w="5978" cap="flat">
                <a:noFill/>
                <a:prstDash val="solid"/>
                <a:miter/>
              </a:ln>
            </p:spPr>
            <p:txBody>
              <a:bodyPr rtlCol="0" anchor="ctr"/>
              <a:lstStyle/>
              <a:p>
                <a:endParaRPr lang="en-GB"/>
              </a:p>
            </p:txBody>
          </p:sp>
        </p:grpSp>
        <p:grpSp>
          <p:nvGrpSpPr>
            <p:cNvPr id="673" name="Graphic 3">
              <a:extLst>
                <a:ext uri="{FF2B5EF4-FFF2-40B4-BE49-F238E27FC236}">
                  <a16:creationId xmlns:a16="http://schemas.microsoft.com/office/drawing/2014/main" id="{8AE18E1F-1A1A-4239-84B6-CD984F4756E5}"/>
                </a:ext>
              </a:extLst>
            </p:cNvPr>
            <p:cNvGrpSpPr/>
            <p:nvPr/>
          </p:nvGrpSpPr>
          <p:grpSpPr>
            <a:xfrm>
              <a:off x="5352145" y="1215149"/>
              <a:ext cx="155401" cy="451532"/>
              <a:chOff x="5352145" y="1215149"/>
              <a:chExt cx="155401" cy="451532"/>
            </a:xfrm>
            <a:grpFill/>
          </p:grpSpPr>
          <p:sp>
            <p:nvSpPr>
              <p:cNvPr id="3370" name="Vrije vorm: vorm 3369">
                <a:extLst>
                  <a:ext uri="{FF2B5EF4-FFF2-40B4-BE49-F238E27FC236}">
                    <a16:creationId xmlns:a16="http://schemas.microsoft.com/office/drawing/2014/main" id="{14894177-D11E-4D4F-998C-E62A1CBD6E39}"/>
                  </a:ext>
                </a:extLst>
              </p:cNvPr>
              <p:cNvSpPr/>
              <p:nvPr/>
            </p:nvSpPr>
            <p:spPr>
              <a:xfrm>
                <a:off x="5359715" y="1223247"/>
                <a:ext cx="140257" cy="434957"/>
              </a:xfrm>
              <a:custGeom>
                <a:avLst/>
                <a:gdLst>
                  <a:gd name="connsiteX0" fmla="*/ 0 w 140257"/>
                  <a:gd name="connsiteY0" fmla="*/ 920 h 434957"/>
                  <a:gd name="connsiteX1" fmla="*/ 2908 w 140257"/>
                  <a:gd name="connsiteY1" fmla="*/ 0 h 434957"/>
                  <a:gd name="connsiteX2" fmla="*/ 140258 w 140257"/>
                  <a:gd name="connsiteY2" fmla="*/ 434038 h 434957"/>
                  <a:gd name="connsiteX3" fmla="*/ 137350 w 140257"/>
                  <a:gd name="connsiteY3" fmla="*/ 434958 h 434957"/>
                </a:gdLst>
                <a:ahLst/>
                <a:cxnLst>
                  <a:cxn ang="0">
                    <a:pos x="connsiteX0" y="connsiteY0"/>
                  </a:cxn>
                  <a:cxn ang="0">
                    <a:pos x="connsiteX1" y="connsiteY1"/>
                  </a:cxn>
                  <a:cxn ang="0">
                    <a:pos x="connsiteX2" y="connsiteY2"/>
                  </a:cxn>
                  <a:cxn ang="0">
                    <a:pos x="connsiteX3" y="connsiteY3"/>
                  </a:cxn>
                </a:cxnLst>
                <a:rect l="l" t="t" r="r" b="b"/>
                <a:pathLst>
                  <a:path w="140257" h="434957">
                    <a:moveTo>
                      <a:pt x="0" y="920"/>
                    </a:moveTo>
                    <a:lnTo>
                      <a:pt x="2908" y="0"/>
                    </a:lnTo>
                    <a:lnTo>
                      <a:pt x="140258" y="434038"/>
                    </a:lnTo>
                    <a:lnTo>
                      <a:pt x="137350" y="434958"/>
                    </a:lnTo>
                    <a:close/>
                  </a:path>
                </a:pathLst>
              </a:custGeom>
              <a:grpFill/>
              <a:ln w="5978" cap="flat">
                <a:noFill/>
                <a:prstDash val="solid"/>
                <a:miter/>
              </a:ln>
            </p:spPr>
            <p:txBody>
              <a:bodyPr rtlCol="0" anchor="ctr"/>
              <a:lstStyle/>
              <a:p>
                <a:endParaRPr lang="en-GB"/>
              </a:p>
            </p:txBody>
          </p:sp>
          <p:sp>
            <p:nvSpPr>
              <p:cNvPr id="3371" name="Vrije vorm: vorm 3370">
                <a:extLst>
                  <a:ext uri="{FF2B5EF4-FFF2-40B4-BE49-F238E27FC236}">
                    <a16:creationId xmlns:a16="http://schemas.microsoft.com/office/drawing/2014/main" id="{E8745056-D8AE-4C50-B801-A85F0A9D4124}"/>
                  </a:ext>
                </a:extLst>
              </p:cNvPr>
              <p:cNvSpPr/>
              <p:nvPr/>
            </p:nvSpPr>
            <p:spPr>
              <a:xfrm>
                <a:off x="5352145" y="1215149"/>
                <a:ext cx="18405" cy="18409"/>
              </a:xfrm>
              <a:custGeom>
                <a:avLst/>
                <a:gdLst>
                  <a:gd name="connsiteX0" fmla="*/ 441 w 18405"/>
                  <a:gd name="connsiteY0" fmla="*/ 11956 h 18409"/>
                  <a:gd name="connsiteX1" fmla="*/ 6422 w 18405"/>
                  <a:gd name="connsiteY1" fmla="*/ 413 h 18409"/>
                  <a:gd name="connsiteX2" fmla="*/ 17964 w 18405"/>
                  <a:gd name="connsiteY2" fmla="*/ 6453 h 18409"/>
                  <a:gd name="connsiteX3" fmla="*/ 11984 w 18405"/>
                  <a:gd name="connsiteY3" fmla="*/ 17996 h 18409"/>
                  <a:gd name="connsiteX4" fmla="*/ 441 w 18405"/>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5" h="18409">
                    <a:moveTo>
                      <a:pt x="441" y="11956"/>
                    </a:moveTo>
                    <a:cubicBezTo>
                      <a:pt x="-1114" y="7111"/>
                      <a:pt x="1577" y="1908"/>
                      <a:pt x="6422" y="413"/>
                    </a:cubicBezTo>
                    <a:cubicBezTo>
                      <a:pt x="11266" y="-1082"/>
                      <a:pt x="16409" y="1609"/>
                      <a:pt x="17964" y="6453"/>
                    </a:cubicBezTo>
                    <a:cubicBezTo>
                      <a:pt x="19519" y="11298"/>
                      <a:pt x="16828" y="16501"/>
                      <a:pt x="11984" y="17996"/>
                    </a:cubicBezTo>
                    <a:cubicBezTo>
                      <a:pt x="7139" y="19491"/>
                      <a:pt x="1996" y="16800"/>
                      <a:pt x="441" y="11956"/>
                    </a:cubicBezTo>
                    <a:close/>
                  </a:path>
                </a:pathLst>
              </a:custGeom>
              <a:grpFill/>
              <a:ln w="5978" cap="flat">
                <a:noFill/>
                <a:prstDash val="solid"/>
                <a:miter/>
              </a:ln>
            </p:spPr>
            <p:txBody>
              <a:bodyPr rtlCol="0" anchor="ctr"/>
              <a:lstStyle/>
              <a:p>
                <a:endParaRPr lang="en-GB"/>
              </a:p>
            </p:txBody>
          </p:sp>
          <p:sp>
            <p:nvSpPr>
              <p:cNvPr id="3372" name="Vrije vorm: vorm 3371">
                <a:extLst>
                  <a:ext uri="{FF2B5EF4-FFF2-40B4-BE49-F238E27FC236}">
                    <a16:creationId xmlns:a16="http://schemas.microsoft.com/office/drawing/2014/main" id="{F48D9B91-F15A-491A-97CF-A0BFC43D8340}"/>
                  </a:ext>
                </a:extLst>
              </p:cNvPr>
              <p:cNvSpPr/>
              <p:nvPr/>
            </p:nvSpPr>
            <p:spPr>
              <a:xfrm>
                <a:off x="5489223" y="1648273"/>
                <a:ext cx="18322" cy="18409"/>
              </a:xfrm>
              <a:custGeom>
                <a:avLst/>
                <a:gdLst>
                  <a:gd name="connsiteX0" fmla="*/ 441 w 18322"/>
                  <a:gd name="connsiteY0" fmla="*/ 11956 h 18409"/>
                  <a:gd name="connsiteX1" fmla="*/ 11924 w 18322"/>
                  <a:gd name="connsiteY1" fmla="*/ 17996 h 18409"/>
                  <a:gd name="connsiteX2" fmla="*/ 17905 w 18322"/>
                  <a:gd name="connsiteY2" fmla="*/ 6453 h 18409"/>
                  <a:gd name="connsiteX3" fmla="*/ 6422 w 18322"/>
                  <a:gd name="connsiteY3" fmla="*/ 413 h 18409"/>
                  <a:gd name="connsiteX4" fmla="*/ 441 w 18322"/>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09">
                    <a:moveTo>
                      <a:pt x="441" y="11956"/>
                    </a:moveTo>
                    <a:cubicBezTo>
                      <a:pt x="1996" y="16800"/>
                      <a:pt x="7139" y="19491"/>
                      <a:pt x="11924" y="17996"/>
                    </a:cubicBezTo>
                    <a:cubicBezTo>
                      <a:pt x="16768" y="16501"/>
                      <a:pt x="19400" y="11298"/>
                      <a:pt x="17905" y="6453"/>
                    </a:cubicBezTo>
                    <a:cubicBezTo>
                      <a:pt x="16349" y="1609"/>
                      <a:pt x="11206" y="-1082"/>
                      <a:pt x="6422" y="413"/>
                    </a:cubicBezTo>
                    <a:cubicBezTo>
                      <a:pt x="1577" y="1968"/>
                      <a:pt x="-1114" y="7111"/>
                      <a:pt x="441" y="11956"/>
                    </a:cubicBezTo>
                    <a:close/>
                  </a:path>
                </a:pathLst>
              </a:custGeom>
              <a:grpFill/>
              <a:ln w="5978" cap="flat">
                <a:noFill/>
                <a:prstDash val="solid"/>
                <a:miter/>
              </a:ln>
            </p:spPr>
            <p:txBody>
              <a:bodyPr rtlCol="0" anchor="ctr"/>
              <a:lstStyle/>
              <a:p>
                <a:endParaRPr lang="en-GB"/>
              </a:p>
            </p:txBody>
          </p:sp>
        </p:grpSp>
        <p:grpSp>
          <p:nvGrpSpPr>
            <p:cNvPr id="674" name="Graphic 3">
              <a:extLst>
                <a:ext uri="{FF2B5EF4-FFF2-40B4-BE49-F238E27FC236}">
                  <a16:creationId xmlns:a16="http://schemas.microsoft.com/office/drawing/2014/main" id="{8FA7ECB3-B1B9-4FE9-829D-F2C0B3D06865}"/>
                </a:ext>
              </a:extLst>
            </p:cNvPr>
            <p:cNvGrpSpPr/>
            <p:nvPr/>
          </p:nvGrpSpPr>
          <p:grpSpPr>
            <a:xfrm>
              <a:off x="5352140" y="1215089"/>
              <a:ext cx="45683" cy="104830"/>
              <a:chOff x="5352140" y="1215089"/>
              <a:chExt cx="45683" cy="104830"/>
            </a:xfrm>
            <a:grpFill/>
          </p:grpSpPr>
          <p:sp>
            <p:nvSpPr>
              <p:cNvPr id="3367" name="Vrije vorm: vorm 3366">
                <a:extLst>
                  <a:ext uri="{FF2B5EF4-FFF2-40B4-BE49-F238E27FC236}">
                    <a16:creationId xmlns:a16="http://schemas.microsoft.com/office/drawing/2014/main" id="{0EBA4B1A-6BE3-42F0-AFDE-B51C2B15E1EA}"/>
                  </a:ext>
                </a:extLst>
              </p:cNvPr>
              <p:cNvSpPr/>
              <p:nvPr/>
            </p:nvSpPr>
            <p:spPr>
              <a:xfrm>
                <a:off x="5359740" y="1223579"/>
                <a:ext cx="30515" cy="88161"/>
              </a:xfrm>
              <a:custGeom>
                <a:avLst/>
                <a:gdLst>
                  <a:gd name="connsiteX0" fmla="*/ 0 w 30515"/>
                  <a:gd name="connsiteY0" fmla="*/ 920 h 88161"/>
                  <a:gd name="connsiteX1" fmla="*/ 2908 w 30515"/>
                  <a:gd name="connsiteY1" fmla="*/ 0 h 88161"/>
                  <a:gd name="connsiteX2" fmla="*/ 30515 w 30515"/>
                  <a:gd name="connsiteY2" fmla="*/ 87241 h 88161"/>
                  <a:gd name="connsiteX3" fmla="*/ 27607 w 30515"/>
                  <a:gd name="connsiteY3" fmla="*/ 88161 h 88161"/>
                </a:gdLst>
                <a:ahLst/>
                <a:cxnLst>
                  <a:cxn ang="0">
                    <a:pos x="connsiteX0" y="connsiteY0"/>
                  </a:cxn>
                  <a:cxn ang="0">
                    <a:pos x="connsiteX1" y="connsiteY1"/>
                  </a:cxn>
                  <a:cxn ang="0">
                    <a:pos x="connsiteX2" y="connsiteY2"/>
                  </a:cxn>
                  <a:cxn ang="0">
                    <a:pos x="connsiteX3" y="connsiteY3"/>
                  </a:cxn>
                </a:cxnLst>
                <a:rect l="l" t="t" r="r" b="b"/>
                <a:pathLst>
                  <a:path w="30515" h="88161">
                    <a:moveTo>
                      <a:pt x="0" y="920"/>
                    </a:moveTo>
                    <a:lnTo>
                      <a:pt x="2908" y="0"/>
                    </a:lnTo>
                    <a:lnTo>
                      <a:pt x="30515" y="87241"/>
                    </a:lnTo>
                    <a:lnTo>
                      <a:pt x="27607" y="88161"/>
                    </a:lnTo>
                    <a:close/>
                  </a:path>
                </a:pathLst>
              </a:custGeom>
              <a:grpFill/>
              <a:ln w="5978" cap="flat">
                <a:noFill/>
                <a:prstDash val="solid"/>
                <a:miter/>
              </a:ln>
            </p:spPr>
            <p:txBody>
              <a:bodyPr rtlCol="0" anchor="ctr"/>
              <a:lstStyle/>
              <a:p>
                <a:endParaRPr lang="en-GB"/>
              </a:p>
            </p:txBody>
          </p:sp>
          <p:sp>
            <p:nvSpPr>
              <p:cNvPr id="3368" name="Vrije vorm: vorm 3367">
                <a:extLst>
                  <a:ext uri="{FF2B5EF4-FFF2-40B4-BE49-F238E27FC236}">
                    <a16:creationId xmlns:a16="http://schemas.microsoft.com/office/drawing/2014/main" id="{9BC423EC-DC83-4FC7-89FE-CCC453CCFEE1}"/>
                  </a:ext>
                </a:extLst>
              </p:cNvPr>
              <p:cNvSpPr/>
              <p:nvPr/>
            </p:nvSpPr>
            <p:spPr>
              <a:xfrm>
                <a:off x="5379477" y="1301511"/>
                <a:ext cx="18345" cy="18409"/>
              </a:xfrm>
              <a:custGeom>
                <a:avLst/>
                <a:gdLst>
                  <a:gd name="connsiteX0" fmla="*/ 17905 w 18345"/>
                  <a:gd name="connsiteY0" fmla="*/ 6453 h 18409"/>
                  <a:gd name="connsiteX1" fmla="*/ 11984 w 18345"/>
                  <a:gd name="connsiteY1" fmla="*/ 17996 h 18409"/>
                  <a:gd name="connsiteX2" fmla="*/ 441 w 18345"/>
                  <a:gd name="connsiteY2" fmla="*/ 11956 h 18409"/>
                  <a:gd name="connsiteX3" fmla="*/ 6422 w 18345"/>
                  <a:gd name="connsiteY3" fmla="*/ 413 h 18409"/>
                  <a:gd name="connsiteX4" fmla="*/ 17905 w 18345"/>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9">
                    <a:moveTo>
                      <a:pt x="17905" y="6453"/>
                    </a:moveTo>
                    <a:cubicBezTo>
                      <a:pt x="19460" y="11298"/>
                      <a:pt x="16768" y="16501"/>
                      <a:pt x="11984" y="17996"/>
                    </a:cubicBezTo>
                    <a:cubicBezTo>
                      <a:pt x="7139" y="19491"/>
                      <a:pt x="1996" y="16800"/>
                      <a:pt x="441" y="11956"/>
                    </a:cubicBezTo>
                    <a:cubicBezTo>
                      <a:pt x="-1114" y="7111"/>
                      <a:pt x="1577" y="1908"/>
                      <a:pt x="6422" y="413"/>
                    </a:cubicBezTo>
                    <a:cubicBezTo>
                      <a:pt x="11206" y="-1082"/>
                      <a:pt x="16409" y="1609"/>
                      <a:pt x="17905" y="6453"/>
                    </a:cubicBezTo>
                    <a:close/>
                  </a:path>
                </a:pathLst>
              </a:custGeom>
              <a:grpFill/>
              <a:ln w="5978" cap="flat">
                <a:noFill/>
                <a:prstDash val="solid"/>
                <a:miter/>
              </a:ln>
            </p:spPr>
            <p:txBody>
              <a:bodyPr rtlCol="0" anchor="ctr"/>
              <a:lstStyle/>
              <a:p>
                <a:endParaRPr lang="en-GB"/>
              </a:p>
            </p:txBody>
          </p:sp>
          <p:sp>
            <p:nvSpPr>
              <p:cNvPr id="3369" name="Vrije vorm: vorm 3368">
                <a:extLst>
                  <a:ext uri="{FF2B5EF4-FFF2-40B4-BE49-F238E27FC236}">
                    <a16:creationId xmlns:a16="http://schemas.microsoft.com/office/drawing/2014/main" id="{619401D4-B1D5-4017-9C0D-1E90DDBD0AF0}"/>
                  </a:ext>
                </a:extLst>
              </p:cNvPr>
              <p:cNvSpPr/>
              <p:nvPr/>
            </p:nvSpPr>
            <p:spPr>
              <a:xfrm>
                <a:off x="5352140" y="1215089"/>
                <a:ext cx="18351" cy="18409"/>
              </a:xfrm>
              <a:custGeom>
                <a:avLst/>
                <a:gdLst>
                  <a:gd name="connsiteX0" fmla="*/ 17910 w 18351"/>
                  <a:gd name="connsiteY0" fmla="*/ 6453 h 18409"/>
                  <a:gd name="connsiteX1" fmla="*/ 6368 w 18351"/>
                  <a:gd name="connsiteY1" fmla="*/ 413 h 18409"/>
                  <a:gd name="connsiteX2" fmla="*/ 447 w 18351"/>
                  <a:gd name="connsiteY2" fmla="*/ 11956 h 18409"/>
                  <a:gd name="connsiteX3" fmla="*/ 11930 w 18351"/>
                  <a:gd name="connsiteY3" fmla="*/ 17996 h 18409"/>
                  <a:gd name="connsiteX4" fmla="*/ 17910 w 18351"/>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09">
                    <a:moveTo>
                      <a:pt x="17910" y="6453"/>
                    </a:moveTo>
                    <a:cubicBezTo>
                      <a:pt x="16355" y="1609"/>
                      <a:pt x="11212" y="-1082"/>
                      <a:pt x="6368" y="413"/>
                    </a:cubicBezTo>
                    <a:cubicBezTo>
                      <a:pt x="1523" y="1908"/>
                      <a:pt x="-1108" y="7111"/>
                      <a:pt x="447" y="11956"/>
                    </a:cubicBezTo>
                    <a:cubicBezTo>
                      <a:pt x="2002" y="16800"/>
                      <a:pt x="7145" y="19491"/>
                      <a:pt x="11930" y="17996"/>
                    </a:cubicBezTo>
                    <a:cubicBezTo>
                      <a:pt x="16774" y="16501"/>
                      <a:pt x="19465" y="11358"/>
                      <a:pt x="17910" y="6453"/>
                    </a:cubicBezTo>
                    <a:close/>
                  </a:path>
                </a:pathLst>
              </a:custGeom>
              <a:grpFill/>
              <a:ln w="5978" cap="flat">
                <a:noFill/>
                <a:prstDash val="solid"/>
                <a:miter/>
              </a:ln>
            </p:spPr>
            <p:txBody>
              <a:bodyPr rtlCol="0" anchor="ctr"/>
              <a:lstStyle/>
              <a:p>
                <a:endParaRPr lang="en-GB"/>
              </a:p>
            </p:txBody>
          </p:sp>
        </p:grpSp>
        <p:grpSp>
          <p:nvGrpSpPr>
            <p:cNvPr id="675" name="Graphic 3">
              <a:extLst>
                <a:ext uri="{FF2B5EF4-FFF2-40B4-BE49-F238E27FC236}">
                  <a16:creationId xmlns:a16="http://schemas.microsoft.com/office/drawing/2014/main" id="{1EC100F2-7901-4B55-BE2A-5FF0D809F27F}"/>
                </a:ext>
              </a:extLst>
            </p:cNvPr>
            <p:cNvGrpSpPr/>
            <p:nvPr/>
          </p:nvGrpSpPr>
          <p:grpSpPr>
            <a:xfrm>
              <a:off x="6647851" y="5141094"/>
              <a:ext cx="52830" cy="117827"/>
              <a:chOff x="6647851" y="5141094"/>
              <a:chExt cx="52830" cy="117827"/>
            </a:xfrm>
            <a:grpFill/>
          </p:grpSpPr>
          <p:sp>
            <p:nvSpPr>
              <p:cNvPr id="3364" name="Vrije vorm: vorm 3363">
                <a:extLst>
                  <a:ext uri="{FF2B5EF4-FFF2-40B4-BE49-F238E27FC236}">
                    <a16:creationId xmlns:a16="http://schemas.microsoft.com/office/drawing/2014/main" id="{7E8EB3E2-9A00-4F1D-8EBC-EBC9A66ECD28}"/>
                  </a:ext>
                </a:extLst>
              </p:cNvPr>
              <p:cNvSpPr/>
              <p:nvPr/>
            </p:nvSpPr>
            <p:spPr>
              <a:xfrm>
                <a:off x="6655080" y="5149499"/>
                <a:ext cx="37806" cy="101248"/>
              </a:xfrm>
              <a:custGeom>
                <a:avLst/>
                <a:gdLst>
                  <a:gd name="connsiteX0" fmla="*/ 0 w 37806"/>
                  <a:gd name="connsiteY0" fmla="*/ 1004 h 101248"/>
                  <a:gd name="connsiteX1" fmla="*/ 2880 w 37806"/>
                  <a:gd name="connsiteY1" fmla="*/ 0 h 101248"/>
                  <a:gd name="connsiteX2" fmla="*/ 37806 w 37806"/>
                  <a:gd name="connsiteY2" fmla="*/ 100245 h 101248"/>
                  <a:gd name="connsiteX3" fmla="*/ 34926 w 37806"/>
                  <a:gd name="connsiteY3" fmla="*/ 101248 h 101248"/>
                </a:gdLst>
                <a:ahLst/>
                <a:cxnLst>
                  <a:cxn ang="0">
                    <a:pos x="connsiteX0" y="connsiteY0"/>
                  </a:cxn>
                  <a:cxn ang="0">
                    <a:pos x="connsiteX1" y="connsiteY1"/>
                  </a:cxn>
                  <a:cxn ang="0">
                    <a:pos x="connsiteX2" y="connsiteY2"/>
                  </a:cxn>
                  <a:cxn ang="0">
                    <a:pos x="connsiteX3" y="connsiteY3"/>
                  </a:cxn>
                </a:cxnLst>
                <a:rect l="l" t="t" r="r" b="b"/>
                <a:pathLst>
                  <a:path w="37806" h="101248">
                    <a:moveTo>
                      <a:pt x="0" y="1004"/>
                    </a:moveTo>
                    <a:lnTo>
                      <a:pt x="2880" y="0"/>
                    </a:lnTo>
                    <a:lnTo>
                      <a:pt x="37806" y="100245"/>
                    </a:lnTo>
                    <a:lnTo>
                      <a:pt x="34926" y="101248"/>
                    </a:lnTo>
                    <a:close/>
                  </a:path>
                </a:pathLst>
              </a:custGeom>
              <a:grpFill/>
              <a:ln w="5978" cap="flat">
                <a:noFill/>
                <a:prstDash val="solid"/>
                <a:miter/>
              </a:ln>
            </p:spPr>
            <p:txBody>
              <a:bodyPr rtlCol="0" anchor="ctr"/>
              <a:lstStyle/>
              <a:p>
                <a:endParaRPr lang="en-GB"/>
              </a:p>
            </p:txBody>
          </p:sp>
          <p:sp>
            <p:nvSpPr>
              <p:cNvPr id="3365" name="Vrije vorm: vorm 3364">
                <a:extLst>
                  <a:ext uri="{FF2B5EF4-FFF2-40B4-BE49-F238E27FC236}">
                    <a16:creationId xmlns:a16="http://schemas.microsoft.com/office/drawing/2014/main" id="{A463BF83-833D-444E-B406-842F3C3C90FE}"/>
                  </a:ext>
                </a:extLst>
              </p:cNvPr>
              <p:cNvSpPr/>
              <p:nvPr/>
            </p:nvSpPr>
            <p:spPr>
              <a:xfrm>
                <a:off x="6682359" y="5240494"/>
                <a:ext cx="18322" cy="18428"/>
              </a:xfrm>
              <a:custGeom>
                <a:avLst/>
                <a:gdLst>
                  <a:gd name="connsiteX0" fmla="*/ 17803 w 18322"/>
                  <a:gd name="connsiteY0" fmla="*/ 6194 h 18428"/>
                  <a:gd name="connsiteX1" fmla="*/ 12181 w 18322"/>
                  <a:gd name="connsiteY1" fmla="*/ 17916 h 18428"/>
                  <a:gd name="connsiteX2" fmla="*/ 519 w 18322"/>
                  <a:gd name="connsiteY2" fmla="*/ 12234 h 18428"/>
                  <a:gd name="connsiteX3" fmla="*/ 6141 w 18322"/>
                  <a:gd name="connsiteY3" fmla="*/ 512 h 18428"/>
                  <a:gd name="connsiteX4" fmla="*/ 17803 w 18322"/>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17803" y="6194"/>
                    </a:moveTo>
                    <a:cubicBezTo>
                      <a:pt x="19478" y="10978"/>
                      <a:pt x="16966" y="16241"/>
                      <a:pt x="12181" y="17916"/>
                    </a:cubicBezTo>
                    <a:cubicBezTo>
                      <a:pt x="7397" y="19591"/>
                      <a:pt x="2193" y="17019"/>
                      <a:pt x="519" y="12234"/>
                    </a:cubicBezTo>
                    <a:cubicBezTo>
                      <a:pt x="-1156" y="7450"/>
                      <a:pt x="1356" y="2187"/>
                      <a:pt x="6141" y="512"/>
                    </a:cubicBezTo>
                    <a:cubicBezTo>
                      <a:pt x="10925" y="-1162"/>
                      <a:pt x="16129" y="1409"/>
                      <a:pt x="17803" y="6194"/>
                    </a:cubicBezTo>
                    <a:close/>
                  </a:path>
                </a:pathLst>
              </a:custGeom>
              <a:grpFill/>
              <a:ln w="5978" cap="flat">
                <a:noFill/>
                <a:prstDash val="solid"/>
                <a:miter/>
              </a:ln>
            </p:spPr>
            <p:txBody>
              <a:bodyPr rtlCol="0" anchor="ctr"/>
              <a:lstStyle/>
              <a:p>
                <a:endParaRPr lang="en-GB"/>
              </a:p>
            </p:txBody>
          </p:sp>
          <p:sp>
            <p:nvSpPr>
              <p:cNvPr id="3366" name="Vrije vorm: vorm 3365">
                <a:extLst>
                  <a:ext uri="{FF2B5EF4-FFF2-40B4-BE49-F238E27FC236}">
                    <a16:creationId xmlns:a16="http://schemas.microsoft.com/office/drawing/2014/main" id="{66719BD6-EE54-4130-93D3-3EBFEDE615D2}"/>
                  </a:ext>
                </a:extLst>
              </p:cNvPr>
              <p:cNvSpPr/>
              <p:nvPr/>
            </p:nvSpPr>
            <p:spPr>
              <a:xfrm>
                <a:off x="6647851" y="5141094"/>
                <a:ext cx="18321" cy="18428"/>
              </a:xfrm>
              <a:custGeom>
                <a:avLst/>
                <a:gdLst>
                  <a:gd name="connsiteX0" fmla="*/ 17803 w 18321"/>
                  <a:gd name="connsiteY0" fmla="*/ 6194 h 18428"/>
                  <a:gd name="connsiteX1" fmla="*/ 6141 w 18321"/>
                  <a:gd name="connsiteY1" fmla="*/ 512 h 18428"/>
                  <a:gd name="connsiteX2" fmla="*/ 519 w 18321"/>
                  <a:gd name="connsiteY2" fmla="*/ 12234 h 18428"/>
                  <a:gd name="connsiteX3" fmla="*/ 12181 w 18321"/>
                  <a:gd name="connsiteY3" fmla="*/ 17916 h 18428"/>
                  <a:gd name="connsiteX4" fmla="*/ 17803 w 18321"/>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28">
                    <a:moveTo>
                      <a:pt x="17803" y="6194"/>
                    </a:moveTo>
                    <a:cubicBezTo>
                      <a:pt x="16128" y="1409"/>
                      <a:pt x="10925" y="-1162"/>
                      <a:pt x="6141" y="512"/>
                    </a:cubicBezTo>
                    <a:cubicBezTo>
                      <a:pt x="1356" y="2187"/>
                      <a:pt x="-1156" y="7390"/>
                      <a:pt x="519" y="12234"/>
                    </a:cubicBezTo>
                    <a:cubicBezTo>
                      <a:pt x="2194" y="17019"/>
                      <a:pt x="7397" y="19591"/>
                      <a:pt x="12181" y="17916"/>
                    </a:cubicBezTo>
                    <a:cubicBezTo>
                      <a:pt x="16966" y="16241"/>
                      <a:pt x="19478" y="11038"/>
                      <a:pt x="17803" y="6194"/>
                    </a:cubicBezTo>
                    <a:close/>
                  </a:path>
                </a:pathLst>
              </a:custGeom>
              <a:grpFill/>
              <a:ln w="5978" cap="flat">
                <a:noFill/>
                <a:prstDash val="solid"/>
                <a:miter/>
              </a:ln>
            </p:spPr>
            <p:txBody>
              <a:bodyPr rtlCol="0" anchor="ctr"/>
              <a:lstStyle/>
              <a:p>
                <a:endParaRPr lang="en-GB"/>
              </a:p>
            </p:txBody>
          </p:sp>
        </p:grpSp>
        <p:grpSp>
          <p:nvGrpSpPr>
            <p:cNvPr id="676" name="Graphic 3">
              <a:extLst>
                <a:ext uri="{FF2B5EF4-FFF2-40B4-BE49-F238E27FC236}">
                  <a16:creationId xmlns:a16="http://schemas.microsoft.com/office/drawing/2014/main" id="{A9637F16-8CF2-47FE-9E72-CF78B8FC4C77}"/>
                </a:ext>
              </a:extLst>
            </p:cNvPr>
            <p:cNvGrpSpPr/>
            <p:nvPr/>
          </p:nvGrpSpPr>
          <p:grpSpPr>
            <a:xfrm>
              <a:off x="6598211" y="4998215"/>
              <a:ext cx="61921" cy="143903"/>
              <a:chOff x="6598211" y="4998215"/>
              <a:chExt cx="61921" cy="143903"/>
            </a:xfrm>
            <a:grpFill/>
          </p:grpSpPr>
          <p:sp>
            <p:nvSpPr>
              <p:cNvPr id="3361" name="Vrije vorm: vorm 3360">
                <a:extLst>
                  <a:ext uri="{FF2B5EF4-FFF2-40B4-BE49-F238E27FC236}">
                    <a16:creationId xmlns:a16="http://schemas.microsoft.com/office/drawing/2014/main" id="{5015F8C5-F117-40C8-8825-4942E78D7057}"/>
                  </a:ext>
                </a:extLst>
              </p:cNvPr>
              <p:cNvSpPr/>
              <p:nvPr/>
            </p:nvSpPr>
            <p:spPr>
              <a:xfrm>
                <a:off x="6605546" y="5006206"/>
                <a:ext cx="46797" cy="127308"/>
              </a:xfrm>
              <a:custGeom>
                <a:avLst/>
                <a:gdLst>
                  <a:gd name="connsiteX0" fmla="*/ 0 w 46797"/>
                  <a:gd name="connsiteY0" fmla="*/ 1002 h 127308"/>
                  <a:gd name="connsiteX1" fmla="*/ 2881 w 46797"/>
                  <a:gd name="connsiteY1" fmla="*/ 0 h 127308"/>
                  <a:gd name="connsiteX2" fmla="*/ 46798 w 46797"/>
                  <a:gd name="connsiteY2" fmla="*/ 126307 h 127308"/>
                  <a:gd name="connsiteX3" fmla="*/ 43917 w 46797"/>
                  <a:gd name="connsiteY3" fmla="*/ 127308 h 127308"/>
                </a:gdLst>
                <a:ahLst/>
                <a:cxnLst>
                  <a:cxn ang="0">
                    <a:pos x="connsiteX0" y="connsiteY0"/>
                  </a:cxn>
                  <a:cxn ang="0">
                    <a:pos x="connsiteX1" y="connsiteY1"/>
                  </a:cxn>
                  <a:cxn ang="0">
                    <a:pos x="connsiteX2" y="connsiteY2"/>
                  </a:cxn>
                  <a:cxn ang="0">
                    <a:pos x="connsiteX3" y="connsiteY3"/>
                  </a:cxn>
                </a:cxnLst>
                <a:rect l="l" t="t" r="r" b="b"/>
                <a:pathLst>
                  <a:path w="46797" h="127308">
                    <a:moveTo>
                      <a:pt x="0" y="1002"/>
                    </a:moveTo>
                    <a:lnTo>
                      <a:pt x="2881" y="0"/>
                    </a:lnTo>
                    <a:lnTo>
                      <a:pt x="46798" y="126307"/>
                    </a:lnTo>
                    <a:lnTo>
                      <a:pt x="43917" y="127308"/>
                    </a:lnTo>
                    <a:close/>
                  </a:path>
                </a:pathLst>
              </a:custGeom>
              <a:grpFill/>
              <a:ln w="5978" cap="flat">
                <a:noFill/>
                <a:prstDash val="solid"/>
                <a:miter/>
              </a:ln>
            </p:spPr>
            <p:txBody>
              <a:bodyPr rtlCol="0" anchor="ctr"/>
              <a:lstStyle/>
              <a:p>
                <a:endParaRPr lang="en-GB"/>
              </a:p>
            </p:txBody>
          </p:sp>
          <p:sp>
            <p:nvSpPr>
              <p:cNvPr id="3362" name="Vrije vorm: vorm 3361">
                <a:extLst>
                  <a:ext uri="{FF2B5EF4-FFF2-40B4-BE49-F238E27FC236}">
                    <a16:creationId xmlns:a16="http://schemas.microsoft.com/office/drawing/2014/main" id="{A7D5FE7D-FEE8-4EC9-A502-BD30043D2629}"/>
                  </a:ext>
                </a:extLst>
              </p:cNvPr>
              <p:cNvSpPr/>
              <p:nvPr/>
            </p:nvSpPr>
            <p:spPr>
              <a:xfrm>
                <a:off x="6641810" y="5123690"/>
                <a:ext cx="18322" cy="18428"/>
              </a:xfrm>
              <a:custGeom>
                <a:avLst/>
                <a:gdLst>
                  <a:gd name="connsiteX0" fmla="*/ 17803 w 18322"/>
                  <a:gd name="connsiteY0" fmla="*/ 6194 h 18428"/>
                  <a:gd name="connsiteX1" fmla="*/ 12181 w 18322"/>
                  <a:gd name="connsiteY1" fmla="*/ 17916 h 18428"/>
                  <a:gd name="connsiteX2" fmla="*/ 519 w 18322"/>
                  <a:gd name="connsiteY2" fmla="*/ 12234 h 18428"/>
                  <a:gd name="connsiteX3" fmla="*/ 6141 w 18322"/>
                  <a:gd name="connsiteY3" fmla="*/ 512 h 18428"/>
                  <a:gd name="connsiteX4" fmla="*/ 17803 w 18322"/>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17803" y="6194"/>
                    </a:moveTo>
                    <a:cubicBezTo>
                      <a:pt x="19478" y="10978"/>
                      <a:pt x="16966" y="16242"/>
                      <a:pt x="12181" y="17916"/>
                    </a:cubicBezTo>
                    <a:cubicBezTo>
                      <a:pt x="7397" y="19591"/>
                      <a:pt x="2194" y="17019"/>
                      <a:pt x="519" y="12234"/>
                    </a:cubicBezTo>
                    <a:cubicBezTo>
                      <a:pt x="-1156" y="7450"/>
                      <a:pt x="1356" y="2187"/>
                      <a:pt x="6141" y="512"/>
                    </a:cubicBezTo>
                    <a:cubicBezTo>
                      <a:pt x="10866" y="-1163"/>
                      <a:pt x="16129" y="1409"/>
                      <a:pt x="17803" y="6194"/>
                    </a:cubicBezTo>
                    <a:close/>
                  </a:path>
                </a:pathLst>
              </a:custGeom>
              <a:grpFill/>
              <a:ln w="5978" cap="flat">
                <a:noFill/>
                <a:prstDash val="solid"/>
                <a:miter/>
              </a:ln>
            </p:spPr>
            <p:txBody>
              <a:bodyPr rtlCol="0" anchor="ctr"/>
              <a:lstStyle/>
              <a:p>
                <a:endParaRPr lang="en-GB"/>
              </a:p>
            </p:txBody>
          </p:sp>
          <p:sp>
            <p:nvSpPr>
              <p:cNvPr id="3363" name="Vrije vorm: vorm 3362">
                <a:extLst>
                  <a:ext uri="{FF2B5EF4-FFF2-40B4-BE49-F238E27FC236}">
                    <a16:creationId xmlns:a16="http://schemas.microsoft.com/office/drawing/2014/main" id="{886FD9F9-62DC-476C-998E-5E5FAB278321}"/>
                  </a:ext>
                </a:extLst>
              </p:cNvPr>
              <p:cNvSpPr/>
              <p:nvPr/>
            </p:nvSpPr>
            <p:spPr>
              <a:xfrm>
                <a:off x="6598211" y="4998215"/>
                <a:ext cx="18322" cy="18428"/>
              </a:xfrm>
              <a:custGeom>
                <a:avLst/>
                <a:gdLst>
                  <a:gd name="connsiteX0" fmla="*/ 17803 w 18322"/>
                  <a:gd name="connsiteY0" fmla="*/ 6194 h 18428"/>
                  <a:gd name="connsiteX1" fmla="*/ 6141 w 18322"/>
                  <a:gd name="connsiteY1" fmla="*/ 512 h 18428"/>
                  <a:gd name="connsiteX2" fmla="*/ 519 w 18322"/>
                  <a:gd name="connsiteY2" fmla="*/ 12234 h 18428"/>
                  <a:gd name="connsiteX3" fmla="*/ 12181 w 18322"/>
                  <a:gd name="connsiteY3" fmla="*/ 17916 h 18428"/>
                  <a:gd name="connsiteX4" fmla="*/ 17803 w 18322"/>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17803" y="6194"/>
                    </a:moveTo>
                    <a:cubicBezTo>
                      <a:pt x="16129" y="1409"/>
                      <a:pt x="10925" y="-1162"/>
                      <a:pt x="6141" y="512"/>
                    </a:cubicBezTo>
                    <a:cubicBezTo>
                      <a:pt x="1356" y="2187"/>
                      <a:pt x="-1156" y="7390"/>
                      <a:pt x="519" y="12234"/>
                    </a:cubicBezTo>
                    <a:cubicBezTo>
                      <a:pt x="2193" y="17019"/>
                      <a:pt x="7397" y="19591"/>
                      <a:pt x="12181" y="17916"/>
                    </a:cubicBezTo>
                    <a:cubicBezTo>
                      <a:pt x="16966" y="16241"/>
                      <a:pt x="19478" y="10978"/>
                      <a:pt x="17803" y="6194"/>
                    </a:cubicBezTo>
                    <a:close/>
                  </a:path>
                </a:pathLst>
              </a:custGeom>
              <a:grpFill/>
              <a:ln w="5978" cap="flat">
                <a:noFill/>
                <a:prstDash val="solid"/>
                <a:miter/>
              </a:ln>
            </p:spPr>
            <p:txBody>
              <a:bodyPr rtlCol="0" anchor="ctr"/>
              <a:lstStyle/>
              <a:p>
                <a:endParaRPr lang="en-GB"/>
              </a:p>
            </p:txBody>
          </p:sp>
        </p:grpSp>
        <p:grpSp>
          <p:nvGrpSpPr>
            <p:cNvPr id="677" name="Graphic 3">
              <a:extLst>
                <a:ext uri="{FF2B5EF4-FFF2-40B4-BE49-F238E27FC236}">
                  <a16:creationId xmlns:a16="http://schemas.microsoft.com/office/drawing/2014/main" id="{5180A97F-9E06-4E7B-B9F1-A171A73553FC}"/>
                </a:ext>
              </a:extLst>
            </p:cNvPr>
            <p:cNvGrpSpPr/>
            <p:nvPr/>
          </p:nvGrpSpPr>
          <p:grpSpPr>
            <a:xfrm>
              <a:off x="5384536" y="1319220"/>
              <a:ext cx="140821" cy="505162"/>
              <a:chOff x="5384536" y="1319220"/>
              <a:chExt cx="140821" cy="505162"/>
            </a:xfrm>
            <a:grpFill/>
          </p:grpSpPr>
          <p:sp>
            <p:nvSpPr>
              <p:cNvPr id="3358" name="Vrije vorm: vorm 3357">
                <a:extLst>
                  <a:ext uri="{FF2B5EF4-FFF2-40B4-BE49-F238E27FC236}">
                    <a16:creationId xmlns:a16="http://schemas.microsoft.com/office/drawing/2014/main" id="{DBE34682-32FD-4C89-9428-8A7B190D69DE}"/>
                  </a:ext>
                </a:extLst>
              </p:cNvPr>
              <p:cNvSpPr/>
              <p:nvPr/>
            </p:nvSpPr>
            <p:spPr>
              <a:xfrm>
                <a:off x="5392333" y="1327542"/>
                <a:ext cx="125691" cy="488359"/>
              </a:xfrm>
              <a:custGeom>
                <a:avLst/>
                <a:gdLst>
                  <a:gd name="connsiteX0" fmla="*/ 0 w 125691"/>
                  <a:gd name="connsiteY0" fmla="*/ 745 h 488359"/>
                  <a:gd name="connsiteX1" fmla="*/ 2958 w 125691"/>
                  <a:gd name="connsiteY1" fmla="*/ 0 h 488359"/>
                  <a:gd name="connsiteX2" fmla="*/ 125691 w 125691"/>
                  <a:gd name="connsiteY2" fmla="*/ 487615 h 488359"/>
                  <a:gd name="connsiteX3" fmla="*/ 122733 w 125691"/>
                  <a:gd name="connsiteY3" fmla="*/ 488359 h 488359"/>
                </a:gdLst>
                <a:ahLst/>
                <a:cxnLst>
                  <a:cxn ang="0">
                    <a:pos x="connsiteX0" y="connsiteY0"/>
                  </a:cxn>
                  <a:cxn ang="0">
                    <a:pos x="connsiteX1" y="connsiteY1"/>
                  </a:cxn>
                  <a:cxn ang="0">
                    <a:pos x="connsiteX2" y="connsiteY2"/>
                  </a:cxn>
                  <a:cxn ang="0">
                    <a:pos x="connsiteX3" y="connsiteY3"/>
                  </a:cxn>
                </a:cxnLst>
                <a:rect l="l" t="t" r="r" b="b"/>
                <a:pathLst>
                  <a:path w="125691" h="488359">
                    <a:moveTo>
                      <a:pt x="0" y="745"/>
                    </a:moveTo>
                    <a:lnTo>
                      <a:pt x="2958" y="0"/>
                    </a:lnTo>
                    <a:lnTo>
                      <a:pt x="125691" y="487615"/>
                    </a:lnTo>
                    <a:lnTo>
                      <a:pt x="122733" y="488359"/>
                    </a:lnTo>
                    <a:close/>
                  </a:path>
                </a:pathLst>
              </a:custGeom>
              <a:grpFill/>
              <a:ln w="5978" cap="flat">
                <a:noFill/>
                <a:prstDash val="solid"/>
                <a:miter/>
              </a:ln>
            </p:spPr>
            <p:txBody>
              <a:bodyPr rtlCol="0" anchor="ctr"/>
              <a:lstStyle/>
              <a:p>
                <a:endParaRPr lang="en-GB"/>
              </a:p>
            </p:txBody>
          </p:sp>
          <p:sp>
            <p:nvSpPr>
              <p:cNvPr id="3359" name="Vrije vorm: vorm 3358">
                <a:extLst>
                  <a:ext uri="{FF2B5EF4-FFF2-40B4-BE49-F238E27FC236}">
                    <a16:creationId xmlns:a16="http://schemas.microsoft.com/office/drawing/2014/main" id="{22D2C29F-0F8C-4577-8383-224936EBAA9B}"/>
                  </a:ext>
                </a:extLst>
              </p:cNvPr>
              <p:cNvSpPr/>
              <p:nvPr/>
            </p:nvSpPr>
            <p:spPr>
              <a:xfrm>
                <a:off x="5507021" y="1805932"/>
                <a:ext cx="18335" cy="18451"/>
              </a:xfrm>
              <a:custGeom>
                <a:avLst/>
                <a:gdLst>
                  <a:gd name="connsiteX0" fmla="*/ 18049 w 18335"/>
                  <a:gd name="connsiteY0" fmla="*/ 6985 h 18451"/>
                  <a:gd name="connsiteX1" fmla="*/ 11411 w 18335"/>
                  <a:gd name="connsiteY1" fmla="*/ 18169 h 18451"/>
                  <a:gd name="connsiteX2" fmla="*/ 287 w 18335"/>
                  <a:gd name="connsiteY2" fmla="*/ 11470 h 18451"/>
                  <a:gd name="connsiteX3" fmla="*/ 6925 w 18335"/>
                  <a:gd name="connsiteY3" fmla="*/ 286 h 18451"/>
                  <a:gd name="connsiteX4" fmla="*/ 18049 w 18335"/>
                  <a:gd name="connsiteY4" fmla="*/ 6985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1">
                    <a:moveTo>
                      <a:pt x="18049" y="6985"/>
                    </a:moveTo>
                    <a:cubicBezTo>
                      <a:pt x="19305" y="11949"/>
                      <a:pt x="16315" y="16913"/>
                      <a:pt x="11411" y="18169"/>
                    </a:cubicBezTo>
                    <a:cubicBezTo>
                      <a:pt x="6507" y="19425"/>
                      <a:pt x="1542" y="16375"/>
                      <a:pt x="287" y="11470"/>
                    </a:cubicBezTo>
                    <a:cubicBezTo>
                      <a:pt x="-969" y="6506"/>
                      <a:pt x="2021" y="1542"/>
                      <a:pt x="6925" y="286"/>
                    </a:cubicBezTo>
                    <a:cubicBezTo>
                      <a:pt x="11829" y="-970"/>
                      <a:pt x="16794" y="2021"/>
                      <a:pt x="18049" y="6985"/>
                    </a:cubicBezTo>
                    <a:close/>
                  </a:path>
                </a:pathLst>
              </a:custGeom>
              <a:grpFill/>
              <a:ln w="5978" cap="flat">
                <a:noFill/>
                <a:prstDash val="solid"/>
                <a:miter/>
              </a:ln>
            </p:spPr>
            <p:txBody>
              <a:bodyPr rtlCol="0" anchor="ctr"/>
              <a:lstStyle/>
              <a:p>
                <a:endParaRPr lang="en-GB"/>
              </a:p>
            </p:txBody>
          </p:sp>
          <p:sp>
            <p:nvSpPr>
              <p:cNvPr id="3360" name="Vrije vorm: vorm 3359">
                <a:extLst>
                  <a:ext uri="{FF2B5EF4-FFF2-40B4-BE49-F238E27FC236}">
                    <a16:creationId xmlns:a16="http://schemas.microsoft.com/office/drawing/2014/main" id="{09CF2C8F-B11F-4E94-BD6C-75116019A43C}"/>
                  </a:ext>
                </a:extLst>
              </p:cNvPr>
              <p:cNvSpPr/>
              <p:nvPr/>
            </p:nvSpPr>
            <p:spPr>
              <a:xfrm>
                <a:off x="5384536" y="1319220"/>
                <a:ext cx="18336" cy="18455"/>
              </a:xfrm>
              <a:custGeom>
                <a:avLst/>
                <a:gdLst>
                  <a:gd name="connsiteX0" fmla="*/ 18049 w 18336"/>
                  <a:gd name="connsiteY0" fmla="*/ 6985 h 18455"/>
                  <a:gd name="connsiteX1" fmla="*/ 6925 w 18336"/>
                  <a:gd name="connsiteY1" fmla="*/ 286 h 18455"/>
                  <a:gd name="connsiteX2" fmla="*/ 287 w 18336"/>
                  <a:gd name="connsiteY2" fmla="*/ 11470 h 18455"/>
                  <a:gd name="connsiteX3" fmla="*/ 11411 w 18336"/>
                  <a:gd name="connsiteY3" fmla="*/ 18169 h 18455"/>
                  <a:gd name="connsiteX4" fmla="*/ 18049 w 18336"/>
                  <a:gd name="connsiteY4" fmla="*/ 6985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5">
                    <a:moveTo>
                      <a:pt x="18049" y="6985"/>
                    </a:moveTo>
                    <a:cubicBezTo>
                      <a:pt x="16793" y="2021"/>
                      <a:pt x="11830" y="-970"/>
                      <a:pt x="6925" y="286"/>
                    </a:cubicBezTo>
                    <a:cubicBezTo>
                      <a:pt x="2021" y="1542"/>
                      <a:pt x="-969" y="6506"/>
                      <a:pt x="287" y="11470"/>
                    </a:cubicBezTo>
                    <a:cubicBezTo>
                      <a:pt x="1543" y="16434"/>
                      <a:pt x="6507" y="19425"/>
                      <a:pt x="11411" y="18169"/>
                    </a:cubicBezTo>
                    <a:cubicBezTo>
                      <a:pt x="16315" y="16913"/>
                      <a:pt x="19306" y="11949"/>
                      <a:pt x="18049" y="6985"/>
                    </a:cubicBezTo>
                    <a:close/>
                  </a:path>
                </a:pathLst>
              </a:custGeom>
              <a:grpFill/>
              <a:ln w="5978" cap="flat">
                <a:noFill/>
                <a:prstDash val="solid"/>
                <a:miter/>
              </a:ln>
            </p:spPr>
            <p:txBody>
              <a:bodyPr rtlCol="0" anchor="ctr"/>
              <a:lstStyle/>
              <a:p>
                <a:endParaRPr lang="en-GB"/>
              </a:p>
            </p:txBody>
          </p:sp>
        </p:grpSp>
        <p:grpSp>
          <p:nvGrpSpPr>
            <p:cNvPr id="678" name="Graphic 3">
              <a:extLst>
                <a:ext uri="{FF2B5EF4-FFF2-40B4-BE49-F238E27FC236}">
                  <a16:creationId xmlns:a16="http://schemas.microsoft.com/office/drawing/2014/main" id="{C61387CE-8993-41CB-A4EB-3BF4AF89E271}"/>
                </a:ext>
              </a:extLst>
            </p:cNvPr>
            <p:cNvGrpSpPr/>
            <p:nvPr/>
          </p:nvGrpSpPr>
          <p:grpSpPr>
            <a:xfrm>
              <a:off x="6597482" y="4998440"/>
              <a:ext cx="135984" cy="474665"/>
              <a:chOff x="6597482" y="4998440"/>
              <a:chExt cx="135984" cy="474665"/>
            </a:xfrm>
            <a:grpFill/>
          </p:grpSpPr>
          <p:sp>
            <p:nvSpPr>
              <p:cNvPr id="3355" name="Vrije vorm: vorm 3354">
                <a:extLst>
                  <a:ext uri="{FF2B5EF4-FFF2-40B4-BE49-F238E27FC236}">
                    <a16:creationId xmlns:a16="http://schemas.microsoft.com/office/drawing/2014/main" id="{D543EEDB-9396-481F-AFF8-E2A2B08533FF}"/>
                  </a:ext>
                </a:extLst>
              </p:cNvPr>
              <p:cNvSpPr/>
              <p:nvPr/>
            </p:nvSpPr>
            <p:spPr>
              <a:xfrm>
                <a:off x="6604995" y="5006411"/>
                <a:ext cx="120841" cy="457913"/>
              </a:xfrm>
              <a:custGeom>
                <a:avLst/>
                <a:gdLst>
                  <a:gd name="connsiteX0" fmla="*/ 0 w 120841"/>
                  <a:gd name="connsiteY0" fmla="*/ 762 h 457913"/>
                  <a:gd name="connsiteX1" fmla="*/ 2954 w 120841"/>
                  <a:gd name="connsiteY1" fmla="*/ 0 h 457913"/>
                  <a:gd name="connsiteX2" fmla="*/ 120842 w 120841"/>
                  <a:gd name="connsiteY2" fmla="*/ 457152 h 457913"/>
                  <a:gd name="connsiteX3" fmla="*/ 117888 w 120841"/>
                  <a:gd name="connsiteY3" fmla="*/ 457914 h 457913"/>
                </a:gdLst>
                <a:ahLst/>
                <a:cxnLst>
                  <a:cxn ang="0">
                    <a:pos x="connsiteX0" y="connsiteY0"/>
                  </a:cxn>
                  <a:cxn ang="0">
                    <a:pos x="connsiteX1" y="connsiteY1"/>
                  </a:cxn>
                  <a:cxn ang="0">
                    <a:pos x="connsiteX2" y="connsiteY2"/>
                  </a:cxn>
                  <a:cxn ang="0">
                    <a:pos x="connsiteX3" y="connsiteY3"/>
                  </a:cxn>
                </a:cxnLst>
                <a:rect l="l" t="t" r="r" b="b"/>
                <a:pathLst>
                  <a:path w="120841" h="457913">
                    <a:moveTo>
                      <a:pt x="0" y="762"/>
                    </a:moveTo>
                    <a:lnTo>
                      <a:pt x="2954" y="0"/>
                    </a:lnTo>
                    <a:lnTo>
                      <a:pt x="120842" y="457152"/>
                    </a:lnTo>
                    <a:lnTo>
                      <a:pt x="117888" y="457914"/>
                    </a:lnTo>
                    <a:close/>
                  </a:path>
                </a:pathLst>
              </a:custGeom>
              <a:grpFill/>
              <a:ln w="5978" cap="flat">
                <a:noFill/>
                <a:prstDash val="solid"/>
                <a:miter/>
              </a:ln>
            </p:spPr>
            <p:txBody>
              <a:bodyPr rtlCol="0" anchor="ctr"/>
              <a:lstStyle/>
              <a:p>
                <a:endParaRPr lang="en-GB"/>
              </a:p>
            </p:txBody>
          </p:sp>
          <p:sp>
            <p:nvSpPr>
              <p:cNvPr id="3356" name="Vrije vorm: vorm 3355">
                <a:extLst>
                  <a:ext uri="{FF2B5EF4-FFF2-40B4-BE49-F238E27FC236}">
                    <a16:creationId xmlns:a16="http://schemas.microsoft.com/office/drawing/2014/main" id="{B650F873-9175-434D-B63F-130E140C906C}"/>
                  </a:ext>
                </a:extLst>
              </p:cNvPr>
              <p:cNvSpPr/>
              <p:nvPr/>
            </p:nvSpPr>
            <p:spPr>
              <a:xfrm>
                <a:off x="6597482" y="4998440"/>
                <a:ext cx="18343" cy="18395"/>
              </a:xfrm>
              <a:custGeom>
                <a:avLst/>
                <a:gdLst>
                  <a:gd name="connsiteX0" fmla="*/ 290 w 18343"/>
                  <a:gd name="connsiteY0" fmla="*/ 11471 h 18395"/>
                  <a:gd name="connsiteX1" fmla="*/ 6869 w 18343"/>
                  <a:gd name="connsiteY1" fmla="*/ 287 h 18395"/>
                  <a:gd name="connsiteX2" fmla="*/ 18053 w 18343"/>
                  <a:gd name="connsiteY2" fmla="*/ 6925 h 18395"/>
                  <a:gd name="connsiteX3" fmla="*/ 11475 w 18343"/>
                  <a:gd name="connsiteY3" fmla="*/ 18109 h 18395"/>
                  <a:gd name="connsiteX4" fmla="*/ 290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0" y="11471"/>
                    </a:moveTo>
                    <a:cubicBezTo>
                      <a:pt x="-965" y="6567"/>
                      <a:pt x="1965" y="1543"/>
                      <a:pt x="6869" y="287"/>
                    </a:cubicBezTo>
                    <a:cubicBezTo>
                      <a:pt x="11774" y="-969"/>
                      <a:pt x="16797" y="2021"/>
                      <a:pt x="18053" y="6925"/>
                    </a:cubicBezTo>
                    <a:cubicBezTo>
                      <a:pt x="19309" y="11830"/>
                      <a:pt x="16379" y="16853"/>
                      <a:pt x="11475" y="18109"/>
                    </a:cubicBezTo>
                    <a:cubicBezTo>
                      <a:pt x="6571" y="19365"/>
                      <a:pt x="1547" y="16375"/>
                      <a:pt x="290" y="11471"/>
                    </a:cubicBezTo>
                    <a:close/>
                  </a:path>
                </a:pathLst>
              </a:custGeom>
              <a:grpFill/>
              <a:ln w="5978" cap="flat">
                <a:noFill/>
                <a:prstDash val="solid"/>
                <a:miter/>
              </a:ln>
            </p:spPr>
            <p:txBody>
              <a:bodyPr rtlCol="0" anchor="ctr"/>
              <a:lstStyle/>
              <a:p>
                <a:endParaRPr lang="en-GB"/>
              </a:p>
            </p:txBody>
          </p:sp>
          <p:sp>
            <p:nvSpPr>
              <p:cNvPr id="3357" name="Vrije vorm: vorm 3356">
                <a:extLst>
                  <a:ext uri="{FF2B5EF4-FFF2-40B4-BE49-F238E27FC236}">
                    <a16:creationId xmlns:a16="http://schemas.microsoft.com/office/drawing/2014/main" id="{8DBBB63C-B186-4225-98F1-E3B7FDA64539}"/>
                  </a:ext>
                </a:extLst>
              </p:cNvPr>
              <p:cNvSpPr/>
              <p:nvPr/>
            </p:nvSpPr>
            <p:spPr>
              <a:xfrm>
                <a:off x="6715123" y="5454710"/>
                <a:ext cx="18343" cy="18395"/>
              </a:xfrm>
              <a:custGeom>
                <a:avLst/>
                <a:gdLst>
                  <a:gd name="connsiteX0" fmla="*/ 291 w 18343"/>
                  <a:gd name="connsiteY0" fmla="*/ 11471 h 18395"/>
                  <a:gd name="connsiteX1" fmla="*/ 11475 w 18343"/>
                  <a:gd name="connsiteY1" fmla="*/ 18109 h 18395"/>
                  <a:gd name="connsiteX2" fmla="*/ 18053 w 18343"/>
                  <a:gd name="connsiteY2" fmla="*/ 6925 h 18395"/>
                  <a:gd name="connsiteX3" fmla="*/ 6869 w 18343"/>
                  <a:gd name="connsiteY3" fmla="*/ 287 h 18395"/>
                  <a:gd name="connsiteX4" fmla="*/ 291 w 18343"/>
                  <a:gd name="connsiteY4" fmla="*/ 11471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5">
                    <a:moveTo>
                      <a:pt x="291" y="11471"/>
                    </a:moveTo>
                    <a:cubicBezTo>
                      <a:pt x="1546" y="16375"/>
                      <a:pt x="6570" y="19365"/>
                      <a:pt x="11475" y="18109"/>
                    </a:cubicBezTo>
                    <a:cubicBezTo>
                      <a:pt x="16379" y="16853"/>
                      <a:pt x="19309" y="11829"/>
                      <a:pt x="18053" y="6925"/>
                    </a:cubicBezTo>
                    <a:cubicBezTo>
                      <a:pt x="16797" y="2021"/>
                      <a:pt x="11773" y="-969"/>
                      <a:pt x="6869" y="287"/>
                    </a:cubicBezTo>
                    <a:cubicBezTo>
                      <a:pt x="1965" y="1542"/>
                      <a:pt x="-965" y="6566"/>
                      <a:pt x="291" y="11471"/>
                    </a:cubicBezTo>
                    <a:close/>
                  </a:path>
                </a:pathLst>
              </a:custGeom>
              <a:grpFill/>
              <a:ln w="5978" cap="flat">
                <a:noFill/>
                <a:prstDash val="solid"/>
                <a:miter/>
              </a:ln>
            </p:spPr>
            <p:txBody>
              <a:bodyPr rtlCol="0" anchor="ctr"/>
              <a:lstStyle/>
              <a:p>
                <a:endParaRPr lang="en-GB"/>
              </a:p>
            </p:txBody>
          </p:sp>
        </p:grpSp>
        <p:grpSp>
          <p:nvGrpSpPr>
            <p:cNvPr id="679" name="Graphic 3">
              <a:extLst>
                <a:ext uri="{FF2B5EF4-FFF2-40B4-BE49-F238E27FC236}">
                  <a16:creationId xmlns:a16="http://schemas.microsoft.com/office/drawing/2014/main" id="{132CE11C-B93B-49D5-88C1-BEFE9E2280F4}"/>
                </a:ext>
              </a:extLst>
            </p:cNvPr>
            <p:cNvGrpSpPr/>
            <p:nvPr/>
          </p:nvGrpSpPr>
          <p:grpSpPr>
            <a:xfrm>
              <a:off x="5488285" y="1752573"/>
              <a:ext cx="36370" cy="71949"/>
              <a:chOff x="5488285" y="1752573"/>
              <a:chExt cx="36370" cy="71949"/>
            </a:xfrm>
            <a:grpFill/>
          </p:grpSpPr>
          <p:sp>
            <p:nvSpPr>
              <p:cNvPr id="3352" name="Vrije vorm: vorm 3351">
                <a:extLst>
                  <a:ext uri="{FF2B5EF4-FFF2-40B4-BE49-F238E27FC236}">
                    <a16:creationId xmlns:a16="http://schemas.microsoft.com/office/drawing/2014/main" id="{E9C25563-EEAD-41AD-AF25-7B256EAC05B2}"/>
                  </a:ext>
                </a:extLst>
              </p:cNvPr>
              <p:cNvSpPr/>
              <p:nvPr/>
            </p:nvSpPr>
            <p:spPr>
              <a:xfrm>
                <a:off x="5496085" y="1760696"/>
                <a:ext cx="21223" cy="55386"/>
              </a:xfrm>
              <a:custGeom>
                <a:avLst/>
                <a:gdLst>
                  <a:gd name="connsiteX0" fmla="*/ 0 w 21223"/>
                  <a:gd name="connsiteY0" fmla="*/ 974 h 55386"/>
                  <a:gd name="connsiteX1" fmla="*/ 2891 w 21223"/>
                  <a:gd name="connsiteY1" fmla="*/ 0 h 55386"/>
                  <a:gd name="connsiteX2" fmla="*/ 21223 w 21223"/>
                  <a:gd name="connsiteY2" fmla="*/ 54412 h 55386"/>
                  <a:gd name="connsiteX3" fmla="*/ 18333 w 21223"/>
                  <a:gd name="connsiteY3" fmla="*/ 55386 h 55386"/>
                </a:gdLst>
                <a:ahLst/>
                <a:cxnLst>
                  <a:cxn ang="0">
                    <a:pos x="connsiteX0" y="connsiteY0"/>
                  </a:cxn>
                  <a:cxn ang="0">
                    <a:pos x="connsiteX1" y="connsiteY1"/>
                  </a:cxn>
                  <a:cxn ang="0">
                    <a:pos x="connsiteX2" y="connsiteY2"/>
                  </a:cxn>
                  <a:cxn ang="0">
                    <a:pos x="connsiteX3" y="connsiteY3"/>
                  </a:cxn>
                </a:cxnLst>
                <a:rect l="l" t="t" r="r" b="b"/>
                <a:pathLst>
                  <a:path w="21223" h="55386">
                    <a:moveTo>
                      <a:pt x="0" y="974"/>
                    </a:moveTo>
                    <a:lnTo>
                      <a:pt x="2891" y="0"/>
                    </a:lnTo>
                    <a:lnTo>
                      <a:pt x="21223" y="54412"/>
                    </a:lnTo>
                    <a:lnTo>
                      <a:pt x="18333" y="55386"/>
                    </a:lnTo>
                    <a:close/>
                  </a:path>
                </a:pathLst>
              </a:custGeom>
              <a:grpFill/>
              <a:ln w="5978" cap="flat">
                <a:noFill/>
                <a:prstDash val="solid"/>
                <a:miter/>
              </a:ln>
            </p:spPr>
            <p:txBody>
              <a:bodyPr rtlCol="0" anchor="ctr"/>
              <a:lstStyle/>
              <a:p>
                <a:endParaRPr lang="en-GB"/>
              </a:p>
            </p:txBody>
          </p:sp>
          <p:sp>
            <p:nvSpPr>
              <p:cNvPr id="3353" name="Vrije vorm: vorm 3352">
                <a:extLst>
                  <a:ext uri="{FF2B5EF4-FFF2-40B4-BE49-F238E27FC236}">
                    <a16:creationId xmlns:a16="http://schemas.microsoft.com/office/drawing/2014/main" id="{D74C7AD5-846F-46F1-9F35-EC3DCBB5A384}"/>
                  </a:ext>
                </a:extLst>
              </p:cNvPr>
              <p:cNvSpPr/>
              <p:nvPr/>
            </p:nvSpPr>
            <p:spPr>
              <a:xfrm>
                <a:off x="5488285" y="1752573"/>
                <a:ext cx="18308" cy="18444"/>
              </a:xfrm>
              <a:custGeom>
                <a:avLst/>
                <a:gdLst>
                  <a:gd name="connsiteX0" fmla="*/ 482 w 18308"/>
                  <a:gd name="connsiteY0" fmla="*/ 12138 h 18444"/>
                  <a:gd name="connsiteX1" fmla="*/ 6224 w 18308"/>
                  <a:gd name="connsiteY1" fmla="*/ 476 h 18444"/>
                  <a:gd name="connsiteX2" fmla="*/ 17826 w 18308"/>
                  <a:gd name="connsiteY2" fmla="*/ 6277 h 18444"/>
                  <a:gd name="connsiteX3" fmla="*/ 12085 w 18308"/>
                  <a:gd name="connsiteY3" fmla="*/ 17940 h 18444"/>
                  <a:gd name="connsiteX4" fmla="*/ 482 w 18308"/>
                  <a:gd name="connsiteY4" fmla="*/ 1213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4">
                    <a:moveTo>
                      <a:pt x="482" y="12138"/>
                    </a:moveTo>
                    <a:cubicBezTo>
                      <a:pt x="-1132" y="7294"/>
                      <a:pt x="1439" y="2091"/>
                      <a:pt x="6224" y="476"/>
                    </a:cubicBezTo>
                    <a:cubicBezTo>
                      <a:pt x="11008" y="-1139"/>
                      <a:pt x="16212" y="1493"/>
                      <a:pt x="17826" y="6277"/>
                    </a:cubicBezTo>
                    <a:cubicBezTo>
                      <a:pt x="19441" y="11122"/>
                      <a:pt x="16870" y="16325"/>
                      <a:pt x="12085" y="17940"/>
                    </a:cubicBezTo>
                    <a:cubicBezTo>
                      <a:pt x="7360" y="19614"/>
                      <a:pt x="2157" y="16983"/>
                      <a:pt x="482" y="12138"/>
                    </a:cubicBezTo>
                    <a:close/>
                  </a:path>
                </a:pathLst>
              </a:custGeom>
              <a:grpFill/>
              <a:ln w="5978" cap="flat">
                <a:noFill/>
                <a:prstDash val="solid"/>
                <a:miter/>
              </a:ln>
            </p:spPr>
            <p:txBody>
              <a:bodyPr rtlCol="0" anchor="ctr"/>
              <a:lstStyle/>
              <a:p>
                <a:endParaRPr lang="en-GB"/>
              </a:p>
            </p:txBody>
          </p:sp>
          <p:sp>
            <p:nvSpPr>
              <p:cNvPr id="3354" name="Vrije vorm: vorm 3353">
                <a:extLst>
                  <a:ext uri="{FF2B5EF4-FFF2-40B4-BE49-F238E27FC236}">
                    <a16:creationId xmlns:a16="http://schemas.microsoft.com/office/drawing/2014/main" id="{57F65372-CB31-4C9B-B4B8-00C510F0B722}"/>
                  </a:ext>
                </a:extLst>
              </p:cNvPr>
              <p:cNvSpPr/>
              <p:nvPr/>
            </p:nvSpPr>
            <p:spPr>
              <a:xfrm>
                <a:off x="5506347" y="1806095"/>
                <a:ext cx="18308" cy="18427"/>
              </a:xfrm>
              <a:custGeom>
                <a:avLst/>
                <a:gdLst>
                  <a:gd name="connsiteX0" fmla="*/ 482 w 18308"/>
                  <a:gd name="connsiteY0" fmla="*/ 12144 h 18427"/>
                  <a:gd name="connsiteX1" fmla="*/ 12085 w 18308"/>
                  <a:gd name="connsiteY1" fmla="*/ 17946 h 18427"/>
                  <a:gd name="connsiteX2" fmla="*/ 17827 w 18308"/>
                  <a:gd name="connsiteY2" fmla="*/ 6283 h 18427"/>
                  <a:gd name="connsiteX3" fmla="*/ 6224 w 18308"/>
                  <a:gd name="connsiteY3" fmla="*/ 482 h 18427"/>
                  <a:gd name="connsiteX4" fmla="*/ 482 w 18308"/>
                  <a:gd name="connsiteY4" fmla="*/ 1214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482" y="12144"/>
                    </a:moveTo>
                    <a:cubicBezTo>
                      <a:pt x="2097" y="16989"/>
                      <a:pt x="7301" y="19560"/>
                      <a:pt x="12085" y="17946"/>
                    </a:cubicBezTo>
                    <a:cubicBezTo>
                      <a:pt x="16870" y="16331"/>
                      <a:pt x="19441" y="11128"/>
                      <a:pt x="17827" y="6283"/>
                    </a:cubicBezTo>
                    <a:cubicBezTo>
                      <a:pt x="16212" y="1439"/>
                      <a:pt x="11009" y="-1133"/>
                      <a:pt x="6224" y="482"/>
                    </a:cubicBezTo>
                    <a:cubicBezTo>
                      <a:pt x="1439" y="2097"/>
                      <a:pt x="-1132" y="7360"/>
                      <a:pt x="482" y="12144"/>
                    </a:cubicBezTo>
                    <a:close/>
                  </a:path>
                </a:pathLst>
              </a:custGeom>
              <a:grpFill/>
              <a:ln w="5978" cap="flat">
                <a:noFill/>
                <a:prstDash val="solid"/>
                <a:miter/>
              </a:ln>
            </p:spPr>
            <p:txBody>
              <a:bodyPr rtlCol="0" anchor="ctr"/>
              <a:lstStyle/>
              <a:p>
                <a:endParaRPr lang="en-GB"/>
              </a:p>
            </p:txBody>
          </p:sp>
        </p:grpSp>
        <p:grpSp>
          <p:nvGrpSpPr>
            <p:cNvPr id="680" name="Graphic 3">
              <a:extLst>
                <a:ext uri="{FF2B5EF4-FFF2-40B4-BE49-F238E27FC236}">
                  <a16:creationId xmlns:a16="http://schemas.microsoft.com/office/drawing/2014/main" id="{8C9198C9-7B26-420A-BFC2-DE6C54A4C2BF}"/>
                </a:ext>
              </a:extLst>
            </p:cNvPr>
            <p:cNvGrpSpPr/>
            <p:nvPr/>
          </p:nvGrpSpPr>
          <p:grpSpPr>
            <a:xfrm>
              <a:off x="5401923" y="1496180"/>
              <a:ext cx="98809" cy="257351"/>
              <a:chOff x="5401923" y="1496180"/>
              <a:chExt cx="98809" cy="257351"/>
            </a:xfrm>
            <a:grpFill/>
          </p:grpSpPr>
          <p:sp>
            <p:nvSpPr>
              <p:cNvPr id="3349" name="Vrije vorm: vorm 3348">
                <a:extLst>
                  <a:ext uri="{FF2B5EF4-FFF2-40B4-BE49-F238E27FC236}">
                    <a16:creationId xmlns:a16="http://schemas.microsoft.com/office/drawing/2014/main" id="{FF878119-69AC-4809-8B5C-069697259238}"/>
                  </a:ext>
                </a:extLst>
              </p:cNvPr>
              <p:cNvSpPr/>
              <p:nvPr/>
            </p:nvSpPr>
            <p:spPr>
              <a:xfrm>
                <a:off x="5409710" y="1504367"/>
                <a:ext cx="83687" cy="240784"/>
              </a:xfrm>
              <a:custGeom>
                <a:avLst/>
                <a:gdLst>
                  <a:gd name="connsiteX0" fmla="*/ 0 w 83687"/>
                  <a:gd name="connsiteY0" fmla="*/ 974 h 240784"/>
                  <a:gd name="connsiteX1" fmla="*/ 2891 w 83687"/>
                  <a:gd name="connsiteY1" fmla="*/ 0 h 240784"/>
                  <a:gd name="connsiteX2" fmla="*/ 83688 w 83687"/>
                  <a:gd name="connsiteY2" fmla="*/ 239810 h 240784"/>
                  <a:gd name="connsiteX3" fmla="*/ 80797 w 83687"/>
                  <a:gd name="connsiteY3" fmla="*/ 240784 h 240784"/>
                </a:gdLst>
                <a:ahLst/>
                <a:cxnLst>
                  <a:cxn ang="0">
                    <a:pos x="connsiteX0" y="connsiteY0"/>
                  </a:cxn>
                  <a:cxn ang="0">
                    <a:pos x="connsiteX1" y="connsiteY1"/>
                  </a:cxn>
                  <a:cxn ang="0">
                    <a:pos x="connsiteX2" y="connsiteY2"/>
                  </a:cxn>
                  <a:cxn ang="0">
                    <a:pos x="connsiteX3" y="connsiteY3"/>
                  </a:cxn>
                </a:cxnLst>
                <a:rect l="l" t="t" r="r" b="b"/>
                <a:pathLst>
                  <a:path w="83687" h="240784">
                    <a:moveTo>
                      <a:pt x="0" y="974"/>
                    </a:moveTo>
                    <a:lnTo>
                      <a:pt x="2891" y="0"/>
                    </a:lnTo>
                    <a:lnTo>
                      <a:pt x="83688" y="239810"/>
                    </a:lnTo>
                    <a:lnTo>
                      <a:pt x="80797" y="240784"/>
                    </a:lnTo>
                    <a:close/>
                  </a:path>
                </a:pathLst>
              </a:custGeom>
              <a:grpFill/>
              <a:ln w="5978" cap="flat">
                <a:noFill/>
                <a:prstDash val="solid"/>
                <a:miter/>
              </a:ln>
            </p:spPr>
            <p:txBody>
              <a:bodyPr rtlCol="0" anchor="ctr"/>
              <a:lstStyle/>
              <a:p>
                <a:endParaRPr lang="en-GB"/>
              </a:p>
            </p:txBody>
          </p:sp>
          <p:sp>
            <p:nvSpPr>
              <p:cNvPr id="3350" name="Vrije vorm: vorm 3349">
                <a:extLst>
                  <a:ext uri="{FF2B5EF4-FFF2-40B4-BE49-F238E27FC236}">
                    <a16:creationId xmlns:a16="http://schemas.microsoft.com/office/drawing/2014/main" id="{DB6E8941-22A6-4990-9AF4-59F3195A13A1}"/>
                  </a:ext>
                </a:extLst>
              </p:cNvPr>
              <p:cNvSpPr/>
              <p:nvPr/>
            </p:nvSpPr>
            <p:spPr>
              <a:xfrm>
                <a:off x="5401923" y="1496180"/>
                <a:ext cx="18308" cy="18421"/>
              </a:xfrm>
              <a:custGeom>
                <a:avLst/>
                <a:gdLst>
                  <a:gd name="connsiteX0" fmla="*/ 482 w 18308"/>
                  <a:gd name="connsiteY0" fmla="*/ 12138 h 18421"/>
                  <a:gd name="connsiteX1" fmla="*/ 6224 w 18308"/>
                  <a:gd name="connsiteY1" fmla="*/ 476 h 18421"/>
                  <a:gd name="connsiteX2" fmla="*/ 17826 w 18308"/>
                  <a:gd name="connsiteY2" fmla="*/ 6277 h 18421"/>
                  <a:gd name="connsiteX3" fmla="*/ 12085 w 18308"/>
                  <a:gd name="connsiteY3" fmla="*/ 17940 h 18421"/>
                  <a:gd name="connsiteX4" fmla="*/ 482 w 18308"/>
                  <a:gd name="connsiteY4" fmla="*/ 1213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482" y="12138"/>
                    </a:moveTo>
                    <a:cubicBezTo>
                      <a:pt x="-1132" y="7294"/>
                      <a:pt x="1439" y="2091"/>
                      <a:pt x="6224" y="476"/>
                    </a:cubicBezTo>
                    <a:cubicBezTo>
                      <a:pt x="11008" y="-1139"/>
                      <a:pt x="16212" y="1493"/>
                      <a:pt x="17826" y="6277"/>
                    </a:cubicBezTo>
                    <a:cubicBezTo>
                      <a:pt x="19441" y="11122"/>
                      <a:pt x="16870" y="16325"/>
                      <a:pt x="12085" y="17940"/>
                    </a:cubicBezTo>
                    <a:cubicBezTo>
                      <a:pt x="7300" y="19555"/>
                      <a:pt x="2097" y="16983"/>
                      <a:pt x="482" y="12138"/>
                    </a:cubicBezTo>
                    <a:close/>
                  </a:path>
                </a:pathLst>
              </a:custGeom>
              <a:grpFill/>
              <a:ln w="5978" cap="flat">
                <a:noFill/>
                <a:prstDash val="solid"/>
                <a:miter/>
              </a:ln>
            </p:spPr>
            <p:txBody>
              <a:bodyPr rtlCol="0" anchor="ctr"/>
              <a:lstStyle/>
              <a:p>
                <a:endParaRPr lang="en-GB"/>
              </a:p>
            </p:txBody>
          </p:sp>
          <p:sp>
            <p:nvSpPr>
              <p:cNvPr id="3351" name="Vrije vorm: vorm 3350">
                <a:extLst>
                  <a:ext uri="{FF2B5EF4-FFF2-40B4-BE49-F238E27FC236}">
                    <a16:creationId xmlns:a16="http://schemas.microsoft.com/office/drawing/2014/main" id="{18DDA506-D400-4025-A189-15A318F67E10}"/>
                  </a:ext>
                </a:extLst>
              </p:cNvPr>
              <p:cNvSpPr/>
              <p:nvPr/>
            </p:nvSpPr>
            <p:spPr>
              <a:xfrm>
                <a:off x="5482424" y="1735104"/>
                <a:ext cx="18308" cy="18427"/>
              </a:xfrm>
              <a:custGeom>
                <a:avLst/>
                <a:gdLst>
                  <a:gd name="connsiteX0" fmla="*/ 482 w 18308"/>
                  <a:gd name="connsiteY0" fmla="*/ 12144 h 18427"/>
                  <a:gd name="connsiteX1" fmla="*/ 12085 w 18308"/>
                  <a:gd name="connsiteY1" fmla="*/ 17946 h 18427"/>
                  <a:gd name="connsiteX2" fmla="*/ 17827 w 18308"/>
                  <a:gd name="connsiteY2" fmla="*/ 6283 h 18427"/>
                  <a:gd name="connsiteX3" fmla="*/ 6224 w 18308"/>
                  <a:gd name="connsiteY3" fmla="*/ 482 h 18427"/>
                  <a:gd name="connsiteX4" fmla="*/ 482 w 18308"/>
                  <a:gd name="connsiteY4" fmla="*/ 1214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482" y="12144"/>
                    </a:moveTo>
                    <a:cubicBezTo>
                      <a:pt x="2097" y="16989"/>
                      <a:pt x="7301" y="19560"/>
                      <a:pt x="12085" y="17946"/>
                    </a:cubicBezTo>
                    <a:cubicBezTo>
                      <a:pt x="16870" y="16331"/>
                      <a:pt x="19441" y="11128"/>
                      <a:pt x="17827" y="6283"/>
                    </a:cubicBezTo>
                    <a:cubicBezTo>
                      <a:pt x="16212" y="1439"/>
                      <a:pt x="11009" y="-1133"/>
                      <a:pt x="6224" y="482"/>
                    </a:cubicBezTo>
                    <a:cubicBezTo>
                      <a:pt x="1439" y="2097"/>
                      <a:pt x="-1132" y="7360"/>
                      <a:pt x="482" y="12144"/>
                    </a:cubicBezTo>
                    <a:close/>
                  </a:path>
                </a:pathLst>
              </a:custGeom>
              <a:grpFill/>
              <a:ln w="5978" cap="flat">
                <a:noFill/>
                <a:prstDash val="solid"/>
                <a:miter/>
              </a:ln>
            </p:spPr>
            <p:txBody>
              <a:bodyPr rtlCol="0" anchor="ctr"/>
              <a:lstStyle/>
              <a:p>
                <a:endParaRPr lang="en-GB"/>
              </a:p>
            </p:txBody>
          </p:sp>
        </p:grpSp>
        <p:grpSp>
          <p:nvGrpSpPr>
            <p:cNvPr id="681" name="Graphic 3">
              <a:extLst>
                <a:ext uri="{FF2B5EF4-FFF2-40B4-BE49-F238E27FC236}">
                  <a16:creationId xmlns:a16="http://schemas.microsoft.com/office/drawing/2014/main" id="{229C3D9A-5920-4A64-A742-D8E6501753F9}"/>
                </a:ext>
              </a:extLst>
            </p:cNvPr>
            <p:cNvGrpSpPr/>
            <p:nvPr/>
          </p:nvGrpSpPr>
          <p:grpSpPr>
            <a:xfrm>
              <a:off x="5356470" y="1361315"/>
              <a:ext cx="57841" cy="135823"/>
              <a:chOff x="5356470" y="1361315"/>
              <a:chExt cx="57841" cy="135823"/>
            </a:xfrm>
            <a:grpFill/>
          </p:grpSpPr>
          <p:sp>
            <p:nvSpPr>
              <p:cNvPr id="3346" name="Vrije vorm: vorm 3345">
                <a:extLst>
                  <a:ext uri="{FF2B5EF4-FFF2-40B4-BE49-F238E27FC236}">
                    <a16:creationId xmlns:a16="http://schemas.microsoft.com/office/drawing/2014/main" id="{99FB6213-692A-49CB-8E84-3E6C7A6CCED0}"/>
                  </a:ext>
                </a:extLst>
              </p:cNvPr>
              <p:cNvSpPr/>
              <p:nvPr/>
            </p:nvSpPr>
            <p:spPr>
              <a:xfrm>
                <a:off x="5364285" y="1369542"/>
                <a:ext cx="42725" cy="119206"/>
              </a:xfrm>
              <a:custGeom>
                <a:avLst/>
                <a:gdLst>
                  <a:gd name="connsiteX0" fmla="*/ 0 w 42725"/>
                  <a:gd name="connsiteY0" fmla="*/ 974 h 119206"/>
                  <a:gd name="connsiteX1" fmla="*/ 2891 w 42725"/>
                  <a:gd name="connsiteY1" fmla="*/ 0 h 119206"/>
                  <a:gd name="connsiteX2" fmla="*/ 42726 w 42725"/>
                  <a:gd name="connsiteY2" fmla="*/ 118233 h 119206"/>
                  <a:gd name="connsiteX3" fmla="*/ 39835 w 42725"/>
                  <a:gd name="connsiteY3" fmla="*/ 119207 h 119206"/>
                </a:gdLst>
                <a:ahLst/>
                <a:cxnLst>
                  <a:cxn ang="0">
                    <a:pos x="connsiteX0" y="connsiteY0"/>
                  </a:cxn>
                  <a:cxn ang="0">
                    <a:pos x="connsiteX1" y="connsiteY1"/>
                  </a:cxn>
                  <a:cxn ang="0">
                    <a:pos x="connsiteX2" y="connsiteY2"/>
                  </a:cxn>
                  <a:cxn ang="0">
                    <a:pos x="connsiteX3" y="connsiteY3"/>
                  </a:cxn>
                </a:cxnLst>
                <a:rect l="l" t="t" r="r" b="b"/>
                <a:pathLst>
                  <a:path w="42725" h="119206">
                    <a:moveTo>
                      <a:pt x="0" y="974"/>
                    </a:moveTo>
                    <a:lnTo>
                      <a:pt x="2891" y="0"/>
                    </a:lnTo>
                    <a:lnTo>
                      <a:pt x="42726" y="118233"/>
                    </a:lnTo>
                    <a:lnTo>
                      <a:pt x="39835" y="119207"/>
                    </a:lnTo>
                    <a:close/>
                  </a:path>
                </a:pathLst>
              </a:custGeom>
              <a:grpFill/>
              <a:ln w="5978" cap="flat">
                <a:noFill/>
                <a:prstDash val="solid"/>
                <a:miter/>
              </a:ln>
            </p:spPr>
            <p:txBody>
              <a:bodyPr rtlCol="0" anchor="ctr"/>
              <a:lstStyle/>
              <a:p>
                <a:endParaRPr lang="en-GB"/>
              </a:p>
            </p:txBody>
          </p:sp>
          <p:sp>
            <p:nvSpPr>
              <p:cNvPr id="3347" name="Vrije vorm: vorm 3346">
                <a:extLst>
                  <a:ext uri="{FF2B5EF4-FFF2-40B4-BE49-F238E27FC236}">
                    <a16:creationId xmlns:a16="http://schemas.microsoft.com/office/drawing/2014/main" id="{57B81943-464E-49CE-90BD-1A941EE253A1}"/>
                  </a:ext>
                </a:extLst>
              </p:cNvPr>
              <p:cNvSpPr/>
              <p:nvPr/>
            </p:nvSpPr>
            <p:spPr>
              <a:xfrm>
                <a:off x="5356470" y="1361315"/>
                <a:ext cx="18308" cy="18444"/>
              </a:xfrm>
              <a:custGeom>
                <a:avLst/>
                <a:gdLst>
                  <a:gd name="connsiteX0" fmla="*/ 482 w 18308"/>
                  <a:gd name="connsiteY0" fmla="*/ 12138 h 18444"/>
                  <a:gd name="connsiteX1" fmla="*/ 6224 w 18308"/>
                  <a:gd name="connsiteY1" fmla="*/ 476 h 18444"/>
                  <a:gd name="connsiteX2" fmla="*/ 17827 w 18308"/>
                  <a:gd name="connsiteY2" fmla="*/ 6277 h 18444"/>
                  <a:gd name="connsiteX3" fmla="*/ 12085 w 18308"/>
                  <a:gd name="connsiteY3" fmla="*/ 17940 h 18444"/>
                  <a:gd name="connsiteX4" fmla="*/ 482 w 18308"/>
                  <a:gd name="connsiteY4" fmla="*/ 1213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4">
                    <a:moveTo>
                      <a:pt x="482" y="12138"/>
                    </a:moveTo>
                    <a:cubicBezTo>
                      <a:pt x="-1132" y="7294"/>
                      <a:pt x="1439" y="2091"/>
                      <a:pt x="6224" y="476"/>
                    </a:cubicBezTo>
                    <a:cubicBezTo>
                      <a:pt x="11009" y="-1139"/>
                      <a:pt x="16212" y="1493"/>
                      <a:pt x="17827" y="6277"/>
                    </a:cubicBezTo>
                    <a:cubicBezTo>
                      <a:pt x="19441" y="11122"/>
                      <a:pt x="16870" y="16325"/>
                      <a:pt x="12085" y="17940"/>
                    </a:cubicBezTo>
                    <a:cubicBezTo>
                      <a:pt x="7360" y="19614"/>
                      <a:pt x="2157" y="16983"/>
                      <a:pt x="482" y="12138"/>
                    </a:cubicBezTo>
                    <a:close/>
                  </a:path>
                </a:pathLst>
              </a:custGeom>
              <a:grpFill/>
              <a:ln w="5978" cap="flat">
                <a:noFill/>
                <a:prstDash val="solid"/>
                <a:miter/>
              </a:ln>
            </p:spPr>
            <p:txBody>
              <a:bodyPr rtlCol="0" anchor="ctr"/>
              <a:lstStyle/>
              <a:p>
                <a:endParaRPr lang="en-GB"/>
              </a:p>
            </p:txBody>
          </p:sp>
          <p:sp>
            <p:nvSpPr>
              <p:cNvPr id="3348" name="Vrije vorm: vorm 3347">
                <a:extLst>
                  <a:ext uri="{FF2B5EF4-FFF2-40B4-BE49-F238E27FC236}">
                    <a16:creationId xmlns:a16="http://schemas.microsoft.com/office/drawing/2014/main" id="{0FB64639-D719-49BF-8B47-3D899AD784AD}"/>
                  </a:ext>
                </a:extLst>
              </p:cNvPr>
              <p:cNvSpPr/>
              <p:nvPr/>
            </p:nvSpPr>
            <p:spPr>
              <a:xfrm>
                <a:off x="5396002" y="1478710"/>
                <a:ext cx="18308" cy="18427"/>
              </a:xfrm>
              <a:custGeom>
                <a:avLst/>
                <a:gdLst>
                  <a:gd name="connsiteX0" fmla="*/ 482 w 18308"/>
                  <a:gd name="connsiteY0" fmla="*/ 12144 h 18427"/>
                  <a:gd name="connsiteX1" fmla="*/ 12085 w 18308"/>
                  <a:gd name="connsiteY1" fmla="*/ 17946 h 18427"/>
                  <a:gd name="connsiteX2" fmla="*/ 17826 w 18308"/>
                  <a:gd name="connsiteY2" fmla="*/ 6283 h 18427"/>
                  <a:gd name="connsiteX3" fmla="*/ 6224 w 18308"/>
                  <a:gd name="connsiteY3" fmla="*/ 482 h 18427"/>
                  <a:gd name="connsiteX4" fmla="*/ 482 w 18308"/>
                  <a:gd name="connsiteY4" fmla="*/ 12144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482" y="12144"/>
                    </a:moveTo>
                    <a:cubicBezTo>
                      <a:pt x="2097" y="16989"/>
                      <a:pt x="7300" y="19560"/>
                      <a:pt x="12085" y="17946"/>
                    </a:cubicBezTo>
                    <a:cubicBezTo>
                      <a:pt x="16869" y="16331"/>
                      <a:pt x="19441" y="11128"/>
                      <a:pt x="17826" y="6283"/>
                    </a:cubicBezTo>
                    <a:cubicBezTo>
                      <a:pt x="16212" y="1439"/>
                      <a:pt x="11008" y="-1133"/>
                      <a:pt x="6224" y="482"/>
                    </a:cubicBezTo>
                    <a:cubicBezTo>
                      <a:pt x="1439" y="2097"/>
                      <a:pt x="-1132" y="7300"/>
                      <a:pt x="482" y="12144"/>
                    </a:cubicBezTo>
                    <a:close/>
                  </a:path>
                </a:pathLst>
              </a:custGeom>
              <a:grpFill/>
              <a:ln w="5978" cap="flat">
                <a:noFill/>
                <a:prstDash val="solid"/>
                <a:miter/>
              </a:ln>
            </p:spPr>
            <p:txBody>
              <a:bodyPr rtlCol="0" anchor="ctr"/>
              <a:lstStyle/>
              <a:p>
                <a:endParaRPr lang="en-GB"/>
              </a:p>
            </p:txBody>
          </p:sp>
        </p:grpSp>
        <p:grpSp>
          <p:nvGrpSpPr>
            <p:cNvPr id="682" name="Graphic 3">
              <a:extLst>
                <a:ext uri="{FF2B5EF4-FFF2-40B4-BE49-F238E27FC236}">
                  <a16:creationId xmlns:a16="http://schemas.microsoft.com/office/drawing/2014/main" id="{7A174677-3FCC-4D8D-AFA8-BF50C5B5A109}"/>
                </a:ext>
              </a:extLst>
            </p:cNvPr>
            <p:cNvGrpSpPr/>
            <p:nvPr/>
          </p:nvGrpSpPr>
          <p:grpSpPr>
            <a:xfrm>
              <a:off x="6675852" y="5336191"/>
              <a:ext cx="57058" cy="137074"/>
              <a:chOff x="6675852" y="5336191"/>
              <a:chExt cx="57058" cy="137074"/>
            </a:xfrm>
            <a:grpFill/>
          </p:grpSpPr>
          <p:sp>
            <p:nvSpPr>
              <p:cNvPr id="3343" name="Vrije vorm: vorm 3342">
                <a:extLst>
                  <a:ext uri="{FF2B5EF4-FFF2-40B4-BE49-F238E27FC236}">
                    <a16:creationId xmlns:a16="http://schemas.microsoft.com/office/drawing/2014/main" id="{CE1463F4-654C-44ED-B054-11D25076A4B6}"/>
                  </a:ext>
                </a:extLst>
              </p:cNvPr>
              <p:cNvSpPr/>
              <p:nvPr/>
            </p:nvSpPr>
            <p:spPr>
              <a:xfrm>
                <a:off x="6683697" y="5344304"/>
                <a:ext cx="41952" cy="120508"/>
              </a:xfrm>
              <a:custGeom>
                <a:avLst/>
                <a:gdLst>
                  <a:gd name="connsiteX0" fmla="*/ 0 w 41952"/>
                  <a:gd name="connsiteY0" fmla="*/ 947 h 120508"/>
                  <a:gd name="connsiteX1" fmla="*/ 2899 w 41952"/>
                  <a:gd name="connsiteY1" fmla="*/ 0 h 120508"/>
                  <a:gd name="connsiteX2" fmla="*/ 41952 w 41952"/>
                  <a:gd name="connsiteY2" fmla="*/ 119561 h 120508"/>
                  <a:gd name="connsiteX3" fmla="*/ 39053 w 41952"/>
                  <a:gd name="connsiteY3" fmla="*/ 120508 h 120508"/>
                </a:gdLst>
                <a:ahLst/>
                <a:cxnLst>
                  <a:cxn ang="0">
                    <a:pos x="connsiteX0" y="connsiteY0"/>
                  </a:cxn>
                  <a:cxn ang="0">
                    <a:pos x="connsiteX1" y="connsiteY1"/>
                  </a:cxn>
                  <a:cxn ang="0">
                    <a:pos x="connsiteX2" y="connsiteY2"/>
                  </a:cxn>
                  <a:cxn ang="0">
                    <a:pos x="connsiteX3" y="connsiteY3"/>
                  </a:cxn>
                </a:cxnLst>
                <a:rect l="l" t="t" r="r" b="b"/>
                <a:pathLst>
                  <a:path w="41952" h="120508">
                    <a:moveTo>
                      <a:pt x="0" y="947"/>
                    </a:moveTo>
                    <a:lnTo>
                      <a:pt x="2899" y="0"/>
                    </a:lnTo>
                    <a:lnTo>
                      <a:pt x="41952" y="119561"/>
                    </a:lnTo>
                    <a:lnTo>
                      <a:pt x="39053" y="120508"/>
                    </a:lnTo>
                    <a:close/>
                  </a:path>
                </a:pathLst>
              </a:custGeom>
              <a:grpFill/>
              <a:ln w="5978" cap="flat">
                <a:noFill/>
                <a:prstDash val="solid"/>
                <a:miter/>
              </a:ln>
            </p:spPr>
            <p:txBody>
              <a:bodyPr rtlCol="0" anchor="ctr"/>
              <a:lstStyle/>
              <a:p>
                <a:endParaRPr lang="en-GB"/>
              </a:p>
            </p:txBody>
          </p:sp>
          <p:sp>
            <p:nvSpPr>
              <p:cNvPr id="3344" name="Vrije vorm: vorm 3343">
                <a:extLst>
                  <a:ext uri="{FF2B5EF4-FFF2-40B4-BE49-F238E27FC236}">
                    <a16:creationId xmlns:a16="http://schemas.microsoft.com/office/drawing/2014/main" id="{E92F4BD2-B3A3-4FC7-98D8-011DF6819FCB}"/>
                  </a:ext>
                </a:extLst>
              </p:cNvPr>
              <p:cNvSpPr/>
              <p:nvPr/>
            </p:nvSpPr>
            <p:spPr>
              <a:xfrm>
                <a:off x="6714602" y="5454848"/>
                <a:ext cx="18309" cy="18416"/>
              </a:xfrm>
              <a:custGeom>
                <a:avLst/>
                <a:gdLst>
                  <a:gd name="connsiteX0" fmla="*/ 17856 w 18309"/>
                  <a:gd name="connsiteY0" fmla="*/ 6368 h 18416"/>
                  <a:gd name="connsiteX1" fmla="*/ 11995 w 18309"/>
                  <a:gd name="connsiteY1" fmla="*/ 17970 h 18416"/>
                  <a:gd name="connsiteX2" fmla="*/ 453 w 18309"/>
                  <a:gd name="connsiteY2" fmla="*/ 12049 h 18416"/>
                  <a:gd name="connsiteX3" fmla="*/ 6314 w 18309"/>
                  <a:gd name="connsiteY3" fmla="*/ 447 h 18416"/>
                  <a:gd name="connsiteX4" fmla="*/ 17856 w 18309"/>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16">
                    <a:moveTo>
                      <a:pt x="17856" y="6368"/>
                    </a:moveTo>
                    <a:cubicBezTo>
                      <a:pt x="19412" y="11212"/>
                      <a:pt x="16840" y="16415"/>
                      <a:pt x="11995" y="17970"/>
                    </a:cubicBezTo>
                    <a:cubicBezTo>
                      <a:pt x="7211" y="19525"/>
                      <a:pt x="2008" y="16894"/>
                      <a:pt x="453" y="12049"/>
                    </a:cubicBezTo>
                    <a:cubicBezTo>
                      <a:pt x="-1102" y="7205"/>
                      <a:pt x="1469" y="2002"/>
                      <a:pt x="6314" y="447"/>
                    </a:cubicBezTo>
                    <a:cubicBezTo>
                      <a:pt x="11098" y="-1108"/>
                      <a:pt x="16242" y="1523"/>
                      <a:pt x="17856" y="6368"/>
                    </a:cubicBezTo>
                    <a:close/>
                  </a:path>
                </a:pathLst>
              </a:custGeom>
              <a:grpFill/>
              <a:ln w="5978" cap="flat">
                <a:noFill/>
                <a:prstDash val="solid"/>
                <a:miter/>
              </a:ln>
            </p:spPr>
            <p:txBody>
              <a:bodyPr rtlCol="0" anchor="ctr"/>
              <a:lstStyle/>
              <a:p>
                <a:endParaRPr lang="en-GB"/>
              </a:p>
            </p:txBody>
          </p:sp>
          <p:sp>
            <p:nvSpPr>
              <p:cNvPr id="3345" name="Vrije vorm: vorm 3344">
                <a:extLst>
                  <a:ext uri="{FF2B5EF4-FFF2-40B4-BE49-F238E27FC236}">
                    <a16:creationId xmlns:a16="http://schemas.microsoft.com/office/drawing/2014/main" id="{387CB7A1-0D92-4686-B194-68B7335509F3}"/>
                  </a:ext>
                </a:extLst>
              </p:cNvPr>
              <p:cNvSpPr/>
              <p:nvPr/>
            </p:nvSpPr>
            <p:spPr>
              <a:xfrm>
                <a:off x="6675852" y="5336191"/>
                <a:ext cx="18298" cy="18416"/>
              </a:xfrm>
              <a:custGeom>
                <a:avLst/>
                <a:gdLst>
                  <a:gd name="connsiteX0" fmla="*/ 17851 w 18298"/>
                  <a:gd name="connsiteY0" fmla="*/ 6368 h 18416"/>
                  <a:gd name="connsiteX1" fmla="*/ 6308 w 18298"/>
                  <a:gd name="connsiteY1" fmla="*/ 447 h 18416"/>
                  <a:gd name="connsiteX2" fmla="*/ 447 w 18298"/>
                  <a:gd name="connsiteY2" fmla="*/ 12049 h 18416"/>
                  <a:gd name="connsiteX3" fmla="*/ 11990 w 18298"/>
                  <a:gd name="connsiteY3" fmla="*/ 17970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6296" y="1523"/>
                      <a:pt x="11093" y="-1108"/>
                      <a:pt x="6308" y="447"/>
                    </a:cubicBezTo>
                    <a:cubicBezTo>
                      <a:pt x="1524" y="2002"/>
                      <a:pt x="-1108" y="7205"/>
                      <a:pt x="447" y="12049"/>
                    </a:cubicBezTo>
                    <a:cubicBezTo>
                      <a:pt x="2002" y="16894"/>
                      <a:pt x="7205" y="19525"/>
                      <a:pt x="11990" y="17970"/>
                    </a:cubicBezTo>
                    <a:cubicBezTo>
                      <a:pt x="16775" y="16415"/>
                      <a:pt x="19406" y="11212"/>
                      <a:pt x="17851" y="6368"/>
                    </a:cubicBezTo>
                    <a:close/>
                  </a:path>
                </a:pathLst>
              </a:custGeom>
              <a:grpFill/>
              <a:ln w="5978" cap="flat">
                <a:noFill/>
                <a:prstDash val="solid"/>
                <a:miter/>
              </a:ln>
            </p:spPr>
            <p:txBody>
              <a:bodyPr rtlCol="0" anchor="ctr"/>
              <a:lstStyle/>
              <a:p>
                <a:endParaRPr lang="en-GB"/>
              </a:p>
            </p:txBody>
          </p:sp>
        </p:grpSp>
        <p:grpSp>
          <p:nvGrpSpPr>
            <p:cNvPr id="683" name="Graphic 3">
              <a:extLst>
                <a:ext uri="{FF2B5EF4-FFF2-40B4-BE49-F238E27FC236}">
                  <a16:creationId xmlns:a16="http://schemas.microsoft.com/office/drawing/2014/main" id="{D35D5B9D-1F53-4A2C-B166-8A0933691073}"/>
                </a:ext>
              </a:extLst>
            </p:cNvPr>
            <p:cNvGrpSpPr/>
            <p:nvPr/>
          </p:nvGrpSpPr>
          <p:grpSpPr>
            <a:xfrm>
              <a:off x="6615327" y="5150908"/>
              <a:ext cx="73087" cy="186176"/>
              <a:chOff x="6615327" y="5150908"/>
              <a:chExt cx="73087" cy="186176"/>
            </a:xfrm>
            <a:grpFill/>
          </p:grpSpPr>
          <p:sp>
            <p:nvSpPr>
              <p:cNvPr id="3340" name="Vrije vorm: vorm 3339">
                <a:extLst>
                  <a:ext uri="{FF2B5EF4-FFF2-40B4-BE49-F238E27FC236}">
                    <a16:creationId xmlns:a16="http://schemas.microsoft.com/office/drawing/2014/main" id="{4DF5F7AE-980F-4E1A-AF4A-678489CD64A1}"/>
                  </a:ext>
                </a:extLst>
              </p:cNvPr>
              <p:cNvSpPr/>
              <p:nvPr/>
            </p:nvSpPr>
            <p:spPr>
              <a:xfrm>
                <a:off x="6623038" y="5159321"/>
                <a:ext cx="57997" cy="169629"/>
              </a:xfrm>
              <a:custGeom>
                <a:avLst/>
                <a:gdLst>
                  <a:gd name="connsiteX0" fmla="*/ 0 w 57997"/>
                  <a:gd name="connsiteY0" fmla="*/ 947 h 169629"/>
                  <a:gd name="connsiteX1" fmla="*/ 2900 w 57997"/>
                  <a:gd name="connsiteY1" fmla="*/ 0 h 169629"/>
                  <a:gd name="connsiteX2" fmla="*/ 57997 w 57997"/>
                  <a:gd name="connsiteY2" fmla="*/ 168682 h 169629"/>
                  <a:gd name="connsiteX3" fmla="*/ 55098 w 57997"/>
                  <a:gd name="connsiteY3" fmla="*/ 169629 h 169629"/>
                </a:gdLst>
                <a:ahLst/>
                <a:cxnLst>
                  <a:cxn ang="0">
                    <a:pos x="connsiteX0" y="connsiteY0"/>
                  </a:cxn>
                  <a:cxn ang="0">
                    <a:pos x="connsiteX1" y="connsiteY1"/>
                  </a:cxn>
                  <a:cxn ang="0">
                    <a:pos x="connsiteX2" y="connsiteY2"/>
                  </a:cxn>
                  <a:cxn ang="0">
                    <a:pos x="connsiteX3" y="connsiteY3"/>
                  </a:cxn>
                </a:cxnLst>
                <a:rect l="l" t="t" r="r" b="b"/>
                <a:pathLst>
                  <a:path w="57997" h="169629">
                    <a:moveTo>
                      <a:pt x="0" y="947"/>
                    </a:moveTo>
                    <a:lnTo>
                      <a:pt x="2900" y="0"/>
                    </a:lnTo>
                    <a:lnTo>
                      <a:pt x="57997" y="168682"/>
                    </a:lnTo>
                    <a:lnTo>
                      <a:pt x="55098" y="169629"/>
                    </a:lnTo>
                    <a:close/>
                  </a:path>
                </a:pathLst>
              </a:custGeom>
              <a:grpFill/>
              <a:ln w="5978" cap="flat">
                <a:noFill/>
                <a:prstDash val="solid"/>
                <a:miter/>
              </a:ln>
            </p:spPr>
            <p:txBody>
              <a:bodyPr rtlCol="0" anchor="ctr"/>
              <a:lstStyle/>
              <a:p>
                <a:endParaRPr lang="en-GB"/>
              </a:p>
            </p:txBody>
          </p:sp>
          <p:sp>
            <p:nvSpPr>
              <p:cNvPr id="3341" name="Vrije vorm: vorm 3340">
                <a:extLst>
                  <a:ext uri="{FF2B5EF4-FFF2-40B4-BE49-F238E27FC236}">
                    <a16:creationId xmlns:a16="http://schemas.microsoft.com/office/drawing/2014/main" id="{E75E75A7-0260-4E65-AFCF-A78527194D53}"/>
                  </a:ext>
                </a:extLst>
              </p:cNvPr>
              <p:cNvSpPr/>
              <p:nvPr/>
            </p:nvSpPr>
            <p:spPr>
              <a:xfrm>
                <a:off x="6670105" y="5318667"/>
                <a:ext cx="18309" cy="18416"/>
              </a:xfrm>
              <a:custGeom>
                <a:avLst/>
                <a:gdLst>
                  <a:gd name="connsiteX0" fmla="*/ 17856 w 18309"/>
                  <a:gd name="connsiteY0" fmla="*/ 6368 h 18416"/>
                  <a:gd name="connsiteX1" fmla="*/ 11995 w 18309"/>
                  <a:gd name="connsiteY1" fmla="*/ 17970 h 18416"/>
                  <a:gd name="connsiteX2" fmla="*/ 453 w 18309"/>
                  <a:gd name="connsiteY2" fmla="*/ 12049 h 18416"/>
                  <a:gd name="connsiteX3" fmla="*/ 6314 w 18309"/>
                  <a:gd name="connsiteY3" fmla="*/ 447 h 18416"/>
                  <a:gd name="connsiteX4" fmla="*/ 17856 w 18309"/>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16">
                    <a:moveTo>
                      <a:pt x="17856" y="6368"/>
                    </a:moveTo>
                    <a:cubicBezTo>
                      <a:pt x="19412" y="11212"/>
                      <a:pt x="16840" y="16416"/>
                      <a:pt x="11995" y="17970"/>
                    </a:cubicBezTo>
                    <a:cubicBezTo>
                      <a:pt x="7211" y="19525"/>
                      <a:pt x="2008" y="16894"/>
                      <a:pt x="453" y="12049"/>
                    </a:cubicBezTo>
                    <a:cubicBezTo>
                      <a:pt x="-1102" y="7205"/>
                      <a:pt x="1469" y="2002"/>
                      <a:pt x="6314" y="447"/>
                    </a:cubicBezTo>
                    <a:cubicBezTo>
                      <a:pt x="11098" y="-1108"/>
                      <a:pt x="16301" y="1523"/>
                      <a:pt x="17856" y="6368"/>
                    </a:cubicBezTo>
                    <a:close/>
                  </a:path>
                </a:pathLst>
              </a:custGeom>
              <a:grpFill/>
              <a:ln w="5978" cap="flat">
                <a:noFill/>
                <a:prstDash val="solid"/>
                <a:miter/>
              </a:ln>
            </p:spPr>
            <p:txBody>
              <a:bodyPr rtlCol="0" anchor="ctr"/>
              <a:lstStyle/>
              <a:p>
                <a:endParaRPr lang="en-GB"/>
              </a:p>
            </p:txBody>
          </p:sp>
          <p:sp>
            <p:nvSpPr>
              <p:cNvPr id="3342" name="Vrije vorm: vorm 3341">
                <a:extLst>
                  <a:ext uri="{FF2B5EF4-FFF2-40B4-BE49-F238E27FC236}">
                    <a16:creationId xmlns:a16="http://schemas.microsoft.com/office/drawing/2014/main" id="{A21FCE64-2251-44FE-8EF4-8CA06585F077}"/>
                  </a:ext>
                </a:extLst>
              </p:cNvPr>
              <p:cNvSpPr/>
              <p:nvPr/>
            </p:nvSpPr>
            <p:spPr>
              <a:xfrm>
                <a:off x="6615327" y="5150908"/>
                <a:ext cx="18298" cy="18416"/>
              </a:xfrm>
              <a:custGeom>
                <a:avLst/>
                <a:gdLst>
                  <a:gd name="connsiteX0" fmla="*/ 17851 w 18298"/>
                  <a:gd name="connsiteY0" fmla="*/ 6368 h 18416"/>
                  <a:gd name="connsiteX1" fmla="*/ 6309 w 18298"/>
                  <a:gd name="connsiteY1" fmla="*/ 447 h 18416"/>
                  <a:gd name="connsiteX2" fmla="*/ 447 w 18298"/>
                  <a:gd name="connsiteY2" fmla="*/ 12049 h 18416"/>
                  <a:gd name="connsiteX3" fmla="*/ 11990 w 18298"/>
                  <a:gd name="connsiteY3" fmla="*/ 17970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6296" y="1523"/>
                      <a:pt x="11093" y="-1108"/>
                      <a:pt x="6309" y="447"/>
                    </a:cubicBezTo>
                    <a:cubicBezTo>
                      <a:pt x="1524" y="2002"/>
                      <a:pt x="-1108" y="7205"/>
                      <a:pt x="447" y="12049"/>
                    </a:cubicBezTo>
                    <a:cubicBezTo>
                      <a:pt x="2002" y="16894"/>
                      <a:pt x="7205" y="19525"/>
                      <a:pt x="11990" y="17970"/>
                    </a:cubicBezTo>
                    <a:cubicBezTo>
                      <a:pt x="16775" y="16356"/>
                      <a:pt x="19406" y="11212"/>
                      <a:pt x="17851" y="6368"/>
                    </a:cubicBezTo>
                    <a:close/>
                  </a:path>
                </a:pathLst>
              </a:custGeom>
              <a:grpFill/>
              <a:ln w="5978" cap="flat">
                <a:noFill/>
                <a:prstDash val="solid"/>
                <a:miter/>
              </a:ln>
            </p:spPr>
            <p:txBody>
              <a:bodyPr rtlCol="0" anchor="ctr"/>
              <a:lstStyle/>
              <a:p>
                <a:endParaRPr lang="en-GB"/>
              </a:p>
            </p:txBody>
          </p:sp>
        </p:grpSp>
        <p:grpSp>
          <p:nvGrpSpPr>
            <p:cNvPr id="684" name="Graphic 3">
              <a:extLst>
                <a:ext uri="{FF2B5EF4-FFF2-40B4-BE49-F238E27FC236}">
                  <a16:creationId xmlns:a16="http://schemas.microsoft.com/office/drawing/2014/main" id="{02F50096-7049-4D9C-98BB-A32BE1C11C60}"/>
                </a:ext>
              </a:extLst>
            </p:cNvPr>
            <p:cNvGrpSpPr/>
            <p:nvPr/>
          </p:nvGrpSpPr>
          <p:grpSpPr>
            <a:xfrm>
              <a:off x="6568618" y="5007849"/>
              <a:ext cx="59271" cy="143952"/>
              <a:chOff x="6568618" y="5007849"/>
              <a:chExt cx="59271" cy="143952"/>
            </a:xfrm>
            <a:grpFill/>
          </p:grpSpPr>
          <p:sp>
            <p:nvSpPr>
              <p:cNvPr id="3337" name="Vrije vorm: vorm 3336">
                <a:extLst>
                  <a:ext uri="{FF2B5EF4-FFF2-40B4-BE49-F238E27FC236}">
                    <a16:creationId xmlns:a16="http://schemas.microsoft.com/office/drawing/2014/main" id="{106E6ACD-F1D5-4F5B-A406-565E58F8BDD4}"/>
                  </a:ext>
                </a:extLst>
              </p:cNvPr>
              <p:cNvSpPr/>
              <p:nvPr/>
            </p:nvSpPr>
            <p:spPr>
              <a:xfrm>
                <a:off x="6576383" y="5016048"/>
                <a:ext cx="44180" cy="127330"/>
              </a:xfrm>
              <a:custGeom>
                <a:avLst/>
                <a:gdLst>
                  <a:gd name="connsiteX0" fmla="*/ 0 w 44180"/>
                  <a:gd name="connsiteY0" fmla="*/ 947 h 127330"/>
                  <a:gd name="connsiteX1" fmla="*/ 2899 w 44180"/>
                  <a:gd name="connsiteY1" fmla="*/ 0 h 127330"/>
                  <a:gd name="connsiteX2" fmla="*/ 44181 w 44180"/>
                  <a:gd name="connsiteY2" fmla="*/ 126383 h 127330"/>
                  <a:gd name="connsiteX3" fmla="*/ 41281 w 44180"/>
                  <a:gd name="connsiteY3" fmla="*/ 127331 h 127330"/>
                </a:gdLst>
                <a:ahLst/>
                <a:cxnLst>
                  <a:cxn ang="0">
                    <a:pos x="connsiteX0" y="connsiteY0"/>
                  </a:cxn>
                  <a:cxn ang="0">
                    <a:pos x="connsiteX1" y="connsiteY1"/>
                  </a:cxn>
                  <a:cxn ang="0">
                    <a:pos x="connsiteX2" y="connsiteY2"/>
                  </a:cxn>
                  <a:cxn ang="0">
                    <a:pos x="connsiteX3" y="connsiteY3"/>
                  </a:cxn>
                </a:cxnLst>
                <a:rect l="l" t="t" r="r" b="b"/>
                <a:pathLst>
                  <a:path w="44180" h="127330">
                    <a:moveTo>
                      <a:pt x="0" y="947"/>
                    </a:moveTo>
                    <a:lnTo>
                      <a:pt x="2899" y="0"/>
                    </a:lnTo>
                    <a:lnTo>
                      <a:pt x="44181" y="126383"/>
                    </a:lnTo>
                    <a:lnTo>
                      <a:pt x="41281" y="127331"/>
                    </a:lnTo>
                    <a:close/>
                  </a:path>
                </a:pathLst>
              </a:custGeom>
              <a:grpFill/>
              <a:ln w="5978" cap="flat">
                <a:noFill/>
                <a:prstDash val="solid"/>
                <a:miter/>
              </a:ln>
            </p:spPr>
            <p:txBody>
              <a:bodyPr rtlCol="0" anchor="ctr"/>
              <a:lstStyle/>
              <a:p>
                <a:endParaRPr lang="en-GB"/>
              </a:p>
            </p:txBody>
          </p:sp>
          <p:sp>
            <p:nvSpPr>
              <p:cNvPr id="3338" name="Vrije vorm: vorm 3337">
                <a:extLst>
                  <a:ext uri="{FF2B5EF4-FFF2-40B4-BE49-F238E27FC236}">
                    <a16:creationId xmlns:a16="http://schemas.microsoft.com/office/drawing/2014/main" id="{12807938-C1E9-4C53-95AA-86D0FE1A93B0}"/>
                  </a:ext>
                </a:extLst>
              </p:cNvPr>
              <p:cNvSpPr/>
              <p:nvPr/>
            </p:nvSpPr>
            <p:spPr>
              <a:xfrm>
                <a:off x="6609580" y="5133362"/>
                <a:ext cx="18309" cy="18439"/>
              </a:xfrm>
              <a:custGeom>
                <a:avLst/>
                <a:gdLst>
                  <a:gd name="connsiteX0" fmla="*/ 17856 w 18309"/>
                  <a:gd name="connsiteY0" fmla="*/ 6390 h 18439"/>
                  <a:gd name="connsiteX1" fmla="*/ 11995 w 18309"/>
                  <a:gd name="connsiteY1" fmla="*/ 17993 h 18439"/>
                  <a:gd name="connsiteX2" fmla="*/ 453 w 18309"/>
                  <a:gd name="connsiteY2" fmla="*/ 12072 h 18439"/>
                  <a:gd name="connsiteX3" fmla="*/ 6314 w 18309"/>
                  <a:gd name="connsiteY3" fmla="*/ 470 h 18439"/>
                  <a:gd name="connsiteX4" fmla="*/ 17856 w 18309"/>
                  <a:gd name="connsiteY4" fmla="*/ 639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9">
                    <a:moveTo>
                      <a:pt x="17856" y="6390"/>
                    </a:moveTo>
                    <a:cubicBezTo>
                      <a:pt x="19412" y="11235"/>
                      <a:pt x="16840" y="16438"/>
                      <a:pt x="11995" y="17993"/>
                    </a:cubicBezTo>
                    <a:cubicBezTo>
                      <a:pt x="7211" y="19548"/>
                      <a:pt x="2008" y="16916"/>
                      <a:pt x="453" y="12072"/>
                    </a:cubicBezTo>
                    <a:cubicBezTo>
                      <a:pt x="-1102" y="7228"/>
                      <a:pt x="1469" y="2025"/>
                      <a:pt x="6314" y="470"/>
                    </a:cubicBezTo>
                    <a:cubicBezTo>
                      <a:pt x="11098" y="-1145"/>
                      <a:pt x="16242" y="1546"/>
                      <a:pt x="17856" y="6390"/>
                    </a:cubicBezTo>
                    <a:close/>
                  </a:path>
                </a:pathLst>
              </a:custGeom>
              <a:grpFill/>
              <a:ln w="5978" cap="flat">
                <a:noFill/>
                <a:prstDash val="solid"/>
                <a:miter/>
              </a:ln>
            </p:spPr>
            <p:txBody>
              <a:bodyPr rtlCol="0" anchor="ctr"/>
              <a:lstStyle/>
              <a:p>
                <a:endParaRPr lang="en-GB"/>
              </a:p>
            </p:txBody>
          </p:sp>
          <p:sp>
            <p:nvSpPr>
              <p:cNvPr id="3339" name="Vrije vorm: vorm 3338">
                <a:extLst>
                  <a:ext uri="{FF2B5EF4-FFF2-40B4-BE49-F238E27FC236}">
                    <a16:creationId xmlns:a16="http://schemas.microsoft.com/office/drawing/2014/main" id="{0E5C930B-9F2D-4970-8A10-8BF1AE375258}"/>
                  </a:ext>
                </a:extLst>
              </p:cNvPr>
              <p:cNvSpPr/>
              <p:nvPr/>
            </p:nvSpPr>
            <p:spPr>
              <a:xfrm>
                <a:off x="6568618" y="5007849"/>
                <a:ext cx="18298" cy="18416"/>
              </a:xfrm>
              <a:custGeom>
                <a:avLst/>
                <a:gdLst>
                  <a:gd name="connsiteX0" fmla="*/ 17851 w 18298"/>
                  <a:gd name="connsiteY0" fmla="*/ 6368 h 18416"/>
                  <a:gd name="connsiteX1" fmla="*/ 6309 w 18298"/>
                  <a:gd name="connsiteY1" fmla="*/ 447 h 18416"/>
                  <a:gd name="connsiteX2" fmla="*/ 447 w 18298"/>
                  <a:gd name="connsiteY2" fmla="*/ 12049 h 18416"/>
                  <a:gd name="connsiteX3" fmla="*/ 11990 w 18298"/>
                  <a:gd name="connsiteY3" fmla="*/ 17970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6296" y="1523"/>
                      <a:pt x="11093" y="-1108"/>
                      <a:pt x="6309" y="447"/>
                    </a:cubicBezTo>
                    <a:cubicBezTo>
                      <a:pt x="1524" y="2002"/>
                      <a:pt x="-1108" y="7205"/>
                      <a:pt x="447" y="12049"/>
                    </a:cubicBezTo>
                    <a:cubicBezTo>
                      <a:pt x="2002" y="16894"/>
                      <a:pt x="7205" y="19525"/>
                      <a:pt x="11990" y="17970"/>
                    </a:cubicBezTo>
                    <a:cubicBezTo>
                      <a:pt x="16775" y="16415"/>
                      <a:pt x="19406" y="11212"/>
                      <a:pt x="17851" y="6368"/>
                    </a:cubicBezTo>
                    <a:close/>
                  </a:path>
                </a:pathLst>
              </a:custGeom>
              <a:grpFill/>
              <a:ln w="5978" cap="flat">
                <a:noFill/>
                <a:prstDash val="solid"/>
                <a:miter/>
              </a:ln>
            </p:spPr>
            <p:txBody>
              <a:bodyPr rtlCol="0" anchor="ctr"/>
              <a:lstStyle/>
              <a:p>
                <a:endParaRPr lang="en-GB"/>
              </a:p>
            </p:txBody>
          </p:sp>
        </p:grpSp>
        <p:grpSp>
          <p:nvGrpSpPr>
            <p:cNvPr id="685" name="Graphic 3">
              <a:extLst>
                <a:ext uri="{FF2B5EF4-FFF2-40B4-BE49-F238E27FC236}">
                  <a16:creationId xmlns:a16="http://schemas.microsoft.com/office/drawing/2014/main" id="{E2F61BA6-4F65-4BB0-B04D-3FC974F1EAAE}"/>
                </a:ext>
              </a:extLst>
            </p:cNvPr>
            <p:cNvGrpSpPr/>
            <p:nvPr/>
          </p:nvGrpSpPr>
          <p:grpSpPr>
            <a:xfrm>
              <a:off x="5457416" y="1762333"/>
              <a:ext cx="36392" cy="68895"/>
              <a:chOff x="5457416" y="1762333"/>
              <a:chExt cx="36392" cy="68895"/>
            </a:xfrm>
            <a:grpFill/>
          </p:grpSpPr>
          <p:sp>
            <p:nvSpPr>
              <p:cNvPr id="3334" name="Vrije vorm: vorm 3333">
                <a:extLst>
                  <a:ext uri="{FF2B5EF4-FFF2-40B4-BE49-F238E27FC236}">
                    <a16:creationId xmlns:a16="http://schemas.microsoft.com/office/drawing/2014/main" id="{876F9A8F-A9C5-43BB-840B-942E8BC11F27}"/>
                  </a:ext>
                </a:extLst>
              </p:cNvPr>
              <p:cNvSpPr/>
              <p:nvPr/>
            </p:nvSpPr>
            <p:spPr>
              <a:xfrm>
                <a:off x="5465196" y="1770578"/>
                <a:ext cx="21290" cy="52372"/>
              </a:xfrm>
              <a:custGeom>
                <a:avLst/>
                <a:gdLst>
                  <a:gd name="connsiteX0" fmla="*/ 0 w 21290"/>
                  <a:gd name="connsiteY0" fmla="*/ 1030 h 52372"/>
                  <a:gd name="connsiteX1" fmla="*/ 2871 w 21290"/>
                  <a:gd name="connsiteY1" fmla="*/ 0 h 52372"/>
                  <a:gd name="connsiteX2" fmla="*/ 21291 w 21290"/>
                  <a:gd name="connsiteY2" fmla="*/ 51342 h 52372"/>
                  <a:gd name="connsiteX3" fmla="*/ 18420 w 21290"/>
                  <a:gd name="connsiteY3" fmla="*/ 52372 h 52372"/>
                </a:gdLst>
                <a:ahLst/>
                <a:cxnLst>
                  <a:cxn ang="0">
                    <a:pos x="connsiteX0" y="connsiteY0"/>
                  </a:cxn>
                  <a:cxn ang="0">
                    <a:pos x="connsiteX1" y="connsiteY1"/>
                  </a:cxn>
                  <a:cxn ang="0">
                    <a:pos x="connsiteX2" y="connsiteY2"/>
                  </a:cxn>
                  <a:cxn ang="0">
                    <a:pos x="connsiteX3" y="connsiteY3"/>
                  </a:cxn>
                </a:cxnLst>
                <a:rect l="l" t="t" r="r" b="b"/>
                <a:pathLst>
                  <a:path w="21290" h="52372">
                    <a:moveTo>
                      <a:pt x="0" y="1030"/>
                    </a:moveTo>
                    <a:lnTo>
                      <a:pt x="2871" y="0"/>
                    </a:lnTo>
                    <a:lnTo>
                      <a:pt x="21291" y="51342"/>
                    </a:lnTo>
                    <a:lnTo>
                      <a:pt x="18420" y="52372"/>
                    </a:lnTo>
                    <a:close/>
                  </a:path>
                </a:pathLst>
              </a:custGeom>
              <a:grpFill/>
              <a:ln w="5978" cap="flat">
                <a:noFill/>
                <a:prstDash val="solid"/>
                <a:miter/>
              </a:ln>
            </p:spPr>
            <p:txBody>
              <a:bodyPr rtlCol="0" anchor="ctr"/>
              <a:lstStyle/>
              <a:p>
                <a:endParaRPr lang="en-GB"/>
              </a:p>
            </p:txBody>
          </p:sp>
          <p:sp>
            <p:nvSpPr>
              <p:cNvPr id="3335" name="Vrije vorm: vorm 3334">
                <a:extLst>
                  <a:ext uri="{FF2B5EF4-FFF2-40B4-BE49-F238E27FC236}">
                    <a16:creationId xmlns:a16="http://schemas.microsoft.com/office/drawing/2014/main" id="{81174377-2E96-4F1C-BF0D-5BAF6D1894B7}"/>
                  </a:ext>
                </a:extLst>
              </p:cNvPr>
              <p:cNvSpPr/>
              <p:nvPr/>
            </p:nvSpPr>
            <p:spPr>
              <a:xfrm>
                <a:off x="5457416" y="1762333"/>
                <a:ext cx="18324" cy="18447"/>
              </a:xfrm>
              <a:custGeom>
                <a:avLst/>
                <a:gdLst>
                  <a:gd name="connsiteX0" fmla="*/ 550 w 18324"/>
                  <a:gd name="connsiteY0" fmla="*/ 12307 h 18447"/>
                  <a:gd name="connsiteX1" fmla="*/ 6052 w 18324"/>
                  <a:gd name="connsiteY1" fmla="*/ 525 h 18447"/>
                  <a:gd name="connsiteX2" fmla="*/ 17775 w 18324"/>
                  <a:gd name="connsiteY2" fmla="*/ 6147 h 18447"/>
                  <a:gd name="connsiteX3" fmla="*/ 12272 w 18324"/>
                  <a:gd name="connsiteY3" fmla="*/ 17929 h 18447"/>
                  <a:gd name="connsiteX4" fmla="*/ 550 w 18324"/>
                  <a:gd name="connsiteY4" fmla="*/ 12307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7">
                    <a:moveTo>
                      <a:pt x="550" y="12307"/>
                    </a:moveTo>
                    <a:cubicBezTo>
                      <a:pt x="-1185" y="7523"/>
                      <a:pt x="1328" y="2260"/>
                      <a:pt x="6052" y="525"/>
                    </a:cubicBezTo>
                    <a:cubicBezTo>
                      <a:pt x="10837" y="-1149"/>
                      <a:pt x="16040" y="1303"/>
                      <a:pt x="17775" y="6147"/>
                    </a:cubicBezTo>
                    <a:cubicBezTo>
                      <a:pt x="19509" y="10932"/>
                      <a:pt x="16997" y="16195"/>
                      <a:pt x="12272" y="17929"/>
                    </a:cubicBezTo>
                    <a:cubicBezTo>
                      <a:pt x="7488" y="19604"/>
                      <a:pt x="2284" y="17092"/>
                      <a:pt x="550" y="12307"/>
                    </a:cubicBezTo>
                    <a:close/>
                  </a:path>
                </a:pathLst>
              </a:custGeom>
              <a:grpFill/>
              <a:ln w="5978" cap="flat">
                <a:noFill/>
                <a:prstDash val="solid"/>
                <a:miter/>
              </a:ln>
            </p:spPr>
            <p:txBody>
              <a:bodyPr rtlCol="0" anchor="ctr"/>
              <a:lstStyle/>
              <a:p>
                <a:endParaRPr lang="en-GB"/>
              </a:p>
            </p:txBody>
          </p:sp>
          <p:sp>
            <p:nvSpPr>
              <p:cNvPr id="3336" name="Vrije vorm: vorm 3335">
                <a:extLst>
                  <a:ext uri="{FF2B5EF4-FFF2-40B4-BE49-F238E27FC236}">
                    <a16:creationId xmlns:a16="http://schemas.microsoft.com/office/drawing/2014/main" id="{E977F259-0E4D-433E-92EB-0C3CEC74FD36}"/>
                  </a:ext>
                </a:extLst>
              </p:cNvPr>
              <p:cNvSpPr/>
              <p:nvPr/>
            </p:nvSpPr>
            <p:spPr>
              <a:xfrm>
                <a:off x="5475478" y="1812786"/>
                <a:ext cx="18331" cy="18443"/>
              </a:xfrm>
              <a:custGeom>
                <a:avLst/>
                <a:gdLst>
                  <a:gd name="connsiteX0" fmla="*/ 550 w 18331"/>
                  <a:gd name="connsiteY0" fmla="*/ 12332 h 18443"/>
                  <a:gd name="connsiteX1" fmla="*/ 12272 w 18331"/>
                  <a:gd name="connsiteY1" fmla="*/ 17894 h 18443"/>
                  <a:gd name="connsiteX2" fmla="*/ 17774 w 18331"/>
                  <a:gd name="connsiteY2" fmla="*/ 6112 h 18443"/>
                  <a:gd name="connsiteX3" fmla="*/ 6053 w 18331"/>
                  <a:gd name="connsiteY3" fmla="*/ 549 h 18443"/>
                  <a:gd name="connsiteX4" fmla="*/ 550 w 18331"/>
                  <a:gd name="connsiteY4" fmla="*/ 1233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43">
                    <a:moveTo>
                      <a:pt x="550" y="12332"/>
                    </a:moveTo>
                    <a:cubicBezTo>
                      <a:pt x="2285" y="17116"/>
                      <a:pt x="7488" y="19628"/>
                      <a:pt x="12272" y="17894"/>
                    </a:cubicBezTo>
                    <a:cubicBezTo>
                      <a:pt x="17057" y="16219"/>
                      <a:pt x="19509" y="10896"/>
                      <a:pt x="17774" y="6112"/>
                    </a:cubicBezTo>
                    <a:cubicBezTo>
                      <a:pt x="16040" y="1327"/>
                      <a:pt x="10837" y="-1185"/>
                      <a:pt x="6053" y="549"/>
                    </a:cubicBezTo>
                    <a:cubicBezTo>
                      <a:pt x="1328" y="2284"/>
                      <a:pt x="-1184" y="7547"/>
                      <a:pt x="550" y="12332"/>
                    </a:cubicBezTo>
                    <a:close/>
                  </a:path>
                </a:pathLst>
              </a:custGeom>
              <a:grpFill/>
              <a:ln w="5978" cap="flat">
                <a:noFill/>
                <a:prstDash val="solid"/>
                <a:miter/>
              </a:ln>
            </p:spPr>
            <p:txBody>
              <a:bodyPr rtlCol="0" anchor="ctr"/>
              <a:lstStyle/>
              <a:p>
                <a:endParaRPr lang="en-GB"/>
              </a:p>
            </p:txBody>
          </p:sp>
        </p:grpSp>
        <p:grpSp>
          <p:nvGrpSpPr>
            <p:cNvPr id="686" name="Graphic 3">
              <a:extLst>
                <a:ext uri="{FF2B5EF4-FFF2-40B4-BE49-F238E27FC236}">
                  <a16:creationId xmlns:a16="http://schemas.microsoft.com/office/drawing/2014/main" id="{FDE3359C-925B-4786-8C92-9F7A47DFCA98}"/>
                </a:ext>
              </a:extLst>
            </p:cNvPr>
            <p:cNvGrpSpPr/>
            <p:nvPr/>
          </p:nvGrpSpPr>
          <p:grpSpPr>
            <a:xfrm>
              <a:off x="5388519" y="1569694"/>
              <a:ext cx="81009" cy="193742"/>
              <a:chOff x="5388519" y="1569694"/>
              <a:chExt cx="81009" cy="193742"/>
            </a:xfrm>
            <a:grpFill/>
          </p:grpSpPr>
          <p:sp>
            <p:nvSpPr>
              <p:cNvPr id="3331" name="Vrije vorm: vorm 3330">
                <a:extLst>
                  <a:ext uri="{FF2B5EF4-FFF2-40B4-BE49-F238E27FC236}">
                    <a16:creationId xmlns:a16="http://schemas.microsoft.com/office/drawing/2014/main" id="{DDF95B07-3A4B-40FE-91EA-4BFD63AB4324}"/>
                  </a:ext>
                </a:extLst>
              </p:cNvPr>
              <p:cNvSpPr/>
              <p:nvPr/>
            </p:nvSpPr>
            <p:spPr>
              <a:xfrm>
                <a:off x="5396126" y="1577994"/>
                <a:ext cx="65847" cy="177149"/>
              </a:xfrm>
              <a:custGeom>
                <a:avLst/>
                <a:gdLst>
                  <a:gd name="connsiteX0" fmla="*/ 65848 w 65847"/>
                  <a:gd name="connsiteY0" fmla="*/ 176132 h 177149"/>
                  <a:gd name="connsiteX1" fmla="*/ 62977 w 65847"/>
                  <a:gd name="connsiteY1" fmla="*/ 177149 h 177149"/>
                  <a:gd name="connsiteX2" fmla="*/ 0 w 65847"/>
                  <a:gd name="connsiteY2" fmla="*/ 1017 h 177149"/>
                  <a:gd name="connsiteX3" fmla="*/ 2871 w 65847"/>
                  <a:gd name="connsiteY3" fmla="*/ 0 h 177149"/>
                </a:gdLst>
                <a:ahLst/>
                <a:cxnLst>
                  <a:cxn ang="0">
                    <a:pos x="connsiteX0" y="connsiteY0"/>
                  </a:cxn>
                  <a:cxn ang="0">
                    <a:pos x="connsiteX1" y="connsiteY1"/>
                  </a:cxn>
                  <a:cxn ang="0">
                    <a:pos x="connsiteX2" y="connsiteY2"/>
                  </a:cxn>
                  <a:cxn ang="0">
                    <a:pos x="connsiteX3" y="connsiteY3"/>
                  </a:cxn>
                </a:cxnLst>
                <a:rect l="l" t="t" r="r" b="b"/>
                <a:pathLst>
                  <a:path w="65847" h="177149">
                    <a:moveTo>
                      <a:pt x="65848" y="176132"/>
                    </a:moveTo>
                    <a:lnTo>
                      <a:pt x="62977" y="177149"/>
                    </a:lnTo>
                    <a:lnTo>
                      <a:pt x="0" y="1017"/>
                    </a:lnTo>
                    <a:lnTo>
                      <a:pt x="2871" y="0"/>
                    </a:lnTo>
                    <a:close/>
                  </a:path>
                </a:pathLst>
              </a:custGeom>
              <a:grpFill/>
              <a:ln w="5978" cap="flat">
                <a:noFill/>
                <a:prstDash val="solid"/>
                <a:miter/>
              </a:ln>
            </p:spPr>
            <p:txBody>
              <a:bodyPr rtlCol="0" anchor="ctr"/>
              <a:lstStyle/>
              <a:p>
                <a:endParaRPr lang="en-GB"/>
              </a:p>
            </p:txBody>
          </p:sp>
          <p:sp>
            <p:nvSpPr>
              <p:cNvPr id="3332" name="Vrije vorm: vorm 3331">
                <a:extLst>
                  <a:ext uri="{FF2B5EF4-FFF2-40B4-BE49-F238E27FC236}">
                    <a16:creationId xmlns:a16="http://schemas.microsoft.com/office/drawing/2014/main" id="{54DE606F-93C8-49E8-8B2D-58087C6A1F9E}"/>
                  </a:ext>
                </a:extLst>
              </p:cNvPr>
              <p:cNvSpPr/>
              <p:nvPr/>
            </p:nvSpPr>
            <p:spPr>
              <a:xfrm>
                <a:off x="5388519" y="1569694"/>
                <a:ext cx="18324" cy="18454"/>
              </a:xfrm>
              <a:custGeom>
                <a:avLst/>
                <a:gdLst>
                  <a:gd name="connsiteX0" fmla="*/ 550 w 18324"/>
                  <a:gd name="connsiteY0" fmla="*/ 12307 h 18454"/>
                  <a:gd name="connsiteX1" fmla="*/ 6052 w 18324"/>
                  <a:gd name="connsiteY1" fmla="*/ 525 h 18454"/>
                  <a:gd name="connsiteX2" fmla="*/ 17775 w 18324"/>
                  <a:gd name="connsiteY2" fmla="*/ 6147 h 18454"/>
                  <a:gd name="connsiteX3" fmla="*/ 12272 w 18324"/>
                  <a:gd name="connsiteY3" fmla="*/ 17929 h 18454"/>
                  <a:gd name="connsiteX4" fmla="*/ 550 w 18324"/>
                  <a:gd name="connsiteY4" fmla="*/ 1230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54">
                    <a:moveTo>
                      <a:pt x="550" y="12307"/>
                    </a:moveTo>
                    <a:cubicBezTo>
                      <a:pt x="-1184" y="7523"/>
                      <a:pt x="1328" y="2260"/>
                      <a:pt x="6052" y="525"/>
                    </a:cubicBezTo>
                    <a:cubicBezTo>
                      <a:pt x="10837" y="-1149"/>
                      <a:pt x="16040" y="1303"/>
                      <a:pt x="17775" y="6147"/>
                    </a:cubicBezTo>
                    <a:cubicBezTo>
                      <a:pt x="19509" y="10932"/>
                      <a:pt x="16997" y="16195"/>
                      <a:pt x="12272" y="17929"/>
                    </a:cubicBezTo>
                    <a:cubicBezTo>
                      <a:pt x="7547" y="19604"/>
                      <a:pt x="2284" y="17152"/>
                      <a:pt x="550" y="12307"/>
                    </a:cubicBezTo>
                    <a:close/>
                  </a:path>
                </a:pathLst>
              </a:custGeom>
              <a:grpFill/>
              <a:ln w="5978" cap="flat">
                <a:noFill/>
                <a:prstDash val="solid"/>
                <a:miter/>
              </a:ln>
            </p:spPr>
            <p:txBody>
              <a:bodyPr rtlCol="0" anchor="ctr"/>
              <a:lstStyle/>
              <a:p>
                <a:endParaRPr lang="en-GB"/>
              </a:p>
            </p:txBody>
          </p:sp>
          <p:sp>
            <p:nvSpPr>
              <p:cNvPr id="3333" name="Vrije vorm: vorm 3332">
                <a:extLst>
                  <a:ext uri="{FF2B5EF4-FFF2-40B4-BE49-F238E27FC236}">
                    <a16:creationId xmlns:a16="http://schemas.microsoft.com/office/drawing/2014/main" id="{AEAEF684-A7F3-4EF0-9B20-1E6FC22AD731}"/>
                  </a:ext>
                </a:extLst>
              </p:cNvPr>
              <p:cNvSpPr/>
              <p:nvPr/>
            </p:nvSpPr>
            <p:spPr>
              <a:xfrm>
                <a:off x="5451220" y="1744995"/>
                <a:ext cx="18307" cy="18441"/>
              </a:xfrm>
              <a:custGeom>
                <a:avLst/>
                <a:gdLst>
                  <a:gd name="connsiteX0" fmla="*/ 526 w 18307"/>
                  <a:gd name="connsiteY0" fmla="*/ 12301 h 18441"/>
                  <a:gd name="connsiteX1" fmla="*/ 12249 w 18307"/>
                  <a:gd name="connsiteY1" fmla="*/ 17923 h 18441"/>
                  <a:gd name="connsiteX2" fmla="*/ 17751 w 18307"/>
                  <a:gd name="connsiteY2" fmla="*/ 6141 h 18441"/>
                  <a:gd name="connsiteX3" fmla="*/ 6029 w 18307"/>
                  <a:gd name="connsiteY3" fmla="*/ 519 h 18441"/>
                  <a:gd name="connsiteX4" fmla="*/ 526 w 18307"/>
                  <a:gd name="connsiteY4" fmla="*/ 1230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41">
                    <a:moveTo>
                      <a:pt x="526" y="12301"/>
                    </a:moveTo>
                    <a:cubicBezTo>
                      <a:pt x="2261" y="17085"/>
                      <a:pt x="7464" y="19597"/>
                      <a:pt x="12249" y="17923"/>
                    </a:cubicBezTo>
                    <a:cubicBezTo>
                      <a:pt x="17033" y="16248"/>
                      <a:pt x="19485" y="10925"/>
                      <a:pt x="17751" y="6141"/>
                    </a:cubicBezTo>
                    <a:cubicBezTo>
                      <a:pt x="16016" y="1356"/>
                      <a:pt x="10813" y="-1156"/>
                      <a:pt x="6029" y="519"/>
                    </a:cubicBezTo>
                    <a:cubicBezTo>
                      <a:pt x="1304" y="2193"/>
                      <a:pt x="-1148" y="7456"/>
                      <a:pt x="526" y="12301"/>
                    </a:cubicBezTo>
                    <a:close/>
                  </a:path>
                </a:pathLst>
              </a:custGeom>
              <a:grpFill/>
              <a:ln w="5978" cap="flat">
                <a:noFill/>
                <a:prstDash val="solid"/>
                <a:miter/>
              </a:ln>
            </p:spPr>
            <p:txBody>
              <a:bodyPr rtlCol="0" anchor="ctr"/>
              <a:lstStyle/>
              <a:p>
                <a:endParaRPr lang="en-GB"/>
              </a:p>
            </p:txBody>
          </p:sp>
        </p:grpSp>
        <p:grpSp>
          <p:nvGrpSpPr>
            <p:cNvPr id="687" name="Graphic 3">
              <a:extLst>
                <a:ext uri="{FF2B5EF4-FFF2-40B4-BE49-F238E27FC236}">
                  <a16:creationId xmlns:a16="http://schemas.microsoft.com/office/drawing/2014/main" id="{B428991B-46BB-43A7-8A47-017C7D1E4DD9}"/>
                </a:ext>
              </a:extLst>
            </p:cNvPr>
            <p:cNvGrpSpPr/>
            <p:nvPr/>
          </p:nvGrpSpPr>
          <p:grpSpPr>
            <a:xfrm>
              <a:off x="6567751" y="5008062"/>
              <a:ext cx="110098" cy="419417"/>
              <a:chOff x="6567751" y="5008062"/>
              <a:chExt cx="110098" cy="419417"/>
            </a:xfrm>
            <a:grpFill/>
          </p:grpSpPr>
          <p:sp>
            <p:nvSpPr>
              <p:cNvPr id="3328" name="Vrije vorm: vorm 3327">
                <a:extLst>
                  <a:ext uri="{FF2B5EF4-FFF2-40B4-BE49-F238E27FC236}">
                    <a16:creationId xmlns:a16="http://schemas.microsoft.com/office/drawing/2014/main" id="{AD4B2BB1-5EEC-4A1F-9933-6742C7ED3C30}"/>
                  </a:ext>
                </a:extLst>
              </p:cNvPr>
              <p:cNvSpPr/>
              <p:nvPr/>
            </p:nvSpPr>
            <p:spPr>
              <a:xfrm>
                <a:off x="6575435" y="5016340"/>
                <a:ext cx="94946" cy="402542"/>
              </a:xfrm>
              <a:custGeom>
                <a:avLst/>
                <a:gdLst>
                  <a:gd name="connsiteX0" fmla="*/ 0 w 94946"/>
                  <a:gd name="connsiteY0" fmla="*/ 681 h 402542"/>
                  <a:gd name="connsiteX1" fmla="*/ 2974 w 94946"/>
                  <a:gd name="connsiteY1" fmla="*/ 0 h 402542"/>
                  <a:gd name="connsiteX2" fmla="*/ 94947 w 94946"/>
                  <a:gd name="connsiteY2" fmla="*/ 401862 h 402542"/>
                  <a:gd name="connsiteX3" fmla="*/ 91973 w 94946"/>
                  <a:gd name="connsiteY3" fmla="*/ 402543 h 402542"/>
                </a:gdLst>
                <a:ahLst/>
                <a:cxnLst>
                  <a:cxn ang="0">
                    <a:pos x="connsiteX0" y="connsiteY0"/>
                  </a:cxn>
                  <a:cxn ang="0">
                    <a:pos x="connsiteX1" y="connsiteY1"/>
                  </a:cxn>
                  <a:cxn ang="0">
                    <a:pos x="connsiteX2" y="connsiteY2"/>
                  </a:cxn>
                  <a:cxn ang="0">
                    <a:pos x="connsiteX3" y="connsiteY3"/>
                  </a:cxn>
                </a:cxnLst>
                <a:rect l="l" t="t" r="r" b="b"/>
                <a:pathLst>
                  <a:path w="94946" h="402542">
                    <a:moveTo>
                      <a:pt x="0" y="681"/>
                    </a:moveTo>
                    <a:lnTo>
                      <a:pt x="2974" y="0"/>
                    </a:lnTo>
                    <a:lnTo>
                      <a:pt x="94947" y="401862"/>
                    </a:lnTo>
                    <a:lnTo>
                      <a:pt x="91973" y="402543"/>
                    </a:lnTo>
                    <a:close/>
                  </a:path>
                </a:pathLst>
              </a:custGeom>
              <a:grpFill/>
              <a:ln w="5978" cap="flat">
                <a:noFill/>
                <a:prstDash val="solid"/>
                <a:miter/>
              </a:ln>
            </p:spPr>
            <p:txBody>
              <a:bodyPr rtlCol="0" anchor="ctr"/>
              <a:lstStyle/>
              <a:p>
                <a:endParaRPr lang="en-GB"/>
              </a:p>
            </p:txBody>
          </p:sp>
          <p:sp>
            <p:nvSpPr>
              <p:cNvPr id="3329" name="Vrije vorm: vorm 3328">
                <a:extLst>
                  <a:ext uri="{FF2B5EF4-FFF2-40B4-BE49-F238E27FC236}">
                    <a16:creationId xmlns:a16="http://schemas.microsoft.com/office/drawing/2014/main" id="{16709AA7-EB4C-476C-94C1-6C81A9D4CE62}"/>
                  </a:ext>
                </a:extLst>
              </p:cNvPr>
              <p:cNvSpPr/>
              <p:nvPr/>
            </p:nvSpPr>
            <p:spPr>
              <a:xfrm>
                <a:off x="6567751" y="5008062"/>
                <a:ext cx="18353" cy="18429"/>
              </a:xfrm>
              <a:custGeom>
                <a:avLst/>
                <a:gdLst>
                  <a:gd name="connsiteX0" fmla="*/ 237 w 18353"/>
                  <a:gd name="connsiteY0" fmla="*/ 11238 h 18429"/>
                  <a:gd name="connsiteX1" fmla="*/ 7115 w 18353"/>
                  <a:gd name="connsiteY1" fmla="*/ 234 h 18429"/>
                  <a:gd name="connsiteX2" fmla="*/ 18120 w 18353"/>
                  <a:gd name="connsiteY2" fmla="*/ 7172 h 18429"/>
                  <a:gd name="connsiteX3" fmla="*/ 11242 w 18353"/>
                  <a:gd name="connsiteY3" fmla="*/ 18176 h 18429"/>
                  <a:gd name="connsiteX4" fmla="*/ 237 w 18353"/>
                  <a:gd name="connsiteY4" fmla="*/ 1123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9">
                    <a:moveTo>
                      <a:pt x="237" y="11238"/>
                    </a:moveTo>
                    <a:cubicBezTo>
                      <a:pt x="-899" y="6275"/>
                      <a:pt x="2151" y="1371"/>
                      <a:pt x="7115" y="234"/>
                    </a:cubicBezTo>
                    <a:cubicBezTo>
                      <a:pt x="12020" y="-902"/>
                      <a:pt x="16983" y="2208"/>
                      <a:pt x="18120" y="7172"/>
                    </a:cubicBezTo>
                    <a:cubicBezTo>
                      <a:pt x="19256" y="12136"/>
                      <a:pt x="16146" y="17040"/>
                      <a:pt x="11242" y="18176"/>
                    </a:cubicBezTo>
                    <a:cubicBezTo>
                      <a:pt x="6278" y="19373"/>
                      <a:pt x="1374" y="16203"/>
                      <a:pt x="237" y="11238"/>
                    </a:cubicBezTo>
                    <a:close/>
                  </a:path>
                </a:pathLst>
              </a:custGeom>
              <a:grpFill/>
              <a:ln w="5978" cap="flat">
                <a:noFill/>
                <a:prstDash val="solid"/>
                <a:miter/>
              </a:ln>
            </p:spPr>
            <p:txBody>
              <a:bodyPr rtlCol="0" anchor="ctr"/>
              <a:lstStyle/>
              <a:p>
                <a:endParaRPr lang="en-GB"/>
              </a:p>
            </p:txBody>
          </p:sp>
          <p:sp>
            <p:nvSpPr>
              <p:cNvPr id="3330" name="Vrije vorm: vorm 3329">
                <a:extLst>
                  <a:ext uri="{FF2B5EF4-FFF2-40B4-BE49-F238E27FC236}">
                    <a16:creationId xmlns:a16="http://schemas.microsoft.com/office/drawing/2014/main" id="{9626469A-8E49-4301-8712-6FEFC06D78D3}"/>
                  </a:ext>
                </a:extLst>
              </p:cNvPr>
              <p:cNvSpPr/>
              <p:nvPr/>
            </p:nvSpPr>
            <p:spPr>
              <a:xfrm>
                <a:off x="6659499" y="5409069"/>
                <a:ext cx="18350" cy="18410"/>
              </a:xfrm>
              <a:custGeom>
                <a:avLst/>
                <a:gdLst>
                  <a:gd name="connsiteX0" fmla="*/ 234 w 18350"/>
                  <a:gd name="connsiteY0" fmla="*/ 11239 h 18410"/>
                  <a:gd name="connsiteX1" fmla="*/ 11239 w 18350"/>
                  <a:gd name="connsiteY1" fmla="*/ 18176 h 18410"/>
                  <a:gd name="connsiteX2" fmla="*/ 18117 w 18350"/>
                  <a:gd name="connsiteY2" fmla="*/ 7172 h 18410"/>
                  <a:gd name="connsiteX3" fmla="*/ 7112 w 18350"/>
                  <a:gd name="connsiteY3" fmla="*/ 234 h 18410"/>
                  <a:gd name="connsiteX4" fmla="*/ 234 w 18350"/>
                  <a:gd name="connsiteY4" fmla="*/ 11239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0">
                    <a:moveTo>
                      <a:pt x="234" y="11239"/>
                    </a:moveTo>
                    <a:cubicBezTo>
                      <a:pt x="1371" y="16203"/>
                      <a:pt x="6275" y="19313"/>
                      <a:pt x="11239" y="18176"/>
                    </a:cubicBezTo>
                    <a:cubicBezTo>
                      <a:pt x="16143" y="17040"/>
                      <a:pt x="19253" y="12136"/>
                      <a:pt x="18117" y="7172"/>
                    </a:cubicBezTo>
                    <a:cubicBezTo>
                      <a:pt x="16980" y="2208"/>
                      <a:pt x="12076" y="-902"/>
                      <a:pt x="7112" y="234"/>
                    </a:cubicBezTo>
                    <a:cubicBezTo>
                      <a:pt x="2208" y="1311"/>
                      <a:pt x="-902" y="6275"/>
                      <a:pt x="234" y="11239"/>
                    </a:cubicBezTo>
                    <a:close/>
                  </a:path>
                </a:pathLst>
              </a:custGeom>
              <a:grpFill/>
              <a:ln w="5978" cap="flat">
                <a:noFill/>
                <a:prstDash val="solid"/>
                <a:miter/>
              </a:ln>
            </p:spPr>
            <p:txBody>
              <a:bodyPr rtlCol="0" anchor="ctr"/>
              <a:lstStyle/>
              <a:p>
                <a:endParaRPr lang="en-GB"/>
              </a:p>
            </p:txBody>
          </p:sp>
        </p:grpSp>
        <p:grpSp>
          <p:nvGrpSpPr>
            <p:cNvPr id="688" name="Graphic 3">
              <a:extLst>
                <a:ext uri="{FF2B5EF4-FFF2-40B4-BE49-F238E27FC236}">
                  <a16:creationId xmlns:a16="http://schemas.microsoft.com/office/drawing/2014/main" id="{E23BD293-D9AA-42FF-B6EE-D122A5A02678}"/>
                </a:ext>
              </a:extLst>
            </p:cNvPr>
            <p:cNvGrpSpPr/>
            <p:nvPr/>
          </p:nvGrpSpPr>
          <p:grpSpPr>
            <a:xfrm>
              <a:off x="5318664" y="1374399"/>
              <a:ext cx="81966" cy="196398"/>
              <a:chOff x="5318664" y="1374399"/>
              <a:chExt cx="81966" cy="196398"/>
            </a:xfrm>
            <a:grpFill/>
          </p:grpSpPr>
          <p:sp>
            <p:nvSpPr>
              <p:cNvPr id="3325" name="Vrije vorm: vorm 3324">
                <a:extLst>
                  <a:ext uri="{FF2B5EF4-FFF2-40B4-BE49-F238E27FC236}">
                    <a16:creationId xmlns:a16="http://schemas.microsoft.com/office/drawing/2014/main" id="{51E8C475-6C4B-4C14-A44E-AE0571F27D88}"/>
                  </a:ext>
                </a:extLst>
              </p:cNvPr>
              <p:cNvSpPr/>
              <p:nvPr/>
            </p:nvSpPr>
            <p:spPr>
              <a:xfrm>
                <a:off x="5326271" y="1382663"/>
                <a:ext cx="66804" cy="179840"/>
              </a:xfrm>
              <a:custGeom>
                <a:avLst/>
                <a:gdLst>
                  <a:gd name="connsiteX0" fmla="*/ 66805 w 66804"/>
                  <a:gd name="connsiteY0" fmla="*/ 178824 h 179840"/>
                  <a:gd name="connsiteX1" fmla="*/ 63934 w 66804"/>
                  <a:gd name="connsiteY1" fmla="*/ 179840 h 179840"/>
                  <a:gd name="connsiteX2" fmla="*/ 0 w 66804"/>
                  <a:gd name="connsiteY2" fmla="*/ 1017 h 179840"/>
                  <a:gd name="connsiteX3" fmla="*/ 2871 w 66804"/>
                  <a:gd name="connsiteY3" fmla="*/ 0 h 179840"/>
                </a:gdLst>
                <a:ahLst/>
                <a:cxnLst>
                  <a:cxn ang="0">
                    <a:pos x="connsiteX0" y="connsiteY0"/>
                  </a:cxn>
                  <a:cxn ang="0">
                    <a:pos x="connsiteX1" y="connsiteY1"/>
                  </a:cxn>
                  <a:cxn ang="0">
                    <a:pos x="connsiteX2" y="connsiteY2"/>
                  </a:cxn>
                  <a:cxn ang="0">
                    <a:pos x="connsiteX3" y="connsiteY3"/>
                  </a:cxn>
                </a:cxnLst>
                <a:rect l="l" t="t" r="r" b="b"/>
                <a:pathLst>
                  <a:path w="66804" h="179840">
                    <a:moveTo>
                      <a:pt x="66805" y="178824"/>
                    </a:moveTo>
                    <a:lnTo>
                      <a:pt x="63934" y="179840"/>
                    </a:lnTo>
                    <a:lnTo>
                      <a:pt x="0" y="1017"/>
                    </a:lnTo>
                    <a:lnTo>
                      <a:pt x="2871" y="0"/>
                    </a:lnTo>
                    <a:close/>
                  </a:path>
                </a:pathLst>
              </a:custGeom>
              <a:grpFill/>
              <a:ln w="5978" cap="flat">
                <a:noFill/>
                <a:prstDash val="solid"/>
                <a:miter/>
              </a:ln>
            </p:spPr>
            <p:txBody>
              <a:bodyPr rtlCol="0" anchor="ctr"/>
              <a:lstStyle/>
              <a:p>
                <a:endParaRPr lang="en-GB"/>
              </a:p>
            </p:txBody>
          </p:sp>
          <p:sp>
            <p:nvSpPr>
              <p:cNvPr id="3326" name="Vrije vorm: vorm 3325">
                <a:extLst>
                  <a:ext uri="{FF2B5EF4-FFF2-40B4-BE49-F238E27FC236}">
                    <a16:creationId xmlns:a16="http://schemas.microsoft.com/office/drawing/2014/main" id="{B2BCED86-2956-4EDC-AF39-7B7F70733C36}"/>
                  </a:ext>
                </a:extLst>
              </p:cNvPr>
              <p:cNvSpPr/>
              <p:nvPr/>
            </p:nvSpPr>
            <p:spPr>
              <a:xfrm>
                <a:off x="5318664" y="1374399"/>
                <a:ext cx="18324" cy="18471"/>
              </a:xfrm>
              <a:custGeom>
                <a:avLst/>
                <a:gdLst>
                  <a:gd name="connsiteX0" fmla="*/ 550 w 18324"/>
                  <a:gd name="connsiteY0" fmla="*/ 12331 h 18471"/>
                  <a:gd name="connsiteX1" fmla="*/ 6052 w 18324"/>
                  <a:gd name="connsiteY1" fmla="*/ 549 h 18471"/>
                  <a:gd name="connsiteX2" fmla="*/ 17775 w 18324"/>
                  <a:gd name="connsiteY2" fmla="*/ 6171 h 18471"/>
                  <a:gd name="connsiteX3" fmla="*/ 12272 w 18324"/>
                  <a:gd name="connsiteY3" fmla="*/ 17953 h 18471"/>
                  <a:gd name="connsiteX4" fmla="*/ 550 w 18324"/>
                  <a:gd name="connsiteY4" fmla="*/ 12331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71">
                    <a:moveTo>
                      <a:pt x="550" y="12331"/>
                    </a:moveTo>
                    <a:cubicBezTo>
                      <a:pt x="-1184" y="7546"/>
                      <a:pt x="1328" y="2283"/>
                      <a:pt x="6052" y="549"/>
                    </a:cubicBezTo>
                    <a:cubicBezTo>
                      <a:pt x="10837" y="-1186"/>
                      <a:pt x="16040" y="1326"/>
                      <a:pt x="17775" y="6171"/>
                    </a:cubicBezTo>
                    <a:cubicBezTo>
                      <a:pt x="19509" y="10955"/>
                      <a:pt x="16997" y="16218"/>
                      <a:pt x="12272" y="17953"/>
                    </a:cubicBezTo>
                    <a:cubicBezTo>
                      <a:pt x="7547" y="19627"/>
                      <a:pt x="2284" y="17115"/>
                      <a:pt x="550" y="12331"/>
                    </a:cubicBezTo>
                    <a:close/>
                  </a:path>
                </a:pathLst>
              </a:custGeom>
              <a:grpFill/>
              <a:ln w="5978" cap="flat">
                <a:noFill/>
                <a:prstDash val="solid"/>
                <a:miter/>
              </a:ln>
            </p:spPr>
            <p:txBody>
              <a:bodyPr rtlCol="0" anchor="ctr"/>
              <a:lstStyle/>
              <a:p>
                <a:endParaRPr lang="en-GB"/>
              </a:p>
            </p:txBody>
          </p:sp>
          <p:sp>
            <p:nvSpPr>
              <p:cNvPr id="3327" name="Vrije vorm: vorm 3326">
                <a:extLst>
                  <a:ext uri="{FF2B5EF4-FFF2-40B4-BE49-F238E27FC236}">
                    <a16:creationId xmlns:a16="http://schemas.microsoft.com/office/drawing/2014/main" id="{CA6B8A12-45FC-4769-A2A4-BE852279EEF6}"/>
                  </a:ext>
                </a:extLst>
              </p:cNvPr>
              <p:cNvSpPr/>
              <p:nvPr/>
            </p:nvSpPr>
            <p:spPr>
              <a:xfrm>
                <a:off x="5382322" y="1552356"/>
                <a:ext cx="18307" cy="18441"/>
              </a:xfrm>
              <a:custGeom>
                <a:avLst/>
                <a:gdLst>
                  <a:gd name="connsiteX0" fmla="*/ 526 w 18307"/>
                  <a:gd name="connsiteY0" fmla="*/ 12301 h 18441"/>
                  <a:gd name="connsiteX1" fmla="*/ 12248 w 18307"/>
                  <a:gd name="connsiteY1" fmla="*/ 17923 h 18441"/>
                  <a:gd name="connsiteX2" fmla="*/ 17751 w 18307"/>
                  <a:gd name="connsiteY2" fmla="*/ 6141 h 18441"/>
                  <a:gd name="connsiteX3" fmla="*/ 6029 w 18307"/>
                  <a:gd name="connsiteY3" fmla="*/ 519 h 18441"/>
                  <a:gd name="connsiteX4" fmla="*/ 526 w 18307"/>
                  <a:gd name="connsiteY4" fmla="*/ 1230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41">
                    <a:moveTo>
                      <a:pt x="526" y="12301"/>
                    </a:moveTo>
                    <a:cubicBezTo>
                      <a:pt x="2261" y="17085"/>
                      <a:pt x="7464" y="19597"/>
                      <a:pt x="12248" y="17923"/>
                    </a:cubicBezTo>
                    <a:cubicBezTo>
                      <a:pt x="17033" y="16248"/>
                      <a:pt x="19485" y="10925"/>
                      <a:pt x="17751" y="6141"/>
                    </a:cubicBezTo>
                    <a:cubicBezTo>
                      <a:pt x="16016" y="1356"/>
                      <a:pt x="10813" y="-1156"/>
                      <a:pt x="6029" y="519"/>
                    </a:cubicBezTo>
                    <a:cubicBezTo>
                      <a:pt x="1304" y="2253"/>
                      <a:pt x="-1148" y="7516"/>
                      <a:pt x="526" y="12301"/>
                    </a:cubicBezTo>
                    <a:close/>
                  </a:path>
                </a:pathLst>
              </a:custGeom>
              <a:grpFill/>
              <a:ln w="5978" cap="flat">
                <a:noFill/>
                <a:prstDash val="solid"/>
                <a:miter/>
              </a:ln>
            </p:spPr>
            <p:txBody>
              <a:bodyPr rtlCol="0" anchor="ctr"/>
              <a:lstStyle/>
              <a:p>
                <a:endParaRPr lang="en-GB"/>
              </a:p>
            </p:txBody>
          </p:sp>
        </p:grpSp>
        <p:grpSp>
          <p:nvGrpSpPr>
            <p:cNvPr id="689" name="Graphic 3">
              <a:extLst>
                <a:ext uri="{FF2B5EF4-FFF2-40B4-BE49-F238E27FC236}">
                  <a16:creationId xmlns:a16="http://schemas.microsoft.com/office/drawing/2014/main" id="{8A77FABE-DB70-4453-913D-42DD7BCEF774}"/>
                </a:ext>
              </a:extLst>
            </p:cNvPr>
            <p:cNvGrpSpPr/>
            <p:nvPr/>
          </p:nvGrpSpPr>
          <p:grpSpPr>
            <a:xfrm>
              <a:off x="6581989" y="5158152"/>
              <a:ext cx="23372" cy="34910"/>
              <a:chOff x="6581989" y="5158152"/>
              <a:chExt cx="23372" cy="34910"/>
            </a:xfrm>
            <a:grpFill/>
          </p:grpSpPr>
          <p:sp>
            <p:nvSpPr>
              <p:cNvPr id="3323" name="Vrije vorm: vorm 3322">
                <a:extLst>
                  <a:ext uri="{FF2B5EF4-FFF2-40B4-BE49-F238E27FC236}">
                    <a16:creationId xmlns:a16="http://schemas.microsoft.com/office/drawing/2014/main" id="{0AF47D5B-808D-4268-AD2C-F5848C5F666F}"/>
                  </a:ext>
                </a:extLst>
              </p:cNvPr>
              <p:cNvSpPr/>
              <p:nvPr/>
            </p:nvSpPr>
            <p:spPr>
              <a:xfrm>
                <a:off x="6581989" y="5158152"/>
                <a:ext cx="18349" cy="18430"/>
              </a:xfrm>
              <a:custGeom>
                <a:avLst/>
                <a:gdLst>
                  <a:gd name="connsiteX0" fmla="*/ 17936 w 18349"/>
                  <a:gd name="connsiteY0" fmla="*/ 6540 h 18430"/>
                  <a:gd name="connsiteX1" fmla="*/ 11896 w 18349"/>
                  <a:gd name="connsiteY1" fmla="*/ 18024 h 18430"/>
                  <a:gd name="connsiteX2" fmla="*/ 413 w 18349"/>
                  <a:gd name="connsiteY2" fmla="*/ 11863 h 18430"/>
                  <a:gd name="connsiteX3" fmla="*/ 6453 w 18349"/>
                  <a:gd name="connsiteY3" fmla="*/ 380 h 18430"/>
                  <a:gd name="connsiteX4" fmla="*/ 17936 w 18349"/>
                  <a:gd name="connsiteY4" fmla="*/ 6540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0">
                    <a:moveTo>
                      <a:pt x="17936" y="6540"/>
                    </a:moveTo>
                    <a:cubicBezTo>
                      <a:pt x="19432" y="11385"/>
                      <a:pt x="16740" y="16528"/>
                      <a:pt x="11896" y="18024"/>
                    </a:cubicBezTo>
                    <a:cubicBezTo>
                      <a:pt x="7051" y="19519"/>
                      <a:pt x="1908" y="16767"/>
                      <a:pt x="413" y="11863"/>
                    </a:cubicBezTo>
                    <a:cubicBezTo>
                      <a:pt x="-1082" y="7019"/>
                      <a:pt x="1609" y="1876"/>
                      <a:pt x="6453" y="380"/>
                    </a:cubicBezTo>
                    <a:cubicBezTo>
                      <a:pt x="11298" y="-1055"/>
                      <a:pt x="16441" y="1696"/>
                      <a:pt x="17936" y="6540"/>
                    </a:cubicBezTo>
                    <a:close/>
                  </a:path>
                </a:pathLst>
              </a:custGeom>
              <a:grpFill/>
              <a:ln w="5978" cap="flat">
                <a:noFill/>
                <a:prstDash val="solid"/>
                <a:miter/>
              </a:ln>
            </p:spPr>
            <p:txBody>
              <a:bodyPr rtlCol="0" anchor="ctr"/>
              <a:lstStyle/>
              <a:p>
                <a:endParaRPr lang="en-GB"/>
              </a:p>
            </p:txBody>
          </p:sp>
          <p:sp>
            <p:nvSpPr>
              <p:cNvPr id="3324" name="Vrije vorm: vorm 3323">
                <a:extLst>
                  <a:ext uri="{FF2B5EF4-FFF2-40B4-BE49-F238E27FC236}">
                    <a16:creationId xmlns:a16="http://schemas.microsoft.com/office/drawing/2014/main" id="{3E067F9A-1C6B-4767-BBA3-DA353C0DBF58}"/>
                  </a:ext>
                </a:extLst>
              </p:cNvPr>
              <p:cNvSpPr/>
              <p:nvPr/>
            </p:nvSpPr>
            <p:spPr>
              <a:xfrm>
                <a:off x="6587013" y="5174658"/>
                <a:ext cx="18349" cy="18403"/>
              </a:xfrm>
              <a:custGeom>
                <a:avLst/>
                <a:gdLst>
                  <a:gd name="connsiteX0" fmla="*/ 17936 w 18349"/>
                  <a:gd name="connsiteY0" fmla="*/ 6540 h 18403"/>
                  <a:gd name="connsiteX1" fmla="*/ 6453 w 18349"/>
                  <a:gd name="connsiteY1" fmla="*/ 380 h 18403"/>
                  <a:gd name="connsiteX2" fmla="*/ 413 w 18349"/>
                  <a:gd name="connsiteY2" fmla="*/ 11863 h 18403"/>
                  <a:gd name="connsiteX3" fmla="*/ 11896 w 18349"/>
                  <a:gd name="connsiteY3" fmla="*/ 18024 h 18403"/>
                  <a:gd name="connsiteX4" fmla="*/ 17936 w 18349"/>
                  <a:gd name="connsiteY4" fmla="*/ 654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3">
                    <a:moveTo>
                      <a:pt x="17936" y="6540"/>
                    </a:moveTo>
                    <a:cubicBezTo>
                      <a:pt x="16441" y="1696"/>
                      <a:pt x="11298" y="-1055"/>
                      <a:pt x="6453" y="380"/>
                    </a:cubicBezTo>
                    <a:cubicBezTo>
                      <a:pt x="1609" y="1876"/>
                      <a:pt x="-1082" y="7019"/>
                      <a:pt x="413" y="11863"/>
                    </a:cubicBezTo>
                    <a:cubicBezTo>
                      <a:pt x="1908" y="16708"/>
                      <a:pt x="7051" y="19459"/>
                      <a:pt x="11896" y="18024"/>
                    </a:cubicBezTo>
                    <a:cubicBezTo>
                      <a:pt x="16740" y="16588"/>
                      <a:pt x="19432" y="11445"/>
                      <a:pt x="17936" y="6540"/>
                    </a:cubicBezTo>
                    <a:close/>
                  </a:path>
                </a:pathLst>
              </a:custGeom>
              <a:grpFill/>
              <a:ln w="5978" cap="flat">
                <a:noFill/>
                <a:prstDash val="solid"/>
                <a:miter/>
              </a:ln>
            </p:spPr>
            <p:txBody>
              <a:bodyPr rtlCol="0" anchor="ctr"/>
              <a:lstStyle/>
              <a:p>
                <a:endParaRPr lang="en-GB"/>
              </a:p>
            </p:txBody>
          </p:sp>
        </p:grpSp>
        <p:grpSp>
          <p:nvGrpSpPr>
            <p:cNvPr id="690" name="Graphic 3">
              <a:extLst>
                <a:ext uri="{FF2B5EF4-FFF2-40B4-BE49-F238E27FC236}">
                  <a16:creationId xmlns:a16="http://schemas.microsoft.com/office/drawing/2014/main" id="{937EAC12-A4D6-4EF0-B0CA-FC28EB12E5A5}"/>
                </a:ext>
              </a:extLst>
            </p:cNvPr>
            <p:cNvGrpSpPr/>
            <p:nvPr/>
          </p:nvGrpSpPr>
          <p:grpSpPr>
            <a:xfrm>
              <a:off x="6540005" y="5021133"/>
              <a:ext cx="59975" cy="154372"/>
              <a:chOff x="6540005" y="5021133"/>
              <a:chExt cx="59975" cy="154372"/>
            </a:xfrm>
            <a:grpFill/>
          </p:grpSpPr>
          <p:sp>
            <p:nvSpPr>
              <p:cNvPr id="3320" name="Vrije vorm: vorm 3319">
                <a:extLst>
                  <a:ext uri="{FF2B5EF4-FFF2-40B4-BE49-F238E27FC236}">
                    <a16:creationId xmlns:a16="http://schemas.microsoft.com/office/drawing/2014/main" id="{C2763D5B-136A-4ED7-A388-1BDF26EE3362}"/>
                  </a:ext>
                </a:extLst>
              </p:cNvPr>
              <p:cNvSpPr/>
              <p:nvPr/>
            </p:nvSpPr>
            <p:spPr>
              <a:xfrm>
                <a:off x="6547797" y="5029424"/>
                <a:ext cx="44804" cy="137685"/>
              </a:xfrm>
              <a:custGeom>
                <a:avLst/>
                <a:gdLst>
                  <a:gd name="connsiteX0" fmla="*/ 0 w 44804"/>
                  <a:gd name="connsiteY0" fmla="*/ 893 h 137685"/>
                  <a:gd name="connsiteX1" fmla="*/ 2917 w 44804"/>
                  <a:gd name="connsiteY1" fmla="*/ 0 h 137685"/>
                  <a:gd name="connsiteX2" fmla="*/ 44804 w 44804"/>
                  <a:gd name="connsiteY2" fmla="*/ 136793 h 137685"/>
                  <a:gd name="connsiteX3" fmla="*/ 41888 w 44804"/>
                  <a:gd name="connsiteY3" fmla="*/ 137686 h 137685"/>
                </a:gdLst>
                <a:ahLst/>
                <a:cxnLst>
                  <a:cxn ang="0">
                    <a:pos x="connsiteX0" y="connsiteY0"/>
                  </a:cxn>
                  <a:cxn ang="0">
                    <a:pos x="connsiteX1" y="connsiteY1"/>
                  </a:cxn>
                  <a:cxn ang="0">
                    <a:pos x="connsiteX2" y="connsiteY2"/>
                  </a:cxn>
                  <a:cxn ang="0">
                    <a:pos x="connsiteX3" y="connsiteY3"/>
                  </a:cxn>
                </a:cxnLst>
                <a:rect l="l" t="t" r="r" b="b"/>
                <a:pathLst>
                  <a:path w="44804" h="137685">
                    <a:moveTo>
                      <a:pt x="0" y="893"/>
                    </a:moveTo>
                    <a:lnTo>
                      <a:pt x="2917" y="0"/>
                    </a:lnTo>
                    <a:lnTo>
                      <a:pt x="44804" y="136793"/>
                    </a:lnTo>
                    <a:lnTo>
                      <a:pt x="41888" y="137686"/>
                    </a:lnTo>
                    <a:close/>
                  </a:path>
                </a:pathLst>
              </a:custGeom>
              <a:grpFill/>
              <a:ln w="5978" cap="flat">
                <a:noFill/>
                <a:prstDash val="solid"/>
                <a:miter/>
              </a:ln>
            </p:spPr>
            <p:txBody>
              <a:bodyPr rtlCol="0" anchor="ctr"/>
              <a:lstStyle/>
              <a:p>
                <a:endParaRPr lang="en-GB"/>
              </a:p>
            </p:txBody>
          </p:sp>
          <p:sp>
            <p:nvSpPr>
              <p:cNvPr id="3321" name="Vrije vorm: vorm 3320">
                <a:extLst>
                  <a:ext uri="{FF2B5EF4-FFF2-40B4-BE49-F238E27FC236}">
                    <a16:creationId xmlns:a16="http://schemas.microsoft.com/office/drawing/2014/main" id="{358CB01A-492D-4EB2-A019-EA9DB2EA8440}"/>
                  </a:ext>
                </a:extLst>
              </p:cNvPr>
              <p:cNvSpPr/>
              <p:nvPr/>
            </p:nvSpPr>
            <p:spPr>
              <a:xfrm>
                <a:off x="6581630" y="5157048"/>
                <a:ext cx="18349" cy="18457"/>
              </a:xfrm>
              <a:custGeom>
                <a:avLst/>
                <a:gdLst>
                  <a:gd name="connsiteX0" fmla="*/ 17936 w 18349"/>
                  <a:gd name="connsiteY0" fmla="*/ 6567 h 18457"/>
                  <a:gd name="connsiteX1" fmla="*/ 11896 w 18349"/>
                  <a:gd name="connsiteY1" fmla="*/ 18050 h 18457"/>
                  <a:gd name="connsiteX2" fmla="*/ 413 w 18349"/>
                  <a:gd name="connsiteY2" fmla="*/ 11890 h 18457"/>
                  <a:gd name="connsiteX3" fmla="*/ 6453 w 18349"/>
                  <a:gd name="connsiteY3" fmla="*/ 407 h 18457"/>
                  <a:gd name="connsiteX4" fmla="*/ 17936 w 18349"/>
                  <a:gd name="connsiteY4" fmla="*/ 6567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7">
                    <a:moveTo>
                      <a:pt x="17936" y="6567"/>
                    </a:moveTo>
                    <a:cubicBezTo>
                      <a:pt x="19432" y="11411"/>
                      <a:pt x="16740" y="16555"/>
                      <a:pt x="11896" y="18050"/>
                    </a:cubicBezTo>
                    <a:cubicBezTo>
                      <a:pt x="7051" y="19545"/>
                      <a:pt x="1908" y="16794"/>
                      <a:pt x="413" y="11890"/>
                    </a:cubicBezTo>
                    <a:cubicBezTo>
                      <a:pt x="-1082" y="7046"/>
                      <a:pt x="1609" y="1902"/>
                      <a:pt x="6453" y="407"/>
                    </a:cubicBezTo>
                    <a:cubicBezTo>
                      <a:pt x="11298" y="-1088"/>
                      <a:pt x="16441" y="1663"/>
                      <a:pt x="17936" y="6567"/>
                    </a:cubicBezTo>
                    <a:close/>
                  </a:path>
                </a:pathLst>
              </a:custGeom>
              <a:grpFill/>
              <a:ln w="5978" cap="flat">
                <a:noFill/>
                <a:prstDash val="solid"/>
                <a:miter/>
              </a:ln>
            </p:spPr>
            <p:txBody>
              <a:bodyPr rtlCol="0" anchor="ctr"/>
              <a:lstStyle/>
              <a:p>
                <a:endParaRPr lang="en-GB"/>
              </a:p>
            </p:txBody>
          </p:sp>
          <p:sp>
            <p:nvSpPr>
              <p:cNvPr id="3322" name="Vrije vorm: vorm 3321">
                <a:extLst>
                  <a:ext uri="{FF2B5EF4-FFF2-40B4-BE49-F238E27FC236}">
                    <a16:creationId xmlns:a16="http://schemas.microsoft.com/office/drawing/2014/main" id="{45043AC0-8565-460E-AEB2-78A040F2947F}"/>
                  </a:ext>
                </a:extLst>
              </p:cNvPr>
              <p:cNvSpPr/>
              <p:nvPr/>
            </p:nvSpPr>
            <p:spPr>
              <a:xfrm>
                <a:off x="6540005" y="5021133"/>
                <a:ext cx="18349" cy="18403"/>
              </a:xfrm>
              <a:custGeom>
                <a:avLst/>
                <a:gdLst>
                  <a:gd name="connsiteX0" fmla="*/ 17936 w 18349"/>
                  <a:gd name="connsiteY0" fmla="*/ 6541 h 18403"/>
                  <a:gd name="connsiteX1" fmla="*/ 6453 w 18349"/>
                  <a:gd name="connsiteY1" fmla="*/ 380 h 18403"/>
                  <a:gd name="connsiteX2" fmla="*/ 413 w 18349"/>
                  <a:gd name="connsiteY2" fmla="*/ 11864 h 18403"/>
                  <a:gd name="connsiteX3" fmla="*/ 11896 w 18349"/>
                  <a:gd name="connsiteY3" fmla="*/ 18024 h 18403"/>
                  <a:gd name="connsiteX4" fmla="*/ 17936 w 18349"/>
                  <a:gd name="connsiteY4" fmla="*/ 6541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3">
                    <a:moveTo>
                      <a:pt x="17936" y="6541"/>
                    </a:moveTo>
                    <a:cubicBezTo>
                      <a:pt x="16441" y="1696"/>
                      <a:pt x="11298" y="-1055"/>
                      <a:pt x="6453" y="380"/>
                    </a:cubicBezTo>
                    <a:cubicBezTo>
                      <a:pt x="1609" y="1876"/>
                      <a:pt x="-1082" y="7019"/>
                      <a:pt x="413" y="11864"/>
                    </a:cubicBezTo>
                    <a:cubicBezTo>
                      <a:pt x="1908" y="16708"/>
                      <a:pt x="7051" y="19459"/>
                      <a:pt x="11896" y="18024"/>
                    </a:cubicBezTo>
                    <a:cubicBezTo>
                      <a:pt x="16740" y="16588"/>
                      <a:pt x="19432" y="11445"/>
                      <a:pt x="17936" y="6541"/>
                    </a:cubicBezTo>
                    <a:close/>
                  </a:path>
                </a:pathLst>
              </a:custGeom>
              <a:grpFill/>
              <a:ln w="5978" cap="flat">
                <a:noFill/>
                <a:prstDash val="solid"/>
                <a:miter/>
              </a:ln>
            </p:spPr>
            <p:txBody>
              <a:bodyPr rtlCol="0" anchor="ctr"/>
              <a:lstStyle/>
              <a:p>
                <a:endParaRPr lang="en-GB"/>
              </a:p>
            </p:txBody>
          </p:sp>
        </p:grpSp>
        <p:grpSp>
          <p:nvGrpSpPr>
            <p:cNvPr id="691" name="Graphic 3">
              <a:extLst>
                <a:ext uri="{FF2B5EF4-FFF2-40B4-BE49-F238E27FC236}">
                  <a16:creationId xmlns:a16="http://schemas.microsoft.com/office/drawing/2014/main" id="{833CE2E0-E6CE-440E-854C-86752DAEA1CF}"/>
                </a:ext>
              </a:extLst>
            </p:cNvPr>
            <p:cNvGrpSpPr/>
            <p:nvPr/>
          </p:nvGrpSpPr>
          <p:grpSpPr>
            <a:xfrm>
              <a:off x="6587372" y="5175795"/>
              <a:ext cx="89818" cy="251858"/>
              <a:chOff x="6587372" y="5175795"/>
              <a:chExt cx="89818" cy="251858"/>
            </a:xfrm>
            <a:grpFill/>
          </p:grpSpPr>
          <p:sp>
            <p:nvSpPr>
              <p:cNvPr id="3317" name="Vrije vorm: vorm 3316">
                <a:extLst>
                  <a:ext uri="{FF2B5EF4-FFF2-40B4-BE49-F238E27FC236}">
                    <a16:creationId xmlns:a16="http://schemas.microsoft.com/office/drawing/2014/main" id="{B5C81239-0300-4AE0-AA9E-B5090F6181BB}"/>
                  </a:ext>
                </a:extLst>
              </p:cNvPr>
              <p:cNvSpPr/>
              <p:nvPr/>
            </p:nvSpPr>
            <p:spPr>
              <a:xfrm>
                <a:off x="6595116" y="5184326"/>
                <a:ext cx="74661" cy="235190"/>
              </a:xfrm>
              <a:custGeom>
                <a:avLst/>
                <a:gdLst>
                  <a:gd name="connsiteX0" fmla="*/ 0 w 74661"/>
                  <a:gd name="connsiteY0" fmla="*/ 893 h 235190"/>
                  <a:gd name="connsiteX1" fmla="*/ 2917 w 74661"/>
                  <a:gd name="connsiteY1" fmla="*/ 0 h 235190"/>
                  <a:gd name="connsiteX2" fmla="*/ 74661 w 74661"/>
                  <a:gd name="connsiteY2" fmla="*/ 234298 h 235190"/>
                  <a:gd name="connsiteX3" fmla="*/ 71745 w 74661"/>
                  <a:gd name="connsiteY3" fmla="*/ 235191 h 235190"/>
                </a:gdLst>
                <a:ahLst/>
                <a:cxnLst>
                  <a:cxn ang="0">
                    <a:pos x="connsiteX0" y="connsiteY0"/>
                  </a:cxn>
                  <a:cxn ang="0">
                    <a:pos x="connsiteX1" y="connsiteY1"/>
                  </a:cxn>
                  <a:cxn ang="0">
                    <a:pos x="connsiteX2" y="connsiteY2"/>
                  </a:cxn>
                  <a:cxn ang="0">
                    <a:pos x="connsiteX3" y="connsiteY3"/>
                  </a:cxn>
                </a:cxnLst>
                <a:rect l="l" t="t" r="r" b="b"/>
                <a:pathLst>
                  <a:path w="74661" h="235190">
                    <a:moveTo>
                      <a:pt x="0" y="893"/>
                    </a:moveTo>
                    <a:lnTo>
                      <a:pt x="2917" y="0"/>
                    </a:lnTo>
                    <a:lnTo>
                      <a:pt x="74661" y="234298"/>
                    </a:lnTo>
                    <a:lnTo>
                      <a:pt x="71745" y="235191"/>
                    </a:lnTo>
                    <a:close/>
                  </a:path>
                </a:pathLst>
              </a:custGeom>
              <a:grpFill/>
              <a:ln w="5978" cap="flat">
                <a:noFill/>
                <a:prstDash val="solid"/>
                <a:miter/>
              </a:ln>
            </p:spPr>
            <p:txBody>
              <a:bodyPr rtlCol="0" anchor="ctr"/>
              <a:lstStyle/>
              <a:p>
                <a:endParaRPr lang="en-GB"/>
              </a:p>
            </p:txBody>
          </p:sp>
          <p:sp>
            <p:nvSpPr>
              <p:cNvPr id="3318" name="Vrije vorm: vorm 3317">
                <a:extLst>
                  <a:ext uri="{FF2B5EF4-FFF2-40B4-BE49-F238E27FC236}">
                    <a16:creationId xmlns:a16="http://schemas.microsoft.com/office/drawing/2014/main" id="{286B440A-4073-4DAC-88F8-5ED49FE9014C}"/>
                  </a:ext>
                </a:extLst>
              </p:cNvPr>
              <p:cNvSpPr/>
              <p:nvPr/>
            </p:nvSpPr>
            <p:spPr>
              <a:xfrm>
                <a:off x="6658841" y="5409195"/>
                <a:ext cx="18349" cy="18457"/>
              </a:xfrm>
              <a:custGeom>
                <a:avLst/>
                <a:gdLst>
                  <a:gd name="connsiteX0" fmla="*/ 17936 w 18349"/>
                  <a:gd name="connsiteY0" fmla="*/ 6567 h 18457"/>
                  <a:gd name="connsiteX1" fmla="*/ 11896 w 18349"/>
                  <a:gd name="connsiteY1" fmla="*/ 18050 h 18457"/>
                  <a:gd name="connsiteX2" fmla="*/ 413 w 18349"/>
                  <a:gd name="connsiteY2" fmla="*/ 11890 h 18457"/>
                  <a:gd name="connsiteX3" fmla="*/ 6453 w 18349"/>
                  <a:gd name="connsiteY3" fmla="*/ 407 h 18457"/>
                  <a:gd name="connsiteX4" fmla="*/ 17936 w 18349"/>
                  <a:gd name="connsiteY4" fmla="*/ 6567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7">
                    <a:moveTo>
                      <a:pt x="17936" y="6567"/>
                    </a:moveTo>
                    <a:cubicBezTo>
                      <a:pt x="19432" y="11412"/>
                      <a:pt x="16740" y="16555"/>
                      <a:pt x="11896" y="18050"/>
                    </a:cubicBezTo>
                    <a:cubicBezTo>
                      <a:pt x="7051" y="19545"/>
                      <a:pt x="1908" y="16794"/>
                      <a:pt x="413" y="11890"/>
                    </a:cubicBezTo>
                    <a:cubicBezTo>
                      <a:pt x="-1082" y="7046"/>
                      <a:pt x="1609" y="1902"/>
                      <a:pt x="6453" y="407"/>
                    </a:cubicBezTo>
                    <a:cubicBezTo>
                      <a:pt x="11358" y="-1088"/>
                      <a:pt x="16441" y="1663"/>
                      <a:pt x="17936" y="6567"/>
                    </a:cubicBezTo>
                    <a:close/>
                  </a:path>
                </a:pathLst>
              </a:custGeom>
              <a:grpFill/>
              <a:ln w="5978" cap="flat">
                <a:noFill/>
                <a:prstDash val="solid"/>
                <a:miter/>
              </a:ln>
            </p:spPr>
            <p:txBody>
              <a:bodyPr rtlCol="0" anchor="ctr"/>
              <a:lstStyle/>
              <a:p>
                <a:endParaRPr lang="en-GB"/>
              </a:p>
            </p:txBody>
          </p:sp>
          <p:sp>
            <p:nvSpPr>
              <p:cNvPr id="3319" name="Vrije vorm: vorm 3318">
                <a:extLst>
                  <a:ext uri="{FF2B5EF4-FFF2-40B4-BE49-F238E27FC236}">
                    <a16:creationId xmlns:a16="http://schemas.microsoft.com/office/drawing/2014/main" id="{7A491EA0-0146-4C3F-BB47-420D85B484E6}"/>
                  </a:ext>
                </a:extLst>
              </p:cNvPr>
              <p:cNvSpPr/>
              <p:nvPr/>
            </p:nvSpPr>
            <p:spPr>
              <a:xfrm>
                <a:off x="6587372" y="5175795"/>
                <a:ext cx="18349" cy="18403"/>
              </a:xfrm>
              <a:custGeom>
                <a:avLst/>
                <a:gdLst>
                  <a:gd name="connsiteX0" fmla="*/ 17936 w 18349"/>
                  <a:gd name="connsiteY0" fmla="*/ 6540 h 18403"/>
                  <a:gd name="connsiteX1" fmla="*/ 6453 w 18349"/>
                  <a:gd name="connsiteY1" fmla="*/ 380 h 18403"/>
                  <a:gd name="connsiteX2" fmla="*/ 413 w 18349"/>
                  <a:gd name="connsiteY2" fmla="*/ 11863 h 18403"/>
                  <a:gd name="connsiteX3" fmla="*/ 11896 w 18349"/>
                  <a:gd name="connsiteY3" fmla="*/ 18024 h 18403"/>
                  <a:gd name="connsiteX4" fmla="*/ 17936 w 18349"/>
                  <a:gd name="connsiteY4" fmla="*/ 654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3">
                    <a:moveTo>
                      <a:pt x="17936" y="6540"/>
                    </a:moveTo>
                    <a:cubicBezTo>
                      <a:pt x="16441" y="1696"/>
                      <a:pt x="11298" y="-1055"/>
                      <a:pt x="6453" y="380"/>
                    </a:cubicBezTo>
                    <a:cubicBezTo>
                      <a:pt x="1609" y="1876"/>
                      <a:pt x="-1082" y="7019"/>
                      <a:pt x="413" y="11863"/>
                    </a:cubicBezTo>
                    <a:cubicBezTo>
                      <a:pt x="1908" y="16708"/>
                      <a:pt x="7051" y="19459"/>
                      <a:pt x="11896" y="18024"/>
                    </a:cubicBezTo>
                    <a:cubicBezTo>
                      <a:pt x="16741" y="16588"/>
                      <a:pt x="19432" y="11445"/>
                      <a:pt x="17936" y="6540"/>
                    </a:cubicBezTo>
                    <a:close/>
                  </a:path>
                </a:pathLst>
              </a:custGeom>
              <a:grpFill/>
              <a:ln w="5978" cap="flat">
                <a:noFill/>
                <a:prstDash val="solid"/>
                <a:miter/>
              </a:ln>
            </p:spPr>
            <p:txBody>
              <a:bodyPr rtlCol="0" anchor="ctr"/>
              <a:lstStyle/>
              <a:p>
                <a:endParaRPr lang="en-GB"/>
              </a:p>
            </p:txBody>
          </p:sp>
        </p:grpSp>
        <p:grpSp>
          <p:nvGrpSpPr>
            <p:cNvPr id="692" name="Graphic 3">
              <a:extLst>
                <a:ext uri="{FF2B5EF4-FFF2-40B4-BE49-F238E27FC236}">
                  <a16:creationId xmlns:a16="http://schemas.microsoft.com/office/drawing/2014/main" id="{52C8D11C-D1E1-4459-8F10-1C858596AE5D}"/>
                </a:ext>
              </a:extLst>
            </p:cNvPr>
            <p:cNvGrpSpPr/>
            <p:nvPr/>
          </p:nvGrpSpPr>
          <p:grpSpPr>
            <a:xfrm>
              <a:off x="5318087" y="1374599"/>
              <a:ext cx="144654" cy="461033"/>
              <a:chOff x="5318087" y="1374599"/>
              <a:chExt cx="144654" cy="461033"/>
            </a:xfrm>
            <a:grpFill/>
          </p:grpSpPr>
          <p:sp>
            <p:nvSpPr>
              <p:cNvPr id="3314" name="Vrije vorm: vorm 3313">
                <a:extLst>
                  <a:ext uri="{FF2B5EF4-FFF2-40B4-BE49-F238E27FC236}">
                    <a16:creationId xmlns:a16="http://schemas.microsoft.com/office/drawing/2014/main" id="{49216B3A-74EA-4814-A02B-403D864ADA1C}"/>
                  </a:ext>
                </a:extLst>
              </p:cNvPr>
              <p:cNvSpPr/>
              <p:nvPr/>
            </p:nvSpPr>
            <p:spPr>
              <a:xfrm>
                <a:off x="5325617" y="1383081"/>
                <a:ext cx="129479" cy="444301"/>
              </a:xfrm>
              <a:custGeom>
                <a:avLst/>
                <a:gdLst>
                  <a:gd name="connsiteX0" fmla="*/ 0 w 129479"/>
                  <a:gd name="connsiteY0" fmla="*/ 837 h 444301"/>
                  <a:gd name="connsiteX1" fmla="*/ 2933 w 129479"/>
                  <a:gd name="connsiteY1" fmla="*/ 0 h 444301"/>
                  <a:gd name="connsiteX2" fmla="*/ 129479 w 129479"/>
                  <a:gd name="connsiteY2" fmla="*/ 443464 h 444301"/>
                  <a:gd name="connsiteX3" fmla="*/ 126546 w 129479"/>
                  <a:gd name="connsiteY3" fmla="*/ 444301 h 444301"/>
                </a:gdLst>
                <a:ahLst/>
                <a:cxnLst>
                  <a:cxn ang="0">
                    <a:pos x="connsiteX0" y="connsiteY0"/>
                  </a:cxn>
                  <a:cxn ang="0">
                    <a:pos x="connsiteX1" y="connsiteY1"/>
                  </a:cxn>
                  <a:cxn ang="0">
                    <a:pos x="connsiteX2" y="connsiteY2"/>
                  </a:cxn>
                  <a:cxn ang="0">
                    <a:pos x="connsiteX3" y="connsiteY3"/>
                  </a:cxn>
                </a:cxnLst>
                <a:rect l="l" t="t" r="r" b="b"/>
                <a:pathLst>
                  <a:path w="129479" h="444301">
                    <a:moveTo>
                      <a:pt x="0" y="837"/>
                    </a:moveTo>
                    <a:lnTo>
                      <a:pt x="2933" y="0"/>
                    </a:lnTo>
                    <a:lnTo>
                      <a:pt x="129479" y="443464"/>
                    </a:lnTo>
                    <a:lnTo>
                      <a:pt x="126546" y="444301"/>
                    </a:lnTo>
                    <a:close/>
                  </a:path>
                </a:pathLst>
              </a:custGeom>
              <a:grpFill/>
              <a:ln w="5978" cap="flat">
                <a:noFill/>
                <a:prstDash val="solid"/>
                <a:miter/>
              </a:ln>
            </p:spPr>
            <p:txBody>
              <a:bodyPr rtlCol="0" anchor="ctr"/>
              <a:lstStyle/>
              <a:p>
                <a:endParaRPr lang="en-GB"/>
              </a:p>
            </p:txBody>
          </p:sp>
          <p:sp>
            <p:nvSpPr>
              <p:cNvPr id="3315" name="Vrije vorm: vorm 3314">
                <a:extLst>
                  <a:ext uri="{FF2B5EF4-FFF2-40B4-BE49-F238E27FC236}">
                    <a16:creationId xmlns:a16="http://schemas.microsoft.com/office/drawing/2014/main" id="{442331E5-F66B-4E64-B21C-F8B759B07963}"/>
                  </a:ext>
                </a:extLst>
              </p:cNvPr>
              <p:cNvSpPr/>
              <p:nvPr/>
            </p:nvSpPr>
            <p:spPr>
              <a:xfrm>
                <a:off x="5444400" y="1817211"/>
                <a:ext cx="18341" cy="18421"/>
              </a:xfrm>
              <a:custGeom>
                <a:avLst/>
                <a:gdLst>
                  <a:gd name="connsiteX0" fmla="*/ 17992 w 18341"/>
                  <a:gd name="connsiteY0" fmla="*/ 6710 h 18421"/>
                  <a:gd name="connsiteX1" fmla="*/ 11713 w 18341"/>
                  <a:gd name="connsiteY1" fmla="*/ 18073 h 18421"/>
                  <a:gd name="connsiteX2" fmla="*/ 349 w 18341"/>
                  <a:gd name="connsiteY2" fmla="*/ 11734 h 18421"/>
                  <a:gd name="connsiteX3" fmla="*/ 6629 w 18341"/>
                  <a:gd name="connsiteY3" fmla="*/ 370 h 18421"/>
                  <a:gd name="connsiteX4" fmla="*/ 17992 w 18341"/>
                  <a:gd name="connsiteY4" fmla="*/ 67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1">
                    <a:moveTo>
                      <a:pt x="17992" y="6710"/>
                    </a:moveTo>
                    <a:cubicBezTo>
                      <a:pt x="19368" y="11614"/>
                      <a:pt x="16557" y="16698"/>
                      <a:pt x="11713" y="18073"/>
                    </a:cubicBezTo>
                    <a:cubicBezTo>
                      <a:pt x="6868" y="19449"/>
                      <a:pt x="1784" y="16638"/>
                      <a:pt x="349" y="11734"/>
                    </a:cubicBezTo>
                    <a:cubicBezTo>
                      <a:pt x="-1026" y="6829"/>
                      <a:pt x="1784" y="1746"/>
                      <a:pt x="6629" y="370"/>
                    </a:cubicBezTo>
                    <a:cubicBezTo>
                      <a:pt x="11533" y="-1065"/>
                      <a:pt x="16617" y="1806"/>
                      <a:pt x="17992" y="6710"/>
                    </a:cubicBezTo>
                    <a:close/>
                  </a:path>
                </a:pathLst>
              </a:custGeom>
              <a:grpFill/>
              <a:ln w="5978" cap="flat">
                <a:noFill/>
                <a:prstDash val="solid"/>
                <a:miter/>
              </a:ln>
            </p:spPr>
            <p:txBody>
              <a:bodyPr rtlCol="0" anchor="ctr"/>
              <a:lstStyle/>
              <a:p>
                <a:endParaRPr lang="en-GB"/>
              </a:p>
            </p:txBody>
          </p:sp>
          <p:sp>
            <p:nvSpPr>
              <p:cNvPr id="3316" name="Vrije vorm: vorm 3315">
                <a:extLst>
                  <a:ext uri="{FF2B5EF4-FFF2-40B4-BE49-F238E27FC236}">
                    <a16:creationId xmlns:a16="http://schemas.microsoft.com/office/drawing/2014/main" id="{E3080626-C7BD-4BCC-B251-A2F1E9E92E9D}"/>
                  </a:ext>
                </a:extLst>
              </p:cNvPr>
              <p:cNvSpPr/>
              <p:nvPr/>
            </p:nvSpPr>
            <p:spPr>
              <a:xfrm>
                <a:off x="5318087" y="1374599"/>
                <a:ext cx="18341" cy="18400"/>
              </a:xfrm>
              <a:custGeom>
                <a:avLst/>
                <a:gdLst>
                  <a:gd name="connsiteX0" fmla="*/ 17992 w 18341"/>
                  <a:gd name="connsiteY0" fmla="*/ 6688 h 18400"/>
                  <a:gd name="connsiteX1" fmla="*/ 6629 w 18341"/>
                  <a:gd name="connsiteY1" fmla="*/ 349 h 18400"/>
                  <a:gd name="connsiteX2" fmla="*/ 349 w 18341"/>
                  <a:gd name="connsiteY2" fmla="*/ 11712 h 18400"/>
                  <a:gd name="connsiteX3" fmla="*/ 11713 w 18341"/>
                  <a:gd name="connsiteY3" fmla="*/ 18052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6617" y="1784"/>
                      <a:pt x="11533" y="-1027"/>
                      <a:pt x="6629" y="349"/>
                    </a:cubicBezTo>
                    <a:cubicBezTo>
                      <a:pt x="1784" y="1724"/>
                      <a:pt x="-1026" y="6808"/>
                      <a:pt x="349" y="11712"/>
                    </a:cubicBezTo>
                    <a:cubicBezTo>
                      <a:pt x="1725" y="16616"/>
                      <a:pt x="6808" y="19427"/>
                      <a:pt x="11713" y="18052"/>
                    </a:cubicBezTo>
                    <a:cubicBezTo>
                      <a:pt x="16557" y="16676"/>
                      <a:pt x="19368" y="11593"/>
                      <a:pt x="17992" y="6688"/>
                    </a:cubicBezTo>
                    <a:close/>
                  </a:path>
                </a:pathLst>
              </a:custGeom>
              <a:grpFill/>
              <a:ln w="5978" cap="flat">
                <a:noFill/>
                <a:prstDash val="solid"/>
                <a:miter/>
              </a:ln>
            </p:spPr>
            <p:txBody>
              <a:bodyPr rtlCol="0" anchor="ctr"/>
              <a:lstStyle/>
              <a:p>
                <a:endParaRPr lang="en-GB"/>
              </a:p>
            </p:txBody>
          </p:sp>
        </p:grpSp>
        <p:grpSp>
          <p:nvGrpSpPr>
            <p:cNvPr id="693" name="Graphic 3">
              <a:extLst>
                <a:ext uri="{FF2B5EF4-FFF2-40B4-BE49-F238E27FC236}">
                  <a16:creationId xmlns:a16="http://schemas.microsoft.com/office/drawing/2014/main" id="{24840B4D-9D46-46D4-A763-EE0A1C4FAADD}"/>
                </a:ext>
              </a:extLst>
            </p:cNvPr>
            <p:cNvGrpSpPr/>
            <p:nvPr/>
          </p:nvGrpSpPr>
          <p:grpSpPr>
            <a:xfrm>
              <a:off x="5420050" y="1754966"/>
              <a:ext cx="41981" cy="80914"/>
              <a:chOff x="5420050" y="1754966"/>
              <a:chExt cx="41981" cy="80914"/>
            </a:xfrm>
            <a:grpFill/>
          </p:grpSpPr>
          <p:sp>
            <p:nvSpPr>
              <p:cNvPr id="3311" name="Vrije vorm: vorm 3310">
                <a:extLst>
                  <a:ext uri="{FF2B5EF4-FFF2-40B4-BE49-F238E27FC236}">
                    <a16:creationId xmlns:a16="http://schemas.microsoft.com/office/drawing/2014/main" id="{4651CB34-4C51-49C8-A38D-FE7A360A4614}"/>
                  </a:ext>
                </a:extLst>
              </p:cNvPr>
              <p:cNvSpPr/>
              <p:nvPr/>
            </p:nvSpPr>
            <p:spPr>
              <a:xfrm>
                <a:off x="5427584" y="1763157"/>
                <a:ext cx="26853" cy="64472"/>
              </a:xfrm>
              <a:custGeom>
                <a:avLst/>
                <a:gdLst>
                  <a:gd name="connsiteX0" fmla="*/ 26853 w 26853"/>
                  <a:gd name="connsiteY0" fmla="*/ 63396 h 64472"/>
                  <a:gd name="connsiteX1" fmla="*/ 23983 w 26853"/>
                  <a:gd name="connsiteY1" fmla="*/ 64472 h 64472"/>
                  <a:gd name="connsiteX2" fmla="*/ 0 w 26853"/>
                  <a:gd name="connsiteY2" fmla="*/ 1076 h 64472"/>
                  <a:gd name="connsiteX3" fmla="*/ 2871 w 26853"/>
                  <a:gd name="connsiteY3" fmla="*/ 0 h 64472"/>
                </a:gdLst>
                <a:ahLst/>
                <a:cxnLst>
                  <a:cxn ang="0">
                    <a:pos x="connsiteX0" y="connsiteY0"/>
                  </a:cxn>
                  <a:cxn ang="0">
                    <a:pos x="connsiteX1" y="connsiteY1"/>
                  </a:cxn>
                  <a:cxn ang="0">
                    <a:pos x="connsiteX2" y="connsiteY2"/>
                  </a:cxn>
                  <a:cxn ang="0">
                    <a:pos x="connsiteX3" y="connsiteY3"/>
                  </a:cxn>
                </a:cxnLst>
                <a:rect l="l" t="t" r="r" b="b"/>
                <a:pathLst>
                  <a:path w="26853" h="64472">
                    <a:moveTo>
                      <a:pt x="26853" y="63396"/>
                    </a:moveTo>
                    <a:lnTo>
                      <a:pt x="23983" y="64472"/>
                    </a:lnTo>
                    <a:lnTo>
                      <a:pt x="0" y="1076"/>
                    </a:lnTo>
                    <a:lnTo>
                      <a:pt x="2871" y="0"/>
                    </a:lnTo>
                    <a:close/>
                  </a:path>
                </a:pathLst>
              </a:custGeom>
              <a:grpFill/>
              <a:ln w="5978" cap="flat">
                <a:noFill/>
                <a:prstDash val="solid"/>
                <a:miter/>
              </a:ln>
            </p:spPr>
            <p:txBody>
              <a:bodyPr rtlCol="0" anchor="ctr"/>
              <a:lstStyle/>
              <a:p>
                <a:endParaRPr lang="en-GB"/>
              </a:p>
            </p:txBody>
          </p:sp>
          <p:sp>
            <p:nvSpPr>
              <p:cNvPr id="3312" name="Vrije vorm: vorm 3311">
                <a:extLst>
                  <a:ext uri="{FF2B5EF4-FFF2-40B4-BE49-F238E27FC236}">
                    <a16:creationId xmlns:a16="http://schemas.microsoft.com/office/drawing/2014/main" id="{BFF12721-E49E-4354-9F84-2E1806A18B8F}"/>
                  </a:ext>
                </a:extLst>
              </p:cNvPr>
              <p:cNvSpPr/>
              <p:nvPr/>
            </p:nvSpPr>
            <p:spPr>
              <a:xfrm>
                <a:off x="5420050" y="1754966"/>
                <a:ext cx="18357" cy="18408"/>
              </a:xfrm>
              <a:custGeom>
                <a:avLst/>
                <a:gdLst>
                  <a:gd name="connsiteX0" fmla="*/ 597 w 18357"/>
                  <a:gd name="connsiteY0" fmla="*/ 12438 h 18408"/>
                  <a:gd name="connsiteX1" fmla="*/ 5919 w 18357"/>
                  <a:gd name="connsiteY1" fmla="*/ 596 h 18408"/>
                  <a:gd name="connsiteX2" fmla="*/ 17761 w 18357"/>
                  <a:gd name="connsiteY2" fmla="*/ 5978 h 18408"/>
                  <a:gd name="connsiteX3" fmla="*/ 12438 w 18357"/>
                  <a:gd name="connsiteY3" fmla="*/ 17820 h 18408"/>
                  <a:gd name="connsiteX4" fmla="*/ 597 w 18357"/>
                  <a:gd name="connsiteY4" fmla="*/ 12438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08">
                    <a:moveTo>
                      <a:pt x="597" y="12438"/>
                    </a:moveTo>
                    <a:cubicBezTo>
                      <a:pt x="-1198" y="7653"/>
                      <a:pt x="1194" y="2390"/>
                      <a:pt x="5919" y="596"/>
                    </a:cubicBezTo>
                    <a:cubicBezTo>
                      <a:pt x="10644" y="-1199"/>
                      <a:pt x="15967" y="1194"/>
                      <a:pt x="17761" y="5978"/>
                    </a:cubicBezTo>
                    <a:cubicBezTo>
                      <a:pt x="19555" y="10763"/>
                      <a:pt x="17163" y="16026"/>
                      <a:pt x="12438" y="17820"/>
                    </a:cubicBezTo>
                    <a:cubicBezTo>
                      <a:pt x="7654" y="19614"/>
                      <a:pt x="2391" y="17162"/>
                      <a:pt x="597" y="12438"/>
                    </a:cubicBezTo>
                    <a:close/>
                  </a:path>
                </a:pathLst>
              </a:custGeom>
              <a:grpFill/>
              <a:ln w="5978" cap="flat">
                <a:noFill/>
                <a:prstDash val="solid"/>
                <a:miter/>
              </a:ln>
            </p:spPr>
            <p:txBody>
              <a:bodyPr rtlCol="0" anchor="ctr"/>
              <a:lstStyle/>
              <a:p>
                <a:endParaRPr lang="en-GB"/>
              </a:p>
            </p:txBody>
          </p:sp>
          <p:sp>
            <p:nvSpPr>
              <p:cNvPr id="3313" name="Vrije vorm: vorm 3312">
                <a:extLst>
                  <a:ext uri="{FF2B5EF4-FFF2-40B4-BE49-F238E27FC236}">
                    <a16:creationId xmlns:a16="http://schemas.microsoft.com/office/drawing/2014/main" id="{EF86CD90-D378-43C5-89D1-5AFEA037AB93}"/>
                  </a:ext>
                </a:extLst>
              </p:cNvPr>
              <p:cNvSpPr/>
              <p:nvPr/>
            </p:nvSpPr>
            <p:spPr>
              <a:xfrm>
                <a:off x="5443674" y="1817464"/>
                <a:ext cx="18357" cy="18415"/>
              </a:xfrm>
              <a:custGeom>
                <a:avLst/>
                <a:gdLst>
                  <a:gd name="connsiteX0" fmla="*/ 596 w 18357"/>
                  <a:gd name="connsiteY0" fmla="*/ 12438 h 18415"/>
                  <a:gd name="connsiteX1" fmla="*/ 12438 w 18357"/>
                  <a:gd name="connsiteY1" fmla="*/ 17820 h 18415"/>
                  <a:gd name="connsiteX2" fmla="*/ 17761 w 18357"/>
                  <a:gd name="connsiteY2" fmla="*/ 5978 h 18415"/>
                  <a:gd name="connsiteX3" fmla="*/ 5919 w 18357"/>
                  <a:gd name="connsiteY3" fmla="*/ 596 h 18415"/>
                  <a:gd name="connsiteX4" fmla="*/ 596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6" y="12438"/>
                    </a:moveTo>
                    <a:cubicBezTo>
                      <a:pt x="2391" y="17222"/>
                      <a:pt x="7713" y="19614"/>
                      <a:pt x="12438" y="17820"/>
                    </a:cubicBezTo>
                    <a:cubicBezTo>
                      <a:pt x="17163" y="16026"/>
                      <a:pt x="19555" y="10703"/>
                      <a:pt x="17761" y="5978"/>
                    </a:cubicBezTo>
                    <a:cubicBezTo>
                      <a:pt x="15967" y="1194"/>
                      <a:pt x="10644" y="-1199"/>
                      <a:pt x="5919" y="596"/>
                    </a:cubicBezTo>
                    <a:cubicBezTo>
                      <a:pt x="1195" y="2330"/>
                      <a:pt x="-1198" y="7653"/>
                      <a:pt x="596" y="12438"/>
                    </a:cubicBezTo>
                    <a:close/>
                  </a:path>
                </a:pathLst>
              </a:custGeom>
              <a:grpFill/>
              <a:ln w="5978" cap="flat">
                <a:noFill/>
                <a:prstDash val="solid"/>
                <a:miter/>
              </a:ln>
            </p:spPr>
            <p:txBody>
              <a:bodyPr rtlCol="0" anchor="ctr"/>
              <a:lstStyle/>
              <a:p>
                <a:endParaRPr lang="en-GB"/>
              </a:p>
            </p:txBody>
          </p:sp>
        </p:grpSp>
        <p:grpSp>
          <p:nvGrpSpPr>
            <p:cNvPr id="694" name="Graphic 3">
              <a:extLst>
                <a:ext uri="{FF2B5EF4-FFF2-40B4-BE49-F238E27FC236}">
                  <a16:creationId xmlns:a16="http://schemas.microsoft.com/office/drawing/2014/main" id="{054C5D6E-ACFD-4F08-B7E8-EE98F970A800}"/>
                </a:ext>
              </a:extLst>
            </p:cNvPr>
            <p:cNvGrpSpPr/>
            <p:nvPr/>
          </p:nvGrpSpPr>
          <p:grpSpPr>
            <a:xfrm>
              <a:off x="5349657" y="1569085"/>
              <a:ext cx="82171" cy="187012"/>
              <a:chOff x="5349657" y="1569085"/>
              <a:chExt cx="82171" cy="187012"/>
            </a:xfrm>
            <a:grpFill/>
          </p:grpSpPr>
          <p:sp>
            <p:nvSpPr>
              <p:cNvPr id="3308" name="Vrije vorm: vorm 3307">
                <a:extLst>
                  <a:ext uri="{FF2B5EF4-FFF2-40B4-BE49-F238E27FC236}">
                    <a16:creationId xmlns:a16="http://schemas.microsoft.com/office/drawing/2014/main" id="{CE2130D8-48F7-4F79-870A-57A84EA387EF}"/>
                  </a:ext>
                </a:extLst>
              </p:cNvPr>
              <p:cNvSpPr/>
              <p:nvPr/>
            </p:nvSpPr>
            <p:spPr>
              <a:xfrm>
                <a:off x="5357191" y="1577276"/>
                <a:ext cx="67044" cy="170570"/>
              </a:xfrm>
              <a:custGeom>
                <a:avLst/>
                <a:gdLst>
                  <a:gd name="connsiteX0" fmla="*/ 67044 w 67044"/>
                  <a:gd name="connsiteY0" fmla="*/ 169494 h 170570"/>
                  <a:gd name="connsiteX1" fmla="*/ 64173 w 67044"/>
                  <a:gd name="connsiteY1" fmla="*/ 170570 h 170570"/>
                  <a:gd name="connsiteX2" fmla="*/ 0 w 67044"/>
                  <a:gd name="connsiteY2" fmla="*/ 1076 h 170570"/>
                  <a:gd name="connsiteX3" fmla="*/ 2871 w 67044"/>
                  <a:gd name="connsiteY3" fmla="*/ 0 h 170570"/>
                </a:gdLst>
                <a:ahLst/>
                <a:cxnLst>
                  <a:cxn ang="0">
                    <a:pos x="connsiteX0" y="connsiteY0"/>
                  </a:cxn>
                  <a:cxn ang="0">
                    <a:pos x="connsiteX1" y="connsiteY1"/>
                  </a:cxn>
                  <a:cxn ang="0">
                    <a:pos x="connsiteX2" y="connsiteY2"/>
                  </a:cxn>
                  <a:cxn ang="0">
                    <a:pos x="connsiteX3" y="connsiteY3"/>
                  </a:cxn>
                </a:cxnLst>
                <a:rect l="l" t="t" r="r" b="b"/>
                <a:pathLst>
                  <a:path w="67044" h="170570">
                    <a:moveTo>
                      <a:pt x="67044" y="169494"/>
                    </a:moveTo>
                    <a:lnTo>
                      <a:pt x="64173" y="170570"/>
                    </a:lnTo>
                    <a:lnTo>
                      <a:pt x="0" y="1076"/>
                    </a:lnTo>
                    <a:lnTo>
                      <a:pt x="2871" y="0"/>
                    </a:lnTo>
                    <a:close/>
                  </a:path>
                </a:pathLst>
              </a:custGeom>
              <a:grpFill/>
              <a:ln w="5978" cap="flat">
                <a:noFill/>
                <a:prstDash val="solid"/>
                <a:miter/>
              </a:ln>
            </p:spPr>
            <p:txBody>
              <a:bodyPr rtlCol="0" anchor="ctr"/>
              <a:lstStyle/>
              <a:p>
                <a:endParaRPr lang="en-GB"/>
              </a:p>
            </p:txBody>
          </p:sp>
          <p:sp>
            <p:nvSpPr>
              <p:cNvPr id="3309" name="Vrije vorm: vorm 3308">
                <a:extLst>
                  <a:ext uri="{FF2B5EF4-FFF2-40B4-BE49-F238E27FC236}">
                    <a16:creationId xmlns:a16="http://schemas.microsoft.com/office/drawing/2014/main" id="{3CF23C2E-ADBB-4393-A1FB-C34A15A319A9}"/>
                  </a:ext>
                </a:extLst>
              </p:cNvPr>
              <p:cNvSpPr/>
              <p:nvPr/>
            </p:nvSpPr>
            <p:spPr>
              <a:xfrm>
                <a:off x="5349657" y="1569085"/>
                <a:ext cx="18357" cy="18408"/>
              </a:xfrm>
              <a:custGeom>
                <a:avLst/>
                <a:gdLst>
                  <a:gd name="connsiteX0" fmla="*/ 596 w 18357"/>
                  <a:gd name="connsiteY0" fmla="*/ 12438 h 18408"/>
                  <a:gd name="connsiteX1" fmla="*/ 5919 w 18357"/>
                  <a:gd name="connsiteY1" fmla="*/ 596 h 18408"/>
                  <a:gd name="connsiteX2" fmla="*/ 17761 w 18357"/>
                  <a:gd name="connsiteY2" fmla="*/ 5978 h 18408"/>
                  <a:gd name="connsiteX3" fmla="*/ 12438 w 18357"/>
                  <a:gd name="connsiteY3" fmla="*/ 17820 h 18408"/>
                  <a:gd name="connsiteX4" fmla="*/ 596 w 18357"/>
                  <a:gd name="connsiteY4" fmla="*/ 12438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08">
                    <a:moveTo>
                      <a:pt x="596" y="12438"/>
                    </a:moveTo>
                    <a:cubicBezTo>
                      <a:pt x="-1198" y="7653"/>
                      <a:pt x="1194" y="2390"/>
                      <a:pt x="5919" y="596"/>
                    </a:cubicBezTo>
                    <a:cubicBezTo>
                      <a:pt x="10644" y="-1199"/>
                      <a:pt x="15967" y="1194"/>
                      <a:pt x="17761" y="5978"/>
                    </a:cubicBezTo>
                    <a:cubicBezTo>
                      <a:pt x="19555" y="10763"/>
                      <a:pt x="17163" y="16026"/>
                      <a:pt x="12438" y="17820"/>
                    </a:cubicBezTo>
                    <a:cubicBezTo>
                      <a:pt x="7654" y="19614"/>
                      <a:pt x="2391" y="17162"/>
                      <a:pt x="596" y="12438"/>
                    </a:cubicBezTo>
                    <a:close/>
                  </a:path>
                </a:pathLst>
              </a:custGeom>
              <a:grpFill/>
              <a:ln w="5978" cap="flat">
                <a:noFill/>
                <a:prstDash val="solid"/>
                <a:miter/>
              </a:ln>
            </p:spPr>
            <p:txBody>
              <a:bodyPr rtlCol="0" anchor="ctr"/>
              <a:lstStyle/>
              <a:p>
                <a:endParaRPr lang="en-GB"/>
              </a:p>
            </p:txBody>
          </p:sp>
          <p:sp>
            <p:nvSpPr>
              <p:cNvPr id="3310" name="Vrije vorm: vorm 3309">
                <a:extLst>
                  <a:ext uri="{FF2B5EF4-FFF2-40B4-BE49-F238E27FC236}">
                    <a16:creationId xmlns:a16="http://schemas.microsoft.com/office/drawing/2014/main" id="{26E2CC82-8745-438D-AF00-8E75FDB36F03}"/>
                  </a:ext>
                </a:extLst>
              </p:cNvPr>
              <p:cNvSpPr/>
              <p:nvPr/>
            </p:nvSpPr>
            <p:spPr>
              <a:xfrm>
                <a:off x="5413472" y="1737681"/>
                <a:ext cx="18357" cy="18415"/>
              </a:xfrm>
              <a:custGeom>
                <a:avLst/>
                <a:gdLst>
                  <a:gd name="connsiteX0" fmla="*/ 596 w 18357"/>
                  <a:gd name="connsiteY0" fmla="*/ 12438 h 18415"/>
                  <a:gd name="connsiteX1" fmla="*/ 12438 w 18357"/>
                  <a:gd name="connsiteY1" fmla="*/ 17820 h 18415"/>
                  <a:gd name="connsiteX2" fmla="*/ 17761 w 18357"/>
                  <a:gd name="connsiteY2" fmla="*/ 5978 h 18415"/>
                  <a:gd name="connsiteX3" fmla="*/ 5919 w 18357"/>
                  <a:gd name="connsiteY3" fmla="*/ 596 h 18415"/>
                  <a:gd name="connsiteX4" fmla="*/ 596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6" y="12438"/>
                    </a:moveTo>
                    <a:cubicBezTo>
                      <a:pt x="2390" y="17222"/>
                      <a:pt x="7713" y="19614"/>
                      <a:pt x="12438" y="17820"/>
                    </a:cubicBezTo>
                    <a:cubicBezTo>
                      <a:pt x="17163" y="16026"/>
                      <a:pt x="19555" y="10703"/>
                      <a:pt x="17761" y="5978"/>
                    </a:cubicBezTo>
                    <a:cubicBezTo>
                      <a:pt x="15967" y="1194"/>
                      <a:pt x="10644" y="-1199"/>
                      <a:pt x="5919" y="596"/>
                    </a:cubicBezTo>
                    <a:cubicBezTo>
                      <a:pt x="1195" y="2390"/>
                      <a:pt x="-1198" y="7713"/>
                      <a:pt x="596" y="12438"/>
                    </a:cubicBezTo>
                    <a:close/>
                  </a:path>
                </a:pathLst>
              </a:custGeom>
              <a:grpFill/>
              <a:ln w="5978" cap="flat">
                <a:noFill/>
                <a:prstDash val="solid"/>
                <a:miter/>
              </a:ln>
            </p:spPr>
            <p:txBody>
              <a:bodyPr rtlCol="0" anchor="ctr"/>
              <a:lstStyle/>
              <a:p>
                <a:endParaRPr lang="en-GB"/>
              </a:p>
            </p:txBody>
          </p:sp>
        </p:grpSp>
        <p:grpSp>
          <p:nvGrpSpPr>
            <p:cNvPr id="695" name="Graphic 3">
              <a:extLst>
                <a:ext uri="{FF2B5EF4-FFF2-40B4-BE49-F238E27FC236}">
                  <a16:creationId xmlns:a16="http://schemas.microsoft.com/office/drawing/2014/main" id="{2F0D2811-59AB-4633-9061-AE692CECD7FE}"/>
                </a:ext>
              </a:extLst>
            </p:cNvPr>
            <p:cNvGrpSpPr/>
            <p:nvPr/>
          </p:nvGrpSpPr>
          <p:grpSpPr>
            <a:xfrm>
              <a:off x="6539307" y="5021363"/>
              <a:ext cx="122394" cy="490898"/>
              <a:chOff x="6539307" y="5021363"/>
              <a:chExt cx="122394" cy="490898"/>
            </a:xfrm>
            <a:grpFill/>
          </p:grpSpPr>
          <p:sp>
            <p:nvSpPr>
              <p:cNvPr id="3305" name="Vrije vorm: vorm 3304">
                <a:extLst>
                  <a:ext uri="{FF2B5EF4-FFF2-40B4-BE49-F238E27FC236}">
                    <a16:creationId xmlns:a16="http://schemas.microsoft.com/office/drawing/2014/main" id="{693963B7-9FEF-4A2D-8E8E-025BD02BC4B1}"/>
                  </a:ext>
                </a:extLst>
              </p:cNvPr>
              <p:cNvSpPr/>
              <p:nvPr/>
            </p:nvSpPr>
            <p:spPr>
              <a:xfrm>
                <a:off x="6546877" y="5029767"/>
                <a:ext cx="107234" cy="474032"/>
              </a:xfrm>
              <a:custGeom>
                <a:avLst/>
                <a:gdLst>
                  <a:gd name="connsiteX0" fmla="*/ 2990 w 107234"/>
                  <a:gd name="connsiteY0" fmla="*/ 0 h 474032"/>
                  <a:gd name="connsiteX1" fmla="*/ 107234 w 107234"/>
                  <a:gd name="connsiteY1" fmla="*/ 473374 h 474032"/>
                  <a:gd name="connsiteX2" fmla="*/ 104244 w 107234"/>
                  <a:gd name="connsiteY2" fmla="*/ 474032 h 474032"/>
                  <a:gd name="connsiteX3" fmla="*/ 0 w 107234"/>
                  <a:gd name="connsiteY3" fmla="*/ 658 h 474032"/>
                </a:gdLst>
                <a:ahLst/>
                <a:cxnLst>
                  <a:cxn ang="0">
                    <a:pos x="connsiteX0" y="connsiteY0"/>
                  </a:cxn>
                  <a:cxn ang="0">
                    <a:pos x="connsiteX1" y="connsiteY1"/>
                  </a:cxn>
                  <a:cxn ang="0">
                    <a:pos x="connsiteX2" y="connsiteY2"/>
                  </a:cxn>
                  <a:cxn ang="0">
                    <a:pos x="connsiteX3" y="connsiteY3"/>
                  </a:cxn>
                </a:cxnLst>
                <a:rect l="l" t="t" r="r" b="b"/>
                <a:pathLst>
                  <a:path w="107234" h="474032">
                    <a:moveTo>
                      <a:pt x="2990" y="0"/>
                    </a:moveTo>
                    <a:lnTo>
                      <a:pt x="107234" y="473374"/>
                    </a:lnTo>
                    <a:lnTo>
                      <a:pt x="104244" y="474032"/>
                    </a:lnTo>
                    <a:lnTo>
                      <a:pt x="0" y="658"/>
                    </a:lnTo>
                    <a:close/>
                  </a:path>
                </a:pathLst>
              </a:custGeom>
              <a:grpFill/>
              <a:ln w="5978" cap="flat">
                <a:noFill/>
                <a:prstDash val="solid"/>
                <a:miter/>
              </a:ln>
            </p:spPr>
            <p:txBody>
              <a:bodyPr rtlCol="0" anchor="ctr"/>
              <a:lstStyle/>
              <a:p>
                <a:endParaRPr lang="en-GB"/>
              </a:p>
            </p:txBody>
          </p:sp>
          <p:sp>
            <p:nvSpPr>
              <p:cNvPr id="3306" name="Vrije vorm: vorm 3305">
                <a:extLst>
                  <a:ext uri="{FF2B5EF4-FFF2-40B4-BE49-F238E27FC236}">
                    <a16:creationId xmlns:a16="http://schemas.microsoft.com/office/drawing/2014/main" id="{DC0B3F45-FB0F-4758-8D88-A26DC270F4F8}"/>
                  </a:ext>
                </a:extLst>
              </p:cNvPr>
              <p:cNvSpPr/>
              <p:nvPr/>
            </p:nvSpPr>
            <p:spPr>
              <a:xfrm>
                <a:off x="6539307" y="5021363"/>
                <a:ext cx="18308" cy="18421"/>
              </a:xfrm>
              <a:custGeom>
                <a:avLst/>
                <a:gdLst>
                  <a:gd name="connsiteX0" fmla="*/ 213 w 18308"/>
                  <a:gd name="connsiteY0" fmla="*/ 11155 h 18421"/>
                  <a:gd name="connsiteX1" fmla="*/ 7151 w 18308"/>
                  <a:gd name="connsiteY1" fmla="*/ 210 h 18421"/>
                  <a:gd name="connsiteX2" fmla="*/ 18095 w 18308"/>
                  <a:gd name="connsiteY2" fmla="*/ 7267 h 18421"/>
                  <a:gd name="connsiteX3" fmla="*/ 11158 w 18308"/>
                  <a:gd name="connsiteY3" fmla="*/ 18212 h 18421"/>
                  <a:gd name="connsiteX4" fmla="*/ 213 w 18308"/>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1">
                    <a:moveTo>
                      <a:pt x="213" y="11155"/>
                    </a:moveTo>
                    <a:cubicBezTo>
                      <a:pt x="-864" y="6191"/>
                      <a:pt x="2247" y="1286"/>
                      <a:pt x="7151" y="210"/>
                    </a:cubicBezTo>
                    <a:cubicBezTo>
                      <a:pt x="12115" y="-867"/>
                      <a:pt x="16959" y="2303"/>
                      <a:pt x="18095" y="7267"/>
                    </a:cubicBezTo>
                    <a:cubicBezTo>
                      <a:pt x="19172" y="12231"/>
                      <a:pt x="16062" y="17136"/>
                      <a:pt x="11158" y="18212"/>
                    </a:cubicBezTo>
                    <a:cubicBezTo>
                      <a:pt x="6194" y="19288"/>
                      <a:pt x="1349" y="16119"/>
                      <a:pt x="213" y="11155"/>
                    </a:cubicBezTo>
                    <a:close/>
                  </a:path>
                </a:pathLst>
              </a:custGeom>
              <a:grpFill/>
              <a:ln w="5978" cap="flat">
                <a:noFill/>
                <a:prstDash val="solid"/>
                <a:miter/>
              </a:ln>
            </p:spPr>
            <p:txBody>
              <a:bodyPr rtlCol="0" anchor="ctr"/>
              <a:lstStyle/>
              <a:p>
                <a:endParaRPr lang="en-GB"/>
              </a:p>
            </p:txBody>
          </p:sp>
          <p:sp>
            <p:nvSpPr>
              <p:cNvPr id="3307" name="Vrije vorm: vorm 3306">
                <a:extLst>
                  <a:ext uri="{FF2B5EF4-FFF2-40B4-BE49-F238E27FC236}">
                    <a16:creationId xmlns:a16="http://schemas.microsoft.com/office/drawing/2014/main" id="{912EDE4E-2DFB-4845-946D-EB3F2354D2A3}"/>
                  </a:ext>
                </a:extLst>
              </p:cNvPr>
              <p:cNvSpPr/>
              <p:nvPr/>
            </p:nvSpPr>
            <p:spPr>
              <a:xfrm>
                <a:off x="6643354" y="5493840"/>
                <a:ext cx="18347" cy="18421"/>
              </a:xfrm>
              <a:custGeom>
                <a:avLst/>
                <a:gdLst>
                  <a:gd name="connsiteX0" fmla="*/ 231 w 18347"/>
                  <a:gd name="connsiteY0" fmla="*/ 11155 h 18421"/>
                  <a:gd name="connsiteX1" fmla="*/ 11176 w 18347"/>
                  <a:gd name="connsiteY1" fmla="*/ 18212 h 18421"/>
                  <a:gd name="connsiteX2" fmla="*/ 18114 w 18347"/>
                  <a:gd name="connsiteY2" fmla="*/ 7267 h 18421"/>
                  <a:gd name="connsiteX3" fmla="*/ 7169 w 18347"/>
                  <a:gd name="connsiteY3" fmla="*/ 210 h 18421"/>
                  <a:gd name="connsiteX4" fmla="*/ 231 w 18347"/>
                  <a:gd name="connsiteY4" fmla="*/ 11155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21">
                    <a:moveTo>
                      <a:pt x="231" y="11155"/>
                    </a:moveTo>
                    <a:cubicBezTo>
                      <a:pt x="1308" y="16119"/>
                      <a:pt x="6212" y="19288"/>
                      <a:pt x="11176" y="18212"/>
                    </a:cubicBezTo>
                    <a:cubicBezTo>
                      <a:pt x="16140" y="17136"/>
                      <a:pt x="19250" y="12231"/>
                      <a:pt x="18114" y="7267"/>
                    </a:cubicBezTo>
                    <a:cubicBezTo>
                      <a:pt x="17037" y="2303"/>
                      <a:pt x="12133" y="-867"/>
                      <a:pt x="7169" y="210"/>
                    </a:cubicBezTo>
                    <a:cubicBezTo>
                      <a:pt x="2264" y="1286"/>
                      <a:pt x="-905" y="6191"/>
                      <a:pt x="231" y="11155"/>
                    </a:cubicBezTo>
                    <a:close/>
                  </a:path>
                </a:pathLst>
              </a:custGeom>
              <a:grpFill/>
              <a:ln w="5978" cap="flat">
                <a:noFill/>
                <a:prstDash val="solid"/>
                <a:miter/>
              </a:ln>
            </p:spPr>
            <p:txBody>
              <a:bodyPr rtlCol="0" anchor="ctr"/>
              <a:lstStyle/>
              <a:p>
                <a:endParaRPr lang="en-GB"/>
              </a:p>
            </p:txBody>
          </p:sp>
        </p:grpSp>
        <p:grpSp>
          <p:nvGrpSpPr>
            <p:cNvPr id="696" name="Graphic 3">
              <a:extLst>
                <a:ext uri="{FF2B5EF4-FFF2-40B4-BE49-F238E27FC236}">
                  <a16:creationId xmlns:a16="http://schemas.microsoft.com/office/drawing/2014/main" id="{EDB415FF-F6CB-4327-89E6-BD579886FE6C}"/>
                </a:ext>
              </a:extLst>
            </p:cNvPr>
            <p:cNvGrpSpPr/>
            <p:nvPr/>
          </p:nvGrpSpPr>
          <p:grpSpPr>
            <a:xfrm>
              <a:off x="6510643" y="5032050"/>
              <a:ext cx="36223" cy="80899"/>
              <a:chOff x="6510643" y="5032050"/>
              <a:chExt cx="36223" cy="80899"/>
            </a:xfrm>
            <a:grpFill/>
          </p:grpSpPr>
          <p:sp>
            <p:nvSpPr>
              <p:cNvPr id="3302" name="Vrije vorm: vorm 3301">
                <a:extLst>
                  <a:ext uri="{FF2B5EF4-FFF2-40B4-BE49-F238E27FC236}">
                    <a16:creationId xmlns:a16="http://schemas.microsoft.com/office/drawing/2014/main" id="{03302C35-2DA9-4284-B290-4F46B9A9EF86}"/>
                  </a:ext>
                </a:extLst>
              </p:cNvPr>
              <p:cNvSpPr/>
              <p:nvPr/>
            </p:nvSpPr>
            <p:spPr>
              <a:xfrm>
                <a:off x="6518591" y="5040410"/>
                <a:ext cx="21073" cy="64266"/>
              </a:xfrm>
              <a:custGeom>
                <a:avLst/>
                <a:gdLst>
                  <a:gd name="connsiteX0" fmla="*/ 0 w 21073"/>
                  <a:gd name="connsiteY0" fmla="*/ 839 h 64266"/>
                  <a:gd name="connsiteX1" fmla="*/ 2933 w 21073"/>
                  <a:gd name="connsiteY1" fmla="*/ 0 h 64266"/>
                  <a:gd name="connsiteX2" fmla="*/ 21074 w 21073"/>
                  <a:gd name="connsiteY2" fmla="*/ 63428 h 64266"/>
                  <a:gd name="connsiteX3" fmla="*/ 18141 w 21073"/>
                  <a:gd name="connsiteY3" fmla="*/ 64266 h 64266"/>
                </a:gdLst>
                <a:ahLst/>
                <a:cxnLst>
                  <a:cxn ang="0">
                    <a:pos x="connsiteX0" y="connsiteY0"/>
                  </a:cxn>
                  <a:cxn ang="0">
                    <a:pos x="connsiteX1" y="connsiteY1"/>
                  </a:cxn>
                  <a:cxn ang="0">
                    <a:pos x="connsiteX2" y="connsiteY2"/>
                  </a:cxn>
                  <a:cxn ang="0">
                    <a:pos x="connsiteX3" y="connsiteY3"/>
                  </a:cxn>
                </a:cxnLst>
                <a:rect l="l" t="t" r="r" b="b"/>
                <a:pathLst>
                  <a:path w="21073" h="64266">
                    <a:moveTo>
                      <a:pt x="0" y="839"/>
                    </a:moveTo>
                    <a:lnTo>
                      <a:pt x="2933" y="0"/>
                    </a:lnTo>
                    <a:lnTo>
                      <a:pt x="21074" y="63428"/>
                    </a:lnTo>
                    <a:lnTo>
                      <a:pt x="18141" y="64266"/>
                    </a:lnTo>
                    <a:close/>
                  </a:path>
                </a:pathLst>
              </a:custGeom>
              <a:grpFill/>
              <a:ln w="5978" cap="flat">
                <a:noFill/>
                <a:prstDash val="solid"/>
                <a:miter/>
              </a:ln>
            </p:spPr>
            <p:txBody>
              <a:bodyPr rtlCol="0" anchor="ctr"/>
              <a:lstStyle/>
              <a:p>
                <a:endParaRPr lang="en-GB"/>
              </a:p>
            </p:txBody>
          </p:sp>
          <p:sp>
            <p:nvSpPr>
              <p:cNvPr id="3303" name="Vrije vorm: vorm 3302">
                <a:extLst>
                  <a:ext uri="{FF2B5EF4-FFF2-40B4-BE49-F238E27FC236}">
                    <a16:creationId xmlns:a16="http://schemas.microsoft.com/office/drawing/2014/main" id="{EBE0E1C2-1AB7-4CEA-9061-8ED6F31F57EF}"/>
                  </a:ext>
                </a:extLst>
              </p:cNvPr>
              <p:cNvSpPr/>
              <p:nvPr/>
            </p:nvSpPr>
            <p:spPr>
              <a:xfrm>
                <a:off x="6528525" y="5094548"/>
                <a:ext cx="18341" cy="18400"/>
              </a:xfrm>
              <a:custGeom>
                <a:avLst/>
                <a:gdLst>
                  <a:gd name="connsiteX0" fmla="*/ 17992 w 18341"/>
                  <a:gd name="connsiteY0" fmla="*/ 6688 h 18400"/>
                  <a:gd name="connsiteX1" fmla="*/ 11712 w 18341"/>
                  <a:gd name="connsiteY1" fmla="*/ 18052 h 18400"/>
                  <a:gd name="connsiteX2" fmla="*/ 349 w 18341"/>
                  <a:gd name="connsiteY2" fmla="*/ 11712 h 18400"/>
                  <a:gd name="connsiteX3" fmla="*/ 6629 w 18341"/>
                  <a:gd name="connsiteY3" fmla="*/ 349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9368" y="11593"/>
                      <a:pt x="16557" y="16676"/>
                      <a:pt x="11712" y="18052"/>
                    </a:cubicBezTo>
                    <a:cubicBezTo>
                      <a:pt x="6868" y="19427"/>
                      <a:pt x="1785" y="16617"/>
                      <a:pt x="349" y="11712"/>
                    </a:cubicBezTo>
                    <a:cubicBezTo>
                      <a:pt x="-1027" y="6808"/>
                      <a:pt x="1785" y="1724"/>
                      <a:pt x="6629" y="349"/>
                    </a:cubicBezTo>
                    <a:cubicBezTo>
                      <a:pt x="11473" y="-1027"/>
                      <a:pt x="16557" y="1784"/>
                      <a:pt x="17992" y="6688"/>
                    </a:cubicBezTo>
                    <a:close/>
                  </a:path>
                </a:pathLst>
              </a:custGeom>
              <a:grpFill/>
              <a:ln w="5978" cap="flat">
                <a:noFill/>
                <a:prstDash val="solid"/>
                <a:miter/>
              </a:ln>
            </p:spPr>
            <p:txBody>
              <a:bodyPr rtlCol="0" anchor="ctr"/>
              <a:lstStyle/>
              <a:p>
                <a:endParaRPr lang="en-GB"/>
              </a:p>
            </p:txBody>
          </p:sp>
          <p:sp>
            <p:nvSpPr>
              <p:cNvPr id="3304" name="Vrije vorm: vorm 3303">
                <a:extLst>
                  <a:ext uri="{FF2B5EF4-FFF2-40B4-BE49-F238E27FC236}">
                    <a16:creationId xmlns:a16="http://schemas.microsoft.com/office/drawing/2014/main" id="{31E17BB2-3E1D-4317-899A-27C089EBE802}"/>
                  </a:ext>
                </a:extLst>
              </p:cNvPr>
              <p:cNvSpPr/>
              <p:nvPr/>
            </p:nvSpPr>
            <p:spPr>
              <a:xfrm>
                <a:off x="6510643" y="5032050"/>
                <a:ext cx="18345" cy="18400"/>
              </a:xfrm>
              <a:custGeom>
                <a:avLst/>
                <a:gdLst>
                  <a:gd name="connsiteX0" fmla="*/ 17992 w 18345"/>
                  <a:gd name="connsiteY0" fmla="*/ 6688 h 18400"/>
                  <a:gd name="connsiteX1" fmla="*/ 6629 w 18345"/>
                  <a:gd name="connsiteY1" fmla="*/ 349 h 18400"/>
                  <a:gd name="connsiteX2" fmla="*/ 349 w 18345"/>
                  <a:gd name="connsiteY2" fmla="*/ 11712 h 18400"/>
                  <a:gd name="connsiteX3" fmla="*/ 11712 w 18345"/>
                  <a:gd name="connsiteY3" fmla="*/ 18052 h 18400"/>
                  <a:gd name="connsiteX4" fmla="*/ 17992 w 18345"/>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0">
                    <a:moveTo>
                      <a:pt x="17992" y="6688"/>
                    </a:moveTo>
                    <a:cubicBezTo>
                      <a:pt x="16617" y="1785"/>
                      <a:pt x="11533" y="-1027"/>
                      <a:pt x="6629" y="349"/>
                    </a:cubicBezTo>
                    <a:cubicBezTo>
                      <a:pt x="1785" y="1725"/>
                      <a:pt x="-1027" y="6808"/>
                      <a:pt x="349" y="11712"/>
                    </a:cubicBezTo>
                    <a:cubicBezTo>
                      <a:pt x="1725" y="16617"/>
                      <a:pt x="6808" y="19427"/>
                      <a:pt x="11712" y="18052"/>
                    </a:cubicBezTo>
                    <a:cubicBezTo>
                      <a:pt x="16617" y="16676"/>
                      <a:pt x="19368" y="11593"/>
                      <a:pt x="17992" y="6688"/>
                    </a:cubicBezTo>
                    <a:close/>
                  </a:path>
                </a:pathLst>
              </a:custGeom>
              <a:grpFill/>
              <a:ln w="5978" cap="flat">
                <a:noFill/>
                <a:prstDash val="solid"/>
                <a:miter/>
              </a:ln>
            </p:spPr>
            <p:txBody>
              <a:bodyPr rtlCol="0" anchor="ctr"/>
              <a:lstStyle/>
              <a:p>
                <a:endParaRPr lang="en-GB"/>
              </a:p>
            </p:txBody>
          </p:sp>
        </p:grpSp>
        <p:grpSp>
          <p:nvGrpSpPr>
            <p:cNvPr id="697" name="Graphic 3">
              <a:extLst>
                <a:ext uri="{FF2B5EF4-FFF2-40B4-BE49-F238E27FC236}">
                  <a16:creationId xmlns:a16="http://schemas.microsoft.com/office/drawing/2014/main" id="{7C083E94-2180-4113-A2E2-ADB619719191}"/>
                </a:ext>
              </a:extLst>
            </p:cNvPr>
            <p:cNvGrpSpPr/>
            <p:nvPr/>
          </p:nvGrpSpPr>
          <p:grpSpPr>
            <a:xfrm>
              <a:off x="6533549" y="5112251"/>
              <a:ext cx="100277" cy="304697"/>
              <a:chOff x="6533549" y="5112251"/>
              <a:chExt cx="100277" cy="304697"/>
            </a:xfrm>
            <a:grpFill/>
          </p:grpSpPr>
          <p:sp>
            <p:nvSpPr>
              <p:cNvPr id="3299" name="Vrije vorm: vorm 3298">
                <a:extLst>
                  <a:ext uri="{FF2B5EF4-FFF2-40B4-BE49-F238E27FC236}">
                    <a16:creationId xmlns:a16="http://schemas.microsoft.com/office/drawing/2014/main" id="{F0C0A6E2-EC43-4295-B6B1-F9AE0908BB60}"/>
                  </a:ext>
                </a:extLst>
              </p:cNvPr>
              <p:cNvSpPr/>
              <p:nvPr/>
            </p:nvSpPr>
            <p:spPr>
              <a:xfrm>
                <a:off x="6541107" y="5120429"/>
                <a:ext cx="85098" cy="287987"/>
              </a:xfrm>
              <a:custGeom>
                <a:avLst/>
                <a:gdLst>
                  <a:gd name="connsiteX0" fmla="*/ 0 w 85098"/>
                  <a:gd name="connsiteY0" fmla="*/ 839 h 287987"/>
                  <a:gd name="connsiteX1" fmla="*/ 2932 w 85098"/>
                  <a:gd name="connsiteY1" fmla="*/ 0 h 287987"/>
                  <a:gd name="connsiteX2" fmla="*/ 85099 w 85098"/>
                  <a:gd name="connsiteY2" fmla="*/ 287148 h 287987"/>
                  <a:gd name="connsiteX3" fmla="*/ 82166 w 85098"/>
                  <a:gd name="connsiteY3" fmla="*/ 287988 h 287987"/>
                </a:gdLst>
                <a:ahLst/>
                <a:cxnLst>
                  <a:cxn ang="0">
                    <a:pos x="connsiteX0" y="connsiteY0"/>
                  </a:cxn>
                  <a:cxn ang="0">
                    <a:pos x="connsiteX1" y="connsiteY1"/>
                  </a:cxn>
                  <a:cxn ang="0">
                    <a:pos x="connsiteX2" y="connsiteY2"/>
                  </a:cxn>
                  <a:cxn ang="0">
                    <a:pos x="connsiteX3" y="connsiteY3"/>
                  </a:cxn>
                </a:cxnLst>
                <a:rect l="l" t="t" r="r" b="b"/>
                <a:pathLst>
                  <a:path w="85098" h="287987">
                    <a:moveTo>
                      <a:pt x="0" y="839"/>
                    </a:moveTo>
                    <a:lnTo>
                      <a:pt x="2932" y="0"/>
                    </a:lnTo>
                    <a:lnTo>
                      <a:pt x="85099" y="287148"/>
                    </a:lnTo>
                    <a:lnTo>
                      <a:pt x="82166" y="287988"/>
                    </a:lnTo>
                    <a:close/>
                  </a:path>
                </a:pathLst>
              </a:custGeom>
              <a:grpFill/>
              <a:ln w="5978" cap="flat">
                <a:noFill/>
                <a:prstDash val="solid"/>
                <a:miter/>
              </a:ln>
            </p:spPr>
            <p:txBody>
              <a:bodyPr rtlCol="0" anchor="ctr"/>
              <a:lstStyle/>
              <a:p>
                <a:endParaRPr lang="en-GB"/>
              </a:p>
            </p:txBody>
          </p:sp>
          <p:sp>
            <p:nvSpPr>
              <p:cNvPr id="3300" name="Vrije vorm: vorm 3299">
                <a:extLst>
                  <a:ext uri="{FF2B5EF4-FFF2-40B4-BE49-F238E27FC236}">
                    <a16:creationId xmlns:a16="http://schemas.microsoft.com/office/drawing/2014/main" id="{6379D723-9272-4418-B076-94F8D2026222}"/>
                  </a:ext>
                </a:extLst>
              </p:cNvPr>
              <p:cNvSpPr/>
              <p:nvPr/>
            </p:nvSpPr>
            <p:spPr>
              <a:xfrm>
                <a:off x="6615485" y="5398548"/>
                <a:ext cx="18341" cy="18400"/>
              </a:xfrm>
              <a:custGeom>
                <a:avLst/>
                <a:gdLst>
                  <a:gd name="connsiteX0" fmla="*/ 17992 w 18341"/>
                  <a:gd name="connsiteY0" fmla="*/ 6688 h 18400"/>
                  <a:gd name="connsiteX1" fmla="*/ 11713 w 18341"/>
                  <a:gd name="connsiteY1" fmla="*/ 18052 h 18400"/>
                  <a:gd name="connsiteX2" fmla="*/ 349 w 18341"/>
                  <a:gd name="connsiteY2" fmla="*/ 11712 h 18400"/>
                  <a:gd name="connsiteX3" fmla="*/ 6629 w 18341"/>
                  <a:gd name="connsiteY3" fmla="*/ 349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9368" y="11593"/>
                      <a:pt x="16557" y="16676"/>
                      <a:pt x="11713" y="18052"/>
                    </a:cubicBezTo>
                    <a:cubicBezTo>
                      <a:pt x="6868" y="19427"/>
                      <a:pt x="1784" y="16616"/>
                      <a:pt x="349" y="11712"/>
                    </a:cubicBezTo>
                    <a:cubicBezTo>
                      <a:pt x="-1026" y="6808"/>
                      <a:pt x="1784" y="1724"/>
                      <a:pt x="6629" y="349"/>
                    </a:cubicBezTo>
                    <a:cubicBezTo>
                      <a:pt x="11533" y="-1027"/>
                      <a:pt x="16557" y="1784"/>
                      <a:pt x="17992" y="6688"/>
                    </a:cubicBezTo>
                    <a:close/>
                  </a:path>
                </a:pathLst>
              </a:custGeom>
              <a:grpFill/>
              <a:ln w="5978" cap="flat">
                <a:noFill/>
                <a:prstDash val="solid"/>
                <a:miter/>
              </a:ln>
            </p:spPr>
            <p:txBody>
              <a:bodyPr rtlCol="0" anchor="ctr"/>
              <a:lstStyle/>
              <a:p>
                <a:endParaRPr lang="en-GB"/>
              </a:p>
            </p:txBody>
          </p:sp>
          <p:sp>
            <p:nvSpPr>
              <p:cNvPr id="3301" name="Vrije vorm: vorm 3300">
                <a:extLst>
                  <a:ext uri="{FF2B5EF4-FFF2-40B4-BE49-F238E27FC236}">
                    <a16:creationId xmlns:a16="http://schemas.microsoft.com/office/drawing/2014/main" id="{C81F4330-63EE-49AE-86BE-9CB5318CF61A}"/>
                  </a:ext>
                </a:extLst>
              </p:cNvPr>
              <p:cNvSpPr/>
              <p:nvPr/>
            </p:nvSpPr>
            <p:spPr>
              <a:xfrm>
                <a:off x="6533549" y="5112251"/>
                <a:ext cx="18367" cy="18400"/>
              </a:xfrm>
              <a:custGeom>
                <a:avLst/>
                <a:gdLst>
                  <a:gd name="connsiteX0" fmla="*/ 17992 w 18367"/>
                  <a:gd name="connsiteY0" fmla="*/ 6689 h 18400"/>
                  <a:gd name="connsiteX1" fmla="*/ 6629 w 18367"/>
                  <a:gd name="connsiteY1" fmla="*/ 349 h 18400"/>
                  <a:gd name="connsiteX2" fmla="*/ 349 w 18367"/>
                  <a:gd name="connsiteY2" fmla="*/ 11712 h 18400"/>
                  <a:gd name="connsiteX3" fmla="*/ 11713 w 18367"/>
                  <a:gd name="connsiteY3" fmla="*/ 18052 h 18400"/>
                  <a:gd name="connsiteX4" fmla="*/ 17992 w 18367"/>
                  <a:gd name="connsiteY4" fmla="*/ 668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00">
                    <a:moveTo>
                      <a:pt x="17992" y="6689"/>
                    </a:moveTo>
                    <a:cubicBezTo>
                      <a:pt x="16617" y="1784"/>
                      <a:pt x="11533" y="-1027"/>
                      <a:pt x="6629" y="349"/>
                    </a:cubicBezTo>
                    <a:cubicBezTo>
                      <a:pt x="1785" y="1724"/>
                      <a:pt x="-1026" y="6808"/>
                      <a:pt x="349" y="11712"/>
                    </a:cubicBezTo>
                    <a:cubicBezTo>
                      <a:pt x="1725" y="16616"/>
                      <a:pt x="6808" y="19427"/>
                      <a:pt x="11713" y="18052"/>
                    </a:cubicBezTo>
                    <a:cubicBezTo>
                      <a:pt x="16617" y="16676"/>
                      <a:pt x="19428" y="11593"/>
                      <a:pt x="17992" y="6689"/>
                    </a:cubicBezTo>
                    <a:close/>
                  </a:path>
                </a:pathLst>
              </a:custGeom>
              <a:grpFill/>
              <a:ln w="5978" cap="flat">
                <a:noFill/>
                <a:prstDash val="solid"/>
                <a:miter/>
              </a:ln>
            </p:spPr>
            <p:txBody>
              <a:bodyPr rtlCol="0" anchor="ctr"/>
              <a:lstStyle/>
              <a:p>
                <a:endParaRPr lang="en-GB"/>
              </a:p>
            </p:txBody>
          </p:sp>
        </p:grpSp>
        <p:grpSp>
          <p:nvGrpSpPr>
            <p:cNvPr id="698" name="Graphic 3">
              <a:extLst>
                <a:ext uri="{FF2B5EF4-FFF2-40B4-BE49-F238E27FC236}">
                  <a16:creationId xmlns:a16="http://schemas.microsoft.com/office/drawing/2014/main" id="{E4C4EB1A-1AFE-4F55-8E86-B9233255E030}"/>
                </a:ext>
              </a:extLst>
            </p:cNvPr>
            <p:cNvGrpSpPr/>
            <p:nvPr/>
          </p:nvGrpSpPr>
          <p:grpSpPr>
            <a:xfrm>
              <a:off x="5251035" y="1308744"/>
              <a:ext cx="110400" cy="261472"/>
              <a:chOff x="5251035" y="1308744"/>
              <a:chExt cx="110400" cy="261472"/>
            </a:xfrm>
            <a:grpFill/>
          </p:grpSpPr>
          <p:sp>
            <p:nvSpPr>
              <p:cNvPr id="3296" name="Vrije vorm: vorm 3295">
                <a:extLst>
                  <a:ext uri="{FF2B5EF4-FFF2-40B4-BE49-F238E27FC236}">
                    <a16:creationId xmlns:a16="http://schemas.microsoft.com/office/drawing/2014/main" id="{9032B292-1C75-421F-A8CC-F168220A5B79}"/>
                  </a:ext>
                </a:extLst>
              </p:cNvPr>
              <p:cNvSpPr/>
              <p:nvPr/>
            </p:nvSpPr>
            <p:spPr>
              <a:xfrm>
                <a:off x="5258629" y="1316995"/>
                <a:ext cx="95212" cy="244970"/>
              </a:xfrm>
              <a:custGeom>
                <a:avLst/>
                <a:gdLst>
                  <a:gd name="connsiteX0" fmla="*/ 95213 w 95212"/>
                  <a:gd name="connsiteY0" fmla="*/ 243894 h 244970"/>
                  <a:gd name="connsiteX1" fmla="*/ 92402 w 95212"/>
                  <a:gd name="connsiteY1" fmla="*/ 244970 h 244970"/>
                  <a:gd name="connsiteX2" fmla="*/ 0 w 95212"/>
                  <a:gd name="connsiteY2" fmla="*/ 1077 h 244970"/>
                  <a:gd name="connsiteX3" fmla="*/ 2871 w 95212"/>
                  <a:gd name="connsiteY3" fmla="*/ 0 h 244970"/>
                </a:gdLst>
                <a:ahLst/>
                <a:cxnLst>
                  <a:cxn ang="0">
                    <a:pos x="connsiteX0" y="connsiteY0"/>
                  </a:cxn>
                  <a:cxn ang="0">
                    <a:pos x="connsiteX1" y="connsiteY1"/>
                  </a:cxn>
                  <a:cxn ang="0">
                    <a:pos x="connsiteX2" y="connsiteY2"/>
                  </a:cxn>
                  <a:cxn ang="0">
                    <a:pos x="connsiteX3" y="connsiteY3"/>
                  </a:cxn>
                </a:cxnLst>
                <a:rect l="l" t="t" r="r" b="b"/>
                <a:pathLst>
                  <a:path w="95212" h="244970">
                    <a:moveTo>
                      <a:pt x="95213" y="243894"/>
                    </a:moveTo>
                    <a:lnTo>
                      <a:pt x="92402" y="244970"/>
                    </a:lnTo>
                    <a:lnTo>
                      <a:pt x="0" y="1077"/>
                    </a:lnTo>
                    <a:lnTo>
                      <a:pt x="2871" y="0"/>
                    </a:lnTo>
                    <a:close/>
                  </a:path>
                </a:pathLst>
              </a:custGeom>
              <a:grpFill/>
              <a:ln w="5978" cap="flat">
                <a:noFill/>
                <a:prstDash val="solid"/>
                <a:miter/>
              </a:ln>
            </p:spPr>
            <p:txBody>
              <a:bodyPr rtlCol="0" anchor="ctr"/>
              <a:lstStyle/>
              <a:p>
                <a:endParaRPr lang="en-GB"/>
              </a:p>
            </p:txBody>
          </p:sp>
          <p:sp>
            <p:nvSpPr>
              <p:cNvPr id="3297" name="Vrije vorm: vorm 3296">
                <a:extLst>
                  <a:ext uri="{FF2B5EF4-FFF2-40B4-BE49-F238E27FC236}">
                    <a16:creationId xmlns:a16="http://schemas.microsoft.com/office/drawing/2014/main" id="{2284D652-711D-4251-B4A6-E4F5892A8CFF}"/>
                  </a:ext>
                </a:extLst>
              </p:cNvPr>
              <p:cNvSpPr/>
              <p:nvPr/>
            </p:nvSpPr>
            <p:spPr>
              <a:xfrm>
                <a:off x="5251035" y="1308744"/>
                <a:ext cx="18357" cy="18415"/>
              </a:xfrm>
              <a:custGeom>
                <a:avLst/>
                <a:gdLst>
                  <a:gd name="connsiteX0" fmla="*/ 596 w 18357"/>
                  <a:gd name="connsiteY0" fmla="*/ 12438 h 18415"/>
                  <a:gd name="connsiteX1" fmla="*/ 5919 w 18357"/>
                  <a:gd name="connsiteY1" fmla="*/ 596 h 18415"/>
                  <a:gd name="connsiteX2" fmla="*/ 17761 w 18357"/>
                  <a:gd name="connsiteY2" fmla="*/ 5978 h 18415"/>
                  <a:gd name="connsiteX3" fmla="*/ 12438 w 18357"/>
                  <a:gd name="connsiteY3" fmla="*/ 17820 h 18415"/>
                  <a:gd name="connsiteX4" fmla="*/ 596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6" y="12438"/>
                    </a:moveTo>
                    <a:cubicBezTo>
                      <a:pt x="-1198" y="7653"/>
                      <a:pt x="1194" y="2390"/>
                      <a:pt x="5919" y="596"/>
                    </a:cubicBezTo>
                    <a:cubicBezTo>
                      <a:pt x="10644" y="-1198"/>
                      <a:pt x="15967" y="1194"/>
                      <a:pt x="17761" y="5978"/>
                    </a:cubicBezTo>
                    <a:cubicBezTo>
                      <a:pt x="19555" y="10763"/>
                      <a:pt x="17163" y="16026"/>
                      <a:pt x="12438" y="17820"/>
                    </a:cubicBezTo>
                    <a:cubicBezTo>
                      <a:pt x="7713" y="19614"/>
                      <a:pt x="2391" y="17222"/>
                      <a:pt x="596" y="12438"/>
                    </a:cubicBezTo>
                    <a:close/>
                  </a:path>
                </a:pathLst>
              </a:custGeom>
              <a:grpFill/>
              <a:ln w="5978" cap="flat">
                <a:noFill/>
                <a:prstDash val="solid"/>
                <a:miter/>
              </a:ln>
            </p:spPr>
            <p:txBody>
              <a:bodyPr rtlCol="0" anchor="ctr"/>
              <a:lstStyle/>
              <a:p>
                <a:endParaRPr lang="en-GB"/>
              </a:p>
            </p:txBody>
          </p:sp>
          <p:sp>
            <p:nvSpPr>
              <p:cNvPr id="3298" name="Vrije vorm: vorm 3297">
                <a:extLst>
                  <a:ext uri="{FF2B5EF4-FFF2-40B4-BE49-F238E27FC236}">
                    <a16:creationId xmlns:a16="http://schemas.microsoft.com/office/drawing/2014/main" id="{80CABBB4-7ABC-4FF8-922A-B67BD860E777}"/>
                  </a:ext>
                </a:extLst>
              </p:cNvPr>
              <p:cNvSpPr/>
              <p:nvPr/>
            </p:nvSpPr>
            <p:spPr>
              <a:xfrm>
                <a:off x="5343079" y="1551800"/>
                <a:ext cx="18357" cy="18415"/>
              </a:xfrm>
              <a:custGeom>
                <a:avLst/>
                <a:gdLst>
                  <a:gd name="connsiteX0" fmla="*/ 597 w 18357"/>
                  <a:gd name="connsiteY0" fmla="*/ 12438 h 18415"/>
                  <a:gd name="connsiteX1" fmla="*/ 12438 w 18357"/>
                  <a:gd name="connsiteY1" fmla="*/ 17820 h 18415"/>
                  <a:gd name="connsiteX2" fmla="*/ 17761 w 18357"/>
                  <a:gd name="connsiteY2" fmla="*/ 5978 h 18415"/>
                  <a:gd name="connsiteX3" fmla="*/ 5919 w 18357"/>
                  <a:gd name="connsiteY3" fmla="*/ 596 h 18415"/>
                  <a:gd name="connsiteX4" fmla="*/ 597 w 18357"/>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5">
                    <a:moveTo>
                      <a:pt x="597" y="12438"/>
                    </a:moveTo>
                    <a:cubicBezTo>
                      <a:pt x="2391" y="17222"/>
                      <a:pt x="7713" y="19614"/>
                      <a:pt x="12438" y="17820"/>
                    </a:cubicBezTo>
                    <a:cubicBezTo>
                      <a:pt x="17163" y="16026"/>
                      <a:pt x="19555" y="10703"/>
                      <a:pt x="17761" y="5978"/>
                    </a:cubicBezTo>
                    <a:cubicBezTo>
                      <a:pt x="15967" y="1194"/>
                      <a:pt x="10644" y="-1199"/>
                      <a:pt x="5919" y="596"/>
                    </a:cubicBezTo>
                    <a:cubicBezTo>
                      <a:pt x="1194" y="2390"/>
                      <a:pt x="-1198" y="7713"/>
                      <a:pt x="597" y="12438"/>
                    </a:cubicBezTo>
                    <a:close/>
                  </a:path>
                </a:pathLst>
              </a:custGeom>
              <a:grpFill/>
              <a:ln w="5978" cap="flat">
                <a:noFill/>
                <a:prstDash val="solid"/>
                <a:miter/>
              </a:ln>
            </p:spPr>
            <p:txBody>
              <a:bodyPr rtlCol="0" anchor="ctr"/>
              <a:lstStyle/>
              <a:p>
                <a:endParaRPr lang="en-GB"/>
              </a:p>
            </p:txBody>
          </p:sp>
        </p:grpSp>
        <p:grpSp>
          <p:nvGrpSpPr>
            <p:cNvPr id="699" name="Graphic 3">
              <a:extLst>
                <a:ext uri="{FF2B5EF4-FFF2-40B4-BE49-F238E27FC236}">
                  <a16:creationId xmlns:a16="http://schemas.microsoft.com/office/drawing/2014/main" id="{5BD5DE6D-B6AC-4CD6-84FF-497D4E856875}"/>
                </a:ext>
              </a:extLst>
            </p:cNvPr>
            <p:cNvGrpSpPr/>
            <p:nvPr/>
          </p:nvGrpSpPr>
          <p:grpSpPr>
            <a:xfrm>
              <a:off x="5250555" y="1308927"/>
              <a:ext cx="182075" cy="536399"/>
              <a:chOff x="5250555" y="1308927"/>
              <a:chExt cx="182075" cy="536399"/>
            </a:xfrm>
            <a:grpFill/>
          </p:grpSpPr>
          <p:sp>
            <p:nvSpPr>
              <p:cNvPr id="3293" name="Vrije vorm: vorm 3292">
                <a:extLst>
                  <a:ext uri="{FF2B5EF4-FFF2-40B4-BE49-F238E27FC236}">
                    <a16:creationId xmlns:a16="http://schemas.microsoft.com/office/drawing/2014/main" id="{ED7D4422-1086-4D36-BD0B-8DDC7812A27E}"/>
                  </a:ext>
                </a:extLst>
              </p:cNvPr>
              <p:cNvSpPr/>
              <p:nvPr/>
            </p:nvSpPr>
            <p:spPr>
              <a:xfrm>
                <a:off x="5258143" y="1317118"/>
                <a:ext cx="166925" cy="519800"/>
              </a:xfrm>
              <a:custGeom>
                <a:avLst/>
                <a:gdLst>
                  <a:gd name="connsiteX0" fmla="*/ 0 w 166925"/>
                  <a:gd name="connsiteY0" fmla="*/ 919 h 519800"/>
                  <a:gd name="connsiteX1" fmla="*/ 2908 w 166925"/>
                  <a:gd name="connsiteY1" fmla="*/ 0 h 519800"/>
                  <a:gd name="connsiteX2" fmla="*/ 166926 w 166925"/>
                  <a:gd name="connsiteY2" fmla="*/ 518881 h 519800"/>
                  <a:gd name="connsiteX3" fmla="*/ 164018 w 166925"/>
                  <a:gd name="connsiteY3" fmla="*/ 519801 h 519800"/>
                </a:gdLst>
                <a:ahLst/>
                <a:cxnLst>
                  <a:cxn ang="0">
                    <a:pos x="connsiteX0" y="connsiteY0"/>
                  </a:cxn>
                  <a:cxn ang="0">
                    <a:pos x="connsiteX1" y="connsiteY1"/>
                  </a:cxn>
                  <a:cxn ang="0">
                    <a:pos x="connsiteX2" y="connsiteY2"/>
                  </a:cxn>
                  <a:cxn ang="0">
                    <a:pos x="connsiteX3" y="connsiteY3"/>
                  </a:cxn>
                </a:cxnLst>
                <a:rect l="l" t="t" r="r" b="b"/>
                <a:pathLst>
                  <a:path w="166925" h="519800">
                    <a:moveTo>
                      <a:pt x="0" y="919"/>
                    </a:moveTo>
                    <a:lnTo>
                      <a:pt x="2908" y="0"/>
                    </a:lnTo>
                    <a:lnTo>
                      <a:pt x="166926" y="518881"/>
                    </a:lnTo>
                    <a:lnTo>
                      <a:pt x="164018" y="519801"/>
                    </a:lnTo>
                    <a:close/>
                  </a:path>
                </a:pathLst>
              </a:custGeom>
              <a:grpFill/>
              <a:ln w="5978" cap="flat">
                <a:noFill/>
                <a:prstDash val="solid"/>
                <a:miter/>
              </a:ln>
            </p:spPr>
            <p:txBody>
              <a:bodyPr rtlCol="0" anchor="ctr"/>
              <a:lstStyle/>
              <a:p>
                <a:endParaRPr lang="en-GB"/>
              </a:p>
            </p:txBody>
          </p:sp>
          <p:sp>
            <p:nvSpPr>
              <p:cNvPr id="3294" name="Vrije vorm: vorm 3293">
                <a:extLst>
                  <a:ext uri="{FF2B5EF4-FFF2-40B4-BE49-F238E27FC236}">
                    <a16:creationId xmlns:a16="http://schemas.microsoft.com/office/drawing/2014/main" id="{E3A2A6AE-4B8D-481B-8FB4-2E4B3D965D0A}"/>
                  </a:ext>
                </a:extLst>
              </p:cNvPr>
              <p:cNvSpPr/>
              <p:nvPr/>
            </p:nvSpPr>
            <p:spPr>
              <a:xfrm>
                <a:off x="5414285" y="1826917"/>
                <a:ext cx="18345" cy="18409"/>
              </a:xfrm>
              <a:custGeom>
                <a:avLst/>
                <a:gdLst>
                  <a:gd name="connsiteX0" fmla="*/ 17905 w 18345"/>
                  <a:gd name="connsiteY0" fmla="*/ 6453 h 18409"/>
                  <a:gd name="connsiteX1" fmla="*/ 11924 w 18345"/>
                  <a:gd name="connsiteY1" fmla="*/ 17996 h 18409"/>
                  <a:gd name="connsiteX2" fmla="*/ 441 w 18345"/>
                  <a:gd name="connsiteY2" fmla="*/ 11956 h 18409"/>
                  <a:gd name="connsiteX3" fmla="*/ 6421 w 18345"/>
                  <a:gd name="connsiteY3" fmla="*/ 413 h 18409"/>
                  <a:gd name="connsiteX4" fmla="*/ 17905 w 18345"/>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9">
                    <a:moveTo>
                      <a:pt x="17905" y="6453"/>
                    </a:moveTo>
                    <a:cubicBezTo>
                      <a:pt x="19460" y="11298"/>
                      <a:pt x="16768" y="16501"/>
                      <a:pt x="11924" y="17996"/>
                    </a:cubicBezTo>
                    <a:cubicBezTo>
                      <a:pt x="7080" y="19491"/>
                      <a:pt x="1936" y="16800"/>
                      <a:pt x="441" y="11956"/>
                    </a:cubicBezTo>
                    <a:cubicBezTo>
                      <a:pt x="-1114" y="7111"/>
                      <a:pt x="1577" y="1908"/>
                      <a:pt x="6421" y="413"/>
                    </a:cubicBezTo>
                    <a:cubicBezTo>
                      <a:pt x="11206" y="-1082"/>
                      <a:pt x="16350" y="1609"/>
                      <a:pt x="17905" y="6453"/>
                    </a:cubicBezTo>
                    <a:close/>
                  </a:path>
                </a:pathLst>
              </a:custGeom>
              <a:grpFill/>
              <a:ln w="5978" cap="flat">
                <a:noFill/>
                <a:prstDash val="solid"/>
                <a:miter/>
              </a:ln>
            </p:spPr>
            <p:txBody>
              <a:bodyPr rtlCol="0" anchor="ctr"/>
              <a:lstStyle/>
              <a:p>
                <a:endParaRPr lang="en-GB"/>
              </a:p>
            </p:txBody>
          </p:sp>
          <p:sp>
            <p:nvSpPr>
              <p:cNvPr id="3295" name="Vrije vorm: vorm 3294">
                <a:extLst>
                  <a:ext uri="{FF2B5EF4-FFF2-40B4-BE49-F238E27FC236}">
                    <a16:creationId xmlns:a16="http://schemas.microsoft.com/office/drawing/2014/main" id="{8225D344-B668-4705-B22B-A942107E8D2F}"/>
                  </a:ext>
                </a:extLst>
              </p:cNvPr>
              <p:cNvSpPr/>
              <p:nvPr/>
            </p:nvSpPr>
            <p:spPr>
              <a:xfrm>
                <a:off x="5250555" y="1308927"/>
                <a:ext cx="18323" cy="18409"/>
              </a:xfrm>
              <a:custGeom>
                <a:avLst/>
                <a:gdLst>
                  <a:gd name="connsiteX0" fmla="*/ 17882 w 18323"/>
                  <a:gd name="connsiteY0" fmla="*/ 6453 h 18409"/>
                  <a:gd name="connsiteX1" fmla="*/ 6399 w 18323"/>
                  <a:gd name="connsiteY1" fmla="*/ 413 h 18409"/>
                  <a:gd name="connsiteX2" fmla="*/ 418 w 18323"/>
                  <a:gd name="connsiteY2" fmla="*/ 11956 h 18409"/>
                  <a:gd name="connsiteX3" fmla="*/ 11901 w 18323"/>
                  <a:gd name="connsiteY3" fmla="*/ 17996 h 18409"/>
                  <a:gd name="connsiteX4" fmla="*/ 17882 w 18323"/>
                  <a:gd name="connsiteY4" fmla="*/ 645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09">
                    <a:moveTo>
                      <a:pt x="17882" y="6453"/>
                    </a:moveTo>
                    <a:cubicBezTo>
                      <a:pt x="16327" y="1609"/>
                      <a:pt x="11184" y="-1082"/>
                      <a:pt x="6399" y="413"/>
                    </a:cubicBezTo>
                    <a:cubicBezTo>
                      <a:pt x="1554" y="1908"/>
                      <a:pt x="-1077" y="7111"/>
                      <a:pt x="418" y="11956"/>
                    </a:cubicBezTo>
                    <a:cubicBezTo>
                      <a:pt x="1973" y="16800"/>
                      <a:pt x="7117" y="19491"/>
                      <a:pt x="11901" y="17996"/>
                    </a:cubicBezTo>
                    <a:cubicBezTo>
                      <a:pt x="16746" y="16441"/>
                      <a:pt x="19437" y="11298"/>
                      <a:pt x="17882" y="6453"/>
                    </a:cubicBezTo>
                    <a:close/>
                  </a:path>
                </a:pathLst>
              </a:custGeom>
              <a:grpFill/>
              <a:ln w="5978" cap="flat">
                <a:noFill/>
                <a:prstDash val="solid"/>
                <a:miter/>
              </a:ln>
            </p:spPr>
            <p:txBody>
              <a:bodyPr rtlCol="0" anchor="ctr"/>
              <a:lstStyle/>
              <a:p>
                <a:endParaRPr lang="en-GB"/>
              </a:p>
            </p:txBody>
          </p:sp>
        </p:grpSp>
        <p:grpSp>
          <p:nvGrpSpPr>
            <p:cNvPr id="700" name="Graphic 3">
              <a:extLst>
                <a:ext uri="{FF2B5EF4-FFF2-40B4-BE49-F238E27FC236}">
                  <a16:creationId xmlns:a16="http://schemas.microsoft.com/office/drawing/2014/main" id="{157510CE-B4C4-48DA-89E6-15AFDDF384FF}"/>
                </a:ext>
              </a:extLst>
            </p:cNvPr>
            <p:cNvGrpSpPr/>
            <p:nvPr/>
          </p:nvGrpSpPr>
          <p:grpSpPr>
            <a:xfrm>
              <a:off x="6620569" y="5416311"/>
              <a:ext cx="40529" cy="96090"/>
              <a:chOff x="6620569" y="5416311"/>
              <a:chExt cx="40529" cy="96090"/>
            </a:xfrm>
            <a:grpFill/>
          </p:grpSpPr>
          <p:sp>
            <p:nvSpPr>
              <p:cNvPr id="3290" name="Vrije vorm: vorm 3289">
                <a:extLst>
                  <a:ext uri="{FF2B5EF4-FFF2-40B4-BE49-F238E27FC236}">
                    <a16:creationId xmlns:a16="http://schemas.microsoft.com/office/drawing/2014/main" id="{F54BE4B2-A9CA-4827-902A-BAF2C45CFA6E}"/>
                  </a:ext>
                </a:extLst>
              </p:cNvPr>
              <p:cNvSpPr/>
              <p:nvPr/>
            </p:nvSpPr>
            <p:spPr>
              <a:xfrm>
                <a:off x="6627810" y="5424636"/>
                <a:ext cx="25415" cy="79439"/>
              </a:xfrm>
              <a:custGeom>
                <a:avLst/>
                <a:gdLst>
                  <a:gd name="connsiteX0" fmla="*/ 0 w 25415"/>
                  <a:gd name="connsiteY0" fmla="*/ 839 h 79439"/>
                  <a:gd name="connsiteX1" fmla="*/ 2932 w 25415"/>
                  <a:gd name="connsiteY1" fmla="*/ 0 h 79439"/>
                  <a:gd name="connsiteX2" fmla="*/ 25415 w 25415"/>
                  <a:gd name="connsiteY2" fmla="*/ 78601 h 79439"/>
                  <a:gd name="connsiteX3" fmla="*/ 22483 w 25415"/>
                  <a:gd name="connsiteY3" fmla="*/ 79439 h 79439"/>
                </a:gdLst>
                <a:ahLst/>
                <a:cxnLst>
                  <a:cxn ang="0">
                    <a:pos x="connsiteX0" y="connsiteY0"/>
                  </a:cxn>
                  <a:cxn ang="0">
                    <a:pos x="connsiteX1" y="connsiteY1"/>
                  </a:cxn>
                  <a:cxn ang="0">
                    <a:pos x="connsiteX2" y="connsiteY2"/>
                  </a:cxn>
                  <a:cxn ang="0">
                    <a:pos x="connsiteX3" y="connsiteY3"/>
                  </a:cxn>
                </a:cxnLst>
                <a:rect l="l" t="t" r="r" b="b"/>
                <a:pathLst>
                  <a:path w="25415" h="79439">
                    <a:moveTo>
                      <a:pt x="0" y="839"/>
                    </a:moveTo>
                    <a:lnTo>
                      <a:pt x="2932" y="0"/>
                    </a:lnTo>
                    <a:lnTo>
                      <a:pt x="25415" y="78601"/>
                    </a:lnTo>
                    <a:lnTo>
                      <a:pt x="22483" y="79439"/>
                    </a:lnTo>
                    <a:close/>
                  </a:path>
                </a:pathLst>
              </a:custGeom>
              <a:grpFill/>
              <a:ln w="5978" cap="flat">
                <a:noFill/>
                <a:prstDash val="solid"/>
                <a:miter/>
              </a:ln>
            </p:spPr>
            <p:txBody>
              <a:bodyPr rtlCol="0" anchor="ctr"/>
              <a:lstStyle/>
              <a:p>
                <a:endParaRPr lang="en-GB"/>
              </a:p>
            </p:txBody>
          </p:sp>
          <p:sp>
            <p:nvSpPr>
              <p:cNvPr id="3291" name="Vrije vorm: vorm 3290">
                <a:extLst>
                  <a:ext uri="{FF2B5EF4-FFF2-40B4-BE49-F238E27FC236}">
                    <a16:creationId xmlns:a16="http://schemas.microsoft.com/office/drawing/2014/main" id="{559E4103-8F21-4BB5-9D36-A22246A4E5B5}"/>
                  </a:ext>
                </a:extLst>
              </p:cNvPr>
              <p:cNvSpPr/>
              <p:nvPr/>
            </p:nvSpPr>
            <p:spPr>
              <a:xfrm>
                <a:off x="6642757" y="5493979"/>
                <a:ext cx="18341" cy="18421"/>
              </a:xfrm>
              <a:custGeom>
                <a:avLst/>
                <a:gdLst>
                  <a:gd name="connsiteX0" fmla="*/ 17992 w 18341"/>
                  <a:gd name="connsiteY0" fmla="*/ 6710 h 18421"/>
                  <a:gd name="connsiteX1" fmla="*/ 11713 w 18341"/>
                  <a:gd name="connsiteY1" fmla="*/ 18073 h 18421"/>
                  <a:gd name="connsiteX2" fmla="*/ 349 w 18341"/>
                  <a:gd name="connsiteY2" fmla="*/ 11733 h 18421"/>
                  <a:gd name="connsiteX3" fmla="*/ 6629 w 18341"/>
                  <a:gd name="connsiteY3" fmla="*/ 370 h 18421"/>
                  <a:gd name="connsiteX4" fmla="*/ 17992 w 18341"/>
                  <a:gd name="connsiteY4" fmla="*/ 67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1">
                    <a:moveTo>
                      <a:pt x="17992" y="6710"/>
                    </a:moveTo>
                    <a:cubicBezTo>
                      <a:pt x="19368" y="11614"/>
                      <a:pt x="16557" y="16697"/>
                      <a:pt x="11713" y="18073"/>
                    </a:cubicBezTo>
                    <a:cubicBezTo>
                      <a:pt x="6868" y="19448"/>
                      <a:pt x="1784" y="16638"/>
                      <a:pt x="349" y="11733"/>
                    </a:cubicBezTo>
                    <a:cubicBezTo>
                      <a:pt x="-1026" y="6829"/>
                      <a:pt x="1784" y="1746"/>
                      <a:pt x="6629" y="370"/>
                    </a:cubicBezTo>
                    <a:cubicBezTo>
                      <a:pt x="11533" y="-1065"/>
                      <a:pt x="16617" y="1806"/>
                      <a:pt x="17992" y="6710"/>
                    </a:cubicBezTo>
                    <a:close/>
                  </a:path>
                </a:pathLst>
              </a:custGeom>
              <a:grpFill/>
              <a:ln w="5978" cap="flat">
                <a:noFill/>
                <a:prstDash val="solid"/>
                <a:miter/>
              </a:ln>
            </p:spPr>
            <p:txBody>
              <a:bodyPr rtlCol="0" anchor="ctr"/>
              <a:lstStyle/>
              <a:p>
                <a:endParaRPr lang="en-GB"/>
              </a:p>
            </p:txBody>
          </p:sp>
          <p:sp>
            <p:nvSpPr>
              <p:cNvPr id="3292" name="Vrije vorm: vorm 3291">
                <a:extLst>
                  <a:ext uri="{FF2B5EF4-FFF2-40B4-BE49-F238E27FC236}">
                    <a16:creationId xmlns:a16="http://schemas.microsoft.com/office/drawing/2014/main" id="{904A5DC5-67F2-4AA5-A41C-1FB7B1AA1D5D}"/>
                  </a:ext>
                </a:extLst>
              </p:cNvPr>
              <p:cNvSpPr/>
              <p:nvPr/>
            </p:nvSpPr>
            <p:spPr>
              <a:xfrm>
                <a:off x="6620569" y="5416311"/>
                <a:ext cx="18341" cy="18400"/>
              </a:xfrm>
              <a:custGeom>
                <a:avLst/>
                <a:gdLst>
                  <a:gd name="connsiteX0" fmla="*/ 17992 w 18341"/>
                  <a:gd name="connsiteY0" fmla="*/ 6688 h 18400"/>
                  <a:gd name="connsiteX1" fmla="*/ 6629 w 18341"/>
                  <a:gd name="connsiteY1" fmla="*/ 349 h 18400"/>
                  <a:gd name="connsiteX2" fmla="*/ 349 w 18341"/>
                  <a:gd name="connsiteY2" fmla="*/ 11712 h 18400"/>
                  <a:gd name="connsiteX3" fmla="*/ 11712 w 18341"/>
                  <a:gd name="connsiteY3" fmla="*/ 18052 h 18400"/>
                  <a:gd name="connsiteX4" fmla="*/ 17992 w 18341"/>
                  <a:gd name="connsiteY4" fmla="*/ 6688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7992" y="6688"/>
                    </a:moveTo>
                    <a:cubicBezTo>
                      <a:pt x="16617" y="1785"/>
                      <a:pt x="11533" y="-1027"/>
                      <a:pt x="6629" y="349"/>
                    </a:cubicBezTo>
                    <a:cubicBezTo>
                      <a:pt x="1785" y="1725"/>
                      <a:pt x="-1027" y="6808"/>
                      <a:pt x="349" y="11712"/>
                    </a:cubicBezTo>
                    <a:cubicBezTo>
                      <a:pt x="1725" y="16617"/>
                      <a:pt x="6808" y="19427"/>
                      <a:pt x="11712" y="18052"/>
                    </a:cubicBezTo>
                    <a:cubicBezTo>
                      <a:pt x="16557" y="16676"/>
                      <a:pt x="19368" y="11533"/>
                      <a:pt x="17992" y="6688"/>
                    </a:cubicBezTo>
                    <a:close/>
                  </a:path>
                </a:pathLst>
              </a:custGeom>
              <a:grpFill/>
              <a:ln w="5978" cap="flat">
                <a:noFill/>
                <a:prstDash val="solid"/>
                <a:miter/>
              </a:ln>
            </p:spPr>
            <p:txBody>
              <a:bodyPr rtlCol="0" anchor="ctr"/>
              <a:lstStyle/>
              <a:p>
                <a:endParaRPr lang="en-GB"/>
              </a:p>
            </p:txBody>
          </p:sp>
        </p:grpSp>
        <p:grpSp>
          <p:nvGrpSpPr>
            <p:cNvPr id="701" name="Graphic 3">
              <a:extLst>
                <a:ext uri="{FF2B5EF4-FFF2-40B4-BE49-F238E27FC236}">
                  <a16:creationId xmlns:a16="http://schemas.microsoft.com/office/drawing/2014/main" id="{A6F4493A-CD62-4EA3-BA08-EAAAE27FE3E1}"/>
                </a:ext>
              </a:extLst>
            </p:cNvPr>
            <p:cNvGrpSpPr/>
            <p:nvPr/>
          </p:nvGrpSpPr>
          <p:grpSpPr>
            <a:xfrm>
              <a:off x="5397541" y="1786913"/>
              <a:ext cx="34397" cy="58670"/>
              <a:chOff x="5397541" y="1786913"/>
              <a:chExt cx="34397" cy="58670"/>
            </a:xfrm>
            <a:grpFill/>
          </p:grpSpPr>
          <p:sp>
            <p:nvSpPr>
              <p:cNvPr id="3287" name="Vrije vorm: vorm 3286">
                <a:extLst>
                  <a:ext uri="{FF2B5EF4-FFF2-40B4-BE49-F238E27FC236}">
                    <a16:creationId xmlns:a16="http://schemas.microsoft.com/office/drawing/2014/main" id="{8009B80B-D3A7-445A-A3B1-589FCFAD54BB}"/>
                  </a:ext>
                </a:extLst>
              </p:cNvPr>
              <p:cNvSpPr/>
              <p:nvPr/>
            </p:nvSpPr>
            <p:spPr>
              <a:xfrm>
                <a:off x="5405212" y="1794881"/>
                <a:ext cx="19269" cy="42288"/>
              </a:xfrm>
              <a:custGeom>
                <a:avLst/>
                <a:gdLst>
                  <a:gd name="connsiteX0" fmla="*/ 0 w 19269"/>
                  <a:gd name="connsiteY0" fmla="*/ 1131 h 42288"/>
                  <a:gd name="connsiteX1" fmla="*/ 2833 w 19269"/>
                  <a:gd name="connsiteY1" fmla="*/ 0 h 42288"/>
                  <a:gd name="connsiteX2" fmla="*/ 19270 w 19269"/>
                  <a:gd name="connsiteY2" fmla="*/ 41157 h 42288"/>
                  <a:gd name="connsiteX3" fmla="*/ 16437 w 19269"/>
                  <a:gd name="connsiteY3" fmla="*/ 42289 h 42288"/>
                </a:gdLst>
                <a:ahLst/>
                <a:cxnLst>
                  <a:cxn ang="0">
                    <a:pos x="connsiteX0" y="connsiteY0"/>
                  </a:cxn>
                  <a:cxn ang="0">
                    <a:pos x="connsiteX1" y="connsiteY1"/>
                  </a:cxn>
                  <a:cxn ang="0">
                    <a:pos x="connsiteX2" y="connsiteY2"/>
                  </a:cxn>
                  <a:cxn ang="0">
                    <a:pos x="connsiteX3" y="connsiteY3"/>
                  </a:cxn>
                </a:cxnLst>
                <a:rect l="l" t="t" r="r" b="b"/>
                <a:pathLst>
                  <a:path w="19269" h="42288">
                    <a:moveTo>
                      <a:pt x="0" y="1131"/>
                    </a:moveTo>
                    <a:lnTo>
                      <a:pt x="2833" y="0"/>
                    </a:lnTo>
                    <a:lnTo>
                      <a:pt x="19270" y="41157"/>
                    </a:lnTo>
                    <a:lnTo>
                      <a:pt x="16437" y="42289"/>
                    </a:lnTo>
                    <a:close/>
                  </a:path>
                </a:pathLst>
              </a:custGeom>
              <a:grpFill/>
              <a:ln w="5978" cap="flat">
                <a:noFill/>
                <a:prstDash val="solid"/>
                <a:miter/>
              </a:ln>
            </p:spPr>
            <p:txBody>
              <a:bodyPr rtlCol="0" anchor="ctr"/>
              <a:lstStyle/>
              <a:p>
                <a:endParaRPr lang="en-GB"/>
              </a:p>
            </p:txBody>
          </p:sp>
          <p:sp>
            <p:nvSpPr>
              <p:cNvPr id="3288" name="Vrije vorm: vorm 3287">
                <a:extLst>
                  <a:ext uri="{FF2B5EF4-FFF2-40B4-BE49-F238E27FC236}">
                    <a16:creationId xmlns:a16="http://schemas.microsoft.com/office/drawing/2014/main" id="{A991BF94-0CD2-4C18-BFA5-B47CE848D55E}"/>
                  </a:ext>
                </a:extLst>
              </p:cNvPr>
              <p:cNvSpPr/>
              <p:nvPr/>
            </p:nvSpPr>
            <p:spPr>
              <a:xfrm>
                <a:off x="5397541" y="1786913"/>
                <a:ext cx="18342" cy="18395"/>
              </a:xfrm>
              <a:custGeom>
                <a:avLst/>
                <a:gdLst>
                  <a:gd name="connsiteX0" fmla="*/ 679 w 18342"/>
                  <a:gd name="connsiteY0" fmla="*/ 12607 h 18395"/>
                  <a:gd name="connsiteX1" fmla="*/ 5762 w 18342"/>
                  <a:gd name="connsiteY1" fmla="*/ 645 h 18395"/>
                  <a:gd name="connsiteX2" fmla="*/ 17664 w 18342"/>
                  <a:gd name="connsiteY2" fmla="*/ 5789 h 18395"/>
                  <a:gd name="connsiteX3" fmla="*/ 12580 w 18342"/>
                  <a:gd name="connsiteY3" fmla="*/ 17750 h 18395"/>
                  <a:gd name="connsiteX4" fmla="*/ 679 w 18342"/>
                  <a:gd name="connsiteY4" fmla="*/ 1260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5">
                    <a:moveTo>
                      <a:pt x="679" y="12607"/>
                    </a:moveTo>
                    <a:cubicBezTo>
                      <a:pt x="-1235" y="7882"/>
                      <a:pt x="1037" y="2499"/>
                      <a:pt x="5762" y="645"/>
                    </a:cubicBezTo>
                    <a:cubicBezTo>
                      <a:pt x="10487" y="-1209"/>
                      <a:pt x="15810" y="1064"/>
                      <a:pt x="17664" y="5789"/>
                    </a:cubicBezTo>
                    <a:cubicBezTo>
                      <a:pt x="19577" y="10513"/>
                      <a:pt x="17305" y="15896"/>
                      <a:pt x="12580" y="17750"/>
                    </a:cubicBezTo>
                    <a:cubicBezTo>
                      <a:pt x="7915" y="19604"/>
                      <a:pt x="2533" y="17331"/>
                      <a:pt x="679" y="12607"/>
                    </a:cubicBezTo>
                    <a:close/>
                  </a:path>
                </a:pathLst>
              </a:custGeom>
              <a:grpFill/>
              <a:ln w="5978" cap="flat">
                <a:noFill/>
                <a:prstDash val="solid"/>
                <a:miter/>
              </a:ln>
            </p:spPr>
            <p:txBody>
              <a:bodyPr rtlCol="0" anchor="ctr"/>
              <a:lstStyle/>
              <a:p>
                <a:endParaRPr lang="en-GB"/>
              </a:p>
            </p:txBody>
          </p:sp>
          <p:sp>
            <p:nvSpPr>
              <p:cNvPr id="3289" name="Vrije vorm: vorm 3288">
                <a:extLst>
                  <a:ext uri="{FF2B5EF4-FFF2-40B4-BE49-F238E27FC236}">
                    <a16:creationId xmlns:a16="http://schemas.microsoft.com/office/drawing/2014/main" id="{63ABBC93-1E45-4A4A-982E-F196852B07E1}"/>
                  </a:ext>
                </a:extLst>
              </p:cNvPr>
              <p:cNvSpPr/>
              <p:nvPr/>
            </p:nvSpPr>
            <p:spPr>
              <a:xfrm>
                <a:off x="5413661" y="1827139"/>
                <a:ext cx="18276" cy="18444"/>
              </a:xfrm>
              <a:custGeom>
                <a:avLst/>
                <a:gdLst>
                  <a:gd name="connsiteX0" fmla="*/ 646 w 18276"/>
                  <a:gd name="connsiteY0" fmla="*/ 12631 h 18444"/>
                  <a:gd name="connsiteX1" fmla="*/ 12548 w 18276"/>
                  <a:gd name="connsiteY1" fmla="*/ 17775 h 18444"/>
                  <a:gd name="connsiteX2" fmla="*/ 17631 w 18276"/>
                  <a:gd name="connsiteY2" fmla="*/ 5813 h 18444"/>
                  <a:gd name="connsiteX3" fmla="*/ 5729 w 18276"/>
                  <a:gd name="connsiteY3" fmla="*/ 670 h 18444"/>
                  <a:gd name="connsiteX4" fmla="*/ 646 w 18276"/>
                  <a:gd name="connsiteY4" fmla="*/ 12631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 h="18444">
                    <a:moveTo>
                      <a:pt x="646" y="12631"/>
                    </a:moveTo>
                    <a:cubicBezTo>
                      <a:pt x="2559" y="17356"/>
                      <a:pt x="7882" y="19689"/>
                      <a:pt x="12548" y="17775"/>
                    </a:cubicBezTo>
                    <a:cubicBezTo>
                      <a:pt x="17212" y="15921"/>
                      <a:pt x="19485" y="10538"/>
                      <a:pt x="17631" y="5813"/>
                    </a:cubicBezTo>
                    <a:cubicBezTo>
                      <a:pt x="15717" y="1089"/>
                      <a:pt x="10394" y="-1244"/>
                      <a:pt x="5729" y="670"/>
                    </a:cubicBezTo>
                    <a:cubicBezTo>
                      <a:pt x="1064" y="2584"/>
                      <a:pt x="-1208" y="7907"/>
                      <a:pt x="646" y="12631"/>
                    </a:cubicBezTo>
                    <a:close/>
                  </a:path>
                </a:pathLst>
              </a:custGeom>
              <a:grpFill/>
              <a:ln w="5978" cap="flat">
                <a:noFill/>
                <a:prstDash val="solid"/>
                <a:miter/>
              </a:ln>
            </p:spPr>
            <p:txBody>
              <a:bodyPr rtlCol="0" anchor="ctr"/>
              <a:lstStyle/>
              <a:p>
                <a:endParaRPr lang="en-GB"/>
              </a:p>
            </p:txBody>
          </p:sp>
        </p:grpSp>
        <p:grpSp>
          <p:nvGrpSpPr>
            <p:cNvPr id="702" name="Graphic 3">
              <a:extLst>
                <a:ext uri="{FF2B5EF4-FFF2-40B4-BE49-F238E27FC236}">
                  <a16:creationId xmlns:a16="http://schemas.microsoft.com/office/drawing/2014/main" id="{5FF1ED28-7845-44D0-96DF-9256ED8CED97}"/>
                </a:ext>
              </a:extLst>
            </p:cNvPr>
            <p:cNvGrpSpPr/>
            <p:nvPr/>
          </p:nvGrpSpPr>
          <p:grpSpPr>
            <a:xfrm>
              <a:off x="5299457" y="1541763"/>
              <a:ext cx="109523" cy="246464"/>
              <a:chOff x="5299457" y="1541763"/>
              <a:chExt cx="109523" cy="246464"/>
            </a:xfrm>
            <a:grpFill/>
          </p:grpSpPr>
          <p:sp>
            <p:nvSpPr>
              <p:cNvPr id="3284" name="Vrije vorm: vorm 3283">
                <a:extLst>
                  <a:ext uri="{FF2B5EF4-FFF2-40B4-BE49-F238E27FC236}">
                    <a16:creationId xmlns:a16="http://schemas.microsoft.com/office/drawing/2014/main" id="{9DF7E152-847C-4B41-A078-5D492FC2AEAC}"/>
                  </a:ext>
                </a:extLst>
              </p:cNvPr>
              <p:cNvSpPr/>
              <p:nvPr/>
            </p:nvSpPr>
            <p:spPr>
              <a:xfrm>
                <a:off x="5307176" y="1549711"/>
                <a:ext cx="94268" cy="230079"/>
              </a:xfrm>
              <a:custGeom>
                <a:avLst/>
                <a:gdLst>
                  <a:gd name="connsiteX0" fmla="*/ 0 w 94268"/>
                  <a:gd name="connsiteY0" fmla="*/ 1131 h 230079"/>
                  <a:gd name="connsiteX1" fmla="*/ 2833 w 94268"/>
                  <a:gd name="connsiteY1" fmla="*/ 0 h 230079"/>
                  <a:gd name="connsiteX2" fmla="*/ 94269 w 94268"/>
                  <a:gd name="connsiteY2" fmla="*/ 228948 h 230079"/>
                  <a:gd name="connsiteX3" fmla="*/ 91436 w 94268"/>
                  <a:gd name="connsiteY3" fmla="*/ 230079 h 230079"/>
                </a:gdLst>
                <a:ahLst/>
                <a:cxnLst>
                  <a:cxn ang="0">
                    <a:pos x="connsiteX0" y="connsiteY0"/>
                  </a:cxn>
                  <a:cxn ang="0">
                    <a:pos x="connsiteX1" y="connsiteY1"/>
                  </a:cxn>
                  <a:cxn ang="0">
                    <a:pos x="connsiteX2" y="connsiteY2"/>
                  </a:cxn>
                  <a:cxn ang="0">
                    <a:pos x="connsiteX3" y="connsiteY3"/>
                  </a:cxn>
                </a:cxnLst>
                <a:rect l="l" t="t" r="r" b="b"/>
                <a:pathLst>
                  <a:path w="94268" h="230079">
                    <a:moveTo>
                      <a:pt x="0" y="1131"/>
                    </a:moveTo>
                    <a:lnTo>
                      <a:pt x="2833" y="0"/>
                    </a:lnTo>
                    <a:lnTo>
                      <a:pt x="94269" y="228948"/>
                    </a:lnTo>
                    <a:lnTo>
                      <a:pt x="91436" y="230079"/>
                    </a:lnTo>
                    <a:close/>
                  </a:path>
                </a:pathLst>
              </a:custGeom>
              <a:grpFill/>
              <a:ln w="5978" cap="flat">
                <a:noFill/>
                <a:prstDash val="solid"/>
                <a:miter/>
              </a:ln>
            </p:spPr>
            <p:txBody>
              <a:bodyPr rtlCol="0" anchor="ctr"/>
              <a:lstStyle/>
              <a:p>
                <a:endParaRPr lang="en-GB"/>
              </a:p>
            </p:txBody>
          </p:sp>
          <p:sp>
            <p:nvSpPr>
              <p:cNvPr id="3285" name="Vrije vorm: vorm 3284">
                <a:extLst>
                  <a:ext uri="{FF2B5EF4-FFF2-40B4-BE49-F238E27FC236}">
                    <a16:creationId xmlns:a16="http://schemas.microsoft.com/office/drawing/2014/main" id="{676EE2F1-7D6F-4E9C-952A-08F52D785BBA}"/>
                  </a:ext>
                </a:extLst>
              </p:cNvPr>
              <p:cNvSpPr/>
              <p:nvPr/>
            </p:nvSpPr>
            <p:spPr>
              <a:xfrm>
                <a:off x="5299457" y="1541763"/>
                <a:ext cx="18342" cy="18395"/>
              </a:xfrm>
              <a:custGeom>
                <a:avLst/>
                <a:gdLst>
                  <a:gd name="connsiteX0" fmla="*/ 679 w 18342"/>
                  <a:gd name="connsiteY0" fmla="*/ 12607 h 18395"/>
                  <a:gd name="connsiteX1" fmla="*/ 5762 w 18342"/>
                  <a:gd name="connsiteY1" fmla="*/ 645 h 18395"/>
                  <a:gd name="connsiteX2" fmla="*/ 17664 w 18342"/>
                  <a:gd name="connsiteY2" fmla="*/ 5789 h 18395"/>
                  <a:gd name="connsiteX3" fmla="*/ 12580 w 18342"/>
                  <a:gd name="connsiteY3" fmla="*/ 17750 h 18395"/>
                  <a:gd name="connsiteX4" fmla="*/ 679 w 18342"/>
                  <a:gd name="connsiteY4" fmla="*/ 1260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5">
                    <a:moveTo>
                      <a:pt x="679" y="12607"/>
                    </a:moveTo>
                    <a:cubicBezTo>
                      <a:pt x="-1235" y="7882"/>
                      <a:pt x="1037" y="2499"/>
                      <a:pt x="5762" y="645"/>
                    </a:cubicBezTo>
                    <a:cubicBezTo>
                      <a:pt x="10427" y="-1209"/>
                      <a:pt x="15810" y="1064"/>
                      <a:pt x="17664" y="5789"/>
                    </a:cubicBezTo>
                    <a:cubicBezTo>
                      <a:pt x="19577" y="10513"/>
                      <a:pt x="17305" y="15896"/>
                      <a:pt x="12580" y="17750"/>
                    </a:cubicBezTo>
                    <a:cubicBezTo>
                      <a:pt x="7915" y="19604"/>
                      <a:pt x="2592" y="17331"/>
                      <a:pt x="679" y="12607"/>
                    </a:cubicBezTo>
                    <a:close/>
                  </a:path>
                </a:pathLst>
              </a:custGeom>
              <a:grpFill/>
              <a:ln w="5978" cap="flat">
                <a:noFill/>
                <a:prstDash val="solid"/>
                <a:miter/>
              </a:ln>
            </p:spPr>
            <p:txBody>
              <a:bodyPr rtlCol="0" anchor="ctr"/>
              <a:lstStyle/>
              <a:p>
                <a:endParaRPr lang="en-GB"/>
              </a:p>
            </p:txBody>
          </p:sp>
          <p:sp>
            <p:nvSpPr>
              <p:cNvPr id="3286" name="Vrije vorm: vorm 3285">
                <a:extLst>
                  <a:ext uri="{FF2B5EF4-FFF2-40B4-BE49-F238E27FC236}">
                    <a16:creationId xmlns:a16="http://schemas.microsoft.com/office/drawing/2014/main" id="{E8B39777-9AB5-435D-A8B7-4006939BE4F4}"/>
                  </a:ext>
                </a:extLst>
              </p:cNvPr>
              <p:cNvSpPr/>
              <p:nvPr/>
            </p:nvSpPr>
            <p:spPr>
              <a:xfrm>
                <a:off x="5390695" y="1769783"/>
                <a:ext cx="18284" cy="18444"/>
              </a:xfrm>
              <a:custGeom>
                <a:avLst/>
                <a:gdLst>
                  <a:gd name="connsiteX0" fmla="*/ 646 w 18284"/>
                  <a:gd name="connsiteY0" fmla="*/ 12631 h 18444"/>
                  <a:gd name="connsiteX1" fmla="*/ 12547 w 18284"/>
                  <a:gd name="connsiteY1" fmla="*/ 17775 h 18444"/>
                  <a:gd name="connsiteX2" fmla="*/ 17631 w 18284"/>
                  <a:gd name="connsiteY2" fmla="*/ 5813 h 18444"/>
                  <a:gd name="connsiteX3" fmla="*/ 5729 w 18284"/>
                  <a:gd name="connsiteY3" fmla="*/ 670 h 18444"/>
                  <a:gd name="connsiteX4" fmla="*/ 646 w 18284"/>
                  <a:gd name="connsiteY4" fmla="*/ 12631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44">
                    <a:moveTo>
                      <a:pt x="646" y="12631"/>
                    </a:moveTo>
                    <a:cubicBezTo>
                      <a:pt x="2560" y="17356"/>
                      <a:pt x="7883" y="19689"/>
                      <a:pt x="12547" y="17775"/>
                    </a:cubicBezTo>
                    <a:cubicBezTo>
                      <a:pt x="17273" y="15921"/>
                      <a:pt x="19485" y="10538"/>
                      <a:pt x="17631" y="5813"/>
                    </a:cubicBezTo>
                    <a:cubicBezTo>
                      <a:pt x="15717" y="1089"/>
                      <a:pt x="10395" y="-1244"/>
                      <a:pt x="5729" y="670"/>
                    </a:cubicBezTo>
                    <a:cubicBezTo>
                      <a:pt x="1065" y="2524"/>
                      <a:pt x="-1208" y="7907"/>
                      <a:pt x="646" y="12631"/>
                    </a:cubicBezTo>
                    <a:close/>
                  </a:path>
                </a:pathLst>
              </a:custGeom>
              <a:grpFill/>
              <a:ln w="5978" cap="flat">
                <a:noFill/>
                <a:prstDash val="solid"/>
                <a:miter/>
              </a:ln>
            </p:spPr>
            <p:txBody>
              <a:bodyPr rtlCol="0" anchor="ctr"/>
              <a:lstStyle/>
              <a:p>
                <a:endParaRPr lang="en-GB"/>
              </a:p>
            </p:txBody>
          </p:sp>
        </p:grpSp>
        <p:grpSp>
          <p:nvGrpSpPr>
            <p:cNvPr id="703" name="Graphic 3">
              <a:extLst>
                <a:ext uri="{FF2B5EF4-FFF2-40B4-BE49-F238E27FC236}">
                  <a16:creationId xmlns:a16="http://schemas.microsoft.com/office/drawing/2014/main" id="{48223E20-030E-4F37-AFF2-FED22F1954AD}"/>
                </a:ext>
              </a:extLst>
            </p:cNvPr>
            <p:cNvGrpSpPr/>
            <p:nvPr/>
          </p:nvGrpSpPr>
          <p:grpSpPr>
            <a:xfrm>
              <a:off x="6480231" y="5039345"/>
              <a:ext cx="67079" cy="201617"/>
              <a:chOff x="6480231" y="5039345"/>
              <a:chExt cx="67079" cy="201617"/>
            </a:xfrm>
            <a:grpFill/>
          </p:grpSpPr>
          <p:sp>
            <p:nvSpPr>
              <p:cNvPr id="3281" name="Vrije vorm: vorm 3280">
                <a:extLst>
                  <a:ext uri="{FF2B5EF4-FFF2-40B4-BE49-F238E27FC236}">
                    <a16:creationId xmlns:a16="http://schemas.microsoft.com/office/drawing/2014/main" id="{7A6C7457-0D81-44BD-87E9-7CB77BF7EA87}"/>
                  </a:ext>
                </a:extLst>
              </p:cNvPr>
              <p:cNvSpPr/>
              <p:nvPr/>
            </p:nvSpPr>
            <p:spPr>
              <a:xfrm>
                <a:off x="6488016" y="5047938"/>
                <a:ext cx="51940" cy="184870"/>
              </a:xfrm>
              <a:custGeom>
                <a:avLst/>
                <a:gdLst>
                  <a:gd name="connsiteX0" fmla="*/ 0 w 51940"/>
                  <a:gd name="connsiteY0" fmla="*/ 785 h 184870"/>
                  <a:gd name="connsiteX1" fmla="*/ 2948 w 51940"/>
                  <a:gd name="connsiteY1" fmla="*/ 0 h 184870"/>
                  <a:gd name="connsiteX2" fmla="*/ 51941 w 51940"/>
                  <a:gd name="connsiteY2" fmla="*/ 184086 h 184870"/>
                  <a:gd name="connsiteX3" fmla="*/ 48993 w 51940"/>
                  <a:gd name="connsiteY3" fmla="*/ 184870 h 184870"/>
                </a:gdLst>
                <a:ahLst/>
                <a:cxnLst>
                  <a:cxn ang="0">
                    <a:pos x="connsiteX0" y="connsiteY0"/>
                  </a:cxn>
                  <a:cxn ang="0">
                    <a:pos x="connsiteX1" y="connsiteY1"/>
                  </a:cxn>
                  <a:cxn ang="0">
                    <a:pos x="connsiteX2" y="connsiteY2"/>
                  </a:cxn>
                  <a:cxn ang="0">
                    <a:pos x="connsiteX3" y="connsiteY3"/>
                  </a:cxn>
                </a:cxnLst>
                <a:rect l="l" t="t" r="r" b="b"/>
                <a:pathLst>
                  <a:path w="51940" h="184870">
                    <a:moveTo>
                      <a:pt x="0" y="785"/>
                    </a:moveTo>
                    <a:lnTo>
                      <a:pt x="2948" y="0"/>
                    </a:lnTo>
                    <a:lnTo>
                      <a:pt x="51941" y="184086"/>
                    </a:lnTo>
                    <a:lnTo>
                      <a:pt x="48993" y="184870"/>
                    </a:lnTo>
                    <a:close/>
                  </a:path>
                </a:pathLst>
              </a:custGeom>
              <a:grpFill/>
              <a:ln w="5978" cap="flat">
                <a:noFill/>
                <a:prstDash val="solid"/>
                <a:miter/>
              </a:ln>
            </p:spPr>
            <p:txBody>
              <a:bodyPr rtlCol="0" anchor="ctr"/>
              <a:lstStyle/>
              <a:p>
                <a:endParaRPr lang="en-GB"/>
              </a:p>
            </p:txBody>
          </p:sp>
          <p:sp>
            <p:nvSpPr>
              <p:cNvPr id="3282" name="Vrije vorm: vorm 3281">
                <a:extLst>
                  <a:ext uri="{FF2B5EF4-FFF2-40B4-BE49-F238E27FC236}">
                    <a16:creationId xmlns:a16="http://schemas.microsoft.com/office/drawing/2014/main" id="{FD90F5F0-0AFC-454E-935E-81996FD8DE09}"/>
                  </a:ext>
                </a:extLst>
              </p:cNvPr>
              <p:cNvSpPr/>
              <p:nvPr/>
            </p:nvSpPr>
            <p:spPr>
              <a:xfrm>
                <a:off x="6528978" y="5222534"/>
                <a:ext cx="18332" cy="18427"/>
              </a:xfrm>
              <a:custGeom>
                <a:avLst/>
                <a:gdLst>
                  <a:gd name="connsiteX0" fmla="*/ 18018 w 18332"/>
                  <a:gd name="connsiteY0" fmla="*/ 6869 h 18427"/>
                  <a:gd name="connsiteX1" fmla="*/ 11559 w 18332"/>
                  <a:gd name="connsiteY1" fmla="*/ 18113 h 18427"/>
                  <a:gd name="connsiteX2" fmla="*/ 315 w 18332"/>
                  <a:gd name="connsiteY2" fmla="*/ 11534 h 18427"/>
                  <a:gd name="connsiteX3" fmla="*/ 6774 w 18332"/>
                  <a:gd name="connsiteY3" fmla="*/ 291 h 18427"/>
                  <a:gd name="connsiteX4" fmla="*/ 18018 w 18332"/>
                  <a:gd name="connsiteY4" fmla="*/ 6869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7">
                    <a:moveTo>
                      <a:pt x="18018" y="6869"/>
                    </a:moveTo>
                    <a:cubicBezTo>
                      <a:pt x="19334" y="11773"/>
                      <a:pt x="16403" y="16857"/>
                      <a:pt x="11559" y="18113"/>
                    </a:cubicBezTo>
                    <a:cubicBezTo>
                      <a:pt x="6655" y="19429"/>
                      <a:pt x="1631" y="16498"/>
                      <a:pt x="315" y="11534"/>
                    </a:cubicBezTo>
                    <a:cubicBezTo>
                      <a:pt x="-1001" y="6630"/>
                      <a:pt x="1930" y="1547"/>
                      <a:pt x="6774" y="291"/>
                    </a:cubicBezTo>
                    <a:cubicBezTo>
                      <a:pt x="11678" y="-965"/>
                      <a:pt x="16702" y="1965"/>
                      <a:pt x="18018" y="6869"/>
                    </a:cubicBezTo>
                    <a:close/>
                  </a:path>
                </a:pathLst>
              </a:custGeom>
              <a:grpFill/>
              <a:ln w="5978" cap="flat">
                <a:noFill/>
                <a:prstDash val="solid"/>
                <a:miter/>
              </a:ln>
            </p:spPr>
            <p:txBody>
              <a:bodyPr rtlCol="0" anchor="ctr"/>
              <a:lstStyle/>
              <a:p>
                <a:endParaRPr lang="en-GB"/>
              </a:p>
            </p:txBody>
          </p:sp>
          <p:sp>
            <p:nvSpPr>
              <p:cNvPr id="3283" name="Vrije vorm: vorm 3282">
                <a:extLst>
                  <a:ext uri="{FF2B5EF4-FFF2-40B4-BE49-F238E27FC236}">
                    <a16:creationId xmlns:a16="http://schemas.microsoft.com/office/drawing/2014/main" id="{B51C60D6-0107-4239-B9D9-BADF21A1802E}"/>
                  </a:ext>
                </a:extLst>
              </p:cNvPr>
              <p:cNvSpPr/>
              <p:nvPr/>
            </p:nvSpPr>
            <p:spPr>
              <a:xfrm>
                <a:off x="6480231" y="5039345"/>
                <a:ext cx="18316" cy="18403"/>
              </a:xfrm>
              <a:custGeom>
                <a:avLst/>
                <a:gdLst>
                  <a:gd name="connsiteX0" fmla="*/ 18022 w 18316"/>
                  <a:gd name="connsiteY0" fmla="*/ 6869 h 18403"/>
                  <a:gd name="connsiteX1" fmla="*/ 6778 w 18316"/>
                  <a:gd name="connsiteY1" fmla="*/ 291 h 18403"/>
                  <a:gd name="connsiteX2" fmla="*/ 319 w 18316"/>
                  <a:gd name="connsiteY2" fmla="*/ 11534 h 18403"/>
                  <a:gd name="connsiteX3" fmla="*/ 11563 w 18316"/>
                  <a:gd name="connsiteY3" fmla="*/ 18113 h 18403"/>
                  <a:gd name="connsiteX4" fmla="*/ 18022 w 18316"/>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18022" y="6869"/>
                    </a:moveTo>
                    <a:cubicBezTo>
                      <a:pt x="16706" y="1965"/>
                      <a:pt x="11683" y="-966"/>
                      <a:pt x="6778" y="291"/>
                    </a:cubicBezTo>
                    <a:cubicBezTo>
                      <a:pt x="1874" y="1606"/>
                      <a:pt x="-997" y="6630"/>
                      <a:pt x="319" y="11534"/>
                    </a:cubicBezTo>
                    <a:cubicBezTo>
                      <a:pt x="1635" y="16439"/>
                      <a:pt x="6659" y="19369"/>
                      <a:pt x="11563" y="18113"/>
                    </a:cubicBezTo>
                    <a:cubicBezTo>
                      <a:pt x="16407" y="16857"/>
                      <a:pt x="19278" y="11773"/>
                      <a:pt x="18022" y="6869"/>
                    </a:cubicBezTo>
                    <a:close/>
                  </a:path>
                </a:pathLst>
              </a:custGeom>
              <a:grpFill/>
              <a:ln w="5978" cap="flat">
                <a:noFill/>
                <a:prstDash val="solid"/>
                <a:miter/>
              </a:ln>
            </p:spPr>
            <p:txBody>
              <a:bodyPr rtlCol="0" anchor="ctr"/>
              <a:lstStyle/>
              <a:p>
                <a:endParaRPr lang="en-GB"/>
              </a:p>
            </p:txBody>
          </p:sp>
        </p:grpSp>
        <p:grpSp>
          <p:nvGrpSpPr>
            <p:cNvPr id="704" name="Graphic 3">
              <a:extLst>
                <a:ext uri="{FF2B5EF4-FFF2-40B4-BE49-F238E27FC236}">
                  <a16:creationId xmlns:a16="http://schemas.microsoft.com/office/drawing/2014/main" id="{D3F99C1B-6564-43D2-96A6-8CEF568EBB2D}"/>
                </a:ext>
              </a:extLst>
            </p:cNvPr>
            <p:cNvGrpSpPr/>
            <p:nvPr/>
          </p:nvGrpSpPr>
          <p:grpSpPr>
            <a:xfrm>
              <a:off x="6509968" y="5032211"/>
              <a:ext cx="118914" cy="513278"/>
              <a:chOff x="6509968" y="5032211"/>
              <a:chExt cx="118914" cy="513278"/>
            </a:xfrm>
            <a:grpFill/>
          </p:grpSpPr>
          <p:sp>
            <p:nvSpPr>
              <p:cNvPr id="3278" name="Vrije vorm: vorm 3277">
                <a:extLst>
                  <a:ext uri="{FF2B5EF4-FFF2-40B4-BE49-F238E27FC236}">
                    <a16:creationId xmlns:a16="http://schemas.microsoft.com/office/drawing/2014/main" id="{82B5359A-BC09-4DBF-9758-A7C466D60EE4}"/>
                  </a:ext>
                </a:extLst>
              </p:cNvPr>
              <p:cNvSpPr/>
              <p:nvPr/>
            </p:nvSpPr>
            <p:spPr>
              <a:xfrm>
                <a:off x="6517511" y="5040652"/>
                <a:ext cx="103825" cy="496339"/>
              </a:xfrm>
              <a:custGeom>
                <a:avLst/>
                <a:gdLst>
                  <a:gd name="connsiteX0" fmla="*/ 2990 w 103825"/>
                  <a:gd name="connsiteY0" fmla="*/ 0 h 496339"/>
                  <a:gd name="connsiteX1" fmla="*/ 103825 w 103825"/>
                  <a:gd name="connsiteY1" fmla="*/ 495742 h 496339"/>
                  <a:gd name="connsiteX2" fmla="*/ 100835 w 103825"/>
                  <a:gd name="connsiteY2" fmla="*/ 496340 h 496339"/>
                  <a:gd name="connsiteX3" fmla="*/ 0 w 103825"/>
                  <a:gd name="connsiteY3" fmla="*/ 598 h 496339"/>
                </a:gdLst>
                <a:ahLst/>
                <a:cxnLst>
                  <a:cxn ang="0">
                    <a:pos x="connsiteX0" y="connsiteY0"/>
                  </a:cxn>
                  <a:cxn ang="0">
                    <a:pos x="connsiteX1" y="connsiteY1"/>
                  </a:cxn>
                  <a:cxn ang="0">
                    <a:pos x="connsiteX2" y="connsiteY2"/>
                  </a:cxn>
                  <a:cxn ang="0">
                    <a:pos x="connsiteX3" y="connsiteY3"/>
                  </a:cxn>
                </a:cxnLst>
                <a:rect l="l" t="t" r="r" b="b"/>
                <a:pathLst>
                  <a:path w="103825" h="496339">
                    <a:moveTo>
                      <a:pt x="2990" y="0"/>
                    </a:moveTo>
                    <a:lnTo>
                      <a:pt x="103825" y="495742"/>
                    </a:lnTo>
                    <a:lnTo>
                      <a:pt x="100835" y="496340"/>
                    </a:lnTo>
                    <a:lnTo>
                      <a:pt x="0" y="598"/>
                    </a:lnTo>
                    <a:close/>
                  </a:path>
                </a:pathLst>
              </a:custGeom>
              <a:grpFill/>
              <a:ln w="5978" cap="flat">
                <a:noFill/>
                <a:prstDash val="solid"/>
                <a:miter/>
              </a:ln>
            </p:spPr>
            <p:txBody>
              <a:bodyPr rtlCol="0" anchor="ctr"/>
              <a:lstStyle/>
              <a:p>
                <a:endParaRPr lang="en-GB"/>
              </a:p>
            </p:txBody>
          </p:sp>
          <p:sp>
            <p:nvSpPr>
              <p:cNvPr id="3279" name="Vrije vorm: vorm 3278">
                <a:extLst>
                  <a:ext uri="{FF2B5EF4-FFF2-40B4-BE49-F238E27FC236}">
                    <a16:creationId xmlns:a16="http://schemas.microsoft.com/office/drawing/2014/main" id="{B9E43071-8E40-4305-BBCC-8CCC165F9062}"/>
                  </a:ext>
                </a:extLst>
              </p:cNvPr>
              <p:cNvSpPr/>
              <p:nvPr/>
            </p:nvSpPr>
            <p:spPr>
              <a:xfrm>
                <a:off x="6509968" y="5032211"/>
                <a:ext cx="18319" cy="18416"/>
              </a:xfrm>
              <a:custGeom>
                <a:avLst/>
                <a:gdLst>
                  <a:gd name="connsiteX0" fmla="*/ 187 w 18319"/>
                  <a:gd name="connsiteY0" fmla="*/ 11012 h 18416"/>
                  <a:gd name="connsiteX1" fmla="*/ 7304 w 18319"/>
                  <a:gd name="connsiteY1" fmla="*/ 187 h 18416"/>
                  <a:gd name="connsiteX2" fmla="*/ 18129 w 18319"/>
                  <a:gd name="connsiteY2" fmla="*/ 7424 h 18416"/>
                  <a:gd name="connsiteX3" fmla="*/ 11012 w 18319"/>
                  <a:gd name="connsiteY3" fmla="*/ 18249 h 18416"/>
                  <a:gd name="connsiteX4" fmla="*/ 187 w 18319"/>
                  <a:gd name="connsiteY4" fmla="*/ 1101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6">
                    <a:moveTo>
                      <a:pt x="187" y="11012"/>
                    </a:moveTo>
                    <a:cubicBezTo>
                      <a:pt x="-829" y="6048"/>
                      <a:pt x="2400" y="1144"/>
                      <a:pt x="7304" y="187"/>
                    </a:cubicBezTo>
                    <a:cubicBezTo>
                      <a:pt x="12268" y="-830"/>
                      <a:pt x="17113" y="2400"/>
                      <a:pt x="18129" y="7424"/>
                    </a:cubicBezTo>
                    <a:cubicBezTo>
                      <a:pt x="19146" y="12388"/>
                      <a:pt x="15976" y="17292"/>
                      <a:pt x="11012" y="18249"/>
                    </a:cubicBezTo>
                    <a:cubicBezTo>
                      <a:pt x="6048" y="19206"/>
                      <a:pt x="1204" y="15976"/>
                      <a:pt x="187" y="11012"/>
                    </a:cubicBezTo>
                    <a:close/>
                  </a:path>
                </a:pathLst>
              </a:custGeom>
              <a:grpFill/>
              <a:ln w="5978" cap="flat">
                <a:noFill/>
                <a:prstDash val="solid"/>
                <a:miter/>
              </a:ln>
            </p:spPr>
            <p:txBody>
              <a:bodyPr rtlCol="0" anchor="ctr"/>
              <a:lstStyle/>
              <a:p>
                <a:endParaRPr lang="en-GB"/>
              </a:p>
            </p:txBody>
          </p:sp>
          <p:sp>
            <p:nvSpPr>
              <p:cNvPr id="3280" name="Vrije vorm: vorm 3279">
                <a:extLst>
                  <a:ext uri="{FF2B5EF4-FFF2-40B4-BE49-F238E27FC236}">
                    <a16:creationId xmlns:a16="http://schemas.microsoft.com/office/drawing/2014/main" id="{54C9149D-7158-428F-9AF2-44917C3BF8AF}"/>
                  </a:ext>
                </a:extLst>
              </p:cNvPr>
              <p:cNvSpPr/>
              <p:nvPr/>
            </p:nvSpPr>
            <p:spPr>
              <a:xfrm>
                <a:off x="6610563" y="5527076"/>
                <a:ext cx="18319" cy="18414"/>
              </a:xfrm>
              <a:custGeom>
                <a:avLst/>
                <a:gdLst>
                  <a:gd name="connsiteX0" fmla="*/ 187 w 18319"/>
                  <a:gd name="connsiteY0" fmla="*/ 10993 h 18414"/>
                  <a:gd name="connsiteX1" fmla="*/ 11012 w 18319"/>
                  <a:gd name="connsiteY1" fmla="*/ 18230 h 18414"/>
                  <a:gd name="connsiteX2" fmla="*/ 18129 w 18319"/>
                  <a:gd name="connsiteY2" fmla="*/ 7404 h 18414"/>
                  <a:gd name="connsiteX3" fmla="*/ 7304 w 18319"/>
                  <a:gd name="connsiteY3" fmla="*/ 168 h 18414"/>
                  <a:gd name="connsiteX4" fmla="*/ 187 w 18319"/>
                  <a:gd name="connsiteY4" fmla="*/ 1099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4">
                    <a:moveTo>
                      <a:pt x="187" y="10993"/>
                    </a:moveTo>
                    <a:cubicBezTo>
                      <a:pt x="1204" y="15957"/>
                      <a:pt x="6048" y="19246"/>
                      <a:pt x="11012" y="18230"/>
                    </a:cubicBezTo>
                    <a:cubicBezTo>
                      <a:pt x="15977" y="17213"/>
                      <a:pt x="19146" y="12369"/>
                      <a:pt x="18129" y="7404"/>
                    </a:cubicBezTo>
                    <a:cubicBezTo>
                      <a:pt x="17113" y="2440"/>
                      <a:pt x="12268" y="-789"/>
                      <a:pt x="7304" y="168"/>
                    </a:cubicBezTo>
                    <a:cubicBezTo>
                      <a:pt x="2400" y="1185"/>
                      <a:pt x="-830" y="6029"/>
                      <a:pt x="187" y="10993"/>
                    </a:cubicBezTo>
                    <a:close/>
                  </a:path>
                </a:pathLst>
              </a:custGeom>
              <a:grpFill/>
              <a:ln w="5978" cap="flat">
                <a:noFill/>
                <a:prstDash val="solid"/>
                <a:miter/>
              </a:ln>
            </p:spPr>
            <p:txBody>
              <a:bodyPr rtlCol="0" anchor="ctr"/>
              <a:lstStyle/>
              <a:p>
                <a:endParaRPr lang="en-GB"/>
              </a:p>
            </p:txBody>
          </p:sp>
        </p:grpSp>
        <p:grpSp>
          <p:nvGrpSpPr>
            <p:cNvPr id="705" name="Graphic 3">
              <a:extLst>
                <a:ext uri="{FF2B5EF4-FFF2-40B4-BE49-F238E27FC236}">
                  <a16:creationId xmlns:a16="http://schemas.microsoft.com/office/drawing/2014/main" id="{3ACC298D-F1E8-44E6-96C2-FF04A4FC710D}"/>
                </a:ext>
              </a:extLst>
            </p:cNvPr>
            <p:cNvGrpSpPr/>
            <p:nvPr/>
          </p:nvGrpSpPr>
          <p:grpSpPr>
            <a:xfrm>
              <a:off x="5246767" y="1410068"/>
              <a:ext cx="64206" cy="133010"/>
              <a:chOff x="5246767" y="1410068"/>
              <a:chExt cx="64206" cy="133010"/>
            </a:xfrm>
            <a:grpFill/>
          </p:grpSpPr>
          <p:sp>
            <p:nvSpPr>
              <p:cNvPr id="3275" name="Vrije vorm: vorm 3274">
                <a:extLst>
                  <a:ext uri="{FF2B5EF4-FFF2-40B4-BE49-F238E27FC236}">
                    <a16:creationId xmlns:a16="http://schemas.microsoft.com/office/drawing/2014/main" id="{9076761B-1C28-4ED1-8CE7-F69EFAE7ADD0}"/>
                  </a:ext>
                </a:extLst>
              </p:cNvPr>
              <p:cNvSpPr/>
              <p:nvPr/>
            </p:nvSpPr>
            <p:spPr>
              <a:xfrm>
                <a:off x="5254487" y="1418078"/>
                <a:ext cx="48927" cy="116549"/>
              </a:xfrm>
              <a:custGeom>
                <a:avLst/>
                <a:gdLst>
                  <a:gd name="connsiteX0" fmla="*/ 0 w 48927"/>
                  <a:gd name="connsiteY0" fmla="*/ 1131 h 116549"/>
                  <a:gd name="connsiteX1" fmla="*/ 2833 w 48927"/>
                  <a:gd name="connsiteY1" fmla="*/ 0 h 116549"/>
                  <a:gd name="connsiteX2" fmla="*/ 48928 w 48927"/>
                  <a:gd name="connsiteY2" fmla="*/ 115418 h 116549"/>
                  <a:gd name="connsiteX3" fmla="*/ 46095 w 48927"/>
                  <a:gd name="connsiteY3" fmla="*/ 116550 h 116549"/>
                </a:gdLst>
                <a:ahLst/>
                <a:cxnLst>
                  <a:cxn ang="0">
                    <a:pos x="connsiteX0" y="connsiteY0"/>
                  </a:cxn>
                  <a:cxn ang="0">
                    <a:pos x="connsiteX1" y="connsiteY1"/>
                  </a:cxn>
                  <a:cxn ang="0">
                    <a:pos x="connsiteX2" y="connsiteY2"/>
                  </a:cxn>
                  <a:cxn ang="0">
                    <a:pos x="connsiteX3" y="connsiteY3"/>
                  </a:cxn>
                </a:cxnLst>
                <a:rect l="l" t="t" r="r" b="b"/>
                <a:pathLst>
                  <a:path w="48927" h="116549">
                    <a:moveTo>
                      <a:pt x="0" y="1131"/>
                    </a:moveTo>
                    <a:lnTo>
                      <a:pt x="2833" y="0"/>
                    </a:lnTo>
                    <a:lnTo>
                      <a:pt x="48928" y="115418"/>
                    </a:lnTo>
                    <a:lnTo>
                      <a:pt x="46095" y="116550"/>
                    </a:lnTo>
                    <a:close/>
                  </a:path>
                </a:pathLst>
              </a:custGeom>
              <a:grpFill/>
              <a:ln w="5978" cap="flat">
                <a:noFill/>
                <a:prstDash val="solid"/>
                <a:miter/>
              </a:ln>
            </p:spPr>
            <p:txBody>
              <a:bodyPr rtlCol="0" anchor="ctr"/>
              <a:lstStyle/>
              <a:p>
                <a:endParaRPr lang="en-GB"/>
              </a:p>
            </p:txBody>
          </p:sp>
          <p:sp>
            <p:nvSpPr>
              <p:cNvPr id="3276" name="Vrije vorm: vorm 3275">
                <a:extLst>
                  <a:ext uri="{FF2B5EF4-FFF2-40B4-BE49-F238E27FC236}">
                    <a16:creationId xmlns:a16="http://schemas.microsoft.com/office/drawing/2014/main" id="{184268EC-A56F-475F-AA3E-82E4B5118F11}"/>
                  </a:ext>
                </a:extLst>
              </p:cNvPr>
              <p:cNvSpPr/>
              <p:nvPr/>
            </p:nvSpPr>
            <p:spPr>
              <a:xfrm>
                <a:off x="5246767" y="1410068"/>
                <a:ext cx="18342" cy="18419"/>
              </a:xfrm>
              <a:custGeom>
                <a:avLst/>
                <a:gdLst>
                  <a:gd name="connsiteX0" fmla="*/ 679 w 18342"/>
                  <a:gd name="connsiteY0" fmla="*/ 12607 h 18419"/>
                  <a:gd name="connsiteX1" fmla="*/ 5762 w 18342"/>
                  <a:gd name="connsiteY1" fmla="*/ 645 h 18419"/>
                  <a:gd name="connsiteX2" fmla="*/ 17664 w 18342"/>
                  <a:gd name="connsiteY2" fmla="*/ 5789 h 18419"/>
                  <a:gd name="connsiteX3" fmla="*/ 12580 w 18342"/>
                  <a:gd name="connsiteY3" fmla="*/ 17750 h 18419"/>
                  <a:gd name="connsiteX4" fmla="*/ 679 w 18342"/>
                  <a:gd name="connsiteY4" fmla="*/ 1260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9">
                    <a:moveTo>
                      <a:pt x="679" y="12607"/>
                    </a:moveTo>
                    <a:cubicBezTo>
                      <a:pt x="-1235" y="7882"/>
                      <a:pt x="1037" y="2499"/>
                      <a:pt x="5762" y="645"/>
                    </a:cubicBezTo>
                    <a:cubicBezTo>
                      <a:pt x="10427" y="-1209"/>
                      <a:pt x="15810" y="1064"/>
                      <a:pt x="17664" y="5789"/>
                    </a:cubicBezTo>
                    <a:cubicBezTo>
                      <a:pt x="19577" y="10513"/>
                      <a:pt x="17305" y="15896"/>
                      <a:pt x="12580" y="17750"/>
                    </a:cubicBezTo>
                    <a:cubicBezTo>
                      <a:pt x="7915" y="19664"/>
                      <a:pt x="2592" y="17331"/>
                      <a:pt x="679" y="12607"/>
                    </a:cubicBezTo>
                    <a:close/>
                  </a:path>
                </a:pathLst>
              </a:custGeom>
              <a:grpFill/>
              <a:ln w="5978" cap="flat">
                <a:noFill/>
                <a:prstDash val="solid"/>
                <a:miter/>
              </a:ln>
            </p:spPr>
            <p:txBody>
              <a:bodyPr rtlCol="0" anchor="ctr"/>
              <a:lstStyle/>
              <a:p>
                <a:endParaRPr lang="en-GB"/>
              </a:p>
            </p:txBody>
          </p:sp>
          <p:sp>
            <p:nvSpPr>
              <p:cNvPr id="3277" name="Vrije vorm: vorm 3276">
                <a:extLst>
                  <a:ext uri="{FF2B5EF4-FFF2-40B4-BE49-F238E27FC236}">
                    <a16:creationId xmlns:a16="http://schemas.microsoft.com/office/drawing/2014/main" id="{B106429D-E134-40C8-BD6E-7891C4B5139C}"/>
                  </a:ext>
                </a:extLst>
              </p:cNvPr>
              <p:cNvSpPr/>
              <p:nvPr/>
            </p:nvSpPr>
            <p:spPr>
              <a:xfrm>
                <a:off x="5292639" y="1524634"/>
                <a:ext cx="18334" cy="18444"/>
              </a:xfrm>
              <a:custGeom>
                <a:avLst/>
                <a:gdLst>
                  <a:gd name="connsiteX0" fmla="*/ 679 w 18334"/>
                  <a:gd name="connsiteY0" fmla="*/ 12631 h 18444"/>
                  <a:gd name="connsiteX1" fmla="*/ 12580 w 18334"/>
                  <a:gd name="connsiteY1" fmla="*/ 17775 h 18444"/>
                  <a:gd name="connsiteX2" fmla="*/ 17664 w 18334"/>
                  <a:gd name="connsiteY2" fmla="*/ 5813 h 18444"/>
                  <a:gd name="connsiteX3" fmla="*/ 5762 w 18334"/>
                  <a:gd name="connsiteY3" fmla="*/ 670 h 18444"/>
                  <a:gd name="connsiteX4" fmla="*/ 679 w 18334"/>
                  <a:gd name="connsiteY4" fmla="*/ 12631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4">
                    <a:moveTo>
                      <a:pt x="679" y="12631"/>
                    </a:moveTo>
                    <a:cubicBezTo>
                      <a:pt x="2592" y="17356"/>
                      <a:pt x="7915" y="19689"/>
                      <a:pt x="12580" y="17775"/>
                    </a:cubicBezTo>
                    <a:cubicBezTo>
                      <a:pt x="17245" y="15921"/>
                      <a:pt x="19578" y="10538"/>
                      <a:pt x="17664" y="5813"/>
                    </a:cubicBezTo>
                    <a:cubicBezTo>
                      <a:pt x="15750" y="1089"/>
                      <a:pt x="10427" y="-1244"/>
                      <a:pt x="5762" y="670"/>
                    </a:cubicBezTo>
                    <a:cubicBezTo>
                      <a:pt x="1037" y="2524"/>
                      <a:pt x="-1235" y="7847"/>
                      <a:pt x="679" y="12631"/>
                    </a:cubicBezTo>
                    <a:close/>
                  </a:path>
                </a:pathLst>
              </a:custGeom>
              <a:grpFill/>
              <a:ln w="5978" cap="flat">
                <a:noFill/>
                <a:prstDash val="solid"/>
                <a:miter/>
              </a:ln>
            </p:spPr>
            <p:txBody>
              <a:bodyPr rtlCol="0" anchor="ctr"/>
              <a:lstStyle/>
              <a:p>
                <a:endParaRPr lang="en-GB"/>
              </a:p>
            </p:txBody>
          </p:sp>
        </p:grpSp>
        <p:grpSp>
          <p:nvGrpSpPr>
            <p:cNvPr id="706" name="Graphic 3">
              <a:extLst>
                <a:ext uri="{FF2B5EF4-FFF2-40B4-BE49-F238E27FC236}">
                  <a16:creationId xmlns:a16="http://schemas.microsoft.com/office/drawing/2014/main" id="{3D2DCCFD-9835-44B3-8F2A-EFBBDFE91DC5}"/>
                </a:ext>
              </a:extLst>
            </p:cNvPr>
            <p:cNvGrpSpPr/>
            <p:nvPr/>
          </p:nvGrpSpPr>
          <p:grpSpPr>
            <a:xfrm>
              <a:off x="5246220" y="1410266"/>
              <a:ext cx="158247" cy="449208"/>
              <a:chOff x="5246220" y="1410266"/>
              <a:chExt cx="158247" cy="449208"/>
            </a:xfrm>
            <a:grpFill/>
          </p:grpSpPr>
          <p:sp>
            <p:nvSpPr>
              <p:cNvPr id="3272" name="Vrije vorm: vorm 3271">
                <a:extLst>
                  <a:ext uri="{FF2B5EF4-FFF2-40B4-BE49-F238E27FC236}">
                    <a16:creationId xmlns:a16="http://schemas.microsoft.com/office/drawing/2014/main" id="{05ED98E9-DED8-4514-92A6-8D44E2923A0E}"/>
                  </a:ext>
                </a:extLst>
              </p:cNvPr>
              <p:cNvSpPr/>
              <p:nvPr/>
            </p:nvSpPr>
            <p:spPr>
              <a:xfrm>
                <a:off x="5253826" y="1418615"/>
                <a:ext cx="143103" cy="432624"/>
              </a:xfrm>
              <a:custGeom>
                <a:avLst/>
                <a:gdLst>
                  <a:gd name="connsiteX0" fmla="*/ 0 w 143103"/>
                  <a:gd name="connsiteY0" fmla="*/ 942 h 432624"/>
                  <a:gd name="connsiteX1" fmla="*/ 2901 w 143103"/>
                  <a:gd name="connsiteY1" fmla="*/ 0 h 432624"/>
                  <a:gd name="connsiteX2" fmla="*/ 143104 w 143103"/>
                  <a:gd name="connsiteY2" fmla="*/ 431682 h 432624"/>
                  <a:gd name="connsiteX3" fmla="*/ 140203 w 143103"/>
                  <a:gd name="connsiteY3" fmla="*/ 432625 h 432624"/>
                </a:gdLst>
                <a:ahLst/>
                <a:cxnLst>
                  <a:cxn ang="0">
                    <a:pos x="connsiteX0" y="connsiteY0"/>
                  </a:cxn>
                  <a:cxn ang="0">
                    <a:pos x="connsiteX1" y="connsiteY1"/>
                  </a:cxn>
                  <a:cxn ang="0">
                    <a:pos x="connsiteX2" y="connsiteY2"/>
                  </a:cxn>
                  <a:cxn ang="0">
                    <a:pos x="connsiteX3" y="connsiteY3"/>
                  </a:cxn>
                </a:cxnLst>
                <a:rect l="l" t="t" r="r" b="b"/>
                <a:pathLst>
                  <a:path w="143103" h="432624">
                    <a:moveTo>
                      <a:pt x="0" y="942"/>
                    </a:moveTo>
                    <a:lnTo>
                      <a:pt x="2901" y="0"/>
                    </a:lnTo>
                    <a:lnTo>
                      <a:pt x="143104" y="431682"/>
                    </a:lnTo>
                    <a:lnTo>
                      <a:pt x="140203" y="432625"/>
                    </a:lnTo>
                    <a:close/>
                  </a:path>
                </a:pathLst>
              </a:custGeom>
              <a:grpFill/>
              <a:ln w="5978" cap="flat">
                <a:noFill/>
                <a:prstDash val="solid"/>
                <a:miter/>
              </a:ln>
            </p:spPr>
            <p:txBody>
              <a:bodyPr rtlCol="0" anchor="ctr"/>
              <a:lstStyle/>
              <a:p>
                <a:endParaRPr lang="en-GB"/>
              </a:p>
            </p:txBody>
          </p:sp>
          <p:sp>
            <p:nvSpPr>
              <p:cNvPr id="3273" name="Vrije vorm: vorm 3272">
                <a:extLst>
                  <a:ext uri="{FF2B5EF4-FFF2-40B4-BE49-F238E27FC236}">
                    <a16:creationId xmlns:a16="http://schemas.microsoft.com/office/drawing/2014/main" id="{2BA38BDD-9828-489A-BDEB-9B696296B403}"/>
                  </a:ext>
                </a:extLst>
              </p:cNvPr>
              <p:cNvSpPr/>
              <p:nvPr/>
            </p:nvSpPr>
            <p:spPr>
              <a:xfrm>
                <a:off x="5386169" y="1841058"/>
                <a:ext cx="18298" cy="18416"/>
              </a:xfrm>
              <a:custGeom>
                <a:avLst/>
                <a:gdLst>
                  <a:gd name="connsiteX0" fmla="*/ 17851 w 18298"/>
                  <a:gd name="connsiteY0" fmla="*/ 6368 h 18416"/>
                  <a:gd name="connsiteX1" fmla="*/ 11990 w 18298"/>
                  <a:gd name="connsiteY1" fmla="*/ 17970 h 18416"/>
                  <a:gd name="connsiteX2" fmla="*/ 447 w 18298"/>
                  <a:gd name="connsiteY2" fmla="*/ 12049 h 18416"/>
                  <a:gd name="connsiteX3" fmla="*/ 6308 w 18298"/>
                  <a:gd name="connsiteY3" fmla="*/ 447 h 18416"/>
                  <a:gd name="connsiteX4" fmla="*/ 17851 w 18298"/>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16">
                    <a:moveTo>
                      <a:pt x="17851" y="6368"/>
                    </a:moveTo>
                    <a:cubicBezTo>
                      <a:pt x="19406" y="11212"/>
                      <a:pt x="16774" y="16415"/>
                      <a:pt x="11990" y="17970"/>
                    </a:cubicBezTo>
                    <a:cubicBezTo>
                      <a:pt x="7205" y="19525"/>
                      <a:pt x="2002" y="16894"/>
                      <a:pt x="447" y="12049"/>
                    </a:cubicBezTo>
                    <a:cubicBezTo>
                      <a:pt x="-1108" y="7205"/>
                      <a:pt x="1524" y="2002"/>
                      <a:pt x="6308" y="447"/>
                    </a:cubicBezTo>
                    <a:cubicBezTo>
                      <a:pt x="11093" y="-1108"/>
                      <a:pt x="16296" y="1523"/>
                      <a:pt x="17851" y="6368"/>
                    </a:cubicBezTo>
                    <a:close/>
                  </a:path>
                </a:pathLst>
              </a:custGeom>
              <a:grpFill/>
              <a:ln w="5978" cap="flat">
                <a:noFill/>
                <a:prstDash val="solid"/>
                <a:miter/>
              </a:ln>
            </p:spPr>
            <p:txBody>
              <a:bodyPr rtlCol="0" anchor="ctr"/>
              <a:lstStyle/>
              <a:p>
                <a:endParaRPr lang="en-GB"/>
              </a:p>
            </p:txBody>
          </p:sp>
          <p:sp>
            <p:nvSpPr>
              <p:cNvPr id="3274" name="Vrije vorm: vorm 3273">
                <a:extLst>
                  <a:ext uri="{FF2B5EF4-FFF2-40B4-BE49-F238E27FC236}">
                    <a16:creationId xmlns:a16="http://schemas.microsoft.com/office/drawing/2014/main" id="{C9489C5E-E527-45CF-B603-8EF764AC3D62}"/>
                  </a:ext>
                </a:extLst>
              </p:cNvPr>
              <p:cNvSpPr/>
              <p:nvPr/>
            </p:nvSpPr>
            <p:spPr>
              <a:xfrm>
                <a:off x="5246220" y="1410266"/>
                <a:ext cx="18326" cy="18416"/>
              </a:xfrm>
              <a:custGeom>
                <a:avLst/>
                <a:gdLst>
                  <a:gd name="connsiteX0" fmla="*/ 17851 w 18326"/>
                  <a:gd name="connsiteY0" fmla="*/ 6368 h 18416"/>
                  <a:gd name="connsiteX1" fmla="*/ 6308 w 18326"/>
                  <a:gd name="connsiteY1" fmla="*/ 447 h 18416"/>
                  <a:gd name="connsiteX2" fmla="*/ 447 w 18326"/>
                  <a:gd name="connsiteY2" fmla="*/ 12049 h 18416"/>
                  <a:gd name="connsiteX3" fmla="*/ 11990 w 18326"/>
                  <a:gd name="connsiteY3" fmla="*/ 17970 h 18416"/>
                  <a:gd name="connsiteX4" fmla="*/ 17851 w 18326"/>
                  <a:gd name="connsiteY4" fmla="*/ 636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6">
                    <a:moveTo>
                      <a:pt x="17851" y="6368"/>
                    </a:moveTo>
                    <a:cubicBezTo>
                      <a:pt x="16296" y="1523"/>
                      <a:pt x="11093" y="-1108"/>
                      <a:pt x="6308" y="447"/>
                    </a:cubicBezTo>
                    <a:cubicBezTo>
                      <a:pt x="1524" y="2002"/>
                      <a:pt x="-1108" y="7205"/>
                      <a:pt x="447" y="12049"/>
                    </a:cubicBezTo>
                    <a:cubicBezTo>
                      <a:pt x="2002" y="16894"/>
                      <a:pt x="7205" y="19525"/>
                      <a:pt x="11990" y="17970"/>
                    </a:cubicBezTo>
                    <a:cubicBezTo>
                      <a:pt x="16834" y="16415"/>
                      <a:pt x="19466" y="11212"/>
                      <a:pt x="17851" y="6368"/>
                    </a:cubicBezTo>
                    <a:close/>
                  </a:path>
                </a:pathLst>
              </a:custGeom>
              <a:grpFill/>
              <a:ln w="5978" cap="flat">
                <a:noFill/>
                <a:prstDash val="solid"/>
                <a:miter/>
              </a:ln>
            </p:spPr>
            <p:txBody>
              <a:bodyPr rtlCol="0" anchor="ctr"/>
              <a:lstStyle/>
              <a:p>
                <a:endParaRPr lang="en-GB"/>
              </a:p>
            </p:txBody>
          </p:sp>
        </p:grpSp>
        <p:grpSp>
          <p:nvGrpSpPr>
            <p:cNvPr id="707" name="Graphic 3">
              <a:extLst>
                <a:ext uri="{FF2B5EF4-FFF2-40B4-BE49-F238E27FC236}">
                  <a16:creationId xmlns:a16="http://schemas.microsoft.com/office/drawing/2014/main" id="{D7207A59-26B4-4B54-A754-2DE3D5EA0DBC}"/>
                </a:ext>
              </a:extLst>
            </p:cNvPr>
            <p:cNvGrpSpPr/>
            <p:nvPr/>
          </p:nvGrpSpPr>
          <p:grpSpPr>
            <a:xfrm>
              <a:off x="5352034" y="1762195"/>
              <a:ext cx="51701" cy="97554"/>
              <a:chOff x="5352034" y="1762195"/>
              <a:chExt cx="51701" cy="97554"/>
            </a:xfrm>
            <a:grpFill/>
          </p:grpSpPr>
          <p:sp>
            <p:nvSpPr>
              <p:cNvPr id="3269" name="Vrije vorm: vorm 3268">
                <a:extLst>
                  <a:ext uri="{FF2B5EF4-FFF2-40B4-BE49-F238E27FC236}">
                    <a16:creationId xmlns:a16="http://schemas.microsoft.com/office/drawing/2014/main" id="{BB05A071-A3E3-4093-97D4-E3F5F780CBCF}"/>
                  </a:ext>
                </a:extLst>
              </p:cNvPr>
              <p:cNvSpPr/>
              <p:nvPr/>
            </p:nvSpPr>
            <p:spPr>
              <a:xfrm>
                <a:off x="5359539" y="1770290"/>
                <a:ext cx="36593" cy="81120"/>
              </a:xfrm>
              <a:custGeom>
                <a:avLst/>
                <a:gdLst>
                  <a:gd name="connsiteX0" fmla="*/ 0 w 36593"/>
                  <a:gd name="connsiteY0" fmla="*/ 1187 h 81120"/>
                  <a:gd name="connsiteX1" fmla="*/ 2810 w 36593"/>
                  <a:gd name="connsiteY1" fmla="*/ 0 h 81120"/>
                  <a:gd name="connsiteX2" fmla="*/ 36593 w 36593"/>
                  <a:gd name="connsiteY2" fmla="*/ 79933 h 81120"/>
                  <a:gd name="connsiteX3" fmla="*/ 33784 w 36593"/>
                  <a:gd name="connsiteY3" fmla="*/ 81121 h 81120"/>
                </a:gdLst>
                <a:ahLst/>
                <a:cxnLst>
                  <a:cxn ang="0">
                    <a:pos x="connsiteX0" y="connsiteY0"/>
                  </a:cxn>
                  <a:cxn ang="0">
                    <a:pos x="connsiteX1" y="connsiteY1"/>
                  </a:cxn>
                  <a:cxn ang="0">
                    <a:pos x="connsiteX2" y="connsiteY2"/>
                  </a:cxn>
                  <a:cxn ang="0">
                    <a:pos x="connsiteX3" y="connsiteY3"/>
                  </a:cxn>
                </a:cxnLst>
                <a:rect l="l" t="t" r="r" b="b"/>
                <a:pathLst>
                  <a:path w="36593" h="81120">
                    <a:moveTo>
                      <a:pt x="0" y="1187"/>
                    </a:moveTo>
                    <a:lnTo>
                      <a:pt x="2810" y="0"/>
                    </a:lnTo>
                    <a:lnTo>
                      <a:pt x="36593" y="79933"/>
                    </a:lnTo>
                    <a:lnTo>
                      <a:pt x="33784" y="81121"/>
                    </a:lnTo>
                    <a:close/>
                  </a:path>
                </a:pathLst>
              </a:custGeom>
              <a:grpFill/>
              <a:ln w="5978" cap="flat">
                <a:noFill/>
                <a:prstDash val="solid"/>
                <a:miter/>
              </a:ln>
            </p:spPr>
            <p:txBody>
              <a:bodyPr rtlCol="0" anchor="ctr"/>
              <a:lstStyle/>
              <a:p>
                <a:endParaRPr lang="en-GB"/>
              </a:p>
            </p:txBody>
          </p:sp>
          <p:sp>
            <p:nvSpPr>
              <p:cNvPr id="3270" name="Vrije vorm: vorm 3269">
                <a:extLst>
                  <a:ext uri="{FF2B5EF4-FFF2-40B4-BE49-F238E27FC236}">
                    <a16:creationId xmlns:a16="http://schemas.microsoft.com/office/drawing/2014/main" id="{80AF3423-0A87-4CAC-ABE4-DC901F3E01C0}"/>
                  </a:ext>
                </a:extLst>
              </p:cNvPr>
              <p:cNvSpPr/>
              <p:nvPr/>
            </p:nvSpPr>
            <p:spPr>
              <a:xfrm>
                <a:off x="5352034" y="1762195"/>
                <a:ext cx="18329" cy="18430"/>
              </a:xfrm>
              <a:custGeom>
                <a:avLst/>
                <a:gdLst>
                  <a:gd name="connsiteX0" fmla="*/ 732 w 18329"/>
                  <a:gd name="connsiteY0" fmla="*/ 12803 h 18430"/>
                  <a:gd name="connsiteX1" fmla="*/ 5576 w 18329"/>
                  <a:gd name="connsiteY1" fmla="*/ 722 h 18430"/>
                  <a:gd name="connsiteX2" fmla="*/ 17597 w 18329"/>
                  <a:gd name="connsiteY2" fmla="*/ 5627 h 18430"/>
                  <a:gd name="connsiteX3" fmla="*/ 12753 w 18329"/>
                  <a:gd name="connsiteY3" fmla="*/ 17708 h 18430"/>
                  <a:gd name="connsiteX4" fmla="*/ 732 w 18329"/>
                  <a:gd name="connsiteY4" fmla="*/ 1280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0">
                    <a:moveTo>
                      <a:pt x="732" y="12803"/>
                    </a:moveTo>
                    <a:cubicBezTo>
                      <a:pt x="-1242" y="8139"/>
                      <a:pt x="911" y="2696"/>
                      <a:pt x="5576" y="722"/>
                    </a:cubicBezTo>
                    <a:cubicBezTo>
                      <a:pt x="10241" y="-1251"/>
                      <a:pt x="15624" y="962"/>
                      <a:pt x="17597" y="5627"/>
                    </a:cubicBezTo>
                    <a:cubicBezTo>
                      <a:pt x="19571" y="10292"/>
                      <a:pt x="17418" y="15734"/>
                      <a:pt x="12753" y="17708"/>
                    </a:cubicBezTo>
                    <a:cubicBezTo>
                      <a:pt x="8088" y="19681"/>
                      <a:pt x="2705" y="17468"/>
                      <a:pt x="732" y="12803"/>
                    </a:cubicBezTo>
                    <a:close/>
                  </a:path>
                </a:pathLst>
              </a:custGeom>
              <a:grpFill/>
              <a:ln w="5978" cap="flat">
                <a:noFill/>
                <a:prstDash val="solid"/>
                <a:miter/>
              </a:ln>
            </p:spPr>
            <p:txBody>
              <a:bodyPr rtlCol="0" anchor="ctr"/>
              <a:lstStyle/>
              <a:p>
                <a:endParaRPr lang="en-GB"/>
              </a:p>
            </p:txBody>
          </p:sp>
          <p:sp>
            <p:nvSpPr>
              <p:cNvPr id="3271" name="Vrije vorm: vorm 3270">
                <a:extLst>
                  <a:ext uri="{FF2B5EF4-FFF2-40B4-BE49-F238E27FC236}">
                    <a16:creationId xmlns:a16="http://schemas.microsoft.com/office/drawing/2014/main" id="{1D4B5B50-BD74-4488-96C8-F0FCF0439A09}"/>
                  </a:ext>
                </a:extLst>
              </p:cNvPr>
              <p:cNvSpPr/>
              <p:nvPr/>
            </p:nvSpPr>
            <p:spPr>
              <a:xfrm>
                <a:off x="5385406" y="1841320"/>
                <a:ext cx="18329" cy="18430"/>
              </a:xfrm>
              <a:custGeom>
                <a:avLst/>
                <a:gdLst>
                  <a:gd name="connsiteX0" fmla="*/ 732 w 18329"/>
                  <a:gd name="connsiteY0" fmla="*/ 12803 h 18430"/>
                  <a:gd name="connsiteX1" fmla="*/ 12753 w 18329"/>
                  <a:gd name="connsiteY1" fmla="*/ 17708 h 18430"/>
                  <a:gd name="connsiteX2" fmla="*/ 17597 w 18329"/>
                  <a:gd name="connsiteY2" fmla="*/ 5627 h 18430"/>
                  <a:gd name="connsiteX3" fmla="*/ 5576 w 18329"/>
                  <a:gd name="connsiteY3" fmla="*/ 722 h 18430"/>
                  <a:gd name="connsiteX4" fmla="*/ 732 w 18329"/>
                  <a:gd name="connsiteY4" fmla="*/ 12803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0">
                    <a:moveTo>
                      <a:pt x="732" y="12803"/>
                    </a:moveTo>
                    <a:cubicBezTo>
                      <a:pt x="2706" y="17468"/>
                      <a:pt x="8088" y="19681"/>
                      <a:pt x="12753" y="17708"/>
                    </a:cubicBezTo>
                    <a:cubicBezTo>
                      <a:pt x="17418" y="15734"/>
                      <a:pt x="19571" y="10351"/>
                      <a:pt x="17597" y="5627"/>
                    </a:cubicBezTo>
                    <a:cubicBezTo>
                      <a:pt x="15624" y="962"/>
                      <a:pt x="10241" y="-1251"/>
                      <a:pt x="5576" y="722"/>
                    </a:cubicBezTo>
                    <a:cubicBezTo>
                      <a:pt x="911" y="2696"/>
                      <a:pt x="-1242" y="8138"/>
                      <a:pt x="732" y="12803"/>
                    </a:cubicBezTo>
                    <a:close/>
                  </a:path>
                </a:pathLst>
              </a:custGeom>
              <a:grpFill/>
              <a:ln w="5978" cap="flat">
                <a:noFill/>
                <a:prstDash val="solid"/>
                <a:miter/>
              </a:ln>
            </p:spPr>
            <p:txBody>
              <a:bodyPr rtlCol="0" anchor="ctr"/>
              <a:lstStyle/>
              <a:p>
                <a:endParaRPr lang="en-GB"/>
              </a:p>
            </p:txBody>
          </p:sp>
        </p:grpSp>
        <p:grpSp>
          <p:nvGrpSpPr>
            <p:cNvPr id="708" name="Graphic 3">
              <a:extLst>
                <a:ext uri="{FF2B5EF4-FFF2-40B4-BE49-F238E27FC236}">
                  <a16:creationId xmlns:a16="http://schemas.microsoft.com/office/drawing/2014/main" id="{C90FD71B-8EC9-45E5-A244-57685D92D892}"/>
                </a:ext>
              </a:extLst>
            </p:cNvPr>
            <p:cNvGrpSpPr/>
            <p:nvPr/>
          </p:nvGrpSpPr>
          <p:grpSpPr>
            <a:xfrm>
              <a:off x="6533699" y="5240357"/>
              <a:ext cx="60560" cy="177096"/>
              <a:chOff x="6533699" y="5240357"/>
              <a:chExt cx="60560" cy="177096"/>
            </a:xfrm>
            <a:grpFill/>
          </p:grpSpPr>
          <p:sp>
            <p:nvSpPr>
              <p:cNvPr id="3266" name="Vrije vorm: vorm 3265">
                <a:extLst>
                  <a:ext uri="{FF2B5EF4-FFF2-40B4-BE49-F238E27FC236}">
                    <a16:creationId xmlns:a16="http://schemas.microsoft.com/office/drawing/2014/main" id="{6096EA6B-F3EA-4DED-B367-BB9E24EA08DB}"/>
                  </a:ext>
                </a:extLst>
              </p:cNvPr>
              <p:cNvSpPr/>
              <p:nvPr/>
            </p:nvSpPr>
            <p:spPr>
              <a:xfrm>
                <a:off x="6541251" y="5248309"/>
                <a:ext cx="45434" cy="160347"/>
              </a:xfrm>
              <a:custGeom>
                <a:avLst/>
                <a:gdLst>
                  <a:gd name="connsiteX0" fmla="*/ 0 w 45434"/>
                  <a:gd name="connsiteY0" fmla="*/ 785 h 160347"/>
                  <a:gd name="connsiteX1" fmla="*/ 2947 w 45434"/>
                  <a:gd name="connsiteY1" fmla="*/ 0 h 160347"/>
                  <a:gd name="connsiteX2" fmla="*/ 45435 w 45434"/>
                  <a:gd name="connsiteY2" fmla="*/ 159563 h 160347"/>
                  <a:gd name="connsiteX3" fmla="*/ 42487 w 45434"/>
                  <a:gd name="connsiteY3" fmla="*/ 160348 h 160347"/>
                </a:gdLst>
                <a:ahLst/>
                <a:cxnLst>
                  <a:cxn ang="0">
                    <a:pos x="connsiteX0" y="connsiteY0"/>
                  </a:cxn>
                  <a:cxn ang="0">
                    <a:pos x="connsiteX1" y="connsiteY1"/>
                  </a:cxn>
                  <a:cxn ang="0">
                    <a:pos x="connsiteX2" y="connsiteY2"/>
                  </a:cxn>
                  <a:cxn ang="0">
                    <a:pos x="connsiteX3" y="connsiteY3"/>
                  </a:cxn>
                </a:cxnLst>
                <a:rect l="l" t="t" r="r" b="b"/>
                <a:pathLst>
                  <a:path w="45434" h="160347">
                    <a:moveTo>
                      <a:pt x="0" y="785"/>
                    </a:moveTo>
                    <a:lnTo>
                      <a:pt x="2947" y="0"/>
                    </a:lnTo>
                    <a:lnTo>
                      <a:pt x="45435" y="159563"/>
                    </a:lnTo>
                    <a:lnTo>
                      <a:pt x="42487" y="160348"/>
                    </a:lnTo>
                    <a:close/>
                  </a:path>
                </a:pathLst>
              </a:custGeom>
              <a:grpFill/>
              <a:ln w="5978" cap="flat">
                <a:noFill/>
                <a:prstDash val="solid"/>
                <a:miter/>
              </a:ln>
            </p:spPr>
            <p:txBody>
              <a:bodyPr rtlCol="0" anchor="ctr"/>
              <a:lstStyle/>
              <a:p>
                <a:endParaRPr lang="en-GB"/>
              </a:p>
            </p:txBody>
          </p:sp>
          <p:sp>
            <p:nvSpPr>
              <p:cNvPr id="3267" name="Vrije vorm: vorm 3266">
                <a:extLst>
                  <a:ext uri="{FF2B5EF4-FFF2-40B4-BE49-F238E27FC236}">
                    <a16:creationId xmlns:a16="http://schemas.microsoft.com/office/drawing/2014/main" id="{42FDFDEB-B78A-400B-AA9B-B9B27BB8143C}"/>
                  </a:ext>
                </a:extLst>
              </p:cNvPr>
              <p:cNvSpPr/>
              <p:nvPr/>
            </p:nvSpPr>
            <p:spPr>
              <a:xfrm>
                <a:off x="6575927" y="5399025"/>
                <a:ext cx="18333" cy="18427"/>
              </a:xfrm>
              <a:custGeom>
                <a:avLst/>
                <a:gdLst>
                  <a:gd name="connsiteX0" fmla="*/ 18018 w 18333"/>
                  <a:gd name="connsiteY0" fmla="*/ 6869 h 18427"/>
                  <a:gd name="connsiteX1" fmla="*/ 11559 w 18333"/>
                  <a:gd name="connsiteY1" fmla="*/ 18113 h 18427"/>
                  <a:gd name="connsiteX2" fmla="*/ 315 w 18333"/>
                  <a:gd name="connsiteY2" fmla="*/ 11534 h 18427"/>
                  <a:gd name="connsiteX3" fmla="*/ 6774 w 18333"/>
                  <a:gd name="connsiteY3" fmla="*/ 291 h 18427"/>
                  <a:gd name="connsiteX4" fmla="*/ 18018 w 18333"/>
                  <a:gd name="connsiteY4" fmla="*/ 6869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27">
                    <a:moveTo>
                      <a:pt x="18018" y="6869"/>
                    </a:moveTo>
                    <a:cubicBezTo>
                      <a:pt x="19334" y="11773"/>
                      <a:pt x="16403" y="16857"/>
                      <a:pt x="11559" y="18113"/>
                    </a:cubicBezTo>
                    <a:cubicBezTo>
                      <a:pt x="6655" y="19429"/>
                      <a:pt x="1631" y="16498"/>
                      <a:pt x="315" y="11534"/>
                    </a:cubicBezTo>
                    <a:cubicBezTo>
                      <a:pt x="-1001" y="6630"/>
                      <a:pt x="1930" y="1546"/>
                      <a:pt x="6774" y="291"/>
                    </a:cubicBezTo>
                    <a:cubicBezTo>
                      <a:pt x="11679" y="-965"/>
                      <a:pt x="16702" y="1965"/>
                      <a:pt x="18018" y="6869"/>
                    </a:cubicBezTo>
                    <a:close/>
                  </a:path>
                </a:pathLst>
              </a:custGeom>
              <a:grpFill/>
              <a:ln w="5978" cap="flat">
                <a:noFill/>
                <a:prstDash val="solid"/>
                <a:miter/>
              </a:ln>
            </p:spPr>
            <p:txBody>
              <a:bodyPr rtlCol="0" anchor="ctr"/>
              <a:lstStyle/>
              <a:p>
                <a:endParaRPr lang="en-GB"/>
              </a:p>
            </p:txBody>
          </p:sp>
          <p:sp>
            <p:nvSpPr>
              <p:cNvPr id="3268" name="Vrije vorm: vorm 3267">
                <a:extLst>
                  <a:ext uri="{FF2B5EF4-FFF2-40B4-BE49-F238E27FC236}">
                    <a16:creationId xmlns:a16="http://schemas.microsoft.com/office/drawing/2014/main" id="{E54C68C7-639C-40B1-AE2B-7394890B2839}"/>
                  </a:ext>
                </a:extLst>
              </p:cNvPr>
              <p:cNvSpPr/>
              <p:nvPr/>
            </p:nvSpPr>
            <p:spPr>
              <a:xfrm>
                <a:off x="6533699" y="5240357"/>
                <a:ext cx="18341" cy="18403"/>
              </a:xfrm>
              <a:custGeom>
                <a:avLst/>
                <a:gdLst>
                  <a:gd name="connsiteX0" fmla="*/ 18022 w 18341"/>
                  <a:gd name="connsiteY0" fmla="*/ 6869 h 18403"/>
                  <a:gd name="connsiteX1" fmla="*/ 6778 w 18341"/>
                  <a:gd name="connsiteY1" fmla="*/ 290 h 18403"/>
                  <a:gd name="connsiteX2" fmla="*/ 319 w 18341"/>
                  <a:gd name="connsiteY2" fmla="*/ 11534 h 18403"/>
                  <a:gd name="connsiteX3" fmla="*/ 11563 w 18341"/>
                  <a:gd name="connsiteY3" fmla="*/ 18113 h 18403"/>
                  <a:gd name="connsiteX4" fmla="*/ 18022 w 18341"/>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3">
                    <a:moveTo>
                      <a:pt x="18022" y="6869"/>
                    </a:moveTo>
                    <a:cubicBezTo>
                      <a:pt x="16706" y="1965"/>
                      <a:pt x="11683" y="-965"/>
                      <a:pt x="6778" y="290"/>
                    </a:cubicBezTo>
                    <a:cubicBezTo>
                      <a:pt x="1874" y="1606"/>
                      <a:pt x="-997" y="6630"/>
                      <a:pt x="319" y="11534"/>
                    </a:cubicBezTo>
                    <a:cubicBezTo>
                      <a:pt x="1635" y="16438"/>
                      <a:pt x="6659" y="19369"/>
                      <a:pt x="11563" y="18113"/>
                    </a:cubicBezTo>
                    <a:cubicBezTo>
                      <a:pt x="16467" y="16857"/>
                      <a:pt x="19338" y="11833"/>
                      <a:pt x="18022" y="6869"/>
                    </a:cubicBezTo>
                    <a:close/>
                  </a:path>
                </a:pathLst>
              </a:custGeom>
              <a:grpFill/>
              <a:ln w="5978" cap="flat">
                <a:noFill/>
                <a:prstDash val="solid"/>
                <a:miter/>
              </a:ln>
            </p:spPr>
            <p:txBody>
              <a:bodyPr rtlCol="0" anchor="ctr"/>
              <a:lstStyle/>
              <a:p>
                <a:endParaRPr lang="en-GB"/>
              </a:p>
            </p:txBody>
          </p:sp>
        </p:grpSp>
        <p:grpSp>
          <p:nvGrpSpPr>
            <p:cNvPr id="709" name="Graphic 3">
              <a:extLst>
                <a:ext uri="{FF2B5EF4-FFF2-40B4-BE49-F238E27FC236}">
                  <a16:creationId xmlns:a16="http://schemas.microsoft.com/office/drawing/2014/main" id="{B7147423-F20B-4EA8-A739-10C9AC9E086D}"/>
                </a:ext>
              </a:extLst>
            </p:cNvPr>
            <p:cNvGrpSpPr/>
            <p:nvPr/>
          </p:nvGrpSpPr>
          <p:grpSpPr>
            <a:xfrm>
              <a:off x="6580707" y="5416848"/>
              <a:ext cx="47702" cy="128772"/>
              <a:chOff x="6580707" y="5416848"/>
              <a:chExt cx="47702" cy="128772"/>
            </a:xfrm>
            <a:grpFill/>
          </p:grpSpPr>
          <p:sp>
            <p:nvSpPr>
              <p:cNvPr id="3263" name="Vrije vorm: vorm 3262">
                <a:extLst>
                  <a:ext uri="{FF2B5EF4-FFF2-40B4-BE49-F238E27FC236}">
                    <a16:creationId xmlns:a16="http://schemas.microsoft.com/office/drawing/2014/main" id="{63BCA2CE-4AAD-406A-937A-2E502A39DB49}"/>
                  </a:ext>
                </a:extLst>
              </p:cNvPr>
              <p:cNvSpPr/>
              <p:nvPr/>
            </p:nvSpPr>
            <p:spPr>
              <a:xfrm>
                <a:off x="6588585" y="5425346"/>
                <a:ext cx="32543" cy="111987"/>
              </a:xfrm>
              <a:custGeom>
                <a:avLst/>
                <a:gdLst>
                  <a:gd name="connsiteX0" fmla="*/ 0 w 32543"/>
                  <a:gd name="connsiteY0" fmla="*/ 784 h 111987"/>
                  <a:gd name="connsiteX1" fmla="*/ 2948 w 32543"/>
                  <a:gd name="connsiteY1" fmla="*/ 0 h 111987"/>
                  <a:gd name="connsiteX2" fmla="*/ 32543 w 32543"/>
                  <a:gd name="connsiteY2" fmla="*/ 111203 h 111987"/>
                  <a:gd name="connsiteX3" fmla="*/ 29596 w 32543"/>
                  <a:gd name="connsiteY3" fmla="*/ 111987 h 111987"/>
                </a:gdLst>
                <a:ahLst/>
                <a:cxnLst>
                  <a:cxn ang="0">
                    <a:pos x="connsiteX0" y="connsiteY0"/>
                  </a:cxn>
                  <a:cxn ang="0">
                    <a:pos x="connsiteX1" y="connsiteY1"/>
                  </a:cxn>
                  <a:cxn ang="0">
                    <a:pos x="connsiteX2" y="connsiteY2"/>
                  </a:cxn>
                  <a:cxn ang="0">
                    <a:pos x="connsiteX3" y="connsiteY3"/>
                  </a:cxn>
                </a:cxnLst>
                <a:rect l="l" t="t" r="r" b="b"/>
                <a:pathLst>
                  <a:path w="32543" h="111987">
                    <a:moveTo>
                      <a:pt x="0" y="784"/>
                    </a:moveTo>
                    <a:lnTo>
                      <a:pt x="2948" y="0"/>
                    </a:lnTo>
                    <a:lnTo>
                      <a:pt x="32543" y="111203"/>
                    </a:lnTo>
                    <a:lnTo>
                      <a:pt x="29596" y="111987"/>
                    </a:lnTo>
                    <a:close/>
                  </a:path>
                </a:pathLst>
              </a:custGeom>
              <a:grpFill/>
              <a:ln w="5978" cap="flat">
                <a:noFill/>
                <a:prstDash val="solid"/>
                <a:miter/>
              </a:ln>
            </p:spPr>
            <p:txBody>
              <a:bodyPr rtlCol="0" anchor="ctr"/>
              <a:lstStyle/>
              <a:p>
                <a:endParaRPr lang="en-GB"/>
              </a:p>
            </p:txBody>
          </p:sp>
          <p:sp>
            <p:nvSpPr>
              <p:cNvPr id="3264" name="Vrije vorm: vorm 3263">
                <a:extLst>
                  <a:ext uri="{FF2B5EF4-FFF2-40B4-BE49-F238E27FC236}">
                    <a16:creationId xmlns:a16="http://schemas.microsoft.com/office/drawing/2014/main" id="{4C58A91A-1241-407A-A83B-4DD38F9EEB66}"/>
                  </a:ext>
                </a:extLst>
              </p:cNvPr>
              <p:cNvSpPr/>
              <p:nvPr/>
            </p:nvSpPr>
            <p:spPr>
              <a:xfrm>
                <a:off x="6610077" y="5527168"/>
                <a:ext cx="18332" cy="18451"/>
              </a:xfrm>
              <a:custGeom>
                <a:avLst/>
                <a:gdLst>
                  <a:gd name="connsiteX0" fmla="*/ 18018 w 18332"/>
                  <a:gd name="connsiteY0" fmla="*/ 6893 h 18451"/>
                  <a:gd name="connsiteX1" fmla="*/ 11559 w 18332"/>
                  <a:gd name="connsiteY1" fmla="*/ 18137 h 18451"/>
                  <a:gd name="connsiteX2" fmla="*/ 315 w 18332"/>
                  <a:gd name="connsiteY2" fmla="*/ 11558 h 18451"/>
                  <a:gd name="connsiteX3" fmla="*/ 6774 w 18332"/>
                  <a:gd name="connsiteY3" fmla="*/ 315 h 18451"/>
                  <a:gd name="connsiteX4" fmla="*/ 18018 w 18332"/>
                  <a:gd name="connsiteY4" fmla="*/ 6893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1">
                    <a:moveTo>
                      <a:pt x="18018" y="6893"/>
                    </a:moveTo>
                    <a:cubicBezTo>
                      <a:pt x="19334" y="11797"/>
                      <a:pt x="16403" y="16881"/>
                      <a:pt x="11559" y="18137"/>
                    </a:cubicBezTo>
                    <a:cubicBezTo>
                      <a:pt x="6655" y="19453"/>
                      <a:pt x="1631" y="16522"/>
                      <a:pt x="315" y="11558"/>
                    </a:cubicBezTo>
                    <a:cubicBezTo>
                      <a:pt x="-1001" y="6654"/>
                      <a:pt x="1930" y="1571"/>
                      <a:pt x="6774" y="315"/>
                    </a:cubicBezTo>
                    <a:cubicBezTo>
                      <a:pt x="11678" y="-1001"/>
                      <a:pt x="16702" y="1930"/>
                      <a:pt x="18018" y="6893"/>
                    </a:cubicBezTo>
                    <a:close/>
                  </a:path>
                </a:pathLst>
              </a:custGeom>
              <a:grpFill/>
              <a:ln w="5978" cap="flat">
                <a:noFill/>
                <a:prstDash val="solid"/>
                <a:miter/>
              </a:ln>
            </p:spPr>
            <p:txBody>
              <a:bodyPr rtlCol="0" anchor="ctr"/>
              <a:lstStyle/>
              <a:p>
                <a:endParaRPr lang="en-GB"/>
              </a:p>
            </p:txBody>
          </p:sp>
          <p:sp>
            <p:nvSpPr>
              <p:cNvPr id="3265" name="Vrije vorm: vorm 3264">
                <a:extLst>
                  <a:ext uri="{FF2B5EF4-FFF2-40B4-BE49-F238E27FC236}">
                    <a16:creationId xmlns:a16="http://schemas.microsoft.com/office/drawing/2014/main" id="{48596808-45D3-4247-B12C-1CE811D755AA}"/>
                  </a:ext>
                </a:extLst>
              </p:cNvPr>
              <p:cNvSpPr/>
              <p:nvPr/>
            </p:nvSpPr>
            <p:spPr>
              <a:xfrm>
                <a:off x="6580707" y="5416848"/>
                <a:ext cx="18337" cy="18403"/>
              </a:xfrm>
              <a:custGeom>
                <a:avLst/>
                <a:gdLst>
                  <a:gd name="connsiteX0" fmla="*/ 18022 w 18337"/>
                  <a:gd name="connsiteY0" fmla="*/ 6869 h 18403"/>
                  <a:gd name="connsiteX1" fmla="*/ 6778 w 18337"/>
                  <a:gd name="connsiteY1" fmla="*/ 291 h 18403"/>
                  <a:gd name="connsiteX2" fmla="*/ 319 w 18337"/>
                  <a:gd name="connsiteY2" fmla="*/ 11534 h 18403"/>
                  <a:gd name="connsiteX3" fmla="*/ 11563 w 18337"/>
                  <a:gd name="connsiteY3" fmla="*/ 18113 h 18403"/>
                  <a:gd name="connsiteX4" fmla="*/ 18022 w 18337"/>
                  <a:gd name="connsiteY4" fmla="*/ 686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03">
                    <a:moveTo>
                      <a:pt x="18022" y="6869"/>
                    </a:moveTo>
                    <a:cubicBezTo>
                      <a:pt x="16706" y="1965"/>
                      <a:pt x="11683" y="-966"/>
                      <a:pt x="6778" y="291"/>
                    </a:cubicBezTo>
                    <a:cubicBezTo>
                      <a:pt x="1874" y="1607"/>
                      <a:pt x="-997" y="6630"/>
                      <a:pt x="319" y="11534"/>
                    </a:cubicBezTo>
                    <a:cubicBezTo>
                      <a:pt x="1635" y="16439"/>
                      <a:pt x="6659" y="19369"/>
                      <a:pt x="11563" y="18113"/>
                    </a:cubicBezTo>
                    <a:cubicBezTo>
                      <a:pt x="16407" y="16857"/>
                      <a:pt x="19338" y="11773"/>
                      <a:pt x="18022" y="6869"/>
                    </a:cubicBezTo>
                    <a:close/>
                  </a:path>
                </a:pathLst>
              </a:custGeom>
              <a:grpFill/>
              <a:ln w="5978" cap="flat">
                <a:noFill/>
                <a:prstDash val="solid"/>
                <a:miter/>
              </a:ln>
            </p:spPr>
            <p:txBody>
              <a:bodyPr rtlCol="0" anchor="ctr"/>
              <a:lstStyle/>
              <a:p>
                <a:endParaRPr lang="en-GB"/>
              </a:p>
            </p:txBody>
          </p:sp>
        </p:grpSp>
        <p:grpSp>
          <p:nvGrpSpPr>
            <p:cNvPr id="710" name="Graphic 3">
              <a:extLst>
                <a:ext uri="{FF2B5EF4-FFF2-40B4-BE49-F238E27FC236}">
                  <a16:creationId xmlns:a16="http://schemas.microsoft.com/office/drawing/2014/main" id="{82103347-CF0D-4DF9-80FD-DA83B56B55F5}"/>
                </a:ext>
              </a:extLst>
            </p:cNvPr>
            <p:cNvGrpSpPr/>
            <p:nvPr/>
          </p:nvGrpSpPr>
          <p:grpSpPr>
            <a:xfrm>
              <a:off x="5224345" y="1459331"/>
              <a:ext cx="138840" cy="304308"/>
              <a:chOff x="5224345" y="1459331"/>
              <a:chExt cx="138840" cy="304308"/>
            </a:xfrm>
            <a:grpFill/>
          </p:grpSpPr>
          <p:sp>
            <p:nvSpPr>
              <p:cNvPr id="3260" name="Vrije vorm: vorm 3259">
                <a:extLst>
                  <a:ext uri="{FF2B5EF4-FFF2-40B4-BE49-F238E27FC236}">
                    <a16:creationId xmlns:a16="http://schemas.microsoft.com/office/drawing/2014/main" id="{EFDB5A63-C1D5-4808-9FB3-38CB14895DA4}"/>
                  </a:ext>
                </a:extLst>
              </p:cNvPr>
              <p:cNvSpPr/>
              <p:nvPr/>
            </p:nvSpPr>
            <p:spPr>
              <a:xfrm>
                <a:off x="5231997" y="1467527"/>
                <a:ext cx="123919" cy="287843"/>
              </a:xfrm>
              <a:custGeom>
                <a:avLst/>
                <a:gdLst>
                  <a:gd name="connsiteX0" fmla="*/ 0 w 123919"/>
                  <a:gd name="connsiteY0" fmla="*/ 1187 h 287843"/>
                  <a:gd name="connsiteX1" fmla="*/ 2810 w 123919"/>
                  <a:gd name="connsiteY1" fmla="*/ 0 h 287843"/>
                  <a:gd name="connsiteX2" fmla="*/ 123920 w 123919"/>
                  <a:gd name="connsiteY2" fmla="*/ 286656 h 287843"/>
                  <a:gd name="connsiteX3" fmla="*/ 121110 w 123919"/>
                  <a:gd name="connsiteY3" fmla="*/ 287843 h 287843"/>
                </a:gdLst>
                <a:ahLst/>
                <a:cxnLst>
                  <a:cxn ang="0">
                    <a:pos x="connsiteX0" y="connsiteY0"/>
                  </a:cxn>
                  <a:cxn ang="0">
                    <a:pos x="connsiteX1" y="connsiteY1"/>
                  </a:cxn>
                  <a:cxn ang="0">
                    <a:pos x="connsiteX2" y="connsiteY2"/>
                  </a:cxn>
                  <a:cxn ang="0">
                    <a:pos x="connsiteX3" y="connsiteY3"/>
                  </a:cxn>
                </a:cxnLst>
                <a:rect l="l" t="t" r="r" b="b"/>
                <a:pathLst>
                  <a:path w="123919" h="287843">
                    <a:moveTo>
                      <a:pt x="0" y="1187"/>
                    </a:moveTo>
                    <a:lnTo>
                      <a:pt x="2810" y="0"/>
                    </a:lnTo>
                    <a:lnTo>
                      <a:pt x="123920" y="286656"/>
                    </a:lnTo>
                    <a:lnTo>
                      <a:pt x="121110" y="287843"/>
                    </a:lnTo>
                    <a:close/>
                  </a:path>
                </a:pathLst>
              </a:custGeom>
              <a:grpFill/>
              <a:ln w="5978" cap="flat">
                <a:noFill/>
                <a:prstDash val="solid"/>
                <a:miter/>
              </a:ln>
            </p:spPr>
            <p:txBody>
              <a:bodyPr rtlCol="0" anchor="ctr"/>
              <a:lstStyle/>
              <a:p>
                <a:endParaRPr lang="en-GB"/>
              </a:p>
            </p:txBody>
          </p:sp>
          <p:sp>
            <p:nvSpPr>
              <p:cNvPr id="3261" name="Vrije vorm: vorm 3260">
                <a:extLst>
                  <a:ext uri="{FF2B5EF4-FFF2-40B4-BE49-F238E27FC236}">
                    <a16:creationId xmlns:a16="http://schemas.microsoft.com/office/drawing/2014/main" id="{AE743881-AB4F-4747-8A37-BE470D5180B6}"/>
                  </a:ext>
                </a:extLst>
              </p:cNvPr>
              <p:cNvSpPr/>
              <p:nvPr/>
            </p:nvSpPr>
            <p:spPr>
              <a:xfrm>
                <a:off x="5224345" y="1459331"/>
                <a:ext cx="18329" cy="18463"/>
              </a:xfrm>
              <a:custGeom>
                <a:avLst/>
                <a:gdLst>
                  <a:gd name="connsiteX0" fmla="*/ 732 w 18329"/>
                  <a:gd name="connsiteY0" fmla="*/ 12803 h 18463"/>
                  <a:gd name="connsiteX1" fmla="*/ 5576 w 18329"/>
                  <a:gd name="connsiteY1" fmla="*/ 722 h 18463"/>
                  <a:gd name="connsiteX2" fmla="*/ 17597 w 18329"/>
                  <a:gd name="connsiteY2" fmla="*/ 5627 h 18463"/>
                  <a:gd name="connsiteX3" fmla="*/ 12753 w 18329"/>
                  <a:gd name="connsiteY3" fmla="*/ 17708 h 18463"/>
                  <a:gd name="connsiteX4" fmla="*/ 732 w 18329"/>
                  <a:gd name="connsiteY4" fmla="*/ 12803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63">
                    <a:moveTo>
                      <a:pt x="732" y="12803"/>
                    </a:moveTo>
                    <a:cubicBezTo>
                      <a:pt x="-1242" y="8138"/>
                      <a:pt x="911" y="2696"/>
                      <a:pt x="5576" y="722"/>
                    </a:cubicBezTo>
                    <a:cubicBezTo>
                      <a:pt x="10241" y="-1251"/>
                      <a:pt x="15624" y="962"/>
                      <a:pt x="17597" y="5627"/>
                    </a:cubicBezTo>
                    <a:cubicBezTo>
                      <a:pt x="19571" y="10292"/>
                      <a:pt x="17418" y="15734"/>
                      <a:pt x="12753" y="17708"/>
                    </a:cubicBezTo>
                    <a:cubicBezTo>
                      <a:pt x="8088" y="19741"/>
                      <a:pt x="2706" y="17528"/>
                      <a:pt x="732" y="12803"/>
                    </a:cubicBezTo>
                    <a:close/>
                  </a:path>
                </a:pathLst>
              </a:custGeom>
              <a:grpFill/>
              <a:ln w="5978" cap="flat">
                <a:noFill/>
                <a:prstDash val="solid"/>
                <a:miter/>
              </a:ln>
            </p:spPr>
            <p:txBody>
              <a:bodyPr rtlCol="0" anchor="ctr"/>
              <a:lstStyle/>
              <a:p>
                <a:endParaRPr lang="en-GB"/>
              </a:p>
            </p:txBody>
          </p:sp>
          <p:sp>
            <p:nvSpPr>
              <p:cNvPr id="3262" name="Vrije vorm: vorm 3261">
                <a:extLst>
                  <a:ext uri="{FF2B5EF4-FFF2-40B4-BE49-F238E27FC236}">
                    <a16:creationId xmlns:a16="http://schemas.microsoft.com/office/drawing/2014/main" id="{7777BE7C-BCFC-4357-BA28-F439CA45917A}"/>
                  </a:ext>
                </a:extLst>
              </p:cNvPr>
              <p:cNvSpPr/>
              <p:nvPr/>
            </p:nvSpPr>
            <p:spPr>
              <a:xfrm>
                <a:off x="5344865" y="1745202"/>
                <a:ext cx="18320" cy="18438"/>
              </a:xfrm>
              <a:custGeom>
                <a:avLst/>
                <a:gdLst>
                  <a:gd name="connsiteX0" fmla="*/ 723 w 18320"/>
                  <a:gd name="connsiteY0" fmla="*/ 12812 h 18438"/>
                  <a:gd name="connsiteX1" fmla="*/ 12744 w 18320"/>
                  <a:gd name="connsiteY1" fmla="*/ 17716 h 18438"/>
                  <a:gd name="connsiteX2" fmla="*/ 17589 w 18320"/>
                  <a:gd name="connsiteY2" fmla="*/ 5635 h 18438"/>
                  <a:gd name="connsiteX3" fmla="*/ 5568 w 18320"/>
                  <a:gd name="connsiteY3" fmla="*/ 731 h 18438"/>
                  <a:gd name="connsiteX4" fmla="*/ 723 w 18320"/>
                  <a:gd name="connsiteY4" fmla="*/ 1281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8">
                    <a:moveTo>
                      <a:pt x="723" y="12812"/>
                    </a:moveTo>
                    <a:cubicBezTo>
                      <a:pt x="2697" y="17477"/>
                      <a:pt x="8080" y="19690"/>
                      <a:pt x="12744" y="17716"/>
                    </a:cubicBezTo>
                    <a:cubicBezTo>
                      <a:pt x="17410" y="15742"/>
                      <a:pt x="19563" y="10360"/>
                      <a:pt x="17589" y="5635"/>
                    </a:cubicBezTo>
                    <a:cubicBezTo>
                      <a:pt x="15615" y="910"/>
                      <a:pt x="10233" y="-1243"/>
                      <a:pt x="5568" y="731"/>
                    </a:cubicBezTo>
                    <a:cubicBezTo>
                      <a:pt x="963" y="2704"/>
                      <a:pt x="-1250" y="8147"/>
                      <a:pt x="723" y="12812"/>
                    </a:cubicBezTo>
                    <a:close/>
                  </a:path>
                </a:pathLst>
              </a:custGeom>
              <a:grpFill/>
              <a:ln w="5978" cap="flat">
                <a:noFill/>
                <a:prstDash val="solid"/>
                <a:miter/>
              </a:ln>
            </p:spPr>
            <p:txBody>
              <a:bodyPr rtlCol="0" anchor="ctr"/>
              <a:lstStyle/>
              <a:p>
                <a:endParaRPr lang="en-GB"/>
              </a:p>
            </p:txBody>
          </p:sp>
        </p:grpSp>
        <p:grpSp>
          <p:nvGrpSpPr>
            <p:cNvPr id="711" name="Graphic 3">
              <a:extLst>
                <a:ext uri="{FF2B5EF4-FFF2-40B4-BE49-F238E27FC236}">
                  <a16:creationId xmlns:a16="http://schemas.microsoft.com/office/drawing/2014/main" id="{6E284A41-8A38-4B45-A55C-9BEF4EDCC983}"/>
                </a:ext>
              </a:extLst>
            </p:cNvPr>
            <p:cNvGrpSpPr/>
            <p:nvPr/>
          </p:nvGrpSpPr>
          <p:grpSpPr>
            <a:xfrm>
              <a:off x="6448410" y="5041106"/>
              <a:ext cx="68168" cy="220553"/>
              <a:chOff x="6448410" y="5041106"/>
              <a:chExt cx="68168" cy="220553"/>
            </a:xfrm>
            <a:grpFill/>
          </p:grpSpPr>
          <p:sp>
            <p:nvSpPr>
              <p:cNvPr id="3257" name="Vrije vorm: vorm 3256">
                <a:extLst>
                  <a:ext uri="{FF2B5EF4-FFF2-40B4-BE49-F238E27FC236}">
                    <a16:creationId xmlns:a16="http://schemas.microsoft.com/office/drawing/2014/main" id="{CC251C2A-44AE-4D4A-B29A-B5ADB6135E86}"/>
                  </a:ext>
                </a:extLst>
              </p:cNvPr>
              <p:cNvSpPr/>
              <p:nvPr/>
            </p:nvSpPr>
            <p:spPr>
              <a:xfrm>
                <a:off x="6456360" y="5049601"/>
                <a:ext cx="52996" cy="203752"/>
              </a:xfrm>
              <a:custGeom>
                <a:avLst/>
                <a:gdLst>
                  <a:gd name="connsiteX0" fmla="*/ 0 w 52996"/>
                  <a:gd name="connsiteY0" fmla="*/ 730 h 203752"/>
                  <a:gd name="connsiteX1" fmla="*/ 2962 w 52996"/>
                  <a:gd name="connsiteY1" fmla="*/ 0 h 203752"/>
                  <a:gd name="connsiteX2" fmla="*/ 52996 w 52996"/>
                  <a:gd name="connsiteY2" fmla="*/ 203023 h 203752"/>
                  <a:gd name="connsiteX3" fmla="*/ 50034 w 52996"/>
                  <a:gd name="connsiteY3" fmla="*/ 203753 h 203752"/>
                </a:gdLst>
                <a:ahLst/>
                <a:cxnLst>
                  <a:cxn ang="0">
                    <a:pos x="connsiteX0" y="connsiteY0"/>
                  </a:cxn>
                  <a:cxn ang="0">
                    <a:pos x="connsiteX1" y="connsiteY1"/>
                  </a:cxn>
                  <a:cxn ang="0">
                    <a:pos x="connsiteX2" y="connsiteY2"/>
                  </a:cxn>
                  <a:cxn ang="0">
                    <a:pos x="connsiteX3" y="connsiteY3"/>
                  </a:cxn>
                </a:cxnLst>
                <a:rect l="l" t="t" r="r" b="b"/>
                <a:pathLst>
                  <a:path w="52996" h="203752">
                    <a:moveTo>
                      <a:pt x="0" y="730"/>
                    </a:moveTo>
                    <a:lnTo>
                      <a:pt x="2962" y="0"/>
                    </a:lnTo>
                    <a:lnTo>
                      <a:pt x="52996" y="203023"/>
                    </a:lnTo>
                    <a:lnTo>
                      <a:pt x="50034" y="203753"/>
                    </a:lnTo>
                    <a:close/>
                  </a:path>
                </a:pathLst>
              </a:custGeom>
              <a:grpFill/>
              <a:ln w="5978" cap="flat">
                <a:noFill/>
                <a:prstDash val="solid"/>
                <a:miter/>
              </a:ln>
            </p:spPr>
            <p:txBody>
              <a:bodyPr rtlCol="0" anchor="ctr"/>
              <a:lstStyle/>
              <a:p>
                <a:endParaRPr lang="en-GB"/>
              </a:p>
            </p:txBody>
          </p:sp>
          <p:sp>
            <p:nvSpPr>
              <p:cNvPr id="3258" name="Vrije vorm: vorm 3257">
                <a:extLst>
                  <a:ext uri="{FF2B5EF4-FFF2-40B4-BE49-F238E27FC236}">
                    <a16:creationId xmlns:a16="http://schemas.microsoft.com/office/drawing/2014/main" id="{2733A707-3F3D-4D59-9C38-CB77617464D3}"/>
                  </a:ext>
                </a:extLst>
              </p:cNvPr>
              <p:cNvSpPr/>
              <p:nvPr/>
            </p:nvSpPr>
            <p:spPr>
              <a:xfrm>
                <a:off x="6498229" y="5243235"/>
                <a:ext cx="18349" cy="18424"/>
              </a:xfrm>
              <a:custGeom>
                <a:avLst/>
                <a:gdLst>
                  <a:gd name="connsiteX0" fmla="*/ 18086 w 18349"/>
                  <a:gd name="connsiteY0" fmla="*/ 7041 h 18424"/>
                  <a:gd name="connsiteX1" fmla="*/ 11387 w 18349"/>
                  <a:gd name="connsiteY1" fmla="*/ 18165 h 18424"/>
                  <a:gd name="connsiteX2" fmla="*/ 263 w 18349"/>
                  <a:gd name="connsiteY2" fmla="*/ 11407 h 18424"/>
                  <a:gd name="connsiteX3" fmla="*/ 6962 w 18349"/>
                  <a:gd name="connsiteY3" fmla="*/ 283 h 18424"/>
                  <a:gd name="connsiteX4" fmla="*/ 18086 w 18349"/>
                  <a:gd name="connsiteY4" fmla="*/ 7041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4">
                    <a:moveTo>
                      <a:pt x="18086" y="7041"/>
                    </a:moveTo>
                    <a:cubicBezTo>
                      <a:pt x="19282" y="12005"/>
                      <a:pt x="16292" y="16969"/>
                      <a:pt x="11387" y="18165"/>
                    </a:cubicBezTo>
                    <a:cubicBezTo>
                      <a:pt x="6483" y="19361"/>
                      <a:pt x="1519" y="16311"/>
                      <a:pt x="263" y="11407"/>
                    </a:cubicBezTo>
                    <a:cubicBezTo>
                      <a:pt x="-933" y="6443"/>
                      <a:pt x="2058" y="1479"/>
                      <a:pt x="6962" y="283"/>
                    </a:cubicBezTo>
                    <a:cubicBezTo>
                      <a:pt x="11866" y="-973"/>
                      <a:pt x="16830" y="2077"/>
                      <a:pt x="18086" y="7041"/>
                    </a:cubicBezTo>
                    <a:close/>
                  </a:path>
                </a:pathLst>
              </a:custGeom>
              <a:grpFill/>
              <a:ln w="5978" cap="flat">
                <a:noFill/>
                <a:prstDash val="solid"/>
                <a:miter/>
              </a:ln>
            </p:spPr>
            <p:txBody>
              <a:bodyPr rtlCol="0" anchor="ctr"/>
              <a:lstStyle/>
              <a:p>
                <a:endParaRPr lang="en-GB"/>
              </a:p>
            </p:txBody>
          </p:sp>
          <p:sp>
            <p:nvSpPr>
              <p:cNvPr id="3259" name="Vrije vorm: vorm 3258">
                <a:extLst>
                  <a:ext uri="{FF2B5EF4-FFF2-40B4-BE49-F238E27FC236}">
                    <a16:creationId xmlns:a16="http://schemas.microsoft.com/office/drawing/2014/main" id="{F7A269FF-990D-4E66-B2E6-0CAB28AE2585}"/>
                  </a:ext>
                </a:extLst>
              </p:cNvPr>
              <p:cNvSpPr/>
              <p:nvPr/>
            </p:nvSpPr>
            <p:spPr>
              <a:xfrm>
                <a:off x="6448410" y="5041106"/>
                <a:ext cx="18349" cy="18408"/>
              </a:xfrm>
              <a:custGeom>
                <a:avLst/>
                <a:gdLst>
                  <a:gd name="connsiteX0" fmla="*/ 18086 w 18349"/>
                  <a:gd name="connsiteY0" fmla="*/ 7021 h 18408"/>
                  <a:gd name="connsiteX1" fmla="*/ 6962 w 18349"/>
                  <a:gd name="connsiteY1" fmla="*/ 263 h 18408"/>
                  <a:gd name="connsiteX2" fmla="*/ 263 w 18349"/>
                  <a:gd name="connsiteY2" fmla="*/ 11387 h 18408"/>
                  <a:gd name="connsiteX3" fmla="*/ 11388 w 18349"/>
                  <a:gd name="connsiteY3" fmla="*/ 18146 h 18408"/>
                  <a:gd name="connsiteX4" fmla="*/ 18086 w 1834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8086" y="7021"/>
                    </a:moveTo>
                    <a:cubicBezTo>
                      <a:pt x="16890" y="2058"/>
                      <a:pt x="11926" y="-933"/>
                      <a:pt x="6962" y="263"/>
                    </a:cubicBezTo>
                    <a:cubicBezTo>
                      <a:pt x="2058" y="1459"/>
                      <a:pt x="-933" y="6423"/>
                      <a:pt x="263" y="11387"/>
                    </a:cubicBezTo>
                    <a:cubicBezTo>
                      <a:pt x="1459" y="16351"/>
                      <a:pt x="6424" y="19342"/>
                      <a:pt x="11388" y="18146"/>
                    </a:cubicBezTo>
                    <a:cubicBezTo>
                      <a:pt x="16292" y="16949"/>
                      <a:pt x="19282" y="11926"/>
                      <a:pt x="18086" y="7021"/>
                    </a:cubicBezTo>
                    <a:close/>
                  </a:path>
                </a:pathLst>
              </a:custGeom>
              <a:grpFill/>
              <a:ln w="5978" cap="flat">
                <a:noFill/>
                <a:prstDash val="solid"/>
                <a:miter/>
              </a:ln>
            </p:spPr>
            <p:txBody>
              <a:bodyPr rtlCol="0" anchor="ctr"/>
              <a:lstStyle/>
              <a:p>
                <a:endParaRPr lang="en-GB"/>
              </a:p>
            </p:txBody>
          </p:sp>
        </p:grpSp>
        <p:grpSp>
          <p:nvGrpSpPr>
            <p:cNvPr id="712" name="Graphic 3">
              <a:extLst>
                <a:ext uri="{FF2B5EF4-FFF2-40B4-BE49-F238E27FC236}">
                  <a16:creationId xmlns:a16="http://schemas.microsoft.com/office/drawing/2014/main" id="{8CDF863C-65B7-4785-84B6-ABE01326B0C8}"/>
                </a:ext>
              </a:extLst>
            </p:cNvPr>
            <p:cNvGrpSpPr/>
            <p:nvPr/>
          </p:nvGrpSpPr>
          <p:grpSpPr>
            <a:xfrm>
              <a:off x="5236736" y="1490492"/>
              <a:ext cx="147193" cy="400176"/>
              <a:chOff x="5236736" y="1490492"/>
              <a:chExt cx="147193" cy="400176"/>
            </a:xfrm>
            <a:grpFill/>
          </p:grpSpPr>
          <p:sp>
            <p:nvSpPr>
              <p:cNvPr id="3254" name="Vrije vorm: vorm 3253">
                <a:extLst>
                  <a:ext uri="{FF2B5EF4-FFF2-40B4-BE49-F238E27FC236}">
                    <a16:creationId xmlns:a16="http://schemas.microsoft.com/office/drawing/2014/main" id="{83DBC35E-BBA3-4B56-9E9A-E68B872000B0}"/>
                  </a:ext>
                </a:extLst>
              </p:cNvPr>
              <p:cNvSpPr/>
              <p:nvPr/>
            </p:nvSpPr>
            <p:spPr>
              <a:xfrm>
                <a:off x="5244340" y="1498536"/>
                <a:ext cx="131749" cy="383671"/>
              </a:xfrm>
              <a:custGeom>
                <a:avLst/>
                <a:gdLst>
                  <a:gd name="connsiteX0" fmla="*/ 0 w 131749"/>
                  <a:gd name="connsiteY0" fmla="*/ 973 h 383671"/>
                  <a:gd name="connsiteX1" fmla="*/ 2891 w 131749"/>
                  <a:gd name="connsiteY1" fmla="*/ 0 h 383671"/>
                  <a:gd name="connsiteX2" fmla="*/ 131749 w 131749"/>
                  <a:gd name="connsiteY2" fmla="*/ 382699 h 383671"/>
                  <a:gd name="connsiteX3" fmla="*/ 128859 w 131749"/>
                  <a:gd name="connsiteY3" fmla="*/ 383672 h 383671"/>
                </a:gdLst>
                <a:ahLst/>
                <a:cxnLst>
                  <a:cxn ang="0">
                    <a:pos x="connsiteX0" y="connsiteY0"/>
                  </a:cxn>
                  <a:cxn ang="0">
                    <a:pos x="connsiteX1" y="connsiteY1"/>
                  </a:cxn>
                  <a:cxn ang="0">
                    <a:pos x="connsiteX2" y="connsiteY2"/>
                  </a:cxn>
                  <a:cxn ang="0">
                    <a:pos x="connsiteX3" y="connsiteY3"/>
                  </a:cxn>
                </a:cxnLst>
                <a:rect l="l" t="t" r="r" b="b"/>
                <a:pathLst>
                  <a:path w="131749" h="383671">
                    <a:moveTo>
                      <a:pt x="0" y="973"/>
                    </a:moveTo>
                    <a:lnTo>
                      <a:pt x="2891" y="0"/>
                    </a:lnTo>
                    <a:lnTo>
                      <a:pt x="131749" y="382699"/>
                    </a:lnTo>
                    <a:lnTo>
                      <a:pt x="128859" y="383672"/>
                    </a:lnTo>
                    <a:close/>
                  </a:path>
                </a:pathLst>
              </a:custGeom>
              <a:grpFill/>
              <a:ln w="5978" cap="flat">
                <a:noFill/>
                <a:prstDash val="solid"/>
                <a:miter/>
              </a:ln>
            </p:spPr>
            <p:txBody>
              <a:bodyPr rtlCol="0" anchor="ctr"/>
              <a:lstStyle/>
              <a:p>
                <a:endParaRPr lang="en-GB"/>
              </a:p>
            </p:txBody>
          </p:sp>
          <p:sp>
            <p:nvSpPr>
              <p:cNvPr id="3255" name="Vrije vorm: vorm 3254">
                <a:extLst>
                  <a:ext uri="{FF2B5EF4-FFF2-40B4-BE49-F238E27FC236}">
                    <a16:creationId xmlns:a16="http://schemas.microsoft.com/office/drawing/2014/main" id="{E5A47F5A-FBD0-4655-BE55-1CFD99FEEFCF}"/>
                  </a:ext>
                </a:extLst>
              </p:cNvPr>
              <p:cNvSpPr/>
              <p:nvPr/>
            </p:nvSpPr>
            <p:spPr>
              <a:xfrm>
                <a:off x="5365620" y="1872219"/>
                <a:ext cx="18308" cy="18450"/>
              </a:xfrm>
              <a:custGeom>
                <a:avLst/>
                <a:gdLst>
                  <a:gd name="connsiteX0" fmla="*/ 17826 w 18308"/>
                  <a:gd name="connsiteY0" fmla="*/ 6306 h 18450"/>
                  <a:gd name="connsiteX1" fmla="*/ 12085 w 18308"/>
                  <a:gd name="connsiteY1" fmla="*/ 17969 h 18450"/>
                  <a:gd name="connsiteX2" fmla="*/ 482 w 18308"/>
                  <a:gd name="connsiteY2" fmla="*/ 12167 h 18450"/>
                  <a:gd name="connsiteX3" fmla="*/ 6224 w 18308"/>
                  <a:gd name="connsiteY3" fmla="*/ 505 h 18450"/>
                  <a:gd name="connsiteX4" fmla="*/ 17826 w 18308"/>
                  <a:gd name="connsiteY4" fmla="*/ 630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0">
                    <a:moveTo>
                      <a:pt x="17826" y="6306"/>
                    </a:moveTo>
                    <a:cubicBezTo>
                      <a:pt x="19441" y="11151"/>
                      <a:pt x="16870" y="16354"/>
                      <a:pt x="12085" y="17969"/>
                    </a:cubicBezTo>
                    <a:cubicBezTo>
                      <a:pt x="7300" y="19584"/>
                      <a:pt x="2097" y="17012"/>
                      <a:pt x="482" y="12167"/>
                    </a:cubicBezTo>
                    <a:cubicBezTo>
                      <a:pt x="-1132" y="7323"/>
                      <a:pt x="1439" y="2120"/>
                      <a:pt x="6224" y="505"/>
                    </a:cubicBezTo>
                    <a:cubicBezTo>
                      <a:pt x="10949" y="-1170"/>
                      <a:pt x="16152" y="1462"/>
                      <a:pt x="17826" y="6306"/>
                    </a:cubicBezTo>
                    <a:close/>
                  </a:path>
                </a:pathLst>
              </a:custGeom>
              <a:grpFill/>
              <a:ln w="5978" cap="flat">
                <a:noFill/>
                <a:prstDash val="solid"/>
                <a:miter/>
              </a:ln>
            </p:spPr>
            <p:txBody>
              <a:bodyPr rtlCol="0" anchor="ctr"/>
              <a:lstStyle/>
              <a:p>
                <a:endParaRPr lang="en-GB"/>
              </a:p>
            </p:txBody>
          </p:sp>
          <p:sp>
            <p:nvSpPr>
              <p:cNvPr id="3256" name="Vrije vorm: vorm 3255">
                <a:extLst>
                  <a:ext uri="{FF2B5EF4-FFF2-40B4-BE49-F238E27FC236}">
                    <a16:creationId xmlns:a16="http://schemas.microsoft.com/office/drawing/2014/main" id="{793ACBD6-BBCD-4F45-A9D3-EB1B65B0131F}"/>
                  </a:ext>
                </a:extLst>
              </p:cNvPr>
              <p:cNvSpPr/>
              <p:nvPr/>
            </p:nvSpPr>
            <p:spPr>
              <a:xfrm>
                <a:off x="5236736" y="1490492"/>
                <a:ext cx="18308" cy="18427"/>
              </a:xfrm>
              <a:custGeom>
                <a:avLst/>
                <a:gdLst>
                  <a:gd name="connsiteX0" fmla="*/ 17826 w 18308"/>
                  <a:gd name="connsiteY0" fmla="*/ 6283 h 18427"/>
                  <a:gd name="connsiteX1" fmla="*/ 6224 w 18308"/>
                  <a:gd name="connsiteY1" fmla="*/ 482 h 18427"/>
                  <a:gd name="connsiteX2" fmla="*/ 482 w 18308"/>
                  <a:gd name="connsiteY2" fmla="*/ 12144 h 18427"/>
                  <a:gd name="connsiteX3" fmla="*/ 12085 w 18308"/>
                  <a:gd name="connsiteY3" fmla="*/ 17946 h 18427"/>
                  <a:gd name="connsiteX4" fmla="*/ 17826 w 18308"/>
                  <a:gd name="connsiteY4" fmla="*/ 6283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27">
                    <a:moveTo>
                      <a:pt x="17826" y="6283"/>
                    </a:moveTo>
                    <a:cubicBezTo>
                      <a:pt x="16212" y="1439"/>
                      <a:pt x="11008" y="-1133"/>
                      <a:pt x="6224" y="482"/>
                    </a:cubicBezTo>
                    <a:cubicBezTo>
                      <a:pt x="1439" y="2097"/>
                      <a:pt x="-1132" y="7300"/>
                      <a:pt x="482" y="12144"/>
                    </a:cubicBezTo>
                    <a:cubicBezTo>
                      <a:pt x="2097" y="16989"/>
                      <a:pt x="7300" y="19560"/>
                      <a:pt x="12085" y="17946"/>
                    </a:cubicBezTo>
                    <a:cubicBezTo>
                      <a:pt x="16869" y="16331"/>
                      <a:pt x="19441" y="11068"/>
                      <a:pt x="17826" y="6283"/>
                    </a:cubicBezTo>
                    <a:close/>
                  </a:path>
                </a:pathLst>
              </a:custGeom>
              <a:grpFill/>
              <a:ln w="5978" cap="flat">
                <a:noFill/>
                <a:prstDash val="solid"/>
                <a:miter/>
              </a:ln>
            </p:spPr>
            <p:txBody>
              <a:bodyPr rtlCol="0" anchor="ctr"/>
              <a:lstStyle/>
              <a:p>
                <a:endParaRPr lang="en-GB"/>
              </a:p>
            </p:txBody>
          </p:sp>
        </p:grpSp>
        <p:grpSp>
          <p:nvGrpSpPr>
            <p:cNvPr id="713" name="Graphic 3">
              <a:extLst>
                <a:ext uri="{FF2B5EF4-FFF2-40B4-BE49-F238E27FC236}">
                  <a16:creationId xmlns:a16="http://schemas.microsoft.com/office/drawing/2014/main" id="{EDEB708E-375E-4CB4-83E1-BCF2654E3C36}"/>
                </a:ext>
              </a:extLst>
            </p:cNvPr>
            <p:cNvGrpSpPr/>
            <p:nvPr/>
          </p:nvGrpSpPr>
          <p:grpSpPr>
            <a:xfrm>
              <a:off x="5224345" y="1459391"/>
              <a:ext cx="24190" cy="32305"/>
              <a:chOff x="5224345" y="1459391"/>
              <a:chExt cx="24190" cy="32305"/>
            </a:xfrm>
            <a:grpFill/>
          </p:grpSpPr>
          <p:sp>
            <p:nvSpPr>
              <p:cNvPr id="3251" name="Vrije vorm: vorm 3250">
                <a:extLst>
                  <a:ext uri="{FF2B5EF4-FFF2-40B4-BE49-F238E27FC236}">
                    <a16:creationId xmlns:a16="http://schemas.microsoft.com/office/drawing/2014/main" id="{7C0E6280-F503-4384-BE3C-44BB2C1370AD}"/>
                  </a:ext>
                </a:extLst>
              </p:cNvPr>
              <p:cNvSpPr/>
              <p:nvPr/>
            </p:nvSpPr>
            <p:spPr>
              <a:xfrm>
                <a:off x="5231863" y="1467636"/>
                <a:ext cx="9026" cy="15896"/>
              </a:xfrm>
              <a:custGeom>
                <a:avLst/>
                <a:gdLst>
                  <a:gd name="connsiteX0" fmla="*/ 0 w 9026"/>
                  <a:gd name="connsiteY0" fmla="*/ 1187 h 15896"/>
                  <a:gd name="connsiteX1" fmla="*/ 2810 w 9026"/>
                  <a:gd name="connsiteY1" fmla="*/ 0 h 15896"/>
                  <a:gd name="connsiteX2" fmla="*/ 9026 w 9026"/>
                  <a:gd name="connsiteY2" fmla="*/ 14709 h 15896"/>
                  <a:gd name="connsiteX3" fmla="*/ 6217 w 9026"/>
                  <a:gd name="connsiteY3" fmla="*/ 15896 h 15896"/>
                </a:gdLst>
                <a:ahLst/>
                <a:cxnLst>
                  <a:cxn ang="0">
                    <a:pos x="connsiteX0" y="connsiteY0"/>
                  </a:cxn>
                  <a:cxn ang="0">
                    <a:pos x="connsiteX1" y="connsiteY1"/>
                  </a:cxn>
                  <a:cxn ang="0">
                    <a:pos x="connsiteX2" y="connsiteY2"/>
                  </a:cxn>
                  <a:cxn ang="0">
                    <a:pos x="connsiteX3" y="connsiteY3"/>
                  </a:cxn>
                </a:cxnLst>
                <a:rect l="l" t="t" r="r" b="b"/>
                <a:pathLst>
                  <a:path w="9026" h="15896">
                    <a:moveTo>
                      <a:pt x="0" y="1187"/>
                    </a:moveTo>
                    <a:lnTo>
                      <a:pt x="2810" y="0"/>
                    </a:lnTo>
                    <a:lnTo>
                      <a:pt x="9026" y="14709"/>
                    </a:lnTo>
                    <a:lnTo>
                      <a:pt x="6217" y="15896"/>
                    </a:lnTo>
                    <a:close/>
                  </a:path>
                </a:pathLst>
              </a:custGeom>
              <a:grpFill/>
              <a:ln w="5978" cap="flat">
                <a:noFill/>
                <a:prstDash val="solid"/>
                <a:miter/>
              </a:ln>
            </p:spPr>
            <p:txBody>
              <a:bodyPr rtlCol="0" anchor="ctr"/>
              <a:lstStyle/>
              <a:p>
                <a:endParaRPr lang="en-GB"/>
              </a:p>
            </p:txBody>
          </p:sp>
          <p:sp>
            <p:nvSpPr>
              <p:cNvPr id="3252" name="Vrije vorm: vorm 3251">
                <a:extLst>
                  <a:ext uri="{FF2B5EF4-FFF2-40B4-BE49-F238E27FC236}">
                    <a16:creationId xmlns:a16="http://schemas.microsoft.com/office/drawing/2014/main" id="{EE20D876-25D0-47B9-B037-1FE39C88A42B}"/>
                  </a:ext>
                </a:extLst>
              </p:cNvPr>
              <p:cNvSpPr/>
              <p:nvPr/>
            </p:nvSpPr>
            <p:spPr>
              <a:xfrm>
                <a:off x="5230206" y="1473267"/>
                <a:ext cx="18329" cy="18430"/>
              </a:xfrm>
              <a:custGeom>
                <a:avLst/>
                <a:gdLst>
                  <a:gd name="connsiteX0" fmla="*/ 17597 w 18329"/>
                  <a:gd name="connsiteY0" fmla="*/ 5627 h 18430"/>
                  <a:gd name="connsiteX1" fmla="*/ 12753 w 18329"/>
                  <a:gd name="connsiteY1" fmla="*/ 17708 h 18430"/>
                  <a:gd name="connsiteX2" fmla="*/ 732 w 18329"/>
                  <a:gd name="connsiteY2" fmla="*/ 12803 h 18430"/>
                  <a:gd name="connsiteX3" fmla="*/ 5576 w 18329"/>
                  <a:gd name="connsiteY3" fmla="*/ 722 h 18430"/>
                  <a:gd name="connsiteX4" fmla="*/ 17597 w 18329"/>
                  <a:gd name="connsiteY4" fmla="*/ 562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0">
                    <a:moveTo>
                      <a:pt x="17597" y="5627"/>
                    </a:moveTo>
                    <a:cubicBezTo>
                      <a:pt x="19571" y="10292"/>
                      <a:pt x="17418" y="15734"/>
                      <a:pt x="12753" y="17708"/>
                    </a:cubicBezTo>
                    <a:cubicBezTo>
                      <a:pt x="8088" y="19681"/>
                      <a:pt x="2705" y="17468"/>
                      <a:pt x="732" y="12803"/>
                    </a:cubicBezTo>
                    <a:cubicBezTo>
                      <a:pt x="-1242" y="8138"/>
                      <a:pt x="911" y="2696"/>
                      <a:pt x="5576" y="722"/>
                    </a:cubicBezTo>
                    <a:cubicBezTo>
                      <a:pt x="10241" y="-1251"/>
                      <a:pt x="15624" y="962"/>
                      <a:pt x="17597" y="5627"/>
                    </a:cubicBezTo>
                    <a:close/>
                  </a:path>
                </a:pathLst>
              </a:custGeom>
              <a:grpFill/>
              <a:ln w="5978" cap="flat">
                <a:noFill/>
                <a:prstDash val="solid"/>
                <a:miter/>
              </a:ln>
            </p:spPr>
            <p:txBody>
              <a:bodyPr rtlCol="0" anchor="ctr"/>
              <a:lstStyle/>
              <a:p>
                <a:endParaRPr lang="en-GB"/>
              </a:p>
            </p:txBody>
          </p:sp>
          <p:sp>
            <p:nvSpPr>
              <p:cNvPr id="3253" name="Vrije vorm: vorm 3252">
                <a:extLst>
                  <a:ext uri="{FF2B5EF4-FFF2-40B4-BE49-F238E27FC236}">
                    <a16:creationId xmlns:a16="http://schemas.microsoft.com/office/drawing/2014/main" id="{B938E22F-4C1C-48D4-9429-D484765FE7F9}"/>
                  </a:ext>
                </a:extLst>
              </p:cNvPr>
              <p:cNvSpPr/>
              <p:nvPr/>
            </p:nvSpPr>
            <p:spPr>
              <a:xfrm>
                <a:off x="5224345" y="1459391"/>
                <a:ext cx="18329" cy="18438"/>
              </a:xfrm>
              <a:custGeom>
                <a:avLst/>
                <a:gdLst>
                  <a:gd name="connsiteX0" fmla="*/ 17597 w 18329"/>
                  <a:gd name="connsiteY0" fmla="*/ 5627 h 18438"/>
                  <a:gd name="connsiteX1" fmla="*/ 5576 w 18329"/>
                  <a:gd name="connsiteY1" fmla="*/ 722 h 18438"/>
                  <a:gd name="connsiteX2" fmla="*/ 732 w 18329"/>
                  <a:gd name="connsiteY2" fmla="*/ 12803 h 18438"/>
                  <a:gd name="connsiteX3" fmla="*/ 12753 w 18329"/>
                  <a:gd name="connsiteY3" fmla="*/ 17708 h 18438"/>
                  <a:gd name="connsiteX4" fmla="*/ 17597 w 18329"/>
                  <a:gd name="connsiteY4" fmla="*/ 5627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38">
                    <a:moveTo>
                      <a:pt x="17597" y="5627"/>
                    </a:moveTo>
                    <a:cubicBezTo>
                      <a:pt x="15624" y="962"/>
                      <a:pt x="10241" y="-1251"/>
                      <a:pt x="5576" y="722"/>
                    </a:cubicBezTo>
                    <a:cubicBezTo>
                      <a:pt x="911" y="2696"/>
                      <a:pt x="-1242" y="8079"/>
                      <a:pt x="732" y="12803"/>
                    </a:cubicBezTo>
                    <a:cubicBezTo>
                      <a:pt x="2706" y="17528"/>
                      <a:pt x="8088" y="19681"/>
                      <a:pt x="12753" y="17708"/>
                    </a:cubicBezTo>
                    <a:cubicBezTo>
                      <a:pt x="17418" y="15734"/>
                      <a:pt x="19571" y="10292"/>
                      <a:pt x="17597" y="5627"/>
                    </a:cubicBezTo>
                    <a:close/>
                  </a:path>
                </a:pathLst>
              </a:custGeom>
              <a:grpFill/>
              <a:ln w="5978" cap="flat">
                <a:noFill/>
                <a:prstDash val="solid"/>
                <a:miter/>
              </a:ln>
            </p:spPr>
            <p:txBody>
              <a:bodyPr rtlCol="0" anchor="ctr"/>
              <a:lstStyle/>
              <a:p>
                <a:endParaRPr lang="en-GB"/>
              </a:p>
            </p:txBody>
          </p:sp>
        </p:grpSp>
        <p:grpSp>
          <p:nvGrpSpPr>
            <p:cNvPr id="714" name="Graphic 3">
              <a:extLst>
                <a:ext uri="{FF2B5EF4-FFF2-40B4-BE49-F238E27FC236}">
                  <a16:creationId xmlns:a16="http://schemas.microsoft.com/office/drawing/2014/main" id="{5A306FC1-97B1-4357-A579-8E366A1E1387}"/>
                </a:ext>
              </a:extLst>
            </p:cNvPr>
            <p:cNvGrpSpPr/>
            <p:nvPr/>
          </p:nvGrpSpPr>
          <p:grpSpPr>
            <a:xfrm>
              <a:off x="6479645" y="5039508"/>
              <a:ext cx="164846" cy="739648"/>
              <a:chOff x="6479645" y="5039508"/>
              <a:chExt cx="164846" cy="739648"/>
            </a:xfrm>
            <a:grpFill/>
          </p:grpSpPr>
          <p:sp>
            <p:nvSpPr>
              <p:cNvPr id="3248" name="Vrije vorm: vorm 3247">
                <a:extLst>
                  <a:ext uri="{FF2B5EF4-FFF2-40B4-BE49-F238E27FC236}">
                    <a16:creationId xmlns:a16="http://schemas.microsoft.com/office/drawing/2014/main" id="{ACC74E89-AB57-44A3-9563-F2300E0430A5}"/>
                  </a:ext>
                </a:extLst>
              </p:cNvPr>
              <p:cNvSpPr/>
              <p:nvPr/>
            </p:nvSpPr>
            <p:spPr>
              <a:xfrm>
                <a:off x="6487249" y="5047948"/>
                <a:ext cx="149637" cy="722710"/>
              </a:xfrm>
              <a:custGeom>
                <a:avLst/>
                <a:gdLst>
                  <a:gd name="connsiteX0" fmla="*/ 2990 w 149637"/>
                  <a:gd name="connsiteY0" fmla="*/ 0 h 722710"/>
                  <a:gd name="connsiteX1" fmla="*/ 149638 w 149637"/>
                  <a:gd name="connsiteY1" fmla="*/ 722112 h 722710"/>
                  <a:gd name="connsiteX2" fmla="*/ 146647 w 149637"/>
                  <a:gd name="connsiteY2" fmla="*/ 722710 h 722710"/>
                  <a:gd name="connsiteX3" fmla="*/ 0 w 149637"/>
                  <a:gd name="connsiteY3" fmla="*/ 598 h 722710"/>
                </a:gdLst>
                <a:ahLst/>
                <a:cxnLst>
                  <a:cxn ang="0">
                    <a:pos x="connsiteX0" y="connsiteY0"/>
                  </a:cxn>
                  <a:cxn ang="0">
                    <a:pos x="connsiteX1" y="connsiteY1"/>
                  </a:cxn>
                  <a:cxn ang="0">
                    <a:pos x="connsiteX2" y="connsiteY2"/>
                  </a:cxn>
                  <a:cxn ang="0">
                    <a:pos x="connsiteX3" y="connsiteY3"/>
                  </a:cxn>
                </a:cxnLst>
                <a:rect l="l" t="t" r="r" b="b"/>
                <a:pathLst>
                  <a:path w="149637" h="722710">
                    <a:moveTo>
                      <a:pt x="2990" y="0"/>
                    </a:moveTo>
                    <a:lnTo>
                      <a:pt x="149638" y="722112"/>
                    </a:lnTo>
                    <a:lnTo>
                      <a:pt x="146647" y="722710"/>
                    </a:lnTo>
                    <a:lnTo>
                      <a:pt x="0" y="598"/>
                    </a:lnTo>
                    <a:close/>
                  </a:path>
                </a:pathLst>
              </a:custGeom>
              <a:grpFill/>
              <a:ln w="5978" cap="flat">
                <a:noFill/>
                <a:prstDash val="solid"/>
                <a:miter/>
              </a:ln>
            </p:spPr>
            <p:txBody>
              <a:bodyPr rtlCol="0" anchor="ctr"/>
              <a:lstStyle/>
              <a:p>
                <a:endParaRPr lang="en-GB"/>
              </a:p>
            </p:txBody>
          </p:sp>
          <p:sp>
            <p:nvSpPr>
              <p:cNvPr id="3249" name="Vrije vorm: vorm 3248">
                <a:extLst>
                  <a:ext uri="{FF2B5EF4-FFF2-40B4-BE49-F238E27FC236}">
                    <a16:creationId xmlns:a16="http://schemas.microsoft.com/office/drawing/2014/main" id="{4A9DF3A2-E89F-485B-9F9F-AD70B598D53E}"/>
                  </a:ext>
                </a:extLst>
              </p:cNvPr>
              <p:cNvSpPr/>
              <p:nvPr/>
            </p:nvSpPr>
            <p:spPr>
              <a:xfrm>
                <a:off x="6479645" y="5039508"/>
                <a:ext cx="18316" cy="18416"/>
              </a:xfrm>
              <a:custGeom>
                <a:avLst/>
                <a:gdLst>
                  <a:gd name="connsiteX0" fmla="*/ 187 w 18316"/>
                  <a:gd name="connsiteY0" fmla="*/ 11012 h 18416"/>
                  <a:gd name="connsiteX1" fmla="*/ 7304 w 18316"/>
                  <a:gd name="connsiteY1" fmla="*/ 187 h 18416"/>
                  <a:gd name="connsiteX2" fmla="*/ 18129 w 18316"/>
                  <a:gd name="connsiteY2" fmla="*/ 7423 h 18416"/>
                  <a:gd name="connsiteX3" fmla="*/ 11012 w 18316"/>
                  <a:gd name="connsiteY3" fmla="*/ 18249 h 18416"/>
                  <a:gd name="connsiteX4" fmla="*/ 187 w 18316"/>
                  <a:gd name="connsiteY4" fmla="*/ 1101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16">
                    <a:moveTo>
                      <a:pt x="187" y="11012"/>
                    </a:moveTo>
                    <a:cubicBezTo>
                      <a:pt x="-829" y="6048"/>
                      <a:pt x="2400" y="1144"/>
                      <a:pt x="7304" y="187"/>
                    </a:cubicBezTo>
                    <a:cubicBezTo>
                      <a:pt x="12268" y="-830"/>
                      <a:pt x="17113" y="2400"/>
                      <a:pt x="18129" y="7423"/>
                    </a:cubicBezTo>
                    <a:cubicBezTo>
                      <a:pt x="19146" y="12388"/>
                      <a:pt x="15917" y="17292"/>
                      <a:pt x="11012" y="18249"/>
                    </a:cubicBezTo>
                    <a:cubicBezTo>
                      <a:pt x="6048" y="19206"/>
                      <a:pt x="1204" y="15976"/>
                      <a:pt x="187" y="11012"/>
                    </a:cubicBezTo>
                    <a:close/>
                  </a:path>
                </a:pathLst>
              </a:custGeom>
              <a:grpFill/>
              <a:ln w="5978" cap="flat">
                <a:noFill/>
                <a:prstDash val="solid"/>
                <a:miter/>
              </a:ln>
            </p:spPr>
            <p:txBody>
              <a:bodyPr rtlCol="0" anchor="ctr"/>
              <a:lstStyle/>
              <a:p>
                <a:endParaRPr lang="en-GB"/>
              </a:p>
            </p:txBody>
          </p:sp>
          <p:sp>
            <p:nvSpPr>
              <p:cNvPr id="3250" name="Vrije vorm: vorm 3249">
                <a:extLst>
                  <a:ext uri="{FF2B5EF4-FFF2-40B4-BE49-F238E27FC236}">
                    <a16:creationId xmlns:a16="http://schemas.microsoft.com/office/drawing/2014/main" id="{5CC92718-AAA3-413D-8838-5AA89861093C}"/>
                  </a:ext>
                </a:extLst>
              </p:cNvPr>
              <p:cNvSpPr/>
              <p:nvPr/>
            </p:nvSpPr>
            <p:spPr>
              <a:xfrm>
                <a:off x="6626171" y="5760725"/>
                <a:ext cx="18321" cy="18431"/>
              </a:xfrm>
              <a:custGeom>
                <a:avLst/>
                <a:gdLst>
                  <a:gd name="connsiteX0" fmla="*/ 190 w 18321"/>
                  <a:gd name="connsiteY0" fmla="*/ 11010 h 18431"/>
                  <a:gd name="connsiteX1" fmla="*/ 11015 w 18321"/>
                  <a:gd name="connsiteY1" fmla="*/ 18246 h 18431"/>
                  <a:gd name="connsiteX2" fmla="*/ 18132 w 18321"/>
                  <a:gd name="connsiteY2" fmla="*/ 7421 h 18431"/>
                  <a:gd name="connsiteX3" fmla="*/ 7307 w 18321"/>
                  <a:gd name="connsiteY3" fmla="*/ 185 h 18431"/>
                  <a:gd name="connsiteX4" fmla="*/ 190 w 18321"/>
                  <a:gd name="connsiteY4" fmla="*/ 1101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1">
                    <a:moveTo>
                      <a:pt x="190" y="11010"/>
                    </a:moveTo>
                    <a:cubicBezTo>
                      <a:pt x="1206" y="15974"/>
                      <a:pt x="6051" y="19263"/>
                      <a:pt x="11015" y="18246"/>
                    </a:cubicBezTo>
                    <a:cubicBezTo>
                      <a:pt x="15979" y="17230"/>
                      <a:pt x="19148" y="12386"/>
                      <a:pt x="18132" y="7421"/>
                    </a:cubicBezTo>
                    <a:cubicBezTo>
                      <a:pt x="17115" y="2457"/>
                      <a:pt x="12271" y="-832"/>
                      <a:pt x="7307" y="185"/>
                    </a:cubicBezTo>
                    <a:cubicBezTo>
                      <a:pt x="2343" y="1142"/>
                      <a:pt x="-827" y="5986"/>
                      <a:pt x="190" y="11010"/>
                    </a:cubicBezTo>
                    <a:close/>
                  </a:path>
                </a:pathLst>
              </a:custGeom>
              <a:grpFill/>
              <a:ln w="5978" cap="flat">
                <a:noFill/>
                <a:prstDash val="solid"/>
                <a:miter/>
              </a:ln>
            </p:spPr>
            <p:txBody>
              <a:bodyPr rtlCol="0" anchor="ctr"/>
              <a:lstStyle/>
              <a:p>
                <a:endParaRPr lang="en-GB"/>
              </a:p>
            </p:txBody>
          </p:sp>
        </p:grpSp>
        <p:grpSp>
          <p:nvGrpSpPr>
            <p:cNvPr id="715" name="Graphic 3">
              <a:extLst>
                <a:ext uri="{FF2B5EF4-FFF2-40B4-BE49-F238E27FC236}">
                  <a16:creationId xmlns:a16="http://schemas.microsoft.com/office/drawing/2014/main" id="{647589B2-0336-433A-B921-B50774F34631}"/>
                </a:ext>
              </a:extLst>
            </p:cNvPr>
            <p:cNvGrpSpPr/>
            <p:nvPr/>
          </p:nvGrpSpPr>
          <p:grpSpPr>
            <a:xfrm>
              <a:off x="5271691" y="1662801"/>
              <a:ext cx="111372" cy="228162"/>
              <a:chOff x="5271691" y="1662801"/>
              <a:chExt cx="111372" cy="228162"/>
            </a:xfrm>
            <a:grpFill/>
          </p:grpSpPr>
          <p:sp>
            <p:nvSpPr>
              <p:cNvPr id="3245" name="Vrije vorm: vorm 3244">
                <a:extLst>
                  <a:ext uri="{FF2B5EF4-FFF2-40B4-BE49-F238E27FC236}">
                    <a16:creationId xmlns:a16="http://schemas.microsoft.com/office/drawing/2014/main" id="{C149C2C3-3610-4E26-8E42-B8AEE84984C3}"/>
                  </a:ext>
                </a:extLst>
              </p:cNvPr>
              <p:cNvSpPr/>
              <p:nvPr/>
            </p:nvSpPr>
            <p:spPr>
              <a:xfrm>
                <a:off x="5279322" y="1670934"/>
                <a:ext cx="96229" cy="211837"/>
              </a:xfrm>
              <a:custGeom>
                <a:avLst/>
                <a:gdLst>
                  <a:gd name="connsiteX0" fmla="*/ 96230 w 96229"/>
                  <a:gd name="connsiteY0" fmla="*/ 210581 h 211837"/>
                  <a:gd name="connsiteX1" fmla="*/ 93419 w 96229"/>
                  <a:gd name="connsiteY1" fmla="*/ 211837 h 211837"/>
                  <a:gd name="connsiteX2" fmla="*/ 0 w 96229"/>
                  <a:gd name="connsiteY2" fmla="*/ 1256 h 211837"/>
                  <a:gd name="connsiteX3" fmla="*/ 2811 w 96229"/>
                  <a:gd name="connsiteY3" fmla="*/ 0 h 211837"/>
                </a:gdLst>
                <a:ahLst/>
                <a:cxnLst>
                  <a:cxn ang="0">
                    <a:pos x="connsiteX0" y="connsiteY0"/>
                  </a:cxn>
                  <a:cxn ang="0">
                    <a:pos x="connsiteX1" y="connsiteY1"/>
                  </a:cxn>
                  <a:cxn ang="0">
                    <a:pos x="connsiteX2" y="connsiteY2"/>
                  </a:cxn>
                  <a:cxn ang="0">
                    <a:pos x="connsiteX3" y="connsiteY3"/>
                  </a:cxn>
                </a:cxnLst>
                <a:rect l="l" t="t" r="r" b="b"/>
                <a:pathLst>
                  <a:path w="96229" h="211837">
                    <a:moveTo>
                      <a:pt x="96230" y="210581"/>
                    </a:moveTo>
                    <a:lnTo>
                      <a:pt x="93419" y="211837"/>
                    </a:lnTo>
                    <a:lnTo>
                      <a:pt x="0" y="1256"/>
                    </a:lnTo>
                    <a:lnTo>
                      <a:pt x="2811" y="0"/>
                    </a:lnTo>
                    <a:close/>
                  </a:path>
                </a:pathLst>
              </a:custGeom>
              <a:grpFill/>
              <a:ln w="5978" cap="flat">
                <a:noFill/>
                <a:prstDash val="solid"/>
                <a:miter/>
              </a:ln>
            </p:spPr>
            <p:txBody>
              <a:bodyPr rtlCol="0" anchor="ctr"/>
              <a:lstStyle/>
              <a:p>
                <a:endParaRPr lang="en-GB"/>
              </a:p>
            </p:txBody>
          </p:sp>
          <p:sp>
            <p:nvSpPr>
              <p:cNvPr id="3246" name="Vrije vorm: vorm 3245">
                <a:extLst>
                  <a:ext uri="{FF2B5EF4-FFF2-40B4-BE49-F238E27FC236}">
                    <a16:creationId xmlns:a16="http://schemas.microsoft.com/office/drawing/2014/main" id="{C620B848-5028-4B17-9BF7-CAB37787C885}"/>
                  </a:ext>
                </a:extLst>
              </p:cNvPr>
              <p:cNvSpPr/>
              <p:nvPr/>
            </p:nvSpPr>
            <p:spPr>
              <a:xfrm>
                <a:off x="5271691" y="1662801"/>
                <a:ext cx="18312" cy="18418"/>
              </a:xfrm>
              <a:custGeom>
                <a:avLst/>
                <a:gdLst>
                  <a:gd name="connsiteX0" fmla="*/ 813 w 18312"/>
                  <a:gd name="connsiteY0" fmla="*/ 12917 h 18418"/>
                  <a:gd name="connsiteX1" fmla="*/ 5419 w 18312"/>
                  <a:gd name="connsiteY1" fmla="*/ 777 h 18418"/>
                  <a:gd name="connsiteX2" fmla="*/ 17499 w 18312"/>
                  <a:gd name="connsiteY2" fmla="*/ 5501 h 18418"/>
                  <a:gd name="connsiteX3" fmla="*/ 12894 w 18312"/>
                  <a:gd name="connsiteY3" fmla="*/ 17642 h 18418"/>
                  <a:gd name="connsiteX4" fmla="*/ 813 w 18312"/>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18">
                    <a:moveTo>
                      <a:pt x="813" y="12917"/>
                    </a:moveTo>
                    <a:cubicBezTo>
                      <a:pt x="-1280" y="8252"/>
                      <a:pt x="813" y="2810"/>
                      <a:pt x="5419" y="777"/>
                    </a:cubicBezTo>
                    <a:cubicBezTo>
                      <a:pt x="10023" y="-1257"/>
                      <a:pt x="15466" y="836"/>
                      <a:pt x="17499" y="5501"/>
                    </a:cubicBezTo>
                    <a:cubicBezTo>
                      <a:pt x="19593" y="10166"/>
                      <a:pt x="17499" y="15609"/>
                      <a:pt x="12894" y="17642"/>
                    </a:cubicBezTo>
                    <a:cubicBezTo>
                      <a:pt x="8349" y="19676"/>
                      <a:pt x="2906" y="17582"/>
                      <a:pt x="813" y="12917"/>
                    </a:cubicBezTo>
                    <a:close/>
                  </a:path>
                </a:pathLst>
              </a:custGeom>
              <a:grpFill/>
              <a:ln w="5978" cap="flat">
                <a:noFill/>
                <a:prstDash val="solid"/>
                <a:miter/>
              </a:ln>
            </p:spPr>
            <p:txBody>
              <a:bodyPr rtlCol="0" anchor="ctr"/>
              <a:lstStyle/>
              <a:p>
                <a:endParaRPr lang="en-GB"/>
              </a:p>
            </p:txBody>
          </p:sp>
          <p:sp>
            <p:nvSpPr>
              <p:cNvPr id="3247" name="Vrije vorm: vorm 3246">
                <a:extLst>
                  <a:ext uri="{FF2B5EF4-FFF2-40B4-BE49-F238E27FC236}">
                    <a16:creationId xmlns:a16="http://schemas.microsoft.com/office/drawing/2014/main" id="{37BF78CB-D8A9-4BF9-92B0-A1A982CF0EDC}"/>
                  </a:ext>
                </a:extLst>
              </p:cNvPr>
              <p:cNvSpPr/>
              <p:nvPr/>
            </p:nvSpPr>
            <p:spPr>
              <a:xfrm>
                <a:off x="5364786" y="1872545"/>
                <a:ext cx="18278" cy="18418"/>
              </a:xfrm>
              <a:custGeom>
                <a:avLst/>
                <a:gdLst>
                  <a:gd name="connsiteX0" fmla="*/ 779 w 18278"/>
                  <a:gd name="connsiteY0" fmla="*/ 12917 h 18418"/>
                  <a:gd name="connsiteX1" fmla="*/ 12860 w 18278"/>
                  <a:gd name="connsiteY1" fmla="*/ 17642 h 18418"/>
                  <a:gd name="connsiteX2" fmla="*/ 17465 w 18278"/>
                  <a:gd name="connsiteY2" fmla="*/ 5501 h 18418"/>
                  <a:gd name="connsiteX3" fmla="*/ 5384 w 18278"/>
                  <a:gd name="connsiteY3" fmla="*/ 777 h 18418"/>
                  <a:gd name="connsiteX4" fmla="*/ 779 w 1827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8" h="18418">
                    <a:moveTo>
                      <a:pt x="779" y="12917"/>
                    </a:moveTo>
                    <a:cubicBezTo>
                      <a:pt x="2812" y="17582"/>
                      <a:pt x="8255" y="19676"/>
                      <a:pt x="12860" y="17642"/>
                    </a:cubicBezTo>
                    <a:cubicBezTo>
                      <a:pt x="17465" y="15609"/>
                      <a:pt x="19558" y="10166"/>
                      <a:pt x="17465" y="5501"/>
                    </a:cubicBezTo>
                    <a:cubicBezTo>
                      <a:pt x="15372" y="836"/>
                      <a:pt x="9989" y="-1257"/>
                      <a:pt x="5384" y="777"/>
                    </a:cubicBezTo>
                    <a:cubicBezTo>
                      <a:pt x="839" y="2810"/>
                      <a:pt x="-1255" y="8252"/>
                      <a:pt x="779" y="12917"/>
                    </a:cubicBezTo>
                    <a:close/>
                  </a:path>
                </a:pathLst>
              </a:custGeom>
              <a:grpFill/>
              <a:ln w="5978" cap="flat">
                <a:noFill/>
                <a:prstDash val="solid"/>
                <a:miter/>
              </a:ln>
            </p:spPr>
            <p:txBody>
              <a:bodyPr rtlCol="0" anchor="ctr"/>
              <a:lstStyle/>
              <a:p>
                <a:endParaRPr lang="en-GB"/>
              </a:p>
            </p:txBody>
          </p:sp>
        </p:grpSp>
        <p:grpSp>
          <p:nvGrpSpPr>
            <p:cNvPr id="716" name="Graphic 3">
              <a:extLst>
                <a:ext uri="{FF2B5EF4-FFF2-40B4-BE49-F238E27FC236}">
                  <a16:creationId xmlns:a16="http://schemas.microsoft.com/office/drawing/2014/main" id="{487F07ED-DAD8-498E-9AEB-F08C97B887B8}"/>
                </a:ext>
              </a:extLst>
            </p:cNvPr>
            <p:cNvGrpSpPr/>
            <p:nvPr/>
          </p:nvGrpSpPr>
          <p:grpSpPr>
            <a:xfrm>
              <a:off x="5258455" y="1635539"/>
              <a:ext cx="90118" cy="251885"/>
              <a:chOff x="5258455" y="1635539"/>
              <a:chExt cx="90118" cy="251885"/>
            </a:xfrm>
            <a:grpFill/>
          </p:grpSpPr>
          <p:sp>
            <p:nvSpPr>
              <p:cNvPr id="3242" name="Vrije vorm: vorm 3241">
                <a:extLst>
                  <a:ext uri="{FF2B5EF4-FFF2-40B4-BE49-F238E27FC236}">
                    <a16:creationId xmlns:a16="http://schemas.microsoft.com/office/drawing/2014/main" id="{4E335375-DE6B-4DF6-B814-4FAD69EA2C81}"/>
                  </a:ext>
                </a:extLst>
              </p:cNvPr>
              <p:cNvSpPr/>
              <p:nvPr/>
            </p:nvSpPr>
            <p:spPr>
              <a:xfrm>
                <a:off x="5266045" y="1643841"/>
                <a:ext cx="74938" cy="235221"/>
              </a:xfrm>
              <a:custGeom>
                <a:avLst/>
                <a:gdLst>
                  <a:gd name="connsiteX0" fmla="*/ 2871 w 74938"/>
                  <a:gd name="connsiteY0" fmla="*/ 0 h 235221"/>
                  <a:gd name="connsiteX1" fmla="*/ 74939 w 74938"/>
                  <a:gd name="connsiteY1" fmla="*/ 234384 h 235221"/>
                  <a:gd name="connsiteX2" fmla="*/ 72008 w 74938"/>
                  <a:gd name="connsiteY2" fmla="*/ 235222 h 235221"/>
                  <a:gd name="connsiteX3" fmla="*/ 0 w 74938"/>
                  <a:gd name="connsiteY3" fmla="*/ 897 h 235221"/>
                </a:gdLst>
                <a:ahLst/>
                <a:cxnLst>
                  <a:cxn ang="0">
                    <a:pos x="connsiteX0" y="connsiteY0"/>
                  </a:cxn>
                  <a:cxn ang="0">
                    <a:pos x="connsiteX1" y="connsiteY1"/>
                  </a:cxn>
                  <a:cxn ang="0">
                    <a:pos x="connsiteX2" y="connsiteY2"/>
                  </a:cxn>
                  <a:cxn ang="0">
                    <a:pos x="connsiteX3" y="connsiteY3"/>
                  </a:cxn>
                </a:cxnLst>
                <a:rect l="l" t="t" r="r" b="b"/>
                <a:pathLst>
                  <a:path w="74938" h="235221">
                    <a:moveTo>
                      <a:pt x="2871" y="0"/>
                    </a:moveTo>
                    <a:lnTo>
                      <a:pt x="74939" y="234384"/>
                    </a:lnTo>
                    <a:lnTo>
                      <a:pt x="72008" y="235222"/>
                    </a:lnTo>
                    <a:lnTo>
                      <a:pt x="0" y="897"/>
                    </a:lnTo>
                    <a:close/>
                  </a:path>
                </a:pathLst>
              </a:custGeom>
              <a:grpFill/>
              <a:ln w="5978" cap="flat">
                <a:noFill/>
                <a:prstDash val="solid"/>
                <a:miter/>
              </a:ln>
            </p:spPr>
            <p:txBody>
              <a:bodyPr rtlCol="0" anchor="ctr"/>
              <a:lstStyle/>
              <a:p>
                <a:endParaRPr lang="en-GB"/>
              </a:p>
            </p:txBody>
          </p:sp>
          <p:sp>
            <p:nvSpPr>
              <p:cNvPr id="3243" name="Vrije vorm: vorm 3242">
                <a:extLst>
                  <a:ext uri="{FF2B5EF4-FFF2-40B4-BE49-F238E27FC236}">
                    <a16:creationId xmlns:a16="http://schemas.microsoft.com/office/drawing/2014/main" id="{44EA8CA5-9956-4F8B-B3DE-505F012D718E}"/>
                  </a:ext>
                </a:extLst>
              </p:cNvPr>
              <p:cNvSpPr/>
              <p:nvPr/>
            </p:nvSpPr>
            <p:spPr>
              <a:xfrm>
                <a:off x="5330224" y="1868999"/>
                <a:ext cx="18349" cy="18425"/>
              </a:xfrm>
              <a:custGeom>
                <a:avLst/>
                <a:gdLst>
                  <a:gd name="connsiteX0" fmla="*/ 17937 w 18349"/>
                  <a:gd name="connsiteY0" fmla="*/ 6535 h 18425"/>
                  <a:gd name="connsiteX1" fmla="*/ 11896 w 18349"/>
                  <a:gd name="connsiteY1" fmla="*/ 18018 h 18425"/>
                  <a:gd name="connsiteX2" fmla="*/ 413 w 18349"/>
                  <a:gd name="connsiteY2" fmla="*/ 11918 h 18425"/>
                  <a:gd name="connsiteX3" fmla="*/ 6453 w 18349"/>
                  <a:gd name="connsiteY3" fmla="*/ 435 h 18425"/>
                  <a:gd name="connsiteX4" fmla="*/ 17937 w 18349"/>
                  <a:gd name="connsiteY4" fmla="*/ 653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5">
                    <a:moveTo>
                      <a:pt x="17937" y="6535"/>
                    </a:moveTo>
                    <a:cubicBezTo>
                      <a:pt x="19432" y="11379"/>
                      <a:pt x="16741" y="16523"/>
                      <a:pt x="11896" y="18018"/>
                    </a:cubicBezTo>
                    <a:cubicBezTo>
                      <a:pt x="7052" y="19513"/>
                      <a:pt x="1908" y="16762"/>
                      <a:pt x="413" y="11918"/>
                    </a:cubicBezTo>
                    <a:cubicBezTo>
                      <a:pt x="-1082" y="7073"/>
                      <a:pt x="1609" y="1930"/>
                      <a:pt x="6453" y="435"/>
                    </a:cubicBezTo>
                    <a:cubicBezTo>
                      <a:pt x="11298" y="-1120"/>
                      <a:pt x="16442" y="1631"/>
                      <a:pt x="17937" y="6535"/>
                    </a:cubicBezTo>
                    <a:close/>
                  </a:path>
                </a:pathLst>
              </a:custGeom>
              <a:grpFill/>
              <a:ln w="5978" cap="flat">
                <a:noFill/>
                <a:prstDash val="solid"/>
                <a:miter/>
              </a:ln>
            </p:spPr>
            <p:txBody>
              <a:bodyPr rtlCol="0" anchor="ctr"/>
              <a:lstStyle/>
              <a:p>
                <a:endParaRPr lang="en-GB"/>
              </a:p>
            </p:txBody>
          </p:sp>
          <p:sp>
            <p:nvSpPr>
              <p:cNvPr id="3244" name="Vrije vorm: vorm 3243">
                <a:extLst>
                  <a:ext uri="{FF2B5EF4-FFF2-40B4-BE49-F238E27FC236}">
                    <a16:creationId xmlns:a16="http://schemas.microsoft.com/office/drawing/2014/main" id="{F31D8F93-A415-44A3-B61A-9EC08FA87557}"/>
                  </a:ext>
                </a:extLst>
              </p:cNvPr>
              <p:cNvSpPr/>
              <p:nvPr/>
            </p:nvSpPr>
            <p:spPr>
              <a:xfrm>
                <a:off x="5258455" y="1635539"/>
                <a:ext cx="18349" cy="18398"/>
              </a:xfrm>
              <a:custGeom>
                <a:avLst/>
                <a:gdLst>
                  <a:gd name="connsiteX0" fmla="*/ 17937 w 18349"/>
                  <a:gd name="connsiteY0" fmla="*/ 6508 h 18398"/>
                  <a:gd name="connsiteX1" fmla="*/ 6453 w 18349"/>
                  <a:gd name="connsiteY1" fmla="*/ 407 h 18398"/>
                  <a:gd name="connsiteX2" fmla="*/ 413 w 18349"/>
                  <a:gd name="connsiteY2" fmla="*/ 11890 h 18398"/>
                  <a:gd name="connsiteX3" fmla="*/ 11896 w 18349"/>
                  <a:gd name="connsiteY3" fmla="*/ 17991 h 18398"/>
                  <a:gd name="connsiteX4" fmla="*/ 17937 w 18349"/>
                  <a:gd name="connsiteY4" fmla="*/ 6508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98">
                    <a:moveTo>
                      <a:pt x="17937" y="6508"/>
                    </a:moveTo>
                    <a:cubicBezTo>
                      <a:pt x="16442" y="1663"/>
                      <a:pt x="11298" y="-1088"/>
                      <a:pt x="6453" y="407"/>
                    </a:cubicBezTo>
                    <a:cubicBezTo>
                      <a:pt x="1609" y="1903"/>
                      <a:pt x="-1082" y="7046"/>
                      <a:pt x="413" y="11890"/>
                    </a:cubicBezTo>
                    <a:cubicBezTo>
                      <a:pt x="1908" y="16735"/>
                      <a:pt x="7052" y="19486"/>
                      <a:pt x="11896" y="17991"/>
                    </a:cubicBezTo>
                    <a:cubicBezTo>
                      <a:pt x="16741" y="16496"/>
                      <a:pt x="19432" y="11412"/>
                      <a:pt x="17937" y="6508"/>
                    </a:cubicBezTo>
                    <a:close/>
                  </a:path>
                </a:pathLst>
              </a:custGeom>
              <a:grpFill/>
              <a:ln w="5978" cap="flat">
                <a:noFill/>
                <a:prstDash val="solid"/>
                <a:miter/>
              </a:ln>
            </p:spPr>
            <p:txBody>
              <a:bodyPr rtlCol="0" anchor="ctr"/>
              <a:lstStyle/>
              <a:p>
                <a:endParaRPr lang="en-GB"/>
              </a:p>
            </p:txBody>
          </p:sp>
        </p:grpSp>
        <p:grpSp>
          <p:nvGrpSpPr>
            <p:cNvPr id="717" name="Graphic 3">
              <a:extLst>
                <a:ext uri="{FF2B5EF4-FFF2-40B4-BE49-F238E27FC236}">
                  <a16:creationId xmlns:a16="http://schemas.microsoft.com/office/drawing/2014/main" id="{029C1EDD-105C-4C53-AE62-323F72C3DD51}"/>
                </a:ext>
              </a:extLst>
            </p:cNvPr>
            <p:cNvGrpSpPr/>
            <p:nvPr/>
          </p:nvGrpSpPr>
          <p:grpSpPr>
            <a:xfrm>
              <a:off x="6419968" y="5056348"/>
              <a:ext cx="76366" cy="274480"/>
              <a:chOff x="6419968" y="5056348"/>
              <a:chExt cx="76366" cy="274480"/>
            </a:xfrm>
            <a:grpFill/>
          </p:grpSpPr>
          <p:sp>
            <p:nvSpPr>
              <p:cNvPr id="3239" name="Vrije vorm: vorm 3238">
                <a:extLst>
                  <a:ext uri="{FF2B5EF4-FFF2-40B4-BE49-F238E27FC236}">
                    <a16:creationId xmlns:a16="http://schemas.microsoft.com/office/drawing/2014/main" id="{DCBD029D-8432-4E14-AAFB-B8A40BC92BE9}"/>
                  </a:ext>
                </a:extLst>
              </p:cNvPr>
              <p:cNvSpPr/>
              <p:nvPr/>
            </p:nvSpPr>
            <p:spPr>
              <a:xfrm>
                <a:off x="6427218" y="5065005"/>
                <a:ext cx="61249" cy="257591"/>
              </a:xfrm>
              <a:custGeom>
                <a:avLst/>
                <a:gdLst>
                  <a:gd name="connsiteX0" fmla="*/ 0 w 61249"/>
                  <a:gd name="connsiteY0" fmla="*/ 675 h 257591"/>
                  <a:gd name="connsiteX1" fmla="*/ 2975 w 61249"/>
                  <a:gd name="connsiteY1" fmla="*/ 0 h 257591"/>
                  <a:gd name="connsiteX2" fmla="*/ 61250 w 61249"/>
                  <a:gd name="connsiteY2" fmla="*/ 256917 h 257591"/>
                  <a:gd name="connsiteX3" fmla="*/ 58275 w 61249"/>
                  <a:gd name="connsiteY3" fmla="*/ 257592 h 257591"/>
                </a:gdLst>
                <a:ahLst/>
                <a:cxnLst>
                  <a:cxn ang="0">
                    <a:pos x="connsiteX0" y="connsiteY0"/>
                  </a:cxn>
                  <a:cxn ang="0">
                    <a:pos x="connsiteX1" y="connsiteY1"/>
                  </a:cxn>
                  <a:cxn ang="0">
                    <a:pos x="connsiteX2" y="connsiteY2"/>
                  </a:cxn>
                  <a:cxn ang="0">
                    <a:pos x="connsiteX3" y="connsiteY3"/>
                  </a:cxn>
                </a:cxnLst>
                <a:rect l="l" t="t" r="r" b="b"/>
                <a:pathLst>
                  <a:path w="61249" h="257591">
                    <a:moveTo>
                      <a:pt x="0" y="675"/>
                    </a:moveTo>
                    <a:lnTo>
                      <a:pt x="2975" y="0"/>
                    </a:lnTo>
                    <a:lnTo>
                      <a:pt x="61250" y="256917"/>
                    </a:lnTo>
                    <a:lnTo>
                      <a:pt x="58275" y="257592"/>
                    </a:lnTo>
                    <a:close/>
                  </a:path>
                </a:pathLst>
              </a:custGeom>
              <a:grpFill/>
              <a:ln w="5978" cap="flat">
                <a:noFill/>
                <a:prstDash val="solid"/>
                <a:miter/>
              </a:ln>
            </p:spPr>
            <p:txBody>
              <a:bodyPr rtlCol="0" anchor="ctr"/>
              <a:lstStyle/>
              <a:p>
                <a:endParaRPr lang="en-GB"/>
              </a:p>
            </p:txBody>
          </p:sp>
          <p:sp>
            <p:nvSpPr>
              <p:cNvPr id="3240" name="Vrije vorm: vorm 3239">
                <a:extLst>
                  <a:ext uri="{FF2B5EF4-FFF2-40B4-BE49-F238E27FC236}">
                    <a16:creationId xmlns:a16="http://schemas.microsoft.com/office/drawing/2014/main" id="{ACFC6F49-6F91-41CB-A62F-C970F6A5972C}"/>
                  </a:ext>
                </a:extLst>
              </p:cNvPr>
              <p:cNvSpPr/>
              <p:nvPr/>
            </p:nvSpPr>
            <p:spPr>
              <a:xfrm>
                <a:off x="6477983" y="5312382"/>
                <a:ext cx="18350" cy="18445"/>
              </a:xfrm>
              <a:custGeom>
                <a:avLst/>
                <a:gdLst>
                  <a:gd name="connsiteX0" fmla="*/ 18117 w 18350"/>
                  <a:gd name="connsiteY0" fmla="*/ 7210 h 18445"/>
                  <a:gd name="connsiteX1" fmla="*/ 11239 w 18350"/>
                  <a:gd name="connsiteY1" fmla="*/ 18215 h 18445"/>
                  <a:gd name="connsiteX2" fmla="*/ 234 w 18350"/>
                  <a:gd name="connsiteY2" fmla="*/ 11217 h 18445"/>
                  <a:gd name="connsiteX3" fmla="*/ 7112 w 18350"/>
                  <a:gd name="connsiteY3" fmla="*/ 213 h 18445"/>
                  <a:gd name="connsiteX4" fmla="*/ 18117 w 18350"/>
                  <a:gd name="connsiteY4" fmla="*/ 721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45">
                    <a:moveTo>
                      <a:pt x="18117" y="7210"/>
                    </a:moveTo>
                    <a:cubicBezTo>
                      <a:pt x="19253" y="12174"/>
                      <a:pt x="16143" y="17079"/>
                      <a:pt x="11239" y="18215"/>
                    </a:cubicBezTo>
                    <a:cubicBezTo>
                      <a:pt x="6275" y="19351"/>
                      <a:pt x="1371" y="16181"/>
                      <a:pt x="234" y="11217"/>
                    </a:cubicBezTo>
                    <a:cubicBezTo>
                      <a:pt x="-902" y="6253"/>
                      <a:pt x="2208" y="1349"/>
                      <a:pt x="7112" y="213"/>
                    </a:cubicBezTo>
                    <a:cubicBezTo>
                      <a:pt x="12076" y="-864"/>
                      <a:pt x="17040" y="2246"/>
                      <a:pt x="18117" y="7210"/>
                    </a:cubicBezTo>
                    <a:close/>
                  </a:path>
                </a:pathLst>
              </a:custGeom>
              <a:grpFill/>
              <a:ln w="5978" cap="flat">
                <a:noFill/>
                <a:prstDash val="solid"/>
                <a:miter/>
              </a:ln>
            </p:spPr>
            <p:txBody>
              <a:bodyPr rtlCol="0" anchor="ctr"/>
              <a:lstStyle/>
              <a:p>
                <a:endParaRPr lang="en-GB"/>
              </a:p>
            </p:txBody>
          </p:sp>
          <p:sp>
            <p:nvSpPr>
              <p:cNvPr id="3241" name="Vrije vorm: vorm 3240">
                <a:extLst>
                  <a:ext uri="{FF2B5EF4-FFF2-40B4-BE49-F238E27FC236}">
                    <a16:creationId xmlns:a16="http://schemas.microsoft.com/office/drawing/2014/main" id="{3E1683AB-3799-4BF3-A625-D2B6D6954A1D}"/>
                  </a:ext>
                </a:extLst>
              </p:cNvPr>
              <p:cNvSpPr/>
              <p:nvPr/>
            </p:nvSpPr>
            <p:spPr>
              <a:xfrm>
                <a:off x="6419968" y="5056348"/>
                <a:ext cx="18294" cy="18427"/>
              </a:xfrm>
              <a:custGeom>
                <a:avLst/>
                <a:gdLst>
                  <a:gd name="connsiteX0" fmla="*/ 18060 w 18294"/>
                  <a:gd name="connsiteY0" fmla="*/ 7210 h 18427"/>
                  <a:gd name="connsiteX1" fmla="*/ 7115 w 18294"/>
                  <a:gd name="connsiteY1" fmla="*/ 213 h 18427"/>
                  <a:gd name="connsiteX2" fmla="*/ 237 w 18294"/>
                  <a:gd name="connsiteY2" fmla="*/ 11217 h 18427"/>
                  <a:gd name="connsiteX3" fmla="*/ 11182 w 18294"/>
                  <a:gd name="connsiteY3" fmla="*/ 18215 h 18427"/>
                  <a:gd name="connsiteX4" fmla="*/ 18060 w 18294"/>
                  <a:gd name="connsiteY4" fmla="*/ 7210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7">
                    <a:moveTo>
                      <a:pt x="18060" y="7210"/>
                    </a:moveTo>
                    <a:cubicBezTo>
                      <a:pt x="16923" y="2246"/>
                      <a:pt x="12019" y="-864"/>
                      <a:pt x="7115" y="213"/>
                    </a:cubicBezTo>
                    <a:cubicBezTo>
                      <a:pt x="2151" y="1349"/>
                      <a:pt x="-899" y="6253"/>
                      <a:pt x="237" y="11217"/>
                    </a:cubicBezTo>
                    <a:cubicBezTo>
                      <a:pt x="1373" y="16181"/>
                      <a:pt x="6278" y="19291"/>
                      <a:pt x="11182" y="18215"/>
                    </a:cubicBezTo>
                    <a:cubicBezTo>
                      <a:pt x="16086" y="17079"/>
                      <a:pt x="19196" y="12174"/>
                      <a:pt x="18060" y="7210"/>
                    </a:cubicBezTo>
                    <a:close/>
                  </a:path>
                </a:pathLst>
              </a:custGeom>
              <a:grpFill/>
              <a:ln w="5978" cap="flat">
                <a:noFill/>
                <a:prstDash val="solid"/>
                <a:miter/>
              </a:ln>
            </p:spPr>
            <p:txBody>
              <a:bodyPr rtlCol="0" anchor="ctr"/>
              <a:lstStyle/>
              <a:p>
                <a:endParaRPr lang="en-GB"/>
              </a:p>
            </p:txBody>
          </p:sp>
        </p:grpSp>
        <p:grpSp>
          <p:nvGrpSpPr>
            <p:cNvPr id="718" name="Graphic 3">
              <a:extLst>
                <a:ext uri="{FF2B5EF4-FFF2-40B4-BE49-F238E27FC236}">
                  <a16:creationId xmlns:a16="http://schemas.microsoft.com/office/drawing/2014/main" id="{9F05B92A-C132-4224-AB8A-7A16F13A9F06}"/>
                </a:ext>
              </a:extLst>
            </p:cNvPr>
            <p:cNvGrpSpPr/>
            <p:nvPr/>
          </p:nvGrpSpPr>
          <p:grpSpPr>
            <a:xfrm>
              <a:off x="6502655" y="5261137"/>
              <a:ext cx="104711" cy="368995"/>
              <a:chOff x="6502655" y="5261137"/>
              <a:chExt cx="104711" cy="368995"/>
            </a:xfrm>
            <a:grpFill/>
          </p:grpSpPr>
          <p:sp>
            <p:nvSpPr>
              <p:cNvPr id="3236" name="Vrije vorm: vorm 3235">
                <a:extLst>
                  <a:ext uri="{FF2B5EF4-FFF2-40B4-BE49-F238E27FC236}">
                    <a16:creationId xmlns:a16="http://schemas.microsoft.com/office/drawing/2014/main" id="{D5F6C728-1DB0-4CC1-B24E-007682D12AC1}"/>
                  </a:ext>
                </a:extLst>
              </p:cNvPr>
              <p:cNvSpPr/>
              <p:nvPr/>
            </p:nvSpPr>
            <p:spPr>
              <a:xfrm>
                <a:off x="6510648" y="5269581"/>
                <a:ext cx="89591" cy="352244"/>
              </a:xfrm>
              <a:custGeom>
                <a:avLst/>
                <a:gdLst>
                  <a:gd name="connsiteX0" fmla="*/ 0 w 89591"/>
                  <a:gd name="connsiteY0" fmla="*/ 730 h 352244"/>
                  <a:gd name="connsiteX1" fmla="*/ 2962 w 89591"/>
                  <a:gd name="connsiteY1" fmla="*/ 0 h 352244"/>
                  <a:gd name="connsiteX2" fmla="*/ 89592 w 89591"/>
                  <a:gd name="connsiteY2" fmla="*/ 351515 h 352244"/>
                  <a:gd name="connsiteX3" fmla="*/ 86630 w 89591"/>
                  <a:gd name="connsiteY3" fmla="*/ 352245 h 352244"/>
                </a:gdLst>
                <a:ahLst/>
                <a:cxnLst>
                  <a:cxn ang="0">
                    <a:pos x="connsiteX0" y="connsiteY0"/>
                  </a:cxn>
                  <a:cxn ang="0">
                    <a:pos x="connsiteX1" y="connsiteY1"/>
                  </a:cxn>
                  <a:cxn ang="0">
                    <a:pos x="connsiteX2" y="connsiteY2"/>
                  </a:cxn>
                  <a:cxn ang="0">
                    <a:pos x="connsiteX3" y="connsiteY3"/>
                  </a:cxn>
                </a:cxnLst>
                <a:rect l="l" t="t" r="r" b="b"/>
                <a:pathLst>
                  <a:path w="89591" h="352244">
                    <a:moveTo>
                      <a:pt x="0" y="730"/>
                    </a:moveTo>
                    <a:lnTo>
                      <a:pt x="2962" y="0"/>
                    </a:lnTo>
                    <a:lnTo>
                      <a:pt x="89592" y="351515"/>
                    </a:lnTo>
                    <a:lnTo>
                      <a:pt x="86630" y="352245"/>
                    </a:lnTo>
                    <a:close/>
                  </a:path>
                </a:pathLst>
              </a:custGeom>
              <a:grpFill/>
              <a:ln w="5978" cap="flat">
                <a:noFill/>
                <a:prstDash val="solid"/>
                <a:miter/>
              </a:ln>
            </p:spPr>
            <p:txBody>
              <a:bodyPr rtlCol="0" anchor="ctr"/>
              <a:lstStyle/>
              <a:p>
                <a:endParaRPr lang="en-GB"/>
              </a:p>
            </p:txBody>
          </p:sp>
          <p:sp>
            <p:nvSpPr>
              <p:cNvPr id="3237" name="Vrije vorm: vorm 3236">
                <a:extLst>
                  <a:ext uri="{FF2B5EF4-FFF2-40B4-BE49-F238E27FC236}">
                    <a16:creationId xmlns:a16="http://schemas.microsoft.com/office/drawing/2014/main" id="{F76EEA0C-7CE8-4C37-AC6F-B5EB1E53BA0B}"/>
                  </a:ext>
                </a:extLst>
              </p:cNvPr>
              <p:cNvSpPr/>
              <p:nvPr/>
            </p:nvSpPr>
            <p:spPr>
              <a:xfrm>
                <a:off x="6589016" y="5611727"/>
                <a:ext cx="18349" cy="18405"/>
              </a:xfrm>
              <a:custGeom>
                <a:avLst/>
                <a:gdLst>
                  <a:gd name="connsiteX0" fmla="*/ 18086 w 18349"/>
                  <a:gd name="connsiteY0" fmla="*/ 7021 h 18405"/>
                  <a:gd name="connsiteX1" fmla="*/ 11387 w 18349"/>
                  <a:gd name="connsiteY1" fmla="*/ 18145 h 18405"/>
                  <a:gd name="connsiteX2" fmla="*/ 263 w 18349"/>
                  <a:gd name="connsiteY2" fmla="*/ 11387 h 18405"/>
                  <a:gd name="connsiteX3" fmla="*/ 6962 w 18349"/>
                  <a:gd name="connsiteY3" fmla="*/ 263 h 18405"/>
                  <a:gd name="connsiteX4" fmla="*/ 18086 w 18349"/>
                  <a:gd name="connsiteY4" fmla="*/ 702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5">
                    <a:moveTo>
                      <a:pt x="18086" y="7021"/>
                    </a:moveTo>
                    <a:cubicBezTo>
                      <a:pt x="19282" y="11985"/>
                      <a:pt x="16292" y="16949"/>
                      <a:pt x="11387" y="18145"/>
                    </a:cubicBezTo>
                    <a:cubicBezTo>
                      <a:pt x="6484" y="19342"/>
                      <a:pt x="1519" y="16291"/>
                      <a:pt x="263" y="11387"/>
                    </a:cubicBezTo>
                    <a:cubicBezTo>
                      <a:pt x="-933" y="6423"/>
                      <a:pt x="2058" y="1459"/>
                      <a:pt x="6962" y="263"/>
                    </a:cubicBezTo>
                    <a:cubicBezTo>
                      <a:pt x="11926" y="-933"/>
                      <a:pt x="16890" y="2057"/>
                      <a:pt x="18086" y="7021"/>
                    </a:cubicBezTo>
                    <a:close/>
                  </a:path>
                </a:pathLst>
              </a:custGeom>
              <a:grpFill/>
              <a:ln w="5978" cap="flat">
                <a:noFill/>
                <a:prstDash val="solid"/>
                <a:miter/>
              </a:ln>
            </p:spPr>
            <p:txBody>
              <a:bodyPr rtlCol="0" anchor="ctr"/>
              <a:lstStyle/>
              <a:p>
                <a:endParaRPr lang="en-GB"/>
              </a:p>
            </p:txBody>
          </p:sp>
          <p:sp>
            <p:nvSpPr>
              <p:cNvPr id="3238" name="Vrije vorm: vorm 3237">
                <a:extLst>
                  <a:ext uri="{FF2B5EF4-FFF2-40B4-BE49-F238E27FC236}">
                    <a16:creationId xmlns:a16="http://schemas.microsoft.com/office/drawing/2014/main" id="{ABE959AF-DF1E-4402-A318-A3CCDFAC8908}"/>
                  </a:ext>
                </a:extLst>
              </p:cNvPr>
              <p:cNvSpPr/>
              <p:nvPr/>
            </p:nvSpPr>
            <p:spPr>
              <a:xfrm>
                <a:off x="6502655" y="5261137"/>
                <a:ext cx="18349" cy="18408"/>
              </a:xfrm>
              <a:custGeom>
                <a:avLst/>
                <a:gdLst>
                  <a:gd name="connsiteX0" fmla="*/ 18086 w 18349"/>
                  <a:gd name="connsiteY0" fmla="*/ 7021 h 18408"/>
                  <a:gd name="connsiteX1" fmla="*/ 6962 w 18349"/>
                  <a:gd name="connsiteY1" fmla="*/ 263 h 18408"/>
                  <a:gd name="connsiteX2" fmla="*/ 263 w 18349"/>
                  <a:gd name="connsiteY2" fmla="*/ 11387 h 18408"/>
                  <a:gd name="connsiteX3" fmla="*/ 11387 w 18349"/>
                  <a:gd name="connsiteY3" fmla="*/ 18145 h 18408"/>
                  <a:gd name="connsiteX4" fmla="*/ 18086 w 1834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8086" y="7021"/>
                    </a:moveTo>
                    <a:cubicBezTo>
                      <a:pt x="16890" y="2057"/>
                      <a:pt x="11926" y="-933"/>
                      <a:pt x="6962" y="263"/>
                    </a:cubicBezTo>
                    <a:cubicBezTo>
                      <a:pt x="2058" y="1459"/>
                      <a:pt x="-933" y="6423"/>
                      <a:pt x="263" y="11387"/>
                    </a:cubicBezTo>
                    <a:cubicBezTo>
                      <a:pt x="1460" y="16351"/>
                      <a:pt x="6424" y="19342"/>
                      <a:pt x="11387" y="18145"/>
                    </a:cubicBezTo>
                    <a:cubicBezTo>
                      <a:pt x="16292" y="16949"/>
                      <a:pt x="19282" y="11985"/>
                      <a:pt x="18086" y="7021"/>
                    </a:cubicBezTo>
                    <a:close/>
                  </a:path>
                </a:pathLst>
              </a:custGeom>
              <a:grpFill/>
              <a:ln w="5978" cap="flat">
                <a:noFill/>
                <a:prstDash val="solid"/>
                <a:miter/>
              </a:ln>
            </p:spPr>
            <p:txBody>
              <a:bodyPr rtlCol="0" anchor="ctr"/>
              <a:lstStyle/>
              <a:p>
                <a:endParaRPr lang="en-GB"/>
              </a:p>
            </p:txBody>
          </p:sp>
        </p:grpSp>
        <p:grpSp>
          <p:nvGrpSpPr>
            <p:cNvPr id="719" name="Graphic 3">
              <a:extLst>
                <a:ext uri="{FF2B5EF4-FFF2-40B4-BE49-F238E27FC236}">
                  <a16:creationId xmlns:a16="http://schemas.microsoft.com/office/drawing/2014/main" id="{130572DA-F163-4C9C-B343-FD4FAB95CC8C}"/>
                </a:ext>
              </a:extLst>
            </p:cNvPr>
            <p:cNvGrpSpPr/>
            <p:nvPr/>
          </p:nvGrpSpPr>
          <p:grpSpPr>
            <a:xfrm>
              <a:off x="5188499" y="1475186"/>
              <a:ext cx="94028" cy="189168"/>
              <a:chOff x="5188499" y="1475186"/>
              <a:chExt cx="94028" cy="189168"/>
            </a:xfrm>
            <a:grpFill/>
          </p:grpSpPr>
          <p:sp>
            <p:nvSpPr>
              <p:cNvPr id="3233" name="Vrije vorm: vorm 3232">
                <a:extLst>
                  <a:ext uri="{FF2B5EF4-FFF2-40B4-BE49-F238E27FC236}">
                    <a16:creationId xmlns:a16="http://schemas.microsoft.com/office/drawing/2014/main" id="{BCE125B2-8317-4EF2-A8CE-9494971B7024}"/>
                  </a:ext>
                </a:extLst>
              </p:cNvPr>
              <p:cNvSpPr/>
              <p:nvPr/>
            </p:nvSpPr>
            <p:spPr>
              <a:xfrm>
                <a:off x="5196130" y="1483379"/>
                <a:ext cx="78885" cy="172783"/>
              </a:xfrm>
              <a:custGeom>
                <a:avLst/>
                <a:gdLst>
                  <a:gd name="connsiteX0" fmla="*/ 78886 w 78885"/>
                  <a:gd name="connsiteY0" fmla="*/ 171587 h 172783"/>
                  <a:gd name="connsiteX1" fmla="*/ 76075 w 78885"/>
                  <a:gd name="connsiteY1" fmla="*/ 172783 h 172783"/>
                  <a:gd name="connsiteX2" fmla="*/ 0 w 78885"/>
                  <a:gd name="connsiteY2" fmla="*/ 1196 h 172783"/>
                  <a:gd name="connsiteX3" fmla="*/ 2751 w 78885"/>
                  <a:gd name="connsiteY3" fmla="*/ 0 h 172783"/>
                </a:gdLst>
                <a:ahLst/>
                <a:cxnLst>
                  <a:cxn ang="0">
                    <a:pos x="connsiteX0" y="connsiteY0"/>
                  </a:cxn>
                  <a:cxn ang="0">
                    <a:pos x="connsiteX1" y="connsiteY1"/>
                  </a:cxn>
                  <a:cxn ang="0">
                    <a:pos x="connsiteX2" y="connsiteY2"/>
                  </a:cxn>
                  <a:cxn ang="0">
                    <a:pos x="connsiteX3" y="connsiteY3"/>
                  </a:cxn>
                </a:cxnLst>
                <a:rect l="l" t="t" r="r" b="b"/>
                <a:pathLst>
                  <a:path w="78885" h="172783">
                    <a:moveTo>
                      <a:pt x="78886" y="171587"/>
                    </a:moveTo>
                    <a:lnTo>
                      <a:pt x="76075" y="172783"/>
                    </a:lnTo>
                    <a:lnTo>
                      <a:pt x="0" y="1196"/>
                    </a:lnTo>
                    <a:lnTo>
                      <a:pt x="2751" y="0"/>
                    </a:lnTo>
                    <a:close/>
                  </a:path>
                </a:pathLst>
              </a:custGeom>
              <a:grpFill/>
              <a:ln w="5978" cap="flat">
                <a:noFill/>
                <a:prstDash val="solid"/>
                <a:miter/>
              </a:ln>
            </p:spPr>
            <p:txBody>
              <a:bodyPr rtlCol="0" anchor="ctr"/>
              <a:lstStyle/>
              <a:p>
                <a:endParaRPr lang="en-GB"/>
              </a:p>
            </p:txBody>
          </p:sp>
          <p:sp>
            <p:nvSpPr>
              <p:cNvPr id="3234" name="Vrije vorm: vorm 3233">
                <a:extLst>
                  <a:ext uri="{FF2B5EF4-FFF2-40B4-BE49-F238E27FC236}">
                    <a16:creationId xmlns:a16="http://schemas.microsoft.com/office/drawing/2014/main" id="{20A3E01C-87B5-4FCA-BF7A-B51241556CB2}"/>
                  </a:ext>
                </a:extLst>
              </p:cNvPr>
              <p:cNvSpPr/>
              <p:nvPr/>
            </p:nvSpPr>
            <p:spPr>
              <a:xfrm>
                <a:off x="5188499" y="1475186"/>
                <a:ext cx="18287" cy="18418"/>
              </a:xfrm>
              <a:custGeom>
                <a:avLst/>
                <a:gdLst>
                  <a:gd name="connsiteX0" fmla="*/ 813 w 18287"/>
                  <a:gd name="connsiteY0" fmla="*/ 12917 h 18418"/>
                  <a:gd name="connsiteX1" fmla="*/ 5419 w 18287"/>
                  <a:gd name="connsiteY1" fmla="*/ 777 h 18418"/>
                  <a:gd name="connsiteX2" fmla="*/ 17500 w 18287"/>
                  <a:gd name="connsiteY2" fmla="*/ 5501 h 18418"/>
                  <a:gd name="connsiteX3" fmla="*/ 12894 w 18287"/>
                  <a:gd name="connsiteY3" fmla="*/ 17642 h 18418"/>
                  <a:gd name="connsiteX4" fmla="*/ 813 w 18287"/>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8">
                    <a:moveTo>
                      <a:pt x="813" y="12917"/>
                    </a:moveTo>
                    <a:cubicBezTo>
                      <a:pt x="-1280" y="8252"/>
                      <a:pt x="813" y="2810"/>
                      <a:pt x="5419" y="777"/>
                    </a:cubicBezTo>
                    <a:cubicBezTo>
                      <a:pt x="10024" y="-1257"/>
                      <a:pt x="15466" y="836"/>
                      <a:pt x="17500" y="5501"/>
                    </a:cubicBezTo>
                    <a:cubicBezTo>
                      <a:pt x="19533" y="10166"/>
                      <a:pt x="17500" y="15609"/>
                      <a:pt x="12894" y="17642"/>
                    </a:cubicBezTo>
                    <a:cubicBezTo>
                      <a:pt x="8289" y="19676"/>
                      <a:pt x="2847" y="17582"/>
                      <a:pt x="813" y="12917"/>
                    </a:cubicBezTo>
                    <a:close/>
                  </a:path>
                </a:pathLst>
              </a:custGeom>
              <a:grpFill/>
              <a:ln w="5978" cap="flat">
                <a:noFill/>
                <a:prstDash val="solid"/>
                <a:miter/>
              </a:ln>
            </p:spPr>
            <p:txBody>
              <a:bodyPr rtlCol="0" anchor="ctr"/>
              <a:lstStyle/>
              <a:p>
                <a:endParaRPr lang="en-GB"/>
              </a:p>
            </p:txBody>
          </p:sp>
          <p:sp>
            <p:nvSpPr>
              <p:cNvPr id="3235" name="Vrije vorm: vorm 3234">
                <a:extLst>
                  <a:ext uri="{FF2B5EF4-FFF2-40B4-BE49-F238E27FC236}">
                    <a16:creationId xmlns:a16="http://schemas.microsoft.com/office/drawing/2014/main" id="{84BF90D0-B2ED-4C9A-A3DC-EDD02E7B648F}"/>
                  </a:ext>
                </a:extLst>
              </p:cNvPr>
              <p:cNvSpPr/>
              <p:nvPr/>
            </p:nvSpPr>
            <p:spPr>
              <a:xfrm>
                <a:off x="5264250" y="1645936"/>
                <a:ext cx="18278" cy="18418"/>
              </a:xfrm>
              <a:custGeom>
                <a:avLst/>
                <a:gdLst>
                  <a:gd name="connsiteX0" fmla="*/ 779 w 18278"/>
                  <a:gd name="connsiteY0" fmla="*/ 12917 h 18418"/>
                  <a:gd name="connsiteX1" fmla="*/ 12860 w 18278"/>
                  <a:gd name="connsiteY1" fmla="*/ 17642 h 18418"/>
                  <a:gd name="connsiteX2" fmla="*/ 17465 w 18278"/>
                  <a:gd name="connsiteY2" fmla="*/ 5501 h 18418"/>
                  <a:gd name="connsiteX3" fmla="*/ 5384 w 18278"/>
                  <a:gd name="connsiteY3" fmla="*/ 777 h 18418"/>
                  <a:gd name="connsiteX4" fmla="*/ 779 w 1827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8" h="18418">
                    <a:moveTo>
                      <a:pt x="779" y="12917"/>
                    </a:moveTo>
                    <a:cubicBezTo>
                      <a:pt x="2872" y="17582"/>
                      <a:pt x="8255" y="19676"/>
                      <a:pt x="12860" y="17642"/>
                    </a:cubicBezTo>
                    <a:cubicBezTo>
                      <a:pt x="17465" y="15609"/>
                      <a:pt x="19558" y="10166"/>
                      <a:pt x="17465" y="5501"/>
                    </a:cubicBezTo>
                    <a:cubicBezTo>
                      <a:pt x="15432" y="836"/>
                      <a:pt x="9989" y="-1257"/>
                      <a:pt x="5384" y="777"/>
                    </a:cubicBezTo>
                    <a:cubicBezTo>
                      <a:pt x="839" y="2810"/>
                      <a:pt x="-1255" y="8252"/>
                      <a:pt x="779" y="12917"/>
                    </a:cubicBezTo>
                    <a:close/>
                  </a:path>
                </a:pathLst>
              </a:custGeom>
              <a:grpFill/>
              <a:ln w="5978" cap="flat">
                <a:noFill/>
                <a:prstDash val="solid"/>
                <a:miter/>
              </a:ln>
            </p:spPr>
            <p:txBody>
              <a:bodyPr rtlCol="0" anchor="ctr"/>
              <a:lstStyle/>
              <a:p>
                <a:endParaRPr lang="en-GB"/>
              </a:p>
            </p:txBody>
          </p:sp>
        </p:grpSp>
        <p:grpSp>
          <p:nvGrpSpPr>
            <p:cNvPr id="720" name="Graphic 3">
              <a:extLst>
                <a:ext uri="{FF2B5EF4-FFF2-40B4-BE49-F238E27FC236}">
                  <a16:creationId xmlns:a16="http://schemas.microsoft.com/office/drawing/2014/main" id="{B5783E61-11BE-46CA-9B8F-8CEC4E037744}"/>
                </a:ext>
              </a:extLst>
            </p:cNvPr>
            <p:cNvGrpSpPr/>
            <p:nvPr/>
          </p:nvGrpSpPr>
          <p:grpSpPr>
            <a:xfrm>
              <a:off x="5188559" y="1475186"/>
              <a:ext cx="81768" cy="161537"/>
              <a:chOff x="5188559" y="1475186"/>
              <a:chExt cx="81768" cy="161537"/>
            </a:xfrm>
            <a:grpFill/>
          </p:grpSpPr>
          <p:sp>
            <p:nvSpPr>
              <p:cNvPr id="3230" name="Vrije vorm: vorm 3229">
                <a:extLst>
                  <a:ext uri="{FF2B5EF4-FFF2-40B4-BE49-F238E27FC236}">
                    <a16:creationId xmlns:a16="http://schemas.microsoft.com/office/drawing/2014/main" id="{AAF8231E-08A4-4268-AFF9-A2DFB7778938}"/>
                  </a:ext>
                </a:extLst>
              </p:cNvPr>
              <p:cNvSpPr/>
              <p:nvPr/>
            </p:nvSpPr>
            <p:spPr>
              <a:xfrm>
                <a:off x="5196130" y="1483379"/>
                <a:ext cx="66625" cy="145152"/>
              </a:xfrm>
              <a:custGeom>
                <a:avLst/>
                <a:gdLst>
                  <a:gd name="connsiteX0" fmla="*/ 66625 w 66625"/>
                  <a:gd name="connsiteY0" fmla="*/ 143956 h 145152"/>
                  <a:gd name="connsiteX1" fmla="*/ 63815 w 66625"/>
                  <a:gd name="connsiteY1" fmla="*/ 145152 h 145152"/>
                  <a:gd name="connsiteX2" fmla="*/ 0 w 66625"/>
                  <a:gd name="connsiteY2" fmla="*/ 1196 h 145152"/>
                  <a:gd name="connsiteX3" fmla="*/ 2751 w 66625"/>
                  <a:gd name="connsiteY3" fmla="*/ 0 h 145152"/>
                </a:gdLst>
                <a:ahLst/>
                <a:cxnLst>
                  <a:cxn ang="0">
                    <a:pos x="connsiteX0" y="connsiteY0"/>
                  </a:cxn>
                  <a:cxn ang="0">
                    <a:pos x="connsiteX1" y="connsiteY1"/>
                  </a:cxn>
                  <a:cxn ang="0">
                    <a:pos x="connsiteX2" y="connsiteY2"/>
                  </a:cxn>
                  <a:cxn ang="0">
                    <a:pos x="connsiteX3" y="connsiteY3"/>
                  </a:cxn>
                </a:cxnLst>
                <a:rect l="l" t="t" r="r" b="b"/>
                <a:pathLst>
                  <a:path w="66625" h="145152">
                    <a:moveTo>
                      <a:pt x="66625" y="143956"/>
                    </a:moveTo>
                    <a:lnTo>
                      <a:pt x="63815" y="145152"/>
                    </a:lnTo>
                    <a:lnTo>
                      <a:pt x="0" y="1196"/>
                    </a:lnTo>
                    <a:lnTo>
                      <a:pt x="2751" y="0"/>
                    </a:lnTo>
                    <a:close/>
                  </a:path>
                </a:pathLst>
              </a:custGeom>
              <a:grpFill/>
              <a:ln w="5978" cap="flat">
                <a:noFill/>
                <a:prstDash val="solid"/>
                <a:miter/>
              </a:ln>
            </p:spPr>
            <p:txBody>
              <a:bodyPr rtlCol="0" anchor="ctr"/>
              <a:lstStyle/>
              <a:p>
                <a:endParaRPr lang="en-GB"/>
              </a:p>
            </p:txBody>
          </p:sp>
          <p:sp>
            <p:nvSpPr>
              <p:cNvPr id="3231" name="Vrije vorm: vorm 3230">
                <a:extLst>
                  <a:ext uri="{FF2B5EF4-FFF2-40B4-BE49-F238E27FC236}">
                    <a16:creationId xmlns:a16="http://schemas.microsoft.com/office/drawing/2014/main" id="{B9590058-0C4F-48DF-A4F3-17D550AFBFE2}"/>
                  </a:ext>
                </a:extLst>
              </p:cNvPr>
              <p:cNvSpPr/>
              <p:nvPr/>
            </p:nvSpPr>
            <p:spPr>
              <a:xfrm>
                <a:off x="5252014" y="1618305"/>
                <a:ext cx="18312" cy="18418"/>
              </a:xfrm>
              <a:custGeom>
                <a:avLst/>
                <a:gdLst>
                  <a:gd name="connsiteX0" fmla="*/ 17500 w 18312"/>
                  <a:gd name="connsiteY0" fmla="*/ 5501 h 18418"/>
                  <a:gd name="connsiteX1" fmla="*/ 12894 w 18312"/>
                  <a:gd name="connsiteY1" fmla="*/ 17642 h 18418"/>
                  <a:gd name="connsiteX2" fmla="*/ 813 w 18312"/>
                  <a:gd name="connsiteY2" fmla="*/ 12917 h 18418"/>
                  <a:gd name="connsiteX3" fmla="*/ 5418 w 18312"/>
                  <a:gd name="connsiteY3" fmla="*/ 777 h 18418"/>
                  <a:gd name="connsiteX4" fmla="*/ 17500 w 18312"/>
                  <a:gd name="connsiteY4" fmla="*/ 550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18">
                    <a:moveTo>
                      <a:pt x="17500" y="5501"/>
                    </a:moveTo>
                    <a:cubicBezTo>
                      <a:pt x="19593" y="10166"/>
                      <a:pt x="17500" y="15609"/>
                      <a:pt x="12894" y="17642"/>
                    </a:cubicBezTo>
                    <a:cubicBezTo>
                      <a:pt x="8289" y="19676"/>
                      <a:pt x="2847" y="17582"/>
                      <a:pt x="813" y="12917"/>
                    </a:cubicBezTo>
                    <a:cubicBezTo>
                      <a:pt x="-1280" y="8252"/>
                      <a:pt x="813" y="2810"/>
                      <a:pt x="5418" y="777"/>
                    </a:cubicBezTo>
                    <a:cubicBezTo>
                      <a:pt x="10024" y="-1257"/>
                      <a:pt x="15466" y="836"/>
                      <a:pt x="17500" y="5501"/>
                    </a:cubicBezTo>
                    <a:close/>
                  </a:path>
                </a:pathLst>
              </a:custGeom>
              <a:grpFill/>
              <a:ln w="5978" cap="flat">
                <a:noFill/>
                <a:prstDash val="solid"/>
                <a:miter/>
              </a:ln>
            </p:spPr>
            <p:txBody>
              <a:bodyPr rtlCol="0" anchor="ctr"/>
              <a:lstStyle/>
              <a:p>
                <a:endParaRPr lang="en-GB"/>
              </a:p>
            </p:txBody>
          </p:sp>
          <p:sp>
            <p:nvSpPr>
              <p:cNvPr id="3232" name="Vrije vorm: vorm 3231">
                <a:extLst>
                  <a:ext uri="{FF2B5EF4-FFF2-40B4-BE49-F238E27FC236}">
                    <a16:creationId xmlns:a16="http://schemas.microsoft.com/office/drawing/2014/main" id="{BAD7CB92-E8D0-4EC8-9DD0-8049A131C360}"/>
                  </a:ext>
                </a:extLst>
              </p:cNvPr>
              <p:cNvSpPr/>
              <p:nvPr/>
            </p:nvSpPr>
            <p:spPr>
              <a:xfrm>
                <a:off x="5188559" y="1475186"/>
                <a:ext cx="18287" cy="18418"/>
              </a:xfrm>
              <a:custGeom>
                <a:avLst/>
                <a:gdLst>
                  <a:gd name="connsiteX0" fmla="*/ 17500 w 18287"/>
                  <a:gd name="connsiteY0" fmla="*/ 5501 h 18418"/>
                  <a:gd name="connsiteX1" fmla="*/ 5419 w 18287"/>
                  <a:gd name="connsiteY1" fmla="*/ 777 h 18418"/>
                  <a:gd name="connsiteX2" fmla="*/ 813 w 18287"/>
                  <a:gd name="connsiteY2" fmla="*/ 12917 h 18418"/>
                  <a:gd name="connsiteX3" fmla="*/ 12894 w 18287"/>
                  <a:gd name="connsiteY3" fmla="*/ 17642 h 18418"/>
                  <a:gd name="connsiteX4" fmla="*/ 17500 w 18287"/>
                  <a:gd name="connsiteY4" fmla="*/ 550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8">
                    <a:moveTo>
                      <a:pt x="17500" y="5501"/>
                    </a:moveTo>
                    <a:cubicBezTo>
                      <a:pt x="15406" y="836"/>
                      <a:pt x="10024" y="-1257"/>
                      <a:pt x="5419" y="777"/>
                    </a:cubicBezTo>
                    <a:cubicBezTo>
                      <a:pt x="813" y="2810"/>
                      <a:pt x="-1280" y="8252"/>
                      <a:pt x="813" y="12917"/>
                    </a:cubicBezTo>
                    <a:cubicBezTo>
                      <a:pt x="2847" y="17582"/>
                      <a:pt x="8289" y="19676"/>
                      <a:pt x="12894" y="17642"/>
                    </a:cubicBezTo>
                    <a:cubicBezTo>
                      <a:pt x="17500" y="15609"/>
                      <a:pt x="19533" y="10166"/>
                      <a:pt x="17500" y="5501"/>
                    </a:cubicBezTo>
                    <a:close/>
                  </a:path>
                </a:pathLst>
              </a:custGeom>
              <a:grpFill/>
              <a:ln w="5978" cap="flat">
                <a:noFill/>
                <a:prstDash val="solid"/>
                <a:miter/>
              </a:ln>
            </p:spPr>
            <p:txBody>
              <a:bodyPr rtlCol="0" anchor="ctr"/>
              <a:lstStyle/>
              <a:p>
                <a:endParaRPr lang="en-GB"/>
              </a:p>
            </p:txBody>
          </p:sp>
        </p:grpSp>
        <p:grpSp>
          <p:nvGrpSpPr>
            <p:cNvPr id="721" name="Graphic 3">
              <a:extLst>
                <a:ext uri="{FF2B5EF4-FFF2-40B4-BE49-F238E27FC236}">
                  <a16:creationId xmlns:a16="http://schemas.microsoft.com/office/drawing/2014/main" id="{9794B428-7863-4166-BF68-24080AC3B6DA}"/>
                </a:ext>
              </a:extLst>
            </p:cNvPr>
            <p:cNvGrpSpPr/>
            <p:nvPr/>
          </p:nvGrpSpPr>
          <p:grpSpPr>
            <a:xfrm>
              <a:off x="5205546" y="1604406"/>
              <a:ext cx="141870" cy="283472"/>
              <a:chOff x="5205546" y="1604406"/>
              <a:chExt cx="141870" cy="283472"/>
            </a:xfrm>
            <a:grpFill/>
          </p:grpSpPr>
          <p:sp>
            <p:nvSpPr>
              <p:cNvPr id="3227" name="Vrije vorm: vorm 3226">
                <a:extLst>
                  <a:ext uri="{FF2B5EF4-FFF2-40B4-BE49-F238E27FC236}">
                    <a16:creationId xmlns:a16="http://schemas.microsoft.com/office/drawing/2014/main" id="{313024F2-48DE-42B5-AE8D-7ACF5DE37E0D}"/>
                  </a:ext>
                </a:extLst>
              </p:cNvPr>
              <p:cNvSpPr/>
              <p:nvPr/>
            </p:nvSpPr>
            <p:spPr>
              <a:xfrm>
                <a:off x="5213116" y="1612562"/>
                <a:ext cx="126671" cy="267158"/>
              </a:xfrm>
              <a:custGeom>
                <a:avLst/>
                <a:gdLst>
                  <a:gd name="connsiteX0" fmla="*/ 126672 w 126671"/>
                  <a:gd name="connsiteY0" fmla="*/ 265843 h 267158"/>
                  <a:gd name="connsiteX1" fmla="*/ 123920 w 126671"/>
                  <a:gd name="connsiteY1" fmla="*/ 267159 h 267158"/>
                  <a:gd name="connsiteX2" fmla="*/ 0 w 126671"/>
                  <a:gd name="connsiteY2" fmla="*/ 1316 h 267158"/>
                  <a:gd name="connsiteX3" fmla="*/ 2751 w 126671"/>
                  <a:gd name="connsiteY3" fmla="*/ 0 h 267158"/>
                </a:gdLst>
                <a:ahLst/>
                <a:cxnLst>
                  <a:cxn ang="0">
                    <a:pos x="connsiteX0" y="connsiteY0"/>
                  </a:cxn>
                  <a:cxn ang="0">
                    <a:pos x="connsiteX1" y="connsiteY1"/>
                  </a:cxn>
                  <a:cxn ang="0">
                    <a:pos x="connsiteX2" y="connsiteY2"/>
                  </a:cxn>
                  <a:cxn ang="0">
                    <a:pos x="connsiteX3" y="connsiteY3"/>
                  </a:cxn>
                </a:cxnLst>
                <a:rect l="l" t="t" r="r" b="b"/>
                <a:pathLst>
                  <a:path w="126671" h="267158">
                    <a:moveTo>
                      <a:pt x="126672" y="265843"/>
                    </a:moveTo>
                    <a:lnTo>
                      <a:pt x="123920" y="267159"/>
                    </a:lnTo>
                    <a:lnTo>
                      <a:pt x="0" y="1316"/>
                    </a:lnTo>
                    <a:lnTo>
                      <a:pt x="2751" y="0"/>
                    </a:lnTo>
                    <a:close/>
                  </a:path>
                </a:pathLst>
              </a:custGeom>
              <a:grpFill/>
              <a:ln w="5978" cap="flat">
                <a:noFill/>
                <a:prstDash val="solid"/>
                <a:miter/>
              </a:ln>
            </p:spPr>
            <p:txBody>
              <a:bodyPr rtlCol="0" anchor="ctr"/>
              <a:lstStyle/>
              <a:p>
                <a:endParaRPr lang="en-GB"/>
              </a:p>
            </p:txBody>
          </p:sp>
          <p:sp>
            <p:nvSpPr>
              <p:cNvPr id="3228" name="Vrije vorm: vorm 3227">
                <a:extLst>
                  <a:ext uri="{FF2B5EF4-FFF2-40B4-BE49-F238E27FC236}">
                    <a16:creationId xmlns:a16="http://schemas.microsoft.com/office/drawing/2014/main" id="{43D089FD-EA21-4E48-8BEB-FC86076963AA}"/>
                  </a:ext>
                </a:extLst>
              </p:cNvPr>
              <p:cNvSpPr/>
              <p:nvPr/>
            </p:nvSpPr>
            <p:spPr>
              <a:xfrm>
                <a:off x="5205546" y="1604406"/>
                <a:ext cx="18368" cy="18466"/>
              </a:xfrm>
              <a:custGeom>
                <a:avLst/>
                <a:gdLst>
                  <a:gd name="connsiteX0" fmla="*/ 871 w 18368"/>
                  <a:gd name="connsiteY0" fmla="*/ 13121 h 18466"/>
                  <a:gd name="connsiteX1" fmla="*/ 5297 w 18368"/>
                  <a:gd name="connsiteY1" fmla="*/ 860 h 18466"/>
                  <a:gd name="connsiteX2" fmla="*/ 17497 w 18368"/>
                  <a:gd name="connsiteY2" fmla="*/ 5346 h 18466"/>
                  <a:gd name="connsiteX3" fmla="*/ 13072 w 18368"/>
                  <a:gd name="connsiteY3" fmla="*/ 17606 h 18466"/>
                  <a:gd name="connsiteX4" fmla="*/ 871 w 18368"/>
                  <a:gd name="connsiteY4" fmla="*/ 13121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871" y="13121"/>
                    </a:moveTo>
                    <a:cubicBezTo>
                      <a:pt x="-1282" y="8516"/>
                      <a:pt x="692" y="3013"/>
                      <a:pt x="5297" y="860"/>
                    </a:cubicBezTo>
                    <a:cubicBezTo>
                      <a:pt x="9902" y="-1293"/>
                      <a:pt x="15345" y="741"/>
                      <a:pt x="17497" y="5346"/>
                    </a:cubicBezTo>
                    <a:cubicBezTo>
                      <a:pt x="19650" y="9951"/>
                      <a:pt x="17677" y="15453"/>
                      <a:pt x="13072" y="17606"/>
                    </a:cubicBezTo>
                    <a:cubicBezTo>
                      <a:pt x="8467" y="19759"/>
                      <a:pt x="2964" y="17726"/>
                      <a:pt x="871" y="13121"/>
                    </a:cubicBezTo>
                    <a:close/>
                  </a:path>
                </a:pathLst>
              </a:custGeom>
              <a:grpFill/>
              <a:ln w="5978" cap="flat">
                <a:noFill/>
                <a:prstDash val="solid"/>
                <a:miter/>
              </a:ln>
            </p:spPr>
            <p:txBody>
              <a:bodyPr rtlCol="0" anchor="ctr"/>
              <a:lstStyle/>
              <a:p>
                <a:endParaRPr lang="en-GB"/>
              </a:p>
            </p:txBody>
          </p:sp>
          <p:sp>
            <p:nvSpPr>
              <p:cNvPr id="3229" name="Vrije vorm: vorm 3228">
                <a:extLst>
                  <a:ext uri="{FF2B5EF4-FFF2-40B4-BE49-F238E27FC236}">
                    <a16:creationId xmlns:a16="http://schemas.microsoft.com/office/drawing/2014/main" id="{7C387711-5BE0-4726-99FC-DD736BA29ECA}"/>
                  </a:ext>
                </a:extLst>
              </p:cNvPr>
              <p:cNvSpPr/>
              <p:nvPr/>
            </p:nvSpPr>
            <p:spPr>
              <a:xfrm>
                <a:off x="5329048" y="1869411"/>
                <a:ext cx="18368" cy="18466"/>
              </a:xfrm>
              <a:custGeom>
                <a:avLst/>
                <a:gdLst>
                  <a:gd name="connsiteX0" fmla="*/ 871 w 18368"/>
                  <a:gd name="connsiteY0" fmla="*/ 13121 h 18466"/>
                  <a:gd name="connsiteX1" fmla="*/ 13072 w 18368"/>
                  <a:gd name="connsiteY1" fmla="*/ 17606 h 18466"/>
                  <a:gd name="connsiteX2" fmla="*/ 17498 w 18368"/>
                  <a:gd name="connsiteY2" fmla="*/ 5346 h 18466"/>
                  <a:gd name="connsiteX3" fmla="*/ 5297 w 18368"/>
                  <a:gd name="connsiteY3" fmla="*/ 860 h 18466"/>
                  <a:gd name="connsiteX4" fmla="*/ 871 w 18368"/>
                  <a:gd name="connsiteY4" fmla="*/ 13121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871" y="13121"/>
                    </a:moveTo>
                    <a:cubicBezTo>
                      <a:pt x="3024" y="17726"/>
                      <a:pt x="8467" y="19759"/>
                      <a:pt x="13072" y="17606"/>
                    </a:cubicBezTo>
                    <a:cubicBezTo>
                      <a:pt x="17677" y="15453"/>
                      <a:pt x="19651" y="10011"/>
                      <a:pt x="17498" y="5346"/>
                    </a:cubicBezTo>
                    <a:cubicBezTo>
                      <a:pt x="15345" y="741"/>
                      <a:pt x="9902" y="-1293"/>
                      <a:pt x="5297" y="860"/>
                    </a:cubicBezTo>
                    <a:cubicBezTo>
                      <a:pt x="692" y="3013"/>
                      <a:pt x="-1282" y="8516"/>
                      <a:pt x="871" y="13121"/>
                    </a:cubicBezTo>
                    <a:close/>
                  </a:path>
                </a:pathLst>
              </a:custGeom>
              <a:grpFill/>
              <a:ln w="5978" cap="flat">
                <a:noFill/>
                <a:prstDash val="solid"/>
                <a:miter/>
              </a:ln>
            </p:spPr>
            <p:txBody>
              <a:bodyPr rtlCol="0" anchor="ctr"/>
              <a:lstStyle/>
              <a:p>
                <a:endParaRPr lang="en-GB"/>
              </a:p>
            </p:txBody>
          </p:sp>
        </p:grpSp>
        <p:grpSp>
          <p:nvGrpSpPr>
            <p:cNvPr id="722" name="Graphic 3">
              <a:extLst>
                <a:ext uri="{FF2B5EF4-FFF2-40B4-BE49-F238E27FC236}">
                  <a16:creationId xmlns:a16="http://schemas.microsoft.com/office/drawing/2014/main" id="{3B2D0D91-0645-43A0-B71F-879BC34B04AB}"/>
                </a:ext>
              </a:extLst>
            </p:cNvPr>
            <p:cNvGrpSpPr/>
            <p:nvPr/>
          </p:nvGrpSpPr>
          <p:grpSpPr>
            <a:xfrm>
              <a:off x="6447967" y="5041204"/>
              <a:ext cx="188309" cy="905333"/>
              <a:chOff x="6447967" y="5041204"/>
              <a:chExt cx="188309" cy="905333"/>
            </a:xfrm>
            <a:grpFill/>
          </p:grpSpPr>
          <p:sp>
            <p:nvSpPr>
              <p:cNvPr id="3224" name="Vrije vorm: vorm 3223">
                <a:extLst>
                  <a:ext uri="{FF2B5EF4-FFF2-40B4-BE49-F238E27FC236}">
                    <a16:creationId xmlns:a16="http://schemas.microsoft.com/office/drawing/2014/main" id="{4776FE2C-D764-43A3-8315-F38BF69EA3A1}"/>
                  </a:ext>
                </a:extLst>
              </p:cNvPr>
              <p:cNvSpPr/>
              <p:nvPr/>
            </p:nvSpPr>
            <p:spPr>
              <a:xfrm>
                <a:off x="6455551" y="5049683"/>
                <a:ext cx="173201" cy="888376"/>
              </a:xfrm>
              <a:custGeom>
                <a:avLst/>
                <a:gdLst>
                  <a:gd name="connsiteX0" fmla="*/ 2990 w 173201"/>
                  <a:gd name="connsiteY0" fmla="*/ 0 h 888376"/>
                  <a:gd name="connsiteX1" fmla="*/ 173202 w 173201"/>
                  <a:gd name="connsiteY1" fmla="*/ 887778 h 888376"/>
                  <a:gd name="connsiteX2" fmla="*/ 170211 w 173201"/>
                  <a:gd name="connsiteY2" fmla="*/ 888376 h 888376"/>
                  <a:gd name="connsiteX3" fmla="*/ 0 w 173201"/>
                  <a:gd name="connsiteY3" fmla="*/ 538 h 888376"/>
                </a:gdLst>
                <a:ahLst/>
                <a:cxnLst>
                  <a:cxn ang="0">
                    <a:pos x="connsiteX0" y="connsiteY0"/>
                  </a:cxn>
                  <a:cxn ang="0">
                    <a:pos x="connsiteX1" y="connsiteY1"/>
                  </a:cxn>
                  <a:cxn ang="0">
                    <a:pos x="connsiteX2" y="connsiteY2"/>
                  </a:cxn>
                  <a:cxn ang="0">
                    <a:pos x="connsiteX3" y="connsiteY3"/>
                  </a:cxn>
                </a:cxnLst>
                <a:rect l="l" t="t" r="r" b="b"/>
                <a:pathLst>
                  <a:path w="173201" h="888376">
                    <a:moveTo>
                      <a:pt x="2990" y="0"/>
                    </a:moveTo>
                    <a:lnTo>
                      <a:pt x="173202" y="887778"/>
                    </a:lnTo>
                    <a:lnTo>
                      <a:pt x="170211" y="888376"/>
                    </a:lnTo>
                    <a:lnTo>
                      <a:pt x="0" y="538"/>
                    </a:lnTo>
                    <a:close/>
                  </a:path>
                </a:pathLst>
              </a:custGeom>
              <a:grpFill/>
              <a:ln w="5978" cap="flat">
                <a:noFill/>
                <a:prstDash val="solid"/>
                <a:miter/>
              </a:ln>
            </p:spPr>
            <p:txBody>
              <a:bodyPr rtlCol="0" anchor="ctr"/>
              <a:lstStyle/>
              <a:p>
                <a:endParaRPr lang="en-GB"/>
              </a:p>
            </p:txBody>
          </p:sp>
          <p:sp>
            <p:nvSpPr>
              <p:cNvPr id="3225" name="Vrije vorm: vorm 3224">
                <a:extLst>
                  <a:ext uri="{FF2B5EF4-FFF2-40B4-BE49-F238E27FC236}">
                    <a16:creationId xmlns:a16="http://schemas.microsoft.com/office/drawing/2014/main" id="{1202D0D0-EF49-42A1-9A6F-3E7FE997131F}"/>
                  </a:ext>
                </a:extLst>
              </p:cNvPr>
              <p:cNvSpPr/>
              <p:nvPr/>
            </p:nvSpPr>
            <p:spPr>
              <a:xfrm>
                <a:off x="6447967" y="5041204"/>
                <a:ext cx="18277" cy="18434"/>
              </a:xfrm>
              <a:custGeom>
                <a:avLst/>
                <a:gdLst>
                  <a:gd name="connsiteX0" fmla="*/ 168 w 18277"/>
                  <a:gd name="connsiteY0" fmla="*/ 10931 h 18434"/>
                  <a:gd name="connsiteX1" fmla="*/ 7404 w 18277"/>
                  <a:gd name="connsiteY1" fmla="*/ 165 h 18434"/>
                  <a:gd name="connsiteX2" fmla="*/ 18110 w 18277"/>
                  <a:gd name="connsiteY2" fmla="*/ 7522 h 18434"/>
                  <a:gd name="connsiteX3" fmla="*/ 10873 w 18277"/>
                  <a:gd name="connsiteY3" fmla="*/ 18287 h 18434"/>
                  <a:gd name="connsiteX4" fmla="*/ 168 w 18277"/>
                  <a:gd name="connsiteY4" fmla="*/ 10931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34">
                    <a:moveTo>
                      <a:pt x="168" y="10931"/>
                    </a:moveTo>
                    <a:cubicBezTo>
                      <a:pt x="-789" y="5907"/>
                      <a:pt x="2441" y="1123"/>
                      <a:pt x="7404" y="165"/>
                    </a:cubicBezTo>
                    <a:cubicBezTo>
                      <a:pt x="12368" y="-791"/>
                      <a:pt x="17153" y="2498"/>
                      <a:pt x="18110" y="7522"/>
                    </a:cubicBezTo>
                    <a:cubicBezTo>
                      <a:pt x="19067" y="12546"/>
                      <a:pt x="15837" y="17330"/>
                      <a:pt x="10873" y="18287"/>
                    </a:cubicBezTo>
                    <a:cubicBezTo>
                      <a:pt x="5909" y="19184"/>
                      <a:pt x="1125" y="15895"/>
                      <a:pt x="168" y="10931"/>
                    </a:cubicBezTo>
                    <a:close/>
                  </a:path>
                </a:pathLst>
              </a:custGeom>
              <a:grpFill/>
              <a:ln w="5978" cap="flat">
                <a:noFill/>
                <a:prstDash val="solid"/>
                <a:miter/>
              </a:ln>
            </p:spPr>
            <p:txBody>
              <a:bodyPr rtlCol="0" anchor="ctr"/>
              <a:lstStyle/>
              <a:p>
                <a:endParaRPr lang="en-GB"/>
              </a:p>
            </p:txBody>
          </p:sp>
          <p:sp>
            <p:nvSpPr>
              <p:cNvPr id="3226" name="Vrije vorm: vorm 3225">
                <a:extLst>
                  <a:ext uri="{FF2B5EF4-FFF2-40B4-BE49-F238E27FC236}">
                    <a16:creationId xmlns:a16="http://schemas.microsoft.com/office/drawing/2014/main" id="{748AECAA-B6F8-46DA-8859-F5E1E5050879}"/>
                  </a:ext>
                </a:extLst>
              </p:cNvPr>
              <p:cNvSpPr/>
              <p:nvPr/>
            </p:nvSpPr>
            <p:spPr>
              <a:xfrm>
                <a:off x="6618001" y="5928085"/>
                <a:ext cx="18275" cy="18452"/>
              </a:xfrm>
              <a:custGeom>
                <a:avLst/>
                <a:gdLst>
                  <a:gd name="connsiteX0" fmla="*/ 166 w 18275"/>
                  <a:gd name="connsiteY0" fmla="*/ 10931 h 18452"/>
                  <a:gd name="connsiteX1" fmla="*/ 10871 w 18275"/>
                  <a:gd name="connsiteY1" fmla="*/ 18287 h 18452"/>
                  <a:gd name="connsiteX2" fmla="*/ 18108 w 18275"/>
                  <a:gd name="connsiteY2" fmla="*/ 7522 h 18452"/>
                  <a:gd name="connsiteX3" fmla="*/ 7403 w 18275"/>
                  <a:gd name="connsiteY3" fmla="*/ 166 h 18452"/>
                  <a:gd name="connsiteX4" fmla="*/ 166 w 18275"/>
                  <a:gd name="connsiteY4" fmla="*/ 10931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5" h="18452">
                    <a:moveTo>
                      <a:pt x="166" y="10931"/>
                    </a:moveTo>
                    <a:cubicBezTo>
                      <a:pt x="1123" y="15954"/>
                      <a:pt x="5907" y="19244"/>
                      <a:pt x="10871" y="18287"/>
                    </a:cubicBezTo>
                    <a:cubicBezTo>
                      <a:pt x="15835" y="17330"/>
                      <a:pt x="19065" y="12546"/>
                      <a:pt x="18108" y="7522"/>
                    </a:cubicBezTo>
                    <a:cubicBezTo>
                      <a:pt x="17151" y="2498"/>
                      <a:pt x="12366" y="-792"/>
                      <a:pt x="7403" y="166"/>
                    </a:cubicBezTo>
                    <a:cubicBezTo>
                      <a:pt x="2498" y="1122"/>
                      <a:pt x="-791" y="5907"/>
                      <a:pt x="166" y="10931"/>
                    </a:cubicBezTo>
                    <a:close/>
                  </a:path>
                </a:pathLst>
              </a:custGeom>
              <a:grpFill/>
              <a:ln w="5978" cap="flat">
                <a:noFill/>
                <a:prstDash val="solid"/>
                <a:miter/>
              </a:ln>
            </p:spPr>
            <p:txBody>
              <a:bodyPr rtlCol="0" anchor="ctr"/>
              <a:lstStyle/>
              <a:p>
                <a:endParaRPr lang="en-GB"/>
              </a:p>
            </p:txBody>
          </p:sp>
        </p:grpSp>
        <p:grpSp>
          <p:nvGrpSpPr>
            <p:cNvPr id="723" name="Graphic 3">
              <a:extLst>
                <a:ext uri="{FF2B5EF4-FFF2-40B4-BE49-F238E27FC236}">
                  <a16:creationId xmlns:a16="http://schemas.microsoft.com/office/drawing/2014/main" id="{BC85C506-DB51-455D-9F18-24AF4F7BDA45}"/>
                </a:ext>
              </a:extLst>
            </p:cNvPr>
            <p:cNvGrpSpPr/>
            <p:nvPr/>
          </p:nvGrpSpPr>
          <p:grpSpPr>
            <a:xfrm>
              <a:off x="6593442" y="5629609"/>
              <a:ext cx="50645" cy="149562"/>
              <a:chOff x="6593442" y="5629609"/>
              <a:chExt cx="50645" cy="149562"/>
            </a:xfrm>
            <a:grpFill/>
          </p:grpSpPr>
          <p:sp>
            <p:nvSpPr>
              <p:cNvPr id="3221" name="Vrije vorm: vorm 3220">
                <a:extLst>
                  <a:ext uri="{FF2B5EF4-FFF2-40B4-BE49-F238E27FC236}">
                    <a16:creationId xmlns:a16="http://schemas.microsoft.com/office/drawing/2014/main" id="{72E0A3FE-A594-4A24-9F9F-28FB8D8D95FF}"/>
                  </a:ext>
                </a:extLst>
              </p:cNvPr>
              <p:cNvSpPr/>
              <p:nvPr/>
            </p:nvSpPr>
            <p:spPr>
              <a:xfrm>
                <a:off x="6601062" y="5638006"/>
                <a:ext cx="35465" cy="132772"/>
              </a:xfrm>
              <a:custGeom>
                <a:avLst/>
                <a:gdLst>
                  <a:gd name="connsiteX0" fmla="*/ 2930 w 35465"/>
                  <a:gd name="connsiteY0" fmla="*/ 0 h 132772"/>
                  <a:gd name="connsiteX1" fmla="*/ 35466 w 35465"/>
                  <a:gd name="connsiteY1" fmla="*/ 132054 h 132772"/>
                  <a:gd name="connsiteX2" fmla="*/ 32535 w 35465"/>
                  <a:gd name="connsiteY2" fmla="*/ 132772 h 132772"/>
                  <a:gd name="connsiteX3" fmla="*/ 0 w 35465"/>
                  <a:gd name="connsiteY3" fmla="*/ 718 h 132772"/>
                </a:gdLst>
                <a:ahLst/>
                <a:cxnLst>
                  <a:cxn ang="0">
                    <a:pos x="connsiteX0" y="connsiteY0"/>
                  </a:cxn>
                  <a:cxn ang="0">
                    <a:pos x="connsiteX1" y="connsiteY1"/>
                  </a:cxn>
                  <a:cxn ang="0">
                    <a:pos x="connsiteX2" y="connsiteY2"/>
                  </a:cxn>
                  <a:cxn ang="0">
                    <a:pos x="connsiteX3" y="connsiteY3"/>
                  </a:cxn>
                </a:cxnLst>
                <a:rect l="l" t="t" r="r" b="b"/>
                <a:pathLst>
                  <a:path w="35465" h="132772">
                    <a:moveTo>
                      <a:pt x="2930" y="0"/>
                    </a:moveTo>
                    <a:lnTo>
                      <a:pt x="35466" y="132054"/>
                    </a:lnTo>
                    <a:lnTo>
                      <a:pt x="32535" y="132772"/>
                    </a:lnTo>
                    <a:lnTo>
                      <a:pt x="0" y="718"/>
                    </a:lnTo>
                    <a:close/>
                  </a:path>
                </a:pathLst>
              </a:custGeom>
              <a:grpFill/>
              <a:ln w="5978" cap="flat">
                <a:noFill/>
                <a:prstDash val="solid"/>
                <a:miter/>
              </a:ln>
            </p:spPr>
            <p:txBody>
              <a:bodyPr rtlCol="0" anchor="ctr"/>
              <a:lstStyle/>
              <a:p>
                <a:endParaRPr lang="en-GB"/>
              </a:p>
            </p:txBody>
          </p:sp>
          <p:sp>
            <p:nvSpPr>
              <p:cNvPr id="3222" name="Vrije vorm: vorm 3221">
                <a:extLst>
                  <a:ext uri="{FF2B5EF4-FFF2-40B4-BE49-F238E27FC236}">
                    <a16:creationId xmlns:a16="http://schemas.microsoft.com/office/drawing/2014/main" id="{D7935B5F-0D95-44B6-9F60-F6386B3582E6}"/>
                  </a:ext>
                </a:extLst>
              </p:cNvPr>
              <p:cNvSpPr/>
              <p:nvPr/>
            </p:nvSpPr>
            <p:spPr>
              <a:xfrm>
                <a:off x="6625738" y="5760770"/>
                <a:ext cx="18349" cy="18401"/>
              </a:xfrm>
              <a:custGeom>
                <a:avLst/>
                <a:gdLst>
                  <a:gd name="connsiteX0" fmla="*/ 18086 w 18349"/>
                  <a:gd name="connsiteY0" fmla="*/ 7018 h 18401"/>
                  <a:gd name="connsiteX1" fmla="*/ 11387 w 18349"/>
                  <a:gd name="connsiteY1" fmla="*/ 18142 h 18401"/>
                  <a:gd name="connsiteX2" fmla="*/ 263 w 18349"/>
                  <a:gd name="connsiteY2" fmla="*/ 11384 h 18401"/>
                  <a:gd name="connsiteX3" fmla="*/ 6962 w 18349"/>
                  <a:gd name="connsiteY3" fmla="*/ 260 h 18401"/>
                  <a:gd name="connsiteX4" fmla="*/ 18086 w 18349"/>
                  <a:gd name="connsiteY4" fmla="*/ 7018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1">
                    <a:moveTo>
                      <a:pt x="18086" y="7018"/>
                    </a:moveTo>
                    <a:cubicBezTo>
                      <a:pt x="19282" y="11982"/>
                      <a:pt x="16292" y="16946"/>
                      <a:pt x="11387" y="18142"/>
                    </a:cubicBezTo>
                    <a:cubicBezTo>
                      <a:pt x="6483" y="19338"/>
                      <a:pt x="1519" y="16288"/>
                      <a:pt x="263" y="11384"/>
                    </a:cubicBezTo>
                    <a:cubicBezTo>
                      <a:pt x="-933" y="6420"/>
                      <a:pt x="2058" y="1456"/>
                      <a:pt x="6962" y="260"/>
                    </a:cubicBezTo>
                    <a:cubicBezTo>
                      <a:pt x="11926" y="-936"/>
                      <a:pt x="16890" y="2114"/>
                      <a:pt x="18086" y="7018"/>
                    </a:cubicBezTo>
                    <a:close/>
                  </a:path>
                </a:pathLst>
              </a:custGeom>
              <a:grpFill/>
              <a:ln w="5978" cap="flat">
                <a:noFill/>
                <a:prstDash val="solid"/>
                <a:miter/>
              </a:ln>
            </p:spPr>
            <p:txBody>
              <a:bodyPr rtlCol="0" anchor="ctr"/>
              <a:lstStyle/>
              <a:p>
                <a:endParaRPr lang="en-GB"/>
              </a:p>
            </p:txBody>
          </p:sp>
          <p:sp>
            <p:nvSpPr>
              <p:cNvPr id="3223" name="Vrije vorm: vorm 3222">
                <a:extLst>
                  <a:ext uri="{FF2B5EF4-FFF2-40B4-BE49-F238E27FC236}">
                    <a16:creationId xmlns:a16="http://schemas.microsoft.com/office/drawing/2014/main" id="{3025D4E1-F284-4062-BA80-BED569C1CE78}"/>
                  </a:ext>
                </a:extLst>
              </p:cNvPr>
              <p:cNvSpPr/>
              <p:nvPr/>
            </p:nvSpPr>
            <p:spPr>
              <a:xfrm>
                <a:off x="6593442" y="5629609"/>
                <a:ext cx="18349" cy="18408"/>
              </a:xfrm>
              <a:custGeom>
                <a:avLst/>
                <a:gdLst>
                  <a:gd name="connsiteX0" fmla="*/ 18086 w 18349"/>
                  <a:gd name="connsiteY0" fmla="*/ 7021 h 18408"/>
                  <a:gd name="connsiteX1" fmla="*/ 6962 w 18349"/>
                  <a:gd name="connsiteY1" fmla="*/ 263 h 18408"/>
                  <a:gd name="connsiteX2" fmla="*/ 263 w 18349"/>
                  <a:gd name="connsiteY2" fmla="*/ 11387 h 18408"/>
                  <a:gd name="connsiteX3" fmla="*/ 11388 w 18349"/>
                  <a:gd name="connsiteY3" fmla="*/ 18145 h 18408"/>
                  <a:gd name="connsiteX4" fmla="*/ 18086 w 1834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8">
                    <a:moveTo>
                      <a:pt x="18086" y="7021"/>
                    </a:moveTo>
                    <a:cubicBezTo>
                      <a:pt x="16890" y="2057"/>
                      <a:pt x="11926" y="-933"/>
                      <a:pt x="6962" y="263"/>
                    </a:cubicBezTo>
                    <a:cubicBezTo>
                      <a:pt x="2058" y="1459"/>
                      <a:pt x="-933" y="6423"/>
                      <a:pt x="263" y="11387"/>
                    </a:cubicBezTo>
                    <a:cubicBezTo>
                      <a:pt x="1459" y="16351"/>
                      <a:pt x="6424" y="19342"/>
                      <a:pt x="11388" y="18145"/>
                    </a:cubicBezTo>
                    <a:cubicBezTo>
                      <a:pt x="16292" y="16949"/>
                      <a:pt x="19282" y="11986"/>
                      <a:pt x="18086" y="7021"/>
                    </a:cubicBezTo>
                    <a:close/>
                  </a:path>
                </a:pathLst>
              </a:custGeom>
              <a:grpFill/>
              <a:ln w="5978" cap="flat">
                <a:noFill/>
                <a:prstDash val="solid"/>
                <a:miter/>
              </a:ln>
            </p:spPr>
            <p:txBody>
              <a:bodyPr rtlCol="0" anchor="ctr"/>
              <a:lstStyle/>
              <a:p>
                <a:endParaRPr lang="en-GB"/>
              </a:p>
            </p:txBody>
          </p:sp>
        </p:grpSp>
        <p:grpSp>
          <p:nvGrpSpPr>
            <p:cNvPr id="724" name="Graphic 3">
              <a:extLst>
                <a:ext uri="{FF2B5EF4-FFF2-40B4-BE49-F238E27FC236}">
                  <a16:creationId xmlns:a16="http://schemas.microsoft.com/office/drawing/2014/main" id="{2517D5CF-9E9B-469B-90DC-4AB7E7F044BF}"/>
                </a:ext>
              </a:extLst>
            </p:cNvPr>
            <p:cNvGrpSpPr/>
            <p:nvPr/>
          </p:nvGrpSpPr>
          <p:grpSpPr>
            <a:xfrm>
              <a:off x="5195581" y="1585197"/>
              <a:ext cx="119553" cy="305867"/>
              <a:chOff x="5195581" y="1585197"/>
              <a:chExt cx="119553" cy="305867"/>
            </a:xfrm>
            <a:grpFill/>
          </p:grpSpPr>
          <p:sp>
            <p:nvSpPr>
              <p:cNvPr id="3218" name="Vrije vorm: vorm 3217">
                <a:extLst>
                  <a:ext uri="{FF2B5EF4-FFF2-40B4-BE49-F238E27FC236}">
                    <a16:creationId xmlns:a16="http://schemas.microsoft.com/office/drawing/2014/main" id="{F20EEAC2-07E4-4B3A-86F4-B9625D9D3121}"/>
                  </a:ext>
                </a:extLst>
              </p:cNvPr>
              <p:cNvSpPr/>
              <p:nvPr/>
            </p:nvSpPr>
            <p:spPr>
              <a:xfrm>
                <a:off x="5203188" y="1593544"/>
                <a:ext cx="104363" cy="289227"/>
              </a:xfrm>
              <a:custGeom>
                <a:avLst/>
                <a:gdLst>
                  <a:gd name="connsiteX0" fmla="*/ 104364 w 104363"/>
                  <a:gd name="connsiteY0" fmla="*/ 288271 h 289227"/>
                  <a:gd name="connsiteX1" fmla="*/ 101493 w 104363"/>
                  <a:gd name="connsiteY1" fmla="*/ 289228 h 289227"/>
                  <a:gd name="connsiteX2" fmla="*/ 0 w 104363"/>
                  <a:gd name="connsiteY2" fmla="*/ 1017 h 289227"/>
                  <a:gd name="connsiteX3" fmla="*/ 2871 w 104363"/>
                  <a:gd name="connsiteY3" fmla="*/ 0 h 289227"/>
                </a:gdLst>
                <a:ahLst/>
                <a:cxnLst>
                  <a:cxn ang="0">
                    <a:pos x="connsiteX0" y="connsiteY0"/>
                  </a:cxn>
                  <a:cxn ang="0">
                    <a:pos x="connsiteX1" y="connsiteY1"/>
                  </a:cxn>
                  <a:cxn ang="0">
                    <a:pos x="connsiteX2" y="connsiteY2"/>
                  </a:cxn>
                  <a:cxn ang="0">
                    <a:pos x="connsiteX3" y="connsiteY3"/>
                  </a:cxn>
                </a:cxnLst>
                <a:rect l="l" t="t" r="r" b="b"/>
                <a:pathLst>
                  <a:path w="104363" h="289227">
                    <a:moveTo>
                      <a:pt x="104364" y="288271"/>
                    </a:moveTo>
                    <a:lnTo>
                      <a:pt x="101493" y="289228"/>
                    </a:lnTo>
                    <a:lnTo>
                      <a:pt x="0" y="1017"/>
                    </a:lnTo>
                    <a:lnTo>
                      <a:pt x="2871" y="0"/>
                    </a:lnTo>
                    <a:close/>
                  </a:path>
                </a:pathLst>
              </a:custGeom>
              <a:grpFill/>
              <a:ln w="5978" cap="flat">
                <a:noFill/>
                <a:prstDash val="solid"/>
                <a:miter/>
              </a:ln>
            </p:spPr>
            <p:txBody>
              <a:bodyPr rtlCol="0" anchor="ctr"/>
              <a:lstStyle/>
              <a:p>
                <a:endParaRPr lang="en-GB"/>
              </a:p>
            </p:txBody>
          </p:sp>
          <p:sp>
            <p:nvSpPr>
              <p:cNvPr id="3219" name="Vrije vorm: vorm 3218">
                <a:extLst>
                  <a:ext uri="{FF2B5EF4-FFF2-40B4-BE49-F238E27FC236}">
                    <a16:creationId xmlns:a16="http://schemas.microsoft.com/office/drawing/2014/main" id="{E6DAC88C-56AC-4CAC-A549-623B80ABC3EB}"/>
                  </a:ext>
                </a:extLst>
              </p:cNvPr>
              <p:cNvSpPr/>
              <p:nvPr/>
            </p:nvSpPr>
            <p:spPr>
              <a:xfrm>
                <a:off x="5296799" y="1872630"/>
                <a:ext cx="18335" cy="18434"/>
              </a:xfrm>
              <a:custGeom>
                <a:avLst/>
                <a:gdLst>
                  <a:gd name="connsiteX0" fmla="*/ 17810 w 18335"/>
                  <a:gd name="connsiteY0" fmla="*/ 6194 h 18434"/>
                  <a:gd name="connsiteX1" fmla="*/ 12248 w 18335"/>
                  <a:gd name="connsiteY1" fmla="*/ 17916 h 18434"/>
                  <a:gd name="connsiteX2" fmla="*/ 526 w 18335"/>
                  <a:gd name="connsiteY2" fmla="*/ 12234 h 18434"/>
                  <a:gd name="connsiteX3" fmla="*/ 6088 w 18335"/>
                  <a:gd name="connsiteY3" fmla="*/ 512 h 18434"/>
                  <a:gd name="connsiteX4" fmla="*/ 17810 w 18335"/>
                  <a:gd name="connsiteY4" fmla="*/ 6194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4">
                    <a:moveTo>
                      <a:pt x="17810" y="6194"/>
                    </a:moveTo>
                    <a:cubicBezTo>
                      <a:pt x="19485" y="10978"/>
                      <a:pt x="17032" y="16241"/>
                      <a:pt x="12248" y="17916"/>
                    </a:cubicBezTo>
                    <a:cubicBezTo>
                      <a:pt x="7463" y="19591"/>
                      <a:pt x="2260" y="17079"/>
                      <a:pt x="526" y="12234"/>
                    </a:cubicBezTo>
                    <a:cubicBezTo>
                      <a:pt x="-1149" y="7450"/>
                      <a:pt x="1303" y="2187"/>
                      <a:pt x="6088" y="512"/>
                    </a:cubicBezTo>
                    <a:cubicBezTo>
                      <a:pt x="10872" y="-1162"/>
                      <a:pt x="16076" y="1409"/>
                      <a:pt x="17810" y="6194"/>
                    </a:cubicBezTo>
                    <a:close/>
                  </a:path>
                </a:pathLst>
              </a:custGeom>
              <a:grpFill/>
              <a:ln w="5978" cap="flat">
                <a:noFill/>
                <a:prstDash val="solid"/>
                <a:miter/>
              </a:ln>
            </p:spPr>
            <p:txBody>
              <a:bodyPr rtlCol="0" anchor="ctr"/>
              <a:lstStyle/>
              <a:p>
                <a:endParaRPr lang="en-GB"/>
              </a:p>
            </p:txBody>
          </p:sp>
          <p:sp>
            <p:nvSpPr>
              <p:cNvPr id="3220" name="Vrije vorm: vorm 3219">
                <a:extLst>
                  <a:ext uri="{FF2B5EF4-FFF2-40B4-BE49-F238E27FC236}">
                    <a16:creationId xmlns:a16="http://schemas.microsoft.com/office/drawing/2014/main" id="{676E5205-0F20-4937-AEC4-3827C0638ACE}"/>
                  </a:ext>
                </a:extLst>
              </p:cNvPr>
              <p:cNvSpPr/>
              <p:nvPr/>
            </p:nvSpPr>
            <p:spPr>
              <a:xfrm>
                <a:off x="5195581" y="1585197"/>
                <a:ext cx="18353" cy="18428"/>
              </a:xfrm>
              <a:custGeom>
                <a:avLst/>
                <a:gdLst>
                  <a:gd name="connsiteX0" fmla="*/ 17834 w 18353"/>
                  <a:gd name="connsiteY0" fmla="*/ 6194 h 18428"/>
                  <a:gd name="connsiteX1" fmla="*/ 6111 w 18353"/>
                  <a:gd name="connsiteY1" fmla="*/ 512 h 18428"/>
                  <a:gd name="connsiteX2" fmla="*/ 549 w 18353"/>
                  <a:gd name="connsiteY2" fmla="*/ 12234 h 18428"/>
                  <a:gd name="connsiteX3" fmla="*/ 12272 w 18353"/>
                  <a:gd name="connsiteY3" fmla="*/ 17916 h 18428"/>
                  <a:gd name="connsiteX4" fmla="*/ 17834 w 18353"/>
                  <a:gd name="connsiteY4" fmla="*/ 6194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28">
                    <a:moveTo>
                      <a:pt x="17834" y="6194"/>
                    </a:moveTo>
                    <a:cubicBezTo>
                      <a:pt x="16159" y="1409"/>
                      <a:pt x="10896" y="-1162"/>
                      <a:pt x="6111" y="512"/>
                    </a:cubicBezTo>
                    <a:cubicBezTo>
                      <a:pt x="1327" y="2187"/>
                      <a:pt x="-1185" y="7450"/>
                      <a:pt x="549" y="12234"/>
                    </a:cubicBezTo>
                    <a:cubicBezTo>
                      <a:pt x="2224" y="17019"/>
                      <a:pt x="7487" y="19591"/>
                      <a:pt x="12272" y="17916"/>
                    </a:cubicBezTo>
                    <a:cubicBezTo>
                      <a:pt x="16996" y="16301"/>
                      <a:pt x="19509" y="11038"/>
                      <a:pt x="17834" y="6194"/>
                    </a:cubicBezTo>
                    <a:close/>
                  </a:path>
                </a:pathLst>
              </a:custGeom>
              <a:grpFill/>
              <a:ln w="5978" cap="flat">
                <a:noFill/>
                <a:prstDash val="solid"/>
                <a:miter/>
              </a:ln>
            </p:spPr>
            <p:txBody>
              <a:bodyPr rtlCol="0" anchor="ctr"/>
              <a:lstStyle/>
              <a:p>
                <a:endParaRPr lang="en-GB"/>
              </a:p>
            </p:txBody>
          </p:sp>
        </p:grpSp>
        <p:grpSp>
          <p:nvGrpSpPr>
            <p:cNvPr id="725" name="Graphic 3">
              <a:extLst>
                <a:ext uri="{FF2B5EF4-FFF2-40B4-BE49-F238E27FC236}">
                  <a16:creationId xmlns:a16="http://schemas.microsoft.com/office/drawing/2014/main" id="{848728BE-FE80-476C-AC76-E23F258B4557}"/>
                </a:ext>
              </a:extLst>
            </p:cNvPr>
            <p:cNvGrpSpPr/>
            <p:nvPr/>
          </p:nvGrpSpPr>
          <p:grpSpPr>
            <a:xfrm>
              <a:off x="6419377" y="5056450"/>
              <a:ext cx="119238" cy="654211"/>
              <a:chOff x="6419377" y="5056450"/>
              <a:chExt cx="119238" cy="654211"/>
            </a:xfrm>
            <a:grpFill/>
          </p:grpSpPr>
          <p:sp>
            <p:nvSpPr>
              <p:cNvPr id="3215" name="Vrije vorm: vorm 3214">
                <a:extLst>
                  <a:ext uri="{FF2B5EF4-FFF2-40B4-BE49-F238E27FC236}">
                    <a16:creationId xmlns:a16="http://schemas.microsoft.com/office/drawing/2014/main" id="{6F58F4E5-7013-475A-A6FA-86E653D3EA84}"/>
                  </a:ext>
                </a:extLst>
              </p:cNvPr>
              <p:cNvSpPr/>
              <p:nvPr/>
            </p:nvSpPr>
            <p:spPr>
              <a:xfrm>
                <a:off x="6426963" y="5064993"/>
                <a:ext cx="104124" cy="637126"/>
              </a:xfrm>
              <a:custGeom>
                <a:avLst/>
                <a:gdLst>
                  <a:gd name="connsiteX0" fmla="*/ 2990 w 104124"/>
                  <a:gd name="connsiteY0" fmla="*/ 0 h 637126"/>
                  <a:gd name="connsiteX1" fmla="*/ 104125 w 104124"/>
                  <a:gd name="connsiteY1" fmla="*/ 636648 h 637126"/>
                  <a:gd name="connsiteX2" fmla="*/ 101074 w 104124"/>
                  <a:gd name="connsiteY2" fmla="*/ 637126 h 637126"/>
                  <a:gd name="connsiteX3" fmla="*/ 0 w 104124"/>
                  <a:gd name="connsiteY3" fmla="*/ 479 h 637126"/>
                </a:gdLst>
                <a:ahLst/>
                <a:cxnLst>
                  <a:cxn ang="0">
                    <a:pos x="connsiteX0" y="connsiteY0"/>
                  </a:cxn>
                  <a:cxn ang="0">
                    <a:pos x="connsiteX1" y="connsiteY1"/>
                  </a:cxn>
                  <a:cxn ang="0">
                    <a:pos x="connsiteX2" y="connsiteY2"/>
                  </a:cxn>
                  <a:cxn ang="0">
                    <a:pos x="connsiteX3" y="connsiteY3"/>
                  </a:cxn>
                </a:cxnLst>
                <a:rect l="l" t="t" r="r" b="b"/>
                <a:pathLst>
                  <a:path w="104124" h="637126">
                    <a:moveTo>
                      <a:pt x="2990" y="0"/>
                    </a:moveTo>
                    <a:lnTo>
                      <a:pt x="104125" y="636648"/>
                    </a:lnTo>
                    <a:lnTo>
                      <a:pt x="101074" y="637126"/>
                    </a:lnTo>
                    <a:lnTo>
                      <a:pt x="0" y="479"/>
                    </a:lnTo>
                    <a:close/>
                  </a:path>
                </a:pathLst>
              </a:custGeom>
              <a:grpFill/>
              <a:ln w="5978" cap="flat">
                <a:noFill/>
                <a:prstDash val="solid"/>
                <a:miter/>
              </a:ln>
            </p:spPr>
            <p:txBody>
              <a:bodyPr rtlCol="0" anchor="ctr"/>
              <a:lstStyle/>
              <a:p>
                <a:endParaRPr lang="en-GB"/>
              </a:p>
            </p:txBody>
          </p:sp>
          <p:sp>
            <p:nvSpPr>
              <p:cNvPr id="3216" name="Vrije vorm: vorm 3215">
                <a:extLst>
                  <a:ext uri="{FF2B5EF4-FFF2-40B4-BE49-F238E27FC236}">
                    <a16:creationId xmlns:a16="http://schemas.microsoft.com/office/drawing/2014/main" id="{B517E550-C797-477B-9083-65C8367BB34E}"/>
                  </a:ext>
                </a:extLst>
              </p:cNvPr>
              <p:cNvSpPr/>
              <p:nvPr/>
            </p:nvSpPr>
            <p:spPr>
              <a:xfrm>
                <a:off x="6419377" y="5056450"/>
                <a:ext cx="18282" cy="18460"/>
              </a:xfrm>
              <a:custGeom>
                <a:avLst/>
                <a:gdLst>
                  <a:gd name="connsiteX0" fmla="*/ 110 w 18282"/>
                  <a:gd name="connsiteY0" fmla="*/ 10637 h 18460"/>
                  <a:gd name="connsiteX1" fmla="*/ 7706 w 18282"/>
                  <a:gd name="connsiteY1" fmla="*/ 110 h 18460"/>
                  <a:gd name="connsiteX2" fmla="*/ 18172 w 18282"/>
                  <a:gd name="connsiteY2" fmla="*/ 7825 h 18460"/>
                  <a:gd name="connsiteX3" fmla="*/ 10577 w 18282"/>
                  <a:gd name="connsiteY3" fmla="*/ 18352 h 18460"/>
                  <a:gd name="connsiteX4" fmla="*/ 110 w 18282"/>
                  <a:gd name="connsiteY4" fmla="*/ 10637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2" h="18460">
                    <a:moveTo>
                      <a:pt x="110" y="10637"/>
                    </a:moveTo>
                    <a:cubicBezTo>
                      <a:pt x="-667" y="5613"/>
                      <a:pt x="2742" y="888"/>
                      <a:pt x="7706" y="110"/>
                    </a:cubicBezTo>
                    <a:cubicBezTo>
                      <a:pt x="12730" y="-667"/>
                      <a:pt x="17395" y="2742"/>
                      <a:pt x="18172" y="7825"/>
                    </a:cubicBezTo>
                    <a:cubicBezTo>
                      <a:pt x="18950" y="12849"/>
                      <a:pt x="15541" y="17574"/>
                      <a:pt x="10577" y="18352"/>
                    </a:cubicBezTo>
                    <a:cubicBezTo>
                      <a:pt x="5613" y="19129"/>
                      <a:pt x="888" y="15660"/>
                      <a:pt x="110" y="10637"/>
                    </a:cubicBezTo>
                    <a:close/>
                  </a:path>
                </a:pathLst>
              </a:custGeom>
              <a:grpFill/>
              <a:ln w="5978" cap="flat">
                <a:noFill/>
                <a:prstDash val="solid"/>
                <a:miter/>
              </a:ln>
            </p:spPr>
            <p:txBody>
              <a:bodyPr rtlCol="0" anchor="ctr"/>
              <a:lstStyle/>
              <a:p>
                <a:endParaRPr lang="en-GB"/>
              </a:p>
            </p:txBody>
          </p:sp>
          <p:sp>
            <p:nvSpPr>
              <p:cNvPr id="3217" name="Vrije vorm: vorm 3216">
                <a:extLst>
                  <a:ext uri="{FF2B5EF4-FFF2-40B4-BE49-F238E27FC236}">
                    <a16:creationId xmlns:a16="http://schemas.microsoft.com/office/drawing/2014/main" id="{344DB176-5612-4BE2-B608-71A10932C6DA}"/>
                  </a:ext>
                </a:extLst>
              </p:cNvPr>
              <p:cNvSpPr/>
              <p:nvPr/>
            </p:nvSpPr>
            <p:spPr>
              <a:xfrm>
                <a:off x="6520331" y="5692246"/>
                <a:ext cx="18284" cy="18414"/>
              </a:xfrm>
              <a:custGeom>
                <a:avLst/>
                <a:gdLst>
                  <a:gd name="connsiteX0" fmla="*/ 111 w 18284"/>
                  <a:gd name="connsiteY0" fmla="*/ 10591 h 18414"/>
                  <a:gd name="connsiteX1" fmla="*/ 10577 w 18284"/>
                  <a:gd name="connsiteY1" fmla="*/ 18306 h 18414"/>
                  <a:gd name="connsiteX2" fmla="*/ 18172 w 18284"/>
                  <a:gd name="connsiteY2" fmla="*/ 7780 h 18414"/>
                  <a:gd name="connsiteX3" fmla="*/ 7706 w 18284"/>
                  <a:gd name="connsiteY3" fmla="*/ 125 h 18414"/>
                  <a:gd name="connsiteX4" fmla="*/ 111 w 18284"/>
                  <a:gd name="connsiteY4" fmla="*/ 10591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4" h="18414">
                    <a:moveTo>
                      <a:pt x="111" y="10591"/>
                    </a:moveTo>
                    <a:cubicBezTo>
                      <a:pt x="888" y="15615"/>
                      <a:pt x="5613" y="19084"/>
                      <a:pt x="10577" y="18306"/>
                    </a:cubicBezTo>
                    <a:cubicBezTo>
                      <a:pt x="15601" y="17529"/>
                      <a:pt x="18950" y="12804"/>
                      <a:pt x="18172" y="7780"/>
                    </a:cubicBezTo>
                    <a:cubicBezTo>
                      <a:pt x="17395" y="2756"/>
                      <a:pt x="12670" y="-713"/>
                      <a:pt x="7706" y="125"/>
                    </a:cubicBezTo>
                    <a:cubicBezTo>
                      <a:pt x="2742" y="842"/>
                      <a:pt x="-667" y="5567"/>
                      <a:pt x="111" y="10591"/>
                    </a:cubicBezTo>
                    <a:close/>
                  </a:path>
                </a:pathLst>
              </a:custGeom>
              <a:grpFill/>
              <a:ln w="5978" cap="flat">
                <a:noFill/>
                <a:prstDash val="solid"/>
                <a:miter/>
              </a:ln>
            </p:spPr>
            <p:txBody>
              <a:bodyPr rtlCol="0" anchor="ctr"/>
              <a:lstStyle/>
              <a:p>
                <a:endParaRPr lang="en-GB"/>
              </a:p>
            </p:txBody>
          </p:sp>
        </p:grpSp>
        <p:grpSp>
          <p:nvGrpSpPr>
            <p:cNvPr id="726" name="Graphic 3">
              <a:extLst>
                <a:ext uri="{FF2B5EF4-FFF2-40B4-BE49-F238E27FC236}">
                  <a16:creationId xmlns:a16="http://schemas.microsoft.com/office/drawing/2014/main" id="{997CCB59-22E2-4B1E-B6E6-DADEEC2FBFEA}"/>
                </a:ext>
              </a:extLst>
            </p:cNvPr>
            <p:cNvGrpSpPr/>
            <p:nvPr/>
          </p:nvGrpSpPr>
          <p:grpSpPr>
            <a:xfrm>
              <a:off x="6482167" y="5330384"/>
              <a:ext cx="131449" cy="517178"/>
              <a:chOff x="6482167" y="5330384"/>
              <a:chExt cx="131449" cy="517178"/>
            </a:xfrm>
            <a:grpFill/>
          </p:grpSpPr>
          <p:sp>
            <p:nvSpPr>
              <p:cNvPr id="3212" name="Vrije vorm: vorm 3211">
                <a:extLst>
                  <a:ext uri="{FF2B5EF4-FFF2-40B4-BE49-F238E27FC236}">
                    <a16:creationId xmlns:a16="http://schemas.microsoft.com/office/drawing/2014/main" id="{D91FC61D-816A-47D8-96D2-76B00468D252}"/>
                  </a:ext>
                </a:extLst>
              </p:cNvPr>
              <p:cNvSpPr/>
              <p:nvPr/>
            </p:nvSpPr>
            <p:spPr>
              <a:xfrm>
                <a:off x="6489392" y="5338994"/>
                <a:ext cx="116310" cy="500336"/>
              </a:xfrm>
              <a:custGeom>
                <a:avLst/>
                <a:gdLst>
                  <a:gd name="connsiteX0" fmla="*/ 0 w 116310"/>
                  <a:gd name="connsiteY0" fmla="*/ 675 h 500336"/>
                  <a:gd name="connsiteX1" fmla="*/ 2975 w 116310"/>
                  <a:gd name="connsiteY1" fmla="*/ 0 h 500336"/>
                  <a:gd name="connsiteX2" fmla="*/ 116310 w 116310"/>
                  <a:gd name="connsiteY2" fmla="*/ 499662 h 500336"/>
                  <a:gd name="connsiteX3" fmla="*/ 113336 w 116310"/>
                  <a:gd name="connsiteY3" fmla="*/ 500336 h 500336"/>
                </a:gdLst>
                <a:ahLst/>
                <a:cxnLst>
                  <a:cxn ang="0">
                    <a:pos x="connsiteX0" y="connsiteY0"/>
                  </a:cxn>
                  <a:cxn ang="0">
                    <a:pos x="connsiteX1" y="connsiteY1"/>
                  </a:cxn>
                  <a:cxn ang="0">
                    <a:pos x="connsiteX2" y="connsiteY2"/>
                  </a:cxn>
                  <a:cxn ang="0">
                    <a:pos x="connsiteX3" y="connsiteY3"/>
                  </a:cxn>
                </a:cxnLst>
                <a:rect l="l" t="t" r="r" b="b"/>
                <a:pathLst>
                  <a:path w="116310" h="500336">
                    <a:moveTo>
                      <a:pt x="0" y="675"/>
                    </a:moveTo>
                    <a:lnTo>
                      <a:pt x="2975" y="0"/>
                    </a:lnTo>
                    <a:lnTo>
                      <a:pt x="116310" y="499662"/>
                    </a:lnTo>
                    <a:lnTo>
                      <a:pt x="113336" y="500336"/>
                    </a:lnTo>
                    <a:close/>
                  </a:path>
                </a:pathLst>
              </a:custGeom>
              <a:grpFill/>
              <a:ln w="5978" cap="flat">
                <a:noFill/>
                <a:prstDash val="solid"/>
                <a:miter/>
              </a:ln>
            </p:spPr>
            <p:txBody>
              <a:bodyPr rtlCol="0" anchor="ctr"/>
              <a:lstStyle/>
              <a:p>
                <a:endParaRPr lang="en-GB"/>
              </a:p>
            </p:txBody>
          </p:sp>
          <p:sp>
            <p:nvSpPr>
              <p:cNvPr id="3213" name="Vrije vorm: vorm 3212">
                <a:extLst>
                  <a:ext uri="{FF2B5EF4-FFF2-40B4-BE49-F238E27FC236}">
                    <a16:creationId xmlns:a16="http://schemas.microsoft.com/office/drawing/2014/main" id="{D43B6453-55E1-4A94-B9CD-269651FF0501}"/>
                  </a:ext>
                </a:extLst>
              </p:cNvPr>
              <p:cNvSpPr/>
              <p:nvPr/>
            </p:nvSpPr>
            <p:spPr>
              <a:xfrm>
                <a:off x="6595325" y="5829117"/>
                <a:ext cx="18291" cy="18445"/>
              </a:xfrm>
              <a:custGeom>
                <a:avLst/>
                <a:gdLst>
                  <a:gd name="connsiteX0" fmla="*/ 18057 w 18291"/>
                  <a:gd name="connsiteY0" fmla="*/ 7211 h 18445"/>
                  <a:gd name="connsiteX1" fmla="*/ 11179 w 18291"/>
                  <a:gd name="connsiteY1" fmla="*/ 18215 h 18445"/>
                  <a:gd name="connsiteX2" fmla="*/ 234 w 18291"/>
                  <a:gd name="connsiteY2" fmla="*/ 11218 h 18445"/>
                  <a:gd name="connsiteX3" fmla="*/ 7112 w 18291"/>
                  <a:gd name="connsiteY3" fmla="*/ 213 h 18445"/>
                  <a:gd name="connsiteX4" fmla="*/ 18057 w 18291"/>
                  <a:gd name="connsiteY4" fmla="*/ 721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8057" y="7211"/>
                    </a:moveTo>
                    <a:cubicBezTo>
                      <a:pt x="19193" y="12174"/>
                      <a:pt x="16083" y="17079"/>
                      <a:pt x="11179" y="18215"/>
                    </a:cubicBezTo>
                    <a:cubicBezTo>
                      <a:pt x="6215" y="19351"/>
                      <a:pt x="1311" y="16182"/>
                      <a:pt x="234" y="11218"/>
                    </a:cubicBezTo>
                    <a:cubicBezTo>
                      <a:pt x="-902" y="6253"/>
                      <a:pt x="2208" y="1349"/>
                      <a:pt x="7112" y="213"/>
                    </a:cubicBezTo>
                    <a:cubicBezTo>
                      <a:pt x="12017" y="-864"/>
                      <a:pt x="16921" y="2246"/>
                      <a:pt x="18057" y="7211"/>
                    </a:cubicBezTo>
                    <a:close/>
                  </a:path>
                </a:pathLst>
              </a:custGeom>
              <a:grpFill/>
              <a:ln w="5978" cap="flat">
                <a:noFill/>
                <a:prstDash val="solid"/>
                <a:miter/>
              </a:ln>
            </p:spPr>
            <p:txBody>
              <a:bodyPr rtlCol="0" anchor="ctr"/>
              <a:lstStyle/>
              <a:p>
                <a:endParaRPr lang="en-GB"/>
              </a:p>
            </p:txBody>
          </p:sp>
          <p:sp>
            <p:nvSpPr>
              <p:cNvPr id="3214" name="Vrije vorm: vorm 3213">
                <a:extLst>
                  <a:ext uri="{FF2B5EF4-FFF2-40B4-BE49-F238E27FC236}">
                    <a16:creationId xmlns:a16="http://schemas.microsoft.com/office/drawing/2014/main" id="{CEA75AB1-9A6B-45C1-9914-FD106B457897}"/>
                  </a:ext>
                </a:extLst>
              </p:cNvPr>
              <p:cNvSpPr/>
              <p:nvPr/>
            </p:nvSpPr>
            <p:spPr>
              <a:xfrm>
                <a:off x="6482167" y="5330384"/>
                <a:ext cx="18276" cy="18427"/>
              </a:xfrm>
              <a:custGeom>
                <a:avLst/>
                <a:gdLst>
                  <a:gd name="connsiteX0" fmla="*/ 18060 w 18276"/>
                  <a:gd name="connsiteY0" fmla="*/ 7210 h 18427"/>
                  <a:gd name="connsiteX1" fmla="*/ 7115 w 18276"/>
                  <a:gd name="connsiteY1" fmla="*/ 213 h 18427"/>
                  <a:gd name="connsiteX2" fmla="*/ 237 w 18276"/>
                  <a:gd name="connsiteY2" fmla="*/ 11217 h 18427"/>
                  <a:gd name="connsiteX3" fmla="*/ 11242 w 18276"/>
                  <a:gd name="connsiteY3" fmla="*/ 18215 h 18427"/>
                  <a:gd name="connsiteX4" fmla="*/ 18060 w 18276"/>
                  <a:gd name="connsiteY4" fmla="*/ 7210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 h="18427">
                    <a:moveTo>
                      <a:pt x="18060" y="7210"/>
                    </a:moveTo>
                    <a:cubicBezTo>
                      <a:pt x="16923" y="2246"/>
                      <a:pt x="12020" y="-864"/>
                      <a:pt x="7115" y="213"/>
                    </a:cubicBezTo>
                    <a:cubicBezTo>
                      <a:pt x="2151" y="1349"/>
                      <a:pt x="-899" y="6253"/>
                      <a:pt x="237" y="11217"/>
                    </a:cubicBezTo>
                    <a:cubicBezTo>
                      <a:pt x="1374" y="16181"/>
                      <a:pt x="6278" y="19291"/>
                      <a:pt x="11242" y="18215"/>
                    </a:cubicBezTo>
                    <a:cubicBezTo>
                      <a:pt x="16086" y="17078"/>
                      <a:pt x="19137" y="12115"/>
                      <a:pt x="18060" y="7210"/>
                    </a:cubicBezTo>
                    <a:close/>
                  </a:path>
                </a:pathLst>
              </a:custGeom>
              <a:grpFill/>
              <a:ln w="5978" cap="flat">
                <a:noFill/>
                <a:prstDash val="solid"/>
                <a:miter/>
              </a:ln>
            </p:spPr>
            <p:txBody>
              <a:bodyPr rtlCol="0" anchor="ctr"/>
              <a:lstStyle/>
              <a:p>
                <a:endParaRPr lang="en-GB"/>
              </a:p>
            </p:txBody>
          </p:sp>
        </p:grpSp>
        <p:grpSp>
          <p:nvGrpSpPr>
            <p:cNvPr id="727" name="Graphic 3">
              <a:extLst>
                <a:ext uri="{FF2B5EF4-FFF2-40B4-BE49-F238E27FC236}">
                  <a16:creationId xmlns:a16="http://schemas.microsoft.com/office/drawing/2014/main" id="{F3B3E750-0DFC-425E-BD26-1D0982D7E9FE}"/>
                </a:ext>
              </a:extLst>
            </p:cNvPr>
            <p:cNvGrpSpPr/>
            <p:nvPr/>
          </p:nvGrpSpPr>
          <p:grpSpPr>
            <a:xfrm>
              <a:off x="6390889" y="5070308"/>
              <a:ext cx="71251" cy="273633"/>
              <a:chOff x="6390889" y="5070308"/>
              <a:chExt cx="71251" cy="273633"/>
            </a:xfrm>
            <a:grpFill/>
          </p:grpSpPr>
          <p:sp>
            <p:nvSpPr>
              <p:cNvPr id="3209" name="Vrije vorm: vorm 3208">
                <a:extLst>
                  <a:ext uri="{FF2B5EF4-FFF2-40B4-BE49-F238E27FC236}">
                    <a16:creationId xmlns:a16="http://schemas.microsoft.com/office/drawing/2014/main" id="{0B669D4F-6C6F-4E6D-8DC5-74E5A8867A9B}"/>
                  </a:ext>
                </a:extLst>
              </p:cNvPr>
              <p:cNvSpPr/>
              <p:nvPr/>
            </p:nvSpPr>
            <p:spPr>
              <a:xfrm>
                <a:off x="6398435" y="5078749"/>
                <a:ext cx="56099" cy="256752"/>
              </a:xfrm>
              <a:custGeom>
                <a:avLst/>
                <a:gdLst>
                  <a:gd name="connsiteX0" fmla="*/ 2990 w 56099"/>
                  <a:gd name="connsiteY0" fmla="*/ 0 h 256752"/>
                  <a:gd name="connsiteX1" fmla="*/ 56099 w 56099"/>
                  <a:gd name="connsiteY1" fmla="*/ 256154 h 256752"/>
                  <a:gd name="connsiteX2" fmla="*/ 53169 w 56099"/>
                  <a:gd name="connsiteY2" fmla="*/ 256752 h 256752"/>
                  <a:gd name="connsiteX3" fmla="*/ 0 w 56099"/>
                  <a:gd name="connsiteY3" fmla="*/ 658 h 256752"/>
                </a:gdLst>
                <a:ahLst/>
                <a:cxnLst>
                  <a:cxn ang="0">
                    <a:pos x="connsiteX0" y="connsiteY0"/>
                  </a:cxn>
                  <a:cxn ang="0">
                    <a:pos x="connsiteX1" y="connsiteY1"/>
                  </a:cxn>
                  <a:cxn ang="0">
                    <a:pos x="connsiteX2" y="connsiteY2"/>
                  </a:cxn>
                  <a:cxn ang="0">
                    <a:pos x="connsiteX3" y="connsiteY3"/>
                  </a:cxn>
                </a:cxnLst>
                <a:rect l="l" t="t" r="r" b="b"/>
                <a:pathLst>
                  <a:path w="56099" h="256752">
                    <a:moveTo>
                      <a:pt x="2990" y="0"/>
                    </a:moveTo>
                    <a:lnTo>
                      <a:pt x="56099" y="256154"/>
                    </a:lnTo>
                    <a:lnTo>
                      <a:pt x="53169" y="256752"/>
                    </a:lnTo>
                    <a:lnTo>
                      <a:pt x="0" y="658"/>
                    </a:lnTo>
                    <a:close/>
                  </a:path>
                </a:pathLst>
              </a:custGeom>
              <a:grpFill/>
              <a:ln w="5978" cap="flat">
                <a:noFill/>
                <a:prstDash val="solid"/>
                <a:miter/>
              </a:ln>
            </p:spPr>
            <p:txBody>
              <a:bodyPr rtlCol="0" anchor="ctr"/>
              <a:lstStyle/>
              <a:p>
                <a:endParaRPr lang="en-GB"/>
              </a:p>
            </p:txBody>
          </p:sp>
          <p:sp>
            <p:nvSpPr>
              <p:cNvPr id="3210" name="Vrije vorm: vorm 3209">
                <a:extLst>
                  <a:ext uri="{FF2B5EF4-FFF2-40B4-BE49-F238E27FC236}">
                    <a16:creationId xmlns:a16="http://schemas.microsoft.com/office/drawing/2014/main" id="{34D68909-F703-4996-8DDF-3D4452F21178}"/>
                  </a:ext>
                </a:extLst>
              </p:cNvPr>
              <p:cNvSpPr/>
              <p:nvPr/>
            </p:nvSpPr>
            <p:spPr>
              <a:xfrm>
                <a:off x="6443819" y="5325506"/>
                <a:ext cx="18321" cy="18435"/>
              </a:xfrm>
              <a:custGeom>
                <a:avLst/>
                <a:gdLst>
                  <a:gd name="connsiteX0" fmla="*/ 18132 w 18321"/>
                  <a:gd name="connsiteY0" fmla="*/ 7364 h 18435"/>
                  <a:gd name="connsiteX1" fmla="*/ 11015 w 18321"/>
                  <a:gd name="connsiteY1" fmla="*/ 18249 h 18435"/>
                  <a:gd name="connsiteX2" fmla="*/ 190 w 18321"/>
                  <a:gd name="connsiteY2" fmla="*/ 11072 h 18435"/>
                  <a:gd name="connsiteX3" fmla="*/ 7307 w 18321"/>
                  <a:gd name="connsiteY3" fmla="*/ 187 h 18435"/>
                  <a:gd name="connsiteX4" fmla="*/ 18132 w 18321"/>
                  <a:gd name="connsiteY4" fmla="*/ 736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5">
                    <a:moveTo>
                      <a:pt x="18132" y="7364"/>
                    </a:moveTo>
                    <a:cubicBezTo>
                      <a:pt x="19148" y="12328"/>
                      <a:pt x="15979" y="17232"/>
                      <a:pt x="11015" y="18249"/>
                    </a:cubicBezTo>
                    <a:cubicBezTo>
                      <a:pt x="6051" y="19266"/>
                      <a:pt x="1206" y="16036"/>
                      <a:pt x="190" y="11072"/>
                    </a:cubicBezTo>
                    <a:cubicBezTo>
                      <a:pt x="-827" y="6108"/>
                      <a:pt x="2343" y="1204"/>
                      <a:pt x="7307" y="187"/>
                    </a:cubicBezTo>
                    <a:cubicBezTo>
                      <a:pt x="12211" y="-830"/>
                      <a:pt x="17115" y="2400"/>
                      <a:pt x="18132" y="7364"/>
                    </a:cubicBezTo>
                    <a:close/>
                  </a:path>
                </a:pathLst>
              </a:custGeom>
              <a:grpFill/>
              <a:ln w="5978" cap="flat">
                <a:noFill/>
                <a:prstDash val="solid"/>
                <a:miter/>
              </a:ln>
            </p:spPr>
            <p:txBody>
              <a:bodyPr rtlCol="0" anchor="ctr"/>
              <a:lstStyle/>
              <a:p>
                <a:endParaRPr lang="en-GB"/>
              </a:p>
            </p:txBody>
          </p:sp>
          <p:sp>
            <p:nvSpPr>
              <p:cNvPr id="3211" name="Vrije vorm: vorm 3210">
                <a:extLst>
                  <a:ext uri="{FF2B5EF4-FFF2-40B4-BE49-F238E27FC236}">
                    <a16:creationId xmlns:a16="http://schemas.microsoft.com/office/drawing/2014/main" id="{7537AC28-32BB-498E-9F23-69AD8F69B402}"/>
                  </a:ext>
                </a:extLst>
              </p:cNvPr>
              <p:cNvSpPr/>
              <p:nvPr/>
            </p:nvSpPr>
            <p:spPr>
              <a:xfrm>
                <a:off x="6390889" y="5070308"/>
                <a:ext cx="18321" cy="18436"/>
              </a:xfrm>
              <a:custGeom>
                <a:avLst/>
                <a:gdLst>
                  <a:gd name="connsiteX0" fmla="*/ 18132 w 18321"/>
                  <a:gd name="connsiteY0" fmla="*/ 7364 h 18436"/>
                  <a:gd name="connsiteX1" fmla="*/ 7307 w 18321"/>
                  <a:gd name="connsiteY1" fmla="*/ 187 h 18436"/>
                  <a:gd name="connsiteX2" fmla="*/ 190 w 18321"/>
                  <a:gd name="connsiteY2" fmla="*/ 11072 h 18436"/>
                  <a:gd name="connsiteX3" fmla="*/ 11015 w 18321"/>
                  <a:gd name="connsiteY3" fmla="*/ 18249 h 18436"/>
                  <a:gd name="connsiteX4" fmla="*/ 18132 w 18321"/>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8132" y="7364"/>
                    </a:moveTo>
                    <a:cubicBezTo>
                      <a:pt x="17115" y="2400"/>
                      <a:pt x="12211" y="-830"/>
                      <a:pt x="7307" y="187"/>
                    </a:cubicBezTo>
                    <a:cubicBezTo>
                      <a:pt x="2343" y="1204"/>
                      <a:pt x="-827" y="6048"/>
                      <a:pt x="190" y="11072"/>
                    </a:cubicBezTo>
                    <a:cubicBezTo>
                      <a:pt x="1207" y="16036"/>
                      <a:pt x="6051" y="19266"/>
                      <a:pt x="11015" y="18249"/>
                    </a:cubicBezTo>
                    <a:cubicBezTo>
                      <a:pt x="15979" y="17232"/>
                      <a:pt x="19149" y="12388"/>
                      <a:pt x="18132" y="7364"/>
                    </a:cubicBezTo>
                    <a:close/>
                  </a:path>
                </a:pathLst>
              </a:custGeom>
              <a:grpFill/>
              <a:ln w="5978" cap="flat">
                <a:noFill/>
                <a:prstDash val="solid"/>
                <a:miter/>
              </a:ln>
            </p:spPr>
            <p:txBody>
              <a:bodyPr rtlCol="0" anchor="ctr"/>
              <a:lstStyle/>
              <a:p>
                <a:endParaRPr lang="en-GB"/>
              </a:p>
            </p:txBody>
          </p:sp>
        </p:grpSp>
        <p:grpSp>
          <p:nvGrpSpPr>
            <p:cNvPr id="728" name="Graphic 3">
              <a:extLst>
                <a:ext uri="{FF2B5EF4-FFF2-40B4-BE49-F238E27FC236}">
                  <a16:creationId xmlns:a16="http://schemas.microsoft.com/office/drawing/2014/main" id="{E10F2DEC-824A-462C-832E-6E2F0D1C72B4}"/>
                </a:ext>
              </a:extLst>
            </p:cNvPr>
            <p:cNvGrpSpPr/>
            <p:nvPr/>
          </p:nvGrpSpPr>
          <p:grpSpPr>
            <a:xfrm>
              <a:off x="5147294" y="1479528"/>
              <a:ext cx="59695" cy="107100"/>
              <a:chOff x="5147294" y="1479528"/>
              <a:chExt cx="59695" cy="107100"/>
            </a:xfrm>
            <a:grpFill/>
          </p:grpSpPr>
          <p:sp>
            <p:nvSpPr>
              <p:cNvPr id="3206" name="Vrije vorm: vorm 3205">
                <a:extLst>
                  <a:ext uri="{FF2B5EF4-FFF2-40B4-BE49-F238E27FC236}">
                    <a16:creationId xmlns:a16="http://schemas.microsoft.com/office/drawing/2014/main" id="{E00F430E-45C5-49E5-8CB6-DC2C84F5E402}"/>
                  </a:ext>
                </a:extLst>
              </p:cNvPr>
              <p:cNvSpPr/>
              <p:nvPr/>
            </p:nvSpPr>
            <p:spPr>
              <a:xfrm>
                <a:off x="5154923" y="1487685"/>
                <a:ext cx="44437" cy="90787"/>
              </a:xfrm>
              <a:custGeom>
                <a:avLst/>
                <a:gdLst>
                  <a:gd name="connsiteX0" fmla="*/ 44437 w 44437"/>
                  <a:gd name="connsiteY0" fmla="*/ 89472 h 90787"/>
                  <a:gd name="connsiteX1" fmla="*/ 41686 w 44437"/>
                  <a:gd name="connsiteY1" fmla="*/ 90787 h 90787"/>
                  <a:gd name="connsiteX2" fmla="*/ 0 w 44437"/>
                  <a:gd name="connsiteY2" fmla="*/ 1316 h 90787"/>
                  <a:gd name="connsiteX3" fmla="*/ 2751 w 44437"/>
                  <a:gd name="connsiteY3" fmla="*/ 0 h 90787"/>
                </a:gdLst>
                <a:ahLst/>
                <a:cxnLst>
                  <a:cxn ang="0">
                    <a:pos x="connsiteX0" y="connsiteY0"/>
                  </a:cxn>
                  <a:cxn ang="0">
                    <a:pos x="connsiteX1" y="connsiteY1"/>
                  </a:cxn>
                  <a:cxn ang="0">
                    <a:pos x="connsiteX2" y="connsiteY2"/>
                  </a:cxn>
                  <a:cxn ang="0">
                    <a:pos x="connsiteX3" y="connsiteY3"/>
                  </a:cxn>
                </a:cxnLst>
                <a:rect l="l" t="t" r="r" b="b"/>
                <a:pathLst>
                  <a:path w="44437" h="90787">
                    <a:moveTo>
                      <a:pt x="44437" y="89472"/>
                    </a:moveTo>
                    <a:lnTo>
                      <a:pt x="41686" y="90787"/>
                    </a:lnTo>
                    <a:lnTo>
                      <a:pt x="0" y="1316"/>
                    </a:lnTo>
                    <a:lnTo>
                      <a:pt x="2751" y="0"/>
                    </a:lnTo>
                    <a:close/>
                  </a:path>
                </a:pathLst>
              </a:custGeom>
              <a:grpFill/>
              <a:ln w="5978" cap="flat">
                <a:noFill/>
                <a:prstDash val="solid"/>
                <a:miter/>
              </a:ln>
            </p:spPr>
            <p:txBody>
              <a:bodyPr rtlCol="0" anchor="ctr"/>
              <a:lstStyle/>
              <a:p>
                <a:endParaRPr lang="en-GB"/>
              </a:p>
            </p:txBody>
          </p:sp>
          <p:sp>
            <p:nvSpPr>
              <p:cNvPr id="3207" name="Vrije vorm: vorm 3206">
                <a:extLst>
                  <a:ext uri="{FF2B5EF4-FFF2-40B4-BE49-F238E27FC236}">
                    <a16:creationId xmlns:a16="http://schemas.microsoft.com/office/drawing/2014/main" id="{4CB4ED55-C27A-4D55-B74D-AB8498191199}"/>
                  </a:ext>
                </a:extLst>
              </p:cNvPr>
              <p:cNvSpPr/>
              <p:nvPr/>
            </p:nvSpPr>
            <p:spPr>
              <a:xfrm>
                <a:off x="5188621" y="1568188"/>
                <a:ext cx="18368" cy="18440"/>
              </a:xfrm>
              <a:custGeom>
                <a:avLst/>
                <a:gdLst>
                  <a:gd name="connsiteX0" fmla="*/ 17498 w 18368"/>
                  <a:gd name="connsiteY0" fmla="*/ 5320 h 18440"/>
                  <a:gd name="connsiteX1" fmla="*/ 13072 w 18368"/>
                  <a:gd name="connsiteY1" fmla="*/ 17580 h 18440"/>
                  <a:gd name="connsiteX2" fmla="*/ 871 w 18368"/>
                  <a:gd name="connsiteY2" fmla="*/ 13095 h 18440"/>
                  <a:gd name="connsiteX3" fmla="*/ 5297 w 18368"/>
                  <a:gd name="connsiteY3" fmla="*/ 834 h 18440"/>
                  <a:gd name="connsiteX4" fmla="*/ 17498 w 18368"/>
                  <a:gd name="connsiteY4" fmla="*/ 5320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0">
                    <a:moveTo>
                      <a:pt x="17498" y="5320"/>
                    </a:moveTo>
                    <a:cubicBezTo>
                      <a:pt x="19651" y="9925"/>
                      <a:pt x="17677" y="15427"/>
                      <a:pt x="13072" y="17580"/>
                    </a:cubicBezTo>
                    <a:cubicBezTo>
                      <a:pt x="8467" y="19733"/>
                      <a:pt x="3024" y="17700"/>
                      <a:pt x="871" y="13095"/>
                    </a:cubicBezTo>
                    <a:cubicBezTo>
                      <a:pt x="-1282" y="8490"/>
                      <a:pt x="692" y="2987"/>
                      <a:pt x="5297" y="834"/>
                    </a:cubicBezTo>
                    <a:cubicBezTo>
                      <a:pt x="9842" y="-1259"/>
                      <a:pt x="15344" y="715"/>
                      <a:pt x="17498" y="5320"/>
                    </a:cubicBezTo>
                    <a:close/>
                  </a:path>
                </a:pathLst>
              </a:custGeom>
              <a:grpFill/>
              <a:ln w="5978" cap="flat">
                <a:noFill/>
                <a:prstDash val="solid"/>
                <a:miter/>
              </a:ln>
            </p:spPr>
            <p:txBody>
              <a:bodyPr rtlCol="0" anchor="ctr"/>
              <a:lstStyle/>
              <a:p>
                <a:endParaRPr lang="en-GB"/>
              </a:p>
            </p:txBody>
          </p:sp>
          <p:sp>
            <p:nvSpPr>
              <p:cNvPr id="3208" name="Vrije vorm: vorm 3207">
                <a:extLst>
                  <a:ext uri="{FF2B5EF4-FFF2-40B4-BE49-F238E27FC236}">
                    <a16:creationId xmlns:a16="http://schemas.microsoft.com/office/drawing/2014/main" id="{814910C1-E7FD-4C8F-8829-170F32C0F075}"/>
                  </a:ext>
                </a:extLst>
              </p:cNvPr>
              <p:cNvSpPr/>
              <p:nvPr/>
            </p:nvSpPr>
            <p:spPr>
              <a:xfrm>
                <a:off x="5147294" y="1479528"/>
                <a:ext cx="18368" cy="18466"/>
              </a:xfrm>
              <a:custGeom>
                <a:avLst/>
                <a:gdLst>
                  <a:gd name="connsiteX0" fmla="*/ 17497 w 18368"/>
                  <a:gd name="connsiteY0" fmla="*/ 5346 h 18466"/>
                  <a:gd name="connsiteX1" fmla="*/ 5297 w 18368"/>
                  <a:gd name="connsiteY1" fmla="*/ 860 h 18466"/>
                  <a:gd name="connsiteX2" fmla="*/ 871 w 18368"/>
                  <a:gd name="connsiteY2" fmla="*/ 13121 h 18466"/>
                  <a:gd name="connsiteX3" fmla="*/ 13072 w 18368"/>
                  <a:gd name="connsiteY3" fmla="*/ 17606 h 18466"/>
                  <a:gd name="connsiteX4" fmla="*/ 17497 w 18368"/>
                  <a:gd name="connsiteY4" fmla="*/ 53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17497" y="5346"/>
                    </a:moveTo>
                    <a:cubicBezTo>
                      <a:pt x="15345" y="741"/>
                      <a:pt x="9902" y="-1293"/>
                      <a:pt x="5297" y="860"/>
                    </a:cubicBezTo>
                    <a:cubicBezTo>
                      <a:pt x="692" y="3013"/>
                      <a:pt x="-1282" y="8456"/>
                      <a:pt x="871" y="13121"/>
                    </a:cubicBezTo>
                    <a:cubicBezTo>
                      <a:pt x="3024" y="17726"/>
                      <a:pt x="8467" y="19759"/>
                      <a:pt x="13072" y="17606"/>
                    </a:cubicBezTo>
                    <a:cubicBezTo>
                      <a:pt x="17677" y="15453"/>
                      <a:pt x="19650" y="9951"/>
                      <a:pt x="17497" y="5346"/>
                    </a:cubicBezTo>
                    <a:close/>
                  </a:path>
                </a:pathLst>
              </a:custGeom>
              <a:grpFill/>
              <a:ln w="5978" cap="flat">
                <a:noFill/>
                <a:prstDash val="solid"/>
                <a:miter/>
              </a:ln>
            </p:spPr>
            <p:txBody>
              <a:bodyPr rtlCol="0" anchor="ctr"/>
              <a:lstStyle/>
              <a:p>
                <a:endParaRPr lang="en-GB"/>
              </a:p>
            </p:txBody>
          </p:sp>
        </p:grpSp>
        <p:grpSp>
          <p:nvGrpSpPr>
            <p:cNvPr id="729" name="Graphic 3">
              <a:extLst>
                <a:ext uri="{FF2B5EF4-FFF2-40B4-BE49-F238E27FC236}">
                  <a16:creationId xmlns:a16="http://schemas.microsoft.com/office/drawing/2014/main" id="{E828AF94-7184-47A9-AFCA-DEDB465AB6A9}"/>
                </a:ext>
              </a:extLst>
            </p:cNvPr>
            <p:cNvGrpSpPr/>
            <p:nvPr/>
          </p:nvGrpSpPr>
          <p:grpSpPr>
            <a:xfrm>
              <a:off x="5147354" y="1479528"/>
              <a:ext cx="68726" cy="126597"/>
              <a:chOff x="5147354" y="1479528"/>
              <a:chExt cx="68726" cy="126597"/>
            </a:xfrm>
            <a:grpFill/>
          </p:grpSpPr>
          <p:sp>
            <p:nvSpPr>
              <p:cNvPr id="3203" name="Vrije vorm: vorm 3202">
                <a:extLst>
                  <a:ext uri="{FF2B5EF4-FFF2-40B4-BE49-F238E27FC236}">
                    <a16:creationId xmlns:a16="http://schemas.microsoft.com/office/drawing/2014/main" id="{A97936BC-D0DD-4C81-A43B-33BED74A72BC}"/>
                  </a:ext>
                </a:extLst>
              </p:cNvPr>
              <p:cNvSpPr/>
              <p:nvPr/>
            </p:nvSpPr>
            <p:spPr>
              <a:xfrm>
                <a:off x="5154923" y="1487685"/>
                <a:ext cx="53527" cy="110284"/>
              </a:xfrm>
              <a:custGeom>
                <a:avLst/>
                <a:gdLst>
                  <a:gd name="connsiteX0" fmla="*/ 53528 w 53527"/>
                  <a:gd name="connsiteY0" fmla="*/ 109029 h 110284"/>
                  <a:gd name="connsiteX1" fmla="*/ 50777 w 53527"/>
                  <a:gd name="connsiteY1" fmla="*/ 110284 h 110284"/>
                  <a:gd name="connsiteX2" fmla="*/ 0 w 53527"/>
                  <a:gd name="connsiteY2" fmla="*/ 1316 h 110284"/>
                  <a:gd name="connsiteX3" fmla="*/ 2751 w 53527"/>
                  <a:gd name="connsiteY3" fmla="*/ 0 h 110284"/>
                </a:gdLst>
                <a:ahLst/>
                <a:cxnLst>
                  <a:cxn ang="0">
                    <a:pos x="connsiteX0" y="connsiteY0"/>
                  </a:cxn>
                  <a:cxn ang="0">
                    <a:pos x="connsiteX1" y="connsiteY1"/>
                  </a:cxn>
                  <a:cxn ang="0">
                    <a:pos x="connsiteX2" y="connsiteY2"/>
                  </a:cxn>
                  <a:cxn ang="0">
                    <a:pos x="connsiteX3" y="connsiteY3"/>
                  </a:cxn>
                </a:cxnLst>
                <a:rect l="l" t="t" r="r" b="b"/>
                <a:pathLst>
                  <a:path w="53527" h="110284">
                    <a:moveTo>
                      <a:pt x="53528" y="109029"/>
                    </a:moveTo>
                    <a:lnTo>
                      <a:pt x="50777" y="110284"/>
                    </a:lnTo>
                    <a:lnTo>
                      <a:pt x="0" y="1316"/>
                    </a:lnTo>
                    <a:lnTo>
                      <a:pt x="2751" y="0"/>
                    </a:lnTo>
                    <a:close/>
                  </a:path>
                </a:pathLst>
              </a:custGeom>
              <a:grpFill/>
              <a:ln w="5978" cap="flat">
                <a:noFill/>
                <a:prstDash val="solid"/>
                <a:miter/>
              </a:ln>
            </p:spPr>
            <p:txBody>
              <a:bodyPr rtlCol="0" anchor="ctr"/>
              <a:lstStyle/>
              <a:p>
                <a:endParaRPr lang="en-GB"/>
              </a:p>
            </p:txBody>
          </p:sp>
          <p:sp>
            <p:nvSpPr>
              <p:cNvPr id="3204" name="Vrije vorm: vorm 3203">
                <a:extLst>
                  <a:ext uri="{FF2B5EF4-FFF2-40B4-BE49-F238E27FC236}">
                    <a16:creationId xmlns:a16="http://schemas.microsoft.com/office/drawing/2014/main" id="{A950937E-A8BD-46FB-B017-F5DFB69243CD}"/>
                  </a:ext>
                </a:extLst>
              </p:cNvPr>
              <p:cNvSpPr/>
              <p:nvPr/>
            </p:nvSpPr>
            <p:spPr>
              <a:xfrm>
                <a:off x="5147354" y="1479528"/>
                <a:ext cx="18368" cy="18440"/>
              </a:xfrm>
              <a:custGeom>
                <a:avLst/>
                <a:gdLst>
                  <a:gd name="connsiteX0" fmla="*/ 871 w 18368"/>
                  <a:gd name="connsiteY0" fmla="*/ 13121 h 18440"/>
                  <a:gd name="connsiteX1" fmla="*/ 5297 w 18368"/>
                  <a:gd name="connsiteY1" fmla="*/ 860 h 18440"/>
                  <a:gd name="connsiteX2" fmla="*/ 17498 w 18368"/>
                  <a:gd name="connsiteY2" fmla="*/ 5346 h 18440"/>
                  <a:gd name="connsiteX3" fmla="*/ 13072 w 18368"/>
                  <a:gd name="connsiteY3" fmla="*/ 17606 h 18440"/>
                  <a:gd name="connsiteX4" fmla="*/ 871 w 18368"/>
                  <a:gd name="connsiteY4" fmla="*/ 13121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40">
                    <a:moveTo>
                      <a:pt x="871" y="13121"/>
                    </a:moveTo>
                    <a:cubicBezTo>
                      <a:pt x="-1282" y="8516"/>
                      <a:pt x="692" y="3013"/>
                      <a:pt x="5297" y="860"/>
                    </a:cubicBezTo>
                    <a:cubicBezTo>
                      <a:pt x="9902" y="-1293"/>
                      <a:pt x="15345" y="741"/>
                      <a:pt x="17498" y="5346"/>
                    </a:cubicBezTo>
                    <a:cubicBezTo>
                      <a:pt x="19651" y="9951"/>
                      <a:pt x="17677" y="15453"/>
                      <a:pt x="13072" y="17606"/>
                    </a:cubicBezTo>
                    <a:cubicBezTo>
                      <a:pt x="8467" y="19699"/>
                      <a:pt x="3024" y="17726"/>
                      <a:pt x="871" y="13121"/>
                    </a:cubicBezTo>
                    <a:close/>
                  </a:path>
                </a:pathLst>
              </a:custGeom>
              <a:grpFill/>
              <a:ln w="5978" cap="flat">
                <a:noFill/>
                <a:prstDash val="solid"/>
                <a:miter/>
              </a:ln>
            </p:spPr>
            <p:txBody>
              <a:bodyPr rtlCol="0" anchor="ctr"/>
              <a:lstStyle/>
              <a:p>
                <a:endParaRPr lang="en-GB"/>
              </a:p>
            </p:txBody>
          </p:sp>
          <p:sp>
            <p:nvSpPr>
              <p:cNvPr id="3205" name="Vrije vorm: vorm 3204">
                <a:extLst>
                  <a:ext uri="{FF2B5EF4-FFF2-40B4-BE49-F238E27FC236}">
                    <a16:creationId xmlns:a16="http://schemas.microsoft.com/office/drawing/2014/main" id="{EB9AD3A7-44CD-44FC-8192-7635BE7E7312}"/>
                  </a:ext>
                </a:extLst>
              </p:cNvPr>
              <p:cNvSpPr/>
              <p:nvPr/>
            </p:nvSpPr>
            <p:spPr>
              <a:xfrm>
                <a:off x="5197711" y="1587660"/>
                <a:ext cx="18368" cy="18466"/>
              </a:xfrm>
              <a:custGeom>
                <a:avLst/>
                <a:gdLst>
                  <a:gd name="connsiteX0" fmla="*/ 871 w 18368"/>
                  <a:gd name="connsiteY0" fmla="*/ 13121 h 18466"/>
                  <a:gd name="connsiteX1" fmla="*/ 13072 w 18368"/>
                  <a:gd name="connsiteY1" fmla="*/ 17606 h 18466"/>
                  <a:gd name="connsiteX2" fmla="*/ 17497 w 18368"/>
                  <a:gd name="connsiteY2" fmla="*/ 5346 h 18466"/>
                  <a:gd name="connsiteX3" fmla="*/ 5297 w 18368"/>
                  <a:gd name="connsiteY3" fmla="*/ 860 h 18466"/>
                  <a:gd name="connsiteX4" fmla="*/ 871 w 18368"/>
                  <a:gd name="connsiteY4" fmla="*/ 13121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66">
                    <a:moveTo>
                      <a:pt x="871" y="13121"/>
                    </a:moveTo>
                    <a:cubicBezTo>
                      <a:pt x="3024" y="17726"/>
                      <a:pt x="8467" y="19759"/>
                      <a:pt x="13072" y="17606"/>
                    </a:cubicBezTo>
                    <a:cubicBezTo>
                      <a:pt x="17677" y="15453"/>
                      <a:pt x="19650" y="10011"/>
                      <a:pt x="17497" y="5346"/>
                    </a:cubicBezTo>
                    <a:cubicBezTo>
                      <a:pt x="15345" y="741"/>
                      <a:pt x="9902" y="-1293"/>
                      <a:pt x="5297" y="860"/>
                    </a:cubicBezTo>
                    <a:cubicBezTo>
                      <a:pt x="692" y="3013"/>
                      <a:pt x="-1282" y="8516"/>
                      <a:pt x="871" y="13121"/>
                    </a:cubicBezTo>
                    <a:close/>
                  </a:path>
                </a:pathLst>
              </a:custGeom>
              <a:grpFill/>
              <a:ln w="5978" cap="flat">
                <a:noFill/>
                <a:prstDash val="solid"/>
                <a:miter/>
              </a:ln>
            </p:spPr>
            <p:txBody>
              <a:bodyPr rtlCol="0" anchor="ctr"/>
              <a:lstStyle/>
              <a:p>
                <a:endParaRPr lang="en-GB"/>
              </a:p>
            </p:txBody>
          </p:sp>
        </p:grpSp>
        <p:grpSp>
          <p:nvGrpSpPr>
            <p:cNvPr id="730" name="Graphic 3">
              <a:extLst>
                <a:ext uri="{FF2B5EF4-FFF2-40B4-BE49-F238E27FC236}">
                  <a16:creationId xmlns:a16="http://schemas.microsoft.com/office/drawing/2014/main" id="{BDEEF018-8DFA-4D2B-B031-2EDB3FFE0F58}"/>
                </a:ext>
              </a:extLst>
            </p:cNvPr>
            <p:cNvGrpSpPr/>
            <p:nvPr/>
          </p:nvGrpSpPr>
          <p:grpSpPr>
            <a:xfrm>
              <a:off x="5146574" y="1567802"/>
              <a:ext cx="167531" cy="323664"/>
              <a:chOff x="5146574" y="1567802"/>
              <a:chExt cx="167531" cy="323664"/>
            </a:xfrm>
            <a:grpFill/>
          </p:grpSpPr>
          <p:sp>
            <p:nvSpPr>
              <p:cNvPr id="3200" name="Vrije vorm: vorm 3199">
                <a:extLst>
                  <a:ext uri="{FF2B5EF4-FFF2-40B4-BE49-F238E27FC236}">
                    <a16:creationId xmlns:a16="http://schemas.microsoft.com/office/drawing/2014/main" id="{A629E3A0-50D2-4698-ABE8-6FB4067B69AB}"/>
                  </a:ext>
                </a:extLst>
              </p:cNvPr>
              <p:cNvSpPr/>
              <p:nvPr/>
            </p:nvSpPr>
            <p:spPr>
              <a:xfrm>
                <a:off x="5154276" y="1575912"/>
                <a:ext cx="152622" cy="307343"/>
              </a:xfrm>
              <a:custGeom>
                <a:avLst/>
                <a:gdLst>
                  <a:gd name="connsiteX0" fmla="*/ 0 w 152622"/>
                  <a:gd name="connsiteY0" fmla="*/ 1342 h 307343"/>
                  <a:gd name="connsiteX1" fmla="*/ 2740 w 152622"/>
                  <a:gd name="connsiteY1" fmla="*/ 0 h 307343"/>
                  <a:gd name="connsiteX2" fmla="*/ 152623 w 152622"/>
                  <a:gd name="connsiteY2" fmla="*/ 306002 h 307343"/>
                  <a:gd name="connsiteX3" fmla="*/ 149884 w 152622"/>
                  <a:gd name="connsiteY3" fmla="*/ 307344 h 307343"/>
                </a:gdLst>
                <a:ahLst/>
                <a:cxnLst>
                  <a:cxn ang="0">
                    <a:pos x="connsiteX0" y="connsiteY0"/>
                  </a:cxn>
                  <a:cxn ang="0">
                    <a:pos x="connsiteX1" y="connsiteY1"/>
                  </a:cxn>
                  <a:cxn ang="0">
                    <a:pos x="connsiteX2" y="connsiteY2"/>
                  </a:cxn>
                  <a:cxn ang="0">
                    <a:pos x="connsiteX3" y="connsiteY3"/>
                  </a:cxn>
                </a:cxnLst>
                <a:rect l="l" t="t" r="r" b="b"/>
                <a:pathLst>
                  <a:path w="152622" h="307343">
                    <a:moveTo>
                      <a:pt x="0" y="1342"/>
                    </a:moveTo>
                    <a:lnTo>
                      <a:pt x="2740" y="0"/>
                    </a:lnTo>
                    <a:lnTo>
                      <a:pt x="152623" y="306002"/>
                    </a:lnTo>
                    <a:lnTo>
                      <a:pt x="149884" y="307344"/>
                    </a:lnTo>
                    <a:close/>
                  </a:path>
                </a:pathLst>
              </a:custGeom>
              <a:grpFill/>
              <a:ln w="5978" cap="flat">
                <a:noFill/>
                <a:prstDash val="solid"/>
                <a:miter/>
              </a:ln>
            </p:spPr>
            <p:txBody>
              <a:bodyPr rtlCol="0" anchor="ctr"/>
              <a:lstStyle/>
              <a:p>
                <a:endParaRPr lang="en-GB"/>
              </a:p>
            </p:txBody>
          </p:sp>
          <p:sp>
            <p:nvSpPr>
              <p:cNvPr id="3201" name="Vrije vorm: vorm 3200">
                <a:extLst>
                  <a:ext uri="{FF2B5EF4-FFF2-40B4-BE49-F238E27FC236}">
                    <a16:creationId xmlns:a16="http://schemas.microsoft.com/office/drawing/2014/main" id="{321C7AB4-1EAE-408A-B46E-0459498C7403}"/>
                  </a:ext>
                </a:extLst>
              </p:cNvPr>
              <p:cNvSpPr/>
              <p:nvPr/>
            </p:nvSpPr>
            <p:spPr>
              <a:xfrm>
                <a:off x="5146574" y="1567802"/>
                <a:ext cx="18312" cy="18408"/>
              </a:xfrm>
              <a:custGeom>
                <a:avLst/>
                <a:gdLst>
                  <a:gd name="connsiteX0" fmla="*/ 933 w 18312"/>
                  <a:gd name="connsiteY0" fmla="*/ 13241 h 18408"/>
                  <a:gd name="connsiteX1" fmla="*/ 5119 w 18312"/>
                  <a:gd name="connsiteY1" fmla="*/ 921 h 18408"/>
                  <a:gd name="connsiteX2" fmla="*/ 17380 w 18312"/>
                  <a:gd name="connsiteY2" fmla="*/ 5167 h 18408"/>
                  <a:gd name="connsiteX3" fmla="*/ 13194 w 18312"/>
                  <a:gd name="connsiteY3" fmla="*/ 17488 h 18408"/>
                  <a:gd name="connsiteX4" fmla="*/ 933 w 18312"/>
                  <a:gd name="connsiteY4" fmla="*/ 1324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8">
                    <a:moveTo>
                      <a:pt x="933" y="13241"/>
                    </a:moveTo>
                    <a:cubicBezTo>
                      <a:pt x="-1280" y="8696"/>
                      <a:pt x="574" y="3134"/>
                      <a:pt x="5119" y="921"/>
                    </a:cubicBezTo>
                    <a:cubicBezTo>
                      <a:pt x="9665" y="-1292"/>
                      <a:pt x="15167" y="622"/>
                      <a:pt x="17380" y="5167"/>
                    </a:cubicBezTo>
                    <a:cubicBezTo>
                      <a:pt x="19593" y="9713"/>
                      <a:pt x="17739" y="15275"/>
                      <a:pt x="13194" y="17488"/>
                    </a:cubicBezTo>
                    <a:cubicBezTo>
                      <a:pt x="8708" y="19701"/>
                      <a:pt x="3206" y="17787"/>
                      <a:pt x="933" y="13241"/>
                    </a:cubicBezTo>
                    <a:close/>
                  </a:path>
                </a:pathLst>
              </a:custGeom>
              <a:grpFill/>
              <a:ln w="5978" cap="flat">
                <a:noFill/>
                <a:prstDash val="solid"/>
                <a:miter/>
              </a:ln>
            </p:spPr>
            <p:txBody>
              <a:bodyPr rtlCol="0" anchor="ctr"/>
              <a:lstStyle/>
              <a:p>
                <a:endParaRPr lang="en-GB"/>
              </a:p>
            </p:txBody>
          </p:sp>
          <p:sp>
            <p:nvSpPr>
              <p:cNvPr id="3202" name="Vrije vorm: vorm 3201">
                <a:extLst>
                  <a:ext uri="{FF2B5EF4-FFF2-40B4-BE49-F238E27FC236}">
                    <a16:creationId xmlns:a16="http://schemas.microsoft.com/office/drawing/2014/main" id="{35492D8A-3194-40AF-982D-4E4BE020E7F3}"/>
                  </a:ext>
                </a:extLst>
              </p:cNvPr>
              <p:cNvSpPr/>
              <p:nvPr/>
            </p:nvSpPr>
            <p:spPr>
              <a:xfrm>
                <a:off x="5295793" y="1873059"/>
                <a:ext cx="18312" cy="18408"/>
              </a:xfrm>
              <a:custGeom>
                <a:avLst/>
                <a:gdLst>
                  <a:gd name="connsiteX0" fmla="*/ 933 w 18312"/>
                  <a:gd name="connsiteY0" fmla="*/ 13241 h 18408"/>
                  <a:gd name="connsiteX1" fmla="*/ 13193 w 18312"/>
                  <a:gd name="connsiteY1" fmla="*/ 17488 h 18408"/>
                  <a:gd name="connsiteX2" fmla="*/ 17380 w 18312"/>
                  <a:gd name="connsiteY2" fmla="*/ 5167 h 18408"/>
                  <a:gd name="connsiteX3" fmla="*/ 5119 w 18312"/>
                  <a:gd name="connsiteY3" fmla="*/ 921 h 18408"/>
                  <a:gd name="connsiteX4" fmla="*/ 933 w 18312"/>
                  <a:gd name="connsiteY4" fmla="*/ 1324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8">
                    <a:moveTo>
                      <a:pt x="933" y="13241"/>
                    </a:moveTo>
                    <a:cubicBezTo>
                      <a:pt x="3146" y="17787"/>
                      <a:pt x="8648" y="19701"/>
                      <a:pt x="13193" y="17488"/>
                    </a:cubicBezTo>
                    <a:cubicBezTo>
                      <a:pt x="17739" y="15275"/>
                      <a:pt x="19593" y="9773"/>
                      <a:pt x="17380" y="5167"/>
                    </a:cubicBezTo>
                    <a:cubicBezTo>
                      <a:pt x="15167" y="622"/>
                      <a:pt x="9665" y="-1292"/>
                      <a:pt x="5119" y="921"/>
                    </a:cubicBezTo>
                    <a:cubicBezTo>
                      <a:pt x="574" y="3134"/>
                      <a:pt x="-1280" y="8696"/>
                      <a:pt x="933" y="13241"/>
                    </a:cubicBezTo>
                    <a:close/>
                  </a:path>
                </a:pathLst>
              </a:custGeom>
              <a:grpFill/>
              <a:ln w="5978" cap="flat">
                <a:noFill/>
                <a:prstDash val="solid"/>
                <a:miter/>
              </a:ln>
            </p:spPr>
            <p:txBody>
              <a:bodyPr rtlCol="0" anchor="ctr"/>
              <a:lstStyle/>
              <a:p>
                <a:endParaRPr lang="en-GB"/>
              </a:p>
            </p:txBody>
          </p:sp>
        </p:grpSp>
        <p:grpSp>
          <p:nvGrpSpPr>
            <p:cNvPr id="731" name="Graphic 3">
              <a:extLst>
                <a:ext uri="{FF2B5EF4-FFF2-40B4-BE49-F238E27FC236}">
                  <a16:creationId xmlns:a16="http://schemas.microsoft.com/office/drawing/2014/main" id="{D19EA1B0-EFDD-43DF-A8CE-C7BCD63D94B3}"/>
                </a:ext>
              </a:extLst>
            </p:cNvPr>
            <p:cNvGrpSpPr/>
            <p:nvPr/>
          </p:nvGrpSpPr>
          <p:grpSpPr>
            <a:xfrm>
              <a:off x="6360112" y="5077029"/>
              <a:ext cx="60975" cy="244924"/>
              <a:chOff x="6360112" y="5077029"/>
              <a:chExt cx="60975" cy="244924"/>
            </a:xfrm>
            <a:grpFill/>
          </p:grpSpPr>
          <p:sp>
            <p:nvSpPr>
              <p:cNvPr id="3197" name="Vrije vorm: vorm 3196">
                <a:extLst>
                  <a:ext uri="{FF2B5EF4-FFF2-40B4-BE49-F238E27FC236}">
                    <a16:creationId xmlns:a16="http://schemas.microsoft.com/office/drawing/2014/main" id="{8C479F32-FD76-40B2-A795-C59678C5A4D3}"/>
                  </a:ext>
                </a:extLst>
              </p:cNvPr>
              <p:cNvSpPr/>
              <p:nvPr/>
            </p:nvSpPr>
            <p:spPr>
              <a:xfrm>
                <a:off x="6367567" y="5085195"/>
                <a:ext cx="45805" cy="227955"/>
              </a:xfrm>
              <a:custGeom>
                <a:avLst/>
                <a:gdLst>
                  <a:gd name="connsiteX0" fmla="*/ 0 w 45805"/>
                  <a:gd name="connsiteY0" fmla="*/ 564 h 227955"/>
                  <a:gd name="connsiteX1" fmla="*/ 2998 w 45805"/>
                  <a:gd name="connsiteY1" fmla="*/ 0 h 227955"/>
                  <a:gd name="connsiteX2" fmla="*/ 45805 w 45805"/>
                  <a:gd name="connsiteY2" fmla="*/ 227391 h 227955"/>
                  <a:gd name="connsiteX3" fmla="*/ 42808 w 45805"/>
                  <a:gd name="connsiteY3" fmla="*/ 227955 h 227955"/>
                </a:gdLst>
                <a:ahLst/>
                <a:cxnLst>
                  <a:cxn ang="0">
                    <a:pos x="connsiteX0" y="connsiteY0"/>
                  </a:cxn>
                  <a:cxn ang="0">
                    <a:pos x="connsiteX1" y="connsiteY1"/>
                  </a:cxn>
                  <a:cxn ang="0">
                    <a:pos x="connsiteX2" y="connsiteY2"/>
                  </a:cxn>
                  <a:cxn ang="0">
                    <a:pos x="connsiteX3" y="connsiteY3"/>
                  </a:cxn>
                </a:cxnLst>
                <a:rect l="l" t="t" r="r" b="b"/>
                <a:pathLst>
                  <a:path w="45805" h="227955">
                    <a:moveTo>
                      <a:pt x="0" y="564"/>
                    </a:moveTo>
                    <a:lnTo>
                      <a:pt x="2998" y="0"/>
                    </a:lnTo>
                    <a:lnTo>
                      <a:pt x="45805" y="227391"/>
                    </a:lnTo>
                    <a:lnTo>
                      <a:pt x="42808" y="227955"/>
                    </a:lnTo>
                    <a:close/>
                  </a:path>
                </a:pathLst>
              </a:custGeom>
              <a:grpFill/>
              <a:ln w="5978" cap="flat">
                <a:noFill/>
                <a:prstDash val="solid"/>
                <a:miter/>
              </a:ln>
            </p:spPr>
            <p:txBody>
              <a:bodyPr rtlCol="0" anchor="ctr"/>
              <a:lstStyle/>
              <a:p>
                <a:endParaRPr lang="en-GB"/>
              </a:p>
            </p:txBody>
          </p:sp>
          <p:sp>
            <p:nvSpPr>
              <p:cNvPr id="3198" name="Vrije vorm: vorm 3197">
                <a:extLst>
                  <a:ext uri="{FF2B5EF4-FFF2-40B4-BE49-F238E27FC236}">
                    <a16:creationId xmlns:a16="http://schemas.microsoft.com/office/drawing/2014/main" id="{0B027D82-385E-49D0-BFE3-107D4F2CDB05}"/>
                  </a:ext>
                </a:extLst>
              </p:cNvPr>
              <p:cNvSpPr/>
              <p:nvPr/>
            </p:nvSpPr>
            <p:spPr>
              <a:xfrm>
                <a:off x="6402755" y="5303561"/>
                <a:ext cx="18333" cy="18391"/>
              </a:xfrm>
              <a:custGeom>
                <a:avLst/>
                <a:gdLst>
                  <a:gd name="connsiteX0" fmla="*/ 18168 w 18333"/>
                  <a:gd name="connsiteY0" fmla="*/ 7479 h 18391"/>
                  <a:gd name="connsiteX1" fmla="*/ 10871 w 18333"/>
                  <a:gd name="connsiteY1" fmla="*/ 18244 h 18391"/>
                  <a:gd name="connsiteX2" fmla="*/ 166 w 18333"/>
                  <a:gd name="connsiteY2" fmla="*/ 10888 h 18391"/>
                  <a:gd name="connsiteX3" fmla="*/ 7462 w 18333"/>
                  <a:gd name="connsiteY3" fmla="*/ 182 h 18391"/>
                  <a:gd name="connsiteX4" fmla="*/ 18168 w 18333"/>
                  <a:gd name="connsiteY4" fmla="*/ 7479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1">
                    <a:moveTo>
                      <a:pt x="18168" y="7479"/>
                    </a:moveTo>
                    <a:cubicBezTo>
                      <a:pt x="19124" y="12502"/>
                      <a:pt x="15835" y="17287"/>
                      <a:pt x="10871" y="18244"/>
                    </a:cubicBezTo>
                    <a:cubicBezTo>
                      <a:pt x="5907" y="19141"/>
                      <a:pt x="1122" y="15852"/>
                      <a:pt x="166" y="10888"/>
                    </a:cubicBezTo>
                    <a:cubicBezTo>
                      <a:pt x="-791" y="5864"/>
                      <a:pt x="2498" y="1079"/>
                      <a:pt x="7462" y="182"/>
                    </a:cubicBezTo>
                    <a:cubicBezTo>
                      <a:pt x="12426" y="-834"/>
                      <a:pt x="17211" y="2515"/>
                      <a:pt x="18168" y="7479"/>
                    </a:cubicBezTo>
                    <a:close/>
                  </a:path>
                </a:pathLst>
              </a:custGeom>
              <a:grpFill/>
              <a:ln w="5978" cap="flat">
                <a:noFill/>
                <a:prstDash val="solid"/>
                <a:miter/>
              </a:ln>
            </p:spPr>
            <p:txBody>
              <a:bodyPr rtlCol="0" anchor="ctr"/>
              <a:lstStyle/>
              <a:p>
                <a:endParaRPr lang="en-GB"/>
              </a:p>
            </p:txBody>
          </p:sp>
          <p:sp>
            <p:nvSpPr>
              <p:cNvPr id="3199" name="Vrije vorm: vorm 3198">
                <a:extLst>
                  <a:ext uri="{FF2B5EF4-FFF2-40B4-BE49-F238E27FC236}">
                    <a16:creationId xmlns:a16="http://schemas.microsoft.com/office/drawing/2014/main" id="{941B7B28-207A-4EE4-BC37-12A4D606C641}"/>
                  </a:ext>
                </a:extLst>
              </p:cNvPr>
              <p:cNvSpPr/>
              <p:nvPr/>
            </p:nvSpPr>
            <p:spPr>
              <a:xfrm>
                <a:off x="6360112" y="5077029"/>
                <a:ext cx="18333" cy="18452"/>
              </a:xfrm>
              <a:custGeom>
                <a:avLst/>
                <a:gdLst>
                  <a:gd name="connsiteX0" fmla="*/ 18168 w 18333"/>
                  <a:gd name="connsiteY0" fmla="*/ 7522 h 18452"/>
                  <a:gd name="connsiteX1" fmla="*/ 7462 w 18333"/>
                  <a:gd name="connsiteY1" fmla="*/ 166 h 18452"/>
                  <a:gd name="connsiteX2" fmla="*/ 166 w 18333"/>
                  <a:gd name="connsiteY2" fmla="*/ 10931 h 18452"/>
                  <a:gd name="connsiteX3" fmla="*/ 10871 w 18333"/>
                  <a:gd name="connsiteY3" fmla="*/ 18287 h 18452"/>
                  <a:gd name="connsiteX4" fmla="*/ 18168 w 18333"/>
                  <a:gd name="connsiteY4" fmla="*/ 7522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168" y="7522"/>
                    </a:moveTo>
                    <a:cubicBezTo>
                      <a:pt x="17211" y="2498"/>
                      <a:pt x="12426" y="-792"/>
                      <a:pt x="7462" y="166"/>
                    </a:cubicBezTo>
                    <a:cubicBezTo>
                      <a:pt x="2498" y="1122"/>
                      <a:pt x="-791" y="5907"/>
                      <a:pt x="166" y="10931"/>
                    </a:cubicBezTo>
                    <a:cubicBezTo>
                      <a:pt x="1122" y="15954"/>
                      <a:pt x="5907" y="19244"/>
                      <a:pt x="10871" y="18287"/>
                    </a:cubicBezTo>
                    <a:cubicBezTo>
                      <a:pt x="15835" y="17330"/>
                      <a:pt x="19124" y="12545"/>
                      <a:pt x="18168" y="7522"/>
                    </a:cubicBezTo>
                    <a:close/>
                  </a:path>
                </a:pathLst>
              </a:custGeom>
              <a:grpFill/>
              <a:ln w="5978" cap="flat">
                <a:noFill/>
                <a:prstDash val="solid"/>
                <a:miter/>
              </a:ln>
            </p:spPr>
            <p:txBody>
              <a:bodyPr rtlCol="0" anchor="ctr"/>
              <a:lstStyle/>
              <a:p>
                <a:endParaRPr lang="en-GB"/>
              </a:p>
            </p:txBody>
          </p:sp>
        </p:grpSp>
        <p:grpSp>
          <p:nvGrpSpPr>
            <p:cNvPr id="732" name="Graphic 3">
              <a:extLst>
                <a:ext uri="{FF2B5EF4-FFF2-40B4-BE49-F238E27FC236}">
                  <a16:creationId xmlns:a16="http://schemas.microsoft.com/office/drawing/2014/main" id="{535CFEF5-F802-43C4-8CAA-2B5601FC3160}"/>
                </a:ext>
              </a:extLst>
            </p:cNvPr>
            <p:cNvGrpSpPr/>
            <p:nvPr/>
          </p:nvGrpSpPr>
          <p:grpSpPr>
            <a:xfrm>
              <a:off x="6447586" y="5343568"/>
              <a:ext cx="73045" cy="282245"/>
              <a:chOff x="6447586" y="5343568"/>
              <a:chExt cx="73045" cy="282245"/>
            </a:xfrm>
            <a:grpFill/>
          </p:grpSpPr>
          <p:sp>
            <p:nvSpPr>
              <p:cNvPr id="3194" name="Vrije vorm: vorm 3193">
                <a:extLst>
                  <a:ext uri="{FF2B5EF4-FFF2-40B4-BE49-F238E27FC236}">
                    <a16:creationId xmlns:a16="http://schemas.microsoft.com/office/drawing/2014/main" id="{6D47E876-845D-4A57-96D1-B1F5BA8FB374}"/>
                  </a:ext>
                </a:extLst>
              </p:cNvPr>
              <p:cNvSpPr/>
              <p:nvPr/>
            </p:nvSpPr>
            <p:spPr>
              <a:xfrm>
                <a:off x="6455132" y="5352008"/>
                <a:ext cx="57893" cy="265364"/>
              </a:xfrm>
              <a:custGeom>
                <a:avLst/>
                <a:gdLst>
                  <a:gd name="connsiteX0" fmla="*/ 2990 w 57893"/>
                  <a:gd name="connsiteY0" fmla="*/ 0 h 265364"/>
                  <a:gd name="connsiteX1" fmla="*/ 57893 w 57893"/>
                  <a:gd name="connsiteY1" fmla="*/ 264767 h 265364"/>
                  <a:gd name="connsiteX2" fmla="*/ 54903 w 57893"/>
                  <a:gd name="connsiteY2" fmla="*/ 265365 h 265364"/>
                  <a:gd name="connsiteX3" fmla="*/ 0 w 57893"/>
                  <a:gd name="connsiteY3" fmla="*/ 658 h 265364"/>
                </a:gdLst>
                <a:ahLst/>
                <a:cxnLst>
                  <a:cxn ang="0">
                    <a:pos x="connsiteX0" y="connsiteY0"/>
                  </a:cxn>
                  <a:cxn ang="0">
                    <a:pos x="connsiteX1" y="connsiteY1"/>
                  </a:cxn>
                  <a:cxn ang="0">
                    <a:pos x="connsiteX2" y="connsiteY2"/>
                  </a:cxn>
                  <a:cxn ang="0">
                    <a:pos x="connsiteX3" y="connsiteY3"/>
                  </a:cxn>
                </a:cxnLst>
                <a:rect l="l" t="t" r="r" b="b"/>
                <a:pathLst>
                  <a:path w="57893" h="265364">
                    <a:moveTo>
                      <a:pt x="2990" y="0"/>
                    </a:moveTo>
                    <a:lnTo>
                      <a:pt x="57893" y="264767"/>
                    </a:lnTo>
                    <a:lnTo>
                      <a:pt x="54903" y="265365"/>
                    </a:lnTo>
                    <a:lnTo>
                      <a:pt x="0" y="658"/>
                    </a:lnTo>
                    <a:close/>
                  </a:path>
                </a:pathLst>
              </a:custGeom>
              <a:grpFill/>
              <a:ln w="5978" cap="flat">
                <a:noFill/>
                <a:prstDash val="solid"/>
                <a:miter/>
              </a:ln>
            </p:spPr>
            <p:txBody>
              <a:bodyPr rtlCol="0" anchor="ctr"/>
              <a:lstStyle/>
              <a:p>
                <a:endParaRPr lang="en-GB"/>
              </a:p>
            </p:txBody>
          </p:sp>
          <p:sp>
            <p:nvSpPr>
              <p:cNvPr id="3195" name="Vrije vorm: vorm 3194">
                <a:extLst>
                  <a:ext uri="{FF2B5EF4-FFF2-40B4-BE49-F238E27FC236}">
                    <a16:creationId xmlns:a16="http://schemas.microsoft.com/office/drawing/2014/main" id="{B9BD7768-0C17-461F-A0BD-1E998E838D20}"/>
                  </a:ext>
                </a:extLst>
              </p:cNvPr>
              <p:cNvSpPr/>
              <p:nvPr/>
            </p:nvSpPr>
            <p:spPr>
              <a:xfrm>
                <a:off x="6502310" y="5607377"/>
                <a:ext cx="18321" cy="18435"/>
              </a:xfrm>
              <a:custGeom>
                <a:avLst/>
                <a:gdLst>
                  <a:gd name="connsiteX0" fmla="*/ 18132 w 18321"/>
                  <a:gd name="connsiteY0" fmla="*/ 7364 h 18435"/>
                  <a:gd name="connsiteX1" fmla="*/ 11015 w 18321"/>
                  <a:gd name="connsiteY1" fmla="*/ 18249 h 18435"/>
                  <a:gd name="connsiteX2" fmla="*/ 190 w 18321"/>
                  <a:gd name="connsiteY2" fmla="*/ 11072 h 18435"/>
                  <a:gd name="connsiteX3" fmla="*/ 7307 w 18321"/>
                  <a:gd name="connsiteY3" fmla="*/ 187 h 18435"/>
                  <a:gd name="connsiteX4" fmla="*/ 18132 w 18321"/>
                  <a:gd name="connsiteY4" fmla="*/ 736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5">
                    <a:moveTo>
                      <a:pt x="18132" y="7364"/>
                    </a:moveTo>
                    <a:cubicBezTo>
                      <a:pt x="19149" y="12328"/>
                      <a:pt x="15979" y="17232"/>
                      <a:pt x="11015" y="18249"/>
                    </a:cubicBezTo>
                    <a:cubicBezTo>
                      <a:pt x="6051" y="19266"/>
                      <a:pt x="1207" y="16036"/>
                      <a:pt x="190" y="11072"/>
                    </a:cubicBezTo>
                    <a:cubicBezTo>
                      <a:pt x="-827" y="6108"/>
                      <a:pt x="2343" y="1204"/>
                      <a:pt x="7307" y="187"/>
                    </a:cubicBezTo>
                    <a:cubicBezTo>
                      <a:pt x="12211" y="-830"/>
                      <a:pt x="17055" y="2400"/>
                      <a:pt x="18132" y="7364"/>
                    </a:cubicBezTo>
                    <a:close/>
                  </a:path>
                </a:pathLst>
              </a:custGeom>
              <a:grpFill/>
              <a:ln w="5978" cap="flat">
                <a:noFill/>
                <a:prstDash val="solid"/>
                <a:miter/>
              </a:ln>
            </p:spPr>
            <p:txBody>
              <a:bodyPr rtlCol="0" anchor="ctr"/>
              <a:lstStyle/>
              <a:p>
                <a:endParaRPr lang="en-GB"/>
              </a:p>
            </p:txBody>
          </p:sp>
          <p:sp>
            <p:nvSpPr>
              <p:cNvPr id="3196" name="Vrije vorm: vorm 3195">
                <a:extLst>
                  <a:ext uri="{FF2B5EF4-FFF2-40B4-BE49-F238E27FC236}">
                    <a16:creationId xmlns:a16="http://schemas.microsoft.com/office/drawing/2014/main" id="{0202CEAE-2479-4EC6-B6C5-2BB432DA936E}"/>
                  </a:ext>
                </a:extLst>
              </p:cNvPr>
              <p:cNvSpPr/>
              <p:nvPr/>
            </p:nvSpPr>
            <p:spPr>
              <a:xfrm>
                <a:off x="6447586" y="5343568"/>
                <a:ext cx="18321" cy="18436"/>
              </a:xfrm>
              <a:custGeom>
                <a:avLst/>
                <a:gdLst>
                  <a:gd name="connsiteX0" fmla="*/ 18132 w 18321"/>
                  <a:gd name="connsiteY0" fmla="*/ 7364 h 18436"/>
                  <a:gd name="connsiteX1" fmla="*/ 7307 w 18321"/>
                  <a:gd name="connsiteY1" fmla="*/ 187 h 18436"/>
                  <a:gd name="connsiteX2" fmla="*/ 190 w 18321"/>
                  <a:gd name="connsiteY2" fmla="*/ 11072 h 18436"/>
                  <a:gd name="connsiteX3" fmla="*/ 11015 w 18321"/>
                  <a:gd name="connsiteY3" fmla="*/ 18249 h 18436"/>
                  <a:gd name="connsiteX4" fmla="*/ 18132 w 18321"/>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8132" y="7364"/>
                    </a:moveTo>
                    <a:cubicBezTo>
                      <a:pt x="17115" y="2400"/>
                      <a:pt x="12271" y="-830"/>
                      <a:pt x="7307" y="187"/>
                    </a:cubicBezTo>
                    <a:cubicBezTo>
                      <a:pt x="2343" y="1204"/>
                      <a:pt x="-827" y="6048"/>
                      <a:pt x="190" y="11072"/>
                    </a:cubicBezTo>
                    <a:cubicBezTo>
                      <a:pt x="1206" y="16036"/>
                      <a:pt x="6051" y="19266"/>
                      <a:pt x="11015" y="18249"/>
                    </a:cubicBezTo>
                    <a:cubicBezTo>
                      <a:pt x="15979" y="17232"/>
                      <a:pt x="19149" y="12388"/>
                      <a:pt x="18132" y="7364"/>
                    </a:cubicBezTo>
                    <a:close/>
                  </a:path>
                </a:pathLst>
              </a:custGeom>
              <a:grpFill/>
              <a:ln w="5978" cap="flat">
                <a:noFill/>
                <a:prstDash val="solid"/>
                <a:miter/>
              </a:ln>
            </p:spPr>
            <p:txBody>
              <a:bodyPr rtlCol="0" anchor="ctr"/>
              <a:lstStyle/>
              <a:p>
                <a:endParaRPr lang="en-GB"/>
              </a:p>
            </p:txBody>
          </p:sp>
        </p:grpSp>
        <p:grpSp>
          <p:nvGrpSpPr>
            <p:cNvPr id="733" name="Graphic 3">
              <a:extLst>
                <a:ext uri="{FF2B5EF4-FFF2-40B4-BE49-F238E27FC236}">
                  <a16:creationId xmlns:a16="http://schemas.microsoft.com/office/drawing/2014/main" id="{DEAA552E-E2F6-4AF2-882E-B6BAF8E54888}"/>
                </a:ext>
              </a:extLst>
            </p:cNvPr>
            <p:cNvGrpSpPr/>
            <p:nvPr/>
          </p:nvGrpSpPr>
          <p:grpSpPr>
            <a:xfrm>
              <a:off x="5128741" y="1532920"/>
              <a:ext cx="155532" cy="367712"/>
              <a:chOff x="5128741" y="1532920"/>
              <a:chExt cx="155532" cy="367712"/>
            </a:xfrm>
            <a:grpFill/>
          </p:grpSpPr>
          <p:sp>
            <p:nvSpPr>
              <p:cNvPr id="3191" name="Vrije vorm: vorm 3190">
                <a:extLst>
                  <a:ext uri="{FF2B5EF4-FFF2-40B4-BE49-F238E27FC236}">
                    <a16:creationId xmlns:a16="http://schemas.microsoft.com/office/drawing/2014/main" id="{ED977C75-8AEA-4984-B52D-B53141FB8C9F}"/>
                  </a:ext>
                </a:extLst>
              </p:cNvPr>
              <p:cNvSpPr/>
              <p:nvPr/>
            </p:nvSpPr>
            <p:spPr>
              <a:xfrm>
                <a:off x="5136323" y="1541152"/>
                <a:ext cx="140367" cy="351247"/>
              </a:xfrm>
              <a:custGeom>
                <a:avLst/>
                <a:gdLst>
                  <a:gd name="connsiteX0" fmla="*/ 140368 w 140367"/>
                  <a:gd name="connsiteY0" fmla="*/ 350111 h 351247"/>
                  <a:gd name="connsiteX1" fmla="*/ 137557 w 140367"/>
                  <a:gd name="connsiteY1" fmla="*/ 351248 h 351247"/>
                  <a:gd name="connsiteX2" fmla="*/ 0 w 140367"/>
                  <a:gd name="connsiteY2" fmla="*/ 1077 h 351247"/>
                  <a:gd name="connsiteX3" fmla="*/ 2811 w 140367"/>
                  <a:gd name="connsiteY3" fmla="*/ 0 h 351247"/>
                </a:gdLst>
                <a:ahLst/>
                <a:cxnLst>
                  <a:cxn ang="0">
                    <a:pos x="connsiteX0" y="connsiteY0"/>
                  </a:cxn>
                  <a:cxn ang="0">
                    <a:pos x="connsiteX1" y="connsiteY1"/>
                  </a:cxn>
                  <a:cxn ang="0">
                    <a:pos x="connsiteX2" y="connsiteY2"/>
                  </a:cxn>
                  <a:cxn ang="0">
                    <a:pos x="connsiteX3" y="connsiteY3"/>
                  </a:cxn>
                </a:cxnLst>
                <a:rect l="l" t="t" r="r" b="b"/>
                <a:pathLst>
                  <a:path w="140367" h="351247">
                    <a:moveTo>
                      <a:pt x="140368" y="350111"/>
                    </a:moveTo>
                    <a:lnTo>
                      <a:pt x="137557" y="351248"/>
                    </a:lnTo>
                    <a:lnTo>
                      <a:pt x="0" y="1077"/>
                    </a:lnTo>
                    <a:lnTo>
                      <a:pt x="2811" y="0"/>
                    </a:lnTo>
                    <a:close/>
                  </a:path>
                </a:pathLst>
              </a:custGeom>
              <a:grpFill/>
              <a:ln w="5978" cap="flat">
                <a:noFill/>
                <a:prstDash val="solid"/>
                <a:miter/>
              </a:ln>
            </p:spPr>
            <p:txBody>
              <a:bodyPr rtlCol="0" anchor="ctr"/>
              <a:lstStyle/>
              <a:p>
                <a:endParaRPr lang="en-GB"/>
              </a:p>
            </p:txBody>
          </p:sp>
          <p:sp>
            <p:nvSpPr>
              <p:cNvPr id="3192" name="Vrije vorm: vorm 3191">
                <a:extLst>
                  <a:ext uri="{FF2B5EF4-FFF2-40B4-BE49-F238E27FC236}">
                    <a16:creationId xmlns:a16="http://schemas.microsoft.com/office/drawing/2014/main" id="{AA9F312D-0DDE-4487-84CC-2AD513D19C13}"/>
                  </a:ext>
                </a:extLst>
              </p:cNvPr>
              <p:cNvSpPr/>
              <p:nvPr/>
            </p:nvSpPr>
            <p:spPr>
              <a:xfrm>
                <a:off x="5265938" y="1882194"/>
                <a:ext cx="18335" cy="18438"/>
              </a:xfrm>
              <a:custGeom>
                <a:avLst/>
                <a:gdLst>
                  <a:gd name="connsiteX0" fmla="*/ 17690 w 18335"/>
                  <a:gd name="connsiteY0" fmla="*/ 5840 h 18438"/>
                  <a:gd name="connsiteX1" fmla="*/ 12547 w 18335"/>
                  <a:gd name="connsiteY1" fmla="*/ 17801 h 18438"/>
                  <a:gd name="connsiteX2" fmla="*/ 645 w 18335"/>
                  <a:gd name="connsiteY2" fmla="*/ 12598 h 18438"/>
                  <a:gd name="connsiteX3" fmla="*/ 5788 w 18335"/>
                  <a:gd name="connsiteY3" fmla="*/ 637 h 18438"/>
                  <a:gd name="connsiteX4" fmla="*/ 17690 w 18335"/>
                  <a:gd name="connsiteY4" fmla="*/ 5840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7690" y="5840"/>
                    </a:moveTo>
                    <a:cubicBezTo>
                      <a:pt x="19544" y="10565"/>
                      <a:pt x="17271" y="15947"/>
                      <a:pt x="12547" y="17801"/>
                    </a:cubicBezTo>
                    <a:cubicBezTo>
                      <a:pt x="7822" y="19656"/>
                      <a:pt x="2499" y="17323"/>
                      <a:pt x="645" y="12598"/>
                    </a:cubicBezTo>
                    <a:cubicBezTo>
                      <a:pt x="-1209" y="7874"/>
                      <a:pt x="1064" y="2491"/>
                      <a:pt x="5788" y="637"/>
                    </a:cubicBezTo>
                    <a:cubicBezTo>
                      <a:pt x="10513" y="-1217"/>
                      <a:pt x="15836" y="1115"/>
                      <a:pt x="17690" y="5840"/>
                    </a:cubicBezTo>
                    <a:close/>
                  </a:path>
                </a:pathLst>
              </a:custGeom>
              <a:grpFill/>
              <a:ln w="5978" cap="flat">
                <a:noFill/>
                <a:prstDash val="solid"/>
                <a:miter/>
              </a:ln>
            </p:spPr>
            <p:txBody>
              <a:bodyPr rtlCol="0" anchor="ctr"/>
              <a:lstStyle/>
              <a:p>
                <a:endParaRPr lang="en-GB"/>
              </a:p>
            </p:txBody>
          </p:sp>
          <p:sp>
            <p:nvSpPr>
              <p:cNvPr id="3193" name="Vrije vorm: vorm 3192">
                <a:extLst>
                  <a:ext uri="{FF2B5EF4-FFF2-40B4-BE49-F238E27FC236}">
                    <a16:creationId xmlns:a16="http://schemas.microsoft.com/office/drawing/2014/main" id="{CF37753D-F38F-4F34-8263-72509FE23A9C}"/>
                  </a:ext>
                </a:extLst>
              </p:cNvPr>
              <p:cNvSpPr/>
              <p:nvPr/>
            </p:nvSpPr>
            <p:spPr>
              <a:xfrm>
                <a:off x="5128741" y="1532920"/>
                <a:ext cx="18327" cy="18445"/>
              </a:xfrm>
              <a:custGeom>
                <a:avLst/>
                <a:gdLst>
                  <a:gd name="connsiteX0" fmla="*/ 17690 w 18327"/>
                  <a:gd name="connsiteY0" fmla="*/ 5840 h 18445"/>
                  <a:gd name="connsiteX1" fmla="*/ 5788 w 18327"/>
                  <a:gd name="connsiteY1" fmla="*/ 637 h 18445"/>
                  <a:gd name="connsiteX2" fmla="*/ 645 w 18327"/>
                  <a:gd name="connsiteY2" fmla="*/ 12598 h 18445"/>
                  <a:gd name="connsiteX3" fmla="*/ 12547 w 18327"/>
                  <a:gd name="connsiteY3" fmla="*/ 17801 h 18445"/>
                  <a:gd name="connsiteX4" fmla="*/ 17690 w 18327"/>
                  <a:gd name="connsiteY4" fmla="*/ 5840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5">
                    <a:moveTo>
                      <a:pt x="17690" y="5840"/>
                    </a:moveTo>
                    <a:cubicBezTo>
                      <a:pt x="15836" y="1115"/>
                      <a:pt x="10513" y="-1217"/>
                      <a:pt x="5788" y="637"/>
                    </a:cubicBezTo>
                    <a:cubicBezTo>
                      <a:pt x="1064" y="2491"/>
                      <a:pt x="-1209" y="7814"/>
                      <a:pt x="645" y="12598"/>
                    </a:cubicBezTo>
                    <a:cubicBezTo>
                      <a:pt x="2499" y="17383"/>
                      <a:pt x="7822" y="19655"/>
                      <a:pt x="12547" y="17801"/>
                    </a:cubicBezTo>
                    <a:cubicBezTo>
                      <a:pt x="17211" y="15947"/>
                      <a:pt x="19544" y="10565"/>
                      <a:pt x="17690" y="5840"/>
                    </a:cubicBezTo>
                    <a:close/>
                  </a:path>
                </a:pathLst>
              </a:custGeom>
              <a:grpFill/>
              <a:ln w="5978" cap="flat">
                <a:noFill/>
                <a:prstDash val="solid"/>
                <a:miter/>
              </a:ln>
            </p:spPr>
            <p:txBody>
              <a:bodyPr rtlCol="0" anchor="ctr"/>
              <a:lstStyle/>
              <a:p>
                <a:endParaRPr lang="en-GB"/>
              </a:p>
            </p:txBody>
          </p:sp>
        </p:grpSp>
        <p:grpSp>
          <p:nvGrpSpPr>
            <p:cNvPr id="734" name="Graphic 3">
              <a:extLst>
                <a:ext uri="{FF2B5EF4-FFF2-40B4-BE49-F238E27FC236}">
                  <a16:creationId xmlns:a16="http://schemas.microsoft.com/office/drawing/2014/main" id="{57269C1D-90A1-4440-A1F0-72D68130A714}"/>
                </a:ext>
              </a:extLst>
            </p:cNvPr>
            <p:cNvGrpSpPr/>
            <p:nvPr/>
          </p:nvGrpSpPr>
          <p:grpSpPr>
            <a:xfrm>
              <a:off x="6599389" y="5847059"/>
              <a:ext cx="36654" cy="99544"/>
              <a:chOff x="6599389" y="5847059"/>
              <a:chExt cx="36654" cy="99544"/>
            </a:xfrm>
            <a:grpFill/>
          </p:grpSpPr>
          <p:sp>
            <p:nvSpPr>
              <p:cNvPr id="3188" name="Vrije vorm: vorm 3187">
                <a:extLst>
                  <a:ext uri="{FF2B5EF4-FFF2-40B4-BE49-F238E27FC236}">
                    <a16:creationId xmlns:a16="http://schemas.microsoft.com/office/drawing/2014/main" id="{42630B1A-C95E-4E21-8DED-5E89427A40AA}"/>
                  </a:ext>
                </a:extLst>
              </p:cNvPr>
              <p:cNvSpPr/>
              <p:nvPr/>
            </p:nvSpPr>
            <p:spPr>
              <a:xfrm>
                <a:off x="6606923" y="5855525"/>
                <a:ext cx="21530" cy="82653"/>
              </a:xfrm>
              <a:custGeom>
                <a:avLst/>
                <a:gdLst>
                  <a:gd name="connsiteX0" fmla="*/ 2930 w 21530"/>
                  <a:gd name="connsiteY0" fmla="*/ 0 h 82653"/>
                  <a:gd name="connsiteX1" fmla="*/ 21530 w 21530"/>
                  <a:gd name="connsiteY1" fmla="*/ 81936 h 82653"/>
                  <a:gd name="connsiteX2" fmla="*/ 18600 w 21530"/>
                  <a:gd name="connsiteY2" fmla="*/ 82654 h 82653"/>
                  <a:gd name="connsiteX3" fmla="*/ 0 w 21530"/>
                  <a:gd name="connsiteY3" fmla="*/ 658 h 82653"/>
                </a:gdLst>
                <a:ahLst/>
                <a:cxnLst>
                  <a:cxn ang="0">
                    <a:pos x="connsiteX0" y="connsiteY0"/>
                  </a:cxn>
                  <a:cxn ang="0">
                    <a:pos x="connsiteX1" y="connsiteY1"/>
                  </a:cxn>
                  <a:cxn ang="0">
                    <a:pos x="connsiteX2" y="connsiteY2"/>
                  </a:cxn>
                  <a:cxn ang="0">
                    <a:pos x="connsiteX3" y="connsiteY3"/>
                  </a:cxn>
                </a:cxnLst>
                <a:rect l="l" t="t" r="r" b="b"/>
                <a:pathLst>
                  <a:path w="21530" h="82653">
                    <a:moveTo>
                      <a:pt x="2930" y="0"/>
                    </a:moveTo>
                    <a:lnTo>
                      <a:pt x="21530" y="81936"/>
                    </a:lnTo>
                    <a:lnTo>
                      <a:pt x="18600" y="82654"/>
                    </a:lnTo>
                    <a:lnTo>
                      <a:pt x="0" y="658"/>
                    </a:lnTo>
                    <a:close/>
                  </a:path>
                </a:pathLst>
              </a:custGeom>
              <a:grpFill/>
              <a:ln w="5978" cap="flat">
                <a:noFill/>
                <a:prstDash val="solid"/>
                <a:miter/>
              </a:ln>
            </p:spPr>
            <p:txBody>
              <a:bodyPr rtlCol="0" anchor="ctr"/>
              <a:lstStyle/>
              <a:p>
                <a:endParaRPr lang="en-GB"/>
              </a:p>
            </p:txBody>
          </p:sp>
          <p:sp>
            <p:nvSpPr>
              <p:cNvPr id="3189" name="Vrije vorm: vorm 3188">
                <a:extLst>
                  <a:ext uri="{FF2B5EF4-FFF2-40B4-BE49-F238E27FC236}">
                    <a16:creationId xmlns:a16="http://schemas.microsoft.com/office/drawing/2014/main" id="{F726D31B-405A-4265-B736-D3EB13C1B6A8}"/>
                  </a:ext>
                </a:extLst>
              </p:cNvPr>
              <p:cNvSpPr/>
              <p:nvPr/>
            </p:nvSpPr>
            <p:spPr>
              <a:xfrm>
                <a:off x="6617753" y="5928157"/>
                <a:ext cx="18291" cy="18445"/>
              </a:xfrm>
              <a:custGeom>
                <a:avLst/>
                <a:gdLst>
                  <a:gd name="connsiteX0" fmla="*/ 18057 w 18291"/>
                  <a:gd name="connsiteY0" fmla="*/ 7211 h 18445"/>
                  <a:gd name="connsiteX1" fmla="*/ 11179 w 18291"/>
                  <a:gd name="connsiteY1" fmla="*/ 18215 h 18445"/>
                  <a:gd name="connsiteX2" fmla="*/ 234 w 18291"/>
                  <a:gd name="connsiteY2" fmla="*/ 11218 h 18445"/>
                  <a:gd name="connsiteX3" fmla="*/ 7112 w 18291"/>
                  <a:gd name="connsiteY3" fmla="*/ 213 h 18445"/>
                  <a:gd name="connsiteX4" fmla="*/ 18057 w 18291"/>
                  <a:gd name="connsiteY4" fmla="*/ 721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8057" y="7211"/>
                    </a:moveTo>
                    <a:cubicBezTo>
                      <a:pt x="19193" y="12174"/>
                      <a:pt x="16083" y="17079"/>
                      <a:pt x="11179" y="18215"/>
                    </a:cubicBezTo>
                    <a:cubicBezTo>
                      <a:pt x="6275" y="19351"/>
                      <a:pt x="1311" y="16182"/>
                      <a:pt x="234" y="11218"/>
                    </a:cubicBezTo>
                    <a:cubicBezTo>
                      <a:pt x="-902" y="6253"/>
                      <a:pt x="2208" y="1349"/>
                      <a:pt x="7112" y="213"/>
                    </a:cubicBezTo>
                    <a:cubicBezTo>
                      <a:pt x="12017" y="-864"/>
                      <a:pt x="16921" y="2246"/>
                      <a:pt x="18057" y="7211"/>
                    </a:cubicBezTo>
                    <a:close/>
                  </a:path>
                </a:pathLst>
              </a:custGeom>
              <a:grpFill/>
              <a:ln w="5978" cap="flat">
                <a:noFill/>
                <a:prstDash val="solid"/>
                <a:miter/>
              </a:ln>
            </p:spPr>
            <p:txBody>
              <a:bodyPr rtlCol="0" anchor="ctr"/>
              <a:lstStyle/>
              <a:p>
                <a:endParaRPr lang="en-GB"/>
              </a:p>
            </p:txBody>
          </p:sp>
          <p:sp>
            <p:nvSpPr>
              <p:cNvPr id="3190" name="Vrije vorm: vorm 3189">
                <a:extLst>
                  <a:ext uri="{FF2B5EF4-FFF2-40B4-BE49-F238E27FC236}">
                    <a16:creationId xmlns:a16="http://schemas.microsoft.com/office/drawing/2014/main" id="{918BC363-2FFD-401B-ADFB-CC1178FFB2FA}"/>
                  </a:ext>
                </a:extLst>
              </p:cNvPr>
              <p:cNvSpPr/>
              <p:nvPr/>
            </p:nvSpPr>
            <p:spPr>
              <a:xfrm>
                <a:off x="6599389" y="5847059"/>
                <a:ext cx="18294" cy="18427"/>
              </a:xfrm>
              <a:custGeom>
                <a:avLst/>
                <a:gdLst>
                  <a:gd name="connsiteX0" fmla="*/ 18060 w 18294"/>
                  <a:gd name="connsiteY0" fmla="*/ 7211 h 18427"/>
                  <a:gd name="connsiteX1" fmla="*/ 7115 w 18294"/>
                  <a:gd name="connsiteY1" fmla="*/ 213 h 18427"/>
                  <a:gd name="connsiteX2" fmla="*/ 237 w 18294"/>
                  <a:gd name="connsiteY2" fmla="*/ 11218 h 18427"/>
                  <a:gd name="connsiteX3" fmla="*/ 11242 w 18294"/>
                  <a:gd name="connsiteY3" fmla="*/ 18215 h 18427"/>
                  <a:gd name="connsiteX4" fmla="*/ 18060 w 18294"/>
                  <a:gd name="connsiteY4" fmla="*/ 7211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27">
                    <a:moveTo>
                      <a:pt x="18060" y="7211"/>
                    </a:moveTo>
                    <a:cubicBezTo>
                      <a:pt x="16923" y="2246"/>
                      <a:pt x="12019" y="-864"/>
                      <a:pt x="7115" y="213"/>
                    </a:cubicBezTo>
                    <a:cubicBezTo>
                      <a:pt x="2151" y="1349"/>
                      <a:pt x="-899" y="6253"/>
                      <a:pt x="237" y="11218"/>
                    </a:cubicBezTo>
                    <a:cubicBezTo>
                      <a:pt x="1373" y="16182"/>
                      <a:pt x="6278" y="19291"/>
                      <a:pt x="11242" y="18215"/>
                    </a:cubicBezTo>
                    <a:cubicBezTo>
                      <a:pt x="16086" y="17138"/>
                      <a:pt x="19196" y="12174"/>
                      <a:pt x="18060" y="7211"/>
                    </a:cubicBezTo>
                    <a:close/>
                  </a:path>
                </a:pathLst>
              </a:custGeom>
              <a:grpFill/>
              <a:ln w="5978" cap="flat">
                <a:noFill/>
                <a:prstDash val="solid"/>
                <a:miter/>
              </a:ln>
            </p:spPr>
            <p:txBody>
              <a:bodyPr rtlCol="0" anchor="ctr"/>
              <a:lstStyle/>
              <a:p>
                <a:endParaRPr lang="en-GB"/>
              </a:p>
            </p:txBody>
          </p:sp>
        </p:grpSp>
        <p:grpSp>
          <p:nvGrpSpPr>
            <p:cNvPr id="735" name="Graphic 3">
              <a:extLst>
                <a:ext uri="{FF2B5EF4-FFF2-40B4-BE49-F238E27FC236}">
                  <a16:creationId xmlns:a16="http://schemas.microsoft.com/office/drawing/2014/main" id="{6E4B5E28-683E-4472-BE1F-3BFF721E56BC}"/>
                </a:ext>
              </a:extLst>
            </p:cNvPr>
            <p:cNvGrpSpPr/>
            <p:nvPr/>
          </p:nvGrpSpPr>
          <p:grpSpPr>
            <a:xfrm>
              <a:off x="6390268" y="5070463"/>
              <a:ext cx="108079" cy="659785"/>
              <a:chOff x="6390268" y="5070463"/>
              <a:chExt cx="108079" cy="659785"/>
            </a:xfrm>
            <a:grpFill/>
          </p:grpSpPr>
          <p:sp>
            <p:nvSpPr>
              <p:cNvPr id="3185" name="Vrije vorm: vorm 3184">
                <a:extLst>
                  <a:ext uri="{FF2B5EF4-FFF2-40B4-BE49-F238E27FC236}">
                    <a16:creationId xmlns:a16="http://schemas.microsoft.com/office/drawing/2014/main" id="{8468A783-53BA-43A1-B215-E0B159657B4B}"/>
                  </a:ext>
                </a:extLst>
              </p:cNvPr>
              <p:cNvSpPr/>
              <p:nvPr/>
            </p:nvSpPr>
            <p:spPr>
              <a:xfrm>
                <a:off x="6397837" y="5078988"/>
                <a:ext cx="92940" cy="642688"/>
              </a:xfrm>
              <a:custGeom>
                <a:avLst/>
                <a:gdLst>
                  <a:gd name="connsiteX0" fmla="*/ 3050 w 92940"/>
                  <a:gd name="connsiteY0" fmla="*/ 0 h 642688"/>
                  <a:gd name="connsiteX1" fmla="*/ 92941 w 92940"/>
                  <a:gd name="connsiteY1" fmla="*/ 642269 h 642688"/>
                  <a:gd name="connsiteX2" fmla="*/ 89890 w 92940"/>
                  <a:gd name="connsiteY2" fmla="*/ 642688 h 642688"/>
                  <a:gd name="connsiteX3" fmla="*/ 0 w 92940"/>
                  <a:gd name="connsiteY3" fmla="*/ 419 h 642688"/>
                </a:gdLst>
                <a:ahLst/>
                <a:cxnLst>
                  <a:cxn ang="0">
                    <a:pos x="connsiteX0" y="connsiteY0"/>
                  </a:cxn>
                  <a:cxn ang="0">
                    <a:pos x="connsiteX1" y="connsiteY1"/>
                  </a:cxn>
                  <a:cxn ang="0">
                    <a:pos x="connsiteX2" y="connsiteY2"/>
                  </a:cxn>
                  <a:cxn ang="0">
                    <a:pos x="connsiteX3" y="connsiteY3"/>
                  </a:cxn>
                </a:cxnLst>
                <a:rect l="l" t="t" r="r" b="b"/>
                <a:pathLst>
                  <a:path w="92940" h="642688">
                    <a:moveTo>
                      <a:pt x="3050" y="0"/>
                    </a:moveTo>
                    <a:lnTo>
                      <a:pt x="92941" y="642269"/>
                    </a:lnTo>
                    <a:lnTo>
                      <a:pt x="89890" y="642688"/>
                    </a:lnTo>
                    <a:lnTo>
                      <a:pt x="0" y="419"/>
                    </a:lnTo>
                    <a:close/>
                  </a:path>
                </a:pathLst>
              </a:custGeom>
              <a:grpFill/>
              <a:ln w="5978" cap="flat">
                <a:noFill/>
                <a:prstDash val="solid"/>
                <a:miter/>
              </a:ln>
            </p:spPr>
            <p:txBody>
              <a:bodyPr rtlCol="0" anchor="ctr"/>
              <a:lstStyle/>
              <a:p>
                <a:endParaRPr lang="en-GB"/>
              </a:p>
            </p:txBody>
          </p:sp>
          <p:sp>
            <p:nvSpPr>
              <p:cNvPr id="3186" name="Vrije vorm: vorm 3185">
                <a:extLst>
                  <a:ext uri="{FF2B5EF4-FFF2-40B4-BE49-F238E27FC236}">
                    <a16:creationId xmlns:a16="http://schemas.microsoft.com/office/drawing/2014/main" id="{2639B442-4D8F-4976-AF74-984D73F1030F}"/>
                  </a:ext>
                </a:extLst>
              </p:cNvPr>
              <p:cNvSpPr/>
              <p:nvPr/>
            </p:nvSpPr>
            <p:spPr>
              <a:xfrm>
                <a:off x="6390268" y="5070463"/>
                <a:ext cx="18307" cy="18412"/>
              </a:xfrm>
              <a:custGeom>
                <a:avLst/>
                <a:gdLst>
                  <a:gd name="connsiteX0" fmla="*/ 93 w 18307"/>
                  <a:gd name="connsiteY0" fmla="*/ 10440 h 18412"/>
                  <a:gd name="connsiteX1" fmla="*/ 7868 w 18307"/>
                  <a:gd name="connsiteY1" fmla="*/ 93 h 18412"/>
                  <a:gd name="connsiteX2" fmla="*/ 18215 w 18307"/>
                  <a:gd name="connsiteY2" fmla="*/ 7987 h 18412"/>
                  <a:gd name="connsiteX3" fmla="*/ 10440 w 18307"/>
                  <a:gd name="connsiteY3" fmla="*/ 18334 h 18412"/>
                  <a:gd name="connsiteX4" fmla="*/ 93 w 18307"/>
                  <a:gd name="connsiteY4" fmla="*/ 10440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12">
                    <a:moveTo>
                      <a:pt x="93" y="10440"/>
                    </a:moveTo>
                    <a:cubicBezTo>
                      <a:pt x="-625" y="5416"/>
                      <a:pt x="2904" y="751"/>
                      <a:pt x="7868" y="93"/>
                    </a:cubicBezTo>
                    <a:cubicBezTo>
                      <a:pt x="12892" y="-625"/>
                      <a:pt x="17497" y="2904"/>
                      <a:pt x="18215" y="7987"/>
                    </a:cubicBezTo>
                    <a:cubicBezTo>
                      <a:pt x="18932" y="13011"/>
                      <a:pt x="15403" y="17676"/>
                      <a:pt x="10440" y="18334"/>
                    </a:cubicBezTo>
                    <a:cubicBezTo>
                      <a:pt x="5416" y="18992"/>
                      <a:pt x="810" y="15463"/>
                      <a:pt x="93" y="10440"/>
                    </a:cubicBezTo>
                    <a:close/>
                  </a:path>
                </a:pathLst>
              </a:custGeom>
              <a:grpFill/>
              <a:ln w="5978" cap="flat">
                <a:noFill/>
                <a:prstDash val="solid"/>
                <a:miter/>
              </a:ln>
            </p:spPr>
            <p:txBody>
              <a:bodyPr rtlCol="0" anchor="ctr"/>
              <a:lstStyle/>
              <a:p>
                <a:endParaRPr lang="en-GB"/>
              </a:p>
            </p:txBody>
          </p:sp>
          <p:sp>
            <p:nvSpPr>
              <p:cNvPr id="3187" name="Vrije vorm: vorm 3186">
                <a:extLst>
                  <a:ext uri="{FF2B5EF4-FFF2-40B4-BE49-F238E27FC236}">
                    <a16:creationId xmlns:a16="http://schemas.microsoft.com/office/drawing/2014/main" id="{B1B6A92A-EDC5-4732-A878-06BCB6904B02}"/>
                  </a:ext>
                </a:extLst>
              </p:cNvPr>
              <p:cNvSpPr/>
              <p:nvPr/>
            </p:nvSpPr>
            <p:spPr>
              <a:xfrm>
                <a:off x="6480038" y="5711849"/>
                <a:ext cx="18309" cy="18399"/>
              </a:xfrm>
              <a:custGeom>
                <a:avLst/>
                <a:gdLst>
                  <a:gd name="connsiteX0" fmla="*/ 94 w 18309"/>
                  <a:gd name="connsiteY0" fmla="*/ 10426 h 18399"/>
                  <a:gd name="connsiteX1" fmla="*/ 10441 w 18309"/>
                  <a:gd name="connsiteY1" fmla="*/ 18320 h 18399"/>
                  <a:gd name="connsiteX2" fmla="*/ 18216 w 18309"/>
                  <a:gd name="connsiteY2" fmla="*/ 7973 h 18399"/>
                  <a:gd name="connsiteX3" fmla="*/ 7869 w 18309"/>
                  <a:gd name="connsiteY3" fmla="*/ 79 h 18399"/>
                  <a:gd name="connsiteX4" fmla="*/ 94 w 18309"/>
                  <a:gd name="connsiteY4" fmla="*/ 10426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399">
                    <a:moveTo>
                      <a:pt x="94" y="10426"/>
                    </a:moveTo>
                    <a:cubicBezTo>
                      <a:pt x="812" y="15449"/>
                      <a:pt x="5417" y="18978"/>
                      <a:pt x="10441" y="18320"/>
                    </a:cubicBezTo>
                    <a:cubicBezTo>
                      <a:pt x="15464" y="17603"/>
                      <a:pt x="18933" y="12997"/>
                      <a:pt x="18216" y="7973"/>
                    </a:cubicBezTo>
                    <a:cubicBezTo>
                      <a:pt x="17498" y="2950"/>
                      <a:pt x="12893" y="-579"/>
                      <a:pt x="7869" y="79"/>
                    </a:cubicBezTo>
                    <a:cubicBezTo>
                      <a:pt x="2845" y="737"/>
                      <a:pt x="-624" y="5402"/>
                      <a:pt x="94" y="10426"/>
                    </a:cubicBezTo>
                    <a:close/>
                  </a:path>
                </a:pathLst>
              </a:custGeom>
              <a:grpFill/>
              <a:ln w="5978" cap="flat">
                <a:noFill/>
                <a:prstDash val="solid"/>
                <a:miter/>
              </a:ln>
            </p:spPr>
            <p:txBody>
              <a:bodyPr rtlCol="0" anchor="ctr"/>
              <a:lstStyle/>
              <a:p>
                <a:endParaRPr lang="en-GB"/>
              </a:p>
            </p:txBody>
          </p:sp>
        </p:grpSp>
        <p:grpSp>
          <p:nvGrpSpPr>
            <p:cNvPr id="736" name="Graphic 3">
              <a:extLst>
                <a:ext uri="{FF2B5EF4-FFF2-40B4-BE49-F238E27FC236}">
                  <a16:creationId xmlns:a16="http://schemas.microsoft.com/office/drawing/2014/main" id="{5F6CB240-6747-4DEF-9BF8-417B7E4088F4}"/>
                </a:ext>
              </a:extLst>
            </p:cNvPr>
            <p:cNvGrpSpPr/>
            <p:nvPr/>
          </p:nvGrpSpPr>
          <p:grpSpPr>
            <a:xfrm>
              <a:off x="5118852" y="1596827"/>
              <a:ext cx="164543" cy="304130"/>
              <a:chOff x="5118852" y="1596827"/>
              <a:chExt cx="164543" cy="304130"/>
            </a:xfrm>
            <a:grpFill/>
          </p:grpSpPr>
          <p:sp>
            <p:nvSpPr>
              <p:cNvPr id="3182" name="Vrije vorm: vorm 3181">
                <a:extLst>
                  <a:ext uri="{FF2B5EF4-FFF2-40B4-BE49-F238E27FC236}">
                    <a16:creationId xmlns:a16="http://schemas.microsoft.com/office/drawing/2014/main" id="{FA5840AC-A1F7-4F1F-B8F8-2C910766C06A}"/>
                  </a:ext>
                </a:extLst>
              </p:cNvPr>
              <p:cNvSpPr/>
              <p:nvPr/>
            </p:nvSpPr>
            <p:spPr>
              <a:xfrm>
                <a:off x="5126455" y="1604907"/>
                <a:ext cx="149398" cy="287971"/>
              </a:xfrm>
              <a:custGeom>
                <a:avLst/>
                <a:gdLst>
                  <a:gd name="connsiteX0" fmla="*/ 149398 w 149398"/>
                  <a:gd name="connsiteY0" fmla="*/ 286596 h 287971"/>
                  <a:gd name="connsiteX1" fmla="*/ 146647 w 149398"/>
                  <a:gd name="connsiteY1" fmla="*/ 287972 h 287971"/>
                  <a:gd name="connsiteX2" fmla="*/ 0 w 149398"/>
                  <a:gd name="connsiteY2" fmla="*/ 1435 h 287971"/>
                  <a:gd name="connsiteX3" fmla="*/ 2691 w 149398"/>
                  <a:gd name="connsiteY3" fmla="*/ 0 h 287971"/>
                </a:gdLst>
                <a:ahLst/>
                <a:cxnLst>
                  <a:cxn ang="0">
                    <a:pos x="connsiteX0" y="connsiteY0"/>
                  </a:cxn>
                  <a:cxn ang="0">
                    <a:pos x="connsiteX1" y="connsiteY1"/>
                  </a:cxn>
                  <a:cxn ang="0">
                    <a:pos x="connsiteX2" y="connsiteY2"/>
                  </a:cxn>
                  <a:cxn ang="0">
                    <a:pos x="connsiteX3" y="connsiteY3"/>
                  </a:cxn>
                </a:cxnLst>
                <a:rect l="l" t="t" r="r" b="b"/>
                <a:pathLst>
                  <a:path w="149398" h="287971">
                    <a:moveTo>
                      <a:pt x="149398" y="286596"/>
                    </a:moveTo>
                    <a:lnTo>
                      <a:pt x="146647" y="287972"/>
                    </a:lnTo>
                    <a:lnTo>
                      <a:pt x="0" y="1435"/>
                    </a:lnTo>
                    <a:lnTo>
                      <a:pt x="2691" y="0"/>
                    </a:lnTo>
                    <a:close/>
                  </a:path>
                </a:pathLst>
              </a:custGeom>
              <a:grpFill/>
              <a:ln w="5978" cap="flat">
                <a:noFill/>
                <a:prstDash val="solid"/>
                <a:miter/>
              </a:ln>
            </p:spPr>
            <p:txBody>
              <a:bodyPr rtlCol="0" anchor="ctr"/>
              <a:lstStyle/>
              <a:p>
                <a:endParaRPr lang="en-GB"/>
              </a:p>
            </p:txBody>
          </p:sp>
          <p:sp>
            <p:nvSpPr>
              <p:cNvPr id="3183" name="Vrije vorm: vorm 3182">
                <a:extLst>
                  <a:ext uri="{FF2B5EF4-FFF2-40B4-BE49-F238E27FC236}">
                    <a16:creationId xmlns:a16="http://schemas.microsoft.com/office/drawing/2014/main" id="{06F75916-55EF-43F6-A388-817319D11D02}"/>
                  </a:ext>
                </a:extLst>
              </p:cNvPr>
              <p:cNvSpPr/>
              <p:nvPr/>
            </p:nvSpPr>
            <p:spPr>
              <a:xfrm>
                <a:off x="5118852" y="1596827"/>
                <a:ext cx="18315" cy="18431"/>
              </a:xfrm>
              <a:custGeom>
                <a:avLst/>
                <a:gdLst>
                  <a:gd name="connsiteX0" fmla="*/ 1024 w 18315"/>
                  <a:gd name="connsiteY0" fmla="*/ 13402 h 18431"/>
                  <a:gd name="connsiteX1" fmla="*/ 4971 w 18315"/>
                  <a:gd name="connsiteY1" fmla="*/ 1022 h 18431"/>
                  <a:gd name="connsiteX2" fmla="*/ 17292 w 18315"/>
                  <a:gd name="connsiteY2" fmla="*/ 5029 h 18431"/>
                  <a:gd name="connsiteX3" fmla="*/ 13344 w 18315"/>
                  <a:gd name="connsiteY3" fmla="*/ 17409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1309" y="8857"/>
                      <a:pt x="486" y="3295"/>
                      <a:pt x="4971" y="1022"/>
                    </a:cubicBezTo>
                    <a:cubicBezTo>
                      <a:pt x="9457" y="-1310"/>
                      <a:pt x="15019" y="484"/>
                      <a:pt x="17292" y="5029"/>
                    </a:cubicBezTo>
                    <a:cubicBezTo>
                      <a:pt x="19624" y="9575"/>
                      <a:pt x="17830" y="15137"/>
                      <a:pt x="13344" y="17409"/>
                    </a:cubicBezTo>
                    <a:cubicBezTo>
                      <a:pt x="8859" y="19742"/>
                      <a:pt x="3297" y="17948"/>
                      <a:pt x="1024" y="13402"/>
                    </a:cubicBezTo>
                    <a:close/>
                  </a:path>
                </a:pathLst>
              </a:custGeom>
              <a:grpFill/>
              <a:ln w="5978" cap="flat">
                <a:noFill/>
                <a:prstDash val="solid"/>
                <a:miter/>
              </a:ln>
            </p:spPr>
            <p:txBody>
              <a:bodyPr rtlCol="0" anchor="ctr"/>
              <a:lstStyle/>
              <a:p>
                <a:endParaRPr lang="en-GB"/>
              </a:p>
            </p:txBody>
          </p:sp>
          <p:sp>
            <p:nvSpPr>
              <p:cNvPr id="3184" name="Vrije vorm: vorm 3183">
                <a:extLst>
                  <a:ext uri="{FF2B5EF4-FFF2-40B4-BE49-F238E27FC236}">
                    <a16:creationId xmlns:a16="http://schemas.microsoft.com/office/drawing/2014/main" id="{E3394C9E-C266-406A-BB93-FE2C4269CFD5}"/>
                  </a:ext>
                </a:extLst>
              </p:cNvPr>
              <p:cNvSpPr/>
              <p:nvPr/>
            </p:nvSpPr>
            <p:spPr>
              <a:xfrm>
                <a:off x="5265107" y="1882526"/>
                <a:ext cx="18288" cy="18431"/>
              </a:xfrm>
              <a:custGeom>
                <a:avLst/>
                <a:gdLst>
                  <a:gd name="connsiteX0" fmla="*/ 998 w 18288"/>
                  <a:gd name="connsiteY0" fmla="*/ 13402 h 18431"/>
                  <a:gd name="connsiteX1" fmla="*/ 13318 w 18288"/>
                  <a:gd name="connsiteY1" fmla="*/ 17409 h 18431"/>
                  <a:gd name="connsiteX2" fmla="*/ 17265 w 18288"/>
                  <a:gd name="connsiteY2" fmla="*/ 5029 h 18431"/>
                  <a:gd name="connsiteX3" fmla="*/ 4945 w 18288"/>
                  <a:gd name="connsiteY3" fmla="*/ 1022 h 18431"/>
                  <a:gd name="connsiteX4" fmla="*/ 998 w 18288"/>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31">
                    <a:moveTo>
                      <a:pt x="998" y="13402"/>
                    </a:moveTo>
                    <a:cubicBezTo>
                      <a:pt x="3330" y="17948"/>
                      <a:pt x="8832" y="19742"/>
                      <a:pt x="13318" y="17409"/>
                    </a:cubicBezTo>
                    <a:cubicBezTo>
                      <a:pt x="17803" y="15077"/>
                      <a:pt x="19597" y="9575"/>
                      <a:pt x="17265" y="5029"/>
                    </a:cubicBezTo>
                    <a:cubicBezTo>
                      <a:pt x="14933" y="484"/>
                      <a:pt x="9430" y="-1310"/>
                      <a:pt x="4945" y="1022"/>
                    </a:cubicBezTo>
                    <a:cubicBezTo>
                      <a:pt x="459" y="3355"/>
                      <a:pt x="-1275" y="8917"/>
                      <a:pt x="998" y="13402"/>
                    </a:cubicBezTo>
                    <a:close/>
                  </a:path>
                </a:pathLst>
              </a:custGeom>
              <a:grpFill/>
              <a:ln w="5978" cap="flat">
                <a:noFill/>
                <a:prstDash val="solid"/>
                <a:miter/>
              </a:ln>
            </p:spPr>
            <p:txBody>
              <a:bodyPr rtlCol="0" anchor="ctr"/>
              <a:lstStyle/>
              <a:p>
                <a:endParaRPr lang="en-GB"/>
              </a:p>
            </p:txBody>
          </p:sp>
        </p:grpSp>
        <p:grpSp>
          <p:nvGrpSpPr>
            <p:cNvPr id="737" name="Graphic 3">
              <a:extLst>
                <a:ext uri="{FF2B5EF4-FFF2-40B4-BE49-F238E27FC236}">
                  <a16:creationId xmlns:a16="http://schemas.microsoft.com/office/drawing/2014/main" id="{41A6044E-2863-49F7-A42F-BB6EF796866A}"/>
                </a:ext>
              </a:extLst>
            </p:cNvPr>
            <p:cNvGrpSpPr/>
            <p:nvPr/>
          </p:nvGrpSpPr>
          <p:grpSpPr>
            <a:xfrm>
              <a:off x="5103872" y="1480424"/>
              <a:ext cx="35776" cy="54064"/>
              <a:chOff x="5103872" y="1480424"/>
              <a:chExt cx="35776" cy="54064"/>
            </a:xfrm>
            <a:grpFill/>
          </p:grpSpPr>
          <p:sp>
            <p:nvSpPr>
              <p:cNvPr id="3179" name="Vrije vorm: vorm 3178">
                <a:extLst>
                  <a:ext uri="{FF2B5EF4-FFF2-40B4-BE49-F238E27FC236}">
                    <a16:creationId xmlns:a16="http://schemas.microsoft.com/office/drawing/2014/main" id="{5CD21B70-DAA1-439A-9CDC-9BEE2F169694}"/>
                  </a:ext>
                </a:extLst>
              </p:cNvPr>
              <p:cNvSpPr/>
              <p:nvPr/>
            </p:nvSpPr>
            <p:spPr>
              <a:xfrm>
                <a:off x="5111686" y="1488378"/>
                <a:ext cx="20579" cy="37823"/>
              </a:xfrm>
              <a:custGeom>
                <a:avLst/>
                <a:gdLst>
                  <a:gd name="connsiteX0" fmla="*/ 0 w 20579"/>
                  <a:gd name="connsiteY0" fmla="*/ 1340 h 37823"/>
                  <a:gd name="connsiteX1" fmla="*/ 2740 w 20579"/>
                  <a:gd name="connsiteY1" fmla="*/ 0 h 37823"/>
                  <a:gd name="connsiteX2" fmla="*/ 20580 w 20579"/>
                  <a:gd name="connsiteY2" fmla="*/ 36483 h 37823"/>
                  <a:gd name="connsiteX3" fmla="*/ 17839 w 20579"/>
                  <a:gd name="connsiteY3" fmla="*/ 37823 h 37823"/>
                </a:gdLst>
                <a:ahLst/>
                <a:cxnLst>
                  <a:cxn ang="0">
                    <a:pos x="connsiteX0" y="connsiteY0"/>
                  </a:cxn>
                  <a:cxn ang="0">
                    <a:pos x="connsiteX1" y="connsiteY1"/>
                  </a:cxn>
                  <a:cxn ang="0">
                    <a:pos x="connsiteX2" y="connsiteY2"/>
                  </a:cxn>
                  <a:cxn ang="0">
                    <a:pos x="connsiteX3" y="connsiteY3"/>
                  </a:cxn>
                </a:cxnLst>
                <a:rect l="l" t="t" r="r" b="b"/>
                <a:pathLst>
                  <a:path w="20579" h="37823">
                    <a:moveTo>
                      <a:pt x="0" y="1340"/>
                    </a:moveTo>
                    <a:lnTo>
                      <a:pt x="2740" y="0"/>
                    </a:lnTo>
                    <a:lnTo>
                      <a:pt x="20580" y="36483"/>
                    </a:lnTo>
                    <a:lnTo>
                      <a:pt x="17839" y="37823"/>
                    </a:lnTo>
                    <a:close/>
                  </a:path>
                </a:pathLst>
              </a:custGeom>
              <a:grpFill/>
              <a:ln w="5978" cap="flat">
                <a:noFill/>
                <a:prstDash val="solid"/>
                <a:miter/>
              </a:ln>
            </p:spPr>
            <p:txBody>
              <a:bodyPr rtlCol="0" anchor="ctr"/>
              <a:lstStyle/>
              <a:p>
                <a:endParaRPr lang="en-GB"/>
              </a:p>
            </p:txBody>
          </p:sp>
          <p:sp>
            <p:nvSpPr>
              <p:cNvPr id="3180" name="Vrije vorm: vorm 3179">
                <a:extLst>
                  <a:ext uri="{FF2B5EF4-FFF2-40B4-BE49-F238E27FC236}">
                    <a16:creationId xmlns:a16="http://schemas.microsoft.com/office/drawing/2014/main" id="{56EC275A-EE6C-4FE4-BAC0-B9A327325E8F}"/>
                  </a:ext>
                </a:extLst>
              </p:cNvPr>
              <p:cNvSpPr/>
              <p:nvPr/>
            </p:nvSpPr>
            <p:spPr>
              <a:xfrm>
                <a:off x="5121336" y="1516033"/>
                <a:ext cx="18312" cy="18455"/>
              </a:xfrm>
              <a:custGeom>
                <a:avLst/>
                <a:gdLst>
                  <a:gd name="connsiteX0" fmla="*/ 17380 w 18312"/>
                  <a:gd name="connsiteY0" fmla="*/ 5204 h 18455"/>
                  <a:gd name="connsiteX1" fmla="*/ 13193 w 18312"/>
                  <a:gd name="connsiteY1" fmla="*/ 17524 h 18455"/>
                  <a:gd name="connsiteX2" fmla="*/ 933 w 18312"/>
                  <a:gd name="connsiteY2" fmla="*/ 13278 h 18455"/>
                  <a:gd name="connsiteX3" fmla="*/ 5119 w 18312"/>
                  <a:gd name="connsiteY3" fmla="*/ 958 h 18455"/>
                  <a:gd name="connsiteX4" fmla="*/ 17380 w 18312"/>
                  <a:gd name="connsiteY4" fmla="*/ 5204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5">
                    <a:moveTo>
                      <a:pt x="17380" y="5204"/>
                    </a:moveTo>
                    <a:cubicBezTo>
                      <a:pt x="19593" y="9749"/>
                      <a:pt x="17739" y="15311"/>
                      <a:pt x="13193" y="17524"/>
                    </a:cubicBezTo>
                    <a:cubicBezTo>
                      <a:pt x="8648" y="19737"/>
                      <a:pt x="3146" y="17883"/>
                      <a:pt x="933" y="13278"/>
                    </a:cubicBezTo>
                    <a:cubicBezTo>
                      <a:pt x="-1280" y="8733"/>
                      <a:pt x="574" y="3170"/>
                      <a:pt x="5119" y="958"/>
                    </a:cubicBezTo>
                    <a:cubicBezTo>
                      <a:pt x="9605" y="-1315"/>
                      <a:pt x="15107" y="599"/>
                      <a:pt x="17380" y="5204"/>
                    </a:cubicBezTo>
                    <a:close/>
                  </a:path>
                </a:pathLst>
              </a:custGeom>
              <a:grpFill/>
              <a:ln w="5978" cap="flat">
                <a:noFill/>
                <a:prstDash val="solid"/>
                <a:miter/>
              </a:ln>
            </p:spPr>
            <p:txBody>
              <a:bodyPr rtlCol="0" anchor="ctr"/>
              <a:lstStyle/>
              <a:p>
                <a:endParaRPr lang="en-GB"/>
              </a:p>
            </p:txBody>
          </p:sp>
          <p:sp>
            <p:nvSpPr>
              <p:cNvPr id="3181" name="Vrije vorm: vorm 3180">
                <a:extLst>
                  <a:ext uri="{FF2B5EF4-FFF2-40B4-BE49-F238E27FC236}">
                    <a16:creationId xmlns:a16="http://schemas.microsoft.com/office/drawing/2014/main" id="{8D4E0297-0E45-41DA-A039-CFADC21C710B}"/>
                  </a:ext>
                </a:extLst>
              </p:cNvPr>
              <p:cNvSpPr/>
              <p:nvPr/>
            </p:nvSpPr>
            <p:spPr>
              <a:xfrm>
                <a:off x="5103872" y="1480424"/>
                <a:ext cx="18338" cy="18408"/>
              </a:xfrm>
              <a:custGeom>
                <a:avLst/>
                <a:gdLst>
                  <a:gd name="connsiteX0" fmla="*/ 17380 w 18338"/>
                  <a:gd name="connsiteY0" fmla="*/ 5167 h 18408"/>
                  <a:gd name="connsiteX1" fmla="*/ 5119 w 18338"/>
                  <a:gd name="connsiteY1" fmla="*/ 921 h 18408"/>
                  <a:gd name="connsiteX2" fmla="*/ 933 w 18338"/>
                  <a:gd name="connsiteY2" fmla="*/ 13241 h 18408"/>
                  <a:gd name="connsiteX3" fmla="*/ 13193 w 18338"/>
                  <a:gd name="connsiteY3" fmla="*/ 17488 h 18408"/>
                  <a:gd name="connsiteX4" fmla="*/ 17380 w 18338"/>
                  <a:gd name="connsiteY4" fmla="*/ 516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8">
                    <a:moveTo>
                      <a:pt x="17380" y="5167"/>
                    </a:moveTo>
                    <a:cubicBezTo>
                      <a:pt x="15167" y="622"/>
                      <a:pt x="9665" y="-1292"/>
                      <a:pt x="5119" y="921"/>
                    </a:cubicBezTo>
                    <a:cubicBezTo>
                      <a:pt x="574" y="3134"/>
                      <a:pt x="-1280" y="8636"/>
                      <a:pt x="933" y="13241"/>
                    </a:cubicBezTo>
                    <a:cubicBezTo>
                      <a:pt x="3146" y="17787"/>
                      <a:pt x="8648" y="19701"/>
                      <a:pt x="13193" y="17488"/>
                    </a:cubicBezTo>
                    <a:cubicBezTo>
                      <a:pt x="17739" y="15215"/>
                      <a:pt x="19652" y="9713"/>
                      <a:pt x="17380" y="5167"/>
                    </a:cubicBezTo>
                    <a:close/>
                  </a:path>
                </a:pathLst>
              </a:custGeom>
              <a:grpFill/>
              <a:ln w="5978" cap="flat">
                <a:noFill/>
                <a:prstDash val="solid"/>
                <a:miter/>
              </a:ln>
            </p:spPr>
            <p:txBody>
              <a:bodyPr rtlCol="0" anchor="ctr"/>
              <a:lstStyle/>
              <a:p>
                <a:endParaRPr lang="en-GB"/>
              </a:p>
            </p:txBody>
          </p:sp>
        </p:grpSp>
        <p:grpSp>
          <p:nvGrpSpPr>
            <p:cNvPr id="738" name="Graphic 3">
              <a:extLst>
                <a:ext uri="{FF2B5EF4-FFF2-40B4-BE49-F238E27FC236}">
                  <a16:creationId xmlns:a16="http://schemas.microsoft.com/office/drawing/2014/main" id="{ECE9E9E2-3F41-49E6-85A6-F41D605DF1D8}"/>
                </a:ext>
              </a:extLst>
            </p:cNvPr>
            <p:cNvGrpSpPr/>
            <p:nvPr/>
          </p:nvGrpSpPr>
          <p:grpSpPr>
            <a:xfrm>
              <a:off x="5103872" y="1480364"/>
              <a:ext cx="52941" cy="89280"/>
              <a:chOff x="5103872" y="1480364"/>
              <a:chExt cx="52941" cy="89280"/>
            </a:xfrm>
            <a:grpFill/>
          </p:grpSpPr>
          <p:sp>
            <p:nvSpPr>
              <p:cNvPr id="3176" name="Vrije vorm: vorm 3175">
                <a:extLst>
                  <a:ext uri="{FF2B5EF4-FFF2-40B4-BE49-F238E27FC236}">
                    <a16:creationId xmlns:a16="http://schemas.microsoft.com/office/drawing/2014/main" id="{9F5A0FDE-92B4-4E4D-A6D1-AC111EC46F09}"/>
                  </a:ext>
                </a:extLst>
              </p:cNvPr>
              <p:cNvSpPr/>
              <p:nvPr/>
            </p:nvSpPr>
            <p:spPr>
              <a:xfrm>
                <a:off x="5111656" y="1488447"/>
                <a:ext cx="37835" cy="72994"/>
              </a:xfrm>
              <a:custGeom>
                <a:avLst/>
                <a:gdLst>
                  <a:gd name="connsiteX0" fmla="*/ 0 w 37835"/>
                  <a:gd name="connsiteY0" fmla="*/ 1342 h 72994"/>
                  <a:gd name="connsiteX1" fmla="*/ 2739 w 37835"/>
                  <a:gd name="connsiteY1" fmla="*/ 0 h 72994"/>
                  <a:gd name="connsiteX2" fmla="*/ 37836 w 37835"/>
                  <a:gd name="connsiteY2" fmla="*/ 71653 h 72994"/>
                  <a:gd name="connsiteX3" fmla="*/ 35096 w 37835"/>
                  <a:gd name="connsiteY3" fmla="*/ 72995 h 72994"/>
                </a:gdLst>
                <a:ahLst/>
                <a:cxnLst>
                  <a:cxn ang="0">
                    <a:pos x="connsiteX0" y="connsiteY0"/>
                  </a:cxn>
                  <a:cxn ang="0">
                    <a:pos x="connsiteX1" y="connsiteY1"/>
                  </a:cxn>
                  <a:cxn ang="0">
                    <a:pos x="connsiteX2" y="connsiteY2"/>
                  </a:cxn>
                  <a:cxn ang="0">
                    <a:pos x="connsiteX3" y="connsiteY3"/>
                  </a:cxn>
                </a:cxnLst>
                <a:rect l="l" t="t" r="r" b="b"/>
                <a:pathLst>
                  <a:path w="37835" h="72994">
                    <a:moveTo>
                      <a:pt x="0" y="1342"/>
                    </a:moveTo>
                    <a:lnTo>
                      <a:pt x="2739" y="0"/>
                    </a:lnTo>
                    <a:lnTo>
                      <a:pt x="37836" y="71653"/>
                    </a:lnTo>
                    <a:lnTo>
                      <a:pt x="35096" y="72995"/>
                    </a:lnTo>
                    <a:close/>
                  </a:path>
                </a:pathLst>
              </a:custGeom>
              <a:grpFill/>
              <a:ln w="5978" cap="flat">
                <a:noFill/>
                <a:prstDash val="solid"/>
                <a:miter/>
              </a:ln>
            </p:spPr>
            <p:txBody>
              <a:bodyPr rtlCol="0" anchor="ctr"/>
              <a:lstStyle/>
              <a:p>
                <a:endParaRPr lang="en-GB"/>
              </a:p>
            </p:txBody>
          </p:sp>
          <p:sp>
            <p:nvSpPr>
              <p:cNvPr id="3177" name="Vrije vorm: vorm 3176">
                <a:extLst>
                  <a:ext uri="{FF2B5EF4-FFF2-40B4-BE49-F238E27FC236}">
                    <a16:creationId xmlns:a16="http://schemas.microsoft.com/office/drawing/2014/main" id="{BB87D5C8-1449-4517-B98E-B35CE9D97C96}"/>
                  </a:ext>
                </a:extLst>
              </p:cNvPr>
              <p:cNvSpPr/>
              <p:nvPr/>
            </p:nvSpPr>
            <p:spPr>
              <a:xfrm>
                <a:off x="5103872" y="1480364"/>
                <a:ext cx="18312" cy="18445"/>
              </a:xfrm>
              <a:custGeom>
                <a:avLst/>
                <a:gdLst>
                  <a:gd name="connsiteX0" fmla="*/ 933 w 18312"/>
                  <a:gd name="connsiteY0" fmla="*/ 13241 h 18445"/>
                  <a:gd name="connsiteX1" fmla="*/ 5119 w 18312"/>
                  <a:gd name="connsiteY1" fmla="*/ 921 h 18445"/>
                  <a:gd name="connsiteX2" fmla="*/ 17380 w 18312"/>
                  <a:gd name="connsiteY2" fmla="*/ 5167 h 18445"/>
                  <a:gd name="connsiteX3" fmla="*/ 13193 w 18312"/>
                  <a:gd name="connsiteY3" fmla="*/ 17488 h 18445"/>
                  <a:gd name="connsiteX4" fmla="*/ 933 w 18312"/>
                  <a:gd name="connsiteY4" fmla="*/ 1324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5">
                    <a:moveTo>
                      <a:pt x="933" y="13241"/>
                    </a:moveTo>
                    <a:cubicBezTo>
                      <a:pt x="-1280" y="8696"/>
                      <a:pt x="574" y="3134"/>
                      <a:pt x="5119" y="921"/>
                    </a:cubicBezTo>
                    <a:cubicBezTo>
                      <a:pt x="9665" y="-1292"/>
                      <a:pt x="15167" y="622"/>
                      <a:pt x="17380" y="5167"/>
                    </a:cubicBezTo>
                    <a:cubicBezTo>
                      <a:pt x="19593" y="9713"/>
                      <a:pt x="17739" y="15275"/>
                      <a:pt x="13193" y="17488"/>
                    </a:cubicBezTo>
                    <a:cubicBezTo>
                      <a:pt x="8708" y="19760"/>
                      <a:pt x="3205" y="17847"/>
                      <a:pt x="933" y="13241"/>
                    </a:cubicBezTo>
                    <a:close/>
                  </a:path>
                </a:pathLst>
              </a:custGeom>
              <a:grpFill/>
              <a:ln w="5978" cap="flat">
                <a:noFill/>
                <a:prstDash val="solid"/>
                <a:miter/>
              </a:ln>
            </p:spPr>
            <p:txBody>
              <a:bodyPr rtlCol="0" anchor="ctr"/>
              <a:lstStyle/>
              <a:p>
                <a:endParaRPr lang="en-GB"/>
              </a:p>
            </p:txBody>
          </p:sp>
          <p:sp>
            <p:nvSpPr>
              <p:cNvPr id="3178" name="Vrije vorm: vorm 3177">
                <a:extLst>
                  <a:ext uri="{FF2B5EF4-FFF2-40B4-BE49-F238E27FC236}">
                    <a16:creationId xmlns:a16="http://schemas.microsoft.com/office/drawing/2014/main" id="{6DCD3BD4-DC4C-4B38-85B2-FAD952CB956B}"/>
                  </a:ext>
                </a:extLst>
              </p:cNvPr>
              <p:cNvSpPr/>
              <p:nvPr/>
            </p:nvSpPr>
            <p:spPr>
              <a:xfrm>
                <a:off x="5138500" y="1551236"/>
                <a:ext cx="18312" cy="18408"/>
              </a:xfrm>
              <a:custGeom>
                <a:avLst/>
                <a:gdLst>
                  <a:gd name="connsiteX0" fmla="*/ 933 w 18312"/>
                  <a:gd name="connsiteY0" fmla="*/ 13241 h 18408"/>
                  <a:gd name="connsiteX1" fmla="*/ 13193 w 18312"/>
                  <a:gd name="connsiteY1" fmla="*/ 17488 h 18408"/>
                  <a:gd name="connsiteX2" fmla="*/ 17380 w 18312"/>
                  <a:gd name="connsiteY2" fmla="*/ 5167 h 18408"/>
                  <a:gd name="connsiteX3" fmla="*/ 5119 w 18312"/>
                  <a:gd name="connsiteY3" fmla="*/ 921 h 18408"/>
                  <a:gd name="connsiteX4" fmla="*/ 933 w 18312"/>
                  <a:gd name="connsiteY4" fmla="*/ 1324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08">
                    <a:moveTo>
                      <a:pt x="933" y="13241"/>
                    </a:moveTo>
                    <a:cubicBezTo>
                      <a:pt x="3146" y="17787"/>
                      <a:pt x="8648" y="19701"/>
                      <a:pt x="13193" y="17488"/>
                    </a:cubicBezTo>
                    <a:cubicBezTo>
                      <a:pt x="17739" y="15275"/>
                      <a:pt x="19593" y="9773"/>
                      <a:pt x="17380" y="5167"/>
                    </a:cubicBezTo>
                    <a:cubicBezTo>
                      <a:pt x="15167" y="622"/>
                      <a:pt x="9665" y="-1292"/>
                      <a:pt x="5119" y="921"/>
                    </a:cubicBezTo>
                    <a:cubicBezTo>
                      <a:pt x="574" y="3134"/>
                      <a:pt x="-1280" y="8636"/>
                      <a:pt x="933" y="13241"/>
                    </a:cubicBezTo>
                    <a:close/>
                  </a:path>
                </a:pathLst>
              </a:custGeom>
              <a:grpFill/>
              <a:ln w="5978" cap="flat">
                <a:noFill/>
                <a:prstDash val="solid"/>
                <a:miter/>
              </a:ln>
            </p:spPr>
            <p:txBody>
              <a:bodyPr rtlCol="0" anchor="ctr"/>
              <a:lstStyle/>
              <a:p>
                <a:endParaRPr lang="en-GB"/>
              </a:p>
            </p:txBody>
          </p:sp>
        </p:grpSp>
        <p:grpSp>
          <p:nvGrpSpPr>
            <p:cNvPr id="739" name="Graphic 3">
              <a:extLst>
                <a:ext uri="{FF2B5EF4-FFF2-40B4-BE49-F238E27FC236}">
                  <a16:creationId xmlns:a16="http://schemas.microsoft.com/office/drawing/2014/main" id="{4EA34175-FA2B-4282-9946-30A77B6D19C5}"/>
                </a:ext>
              </a:extLst>
            </p:cNvPr>
            <p:cNvGrpSpPr/>
            <p:nvPr/>
          </p:nvGrpSpPr>
          <p:grpSpPr>
            <a:xfrm>
              <a:off x="6506018" y="5625439"/>
              <a:ext cx="32196" cy="85300"/>
              <a:chOff x="6506018" y="5625439"/>
              <a:chExt cx="32196" cy="85300"/>
            </a:xfrm>
            <a:grpFill/>
          </p:grpSpPr>
          <p:sp>
            <p:nvSpPr>
              <p:cNvPr id="3173" name="Vrije vorm: vorm 3172">
                <a:extLst>
                  <a:ext uri="{FF2B5EF4-FFF2-40B4-BE49-F238E27FC236}">
                    <a16:creationId xmlns:a16="http://schemas.microsoft.com/office/drawing/2014/main" id="{BFF89BF0-C720-47FC-ACBB-71E74110A929}"/>
                  </a:ext>
                </a:extLst>
              </p:cNvPr>
              <p:cNvSpPr/>
              <p:nvPr/>
            </p:nvSpPr>
            <p:spPr>
              <a:xfrm>
                <a:off x="6513624" y="5633880"/>
                <a:ext cx="17044" cy="68419"/>
              </a:xfrm>
              <a:custGeom>
                <a:avLst/>
                <a:gdLst>
                  <a:gd name="connsiteX0" fmla="*/ 2990 w 17044"/>
                  <a:gd name="connsiteY0" fmla="*/ 0 h 68419"/>
                  <a:gd name="connsiteX1" fmla="*/ 17045 w 17044"/>
                  <a:gd name="connsiteY1" fmla="*/ 67762 h 68419"/>
                  <a:gd name="connsiteX2" fmla="*/ 14055 w 17044"/>
                  <a:gd name="connsiteY2" fmla="*/ 68419 h 68419"/>
                  <a:gd name="connsiteX3" fmla="*/ 0 w 17044"/>
                  <a:gd name="connsiteY3" fmla="*/ 658 h 68419"/>
                </a:gdLst>
                <a:ahLst/>
                <a:cxnLst>
                  <a:cxn ang="0">
                    <a:pos x="connsiteX0" y="connsiteY0"/>
                  </a:cxn>
                  <a:cxn ang="0">
                    <a:pos x="connsiteX1" y="connsiteY1"/>
                  </a:cxn>
                  <a:cxn ang="0">
                    <a:pos x="connsiteX2" y="connsiteY2"/>
                  </a:cxn>
                  <a:cxn ang="0">
                    <a:pos x="connsiteX3" y="connsiteY3"/>
                  </a:cxn>
                </a:cxnLst>
                <a:rect l="l" t="t" r="r" b="b"/>
                <a:pathLst>
                  <a:path w="17044" h="68419">
                    <a:moveTo>
                      <a:pt x="2990" y="0"/>
                    </a:moveTo>
                    <a:lnTo>
                      <a:pt x="17045" y="67762"/>
                    </a:lnTo>
                    <a:lnTo>
                      <a:pt x="14055" y="68419"/>
                    </a:lnTo>
                    <a:lnTo>
                      <a:pt x="0" y="658"/>
                    </a:lnTo>
                    <a:close/>
                  </a:path>
                </a:pathLst>
              </a:custGeom>
              <a:grpFill/>
              <a:ln w="5978" cap="flat">
                <a:noFill/>
                <a:prstDash val="solid"/>
                <a:miter/>
              </a:ln>
            </p:spPr>
            <p:txBody>
              <a:bodyPr rtlCol="0" anchor="ctr"/>
              <a:lstStyle/>
              <a:p>
                <a:endParaRPr lang="en-GB"/>
              </a:p>
            </p:txBody>
          </p:sp>
          <p:sp>
            <p:nvSpPr>
              <p:cNvPr id="3174" name="Vrije vorm: vorm 3173">
                <a:extLst>
                  <a:ext uri="{FF2B5EF4-FFF2-40B4-BE49-F238E27FC236}">
                    <a16:creationId xmlns:a16="http://schemas.microsoft.com/office/drawing/2014/main" id="{A86CDC55-AC97-48A5-A70F-2D605DB37866}"/>
                  </a:ext>
                </a:extLst>
              </p:cNvPr>
              <p:cNvSpPr/>
              <p:nvPr/>
            </p:nvSpPr>
            <p:spPr>
              <a:xfrm>
                <a:off x="6519893" y="5692303"/>
                <a:ext cx="18321" cy="18436"/>
              </a:xfrm>
              <a:custGeom>
                <a:avLst/>
                <a:gdLst>
                  <a:gd name="connsiteX0" fmla="*/ 18132 w 18321"/>
                  <a:gd name="connsiteY0" fmla="*/ 7364 h 18436"/>
                  <a:gd name="connsiteX1" fmla="*/ 11015 w 18321"/>
                  <a:gd name="connsiteY1" fmla="*/ 18249 h 18436"/>
                  <a:gd name="connsiteX2" fmla="*/ 190 w 18321"/>
                  <a:gd name="connsiteY2" fmla="*/ 11072 h 18436"/>
                  <a:gd name="connsiteX3" fmla="*/ 7307 w 18321"/>
                  <a:gd name="connsiteY3" fmla="*/ 187 h 18436"/>
                  <a:gd name="connsiteX4" fmla="*/ 18132 w 18321"/>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6">
                    <a:moveTo>
                      <a:pt x="18132" y="7364"/>
                    </a:moveTo>
                    <a:cubicBezTo>
                      <a:pt x="19149" y="12328"/>
                      <a:pt x="15979" y="17232"/>
                      <a:pt x="11015" y="18249"/>
                    </a:cubicBezTo>
                    <a:cubicBezTo>
                      <a:pt x="6051" y="19266"/>
                      <a:pt x="1207" y="16036"/>
                      <a:pt x="190" y="11072"/>
                    </a:cubicBezTo>
                    <a:cubicBezTo>
                      <a:pt x="-827" y="6108"/>
                      <a:pt x="2343" y="1204"/>
                      <a:pt x="7307" y="187"/>
                    </a:cubicBezTo>
                    <a:cubicBezTo>
                      <a:pt x="12271" y="-830"/>
                      <a:pt x="17115" y="2400"/>
                      <a:pt x="18132" y="7364"/>
                    </a:cubicBezTo>
                    <a:close/>
                  </a:path>
                </a:pathLst>
              </a:custGeom>
              <a:grpFill/>
              <a:ln w="5978" cap="flat">
                <a:noFill/>
                <a:prstDash val="solid"/>
                <a:miter/>
              </a:ln>
            </p:spPr>
            <p:txBody>
              <a:bodyPr rtlCol="0" anchor="ctr"/>
              <a:lstStyle/>
              <a:p>
                <a:endParaRPr lang="en-GB"/>
              </a:p>
            </p:txBody>
          </p:sp>
          <p:sp>
            <p:nvSpPr>
              <p:cNvPr id="3175" name="Vrije vorm: vorm 3174">
                <a:extLst>
                  <a:ext uri="{FF2B5EF4-FFF2-40B4-BE49-F238E27FC236}">
                    <a16:creationId xmlns:a16="http://schemas.microsoft.com/office/drawing/2014/main" id="{3A7694E9-5785-4628-A746-6B3EBD087FE4}"/>
                  </a:ext>
                </a:extLst>
              </p:cNvPr>
              <p:cNvSpPr/>
              <p:nvPr/>
            </p:nvSpPr>
            <p:spPr>
              <a:xfrm>
                <a:off x="6506018" y="5625439"/>
                <a:ext cx="18339" cy="18436"/>
              </a:xfrm>
              <a:custGeom>
                <a:avLst/>
                <a:gdLst>
                  <a:gd name="connsiteX0" fmla="*/ 18132 w 18339"/>
                  <a:gd name="connsiteY0" fmla="*/ 7364 h 18436"/>
                  <a:gd name="connsiteX1" fmla="*/ 7307 w 18339"/>
                  <a:gd name="connsiteY1" fmla="*/ 187 h 18436"/>
                  <a:gd name="connsiteX2" fmla="*/ 190 w 18339"/>
                  <a:gd name="connsiteY2" fmla="*/ 11072 h 18436"/>
                  <a:gd name="connsiteX3" fmla="*/ 11015 w 18339"/>
                  <a:gd name="connsiteY3" fmla="*/ 18249 h 18436"/>
                  <a:gd name="connsiteX4" fmla="*/ 18132 w 18339"/>
                  <a:gd name="connsiteY4" fmla="*/ 7364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36">
                    <a:moveTo>
                      <a:pt x="18132" y="7364"/>
                    </a:moveTo>
                    <a:cubicBezTo>
                      <a:pt x="17115" y="2400"/>
                      <a:pt x="12271" y="-830"/>
                      <a:pt x="7307" y="187"/>
                    </a:cubicBezTo>
                    <a:cubicBezTo>
                      <a:pt x="2343" y="1204"/>
                      <a:pt x="-827" y="6048"/>
                      <a:pt x="190" y="11072"/>
                    </a:cubicBezTo>
                    <a:cubicBezTo>
                      <a:pt x="1207" y="16036"/>
                      <a:pt x="6051" y="19266"/>
                      <a:pt x="11015" y="18249"/>
                    </a:cubicBezTo>
                    <a:cubicBezTo>
                      <a:pt x="15979" y="17232"/>
                      <a:pt x="19209" y="12328"/>
                      <a:pt x="18132" y="7364"/>
                    </a:cubicBezTo>
                    <a:close/>
                  </a:path>
                </a:pathLst>
              </a:custGeom>
              <a:grpFill/>
              <a:ln w="5978" cap="flat">
                <a:noFill/>
                <a:prstDash val="solid"/>
                <a:miter/>
              </a:ln>
            </p:spPr>
            <p:txBody>
              <a:bodyPr rtlCol="0" anchor="ctr"/>
              <a:lstStyle/>
              <a:p>
                <a:endParaRPr lang="en-GB"/>
              </a:p>
            </p:txBody>
          </p:sp>
        </p:grpSp>
        <p:grpSp>
          <p:nvGrpSpPr>
            <p:cNvPr id="740" name="Graphic 3">
              <a:extLst>
                <a:ext uri="{FF2B5EF4-FFF2-40B4-BE49-F238E27FC236}">
                  <a16:creationId xmlns:a16="http://schemas.microsoft.com/office/drawing/2014/main" id="{ED58C4E8-438D-40DC-B8D9-8B146B18430F}"/>
                </a:ext>
              </a:extLst>
            </p:cNvPr>
            <p:cNvGrpSpPr/>
            <p:nvPr/>
          </p:nvGrpSpPr>
          <p:grpSpPr>
            <a:xfrm>
              <a:off x="6328377" y="5078084"/>
              <a:ext cx="50749" cy="210176"/>
              <a:chOff x="6328377" y="5078084"/>
              <a:chExt cx="50749" cy="210176"/>
            </a:xfrm>
            <a:grpFill/>
          </p:grpSpPr>
          <p:sp>
            <p:nvSpPr>
              <p:cNvPr id="3170" name="Vrije vorm: vorm 3169">
                <a:extLst>
                  <a:ext uri="{FF2B5EF4-FFF2-40B4-BE49-F238E27FC236}">
                    <a16:creationId xmlns:a16="http://schemas.microsoft.com/office/drawing/2014/main" id="{B3CA5304-1DA6-4BA5-88BD-71E41BFE3307}"/>
                  </a:ext>
                </a:extLst>
              </p:cNvPr>
              <p:cNvSpPr/>
              <p:nvPr/>
            </p:nvSpPr>
            <p:spPr>
              <a:xfrm>
                <a:off x="6335996" y="5086644"/>
                <a:ext cx="35525" cy="193117"/>
              </a:xfrm>
              <a:custGeom>
                <a:avLst/>
                <a:gdLst>
                  <a:gd name="connsiteX0" fmla="*/ 2990 w 35525"/>
                  <a:gd name="connsiteY0" fmla="*/ 0 h 193117"/>
                  <a:gd name="connsiteX1" fmla="*/ 35526 w 35525"/>
                  <a:gd name="connsiteY1" fmla="*/ 192579 h 193117"/>
                  <a:gd name="connsiteX2" fmla="*/ 32535 w 35525"/>
                  <a:gd name="connsiteY2" fmla="*/ 193118 h 193117"/>
                  <a:gd name="connsiteX3" fmla="*/ 0 w 35525"/>
                  <a:gd name="connsiteY3" fmla="*/ 479 h 193117"/>
                </a:gdLst>
                <a:ahLst/>
                <a:cxnLst>
                  <a:cxn ang="0">
                    <a:pos x="connsiteX0" y="connsiteY0"/>
                  </a:cxn>
                  <a:cxn ang="0">
                    <a:pos x="connsiteX1" y="connsiteY1"/>
                  </a:cxn>
                  <a:cxn ang="0">
                    <a:pos x="connsiteX2" y="connsiteY2"/>
                  </a:cxn>
                  <a:cxn ang="0">
                    <a:pos x="connsiteX3" y="connsiteY3"/>
                  </a:cxn>
                </a:cxnLst>
                <a:rect l="l" t="t" r="r" b="b"/>
                <a:pathLst>
                  <a:path w="35525" h="193117">
                    <a:moveTo>
                      <a:pt x="2990" y="0"/>
                    </a:moveTo>
                    <a:lnTo>
                      <a:pt x="35526" y="192579"/>
                    </a:lnTo>
                    <a:lnTo>
                      <a:pt x="32535" y="193118"/>
                    </a:lnTo>
                    <a:lnTo>
                      <a:pt x="0" y="479"/>
                    </a:lnTo>
                    <a:close/>
                  </a:path>
                </a:pathLst>
              </a:custGeom>
              <a:grpFill/>
              <a:ln w="5978" cap="flat">
                <a:noFill/>
                <a:prstDash val="solid"/>
                <a:miter/>
              </a:ln>
            </p:spPr>
            <p:txBody>
              <a:bodyPr rtlCol="0" anchor="ctr"/>
              <a:lstStyle/>
              <a:p>
                <a:endParaRPr lang="en-GB"/>
              </a:p>
            </p:txBody>
          </p:sp>
          <p:sp>
            <p:nvSpPr>
              <p:cNvPr id="3171" name="Vrije vorm: vorm 3170">
                <a:extLst>
                  <a:ext uri="{FF2B5EF4-FFF2-40B4-BE49-F238E27FC236}">
                    <a16:creationId xmlns:a16="http://schemas.microsoft.com/office/drawing/2014/main" id="{7809CD37-0476-44B4-AD9F-5D6C11508298}"/>
                  </a:ext>
                </a:extLst>
              </p:cNvPr>
              <p:cNvSpPr/>
              <p:nvPr/>
            </p:nvSpPr>
            <p:spPr>
              <a:xfrm>
                <a:off x="6360808" y="5269826"/>
                <a:ext cx="18318" cy="18434"/>
              </a:xfrm>
              <a:custGeom>
                <a:avLst/>
                <a:gdLst>
                  <a:gd name="connsiteX0" fmla="*/ 18190 w 18318"/>
                  <a:gd name="connsiteY0" fmla="*/ 7722 h 18434"/>
                  <a:gd name="connsiteX1" fmla="*/ 10714 w 18318"/>
                  <a:gd name="connsiteY1" fmla="*/ 18308 h 18434"/>
                  <a:gd name="connsiteX2" fmla="*/ 128 w 18318"/>
                  <a:gd name="connsiteY2" fmla="*/ 10712 h 18434"/>
                  <a:gd name="connsiteX3" fmla="*/ 760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8" y="12746"/>
                      <a:pt x="15678" y="17470"/>
                      <a:pt x="10714" y="18308"/>
                    </a:cubicBezTo>
                    <a:cubicBezTo>
                      <a:pt x="5750" y="19145"/>
                      <a:pt x="966" y="15736"/>
                      <a:pt x="128" y="10712"/>
                    </a:cubicBezTo>
                    <a:cubicBezTo>
                      <a:pt x="-709" y="5689"/>
                      <a:pt x="2640" y="964"/>
                      <a:pt x="7604" y="126"/>
                    </a:cubicBezTo>
                    <a:cubicBezTo>
                      <a:pt x="12628" y="-711"/>
                      <a:pt x="17353" y="2698"/>
                      <a:pt x="18190" y="7722"/>
                    </a:cubicBezTo>
                    <a:close/>
                  </a:path>
                </a:pathLst>
              </a:custGeom>
              <a:grpFill/>
              <a:ln w="5978" cap="flat">
                <a:noFill/>
                <a:prstDash val="solid"/>
                <a:miter/>
              </a:ln>
            </p:spPr>
            <p:txBody>
              <a:bodyPr rtlCol="0" anchor="ctr"/>
              <a:lstStyle/>
              <a:p>
                <a:endParaRPr lang="en-GB"/>
              </a:p>
            </p:txBody>
          </p:sp>
          <p:sp>
            <p:nvSpPr>
              <p:cNvPr id="3172" name="Vrije vorm: vorm 3171">
                <a:extLst>
                  <a:ext uri="{FF2B5EF4-FFF2-40B4-BE49-F238E27FC236}">
                    <a16:creationId xmlns:a16="http://schemas.microsoft.com/office/drawing/2014/main" id="{CE4BE2F6-C2D6-4C31-AC20-CCDAC6EC86D9}"/>
                  </a:ext>
                </a:extLst>
              </p:cNvPr>
              <p:cNvSpPr/>
              <p:nvPr/>
            </p:nvSpPr>
            <p:spPr>
              <a:xfrm>
                <a:off x="6328377" y="5078084"/>
                <a:ext cx="18333" cy="18434"/>
              </a:xfrm>
              <a:custGeom>
                <a:avLst/>
                <a:gdLst>
                  <a:gd name="connsiteX0" fmla="*/ 18205 w 18333"/>
                  <a:gd name="connsiteY0" fmla="*/ 7722 h 18434"/>
                  <a:gd name="connsiteX1" fmla="*/ 7619 w 18333"/>
                  <a:gd name="connsiteY1" fmla="*/ 126 h 18434"/>
                  <a:gd name="connsiteX2" fmla="*/ 143 w 18333"/>
                  <a:gd name="connsiteY2" fmla="*/ 10712 h 18434"/>
                  <a:gd name="connsiteX3" fmla="*/ 10729 w 18333"/>
                  <a:gd name="connsiteY3" fmla="*/ 18308 h 18434"/>
                  <a:gd name="connsiteX4" fmla="*/ 18205 w 18333"/>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4">
                    <a:moveTo>
                      <a:pt x="18205" y="7722"/>
                    </a:moveTo>
                    <a:cubicBezTo>
                      <a:pt x="17368" y="2698"/>
                      <a:pt x="12643" y="-711"/>
                      <a:pt x="7619" y="126"/>
                    </a:cubicBezTo>
                    <a:cubicBezTo>
                      <a:pt x="2655" y="964"/>
                      <a:pt x="-754" y="5689"/>
                      <a:pt x="143" y="10712"/>
                    </a:cubicBezTo>
                    <a:cubicBezTo>
                      <a:pt x="981" y="15736"/>
                      <a:pt x="5706" y="19145"/>
                      <a:pt x="10729" y="18308"/>
                    </a:cubicBezTo>
                    <a:cubicBezTo>
                      <a:pt x="15693" y="17530"/>
                      <a:pt x="19042" y="12746"/>
                      <a:pt x="18205" y="7722"/>
                    </a:cubicBezTo>
                    <a:close/>
                  </a:path>
                </a:pathLst>
              </a:custGeom>
              <a:grpFill/>
              <a:ln w="5978" cap="flat">
                <a:noFill/>
                <a:prstDash val="solid"/>
                <a:miter/>
              </a:ln>
            </p:spPr>
            <p:txBody>
              <a:bodyPr rtlCol="0" anchor="ctr"/>
              <a:lstStyle/>
              <a:p>
                <a:endParaRPr lang="en-GB"/>
              </a:p>
            </p:txBody>
          </p:sp>
        </p:grpSp>
        <p:grpSp>
          <p:nvGrpSpPr>
            <p:cNvPr id="741" name="Graphic 3">
              <a:extLst>
                <a:ext uri="{FF2B5EF4-FFF2-40B4-BE49-F238E27FC236}">
                  <a16:creationId xmlns:a16="http://schemas.microsoft.com/office/drawing/2014/main" id="{B19BEA77-8FDA-4DF8-AE4F-E57AD78B7E6E}"/>
                </a:ext>
              </a:extLst>
            </p:cNvPr>
            <p:cNvGrpSpPr/>
            <p:nvPr/>
          </p:nvGrpSpPr>
          <p:grpSpPr>
            <a:xfrm>
              <a:off x="6406164" y="5321640"/>
              <a:ext cx="49014" cy="181588"/>
              <a:chOff x="6406164" y="5321640"/>
              <a:chExt cx="49014" cy="181588"/>
            </a:xfrm>
            <a:grpFill/>
          </p:grpSpPr>
          <p:sp>
            <p:nvSpPr>
              <p:cNvPr id="3167" name="Vrije vorm: vorm 3166">
                <a:extLst>
                  <a:ext uri="{FF2B5EF4-FFF2-40B4-BE49-F238E27FC236}">
                    <a16:creationId xmlns:a16="http://schemas.microsoft.com/office/drawing/2014/main" id="{E89AF57B-0929-475E-9D03-6BBA02D8F3AE}"/>
                  </a:ext>
                </a:extLst>
              </p:cNvPr>
              <p:cNvSpPr/>
              <p:nvPr/>
            </p:nvSpPr>
            <p:spPr>
              <a:xfrm>
                <a:off x="6413746" y="5330119"/>
                <a:ext cx="33850" cy="164589"/>
              </a:xfrm>
              <a:custGeom>
                <a:avLst/>
                <a:gdLst>
                  <a:gd name="connsiteX0" fmla="*/ 2990 w 33850"/>
                  <a:gd name="connsiteY0" fmla="*/ 0 h 164589"/>
                  <a:gd name="connsiteX1" fmla="*/ 33851 w 33850"/>
                  <a:gd name="connsiteY1" fmla="*/ 164051 h 164589"/>
                  <a:gd name="connsiteX2" fmla="*/ 30860 w 33850"/>
                  <a:gd name="connsiteY2" fmla="*/ 164590 h 164589"/>
                  <a:gd name="connsiteX3" fmla="*/ 0 w 33850"/>
                  <a:gd name="connsiteY3" fmla="*/ 538 h 164589"/>
                </a:gdLst>
                <a:ahLst/>
                <a:cxnLst>
                  <a:cxn ang="0">
                    <a:pos x="connsiteX0" y="connsiteY0"/>
                  </a:cxn>
                  <a:cxn ang="0">
                    <a:pos x="connsiteX1" y="connsiteY1"/>
                  </a:cxn>
                  <a:cxn ang="0">
                    <a:pos x="connsiteX2" y="connsiteY2"/>
                  </a:cxn>
                  <a:cxn ang="0">
                    <a:pos x="connsiteX3" y="connsiteY3"/>
                  </a:cxn>
                </a:cxnLst>
                <a:rect l="l" t="t" r="r" b="b"/>
                <a:pathLst>
                  <a:path w="33850" h="164589">
                    <a:moveTo>
                      <a:pt x="2990" y="0"/>
                    </a:moveTo>
                    <a:lnTo>
                      <a:pt x="33851" y="164051"/>
                    </a:lnTo>
                    <a:lnTo>
                      <a:pt x="30860" y="164590"/>
                    </a:lnTo>
                    <a:lnTo>
                      <a:pt x="0" y="538"/>
                    </a:lnTo>
                    <a:close/>
                  </a:path>
                </a:pathLst>
              </a:custGeom>
              <a:grpFill/>
              <a:ln w="5978" cap="flat">
                <a:noFill/>
                <a:prstDash val="solid"/>
                <a:miter/>
              </a:ln>
            </p:spPr>
            <p:txBody>
              <a:bodyPr rtlCol="0" anchor="ctr"/>
              <a:lstStyle/>
              <a:p>
                <a:endParaRPr lang="en-GB"/>
              </a:p>
            </p:txBody>
          </p:sp>
          <p:sp>
            <p:nvSpPr>
              <p:cNvPr id="3168" name="Vrije vorm: vorm 3167">
                <a:extLst>
                  <a:ext uri="{FF2B5EF4-FFF2-40B4-BE49-F238E27FC236}">
                    <a16:creationId xmlns:a16="http://schemas.microsoft.com/office/drawing/2014/main" id="{EEE8DF84-73AF-473E-BFA6-60C5F9841494}"/>
                  </a:ext>
                </a:extLst>
              </p:cNvPr>
              <p:cNvSpPr/>
              <p:nvPr/>
            </p:nvSpPr>
            <p:spPr>
              <a:xfrm>
                <a:off x="6436845" y="5484794"/>
                <a:ext cx="18333" cy="18434"/>
              </a:xfrm>
              <a:custGeom>
                <a:avLst/>
                <a:gdLst>
                  <a:gd name="connsiteX0" fmla="*/ 18167 w 18333"/>
                  <a:gd name="connsiteY0" fmla="*/ 7522 h 18434"/>
                  <a:gd name="connsiteX1" fmla="*/ 10871 w 18333"/>
                  <a:gd name="connsiteY1" fmla="*/ 18287 h 18434"/>
                  <a:gd name="connsiteX2" fmla="*/ 166 w 18333"/>
                  <a:gd name="connsiteY2" fmla="*/ 10931 h 18434"/>
                  <a:gd name="connsiteX3" fmla="*/ 7462 w 18333"/>
                  <a:gd name="connsiteY3" fmla="*/ 166 h 18434"/>
                  <a:gd name="connsiteX4" fmla="*/ 18167 w 18333"/>
                  <a:gd name="connsiteY4" fmla="*/ 75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4">
                    <a:moveTo>
                      <a:pt x="18167" y="7522"/>
                    </a:moveTo>
                    <a:cubicBezTo>
                      <a:pt x="19124" y="12546"/>
                      <a:pt x="15835" y="17330"/>
                      <a:pt x="10871" y="18287"/>
                    </a:cubicBezTo>
                    <a:cubicBezTo>
                      <a:pt x="5907" y="19184"/>
                      <a:pt x="1122" y="15895"/>
                      <a:pt x="166" y="10931"/>
                    </a:cubicBezTo>
                    <a:cubicBezTo>
                      <a:pt x="-791" y="5907"/>
                      <a:pt x="2498" y="1122"/>
                      <a:pt x="7462" y="166"/>
                    </a:cubicBezTo>
                    <a:cubicBezTo>
                      <a:pt x="12426" y="-792"/>
                      <a:pt x="17270" y="2498"/>
                      <a:pt x="18167" y="7522"/>
                    </a:cubicBezTo>
                    <a:close/>
                  </a:path>
                </a:pathLst>
              </a:custGeom>
              <a:grpFill/>
              <a:ln w="5978" cap="flat">
                <a:noFill/>
                <a:prstDash val="solid"/>
                <a:miter/>
              </a:ln>
            </p:spPr>
            <p:txBody>
              <a:bodyPr rtlCol="0" anchor="ctr"/>
              <a:lstStyle/>
              <a:p>
                <a:endParaRPr lang="en-GB"/>
              </a:p>
            </p:txBody>
          </p:sp>
          <p:sp>
            <p:nvSpPr>
              <p:cNvPr id="3169" name="Vrije vorm: vorm 3168">
                <a:extLst>
                  <a:ext uri="{FF2B5EF4-FFF2-40B4-BE49-F238E27FC236}">
                    <a16:creationId xmlns:a16="http://schemas.microsoft.com/office/drawing/2014/main" id="{BF7BA1BD-2AAC-43D5-85EF-2A421313C552}"/>
                  </a:ext>
                </a:extLst>
              </p:cNvPr>
              <p:cNvSpPr/>
              <p:nvPr/>
            </p:nvSpPr>
            <p:spPr>
              <a:xfrm>
                <a:off x="6406164" y="5321640"/>
                <a:ext cx="18333" cy="18392"/>
              </a:xfrm>
              <a:custGeom>
                <a:avLst/>
                <a:gdLst>
                  <a:gd name="connsiteX0" fmla="*/ 18167 w 18333"/>
                  <a:gd name="connsiteY0" fmla="*/ 7522 h 18392"/>
                  <a:gd name="connsiteX1" fmla="*/ 7462 w 18333"/>
                  <a:gd name="connsiteY1" fmla="*/ 165 h 18392"/>
                  <a:gd name="connsiteX2" fmla="*/ 166 w 18333"/>
                  <a:gd name="connsiteY2" fmla="*/ 10871 h 18392"/>
                  <a:gd name="connsiteX3" fmla="*/ 10871 w 18333"/>
                  <a:gd name="connsiteY3" fmla="*/ 18227 h 18392"/>
                  <a:gd name="connsiteX4" fmla="*/ 18167 w 18333"/>
                  <a:gd name="connsiteY4" fmla="*/ 7522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2">
                    <a:moveTo>
                      <a:pt x="18167" y="7522"/>
                    </a:moveTo>
                    <a:cubicBezTo>
                      <a:pt x="17211" y="2498"/>
                      <a:pt x="12426" y="-791"/>
                      <a:pt x="7462" y="165"/>
                    </a:cubicBezTo>
                    <a:cubicBezTo>
                      <a:pt x="2498" y="1063"/>
                      <a:pt x="-791" y="5907"/>
                      <a:pt x="166" y="10871"/>
                    </a:cubicBezTo>
                    <a:cubicBezTo>
                      <a:pt x="1122" y="15895"/>
                      <a:pt x="5907" y="19184"/>
                      <a:pt x="10871" y="18227"/>
                    </a:cubicBezTo>
                    <a:cubicBezTo>
                      <a:pt x="15835" y="17330"/>
                      <a:pt x="19124" y="12546"/>
                      <a:pt x="18167" y="7522"/>
                    </a:cubicBezTo>
                    <a:close/>
                  </a:path>
                </a:pathLst>
              </a:custGeom>
              <a:grpFill/>
              <a:ln w="5978" cap="flat">
                <a:noFill/>
                <a:prstDash val="solid"/>
                <a:miter/>
              </a:ln>
            </p:spPr>
            <p:txBody>
              <a:bodyPr rtlCol="0" anchor="ctr"/>
              <a:lstStyle/>
              <a:p>
                <a:endParaRPr lang="en-GB"/>
              </a:p>
            </p:txBody>
          </p:sp>
        </p:grpSp>
        <p:grpSp>
          <p:nvGrpSpPr>
            <p:cNvPr id="742" name="Graphic 3">
              <a:extLst>
                <a:ext uri="{FF2B5EF4-FFF2-40B4-BE49-F238E27FC236}">
                  <a16:creationId xmlns:a16="http://schemas.microsoft.com/office/drawing/2014/main" id="{353156CD-5A1A-4683-BACA-F6AE7385FAFB}"/>
                </a:ext>
              </a:extLst>
            </p:cNvPr>
            <p:cNvGrpSpPr/>
            <p:nvPr/>
          </p:nvGrpSpPr>
          <p:grpSpPr>
            <a:xfrm>
              <a:off x="6359542" y="5077058"/>
              <a:ext cx="107737" cy="730160"/>
              <a:chOff x="6359542" y="5077058"/>
              <a:chExt cx="107737" cy="730160"/>
            </a:xfrm>
            <a:grpFill/>
          </p:grpSpPr>
          <p:sp>
            <p:nvSpPr>
              <p:cNvPr id="3164" name="Vrije vorm: vorm 3163">
                <a:extLst>
                  <a:ext uri="{FF2B5EF4-FFF2-40B4-BE49-F238E27FC236}">
                    <a16:creationId xmlns:a16="http://schemas.microsoft.com/office/drawing/2014/main" id="{3DC5875A-FCD1-450B-96A6-482132DF37B1}"/>
                  </a:ext>
                </a:extLst>
              </p:cNvPr>
              <p:cNvSpPr/>
              <p:nvPr/>
            </p:nvSpPr>
            <p:spPr>
              <a:xfrm>
                <a:off x="6367156" y="5085687"/>
                <a:ext cx="92521" cy="712961"/>
              </a:xfrm>
              <a:custGeom>
                <a:avLst/>
                <a:gdLst>
                  <a:gd name="connsiteX0" fmla="*/ 3050 w 92521"/>
                  <a:gd name="connsiteY0" fmla="*/ 0 h 712961"/>
                  <a:gd name="connsiteX1" fmla="*/ 92522 w 92521"/>
                  <a:gd name="connsiteY1" fmla="*/ 712543 h 712961"/>
                  <a:gd name="connsiteX2" fmla="*/ 89532 w 92521"/>
                  <a:gd name="connsiteY2" fmla="*/ 712962 h 712961"/>
                  <a:gd name="connsiteX3" fmla="*/ 0 w 92521"/>
                  <a:gd name="connsiteY3" fmla="*/ 359 h 712961"/>
                </a:gdLst>
                <a:ahLst/>
                <a:cxnLst>
                  <a:cxn ang="0">
                    <a:pos x="connsiteX0" y="connsiteY0"/>
                  </a:cxn>
                  <a:cxn ang="0">
                    <a:pos x="connsiteX1" y="connsiteY1"/>
                  </a:cxn>
                  <a:cxn ang="0">
                    <a:pos x="connsiteX2" y="connsiteY2"/>
                  </a:cxn>
                  <a:cxn ang="0">
                    <a:pos x="connsiteX3" y="connsiteY3"/>
                  </a:cxn>
                </a:cxnLst>
                <a:rect l="l" t="t" r="r" b="b"/>
                <a:pathLst>
                  <a:path w="92521" h="712961">
                    <a:moveTo>
                      <a:pt x="3050" y="0"/>
                    </a:moveTo>
                    <a:lnTo>
                      <a:pt x="92522" y="712543"/>
                    </a:lnTo>
                    <a:lnTo>
                      <a:pt x="89532" y="712962"/>
                    </a:lnTo>
                    <a:lnTo>
                      <a:pt x="0" y="359"/>
                    </a:lnTo>
                    <a:close/>
                  </a:path>
                </a:pathLst>
              </a:custGeom>
              <a:grpFill/>
              <a:ln w="5978" cap="flat">
                <a:noFill/>
                <a:prstDash val="solid"/>
                <a:miter/>
              </a:ln>
            </p:spPr>
            <p:txBody>
              <a:bodyPr rtlCol="0" anchor="ctr"/>
              <a:lstStyle/>
              <a:p>
                <a:endParaRPr lang="en-GB"/>
              </a:p>
            </p:txBody>
          </p:sp>
          <p:sp>
            <p:nvSpPr>
              <p:cNvPr id="3165" name="Vrije vorm: vorm 3164">
                <a:extLst>
                  <a:ext uri="{FF2B5EF4-FFF2-40B4-BE49-F238E27FC236}">
                    <a16:creationId xmlns:a16="http://schemas.microsoft.com/office/drawing/2014/main" id="{21786C0C-999F-4D97-A754-208DB478B941}"/>
                  </a:ext>
                </a:extLst>
              </p:cNvPr>
              <p:cNvSpPr/>
              <p:nvPr/>
            </p:nvSpPr>
            <p:spPr>
              <a:xfrm>
                <a:off x="6359542" y="5077058"/>
                <a:ext cx="18336" cy="18455"/>
              </a:xfrm>
              <a:custGeom>
                <a:avLst/>
                <a:gdLst>
                  <a:gd name="connsiteX0" fmla="*/ 78 w 18336"/>
                  <a:gd name="connsiteY0" fmla="*/ 10363 h 18455"/>
                  <a:gd name="connsiteX1" fmla="*/ 8032 w 18336"/>
                  <a:gd name="connsiteY1" fmla="*/ 77 h 18455"/>
                  <a:gd name="connsiteX2" fmla="*/ 18259 w 18336"/>
                  <a:gd name="connsiteY2" fmla="*/ 8091 h 18455"/>
                  <a:gd name="connsiteX3" fmla="*/ 10305 w 18336"/>
                  <a:gd name="connsiteY3" fmla="*/ 18378 h 18455"/>
                  <a:gd name="connsiteX4" fmla="*/ 78 w 18336"/>
                  <a:gd name="connsiteY4" fmla="*/ 10363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5">
                    <a:moveTo>
                      <a:pt x="78" y="10363"/>
                    </a:moveTo>
                    <a:cubicBezTo>
                      <a:pt x="-580" y="5340"/>
                      <a:pt x="3008" y="735"/>
                      <a:pt x="8032" y="77"/>
                    </a:cubicBezTo>
                    <a:cubicBezTo>
                      <a:pt x="13056" y="-581"/>
                      <a:pt x="17661" y="3067"/>
                      <a:pt x="18259" y="8091"/>
                    </a:cubicBezTo>
                    <a:cubicBezTo>
                      <a:pt x="18917" y="13115"/>
                      <a:pt x="15329" y="17720"/>
                      <a:pt x="10305" y="18378"/>
                    </a:cubicBezTo>
                    <a:cubicBezTo>
                      <a:pt x="5281" y="19036"/>
                      <a:pt x="736" y="15447"/>
                      <a:pt x="78" y="10363"/>
                    </a:cubicBezTo>
                    <a:close/>
                  </a:path>
                </a:pathLst>
              </a:custGeom>
              <a:grpFill/>
              <a:ln w="5978" cap="flat">
                <a:noFill/>
                <a:prstDash val="solid"/>
                <a:miter/>
              </a:ln>
            </p:spPr>
            <p:txBody>
              <a:bodyPr rtlCol="0" anchor="ctr"/>
              <a:lstStyle/>
              <a:p>
                <a:endParaRPr lang="en-GB"/>
              </a:p>
            </p:txBody>
          </p:sp>
          <p:sp>
            <p:nvSpPr>
              <p:cNvPr id="3166" name="Vrije vorm: vorm 3165">
                <a:extLst>
                  <a:ext uri="{FF2B5EF4-FFF2-40B4-BE49-F238E27FC236}">
                    <a16:creationId xmlns:a16="http://schemas.microsoft.com/office/drawing/2014/main" id="{2265F691-884C-4797-A76D-4374A104C01D}"/>
                  </a:ext>
                </a:extLst>
              </p:cNvPr>
              <p:cNvSpPr/>
              <p:nvPr/>
            </p:nvSpPr>
            <p:spPr>
              <a:xfrm>
                <a:off x="6448954" y="5788762"/>
                <a:ext cx="18325" cy="18455"/>
              </a:xfrm>
              <a:custGeom>
                <a:avLst/>
                <a:gdLst>
                  <a:gd name="connsiteX0" fmla="*/ 78 w 18325"/>
                  <a:gd name="connsiteY0" fmla="*/ 10364 h 18455"/>
                  <a:gd name="connsiteX1" fmla="*/ 10305 w 18325"/>
                  <a:gd name="connsiteY1" fmla="*/ 18379 h 18455"/>
                  <a:gd name="connsiteX2" fmla="*/ 18259 w 18325"/>
                  <a:gd name="connsiteY2" fmla="*/ 8092 h 18455"/>
                  <a:gd name="connsiteX3" fmla="*/ 8032 w 18325"/>
                  <a:gd name="connsiteY3" fmla="*/ 78 h 18455"/>
                  <a:gd name="connsiteX4" fmla="*/ 78 w 18325"/>
                  <a:gd name="connsiteY4" fmla="*/ 10364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5">
                    <a:moveTo>
                      <a:pt x="78" y="10364"/>
                    </a:moveTo>
                    <a:cubicBezTo>
                      <a:pt x="736" y="15388"/>
                      <a:pt x="5281" y="19037"/>
                      <a:pt x="10305" y="18379"/>
                    </a:cubicBezTo>
                    <a:cubicBezTo>
                      <a:pt x="15329" y="17781"/>
                      <a:pt x="18857" y="13176"/>
                      <a:pt x="18259" y="8092"/>
                    </a:cubicBezTo>
                    <a:cubicBezTo>
                      <a:pt x="17661" y="3008"/>
                      <a:pt x="13056" y="-580"/>
                      <a:pt x="8032" y="78"/>
                    </a:cubicBezTo>
                    <a:cubicBezTo>
                      <a:pt x="3009" y="736"/>
                      <a:pt x="-580" y="5281"/>
                      <a:pt x="78" y="10364"/>
                    </a:cubicBezTo>
                    <a:close/>
                  </a:path>
                </a:pathLst>
              </a:custGeom>
              <a:grpFill/>
              <a:ln w="5978" cap="flat">
                <a:noFill/>
                <a:prstDash val="solid"/>
                <a:miter/>
              </a:ln>
            </p:spPr>
            <p:txBody>
              <a:bodyPr rtlCol="0" anchor="ctr"/>
              <a:lstStyle/>
              <a:p>
                <a:endParaRPr lang="en-GB"/>
              </a:p>
            </p:txBody>
          </p:sp>
        </p:grpSp>
        <p:grpSp>
          <p:nvGrpSpPr>
            <p:cNvPr id="743" name="Graphic 3">
              <a:extLst>
                <a:ext uri="{FF2B5EF4-FFF2-40B4-BE49-F238E27FC236}">
                  <a16:creationId xmlns:a16="http://schemas.microsoft.com/office/drawing/2014/main" id="{F47869BA-8EC9-4A98-AB83-85F6693A3E91}"/>
                </a:ext>
              </a:extLst>
            </p:cNvPr>
            <p:cNvGrpSpPr/>
            <p:nvPr/>
          </p:nvGrpSpPr>
          <p:grpSpPr>
            <a:xfrm>
              <a:off x="6363843" y="5288008"/>
              <a:ext cx="32687" cy="103001"/>
              <a:chOff x="6363843" y="5288008"/>
              <a:chExt cx="32687" cy="103001"/>
            </a:xfrm>
            <a:grpFill/>
          </p:grpSpPr>
          <p:sp>
            <p:nvSpPr>
              <p:cNvPr id="3161" name="Vrije vorm: vorm 3160">
                <a:extLst>
                  <a:ext uri="{FF2B5EF4-FFF2-40B4-BE49-F238E27FC236}">
                    <a16:creationId xmlns:a16="http://schemas.microsoft.com/office/drawing/2014/main" id="{3FDCD608-C02C-422D-84B1-ADFE5CE76098}"/>
                  </a:ext>
                </a:extLst>
              </p:cNvPr>
              <p:cNvSpPr/>
              <p:nvPr/>
            </p:nvSpPr>
            <p:spPr>
              <a:xfrm>
                <a:off x="6371462" y="5296507"/>
                <a:ext cx="17463" cy="86002"/>
              </a:xfrm>
              <a:custGeom>
                <a:avLst/>
                <a:gdLst>
                  <a:gd name="connsiteX0" fmla="*/ 2990 w 17463"/>
                  <a:gd name="connsiteY0" fmla="*/ 0 h 86002"/>
                  <a:gd name="connsiteX1" fmla="*/ 17464 w 17463"/>
                  <a:gd name="connsiteY1" fmla="*/ 85464 h 86002"/>
                  <a:gd name="connsiteX2" fmla="*/ 14473 w 17463"/>
                  <a:gd name="connsiteY2" fmla="*/ 86003 h 86002"/>
                  <a:gd name="connsiteX3" fmla="*/ 0 w 17463"/>
                  <a:gd name="connsiteY3" fmla="*/ 538 h 86002"/>
                </a:gdLst>
                <a:ahLst/>
                <a:cxnLst>
                  <a:cxn ang="0">
                    <a:pos x="connsiteX0" y="connsiteY0"/>
                  </a:cxn>
                  <a:cxn ang="0">
                    <a:pos x="connsiteX1" y="connsiteY1"/>
                  </a:cxn>
                  <a:cxn ang="0">
                    <a:pos x="connsiteX2" y="connsiteY2"/>
                  </a:cxn>
                  <a:cxn ang="0">
                    <a:pos x="connsiteX3" y="connsiteY3"/>
                  </a:cxn>
                </a:cxnLst>
                <a:rect l="l" t="t" r="r" b="b"/>
                <a:pathLst>
                  <a:path w="17463" h="86002">
                    <a:moveTo>
                      <a:pt x="2990" y="0"/>
                    </a:moveTo>
                    <a:lnTo>
                      <a:pt x="17464" y="85464"/>
                    </a:lnTo>
                    <a:lnTo>
                      <a:pt x="14473" y="86003"/>
                    </a:lnTo>
                    <a:lnTo>
                      <a:pt x="0" y="538"/>
                    </a:lnTo>
                    <a:close/>
                  </a:path>
                </a:pathLst>
              </a:custGeom>
              <a:grpFill/>
              <a:ln w="5978" cap="flat">
                <a:noFill/>
                <a:prstDash val="solid"/>
                <a:miter/>
              </a:ln>
            </p:spPr>
            <p:txBody>
              <a:bodyPr rtlCol="0" anchor="ctr"/>
              <a:lstStyle/>
              <a:p>
                <a:endParaRPr lang="en-GB"/>
              </a:p>
            </p:txBody>
          </p:sp>
          <p:sp>
            <p:nvSpPr>
              <p:cNvPr id="3162" name="Vrije vorm: vorm 3161">
                <a:extLst>
                  <a:ext uri="{FF2B5EF4-FFF2-40B4-BE49-F238E27FC236}">
                    <a16:creationId xmlns:a16="http://schemas.microsoft.com/office/drawing/2014/main" id="{0538D52A-D51E-493E-AA1D-C8E5E89AA765}"/>
                  </a:ext>
                </a:extLst>
              </p:cNvPr>
              <p:cNvSpPr/>
              <p:nvPr/>
            </p:nvSpPr>
            <p:spPr>
              <a:xfrm>
                <a:off x="6378212" y="5372575"/>
                <a:ext cx="18318" cy="18434"/>
              </a:xfrm>
              <a:custGeom>
                <a:avLst/>
                <a:gdLst>
                  <a:gd name="connsiteX0" fmla="*/ 18190 w 18318"/>
                  <a:gd name="connsiteY0" fmla="*/ 7722 h 18434"/>
                  <a:gd name="connsiteX1" fmla="*/ 10714 w 18318"/>
                  <a:gd name="connsiteY1" fmla="*/ 18308 h 18434"/>
                  <a:gd name="connsiteX2" fmla="*/ 128 w 18318"/>
                  <a:gd name="connsiteY2" fmla="*/ 10712 h 18434"/>
                  <a:gd name="connsiteX3" fmla="*/ 760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7" y="12746"/>
                      <a:pt x="15678" y="17471"/>
                      <a:pt x="10714" y="18308"/>
                    </a:cubicBezTo>
                    <a:cubicBezTo>
                      <a:pt x="5750" y="19145"/>
                      <a:pt x="965" y="15736"/>
                      <a:pt x="128" y="10712"/>
                    </a:cubicBezTo>
                    <a:cubicBezTo>
                      <a:pt x="-709" y="5689"/>
                      <a:pt x="2640" y="964"/>
                      <a:pt x="7604" y="126"/>
                    </a:cubicBezTo>
                    <a:cubicBezTo>
                      <a:pt x="12568" y="-711"/>
                      <a:pt x="17293" y="2698"/>
                      <a:pt x="18190" y="7722"/>
                    </a:cubicBezTo>
                    <a:close/>
                  </a:path>
                </a:pathLst>
              </a:custGeom>
              <a:grpFill/>
              <a:ln w="5978" cap="flat">
                <a:noFill/>
                <a:prstDash val="solid"/>
                <a:miter/>
              </a:ln>
            </p:spPr>
            <p:txBody>
              <a:bodyPr rtlCol="0" anchor="ctr"/>
              <a:lstStyle/>
              <a:p>
                <a:endParaRPr lang="en-GB"/>
              </a:p>
            </p:txBody>
          </p:sp>
          <p:sp>
            <p:nvSpPr>
              <p:cNvPr id="3163" name="Vrije vorm: vorm 3162">
                <a:extLst>
                  <a:ext uri="{FF2B5EF4-FFF2-40B4-BE49-F238E27FC236}">
                    <a16:creationId xmlns:a16="http://schemas.microsoft.com/office/drawing/2014/main" id="{AB464643-62A7-4CCE-AB8F-EA0E68B287D1}"/>
                  </a:ext>
                </a:extLst>
              </p:cNvPr>
              <p:cNvSpPr/>
              <p:nvPr/>
            </p:nvSpPr>
            <p:spPr>
              <a:xfrm>
                <a:off x="6363843" y="5288008"/>
                <a:ext cx="18350" cy="18434"/>
              </a:xfrm>
              <a:custGeom>
                <a:avLst/>
                <a:gdLst>
                  <a:gd name="connsiteX0" fmla="*/ 18205 w 18350"/>
                  <a:gd name="connsiteY0" fmla="*/ 7722 h 18434"/>
                  <a:gd name="connsiteX1" fmla="*/ 7619 w 18350"/>
                  <a:gd name="connsiteY1" fmla="*/ 126 h 18434"/>
                  <a:gd name="connsiteX2" fmla="*/ 143 w 18350"/>
                  <a:gd name="connsiteY2" fmla="*/ 10712 h 18434"/>
                  <a:gd name="connsiteX3" fmla="*/ 10729 w 18350"/>
                  <a:gd name="connsiteY3" fmla="*/ 18308 h 18434"/>
                  <a:gd name="connsiteX4" fmla="*/ 18205 w 18350"/>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4">
                    <a:moveTo>
                      <a:pt x="18205" y="7722"/>
                    </a:moveTo>
                    <a:cubicBezTo>
                      <a:pt x="17368" y="2698"/>
                      <a:pt x="12643" y="-711"/>
                      <a:pt x="7619" y="126"/>
                    </a:cubicBezTo>
                    <a:cubicBezTo>
                      <a:pt x="2655" y="964"/>
                      <a:pt x="-754" y="5689"/>
                      <a:pt x="143" y="10712"/>
                    </a:cubicBezTo>
                    <a:cubicBezTo>
                      <a:pt x="981" y="15736"/>
                      <a:pt x="5706" y="19145"/>
                      <a:pt x="10729" y="18308"/>
                    </a:cubicBezTo>
                    <a:cubicBezTo>
                      <a:pt x="15753" y="17471"/>
                      <a:pt x="19102" y="12746"/>
                      <a:pt x="18205" y="7722"/>
                    </a:cubicBezTo>
                    <a:close/>
                  </a:path>
                </a:pathLst>
              </a:custGeom>
              <a:grpFill/>
              <a:ln w="5978" cap="flat">
                <a:noFill/>
                <a:prstDash val="solid"/>
                <a:miter/>
              </a:ln>
            </p:spPr>
            <p:txBody>
              <a:bodyPr rtlCol="0" anchor="ctr"/>
              <a:lstStyle/>
              <a:p>
                <a:endParaRPr lang="en-GB"/>
              </a:p>
            </p:txBody>
          </p:sp>
        </p:grpSp>
        <p:grpSp>
          <p:nvGrpSpPr>
            <p:cNvPr id="744" name="Graphic 3">
              <a:extLst>
                <a:ext uri="{FF2B5EF4-FFF2-40B4-BE49-F238E27FC236}">
                  <a16:creationId xmlns:a16="http://schemas.microsoft.com/office/drawing/2014/main" id="{8E479509-06D8-442B-ADB6-5C66B2C6531B}"/>
                </a:ext>
              </a:extLst>
            </p:cNvPr>
            <p:cNvGrpSpPr/>
            <p:nvPr/>
          </p:nvGrpSpPr>
          <p:grpSpPr>
            <a:xfrm>
              <a:off x="5053945" y="1471463"/>
              <a:ext cx="197974" cy="436142"/>
              <a:chOff x="5053945" y="1471463"/>
              <a:chExt cx="197974" cy="436142"/>
            </a:xfrm>
            <a:grpFill/>
          </p:grpSpPr>
          <p:sp>
            <p:nvSpPr>
              <p:cNvPr id="3158" name="Vrije vorm: vorm 3157">
                <a:extLst>
                  <a:ext uri="{FF2B5EF4-FFF2-40B4-BE49-F238E27FC236}">
                    <a16:creationId xmlns:a16="http://schemas.microsoft.com/office/drawing/2014/main" id="{DF8C121E-DF8D-4336-9822-DF355641D5D1}"/>
                  </a:ext>
                </a:extLst>
              </p:cNvPr>
              <p:cNvSpPr/>
              <p:nvPr/>
            </p:nvSpPr>
            <p:spPr>
              <a:xfrm>
                <a:off x="5061564" y="1479671"/>
                <a:ext cx="182710" cy="419786"/>
              </a:xfrm>
              <a:custGeom>
                <a:avLst/>
                <a:gdLst>
                  <a:gd name="connsiteX0" fmla="*/ 182711 w 182710"/>
                  <a:gd name="connsiteY0" fmla="*/ 418591 h 419786"/>
                  <a:gd name="connsiteX1" fmla="*/ 179960 w 182710"/>
                  <a:gd name="connsiteY1" fmla="*/ 419787 h 419786"/>
                  <a:gd name="connsiteX2" fmla="*/ 0 w 182710"/>
                  <a:gd name="connsiteY2" fmla="*/ 1196 h 419786"/>
                  <a:gd name="connsiteX3" fmla="*/ 2811 w 182710"/>
                  <a:gd name="connsiteY3" fmla="*/ 0 h 419786"/>
                </a:gdLst>
                <a:ahLst/>
                <a:cxnLst>
                  <a:cxn ang="0">
                    <a:pos x="connsiteX0" y="connsiteY0"/>
                  </a:cxn>
                  <a:cxn ang="0">
                    <a:pos x="connsiteX1" y="connsiteY1"/>
                  </a:cxn>
                  <a:cxn ang="0">
                    <a:pos x="connsiteX2" y="connsiteY2"/>
                  </a:cxn>
                  <a:cxn ang="0">
                    <a:pos x="connsiteX3" y="connsiteY3"/>
                  </a:cxn>
                </a:cxnLst>
                <a:rect l="l" t="t" r="r" b="b"/>
                <a:pathLst>
                  <a:path w="182710" h="419786">
                    <a:moveTo>
                      <a:pt x="182711" y="418591"/>
                    </a:moveTo>
                    <a:lnTo>
                      <a:pt x="179960" y="419787"/>
                    </a:lnTo>
                    <a:lnTo>
                      <a:pt x="0" y="1196"/>
                    </a:lnTo>
                    <a:lnTo>
                      <a:pt x="2811" y="0"/>
                    </a:lnTo>
                    <a:close/>
                  </a:path>
                </a:pathLst>
              </a:custGeom>
              <a:grpFill/>
              <a:ln w="5978" cap="flat">
                <a:noFill/>
                <a:prstDash val="solid"/>
                <a:miter/>
              </a:ln>
            </p:spPr>
            <p:txBody>
              <a:bodyPr rtlCol="0" anchor="ctr"/>
              <a:lstStyle/>
              <a:p>
                <a:endParaRPr lang="en-GB"/>
              </a:p>
            </p:txBody>
          </p:sp>
          <p:sp>
            <p:nvSpPr>
              <p:cNvPr id="3159" name="Vrije vorm: vorm 3158">
                <a:extLst>
                  <a:ext uri="{FF2B5EF4-FFF2-40B4-BE49-F238E27FC236}">
                    <a16:creationId xmlns:a16="http://schemas.microsoft.com/office/drawing/2014/main" id="{C76689EC-D37A-4639-94F4-EFD0AF28F7E1}"/>
                  </a:ext>
                </a:extLst>
              </p:cNvPr>
              <p:cNvSpPr/>
              <p:nvPr/>
            </p:nvSpPr>
            <p:spPr>
              <a:xfrm>
                <a:off x="5233521" y="1889216"/>
                <a:ext cx="18398" cy="18388"/>
              </a:xfrm>
              <a:custGeom>
                <a:avLst/>
                <a:gdLst>
                  <a:gd name="connsiteX0" fmla="*/ 17632 w 18398"/>
                  <a:gd name="connsiteY0" fmla="*/ 5576 h 18388"/>
                  <a:gd name="connsiteX1" fmla="*/ 12848 w 18398"/>
                  <a:gd name="connsiteY1" fmla="*/ 17657 h 18388"/>
                  <a:gd name="connsiteX2" fmla="*/ 767 w 18398"/>
                  <a:gd name="connsiteY2" fmla="*/ 12813 h 18388"/>
                  <a:gd name="connsiteX3" fmla="*/ 5551 w 18398"/>
                  <a:gd name="connsiteY3" fmla="*/ 732 h 18388"/>
                  <a:gd name="connsiteX4" fmla="*/ 17632 w 18398"/>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388">
                    <a:moveTo>
                      <a:pt x="17632" y="5576"/>
                    </a:moveTo>
                    <a:cubicBezTo>
                      <a:pt x="19666" y="10241"/>
                      <a:pt x="17513" y="15684"/>
                      <a:pt x="12848" y="17657"/>
                    </a:cubicBezTo>
                    <a:cubicBezTo>
                      <a:pt x="8183" y="19631"/>
                      <a:pt x="2800" y="17478"/>
                      <a:pt x="767" y="12813"/>
                    </a:cubicBezTo>
                    <a:cubicBezTo>
                      <a:pt x="-1267" y="8148"/>
                      <a:pt x="886" y="2705"/>
                      <a:pt x="5551" y="732"/>
                    </a:cubicBezTo>
                    <a:cubicBezTo>
                      <a:pt x="10216" y="-1242"/>
                      <a:pt x="15599" y="911"/>
                      <a:pt x="17632" y="5576"/>
                    </a:cubicBezTo>
                    <a:close/>
                  </a:path>
                </a:pathLst>
              </a:custGeom>
              <a:grpFill/>
              <a:ln w="5978" cap="flat">
                <a:noFill/>
                <a:prstDash val="solid"/>
                <a:miter/>
              </a:ln>
            </p:spPr>
            <p:txBody>
              <a:bodyPr rtlCol="0" anchor="ctr"/>
              <a:lstStyle/>
              <a:p>
                <a:endParaRPr lang="en-GB"/>
              </a:p>
            </p:txBody>
          </p:sp>
          <p:sp>
            <p:nvSpPr>
              <p:cNvPr id="3160" name="Vrije vorm: vorm 3159">
                <a:extLst>
                  <a:ext uri="{FF2B5EF4-FFF2-40B4-BE49-F238E27FC236}">
                    <a16:creationId xmlns:a16="http://schemas.microsoft.com/office/drawing/2014/main" id="{C44A6446-F29B-41B4-8A26-63C6B3448C42}"/>
                  </a:ext>
                </a:extLst>
              </p:cNvPr>
              <p:cNvSpPr/>
              <p:nvPr/>
            </p:nvSpPr>
            <p:spPr>
              <a:xfrm>
                <a:off x="5053945" y="1471463"/>
                <a:ext cx="18348" cy="18388"/>
              </a:xfrm>
              <a:custGeom>
                <a:avLst/>
                <a:gdLst>
                  <a:gd name="connsiteX0" fmla="*/ 17607 w 18348"/>
                  <a:gd name="connsiteY0" fmla="*/ 5576 h 18388"/>
                  <a:gd name="connsiteX1" fmla="*/ 5526 w 18348"/>
                  <a:gd name="connsiteY1" fmla="*/ 732 h 18388"/>
                  <a:gd name="connsiteX2" fmla="*/ 741 w 18348"/>
                  <a:gd name="connsiteY2" fmla="*/ 12813 h 18388"/>
                  <a:gd name="connsiteX3" fmla="*/ 12822 w 18348"/>
                  <a:gd name="connsiteY3" fmla="*/ 17657 h 18388"/>
                  <a:gd name="connsiteX4" fmla="*/ 17607 w 18348"/>
                  <a:gd name="connsiteY4" fmla="*/ 5576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388">
                    <a:moveTo>
                      <a:pt x="17607" y="5576"/>
                    </a:moveTo>
                    <a:cubicBezTo>
                      <a:pt x="15573" y="911"/>
                      <a:pt x="10191" y="-1242"/>
                      <a:pt x="5526" y="732"/>
                    </a:cubicBezTo>
                    <a:cubicBezTo>
                      <a:pt x="861" y="2705"/>
                      <a:pt x="-1232" y="8148"/>
                      <a:pt x="741" y="12813"/>
                    </a:cubicBezTo>
                    <a:cubicBezTo>
                      <a:pt x="2775" y="17478"/>
                      <a:pt x="8157" y="19631"/>
                      <a:pt x="12822" y="17657"/>
                    </a:cubicBezTo>
                    <a:cubicBezTo>
                      <a:pt x="17487" y="15684"/>
                      <a:pt x="19580" y="10241"/>
                      <a:pt x="17607" y="5576"/>
                    </a:cubicBezTo>
                    <a:close/>
                  </a:path>
                </a:pathLst>
              </a:custGeom>
              <a:grpFill/>
              <a:ln w="5978" cap="flat">
                <a:noFill/>
                <a:prstDash val="solid"/>
                <a:miter/>
              </a:ln>
            </p:spPr>
            <p:txBody>
              <a:bodyPr rtlCol="0" anchor="ctr"/>
              <a:lstStyle/>
              <a:p>
                <a:endParaRPr lang="en-GB"/>
              </a:p>
            </p:txBody>
          </p:sp>
        </p:grpSp>
        <p:grpSp>
          <p:nvGrpSpPr>
            <p:cNvPr id="745" name="Graphic 3">
              <a:extLst>
                <a:ext uri="{FF2B5EF4-FFF2-40B4-BE49-F238E27FC236}">
                  <a16:creationId xmlns:a16="http://schemas.microsoft.com/office/drawing/2014/main" id="{FA68F8A9-1C1C-439B-A2D5-39B6CC151C32}"/>
                </a:ext>
              </a:extLst>
            </p:cNvPr>
            <p:cNvGrpSpPr/>
            <p:nvPr/>
          </p:nvGrpSpPr>
          <p:grpSpPr>
            <a:xfrm>
              <a:off x="5067657" y="1496830"/>
              <a:ext cx="61077" cy="102042"/>
              <a:chOff x="5067657" y="1496830"/>
              <a:chExt cx="61077" cy="102042"/>
            </a:xfrm>
            <a:grpFill/>
          </p:grpSpPr>
          <p:sp>
            <p:nvSpPr>
              <p:cNvPr id="3155" name="Vrije vorm: vorm 3154">
                <a:extLst>
                  <a:ext uri="{FF2B5EF4-FFF2-40B4-BE49-F238E27FC236}">
                    <a16:creationId xmlns:a16="http://schemas.microsoft.com/office/drawing/2014/main" id="{102B1C8F-D3F7-486A-9DB6-AE5B4EB8387C}"/>
                  </a:ext>
                </a:extLst>
              </p:cNvPr>
              <p:cNvSpPr/>
              <p:nvPr/>
            </p:nvSpPr>
            <p:spPr>
              <a:xfrm>
                <a:off x="5075260" y="1504969"/>
                <a:ext cx="45931" cy="85763"/>
              </a:xfrm>
              <a:custGeom>
                <a:avLst/>
                <a:gdLst>
                  <a:gd name="connsiteX0" fmla="*/ 45932 w 45931"/>
                  <a:gd name="connsiteY0" fmla="*/ 84388 h 85763"/>
                  <a:gd name="connsiteX1" fmla="*/ 43181 w 45931"/>
                  <a:gd name="connsiteY1" fmla="*/ 85764 h 85763"/>
                  <a:gd name="connsiteX2" fmla="*/ 0 w 45931"/>
                  <a:gd name="connsiteY2" fmla="*/ 1376 h 85763"/>
                  <a:gd name="connsiteX3" fmla="*/ 2691 w 45931"/>
                  <a:gd name="connsiteY3" fmla="*/ 0 h 85763"/>
                </a:gdLst>
                <a:ahLst/>
                <a:cxnLst>
                  <a:cxn ang="0">
                    <a:pos x="connsiteX0" y="connsiteY0"/>
                  </a:cxn>
                  <a:cxn ang="0">
                    <a:pos x="connsiteX1" y="connsiteY1"/>
                  </a:cxn>
                  <a:cxn ang="0">
                    <a:pos x="connsiteX2" y="connsiteY2"/>
                  </a:cxn>
                  <a:cxn ang="0">
                    <a:pos x="connsiteX3" y="connsiteY3"/>
                  </a:cxn>
                </a:cxnLst>
                <a:rect l="l" t="t" r="r" b="b"/>
                <a:pathLst>
                  <a:path w="45931" h="85763">
                    <a:moveTo>
                      <a:pt x="45932" y="84388"/>
                    </a:moveTo>
                    <a:lnTo>
                      <a:pt x="43181" y="85764"/>
                    </a:lnTo>
                    <a:lnTo>
                      <a:pt x="0" y="1376"/>
                    </a:lnTo>
                    <a:lnTo>
                      <a:pt x="2691" y="0"/>
                    </a:lnTo>
                    <a:close/>
                  </a:path>
                </a:pathLst>
              </a:custGeom>
              <a:grpFill/>
              <a:ln w="5978" cap="flat">
                <a:noFill/>
                <a:prstDash val="solid"/>
                <a:miter/>
              </a:ln>
            </p:spPr>
            <p:txBody>
              <a:bodyPr rtlCol="0" anchor="ctr"/>
              <a:lstStyle/>
              <a:p>
                <a:endParaRPr lang="en-GB"/>
              </a:p>
            </p:txBody>
          </p:sp>
          <p:sp>
            <p:nvSpPr>
              <p:cNvPr id="3156" name="Vrije vorm: vorm 3155">
                <a:extLst>
                  <a:ext uri="{FF2B5EF4-FFF2-40B4-BE49-F238E27FC236}">
                    <a16:creationId xmlns:a16="http://schemas.microsoft.com/office/drawing/2014/main" id="{93981187-9DEF-4D28-8460-CBC998B40C7E}"/>
                  </a:ext>
                </a:extLst>
              </p:cNvPr>
              <p:cNvSpPr/>
              <p:nvPr/>
            </p:nvSpPr>
            <p:spPr>
              <a:xfrm>
                <a:off x="5067657" y="1496830"/>
                <a:ext cx="18315" cy="18431"/>
              </a:xfrm>
              <a:custGeom>
                <a:avLst/>
                <a:gdLst>
                  <a:gd name="connsiteX0" fmla="*/ 1024 w 18315"/>
                  <a:gd name="connsiteY0" fmla="*/ 13402 h 18431"/>
                  <a:gd name="connsiteX1" fmla="*/ 4971 w 18315"/>
                  <a:gd name="connsiteY1" fmla="*/ 1022 h 18431"/>
                  <a:gd name="connsiteX2" fmla="*/ 17292 w 18315"/>
                  <a:gd name="connsiteY2" fmla="*/ 5029 h 18431"/>
                  <a:gd name="connsiteX3" fmla="*/ 13344 w 18315"/>
                  <a:gd name="connsiteY3" fmla="*/ 17409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1309" y="8857"/>
                      <a:pt x="486" y="3295"/>
                      <a:pt x="4971" y="1022"/>
                    </a:cubicBezTo>
                    <a:cubicBezTo>
                      <a:pt x="9457" y="-1310"/>
                      <a:pt x="15019" y="484"/>
                      <a:pt x="17292" y="5029"/>
                    </a:cubicBezTo>
                    <a:cubicBezTo>
                      <a:pt x="19624" y="9575"/>
                      <a:pt x="17830" y="15137"/>
                      <a:pt x="13344" y="17409"/>
                    </a:cubicBezTo>
                    <a:cubicBezTo>
                      <a:pt x="8859" y="19742"/>
                      <a:pt x="3356" y="17948"/>
                      <a:pt x="1024" y="13402"/>
                    </a:cubicBezTo>
                    <a:close/>
                  </a:path>
                </a:pathLst>
              </a:custGeom>
              <a:grpFill/>
              <a:ln w="5978" cap="flat">
                <a:noFill/>
                <a:prstDash val="solid"/>
                <a:miter/>
              </a:ln>
            </p:spPr>
            <p:txBody>
              <a:bodyPr rtlCol="0" anchor="ctr"/>
              <a:lstStyle/>
              <a:p>
                <a:endParaRPr lang="en-GB"/>
              </a:p>
            </p:txBody>
          </p:sp>
          <p:sp>
            <p:nvSpPr>
              <p:cNvPr id="3157" name="Vrije vorm: vorm 3156">
                <a:extLst>
                  <a:ext uri="{FF2B5EF4-FFF2-40B4-BE49-F238E27FC236}">
                    <a16:creationId xmlns:a16="http://schemas.microsoft.com/office/drawing/2014/main" id="{5B16FF79-C17D-446C-8B64-9DD624EEF716}"/>
                  </a:ext>
                </a:extLst>
              </p:cNvPr>
              <p:cNvSpPr/>
              <p:nvPr/>
            </p:nvSpPr>
            <p:spPr>
              <a:xfrm>
                <a:off x="5110420" y="1580440"/>
                <a:ext cx="18315" cy="18431"/>
              </a:xfrm>
              <a:custGeom>
                <a:avLst/>
                <a:gdLst>
                  <a:gd name="connsiteX0" fmla="*/ 1024 w 18315"/>
                  <a:gd name="connsiteY0" fmla="*/ 13402 h 18431"/>
                  <a:gd name="connsiteX1" fmla="*/ 13344 w 18315"/>
                  <a:gd name="connsiteY1" fmla="*/ 17409 h 18431"/>
                  <a:gd name="connsiteX2" fmla="*/ 17291 w 18315"/>
                  <a:gd name="connsiteY2" fmla="*/ 5029 h 18431"/>
                  <a:gd name="connsiteX3" fmla="*/ 4971 w 18315"/>
                  <a:gd name="connsiteY3" fmla="*/ 1022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3356" y="17948"/>
                      <a:pt x="8859" y="19742"/>
                      <a:pt x="13344" y="17409"/>
                    </a:cubicBezTo>
                    <a:cubicBezTo>
                      <a:pt x="17830" y="15077"/>
                      <a:pt x="19624" y="9575"/>
                      <a:pt x="17291" y="5029"/>
                    </a:cubicBezTo>
                    <a:cubicBezTo>
                      <a:pt x="14959" y="484"/>
                      <a:pt x="9457" y="-1310"/>
                      <a:pt x="4971" y="1022"/>
                    </a:cubicBezTo>
                    <a:cubicBezTo>
                      <a:pt x="485" y="3295"/>
                      <a:pt x="-1309" y="8857"/>
                      <a:pt x="1024" y="13402"/>
                    </a:cubicBezTo>
                    <a:close/>
                  </a:path>
                </a:pathLst>
              </a:custGeom>
              <a:grpFill/>
              <a:ln w="5978" cap="flat">
                <a:noFill/>
                <a:prstDash val="solid"/>
                <a:miter/>
              </a:ln>
            </p:spPr>
            <p:txBody>
              <a:bodyPr rtlCol="0" anchor="ctr"/>
              <a:lstStyle/>
              <a:p>
                <a:endParaRPr lang="en-GB"/>
              </a:p>
            </p:txBody>
          </p:sp>
        </p:grpSp>
        <p:grpSp>
          <p:nvGrpSpPr>
            <p:cNvPr id="746" name="Graphic 3">
              <a:extLst>
                <a:ext uri="{FF2B5EF4-FFF2-40B4-BE49-F238E27FC236}">
                  <a16:creationId xmlns:a16="http://schemas.microsoft.com/office/drawing/2014/main" id="{19C90386-94E0-40AE-900A-651439F12EE6}"/>
                </a:ext>
              </a:extLst>
            </p:cNvPr>
            <p:cNvGrpSpPr/>
            <p:nvPr/>
          </p:nvGrpSpPr>
          <p:grpSpPr>
            <a:xfrm>
              <a:off x="6440254" y="5502916"/>
              <a:ext cx="57686" cy="227416"/>
              <a:chOff x="6440254" y="5502916"/>
              <a:chExt cx="57686" cy="227416"/>
            </a:xfrm>
            <a:grpFill/>
          </p:grpSpPr>
          <p:sp>
            <p:nvSpPr>
              <p:cNvPr id="3152" name="Vrije vorm: vorm 3151">
                <a:extLst>
                  <a:ext uri="{FF2B5EF4-FFF2-40B4-BE49-F238E27FC236}">
                    <a16:creationId xmlns:a16="http://schemas.microsoft.com/office/drawing/2014/main" id="{433D5784-5C7A-474A-AC40-5FF2B7BC9AB9}"/>
                  </a:ext>
                </a:extLst>
              </p:cNvPr>
              <p:cNvSpPr/>
              <p:nvPr/>
            </p:nvSpPr>
            <p:spPr>
              <a:xfrm>
                <a:off x="6447836" y="5511394"/>
                <a:ext cx="42522" cy="210401"/>
              </a:xfrm>
              <a:custGeom>
                <a:avLst/>
                <a:gdLst>
                  <a:gd name="connsiteX0" fmla="*/ 2990 w 42522"/>
                  <a:gd name="connsiteY0" fmla="*/ 0 h 210401"/>
                  <a:gd name="connsiteX1" fmla="*/ 42523 w 42522"/>
                  <a:gd name="connsiteY1" fmla="*/ 209863 h 210401"/>
                  <a:gd name="connsiteX2" fmla="*/ 39532 w 42522"/>
                  <a:gd name="connsiteY2" fmla="*/ 210402 h 210401"/>
                  <a:gd name="connsiteX3" fmla="*/ 0 w 42522"/>
                  <a:gd name="connsiteY3" fmla="*/ 538 h 210401"/>
                </a:gdLst>
                <a:ahLst/>
                <a:cxnLst>
                  <a:cxn ang="0">
                    <a:pos x="connsiteX0" y="connsiteY0"/>
                  </a:cxn>
                  <a:cxn ang="0">
                    <a:pos x="connsiteX1" y="connsiteY1"/>
                  </a:cxn>
                  <a:cxn ang="0">
                    <a:pos x="connsiteX2" y="connsiteY2"/>
                  </a:cxn>
                  <a:cxn ang="0">
                    <a:pos x="connsiteX3" y="connsiteY3"/>
                  </a:cxn>
                </a:cxnLst>
                <a:rect l="l" t="t" r="r" b="b"/>
                <a:pathLst>
                  <a:path w="42522" h="210401">
                    <a:moveTo>
                      <a:pt x="2990" y="0"/>
                    </a:moveTo>
                    <a:lnTo>
                      <a:pt x="42523" y="209863"/>
                    </a:lnTo>
                    <a:lnTo>
                      <a:pt x="39532" y="210402"/>
                    </a:lnTo>
                    <a:lnTo>
                      <a:pt x="0" y="538"/>
                    </a:lnTo>
                    <a:close/>
                  </a:path>
                </a:pathLst>
              </a:custGeom>
              <a:grpFill/>
              <a:ln w="5978" cap="flat">
                <a:noFill/>
                <a:prstDash val="solid"/>
                <a:miter/>
              </a:ln>
            </p:spPr>
            <p:txBody>
              <a:bodyPr rtlCol="0" anchor="ctr"/>
              <a:lstStyle/>
              <a:p>
                <a:endParaRPr lang="en-GB"/>
              </a:p>
            </p:txBody>
          </p:sp>
          <p:sp>
            <p:nvSpPr>
              <p:cNvPr id="3153" name="Vrije vorm: vorm 3152">
                <a:extLst>
                  <a:ext uri="{FF2B5EF4-FFF2-40B4-BE49-F238E27FC236}">
                    <a16:creationId xmlns:a16="http://schemas.microsoft.com/office/drawing/2014/main" id="{1DCAE312-42C8-41B8-AE52-9694DE10249A}"/>
                  </a:ext>
                </a:extLst>
              </p:cNvPr>
              <p:cNvSpPr/>
              <p:nvPr/>
            </p:nvSpPr>
            <p:spPr>
              <a:xfrm>
                <a:off x="6479607" y="5711882"/>
                <a:ext cx="18333" cy="18450"/>
              </a:xfrm>
              <a:custGeom>
                <a:avLst/>
                <a:gdLst>
                  <a:gd name="connsiteX0" fmla="*/ 18168 w 18333"/>
                  <a:gd name="connsiteY0" fmla="*/ 7522 h 18450"/>
                  <a:gd name="connsiteX1" fmla="*/ 10871 w 18333"/>
                  <a:gd name="connsiteY1" fmla="*/ 18287 h 18450"/>
                  <a:gd name="connsiteX2" fmla="*/ 166 w 18333"/>
                  <a:gd name="connsiteY2" fmla="*/ 10931 h 18450"/>
                  <a:gd name="connsiteX3" fmla="*/ 7462 w 18333"/>
                  <a:gd name="connsiteY3" fmla="*/ 165 h 18450"/>
                  <a:gd name="connsiteX4" fmla="*/ 18168 w 18333"/>
                  <a:gd name="connsiteY4" fmla="*/ 7522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0">
                    <a:moveTo>
                      <a:pt x="18168" y="7522"/>
                    </a:moveTo>
                    <a:cubicBezTo>
                      <a:pt x="19124" y="12546"/>
                      <a:pt x="15835" y="17330"/>
                      <a:pt x="10871" y="18287"/>
                    </a:cubicBezTo>
                    <a:cubicBezTo>
                      <a:pt x="5907" y="19244"/>
                      <a:pt x="1123" y="15895"/>
                      <a:pt x="166" y="10931"/>
                    </a:cubicBezTo>
                    <a:cubicBezTo>
                      <a:pt x="-791" y="5907"/>
                      <a:pt x="2498" y="1123"/>
                      <a:pt x="7462" y="165"/>
                    </a:cubicBezTo>
                    <a:cubicBezTo>
                      <a:pt x="12426" y="-791"/>
                      <a:pt x="17211" y="2498"/>
                      <a:pt x="18168" y="7522"/>
                    </a:cubicBezTo>
                    <a:close/>
                  </a:path>
                </a:pathLst>
              </a:custGeom>
              <a:grpFill/>
              <a:ln w="5978" cap="flat">
                <a:noFill/>
                <a:prstDash val="solid"/>
                <a:miter/>
              </a:ln>
            </p:spPr>
            <p:txBody>
              <a:bodyPr rtlCol="0" anchor="ctr"/>
              <a:lstStyle/>
              <a:p>
                <a:endParaRPr lang="en-GB"/>
              </a:p>
            </p:txBody>
          </p:sp>
          <p:sp>
            <p:nvSpPr>
              <p:cNvPr id="3154" name="Vrije vorm: vorm 3153">
                <a:extLst>
                  <a:ext uri="{FF2B5EF4-FFF2-40B4-BE49-F238E27FC236}">
                    <a16:creationId xmlns:a16="http://schemas.microsoft.com/office/drawing/2014/main" id="{47B48C77-B112-49EE-AD11-3B5F451CF533}"/>
                  </a:ext>
                </a:extLst>
              </p:cNvPr>
              <p:cNvSpPr/>
              <p:nvPr/>
            </p:nvSpPr>
            <p:spPr>
              <a:xfrm>
                <a:off x="6440254" y="5502916"/>
                <a:ext cx="18333" cy="18452"/>
              </a:xfrm>
              <a:custGeom>
                <a:avLst/>
                <a:gdLst>
                  <a:gd name="connsiteX0" fmla="*/ 18168 w 18333"/>
                  <a:gd name="connsiteY0" fmla="*/ 7522 h 18452"/>
                  <a:gd name="connsiteX1" fmla="*/ 7462 w 18333"/>
                  <a:gd name="connsiteY1" fmla="*/ 165 h 18452"/>
                  <a:gd name="connsiteX2" fmla="*/ 166 w 18333"/>
                  <a:gd name="connsiteY2" fmla="*/ 10931 h 18452"/>
                  <a:gd name="connsiteX3" fmla="*/ 10871 w 18333"/>
                  <a:gd name="connsiteY3" fmla="*/ 18287 h 18452"/>
                  <a:gd name="connsiteX4" fmla="*/ 18168 w 18333"/>
                  <a:gd name="connsiteY4" fmla="*/ 7522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168" y="7522"/>
                    </a:moveTo>
                    <a:cubicBezTo>
                      <a:pt x="17211" y="2498"/>
                      <a:pt x="12426" y="-791"/>
                      <a:pt x="7462" y="165"/>
                    </a:cubicBezTo>
                    <a:cubicBezTo>
                      <a:pt x="2498" y="1063"/>
                      <a:pt x="-791" y="5907"/>
                      <a:pt x="166" y="10931"/>
                    </a:cubicBezTo>
                    <a:cubicBezTo>
                      <a:pt x="1123" y="15955"/>
                      <a:pt x="5907" y="19244"/>
                      <a:pt x="10871" y="18287"/>
                    </a:cubicBezTo>
                    <a:cubicBezTo>
                      <a:pt x="15835" y="17330"/>
                      <a:pt x="19125" y="12486"/>
                      <a:pt x="18168" y="7522"/>
                    </a:cubicBezTo>
                    <a:close/>
                  </a:path>
                </a:pathLst>
              </a:custGeom>
              <a:grpFill/>
              <a:ln w="5978" cap="flat">
                <a:noFill/>
                <a:prstDash val="solid"/>
                <a:miter/>
              </a:ln>
            </p:spPr>
            <p:txBody>
              <a:bodyPr rtlCol="0" anchor="ctr"/>
              <a:lstStyle/>
              <a:p>
                <a:endParaRPr lang="en-GB"/>
              </a:p>
            </p:txBody>
          </p:sp>
        </p:grpSp>
        <p:grpSp>
          <p:nvGrpSpPr>
            <p:cNvPr id="747" name="Graphic 3">
              <a:extLst>
                <a:ext uri="{FF2B5EF4-FFF2-40B4-BE49-F238E27FC236}">
                  <a16:creationId xmlns:a16="http://schemas.microsoft.com/office/drawing/2014/main" id="{3EEAE8C9-E000-4600-9C1F-7C02814585DC}"/>
                </a:ext>
              </a:extLst>
            </p:cNvPr>
            <p:cNvGrpSpPr/>
            <p:nvPr/>
          </p:nvGrpSpPr>
          <p:grpSpPr>
            <a:xfrm>
              <a:off x="6296189" y="5074828"/>
              <a:ext cx="48647" cy="220577"/>
              <a:chOff x="6296189" y="5074828"/>
              <a:chExt cx="48647" cy="220577"/>
            </a:xfrm>
            <a:grpFill/>
          </p:grpSpPr>
          <p:sp>
            <p:nvSpPr>
              <p:cNvPr id="3149" name="Vrije vorm: vorm 3148">
                <a:extLst>
                  <a:ext uri="{FF2B5EF4-FFF2-40B4-BE49-F238E27FC236}">
                    <a16:creationId xmlns:a16="http://schemas.microsoft.com/office/drawing/2014/main" id="{3265BBEF-2C45-4F7A-A6BA-9680104F2B42}"/>
                  </a:ext>
                </a:extLst>
              </p:cNvPr>
              <p:cNvSpPr/>
              <p:nvPr/>
            </p:nvSpPr>
            <p:spPr>
              <a:xfrm>
                <a:off x="6303760" y="5083354"/>
                <a:ext cx="33491" cy="203464"/>
              </a:xfrm>
              <a:custGeom>
                <a:avLst/>
                <a:gdLst>
                  <a:gd name="connsiteX0" fmla="*/ 2990 w 33491"/>
                  <a:gd name="connsiteY0" fmla="*/ 0 h 203464"/>
                  <a:gd name="connsiteX1" fmla="*/ 33492 w 33491"/>
                  <a:gd name="connsiteY1" fmla="*/ 203046 h 203464"/>
                  <a:gd name="connsiteX2" fmla="*/ 30442 w 33491"/>
                  <a:gd name="connsiteY2" fmla="*/ 203464 h 203464"/>
                  <a:gd name="connsiteX3" fmla="*/ 0 w 33491"/>
                  <a:gd name="connsiteY3" fmla="*/ 419 h 203464"/>
                </a:gdLst>
                <a:ahLst/>
                <a:cxnLst>
                  <a:cxn ang="0">
                    <a:pos x="connsiteX0" y="connsiteY0"/>
                  </a:cxn>
                  <a:cxn ang="0">
                    <a:pos x="connsiteX1" y="connsiteY1"/>
                  </a:cxn>
                  <a:cxn ang="0">
                    <a:pos x="connsiteX2" y="connsiteY2"/>
                  </a:cxn>
                  <a:cxn ang="0">
                    <a:pos x="connsiteX3" y="connsiteY3"/>
                  </a:cxn>
                </a:cxnLst>
                <a:rect l="l" t="t" r="r" b="b"/>
                <a:pathLst>
                  <a:path w="33491" h="203464">
                    <a:moveTo>
                      <a:pt x="2990" y="0"/>
                    </a:moveTo>
                    <a:lnTo>
                      <a:pt x="33492" y="203046"/>
                    </a:lnTo>
                    <a:lnTo>
                      <a:pt x="30442" y="203464"/>
                    </a:lnTo>
                    <a:lnTo>
                      <a:pt x="0" y="419"/>
                    </a:lnTo>
                    <a:close/>
                  </a:path>
                </a:pathLst>
              </a:custGeom>
              <a:grpFill/>
              <a:ln w="5978" cap="flat">
                <a:noFill/>
                <a:prstDash val="solid"/>
                <a:miter/>
              </a:ln>
            </p:spPr>
            <p:txBody>
              <a:bodyPr rtlCol="0" anchor="ctr"/>
              <a:lstStyle/>
              <a:p>
                <a:endParaRPr lang="en-GB"/>
              </a:p>
            </p:txBody>
          </p:sp>
          <p:sp>
            <p:nvSpPr>
              <p:cNvPr id="3150" name="Vrije vorm: vorm 3149">
                <a:extLst>
                  <a:ext uri="{FF2B5EF4-FFF2-40B4-BE49-F238E27FC236}">
                    <a16:creationId xmlns:a16="http://schemas.microsoft.com/office/drawing/2014/main" id="{797B8AC6-901F-42CE-B0CC-92630FEEA750}"/>
                  </a:ext>
                </a:extLst>
              </p:cNvPr>
              <p:cNvSpPr/>
              <p:nvPr/>
            </p:nvSpPr>
            <p:spPr>
              <a:xfrm>
                <a:off x="6326498" y="5276961"/>
                <a:ext cx="18339" cy="18444"/>
              </a:xfrm>
              <a:custGeom>
                <a:avLst/>
                <a:gdLst>
                  <a:gd name="connsiteX0" fmla="*/ 18230 w 18339"/>
                  <a:gd name="connsiteY0" fmla="*/ 7884 h 18444"/>
                  <a:gd name="connsiteX1" fmla="*/ 10515 w 18339"/>
                  <a:gd name="connsiteY1" fmla="*/ 18350 h 18444"/>
                  <a:gd name="connsiteX2" fmla="*/ 109 w 18339"/>
                  <a:gd name="connsiteY2" fmla="*/ 10575 h 18444"/>
                  <a:gd name="connsiteX3" fmla="*/ 7824 w 18339"/>
                  <a:gd name="connsiteY3" fmla="*/ 109 h 18444"/>
                  <a:gd name="connsiteX4" fmla="*/ 18230 w 18339"/>
                  <a:gd name="connsiteY4" fmla="*/ 788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18230" y="7884"/>
                    </a:moveTo>
                    <a:cubicBezTo>
                      <a:pt x="19008" y="12908"/>
                      <a:pt x="15539" y="17572"/>
                      <a:pt x="10515" y="18350"/>
                    </a:cubicBezTo>
                    <a:cubicBezTo>
                      <a:pt x="5492" y="19068"/>
                      <a:pt x="827" y="15599"/>
                      <a:pt x="109" y="10575"/>
                    </a:cubicBezTo>
                    <a:cubicBezTo>
                      <a:pt x="-669" y="5551"/>
                      <a:pt x="2800" y="886"/>
                      <a:pt x="7824" y="109"/>
                    </a:cubicBezTo>
                    <a:cubicBezTo>
                      <a:pt x="12788" y="-669"/>
                      <a:pt x="17453" y="2800"/>
                      <a:pt x="18230" y="7884"/>
                    </a:cubicBezTo>
                    <a:close/>
                  </a:path>
                </a:pathLst>
              </a:custGeom>
              <a:grpFill/>
              <a:ln w="5978" cap="flat">
                <a:noFill/>
                <a:prstDash val="solid"/>
                <a:miter/>
              </a:ln>
            </p:spPr>
            <p:txBody>
              <a:bodyPr rtlCol="0" anchor="ctr"/>
              <a:lstStyle/>
              <a:p>
                <a:endParaRPr lang="en-GB"/>
              </a:p>
            </p:txBody>
          </p:sp>
          <p:sp>
            <p:nvSpPr>
              <p:cNvPr id="3151" name="Vrije vorm: vorm 3150">
                <a:extLst>
                  <a:ext uri="{FF2B5EF4-FFF2-40B4-BE49-F238E27FC236}">
                    <a16:creationId xmlns:a16="http://schemas.microsoft.com/office/drawing/2014/main" id="{48BE67A6-B385-4163-A083-6D202F6D8D85}"/>
                  </a:ext>
                </a:extLst>
              </p:cNvPr>
              <p:cNvSpPr/>
              <p:nvPr/>
            </p:nvSpPr>
            <p:spPr>
              <a:xfrm>
                <a:off x="6296189" y="5074828"/>
                <a:ext cx="18312" cy="18429"/>
              </a:xfrm>
              <a:custGeom>
                <a:avLst/>
                <a:gdLst>
                  <a:gd name="connsiteX0" fmla="*/ 18217 w 18312"/>
                  <a:gd name="connsiteY0" fmla="*/ 7869 h 18429"/>
                  <a:gd name="connsiteX1" fmla="*/ 7810 w 18312"/>
                  <a:gd name="connsiteY1" fmla="*/ 94 h 18429"/>
                  <a:gd name="connsiteX2" fmla="*/ 95 w 18312"/>
                  <a:gd name="connsiteY2" fmla="*/ 10560 h 18429"/>
                  <a:gd name="connsiteX3" fmla="*/ 10502 w 18312"/>
                  <a:gd name="connsiteY3" fmla="*/ 18335 h 18429"/>
                  <a:gd name="connsiteX4" fmla="*/ 18217 w 18312"/>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29">
                    <a:moveTo>
                      <a:pt x="18217" y="7869"/>
                    </a:moveTo>
                    <a:cubicBezTo>
                      <a:pt x="17440" y="2845"/>
                      <a:pt x="12774" y="-624"/>
                      <a:pt x="7810" y="94"/>
                    </a:cubicBezTo>
                    <a:cubicBezTo>
                      <a:pt x="2787" y="812"/>
                      <a:pt x="-622" y="5536"/>
                      <a:pt x="95" y="10560"/>
                    </a:cubicBezTo>
                    <a:cubicBezTo>
                      <a:pt x="873" y="15584"/>
                      <a:pt x="5538" y="19053"/>
                      <a:pt x="10502" y="18335"/>
                    </a:cubicBezTo>
                    <a:cubicBezTo>
                      <a:pt x="15526" y="17558"/>
                      <a:pt x="18935" y="12892"/>
                      <a:pt x="18217" y="7869"/>
                    </a:cubicBezTo>
                    <a:close/>
                  </a:path>
                </a:pathLst>
              </a:custGeom>
              <a:grpFill/>
              <a:ln w="5978" cap="flat">
                <a:noFill/>
                <a:prstDash val="solid"/>
                <a:miter/>
              </a:ln>
            </p:spPr>
            <p:txBody>
              <a:bodyPr rtlCol="0" anchor="ctr"/>
              <a:lstStyle/>
              <a:p>
                <a:endParaRPr lang="en-GB"/>
              </a:p>
            </p:txBody>
          </p:sp>
        </p:grpSp>
        <p:grpSp>
          <p:nvGrpSpPr>
            <p:cNvPr id="748" name="Graphic 3">
              <a:extLst>
                <a:ext uri="{FF2B5EF4-FFF2-40B4-BE49-F238E27FC236}">
                  <a16:creationId xmlns:a16="http://schemas.microsoft.com/office/drawing/2014/main" id="{DB6A7FBF-F887-46EF-A383-D644FCD1B382}"/>
                </a:ext>
              </a:extLst>
            </p:cNvPr>
            <p:cNvGrpSpPr/>
            <p:nvPr/>
          </p:nvGrpSpPr>
          <p:grpSpPr>
            <a:xfrm>
              <a:off x="5076023" y="1596700"/>
              <a:ext cx="175145" cy="311263"/>
              <a:chOff x="5076023" y="1596700"/>
              <a:chExt cx="175145" cy="311263"/>
            </a:xfrm>
            <a:grpFill/>
          </p:grpSpPr>
          <p:sp>
            <p:nvSpPr>
              <p:cNvPr id="3146" name="Vrije vorm: vorm 3145">
                <a:extLst>
                  <a:ext uri="{FF2B5EF4-FFF2-40B4-BE49-F238E27FC236}">
                    <a16:creationId xmlns:a16="http://schemas.microsoft.com/office/drawing/2014/main" id="{938D0F39-DA86-4262-BE36-7D1472D68E28}"/>
                  </a:ext>
                </a:extLst>
              </p:cNvPr>
              <p:cNvSpPr/>
              <p:nvPr/>
            </p:nvSpPr>
            <p:spPr>
              <a:xfrm>
                <a:off x="5083573" y="1604728"/>
                <a:ext cx="159984" cy="295148"/>
              </a:xfrm>
              <a:custGeom>
                <a:avLst/>
                <a:gdLst>
                  <a:gd name="connsiteX0" fmla="*/ 159984 w 159984"/>
                  <a:gd name="connsiteY0" fmla="*/ 293713 h 295148"/>
                  <a:gd name="connsiteX1" fmla="*/ 157293 w 159984"/>
                  <a:gd name="connsiteY1" fmla="*/ 295149 h 295148"/>
                  <a:gd name="connsiteX2" fmla="*/ 0 w 159984"/>
                  <a:gd name="connsiteY2" fmla="*/ 1495 h 295148"/>
                  <a:gd name="connsiteX3" fmla="*/ 2691 w 159984"/>
                  <a:gd name="connsiteY3" fmla="*/ 0 h 295148"/>
                </a:gdLst>
                <a:ahLst/>
                <a:cxnLst>
                  <a:cxn ang="0">
                    <a:pos x="connsiteX0" y="connsiteY0"/>
                  </a:cxn>
                  <a:cxn ang="0">
                    <a:pos x="connsiteX1" y="connsiteY1"/>
                  </a:cxn>
                  <a:cxn ang="0">
                    <a:pos x="connsiteX2" y="connsiteY2"/>
                  </a:cxn>
                  <a:cxn ang="0">
                    <a:pos x="connsiteX3" y="connsiteY3"/>
                  </a:cxn>
                </a:cxnLst>
                <a:rect l="l" t="t" r="r" b="b"/>
                <a:pathLst>
                  <a:path w="159984" h="295148">
                    <a:moveTo>
                      <a:pt x="159984" y="293713"/>
                    </a:moveTo>
                    <a:lnTo>
                      <a:pt x="157293" y="295149"/>
                    </a:lnTo>
                    <a:lnTo>
                      <a:pt x="0" y="1495"/>
                    </a:lnTo>
                    <a:lnTo>
                      <a:pt x="2691" y="0"/>
                    </a:lnTo>
                    <a:close/>
                  </a:path>
                </a:pathLst>
              </a:custGeom>
              <a:grpFill/>
              <a:ln w="5978" cap="flat">
                <a:noFill/>
                <a:prstDash val="solid"/>
                <a:miter/>
              </a:ln>
            </p:spPr>
            <p:txBody>
              <a:bodyPr rtlCol="0" anchor="ctr"/>
              <a:lstStyle/>
              <a:p>
                <a:endParaRPr lang="en-GB"/>
              </a:p>
            </p:txBody>
          </p:sp>
          <p:sp>
            <p:nvSpPr>
              <p:cNvPr id="3147" name="Vrije vorm: vorm 3146">
                <a:extLst>
                  <a:ext uri="{FF2B5EF4-FFF2-40B4-BE49-F238E27FC236}">
                    <a16:creationId xmlns:a16="http://schemas.microsoft.com/office/drawing/2014/main" id="{AF6FEF3D-7A75-4BF7-8DFB-D9CE2DA4198F}"/>
                  </a:ext>
                </a:extLst>
              </p:cNvPr>
              <p:cNvSpPr/>
              <p:nvPr/>
            </p:nvSpPr>
            <p:spPr>
              <a:xfrm>
                <a:off x="5076023" y="1596700"/>
                <a:ext cx="18330" cy="18387"/>
              </a:xfrm>
              <a:custGeom>
                <a:avLst/>
                <a:gdLst>
                  <a:gd name="connsiteX0" fmla="*/ 1092 w 18330"/>
                  <a:gd name="connsiteY0" fmla="*/ 13530 h 18387"/>
                  <a:gd name="connsiteX1" fmla="*/ 4800 w 18330"/>
                  <a:gd name="connsiteY1" fmla="*/ 1090 h 18387"/>
                  <a:gd name="connsiteX2" fmla="*/ 17239 w 18330"/>
                  <a:gd name="connsiteY2" fmla="*/ 4858 h 18387"/>
                  <a:gd name="connsiteX3" fmla="*/ 13531 w 18330"/>
                  <a:gd name="connsiteY3" fmla="*/ 17298 h 18387"/>
                  <a:gd name="connsiteX4" fmla="*/ 1092 w 18330"/>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387">
                    <a:moveTo>
                      <a:pt x="1092" y="13530"/>
                    </a:moveTo>
                    <a:cubicBezTo>
                      <a:pt x="-1301" y="9044"/>
                      <a:pt x="374" y="3482"/>
                      <a:pt x="4800" y="1090"/>
                    </a:cubicBezTo>
                    <a:cubicBezTo>
                      <a:pt x="9225" y="-1303"/>
                      <a:pt x="14787" y="372"/>
                      <a:pt x="17239" y="4858"/>
                    </a:cubicBezTo>
                    <a:cubicBezTo>
                      <a:pt x="19632" y="9343"/>
                      <a:pt x="17957" y="14905"/>
                      <a:pt x="13531" y="17298"/>
                    </a:cubicBezTo>
                    <a:cubicBezTo>
                      <a:pt x="9046" y="19690"/>
                      <a:pt x="3484" y="18015"/>
                      <a:pt x="1092" y="13530"/>
                    </a:cubicBezTo>
                    <a:close/>
                  </a:path>
                </a:pathLst>
              </a:custGeom>
              <a:grpFill/>
              <a:ln w="5978" cap="flat">
                <a:noFill/>
                <a:prstDash val="solid"/>
                <a:miter/>
              </a:ln>
            </p:spPr>
            <p:txBody>
              <a:bodyPr rtlCol="0" anchor="ctr"/>
              <a:lstStyle/>
              <a:p>
                <a:endParaRPr lang="en-GB"/>
              </a:p>
            </p:txBody>
          </p:sp>
          <p:sp>
            <p:nvSpPr>
              <p:cNvPr id="3148" name="Vrije vorm: vorm 3147">
                <a:extLst>
                  <a:ext uri="{FF2B5EF4-FFF2-40B4-BE49-F238E27FC236}">
                    <a16:creationId xmlns:a16="http://schemas.microsoft.com/office/drawing/2014/main" id="{ACB129F9-C021-48FA-B123-D3B6761061F6}"/>
                  </a:ext>
                </a:extLst>
              </p:cNvPr>
              <p:cNvSpPr/>
              <p:nvPr/>
            </p:nvSpPr>
            <p:spPr>
              <a:xfrm>
                <a:off x="5232837" y="1889576"/>
                <a:ext cx="18331" cy="18387"/>
              </a:xfrm>
              <a:custGeom>
                <a:avLst/>
                <a:gdLst>
                  <a:gd name="connsiteX0" fmla="*/ 1091 w 18331"/>
                  <a:gd name="connsiteY0" fmla="*/ 13530 h 18387"/>
                  <a:gd name="connsiteX1" fmla="*/ 13531 w 18331"/>
                  <a:gd name="connsiteY1" fmla="*/ 17298 h 18387"/>
                  <a:gd name="connsiteX2" fmla="*/ 17239 w 18331"/>
                  <a:gd name="connsiteY2" fmla="*/ 4858 h 18387"/>
                  <a:gd name="connsiteX3" fmla="*/ 4799 w 18331"/>
                  <a:gd name="connsiteY3" fmla="*/ 1090 h 18387"/>
                  <a:gd name="connsiteX4" fmla="*/ 1091 w 18331"/>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091" y="13530"/>
                    </a:moveTo>
                    <a:cubicBezTo>
                      <a:pt x="3484" y="18015"/>
                      <a:pt x="9046" y="19690"/>
                      <a:pt x="13531" y="17298"/>
                    </a:cubicBezTo>
                    <a:cubicBezTo>
                      <a:pt x="17957" y="14905"/>
                      <a:pt x="19632" y="9343"/>
                      <a:pt x="17239" y="4858"/>
                    </a:cubicBezTo>
                    <a:cubicBezTo>
                      <a:pt x="14847" y="372"/>
                      <a:pt x="9285" y="-1303"/>
                      <a:pt x="4799" y="1090"/>
                    </a:cubicBezTo>
                    <a:cubicBezTo>
                      <a:pt x="374" y="3482"/>
                      <a:pt x="-1301" y="9044"/>
                      <a:pt x="1091" y="13530"/>
                    </a:cubicBezTo>
                    <a:close/>
                  </a:path>
                </a:pathLst>
              </a:custGeom>
              <a:grpFill/>
              <a:ln w="5978" cap="flat">
                <a:noFill/>
                <a:prstDash val="solid"/>
                <a:miter/>
              </a:ln>
            </p:spPr>
            <p:txBody>
              <a:bodyPr rtlCol="0" anchor="ctr"/>
              <a:lstStyle/>
              <a:p>
                <a:endParaRPr lang="en-GB"/>
              </a:p>
            </p:txBody>
          </p:sp>
        </p:grpSp>
        <p:grpSp>
          <p:nvGrpSpPr>
            <p:cNvPr id="749" name="Graphic 3">
              <a:extLst>
                <a:ext uri="{FF2B5EF4-FFF2-40B4-BE49-F238E27FC236}">
                  <a16:creationId xmlns:a16="http://schemas.microsoft.com/office/drawing/2014/main" id="{07FC5E95-3EDA-4988-89D8-7A93B6C3A75C}"/>
                </a:ext>
              </a:extLst>
            </p:cNvPr>
            <p:cNvGrpSpPr/>
            <p:nvPr/>
          </p:nvGrpSpPr>
          <p:grpSpPr>
            <a:xfrm>
              <a:off x="5054500" y="1471173"/>
              <a:ext cx="23039" cy="27701"/>
              <a:chOff x="5054500" y="1471173"/>
              <a:chExt cx="23039" cy="27701"/>
            </a:xfrm>
            <a:grpFill/>
          </p:grpSpPr>
          <p:sp>
            <p:nvSpPr>
              <p:cNvPr id="3143" name="Vrije vorm: vorm 3142">
                <a:extLst>
                  <a:ext uri="{FF2B5EF4-FFF2-40B4-BE49-F238E27FC236}">
                    <a16:creationId xmlns:a16="http://schemas.microsoft.com/office/drawing/2014/main" id="{98DF5613-7CBA-433D-8F7B-7F5DC3AD885F}"/>
                  </a:ext>
                </a:extLst>
              </p:cNvPr>
              <p:cNvSpPr/>
              <p:nvPr/>
            </p:nvSpPr>
            <p:spPr>
              <a:xfrm>
                <a:off x="5062103" y="1479312"/>
                <a:ext cx="7894" cy="11423"/>
              </a:xfrm>
              <a:custGeom>
                <a:avLst/>
                <a:gdLst>
                  <a:gd name="connsiteX0" fmla="*/ 7895 w 7894"/>
                  <a:gd name="connsiteY0" fmla="*/ 10048 h 11423"/>
                  <a:gd name="connsiteX1" fmla="*/ 5143 w 7894"/>
                  <a:gd name="connsiteY1" fmla="*/ 11423 h 11423"/>
                  <a:gd name="connsiteX2" fmla="*/ 0 w 7894"/>
                  <a:gd name="connsiteY2" fmla="*/ 1376 h 11423"/>
                  <a:gd name="connsiteX3" fmla="*/ 2751 w 7894"/>
                  <a:gd name="connsiteY3" fmla="*/ 0 h 11423"/>
                </a:gdLst>
                <a:ahLst/>
                <a:cxnLst>
                  <a:cxn ang="0">
                    <a:pos x="connsiteX0" y="connsiteY0"/>
                  </a:cxn>
                  <a:cxn ang="0">
                    <a:pos x="connsiteX1" y="connsiteY1"/>
                  </a:cxn>
                  <a:cxn ang="0">
                    <a:pos x="connsiteX2" y="connsiteY2"/>
                  </a:cxn>
                  <a:cxn ang="0">
                    <a:pos x="connsiteX3" y="connsiteY3"/>
                  </a:cxn>
                </a:cxnLst>
                <a:rect l="l" t="t" r="r" b="b"/>
                <a:pathLst>
                  <a:path w="7894" h="11423">
                    <a:moveTo>
                      <a:pt x="7895" y="10048"/>
                    </a:moveTo>
                    <a:lnTo>
                      <a:pt x="5143" y="11423"/>
                    </a:lnTo>
                    <a:lnTo>
                      <a:pt x="0" y="1376"/>
                    </a:lnTo>
                    <a:lnTo>
                      <a:pt x="2751" y="0"/>
                    </a:lnTo>
                    <a:close/>
                  </a:path>
                </a:pathLst>
              </a:custGeom>
              <a:grpFill/>
              <a:ln w="5978" cap="flat">
                <a:noFill/>
                <a:prstDash val="solid"/>
                <a:miter/>
              </a:ln>
            </p:spPr>
            <p:txBody>
              <a:bodyPr rtlCol="0" anchor="ctr"/>
              <a:lstStyle/>
              <a:p>
                <a:endParaRPr lang="en-GB"/>
              </a:p>
            </p:txBody>
          </p:sp>
          <p:sp>
            <p:nvSpPr>
              <p:cNvPr id="3144" name="Vrije vorm: vorm 3143">
                <a:extLst>
                  <a:ext uri="{FF2B5EF4-FFF2-40B4-BE49-F238E27FC236}">
                    <a16:creationId xmlns:a16="http://schemas.microsoft.com/office/drawing/2014/main" id="{5E93A585-B3D7-48E8-91AF-36E2F39718E8}"/>
                  </a:ext>
                </a:extLst>
              </p:cNvPr>
              <p:cNvSpPr/>
              <p:nvPr/>
            </p:nvSpPr>
            <p:spPr>
              <a:xfrm>
                <a:off x="5054500" y="1471173"/>
                <a:ext cx="18315" cy="18431"/>
              </a:xfrm>
              <a:custGeom>
                <a:avLst/>
                <a:gdLst>
                  <a:gd name="connsiteX0" fmla="*/ 1024 w 18315"/>
                  <a:gd name="connsiteY0" fmla="*/ 13402 h 18431"/>
                  <a:gd name="connsiteX1" fmla="*/ 4971 w 18315"/>
                  <a:gd name="connsiteY1" fmla="*/ 1022 h 18431"/>
                  <a:gd name="connsiteX2" fmla="*/ 17291 w 18315"/>
                  <a:gd name="connsiteY2" fmla="*/ 5029 h 18431"/>
                  <a:gd name="connsiteX3" fmla="*/ 13344 w 18315"/>
                  <a:gd name="connsiteY3" fmla="*/ 17409 h 18431"/>
                  <a:gd name="connsiteX4" fmla="*/ 1024 w 18315"/>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31">
                    <a:moveTo>
                      <a:pt x="1024" y="13402"/>
                    </a:moveTo>
                    <a:cubicBezTo>
                      <a:pt x="-1309" y="8857"/>
                      <a:pt x="486" y="3295"/>
                      <a:pt x="4971" y="1022"/>
                    </a:cubicBezTo>
                    <a:cubicBezTo>
                      <a:pt x="9457" y="-1310"/>
                      <a:pt x="15019" y="484"/>
                      <a:pt x="17291" y="5029"/>
                    </a:cubicBezTo>
                    <a:cubicBezTo>
                      <a:pt x="19624" y="9575"/>
                      <a:pt x="17829" y="15137"/>
                      <a:pt x="13344" y="17409"/>
                    </a:cubicBezTo>
                    <a:cubicBezTo>
                      <a:pt x="8918" y="19742"/>
                      <a:pt x="3356" y="17948"/>
                      <a:pt x="1024" y="13402"/>
                    </a:cubicBezTo>
                    <a:close/>
                  </a:path>
                </a:pathLst>
              </a:custGeom>
              <a:grpFill/>
              <a:ln w="5978" cap="flat">
                <a:noFill/>
                <a:prstDash val="solid"/>
                <a:miter/>
              </a:ln>
            </p:spPr>
            <p:txBody>
              <a:bodyPr rtlCol="0" anchor="ctr"/>
              <a:lstStyle/>
              <a:p>
                <a:endParaRPr lang="en-GB"/>
              </a:p>
            </p:txBody>
          </p:sp>
          <p:sp>
            <p:nvSpPr>
              <p:cNvPr id="3145" name="Vrije vorm: vorm 3144">
                <a:extLst>
                  <a:ext uri="{FF2B5EF4-FFF2-40B4-BE49-F238E27FC236}">
                    <a16:creationId xmlns:a16="http://schemas.microsoft.com/office/drawing/2014/main" id="{971A1256-A0FE-45E7-A508-3570E3625ECA}"/>
                  </a:ext>
                </a:extLst>
              </p:cNvPr>
              <p:cNvSpPr/>
              <p:nvPr/>
            </p:nvSpPr>
            <p:spPr>
              <a:xfrm>
                <a:off x="5059251" y="1480443"/>
                <a:ext cx="18288" cy="18431"/>
              </a:xfrm>
              <a:custGeom>
                <a:avLst/>
                <a:gdLst>
                  <a:gd name="connsiteX0" fmla="*/ 998 w 18288"/>
                  <a:gd name="connsiteY0" fmla="*/ 13402 h 18431"/>
                  <a:gd name="connsiteX1" fmla="*/ 13318 w 18288"/>
                  <a:gd name="connsiteY1" fmla="*/ 17409 h 18431"/>
                  <a:gd name="connsiteX2" fmla="*/ 17265 w 18288"/>
                  <a:gd name="connsiteY2" fmla="*/ 5029 h 18431"/>
                  <a:gd name="connsiteX3" fmla="*/ 4945 w 18288"/>
                  <a:gd name="connsiteY3" fmla="*/ 1022 h 18431"/>
                  <a:gd name="connsiteX4" fmla="*/ 998 w 18288"/>
                  <a:gd name="connsiteY4" fmla="*/ 1340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31">
                    <a:moveTo>
                      <a:pt x="998" y="13402"/>
                    </a:moveTo>
                    <a:cubicBezTo>
                      <a:pt x="3330" y="17948"/>
                      <a:pt x="8832" y="19742"/>
                      <a:pt x="13318" y="17409"/>
                    </a:cubicBezTo>
                    <a:cubicBezTo>
                      <a:pt x="17803" y="15077"/>
                      <a:pt x="19597" y="9575"/>
                      <a:pt x="17265" y="5029"/>
                    </a:cubicBezTo>
                    <a:cubicBezTo>
                      <a:pt x="14932" y="484"/>
                      <a:pt x="9430" y="-1310"/>
                      <a:pt x="4945" y="1022"/>
                    </a:cubicBezTo>
                    <a:cubicBezTo>
                      <a:pt x="459" y="3295"/>
                      <a:pt x="-1275" y="8857"/>
                      <a:pt x="998" y="13402"/>
                    </a:cubicBezTo>
                    <a:close/>
                  </a:path>
                </a:pathLst>
              </a:custGeom>
              <a:grpFill/>
              <a:ln w="5978" cap="flat">
                <a:noFill/>
                <a:prstDash val="solid"/>
                <a:miter/>
              </a:ln>
            </p:spPr>
            <p:txBody>
              <a:bodyPr rtlCol="0" anchor="ctr"/>
              <a:lstStyle/>
              <a:p>
                <a:endParaRPr lang="en-GB"/>
              </a:p>
            </p:txBody>
          </p:sp>
        </p:grpSp>
        <p:grpSp>
          <p:nvGrpSpPr>
            <p:cNvPr id="750" name="Graphic 3">
              <a:extLst>
                <a:ext uri="{FF2B5EF4-FFF2-40B4-BE49-F238E27FC236}">
                  <a16:creationId xmlns:a16="http://schemas.microsoft.com/office/drawing/2014/main" id="{5F23EF63-F573-4528-9606-4CC2D9DBE10E}"/>
                </a:ext>
              </a:extLst>
            </p:cNvPr>
            <p:cNvGrpSpPr/>
            <p:nvPr/>
          </p:nvGrpSpPr>
          <p:grpSpPr>
            <a:xfrm>
              <a:off x="6329262" y="5295157"/>
              <a:ext cx="23469" cy="52997"/>
              <a:chOff x="6329262" y="5295157"/>
              <a:chExt cx="23469" cy="52997"/>
            </a:xfrm>
            <a:grpFill/>
          </p:grpSpPr>
          <p:sp>
            <p:nvSpPr>
              <p:cNvPr id="3140" name="Vrije vorm: vorm 3139">
                <a:extLst>
                  <a:ext uri="{FF2B5EF4-FFF2-40B4-BE49-F238E27FC236}">
                    <a16:creationId xmlns:a16="http://schemas.microsoft.com/office/drawing/2014/main" id="{614664DB-C76D-4A1A-84F0-A1ABED38C0B9}"/>
                  </a:ext>
                </a:extLst>
              </p:cNvPr>
              <p:cNvSpPr/>
              <p:nvPr/>
            </p:nvSpPr>
            <p:spPr>
              <a:xfrm>
                <a:off x="6336834" y="5303684"/>
                <a:ext cx="8312" cy="35884"/>
              </a:xfrm>
              <a:custGeom>
                <a:avLst/>
                <a:gdLst>
                  <a:gd name="connsiteX0" fmla="*/ 2990 w 8312"/>
                  <a:gd name="connsiteY0" fmla="*/ 0 h 35884"/>
                  <a:gd name="connsiteX1" fmla="*/ 8313 w 8312"/>
                  <a:gd name="connsiteY1" fmla="*/ 35466 h 35884"/>
                  <a:gd name="connsiteX2" fmla="*/ 5323 w 8312"/>
                  <a:gd name="connsiteY2" fmla="*/ 35884 h 35884"/>
                  <a:gd name="connsiteX3" fmla="*/ 0 w 8312"/>
                  <a:gd name="connsiteY3" fmla="*/ 478 h 35884"/>
                </a:gdLst>
                <a:ahLst/>
                <a:cxnLst>
                  <a:cxn ang="0">
                    <a:pos x="connsiteX0" y="connsiteY0"/>
                  </a:cxn>
                  <a:cxn ang="0">
                    <a:pos x="connsiteX1" y="connsiteY1"/>
                  </a:cxn>
                  <a:cxn ang="0">
                    <a:pos x="connsiteX2" y="connsiteY2"/>
                  </a:cxn>
                  <a:cxn ang="0">
                    <a:pos x="connsiteX3" y="connsiteY3"/>
                  </a:cxn>
                </a:cxnLst>
                <a:rect l="l" t="t" r="r" b="b"/>
                <a:pathLst>
                  <a:path w="8312" h="35884">
                    <a:moveTo>
                      <a:pt x="2990" y="0"/>
                    </a:moveTo>
                    <a:lnTo>
                      <a:pt x="8313" y="35466"/>
                    </a:lnTo>
                    <a:lnTo>
                      <a:pt x="5323" y="35884"/>
                    </a:lnTo>
                    <a:lnTo>
                      <a:pt x="0" y="478"/>
                    </a:lnTo>
                    <a:close/>
                  </a:path>
                </a:pathLst>
              </a:custGeom>
              <a:grpFill/>
              <a:ln w="5978" cap="flat">
                <a:noFill/>
                <a:prstDash val="solid"/>
                <a:miter/>
              </a:ln>
            </p:spPr>
            <p:txBody>
              <a:bodyPr rtlCol="0" anchor="ctr"/>
              <a:lstStyle/>
              <a:p>
                <a:endParaRPr lang="en-GB"/>
              </a:p>
            </p:txBody>
          </p:sp>
          <p:sp>
            <p:nvSpPr>
              <p:cNvPr id="3141" name="Vrije vorm: vorm 3140">
                <a:extLst>
                  <a:ext uri="{FF2B5EF4-FFF2-40B4-BE49-F238E27FC236}">
                    <a16:creationId xmlns:a16="http://schemas.microsoft.com/office/drawing/2014/main" id="{8DF29618-EC59-4A2B-9DD4-36BCB67B2F91}"/>
                  </a:ext>
                </a:extLst>
              </p:cNvPr>
              <p:cNvSpPr/>
              <p:nvPr/>
            </p:nvSpPr>
            <p:spPr>
              <a:xfrm>
                <a:off x="6334392" y="5329711"/>
                <a:ext cx="18339" cy="18444"/>
              </a:xfrm>
              <a:custGeom>
                <a:avLst/>
                <a:gdLst>
                  <a:gd name="connsiteX0" fmla="*/ 18230 w 18339"/>
                  <a:gd name="connsiteY0" fmla="*/ 7884 h 18444"/>
                  <a:gd name="connsiteX1" fmla="*/ 10515 w 18339"/>
                  <a:gd name="connsiteY1" fmla="*/ 18350 h 18444"/>
                  <a:gd name="connsiteX2" fmla="*/ 109 w 18339"/>
                  <a:gd name="connsiteY2" fmla="*/ 10575 h 18444"/>
                  <a:gd name="connsiteX3" fmla="*/ 7824 w 18339"/>
                  <a:gd name="connsiteY3" fmla="*/ 109 h 18444"/>
                  <a:gd name="connsiteX4" fmla="*/ 18230 w 18339"/>
                  <a:gd name="connsiteY4" fmla="*/ 788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18230" y="7884"/>
                    </a:moveTo>
                    <a:cubicBezTo>
                      <a:pt x="19008" y="12907"/>
                      <a:pt x="15539" y="17572"/>
                      <a:pt x="10515" y="18350"/>
                    </a:cubicBezTo>
                    <a:cubicBezTo>
                      <a:pt x="5491" y="19068"/>
                      <a:pt x="827" y="15599"/>
                      <a:pt x="109" y="10575"/>
                    </a:cubicBezTo>
                    <a:cubicBezTo>
                      <a:pt x="-669" y="5551"/>
                      <a:pt x="2800" y="886"/>
                      <a:pt x="7824" y="109"/>
                    </a:cubicBezTo>
                    <a:cubicBezTo>
                      <a:pt x="12848" y="-669"/>
                      <a:pt x="17513" y="2800"/>
                      <a:pt x="18230" y="7884"/>
                    </a:cubicBezTo>
                    <a:close/>
                  </a:path>
                </a:pathLst>
              </a:custGeom>
              <a:grpFill/>
              <a:ln w="5978" cap="flat">
                <a:noFill/>
                <a:prstDash val="solid"/>
                <a:miter/>
              </a:ln>
            </p:spPr>
            <p:txBody>
              <a:bodyPr rtlCol="0" anchor="ctr"/>
              <a:lstStyle/>
              <a:p>
                <a:endParaRPr lang="en-GB"/>
              </a:p>
            </p:txBody>
          </p:sp>
          <p:sp>
            <p:nvSpPr>
              <p:cNvPr id="3142" name="Vrije vorm: vorm 3141">
                <a:extLst>
                  <a:ext uri="{FF2B5EF4-FFF2-40B4-BE49-F238E27FC236}">
                    <a16:creationId xmlns:a16="http://schemas.microsoft.com/office/drawing/2014/main" id="{23B73BE8-28DB-4092-93EB-A8ACC470A56C}"/>
                  </a:ext>
                </a:extLst>
              </p:cNvPr>
              <p:cNvSpPr/>
              <p:nvPr/>
            </p:nvSpPr>
            <p:spPr>
              <a:xfrm>
                <a:off x="6329262" y="5295157"/>
                <a:ext cx="18312" cy="18429"/>
              </a:xfrm>
              <a:custGeom>
                <a:avLst/>
                <a:gdLst>
                  <a:gd name="connsiteX0" fmla="*/ 18217 w 18312"/>
                  <a:gd name="connsiteY0" fmla="*/ 7869 h 18429"/>
                  <a:gd name="connsiteX1" fmla="*/ 7810 w 18312"/>
                  <a:gd name="connsiteY1" fmla="*/ 94 h 18429"/>
                  <a:gd name="connsiteX2" fmla="*/ 95 w 18312"/>
                  <a:gd name="connsiteY2" fmla="*/ 10560 h 18429"/>
                  <a:gd name="connsiteX3" fmla="*/ 10502 w 18312"/>
                  <a:gd name="connsiteY3" fmla="*/ 18335 h 18429"/>
                  <a:gd name="connsiteX4" fmla="*/ 18217 w 18312"/>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29">
                    <a:moveTo>
                      <a:pt x="18217" y="7869"/>
                    </a:moveTo>
                    <a:cubicBezTo>
                      <a:pt x="17439" y="2845"/>
                      <a:pt x="12775" y="-624"/>
                      <a:pt x="7810" y="94"/>
                    </a:cubicBezTo>
                    <a:cubicBezTo>
                      <a:pt x="2786" y="812"/>
                      <a:pt x="-623" y="5537"/>
                      <a:pt x="95" y="10560"/>
                    </a:cubicBezTo>
                    <a:cubicBezTo>
                      <a:pt x="873" y="15584"/>
                      <a:pt x="5538" y="19053"/>
                      <a:pt x="10502" y="18335"/>
                    </a:cubicBezTo>
                    <a:cubicBezTo>
                      <a:pt x="15525" y="17617"/>
                      <a:pt x="18934" y="12953"/>
                      <a:pt x="18217" y="7869"/>
                    </a:cubicBezTo>
                    <a:close/>
                  </a:path>
                </a:pathLst>
              </a:custGeom>
              <a:grpFill/>
              <a:ln w="5978" cap="flat">
                <a:noFill/>
                <a:prstDash val="solid"/>
                <a:miter/>
              </a:ln>
            </p:spPr>
            <p:txBody>
              <a:bodyPr rtlCol="0" anchor="ctr"/>
              <a:lstStyle/>
              <a:p>
                <a:endParaRPr lang="en-GB"/>
              </a:p>
            </p:txBody>
          </p:sp>
        </p:grpSp>
        <p:grpSp>
          <p:nvGrpSpPr>
            <p:cNvPr id="751" name="Graphic 3">
              <a:extLst>
                <a:ext uri="{FF2B5EF4-FFF2-40B4-BE49-F238E27FC236}">
                  <a16:creationId xmlns:a16="http://schemas.microsoft.com/office/drawing/2014/main" id="{4D749D85-54C7-4C0B-AD1A-A21ECE56DB75}"/>
                </a:ext>
              </a:extLst>
            </p:cNvPr>
            <p:cNvGrpSpPr/>
            <p:nvPr/>
          </p:nvGrpSpPr>
          <p:grpSpPr>
            <a:xfrm>
              <a:off x="6327761" y="5078169"/>
              <a:ext cx="74424" cy="596121"/>
              <a:chOff x="6327761" y="5078169"/>
              <a:chExt cx="74424" cy="596121"/>
            </a:xfrm>
            <a:grpFill/>
          </p:grpSpPr>
          <p:sp>
            <p:nvSpPr>
              <p:cNvPr id="3137" name="Vrije vorm: vorm 3136">
                <a:extLst>
                  <a:ext uri="{FF2B5EF4-FFF2-40B4-BE49-F238E27FC236}">
                    <a16:creationId xmlns:a16="http://schemas.microsoft.com/office/drawing/2014/main" id="{0B7D5658-85B9-4D84-8A35-B6B0B28C9C3F}"/>
                  </a:ext>
                </a:extLst>
              </p:cNvPr>
              <p:cNvSpPr/>
              <p:nvPr/>
            </p:nvSpPr>
            <p:spPr>
              <a:xfrm>
                <a:off x="6335339" y="5086823"/>
                <a:ext cx="59208" cy="578814"/>
              </a:xfrm>
              <a:custGeom>
                <a:avLst/>
                <a:gdLst>
                  <a:gd name="connsiteX0" fmla="*/ 3050 w 59208"/>
                  <a:gd name="connsiteY0" fmla="*/ 0 h 578814"/>
                  <a:gd name="connsiteX1" fmla="*/ 59209 w 59208"/>
                  <a:gd name="connsiteY1" fmla="*/ 578575 h 578814"/>
                  <a:gd name="connsiteX2" fmla="*/ 56219 w 59208"/>
                  <a:gd name="connsiteY2" fmla="*/ 578814 h 578814"/>
                  <a:gd name="connsiteX3" fmla="*/ 0 w 59208"/>
                  <a:gd name="connsiteY3" fmla="*/ 299 h 578814"/>
                </a:gdLst>
                <a:ahLst/>
                <a:cxnLst>
                  <a:cxn ang="0">
                    <a:pos x="connsiteX0" y="connsiteY0"/>
                  </a:cxn>
                  <a:cxn ang="0">
                    <a:pos x="connsiteX1" y="connsiteY1"/>
                  </a:cxn>
                  <a:cxn ang="0">
                    <a:pos x="connsiteX2" y="connsiteY2"/>
                  </a:cxn>
                  <a:cxn ang="0">
                    <a:pos x="connsiteX3" y="connsiteY3"/>
                  </a:cxn>
                </a:cxnLst>
                <a:rect l="l" t="t" r="r" b="b"/>
                <a:pathLst>
                  <a:path w="59208" h="578814">
                    <a:moveTo>
                      <a:pt x="3050" y="0"/>
                    </a:moveTo>
                    <a:lnTo>
                      <a:pt x="59209" y="578575"/>
                    </a:lnTo>
                    <a:lnTo>
                      <a:pt x="56219" y="578814"/>
                    </a:lnTo>
                    <a:lnTo>
                      <a:pt x="0" y="299"/>
                    </a:lnTo>
                    <a:close/>
                  </a:path>
                </a:pathLst>
              </a:custGeom>
              <a:grpFill/>
              <a:ln w="5978" cap="flat">
                <a:noFill/>
                <a:prstDash val="solid"/>
                <a:miter/>
              </a:ln>
            </p:spPr>
            <p:txBody>
              <a:bodyPr rtlCol="0" anchor="ctr"/>
              <a:lstStyle/>
              <a:p>
                <a:endParaRPr lang="en-GB"/>
              </a:p>
            </p:txBody>
          </p:sp>
          <p:sp>
            <p:nvSpPr>
              <p:cNvPr id="3138" name="Vrije vorm: vorm 3137">
                <a:extLst>
                  <a:ext uri="{FF2B5EF4-FFF2-40B4-BE49-F238E27FC236}">
                    <a16:creationId xmlns:a16="http://schemas.microsoft.com/office/drawing/2014/main" id="{C87788EE-1FDA-45F3-AB7E-013CB31E6F2A}"/>
                  </a:ext>
                </a:extLst>
              </p:cNvPr>
              <p:cNvSpPr/>
              <p:nvPr/>
            </p:nvSpPr>
            <p:spPr>
              <a:xfrm>
                <a:off x="6327761" y="5078169"/>
                <a:ext cx="18325" cy="18443"/>
              </a:xfrm>
              <a:custGeom>
                <a:avLst/>
                <a:gdLst>
                  <a:gd name="connsiteX0" fmla="*/ 42 w 18325"/>
                  <a:gd name="connsiteY0" fmla="*/ 10089 h 18443"/>
                  <a:gd name="connsiteX1" fmla="*/ 8296 w 18325"/>
                  <a:gd name="connsiteY1" fmla="*/ 42 h 18443"/>
                  <a:gd name="connsiteX2" fmla="*/ 18283 w 18325"/>
                  <a:gd name="connsiteY2" fmla="*/ 8355 h 18443"/>
                  <a:gd name="connsiteX3" fmla="*/ 10030 w 18325"/>
                  <a:gd name="connsiteY3" fmla="*/ 18402 h 18443"/>
                  <a:gd name="connsiteX4" fmla="*/ 42 w 18325"/>
                  <a:gd name="connsiteY4" fmla="*/ 100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43">
                    <a:moveTo>
                      <a:pt x="42" y="10089"/>
                    </a:moveTo>
                    <a:cubicBezTo>
                      <a:pt x="-436" y="5006"/>
                      <a:pt x="3212" y="520"/>
                      <a:pt x="8296" y="42"/>
                    </a:cubicBezTo>
                    <a:cubicBezTo>
                      <a:pt x="13319" y="-437"/>
                      <a:pt x="17805" y="3271"/>
                      <a:pt x="18283" y="8355"/>
                    </a:cubicBezTo>
                    <a:cubicBezTo>
                      <a:pt x="18762" y="13438"/>
                      <a:pt x="15113" y="17924"/>
                      <a:pt x="10030" y="18402"/>
                    </a:cubicBezTo>
                    <a:cubicBezTo>
                      <a:pt x="5006" y="18881"/>
                      <a:pt x="520" y="15173"/>
                      <a:pt x="42" y="10089"/>
                    </a:cubicBezTo>
                    <a:close/>
                  </a:path>
                </a:pathLst>
              </a:custGeom>
              <a:grpFill/>
              <a:ln w="5978" cap="flat">
                <a:noFill/>
                <a:prstDash val="solid"/>
                <a:miter/>
              </a:ln>
            </p:spPr>
            <p:txBody>
              <a:bodyPr rtlCol="0" anchor="ctr"/>
              <a:lstStyle/>
              <a:p>
                <a:endParaRPr lang="en-GB"/>
              </a:p>
            </p:txBody>
          </p:sp>
          <p:sp>
            <p:nvSpPr>
              <p:cNvPr id="3139" name="Vrije vorm: vorm 3138">
                <a:extLst>
                  <a:ext uri="{FF2B5EF4-FFF2-40B4-BE49-F238E27FC236}">
                    <a16:creationId xmlns:a16="http://schemas.microsoft.com/office/drawing/2014/main" id="{BE466E86-0327-4065-8AD5-DA3089C38227}"/>
                  </a:ext>
                </a:extLst>
              </p:cNvPr>
              <p:cNvSpPr/>
              <p:nvPr/>
            </p:nvSpPr>
            <p:spPr>
              <a:xfrm>
                <a:off x="6383860" y="5655847"/>
                <a:ext cx="18324" cy="18443"/>
              </a:xfrm>
              <a:custGeom>
                <a:avLst/>
                <a:gdLst>
                  <a:gd name="connsiteX0" fmla="*/ 42 w 18324"/>
                  <a:gd name="connsiteY0" fmla="*/ 10089 h 18443"/>
                  <a:gd name="connsiteX1" fmla="*/ 10030 w 18324"/>
                  <a:gd name="connsiteY1" fmla="*/ 18402 h 18443"/>
                  <a:gd name="connsiteX2" fmla="*/ 18283 w 18324"/>
                  <a:gd name="connsiteY2" fmla="*/ 8355 h 18443"/>
                  <a:gd name="connsiteX3" fmla="*/ 8296 w 18324"/>
                  <a:gd name="connsiteY3" fmla="*/ 42 h 18443"/>
                  <a:gd name="connsiteX4" fmla="*/ 42 w 18324"/>
                  <a:gd name="connsiteY4" fmla="*/ 1008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3">
                    <a:moveTo>
                      <a:pt x="42" y="10089"/>
                    </a:moveTo>
                    <a:cubicBezTo>
                      <a:pt x="520" y="15173"/>
                      <a:pt x="5006" y="18881"/>
                      <a:pt x="10030" y="18402"/>
                    </a:cubicBezTo>
                    <a:cubicBezTo>
                      <a:pt x="15053" y="17924"/>
                      <a:pt x="18762" y="13439"/>
                      <a:pt x="18283" y="8355"/>
                    </a:cubicBezTo>
                    <a:cubicBezTo>
                      <a:pt x="17805" y="3271"/>
                      <a:pt x="13319" y="-437"/>
                      <a:pt x="8296" y="42"/>
                    </a:cubicBezTo>
                    <a:cubicBezTo>
                      <a:pt x="3212" y="520"/>
                      <a:pt x="-436" y="5006"/>
                      <a:pt x="42" y="10089"/>
                    </a:cubicBezTo>
                    <a:close/>
                  </a:path>
                </a:pathLst>
              </a:custGeom>
              <a:grpFill/>
              <a:ln w="5978" cap="flat">
                <a:noFill/>
                <a:prstDash val="solid"/>
                <a:miter/>
              </a:ln>
            </p:spPr>
            <p:txBody>
              <a:bodyPr rtlCol="0" anchor="ctr"/>
              <a:lstStyle/>
              <a:p>
                <a:endParaRPr lang="en-GB"/>
              </a:p>
            </p:txBody>
          </p:sp>
        </p:grpSp>
        <p:grpSp>
          <p:nvGrpSpPr>
            <p:cNvPr id="752" name="Graphic 3">
              <a:extLst>
                <a:ext uri="{FF2B5EF4-FFF2-40B4-BE49-F238E27FC236}">
                  <a16:creationId xmlns:a16="http://schemas.microsoft.com/office/drawing/2014/main" id="{AEEB9D09-F3AA-4D03-BE64-5FF9CD7D854F}"/>
                </a:ext>
              </a:extLst>
            </p:cNvPr>
            <p:cNvGrpSpPr/>
            <p:nvPr/>
          </p:nvGrpSpPr>
          <p:grpSpPr>
            <a:xfrm>
              <a:off x="5068487" y="1582645"/>
              <a:ext cx="25845" cy="32441"/>
              <a:chOff x="5068487" y="1582645"/>
              <a:chExt cx="25845" cy="32441"/>
            </a:xfrm>
            <a:grpFill/>
          </p:grpSpPr>
          <p:sp>
            <p:nvSpPr>
              <p:cNvPr id="3135" name="Vrije vorm: vorm 3134">
                <a:extLst>
                  <a:ext uri="{FF2B5EF4-FFF2-40B4-BE49-F238E27FC236}">
                    <a16:creationId xmlns:a16="http://schemas.microsoft.com/office/drawing/2014/main" id="{91264CC7-E80A-495B-8224-3BC8F9879BCC}"/>
                  </a:ext>
                </a:extLst>
              </p:cNvPr>
              <p:cNvSpPr/>
              <p:nvPr/>
            </p:nvSpPr>
            <p:spPr>
              <a:xfrm>
                <a:off x="5068487" y="1582645"/>
                <a:ext cx="18331" cy="18387"/>
              </a:xfrm>
              <a:custGeom>
                <a:avLst/>
                <a:gdLst>
                  <a:gd name="connsiteX0" fmla="*/ 17240 w 18331"/>
                  <a:gd name="connsiteY0" fmla="*/ 4858 h 18387"/>
                  <a:gd name="connsiteX1" fmla="*/ 13532 w 18331"/>
                  <a:gd name="connsiteY1" fmla="*/ 17298 h 18387"/>
                  <a:gd name="connsiteX2" fmla="*/ 1092 w 18331"/>
                  <a:gd name="connsiteY2" fmla="*/ 13530 h 18387"/>
                  <a:gd name="connsiteX3" fmla="*/ 4800 w 18331"/>
                  <a:gd name="connsiteY3" fmla="*/ 1090 h 18387"/>
                  <a:gd name="connsiteX4" fmla="*/ 17240 w 18331"/>
                  <a:gd name="connsiteY4" fmla="*/ 485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7240" y="4858"/>
                    </a:moveTo>
                    <a:cubicBezTo>
                      <a:pt x="19632" y="9343"/>
                      <a:pt x="17957" y="14905"/>
                      <a:pt x="13532" y="17298"/>
                    </a:cubicBezTo>
                    <a:cubicBezTo>
                      <a:pt x="9106" y="19690"/>
                      <a:pt x="3544" y="18015"/>
                      <a:pt x="1092" y="13530"/>
                    </a:cubicBezTo>
                    <a:cubicBezTo>
                      <a:pt x="-1301" y="9044"/>
                      <a:pt x="374" y="3482"/>
                      <a:pt x="4800" y="1090"/>
                    </a:cubicBezTo>
                    <a:cubicBezTo>
                      <a:pt x="9225" y="-1303"/>
                      <a:pt x="14787" y="372"/>
                      <a:pt x="17240" y="4858"/>
                    </a:cubicBezTo>
                    <a:close/>
                  </a:path>
                </a:pathLst>
              </a:custGeom>
              <a:grpFill/>
              <a:ln w="5978" cap="flat">
                <a:noFill/>
                <a:prstDash val="solid"/>
                <a:miter/>
              </a:ln>
            </p:spPr>
            <p:txBody>
              <a:bodyPr rtlCol="0" anchor="ctr"/>
              <a:lstStyle/>
              <a:p>
                <a:endParaRPr lang="en-GB"/>
              </a:p>
            </p:txBody>
          </p:sp>
          <p:sp>
            <p:nvSpPr>
              <p:cNvPr id="3136" name="Vrije vorm: vorm 3135">
                <a:extLst>
                  <a:ext uri="{FF2B5EF4-FFF2-40B4-BE49-F238E27FC236}">
                    <a16:creationId xmlns:a16="http://schemas.microsoft.com/office/drawing/2014/main" id="{2BA77545-A1D6-4341-96BD-D460D2256EC7}"/>
                  </a:ext>
                </a:extLst>
              </p:cNvPr>
              <p:cNvSpPr/>
              <p:nvPr/>
            </p:nvSpPr>
            <p:spPr>
              <a:xfrm>
                <a:off x="5075963" y="1596700"/>
                <a:ext cx="18369" cy="18387"/>
              </a:xfrm>
              <a:custGeom>
                <a:avLst/>
                <a:gdLst>
                  <a:gd name="connsiteX0" fmla="*/ 17240 w 18369"/>
                  <a:gd name="connsiteY0" fmla="*/ 4858 h 18387"/>
                  <a:gd name="connsiteX1" fmla="*/ 4800 w 18369"/>
                  <a:gd name="connsiteY1" fmla="*/ 1090 h 18387"/>
                  <a:gd name="connsiteX2" fmla="*/ 1092 w 18369"/>
                  <a:gd name="connsiteY2" fmla="*/ 13530 h 18387"/>
                  <a:gd name="connsiteX3" fmla="*/ 13532 w 18369"/>
                  <a:gd name="connsiteY3" fmla="*/ 17298 h 18387"/>
                  <a:gd name="connsiteX4" fmla="*/ 17240 w 18369"/>
                  <a:gd name="connsiteY4" fmla="*/ 485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87">
                    <a:moveTo>
                      <a:pt x="17240" y="4858"/>
                    </a:moveTo>
                    <a:cubicBezTo>
                      <a:pt x="14847" y="372"/>
                      <a:pt x="9285" y="-1303"/>
                      <a:pt x="4800" y="1090"/>
                    </a:cubicBezTo>
                    <a:cubicBezTo>
                      <a:pt x="374" y="3482"/>
                      <a:pt x="-1301" y="9044"/>
                      <a:pt x="1092" y="13530"/>
                    </a:cubicBezTo>
                    <a:cubicBezTo>
                      <a:pt x="3484" y="18015"/>
                      <a:pt x="9046" y="19690"/>
                      <a:pt x="13532" y="17298"/>
                    </a:cubicBezTo>
                    <a:cubicBezTo>
                      <a:pt x="18017" y="14905"/>
                      <a:pt x="19692" y="9343"/>
                      <a:pt x="17240" y="4858"/>
                    </a:cubicBezTo>
                    <a:close/>
                  </a:path>
                </a:pathLst>
              </a:custGeom>
              <a:grpFill/>
              <a:ln w="5978" cap="flat">
                <a:noFill/>
                <a:prstDash val="solid"/>
                <a:miter/>
              </a:ln>
            </p:spPr>
            <p:txBody>
              <a:bodyPr rtlCol="0" anchor="ctr"/>
              <a:lstStyle/>
              <a:p>
                <a:endParaRPr lang="en-GB"/>
              </a:p>
            </p:txBody>
          </p:sp>
        </p:grpSp>
        <p:grpSp>
          <p:nvGrpSpPr>
            <p:cNvPr id="753" name="Graphic 3">
              <a:extLst>
                <a:ext uri="{FF2B5EF4-FFF2-40B4-BE49-F238E27FC236}">
                  <a16:creationId xmlns:a16="http://schemas.microsoft.com/office/drawing/2014/main" id="{D061C37E-A011-4DD4-9200-D62B1D846EE7}"/>
                </a:ext>
              </a:extLst>
            </p:cNvPr>
            <p:cNvGrpSpPr/>
            <p:nvPr/>
          </p:nvGrpSpPr>
          <p:grpSpPr>
            <a:xfrm>
              <a:off x="6381246" y="5390697"/>
              <a:ext cx="85676" cy="416571"/>
              <a:chOff x="6381246" y="5390697"/>
              <a:chExt cx="85676" cy="416571"/>
            </a:xfrm>
            <a:grpFill/>
          </p:grpSpPr>
          <p:sp>
            <p:nvSpPr>
              <p:cNvPr id="3132" name="Vrije vorm: vorm 3131">
                <a:extLst>
                  <a:ext uri="{FF2B5EF4-FFF2-40B4-BE49-F238E27FC236}">
                    <a16:creationId xmlns:a16="http://schemas.microsoft.com/office/drawing/2014/main" id="{BB14CCDD-B3BB-4F54-9219-E0AD559FAFF4}"/>
                  </a:ext>
                </a:extLst>
              </p:cNvPr>
              <p:cNvSpPr/>
              <p:nvPr/>
            </p:nvSpPr>
            <p:spPr>
              <a:xfrm>
                <a:off x="6388806" y="5399256"/>
                <a:ext cx="70512" cy="399512"/>
              </a:xfrm>
              <a:custGeom>
                <a:avLst/>
                <a:gdLst>
                  <a:gd name="connsiteX0" fmla="*/ 3050 w 70512"/>
                  <a:gd name="connsiteY0" fmla="*/ 0 h 399512"/>
                  <a:gd name="connsiteX1" fmla="*/ 70513 w 70512"/>
                  <a:gd name="connsiteY1" fmla="*/ 398974 h 399512"/>
                  <a:gd name="connsiteX2" fmla="*/ 67522 w 70512"/>
                  <a:gd name="connsiteY2" fmla="*/ 399512 h 399512"/>
                  <a:gd name="connsiteX3" fmla="*/ 0 w 70512"/>
                  <a:gd name="connsiteY3" fmla="*/ 479 h 399512"/>
                </a:gdLst>
                <a:ahLst/>
                <a:cxnLst>
                  <a:cxn ang="0">
                    <a:pos x="connsiteX0" y="connsiteY0"/>
                  </a:cxn>
                  <a:cxn ang="0">
                    <a:pos x="connsiteX1" y="connsiteY1"/>
                  </a:cxn>
                  <a:cxn ang="0">
                    <a:pos x="connsiteX2" y="connsiteY2"/>
                  </a:cxn>
                  <a:cxn ang="0">
                    <a:pos x="connsiteX3" y="connsiteY3"/>
                  </a:cxn>
                </a:cxnLst>
                <a:rect l="l" t="t" r="r" b="b"/>
                <a:pathLst>
                  <a:path w="70512" h="399512">
                    <a:moveTo>
                      <a:pt x="3050" y="0"/>
                    </a:moveTo>
                    <a:lnTo>
                      <a:pt x="70513" y="398974"/>
                    </a:lnTo>
                    <a:lnTo>
                      <a:pt x="67522" y="399512"/>
                    </a:lnTo>
                    <a:lnTo>
                      <a:pt x="0" y="479"/>
                    </a:lnTo>
                    <a:close/>
                  </a:path>
                </a:pathLst>
              </a:custGeom>
              <a:grpFill/>
              <a:ln w="5978" cap="flat">
                <a:noFill/>
                <a:prstDash val="solid"/>
                <a:miter/>
              </a:ln>
            </p:spPr>
            <p:txBody>
              <a:bodyPr rtlCol="0" anchor="ctr"/>
              <a:lstStyle/>
              <a:p>
                <a:endParaRPr lang="en-GB"/>
              </a:p>
            </p:txBody>
          </p:sp>
          <p:sp>
            <p:nvSpPr>
              <p:cNvPr id="3133" name="Vrije vorm: vorm 3132">
                <a:extLst>
                  <a:ext uri="{FF2B5EF4-FFF2-40B4-BE49-F238E27FC236}">
                    <a16:creationId xmlns:a16="http://schemas.microsoft.com/office/drawing/2014/main" id="{B221D0AF-A2F4-42BF-897C-0028321C782A}"/>
                  </a:ext>
                </a:extLst>
              </p:cNvPr>
              <p:cNvSpPr/>
              <p:nvPr/>
            </p:nvSpPr>
            <p:spPr>
              <a:xfrm>
                <a:off x="6448605" y="5788833"/>
                <a:ext cx="18318" cy="18434"/>
              </a:xfrm>
              <a:custGeom>
                <a:avLst/>
                <a:gdLst>
                  <a:gd name="connsiteX0" fmla="*/ 18190 w 18318"/>
                  <a:gd name="connsiteY0" fmla="*/ 7722 h 18434"/>
                  <a:gd name="connsiteX1" fmla="*/ 10714 w 18318"/>
                  <a:gd name="connsiteY1" fmla="*/ 18308 h 18434"/>
                  <a:gd name="connsiteX2" fmla="*/ 128 w 18318"/>
                  <a:gd name="connsiteY2" fmla="*/ 10712 h 18434"/>
                  <a:gd name="connsiteX3" fmla="*/ 7604 w 18318"/>
                  <a:gd name="connsiteY3" fmla="*/ 126 h 18434"/>
                  <a:gd name="connsiteX4" fmla="*/ 18190 w 18318"/>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18190" y="7722"/>
                    </a:moveTo>
                    <a:cubicBezTo>
                      <a:pt x="19028" y="12746"/>
                      <a:pt x="15678" y="17471"/>
                      <a:pt x="10714" y="18308"/>
                    </a:cubicBezTo>
                    <a:cubicBezTo>
                      <a:pt x="5750" y="19145"/>
                      <a:pt x="966" y="15736"/>
                      <a:pt x="128" y="10712"/>
                    </a:cubicBezTo>
                    <a:cubicBezTo>
                      <a:pt x="-709" y="5688"/>
                      <a:pt x="2640" y="964"/>
                      <a:pt x="7604" y="126"/>
                    </a:cubicBezTo>
                    <a:cubicBezTo>
                      <a:pt x="12568" y="-711"/>
                      <a:pt x="17293" y="2698"/>
                      <a:pt x="18190" y="7722"/>
                    </a:cubicBezTo>
                    <a:close/>
                  </a:path>
                </a:pathLst>
              </a:custGeom>
              <a:grpFill/>
              <a:ln w="5978" cap="flat">
                <a:noFill/>
                <a:prstDash val="solid"/>
                <a:miter/>
              </a:ln>
            </p:spPr>
            <p:txBody>
              <a:bodyPr rtlCol="0" anchor="ctr"/>
              <a:lstStyle/>
              <a:p>
                <a:endParaRPr lang="en-GB"/>
              </a:p>
            </p:txBody>
          </p:sp>
          <p:sp>
            <p:nvSpPr>
              <p:cNvPr id="3134" name="Vrije vorm: vorm 3133">
                <a:extLst>
                  <a:ext uri="{FF2B5EF4-FFF2-40B4-BE49-F238E27FC236}">
                    <a16:creationId xmlns:a16="http://schemas.microsoft.com/office/drawing/2014/main" id="{3B5E396D-F9D2-4663-8DA0-E6CD89FE8C82}"/>
                  </a:ext>
                </a:extLst>
              </p:cNvPr>
              <p:cNvSpPr/>
              <p:nvPr/>
            </p:nvSpPr>
            <p:spPr>
              <a:xfrm>
                <a:off x="6381246" y="5390697"/>
                <a:ext cx="18333" cy="18434"/>
              </a:xfrm>
              <a:custGeom>
                <a:avLst/>
                <a:gdLst>
                  <a:gd name="connsiteX0" fmla="*/ 18205 w 18333"/>
                  <a:gd name="connsiteY0" fmla="*/ 7722 h 18434"/>
                  <a:gd name="connsiteX1" fmla="*/ 7619 w 18333"/>
                  <a:gd name="connsiteY1" fmla="*/ 126 h 18434"/>
                  <a:gd name="connsiteX2" fmla="*/ 143 w 18333"/>
                  <a:gd name="connsiteY2" fmla="*/ 10712 h 18434"/>
                  <a:gd name="connsiteX3" fmla="*/ 10729 w 18333"/>
                  <a:gd name="connsiteY3" fmla="*/ 18308 h 18434"/>
                  <a:gd name="connsiteX4" fmla="*/ 18205 w 18333"/>
                  <a:gd name="connsiteY4" fmla="*/ 772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34">
                    <a:moveTo>
                      <a:pt x="18205" y="7722"/>
                    </a:moveTo>
                    <a:cubicBezTo>
                      <a:pt x="17368" y="2698"/>
                      <a:pt x="12643" y="-711"/>
                      <a:pt x="7619" y="126"/>
                    </a:cubicBezTo>
                    <a:cubicBezTo>
                      <a:pt x="2656" y="964"/>
                      <a:pt x="-754" y="5689"/>
                      <a:pt x="143" y="10712"/>
                    </a:cubicBezTo>
                    <a:cubicBezTo>
                      <a:pt x="981" y="15736"/>
                      <a:pt x="5705" y="19145"/>
                      <a:pt x="10729" y="18308"/>
                    </a:cubicBezTo>
                    <a:cubicBezTo>
                      <a:pt x="15693" y="17530"/>
                      <a:pt x="19043" y="12746"/>
                      <a:pt x="18205" y="7722"/>
                    </a:cubicBezTo>
                    <a:close/>
                  </a:path>
                </a:pathLst>
              </a:custGeom>
              <a:grpFill/>
              <a:ln w="5978" cap="flat">
                <a:noFill/>
                <a:prstDash val="solid"/>
                <a:miter/>
              </a:ln>
            </p:spPr>
            <p:txBody>
              <a:bodyPr rtlCol="0" anchor="ctr"/>
              <a:lstStyle/>
              <a:p>
                <a:endParaRPr lang="en-GB"/>
              </a:p>
            </p:txBody>
          </p:sp>
        </p:grpSp>
        <p:grpSp>
          <p:nvGrpSpPr>
            <p:cNvPr id="754" name="Graphic 3">
              <a:extLst>
                <a:ext uri="{FF2B5EF4-FFF2-40B4-BE49-F238E27FC236}">
                  <a16:creationId xmlns:a16="http://schemas.microsoft.com/office/drawing/2014/main" id="{4E5B80C9-1B78-45F2-BCFE-4AF6989898C4}"/>
                </a:ext>
              </a:extLst>
            </p:cNvPr>
            <p:cNvGrpSpPr/>
            <p:nvPr/>
          </p:nvGrpSpPr>
          <p:grpSpPr>
            <a:xfrm>
              <a:off x="5021381" y="1577013"/>
              <a:ext cx="197242" cy="338104"/>
              <a:chOff x="5021381" y="1577013"/>
              <a:chExt cx="197242" cy="338104"/>
            </a:xfrm>
            <a:grpFill/>
          </p:grpSpPr>
          <p:sp>
            <p:nvSpPr>
              <p:cNvPr id="3129" name="Vrije vorm: vorm 3128">
                <a:extLst>
                  <a:ext uri="{FF2B5EF4-FFF2-40B4-BE49-F238E27FC236}">
                    <a16:creationId xmlns:a16="http://schemas.microsoft.com/office/drawing/2014/main" id="{0E029A1F-FC44-46CF-8E35-45D238EA3AD8}"/>
                  </a:ext>
                </a:extLst>
              </p:cNvPr>
              <p:cNvSpPr/>
              <p:nvPr/>
            </p:nvSpPr>
            <p:spPr>
              <a:xfrm>
                <a:off x="5028967" y="1585129"/>
                <a:ext cx="182405" cy="321794"/>
              </a:xfrm>
              <a:custGeom>
                <a:avLst/>
                <a:gdLst>
                  <a:gd name="connsiteX0" fmla="*/ 0 w 182405"/>
                  <a:gd name="connsiteY0" fmla="*/ 1493 h 321794"/>
                  <a:gd name="connsiteX1" fmla="*/ 2660 w 182405"/>
                  <a:gd name="connsiteY1" fmla="*/ 0 h 321794"/>
                  <a:gd name="connsiteX2" fmla="*/ 182405 w 182405"/>
                  <a:gd name="connsiteY2" fmla="*/ 320302 h 321794"/>
                  <a:gd name="connsiteX3" fmla="*/ 179745 w 182405"/>
                  <a:gd name="connsiteY3" fmla="*/ 321794 h 321794"/>
                </a:gdLst>
                <a:ahLst/>
                <a:cxnLst>
                  <a:cxn ang="0">
                    <a:pos x="connsiteX0" y="connsiteY0"/>
                  </a:cxn>
                  <a:cxn ang="0">
                    <a:pos x="connsiteX1" y="connsiteY1"/>
                  </a:cxn>
                  <a:cxn ang="0">
                    <a:pos x="connsiteX2" y="connsiteY2"/>
                  </a:cxn>
                  <a:cxn ang="0">
                    <a:pos x="connsiteX3" y="connsiteY3"/>
                  </a:cxn>
                </a:cxnLst>
                <a:rect l="l" t="t" r="r" b="b"/>
                <a:pathLst>
                  <a:path w="182405" h="321794">
                    <a:moveTo>
                      <a:pt x="0" y="1493"/>
                    </a:moveTo>
                    <a:lnTo>
                      <a:pt x="2660" y="0"/>
                    </a:lnTo>
                    <a:lnTo>
                      <a:pt x="182405" y="320302"/>
                    </a:lnTo>
                    <a:lnTo>
                      <a:pt x="179745" y="321794"/>
                    </a:lnTo>
                    <a:close/>
                  </a:path>
                </a:pathLst>
              </a:custGeom>
              <a:grpFill/>
              <a:ln w="5978" cap="flat">
                <a:noFill/>
                <a:prstDash val="solid"/>
                <a:miter/>
              </a:ln>
            </p:spPr>
            <p:txBody>
              <a:bodyPr rtlCol="0" anchor="ctr"/>
              <a:lstStyle/>
              <a:p>
                <a:endParaRPr lang="en-GB"/>
              </a:p>
            </p:txBody>
          </p:sp>
          <p:sp>
            <p:nvSpPr>
              <p:cNvPr id="3130" name="Vrije vorm: vorm 3129">
                <a:extLst>
                  <a:ext uri="{FF2B5EF4-FFF2-40B4-BE49-F238E27FC236}">
                    <a16:creationId xmlns:a16="http://schemas.microsoft.com/office/drawing/2014/main" id="{7474D6EB-30CB-47FC-8E6D-FCF5353202A0}"/>
                  </a:ext>
                </a:extLst>
              </p:cNvPr>
              <p:cNvSpPr/>
              <p:nvPr/>
            </p:nvSpPr>
            <p:spPr>
              <a:xfrm>
                <a:off x="5021381" y="1577013"/>
                <a:ext cx="18346" cy="18447"/>
              </a:xfrm>
              <a:custGeom>
                <a:avLst/>
                <a:gdLst>
                  <a:gd name="connsiteX0" fmla="*/ 1189 w 18346"/>
                  <a:gd name="connsiteY0" fmla="*/ 13720 h 18447"/>
                  <a:gd name="connsiteX1" fmla="*/ 4658 w 18346"/>
                  <a:gd name="connsiteY1" fmla="*/ 1160 h 18447"/>
                  <a:gd name="connsiteX2" fmla="*/ 17157 w 18346"/>
                  <a:gd name="connsiteY2" fmla="*/ 4689 h 18447"/>
                  <a:gd name="connsiteX3" fmla="*/ 13688 w 18346"/>
                  <a:gd name="connsiteY3" fmla="*/ 17248 h 18447"/>
                  <a:gd name="connsiteX4" fmla="*/ 1189 w 18346"/>
                  <a:gd name="connsiteY4" fmla="*/ 1372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7">
                    <a:moveTo>
                      <a:pt x="1189" y="13720"/>
                    </a:moveTo>
                    <a:cubicBezTo>
                      <a:pt x="-1323" y="9294"/>
                      <a:pt x="292" y="3672"/>
                      <a:pt x="4658" y="1160"/>
                    </a:cubicBezTo>
                    <a:cubicBezTo>
                      <a:pt x="9083" y="-1292"/>
                      <a:pt x="14646" y="263"/>
                      <a:pt x="17157" y="4689"/>
                    </a:cubicBezTo>
                    <a:cubicBezTo>
                      <a:pt x="19669" y="9115"/>
                      <a:pt x="18054" y="14736"/>
                      <a:pt x="13688" y="17248"/>
                    </a:cubicBezTo>
                    <a:cubicBezTo>
                      <a:pt x="9263" y="19760"/>
                      <a:pt x="3701" y="18205"/>
                      <a:pt x="1189" y="13720"/>
                    </a:cubicBezTo>
                    <a:close/>
                  </a:path>
                </a:pathLst>
              </a:custGeom>
              <a:grpFill/>
              <a:ln w="5978" cap="flat">
                <a:noFill/>
                <a:prstDash val="solid"/>
                <a:miter/>
              </a:ln>
            </p:spPr>
            <p:txBody>
              <a:bodyPr rtlCol="0" anchor="ctr"/>
              <a:lstStyle/>
              <a:p>
                <a:endParaRPr lang="en-GB"/>
              </a:p>
            </p:txBody>
          </p:sp>
          <p:sp>
            <p:nvSpPr>
              <p:cNvPr id="3131" name="Vrije vorm: vorm 3130">
                <a:extLst>
                  <a:ext uri="{FF2B5EF4-FFF2-40B4-BE49-F238E27FC236}">
                    <a16:creationId xmlns:a16="http://schemas.microsoft.com/office/drawing/2014/main" id="{6A0BC81F-9424-486B-AA7D-1BD1DEC27186}"/>
                  </a:ext>
                </a:extLst>
              </p:cNvPr>
              <p:cNvSpPr/>
              <p:nvPr/>
            </p:nvSpPr>
            <p:spPr>
              <a:xfrm>
                <a:off x="5200291" y="1896656"/>
                <a:ext cx="18332" cy="18461"/>
              </a:xfrm>
              <a:custGeom>
                <a:avLst/>
                <a:gdLst>
                  <a:gd name="connsiteX0" fmla="*/ 1162 w 18332"/>
                  <a:gd name="connsiteY0" fmla="*/ 13746 h 18461"/>
                  <a:gd name="connsiteX1" fmla="*/ 13662 w 18332"/>
                  <a:gd name="connsiteY1" fmla="*/ 17275 h 18461"/>
                  <a:gd name="connsiteX2" fmla="*/ 17131 w 18332"/>
                  <a:gd name="connsiteY2" fmla="*/ 4716 h 18461"/>
                  <a:gd name="connsiteX3" fmla="*/ 4631 w 18332"/>
                  <a:gd name="connsiteY3" fmla="*/ 1187 h 18461"/>
                  <a:gd name="connsiteX4" fmla="*/ 1162 w 18332"/>
                  <a:gd name="connsiteY4" fmla="*/ 1374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61">
                    <a:moveTo>
                      <a:pt x="1162" y="13746"/>
                    </a:moveTo>
                    <a:cubicBezTo>
                      <a:pt x="3674" y="18172"/>
                      <a:pt x="9236" y="19787"/>
                      <a:pt x="13662" y="17275"/>
                    </a:cubicBezTo>
                    <a:cubicBezTo>
                      <a:pt x="18088" y="14823"/>
                      <a:pt x="19643" y="9201"/>
                      <a:pt x="17131" y="4716"/>
                    </a:cubicBezTo>
                    <a:cubicBezTo>
                      <a:pt x="14619" y="290"/>
                      <a:pt x="9057" y="-1325"/>
                      <a:pt x="4631" y="1187"/>
                    </a:cubicBezTo>
                    <a:cubicBezTo>
                      <a:pt x="265" y="3699"/>
                      <a:pt x="-1290" y="9321"/>
                      <a:pt x="1162" y="13746"/>
                    </a:cubicBezTo>
                    <a:close/>
                  </a:path>
                </a:pathLst>
              </a:custGeom>
              <a:grpFill/>
              <a:ln w="5978" cap="flat">
                <a:noFill/>
                <a:prstDash val="solid"/>
                <a:miter/>
              </a:ln>
            </p:spPr>
            <p:txBody>
              <a:bodyPr rtlCol="0" anchor="ctr"/>
              <a:lstStyle/>
              <a:p>
                <a:endParaRPr lang="en-GB"/>
              </a:p>
            </p:txBody>
          </p:sp>
        </p:grpSp>
        <p:grpSp>
          <p:nvGrpSpPr>
            <p:cNvPr id="755" name="Graphic 3">
              <a:extLst>
                <a:ext uri="{FF2B5EF4-FFF2-40B4-BE49-F238E27FC236}">
                  <a16:creationId xmlns:a16="http://schemas.microsoft.com/office/drawing/2014/main" id="{1C348D47-A3D9-4A70-80E3-6C3265B8C04F}"/>
                </a:ext>
              </a:extLst>
            </p:cNvPr>
            <p:cNvGrpSpPr/>
            <p:nvPr/>
          </p:nvGrpSpPr>
          <p:grpSpPr>
            <a:xfrm>
              <a:off x="4917263" y="1301195"/>
              <a:ext cx="301905" cy="613704"/>
              <a:chOff x="4917263" y="1301195"/>
              <a:chExt cx="301905" cy="613704"/>
            </a:xfrm>
            <a:grpFill/>
          </p:grpSpPr>
          <p:sp>
            <p:nvSpPr>
              <p:cNvPr id="3126" name="Vrije vorm: vorm 3125">
                <a:extLst>
                  <a:ext uri="{FF2B5EF4-FFF2-40B4-BE49-F238E27FC236}">
                    <a16:creationId xmlns:a16="http://schemas.microsoft.com/office/drawing/2014/main" id="{3034A30B-F95B-414F-B949-D9889EBC63AA}"/>
                  </a:ext>
                </a:extLst>
              </p:cNvPr>
              <p:cNvSpPr/>
              <p:nvPr/>
            </p:nvSpPr>
            <p:spPr>
              <a:xfrm>
                <a:off x="4924845" y="1309340"/>
                <a:ext cx="286715" cy="597414"/>
              </a:xfrm>
              <a:custGeom>
                <a:avLst/>
                <a:gdLst>
                  <a:gd name="connsiteX0" fmla="*/ 286716 w 286715"/>
                  <a:gd name="connsiteY0" fmla="*/ 596099 h 597414"/>
                  <a:gd name="connsiteX1" fmla="*/ 283965 w 286715"/>
                  <a:gd name="connsiteY1" fmla="*/ 597414 h 597414"/>
                  <a:gd name="connsiteX2" fmla="*/ 0 w 286715"/>
                  <a:gd name="connsiteY2" fmla="*/ 1316 h 597414"/>
                  <a:gd name="connsiteX3" fmla="*/ 2751 w 286715"/>
                  <a:gd name="connsiteY3" fmla="*/ 0 h 597414"/>
                </a:gdLst>
                <a:ahLst/>
                <a:cxnLst>
                  <a:cxn ang="0">
                    <a:pos x="connsiteX0" y="connsiteY0"/>
                  </a:cxn>
                  <a:cxn ang="0">
                    <a:pos x="connsiteX1" y="connsiteY1"/>
                  </a:cxn>
                  <a:cxn ang="0">
                    <a:pos x="connsiteX2" y="connsiteY2"/>
                  </a:cxn>
                  <a:cxn ang="0">
                    <a:pos x="connsiteX3" y="connsiteY3"/>
                  </a:cxn>
                </a:cxnLst>
                <a:rect l="l" t="t" r="r" b="b"/>
                <a:pathLst>
                  <a:path w="286715" h="597414">
                    <a:moveTo>
                      <a:pt x="286716" y="596099"/>
                    </a:moveTo>
                    <a:lnTo>
                      <a:pt x="283965" y="597414"/>
                    </a:lnTo>
                    <a:lnTo>
                      <a:pt x="0" y="1316"/>
                    </a:lnTo>
                    <a:lnTo>
                      <a:pt x="2751" y="0"/>
                    </a:lnTo>
                    <a:close/>
                  </a:path>
                </a:pathLst>
              </a:custGeom>
              <a:grpFill/>
              <a:ln w="5978" cap="flat">
                <a:noFill/>
                <a:prstDash val="solid"/>
                <a:miter/>
              </a:ln>
            </p:spPr>
            <p:txBody>
              <a:bodyPr rtlCol="0" anchor="ctr"/>
              <a:lstStyle/>
              <a:p>
                <a:endParaRPr lang="en-GB"/>
              </a:p>
            </p:txBody>
          </p:sp>
          <p:sp>
            <p:nvSpPr>
              <p:cNvPr id="3127" name="Vrije vorm: vorm 3126">
                <a:extLst>
                  <a:ext uri="{FF2B5EF4-FFF2-40B4-BE49-F238E27FC236}">
                    <a16:creationId xmlns:a16="http://schemas.microsoft.com/office/drawing/2014/main" id="{A91529AD-4EDF-4260-8E6E-3E7312EDFF9A}"/>
                  </a:ext>
                </a:extLst>
              </p:cNvPr>
              <p:cNvSpPr/>
              <p:nvPr/>
            </p:nvSpPr>
            <p:spPr>
              <a:xfrm>
                <a:off x="5200843" y="1896456"/>
                <a:ext cx="18325" cy="18443"/>
              </a:xfrm>
              <a:custGeom>
                <a:avLst/>
                <a:gdLst>
                  <a:gd name="connsiteX0" fmla="*/ 17416 w 18325"/>
                  <a:gd name="connsiteY0" fmla="*/ 5274 h 18443"/>
                  <a:gd name="connsiteX1" fmla="*/ 13110 w 18325"/>
                  <a:gd name="connsiteY1" fmla="*/ 17535 h 18443"/>
                  <a:gd name="connsiteX2" fmla="*/ 910 w 18325"/>
                  <a:gd name="connsiteY2" fmla="*/ 13169 h 18443"/>
                  <a:gd name="connsiteX3" fmla="*/ 5216 w 18325"/>
                  <a:gd name="connsiteY3" fmla="*/ 908 h 18443"/>
                  <a:gd name="connsiteX4" fmla="*/ 17416 w 18325"/>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43">
                    <a:moveTo>
                      <a:pt x="17416" y="5274"/>
                    </a:moveTo>
                    <a:cubicBezTo>
                      <a:pt x="19629" y="9879"/>
                      <a:pt x="17656" y="15382"/>
                      <a:pt x="13110" y="17535"/>
                    </a:cubicBezTo>
                    <a:cubicBezTo>
                      <a:pt x="8565" y="19748"/>
                      <a:pt x="3063" y="17774"/>
                      <a:pt x="910" y="13169"/>
                    </a:cubicBezTo>
                    <a:cubicBezTo>
                      <a:pt x="-1303" y="8564"/>
                      <a:pt x="670" y="3061"/>
                      <a:pt x="5216" y="908"/>
                    </a:cubicBezTo>
                    <a:cubicBezTo>
                      <a:pt x="9761" y="-1305"/>
                      <a:pt x="15204" y="669"/>
                      <a:pt x="17416" y="5274"/>
                    </a:cubicBezTo>
                    <a:close/>
                  </a:path>
                </a:pathLst>
              </a:custGeom>
              <a:grpFill/>
              <a:ln w="5978" cap="flat">
                <a:noFill/>
                <a:prstDash val="solid"/>
                <a:miter/>
              </a:ln>
            </p:spPr>
            <p:txBody>
              <a:bodyPr rtlCol="0" anchor="ctr"/>
              <a:lstStyle/>
              <a:p>
                <a:endParaRPr lang="en-GB"/>
              </a:p>
            </p:txBody>
          </p:sp>
          <p:sp>
            <p:nvSpPr>
              <p:cNvPr id="3128" name="Vrije vorm: vorm 3127">
                <a:extLst>
                  <a:ext uri="{FF2B5EF4-FFF2-40B4-BE49-F238E27FC236}">
                    <a16:creationId xmlns:a16="http://schemas.microsoft.com/office/drawing/2014/main" id="{3AC3DCA1-57B9-41F8-B57A-CCC2DBFC7638}"/>
                  </a:ext>
                </a:extLst>
              </p:cNvPr>
              <p:cNvSpPr/>
              <p:nvPr/>
            </p:nvSpPr>
            <p:spPr>
              <a:xfrm>
                <a:off x="4917263" y="1301195"/>
                <a:ext cx="18310" cy="18443"/>
              </a:xfrm>
              <a:custGeom>
                <a:avLst/>
                <a:gdLst>
                  <a:gd name="connsiteX0" fmla="*/ 17390 w 18310"/>
                  <a:gd name="connsiteY0" fmla="*/ 5274 h 18443"/>
                  <a:gd name="connsiteX1" fmla="*/ 5189 w 18310"/>
                  <a:gd name="connsiteY1" fmla="*/ 908 h 18443"/>
                  <a:gd name="connsiteX2" fmla="*/ 884 w 18310"/>
                  <a:gd name="connsiteY2" fmla="*/ 13169 h 18443"/>
                  <a:gd name="connsiteX3" fmla="*/ 13084 w 18310"/>
                  <a:gd name="connsiteY3" fmla="*/ 17535 h 18443"/>
                  <a:gd name="connsiteX4" fmla="*/ 17390 w 18310"/>
                  <a:gd name="connsiteY4" fmla="*/ 527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43">
                    <a:moveTo>
                      <a:pt x="17390" y="5274"/>
                    </a:moveTo>
                    <a:cubicBezTo>
                      <a:pt x="15178" y="669"/>
                      <a:pt x="9735" y="-1305"/>
                      <a:pt x="5189" y="908"/>
                    </a:cubicBezTo>
                    <a:cubicBezTo>
                      <a:pt x="644" y="3121"/>
                      <a:pt x="-1269" y="8564"/>
                      <a:pt x="884" y="13169"/>
                    </a:cubicBezTo>
                    <a:cubicBezTo>
                      <a:pt x="3036" y="17774"/>
                      <a:pt x="8539" y="19748"/>
                      <a:pt x="13084" y="17535"/>
                    </a:cubicBezTo>
                    <a:cubicBezTo>
                      <a:pt x="17689" y="15322"/>
                      <a:pt x="19603" y="9820"/>
                      <a:pt x="17390" y="5274"/>
                    </a:cubicBezTo>
                    <a:close/>
                  </a:path>
                </a:pathLst>
              </a:custGeom>
              <a:grpFill/>
              <a:ln w="5978" cap="flat">
                <a:noFill/>
                <a:prstDash val="solid"/>
                <a:miter/>
              </a:ln>
            </p:spPr>
            <p:txBody>
              <a:bodyPr rtlCol="0" anchor="ctr"/>
              <a:lstStyle/>
              <a:p>
                <a:endParaRPr lang="en-GB"/>
              </a:p>
            </p:txBody>
          </p:sp>
        </p:grpSp>
        <p:grpSp>
          <p:nvGrpSpPr>
            <p:cNvPr id="756" name="Graphic 3">
              <a:extLst>
                <a:ext uri="{FF2B5EF4-FFF2-40B4-BE49-F238E27FC236}">
                  <a16:creationId xmlns:a16="http://schemas.microsoft.com/office/drawing/2014/main" id="{5B427334-DC18-4E9B-9021-1926219ADAAC}"/>
                </a:ext>
              </a:extLst>
            </p:cNvPr>
            <p:cNvGrpSpPr/>
            <p:nvPr/>
          </p:nvGrpSpPr>
          <p:grpSpPr>
            <a:xfrm>
              <a:off x="5115311" y="1814826"/>
              <a:ext cx="78387" cy="121297"/>
              <a:chOff x="5115311" y="1814826"/>
              <a:chExt cx="78387" cy="121297"/>
            </a:xfrm>
            <a:grpFill/>
          </p:grpSpPr>
          <p:sp>
            <p:nvSpPr>
              <p:cNvPr id="3123" name="Vrije vorm: vorm 3122">
                <a:extLst>
                  <a:ext uri="{FF2B5EF4-FFF2-40B4-BE49-F238E27FC236}">
                    <a16:creationId xmlns:a16="http://schemas.microsoft.com/office/drawing/2014/main" id="{51BCF32F-9847-4149-BBAE-A27B668B11A0}"/>
                  </a:ext>
                </a:extLst>
              </p:cNvPr>
              <p:cNvSpPr/>
              <p:nvPr/>
            </p:nvSpPr>
            <p:spPr>
              <a:xfrm>
                <a:off x="5122926" y="1822904"/>
                <a:ext cx="63156" cy="105200"/>
              </a:xfrm>
              <a:custGeom>
                <a:avLst/>
                <a:gdLst>
                  <a:gd name="connsiteX0" fmla="*/ 63156 w 63156"/>
                  <a:gd name="connsiteY0" fmla="*/ 103646 h 105200"/>
                  <a:gd name="connsiteX1" fmla="*/ 60525 w 63156"/>
                  <a:gd name="connsiteY1" fmla="*/ 105201 h 105200"/>
                  <a:gd name="connsiteX2" fmla="*/ 0 w 63156"/>
                  <a:gd name="connsiteY2" fmla="*/ 1555 h 105200"/>
                  <a:gd name="connsiteX3" fmla="*/ 2632 w 63156"/>
                  <a:gd name="connsiteY3" fmla="*/ 0 h 105200"/>
                </a:gdLst>
                <a:ahLst/>
                <a:cxnLst>
                  <a:cxn ang="0">
                    <a:pos x="connsiteX0" y="connsiteY0"/>
                  </a:cxn>
                  <a:cxn ang="0">
                    <a:pos x="connsiteX1" y="connsiteY1"/>
                  </a:cxn>
                  <a:cxn ang="0">
                    <a:pos x="connsiteX2" y="connsiteY2"/>
                  </a:cxn>
                  <a:cxn ang="0">
                    <a:pos x="connsiteX3" y="connsiteY3"/>
                  </a:cxn>
                </a:cxnLst>
                <a:rect l="l" t="t" r="r" b="b"/>
                <a:pathLst>
                  <a:path w="63156" h="105200">
                    <a:moveTo>
                      <a:pt x="63156" y="103646"/>
                    </a:moveTo>
                    <a:lnTo>
                      <a:pt x="60525" y="105201"/>
                    </a:lnTo>
                    <a:lnTo>
                      <a:pt x="0" y="1555"/>
                    </a:lnTo>
                    <a:lnTo>
                      <a:pt x="2632" y="0"/>
                    </a:lnTo>
                    <a:close/>
                  </a:path>
                </a:pathLst>
              </a:custGeom>
              <a:grpFill/>
              <a:ln w="5978" cap="flat">
                <a:noFill/>
                <a:prstDash val="solid"/>
                <a:miter/>
              </a:ln>
            </p:spPr>
            <p:txBody>
              <a:bodyPr rtlCol="0" anchor="ctr"/>
              <a:lstStyle/>
              <a:p>
                <a:endParaRPr lang="en-GB"/>
              </a:p>
            </p:txBody>
          </p:sp>
          <p:sp>
            <p:nvSpPr>
              <p:cNvPr id="3124" name="Vrije vorm: vorm 3123">
                <a:extLst>
                  <a:ext uri="{FF2B5EF4-FFF2-40B4-BE49-F238E27FC236}">
                    <a16:creationId xmlns:a16="http://schemas.microsoft.com/office/drawing/2014/main" id="{A9862B41-3557-4C1A-B9AF-6C9E707156F4}"/>
                  </a:ext>
                </a:extLst>
              </p:cNvPr>
              <p:cNvSpPr/>
              <p:nvPr/>
            </p:nvSpPr>
            <p:spPr>
              <a:xfrm>
                <a:off x="5115311" y="1814826"/>
                <a:ext cx="18341" cy="18469"/>
              </a:xfrm>
              <a:custGeom>
                <a:avLst/>
                <a:gdLst>
                  <a:gd name="connsiteX0" fmla="*/ 1276 w 18341"/>
                  <a:gd name="connsiteY0" fmla="*/ 13880 h 18469"/>
                  <a:gd name="connsiteX1" fmla="*/ 4505 w 18341"/>
                  <a:gd name="connsiteY1" fmla="*/ 1260 h 18469"/>
                  <a:gd name="connsiteX2" fmla="*/ 17065 w 18341"/>
                  <a:gd name="connsiteY2" fmla="*/ 4550 h 18469"/>
                  <a:gd name="connsiteX3" fmla="*/ 13835 w 18341"/>
                  <a:gd name="connsiteY3" fmla="*/ 17169 h 18469"/>
                  <a:gd name="connsiteX4" fmla="*/ 1276 w 18341"/>
                  <a:gd name="connsiteY4" fmla="*/ 13880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69">
                    <a:moveTo>
                      <a:pt x="1276" y="13880"/>
                    </a:moveTo>
                    <a:cubicBezTo>
                      <a:pt x="-1296" y="9514"/>
                      <a:pt x="140" y="3832"/>
                      <a:pt x="4505" y="1260"/>
                    </a:cubicBezTo>
                    <a:cubicBezTo>
                      <a:pt x="8872" y="-1311"/>
                      <a:pt x="14493" y="184"/>
                      <a:pt x="17065" y="4550"/>
                    </a:cubicBezTo>
                    <a:cubicBezTo>
                      <a:pt x="19637" y="8916"/>
                      <a:pt x="18202" y="14597"/>
                      <a:pt x="13835" y="17169"/>
                    </a:cubicBezTo>
                    <a:cubicBezTo>
                      <a:pt x="9470" y="19801"/>
                      <a:pt x="3848" y="18305"/>
                      <a:pt x="1276" y="13880"/>
                    </a:cubicBezTo>
                    <a:close/>
                  </a:path>
                </a:pathLst>
              </a:custGeom>
              <a:grpFill/>
              <a:ln w="5978" cap="flat">
                <a:noFill/>
                <a:prstDash val="solid"/>
                <a:miter/>
              </a:ln>
            </p:spPr>
            <p:txBody>
              <a:bodyPr rtlCol="0" anchor="ctr"/>
              <a:lstStyle/>
              <a:p>
                <a:endParaRPr lang="en-GB"/>
              </a:p>
            </p:txBody>
          </p:sp>
          <p:sp>
            <p:nvSpPr>
              <p:cNvPr id="3125" name="Vrije vorm: vorm 3124">
                <a:extLst>
                  <a:ext uri="{FF2B5EF4-FFF2-40B4-BE49-F238E27FC236}">
                    <a16:creationId xmlns:a16="http://schemas.microsoft.com/office/drawing/2014/main" id="{42C646BF-9B61-4B29-B41F-9A18AAA97C87}"/>
                  </a:ext>
                </a:extLst>
              </p:cNvPr>
              <p:cNvSpPr/>
              <p:nvPr/>
            </p:nvSpPr>
            <p:spPr>
              <a:xfrm>
                <a:off x="5175371" y="1917694"/>
                <a:ext cx="18327" cy="18429"/>
              </a:xfrm>
              <a:custGeom>
                <a:avLst/>
                <a:gdLst>
                  <a:gd name="connsiteX0" fmla="*/ 1263 w 18327"/>
                  <a:gd name="connsiteY0" fmla="*/ 13880 h 18429"/>
                  <a:gd name="connsiteX1" fmla="*/ 13822 w 18327"/>
                  <a:gd name="connsiteY1" fmla="*/ 17169 h 18429"/>
                  <a:gd name="connsiteX2" fmla="*/ 17052 w 18327"/>
                  <a:gd name="connsiteY2" fmla="*/ 4550 h 18429"/>
                  <a:gd name="connsiteX3" fmla="*/ 4492 w 18327"/>
                  <a:gd name="connsiteY3" fmla="*/ 1260 h 18429"/>
                  <a:gd name="connsiteX4" fmla="*/ 1263 w 18327"/>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263" y="13880"/>
                    </a:moveTo>
                    <a:cubicBezTo>
                      <a:pt x="3835" y="18246"/>
                      <a:pt x="9456" y="19741"/>
                      <a:pt x="13822" y="17169"/>
                    </a:cubicBezTo>
                    <a:cubicBezTo>
                      <a:pt x="18188" y="14597"/>
                      <a:pt x="19623" y="8976"/>
                      <a:pt x="17052" y="4550"/>
                    </a:cubicBezTo>
                    <a:cubicBezTo>
                      <a:pt x="14480" y="184"/>
                      <a:pt x="8858" y="-1311"/>
                      <a:pt x="4492" y="1260"/>
                    </a:cubicBezTo>
                    <a:cubicBezTo>
                      <a:pt x="186" y="3832"/>
                      <a:pt x="-1309" y="9514"/>
                      <a:pt x="1263" y="13880"/>
                    </a:cubicBezTo>
                    <a:close/>
                  </a:path>
                </a:pathLst>
              </a:custGeom>
              <a:grpFill/>
              <a:ln w="5978" cap="flat">
                <a:noFill/>
                <a:prstDash val="solid"/>
                <a:miter/>
              </a:ln>
            </p:spPr>
            <p:txBody>
              <a:bodyPr rtlCol="0" anchor="ctr"/>
              <a:lstStyle/>
              <a:p>
                <a:endParaRPr lang="en-GB"/>
              </a:p>
            </p:txBody>
          </p:sp>
        </p:grpSp>
        <p:grpSp>
          <p:nvGrpSpPr>
            <p:cNvPr id="757" name="Graphic 3">
              <a:extLst>
                <a:ext uri="{FF2B5EF4-FFF2-40B4-BE49-F238E27FC236}">
                  <a16:creationId xmlns:a16="http://schemas.microsoft.com/office/drawing/2014/main" id="{23BCF4F2-2248-4CA9-A4D9-5BC97DA0DAF0}"/>
                </a:ext>
              </a:extLst>
            </p:cNvPr>
            <p:cNvGrpSpPr/>
            <p:nvPr/>
          </p:nvGrpSpPr>
          <p:grpSpPr>
            <a:xfrm>
              <a:off x="6264567" y="5074186"/>
              <a:ext cx="60144" cy="336930"/>
              <a:chOff x="6264567" y="5074186"/>
              <a:chExt cx="60144" cy="336930"/>
            </a:xfrm>
            <a:grpFill/>
          </p:grpSpPr>
          <p:sp>
            <p:nvSpPr>
              <p:cNvPr id="3120" name="Vrije vorm: vorm 3119">
                <a:extLst>
                  <a:ext uri="{FF2B5EF4-FFF2-40B4-BE49-F238E27FC236}">
                    <a16:creationId xmlns:a16="http://schemas.microsoft.com/office/drawing/2014/main" id="{206BCCF1-6865-458D-BB1F-2FF64F5A19C1}"/>
                  </a:ext>
                </a:extLst>
              </p:cNvPr>
              <p:cNvSpPr/>
              <p:nvPr/>
            </p:nvSpPr>
            <p:spPr>
              <a:xfrm>
                <a:off x="6272182" y="5082756"/>
                <a:ext cx="44914" cy="319788"/>
              </a:xfrm>
              <a:custGeom>
                <a:avLst/>
                <a:gdLst>
                  <a:gd name="connsiteX0" fmla="*/ 2990 w 44914"/>
                  <a:gd name="connsiteY0" fmla="*/ 0 h 319788"/>
                  <a:gd name="connsiteX1" fmla="*/ 44915 w 44914"/>
                  <a:gd name="connsiteY1" fmla="*/ 319430 h 319788"/>
                  <a:gd name="connsiteX2" fmla="*/ 41865 w 44914"/>
                  <a:gd name="connsiteY2" fmla="*/ 319789 h 319788"/>
                  <a:gd name="connsiteX3" fmla="*/ 0 w 44914"/>
                  <a:gd name="connsiteY3" fmla="*/ 359 h 319788"/>
                </a:gdLst>
                <a:ahLst/>
                <a:cxnLst>
                  <a:cxn ang="0">
                    <a:pos x="connsiteX0" y="connsiteY0"/>
                  </a:cxn>
                  <a:cxn ang="0">
                    <a:pos x="connsiteX1" y="connsiteY1"/>
                  </a:cxn>
                  <a:cxn ang="0">
                    <a:pos x="connsiteX2" y="connsiteY2"/>
                  </a:cxn>
                  <a:cxn ang="0">
                    <a:pos x="connsiteX3" y="connsiteY3"/>
                  </a:cxn>
                </a:cxnLst>
                <a:rect l="l" t="t" r="r" b="b"/>
                <a:pathLst>
                  <a:path w="44914" h="319788">
                    <a:moveTo>
                      <a:pt x="2990" y="0"/>
                    </a:moveTo>
                    <a:lnTo>
                      <a:pt x="44915" y="319430"/>
                    </a:lnTo>
                    <a:lnTo>
                      <a:pt x="41865" y="319789"/>
                    </a:lnTo>
                    <a:lnTo>
                      <a:pt x="0" y="359"/>
                    </a:lnTo>
                    <a:close/>
                  </a:path>
                </a:pathLst>
              </a:custGeom>
              <a:grpFill/>
              <a:ln w="5978" cap="flat">
                <a:noFill/>
                <a:prstDash val="solid"/>
                <a:miter/>
              </a:ln>
            </p:spPr>
            <p:txBody>
              <a:bodyPr rtlCol="0" anchor="ctr"/>
              <a:lstStyle/>
              <a:p>
                <a:endParaRPr lang="en-GB"/>
              </a:p>
            </p:txBody>
          </p:sp>
          <p:sp>
            <p:nvSpPr>
              <p:cNvPr id="3121" name="Vrije vorm: vorm 3120">
                <a:extLst>
                  <a:ext uri="{FF2B5EF4-FFF2-40B4-BE49-F238E27FC236}">
                    <a16:creationId xmlns:a16="http://schemas.microsoft.com/office/drawing/2014/main" id="{510A3A66-1599-4746-95D2-13D9F9DD4FBA}"/>
                  </a:ext>
                </a:extLst>
              </p:cNvPr>
              <p:cNvSpPr/>
              <p:nvPr/>
            </p:nvSpPr>
            <p:spPr>
              <a:xfrm>
                <a:off x="6306373" y="5392718"/>
                <a:ext cx="18339" cy="18397"/>
              </a:xfrm>
              <a:custGeom>
                <a:avLst/>
                <a:gdLst>
                  <a:gd name="connsiteX0" fmla="*/ 18260 w 18339"/>
                  <a:gd name="connsiteY0" fmla="*/ 8033 h 18397"/>
                  <a:gd name="connsiteX1" fmla="*/ 10366 w 18339"/>
                  <a:gd name="connsiteY1" fmla="*/ 18320 h 18397"/>
                  <a:gd name="connsiteX2" fmla="*/ 79 w 18339"/>
                  <a:gd name="connsiteY2" fmla="*/ 10366 h 18397"/>
                  <a:gd name="connsiteX3" fmla="*/ 7973 w 18339"/>
                  <a:gd name="connsiteY3" fmla="*/ 79 h 18397"/>
                  <a:gd name="connsiteX4" fmla="*/ 18260 w 18339"/>
                  <a:gd name="connsiteY4" fmla="*/ 80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7">
                    <a:moveTo>
                      <a:pt x="18260" y="8033"/>
                    </a:moveTo>
                    <a:cubicBezTo>
                      <a:pt x="18918" y="13057"/>
                      <a:pt x="15390" y="17722"/>
                      <a:pt x="10366" y="18320"/>
                    </a:cubicBezTo>
                    <a:cubicBezTo>
                      <a:pt x="5342" y="18978"/>
                      <a:pt x="737" y="15389"/>
                      <a:pt x="79" y="10366"/>
                    </a:cubicBezTo>
                    <a:cubicBezTo>
                      <a:pt x="-579" y="5342"/>
                      <a:pt x="2950" y="677"/>
                      <a:pt x="7973" y="79"/>
                    </a:cubicBezTo>
                    <a:cubicBezTo>
                      <a:pt x="12937" y="-579"/>
                      <a:pt x="17602" y="2950"/>
                      <a:pt x="18260" y="8033"/>
                    </a:cubicBezTo>
                    <a:close/>
                  </a:path>
                </a:pathLst>
              </a:custGeom>
              <a:grpFill/>
              <a:ln w="5978" cap="flat">
                <a:noFill/>
                <a:prstDash val="solid"/>
                <a:miter/>
              </a:ln>
            </p:spPr>
            <p:txBody>
              <a:bodyPr rtlCol="0" anchor="ctr"/>
              <a:lstStyle/>
              <a:p>
                <a:endParaRPr lang="en-GB"/>
              </a:p>
            </p:txBody>
          </p:sp>
          <p:sp>
            <p:nvSpPr>
              <p:cNvPr id="3122" name="Vrije vorm: vorm 3121">
                <a:extLst>
                  <a:ext uri="{FF2B5EF4-FFF2-40B4-BE49-F238E27FC236}">
                    <a16:creationId xmlns:a16="http://schemas.microsoft.com/office/drawing/2014/main" id="{06479AB9-DD33-4272-9A04-8C70ED06AC1B}"/>
                  </a:ext>
                </a:extLst>
              </p:cNvPr>
              <p:cNvSpPr/>
              <p:nvPr/>
            </p:nvSpPr>
            <p:spPr>
              <a:xfrm>
                <a:off x="6264567" y="5074186"/>
                <a:ext cx="18339" cy="18397"/>
              </a:xfrm>
              <a:custGeom>
                <a:avLst/>
                <a:gdLst>
                  <a:gd name="connsiteX0" fmla="*/ 18260 w 18339"/>
                  <a:gd name="connsiteY0" fmla="*/ 8032 h 18397"/>
                  <a:gd name="connsiteX1" fmla="*/ 7974 w 18339"/>
                  <a:gd name="connsiteY1" fmla="*/ 78 h 18397"/>
                  <a:gd name="connsiteX2" fmla="*/ 79 w 18339"/>
                  <a:gd name="connsiteY2" fmla="*/ 10365 h 18397"/>
                  <a:gd name="connsiteX3" fmla="*/ 10366 w 18339"/>
                  <a:gd name="connsiteY3" fmla="*/ 18319 h 18397"/>
                  <a:gd name="connsiteX4" fmla="*/ 18260 w 18339"/>
                  <a:gd name="connsiteY4" fmla="*/ 803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7">
                    <a:moveTo>
                      <a:pt x="18260" y="8032"/>
                    </a:moveTo>
                    <a:cubicBezTo>
                      <a:pt x="17602" y="3009"/>
                      <a:pt x="12997" y="-580"/>
                      <a:pt x="7974" y="78"/>
                    </a:cubicBezTo>
                    <a:cubicBezTo>
                      <a:pt x="2950" y="736"/>
                      <a:pt x="-579" y="5341"/>
                      <a:pt x="79" y="10365"/>
                    </a:cubicBezTo>
                    <a:cubicBezTo>
                      <a:pt x="737" y="15388"/>
                      <a:pt x="5342" y="18977"/>
                      <a:pt x="10366" y="18319"/>
                    </a:cubicBezTo>
                    <a:cubicBezTo>
                      <a:pt x="15390" y="17721"/>
                      <a:pt x="18918" y="13056"/>
                      <a:pt x="18260" y="8032"/>
                    </a:cubicBezTo>
                    <a:close/>
                  </a:path>
                </a:pathLst>
              </a:custGeom>
              <a:grpFill/>
              <a:ln w="5978" cap="flat">
                <a:noFill/>
                <a:prstDash val="solid"/>
                <a:miter/>
              </a:ln>
            </p:spPr>
            <p:txBody>
              <a:bodyPr rtlCol="0" anchor="ctr"/>
              <a:lstStyle/>
              <a:p>
                <a:endParaRPr lang="en-GB"/>
              </a:p>
            </p:txBody>
          </p:sp>
        </p:grpSp>
        <p:grpSp>
          <p:nvGrpSpPr>
            <p:cNvPr id="758" name="Graphic 3">
              <a:extLst>
                <a:ext uri="{FF2B5EF4-FFF2-40B4-BE49-F238E27FC236}">
                  <a16:creationId xmlns:a16="http://schemas.microsoft.com/office/drawing/2014/main" id="{AC14B174-EF36-4614-87E7-001594535A5F}"/>
                </a:ext>
              </a:extLst>
            </p:cNvPr>
            <p:cNvGrpSpPr/>
            <p:nvPr/>
          </p:nvGrpSpPr>
          <p:grpSpPr>
            <a:xfrm>
              <a:off x="6295364" y="5074905"/>
              <a:ext cx="48364" cy="476456"/>
              <a:chOff x="6295364" y="5074905"/>
              <a:chExt cx="48364" cy="476456"/>
            </a:xfrm>
            <a:grpFill/>
          </p:grpSpPr>
          <p:sp>
            <p:nvSpPr>
              <p:cNvPr id="3117" name="Vrije vorm: vorm 3116">
                <a:extLst>
                  <a:ext uri="{FF2B5EF4-FFF2-40B4-BE49-F238E27FC236}">
                    <a16:creationId xmlns:a16="http://schemas.microsoft.com/office/drawing/2014/main" id="{546F6577-B6A6-47A2-B100-27A7F496ED53}"/>
                  </a:ext>
                </a:extLst>
              </p:cNvPr>
              <p:cNvSpPr/>
              <p:nvPr/>
            </p:nvSpPr>
            <p:spPr>
              <a:xfrm>
                <a:off x="6302983" y="5083534"/>
                <a:ext cx="33073" cy="459199"/>
              </a:xfrm>
              <a:custGeom>
                <a:avLst/>
                <a:gdLst>
                  <a:gd name="connsiteX0" fmla="*/ 3050 w 33073"/>
                  <a:gd name="connsiteY0" fmla="*/ 0 h 459199"/>
                  <a:gd name="connsiteX1" fmla="*/ 33074 w 33073"/>
                  <a:gd name="connsiteY1" fmla="*/ 459020 h 459199"/>
                  <a:gd name="connsiteX2" fmla="*/ 30083 w 33073"/>
                  <a:gd name="connsiteY2" fmla="*/ 459200 h 459199"/>
                  <a:gd name="connsiteX3" fmla="*/ 0 w 33073"/>
                  <a:gd name="connsiteY3" fmla="*/ 179 h 459199"/>
                </a:gdLst>
                <a:ahLst/>
                <a:cxnLst>
                  <a:cxn ang="0">
                    <a:pos x="connsiteX0" y="connsiteY0"/>
                  </a:cxn>
                  <a:cxn ang="0">
                    <a:pos x="connsiteX1" y="connsiteY1"/>
                  </a:cxn>
                  <a:cxn ang="0">
                    <a:pos x="connsiteX2" y="connsiteY2"/>
                  </a:cxn>
                  <a:cxn ang="0">
                    <a:pos x="connsiteX3" y="connsiteY3"/>
                  </a:cxn>
                </a:cxnLst>
                <a:rect l="l" t="t" r="r" b="b"/>
                <a:pathLst>
                  <a:path w="33073" h="459199">
                    <a:moveTo>
                      <a:pt x="3050" y="0"/>
                    </a:moveTo>
                    <a:lnTo>
                      <a:pt x="33074" y="459020"/>
                    </a:lnTo>
                    <a:lnTo>
                      <a:pt x="30083" y="459200"/>
                    </a:lnTo>
                    <a:lnTo>
                      <a:pt x="0" y="179"/>
                    </a:lnTo>
                    <a:close/>
                  </a:path>
                </a:pathLst>
              </a:custGeom>
              <a:grpFill/>
              <a:ln w="5978" cap="flat">
                <a:noFill/>
                <a:prstDash val="solid"/>
                <a:miter/>
              </a:ln>
            </p:spPr>
            <p:txBody>
              <a:bodyPr rtlCol="0" anchor="ctr"/>
              <a:lstStyle/>
              <a:p>
                <a:endParaRPr lang="en-GB"/>
              </a:p>
            </p:txBody>
          </p:sp>
          <p:sp>
            <p:nvSpPr>
              <p:cNvPr id="3118" name="Vrije vorm: vorm 3117">
                <a:extLst>
                  <a:ext uri="{FF2B5EF4-FFF2-40B4-BE49-F238E27FC236}">
                    <a16:creationId xmlns:a16="http://schemas.microsoft.com/office/drawing/2014/main" id="{C86E9774-35CA-4A42-A955-D955E45F6F0D}"/>
                  </a:ext>
                </a:extLst>
              </p:cNvPr>
              <p:cNvSpPr/>
              <p:nvPr/>
            </p:nvSpPr>
            <p:spPr>
              <a:xfrm>
                <a:off x="6295364" y="5074905"/>
                <a:ext cx="18347" cy="18399"/>
              </a:xfrm>
              <a:custGeom>
                <a:avLst/>
                <a:gdLst>
                  <a:gd name="connsiteX0" fmla="*/ 23 w 18347"/>
                  <a:gd name="connsiteY0" fmla="*/ 9765 h 18399"/>
                  <a:gd name="connsiteX1" fmla="*/ 8576 w 18347"/>
                  <a:gd name="connsiteY1" fmla="*/ 16 h 18399"/>
                  <a:gd name="connsiteX2" fmla="*/ 18324 w 18347"/>
                  <a:gd name="connsiteY2" fmla="*/ 8629 h 18399"/>
                  <a:gd name="connsiteX3" fmla="*/ 9772 w 18347"/>
                  <a:gd name="connsiteY3" fmla="*/ 18377 h 18399"/>
                  <a:gd name="connsiteX4" fmla="*/ 23 w 18347"/>
                  <a:gd name="connsiteY4" fmla="*/ 9765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399">
                    <a:moveTo>
                      <a:pt x="23" y="9765"/>
                    </a:moveTo>
                    <a:cubicBezTo>
                      <a:pt x="-336" y="4681"/>
                      <a:pt x="3492" y="315"/>
                      <a:pt x="8576" y="16"/>
                    </a:cubicBezTo>
                    <a:cubicBezTo>
                      <a:pt x="13600" y="-283"/>
                      <a:pt x="17965" y="3545"/>
                      <a:pt x="18324" y="8629"/>
                    </a:cubicBezTo>
                    <a:cubicBezTo>
                      <a:pt x="18683" y="13712"/>
                      <a:pt x="14856" y="18078"/>
                      <a:pt x="9772" y="18377"/>
                    </a:cubicBezTo>
                    <a:cubicBezTo>
                      <a:pt x="4748" y="18736"/>
                      <a:pt x="382" y="14848"/>
                      <a:pt x="23" y="9765"/>
                    </a:cubicBezTo>
                    <a:close/>
                  </a:path>
                </a:pathLst>
              </a:custGeom>
              <a:grpFill/>
              <a:ln w="5978" cap="flat">
                <a:noFill/>
                <a:prstDash val="solid"/>
                <a:miter/>
              </a:ln>
            </p:spPr>
            <p:txBody>
              <a:bodyPr rtlCol="0" anchor="ctr"/>
              <a:lstStyle/>
              <a:p>
                <a:endParaRPr lang="en-GB"/>
              </a:p>
            </p:txBody>
          </p:sp>
          <p:sp>
            <p:nvSpPr>
              <p:cNvPr id="3119" name="Vrije vorm: vorm 3118">
                <a:extLst>
                  <a:ext uri="{FF2B5EF4-FFF2-40B4-BE49-F238E27FC236}">
                    <a16:creationId xmlns:a16="http://schemas.microsoft.com/office/drawing/2014/main" id="{ACD99628-ADB3-4320-9790-60D7A64A3114}"/>
                  </a:ext>
                </a:extLst>
              </p:cNvPr>
              <p:cNvSpPr/>
              <p:nvPr/>
            </p:nvSpPr>
            <p:spPr>
              <a:xfrm>
                <a:off x="6325387" y="5532968"/>
                <a:ext cx="18340" cy="18393"/>
              </a:xfrm>
              <a:custGeom>
                <a:avLst/>
                <a:gdLst>
                  <a:gd name="connsiteX0" fmla="*/ 23 w 18340"/>
                  <a:gd name="connsiteY0" fmla="*/ 9765 h 18393"/>
                  <a:gd name="connsiteX1" fmla="*/ 9772 w 18340"/>
                  <a:gd name="connsiteY1" fmla="*/ 18377 h 18393"/>
                  <a:gd name="connsiteX2" fmla="*/ 18324 w 18340"/>
                  <a:gd name="connsiteY2" fmla="*/ 8629 h 18393"/>
                  <a:gd name="connsiteX3" fmla="*/ 8576 w 18340"/>
                  <a:gd name="connsiteY3" fmla="*/ 16 h 18393"/>
                  <a:gd name="connsiteX4" fmla="*/ 23 w 18340"/>
                  <a:gd name="connsiteY4" fmla="*/ 9765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3">
                    <a:moveTo>
                      <a:pt x="23" y="9765"/>
                    </a:moveTo>
                    <a:cubicBezTo>
                      <a:pt x="382" y="14848"/>
                      <a:pt x="4748" y="18676"/>
                      <a:pt x="9772" y="18377"/>
                    </a:cubicBezTo>
                    <a:cubicBezTo>
                      <a:pt x="14796" y="18078"/>
                      <a:pt x="18623" y="13712"/>
                      <a:pt x="18324" y="8629"/>
                    </a:cubicBezTo>
                    <a:cubicBezTo>
                      <a:pt x="17965" y="3545"/>
                      <a:pt x="13600" y="-283"/>
                      <a:pt x="8576" y="16"/>
                    </a:cubicBezTo>
                    <a:cubicBezTo>
                      <a:pt x="3492" y="315"/>
                      <a:pt x="-336" y="4682"/>
                      <a:pt x="23" y="9765"/>
                    </a:cubicBezTo>
                    <a:close/>
                  </a:path>
                </a:pathLst>
              </a:custGeom>
              <a:grpFill/>
              <a:ln w="5978" cap="flat">
                <a:noFill/>
                <a:prstDash val="solid"/>
                <a:miter/>
              </a:ln>
            </p:spPr>
            <p:txBody>
              <a:bodyPr rtlCol="0" anchor="ctr"/>
              <a:lstStyle/>
              <a:p>
                <a:endParaRPr lang="en-GB"/>
              </a:p>
            </p:txBody>
          </p:sp>
        </p:grpSp>
        <p:grpSp>
          <p:nvGrpSpPr>
            <p:cNvPr id="759" name="Graphic 3">
              <a:extLst>
                <a:ext uri="{FF2B5EF4-FFF2-40B4-BE49-F238E27FC236}">
                  <a16:creationId xmlns:a16="http://schemas.microsoft.com/office/drawing/2014/main" id="{2D801539-E9DB-427C-8D79-47148C83D8D5}"/>
                </a:ext>
              </a:extLst>
            </p:cNvPr>
            <p:cNvGrpSpPr/>
            <p:nvPr/>
          </p:nvGrpSpPr>
          <p:grpSpPr>
            <a:xfrm>
              <a:off x="4917653" y="1301013"/>
              <a:ext cx="169164" cy="300019"/>
              <a:chOff x="4917653" y="1301013"/>
              <a:chExt cx="169164" cy="300019"/>
            </a:xfrm>
            <a:grpFill/>
          </p:grpSpPr>
          <p:sp>
            <p:nvSpPr>
              <p:cNvPr id="3114" name="Vrije vorm: vorm 3113">
                <a:extLst>
                  <a:ext uri="{FF2B5EF4-FFF2-40B4-BE49-F238E27FC236}">
                    <a16:creationId xmlns:a16="http://schemas.microsoft.com/office/drawing/2014/main" id="{9497F05F-785E-46E0-85FC-505727531D4C}"/>
                  </a:ext>
                </a:extLst>
              </p:cNvPr>
              <p:cNvSpPr/>
              <p:nvPr/>
            </p:nvSpPr>
            <p:spPr>
              <a:xfrm>
                <a:off x="4925264" y="1309041"/>
                <a:ext cx="153943" cy="283964"/>
              </a:xfrm>
              <a:custGeom>
                <a:avLst/>
                <a:gdLst>
                  <a:gd name="connsiteX0" fmla="*/ 153944 w 153943"/>
                  <a:gd name="connsiteY0" fmla="*/ 282469 h 283964"/>
                  <a:gd name="connsiteX1" fmla="*/ 151252 w 153943"/>
                  <a:gd name="connsiteY1" fmla="*/ 283965 h 283964"/>
                  <a:gd name="connsiteX2" fmla="*/ 0 w 153943"/>
                  <a:gd name="connsiteY2" fmla="*/ 1495 h 283964"/>
                  <a:gd name="connsiteX3" fmla="*/ 2691 w 153943"/>
                  <a:gd name="connsiteY3" fmla="*/ 0 h 283964"/>
                </a:gdLst>
                <a:ahLst/>
                <a:cxnLst>
                  <a:cxn ang="0">
                    <a:pos x="connsiteX0" y="connsiteY0"/>
                  </a:cxn>
                  <a:cxn ang="0">
                    <a:pos x="connsiteX1" y="connsiteY1"/>
                  </a:cxn>
                  <a:cxn ang="0">
                    <a:pos x="connsiteX2" y="connsiteY2"/>
                  </a:cxn>
                  <a:cxn ang="0">
                    <a:pos x="connsiteX3" y="connsiteY3"/>
                  </a:cxn>
                </a:cxnLst>
                <a:rect l="l" t="t" r="r" b="b"/>
                <a:pathLst>
                  <a:path w="153943" h="283964">
                    <a:moveTo>
                      <a:pt x="153944" y="282469"/>
                    </a:moveTo>
                    <a:lnTo>
                      <a:pt x="151252" y="283965"/>
                    </a:lnTo>
                    <a:lnTo>
                      <a:pt x="0" y="1495"/>
                    </a:lnTo>
                    <a:lnTo>
                      <a:pt x="2691" y="0"/>
                    </a:lnTo>
                    <a:close/>
                  </a:path>
                </a:pathLst>
              </a:custGeom>
              <a:grpFill/>
              <a:ln w="5978" cap="flat">
                <a:noFill/>
                <a:prstDash val="solid"/>
                <a:miter/>
              </a:ln>
            </p:spPr>
            <p:txBody>
              <a:bodyPr rtlCol="0" anchor="ctr"/>
              <a:lstStyle/>
              <a:p>
                <a:endParaRPr lang="en-GB"/>
              </a:p>
            </p:txBody>
          </p:sp>
          <p:sp>
            <p:nvSpPr>
              <p:cNvPr id="3115" name="Vrije vorm: vorm 3114">
                <a:extLst>
                  <a:ext uri="{FF2B5EF4-FFF2-40B4-BE49-F238E27FC236}">
                    <a16:creationId xmlns:a16="http://schemas.microsoft.com/office/drawing/2014/main" id="{3EA81211-0136-4C1B-9836-1BCE8E5A5170}"/>
                  </a:ext>
                </a:extLst>
              </p:cNvPr>
              <p:cNvSpPr/>
              <p:nvPr/>
            </p:nvSpPr>
            <p:spPr>
              <a:xfrm>
                <a:off x="4917653" y="1301013"/>
                <a:ext cx="18331" cy="18387"/>
              </a:xfrm>
              <a:custGeom>
                <a:avLst/>
                <a:gdLst>
                  <a:gd name="connsiteX0" fmla="*/ 1091 w 18331"/>
                  <a:gd name="connsiteY0" fmla="*/ 13530 h 18387"/>
                  <a:gd name="connsiteX1" fmla="*/ 4799 w 18331"/>
                  <a:gd name="connsiteY1" fmla="*/ 1090 h 18387"/>
                  <a:gd name="connsiteX2" fmla="*/ 17239 w 18331"/>
                  <a:gd name="connsiteY2" fmla="*/ 4858 h 18387"/>
                  <a:gd name="connsiteX3" fmla="*/ 13531 w 18331"/>
                  <a:gd name="connsiteY3" fmla="*/ 17298 h 18387"/>
                  <a:gd name="connsiteX4" fmla="*/ 1091 w 18331"/>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091" y="13530"/>
                    </a:moveTo>
                    <a:cubicBezTo>
                      <a:pt x="-1301" y="9044"/>
                      <a:pt x="374" y="3482"/>
                      <a:pt x="4799" y="1090"/>
                    </a:cubicBezTo>
                    <a:cubicBezTo>
                      <a:pt x="9226" y="-1303"/>
                      <a:pt x="14788" y="372"/>
                      <a:pt x="17239" y="4858"/>
                    </a:cubicBezTo>
                    <a:cubicBezTo>
                      <a:pt x="19632" y="9343"/>
                      <a:pt x="17957" y="14905"/>
                      <a:pt x="13531" y="17298"/>
                    </a:cubicBezTo>
                    <a:cubicBezTo>
                      <a:pt x="9046" y="19690"/>
                      <a:pt x="3484" y="18015"/>
                      <a:pt x="1091" y="13530"/>
                    </a:cubicBezTo>
                    <a:close/>
                  </a:path>
                </a:pathLst>
              </a:custGeom>
              <a:grpFill/>
              <a:ln w="5978" cap="flat">
                <a:noFill/>
                <a:prstDash val="solid"/>
                <a:miter/>
              </a:ln>
            </p:spPr>
            <p:txBody>
              <a:bodyPr rtlCol="0" anchor="ctr"/>
              <a:lstStyle/>
              <a:p>
                <a:endParaRPr lang="en-GB"/>
              </a:p>
            </p:txBody>
          </p:sp>
          <p:sp>
            <p:nvSpPr>
              <p:cNvPr id="3116" name="Vrije vorm: vorm 3115">
                <a:extLst>
                  <a:ext uri="{FF2B5EF4-FFF2-40B4-BE49-F238E27FC236}">
                    <a16:creationId xmlns:a16="http://schemas.microsoft.com/office/drawing/2014/main" id="{56C014B3-FDED-48EB-B863-07F1B6231627}"/>
                  </a:ext>
                </a:extLst>
              </p:cNvPr>
              <p:cNvSpPr/>
              <p:nvPr/>
            </p:nvSpPr>
            <p:spPr>
              <a:xfrm>
                <a:off x="5068487" y="1582645"/>
                <a:ext cx="18331" cy="18387"/>
              </a:xfrm>
              <a:custGeom>
                <a:avLst/>
                <a:gdLst>
                  <a:gd name="connsiteX0" fmla="*/ 1092 w 18331"/>
                  <a:gd name="connsiteY0" fmla="*/ 13530 h 18387"/>
                  <a:gd name="connsiteX1" fmla="*/ 13532 w 18331"/>
                  <a:gd name="connsiteY1" fmla="*/ 17298 h 18387"/>
                  <a:gd name="connsiteX2" fmla="*/ 17240 w 18331"/>
                  <a:gd name="connsiteY2" fmla="*/ 4858 h 18387"/>
                  <a:gd name="connsiteX3" fmla="*/ 4800 w 18331"/>
                  <a:gd name="connsiteY3" fmla="*/ 1090 h 18387"/>
                  <a:gd name="connsiteX4" fmla="*/ 1092 w 18331"/>
                  <a:gd name="connsiteY4" fmla="*/ 1353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7">
                    <a:moveTo>
                      <a:pt x="1092" y="13530"/>
                    </a:moveTo>
                    <a:cubicBezTo>
                      <a:pt x="3484" y="18015"/>
                      <a:pt x="9046" y="19690"/>
                      <a:pt x="13532" y="17298"/>
                    </a:cubicBezTo>
                    <a:cubicBezTo>
                      <a:pt x="17957" y="14905"/>
                      <a:pt x="19632" y="9343"/>
                      <a:pt x="17240" y="4858"/>
                    </a:cubicBezTo>
                    <a:cubicBezTo>
                      <a:pt x="14847" y="372"/>
                      <a:pt x="9285" y="-1303"/>
                      <a:pt x="4800" y="1090"/>
                    </a:cubicBezTo>
                    <a:cubicBezTo>
                      <a:pt x="374" y="3482"/>
                      <a:pt x="-1301" y="9044"/>
                      <a:pt x="1092" y="13530"/>
                    </a:cubicBezTo>
                    <a:close/>
                  </a:path>
                </a:pathLst>
              </a:custGeom>
              <a:grpFill/>
              <a:ln w="5978" cap="flat">
                <a:noFill/>
                <a:prstDash val="solid"/>
                <a:miter/>
              </a:ln>
            </p:spPr>
            <p:txBody>
              <a:bodyPr rtlCol="0" anchor="ctr"/>
              <a:lstStyle/>
              <a:p>
                <a:endParaRPr lang="en-GB"/>
              </a:p>
            </p:txBody>
          </p:sp>
        </p:grpSp>
        <p:grpSp>
          <p:nvGrpSpPr>
            <p:cNvPr id="760" name="Graphic 3">
              <a:extLst>
                <a:ext uri="{FF2B5EF4-FFF2-40B4-BE49-F238E27FC236}">
                  <a16:creationId xmlns:a16="http://schemas.microsoft.com/office/drawing/2014/main" id="{DB427291-1425-46B2-9F8D-79F5A63458B9}"/>
                </a:ext>
              </a:extLst>
            </p:cNvPr>
            <p:cNvGrpSpPr/>
            <p:nvPr/>
          </p:nvGrpSpPr>
          <p:grpSpPr>
            <a:xfrm>
              <a:off x="6337157" y="5347907"/>
              <a:ext cx="64556" cy="326436"/>
              <a:chOff x="6337157" y="5347907"/>
              <a:chExt cx="64556" cy="326436"/>
            </a:xfrm>
            <a:grpFill/>
          </p:grpSpPr>
          <p:sp>
            <p:nvSpPr>
              <p:cNvPr id="3111" name="Vrije vorm: vorm 3110">
                <a:extLst>
                  <a:ext uri="{FF2B5EF4-FFF2-40B4-BE49-F238E27FC236}">
                    <a16:creationId xmlns:a16="http://schemas.microsoft.com/office/drawing/2014/main" id="{75FD46D7-5967-4BD5-BD64-5422749AFF82}"/>
                  </a:ext>
                </a:extLst>
              </p:cNvPr>
              <p:cNvSpPr/>
              <p:nvPr/>
            </p:nvSpPr>
            <p:spPr>
              <a:xfrm>
                <a:off x="6344728" y="5356434"/>
                <a:ext cx="49400" cy="309382"/>
              </a:xfrm>
              <a:custGeom>
                <a:avLst/>
                <a:gdLst>
                  <a:gd name="connsiteX0" fmla="*/ 3050 w 49400"/>
                  <a:gd name="connsiteY0" fmla="*/ 0 h 309382"/>
                  <a:gd name="connsiteX1" fmla="*/ 49401 w 49400"/>
                  <a:gd name="connsiteY1" fmla="*/ 308904 h 309382"/>
                  <a:gd name="connsiteX2" fmla="*/ 46351 w 49400"/>
                  <a:gd name="connsiteY2" fmla="*/ 309383 h 309382"/>
                  <a:gd name="connsiteX3" fmla="*/ 0 w 49400"/>
                  <a:gd name="connsiteY3" fmla="*/ 479 h 309382"/>
                </a:gdLst>
                <a:ahLst/>
                <a:cxnLst>
                  <a:cxn ang="0">
                    <a:pos x="connsiteX0" y="connsiteY0"/>
                  </a:cxn>
                  <a:cxn ang="0">
                    <a:pos x="connsiteX1" y="connsiteY1"/>
                  </a:cxn>
                  <a:cxn ang="0">
                    <a:pos x="connsiteX2" y="connsiteY2"/>
                  </a:cxn>
                  <a:cxn ang="0">
                    <a:pos x="connsiteX3" y="connsiteY3"/>
                  </a:cxn>
                </a:cxnLst>
                <a:rect l="l" t="t" r="r" b="b"/>
                <a:pathLst>
                  <a:path w="49400" h="309382">
                    <a:moveTo>
                      <a:pt x="3050" y="0"/>
                    </a:moveTo>
                    <a:lnTo>
                      <a:pt x="49401" y="308904"/>
                    </a:lnTo>
                    <a:lnTo>
                      <a:pt x="46351" y="309383"/>
                    </a:lnTo>
                    <a:lnTo>
                      <a:pt x="0" y="479"/>
                    </a:lnTo>
                    <a:close/>
                  </a:path>
                </a:pathLst>
              </a:custGeom>
              <a:grpFill/>
              <a:ln w="5978" cap="flat">
                <a:noFill/>
                <a:prstDash val="solid"/>
                <a:miter/>
              </a:ln>
            </p:spPr>
            <p:txBody>
              <a:bodyPr rtlCol="0" anchor="ctr"/>
              <a:lstStyle/>
              <a:p>
                <a:endParaRPr lang="en-GB"/>
              </a:p>
            </p:txBody>
          </p:sp>
          <p:sp>
            <p:nvSpPr>
              <p:cNvPr id="3112" name="Vrije vorm: vorm 3111">
                <a:extLst>
                  <a:ext uri="{FF2B5EF4-FFF2-40B4-BE49-F238E27FC236}">
                    <a16:creationId xmlns:a16="http://schemas.microsoft.com/office/drawing/2014/main" id="{A0C0090D-376E-4B4A-9B3B-47512580275D}"/>
                  </a:ext>
                </a:extLst>
              </p:cNvPr>
              <p:cNvSpPr/>
              <p:nvPr/>
            </p:nvSpPr>
            <p:spPr>
              <a:xfrm>
                <a:off x="6383374" y="5655914"/>
                <a:ext cx="18339" cy="18429"/>
              </a:xfrm>
              <a:custGeom>
                <a:avLst/>
                <a:gdLst>
                  <a:gd name="connsiteX0" fmla="*/ 18230 w 18339"/>
                  <a:gd name="connsiteY0" fmla="*/ 7869 h 18429"/>
                  <a:gd name="connsiteX1" fmla="*/ 10515 w 18339"/>
                  <a:gd name="connsiteY1" fmla="*/ 18335 h 18429"/>
                  <a:gd name="connsiteX2" fmla="*/ 109 w 18339"/>
                  <a:gd name="connsiteY2" fmla="*/ 10560 h 18429"/>
                  <a:gd name="connsiteX3" fmla="*/ 7824 w 18339"/>
                  <a:gd name="connsiteY3" fmla="*/ 94 h 18429"/>
                  <a:gd name="connsiteX4" fmla="*/ 18230 w 18339"/>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18230" y="7869"/>
                    </a:moveTo>
                    <a:cubicBezTo>
                      <a:pt x="19008" y="12893"/>
                      <a:pt x="15539" y="17558"/>
                      <a:pt x="10515" y="18335"/>
                    </a:cubicBezTo>
                    <a:cubicBezTo>
                      <a:pt x="5491" y="19053"/>
                      <a:pt x="827" y="15584"/>
                      <a:pt x="109" y="10560"/>
                    </a:cubicBezTo>
                    <a:cubicBezTo>
                      <a:pt x="-669" y="5536"/>
                      <a:pt x="2800" y="872"/>
                      <a:pt x="7824" y="94"/>
                    </a:cubicBezTo>
                    <a:cubicBezTo>
                      <a:pt x="12788" y="-624"/>
                      <a:pt x="17453" y="2845"/>
                      <a:pt x="18230" y="7869"/>
                    </a:cubicBezTo>
                    <a:close/>
                  </a:path>
                </a:pathLst>
              </a:custGeom>
              <a:grpFill/>
              <a:ln w="5978" cap="flat">
                <a:noFill/>
                <a:prstDash val="solid"/>
                <a:miter/>
              </a:ln>
            </p:spPr>
            <p:txBody>
              <a:bodyPr rtlCol="0" anchor="ctr"/>
              <a:lstStyle/>
              <a:p>
                <a:endParaRPr lang="en-GB"/>
              </a:p>
            </p:txBody>
          </p:sp>
          <p:sp>
            <p:nvSpPr>
              <p:cNvPr id="3113" name="Vrije vorm: vorm 3112">
                <a:extLst>
                  <a:ext uri="{FF2B5EF4-FFF2-40B4-BE49-F238E27FC236}">
                    <a16:creationId xmlns:a16="http://schemas.microsoft.com/office/drawing/2014/main" id="{545BB9F4-3836-4D71-A111-3671FE7BD233}"/>
                  </a:ext>
                </a:extLst>
              </p:cNvPr>
              <p:cNvSpPr/>
              <p:nvPr/>
            </p:nvSpPr>
            <p:spPr>
              <a:xfrm>
                <a:off x="6337157" y="5347907"/>
                <a:ext cx="18326" cy="18429"/>
              </a:xfrm>
              <a:custGeom>
                <a:avLst/>
                <a:gdLst>
                  <a:gd name="connsiteX0" fmla="*/ 18217 w 18326"/>
                  <a:gd name="connsiteY0" fmla="*/ 7869 h 18429"/>
                  <a:gd name="connsiteX1" fmla="*/ 7811 w 18326"/>
                  <a:gd name="connsiteY1" fmla="*/ 94 h 18429"/>
                  <a:gd name="connsiteX2" fmla="*/ 95 w 18326"/>
                  <a:gd name="connsiteY2" fmla="*/ 10560 h 18429"/>
                  <a:gd name="connsiteX3" fmla="*/ 10502 w 18326"/>
                  <a:gd name="connsiteY3" fmla="*/ 18335 h 18429"/>
                  <a:gd name="connsiteX4" fmla="*/ 18217 w 18326"/>
                  <a:gd name="connsiteY4" fmla="*/ 786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8217" y="7869"/>
                    </a:moveTo>
                    <a:cubicBezTo>
                      <a:pt x="17440" y="2845"/>
                      <a:pt x="12775" y="-624"/>
                      <a:pt x="7811" y="94"/>
                    </a:cubicBezTo>
                    <a:cubicBezTo>
                      <a:pt x="2787" y="812"/>
                      <a:pt x="-622" y="5536"/>
                      <a:pt x="95" y="10560"/>
                    </a:cubicBezTo>
                    <a:cubicBezTo>
                      <a:pt x="873" y="15584"/>
                      <a:pt x="5538" y="19053"/>
                      <a:pt x="10502" y="18335"/>
                    </a:cubicBezTo>
                    <a:cubicBezTo>
                      <a:pt x="15526" y="17617"/>
                      <a:pt x="18995" y="12953"/>
                      <a:pt x="18217" y="7869"/>
                    </a:cubicBezTo>
                    <a:close/>
                  </a:path>
                </a:pathLst>
              </a:custGeom>
              <a:grpFill/>
              <a:ln w="5978" cap="flat">
                <a:noFill/>
                <a:prstDash val="solid"/>
                <a:miter/>
              </a:ln>
            </p:spPr>
            <p:txBody>
              <a:bodyPr rtlCol="0" anchor="ctr"/>
              <a:lstStyle/>
              <a:p>
                <a:endParaRPr lang="en-GB"/>
              </a:p>
            </p:txBody>
          </p:sp>
        </p:grpSp>
        <p:grpSp>
          <p:nvGrpSpPr>
            <p:cNvPr id="761" name="Graphic 3">
              <a:extLst>
                <a:ext uri="{FF2B5EF4-FFF2-40B4-BE49-F238E27FC236}">
                  <a16:creationId xmlns:a16="http://schemas.microsoft.com/office/drawing/2014/main" id="{6DA72DFD-E827-421A-841A-BAC7544FD0B5}"/>
                </a:ext>
              </a:extLst>
            </p:cNvPr>
            <p:cNvGrpSpPr/>
            <p:nvPr/>
          </p:nvGrpSpPr>
          <p:grpSpPr>
            <a:xfrm>
              <a:off x="5021368" y="1577046"/>
              <a:ext cx="74517" cy="118818"/>
              <a:chOff x="5021368" y="1577046"/>
              <a:chExt cx="74517" cy="118818"/>
            </a:xfrm>
            <a:grpFill/>
          </p:grpSpPr>
          <p:sp>
            <p:nvSpPr>
              <p:cNvPr id="3108" name="Vrije vorm: vorm 3107">
                <a:extLst>
                  <a:ext uri="{FF2B5EF4-FFF2-40B4-BE49-F238E27FC236}">
                    <a16:creationId xmlns:a16="http://schemas.microsoft.com/office/drawing/2014/main" id="{51AB5165-24F4-4476-912F-DA7FEAAE442E}"/>
                  </a:ext>
                </a:extLst>
              </p:cNvPr>
              <p:cNvSpPr/>
              <p:nvPr/>
            </p:nvSpPr>
            <p:spPr>
              <a:xfrm>
                <a:off x="5028812" y="1584966"/>
                <a:ext cx="59379" cy="102637"/>
              </a:xfrm>
              <a:custGeom>
                <a:avLst/>
                <a:gdLst>
                  <a:gd name="connsiteX0" fmla="*/ 0 w 59379"/>
                  <a:gd name="connsiteY0" fmla="*/ 1492 h 102637"/>
                  <a:gd name="connsiteX1" fmla="*/ 2660 w 59379"/>
                  <a:gd name="connsiteY1" fmla="*/ 0 h 102637"/>
                  <a:gd name="connsiteX2" fmla="*/ 59379 w 59379"/>
                  <a:gd name="connsiteY2" fmla="*/ 101146 h 102637"/>
                  <a:gd name="connsiteX3" fmla="*/ 56719 w 59379"/>
                  <a:gd name="connsiteY3" fmla="*/ 102638 h 102637"/>
                </a:gdLst>
                <a:ahLst/>
                <a:cxnLst>
                  <a:cxn ang="0">
                    <a:pos x="connsiteX0" y="connsiteY0"/>
                  </a:cxn>
                  <a:cxn ang="0">
                    <a:pos x="connsiteX1" y="connsiteY1"/>
                  </a:cxn>
                  <a:cxn ang="0">
                    <a:pos x="connsiteX2" y="connsiteY2"/>
                  </a:cxn>
                  <a:cxn ang="0">
                    <a:pos x="connsiteX3" y="connsiteY3"/>
                  </a:cxn>
                </a:cxnLst>
                <a:rect l="l" t="t" r="r" b="b"/>
                <a:pathLst>
                  <a:path w="59379" h="102637">
                    <a:moveTo>
                      <a:pt x="0" y="1492"/>
                    </a:moveTo>
                    <a:lnTo>
                      <a:pt x="2660" y="0"/>
                    </a:lnTo>
                    <a:lnTo>
                      <a:pt x="59379" y="101146"/>
                    </a:lnTo>
                    <a:lnTo>
                      <a:pt x="56719" y="102638"/>
                    </a:lnTo>
                    <a:close/>
                  </a:path>
                </a:pathLst>
              </a:custGeom>
              <a:grpFill/>
              <a:ln w="5978" cap="flat">
                <a:noFill/>
                <a:prstDash val="solid"/>
                <a:miter/>
              </a:ln>
            </p:spPr>
            <p:txBody>
              <a:bodyPr rtlCol="0" anchor="ctr"/>
              <a:lstStyle/>
              <a:p>
                <a:endParaRPr lang="en-GB"/>
              </a:p>
            </p:txBody>
          </p:sp>
          <p:sp>
            <p:nvSpPr>
              <p:cNvPr id="3109" name="Vrije vorm: vorm 3108">
                <a:extLst>
                  <a:ext uri="{FF2B5EF4-FFF2-40B4-BE49-F238E27FC236}">
                    <a16:creationId xmlns:a16="http://schemas.microsoft.com/office/drawing/2014/main" id="{E9ECE4CE-5751-418B-B821-BBBE5557D1D5}"/>
                  </a:ext>
                </a:extLst>
              </p:cNvPr>
              <p:cNvSpPr/>
              <p:nvPr/>
            </p:nvSpPr>
            <p:spPr>
              <a:xfrm>
                <a:off x="5077540" y="1677429"/>
                <a:ext cx="18346" cy="18435"/>
              </a:xfrm>
              <a:custGeom>
                <a:avLst/>
                <a:gdLst>
                  <a:gd name="connsiteX0" fmla="*/ 17158 w 18346"/>
                  <a:gd name="connsiteY0" fmla="*/ 4689 h 18435"/>
                  <a:gd name="connsiteX1" fmla="*/ 13689 w 18346"/>
                  <a:gd name="connsiteY1" fmla="*/ 17248 h 18435"/>
                  <a:gd name="connsiteX2" fmla="*/ 1189 w 18346"/>
                  <a:gd name="connsiteY2" fmla="*/ 13720 h 18435"/>
                  <a:gd name="connsiteX3" fmla="*/ 4658 w 18346"/>
                  <a:gd name="connsiteY3" fmla="*/ 1160 h 18435"/>
                  <a:gd name="connsiteX4" fmla="*/ 17158 w 18346"/>
                  <a:gd name="connsiteY4" fmla="*/ 4689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5">
                    <a:moveTo>
                      <a:pt x="17158" y="4689"/>
                    </a:moveTo>
                    <a:cubicBezTo>
                      <a:pt x="19669" y="9115"/>
                      <a:pt x="18054" y="14736"/>
                      <a:pt x="13689" y="17248"/>
                    </a:cubicBezTo>
                    <a:cubicBezTo>
                      <a:pt x="9263" y="19760"/>
                      <a:pt x="3701" y="18146"/>
                      <a:pt x="1189" y="13720"/>
                    </a:cubicBezTo>
                    <a:cubicBezTo>
                      <a:pt x="-1323" y="9294"/>
                      <a:pt x="292" y="3672"/>
                      <a:pt x="4658" y="1160"/>
                    </a:cubicBezTo>
                    <a:cubicBezTo>
                      <a:pt x="9083" y="-1292"/>
                      <a:pt x="14705" y="263"/>
                      <a:pt x="17158" y="4689"/>
                    </a:cubicBezTo>
                    <a:close/>
                  </a:path>
                </a:pathLst>
              </a:custGeom>
              <a:grpFill/>
              <a:ln w="5978" cap="flat">
                <a:noFill/>
                <a:prstDash val="solid"/>
                <a:miter/>
              </a:ln>
            </p:spPr>
            <p:txBody>
              <a:bodyPr rtlCol="0" anchor="ctr"/>
              <a:lstStyle/>
              <a:p>
                <a:endParaRPr lang="en-GB"/>
              </a:p>
            </p:txBody>
          </p:sp>
          <p:sp>
            <p:nvSpPr>
              <p:cNvPr id="3110" name="Vrije vorm: vorm 3109">
                <a:extLst>
                  <a:ext uri="{FF2B5EF4-FFF2-40B4-BE49-F238E27FC236}">
                    <a16:creationId xmlns:a16="http://schemas.microsoft.com/office/drawing/2014/main" id="{C9AA6AFE-5F4B-40A8-978D-CAAE22415B8D}"/>
                  </a:ext>
                </a:extLst>
              </p:cNvPr>
              <p:cNvSpPr/>
              <p:nvPr/>
            </p:nvSpPr>
            <p:spPr>
              <a:xfrm>
                <a:off x="5021368" y="1577046"/>
                <a:ext cx="18358" cy="18461"/>
              </a:xfrm>
              <a:custGeom>
                <a:avLst/>
                <a:gdLst>
                  <a:gd name="connsiteX0" fmla="*/ 17170 w 18358"/>
                  <a:gd name="connsiteY0" fmla="*/ 4715 h 18461"/>
                  <a:gd name="connsiteX1" fmla="*/ 4670 w 18358"/>
                  <a:gd name="connsiteY1" fmla="*/ 1187 h 18461"/>
                  <a:gd name="connsiteX2" fmla="*/ 1202 w 18358"/>
                  <a:gd name="connsiteY2" fmla="*/ 13746 h 18461"/>
                  <a:gd name="connsiteX3" fmla="*/ 13701 w 18358"/>
                  <a:gd name="connsiteY3" fmla="*/ 17275 h 18461"/>
                  <a:gd name="connsiteX4" fmla="*/ 17170 w 18358"/>
                  <a:gd name="connsiteY4" fmla="*/ 4715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61">
                    <a:moveTo>
                      <a:pt x="17170" y="4715"/>
                    </a:moveTo>
                    <a:cubicBezTo>
                      <a:pt x="14658" y="290"/>
                      <a:pt x="9096" y="-1325"/>
                      <a:pt x="4670" y="1187"/>
                    </a:cubicBezTo>
                    <a:cubicBezTo>
                      <a:pt x="245" y="3639"/>
                      <a:pt x="-1311" y="9261"/>
                      <a:pt x="1202" y="13746"/>
                    </a:cubicBezTo>
                    <a:cubicBezTo>
                      <a:pt x="3713" y="18172"/>
                      <a:pt x="9275" y="19787"/>
                      <a:pt x="13701" y="17275"/>
                    </a:cubicBezTo>
                    <a:cubicBezTo>
                      <a:pt x="18067" y="14763"/>
                      <a:pt x="19682" y="9141"/>
                      <a:pt x="17170" y="4715"/>
                    </a:cubicBezTo>
                    <a:close/>
                  </a:path>
                </a:pathLst>
              </a:custGeom>
              <a:grpFill/>
              <a:ln w="5978" cap="flat">
                <a:noFill/>
                <a:prstDash val="solid"/>
                <a:miter/>
              </a:ln>
            </p:spPr>
            <p:txBody>
              <a:bodyPr rtlCol="0" anchor="ctr"/>
              <a:lstStyle/>
              <a:p>
                <a:endParaRPr lang="en-GB"/>
              </a:p>
            </p:txBody>
          </p:sp>
        </p:grpSp>
        <p:grpSp>
          <p:nvGrpSpPr>
            <p:cNvPr id="762" name="Graphic 3">
              <a:extLst>
                <a:ext uri="{FF2B5EF4-FFF2-40B4-BE49-F238E27FC236}">
                  <a16:creationId xmlns:a16="http://schemas.microsoft.com/office/drawing/2014/main" id="{1D461CA8-E7D6-442D-8303-2263AE18735B}"/>
                </a:ext>
              </a:extLst>
            </p:cNvPr>
            <p:cNvGrpSpPr/>
            <p:nvPr/>
          </p:nvGrpSpPr>
          <p:grpSpPr>
            <a:xfrm>
              <a:off x="6234679" y="5086699"/>
              <a:ext cx="34039" cy="158665"/>
              <a:chOff x="6234679" y="5086699"/>
              <a:chExt cx="34039" cy="158665"/>
            </a:xfrm>
            <a:grpFill/>
          </p:grpSpPr>
          <p:sp>
            <p:nvSpPr>
              <p:cNvPr id="3105" name="Vrije vorm: vorm 3104">
                <a:extLst>
                  <a:ext uri="{FF2B5EF4-FFF2-40B4-BE49-F238E27FC236}">
                    <a16:creationId xmlns:a16="http://schemas.microsoft.com/office/drawing/2014/main" id="{FF3BA3FF-A003-48DE-9929-42E859B1FC35}"/>
                  </a:ext>
                </a:extLst>
              </p:cNvPr>
              <p:cNvSpPr/>
              <p:nvPr/>
            </p:nvSpPr>
            <p:spPr>
              <a:xfrm>
                <a:off x="6242219" y="5095256"/>
                <a:ext cx="18898" cy="141504"/>
              </a:xfrm>
              <a:custGeom>
                <a:avLst/>
                <a:gdLst>
                  <a:gd name="connsiteX0" fmla="*/ 3050 w 18898"/>
                  <a:gd name="connsiteY0" fmla="*/ 0 h 141504"/>
                  <a:gd name="connsiteX1" fmla="*/ 18899 w 18898"/>
                  <a:gd name="connsiteY1" fmla="*/ 141145 h 141504"/>
                  <a:gd name="connsiteX2" fmla="*/ 15849 w 18898"/>
                  <a:gd name="connsiteY2" fmla="*/ 141504 h 141504"/>
                  <a:gd name="connsiteX3" fmla="*/ 0 w 18898"/>
                  <a:gd name="connsiteY3" fmla="*/ 359 h 141504"/>
                </a:gdLst>
                <a:ahLst/>
                <a:cxnLst>
                  <a:cxn ang="0">
                    <a:pos x="connsiteX0" y="connsiteY0"/>
                  </a:cxn>
                  <a:cxn ang="0">
                    <a:pos x="connsiteX1" y="connsiteY1"/>
                  </a:cxn>
                  <a:cxn ang="0">
                    <a:pos x="connsiteX2" y="connsiteY2"/>
                  </a:cxn>
                  <a:cxn ang="0">
                    <a:pos x="connsiteX3" y="connsiteY3"/>
                  </a:cxn>
                </a:cxnLst>
                <a:rect l="l" t="t" r="r" b="b"/>
                <a:pathLst>
                  <a:path w="18898" h="141504">
                    <a:moveTo>
                      <a:pt x="3050" y="0"/>
                    </a:moveTo>
                    <a:lnTo>
                      <a:pt x="18899" y="141145"/>
                    </a:lnTo>
                    <a:lnTo>
                      <a:pt x="15849" y="141504"/>
                    </a:lnTo>
                    <a:lnTo>
                      <a:pt x="0" y="359"/>
                    </a:lnTo>
                    <a:close/>
                  </a:path>
                </a:pathLst>
              </a:custGeom>
              <a:grpFill/>
              <a:ln w="5978" cap="flat">
                <a:noFill/>
                <a:prstDash val="solid"/>
                <a:miter/>
              </a:ln>
            </p:spPr>
            <p:txBody>
              <a:bodyPr rtlCol="0" anchor="ctr"/>
              <a:lstStyle/>
              <a:p>
                <a:endParaRPr lang="en-GB"/>
              </a:p>
            </p:txBody>
          </p:sp>
          <p:sp>
            <p:nvSpPr>
              <p:cNvPr id="3106" name="Vrije vorm: vorm 3105">
                <a:extLst>
                  <a:ext uri="{FF2B5EF4-FFF2-40B4-BE49-F238E27FC236}">
                    <a16:creationId xmlns:a16="http://schemas.microsoft.com/office/drawing/2014/main" id="{DE8B7F7B-7A7A-4F83-9B93-E8C8C1345239}"/>
                  </a:ext>
                </a:extLst>
              </p:cNvPr>
              <p:cNvSpPr/>
              <p:nvPr/>
            </p:nvSpPr>
            <p:spPr>
              <a:xfrm>
                <a:off x="6250408" y="5226947"/>
                <a:ext cx="18309" cy="18417"/>
              </a:xfrm>
              <a:custGeom>
                <a:avLst/>
                <a:gdLst>
                  <a:gd name="connsiteX0" fmla="*/ 18246 w 18309"/>
                  <a:gd name="connsiteY0" fmla="*/ 8198 h 18417"/>
                  <a:gd name="connsiteX1" fmla="*/ 10172 w 18309"/>
                  <a:gd name="connsiteY1" fmla="*/ 18365 h 18417"/>
                  <a:gd name="connsiteX2" fmla="*/ 64 w 18309"/>
                  <a:gd name="connsiteY2" fmla="*/ 10232 h 18417"/>
                  <a:gd name="connsiteX3" fmla="*/ 8138 w 18309"/>
                  <a:gd name="connsiteY3" fmla="*/ 64 h 18417"/>
                  <a:gd name="connsiteX4" fmla="*/ 18246 w 18309"/>
                  <a:gd name="connsiteY4" fmla="*/ 8198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17">
                    <a:moveTo>
                      <a:pt x="18246" y="8198"/>
                    </a:moveTo>
                    <a:cubicBezTo>
                      <a:pt x="18843" y="13281"/>
                      <a:pt x="15195" y="17827"/>
                      <a:pt x="10172" y="18365"/>
                    </a:cubicBezTo>
                    <a:cubicBezTo>
                      <a:pt x="5148" y="18903"/>
                      <a:pt x="602" y="15255"/>
                      <a:pt x="64" y="10232"/>
                    </a:cubicBezTo>
                    <a:cubicBezTo>
                      <a:pt x="-534" y="5148"/>
                      <a:pt x="3114" y="602"/>
                      <a:pt x="8138" y="64"/>
                    </a:cubicBezTo>
                    <a:cubicBezTo>
                      <a:pt x="13162" y="-534"/>
                      <a:pt x="17707" y="3114"/>
                      <a:pt x="18246" y="8198"/>
                    </a:cubicBezTo>
                    <a:close/>
                  </a:path>
                </a:pathLst>
              </a:custGeom>
              <a:grpFill/>
              <a:ln w="5978" cap="flat">
                <a:noFill/>
                <a:prstDash val="solid"/>
                <a:miter/>
              </a:ln>
            </p:spPr>
            <p:txBody>
              <a:bodyPr rtlCol="0" anchor="ctr"/>
              <a:lstStyle/>
              <a:p>
                <a:endParaRPr lang="en-GB"/>
              </a:p>
            </p:txBody>
          </p:sp>
          <p:sp>
            <p:nvSpPr>
              <p:cNvPr id="3107" name="Vrije vorm: vorm 3106">
                <a:extLst>
                  <a:ext uri="{FF2B5EF4-FFF2-40B4-BE49-F238E27FC236}">
                    <a16:creationId xmlns:a16="http://schemas.microsoft.com/office/drawing/2014/main" id="{F2F30DF2-59AB-4B8F-AF3D-F412732D30A0}"/>
                  </a:ext>
                </a:extLst>
              </p:cNvPr>
              <p:cNvSpPr/>
              <p:nvPr/>
            </p:nvSpPr>
            <p:spPr>
              <a:xfrm>
                <a:off x="6234679" y="5086699"/>
                <a:ext cx="18298" cy="18429"/>
              </a:xfrm>
              <a:custGeom>
                <a:avLst/>
                <a:gdLst>
                  <a:gd name="connsiteX0" fmla="*/ 18246 w 18298"/>
                  <a:gd name="connsiteY0" fmla="*/ 8198 h 18429"/>
                  <a:gd name="connsiteX1" fmla="*/ 8138 w 18298"/>
                  <a:gd name="connsiteY1" fmla="*/ 64 h 18429"/>
                  <a:gd name="connsiteX2" fmla="*/ 64 w 18298"/>
                  <a:gd name="connsiteY2" fmla="*/ 10231 h 18429"/>
                  <a:gd name="connsiteX3" fmla="*/ 10172 w 18298"/>
                  <a:gd name="connsiteY3" fmla="*/ 18365 h 18429"/>
                  <a:gd name="connsiteX4" fmla="*/ 18246 w 18298"/>
                  <a:gd name="connsiteY4" fmla="*/ 819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9">
                    <a:moveTo>
                      <a:pt x="18246" y="8198"/>
                    </a:moveTo>
                    <a:cubicBezTo>
                      <a:pt x="17648" y="3114"/>
                      <a:pt x="13162" y="-534"/>
                      <a:pt x="8138" y="64"/>
                    </a:cubicBezTo>
                    <a:cubicBezTo>
                      <a:pt x="3114" y="602"/>
                      <a:pt x="-534" y="5148"/>
                      <a:pt x="64" y="10231"/>
                    </a:cubicBezTo>
                    <a:cubicBezTo>
                      <a:pt x="662" y="15315"/>
                      <a:pt x="5148" y="18963"/>
                      <a:pt x="10172" y="18365"/>
                    </a:cubicBezTo>
                    <a:cubicBezTo>
                      <a:pt x="15195" y="17827"/>
                      <a:pt x="18784" y="13282"/>
                      <a:pt x="18246" y="8198"/>
                    </a:cubicBezTo>
                    <a:close/>
                  </a:path>
                </a:pathLst>
              </a:custGeom>
              <a:grpFill/>
              <a:ln w="5978" cap="flat">
                <a:noFill/>
                <a:prstDash val="solid"/>
                <a:miter/>
              </a:ln>
            </p:spPr>
            <p:txBody>
              <a:bodyPr rtlCol="0" anchor="ctr"/>
              <a:lstStyle/>
              <a:p>
                <a:endParaRPr lang="en-GB"/>
              </a:p>
            </p:txBody>
          </p:sp>
        </p:grpSp>
        <p:grpSp>
          <p:nvGrpSpPr>
            <p:cNvPr id="763" name="Graphic 3">
              <a:extLst>
                <a:ext uri="{FF2B5EF4-FFF2-40B4-BE49-F238E27FC236}">
                  <a16:creationId xmlns:a16="http://schemas.microsoft.com/office/drawing/2014/main" id="{DA5F253B-0740-4190-95DD-85E7631096E9}"/>
                </a:ext>
              </a:extLst>
            </p:cNvPr>
            <p:cNvGrpSpPr/>
            <p:nvPr/>
          </p:nvGrpSpPr>
          <p:grpSpPr>
            <a:xfrm>
              <a:off x="5106938" y="1800592"/>
              <a:ext cx="26714" cy="32723"/>
              <a:chOff x="5106938" y="1800592"/>
              <a:chExt cx="26714" cy="32723"/>
            </a:xfrm>
            <a:grpFill/>
          </p:grpSpPr>
          <p:sp>
            <p:nvSpPr>
              <p:cNvPr id="3103" name="Vrije vorm: vorm 3102">
                <a:extLst>
                  <a:ext uri="{FF2B5EF4-FFF2-40B4-BE49-F238E27FC236}">
                    <a16:creationId xmlns:a16="http://schemas.microsoft.com/office/drawing/2014/main" id="{24B7E3D1-30A1-46C1-A343-88679DDBEE34}"/>
                  </a:ext>
                </a:extLst>
              </p:cNvPr>
              <p:cNvSpPr/>
              <p:nvPr/>
            </p:nvSpPr>
            <p:spPr>
              <a:xfrm>
                <a:off x="5106938" y="1800592"/>
                <a:ext cx="18341" cy="18429"/>
              </a:xfrm>
              <a:custGeom>
                <a:avLst/>
                <a:gdLst>
                  <a:gd name="connsiteX0" fmla="*/ 17065 w 18341"/>
                  <a:gd name="connsiteY0" fmla="*/ 4550 h 18429"/>
                  <a:gd name="connsiteX1" fmla="*/ 13836 w 18341"/>
                  <a:gd name="connsiteY1" fmla="*/ 17169 h 18429"/>
                  <a:gd name="connsiteX2" fmla="*/ 1276 w 18341"/>
                  <a:gd name="connsiteY2" fmla="*/ 13880 h 18429"/>
                  <a:gd name="connsiteX3" fmla="*/ 4506 w 18341"/>
                  <a:gd name="connsiteY3" fmla="*/ 1260 h 18429"/>
                  <a:gd name="connsiteX4" fmla="*/ 17065 w 18341"/>
                  <a:gd name="connsiteY4" fmla="*/ 455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7065" y="4550"/>
                    </a:moveTo>
                    <a:cubicBezTo>
                      <a:pt x="19637" y="8916"/>
                      <a:pt x="18201" y="14597"/>
                      <a:pt x="13836" y="17169"/>
                    </a:cubicBezTo>
                    <a:cubicBezTo>
                      <a:pt x="9470" y="19741"/>
                      <a:pt x="3848" y="18246"/>
                      <a:pt x="1276" y="13880"/>
                    </a:cubicBezTo>
                    <a:cubicBezTo>
                      <a:pt x="-1296" y="9514"/>
                      <a:pt x="140" y="3832"/>
                      <a:pt x="4506" y="1260"/>
                    </a:cubicBezTo>
                    <a:cubicBezTo>
                      <a:pt x="8872" y="-1311"/>
                      <a:pt x="14493" y="184"/>
                      <a:pt x="17065" y="4550"/>
                    </a:cubicBezTo>
                    <a:close/>
                  </a:path>
                </a:pathLst>
              </a:custGeom>
              <a:grpFill/>
              <a:ln w="5978" cap="flat">
                <a:noFill/>
                <a:prstDash val="solid"/>
                <a:miter/>
              </a:ln>
            </p:spPr>
            <p:txBody>
              <a:bodyPr rtlCol="0" anchor="ctr"/>
              <a:lstStyle/>
              <a:p>
                <a:endParaRPr lang="en-GB"/>
              </a:p>
            </p:txBody>
          </p:sp>
          <p:sp>
            <p:nvSpPr>
              <p:cNvPr id="3104" name="Vrije vorm: vorm 3103">
                <a:extLst>
                  <a:ext uri="{FF2B5EF4-FFF2-40B4-BE49-F238E27FC236}">
                    <a16:creationId xmlns:a16="http://schemas.microsoft.com/office/drawing/2014/main" id="{3E13BEEB-F7AC-4629-B9C8-D72EBD95346A}"/>
                  </a:ext>
                </a:extLst>
              </p:cNvPr>
              <p:cNvSpPr/>
              <p:nvPr/>
            </p:nvSpPr>
            <p:spPr>
              <a:xfrm>
                <a:off x="5115311" y="1814886"/>
                <a:ext cx="18341" cy="18429"/>
              </a:xfrm>
              <a:custGeom>
                <a:avLst/>
                <a:gdLst>
                  <a:gd name="connsiteX0" fmla="*/ 17065 w 18341"/>
                  <a:gd name="connsiteY0" fmla="*/ 4550 h 18429"/>
                  <a:gd name="connsiteX1" fmla="*/ 4505 w 18341"/>
                  <a:gd name="connsiteY1" fmla="*/ 1260 h 18429"/>
                  <a:gd name="connsiteX2" fmla="*/ 1276 w 18341"/>
                  <a:gd name="connsiteY2" fmla="*/ 13880 h 18429"/>
                  <a:gd name="connsiteX3" fmla="*/ 13835 w 18341"/>
                  <a:gd name="connsiteY3" fmla="*/ 17169 h 18429"/>
                  <a:gd name="connsiteX4" fmla="*/ 17065 w 18341"/>
                  <a:gd name="connsiteY4" fmla="*/ 455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7065" y="4550"/>
                    </a:moveTo>
                    <a:cubicBezTo>
                      <a:pt x="14493" y="184"/>
                      <a:pt x="8872" y="-1311"/>
                      <a:pt x="4505" y="1260"/>
                    </a:cubicBezTo>
                    <a:cubicBezTo>
                      <a:pt x="140" y="3832"/>
                      <a:pt x="-1296" y="9454"/>
                      <a:pt x="1276" y="13880"/>
                    </a:cubicBezTo>
                    <a:cubicBezTo>
                      <a:pt x="3848" y="18246"/>
                      <a:pt x="9470" y="19741"/>
                      <a:pt x="13835" y="17169"/>
                    </a:cubicBezTo>
                    <a:cubicBezTo>
                      <a:pt x="18202" y="14538"/>
                      <a:pt x="19637" y="8916"/>
                      <a:pt x="17065" y="4550"/>
                    </a:cubicBezTo>
                    <a:close/>
                  </a:path>
                </a:pathLst>
              </a:custGeom>
              <a:grpFill/>
              <a:ln w="5978" cap="flat">
                <a:noFill/>
                <a:prstDash val="solid"/>
                <a:miter/>
              </a:ln>
            </p:spPr>
            <p:txBody>
              <a:bodyPr rtlCol="0" anchor="ctr"/>
              <a:lstStyle/>
              <a:p>
                <a:endParaRPr lang="en-GB"/>
              </a:p>
            </p:txBody>
          </p:sp>
        </p:grpSp>
        <p:grpSp>
          <p:nvGrpSpPr>
            <p:cNvPr id="764" name="Graphic 3">
              <a:extLst>
                <a:ext uri="{FF2B5EF4-FFF2-40B4-BE49-F238E27FC236}">
                  <a16:creationId xmlns:a16="http://schemas.microsoft.com/office/drawing/2014/main" id="{FFFD4F4B-9868-4A37-A34B-D08B8EA3146C}"/>
                </a:ext>
              </a:extLst>
            </p:cNvPr>
            <p:cNvGrpSpPr/>
            <p:nvPr/>
          </p:nvGrpSpPr>
          <p:grpSpPr>
            <a:xfrm>
              <a:off x="6304279" y="5376810"/>
              <a:ext cx="20432" cy="34305"/>
              <a:chOff x="6304279" y="5376810"/>
              <a:chExt cx="20432" cy="34305"/>
            </a:xfrm>
            <a:grpFill/>
          </p:grpSpPr>
          <p:sp>
            <p:nvSpPr>
              <p:cNvPr id="3100" name="Vrije vorm: vorm 3099">
                <a:extLst>
                  <a:ext uri="{FF2B5EF4-FFF2-40B4-BE49-F238E27FC236}">
                    <a16:creationId xmlns:a16="http://schemas.microsoft.com/office/drawing/2014/main" id="{18AACF78-7FEB-475D-86E8-EC0CED278535}"/>
                  </a:ext>
                </a:extLst>
              </p:cNvPr>
              <p:cNvSpPr/>
              <p:nvPr/>
            </p:nvSpPr>
            <p:spPr>
              <a:xfrm>
                <a:off x="6311894" y="5385381"/>
                <a:ext cx="5203" cy="17164"/>
              </a:xfrm>
              <a:custGeom>
                <a:avLst/>
                <a:gdLst>
                  <a:gd name="connsiteX0" fmla="*/ 2990 w 5203"/>
                  <a:gd name="connsiteY0" fmla="*/ 0 h 17164"/>
                  <a:gd name="connsiteX1" fmla="*/ 5203 w 5203"/>
                  <a:gd name="connsiteY1" fmla="*/ 16806 h 17164"/>
                  <a:gd name="connsiteX2" fmla="*/ 2153 w 5203"/>
                  <a:gd name="connsiteY2" fmla="*/ 17165 h 17164"/>
                  <a:gd name="connsiteX3" fmla="*/ 0 w 5203"/>
                  <a:gd name="connsiteY3" fmla="*/ 359 h 17164"/>
                </a:gdLst>
                <a:ahLst/>
                <a:cxnLst>
                  <a:cxn ang="0">
                    <a:pos x="connsiteX0" y="connsiteY0"/>
                  </a:cxn>
                  <a:cxn ang="0">
                    <a:pos x="connsiteX1" y="connsiteY1"/>
                  </a:cxn>
                  <a:cxn ang="0">
                    <a:pos x="connsiteX2" y="connsiteY2"/>
                  </a:cxn>
                  <a:cxn ang="0">
                    <a:pos x="connsiteX3" y="connsiteY3"/>
                  </a:cxn>
                </a:cxnLst>
                <a:rect l="l" t="t" r="r" b="b"/>
                <a:pathLst>
                  <a:path w="5203" h="17164">
                    <a:moveTo>
                      <a:pt x="2990" y="0"/>
                    </a:moveTo>
                    <a:lnTo>
                      <a:pt x="5203" y="16806"/>
                    </a:lnTo>
                    <a:lnTo>
                      <a:pt x="2153" y="17165"/>
                    </a:lnTo>
                    <a:lnTo>
                      <a:pt x="0" y="359"/>
                    </a:lnTo>
                    <a:close/>
                  </a:path>
                </a:pathLst>
              </a:custGeom>
              <a:grpFill/>
              <a:ln w="5978" cap="flat">
                <a:noFill/>
                <a:prstDash val="solid"/>
                <a:miter/>
              </a:ln>
            </p:spPr>
            <p:txBody>
              <a:bodyPr rtlCol="0" anchor="ctr"/>
              <a:lstStyle/>
              <a:p>
                <a:endParaRPr lang="en-GB"/>
              </a:p>
            </p:txBody>
          </p:sp>
          <p:sp>
            <p:nvSpPr>
              <p:cNvPr id="3101" name="Vrije vorm: vorm 3100">
                <a:extLst>
                  <a:ext uri="{FF2B5EF4-FFF2-40B4-BE49-F238E27FC236}">
                    <a16:creationId xmlns:a16="http://schemas.microsoft.com/office/drawing/2014/main" id="{BB7CFABE-EE63-4CCE-801E-56B5E00FE316}"/>
                  </a:ext>
                </a:extLst>
              </p:cNvPr>
              <p:cNvSpPr/>
              <p:nvPr/>
            </p:nvSpPr>
            <p:spPr>
              <a:xfrm>
                <a:off x="6304279" y="5376810"/>
                <a:ext cx="18339" cy="18397"/>
              </a:xfrm>
              <a:custGeom>
                <a:avLst/>
                <a:gdLst>
                  <a:gd name="connsiteX0" fmla="*/ 79 w 18339"/>
                  <a:gd name="connsiteY0" fmla="*/ 10364 h 18397"/>
                  <a:gd name="connsiteX1" fmla="*/ 7973 w 18339"/>
                  <a:gd name="connsiteY1" fmla="*/ 78 h 18397"/>
                  <a:gd name="connsiteX2" fmla="*/ 18261 w 18339"/>
                  <a:gd name="connsiteY2" fmla="*/ 8032 h 18397"/>
                  <a:gd name="connsiteX3" fmla="*/ 10366 w 18339"/>
                  <a:gd name="connsiteY3" fmla="*/ 18319 h 18397"/>
                  <a:gd name="connsiteX4" fmla="*/ 79 w 18339"/>
                  <a:gd name="connsiteY4" fmla="*/ 10364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7">
                    <a:moveTo>
                      <a:pt x="79" y="10364"/>
                    </a:moveTo>
                    <a:cubicBezTo>
                      <a:pt x="-579" y="5341"/>
                      <a:pt x="2950" y="676"/>
                      <a:pt x="7973" y="78"/>
                    </a:cubicBezTo>
                    <a:cubicBezTo>
                      <a:pt x="12997" y="-580"/>
                      <a:pt x="17603" y="3008"/>
                      <a:pt x="18261" y="8032"/>
                    </a:cubicBezTo>
                    <a:cubicBezTo>
                      <a:pt x="18918" y="13056"/>
                      <a:pt x="15390" y="17721"/>
                      <a:pt x="10366" y="18319"/>
                    </a:cubicBezTo>
                    <a:cubicBezTo>
                      <a:pt x="5342" y="18977"/>
                      <a:pt x="737" y="15448"/>
                      <a:pt x="79" y="10364"/>
                    </a:cubicBezTo>
                    <a:close/>
                  </a:path>
                </a:pathLst>
              </a:custGeom>
              <a:grpFill/>
              <a:ln w="5978" cap="flat">
                <a:noFill/>
                <a:prstDash val="solid"/>
                <a:miter/>
              </a:ln>
            </p:spPr>
            <p:txBody>
              <a:bodyPr rtlCol="0" anchor="ctr"/>
              <a:lstStyle/>
              <a:p>
                <a:endParaRPr lang="en-GB"/>
              </a:p>
            </p:txBody>
          </p:sp>
          <p:sp>
            <p:nvSpPr>
              <p:cNvPr id="3102" name="Vrije vorm: vorm 3101">
                <a:extLst>
                  <a:ext uri="{FF2B5EF4-FFF2-40B4-BE49-F238E27FC236}">
                    <a16:creationId xmlns:a16="http://schemas.microsoft.com/office/drawing/2014/main" id="{06F5CBE9-5BDF-4E8A-8FE9-78C43E8EA6B5}"/>
                  </a:ext>
                </a:extLst>
              </p:cNvPr>
              <p:cNvSpPr/>
              <p:nvPr/>
            </p:nvSpPr>
            <p:spPr>
              <a:xfrm>
                <a:off x="6306373" y="5392719"/>
                <a:ext cx="18339" cy="18396"/>
              </a:xfrm>
              <a:custGeom>
                <a:avLst/>
                <a:gdLst>
                  <a:gd name="connsiteX0" fmla="*/ 79 w 18339"/>
                  <a:gd name="connsiteY0" fmla="*/ 10365 h 18396"/>
                  <a:gd name="connsiteX1" fmla="*/ 10366 w 18339"/>
                  <a:gd name="connsiteY1" fmla="*/ 18319 h 18396"/>
                  <a:gd name="connsiteX2" fmla="*/ 18260 w 18339"/>
                  <a:gd name="connsiteY2" fmla="*/ 8032 h 18396"/>
                  <a:gd name="connsiteX3" fmla="*/ 7973 w 18339"/>
                  <a:gd name="connsiteY3" fmla="*/ 78 h 18396"/>
                  <a:gd name="connsiteX4" fmla="*/ 79 w 18339"/>
                  <a:gd name="connsiteY4" fmla="*/ 10365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6">
                    <a:moveTo>
                      <a:pt x="79" y="10365"/>
                    </a:moveTo>
                    <a:cubicBezTo>
                      <a:pt x="737" y="15388"/>
                      <a:pt x="5342" y="18977"/>
                      <a:pt x="10366" y="18319"/>
                    </a:cubicBezTo>
                    <a:cubicBezTo>
                      <a:pt x="15390" y="17661"/>
                      <a:pt x="18918" y="13056"/>
                      <a:pt x="18260" y="8032"/>
                    </a:cubicBezTo>
                    <a:cubicBezTo>
                      <a:pt x="17602" y="3008"/>
                      <a:pt x="12997" y="-580"/>
                      <a:pt x="7973" y="78"/>
                    </a:cubicBezTo>
                    <a:cubicBezTo>
                      <a:pt x="2950" y="676"/>
                      <a:pt x="-579" y="5281"/>
                      <a:pt x="79" y="10365"/>
                    </a:cubicBezTo>
                    <a:close/>
                  </a:path>
                </a:pathLst>
              </a:custGeom>
              <a:grpFill/>
              <a:ln w="5978" cap="flat">
                <a:noFill/>
                <a:prstDash val="solid"/>
                <a:miter/>
              </a:ln>
            </p:spPr>
            <p:txBody>
              <a:bodyPr rtlCol="0" anchor="ctr"/>
              <a:lstStyle/>
              <a:p>
                <a:endParaRPr lang="en-GB"/>
              </a:p>
            </p:txBody>
          </p:sp>
        </p:grpSp>
        <p:grpSp>
          <p:nvGrpSpPr>
            <p:cNvPr id="765" name="Graphic 3">
              <a:extLst>
                <a:ext uri="{FF2B5EF4-FFF2-40B4-BE49-F238E27FC236}">
                  <a16:creationId xmlns:a16="http://schemas.microsoft.com/office/drawing/2014/main" id="{1994EEAD-4410-40CC-83DB-BAC4A1A05733}"/>
                </a:ext>
              </a:extLst>
            </p:cNvPr>
            <p:cNvGrpSpPr/>
            <p:nvPr/>
          </p:nvGrpSpPr>
          <p:grpSpPr>
            <a:xfrm>
              <a:off x="5127195" y="1900097"/>
              <a:ext cx="44837" cy="61938"/>
              <a:chOff x="5127195" y="1900097"/>
              <a:chExt cx="44837" cy="61938"/>
            </a:xfrm>
            <a:grpFill/>
          </p:grpSpPr>
          <p:sp>
            <p:nvSpPr>
              <p:cNvPr id="3097" name="Vrije vorm: vorm 3096">
                <a:extLst>
                  <a:ext uri="{FF2B5EF4-FFF2-40B4-BE49-F238E27FC236}">
                    <a16:creationId xmlns:a16="http://schemas.microsoft.com/office/drawing/2014/main" id="{06B5E72D-6B4D-40C1-9422-6A6E4CF64648}"/>
                  </a:ext>
                </a:extLst>
              </p:cNvPr>
              <p:cNvSpPr/>
              <p:nvPr/>
            </p:nvSpPr>
            <p:spPr>
              <a:xfrm>
                <a:off x="5134828" y="1908129"/>
                <a:ext cx="29544" cy="45812"/>
              </a:xfrm>
              <a:custGeom>
                <a:avLst/>
                <a:gdLst>
                  <a:gd name="connsiteX0" fmla="*/ 29545 w 29544"/>
                  <a:gd name="connsiteY0" fmla="*/ 44257 h 45812"/>
                  <a:gd name="connsiteX1" fmla="*/ 26973 w 29544"/>
                  <a:gd name="connsiteY1" fmla="*/ 45812 h 45812"/>
                  <a:gd name="connsiteX2" fmla="*/ 0 w 29544"/>
                  <a:gd name="connsiteY2" fmla="*/ 1615 h 45812"/>
                  <a:gd name="connsiteX3" fmla="*/ 2632 w 29544"/>
                  <a:gd name="connsiteY3" fmla="*/ 0 h 45812"/>
                </a:gdLst>
                <a:ahLst/>
                <a:cxnLst>
                  <a:cxn ang="0">
                    <a:pos x="connsiteX0" y="connsiteY0"/>
                  </a:cxn>
                  <a:cxn ang="0">
                    <a:pos x="connsiteX1" y="connsiteY1"/>
                  </a:cxn>
                  <a:cxn ang="0">
                    <a:pos x="connsiteX2" y="connsiteY2"/>
                  </a:cxn>
                  <a:cxn ang="0">
                    <a:pos x="connsiteX3" y="connsiteY3"/>
                  </a:cxn>
                </a:cxnLst>
                <a:rect l="l" t="t" r="r" b="b"/>
                <a:pathLst>
                  <a:path w="29544" h="45812">
                    <a:moveTo>
                      <a:pt x="29545" y="44257"/>
                    </a:moveTo>
                    <a:lnTo>
                      <a:pt x="26973" y="45812"/>
                    </a:lnTo>
                    <a:lnTo>
                      <a:pt x="0" y="1615"/>
                    </a:lnTo>
                    <a:lnTo>
                      <a:pt x="2632" y="0"/>
                    </a:lnTo>
                    <a:close/>
                  </a:path>
                </a:pathLst>
              </a:custGeom>
              <a:grpFill/>
              <a:ln w="5978" cap="flat">
                <a:noFill/>
                <a:prstDash val="solid"/>
                <a:miter/>
              </a:ln>
            </p:spPr>
            <p:txBody>
              <a:bodyPr rtlCol="0" anchor="ctr"/>
              <a:lstStyle/>
              <a:p>
                <a:endParaRPr lang="en-GB"/>
              </a:p>
            </p:txBody>
          </p:sp>
          <p:sp>
            <p:nvSpPr>
              <p:cNvPr id="3098" name="Vrije vorm: vorm 3097">
                <a:extLst>
                  <a:ext uri="{FF2B5EF4-FFF2-40B4-BE49-F238E27FC236}">
                    <a16:creationId xmlns:a16="http://schemas.microsoft.com/office/drawing/2014/main" id="{FC630B3C-0E6A-410C-ABFE-F424477868E5}"/>
                  </a:ext>
                </a:extLst>
              </p:cNvPr>
              <p:cNvSpPr/>
              <p:nvPr/>
            </p:nvSpPr>
            <p:spPr>
              <a:xfrm>
                <a:off x="5127195" y="1900097"/>
                <a:ext cx="18316" cy="18458"/>
              </a:xfrm>
              <a:custGeom>
                <a:avLst/>
                <a:gdLst>
                  <a:gd name="connsiteX0" fmla="*/ 1354 w 18316"/>
                  <a:gd name="connsiteY0" fmla="*/ 14014 h 18458"/>
                  <a:gd name="connsiteX1" fmla="*/ 4344 w 18316"/>
                  <a:gd name="connsiteY1" fmla="*/ 1335 h 18458"/>
                  <a:gd name="connsiteX2" fmla="*/ 16963 w 18316"/>
                  <a:gd name="connsiteY2" fmla="*/ 4445 h 18458"/>
                  <a:gd name="connsiteX3" fmla="*/ 13973 w 18316"/>
                  <a:gd name="connsiteY3" fmla="*/ 17124 h 18458"/>
                  <a:gd name="connsiteX4" fmla="*/ 1354 w 18316"/>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8">
                    <a:moveTo>
                      <a:pt x="1354" y="14014"/>
                    </a:moveTo>
                    <a:cubicBezTo>
                      <a:pt x="-1278" y="9648"/>
                      <a:pt x="38" y="4026"/>
                      <a:pt x="4344" y="1335"/>
                    </a:cubicBezTo>
                    <a:cubicBezTo>
                      <a:pt x="8650" y="-1297"/>
                      <a:pt x="14272" y="79"/>
                      <a:pt x="16963" y="4445"/>
                    </a:cubicBezTo>
                    <a:cubicBezTo>
                      <a:pt x="19595" y="8810"/>
                      <a:pt x="18279" y="14432"/>
                      <a:pt x="13973" y="17124"/>
                    </a:cubicBezTo>
                    <a:cubicBezTo>
                      <a:pt x="9667" y="19755"/>
                      <a:pt x="4045" y="18380"/>
                      <a:pt x="1354" y="14014"/>
                    </a:cubicBezTo>
                    <a:close/>
                  </a:path>
                </a:pathLst>
              </a:custGeom>
              <a:grpFill/>
              <a:ln w="5978" cap="flat">
                <a:noFill/>
                <a:prstDash val="solid"/>
                <a:miter/>
              </a:ln>
            </p:spPr>
            <p:txBody>
              <a:bodyPr rtlCol="0" anchor="ctr"/>
              <a:lstStyle/>
              <a:p>
                <a:endParaRPr lang="en-GB"/>
              </a:p>
            </p:txBody>
          </p:sp>
          <p:sp>
            <p:nvSpPr>
              <p:cNvPr id="3099" name="Vrije vorm: vorm 3098">
                <a:extLst>
                  <a:ext uri="{FF2B5EF4-FFF2-40B4-BE49-F238E27FC236}">
                    <a16:creationId xmlns:a16="http://schemas.microsoft.com/office/drawing/2014/main" id="{26463C17-275F-4A1F-90BF-29CAF87A7714}"/>
                  </a:ext>
                </a:extLst>
              </p:cNvPr>
              <p:cNvSpPr/>
              <p:nvPr/>
            </p:nvSpPr>
            <p:spPr>
              <a:xfrm>
                <a:off x="5153689" y="1943576"/>
                <a:ext cx="18343" cy="18458"/>
              </a:xfrm>
              <a:custGeom>
                <a:avLst/>
                <a:gdLst>
                  <a:gd name="connsiteX0" fmla="*/ 1354 w 18343"/>
                  <a:gd name="connsiteY0" fmla="*/ 14014 h 18458"/>
                  <a:gd name="connsiteX1" fmla="*/ 13973 w 18343"/>
                  <a:gd name="connsiteY1" fmla="*/ 17124 h 18458"/>
                  <a:gd name="connsiteX2" fmla="*/ 16963 w 18343"/>
                  <a:gd name="connsiteY2" fmla="*/ 4445 h 18458"/>
                  <a:gd name="connsiteX3" fmla="*/ 4344 w 18343"/>
                  <a:gd name="connsiteY3" fmla="*/ 1335 h 18458"/>
                  <a:gd name="connsiteX4" fmla="*/ 1354 w 18343"/>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354" y="14014"/>
                    </a:moveTo>
                    <a:cubicBezTo>
                      <a:pt x="3985" y="18380"/>
                      <a:pt x="9667" y="19755"/>
                      <a:pt x="13973" y="17124"/>
                    </a:cubicBezTo>
                    <a:cubicBezTo>
                      <a:pt x="18279" y="14492"/>
                      <a:pt x="19655" y="8810"/>
                      <a:pt x="16963" y="4445"/>
                    </a:cubicBezTo>
                    <a:cubicBezTo>
                      <a:pt x="14332" y="79"/>
                      <a:pt x="8650" y="-1297"/>
                      <a:pt x="4344" y="1335"/>
                    </a:cubicBezTo>
                    <a:cubicBezTo>
                      <a:pt x="38" y="3966"/>
                      <a:pt x="-1278" y="9648"/>
                      <a:pt x="1354" y="14014"/>
                    </a:cubicBezTo>
                    <a:close/>
                  </a:path>
                </a:pathLst>
              </a:custGeom>
              <a:grpFill/>
              <a:ln w="5978" cap="flat">
                <a:noFill/>
                <a:prstDash val="solid"/>
                <a:miter/>
              </a:ln>
            </p:spPr>
            <p:txBody>
              <a:bodyPr rtlCol="0" anchor="ctr"/>
              <a:lstStyle/>
              <a:p>
                <a:endParaRPr lang="en-GB"/>
              </a:p>
            </p:txBody>
          </p:sp>
        </p:grpSp>
        <p:grpSp>
          <p:nvGrpSpPr>
            <p:cNvPr id="766" name="Graphic 3">
              <a:extLst>
                <a:ext uri="{FF2B5EF4-FFF2-40B4-BE49-F238E27FC236}">
                  <a16:creationId xmlns:a16="http://schemas.microsoft.com/office/drawing/2014/main" id="{173A8BCD-6CAA-4F4A-A4B7-66E2D0F4F90C}"/>
                </a:ext>
              </a:extLst>
            </p:cNvPr>
            <p:cNvGrpSpPr/>
            <p:nvPr/>
          </p:nvGrpSpPr>
          <p:grpSpPr>
            <a:xfrm>
              <a:off x="6263743" y="5074198"/>
              <a:ext cx="35477" cy="436544"/>
              <a:chOff x="6263743" y="5074198"/>
              <a:chExt cx="35477" cy="436544"/>
            </a:xfrm>
            <a:grpFill/>
          </p:grpSpPr>
          <p:sp>
            <p:nvSpPr>
              <p:cNvPr id="3094" name="Vrije vorm: vorm 3093">
                <a:extLst>
                  <a:ext uri="{FF2B5EF4-FFF2-40B4-BE49-F238E27FC236}">
                    <a16:creationId xmlns:a16="http://schemas.microsoft.com/office/drawing/2014/main" id="{9166FA2A-53B4-4D14-B006-0965B03B2676}"/>
                  </a:ext>
                </a:extLst>
              </p:cNvPr>
              <p:cNvSpPr/>
              <p:nvPr/>
            </p:nvSpPr>
            <p:spPr>
              <a:xfrm>
                <a:off x="6271345" y="5082935"/>
                <a:ext cx="20214" cy="419129"/>
              </a:xfrm>
              <a:custGeom>
                <a:avLst/>
                <a:gdLst>
                  <a:gd name="connsiteX0" fmla="*/ 3050 w 20214"/>
                  <a:gd name="connsiteY0" fmla="*/ 0 h 419129"/>
                  <a:gd name="connsiteX1" fmla="*/ 20215 w 20214"/>
                  <a:gd name="connsiteY1" fmla="*/ 419009 h 419129"/>
                  <a:gd name="connsiteX2" fmla="*/ 17225 w 20214"/>
                  <a:gd name="connsiteY2" fmla="*/ 419129 h 419129"/>
                  <a:gd name="connsiteX3" fmla="*/ 0 w 20214"/>
                  <a:gd name="connsiteY3" fmla="*/ 120 h 419129"/>
                </a:gdLst>
                <a:ahLst/>
                <a:cxnLst>
                  <a:cxn ang="0">
                    <a:pos x="connsiteX0" y="connsiteY0"/>
                  </a:cxn>
                  <a:cxn ang="0">
                    <a:pos x="connsiteX1" y="connsiteY1"/>
                  </a:cxn>
                  <a:cxn ang="0">
                    <a:pos x="connsiteX2" y="connsiteY2"/>
                  </a:cxn>
                  <a:cxn ang="0">
                    <a:pos x="connsiteX3" y="connsiteY3"/>
                  </a:cxn>
                </a:cxnLst>
                <a:rect l="l" t="t" r="r" b="b"/>
                <a:pathLst>
                  <a:path w="20214" h="419129">
                    <a:moveTo>
                      <a:pt x="3050" y="0"/>
                    </a:moveTo>
                    <a:lnTo>
                      <a:pt x="20215" y="419009"/>
                    </a:lnTo>
                    <a:lnTo>
                      <a:pt x="17225" y="419129"/>
                    </a:lnTo>
                    <a:lnTo>
                      <a:pt x="0" y="120"/>
                    </a:lnTo>
                    <a:close/>
                  </a:path>
                </a:pathLst>
              </a:custGeom>
              <a:grpFill/>
              <a:ln w="5978" cap="flat">
                <a:noFill/>
                <a:prstDash val="solid"/>
                <a:miter/>
              </a:ln>
            </p:spPr>
            <p:txBody>
              <a:bodyPr rtlCol="0" anchor="ctr"/>
              <a:lstStyle/>
              <a:p>
                <a:endParaRPr lang="en-GB"/>
              </a:p>
            </p:txBody>
          </p:sp>
          <p:sp>
            <p:nvSpPr>
              <p:cNvPr id="3095" name="Vrije vorm: vorm 3094">
                <a:extLst>
                  <a:ext uri="{FF2B5EF4-FFF2-40B4-BE49-F238E27FC236}">
                    <a16:creationId xmlns:a16="http://schemas.microsoft.com/office/drawing/2014/main" id="{75FECFA1-E806-4F50-855A-C2A1405878B4}"/>
                  </a:ext>
                </a:extLst>
              </p:cNvPr>
              <p:cNvSpPr/>
              <p:nvPr/>
            </p:nvSpPr>
            <p:spPr>
              <a:xfrm>
                <a:off x="6263743" y="5074198"/>
                <a:ext cx="18312" cy="18436"/>
              </a:xfrm>
              <a:custGeom>
                <a:avLst/>
                <a:gdLst>
                  <a:gd name="connsiteX0" fmla="*/ 6 w 18312"/>
                  <a:gd name="connsiteY0" fmla="*/ 9575 h 18436"/>
                  <a:gd name="connsiteX1" fmla="*/ 8798 w 18312"/>
                  <a:gd name="connsiteY1" fmla="*/ 6 h 18436"/>
                  <a:gd name="connsiteX2" fmla="*/ 18307 w 18312"/>
                  <a:gd name="connsiteY2" fmla="*/ 8857 h 18436"/>
                  <a:gd name="connsiteX3" fmla="*/ 9515 w 18312"/>
                  <a:gd name="connsiteY3" fmla="*/ 18426 h 18436"/>
                  <a:gd name="connsiteX4" fmla="*/ 6 w 18312"/>
                  <a:gd name="connsiteY4" fmla="*/ 9575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6">
                    <a:moveTo>
                      <a:pt x="6" y="9575"/>
                    </a:moveTo>
                    <a:cubicBezTo>
                      <a:pt x="-173" y="4491"/>
                      <a:pt x="3714" y="185"/>
                      <a:pt x="8798" y="6"/>
                    </a:cubicBezTo>
                    <a:cubicBezTo>
                      <a:pt x="13881" y="-174"/>
                      <a:pt x="18128" y="3773"/>
                      <a:pt x="18307" y="8857"/>
                    </a:cubicBezTo>
                    <a:cubicBezTo>
                      <a:pt x="18487" y="13941"/>
                      <a:pt x="14599" y="18187"/>
                      <a:pt x="9515" y="18426"/>
                    </a:cubicBezTo>
                    <a:cubicBezTo>
                      <a:pt x="4491" y="18666"/>
                      <a:pt x="245" y="14658"/>
                      <a:pt x="6" y="9575"/>
                    </a:cubicBezTo>
                    <a:close/>
                  </a:path>
                </a:pathLst>
              </a:custGeom>
              <a:grpFill/>
              <a:ln w="5978" cap="flat">
                <a:noFill/>
                <a:prstDash val="solid"/>
                <a:miter/>
              </a:ln>
            </p:spPr>
            <p:txBody>
              <a:bodyPr rtlCol="0" anchor="ctr"/>
              <a:lstStyle/>
              <a:p>
                <a:endParaRPr lang="en-GB"/>
              </a:p>
            </p:txBody>
          </p:sp>
          <p:sp>
            <p:nvSpPr>
              <p:cNvPr id="3096" name="Vrije vorm: vorm 3095">
                <a:extLst>
                  <a:ext uri="{FF2B5EF4-FFF2-40B4-BE49-F238E27FC236}">
                    <a16:creationId xmlns:a16="http://schemas.microsoft.com/office/drawing/2014/main" id="{D86B71B0-9507-477A-BB6F-EA43FE7D5D9B}"/>
                  </a:ext>
                </a:extLst>
              </p:cNvPr>
              <p:cNvSpPr/>
              <p:nvPr/>
            </p:nvSpPr>
            <p:spPr>
              <a:xfrm>
                <a:off x="6280904" y="5492310"/>
                <a:ext cx="18317" cy="18432"/>
              </a:xfrm>
              <a:custGeom>
                <a:avLst/>
                <a:gdLst>
                  <a:gd name="connsiteX0" fmla="*/ 10 w 18317"/>
                  <a:gd name="connsiteY0" fmla="*/ 9575 h 18432"/>
                  <a:gd name="connsiteX1" fmla="*/ 9520 w 18317"/>
                  <a:gd name="connsiteY1" fmla="*/ 18427 h 18432"/>
                  <a:gd name="connsiteX2" fmla="*/ 18311 w 18317"/>
                  <a:gd name="connsiteY2" fmla="*/ 8857 h 18432"/>
                  <a:gd name="connsiteX3" fmla="*/ 8802 w 18317"/>
                  <a:gd name="connsiteY3" fmla="*/ 6 h 18432"/>
                  <a:gd name="connsiteX4" fmla="*/ 10 w 18317"/>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32">
                    <a:moveTo>
                      <a:pt x="10" y="9575"/>
                    </a:moveTo>
                    <a:cubicBezTo>
                      <a:pt x="250" y="14659"/>
                      <a:pt x="4496" y="18606"/>
                      <a:pt x="9520" y="18427"/>
                    </a:cubicBezTo>
                    <a:cubicBezTo>
                      <a:pt x="14603" y="18247"/>
                      <a:pt x="18491" y="13941"/>
                      <a:pt x="18311" y="8857"/>
                    </a:cubicBezTo>
                    <a:cubicBezTo>
                      <a:pt x="18132" y="3774"/>
                      <a:pt x="13826" y="-174"/>
                      <a:pt x="8802" y="6"/>
                    </a:cubicBezTo>
                    <a:cubicBezTo>
                      <a:pt x="3718" y="245"/>
                      <a:pt x="-229" y="4491"/>
                      <a:pt x="10" y="9575"/>
                    </a:cubicBezTo>
                    <a:close/>
                  </a:path>
                </a:pathLst>
              </a:custGeom>
              <a:grpFill/>
              <a:ln w="5978" cap="flat">
                <a:noFill/>
                <a:prstDash val="solid"/>
                <a:miter/>
              </a:ln>
            </p:spPr>
            <p:txBody>
              <a:bodyPr rtlCol="0" anchor="ctr"/>
              <a:lstStyle/>
              <a:p>
                <a:endParaRPr lang="en-GB"/>
              </a:p>
            </p:txBody>
          </p:sp>
        </p:grpSp>
        <p:grpSp>
          <p:nvGrpSpPr>
            <p:cNvPr id="767" name="Graphic 3">
              <a:extLst>
                <a:ext uri="{FF2B5EF4-FFF2-40B4-BE49-F238E27FC236}">
                  <a16:creationId xmlns:a16="http://schemas.microsoft.com/office/drawing/2014/main" id="{8674F6C8-8BCC-41BE-A3F4-B7CF1502161A}"/>
                </a:ext>
              </a:extLst>
            </p:cNvPr>
            <p:cNvGrpSpPr/>
            <p:nvPr/>
          </p:nvGrpSpPr>
          <p:grpSpPr>
            <a:xfrm>
              <a:off x="6304279" y="5376810"/>
              <a:ext cx="38793" cy="174613"/>
              <a:chOff x="6304279" y="5376810"/>
              <a:chExt cx="38793" cy="174613"/>
            </a:xfrm>
            <a:grpFill/>
          </p:grpSpPr>
          <p:sp>
            <p:nvSpPr>
              <p:cNvPr id="3091" name="Vrije vorm: vorm 3090">
                <a:extLst>
                  <a:ext uri="{FF2B5EF4-FFF2-40B4-BE49-F238E27FC236}">
                    <a16:creationId xmlns:a16="http://schemas.microsoft.com/office/drawing/2014/main" id="{5679CDB2-5ABC-496E-A1CD-9C24246C4EBF}"/>
                  </a:ext>
                </a:extLst>
              </p:cNvPr>
              <p:cNvSpPr/>
              <p:nvPr/>
            </p:nvSpPr>
            <p:spPr>
              <a:xfrm>
                <a:off x="6311894" y="5385381"/>
                <a:ext cx="23623" cy="157532"/>
              </a:xfrm>
              <a:custGeom>
                <a:avLst/>
                <a:gdLst>
                  <a:gd name="connsiteX0" fmla="*/ 2990 w 23623"/>
                  <a:gd name="connsiteY0" fmla="*/ 0 h 157532"/>
                  <a:gd name="connsiteX1" fmla="*/ 23624 w 23623"/>
                  <a:gd name="connsiteY1" fmla="*/ 157114 h 157532"/>
                  <a:gd name="connsiteX2" fmla="*/ 20574 w 23623"/>
                  <a:gd name="connsiteY2" fmla="*/ 157532 h 157532"/>
                  <a:gd name="connsiteX3" fmla="*/ 0 w 23623"/>
                  <a:gd name="connsiteY3" fmla="*/ 359 h 157532"/>
                </a:gdLst>
                <a:ahLst/>
                <a:cxnLst>
                  <a:cxn ang="0">
                    <a:pos x="connsiteX0" y="connsiteY0"/>
                  </a:cxn>
                  <a:cxn ang="0">
                    <a:pos x="connsiteX1" y="connsiteY1"/>
                  </a:cxn>
                  <a:cxn ang="0">
                    <a:pos x="connsiteX2" y="connsiteY2"/>
                  </a:cxn>
                  <a:cxn ang="0">
                    <a:pos x="connsiteX3" y="connsiteY3"/>
                  </a:cxn>
                </a:cxnLst>
                <a:rect l="l" t="t" r="r" b="b"/>
                <a:pathLst>
                  <a:path w="23623" h="157532">
                    <a:moveTo>
                      <a:pt x="2990" y="0"/>
                    </a:moveTo>
                    <a:lnTo>
                      <a:pt x="23624" y="157114"/>
                    </a:lnTo>
                    <a:lnTo>
                      <a:pt x="20574" y="157532"/>
                    </a:lnTo>
                    <a:lnTo>
                      <a:pt x="0" y="359"/>
                    </a:lnTo>
                    <a:close/>
                  </a:path>
                </a:pathLst>
              </a:custGeom>
              <a:grpFill/>
              <a:ln w="5978" cap="flat">
                <a:noFill/>
                <a:prstDash val="solid"/>
                <a:miter/>
              </a:ln>
            </p:spPr>
            <p:txBody>
              <a:bodyPr rtlCol="0" anchor="ctr"/>
              <a:lstStyle/>
              <a:p>
                <a:endParaRPr lang="en-GB"/>
              </a:p>
            </p:txBody>
          </p:sp>
          <p:sp>
            <p:nvSpPr>
              <p:cNvPr id="3092" name="Vrije vorm: vorm 3091">
                <a:extLst>
                  <a:ext uri="{FF2B5EF4-FFF2-40B4-BE49-F238E27FC236}">
                    <a16:creationId xmlns:a16="http://schemas.microsoft.com/office/drawing/2014/main" id="{CE631851-DBDF-47B0-B70D-1EF509811406}"/>
                  </a:ext>
                </a:extLst>
              </p:cNvPr>
              <p:cNvSpPr/>
              <p:nvPr/>
            </p:nvSpPr>
            <p:spPr>
              <a:xfrm>
                <a:off x="6324734" y="5533027"/>
                <a:ext cx="18339" cy="18396"/>
              </a:xfrm>
              <a:custGeom>
                <a:avLst/>
                <a:gdLst>
                  <a:gd name="connsiteX0" fmla="*/ 18260 w 18339"/>
                  <a:gd name="connsiteY0" fmla="*/ 8032 h 18396"/>
                  <a:gd name="connsiteX1" fmla="*/ 10366 w 18339"/>
                  <a:gd name="connsiteY1" fmla="*/ 18319 h 18396"/>
                  <a:gd name="connsiteX2" fmla="*/ 79 w 18339"/>
                  <a:gd name="connsiteY2" fmla="*/ 10364 h 18396"/>
                  <a:gd name="connsiteX3" fmla="*/ 7974 w 18339"/>
                  <a:gd name="connsiteY3" fmla="*/ 78 h 18396"/>
                  <a:gd name="connsiteX4" fmla="*/ 18260 w 18339"/>
                  <a:gd name="connsiteY4" fmla="*/ 803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6">
                    <a:moveTo>
                      <a:pt x="18260" y="8032"/>
                    </a:moveTo>
                    <a:cubicBezTo>
                      <a:pt x="18918" y="13056"/>
                      <a:pt x="15390" y="17721"/>
                      <a:pt x="10366" y="18319"/>
                    </a:cubicBezTo>
                    <a:cubicBezTo>
                      <a:pt x="5342" y="18977"/>
                      <a:pt x="737" y="15388"/>
                      <a:pt x="79" y="10364"/>
                    </a:cubicBezTo>
                    <a:cubicBezTo>
                      <a:pt x="-579" y="5341"/>
                      <a:pt x="2950" y="676"/>
                      <a:pt x="7974" y="78"/>
                    </a:cubicBezTo>
                    <a:cubicBezTo>
                      <a:pt x="12997" y="-580"/>
                      <a:pt x="17602" y="3008"/>
                      <a:pt x="18260" y="8032"/>
                    </a:cubicBezTo>
                    <a:close/>
                  </a:path>
                </a:pathLst>
              </a:custGeom>
              <a:grpFill/>
              <a:ln w="5978" cap="flat">
                <a:noFill/>
                <a:prstDash val="solid"/>
                <a:miter/>
              </a:ln>
            </p:spPr>
            <p:txBody>
              <a:bodyPr rtlCol="0" anchor="ctr"/>
              <a:lstStyle/>
              <a:p>
                <a:endParaRPr lang="en-GB"/>
              </a:p>
            </p:txBody>
          </p:sp>
          <p:sp>
            <p:nvSpPr>
              <p:cNvPr id="3093" name="Vrije vorm: vorm 3092">
                <a:extLst>
                  <a:ext uri="{FF2B5EF4-FFF2-40B4-BE49-F238E27FC236}">
                    <a16:creationId xmlns:a16="http://schemas.microsoft.com/office/drawing/2014/main" id="{B2450D74-B8A4-4562-A1DE-1A8C3713D89A}"/>
                  </a:ext>
                </a:extLst>
              </p:cNvPr>
              <p:cNvSpPr/>
              <p:nvPr/>
            </p:nvSpPr>
            <p:spPr>
              <a:xfrm>
                <a:off x="6304279" y="5376810"/>
                <a:ext cx="18339" cy="18396"/>
              </a:xfrm>
              <a:custGeom>
                <a:avLst/>
                <a:gdLst>
                  <a:gd name="connsiteX0" fmla="*/ 18261 w 18339"/>
                  <a:gd name="connsiteY0" fmla="*/ 8032 h 18396"/>
                  <a:gd name="connsiteX1" fmla="*/ 7973 w 18339"/>
                  <a:gd name="connsiteY1" fmla="*/ 78 h 18396"/>
                  <a:gd name="connsiteX2" fmla="*/ 79 w 18339"/>
                  <a:gd name="connsiteY2" fmla="*/ 10364 h 18396"/>
                  <a:gd name="connsiteX3" fmla="*/ 10366 w 18339"/>
                  <a:gd name="connsiteY3" fmla="*/ 18319 h 18396"/>
                  <a:gd name="connsiteX4" fmla="*/ 18261 w 18339"/>
                  <a:gd name="connsiteY4" fmla="*/ 8032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6">
                    <a:moveTo>
                      <a:pt x="18261" y="8032"/>
                    </a:moveTo>
                    <a:cubicBezTo>
                      <a:pt x="17603" y="3008"/>
                      <a:pt x="12997" y="-580"/>
                      <a:pt x="7973" y="78"/>
                    </a:cubicBezTo>
                    <a:cubicBezTo>
                      <a:pt x="2950" y="736"/>
                      <a:pt x="-579" y="5341"/>
                      <a:pt x="79" y="10364"/>
                    </a:cubicBezTo>
                    <a:cubicBezTo>
                      <a:pt x="737" y="15388"/>
                      <a:pt x="5342" y="18977"/>
                      <a:pt x="10366" y="18319"/>
                    </a:cubicBezTo>
                    <a:cubicBezTo>
                      <a:pt x="15390" y="17721"/>
                      <a:pt x="18918" y="13116"/>
                      <a:pt x="18261" y="8032"/>
                    </a:cubicBezTo>
                    <a:close/>
                  </a:path>
                </a:pathLst>
              </a:custGeom>
              <a:grpFill/>
              <a:ln w="5978" cap="flat">
                <a:noFill/>
                <a:prstDash val="solid"/>
                <a:miter/>
              </a:ln>
            </p:spPr>
            <p:txBody>
              <a:bodyPr rtlCol="0" anchor="ctr"/>
              <a:lstStyle/>
              <a:p>
                <a:endParaRPr lang="en-GB"/>
              </a:p>
            </p:txBody>
          </p:sp>
        </p:grpSp>
        <p:grpSp>
          <p:nvGrpSpPr>
            <p:cNvPr id="768" name="Graphic 3">
              <a:extLst>
                <a:ext uri="{FF2B5EF4-FFF2-40B4-BE49-F238E27FC236}">
                  <a16:creationId xmlns:a16="http://schemas.microsoft.com/office/drawing/2014/main" id="{B04223E6-1269-4DEA-8376-A9FB64631BF5}"/>
                </a:ext>
              </a:extLst>
            </p:cNvPr>
            <p:cNvGrpSpPr/>
            <p:nvPr/>
          </p:nvGrpSpPr>
          <p:grpSpPr>
            <a:xfrm>
              <a:off x="6203841" y="5093190"/>
              <a:ext cx="28192" cy="124232"/>
              <a:chOff x="6203841" y="5093190"/>
              <a:chExt cx="28192" cy="124232"/>
            </a:xfrm>
            <a:grpFill/>
          </p:grpSpPr>
          <p:sp>
            <p:nvSpPr>
              <p:cNvPr id="3088" name="Vrije vorm: vorm 3087">
                <a:extLst>
                  <a:ext uri="{FF2B5EF4-FFF2-40B4-BE49-F238E27FC236}">
                    <a16:creationId xmlns:a16="http://schemas.microsoft.com/office/drawing/2014/main" id="{7E2D5695-6E21-4AAC-9C88-3D396FF29657}"/>
                  </a:ext>
                </a:extLst>
              </p:cNvPr>
              <p:cNvSpPr/>
              <p:nvPr/>
            </p:nvSpPr>
            <p:spPr>
              <a:xfrm>
                <a:off x="6211418" y="5101835"/>
                <a:ext cx="13037" cy="106994"/>
              </a:xfrm>
              <a:custGeom>
                <a:avLst/>
                <a:gdLst>
                  <a:gd name="connsiteX0" fmla="*/ 3050 w 13037"/>
                  <a:gd name="connsiteY0" fmla="*/ 0 h 106994"/>
                  <a:gd name="connsiteX1" fmla="*/ 13038 w 13037"/>
                  <a:gd name="connsiteY1" fmla="*/ 106696 h 106994"/>
                  <a:gd name="connsiteX2" fmla="*/ 9988 w 13037"/>
                  <a:gd name="connsiteY2" fmla="*/ 106995 h 106994"/>
                  <a:gd name="connsiteX3" fmla="*/ 0 w 13037"/>
                  <a:gd name="connsiteY3" fmla="*/ 239 h 106994"/>
                </a:gdLst>
                <a:ahLst/>
                <a:cxnLst>
                  <a:cxn ang="0">
                    <a:pos x="connsiteX0" y="connsiteY0"/>
                  </a:cxn>
                  <a:cxn ang="0">
                    <a:pos x="connsiteX1" y="connsiteY1"/>
                  </a:cxn>
                  <a:cxn ang="0">
                    <a:pos x="connsiteX2" y="connsiteY2"/>
                  </a:cxn>
                  <a:cxn ang="0">
                    <a:pos x="connsiteX3" y="connsiteY3"/>
                  </a:cxn>
                </a:cxnLst>
                <a:rect l="l" t="t" r="r" b="b"/>
                <a:pathLst>
                  <a:path w="13037" h="106994">
                    <a:moveTo>
                      <a:pt x="3050" y="0"/>
                    </a:moveTo>
                    <a:lnTo>
                      <a:pt x="13038" y="106696"/>
                    </a:lnTo>
                    <a:lnTo>
                      <a:pt x="9988" y="106995"/>
                    </a:lnTo>
                    <a:lnTo>
                      <a:pt x="0" y="239"/>
                    </a:lnTo>
                    <a:close/>
                  </a:path>
                </a:pathLst>
              </a:custGeom>
              <a:grpFill/>
              <a:ln w="5978" cap="flat">
                <a:noFill/>
                <a:prstDash val="solid"/>
                <a:miter/>
              </a:ln>
            </p:spPr>
            <p:txBody>
              <a:bodyPr rtlCol="0" anchor="ctr"/>
              <a:lstStyle/>
              <a:p>
                <a:endParaRPr lang="en-GB"/>
              </a:p>
            </p:txBody>
          </p:sp>
          <p:sp>
            <p:nvSpPr>
              <p:cNvPr id="3089" name="Vrije vorm: vorm 3088">
                <a:extLst>
                  <a:ext uri="{FF2B5EF4-FFF2-40B4-BE49-F238E27FC236}">
                    <a16:creationId xmlns:a16="http://schemas.microsoft.com/office/drawing/2014/main" id="{A8C00A9F-1047-412F-A1E4-2F691B807AE2}"/>
                  </a:ext>
                </a:extLst>
              </p:cNvPr>
              <p:cNvSpPr/>
              <p:nvPr/>
            </p:nvSpPr>
            <p:spPr>
              <a:xfrm>
                <a:off x="6213709" y="5198989"/>
                <a:ext cx="18324" cy="18433"/>
              </a:xfrm>
              <a:custGeom>
                <a:avLst/>
                <a:gdLst>
                  <a:gd name="connsiteX0" fmla="*/ 18283 w 18324"/>
                  <a:gd name="connsiteY0" fmla="*/ 8405 h 18433"/>
                  <a:gd name="connsiteX1" fmla="*/ 10029 w 18324"/>
                  <a:gd name="connsiteY1" fmla="*/ 18393 h 18433"/>
                  <a:gd name="connsiteX2" fmla="*/ 42 w 18324"/>
                  <a:gd name="connsiteY2" fmla="*/ 10020 h 18433"/>
                  <a:gd name="connsiteX3" fmla="*/ 8295 w 18324"/>
                  <a:gd name="connsiteY3" fmla="*/ 32 h 18433"/>
                  <a:gd name="connsiteX4" fmla="*/ 18283 w 18324"/>
                  <a:gd name="connsiteY4" fmla="*/ 8405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3">
                    <a:moveTo>
                      <a:pt x="18283" y="8405"/>
                    </a:moveTo>
                    <a:cubicBezTo>
                      <a:pt x="18761" y="13489"/>
                      <a:pt x="15053" y="17974"/>
                      <a:pt x="10029" y="18393"/>
                    </a:cubicBezTo>
                    <a:cubicBezTo>
                      <a:pt x="5006" y="18871"/>
                      <a:pt x="520" y="15103"/>
                      <a:pt x="42" y="10020"/>
                    </a:cubicBezTo>
                    <a:cubicBezTo>
                      <a:pt x="-437" y="4936"/>
                      <a:pt x="3271" y="451"/>
                      <a:pt x="8295" y="32"/>
                    </a:cubicBezTo>
                    <a:cubicBezTo>
                      <a:pt x="13319" y="-386"/>
                      <a:pt x="17804" y="3322"/>
                      <a:pt x="18283" y="8405"/>
                    </a:cubicBezTo>
                    <a:close/>
                  </a:path>
                </a:pathLst>
              </a:custGeom>
              <a:grpFill/>
              <a:ln w="5978" cap="flat">
                <a:noFill/>
                <a:prstDash val="solid"/>
                <a:miter/>
              </a:ln>
            </p:spPr>
            <p:txBody>
              <a:bodyPr rtlCol="0" anchor="ctr"/>
              <a:lstStyle/>
              <a:p>
                <a:endParaRPr lang="en-GB"/>
              </a:p>
            </p:txBody>
          </p:sp>
          <p:sp>
            <p:nvSpPr>
              <p:cNvPr id="3090" name="Vrije vorm: vorm 3089">
                <a:extLst>
                  <a:ext uri="{FF2B5EF4-FFF2-40B4-BE49-F238E27FC236}">
                    <a16:creationId xmlns:a16="http://schemas.microsoft.com/office/drawing/2014/main" id="{7B993678-CAC5-4667-860F-CE5FA4564118}"/>
                  </a:ext>
                </a:extLst>
              </p:cNvPr>
              <p:cNvSpPr/>
              <p:nvPr/>
            </p:nvSpPr>
            <p:spPr>
              <a:xfrm>
                <a:off x="6203841" y="5093190"/>
                <a:ext cx="18315" cy="18425"/>
              </a:xfrm>
              <a:custGeom>
                <a:avLst/>
                <a:gdLst>
                  <a:gd name="connsiteX0" fmla="*/ 18283 w 18315"/>
                  <a:gd name="connsiteY0" fmla="*/ 8405 h 18425"/>
                  <a:gd name="connsiteX1" fmla="*/ 8295 w 18315"/>
                  <a:gd name="connsiteY1" fmla="*/ 32 h 18425"/>
                  <a:gd name="connsiteX2" fmla="*/ 42 w 18315"/>
                  <a:gd name="connsiteY2" fmla="*/ 10020 h 18425"/>
                  <a:gd name="connsiteX3" fmla="*/ 10030 w 18315"/>
                  <a:gd name="connsiteY3" fmla="*/ 18393 h 18425"/>
                  <a:gd name="connsiteX4" fmla="*/ 18283 w 18315"/>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5">
                    <a:moveTo>
                      <a:pt x="18283" y="8405"/>
                    </a:moveTo>
                    <a:cubicBezTo>
                      <a:pt x="17804" y="3322"/>
                      <a:pt x="13319" y="-386"/>
                      <a:pt x="8295" y="32"/>
                    </a:cubicBezTo>
                    <a:cubicBezTo>
                      <a:pt x="3271" y="510"/>
                      <a:pt x="-437" y="4996"/>
                      <a:pt x="42" y="10020"/>
                    </a:cubicBezTo>
                    <a:cubicBezTo>
                      <a:pt x="520" y="15103"/>
                      <a:pt x="5006" y="18811"/>
                      <a:pt x="10030" y="18393"/>
                    </a:cubicBezTo>
                    <a:cubicBezTo>
                      <a:pt x="15053" y="17915"/>
                      <a:pt x="18701" y="13429"/>
                      <a:pt x="18283" y="8405"/>
                    </a:cubicBezTo>
                    <a:close/>
                  </a:path>
                </a:pathLst>
              </a:custGeom>
              <a:grpFill/>
              <a:ln w="5978" cap="flat">
                <a:noFill/>
                <a:prstDash val="solid"/>
                <a:miter/>
              </a:ln>
            </p:spPr>
            <p:txBody>
              <a:bodyPr rtlCol="0" anchor="ctr"/>
              <a:lstStyle/>
              <a:p>
                <a:endParaRPr lang="en-GB"/>
              </a:p>
            </p:txBody>
          </p:sp>
        </p:grpSp>
        <p:grpSp>
          <p:nvGrpSpPr>
            <p:cNvPr id="769" name="Graphic 3">
              <a:extLst>
                <a:ext uri="{FF2B5EF4-FFF2-40B4-BE49-F238E27FC236}">
                  <a16:creationId xmlns:a16="http://schemas.microsoft.com/office/drawing/2014/main" id="{C5C79847-5B0C-4ADE-B679-02ED1ACE2808}"/>
                </a:ext>
              </a:extLst>
            </p:cNvPr>
            <p:cNvGrpSpPr/>
            <p:nvPr/>
          </p:nvGrpSpPr>
          <p:grpSpPr>
            <a:xfrm>
              <a:off x="5050701" y="1774561"/>
              <a:ext cx="85267" cy="128264"/>
              <a:chOff x="5050701" y="1774561"/>
              <a:chExt cx="85267" cy="128264"/>
            </a:xfrm>
            <a:grpFill/>
          </p:grpSpPr>
          <p:sp>
            <p:nvSpPr>
              <p:cNvPr id="3085" name="Vrije vorm: vorm 3084">
                <a:extLst>
                  <a:ext uri="{FF2B5EF4-FFF2-40B4-BE49-F238E27FC236}">
                    <a16:creationId xmlns:a16="http://schemas.microsoft.com/office/drawing/2014/main" id="{89F7A8D6-D2F7-49D1-BAF3-3AD100718A9E}"/>
                  </a:ext>
                </a:extLst>
              </p:cNvPr>
              <p:cNvSpPr/>
              <p:nvPr/>
            </p:nvSpPr>
            <p:spPr>
              <a:xfrm>
                <a:off x="5058335" y="1782594"/>
                <a:ext cx="69974" cy="112198"/>
              </a:xfrm>
              <a:custGeom>
                <a:avLst/>
                <a:gdLst>
                  <a:gd name="connsiteX0" fmla="*/ 69975 w 69974"/>
                  <a:gd name="connsiteY0" fmla="*/ 110583 h 112198"/>
                  <a:gd name="connsiteX1" fmla="*/ 67403 w 69974"/>
                  <a:gd name="connsiteY1" fmla="*/ 112198 h 112198"/>
                  <a:gd name="connsiteX2" fmla="*/ 0 w 69974"/>
                  <a:gd name="connsiteY2" fmla="*/ 1555 h 112198"/>
                  <a:gd name="connsiteX3" fmla="*/ 2572 w 69974"/>
                  <a:gd name="connsiteY3" fmla="*/ 0 h 112198"/>
                </a:gdLst>
                <a:ahLst/>
                <a:cxnLst>
                  <a:cxn ang="0">
                    <a:pos x="connsiteX0" y="connsiteY0"/>
                  </a:cxn>
                  <a:cxn ang="0">
                    <a:pos x="connsiteX1" y="connsiteY1"/>
                  </a:cxn>
                  <a:cxn ang="0">
                    <a:pos x="connsiteX2" y="connsiteY2"/>
                  </a:cxn>
                  <a:cxn ang="0">
                    <a:pos x="connsiteX3" y="connsiteY3"/>
                  </a:cxn>
                </a:cxnLst>
                <a:rect l="l" t="t" r="r" b="b"/>
                <a:pathLst>
                  <a:path w="69974" h="112198">
                    <a:moveTo>
                      <a:pt x="69975" y="110583"/>
                    </a:moveTo>
                    <a:lnTo>
                      <a:pt x="67403" y="112198"/>
                    </a:lnTo>
                    <a:lnTo>
                      <a:pt x="0" y="1555"/>
                    </a:lnTo>
                    <a:lnTo>
                      <a:pt x="2572" y="0"/>
                    </a:lnTo>
                    <a:close/>
                  </a:path>
                </a:pathLst>
              </a:custGeom>
              <a:grpFill/>
              <a:ln w="5978" cap="flat">
                <a:noFill/>
                <a:prstDash val="solid"/>
                <a:miter/>
              </a:ln>
            </p:spPr>
            <p:txBody>
              <a:bodyPr rtlCol="0" anchor="ctr"/>
              <a:lstStyle/>
              <a:p>
                <a:endParaRPr lang="en-GB"/>
              </a:p>
            </p:txBody>
          </p:sp>
          <p:sp>
            <p:nvSpPr>
              <p:cNvPr id="3086" name="Vrije vorm: vorm 3085">
                <a:extLst>
                  <a:ext uri="{FF2B5EF4-FFF2-40B4-BE49-F238E27FC236}">
                    <a16:creationId xmlns:a16="http://schemas.microsoft.com/office/drawing/2014/main" id="{5E2476A4-766C-46C7-BF71-2799E1C38B7F}"/>
                  </a:ext>
                </a:extLst>
              </p:cNvPr>
              <p:cNvSpPr/>
              <p:nvPr/>
            </p:nvSpPr>
            <p:spPr>
              <a:xfrm>
                <a:off x="5050701" y="1774561"/>
                <a:ext cx="18316" cy="18417"/>
              </a:xfrm>
              <a:custGeom>
                <a:avLst/>
                <a:gdLst>
                  <a:gd name="connsiteX0" fmla="*/ 1354 w 18316"/>
                  <a:gd name="connsiteY0" fmla="*/ 14014 h 18417"/>
                  <a:gd name="connsiteX1" fmla="*/ 4344 w 18316"/>
                  <a:gd name="connsiteY1" fmla="*/ 1335 h 18417"/>
                  <a:gd name="connsiteX2" fmla="*/ 16963 w 18316"/>
                  <a:gd name="connsiteY2" fmla="*/ 4445 h 18417"/>
                  <a:gd name="connsiteX3" fmla="*/ 13973 w 18316"/>
                  <a:gd name="connsiteY3" fmla="*/ 17124 h 18417"/>
                  <a:gd name="connsiteX4" fmla="*/ 1354 w 18316"/>
                  <a:gd name="connsiteY4" fmla="*/ 14014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17">
                    <a:moveTo>
                      <a:pt x="1354" y="14014"/>
                    </a:moveTo>
                    <a:cubicBezTo>
                      <a:pt x="-1278" y="9648"/>
                      <a:pt x="38" y="4026"/>
                      <a:pt x="4344" y="1335"/>
                    </a:cubicBezTo>
                    <a:cubicBezTo>
                      <a:pt x="8650" y="-1297"/>
                      <a:pt x="14272" y="79"/>
                      <a:pt x="16963" y="4445"/>
                    </a:cubicBezTo>
                    <a:cubicBezTo>
                      <a:pt x="19595" y="8810"/>
                      <a:pt x="18279" y="14432"/>
                      <a:pt x="13973" y="17124"/>
                    </a:cubicBezTo>
                    <a:cubicBezTo>
                      <a:pt x="9667" y="19695"/>
                      <a:pt x="3985" y="18320"/>
                      <a:pt x="1354" y="14014"/>
                    </a:cubicBezTo>
                    <a:close/>
                  </a:path>
                </a:pathLst>
              </a:custGeom>
              <a:grpFill/>
              <a:ln w="5978" cap="flat">
                <a:noFill/>
                <a:prstDash val="solid"/>
                <a:miter/>
              </a:ln>
            </p:spPr>
            <p:txBody>
              <a:bodyPr rtlCol="0" anchor="ctr"/>
              <a:lstStyle/>
              <a:p>
                <a:endParaRPr lang="en-GB"/>
              </a:p>
            </p:txBody>
          </p:sp>
          <p:sp>
            <p:nvSpPr>
              <p:cNvPr id="3087" name="Vrije vorm: vorm 3086">
                <a:extLst>
                  <a:ext uri="{FF2B5EF4-FFF2-40B4-BE49-F238E27FC236}">
                    <a16:creationId xmlns:a16="http://schemas.microsoft.com/office/drawing/2014/main" id="{107DBFE0-AA37-4055-AD91-77D6D71080E3}"/>
                  </a:ext>
                </a:extLst>
              </p:cNvPr>
              <p:cNvSpPr/>
              <p:nvPr/>
            </p:nvSpPr>
            <p:spPr>
              <a:xfrm>
                <a:off x="5117626" y="1884367"/>
                <a:ext cx="18343" cy="18458"/>
              </a:xfrm>
              <a:custGeom>
                <a:avLst/>
                <a:gdLst>
                  <a:gd name="connsiteX0" fmla="*/ 1354 w 18343"/>
                  <a:gd name="connsiteY0" fmla="*/ 14014 h 18458"/>
                  <a:gd name="connsiteX1" fmla="*/ 13973 w 18343"/>
                  <a:gd name="connsiteY1" fmla="*/ 17124 h 18458"/>
                  <a:gd name="connsiteX2" fmla="*/ 16963 w 18343"/>
                  <a:gd name="connsiteY2" fmla="*/ 4445 h 18458"/>
                  <a:gd name="connsiteX3" fmla="*/ 4344 w 18343"/>
                  <a:gd name="connsiteY3" fmla="*/ 1335 h 18458"/>
                  <a:gd name="connsiteX4" fmla="*/ 1354 w 18343"/>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354" y="14014"/>
                    </a:moveTo>
                    <a:cubicBezTo>
                      <a:pt x="3985" y="18380"/>
                      <a:pt x="9667" y="19755"/>
                      <a:pt x="13973" y="17124"/>
                    </a:cubicBezTo>
                    <a:cubicBezTo>
                      <a:pt x="18279" y="14492"/>
                      <a:pt x="19655" y="8810"/>
                      <a:pt x="16963" y="4445"/>
                    </a:cubicBezTo>
                    <a:cubicBezTo>
                      <a:pt x="14332" y="79"/>
                      <a:pt x="8650" y="-1297"/>
                      <a:pt x="4344" y="1335"/>
                    </a:cubicBezTo>
                    <a:cubicBezTo>
                      <a:pt x="38" y="4026"/>
                      <a:pt x="-1278" y="9648"/>
                      <a:pt x="1354" y="14014"/>
                    </a:cubicBezTo>
                    <a:close/>
                  </a:path>
                </a:pathLst>
              </a:custGeom>
              <a:grpFill/>
              <a:ln w="5978" cap="flat">
                <a:noFill/>
                <a:prstDash val="solid"/>
                <a:miter/>
              </a:ln>
            </p:spPr>
            <p:txBody>
              <a:bodyPr rtlCol="0" anchor="ctr"/>
              <a:lstStyle/>
              <a:p>
                <a:endParaRPr lang="en-GB"/>
              </a:p>
            </p:txBody>
          </p:sp>
        </p:grpSp>
        <p:grpSp>
          <p:nvGrpSpPr>
            <p:cNvPr id="770" name="Graphic 3">
              <a:extLst>
                <a:ext uri="{FF2B5EF4-FFF2-40B4-BE49-F238E27FC236}">
                  <a16:creationId xmlns:a16="http://schemas.microsoft.com/office/drawing/2014/main" id="{8BEBE874-771B-4B2D-B584-798E37FA4301}"/>
                </a:ext>
              </a:extLst>
            </p:cNvPr>
            <p:cNvGrpSpPr/>
            <p:nvPr/>
          </p:nvGrpSpPr>
          <p:grpSpPr>
            <a:xfrm>
              <a:off x="6252501" y="5245248"/>
              <a:ext cx="44385" cy="250529"/>
              <a:chOff x="6252501" y="5245248"/>
              <a:chExt cx="44385" cy="250529"/>
            </a:xfrm>
            <a:grpFill/>
          </p:grpSpPr>
          <p:sp>
            <p:nvSpPr>
              <p:cNvPr id="3082" name="Vrije vorm: vorm 3081">
                <a:extLst>
                  <a:ext uri="{FF2B5EF4-FFF2-40B4-BE49-F238E27FC236}">
                    <a16:creationId xmlns:a16="http://schemas.microsoft.com/office/drawing/2014/main" id="{31CA092C-34A4-488B-AEBD-51033F7D1C39}"/>
                  </a:ext>
                </a:extLst>
              </p:cNvPr>
              <p:cNvSpPr/>
              <p:nvPr/>
            </p:nvSpPr>
            <p:spPr>
              <a:xfrm>
                <a:off x="6260041" y="5253805"/>
                <a:ext cx="29245" cy="233367"/>
              </a:xfrm>
              <a:custGeom>
                <a:avLst/>
                <a:gdLst>
                  <a:gd name="connsiteX0" fmla="*/ 3050 w 29245"/>
                  <a:gd name="connsiteY0" fmla="*/ 0 h 233367"/>
                  <a:gd name="connsiteX1" fmla="*/ 29246 w 29245"/>
                  <a:gd name="connsiteY1" fmla="*/ 233009 h 233367"/>
                  <a:gd name="connsiteX2" fmla="*/ 26196 w 29245"/>
                  <a:gd name="connsiteY2" fmla="*/ 233368 h 233367"/>
                  <a:gd name="connsiteX3" fmla="*/ 0 w 29245"/>
                  <a:gd name="connsiteY3" fmla="*/ 359 h 233367"/>
                </a:gdLst>
                <a:ahLst/>
                <a:cxnLst>
                  <a:cxn ang="0">
                    <a:pos x="connsiteX0" y="connsiteY0"/>
                  </a:cxn>
                  <a:cxn ang="0">
                    <a:pos x="connsiteX1" y="connsiteY1"/>
                  </a:cxn>
                  <a:cxn ang="0">
                    <a:pos x="connsiteX2" y="connsiteY2"/>
                  </a:cxn>
                  <a:cxn ang="0">
                    <a:pos x="connsiteX3" y="connsiteY3"/>
                  </a:cxn>
                </a:cxnLst>
                <a:rect l="l" t="t" r="r" b="b"/>
                <a:pathLst>
                  <a:path w="29245" h="233367">
                    <a:moveTo>
                      <a:pt x="3050" y="0"/>
                    </a:moveTo>
                    <a:lnTo>
                      <a:pt x="29246" y="233009"/>
                    </a:lnTo>
                    <a:lnTo>
                      <a:pt x="26196" y="233368"/>
                    </a:lnTo>
                    <a:lnTo>
                      <a:pt x="0" y="359"/>
                    </a:lnTo>
                    <a:close/>
                  </a:path>
                </a:pathLst>
              </a:custGeom>
              <a:grpFill/>
              <a:ln w="5978" cap="flat">
                <a:noFill/>
                <a:prstDash val="solid"/>
                <a:miter/>
              </a:ln>
            </p:spPr>
            <p:txBody>
              <a:bodyPr rtlCol="0" anchor="ctr"/>
              <a:lstStyle/>
              <a:p>
                <a:endParaRPr lang="en-GB"/>
              </a:p>
            </p:txBody>
          </p:sp>
          <p:sp>
            <p:nvSpPr>
              <p:cNvPr id="3083" name="Vrije vorm: vorm 3082">
                <a:extLst>
                  <a:ext uri="{FF2B5EF4-FFF2-40B4-BE49-F238E27FC236}">
                    <a16:creationId xmlns:a16="http://schemas.microsoft.com/office/drawing/2014/main" id="{E77F957F-BD5F-4EA9-A751-45F554738FEB}"/>
                  </a:ext>
                </a:extLst>
              </p:cNvPr>
              <p:cNvSpPr/>
              <p:nvPr/>
            </p:nvSpPr>
            <p:spPr>
              <a:xfrm>
                <a:off x="6278577" y="5477360"/>
                <a:ext cx="18310" cy="18417"/>
              </a:xfrm>
              <a:custGeom>
                <a:avLst/>
                <a:gdLst>
                  <a:gd name="connsiteX0" fmla="*/ 18246 w 18310"/>
                  <a:gd name="connsiteY0" fmla="*/ 8198 h 18417"/>
                  <a:gd name="connsiteX1" fmla="*/ 10172 w 18310"/>
                  <a:gd name="connsiteY1" fmla="*/ 18365 h 18417"/>
                  <a:gd name="connsiteX2" fmla="*/ 64 w 18310"/>
                  <a:gd name="connsiteY2" fmla="*/ 10232 h 18417"/>
                  <a:gd name="connsiteX3" fmla="*/ 8138 w 18310"/>
                  <a:gd name="connsiteY3" fmla="*/ 64 h 18417"/>
                  <a:gd name="connsiteX4" fmla="*/ 18246 w 18310"/>
                  <a:gd name="connsiteY4" fmla="*/ 8198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17">
                    <a:moveTo>
                      <a:pt x="18246" y="8198"/>
                    </a:moveTo>
                    <a:cubicBezTo>
                      <a:pt x="18844" y="13281"/>
                      <a:pt x="15196" y="17827"/>
                      <a:pt x="10172" y="18365"/>
                    </a:cubicBezTo>
                    <a:cubicBezTo>
                      <a:pt x="5148" y="18903"/>
                      <a:pt x="603" y="15255"/>
                      <a:pt x="64" y="10232"/>
                    </a:cubicBezTo>
                    <a:cubicBezTo>
                      <a:pt x="-534" y="5148"/>
                      <a:pt x="3114" y="602"/>
                      <a:pt x="8138" y="64"/>
                    </a:cubicBezTo>
                    <a:cubicBezTo>
                      <a:pt x="13102" y="-534"/>
                      <a:pt x="17648" y="3114"/>
                      <a:pt x="18246" y="8198"/>
                    </a:cubicBezTo>
                    <a:close/>
                  </a:path>
                </a:pathLst>
              </a:custGeom>
              <a:grpFill/>
              <a:ln w="5978" cap="flat">
                <a:noFill/>
                <a:prstDash val="solid"/>
                <a:miter/>
              </a:ln>
            </p:spPr>
            <p:txBody>
              <a:bodyPr rtlCol="0" anchor="ctr"/>
              <a:lstStyle/>
              <a:p>
                <a:endParaRPr lang="en-GB"/>
              </a:p>
            </p:txBody>
          </p:sp>
          <p:sp>
            <p:nvSpPr>
              <p:cNvPr id="3084" name="Vrije vorm: vorm 3083">
                <a:extLst>
                  <a:ext uri="{FF2B5EF4-FFF2-40B4-BE49-F238E27FC236}">
                    <a16:creationId xmlns:a16="http://schemas.microsoft.com/office/drawing/2014/main" id="{48BAA321-A027-454B-8526-5C8D6E29639F}"/>
                  </a:ext>
                </a:extLst>
              </p:cNvPr>
              <p:cNvSpPr/>
              <p:nvPr/>
            </p:nvSpPr>
            <p:spPr>
              <a:xfrm>
                <a:off x="6252501" y="5245248"/>
                <a:ext cx="18298" cy="18429"/>
              </a:xfrm>
              <a:custGeom>
                <a:avLst/>
                <a:gdLst>
                  <a:gd name="connsiteX0" fmla="*/ 18245 w 18298"/>
                  <a:gd name="connsiteY0" fmla="*/ 8198 h 18429"/>
                  <a:gd name="connsiteX1" fmla="*/ 8138 w 18298"/>
                  <a:gd name="connsiteY1" fmla="*/ 64 h 18429"/>
                  <a:gd name="connsiteX2" fmla="*/ 64 w 18298"/>
                  <a:gd name="connsiteY2" fmla="*/ 10232 h 18429"/>
                  <a:gd name="connsiteX3" fmla="*/ 10172 w 18298"/>
                  <a:gd name="connsiteY3" fmla="*/ 18365 h 18429"/>
                  <a:gd name="connsiteX4" fmla="*/ 18245 w 18298"/>
                  <a:gd name="connsiteY4" fmla="*/ 819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9">
                    <a:moveTo>
                      <a:pt x="18245" y="8198"/>
                    </a:moveTo>
                    <a:cubicBezTo>
                      <a:pt x="17648" y="3114"/>
                      <a:pt x="13162" y="-534"/>
                      <a:pt x="8138" y="64"/>
                    </a:cubicBezTo>
                    <a:cubicBezTo>
                      <a:pt x="3114" y="602"/>
                      <a:pt x="-534" y="5148"/>
                      <a:pt x="64" y="10232"/>
                    </a:cubicBezTo>
                    <a:cubicBezTo>
                      <a:pt x="662" y="15315"/>
                      <a:pt x="5148" y="18963"/>
                      <a:pt x="10172" y="18365"/>
                    </a:cubicBezTo>
                    <a:cubicBezTo>
                      <a:pt x="15196" y="17767"/>
                      <a:pt x="18784" y="13222"/>
                      <a:pt x="18245" y="8198"/>
                    </a:cubicBezTo>
                    <a:close/>
                  </a:path>
                </a:pathLst>
              </a:custGeom>
              <a:grpFill/>
              <a:ln w="5978" cap="flat">
                <a:noFill/>
                <a:prstDash val="solid"/>
                <a:miter/>
              </a:ln>
            </p:spPr>
            <p:txBody>
              <a:bodyPr rtlCol="0" anchor="ctr"/>
              <a:lstStyle/>
              <a:p>
                <a:endParaRPr lang="en-GB"/>
              </a:p>
            </p:txBody>
          </p:sp>
        </p:grpSp>
        <p:grpSp>
          <p:nvGrpSpPr>
            <p:cNvPr id="771" name="Graphic 3">
              <a:extLst>
                <a:ext uri="{FF2B5EF4-FFF2-40B4-BE49-F238E27FC236}">
                  <a16:creationId xmlns:a16="http://schemas.microsoft.com/office/drawing/2014/main" id="{426FBAF9-0826-43BF-8D25-1C71D51D3DC0}"/>
                </a:ext>
              </a:extLst>
            </p:cNvPr>
            <p:cNvGrpSpPr/>
            <p:nvPr/>
          </p:nvGrpSpPr>
          <p:grpSpPr>
            <a:xfrm>
              <a:off x="5003645" y="1766561"/>
              <a:ext cx="154114" cy="232215"/>
              <a:chOff x="5003645" y="1766561"/>
              <a:chExt cx="154114" cy="232215"/>
            </a:xfrm>
            <a:grpFill/>
          </p:grpSpPr>
          <p:sp>
            <p:nvSpPr>
              <p:cNvPr id="3079" name="Vrije vorm: vorm 3078">
                <a:extLst>
                  <a:ext uri="{FF2B5EF4-FFF2-40B4-BE49-F238E27FC236}">
                    <a16:creationId xmlns:a16="http://schemas.microsoft.com/office/drawing/2014/main" id="{7D16CBD8-8819-46A1-8DC9-AD0CAA7300F2}"/>
                  </a:ext>
                </a:extLst>
              </p:cNvPr>
              <p:cNvSpPr/>
              <p:nvPr/>
            </p:nvSpPr>
            <p:spPr>
              <a:xfrm>
                <a:off x="5011266" y="1774580"/>
                <a:ext cx="138812" cy="216203"/>
              </a:xfrm>
              <a:custGeom>
                <a:avLst/>
                <a:gdLst>
                  <a:gd name="connsiteX0" fmla="*/ 138812 w 138812"/>
                  <a:gd name="connsiteY0" fmla="*/ 214528 h 216203"/>
                  <a:gd name="connsiteX1" fmla="*/ 136241 w 138812"/>
                  <a:gd name="connsiteY1" fmla="*/ 216203 h 216203"/>
                  <a:gd name="connsiteX2" fmla="*/ 0 w 138812"/>
                  <a:gd name="connsiteY2" fmla="*/ 1615 h 216203"/>
                  <a:gd name="connsiteX3" fmla="*/ 2572 w 138812"/>
                  <a:gd name="connsiteY3" fmla="*/ 0 h 216203"/>
                </a:gdLst>
                <a:ahLst/>
                <a:cxnLst>
                  <a:cxn ang="0">
                    <a:pos x="connsiteX0" y="connsiteY0"/>
                  </a:cxn>
                  <a:cxn ang="0">
                    <a:pos x="connsiteX1" y="connsiteY1"/>
                  </a:cxn>
                  <a:cxn ang="0">
                    <a:pos x="connsiteX2" y="connsiteY2"/>
                  </a:cxn>
                  <a:cxn ang="0">
                    <a:pos x="connsiteX3" y="connsiteY3"/>
                  </a:cxn>
                </a:cxnLst>
                <a:rect l="l" t="t" r="r" b="b"/>
                <a:pathLst>
                  <a:path w="138812" h="216203">
                    <a:moveTo>
                      <a:pt x="138812" y="214528"/>
                    </a:moveTo>
                    <a:lnTo>
                      <a:pt x="136241" y="216203"/>
                    </a:lnTo>
                    <a:lnTo>
                      <a:pt x="0" y="1615"/>
                    </a:lnTo>
                    <a:lnTo>
                      <a:pt x="2572" y="0"/>
                    </a:lnTo>
                    <a:close/>
                  </a:path>
                </a:pathLst>
              </a:custGeom>
              <a:grpFill/>
              <a:ln w="5978" cap="flat">
                <a:noFill/>
                <a:prstDash val="solid"/>
                <a:miter/>
              </a:ln>
            </p:spPr>
            <p:txBody>
              <a:bodyPr rtlCol="0" anchor="ctr"/>
              <a:lstStyle/>
              <a:p>
                <a:endParaRPr lang="en-GB"/>
              </a:p>
            </p:txBody>
          </p:sp>
          <p:sp>
            <p:nvSpPr>
              <p:cNvPr id="3080" name="Vrije vorm: vorm 3079">
                <a:extLst>
                  <a:ext uri="{FF2B5EF4-FFF2-40B4-BE49-F238E27FC236}">
                    <a16:creationId xmlns:a16="http://schemas.microsoft.com/office/drawing/2014/main" id="{1AEA7D23-8726-484E-8C20-290B64A030FA}"/>
                  </a:ext>
                </a:extLst>
              </p:cNvPr>
              <p:cNvSpPr/>
              <p:nvPr/>
            </p:nvSpPr>
            <p:spPr>
              <a:xfrm>
                <a:off x="5003645" y="1766561"/>
                <a:ext cx="18351" cy="18464"/>
              </a:xfrm>
              <a:custGeom>
                <a:avLst/>
                <a:gdLst>
                  <a:gd name="connsiteX0" fmla="*/ 1461 w 18351"/>
                  <a:gd name="connsiteY0" fmla="*/ 14180 h 18464"/>
                  <a:gd name="connsiteX1" fmla="*/ 4212 w 18351"/>
                  <a:gd name="connsiteY1" fmla="*/ 1441 h 18464"/>
                  <a:gd name="connsiteX2" fmla="*/ 16891 w 18351"/>
                  <a:gd name="connsiteY2" fmla="*/ 4311 h 18464"/>
                  <a:gd name="connsiteX3" fmla="*/ 14140 w 18351"/>
                  <a:gd name="connsiteY3" fmla="*/ 17050 h 18464"/>
                  <a:gd name="connsiteX4" fmla="*/ 1461 w 18351"/>
                  <a:gd name="connsiteY4" fmla="*/ 14180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4">
                    <a:moveTo>
                      <a:pt x="1461" y="14180"/>
                    </a:moveTo>
                    <a:cubicBezTo>
                      <a:pt x="-1290" y="9873"/>
                      <a:pt x="-35" y="4192"/>
                      <a:pt x="4212" y="1441"/>
                    </a:cubicBezTo>
                    <a:cubicBezTo>
                      <a:pt x="8458" y="-1311"/>
                      <a:pt x="14140" y="5"/>
                      <a:pt x="16891" y="4311"/>
                    </a:cubicBezTo>
                    <a:cubicBezTo>
                      <a:pt x="19642" y="8617"/>
                      <a:pt x="18386" y="14299"/>
                      <a:pt x="14140" y="17050"/>
                    </a:cubicBezTo>
                    <a:cubicBezTo>
                      <a:pt x="9834" y="19742"/>
                      <a:pt x="4152" y="18486"/>
                      <a:pt x="1461" y="14180"/>
                    </a:cubicBezTo>
                    <a:close/>
                  </a:path>
                </a:pathLst>
              </a:custGeom>
              <a:grpFill/>
              <a:ln w="5978" cap="flat">
                <a:noFill/>
                <a:prstDash val="solid"/>
                <a:miter/>
              </a:ln>
            </p:spPr>
            <p:txBody>
              <a:bodyPr rtlCol="0" anchor="ctr"/>
              <a:lstStyle/>
              <a:p>
                <a:endParaRPr lang="en-GB"/>
              </a:p>
            </p:txBody>
          </p:sp>
          <p:sp>
            <p:nvSpPr>
              <p:cNvPr id="3081" name="Vrije vorm: vorm 3080">
                <a:extLst>
                  <a:ext uri="{FF2B5EF4-FFF2-40B4-BE49-F238E27FC236}">
                    <a16:creationId xmlns:a16="http://schemas.microsoft.com/office/drawing/2014/main" id="{0028D680-BBBC-41AE-8B89-8852EE245D68}"/>
                  </a:ext>
                </a:extLst>
              </p:cNvPr>
              <p:cNvSpPr/>
              <p:nvPr/>
            </p:nvSpPr>
            <p:spPr>
              <a:xfrm>
                <a:off x="5139408" y="1980338"/>
                <a:ext cx="18351" cy="18437"/>
              </a:xfrm>
              <a:custGeom>
                <a:avLst/>
                <a:gdLst>
                  <a:gd name="connsiteX0" fmla="*/ 1461 w 18351"/>
                  <a:gd name="connsiteY0" fmla="*/ 14153 h 18437"/>
                  <a:gd name="connsiteX1" fmla="*/ 14140 w 18351"/>
                  <a:gd name="connsiteY1" fmla="*/ 17024 h 18437"/>
                  <a:gd name="connsiteX2" fmla="*/ 16891 w 18351"/>
                  <a:gd name="connsiteY2" fmla="*/ 4285 h 18437"/>
                  <a:gd name="connsiteX3" fmla="*/ 4212 w 18351"/>
                  <a:gd name="connsiteY3" fmla="*/ 1414 h 18437"/>
                  <a:gd name="connsiteX4" fmla="*/ 1461 w 18351"/>
                  <a:gd name="connsiteY4" fmla="*/ 14153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37">
                    <a:moveTo>
                      <a:pt x="1461" y="14153"/>
                    </a:moveTo>
                    <a:cubicBezTo>
                      <a:pt x="4212" y="18459"/>
                      <a:pt x="9834" y="19715"/>
                      <a:pt x="14140" y="17024"/>
                    </a:cubicBezTo>
                    <a:cubicBezTo>
                      <a:pt x="18386" y="14273"/>
                      <a:pt x="19642" y="8591"/>
                      <a:pt x="16891" y="4285"/>
                    </a:cubicBezTo>
                    <a:cubicBezTo>
                      <a:pt x="14140" y="-21"/>
                      <a:pt x="8518" y="-1277"/>
                      <a:pt x="4212" y="1414"/>
                    </a:cubicBezTo>
                    <a:cubicBezTo>
                      <a:pt x="-34" y="4165"/>
                      <a:pt x="-1291" y="9847"/>
                      <a:pt x="1461" y="14153"/>
                    </a:cubicBezTo>
                    <a:close/>
                  </a:path>
                </a:pathLst>
              </a:custGeom>
              <a:grpFill/>
              <a:ln w="5978" cap="flat">
                <a:noFill/>
                <a:prstDash val="solid"/>
                <a:miter/>
              </a:ln>
            </p:spPr>
            <p:txBody>
              <a:bodyPr rtlCol="0" anchor="ctr"/>
              <a:lstStyle/>
              <a:p>
                <a:endParaRPr lang="en-GB"/>
              </a:p>
            </p:txBody>
          </p:sp>
        </p:grpSp>
        <p:grpSp>
          <p:nvGrpSpPr>
            <p:cNvPr id="772" name="Graphic 3">
              <a:extLst>
                <a:ext uri="{FF2B5EF4-FFF2-40B4-BE49-F238E27FC236}">
                  <a16:creationId xmlns:a16="http://schemas.microsoft.com/office/drawing/2014/main" id="{60DF2776-86E8-4F46-BAD6-B4BCDC531E30}"/>
                </a:ext>
              </a:extLst>
            </p:cNvPr>
            <p:cNvGrpSpPr/>
            <p:nvPr/>
          </p:nvGrpSpPr>
          <p:grpSpPr>
            <a:xfrm>
              <a:off x="4823757" y="1316616"/>
              <a:ext cx="348750" cy="645098"/>
              <a:chOff x="4823757" y="1316616"/>
              <a:chExt cx="348750" cy="645098"/>
            </a:xfrm>
            <a:grpFill/>
          </p:grpSpPr>
          <p:sp>
            <p:nvSpPr>
              <p:cNvPr id="3076" name="Vrije vorm: vorm 3075">
                <a:extLst>
                  <a:ext uri="{FF2B5EF4-FFF2-40B4-BE49-F238E27FC236}">
                    <a16:creationId xmlns:a16="http://schemas.microsoft.com/office/drawing/2014/main" id="{752B2F55-B01C-495C-96E2-EE8A37D9E111}"/>
                  </a:ext>
                </a:extLst>
              </p:cNvPr>
              <p:cNvSpPr/>
              <p:nvPr/>
            </p:nvSpPr>
            <p:spPr>
              <a:xfrm>
                <a:off x="4831366" y="1324710"/>
                <a:ext cx="333544" cy="628932"/>
              </a:xfrm>
              <a:custGeom>
                <a:avLst/>
                <a:gdLst>
                  <a:gd name="connsiteX0" fmla="*/ 333545 w 333544"/>
                  <a:gd name="connsiteY0" fmla="*/ 627497 h 628932"/>
                  <a:gd name="connsiteX1" fmla="*/ 330854 w 333544"/>
                  <a:gd name="connsiteY1" fmla="*/ 628933 h 628932"/>
                  <a:gd name="connsiteX2" fmla="*/ 0 w 333544"/>
                  <a:gd name="connsiteY2" fmla="*/ 1435 h 628932"/>
                  <a:gd name="connsiteX3" fmla="*/ 2691 w 333544"/>
                  <a:gd name="connsiteY3" fmla="*/ 0 h 628932"/>
                </a:gdLst>
                <a:ahLst/>
                <a:cxnLst>
                  <a:cxn ang="0">
                    <a:pos x="connsiteX0" y="connsiteY0"/>
                  </a:cxn>
                  <a:cxn ang="0">
                    <a:pos x="connsiteX1" y="connsiteY1"/>
                  </a:cxn>
                  <a:cxn ang="0">
                    <a:pos x="connsiteX2" y="connsiteY2"/>
                  </a:cxn>
                  <a:cxn ang="0">
                    <a:pos x="connsiteX3" y="connsiteY3"/>
                  </a:cxn>
                </a:cxnLst>
                <a:rect l="l" t="t" r="r" b="b"/>
                <a:pathLst>
                  <a:path w="333544" h="628932">
                    <a:moveTo>
                      <a:pt x="333545" y="627497"/>
                    </a:moveTo>
                    <a:lnTo>
                      <a:pt x="330854" y="628933"/>
                    </a:lnTo>
                    <a:lnTo>
                      <a:pt x="0" y="1435"/>
                    </a:lnTo>
                    <a:lnTo>
                      <a:pt x="2691" y="0"/>
                    </a:lnTo>
                    <a:close/>
                  </a:path>
                </a:pathLst>
              </a:custGeom>
              <a:grpFill/>
              <a:ln w="5978" cap="flat">
                <a:noFill/>
                <a:prstDash val="solid"/>
                <a:miter/>
              </a:ln>
            </p:spPr>
            <p:txBody>
              <a:bodyPr rtlCol="0" anchor="ctr"/>
              <a:lstStyle/>
              <a:p>
                <a:endParaRPr lang="en-GB"/>
              </a:p>
            </p:txBody>
          </p:sp>
          <p:sp>
            <p:nvSpPr>
              <p:cNvPr id="3077" name="Vrije vorm: vorm 3076">
                <a:extLst>
                  <a:ext uri="{FF2B5EF4-FFF2-40B4-BE49-F238E27FC236}">
                    <a16:creationId xmlns:a16="http://schemas.microsoft.com/office/drawing/2014/main" id="{A77062CA-981E-4372-93C2-477027A4AA5F}"/>
                  </a:ext>
                </a:extLst>
              </p:cNvPr>
              <p:cNvSpPr/>
              <p:nvPr/>
            </p:nvSpPr>
            <p:spPr>
              <a:xfrm>
                <a:off x="5154204" y="1943276"/>
                <a:ext cx="18303" cy="18438"/>
              </a:xfrm>
              <a:custGeom>
                <a:avLst/>
                <a:gdLst>
                  <a:gd name="connsiteX0" fmla="*/ 17226 w 18303"/>
                  <a:gd name="connsiteY0" fmla="*/ 4924 h 18438"/>
                  <a:gd name="connsiteX1" fmla="*/ 13458 w 18303"/>
                  <a:gd name="connsiteY1" fmla="*/ 17364 h 18438"/>
                  <a:gd name="connsiteX2" fmla="*/ 1078 w 18303"/>
                  <a:gd name="connsiteY2" fmla="*/ 13477 h 18438"/>
                  <a:gd name="connsiteX3" fmla="*/ 4846 w 18303"/>
                  <a:gd name="connsiteY3" fmla="*/ 1037 h 18438"/>
                  <a:gd name="connsiteX4" fmla="*/ 17226 w 18303"/>
                  <a:gd name="connsiteY4" fmla="*/ 4924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38">
                    <a:moveTo>
                      <a:pt x="17226" y="4924"/>
                    </a:moveTo>
                    <a:cubicBezTo>
                      <a:pt x="19618" y="9410"/>
                      <a:pt x="17884" y="14972"/>
                      <a:pt x="13458" y="17364"/>
                    </a:cubicBezTo>
                    <a:cubicBezTo>
                      <a:pt x="8972" y="19756"/>
                      <a:pt x="3410" y="18022"/>
                      <a:pt x="1078" y="13477"/>
                    </a:cubicBezTo>
                    <a:cubicBezTo>
                      <a:pt x="-1314" y="8991"/>
                      <a:pt x="420" y="3429"/>
                      <a:pt x="4846" y="1037"/>
                    </a:cubicBezTo>
                    <a:cubicBezTo>
                      <a:pt x="9331" y="-1296"/>
                      <a:pt x="14894" y="439"/>
                      <a:pt x="17226" y="4924"/>
                    </a:cubicBezTo>
                    <a:close/>
                  </a:path>
                </a:pathLst>
              </a:custGeom>
              <a:grpFill/>
              <a:ln w="5978" cap="flat">
                <a:noFill/>
                <a:prstDash val="solid"/>
                <a:miter/>
              </a:ln>
            </p:spPr>
            <p:txBody>
              <a:bodyPr rtlCol="0" anchor="ctr"/>
              <a:lstStyle/>
              <a:p>
                <a:endParaRPr lang="en-GB"/>
              </a:p>
            </p:txBody>
          </p:sp>
          <p:sp>
            <p:nvSpPr>
              <p:cNvPr id="3078" name="Vrije vorm: vorm 3077">
                <a:extLst>
                  <a:ext uri="{FF2B5EF4-FFF2-40B4-BE49-F238E27FC236}">
                    <a16:creationId xmlns:a16="http://schemas.microsoft.com/office/drawing/2014/main" id="{06BC9E90-F334-4629-8D86-6A97214DBDA7}"/>
                  </a:ext>
                </a:extLst>
              </p:cNvPr>
              <p:cNvSpPr/>
              <p:nvPr/>
            </p:nvSpPr>
            <p:spPr>
              <a:xfrm>
                <a:off x="4823757" y="1316616"/>
                <a:ext cx="18315" cy="18400"/>
              </a:xfrm>
              <a:custGeom>
                <a:avLst/>
                <a:gdLst>
                  <a:gd name="connsiteX0" fmla="*/ 17238 w 18315"/>
                  <a:gd name="connsiteY0" fmla="*/ 4924 h 18400"/>
                  <a:gd name="connsiteX1" fmla="*/ 4857 w 18315"/>
                  <a:gd name="connsiteY1" fmla="*/ 1037 h 18400"/>
                  <a:gd name="connsiteX2" fmla="*/ 1090 w 18315"/>
                  <a:gd name="connsiteY2" fmla="*/ 13477 h 18400"/>
                  <a:gd name="connsiteX3" fmla="*/ 13470 w 18315"/>
                  <a:gd name="connsiteY3" fmla="*/ 17364 h 18400"/>
                  <a:gd name="connsiteX4" fmla="*/ 17238 w 18315"/>
                  <a:gd name="connsiteY4" fmla="*/ 492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00">
                    <a:moveTo>
                      <a:pt x="17238" y="4924"/>
                    </a:moveTo>
                    <a:cubicBezTo>
                      <a:pt x="14846" y="439"/>
                      <a:pt x="9283" y="-1296"/>
                      <a:pt x="4857" y="1037"/>
                    </a:cubicBezTo>
                    <a:cubicBezTo>
                      <a:pt x="372" y="3429"/>
                      <a:pt x="-1303" y="8991"/>
                      <a:pt x="1090" y="13477"/>
                    </a:cubicBezTo>
                    <a:cubicBezTo>
                      <a:pt x="3482" y="17962"/>
                      <a:pt x="8984" y="19697"/>
                      <a:pt x="13470" y="17364"/>
                    </a:cubicBezTo>
                    <a:cubicBezTo>
                      <a:pt x="17896" y="14972"/>
                      <a:pt x="19630" y="9410"/>
                      <a:pt x="17238" y="4924"/>
                    </a:cubicBezTo>
                    <a:close/>
                  </a:path>
                </a:pathLst>
              </a:custGeom>
              <a:grpFill/>
              <a:ln w="5978" cap="flat">
                <a:noFill/>
                <a:prstDash val="solid"/>
                <a:miter/>
              </a:ln>
            </p:spPr>
            <p:txBody>
              <a:bodyPr rtlCol="0" anchor="ctr"/>
              <a:lstStyle/>
              <a:p>
                <a:endParaRPr lang="en-GB"/>
              </a:p>
            </p:txBody>
          </p:sp>
        </p:grpSp>
        <p:grpSp>
          <p:nvGrpSpPr>
            <p:cNvPr id="773" name="Graphic 3">
              <a:extLst>
                <a:ext uri="{FF2B5EF4-FFF2-40B4-BE49-F238E27FC236}">
                  <a16:creationId xmlns:a16="http://schemas.microsoft.com/office/drawing/2014/main" id="{4D2822B0-735A-4B1D-BB60-2D27C4904918}"/>
                </a:ext>
              </a:extLst>
            </p:cNvPr>
            <p:cNvGrpSpPr/>
            <p:nvPr/>
          </p:nvGrpSpPr>
          <p:grpSpPr>
            <a:xfrm>
              <a:off x="4824110" y="1316392"/>
              <a:ext cx="301169" cy="502568"/>
              <a:chOff x="4824110" y="1316392"/>
              <a:chExt cx="301169" cy="502568"/>
            </a:xfrm>
            <a:grpFill/>
          </p:grpSpPr>
          <p:sp>
            <p:nvSpPr>
              <p:cNvPr id="3073" name="Vrije vorm: vorm 3072">
                <a:extLst>
                  <a:ext uri="{FF2B5EF4-FFF2-40B4-BE49-F238E27FC236}">
                    <a16:creationId xmlns:a16="http://schemas.microsoft.com/office/drawing/2014/main" id="{6798117E-FF3F-49EB-9C54-061C9A66156B}"/>
                  </a:ext>
                </a:extLst>
              </p:cNvPr>
              <p:cNvSpPr/>
              <p:nvPr/>
            </p:nvSpPr>
            <p:spPr>
              <a:xfrm>
                <a:off x="4831725" y="1324471"/>
                <a:ext cx="285938" cy="486471"/>
              </a:xfrm>
              <a:custGeom>
                <a:avLst/>
                <a:gdLst>
                  <a:gd name="connsiteX0" fmla="*/ 285938 w 285938"/>
                  <a:gd name="connsiteY0" fmla="*/ 484977 h 486471"/>
                  <a:gd name="connsiteX1" fmla="*/ 283307 w 285938"/>
                  <a:gd name="connsiteY1" fmla="*/ 486472 h 486471"/>
                  <a:gd name="connsiteX2" fmla="*/ 0 w 285938"/>
                  <a:gd name="connsiteY2" fmla="*/ 1555 h 486471"/>
                  <a:gd name="connsiteX3" fmla="*/ 2632 w 285938"/>
                  <a:gd name="connsiteY3" fmla="*/ 0 h 486471"/>
                </a:gdLst>
                <a:ahLst/>
                <a:cxnLst>
                  <a:cxn ang="0">
                    <a:pos x="connsiteX0" y="connsiteY0"/>
                  </a:cxn>
                  <a:cxn ang="0">
                    <a:pos x="connsiteX1" y="connsiteY1"/>
                  </a:cxn>
                  <a:cxn ang="0">
                    <a:pos x="connsiteX2" y="connsiteY2"/>
                  </a:cxn>
                  <a:cxn ang="0">
                    <a:pos x="connsiteX3" y="connsiteY3"/>
                  </a:cxn>
                </a:cxnLst>
                <a:rect l="l" t="t" r="r" b="b"/>
                <a:pathLst>
                  <a:path w="285938" h="486471">
                    <a:moveTo>
                      <a:pt x="285938" y="484977"/>
                    </a:moveTo>
                    <a:lnTo>
                      <a:pt x="283307" y="486472"/>
                    </a:lnTo>
                    <a:lnTo>
                      <a:pt x="0" y="1555"/>
                    </a:lnTo>
                    <a:lnTo>
                      <a:pt x="2632" y="0"/>
                    </a:lnTo>
                    <a:close/>
                  </a:path>
                </a:pathLst>
              </a:custGeom>
              <a:grpFill/>
              <a:ln w="5978" cap="flat">
                <a:noFill/>
                <a:prstDash val="solid"/>
                <a:miter/>
              </a:ln>
            </p:spPr>
            <p:txBody>
              <a:bodyPr rtlCol="0" anchor="ctr"/>
              <a:lstStyle/>
              <a:p>
                <a:endParaRPr lang="en-GB"/>
              </a:p>
            </p:txBody>
          </p:sp>
          <p:sp>
            <p:nvSpPr>
              <p:cNvPr id="3074" name="Vrije vorm: vorm 3073">
                <a:extLst>
                  <a:ext uri="{FF2B5EF4-FFF2-40B4-BE49-F238E27FC236}">
                    <a16:creationId xmlns:a16="http://schemas.microsoft.com/office/drawing/2014/main" id="{0CFBF915-E582-4B82-A048-B24C61E9E19E}"/>
                  </a:ext>
                </a:extLst>
              </p:cNvPr>
              <p:cNvSpPr/>
              <p:nvPr/>
            </p:nvSpPr>
            <p:spPr>
              <a:xfrm>
                <a:off x="4824110" y="1316392"/>
                <a:ext cx="18341" cy="18429"/>
              </a:xfrm>
              <a:custGeom>
                <a:avLst/>
                <a:gdLst>
                  <a:gd name="connsiteX0" fmla="*/ 1276 w 18341"/>
                  <a:gd name="connsiteY0" fmla="*/ 13880 h 18429"/>
                  <a:gd name="connsiteX1" fmla="*/ 4505 w 18341"/>
                  <a:gd name="connsiteY1" fmla="*/ 1260 h 18429"/>
                  <a:gd name="connsiteX2" fmla="*/ 17065 w 18341"/>
                  <a:gd name="connsiteY2" fmla="*/ 4550 h 18429"/>
                  <a:gd name="connsiteX3" fmla="*/ 13835 w 18341"/>
                  <a:gd name="connsiteY3" fmla="*/ 17169 h 18429"/>
                  <a:gd name="connsiteX4" fmla="*/ 1276 w 18341"/>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9">
                    <a:moveTo>
                      <a:pt x="1276" y="13880"/>
                    </a:moveTo>
                    <a:cubicBezTo>
                      <a:pt x="-1296" y="9514"/>
                      <a:pt x="140" y="3832"/>
                      <a:pt x="4505" y="1260"/>
                    </a:cubicBezTo>
                    <a:cubicBezTo>
                      <a:pt x="8872" y="-1311"/>
                      <a:pt x="14493" y="184"/>
                      <a:pt x="17065" y="4550"/>
                    </a:cubicBezTo>
                    <a:cubicBezTo>
                      <a:pt x="19637" y="8916"/>
                      <a:pt x="18202" y="14597"/>
                      <a:pt x="13835" y="17169"/>
                    </a:cubicBezTo>
                    <a:cubicBezTo>
                      <a:pt x="9410" y="19741"/>
                      <a:pt x="3788" y="18246"/>
                      <a:pt x="1276" y="13880"/>
                    </a:cubicBezTo>
                    <a:close/>
                  </a:path>
                </a:pathLst>
              </a:custGeom>
              <a:grpFill/>
              <a:ln w="5978" cap="flat">
                <a:noFill/>
                <a:prstDash val="solid"/>
                <a:miter/>
              </a:ln>
            </p:spPr>
            <p:txBody>
              <a:bodyPr rtlCol="0" anchor="ctr"/>
              <a:lstStyle/>
              <a:p>
                <a:endParaRPr lang="en-GB"/>
              </a:p>
            </p:txBody>
          </p:sp>
          <p:sp>
            <p:nvSpPr>
              <p:cNvPr id="3075" name="Vrije vorm: vorm 3074">
                <a:extLst>
                  <a:ext uri="{FF2B5EF4-FFF2-40B4-BE49-F238E27FC236}">
                    <a16:creationId xmlns:a16="http://schemas.microsoft.com/office/drawing/2014/main" id="{76F6EC23-B67C-4527-A389-CC29962A108A}"/>
                  </a:ext>
                </a:extLst>
              </p:cNvPr>
              <p:cNvSpPr/>
              <p:nvPr/>
            </p:nvSpPr>
            <p:spPr>
              <a:xfrm>
                <a:off x="5106951" y="1800532"/>
                <a:ext cx="18327" cy="18429"/>
              </a:xfrm>
              <a:custGeom>
                <a:avLst/>
                <a:gdLst>
                  <a:gd name="connsiteX0" fmla="*/ 1263 w 18327"/>
                  <a:gd name="connsiteY0" fmla="*/ 13880 h 18429"/>
                  <a:gd name="connsiteX1" fmla="*/ 13822 w 18327"/>
                  <a:gd name="connsiteY1" fmla="*/ 17169 h 18429"/>
                  <a:gd name="connsiteX2" fmla="*/ 17052 w 18327"/>
                  <a:gd name="connsiteY2" fmla="*/ 4550 h 18429"/>
                  <a:gd name="connsiteX3" fmla="*/ 4492 w 18327"/>
                  <a:gd name="connsiteY3" fmla="*/ 1260 h 18429"/>
                  <a:gd name="connsiteX4" fmla="*/ 1263 w 18327"/>
                  <a:gd name="connsiteY4" fmla="*/ 1388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1263" y="13880"/>
                    </a:moveTo>
                    <a:cubicBezTo>
                      <a:pt x="3835" y="18246"/>
                      <a:pt x="9456" y="19741"/>
                      <a:pt x="13822" y="17169"/>
                    </a:cubicBezTo>
                    <a:cubicBezTo>
                      <a:pt x="18188" y="14597"/>
                      <a:pt x="19623" y="8976"/>
                      <a:pt x="17052" y="4550"/>
                    </a:cubicBezTo>
                    <a:cubicBezTo>
                      <a:pt x="14480" y="184"/>
                      <a:pt x="8858" y="-1311"/>
                      <a:pt x="4492" y="1260"/>
                    </a:cubicBezTo>
                    <a:cubicBezTo>
                      <a:pt x="186" y="3892"/>
                      <a:pt x="-1309" y="9514"/>
                      <a:pt x="1263" y="13880"/>
                    </a:cubicBezTo>
                    <a:close/>
                  </a:path>
                </a:pathLst>
              </a:custGeom>
              <a:grpFill/>
              <a:ln w="5978" cap="flat">
                <a:noFill/>
                <a:prstDash val="solid"/>
                <a:miter/>
              </a:ln>
            </p:spPr>
            <p:txBody>
              <a:bodyPr rtlCol="0" anchor="ctr"/>
              <a:lstStyle/>
              <a:p>
                <a:endParaRPr lang="en-GB"/>
              </a:p>
            </p:txBody>
          </p:sp>
        </p:grpSp>
        <p:grpSp>
          <p:nvGrpSpPr>
            <p:cNvPr id="774" name="Graphic 3">
              <a:extLst>
                <a:ext uri="{FF2B5EF4-FFF2-40B4-BE49-F238E27FC236}">
                  <a16:creationId xmlns:a16="http://schemas.microsoft.com/office/drawing/2014/main" id="{E50A1676-922B-4829-BA20-7D9A278F3EC0}"/>
                </a:ext>
              </a:extLst>
            </p:cNvPr>
            <p:cNvGrpSpPr/>
            <p:nvPr/>
          </p:nvGrpSpPr>
          <p:grpSpPr>
            <a:xfrm>
              <a:off x="4678260" y="964445"/>
              <a:ext cx="515810" cy="971514"/>
              <a:chOff x="4678260" y="964445"/>
              <a:chExt cx="515810" cy="971514"/>
            </a:xfrm>
            <a:grpFill/>
          </p:grpSpPr>
          <p:sp>
            <p:nvSpPr>
              <p:cNvPr id="3070" name="Vrije vorm: vorm 3069">
                <a:extLst>
                  <a:ext uri="{FF2B5EF4-FFF2-40B4-BE49-F238E27FC236}">
                    <a16:creationId xmlns:a16="http://schemas.microsoft.com/office/drawing/2014/main" id="{0F09DA21-EA11-432D-8C4C-E63CB393153E}"/>
                  </a:ext>
                </a:extLst>
              </p:cNvPr>
              <p:cNvSpPr/>
              <p:nvPr/>
            </p:nvSpPr>
            <p:spPr>
              <a:xfrm>
                <a:off x="4685855" y="972565"/>
                <a:ext cx="500646" cy="955240"/>
              </a:xfrm>
              <a:custGeom>
                <a:avLst/>
                <a:gdLst>
                  <a:gd name="connsiteX0" fmla="*/ 500646 w 500646"/>
                  <a:gd name="connsiteY0" fmla="*/ 953865 h 955240"/>
                  <a:gd name="connsiteX1" fmla="*/ 497955 w 500646"/>
                  <a:gd name="connsiteY1" fmla="*/ 955241 h 955240"/>
                  <a:gd name="connsiteX2" fmla="*/ 0 w 500646"/>
                  <a:gd name="connsiteY2" fmla="*/ 1376 h 955240"/>
                  <a:gd name="connsiteX3" fmla="*/ 2691 w 500646"/>
                  <a:gd name="connsiteY3" fmla="*/ 0 h 955240"/>
                </a:gdLst>
                <a:ahLst/>
                <a:cxnLst>
                  <a:cxn ang="0">
                    <a:pos x="connsiteX0" y="connsiteY0"/>
                  </a:cxn>
                  <a:cxn ang="0">
                    <a:pos x="connsiteX1" y="connsiteY1"/>
                  </a:cxn>
                  <a:cxn ang="0">
                    <a:pos x="connsiteX2" y="connsiteY2"/>
                  </a:cxn>
                  <a:cxn ang="0">
                    <a:pos x="connsiteX3" y="connsiteY3"/>
                  </a:cxn>
                </a:cxnLst>
                <a:rect l="l" t="t" r="r" b="b"/>
                <a:pathLst>
                  <a:path w="500646" h="955240">
                    <a:moveTo>
                      <a:pt x="500646" y="953865"/>
                    </a:moveTo>
                    <a:lnTo>
                      <a:pt x="497955" y="955241"/>
                    </a:lnTo>
                    <a:lnTo>
                      <a:pt x="0" y="1376"/>
                    </a:lnTo>
                    <a:lnTo>
                      <a:pt x="2691" y="0"/>
                    </a:lnTo>
                    <a:close/>
                  </a:path>
                </a:pathLst>
              </a:custGeom>
              <a:grpFill/>
              <a:ln w="5978" cap="flat">
                <a:noFill/>
                <a:prstDash val="solid"/>
                <a:miter/>
              </a:ln>
            </p:spPr>
            <p:txBody>
              <a:bodyPr rtlCol="0" anchor="ctr"/>
              <a:lstStyle/>
              <a:p>
                <a:endParaRPr lang="en-GB"/>
              </a:p>
            </p:txBody>
          </p:sp>
          <p:sp>
            <p:nvSpPr>
              <p:cNvPr id="3071" name="Vrije vorm: vorm 3070">
                <a:extLst>
                  <a:ext uri="{FF2B5EF4-FFF2-40B4-BE49-F238E27FC236}">
                    <a16:creationId xmlns:a16="http://schemas.microsoft.com/office/drawing/2014/main" id="{48905EDE-8C1D-42EC-8E47-AC4714DF87DA}"/>
                  </a:ext>
                </a:extLst>
              </p:cNvPr>
              <p:cNvSpPr/>
              <p:nvPr/>
            </p:nvSpPr>
            <p:spPr>
              <a:xfrm>
                <a:off x="5175763" y="1917521"/>
                <a:ext cx="18307" cy="18438"/>
              </a:xfrm>
              <a:custGeom>
                <a:avLst/>
                <a:gdLst>
                  <a:gd name="connsiteX0" fmla="*/ 17258 w 18307"/>
                  <a:gd name="connsiteY0" fmla="*/ 4962 h 18438"/>
                  <a:gd name="connsiteX1" fmla="*/ 13430 w 18307"/>
                  <a:gd name="connsiteY1" fmla="*/ 17402 h 18438"/>
                  <a:gd name="connsiteX2" fmla="*/ 1050 w 18307"/>
                  <a:gd name="connsiteY2" fmla="*/ 13515 h 18438"/>
                  <a:gd name="connsiteX3" fmla="*/ 4878 w 18307"/>
                  <a:gd name="connsiteY3" fmla="*/ 1075 h 18438"/>
                  <a:gd name="connsiteX4" fmla="*/ 17258 w 18307"/>
                  <a:gd name="connsiteY4" fmla="*/ 4962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17258" y="4962"/>
                    </a:moveTo>
                    <a:cubicBezTo>
                      <a:pt x="19590" y="9448"/>
                      <a:pt x="17916" y="15010"/>
                      <a:pt x="13430" y="17402"/>
                    </a:cubicBezTo>
                    <a:cubicBezTo>
                      <a:pt x="8944" y="19735"/>
                      <a:pt x="3382" y="18000"/>
                      <a:pt x="1050" y="13515"/>
                    </a:cubicBezTo>
                    <a:cubicBezTo>
                      <a:pt x="-1283" y="9029"/>
                      <a:pt x="392" y="3467"/>
                      <a:pt x="4878" y="1075"/>
                    </a:cubicBezTo>
                    <a:cubicBezTo>
                      <a:pt x="9363" y="-1318"/>
                      <a:pt x="14925" y="417"/>
                      <a:pt x="17258" y="4962"/>
                    </a:cubicBezTo>
                    <a:close/>
                  </a:path>
                </a:pathLst>
              </a:custGeom>
              <a:grpFill/>
              <a:ln w="5978" cap="flat">
                <a:noFill/>
                <a:prstDash val="solid"/>
                <a:miter/>
              </a:ln>
            </p:spPr>
            <p:txBody>
              <a:bodyPr rtlCol="0" anchor="ctr"/>
              <a:lstStyle/>
              <a:p>
                <a:endParaRPr lang="en-GB"/>
              </a:p>
            </p:txBody>
          </p:sp>
          <p:sp>
            <p:nvSpPr>
              <p:cNvPr id="3072" name="Vrije vorm: vorm 3071">
                <a:extLst>
                  <a:ext uri="{FF2B5EF4-FFF2-40B4-BE49-F238E27FC236}">
                    <a16:creationId xmlns:a16="http://schemas.microsoft.com/office/drawing/2014/main" id="{31796557-D9BD-4B0C-9AE6-1D64FC0F7D6C}"/>
                  </a:ext>
                </a:extLst>
              </p:cNvPr>
              <p:cNvSpPr/>
              <p:nvPr/>
            </p:nvSpPr>
            <p:spPr>
              <a:xfrm>
                <a:off x="4678260" y="964445"/>
                <a:ext cx="18322" cy="18453"/>
              </a:xfrm>
              <a:custGeom>
                <a:avLst/>
                <a:gdLst>
                  <a:gd name="connsiteX0" fmla="*/ 17284 w 18322"/>
                  <a:gd name="connsiteY0" fmla="*/ 4951 h 18453"/>
                  <a:gd name="connsiteX1" fmla="*/ 4904 w 18322"/>
                  <a:gd name="connsiteY1" fmla="*/ 1063 h 18453"/>
                  <a:gd name="connsiteX2" fmla="*/ 1076 w 18322"/>
                  <a:gd name="connsiteY2" fmla="*/ 13503 h 18453"/>
                  <a:gd name="connsiteX3" fmla="*/ 13457 w 18322"/>
                  <a:gd name="connsiteY3" fmla="*/ 17390 h 18453"/>
                  <a:gd name="connsiteX4" fmla="*/ 17284 w 18322"/>
                  <a:gd name="connsiteY4" fmla="*/ 4951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7284" y="4951"/>
                    </a:moveTo>
                    <a:cubicBezTo>
                      <a:pt x="14952" y="465"/>
                      <a:pt x="9390" y="-1329"/>
                      <a:pt x="4904" y="1063"/>
                    </a:cubicBezTo>
                    <a:cubicBezTo>
                      <a:pt x="419" y="3396"/>
                      <a:pt x="-1316" y="8958"/>
                      <a:pt x="1076" y="13503"/>
                    </a:cubicBezTo>
                    <a:cubicBezTo>
                      <a:pt x="3409" y="17989"/>
                      <a:pt x="8971" y="19783"/>
                      <a:pt x="13457" y="17390"/>
                    </a:cubicBezTo>
                    <a:cubicBezTo>
                      <a:pt x="17882" y="15058"/>
                      <a:pt x="19616" y="9496"/>
                      <a:pt x="17284" y="4951"/>
                    </a:cubicBezTo>
                    <a:close/>
                  </a:path>
                </a:pathLst>
              </a:custGeom>
              <a:grpFill/>
              <a:ln w="5978" cap="flat">
                <a:noFill/>
                <a:prstDash val="solid"/>
                <a:miter/>
              </a:ln>
            </p:spPr>
            <p:txBody>
              <a:bodyPr rtlCol="0" anchor="ctr"/>
              <a:lstStyle/>
              <a:p>
                <a:endParaRPr lang="en-GB"/>
              </a:p>
            </p:txBody>
          </p:sp>
        </p:grpSp>
        <p:grpSp>
          <p:nvGrpSpPr>
            <p:cNvPr id="775" name="Graphic 3">
              <a:extLst>
                <a:ext uri="{FF2B5EF4-FFF2-40B4-BE49-F238E27FC236}">
                  <a16:creationId xmlns:a16="http://schemas.microsoft.com/office/drawing/2014/main" id="{33C20397-7699-4AA0-B6B8-B2274B3FD4F5}"/>
                </a:ext>
              </a:extLst>
            </p:cNvPr>
            <p:cNvGrpSpPr/>
            <p:nvPr/>
          </p:nvGrpSpPr>
          <p:grpSpPr>
            <a:xfrm>
              <a:off x="4678506" y="964288"/>
              <a:ext cx="417392" cy="731576"/>
              <a:chOff x="4678506" y="964288"/>
              <a:chExt cx="417392" cy="731576"/>
            </a:xfrm>
            <a:grpFill/>
          </p:grpSpPr>
          <p:sp>
            <p:nvSpPr>
              <p:cNvPr id="3067" name="Vrije vorm: vorm 3066">
                <a:extLst>
                  <a:ext uri="{FF2B5EF4-FFF2-40B4-BE49-F238E27FC236}">
                    <a16:creationId xmlns:a16="http://schemas.microsoft.com/office/drawing/2014/main" id="{0C3E1066-0BE9-4E9A-A2EA-7B0BEEA1629F}"/>
                  </a:ext>
                </a:extLst>
              </p:cNvPr>
              <p:cNvSpPr/>
              <p:nvPr/>
            </p:nvSpPr>
            <p:spPr>
              <a:xfrm>
                <a:off x="4685652" y="972453"/>
                <a:ext cx="402794" cy="715041"/>
              </a:xfrm>
              <a:custGeom>
                <a:avLst/>
                <a:gdLst>
                  <a:gd name="connsiteX0" fmla="*/ 0 w 402794"/>
                  <a:gd name="connsiteY0" fmla="*/ 1492 h 715041"/>
                  <a:gd name="connsiteX1" fmla="*/ 2660 w 402794"/>
                  <a:gd name="connsiteY1" fmla="*/ 0 h 715041"/>
                  <a:gd name="connsiteX2" fmla="*/ 402795 w 402794"/>
                  <a:gd name="connsiteY2" fmla="*/ 713549 h 715041"/>
                  <a:gd name="connsiteX3" fmla="*/ 400134 w 402794"/>
                  <a:gd name="connsiteY3" fmla="*/ 715041 h 715041"/>
                </a:gdLst>
                <a:ahLst/>
                <a:cxnLst>
                  <a:cxn ang="0">
                    <a:pos x="connsiteX0" y="connsiteY0"/>
                  </a:cxn>
                  <a:cxn ang="0">
                    <a:pos x="connsiteX1" y="connsiteY1"/>
                  </a:cxn>
                  <a:cxn ang="0">
                    <a:pos x="connsiteX2" y="connsiteY2"/>
                  </a:cxn>
                  <a:cxn ang="0">
                    <a:pos x="connsiteX3" y="connsiteY3"/>
                  </a:cxn>
                </a:cxnLst>
                <a:rect l="l" t="t" r="r" b="b"/>
                <a:pathLst>
                  <a:path w="402794" h="715041">
                    <a:moveTo>
                      <a:pt x="0" y="1492"/>
                    </a:moveTo>
                    <a:lnTo>
                      <a:pt x="2660" y="0"/>
                    </a:lnTo>
                    <a:lnTo>
                      <a:pt x="402795" y="713549"/>
                    </a:lnTo>
                    <a:lnTo>
                      <a:pt x="400134" y="715041"/>
                    </a:lnTo>
                    <a:close/>
                  </a:path>
                </a:pathLst>
              </a:custGeom>
              <a:grpFill/>
              <a:ln w="5978" cap="flat">
                <a:noFill/>
                <a:prstDash val="solid"/>
                <a:miter/>
              </a:ln>
            </p:spPr>
            <p:txBody>
              <a:bodyPr rtlCol="0" anchor="ctr"/>
              <a:lstStyle/>
              <a:p>
                <a:endParaRPr lang="en-GB"/>
              </a:p>
            </p:txBody>
          </p:sp>
          <p:sp>
            <p:nvSpPr>
              <p:cNvPr id="3068" name="Vrije vorm: vorm 3067">
                <a:extLst>
                  <a:ext uri="{FF2B5EF4-FFF2-40B4-BE49-F238E27FC236}">
                    <a16:creationId xmlns:a16="http://schemas.microsoft.com/office/drawing/2014/main" id="{B21EBCF5-1137-4A9D-ABB7-18FB0D09529F}"/>
                  </a:ext>
                </a:extLst>
              </p:cNvPr>
              <p:cNvSpPr/>
              <p:nvPr/>
            </p:nvSpPr>
            <p:spPr>
              <a:xfrm>
                <a:off x="4678506" y="964288"/>
                <a:ext cx="18346" cy="18447"/>
              </a:xfrm>
              <a:custGeom>
                <a:avLst/>
                <a:gdLst>
                  <a:gd name="connsiteX0" fmla="*/ 1189 w 18346"/>
                  <a:gd name="connsiteY0" fmla="*/ 13720 h 18447"/>
                  <a:gd name="connsiteX1" fmla="*/ 4658 w 18346"/>
                  <a:gd name="connsiteY1" fmla="*/ 1160 h 18447"/>
                  <a:gd name="connsiteX2" fmla="*/ 17157 w 18346"/>
                  <a:gd name="connsiteY2" fmla="*/ 4689 h 18447"/>
                  <a:gd name="connsiteX3" fmla="*/ 13688 w 18346"/>
                  <a:gd name="connsiteY3" fmla="*/ 17248 h 18447"/>
                  <a:gd name="connsiteX4" fmla="*/ 1189 w 18346"/>
                  <a:gd name="connsiteY4" fmla="*/ 13720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7">
                    <a:moveTo>
                      <a:pt x="1189" y="13720"/>
                    </a:moveTo>
                    <a:cubicBezTo>
                      <a:pt x="-1323" y="9294"/>
                      <a:pt x="292" y="3672"/>
                      <a:pt x="4658" y="1160"/>
                    </a:cubicBezTo>
                    <a:cubicBezTo>
                      <a:pt x="9083" y="-1292"/>
                      <a:pt x="14645" y="263"/>
                      <a:pt x="17157" y="4689"/>
                    </a:cubicBezTo>
                    <a:cubicBezTo>
                      <a:pt x="19669" y="9115"/>
                      <a:pt x="18054" y="14737"/>
                      <a:pt x="13688" y="17248"/>
                    </a:cubicBezTo>
                    <a:cubicBezTo>
                      <a:pt x="9263" y="19760"/>
                      <a:pt x="3641" y="18205"/>
                      <a:pt x="1189" y="13720"/>
                    </a:cubicBezTo>
                    <a:close/>
                  </a:path>
                </a:pathLst>
              </a:custGeom>
              <a:grpFill/>
              <a:ln w="5978" cap="flat">
                <a:noFill/>
                <a:prstDash val="solid"/>
                <a:miter/>
              </a:ln>
            </p:spPr>
            <p:txBody>
              <a:bodyPr rtlCol="0" anchor="ctr"/>
              <a:lstStyle/>
              <a:p>
                <a:endParaRPr lang="en-GB"/>
              </a:p>
            </p:txBody>
          </p:sp>
          <p:sp>
            <p:nvSpPr>
              <p:cNvPr id="3069" name="Vrije vorm: vorm 3068">
                <a:extLst>
                  <a:ext uri="{FF2B5EF4-FFF2-40B4-BE49-F238E27FC236}">
                    <a16:creationId xmlns:a16="http://schemas.microsoft.com/office/drawing/2014/main" id="{B961EFF1-49C5-4F6E-A5D1-F8E005BC0E27}"/>
                  </a:ext>
                </a:extLst>
              </p:cNvPr>
              <p:cNvSpPr/>
              <p:nvPr/>
            </p:nvSpPr>
            <p:spPr>
              <a:xfrm>
                <a:off x="5077567" y="1677403"/>
                <a:ext cx="18332" cy="18461"/>
              </a:xfrm>
              <a:custGeom>
                <a:avLst/>
                <a:gdLst>
                  <a:gd name="connsiteX0" fmla="*/ 1162 w 18332"/>
                  <a:gd name="connsiteY0" fmla="*/ 13746 h 18461"/>
                  <a:gd name="connsiteX1" fmla="*/ 13662 w 18332"/>
                  <a:gd name="connsiteY1" fmla="*/ 17275 h 18461"/>
                  <a:gd name="connsiteX2" fmla="*/ 17131 w 18332"/>
                  <a:gd name="connsiteY2" fmla="*/ 4715 h 18461"/>
                  <a:gd name="connsiteX3" fmla="*/ 4631 w 18332"/>
                  <a:gd name="connsiteY3" fmla="*/ 1187 h 18461"/>
                  <a:gd name="connsiteX4" fmla="*/ 1162 w 18332"/>
                  <a:gd name="connsiteY4" fmla="*/ 1374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61">
                    <a:moveTo>
                      <a:pt x="1162" y="13746"/>
                    </a:moveTo>
                    <a:cubicBezTo>
                      <a:pt x="3674" y="18172"/>
                      <a:pt x="9236" y="19787"/>
                      <a:pt x="13662" y="17275"/>
                    </a:cubicBezTo>
                    <a:cubicBezTo>
                      <a:pt x="18088" y="14823"/>
                      <a:pt x="19643" y="9201"/>
                      <a:pt x="17131" y="4715"/>
                    </a:cubicBezTo>
                    <a:cubicBezTo>
                      <a:pt x="14619" y="290"/>
                      <a:pt x="9057" y="-1325"/>
                      <a:pt x="4631" y="1187"/>
                    </a:cubicBezTo>
                    <a:cubicBezTo>
                      <a:pt x="265" y="3699"/>
                      <a:pt x="-1290" y="9261"/>
                      <a:pt x="1162" y="13746"/>
                    </a:cubicBezTo>
                    <a:close/>
                  </a:path>
                </a:pathLst>
              </a:custGeom>
              <a:grpFill/>
              <a:ln w="5978" cap="flat">
                <a:noFill/>
                <a:prstDash val="solid"/>
                <a:miter/>
              </a:ln>
            </p:spPr>
            <p:txBody>
              <a:bodyPr rtlCol="0" anchor="ctr"/>
              <a:lstStyle/>
              <a:p>
                <a:endParaRPr lang="en-GB"/>
              </a:p>
            </p:txBody>
          </p:sp>
        </p:grpSp>
        <p:grpSp>
          <p:nvGrpSpPr>
            <p:cNvPr id="776" name="Graphic 3">
              <a:extLst>
                <a:ext uri="{FF2B5EF4-FFF2-40B4-BE49-F238E27FC236}">
                  <a16:creationId xmlns:a16="http://schemas.microsoft.com/office/drawing/2014/main" id="{2EF093E7-2B97-4CF6-A336-FE1816F49A24}"/>
                </a:ext>
              </a:extLst>
            </p:cNvPr>
            <p:cNvGrpSpPr/>
            <p:nvPr/>
          </p:nvGrpSpPr>
          <p:grpSpPr>
            <a:xfrm>
              <a:off x="6234015" y="5086698"/>
              <a:ext cx="43077" cy="606217"/>
              <a:chOff x="6234015" y="5086698"/>
              <a:chExt cx="43077" cy="606217"/>
            </a:xfrm>
            <a:grpFill/>
          </p:grpSpPr>
          <p:sp>
            <p:nvSpPr>
              <p:cNvPr id="3064" name="Vrije vorm: vorm 3063">
                <a:extLst>
                  <a:ext uri="{FF2B5EF4-FFF2-40B4-BE49-F238E27FC236}">
                    <a16:creationId xmlns:a16="http://schemas.microsoft.com/office/drawing/2014/main" id="{6BD8BCA6-D110-43D6-8551-C0D1B7BF4D74}"/>
                  </a:ext>
                </a:extLst>
              </p:cNvPr>
              <p:cNvSpPr/>
              <p:nvPr/>
            </p:nvSpPr>
            <p:spPr>
              <a:xfrm>
                <a:off x="6241620" y="5095435"/>
                <a:ext cx="27810" cy="588802"/>
              </a:xfrm>
              <a:custGeom>
                <a:avLst/>
                <a:gdLst>
                  <a:gd name="connsiteX0" fmla="*/ 3050 w 27810"/>
                  <a:gd name="connsiteY0" fmla="*/ 0 h 588802"/>
                  <a:gd name="connsiteX1" fmla="*/ 27811 w 27810"/>
                  <a:gd name="connsiteY1" fmla="*/ 588682 h 588802"/>
                  <a:gd name="connsiteX2" fmla="*/ 24760 w 27810"/>
                  <a:gd name="connsiteY2" fmla="*/ 588802 h 588802"/>
                  <a:gd name="connsiteX3" fmla="*/ 0 w 27810"/>
                  <a:gd name="connsiteY3" fmla="*/ 119 h 588802"/>
                </a:gdLst>
                <a:ahLst/>
                <a:cxnLst>
                  <a:cxn ang="0">
                    <a:pos x="connsiteX0" y="connsiteY0"/>
                  </a:cxn>
                  <a:cxn ang="0">
                    <a:pos x="connsiteX1" y="connsiteY1"/>
                  </a:cxn>
                  <a:cxn ang="0">
                    <a:pos x="connsiteX2" y="connsiteY2"/>
                  </a:cxn>
                  <a:cxn ang="0">
                    <a:pos x="connsiteX3" y="connsiteY3"/>
                  </a:cxn>
                </a:cxnLst>
                <a:rect l="l" t="t" r="r" b="b"/>
                <a:pathLst>
                  <a:path w="27810" h="588802">
                    <a:moveTo>
                      <a:pt x="3050" y="0"/>
                    </a:moveTo>
                    <a:lnTo>
                      <a:pt x="27811" y="588682"/>
                    </a:lnTo>
                    <a:lnTo>
                      <a:pt x="24760" y="588802"/>
                    </a:lnTo>
                    <a:lnTo>
                      <a:pt x="0" y="119"/>
                    </a:lnTo>
                    <a:close/>
                  </a:path>
                </a:pathLst>
              </a:custGeom>
              <a:grpFill/>
              <a:ln w="5978" cap="flat">
                <a:noFill/>
                <a:prstDash val="solid"/>
                <a:miter/>
              </a:ln>
            </p:spPr>
            <p:txBody>
              <a:bodyPr rtlCol="0" anchor="ctr"/>
              <a:lstStyle/>
              <a:p>
                <a:endParaRPr lang="en-GB"/>
              </a:p>
            </p:txBody>
          </p:sp>
          <p:sp>
            <p:nvSpPr>
              <p:cNvPr id="3065" name="Vrije vorm: vorm 3064">
                <a:extLst>
                  <a:ext uri="{FF2B5EF4-FFF2-40B4-BE49-F238E27FC236}">
                    <a16:creationId xmlns:a16="http://schemas.microsoft.com/office/drawing/2014/main" id="{4FA23C65-6D2D-418C-9777-959E8F155B5C}"/>
                  </a:ext>
                </a:extLst>
              </p:cNvPr>
              <p:cNvSpPr/>
              <p:nvPr/>
            </p:nvSpPr>
            <p:spPr>
              <a:xfrm>
                <a:off x="6234015" y="5086698"/>
                <a:ext cx="18381" cy="18436"/>
              </a:xfrm>
              <a:custGeom>
                <a:avLst/>
                <a:gdLst>
                  <a:gd name="connsiteX0" fmla="*/ 10 w 18381"/>
                  <a:gd name="connsiteY0" fmla="*/ 9575 h 18436"/>
                  <a:gd name="connsiteX1" fmla="*/ 8802 w 18381"/>
                  <a:gd name="connsiteY1" fmla="*/ 6 h 18436"/>
                  <a:gd name="connsiteX2" fmla="*/ 18371 w 18381"/>
                  <a:gd name="connsiteY2" fmla="*/ 8857 h 18436"/>
                  <a:gd name="connsiteX3" fmla="*/ 9579 w 18381"/>
                  <a:gd name="connsiteY3" fmla="*/ 18427 h 18436"/>
                  <a:gd name="connsiteX4" fmla="*/ 10 w 18381"/>
                  <a:gd name="connsiteY4" fmla="*/ 9575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36">
                    <a:moveTo>
                      <a:pt x="10" y="9575"/>
                    </a:moveTo>
                    <a:cubicBezTo>
                      <a:pt x="-229" y="4491"/>
                      <a:pt x="3718" y="185"/>
                      <a:pt x="8802" y="6"/>
                    </a:cubicBezTo>
                    <a:cubicBezTo>
                      <a:pt x="13885" y="-173"/>
                      <a:pt x="18132" y="3774"/>
                      <a:pt x="18371" y="8857"/>
                    </a:cubicBezTo>
                    <a:cubicBezTo>
                      <a:pt x="18610" y="13941"/>
                      <a:pt x="14663" y="18247"/>
                      <a:pt x="9579" y="18427"/>
                    </a:cubicBezTo>
                    <a:cubicBezTo>
                      <a:pt x="4496" y="18666"/>
                      <a:pt x="190" y="14659"/>
                      <a:pt x="10" y="9575"/>
                    </a:cubicBezTo>
                    <a:close/>
                  </a:path>
                </a:pathLst>
              </a:custGeom>
              <a:grpFill/>
              <a:ln w="5978" cap="flat">
                <a:noFill/>
                <a:prstDash val="solid"/>
                <a:miter/>
              </a:ln>
            </p:spPr>
            <p:txBody>
              <a:bodyPr rtlCol="0" anchor="ctr"/>
              <a:lstStyle/>
              <a:p>
                <a:endParaRPr lang="en-GB"/>
              </a:p>
            </p:txBody>
          </p:sp>
          <p:sp>
            <p:nvSpPr>
              <p:cNvPr id="3066" name="Vrije vorm: vorm 3065">
                <a:extLst>
                  <a:ext uri="{FF2B5EF4-FFF2-40B4-BE49-F238E27FC236}">
                    <a16:creationId xmlns:a16="http://schemas.microsoft.com/office/drawing/2014/main" id="{2C962F7A-FF33-4152-B3C0-34FD30625B27}"/>
                  </a:ext>
                </a:extLst>
              </p:cNvPr>
              <p:cNvSpPr/>
              <p:nvPr/>
            </p:nvSpPr>
            <p:spPr>
              <a:xfrm>
                <a:off x="6258715" y="5674483"/>
                <a:ext cx="18376" cy="18432"/>
              </a:xfrm>
              <a:custGeom>
                <a:avLst/>
                <a:gdLst>
                  <a:gd name="connsiteX0" fmla="*/ 10 w 18376"/>
                  <a:gd name="connsiteY0" fmla="*/ 9575 h 18432"/>
                  <a:gd name="connsiteX1" fmla="*/ 9579 w 18376"/>
                  <a:gd name="connsiteY1" fmla="*/ 18426 h 18432"/>
                  <a:gd name="connsiteX2" fmla="*/ 18371 w 18376"/>
                  <a:gd name="connsiteY2" fmla="*/ 8857 h 18432"/>
                  <a:gd name="connsiteX3" fmla="*/ 8802 w 18376"/>
                  <a:gd name="connsiteY3" fmla="*/ 6 h 18432"/>
                  <a:gd name="connsiteX4" fmla="*/ 10 w 18376"/>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2">
                    <a:moveTo>
                      <a:pt x="10" y="9575"/>
                    </a:moveTo>
                    <a:cubicBezTo>
                      <a:pt x="249" y="14658"/>
                      <a:pt x="4496" y="18606"/>
                      <a:pt x="9579" y="18426"/>
                    </a:cubicBezTo>
                    <a:cubicBezTo>
                      <a:pt x="14663" y="18247"/>
                      <a:pt x="18550" y="13941"/>
                      <a:pt x="18371" y="8857"/>
                    </a:cubicBezTo>
                    <a:cubicBezTo>
                      <a:pt x="18132" y="3774"/>
                      <a:pt x="13885" y="-174"/>
                      <a:pt x="8802" y="6"/>
                    </a:cubicBezTo>
                    <a:cubicBezTo>
                      <a:pt x="3718" y="245"/>
                      <a:pt x="-229" y="4491"/>
                      <a:pt x="10" y="9575"/>
                    </a:cubicBezTo>
                    <a:close/>
                  </a:path>
                </a:pathLst>
              </a:custGeom>
              <a:grpFill/>
              <a:ln w="5978" cap="flat">
                <a:noFill/>
                <a:prstDash val="solid"/>
                <a:miter/>
              </a:ln>
            </p:spPr>
            <p:txBody>
              <a:bodyPr rtlCol="0" anchor="ctr"/>
              <a:lstStyle/>
              <a:p>
                <a:endParaRPr lang="en-GB"/>
              </a:p>
            </p:txBody>
          </p:sp>
        </p:grpSp>
        <p:grpSp>
          <p:nvGrpSpPr>
            <p:cNvPr id="777" name="Graphic 3">
              <a:extLst>
                <a:ext uri="{FF2B5EF4-FFF2-40B4-BE49-F238E27FC236}">
                  <a16:creationId xmlns:a16="http://schemas.microsoft.com/office/drawing/2014/main" id="{245C387E-7307-42C4-BD6B-6E98E3DCCD17}"/>
                </a:ext>
              </a:extLst>
            </p:cNvPr>
            <p:cNvGrpSpPr/>
            <p:nvPr/>
          </p:nvGrpSpPr>
          <p:grpSpPr>
            <a:xfrm>
              <a:off x="6172691" y="5097326"/>
              <a:ext cx="30376" cy="179468"/>
              <a:chOff x="6172691" y="5097326"/>
              <a:chExt cx="30376" cy="179468"/>
            </a:xfrm>
            <a:grpFill/>
          </p:grpSpPr>
          <p:sp>
            <p:nvSpPr>
              <p:cNvPr id="3061" name="Vrije vorm: vorm 3060">
                <a:extLst>
                  <a:ext uri="{FF2B5EF4-FFF2-40B4-BE49-F238E27FC236}">
                    <a16:creationId xmlns:a16="http://schemas.microsoft.com/office/drawing/2014/main" id="{BDAB4BA2-C0E3-42F7-A821-951F188ADF0B}"/>
                  </a:ext>
                </a:extLst>
              </p:cNvPr>
              <p:cNvSpPr/>
              <p:nvPr/>
            </p:nvSpPr>
            <p:spPr>
              <a:xfrm>
                <a:off x="6180258" y="5106021"/>
                <a:ext cx="15191" cy="162077"/>
              </a:xfrm>
              <a:custGeom>
                <a:avLst/>
                <a:gdLst>
                  <a:gd name="connsiteX0" fmla="*/ 3050 w 15191"/>
                  <a:gd name="connsiteY0" fmla="*/ 0 h 162077"/>
                  <a:gd name="connsiteX1" fmla="*/ 15191 w 15191"/>
                  <a:gd name="connsiteY1" fmla="*/ 161838 h 162077"/>
                  <a:gd name="connsiteX2" fmla="*/ 12141 w 15191"/>
                  <a:gd name="connsiteY2" fmla="*/ 162078 h 162077"/>
                  <a:gd name="connsiteX3" fmla="*/ 0 w 15191"/>
                  <a:gd name="connsiteY3" fmla="*/ 180 h 162077"/>
                </a:gdLst>
                <a:ahLst/>
                <a:cxnLst>
                  <a:cxn ang="0">
                    <a:pos x="connsiteX0" y="connsiteY0"/>
                  </a:cxn>
                  <a:cxn ang="0">
                    <a:pos x="connsiteX1" y="connsiteY1"/>
                  </a:cxn>
                  <a:cxn ang="0">
                    <a:pos x="connsiteX2" y="connsiteY2"/>
                  </a:cxn>
                  <a:cxn ang="0">
                    <a:pos x="connsiteX3" y="connsiteY3"/>
                  </a:cxn>
                </a:cxnLst>
                <a:rect l="l" t="t" r="r" b="b"/>
                <a:pathLst>
                  <a:path w="15191" h="162077">
                    <a:moveTo>
                      <a:pt x="3050" y="0"/>
                    </a:moveTo>
                    <a:lnTo>
                      <a:pt x="15191" y="161838"/>
                    </a:lnTo>
                    <a:lnTo>
                      <a:pt x="12141" y="162078"/>
                    </a:lnTo>
                    <a:lnTo>
                      <a:pt x="0" y="180"/>
                    </a:lnTo>
                    <a:close/>
                  </a:path>
                </a:pathLst>
              </a:custGeom>
              <a:grpFill/>
              <a:ln w="5978" cap="flat">
                <a:noFill/>
                <a:prstDash val="solid"/>
                <a:miter/>
              </a:ln>
            </p:spPr>
            <p:txBody>
              <a:bodyPr rtlCol="0" anchor="ctr"/>
              <a:lstStyle/>
              <a:p>
                <a:endParaRPr lang="en-GB"/>
              </a:p>
            </p:txBody>
          </p:sp>
          <p:sp>
            <p:nvSpPr>
              <p:cNvPr id="3062" name="Vrije vorm: vorm 3061">
                <a:extLst>
                  <a:ext uri="{FF2B5EF4-FFF2-40B4-BE49-F238E27FC236}">
                    <a16:creationId xmlns:a16="http://schemas.microsoft.com/office/drawing/2014/main" id="{448BC00F-469B-481E-87EB-BF9799F9FA86}"/>
                  </a:ext>
                </a:extLst>
              </p:cNvPr>
              <p:cNvSpPr/>
              <p:nvPr/>
            </p:nvSpPr>
            <p:spPr>
              <a:xfrm>
                <a:off x="6184780" y="5258327"/>
                <a:ext cx="18288" cy="18467"/>
              </a:xfrm>
              <a:custGeom>
                <a:avLst/>
                <a:gdLst>
                  <a:gd name="connsiteX0" fmla="*/ 18265 w 18288"/>
                  <a:gd name="connsiteY0" fmla="*/ 8576 h 18467"/>
                  <a:gd name="connsiteX1" fmla="*/ 9832 w 18288"/>
                  <a:gd name="connsiteY1" fmla="*/ 18444 h 18467"/>
                  <a:gd name="connsiteX2" fmla="*/ 24 w 18288"/>
                  <a:gd name="connsiteY2" fmla="*/ 9891 h 18467"/>
                  <a:gd name="connsiteX3" fmla="*/ 8457 w 18288"/>
                  <a:gd name="connsiteY3" fmla="*/ 23 h 18467"/>
                  <a:gd name="connsiteX4" fmla="*/ 18265 w 18288"/>
                  <a:gd name="connsiteY4" fmla="*/ 8576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7">
                    <a:moveTo>
                      <a:pt x="18265" y="8576"/>
                    </a:moveTo>
                    <a:cubicBezTo>
                      <a:pt x="18624" y="13659"/>
                      <a:pt x="14856" y="18085"/>
                      <a:pt x="9832" y="18444"/>
                    </a:cubicBezTo>
                    <a:cubicBezTo>
                      <a:pt x="4808" y="18803"/>
                      <a:pt x="382" y="14975"/>
                      <a:pt x="24" y="9891"/>
                    </a:cubicBezTo>
                    <a:cubicBezTo>
                      <a:pt x="-335" y="4808"/>
                      <a:pt x="3433" y="382"/>
                      <a:pt x="8457" y="23"/>
                    </a:cubicBezTo>
                    <a:cubicBezTo>
                      <a:pt x="13480" y="-336"/>
                      <a:pt x="17846" y="3492"/>
                      <a:pt x="18265" y="8576"/>
                    </a:cubicBezTo>
                    <a:close/>
                  </a:path>
                </a:pathLst>
              </a:custGeom>
              <a:grpFill/>
              <a:ln w="5978" cap="flat">
                <a:noFill/>
                <a:prstDash val="solid"/>
                <a:miter/>
              </a:ln>
            </p:spPr>
            <p:txBody>
              <a:bodyPr rtlCol="0" anchor="ctr"/>
              <a:lstStyle/>
              <a:p>
                <a:endParaRPr lang="en-GB"/>
              </a:p>
            </p:txBody>
          </p:sp>
          <p:sp>
            <p:nvSpPr>
              <p:cNvPr id="3063" name="Vrije vorm: vorm 3062">
                <a:extLst>
                  <a:ext uri="{FF2B5EF4-FFF2-40B4-BE49-F238E27FC236}">
                    <a16:creationId xmlns:a16="http://schemas.microsoft.com/office/drawing/2014/main" id="{C8E8A646-2384-4D89-B68C-E2B9804A81E1}"/>
                  </a:ext>
                </a:extLst>
              </p:cNvPr>
              <p:cNvSpPr/>
              <p:nvPr/>
            </p:nvSpPr>
            <p:spPr>
              <a:xfrm>
                <a:off x="6172691" y="5097326"/>
                <a:ext cx="18296" cy="18466"/>
              </a:xfrm>
              <a:custGeom>
                <a:avLst/>
                <a:gdLst>
                  <a:gd name="connsiteX0" fmla="*/ 18272 w 18296"/>
                  <a:gd name="connsiteY0" fmla="*/ 8576 h 18466"/>
                  <a:gd name="connsiteX1" fmla="*/ 8464 w 18296"/>
                  <a:gd name="connsiteY1" fmla="*/ 23 h 18466"/>
                  <a:gd name="connsiteX2" fmla="*/ 31 w 18296"/>
                  <a:gd name="connsiteY2" fmla="*/ 9891 h 18466"/>
                  <a:gd name="connsiteX3" fmla="*/ 9839 w 18296"/>
                  <a:gd name="connsiteY3" fmla="*/ 18444 h 18466"/>
                  <a:gd name="connsiteX4" fmla="*/ 18272 w 18296"/>
                  <a:gd name="connsiteY4" fmla="*/ 857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6">
                    <a:moveTo>
                      <a:pt x="18272" y="8576"/>
                    </a:moveTo>
                    <a:cubicBezTo>
                      <a:pt x="17914" y="3492"/>
                      <a:pt x="13488" y="-336"/>
                      <a:pt x="8464" y="23"/>
                    </a:cubicBezTo>
                    <a:cubicBezTo>
                      <a:pt x="3440" y="382"/>
                      <a:pt x="-387" y="4808"/>
                      <a:pt x="31" y="9891"/>
                    </a:cubicBezTo>
                    <a:cubicBezTo>
                      <a:pt x="390" y="14975"/>
                      <a:pt x="4816" y="18802"/>
                      <a:pt x="9839" y="18444"/>
                    </a:cubicBezTo>
                    <a:cubicBezTo>
                      <a:pt x="14863" y="18085"/>
                      <a:pt x="18631" y="13659"/>
                      <a:pt x="18272" y="8576"/>
                    </a:cubicBezTo>
                    <a:close/>
                  </a:path>
                </a:pathLst>
              </a:custGeom>
              <a:grpFill/>
              <a:ln w="5978" cap="flat">
                <a:noFill/>
                <a:prstDash val="solid"/>
                <a:miter/>
              </a:ln>
            </p:spPr>
            <p:txBody>
              <a:bodyPr rtlCol="0" anchor="ctr"/>
              <a:lstStyle/>
              <a:p>
                <a:endParaRPr lang="en-GB"/>
              </a:p>
            </p:txBody>
          </p:sp>
        </p:grpSp>
        <p:grpSp>
          <p:nvGrpSpPr>
            <p:cNvPr id="778" name="Graphic 3">
              <a:extLst>
                <a:ext uri="{FF2B5EF4-FFF2-40B4-BE49-F238E27FC236}">
                  <a16:creationId xmlns:a16="http://schemas.microsoft.com/office/drawing/2014/main" id="{C344EBC8-42B2-403B-A3CC-5BAA79515C27}"/>
                </a:ext>
              </a:extLst>
            </p:cNvPr>
            <p:cNvGrpSpPr/>
            <p:nvPr/>
          </p:nvGrpSpPr>
          <p:grpSpPr>
            <a:xfrm>
              <a:off x="6280192" y="5492383"/>
              <a:ext cx="18728" cy="21707"/>
              <a:chOff x="6280192" y="5492383"/>
              <a:chExt cx="18728" cy="21707"/>
            </a:xfrm>
            <a:grpFill/>
          </p:grpSpPr>
          <p:sp>
            <p:nvSpPr>
              <p:cNvPr id="3059" name="Vrije vorm: vorm 3058">
                <a:extLst>
                  <a:ext uri="{FF2B5EF4-FFF2-40B4-BE49-F238E27FC236}">
                    <a16:creationId xmlns:a16="http://schemas.microsoft.com/office/drawing/2014/main" id="{CD298977-35FB-4F53-AD38-B0AF4F3F8FB0}"/>
                  </a:ext>
                </a:extLst>
              </p:cNvPr>
              <p:cNvSpPr/>
              <p:nvPr/>
            </p:nvSpPr>
            <p:spPr>
              <a:xfrm>
                <a:off x="6280192" y="5492383"/>
                <a:ext cx="18369" cy="18406"/>
              </a:xfrm>
              <a:custGeom>
                <a:avLst/>
                <a:gdLst>
                  <a:gd name="connsiteX0" fmla="*/ 18305 w 18369"/>
                  <a:gd name="connsiteY0" fmla="*/ 8186 h 18406"/>
                  <a:gd name="connsiteX1" fmla="*/ 10231 w 18369"/>
                  <a:gd name="connsiteY1" fmla="*/ 18354 h 18406"/>
                  <a:gd name="connsiteX2" fmla="*/ 64 w 18369"/>
                  <a:gd name="connsiteY2" fmla="*/ 10220 h 18406"/>
                  <a:gd name="connsiteX3" fmla="*/ 8138 w 18369"/>
                  <a:gd name="connsiteY3" fmla="*/ 53 h 18406"/>
                  <a:gd name="connsiteX4" fmla="*/ 18305 w 18369"/>
                  <a:gd name="connsiteY4" fmla="*/ 81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6">
                    <a:moveTo>
                      <a:pt x="18305" y="8186"/>
                    </a:moveTo>
                    <a:cubicBezTo>
                      <a:pt x="18904" y="13270"/>
                      <a:pt x="15255" y="17815"/>
                      <a:pt x="10231" y="18354"/>
                    </a:cubicBezTo>
                    <a:cubicBezTo>
                      <a:pt x="5208" y="18892"/>
                      <a:pt x="662" y="15244"/>
                      <a:pt x="64" y="10220"/>
                    </a:cubicBezTo>
                    <a:cubicBezTo>
                      <a:pt x="-534" y="5136"/>
                      <a:pt x="3114" y="591"/>
                      <a:pt x="8138" y="53"/>
                    </a:cubicBezTo>
                    <a:cubicBezTo>
                      <a:pt x="13222" y="-486"/>
                      <a:pt x="17767" y="3162"/>
                      <a:pt x="18305" y="8186"/>
                    </a:cubicBezTo>
                    <a:close/>
                  </a:path>
                </a:pathLst>
              </a:custGeom>
              <a:grpFill/>
              <a:ln w="5978" cap="flat">
                <a:noFill/>
                <a:prstDash val="solid"/>
                <a:miter/>
              </a:ln>
            </p:spPr>
            <p:txBody>
              <a:bodyPr rtlCol="0" anchor="ctr"/>
              <a:lstStyle/>
              <a:p>
                <a:endParaRPr lang="en-GB"/>
              </a:p>
            </p:txBody>
          </p:sp>
          <p:sp>
            <p:nvSpPr>
              <p:cNvPr id="3060" name="Vrije vorm: vorm 3059">
                <a:extLst>
                  <a:ext uri="{FF2B5EF4-FFF2-40B4-BE49-F238E27FC236}">
                    <a16:creationId xmlns:a16="http://schemas.microsoft.com/office/drawing/2014/main" id="{400788CD-FAED-41EC-AA3E-E1262335C990}"/>
                  </a:ext>
                </a:extLst>
              </p:cNvPr>
              <p:cNvSpPr/>
              <p:nvPr/>
            </p:nvSpPr>
            <p:spPr>
              <a:xfrm>
                <a:off x="6280551" y="5495661"/>
                <a:ext cx="18369" cy="18429"/>
              </a:xfrm>
              <a:custGeom>
                <a:avLst/>
                <a:gdLst>
                  <a:gd name="connsiteX0" fmla="*/ 18305 w 18369"/>
                  <a:gd name="connsiteY0" fmla="*/ 8198 h 18429"/>
                  <a:gd name="connsiteX1" fmla="*/ 8138 w 18369"/>
                  <a:gd name="connsiteY1" fmla="*/ 64 h 18429"/>
                  <a:gd name="connsiteX2" fmla="*/ 64 w 18369"/>
                  <a:gd name="connsiteY2" fmla="*/ 10232 h 18429"/>
                  <a:gd name="connsiteX3" fmla="*/ 10231 w 18369"/>
                  <a:gd name="connsiteY3" fmla="*/ 18365 h 18429"/>
                  <a:gd name="connsiteX4" fmla="*/ 18305 w 18369"/>
                  <a:gd name="connsiteY4" fmla="*/ 819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29">
                    <a:moveTo>
                      <a:pt x="18305" y="8198"/>
                    </a:moveTo>
                    <a:cubicBezTo>
                      <a:pt x="17707" y="3114"/>
                      <a:pt x="13222" y="-534"/>
                      <a:pt x="8138" y="64"/>
                    </a:cubicBezTo>
                    <a:cubicBezTo>
                      <a:pt x="3114" y="602"/>
                      <a:pt x="-534" y="5148"/>
                      <a:pt x="64" y="10232"/>
                    </a:cubicBezTo>
                    <a:cubicBezTo>
                      <a:pt x="662" y="15315"/>
                      <a:pt x="5148" y="18963"/>
                      <a:pt x="10231" y="18365"/>
                    </a:cubicBezTo>
                    <a:cubicBezTo>
                      <a:pt x="15255" y="17767"/>
                      <a:pt x="18904" y="13222"/>
                      <a:pt x="18305" y="8198"/>
                    </a:cubicBezTo>
                    <a:close/>
                  </a:path>
                </a:pathLst>
              </a:custGeom>
              <a:grpFill/>
              <a:ln w="5978" cap="flat">
                <a:noFill/>
                <a:prstDash val="solid"/>
                <a:miter/>
              </a:ln>
            </p:spPr>
            <p:txBody>
              <a:bodyPr rtlCol="0" anchor="ctr"/>
              <a:lstStyle/>
              <a:p>
                <a:endParaRPr lang="en-GB"/>
              </a:p>
            </p:txBody>
          </p:sp>
        </p:grpSp>
        <p:grpSp>
          <p:nvGrpSpPr>
            <p:cNvPr id="779" name="Graphic 3">
              <a:extLst>
                <a:ext uri="{FF2B5EF4-FFF2-40B4-BE49-F238E27FC236}">
                  <a16:creationId xmlns:a16="http://schemas.microsoft.com/office/drawing/2014/main" id="{C69FAE8D-37E9-4613-AB6B-B1D59FAEDECF}"/>
                </a:ext>
              </a:extLst>
            </p:cNvPr>
            <p:cNvGrpSpPr/>
            <p:nvPr/>
          </p:nvGrpSpPr>
          <p:grpSpPr>
            <a:xfrm>
              <a:off x="4862052" y="1465921"/>
              <a:ext cx="296249" cy="532532"/>
              <a:chOff x="4862052" y="1465921"/>
              <a:chExt cx="296249" cy="532532"/>
            </a:xfrm>
            <a:grpFill/>
          </p:grpSpPr>
          <p:sp>
            <p:nvSpPr>
              <p:cNvPr id="3056" name="Vrije vorm: vorm 3055">
                <a:extLst>
                  <a:ext uri="{FF2B5EF4-FFF2-40B4-BE49-F238E27FC236}">
                    <a16:creationId xmlns:a16="http://schemas.microsoft.com/office/drawing/2014/main" id="{9FBEC59F-7DAB-4B31-9904-B3E713DB3265}"/>
                  </a:ext>
                </a:extLst>
              </p:cNvPr>
              <p:cNvSpPr/>
              <p:nvPr/>
            </p:nvSpPr>
            <p:spPr>
              <a:xfrm>
                <a:off x="4869643" y="1473989"/>
                <a:ext cx="281034" cy="516375"/>
              </a:xfrm>
              <a:custGeom>
                <a:avLst/>
                <a:gdLst>
                  <a:gd name="connsiteX0" fmla="*/ 281034 w 281034"/>
                  <a:gd name="connsiteY0" fmla="*/ 514940 h 516375"/>
                  <a:gd name="connsiteX1" fmla="*/ 278343 w 281034"/>
                  <a:gd name="connsiteY1" fmla="*/ 516375 h 516375"/>
                  <a:gd name="connsiteX2" fmla="*/ 0 w 281034"/>
                  <a:gd name="connsiteY2" fmla="*/ 1435 h 516375"/>
                  <a:gd name="connsiteX3" fmla="*/ 2691 w 281034"/>
                  <a:gd name="connsiteY3" fmla="*/ 0 h 516375"/>
                </a:gdLst>
                <a:ahLst/>
                <a:cxnLst>
                  <a:cxn ang="0">
                    <a:pos x="connsiteX0" y="connsiteY0"/>
                  </a:cxn>
                  <a:cxn ang="0">
                    <a:pos x="connsiteX1" y="connsiteY1"/>
                  </a:cxn>
                  <a:cxn ang="0">
                    <a:pos x="connsiteX2" y="connsiteY2"/>
                  </a:cxn>
                  <a:cxn ang="0">
                    <a:pos x="connsiteX3" y="connsiteY3"/>
                  </a:cxn>
                </a:cxnLst>
                <a:rect l="l" t="t" r="r" b="b"/>
                <a:pathLst>
                  <a:path w="281034" h="516375">
                    <a:moveTo>
                      <a:pt x="281034" y="514940"/>
                    </a:moveTo>
                    <a:lnTo>
                      <a:pt x="278343" y="516375"/>
                    </a:lnTo>
                    <a:lnTo>
                      <a:pt x="0" y="1435"/>
                    </a:lnTo>
                    <a:lnTo>
                      <a:pt x="2691" y="0"/>
                    </a:lnTo>
                    <a:close/>
                  </a:path>
                </a:pathLst>
              </a:custGeom>
              <a:grpFill/>
              <a:ln w="5978" cap="flat">
                <a:noFill/>
                <a:prstDash val="solid"/>
                <a:miter/>
              </a:ln>
            </p:spPr>
            <p:txBody>
              <a:bodyPr rtlCol="0" anchor="ctr"/>
              <a:lstStyle/>
              <a:p>
                <a:endParaRPr lang="en-GB"/>
              </a:p>
            </p:txBody>
          </p:sp>
          <p:sp>
            <p:nvSpPr>
              <p:cNvPr id="3057" name="Vrije vorm: vorm 3056">
                <a:extLst>
                  <a:ext uri="{FF2B5EF4-FFF2-40B4-BE49-F238E27FC236}">
                    <a16:creationId xmlns:a16="http://schemas.microsoft.com/office/drawing/2014/main" id="{60E60014-860B-4609-AD36-738ADD0C48F7}"/>
                  </a:ext>
                </a:extLst>
              </p:cNvPr>
              <p:cNvSpPr/>
              <p:nvPr/>
            </p:nvSpPr>
            <p:spPr>
              <a:xfrm>
                <a:off x="5140003" y="1980024"/>
                <a:ext cx="18298" cy="18429"/>
              </a:xfrm>
              <a:custGeom>
                <a:avLst/>
                <a:gdLst>
                  <a:gd name="connsiteX0" fmla="*/ 17193 w 18298"/>
                  <a:gd name="connsiteY0" fmla="*/ 4838 h 18429"/>
                  <a:gd name="connsiteX1" fmla="*/ 13545 w 18298"/>
                  <a:gd name="connsiteY1" fmla="*/ 17338 h 18429"/>
                  <a:gd name="connsiteX2" fmla="*/ 1105 w 18298"/>
                  <a:gd name="connsiteY2" fmla="*/ 13630 h 18429"/>
                  <a:gd name="connsiteX3" fmla="*/ 4754 w 18298"/>
                  <a:gd name="connsiteY3" fmla="*/ 1130 h 18429"/>
                  <a:gd name="connsiteX4" fmla="*/ 17193 w 18298"/>
                  <a:gd name="connsiteY4" fmla="*/ 483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9">
                    <a:moveTo>
                      <a:pt x="17193" y="4838"/>
                    </a:moveTo>
                    <a:cubicBezTo>
                      <a:pt x="19586" y="9324"/>
                      <a:pt x="17971" y="14886"/>
                      <a:pt x="13545" y="17338"/>
                    </a:cubicBezTo>
                    <a:cubicBezTo>
                      <a:pt x="9119" y="19730"/>
                      <a:pt x="3557" y="18055"/>
                      <a:pt x="1105" y="13630"/>
                    </a:cubicBezTo>
                    <a:cubicBezTo>
                      <a:pt x="-1287" y="9144"/>
                      <a:pt x="328" y="3582"/>
                      <a:pt x="4754" y="1130"/>
                    </a:cubicBezTo>
                    <a:cubicBezTo>
                      <a:pt x="9179" y="-1322"/>
                      <a:pt x="14741" y="352"/>
                      <a:pt x="17193" y="4838"/>
                    </a:cubicBezTo>
                    <a:close/>
                  </a:path>
                </a:pathLst>
              </a:custGeom>
              <a:grpFill/>
              <a:ln w="5978" cap="flat">
                <a:noFill/>
                <a:prstDash val="solid"/>
                <a:miter/>
              </a:ln>
            </p:spPr>
            <p:txBody>
              <a:bodyPr rtlCol="0" anchor="ctr"/>
              <a:lstStyle/>
              <a:p>
                <a:endParaRPr lang="en-GB"/>
              </a:p>
            </p:txBody>
          </p:sp>
          <p:sp>
            <p:nvSpPr>
              <p:cNvPr id="3058" name="Vrije vorm: vorm 3057">
                <a:extLst>
                  <a:ext uri="{FF2B5EF4-FFF2-40B4-BE49-F238E27FC236}">
                    <a16:creationId xmlns:a16="http://schemas.microsoft.com/office/drawing/2014/main" id="{12F21EB9-CA1F-4761-9076-2DD639BC76A3}"/>
                  </a:ext>
                </a:extLst>
              </p:cNvPr>
              <p:cNvSpPr/>
              <p:nvPr/>
            </p:nvSpPr>
            <p:spPr>
              <a:xfrm>
                <a:off x="4862052" y="1465921"/>
                <a:ext cx="18351" cy="18467"/>
              </a:xfrm>
              <a:custGeom>
                <a:avLst/>
                <a:gdLst>
                  <a:gd name="connsiteX0" fmla="*/ 17220 w 18351"/>
                  <a:gd name="connsiteY0" fmla="*/ 4838 h 18467"/>
                  <a:gd name="connsiteX1" fmla="*/ 4780 w 18351"/>
                  <a:gd name="connsiteY1" fmla="*/ 1130 h 18467"/>
                  <a:gd name="connsiteX2" fmla="*/ 1132 w 18351"/>
                  <a:gd name="connsiteY2" fmla="*/ 13630 h 18467"/>
                  <a:gd name="connsiteX3" fmla="*/ 13572 w 18351"/>
                  <a:gd name="connsiteY3" fmla="*/ 17338 h 18467"/>
                  <a:gd name="connsiteX4" fmla="*/ 17220 w 18351"/>
                  <a:gd name="connsiteY4" fmla="*/ 4838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7">
                    <a:moveTo>
                      <a:pt x="17220" y="4838"/>
                    </a:moveTo>
                    <a:cubicBezTo>
                      <a:pt x="14827" y="352"/>
                      <a:pt x="9206" y="-1322"/>
                      <a:pt x="4780" y="1130"/>
                    </a:cubicBezTo>
                    <a:cubicBezTo>
                      <a:pt x="354" y="3522"/>
                      <a:pt x="-1320" y="9144"/>
                      <a:pt x="1132" y="13630"/>
                    </a:cubicBezTo>
                    <a:cubicBezTo>
                      <a:pt x="3524" y="18115"/>
                      <a:pt x="9146" y="19790"/>
                      <a:pt x="13572" y="17338"/>
                    </a:cubicBezTo>
                    <a:cubicBezTo>
                      <a:pt x="17997" y="14886"/>
                      <a:pt x="19672" y="9324"/>
                      <a:pt x="17220" y="4838"/>
                    </a:cubicBezTo>
                    <a:close/>
                  </a:path>
                </a:pathLst>
              </a:custGeom>
              <a:grpFill/>
              <a:ln w="5978" cap="flat">
                <a:noFill/>
                <a:prstDash val="solid"/>
                <a:miter/>
              </a:ln>
            </p:spPr>
            <p:txBody>
              <a:bodyPr rtlCol="0" anchor="ctr"/>
              <a:lstStyle/>
              <a:p>
                <a:endParaRPr lang="en-GB"/>
              </a:p>
            </p:txBody>
          </p:sp>
        </p:grpSp>
        <p:grpSp>
          <p:nvGrpSpPr>
            <p:cNvPr id="780" name="Graphic 3">
              <a:extLst>
                <a:ext uri="{FF2B5EF4-FFF2-40B4-BE49-F238E27FC236}">
                  <a16:creationId xmlns:a16="http://schemas.microsoft.com/office/drawing/2014/main" id="{8954D688-B779-4464-AF1C-93DA2F7A2929}"/>
                </a:ext>
              </a:extLst>
            </p:cNvPr>
            <p:cNvGrpSpPr/>
            <p:nvPr/>
          </p:nvGrpSpPr>
          <p:grpSpPr>
            <a:xfrm>
              <a:off x="6215443" y="5217350"/>
              <a:ext cx="50620" cy="363043"/>
              <a:chOff x="6215443" y="5217350"/>
              <a:chExt cx="50620" cy="363043"/>
            </a:xfrm>
            <a:grpFill/>
          </p:grpSpPr>
          <p:sp>
            <p:nvSpPr>
              <p:cNvPr id="3053" name="Vrije vorm: vorm 3052">
                <a:extLst>
                  <a:ext uri="{FF2B5EF4-FFF2-40B4-BE49-F238E27FC236}">
                    <a16:creationId xmlns:a16="http://schemas.microsoft.com/office/drawing/2014/main" id="{1156A413-9F6F-4C8E-BC94-F6D92B44AB76}"/>
                  </a:ext>
                </a:extLst>
              </p:cNvPr>
              <p:cNvSpPr/>
              <p:nvPr/>
            </p:nvSpPr>
            <p:spPr>
              <a:xfrm>
                <a:off x="6223020" y="5225935"/>
                <a:ext cx="35405" cy="345864"/>
              </a:xfrm>
              <a:custGeom>
                <a:avLst/>
                <a:gdLst>
                  <a:gd name="connsiteX0" fmla="*/ 3050 w 35405"/>
                  <a:gd name="connsiteY0" fmla="*/ 0 h 345864"/>
                  <a:gd name="connsiteX1" fmla="*/ 35406 w 35405"/>
                  <a:gd name="connsiteY1" fmla="*/ 345566 h 345864"/>
                  <a:gd name="connsiteX2" fmla="*/ 32356 w 35405"/>
                  <a:gd name="connsiteY2" fmla="*/ 345865 h 345864"/>
                  <a:gd name="connsiteX3" fmla="*/ 0 w 35405"/>
                  <a:gd name="connsiteY3" fmla="*/ 299 h 345864"/>
                </a:gdLst>
                <a:ahLst/>
                <a:cxnLst>
                  <a:cxn ang="0">
                    <a:pos x="connsiteX0" y="connsiteY0"/>
                  </a:cxn>
                  <a:cxn ang="0">
                    <a:pos x="connsiteX1" y="connsiteY1"/>
                  </a:cxn>
                  <a:cxn ang="0">
                    <a:pos x="connsiteX2" y="connsiteY2"/>
                  </a:cxn>
                  <a:cxn ang="0">
                    <a:pos x="connsiteX3" y="connsiteY3"/>
                  </a:cxn>
                </a:cxnLst>
                <a:rect l="l" t="t" r="r" b="b"/>
                <a:pathLst>
                  <a:path w="35405" h="345864">
                    <a:moveTo>
                      <a:pt x="3050" y="0"/>
                    </a:moveTo>
                    <a:lnTo>
                      <a:pt x="35406" y="345566"/>
                    </a:lnTo>
                    <a:lnTo>
                      <a:pt x="32356" y="345865"/>
                    </a:lnTo>
                    <a:lnTo>
                      <a:pt x="0" y="299"/>
                    </a:lnTo>
                    <a:close/>
                  </a:path>
                </a:pathLst>
              </a:custGeom>
              <a:grpFill/>
              <a:ln w="5978" cap="flat">
                <a:noFill/>
                <a:prstDash val="solid"/>
                <a:miter/>
              </a:ln>
            </p:spPr>
            <p:txBody>
              <a:bodyPr rtlCol="0" anchor="ctr"/>
              <a:lstStyle/>
              <a:p>
                <a:endParaRPr lang="en-GB"/>
              </a:p>
            </p:txBody>
          </p:sp>
          <p:sp>
            <p:nvSpPr>
              <p:cNvPr id="3054" name="Vrije vorm: vorm 3053">
                <a:extLst>
                  <a:ext uri="{FF2B5EF4-FFF2-40B4-BE49-F238E27FC236}">
                    <a16:creationId xmlns:a16="http://schemas.microsoft.com/office/drawing/2014/main" id="{ACEE409D-AF77-4FAB-9CEC-3F05663CACC4}"/>
                  </a:ext>
                </a:extLst>
              </p:cNvPr>
              <p:cNvSpPr/>
              <p:nvPr/>
            </p:nvSpPr>
            <p:spPr>
              <a:xfrm>
                <a:off x="6247739" y="5561959"/>
                <a:ext cx="18324" cy="18433"/>
              </a:xfrm>
              <a:custGeom>
                <a:avLst/>
                <a:gdLst>
                  <a:gd name="connsiteX0" fmla="*/ 18283 w 18324"/>
                  <a:gd name="connsiteY0" fmla="*/ 8405 h 18433"/>
                  <a:gd name="connsiteX1" fmla="*/ 10029 w 18324"/>
                  <a:gd name="connsiteY1" fmla="*/ 18393 h 18433"/>
                  <a:gd name="connsiteX2" fmla="*/ 42 w 18324"/>
                  <a:gd name="connsiteY2" fmla="*/ 10020 h 18433"/>
                  <a:gd name="connsiteX3" fmla="*/ 8295 w 18324"/>
                  <a:gd name="connsiteY3" fmla="*/ 32 h 18433"/>
                  <a:gd name="connsiteX4" fmla="*/ 18283 w 18324"/>
                  <a:gd name="connsiteY4" fmla="*/ 8405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3">
                    <a:moveTo>
                      <a:pt x="18283" y="8405"/>
                    </a:moveTo>
                    <a:cubicBezTo>
                      <a:pt x="18761" y="13489"/>
                      <a:pt x="15053" y="17974"/>
                      <a:pt x="10029" y="18393"/>
                    </a:cubicBezTo>
                    <a:cubicBezTo>
                      <a:pt x="5006" y="18871"/>
                      <a:pt x="520" y="15103"/>
                      <a:pt x="42" y="10020"/>
                    </a:cubicBezTo>
                    <a:cubicBezTo>
                      <a:pt x="-437" y="4936"/>
                      <a:pt x="3271" y="451"/>
                      <a:pt x="8295" y="32"/>
                    </a:cubicBezTo>
                    <a:cubicBezTo>
                      <a:pt x="13319" y="-386"/>
                      <a:pt x="17804" y="3322"/>
                      <a:pt x="18283" y="8405"/>
                    </a:cubicBezTo>
                    <a:close/>
                  </a:path>
                </a:pathLst>
              </a:custGeom>
              <a:grpFill/>
              <a:ln w="5978" cap="flat">
                <a:noFill/>
                <a:prstDash val="solid"/>
                <a:miter/>
              </a:ln>
            </p:spPr>
            <p:txBody>
              <a:bodyPr rtlCol="0" anchor="ctr"/>
              <a:lstStyle/>
              <a:p>
                <a:endParaRPr lang="en-GB"/>
              </a:p>
            </p:txBody>
          </p:sp>
          <p:sp>
            <p:nvSpPr>
              <p:cNvPr id="3055" name="Vrije vorm: vorm 3054">
                <a:extLst>
                  <a:ext uri="{FF2B5EF4-FFF2-40B4-BE49-F238E27FC236}">
                    <a16:creationId xmlns:a16="http://schemas.microsoft.com/office/drawing/2014/main" id="{187BB163-C462-4313-97C8-E1D0AC91E52A}"/>
                  </a:ext>
                </a:extLst>
              </p:cNvPr>
              <p:cNvSpPr/>
              <p:nvPr/>
            </p:nvSpPr>
            <p:spPr>
              <a:xfrm>
                <a:off x="6215443" y="5217350"/>
                <a:ext cx="18324" cy="18425"/>
              </a:xfrm>
              <a:custGeom>
                <a:avLst/>
                <a:gdLst>
                  <a:gd name="connsiteX0" fmla="*/ 18283 w 18324"/>
                  <a:gd name="connsiteY0" fmla="*/ 8405 h 18425"/>
                  <a:gd name="connsiteX1" fmla="*/ 8295 w 18324"/>
                  <a:gd name="connsiteY1" fmla="*/ 32 h 18425"/>
                  <a:gd name="connsiteX2" fmla="*/ 42 w 18324"/>
                  <a:gd name="connsiteY2" fmla="*/ 10020 h 18425"/>
                  <a:gd name="connsiteX3" fmla="*/ 10029 w 18324"/>
                  <a:gd name="connsiteY3" fmla="*/ 18393 h 18425"/>
                  <a:gd name="connsiteX4" fmla="*/ 18283 w 1832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8283" y="8405"/>
                    </a:moveTo>
                    <a:cubicBezTo>
                      <a:pt x="17805" y="3322"/>
                      <a:pt x="13319" y="-386"/>
                      <a:pt x="8295" y="32"/>
                    </a:cubicBezTo>
                    <a:cubicBezTo>
                      <a:pt x="3271" y="511"/>
                      <a:pt x="-437" y="4996"/>
                      <a:pt x="42" y="10020"/>
                    </a:cubicBezTo>
                    <a:cubicBezTo>
                      <a:pt x="520" y="15104"/>
                      <a:pt x="5006" y="18812"/>
                      <a:pt x="10029" y="18393"/>
                    </a:cubicBezTo>
                    <a:cubicBezTo>
                      <a:pt x="15053" y="17915"/>
                      <a:pt x="18761" y="13429"/>
                      <a:pt x="18283" y="8405"/>
                    </a:cubicBezTo>
                    <a:close/>
                  </a:path>
                </a:pathLst>
              </a:custGeom>
              <a:grpFill/>
              <a:ln w="5978" cap="flat">
                <a:noFill/>
                <a:prstDash val="solid"/>
                <a:miter/>
              </a:ln>
            </p:spPr>
            <p:txBody>
              <a:bodyPr rtlCol="0" anchor="ctr"/>
              <a:lstStyle/>
              <a:p>
                <a:endParaRPr lang="en-GB"/>
              </a:p>
            </p:txBody>
          </p:sp>
        </p:grpSp>
        <p:grpSp>
          <p:nvGrpSpPr>
            <p:cNvPr id="781" name="Graphic 3">
              <a:extLst>
                <a:ext uri="{FF2B5EF4-FFF2-40B4-BE49-F238E27FC236}">
                  <a16:creationId xmlns:a16="http://schemas.microsoft.com/office/drawing/2014/main" id="{4E2F3206-399C-4C69-924D-6D864C61ADFC}"/>
                </a:ext>
              </a:extLst>
            </p:cNvPr>
            <p:cNvGrpSpPr/>
            <p:nvPr/>
          </p:nvGrpSpPr>
          <p:grpSpPr>
            <a:xfrm>
              <a:off x="4862488" y="1465657"/>
              <a:ext cx="196987" cy="311556"/>
              <a:chOff x="4862488" y="1465657"/>
              <a:chExt cx="196987" cy="311556"/>
            </a:xfrm>
            <a:grpFill/>
          </p:grpSpPr>
          <p:sp>
            <p:nvSpPr>
              <p:cNvPr id="3050" name="Vrije vorm: vorm 3049">
                <a:extLst>
                  <a:ext uri="{FF2B5EF4-FFF2-40B4-BE49-F238E27FC236}">
                    <a16:creationId xmlns:a16="http://schemas.microsoft.com/office/drawing/2014/main" id="{1D7966B7-7ED7-4DF2-88CF-08389554E546}"/>
                  </a:ext>
                </a:extLst>
              </p:cNvPr>
              <p:cNvSpPr/>
              <p:nvPr/>
            </p:nvSpPr>
            <p:spPr>
              <a:xfrm>
                <a:off x="4870121" y="1473690"/>
                <a:ext cx="181694" cy="295507"/>
              </a:xfrm>
              <a:custGeom>
                <a:avLst/>
                <a:gdLst>
                  <a:gd name="connsiteX0" fmla="*/ 181694 w 181694"/>
                  <a:gd name="connsiteY0" fmla="*/ 293952 h 295507"/>
                  <a:gd name="connsiteX1" fmla="*/ 179123 w 181694"/>
                  <a:gd name="connsiteY1" fmla="*/ 295507 h 295507"/>
                  <a:gd name="connsiteX2" fmla="*/ 0 w 181694"/>
                  <a:gd name="connsiteY2" fmla="*/ 1615 h 295507"/>
                  <a:gd name="connsiteX3" fmla="*/ 2572 w 181694"/>
                  <a:gd name="connsiteY3" fmla="*/ 0 h 295507"/>
                </a:gdLst>
                <a:ahLst/>
                <a:cxnLst>
                  <a:cxn ang="0">
                    <a:pos x="connsiteX0" y="connsiteY0"/>
                  </a:cxn>
                  <a:cxn ang="0">
                    <a:pos x="connsiteX1" y="connsiteY1"/>
                  </a:cxn>
                  <a:cxn ang="0">
                    <a:pos x="connsiteX2" y="connsiteY2"/>
                  </a:cxn>
                  <a:cxn ang="0">
                    <a:pos x="connsiteX3" y="connsiteY3"/>
                  </a:cxn>
                </a:cxnLst>
                <a:rect l="l" t="t" r="r" b="b"/>
                <a:pathLst>
                  <a:path w="181694" h="295507">
                    <a:moveTo>
                      <a:pt x="181694" y="293952"/>
                    </a:moveTo>
                    <a:lnTo>
                      <a:pt x="179123" y="295507"/>
                    </a:lnTo>
                    <a:lnTo>
                      <a:pt x="0" y="1615"/>
                    </a:lnTo>
                    <a:lnTo>
                      <a:pt x="2572" y="0"/>
                    </a:lnTo>
                    <a:close/>
                  </a:path>
                </a:pathLst>
              </a:custGeom>
              <a:grpFill/>
              <a:ln w="5978" cap="flat">
                <a:noFill/>
                <a:prstDash val="solid"/>
                <a:miter/>
              </a:ln>
            </p:spPr>
            <p:txBody>
              <a:bodyPr rtlCol="0" anchor="ctr"/>
              <a:lstStyle/>
              <a:p>
                <a:endParaRPr lang="en-GB"/>
              </a:p>
            </p:txBody>
          </p:sp>
          <p:sp>
            <p:nvSpPr>
              <p:cNvPr id="3051" name="Vrije vorm: vorm 3050">
                <a:extLst>
                  <a:ext uri="{FF2B5EF4-FFF2-40B4-BE49-F238E27FC236}">
                    <a16:creationId xmlns:a16="http://schemas.microsoft.com/office/drawing/2014/main" id="{9E6FADFC-B843-4F23-A9FC-9B74B0B21056}"/>
                  </a:ext>
                </a:extLst>
              </p:cNvPr>
              <p:cNvSpPr/>
              <p:nvPr/>
            </p:nvSpPr>
            <p:spPr>
              <a:xfrm>
                <a:off x="4862488" y="1465657"/>
                <a:ext cx="18316" cy="18458"/>
              </a:xfrm>
              <a:custGeom>
                <a:avLst/>
                <a:gdLst>
                  <a:gd name="connsiteX0" fmla="*/ 1354 w 18316"/>
                  <a:gd name="connsiteY0" fmla="*/ 14014 h 18458"/>
                  <a:gd name="connsiteX1" fmla="*/ 4344 w 18316"/>
                  <a:gd name="connsiteY1" fmla="*/ 1335 h 18458"/>
                  <a:gd name="connsiteX2" fmla="*/ 16963 w 18316"/>
                  <a:gd name="connsiteY2" fmla="*/ 4445 h 18458"/>
                  <a:gd name="connsiteX3" fmla="*/ 13973 w 18316"/>
                  <a:gd name="connsiteY3" fmla="*/ 17124 h 18458"/>
                  <a:gd name="connsiteX4" fmla="*/ 1354 w 18316"/>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58">
                    <a:moveTo>
                      <a:pt x="1354" y="14014"/>
                    </a:moveTo>
                    <a:cubicBezTo>
                      <a:pt x="-1278" y="9648"/>
                      <a:pt x="38" y="4026"/>
                      <a:pt x="4344" y="1335"/>
                    </a:cubicBezTo>
                    <a:cubicBezTo>
                      <a:pt x="8650" y="-1297"/>
                      <a:pt x="14272" y="79"/>
                      <a:pt x="16963" y="4445"/>
                    </a:cubicBezTo>
                    <a:cubicBezTo>
                      <a:pt x="19595" y="8810"/>
                      <a:pt x="18279" y="14432"/>
                      <a:pt x="13973" y="17124"/>
                    </a:cubicBezTo>
                    <a:cubicBezTo>
                      <a:pt x="9607" y="19755"/>
                      <a:pt x="3985" y="18380"/>
                      <a:pt x="1354" y="14014"/>
                    </a:cubicBezTo>
                    <a:close/>
                  </a:path>
                </a:pathLst>
              </a:custGeom>
              <a:grpFill/>
              <a:ln w="5978" cap="flat">
                <a:noFill/>
                <a:prstDash val="solid"/>
                <a:miter/>
              </a:ln>
            </p:spPr>
            <p:txBody>
              <a:bodyPr rtlCol="0" anchor="ctr"/>
              <a:lstStyle/>
              <a:p>
                <a:endParaRPr lang="en-GB"/>
              </a:p>
            </p:txBody>
          </p:sp>
          <p:sp>
            <p:nvSpPr>
              <p:cNvPr id="3052" name="Vrije vorm: vorm 3051">
                <a:extLst>
                  <a:ext uri="{FF2B5EF4-FFF2-40B4-BE49-F238E27FC236}">
                    <a16:creationId xmlns:a16="http://schemas.microsoft.com/office/drawing/2014/main" id="{8CCDC2FE-F559-4B1F-8B68-59E638231DAE}"/>
                  </a:ext>
                </a:extLst>
              </p:cNvPr>
              <p:cNvSpPr/>
              <p:nvPr/>
            </p:nvSpPr>
            <p:spPr>
              <a:xfrm>
                <a:off x="5041106" y="1758712"/>
                <a:ext cx="18369" cy="18501"/>
              </a:xfrm>
              <a:custGeom>
                <a:avLst/>
                <a:gdLst>
                  <a:gd name="connsiteX0" fmla="*/ 1380 w 18369"/>
                  <a:gd name="connsiteY0" fmla="*/ 14074 h 18501"/>
                  <a:gd name="connsiteX1" fmla="*/ 14000 w 18369"/>
                  <a:gd name="connsiteY1" fmla="*/ 17124 h 18501"/>
                  <a:gd name="connsiteX2" fmla="*/ 16990 w 18369"/>
                  <a:gd name="connsiteY2" fmla="*/ 4445 h 18501"/>
                  <a:gd name="connsiteX3" fmla="*/ 4370 w 18369"/>
                  <a:gd name="connsiteY3" fmla="*/ 1335 h 18501"/>
                  <a:gd name="connsiteX4" fmla="*/ 1380 w 18369"/>
                  <a:gd name="connsiteY4" fmla="*/ 14074 h 18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501">
                    <a:moveTo>
                      <a:pt x="1380" y="14074"/>
                    </a:moveTo>
                    <a:cubicBezTo>
                      <a:pt x="4012" y="18439"/>
                      <a:pt x="9693" y="19815"/>
                      <a:pt x="14000" y="17124"/>
                    </a:cubicBezTo>
                    <a:cubicBezTo>
                      <a:pt x="18306" y="14492"/>
                      <a:pt x="19681" y="8810"/>
                      <a:pt x="16990" y="4445"/>
                    </a:cubicBezTo>
                    <a:cubicBezTo>
                      <a:pt x="14359" y="79"/>
                      <a:pt x="8677" y="-1297"/>
                      <a:pt x="4370" y="1335"/>
                    </a:cubicBezTo>
                    <a:cubicBezTo>
                      <a:pt x="64" y="4086"/>
                      <a:pt x="-1311" y="9767"/>
                      <a:pt x="1380" y="14074"/>
                    </a:cubicBezTo>
                    <a:close/>
                  </a:path>
                </a:pathLst>
              </a:custGeom>
              <a:grpFill/>
              <a:ln w="5978" cap="flat">
                <a:noFill/>
                <a:prstDash val="solid"/>
                <a:miter/>
              </a:ln>
            </p:spPr>
            <p:txBody>
              <a:bodyPr rtlCol="0" anchor="ctr"/>
              <a:lstStyle/>
              <a:p>
                <a:endParaRPr lang="en-GB"/>
              </a:p>
            </p:txBody>
          </p:sp>
        </p:grpSp>
        <p:grpSp>
          <p:nvGrpSpPr>
            <p:cNvPr id="782" name="Graphic 3">
              <a:extLst>
                <a:ext uri="{FF2B5EF4-FFF2-40B4-BE49-F238E27FC236}">
                  <a16:creationId xmlns:a16="http://schemas.microsoft.com/office/drawing/2014/main" id="{A46E740B-4F69-44E3-A4F2-4A59F2F3CD51}"/>
                </a:ext>
              </a:extLst>
            </p:cNvPr>
            <p:cNvGrpSpPr/>
            <p:nvPr/>
          </p:nvGrpSpPr>
          <p:grpSpPr>
            <a:xfrm>
              <a:off x="6185019" y="5262101"/>
              <a:ext cx="19424" cy="33053"/>
              <a:chOff x="6185019" y="5262101"/>
              <a:chExt cx="19424" cy="33053"/>
            </a:xfrm>
            <a:grpFill/>
          </p:grpSpPr>
          <p:sp>
            <p:nvSpPr>
              <p:cNvPr id="3048" name="Vrije vorm: vorm 3047">
                <a:extLst>
                  <a:ext uri="{FF2B5EF4-FFF2-40B4-BE49-F238E27FC236}">
                    <a16:creationId xmlns:a16="http://schemas.microsoft.com/office/drawing/2014/main" id="{055502E6-589A-4F8C-AAA0-31590621F637}"/>
                  </a:ext>
                </a:extLst>
              </p:cNvPr>
              <p:cNvSpPr/>
              <p:nvPr/>
            </p:nvSpPr>
            <p:spPr>
              <a:xfrm>
                <a:off x="6185019" y="5262101"/>
                <a:ext cx="18288" cy="18460"/>
              </a:xfrm>
              <a:custGeom>
                <a:avLst/>
                <a:gdLst>
                  <a:gd name="connsiteX0" fmla="*/ 18265 w 18288"/>
                  <a:gd name="connsiteY0" fmla="*/ 8569 h 18460"/>
                  <a:gd name="connsiteX1" fmla="*/ 9832 w 18288"/>
                  <a:gd name="connsiteY1" fmla="*/ 18437 h 18460"/>
                  <a:gd name="connsiteX2" fmla="*/ 24 w 18288"/>
                  <a:gd name="connsiteY2" fmla="*/ 9885 h 18460"/>
                  <a:gd name="connsiteX3" fmla="*/ 8456 w 18288"/>
                  <a:gd name="connsiteY3" fmla="*/ 17 h 18460"/>
                  <a:gd name="connsiteX4" fmla="*/ 18265 w 18288"/>
                  <a:gd name="connsiteY4" fmla="*/ 8569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0">
                    <a:moveTo>
                      <a:pt x="18265" y="8569"/>
                    </a:moveTo>
                    <a:cubicBezTo>
                      <a:pt x="18624" y="13652"/>
                      <a:pt x="14856" y="18078"/>
                      <a:pt x="9832" y="18437"/>
                    </a:cubicBezTo>
                    <a:cubicBezTo>
                      <a:pt x="4808" y="18796"/>
                      <a:pt x="382" y="14968"/>
                      <a:pt x="24" y="9885"/>
                    </a:cubicBezTo>
                    <a:cubicBezTo>
                      <a:pt x="-335" y="4801"/>
                      <a:pt x="3433" y="375"/>
                      <a:pt x="8456" y="17"/>
                    </a:cubicBezTo>
                    <a:cubicBezTo>
                      <a:pt x="13480" y="-282"/>
                      <a:pt x="17906" y="3486"/>
                      <a:pt x="18265" y="8569"/>
                    </a:cubicBezTo>
                    <a:close/>
                  </a:path>
                </a:pathLst>
              </a:custGeom>
              <a:grpFill/>
              <a:ln w="5978" cap="flat">
                <a:noFill/>
                <a:prstDash val="solid"/>
                <a:miter/>
              </a:ln>
            </p:spPr>
            <p:txBody>
              <a:bodyPr rtlCol="0" anchor="ctr"/>
              <a:lstStyle/>
              <a:p>
                <a:endParaRPr lang="en-GB"/>
              </a:p>
            </p:txBody>
          </p:sp>
          <p:sp>
            <p:nvSpPr>
              <p:cNvPr id="3049" name="Vrije vorm: vorm 3048">
                <a:extLst>
                  <a:ext uri="{FF2B5EF4-FFF2-40B4-BE49-F238E27FC236}">
                    <a16:creationId xmlns:a16="http://schemas.microsoft.com/office/drawing/2014/main" id="{05997F10-B885-47F3-B2D2-EFAB32E6F27A}"/>
                  </a:ext>
                </a:extLst>
              </p:cNvPr>
              <p:cNvSpPr/>
              <p:nvPr/>
            </p:nvSpPr>
            <p:spPr>
              <a:xfrm>
                <a:off x="6186148" y="5276688"/>
                <a:ext cx="18296" cy="18467"/>
              </a:xfrm>
              <a:custGeom>
                <a:avLst/>
                <a:gdLst>
                  <a:gd name="connsiteX0" fmla="*/ 18272 w 18296"/>
                  <a:gd name="connsiteY0" fmla="*/ 8576 h 18467"/>
                  <a:gd name="connsiteX1" fmla="*/ 8464 w 18296"/>
                  <a:gd name="connsiteY1" fmla="*/ 23 h 18467"/>
                  <a:gd name="connsiteX2" fmla="*/ 31 w 18296"/>
                  <a:gd name="connsiteY2" fmla="*/ 9891 h 18467"/>
                  <a:gd name="connsiteX3" fmla="*/ 9839 w 18296"/>
                  <a:gd name="connsiteY3" fmla="*/ 18444 h 18467"/>
                  <a:gd name="connsiteX4" fmla="*/ 18272 w 18296"/>
                  <a:gd name="connsiteY4" fmla="*/ 8576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7">
                    <a:moveTo>
                      <a:pt x="18272" y="8576"/>
                    </a:moveTo>
                    <a:cubicBezTo>
                      <a:pt x="17914" y="3492"/>
                      <a:pt x="13488" y="-336"/>
                      <a:pt x="8464" y="23"/>
                    </a:cubicBezTo>
                    <a:cubicBezTo>
                      <a:pt x="3440" y="382"/>
                      <a:pt x="-387" y="4808"/>
                      <a:pt x="31" y="9891"/>
                    </a:cubicBezTo>
                    <a:cubicBezTo>
                      <a:pt x="390" y="14975"/>
                      <a:pt x="4816" y="18803"/>
                      <a:pt x="9839" y="18444"/>
                    </a:cubicBezTo>
                    <a:cubicBezTo>
                      <a:pt x="14863" y="18025"/>
                      <a:pt x="18631" y="13659"/>
                      <a:pt x="18272" y="8576"/>
                    </a:cubicBezTo>
                    <a:close/>
                  </a:path>
                </a:pathLst>
              </a:custGeom>
              <a:grpFill/>
              <a:ln w="5978" cap="flat">
                <a:noFill/>
                <a:prstDash val="solid"/>
                <a:miter/>
              </a:ln>
            </p:spPr>
            <p:txBody>
              <a:bodyPr rtlCol="0" anchor="ctr"/>
              <a:lstStyle/>
              <a:p>
                <a:endParaRPr lang="en-GB"/>
              </a:p>
            </p:txBody>
          </p:sp>
        </p:grpSp>
        <p:grpSp>
          <p:nvGrpSpPr>
            <p:cNvPr id="783" name="Graphic 3">
              <a:extLst>
                <a:ext uri="{FF2B5EF4-FFF2-40B4-BE49-F238E27FC236}">
                  <a16:creationId xmlns:a16="http://schemas.microsoft.com/office/drawing/2014/main" id="{B8268366-ED2E-4AB0-86C4-8CF217DF491F}"/>
                </a:ext>
              </a:extLst>
            </p:cNvPr>
            <p:cNvGrpSpPr/>
            <p:nvPr/>
          </p:nvGrpSpPr>
          <p:grpSpPr>
            <a:xfrm>
              <a:off x="4946389" y="1745426"/>
              <a:ext cx="189624" cy="277415"/>
              <a:chOff x="4946389" y="1745426"/>
              <a:chExt cx="189624" cy="277415"/>
            </a:xfrm>
            <a:grpFill/>
          </p:grpSpPr>
          <p:sp>
            <p:nvSpPr>
              <p:cNvPr id="3045" name="Vrije vorm: vorm 3044">
                <a:extLst>
                  <a:ext uri="{FF2B5EF4-FFF2-40B4-BE49-F238E27FC236}">
                    <a16:creationId xmlns:a16="http://schemas.microsoft.com/office/drawing/2014/main" id="{5A969D4A-22F3-4E5B-BF02-4CD7F3FF7C4B}"/>
                  </a:ext>
                </a:extLst>
              </p:cNvPr>
              <p:cNvSpPr/>
              <p:nvPr/>
            </p:nvSpPr>
            <p:spPr>
              <a:xfrm>
                <a:off x="4954031" y="1753348"/>
                <a:ext cx="174397" cy="261477"/>
              </a:xfrm>
              <a:custGeom>
                <a:avLst/>
                <a:gdLst>
                  <a:gd name="connsiteX0" fmla="*/ 174398 w 174397"/>
                  <a:gd name="connsiteY0" fmla="*/ 259803 h 261477"/>
                  <a:gd name="connsiteX1" fmla="*/ 171826 w 174397"/>
                  <a:gd name="connsiteY1" fmla="*/ 261477 h 261477"/>
                  <a:gd name="connsiteX2" fmla="*/ 0 w 174397"/>
                  <a:gd name="connsiteY2" fmla="*/ 1675 h 261477"/>
                  <a:gd name="connsiteX3" fmla="*/ 2572 w 174397"/>
                  <a:gd name="connsiteY3" fmla="*/ 0 h 261477"/>
                </a:gdLst>
                <a:ahLst/>
                <a:cxnLst>
                  <a:cxn ang="0">
                    <a:pos x="connsiteX0" y="connsiteY0"/>
                  </a:cxn>
                  <a:cxn ang="0">
                    <a:pos x="connsiteX1" y="connsiteY1"/>
                  </a:cxn>
                  <a:cxn ang="0">
                    <a:pos x="connsiteX2" y="connsiteY2"/>
                  </a:cxn>
                  <a:cxn ang="0">
                    <a:pos x="connsiteX3" y="connsiteY3"/>
                  </a:cxn>
                </a:cxnLst>
                <a:rect l="l" t="t" r="r" b="b"/>
                <a:pathLst>
                  <a:path w="174397" h="261477">
                    <a:moveTo>
                      <a:pt x="174398" y="259803"/>
                    </a:moveTo>
                    <a:lnTo>
                      <a:pt x="171826" y="261477"/>
                    </a:lnTo>
                    <a:lnTo>
                      <a:pt x="0" y="1675"/>
                    </a:lnTo>
                    <a:lnTo>
                      <a:pt x="2572" y="0"/>
                    </a:lnTo>
                    <a:close/>
                  </a:path>
                </a:pathLst>
              </a:custGeom>
              <a:grpFill/>
              <a:ln w="5978" cap="flat">
                <a:noFill/>
                <a:prstDash val="solid"/>
                <a:miter/>
              </a:ln>
            </p:spPr>
            <p:txBody>
              <a:bodyPr rtlCol="0" anchor="ctr"/>
              <a:lstStyle/>
              <a:p>
                <a:endParaRPr lang="en-GB"/>
              </a:p>
            </p:txBody>
          </p:sp>
          <p:sp>
            <p:nvSpPr>
              <p:cNvPr id="3046" name="Vrije vorm: vorm 3045">
                <a:extLst>
                  <a:ext uri="{FF2B5EF4-FFF2-40B4-BE49-F238E27FC236}">
                    <a16:creationId xmlns:a16="http://schemas.microsoft.com/office/drawing/2014/main" id="{C3822F07-038A-4FDF-A482-5B64610E9089}"/>
                  </a:ext>
                </a:extLst>
              </p:cNvPr>
              <p:cNvSpPr/>
              <p:nvPr/>
            </p:nvSpPr>
            <p:spPr>
              <a:xfrm>
                <a:off x="4946389" y="1745426"/>
                <a:ext cx="18393" cy="18390"/>
              </a:xfrm>
              <a:custGeom>
                <a:avLst/>
                <a:gdLst>
                  <a:gd name="connsiteX0" fmla="*/ 1541 w 18393"/>
                  <a:gd name="connsiteY0" fmla="*/ 14262 h 18390"/>
                  <a:gd name="connsiteX1" fmla="*/ 4113 w 18393"/>
                  <a:gd name="connsiteY1" fmla="*/ 1523 h 18390"/>
                  <a:gd name="connsiteX2" fmla="*/ 16852 w 18393"/>
                  <a:gd name="connsiteY2" fmla="*/ 4155 h 18390"/>
                  <a:gd name="connsiteX3" fmla="*/ 14280 w 18393"/>
                  <a:gd name="connsiteY3" fmla="*/ 16894 h 18390"/>
                  <a:gd name="connsiteX4" fmla="*/ 1541 w 1839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3" h="18390">
                    <a:moveTo>
                      <a:pt x="1541" y="14262"/>
                    </a:moveTo>
                    <a:cubicBezTo>
                      <a:pt x="-1269" y="10016"/>
                      <a:pt x="-133" y="4274"/>
                      <a:pt x="4113" y="1523"/>
                    </a:cubicBezTo>
                    <a:cubicBezTo>
                      <a:pt x="8300" y="-1288"/>
                      <a:pt x="14041" y="-92"/>
                      <a:pt x="16852" y="4155"/>
                    </a:cubicBezTo>
                    <a:cubicBezTo>
                      <a:pt x="19663" y="8401"/>
                      <a:pt x="18527" y="14142"/>
                      <a:pt x="14280" y="16894"/>
                    </a:cubicBezTo>
                    <a:cubicBezTo>
                      <a:pt x="10034" y="19645"/>
                      <a:pt x="4352" y="18508"/>
                      <a:pt x="1541" y="14262"/>
                    </a:cubicBezTo>
                    <a:close/>
                  </a:path>
                </a:pathLst>
              </a:custGeom>
              <a:grpFill/>
              <a:ln w="5978" cap="flat">
                <a:noFill/>
                <a:prstDash val="solid"/>
                <a:miter/>
              </a:ln>
            </p:spPr>
            <p:txBody>
              <a:bodyPr rtlCol="0" anchor="ctr"/>
              <a:lstStyle/>
              <a:p>
                <a:endParaRPr lang="en-GB"/>
              </a:p>
            </p:txBody>
          </p:sp>
          <p:sp>
            <p:nvSpPr>
              <p:cNvPr id="3047" name="Vrije vorm: vorm 3046">
                <a:extLst>
                  <a:ext uri="{FF2B5EF4-FFF2-40B4-BE49-F238E27FC236}">
                    <a16:creationId xmlns:a16="http://schemas.microsoft.com/office/drawing/2014/main" id="{6EA816E0-4189-410C-9457-ECDD228563E2}"/>
                  </a:ext>
                </a:extLst>
              </p:cNvPr>
              <p:cNvSpPr/>
              <p:nvPr/>
            </p:nvSpPr>
            <p:spPr>
              <a:xfrm>
                <a:off x="5117731" y="2004451"/>
                <a:ext cx="18283" cy="18390"/>
              </a:xfrm>
              <a:custGeom>
                <a:avLst/>
                <a:gdLst>
                  <a:gd name="connsiteX0" fmla="*/ 1548 w 18283"/>
                  <a:gd name="connsiteY0" fmla="*/ 14262 h 18390"/>
                  <a:gd name="connsiteX1" fmla="*/ 14227 w 18283"/>
                  <a:gd name="connsiteY1" fmla="*/ 16893 h 18390"/>
                  <a:gd name="connsiteX2" fmla="*/ 16739 w 18283"/>
                  <a:gd name="connsiteY2" fmla="*/ 4155 h 18390"/>
                  <a:gd name="connsiteX3" fmla="*/ 4000 w 18283"/>
                  <a:gd name="connsiteY3" fmla="*/ 1523 h 18390"/>
                  <a:gd name="connsiteX4" fmla="*/ 1548 w 1828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390">
                    <a:moveTo>
                      <a:pt x="1548" y="14262"/>
                    </a:moveTo>
                    <a:cubicBezTo>
                      <a:pt x="4358" y="18508"/>
                      <a:pt x="10040" y="19645"/>
                      <a:pt x="14227" y="16893"/>
                    </a:cubicBezTo>
                    <a:cubicBezTo>
                      <a:pt x="18413" y="14083"/>
                      <a:pt x="19550" y="8401"/>
                      <a:pt x="16739" y="4155"/>
                    </a:cubicBezTo>
                    <a:cubicBezTo>
                      <a:pt x="13928" y="-92"/>
                      <a:pt x="8246" y="-1288"/>
                      <a:pt x="4000" y="1523"/>
                    </a:cubicBezTo>
                    <a:cubicBezTo>
                      <a:pt x="-127" y="4274"/>
                      <a:pt x="-1263" y="10016"/>
                      <a:pt x="1548" y="14262"/>
                    </a:cubicBezTo>
                    <a:close/>
                  </a:path>
                </a:pathLst>
              </a:custGeom>
              <a:grpFill/>
              <a:ln w="5978" cap="flat">
                <a:noFill/>
                <a:prstDash val="solid"/>
                <a:miter/>
              </a:ln>
            </p:spPr>
            <p:txBody>
              <a:bodyPr rtlCol="0" anchor="ctr"/>
              <a:lstStyle/>
              <a:p>
                <a:endParaRPr lang="en-GB"/>
              </a:p>
            </p:txBody>
          </p:sp>
        </p:grpSp>
        <p:grpSp>
          <p:nvGrpSpPr>
            <p:cNvPr id="784" name="Graphic 3">
              <a:extLst>
                <a:ext uri="{FF2B5EF4-FFF2-40B4-BE49-F238E27FC236}">
                  <a16:creationId xmlns:a16="http://schemas.microsoft.com/office/drawing/2014/main" id="{031C8761-9986-4DC4-8460-0FF25BB29925}"/>
                </a:ext>
              </a:extLst>
            </p:cNvPr>
            <p:cNvGrpSpPr/>
            <p:nvPr/>
          </p:nvGrpSpPr>
          <p:grpSpPr>
            <a:xfrm>
              <a:off x="6141128" y="5096681"/>
              <a:ext cx="26108" cy="156177"/>
              <a:chOff x="6141128" y="5096681"/>
              <a:chExt cx="26108" cy="156177"/>
            </a:xfrm>
            <a:grpFill/>
          </p:grpSpPr>
          <p:sp>
            <p:nvSpPr>
              <p:cNvPr id="3042" name="Vrije vorm: vorm 3041">
                <a:extLst>
                  <a:ext uri="{FF2B5EF4-FFF2-40B4-BE49-F238E27FC236}">
                    <a16:creationId xmlns:a16="http://schemas.microsoft.com/office/drawing/2014/main" id="{A549D874-5F44-4698-AD2E-CEFB54F72034}"/>
                  </a:ext>
                </a:extLst>
              </p:cNvPr>
              <p:cNvSpPr/>
              <p:nvPr/>
            </p:nvSpPr>
            <p:spPr>
              <a:xfrm>
                <a:off x="6148740" y="5105363"/>
                <a:ext cx="10884" cy="138812"/>
              </a:xfrm>
              <a:custGeom>
                <a:avLst/>
                <a:gdLst>
                  <a:gd name="connsiteX0" fmla="*/ 3050 w 10884"/>
                  <a:gd name="connsiteY0" fmla="*/ 0 h 138812"/>
                  <a:gd name="connsiteX1" fmla="*/ 10885 w 10884"/>
                  <a:gd name="connsiteY1" fmla="*/ 138633 h 138812"/>
                  <a:gd name="connsiteX2" fmla="*/ 7835 w 10884"/>
                  <a:gd name="connsiteY2" fmla="*/ 138813 h 138812"/>
                  <a:gd name="connsiteX3" fmla="*/ 0 w 10884"/>
                  <a:gd name="connsiteY3" fmla="*/ 120 h 138812"/>
                </a:gdLst>
                <a:ahLst/>
                <a:cxnLst>
                  <a:cxn ang="0">
                    <a:pos x="connsiteX0" y="connsiteY0"/>
                  </a:cxn>
                  <a:cxn ang="0">
                    <a:pos x="connsiteX1" y="connsiteY1"/>
                  </a:cxn>
                  <a:cxn ang="0">
                    <a:pos x="connsiteX2" y="connsiteY2"/>
                  </a:cxn>
                  <a:cxn ang="0">
                    <a:pos x="connsiteX3" y="connsiteY3"/>
                  </a:cxn>
                </a:cxnLst>
                <a:rect l="l" t="t" r="r" b="b"/>
                <a:pathLst>
                  <a:path w="10884" h="138812">
                    <a:moveTo>
                      <a:pt x="3050" y="0"/>
                    </a:moveTo>
                    <a:lnTo>
                      <a:pt x="10885" y="138633"/>
                    </a:lnTo>
                    <a:lnTo>
                      <a:pt x="7835" y="138813"/>
                    </a:lnTo>
                    <a:lnTo>
                      <a:pt x="0" y="120"/>
                    </a:lnTo>
                    <a:close/>
                  </a:path>
                </a:pathLst>
              </a:custGeom>
              <a:grpFill/>
              <a:ln w="5978" cap="flat">
                <a:noFill/>
                <a:prstDash val="solid"/>
                <a:miter/>
              </a:ln>
            </p:spPr>
            <p:txBody>
              <a:bodyPr rtlCol="0" anchor="ctr"/>
              <a:lstStyle/>
              <a:p>
                <a:endParaRPr lang="en-GB"/>
              </a:p>
            </p:txBody>
          </p:sp>
          <p:sp>
            <p:nvSpPr>
              <p:cNvPr id="3043" name="Vrije vorm: vorm 3042">
                <a:extLst>
                  <a:ext uri="{FF2B5EF4-FFF2-40B4-BE49-F238E27FC236}">
                    <a16:creationId xmlns:a16="http://schemas.microsoft.com/office/drawing/2014/main" id="{BC841D6C-0F62-432A-B404-6D88A23FB62E}"/>
                  </a:ext>
                </a:extLst>
              </p:cNvPr>
              <p:cNvSpPr/>
              <p:nvPr/>
            </p:nvSpPr>
            <p:spPr>
              <a:xfrm>
                <a:off x="6148903" y="5234411"/>
                <a:ext cx="18333" cy="18447"/>
              </a:xfrm>
              <a:custGeom>
                <a:avLst/>
                <a:gdLst>
                  <a:gd name="connsiteX0" fmla="*/ 18317 w 18333"/>
                  <a:gd name="connsiteY0" fmla="*/ 8748 h 18447"/>
                  <a:gd name="connsiteX1" fmla="*/ 9705 w 18333"/>
                  <a:gd name="connsiteY1" fmla="*/ 18437 h 18447"/>
                  <a:gd name="connsiteX2" fmla="*/ 16 w 18333"/>
                  <a:gd name="connsiteY2" fmla="*/ 9705 h 18447"/>
                  <a:gd name="connsiteX3" fmla="*/ 8628 w 18333"/>
                  <a:gd name="connsiteY3" fmla="*/ 16 h 18447"/>
                  <a:gd name="connsiteX4" fmla="*/ 18317 w 18333"/>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8748"/>
                    </a:moveTo>
                    <a:cubicBezTo>
                      <a:pt x="18616" y="13831"/>
                      <a:pt x="14729" y="18137"/>
                      <a:pt x="9705" y="18437"/>
                    </a:cubicBezTo>
                    <a:cubicBezTo>
                      <a:pt x="4681" y="18676"/>
                      <a:pt x="315" y="14788"/>
                      <a:pt x="16" y="9705"/>
                    </a:cubicBezTo>
                    <a:cubicBezTo>
                      <a:pt x="-283" y="4621"/>
                      <a:pt x="3605" y="315"/>
                      <a:pt x="8628" y="16"/>
                    </a:cubicBezTo>
                    <a:cubicBezTo>
                      <a:pt x="13652" y="-283"/>
                      <a:pt x="18018" y="3664"/>
                      <a:pt x="18317" y="8748"/>
                    </a:cubicBezTo>
                    <a:close/>
                  </a:path>
                </a:pathLst>
              </a:custGeom>
              <a:grpFill/>
              <a:ln w="5978" cap="flat">
                <a:noFill/>
                <a:prstDash val="solid"/>
                <a:miter/>
              </a:ln>
            </p:spPr>
            <p:txBody>
              <a:bodyPr rtlCol="0" anchor="ctr"/>
              <a:lstStyle/>
              <a:p>
                <a:endParaRPr lang="en-GB"/>
              </a:p>
            </p:txBody>
          </p:sp>
          <p:sp>
            <p:nvSpPr>
              <p:cNvPr id="3044" name="Vrije vorm: vorm 3043">
                <a:extLst>
                  <a:ext uri="{FF2B5EF4-FFF2-40B4-BE49-F238E27FC236}">
                    <a16:creationId xmlns:a16="http://schemas.microsoft.com/office/drawing/2014/main" id="{1618C909-4930-46B2-8834-7538AD6B16CD}"/>
                  </a:ext>
                </a:extLst>
              </p:cNvPr>
              <p:cNvSpPr/>
              <p:nvPr/>
            </p:nvSpPr>
            <p:spPr>
              <a:xfrm>
                <a:off x="6141128" y="5096681"/>
                <a:ext cx="18333" cy="18441"/>
              </a:xfrm>
              <a:custGeom>
                <a:avLst/>
                <a:gdLst>
                  <a:gd name="connsiteX0" fmla="*/ 18317 w 18333"/>
                  <a:gd name="connsiteY0" fmla="*/ 8742 h 18441"/>
                  <a:gd name="connsiteX1" fmla="*/ 8628 w 18333"/>
                  <a:gd name="connsiteY1" fmla="*/ 10 h 18441"/>
                  <a:gd name="connsiteX2" fmla="*/ 16 w 18333"/>
                  <a:gd name="connsiteY2" fmla="*/ 9699 h 18441"/>
                  <a:gd name="connsiteX3" fmla="*/ 9705 w 18333"/>
                  <a:gd name="connsiteY3" fmla="*/ 18431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018" y="3659"/>
                      <a:pt x="13712" y="-229"/>
                      <a:pt x="8628" y="10"/>
                    </a:cubicBezTo>
                    <a:cubicBezTo>
                      <a:pt x="3604" y="250"/>
                      <a:pt x="-283" y="4616"/>
                      <a:pt x="16" y="9699"/>
                    </a:cubicBezTo>
                    <a:cubicBezTo>
                      <a:pt x="315" y="14783"/>
                      <a:pt x="4621" y="18670"/>
                      <a:pt x="9705" y="18431"/>
                    </a:cubicBezTo>
                    <a:cubicBezTo>
                      <a:pt x="14729" y="18132"/>
                      <a:pt x="18616" y="13766"/>
                      <a:pt x="18317" y="8742"/>
                    </a:cubicBezTo>
                    <a:close/>
                  </a:path>
                </a:pathLst>
              </a:custGeom>
              <a:grpFill/>
              <a:ln w="5978" cap="flat">
                <a:noFill/>
                <a:prstDash val="solid"/>
                <a:miter/>
              </a:ln>
            </p:spPr>
            <p:txBody>
              <a:bodyPr rtlCol="0" anchor="ctr"/>
              <a:lstStyle/>
              <a:p>
                <a:endParaRPr lang="en-GB"/>
              </a:p>
            </p:txBody>
          </p:sp>
        </p:grpSp>
        <p:grpSp>
          <p:nvGrpSpPr>
            <p:cNvPr id="785" name="Graphic 3">
              <a:extLst>
                <a:ext uri="{FF2B5EF4-FFF2-40B4-BE49-F238E27FC236}">
                  <a16:creationId xmlns:a16="http://schemas.microsoft.com/office/drawing/2014/main" id="{58E40066-FAED-4A2C-8E72-AA5C245C2560}"/>
                </a:ext>
              </a:extLst>
            </p:cNvPr>
            <p:cNvGrpSpPr/>
            <p:nvPr/>
          </p:nvGrpSpPr>
          <p:grpSpPr>
            <a:xfrm>
              <a:off x="4847868" y="1522263"/>
              <a:ext cx="288760" cy="500268"/>
              <a:chOff x="4847868" y="1522263"/>
              <a:chExt cx="288760" cy="500268"/>
            </a:xfrm>
            <a:grpFill/>
          </p:grpSpPr>
          <p:sp>
            <p:nvSpPr>
              <p:cNvPr id="3039" name="Vrije vorm: vorm 3038">
                <a:extLst>
                  <a:ext uri="{FF2B5EF4-FFF2-40B4-BE49-F238E27FC236}">
                    <a16:creationId xmlns:a16="http://schemas.microsoft.com/office/drawing/2014/main" id="{DD751ED8-2911-4F06-A5EC-5B7C78B4B8E4}"/>
                  </a:ext>
                </a:extLst>
              </p:cNvPr>
              <p:cNvSpPr/>
              <p:nvPr/>
            </p:nvSpPr>
            <p:spPr>
              <a:xfrm>
                <a:off x="4855469" y="1530327"/>
                <a:ext cx="273558" cy="484079"/>
              </a:xfrm>
              <a:custGeom>
                <a:avLst/>
                <a:gdLst>
                  <a:gd name="connsiteX0" fmla="*/ 273558 w 273558"/>
                  <a:gd name="connsiteY0" fmla="*/ 482584 h 484079"/>
                  <a:gd name="connsiteX1" fmla="*/ 270927 w 273558"/>
                  <a:gd name="connsiteY1" fmla="*/ 484080 h 484079"/>
                  <a:gd name="connsiteX2" fmla="*/ 0 w 273558"/>
                  <a:gd name="connsiteY2" fmla="*/ 1495 h 484079"/>
                  <a:gd name="connsiteX3" fmla="*/ 2691 w 273558"/>
                  <a:gd name="connsiteY3" fmla="*/ 0 h 484079"/>
                </a:gdLst>
                <a:ahLst/>
                <a:cxnLst>
                  <a:cxn ang="0">
                    <a:pos x="connsiteX0" y="connsiteY0"/>
                  </a:cxn>
                  <a:cxn ang="0">
                    <a:pos x="connsiteX1" y="connsiteY1"/>
                  </a:cxn>
                  <a:cxn ang="0">
                    <a:pos x="connsiteX2" y="connsiteY2"/>
                  </a:cxn>
                  <a:cxn ang="0">
                    <a:pos x="connsiteX3" y="connsiteY3"/>
                  </a:cxn>
                </a:cxnLst>
                <a:rect l="l" t="t" r="r" b="b"/>
                <a:pathLst>
                  <a:path w="273558" h="484079">
                    <a:moveTo>
                      <a:pt x="273558" y="482584"/>
                    </a:moveTo>
                    <a:lnTo>
                      <a:pt x="270927" y="484080"/>
                    </a:lnTo>
                    <a:lnTo>
                      <a:pt x="0" y="1495"/>
                    </a:lnTo>
                    <a:lnTo>
                      <a:pt x="2691" y="0"/>
                    </a:lnTo>
                    <a:close/>
                  </a:path>
                </a:pathLst>
              </a:custGeom>
              <a:grpFill/>
              <a:ln w="5978" cap="flat">
                <a:noFill/>
                <a:prstDash val="solid"/>
                <a:miter/>
              </a:ln>
            </p:spPr>
            <p:txBody>
              <a:bodyPr rtlCol="0" anchor="ctr"/>
              <a:lstStyle/>
              <a:p>
                <a:endParaRPr lang="en-GB"/>
              </a:p>
            </p:txBody>
          </p:sp>
          <p:sp>
            <p:nvSpPr>
              <p:cNvPr id="3040" name="Vrije vorm: vorm 3039">
                <a:extLst>
                  <a:ext uri="{FF2B5EF4-FFF2-40B4-BE49-F238E27FC236}">
                    <a16:creationId xmlns:a16="http://schemas.microsoft.com/office/drawing/2014/main" id="{04C292D8-798F-4596-9890-BD0599AB3B70}"/>
                  </a:ext>
                </a:extLst>
              </p:cNvPr>
              <p:cNvSpPr/>
              <p:nvPr/>
            </p:nvSpPr>
            <p:spPr>
              <a:xfrm>
                <a:off x="5118256" y="2004070"/>
                <a:ext cx="18371" cy="18461"/>
              </a:xfrm>
              <a:custGeom>
                <a:avLst/>
                <a:gdLst>
                  <a:gd name="connsiteX0" fmla="*/ 17170 w 18371"/>
                  <a:gd name="connsiteY0" fmla="*/ 4715 h 18461"/>
                  <a:gd name="connsiteX1" fmla="*/ 13701 w 18371"/>
                  <a:gd name="connsiteY1" fmla="*/ 17275 h 18461"/>
                  <a:gd name="connsiteX2" fmla="*/ 1201 w 18371"/>
                  <a:gd name="connsiteY2" fmla="*/ 13746 h 18461"/>
                  <a:gd name="connsiteX3" fmla="*/ 4670 w 18371"/>
                  <a:gd name="connsiteY3" fmla="*/ 1187 h 18461"/>
                  <a:gd name="connsiteX4" fmla="*/ 17170 w 18371"/>
                  <a:gd name="connsiteY4" fmla="*/ 4715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61">
                    <a:moveTo>
                      <a:pt x="17170" y="4715"/>
                    </a:moveTo>
                    <a:cubicBezTo>
                      <a:pt x="19682" y="9141"/>
                      <a:pt x="18127" y="14763"/>
                      <a:pt x="13701" y="17275"/>
                    </a:cubicBezTo>
                    <a:cubicBezTo>
                      <a:pt x="9276" y="19787"/>
                      <a:pt x="3714" y="18172"/>
                      <a:pt x="1201" y="13746"/>
                    </a:cubicBezTo>
                    <a:cubicBezTo>
                      <a:pt x="-1310" y="9321"/>
                      <a:pt x="245" y="3699"/>
                      <a:pt x="4670" y="1187"/>
                    </a:cubicBezTo>
                    <a:cubicBezTo>
                      <a:pt x="9096" y="-1325"/>
                      <a:pt x="14718" y="290"/>
                      <a:pt x="17170" y="4715"/>
                    </a:cubicBezTo>
                    <a:close/>
                  </a:path>
                </a:pathLst>
              </a:custGeom>
              <a:grpFill/>
              <a:ln w="5978" cap="flat">
                <a:noFill/>
                <a:prstDash val="solid"/>
                <a:miter/>
              </a:ln>
            </p:spPr>
            <p:txBody>
              <a:bodyPr rtlCol="0" anchor="ctr"/>
              <a:lstStyle/>
              <a:p>
                <a:endParaRPr lang="en-GB"/>
              </a:p>
            </p:txBody>
          </p:sp>
          <p:sp>
            <p:nvSpPr>
              <p:cNvPr id="3041" name="Vrije vorm: vorm 3040">
                <a:extLst>
                  <a:ext uri="{FF2B5EF4-FFF2-40B4-BE49-F238E27FC236}">
                    <a16:creationId xmlns:a16="http://schemas.microsoft.com/office/drawing/2014/main" id="{92321B83-2901-46B5-BFF2-4F239D3A3CA1}"/>
                  </a:ext>
                </a:extLst>
              </p:cNvPr>
              <p:cNvSpPr/>
              <p:nvPr/>
            </p:nvSpPr>
            <p:spPr>
              <a:xfrm>
                <a:off x="4847868" y="1522263"/>
                <a:ext cx="18332" cy="18461"/>
              </a:xfrm>
              <a:custGeom>
                <a:avLst/>
                <a:gdLst>
                  <a:gd name="connsiteX0" fmla="*/ 17170 w 18332"/>
                  <a:gd name="connsiteY0" fmla="*/ 4715 h 18461"/>
                  <a:gd name="connsiteX1" fmla="*/ 4670 w 18332"/>
                  <a:gd name="connsiteY1" fmla="*/ 1187 h 18461"/>
                  <a:gd name="connsiteX2" fmla="*/ 1202 w 18332"/>
                  <a:gd name="connsiteY2" fmla="*/ 13746 h 18461"/>
                  <a:gd name="connsiteX3" fmla="*/ 13701 w 18332"/>
                  <a:gd name="connsiteY3" fmla="*/ 17275 h 18461"/>
                  <a:gd name="connsiteX4" fmla="*/ 17170 w 18332"/>
                  <a:gd name="connsiteY4" fmla="*/ 4715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61">
                    <a:moveTo>
                      <a:pt x="17170" y="4715"/>
                    </a:moveTo>
                    <a:cubicBezTo>
                      <a:pt x="14658" y="290"/>
                      <a:pt x="9096" y="-1325"/>
                      <a:pt x="4670" y="1187"/>
                    </a:cubicBezTo>
                    <a:cubicBezTo>
                      <a:pt x="245" y="3699"/>
                      <a:pt x="-1311" y="9261"/>
                      <a:pt x="1202" y="13746"/>
                    </a:cubicBezTo>
                    <a:cubicBezTo>
                      <a:pt x="3713" y="18172"/>
                      <a:pt x="9275" y="19787"/>
                      <a:pt x="13701" y="17275"/>
                    </a:cubicBezTo>
                    <a:cubicBezTo>
                      <a:pt x="18067" y="14763"/>
                      <a:pt x="19622" y="9141"/>
                      <a:pt x="17170" y="4715"/>
                    </a:cubicBezTo>
                    <a:close/>
                  </a:path>
                </a:pathLst>
              </a:custGeom>
              <a:grpFill/>
              <a:ln w="5978" cap="flat">
                <a:noFill/>
                <a:prstDash val="solid"/>
                <a:miter/>
              </a:ln>
            </p:spPr>
            <p:txBody>
              <a:bodyPr rtlCol="0" anchor="ctr"/>
              <a:lstStyle/>
              <a:p>
                <a:endParaRPr lang="en-GB"/>
              </a:p>
            </p:txBody>
          </p:sp>
        </p:grpSp>
        <p:grpSp>
          <p:nvGrpSpPr>
            <p:cNvPr id="786" name="Graphic 3">
              <a:extLst>
                <a:ext uri="{FF2B5EF4-FFF2-40B4-BE49-F238E27FC236}">
                  <a16:creationId xmlns:a16="http://schemas.microsoft.com/office/drawing/2014/main" id="{874343C2-C893-45AD-9A68-8D2F460CB909}"/>
                </a:ext>
              </a:extLst>
            </p:cNvPr>
            <p:cNvGrpSpPr/>
            <p:nvPr/>
          </p:nvGrpSpPr>
          <p:grpSpPr>
            <a:xfrm>
              <a:off x="4855264" y="1532894"/>
              <a:ext cx="156805" cy="236581"/>
              <a:chOff x="4855264" y="1532894"/>
              <a:chExt cx="156805" cy="236581"/>
            </a:xfrm>
            <a:grpFill/>
          </p:grpSpPr>
          <p:sp>
            <p:nvSpPr>
              <p:cNvPr id="3036" name="Vrije vorm: vorm 3035">
                <a:extLst>
                  <a:ext uri="{FF2B5EF4-FFF2-40B4-BE49-F238E27FC236}">
                    <a16:creationId xmlns:a16="http://schemas.microsoft.com/office/drawing/2014/main" id="{5F565235-D607-400D-B217-41F0EFD101D0}"/>
                  </a:ext>
                </a:extLst>
              </p:cNvPr>
              <p:cNvSpPr/>
              <p:nvPr/>
            </p:nvSpPr>
            <p:spPr>
              <a:xfrm>
                <a:off x="4862885" y="1540913"/>
                <a:ext cx="141563" cy="220509"/>
              </a:xfrm>
              <a:custGeom>
                <a:avLst/>
                <a:gdLst>
                  <a:gd name="connsiteX0" fmla="*/ 141564 w 141563"/>
                  <a:gd name="connsiteY0" fmla="*/ 218894 h 220509"/>
                  <a:gd name="connsiteX1" fmla="*/ 138992 w 141563"/>
                  <a:gd name="connsiteY1" fmla="*/ 220509 h 220509"/>
                  <a:gd name="connsiteX2" fmla="*/ 0 w 141563"/>
                  <a:gd name="connsiteY2" fmla="*/ 1675 h 220509"/>
                  <a:gd name="connsiteX3" fmla="*/ 2572 w 141563"/>
                  <a:gd name="connsiteY3" fmla="*/ 0 h 220509"/>
                </a:gdLst>
                <a:ahLst/>
                <a:cxnLst>
                  <a:cxn ang="0">
                    <a:pos x="connsiteX0" y="connsiteY0"/>
                  </a:cxn>
                  <a:cxn ang="0">
                    <a:pos x="connsiteX1" y="connsiteY1"/>
                  </a:cxn>
                  <a:cxn ang="0">
                    <a:pos x="connsiteX2" y="connsiteY2"/>
                  </a:cxn>
                  <a:cxn ang="0">
                    <a:pos x="connsiteX3" y="connsiteY3"/>
                  </a:cxn>
                </a:cxnLst>
                <a:rect l="l" t="t" r="r" b="b"/>
                <a:pathLst>
                  <a:path w="141563" h="220509">
                    <a:moveTo>
                      <a:pt x="141564" y="218894"/>
                    </a:moveTo>
                    <a:lnTo>
                      <a:pt x="138992" y="220509"/>
                    </a:lnTo>
                    <a:lnTo>
                      <a:pt x="0" y="1675"/>
                    </a:lnTo>
                    <a:lnTo>
                      <a:pt x="2572" y="0"/>
                    </a:lnTo>
                    <a:close/>
                  </a:path>
                </a:pathLst>
              </a:custGeom>
              <a:grpFill/>
              <a:ln w="5978" cap="flat">
                <a:noFill/>
                <a:prstDash val="solid"/>
                <a:miter/>
              </a:ln>
            </p:spPr>
            <p:txBody>
              <a:bodyPr rtlCol="0" anchor="ctr"/>
              <a:lstStyle/>
              <a:p>
                <a:endParaRPr lang="en-GB"/>
              </a:p>
            </p:txBody>
          </p:sp>
          <p:sp>
            <p:nvSpPr>
              <p:cNvPr id="3037" name="Vrije vorm: vorm 3036">
                <a:extLst>
                  <a:ext uri="{FF2B5EF4-FFF2-40B4-BE49-F238E27FC236}">
                    <a16:creationId xmlns:a16="http://schemas.microsoft.com/office/drawing/2014/main" id="{CE477DA5-3C90-4648-927F-7CF79E008194}"/>
                  </a:ext>
                </a:extLst>
              </p:cNvPr>
              <p:cNvSpPr/>
              <p:nvPr/>
            </p:nvSpPr>
            <p:spPr>
              <a:xfrm>
                <a:off x="4855264" y="1532894"/>
                <a:ext cx="18351" cy="18464"/>
              </a:xfrm>
              <a:custGeom>
                <a:avLst/>
                <a:gdLst>
                  <a:gd name="connsiteX0" fmla="*/ 1461 w 18351"/>
                  <a:gd name="connsiteY0" fmla="*/ 14179 h 18464"/>
                  <a:gd name="connsiteX1" fmla="*/ 4212 w 18351"/>
                  <a:gd name="connsiteY1" fmla="*/ 1440 h 18464"/>
                  <a:gd name="connsiteX2" fmla="*/ 16891 w 18351"/>
                  <a:gd name="connsiteY2" fmla="*/ 4311 h 18464"/>
                  <a:gd name="connsiteX3" fmla="*/ 14140 w 18351"/>
                  <a:gd name="connsiteY3" fmla="*/ 17050 h 18464"/>
                  <a:gd name="connsiteX4" fmla="*/ 1461 w 18351"/>
                  <a:gd name="connsiteY4" fmla="*/ 1417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4">
                    <a:moveTo>
                      <a:pt x="1461" y="14179"/>
                    </a:moveTo>
                    <a:cubicBezTo>
                      <a:pt x="-1290" y="9873"/>
                      <a:pt x="-35" y="4192"/>
                      <a:pt x="4212" y="1440"/>
                    </a:cubicBezTo>
                    <a:cubicBezTo>
                      <a:pt x="8458" y="-1311"/>
                      <a:pt x="14140" y="5"/>
                      <a:pt x="16891" y="4311"/>
                    </a:cubicBezTo>
                    <a:cubicBezTo>
                      <a:pt x="19642" y="8617"/>
                      <a:pt x="18386" y="14299"/>
                      <a:pt x="14140" y="17050"/>
                    </a:cubicBezTo>
                    <a:cubicBezTo>
                      <a:pt x="9834" y="19742"/>
                      <a:pt x="4152" y="18486"/>
                      <a:pt x="1461" y="14179"/>
                    </a:cubicBezTo>
                    <a:close/>
                  </a:path>
                </a:pathLst>
              </a:custGeom>
              <a:grpFill/>
              <a:ln w="5978" cap="flat">
                <a:noFill/>
                <a:prstDash val="solid"/>
                <a:miter/>
              </a:ln>
            </p:spPr>
            <p:txBody>
              <a:bodyPr rtlCol="0" anchor="ctr"/>
              <a:lstStyle/>
              <a:p>
                <a:endParaRPr lang="en-GB"/>
              </a:p>
            </p:txBody>
          </p:sp>
          <p:sp>
            <p:nvSpPr>
              <p:cNvPr id="3038" name="Vrije vorm: vorm 3037">
                <a:extLst>
                  <a:ext uri="{FF2B5EF4-FFF2-40B4-BE49-F238E27FC236}">
                    <a16:creationId xmlns:a16="http://schemas.microsoft.com/office/drawing/2014/main" id="{564F3E5F-041E-4FC6-9FF3-98FFCEB0DBB3}"/>
                  </a:ext>
                </a:extLst>
              </p:cNvPr>
              <p:cNvSpPr/>
              <p:nvPr/>
            </p:nvSpPr>
            <p:spPr>
              <a:xfrm>
                <a:off x="4993759" y="1751037"/>
                <a:ext cx="18310" cy="18437"/>
              </a:xfrm>
              <a:custGeom>
                <a:avLst/>
                <a:gdLst>
                  <a:gd name="connsiteX0" fmla="*/ 1419 w 18310"/>
                  <a:gd name="connsiteY0" fmla="*/ 14153 h 18437"/>
                  <a:gd name="connsiteX1" fmla="*/ 14099 w 18310"/>
                  <a:gd name="connsiteY1" fmla="*/ 17024 h 18437"/>
                  <a:gd name="connsiteX2" fmla="*/ 16850 w 18310"/>
                  <a:gd name="connsiteY2" fmla="*/ 4285 h 18437"/>
                  <a:gd name="connsiteX3" fmla="*/ 4170 w 18310"/>
                  <a:gd name="connsiteY3" fmla="*/ 1414 h 18437"/>
                  <a:gd name="connsiteX4" fmla="*/ 1419 w 18310"/>
                  <a:gd name="connsiteY4" fmla="*/ 14153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7">
                    <a:moveTo>
                      <a:pt x="1419" y="14153"/>
                    </a:moveTo>
                    <a:cubicBezTo>
                      <a:pt x="4170" y="18459"/>
                      <a:pt x="9792" y="19715"/>
                      <a:pt x="14099" y="17024"/>
                    </a:cubicBezTo>
                    <a:cubicBezTo>
                      <a:pt x="18345" y="14273"/>
                      <a:pt x="19601" y="8591"/>
                      <a:pt x="16850" y="4285"/>
                    </a:cubicBezTo>
                    <a:cubicBezTo>
                      <a:pt x="14099" y="-21"/>
                      <a:pt x="8477" y="-1277"/>
                      <a:pt x="4170" y="1414"/>
                    </a:cubicBezTo>
                    <a:cubicBezTo>
                      <a:pt x="-16" y="4165"/>
                      <a:pt x="-1272" y="9847"/>
                      <a:pt x="1419" y="14153"/>
                    </a:cubicBezTo>
                    <a:close/>
                  </a:path>
                </a:pathLst>
              </a:custGeom>
              <a:grpFill/>
              <a:ln w="5978" cap="flat">
                <a:noFill/>
                <a:prstDash val="solid"/>
                <a:miter/>
              </a:ln>
            </p:spPr>
            <p:txBody>
              <a:bodyPr rtlCol="0" anchor="ctr"/>
              <a:lstStyle/>
              <a:p>
                <a:endParaRPr lang="en-GB"/>
              </a:p>
            </p:txBody>
          </p:sp>
        </p:grpSp>
        <p:grpSp>
          <p:nvGrpSpPr>
            <p:cNvPr id="787" name="Graphic 3">
              <a:extLst>
                <a:ext uri="{FF2B5EF4-FFF2-40B4-BE49-F238E27FC236}">
                  <a16:creationId xmlns:a16="http://schemas.microsoft.com/office/drawing/2014/main" id="{F63C296B-CB8D-4B7A-8B5D-CF49E375E5A2}"/>
                </a:ext>
              </a:extLst>
            </p:cNvPr>
            <p:cNvGrpSpPr/>
            <p:nvPr/>
          </p:nvGrpSpPr>
          <p:grpSpPr>
            <a:xfrm>
              <a:off x="6119513" y="5096650"/>
              <a:ext cx="38589" cy="245053"/>
              <a:chOff x="6119513" y="5096650"/>
              <a:chExt cx="38589" cy="245053"/>
            </a:xfrm>
            <a:grpFill/>
          </p:grpSpPr>
          <p:sp>
            <p:nvSpPr>
              <p:cNvPr id="3033" name="Vrije vorm: vorm 3032">
                <a:extLst>
                  <a:ext uri="{FF2B5EF4-FFF2-40B4-BE49-F238E27FC236}">
                    <a16:creationId xmlns:a16="http://schemas.microsoft.com/office/drawing/2014/main" id="{13BB6B67-6A84-4E75-A3F4-1582C24F04FA}"/>
                  </a:ext>
                </a:extLst>
              </p:cNvPr>
              <p:cNvSpPr/>
              <p:nvPr/>
            </p:nvSpPr>
            <p:spPr>
              <a:xfrm>
                <a:off x="6127090" y="5105243"/>
                <a:ext cx="23444" cy="227805"/>
              </a:xfrm>
              <a:custGeom>
                <a:avLst/>
                <a:gdLst>
                  <a:gd name="connsiteX0" fmla="*/ 23444 w 23444"/>
                  <a:gd name="connsiteY0" fmla="*/ 299 h 227805"/>
                  <a:gd name="connsiteX1" fmla="*/ 3050 w 23444"/>
                  <a:gd name="connsiteY1" fmla="*/ 227806 h 227805"/>
                  <a:gd name="connsiteX2" fmla="*/ 0 w 23444"/>
                  <a:gd name="connsiteY2" fmla="*/ 227567 h 227805"/>
                  <a:gd name="connsiteX3" fmla="*/ 20394 w 23444"/>
                  <a:gd name="connsiteY3" fmla="*/ 0 h 227805"/>
                </a:gdLst>
                <a:ahLst/>
                <a:cxnLst>
                  <a:cxn ang="0">
                    <a:pos x="connsiteX0" y="connsiteY0"/>
                  </a:cxn>
                  <a:cxn ang="0">
                    <a:pos x="connsiteX1" y="connsiteY1"/>
                  </a:cxn>
                  <a:cxn ang="0">
                    <a:pos x="connsiteX2" y="connsiteY2"/>
                  </a:cxn>
                  <a:cxn ang="0">
                    <a:pos x="connsiteX3" y="connsiteY3"/>
                  </a:cxn>
                </a:cxnLst>
                <a:rect l="l" t="t" r="r" b="b"/>
                <a:pathLst>
                  <a:path w="23444" h="227805">
                    <a:moveTo>
                      <a:pt x="23444" y="299"/>
                    </a:moveTo>
                    <a:lnTo>
                      <a:pt x="3050" y="227806"/>
                    </a:lnTo>
                    <a:lnTo>
                      <a:pt x="0" y="227567"/>
                    </a:lnTo>
                    <a:lnTo>
                      <a:pt x="20394" y="0"/>
                    </a:lnTo>
                    <a:close/>
                  </a:path>
                </a:pathLst>
              </a:custGeom>
              <a:grpFill/>
              <a:ln w="5978" cap="flat">
                <a:noFill/>
                <a:prstDash val="solid"/>
                <a:miter/>
              </a:ln>
            </p:spPr>
            <p:txBody>
              <a:bodyPr rtlCol="0" anchor="ctr"/>
              <a:lstStyle/>
              <a:p>
                <a:endParaRPr lang="en-GB"/>
              </a:p>
            </p:txBody>
          </p:sp>
          <p:sp>
            <p:nvSpPr>
              <p:cNvPr id="3034" name="Vrije vorm: vorm 3033">
                <a:extLst>
                  <a:ext uri="{FF2B5EF4-FFF2-40B4-BE49-F238E27FC236}">
                    <a16:creationId xmlns:a16="http://schemas.microsoft.com/office/drawing/2014/main" id="{41956C63-CBE0-4692-8AF0-4F6E115231B8}"/>
                  </a:ext>
                </a:extLst>
              </p:cNvPr>
              <p:cNvSpPr/>
              <p:nvPr/>
            </p:nvSpPr>
            <p:spPr>
              <a:xfrm>
                <a:off x="6139797" y="5096650"/>
                <a:ext cx="18305" cy="18443"/>
              </a:xfrm>
              <a:custGeom>
                <a:avLst/>
                <a:gdLst>
                  <a:gd name="connsiteX0" fmla="*/ 32 w 18305"/>
                  <a:gd name="connsiteY0" fmla="*/ 8355 h 18443"/>
                  <a:gd name="connsiteX1" fmla="*/ 9960 w 18305"/>
                  <a:gd name="connsiteY1" fmla="*/ 42 h 18443"/>
                  <a:gd name="connsiteX2" fmla="*/ 18273 w 18305"/>
                  <a:gd name="connsiteY2" fmla="*/ 10089 h 18443"/>
                  <a:gd name="connsiteX3" fmla="*/ 8345 w 18305"/>
                  <a:gd name="connsiteY3" fmla="*/ 18402 h 18443"/>
                  <a:gd name="connsiteX4" fmla="*/ 32 w 18305"/>
                  <a:gd name="connsiteY4" fmla="*/ 835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43">
                    <a:moveTo>
                      <a:pt x="32" y="8355"/>
                    </a:moveTo>
                    <a:cubicBezTo>
                      <a:pt x="510" y="3271"/>
                      <a:pt x="4936" y="-437"/>
                      <a:pt x="9960" y="42"/>
                    </a:cubicBezTo>
                    <a:cubicBezTo>
                      <a:pt x="14984" y="520"/>
                      <a:pt x="18692" y="5006"/>
                      <a:pt x="18273" y="10089"/>
                    </a:cubicBezTo>
                    <a:cubicBezTo>
                      <a:pt x="17795" y="15173"/>
                      <a:pt x="13369" y="18881"/>
                      <a:pt x="8345" y="18402"/>
                    </a:cubicBezTo>
                    <a:cubicBezTo>
                      <a:pt x="3322" y="17924"/>
                      <a:pt x="-386" y="13379"/>
                      <a:pt x="32" y="8355"/>
                    </a:cubicBezTo>
                    <a:close/>
                  </a:path>
                </a:pathLst>
              </a:custGeom>
              <a:grpFill/>
              <a:ln w="5978" cap="flat">
                <a:noFill/>
                <a:prstDash val="solid"/>
                <a:miter/>
              </a:ln>
            </p:spPr>
            <p:txBody>
              <a:bodyPr rtlCol="0" anchor="ctr"/>
              <a:lstStyle/>
              <a:p>
                <a:endParaRPr lang="en-GB"/>
              </a:p>
            </p:txBody>
          </p:sp>
          <p:sp>
            <p:nvSpPr>
              <p:cNvPr id="3035" name="Vrije vorm: vorm 3034">
                <a:extLst>
                  <a:ext uri="{FF2B5EF4-FFF2-40B4-BE49-F238E27FC236}">
                    <a16:creationId xmlns:a16="http://schemas.microsoft.com/office/drawing/2014/main" id="{FAFFA6D3-73D9-4BAB-9D1C-CF313C30DD99}"/>
                  </a:ext>
                </a:extLst>
              </p:cNvPr>
              <p:cNvSpPr/>
              <p:nvPr/>
            </p:nvSpPr>
            <p:spPr>
              <a:xfrm>
                <a:off x="6119513" y="5323259"/>
                <a:ext cx="18323" cy="18443"/>
              </a:xfrm>
              <a:custGeom>
                <a:avLst/>
                <a:gdLst>
                  <a:gd name="connsiteX0" fmla="*/ 41 w 18323"/>
                  <a:gd name="connsiteY0" fmla="*/ 8355 h 18443"/>
                  <a:gd name="connsiteX1" fmla="*/ 8354 w 18323"/>
                  <a:gd name="connsiteY1" fmla="*/ 18402 h 18443"/>
                  <a:gd name="connsiteX2" fmla="*/ 18282 w 18323"/>
                  <a:gd name="connsiteY2" fmla="*/ 10089 h 18443"/>
                  <a:gd name="connsiteX3" fmla="*/ 9969 w 18323"/>
                  <a:gd name="connsiteY3" fmla="*/ 42 h 18443"/>
                  <a:gd name="connsiteX4" fmla="*/ 41 w 18323"/>
                  <a:gd name="connsiteY4" fmla="*/ 835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3">
                    <a:moveTo>
                      <a:pt x="41" y="8355"/>
                    </a:moveTo>
                    <a:cubicBezTo>
                      <a:pt x="-438" y="13438"/>
                      <a:pt x="3330" y="17924"/>
                      <a:pt x="8354" y="18402"/>
                    </a:cubicBezTo>
                    <a:cubicBezTo>
                      <a:pt x="13378" y="18881"/>
                      <a:pt x="17863" y="15173"/>
                      <a:pt x="18282" y="10089"/>
                    </a:cubicBezTo>
                    <a:cubicBezTo>
                      <a:pt x="18761" y="5006"/>
                      <a:pt x="14993" y="520"/>
                      <a:pt x="9969" y="42"/>
                    </a:cubicBezTo>
                    <a:cubicBezTo>
                      <a:pt x="4945" y="-437"/>
                      <a:pt x="460" y="3271"/>
                      <a:pt x="41" y="8355"/>
                    </a:cubicBezTo>
                    <a:close/>
                  </a:path>
                </a:pathLst>
              </a:custGeom>
              <a:grpFill/>
              <a:ln w="5978" cap="flat">
                <a:noFill/>
                <a:prstDash val="solid"/>
                <a:miter/>
              </a:ln>
            </p:spPr>
            <p:txBody>
              <a:bodyPr rtlCol="0" anchor="ctr"/>
              <a:lstStyle/>
              <a:p>
                <a:endParaRPr lang="en-GB"/>
              </a:p>
            </p:txBody>
          </p:sp>
        </p:grpSp>
        <p:grpSp>
          <p:nvGrpSpPr>
            <p:cNvPr id="788" name="Graphic 3">
              <a:extLst>
                <a:ext uri="{FF2B5EF4-FFF2-40B4-BE49-F238E27FC236}">
                  <a16:creationId xmlns:a16="http://schemas.microsoft.com/office/drawing/2014/main" id="{7CE5ABAD-6E6D-474F-A6F5-0C2AEB205726}"/>
                </a:ext>
              </a:extLst>
            </p:cNvPr>
            <p:cNvGrpSpPr/>
            <p:nvPr/>
          </p:nvGrpSpPr>
          <p:grpSpPr>
            <a:xfrm>
              <a:off x="6109735" y="5096087"/>
              <a:ext cx="23101" cy="144326"/>
              <a:chOff x="6109735" y="5096087"/>
              <a:chExt cx="23101" cy="144326"/>
            </a:xfrm>
            <a:grpFill/>
          </p:grpSpPr>
          <p:sp>
            <p:nvSpPr>
              <p:cNvPr id="3030" name="Vrije vorm: vorm 3029">
                <a:extLst>
                  <a:ext uri="{FF2B5EF4-FFF2-40B4-BE49-F238E27FC236}">
                    <a16:creationId xmlns:a16="http://schemas.microsoft.com/office/drawing/2014/main" id="{E6C725D8-B2AC-46BC-9E43-439CD79A4D79}"/>
                  </a:ext>
                </a:extLst>
              </p:cNvPr>
              <p:cNvSpPr/>
              <p:nvPr/>
            </p:nvSpPr>
            <p:spPr>
              <a:xfrm>
                <a:off x="6117401" y="5104825"/>
                <a:ext cx="7834" cy="126910"/>
              </a:xfrm>
              <a:custGeom>
                <a:avLst/>
                <a:gdLst>
                  <a:gd name="connsiteX0" fmla="*/ 2990 w 7834"/>
                  <a:gd name="connsiteY0" fmla="*/ 0 h 126910"/>
                  <a:gd name="connsiteX1" fmla="*/ 7835 w 7834"/>
                  <a:gd name="connsiteY1" fmla="*/ 126791 h 126910"/>
                  <a:gd name="connsiteX2" fmla="*/ 4785 w 7834"/>
                  <a:gd name="connsiteY2" fmla="*/ 126911 h 126910"/>
                  <a:gd name="connsiteX3" fmla="*/ 0 w 7834"/>
                  <a:gd name="connsiteY3" fmla="*/ 119 h 126910"/>
                </a:gdLst>
                <a:ahLst/>
                <a:cxnLst>
                  <a:cxn ang="0">
                    <a:pos x="connsiteX0" y="connsiteY0"/>
                  </a:cxn>
                  <a:cxn ang="0">
                    <a:pos x="connsiteX1" y="connsiteY1"/>
                  </a:cxn>
                  <a:cxn ang="0">
                    <a:pos x="connsiteX2" y="connsiteY2"/>
                  </a:cxn>
                  <a:cxn ang="0">
                    <a:pos x="connsiteX3" y="connsiteY3"/>
                  </a:cxn>
                </a:cxnLst>
                <a:rect l="l" t="t" r="r" b="b"/>
                <a:pathLst>
                  <a:path w="7834" h="126910">
                    <a:moveTo>
                      <a:pt x="2990" y="0"/>
                    </a:moveTo>
                    <a:lnTo>
                      <a:pt x="7835" y="126791"/>
                    </a:lnTo>
                    <a:lnTo>
                      <a:pt x="4785" y="126911"/>
                    </a:lnTo>
                    <a:lnTo>
                      <a:pt x="0" y="119"/>
                    </a:lnTo>
                    <a:close/>
                  </a:path>
                </a:pathLst>
              </a:custGeom>
              <a:grpFill/>
              <a:ln w="5978" cap="flat">
                <a:noFill/>
                <a:prstDash val="solid"/>
                <a:miter/>
              </a:ln>
            </p:spPr>
            <p:txBody>
              <a:bodyPr rtlCol="0" anchor="ctr"/>
              <a:lstStyle/>
              <a:p>
                <a:endParaRPr lang="en-GB"/>
              </a:p>
            </p:txBody>
          </p:sp>
          <p:sp>
            <p:nvSpPr>
              <p:cNvPr id="3031" name="Vrije vorm: vorm 3030">
                <a:extLst>
                  <a:ext uri="{FF2B5EF4-FFF2-40B4-BE49-F238E27FC236}">
                    <a16:creationId xmlns:a16="http://schemas.microsoft.com/office/drawing/2014/main" id="{B9575701-8A40-4CEF-821A-DAAB242BAD63}"/>
                  </a:ext>
                </a:extLst>
              </p:cNvPr>
              <p:cNvSpPr/>
              <p:nvPr/>
            </p:nvSpPr>
            <p:spPr>
              <a:xfrm>
                <a:off x="6114524" y="5221981"/>
                <a:ext cx="18312" cy="18432"/>
              </a:xfrm>
              <a:custGeom>
                <a:avLst/>
                <a:gdLst>
                  <a:gd name="connsiteX0" fmla="*/ 18307 w 18312"/>
                  <a:gd name="connsiteY0" fmla="*/ 8917 h 18432"/>
                  <a:gd name="connsiteX1" fmla="*/ 9515 w 18312"/>
                  <a:gd name="connsiteY1" fmla="*/ 18427 h 18432"/>
                  <a:gd name="connsiteX2" fmla="*/ 6 w 18312"/>
                  <a:gd name="connsiteY2" fmla="*/ 9515 h 18432"/>
                  <a:gd name="connsiteX3" fmla="*/ 8798 w 18312"/>
                  <a:gd name="connsiteY3" fmla="*/ 6 h 18432"/>
                  <a:gd name="connsiteX4" fmla="*/ 18307 w 18312"/>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18307" y="8917"/>
                    </a:moveTo>
                    <a:cubicBezTo>
                      <a:pt x="18486" y="14001"/>
                      <a:pt x="14539" y="18247"/>
                      <a:pt x="9515" y="18427"/>
                    </a:cubicBezTo>
                    <a:cubicBezTo>
                      <a:pt x="4432" y="18606"/>
                      <a:pt x="185" y="14599"/>
                      <a:pt x="6" y="9515"/>
                    </a:cubicBezTo>
                    <a:cubicBezTo>
                      <a:pt x="-173" y="4431"/>
                      <a:pt x="3774" y="185"/>
                      <a:pt x="8798" y="6"/>
                    </a:cubicBezTo>
                    <a:cubicBezTo>
                      <a:pt x="13881" y="-173"/>
                      <a:pt x="18128" y="3834"/>
                      <a:pt x="18307" y="8917"/>
                    </a:cubicBezTo>
                    <a:close/>
                  </a:path>
                </a:pathLst>
              </a:custGeom>
              <a:grpFill/>
              <a:ln w="5978" cap="flat">
                <a:noFill/>
                <a:prstDash val="solid"/>
                <a:miter/>
              </a:ln>
            </p:spPr>
            <p:txBody>
              <a:bodyPr rtlCol="0" anchor="ctr"/>
              <a:lstStyle/>
              <a:p>
                <a:endParaRPr lang="en-GB"/>
              </a:p>
            </p:txBody>
          </p:sp>
          <p:sp>
            <p:nvSpPr>
              <p:cNvPr id="3032" name="Vrije vorm: vorm 3031">
                <a:extLst>
                  <a:ext uri="{FF2B5EF4-FFF2-40B4-BE49-F238E27FC236}">
                    <a16:creationId xmlns:a16="http://schemas.microsoft.com/office/drawing/2014/main" id="{C92D4D3B-736F-4D3A-B830-94E7FB91D988}"/>
                  </a:ext>
                </a:extLst>
              </p:cNvPr>
              <p:cNvSpPr/>
              <p:nvPr/>
            </p:nvSpPr>
            <p:spPr>
              <a:xfrm>
                <a:off x="6109735" y="5096087"/>
                <a:ext cx="18321" cy="18432"/>
              </a:xfrm>
              <a:custGeom>
                <a:avLst/>
                <a:gdLst>
                  <a:gd name="connsiteX0" fmla="*/ 18311 w 18321"/>
                  <a:gd name="connsiteY0" fmla="*/ 8917 h 18432"/>
                  <a:gd name="connsiteX1" fmla="*/ 8802 w 18321"/>
                  <a:gd name="connsiteY1" fmla="*/ 6 h 18432"/>
                  <a:gd name="connsiteX2" fmla="*/ 10 w 18321"/>
                  <a:gd name="connsiteY2" fmla="*/ 9515 h 18432"/>
                  <a:gd name="connsiteX3" fmla="*/ 9520 w 18321"/>
                  <a:gd name="connsiteY3" fmla="*/ 18427 h 18432"/>
                  <a:gd name="connsiteX4" fmla="*/ 18311 w 18321"/>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32">
                    <a:moveTo>
                      <a:pt x="18311" y="8917"/>
                    </a:moveTo>
                    <a:cubicBezTo>
                      <a:pt x="18132" y="3834"/>
                      <a:pt x="13886" y="-174"/>
                      <a:pt x="8802" y="6"/>
                    </a:cubicBezTo>
                    <a:cubicBezTo>
                      <a:pt x="3718" y="185"/>
                      <a:pt x="-229" y="4431"/>
                      <a:pt x="10" y="9515"/>
                    </a:cubicBezTo>
                    <a:cubicBezTo>
                      <a:pt x="190" y="14599"/>
                      <a:pt x="4436" y="18606"/>
                      <a:pt x="9520" y="18427"/>
                    </a:cubicBezTo>
                    <a:cubicBezTo>
                      <a:pt x="14603" y="18307"/>
                      <a:pt x="18550" y="14001"/>
                      <a:pt x="18311" y="8917"/>
                    </a:cubicBezTo>
                    <a:close/>
                  </a:path>
                </a:pathLst>
              </a:custGeom>
              <a:grpFill/>
              <a:ln w="5978" cap="flat">
                <a:noFill/>
                <a:prstDash val="solid"/>
                <a:miter/>
              </a:ln>
            </p:spPr>
            <p:txBody>
              <a:bodyPr rtlCol="0" anchor="ctr"/>
              <a:lstStyle/>
              <a:p>
                <a:endParaRPr lang="en-GB"/>
              </a:p>
            </p:txBody>
          </p:sp>
        </p:grpSp>
        <p:grpSp>
          <p:nvGrpSpPr>
            <p:cNvPr id="789" name="Graphic 3">
              <a:extLst>
                <a:ext uri="{FF2B5EF4-FFF2-40B4-BE49-F238E27FC236}">
                  <a16:creationId xmlns:a16="http://schemas.microsoft.com/office/drawing/2014/main" id="{55A5D4B2-EA6D-4B0E-AA0A-1DE3040E2A73}"/>
                </a:ext>
              </a:extLst>
            </p:cNvPr>
            <p:cNvGrpSpPr/>
            <p:nvPr/>
          </p:nvGrpSpPr>
          <p:grpSpPr>
            <a:xfrm>
              <a:off x="4900430" y="1743785"/>
              <a:ext cx="209471" cy="296093"/>
              <a:chOff x="4900430" y="1743785"/>
              <a:chExt cx="209471" cy="296093"/>
            </a:xfrm>
            <a:grpFill/>
          </p:grpSpPr>
          <p:sp>
            <p:nvSpPr>
              <p:cNvPr id="3027" name="Vrije vorm: vorm 3026">
                <a:extLst>
                  <a:ext uri="{FF2B5EF4-FFF2-40B4-BE49-F238E27FC236}">
                    <a16:creationId xmlns:a16="http://schemas.microsoft.com/office/drawing/2014/main" id="{8FE412DE-ACAF-4C7A-9140-DE5C0356A5A7}"/>
                  </a:ext>
                </a:extLst>
              </p:cNvPr>
              <p:cNvSpPr/>
              <p:nvPr/>
            </p:nvSpPr>
            <p:spPr>
              <a:xfrm>
                <a:off x="4908099" y="1751734"/>
                <a:ext cx="194134" cy="280136"/>
              </a:xfrm>
              <a:custGeom>
                <a:avLst/>
                <a:gdLst>
                  <a:gd name="connsiteX0" fmla="*/ 194134 w 194134"/>
                  <a:gd name="connsiteY0" fmla="*/ 278403 h 280136"/>
                  <a:gd name="connsiteX1" fmla="*/ 191682 w 194134"/>
                  <a:gd name="connsiteY1" fmla="*/ 280137 h 280136"/>
                  <a:gd name="connsiteX2" fmla="*/ 0 w 194134"/>
                  <a:gd name="connsiteY2" fmla="*/ 1734 h 280136"/>
                  <a:gd name="connsiteX3" fmla="*/ 2512 w 194134"/>
                  <a:gd name="connsiteY3" fmla="*/ 0 h 280136"/>
                </a:gdLst>
                <a:ahLst/>
                <a:cxnLst>
                  <a:cxn ang="0">
                    <a:pos x="connsiteX0" y="connsiteY0"/>
                  </a:cxn>
                  <a:cxn ang="0">
                    <a:pos x="connsiteX1" y="connsiteY1"/>
                  </a:cxn>
                  <a:cxn ang="0">
                    <a:pos x="connsiteX2" y="connsiteY2"/>
                  </a:cxn>
                  <a:cxn ang="0">
                    <a:pos x="connsiteX3" y="connsiteY3"/>
                  </a:cxn>
                </a:cxnLst>
                <a:rect l="l" t="t" r="r" b="b"/>
                <a:pathLst>
                  <a:path w="194134" h="280136">
                    <a:moveTo>
                      <a:pt x="194134" y="278403"/>
                    </a:moveTo>
                    <a:lnTo>
                      <a:pt x="191682" y="280137"/>
                    </a:lnTo>
                    <a:lnTo>
                      <a:pt x="0" y="1734"/>
                    </a:lnTo>
                    <a:lnTo>
                      <a:pt x="2512" y="0"/>
                    </a:lnTo>
                    <a:close/>
                  </a:path>
                </a:pathLst>
              </a:custGeom>
              <a:grpFill/>
              <a:ln w="5978" cap="flat">
                <a:noFill/>
                <a:prstDash val="solid"/>
                <a:miter/>
              </a:ln>
            </p:spPr>
            <p:txBody>
              <a:bodyPr rtlCol="0" anchor="ctr"/>
              <a:lstStyle/>
              <a:p>
                <a:endParaRPr lang="en-GB"/>
              </a:p>
            </p:txBody>
          </p:sp>
          <p:sp>
            <p:nvSpPr>
              <p:cNvPr id="3028" name="Vrije vorm: vorm 3027">
                <a:extLst>
                  <a:ext uri="{FF2B5EF4-FFF2-40B4-BE49-F238E27FC236}">
                    <a16:creationId xmlns:a16="http://schemas.microsoft.com/office/drawing/2014/main" id="{B3903684-4696-46EA-AF31-D3BB0BC95DA2}"/>
                  </a:ext>
                </a:extLst>
              </p:cNvPr>
              <p:cNvSpPr/>
              <p:nvPr/>
            </p:nvSpPr>
            <p:spPr>
              <a:xfrm>
                <a:off x="4900430" y="1743785"/>
                <a:ext cx="18327" cy="18408"/>
              </a:xfrm>
              <a:custGeom>
                <a:avLst/>
                <a:gdLst>
                  <a:gd name="connsiteX0" fmla="*/ 1628 w 18327"/>
                  <a:gd name="connsiteY0" fmla="*/ 14407 h 18408"/>
                  <a:gd name="connsiteX1" fmla="*/ 3961 w 18327"/>
                  <a:gd name="connsiteY1" fmla="*/ 1609 h 18408"/>
                  <a:gd name="connsiteX2" fmla="*/ 16700 w 18327"/>
                  <a:gd name="connsiteY2" fmla="*/ 4001 h 18408"/>
                  <a:gd name="connsiteX3" fmla="*/ 14367 w 18327"/>
                  <a:gd name="connsiteY3" fmla="*/ 16800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1243" y="10221"/>
                      <a:pt x="-226" y="4479"/>
                      <a:pt x="3961" y="1609"/>
                    </a:cubicBezTo>
                    <a:cubicBezTo>
                      <a:pt x="8147" y="-1262"/>
                      <a:pt x="13829" y="-186"/>
                      <a:pt x="16700" y="4001"/>
                    </a:cubicBezTo>
                    <a:cubicBezTo>
                      <a:pt x="19570" y="8187"/>
                      <a:pt x="18554" y="13929"/>
                      <a:pt x="14367" y="16800"/>
                    </a:cubicBezTo>
                    <a:cubicBezTo>
                      <a:pt x="10180" y="19670"/>
                      <a:pt x="4499" y="18594"/>
                      <a:pt x="1628" y="14407"/>
                    </a:cubicBezTo>
                    <a:close/>
                  </a:path>
                </a:pathLst>
              </a:custGeom>
              <a:grpFill/>
              <a:ln w="5978" cap="flat">
                <a:noFill/>
                <a:prstDash val="solid"/>
                <a:miter/>
              </a:ln>
            </p:spPr>
            <p:txBody>
              <a:bodyPr rtlCol="0" anchor="ctr"/>
              <a:lstStyle/>
              <a:p>
                <a:endParaRPr lang="en-GB"/>
              </a:p>
            </p:txBody>
          </p:sp>
          <p:sp>
            <p:nvSpPr>
              <p:cNvPr id="3029" name="Vrije vorm: vorm 3028">
                <a:extLst>
                  <a:ext uri="{FF2B5EF4-FFF2-40B4-BE49-F238E27FC236}">
                    <a16:creationId xmlns:a16="http://schemas.microsoft.com/office/drawing/2014/main" id="{D2A97510-6A5E-400F-A8C6-E8F82E175B7A}"/>
                  </a:ext>
                </a:extLst>
              </p:cNvPr>
              <p:cNvSpPr/>
              <p:nvPr/>
            </p:nvSpPr>
            <p:spPr>
              <a:xfrm>
                <a:off x="5091574" y="2021470"/>
                <a:ext cx="18327" cy="18408"/>
              </a:xfrm>
              <a:custGeom>
                <a:avLst/>
                <a:gdLst>
                  <a:gd name="connsiteX0" fmla="*/ 1628 w 18327"/>
                  <a:gd name="connsiteY0" fmla="*/ 14407 h 18408"/>
                  <a:gd name="connsiteX1" fmla="*/ 14367 w 18327"/>
                  <a:gd name="connsiteY1" fmla="*/ 16800 h 18408"/>
                  <a:gd name="connsiteX2" fmla="*/ 16699 w 18327"/>
                  <a:gd name="connsiteY2" fmla="*/ 4001 h 18408"/>
                  <a:gd name="connsiteX3" fmla="*/ 3960 w 18327"/>
                  <a:gd name="connsiteY3" fmla="*/ 1609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4499" y="18594"/>
                      <a:pt x="10240" y="19670"/>
                      <a:pt x="14367" y="16800"/>
                    </a:cubicBezTo>
                    <a:cubicBezTo>
                      <a:pt x="18553" y="13929"/>
                      <a:pt x="19570" y="8187"/>
                      <a:pt x="16699" y="4001"/>
                    </a:cubicBezTo>
                    <a:cubicBezTo>
                      <a:pt x="13829" y="-186"/>
                      <a:pt x="8087" y="-1262"/>
                      <a:pt x="3960" y="1609"/>
                    </a:cubicBezTo>
                    <a:cubicBezTo>
                      <a:pt x="-226" y="4479"/>
                      <a:pt x="-1243" y="10221"/>
                      <a:pt x="1628" y="14407"/>
                    </a:cubicBezTo>
                    <a:close/>
                  </a:path>
                </a:pathLst>
              </a:custGeom>
              <a:grpFill/>
              <a:ln w="5978" cap="flat">
                <a:noFill/>
                <a:prstDash val="solid"/>
                <a:miter/>
              </a:ln>
            </p:spPr>
            <p:txBody>
              <a:bodyPr rtlCol="0" anchor="ctr"/>
              <a:lstStyle/>
              <a:p>
                <a:endParaRPr lang="en-GB"/>
              </a:p>
            </p:txBody>
          </p:sp>
        </p:grpSp>
        <p:grpSp>
          <p:nvGrpSpPr>
            <p:cNvPr id="790" name="Graphic 3">
              <a:extLst>
                <a:ext uri="{FF2B5EF4-FFF2-40B4-BE49-F238E27FC236}">
                  <a16:creationId xmlns:a16="http://schemas.microsoft.com/office/drawing/2014/main" id="{77B0E03F-B788-43BC-8A46-2FC30B2B5765}"/>
                </a:ext>
              </a:extLst>
            </p:cNvPr>
            <p:cNvGrpSpPr/>
            <p:nvPr/>
          </p:nvGrpSpPr>
          <p:grpSpPr>
            <a:xfrm>
              <a:off x="6171945" y="5097408"/>
              <a:ext cx="18300" cy="554951"/>
              <a:chOff x="6171945" y="5097408"/>
              <a:chExt cx="18300" cy="554951"/>
            </a:xfrm>
            <a:grpFill/>
          </p:grpSpPr>
          <p:sp>
            <p:nvSpPr>
              <p:cNvPr id="3024" name="Vrije vorm: vorm 3023">
                <a:extLst>
                  <a:ext uri="{FF2B5EF4-FFF2-40B4-BE49-F238E27FC236}">
                    <a16:creationId xmlns:a16="http://schemas.microsoft.com/office/drawing/2014/main" id="{74B3DC64-E9A0-42F5-8DD2-427F9EB149D1}"/>
                  </a:ext>
                </a:extLst>
              </p:cNvPr>
              <p:cNvSpPr/>
              <p:nvPr/>
            </p:nvSpPr>
            <p:spPr>
              <a:xfrm>
                <a:off x="6179600" y="5106141"/>
                <a:ext cx="3050" cy="537427"/>
              </a:xfrm>
              <a:custGeom>
                <a:avLst/>
                <a:gdLst>
                  <a:gd name="connsiteX0" fmla="*/ 3050 w 3050"/>
                  <a:gd name="connsiteY0" fmla="*/ 0 h 537427"/>
                  <a:gd name="connsiteX1" fmla="*/ 3050 w 3050"/>
                  <a:gd name="connsiteY1" fmla="*/ 537428 h 537427"/>
                  <a:gd name="connsiteX2" fmla="*/ 0 w 3050"/>
                  <a:gd name="connsiteY2" fmla="*/ 537428 h 537427"/>
                  <a:gd name="connsiteX3" fmla="*/ 0 w 3050"/>
                  <a:gd name="connsiteY3" fmla="*/ 0 h 537427"/>
                </a:gdLst>
                <a:ahLst/>
                <a:cxnLst>
                  <a:cxn ang="0">
                    <a:pos x="connsiteX0" y="connsiteY0"/>
                  </a:cxn>
                  <a:cxn ang="0">
                    <a:pos x="connsiteX1" y="connsiteY1"/>
                  </a:cxn>
                  <a:cxn ang="0">
                    <a:pos x="connsiteX2" y="connsiteY2"/>
                  </a:cxn>
                  <a:cxn ang="0">
                    <a:pos x="connsiteX3" y="connsiteY3"/>
                  </a:cxn>
                </a:cxnLst>
                <a:rect l="l" t="t" r="r" b="b"/>
                <a:pathLst>
                  <a:path w="3050" h="537427">
                    <a:moveTo>
                      <a:pt x="3050" y="0"/>
                    </a:moveTo>
                    <a:lnTo>
                      <a:pt x="3050" y="537428"/>
                    </a:lnTo>
                    <a:lnTo>
                      <a:pt x="0" y="537428"/>
                    </a:lnTo>
                    <a:lnTo>
                      <a:pt x="0" y="0"/>
                    </a:lnTo>
                    <a:close/>
                  </a:path>
                </a:pathLst>
              </a:custGeom>
              <a:grpFill/>
              <a:ln w="5978" cap="flat">
                <a:noFill/>
                <a:prstDash val="solid"/>
                <a:miter/>
              </a:ln>
            </p:spPr>
            <p:txBody>
              <a:bodyPr rtlCol="0" anchor="ctr"/>
              <a:lstStyle/>
              <a:p>
                <a:endParaRPr lang="en-GB"/>
              </a:p>
            </p:txBody>
          </p:sp>
          <p:sp>
            <p:nvSpPr>
              <p:cNvPr id="3025" name="Vrije vorm: vorm 3024">
                <a:extLst>
                  <a:ext uri="{FF2B5EF4-FFF2-40B4-BE49-F238E27FC236}">
                    <a16:creationId xmlns:a16="http://schemas.microsoft.com/office/drawing/2014/main" id="{FFC2B00A-C9B6-4FE8-A74B-800F800387D1}"/>
                  </a:ext>
                </a:extLst>
              </p:cNvPr>
              <p:cNvSpPr/>
              <p:nvPr/>
            </p:nvSpPr>
            <p:spPr>
              <a:xfrm>
                <a:off x="6171945" y="5097408"/>
                <a:ext cx="18300" cy="18422"/>
              </a:xfrm>
              <a:custGeom>
                <a:avLst/>
                <a:gdLst>
                  <a:gd name="connsiteX0" fmla="*/ 0 w 18300"/>
                  <a:gd name="connsiteY0" fmla="*/ 9151 h 18422"/>
                  <a:gd name="connsiteX1" fmla="*/ 9150 w 18300"/>
                  <a:gd name="connsiteY1" fmla="*/ 1 h 18422"/>
                  <a:gd name="connsiteX2" fmla="*/ 18301 w 18300"/>
                  <a:gd name="connsiteY2" fmla="*/ 9271 h 18422"/>
                  <a:gd name="connsiteX3" fmla="*/ 9150 w 18300"/>
                  <a:gd name="connsiteY3" fmla="*/ 18421 h 18422"/>
                  <a:gd name="connsiteX4" fmla="*/ 0 w 18300"/>
                  <a:gd name="connsiteY4" fmla="*/ 915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22">
                    <a:moveTo>
                      <a:pt x="0" y="9151"/>
                    </a:moveTo>
                    <a:cubicBezTo>
                      <a:pt x="0" y="4068"/>
                      <a:pt x="4127" y="-59"/>
                      <a:pt x="9150" y="1"/>
                    </a:cubicBezTo>
                    <a:cubicBezTo>
                      <a:pt x="14234" y="1"/>
                      <a:pt x="18301" y="4187"/>
                      <a:pt x="18301" y="9271"/>
                    </a:cubicBezTo>
                    <a:cubicBezTo>
                      <a:pt x="18301" y="14355"/>
                      <a:pt x="14174" y="18481"/>
                      <a:pt x="9150" y="18421"/>
                    </a:cubicBezTo>
                    <a:cubicBezTo>
                      <a:pt x="4127" y="18361"/>
                      <a:pt x="0" y="14235"/>
                      <a:pt x="0" y="9151"/>
                    </a:cubicBezTo>
                    <a:close/>
                  </a:path>
                </a:pathLst>
              </a:custGeom>
              <a:grpFill/>
              <a:ln w="5978" cap="flat">
                <a:noFill/>
                <a:prstDash val="solid"/>
                <a:miter/>
              </a:ln>
            </p:spPr>
            <p:txBody>
              <a:bodyPr rtlCol="0" anchor="ctr"/>
              <a:lstStyle/>
              <a:p>
                <a:endParaRPr lang="en-GB"/>
              </a:p>
            </p:txBody>
          </p:sp>
          <p:sp>
            <p:nvSpPr>
              <p:cNvPr id="3026" name="Vrije vorm: vorm 3025">
                <a:extLst>
                  <a:ext uri="{FF2B5EF4-FFF2-40B4-BE49-F238E27FC236}">
                    <a16:creationId xmlns:a16="http://schemas.microsoft.com/office/drawing/2014/main" id="{969DD441-56CA-4B8D-919F-F3285DC8C422}"/>
                  </a:ext>
                </a:extLst>
              </p:cNvPr>
              <p:cNvSpPr/>
              <p:nvPr/>
            </p:nvSpPr>
            <p:spPr>
              <a:xfrm>
                <a:off x="6171945" y="5633939"/>
                <a:ext cx="18300" cy="18421"/>
              </a:xfrm>
              <a:custGeom>
                <a:avLst/>
                <a:gdLst>
                  <a:gd name="connsiteX0" fmla="*/ 0 w 18300"/>
                  <a:gd name="connsiteY0" fmla="*/ 9151 h 18421"/>
                  <a:gd name="connsiteX1" fmla="*/ 9150 w 18300"/>
                  <a:gd name="connsiteY1" fmla="*/ 18421 h 18421"/>
                  <a:gd name="connsiteX2" fmla="*/ 18301 w 18300"/>
                  <a:gd name="connsiteY2" fmla="*/ 9271 h 18421"/>
                  <a:gd name="connsiteX3" fmla="*/ 9150 w 18300"/>
                  <a:gd name="connsiteY3" fmla="*/ 1 h 18421"/>
                  <a:gd name="connsiteX4" fmla="*/ 0 w 18300"/>
                  <a:gd name="connsiteY4" fmla="*/ 915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21">
                    <a:moveTo>
                      <a:pt x="0" y="9151"/>
                    </a:moveTo>
                    <a:cubicBezTo>
                      <a:pt x="0" y="14235"/>
                      <a:pt x="4127" y="18362"/>
                      <a:pt x="9150" y="18421"/>
                    </a:cubicBezTo>
                    <a:cubicBezTo>
                      <a:pt x="14234" y="18421"/>
                      <a:pt x="18301" y="14355"/>
                      <a:pt x="18301" y="9271"/>
                    </a:cubicBezTo>
                    <a:cubicBezTo>
                      <a:pt x="18301" y="4187"/>
                      <a:pt x="14174" y="61"/>
                      <a:pt x="9150" y="1"/>
                    </a:cubicBezTo>
                    <a:cubicBezTo>
                      <a:pt x="4127" y="-59"/>
                      <a:pt x="0" y="4067"/>
                      <a:pt x="0" y="9151"/>
                    </a:cubicBezTo>
                    <a:close/>
                  </a:path>
                </a:pathLst>
              </a:custGeom>
              <a:grpFill/>
              <a:ln w="5978" cap="flat">
                <a:noFill/>
                <a:prstDash val="solid"/>
                <a:miter/>
              </a:ln>
            </p:spPr>
            <p:txBody>
              <a:bodyPr rtlCol="0" anchor="ctr"/>
              <a:lstStyle/>
              <a:p>
                <a:endParaRPr lang="en-GB"/>
              </a:p>
            </p:txBody>
          </p:sp>
        </p:grpSp>
        <p:grpSp>
          <p:nvGrpSpPr>
            <p:cNvPr id="791" name="Graphic 3">
              <a:extLst>
                <a:ext uri="{FF2B5EF4-FFF2-40B4-BE49-F238E27FC236}">
                  <a16:creationId xmlns:a16="http://schemas.microsoft.com/office/drawing/2014/main" id="{7BF22015-D6A0-4ED7-9883-6F5A8CD0C4F6}"/>
                </a:ext>
              </a:extLst>
            </p:cNvPr>
            <p:cNvGrpSpPr/>
            <p:nvPr/>
          </p:nvGrpSpPr>
          <p:grpSpPr>
            <a:xfrm>
              <a:off x="6149980" y="5252778"/>
              <a:ext cx="24194" cy="122984"/>
              <a:chOff x="6149980" y="5252778"/>
              <a:chExt cx="24194" cy="122984"/>
            </a:xfrm>
            <a:grpFill/>
          </p:grpSpPr>
          <p:sp>
            <p:nvSpPr>
              <p:cNvPr id="3021" name="Vrije vorm: vorm 3020">
                <a:extLst>
                  <a:ext uri="{FF2B5EF4-FFF2-40B4-BE49-F238E27FC236}">
                    <a16:creationId xmlns:a16="http://schemas.microsoft.com/office/drawing/2014/main" id="{62B0B70F-770F-430E-9E7A-842D1E357D79}"/>
                  </a:ext>
                </a:extLst>
              </p:cNvPr>
              <p:cNvSpPr/>
              <p:nvPr/>
            </p:nvSpPr>
            <p:spPr>
              <a:xfrm>
                <a:off x="6157591" y="5261460"/>
                <a:ext cx="8971" cy="105619"/>
              </a:xfrm>
              <a:custGeom>
                <a:avLst/>
                <a:gdLst>
                  <a:gd name="connsiteX0" fmla="*/ 3050 w 8971"/>
                  <a:gd name="connsiteY0" fmla="*/ 0 h 105619"/>
                  <a:gd name="connsiteX1" fmla="*/ 8971 w 8971"/>
                  <a:gd name="connsiteY1" fmla="*/ 105500 h 105619"/>
                  <a:gd name="connsiteX2" fmla="*/ 5921 w 8971"/>
                  <a:gd name="connsiteY2" fmla="*/ 105619 h 105619"/>
                  <a:gd name="connsiteX3" fmla="*/ 0 w 8971"/>
                  <a:gd name="connsiteY3" fmla="*/ 179 h 105619"/>
                </a:gdLst>
                <a:ahLst/>
                <a:cxnLst>
                  <a:cxn ang="0">
                    <a:pos x="connsiteX0" y="connsiteY0"/>
                  </a:cxn>
                  <a:cxn ang="0">
                    <a:pos x="connsiteX1" y="connsiteY1"/>
                  </a:cxn>
                  <a:cxn ang="0">
                    <a:pos x="connsiteX2" y="connsiteY2"/>
                  </a:cxn>
                  <a:cxn ang="0">
                    <a:pos x="connsiteX3" y="connsiteY3"/>
                  </a:cxn>
                </a:cxnLst>
                <a:rect l="l" t="t" r="r" b="b"/>
                <a:pathLst>
                  <a:path w="8971" h="105619">
                    <a:moveTo>
                      <a:pt x="3050" y="0"/>
                    </a:moveTo>
                    <a:lnTo>
                      <a:pt x="8971" y="105500"/>
                    </a:lnTo>
                    <a:lnTo>
                      <a:pt x="5921" y="105619"/>
                    </a:lnTo>
                    <a:lnTo>
                      <a:pt x="0" y="179"/>
                    </a:lnTo>
                    <a:close/>
                  </a:path>
                </a:pathLst>
              </a:custGeom>
              <a:grpFill/>
              <a:ln w="5978" cap="flat">
                <a:noFill/>
                <a:prstDash val="solid"/>
                <a:miter/>
              </a:ln>
            </p:spPr>
            <p:txBody>
              <a:bodyPr rtlCol="0" anchor="ctr"/>
              <a:lstStyle/>
              <a:p>
                <a:endParaRPr lang="en-GB"/>
              </a:p>
            </p:txBody>
          </p:sp>
          <p:sp>
            <p:nvSpPr>
              <p:cNvPr id="3022" name="Vrije vorm: vorm 3021">
                <a:extLst>
                  <a:ext uri="{FF2B5EF4-FFF2-40B4-BE49-F238E27FC236}">
                    <a16:creationId xmlns:a16="http://schemas.microsoft.com/office/drawing/2014/main" id="{FAA00641-2AC3-4866-85CF-47D49DFB7FD7}"/>
                  </a:ext>
                </a:extLst>
              </p:cNvPr>
              <p:cNvSpPr/>
              <p:nvPr/>
            </p:nvSpPr>
            <p:spPr>
              <a:xfrm>
                <a:off x="6155841" y="5357321"/>
                <a:ext cx="18333" cy="18441"/>
              </a:xfrm>
              <a:custGeom>
                <a:avLst/>
                <a:gdLst>
                  <a:gd name="connsiteX0" fmla="*/ 18317 w 18333"/>
                  <a:gd name="connsiteY0" fmla="*/ 8742 h 18441"/>
                  <a:gd name="connsiteX1" fmla="*/ 9705 w 18333"/>
                  <a:gd name="connsiteY1" fmla="*/ 18431 h 18441"/>
                  <a:gd name="connsiteX2" fmla="*/ 16 w 18333"/>
                  <a:gd name="connsiteY2" fmla="*/ 9699 h 18441"/>
                  <a:gd name="connsiteX3" fmla="*/ 8628 w 18333"/>
                  <a:gd name="connsiteY3" fmla="*/ 10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616" y="13826"/>
                      <a:pt x="14728" y="18132"/>
                      <a:pt x="9705" y="18431"/>
                    </a:cubicBezTo>
                    <a:cubicBezTo>
                      <a:pt x="4681" y="18670"/>
                      <a:pt x="315" y="14783"/>
                      <a:pt x="16" y="9699"/>
                    </a:cubicBezTo>
                    <a:cubicBezTo>
                      <a:pt x="-283" y="4616"/>
                      <a:pt x="3604" y="309"/>
                      <a:pt x="8628" y="10"/>
                    </a:cubicBezTo>
                    <a:cubicBezTo>
                      <a:pt x="13712" y="-229"/>
                      <a:pt x="18018" y="3659"/>
                      <a:pt x="18317" y="8742"/>
                    </a:cubicBezTo>
                    <a:close/>
                  </a:path>
                </a:pathLst>
              </a:custGeom>
              <a:grpFill/>
              <a:ln w="5978" cap="flat">
                <a:noFill/>
                <a:prstDash val="solid"/>
                <a:miter/>
              </a:ln>
            </p:spPr>
            <p:txBody>
              <a:bodyPr rtlCol="0" anchor="ctr"/>
              <a:lstStyle/>
              <a:p>
                <a:endParaRPr lang="en-GB"/>
              </a:p>
            </p:txBody>
          </p:sp>
          <p:sp>
            <p:nvSpPr>
              <p:cNvPr id="3023" name="Vrije vorm: vorm 3022">
                <a:extLst>
                  <a:ext uri="{FF2B5EF4-FFF2-40B4-BE49-F238E27FC236}">
                    <a16:creationId xmlns:a16="http://schemas.microsoft.com/office/drawing/2014/main" id="{EA5DB737-1C62-4982-A33C-1FD929EFB768}"/>
                  </a:ext>
                </a:extLst>
              </p:cNvPr>
              <p:cNvSpPr/>
              <p:nvPr/>
            </p:nvSpPr>
            <p:spPr>
              <a:xfrm>
                <a:off x="6149980" y="5252778"/>
                <a:ext cx="18327" cy="18441"/>
              </a:xfrm>
              <a:custGeom>
                <a:avLst/>
                <a:gdLst>
                  <a:gd name="connsiteX0" fmla="*/ 18317 w 18327"/>
                  <a:gd name="connsiteY0" fmla="*/ 8742 h 18441"/>
                  <a:gd name="connsiteX1" fmla="*/ 8628 w 18327"/>
                  <a:gd name="connsiteY1" fmla="*/ 10 h 18441"/>
                  <a:gd name="connsiteX2" fmla="*/ 16 w 18327"/>
                  <a:gd name="connsiteY2" fmla="*/ 9699 h 18441"/>
                  <a:gd name="connsiteX3" fmla="*/ 9705 w 18327"/>
                  <a:gd name="connsiteY3" fmla="*/ 18431 h 18441"/>
                  <a:gd name="connsiteX4" fmla="*/ 18317 w 18327"/>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18317" y="8742"/>
                    </a:moveTo>
                    <a:cubicBezTo>
                      <a:pt x="18018" y="3659"/>
                      <a:pt x="13712" y="-229"/>
                      <a:pt x="8628" y="10"/>
                    </a:cubicBezTo>
                    <a:cubicBezTo>
                      <a:pt x="3605" y="250"/>
                      <a:pt x="-283" y="4615"/>
                      <a:pt x="16" y="9699"/>
                    </a:cubicBezTo>
                    <a:cubicBezTo>
                      <a:pt x="315" y="14783"/>
                      <a:pt x="4621" y="18670"/>
                      <a:pt x="9705" y="18431"/>
                    </a:cubicBezTo>
                    <a:cubicBezTo>
                      <a:pt x="14729" y="18192"/>
                      <a:pt x="18557" y="13826"/>
                      <a:pt x="18317" y="8742"/>
                    </a:cubicBezTo>
                    <a:close/>
                  </a:path>
                </a:pathLst>
              </a:custGeom>
              <a:grpFill/>
              <a:ln w="5978" cap="flat">
                <a:noFill/>
                <a:prstDash val="solid"/>
                <a:miter/>
              </a:ln>
            </p:spPr>
            <p:txBody>
              <a:bodyPr rtlCol="0" anchor="ctr"/>
              <a:lstStyle/>
              <a:p>
                <a:endParaRPr lang="en-GB"/>
              </a:p>
            </p:txBody>
          </p:sp>
        </p:grpSp>
        <p:grpSp>
          <p:nvGrpSpPr>
            <p:cNvPr id="792" name="Graphic 3">
              <a:extLst>
                <a:ext uri="{FF2B5EF4-FFF2-40B4-BE49-F238E27FC236}">
                  <a16:creationId xmlns:a16="http://schemas.microsoft.com/office/drawing/2014/main" id="{6455DED7-0830-4BA8-B4B3-72751049FD5A}"/>
                </a:ext>
              </a:extLst>
            </p:cNvPr>
            <p:cNvGrpSpPr/>
            <p:nvPr/>
          </p:nvGrpSpPr>
          <p:grpSpPr>
            <a:xfrm>
              <a:off x="6249414" y="5580320"/>
              <a:ext cx="27175" cy="112630"/>
              <a:chOff x="6249414" y="5580320"/>
              <a:chExt cx="27175" cy="112630"/>
            </a:xfrm>
            <a:grpFill/>
          </p:grpSpPr>
          <p:sp>
            <p:nvSpPr>
              <p:cNvPr id="3018" name="Vrije vorm: vorm 3017">
                <a:extLst>
                  <a:ext uri="{FF2B5EF4-FFF2-40B4-BE49-F238E27FC236}">
                    <a16:creationId xmlns:a16="http://schemas.microsoft.com/office/drawing/2014/main" id="{1C6EEFBE-55BC-4E93-9C5D-80B5F98E2E81}"/>
                  </a:ext>
                </a:extLst>
              </p:cNvPr>
              <p:cNvSpPr/>
              <p:nvPr/>
            </p:nvSpPr>
            <p:spPr>
              <a:xfrm>
                <a:off x="6257051" y="5588964"/>
                <a:ext cx="11901" cy="95392"/>
              </a:xfrm>
              <a:custGeom>
                <a:avLst/>
                <a:gdLst>
                  <a:gd name="connsiteX0" fmla="*/ 2990 w 11901"/>
                  <a:gd name="connsiteY0" fmla="*/ 0 h 95392"/>
                  <a:gd name="connsiteX1" fmla="*/ 11902 w 11901"/>
                  <a:gd name="connsiteY1" fmla="*/ 95094 h 95392"/>
                  <a:gd name="connsiteX2" fmla="*/ 8911 w 11901"/>
                  <a:gd name="connsiteY2" fmla="*/ 95393 h 95392"/>
                  <a:gd name="connsiteX3" fmla="*/ 0 w 11901"/>
                  <a:gd name="connsiteY3" fmla="*/ 239 h 95392"/>
                </a:gdLst>
                <a:ahLst/>
                <a:cxnLst>
                  <a:cxn ang="0">
                    <a:pos x="connsiteX0" y="connsiteY0"/>
                  </a:cxn>
                  <a:cxn ang="0">
                    <a:pos x="connsiteX1" y="connsiteY1"/>
                  </a:cxn>
                  <a:cxn ang="0">
                    <a:pos x="connsiteX2" y="connsiteY2"/>
                  </a:cxn>
                  <a:cxn ang="0">
                    <a:pos x="connsiteX3" y="connsiteY3"/>
                  </a:cxn>
                </a:cxnLst>
                <a:rect l="l" t="t" r="r" b="b"/>
                <a:pathLst>
                  <a:path w="11901" h="95392">
                    <a:moveTo>
                      <a:pt x="2990" y="0"/>
                    </a:moveTo>
                    <a:lnTo>
                      <a:pt x="11902" y="95094"/>
                    </a:lnTo>
                    <a:lnTo>
                      <a:pt x="8911" y="95393"/>
                    </a:lnTo>
                    <a:lnTo>
                      <a:pt x="0" y="239"/>
                    </a:lnTo>
                    <a:close/>
                  </a:path>
                </a:pathLst>
              </a:custGeom>
              <a:grpFill/>
              <a:ln w="5978" cap="flat">
                <a:noFill/>
                <a:prstDash val="solid"/>
                <a:miter/>
              </a:ln>
            </p:spPr>
            <p:txBody>
              <a:bodyPr rtlCol="0" anchor="ctr"/>
              <a:lstStyle/>
              <a:p>
                <a:endParaRPr lang="en-GB"/>
              </a:p>
            </p:txBody>
          </p:sp>
          <p:sp>
            <p:nvSpPr>
              <p:cNvPr id="3019" name="Vrije vorm: vorm 3018">
                <a:extLst>
                  <a:ext uri="{FF2B5EF4-FFF2-40B4-BE49-F238E27FC236}">
                    <a16:creationId xmlns:a16="http://schemas.microsoft.com/office/drawing/2014/main" id="{462CC578-209C-4C2C-AC36-DBDC6617BEA8}"/>
                  </a:ext>
                </a:extLst>
              </p:cNvPr>
              <p:cNvSpPr/>
              <p:nvPr/>
            </p:nvSpPr>
            <p:spPr>
              <a:xfrm>
                <a:off x="6258265" y="5674516"/>
                <a:ext cx="18324" cy="18434"/>
              </a:xfrm>
              <a:custGeom>
                <a:avLst/>
                <a:gdLst>
                  <a:gd name="connsiteX0" fmla="*/ 18283 w 18324"/>
                  <a:gd name="connsiteY0" fmla="*/ 8405 h 18434"/>
                  <a:gd name="connsiteX1" fmla="*/ 10029 w 18324"/>
                  <a:gd name="connsiteY1" fmla="*/ 18393 h 18434"/>
                  <a:gd name="connsiteX2" fmla="*/ 42 w 18324"/>
                  <a:gd name="connsiteY2" fmla="*/ 10020 h 18434"/>
                  <a:gd name="connsiteX3" fmla="*/ 8295 w 18324"/>
                  <a:gd name="connsiteY3" fmla="*/ 32 h 18434"/>
                  <a:gd name="connsiteX4" fmla="*/ 18283 w 18324"/>
                  <a:gd name="connsiteY4" fmla="*/ 840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4">
                    <a:moveTo>
                      <a:pt x="18283" y="8405"/>
                    </a:moveTo>
                    <a:cubicBezTo>
                      <a:pt x="18761" y="13489"/>
                      <a:pt x="15053" y="17974"/>
                      <a:pt x="10029" y="18393"/>
                    </a:cubicBezTo>
                    <a:cubicBezTo>
                      <a:pt x="5005" y="18872"/>
                      <a:pt x="520" y="15104"/>
                      <a:pt x="42" y="10020"/>
                    </a:cubicBezTo>
                    <a:cubicBezTo>
                      <a:pt x="-437" y="4936"/>
                      <a:pt x="3271" y="451"/>
                      <a:pt x="8295" y="32"/>
                    </a:cubicBezTo>
                    <a:cubicBezTo>
                      <a:pt x="13319" y="-386"/>
                      <a:pt x="17804" y="3322"/>
                      <a:pt x="18283" y="8405"/>
                    </a:cubicBezTo>
                    <a:close/>
                  </a:path>
                </a:pathLst>
              </a:custGeom>
              <a:grpFill/>
              <a:ln w="5978" cap="flat">
                <a:noFill/>
                <a:prstDash val="solid"/>
                <a:miter/>
              </a:ln>
            </p:spPr>
            <p:txBody>
              <a:bodyPr rtlCol="0" anchor="ctr"/>
              <a:lstStyle/>
              <a:p>
                <a:endParaRPr lang="en-GB"/>
              </a:p>
            </p:txBody>
          </p:sp>
          <p:sp>
            <p:nvSpPr>
              <p:cNvPr id="3020" name="Vrije vorm: vorm 3019">
                <a:extLst>
                  <a:ext uri="{FF2B5EF4-FFF2-40B4-BE49-F238E27FC236}">
                    <a16:creationId xmlns:a16="http://schemas.microsoft.com/office/drawing/2014/main" id="{F05B3B17-B4CF-4BF6-B449-429D4F4DE98B}"/>
                  </a:ext>
                </a:extLst>
              </p:cNvPr>
              <p:cNvSpPr/>
              <p:nvPr/>
            </p:nvSpPr>
            <p:spPr>
              <a:xfrm>
                <a:off x="6249414" y="5580320"/>
                <a:ext cx="18324" cy="18425"/>
              </a:xfrm>
              <a:custGeom>
                <a:avLst/>
                <a:gdLst>
                  <a:gd name="connsiteX0" fmla="*/ 18283 w 18324"/>
                  <a:gd name="connsiteY0" fmla="*/ 8405 h 18425"/>
                  <a:gd name="connsiteX1" fmla="*/ 8295 w 18324"/>
                  <a:gd name="connsiteY1" fmla="*/ 32 h 18425"/>
                  <a:gd name="connsiteX2" fmla="*/ 42 w 18324"/>
                  <a:gd name="connsiteY2" fmla="*/ 10020 h 18425"/>
                  <a:gd name="connsiteX3" fmla="*/ 10030 w 18324"/>
                  <a:gd name="connsiteY3" fmla="*/ 18393 h 18425"/>
                  <a:gd name="connsiteX4" fmla="*/ 18283 w 18324"/>
                  <a:gd name="connsiteY4" fmla="*/ 8405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5">
                    <a:moveTo>
                      <a:pt x="18283" y="8405"/>
                    </a:moveTo>
                    <a:cubicBezTo>
                      <a:pt x="17804" y="3322"/>
                      <a:pt x="13319" y="-386"/>
                      <a:pt x="8295" y="32"/>
                    </a:cubicBezTo>
                    <a:cubicBezTo>
                      <a:pt x="3271" y="511"/>
                      <a:pt x="-437" y="4996"/>
                      <a:pt x="42" y="10020"/>
                    </a:cubicBezTo>
                    <a:cubicBezTo>
                      <a:pt x="520" y="15104"/>
                      <a:pt x="5006" y="18812"/>
                      <a:pt x="10030" y="18393"/>
                    </a:cubicBezTo>
                    <a:cubicBezTo>
                      <a:pt x="15053" y="17974"/>
                      <a:pt x="18761" y="13489"/>
                      <a:pt x="18283" y="8405"/>
                    </a:cubicBezTo>
                    <a:close/>
                  </a:path>
                </a:pathLst>
              </a:custGeom>
              <a:grpFill/>
              <a:ln w="5978" cap="flat">
                <a:noFill/>
                <a:prstDash val="solid"/>
                <a:miter/>
              </a:ln>
            </p:spPr>
            <p:txBody>
              <a:bodyPr rtlCol="0" anchor="ctr"/>
              <a:lstStyle/>
              <a:p>
                <a:endParaRPr lang="en-GB"/>
              </a:p>
            </p:txBody>
          </p:sp>
        </p:grpSp>
        <p:grpSp>
          <p:nvGrpSpPr>
            <p:cNvPr id="793" name="Graphic 3">
              <a:extLst>
                <a:ext uri="{FF2B5EF4-FFF2-40B4-BE49-F238E27FC236}">
                  <a16:creationId xmlns:a16="http://schemas.microsoft.com/office/drawing/2014/main" id="{F714C10B-4621-46AD-BA42-A4568CD03404}"/>
                </a:ext>
              </a:extLst>
            </p:cNvPr>
            <p:cNvGrpSpPr/>
            <p:nvPr/>
          </p:nvGrpSpPr>
          <p:grpSpPr>
            <a:xfrm>
              <a:off x="4789499" y="1509049"/>
              <a:ext cx="320950" cy="530436"/>
              <a:chOff x="4789499" y="1509049"/>
              <a:chExt cx="320950" cy="530436"/>
            </a:xfrm>
            <a:grpFill/>
          </p:grpSpPr>
          <p:sp>
            <p:nvSpPr>
              <p:cNvPr id="3015" name="Vrije vorm: vorm 3014">
                <a:extLst>
                  <a:ext uri="{FF2B5EF4-FFF2-40B4-BE49-F238E27FC236}">
                    <a16:creationId xmlns:a16="http://schemas.microsoft.com/office/drawing/2014/main" id="{6EE1D211-76D4-4496-830F-28CE56E97C0F}"/>
                  </a:ext>
                </a:extLst>
              </p:cNvPr>
              <p:cNvSpPr/>
              <p:nvPr/>
            </p:nvSpPr>
            <p:spPr>
              <a:xfrm>
                <a:off x="4796707" y="1517395"/>
                <a:ext cx="306123" cy="514076"/>
              </a:xfrm>
              <a:custGeom>
                <a:avLst/>
                <a:gdLst>
                  <a:gd name="connsiteX0" fmla="*/ 0 w 306123"/>
                  <a:gd name="connsiteY0" fmla="*/ 1554 h 514076"/>
                  <a:gd name="connsiteX1" fmla="*/ 2624 w 306123"/>
                  <a:gd name="connsiteY1" fmla="*/ 0 h 514076"/>
                  <a:gd name="connsiteX2" fmla="*/ 306123 w 306123"/>
                  <a:gd name="connsiteY2" fmla="*/ 512523 h 514076"/>
                  <a:gd name="connsiteX3" fmla="*/ 303499 w 306123"/>
                  <a:gd name="connsiteY3" fmla="*/ 514077 h 514076"/>
                </a:gdLst>
                <a:ahLst/>
                <a:cxnLst>
                  <a:cxn ang="0">
                    <a:pos x="connsiteX0" y="connsiteY0"/>
                  </a:cxn>
                  <a:cxn ang="0">
                    <a:pos x="connsiteX1" y="connsiteY1"/>
                  </a:cxn>
                  <a:cxn ang="0">
                    <a:pos x="connsiteX2" y="connsiteY2"/>
                  </a:cxn>
                  <a:cxn ang="0">
                    <a:pos x="connsiteX3" y="connsiteY3"/>
                  </a:cxn>
                </a:cxnLst>
                <a:rect l="l" t="t" r="r" b="b"/>
                <a:pathLst>
                  <a:path w="306123" h="514076">
                    <a:moveTo>
                      <a:pt x="0" y="1554"/>
                    </a:moveTo>
                    <a:lnTo>
                      <a:pt x="2624" y="0"/>
                    </a:lnTo>
                    <a:lnTo>
                      <a:pt x="306123" y="512523"/>
                    </a:lnTo>
                    <a:lnTo>
                      <a:pt x="303499" y="514077"/>
                    </a:lnTo>
                    <a:close/>
                  </a:path>
                </a:pathLst>
              </a:custGeom>
              <a:grpFill/>
              <a:ln w="5978" cap="flat">
                <a:noFill/>
                <a:prstDash val="solid"/>
                <a:miter/>
              </a:ln>
            </p:spPr>
            <p:txBody>
              <a:bodyPr rtlCol="0" anchor="ctr"/>
              <a:lstStyle/>
              <a:p>
                <a:endParaRPr lang="en-GB"/>
              </a:p>
            </p:txBody>
          </p:sp>
          <p:sp>
            <p:nvSpPr>
              <p:cNvPr id="3016" name="Vrije vorm: vorm 3015">
                <a:extLst>
                  <a:ext uri="{FF2B5EF4-FFF2-40B4-BE49-F238E27FC236}">
                    <a16:creationId xmlns:a16="http://schemas.microsoft.com/office/drawing/2014/main" id="{3D616171-866B-4B34-B3EE-1E3DF955CEEF}"/>
                  </a:ext>
                </a:extLst>
              </p:cNvPr>
              <p:cNvSpPr/>
              <p:nvPr/>
            </p:nvSpPr>
            <p:spPr>
              <a:xfrm>
                <a:off x="5092163" y="2021085"/>
                <a:ext cx="18285" cy="18400"/>
              </a:xfrm>
              <a:custGeom>
                <a:avLst/>
                <a:gdLst>
                  <a:gd name="connsiteX0" fmla="*/ 17008 w 18285"/>
                  <a:gd name="connsiteY0" fmla="*/ 4506 h 18400"/>
                  <a:gd name="connsiteX1" fmla="*/ 13838 w 18285"/>
                  <a:gd name="connsiteY1" fmla="*/ 17125 h 18400"/>
                  <a:gd name="connsiteX2" fmla="*/ 1278 w 18285"/>
                  <a:gd name="connsiteY2" fmla="*/ 13895 h 18400"/>
                  <a:gd name="connsiteX3" fmla="*/ 4448 w 18285"/>
                  <a:gd name="connsiteY3" fmla="*/ 1276 h 18400"/>
                  <a:gd name="connsiteX4" fmla="*/ 17008 w 18285"/>
                  <a:gd name="connsiteY4" fmla="*/ 450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5" h="18400">
                    <a:moveTo>
                      <a:pt x="17008" y="4506"/>
                    </a:moveTo>
                    <a:cubicBezTo>
                      <a:pt x="19579" y="8871"/>
                      <a:pt x="18144" y="14553"/>
                      <a:pt x="13838" y="17125"/>
                    </a:cubicBezTo>
                    <a:cubicBezTo>
                      <a:pt x="9472" y="19697"/>
                      <a:pt x="3850" y="18261"/>
                      <a:pt x="1278" y="13895"/>
                    </a:cubicBezTo>
                    <a:cubicBezTo>
                      <a:pt x="-1293" y="9529"/>
                      <a:pt x="142" y="3848"/>
                      <a:pt x="4448" y="1276"/>
                    </a:cubicBezTo>
                    <a:cubicBezTo>
                      <a:pt x="8754" y="-1296"/>
                      <a:pt x="14376" y="140"/>
                      <a:pt x="17008" y="4506"/>
                    </a:cubicBezTo>
                    <a:close/>
                  </a:path>
                </a:pathLst>
              </a:custGeom>
              <a:grpFill/>
              <a:ln w="5978" cap="flat">
                <a:noFill/>
                <a:prstDash val="solid"/>
                <a:miter/>
              </a:ln>
            </p:spPr>
            <p:txBody>
              <a:bodyPr rtlCol="0" anchor="ctr"/>
              <a:lstStyle/>
              <a:p>
                <a:endParaRPr lang="en-GB"/>
              </a:p>
            </p:txBody>
          </p:sp>
          <p:sp>
            <p:nvSpPr>
              <p:cNvPr id="3017" name="Vrije vorm: vorm 3016">
                <a:extLst>
                  <a:ext uri="{FF2B5EF4-FFF2-40B4-BE49-F238E27FC236}">
                    <a16:creationId xmlns:a16="http://schemas.microsoft.com/office/drawing/2014/main" id="{A84CF781-6EB6-421A-B44C-EF8B6922612B}"/>
                  </a:ext>
                </a:extLst>
              </p:cNvPr>
              <p:cNvSpPr/>
              <p:nvPr/>
            </p:nvSpPr>
            <p:spPr>
              <a:xfrm>
                <a:off x="4789499" y="1509049"/>
                <a:ext cx="18365" cy="18453"/>
              </a:xfrm>
              <a:custGeom>
                <a:avLst/>
                <a:gdLst>
                  <a:gd name="connsiteX0" fmla="*/ 17047 w 18365"/>
                  <a:gd name="connsiteY0" fmla="*/ 4532 h 18453"/>
                  <a:gd name="connsiteX1" fmla="*/ 4488 w 18365"/>
                  <a:gd name="connsiteY1" fmla="*/ 1303 h 18453"/>
                  <a:gd name="connsiteX2" fmla="*/ 1318 w 18365"/>
                  <a:gd name="connsiteY2" fmla="*/ 13922 h 18453"/>
                  <a:gd name="connsiteX3" fmla="*/ 13878 w 18365"/>
                  <a:gd name="connsiteY3" fmla="*/ 17151 h 18453"/>
                  <a:gd name="connsiteX4" fmla="*/ 17047 w 18365"/>
                  <a:gd name="connsiteY4" fmla="*/ 4532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53">
                    <a:moveTo>
                      <a:pt x="17047" y="4532"/>
                    </a:moveTo>
                    <a:cubicBezTo>
                      <a:pt x="14476" y="166"/>
                      <a:pt x="8854" y="-1329"/>
                      <a:pt x="4488" y="1303"/>
                    </a:cubicBezTo>
                    <a:cubicBezTo>
                      <a:pt x="122" y="3874"/>
                      <a:pt x="-1313" y="9556"/>
                      <a:pt x="1318" y="13922"/>
                    </a:cubicBezTo>
                    <a:cubicBezTo>
                      <a:pt x="3890" y="18288"/>
                      <a:pt x="9512" y="19783"/>
                      <a:pt x="13878" y="17151"/>
                    </a:cubicBezTo>
                    <a:cubicBezTo>
                      <a:pt x="18244" y="14520"/>
                      <a:pt x="19679" y="8898"/>
                      <a:pt x="17047" y="4532"/>
                    </a:cubicBezTo>
                    <a:close/>
                  </a:path>
                </a:pathLst>
              </a:custGeom>
              <a:grpFill/>
              <a:ln w="5978" cap="flat">
                <a:noFill/>
                <a:prstDash val="solid"/>
                <a:miter/>
              </a:ln>
            </p:spPr>
            <p:txBody>
              <a:bodyPr rtlCol="0" anchor="ctr"/>
              <a:lstStyle/>
              <a:p>
                <a:endParaRPr lang="en-GB"/>
              </a:p>
            </p:txBody>
          </p:sp>
        </p:grpSp>
        <p:grpSp>
          <p:nvGrpSpPr>
            <p:cNvPr id="794" name="Graphic 3">
              <a:extLst>
                <a:ext uri="{FF2B5EF4-FFF2-40B4-BE49-F238E27FC236}">
                  <a16:creationId xmlns:a16="http://schemas.microsoft.com/office/drawing/2014/main" id="{A005058F-A435-41EA-B26D-27978E2326BF}"/>
                </a:ext>
              </a:extLst>
            </p:cNvPr>
            <p:cNvGrpSpPr/>
            <p:nvPr/>
          </p:nvGrpSpPr>
          <p:grpSpPr>
            <a:xfrm>
              <a:off x="6078404" y="5095554"/>
              <a:ext cx="20578" cy="133550"/>
              <a:chOff x="6078404" y="5095554"/>
              <a:chExt cx="20578" cy="133550"/>
            </a:xfrm>
            <a:grpFill/>
          </p:grpSpPr>
          <p:sp>
            <p:nvSpPr>
              <p:cNvPr id="3012" name="Vrije vorm: vorm 3011">
                <a:extLst>
                  <a:ext uri="{FF2B5EF4-FFF2-40B4-BE49-F238E27FC236}">
                    <a16:creationId xmlns:a16="http://schemas.microsoft.com/office/drawing/2014/main" id="{98743EEB-F77B-49F7-871E-66E5D988B81C}"/>
                  </a:ext>
                </a:extLst>
              </p:cNvPr>
              <p:cNvSpPr/>
              <p:nvPr/>
            </p:nvSpPr>
            <p:spPr>
              <a:xfrm>
                <a:off x="6086062" y="5104287"/>
                <a:ext cx="5263" cy="116145"/>
              </a:xfrm>
              <a:custGeom>
                <a:avLst/>
                <a:gdLst>
                  <a:gd name="connsiteX0" fmla="*/ 2990 w 5263"/>
                  <a:gd name="connsiteY0" fmla="*/ 0 h 116145"/>
                  <a:gd name="connsiteX1" fmla="*/ 5263 w 5263"/>
                  <a:gd name="connsiteY1" fmla="*/ 116086 h 116145"/>
                  <a:gd name="connsiteX2" fmla="*/ 2213 w 5263"/>
                  <a:gd name="connsiteY2" fmla="*/ 116146 h 116145"/>
                  <a:gd name="connsiteX3" fmla="*/ 0 w 5263"/>
                  <a:gd name="connsiteY3" fmla="*/ 60 h 116145"/>
                </a:gdLst>
                <a:ahLst/>
                <a:cxnLst>
                  <a:cxn ang="0">
                    <a:pos x="connsiteX0" y="connsiteY0"/>
                  </a:cxn>
                  <a:cxn ang="0">
                    <a:pos x="connsiteX1" y="connsiteY1"/>
                  </a:cxn>
                  <a:cxn ang="0">
                    <a:pos x="connsiteX2" y="connsiteY2"/>
                  </a:cxn>
                  <a:cxn ang="0">
                    <a:pos x="connsiteX3" y="connsiteY3"/>
                  </a:cxn>
                </a:cxnLst>
                <a:rect l="l" t="t" r="r" b="b"/>
                <a:pathLst>
                  <a:path w="5263" h="116145">
                    <a:moveTo>
                      <a:pt x="2990" y="0"/>
                    </a:moveTo>
                    <a:lnTo>
                      <a:pt x="5263" y="116086"/>
                    </a:lnTo>
                    <a:lnTo>
                      <a:pt x="2213" y="116146"/>
                    </a:lnTo>
                    <a:lnTo>
                      <a:pt x="0" y="60"/>
                    </a:lnTo>
                    <a:close/>
                  </a:path>
                </a:pathLst>
              </a:custGeom>
              <a:grpFill/>
              <a:ln w="5978" cap="flat">
                <a:noFill/>
                <a:prstDash val="solid"/>
                <a:miter/>
              </a:ln>
            </p:spPr>
            <p:txBody>
              <a:bodyPr rtlCol="0" anchor="ctr"/>
              <a:lstStyle/>
              <a:p>
                <a:endParaRPr lang="en-GB"/>
              </a:p>
            </p:txBody>
          </p:sp>
          <p:sp>
            <p:nvSpPr>
              <p:cNvPr id="3013" name="Vrije vorm: vorm 3012">
                <a:extLst>
                  <a:ext uri="{FF2B5EF4-FFF2-40B4-BE49-F238E27FC236}">
                    <a16:creationId xmlns:a16="http://schemas.microsoft.com/office/drawing/2014/main" id="{1D083BAB-90FA-4A1C-AC60-19C7C559728F}"/>
                  </a:ext>
                </a:extLst>
              </p:cNvPr>
              <p:cNvSpPr/>
              <p:nvPr/>
            </p:nvSpPr>
            <p:spPr>
              <a:xfrm>
                <a:off x="6080677" y="5210683"/>
                <a:ext cx="18306" cy="18422"/>
              </a:xfrm>
              <a:custGeom>
                <a:avLst/>
                <a:gdLst>
                  <a:gd name="connsiteX0" fmla="*/ 18304 w 18306"/>
                  <a:gd name="connsiteY0" fmla="*/ 9091 h 18422"/>
                  <a:gd name="connsiteX1" fmla="*/ 9332 w 18306"/>
                  <a:gd name="connsiteY1" fmla="*/ 18421 h 18422"/>
                  <a:gd name="connsiteX2" fmla="*/ 3 w 18306"/>
                  <a:gd name="connsiteY2" fmla="*/ 9331 h 18422"/>
                  <a:gd name="connsiteX3" fmla="*/ 8974 w 18306"/>
                  <a:gd name="connsiteY3" fmla="*/ 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423" y="14175"/>
                      <a:pt x="14356" y="18362"/>
                      <a:pt x="9332" y="18421"/>
                    </a:cubicBezTo>
                    <a:cubicBezTo>
                      <a:pt x="4249" y="18481"/>
                      <a:pt x="62" y="14414"/>
                      <a:pt x="3" y="9331"/>
                    </a:cubicBezTo>
                    <a:cubicBezTo>
                      <a:pt x="-117" y="4247"/>
                      <a:pt x="3950" y="61"/>
                      <a:pt x="8974" y="1"/>
                    </a:cubicBezTo>
                    <a:cubicBezTo>
                      <a:pt x="13997" y="-59"/>
                      <a:pt x="18184" y="4008"/>
                      <a:pt x="18304" y="9091"/>
                    </a:cubicBezTo>
                    <a:close/>
                  </a:path>
                </a:pathLst>
              </a:custGeom>
              <a:grpFill/>
              <a:ln w="5978" cap="flat">
                <a:noFill/>
                <a:prstDash val="solid"/>
                <a:miter/>
              </a:ln>
            </p:spPr>
            <p:txBody>
              <a:bodyPr rtlCol="0" anchor="ctr"/>
              <a:lstStyle/>
              <a:p>
                <a:endParaRPr lang="en-GB"/>
              </a:p>
            </p:txBody>
          </p:sp>
          <p:sp>
            <p:nvSpPr>
              <p:cNvPr id="3014" name="Vrije vorm: vorm 3013">
                <a:extLst>
                  <a:ext uri="{FF2B5EF4-FFF2-40B4-BE49-F238E27FC236}">
                    <a16:creationId xmlns:a16="http://schemas.microsoft.com/office/drawing/2014/main" id="{B6B00822-E72F-4213-A9B7-598935C3C032}"/>
                  </a:ext>
                </a:extLst>
              </p:cNvPr>
              <p:cNvSpPr/>
              <p:nvPr/>
            </p:nvSpPr>
            <p:spPr>
              <a:xfrm>
                <a:off x="6078404" y="5095554"/>
                <a:ext cx="18306" cy="18422"/>
              </a:xfrm>
              <a:custGeom>
                <a:avLst/>
                <a:gdLst>
                  <a:gd name="connsiteX0" fmla="*/ 18304 w 18306"/>
                  <a:gd name="connsiteY0" fmla="*/ 9091 h 18422"/>
                  <a:gd name="connsiteX1" fmla="*/ 8974 w 18306"/>
                  <a:gd name="connsiteY1" fmla="*/ 1 h 18422"/>
                  <a:gd name="connsiteX2" fmla="*/ 3 w 18306"/>
                  <a:gd name="connsiteY2" fmla="*/ 9331 h 18422"/>
                  <a:gd name="connsiteX3" fmla="*/ 9333 w 18306"/>
                  <a:gd name="connsiteY3" fmla="*/ 1842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184" y="4008"/>
                      <a:pt x="13997" y="-59"/>
                      <a:pt x="8974" y="1"/>
                    </a:cubicBezTo>
                    <a:cubicBezTo>
                      <a:pt x="3890" y="61"/>
                      <a:pt x="-117" y="4247"/>
                      <a:pt x="3" y="9331"/>
                    </a:cubicBezTo>
                    <a:cubicBezTo>
                      <a:pt x="122" y="14414"/>
                      <a:pt x="4309" y="18481"/>
                      <a:pt x="9333" y="18421"/>
                    </a:cubicBezTo>
                    <a:cubicBezTo>
                      <a:pt x="14416" y="18362"/>
                      <a:pt x="18423" y="14175"/>
                      <a:pt x="18304" y="9091"/>
                    </a:cubicBezTo>
                    <a:close/>
                  </a:path>
                </a:pathLst>
              </a:custGeom>
              <a:grpFill/>
              <a:ln w="5978" cap="flat">
                <a:noFill/>
                <a:prstDash val="solid"/>
                <a:miter/>
              </a:ln>
            </p:spPr>
            <p:txBody>
              <a:bodyPr rtlCol="0" anchor="ctr"/>
              <a:lstStyle/>
              <a:p>
                <a:endParaRPr lang="en-GB"/>
              </a:p>
            </p:txBody>
          </p:sp>
        </p:grpSp>
        <p:grpSp>
          <p:nvGrpSpPr>
            <p:cNvPr id="795" name="Graphic 3">
              <a:extLst>
                <a:ext uri="{FF2B5EF4-FFF2-40B4-BE49-F238E27FC236}">
                  <a16:creationId xmlns:a16="http://schemas.microsoft.com/office/drawing/2014/main" id="{E873F634-D6A3-42FC-A44A-C0445EC06CE1}"/>
                </a:ext>
              </a:extLst>
            </p:cNvPr>
            <p:cNvGrpSpPr/>
            <p:nvPr/>
          </p:nvGrpSpPr>
          <p:grpSpPr>
            <a:xfrm>
              <a:off x="4947502" y="1873794"/>
              <a:ext cx="134678" cy="180945"/>
              <a:chOff x="4947502" y="1873794"/>
              <a:chExt cx="134678" cy="180945"/>
            </a:xfrm>
            <a:grpFill/>
          </p:grpSpPr>
          <p:sp>
            <p:nvSpPr>
              <p:cNvPr id="3009" name="Vrije vorm: vorm 3008">
                <a:extLst>
                  <a:ext uri="{FF2B5EF4-FFF2-40B4-BE49-F238E27FC236}">
                    <a16:creationId xmlns:a16="http://schemas.microsoft.com/office/drawing/2014/main" id="{6CE84FCE-D934-4CFD-9F1D-F712E0C1E0D5}"/>
                  </a:ext>
                </a:extLst>
              </p:cNvPr>
              <p:cNvSpPr/>
              <p:nvPr/>
            </p:nvSpPr>
            <p:spPr>
              <a:xfrm>
                <a:off x="4955167" y="1881755"/>
                <a:ext cx="119315" cy="165008"/>
              </a:xfrm>
              <a:custGeom>
                <a:avLst/>
                <a:gdLst>
                  <a:gd name="connsiteX0" fmla="*/ 119315 w 119315"/>
                  <a:gd name="connsiteY0" fmla="*/ 163214 h 165008"/>
                  <a:gd name="connsiteX1" fmla="*/ 116863 w 119315"/>
                  <a:gd name="connsiteY1" fmla="*/ 165008 h 165008"/>
                  <a:gd name="connsiteX2" fmla="*/ 0 w 119315"/>
                  <a:gd name="connsiteY2" fmla="*/ 1794 h 165008"/>
                  <a:gd name="connsiteX3" fmla="*/ 2452 w 119315"/>
                  <a:gd name="connsiteY3" fmla="*/ 0 h 165008"/>
                </a:gdLst>
                <a:ahLst/>
                <a:cxnLst>
                  <a:cxn ang="0">
                    <a:pos x="connsiteX0" y="connsiteY0"/>
                  </a:cxn>
                  <a:cxn ang="0">
                    <a:pos x="connsiteX1" y="connsiteY1"/>
                  </a:cxn>
                  <a:cxn ang="0">
                    <a:pos x="connsiteX2" y="connsiteY2"/>
                  </a:cxn>
                  <a:cxn ang="0">
                    <a:pos x="connsiteX3" y="connsiteY3"/>
                  </a:cxn>
                </a:cxnLst>
                <a:rect l="l" t="t" r="r" b="b"/>
                <a:pathLst>
                  <a:path w="119315" h="165008">
                    <a:moveTo>
                      <a:pt x="119315" y="163214"/>
                    </a:moveTo>
                    <a:lnTo>
                      <a:pt x="116863" y="165008"/>
                    </a:lnTo>
                    <a:lnTo>
                      <a:pt x="0" y="1794"/>
                    </a:lnTo>
                    <a:lnTo>
                      <a:pt x="2452" y="0"/>
                    </a:lnTo>
                    <a:close/>
                  </a:path>
                </a:pathLst>
              </a:custGeom>
              <a:grpFill/>
              <a:ln w="5978" cap="flat">
                <a:noFill/>
                <a:prstDash val="solid"/>
                <a:miter/>
              </a:ln>
            </p:spPr>
            <p:txBody>
              <a:bodyPr rtlCol="0" anchor="ctr"/>
              <a:lstStyle/>
              <a:p>
                <a:endParaRPr lang="en-GB"/>
              </a:p>
            </p:txBody>
          </p:sp>
          <p:sp>
            <p:nvSpPr>
              <p:cNvPr id="3010" name="Vrije vorm: vorm 3009">
                <a:extLst>
                  <a:ext uri="{FF2B5EF4-FFF2-40B4-BE49-F238E27FC236}">
                    <a16:creationId xmlns:a16="http://schemas.microsoft.com/office/drawing/2014/main" id="{62B209DA-895B-4B2B-B834-39024CCEB02A}"/>
                  </a:ext>
                </a:extLst>
              </p:cNvPr>
              <p:cNvSpPr/>
              <p:nvPr/>
            </p:nvSpPr>
            <p:spPr>
              <a:xfrm>
                <a:off x="4947502" y="1873794"/>
                <a:ext cx="18379" cy="18449"/>
              </a:xfrm>
              <a:custGeom>
                <a:avLst/>
                <a:gdLst>
                  <a:gd name="connsiteX0" fmla="*/ 1744 w 18379"/>
                  <a:gd name="connsiteY0" fmla="*/ 14599 h 18449"/>
                  <a:gd name="connsiteX1" fmla="*/ 3837 w 18379"/>
                  <a:gd name="connsiteY1" fmla="*/ 1740 h 18449"/>
                  <a:gd name="connsiteX2" fmla="*/ 16636 w 18379"/>
                  <a:gd name="connsiteY2" fmla="*/ 3893 h 18449"/>
                  <a:gd name="connsiteX3" fmla="*/ 14542 w 18379"/>
                  <a:gd name="connsiteY3" fmla="*/ 16752 h 18449"/>
                  <a:gd name="connsiteX4" fmla="*/ 1744 w 18379"/>
                  <a:gd name="connsiteY4" fmla="*/ 14599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49">
                    <a:moveTo>
                      <a:pt x="1744" y="14599"/>
                    </a:moveTo>
                    <a:cubicBezTo>
                      <a:pt x="-1246" y="10472"/>
                      <a:pt x="-290" y="4731"/>
                      <a:pt x="3837" y="1740"/>
                    </a:cubicBezTo>
                    <a:cubicBezTo>
                      <a:pt x="7964" y="-1250"/>
                      <a:pt x="13646" y="-293"/>
                      <a:pt x="16636" y="3893"/>
                    </a:cubicBezTo>
                    <a:cubicBezTo>
                      <a:pt x="19626" y="8020"/>
                      <a:pt x="18669" y="13762"/>
                      <a:pt x="14542" y="16752"/>
                    </a:cubicBezTo>
                    <a:cubicBezTo>
                      <a:pt x="10416" y="19682"/>
                      <a:pt x="4734" y="18725"/>
                      <a:pt x="1744" y="14599"/>
                    </a:cubicBezTo>
                    <a:close/>
                  </a:path>
                </a:pathLst>
              </a:custGeom>
              <a:grpFill/>
              <a:ln w="5978" cap="flat">
                <a:noFill/>
                <a:prstDash val="solid"/>
                <a:miter/>
              </a:ln>
            </p:spPr>
            <p:txBody>
              <a:bodyPr rtlCol="0" anchor="ctr"/>
              <a:lstStyle/>
              <a:p>
                <a:endParaRPr lang="en-GB"/>
              </a:p>
            </p:txBody>
          </p:sp>
          <p:sp>
            <p:nvSpPr>
              <p:cNvPr id="3011" name="Vrije vorm: vorm 3010">
                <a:extLst>
                  <a:ext uri="{FF2B5EF4-FFF2-40B4-BE49-F238E27FC236}">
                    <a16:creationId xmlns:a16="http://schemas.microsoft.com/office/drawing/2014/main" id="{66B24A5A-549B-42F9-863F-FF1F08205456}"/>
                  </a:ext>
                </a:extLst>
              </p:cNvPr>
              <p:cNvSpPr/>
              <p:nvPr/>
            </p:nvSpPr>
            <p:spPr>
              <a:xfrm>
                <a:off x="5063853" y="2036333"/>
                <a:ext cx="18327" cy="18406"/>
              </a:xfrm>
              <a:custGeom>
                <a:avLst/>
                <a:gdLst>
                  <a:gd name="connsiteX0" fmla="*/ 1718 w 18327"/>
                  <a:gd name="connsiteY0" fmla="*/ 14556 h 18406"/>
                  <a:gd name="connsiteX1" fmla="*/ 14517 w 18327"/>
                  <a:gd name="connsiteY1" fmla="*/ 16709 h 18406"/>
                  <a:gd name="connsiteX2" fmla="*/ 16610 w 18327"/>
                  <a:gd name="connsiteY2" fmla="*/ 3851 h 18406"/>
                  <a:gd name="connsiteX3" fmla="*/ 3811 w 18327"/>
                  <a:gd name="connsiteY3" fmla="*/ 1697 h 18406"/>
                  <a:gd name="connsiteX4" fmla="*/ 1718 w 18327"/>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6">
                    <a:moveTo>
                      <a:pt x="1718" y="14556"/>
                    </a:moveTo>
                    <a:cubicBezTo>
                      <a:pt x="4708" y="18683"/>
                      <a:pt x="10390" y="19640"/>
                      <a:pt x="14517" y="16709"/>
                    </a:cubicBezTo>
                    <a:cubicBezTo>
                      <a:pt x="18643" y="13719"/>
                      <a:pt x="19541" y="7977"/>
                      <a:pt x="16610" y="3851"/>
                    </a:cubicBezTo>
                    <a:cubicBezTo>
                      <a:pt x="13620" y="-276"/>
                      <a:pt x="7938" y="-1233"/>
                      <a:pt x="3811" y="1697"/>
                    </a:cubicBezTo>
                    <a:cubicBezTo>
                      <a:pt x="-315" y="4628"/>
                      <a:pt x="-1213" y="10429"/>
                      <a:pt x="1718" y="14556"/>
                    </a:cubicBezTo>
                    <a:close/>
                  </a:path>
                </a:pathLst>
              </a:custGeom>
              <a:grpFill/>
              <a:ln w="5978" cap="flat">
                <a:noFill/>
                <a:prstDash val="solid"/>
                <a:miter/>
              </a:ln>
            </p:spPr>
            <p:txBody>
              <a:bodyPr rtlCol="0" anchor="ctr"/>
              <a:lstStyle/>
              <a:p>
                <a:endParaRPr lang="en-GB"/>
              </a:p>
            </p:txBody>
          </p:sp>
        </p:grpSp>
        <p:grpSp>
          <p:nvGrpSpPr>
            <p:cNvPr id="796" name="Graphic 3">
              <a:extLst>
                <a:ext uri="{FF2B5EF4-FFF2-40B4-BE49-F238E27FC236}">
                  <a16:creationId xmlns:a16="http://schemas.microsoft.com/office/drawing/2014/main" id="{94DBE790-3C39-42F5-A85D-49D2B4DCE81F}"/>
                </a:ext>
              </a:extLst>
            </p:cNvPr>
            <p:cNvGrpSpPr/>
            <p:nvPr/>
          </p:nvGrpSpPr>
          <p:grpSpPr>
            <a:xfrm>
              <a:off x="4845377" y="1517371"/>
              <a:ext cx="21240" cy="23042"/>
              <a:chOff x="4845377" y="1517371"/>
              <a:chExt cx="21240" cy="23042"/>
            </a:xfrm>
            <a:grpFill/>
          </p:grpSpPr>
          <p:sp>
            <p:nvSpPr>
              <p:cNvPr id="3007" name="Vrije vorm: vorm 3006">
                <a:extLst>
                  <a:ext uri="{FF2B5EF4-FFF2-40B4-BE49-F238E27FC236}">
                    <a16:creationId xmlns:a16="http://schemas.microsoft.com/office/drawing/2014/main" id="{99970487-C277-40E3-B51D-AA96BE5A2C8E}"/>
                  </a:ext>
                </a:extLst>
              </p:cNvPr>
              <p:cNvSpPr/>
              <p:nvPr/>
            </p:nvSpPr>
            <p:spPr>
              <a:xfrm>
                <a:off x="4848266" y="1521949"/>
                <a:ext cx="18351" cy="18464"/>
              </a:xfrm>
              <a:custGeom>
                <a:avLst/>
                <a:gdLst>
                  <a:gd name="connsiteX0" fmla="*/ 1461 w 18351"/>
                  <a:gd name="connsiteY0" fmla="*/ 14179 h 18464"/>
                  <a:gd name="connsiteX1" fmla="*/ 4212 w 18351"/>
                  <a:gd name="connsiteY1" fmla="*/ 1441 h 18464"/>
                  <a:gd name="connsiteX2" fmla="*/ 16891 w 18351"/>
                  <a:gd name="connsiteY2" fmla="*/ 4311 h 18464"/>
                  <a:gd name="connsiteX3" fmla="*/ 14140 w 18351"/>
                  <a:gd name="connsiteY3" fmla="*/ 17050 h 18464"/>
                  <a:gd name="connsiteX4" fmla="*/ 1461 w 18351"/>
                  <a:gd name="connsiteY4" fmla="*/ 1417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4">
                    <a:moveTo>
                      <a:pt x="1461" y="14179"/>
                    </a:moveTo>
                    <a:cubicBezTo>
                      <a:pt x="-1291" y="9873"/>
                      <a:pt x="-34" y="4192"/>
                      <a:pt x="4212" y="1441"/>
                    </a:cubicBezTo>
                    <a:cubicBezTo>
                      <a:pt x="8458" y="-1311"/>
                      <a:pt x="14140" y="5"/>
                      <a:pt x="16891" y="4311"/>
                    </a:cubicBezTo>
                    <a:cubicBezTo>
                      <a:pt x="19642" y="8617"/>
                      <a:pt x="18386" y="14299"/>
                      <a:pt x="14140" y="17050"/>
                    </a:cubicBezTo>
                    <a:cubicBezTo>
                      <a:pt x="9893" y="19742"/>
                      <a:pt x="4212" y="18486"/>
                      <a:pt x="1461" y="14179"/>
                    </a:cubicBezTo>
                    <a:close/>
                  </a:path>
                </a:pathLst>
              </a:custGeom>
              <a:grpFill/>
              <a:ln w="5978" cap="flat">
                <a:noFill/>
                <a:prstDash val="solid"/>
                <a:miter/>
              </a:ln>
            </p:spPr>
            <p:txBody>
              <a:bodyPr rtlCol="0" anchor="ctr"/>
              <a:lstStyle/>
              <a:p>
                <a:endParaRPr lang="en-GB"/>
              </a:p>
            </p:txBody>
          </p:sp>
          <p:sp>
            <p:nvSpPr>
              <p:cNvPr id="3008" name="Vrije vorm: vorm 3007">
                <a:extLst>
                  <a:ext uri="{FF2B5EF4-FFF2-40B4-BE49-F238E27FC236}">
                    <a16:creationId xmlns:a16="http://schemas.microsoft.com/office/drawing/2014/main" id="{4F6C47F6-94EF-4FED-A93E-C8BD9A01E509}"/>
                  </a:ext>
                </a:extLst>
              </p:cNvPr>
              <p:cNvSpPr/>
              <p:nvPr/>
            </p:nvSpPr>
            <p:spPr>
              <a:xfrm>
                <a:off x="4845377" y="1517371"/>
                <a:ext cx="18310" cy="18437"/>
              </a:xfrm>
              <a:custGeom>
                <a:avLst/>
                <a:gdLst>
                  <a:gd name="connsiteX0" fmla="*/ 1419 w 18310"/>
                  <a:gd name="connsiteY0" fmla="*/ 14153 h 18437"/>
                  <a:gd name="connsiteX1" fmla="*/ 14099 w 18310"/>
                  <a:gd name="connsiteY1" fmla="*/ 17024 h 18437"/>
                  <a:gd name="connsiteX2" fmla="*/ 16850 w 18310"/>
                  <a:gd name="connsiteY2" fmla="*/ 4285 h 18437"/>
                  <a:gd name="connsiteX3" fmla="*/ 4170 w 18310"/>
                  <a:gd name="connsiteY3" fmla="*/ 1414 h 18437"/>
                  <a:gd name="connsiteX4" fmla="*/ 1419 w 18310"/>
                  <a:gd name="connsiteY4" fmla="*/ 14153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37">
                    <a:moveTo>
                      <a:pt x="1419" y="14153"/>
                    </a:moveTo>
                    <a:cubicBezTo>
                      <a:pt x="4170" y="18459"/>
                      <a:pt x="9792" y="19715"/>
                      <a:pt x="14099" y="17024"/>
                    </a:cubicBezTo>
                    <a:cubicBezTo>
                      <a:pt x="18345" y="14273"/>
                      <a:pt x="19601" y="8591"/>
                      <a:pt x="16850" y="4285"/>
                    </a:cubicBezTo>
                    <a:cubicBezTo>
                      <a:pt x="14099" y="-21"/>
                      <a:pt x="8477" y="-1277"/>
                      <a:pt x="4170" y="1414"/>
                    </a:cubicBezTo>
                    <a:cubicBezTo>
                      <a:pt x="-16" y="4165"/>
                      <a:pt x="-1272" y="9847"/>
                      <a:pt x="1419" y="14153"/>
                    </a:cubicBezTo>
                    <a:close/>
                  </a:path>
                </a:pathLst>
              </a:custGeom>
              <a:grpFill/>
              <a:ln w="5978" cap="flat">
                <a:noFill/>
                <a:prstDash val="solid"/>
                <a:miter/>
              </a:ln>
            </p:spPr>
            <p:txBody>
              <a:bodyPr rtlCol="0" anchor="ctr"/>
              <a:lstStyle/>
              <a:p>
                <a:endParaRPr lang="en-GB"/>
              </a:p>
            </p:txBody>
          </p:sp>
        </p:grpSp>
        <p:grpSp>
          <p:nvGrpSpPr>
            <p:cNvPr id="797" name="Graphic 3">
              <a:extLst>
                <a:ext uri="{FF2B5EF4-FFF2-40B4-BE49-F238E27FC236}">
                  <a16:creationId xmlns:a16="http://schemas.microsoft.com/office/drawing/2014/main" id="{521954C8-80E9-4F11-8FB8-C7B5CD981D63}"/>
                </a:ext>
              </a:extLst>
            </p:cNvPr>
            <p:cNvGrpSpPr/>
            <p:nvPr/>
          </p:nvGrpSpPr>
          <p:grpSpPr>
            <a:xfrm>
              <a:off x="4846571" y="1594473"/>
              <a:ext cx="107987" cy="153999"/>
              <a:chOff x="4846571" y="1594473"/>
              <a:chExt cx="107987" cy="153999"/>
            </a:xfrm>
            <a:grpFill/>
          </p:grpSpPr>
          <p:sp>
            <p:nvSpPr>
              <p:cNvPr id="3004" name="Vrije vorm: vorm 3003">
                <a:extLst>
                  <a:ext uri="{FF2B5EF4-FFF2-40B4-BE49-F238E27FC236}">
                    <a16:creationId xmlns:a16="http://schemas.microsoft.com/office/drawing/2014/main" id="{661C967B-8EC6-481D-824C-72EE2ADDB19E}"/>
                  </a:ext>
                </a:extLst>
              </p:cNvPr>
              <p:cNvSpPr/>
              <p:nvPr/>
            </p:nvSpPr>
            <p:spPr>
              <a:xfrm>
                <a:off x="4854213" y="1602395"/>
                <a:ext cx="92701" cy="138035"/>
              </a:xfrm>
              <a:custGeom>
                <a:avLst/>
                <a:gdLst>
                  <a:gd name="connsiteX0" fmla="*/ 92701 w 92701"/>
                  <a:gd name="connsiteY0" fmla="*/ 136360 h 138035"/>
                  <a:gd name="connsiteX1" fmla="*/ 90189 w 92701"/>
                  <a:gd name="connsiteY1" fmla="*/ 138035 h 138035"/>
                  <a:gd name="connsiteX2" fmla="*/ 0 w 92701"/>
                  <a:gd name="connsiteY2" fmla="*/ 1675 h 138035"/>
                  <a:gd name="connsiteX3" fmla="*/ 2512 w 92701"/>
                  <a:gd name="connsiteY3" fmla="*/ 0 h 138035"/>
                </a:gdLst>
                <a:ahLst/>
                <a:cxnLst>
                  <a:cxn ang="0">
                    <a:pos x="connsiteX0" y="connsiteY0"/>
                  </a:cxn>
                  <a:cxn ang="0">
                    <a:pos x="connsiteX1" y="connsiteY1"/>
                  </a:cxn>
                  <a:cxn ang="0">
                    <a:pos x="connsiteX2" y="connsiteY2"/>
                  </a:cxn>
                  <a:cxn ang="0">
                    <a:pos x="connsiteX3" y="connsiteY3"/>
                  </a:cxn>
                </a:cxnLst>
                <a:rect l="l" t="t" r="r" b="b"/>
                <a:pathLst>
                  <a:path w="92701" h="138035">
                    <a:moveTo>
                      <a:pt x="92701" y="136360"/>
                    </a:moveTo>
                    <a:lnTo>
                      <a:pt x="90189" y="138035"/>
                    </a:lnTo>
                    <a:lnTo>
                      <a:pt x="0" y="1675"/>
                    </a:lnTo>
                    <a:lnTo>
                      <a:pt x="2512" y="0"/>
                    </a:lnTo>
                    <a:close/>
                  </a:path>
                </a:pathLst>
              </a:custGeom>
              <a:grpFill/>
              <a:ln w="5978" cap="flat">
                <a:noFill/>
                <a:prstDash val="solid"/>
                <a:miter/>
              </a:ln>
            </p:spPr>
            <p:txBody>
              <a:bodyPr rtlCol="0" anchor="ctr"/>
              <a:lstStyle/>
              <a:p>
                <a:endParaRPr lang="en-GB"/>
              </a:p>
            </p:txBody>
          </p:sp>
          <p:sp>
            <p:nvSpPr>
              <p:cNvPr id="3005" name="Vrije vorm: vorm 3004">
                <a:extLst>
                  <a:ext uri="{FF2B5EF4-FFF2-40B4-BE49-F238E27FC236}">
                    <a16:creationId xmlns:a16="http://schemas.microsoft.com/office/drawing/2014/main" id="{F3A31A81-25CD-4D63-82D5-82CBE84B2E81}"/>
                  </a:ext>
                </a:extLst>
              </p:cNvPr>
              <p:cNvSpPr/>
              <p:nvPr/>
            </p:nvSpPr>
            <p:spPr>
              <a:xfrm>
                <a:off x="4846571" y="1594473"/>
                <a:ext cx="18393" cy="18390"/>
              </a:xfrm>
              <a:custGeom>
                <a:avLst/>
                <a:gdLst>
                  <a:gd name="connsiteX0" fmla="*/ 1541 w 18393"/>
                  <a:gd name="connsiteY0" fmla="*/ 14262 h 18390"/>
                  <a:gd name="connsiteX1" fmla="*/ 4113 w 18393"/>
                  <a:gd name="connsiteY1" fmla="*/ 1523 h 18390"/>
                  <a:gd name="connsiteX2" fmla="*/ 16852 w 18393"/>
                  <a:gd name="connsiteY2" fmla="*/ 4154 h 18390"/>
                  <a:gd name="connsiteX3" fmla="*/ 14280 w 18393"/>
                  <a:gd name="connsiteY3" fmla="*/ 16893 h 18390"/>
                  <a:gd name="connsiteX4" fmla="*/ 1541 w 1839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3" h="18390">
                    <a:moveTo>
                      <a:pt x="1541" y="14262"/>
                    </a:moveTo>
                    <a:cubicBezTo>
                      <a:pt x="-1269" y="10016"/>
                      <a:pt x="-133" y="4274"/>
                      <a:pt x="4113" y="1523"/>
                    </a:cubicBezTo>
                    <a:cubicBezTo>
                      <a:pt x="8300" y="-1288"/>
                      <a:pt x="14041" y="-92"/>
                      <a:pt x="16852" y="4154"/>
                    </a:cubicBezTo>
                    <a:cubicBezTo>
                      <a:pt x="19663" y="8401"/>
                      <a:pt x="18527" y="14142"/>
                      <a:pt x="14280" y="16893"/>
                    </a:cubicBezTo>
                    <a:cubicBezTo>
                      <a:pt x="10034" y="19645"/>
                      <a:pt x="4352" y="18508"/>
                      <a:pt x="1541" y="14262"/>
                    </a:cubicBezTo>
                    <a:close/>
                  </a:path>
                </a:pathLst>
              </a:custGeom>
              <a:grpFill/>
              <a:ln w="5978" cap="flat">
                <a:noFill/>
                <a:prstDash val="solid"/>
                <a:miter/>
              </a:ln>
            </p:spPr>
            <p:txBody>
              <a:bodyPr rtlCol="0" anchor="ctr"/>
              <a:lstStyle/>
              <a:p>
                <a:endParaRPr lang="en-GB"/>
              </a:p>
            </p:txBody>
          </p:sp>
          <p:sp>
            <p:nvSpPr>
              <p:cNvPr id="3006" name="Vrije vorm: vorm 3005">
                <a:extLst>
                  <a:ext uri="{FF2B5EF4-FFF2-40B4-BE49-F238E27FC236}">
                    <a16:creationId xmlns:a16="http://schemas.microsoft.com/office/drawing/2014/main" id="{73DC0C55-3C6A-48E5-B021-15FD73CD86E6}"/>
                  </a:ext>
                </a:extLst>
              </p:cNvPr>
              <p:cNvSpPr/>
              <p:nvPr/>
            </p:nvSpPr>
            <p:spPr>
              <a:xfrm>
                <a:off x="4936219" y="1730082"/>
                <a:ext cx="18339" cy="18390"/>
              </a:xfrm>
              <a:custGeom>
                <a:avLst/>
                <a:gdLst>
                  <a:gd name="connsiteX0" fmla="*/ 1544 w 18339"/>
                  <a:gd name="connsiteY0" fmla="*/ 14236 h 18390"/>
                  <a:gd name="connsiteX1" fmla="*/ 14283 w 18339"/>
                  <a:gd name="connsiteY1" fmla="*/ 16867 h 18390"/>
                  <a:gd name="connsiteX2" fmla="*/ 16795 w 18339"/>
                  <a:gd name="connsiteY2" fmla="*/ 4128 h 18390"/>
                  <a:gd name="connsiteX3" fmla="*/ 4056 w 18339"/>
                  <a:gd name="connsiteY3" fmla="*/ 1497 h 18390"/>
                  <a:gd name="connsiteX4" fmla="*/ 1544 w 18339"/>
                  <a:gd name="connsiteY4" fmla="*/ 14236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0">
                    <a:moveTo>
                      <a:pt x="1544" y="14236"/>
                    </a:moveTo>
                    <a:cubicBezTo>
                      <a:pt x="4355" y="18482"/>
                      <a:pt x="10037" y="19678"/>
                      <a:pt x="14283" y="16867"/>
                    </a:cubicBezTo>
                    <a:cubicBezTo>
                      <a:pt x="18470" y="14056"/>
                      <a:pt x="19606" y="8374"/>
                      <a:pt x="16795" y="4128"/>
                    </a:cubicBezTo>
                    <a:cubicBezTo>
                      <a:pt x="13984" y="-118"/>
                      <a:pt x="8303" y="-1255"/>
                      <a:pt x="4056" y="1497"/>
                    </a:cubicBezTo>
                    <a:cubicBezTo>
                      <a:pt x="-130" y="4248"/>
                      <a:pt x="-1266" y="9989"/>
                      <a:pt x="1544" y="14236"/>
                    </a:cubicBezTo>
                    <a:close/>
                  </a:path>
                </a:pathLst>
              </a:custGeom>
              <a:grpFill/>
              <a:ln w="5978" cap="flat">
                <a:noFill/>
                <a:prstDash val="solid"/>
                <a:miter/>
              </a:ln>
            </p:spPr>
            <p:txBody>
              <a:bodyPr rtlCol="0" anchor="ctr"/>
              <a:lstStyle/>
              <a:p>
                <a:endParaRPr lang="en-GB"/>
              </a:p>
            </p:txBody>
          </p:sp>
        </p:grpSp>
        <p:grpSp>
          <p:nvGrpSpPr>
            <p:cNvPr id="798" name="Graphic 3">
              <a:extLst>
                <a:ext uri="{FF2B5EF4-FFF2-40B4-BE49-F238E27FC236}">
                  <a16:creationId xmlns:a16="http://schemas.microsoft.com/office/drawing/2014/main" id="{CD5F068B-2964-43BC-885C-06C3FADE5B9E}"/>
                </a:ext>
              </a:extLst>
            </p:cNvPr>
            <p:cNvGrpSpPr/>
            <p:nvPr/>
          </p:nvGrpSpPr>
          <p:grpSpPr>
            <a:xfrm>
              <a:off x="6115242" y="5240402"/>
              <a:ext cx="23217" cy="148453"/>
              <a:chOff x="6115242" y="5240402"/>
              <a:chExt cx="23217" cy="148453"/>
            </a:xfrm>
            <a:grpFill/>
          </p:grpSpPr>
          <p:sp>
            <p:nvSpPr>
              <p:cNvPr id="3001" name="Vrije vorm: vorm 3000">
                <a:extLst>
                  <a:ext uri="{FF2B5EF4-FFF2-40B4-BE49-F238E27FC236}">
                    <a16:creationId xmlns:a16="http://schemas.microsoft.com/office/drawing/2014/main" id="{FE3CF103-8F22-4C18-8B79-44A4A3066298}"/>
                  </a:ext>
                </a:extLst>
              </p:cNvPr>
              <p:cNvSpPr/>
              <p:nvPr/>
            </p:nvSpPr>
            <p:spPr>
              <a:xfrm>
                <a:off x="6122843" y="5249140"/>
                <a:ext cx="7954" cy="131037"/>
              </a:xfrm>
              <a:custGeom>
                <a:avLst/>
                <a:gdLst>
                  <a:gd name="connsiteX0" fmla="*/ 3050 w 7954"/>
                  <a:gd name="connsiteY0" fmla="*/ 0 h 131037"/>
                  <a:gd name="connsiteX1" fmla="*/ 7954 w 7954"/>
                  <a:gd name="connsiteY1" fmla="*/ 130918 h 131037"/>
                  <a:gd name="connsiteX2" fmla="*/ 4904 w 7954"/>
                  <a:gd name="connsiteY2" fmla="*/ 131037 h 131037"/>
                  <a:gd name="connsiteX3" fmla="*/ 0 w 7954"/>
                  <a:gd name="connsiteY3" fmla="*/ 60 h 131037"/>
                </a:gdLst>
                <a:ahLst/>
                <a:cxnLst>
                  <a:cxn ang="0">
                    <a:pos x="connsiteX0" y="connsiteY0"/>
                  </a:cxn>
                  <a:cxn ang="0">
                    <a:pos x="connsiteX1" y="connsiteY1"/>
                  </a:cxn>
                  <a:cxn ang="0">
                    <a:pos x="connsiteX2" y="connsiteY2"/>
                  </a:cxn>
                  <a:cxn ang="0">
                    <a:pos x="connsiteX3" y="connsiteY3"/>
                  </a:cxn>
                </a:cxnLst>
                <a:rect l="l" t="t" r="r" b="b"/>
                <a:pathLst>
                  <a:path w="7954" h="131037">
                    <a:moveTo>
                      <a:pt x="3050" y="0"/>
                    </a:moveTo>
                    <a:lnTo>
                      <a:pt x="7954" y="130918"/>
                    </a:lnTo>
                    <a:lnTo>
                      <a:pt x="4904" y="131037"/>
                    </a:lnTo>
                    <a:lnTo>
                      <a:pt x="0" y="60"/>
                    </a:lnTo>
                    <a:close/>
                  </a:path>
                </a:pathLst>
              </a:custGeom>
              <a:grpFill/>
              <a:ln w="5978" cap="flat">
                <a:noFill/>
                <a:prstDash val="solid"/>
                <a:miter/>
              </a:ln>
            </p:spPr>
            <p:txBody>
              <a:bodyPr rtlCol="0" anchor="ctr"/>
              <a:lstStyle/>
              <a:p>
                <a:endParaRPr lang="en-GB"/>
              </a:p>
            </p:txBody>
          </p:sp>
          <p:sp>
            <p:nvSpPr>
              <p:cNvPr id="3002" name="Vrije vorm: vorm 3001">
                <a:extLst>
                  <a:ext uri="{FF2B5EF4-FFF2-40B4-BE49-F238E27FC236}">
                    <a16:creationId xmlns:a16="http://schemas.microsoft.com/office/drawing/2014/main" id="{BB82F53E-C872-44A7-BCF1-E077D76391AD}"/>
                  </a:ext>
                </a:extLst>
              </p:cNvPr>
              <p:cNvSpPr/>
              <p:nvPr/>
            </p:nvSpPr>
            <p:spPr>
              <a:xfrm>
                <a:off x="6120146" y="5370426"/>
                <a:ext cx="18312" cy="18429"/>
              </a:xfrm>
              <a:custGeom>
                <a:avLst/>
                <a:gdLst>
                  <a:gd name="connsiteX0" fmla="*/ 18307 w 18312"/>
                  <a:gd name="connsiteY0" fmla="*/ 8914 h 18429"/>
                  <a:gd name="connsiteX1" fmla="*/ 9515 w 18312"/>
                  <a:gd name="connsiteY1" fmla="*/ 18423 h 18429"/>
                  <a:gd name="connsiteX2" fmla="*/ 6 w 18312"/>
                  <a:gd name="connsiteY2" fmla="*/ 9512 h 18429"/>
                  <a:gd name="connsiteX3" fmla="*/ 8798 w 18312"/>
                  <a:gd name="connsiteY3" fmla="*/ 3 h 18429"/>
                  <a:gd name="connsiteX4" fmla="*/ 18307 w 18312"/>
                  <a:gd name="connsiteY4" fmla="*/ 891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29">
                    <a:moveTo>
                      <a:pt x="18307" y="8914"/>
                    </a:moveTo>
                    <a:cubicBezTo>
                      <a:pt x="18486" y="13998"/>
                      <a:pt x="14539" y="18244"/>
                      <a:pt x="9515" y="18423"/>
                    </a:cubicBezTo>
                    <a:cubicBezTo>
                      <a:pt x="4432" y="18603"/>
                      <a:pt x="185" y="14596"/>
                      <a:pt x="6" y="9512"/>
                    </a:cubicBezTo>
                    <a:cubicBezTo>
                      <a:pt x="-173" y="4428"/>
                      <a:pt x="3774" y="182"/>
                      <a:pt x="8798" y="3"/>
                    </a:cubicBezTo>
                    <a:cubicBezTo>
                      <a:pt x="13821" y="-117"/>
                      <a:pt x="18128" y="3830"/>
                      <a:pt x="18307" y="8914"/>
                    </a:cubicBezTo>
                    <a:close/>
                  </a:path>
                </a:pathLst>
              </a:custGeom>
              <a:grpFill/>
              <a:ln w="5978" cap="flat">
                <a:noFill/>
                <a:prstDash val="solid"/>
                <a:miter/>
              </a:ln>
            </p:spPr>
            <p:txBody>
              <a:bodyPr rtlCol="0" anchor="ctr"/>
              <a:lstStyle/>
              <a:p>
                <a:endParaRPr lang="en-GB"/>
              </a:p>
            </p:txBody>
          </p:sp>
          <p:sp>
            <p:nvSpPr>
              <p:cNvPr id="3003" name="Vrije vorm: vorm 3002">
                <a:extLst>
                  <a:ext uri="{FF2B5EF4-FFF2-40B4-BE49-F238E27FC236}">
                    <a16:creationId xmlns:a16="http://schemas.microsoft.com/office/drawing/2014/main" id="{9E90C207-AEC6-4CE4-B42B-5CEFD148CBCD}"/>
                  </a:ext>
                </a:extLst>
              </p:cNvPr>
              <p:cNvSpPr/>
              <p:nvPr/>
            </p:nvSpPr>
            <p:spPr>
              <a:xfrm>
                <a:off x="6115242" y="5240402"/>
                <a:ext cx="18312" cy="18432"/>
              </a:xfrm>
              <a:custGeom>
                <a:avLst/>
                <a:gdLst>
                  <a:gd name="connsiteX0" fmla="*/ 18307 w 18312"/>
                  <a:gd name="connsiteY0" fmla="*/ 8917 h 18432"/>
                  <a:gd name="connsiteX1" fmla="*/ 8798 w 18312"/>
                  <a:gd name="connsiteY1" fmla="*/ 6 h 18432"/>
                  <a:gd name="connsiteX2" fmla="*/ 6 w 18312"/>
                  <a:gd name="connsiteY2" fmla="*/ 9515 h 18432"/>
                  <a:gd name="connsiteX3" fmla="*/ 9515 w 18312"/>
                  <a:gd name="connsiteY3" fmla="*/ 18427 h 18432"/>
                  <a:gd name="connsiteX4" fmla="*/ 18307 w 18312"/>
                  <a:gd name="connsiteY4" fmla="*/ 891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18307" y="8917"/>
                    </a:moveTo>
                    <a:cubicBezTo>
                      <a:pt x="18128" y="3834"/>
                      <a:pt x="13881" y="-174"/>
                      <a:pt x="8798" y="6"/>
                    </a:cubicBezTo>
                    <a:cubicBezTo>
                      <a:pt x="3714" y="185"/>
                      <a:pt x="-173" y="4431"/>
                      <a:pt x="6" y="9515"/>
                    </a:cubicBezTo>
                    <a:cubicBezTo>
                      <a:pt x="186" y="14599"/>
                      <a:pt x="4432" y="18606"/>
                      <a:pt x="9515" y="18427"/>
                    </a:cubicBezTo>
                    <a:cubicBezTo>
                      <a:pt x="14539" y="18247"/>
                      <a:pt x="18487" y="14000"/>
                      <a:pt x="18307" y="8917"/>
                    </a:cubicBezTo>
                    <a:close/>
                  </a:path>
                </a:pathLst>
              </a:custGeom>
              <a:grpFill/>
              <a:ln w="5978" cap="flat">
                <a:noFill/>
                <a:prstDash val="solid"/>
                <a:miter/>
              </a:ln>
            </p:spPr>
            <p:txBody>
              <a:bodyPr rtlCol="0" anchor="ctr"/>
              <a:lstStyle/>
              <a:p>
                <a:endParaRPr lang="en-GB"/>
              </a:p>
            </p:txBody>
          </p:sp>
        </p:grpSp>
        <p:grpSp>
          <p:nvGrpSpPr>
            <p:cNvPr id="799" name="Graphic 3">
              <a:extLst>
                <a:ext uri="{FF2B5EF4-FFF2-40B4-BE49-F238E27FC236}">
                  <a16:creationId xmlns:a16="http://schemas.microsoft.com/office/drawing/2014/main" id="{41D4B7F7-E01D-4DDA-922B-2F5C80043469}"/>
                </a:ext>
              </a:extLst>
            </p:cNvPr>
            <p:cNvGrpSpPr/>
            <p:nvPr/>
          </p:nvGrpSpPr>
          <p:grpSpPr>
            <a:xfrm>
              <a:off x="4900430" y="1743726"/>
              <a:ext cx="81902" cy="110750"/>
              <a:chOff x="4900430" y="1743726"/>
              <a:chExt cx="81902" cy="110750"/>
            </a:xfrm>
            <a:grpFill/>
          </p:grpSpPr>
          <p:sp>
            <p:nvSpPr>
              <p:cNvPr id="2998" name="Vrije vorm: vorm 2997">
                <a:extLst>
                  <a:ext uri="{FF2B5EF4-FFF2-40B4-BE49-F238E27FC236}">
                    <a16:creationId xmlns:a16="http://schemas.microsoft.com/office/drawing/2014/main" id="{A4AFF2C7-E3F4-4129-A63F-C768EA8275C3}"/>
                  </a:ext>
                </a:extLst>
              </p:cNvPr>
              <p:cNvSpPr/>
              <p:nvPr/>
            </p:nvSpPr>
            <p:spPr>
              <a:xfrm>
                <a:off x="4908099" y="1751734"/>
                <a:ext cx="66565" cy="94794"/>
              </a:xfrm>
              <a:custGeom>
                <a:avLst/>
                <a:gdLst>
                  <a:gd name="connsiteX0" fmla="*/ 66565 w 66565"/>
                  <a:gd name="connsiteY0" fmla="*/ 93060 h 94794"/>
                  <a:gd name="connsiteX1" fmla="*/ 64053 w 66565"/>
                  <a:gd name="connsiteY1" fmla="*/ 94794 h 94794"/>
                  <a:gd name="connsiteX2" fmla="*/ 0 w 66565"/>
                  <a:gd name="connsiteY2" fmla="*/ 1734 h 94794"/>
                  <a:gd name="connsiteX3" fmla="*/ 2512 w 66565"/>
                  <a:gd name="connsiteY3" fmla="*/ 0 h 94794"/>
                </a:gdLst>
                <a:ahLst/>
                <a:cxnLst>
                  <a:cxn ang="0">
                    <a:pos x="connsiteX0" y="connsiteY0"/>
                  </a:cxn>
                  <a:cxn ang="0">
                    <a:pos x="connsiteX1" y="connsiteY1"/>
                  </a:cxn>
                  <a:cxn ang="0">
                    <a:pos x="connsiteX2" y="connsiteY2"/>
                  </a:cxn>
                  <a:cxn ang="0">
                    <a:pos x="connsiteX3" y="connsiteY3"/>
                  </a:cxn>
                </a:cxnLst>
                <a:rect l="l" t="t" r="r" b="b"/>
                <a:pathLst>
                  <a:path w="66565" h="94794">
                    <a:moveTo>
                      <a:pt x="66565" y="93060"/>
                    </a:moveTo>
                    <a:lnTo>
                      <a:pt x="64053" y="94794"/>
                    </a:lnTo>
                    <a:lnTo>
                      <a:pt x="0" y="1734"/>
                    </a:lnTo>
                    <a:lnTo>
                      <a:pt x="2512" y="0"/>
                    </a:lnTo>
                    <a:close/>
                  </a:path>
                </a:pathLst>
              </a:custGeom>
              <a:grpFill/>
              <a:ln w="5978" cap="flat">
                <a:noFill/>
                <a:prstDash val="solid"/>
                <a:miter/>
              </a:ln>
            </p:spPr>
            <p:txBody>
              <a:bodyPr rtlCol="0" anchor="ctr"/>
              <a:lstStyle/>
              <a:p>
                <a:endParaRPr lang="en-GB"/>
              </a:p>
            </p:txBody>
          </p:sp>
          <p:sp>
            <p:nvSpPr>
              <p:cNvPr id="2999" name="Vrije vorm: vorm 2998">
                <a:extLst>
                  <a:ext uri="{FF2B5EF4-FFF2-40B4-BE49-F238E27FC236}">
                    <a16:creationId xmlns:a16="http://schemas.microsoft.com/office/drawing/2014/main" id="{3DC11B84-4472-4514-A00D-409B911ACE7A}"/>
                  </a:ext>
                </a:extLst>
              </p:cNvPr>
              <p:cNvSpPr/>
              <p:nvPr/>
            </p:nvSpPr>
            <p:spPr>
              <a:xfrm>
                <a:off x="4964005" y="1836068"/>
                <a:ext cx="18327" cy="18408"/>
              </a:xfrm>
              <a:custGeom>
                <a:avLst/>
                <a:gdLst>
                  <a:gd name="connsiteX0" fmla="*/ 16700 w 18327"/>
                  <a:gd name="connsiteY0" fmla="*/ 4001 h 18408"/>
                  <a:gd name="connsiteX1" fmla="*/ 14367 w 18327"/>
                  <a:gd name="connsiteY1" fmla="*/ 16800 h 18408"/>
                  <a:gd name="connsiteX2" fmla="*/ 1628 w 18327"/>
                  <a:gd name="connsiteY2" fmla="*/ 14407 h 18408"/>
                  <a:gd name="connsiteX3" fmla="*/ 3961 w 18327"/>
                  <a:gd name="connsiteY3" fmla="*/ 1609 h 18408"/>
                  <a:gd name="connsiteX4" fmla="*/ 16700 w 18327"/>
                  <a:gd name="connsiteY4" fmla="*/ 400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700" y="4001"/>
                    </a:moveTo>
                    <a:cubicBezTo>
                      <a:pt x="19570" y="8187"/>
                      <a:pt x="18554" y="13929"/>
                      <a:pt x="14367" y="16800"/>
                    </a:cubicBezTo>
                    <a:cubicBezTo>
                      <a:pt x="10180" y="19670"/>
                      <a:pt x="4499" y="18594"/>
                      <a:pt x="1628" y="14407"/>
                    </a:cubicBezTo>
                    <a:cubicBezTo>
                      <a:pt x="-1243" y="10221"/>
                      <a:pt x="-226" y="4479"/>
                      <a:pt x="3961" y="1609"/>
                    </a:cubicBezTo>
                    <a:cubicBezTo>
                      <a:pt x="8087" y="-1262"/>
                      <a:pt x="13769" y="-186"/>
                      <a:pt x="16700" y="4001"/>
                    </a:cubicBezTo>
                    <a:close/>
                  </a:path>
                </a:pathLst>
              </a:custGeom>
              <a:grpFill/>
              <a:ln w="5978" cap="flat">
                <a:noFill/>
                <a:prstDash val="solid"/>
                <a:miter/>
              </a:ln>
            </p:spPr>
            <p:txBody>
              <a:bodyPr rtlCol="0" anchor="ctr"/>
              <a:lstStyle/>
              <a:p>
                <a:endParaRPr lang="en-GB"/>
              </a:p>
            </p:txBody>
          </p:sp>
          <p:sp>
            <p:nvSpPr>
              <p:cNvPr id="3000" name="Vrije vorm: vorm 2999">
                <a:extLst>
                  <a:ext uri="{FF2B5EF4-FFF2-40B4-BE49-F238E27FC236}">
                    <a16:creationId xmlns:a16="http://schemas.microsoft.com/office/drawing/2014/main" id="{9BC5B1FE-0456-48B2-B1EA-64C0219E6A00}"/>
                  </a:ext>
                </a:extLst>
              </p:cNvPr>
              <p:cNvSpPr/>
              <p:nvPr/>
            </p:nvSpPr>
            <p:spPr>
              <a:xfrm>
                <a:off x="4900430" y="1743726"/>
                <a:ext cx="18311" cy="18408"/>
              </a:xfrm>
              <a:custGeom>
                <a:avLst/>
                <a:gdLst>
                  <a:gd name="connsiteX0" fmla="*/ 16700 w 18311"/>
                  <a:gd name="connsiteY0" fmla="*/ 4001 h 18408"/>
                  <a:gd name="connsiteX1" fmla="*/ 3961 w 18311"/>
                  <a:gd name="connsiteY1" fmla="*/ 1609 h 18408"/>
                  <a:gd name="connsiteX2" fmla="*/ 1628 w 18311"/>
                  <a:gd name="connsiteY2" fmla="*/ 14407 h 18408"/>
                  <a:gd name="connsiteX3" fmla="*/ 14367 w 18311"/>
                  <a:gd name="connsiteY3" fmla="*/ 16800 h 18408"/>
                  <a:gd name="connsiteX4" fmla="*/ 16700 w 18311"/>
                  <a:gd name="connsiteY4" fmla="*/ 400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8">
                    <a:moveTo>
                      <a:pt x="16700" y="4001"/>
                    </a:moveTo>
                    <a:cubicBezTo>
                      <a:pt x="13829" y="-186"/>
                      <a:pt x="8087" y="-1262"/>
                      <a:pt x="3961" y="1609"/>
                    </a:cubicBezTo>
                    <a:cubicBezTo>
                      <a:pt x="-226" y="4479"/>
                      <a:pt x="-1243" y="10221"/>
                      <a:pt x="1628" y="14407"/>
                    </a:cubicBezTo>
                    <a:cubicBezTo>
                      <a:pt x="4499" y="18594"/>
                      <a:pt x="10240" y="19670"/>
                      <a:pt x="14367" y="16800"/>
                    </a:cubicBezTo>
                    <a:cubicBezTo>
                      <a:pt x="18494" y="13929"/>
                      <a:pt x="19570" y="8187"/>
                      <a:pt x="16700" y="4001"/>
                    </a:cubicBezTo>
                    <a:close/>
                  </a:path>
                </a:pathLst>
              </a:custGeom>
              <a:grpFill/>
              <a:ln w="5978" cap="flat">
                <a:noFill/>
                <a:prstDash val="solid"/>
                <a:miter/>
              </a:ln>
            </p:spPr>
            <p:txBody>
              <a:bodyPr rtlCol="0" anchor="ctr"/>
              <a:lstStyle/>
              <a:p>
                <a:endParaRPr lang="en-GB"/>
              </a:p>
            </p:txBody>
          </p:sp>
        </p:grpSp>
        <p:grpSp>
          <p:nvGrpSpPr>
            <p:cNvPr id="800" name="Graphic 3">
              <a:extLst>
                <a:ext uri="{FF2B5EF4-FFF2-40B4-BE49-F238E27FC236}">
                  <a16:creationId xmlns:a16="http://schemas.microsoft.com/office/drawing/2014/main" id="{277CB447-10AB-49D8-BA53-B91A46ED1F53}"/>
                </a:ext>
              </a:extLst>
            </p:cNvPr>
            <p:cNvGrpSpPr/>
            <p:nvPr/>
          </p:nvGrpSpPr>
          <p:grpSpPr>
            <a:xfrm>
              <a:off x="4995255" y="1996486"/>
              <a:ext cx="60165" cy="74613"/>
              <a:chOff x="4995255" y="1996486"/>
              <a:chExt cx="60165" cy="74613"/>
            </a:xfrm>
            <a:grpFill/>
          </p:grpSpPr>
          <p:sp>
            <p:nvSpPr>
              <p:cNvPr id="2995" name="Vrije vorm: vorm 2994">
                <a:extLst>
                  <a:ext uri="{FF2B5EF4-FFF2-40B4-BE49-F238E27FC236}">
                    <a16:creationId xmlns:a16="http://schemas.microsoft.com/office/drawing/2014/main" id="{AA3E58F4-91D4-407D-935F-F9B0A7861D2E}"/>
                  </a:ext>
                </a:extLst>
              </p:cNvPr>
              <p:cNvSpPr/>
              <p:nvPr/>
            </p:nvSpPr>
            <p:spPr>
              <a:xfrm>
                <a:off x="5002893" y="2004419"/>
                <a:ext cx="44795" cy="58730"/>
              </a:xfrm>
              <a:custGeom>
                <a:avLst/>
                <a:gdLst>
                  <a:gd name="connsiteX0" fmla="*/ 44796 w 44795"/>
                  <a:gd name="connsiteY0" fmla="*/ 56936 h 58730"/>
                  <a:gd name="connsiteX1" fmla="*/ 42403 w 44795"/>
                  <a:gd name="connsiteY1" fmla="*/ 58731 h 58730"/>
                  <a:gd name="connsiteX2" fmla="*/ 0 w 44795"/>
                  <a:gd name="connsiteY2" fmla="*/ 1854 h 58730"/>
                  <a:gd name="connsiteX3" fmla="*/ 2452 w 44795"/>
                  <a:gd name="connsiteY3" fmla="*/ 0 h 58730"/>
                </a:gdLst>
                <a:ahLst/>
                <a:cxnLst>
                  <a:cxn ang="0">
                    <a:pos x="connsiteX0" y="connsiteY0"/>
                  </a:cxn>
                  <a:cxn ang="0">
                    <a:pos x="connsiteX1" y="connsiteY1"/>
                  </a:cxn>
                  <a:cxn ang="0">
                    <a:pos x="connsiteX2" y="connsiteY2"/>
                  </a:cxn>
                  <a:cxn ang="0">
                    <a:pos x="connsiteX3" y="connsiteY3"/>
                  </a:cxn>
                </a:cxnLst>
                <a:rect l="l" t="t" r="r" b="b"/>
                <a:pathLst>
                  <a:path w="44795" h="58730">
                    <a:moveTo>
                      <a:pt x="44796" y="56936"/>
                    </a:moveTo>
                    <a:lnTo>
                      <a:pt x="42403" y="58731"/>
                    </a:lnTo>
                    <a:lnTo>
                      <a:pt x="0" y="1854"/>
                    </a:lnTo>
                    <a:lnTo>
                      <a:pt x="2452" y="0"/>
                    </a:lnTo>
                    <a:close/>
                  </a:path>
                </a:pathLst>
              </a:custGeom>
              <a:grpFill/>
              <a:ln w="5978" cap="flat">
                <a:noFill/>
                <a:prstDash val="solid"/>
                <a:miter/>
              </a:ln>
            </p:spPr>
            <p:txBody>
              <a:bodyPr rtlCol="0" anchor="ctr"/>
              <a:lstStyle/>
              <a:p>
                <a:endParaRPr lang="en-GB"/>
              </a:p>
            </p:txBody>
          </p:sp>
          <p:sp>
            <p:nvSpPr>
              <p:cNvPr id="2996" name="Vrije vorm: vorm 2995">
                <a:extLst>
                  <a:ext uri="{FF2B5EF4-FFF2-40B4-BE49-F238E27FC236}">
                    <a16:creationId xmlns:a16="http://schemas.microsoft.com/office/drawing/2014/main" id="{E08F766B-0B41-48E7-9396-F481D872D9B1}"/>
                  </a:ext>
                </a:extLst>
              </p:cNvPr>
              <p:cNvSpPr/>
              <p:nvPr/>
            </p:nvSpPr>
            <p:spPr>
              <a:xfrm>
                <a:off x="4995255" y="1996486"/>
                <a:ext cx="18385" cy="18454"/>
              </a:xfrm>
              <a:custGeom>
                <a:avLst/>
                <a:gdLst>
                  <a:gd name="connsiteX0" fmla="*/ 1837 w 18385"/>
                  <a:gd name="connsiteY0" fmla="*/ 14751 h 18454"/>
                  <a:gd name="connsiteX1" fmla="*/ 3691 w 18385"/>
                  <a:gd name="connsiteY1" fmla="*/ 1833 h 18454"/>
                  <a:gd name="connsiteX2" fmla="*/ 16549 w 18385"/>
                  <a:gd name="connsiteY2" fmla="*/ 3747 h 18454"/>
                  <a:gd name="connsiteX3" fmla="*/ 14695 w 18385"/>
                  <a:gd name="connsiteY3" fmla="*/ 16665 h 18454"/>
                  <a:gd name="connsiteX4" fmla="*/ 1837 w 18385"/>
                  <a:gd name="connsiteY4" fmla="*/ 1475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5" h="18454">
                    <a:moveTo>
                      <a:pt x="1837" y="14751"/>
                    </a:moveTo>
                    <a:cubicBezTo>
                      <a:pt x="-1213" y="10684"/>
                      <a:pt x="-376" y="4883"/>
                      <a:pt x="3691" y="1833"/>
                    </a:cubicBezTo>
                    <a:cubicBezTo>
                      <a:pt x="7758" y="-1217"/>
                      <a:pt x="13499" y="-380"/>
                      <a:pt x="16549" y="3747"/>
                    </a:cubicBezTo>
                    <a:cubicBezTo>
                      <a:pt x="19599" y="7813"/>
                      <a:pt x="18762" y="13615"/>
                      <a:pt x="14695" y="16665"/>
                    </a:cubicBezTo>
                    <a:cubicBezTo>
                      <a:pt x="10568" y="19655"/>
                      <a:pt x="4827" y="18818"/>
                      <a:pt x="1837" y="14751"/>
                    </a:cubicBezTo>
                    <a:close/>
                  </a:path>
                </a:pathLst>
              </a:custGeom>
              <a:grpFill/>
              <a:ln w="5978" cap="flat">
                <a:noFill/>
                <a:prstDash val="solid"/>
                <a:miter/>
              </a:ln>
            </p:spPr>
            <p:txBody>
              <a:bodyPr rtlCol="0" anchor="ctr"/>
              <a:lstStyle/>
              <a:p>
                <a:endParaRPr lang="en-GB"/>
              </a:p>
            </p:txBody>
          </p:sp>
          <p:sp>
            <p:nvSpPr>
              <p:cNvPr id="2997" name="Vrije vorm: vorm 2996">
                <a:extLst>
                  <a:ext uri="{FF2B5EF4-FFF2-40B4-BE49-F238E27FC236}">
                    <a16:creationId xmlns:a16="http://schemas.microsoft.com/office/drawing/2014/main" id="{AC418553-2C15-438B-93C3-EC4C67F5D090}"/>
                  </a:ext>
                </a:extLst>
              </p:cNvPr>
              <p:cNvSpPr/>
              <p:nvPr/>
            </p:nvSpPr>
            <p:spPr>
              <a:xfrm>
                <a:off x="5037061" y="2052688"/>
                <a:ext cx="18360" cy="18411"/>
              </a:xfrm>
              <a:custGeom>
                <a:avLst/>
                <a:gdLst>
                  <a:gd name="connsiteX0" fmla="*/ 1837 w 18360"/>
                  <a:gd name="connsiteY0" fmla="*/ 14708 h 18411"/>
                  <a:gd name="connsiteX1" fmla="*/ 14695 w 18360"/>
                  <a:gd name="connsiteY1" fmla="*/ 16622 h 18411"/>
                  <a:gd name="connsiteX2" fmla="*/ 16549 w 18360"/>
                  <a:gd name="connsiteY2" fmla="*/ 3703 h 18411"/>
                  <a:gd name="connsiteX3" fmla="*/ 3691 w 18360"/>
                  <a:gd name="connsiteY3" fmla="*/ 1790 h 18411"/>
                  <a:gd name="connsiteX4" fmla="*/ 1837 w 18360"/>
                  <a:gd name="connsiteY4" fmla="*/ 1470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1">
                    <a:moveTo>
                      <a:pt x="1837" y="14708"/>
                    </a:moveTo>
                    <a:cubicBezTo>
                      <a:pt x="4887" y="18775"/>
                      <a:pt x="10628" y="19612"/>
                      <a:pt x="14695" y="16622"/>
                    </a:cubicBezTo>
                    <a:cubicBezTo>
                      <a:pt x="18762" y="13631"/>
                      <a:pt x="19540" y="7830"/>
                      <a:pt x="16549" y="3703"/>
                    </a:cubicBezTo>
                    <a:cubicBezTo>
                      <a:pt x="13499" y="-364"/>
                      <a:pt x="7758" y="-1201"/>
                      <a:pt x="3691" y="1790"/>
                    </a:cubicBezTo>
                    <a:cubicBezTo>
                      <a:pt x="-376" y="4840"/>
                      <a:pt x="-1213" y="10641"/>
                      <a:pt x="1837" y="14708"/>
                    </a:cubicBezTo>
                    <a:close/>
                  </a:path>
                </a:pathLst>
              </a:custGeom>
              <a:grpFill/>
              <a:ln w="5978" cap="flat">
                <a:noFill/>
                <a:prstDash val="solid"/>
                <a:miter/>
              </a:ln>
            </p:spPr>
            <p:txBody>
              <a:bodyPr rtlCol="0" anchor="ctr"/>
              <a:lstStyle/>
              <a:p>
                <a:endParaRPr lang="en-GB"/>
              </a:p>
            </p:txBody>
          </p:sp>
        </p:grpSp>
        <p:grpSp>
          <p:nvGrpSpPr>
            <p:cNvPr id="801" name="Graphic 3">
              <a:extLst>
                <a:ext uri="{FF2B5EF4-FFF2-40B4-BE49-F238E27FC236}">
                  <a16:creationId xmlns:a16="http://schemas.microsoft.com/office/drawing/2014/main" id="{03D9421C-8EB4-4E8C-9592-D853C01D8B45}"/>
                </a:ext>
              </a:extLst>
            </p:cNvPr>
            <p:cNvGrpSpPr/>
            <p:nvPr/>
          </p:nvGrpSpPr>
          <p:grpSpPr>
            <a:xfrm>
              <a:off x="6119010" y="5341656"/>
              <a:ext cx="19449" cy="47259"/>
              <a:chOff x="6119010" y="5341656"/>
              <a:chExt cx="19449" cy="47259"/>
            </a:xfrm>
            <a:grpFill/>
          </p:grpSpPr>
          <p:sp>
            <p:nvSpPr>
              <p:cNvPr id="2992" name="Vrije vorm: vorm 2991">
                <a:extLst>
                  <a:ext uri="{FF2B5EF4-FFF2-40B4-BE49-F238E27FC236}">
                    <a16:creationId xmlns:a16="http://schemas.microsoft.com/office/drawing/2014/main" id="{6151FD1B-2F76-403F-95E4-B64B62CB9212}"/>
                  </a:ext>
                </a:extLst>
              </p:cNvPr>
              <p:cNvSpPr/>
              <p:nvPr/>
            </p:nvSpPr>
            <p:spPr>
              <a:xfrm>
                <a:off x="6126671" y="5350334"/>
                <a:ext cx="4126" cy="29843"/>
              </a:xfrm>
              <a:custGeom>
                <a:avLst/>
                <a:gdLst>
                  <a:gd name="connsiteX0" fmla="*/ 3050 w 4126"/>
                  <a:gd name="connsiteY0" fmla="*/ 0 h 29843"/>
                  <a:gd name="connsiteX1" fmla="*/ 4127 w 4126"/>
                  <a:gd name="connsiteY1" fmla="*/ 29724 h 29843"/>
                  <a:gd name="connsiteX2" fmla="*/ 1076 w 4126"/>
                  <a:gd name="connsiteY2" fmla="*/ 29844 h 29843"/>
                  <a:gd name="connsiteX3" fmla="*/ 0 w 4126"/>
                  <a:gd name="connsiteY3" fmla="*/ 119 h 29843"/>
                </a:gdLst>
                <a:ahLst/>
                <a:cxnLst>
                  <a:cxn ang="0">
                    <a:pos x="connsiteX0" y="connsiteY0"/>
                  </a:cxn>
                  <a:cxn ang="0">
                    <a:pos x="connsiteX1" y="connsiteY1"/>
                  </a:cxn>
                  <a:cxn ang="0">
                    <a:pos x="connsiteX2" y="connsiteY2"/>
                  </a:cxn>
                  <a:cxn ang="0">
                    <a:pos x="connsiteX3" y="connsiteY3"/>
                  </a:cxn>
                </a:cxnLst>
                <a:rect l="l" t="t" r="r" b="b"/>
                <a:pathLst>
                  <a:path w="4126" h="29843">
                    <a:moveTo>
                      <a:pt x="3050" y="0"/>
                    </a:moveTo>
                    <a:lnTo>
                      <a:pt x="4127" y="29724"/>
                    </a:lnTo>
                    <a:lnTo>
                      <a:pt x="1076" y="29844"/>
                    </a:lnTo>
                    <a:lnTo>
                      <a:pt x="0" y="119"/>
                    </a:lnTo>
                    <a:close/>
                  </a:path>
                </a:pathLst>
              </a:custGeom>
              <a:grpFill/>
              <a:ln w="5978" cap="flat">
                <a:noFill/>
                <a:prstDash val="solid"/>
                <a:miter/>
              </a:ln>
            </p:spPr>
            <p:txBody>
              <a:bodyPr rtlCol="0" anchor="ctr"/>
              <a:lstStyle/>
              <a:p>
                <a:endParaRPr lang="en-GB"/>
              </a:p>
            </p:txBody>
          </p:sp>
          <p:sp>
            <p:nvSpPr>
              <p:cNvPr id="2993" name="Vrije vorm: vorm 2992">
                <a:extLst>
                  <a:ext uri="{FF2B5EF4-FFF2-40B4-BE49-F238E27FC236}">
                    <a16:creationId xmlns:a16="http://schemas.microsoft.com/office/drawing/2014/main" id="{B6A28F77-C6F0-42A9-A75A-0D2650271ED0}"/>
                  </a:ext>
                </a:extLst>
              </p:cNvPr>
              <p:cNvSpPr/>
              <p:nvPr/>
            </p:nvSpPr>
            <p:spPr>
              <a:xfrm>
                <a:off x="6119010" y="5341656"/>
                <a:ext cx="18312" cy="18432"/>
              </a:xfrm>
              <a:custGeom>
                <a:avLst/>
                <a:gdLst>
                  <a:gd name="connsiteX0" fmla="*/ 6 w 18312"/>
                  <a:gd name="connsiteY0" fmla="*/ 9515 h 18432"/>
                  <a:gd name="connsiteX1" fmla="*/ 8798 w 18312"/>
                  <a:gd name="connsiteY1" fmla="*/ 6 h 18432"/>
                  <a:gd name="connsiteX2" fmla="*/ 18307 w 18312"/>
                  <a:gd name="connsiteY2" fmla="*/ 8917 h 18432"/>
                  <a:gd name="connsiteX3" fmla="*/ 9515 w 18312"/>
                  <a:gd name="connsiteY3" fmla="*/ 18427 h 18432"/>
                  <a:gd name="connsiteX4" fmla="*/ 6 w 18312"/>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32">
                    <a:moveTo>
                      <a:pt x="6" y="9515"/>
                    </a:moveTo>
                    <a:cubicBezTo>
                      <a:pt x="-173" y="4431"/>
                      <a:pt x="3774" y="185"/>
                      <a:pt x="8798" y="6"/>
                    </a:cubicBezTo>
                    <a:cubicBezTo>
                      <a:pt x="13881" y="-174"/>
                      <a:pt x="18128" y="3834"/>
                      <a:pt x="18307" y="8917"/>
                    </a:cubicBezTo>
                    <a:cubicBezTo>
                      <a:pt x="18486" y="14001"/>
                      <a:pt x="14539" y="18247"/>
                      <a:pt x="9515" y="18427"/>
                    </a:cubicBezTo>
                    <a:cubicBezTo>
                      <a:pt x="4491" y="18606"/>
                      <a:pt x="245" y="14599"/>
                      <a:pt x="6" y="9515"/>
                    </a:cubicBezTo>
                    <a:close/>
                  </a:path>
                </a:pathLst>
              </a:custGeom>
              <a:grpFill/>
              <a:ln w="5978" cap="flat">
                <a:noFill/>
                <a:prstDash val="solid"/>
                <a:miter/>
              </a:ln>
            </p:spPr>
            <p:txBody>
              <a:bodyPr rtlCol="0" anchor="ctr"/>
              <a:lstStyle/>
              <a:p>
                <a:endParaRPr lang="en-GB"/>
              </a:p>
            </p:txBody>
          </p:sp>
          <p:sp>
            <p:nvSpPr>
              <p:cNvPr id="2994" name="Vrije vorm: vorm 2993">
                <a:extLst>
                  <a:ext uri="{FF2B5EF4-FFF2-40B4-BE49-F238E27FC236}">
                    <a16:creationId xmlns:a16="http://schemas.microsoft.com/office/drawing/2014/main" id="{DCB96F78-30DC-46A4-8EBF-A5624EB4B54E}"/>
                  </a:ext>
                </a:extLst>
              </p:cNvPr>
              <p:cNvSpPr/>
              <p:nvPr/>
            </p:nvSpPr>
            <p:spPr>
              <a:xfrm>
                <a:off x="6120142" y="5370483"/>
                <a:ext cx="18317" cy="18432"/>
              </a:xfrm>
              <a:custGeom>
                <a:avLst/>
                <a:gdLst>
                  <a:gd name="connsiteX0" fmla="*/ 10 w 18317"/>
                  <a:gd name="connsiteY0" fmla="*/ 9515 h 18432"/>
                  <a:gd name="connsiteX1" fmla="*/ 9520 w 18317"/>
                  <a:gd name="connsiteY1" fmla="*/ 18427 h 18432"/>
                  <a:gd name="connsiteX2" fmla="*/ 18311 w 18317"/>
                  <a:gd name="connsiteY2" fmla="*/ 8917 h 18432"/>
                  <a:gd name="connsiteX3" fmla="*/ 8802 w 18317"/>
                  <a:gd name="connsiteY3" fmla="*/ 6 h 18432"/>
                  <a:gd name="connsiteX4" fmla="*/ 10 w 18317"/>
                  <a:gd name="connsiteY4" fmla="*/ 951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32">
                    <a:moveTo>
                      <a:pt x="10" y="9515"/>
                    </a:moveTo>
                    <a:cubicBezTo>
                      <a:pt x="190" y="14599"/>
                      <a:pt x="4436" y="18606"/>
                      <a:pt x="9520" y="18427"/>
                    </a:cubicBezTo>
                    <a:cubicBezTo>
                      <a:pt x="14603" y="18247"/>
                      <a:pt x="18491" y="14000"/>
                      <a:pt x="18311" y="8917"/>
                    </a:cubicBezTo>
                    <a:cubicBezTo>
                      <a:pt x="18132" y="3834"/>
                      <a:pt x="13886" y="-174"/>
                      <a:pt x="8802" y="6"/>
                    </a:cubicBezTo>
                    <a:cubicBezTo>
                      <a:pt x="3718" y="185"/>
                      <a:pt x="-229" y="4431"/>
                      <a:pt x="10" y="9515"/>
                    </a:cubicBezTo>
                    <a:close/>
                  </a:path>
                </a:pathLst>
              </a:custGeom>
              <a:grpFill/>
              <a:ln w="5978" cap="flat">
                <a:noFill/>
                <a:prstDash val="solid"/>
                <a:miter/>
              </a:ln>
            </p:spPr>
            <p:txBody>
              <a:bodyPr rtlCol="0" anchor="ctr"/>
              <a:lstStyle/>
              <a:p>
                <a:endParaRPr lang="en-GB"/>
              </a:p>
            </p:txBody>
          </p:sp>
        </p:grpSp>
        <p:grpSp>
          <p:nvGrpSpPr>
            <p:cNvPr id="802" name="Graphic 3">
              <a:extLst>
                <a:ext uri="{FF2B5EF4-FFF2-40B4-BE49-F238E27FC236}">
                  <a16:creationId xmlns:a16="http://schemas.microsoft.com/office/drawing/2014/main" id="{21FD6A91-D270-40A7-A259-CACF83BEF225}"/>
                </a:ext>
              </a:extLst>
            </p:cNvPr>
            <p:cNvGrpSpPr/>
            <p:nvPr/>
          </p:nvGrpSpPr>
          <p:grpSpPr>
            <a:xfrm>
              <a:off x="6086165" y="5096077"/>
              <a:ext cx="40947" cy="384240"/>
              <a:chOff x="6086165" y="5096077"/>
              <a:chExt cx="40947" cy="384240"/>
            </a:xfrm>
            <a:grpFill/>
          </p:grpSpPr>
          <p:sp>
            <p:nvSpPr>
              <p:cNvPr id="2989" name="Vrije vorm: vorm 2988">
                <a:extLst>
                  <a:ext uri="{FF2B5EF4-FFF2-40B4-BE49-F238E27FC236}">
                    <a16:creationId xmlns:a16="http://schemas.microsoft.com/office/drawing/2014/main" id="{3325451A-CDD0-4704-BC83-F184B6167B47}"/>
                  </a:ext>
                </a:extLst>
              </p:cNvPr>
              <p:cNvSpPr/>
              <p:nvPr/>
            </p:nvSpPr>
            <p:spPr>
              <a:xfrm>
                <a:off x="6093837" y="5104765"/>
                <a:ext cx="25717" cy="366917"/>
              </a:xfrm>
              <a:custGeom>
                <a:avLst/>
                <a:gdLst>
                  <a:gd name="connsiteX0" fmla="*/ 25717 w 25717"/>
                  <a:gd name="connsiteY0" fmla="*/ 179 h 366917"/>
                  <a:gd name="connsiteX1" fmla="*/ 2990 w 25717"/>
                  <a:gd name="connsiteY1" fmla="*/ 366917 h 366917"/>
                  <a:gd name="connsiteX2" fmla="*/ 0 w 25717"/>
                  <a:gd name="connsiteY2" fmla="*/ 366738 h 366917"/>
                  <a:gd name="connsiteX3" fmla="*/ 22667 w 25717"/>
                  <a:gd name="connsiteY3" fmla="*/ 0 h 366917"/>
                </a:gdLst>
                <a:ahLst/>
                <a:cxnLst>
                  <a:cxn ang="0">
                    <a:pos x="connsiteX0" y="connsiteY0"/>
                  </a:cxn>
                  <a:cxn ang="0">
                    <a:pos x="connsiteX1" y="connsiteY1"/>
                  </a:cxn>
                  <a:cxn ang="0">
                    <a:pos x="connsiteX2" y="connsiteY2"/>
                  </a:cxn>
                  <a:cxn ang="0">
                    <a:pos x="connsiteX3" y="connsiteY3"/>
                  </a:cxn>
                </a:cxnLst>
                <a:rect l="l" t="t" r="r" b="b"/>
                <a:pathLst>
                  <a:path w="25717" h="366917">
                    <a:moveTo>
                      <a:pt x="25717" y="179"/>
                    </a:moveTo>
                    <a:lnTo>
                      <a:pt x="2990" y="366917"/>
                    </a:lnTo>
                    <a:lnTo>
                      <a:pt x="0" y="366738"/>
                    </a:lnTo>
                    <a:lnTo>
                      <a:pt x="22667" y="0"/>
                    </a:lnTo>
                    <a:close/>
                  </a:path>
                </a:pathLst>
              </a:custGeom>
              <a:grpFill/>
              <a:ln w="5978" cap="flat">
                <a:noFill/>
                <a:prstDash val="solid"/>
                <a:miter/>
              </a:ln>
            </p:spPr>
            <p:txBody>
              <a:bodyPr rtlCol="0" anchor="ctr"/>
              <a:lstStyle/>
              <a:p>
                <a:endParaRPr lang="en-GB"/>
              </a:p>
            </p:txBody>
          </p:sp>
          <p:sp>
            <p:nvSpPr>
              <p:cNvPr id="2990" name="Vrije vorm: vorm 2989">
                <a:extLst>
                  <a:ext uri="{FF2B5EF4-FFF2-40B4-BE49-F238E27FC236}">
                    <a16:creationId xmlns:a16="http://schemas.microsoft.com/office/drawing/2014/main" id="{7315552E-36C5-4C9C-A6B5-F6D2C2940A0D}"/>
                  </a:ext>
                </a:extLst>
              </p:cNvPr>
              <p:cNvSpPr/>
              <p:nvPr/>
            </p:nvSpPr>
            <p:spPr>
              <a:xfrm>
                <a:off x="6108832" y="5096077"/>
                <a:ext cx="18280" cy="18453"/>
              </a:xfrm>
              <a:custGeom>
                <a:avLst/>
                <a:gdLst>
                  <a:gd name="connsiteX0" fmla="*/ 16 w 18280"/>
                  <a:gd name="connsiteY0" fmla="*/ 8629 h 18453"/>
                  <a:gd name="connsiteX1" fmla="*/ 9705 w 18280"/>
                  <a:gd name="connsiteY1" fmla="*/ 16 h 18453"/>
                  <a:gd name="connsiteX2" fmla="*/ 18258 w 18280"/>
                  <a:gd name="connsiteY2" fmla="*/ 9825 h 18453"/>
                  <a:gd name="connsiteX3" fmla="*/ 8569 w 18280"/>
                  <a:gd name="connsiteY3" fmla="*/ 18437 h 18453"/>
                  <a:gd name="connsiteX4" fmla="*/ 16 w 18280"/>
                  <a:gd name="connsiteY4" fmla="*/ 8629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53">
                    <a:moveTo>
                      <a:pt x="16" y="8629"/>
                    </a:moveTo>
                    <a:cubicBezTo>
                      <a:pt x="316" y="3545"/>
                      <a:pt x="4682" y="-283"/>
                      <a:pt x="9705" y="16"/>
                    </a:cubicBezTo>
                    <a:cubicBezTo>
                      <a:pt x="14729" y="375"/>
                      <a:pt x="18617" y="4741"/>
                      <a:pt x="18258" y="9825"/>
                    </a:cubicBezTo>
                    <a:cubicBezTo>
                      <a:pt x="17959" y="14908"/>
                      <a:pt x="13593" y="18736"/>
                      <a:pt x="8569" y="18437"/>
                    </a:cubicBezTo>
                    <a:cubicBezTo>
                      <a:pt x="3545" y="18078"/>
                      <a:pt x="-283" y="13712"/>
                      <a:pt x="16" y="8629"/>
                    </a:cubicBezTo>
                    <a:close/>
                  </a:path>
                </a:pathLst>
              </a:custGeom>
              <a:grpFill/>
              <a:ln w="5978" cap="flat">
                <a:noFill/>
                <a:prstDash val="solid"/>
                <a:miter/>
              </a:ln>
            </p:spPr>
            <p:txBody>
              <a:bodyPr rtlCol="0" anchor="ctr"/>
              <a:lstStyle/>
              <a:p>
                <a:endParaRPr lang="en-GB"/>
              </a:p>
            </p:txBody>
          </p:sp>
          <p:sp>
            <p:nvSpPr>
              <p:cNvPr id="2991" name="Vrije vorm: vorm 2990">
                <a:extLst>
                  <a:ext uri="{FF2B5EF4-FFF2-40B4-BE49-F238E27FC236}">
                    <a16:creationId xmlns:a16="http://schemas.microsoft.com/office/drawing/2014/main" id="{912A550C-CE88-4361-AD56-CD2AE41995F3}"/>
                  </a:ext>
                </a:extLst>
              </p:cNvPr>
              <p:cNvSpPr/>
              <p:nvPr/>
            </p:nvSpPr>
            <p:spPr>
              <a:xfrm>
                <a:off x="6086165" y="5461858"/>
                <a:ext cx="18273" cy="18459"/>
              </a:xfrm>
              <a:custGeom>
                <a:avLst/>
                <a:gdLst>
                  <a:gd name="connsiteX0" fmla="*/ 16 w 18273"/>
                  <a:gd name="connsiteY0" fmla="*/ 8628 h 18459"/>
                  <a:gd name="connsiteX1" fmla="*/ 8569 w 18273"/>
                  <a:gd name="connsiteY1" fmla="*/ 18437 h 18459"/>
                  <a:gd name="connsiteX2" fmla="*/ 18258 w 18273"/>
                  <a:gd name="connsiteY2" fmla="*/ 9825 h 18459"/>
                  <a:gd name="connsiteX3" fmla="*/ 9705 w 18273"/>
                  <a:gd name="connsiteY3" fmla="*/ 16 h 18459"/>
                  <a:gd name="connsiteX4" fmla="*/ 16 w 18273"/>
                  <a:gd name="connsiteY4" fmla="*/ 8628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459">
                    <a:moveTo>
                      <a:pt x="16" y="8628"/>
                    </a:moveTo>
                    <a:cubicBezTo>
                      <a:pt x="-283" y="13712"/>
                      <a:pt x="3545" y="18078"/>
                      <a:pt x="8569" y="18437"/>
                    </a:cubicBezTo>
                    <a:cubicBezTo>
                      <a:pt x="13593" y="18796"/>
                      <a:pt x="17959" y="14908"/>
                      <a:pt x="18258" y="9825"/>
                    </a:cubicBezTo>
                    <a:cubicBezTo>
                      <a:pt x="18557" y="4741"/>
                      <a:pt x="14729" y="375"/>
                      <a:pt x="9705" y="16"/>
                    </a:cubicBezTo>
                    <a:cubicBezTo>
                      <a:pt x="4682" y="-283"/>
                      <a:pt x="375" y="3605"/>
                      <a:pt x="16" y="8628"/>
                    </a:cubicBezTo>
                    <a:close/>
                  </a:path>
                </a:pathLst>
              </a:custGeom>
              <a:grpFill/>
              <a:ln w="5978" cap="flat">
                <a:noFill/>
                <a:prstDash val="solid"/>
                <a:miter/>
              </a:ln>
            </p:spPr>
            <p:txBody>
              <a:bodyPr rtlCol="0" anchor="ctr"/>
              <a:lstStyle/>
              <a:p>
                <a:endParaRPr lang="en-GB"/>
              </a:p>
            </p:txBody>
          </p:sp>
        </p:grpSp>
        <p:grpSp>
          <p:nvGrpSpPr>
            <p:cNvPr id="803" name="Graphic 3">
              <a:extLst>
                <a:ext uri="{FF2B5EF4-FFF2-40B4-BE49-F238E27FC236}">
                  <a16:creationId xmlns:a16="http://schemas.microsoft.com/office/drawing/2014/main" id="{7ED1836C-D7E3-4C25-A6C4-49D6AA1BFAE9}"/>
                </a:ext>
              </a:extLst>
            </p:cNvPr>
            <p:cNvGrpSpPr/>
            <p:nvPr/>
          </p:nvGrpSpPr>
          <p:grpSpPr>
            <a:xfrm>
              <a:off x="6203393" y="5093212"/>
              <a:ext cx="75497" cy="1191320"/>
              <a:chOff x="6203393" y="5093212"/>
              <a:chExt cx="75497" cy="1191320"/>
            </a:xfrm>
            <a:grpFill/>
          </p:grpSpPr>
          <p:sp>
            <p:nvSpPr>
              <p:cNvPr id="2986" name="Vrije vorm: vorm 2985">
                <a:extLst>
                  <a:ext uri="{FF2B5EF4-FFF2-40B4-BE49-F238E27FC236}">
                    <a16:creationId xmlns:a16="http://schemas.microsoft.com/office/drawing/2014/main" id="{1DB73ED8-1D60-4775-98EF-F817CB013B56}"/>
                  </a:ext>
                </a:extLst>
              </p:cNvPr>
              <p:cNvSpPr/>
              <p:nvPr/>
            </p:nvSpPr>
            <p:spPr>
              <a:xfrm>
                <a:off x="6210999" y="5101894"/>
                <a:ext cx="60225" cy="1173955"/>
              </a:xfrm>
              <a:custGeom>
                <a:avLst/>
                <a:gdLst>
                  <a:gd name="connsiteX0" fmla="*/ 3050 w 60225"/>
                  <a:gd name="connsiteY0" fmla="*/ 0 h 1173955"/>
                  <a:gd name="connsiteX1" fmla="*/ 60226 w 60225"/>
                  <a:gd name="connsiteY1" fmla="*/ 1173836 h 1173955"/>
                  <a:gd name="connsiteX2" fmla="*/ 57176 w 60225"/>
                  <a:gd name="connsiteY2" fmla="*/ 1173956 h 1173955"/>
                  <a:gd name="connsiteX3" fmla="*/ 0 w 60225"/>
                  <a:gd name="connsiteY3" fmla="*/ 120 h 1173955"/>
                </a:gdLst>
                <a:ahLst/>
                <a:cxnLst>
                  <a:cxn ang="0">
                    <a:pos x="connsiteX0" y="connsiteY0"/>
                  </a:cxn>
                  <a:cxn ang="0">
                    <a:pos x="connsiteX1" y="connsiteY1"/>
                  </a:cxn>
                  <a:cxn ang="0">
                    <a:pos x="connsiteX2" y="connsiteY2"/>
                  </a:cxn>
                  <a:cxn ang="0">
                    <a:pos x="connsiteX3" y="connsiteY3"/>
                  </a:cxn>
                </a:cxnLst>
                <a:rect l="l" t="t" r="r" b="b"/>
                <a:pathLst>
                  <a:path w="60225" h="1173955">
                    <a:moveTo>
                      <a:pt x="3050" y="0"/>
                    </a:moveTo>
                    <a:lnTo>
                      <a:pt x="60226" y="1173836"/>
                    </a:lnTo>
                    <a:lnTo>
                      <a:pt x="57176" y="1173956"/>
                    </a:lnTo>
                    <a:lnTo>
                      <a:pt x="0" y="120"/>
                    </a:lnTo>
                    <a:close/>
                  </a:path>
                </a:pathLst>
              </a:custGeom>
              <a:grpFill/>
              <a:ln w="5978" cap="flat">
                <a:noFill/>
                <a:prstDash val="solid"/>
                <a:miter/>
              </a:ln>
            </p:spPr>
            <p:txBody>
              <a:bodyPr rtlCol="0" anchor="ctr"/>
              <a:lstStyle/>
              <a:p>
                <a:endParaRPr lang="en-GB"/>
              </a:p>
            </p:txBody>
          </p:sp>
          <p:sp>
            <p:nvSpPr>
              <p:cNvPr id="2987" name="Vrije vorm: vorm 2986">
                <a:extLst>
                  <a:ext uri="{FF2B5EF4-FFF2-40B4-BE49-F238E27FC236}">
                    <a16:creationId xmlns:a16="http://schemas.microsoft.com/office/drawing/2014/main" id="{E29F2538-81DA-4504-8D86-18B1C140362D}"/>
                  </a:ext>
                </a:extLst>
              </p:cNvPr>
              <p:cNvSpPr/>
              <p:nvPr/>
            </p:nvSpPr>
            <p:spPr>
              <a:xfrm>
                <a:off x="6203393" y="5093212"/>
                <a:ext cx="18381" cy="18441"/>
              </a:xfrm>
              <a:custGeom>
                <a:avLst/>
                <a:gdLst>
                  <a:gd name="connsiteX0" fmla="*/ 10 w 18381"/>
                  <a:gd name="connsiteY0" fmla="*/ 9639 h 18441"/>
                  <a:gd name="connsiteX1" fmla="*/ 8742 w 18381"/>
                  <a:gd name="connsiteY1" fmla="*/ 10 h 18441"/>
                  <a:gd name="connsiteX2" fmla="*/ 18371 w 18381"/>
                  <a:gd name="connsiteY2" fmla="*/ 8802 h 18441"/>
                  <a:gd name="connsiteX3" fmla="*/ 9639 w 18381"/>
                  <a:gd name="connsiteY3" fmla="*/ 18431 h 18441"/>
                  <a:gd name="connsiteX4" fmla="*/ 10 w 1838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1">
                    <a:moveTo>
                      <a:pt x="10" y="9639"/>
                    </a:moveTo>
                    <a:cubicBezTo>
                      <a:pt x="-229" y="4555"/>
                      <a:pt x="3659" y="249"/>
                      <a:pt x="8742" y="10"/>
                    </a:cubicBezTo>
                    <a:cubicBezTo>
                      <a:pt x="13826" y="-229"/>
                      <a:pt x="18072" y="3718"/>
                      <a:pt x="18371" y="8802"/>
                    </a:cubicBezTo>
                    <a:cubicBezTo>
                      <a:pt x="18610" y="13886"/>
                      <a:pt x="14723" y="18192"/>
                      <a:pt x="9639" y="18431"/>
                    </a:cubicBezTo>
                    <a:cubicBezTo>
                      <a:pt x="4556" y="18670"/>
                      <a:pt x="250" y="14723"/>
                      <a:pt x="10" y="9639"/>
                    </a:cubicBezTo>
                    <a:close/>
                  </a:path>
                </a:pathLst>
              </a:custGeom>
              <a:grpFill/>
              <a:ln w="5978" cap="flat">
                <a:noFill/>
                <a:prstDash val="solid"/>
                <a:miter/>
              </a:ln>
            </p:spPr>
            <p:txBody>
              <a:bodyPr rtlCol="0" anchor="ctr"/>
              <a:lstStyle/>
              <a:p>
                <a:endParaRPr lang="en-GB"/>
              </a:p>
            </p:txBody>
          </p:sp>
          <p:sp>
            <p:nvSpPr>
              <p:cNvPr id="2988" name="Vrije vorm: vorm 2987">
                <a:extLst>
                  <a:ext uri="{FF2B5EF4-FFF2-40B4-BE49-F238E27FC236}">
                    <a16:creationId xmlns:a16="http://schemas.microsoft.com/office/drawing/2014/main" id="{DA9976C3-46F8-41E2-9CA8-FFD8863538E3}"/>
                  </a:ext>
                </a:extLst>
              </p:cNvPr>
              <p:cNvSpPr/>
              <p:nvPr/>
            </p:nvSpPr>
            <p:spPr>
              <a:xfrm>
                <a:off x="6260509" y="6266091"/>
                <a:ext cx="18381" cy="18441"/>
              </a:xfrm>
              <a:custGeom>
                <a:avLst/>
                <a:gdLst>
                  <a:gd name="connsiteX0" fmla="*/ 10 w 18381"/>
                  <a:gd name="connsiteY0" fmla="*/ 9639 h 18441"/>
                  <a:gd name="connsiteX1" fmla="*/ 9639 w 18381"/>
                  <a:gd name="connsiteY1" fmla="*/ 18431 h 18441"/>
                  <a:gd name="connsiteX2" fmla="*/ 18371 w 18381"/>
                  <a:gd name="connsiteY2" fmla="*/ 8802 h 18441"/>
                  <a:gd name="connsiteX3" fmla="*/ 8742 w 18381"/>
                  <a:gd name="connsiteY3" fmla="*/ 10 h 18441"/>
                  <a:gd name="connsiteX4" fmla="*/ 10 w 18381"/>
                  <a:gd name="connsiteY4" fmla="*/ 9639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1">
                    <a:moveTo>
                      <a:pt x="10" y="9639"/>
                    </a:moveTo>
                    <a:cubicBezTo>
                      <a:pt x="250" y="14723"/>
                      <a:pt x="4556" y="18670"/>
                      <a:pt x="9639" y="18431"/>
                    </a:cubicBezTo>
                    <a:cubicBezTo>
                      <a:pt x="14723" y="18192"/>
                      <a:pt x="18610" y="13886"/>
                      <a:pt x="18371" y="8802"/>
                    </a:cubicBezTo>
                    <a:cubicBezTo>
                      <a:pt x="18132" y="3718"/>
                      <a:pt x="13826" y="-229"/>
                      <a:pt x="8742" y="10"/>
                    </a:cubicBezTo>
                    <a:cubicBezTo>
                      <a:pt x="3659" y="249"/>
                      <a:pt x="-229" y="4556"/>
                      <a:pt x="10" y="9639"/>
                    </a:cubicBezTo>
                    <a:close/>
                  </a:path>
                </a:pathLst>
              </a:custGeom>
              <a:grpFill/>
              <a:ln w="5978" cap="flat">
                <a:noFill/>
                <a:prstDash val="solid"/>
                <a:miter/>
              </a:ln>
            </p:spPr>
            <p:txBody>
              <a:bodyPr rtlCol="0" anchor="ctr"/>
              <a:lstStyle/>
              <a:p>
                <a:endParaRPr lang="en-GB"/>
              </a:p>
            </p:txBody>
          </p:sp>
        </p:grpSp>
        <p:grpSp>
          <p:nvGrpSpPr>
            <p:cNvPr id="804" name="Graphic 3">
              <a:extLst>
                <a:ext uri="{FF2B5EF4-FFF2-40B4-BE49-F238E27FC236}">
                  <a16:creationId xmlns:a16="http://schemas.microsoft.com/office/drawing/2014/main" id="{15A95B14-6433-4DEE-9682-BC44F3E3CC4E}"/>
                </a:ext>
              </a:extLst>
            </p:cNvPr>
            <p:cNvGrpSpPr/>
            <p:nvPr/>
          </p:nvGrpSpPr>
          <p:grpSpPr>
            <a:xfrm>
              <a:off x="4797301" y="1594960"/>
              <a:ext cx="285456" cy="459416"/>
              <a:chOff x="4797301" y="1594960"/>
              <a:chExt cx="285456" cy="459416"/>
            </a:xfrm>
            <a:grpFill/>
          </p:grpSpPr>
          <p:sp>
            <p:nvSpPr>
              <p:cNvPr id="2983" name="Vrije vorm: vorm 2982">
                <a:extLst>
                  <a:ext uri="{FF2B5EF4-FFF2-40B4-BE49-F238E27FC236}">
                    <a16:creationId xmlns:a16="http://schemas.microsoft.com/office/drawing/2014/main" id="{A680F495-A72B-49E6-9047-AA48500D15B6}"/>
                  </a:ext>
                </a:extLst>
              </p:cNvPr>
              <p:cNvSpPr/>
              <p:nvPr/>
            </p:nvSpPr>
            <p:spPr>
              <a:xfrm>
                <a:off x="4804991" y="1602993"/>
                <a:ext cx="270149" cy="443291"/>
              </a:xfrm>
              <a:custGeom>
                <a:avLst/>
                <a:gdLst>
                  <a:gd name="connsiteX0" fmla="*/ 270149 w 270149"/>
                  <a:gd name="connsiteY0" fmla="*/ 441736 h 443291"/>
                  <a:gd name="connsiteX1" fmla="*/ 267518 w 270149"/>
                  <a:gd name="connsiteY1" fmla="*/ 443291 h 443291"/>
                  <a:gd name="connsiteX2" fmla="*/ 0 w 270149"/>
                  <a:gd name="connsiteY2" fmla="*/ 1555 h 443291"/>
                  <a:gd name="connsiteX3" fmla="*/ 2572 w 270149"/>
                  <a:gd name="connsiteY3" fmla="*/ 0 h 443291"/>
                </a:gdLst>
                <a:ahLst/>
                <a:cxnLst>
                  <a:cxn ang="0">
                    <a:pos x="connsiteX0" y="connsiteY0"/>
                  </a:cxn>
                  <a:cxn ang="0">
                    <a:pos x="connsiteX1" y="connsiteY1"/>
                  </a:cxn>
                  <a:cxn ang="0">
                    <a:pos x="connsiteX2" y="connsiteY2"/>
                  </a:cxn>
                  <a:cxn ang="0">
                    <a:pos x="connsiteX3" y="connsiteY3"/>
                  </a:cxn>
                </a:cxnLst>
                <a:rect l="l" t="t" r="r" b="b"/>
                <a:pathLst>
                  <a:path w="270149" h="443291">
                    <a:moveTo>
                      <a:pt x="270149" y="441736"/>
                    </a:moveTo>
                    <a:lnTo>
                      <a:pt x="267518" y="443291"/>
                    </a:lnTo>
                    <a:lnTo>
                      <a:pt x="0" y="1555"/>
                    </a:lnTo>
                    <a:lnTo>
                      <a:pt x="2572" y="0"/>
                    </a:lnTo>
                    <a:close/>
                  </a:path>
                </a:pathLst>
              </a:custGeom>
              <a:grpFill/>
              <a:ln w="5978" cap="flat">
                <a:noFill/>
                <a:prstDash val="solid"/>
                <a:miter/>
              </a:ln>
            </p:spPr>
            <p:txBody>
              <a:bodyPr rtlCol="0" anchor="ctr"/>
              <a:lstStyle/>
              <a:p>
                <a:endParaRPr lang="en-GB"/>
              </a:p>
            </p:txBody>
          </p:sp>
          <p:sp>
            <p:nvSpPr>
              <p:cNvPr id="2984" name="Vrije vorm: vorm 2983">
                <a:extLst>
                  <a:ext uri="{FF2B5EF4-FFF2-40B4-BE49-F238E27FC236}">
                    <a16:creationId xmlns:a16="http://schemas.microsoft.com/office/drawing/2014/main" id="{7D91A230-CC45-4660-8A22-B655F0B6A1B6}"/>
                  </a:ext>
                </a:extLst>
              </p:cNvPr>
              <p:cNvSpPr/>
              <p:nvPr/>
            </p:nvSpPr>
            <p:spPr>
              <a:xfrm>
                <a:off x="5064414" y="2035919"/>
                <a:ext cx="18343" cy="18458"/>
              </a:xfrm>
              <a:custGeom>
                <a:avLst/>
                <a:gdLst>
                  <a:gd name="connsiteX0" fmla="*/ 17007 w 18343"/>
                  <a:gd name="connsiteY0" fmla="*/ 4445 h 18458"/>
                  <a:gd name="connsiteX1" fmla="*/ 13956 w 18343"/>
                  <a:gd name="connsiteY1" fmla="*/ 17124 h 18458"/>
                  <a:gd name="connsiteX2" fmla="*/ 1337 w 18343"/>
                  <a:gd name="connsiteY2" fmla="*/ 14014 h 18458"/>
                  <a:gd name="connsiteX3" fmla="*/ 4387 w 18343"/>
                  <a:gd name="connsiteY3" fmla="*/ 1335 h 18458"/>
                  <a:gd name="connsiteX4" fmla="*/ 17007 w 18343"/>
                  <a:gd name="connsiteY4" fmla="*/ 444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7007" y="4445"/>
                    </a:moveTo>
                    <a:cubicBezTo>
                      <a:pt x="19638" y="8810"/>
                      <a:pt x="18263" y="14492"/>
                      <a:pt x="13956" y="17124"/>
                    </a:cubicBezTo>
                    <a:cubicBezTo>
                      <a:pt x="9650" y="19755"/>
                      <a:pt x="3969" y="18380"/>
                      <a:pt x="1337" y="14014"/>
                    </a:cubicBezTo>
                    <a:cubicBezTo>
                      <a:pt x="-1294" y="9648"/>
                      <a:pt x="81" y="4026"/>
                      <a:pt x="4387" y="1335"/>
                    </a:cubicBezTo>
                    <a:cubicBezTo>
                      <a:pt x="8753" y="-1297"/>
                      <a:pt x="14375" y="79"/>
                      <a:pt x="17007" y="4445"/>
                    </a:cubicBezTo>
                    <a:close/>
                  </a:path>
                </a:pathLst>
              </a:custGeom>
              <a:grpFill/>
              <a:ln w="5978" cap="flat">
                <a:noFill/>
                <a:prstDash val="solid"/>
                <a:miter/>
              </a:ln>
            </p:spPr>
            <p:txBody>
              <a:bodyPr rtlCol="0" anchor="ctr"/>
              <a:lstStyle/>
              <a:p>
                <a:endParaRPr lang="en-GB"/>
              </a:p>
            </p:txBody>
          </p:sp>
          <p:sp>
            <p:nvSpPr>
              <p:cNvPr id="2985" name="Vrije vorm: vorm 2984">
                <a:extLst>
                  <a:ext uri="{FF2B5EF4-FFF2-40B4-BE49-F238E27FC236}">
                    <a16:creationId xmlns:a16="http://schemas.microsoft.com/office/drawing/2014/main" id="{9A07C3A7-B96E-46DF-B1AA-B629D3277962}"/>
                  </a:ext>
                </a:extLst>
              </p:cNvPr>
              <p:cNvSpPr/>
              <p:nvPr/>
            </p:nvSpPr>
            <p:spPr>
              <a:xfrm>
                <a:off x="4797301" y="1594960"/>
                <a:ext cx="18397" cy="18458"/>
              </a:xfrm>
              <a:custGeom>
                <a:avLst/>
                <a:gdLst>
                  <a:gd name="connsiteX0" fmla="*/ 17021 w 18397"/>
                  <a:gd name="connsiteY0" fmla="*/ 4445 h 18458"/>
                  <a:gd name="connsiteX1" fmla="*/ 4401 w 18397"/>
                  <a:gd name="connsiteY1" fmla="*/ 1335 h 18458"/>
                  <a:gd name="connsiteX2" fmla="*/ 1351 w 18397"/>
                  <a:gd name="connsiteY2" fmla="*/ 14014 h 18458"/>
                  <a:gd name="connsiteX3" fmla="*/ 13970 w 18397"/>
                  <a:gd name="connsiteY3" fmla="*/ 17124 h 18458"/>
                  <a:gd name="connsiteX4" fmla="*/ 17021 w 18397"/>
                  <a:gd name="connsiteY4" fmla="*/ 444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7" h="18458">
                    <a:moveTo>
                      <a:pt x="17021" y="4445"/>
                    </a:moveTo>
                    <a:cubicBezTo>
                      <a:pt x="14389" y="79"/>
                      <a:pt x="8767" y="-1297"/>
                      <a:pt x="4401" y="1335"/>
                    </a:cubicBezTo>
                    <a:cubicBezTo>
                      <a:pt x="35" y="3966"/>
                      <a:pt x="-1280" y="9648"/>
                      <a:pt x="1351" y="14014"/>
                    </a:cubicBezTo>
                    <a:cubicBezTo>
                      <a:pt x="3983" y="18380"/>
                      <a:pt x="9605" y="19755"/>
                      <a:pt x="13970" y="17124"/>
                    </a:cubicBezTo>
                    <a:cubicBezTo>
                      <a:pt x="18336" y="14432"/>
                      <a:pt x="19712" y="8810"/>
                      <a:pt x="17021" y="4445"/>
                    </a:cubicBezTo>
                    <a:close/>
                  </a:path>
                </a:pathLst>
              </a:custGeom>
              <a:grpFill/>
              <a:ln w="5978" cap="flat">
                <a:noFill/>
                <a:prstDash val="solid"/>
                <a:miter/>
              </a:ln>
            </p:spPr>
            <p:txBody>
              <a:bodyPr rtlCol="0" anchor="ctr"/>
              <a:lstStyle/>
              <a:p>
                <a:endParaRPr lang="en-GB"/>
              </a:p>
            </p:txBody>
          </p:sp>
        </p:grpSp>
        <p:grpSp>
          <p:nvGrpSpPr>
            <p:cNvPr id="805" name="Graphic 3">
              <a:extLst>
                <a:ext uri="{FF2B5EF4-FFF2-40B4-BE49-F238E27FC236}">
                  <a16:creationId xmlns:a16="http://schemas.microsoft.com/office/drawing/2014/main" id="{EDEF2530-AA25-457C-A7F3-674E38A69FA3}"/>
                </a:ext>
              </a:extLst>
            </p:cNvPr>
            <p:cNvGrpSpPr/>
            <p:nvPr/>
          </p:nvGrpSpPr>
          <p:grpSpPr>
            <a:xfrm>
              <a:off x="4905070" y="1816242"/>
              <a:ext cx="151296" cy="254255"/>
              <a:chOff x="4905070" y="1816242"/>
              <a:chExt cx="151296" cy="254255"/>
            </a:xfrm>
            <a:grpFill/>
          </p:grpSpPr>
          <p:sp>
            <p:nvSpPr>
              <p:cNvPr id="2980" name="Vrije vorm: vorm 2979">
                <a:extLst>
                  <a:ext uri="{FF2B5EF4-FFF2-40B4-BE49-F238E27FC236}">
                    <a16:creationId xmlns:a16="http://schemas.microsoft.com/office/drawing/2014/main" id="{4AA58E14-0B20-42AC-8235-FAA9E7C35D24}"/>
                  </a:ext>
                </a:extLst>
              </p:cNvPr>
              <p:cNvSpPr/>
              <p:nvPr/>
            </p:nvSpPr>
            <p:spPr>
              <a:xfrm>
                <a:off x="4912748" y="1824417"/>
                <a:ext cx="136248" cy="237969"/>
              </a:xfrm>
              <a:custGeom>
                <a:avLst/>
                <a:gdLst>
                  <a:gd name="connsiteX0" fmla="*/ 0 w 136248"/>
                  <a:gd name="connsiteY0" fmla="*/ 1500 h 237969"/>
                  <a:gd name="connsiteX1" fmla="*/ 2656 w 136248"/>
                  <a:gd name="connsiteY1" fmla="*/ 0 h 237969"/>
                  <a:gd name="connsiteX2" fmla="*/ 136248 w 136248"/>
                  <a:gd name="connsiteY2" fmla="*/ 236469 h 237969"/>
                  <a:gd name="connsiteX3" fmla="*/ 133593 w 136248"/>
                  <a:gd name="connsiteY3" fmla="*/ 237969 h 237969"/>
                </a:gdLst>
                <a:ahLst/>
                <a:cxnLst>
                  <a:cxn ang="0">
                    <a:pos x="connsiteX0" y="connsiteY0"/>
                  </a:cxn>
                  <a:cxn ang="0">
                    <a:pos x="connsiteX1" y="connsiteY1"/>
                  </a:cxn>
                  <a:cxn ang="0">
                    <a:pos x="connsiteX2" y="connsiteY2"/>
                  </a:cxn>
                  <a:cxn ang="0">
                    <a:pos x="connsiteX3" y="connsiteY3"/>
                  </a:cxn>
                </a:cxnLst>
                <a:rect l="l" t="t" r="r" b="b"/>
                <a:pathLst>
                  <a:path w="136248" h="237969">
                    <a:moveTo>
                      <a:pt x="0" y="1500"/>
                    </a:moveTo>
                    <a:lnTo>
                      <a:pt x="2656" y="0"/>
                    </a:lnTo>
                    <a:lnTo>
                      <a:pt x="136248" y="236469"/>
                    </a:lnTo>
                    <a:lnTo>
                      <a:pt x="133593" y="237969"/>
                    </a:lnTo>
                    <a:close/>
                  </a:path>
                </a:pathLst>
              </a:custGeom>
              <a:grpFill/>
              <a:ln w="5978" cap="flat">
                <a:noFill/>
                <a:prstDash val="solid"/>
                <a:miter/>
              </a:ln>
            </p:spPr>
            <p:txBody>
              <a:bodyPr rtlCol="0" anchor="ctr"/>
              <a:lstStyle/>
              <a:p>
                <a:endParaRPr lang="en-GB"/>
              </a:p>
            </p:txBody>
          </p:sp>
          <p:sp>
            <p:nvSpPr>
              <p:cNvPr id="2981" name="Vrije vorm: vorm 2980">
                <a:extLst>
                  <a:ext uri="{FF2B5EF4-FFF2-40B4-BE49-F238E27FC236}">
                    <a16:creationId xmlns:a16="http://schemas.microsoft.com/office/drawing/2014/main" id="{8E5F77C8-7F37-4A81-A46D-3028BB6341F8}"/>
                  </a:ext>
                </a:extLst>
              </p:cNvPr>
              <p:cNvSpPr/>
              <p:nvPr/>
            </p:nvSpPr>
            <p:spPr>
              <a:xfrm>
                <a:off x="5037995" y="2052022"/>
                <a:ext cx="18371" cy="18474"/>
              </a:xfrm>
              <a:custGeom>
                <a:avLst/>
                <a:gdLst>
                  <a:gd name="connsiteX0" fmla="*/ 17170 w 18371"/>
                  <a:gd name="connsiteY0" fmla="*/ 4728 h 18474"/>
                  <a:gd name="connsiteX1" fmla="*/ 13701 w 18371"/>
                  <a:gd name="connsiteY1" fmla="*/ 17288 h 18474"/>
                  <a:gd name="connsiteX2" fmla="*/ 1201 w 18371"/>
                  <a:gd name="connsiteY2" fmla="*/ 13759 h 18474"/>
                  <a:gd name="connsiteX3" fmla="*/ 4670 w 18371"/>
                  <a:gd name="connsiteY3" fmla="*/ 1199 h 18474"/>
                  <a:gd name="connsiteX4" fmla="*/ 17170 w 18371"/>
                  <a:gd name="connsiteY4" fmla="*/ 472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74">
                    <a:moveTo>
                      <a:pt x="17170" y="4728"/>
                    </a:moveTo>
                    <a:cubicBezTo>
                      <a:pt x="19682" y="9154"/>
                      <a:pt x="18127" y="14776"/>
                      <a:pt x="13701" y="17288"/>
                    </a:cubicBezTo>
                    <a:cubicBezTo>
                      <a:pt x="9275" y="19799"/>
                      <a:pt x="3713" y="18185"/>
                      <a:pt x="1201" y="13759"/>
                    </a:cubicBezTo>
                    <a:cubicBezTo>
                      <a:pt x="-1310" y="9333"/>
                      <a:pt x="245" y="3711"/>
                      <a:pt x="4670" y="1199"/>
                    </a:cubicBezTo>
                    <a:cubicBezTo>
                      <a:pt x="9036" y="-1312"/>
                      <a:pt x="14658" y="243"/>
                      <a:pt x="17170" y="4728"/>
                    </a:cubicBezTo>
                    <a:close/>
                  </a:path>
                </a:pathLst>
              </a:custGeom>
              <a:grpFill/>
              <a:ln w="5978" cap="flat">
                <a:noFill/>
                <a:prstDash val="solid"/>
                <a:miter/>
              </a:ln>
            </p:spPr>
            <p:txBody>
              <a:bodyPr rtlCol="0" anchor="ctr"/>
              <a:lstStyle/>
              <a:p>
                <a:endParaRPr lang="en-GB"/>
              </a:p>
            </p:txBody>
          </p:sp>
          <p:sp>
            <p:nvSpPr>
              <p:cNvPr id="2982" name="Vrije vorm: vorm 2981">
                <a:extLst>
                  <a:ext uri="{FF2B5EF4-FFF2-40B4-BE49-F238E27FC236}">
                    <a16:creationId xmlns:a16="http://schemas.microsoft.com/office/drawing/2014/main" id="{76EB632B-C884-4449-A0A2-EF44DF6134B0}"/>
                  </a:ext>
                </a:extLst>
              </p:cNvPr>
              <p:cNvSpPr/>
              <p:nvPr/>
            </p:nvSpPr>
            <p:spPr>
              <a:xfrm>
                <a:off x="4905070" y="1816242"/>
                <a:ext cx="18318" cy="18408"/>
              </a:xfrm>
              <a:custGeom>
                <a:avLst/>
                <a:gdLst>
                  <a:gd name="connsiteX0" fmla="*/ 17143 w 18318"/>
                  <a:gd name="connsiteY0" fmla="*/ 4689 h 18408"/>
                  <a:gd name="connsiteX1" fmla="*/ 4644 w 18318"/>
                  <a:gd name="connsiteY1" fmla="*/ 1160 h 18408"/>
                  <a:gd name="connsiteX2" fmla="*/ 1175 w 18318"/>
                  <a:gd name="connsiteY2" fmla="*/ 13720 h 18408"/>
                  <a:gd name="connsiteX3" fmla="*/ 13675 w 18318"/>
                  <a:gd name="connsiteY3" fmla="*/ 17248 h 18408"/>
                  <a:gd name="connsiteX4" fmla="*/ 17143 w 18318"/>
                  <a:gd name="connsiteY4" fmla="*/ 4689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08">
                    <a:moveTo>
                      <a:pt x="17143" y="4689"/>
                    </a:moveTo>
                    <a:cubicBezTo>
                      <a:pt x="14632" y="263"/>
                      <a:pt x="9070" y="-1292"/>
                      <a:pt x="4644" y="1160"/>
                    </a:cubicBezTo>
                    <a:cubicBezTo>
                      <a:pt x="218" y="3672"/>
                      <a:pt x="-1277" y="9294"/>
                      <a:pt x="1175" y="13720"/>
                    </a:cubicBezTo>
                    <a:cubicBezTo>
                      <a:pt x="3687" y="18146"/>
                      <a:pt x="9249" y="19701"/>
                      <a:pt x="13675" y="17248"/>
                    </a:cubicBezTo>
                    <a:cubicBezTo>
                      <a:pt x="18100" y="14736"/>
                      <a:pt x="19595" y="9115"/>
                      <a:pt x="17143" y="4689"/>
                    </a:cubicBezTo>
                    <a:close/>
                  </a:path>
                </a:pathLst>
              </a:custGeom>
              <a:grpFill/>
              <a:ln w="5978" cap="flat">
                <a:noFill/>
                <a:prstDash val="solid"/>
                <a:miter/>
              </a:ln>
            </p:spPr>
            <p:txBody>
              <a:bodyPr rtlCol="0" anchor="ctr"/>
              <a:lstStyle/>
              <a:p>
                <a:endParaRPr lang="en-GB"/>
              </a:p>
            </p:txBody>
          </p:sp>
        </p:grpSp>
        <p:grpSp>
          <p:nvGrpSpPr>
            <p:cNvPr id="806" name="Graphic 3">
              <a:extLst>
                <a:ext uri="{FF2B5EF4-FFF2-40B4-BE49-F238E27FC236}">
                  <a16:creationId xmlns:a16="http://schemas.microsoft.com/office/drawing/2014/main" id="{08DD2B7C-EECC-4196-90EC-95EF203494CD}"/>
                </a:ext>
              </a:extLst>
            </p:cNvPr>
            <p:cNvGrpSpPr/>
            <p:nvPr/>
          </p:nvGrpSpPr>
          <p:grpSpPr>
            <a:xfrm>
              <a:off x="6156858" y="5375741"/>
              <a:ext cx="32926" cy="276629"/>
              <a:chOff x="6156858" y="5375741"/>
              <a:chExt cx="32926" cy="276629"/>
            </a:xfrm>
            <a:grpFill/>
          </p:grpSpPr>
          <p:sp>
            <p:nvSpPr>
              <p:cNvPr id="2977" name="Vrije vorm: vorm 2976">
                <a:extLst>
                  <a:ext uri="{FF2B5EF4-FFF2-40B4-BE49-F238E27FC236}">
                    <a16:creationId xmlns:a16="http://schemas.microsoft.com/office/drawing/2014/main" id="{F5E776CD-42DC-4CE6-92FC-6AE28D12D028}"/>
                  </a:ext>
                </a:extLst>
              </p:cNvPr>
              <p:cNvSpPr/>
              <p:nvPr/>
            </p:nvSpPr>
            <p:spPr>
              <a:xfrm>
                <a:off x="6164529" y="5384424"/>
                <a:ext cx="17642" cy="259264"/>
              </a:xfrm>
              <a:custGeom>
                <a:avLst/>
                <a:gdLst>
                  <a:gd name="connsiteX0" fmla="*/ 2990 w 17642"/>
                  <a:gd name="connsiteY0" fmla="*/ 0 h 259264"/>
                  <a:gd name="connsiteX1" fmla="*/ 17643 w 17642"/>
                  <a:gd name="connsiteY1" fmla="*/ 259085 h 259264"/>
                  <a:gd name="connsiteX2" fmla="*/ 14593 w 17642"/>
                  <a:gd name="connsiteY2" fmla="*/ 259264 h 259264"/>
                  <a:gd name="connsiteX3" fmla="*/ 0 w 17642"/>
                  <a:gd name="connsiteY3" fmla="*/ 179 h 259264"/>
                </a:gdLst>
                <a:ahLst/>
                <a:cxnLst>
                  <a:cxn ang="0">
                    <a:pos x="connsiteX0" y="connsiteY0"/>
                  </a:cxn>
                  <a:cxn ang="0">
                    <a:pos x="connsiteX1" y="connsiteY1"/>
                  </a:cxn>
                  <a:cxn ang="0">
                    <a:pos x="connsiteX2" y="connsiteY2"/>
                  </a:cxn>
                  <a:cxn ang="0">
                    <a:pos x="connsiteX3" y="connsiteY3"/>
                  </a:cxn>
                </a:cxnLst>
                <a:rect l="l" t="t" r="r" b="b"/>
                <a:pathLst>
                  <a:path w="17642" h="259264">
                    <a:moveTo>
                      <a:pt x="2990" y="0"/>
                    </a:moveTo>
                    <a:lnTo>
                      <a:pt x="17643" y="259085"/>
                    </a:lnTo>
                    <a:lnTo>
                      <a:pt x="14593" y="259264"/>
                    </a:lnTo>
                    <a:lnTo>
                      <a:pt x="0" y="179"/>
                    </a:lnTo>
                    <a:close/>
                  </a:path>
                </a:pathLst>
              </a:custGeom>
              <a:grpFill/>
              <a:ln w="5978" cap="flat">
                <a:noFill/>
                <a:prstDash val="solid"/>
                <a:miter/>
              </a:ln>
            </p:spPr>
            <p:txBody>
              <a:bodyPr rtlCol="0" anchor="ctr"/>
              <a:lstStyle/>
              <a:p>
                <a:endParaRPr lang="en-GB"/>
              </a:p>
            </p:txBody>
          </p:sp>
          <p:sp>
            <p:nvSpPr>
              <p:cNvPr id="2978" name="Vrije vorm: vorm 2977">
                <a:extLst>
                  <a:ext uri="{FF2B5EF4-FFF2-40B4-BE49-F238E27FC236}">
                    <a16:creationId xmlns:a16="http://schemas.microsoft.com/office/drawing/2014/main" id="{DE4E21F7-A804-4D5D-AD35-012139A06DC6}"/>
                  </a:ext>
                </a:extLst>
              </p:cNvPr>
              <p:cNvSpPr/>
              <p:nvPr/>
            </p:nvSpPr>
            <p:spPr>
              <a:xfrm>
                <a:off x="6171451" y="5633923"/>
                <a:ext cx="18333" cy="18447"/>
              </a:xfrm>
              <a:custGeom>
                <a:avLst/>
                <a:gdLst>
                  <a:gd name="connsiteX0" fmla="*/ 18317 w 18333"/>
                  <a:gd name="connsiteY0" fmla="*/ 8748 h 18447"/>
                  <a:gd name="connsiteX1" fmla="*/ 9705 w 18333"/>
                  <a:gd name="connsiteY1" fmla="*/ 18437 h 18447"/>
                  <a:gd name="connsiteX2" fmla="*/ 16 w 18333"/>
                  <a:gd name="connsiteY2" fmla="*/ 9705 h 18447"/>
                  <a:gd name="connsiteX3" fmla="*/ 8628 w 18333"/>
                  <a:gd name="connsiteY3" fmla="*/ 16 h 18447"/>
                  <a:gd name="connsiteX4" fmla="*/ 18317 w 18333"/>
                  <a:gd name="connsiteY4" fmla="*/ 874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8748"/>
                    </a:moveTo>
                    <a:cubicBezTo>
                      <a:pt x="18616" y="13831"/>
                      <a:pt x="14729" y="18138"/>
                      <a:pt x="9705" y="18437"/>
                    </a:cubicBezTo>
                    <a:cubicBezTo>
                      <a:pt x="4681" y="18676"/>
                      <a:pt x="315" y="14788"/>
                      <a:pt x="16" y="9705"/>
                    </a:cubicBezTo>
                    <a:cubicBezTo>
                      <a:pt x="-283" y="4621"/>
                      <a:pt x="3604" y="315"/>
                      <a:pt x="8628" y="16"/>
                    </a:cubicBezTo>
                    <a:cubicBezTo>
                      <a:pt x="13712" y="-283"/>
                      <a:pt x="18018" y="3664"/>
                      <a:pt x="18317" y="8748"/>
                    </a:cubicBezTo>
                    <a:close/>
                  </a:path>
                </a:pathLst>
              </a:custGeom>
              <a:grpFill/>
              <a:ln w="5978" cap="flat">
                <a:noFill/>
                <a:prstDash val="solid"/>
                <a:miter/>
              </a:ln>
            </p:spPr>
            <p:txBody>
              <a:bodyPr rtlCol="0" anchor="ctr"/>
              <a:lstStyle/>
              <a:p>
                <a:endParaRPr lang="en-GB"/>
              </a:p>
            </p:txBody>
          </p:sp>
          <p:sp>
            <p:nvSpPr>
              <p:cNvPr id="2979" name="Vrije vorm: vorm 2978">
                <a:extLst>
                  <a:ext uri="{FF2B5EF4-FFF2-40B4-BE49-F238E27FC236}">
                    <a16:creationId xmlns:a16="http://schemas.microsoft.com/office/drawing/2014/main" id="{BB053CF5-CA37-4F4B-9E65-AA3F365F0052}"/>
                  </a:ext>
                </a:extLst>
              </p:cNvPr>
              <p:cNvSpPr/>
              <p:nvPr/>
            </p:nvSpPr>
            <p:spPr>
              <a:xfrm>
                <a:off x="6156858" y="5375741"/>
                <a:ext cx="18333" cy="18441"/>
              </a:xfrm>
              <a:custGeom>
                <a:avLst/>
                <a:gdLst>
                  <a:gd name="connsiteX0" fmla="*/ 18317 w 18333"/>
                  <a:gd name="connsiteY0" fmla="*/ 8742 h 18441"/>
                  <a:gd name="connsiteX1" fmla="*/ 8628 w 18333"/>
                  <a:gd name="connsiteY1" fmla="*/ 10 h 18441"/>
                  <a:gd name="connsiteX2" fmla="*/ 16 w 18333"/>
                  <a:gd name="connsiteY2" fmla="*/ 9699 h 18441"/>
                  <a:gd name="connsiteX3" fmla="*/ 9705 w 18333"/>
                  <a:gd name="connsiteY3" fmla="*/ 18431 h 18441"/>
                  <a:gd name="connsiteX4" fmla="*/ 18317 w 18333"/>
                  <a:gd name="connsiteY4" fmla="*/ 8742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1">
                    <a:moveTo>
                      <a:pt x="18317" y="8742"/>
                    </a:moveTo>
                    <a:cubicBezTo>
                      <a:pt x="18018" y="3659"/>
                      <a:pt x="13712" y="-229"/>
                      <a:pt x="8628" y="10"/>
                    </a:cubicBezTo>
                    <a:cubicBezTo>
                      <a:pt x="3604" y="250"/>
                      <a:pt x="-283" y="4615"/>
                      <a:pt x="16" y="9699"/>
                    </a:cubicBezTo>
                    <a:cubicBezTo>
                      <a:pt x="315" y="14783"/>
                      <a:pt x="4621" y="18670"/>
                      <a:pt x="9705" y="18431"/>
                    </a:cubicBezTo>
                    <a:cubicBezTo>
                      <a:pt x="14788" y="18132"/>
                      <a:pt x="18616" y="13826"/>
                      <a:pt x="18317" y="8742"/>
                    </a:cubicBezTo>
                    <a:close/>
                  </a:path>
                </a:pathLst>
              </a:custGeom>
              <a:grpFill/>
              <a:ln w="5978" cap="flat">
                <a:noFill/>
                <a:prstDash val="solid"/>
                <a:miter/>
              </a:ln>
            </p:spPr>
            <p:txBody>
              <a:bodyPr rtlCol="0" anchor="ctr"/>
              <a:lstStyle/>
              <a:p>
                <a:endParaRPr lang="en-GB"/>
              </a:p>
            </p:txBody>
          </p:sp>
        </p:grpSp>
        <p:grpSp>
          <p:nvGrpSpPr>
            <p:cNvPr id="807" name="Graphic 3">
              <a:extLst>
                <a:ext uri="{FF2B5EF4-FFF2-40B4-BE49-F238E27FC236}">
                  <a16:creationId xmlns:a16="http://schemas.microsoft.com/office/drawing/2014/main" id="{E2A4E2C0-2450-477C-97D6-89FFCDD6A1A7}"/>
                </a:ext>
              </a:extLst>
            </p:cNvPr>
            <p:cNvGrpSpPr/>
            <p:nvPr/>
          </p:nvGrpSpPr>
          <p:grpSpPr>
            <a:xfrm>
              <a:off x="6080976" y="5229104"/>
              <a:ext cx="20877" cy="150835"/>
              <a:chOff x="6080976" y="5229104"/>
              <a:chExt cx="20877" cy="150835"/>
            </a:xfrm>
            <a:grpFill/>
          </p:grpSpPr>
          <p:sp>
            <p:nvSpPr>
              <p:cNvPr id="2974" name="Vrije vorm: vorm 2973">
                <a:extLst>
                  <a:ext uri="{FF2B5EF4-FFF2-40B4-BE49-F238E27FC236}">
                    <a16:creationId xmlns:a16="http://schemas.microsoft.com/office/drawing/2014/main" id="{95DD84A1-2C58-4302-A254-DD5CE4F0AFF5}"/>
                  </a:ext>
                </a:extLst>
              </p:cNvPr>
              <p:cNvSpPr/>
              <p:nvPr/>
            </p:nvSpPr>
            <p:spPr>
              <a:xfrm>
                <a:off x="6088634" y="5237836"/>
                <a:ext cx="5562" cy="133429"/>
              </a:xfrm>
              <a:custGeom>
                <a:avLst/>
                <a:gdLst>
                  <a:gd name="connsiteX0" fmla="*/ 3050 w 5562"/>
                  <a:gd name="connsiteY0" fmla="*/ 0 h 133429"/>
                  <a:gd name="connsiteX1" fmla="*/ 5562 w 5562"/>
                  <a:gd name="connsiteY1" fmla="*/ 133370 h 133429"/>
                  <a:gd name="connsiteX2" fmla="*/ 2512 w 5562"/>
                  <a:gd name="connsiteY2" fmla="*/ 133430 h 133429"/>
                  <a:gd name="connsiteX3" fmla="*/ 0 w 5562"/>
                  <a:gd name="connsiteY3" fmla="*/ 60 h 133429"/>
                </a:gdLst>
                <a:ahLst/>
                <a:cxnLst>
                  <a:cxn ang="0">
                    <a:pos x="connsiteX0" y="connsiteY0"/>
                  </a:cxn>
                  <a:cxn ang="0">
                    <a:pos x="connsiteX1" y="connsiteY1"/>
                  </a:cxn>
                  <a:cxn ang="0">
                    <a:pos x="connsiteX2" y="connsiteY2"/>
                  </a:cxn>
                  <a:cxn ang="0">
                    <a:pos x="connsiteX3" y="connsiteY3"/>
                  </a:cxn>
                </a:cxnLst>
                <a:rect l="l" t="t" r="r" b="b"/>
                <a:pathLst>
                  <a:path w="5562" h="133429">
                    <a:moveTo>
                      <a:pt x="3050" y="0"/>
                    </a:moveTo>
                    <a:lnTo>
                      <a:pt x="5562" y="133370"/>
                    </a:lnTo>
                    <a:lnTo>
                      <a:pt x="2512" y="133430"/>
                    </a:lnTo>
                    <a:lnTo>
                      <a:pt x="0" y="60"/>
                    </a:lnTo>
                    <a:close/>
                  </a:path>
                </a:pathLst>
              </a:custGeom>
              <a:grpFill/>
              <a:ln w="5978" cap="flat">
                <a:noFill/>
                <a:prstDash val="solid"/>
                <a:miter/>
              </a:ln>
            </p:spPr>
            <p:txBody>
              <a:bodyPr rtlCol="0" anchor="ctr"/>
              <a:lstStyle/>
              <a:p>
                <a:endParaRPr lang="en-GB"/>
              </a:p>
            </p:txBody>
          </p:sp>
          <p:sp>
            <p:nvSpPr>
              <p:cNvPr id="2975" name="Vrije vorm: vorm 2974">
                <a:extLst>
                  <a:ext uri="{FF2B5EF4-FFF2-40B4-BE49-F238E27FC236}">
                    <a16:creationId xmlns:a16="http://schemas.microsoft.com/office/drawing/2014/main" id="{7102DB34-FEC1-4DC9-9504-5A043E853819}"/>
                  </a:ext>
                </a:extLst>
              </p:cNvPr>
              <p:cNvSpPr/>
              <p:nvPr/>
            </p:nvSpPr>
            <p:spPr>
              <a:xfrm>
                <a:off x="6083547" y="5361518"/>
                <a:ext cx="18306" cy="18421"/>
              </a:xfrm>
              <a:custGeom>
                <a:avLst/>
                <a:gdLst>
                  <a:gd name="connsiteX0" fmla="*/ 18304 w 18306"/>
                  <a:gd name="connsiteY0" fmla="*/ 9091 h 18421"/>
                  <a:gd name="connsiteX1" fmla="*/ 9332 w 18306"/>
                  <a:gd name="connsiteY1" fmla="*/ 18421 h 18421"/>
                  <a:gd name="connsiteX2" fmla="*/ 3 w 18306"/>
                  <a:gd name="connsiteY2" fmla="*/ 9330 h 18421"/>
                  <a:gd name="connsiteX3" fmla="*/ 8974 w 18306"/>
                  <a:gd name="connsiteY3" fmla="*/ 0 h 18421"/>
                  <a:gd name="connsiteX4" fmla="*/ 18304 w 18306"/>
                  <a:gd name="connsiteY4" fmla="*/ 909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1">
                    <a:moveTo>
                      <a:pt x="18304" y="9091"/>
                    </a:moveTo>
                    <a:cubicBezTo>
                      <a:pt x="18423" y="14174"/>
                      <a:pt x="14356" y="18361"/>
                      <a:pt x="9332" y="18421"/>
                    </a:cubicBezTo>
                    <a:cubicBezTo>
                      <a:pt x="4249" y="18480"/>
                      <a:pt x="62" y="14413"/>
                      <a:pt x="3" y="9330"/>
                    </a:cubicBezTo>
                    <a:cubicBezTo>
                      <a:pt x="-117" y="4246"/>
                      <a:pt x="3950" y="60"/>
                      <a:pt x="8974" y="0"/>
                    </a:cubicBezTo>
                    <a:cubicBezTo>
                      <a:pt x="13998" y="0"/>
                      <a:pt x="18184" y="4007"/>
                      <a:pt x="18304" y="9091"/>
                    </a:cubicBezTo>
                    <a:close/>
                  </a:path>
                </a:pathLst>
              </a:custGeom>
              <a:grpFill/>
              <a:ln w="5978" cap="flat">
                <a:noFill/>
                <a:prstDash val="solid"/>
                <a:miter/>
              </a:ln>
            </p:spPr>
            <p:txBody>
              <a:bodyPr rtlCol="0" anchor="ctr"/>
              <a:lstStyle/>
              <a:p>
                <a:endParaRPr lang="en-GB"/>
              </a:p>
            </p:txBody>
          </p:sp>
          <p:sp>
            <p:nvSpPr>
              <p:cNvPr id="2976" name="Vrije vorm: vorm 2975">
                <a:extLst>
                  <a:ext uri="{FF2B5EF4-FFF2-40B4-BE49-F238E27FC236}">
                    <a16:creationId xmlns:a16="http://schemas.microsoft.com/office/drawing/2014/main" id="{E2921BF9-45BF-4322-91BE-8D7C8255B651}"/>
                  </a:ext>
                </a:extLst>
              </p:cNvPr>
              <p:cNvSpPr/>
              <p:nvPr/>
            </p:nvSpPr>
            <p:spPr>
              <a:xfrm>
                <a:off x="6080976" y="5229104"/>
                <a:ext cx="18306" cy="18422"/>
              </a:xfrm>
              <a:custGeom>
                <a:avLst/>
                <a:gdLst>
                  <a:gd name="connsiteX0" fmla="*/ 18304 w 18306"/>
                  <a:gd name="connsiteY0" fmla="*/ 9091 h 18422"/>
                  <a:gd name="connsiteX1" fmla="*/ 8974 w 18306"/>
                  <a:gd name="connsiteY1" fmla="*/ 1 h 18422"/>
                  <a:gd name="connsiteX2" fmla="*/ 3 w 18306"/>
                  <a:gd name="connsiteY2" fmla="*/ 9331 h 18422"/>
                  <a:gd name="connsiteX3" fmla="*/ 9333 w 18306"/>
                  <a:gd name="connsiteY3" fmla="*/ 1842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184" y="4008"/>
                      <a:pt x="13998" y="-59"/>
                      <a:pt x="8974" y="1"/>
                    </a:cubicBezTo>
                    <a:cubicBezTo>
                      <a:pt x="3890" y="61"/>
                      <a:pt x="-117" y="4247"/>
                      <a:pt x="3" y="9331"/>
                    </a:cubicBezTo>
                    <a:cubicBezTo>
                      <a:pt x="122" y="14414"/>
                      <a:pt x="4309" y="18481"/>
                      <a:pt x="9333" y="18421"/>
                    </a:cubicBezTo>
                    <a:cubicBezTo>
                      <a:pt x="14356" y="18362"/>
                      <a:pt x="18423" y="14175"/>
                      <a:pt x="18304" y="9091"/>
                    </a:cubicBezTo>
                    <a:close/>
                  </a:path>
                </a:pathLst>
              </a:custGeom>
              <a:grpFill/>
              <a:ln w="5978" cap="flat">
                <a:noFill/>
                <a:prstDash val="solid"/>
                <a:miter/>
              </a:ln>
            </p:spPr>
            <p:txBody>
              <a:bodyPr rtlCol="0" anchor="ctr"/>
              <a:lstStyle/>
              <a:p>
                <a:endParaRPr lang="en-GB"/>
              </a:p>
            </p:txBody>
          </p:sp>
        </p:grpSp>
        <p:grpSp>
          <p:nvGrpSpPr>
            <p:cNvPr id="808" name="Graphic 3">
              <a:extLst>
                <a:ext uri="{FF2B5EF4-FFF2-40B4-BE49-F238E27FC236}">
                  <a16:creationId xmlns:a16="http://schemas.microsoft.com/office/drawing/2014/main" id="{ECE6A731-1C63-40AA-BAD8-E882874DE536}"/>
                </a:ext>
              </a:extLst>
            </p:cNvPr>
            <p:cNvGrpSpPr/>
            <p:nvPr/>
          </p:nvGrpSpPr>
          <p:grpSpPr>
            <a:xfrm>
              <a:off x="4912515" y="1824932"/>
              <a:ext cx="42635" cy="52360"/>
              <a:chOff x="4912515" y="1824932"/>
              <a:chExt cx="42635" cy="52360"/>
            </a:xfrm>
            <a:grpFill/>
          </p:grpSpPr>
          <p:sp>
            <p:nvSpPr>
              <p:cNvPr id="2971" name="Vrije vorm: vorm 2970">
                <a:extLst>
                  <a:ext uri="{FF2B5EF4-FFF2-40B4-BE49-F238E27FC236}">
                    <a16:creationId xmlns:a16="http://schemas.microsoft.com/office/drawing/2014/main" id="{60AD450E-5A1A-4981-B366-1F1DEB26C8D0}"/>
                  </a:ext>
                </a:extLst>
              </p:cNvPr>
              <p:cNvSpPr/>
              <p:nvPr/>
            </p:nvSpPr>
            <p:spPr>
              <a:xfrm>
                <a:off x="4920180" y="1832952"/>
                <a:ext cx="27272" cy="36362"/>
              </a:xfrm>
              <a:custGeom>
                <a:avLst/>
                <a:gdLst>
                  <a:gd name="connsiteX0" fmla="*/ 27272 w 27272"/>
                  <a:gd name="connsiteY0" fmla="*/ 34569 h 36362"/>
                  <a:gd name="connsiteX1" fmla="*/ 24820 w 27272"/>
                  <a:gd name="connsiteY1" fmla="*/ 36363 h 36362"/>
                  <a:gd name="connsiteX2" fmla="*/ 0 w 27272"/>
                  <a:gd name="connsiteY2" fmla="*/ 1734 h 36362"/>
                  <a:gd name="connsiteX3" fmla="*/ 2512 w 27272"/>
                  <a:gd name="connsiteY3" fmla="*/ 0 h 36362"/>
                </a:gdLst>
                <a:ahLst/>
                <a:cxnLst>
                  <a:cxn ang="0">
                    <a:pos x="connsiteX0" y="connsiteY0"/>
                  </a:cxn>
                  <a:cxn ang="0">
                    <a:pos x="connsiteX1" y="connsiteY1"/>
                  </a:cxn>
                  <a:cxn ang="0">
                    <a:pos x="connsiteX2" y="connsiteY2"/>
                  </a:cxn>
                  <a:cxn ang="0">
                    <a:pos x="connsiteX3" y="connsiteY3"/>
                  </a:cxn>
                </a:cxnLst>
                <a:rect l="l" t="t" r="r" b="b"/>
                <a:pathLst>
                  <a:path w="27272" h="36362">
                    <a:moveTo>
                      <a:pt x="27272" y="34569"/>
                    </a:moveTo>
                    <a:lnTo>
                      <a:pt x="24820" y="36363"/>
                    </a:lnTo>
                    <a:lnTo>
                      <a:pt x="0" y="1734"/>
                    </a:lnTo>
                    <a:lnTo>
                      <a:pt x="2512" y="0"/>
                    </a:lnTo>
                    <a:close/>
                  </a:path>
                </a:pathLst>
              </a:custGeom>
              <a:grpFill/>
              <a:ln w="5978" cap="flat">
                <a:noFill/>
                <a:prstDash val="solid"/>
                <a:miter/>
              </a:ln>
            </p:spPr>
            <p:txBody>
              <a:bodyPr rtlCol="0" anchor="ctr"/>
              <a:lstStyle/>
              <a:p>
                <a:endParaRPr lang="en-GB"/>
              </a:p>
            </p:txBody>
          </p:sp>
          <p:sp>
            <p:nvSpPr>
              <p:cNvPr id="2972" name="Vrije vorm: vorm 2971">
                <a:extLst>
                  <a:ext uri="{FF2B5EF4-FFF2-40B4-BE49-F238E27FC236}">
                    <a16:creationId xmlns:a16="http://schemas.microsoft.com/office/drawing/2014/main" id="{7F405CA1-3E28-4AF2-ACE5-2E1574F2F2B0}"/>
                  </a:ext>
                </a:extLst>
              </p:cNvPr>
              <p:cNvSpPr/>
              <p:nvPr/>
            </p:nvSpPr>
            <p:spPr>
              <a:xfrm>
                <a:off x="4912515" y="1824932"/>
                <a:ext cx="18379" cy="18492"/>
              </a:xfrm>
              <a:custGeom>
                <a:avLst/>
                <a:gdLst>
                  <a:gd name="connsiteX0" fmla="*/ 1744 w 18379"/>
                  <a:gd name="connsiteY0" fmla="*/ 14599 h 18492"/>
                  <a:gd name="connsiteX1" fmla="*/ 3837 w 18379"/>
                  <a:gd name="connsiteY1" fmla="*/ 1740 h 18492"/>
                  <a:gd name="connsiteX2" fmla="*/ 16636 w 18379"/>
                  <a:gd name="connsiteY2" fmla="*/ 3893 h 18492"/>
                  <a:gd name="connsiteX3" fmla="*/ 14543 w 18379"/>
                  <a:gd name="connsiteY3" fmla="*/ 16752 h 18492"/>
                  <a:gd name="connsiteX4" fmla="*/ 1744 w 18379"/>
                  <a:gd name="connsiteY4" fmla="*/ 14599 h 18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92">
                    <a:moveTo>
                      <a:pt x="1744" y="14599"/>
                    </a:moveTo>
                    <a:cubicBezTo>
                      <a:pt x="-1247" y="10472"/>
                      <a:pt x="-289" y="4731"/>
                      <a:pt x="3837" y="1740"/>
                    </a:cubicBezTo>
                    <a:cubicBezTo>
                      <a:pt x="7964" y="-1250"/>
                      <a:pt x="13645" y="-293"/>
                      <a:pt x="16636" y="3893"/>
                    </a:cubicBezTo>
                    <a:cubicBezTo>
                      <a:pt x="19626" y="8020"/>
                      <a:pt x="18669" y="13761"/>
                      <a:pt x="14543" y="16752"/>
                    </a:cubicBezTo>
                    <a:cubicBezTo>
                      <a:pt x="10416" y="19742"/>
                      <a:pt x="4734" y="18785"/>
                      <a:pt x="1744" y="14599"/>
                    </a:cubicBezTo>
                    <a:close/>
                  </a:path>
                </a:pathLst>
              </a:custGeom>
              <a:grpFill/>
              <a:ln w="5978" cap="flat">
                <a:noFill/>
                <a:prstDash val="solid"/>
                <a:miter/>
              </a:ln>
            </p:spPr>
            <p:txBody>
              <a:bodyPr rtlCol="0" anchor="ctr"/>
              <a:lstStyle/>
              <a:p>
                <a:endParaRPr lang="en-GB"/>
              </a:p>
            </p:txBody>
          </p:sp>
          <p:sp>
            <p:nvSpPr>
              <p:cNvPr id="2973" name="Vrije vorm: vorm 2972">
                <a:extLst>
                  <a:ext uri="{FF2B5EF4-FFF2-40B4-BE49-F238E27FC236}">
                    <a16:creationId xmlns:a16="http://schemas.microsoft.com/office/drawing/2014/main" id="{3C2B40BE-CC75-4131-B0B5-7487F3A4C562}"/>
                  </a:ext>
                </a:extLst>
              </p:cNvPr>
              <p:cNvSpPr/>
              <p:nvPr/>
            </p:nvSpPr>
            <p:spPr>
              <a:xfrm>
                <a:off x="4936797" y="1858885"/>
                <a:ext cx="18353" cy="18406"/>
              </a:xfrm>
              <a:custGeom>
                <a:avLst/>
                <a:gdLst>
                  <a:gd name="connsiteX0" fmla="*/ 1744 w 18353"/>
                  <a:gd name="connsiteY0" fmla="*/ 14556 h 18406"/>
                  <a:gd name="connsiteX1" fmla="*/ 14543 w 18353"/>
                  <a:gd name="connsiteY1" fmla="*/ 16709 h 18406"/>
                  <a:gd name="connsiteX2" fmla="*/ 16636 w 18353"/>
                  <a:gd name="connsiteY2" fmla="*/ 3851 h 18406"/>
                  <a:gd name="connsiteX3" fmla="*/ 3837 w 18353"/>
                  <a:gd name="connsiteY3" fmla="*/ 1697 h 18406"/>
                  <a:gd name="connsiteX4" fmla="*/ 1744 w 18353"/>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6">
                    <a:moveTo>
                      <a:pt x="1744" y="14556"/>
                    </a:moveTo>
                    <a:cubicBezTo>
                      <a:pt x="4734" y="18683"/>
                      <a:pt x="10416" y="19640"/>
                      <a:pt x="14543" y="16709"/>
                    </a:cubicBezTo>
                    <a:cubicBezTo>
                      <a:pt x="18669" y="13719"/>
                      <a:pt x="19567" y="7977"/>
                      <a:pt x="16636" y="3851"/>
                    </a:cubicBezTo>
                    <a:cubicBezTo>
                      <a:pt x="13646" y="-276"/>
                      <a:pt x="7964" y="-1233"/>
                      <a:pt x="3837" y="1697"/>
                    </a:cubicBezTo>
                    <a:cubicBezTo>
                      <a:pt x="-289" y="4628"/>
                      <a:pt x="-1247" y="10429"/>
                      <a:pt x="1744" y="14556"/>
                    </a:cubicBezTo>
                    <a:close/>
                  </a:path>
                </a:pathLst>
              </a:custGeom>
              <a:grpFill/>
              <a:ln w="5978" cap="flat">
                <a:noFill/>
                <a:prstDash val="solid"/>
                <a:miter/>
              </a:ln>
            </p:spPr>
            <p:txBody>
              <a:bodyPr rtlCol="0" anchor="ctr"/>
              <a:lstStyle/>
              <a:p>
                <a:endParaRPr lang="en-GB"/>
              </a:p>
            </p:txBody>
          </p:sp>
        </p:grpSp>
        <p:grpSp>
          <p:nvGrpSpPr>
            <p:cNvPr id="809" name="Graphic 3">
              <a:extLst>
                <a:ext uri="{FF2B5EF4-FFF2-40B4-BE49-F238E27FC236}">
                  <a16:creationId xmlns:a16="http://schemas.microsoft.com/office/drawing/2014/main" id="{30A20CF7-E1AC-4B7A-85EC-246F33C50175}"/>
                </a:ext>
              </a:extLst>
            </p:cNvPr>
            <p:cNvGrpSpPr/>
            <p:nvPr/>
          </p:nvGrpSpPr>
          <p:grpSpPr>
            <a:xfrm>
              <a:off x="6047128" y="5095973"/>
              <a:ext cx="18360" cy="144494"/>
              <a:chOff x="6047128" y="5095973"/>
              <a:chExt cx="18360" cy="144494"/>
            </a:xfrm>
            <a:grpFill/>
          </p:grpSpPr>
          <p:sp>
            <p:nvSpPr>
              <p:cNvPr id="2968" name="Vrije vorm: vorm 2967">
                <a:extLst>
                  <a:ext uri="{FF2B5EF4-FFF2-40B4-BE49-F238E27FC236}">
                    <a16:creationId xmlns:a16="http://schemas.microsoft.com/office/drawing/2014/main" id="{185BACC2-FAC1-4E0E-8CD6-1CEFEC6B20FF}"/>
                  </a:ext>
                </a:extLst>
              </p:cNvPr>
              <p:cNvSpPr/>
              <p:nvPr/>
            </p:nvSpPr>
            <p:spPr>
              <a:xfrm>
                <a:off x="6054723" y="5104765"/>
                <a:ext cx="3169" cy="126910"/>
              </a:xfrm>
              <a:custGeom>
                <a:avLst/>
                <a:gdLst>
                  <a:gd name="connsiteX0" fmla="*/ 3050 w 3169"/>
                  <a:gd name="connsiteY0" fmla="*/ 0 h 126910"/>
                  <a:gd name="connsiteX1" fmla="*/ 3170 w 3169"/>
                  <a:gd name="connsiteY1" fmla="*/ 126911 h 126910"/>
                  <a:gd name="connsiteX2" fmla="*/ 120 w 3169"/>
                  <a:gd name="connsiteY2" fmla="*/ 126911 h 126910"/>
                  <a:gd name="connsiteX3" fmla="*/ 0 w 3169"/>
                  <a:gd name="connsiteY3" fmla="*/ 0 h 126910"/>
                </a:gdLst>
                <a:ahLst/>
                <a:cxnLst>
                  <a:cxn ang="0">
                    <a:pos x="connsiteX0" y="connsiteY0"/>
                  </a:cxn>
                  <a:cxn ang="0">
                    <a:pos x="connsiteX1" y="connsiteY1"/>
                  </a:cxn>
                  <a:cxn ang="0">
                    <a:pos x="connsiteX2" y="connsiteY2"/>
                  </a:cxn>
                  <a:cxn ang="0">
                    <a:pos x="connsiteX3" y="connsiteY3"/>
                  </a:cxn>
                </a:cxnLst>
                <a:rect l="l" t="t" r="r" b="b"/>
                <a:pathLst>
                  <a:path w="3169" h="126910">
                    <a:moveTo>
                      <a:pt x="3050" y="0"/>
                    </a:moveTo>
                    <a:lnTo>
                      <a:pt x="3170" y="126911"/>
                    </a:lnTo>
                    <a:lnTo>
                      <a:pt x="120" y="126911"/>
                    </a:lnTo>
                    <a:lnTo>
                      <a:pt x="0" y="0"/>
                    </a:lnTo>
                    <a:close/>
                  </a:path>
                </a:pathLst>
              </a:custGeom>
              <a:grpFill/>
              <a:ln w="5978" cap="flat">
                <a:noFill/>
                <a:prstDash val="solid"/>
                <a:miter/>
              </a:ln>
            </p:spPr>
            <p:txBody>
              <a:bodyPr rtlCol="0" anchor="ctr"/>
              <a:lstStyle/>
              <a:p>
                <a:endParaRPr lang="en-GB"/>
              </a:p>
            </p:txBody>
          </p:sp>
          <p:sp>
            <p:nvSpPr>
              <p:cNvPr id="2969" name="Vrije vorm: vorm 2968">
                <a:extLst>
                  <a:ext uri="{FF2B5EF4-FFF2-40B4-BE49-F238E27FC236}">
                    <a16:creationId xmlns:a16="http://schemas.microsoft.com/office/drawing/2014/main" id="{0FF1D7CA-5D13-4C4E-A65F-D6B970F4FD3F}"/>
                  </a:ext>
                </a:extLst>
              </p:cNvPr>
              <p:cNvSpPr/>
              <p:nvPr/>
            </p:nvSpPr>
            <p:spPr>
              <a:xfrm>
                <a:off x="6047187" y="5221987"/>
                <a:ext cx="18300" cy="18480"/>
              </a:xfrm>
              <a:custGeom>
                <a:avLst/>
                <a:gdLst>
                  <a:gd name="connsiteX0" fmla="*/ 18301 w 18300"/>
                  <a:gd name="connsiteY0" fmla="*/ 9270 h 18480"/>
                  <a:gd name="connsiteX1" fmla="*/ 9151 w 18300"/>
                  <a:gd name="connsiteY1" fmla="*/ 18481 h 18480"/>
                  <a:gd name="connsiteX2" fmla="*/ 0 w 18300"/>
                  <a:gd name="connsiteY2" fmla="*/ 9211 h 18480"/>
                  <a:gd name="connsiteX3" fmla="*/ 9151 w 18300"/>
                  <a:gd name="connsiteY3" fmla="*/ 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14354"/>
                      <a:pt x="14175" y="18481"/>
                      <a:pt x="9151" y="18481"/>
                    </a:cubicBezTo>
                    <a:cubicBezTo>
                      <a:pt x="4067" y="18481"/>
                      <a:pt x="0" y="14354"/>
                      <a:pt x="0" y="9211"/>
                    </a:cubicBezTo>
                    <a:cubicBezTo>
                      <a:pt x="0" y="4127"/>
                      <a:pt x="4127" y="0"/>
                      <a:pt x="9151" y="0"/>
                    </a:cubicBezTo>
                    <a:cubicBezTo>
                      <a:pt x="14234" y="60"/>
                      <a:pt x="18301" y="4187"/>
                      <a:pt x="18301" y="9270"/>
                    </a:cubicBezTo>
                    <a:close/>
                  </a:path>
                </a:pathLst>
              </a:custGeom>
              <a:grpFill/>
              <a:ln w="5978" cap="flat">
                <a:noFill/>
                <a:prstDash val="solid"/>
                <a:miter/>
              </a:ln>
            </p:spPr>
            <p:txBody>
              <a:bodyPr rtlCol="0" anchor="ctr"/>
              <a:lstStyle/>
              <a:p>
                <a:endParaRPr lang="en-GB"/>
              </a:p>
            </p:txBody>
          </p:sp>
          <p:sp>
            <p:nvSpPr>
              <p:cNvPr id="2970" name="Vrije vorm: vorm 2969">
                <a:extLst>
                  <a:ext uri="{FF2B5EF4-FFF2-40B4-BE49-F238E27FC236}">
                    <a16:creationId xmlns:a16="http://schemas.microsoft.com/office/drawing/2014/main" id="{1B90ECC7-34A0-4B6E-99FF-AC9922D83304}"/>
                  </a:ext>
                </a:extLst>
              </p:cNvPr>
              <p:cNvSpPr/>
              <p:nvPr/>
            </p:nvSpPr>
            <p:spPr>
              <a:xfrm>
                <a:off x="6047128" y="5095973"/>
                <a:ext cx="18300" cy="18480"/>
              </a:xfrm>
              <a:custGeom>
                <a:avLst/>
                <a:gdLst>
                  <a:gd name="connsiteX0" fmla="*/ 18301 w 18300"/>
                  <a:gd name="connsiteY0" fmla="*/ 9270 h 18480"/>
                  <a:gd name="connsiteX1" fmla="*/ 9150 w 18300"/>
                  <a:gd name="connsiteY1" fmla="*/ 0 h 18480"/>
                  <a:gd name="connsiteX2" fmla="*/ 0 w 18300"/>
                  <a:gd name="connsiteY2" fmla="*/ 9211 h 18480"/>
                  <a:gd name="connsiteX3" fmla="*/ 9150 w 18300"/>
                  <a:gd name="connsiteY3" fmla="*/ 18481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4187"/>
                      <a:pt x="14174" y="60"/>
                      <a:pt x="9150" y="0"/>
                    </a:cubicBezTo>
                    <a:cubicBezTo>
                      <a:pt x="4067" y="0"/>
                      <a:pt x="0" y="4067"/>
                      <a:pt x="0" y="9211"/>
                    </a:cubicBezTo>
                    <a:cubicBezTo>
                      <a:pt x="0" y="14294"/>
                      <a:pt x="4127" y="18421"/>
                      <a:pt x="9150" y="18481"/>
                    </a:cubicBezTo>
                    <a:cubicBezTo>
                      <a:pt x="14234" y="18481"/>
                      <a:pt x="18301" y="14354"/>
                      <a:pt x="18301" y="9270"/>
                    </a:cubicBezTo>
                    <a:close/>
                  </a:path>
                </a:pathLst>
              </a:custGeom>
              <a:grpFill/>
              <a:ln w="5978" cap="flat">
                <a:noFill/>
                <a:prstDash val="solid"/>
                <a:miter/>
              </a:ln>
            </p:spPr>
            <p:txBody>
              <a:bodyPr rtlCol="0" anchor="ctr"/>
              <a:lstStyle/>
              <a:p>
                <a:endParaRPr lang="en-GB"/>
              </a:p>
            </p:txBody>
          </p:sp>
        </p:grpSp>
        <p:grpSp>
          <p:nvGrpSpPr>
            <p:cNvPr id="810" name="Graphic 3">
              <a:extLst>
                <a:ext uri="{FF2B5EF4-FFF2-40B4-BE49-F238E27FC236}">
                  <a16:creationId xmlns:a16="http://schemas.microsoft.com/office/drawing/2014/main" id="{26B55340-18F2-48A2-9781-0F7F8F664ED1}"/>
                </a:ext>
              </a:extLst>
            </p:cNvPr>
            <p:cNvGrpSpPr/>
            <p:nvPr/>
          </p:nvGrpSpPr>
          <p:grpSpPr>
            <a:xfrm>
              <a:off x="4797801" y="1594686"/>
              <a:ext cx="184531" cy="259790"/>
              <a:chOff x="4797801" y="1594686"/>
              <a:chExt cx="184531" cy="259790"/>
            </a:xfrm>
            <a:grpFill/>
          </p:grpSpPr>
          <p:sp>
            <p:nvSpPr>
              <p:cNvPr id="2965" name="Vrije vorm: vorm 2964">
                <a:extLst>
                  <a:ext uri="{FF2B5EF4-FFF2-40B4-BE49-F238E27FC236}">
                    <a16:creationId xmlns:a16="http://schemas.microsoft.com/office/drawing/2014/main" id="{6A07E8A5-6206-46BB-BFA5-E01F1FB687DD}"/>
                  </a:ext>
                </a:extLst>
              </p:cNvPr>
              <p:cNvSpPr/>
              <p:nvPr/>
            </p:nvSpPr>
            <p:spPr>
              <a:xfrm>
                <a:off x="4805470" y="1602634"/>
                <a:ext cx="169194" cy="243893"/>
              </a:xfrm>
              <a:custGeom>
                <a:avLst/>
                <a:gdLst>
                  <a:gd name="connsiteX0" fmla="*/ 169195 w 169194"/>
                  <a:gd name="connsiteY0" fmla="*/ 242159 h 243893"/>
                  <a:gd name="connsiteX1" fmla="*/ 166683 w 169194"/>
                  <a:gd name="connsiteY1" fmla="*/ 243894 h 243893"/>
                  <a:gd name="connsiteX2" fmla="*/ 0 w 169194"/>
                  <a:gd name="connsiteY2" fmla="*/ 1734 h 243893"/>
                  <a:gd name="connsiteX3" fmla="*/ 2512 w 169194"/>
                  <a:gd name="connsiteY3" fmla="*/ 0 h 243893"/>
                </a:gdLst>
                <a:ahLst/>
                <a:cxnLst>
                  <a:cxn ang="0">
                    <a:pos x="connsiteX0" y="connsiteY0"/>
                  </a:cxn>
                  <a:cxn ang="0">
                    <a:pos x="connsiteX1" y="connsiteY1"/>
                  </a:cxn>
                  <a:cxn ang="0">
                    <a:pos x="connsiteX2" y="connsiteY2"/>
                  </a:cxn>
                  <a:cxn ang="0">
                    <a:pos x="connsiteX3" y="connsiteY3"/>
                  </a:cxn>
                </a:cxnLst>
                <a:rect l="l" t="t" r="r" b="b"/>
                <a:pathLst>
                  <a:path w="169194" h="243893">
                    <a:moveTo>
                      <a:pt x="169195" y="242159"/>
                    </a:moveTo>
                    <a:lnTo>
                      <a:pt x="166683" y="243894"/>
                    </a:lnTo>
                    <a:lnTo>
                      <a:pt x="0" y="1734"/>
                    </a:lnTo>
                    <a:lnTo>
                      <a:pt x="2512" y="0"/>
                    </a:lnTo>
                    <a:close/>
                  </a:path>
                </a:pathLst>
              </a:custGeom>
              <a:grpFill/>
              <a:ln w="5978" cap="flat">
                <a:noFill/>
                <a:prstDash val="solid"/>
                <a:miter/>
              </a:ln>
            </p:spPr>
            <p:txBody>
              <a:bodyPr rtlCol="0" anchor="ctr"/>
              <a:lstStyle/>
              <a:p>
                <a:endParaRPr lang="en-GB"/>
              </a:p>
            </p:txBody>
          </p:sp>
          <p:sp>
            <p:nvSpPr>
              <p:cNvPr id="2966" name="Vrije vorm: vorm 2965">
                <a:extLst>
                  <a:ext uri="{FF2B5EF4-FFF2-40B4-BE49-F238E27FC236}">
                    <a16:creationId xmlns:a16="http://schemas.microsoft.com/office/drawing/2014/main" id="{22929D40-3CA0-457A-96A2-3F5D2672086E}"/>
                  </a:ext>
                </a:extLst>
              </p:cNvPr>
              <p:cNvSpPr/>
              <p:nvPr/>
            </p:nvSpPr>
            <p:spPr>
              <a:xfrm>
                <a:off x="4797801" y="1594686"/>
                <a:ext cx="18327" cy="18408"/>
              </a:xfrm>
              <a:custGeom>
                <a:avLst/>
                <a:gdLst>
                  <a:gd name="connsiteX0" fmla="*/ 1628 w 18327"/>
                  <a:gd name="connsiteY0" fmla="*/ 14407 h 18408"/>
                  <a:gd name="connsiteX1" fmla="*/ 3960 w 18327"/>
                  <a:gd name="connsiteY1" fmla="*/ 1609 h 18408"/>
                  <a:gd name="connsiteX2" fmla="*/ 16699 w 18327"/>
                  <a:gd name="connsiteY2" fmla="*/ 4001 h 18408"/>
                  <a:gd name="connsiteX3" fmla="*/ 14367 w 18327"/>
                  <a:gd name="connsiteY3" fmla="*/ 16800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1243" y="10221"/>
                      <a:pt x="-226" y="4479"/>
                      <a:pt x="3960" y="1609"/>
                    </a:cubicBezTo>
                    <a:cubicBezTo>
                      <a:pt x="8147" y="-1262"/>
                      <a:pt x="13829" y="-186"/>
                      <a:pt x="16699" y="4001"/>
                    </a:cubicBezTo>
                    <a:cubicBezTo>
                      <a:pt x="19570" y="8187"/>
                      <a:pt x="18553" y="13929"/>
                      <a:pt x="14367" y="16800"/>
                    </a:cubicBezTo>
                    <a:cubicBezTo>
                      <a:pt x="10240" y="19670"/>
                      <a:pt x="4559" y="18594"/>
                      <a:pt x="1628" y="14407"/>
                    </a:cubicBezTo>
                    <a:close/>
                  </a:path>
                </a:pathLst>
              </a:custGeom>
              <a:grpFill/>
              <a:ln w="5978" cap="flat">
                <a:noFill/>
                <a:prstDash val="solid"/>
                <a:miter/>
              </a:ln>
            </p:spPr>
            <p:txBody>
              <a:bodyPr rtlCol="0" anchor="ctr"/>
              <a:lstStyle/>
              <a:p>
                <a:endParaRPr lang="en-GB"/>
              </a:p>
            </p:txBody>
          </p:sp>
          <p:sp>
            <p:nvSpPr>
              <p:cNvPr id="2967" name="Vrije vorm: vorm 2966">
                <a:extLst>
                  <a:ext uri="{FF2B5EF4-FFF2-40B4-BE49-F238E27FC236}">
                    <a16:creationId xmlns:a16="http://schemas.microsoft.com/office/drawing/2014/main" id="{27288BD4-1D95-4B4C-AF16-F7D0664F652B}"/>
                  </a:ext>
                </a:extLst>
              </p:cNvPr>
              <p:cNvSpPr/>
              <p:nvPr/>
            </p:nvSpPr>
            <p:spPr>
              <a:xfrm>
                <a:off x="4964005" y="1836068"/>
                <a:ext cx="18327" cy="18408"/>
              </a:xfrm>
              <a:custGeom>
                <a:avLst/>
                <a:gdLst>
                  <a:gd name="connsiteX0" fmla="*/ 1628 w 18327"/>
                  <a:gd name="connsiteY0" fmla="*/ 14407 h 18408"/>
                  <a:gd name="connsiteX1" fmla="*/ 14367 w 18327"/>
                  <a:gd name="connsiteY1" fmla="*/ 16800 h 18408"/>
                  <a:gd name="connsiteX2" fmla="*/ 16700 w 18327"/>
                  <a:gd name="connsiteY2" fmla="*/ 4001 h 18408"/>
                  <a:gd name="connsiteX3" fmla="*/ 3961 w 18327"/>
                  <a:gd name="connsiteY3" fmla="*/ 1609 h 18408"/>
                  <a:gd name="connsiteX4" fmla="*/ 1628 w 1832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8">
                    <a:moveTo>
                      <a:pt x="1628" y="14407"/>
                    </a:moveTo>
                    <a:cubicBezTo>
                      <a:pt x="4499" y="18594"/>
                      <a:pt x="10240" y="19670"/>
                      <a:pt x="14367" y="16800"/>
                    </a:cubicBezTo>
                    <a:cubicBezTo>
                      <a:pt x="18554" y="13929"/>
                      <a:pt x="19570" y="8187"/>
                      <a:pt x="16700" y="4001"/>
                    </a:cubicBezTo>
                    <a:cubicBezTo>
                      <a:pt x="13829" y="-186"/>
                      <a:pt x="8087" y="-1262"/>
                      <a:pt x="3961" y="1609"/>
                    </a:cubicBezTo>
                    <a:cubicBezTo>
                      <a:pt x="-226" y="4539"/>
                      <a:pt x="-1243" y="10221"/>
                      <a:pt x="1628" y="14407"/>
                    </a:cubicBezTo>
                    <a:close/>
                  </a:path>
                </a:pathLst>
              </a:custGeom>
              <a:grpFill/>
              <a:ln w="5978" cap="flat">
                <a:noFill/>
                <a:prstDash val="solid"/>
                <a:miter/>
              </a:ln>
            </p:spPr>
            <p:txBody>
              <a:bodyPr rtlCol="0" anchor="ctr"/>
              <a:lstStyle/>
              <a:p>
                <a:endParaRPr lang="en-GB"/>
              </a:p>
            </p:txBody>
          </p:sp>
        </p:grpSp>
        <p:grpSp>
          <p:nvGrpSpPr>
            <p:cNvPr id="811" name="Graphic 3">
              <a:extLst>
                <a:ext uri="{FF2B5EF4-FFF2-40B4-BE49-F238E27FC236}">
                  <a16:creationId xmlns:a16="http://schemas.microsoft.com/office/drawing/2014/main" id="{689DCDD8-CC1E-4320-86BC-A301775B2EB6}"/>
                </a:ext>
              </a:extLst>
            </p:cNvPr>
            <p:cNvGrpSpPr/>
            <p:nvPr/>
          </p:nvGrpSpPr>
          <p:grpSpPr>
            <a:xfrm>
              <a:off x="4789933" y="1508829"/>
              <a:ext cx="64806" cy="88663"/>
              <a:chOff x="4789933" y="1508829"/>
              <a:chExt cx="64806" cy="88663"/>
            </a:xfrm>
            <a:grpFill/>
          </p:grpSpPr>
          <p:sp>
            <p:nvSpPr>
              <p:cNvPr id="2962" name="Vrije vorm: vorm 2961">
                <a:extLst>
                  <a:ext uri="{FF2B5EF4-FFF2-40B4-BE49-F238E27FC236}">
                    <a16:creationId xmlns:a16="http://schemas.microsoft.com/office/drawing/2014/main" id="{CDE00C4D-FB2A-4096-9AA0-27D3B4602CD3}"/>
                  </a:ext>
                </a:extLst>
              </p:cNvPr>
              <p:cNvSpPr/>
              <p:nvPr/>
            </p:nvSpPr>
            <p:spPr>
              <a:xfrm>
                <a:off x="4797575" y="1516751"/>
                <a:ext cx="49520" cy="72725"/>
              </a:xfrm>
              <a:custGeom>
                <a:avLst/>
                <a:gdLst>
                  <a:gd name="connsiteX0" fmla="*/ 49521 w 49520"/>
                  <a:gd name="connsiteY0" fmla="*/ 71051 h 72725"/>
                  <a:gd name="connsiteX1" fmla="*/ 46949 w 49520"/>
                  <a:gd name="connsiteY1" fmla="*/ 72726 h 72725"/>
                  <a:gd name="connsiteX2" fmla="*/ 0 w 49520"/>
                  <a:gd name="connsiteY2" fmla="*/ 1675 h 72725"/>
                  <a:gd name="connsiteX3" fmla="*/ 2512 w 49520"/>
                  <a:gd name="connsiteY3" fmla="*/ 0 h 72725"/>
                </a:gdLst>
                <a:ahLst/>
                <a:cxnLst>
                  <a:cxn ang="0">
                    <a:pos x="connsiteX0" y="connsiteY0"/>
                  </a:cxn>
                  <a:cxn ang="0">
                    <a:pos x="connsiteX1" y="connsiteY1"/>
                  </a:cxn>
                  <a:cxn ang="0">
                    <a:pos x="connsiteX2" y="connsiteY2"/>
                  </a:cxn>
                  <a:cxn ang="0">
                    <a:pos x="connsiteX3" y="connsiteY3"/>
                  </a:cxn>
                </a:cxnLst>
                <a:rect l="l" t="t" r="r" b="b"/>
                <a:pathLst>
                  <a:path w="49520" h="72725">
                    <a:moveTo>
                      <a:pt x="49521" y="71051"/>
                    </a:moveTo>
                    <a:lnTo>
                      <a:pt x="46949" y="72726"/>
                    </a:lnTo>
                    <a:lnTo>
                      <a:pt x="0" y="1675"/>
                    </a:lnTo>
                    <a:lnTo>
                      <a:pt x="2512" y="0"/>
                    </a:lnTo>
                    <a:close/>
                  </a:path>
                </a:pathLst>
              </a:custGeom>
              <a:grpFill/>
              <a:ln w="5978" cap="flat">
                <a:noFill/>
                <a:prstDash val="solid"/>
                <a:miter/>
              </a:ln>
            </p:spPr>
            <p:txBody>
              <a:bodyPr rtlCol="0" anchor="ctr"/>
              <a:lstStyle/>
              <a:p>
                <a:endParaRPr lang="en-GB"/>
              </a:p>
            </p:txBody>
          </p:sp>
          <p:sp>
            <p:nvSpPr>
              <p:cNvPr id="2963" name="Vrije vorm: vorm 2962">
                <a:extLst>
                  <a:ext uri="{FF2B5EF4-FFF2-40B4-BE49-F238E27FC236}">
                    <a16:creationId xmlns:a16="http://schemas.microsoft.com/office/drawing/2014/main" id="{A4919C05-9D0C-4EEB-8DBC-E42A2AA1A990}"/>
                  </a:ext>
                </a:extLst>
              </p:cNvPr>
              <p:cNvSpPr/>
              <p:nvPr/>
            </p:nvSpPr>
            <p:spPr>
              <a:xfrm>
                <a:off x="4789933" y="1508829"/>
                <a:ext cx="18393" cy="18390"/>
              </a:xfrm>
              <a:custGeom>
                <a:avLst/>
                <a:gdLst>
                  <a:gd name="connsiteX0" fmla="*/ 1542 w 18393"/>
                  <a:gd name="connsiteY0" fmla="*/ 14262 h 18390"/>
                  <a:gd name="connsiteX1" fmla="*/ 4113 w 18393"/>
                  <a:gd name="connsiteY1" fmla="*/ 1523 h 18390"/>
                  <a:gd name="connsiteX2" fmla="*/ 16852 w 18393"/>
                  <a:gd name="connsiteY2" fmla="*/ 4155 h 18390"/>
                  <a:gd name="connsiteX3" fmla="*/ 14281 w 18393"/>
                  <a:gd name="connsiteY3" fmla="*/ 16894 h 18390"/>
                  <a:gd name="connsiteX4" fmla="*/ 1542 w 18393"/>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3" h="18390">
                    <a:moveTo>
                      <a:pt x="1542" y="14262"/>
                    </a:moveTo>
                    <a:cubicBezTo>
                      <a:pt x="-1270" y="10016"/>
                      <a:pt x="-133" y="4274"/>
                      <a:pt x="4113" y="1523"/>
                    </a:cubicBezTo>
                    <a:cubicBezTo>
                      <a:pt x="8300" y="-1288"/>
                      <a:pt x="14041" y="-92"/>
                      <a:pt x="16852" y="4155"/>
                    </a:cubicBezTo>
                    <a:cubicBezTo>
                      <a:pt x="19663" y="8401"/>
                      <a:pt x="18527" y="14142"/>
                      <a:pt x="14281" y="16894"/>
                    </a:cubicBezTo>
                    <a:cubicBezTo>
                      <a:pt x="10034" y="19645"/>
                      <a:pt x="4352" y="18508"/>
                      <a:pt x="1542" y="14262"/>
                    </a:cubicBezTo>
                    <a:close/>
                  </a:path>
                </a:pathLst>
              </a:custGeom>
              <a:grpFill/>
              <a:ln w="5978" cap="flat">
                <a:noFill/>
                <a:prstDash val="solid"/>
                <a:miter/>
              </a:ln>
            </p:spPr>
            <p:txBody>
              <a:bodyPr rtlCol="0" anchor="ctr"/>
              <a:lstStyle/>
              <a:p>
                <a:endParaRPr lang="en-GB"/>
              </a:p>
            </p:txBody>
          </p:sp>
          <p:sp>
            <p:nvSpPr>
              <p:cNvPr id="2964" name="Vrije vorm: vorm 2963">
                <a:extLst>
                  <a:ext uri="{FF2B5EF4-FFF2-40B4-BE49-F238E27FC236}">
                    <a16:creationId xmlns:a16="http://schemas.microsoft.com/office/drawing/2014/main" id="{BAF23B03-FFBA-4453-9141-0F69F7976F93}"/>
                  </a:ext>
                </a:extLst>
              </p:cNvPr>
              <p:cNvSpPr/>
              <p:nvPr/>
            </p:nvSpPr>
            <p:spPr>
              <a:xfrm>
                <a:off x="4836401" y="1579129"/>
                <a:ext cx="18339" cy="18363"/>
              </a:xfrm>
              <a:custGeom>
                <a:avLst/>
                <a:gdLst>
                  <a:gd name="connsiteX0" fmla="*/ 1544 w 18339"/>
                  <a:gd name="connsiteY0" fmla="*/ 14236 h 18363"/>
                  <a:gd name="connsiteX1" fmla="*/ 14283 w 18339"/>
                  <a:gd name="connsiteY1" fmla="*/ 16867 h 18363"/>
                  <a:gd name="connsiteX2" fmla="*/ 16795 w 18339"/>
                  <a:gd name="connsiteY2" fmla="*/ 4128 h 18363"/>
                  <a:gd name="connsiteX3" fmla="*/ 4056 w 18339"/>
                  <a:gd name="connsiteY3" fmla="*/ 1497 h 18363"/>
                  <a:gd name="connsiteX4" fmla="*/ 1544 w 18339"/>
                  <a:gd name="connsiteY4" fmla="*/ 14236 h 1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63">
                    <a:moveTo>
                      <a:pt x="1544" y="14236"/>
                    </a:moveTo>
                    <a:cubicBezTo>
                      <a:pt x="4355" y="18482"/>
                      <a:pt x="10037" y="19618"/>
                      <a:pt x="14283" y="16867"/>
                    </a:cubicBezTo>
                    <a:cubicBezTo>
                      <a:pt x="18470" y="14056"/>
                      <a:pt x="19606" y="8374"/>
                      <a:pt x="16795" y="4128"/>
                    </a:cubicBezTo>
                    <a:cubicBezTo>
                      <a:pt x="13984" y="-118"/>
                      <a:pt x="8303" y="-1255"/>
                      <a:pt x="4056" y="1497"/>
                    </a:cubicBezTo>
                    <a:cubicBezTo>
                      <a:pt x="-130" y="4248"/>
                      <a:pt x="-1266" y="9989"/>
                      <a:pt x="1544" y="14236"/>
                    </a:cubicBezTo>
                    <a:close/>
                  </a:path>
                </a:pathLst>
              </a:custGeom>
              <a:grpFill/>
              <a:ln w="5978" cap="flat">
                <a:noFill/>
                <a:prstDash val="solid"/>
                <a:miter/>
              </a:ln>
            </p:spPr>
            <p:txBody>
              <a:bodyPr rtlCol="0" anchor="ctr"/>
              <a:lstStyle/>
              <a:p>
                <a:endParaRPr lang="en-GB"/>
              </a:p>
            </p:txBody>
          </p:sp>
        </p:grpSp>
        <p:grpSp>
          <p:nvGrpSpPr>
            <p:cNvPr id="812" name="Graphic 3">
              <a:extLst>
                <a:ext uri="{FF2B5EF4-FFF2-40B4-BE49-F238E27FC236}">
                  <a16:creationId xmlns:a16="http://schemas.microsoft.com/office/drawing/2014/main" id="{03CA409E-EE02-4F72-AE2B-29D4E05B2312}"/>
                </a:ext>
              </a:extLst>
            </p:cNvPr>
            <p:cNvGrpSpPr/>
            <p:nvPr/>
          </p:nvGrpSpPr>
          <p:grpSpPr>
            <a:xfrm>
              <a:off x="4945280" y="1985326"/>
              <a:ext cx="84784" cy="104315"/>
              <a:chOff x="4945280" y="1985326"/>
              <a:chExt cx="84784" cy="104315"/>
            </a:xfrm>
            <a:grpFill/>
          </p:grpSpPr>
          <p:sp>
            <p:nvSpPr>
              <p:cNvPr id="2959" name="Vrije vorm: vorm 2958">
                <a:extLst>
                  <a:ext uri="{FF2B5EF4-FFF2-40B4-BE49-F238E27FC236}">
                    <a16:creationId xmlns:a16="http://schemas.microsoft.com/office/drawing/2014/main" id="{78DC38E5-9B76-481E-B0E4-13D2FBC4B24A}"/>
                  </a:ext>
                </a:extLst>
              </p:cNvPr>
              <p:cNvSpPr/>
              <p:nvPr/>
            </p:nvSpPr>
            <p:spPr>
              <a:xfrm>
                <a:off x="4952954" y="1993235"/>
                <a:ext cx="69436" cy="88454"/>
              </a:xfrm>
              <a:custGeom>
                <a:avLst/>
                <a:gdLst>
                  <a:gd name="connsiteX0" fmla="*/ 69436 w 69436"/>
                  <a:gd name="connsiteY0" fmla="*/ 86601 h 88454"/>
                  <a:gd name="connsiteX1" fmla="*/ 67044 w 69436"/>
                  <a:gd name="connsiteY1" fmla="*/ 88455 h 88454"/>
                  <a:gd name="connsiteX2" fmla="*/ 0 w 69436"/>
                  <a:gd name="connsiteY2" fmla="*/ 1854 h 88454"/>
                  <a:gd name="connsiteX3" fmla="*/ 2452 w 69436"/>
                  <a:gd name="connsiteY3" fmla="*/ 0 h 88454"/>
                </a:gdLst>
                <a:ahLst/>
                <a:cxnLst>
                  <a:cxn ang="0">
                    <a:pos x="connsiteX0" y="connsiteY0"/>
                  </a:cxn>
                  <a:cxn ang="0">
                    <a:pos x="connsiteX1" y="connsiteY1"/>
                  </a:cxn>
                  <a:cxn ang="0">
                    <a:pos x="connsiteX2" y="connsiteY2"/>
                  </a:cxn>
                  <a:cxn ang="0">
                    <a:pos x="connsiteX3" y="connsiteY3"/>
                  </a:cxn>
                </a:cxnLst>
                <a:rect l="l" t="t" r="r" b="b"/>
                <a:pathLst>
                  <a:path w="69436" h="88454">
                    <a:moveTo>
                      <a:pt x="69436" y="86601"/>
                    </a:moveTo>
                    <a:lnTo>
                      <a:pt x="67044" y="88455"/>
                    </a:lnTo>
                    <a:lnTo>
                      <a:pt x="0" y="1854"/>
                    </a:lnTo>
                    <a:lnTo>
                      <a:pt x="2452" y="0"/>
                    </a:lnTo>
                    <a:close/>
                  </a:path>
                </a:pathLst>
              </a:custGeom>
              <a:grpFill/>
              <a:ln w="5978" cap="flat">
                <a:noFill/>
                <a:prstDash val="solid"/>
                <a:miter/>
              </a:ln>
            </p:spPr>
            <p:txBody>
              <a:bodyPr rtlCol="0" anchor="ctr"/>
              <a:lstStyle/>
              <a:p>
                <a:endParaRPr lang="en-GB"/>
              </a:p>
            </p:txBody>
          </p:sp>
          <p:sp>
            <p:nvSpPr>
              <p:cNvPr id="2960" name="Vrije vorm: vorm 2959">
                <a:extLst>
                  <a:ext uri="{FF2B5EF4-FFF2-40B4-BE49-F238E27FC236}">
                    <a16:creationId xmlns:a16="http://schemas.microsoft.com/office/drawing/2014/main" id="{62980D9D-73BA-4AE7-974D-6EC8DA9FB365}"/>
                  </a:ext>
                </a:extLst>
              </p:cNvPr>
              <p:cNvSpPr/>
              <p:nvPr/>
            </p:nvSpPr>
            <p:spPr>
              <a:xfrm>
                <a:off x="4945280" y="1985326"/>
                <a:ext cx="18339" cy="18406"/>
              </a:xfrm>
              <a:custGeom>
                <a:avLst/>
                <a:gdLst>
                  <a:gd name="connsiteX0" fmla="*/ 1933 w 18339"/>
                  <a:gd name="connsiteY0" fmla="*/ 14847 h 18406"/>
                  <a:gd name="connsiteX1" fmla="*/ 3548 w 18339"/>
                  <a:gd name="connsiteY1" fmla="*/ 1929 h 18406"/>
                  <a:gd name="connsiteX2" fmla="*/ 16406 w 18339"/>
                  <a:gd name="connsiteY2" fmla="*/ 3603 h 18406"/>
                  <a:gd name="connsiteX3" fmla="*/ 14792 w 18339"/>
                  <a:gd name="connsiteY3" fmla="*/ 16522 h 18406"/>
                  <a:gd name="connsiteX4" fmla="*/ 1933 w 18339"/>
                  <a:gd name="connsiteY4" fmla="*/ 1484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6">
                    <a:moveTo>
                      <a:pt x="1933" y="14847"/>
                    </a:moveTo>
                    <a:cubicBezTo>
                      <a:pt x="-1177" y="10840"/>
                      <a:pt x="-459" y="5038"/>
                      <a:pt x="3548" y="1929"/>
                    </a:cubicBezTo>
                    <a:cubicBezTo>
                      <a:pt x="7555" y="-1181"/>
                      <a:pt x="13296" y="-464"/>
                      <a:pt x="16406" y="3603"/>
                    </a:cubicBezTo>
                    <a:cubicBezTo>
                      <a:pt x="19516" y="7610"/>
                      <a:pt x="18799" y="13412"/>
                      <a:pt x="14792" y="16522"/>
                    </a:cubicBezTo>
                    <a:cubicBezTo>
                      <a:pt x="10844" y="19572"/>
                      <a:pt x="5043" y="18854"/>
                      <a:pt x="1933" y="14847"/>
                    </a:cubicBezTo>
                    <a:close/>
                  </a:path>
                </a:pathLst>
              </a:custGeom>
              <a:grpFill/>
              <a:ln w="5978" cap="flat">
                <a:noFill/>
                <a:prstDash val="solid"/>
                <a:miter/>
              </a:ln>
            </p:spPr>
            <p:txBody>
              <a:bodyPr rtlCol="0" anchor="ctr"/>
              <a:lstStyle/>
              <a:p>
                <a:endParaRPr lang="en-GB"/>
              </a:p>
            </p:txBody>
          </p:sp>
          <p:sp>
            <p:nvSpPr>
              <p:cNvPr id="2961" name="Vrije vorm: vorm 2960">
                <a:extLst>
                  <a:ext uri="{FF2B5EF4-FFF2-40B4-BE49-F238E27FC236}">
                    <a16:creationId xmlns:a16="http://schemas.microsoft.com/office/drawing/2014/main" id="{AA3C8C03-92D6-4558-9779-14E15C32B969}"/>
                  </a:ext>
                </a:extLst>
              </p:cNvPr>
              <p:cNvSpPr/>
              <p:nvPr/>
            </p:nvSpPr>
            <p:spPr>
              <a:xfrm>
                <a:off x="5011726" y="2071227"/>
                <a:ext cx="18338" cy="18413"/>
              </a:xfrm>
              <a:custGeom>
                <a:avLst/>
                <a:gdLst>
                  <a:gd name="connsiteX0" fmla="*/ 1933 w 18338"/>
                  <a:gd name="connsiteY0" fmla="*/ 14829 h 18413"/>
                  <a:gd name="connsiteX1" fmla="*/ 14791 w 18338"/>
                  <a:gd name="connsiteY1" fmla="*/ 16503 h 18413"/>
                  <a:gd name="connsiteX2" fmla="*/ 16406 w 18338"/>
                  <a:gd name="connsiteY2" fmla="*/ 3585 h 18413"/>
                  <a:gd name="connsiteX3" fmla="*/ 3548 w 18338"/>
                  <a:gd name="connsiteY3" fmla="*/ 1910 h 18413"/>
                  <a:gd name="connsiteX4" fmla="*/ 1933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3" y="14829"/>
                    </a:moveTo>
                    <a:cubicBezTo>
                      <a:pt x="5043" y="18836"/>
                      <a:pt x="10784" y="19613"/>
                      <a:pt x="14791" y="16503"/>
                    </a:cubicBezTo>
                    <a:cubicBezTo>
                      <a:pt x="18798" y="13393"/>
                      <a:pt x="19516" y="7592"/>
                      <a:pt x="16406" y="3585"/>
                    </a:cubicBezTo>
                    <a:cubicBezTo>
                      <a:pt x="13296" y="-422"/>
                      <a:pt x="7555" y="-1200"/>
                      <a:pt x="3548" y="1910"/>
                    </a:cubicBezTo>
                    <a:cubicBezTo>
                      <a:pt x="-459" y="5020"/>
                      <a:pt x="-1177" y="10822"/>
                      <a:pt x="1933" y="14829"/>
                    </a:cubicBezTo>
                    <a:close/>
                  </a:path>
                </a:pathLst>
              </a:custGeom>
              <a:grpFill/>
              <a:ln w="5978" cap="flat">
                <a:noFill/>
                <a:prstDash val="solid"/>
                <a:miter/>
              </a:ln>
            </p:spPr>
            <p:txBody>
              <a:bodyPr rtlCol="0" anchor="ctr"/>
              <a:lstStyle/>
              <a:p>
                <a:endParaRPr lang="en-GB"/>
              </a:p>
            </p:txBody>
          </p:sp>
        </p:grpSp>
        <p:grpSp>
          <p:nvGrpSpPr>
            <p:cNvPr id="813" name="Graphic 3">
              <a:extLst>
                <a:ext uri="{FF2B5EF4-FFF2-40B4-BE49-F238E27FC236}">
                  <a16:creationId xmlns:a16="http://schemas.microsoft.com/office/drawing/2014/main" id="{A9F38850-C556-4EA0-BE97-8F147F3ECCF4}"/>
                </a:ext>
              </a:extLst>
            </p:cNvPr>
            <p:cNvGrpSpPr/>
            <p:nvPr/>
          </p:nvGrpSpPr>
          <p:grpSpPr>
            <a:xfrm>
              <a:off x="4901810" y="1810023"/>
              <a:ext cx="22446" cy="24131"/>
              <a:chOff x="4901810" y="1810023"/>
              <a:chExt cx="22446" cy="24131"/>
            </a:xfrm>
            <a:grpFill/>
          </p:grpSpPr>
          <p:sp>
            <p:nvSpPr>
              <p:cNvPr id="2957" name="Vrije vorm: vorm 2956">
                <a:extLst>
                  <a:ext uri="{FF2B5EF4-FFF2-40B4-BE49-F238E27FC236}">
                    <a16:creationId xmlns:a16="http://schemas.microsoft.com/office/drawing/2014/main" id="{F79952FC-A684-4CB2-93FC-7AD9A208F19B}"/>
                  </a:ext>
                </a:extLst>
              </p:cNvPr>
              <p:cNvSpPr/>
              <p:nvPr/>
            </p:nvSpPr>
            <p:spPr>
              <a:xfrm>
                <a:off x="4905877" y="1815662"/>
                <a:ext cx="18379" cy="18492"/>
              </a:xfrm>
              <a:custGeom>
                <a:avLst/>
                <a:gdLst>
                  <a:gd name="connsiteX0" fmla="*/ 1744 w 18379"/>
                  <a:gd name="connsiteY0" fmla="*/ 14599 h 18492"/>
                  <a:gd name="connsiteX1" fmla="*/ 3837 w 18379"/>
                  <a:gd name="connsiteY1" fmla="*/ 1740 h 18492"/>
                  <a:gd name="connsiteX2" fmla="*/ 16636 w 18379"/>
                  <a:gd name="connsiteY2" fmla="*/ 3893 h 18492"/>
                  <a:gd name="connsiteX3" fmla="*/ 14543 w 18379"/>
                  <a:gd name="connsiteY3" fmla="*/ 16752 h 18492"/>
                  <a:gd name="connsiteX4" fmla="*/ 1744 w 18379"/>
                  <a:gd name="connsiteY4" fmla="*/ 14599 h 18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92">
                    <a:moveTo>
                      <a:pt x="1744" y="14599"/>
                    </a:moveTo>
                    <a:cubicBezTo>
                      <a:pt x="-1247" y="10472"/>
                      <a:pt x="-289" y="4731"/>
                      <a:pt x="3837" y="1740"/>
                    </a:cubicBezTo>
                    <a:cubicBezTo>
                      <a:pt x="7964" y="-1250"/>
                      <a:pt x="13645" y="-293"/>
                      <a:pt x="16636" y="3893"/>
                    </a:cubicBezTo>
                    <a:cubicBezTo>
                      <a:pt x="19626" y="8020"/>
                      <a:pt x="18669" y="13762"/>
                      <a:pt x="14543" y="16752"/>
                    </a:cubicBezTo>
                    <a:cubicBezTo>
                      <a:pt x="10416" y="19742"/>
                      <a:pt x="4734" y="18785"/>
                      <a:pt x="1744" y="14599"/>
                    </a:cubicBezTo>
                    <a:close/>
                  </a:path>
                </a:pathLst>
              </a:custGeom>
              <a:grpFill/>
              <a:ln w="5978" cap="flat">
                <a:noFill/>
                <a:prstDash val="solid"/>
                <a:miter/>
              </a:ln>
            </p:spPr>
            <p:txBody>
              <a:bodyPr rtlCol="0" anchor="ctr"/>
              <a:lstStyle/>
              <a:p>
                <a:endParaRPr lang="en-GB"/>
              </a:p>
            </p:txBody>
          </p:sp>
          <p:sp>
            <p:nvSpPr>
              <p:cNvPr id="2958" name="Vrije vorm: vorm 2957">
                <a:extLst>
                  <a:ext uri="{FF2B5EF4-FFF2-40B4-BE49-F238E27FC236}">
                    <a16:creationId xmlns:a16="http://schemas.microsoft.com/office/drawing/2014/main" id="{16193A34-ADCC-4ABF-9F44-A066D7844773}"/>
                  </a:ext>
                </a:extLst>
              </p:cNvPr>
              <p:cNvSpPr/>
              <p:nvPr/>
            </p:nvSpPr>
            <p:spPr>
              <a:xfrm>
                <a:off x="4901810" y="1810023"/>
                <a:ext cx="18353" cy="18406"/>
              </a:xfrm>
              <a:custGeom>
                <a:avLst/>
                <a:gdLst>
                  <a:gd name="connsiteX0" fmla="*/ 1744 w 18353"/>
                  <a:gd name="connsiteY0" fmla="*/ 14556 h 18406"/>
                  <a:gd name="connsiteX1" fmla="*/ 14543 w 18353"/>
                  <a:gd name="connsiteY1" fmla="*/ 16709 h 18406"/>
                  <a:gd name="connsiteX2" fmla="*/ 16636 w 18353"/>
                  <a:gd name="connsiteY2" fmla="*/ 3851 h 18406"/>
                  <a:gd name="connsiteX3" fmla="*/ 3837 w 18353"/>
                  <a:gd name="connsiteY3" fmla="*/ 1697 h 18406"/>
                  <a:gd name="connsiteX4" fmla="*/ 1744 w 18353"/>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6">
                    <a:moveTo>
                      <a:pt x="1744" y="14556"/>
                    </a:moveTo>
                    <a:cubicBezTo>
                      <a:pt x="4734" y="18683"/>
                      <a:pt x="10416" y="19640"/>
                      <a:pt x="14543" y="16709"/>
                    </a:cubicBezTo>
                    <a:cubicBezTo>
                      <a:pt x="18669" y="13719"/>
                      <a:pt x="19566" y="7977"/>
                      <a:pt x="16636" y="3851"/>
                    </a:cubicBezTo>
                    <a:cubicBezTo>
                      <a:pt x="13646" y="-276"/>
                      <a:pt x="7964" y="-1233"/>
                      <a:pt x="3837" y="1697"/>
                    </a:cubicBezTo>
                    <a:cubicBezTo>
                      <a:pt x="-290" y="4688"/>
                      <a:pt x="-1246" y="10429"/>
                      <a:pt x="1744" y="14556"/>
                    </a:cubicBezTo>
                    <a:close/>
                  </a:path>
                </a:pathLst>
              </a:custGeom>
              <a:grpFill/>
              <a:ln w="5978" cap="flat">
                <a:noFill/>
                <a:prstDash val="solid"/>
                <a:miter/>
              </a:ln>
            </p:spPr>
            <p:txBody>
              <a:bodyPr rtlCol="0" anchor="ctr"/>
              <a:lstStyle/>
              <a:p>
                <a:endParaRPr lang="en-GB"/>
              </a:p>
            </p:txBody>
          </p:sp>
        </p:grpSp>
        <p:grpSp>
          <p:nvGrpSpPr>
            <p:cNvPr id="814" name="Graphic 3">
              <a:extLst>
                <a:ext uri="{FF2B5EF4-FFF2-40B4-BE49-F238E27FC236}">
                  <a16:creationId xmlns:a16="http://schemas.microsoft.com/office/drawing/2014/main" id="{1F236115-9D58-4C61-97CF-9C665D0EB646}"/>
                </a:ext>
              </a:extLst>
            </p:cNvPr>
            <p:cNvGrpSpPr/>
            <p:nvPr/>
          </p:nvGrpSpPr>
          <p:grpSpPr>
            <a:xfrm>
              <a:off x="6186387" y="5280515"/>
              <a:ext cx="92217" cy="1004089"/>
              <a:chOff x="6186387" y="5280515"/>
              <a:chExt cx="92217" cy="1004089"/>
            </a:xfrm>
            <a:grpFill/>
          </p:grpSpPr>
          <p:sp>
            <p:nvSpPr>
              <p:cNvPr id="2954" name="Vrije vorm: vorm 2953">
                <a:extLst>
                  <a:ext uri="{FF2B5EF4-FFF2-40B4-BE49-F238E27FC236}">
                    <a16:creationId xmlns:a16="http://schemas.microsoft.com/office/drawing/2014/main" id="{05AE3E09-0B95-4470-A7DF-3F175C9DEF2B}"/>
                  </a:ext>
                </a:extLst>
              </p:cNvPr>
              <p:cNvSpPr/>
              <p:nvPr/>
            </p:nvSpPr>
            <p:spPr>
              <a:xfrm>
                <a:off x="6194014" y="5289151"/>
                <a:ext cx="76971" cy="986759"/>
              </a:xfrm>
              <a:custGeom>
                <a:avLst/>
                <a:gdLst>
                  <a:gd name="connsiteX0" fmla="*/ 3050 w 76971"/>
                  <a:gd name="connsiteY0" fmla="*/ 0 h 986759"/>
                  <a:gd name="connsiteX1" fmla="*/ 76972 w 76971"/>
                  <a:gd name="connsiteY1" fmla="*/ 986520 h 986759"/>
                  <a:gd name="connsiteX2" fmla="*/ 73982 w 76971"/>
                  <a:gd name="connsiteY2" fmla="*/ 986760 h 986759"/>
                  <a:gd name="connsiteX3" fmla="*/ 0 w 76971"/>
                  <a:gd name="connsiteY3" fmla="*/ 239 h 986759"/>
                </a:gdLst>
                <a:ahLst/>
                <a:cxnLst>
                  <a:cxn ang="0">
                    <a:pos x="connsiteX0" y="connsiteY0"/>
                  </a:cxn>
                  <a:cxn ang="0">
                    <a:pos x="connsiteX1" y="connsiteY1"/>
                  </a:cxn>
                  <a:cxn ang="0">
                    <a:pos x="connsiteX2" y="connsiteY2"/>
                  </a:cxn>
                  <a:cxn ang="0">
                    <a:pos x="connsiteX3" y="connsiteY3"/>
                  </a:cxn>
                </a:cxnLst>
                <a:rect l="l" t="t" r="r" b="b"/>
                <a:pathLst>
                  <a:path w="76971" h="986759">
                    <a:moveTo>
                      <a:pt x="3050" y="0"/>
                    </a:moveTo>
                    <a:lnTo>
                      <a:pt x="76972" y="986520"/>
                    </a:lnTo>
                    <a:lnTo>
                      <a:pt x="73982" y="986760"/>
                    </a:lnTo>
                    <a:lnTo>
                      <a:pt x="0" y="239"/>
                    </a:lnTo>
                    <a:close/>
                  </a:path>
                </a:pathLst>
              </a:custGeom>
              <a:grpFill/>
              <a:ln w="5978" cap="flat">
                <a:noFill/>
                <a:prstDash val="solid"/>
                <a:miter/>
              </a:ln>
            </p:spPr>
            <p:txBody>
              <a:bodyPr rtlCol="0" anchor="ctr"/>
              <a:lstStyle/>
              <a:p>
                <a:endParaRPr lang="en-GB"/>
              </a:p>
            </p:txBody>
          </p:sp>
          <p:sp>
            <p:nvSpPr>
              <p:cNvPr id="2955" name="Vrije vorm: vorm 2954">
                <a:extLst>
                  <a:ext uri="{FF2B5EF4-FFF2-40B4-BE49-F238E27FC236}">
                    <a16:creationId xmlns:a16="http://schemas.microsoft.com/office/drawing/2014/main" id="{441F958D-9E5A-4400-9192-31223A7CF569}"/>
                  </a:ext>
                </a:extLst>
              </p:cNvPr>
              <p:cNvSpPr/>
              <p:nvPr/>
            </p:nvSpPr>
            <p:spPr>
              <a:xfrm>
                <a:off x="6260316" y="6266138"/>
                <a:ext cx="18288" cy="18466"/>
              </a:xfrm>
              <a:custGeom>
                <a:avLst/>
                <a:gdLst>
                  <a:gd name="connsiteX0" fmla="*/ 18265 w 18288"/>
                  <a:gd name="connsiteY0" fmla="*/ 8576 h 18466"/>
                  <a:gd name="connsiteX1" fmla="*/ 9832 w 18288"/>
                  <a:gd name="connsiteY1" fmla="*/ 18444 h 18466"/>
                  <a:gd name="connsiteX2" fmla="*/ 24 w 18288"/>
                  <a:gd name="connsiteY2" fmla="*/ 9891 h 18466"/>
                  <a:gd name="connsiteX3" fmla="*/ 8457 w 18288"/>
                  <a:gd name="connsiteY3" fmla="*/ 23 h 18466"/>
                  <a:gd name="connsiteX4" fmla="*/ 18265 w 18288"/>
                  <a:gd name="connsiteY4" fmla="*/ 857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66">
                    <a:moveTo>
                      <a:pt x="18265" y="8576"/>
                    </a:moveTo>
                    <a:cubicBezTo>
                      <a:pt x="18624" y="13659"/>
                      <a:pt x="14856" y="18085"/>
                      <a:pt x="9832" y="18444"/>
                    </a:cubicBezTo>
                    <a:cubicBezTo>
                      <a:pt x="4808" y="18802"/>
                      <a:pt x="382" y="14975"/>
                      <a:pt x="24" y="9891"/>
                    </a:cubicBezTo>
                    <a:cubicBezTo>
                      <a:pt x="-335" y="4808"/>
                      <a:pt x="3433" y="382"/>
                      <a:pt x="8457" y="23"/>
                    </a:cubicBezTo>
                    <a:cubicBezTo>
                      <a:pt x="13480" y="-336"/>
                      <a:pt x="17906" y="3492"/>
                      <a:pt x="18265" y="8576"/>
                    </a:cubicBezTo>
                    <a:close/>
                  </a:path>
                </a:pathLst>
              </a:custGeom>
              <a:grpFill/>
              <a:ln w="5978" cap="flat">
                <a:noFill/>
                <a:prstDash val="solid"/>
                <a:miter/>
              </a:ln>
            </p:spPr>
            <p:txBody>
              <a:bodyPr rtlCol="0" anchor="ctr"/>
              <a:lstStyle/>
              <a:p>
                <a:endParaRPr lang="en-GB"/>
              </a:p>
            </p:txBody>
          </p:sp>
          <p:sp>
            <p:nvSpPr>
              <p:cNvPr id="2956" name="Vrije vorm: vorm 2955">
                <a:extLst>
                  <a:ext uri="{FF2B5EF4-FFF2-40B4-BE49-F238E27FC236}">
                    <a16:creationId xmlns:a16="http://schemas.microsoft.com/office/drawing/2014/main" id="{0D3917E8-276D-4FFE-8AA5-1949DD6C939F}"/>
                  </a:ext>
                </a:extLst>
              </p:cNvPr>
              <p:cNvSpPr/>
              <p:nvPr/>
            </p:nvSpPr>
            <p:spPr>
              <a:xfrm>
                <a:off x="6186387" y="5280515"/>
                <a:ext cx="18304" cy="18467"/>
              </a:xfrm>
              <a:custGeom>
                <a:avLst/>
                <a:gdLst>
                  <a:gd name="connsiteX0" fmla="*/ 18272 w 18304"/>
                  <a:gd name="connsiteY0" fmla="*/ 8576 h 18467"/>
                  <a:gd name="connsiteX1" fmla="*/ 8464 w 18304"/>
                  <a:gd name="connsiteY1" fmla="*/ 23 h 18467"/>
                  <a:gd name="connsiteX2" fmla="*/ 31 w 18304"/>
                  <a:gd name="connsiteY2" fmla="*/ 9891 h 18467"/>
                  <a:gd name="connsiteX3" fmla="*/ 9840 w 18304"/>
                  <a:gd name="connsiteY3" fmla="*/ 18444 h 18467"/>
                  <a:gd name="connsiteX4" fmla="*/ 18272 w 18304"/>
                  <a:gd name="connsiteY4" fmla="*/ 8576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67">
                    <a:moveTo>
                      <a:pt x="18272" y="8576"/>
                    </a:moveTo>
                    <a:cubicBezTo>
                      <a:pt x="17914" y="3492"/>
                      <a:pt x="13488" y="-336"/>
                      <a:pt x="8464" y="23"/>
                    </a:cubicBezTo>
                    <a:cubicBezTo>
                      <a:pt x="3440" y="382"/>
                      <a:pt x="-387" y="4808"/>
                      <a:pt x="31" y="9891"/>
                    </a:cubicBezTo>
                    <a:cubicBezTo>
                      <a:pt x="390" y="14975"/>
                      <a:pt x="4816" y="18803"/>
                      <a:pt x="9840" y="18444"/>
                    </a:cubicBezTo>
                    <a:cubicBezTo>
                      <a:pt x="14923" y="18025"/>
                      <a:pt x="18691" y="13659"/>
                      <a:pt x="18272" y="8576"/>
                    </a:cubicBezTo>
                    <a:close/>
                  </a:path>
                </a:pathLst>
              </a:custGeom>
              <a:grpFill/>
              <a:ln w="5978" cap="flat">
                <a:noFill/>
                <a:prstDash val="solid"/>
                <a:miter/>
              </a:ln>
            </p:spPr>
            <p:txBody>
              <a:bodyPr rtlCol="0" anchor="ctr"/>
              <a:lstStyle/>
              <a:p>
                <a:endParaRPr lang="en-GB"/>
              </a:p>
            </p:txBody>
          </p:sp>
        </p:grpSp>
        <p:grpSp>
          <p:nvGrpSpPr>
            <p:cNvPr id="815" name="Graphic 3">
              <a:extLst>
                <a:ext uri="{FF2B5EF4-FFF2-40B4-BE49-F238E27FC236}">
                  <a16:creationId xmlns:a16="http://schemas.microsoft.com/office/drawing/2014/main" id="{C490C4DD-7CB9-4BBC-8B14-A184A38E7F64}"/>
                </a:ext>
              </a:extLst>
            </p:cNvPr>
            <p:cNvGrpSpPr/>
            <p:nvPr/>
          </p:nvGrpSpPr>
          <p:grpSpPr>
            <a:xfrm>
              <a:off x="6013334" y="5098483"/>
              <a:ext cx="20758" cy="156400"/>
              <a:chOff x="6013334" y="5098483"/>
              <a:chExt cx="20758" cy="156400"/>
            </a:xfrm>
            <a:grpFill/>
          </p:grpSpPr>
          <p:sp>
            <p:nvSpPr>
              <p:cNvPr id="2951" name="Vrije vorm: vorm 2950">
                <a:extLst>
                  <a:ext uri="{FF2B5EF4-FFF2-40B4-BE49-F238E27FC236}">
                    <a16:creationId xmlns:a16="http://schemas.microsoft.com/office/drawing/2014/main" id="{A2F682E6-5381-4FC8-A124-FE425E17C375}"/>
                  </a:ext>
                </a:extLst>
              </p:cNvPr>
              <p:cNvSpPr/>
              <p:nvPr/>
            </p:nvSpPr>
            <p:spPr>
              <a:xfrm>
                <a:off x="6020932" y="5107217"/>
                <a:ext cx="5502" cy="138932"/>
              </a:xfrm>
              <a:custGeom>
                <a:avLst/>
                <a:gdLst>
                  <a:gd name="connsiteX0" fmla="*/ 5502 w 5502"/>
                  <a:gd name="connsiteY0" fmla="*/ 60 h 138932"/>
                  <a:gd name="connsiteX1" fmla="*/ 3050 w 5502"/>
                  <a:gd name="connsiteY1" fmla="*/ 138932 h 138932"/>
                  <a:gd name="connsiteX2" fmla="*/ 0 w 5502"/>
                  <a:gd name="connsiteY2" fmla="*/ 138813 h 138932"/>
                  <a:gd name="connsiteX3" fmla="*/ 2452 w 5502"/>
                  <a:gd name="connsiteY3" fmla="*/ 0 h 138932"/>
                </a:gdLst>
                <a:ahLst/>
                <a:cxnLst>
                  <a:cxn ang="0">
                    <a:pos x="connsiteX0" y="connsiteY0"/>
                  </a:cxn>
                  <a:cxn ang="0">
                    <a:pos x="connsiteX1" y="connsiteY1"/>
                  </a:cxn>
                  <a:cxn ang="0">
                    <a:pos x="connsiteX2" y="connsiteY2"/>
                  </a:cxn>
                  <a:cxn ang="0">
                    <a:pos x="connsiteX3" y="connsiteY3"/>
                  </a:cxn>
                </a:cxnLst>
                <a:rect l="l" t="t" r="r" b="b"/>
                <a:pathLst>
                  <a:path w="5502" h="138932">
                    <a:moveTo>
                      <a:pt x="5502" y="60"/>
                    </a:moveTo>
                    <a:lnTo>
                      <a:pt x="3050" y="138932"/>
                    </a:lnTo>
                    <a:lnTo>
                      <a:pt x="0" y="138813"/>
                    </a:lnTo>
                    <a:lnTo>
                      <a:pt x="2452" y="0"/>
                    </a:lnTo>
                    <a:close/>
                  </a:path>
                </a:pathLst>
              </a:custGeom>
              <a:grpFill/>
              <a:ln w="5978" cap="flat">
                <a:noFill/>
                <a:prstDash val="solid"/>
                <a:miter/>
              </a:ln>
            </p:spPr>
            <p:txBody>
              <a:bodyPr rtlCol="0" anchor="ctr"/>
              <a:lstStyle/>
              <a:p>
                <a:endParaRPr lang="en-GB"/>
              </a:p>
            </p:txBody>
          </p:sp>
          <p:sp>
            <p:nvSpPr>
              <p:cNvPr id="2952" name="Vrije vorm: vorm 2951">
                <a:extLst>
                  <a:ext uri="{FF2B5EF4-FFF2-40B4-BE49-F238E27FC236}">
                    <a16:creationId xmlns:a16="http://schemas.microsoft.com/office/drawing/2014/main" id="{5026594F-424E-4D4A-BE78-58D0CE900B7C}"/>
                  </a:ext>
                </a:extLst>
              </p:cNvPr>
              <p:cNvSpPr/>
              <p:nvPr/>
            </p:nvSpPr>
            <p:spPr>
              <a:xfrm>
                <a:off x="6013334" y="5236460"/>
                <a:ext cx="18304" cy="18423"/>
              </a:xfrm>
              <a:custGeom>
                <a:avLst/>
                <a:gdLst>
                  <a:gd name="connsiteX0" fmla="*/ 18304 w 18304"/>
                  <a:gd name="connsiteY0" fmla="*/ 9390 h 18423"/>
                  <a:gd name="connsiteX1" fmla="*/ 8974 w 18304"/>
                  <a:gd name="connsiteY1" fmla="*/ 18421 h 18423"/>
                  <a:gd name="connsiteX2" fmla="*/ 3 w 18304"/>
                  <a:gd name="connsiteY2" fmla="*/ 9032 h 18423"/>
                  <a:gd name="connsiteX3" fmla="*/ 9333 w 18304"/>
                  <a:gd name="connsiteY3" fmla="*/ 1 h 18423"/>
                  <a:gd name="connsiteX4" fmla="*/ 18304 w 18304"/>
                  <a:gd name="connsiteY4" fmla="*/ 9390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3">
                    <a:moveTo>
                      <a:pt x="18304" y="9390"/>
                    </a:moveTo>
                    <a:cubicBezTo>
                      <a:pt x="18184" y="14474"/>
                      <a:pt x="14057" y="18541"/>
                      <a:pt x="8974" y="18421"/>
                    </a:cubicBezTo>
                    <a:cubicBezTo>
                      <a:pt x="3890" y="18302"/>
                      <a:pt x="-117" y="14115"/>
                      <a:pt x="3" y="9032"/>
                    </a:cubicBezTo>
                    <a:cubicBezTo>
                      <a:pt x="122" y="3948"/>
                      <a:pt x="4249" y="-59"/>
                      <a:pt x="9333" y="1"/>
                    </a:cubicBezTo>
                    <a:cubicBezTo>
                      <a:pt x="14356" y="61"/>
                      <a:pt x="18363" y="4307"/>
                      <a:pt x="18304" y="9390"/>
                    </a:cubicBezTo>
                    <a:close/>
                  </a:path>
                </a:pathLst>
              </a:custGeom>
              <a:grpFill/>
              <a:ln w="5978" cap="flat">
                <a:noFill/>
                <a:prstDash val="solid"/>
                <a:miter/>
              </a:ln>
            </p:spPr>
            <p:txBody>
              <a:bodyPr rtlCol="0" anchor="ctr"/>
              <a:lstStyle/>
              <a:p>
                <a:endParaRPr lang="en-GB"/>
              </a:p>
            </p:txBody>
          </p:sp>
          <p:sp>
            <p:nvSpPr>
              <p:cNvPr id="2953" name="Vrije vorm: vorm 2952">
                <a:extLst>
                  <a:ext uri="{FF2B5EF4-FFF2-40B4-BE49-F238E27FC236}">
                    <a16:creationId xmlns:a16="http://schemas.microsoft.com/office/drawing/2014/main" id="{465330BF-D3C7-494A-B89D-F90BBECAD754}"/>
                  </a:ext>
                </a:extLst>
              </p:cNvPr>
              <p:cNvSpPr/>
              <p:nvPr/>
            </p:nvSpPr>
            <p:spPr>
              <a:xfrm>
                <a:off x="6015786" y="5098483"/>
                <a:ext cx="18306" cy="18425"/>
              </a:xfrm>
              <a:custGeom>
                <a:avLst/>
                <a:gdLst>
                  <a:gd name="connsiteX0" fmla="*/ 18304 w 18306"/>
                  <a:gd name="connsiteY0" fmla="*/ 9392 h 18425"/>
                  <a:gd name="connsiteX1" fmla="*/ 9332 w 18306"/>
                  <a:gd name="connsiteY1" fmla="*/ 3 h 18425"/>
                  <a:gd name="connsiteX2" fmla="*/ 3 w 18306"/>
                  <a:gd name="connsiteY2" fmla="*/ 9033 h 18425"/>
                  <a:gd name="connsiteX3" fmla="*/ 8974 w 18306"/>
                  <a:gd name="connsiteY3" fmla="*/ 18423 h 18425"/>
                  <a:gd name="connsiteX4" fmla="*/ 18304 w 18306"/>
                  <a:gd name="connsiteY4" fmla="*/ 939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5">
                    <a:moveTo>
                      <a:pt x="18304" y="9392"/>
                    </a:moveTo>
                    <a:cubicBezTo>
                      <a:pt x="18423" y="4309"/>
                      <a:pt x="14356" y="62"/>
                      <a:pt x="9332" y="3"/>
                    </a:cubicBezTo>
                    <a:cubicBezTo>
                      <a:pt x="4249" y="-117"/>
                      <a:pt x="122" y="3950"/>
                      <a:pt x="3" y="9033"/>
                    </a:cubicBezTo>
                    <a:cubicBezTo>
                      <a:pt x="-117" y="14117"/>
                      <a:pt x="3950" y="18363"/>
                      <a:pt x="8974" y="18423"/>
                    </a:cubicBezTo>
                    <a:cubicBezTo>
                      <a:pt x="13998" y="18543"/>
                      <a:pt x="18184" y="14476"/>
                      <a:pt x="18304" y="9392"/>
                    </a:cubicBezTo>
                    <a:close/>
                  </a:path>
                </a:pathLst>
              </a:custGeom>
              <a:grpFill/>
              <a:ln w="5978" cap="flat">
                <a:noFill/>
                <a:prstDash val="solid"/>
                <a:miter/>
              </a:ln>
            </p:spPr>
            <p:txBody>
              <a:bodyPr rtlCol="0" anchor="ctr"/>
              <a:lstStyle/>
              <a:p>
                <a:endParaRPr lang="en-GB"/>
              </a:p>
            </p:txBody>
          </p:sp>
        </p:grpSp>
        <p:grpSp>
          <p:nvGrpSpPr>
            <p:cNvPr id="816" name="Graphic 3">
              <a:extLst>
                <a:ext uri="{FF2B5EF4-FFF2-40B4-BE49-F238E27FC236}">
                  <a16:creationId xmlns:a16="http://schemas.microsoft.com/office/drawing/2014/main" id="{5B2A1058-5882-44E7-B83F-E7DAE2B2D965}"/>
                </a:ext>
              </a:extLst>
            </p:cNvPr>
            <p:cNvGrpSpPr/>
            <p:nvPr/>
          </p:nvGrpSpPr>
          <p:grpSpPr>
            <a:xfrm>
              <a:off x="4916393" y="1947946"/>
              <a:ext cx="35982" cy="41218"/>
              <a:chOff x="4916393" y="1947946"/>
              <a:chExt cx="35982" cy="41218"/>
            </a:xfrm>
            <a:grpFill/>
          </p:grpSpPr>
          <p:sp>
            <p:nvSpPr>
              <p:cNvPr id="2948" name="Vrije vorm: vorm 2947">
                <a:extLst>
                  <a:ext uri="{FF2B5EF4-FFF2-40B4-BE49-F238E27FC236}">
                    <a16:creationId xmlns:a16="http://schemas.microsoft.com/office/drawing/2014/main" id="{F3DC8FD7-A1EA-4696-ACA6-1F6361E9C191}"/>
                  </a:ext>
                </a:extLst>
              </p:cNvPr>
              <p:cNvSpPr/>
              <p:nvPr/>
            </p:nvSpPr>
            <p:spPr>
              <a:xfrm>
                <a:off x="4924067" y="1955856"/>
                <a:ext cx="20573" cy="25418"/>
              </a:xfrm>
              <a:custGeom>
                <a:avLst/>
                <a:gdLst>
                  <a:gd name="connsiteX0" fmla="*/ 20574 w 20573"/>
                  <a:gd name="connsiteY0" fmla="*/ 23504 h 25418"/>
                  <a:gd name="connsiteX1" fmla="*/ 18181 w 20573"/>
                  <a:gd name="connsiteY1" fmla="*/ 25418 h 25418"/>
                  <a:gd name="connsiteX2" fmla="*/ 0 w 20573"/>
                  <a:gd name="connsiteY2" fmla="*/ 1854 h 25418"/>
                  <a:gd name="connsiteX3" fmla="*/ 2392 w 20573"/>
                  <a:gd name="connsiteY3" fmla="*/ 0 h 25418"/>
                </a:gdLst>
                <a:ahLst/>
                <a:cxnLst>
                  <a:cxn ang="0">
                    <a:pos x="connsiteX0" y="connsiteY0"/>
                  </a:cxn>
                  <a:cxn ang="0">
                    <a:pos x="connsiteX1" y="connsiteY1"/>
                  </a:cxn>
                  <a:cxn ang="0">
                    <a:pos x="connsiteX2" y="connsiteY2"/>
                  </a:cxn>
                  <a:cxn ang="0">
                    <a:pos x="connsiteX3" y="connsiteY3"/>
                  </a:cxn>
                </a:cxnLst>
                <a:rect l="l" t="t" r="r" b="b"/>
                <a:pathLst>
                  <a:path w="20573" h="25418">
                    <a:moveTo>
                      <a:pt x="20574" y="23504"/>
                    </a:moveTo>
                    <a:lnTo>
                      <a:pt x="18181" y="25418"/>
                    </a:lnTo>
                    <a:lnTo>
                      <a:pt x="0" y="1854"/>
                    </a:lnTo>
                    <a:lnTo>
                      <a:pt x="2392" y="0"/>
                    </a:lnTo>
                    <a:close/>
                  </a:path>
                </a:pathLst>
              </a:custGeom>
              <a:grpFill/>
              <a:ln w="5978" cap="flat">
                <a:noFill/>
                <a:prstDash val="solid"/>
                <a:miter/>
              </a:ln>
            </p:spPr>
            <p:txBody>
              <a:bodyPr rtlCol="0" anchor="ctr"/>
              <a:lstStyle/>
              <a:p>
                <a:endParaRPr lang="en-GB"/>
              </a:p>
            </p:txBody>
          </p:sp>
          <p:sp>
            <p:nvSpPr>
              <p:cNvPr id="2949" name="Vrije vorm: vorm 2948">
                <a:extLst>
                  <a:ext uri="{FF2B5EF4-FFF2-40B4-BE49-F238E27FC236}">
                    <a16:creationId xmlns:a16="http://schemas.microsoft.com/office/drawing/2014/main" id="{63D4BBF9-D30C-4A07-BF95-9E9B0AB996D0}"/>
                  </a:ext>
                </a:extLst>
              </p:cNvPr>
              <p:cNvSpPr/>
              <p:nvPr/>
            </p:nvSpPr>
            <p:spPr>
              <a:xfrm>
                <a:off x="4916393" y="1947946"/>
                <a:ext cx="18338" cy="18406"/>
              </a:xfrm>
              <a:custGeom>
                <a:avLst/>
                <a:gdLst>
                  <a:gd name="connsiteX0" fmla="*/ 1933 w 18338"/>
                  <a:gd name="connsiteY0" fmla="*/ 14847 h 18406"/>
                  <a:gd name="connsiteX1" fmla="*/ 3548 w 18338"/>
                  <a:gd name="connsiteY1" fmla="*/ 1929 h 18406"/>
                  <a:gd name="connsiteX2" fmla="*/ 16406 w 18338"/>
                  <a:gd name="connsiteY2" fmla="*/ 3603 h 18406"/>
                  <a:gd name="connsiteX3" fmla="*/ 14791 w 18338"/>
                  <a:gd name="connsiteY3" fmla="*/ 16522 h 18406"/>
                  <a:gd name="connsiteX4" fmla="*/ 1933 w 18338"/>
                  <a:gd name="connsiteY4" fmla="*/ 1484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6">
                    <a:moveTo>
                      <a:pt x="1933" y="14847"/>
                    </a:moveTo>
                    <a:cubicBezTo>
                      <a:pt x="-1177" y="10840"/>
                      <a:pt x="-459" y="5038"/>
                      <a:pt x="3548" y="1929"/>
                    </a:cubicBezTo>
                    <a:cubicBezTo>
                      <a:pt x="7555" y="-1181"/>
                      <a:pt x="13296" y="-464"/>
                      <a:pt x="16406" y="3603"/>
                    </a:cubicBezTo>
                    <a:cubicBezTo>
                      <a:pt x="19516" y="7610"/>
                      <a:pt x="18798" y="13412"/>
                      <a:pt x="14791" y="16522"/>
                    </a:cubicBezTo>
                    <a:cubicBezTo>
                      <a:pt x="10784" y="19572"/>
                      <a:pt x="5043" y="18854"/>
                      <a:pt x="1933" y="14847"/>
                    </a:cubicBezTo>
                    <a:close/>
                  </a:path>
                </a:pathLst>
              </a:custGeom>
              <a:grpFill/>
              <a:ln w="5978" cap="flat">
                <a:noFill/>
                <a:prstDash val="solid"/>
                <a:miter/>
              </a:ln>
            </p:spPr>
            <p:txBody>
              <a:bodyPr rtlCol="0" anchor="ctr"/>
              <a:lstStyle/>
              <a:p>
                <a:endParaRPr lang="en-GB"/>
              </a:p>
            </p:txBody>
          </p:sp>
          <p:sp>
            <p:nvSpPr>
              <p:cNvPr id="2950" name="Vrije vorm: vorm 2949">
                <a:extLst>
                  <a:ext uri="{FF2B5EF4-FFF2-40B4-BE49-F238E27FC236}">
                    <a16:creationId xmlns:a16="http://schemas.microsoft.com/office/drawing/2014/main" id="{7903454A-F20C-4D60-87FF-77296BD02B8B}"/>
                  </a:ext>
                </a:extLst>
              </p:cNvPr>
              <p:cNvSpPr/>
              <p:nvPr/>
            </p:nvSpPr>
            <p:spPr>
              <a:xfrm>
                <a:off x="4934036" y="1970751"/>
                <a:ext cx="18338" cy="18413"/>
              </a:xfrm>
              <a:custGeom>
                <a:avLst/>
                <a:gdLst>
                  <a:gd name="connsiteX0" fmla="*/ 1933 w 18338"/>
                  <a:gd name="connsiteY0" fmla="*/ 14829 h 18413"/>
                  <a:gd name="connsiteX1" fmla="*/ 14791 w 18338"/>
                  <a:gd name="connsiteY1" fmla="*/ 16503 h 18413"/>
                  <a:gd name="connsiteX2" fmla="*/ 16406 w 18338"/>
                  <a:gd name="connsiteY2" fmla="*/ 3585 h 18413"/>
                  <a:gd name="connsiteX3" fmla="*/ 3548 w 18338"/>
                  <a:gd name="connsiteY3" fmla="*/ 1910 h 18413"/>
                  <a:gd name="connsiteX4" fmla="*/ 1933 w 1833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3">
                    <a:moveTo>
                      <a:pt x="1933" y="14829"/>
                    </a:moveTo>
                    <a:cubicBezTo>
                      <a:pt x="5043" y="18836"/>
                      <a:pt x="10784" y="19613"/>
                      <a:pt x="14791" y="16503"/>
                    </a:cubicBezTo>
                    <a:cubicBezTo>
                      <a:pt x="18798" y="13393"/>
                      <a:pt x="19516" y="7592"/>
                      <a:pt x="16406" y="3585"/>
                    </a:cubicBezTo>
                    <a:cubicBezTo>
                      <a:pt x="13296" y="-422"/>
                      <a:pt x="7555" y="-1200"/>
                      <a:pt x="3548" y="1910"/>
                    </a:cubicBezTo>
                    <a:cubicBezTo>
                      <a:pt x="-459" y="5020"/>
                      <a:pt x="-1177" y="10822"/>
                      <a:pt x="1933" y="14829"/>
                    </a:cubicBezTo>
                    <a:close/>
                  </a:path>
                </a:pathLst>
              </a:custGeom>
              <a:grpFill/>
              <a:ln w="5978" cap="flat">
                <a:noFill/>
                <a:prstDash val="solid"/>
                <a:miter/>
              </a:ln>
            </p:spPr>
            <p:txBody>
              <a:bodyPr rtlCol="0" anchor="ctr"/>
              <a:lstStyle/>
              <a:p>
                <a:endParaRPr lang="en-GB"/>
              </a:p>
            </p:txBody>
          </p:sp>
        </p:grpSp>
        <p:grpSp>
          <p:nvGrpSpPr>
            <p:cNvPr id="817" name="Graphic 3">
              <a:extLst>
                <a:ext uri="{FF2B5EF4-FFF2-40B4-BE49-F238E27FC236}">
                  <a16:creationId xmlns:a16="http://schemas.microsoft.com/office/drawing/2014/main" id="{B6AB7F95-DAC0-4814-8909-17125ABEE29C}"/>
                </a:ext>
              </a:extLst>
            </p:cNvPr>
            <p:cNvGrpSpPr/>
            <p:nvPr/>
          </p:nvGrpSpPr>
          <p:grpSpPr>
            <a:xfrm>
              <a:off x="6048008" y="5095531"/>
              <a:ext cx="47938" cy="476471"/>
              <a:chOff x="6048008" y="5095531"/>
              <a:chExt cx="47938" cy="476471"/>
            </a:xfrm>
            <a:grpFill/>
          </p:grpSpPr>
          <p:sp>
            <p:nvSpPr>
              <p:cNvPr id="2945" name="Vrije vorm: vorm 2944">
                <a:extLst>
                  <a:ext uri="{FF2B5EF4-FFF2-40B4-BE49-F238E27FC236}">
                    <a16:creationId xmlns:a16="http://schemas.microsoft.com/office/drawing/2014/main" id="{50490E16-6A63-4583-BC2A-CAAE6BFCE6DA}"/>
                  </a:ext>
                </a:extLst>
              </p:cNvPr>
              <p:cNvSpPr/>
              <p:nvPr/>
            </p:nvSpPr>
            <p:spPr>
              <a:xfrm>
                <a:off x="6055620" y="5104167"/>
                <a:ext cx="32714" cy="459199"/>
              </a:xfrm>
              <a:custGeom>
                <a:avLst/>
                <a:gdLst>
                  <a:gd name="connsiteX0" fmla="*/ 32714 w 32714"/>
                  <a:gd name="connsiteY0" fmla="*/ 239 h 459199"/>
                  <a:gd name="connsiteX1" fmla="*/ 3050 w 32714"/>
                  <a:gd name="connsiteY1" fmla="*/ 459200 h 459199"/>
                  <a:gd name="connsiteX2" fmla="*/ 0 w 32714"/>
                  <a:gd name="connsiteY2" fmla="*/ 458961 h 459199"/>
                  <a:gd name="connsiteX3" fmla="*/ 29665 w 32714"/>
                  <a:gd name="connsiteY3" fmla="*/ 0 h 459199"/>
                </a:gdLst>
                <a:ahLst/>
                <a:cxnLst>
                  <a:cxn ang="0">
                    <a:pos x="connsiteX0" y="connsiteY0"/>
                  </a:cxn>
                  <a:cxn ang="0">
                    <a:pos x="connsiteX1" y="connsiteY1"/>
                  </a:cxn>
                  <a:cxn ang="0">
                    <a:pos x="connsiteX2" y="connsiteY2"/>
                  </a:cxn>
                  <a:cxn ang="0">
                    <a:pos x="connsiteX3" y="connsiteY3"/>
                  </a:cxn>
                </a:cxnLst>
                <a:rect l="l" t="t" r="r" b="b"/>
                <a:pathLst>
                  <a:path w="32714" h="459199">
                    <a:moveTo>
                      <a:pt x="32714" y="239"/>
                    </a:moveTo>
                    <a:lnTo>
                      <a:pt x="3050" y="459200"/>
                    </a:lnTo>
                    <a:lnTo>
                      <a:pt x="0" y="458961"/>
                    </a:lnTo>
                    <a:lnTo>
                      <a:pt x="29665" y="0"/>
                    </a:lnTo>
                    <a:close/>
                  </a:path>
                </a:pathLst>
              </a:custGeom>
              <a:grpFill/>
              <a:ln w="5978" cap="flat">
                <a:noFill/>
                <a:prstDash val="solid"/>
                <a:miter/>
              </a:ln>
            </p:spPr>
            <p:txBody>
              <a:bodyPr rtlCol="0" anchor="ctr"/>
              <a:lstStyle/>
              <a:p>
                <a:endParaRPr lang="en-GB"/>
              </a:p>
            </p:txBody>
          </p:sp>
          <p:sp>
            <p:nvSpPr>
              <p:cNvPr id="2946" name="Vrije vorm: vorm 2945">
                <a:extLst>
                  <a:ext uri="{FF2B5EF4-FFF2-40B4-BE49-F238E27FC236}">
                    <a16:creationId xmlns:a16="http://schemas.microsoft.com/office/drawing/2014/main" id="{F2CC0192-CC8B-4D6C-A42D-B049FCA3C57A}"/>
                  </a:ext>
                </a:extLst>
              </p:cNvPr>
              <p:cNvSpPr/>
              <p:nvPr/>
            </p:nvSpPr>
            <p:spPr>
              <a:xfrm>
                <a:off x="6077613" y="5095531"/>
                <a:ext cx="18333" cy="18407"/>
              </a:xfrm>
              <a:custGeom>
                <a:avLst/>
                <a:gdLst>
                  <a:gd name="connsiteX0" fmla="*/ 16 w 18333"/>
                  <a:gd name="connsiteY0" fmla="*/ 8576 h 18407"/>
                  <a:gd name="connsiteX1" fmla="*/ 9765 w 18333"/>
                  <a:gd name="connsiteY1" fmla="*/ 23 h 18407"/>
                  <a:gd name="connsiteX2" fmla="*/ 18317 w 18333"/>
                  <a:gd name="connsiteY2" fmla="*/ 9832 h 18407"/>
                  <a:gd name="connsiteX3" fmla="*/ 8569 w 18333"/>
                  <a:gd name="connsiteY3" fmla="*/ 18384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315" y="3492"/>
                      <a:pt x="4682" y="-336"/>
                      <a:pt x="9765" y="23"/>
                    </a:cubicBezTo>
                    <a:cubicBezTo>
                      <a:pt x="14789" y="382"/>
                      <a:pt x="18616" y="4748"/>
                      <a:pt x="18317" y="9832"/>
                    </a:cubicBezTo>
                    <a:cubicBezTo>
                      <a:pt x="18018" y="14916"/>
                      <a:pt x="13653" y="18743"/>
                      <a:pt x="8569" y="18384"/>
                    </a:cubicBezTo>
                    <a:cubicBezTo>
                      <a:pt x="3545" y="18025"/>
                      <a:pt x="-283" y="13660"/>
                      <a:pt x="16" y="8576"/>
                    </a:cubicBezTo>
                    <a:close/>
                  </a:path>
                </a:pathLst>
              </a:custGeom>
              <a:grpFill/>
              <a:ln w="5978" cap="flat">
                <a:noFill/>
                <a:prstDash val="solid"/>
                <a:miter/>
              </a:ln>
            </p:spPr>
            <p:txBody>
              <a:bodyPr rtlCol="0" anchor="ctr"/>
              <a:lstStyle/>
              <a:p>
                <a:endParaRPr lang="en-GB"/>
              </a:p>
            </p:txBody>
          </p:sp>
          <p:sp>
            <p:nvSpPr>
              <p:cNvPr id="2947" name="Vrije vorm: vorm 2946">
                <a:extLst>
                  <a:ext uri="{FF2B5EF4-FFF2-40B4-BE49-F238E27FC236}">
                    <a16:creationId xmlns:a16="http://schemas.microsoft.com/office/drawing/2014/main" id="{48920033-9821-4E68-AF55-14080F2AC41F}"/>
                  </a:ext>
                </a:extLst>
              </p:cNvPr>
              <p:cNvSpPr/>
              <p:nvPr/>
            </p:nvSpPr>
            <p:spPr>
              <a:xfrm>
                <a:off x="6048008" y="5553595"/>
                <a:ext cx="18333" cy="18407"/>
              </a:xfrm>
              <a:custGeom>
                <a:avLst/>
                <a:gdLst>
                  <a:gd name="connsiteX0" fmla="*/ 16 w 18333"/>
                  <a:gd name="connsiteY0" fmla="*/ 8576 h 18407"/>
                  <a:gd name="connsiteX1" fmla="*/ 8569 w 18333"/>
                  <a:gd name="connsiteY1" fmla="*/ 18384 h 18407"/>
                  <a:gd name="connsiteX2" fmla="*/ 18317 w 18333"/>
                  <a:gd name="connsiteY2" fmla="*/ 9832 h 18407"/>
                  <a:gd name="connsiteX3" fmla="*/ 9765 w 18333"/>
                  <a:gd name="connsiteY3" fmla="*/ 23 h 18407"/>
                  <a:gd name="connsiteX4" fmla="*/ 16 w 18333"/>
                  <a:gd name="connsiteY4" fmla="*/ 8576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7">
                    <a:moveTo>
                      <a:pt x="16" y="8576"/>
                    </a:moveTo>
                    <a:cubicBezTo>
                      <a:pt x="-283" y="13659"/>
                      <a:pt x="3545" y="18025"/>
                      <a:pt x="8569" y="18384"/>
                    </a:cubicBezTo>
                    <a:cubicBezTo>
                      <a:pt x="13593" y="18743"/>
                      <a:pt x="17959" y="14915"/>
                      <a:pt x="18317" y="9832"/>
                    </a:cubicBezTo>
                    <a:cubicBezTo>
                      <a:pt x="18616" y="4748"/>
                      <a:pt x="14789" y="382"/>
                      <a:pt x="9765" y="23"/>
                    </a:cubicBezTo>
                    <a:cubicBezTo>
                      <a:pt x="4741" y="-336"/>
                      <a:pt x="375" y="3492"/>
                      <a:pt x="16" y="8576"/>
                    </a:cubicBezTo>
                    <a:close/>
                  </a:path>
                </a:pathLst>
              </a:custGeom>
              <a:grpFill/>
              <a:ln w="5978" cap="flat">
                <a:noFill/>
                <a:prstDash val="solid"/>
                <a:miter/>
              </a:ln>
            </p:spPr>
            <p:txBody>
              <a:bodyPr rtlCol="0" anchor="ctr"/>
              <a:lstStyle/>
              <a:p>
                <a:endParaRPr lang="en-GB"/>
              </a:p>
            </p:txBody>
          </p:sp>
        </p:grpSp>
        <p:grpSp>
          <p:nvGrpSpPr>
            <p:cNvPr id="818" name="Graphic 3">
              <a:extLst>
                <a:ext uri="{FF2B5EF4-FFF2-40B4-BE49-F238E27FC236}">
                  <a16:creationId xmlns:a16="http://schemas.microsoft.com/office/drawing/2014/main" id="{4818259A-0693-4A0F-97B5-3FF351C8E611}"/>
                </a:ext>
              </a:extLst>
            </p:cNvPr>
            <p:cNvGrpSpPr/>
            <p:nvPr/>
          </p:nvGrpSpPr>
          <p:grpSpPr>
            <a:xfrm>
              <a:off x="6083906" y="5379997"/>
              <a:ext cx="19861" cy="100298"/>
              <a:chOff x="6083906" y="5379997"/>
              <a:chExt cx="19861" cy="100298"/>
            </a:xfrm>
            <a:grpFill/>
          </p:grpSpPr>
          <p:sp>
            <p:nvSpPr>
              <p:cNvPr id="2942" name="Vrije vorm: vorm 2941">
                <a:extLst>
                  <a:ext uri="{FF2B5EF4-FFF2-40B4-BE49-F238E27FC236}">
                    <a16:creationId xmlns:a16="http://schemas.microsoft.com/office/drawing/2014/main" id="{8D4194D0-1552-4294-9619-8FA030576F9B}"/>
                  </a:ext>
                </a:extLst>
              </p:cNvPr>
              <p:cNvSpPr/>
              <p:nvPr/>
            </p:nvSpPr>
            <p:spPr>
              <a:xfrm>
                <a:off x="6091504" y="5388730"/>
                <a:ext cx="4664" cy="82832"/>
              </a:xfrm>
              <a:custGeom>
                <a:avLst/>
                <a:gdLst>
                  <a:gd name="connsiteX0" fmla="*/ 3050 w 4664"/>
                  <a:gd name="connsiteY0" fmla="*/ 0 h 82832"/>
                  <a:gd name="connsiteX1" fmla="*/ 4665 w 4664"/>
                  <a:gd name="connsiteY1" fmla="*/ 82833 h 82832"/>
                  <a:gd name="connsiteX2" fmla="*/ 1615 w 4664"/>
                  <a:gd name="connsiteY2" fmla="*/ 82833 h 82832"/>
                  <a:gd name="connsiteX3" fmla="*/ 0 w 4664"/>
                  <a:gd name="connsiteY3" fmla="*/ 60 h 82832"/>
                </a:gdLst>
                <a:ahLst/>
                <a:cxnLst>
                  <a:cxn ang="0">
                    <a:pos x="connsiteX0" y="connsiteY0"/>
                  </a:cxn>
                  <a:cxn ang="0">
                    <a:pos x="connsiteX1" y="connsiteY1"/>
                  </a:cxn>
                  <a:cxn ang="0">
                    <a:pos x="connsiteX2" y="connsiteY2"/>
                  </a:cxn>
                  <a:cxn ang="0">
                    <a:pos x="connsiteX3" y="connsiteY3"/>
                  </a:cxn>
                </a:cxnLst>
                <a:rect l="l" t="t" r="r" b="b"/>
                <a:pathLst>
                  <a:path w="4664" h="82832">
                    <a:moveTo>
                      <a:pt x="3050" y="0"/>
                    </a:moveTo>
                    <a:lnTo>
                      <a:pt x="4665" y="82833"/>
                    </a:lnTo>
                    <a:lnTo>
                      <a:pt x="1615" y="82833"/>
                    </a:lnTo>
                    <a:lnTo>
                      <a:pt x="0" y="60"/>
                    </a:lnTo>
                    <a:close/>
                  </a:path>
                </a:pathLst>
              </a:custGeom>
              <a:grpFill/>
              <a:ln w="5978" cap="flat">
                <a:noFill/>
                <a:prstDash val="solid"/>
                <a:miter/>
              </a:ln>
            </p:spPr>
            <p:txBody>
              <a:bodyPr rtlCol="0" anchor="ctr"/>
              <a:lstStyle/>
              <a:p>
                <a:endParaRPr lang="en-GB"/>
              </a:p>
            </p:txBody>
          </p:sp>
          <p:sp>
            <p:nvSpPr>
              <p:cNvPr id="2943" name="Vrije vorm: vorm 2942">
                <a:extLst>
                  <a:ext uri="{FF2B5EF4-FFF2-40B4-BE49-F238E27FC236}">
                    <a16:creationId xmlns:a16="http://schemas.microsoft.com/office/drawing/2014/main" id="{2CD069CE-DF20-48D7-9424-E3ED41D99505}"/>
                  </a:ext>
                </a:extLst>
              </p:cNvPr>
              <p:cNvSpPr/>
              <p:nvPr/>
            </p:nvSpPr>
            <p:spPr>
              <a:xfrm>
                <a:off x="6085461" y="5461873"/>
                <a:ext cx="18306" cy="18422"/>
              </a:xfrm>
              <a:custGeom>
                <a:avLst/>
                <a:gdLst>
                  <a:gd name="connsiteX0" fmla="*/ 18304 w 18306"/>
                  <a:gd name="connsiteY0" fmla="*/ 9091 h 18422"/>
                  <a:gd name="connsiteX1" fmla="*/ 9332 w 18306"/>
                  <a:gd name="connsiteY1" fmla="*/ 18421 h 18422"/>
                  <a:gd name="connsiteX2" fmla="*/ 3 w 18306"/>
                  <a:gd name="connsiteY2" fmla="*/ 9331 h 18422"/>
                  <a:gd name="connsiteX3" fmla="*/ 8974 w 18306"/>
                  <a:gd name="connsiteY3" fmla="*/ 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423" y="14175"/>
                      <a:pt x="14356" y="18362"/>
                      <a:pt x="9332" y="18421"/>
                    </a:cubicBezTo>
                    <a:cubicBezTo>
                      <a:pt x="4249" y="18481"/>
                      <a:pt x="62" y="14414"/>
                      <a:pt x="3" y="9331"/>
                    </a:cubicBezTo>
                    <a:cubicBezTo>
                      <a:pt x="-117" y="4247"/>
                      <a:pt x="3950" y="61"/>
                      <a:pt x="8974" y="1"/>
                    </a:cubicBezTo>
                    <a:cubicBezTo>
                      <a:pt x="14057" y="-59"/>
                      <a:pt x="18244" y="4008"/>
                      <a:pt x="18304" y="9091"/>
                    </a:cubicBezTo>
                    <a:close/>
                  </a:path>
                </a:pathLst>
              </a:custGeom>
              <a:grpFill/>
              <a:ln w="5978" cap="flat">
                <a:noFill/>
                <a:prstDash val="solid"/>
                <a:miter/>
              </a:ln>
            </p:spPr>
            <p:txBody>
              <a:bodyPr rtlCol="0" anchor="ctr"/>
              <a:lstStyle/>
              <a:p>
                <a:endParaRPr lang="en-GB"/>
              </a:p>
            </p:txBody>
          </p:sp>
          <p:sp>
            <p:nvSpPr>
              <p:cNvPr id="2944" name="Vrije vorm: vorm 2943">
                <a:extLst>
                  <a:ext uri="{FF2B5EF4-FFF2-40B4-BE49-F238E27FC236}">
                    <a16:creationId xmlns:a16="http://schemas.microsoft.com/office/drawing/2014/main" id="{E899780C-1734-438A-BAF4-863D3A96BCE6}"/>
                  </a:ext>
                </a:extLst>
              </p:cNvPr>
              <p:cNvSpPr/>
              <p:nvPr/>
            </p:nvSpPr>
            <p:spPr>
              <a:xfrm>
                <a:off x="6083906" y="5379997"/>
                <a:ext cx="18306" cy="18422"/>
              </a:xfrm>
              <a:custGeom>
                <a:avLst/>
                <a:gdLst>
                  <a:gd name="connsiteX0" fmla="*/ 18304 w 18306"/>
                  <a:gd name="connsiteY0" fmla="*/ 9091 h 18422"/>
                  <a:gd name="connsiteX1" fmla="*/ 8974 w 18306"/>
                  <a:gd name="connsiteY1" fmla="*/ 1 h 18422"/>
                  <a:gd name="connsiteX2" fmla="*/ 3 w 18306"/>
                  <a:gd name="connsiteY2" fmla="*/ 9331 h 18422"/>
                  <a:gd name="connsiteX3" fmla="*/ 9333 w 18306"/>
                  <a:gd name="connsiteY3" fmla="*/ 18421 h 18422"/>
                  <a:gd name="connsiteX4" fmla="*/ 18304 w 18306"/>
                  <a:gd name="connsiteY4" fmla="*/ 9091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2">
                    <a:moveTo>
                      <a:pt x="18304" y="9091"/>
                    </a:moveTo>
                    <a:cubicBezTo>
                      <a:pt x="18184" y="4008"/>
                      <a:pt x="13998" y="-59"/>
                      <a:pt x="8974" y="1"/>
                    </a:cubicBezTo>
                    <a:cubicBezTo>
                      <a:pt x="3890" y="61"/>
                      <a:pt x="-117" y="4247"/>
                      <a:pt x="3" y="9331"/>
                    </a:cubicBezTo>
                    <a:cubicBezTo>
                      <a:pt x="122" y="14414"/>
                      <a:pt x="4309" y="18481"/>
                      <a:pt x="9333" y="18421"/>
                    </a:cubicBezTo>
                    <a:cubicBezTo>
                      <a:pt x="14356" y="18362"/>
                      <a:pt x="18423" y="14175"/>
                      <a:pt x="18304" y="9091"/>
                    </a:cubicBezTo>
                    <a:close/>
                  </a:path>
                </a:pathLst>
              </a:custGeom>
              <a:grpFill/>
              <a:ln w="5978" cap="flat">
                <a:noFill/>
                <a:prstDash val="solid"/>
                <a:miter/>
              </a:ln>
            </p:spPr>
            <p:txBody>
              <a:bodyPr rtlCol="0" anchor="ctr"/>
              <a:lstStyle/>
              <a:p>
                <a:endParaRPr lang="en-GB"/>
              </a:p>
            </p:txBody>
          </p:sp>
        </p:grpSp>
        <p:grpSp>
          <p:nvGrpSpPr>
            <p:cNvPr id="819" name="Graphic 3">
              <a:extLst>
                <a:ext uri="{FF2B5EF4-FFF2-40B4-BE49-F238E27FC236}">
                  <a16:creationId xmlns:a16="http://schemas.microsoft.com/office/drawing/2014/main" id="{72AB6DA1-E1A8-444F-BC0B-DC83851BE934}"/>
                </a:ext>
              </a:extLst>
            </p:cNvPr>
            <p:cNvGrpSpPr/>
            <p:nvPr/>
          </p:nvGrpSpPr>
          <p:grpSpPr>
            <a:xfrm>
              <a:off x="6047247" y="5240408"/>
              <a:ext cx="18360" cy="155080"/>
              <a:chOff x="6047247" y="5240408"/>
              <a:chExt cx="18360" cy="155080"/>
            </a:xfrm>
            <a:grpFill/>
          </p:grpSpPr>
          <p:sp>
            <p:nvSpPr>
              <p:cNvPr id="2939" name="Vrije vorm: vorm 2938">
                <a:extLst>
                  <a:ext uri="{FF2B5EF4-FFF2-40B4-BE49-F238E27FC236}">
                    <a16:creationId xmlns:a16="http://schemas.microsoft.com/office/drawing/2014/main" id="{D7C2F870-5AED-46CA-9571-9AAC362805A3}"/>
                  </a:ext>
                </a:extLst>
              </p:cNvPr>
              <p:cNvSpPr/>
              <p:nvPr/>
            </p:nvSpPr>
            <p:spPr>
              <a:xfrm>
                <a:off x="6054843" y="5249199"/>
                <a:ext cx="3169" cy="137497"/>
              </a:xfrm>
              <a:custGeom>
                <a:avLst/>
                <a:gdLst>
                  <a:gd name="connsiteX0" fmla="*/ 3050 w 3169"/>
                  <a:gd name="connsiteY0" fmla="*/ 0 h 137497"/>
                  <a:gd name="connsiteX1" fmla="*/ 3170 w 3169"/>
                  <a:gd name="connsiteY1" fmla="*/ 137497 h 137497"/>
                  <a:gd name="connsiteX2" fmla="*/ 120 w 3169"/>
                  <a:gd name="connsiteY2" fmla="*/ 137497 h 137497"/>
                  <a:gd name="connsiteX3" fmla="*/ 0 w 3169"/>
                  <a:gd name="connsiteY3" fmla="*/ 0 h 137497"/>
                </a:gdLst>
                <a:ahLst/>
                <a:cxnLst>
                  <a:cxn ang="0">
                    <a:pos x="connsiteX0" y="connsiteY0"/>
                  </a:cxn>
                  <a:cxn ang="0">
                    <a:pos x="connsiteX1" y="connsiteY1"/>
                  </a:cxn>
                  <a:cxn ang="0">
                    <a:pos x="connsiteX2" y="connsiteY2"/>
                  </a:cxn>
                  <a:cxn ang="0">
                    <a:pos x="connsiteX3" y="connsiteY3"/>
                  </a:cxn>
                </a:cxnLst>
                <a:rect l="l" t="t" r="r" b="b"/>
                <a:pathLst>
                  <a:path w="3169" h="137497">
                    <a:moveTo>
                      <a:pt x="3050" y="0"/>
                    </a:moveTo>
                    <a:lnTo>
                      <a:pt x="3170" y="137497"/>
                    </a:lnTo>
                    <a:lnTo>
                      <a:pt x="120" y="137497"/>
                    </a:lnTo>
                    <a:lnTo>
                      <a:pt x="0" y="0"/>
                    </a:lnTo>
                    <a:close/>
                  </a:path>
                </a:pathLst>
              </a:custGeom>
              <a:grpFill/>
              <a:ln w="5978" cap="flat">
                <a:noFill/>
                <a:prstDash val="solid"/>
                <a:miter/>
              </a:ln>
            </p:spPr>
            <p:txBody>
              <a:bodyPr rtlCol="0" anchor="ctr"/>
              <a:lstStyle/>
              <a:p>
                <a:endParaRPr lang="en-GB"/>
              </a:p>
            </p:txBody>
          </p:sp>
          <p:sp>
            <p:nvSpPr>
              <p:cNvPr id="2940" name="Vrije vorm: vorm 2939">
                <a:extLst>
                  <a:ext uri="{FF2B5EF4-FFF2-40B4-BE49-F238E27FC236}">
                    <a16:creationId xmlns:a16="http://schemas.microsoft.com/office/drawing/2014/main" id="{5A0A16F5-ACC7-4C1E-AD83-E3ABA54D8D76}"/>
                  </a:ext>
                </a:extLst>
              </p:cNvPr>
              <p:cNvSpPr/>
              <p:nvPr/>
            </p:nvSpPr>
            <p:spPr>
              <a:xfrm>
                <a:off x="6047307" y="5377007"/>
                <a:ext cx="18300" cy="18480"/>
              </a:xfrm>
              <a:custGeom>
                <a:avLst/>
                <a:gdLst>
                  <a:gd name="connsiteX0" fmla="*/ 18301 w 18300"/>
                  <a:gd name="connsiteY0" fmla="*/ 9270 h 18480"/>
                  <a:gd name="connsiteX1" fmla="*/ 9151 w 18300"/>
                  <a:gd name="connsiteY1" fmla="*/ 18481 h 18480"/>
                  <a:gd name="connsiteX2" fmla="*/ 0 w 18300"/>
                  <a:gd name="connsiteY2" fmla="*/ 9211 h 18480"/>
                  <a:gd name="connsiteX3" fmla="*/ 9151 w 18300"/>
                  <a:gd name="connsiteY3" fmla="*/ 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14354"/>
                      <a:pt x="14174" y="18481"/>
                      <a:pt x="9151" y="18481"/>
                    </a:cubicBezTo>
                    <a:cubicBezTo>
                      <a:pt x="4067" y="18481"/>
                      <a:pt x="0" y="14354"/>
                      <a:pt x="0" y="9211"/>
                    </a:cubicBezTo>
                    <a:cubicBezTo>
                      <a:pt x="0" y="4127"/>
                      <a:pt x="4127" y="0"/>
                      <a:pt x="9151" y="0"/>
                    </a:cubicBezTo>
                    <a:cubicBezTo>
                      <a:pt x="14234" y="0"/>
                      <a:pt x="18301" y="4187"/>
                      <a:pt x="18301" y="9270"/>
                    </a:cubicBezTo>
                    <a:close/>
                  </a:path>
                </a:pathLst>
              </a:custGeom>
              <a:grpFill/>
              <a:ln w="5978" cap="flat">
                <a:noFill/>
                <a:prstDash val="solid"/>
                <a:miter/>
              </a:ln>
            </p:spPr>
            <p:txBody>
              <a:bodyPr rtlCol="0" anchor="ctr"/>
              <a:lstStyle/>
              <a:p>
                <a:endParaRPr lang="en-GB"/>
              </a:p>
            </p:txBody>
          </p:sp>
          <p:sp>
            <p:nvSpPr>
              <p:cNvPr id="2941" name="Vrije vorm: vorm 2940">
                <a:extLst>
                  <a:ext uri="{FF2B5EF4-FFF2-40B4-BE49-F238E27FC236}">
                    <a16:creationId xmlns:a16="http://schemas.microsoft.com/office/drawing/2014/main" id="{78B9747B-8A3F-402F-8E76-31189C13FCF8}"/>
                  </a:ext>
                </a:extLst>
              </p:cNvPr>
              <p:cNvSpPr/>
              <p:nvPr/>
            </p:nvSpPr>
            <p:spPr>
              <a:xfrm>
                <a:off x="6047247" y="5240408"/>
                <a:ext cx="18300" cy="18480"/>
              </a:xfrm>
              <a:custGeom>
                <a:avLst/>
                <a:gdLst>
                  <a:gd name="connsiteX0" fmla="*/ 18301 w 18300"/>
                  <a:gd name="connsiteY0" fmla="*/ 9270 h 18480"/>
                  <a:gd name="connsiteX1" fmla="*/ 9151 w 18300"/>
                  <a:gd name="connsiteY1" fmla="*/ 0 h 18480"/>
                  <a:gd name="connsiteX2" fmla="*/ 0 w 18300"/>
                  <a:gd name="connsiteY2" fmla="*/ 9210 h 18480"/>
                  <a:gd name="connsiteX3" fmla="*/ 9151 w 18300"/>
                  <a:gd name="connsiteY3" fmla="*/ 1848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4187"/>
                      <a:pt x="14174" y="60"/>
                      <a:pt x="9151" y="0"/>
                    </a:cubicBezTo>
                    <a:cubicBezTo>
                      <a:pt x="4067" y="0"/>
                      <a:pt x="0" y="4067"/>
                      <a:pt x="0" y="9210"/>
                    </a:cubicBezTo>
                    <a:cubicBezTo>
                      <a:pt x="0" y="14294"/>
                      <a:pt x="4127" y="18421"/>
                      <a:pt x="9151" y="18480"/>
                    </a:cubicBezTo>
                    <a:cubicBezTo>
                      <a:pt x="14174" y="18480"/>
                      <a:pt x="18301" y="14354"/>
                      <a:pt x="18301" y="9270"/>
                    </a:cubicBezTo>
                    <a:close/>
                  </a:path>
                </a:pathLst>
              </a:custGeom>
              <a:grpFill/>
              <a:ln w="5978" cap="flat">
                <a:noFill/>
                <a:prstDash val="solid"/>
                <a:miter/>
              </a:ln>
            </p:spPr>
            <p:txBody>
              <a:bodyPr rtlCol="0" anchor="ctr"/>
              <a:lstStyle/>
              <a:p>
                <a:endParaRPr lang="en-GB"/>
              </a:p>
            </p:txBody>
          </p:sp>
        </p:grpSp>
        <p:grpSp>
          <p:nvGrpSpPr>
            <p:cNvPr id="820" name="Graphic 3">
              <a:extLst>
                <a:ext uri="{FF2B5EF4-FFF2-40B4-BE49-F238E27FC236}">
                  <a16:creationId xmlns:a16="http://schemas.microsoft.com/office/drawing/2014/main" id="{AD284F96-B549-4FBB-849E-3398D0F737BE}"/>
                </a:ext>
              </a:extLst>
            </p:cNvPr>
            <p:cNvGrpSpPr/>
            <p:nvPr/>
          </p:nvGrpSpPr>
          <p:grpSpPr>
            <a:xfrm>
              <a:off x="4793705" y="1725799"/>
              <a:ext cx="208906" cy="274369"/>
              <a:chOff x="4793705" y="1725799"/>
              <a:chExt cx="208906" cy="274369"/>
            </a:xfrm>
            <a:grpFill/>
          </p:grpSpPr>
          <p:sp>
            <p:nvSpPr>
              <p:cNvPr id="2936" name="Vrije vorm: vorm 2935">
                <a:extLst>
                  <a:ext uri="{FF2B5EF4-FFF2-40B4-BE49-F238E27FC236}">
                    <a16:creationId xmlns:a16="http://schemas.microsoft.com/office/drawing/2014/main" id="{A6FAEA5F-AA47-4D86-AEB2-BB297427B140}"/>
                  </a:ext>
                </a:extLst>
              </p:cNvPr>
              <p:cNvSpPr/>
              <p:nvPr/>
            </p:nvSpPr>
            <p:spPr>
              <a:xfrm>
                <a:off x="4801403" y="1733732"/>
                <a:ext cx="193476" cy="258486"/>
              </a:xfrm>
              <a:custGeom>
                <a:avLst/>
                <a:gdLst>
                  <a:gd name="connsiteX0" fmla="*/ 193477 w 193476"/>
                  <a:gd name="connsiteY0" fmla="*/ 256693 h 258486"/>
                  <a:gd name="connsiteX1" fmla="*/ 191024 w 193476"/>
                  <a:gd name="connsiteY1" fmla="*/ 258487 h 258486"/>
                  <a:gd name="connsiteX2" fmla="*/ 0 w 193476"/>
                  <a:gd name="connsiteY2" fmla="*/ 1854 h 258486"/>
                  <a:gd name="connsiteX3" fmla="*/ 2392 w 193476"/>
                  <a:gd name="connsiteY3" fmla="*/ 0 h 258486"/>
                </a:gdLst>
                <a:ahLst/>
                <a:cxnLst>
                  <a:cxn ang="0">
                    <a:pos x="connsiteX0" y="connsiteY0"/>
                  </a:cxn>
                  <a:cxn ang="0">
                    <a:pos x="connsiteX1" y="connsiteY1"/>
                  </a:cxn>
                  <a:cxn ang="0">
                    <a:pos x="connsiteX2" y="connsiteY2"/>
                  </a:cxn>
                  <a:cxn ang="0">
                    <a:pos x="connsiteX3" y="connsiteY3"/>
                  </a:cxn>
                </a:cxnLst>
                <a:rect l="l" t="t" r="r" b="b"/>
                <a:pathLst>
                  <a:path w="193476" h="258486">
                    <a:moveTo>
                      <a:pt x="193477" y="256693"/>
                    </a:moveTo>
                    <a:lnTo>
                      <a:pt x="191024" y="258487"/>
                    </a:lnTo>
                    <a:lnTo>
                      <a:pt x="0" y="1854"/>
                    </a:lnTo>
                    <a:lnTo>
                      <a:pt x="2392" y="0"/>
                    </a:lnTo>
                    <a:close/>
                  </a:path>
                </a:pathLst>
              </a:custGeom>
              <a:grpFill/>
              <a:ln w="5978" cap="flat">
                <a:noFill/>
                <a:prstDash val="solid"/>
                <a:miter/>
              </a:ln>
            </p:spPr>
            <p:txBody>
              <a:bodyPr rtlCol="0" anchor="ctr"/>
              <a:lstStyle/>
              <a:p>
                <a:endParaRPr lang="en-GB"/>
              </a:p>
            </p:txBody>
          </p:sp>
          <p:sp>
            <p:nvSpPr>
              <p:cNvPr id="2937" name="Vrije vorm: vorm 2936">
                <a:extLst>
                  <a:ext uri="{FF2B5EF4-FFF2-40B4-BE49-F238E27FC236}">
                    <a16:creationId xmlns:a16="http://schemas.microsoft.com/office/drawing/2014/main" id="{465DF0A2-1132-43E1-A432-A04AEC8F3B73}"/>
                  </a:ext>
                </a:extLst>
              </p:cNvPr>
              <p:cNvSpPr/>
              <p:nvPr/>
            </p:nvSpPr>
            <p:spPr>
              <a:xfrm>
                <a:off x="4793705" y="1725799"/>
                <a:ext cx="18386" cy="18454"/>
              </a:xfrm>
              <a:custGeom>
                <a:avLst/>
                <a:gdLst>
                  <a:gd name="connsiteX0" fmla="*/ 1837 w 18386"/>
                  <a:gd name="connsiteY0" fmla="*/ 14751 h 18454"/>
                  <a:gd name="connsiteX1" fmla="*/ 3691 w 18386"/>
                  <a:gd name="connsiteY1" fmla="*/ 1833 h 18454"/>
                  <a:gd name="connsiteX2" fmla="*/ 16549 w 18386"/>
                  <a:gd name="connsiteY2" fmla="*/ 3747 h 18454"/>
                  <a:gd name="connsiteX3" fmla="*/ 14695 w 18386"/>
                  <a:gd name="connsiteY3" fmla="*/ 16665 h 18454"/>
                  <a:gd name="connsiteX4" fmla="*/ 1837 w 18386"/>
                  <a:gd name="connsiteY4" fmla="*/ 1475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6" h="18454">
                    <a:moveTo>
                      <a:pt x="1837" y="14751"/>
                    </a:moveTo>
                    <a:cubicBezTo>
                      <a:pt x="-1213" y="10684"/>
                      <a:pt x="-376" y="4883"/>
                      <a:pt x="3691" y="1833"/>
                    </a:cubicBezTo>
                    <a:cubicBezTo>
                      <a:pt x="7758" y="-1217"/>
                      <a:pt x="13499" y="-380"/>
                      <a:pt x="16549" y="3747"/>
                    </a:cubicBezTo>
                    <a:cubicBezTo>
                      <a:pt x="19599" y="7813"/>
                      <a:pt x="18762" y="13615"/>
                      <a:pt x="14695" y="16665"/>
                    </a:cubicBezTo>
                    <a:cubicBezTo>
                      <a:pt x="10628" y="19655"/>
                      <a:pt x="4887" y="18818"/>
                      <a:pt x="1837" y="14751"/>
                    </a:cubicBezTo>
                    <a:close/>
                  </a:path>
                </a:pathLst>
              </a:custGeom>
              <a:grpFill/>
              <a:ln w="5978" cap="flat">
                <a:noFill/>
                <a:prstDash val="solid"/>
                <a:miter/>
              </a:ln>
            </p:spPr>
            <p:txBody>
              <a:bodyPr rtlCol="0" anchor="ctr"/>
              <a:lstStyle/>
              <a:p>
                <a:endParaRPr lang="en-GB"/>
              </a:p>
            </p:txBody>
          </p:sp>
          <p:sp>
            <p:nvSpPr>
              <p:cNvPr id="2938" name="Vrije vorm: vorm 2937">
                <a:extLst>
                  <a:ext uri="{FF2B5EF4-FFF2-40B4-BE49-F238E27FC236}">
                    <a16:creationId xmlns:a16="http://schemas.microsoft.com/office/drawing/2014/main" id="{B45AB3C2-90CA-4A62-8D13-2A6834D45D39}"/>
                  </a:ext>
                </a:extLst>
              </p:cNvPr>
              <p:cNvSpPr/>
              <p:nvPr/>
            </p:nvSpPr>
            <p:spPr>
              <a:xfrm>
                <a:off x="4984233" y="1981757"/>
                <a:ext cx="18378" cy="18411"/>
              </a:xfrm>
              <a:custGeom>
                <a:avLst/>
                <a:gdLst>
                  <a:gd name="connsiteX0" fmla="*/ 1854 w 18378"/>
                  <a:gd name="connsiteY0" fmla="*/ 14708 h 18411"/>
                  <a:gd name="connsiteX1" fmla="*/ 14713 w 18378"/>
                  <a:gd name="connsiteY1" fmla="*/ 16622 h 18411"/>
                  <a:gd name="connsiteX2" fmla="*/ 16567 w 18378"/>
                  <a:gd name="connsiteY2" fmla="*/ 3703 h 18411"/>
                  <a:gd name="connsiteX3" fmla="*/ 3708 w 18378"/>
                  <a:gd name="connsiteY3" fmla="*/ 1790 h 18411"/>
                  <a:gd name="connsiteX4" fmla="*/ 1854 w 18378"/>
                  <a:gd name="connsiteY4" fmla="*/ 1470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11">
                    <a:moveTo>
                      <a:pt x="1854" y="14708"/>
                    </a:moveTo>
                    <a:cubicBezTo>
                      <a:pt x="4905" y="18775"/>
                      <a:pt x="10646" y="19612"/>
                      <a:pt x="14713" y="16622"/>
                    </a:cubicBezTo>
                    <a:cubicBezTo>
                      <a:pt x="18780" y="13572"/>
                      <a:pt x="19558" y="7830"/>
                      <a:pt x="16567" y="3703"/>
                    </a:cubicBezTo>
                    <a:cubicBezTo>
                      <a:pt x="13517" y="-364"/>
                      <a:pt x="7775" y="-1201"/>
                      <a:pt x="3708" y="1790"/>
                    </a:cubicBezTo>
                    <a:cubicBezTo>
                      <a:pt x="-418" y="4840"/>
                      <a:pt x="-1196" y="10641"/>
                      <a:pt x="1854" y="14708"/>
                    </a:cubicBezTo>
                    <a:close/>
                  </a:path>
                </a:pathLst>
              </a:custGeom>
              <a:grpFill/>
              <a:ln w="5978" cap="flat">
                <a:noFill/>
                <a:prstDash val="solid"/>
                <a:miter/>
              </a:ln>
            </p:spPr>
            <p:txBody>
              <a:bodyPr rtlCol="0" anchor="ctr"/>
              <a:lstStyle/>
              <a:p>
                <a:endParaRPr lang="en-GB"/>
              </a:p>
            </p:txBody>
          </p:sp>
        </p:grpSp>
        <p:grpSp>
          <p:nvGrpSpPr>
            <p:cNvPr id="821" name="Graphic 3">
              <a:extLst>
                <a:ext uri="{FF2B5EF4-FFF2-40B4-BE49-F238E27FC236}">
                  <a16:creationId xmlns:a16="http://schemas.microsoft.com/office/drawing/2014/main" id="{D44FDF04-C7B0-454F-AADC-6CE0B52C2609}"/>
                </a:ext>
              </a:extLst>
            </p:cNvPr>
            <p:cNvGrpSpPr/>
            <p:nvPr/>
          </p:nvGrpSpPr>
          <p:grpSpPr>
            <a:xfrm>
              <a:off x="4876043" y="1952393"/>
              <a:ext cx="128583" cy="155527"/>
              <a:chOff x="4876043" y="1952393"/>
              <a:chExt cx="128583" cy="155527"/>
            </a:xfrm>
            <a:grpFill/>
          </p:grpSpPr>
          <p:sp>
            <p:nvSpPr>
              <p:cNvPr id="2933" name="Vrije vorm: vorm 2932">
                <a:extLst>
                  <a:ext uri="{FF2B5EF4-FFF2-40B4-BE49-F238E27FC236}">
                    <a16:creationId xmlns:a16="http://schemas.microsoft.com/office/drawing/2014/main" id="{642BB815-D32D-4746-9F34-A4D30308B465}"/>
                  </a:ext>
                </a:extLst>
              </p:cNvPr>
              <p:cNvSpPr/>
              <p:nvPr/>
            </p:nvSpPr>
            <p:spPr>
              <a:xfrm>
                <a:off x="4883757" y="1960341"/>
                <a:ext cx="113095" cy="139649"/>
              </a:xfrm>
              <a:custGeom>
                <a:avLst/>
                <a:gdLst>
                  <a:gd name="connsiteX0" fmla="*/ 113095 w 113095"/>
                  <a:gd name="connsiteY0" fmla="*/ 137736 h 139649"/>
                  <a:gd name="connsiteX1" fmla="*/ 110763 w 113095"/>
                  <a:gd name="connsiteY1" fmla="*/ 139650 h 139649"/>
                  <a:gd name="connsiteX2" fmla="*/ 0 w 113095"/>
                  <a:gd name="connsiteY2" fmla="*/ 1914 h 139649"/>
                  <a:gd name="connsiteX3" fmla="*/ 2333 w 113095"/>
                  <a:gd name="connsiteY3" fmla="*/ 0 h 139649"/>
                </a:gdLst>
                <a:ahLst/>
                <a:cxnLst>
                  <a:cxn ang="0">
                    <a:pos x="connsiteX0" y="connsiteY0"/>
                  </a:cxn>
                  <a:cxn ang="0">
                    <a:pos x="connsiteX1" y="connsiteY1"/>
                  </a:cxn>
                  <a:cxn ang="0">
                    <a:pos x="connsiteX2" y="connsiteY2"/>
                  </a:cxn>
                  <a:cxn ang="0">
                    <a:pos x="connsiteX3" y="connsiteY3"/>
                  </a:cxn>
                </a:cxnLst>
                <a:rect l="l" t="t" r="r" b="b"/>
                <a:pathLst>
                  <a:path w="113095" h="139649">
                    <a:moveTo>
                      <a:pt x="113095" y="137736"/>
                    </a:moveTo>
                    <a:lnTo>
                      <a:pt x="110763" y="139650"/>
                    </a:lnTo>
                    <a:lnTo>
                      <a:pt x="0" y="1914"/>
                    </a:lnTo>
                    <a:lnTo>
                      <a:pt x="2333" y="0"/>
                    </a:lnTo>
                    <a:close/>
                  </a:path>
                </a:pathLst>
              </a:custGeom>
              <a:grpFill/>
              <a:ln w="5978" cap="flat">
                <a:noFill/>
                <a:prstDash val="solid"/>
                <a:miter/>
              </a:ln>
            </p:spPr>
            <p:txBody>
              <a:bodyPr rtlCol="0" anchor="ctr"/>
              <a:lstStyle/>
              <a:p>
                <a:endParaRPr lang="en-GB"/>
              </a:p>
            </p:txBody>
          </p:sp>
          <p:sp>
            <p:nvSpPr>
              <p:cNvPr id="2934" name="Vrije vorm: vorm 2933">
                <a:extLst>
                  <a:ext uri="{FF2B5EF4-FFF2-40B4-BE49-F238E27FC236}">
                    <a16:creationId xmlns:a16="http://schemas.microsoft.com/office/drawing/2014/main" id="{ADFA3144-AE95-4458-B349-A91625E3A95F}"/>
                  </a:ext>
                </a:extLst>
              </p:cNvPr>
              <p:cNvSpPr/>
              <p:nvPr/>
            </p:nvSpPr>
            <p:spPr>
              <a:xfrm>
                <a:off x="4876043" y="1952393"/>
                <a:ext cx="18358" cy="18449"/>
              </a:xfrm>
              <a:custGeom>
                <a:avLst/>
                <a:gdLst>
                  <a:gd name="connsiteX0" fmla="*/ 2032 w 18358"/>
                  <a:gd name="connsiteY0" fmla="*/ 15006 h 18449"/>
                  <a:gd name="connsiteX1" fmla="*/ 3408 w 18358"/>
                  <a:gd name="connsiteY1" fmla="*/ 2028 h 18449"/>
                  <a:gd name="connsiteX2" fmla="*/ 16326 w 18358"/>
                  <a:gd name="connsiteY2" fmla="*/ 3463 h 18449"/>
                  <a:gd name="connsiteX3" fmla="*/ 14951 w 18358"/>
                  <a:gd name="connsiteY3" fmla="*/ 16441 h 18449"/>
                  <a:gd name="connsiteX4" fmla="*/ 2032 w 18358"/>
                  <a:gd name="connsiteY4" fmla="*/ 15006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9">
                    <a:moveTo>
                      <a:pt x="2032" y="15006"/>
                    </a:moveTo>
                    <a:cubicBezTo>
                      <a:pt x="-1137" y="11058"/>
                      <a:pt x="-539" y="5257"/>
                      <a:pt x="3408" y="2028"/>
                    </a:cubicBezTo>
                    <a:cubicBezTo>
                      <a:pt x="7355" y="-1142"/>
                      <a:pt x="13097" y="-544"/>
                      <a:pt x="16326" y="3463"/>
                    </a:cubicBezTo>
                    <a:cubicBezTo>
                      <a:pt x="19496" y="7410"/>
                      <a:pt x="18898" y="13211"/>
                      <a:pt x="14951" y="16441"/>
                    </a:cubicBezTo>
                    <a:cubicBezTo>
                      <a:pt x="11003" y="19611"/>
                      <a:pt x="5262" y="18953"/>
                      <a:pt x="2032" y="15006"/>
                    </a:cubicBezTo>
                    <a:close/>
                  </a:path>
                </a:pathLst>
              </a:custGeom>
              <a:grpFill/>
              <a:ln w="5978" cap="flat">
                <a:noFill/>
                <a:prstDash val="solid"/>
                <a:miter/>
              </a:ln>
            </p:spPr>
            <p:txBody>
              <a:bodyPr rtlCol="0" anchor="ctr"/>
              <a:lstStyle/>
              <a:p>
                <a:endParaRPr lang="en-GB"/>
              </a:p>
            </p:txBody>
          </p:sp>
          <p:sp>
            <p:nvSpPr>
              <p:cNvPr id="2935" name="Vrije vorm: vorm 2934">
                <a:extLst>
                  <a:ext uri="{FF2B5EF4-FFF2-40B4-BE49-F238E27FC236}">
                    <a16:creationId xmlns:a16="http://schemas.microsoft.com/office/drawing/2014/main" id="{860C9081-BF54-4120-9CC8-FE81EA60C6F2}"/>
                  </a:ext>
                </a:extLst>
              </p:cNvPr>
              <p:cNvSpPr/>
              <p:nvPr/>
            </p:nvSpPr>
            <p:spPr>
              <a:xfrm>
                <a:off x="4986224" y="2089490"/>
                <a:ext cx="18402" cy="18430"/>
              </a:xfrm>
              <a:custGeom>
                <a:avLst/>
                <a:gdLst>
                  <a:gd name="connsiteX0" fmla="*/ 2076 w 18402"/>
                  <a:gd name="connsiteY0" fmla="*/ 14987 h 18430"/>
                  <a:gd name="connsiteX1" fmla="*/ 14995 w 18402"/>
                  <a:gd name="connsiteY1" fmla="*/ 16422 h 18430"/>
                  <a:gd name="connsiteX2" fmla="*/ 16370 w 18402"/>
                  <a:gd name="connsiteY2" fmla="*/ 3444 h 18430"/>
                  <a:gd name="connsiteX3" fmla="*/ 3452 w 18402"/>
                  <a:gd name="connsiteY3" fmla="*/ 2009 h 18430"/>
                  <a:gd name="connsiteX4" fmla="*/ 2076 w 18402"/>
                  <a:gd name="connsiteY4" fmla="*/ 149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2" h="18430">
                    <a:moveTo>
                      <a:pt x="2076" y="14987"/>
                    </a:moveTo>
                    <a:cubicBezTo>
                      <a:pt x="5246" y="18934"/>
                      <a:pt x="11047" y="19592"/>
                      <a:pt x="14995" y="16422"/>
                    </a:cubicBezTo>
                    <a:cubicBezTo>
                      <a:pt x="18942" y="13252"/>
                      <a:pt x="19540" y="7451"/>
                      <a:pt x="16370" y="3444"/>
                    </a:cubicBezTo>
                    <a:cubicBezTo>
                      <a:pt x="13200" y="-503"/>
                      <a:pt x="7399" y="-1161"/>
                      <a:pt x="3452" y="2009"/>
                    </a:cubicBezTo>
                    <a:cubicBezTo>
                      <a:pt x="-555" y="5178"/>
                      <a:pt x="-1153" y="10980"/>
                      <a:pt x="2076" y="14987"/>
                    </a:cubicBezTo>
                    <a:close/>
                  </a:path>
                </a:pathLst>
              </a:custGeom>
              <a:grpFill/>
              <a:ln w="5978" cap="flat">
                <a:noFill/>
                <a:prstDash val="solid"/>
                <a:miter/>
              </a:ln>
            </p:spPr>
            <p:txBody>
              <a:bodyPr rtlCol="0" anchor="ctr"/>
              <a:lstStyle/>
              <a:p>
                <a:endParaRPr lang="en-GB"/>
              </a:p>
            </p:txBody>
          </p:sp>
        </p:grpSp>
        <p:grpSp>
          <p:nvGrpSpPr>
            <p:cNvPr id="822" name="Graphic 3">
              <a:extLst>
                <a:ext uri="{FF2B5EF4-FFF2-40B4-BE49-F238E27FC236}">
                  <a16:creationId xmlns:a16="http://schemas.microsoft.com/office/drawing/2014/main" id="{6696F0B2-E724-44A9-8356-BAE70E535180}"/>
                </a:ext>
              </a:extLst>
            </p:cNvPr>
            <p:cNvGrpSpPr/>
            <p:nvPr/>
          </p:nvGrpSpPr>
          <p:grpSpPr>
            <a:xfrm>
              <a:off x="5979180" y="5104161"/>
              <a:ext cx="23276" cy="153417"/>
              <a:chOff x="5979180" y="5104161"/>
              <a:chExt cx="23276" cy="153417"/>
            </a:xfrm>
            <a:grpFill/>
          </p:grpSpPr>
          <p:sp>
            <p:nvSpPr>
              <p:cNvPr id="2930" name="Vrije vorm: vorm 2929">
                <a:extLst>
                  <a:ext uri="{FF2B5EF4-FFF2-40B4-BE49-F238E27FC236}">
                    <a16:creationId xmlns:a16="http://schemas.microsoft.com/office/drawing/2014/main" id="{956DB881-5BE1-4B18-8961-717EE403AC03}"/>
                  </a:ext>
                </a:extLst>
              </p:cNvPr>
              <p:cNvSpPr/>
              <p:nvPr/>
            </p:nvSpPr>
            <p:spPr>
              <a:xfrm>
                <a:off x="5986842" y="5112839"/>
                <a:ext cx="8013" cy="136001"/>
              </a:xfrm>
              <a:custGeom>
                <a:avLst/>
                <a:gdLst>
                  <a:gd name="connsiteX0" fmla="*/ 8014 w 8013"/>
                  <a:gd name="connsiteY0" fmla="*/ 120 h 136001"/>
                  <a:gd name="connsiteX1" fmla="*/ 3050 w 8013"/>
                  <a:gd name="connsiteY1" fmla="*/ 136002 h 136001"/>
                  <a:gd name="connsiteX2" fmla="*/ 0 w 8013"/>
                  <a:gd name="connsiteY2" fmla="*/ 135882 h 136001"/>
                  <a:gd name="connsiteX3" fmla="*/ 4964 w 8013"/>
                  <a:gd name="connsiteY3" fmla="*/ 0 h 136001"/>
                </a:gdLst>
                <a:ahLst/>
                <a:cxnLst>
                  <a:cxn ang="0">
                    <a:pos x="connsiteX0" y="connsiteY0"/>
                  </a:cxn>
                  <a:cxn ang="0">
                    <a:pos x="connsiteX1" y="connsiteY1"/>
                  </a:cxn>
                  <a:cxn ang="0">
                    <a:pos x="connsiteX2" y="connsiteY2"/>
                  </a:cxn>
                  <a:cxn ang="0">
                    <a:pos x="connsiteX3" y="connsiteY3"/>
                  </a:cxn>
                </a:cxnLst>
                <a:rect l="l" t="t" r="r" b="b"/>
                <a:pathLst>
                  <a:path w="8013" h="136001">
                    <a:moveTo>
                      <a:pt x="8014" y="120"/>
                    </a:moveTo>
                    <a:lnTo>
                      <a:pt x="3050" y="136002"/>
                    </a:lnTo>
                    <a:lnTo>
                      <a:pt x="0" y="135882"/>
                    </a:lnTo>
                    <a:lnTo>
                      <a:pt x="4964" y="0"/>
                    </a:lnTo>
                    <a:close/>
                  </a:path>
                </a:pathLst>
              </a:custGeom>
              <a:grpFill/>
              <a:ln w="5978" cap="flat">
                <a:noFill/>
                <a:prstDash val="solid"/>
                <a:miter/>
              </a:ln>
            </p:spPr>
            <p:txBody>
              <a:bodyPr rtlCol="0" anchor="ctr"/>
              <a:lstStyle/>
              <a:p>
                <a:endParaRPr lang="en-GB"/>
              </a:p>
            </p:txBody>
          </p:sp>
          <p:sp>
            <p:nvSpPr>
              <p:cNvPr id="2931" name="Vrije vorm: vorm 2930">
                <a:extLst>
                  <a:ext uri="{FF2B5EF4-FFF2-40B4-BE49-F238E27FC236}">
                    <a16:creationId xmlns:a16="http://schemas.microsoft.com/office/drawing/2014/main" id="{6631583D-D37A-4721-97FC-E33D60D949FD}"/>
                  </a:ext>
                </a:extLst>
              </p:cNvPr>
              <p:cNvSpPr/>
              <p:nvPr/>
            </p:nvSpPr>
            <p:spPr>
              <a:xfrm>
                <a:off x="5979180" y="5239146"/>
                <a:ext cx="18372" cy="18432"/>
              </a:xfrm>
              <a:custGeom>
                <a:avLst/>
                <a:gdLst>
                  <a:gd name="connsiteX0" fmla="*/ 18367 w 18372"/>
                  <a:gd name="connsiteY0" fmla="*/ 9575 h 18432"/>
                  <a:gd name="connsiteX1" fmla="*/ 8858 w 18372"/>
                  <a:gd name="connsiteY1" fmla="*/ 18427 h 18432"/>
                  <a:gd name="connsiteX2" fmla="*/ 6 w 18372"/>
                  <a:gd name="connsiteY2" fmla="*/ 8858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8" y="14659"/>
                      <a:pt x="13941" y="18606"/>
                      <a:pt x="8858" y="18427"/>
                    </a:cubicBezTo>
                    <a:cubicBezTo>
                      <a:pt x="3774" y="18247"/>
                      <a:pt x="-173" y="13941"/>
                      <a:pt x="6" y="8858"/>
                    </a:cubicBezTo>
                    <a:cubicBezTo>
                      <a:pt x="185" y="3774"/>
                      <a:pt x="4432" y="-173"/>
                      <a:pt x="9515" y="6"/>
                    </a:cubicBezTo>
                    <a:cubicBezTo>
                      <a:pt x="14599" y="185"/>
                      <a:pt x="18546" y="4432"/>
                      <a:pt x="18367" y="9575"/>
                    </a:cubicBezTo>
                    <a:close/>
                  </a:path>
                </a:pathLst>
              </a:custGeom>
              <a:grpFill/>
              <a:ln w="5978" cap="flat">
                <a:noFill/>
                <a:prstDash val="solid"/>
                <a:miter/>
              </a:ln>
            </p:spPr>
            <p:txBody>
              <a:bodyPr rtlCol="0" anchor="ctr"/>
              <a:lstStyle/>
              <a:p>
                <a:endParaRPr lang="en-GB"/>
              </a:p>
            </p:txBody>
          </p:sp>
          <p:sp>
            <p:nvSpPr>
              <p:cNvPr id="2932" name="Vrije vorm: vorm 2931">
                <a:extLst>
                  <a:ext uri="{FF2B5EF4-FFF2-40B4-BE49-F238E27FC236}">
                    <a16:creationId xmlns:a16="http://schemas.microsoft.com/office/drawing/2014/main" id="{304A52F4-CC62-46A6-9B7D-4F86DF651F4B}"/>
                  </a:ext>
                </a:extLst>
              </p:cNvPr>
              <p:cNvSpPr/>
              <p:nvPr/>
            </p:nvSpPr>
            <p:spPr>
              <a:xfrm>
                <a:off x="5984085" y="5104161"/>
                <a:ext cx="18372" cy="18432"/>
              </a:xfrm>
              <a:custGeom>
                <a:avLst/>
                <a:gdLst>
                  <a:gd name="connsiteX0" fmla="*/ 18367 w 18372"/>
                  <a:gd name="connsiteY0" fmla="*/ 9575 h 18432"/>
                  <a:gd name="connsiteX1" fmla="*/ 9515 w 18372"/>
                  <a:gd name="connsiteY1" fmla="*/ 6 h 18432"/>
                  <a:gd name="connsiteX2" fmla="*/ 6 w 18372"/>
                  <a:gd name="connsiteY2" fmla="*/ 8858 h 18432"/>
                  <a:gd name="connsiteX3" fmla="*/ 8858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3"/>
                      <a:pt x="185" y="3774"/>
                      <a:pt x="6" y="8858"/>
                    </a:cubicBezTo>
                    <a:cubicBezTo>
                      <a:pt x="-173" y="13941"/>
                      <a:pt x="3774" y="18247"/>
                      <a:pt x="8858" y="18427"/>
                    </a:cubicBezTo>
                    <a:cubicBezTo>
                      <a:pt x="13941" y="18606"/>
                      <a:pt x="18188" y="14659"/>
                      <a:pt x="18367" y="9575"/>
                    </a:cubicBezTo>
                    <a:close/>
                  </a:path>
                </a:pathLst>
              </a:custGeom>
              <a:grpFill/>
              <a:ln w="5978" cap="flat">
                <a:noFill/>
                <a:prstDash val="solid"/>
                <a:miter/>
              </a:ln>
            </p:spPr>
            <p:txBody>
              <a:bodyPr rtlCol="0" anchor="ctr"/>
              <a:lstStyle/>
              <a:p>
                <a:endParaRPr lang="en-GB"/>
              </a:p>
            </p:txBody>
          </p:sp>
        </p:grpSp>
        <p:grpSp>
          <p:nvGrpSpPr>
            <p:cNvPr id="823" name="Graphic 3">
              <a:extLst>
                <a:ext uri="{FF2B5EF4-FFF2-40B4-BE49-F238E27FC236}">
                  <a16:creationId xmlns:a16="http://schemas.microsoft.com/office/drawing/2014/main" id="{510C2655-DD60-41B2-B9A7-D707899AA0CB}"/>
                </a:ext>
              </a:extLst>
            </p:cNvPr>
            <p:cNvGrpSpPr/>
            <p:nvPr/>
          </p:nvGrpSpPr>
          <p:grpSpPr>
            <a:xfrm>
              <a:off x="4678225" y="1571563"/>
              <a:ext cx="352367" cy="517712"/>
              <a:chOff x="4678225" y="1571563"/>
              <a:chExt cx="352367" cy="517712"/>
            </a:xfrm>
            <a:grpFill/>
          </p:grpSpPr>
          <p:sp>
            <p:nvSpPr>
              <p:cNvPr id="2927" name="Vrije vorm: vorm 2926">
                <a:extLst>
                  <a:ext uri="{FF2B5EF4-FFF2-40B4-BE49-F238E27FC236}">
                    <a16:creationId xmlns:a16="http://schemas.microsoft.com/office/drawing/2014/main" id="{312BA2A5-9E14-4488-AC8C-7AE6EDB1F353}"/>
                  </a:ext>
                </a:extLst>
              </p:cNvPr>
              <p:cNvSpPr/>
              <p:nvPr/>
            </p:nvSpPr>
            <p:spPr>
              <a:xfrm>
                <a:off x="4685915" y="1579549"/>
                <a:ext cx="337013" cy="501722"/>
              </a:xfrm>
              <a:custGeom>
                <a:avLst/>
                <a:gdLst>
                  <a:gd name="connsiteX0" fmla="*/ 337014 w 337013"/>
                  <a:gd name="connsiteY0" fmla="*/ 500048 h 501722"/>
                  <a:gd name="connsiteX1" fmla="*/ 334502 w 337013"/>
                  <a:gd name="connsiteY1" fmla="*/ 501723 h 501722"/>
                  <a:gd name="connsiteX2" fmla="*/ 0 w 337013"/>
                  <a:gd name="connsiteY2" fmla="*/ 1675 h 501722"/>
                  <a:gd name="connsiteX3" fmla="*/ 2512 w 337013"/>
                  <a:gd name="connsiteY3" fmla="*/ 0 h 501722"/>
                </a:gdLst>
                <a:ahLst/>
                <a:cxnLst>
                  <a:cxn ang="0">
                    <a:pos x="connsiteX0" y="connsiteY0"/>
                  </a:cxn>
                  <a:cxn ang="0">
                    <a:pos x="connsiteX1" y="connsiteY1"/>
                  </a:cxn>
                  <a:cxn ang="0">
                    <a:pos x="connsiteX2" y="connsiteY2"/>
                  </a:cxn>
                  <a:cxn ang="0">
                    <a:pos x="connsiteX3" y="connsiteY3"/>
                  </a:cxn>
                </a:cxnLst>
                <a:rect l="l" t="t" r="r" b="b"/>
                <a:pathLst>
                  <a:path w="337013" h="501722">
                    <a:moveTo>
                      <a:pt x="337014" y="500048"/>
                    </a:moveTo>
                    <a:lnTo>
                      <a:pt x="334502" y="501723"/>
                    </a:lnTo>
                    <a:lnTo>
                      <a:pt x="0" y="1675"/>
                    </a:lnTo>
                    <a:lnTo>
                      <a:pt x="2512" y="0"/>
                    </a:lnTo>
                    <a:close/>
                  </a:path>
                </a:pathLst>
              </a:custGeom>
              <a:grpFill/>
              <a:ln w="5978" cap="flat">
                <a:noFill/>
                <a:prstDash val="solid"/>
                <a:miter/>
              </a:ln>
            </p:spPr>
            <p:txBody>
              <a:bodyPr rtlCol="0" anchor="ctr"/>
              <a:lstStyle/>
              <a:p>
                <a:endParaRPr lang="en-GB"/>
              </a:p>
            </p:txBody>
          </p:sp>
          <p:sp>
            <p:nvSpPr>
              <p:cNvPr id="2928" name="Vrije vorm: vorm 2927">
                <a:extLst>
                  <a:ext uri="{FF2B5EF4-FFF2-40B4-BE49-F238E27FC236}">
                    <a16:creationId xmlns:a16="http://schemas.microsoft.com/office/drawing/2014/main" id="{707B7048-569D-47F9-A524-99A988AECA3E}"/>
                  </a:ext>
                </a:extLst>
              </p:cNvPr>
              <p:cNvSpPr/>
              <p:nvPr/>
            </p:nvSpPr>
            <p:spPr>
              <a:xfrm>
                <a:off x="5012275" y="2070833"/>
                <a:ext cx="18317" cy="18441"/>
              </a:xfrm>
              <a:custGeom>
                <a:avLst/>
                <a:gdLst>
                  <a:gd name="connsiteX0" fmla="*/ 16754 w 18317"/>
                  <a:gd name="connsiteY0" fmla="*/ 4098 h 18441"/>
                  <a:gd name="connsiteX1" fmla="*/ 14302 w 18317"/>
                  <a:gd name="connsiteY1" fmla="*/ 16897 h 18441"/>
                  <a:gd name="connsiteX2" fmla="*/ 1563 w 18317"/>
                  <a:gd name="connsiteY2" fmla="*/ 14385 h 18441"/>
                  <a:gd name="connsiteX3" fmla="*/ 4015 w 18317"/>
                  <a:gd name="connsiteY3" fmla="*/ 1586 h 18441"/>
                  <a:gd name="connsiteX4" fmla="*/ 16754 w 18317"/>
                  <a:gd name="connsiteY4" fmla="*/ 4098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41">
                    <a:moveTo>
                      <a:pt x="16754" y="4098"/>
                    </a:moveTo>
                    <a:cubicBezTo>
                      <a:pt x="19565" y="8345"/>
                      <a:pt x="18489" y="14026"/>
                      <a:pt x="14302" y="16897"/>
                    </a:cubicBezTo>
                    <a:cubicBezTo>
                      <a:pt x="10116" y="19708"/>
                      <a:pt x="4434" y="18572"/>
                      <a:pt x="1563" y="14385"/>
                    </a:cubicBezTo>
                    <a:cubicBezTo>
                      <a:pt x="-1248" y="10139"/>
                      <a:pt x="-171" y="4457"/>
                      <a:pt x="4015" y="1586"/>
                    </a:cubicBezTo>
                    <a:cubicBezTo>
                      <a:pt x="8202" y="-1284"/>
                      <a:pt x="13943" y="-148"/>
                      <a:pt x="16754" y="4098"/>
                    </a:cubicBezTo>
                    <a:close/>
                  </a:path>
                </a:pathLst>
              </a:custGeom>
              <a:grpFill/>
              <a:ln w="5978" cap="flat">
                <a:noFill/>
                <a:prstDash val="solid"/>
                <a:miter/>
              </a:ln>
            </p:spPr>
            <p:txBody>
              <a:bodyPr rtlCol="0" anchor="ctr"/>
              <a:lstStyle/>
              <a:p>
                <a:endParaRPr lang="en-GB"/>
              </a:p>
            </p:txBody>
          </p:sp>
          <p:sp>
            <p:nvSpPr>
              <p:cNvPr id="2929" name="Vrije vorm: vorm 2928">
                <a:extLst>
                  <a:ext uri="{FF2B5EF4-FFF2-40B4-BE49-F238E27FC236}">
                    <a16:creationId xmlns:a16="http://schemas.microsoft.com/office/drawing/2014/main" id="{3D91B28C-BF05-45CD-8556-32D6837EA404}"/>
                  </a:ext>
                </a:extLst>
              </p:cNvPr>
              <p:cNvSpPr/>
              <p:nvPr/>
            </p:nvSpPr>
            <p:spPr>
              <a:xfrm>
                <a:off x="4678225" y="1571563"/>
                <a:ext cx="18370" cy="18483"/>
              </a:xfrm>
              <a:custGeom>
                <a:avLst/>
                <a:gdLst>
                  <a:gd name="connsiteX0" fmla="*/ 16781 w 18370"/>
                  <a:gd name="connsiteY0" fmla="*/ 4098 h 18483"/>
                  <a:gd name="connsiteX1" fmla="*/ 4042 w 18370"/>
                  <a:gd name="connsiteY1" fmla="*/ 1586 h 18483"/>
                  <a:gd name="connsiteX2" fmla="*/ 1590 w 18370"/>
                  <a:gd name="connsiteY2" fmla="*/ 14385 h 18483"/>
                  <a:gd name="connsiteX3" fmla="*/ 14328 w 18370"/>
                  <a:gd name="connsiteY3" fmla="*/ 16897 h 18483"/>
                  <a:gd name="connsiteX4" fmla="*/ 16781 w 18370"/>
                  <a:gd name="connsiteY4" fmla="*/ 4098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83">
                    <a:moveTo>
                      <a:pt x="16781" y="4098"/>
                    </a:moveTo>
                    <a:cubicBezTo>
                      <a:pt x="13970" y="-148"/>
                      <a:pt x="8228" y="-1284"/>
                      <a:pt x="4042" y="1586"/>
                    </a:cubicBezTo>
                    <a:cubicBezTo>
                      <a:pt x="-145" y="4397"/>
                      <a:pt x="-1281" y="10139"/>
                      <a:pt x="1590" y="14385"/>
                    </a:cubicBezTo>
                    <a:cubicBezTo>
                      <a:pt x="4401" y="18631"/>
                      <a:pt x="10142" y="19768"/>
                      <a:pt x="14328" y="16897"/>
                    </a:cubicBezTo>
                    <a:cubicBezTo>
                      <a:pt x="18515" y="14026"/>
                      <a:pt x="19651" y="8285"/>
                      <a:pt x="16781" y="4098"/>
                    </a:cubicBezTo>
                    <a:close/>
                  </a:path>
                </a:pathLst>
              </a:custGeom>
              <a:grpFill/>
              <a:ln w="5978" cap="flat">
                <a:noFill/>
                <a:prstDash val="solid"/>
                <a:miter/>
              </a:ln>
            </p:spPr>
            <p:txBody>
              <a:bodyPr rtlCol="0" anchor="ctr"/>
              <a:lstStyle/>
              <a:p>
                <a:endParaRPr lang="en-GB"/>
              </a:p>
            </p:txBody>
          </p:sp>
        </p:grpSp>
        <p:grpSp>
          <p:nvGrpSpPr>
            <p:cNvPr id="824" name="Graphic 3">
              <a:extLst>
                <a:ext uri="{FF2B5EF4-FFF2-40B4-BE49-F238E27FC236}">
                  <a16:creationId xmlns:a16="http://schemas.microsoft.com/office/drawing/2014/main" id="{7610FDBC-2412-43F5-B9FA-D099F64C1ED3}"/>
                </a:ext>
              </a:extLst>
            </p:cNvPr>
            <p:cNvGrpSpPr/>
            <p:nvPr/>
          </p:nvGrpSpPr>
          <p:grpSpPr>
            <a:xfrm>
              <a:off x="4857914" y="1984676"/>
              <a:ext cx="122892" cy="143670"/>
              <a:chOff x="4857914" y="1984676"/>
              <a:chExt cx="122892" cy="143670"/>
            </a:xfrm>
            <a:grpFill/>
          </p:grpSpPr>
          <p:sp>
            <p:nvSpPr>
              <p:cNvPr id="2924" name="Vrije vorm: vorm 2923">
                <a:extLst>
                  <a:ext uri="{FF2B5EF4-FFF2-40B4-BE49-F238E27FC236}">
                    <a16:creationId xmlns:a16="http://schemas.microsoft.com/office/drawing/2014/main" id="{3CA5C5A2-198F-4C49-BE94-C6D3EE2AF16B}"/>
                  </a:ext>
                </a:extLst>
              </p:cNvPr>
              <p:cNvSpPr/>
              <p:nvPr/>
            </p:nvSpPr>
            <p:spPr>
              <a:xfrm>
                <a:off x="4865576" y="1992577"/>
                <a:ext cx="107473" cy="127927"/>
              </a:xfrm>
              <a:custGeom>
                <a:avLst/>
                <a:gdLst>
                  <a:gd name="connsiteX0" fmla="*/ 107473 w 107473"/>
                  <a:gd name="connsiteY0" fmla="*/ 125954 h 127927"/>
                  <a:gd name="connsiteX1" fmla="*/ 105141 w 107473"/>
                  <a:gd name="connsiteY1" fmla="*/ 127928 h 127927"/>
                  <a:gd name="connsiteX2" fmla="*/ 0 w 107473"/>
                  <a:gd name="connsiteY2" fmla="*/ 1974 h 127927"/>
                  <a:gd name="connsiteX3" fmla="*/ 2392 w 107473"/>
                  <a:gd name="connsiteY3" fmla="*/ 0 h 127927"/>
                </a:gdLst>
                <a:ahLst/>
                <a:cxnLst>
                  <a:cxn ang="0">
                    <a:pos x="connsiteX0" y="connsiteY0"/>
                  </a:cxn>
                  <a:cxn ang="0">
                    <a:pos x="connsiteX1" y="connsiteY1"/>
                  </a:cxn>
                  <a:cxn ang="0">
                    <a:pos x="connsiteX2" y="connsiteY2"/>
                  </a:cxn>
                  <a:cxn ang="0">
                    <a:pos x="connsiteX3" y="connsiteY3"/>
                  </a:cxn>
                </a:cxnLst>
                <a:rect l="l" t="t" r="r" b="b"/>
                <a:pathLst>
                  <a:path w="107473" h="127927">
                    <a:moveTo>
                      <a:pt x="107473" y="125954"/>
                    </a:moveTo>
                    <a:lnTo>
                      <a:pt x="105141" y="127928"/>
                    </a:lnTo>
                    <a:lnTo>
                      <a:pt x="0" y="1974"/>
                    </a:lnTo>
                    <a:lnTo>
                      <a:pt x="2392" y="0"/>
                    </a:lnTo>
                    <a:close/>
                  </a:path>
                </a:pathLst>
              </a:custGeom>
              <a:grpFill/>
              <a:ln w="5978" cap="flat">
                <a:noFill/>
                <a:prstDash val="solid"/>
                <a:miter/>
              </a:ln>
            </p:spPr>
            <p:txBody>
              <a:bodyPr rtlCol="0" anchor="ctr"/>
              <a:lstStyle/>
              <a:p>
                <a:endParaRPr lang="en-GB"/>
              </a:p>
            </p:txBody>
          </p:sp>
          <p:sp>
            <p:nvSpPr>
              <p:cNvPr id="2925" name="Vrije vorm: vorm 2924">
                <a:extLst>
                  <a:ext uri="{FF2B5EF4-FFF2-40B4-BE49-F238E27FC236}">
                    <a16:creationId xmlns:a16="http://schemas.microsoft.com/office/drawing/2014/main" id="{0ED4A6A1-E623-4CDE-ADE6-D4E539A26299}"/>
                  </a:ext>
                </a:extLst>
              </p:cNvPr>
              <p:cNvSpPr/>
              <p:nvPr/>
            </p:nvSpPr>
            <p:spPr>
              <a:xfrm>
                <a:off x="4857914" y="1984676"/>
                <a:ext cx="18349" cy="18453"/>
              </a:xfrm>
              <a:custGeom>
                <a:avLst/>
                <a:gdLst>
                  <a:gd name="connsiteX0" fmla="*/ 2160 w 18349"/>
                  <a:gd name="connsiteY0" fmla="*/ 15138 h 18453"/>
                  <a:gd name="connsiteX1" fmla="*/ 3296 w 18349"/>
                  <a:gd name="connsiteY1" fmla="*/ 2160 h 18453"/>
                  <a:gd name="connsiteX2" fmla="*/ 16215 w 18349"/>
                  <a:gd name="connsiteY2" fmla="*/ 3296 h 18453"/>
                  <a:gd name="connsiteX3" fmla="*/ 15078 w 18349"/>
                  <a:gd name="connsiteY3" fmla="*/ 16274 h 18453"/>
                  <a:gd name="connsiteX4" fmla="*/ 2160 w 18349"/>
                  <a:gd name="connsiteY4" fmla="*/ 1513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3">
                    <a:moveTo>
                      <a:pt x="2160" y="15138"/>
                    </a:moveTo>
                    <a:cubicBezTo>
                      <a:pt x="-1130" y="11250"/>
                      <a:pt x="-591" y="5449"/>
                      <a:pt x="3296" y="2160"/>
                    </a:cubicBezTo>
                    <a:cubicBezTo>
                      <a:pt x="7184" y="-1130"/>
                      <a:pt x="12925" y="-591"/>
                      <a:pt x="16215" y="3296"/>
                    </a:cubicBezTo>
                    <a:cubicBezTo>
                      <a:pt x="19444" y="7183"/>
                      <a:pt x="18965" y="12985"/>
                      <a:pt x="15078" y="16274"/>
                    </a:cubicBezTo>
                    <a:cubicBezTo>
                      <a:pt x="11191" y="19564"/>
                      <a:pt x="5389" y="19085"/>
                      <a:pt x="2160" y="15138"/>
                    </a:cubicBezTo>
                    <a:close/>
                  </a:path>
                </a:pathLst>
              </a:custGeom>
              <a:grpFill/>
              <a:ln w="5978" cap="flat">
                <a:noFill/>
                <a:prstDash val="solid"/>
                <a:miter/>
              </a:ln>
            </p:spPr>
            <p:txBody>
              <a:bodyPr rtlCol="0" anchor="ctr"/>
              <a:lstStyle/>
              <a:p>
                <a:endParaRPr lang="en-GB"/>
              </a:p>
            </p:txBody>
          </p:sp>
          <p:sp>
            <p:nvSpPr>
              <p:cNvPr id="2926" name="Vrije vorm: vorm 2925">
                <a:extLst>
                  <a:ext uri="{FF2B5EF4-FFF2-40B4-BE49-F238E27FC236}">
                    <a16:creationId xmlns:a16="http://schemas.microsoft.com/office/drawing/2014/main" id="{DF48BDD9-942B-40EE-9997-98BE1D27080F}"/>
                  </a:ext>
                </a:extLst>
              </p:cNvPr>
              <p:cNvSpPr/>
              <p:nvPr/>
            </p:nvSpPr>
            <p:spPr>
              <a:xfrm>
                <a:off x="4962437" y="2109902"/>
                <a:ext cx="18369" cy="18444"/>
              </a:xfrm>
              <a:custGeom>
                <a:avLst/>
                <a:gdLst>
                  <a:gd name="connsiteX0" fmla="*/ 2179 w 18369"/>
                  <a:gd name="connsiteY0" fmla="*/ 15148 h 18444"/>
                  <a:gd name="connsiteX1" fmla="*/ 15098 w 18369"/>
                  <a:gd name="connsiteY1" fmla="*/ 16285 h 18444"/>
                  <a:gd name="connsiteX2" fmla="*/ 16234 w 18369"/>
                  <a:gd name="connsiteY2" fmla="*/ 3307 h 18444"/>
                  <a:gd name="connsiteX3" fmla="*/ 3316 w 18369"/>
                  <a:gd name="connsiteY3" fmla="*/ 2110 h 18444"/>
                  <a:gd name="connsiteX4" fmla="*/ 2179 w 18369"/>
                  <a:gd name="connsiteY4" fmla="*/ 1514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4">
                    <a:moveTo>
                      <a:pt x="2179" y="15148"/>
                    </a:moveTo>
                    <a:cubicBezTo>
                      <a:pt x="5469" y="19036"/>
                      <a:pt x="11210" y="19574"/>
                      <a:pt x="15098" y="16285"/>
                    </a:cubicBezTo>
                    <a:cubicBezTo>
                      <a:pt x="18985" y="12995"/>
                      <a:pt x="19464" y="7194"/>
                      <a:pt x="16234" y="3307"/>
                    </a:cubicBezTo>
                    <a:cubicBezTo>
                      <a:pt x="12945" y="-581"/>
                      <a:pt x="7203" y="-1119"/>
                      <a:pt x="3316" y="2110"/>
                    </a:cubicBezTo>
                    <a:cubicBezTo>
                      <a:pt x="-632" y="5460"/>
                      <a:pt x="-1110" y="11261"/>
                      <a:pt x="2179" y="15148"/>
                    </a:cubicBezTo>
                    <a:close/>
                  </a:path>
                </a:pathLst>
              </a:custGeom>
              <a:grpFill/>
              <a:ln w="5978" cap="flat">
                <a:noFill/>
                <a:prstDash val="solid"/>
                <a:miter/>
              </a:ln>
            </p:spPr>
            <p:txBody>
              <a:bodyPr rtlCol="0" anchor="ctr"/>
              <a:lstStyle/>
              <a:p>
                <a:endParaRPr lang="en-GB"/>
              </a:p>
            </p:txBody>
          </p:sp>
        </p:grpSp>
        <p:grpSp>
          <p:nvGrpSpPr>
            <p:cNvPr id="825" name="Graphic 3">
              <a:extLst>
                <a:ext uri="{FF2B5EF4-FFF2-40B4-BE49-F238E27FC236}">
                  <a16:creationId xmlns:a16="http://schemas.microsoft.com/office/drawing/2014/main" id="{3E45B93A-E054-4328-835C-57C373ECB239}"/>
                </a:ext>
              </a:extLst>
            </p:cNvPr>
            <p:cNvGrpSpPr/>
            <p:nvPr/>
          </p:nvGrpSpPr>
          <p:grpSpPr>
            <a:xfrm>
              <a:off x="4802059" y="1861855"/>
              <a:ext cx="179544" cy="265869"/>
              <a:chOff x="4802059" y="1861855"/>
              <a:chExt cx="179544" cy="265869"/>
            </a:xfrm>
            <a:grpFill/>
          </p:grpSpPr>
          <p:sp>
            <p:nvSpPr>
              <p:cNvPr id="2921" name="Vrije vorm: vorm 2920">
                <a:extLst>
                  <a:ext uri="{FF2B5EF4-FFF2-40B4-BE49-F238E27FC236}">
                    <a16:creationId xmlns:a16="http://schemas.microsoft.com/office/drawing/2014/main" id="{62177B4A-0453-4DF0-AF69-8FA92BEF3F54}"/>
                  </a:ext>
                </a:extLst>
              </p:cNvPr>
              <p:cNvSpPr/>
              <p:nvPr/>
            </p:nvSpPr>
            <p:spPr>
              <a:xfrm>
                <a:off x="4809654" y="1869881"/>
                <a:ext cx="164650" cy="249688"/>
              </a:xfrm>
              <a:custGeom>
                <a:avLst/>
                <a:gdLst>
                  <a:gd name="connsiteX0" fmla="*/ 0 w 164650"/>
                  <a:gd name="connsiteY0" fmla="*/ 1669 h 249688"/>
                  <a:gd name="connsiteX1" fmla="*/ 2553 w 164650"/>
                  <a:gd name="connsiteY1" fmla="*/ 0 h 249688"/>
                  <a:gd name="connsiteX2" fmla="*/ 164651 w 164650"/>
                  <a:gd name="connsiteY2" fmla="*/ 248020 h 249688"/>
                  <a:gd name="connsiteX3" fmla="*/ 162097 w 164650"/>
                  <a:gd name="connsiteY3" fmla="*/ 249689 h 249688"/>
                </a:gdLst>
                <a:ahLst/>
                <a:cxnLst>
                  <a:cxn ang="0">
                    <a:pos x="connsiteX0" y="connsiteY0"/>
                  </a:cxn>
                  <a:cxn ang="0">
                    <a:pos x="connsiteX1" y="connsiteY1"/>
                  </a:cxn>
                  <a:cxn ang="0">
                    <a:pos x="connsiteX2" y="connsiteY2"/>
                  </a:cxn>
                  <a:cxn ang="0">
                    <a:pos x="connsiteX3" y="connsiteY3"/>
                  </a:cxn>
                </a:cxnLst>
                <a:rect l="l" t="t" r="r" b="b"/>
                <a:pathLst>
                  <a:path w="164650" h="249688">
                    <a:moveTo>
                      <a:pt x="0" y="1669"/>
                    </a:moveTo>
                    <a:lnTo>
                      <a:pt x="2553" y="0"/>
                    </a:lnTo>
                    <a:lnTo>
                      <a:pt x="164651" y="248020"/>
                    </a:lnTo>
                    <a:lnTo>
                      <a:pt x="162097" y="249689"/>
                    </a:lnTo>
                    <a:close/>
                  </a:path>
                </a:pathLst>
              </a:custGeom>
              <a:grpFill/>
              <a:ln w="5978" cap="flat">
                <a:noFill/>
                <a:prstDash val="solid"/>
                <a:miter/>
              </a:ln>
            </p:spPr>
            <p:txBody>
              <a:bodyPr rtlCol="0" anchor="ctr"/>
              <a:lstStyle/>
              <a:p>
                <a:endParaRPr lang="en-GB"/>
              </a:p>
            </p:txBody>
          </p:sp>
          <p:sp>
            <p:nvSpPr>
              <p:cNvPr id="2922" name="Vrije vorm: vorm 2921">
                <a:extLst>
                  <a:ext uri="{FF2B5EF4-FFF2-40B4-BE49-F238E27FC236}">
                    <a16:creationId xmlns:a16="http://schemas.microsoft.com/office/drawing/2014/main" id="{49F67C03-29CF-47AC-A7E8-C09EBE4430B0}"/>
                  </a:ext>
                </a:extLst>
              </p:cNvPr>
              <p:cNvSpPr/>
              <p:nvPr/>
            </p:nvSpPr>
            <p:spPr>
              <a:xfrm>
                <a:off x="4963299" y="2109296"/>
                <a:ext cx="18304" cy="18428"/>
              </a:xfrm>
              <a:custGeom>
                <a:avLst/>
                <a:gdLst>
                  <a:gd name="connsiteX0" fmla="*/ 16807 w 18304"/>
                  <a:gd name="connsiteY0" fmla="*/ 4211 h 18428"/>
                  <a:gd name="connsiteX1" fmla="*/ 14176 w 18304"/>
                  <a:gd name="connsiteY1" fmla="*/ 16950 h 18428"/>
                  <a:gd name="connsiteX2" fmla="*/ 1497 w 18304"/>
                  <a:gd name="connsiteY2" fmla="*/ 14259 h 18428"/>
                  <a:gd name="connsiteX3" fmla="*/ 4128 w 18304"/>
                  <a:gd name="connsiteY3" fmla="*/ 1520 h 18428"/>
                  <a:gd name="connsiteX4" fmla="*/ 16807 w 18304"/>
                  <a:gd name="connsiteY4" fmla="*/ 4211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8">
                    <a:moveTo>
                      <a:pt x="16807" y="4211"/>
                    </a:moveTo>
                    <a:cubicBezTo>
                      <a:pt x="19559" y="8458"/>
                      <a:pt x="18422" y="14199"/>
                      <a:pt x="14176" y="16950"/>
                    </a:cubicBezTo>
                    <a:cubicBezTo>
                      <a:pt x="9930" y="19701"/>
                      <a:pt x="4248" y="18505"/>
                      <a:pt x="1497" y="14259"/>
                    </a:cubicBezTo>
                    <a:cubicBezTo>
                      <a:pt x="-1255" y="10013"/>
                      <a:pt x="-118" y="4271"/>
                      <a:pt x="4128" y="1520"/>
                    </a:cubicBezTo>
                    <a:cubicBezTo>
                      <a:pt x="8375" y="-1291"/>
                      <a:pt x="14056" y="-95"/>
                      <a:pt x="16807" y="4211"/>
                    </a:cubicBezTo>
                    <a:close/>
                  </a:path>
                </a:pathLst>
              </a:custGeom>
              <a:grpFill/>
              <a:ln w="5978" cap="flat">
                <a:noFill/>
                <a:prstDash val="solid"/>
                <a:miter/>
              </a:ln>
            </p:spPr>
            <p:txBody>
              <a:bodyPr rtlCol="0" anchor="ctr"/>
              <a:lstStyle/>
              <a:p>
                <a:endParaRPr lang="en-GB"/>
              </a:p>
            </p:txBody>
          </p:sp>
          <p:sp>
            <p:nvSpPr>
              <p:cNvPr id="2923" name="Vrije vorm: vorm 2922">
                <a:extLst>
                  <a:ext uri="{FF2B5EF4-FFF2-40B4-BE49-F238E27FC236}">
                    <a16:creationId xmlns:a16="http://schemas.microsoft.com/office/drawing/2014/main" id="{EFBF1633-FC13-4805-94D5-FF9236182566}"/>
                  </a:ext>
                </a:extLst>
              </p:cNvPr>
              <p:cNvSpPr/>
              <p:nvPr/>
            </p:nvSpPr>
            <p:spPr>
              <a:xfrm>
                <a:off x="4802059" y="1861855"/>
                <a:ext cx="18330" cy="18387"/>
              </a:xfrm>
              <a:custGeom>
                <a:avLst/>
                <a:gdLst>
                  <a:gd name="connsiteX0" fmla="*/ 16807 w 18330"/>
                  <a:gd name="connsiteY0" fmla="*/ 4170 h 18387"/>
                  <a:gd name="connsiteX1" fmla="*/ 4128 w 18330"/>
                  <a:gd name="connsiteY1" fmla="*/ 1479 h 18387"/>
                  <a:gd name="connsiteX2" fmla="*/ 1496 w 18330"/>
                  <a:gd name="connsiteY2" fmla="*/ 14217 h 18387"/>
                  <a:gd name="connsiteX3" fmla="*/ 14176 w 18330"/>
                  <a:gd name="connsiteY3" fmla="*/ 16909 h 18387"/>
                  <a:gd name="connsiteX4" fmla="*/ 16807 w 18330"/>
                  <a:gd name="connsiteY4" fmla="*/ 417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0" h="18387">
                    <a:moveTo>
                      <a:pt x="16807" y="4170"/>
                    </a:moveTo>
                    <a:cubicBezTo>
                      <a:pt x="14056" y="-77"/>
                      <a:pt x="8374" y="-1273"/>
                      <a:pt x="4128" y="1479"/>
                    </a:cubicBezTo>
                    <a:cubicBezTo>
                      <a:pt x="-118" y="4230"/>
                      <a:pt x="-1254" y="9971"/>
                      <a:pt x="1496" y="14217"/>
                    </a:cubicBezTo>
                    <a:cubicBezTo>
                      <a:pt x="4248" y="18464"/>
                      <a:pt x="9929" y="19660"/>
                      <a:pt x="14176" y="16909"/>
                    </a:cubicBezTo>
                    <a:cubicBezTo>
                      <a:pt x="18422" y="14098"/>
                      <a:pt x="19618" y="8416"/>
                      <a:pt x="16807" y="4170"/>
                    </a:cubicBezTo>
                    <a:close/>
                  </a:path>
                </a:pathLst>
              </a:custGeom>
              <a:grpFill/>
              <a:ln w="5978" cap="flat">
                <a:noFill/>
                <a:prstDash val="solid"/>
                <a:miter/>
              </a:ln>
            </p:spPr>
            <p:txBody>
              <a:bodyPr rtlCol="0" anchor="ctr"/>
              <a:lstStyle/>
              <a:p>
                <a:endParaRPr lang="en-GB"/>
              </a:p>
            </p:txBody>
          </p:sp>
        </p:grpSp>
        <p:grpSp>
          <p:nvGrpSpPr>
            <p:cNvPr id="826" name="Graphic 3">
              <a:extLst>
                <a:ext uri="{FF2B5EF4-FFF2-40B4-BE49-F238E27FC236}">
                  <a16:creationId xmlns:a16="http://schemas.microsoft.com/office/drawing/2014/main" id="{FE9C9615-900B-4DA8-830F-E26B30B5547D}"/>
                </a:ext>
              </a:extLst>
            </p:cNvPr>
            <p:cNvGrpSpPr/>
            <p:nvPr/>
          </p:nvGrpSpPr>
          <p:grpSpPr>
            <a:xfrm>
              <a:off x="6009686" y="5254879"/>
              <a:ext cx="21595" cy="200837"/>
              <a:chOff x="6009686" y="5254879"/>
              <a:chExt cx="21595" cy="200837"/>
            </a:xfrm>
            <a:grpFill/>
          </p:grpSpPr>
          <p:sp>
            <p:nvSpPr>
              <p:cNvPr id="2918" name="Vrije vorm: vorm 2917">
                <a:extLst>
                  <a:ext uri="{FF2B5EF4-FFF2-40B4-BE49-F238E27FC236}">
                    <a16:creationId xmlns:a16="http://schemas.microsoft.com/office/drawing/2014/main" id="{DD96B05D-0271-4365-B746-815CD7EE9C7B}"/>
                  </a:ext>
                </a:extLst>
              </p:cNvPr>
              <p:cNvSpPr/>
              <p:nvPr/>
            </p:nvSpPr>
            <p:spPr>
              <a:xfrm>
                <a:off x="6017343" y="5263553"/>
                <a:ext cx="6279" cy="183428"/>
              </a:xfrm>
              <a:custGeom>
                <a:avLst/>
                <a:gdLst>
                  <a:gd name="connsiteX0" fmla="*/ 6280 w 6279"/>
                  <a:gd name="connsiteY0" fmla="*/ 60 h 183428"/>
                  <a:gd name="connsiteX1" fmla="*/ 3050 w 6279"/>
                  <a:gd name="connsiteY1" fmla="*/ 183429 h 183428"/>
                  <a:gd name="connsiteX2" fmla="*/ 0 w 6279"/>
                  <a:gd name="connsiteY2" fmla="*/ 183369 h 183428"/>
                  <a:gd name="connsiteX3" fmla="*/ 3230 w 6279"/>
                  <a:gd name="connsiteY3" fmla="*/ 0 h 183428"/>
                </a:gdLst>
                <a:ahLst/>
                <a:cxnLst>
                  <a:cxn ang="0">
                    <a:pos x="connsiteX0" y="connsiteY0"/>
                  </a:cxn>
                  <a:cxn ang="0">
                    <a:pos x="connsiteX1" y="connsiteY1"/>
                  </a:cxn>
                  <a:cxn ang="0">
                    <a:pos x="connsiteX2" y="connsiteY2"/>
                  </a:cxn>
                  <a:cxn ang="0">
                    <a:pos x="connsiteX3" y="connsiteY3"/>
                  </a:cxn>
                </a:cxnLst>
                <a:rect l="l" t="t" r="r" b="b"/>
                <a:pathLst>
                  <a:path w="6279" h="183428">
                    <a:moveTo>
                      <a:pt x="6280" y="60"/>
                    </a:moveTo>
                    <a:lnTo>
                      <a:pt x="3050" y="183429"/>
                    </a:lnTo>
                    <a:lnTo>
                      <a:pt x="0" y="183369"/>
                    </a:lnTo>
                    <a:lnTo>
                      <a:pt x="3230" y="0"/>
                    </a:lnTo>
                    <a:close/>
                  </a:path>
                </a:pathLst>
              </a:custGeom>
              <a:grpFill/>
              <a:ln w="5978" cap="flat">
                <a:noFill/>
                <a:prstDash val="solid"/>
                <a:miter/>
              </a:ln>
            </p:spPr>
            <p:txBody>
              <a:bodyPr rtlCol="0" anchor="ctr"/>
              <a:lstStyle/>
              <a:p>
                <a:endParaRPr lang="en-GB"/>
              </a:p>
            </p:txBody>
          </p:sp>
          <p:sp>
            <p:nvSpPr>
              <p:cNvPr id="2919" name="Vrije vorm: vorm 2918">
                <a:extLst>
                  <a:ext uri="{FF2B5EF4-FFF2-40B4-BE49-F238E27FC236}">
                    <a16:creationId xmlns:a16="http://schemas.microsoft.com/office/drawing/2014/main" id="{BC6ACD9D-2AD3-4409-A72E-9BB89BC17B35}"/>
                  </a:ext>
                </a:extLst>
              </p:cNvPr>
              <p:cNvSpPr/>
              <p:nvPr/>
            </p:nvSpPr>
            <p:spPr>
              <a:xfrm>
                <a:off x="6009686" y="5437293"/>
                <a:ext cx="18306" cy="18423"/>
              </a:xfrm>
              <a:custGeom>
                <a:avLst/>
                <a:gdLst>
                  <a:gd name="connsiteX0" fmla="*/ 18304 w 18306"/>
                  <a:gd name="connsiteY0" fmla="*/ 9390 h 18423"/>
                  <a:gd name="connsiteX1" fmla="*/ 8974 w 18306"/>
                  <a:gd name="connsiteY1" fmla="*/ 18421 h 18423"/>
                  <a:gd name="connsiteX2" fmla="*/ 3 w 18306"/>
                  <a:gd name="connsiteY2" fmla="*/ 9032 h 18423"/>
                  <a:gd name="connsiteX3" fmla="*/ 9333 w 18306"/>
                  <a:gd name="connsiteY3" fmla="*/ 1 h 18423"/>
                  <a:gd name="connsiteX4" fmla="*/ 18304 w 18306"/>
                  <a:gd name="connsiteY4" fmla="*/ 9390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3">
                    <a:moveTo>
                      <a:pt x="18304" y="9390"/>
                    </a:moveTo>
                    <a:cubicBezTo>
                      <a:pt x="18184" y="14474"/>
                      <a:pt x="14057" y="18541"/>
                      <a:pt x="8974" y="18421"/>
                    </a:cubicBezTo>
                    <a:cubicBezTo>
                      <a:pt x="3890" y="18302"/>
                      <a:pt x="-117" y="14115"/>
                      <a:pt x="3" y="9032"/>
                    </a:cubicBezTo>
                    <a:cubicBezTo>
                      <a:pt x="122" y="3948"/>
                      <a:pt x="4249" y="-59"/>
                      <a:pt x="9333" y="1"/>
                    </a:cubicBezTo>
                    <a:cubicBezTo>
                      <a:pt x="14416" y="120"/>
                      <a:pt x="18423" y="4307"/>
                      <a:pt x="18304" y="9390"/>
                    </a:cubicBezTo>
                    <a:close/>
                  </a:path>
                </a:pathLst>
              </a:custGeom>
              <a:grpFill/>
              <a:ln w="5978" cap="flat">
                <a:noFill/>
                <a:prstDash val="solid"/>
                <a:miter/>
              </a:ln>
            </p:spPr>
            <p:txBody>
              <a:bodyPr rtlCol="0" anchor="ctr"/>
              <a:lstStyle/>
              <a:p>
                <a:endParaRPr lang="en-GB"/>
              </a:p>
            </p:txBody>
          </p:sp>
          <p:sp>
            <p:nvSpPr>
              <p:cNvPr id="2920" name="Vrije vorm: vorm 2919">
                <a:extLst>
                  <a:ext uri="{FF2B5EF4-FFF2-40B4-BE49-F238E27FC236}">
                    <a16:creationId xmlns:a16="http://schemas.microsoft.com/office/drawing/2014/main" id="{DF72CBF9-A5CD-4A85-9B96-99D400BBE490}"/>
                  </a:ext>
                </a:extLst>
              </p:cNvPr>
              <p:cNvSpPr/>
              <p:nvPr/>
            </p:nvSpPr>
            <p:spPr>
              <a:xfrm>
                <a:off x="6012975" y="5254879"/>
                <a:ext cx="18306" cy="18423"/>
              </a:xfrm>
              <a:custGeom>
                <a:avLst/>
                <a:gdLst>
                  <a:gd name="connsiteX0" fmla="*/ 18304 w 18306"/>
                  <a:gd name="connsiteY0" fmla="*/ 9392 h 18423"/>
                  <a:gd name="connsiteX1" fmla="*/ 9332 w 18306"/>
                  <a:gd name="connsiteY1" fmla="*/ 3 h 18423"/>
                  <a:gd name="connsiteX2" fmla="*/ 3 w 18306"/>
                  <a:gd name="connsiteY2" fmla="*/ 9034 h 18423"/>
                  <a:gd name="connsiteX3" fmla="*/ 8974 w 18306"/>
                  <a:gd name="connsiteY3" fmla="*/ 18423 h 18423"/>
                  <a:gd name="connsiteX4" fmla="*/ 18304 w 18306"/>
                  <a:gd name="connsiteY4" fmla="*/ 93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3">
                    <a:moveTo>
                      <a:pt x="18304" y="9392"/>
                    </a:moveTo>
                    <a:cubicBezTo>
                      <a:pt x="18423" y="4309"/>
                      <a:pt x="14356" y="62"/>
                      <a:pt x="9332" y="3"/>
                    </a:cubicBezTo>
                    <a:cubicBezTo>
                      <a:pt x="4249" y="-117"/>
                      <a:pt x="122" y="3950"/>
                      <a:pt x="3" y="9034"/>
                    </a:cubicBezTo>
                    <a:cubicBezTo>
                      <a:pt x="-117" y="14117"/>
                      <a:pt x="3950" y="18363"/>
                      <a:pt x="8974" y="18423"/>
                    </a:cubicBezTo>
                    <a:cubicBezTo>
                      <a:pt x="14057" y="18483"/>
                      <a:pt x="18244" y="14476"/>
                      <a:pt x="18304" y="9392"/>
                    </a:cubicBezTo>
                    <a:close/>
                  </a:path>
                </a:pathLst>
              </a:custGeom>
              <a:grpFill/>
              <a:ln w="5978" cap="flat">
                <a:noFill/>
                <a:prstDash val="solid"/>
                <a:miter/>
              </a:ln>
            </p:spPr>
            <p:txBody>
              <a:bodyPr rtlCol="0" anchor="ctr"/>
              <a:lstStyle/>
              <a:p>
                <a:endParaRPr lang="en-GB"/>
              </a:p>
            </p:txBody>
          </p:sp>
        </p:grpSp>
        <p:grpSp>
          <p:nvGrpSpPr>
            <p:cNvPr id="827" name="Graphic 3">
              <a:extLst>
                <a:ext uri="{FF2B5EF4-FFF2-40B4-BE49-F238E27FC236}">
                  <a16:creationId xmlns:a16="http://schemas.microsoft.com/office/drawing/2014/main" id="{E2925205-3330-4704-B248-ADC57CC7E21E}"/>
                </a:ext>
              </a:extLst>
            </p:cNvPr>
            <p:cNvGrpSpPr/>
            <p:nvPr/>
          </p:nvGrpSpPr>
          <p:grpSpPr>
            <a:xfrm>
              <a:off x="6005658" y="5096002"/>
              <a:ext cx="59076" cy="610148"/>
              <a:chOff x="6005658" y="5096002"/>
              <a:chExt cx="59076" cy="610148"/>
            </a:xfrm>
            <a:grpFill/>
          </p:grpSpPr>
          <p:sp>
            <p:nvSpPr>
              <p:cNvPr id="2915" name="Vrije vorm: vorm 2914">
                <a:extLst>
                  <a:ext uri="{FF2B5EF4-FFF2-40B4-BE49-F238E27FC236}">
                    <a16:creationId xmlns:a16="http://schemas.microsoft.com/office/drawing/2014/main" id="{693A9C36-78F3-4AF9-A17A-68B68638B399}"/>
                  </a:ext>
                </a:extLst>
              </p:cNvPr>
              <p:cNvSpPr/>
              <p:nvPr/>
            </p:nvSpPr>
            <p:spPr>
              <a:xfrm>
                <a:off x="6013276" y="5104586"/>
                <a:ext cx="43898" cy="592928"/>
              </a:xfrm>
              <a:custGeom>
                <a:avLst/>
                <a:gdLst>
                  <a:gd name="connsiteX0" fmla="*/ 43899 w 43898"/>
                  <a:gd name="connsiteY0" fmla="*/ 239 h 592928"/>
                  <a:gd name="connsiteX1" fmla="*/ 3050 w 43898"/>
                  <a:gd name="connsiteY1" fmla="*/ 592929 h 592928"/>
                  <a:gd name="connsiteX2" fmla="*/ 0 w 43898"/>
                  <a:gd name="connsiteY2" fmla="*/ 592690 h 592928"/>
                  <a:gd name="connsiteX3" fmla="*/ 40848 w 43898"/>
                  <a:gd name="connsiteY3" fmla="*/ 0 h 592928"/>
                </a:gdLst>
                <a:ahLst/>
                <a:cxnLst>
                  <a:cxn ang="0">
                    <a:pos x="connsiteX0" y="connsiteY0"/>
                  </a:cxn>
                  <a:cxn ang="0">
                    <a:pos x="connsiteX1" y="connsiteY1"/>
                  </a:cxn>
                  <a:cxn ang="0">
                    <a:pos x="connsiteX2" y="connsiteY2"/>
                  </a:cxn>
                  <a:cxn ang="0">
                    <a:pos x="connsiteX3" y="connsiteY3"/>
                  </a:cxn>
                </a:cxnLst>
                <a:rect l="l" t="t" r="r" b="b"/>
                <a:pathLst>
                  <a:path w="43898" h="592928">
                    <a:moveTo>
                      <a:pt x="43899" y="239"/>
                    </a:moveTo>
                    <a:lnTo>
                      <a:pt x="3050" y="592929"/>
                    </a:lnTo>
                    <a:lnTo>
                      <a:pt x="0" y="592690"/>
                    </a:lnTo>
                    <a:lnTo>
                      <a:pt x="40848" y="0"/>
                    </a:lnTo>
                    <a:close/>
                  </a:path>
                </a:pathLst>
              </a:custGeom>
              <a:grpFill/>
              <a:ln w="5978" cap="flat">
                <a:noFill/>
                <a:prstDash val="solid"/>
                <a:miter/>
              </a:ln>
            </p:spPr>
            <p:txBody>
              <a:bodyPr rtlCol="0" anchor="ctr"/>
              <a:lstStyle/>
              <a:p>
                <a:endParaRPr lang="en-GB"/>
              </a:p>
            </p:txBody>
          </p:sp>
          <p:sp>
            <p:nvSpPr>
              <p:cNvPr id="2916" name="Vrije vorm: vorm 2915">
                <a:extLst>
                  <a:ext uri="{FF2B5EF4-FFF2-40B4-BE49-F238E27FC236}">
                    <a16:creationId xmlns:a16="http://schemas.microsoft.com/office/drawing/2014/main" id="{C9A7B159-7989-45F5-A84E-7269EE80BC9A}"/>
                  </a:ext>
                </a:extLst>
              </p:cNvPr>
              <p:cNvSpPr/>
              <p:nvPr/>
            </p:nvSpPr>
            <p:spPr>
              <a:xfrm>
                <a:off x="6046446" y="5096002"/>
                <a:ext cx="18288" cy="18423"/>
              </a:xfrm>
              <a:custGeom>
                <a:avLst/>
                <a:gdLst>
                  <a:gd name="connsiteX0" fmla="*/ 23 w 18288"/>
                  <a:gd name="connsiteY0" fmla="*/ 8524 h 18423"/>
                  <a:gd name="connsiteX1" fmla="*/ 9772 w 18288"/>
                  <a:gd name="connsiteY1" fmla="*/ 31 h 18423"/>
                  <a:gd name="connsiteX2" fmla="*/ 18265 w 18288"/>
                  <a:gd name="connsiteY2" fmla="*/ 9900 h 18423"/>
                  <a:gd name="connsiteX3" fmla="*/ 8516 w 18288"/>
                  <a:gd name="connsiteY3" fmla="*/ 18392 h 18423"/>
                  <a:gd name="connsiteX4" fmla="*/ 23 w 18288"/>
                  <a:gd name="connsiteY4" fmla="*/ 8524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3">
                    <a:moveTo>
                      <a:pt x="23" y="8524"/>
                    </a:moveTo>
                    <a:cubicBezTo>
                      <a:pt x="382" y="3440"/>
                      <a:pt x="4748" y="-387"/>
                      <a:pt x="9772" y="31"/>
                    </a:cubicBezTo>
                    <a:cubicBezTo>
                      <a:pt x="14796" y="390"/>
                      <a:pt x="18624" y="4816"/>
                      <a:pt x="18265" y="9900"/>
                    </a:cubicBezTo>
                    <a:cubicBezTo>
                      <a:pt x="17906" y="14983"/>
                      <a:pt x="13540" y="18811"/>
                      <a:pt x="8516" y="18392"/>
                    </a:cubicBezTo>
                    <a:cubicBezTo>
                      <a:pt x="3492" y="17973"/>
                      <a:pt x="-336" y="13548"/>
                      <a:pt x="23" y="8524"/>
                    </a:cubicBezTo>
                    <a:close/>
                  </a:path>
                </a:pathLst>
              </a:custGeom>
              <a:grpFill/>
              <a:ln w="5978" cap="flat">
                <a:noFill/>
                <a:prstDash val="solid"/>
                <a:miter/>
              </a:ln>
            </p:spPr>
            <p:txBody>
              <a:bodyPr rtlCol="0" anchor="ctr"/>
              <a:lstStyle/>
              <a:p>
                <a:endParaRPr lang="en-GB"/>
              </a:p>
            </p:txBody>
          </p:sp>
          <p:sp>
            <p:nvSpPr>
              <p:cNvPr id="2917" name="Vrije vorm: vorm 2916">
                <a:extLst>
                  <a:ext uri="{FF2B5EF4-FFF2-40B4-BE49-F238E27FC236}">
                    <a16:creationId xmlns:a16="http://schemas.microsoft.com/office/drawing/2014/main" id="{E796DD41-246A-43D6-B915-C9D4FEC14E40}"/>
                  </a:ext>
                </a:extLst>
              </p:cNvPr>
              <p:cNvSpPr/>
              <p:nvPr/>
            </p:nvSpPr>
            <p:spPr>
              <a:xfrm>
                <a:off x="6005658" y="5687735"/>
                <a:ext cx="18288" cy="18415"/>
              </a:xfrm>
              <a:custGeom>
                <a:avLst/>
                <a:gdLst>
                  <a:gd name="connsiteX0" fmla="*/ 23 w 18288"/>
                  <a:gd name="connsiteY0" fmla="*/ 8524 h 18415"/>
                  <a:gd name="connsiteX1" fmla="*/ 8516 w 18288"/>
                  <a:gd name="connsiteY1" fmla="*/ 18392 h 18415"/>
                  <a:gd name="connsiteX2" fmla="*/ 18265 w 18288"/>
                  <a:gd name="connsiteY2" fmla="*/ 9900 h 18415"/>
                  <a:gd name="connsiteX3" fmla="*/ 9772 w 18288"/>
                  <a:gd name="connsiteY3" fmla="*/ 31 h 18415"/>
                  <a:gd name="connsiteX4" fmla="*/ 23 w 18288"/>
                  <a:gd name="connsiteY4" fmla="*/ 8524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15">
                    <a:moveTo>
                      <a:pt x="23" y="8524"/>
                    </a:moveTo>
                    <a:cubicBezTo>
                      <a:pt x="-336" y="13608"/>
                      <a:pt x="3492" y="18033"/>
                      <a:pt x="8516" y="18392"/>
                    </a:cubicBezTo>
                    <a:cubicBezTo>
                      <a:pt x="13540" y="18751"/>
                      <a:pt x="17965" y="14923"/>
                      <a:pt x="18265" y="9900"/>
                    </a:cubicBezTo>
                    <a:cubicBezTo>
                      <a:pt x="18624" y="4816"/>
                      <a:pt x="14796" y="390"/>
                      <a:pt x="9772" y="31"/>
                    </a:cubicBezTo>
                    <a:cubicBezTo>
                      <a:pt x="4748" y="-387"/>
                      <a:pt x="383" y="3440"/>
                      <a:pt x="23" y="8524"/>
                    </a:cubicBezTo>
                    <a:close/>
                  </a:path>
                </a:pathLst>
              </a:custGeom>
              <a:grpFill/>
              <a:ln w="5978" cap="flat">
                <a:noFill/>
                <a:prstDash val="solid"/>
                <a:miter/>
              </a:ln>
            </p:spPr>
            <p:txBody>
              <a:bodyPr rtlCol="0" anchor="ctr"/>
              <a:lstStyle/>
              <a:p>
                <a:endParaRPr lang="en-GB"/>
              </a:p>
            </p:txBody>
          </p:sp>
        </p:grpSp>
        <p:grpSp>
          <p:nvGrpSpPr>
            <p:cNvPr id="828" name="Graphic 3">
              <a:extLst>
                <a:ext uri="{FF2B5EF4-FFF2-40B4-BE49-F238E27FC236}">
                  <a16:creationId xmlns:a16="http://schemas.microsoft.com/office/drawing/2014/main" id="{C2AF5715-7C33-47EB-843D-52EB1976FD2D}"/>
                </a:ext>
              </a:extLst>
            </p:cNvPr>
            <p:cNvGrpSpPr/>
            <p:nvPr/>
          </p:nvGrpSpPr>
          <p:grpSpPr>
            <a:xfrm>
              <a:off x="5944189" y="5109294"/>
              <a:ext cx="26461" cy="166715"/>
              <a:chOff x="5944189" y="5109294"/>
              <a:chExt cx="26461" cy="166715"/>
            </a:xfrm>
            <a:grpFill/>
          </p:grpSpPr>
          <p:sp>
            <p:nvSpPr>
              <p:cNvPr id="2912" name="Vrije vorm: vorm 2911">
                <a:extLst>
                  <a:ext uri="{FF2B5EF4-FFF2-40B4-BE49-F238E27FC236}">
                    <a16:creationId xmlns:a16="http://schemas.microsoft.com/office/drawing/2014/main" id="{540D78F4-52EC-4D94-8C80-663AED748273}"/>
                  </a:ext>
                </a:extLst>
              </p:cNvPr>
              <p:cNvSpPr/>
              <p:nvPr/>
            </p:nvSpPr>
            <p:spPr>
              <a:xfrm>
                <a:off x="5951795" y="5117982"/>
                <a:ext cx="11243" cy="149338"/>
              </a:xfrm>
              <a:custGeom>
                <a:avLst/>
                <a:gdLst>
                  <a:gd name="connsiteX0" fmla="*/ 11244 w 11243"/>
                  <a:gd name="connsiteY0" fmla="*/ 180 h 149338"/>
                  <a:gd name="connsiteX1" fmla="*/ 3050 w 11243"/>
                  <a:gd name="connsiteY1" fmla="*/ 149339 h 149338"/>
                  <a:gd name="connsiteX2" fmla="*/ 0 w 11243"/>
                  <a:gd name="connsiteY2" fmla="*/ 149159 h 149338"/>
                  <a:gd name="connsiteX3" fmla="*/ 8194 w 11243"/>
                  <a:gd name="connsiteY3" fmla="*/ 0 h 149338"/>
                </a:gdLst>
                <a:ahLst/>
                <a:cxnLst>
                  <a:cxn ang="0">
                    <a:pos x="connsiteX0" y="connsiteY0"/>
                  </a:cxn>
                  <a:cxn ang="0">
                    <a:pos x="connsiteX1" y="connsiteY1"/>
                  </a:cxn>
                  <a:cxn ang="0">
                    <a:pos x="connsiteX2" y="connsiteY2"/>
                  </a:cxn>
                  <a:cxn ang="0">
                    <a:pos x="connsiteX3" y="connsiteY3"/>
                  </a:cxn>
                </a:cxnLst>
                <a:rect l="l" t="t" r="r" b="b"/>
                <a:pathLst>
                  <a:path w="11243" h="149338">
                    <a:moveTo>
                      <a:pt x="11244" y="180"/>
                    </a:moveTo>
                    <a:lnTo>
                      <a:pt x="3050" y="149339"/>
                    </a:lnTo>
                    <a:lnTo>
                      <a:pt x="0" y="149159"/>
                    </a:lnTo>
                    <a:lnTo>
                      <a:pt x="8194" y="0"/>
                    </a:lnTo>
                    <a:close/>
                  </a:path>
                </a:pathLst>
              </a:custGeom>
              <a:grpFill/>
              <a:ln w="5978" cap="flat">
                <a:noFill/>
                <a:prstDash val="solid"/>
                <a:miter/>
              </a:ln>
            </p:spPr>
            <p:txBody>
              <a:bodyPr rtlCol="0" anchor="ctr"/>
              <a:lstStyle/>
              <a:p>
                <a:endParaRPr lang="en-GB"/>
              </a:p>
            </p:txBody>
          </p:sp>
          <p:sp>
            <p:nvSpPr>
              <p:cNvPr id="2913" name="Vrije vorm: vorm 2912">
                <a:extLst>
                  <a:ext uri="{FF2B5EF4-FFF2-40B4-BE49-F238E27FC236}">
                    <a16:creationId xmlns:a16="http://schemas.microsoft.com/office/drawing/2014/main" id="{A27745BA-3B34-4D6C-9B0F-B85E1C239BFA}"/>
                  </a:ext>
                </a:extLst>
              </p:cNvPr>
              <p:cNvSpPr/>
              <p:nvPr/>
            </p:nvSpPr>
            <p:spPr>
              <a:xfrm>
                <a:off x="5944189" y="5257556"/>
                <a:ext cx="18322" cy="18453"/>
              </a:xfrm>
              <a:custGeom>
                <a:avLst/>
                <a:gdLst>
                  <a:gd name="connsiteX0" fmla="*/ 18311 w 18322"/>
                  <a:gd name="connsiteY0" fmla="*/ 9765 h 18453"/>
                  <a:gd name="connsiteX1" fmla="*/ 8683 w 18322"/>
                  <a:gd name="connsiteY1" fmla="*/ 18437 h 18453"/>
                  <a:gd name="connsiteX2" fmla="*/ 10 w 18322"/>
                  <a:gd name="connsiteY2" fmla="*/ 8688 h 18453"/>
                  <a:gd name="connsiteX3" fmla="*/ 9639 w 18322"/>
                  <a:gd name="connsiteY3" fmla="*/ 16 h 18453"/>
                  <a:gd name="connsiteX4" fmla="*/ 18311 w 18322"/>
                  <a:gd name="connsiteY4" fmla="*/ 976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8311" y="9765"/>
                    </a:moveTo>
                    <a:cubicBezTo>
                      <a:pt x="18012" y="14848"/>
                      <a:pt x="13706" y="18736"/>
                      <a:pt x="8683" y="18437"/>
                    </a:cubicBezTo>
                    <a:cubicBezTo>
                      <a:pt x="3659" y="18138"/>
                      <a:pt x="-229" y="13772"/>
                      <a:pt x="10" y="8688"/>
                    </a:cubicBezTo>
                    <a:cubicBezTo>
                      <a:pt x="309" y="3604"/>
                      <a:pt x="4616" y="-283"/>
                      <a:pt x="9639" y="16"/>
                    </a:cubicBezTo>
                    <a:cubicBezTo>
                      <a:pt x="14723" y="315"/>
                      <a:pt x="18551" y="4681"/>
                      <a:pt x="18311" y="9765"/>
                    </a:cubicBezTo>
                    <a:close/>
                  </a:path>
                </a:pathLst>
              </a:custGeom>
              <a:grpFill/>
              <a:ln w="5978" cap="flat">
                <a:noFill/>
                <a:prstDash val="solid"/>
                <a:miter/>
              </a:ln>
            </p:spPr>
            <p:txBody>
              <a:bodyPr rtlCol="0" anchor="ctr"/>
              <a:lstStyle/>
              <a:p>
                <a:endParaRPr lang="en-GB"/>
              </a:p>
            </p:txBody>
          </p:sp>
          <p:sp>
            <p:nvSpPr>
              <p:cNvPr id="2914" name="Vrije vorm: vorm 2913">
                <a:extLst>
                  <a:ext uri="{FF2B5EF4-FFF2-40B4-BE49-F238E27FC236}">
                    <a16:creationId xmlns:a16="http://schemas.microsoft.com/office/drawing/2014/main" id="{528B82B8-77B5-48A2-9E47-16EB28C884D1}"/>
                  </a:ext>
                </a:extLst>
              </p:cNvPr>
              <p:cNvSpPr/>
              <p:nvPr/>
            </p:nvSpPr>
            <p:spPr>
              <a:xfrm>
                <a:off x="5952317" y="5109294"/>
                <a:ext cx="18333" cy="18452"/>
              </a:xfrm>
              <a:custGeom>
                <a:avLst/>
                <a:gdLst>
                  <a:gd name="connsiteX0" fmla="*/ 18317 w 18333"/>
                  <a:gd name="connsiteY0" fmla="*/ 9765 h 18452"/>
                  <a:gd name="connsiteX1" fmla="*/ 9645 w 18333"/>
                  <a:gd name="connsiteY1" fmla="*/ 16 h 18452"/>
                  <a:gd name="connsiteX2" fmla="*/ 16 w 18333"/>
                  <a:gd name="connsiteY2" fmla="*/ 8688 h 18452"/>
                  <a:gd name="connsiteX3" fmla="*/ 8688 w 18333"/>
                  <a:gd name="connsiteY3" fmla="*/ 18437 h 18452"/>
                  <a:gd name="connsiteX4" fmla="*/ 18317 w 18333"/>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317" y="9765"/>
                    </a:moveTo>
                    <a:cubicBezTo>
                      <a:pt x="18616" y="4681"/>
                      <a:pt x="14729" y="315"/>
                      <a:pt x="9645" y="16"/>
                    </a:cubicBezTo>
                    <a:cubicBezTo>
                      <a:pt x="4621" y="-283"/>
                      <a:pt x="256" y="3604"/>
                      <a:pt x="16" y="8688"/>
                    </a:cubicBezTo>
                    <a:cubicBezTo>
                      <a:pt x="-283" y="13772"/>
                      <a:pt x="3605" y="18138"/>
                      <a:pt x="8688" y="18437"/>
                    </a:cubicBezTo>
                    <a:cubicBezTo>
                      <a:pt x="13712" y="18736"/>
                      <a:pt x="18018" y="14848"/>
                      <a:pt x="18317" y="9765"/>
                    </a:cubicBezTo>
                    <a:close/>
                  </a:path>
                </a:pathLst>
              </a:custGeom>
              <a:grpFill/>
              <a:ln w="5978" cap="flat">
                <a:noFill/>
                <a:prstDash val="solid"/>
                <a:miter/>
              </a:ln>
            </p:spPr>
            <p:txBody>
              <a:bodyPr rtlCol="0" anchor="ctr"/>
              <a:lstStyle/>
              <a:p>
                <a:endParaRPr lang="en-GB"/>
              </a:p>
            </p:txBody>
          </p:sp>
        </p:grpSp>
        <p:grpSp>
          <p:nvGrpSpPr>
            <p:cNvPr id="829" name="Graphic 3">
              <a:extLst>
                <a:ext uri="{FF2B5EF4-FFF2-40B4-BE49-F238E27FC236}">
                  <a16:creationId xmlns:a16="http://schemas.microsoft.com/office/drawing/2014/main" id="{BBABA835-3172-439A-9A3C-A8CED562CC5C}"/>
                </a:ext>
              </a:extLst>
            </p:cNvPr>
            <p:cNvGrpSpPr/>
            <p:nvPr/>
          </p:nvGrpSpPr>
          <p:grpSpPr>
            <a:xfrm>
              <a:off x="6047307" y="5395428"/>
              <a:ext cx="18420" cy="176551"/>
              <a:chOff x="6047307" y="5395428"/>
              <a:chExt cx="18420" cy="176551"/>
            </a:xfrm>
            <a:grpFill/>
          </p:grpSpPr>
          <p:sp>
            <p:nvSpPr>
              <p:cNvPr id="2909" name="Vrije vorm: vorm 2908">
                <a:extLst>
                  <a:ext uri="{FF2B5EF4-FFF2-40B4-BE49-F238E27FC236}">
                    <a16:creationId xmlns:a16="http://schemas.microsoft.com/office/drawing/2014/main" id="{5EED1CC1-B2CB-4052-94BA-6A0E020C2ED2}"/>
                  </a:ext>
                </a:extLst>
              </p:cNvPr>
              <p:cNvSpPr/>
              <p:nvPr/>
            </p:nvSpPr>
            <p:spPr>
              <a:xfrm>
                <a:off x="6054962" y="5404220"/>
                <a:ext cx="3109" cy="159027"/>
              </a:xfrm>
              <a:custGeom>
                <a:avLst/>
                <a:gdLst>
                  <a:gd name="connsiteX0" fmla="*/ 3050 w 3109"/>
                  <a:gd name="connsiteY0" fmla="*/ 0 h 159027"/>
                  <a:gd name="connsiteX1" fmla="*/ 3110 w 3109"/>
                  <a:gd name="connsiteY1" fmla="*/ 159027 h 159027"/>
                  <a:gd name="connsiteX2" fmla="*/ 119 w 3109"/>
                  <a:gd name="connsiteY2" fmla="*/ 158967 h 159027"/>
                  <a:gd name="connsiteX3" fmla="*/ 0 w 3109"/>
                  <a:gd name="connsiteY3" fmla="*/ 0 h 159027"/>
                </a:gdLst>
                <a:ahLst/>
                <a:cxnLst>
                  <a:cxn ang="0">
                    <a:pos x="connsiteX0" y="connsiteY0"/>
                  </a:cxn>
                  <a:cxn ang="0">
                    <a:pos x="connsiteX1" y="connsiteY1"/>
                  </a:cxn>
                  <a:cxn ang="0">
                    <a:pos x="connsiteX2" y="connsiteY2"/>
                  </a:cxn>
                  <a:cxn ang="0">
                    <a:pos x="connsiteX3" y="connsiteY3"/>
                  </a:cxn>
                </a:cxnLst>
                <a:rect l="l" t="t" r="r" b="b"/>
                <a:pathLst>
                  <a:path w="3109" h="159027">
                    <a:moveTo>
                      <a:pt x="3050" y="0"/>
                    </a:moveTo>
                    <a:lnTo>
                      <a:pt x="3110" y="159027"/>
                    </a:lnTo>
                    <a:lnTo>
                      <a:pt x="119" y="158967"/>
                    </a:lnTo>
                    <a:lnTo>
                      <a:pt x="0" y="0"/>
                    </a:lnTo>
                    <a:close/>
                  </a:path>
                </a:pathLst>
              </a:custGeom>
              <a:grpFill/>
              <a:ln w="5978" cap="flat">
                <a:noFill/>
                <a:prstDash val="solid"/>
                <a:miter/>
              </a:ln>
            </p:spPr>
            <p:txBody>
              <a:bodyPr rtlCol="0" anchor="ctr"/>
              <a:lstStyle/>
              <a:p>
                <a:endParaRPr lang="en-GB"/>
              </a:p>
            </p:txBody>
          </p:sp>
          <p:sp>
            <p:nvSpPr>
              <p:cNvPr id="2910" name="Vrije vorm: vorm 2909">
                <a:extLst>
                  <a:ext uri="{FF2B5EF4-FFF2-40B4-BE49-F238E27FC236}">
                    <a16:creationId xmlns:a16="http://schemas.microsoft.com/office/drawing/2014/main" id="{74EA4A72-85A4-4AA9-8A61-8AE12E10BD45}"/>
                  </a:ext>
                </a:extLst>
              </p:cNvPr>
              <p:cNvSpPr/>
              <p:nvPr/>
            </p:nvSpPr>
            <p:spPr>
              <a:xfrm>
                <a:off x="6047427" y="5553499"/>
                <a:ext cx="18300" cy="18480"/>
              </a:xfrm>
              <a:custGeom>
                <a:avLst/>
                <a:gdLst>
                  <a:gd name="connsiteX0" fmla="*/ 18301 w 18300"/>
                  <a:gd name="connsiteY0" fmla="*/ 9270 h 18480"/>
                  <a:gd name="connsiteX1" fmla="*/ 9150 w 18300"/>
                  <a:gd name="connsiteY1" fmla="*/ 18481 h 18480"/>
                  <a:gd name="connsiteX2" fmla="*/ 0 w 18300"/>
                  <a:gd name="connsiteY2" fmla="*/ 9211 h 18480"/>
                  <a:gd name="connsiteX3" fmla="*/ 9150 w 18300"/>
                  <a:gd name="connsiteY3" fmla="*/ 0 h 18480"/>
                  <a:gd name="connsiteX4" fmla="*/ 18301 w 18300"/>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80">
                    <a:moveTo>
                      <a:pt x="18301" y="9270"/>
                    </a:moveTo>
                    <a:cubicBezTo>
                      <a:pt x="18301" y="14354"/>
                      <a:pt x="14174" y="18481"/>
                      <a:pt x="9150" y="18481"/>
                    </a:cubicBezTo>
                    <a:cubicBezTo>
                      <a:pt x="4067" y="18481"/>
                      <a:pt x="0" y="14294"/>
                      <a:pt x="0" y="9211"/>
                    </a:cubicBezTo>
                    <a:cubicBezTo>
                      <a:pt x="0" y="4127"/>
                      <a:pt x="4127" y="0"/>
                      <a:pt x="9150" y="0"/>
                    </a:cubicBezTo>
                    <a:cubicBezTo>
                      <a:pt x="14234" y="60"/>
                      <a:pt x="18301" y="4187"/>
                      <a:pt x="18301" y="9270"/>
                    </a:cubicBezTo>
                    <a:close/>
                  </a:path>
                </a:pathLst>
              </a:custGeom>
              <a:grpFill/>
              <a:ln w="5978" cap="flat">
                <a:noFill/>
                <a:prstDash val="solid"/>
                <a:miter/>
              </a:ln>
            </p:spPr>
            <p:txBody>
              <a:bodyPr rtlCol="0" anchor="ctr"/>
              <a:lstStyle/>
              <a:p>
                <a:endParaRPr lang="en-GB"/>
              </a:p>
            </p:txBody>
          </p:sp>
          <p:sp>
            <p:nvSpPr>
              <p:cNvPr id="2911" name="Vrije vorm: vorm 2910">
                <a:extLst>
                  <a:ext uri="{FF2B5EF4-FFF2-40B4-BE49-F238E27FC236}">
                    <a16:creationId xmlns:a16="http://schemas.microsoft.com/office/drawing/2014/main" id="{98CA45B3-8C97-4A51-854C-FEF7E94D660D}"/>
                  </a:ext>
                </a:extLst>
              </p:cNvPr>
              <p:cNvSpPr/>
              <p:nvPr/>
            </p:nvSpPr>
            <p:spPr>
              <a:xfrm>
                <a:off x="6047307" y="5395428"/>
                <a:ext cx="18301" cy="18480"/>
              </a:xfrm>
              <a:custGeom>
                <a:avLst/>
                <a:gdLst>
                  <a:gd name="connsiteX0" fmla="*/ 18301 w 18301"/>
                  <a:gd name="connsiteY0" fmla="*/ 9270 h 18480"/>
                  <a:gd name="connsiteX1" fmla="*/ 9151 w 18301"/>
                  <a:gd name="connsiteY1" fmla="*/ 0 h 18480"/>
                  <a:gd name="connsiteX2" fmla="*/ 0 w 18301"/>
                  <a:gd name="connsiteY2" fmla="*/ 9211 h 18480"/>
                  <a:gd name="connsiteX3" fmla="*/ 9151 w 18301"/>
                  <a:gd name="connsiteY3" fmla="*/ 18481 h 18480"/>
                  <a:gd name="connsiteX4" fmla="*/ 18301 w 18301"/>
                  <a:gd name="connsiteY4" fmla="*/ 9270 h 1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80">
                    <a:moveTo>
                      <a:pt x="18301" y="9270"/>
                    </a:moveTo>
                    <a:cubicBezTo>
                      <a:pt x="18301" y="4187"/>
                      <a:pt x="14174" y="60"/>
                      <a:pt x="9151" y="0"/>
                    </a:cubicBezTo>
                    <a:cubicBezTo>
                      <a:pt x="4067" y="0"/>
                      <a:pt x="0" y="4067"/>
                      <a:pt x="0" y="9211"/>
                    </a:cubicBezTo>
                    <a:cubicBezTo>
                      <a:pt x="0" y="14294"/>
                      <a:pt x="4127" y="18421"/>
                      <a:pt x="9151" y="18481"/>
                    </a:cubicBezTo>
                    <a:cubicBezTo>
                      <a:pt x="14234" y="18481"/>
                      <a:pt x="18361" y="14354"/>
                      <a:pt x="18301" y="9270"/>
                    </a:cubicBezTo>
                    <a:close/>
                  </a:path>
                </a:pathLst>
              </a:custGeom>
              <a:grpFill/>
              <a:ln w="5978" cap="flat">
                <a:noFill/>
                <a:prstDash val="solid"/>
                <a:miter/>
              </a:ln>
            </p:spPr>
            <p:txBody>
              <a:bodyPr rtlCol="0" anchor="ctr"/>
              <a:lstStyle/>
              <a:p>
                <a:endParaRPr lang="en-GB"/>
              </a:p>
            </p:txBody>
          </p:sp>
        </p:grpSp>
        <p:grpSp>
          <p:nvGrpSpPr>
            <p:cNvPr id="830" name="Graphic 3">
              <a:extLst>
                <a:ext uri="{FF2B5EF4-FFF2-40B4-BE49-F238E27FC236}">
                  <a16:creationId xmlns:a16="http://schemas.microsoft.com/office/drawing/2014/main" id="{1E6770F0-BCD2-40A5-9F3D-41B65FE06715}"/>
                </a:ext>
              </a:extLst>
            </p:cNvPr>
            <p:cNvGrpSpPr/>
            <p:nvPr/>
          </p:nvGrpSpPr>
          <p:grpSpPr>
            <a:xfrm>
              <a:off x="4869585" y="2050717"/>
              <a:ext cx="90565" cy="101777"/>
              <a:chOff x="4869585" y="2050717"/>
              <a:chExt cx="90565" cy="101777"/>
            </a:xfrm>
            <a:grpFill/>
          </p:grpSpPr>
          <p:sp>
            <p:nvSpPr>
              <p:cNvPr id="2906" name="Vrije vorm: vorm 2905">
                <a:extLst>
                  <a:ext uri="{FF2B5EF4-FFF2-40B4-BE49-F238E27FC236}">
                    <a16:creationId xmlns:a16="http://schemas.microsoft.com/office/drawing/2014/main" id="{90FA22A6-EBC4-496C-BCE0-F2E62E503186}"/>
                  </a:ext>
                </a:extLst>
              </p:cNvPr>
              <p:cNvSpPr/>
              <p:nvPr/>
            </p:nvSpPr>
            <p:spPr>
              <a:xfrm>
                <a:off x="4877298" y="2058604"/>
                <a:ext cx="75177" cy="86062"/>
              </a:xfrm>
              <a:custGeom>
                <a:avLst/>
                <a:gdLst>
                  <a:gd name="connsiteX0" fmla="*/ 75178 w 75177"/>
                  <a:gd name="connsiteY0" fmla="*/ 84029 h 86062"/>
                  <a:gd name="connsiteX1" fmla="*/ 72905 w 75177"/>
                  <a:gd name="connsiteY1" fmla="*/ 86063 h 86062"/>
                  <a:gd name="connsiteX2" fmla="*/ 0 w 75177"/>
                  <a:gd name="connsiteY2" fmla="*/ 2033 h 86062"/>
                  <a:gd name="connsiteX3" fmla="*/ 2333 w 75177"/>
                  <a:gd name="connsiteY3" fmla="*/ 0 h 86062"/>
                </a:gdLst>
                <a:ahLst/>
                <a:cxnLst>
                  <a:cxn ang="0">
                    <a:pos x="connsiteX0" y="connsiteY0"/>
                  </a:cxn>
                  <a:cxn ang="0">
                    <a:pos x="connsiteX1" y="connsiteY1"/>
                  </a:cxn>
                  <a:cxn ang="0">
                    <a:pos x="connsiteX2" y="connsiteY2"/>
                  </a:cxn>
                  <a:cxn ang="0">
                    <a:pos x="connsiteX3" y="connsiteY3"/>
                  </a:cxn>
                </a:cxnLst>
                <a:rect l="l" t="t" r="r" b="b"/>
                <a:pathLst>
                  <a:path w="75177" h="86062">
                    <a:moveTo>
                      <a:pt x="75178" y="84029"/>
                    </a:moveTo>
                    <a:lnTo>
                      <a:pt x="72905" y="86063"/>
                    </a:lnTo>
                    <a:lnTo>
                      <a:pt x="0" y="2033"/>
                    </a:lnTo>
                    <a:lnTo>
                      <a:pt x="2333" y="0"/>
                    </a:lnTo>
                    <a:close/>
                  </a:path>
                </a:pathLst>
              </a:custGeom>
              <a:grpFill/>
              <a:ln w="5978" cap="flat">
                <a:noFill/>
                <a:prstDash val="solid"/>
                <a:miter/>
              </a:ln>
            </p:spPr>
            <p:txBody>
              <a:bodyPr rtlCol="0" anchor="ctr"/>
              <a:lstStyle/>
              <a:p>
                <a:endParaRPr lang="en-GB"/>
              </a:p>
            </p:txBody>
          </p:sp>
          <p:sp>
            <p:nvSpPr>
              <p:cNvPr id="2907" name="Vrije vorm: vorm 2906">
                <a:extLst>
                  <a:ext uri="{FF2B5EF4-FFF2-40B4-BE49-F238E27FC236}">
                    <a16:creationId xmlns:a16="http://schemas.microsoft.com/office/drawing/2014/main" id="{BA63A877-3975-4274-B56F-57BFAE9263A5}"/>
                  </a:ext>
                </a:extLst>
              </p:cNvPr>
              <p:cNvSpPr/>
              <p:nvPr/>
            </p:nvSpPr>
            <p:spPr>
              <a:xfrm>
                <a:off x="4869585" y="2050717"/>
                <a:ext cx="18297" cy="18450"/>
              </a:xfrm>
              <a:custGeom>
                <a:avLst/>
                <a:gdLst>
                  <a:gd name="connsiteX0" fmla="*/ 2271 w 18297"/>
                  <a:gd name="connsiteY0" fmla="*/ 15243 h 18450"/>
                  <a:gd name="connsiteX1" fmla="*/ 3108 w 18297"/>
                  <a:gd name="connsiteY1" fmla="*/ 2265 h 18450"/>
                  <a:gd name="connsiteX2" fmla="*/ 16027 w 18297"/>
                  <a:gd name="connsiteY2" fmla="*/ 3162 h 18450"/>
                  <a:gd name="connsiteX3" fmla="*/ 15189 w 18297"/>
                  <a:gd name="connsiteY3" fmla="*/ 16141 h 18450"/>
                  <a:gd name="connsiteX4" fmla="*/ 2271 w 18297"/>
                  <a:gd name="connsiteY4" fmla="*/ 15243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50">
                    <a:moveTo>
                      <a:pt x="2271" y="15243"/>
                    </a:moveTo>
                    <a:cubicBezTo>
                      <a:pt x="-1078" y="11416"/>
                      <a:pt x="-660" y="5555"/>
                      <a:pt x="3108" y="2265"/>
                    </a:cubicBezTo>
                    <a:cubicBezTo>
                      <a:pt x="6936" y="-1084"/>
                      <a:pt x="12737" y="-665"/>
                      <a:pt x="16027" y="3162"/>
                    </a:cubicBezTo>
                    <a:cubicBezTo>
                      <a:pt x="19376" y="6990"/>
                      <a:pt x="18957" y="12851"/>
                      <a:pt x="15189" y="16141"/>
                    </a:cubicBezTo>
                    <a:cubicBezTo>
                      <a:pt x="11421" y="19550"/>
                      <a:pt x="5620" y="19131"/>
                      <a:pt x="2271" y="15243"/>
                    </a:cubicBezTo>
                    <a:close/>
                  </a:path>
                </a:pathLst>
              </a:custGeom>
              <a:grpFill/>
              <a:ln w="5978" cap="flat">
                <a:noFill/>
                <a:prstDash val="solid"/>
                <a:miter/>
              </a:ln>
            </p:spPr>
            <p:txBody>
              <a:bodyPr rtlCol="0" anchor="ctr"/>
              <a:lstStyle/>
              <a:p>
                <a:endParaRPr lang="en-GB"/>
              </a:p>
            </p:txBody>
          </p:sp>
          <p:sp>
            <p:nvSpPr>
              <p:cNvPr id="2908" name="Vrije vorm: vorm 2907">
                <a:extLst>
                  <a:ext uri="{FF2B5EF4-FFF2-40B4-BE49-F238E27FC236}">
                    <a16:creationId xmlns:a16="http://schemas.microsoft.com/office/drawing/2014/main" id="{BDE3151F-F30A-435C-BB8F-4C7014978EC1}"/>
                  </a:ext>
                </a:extLst>
              </p:cNvPr>
              <p:cNvSpPr/>
              <p:nvPr/>
            </p:nvSpPr>
            <p:spPr>
              <a:xfrm>
                <a:off x="4941856" y="2134088"/>
                <a:ext cx="18294" cy="18405"/>
              </a:xfrm>
              <a:custGeom>
                <a:avLst/>
                <a:gdLst>
                  <a:gd name="connsiteX0" fmla="*/ 2247 w 18294"/>
                  <a:gd name="connsiteY0" fmla="*/ 15243 h 18405"/>
                  <a:gd name="connsiteX1" fmla="*/ 15165 w 18294"/>
                  <a:gd name="connsiteY1" fmla="*/ 16141 h 18405"/>
                  <a:gd name="connsiteX2" fmla="*/ 16003 w 18294"/>
                  <a:gd name="connsiteY2" fmla="*/ 3162 h 18405"/>
                  <a:gd name="connsiteX3" fmla="*/ 3084 w 18294"/>
                  <a:gd name="connsiteY3" fmla="*/ 2265 h 18405"/>
                  <a:gd name="connsiteX4" fmla="*/ 2247 w 18294"/>
                  <a:gd name="connsiteY4" fmla="*/ 15243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05">
                    <a:moveTo>
                      <a:pt x="2247" y="15243"/>
                    </a:moveTo>
                    <a:cubicBezTo>
                      <a:pt x="5596" y="19071"/>
                      <a:pt x="11397" y="19490"/>
                      <a:pt x="15165" y="16141"/>
                    </a:cubicBezTo>
                    <a:cubicBezTo>
                      <a:pt x="18993" y="12791"/>
                      <a:pt x="19352" y="6990"/>
                      <a:pt x="16003" y="3162"/>
                    </a:cubicBezTo>
                    <a:cubicBezTo>
                      <a:pt x="12654" y="-665"/>
                      <a:pt x="6852" y="-1084"/>
                      <a:pt x="3084" y="2265"/>
                    </a:cubicBezTo>
                    <a:cubicBezTo>
                      <a:pt x="-684" y="5615"/>
                      <a:pt x="-1043" y="11416"/>
                      <a:pt x="2247" y="15243"/>
                    </a:cubicBezTo>
                    <a:close/>
                  </a:path>
                </a:pathLst>
              </a:custGeom>
              <a:grpFill/>
              <a:ln w="5978" cap="flat">
                <a:noFill/>
                <a:prstDash val="solid"/>
                <a:miter/>
              </a:ln>
            </p:spPr>
            <p:txBody>
              <a:bodyPr rtlCol="0" anchor="ctr"/>
              <a:lstStyle/>
              <a:p>
                <a:endParaRPr lang="en-GB"/>
              </a:p>
            </p:txBody>
          </p:sp>
        </p:grpSp>
        <p:grpSp>
          <p:nvGrpSpPr>
            <p:cNvPr id="831" name="Graphic 3">
              <a:extLst>
                <a:ext uri="{FF2B5EF4-FFF2-40B4-BE49-F238E27FC236}">
                  <a16:creationId xmlns:a16="http://schemas.microsoft.com/office/drawing/2014/main" id="{DB69B1B9-1923-4A23-A084-82232DEED2F0}"/>
                </a:ext>
              </a:extLst>
            </p:cNvPr>
            <p:cNvGrpSpPr/>
            <p:nvPr/>
          </p:nvGrpSpPr>
          <p:grpSpPr>
            <a:xfrm>
              <a:off x="4805112" y="1864113"/>
              <a:ext cx="77806" cy="92376"/>
              <a:chOff x="4805112" y="1864113"/>
              <a:chExt cx="77806" cy="92376"/>
            </a:xfrm>
            <a:grpFill/>
          </p:grpSpPr>
          <p:sp>
            <p:nvSpPr>
              <p:cNvPr id="2903" name="Vrije vorm: vorm 2902">
                <a:extLst>
                  <a:ext uri="{FF2B5EF4-FFF2-40B4-BE49-F238E27FC236}">
                    <a16:creationId xmlns:a16="http://schemas.microsoft.com/office/drawing/2014/main" id="{5995A1FD-2E5A-4655-A932-98A2F5C48E8E}"/>
                  </a:ext>
                </a:extLst>
              </p:cNvPr>
              <p:cNvSpPr/>
              <p:nvPr/>
            </p:nvSpPr>
            <p:spPr>
              <a:xfrm>
                <a:off x="4812766" y="1872006"/>
                <a:ext cx="62378" cy="76613"/>
              </a:xfrm>
              <a:custGeom>
                <a:avLst/>
                <a:gdLst>
                  <a:gd name="connsiteX0" fmla="*/ 62379 w 62378"/>
                  <a:gd name="connsiteY0" fmla="*/ 74699 h 76613"/>
                  <a:gd name="connsiteX1" fmla="*/ 60046 w 62378"/>
                  <a:gd name="connsiteY1" fmla="*/ 76613 h 76613"/>
                  <a:gd name="connsiteX2" fmla="*/ 0 w 62378"/>
                  <a:gd name="connsiteY2" fmla="*/ 1914 h 76613"/>
                  <a:gd name="connsiteX3" fmla="*/ 2392 w 62378"/>
                  <a:gd name="connsiteY3" fmla="*/ 0 h 76613"/>
                </a:gdLst>
                <a:ahLst/>
                <a:cxnLst>
                  <a:cxn ang="0">
                    <a:pos x="connsiteX0" y="connsiteY0"/>
                  </a:cxn>
                  <a:cxn ang="0">
                    <a:pos x="connsiteX1" y="connsiteY1"/>
                  </a:cxn>
                  <a:cxn ang="0">
                    <a:pos x="connsiteX2" y="connsiteY2"/>
                  </a:cxn>
                  <a:cxn ang="0">
                    <a:pos x="connsiteX3" y="connsiteY3"/>
                  </a:cxn>
                </a:cxnLst>
                <a:rect l="l" t="t" r="r" b="b"/>
                <a:pathLst>
                  <a:path w="62378" h="76613">
                    <a:moveTo>
                      <a:pt x="62379" y="74699"/>
                    </a:moveTo>
                    <a:lnTo>
                      <a:pt x="60046" y="76613"/>
                    </a:lnTo>
                    <a:lnTo>
                      <a:pt x="0" y="1914"/>
                    </a:lnTo>
                    <a:lnTo>
                      <a:pt x="2392" y="0"/>
                    </a:lnTo>
                    <a:close/>
                  </a:path>
                </a:pathLst>
              </a:custGeom>
              <a:grpFill/>
              <a:ln w="5978" cap="flat">
                <a:noFill/>
                <a:prstDash val="solid"/>
                <a:miter/>
              </a:ln>
            </p:spPr>
            <p:txBody>
              <a:bodyPr rtlCol="0" anchor="ctr"/>
              <a:lstStyle/>
              <a:p>
                <a:endParaRPr lang="en-GB"/>
              </a:p>
            </p:txBody>
          </p:sp>
          <p:sp>
            <p:nvSpPr>
              <p:cNvPr id="2904" name="Vrije vorm: vorm 2903">
                <a:extLst>
                  <a:ext uri="{FF2B5EF4-FFF2-40B4-BE49-F238E27FC236}">
                    <a16:creationId xmlns:a16="http://schemas.microsoft.com/office/drawing/2014/main" id="{3AB4D0AC-754D-41F7-939C-1AE1E20C4B3C}"/>
                  </a:ext>
                </a:extLst>
              </p:cNvPr>
              <p:cNvSpPr/>
              <p:nvPr/>
            </p:nvSpPr>
            <p:spPr>
              <a:xfrm>
                <a:off x="4805112" y="1864113"/>
                <a:ext cx="18358" cy="18443"/>
              </a:xfrm>
              <a:custGeom>
                <a:avLst/>
                <a:gdLst>
                  <a:gd name="connsiteX0" fmla="*/ 2032 w 18358"/>
                  <a:gd name="connsiteY0" fmla="*/ 15010 h 18443"/>
                  <a:gd name="connsiteX1" fmla="*/ 3408 w 18358"/>
                  <a:gd name="connsiteY1" fmla="*/ 2032 h 18443"/>
                  <a:gd name="connsiteX2" fmla="*/ 16326 w 18358"/>
                  <a:gd name="connsiteY2" fmla="*/ 3408 h 18443"/>
                  <a:gd name="connsiteX3" fmla="*/ 14951 w 18358"/>
                  <a:gd name="connsiteY3" fmla="*/ 16386 h 18443"/>
                  <a:gd name="connsiteX4" fmla="*/ 2032 w 18358"/>
                  <a:gd name="connsiteY4" fmla="*/ 15010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3">
                    <a:moveTo>
                      <a:pt x="2032" y="15010"/>
                    </a:moveTo>
                    <a:cubicBezTo>
                      <a:pt x="-1138" y="11063"/>
                      <a:pt x="-539" y="5262"/>
                      <a:pt x="3408" y="2032"/>
                    </a:cubicBezTo>
                    <a:cubicBezTo>
                      <a:pt x="7355" y="-1137"/>
                      <a:pt x="13097" y="-539"/>
                      <a:pt x="16326" y="3408"/>
                    </a:cubicBezTo>
                    <a:cubicBezTo>
                      <a:pt x="19496" y="7355"/>
                      <a:pt x="18898" y="13156"/>
                      <a:pt x="14951" y="16386"/>
                    </a:cubicBezTo>
                    <a:cubicBezTo>
                      <a:pt x="10944" y="19616"/>
                      <a:pt x="5202" y="18958"/>
                      <a:pt x="2032" y="15010"/>
                    </a:cubicBezTo>
                    <a:close/>
                  </a:path>
                </a:pathLst>
              </a:custGeom>
              <a:grpFill/>
              <a:ln w="5978" cap="flat">
                <a:noFill/>
                <a:prstDash val="solid"/>
                <a:miter/>
              </a:ln>
            </p:spPr>
            <p:txBody>
              <a:bodyPr rtlCol="0" anchor="ctr"/>
              <a:lstStyle/>
              <a:p>
                <a:endParaRPr lang="en-GB"/>
              </a:p>
            </p:txBody>
          </p:sp>
          <p:sp>
            <p:nvSpPr>
              <p:cNvPr id="2905" name="Vrije vorm: vorm 2904">
                <a:extLst>
                  <a:ext uri="{FF2B5EF4-FFF2-40B4-BE49-F238E27FC236}">
                    <a16:creationId xmlns:a16="http://schemas.microsoft.com/office/drawing/2014/main" id="{1C3E75BD-4F41-41FE-96EA-4B99C953ED95}"/>
                  </a:ext>
                </a:extLst>
              </p:cNvPr>
              <p:cNvSpPr/>
              <p:nvPr/>
            </p:nvSpPr>
            <p:spPr>
              <a:xfrm>
                <a:off x="4864516" y="1938069"/>
                <a:ext cx="18402" cy="18419"/>
              </a:xfrm>
              <a:custGeom>
                <a:avLst/>
                <a:gdLst>
                  <a:gd name="connsiteX0" fmla="*/ 2076 w 18402"/>
                  <a:gd name="connsiteY0" fmla="*/ 14976 h 18419"/>
                  <a:gd name="connsiteX1" fmla="*/ 14995 w 18402"/>
                  <a:gd name="connsiteY1" fmla="*/ 16411 h 18419"/>
                  <a:gd name="connsiteX2" fmla="*/ 16370 w 18402"/>
                  <a:gd name="connsiteY2" fmla="*/ 3433 h 18419"/>
                  <a:gd name="connsiteX3" fmla="*/ 3452 w 18402"/>
                  <a:gd name="connsiteY3" fmla="*/ 2057 h 18419"/>
                  <a:gd name="connsiteX4" fmla="*/ 2076 w 18402"/>
                  <a:gd name="connsiteY4" fmla="*/ 1497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2" h="18419">
                    <a:moveTo>
                      <a:pt x="2076" y="14976"/>
                    </a:moveTo>
                    <a:cubicBezTo>
                      <a:pt x="5246" y="18923"/>
                      <a:pt x="11047" y="19581"/>
                      <a:pt x="14995" y="16411"/>
                    </a:cubicBezTo>
                    <a:cubicBezTo>
                      <a:pt x="18942" y="13241"/>
                      <a:pt x="19540" y="7440"/>
                      <a:pt x="16370" y="3433"/>
                    </a:cubicBezTo>
                    <a:cubicBezTo>
                      <a:pt x="13200" y="-514"/>
                      <a:pt x="7399" y="-1172"/>
                      <a:pt x="3452" y="2057"/>
                    </a:cubicBezTo>
                    <a:cubicBezTo>
                      <a:pt x="-555" y="5227"/>
                      <a:pt x="-1153" y="11028"/>
                      <a:pt x="2076" y="14976"/>
                    </a:cubicBezTo>
                    <a:close/>
                  </a:path>
                </a:pathLst>
              </a:custGeom>
              <a:grpFill/>
              <a:ln w="5978" cap="flat">
                <a:noFill/>
                <a:prstDash val="solid"/>
                <a:miter/>
              </a:ln>
            </p:spPr>
            <p:txBody>
              <a:bodyPr rtlCol="0" anchor="ctr"/>
              <a:lstStyle/>
              <a:p>
                <a:endParaRPr lang="en-GB"/>
              </a:p>
            </p:txBody>
          </p:sp>
        </p:grpSp>
        <p:grpSp>
          <p:nvGrpSpPr>
            <p:cNvPr id="832" name="Graphic 3">
              <a:extLst>
                <a:ext uri="{FF2B5EF4-FFF2-40B4-BE49-F238E27FC236}">
                  <a16:creationId xmlns:a16="http://schemas.microsoft.com/office/drawing/2014/main" id="{2830642F-FC11-4919-8D72-02A6F5EA58A0}"/>
                </a:ext>
              </a:extLst>
            </p:cNvPr>
            <p:cNvGrpSpPr/>
            <p:nvPr/>
          </p:nvGrpSpPr>
          <p:grpSpPr>
            <a:xfrm>
              <a:off x="4751866" y="1858895"/>
              <a:ext cx="209102" cy="292988"/>
              <a:chOff x="4751866" y="1858895"/>
              <a:chExt cx="209102" cy="292988"/>
            </a:xfrm>
            <a:grpFill/>
          </p:grpSpPr>
          <p:sp>
            <p:nvSpPr>
              <p:cNvPr id="2900" name="Vrije vorm: vorm 2899">
                <a:extLst>
                  <a:ext uri="{FF2B5EF4-FFF2-40B4-BE49-F238E27FC236}">
                    <a16:creationId xmlns:a16="http://schemas.microsoft.com/office/drawing/2014/main" id="{ADF4778D-919F-4661-8C71-A072B57C5502}"/>
                  </a:ext>
                </a:extLst>
              </p:cNvPr>
              <p:cNvSpPr/>
              <p:nvPr/>
            </p:nvSpPr>
            <p:spPr>
              <a:xfrm>
                <a:off x="4759478" y="1866863"/>
                <a:ext cx="193835" cy="277086"/>
              </a:xfrm>
              <a:custGeom>
                <a:avLst/>
                <a:gdLst>
                  <a:gd name="connsiteX0" fmla="*/ 193835 w 193835"/>
                  <a:gd name="connsiteY0" fmla="*/ 275352 h 277086"/>
                  <a:gd name="connsiteX1" fmla="*/ 191324 w 193835"/>
                  <a:gd name="connsiteY1" fmla="*/ 277087 h 277086"/>
                  <a:gd name="connsiteX2" fmla="*/ 0 w 193835"/>
                  <a:gd name="connsiteY2" fmla="*/ 1734 h 277086"/>
                  <a:gd name="connsiteX3" fmla="*/ 2452 w 193835"/>
                  <a:gd name="connsiteY3" fmla="*/ 0 h 277086"/>
                </a:gdLst>
                <a:ahLst/>
                <a:cxnLst>
                  <a:cxn ang="0">
                    <a:pos x="connsiteX0" y="connsiteY0"/>
                  </a:cxn>
                  <a:cxn ang="0">
                    <a:pos x="connsiteX1" y="connsiteY1"/>
                  </a:cxn>
                  <a:cxn ang="0">
                    <a:pos x="connsiteX2" y="connsiteY2"/>
                  </a:cxn>
                  <a:cxn ang="0">
                    <a:pos x="connsiteX3" y="connsiteY3"/>
                  </a:cxn>
                </a:cxnLst>
                <a:rect l="l" t="t" r="r" b="b"/>
                <a:pathLst>
                  <a:path w="193835" h="277086">
                    <a:moveTo>
                      <a:pt x="193835" y="275352"/>
                    </a:moveTo>
                    <a:lnTo>
                      <a:pt x="191324" y="277087"/>
                    </a:lnTo>
                    <a:lnTo>
                      <a:pt x="0" y="1734"/>
                    </a:lnTo>
                    <a:lnTo>
                      <a:pt x="2452" y="0"/>
                    </a:lnTo>
                    <a:close/>
                  </a:path>
                </a:pathLst>
              </a:custGeom>
              <a:grpFill/>
              <a:ln w="5978" cap="flat">
                <a:noFill/>
                <a:prstDash val="solid"/>
                <a:miter/>
              </a:ln>
            </p:spPr>
            <p:txBody>
              <a:bodyPr rtlCol="0" anchor="ctr"/>
              <a:lstStyle/>
              <a:p>
                <a:endParaRPr lang="en-GB"/>
              </a:p>
            </p:txBody>
          </p:sp>
          <p:sp>
            <p:nvSpPr>
              <p:cNvPr id="2901" name="Vrije vorm: vorm 2900">
                <a:extLst>
                  <a:ext uri="{FF2B5EF4-FFF2-40B4-BE49-F238E27FC236}">
                    <a16:creationId xmlns:a16="http://schemas.microsoft.com/office/drawing/2014/main" id="{32C8B435-10CA-4AA0-9656-1301B7EF3BDB}"/>
                  </a:ext>
                </a:extLst>
              </p:cNvPr>
              <p:cNvSpPr/>
              <p:nvPr/>
            </p:nvSpPr>
            <p:spPr>
              <a:xfrm>
                <a:off x="4942608" y="2133486"/>
                <a:ext cx="18359" cy="18397"/>
              </a:xfrm>
              <a:custGeom>
                <a:avLst/>
                <a:gdLst>
                  <a:gd name="connsiteX0" fmla="*/ 16686 w 18359"/>
                  <a:gd name="connsiteY0" fmla="*/ 3944 h 18397"/>
                  <a:gd name="connsiteX1" fmla="*/ 14413 w 18359"/>
                  <a:gd name="connsiteY1" fmla="*/ 16743 h 18397"/>
                  <a:gd name="connsiteX2" fmla="*/ 1674 w 18359"/>
                  <a:gd name="connsiteY2" fmla="*/ 14411 h 18397"/>
                  <a:gd name="connsiteX3" fmla="*/ 3947 w 18359"/>
                  <a:gd name="connsiteY3" fmla="*/ 1612 h 18397"/>
                  <a:gd name="connsiteX4" fmla="*/ 16686 w 18359"/>
                  <a:gd name="connsiteY4" fmla="*/ 3944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97">
                    <a:moveTo>
                      <a:pt x="16686" y="3944"/>
                    </a:moveTo>
                    <a:cubicBezTo>
                      <a:pt x="19616" y="8131"/>
                      <a:pt x="18599" y="13872"/>
                      <a:pt x="14413" y="16743"/>
                    </a:cubicBezTo>
                    <a:cubicBezTo>
                      <a:pt x="10286" y="19674"/>
                      <a:pt x="4545" y="18597"/>
                      <a:pt x="1674" y="14411"/>
                    </a:cubicBezTo>
                    <a:cubicBezTo>
                      <a:pt x="-1257" y="10224"/>
                      <a:pt x="-240" y="4483"/>
                      <a:pt x="3947" y="1612"/>
                    </a:cubicBezTo>
                    <a:cubicBezTo>
                      <a:pt x="8073" y="-1259"/>
                      <a:pt x="13815" y="-182"/>
                      <a:pt x="16686" y="3944"/>
                    </a:cubicBezTo>
                    <a:close/>
                  </a:path>
                </a:pathLst>
              </a:custGeom>
              <a:grpFill/>
              <a:ln w="5978" cap="flat">
                <a:noFill/>
                <a:prstDash val="solid"/>
                <a:miter/>
              </a:ln>
            </p:spPr>
            <p:txBody>
              <a:bodyPr rtlCol="0" anchor="ctr"/>
              <a:lstStyle/>
              <a:p>
                <a:endParaRPr lang="en-GB"/>
              </a:p>
            </p:txBody>
          </p:sp>
          <p:sp>
            <p:nvSpPr>
              <p:cNvPr id="2902" name="Vrije vorm: vorm 2901">
                <a:extLst>
                  <a:ext uri="{FF2B5EF4-FFF2-40B4-BE49-F238E27FC236}">
                    <a16:creationId xmlns:a16="http://schemas.microsoft.com/office/drawing/2014/main" id="{C3EA8DFA-0A9F-477A-B1EE-4FBFE752DA32}"/>
                  </a:ext>
                </a:extLst>
              </p:cNvPr>
              <p:cNvSpPr/>
              <p:nvPr/>
            </p:nvSpPr>
            <p:spPr>
              <a:xfrm>
                <a:off x="4751866" y="1858895"/>
                <a:ext cx="18274" cy="18387"/>
              </a:xfrm>
              <a:custGeom>
                <a:avLst/>
                <a:gdLst>
                  <a:gd name="connsiteX0" fmla="*/ 16643 w 18274"/>
                  <a:gd name="connsiteY0" fmla="*/ 3961 h 18387"/>
                  <a:gd name="connsiteX1" fmla="*/ 3904 w 18274"/>
                  <a:gd name="connsiteY1" fmla="*/ 1628 h 18387"/>
                  <a:gd name="connsiteX2" fmla="*/ 1631 w 18274"/>
                  <a:gd name="connsiteY2" fmla="*/ 14427 h 18387"/>
                  <a:gd name="connsiteX3" fmla="*/ 14370 w 18274"/>
                  <a:gd name="connsiteY3" fmla="*/ 16759 h 18387"/>
                  <a:gd name="connsiteX4" fmla="*/ 16643 w 18274"/>
                  <a:gd name="connsiteY4" fmla="*/ 3961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16643" y="3961"/>
                    </a:moveTo>
                    <a:cubicBezTo>
                      <a:pt x="13713" y="-226"/>
                      <a:pt x="8031" y="-1243"/>
                      <a:pt x="3904" y="1628"/>
                    </a:cubicBezTo>
                    <a:cubicBezTo>
                      <a:pt x="-223" y="4559"/>
                      <a:pt x="-1239" y="10300"/>
                      <a:pt x="1631" y="14427"/>
                    </a:cubicBezTo>
                    <a:cubicBezTo>
                      <a:pt x="4562" y="18613"/>
                      <a:pt x="10244" y="19630"/>
                      <a:pt x="14370" y="16759"/>
                    </a:cubicBezTo>
                    <a:cubicBezTo>
                      <a:pt x="18497" y="13889"/>
                      <a:pt x="19514" y="8147"/>
                      <a:pt x="16643" y="3961"/>
                    </a:cubicBezTo>
                    <a:close/>
                  </a:path>
                </a:pathLst>
              </a:custGeom>
              <a:grpFill/>
              <a:ln w="5978" cap="flat">
                <a:noFill/>
                <a:prstDash val="solid"/>
                <a:miter/>
              </a:ln>
            </p:spPr>
            <p:txBody>
              <a:bodyPr rtlCol="0" anchor="ctr"/>
              <a:lstStyle/>
              <a:p>
                <a:endParaRPr lang="en-GB"/>
              </a:p>
            </p:txBody>
          </p:sp>
        </p:grpSp>
        <p:grpSp>
          <p:nvGrpSpPr>
            <p:cNvPr id="833" name="Graphic 3">
              <a:extLst>
                <a:ext uri="{FF2B5EF4-FFF2-40B4-BE49-F238E27FC236}">
                  <a16:creationId xmlns:a16="http://schemas.microsoft.com/office/drawing/2014/main" id="{45A50622-EBCE-4105-B319-EF13D44D4784}"/>
                </a:ext>
              </a:extLst>
            </p:cNvPr>
            <p:cNvGrpSpPr/>
            <p:nvPr/>
          </p:nvGrpSpPr>
          <p:grpSpPr>
            <a:xfrm>
              <a:off x="5964253" y="5098444"/>
              <a:ext cx="69150" cy="583502"/>
              <a:chOff x="5964253" y="5098444"/>
              <a:chExt cx="69150" cy="583502"/>
            </a:xfrm>
            <a:grpFill/>
          </p:grpSpPr>
          <p:sp>
            <p:nvSpPr>
              <p:cNvPr id="2897" name="Vrije vorm: vorm 2896">
                <a:extLst>
                  <a:ext uri="{FF2B5EF4-FFF2-40B4-BE49-F238E27FC236}">
                    <a16:creationId xmlns:a16="http://schemas.microsoft.com/office/drawing/2014/main" id="{0AB2C160-4948-4078-88AE-B032961E83FB}"/>
                  </a:ext>
                </a:extLst>
              </p:cNvPr>
              <p:cNvSpPr/>
              <p:nvPr/>
            </p:nvSpPr>
            <p:spPr>
              <a:xfrm>
                <a:off x="5971890" y="5107038"/>
                <a:ext cx="53946" cy="566314"/>
              </a:xfrm>
              <a:custGeom>
                <a:avLst/>
                <a:gdLst>
                  <a:gd name="connsiteX0" fmla="*/ 53946 w 53946"/>
                  <a:gd name="connsiteY0" fmla="*/ 299 h 566314"/>
                  <a:gd name="connsiteX1" fmla="*/ 2990 w 53946"/>
                  <a:gd name="connsiteY1" fmla="*/ 566315 h 566314"/>
                  <a:gd name="connsiteX2" fmla="*/ 0 w 53946"/>
                  <a:gd name="connsiteY2" fmla="*/ 566015 h 566314"/>
                  <a:gd name="connsiteX3" fmla="*/ 50896 w 53946"/>
                  <a:gd name="connsiteY3" fmla="*/ 0 h 566314"/>
                </a:gdLst>
                <a:ahLst/>
                <a:cxnLst>
                  <a:cxn ang="0">
                    <a:pos x="connsiteX0" y="connsiteY0"/>
                  </a:cxn>
                  <a:cxn ang="0">
                    <a:pos x="connsiteX1" y="connsiteY1"/>
                  </a:cxn>
                  <a:cxn ang="0">
                    <a:pos x="connsiteX2" y="connsiteY2"/>
                  </a:cxn>
                  <a:cxn ang="0">
                    <a:pos x="connsiteX3" y="connsiteY3"/>
                  </a:cxn>
                </a:cxnLst>
                <a:rect l="l" t="t" r="r" b="b"/>
                <a:pathLst>
                  <a:path w="53946" h="566314">
                    <a:moveTo>
                      <a:pt x="53946" y="299"/>
                    </a:moveTo>
                    <a:lnTo>
                      <a:pt x="2990" y="566315"/>
                    </a:lnTo>
                    <a:lnTo>
                      <a:pt x="0" y="566015"/>
                    </a:lnTo>
                    <a:lnTo>
                      <a:pt x="50896" y="0"/>
                    </a:lnTo>
                    <a:close/>
                  </a:path>
                </a:pathLst>
              </a:custGeom>
              <a:grpFill/>
              <a:ln w="5978" cap="flat">
                <a:noFill/>
                <a:prstDash val="solid"/>
                <a:miter/>
              </a:ln>
            </p:spPr>
            <p:txBody>
              <a:bodyPr rtlCol="0" anchor="ctr"/>
              <a:lstStyle/>
              <a:p>
                <a:endParaRPr lang="en-GB"/>
              </a:p>
            </p:txBody>
          </p:sp>
          <p:sp>
            <p:nvSpPr>
              <p:cNvPr id="2898" name="Vrije vorm: vorm 2897">
                <a:extLst>
                  <a:ext uri="{FF2B5EF4-FFF2-40B4-BE49-F238E27FC236}">
                    <a16:creationId xmlns:a16="http://schemas.microsoft.com/office/drawing/2014/main" id="{39AEBFCA-A1E1-4972-B27F-58E195D89AAE}"/>
                  </a:ext>
                </a:extLst>
              </p:cNvPr>
              <p:cNvSpPr/>
              <p:nvPr/>
            </p:nvSpPr>
            <p:spPr>
              <a:xfrm>
                <a:off x="6015089" y="5098444"/>
                <a:ext cx="18314" cy="18443"/>
              </a:xfrm>
              <a:custGeom>
                <a:avLst/>
                <a:gdLst>
                  <a:gd name="connsiteX0" fmla="*/ 42 w 18314"/>
                  <a:gd name="connsiteY0" fmla="*/ 8354 h 18443"/>
                  <a:gd name="connsiteX1" fmla="*/ 9970 w 18314"/>
                  <a:gd name="connsiteY1" fmla="*/ 42 h 18443"/>
                  <a:gd name="connsiteX2" fmla="*/ 18283 w 18314"/>
                  <a:gd name="connsiteY2" fmla="*/ 10089 h 18443"/>
                  <a:gd name="connsiteX3" fmla="*/ 8355 w 18314"/>
                  <a:gd name="connsiteY3" fmla="*/ 18402 h 18443"/>
                  <a:gd name="connsiteX4" fmla="*/ 42 w 18314"/>
                  <a:gd name="connsiteY4" fmla="*/ 835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43">
                    <a:moveTo>
                      <a:pt x="42" y="8354"/>
                    </a:moveTo>
                    <a:cubicBezTo>
                      <a:pt x="520" y="3271"/>
                      <a:pt x="4946" y="-437"/>
                      <a:pt x="9970" y="42"/>
                    </a:cubicBezTo>
                    <a:cubicBezTo>
                      <a:pt x="14993" y="520"/>
                      <a:pt x="18701" y="5005"/>
                      <a:pt x="18283" y="10089"/>
                    </a:cubicBezTo>
                    <a:cubicBezTo>
                      <a:pt x="17805" y="15173"/>
                      <a:pt x="13379" y="18881"/>
                      <a:pt x="8355" y="18402"/>
                    </a:cubicBezTo>
                    <a:cubicBezTo>
                      <a:pt x="3271" y="17924"/>
                      <a:pt x="-437" y="13438"/>
                      <a:pt x="42" y="8354"/>
                    </a:cubicBezTo>
                    <a:close/>
                  </a:path>
                </a:pathLst>
              </a:custGeom>
              <a:grpFill/>
              <a:ln w="5978" cap="flat">
                <a:noFill/>
                <a:prstDash val="solid"/>
                <a:miter/>
              </a:ln>
            </p:spPr>
            <p:txBody>
              <a:bodyPr rtlCol="0" anchor="ctr"/>
              <a:lstStyle/>
              <a:p>
                <a:endParaRPr lang="en-GB"/>
              </a:p>
            </p:txBody>
          </p:sp>
          <p:sp>
            <p:nvSpPr>
              <p:cNvPr id="2899" name="Vrije vorm: vorm 2898">
                <a:extLst>
                  <a:ext uri="{FF2B5EF4-FFF2-40B4-BE49-F238E27FC236}">
                    <a16:creationId xmlns:a16="http://schemas.microsoft.com/office/drawing/2014/main" id="{4D943991-FABE-471B-B146-EC18CB673756}"/>
                  </a:ext>
                </a:extLst>
              </p:cNvPr>
              <p:cNvSpPr/>
              <p:nvPr/>
            </p:nvSpPr>
            <p:spPr>
              <a:xfrm>
                <a:off x="5964253" y="5663502"/>
                <a:ext cx="18323" cy="18443"/>
              </a:xfrm>
              <a:custGeom>
                <a:avLst/>
                <a:gdLst>
                  <a:gd name="connsiteX0" fmla="*/ 41 w 18323"/>
                  <a:gd name="connsiteY0" fmla="*/ 8355 h 18443"/>
                  <a:gd name="connsiteX1" fmla="*/ 8354 w 18323"/>
                  <a:gd name="connsiteY1" fmla="*/ 18402 h 18443"/>
                  <a:gd name="connsiteX2" fmla="*/ 18282 w 18323"/>
                  <a:gd name="connsiteY2" fmla="*/ 10089 h 18443"/>
                  <a:gd name="connsiteX3" fmla="*/ 9969 w 18323"/>
                  <a:gd name="connsiteY3" fmla="*/ 42 h 18443"/>
                  <a:gd name="connsiteX4" fmla="*/ 41 w 18323"/>
                  <a:gd name="connsiteY4" fmla="*/ 8355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3">
                    <a:moveTo>
                      <a:pt x="41" y="8355"/>
                    </a:moveTo>
                    <a:cubicBezTo>
                      <a:pt x="-438" y="13438"/>
                      <a:pt x="3330" y="17924"/>
                      <a:pt x="8354" y="18402"/>
                    </a:cubicBezTo>
                    <a:cubicBezTo>
                      <a:pt x="13378" y="18881"/>
                      <a:pt x="17864" y="15173"/>
                      <a:pt x="18282" y="10089"/>
                    </a:cubicBezTo>
                    <a:cubicBezTo>
                      <a:pt x="18761" y="5006"/>
                      <a:pt x="14993" y="520"/>
                      <a:pt x="9969" y="42"/>
                    </a:cubicBezTo>
                    <a:cubicBezTo>
                      <a:pt x="4945" y="-437"/>
                      <a:pt x="520" y="3271"/>
                      <a:pt x="41" y="8355"/>
                    </a:cubicBezTo>
                    <a:close/>
                  </a:path>
                </a:pathLst>
              </a:custGeom>
              <a:grpFill/>
              <a:ln w="5978" cap="flat">
                <a:noFill/>
                <a:prstDash val="solid"/>
                <a:miter/>
              </a:ln>
            </p:spPr>
            <p:txBody>
              <a:bodyPr rtlCol="0" anchor="ctr"/>
              <a:lstStyle/>
              <a:p>
                <a:endParaRPr lang="en-GB"/>
              </a:p>
            </p:txBody>
          </p:sp>
        </p:grpSp>
        <p:grpSp>
          <p:nvGrpSpPr>
            <p:cNvPr id="834" name="Graphic 3">
              <a:extLst>
                <a:ext uri="{FF2B5EF4-FFF2-40B4-BE49-F238E27FC236}">
                  <a16:creationId xmlns:a16="http://schemas.microsoft.com/office/drawing/2014/main" id="{3E761BE2-EEC1-40A4-8143-88DDD7588740}"/>
                </a:ext>
              </a:extLst>
            </p:cNvPr>
            <p:cNvGrpSpPr/>
            <p:nvPr/>
          </p:nvGrpSpPr>
          <p:grpSpPr>
            <a:xfrm>
              <a:off x="5972123" y="5257507"/>
              <a:ext cx="24772" cy="193607"/>
              <a:chOff x="5972123" y="5257507"/>
              <a:chExt cx="24772" cy="193607"/>
            </a:xfrm>
            <a:grpFill/>
          </p:grpSpPr>
          <p:sp>
            <p:nvSpPr>
              <p:cNvPr id="2894" name="Vrije vorm: vorm 2893">
                <a:extLst>
                  <a:ext uri="{FF2B5EF4-FFF2-40B4-BE49-F238E27FC236}">
                    <a16:creationId xmlns:a16="http://schemas.microsoft.com/office/drawing/2014/main" id="{0B43C615-23BD-4619-BBD0-71E64DB880EB}"/>
                  </a:ext>
                </a:extLst>
              </p:cNvPr>
              <p:cNvSpPr/>
              <p:nvPr/>
            </p:nvSpPr>
            <p:spPr>
              <a:xfrm>
                <a:off x="5979785" y="5266185"/>
                <a:ext cx="9449" cy="176251"/>
              </a:xfrm>
              <a:custGeom>
                <a:avLst/>
                <a:gdLst>
                  <a:gd name="connsiteX0" fmla="*/ 9449 w 9449"/>
                  <a:gd name="connsiteY0" fmla="*/ 120 h 176251"/>
                  <a:gd name="connsiteX1" fmla="*/ 3050 w 9449"/>
                  <a:gd name="connsiteY1" fmla="*/ 176252 h 176251"/>
                  <a:gd name="connsiteX2" fmla="*/ 0 w 9449"/>
                  <a:gd name="connsiteY2" fmla="*/ 176132 h 176251"/>
                  <a:gd name="connsiteX3" fmla="*/ 6459 w 9449"/>
                  <a:gd name="connsiteY3" fmla="*/ 0 h 176251"/>
                </a:gdLst>
                <a:ahLst/>
                <a:cxnLst>
                  <a:cxn ang="0">
                    <a:pos x="connsiteX0" y="connsiteY0"/>
                  </a:cxn>
                  <a:cxn ang="0">
                    <a:pos x="connsiteX1" y="connsiteY1"/>
                  </a:cxn>
                  <a:cxn ang="0">
                    <a:pos x="connsiteX2" y="connsiteY2"/>
                  </a:cxn>
                  <a:cxn ang="0">
                    <a:pos x="connsiteX3" y="connsiteY3"/>
                  </a:cxn>
                </a:cxnLst>
                <a:rect l="l" t="t" r="r" b="b"/>
                <a:pathLst>
                  <a:path w="9449" h="176251">
                    <a:moveTo>
                      <a:pt x="9449" y="120"/>
                    </a:moveTo>
                    <a:lnTo>
                      <a:pt x="3050" y="176252"/>
                    </a:lnTo>
                    <a:lnTo>
                      <a:pt x="0" y="176132"/>
                    </a:lnTo>
                    <a:lnTo>
                      <a:pt x="6459" y="0"/>
                    </a:lnTo>
                    <a:close/>
                  </a:path>
                </a:pathLst>
              </a:custGeom>
              <a:grpFill/>
              <a:ln w="5978" cap="flat">
                <a:noFill/>
                <a:prstDash val="solid"/>
                <a:miter/>
              </a:ln>
            </p:spPr>
            <p:txBody>
              <a:bodyPr rtlCol="0" anchor="ctr"/>
              <a:lstStyle/>
              <a:p>
                <a:endParaRPr lang="en-GB"/>
              </a:p>
            </p:txBody>
          </p:sp>
          <p:sp>
            <p:nvSpPr>
              <p:cNvPr id="2895" name="Vrije vorm: vorm 2894">
                <a:extLst>
                  <a:ext uri="{FF2B5EF4-FFF2-40B4-BE49-F238E27FC236}">
                    <a16:creationId xmlns:a16="http://schemas.microsoft.com/office/drawing/2014/main" id="{74A058DC-0B33-43B9-B56E-1787D00C2540}"/>
                  </a:ext>
                </a:extLst>
              </p:cNvPr>
              <p:cNvSpPr/>
              <p:nvPr/>
            </p:nvSpPr>
            <p:spPr>
              <a:xfrm>
                <a:off x="5972123" y="5432682"/>
                <a:ext cx="18372" cy="18432"/>
              </a:xfrm>
              <a:custGeom>
                <a:avLst/>
                <a:gdLst>
                  <a:gd name="connsiteX0" fmla="*/ 18367 w 18372"/>
                  <a:gd name="connsiteY0" fmla="*/ 9575 h 18432"/>
                  <a:gd name="connsiteX1" fmla="*/ 8858 w 18372"/>
                  <a:gd name="connsiteY1" fmla="*/ 18427 h 18432"/>
                  <a:gd name="connsiteX2" fmla="*/ 6 w 18372"/>
                  <a:gd name="connsiteY2" fmla="*/ 8858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8" y="14659"/>
                      <a:pt x="13941" y="18606"/>
                      <a:pt x="8858" y="18427"/>
                    </a:cubicBezTo>
                    <a:cubicBezTo>
                      <a:pt x="3774" y="18247"/>
                      <a:pt x="-173" y="13941"/>
                      <a:pt x="6" y="8858"/>
                    </a:cubicBezTo>
                    <a:cubicBezTo>
                      <a:pt x="185" y="3774"/>
                      <a:pt x="4432" y="-173"/>
                      <a:pt x="9515" y="6"/>
                    </a:cubicBezTo>
                    <a:cubicBezTo>
                      <a:pt x="14599" y="185"/>
                      <a:pt x="18546" y="4491"/>
                      <a:pt x="18367" y="9575"/>
                    </a:cubicBezTo>
                    <a:close/>
                  </a:path>
                </a:pathLst>
              </a:custGeom>
              <a:grpFill/>
              <a:ln w="5978" cap="flat">
                <a:noFill/>
                <a:prstDash val="solid"/>
                <a:miter/>
              </a:ln>
            </p:spPr>
            <p:txBody>
              <a:bodyPr rtlCol="0" anchor="ctr"/>
              <a:lstStyle/>
              <a:p>
                <a:endParaRPr lang="en-GB"/>
              </a:p>
            </p:txBody>
          </p:sp>
          <p:sp>
            <p:nvSpPr>
              <p:cNvPr id="2896" name="Vrije vorm: vorm 2895">
                <a:extLst>
                  <a:ext uri="{FF2B5EF4-FFF2-40B4-BE49-F238E27FC236}">
                    <a16:creationId xmlns:a16="http://schemas.microsoft.com/office/drawing/2014/main" id="{7D4D5CDF-CC83-43E6-9B3E-4D03B1AD6D63}"/>
                  </a:ext>
                </a:extLst>
              </p:cNvPr>
              <p:cNvSpPr/>
              <p:nvPr/>
            </p:nvSpPr>
            <p:spPr>
              <a:xfrm>
                <a:off x="5978523" y="5257507"/>
                <a:ext cx="18372" cy="18432"/>
              </a:xfrm>
              <a:custGeom>
                <a:avLst/>
                <a:gdLst>
                  <a:gd name="connsiteX0" fmla="*/ 18367 w 18372"/>
                  <a:gd name="connsiteY0" fmla="*/ 9575 h 18432"/>
                  <a:gd name="connsiteX1" fmla="*/ 9515 w 18372"/>
                  <a:gd name="connsiteY1" fmla="*/ 6 h 18432"/>
                  <a:gd name="connsiteX2" fmla="*/ 6 w 18372"/>
                  <a:gd name="connsiteY2" fmla="*/ 8857 h 18432"/>
                  <a:gd name="connsiteX3" fmla="*/ 8857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3"/>
                      <a:pt x="185" y="3774"/>
                      <a:pt x="6" y="8857"/>
                    </a:cubicBezTo>
                    <a:cubicBezTo>
                      <a:pt x="-173" y="13941"/>
                      <a:pt x="3774" y="18247"/>
                      <a:pt x="8857" y="18427"/>
                    </a:cubicBezTo>
                    <a:cubicBezTo>
                      <a:pt x="13941" y="18606"/>
                      <a:pt x="18187" y="14659"/>
                      <a:pt x="18367" y="9575"/>
                    </a:cubicBezTo>
                    <a:close/>
                  </a:path>
                </a:pathLst>
              </a:custGeom>
              <a:grpFill/>
              <a:ln w="5978" cap="flat">
                <a:noFill/>
                <a:prstDash val="solid"/>
                <a:miter/>
              </a:ln>
            </p:spPr>
            <p:txBody>
              <a:bodyPr rtlCol="0" anchor="ctr"/>
              <a:lstStyle/>
              <a:p>
                <a:endParaRPr lang="en-GB"/>
              </a:p>
            </p:txBody>
          </p:sp>
        </p:grpSp>
        <p:grpSp>
          <p:nvGrpSpPr>
            <p:cNvPr id="835" name="Graphic 3">
              <a:extLst>
                <a:ext uri="{FF2B5EF4-FFF2-40B4-BE49-F238E27FC236}">
                  <a16:creationId xmlns:a16="http://schemas.microsoft.com/office/drawing/2014/main" id="{009B12FD-7111-4965-B2B8-1591F821C31A}"/>
                </a:ext>
              </a:extLst>
            </p:cNvPr>
            <p:cNvGrpSpPr/>
            <p:nvPr/>
          </p:nvGrpSpPr>
          <p:grpSpPr>
            <a:xfrm>
              <a:off x="5910018" y="5105631"/>
              <a:ext cx="29181" cy="166378"/>
              <a:chOff x="5910018" y="5105631"/>
              <a:chExt cx="29181" cy="166378"/>
            </a:xfrm>
            <a:grpFill/>
          </p:grpSpPr>
          <p:sp>
            <p:nvSpPr>
              <p:cNvPr id="2891" name="Vrije vorm: vorm 2890">
                <a:extLst>
                  <a:ext uri="{FF2B5EF4-FFF2-40B4-BE49-F238E27FC236}">
                    <a16:creationId xmlns:a16="http://schemas.microsoft.com/office/drawing/2014/main" id="{70DB654B-2F27-4066-83AF-B83FF0587EA7}"/>
                  </a:ext>
                </a:extLst>
              </p:cNvPr>
              <p:cNvSpPr/>
              <p:nvPr/>
            </p:nvSpPr>
            <p:spPr>
              <a:xfrm>
                <a:off x="5917585" y="5114274"/>
                <a:ext cx="14054" cy="149039"/>
              </a:xfrm>
              <a:custGeom>
                <a:avLst/>
                <a:gdLst>
                  <a:gd name="connsiteX0" fmla="*/ 14055 w 14054"/>
                  <a:gd name="connsiteY0" fmla="*/ 239 h 149039"/>
                  <a:gd name="connsiteX1" fmla="*/ 3050 w 14054"/>
                  <a:gd name="connsiteY1" fmla="*/ 149040 h 149039"/>
                  <a:gd name="connsiteX2" fmla="*/ 0 w 14054"/>
                  <a:gd name="connsiteY2" fmla="*/ 148800 h 149039"/>
                  <a:gd name="connsiteX3" fmla="*/ 11005 w 14054"/>
                  <a:gd name="connsiteY3" fmla="*/ 0 h 149039"/>
                </a:gdLst>
                <a:ahLst/>
                <a:cxnLst>
                  <a:cxn ang="0">
                    <a:pos x="connsiteX0" y="connsiteY0"/>
                  </a:cxn>
                  <a:cxn ang="0">
                    <a:pos x="connsiteX1" y="connsiteY1"/>
                  </a:cxn>
                  <a:cxn ang="0">
                    <a:pos x="connsiteX2" y="connsiteY2"/>
                  </a:cxn>
                  <a:cxn ang="0">
                    <a:pos x="connsiteX3" y="connsiteY3"/>
                  </a:cxn>
                </a:cxnLst>
                <a:rect l="l" t="t" r="r" b="b"/>
                <a:pathLst>
                  <a:path w="14054" h="149039">
                    <a:moveTo>
                      <a:pt x="14055" y="239"/>
                    </a:moveTo>
                    <a:lnTo>
                      <a:pt x="3050" y="149040"/>
                    </a:lnTo>
                    <a:lnTo>
                      <a:pt x="0" y="148800"/>
                    </a:lnTo>
                    <a:lnTo>
                      <a:pt x="11005" y="0"/>
                    </a:lnTo>
                    <a:close/>
                  </a:path>
                </a:pathLst>
              </a:custGeom>
              <a:grpFill/>
              <a:ln w="5978" cap="flat">
                <a:noFill/>
                <a:prstDash val="solid"/>
                <a:miter/>
              </a:ln>
            </p:spPr>
            <p:txBody>
              <a:bodyPr rtlCol="0" anchor="ctr"/>
              <a:lstStyle/>
              <a:p>
                <a:endParaRPr lang="en-GB"/>
              </a:p>
            </p:txBody>
          </p:sp>
          <p:sp>
            <p:nvSpPr>
              <p:cNvPr id="2892" name="Vrije vorm: vorm 2891">
                <a:extLst>
                  <a:ext uri="{FF2B5EF4-FFF2-40B4-BE49-F238E27FC236}">
                    <a16:creationId xmlns:a16="http://schemas.microsoft.com/office/drawing/2014/main" id="{7459F202-D786-46E9-A4BC-EF58F41E57F2}"/>
                  </a:ext>
                </a:extLst>
              </p:cNvPr>
              <p:cNvSpPr/>
              <p:nvPr/>
            </p:nvSpPr>
            <p:spPr>
              <a:xfrm>
                <a:off x="5910018" y="5253542"/>
                <a:ext cx="18296" cy="18467"/>
              </a:xfrm>
              <a:custGeom>
                <a:avLst/>
                <a:gdLst>
                  <a:gd name="connsiteX0" fmla="*/ 18273 w 18296"/>
                  <a:gd name="connsiteY0" fmla="*/ 9951 h 18467"/>
                  <a:gd name="connsiteX1" fmla="*/ 8464 w 18296"/>
                  <a:gd name="connsiteY1" fmla="*/ 18444 h 18467"/>
                  <a:gd name="connsiteX2" fmla="*/ 31 w 18296"/>
                  <a:gd name="connsiteY2" fmla="*/ 8516 h 18467"/>
                  <a:gd name="connsiteX3" fmla="*/ 9840 w 18296"/>
                  <a:gd name="connsiteY3" fmla="*/ 24 h 18467"/>
                  <a:gd name="connsiteX4" fmla="*/ 18273 w 18296"/>
                  <a:gd name="connsiteY4" fmla="*/ 9951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7">
                    <a:moveTo>
                      <a:pt x="18273" y="9951"/>
                    </a:moveTo>
                    <a:cubicBezTo>
                      <a:pt x="17914" y="15035"/>
                      <a:pt x="13488" y="18803"/>
                      <a:pt x="8464" y="18444"/>
                    </a:cubicBezTo>
                    <a:cubicBezTo>
                      <a:pt x="3440" y="18026"/>
                      <a:pt x="-387" y="13600"/>
                      <a:pt x="31" y="8516"/>
                    </a:cubicBezTo>
                    <a:cubicBezTo>
                      <a:pt x="390" y="3433"/>
                      <a:pt x="4816" y="-335"/>
                      <a:pt x="9840" y="24"/>
                    </a:cubicBezTo>
                    <a:cubicBezTo>
                      <a:pt x="14864" y="442"/>
                      <a:pt x="18632" y="4868"/>
                      <a:pt x="18273" y="9951"/>
                    </a:cubicBezTo>
                    <a:close/>
                  </a:path>
                </a:pathLst>
              </a:custGeom>
              <a:grpFill/>
              <a:ln w="5978" cap="flat">
                <a:noFill/>
                <a:prstDash val="solid"/>
                <a:miter/>
              </a:ln>
            </p:spPr>
            <p:txBody>
              <a:bodyPr rtlCol="0" anchor="ctr"/>
              <a:lstStyle/>
              <a:p>
                <a:endParaRPr lang="en-GB"/>
              </a:p>
            </p:txBody>
          </p:sp>
          <p:sp>
            <p:nvSpPr>
              <p:cNvPr id="2893" name="Vrije vorm: vorm 2892">
                <a:extLst>
                  <a:ext uri="{FF2B5EF4-FFF2-40B4-BE49-F238E27FC236}">
                    <a16:creationId xmlns:a16="http://schemas.microsoft.com/office/drawing/2014/main" id="{F4E2F760-5CA9-43C7-93EF-33BE3DC084F5}"/>
                  </a:ext>
                </a:extLst>
              </p:cNvPr>
              <p:cNvSpPr/>
              <p:nvPr/>
            </p:nvSpPr>
            <p:spPr>
              <a:xfrm>
                <a:off x="5920851" y="5105631"/>
                <a:ext cx="18348" cy="18475"/>
              </a:xfrm>
              <a:custGeom>
                <a:avLst/>
                <a:gdLst>
                  <a:gd name="connsiteX0" fmla="*/ 18325 w 18348"/>
                  <a:gd name="connsiteY0" fmla="*/ 9960 h 18475"/>
                  <a:gd name="connsiteX1" fmla="*/ 9832 w 18348"/>
                  <a:gd name="connsiteY1" fmla="*/ 31 h 18475"/>
                  <a:gd name="connsiteX2" fmla="*/ 24 w 18348"/>
                  <a:gd name="connsiteY2" fmla="*/ 8524 h 18475"/>
                  <a:gd name="connsiteX3" fmla="*/ 8457 w 18348"/>
                  <a:gd name="connsiteY3" fmla="*/ 18452 h 18475"/>
                  <a:gd name="connsiteX4" fmla="*/ 18325 w 18348"/>
                  <a:gd name="connsiteY4" fmla="*/ 9960 h 18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75">
                    <a:moveTo>
                      <a:pt x="18325" y="9960"/>
                    </a:moveTo>
                    <a:cubicBezTo>
                      <a:pt x="18683" y="4876"/>
                      <a:pt x="14916" y="450"/>
                      <a:pt x="9832" y="31"/>
                    </a:cubicBezTo>
                    <a:cubicBezTo>
                      <a:pt x="4809" y="-387"/>
                      <a:pt x="382" y="3440"/>
                      <a:pt x="24" y="8524"/>
                    </a:cubicBezTo>
                    <a:cubicBezTo>
                      <a:pt x="-335" y="13608"/>
                      <a:pt x="3433" y="18033"/>
                      <a:pt x="8457" y="18452"/>
                    </a:cubicBezTo>
                    <a:cubicBezTo>
                      <a:pt x="13600" y="18811"/>
                      <a:pt x="17966" y="14983"/>
                      <a:pt x="18325" y="9960"/>
                    </a:cubicBezTo>
                    <a:close/>
                  </a:path>
                </a:pathLst>
              </a:custGeom>
              <a:grpFill/>
              <a:ln w="5978" cap="flat">
                <a:noFill/>
                <a:prstDash val="solid"/>
                <a:miter/>
              </a:ln>
            </p:spPr>
            <p:txBody>
              <a:bodyPr rtlCol="0" anchor="ctr"/>
              <a:lstStyle/>
              <a:p>
                <a:endParaRPr lang="en-GB"/>
              </a:p>
            </p:txBody>
          </p:sp>
        </p:grpSp>
        <p:grpSp>
          <p:nvGrpSpPr>
            <p:cNvPr id="836" name="Graphic 3">
              <a:extLst>
                <a:ext uri="{FF2B5EF4-FFF2-40B4-BE49-F238E27FC236}">
                  <a16:creationId xmlns:a16="http://schemas.microsoft.com/office/drawing/2014/main" id="{C822F0E2-B32F-43F0-951E-1E9872D574EB}"/>
                </a:ext>
              </a:extLst>
            </p:cNvPr>
            <p:cNvGrpSpPr/>
            <p:nvPr/>
          </p:nvGrpSpPr>
          <p:grpSpPr>
            <a:xfrm>
              <a:off x="4793544" y="1849723"/>
              <a:ext cx="27593" cy="29973"/>
              <a:chOff x="4793544" y="1849723"/>
              <a:chExt cx="27593" cy="29973"/>
            </a:xfrm>
            <a:grpFill/>
          </p:grpSpPr>
          <p:sp>
            <p:nvSpPr>
              <p:cNvPr id="2889" name="Vrije vorm: vorm 2888">
                <a:extLst>
                  <a:ext uri="{FF2B5EF4-FFF2-40B4-BE49-F238E27FC236}">
                    <a16:creationId xmlns:a16="http://schemas.microsoft.com/office/drawing/2014/main" id="{E48EBC3E-8286-4EE1-A28C-CC7E13FE8BC5}"/>
                  </a:ext>
                </a:extLst>
              </p:cNvPr>
              <p:cNvSpPr/>
              <p:nvPr/>
            </p:nvSpPr>
            <p:spPr>
              <a:xfrm>
                <a:off x="4802780" y="1861247"/>
                <a:ext cx="18358" cy="18449"/>
              </a:xfrm>
              <a:custGeom>
                <a:avLst/>
                <a:gdLst>
                  <a:gd name="connsiteX0" fmla="*/ 2032 w 18358"/>
                  <a:gd name="connsiteY0" fmla="*/ 15006 h 18449"/>
                  <a:gd name="connsiteX1" fmla="*/ 3408 w 18358"/>
                  <a:gd name="connsiteY1" fmla="*/ 2028 h 18449"/>
                  <a:gd name="connsiteX2" fmla="*/ 16326 w 18358"/>
                  <a:gd name="connsiteY2" fmla="*/ 3463 h 18449"/>
                  <a:gd name="connsiteX3" fmla="*/ 14951 w 18358"/>
                  <a:gd name="connsiteY3" fmla="*/ 16441 h 18449"/>
                  <a:gd name="connsiteX4" fmla="*/ 2032 w 18358"/>
                  <a:gd name="connsiteY4" fmla="*/ 15006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49">
                    <a:moveTo>
                      <a:pt x="2032" y="15006"/>
                    </a:moveTo>
                    <a:cubicBezTo>
                      <a:pt x="-1137" y="11058"/>
                      <a:pt x="-539" y="5257"/>
                      <a:pt x="3408" y="2028"/>
                    </a:cubicBezTo>
                    <a:cubicBezTo>
                      <a:pt x="7355" y="-1142"/>
                      <a:pt x="13097" y="-544"/>
                      <a:pt x="16326" y="3463"/>
                    </a:cubicBezTo>
                    <a:cubicBezTo>
                      <a:pt x="19496" y="7410"/>
                      <a:pt x="18898" y="13212"/>
                      <a:pt x="14951" y="16441"/>
                    </a:cubicBezTo>
                    <a:cubicBezTo>
                      <a:pt x="11003" y="19611"/>
                      <a:pt x="5262" y="18953"/>
                      <a:pt x="2032" y="15006"/>
                    </a:cubicBezTo>
                    <a:close/>
                  </a:path>
                </a:pathLst>
              </a:custGeom>
              <a:grpFill/>
              <a:ln w="5978" cap="flat">
                <a:noFill/>
                <a:prstDash val="solid"/>
                <a:miter/>
              </a:ln>
            </p:spPr>
            <p:txBody>
              <a:bodyPr rtlCol="0" anchor="ctr"/>
              <a:lstStyle/>
              <a:p>
                <a:endParaRPr lang="en-GB"/>
              </a:p>
            </p:txBody>
          </p:sp>
          <p:sp>
            <p:nvSpPr>
              <p:cNvPr id="2890" name="Vrije vorm: vorm 2889">
                <a:extLst>
                  <a:ext uri="{FF2B5EF4-FFF2-40B4-BE49-F238E27FC236}">
                    <a16:creationId xmlns:a16="http://schemas.microsoft.com/office/drawing/2014/main" id="{0DE9C5A6-6088-43D3-B7B8-4DE01FF74ED7}"/>
                  </a:ext>
                </a:extLst>
              </p:cNvPr>
              <p:cNvSpPr/>
              <p:nvPr/>
            </p:nvSpPr>
            <p:spPr>
              <a:xfrm>
                <a:off x="4793544" y="1849723"/>
                <a:ext cx="18383" cy="18430"/>
              </a:xfrm>
              <a:custGeom>
                <a:avLst/>
                <a:gdLst>
                  <a:gd name="connsiteX0" fmla="*/ 2057 w 18383"/>
                  <a:gd name="connsiteY0" fmla="*/ 14987 h 18430"/>
                  <a:gd name="connsiteX1" fmla="*/ 14976 w 18383"/>
                  <a:gd name="connsiteY1" fmla="*/ 16422 h 18430"/>
                  <a:gd name="connsiteX2" fmla="*/ 16351 w 18383"/>
                  <a:gd name="connsiteY2" fmla="*/ 3444 h 18430"/>
                  <a:gd name="connsiteX3" fmla="*/ 3433 w 18383"/>
                  <a:gd name="connsiteY3" fmla="*/ 2009 h 18430"/>
                  <a:gd name="connsiteX4" fmla="*/ 2057 w 18383"/>
                  <a:gd name="connsiteY4" fmla="*/ 149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30">
                    <a:moveTo>
                      <a:pt x="2057" y="14987"/>
                    </a:moveTo>
                    <a:cubicBezTo>
                      <a:pt x="5227" y="18934"/>
                      <a:pt x="11029" y="19592"/>
                      <a:pt x="14976" y="16422"/>
                    </a:cubicBezTo>
                    <a:cubicBezTo>
                      <a:pt x="18923" y="13252"/>
                      <a:pt x="19521" y="7451"/>
                      <a:pt x="16351" y="3444"/>
                    </a:cubicBezTo>
                    <a:cubicBezTo>
                      <a:pt x="13181" y="-503"/>
                      <a:pt x="7380" y="-1161"/>
                      <a:pt x="3433" y="2009"/>
                    </a:cubicBezTo>
                    <a:cubicBezTo>
                      <a:pt x="-514" y="5238"/>
                      <a:pt x="-1172" y="11040"/>
                      <a:pt x="2057" y="14987"/>
                    </a:cubicBezTo>
                    <a:close/>
                  </a:path>
                </a:pathLst>
              </a:custGeom>
              <a:grpFill/>
              <a:ln w="5978" cap="flat">
                <a:noFill/>
                <a:prstDash val="solid"/>
                <a:miter/>
              </a:ln>
            </p:spPr>
            <p:txBody>
              <a:bodyPr rtlCol="0" anchor="ctr"/>
              <a:lstStyle/>
              <a:p>
                <a:endParaRPr lang="en-GB"/>
              </a:p>
            </p:txBody>
          </p:sp>
        </p:grpSp>
        <p:grpSp>
          <p:nvGrpSpPr>
            <p:cNvPr id="837" name="Graphic 3">
              <a:extLst>
                <a:ext uri="{FF2B5EF4-FFF2-40B4-BE49-F238E27FC236}">
                  <a16:creationId xmlns:a16="http://schemas.microsoft.com/office/drawing/2014/main" id="{E32B1A95-367C-4131-B84D-9C890E72AEE7}"/>
                </a:ext>
              </a:extLst>
            </p:cNvPr>
            <p:cNvGrpSpPr/>
            <p:nvPr/>
          </p:nvGrpSpPr>
          <p:grpSpPr>
            <a:xfrm>
              <a:off x="4678636" y="1571257"/>
              <a:ext cx="122424" cy="158223"/>
              <a:chOff x="4678636" y="1571257"/>
              <a:chExt cx="122424" cy="158223"/>
            </a:xfrm>
            <a:grpFill/>
          </p:grpSpPr>
          <p:sp>
            <p:nvSpPr>
              <p:cNvPr id="2886" name="Vrije vorm: vorm 2885">
                <a:extLst>
                  <a:ext uri="{FF2B5EF4-FFF2-40B4-BE49-F238E27FC236}">
                    <a16:creationId xmlns:a16="http://schemas.microsoft.com/office/drawing/2014/main" id="{9F947FFF-28E7-47C3-8F03-A43EFD5DCA4F}"/>
                  </a:ext>
                </a:extLst>
              </p:cNvPr>
              <p:cNvSpPr/>
              <p:nvPr/>
            </p:nvSpPr>
            <p:spPr>
              <a:xfrm>
                <a:off x="4686334" y="1579190"/>
                <a:ext cx="106995" cy="142341"/>
              </a:xfrm>
              <a:custGeom>
                <a:avLst/>
                <a:gdLst>
                  <a:gd name="connsiteX0" fmla="*/ 106995 w 106995"/>
                  <a:gd name="connsiteY0" fmla="*/ 140547 h 142341"/>
                  <a:gd name="connsiteX1" fmla="*/ 104603 w 106995"/>
                  <a:gd name="connsiteY1" fmla="*/ 142341 h 142341"/>
                  <a:gd name="connsiteX2" fmla="*/ 0 w 106995"/>
                  <a:gd name="connsiteY2" fmla="*/ 1854 h 142341"/>
                  <a:gd name="connsiteX3" fmla="*/ 2392 w 106995"/>
                  <a:gd name="connsiteY3" fmla="*/ 0 h 142341"/>
                </a:gdLst>
                <a:ahLst/>
                <a:cxnLst>
                  <a:cxn ang="0">
                    <a:pos x="connsiteX0" y="connsiteY0"/>
                  </a:cxn>
                  <a:cxn ang="0">
                    <a:pos x="connsiteX1" y="connsiteY1"/>
                  </a:cxn>
                  <a:cxn ang="0">
                    <a:pos x="connsiteX2" y="connsiteY2"/>
                  </a:cxn>
                  <a:cxn ang="0">
                    <a:pos x="connsiteX3" y="connsiteY3"/>
                  </a:cxn>
                </a:cxnLst>
                <a:rect l="l" t="t" r="r" b="b"/>
                <a:pathLst>
                  <a:path w="106995" h="142341">
                    <a:moveTo>
                      <a:pt x="106995" y="140547"/>
                    </a:moveTo>
                    <a:lnTo>
                      <a:pt x="104603" y="142341"/>
                    </a:lnTo>
                    <a:lnTo>
                      <a:pt x="0" y="1854"/>
                    </a:lnTo>
                    <a:lnTo>
                      <a:pt x="2392" y="0"/>
                    </a:lnTo>
                    <a:close/>
                  </a:path>
                </a:pathLst>
              </a:custGeom>
              <a:grpFill/>
              <a:ln w="5978" cap="flat">
                <a:noFill/>
                <a:prstDash val="solid"/>
                <a:miter/>
              </a:ln>
            </p:spPr>
            <p:txBody>
              <a:bodyPr rtlCol="0" anchor="ctr"/>
              <a:lstStyle/>
              <a:p>
                <a:endParaRPr lang="en-GB"/>
              </a:p>
            </p:txBody>
          </p:sp>
          <p:sp>
            <p:nvSpPr>
              <p:cNvPr id="2887" name="Vrije vorm: vorm 2886">
                <a:extLst>
                  <a:ext uri="{FF2B5EF4-FFF2-40B4-BE49-F238E27FC236}">
                    <a16:creationId xmlns:a16="http://schemas.microsoft.com/office/drawing/2014/main" id="{FE7F71BB-33D1-4D68-81C2-FC7DE6FEBF8F}"/>
                  </a:ext>
                </a:extLst>
              </p:cNvPr>
              <p:cNvSpPr/>
              <p:nvPr/>
            </p:nvSpPr>
            <p:spPr>
              <a:xfrm>
                <a:off x="4678636" y="1571257"/>
                <a:ext cx="18385" cy="18454"/>
              </a:xfrm>
              <a:custGeom>
                <a:avLst/>
                <a:gdLst>
                  <a:gd name="connsiteX0" fmla="*/ 1837 w 18385"/>
                  <a:gd name="connsiteY0" fmla="*/ 14751 h 18454"/>
                  <a:gd name="connsiteX1" fmla="*/ 3691 w 18385"/>
                  <a:gd name="connsiteY1" fmla="*/ 1833 h 18454"/>
                  <a:gd name="connsiteX2" fmla="*/ 16549 w 18385"/>
                  <a:gd name="connsiteY2" fmla="*/ 3747 h 18454"/>
                  <a:gd name="connsiteX3" fmla="*/ 14695 w 18385"/>
                  <a:gd name="connsiteY3" fmla="*/ 16665 h 18454"/>
                  <a:gd name="connsiteX4" fmla="*/ 1837 w 18385"/>
                  <a:gd name="connsiteY4" fmla="*/ 1475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5" h="18454">
                    <a:moveTo>
                      <a:pt x="1837" y="14751"/>
                    </a:moveTo>
                    <a:cubicBezTo>
                      <a:pt x="-1213" y="10684"/>
                      <a:pt x="-376" y="4883"/>
                      <a:pt x="3691" y="1833"/>
                    </a:cubicBezTo>
                    <a:cubicBezTo>
                      <a:pt x="7758" y="-1217"/>
                      <a:pt x="13499" y="-380"/>
                      <a:pt x="16549" y="3747"/>
                    </a:cubicBezTo>
                    <a:cubicBezTo>
                      <a:pt x="19599" y="7814"/>
                      <a:pt x="18762" y="13615"/>
                      <a:pt x="14695" y="16665"/>
                    </a:cubicBezTo>
                    <a:cubicBezTo>
                      <a:pt x="10628" y="19655"/>
                      <a:pt x="4887" y="18818"/>
                      <a:pt x="1837" y="14751"/>
                    </a:cubicBezTo>
                    <a:close/>
                  </a:path>
                </a:pathLst>
              </a:custGeom>
              <a:grpFill/>
              <a:ln w="5978" cap="flat">
                <a:noFill/>
                <a:prstDash val="solid"/>
                <a:miter/>
              </a:ln>
            </p:spPr>
            <p:txBody>
              <a:bodyPr rtlCol="0" anchor="ctr"/>
              <a:lstStyle/>
              <a:p>
                <a:endParaRPr lang="en-GB"/>
              </a:p>
            </p:txBody>
          </p:sp>
          <p:sp>
            <p:nvSpPr>
              <p:cNvPr id="2888" name="Vrije vorm: vorm 2887">
                <a:extLst>
                  <a:ext uri="{FF2B5EF4-FFF2-40B4-BE49-F238E27FC236}">
                    <a16:creationId xmlns:a16="http://schemas.microsoft.com/office/drawing/2014/main" id="{CCCE80CC-BCA8-4228-A8D5-D81610316EC7}"/>
                  </a:ext>
                </a:extLst>
              </p:cNvPr>
              <p:cNvSpPr/>
              <p:nvPr/>
            </p:nvSpPr>
            <p:spPr>
              <a:xfrm>
                <a:off x="4782700" y="1711069"/>
                <a:ext cx="18360" cy="18411"/>
              </a:xfrm>
              <a:custGeom>
                <a:avLst/>
                <a:gdLst>
                  <a:gd name="connsiteX0" fmla="*/ 1837 w 18360"/>
                  <a:gd name="connsiteY0" fmla="*/ 14708 h 18411"/>
                  <a:gd name="connsiteX1" fmla="*/ 14695 w 18360"/>
                  <a:gd name="connsiteY1" fmla="*/ 16622 h 18411"/>
                  <a:gd name="connsiteX2" fmla="*/ 16549 w 18360"/>
                  <a:gd name="connsiteY2" fmla="*/ 3703 h 18411"/>
                  <a:gd name="connsiteX3" fmla="*/ 3691 w 18360"/>
                  <a:gd name="connsiteY3" fmla="*/ 1790 h 18411"/>
                  <a:gd name="connsiteX4" fmla="*/ 1837 w 18360"/>
                  <a:gd name="connsiteY4" fmla="*/ 1470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11">
                    <a:moveTo>
                      <a:pt x="1837" y="14708"/>
                    </a:moveTo>
                    <a:cubicBezTo>
                      <a:pt x="4887" y="18775"/>
                      <a:pt x="10628" y="19612"/>
                      <a:pt x="14695" y="16622"/>
                    </a:cubicBezTo>
                    <a:cubicBezTo>
                      <a:pt x="18762" y="13631"/>
                      <a:pt x="19540" y="7830"/>
                      <a:pt x="16549" y="3703"/>
                    </a:cubicBezTo>
                    <a:cubicBezTo>
                      <a:pt x="13499" y="-364"/>
                      <a:pt x="7758" y="-1201"/>
                      <a:pt x="3691" y="1790"/>
                    </a:cubicBezTo>
                    <a:cubicBezTo>
                      <a:pt x="-376" y="4840"/>
                      <a:pt x="-1213" y="10641"/>
                      <a:pt x="1837" y="14708"/>
                    </a:cubicBezTo>
                    <a:close/>
                  </a:path>
                </a:pathLst>
              </a:custGeom>
              <a:grpFill/>
              <a:ln w="5978" cap="flat">
                <a:noFill/>
                <a:prstDash val="solid"/>
                <a:miter/>
              </a:ln>
            </p:spPr>
            <p:txBody>
              <a:bodyPr rtlCol="0" anchor="ctr"/>
              <a:lstStyle/>
              <a:p>
                <a:endParaRPr lang="en-GB"/>
              </a:p>
            </p:txBody>
          </p:sp>
        </p:grpSp>
        <p:grpSp>
          <p:nvGrpSpPr>
            <p:cNvPr id="838" name="Graphic 3">
              <a:extLst>
                <a:ext uri="{FF2B5EF4-FFF2-40B4-BE49-F238E27FC236}">
                  <a16:creationId xmlns:a16="http://schemas.microsoft.com/office/drawing/2014/main" id="{A84919EC-255E-4B05-8CD1-5E8C689349D5}"/>
                </a:ext>
              </a:extLst>
            </p:cNvPr>
            <p:cNvGrpSpPr/>
            <p:nvPr/>
          </p:nvGrpSpPr>
          <p:grpSpPr>
            <a:xfrm>
              <a:off x="4817981" y="2043192"/>
              <a:ext cx="118654" cy="129925"/>
              <a:chOff x="4817981" y="2043192"/>
              <a:chExt cx="118654" cy="129925"/>
            </a:xfrm>
            <a:grpFill/>
          </p:grpSpPr>
          <p:sp>
            <p:nvSpPr>
              <p:cNvPr id="2883" name="Vrije vorm: vorm 2882">
                <a:extLst>
                  <a:ext uri="{FF2B5EF4-FFF2-40B4-BE49-F238E27FC236}">
                    <a16:creationId xmlns:a16="http://schemas.microsoft.com/office/drawing/2014/main" id="{D0D88AE4-F415-4593-91EF-13C05BE3DD92}"/>
                  </a:ext>
                </a:extLst>
              </p:cNvPr>
              <p:cNvSpPr/>
              <p:nvPr/>
            </p:nvSpPr>
            <p:spPr>
              <a:xfrm>
                <a:off x="4825684" y="2051069"/>
                <a:ext cx="103227" cy="114231"/>
              </a:xfrm>
              <a:custGeom>
                <a:avLst/>
                <a:gdLst>
                  <a:gd name="connsiteX0" fmla="*/ 103227 w 103227"/>
                  <a:gd name="connsiteY0" fmla="*/ 112198 h 114231"/>
                  <a:gd name="connsiteX1" fmla="*/ 101014 w 103227"/>
                  <a:gd name="connsiteY1" fmla="*/ 114232 h 114231"/>
                  <a:gd name="connsiteX2" fmla="*/ 0 w 103227"/>
                  <a:gd name="connsiteY2" fmla="*/ 2033 h 114231"/>
                  <a:gd name="connsiteX3" fmla="*/ 2273 w 103227"/>
                  <a:gd name="connsiteY3" fmla="*/ 0 h 114231"/>
                </a:gdLst>
                <a:ahLst/>
                <a:cxnLst>
                  <a:cxn ang="0">
                    <a:pos x="connsiteX0" y="connsiteY0"/>
                  </a:cxn>
                  <a:cxn ang="0">
                    <a:pos x="connsiteX1" y="connsiteY1"/>
                  </a:cxn>
                  <a:cxn ang="0">
                    <a:pos x="connsiteX2" y="connsiteY2"/>
                  </a:cxn>
                  <a:cxn ang="0">
                    <a:pos x="connsiteX3" y="connsiteY3"/>
                  </a:cxn>
                </a:cxnLst>
                <a:rect l="l" t="t" r="r" b="b"/>
                <a:pathLst>
                  <a:path w="103227" h="114231">
                    <a:moveTo>
                      <a:pt x="103227" y="112198"/>
                    </a:moveTo>
                    <a:lnTo>
                      <a:pt x="101014" y="114232"/>
                    </a:lnTo>
                    <a:lnTo>
                      <a:pt x="0" y="2033"/>
                    </a:lnTo>
                    <a:lnTo>
                      <a:pt x="2273" y="0"/>
                    </a:lnTo>
                    <a:close/>
                  </a:path>
                </a:pathLst>
              </a:custGeom>
              <a:grpFill/>
              <a:ln w="5978" cap="flat">
                <a:noFill/>
                <a:prstDash val="solid"/>
                <a:miter/>
              </a:ln>
            </p:spPr>
            <p:txBody>
              <a:bodyPr rtlCol="0" anchor="ctr"/>
              <a:lstStyle/>
              <a:p>
                <a:endParaRPr lang="en-GB"/>
              </a:p>
            </p:txBody>
          </p:sp>
          <p:sp>
            <p:nvSpPr>
              <p:cNvPr id="2884" name="Vrije vorm: vorm 2883">
                <a:extLst>
                  <a:ext uri="{FF2B5EF4-FFF2-40B4-BE49-F238E27FC236}">
                    <a16:creationId xmlns:a16="http://schemas.microsoft.com/office/drawing/2014/main" id="{C91EAA8B-08F9-4237-8A91-5264839A92DF}"/>
                  </a:ext>
                </a:extLst>
              </p:cNvPr>
              <p:cNvSpPr/>
              <p:nvPr/>
            </p:nvSpPr>
            <p:spPr>
              <a:xfrm>
                <a:off x="4817981" y="2043192"/>
                <a:ext cx="18277" cy="18444"/>
              </a:xfrm>
              <a:custGeom>
                <a:avLst/>
                <a:gdLst>
                  <a:gd name="connsiteX0" fmla="*/ 2381 w 18277"/>
                  <a:gd name="connsiteY0" fmla="*/ 15412 h 18444"/>
                  <a:gd name="connsiteX1" fmla="*/ 2978 w 18277"/>
                  <a:gd name="connsiteY1" fmla="*/ 2374 h 18444"/>
                  <a:gd name="connsiteX2" fmla="*/ 15897 w 18277"/>
                  <a:gd name="connsiteY2" fmla="*/ 3032 h 18444"/>
                  <a:gd name="connsiteX3" fmla="*/ 15299 w 18277"/>
                  <a:gd name="connsiteY3" fmla="*/ 16070 h 18444"/>
                  <a:gd name="connsiteX4" fmla="*/ 2381 w 18277"/>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44">
                    <a:moveTo>
                      <a:pt x="2381" y="15412"/>
                    </a:moveTo>
                    <a:cubicBezTo>
                      <a:pt x="-1029" y="11644"/>
                      <a:pt x="-730" y="5783"/>
                      <a:pt x="2978" y="2374"/>
                    </a:cubicBezTo>
                    <a:cubicBezTo>
                      <a:pt x="6746" y="-1035"/>
                      <a:pt x="12547" y="-736"/>
                      <a:pt x="15897" y="3032"/>
                    </a:cubicBezTo>
                    <a:cubicBezTo>
                      <a:pt x="19306" y="6800"/>
                      <a:pt x="19007" y="12661"/>
                      <a:pt x="15299" y="16070"/>
                    </a:cubicBezTo>
                    <a:cubicBezTo>
                      <a:pt x="11591" y="19479"/>
                      <a:pt x="5789" y="19180"/>
                      <a:pt x="2381" y="15412"/>
                    </a:cubicBezTo>
                    <a:close/>
                  </a:path>
                </a:pathLst>
              </a:custGeom>
              <a:grpFill/>
              <a:ln w="5978" cap="flat">
                <a:noFill/>
                <a:prstDash val="solid"/>
                <a:miter/>
              </a:ln>
            </p:spPr>
            <p:txBody>
              <a:bodyPr rtlCol="0" anchor="ctr"/>
              <a:lstStyle/>
              <a:p>
                <a:endParaRPr lang="en-GB"/>
              </a:p>
            </p:txBody>
          </p:sp>
          <p:sp>
            <p:nvSpPr>
              <p:cNvPr id="2885" name="Vrije vorm: vorm 2884">
                <a:extLst>
                  <a:ext uri="{FF2B5EF4-FFF2-40B4-BE49-F238E27FC236}">
                    <a16:creationId xmlns:a16="http://schemas.microsoft.com/office/drawing/2014/main" id="{49658F88-69D2-4AEB-8244-FA4C854A67AA}"/>
                  </a:ext>
                </a:extLst>
              </p:cNvPr>
              <p:cNvSpPr/>
              <p:nvPr/>
            </p:nvSpPr>
            <p:spPr>
              <a:xfrm>
                <a:off x="4918338" y="2154673"/>
                <a:ext cx="18298" cy="18444"/>
              </a:xfrm>
              <a:custGeom>
                <a:avLst/>
                <a:gdLst>
                  <a:gd name="connsiteX0" fmla="*/ 2381 w 18298"/>
                  <a:gd name="connsiteY0" fmla="*/ 15412 h 18444"/>
                  <a:gd name="connsiteX1" fmla="*/ 15299 w 18298"/>
                  <a:gd name="connsiteY1" fmla="*/ 16070 h 18444"/>
                  <a:gd name="connsiteX2" fmla="*/ 15897 w 18298"/>
                  <a:gd name="connsiteY2" fmla="*/ 3032 h 18444"/>
                  <a:gd name="connsiteX3" fmla="*/ 2978 w 18298"/>
                  <a:gd name="connsiteY3" fmla="*/ 2374 h 18444"/>
                  <a:gd name="connsiteX4" fmla="*/ 2381 w 18298"/>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44">
                    <a:moveTo>
                      <a:pt x="2381" y="15412"/>
                    </a:moveTo>
                    <a:cubicBezTo>
                      <a:pt x="5790" y="19180"/>
                      <a:pt x="11591" y="19479"/>
                      <a:pt x="15299" y="16070"/>
                    </a:cubicBezTo>
                    <a:cubicBezTo>
                      <a:pt x="19067" y="12661"/>
                      <a:pt x="19306" y="6860"/>
                      <a:pt x="15897" y="3032"/>
                    </a:cubicBezTo>
                    <a:cubicBezTo>
                      <a:pt x="12488" y="-736"/>
                      <a:pt x="6687" y="-1035"/>
                      <a:pt x="2978" y="2374"/>
                    </a:cubicBezTo>
                    <a:cubicBezTo>
                      <a:pt x="-730" y="5843"/>
                      <a:pt x="-1029" y="11645"/>
                      <a:pt x="2381" y="15412"/>
                    </a:cubicBezTo>
                    <a:close/>
                  </a:path>
                </a:pathLst>
              </a:custGeom>
              <a:grpFill/>
              <a:ln w="5978" cap="flat">
                <a:noFill/>
                <a:prstDash val="solid"/>
                <a:miter/>
              </a:ln>
            </p:spPr>
            <p:txBody>
              <a:bodyPr rtlCol="0" anchor="ctr"/>
              <a:lstStyle/>
              <a:p>
                <a:endParaRPr lang="en-GB"/>
              </a:p>
            </p:txBody>
          </p:sp>
        </p:grpSp>
        <p:grpSp>
          <p:nvGrpSpPr>
            <p:cNvPr id="839" name="Graphic 3">
              <a:extLst>
                <a:ext uri="{FF2B5EF4-FFF2-40B4-BE49-F238E27FC236}">
                  <a16:creationId xmlns:a16="http://schemas.microsoft.com/office/drawing/2014/main" id="{5932B163-B725-4D57-B2E5-75E7FEB3A11D}"/>
                </a:ext>
              </a:extLst>
            </p:cNvPr>
            <p:cNvGrpSpPr/>
            <p:nvPr/>
          </p:nvGrpSpPr>
          <p:grpSpPr>
            <a:xfrm>
              <a:off x="4749783" y="1855218"/>
              <a:ext cx="114639" cy="133787"/>
              <a:chOff x="4749783" y="1855218"/>
              <a:chExt cx="114639" cy="133787"/>
            </a:xfrm>
            <a:grpFill/>
          </p:grpSpPr>
          <p:sp>
            <p:nvSpPr>
              <p:cNvPr id="2880" name="Vrije vorm: vorm 2879">
                <a:extLst>
                  <a:ext uri="{FF2B5EF4-FFF2-40B4-BE49-F238E27FC236}">
                    <a16:creationId xmlns:a16="http://schemas.microsoft.com/office/drawing/2014/main" id="{6CAC82A4-52F7-4120-A794-FF14FE23DA47}"/>
                  </a:ext>
                </a:extLst>
              </p:cNvPr>
              <p:cNvSpPr/>
              <p:nvPr/>
            </p:nvSpPr>
            <p:spPr>
              <a:xfrm>
                <a:off x="4757445" y="1863095"/>
                <a:ext cx="99279" cy="117999"/>
              </a:xfrm>
              <a:custGeom>
                <a:avLst/>
                <a:gdLst>
                  <a:gd name="connsiteX0" fmla="*/ 99280 w 99279"/>
                  <a:gd name="connsiteY0" fmla="*/ 116086 h 117999"/>
                  <a:gd name="connsiteX1" fmla="*/ 96947 w 99279"/>
                  <a:gd name="connsiteY1" fmla="*/ 118000 h 117999"/>
                  <a:gd name="connsiteX2" fmla="*/ 0 w 99279"/>
                  <a:gd name="connsiteY2" fmla="*/ 1914 h 117999"/>
                  <a:gd name="connsiteX3" fmla="*/ 2333 w 99279"/>
                  <a:gd name="connsiteY3" fmla="*/ 0 h 117999"/>
                </a:gdLst>
                <a:ahLst/>
                <a:cxnLst>
                  <a:cxn ang="0">
                    <a:pos x="connsiteX0" y="connsiteY0"/>
                  </a:cxn>
                  <a:cxn ang="0">
                    <a:pos x="connsiteX1" y="connsiteY1"/>
                  </a:cxn>
                  <a:cxn ang="0">
                    <a:pos x="connsiteX2" y="connsiteY2"/>
                  </a:cxn>
                  <a:cxn ang="0">
                    <a:pos x="connsiteX3" y="connsiteY3"/>
                  </a:cxn>
                </a:cxnLst>
                <a:rect l="l" t="t" r="r" b="b"/>
                <a:pathLst>
                  <a:path w="99279" h="117999">
                    <a:moveTo>
                      <a:pt x="99280" y="116086"/>
                    </a:moveTo>
                    <a:lnTo>
                      <a:pt x="96947" y="118000"/>
                    </a:lnTo>
                    <a:lnTo>
                      <a:pt x="0" y="1914"/>
                    </a:lnTo>
                    <a:lnTo>
                      <a:pt x="2333" y="0"/>
                    </a:lnTo>
                    <a:close/>
                  </a:path>
                </a:pathLst>
              </a:custGeom>
              <a:grpFill/>
              <a:ln w="5978" cap="flat">
                <a:noFill/>
                <a:prstDash val="solid"/>
                <a:miter/>
              </a:ln>
            </p:spPr>
            <p:txBody>
              <a:bodyPr rtlCol="0" anchor="ctr"/>
              <a:lstStyle/>
              <a:p>
                <a:endParaRPr lang="en-GB"/>
              </a:p>
            </p:txBody>
          </p:sp>
          <p:sp>
            <p:nvSpPr>
              <p:cNvPr id="2881" name="Vrije vorm: vorm 2880">
                <a:extLst>
                  <a:ext uri="{FF2B5EF4-FFF2-40B4-BE49-F238E27FC236}">
                    <a16:creationId xmlns:a16="http://schemas.microsoft.com/office/drawing/2014/main" id="{D047CA0E-9DEA-42FF-8C76-2FBC6E4B1814}"/>
                  </a:ext>
                </a:extLst>
              </p:cNvPr>
              <p:cNvSpPr/>
              <p:nvPr/>
            </p:nvSpPr>
            <p:spPr>
              <a:xfrm>
                <a:off x="4749783" y="1855218"/>
                <a:ext cx="18349" cy="18409"/>
              </a:xfrm>
              <a:custGeom>
                <a:avLst/>
                <a:gdLst>
                  <a:gd name="connsiteX0" fmla="*/ 2160 w 18349"/>
                  <a:gd name="connsiteY0" fmla="*/ 15113 h 18409"/>
                  <a:gd name="connsiteX1" fmla="*/ 3296 w 18349"/>
                  <a:gd name="connsiteY1" fmla="*/ 2135 h 18409"/>
                  <a:gd name="connsiteX2" fmla="*/ 16214 w 18349"/>
                  <a:gd name="connsiteY2" fmla="*/ 3271 h 18409"/>
                  <a:gd name="connsiteX3" fmla="*/ 15078 w 18349"/>
                  <a:gd name="connsiteY3" fmla="*/ 16250 h 18409"/>
                  <a:gd name="connsiteX4" fmla="*/ 2160 w 18349"/>
                  <a:gd name="connsiteY4" fmla="*/ 1511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09">
                    <a:moveTo>
                      <a:pt x="2160" y="15113"/>
                    </a:moveTo>
                    <a:cubicBezTo>
                      <a:pt x="-1130" y="11226"/>
                      <a:pt x="-591" y="5424"/>
                      <a:pt x="3296" y="2135"/>
                    </a:cubicBezTo>
                    <a:cubicBezTo>
                      <a:pt x="7183" y="-1095"/>
                      <a:pt x="12925" y="-616"/>
                      <a:pt x="16214" y="3271"/>
                    </a:cubicBezTo>
                    <a:cubicBezTo>
                      <a:pt x="19444" y="7159"/>
                      <a:pt x="18966" y="12960"/>
                      <a:pt x="15078" y="16250"/>
                    </a:cubicBezTo>
                    <a:cubicBezTo>
                      <a:pt x="11190" y="19539"/>
                      <a:pt x="5389" y="19001"/>
                      <a:pt x="2160" y="15113"/>
                    </a:cubicBezTo>
                    <a:close/>
                  </a:path>
                </a:pathLst>
              </a:custGeom>
              <a:grpFill/>
              <a:ln w="5978" cap="flat">
                <a:noFill/>
                <a:prstDash val="solid"/>
                <a:miter/>
              </a:ln>
            </p:spPr>
            <p:txBody>
              <a:bodyPr rtlCol="0" anchor="ctr"/>
              <a:lstStyle/>
              <a:p>
                <a:endParaRPr lang="en-GB"/>
              </a:p>
            </p:txBody>
          </p:sp>
          <p:sp>
            <p:nvSpPr>
              <p:cNvPr id="2882" name="Vrije vorm: vorm 2881">
                <a:extLst>
                  <a:ext uri="{FF2B5EF4-FFF2-40B4-BE49-F238E27FC236}">
                    <a16:creationId xmlns:a16="http://schemas.microsoft.com/office/drawing/2014/main" id="{EECE94AB-DAD5-43A6-9AD5-647D3D68FCB5}"/>
                  </a:ext>
                </a:extLst>
              </p:cNvPr>
              <p:cNvSpPr/>
              <p:nvPr/>
            </p:nvSpPr>
            <p:spPr>
              <a:xfrm>
                <a:off x="4846097" y="1970621"/>
                <a:ext cx="18324" cy="18384"/>
              </a:xfrm>
              <a:custGeom>
                <a:avLst/>
                <a:gdLst>
                  <a:gd name="connsiteX0" fmla="*/ 2135 w 18324"/>
                  <a:gd name="connsiteY0" fmla="*/ 15078 h 18384"/>
                  <a:gd name="connsiteX1" fmla="*/ 15053 w 18324"/>
                  <a:gd name="connsiteY1" fmla="*/ 16274 h 18384"/>
                  <a:gd name="connsiteX2" fmla="*/ 16190 w 18324"/>
                  <a:gd name="connsiteY2" fmla="*/ 3296 h 18384"/>
                  <a:gd name="connsiteX3" fmla="*/ 3271 w 18324"/>
                  <a:gd name="connsiteY3" fmla="*/ 2160 h 18384"/>
                  <a:gd name="connsiteX4" fmla="*/ 2135 w 18324"/>
                  <a:gd name="connsiteY4" fmla="*/ 15078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2135" y="15078"/>
                    </a:moveTo>
                    <a:cubicBezTo>
                      <a:pt x="5424" y="18966"/>
                      <a:pt x="11166" y="19504"/>
                      <a:pt x="15053" y="16274"/>
                    </a:cubicBezTo>
                    <a:cubicBezTo>
                      <a:pt x="18941" y="12985"/>
                      <a:pt x="19419" y="7184"/>
                      <a:pt x="16190" y="3296"/>
                    </a:cubicBezTo>
                    <a:cubicBezTo>
                      <a:pt x="12900" y="-591"/>
                      <a:pt x="7159" y="-1130"/>
                      <a:pt x="3271" y="2160"/>
                    </a:cubicBezTo>
                    <a:cubicBezTo>
                      <a:pt x="-616" y="5389"/>
                      <a:pt x="-1094" y="11191"/>
                      <a:pt x="2135" y="15078"/>
                    </a:cubicBezTo>
                    <a:close/>
                  </a:path>
                </a:pathLst>
              </a:custGeom>
              <a:grpFill/>
              <a:ln w="5978" cap="flat">
                <a:noFill/>
                <a:prstDash val="solid"/>
                <a:miter/>
              </a:ln>
            </p:spPr>
            <p:txBody>
              <a:bodyPr rtlCol="0" anchor="ctr"/>
              <a:lstStyle/>
              <a:p>
                <a:endParaRPr lang="en-GB"/>
              </a:p>
            </p:txBody>
          </p:sp>
        </p:grpSp>
        <p:grpSp>
          <p:nvGrpSpPr>
            <p:cNvPr id="840" name="Graphic 3">
              <a:extLst>
                <a:ext uri="{FF2B5EF4-FFF2-40B4-BE49-F238E27FC236}">
                  <a16:creationId xmlns:a16="http://schemas.microsoft.com/office/drawing/2014/main" id="{577B8EDA-76D3-4419-8A2D-065483A197B4}"/>
                </a:ext>
              </a:extLst>
            </p:cNvPr>
            <p:cNvGrpSpPr/>
            <p:nvPr/>
          </p:nvGrpSpPr>
          <p:grpSpPr>
            <a:xfrm>
              <a:off x="4753714" y="1918443"/>
              <a:ext cx="183833" cy="254033"/>
              <a:chOff x="4753714" y="1918443"/>
              <a:chExt cx="183833" cy="254033"/>
            </a:xfrm>
            <a:grpFill/>
          </p:grpSpPr>
          <p:sp>
            <p:nvSpPr>
              <p:cNvPr id="2877" name="Vrije vorm: vorm 2876">
                <a:extLst>
                  <a:ext uri="{FF2B5EF4-FFF2-40B4-BE49-F238E27FC236}">
                    <a16:creationId xmlns:a16="http://schemas.microsoft.com/office/drawing/2014/main" id="{9AC974CC-656F-4D0D-B206-9CC4AF4614C3}"/>
                  </a:ext>
                </a:extLst>
              </p:cNvPr>
              <p:cNvSpPr/>
              <p:nvPr/>
            </p:nvSpPr>
            <p:spPr>
              <a:xfrm>
                <a:off x="4761332" y="1926431"/>
                <a:ext cx="168537" cy="238092"/>
              </a:xfrm>
              <a:custGeom>
                <a:avLst/>
                <a:gdLst>
                  <a:gd name="connsiteX0" fmla="*/ 168537 w 168537"/>
                  <a:gd name="connsiteY0" fmla="*/ 236298 h 238092"/>
                  <a:gd name="connsiteX1" fmla="*/ 166025 w 168537"/>
                  <a:gd name="connsiteY1" fmla="*/ 238093 h 238092"/>
                  <a:gd name="connsiteX2" fmla="*/ 0 w 168537"/>
                  <a:gd name="connsiteY2" fmla="*/ 1734 h 238092"/>
                  <a:gd name="connsiteX3" fmla="*/ 2512 w 168537"/>
                  <a:gd name="connsiteY3" fmla="*/ 0 h 238092"/>
                </a:gdLst>
                <a:ahLst/>
                <a:cxnLst>
                  <a:cxn ang="0">
                    <a:pos x="connsiteX0" y="connsiteY0"/>
                  </a:cxn>
                  <a:cxn ang="0">
                    <a:pos x="connsiteX1" y="connsiteY1"/>
                  </a:cxn>
                  <a:cxn ang="0">
                    <a:pos x="connsiteX2" y="connsiteY2"/>
                  </a:cxn>
                  <a:cxn ang="0">
                    <a:pos x="connsiteX3" y="connsiteY3"/>
                  </a:cxn>
                </a:cxnLst>
                <a:rect l="l" t="t" r="r" b="b"/>
                <a:pathLst>
                  <a:path w="168537" h="238092">
                    <a:moveTo>
                      <a:pt x="168537" y="236298"/>
                    </a:moveTo>
                    <a:lnTo>
                      <a:pt x="166025" y="238093"/>
                    </a:lnTo>
                    <a:lnTo>
                      <a:pt x="0" y="1734"/>
                    </a:lnTo>
                    <a:lnTo>
                      <a:pt x="2512" y="0"/>
                    </a:lnTo>
                    <a:close/>
                  </a:path>
                </a:pathLst>
              </a:custGeom>
              <a:grpFill/>
              <a:ln w="5978" cap="flat">
                <a:noFill/>
                <a:prstDash val="solid"/>
                <a:miter/>
              </a:ln>
            </p:spPr>
            <p:txBody>
              <a:bodyPr rtlCol="0" anchor="ctr"/>
              <a:lstStyle/>
              <a:p>
                <a:endParaRPr lang="en-GB"/>
              </a:p>
            </p:txBody>
          </p:sp>
          <p:sp>
            <p:nvSpPr>
              <p:cNvPr id="2878" name="Vrije vorm: vorm 2877">
                <a:extLst>
                  <a:ext uri="{FF2B5EF4-FFF2-40B4-BE49-F238E27FC236}">
                    <a16:creationId xmlns:a16="http://schemas.microsoft.com/office/drawing/2014/main" id="{A700E1EB-2718-4034-9F86-8B1906E1FF30}"/>
                  </a:ext>
                </a:extLst>
              </p:cNvPr>
              <p:cNvSpPr/>
              <p:nvPr/>
            </p:nvSpPr>
            <p:spPr>
              <a:xfrm>
                <a:off x="4919200" y="2154024"/>
                <a:ext cx="18346" cy="18452"/>
              </a:xfrm>
              <a:custGeom>
                <a:avLst/>
                <a:gdLst>
                  <a:gd name="connsiteX0" fmla="*/ 16649 w 18346"/>
                  <a:gd name="connsiteY0" fmla="*/ 3920 h 18452"/>
                  <a:gd name="connsiteX1" fmla="*/ 14496 w 18346"/>
                  <a:gd name="connsiteY1" fmla="*/ 16779 h 18452"/>
                  <a:gd name="connsiteX2" fmla="*/ 1698 w 18346"/>
                  <a:gd name="connsiteY2" fmla="*/ 14506 h 18452"/>
                  <a:gd name="connsiteX3" fmla="*/ 3851 w 18346"/>
                  <a:gd name="connsiteY3" fmla="*/ 1648 h 18452"/>
                  <a:gd name="connsiteX4" fmla="*/ 16649 w 18346"/>
                  <a:gd name="connsiteY4" fmla="*/ 3920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2">
                    <a:moveTo>
                      <a:pt x="16649" y="3920"/>
                    </a:moveTo>
                    <a:cubicBezTo>
                      <a:pt x="19580" y="8107"/>
                      <a:pt x="18623" y="13849"/>
                      <a:pt x="14496" y="16779"/>
                    </a:cubicBezTo>
                    <a:cubicBezTo>
                      <a:pt x="10369" y="19710"/>
                      <a:pt x="4628" y="18693"/>
                      <a:pt x="1698" y="14506"/>
                    </a:cubicBezTo>
                    <a:cubicBezTo>
                      <a:pt x="-1233" y="10320"/>
                      <a:pt x="-276" y="4578"/>
                      <a:pt x="3851" y="1648"/>
                    </a:cubicBezTo>
                    <a:cubicBezTo>
                      <a:pt x="7977" y="-1223"/>
                      <a:pt x="13719" y="-266"/>
                      <a:pt x="16649" y="3920"/>
                    </a:cubicBezTo>
                    <a:close/>
                  </a:path>
                </a:pathLst>
              </a:custGeom>
              <a:grpFill/>
              <a:ln w="5978" cap="flat">
                <a:noFill/>
                <a:prstDash val="solid"/>
                <a:miter/>
              </a:ln>
            </p:spPr>
            <p:txBody>
              <a:bodyPr rtlCol="0" anchor="ctr"/>
              <a:lstStyle/>
              <a:p>
                <a:endParaRPr lang="en-GB"/>
              </a:p>
            </p:txBody>
          </p:sp>
          <p:sp>
            <p:nvSpPr>
              <p:cNvPr id="2879" name="Vrije vorm: vorm 2878">
                <a:extLst>
                  <a:ext uri="{FF2B5EF4-FFF2-40B4-BE49-F238E27FC236}">
                    <a16:creationId xmlns:a16="http://schemas.microsoft.com/office/drawing/2014/main" id="{1D92C824-C17F-44A9-A8CB-6B4A211855BC}"/>
                  </a:ext>
                </a:extLst>
              </p:cNvPr>
              <p:cNvSpPr/>
              <p:nvPr/>
            </p:nvSpPr>
            <p:spPr>
              <a:xfrm>
                <a:off x="4753714" y="1918443"/>
                <a:ext cx="18304" cy="18426"/>
              </a:xfrm>
              <a:custGeom>
                <a:avLst/>
                <a:gdLst>
                  <a:gd name="connsiteX0" fmla="*/ 16649 w 18304"/>
                  <a:gd name="connsiteY0" fmla="*/ 3920 h 18426"/>
                  <a:gd name="connsiteX1" fmla="*/ 3851 w 18304"/>
                  <a:gd name="connsiteY1" fmla="*/ 1648 h 18426"/>
                  <a:gd name="connsiteX2" fmla="*/ 1697 w 18304"/>
                  <a:gd name="connsiteY2" fmla="*/ 14506 h 18426"/>
                  <a:gd name="connsiteX3" fmla="*/ 14496 w 18304"/>
                  <a:gd name="connsiteY3" fmla="*/ 16779 h 18426"/>
                  <a:gd name="connsiteX4" fmla="*/ 16649 w 18304"/>
                  <a:gd name="connsiteY4" fmla="*/ 392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6">
                    <a:moveTo>
                      <a:pt x="16649" y="3920"/>
                    </a:moveTo>
                    <a:cubicBezTo>
                      <a:pt x="13719" y="-266"/>
                      <a:pt x="7977" y="-1223"/>
                      <a:pt x="3851" y="1648"/>
                    </a:cubicBezTo>
                    <a:cubicBezTo>
                      <a:pt x="-276" y="4578"/>
                      <a:pt x="-1233" y="10320"/>
                      <a:pt x="1697" y="14506"/>
                    </a:cubicBezTo>
                    <a:cubicBezTo>
                      <a:pt x="4628" y="18693"/>
                      <a:pt x="10369" y="19650"/>
                      <a:pt x="14496" y="16779"/>
                    </a:cubicBezTo>
                    <a:cubicBezTo>
                      <a:pt x="18563" y="13849"/>
                      <a:pt x="19520" y="8107"/>
                      <a:pt x="16649" y="3920"/>
                    </a:cubicBezTo>
                    <a:close/>
                  </a:path>
                </a:pathLst>
              </a:custGeom>
              <a:grpFill/>
              <a:ln w="5978" cap="flat">
                <a:noFill/>
                <a:prstDash val="solid"/>
                <a:miter/>
              </a:ln>
            </p:spPr>
            <p:txBody>
              <a:bodyPr rtlCol="0" anchor="ctr"/>
              <a:lstStyle/>
              <a:p>
                <a:endParaRPr lang="en-GB"/>
              </a:p>
            </p:txBody>
          </p:sp>
        </p:grpSp>
        <p:grpSp>
          <p:nvGrpSpPr>
            <p:cNvPr id="841" name="Graphic 3">
              <a:extLst>
                <a:ext uri="{FF2B5EF4-FFF2-40B4-BE49-F238E27FC236}">
                  <a16:creationId xmlns:a16="http://schemas.microsoft.com/office/drawing/2014/main" id="{C74D6D12-3792-4EFB-855B-62E7780F82C6}"/>
                </a:ext>
              </a:extLst>
            </p:cNvPr>
            <p:cNvGrpSpPr/>
            <p:nvPr/>
          </p:nvGrpSpPr>
          <p:grpSpPr>
            <a:xfrm>
              <a:off x="4464496" y="1364472"/>
              <a:ext cx="540461" cy="743123"/>
              <a:chOff x="4464496" y="1364472"/>
              <a:chExt cx="540461" cy="743123"/>
            </a:xfrm>
            <a:grpFill/>
          </p:grpSpPr>
          <p:sp>
            <p:nvSpPr>
              <p:cNvPr id="2874" name="Vrije vorm: vorm 2873">
                <a:extLst>
                  <a:ext uri="{FF2B5EF4-FFF2-40B4-BE49-F238E27FC236}">
                    <a16:creationId xmlns:a16="http://schemas.microsoft.com/office/drawing/2014/main" id="{65FE3DA5-6CDC-4B8E-8607-A9D5CB69D747}"/>
                  </a:ext>
                </a:extLst>
              </p:cNvPr>
              <p:cNvSpPr/>
              <p:nvPr/>
            </p:nvSpPr>
            <p:spPr>
              <a:xfrm>
                <a:off x="4472164" y="1372376"/>
                <a:ext cx="525107" cy="727255"/>
              </a:xfrm>
              <a:custGeom>
                <a:avLst/>
                <a:gdLst>
                  <a:gd name="connsiteX0" fmla="*/ 525107 w 525107"/>
                  <a:gd name="connsiteY0" fmla="*/ 725521 h 727255"/>
                  <a:gd name="connsiteX1" fmla="*/ 522655 w 525107"/>
                  <a:gd name="connsiteY1" fmla="*/ 727256 h 727255"/>
                  <a:gd name="connsiteX2" fmla="*/ 0 w 525107"/>
                  <a:gd name="connsiteY2" fmla="*/ 1794 h 727255"/>
                  <a:gd name="connsiteX3" fmla="*/ 2512 w 525107"/>
                  <a:gd name="connsiteY3" fmla="*/ 0 h 727255"/>
                </a:gdLst>
                <a:ahLst/>
                <a:cxnLst>
                  <a:cxn ang="0">
                    <a:pos x="connsiteX0" y="connsiteY0"/>
                  </a:cxn>
                  <a:cxn ang="0">
                    <a:pos x="connsiteX1" y="connsiteY1"/>
                  </a:cxn>
                  <a:cxn ang="0">
                    <a:pos x="connsiteX2" y="connsiteY2"/>
                  </a:cxn>
                  <a:cxn ang="0">
                    <a:pos x="connsiteX3" y="connsiteY3"/>
                  </a:cxn>
                </a:cxnLst>
                <a:rect l="l" t="t" r="r" b="b"/>
                <a:pathLst>
                  <a:path w="525107" h="727255">
                    <a:moveTo>
                      <a:pt x="525107" y="725521"/>
                    </a:moveTo>
                    <a:lnTo>
                      <a:pt x="522655" y="727256"/>
                    </a:lnTo>
                    <a:lnTo>
                      <a:pt x="0" y="1794"/>
                    </a:lnTo>
                    <a:lnTo>
                      <a:pt x="2512" y="0"/>
                    </a:lnTo>
                    <a:close/>
                  </a:path>
                </a:pathLst>
              </a:custGeom>
              <a:grpFill/>
              <a:ln w="5978" cap="flat">
                <a:noFill/>
                <a:prstDash val="solid"/>
                <a:miter/>
              </a:ln>
            </p:spPr>
            <p:txBody>
              <a:bodyPr rtlCol="0" anchor="ctr"/>
              <a:lstStyle/>
              <a:p>
                <a:endParaRPr lang="en-GB"/>
              </a:p>
            </p:txBody>
          </p:sp>
          <p:sp>
            <p:nvSpPr>
              <p:cNvPr id="2875" name="Vrije vorm: vorm 2874">
                <a:extLst>
                  <a:ext uri="{FF2B5EF4-FFF2-40B4-BE49-F238E27FC236}">
                    <a16:creationId xmlns:a16="http://schemas.microsoft.com/office/drawing/2014/main" id="{086E8997-31E6-41A3-813B-BC47F1AD116E}"/>
                  </a:ext>
                </a:extLst>
              </p:cNvPr>
              <p:cNvSpPr/>
              <p:nvPr/>
            </p:nvSpPr>
            <p:spPr>
              <a:xfrm>
                <a:off x="4986596" y="2089182"/>
                <a:ext cx="18361" cy="18413"/>
              </a:xfrm>
              <a:custGeom>
                <a:avLst/>
                <a:gdLst>
                  <a:gd name="connsiteX0" fmla="*/ 16597 w 18361"/>
                  <a:gd name="connsiteY0" fmla="*/ 3811 h 18413"/>
                  <a:gd name="connsiteX1" fmla="*/ 14563 w 18361"/>
                  <a:gd name="connsiteY1" fmla="*/ 16670 h 18413"/>
                  <a:gd name="connsiteX2" fmla="*/ 1765 w 18361"/>
                  <a:gd name="connsiteY2" fmla="*/ 14576 h 18413"/>
                  <a:gd name="connsiteX3" fmla="*/ 3798 w 18361"/>
                  <a:gd name="connsiteY3" fmla="*/ 1718 h 18413"/>
                  <a:gd name="connsiteX4" fmla="*/ 16597 w 18361"/>
                  <a:gd name="connsiteY4" fmla="*/ 3811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3">
                    <a:moveTo>
                      <a:pt x="16597" y="3811"/>
                    </a:moveTo>
                    <a:cubicBezTo>
                      <a:pt x="19587" y="7938"/>
                      <a:pt x="18690" y="13679"/>
                      <a:pt x="14563" y="16670"/>
                    </a:cubicBezTo>
                    <a:cubicBezTo>
                      <a:pt x="10497" y="19660"/>
                      <a:pt x="4755" y="18703"/>
                      <a:pt x="1765" y="14576"/>
                    </a:cubicBezTo>
                    <a:cubicBezTo>
                      <a:pt x="-1226" y="10450"/>
                      <a:pt x="-329" y="4708"/>
                      <a:pt x="3798" y="1718"/>
                    </a:cubicBezTo>
                    <a:cubicBezTo>
                      <a:pt x="7865" y="-1213"/>
                      <a:pt x="13606" y="-316"/>
                      <a:pt x="16597" y="3811"/>
                    </a:cubicBezTo>
                    <a:close/>
                  </a:path>
                </a:pathLst>
              </a:custGeom>
              <a:grpFill/>
              <a:ln w="5978" cap="flat">
                <a:noFill/>
                <a:prstDash val="solid"/>
                <a:miter/>
              </a:ln>
            </p:spPr>
            <p:txBody>
              <a:bodyPr rtlCol="0" anchor="ctr"/>
              <a:lstStyle/>
              <a:p>
                <a:endParaRPr lang="en-GB"/>
              </a:p>
            </p:txBody>
          </p:sp>
          <p:sp>
            <p:nvSpPr>
              <p:cNvPr id="2876" name="Vrije vorm: vorm 2875">
                <a:extLst>
                  <a:ext uri="{FF2B5EF4-FFF2-40B4-BE49-F238E27FC236}">
                    <a16:creationId xmlns:a16="http://schemas.microsoft.com/office/drawing/2014/main" id="{2DBAFE86-262F-48FD-8E14-02F0A2CFEB58}"/>
                  </a:ext>
                </a:extLst>
              </p:cNvPr>
              <p:cNvSpPr/>
              <p:nvPr/>
            </p:nvSpPr>
            <p:spPr>
              <a:xfrm>
                <a:off x="4464496" y="1364472"/>
                <a:ext cx="18344" cy="18439"/>
              </a:xfrm>
              <a:custGeom>
                <a:avLst/>
                <a:gdLst>
                  <a:gd name="connsiteX0" fmla="*/ 16580 w 18344"/>
                  <a:gd name="connsiteY0" fmla="*/ 3837 h 18439"/>
                  <a:gd name="connsiteX1" fmla="*/ 3781 w 18344"/>
                  <a:gd name="connsiteY1" fmla="*/ 1744 h 18439"/>
                  <a:gd name="connsiteX2" fmla="*/ 1748 w 18344"/>
                  <a:gd name="connsiteY2" fmla="*/ 14602 h 18439"/>
                  <a:gd name="connsiteX3" fmla="*/ 14546 w 18344"/>
                  <a:gd name="connsiteY3" fmla="*/ 16696 h 18439"/>
                  <a:gd name="connsiteX4" fmla="*/ 16580 w 18344"/>
                  <a:gd name="connsiteY4" fmla="*/ 3837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39">
                    <a:moveTo>
                      <a:pt x="16580" y="3837"/>
                    </a:moveTo>
                    <a:cubicBezTo>
                      <a:pt x="13589" y="-290"/>
                      <a:pt x="7848" y="-1246"/>
                      <a:pt x="3781" y="1744"/>
                    </a:cubicBezTo>
                    <a:cubicBezTo>
                      <a:pt x="-286" y="4734"/>
                      <a:pt x="-1243" y="10476"/>
                      <a:pt x="1748" y="14602"/>
                    </a:cubicBezTo>
                    <a:cubicBezTo>
                      <a:pt x="4738" y="18729"/>
                      <a:pt x="10480" y="19686"/>
                      <a:pt x="14546" y="16696"/>
                    </a:cubicBezTo>
                    <a:cubicBezTo>
                      <a:pt x="18673" y="13705"/>
                      <a:pt x="19570" y="7964"/>
                      <a:pt x="16580" y="3837"/>
                    </a:cubicBezTo>
                    <a:close/>
                  </a:path>
                </a:pathLst>
              </a:custGeom>
              <a:grpFill/>
              <a:ln w="5978" cap="flat">
                <a:noFill/>
                <a:prstDash val="solid"/>
                <a:miter/>
              </a:ln>
            </p:spPr>
            <p:txBody>
              <a:bodyPr rtlCol="0" anchor="ctr"/>
              <a:lstStyle/>
              <a:p>
                <a:endParaRPr lang="en-GB"/>
              </a:p>
            </p:txBody>
          </p:sp>
        </p:grpSp>
        <p:grpSp>
          <p:nvGrpSpPr>
            <p:cNvPr id="842" name="Graphic 3">
              <a:extLst>
                <a:ext uri="{FF2B5EF4-FFF2-40B4-BE49-F238E27FC236}">
                  <a16:creationId xmlns:a16="http://schemas.microsoft.com/office/drawing/2014/main" id="{7819927A-0740-470A-AFB0-1D1C838A69E4}"/>
                </a:ext>
              </a:extLst>
            </p:cNvPr>
            <p:cNvGrpSpPr/>
            <p:nvPr/>
          </p:nvGrpSpPr>
          <p:grpSpPr>
            <a:xfrm>
              <a:off x="4770484" y="1936366"/>
              <a:ext cx="105397" cy="118882"/>
              <a:chOff x="4770484" y="1936366"/>
              <a:chExt cx="105397" cy="118882"/>
            </a:xfrm>
            <a:grpFill/>
          </p:grpSpPr>
          <p:sp>
            <p:nvSpPr>
              <p:cNvPr id="2871" name="Vrije vorm: vorm 2870">
                <a:extLst>
                  <a:ext uri="{FF2B5EF4-FFF2-40B4-BE49-F238E27FC236}">
                    <a16:creationId xmlns:a16="http://schemas.microsoft.com/office/drawing/2014/main" id="{94BCEC73-C4A3-4B4A-B2A9-54730B53C30B}"/>
                  </a:ext>
                </a:extLst>
              </p:cNvPr>
              <p:cNvSpPr/>
              <p:nvPr/>
            </p:nvSpPr>
            <p:spPr>
              <a:xfrm>
                <a:off x="4778197" y="1944253"/>
                <a:ext cx="89950" cy="103107"/>
              </a:xfrm>
              <a:custGeom>
                <a:avLst/>
                <a:gdLst>
                  <a:gd name="connsiteX0" fmla="*/ 89950 w 89950"/>
                  <a:gd name="connsiteY0" fmla="*/ 101134 h 103107"/>
                  <a:gd name="connsiteX1" fmla="*/ 87678 w 89950"/>
                  <a:gd name="connsiteY1" fmla="*/ 103108 h 103107"/>
                  <a:gd name="connsiteX2" fmla="*/ 0 w 89950"/>
                  <a:gd name="connsiteY2" fmla="*/ 1974 h 103107"/>
                  <a:gd name="connsiteX3" fmla="*/ 2273 w 89950"/>
                  <a:gd name="connsiteY3" fmla="*/ 0 h 103107"/>
                </a:gdLst>
                <a:ahLst/>
                <a:cxnLst>
                  <a:cxn ang="0">
                    <a:pos x="connsiteX0" y="connsiteY0"/>
                  </a:cxn>
                  <a:cxn ang="0">
                    <a:pos x="connsiteX1" y="connsiteY1"/>
                  </a:cxn>
                  <a:cxn ang="0">
                    <a:pos x="connsiteX2" y="connsiteY2"/>
                  </a:cxn>
                  <a:cxn ang="0">
                    <a:pos x="connsiteX3" y="connsiteY3"/>
                  </a:cxn>
                </a:cxnLst>
                <a:rect l="l" t="t" r="r" b="b"/>
                <a:pathLst>
                  <a:path w="89950" h="103107">
                    <a:moveTo>
                      <a:pt x="89950" y="101134"/>
                    </a:moveTo>
                    <a:lnTo>
                      <a:pt x="87678" y="103108"/>
                    </a:lnTo>
                    <a:lnTo>
                      <a:pt x="0" y="1974"/>
                    </a:lnTo>
                    <a:lnTo>
                      <a:pt x="2273" y="0"/>
                    </a:lnTo>
                    <a:close/>
                  </a:path>
                </a:pathLst>
              </a:custGeom>
              <a:grpFill/>
              <a:ln w="5978" cap="flat">
                <a:noFill/>
                <a:prstDash val="solid"/>
                <a:miter/>
              </a:ln>
            </p:spPr>
            <p:txBody>
              <a:bodyPr rtlCol="0" anchor="ctr"/>
              <a:lstStyle/>
              <a:p>
                <a:endParaRPr lang="en-GB"/>
              </a:p>
            </p:txBody>
          </p:sp>
          <p:sp>
            <p:nvSpPr>
              <p:cNvPr id="2872" name="Vrije vorm: vorm 2871">
                <a:extLst>
                  <a:ext uri="{FF2B5EF4-FFF2-40B4-BE49-F238E27FC236}">
                    <a16:creationId xmlns:a16="http://schemas.microsoft.com/office/drawing/2014/main" id="{453BA271-5B84-46A9-8827-E930CFE65858}"/>
                  </a:ext>
                </a:extLst>
              </p:cNvPr>
              <p:cNvSpPr/>
              <p:nvPr/>
            </p:nvSpPr>
            <p:spPr>
              <a:xfrm>
                <a:off x="4770484" y="1936366"/>
                <a:ext cx="18297" cy="18405"/>
              </a:xfrm>
              <a:custGeom>
                <a:avLst/>
                <a:gdLst>
                  <a:gd name="connsiteX0" fmla="*/ 2271 w 18297"/>
                  <a:gd name="connsiteY0" fmla="*/ 15244 h 18405"/>
                  <a:gd name="connsiteX1" fmla="*/ 3108 w 18297"/>
                  <a:gd name="connsiteY1" fmla="*/ 2265 h 18405"/>
                  <a:gd name="connsiteX2" fmla="*/ 16027 w 18297"/>
                  <a:gd name="connsiteY2" fmla="*/ 3162 h 18405"/>
                  <a:gd name="connsiteX3" fmla="*/ 15189 w 18297"/>
                  <a:gd name="connsiteY3" fmla="*/ 16141 h 18405"/>
                  <a:gd name="connsiteX4" fmla="*/ 2271 w 18297"/>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2271" y="15244"/>
                    </a:moveTo>
                    <a:cubicBezTo>
                      <a:pt x="-1078" y="11416"/>
                      <a:pt x="-660" y="5555"/>
                      <a:pt x="3108" y="2265"/>
                    </a:cubicBezTo>
                    <a:cubicBezTo>
                      <a:pt x="6936" y="-1084"/>
                      <a:pt x="12737" y="-665"/>
                      <a:pt x="16027" y="3162"/>
                    </a:cubicBezTo>
                    <a:cubicBezTo>
                      <a:pt x="19376" y="6990"/>
                      <a:pt x="18957" y="12851"/>
                      <a:pt x="15189" y="16141"/>
                    </a:cubicBezTo>
                    <a:cubicBezTo>
                      <a:pt x="11362" y="19490"/>
                      <a:pt x="5560" y="19071"/>
                      <a:pt x="2271" y="15244"/>
                    </a:cubicBezTo>
                    <a:close/>
                  </a:path>
                </a:pathLst>
              </a:custGeom>
              <a:grpFill/>
              <a:ln w="5978" cap="flat">
                <a:noFill/>
                <a:prstDash val="solid"/>
                <a:miter/>
              </a:ln>
            </p:spPr>
            <p:txBody>
              <a:bodyPr rtlCol="0" anchor="ctr"/>
              <a:lstStyle/>
              <a:p>
                <a:endParaRPr lang="en-GB"/>
              </a:p>
            </p:txBody>
          </p:sp>
          <p:sp>
            <p:nvSpPr>
              <p:cNvPr id="2873" name="Vrije vorm: vorm 2872">
                <a:extLst>
                  <a:ext uri="{FF2B5EF4-FFF2-40B4-BE49-F238E27FC236}">
                    <a16:creationId xmlns:a16="http://schemas.microsoft.com/office/drawing/2014/main" id="{AEDC13A8-7CBC-4F42-9725-3C8234B0379B}"/>
                  </a:ext>
                </a:extLst>
              </p:cNvPr>
              <p:cNvSpPr/>
              <p:nvPr/>
            </p:nvSpPr>
            <p:spPr>
              <a:xfrm>
                <a:off x="4857543" y="2036842"/>
                <a:ext cx="18338" cy="18405"/>
              </a:xfrm>
              <a:custGeom>
                <a:avLst/>
                <a:gdLst>
                  <a:gd name="connsiteX0" fmla="*/ 2291 w 18338"/>
                  <a:gd name="connsiteY0" fmla="*/ 15244 h 18405"/>
                  <a:gd name="connsiteX1" fmla="*/ 15210 w 18338"/>
                  <a:gd name="connsiteY1" fmla="*/ 16141 h 18405"/>
                  <a:gd name="connsiteX2" fmla="*/ 16047 w 18338"/>
                  <a:gd name="connsiteY2" fmla="*/ 3162 h 18405"/>
                  <a:gd name="connsiteX3" fmla="*/ 3129 w 18338"/>
                  <a:gd name="connsiteY3" fmla="*/ 2265 h 18405"/>
                  <a:gd name="connsiteX4" fmla="*/ 2291 w 18338"/>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5">
                    <a:moveTo>
                      <a:pt x="2291" y="15244"/>
                    </a:moveTo>
                    <a:cubicBezTo>
                      <a:pt x="5641" y="19071"/>
                      <a:pt x="11442" y="19490"/>
                      <a:pt x="15210" y="16141"/>
                    </a:cubicBezTo>
                    <a:cubicBezTo>
                      <a:pt x="19037" y="12791"/>
                      <a:pt x="19396" y="6990"/>
                      <a:pt x="16047" y="3162"/>
                    </a:cubicBezTo>
                    <a:cubicBezTo>
                      <a:pt x="12698" y="-665"/>
                      <a:pt x="6897" y="-1084"/>
                      <a:pt x="3129" y="2265"/>
                    </a:cubicBezTo>
                    <a:cubicBezTo>
                      <a:pt x="-699" y="5555"/>
                      <a:pt x="-1058" y="11356"/>
                      <a:pt x="2291" y="15244"/>
                    </a:cubicBezTo>
                    <a:close/>
                  </a:path>
                </a:pathLst>
              </a:custGeom>
              <a:grpFill/>
              <a:ln w="5978" cap="flat">
                <a:noFill/>
                <a:prstDash val="solid"/>
                <a:miter/>
              </a:ln>
            </p:spPr>
            <p:txBody>
              <a:bodyPr rtlCol="0" anchor="ctr"/>
              <a:lstStyle/>
              <a:p>
                <a:endParaRPr lang="en-GB"/>
              </a:p>
            </p:txBody>
          </p:sp>
        </p:grpSp>
        <p:grpSp>
          <p:nvGrpSpPr>
            <p:cNvPr id="843" name="Graphic 3">
              <a:extLst>
                <a:ext uri="{FF2B5EF4-FFF2-40B4-BE49-F238E27FC236}">
                  <a16:creationId xmlns:a16="http://schemas.microsoft.com/office/drawing/2014/main" id="{F19791AE-9F79-435F-863C-67750E557CD1}"/>
                </a:ext>
              </a:extLst>
            </p:cNvPr>
            <p:cNvGrpSpPr/>
            <p:nvPr/>
          </p:nvGrpSpPr>
          <p:grpSpPr>
            <a:xfrm>
              <a:off x="5923094" y="5104102"/>
              <a:ext cx="78704" cy="564529"/>
              <a:chOff x="5923094" y="5104102"/>
              <a:chExt cx="78704" cy="564529"/>
            </a:xfrm>
            <a:grpFill/>
          </p:grpSpPr>
          <p:sp>
            <p:nvSpPr>
              <p:cNvPr id="2868" name="Vrije vorm: vorm 2867">
                <a:extLst>
                  <a:ext uri="{FF2B5EF4-FFF2-40B4-BE49-F238E27FC236}">
                    <a16:creationId xmlns:a16="http://schemas.microsoft.com/office/drawing/2014/main" id="{CBD94947-6597-422F-924D-ACAFB65FE095}"/>
                  </a:ext>
                </a:extLst>
              </p:cNvPr>
              <p:cNvSpPr/>
              <p:nvPr/>
            </p:nvSpPr>
            <p:spPr>
              <a:xfrm>
                <a:off x="5930683" y="5112719"/>
                <a:ext cx="63515" cy="547355"/>
              </a:xfrm>
              <a:custGeom>
                <a:avLst/>
                <a:gdLst>
                  <a:gd name="connsiteX0" fmla="*/ 63515 w 63515"/>
                  <a:gd name="connsiteY0" fmla="*/ 299 h 547355"/>
                  <a:gd name="connsiteX1" fmla="*/ 2990 w 63515"/>
                  <a:gd name="connsiteY1" fmla="*/ 547356 h 547355"/>
                  <a:gd name="connsiteX2" fmla="*/ 0 w 63515"/>
                  <a:gd name="connsiteY2" fmla="*/ 546997 h 547355"/>
                  <a:gd name="connsiteX3" fmla="*/ 60465 w 63515"/>
                  <a:gd name="connsiteY3" fmla="*/ 0 h 547355"/>
                </a:gdLst>
                <a:ahLst/>
                <a:cxnLst>
                  <a:cxn ang="0">
                    <a:pos x="connsiteX0" y="connsiteY0"/>
                  </a:cxn>
                  <a:cxn ang="0">
                    <a:pos x="connsiteX1" y="connsiteY1"/>
                  </a:cxn>
                  <a:cxn ang="0">
                    <a:pos x="connsiteX2" y="connsiteY2"/>
                  </a:cxn>
                  <a:cxn ang="0">
                    <a:pos x="connsiteX3" y="connsiteY3"/>
                  </a:cxn>
                </a:cxnLst>
                <a:rect l="l" t="t" r="r" b="b"/>
                <a:pathLst>
                  <a:path w="63515" h="547355">
                    <a:moveTo>
                      <a:pt x="63515" y="299"/>
                    </a:moveTo>
                    <a:lnTo>
                      <a:pt x="2990" y="547356"/>
                    </a:lnTo>
                    <a:lnTo>
                      <a:pt x="0" y="546997"/>
                    </a:lnTo>
                    <a:lnTo>
                      <a:pt x="60465" y="0"/>
                    </a:lnTo>
                    <a:close/>
                  </a:path>
                </a:pathLst>
              </a:custGeom>
              <a:grpFill/>
              <a:ln w="5978" cap="flat">
                <a:noFill/>
                <a:prstDash val="solid"/>
                <a:miter/>
              </a:ln>
            </p:spPr>
            <p:txBody>
              <a:bodyPr rtlCol="0" anchor="ctr"/>
              <a:lstStyle/>
              <a:p>
                <a:endParaRPr lang="en-GB"/>
              </a:p>
            </p:txBody>
          </p:sp>
          <p:sp>
            <p:nvSpPr>
              <p:cNvPr id="2869" name="Vrije vorm: vorm 2868">
                <a:extLst>
                  <a:ext uri="{FF2B5EF4-FFF2-40B4-BE49-F238E27FC236}">
                    <a16:creationId xmlns:a16="http://schemas.microsoft.com/office/drawing/2014/main" id="{D41D59CE-71B9-43D4-ABA9-0E854CEC2665}"/>
                  </a:ext>
                </a:extLst>
              </p:cNvPr>
              <p:cNvSpPr/>
              <p:nvPr/>
            </p:nvSpPr>
            <p:spPr>
              <a:xfrm>
                <a:off x="5983488" y="5104102"/>
                <a:ext cx="18309" cy="18431"/>
              </a:xfrm>
              <a:custGeom>
                <a:avLst/>
                <a:gdLst>
                  <a:gd name="connsiteX0" fmla="*/ 64 w 18309"/>
                  <a:gd name="connsiteY0" fmla="*/ 8139 h 18431"/>
                  <a:gd name="connsiteX1" fmla="*/ 10172 w 18309"/>
                  <a:gd name="connsiteY1" fmla="*/ 65 h 18431"/>
                  <a:gd name="connsiteX2" fmla="*/ 18246 w 18309"/>
                  <a:gd name="connsiteY2" fmla="*/ 10292 h 18431"/>
                  <a:gd name="connsiteX3" fmla="*/ 8138 w 18309"/>
                  <a:gd name="connsiteY3" fmla="*/ 18366 h 18431"/>
                  <a:gd name="connsiteX4" fmla="*/ 64 w 18309"/>
                  <a:gd name="connsiteY4" fmla="*/ 813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1">
                    <a:moveTo>
                      <a:pt x="64" y="8139"/>
                    </a:moveTo>
                    <a:cubicBezTo>
                      <a:pt x="602" y="3055"/>
                      <a:pt x="5148" y="-533"/>
                      <a:pt x="10172" y="65"/>
                    </a:cubicBezTo>
                    <a:cubicBezTo>
                      <a:pt x="15195" y="663"/>
                      <a:pt x="18843" y="5209"/>
                      <a:pt x="18246" y="10292"/>
                    </a:cubicBezTo>
                    <a:cubicBezTo>
                      <a:pt x="17707" y="15376"/>
                      <a:pt x="13162" y="18964"/>
                      <a:pt x="8138" y="18366"/>
                    </a:cubicBezTo>
                    <a:cubicBezTo>
                      <a:pt x="3114" y="17768"/>
                      <a:pt x="-534" y="13223"/>
                      <a:pt x="64" y="8139"/>
                    </a:cubicBezTo>
                    <a:close/>
                  </a:path>
                </a:pathLst>
              </a:custGeom>
              <a:grpFill/>
              <a:ln w="5978" cap="flat">
                <a:noFill/>
                <a:prstDash val="solid"/>
                <a:miter/>
              </a:ln>
            </p:spPr>
            <p:txBody>
              <a:bodyPr rtlCol="0" anchor="ctr"/>
              <a:lstStyle/>
              <a:p>
                <a:endParaRPr lang="en-GB"/>
              </a:p>
            </p:txBody>
          </p:sp>
          <p:sp>
            <p:nvSpPr>
              <p:cNvPr id="2870" name="Vrije vorm: vorm 2869">
                <a:extLst>
                  <a:ext uri="{FF2B5EF4-FFF2-40B4-BE49-F238E27FC236}">
                    <a16:creationId xmlns:a16="http://schemas.microsoft.com/office/drawing/2014/main" id="{10DCC119-69BB-4D2D-A4F8-415EB443017F}"/>
                  </a:ext>
                </a:extLst>
              </p:cNvPr>
              <p:cNvSpPr/>
              <p:nvPr/>
            </p:nvSpPr>
            <p:spPr>
              <a:xfrm>
                <a:off x="5923094" y="5650202"/>
                <a:ext cx="18288" cy="18429"/>
              </a:xfrm>
              <a:custGeom>
                <a:avLst/>
                <a:gdLst>
                  <a:gd name="connsiteX0" fmla="*/ 53 w 18288"/>
                  <a:gd name="connsiteY0" fmla="*/ 8138 h 18429"/>
                  <a:gd name="connsiteX1" fmla="*/ 8128 w 18288"/>
                  <a:gd name="connsiteY1" fmla="*/ 18365 h 18429"/>
                  <a:gd name="connsiteX2" fmla="*/ 18235 w 18288"/>
                  <a:gd name="connsiteY2" fmla="*/ 10291 h 18429"/>
                  <a:gd name="connsiteX3" fmla="*/ 10161 w 18288"/>
                  <a:gd name="connsiteY3" fmla="*/ 64 h 18429"/>
                  <a:gd name="connsiteX4" fmla="*/ 53 w 18288"/>
                  <a:gd name="connsiteY4" fmla="*/ 813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9">
                    <a:moveTo>
                      <a:pt x="53" y="8138"/>
                    </a:moveTo>
                    <a:cubicBezTo>
                      <a:pt x="-485" y="13222"/>
                      <a:pt x="3104" y="17767"/>
                      <a:pt x="8128" y="18365"/>
                    </a:cubicBezTo>
                    <a:cubicBezTo>
                      <a:pt x="13151" y="18963"/>
                      <a:pt x="17697" y="15315"/>
                      <a:pt x="18235" y="10291"/>
                    </a:cubicBezTo>
                    <a:cubicBezTo>
                      <a:pt x="18773" y="5208"/>
                      <a:pt x="15185" y="662"/>
                      <a:pt x="10161" y="64"/>
                    </a:cubicBezTo>
                    <a:cubicBezTo>
                      <a:pt x="5137" y="-534"/>
                      <a:pt x="592" y="3114"/>
                      <a:pt x="53" y="8138"/>
                    </a:cubicBezTo>
                    <a:close/>
                  </a:path>
                </a:pathLst>
              </a:custGeom>
              <a:grpFill/>
              <a:ln w="5978" cap="flat">
                <a:noFill/>
                <a:prstDash val="solid"/>
                <a:miter/>
              </a:ln>
            </p:spPr>
            <p:txBody>
              <a:bodyPr rtlCol="0" anchor="ctr"/>
              <a:lstStyle/>
              <a:p>
                <a:endParaRPr lang="en-GB"/>
              </a:p>
            </p:txBody>
          </p:sp>
        </p:grpSp>
        <p:grpSp>
          <p:nvGrpSpPr>
            <p:cNvPr id="844" name="Graphic 3">
              <a:extLst>
                <a:ext uri="{FF2B5EF4-FFF2-40B4-BE49-F238E27FC236}">
                  <a16:creationId xmlns:a16="http://schemas.microsoft.com/office/drawing/2014/main" id="{1E896F5D-0311-4CDF-B2EA-EA37E381858B}"/>
                </a:ext>
              </a:extLst>
            </p:cNvPr>
            <p:cNvGrpSpPr/>
            <p:nvPr/>
          </p:nvGrpSpPr>
          <p:grpSpPr>
            <a:xfrm>
              <a:off x="5935696" y="5275977"/>
              <a:ext cx="25803" cy="154454"/>
              <a:chOff x="5935696" y="5275977"/>
              <a:chExt cx="25803" cy="154454"/>
            </a:xfrm>
            <a:grpFill/>
          </p:grpSpPr>
          <p:sp>
            <p:nvSpPr>
              <p:cNvPr id="2865" name="Vrije vorm: vorm 2864">
                <a:extLst>
                  <a:ext uri="{FF2B5EF4-FFF2-40B4-BE49-F238E27FC236}">
                    <a16:creationId xmlns:a16="http://schemas.microsoft.com/office/drawing/2014/main" id="{71F9D3A3-18D7-472E-8F99-EDBD7231C619}"/>
                  </a:ext>
                </a:extLst>
              </p:cNvPr>
              <p:cNvSpPr/>
              <p:nvPr/>
            </p:nvSpPr>
            <p:spPr>
              <a:xfrm>
                <a:off x="5943302" y="5284606"/>
                <a:ext cx="10585" cy="137137"/>
              </a:xfrm>
              <a:custGeom>
                <a:avLst/>
                <a:gdLst>
                  <a:gd name="connsiteX0" fmla="*/ 10586 w 10585"/>
                  <a:gd name="connsiteY0" fmla="*/ 179 h 137137"/>
                  <a:gd name="connsiteX1" fmla="*/ 3050 w 10585"/>
                  <a:gd name="connsiteY1" fmla="*/ 137138 h 137137"/>
                  <a:gd name="connsiteX2" fmla="*/ 0 w 10585"/>
                  <a:gd name="connsiteY2" fmla="*/ 136958 h 137137"/>
                  <a:gd name="connsiteX3" fmla="*/ 7536 w 10585"/>
                  <a:gd name="connsiteY3" fmla="*/ 0 h 137137"/>
                </a:gdLst>
                <a:ahLst/>
                <a:cxnLst>
                  <a:cxn ang="0">
                    <a:pos x="connsiteX0" y="connsiteY0"/>
                  </a:cxn>
                  <a:cxn ang="0">
                    <a:pos x="connsiteX1" y="connsiteY1"/>
                  </a:cxn>
                  <a:cxn ang="0">
                    <a:pos x="connsiteX2" y="connsiteY2"/>
                  </a:cxn>
                  <a:cxn ang="0">
                    <a:pos x="connsiteX3" y="connsiteY3"/>
                  </a:cxn>
                </a:cxnLst>
                <a:rect l="l" t="t" r="r" b="b"/>
                <a:pathLst>
                  <a:path w="10585" h="137137">
                    <a:moveTo>
                      <a:pt x="10586" y="179"/>
                    </a:moveTo>
                    <a:lnTo>
                      <a:pt x="3050" y="137138"/>
                    </a:lnTo>
                    <a:lnTo>
                      <a:pt x="0" y="136958"/>
                    </a:lnTo>
                    <a:lnTo>
                      <a:pt x="7536" y="0"/>
                    </a:lnTo>
                    <a:close/>
                  </a:path>
                </a:pathLst>
              </a:custGeom>
              <a:grpFill/>
              <a:ln w="5978" cap="flat">
                <a:noFill/>
                <a:prstDash val="solid"/>
                <a:miter/>
              </a:ln>
            </p:spPr>
            <p:txBody>
              <a:bodyPr rtlCol="0" anchor="ctr"/>
              <a:lstStyle/>
              <a:p>
                <a:endParaRPr lang="en-GB"/>
              </a:p>
            </p:txBody>
          </p:sp>
          <p:sp>
            <p:nvSpPr>
              <p:cNvPr id="2866" name="Vrije vorm: vorm 2865">
                <a:extLst>
                  <a:ext uri="{FF2B5EF4-FFF2-40B4-BE49-F238E27FC236}">
                    <a16:creationId xmlns:a16="http://schemas.microsoft.com/office/drawing/2014/main" id="{7DDE3B8B-3B42-4D90-BD16-F98B54D7C328}"/>
                  </a:ext>
                </a:extLst>
              </p:cNvPr>
              <p:cNvSpPr/>
              <p:nvPr/>
            </p:nvSpPr>
            <p:spPr>
              <a:xfrm>
                <a:off x="5935696" y="5411979"/>
                <a:ext cx="18322" cy="18453"/>
              </a:xfrm>
              <a:custGeom>
                <a:avLst/>
                <a:gdLst>
                  <a:gd name="connsiteX0" fmla="*/ 18312 w 18322"/>
                  <a:gd name="connsiteY0" fmla="*/ 9765 h 18453"/>
                  <a:gd name="connsiteX1" fmla="*/ 8682 w 18322"/>
                  <a:gd name="connsiteY1" fmla="*/ 18437 h 18453"/>
                  <a:gd name="connsiteX2" fmla="*/ 11 w 18322"/>
                  <a:gd name="connsiteY2" fmla="*/ 8688 h 18453"/>
                  <a:gd name="connsiteX3" fmla="*/ 9640 w 18322"/>
                  <a:gd name="connsiteY3" fmla="*/ 16 h 18453"/>
                  <a:gd name="connsiteX4" fmla="*/ 18312 w 18322"/>
                  <a:gd name="connsiteY4" fmla="*/ 976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3">
                    <a:moveTo>
                      <a:pt x="18312" y="9765"/>
                    </a:moveTo>
                    <a:cubicBezTo>
                      <a:pt x="18013" y="14848"/>
                      <a:pt x="13706" y="18736"/>
                      <a:pt x="8682" y="18437"/>
                    </a:cubicBezTo>
                    <a:cubicBezTo>
                      <a:pt x="3599" y="18138"/>
                      <a:pt x="-229" y="13772"/>
                      <a:pt x="11" y="8688"/>
                    </a:cubicBezTo>
                    <a:cubicBezTo>
                      <a:pt x="310" y="3604"/>
                      <a:pt x="4616" y="-283"/>
                      <a:pt x="9640" y="16"/>
                    </a:cubicBezTo>
                    <a:cubicBezTo>
                      <a:pt x="14663" y="315"/>
                      <a:pt x="18551" y="4681"/>
                      <a:pt x="18312" y="9765"/>
                    </a:cubicBezTo>
                    <a:close/>
                  </a:path>
                </a:pathLst>
              </a:custGeom>
              <a:grpFill/>
              <a:ln w="5978" cap="flat">
                <a:noFill/>
                <a:prstDash val="solid"/>
                <a:miter/>
              </a:ln>
            </p:spPr>
            <p:txBody>
              <a:bodyPr rtlCol="0" anchor="ctr"/>
              <a:lstStyle/>
              <a:p>
                <a:endParaRPr lang="en-GB"/>
              </a:p>
            </p:txBody>
          </p:sp>
          <p:sp>
            <p:nvSpPr>
              <p:cNvPr id="2867" name="Vrije vorm: vorm 2866">
                <a:extLst>
                  <a:ext uri="{FF2B5EF4-FFF2-40B4-BE49-F238E27FC236}">
                    <a16:creationId xmlns:a16="http://schemas.microsoft.com/office/drawing/2014/main" id="{323E767E-1CDB-410F-823A-E5D2199B074F}"/>
                  </a:ext>
                </a:extLst>
              </p:cNvPr>
              <p:cNvSpPr/>
              <p:nvPr/>
            </p:nvSpPr>
            <p:spPr>
              <a:xfrm>
                <a:off x="5943166" y="5275977"/>
                <a:ext cx="18333" cy="18447"/>
              </a:xfrm>
              <a:custGeom>
                <a:avLst/>
                <a:gdLst>
                  <a:gd name="connsiteX0" fmla="*/ 18317 w 18333"/>
                  <a:gd name="connsiteY0" fmla="*/ 9765 h 18447"/>
                  <a:gd name="connsiteX1" fmla="*/ 9645 w 18333"/>
                  <a:gd name="connsiteY1" fmla="*/ 16 h 18447"/>
                  <a:gd name="connsiteX2" fmla="*/ 16 w 18333"/>
                  <a:gd name="connsiteY2" fmla="*/ 8688 h 18447"/>
                  <a:gd name="connsiteX3" fmla="*/ 8688 w 18333"/>
                  <a:gd name="connsiteY3" fmla="*/ 18437 h 18447"/>
                  <a:gd name="connsiteX4" fmla="*/ 18317 w 18333"/>
                  <a:gd name="connsiteY4" fmla="*/ 9765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7">
                    <a:moveTo>
                      <a:pt x="18317" y="9765"/>
                    </a:moveTo>
                    <a:cubicBezTo>
                      <a:pt x="18616" y="4681"/>
                      <a:pt x="14729" y="315"/>
                      <a:pt x="9645" y="16"/>
                    </a:cubicBezTo>
                    <a:cubicBezTo>
                      <a:pt x="4621" y="-283"/>
                      <a:pt x="255" y="3604"/>
                      <a:pt x="16" y="8688"/>
                    </a:cubicBezTo>
                    <a:cubicBezTo>
                      <a:pt x="-283" y="13772"/>
                      <a:pt x="3604" y="18138"/>
                      <a:pt x="8688" y="18437"/>
                    </a:cubicBezTo>
                    <a:cubicBezTo>
                      <a:pt x="13712" y="18676"/>
                      <a:pt x="18018" y="14788"/>
                      <a:pt x="18317" y="9765"/>
                    </a:cubicBezTo>
                    <a:close/>
                  </a:path>
                </a:pathLst>
              </a:custGeom>
              <a:grpFill/>
              <a:ln w="5978" cap="flat">
                <a:noFill/>
                <a:prstDash val="solid"/>
                <a:miter/>
              </a:ln>
            </p:spPr>
            <p:txBody>
              <a:bodyPr rtlCol="0" anchor="ctr"/>
              <a:lstStyle/>
              <a:p>
                <a:endParaRPr lang="en-GB"/>
              </a:p>
            </p:txBody>
          </p:sp>
        </p:grpSp>
        <p:grpSp>
          <p:nvGrpSpPr>
            <p:cNvPr id="845" name="Graphic 3">
              <a:extLst>
                <a:ext uri="{FF2B5EF4-FFF2-40B4-BE49-F238E27FC236}">
                  <a16:creationId xmlns:a16="http://schemas.microsoft.com/office/drawing/2014/main" id="{3B2AE282-FE96-4D53-BD8C-CBC4918D7751}"/>
                </a:ext>
              </a:extLst>
            </p:cNvPr>
            <p:cNvGrpSpPr/>
            <p:nvPr/>
          </p:nvGrpSpPr>
          <p:grpSpPr>
            <a:xfrm>
              <a:off x="5876516" y="5093899"/>
              <a:ext cx="32079" cy="167254"/>
              <a:chOff x="5876516" y="5093899"/>
              <a:chExt cx="32079" cy="167254"/>
            </a:xfrm>
            <a:grpFill/>
          </p:grpSpPr>
          <p:sp>
            <p:nvSpPr>
              <p:cNvPr id="2862" name="Vrije vorm: vorm 2861">
                <a:extLst>
                  <a:ext uri="{FF2B5EF4-FFF2-40B4-BE49-F238E27FC236}">
                    <a16:creationId xmlns:a16="http://schemas.microsoft.com/office/drawing/2014/main" id="{76984F69-CF66-4FCC-841C-726D9535DB5A}"/>
                  </a:ext>
                </a:extLst>
              </p:cNvPr>
              <p:cNvSpPr/>
              <p:nvPr/>
            </p:nvSpPr>
            <p:spPr>
              <a:xfrm>
                <a:off x="5884093" y="5102493"/>
                <a:ext cx="16865" cy="150056"/>
              </a:xfrm>
              <a:custGeom>
                <a:avLst/>
                <a:gdLst>
                  <a:gd name="connsiteX0" fmla="*/ 16866 w 16865"/>
                  <a:gd name="connsiteY0" fmla="*/ 299 h 150056"/>
                  <a:gd name="connsiteX1" fmla="*/ 3050 w 16865"/>
                  <a:gd name="connsiteY1" fmla="*/ 150056 h 150056"/>
                  <a:gd name="connsiteX2" fmla="*/ 0 w 16865"/>
                  <a:gd name="connsiteY2" fmla="*/ 149757 h 150056"/>
                  <a:gd name="connsiteX3" fmla="*/ 13815 w 16865"/>
                  <a:gd name="connsiteY3" fmla="*/ 0 h 150056"/>
                </a:gdLst>
                <a:ahLst/>
                <a:cxnLst>
                  <a:cxn ang="0">
                    <a:pos x="connsiteX0" y="connsiteY0"/>
                  </a:cxn>
                  <a:cxn ang="0">
                    <a:pos x="connsiteX1" y="connsiteY1"/>
                  </a:cxn>
                  <a:cxn ang="0">
                    <a:pos x="connsiteX2" y="connsiteY2"/>
                  </a:cxn>
                  <a:cxn ang="0">
                    <a:pos x="connsiteX3" y="connsiteY3"/>
                  </a:cxn>
                </a:cxnLst>
                <a:rect l="l" t="t" r="r" b="b"/>
                <a:pathLst>
                  <a:path w="16865" h="150056">
                    <a:moveTo>
                      <a:pt x="16866" y="299"/>
                    </a:moveTo>
                    <a:lnTo>
                      <a:pt x="3050" y="150056"/>
                    </a:lnTo>
                    <a:lnTo>
                      <a:pt x="0" y="149757"/>
                    </a:lnTo>
                    <a:lnTo>
                      <a:pt x="13815" y="0"/>
                    </a:lnTo>
                    <a:close/>
                  </a:path>
                </a:pathLst>
              </a:custGeom>
              <a:grpFill/>
              <a:ln w="5978" cap="flat">
                <a:noFill/>
                <a:prstDash val="solid"/>
                <a:miter/>
              </a:ln>
            </p:spPr>
            <p:txBody>
              <a:bodyPr rtlCol="0" anchor="ctr"/>
              <a:lstStyle/>
              <a:p>
                <a:endParaRPr lang="en-GB"/>
              </a:p>
            </p:txBody>
          </p:sp>
          <p:sp>
            <p:nvSpPr>
              <p:cNvPr id="2863" name="Vrije vorm: vorm 2862">
                <a:extLst>
                  <a:ext uri="{FF2B5EF4-FFF2-40B4-BE49-F238E27FC236}">
                    <a16:creationId xmlns:a16="http://schemas.microsoft.com/office/drawing/2014/main" id="{2954E2D6-C334-4335-81CD-6FE931339FBD}"/>
                  </a:ext>
                </a:extLst>
              </p:cNvPr>
              <p:cNvSpPr/>
              <p:nvPr/>
            </p:nvSpPr>
            <p:spPr>
              <a:xfrm>
                <a:off x="5876516" y="5242748"/>
                <a:ext cx="18324" cy="18405"/>
              </a:xfrm>
              <a:custGeom>
                <a:avLst/>
                <a:gdLst>
                  <a:gd name="connsiteX0" fmla="*/ 18283 w 18324"/>
                  <a:gd name="connsiteY0" fmla="*/ 10100 h 18405"/>
                  <a:gd name="connsiteX1" fmla="*/ 8295 w 18324"/>
                  <a:gd name="connsiteY1" fmla="*/ 18353 h 18405"/>
                  <a:gd name="connsiteX2" fmla="*/ 42 w 18324"/>
                  <a:gd name="connsiteY2" fmla="*/ 8305 h 18405"/>
                  <a:gd name="connsiteX3" fmla="*/ 10029 w 18324"/>
                  <a:gd name="connsiteY3" fmla="*/ 52 h 18405"/>
                  <a:gd name="connsiteX4" fmla="*/ 18283 w 18324"/>
                  <a:gd name="connsiteY4" fmla="*/ 10100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05">
                    <a:moveTo>
                      <a:pt x="18283" y="10100"/>
                    </a:moveTo>
                    <a:cubicBezTo>
                      <a:pt x="17804" y="15183"/>
                      <a:pt x="13378" y="18891"/>
                      <a:pt x="8295" y="18353"/>
                    </a:cubicBezTo>
                    <a:cubicBezTo>
                      <a:pt x="3271" y="17875"/>
                      <a:pt x="-437" y="13389"/>
                      <a:pt x="42" y="8305"/>
                    </a:cubicBezTo>
                    <a:cubicBezTo>
                      <a:pt x="520" y="3222"/>
                      <a:pt x="4946" y="-486"/>
                      <a:pt x="10029" y="52"/>
                    </a:cubicBezTo>
                    <a:cubicBezTo>
                      <a:pt x="15053" y="530"/>
                      <a:pt x="18761" y="5016"/>
                      <a:pt x="18283" y="10100"/>
                    </a:cubicBezTo>
                    <a:close/>
                  </a:path>
                </a:pathLst>
              </a:custGeom>
              <a:grpFill/>
              <a:ln w="5978" cap="flat">
                <a:noFill/>
                <a:prstDash val="solid"/>
                <a:miter/>
              </a:ln>
            </p:spPr>
            <p:txBody>
              <a:bodyPr rtlCol="0" anchor="ctr"/>
              <a:lstStyle/>
              <a:p>
                <a:endParaRPr lang="en-GB"/>
              </a:p>
            </p:txBody>
          </p:sp>
          <p:sp>
            <p:nvSpPr>
              <p:cNvPr id="2864" name="Vrije vorm: vorm 2863">
                <a:extLst>
                  <a:ext uri="{FF2B5EF4-FFF2-40B4-BE49-F238E27FC236}">
                    <a16:creationId xmlns:a16="http://schemas.microsoft.com/office/drawing/2014/main" id="{CE1045ED-5297-4CF4-87CF-FFC074D0C64D}"/>
                  </a:ext>
                </a:extLst>
              </p:cNvPr>
              <p:cNvSpPr/>
              <p:nvPr/>
            </p:nvSpPr>
            <p:spPr>
              <a:xfrm>
                <a:off x="5890271" y="5093899"/>
                <a:ext cx="18324" cy="18394"/>
              </a:xfrm>
              <a:custGeom>
                <a:avLst/>
                <a:gdLst>
                  <a:gd name="connsiteX0" fmla="*/ 18283 w 18324"/>
                  <a:gd name="connsiteY0" fmla="*/ 10089 h 18394"/>
                  <a:gd name="connsiteX1" fmla="*/ 10029 w 18324"/>
                  <a:gd name="connsiteY1" fmla="*/ 42 h 18394"/>
                  <a:gd name="connsiteX2" fmla="*/ 42 w 18324"/>
                  <a:gd name="connsiteY2" fmla="*/ 8295 h 18394"/>
                  <a:gd name="connsiteX3" fmla="*/ 8295 w 18324"/>
                  <a:gd name="connsiteY3" fmla="*/ 18343 h 18394"/>
                  <a:gd name="connsiteX4" fmla="*/ 18283 w 18324"/>
                  <a:gd name="connsiteY4" fmla="*/ 1008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4">
                    <a:moveTo>
                      <a:pt x="18283" y="10089"/>
                    </a:moveTo>
                    <a:cubicBezTo>
                      <a:pt x="18761" y="5005"/>
                      <a:pt x="15053" y="520"/>
                      <a:pt x="10029" y="42"/>
                    </a:cubicBezTo>
                    <a:cubicBezTo>
                      <a:pt x="5006" y="-437"/>
                      <a:pt x="520" y="3271"/>
                      <a:pt x="42" y="8295"/>
                    </a:cubicBezTo>
                    <a:cubicBezTo>
                      <a:pt x="-437" y="13378"/>
                      <a:pt x="3271" y="17864"/>
                      <a:pt x="8295" y="18343"/>
                    </a:cubicBezTo>
                    <a:cubicBezTo>
                      <a:pt x="13319" y="18881"/>
                      <a:pt x="17805" y="15173"/>
                      <a:pt x="18283" y="10089"/>
                    </a:cubicBezTo>
                    <a:close/>
                  </a:path>
                </a:pathLst>
              </a:custGeom>
              <a:grpFill/>
              <a:ln w="5978" cap="flat">
                <a:noFill/>
                <a:prstDash val="solid"/>
                <a:miter/>
              </a:ln>
            </p:spPr>
            <p:txBody>
              <a:bodyPr rtlCol="0" anchor="ctr"/>
              <a:lstStyle/>
              <a:p>
                <a:endParaRPr lang="en-GB"/>
              </a:p>
            </p:txBody>
          </p:sp>
        </p:grpSp>
        <p:grpSp>
          <p:nvGrpSpPr>
            <p:cNvPr id="846" name="Graphic 3">
              <a:extLst>
                <a:ext uri="{FF2B5EF4-FFF2-40B4-BE49-F238E27FC236}">
                  <a16:creationId xmlns:a16="http://schemas.microsoft.com/office/drawing/2014/main" id="{554BA71A-593A-46BF-969E-8776699E7A0D}"/>
                </a:ext>
              </a:extLst>
            </p:cNvPr>
            <p:cNvGrpSpPr/>
            <p:nvPr/>
          </p:nvGrpSpPr>
          <p:grpSpPr>
            <a:xfrm>
              <a:off x="5852630" y="5082931"/>
              <a:ext cx="25535" cy="83320"/>
              <a:chOff x="5852630" y="5082931"/>
              <a:chExt cx="25535" cy="83320"/>
            </a:xfrm>
            <a:grpFill/>
          </p:grpSpPr>
          <p:sp>
            <p:nvSpPr>
              <p:cNvPr id="2859" name="Vrije vorm: vorm 2858">
                <a:extLst>
                  <a:ext uri="{FF2B5EF4-FFF2-40B4-BE49-F238E27FC236}">
                    <a16:creationId xmlns:a16="http://schemas.microsoft.com/office/drawing/2014/main" id="{32F9A27A-8ED9-4EF3-8F7E-22BC4B02B1D9}"/>
                  </a:ext>
                </a:extLst>
              </p:cNvPr>
              <p:cNvSpPr/>
              <p:nvPr/>
            </p:nvSpPr>
            <p:spPr>
              <a:xfrm>
                <a:off x="5860230" y="5091548"/>
                <a:ext cx="10346" cy="66146"/>
              </a:xfrm>
              <a:custGeom>
                <a:avLst/>
                <a:gdLst>
                  <a:gd name="connsiteX0" fmla="*/ 10347 w 10346"/>
                  <a:gd name="connsiteY0" fmla="*/ 359 h 66146"/>
                  <a:gd name="connsiteX1" fmla="*/ 3050 w 10346"/>
                  <a:gd name="connsiteY1" fmla="*/ 66147 h 66146"/>
                  <a:gd name="connsiteX2" fmla="*/ 0 w 10346"/>
                  <a:gd name="connsiteY2" fmla="*/ 65788 h 66146"/>
                  <a:gd name="connsiteX3" fmla="*/ 7296 w 10346"/>
                  <a:gd name="connsiteY3" fmla="*/ 0 h 66146"/>
                </a:gdLst>
                <a:ahLst/>
                <a:cxnLst>
                  <a:cxn ang="0">
                    <a:pos x="connsiteX0" y="connsiteY0"/>
                  </a:cxn>
                  <a:cxn ang="0">
                    <a:pos x="connsiteX1" y="connsiteY1"/>
                  </a:cxn>
                  <a:cxn ang="0">
                    <a:pos x="connsiteX2" y="connsiteY2"/>
                  </a:cxn>
                  <a:cxn ang="0">
                    <a:pos x="connsiteX3" y="connsiteY3"/>
                  </a:cxn>
                </a:cxnLst>
                <a:rect l="l" t="t" r="r" b="b"/>
                <a:pathLst>
                  <a:path w="10346" h="66146">
                    <a:moveTo>
                      <a:pt x="10347" y="359"/>
                    </a:moveTo>
                    <a:lnTo>
                      <a:pt x="3050" y="66147"/>
                    </a:lnTo>
                    <a:lnTo>
                      <a:pt x="0" y="65788"/>
                    </a:lnTo>
                    <a:lnTo>
                      <a:pt x="7296" y="0"/>
                    </a:lnTo>
                    <a:close/>
                  </a:path>
                </a:pathLst>
              </a:custGeom>
              <a:grpFill/>
              <a:ln w="5978" cap="flat">
                <a:noFill/>
                <a:prstDash val="solid"/>
                <a:miter/>
              </a:ln>
            </p:spPr>
            <p:txBody>
              <a:bodyPr rtlCol="0" anchor="ctr"/>
              <a:lstStyle/>
              <a:p>
                <a:endParaRPr lang="en-GB"/>
              </a:p>
            </p:txBody>
          </p:sp>
          <p:sp>
            <p:nvSpPr>
              <p:cNvPr id="2860" name="Vrije vorm: vorm 2859">
                <a:extLst>
                  <a:ext uri="{FF2B5EF4-FFF2-40B4-BE49-F238E27FC236}">
                    <a16:creationId xmlns:a16="http://schemas.microsoft.com/office/drawing/2014/main" id="{49731F6C-885C-49A5-BB01-0AFA7869CB43}"/>
                  </a:ext>
                </a:extLst>
              </p:cNvPr>
              <p:cNvSpPr/>
              <p:nvPr/>
            </p:nvSpPr>
            <p:spPr>
              <a:xfrm>
                <a:off x="5852630" y="5147822"/>
                <a:ext cx="18309" cy="18430"/>
              </a:xfrm>
              <a:custGeom>
                <a:avLst/>
                <a:gdLst>
                  <a:gd name="connsiteX0" fmla="*/ 18246 w 18309"/>
                  <a:gd name="connsiteY0" fmla="*/ 10291 h 18430"/>
                  <a:gd name="connsiteX1" fmla="*/ 8138 w 18309"/>
                  <a:gd name="connsiteY1" fmla="*/ 18365 h 18430"/>
                  <a:gd name="connsiteX2" fmla="*/ 64 w 18309"/>
                  <a:gd name="connsiteY2" fmla="*/ 8138 h 18430"/>
                  <a:gd name="connsiteX3" fmla="*/ 10172 w 18309"/>
                  <a:gd name="connsiteY3" fmla="*/ 64 h 18430"/>
                  <a:gd name="connsiteX4" fmla="*/ 18246 w 18309"/>
                  <a:gd name="connsiteY4" fmla="*/ 1029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30">
                    <a:moveTo>
                      <a:pt x="18246" y="10291"/>
                    </a:moveTo>
                    <a:cubicBezTo>
                      <a:pt x="17707" y="15375"/>
                      <a:pt x="13162" y="18963"/>
                      <a:pt x="8138" y="18365"/>
                    </a:cubicBezTo>
                    <a:cubicBezTo>
                      <a:pt x="3114" y="17767"/>
                      <a:pt x="-534" y="13222"/>
                      <a:pt x="64" y="8138"/>
                    </a:cubicBezTo>
                    <a:cubicBezTo>
                      <a:pt x="602" y="3114"/>
                      <a:pt x="5148" y="-534"/>
                      <a:pt x="10172" y="64"/>
                    </a:cubicBezTo>
                    <a:cubicBezTo>
                      <a:pt x="15195" y="662"/>
                      <a:pt x="18844" y="5208"/>
                      <a:pt x="18246" y="10291"/>
                    </a:cubicBezTo>
                    <a:close/>
                  </a:path>
                </a:pathLst>
              </a:custGeom>
              <a:grpFill/>
              <a:ln w="5978" cap="flat">
                <a:noFill/>
                <a:prstDash val="solid"/>
                <a:miter/>
              </a:ln>
            </p:spPr>
            <p:txBody>
              <a:bodyPr rtlCol="0" anchor="ctr"/>
              <a:lstStyle/>
              <a:p>
                <a:endParaRPr lang="en-GB"/>
              </a:p>
            </p:txBody>
          </p:sp>
          <p:sp>
            <p:nvSpPr>
              <p:cNvPr id="2861" name="Vrije vorm: vorm 2860">
                <a:extLst>
                  <a:ext uri="{FF2B5EF4-FFF2-40B4-BE49-F238E27FC236}">
                    <a16:creationId xmlns:a16="http://schemas.microsoft.com/office/drawing/2014/main" id="{19525122-6EF9-4DCF-A16B-E21893E96951}"/>
                  </a:ext>
                </a:extLst>
              </p:cNvPr>
              <p:cNvSpPr/>
              <p:nvPr/>
            </p:nvSpPr>
            <p:spPr>
              <a:xfrm>
                <a:off x="5859877" y="5082931"/>
                <a:ext cx="18288" cy="18430"/>
              </a:xfrm>
              <a:custGeom>
                <a:avLst/>
                <a:gdLst>
                  <a:gd name="connsiteX0" fmla="*/ 18235 w 18288"/>
                  <a:gd name="connsiteY0" fmla="*/ 10291 h 18430"/>
                  <a:gd name="connsiteX1" fmla="*/ 10161 w 18288"/>
                  <a:gd name="connsiteY1" fmla="*/ 64 h 18430"/>
                  <a:gd name="connsiteX2" fmla="*/ 53 w 18288"/>
                  <a:gd name="connsiteY2" fmla="*/ 8138 h 18430"/>
                  <a:gd name="connsiteX3" fmla="*/ 8128 w 18288"/>
                  <a:gd name="connsiteY3" fmla="*/ 18365 h 18430"/>
                  <a:gd name="connsiteX4" fmla="*/ 18235 w 18288"/>
                  <a:gd name="connsiteY4" fmla="*/ 1029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30">
                    <a:moveTo>
                      <a:pt x="18235" y="10291"/>
                    </a:moveTo>
                    <a:cubicBezTo>
                      <a:pt x="18773" y="5208"/>
                      <a:pt x="15185" y="662"/>
                      <a:pt x="10161" y="64"/>
                    </a:cubicBezTo>
                    <a:cubicBezTo>
                      <a:pt x="5137" y="-534"/>
                      <a:pt x="592" y="3114"/>
                      <a:pt x="53" y="8138"/>
                    </a:cubicBezTo>
                    <a:cubicBezTo>
                      <a:pt x="-485" y="13162"/>
                      <a:pt x="3104" y="17767"/>
                      <a:pt x="8128" y="18365"/>
                    </a:cubicBezTo>
                    <a:cubicBezTo>
                      <a:pt x="13151" y="18963"/>
                      <a:pt x="17637" y="15375"/>
                      <a:pt x="18235" y="10291"/>
                    </a:cubicBezTo>
                    <a:close/>
                  </a:path>
                </a:pathLst>
              </a:custGeom>
              <a:grpFill/>
              <a:ln w="5978" cap="flat">
                <a:noFill/>
                <a:prstDash val="solid"/>
                <a:miter/>
              </a:ln>
            </p:spPr>
            <p:txBody>
              <a:bodyPr rtlCol="0" anchor="ctr"/>
              <a:lstStyle/>
              <a:p>
                <a:endParaRPr lang="en-GB"/>
              </a:p>
            </p:txBody>
          </p:sp>
        </p:grpSp>
        <p:grpSp>
          <p:nvGrpSpPr>
            <p:cNvPr id="847" name="Graphic 3">
              <a:extLst>
                <a:ext uri="{FF2B5EF4-FFF2-40B4-BE49-F238E27FC236}">
                  <a16:creationId xmlns:a16="http://schemas.microsoft.com/office/drawing/2014/main" id="{09BB2B7D-F92B-42F2-B61E-9174007F2813}"/>
                </a:ext>
              </a:extLst>
            </p:cNvPr>
            <p:cNvGrpSpPr/>
            <p:nvPr/>
          </p:nvGrpSpPr>
          <p:grpSpPr>
            <a:xfrm>
              <a:off x="6005260" y="5455711"/>
              <a:ext cx="22432" cy="250417"/>
              <a:chOff x="6005260" y="5455711"/>
              <a:chExt cx="22432" cy="250417"/>
            </a:xfrm>
            <a:grpFill/>
          </p:grpSpPr>
          <p:sp>
            <p:nvSpPr>
              <p:cNvPr id="2856" name="Vrije vorm: vorm 2855">
                <a:extLst>
                  <a:ext uri="{FF2B5EF4-FFF2-40B4-BE49-F238E27FC236}">
                    <a16:creationId xmlns:a16="http://schemas.microsoft.com/office/drawing/2014/main" id="{7E60FE5B-CFB6-4C87-A043-C8A0207A03D7}"/>
                  </a:ext>
                </a:extLst>
              </p:cNvPr>
              <p:cNvSpPr/>
              <p:nvPr/>
            </p:nvSpPr>
            <p:spPr>
              <a:xfrm>
                <a:off x="6012858" y="5464386"/>
                <a:ext cx="7176" cy="233008"/>
              </a:xfrm>
              <a:custGeom>
                <a:avLst/>
                <a:gdLst>
                  <a:gd name="connsiteX0" fmla="*/ 7177 w 7176"/>
                  <a:gd name="connsiteY0" fmla="*/ 119 h 233008"/>
                  <a:gd name="connsiteX1" fmla="*/ 3050 w 7176"/>
                  <a:gd name="connsiteY1" fmla="*/ 233009 h 233008"/>
                  <a:gd name="connsiteX2" fmla="*/ 0 w 7176"/>
                  <a:gd name="connsiteY2" fmla="*/ 232949 h 233008"/>
                  <a:gd name="connsiteX3" fmla="*/ 4127 w 7176"/>
                  <a:gd name="connsiteY3" fmla="*/ 0 h 233008"/>
                </a:gdLst>
                <a:ahLst/>
                <a:cxnLst>
                  <a:cxn ang="0">
                    <a:pos x="connsiteX0" y="connsiteY0"/>
                  </a:cxn>
                  <a:cxn ang="0">
                    <a:pos x="connsiteX1" y="connsiteY1"/>
                  </a:cxn>
                  <a:cxn ang="0">
                    <a:pos x="connsiteX2" y="connsiteY2"/>
                  </a:cxn>
                  <a:cxn ang="0">
                    <a:pos x="connsiteX3" y="connsiteY3"/>
                  </a:cxn>
                </a:cxnLst>
                <a:rect l="l" t="t" r="r" b="b"/>
                <a:pathLst>
                  <a:path w="7176" h="233008">
                    <a:moveTo>
                      <a:pt x="7177" y="119"/>
                    </a:moveTo>
                    <a:lnTo>
                      <a:pt x="3050" y="233009"/>
                    </a:lnTo>
                    <a:lnTo>
                      <a:pt x="0" y="232949"/>
                    </a:lnTo>
                    <a:lnTo>
                      <a:pt x="4127" y="0"/>
                    </a:lnTo>
                    <a:close/>
                  </a:path>
                </a:pathLst>
              </a:custGeom>
              <a:grpFill/>
              <a:ln w="5978" cap="flat">
                <a:noFill/>
                <a:prstDash val="solid"/>
                <a:miter/>
              </a:ln>
            </p:spPr>
            <p:txBody>
              <a:bodyPr rtlCol="0" anchor="ctr"/>
              <a:lstStyle/>
              <a:p>
                <a:endParaRPr lang="en-GB"/>
              </a:p>
            </p:txBody>
          </p:sp>
          <p:sp>
            <p:nvSpPr>
              <p:cNvPr id="2857" name="Vrije vorm: vorm 2856">
                <a:extLst>
                  <a:ext uri="{FF2B5EF4-FFF2-40B4-BE49-F238E27FC236}">
                    <a16:creationId xmlns:a16="http://schemas.microsoft.com/office/drawing/2014/main" id="{B4844384-6F6E-464E-BC27-3A4DAB188695}"/>
                  </a:ext>
                </a:extLst>
              </p:cNvPr>
              <p:cNvSpPr/>
              <p:nvPr/>
            </p:nvSpPr>
            <p:spPr>
              <a:xfrm>
                <a:off x="6005260" y="5687703"/>
                <a:ext cx="18304" cy="18425"/>
              </a:xfrm>
              <a:custGeom>
                <a:avLst/>
                <a:gdLst>
                  <a:gd name="connsiteX0" fmla="*/ 18304 w 18304"/>
                  <a:gd name="connsiteY0" fmla="*/ 9392 h 18425"/>
                  <a:gd name="connsiteX1" fmla="*/ 8974 w 18304"/>
                  <a:gd name="connsiteY1" fmla="*/ 18423 h 18425"/>
                  <a:gd name="connsiteX2" fmla="*/ 3 w 18304"/>
                  <a:gd name="connsiteY2" fmla="*/ 9034 h 18425"/>
                  <a:gd name="connsiteX3" fmla="*/ 9333 w 18304"/>
                  <a:gd name="connsiteY3" fmla="*/ 3 h 18425"/>
                  <a:gd name="connsiteX4" fmla="*/ 18304 w 18304"/>
                  <a:gd name="connsiteY4" fmla="*/ 939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5">
                    <a:moveTo>
                      <a:pt x="18304" y="9392"/>
                    </a:moveTo>
                    <a:cubicBezTo>
                      <a:pt x="18184" y="14476"/>
                      <a:pt x="14057" y="18543"/>
                      <a:pt x="8974" y="18423"/>
                    </a:cubicBezTo>
                    <a:cubicBezTo>
                      <a:pt x="3890" y="18304"/>
                      <a:pt x="-117" y="14117"/>
                      <a:pt x="3" y="9034"/>
                    </a:cubicBezTo>
                    <a:cubicBezTo>
                      <a:pt x="122" y="3950"/>
                      <a:pt x="4249" y="-117"/>
                      <a:pt x="9333" y="3"/>
                    </a:cubicBezTo>
                    <a:cubicBezTo>
                      <a:pt x="14356" y="122"/>
                      <a:pt x="18363" y="4309"/>
                      <a:pt x="18304" y="9392"/>
                    </a:cubicBezTo>
                    <a:close/>
                  </a:path>
                </a:pathLst>
              </a:custGeom>
              <a:grpFill/>
              <a:ln w="5978" cap="flat">
                <a:noFill/>
                <a:prstDash val="solid"/>
                <a:miter/>
              </a:ln>
            </p:spPr>
            <p:txBody>
              <a:bodyPr rtlCol="0" anchor="ctr"/>
              <a:lstStyle/>
              <a:p>
                <a:endParaRPr lang="en-GB"/>
              </a:p>
            </p:txBody>
          </p:sp>
          <p:sp>
            <p:nvSpPr>
              <p:cNvPr id="2858" name="Vrije vorm: vorm 2857">
                <a:extLst>
                  <a:ext uri="{FF2B5EF4-FFF2-40B4-BE49-F238E27FC236}">
                    <a16:creationId xmlns:a16="http://schemas.microsoft.com/office/drawing/2014/main" id="{81873B80-2237-474E-A8EE-F194FC38467C}"/>
                  </a:ext>
                </a:extLst>
              </p:cNvPr>
              <p:cNvSpPr/>
              <p:nvPr/>
            </p:nvSpPr>
            <p:spPr>
              <a:xfrm>
                <a:off x="6009387" y="5455711"/>
                <a:ext cx="18306" cy="18425"/>
              </a:xfrm>
              <a:custGeom>
                <a:avLst/>
                <a:gdLst>
                  <a:gd name="connsiteX0" fmla="*/ 18304 w 18306"/>
                  <a:gd name="connsiteY0" fmla="*/ 9392 h 18425"/>
                  <a:gd name="connsiteX1" fmla="*/ 9332 w 18306"/>
                  <a:gd name="connsiteY1" fmla="*/ 3 h 18425"/>
                  <a:gd name="connsiteX2" fmla="*/ 3 w 18306"/>
                  <a:gd name="connsiteY2" fmla="*/ 9034 h 18425"/>
                  <a:gd name="connsiteX3" fmla="*/ 8974 w 18306"/>
                  <a:gd name="connsiteY3" fmla="*/ 18423 h 18425"/>
                  <a:gd name="connsiteX4" fmla="*/ 18304 w 18306"/>
                  <a:gd name="connsiteY4" fmla="*/ 939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5">
                    <a:moveTo>
                      <a:pt x="18304" y="9392"/>
                    </a:moveTo>
                    <a:cubicBezTo>
                      <a:pt x="18423" y="4309"/>
                      <a:pt x="14356" y="62"/>
                      <a:pt x="9332" y="3"/>
                    </a:cubicBezTo>
                    <a:cubicBezTo>
                      <a:pt x="4249" y="-117"/>
                      <a:pt x="122" y="3950"/>
                      <a:pt x="3" y="9034"/>
                    </a:cubicBezTo>
                    <a:cubicBezTo>
                      <a:pt x="-117" y="14117"/>
                      <a:pt x="3950" y="18363"/>
                      <a:pt x="8974" y="18423"/>
                    </a:cubicBezTo>
                    <a:cubicBezTo>
                      <a:pt x="14057" y="18543"/>
                      <a:pt x="18184" y="14476"/>
                      <a:pt x="18304" y="9392"/>
                    </a:cubicBezTo>
                    <a:close/>
                  </a:path>
                </a:pathLst>
              </a:custGeom>
              <a:grpFill/>
              <a:ln w="5978" cap="flat">
                <a:noFill/>
                <a:prstDash val="solid"/>
                <a:miter/>
              </a:ln>
            </p:spPr>
            <p:txBody>
              <a:bodyPr rtlCol="0" anchor="ctr"/>
              <a:lstStyle/>
              <a:p>
                <a:endParaRPr lang="en-GB"/>
              </a:p>
            </p:txBody>
          </p:sp>
        </p:grpSp>
        <p:grpSp>
          <p:nvGrpSpPr>
            <p:cNvPr id="848" name="Graphic 3">
              <a:extLst>
                <a:ext uri="{FF2B5EF4-FFF2-40B4-BE49-F238E27FC236}">
                  <a16:creationId xmlns:a16="http://schemas.microsoft.com/office/drawing/2014/main" id="{E015924C-AB02-4581-9296-2355266C7DF7}"/>
                </a:ext>
              </a:extLst>
            </p:cNvPr>
            <p:cNvGrpSpPr/>
            <p:nvPr/>
          </p:nvGrpSpPr>
          <p:grpSpPr>
            <a:xfrm>
              <a:off x="4756963" y="1977028"/>
              <a:ext cx="152035" cy="210384"/>
              <a:chOff x="4756963" y="1977028"/>
              <a:chExt cx="152035" cy="210384"/>
            </a:xfrm>
            <a:grpFill/>
          </p:grpSpPr>
          <p:sp>
            <p:nvSpPr>
              <p:cNvPr id="2853" name="Vrije vorm: vorm 2852">
                <a:extLst>
                  <a:ext uri="{FF2B5EF4-FFF2-40B4-BE49-F238E27FC236}">
                    <a16:creationId xmlns:a16="http://schemas.microsoft.com/office/drawing/2014/main" id="{5AF06637-DECF-4B81-A3BE-ED41F9ED0AC0}"/>
                  </a:ext>
                </a:extLst>
              </p:cNvPr>
              <p:cNvSpPr/>
              <p:nvPr/>
            </p:nvSpPr>
            <p:spPr>
              <a:xfrm>
                <a:off x="4764562" y="1984982"/>
                <a:ext cx="136779" cy="194493"/>
              </a:xfrm>
              <a:custGeom>
                <a:avLst/>
                <a:gdLst>
                  <a:gd name="connsiteX0" fmla="*/ 136779 w 136779"/>
                  <a:gd name="connsiteY0" fmla="*/ 192759 h 194493"/>
                  <a:gd name="connsiteX1" fmla="*/ 134267 w 136779"/>
                  <a:gd name="connsiteY1" fmla="*/ 194493 h 194493"/>
                  <a:gd name="connsiteX2" fmla="*/ 0 w 136779"/>
                  <a:gd name="connsiteY2" fmla="*/ 1794 h 194493"/>
                  <a:gd name="connsiteX3" fmla="*/ 2512 w 136779"/>
                  <a:gd name="connsiteY3" fmla="*/ 0 h 194493"/>
                </a:gdLst>
                <a:ahLst/>
                <a:cxnLst>
                  <a:cxn ang="0">
                    <a:pos x="connsiteX0" y="connsiteY0"/>
                  </a:cxn>
                  <a:cxn ang="0">
                    <a:pos x="connsiteX1" y="connsiteY1"/>
                  </a:cxn>
                  <a:cxn ang="0">
                    <a:pos x="connsiteX2" y="connsiteY2"/>
                  </a:cxn>
                  <a:cxn ang="0">
                    <a:pos x="connsiteX3" y="connsiteY3"/>
                  </a:cxn>
                </a:cxnLst>
                <a:rect l="l" t="t" r="r" b="b"/>
                <a:pathLst>
                  <a:path w="136779" h="194493">
                    <a:moveTo>
                      <a:pt x="136779" y="192759"/>
                    </a:moveTo>
                    <a:lnTo>
                      <a:pt x="134267" y="194493"/>
                    </a:lnTo>
                    <a:lnTo>
                      <a:pt x="0" y="1794"/>
                    </a:lnTo>
                    <a:lnTo>
                      <a:pt x="2512" y="0"/>
                    </a:lnTo>
                    <a:close/>
                  </a:path>
                </a:pathLst>
              </a:custGeom>
              <a:grpFill/>
              <a:ln w="5978" cap="flat">
                <a:noFill/>
                <a:prstDash val="solid"/>
                <a:miter/>
              </a:ln>
            </p:spPr>
            <p:txBody>
              <a:bodyPr rtlCol="0" anchor="ctr"/>
              <a:lstStyle/>
              <a:p>
                <a:endParaRPr lang="en-GB"/>
              </a:p>
            </p:txBody>
          </p:sp>
          <p:sp>
            <p:nvSpPr>
              <p:cNvPr id="2854" name="Vrije vorm: vorm 2853">
                <a:extLst>
                  <a:ext uri="{FF2B5EF4-FFF2-40B4-BE49-F238E27FC236}">
                    <a16:creationId xmlns:a16="http://schemas.microsoft.com/office/drawing/2014/main" id="{45FD6BE0-C346-44C9-87BF-11380F6B45FD}"/>
                  </a:ext>
                </a:extLst>
              </p:cNvPr>
              <p:cNvSpPr/>
              <p:nvPr/>
            </p:nvSpPr>
            <p:spPr>
              <a:xfrm>
                <a:off x="4890692" y="2169009"/>
                <a:ext cx="18306" cy="18402"/>
              </a:xfrm>
              <a:custGeom>
                <a:avLst/>
                <a:gdLst>
                  <a:gd name="connsiteX0" fmla="*/ 16629 w 18306"/>
                  <a:gd name="connsiteY0" fmla="*/ 3947 h 18402"/>
                  <a:gd name="connsiteX1" fmla="*/ 14416 w 18306"/>
                  <a:gd name="connsiteY1" fmla="*/ 16745 h 18402"/>
                  <a:gd name="connsiteX2" fmla="*/ 1677 w 18306"/>
                  <a:gd name="connsiteY2" fmla="*/ 14473 h 18402"/>
                  <a:gd name="connsiteX3" fmla="*/ 3890 w 18306"/>
                  <a:gd name="connsiteY3" fmla="*/ 1674 h 18402"/>
                  <a:gd name="connsiteX4" fmla="*/ 16629 w 18306"/>
                  <a:gd name="connsiteY4" fmla="*/ 3947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02">
                    <a:moveTo>
                      <a:pt x="16629" y="3947"/>
                    </a:moveTo>
                    <a:cubicBezTo>
                      <a:pt x="19560" y="8133"/>
                      <a:pt x="18543" y="13875"/>
                      <a:pt x="14416" y="16745"/>
                    </a:cubicBezTo>
                    <a:cubicBezTo>
                      <a:pt x="10290" y="19676"/>
                      <a:pt x="4548" y="18599"/>
                      <a:pt x="1677" y="14473"/>
                    </a:cubicBezTo>
                    <a:cubicBezTo>
                      <a:pt x="-1253" y="10286"/>
                      <a:pt x="-237" y="4545"/>
                      <a:pt x="3890" y="1674"/>
                    </a:cubicBezTo>
                    <a:cubicBezTo>
                      <a:pt x="8017" y="-1257"/>
                      <a:pt x="13699" y="-240"/>
                      <a:pt x="16629" y="3947"/>
                    </a:cubicBezTo>
                    <a:close/>
                  </a:path>
                </a:pathLst>
              </a:custGeom>
              <a:grpFill/>
              <a:ln w="5978" cap="flat">
                <a:noFill/>
                <a:prstDash val="solid"/>
                <a:miter/>
              </a:ln>
            </p:spPr>
            <p:txBody>
              <a:bodyPr rtlCol="0" anchor="ctr"/>
              <a:lstStyle/>
              <a:p>
                <a:endParaRPr lang="en-GB"/>
              </a:p>
            </p:txBody>
          </p:sp>
          <p:sp>
            <p:nvSpPr>
              <p:cNvPr id="2855" name="Vrije vorm: vorm 2854">
                <a:extLst>
                  <a:ext uri="{FF2B5EF4-FFF2-40B4-BE49-F238E27FC236}">
                    <a16:creationId xmlns:a16="http://schemas.microsoft.com/office/drawing/2014/main" id="{8CB761D7-66C7-4B36-905D-97C90DCAA2D7}"/>
                  </a:ext>
                </a:extLst>
              </p:cNvPr>
              <p:cNvSpPr/>
              <p:nvPr/>
            </p:nvSpPr>
            <p:spPr>
              <a:xfrm>
                <a:off x="4756963" y="1977028"/>
                <a:ext cx="18280" cy="18419"/>
              </a:xfrm>
              <a:custGeom>
                <a:avLst/>
                <a:gdLst>
                  <a:gd name="connsiteX0" fmla="*/ 16629 w 18280"/>
                  <a:gd name="connsiteY0" fmla="*/ 3947 h 18419"/>
                  <a:gd name="connsiteX1" fmla="*/ 3890 w 18280"/>
                  <a:gd name="connsiteY1" fmla="*/ 1674 h 18419"/>
                  <a:gd name="connsiteX2" fmla="*/ 1678 w 18280"/>
                  <a:gd name="connsiteY2" fmla="*/ 14473 h 18419"/>
                  <a:gd name="connsiteX3" fmla="*/ 14416 w 18280"/>
                  <a:gd name="connsiteY3" fmla="*/ 16745 h 18419"/>
                  <a:gd name="connsiteX4" fmla="*/ 16629 w 18280"/>
                  <a:gd name="connsiteY4" fmla="*/ 394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0" h="18419">
                    <a:moveTo>
                      <a:pt x="16629" y="3947"/>
                    </a:moveTo>
                    <a:cubicBezTo>
                      <a:pt x="13698" y="-240"/>
                      <a:pt x="8017" y="-1257"/>
                      <a:pt x="3890" y="1674"/>
                    </a:cubicBezTo>
                    <a:cubicBezTo>
                      <a:pt x="-236" y="4604"/>
                      <a:pt x="-1253" y="10346"/>
                      <a:pt x="1678" y="14473"/>
                    </a:cubicBezTo>
                    <a:cubicBezTo>
                      <a:pt x="4608" y="18659"/>
                      <a:pt x="10290" y="19676"/>
                      <a:pt x="14416" y="16745"/>
                    </a:cubicBezTo>
                    <a:cubicBezTo>
                      <a:pt x="18543" y="13875"/>
                      <a:pt x="19500" y="8133"/>
                      <a:pt x="16629" y="3947"/>
                    </a:cubicBezTo>
                    <a:close/>
                  </a:path>
                </a:pathLst>
              </a:custGeom>
              <a:grpFill/>
              <a:ln w="5978" cap="flat">
                <a:noFill/>
                <a:prstDash val="solid"/>
                <a:miter/>
              </a:ln>
            </p:spPr>
            <p:txBody>
              <a:bodyPr rtlCol="0" anchor="ctr"/>
              <a:lstStyle/>
              <a:p>
                <a:endParaRPr lang="en-GB"/>
              </a:p>
            </p:txBody>
          </p:sp>
        </p:grpSp>
        <p:grpSp>
          <p:nvGrpSpPr>
            <p:cNvPr id="849" name="Graphic 3">
              <a:extLst>
                <a:ext uri="{FF2B5EF4-FFF2-40B4-BE49-F238E27FC236}">
                  <a16:creationId xmlns:a16="http://schemas.microsoft.com/office/drawing/2014/main" id="{B4B0A898-6B44-4B8C-88F4-011452581263}"/>
                </a:ext>
              </a:extLst>
            </p:cNvPr>
            <p:cNvGrpSpPr/>
            <p:nvPr/>
          </p:nvGrpSpPr>
          <p:grpSpPr>
            <a:xfrm>
              <a:off x="4740632" y="1844279"/>
              <a:ext cx="27464" cy="29299"/>
              <a:chOff x="4740632" y="1844279"/>
              <a:chExt cx="27464" cy="29299"/>
            </a:xfrm>
            <a:grpFill/>
          </p:grpSpPr>
          <p:sp>
            <p:nvSpPr>
              <p:cNvPr id="2851" name="Vrije vorm: vorm 2850">
                <a:extLst>
                  <a:ext uri="{FF2B5EF4-FFF2-40B4-BE49-F238E27FC236}">
                    <a16:creationId xmlns:a16="http://schemas.microsoft.com/office/drawing/2014/main" id="{C9662571-8410-4847-8927-0F4AEADA30B7}"/>
                  </a:ext>
                </a:extLst>
              </p:cNvPr>
              <p:cNvSpPr/>
              <p:nvPr/>
            </p:nvSpPr>
            <p:spPr>
              <a:xfrm>
                <a:off x="4740632" y="1844279"/>
                <a:ext cx="18349" cy="18458"/>
              </a:xfrm>
              <a:custGeom>
                <a:avLst/>
                <a:gdLst>
                  <a:gd name="connsiteX0" fmla="*/ 16214 w 18349"/>
                  <a:gd name="connsiteY0" fmla="*/ 3326 h 18458"/>
                  <a:gd name="connsiteX1" fmla="*/ 15078 w 18349"/>
                  <a:gd name="connsiteY1" fmla="*/ 16304 h 18458"/>
                  <a:gd name="connsiteX2" fmla="*/ 2160 w 18349"/>
                  <a:gd name="connsiteY2" fmla="*/ 15108 h 18458"/>
                  <a:gd name="connsiteX3" fmla="*/ 3296 w 18349"/>
                  <a:gd name="connsiteY3" fmla="*/ 2130 h 18458"/>
                  <a:gd name="connsiteX4" fmla="*/ 16214 w 18349"/>
                  <a:gd name="connsiteY4" fmla="*/ 3326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8">
                    <a:moveTo>
                      <a:pt x="16214" y="3326"/>
                    </a:moveTo>
                    <a:cubicBezTo>
                      <a:pt x="19444" y="7213"/>
                      <a:pt x="18966" y="13015"/>
                      <a:pt x="15078" y="16304"/>
                    </a:cubicBezTo>
                    <a:cubicBezTo>
                      <a:pt x="11191" y="19594"/>
                      <a:pt x="5449" y="19055"/>
                      <a:pt x="2160" y="15108"/>
                    </a:cubicBezTo>
                    <a:cubicBezTo>
                      <a:pt x="-1130" y="11221"/>
                      <a:pt x="-592" y="5419"/>
                      <a:pt x="3296" y="2130"/>
                    </a:cubicBezTo>
                    <a:cubicBezTo>
                      <a:pt x="7124" y="-1100"/>
                      <a:pt x="12925" y="-621"/>
                      <a:pt x="16214" y="3326"/>
                    </a:cubicBezTo>
                    <a:close/>
                  </a:path>
                </a:pathLst>
              </a:custGeom>
              <a:grpFill/>
              <a:ln w="5978" cap="flat">
                <a:noFill/>
                <a:prstDash val="solid"/>
                <a:miter/>
              </a:ln>
            </p:spPr>
            <p:txBody>
              <a:bodyPr rtlCol="0" anchor="ctr"/>
              <a:lstStyle/>
              <a:p>
                <a:endParaRPr lang="en-GB"/>
              </a:p>
            </p:txBody>
          </p:sp>
          <p:sp>
            <p:nvSpPr>
              <p:cNvPr id="2852" name="Vrije vorm: vorm 2851">
                <a:extLst>
                  <a:ext uri="{FF2B5EF4-FFF2-40B4-BE49-F238E27FC236}">
                    <a16:creationId xmlns:a16="http://schemas.microsoft.com/office/drawing/2014/main" id="{9E57896B-F308-496C-8BDE-77741D566765}"/>
                  </a:ext>
                </a:extLst>
              </p:cNvPr>
              <p:cNvSpPr/>
              <p:nvPr/>
            </p:nvSpPr>
            <p:spPr>
              <a:xfrm>
                <a:off x="4749747" y="1855183"/>
                <a:ext cx="18349" cy="18395"/>
              </a:xfrm>
              <a:custGeom>
                <a:avLst/>
                <a:gdLst>
                  <a:gd name="connsiteX0" fmla="*/ 16190 w 18349"/>
                  <a:gd name="connsiteY0" fmla="*/ 3307 h 18395"/>
                  <a:gd name="connsiteX1" fmla="*/ 3272 w 18349"/>
                  <a:gd name="connsiteY1" fmla="*/ 2110 h 18395"/>
                  <a:gd name="connsiteX2" fmla="*/ 2135 w 18349"/>
                  <a:gd name="connsiteY2" fmla="*/ 15089 h 18395"/>
                  <a:gd name="connsiteX3" fmla="*/ 15053 w 18349"/>
                  <a:gd name="connsiteY3" fmla="*/ 16285 h 18395"/>
                  <a:gd name="connsiteX4" fmla="*/ 16190 w 18349"/>
                  <a:gd name="connsiteY4" fmla="*/ 3307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395">
                    <a:moveTo>
                      <a:pt x="16190" y="3307"/>
                    </a:moveTo>
                    <a:cubicBezTo>
                      <a:pt x="12960" y="-581"/>
                      <a:pt x="7159" y="-1119"/>
                      <a:pt x="3272" y="2110"/>
                    </a:cubicBezTo>
                    <a:cubicBezTo>
                      <a:pt x="-616" y="5400"/>
                      <a:pt x="-1095" y="11201"/>
                      <a:pt x="2135" y="15089"/>
                    </a:cubicBezTo>
                    <a:cubicBezTo>
                      <a:pt x="5365" y="18976"/>
                      <a:pt x="11166" y="19514"/>
                      <a:pt x="15053" y="16285"/>
                    </a:cubicBezTo>
                    <a:cubicBezTo>
                      <a:pt x="18941" y="13055"/>
                      <a:pt x="19479" y="7254"/>
                      <a:pt x="16190" y="3307"/>
                    </a:cubicBezTo>
                    <a:close/>
                  </a:path>
                </a:pathLst>
              </a:custGeom>
              <a:grpFill/>
              <a:ln w="5978" cap="flat">
                <a:noFill/>
                <a:prstDash val="solid"/>
                <a:miter/>
              </a:ln>
            </p:spPr>
            <p:txBody>
              <a:bodyPr rtlCol="0" anchor="ctr"/>
              <a:lstStyle/>
              <a:p>
                <a:endParaRPr lang="en-GB"/>
              </a:p>
            </p:txBody>
          </p:sp>
        </p:grpSp>
        <p:grpSp>
          <p:nvGrpSpPr>
            <p:cNvPr id="850" name="Graphic 3">
              <a:extLst>
                <a:ext uri="{FF2B5EF4-FFF2-40B4-BE49-F238E27FC236}">
                  <a16:creationId xmlns:a16="http://schemas.microsoft.com/office/drawing/2014/main" id="{0592F456-55A7-46A5-8914-318E4CC799E1}"/>
                </a:ext>
              </a:extLst>
            </p:cNvPr>
            <p:cNvGrpSpPr/>
            <p:nvPr/>
          </p:nvGrpSpPr>
          <p:grpSpPr>
            <a:xfrm>
              <a:off x="4801421" y="2024772"/>
              <a:ext cx="22547" cy="23169"/>
              <a:chOff x="4801421" y="2024772"/>
              <a:chExt cx="22547" cy="23169"/>
            </a:xfrm>
            <a:grpFill/>
          </p:grpSpPr>
          <p:sp>
            <p:nvSpPr>
              <p:cNvPr id="2848" name="Vrije vorm: vorm 2847">
                <a:extLst>
                  <a:ext uri="{FF2B5EF4-FFF2-40B4-BE49-F238E27FC236}">
                    <a16:creationId xmlns:a16="http://schemas.microsoft.com/office/drawing/2014/main" id="{6295B4C3-A9AF-4350-9DC2-7EA46E8E4E27}"/>
                  </a:ext>
                </a:extLst>
              </p:cNvPr>
              <p:cNvSpPr/>
              <p:nvPr/>
            </p:nvSpPr>
            <p:spPr>
              <a:xfrm>
                <a:off x="4809178" y="2032648"/>
                <a:ext cx="7057" cy="7416"/>
              </a:xfrm>
              <a:custGeom>
                <a:avLst/>
                <a:gdLst>
                  <a:gd name="connsiteX0" fmla="*/ 7058 w 7057"/>
                  <a:gd name="connsiteY0" fmla="*/ 5383 h 7416"/>
                  <a:gd name="connsiteX1" fmla="*/ 4844 w 7057"/>
                  <a:gd name="connsiteY1" fmla="*/ 7416 h 7416"/>
                  <a:gd name="connsiteX2" fmla="*/ 0 w 7057"/>
                  <a:gd name="connsiteY2" fmla="*/ 2033 h 7416"/>
                  <a:gd name="connsiteX3" fmla="*/ 2273 w 7057"/>
                  <a:gd name="connsiteY3" fmla="*/ 0 h 7416"/>
                </a:gdLst>
                <a:ahLst/>
                <a:cxnLst>
                  <a:cxn ang="0">
                    <a:pos x="connsiteX0" y="connsiteY0"/>
                  </a:cxn>
                  <a:cxn ang="0">
                    <a:pos x="connsiteX1" y="connsiteY1"/>
                  </a:cxn>
                  <a:cxn ang="0">
                    <a:pos x="connsiteX2" y="connsiteY2"/>
                  </a:cxn>
                  <a:cxn ang="0">
                    <a:pos x="connsiteX3" y="connsiteY3"/>
                  </a:cxn>
                </a:cxnLst>
                <a:rect l="l" t="t" r="r" b="b"/>
                <a:pathLst>
                  <a:path w="7057" h="7416">
                    <a:moveTo>
                      <a:pt x="7058" y="5383"/>
                    </a:moveTo>
                    <a:lnTo>
                      <a:pt x="4844" y="7416"/>
                    </a:lnTo>
                    <a:lnTo>
                      <a:pt x="0" y="2033"/>
                    </a:lnTo>
                    <a:lnTo>
                      <a:pt x="2273" y="0"/>
                    </a:lnTo>
                    <a:close/>
                  </a:path>
                </a:pathLst>
              </a:custGeom>
              <a:grpFill/>
              <a:ln w="5978" cap="flat">
                <a:noFill/>
                <a:prstDash val="solid"/>
                <a:miter/>
              </a:ln>
            </p:spPr>
            <p:txBody>
              <a:bodyPr rtlCol="0" anchor="ctr"/>
              <a:lstStyle/>
              <a:p>
                <a:endParaRPr lang="en-GB"/>
              </a:p>
            </p:txBody>
          </p:sp>
          <p:sp>
            <p:nvSpPr>
              <p:cNvPr id="2849" name="Vrije vorm: vorm 2848">
                <a:extLst>
                  <a:ext uri="{FF2B5EF4-FFF2-40B4-BE49-F238E27FC236}">
                    <a16:creationId xmlns:a16="http://schemas.microsoft.com/office/drawing/2014/main" id="{C17D3D6E-F547-447E-B0D7-AD90180C34B0}"/>
                  </a:ext>
                </a:extLst>
              </p:cNvPr>
              <p:cNvSpPr/>
              <p:nvPr/>
            </p:nvSpPr>
            <p:spPr>
              <a:xfrm>
                <a:off x="4801421" y="2024772"/>
                <a:ext cx="18324" cy="18444"/>
              </a:xfrm>
              <a:custGeom>
                <a:avLst/>
                <a:gdLst>
                  <a:gd name="connsiteX0" fmla="*/ 2374 w 18324"/>
                  <a:gd name="connsiteY0" fmla="*/ 15412 h 18444"/>
                  <a:gd name="connsiteX1" fmla="*/ 3032 w 18324"/>
                  <a:gd name="connsiteY1" fmla="*/ 2374 h 18444"/>
                  <a:gd name="connsiteX2" fmla="*/ 15951 w 18324"/>
                  <a:gd name="connsiteY2" fmla="*/ 3032 h 18444"/>
                  <a:gd name="connsiteX3" fmla="*/ 15293 w 18324"/>
                  <a:gd name="connsiteY3" fmla="*/ 16070 h 18444"/>
                  <a:gd name="connsiteX4" fmla="*/ 2374 w 18324"/>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44">
                    <a:moveTo>
                      <a:pt x="2374" y="15412"/>
                    </a:moveTo>
                    <a:cubicBezTo>
                      <a:pt x="-1035" y="11645"/>
                      <a:pt x="-736" y="5783"/>
                      <a:pt x="3032" y="2374"/>
                    </a:cubicBezTo>
                    <a:cubicBezTo>
                      <a:pt x="6800" y="-1035"/>
                      <a:pt x="12601" y="-736"/>
                      <a:pt x="15951" y="3032"/>
                    </a:cubicBezTo>
                    <a:cubicBezTo>
                      <a:pt x="19359" y="6800"/>
                      <a:pt x="19060" y="12661"/>
                      <a:pt x="15293" y="16070"/>
                    </a:cubicBezTo>
                    <a:cubicBezTo>
                      <a:pt x="11585" y="19479"/>
                      <a:pt x="5783" y="19180"/>
                      <a:pt x="2374" y="15412"/>
                    </a:cubicBezTo>
                    <a:close/>
                  </a:path>
                </a:pathLst>
              </a:custGeom>
              <a:grpFill/>
              <a:ln w="5978" cap="flat">
                <a:noFill/>
                <a:prstDash val="solid"/>
                <a:miter/>
              </a:ln>
            </p:spPr>
            <p:txBody>
              <a:bodyPr rtlCol="0" anchor="ctr"/>
              <a:lstStyle/>
              <a:p>
                <a:endParaRPr lang="en-GB"/>
              </a:p>
            </p:txBody>
          </p:sp>
          <p:sp>
            <p:nvSpPr>
              <p:cNvPr id="2850" name="Vrije vorm: vorm 2849">
                <a:extLst>
                  <a:ext uri="{FF2B5EF4-FFF2-40B4-BE49-F238E27FC236}">
                    <a16:creationId xmlns:a16="http://schemas.microsoft.com/office/drawing/2014/main" id="{FCD7B802-65E5-43BF-8C4D-DA2209355136}"/>
                  </a:ext>
                </a:extLst>
              </p:cNvPr>
              <p:cNvSpPr/>
              <p:nvPr/>
            </p:nvSpPr>
            <p:spPr>
              <a:xfrm>
                <a:off x="4805667" y="2029496"/>
                <a:ext cx="18301" cy="18444"/>
              </a:xfrm>
              <a:custGeom>
                <a:avLst/>
                <a:gdLst>
                  <a:gd name="connsiteX0" fmla="*/ 2374 w 18301"/>
                  <a:gd name="connsiteY0" fmla="*/ 15412 h 18444"/>
                  <a:gd name="connsiteX1" fmla="*/ 15293 w 18301"/>
                  <a:gd name="connsiteY1" fmla="*/ 16070 h 18444"/>
                  <a:gd name="connsiteX2" fmla="*/ 15950 w 18301"/>
                  <a:gd name="connsiteY2" fmla="*/ 3032 h 18444"/>
                  <a:gd name="connsiteX3" fmla="*/ 3032 w 18301"/>
                  <a:gd name="connsiteY3" fmla="*/ 2374 h 18444"/>
                  <a:gd name="connsiteX4" fmla="*/ 2374 w 18301"/>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44">
                    <a:moveTo>
                      <a:pt x="2374" y="15412"/>
                    </a:moveTo>
                    <a:cubicBezTo>
                      <a:pt x="5783" y="19180"/>
                      <a:pt x="11585" y="19479"/>
                      <a:pt x="15293" y="16070"/>
                    </a:cubicBezTo>
                    <a:cubicBezTo>
                      <a:pt x="19061" y="12661"/>
                      <a:pt x="19300" y="6860"/>
                      <a:pt x="15950" y="3032"/>
                    </a:cubicBezTo>
                    <a:cubicBezTo>
                      <a:pt x="12541" y="-736"/>
                      <a:pt x="6740" y="-1035"/>
                      <a:pt x="3032" y="2374"/>
                    </a:cubicBezTo>
                    <a:cubicBezTo>
                      <a:pt x="-736" y="5783"/>
                      <a:pt x="-1035" y="11585"/>
                      <a:pt x="2374" y="15412"/>
                    </a:cubicBezTo>
                    <a:close/>
                  </a:path>
                </a:pathLst>
              </a:custGeom>
              <a:grpFill/>
              <a:ln w="5978" cap="flat">
                <a:noFill/>
                <a:prstDash val="solid"/>
                <a:miter/>
              </a:ln>
            </p:spPr>
            <p:txBody>
              <a:bodyPr rtlCol="0" anchor="ctr"/>
              <a:lstStyle/>
              <a:p>
                <a:endParaRPr lang="en-GB"/>
              </a:p>
            </p:txBody>
          </p:sp>
        </p:grpSp>
        <p:grpSp>
          <p:nvGrpSpPr>
            <p:cNvPr id="851" name="Graphic 3">
              <a:extLst>
                <a:ext uri="{FF2B5EF4-FFF2-40B4-BE49-F238E27FC236}">
                  <a16:creationId xmlns:a16="http://schemas.microsoft.com/office/drawing/2014/main" id="{2C51A8B8-7A94-4825-8C26-D65A083DDD77}"/>
                </a:ext>
              </a:extLst>
            </p:cNvPr>
            <p:cNvGrpSpPr/>
            <p:nvPr/>
          </p:nvGrpSpPr>
          <p:grpSpPr>
            <a:xfrm>
              <a:off x="4464789" y="1364288"/>
              <a:ext cx="458639" cy="587497"/>
              <a:chOff x="4464789" y="1364288"/>
              <a:chExt cx="458639" cy="587497"/>
            </a:xfrm>
            <a:grpFill/>
          </p:grpSpPr>
          <p:sp>
            <p:nvSpPr>
              <p:cNvPr id="2845" name="Vrije vorm: vorm 2844">
                <a:extLst>
                  <a:ext uri="{FF2B5EF4-FFF2-40B4-BE49-F238E27FC236}">
                    <a16:creationId xmlns:a16="http://schemas.microsoft.com/office/drawing/2014/main" id="{AE19833D-32C2-4275-8699-9F36F0B4BF39}"/>
                  </a:ext>
                </a:extLst>
              </p:cNvPr>
              <p:cNvSpPr/>
              <p:nvPr/>
            </p:nvSpPr>
            <p:spPr>
              <a:xfrm>
                <a:off x="4472463" y="1372197"/>
                <a:ext cx="443291" cy="571637"/>
              </a:xfrm>
              <a:custGeom>
                <a:avLst/>
                <a:gdLst>
                  <a:gd name="connsiteX0" fmla="*/ 443291 w 443291"/>
                  <a:gd name="connsiteY0" fmla="*/ 569783 h 571637"/>
                  <a:gd name="connsiteX1" fmla="*/ 440899 w 443291"/>
                  <a:gd name="connsiteY1" fmla="*/ 571637 h 571637"/>
                  <a:gd name="connsiteX2" fmla="*/ 0 w 443291"/>
                  <a:gd name="connsiteY2" fmla="*/ 1854 h 571637"/>
                  <a:gd name="connsiteX3" fmla="*/ 2392 w 443291"/>
                  <a:gd name="connsiteY3" fmla="*/ 0 h 571637"/>
                </a:gdLst>
                <a:ahLst/>
                <a:cxnLst>
                  <a:cxn ang="0">
                    <a:pos x="connsiteX0" y="connsiteY0"/>
                  </a:cxn>
                  <a:cxn ang="0">
                    <a:pos x="connsiteX1" y="connsiteY1"/>
                  </a:cxn>
                  <a:cxn ang="0">
                    <a:pos x="connsiteX2" y="connsiteY2"/>
                  </a:cxn>
                  <a:cxn ang="0">
                    <a:pos x="connsiteX3" y="connsiteY3"/>
                  </a:cxn>
                </a:cxnLst>
                <a:rect l="l" t="t" r="r" b="b"/>
                <a:pathLst>
                  <a:path w="443291" h="571637">
                    <a:moveTo>
                      <a:pt x="443291" y="569783"/>
                    </a:moveTo>
                    <a:lnTo>
                      <a:pt x="440899" y="571637"/>
                    </a:lnTo>
                    <a:lnTo>
                      <a:pt x="0" y="1854"/>
                    </a:lnTo>
                    <a:lnTo>
                      <a:pt x="2392" y="0"/>
                    </a:lnTo>
                    <a:close/>
                  </a:path>
                </a:pathLst>
              </a:custGeom>
              <a:grpFill/>
              <a:ln w="5978" cap="flat">
                <a:noFill/>
                <a:prstDash val="solid"/>
                <a:miter/>
              </a:ln>
            </p:spPr>
            <p:txBody>
              <a:bodyPr rtlCol="0" anchor="ctr"/>
              <a:lstStyle/>
              <a:p>
                <a:endParaRPr lang="en-GB"/>
              </a:p>
            </p:txBody>
          </p:sp>
          <p:sp>
            <p:nvSpPr>
              <p:cNvPr id="2846" name="Vrije vorm: vorm 2845">
                <a:extLst>
                  <a:ext uri="{FF2B5EF4-FFF2-40B4-BE49-F238E27FC236}">
                    <a16:creationId xmlns:a16="http://schemas.microsoft.com/office/drawing/2014/main" id="{270DFE33-7FDC-497C-8007-23C0A12D09E4}"/>
                  </a:ext>
                </a:extLst>
              </p:cNvPr>
              <p:cNvSpPr/>
              <p:nvPr/>
            </p:nvSpPr>
            <p:spPr>
              <a:xfrm>
                <a:off x="4464789" y="1364288"/>
                <a:ext cx="18339" cy="18406"/>
              </a:xfrm>
              <a:custGeom>
                <a:avLst/>
                <a:gdLst>
                  <a:gd name="connsiteX0" fmla="*/ 1933 w 18339"/>
                  <a:gd name="connsiteY0" fmla="*/ 14847 h 18406"/>
                  <a:gd name="connsiteX1" fmla="*/ 3548 w 18339"/>
                  <a:gd name="connsiteY1" fmla="*/ 1929 h 18406"/>
                  <a:gd name="connsiteX2" fmla="*/ 16406 w 18339"/>
                  <a:gd name="connsiteY2" fmla="*/ 3603 h 18406"/>
                  <a:gd name="connsiteX3" fmla="*/ 14791 w 18339"/>
                  <a:gd name="connsiteY3" fmla="*/ 16521 h 18406"/>
                  <a:gd name="connsiteX4" fmla="*/ 1933 w 18339"/>
                  <a:gd name="connsiteY4" fmla="*/ 1484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6">
                    <a:moveTo>
                      <a:pt x="1933" y="14847"/>
                    </a:moveTo>
                    <a:cubicBezTo>
                      <a:pt x="-1177" y="10840"/>
                      <a:pt x="-459" y="5038"/>
                      <a:pt x="3548" y="1929"/>
                    </a:cubicBezTo>
                    <a:cubicBezTo>
                      <a:pt x="7555" y="-1181"/>
                      <a:pt x="13296" y="-464"/>
                      <a:pt x="16406" y="3603"/>
                    </a:cubicBezTo>
                    <a:cubicBezTo>
                      <a:pt x="19516" y="7610"/>
                      <a:pt x="18798" y="13411"/>
                      <a:pt x="14791" y="16521"/>
                    </a:cubicBezTo>
                    <a:cubicBezTo>
                      <a:pt x="10784" y="19572"/>
                      <a:pt x="5043" y="18854"/>
                      <a:pt x="1933" y="14847"/>
                    </a:cubicBezTo>
                    <a:close/>
                  </a:path>
                </a:pathLst>
              </a:custGeom>
              <a:grpFill/>
              <a:ln w="5978" cap="flat">
                <a:noFill/>
                <a:prstDash val="solid"/>
                <a:miter/>
              </a:ln>
            </p:spPr>
            <p:txBody>
              <a:bodyPr rtlCol="0" anchor="ctr"/>
              <a:lstStyle/>
              <a:p>
                <a:endParaRPr lang="en-GB"/>
              </a:p>
            </p:txBody>
          </p:sp>
          <p:sp>
            <p:nvSpPr>
              <p:cNvPr id="2847" name="Vrije vorm: vorm 2846">
                <a:extLst>
                  <a:ext uri="{FF2B5EF4-FFF2-40B4-BE49-F238E27FC236}">
                    <a16:creationId xmlns:a16="http://schemas.microsoft.com/office/drawing/2014/main" id="{9AD2E4BD-7564-4F14-B707-1673D1DD0893}"/>
                  </a:ext>
                </a:extLst>
              </p:cNvPr>
              <p:cNvSpPr/>
              <p:nvPr/>
            </p:nvSpPr>
            <p:spPr>
              <a:xfrm>
                <a:off x="4905089" y="1933372"/>
                <a:ext cx="18339" cy="18413"/>
              </a:xfrm>
              <a:custGeom>
                <a:avLst/>
                <a:gdLst>
                  <a:gd name="connsiteX0" fmla="*/ 1933 w 18339"/>
                  <a:gd name="connsiteY0" fmla="*/ 14829 h 18413"/>
                  <a:gd name="connsiteX1" fmla="*/ 14791 w 18339"/>
                  <a:gd name="connsiteY1" fmla="*/ 16503 h 18413"/>
                  <a:gd name="connsiteX2" fmla="*/ 16406 w 18339"/>
                  <a:gd name="connsiteY2" fmla="*/ 3585 h 18413"/>
                  <a:gd name="connsiteX3" fmla="*/ 3548 w 18339"/>
                  <a:gd name="connsiteY3" fmla="*/ 1910 h 18413"/>
                  <a:gd name="connsiteX4" fmla="*/ 1933 w 18339"/>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3">
                    <a:moveTo>
                      <a:pt x="1933" y="14829"/>
                    </a:moveTo>
                    <a:cubicBezTo>
                      <a:pt x="5043" y="18836"/>
                      <a:pt x="10784" y="19613"/>
                      <a:pt x="14791" y="16503"/>
                    </a:cubicBezTo>
                    <a:cubicBezTo>
                      <a:pt x="18799" y="13393"/>
                      <a:pt x="19516" y="7592"/>
                      <a:pt x="16406" y="3585"/>
                    </a:cubicBezTo>
                    <a:cubicBezTo>
                      <a:pt x="13296" y="-422"/>
                      <a:pt x="7555" y="-1200"/>
                      <a:pt x="3548" y="1910"/>
                    </a:cubicBezTo>
                    <a:cubicBezTo>
                      <a:pt x="-459" y="5020"/>
                      <a:pt x="-1177" y="10822"/>
                      <a:pt x="1933" y="14829"/>
                    </a:cubicBezTo>
                    <a:close/>
                  </a:path>
                </a:pathLst>
              </a:custGeom>
              <a:grpFill/>
              <a:ln w="5978" cap="flat">
                <a:noFill/>
                <a:prstDash val="solid"/>
                <a:miter/>
              </a:ln>
            </p:spPr>
            <p:txBody>
              <a:bodyPr rtlCol="0" anchor="ctr"/>
              <a:lstStyle/>
              <a:p>
                <a:endParaRPr lang="en-GB"/>
              </a:p>
            </p:txBody>
          </p:sp>
        </p:grpSp>
        <p:grpSp>
          <p:nvGrpSpPr>
            <p:cNvPr id="852" name="Graphic 3">
              <a:extLst>
                <a:ext uri="{FF2B5EF4-FFF2-40B4-BE49-F238E27FC236}">
                  <a16:creationId xmlns:a16="http://schemas.microsoft.com/office/drawing/2014/main" id="{B1EF13B7-FE1C-4E31-B571-91B2E2845B03}"/>
                </a:ext>
              </a:extLst>
            </p:cNvPr>
            <p:cNvGrpSpPr/>
            <p:nvPr/>
          </p:nvGrpSpPr>
          <p:grpSpPr>
            <a:xfrm>
              <a:off x="4736112" y="2005401"/>
              <a:ext cx="171870" cy="182839"/>
              <a:chOff x="4736112" y="2005401"/>
              <a:chExt cx="171870" cy="182839"/>
            </a:xfrm>
            <a:grpFill/>
          </p:grpSpPr>
          <p:sp>
            <p:nvSpPr>
              <p:cNvPr id="2842" name="Vrije vorm: vorm 2841">
                <a:extLst>
                  <a:ext uri="{FF2B5EF4-FFF2-40B4-BE49-F238E27FC236}">
                    <a16:creationId xmlns:a16="http://schemas.microsoft.com/office/drawing/2014/main" id="{8616CB92-37BA-4599-96C6-46825A82442C}"/>
                  </a:ext>
                </a:extLst>
              </p:cNvPr>
              <p:cNvSpPr/>
              <p:nvPr/>
            </p:nvSpPr>
            <p:spPr>
              <a:xfrm>
                <a:off x="4743808" y="2013271"/>
                <a:ext cx="156396" cy="167161"/>
              </a:xfrm>
              <a:custGeom>
                <a:avLst/>
                <a:gdLst>
                  <a:gd name="connsiteX0" fmla="*/ 156396 w 156396"/>
                  <a:gd name="connsiteY0" fmla="*/ 165068 h 167161"/>
                  <a:gd name="connsiteX1" fmla="*/ 154183 w 156396"/>
                  <a:gd name="connsiteY1" fmla="*/ 167161 h 167161"/>
                  <a:gd name="connsiteX2" fmla="*/ 0 w 156396"/>
                  <a:gd name="connsiteY2" fmla="*/ 2093 h 167161"/>
                  <a:gd name="connsiteX3" fmla="*/ 2213 w 156396"/>
                  <a:gd name="connsiteY3" fmla="*/ 0 h 167161"/>
                </a:gdLst>
                <a:ahLst/>
                <a:cxnLst>
                  <a:cxn ang="0">
                    <a:pos x="connsiteX0" y="connsiteY0"/>
                  </a:cxn>
                  <a:cxn ang="0">
                    <a:pos x="connsiteX1" y="connsiteY1"/>
                  </a:cxn>
                  <a:cxn ang="0">
                    <a:pos x="connsiteX2" y="connsiteY2"/>
                  </a:cxn>
                  <a:cxn ang="0">
                    <a:pos x="connsiteX3" y="connsiteY3"/>
                  </a:cxn>
                </a:cxnLst>
                <a:rect l="l" t="t" r="r" b="b"/>
                <a:pathLst>
                  <a:path w="156396" h="167161">
                    <a:moveTo>
                      <a:pt x="156396" y="165068"/>
                    </a:moveTo>
                    <a:lnTo>
                      <a:pt x="154183" y="167161"/>
                    </a:lnTo>
                    <a:lnTo>
                      <a:pt x="0" y="2093"/>
                    </a:lnTo>
                    <a:lnTo>
                      <a:pt x="2213" y="0"/>
                    </a:lnTo>
                    <a:close/>
                  </a:path>
                </a:pathLst>
              </a:custGeom>
              <a:grpFill/>
              <a:ln w="5978" cap="flat">
                <a:noFill/>
                <a:prstDash val="solid"/>
                <a:miter/>
              </a:ln>
            </p:spPr>
            <p:txBody>
              <a:bodyPr rtlCol="0" anchor="ctr"/>
              <a:lstStyle/>
              <a:p>
                <a:endParaRPr lang="en-GB"/>
              </a:p>
            </p:txBody>
          </p:sp>
          <p:sp>
            <p:nvSpPr>
              <p:cNvPr id="2843" name="Vrije vorm: vorm 2842">
                <a:extLst>
                  <a:ext uri="{FF2B5EF4-FFF2-40B4-BE49-F238E27FC236}">
                    <a16:creationId xmlns:a16="http://schemas.microsoft.com/office/drawing/2014/main" id="{BE5368EF-89FB-437D-9B1C-4625DC558E22}"/>
                  </a:ext>
                </a:extLst>
              </p:cNvPr>
              <p:cNvSpPr/>
              <p:nvPr/>
            </p:nvSpPr>
            <p:spPr>
              <a:xfrm>
                <a:off x="4736112" y="2005401"/>
                <a:ext cx="18323" cy="18453"/>
              </a:xfrm>
              <a:custGeom>
                <a:avLst/>
                <a:gdLst>
                  <a:gd name="connsiteX0" fmla="*/ 2493 w 18323"/>
                  <a:gd name="connsiteY0" fmla="*/ 15525 h 18453"/>
                  <a:gd name="connsiteX1" fmla="*/ 2852 w 18323"/>
                  <a:gd name="connsiteY1" fmla="*/ 2487 h 18453"/>
                  <a:gd name="connsiteX2" fmla="*/ 15830 w 18323"/>
                  <a:gd name="connsiteY2" fmla="*/ 2905 h 18453"/>
                  <a:gd name="connsiteX3" fmla="*/ 15472 w 18323"/>
                  <a:gd name="connsiteY3" fmla="*/ 15943 h 18453"/>
                  <a:gd name="connsiteX4" fmla="*/ 2493 w 18323"/>
                  <a:gd name="connsiteY4" fmla="*/ 1552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53">
                    <a:moveTo>
                      <a:pt x="2493" y="15525"/>
                    </a:moveTo>
                    <a:cubicBezTo>
                      <a:pt x="-975" y="11817"/>
                      <a:pt x="-796" y="5956"/>
                      <a:pt x="2852" y="2487"/>
                    </a:cubicBezTo>
                    <a:cubicBezTo>
                      <a:pt x="6560" y="-982"/>
                      <a:pt x="12362" y="-803"/>
                      <a:pt x="15830" y="2905"/>
                    </a:cubicBezTo>
                    <a:cubicBezTo>
                      <a:pt x="19299" y="6613"/>
                      <a:pt x="19120" y="12474"/>
                      <a:pt x="15472" y="15943"/>
                    </a:cubicBezTo>
                    <a:cubicBezTo>
                      <a:pt x="11763" y="19472"/>
                      <a:pt x="5962" y="19233"/>
                      <a:pt x="2493" y="15525"/>
                    </a:cubicBezTo>
                    <a:close/>
                  </a:path>
                </a:pathLst>
              </a:custGeom>
              <a:grpFill/>
              <a:ln w="5978" cap="flat">
                <a:noFill/>
                <a:prstDash val="solid"/>
                <a:miter/>
              </a:ln>
            </p:spPr>
            <p:txBody>
              <a:bodyPr rtlCol="0" anchor="ctr"/>
              <a:lstStyle/>
              <a:p>
                <a:endParaRPr lang="en-GB"/>
              </a:p>
            </p:txBody>
          </p:sp>
          <p:sp>
            <p:nvSpPr>
              <p:cNvPr id="2844" name="Vrije vorm: vorm 2843">
                <a:extLst>
                  <a:ext uri="{FF2B5EF4-FFF2-40B4-BE49-F238E27FC236}">
                    <a16:creationId xmlns:a16="http://schemas.microsoft.com/office/drawing/2014/main" id="{8A6EC699-2EDB-4227-9075-7ECC8179CF87}"/>
                  </a:ext>
                </a:extLst>
              </p:cNvPr>
              <p:cNvSpPr/>
              <p:nvPr/>
            </p:nvSpPr>
            <p:spPr>
              <a:xfrm>
                <a:off x="4889637" y="2169811"/>
                <a:ext cx="18345" cy="18429"/>
              </a:xfrm>
              <a:custGeom>
                <a:avLst/>
                <a:gdLst>
                  <a:gd name="connsiteX0" fmla="*/ 2493 w 18345"/>
                  <a:gd name="connsiteY0" fmla="*/ 15525 h 18429"/>
                  <a:gd name="connsiteX1" fmla="*/ 15472 w 18345"/>
                  <a:gd name="connsiteY1" fmla="*/ 15943 h 18429"/>
                  <a:gd name="connsiteX2" fmla="*/ 15830 w 18345"/>
                  <a:gd name="connsiteY2" fmla="*/ 2905 h 18429"/>
                  <a:gd name="connsiteX3" fmla="*/ 2852 w 18345"/>
                  <a:gd name="connsiteY3" fmla="*/ 2487 h 18429"/>
                  <a:gd name="connsiteX4" fmla="*/ 2493 w 18345"/>
                  <a:gd name="connsiteY4" fmla="*/ 1552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9">
                    <a:moveTo>
                      <a:pt x="2493" y="15525"/>
                    </a:moveTo>
                    <a:cubicBezTo>
                      <a:pt x="5962" y="19233"/>
                      <a:pt x="11763" y="19412"/>
                      <a:pt x="15472" y="15943"/>
                    </a:cubicBezTo>
                    <a:cubicBezTo>
                      <a:pt x="19180" y="12474"/>
                      <a:pt x="19299" y="6613"/>
                      <a:pt x="15830" y="2905"/>
                    </a:cubicBezTo>
                    <a:cubicBezTo>
                      <a:pt x="12361" y="-803"/>
                      <a:pt x="6560" y="-982"/>
                      <a:pt x="2852" y="2487"/>
                    </a:cubicBezTo>
                    <a:cubicBezTo>
                      <a:pt x="-796" y="5955"/>
                      <a:pt x="-975" y="11817"/>
                      <a:pt x="2493" y="15525"/>
                    </a:cubicBezTo>
                    <a:close/>
                  </a:path>
                </a:pathLst>
              </a:custGeom>
              <a:grpFill/>
              <a:ln w="5978" cap="flat">
                <a:noFill/>
                <a:prstDash val="solid"/>
                <a:miter/>
              </a:ln>
            </p:spPr>
            <p:txBody>
              <a:bodyPr rtlCol="0" anchor="ctr"/>
              <a:lstStyle/>
              <a:p>
                <a:endParaRPr lang="en-GB"/>
              </a:p>
            </p:txBody>
          </p:sp>
        </p:grpSp>
        <p:grpSp>
          <p:nvGrpSpPr>
            <p:cNvPr id="853" name="Graphic 3">
              <a:extLst>
                <a:ext uri="{FF2B5EF4-FFF2-40B4-BE49-F238E27FC236}">
                  <a16:creationId xmlns:a16="http://schemas.microsoft.com/office/drawing/2014/main" id="{BB70564A-4611-4AF8-92B9-5E95CFF36A85}"/>
                </a:ext>
              </a:extLst>
            </p:cNvPr>
            <p:cNvGrpSpPr/>
            <p:nvPr/>
          </p:nvGrpSpPr>
          <p:grpSpPr>
            <a:xfrm>
              <a:off x="4754396" y="1917910"/>
              <a:ext cx="22324" cy="22927"/>
              <a:chOff x="4754396" y="1917910"/>
              <a:chExt cx="22324" cy="22927"/>
            </a:xfrm>
            <a:grpFill/>
          </p:grpSpPr>
          <p:sp>
            <p:nvSpPr>
              <p:cNvPr id="2839" name="Vrije vorm: vorm 2838">
                <a:extLst>
                  <a:ext uri="{FF2B5EF4-FFF2-40B4-BE49-F238E27FC236}">
                    <a16:creationId xmlns:a16="http://schemas.microsoft.com/office/drawing/2014/main" id="{10880957-C7A5-4AF6-A91E-1DACB6273AC9}"/>
                  </a:ext>
                </a:extLst>
              </p:cNvPr>
              <p:cNvSpPr/>
              <p:nvPr/>
            </p:nvSpPr>
            <p:spPr>
              <a:xfrm>
                <a:off x="4762169" y="1925713"/>
                <a:ext cx="6818" cy="7296"/>
              </a:xfrm>
              <a:custGeom>
                <a:avLst/>
                <a:gdLst>
                  <a:gd name="connsiteX0" fmla="*/ 6818 w 6818"/>
                  <a:gd name="connsiteY0" fmla="*/ 5263 h 7296"/>
                  <a:gd name="connsiteX1" fmla="*/ 4545 w 6818"/>
                  <a:gd name="connsiteY1" fmla="*/ 7296 h 7296"/>
                  <a:gd name="connsiteX2" fmla="*/ 0 w 6818"/>
                  <a:gd name="connsiteY2" fmla="*/ 2033 h 7296"/>
                  <a:gd name="connsiteX3" fmla="*/ 2273 w 6818"/>
                  <a:gd name="connsiteY3" fmla="*/ 0 h 7296"/>
                </a:gdLst>
                <a:ahLst/>
                <a:cxnLst>
                  <a:cxn ang="0">
                    <a:pos x="connsiteX0" y="connsiteY0"/>
                  </a:cxn>
                  <a:cxn ang="0">
                    <a:pos x="connsiteX1" y="connsiteY1"/>
                  </a:cxn>
                  <a:cxn ang="0">
                    <a:pos x="connsiteX2" y="connsiteY2"/>
                  </a:cxn>
                  <a:cxn ang="0">
                    <a:pos x="connsiteX3" y="connsiteY3"/>
                  </a:cxn>
                </a:cxnLst>
                <a:rect l="l" t="t" r="r" b="b"/>
                <a:pathLst>
                  <a:path w="6818" h="7296">
                    <a:moveTo>
                      <a:pt x="6818" y="5263"/>
                    </a:moveTo>
                    <a:lnTo>
                      <a:pt x="4545" y="7296"/>
                    </a:lnTo>
                    <a:lnTo>
                      <a:pt x="0" y="2033"/>
                    </a:lnTo>
                    <a:lnTo>
                      <a:pt x="2273" y="0"/>
                    </a:lnTo>
                    <a:close/>
                  </a:path>
                </a:pathLst>
              </a:custGeom>
              <a:grpFill/>
              <a:ln w="5978" cap="flat">
                <a:noFill/>
                <a:prstDash val="solid"/>
                <a:miter/>
              </a:ln>
            </p:spPr>
            <p:txBody>
              <a:bodyPr rtlCol="0" anchor="ctr"/>
              <a:lstStyle/>
              <a:p>
                <a:endParaRPr lang="en-GB"/>
              </a:p>
            </p:txBody>
          </p:sp>
          <p:sp>
            <p:nvSpPr>
              <p:cNvPr id="2840" name="Vrije vorm: vorm 2839">
                <a:extLst>
                  <a:ext uri="{FF2B5EF4-FFF2-40B4-BE49-F238E27FC236}">
                    <a16:creationId xmlns:a16="http://schemas.microsoft.com/office/drawing/2014/main" id="{DAFBF138-2FC6-4F79-824E-71E482625F6C}"/>
                  </a:ext>
                </a:extLst>
              </p:cNvPr>
              <p:cNvSpPr/>
              <p:nvPr/>
            </p:nvSpPr>
            <p:spPr>
              <a:xfrm>
                <a:off x="4754396" y="1917910"/>
                <a:ext cx="18273" cy="18381"/>
              </a:xfrm>
              <a:custGeom>
                <a:avLst/>
                <a:gdLst>
                  <a:gd name="connsiteX0" fmla="*/ 2271 w 18273"/>
                  <a:gd name="connsiteY0" fmla="*/ 15219 h 18381"/>
                  <a:gd name="connsiteX1" fmla="*/ 3108 w 18273"/>
                  <a:gd name="connsiteY1" fmla="*/ 2241 h 18381"/>
                  <a:gd name="connsiteX2" fmla="*/ 16027 w 18273"/>
                  <a:gd name="connsiteY2" fmla="*/ 3138 h 18381"/>
                  <a:gd name="connsiteX3" fmla="*/ 15189 w 18273"/>
                  <a:gd name="connsiteY3" fmla="*/ 16116 h 18381"/>
                  <a:gd name="connsiteX4" fmla="*/ 2271 w 18273"/>
                  <a:gd name="connsiteY4" fmla="*/ 15219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3" h="18381">
                    <a:moveTo>
                      <a:pt x="2271" y="15219"/>
                    </a:moveTo>
                    <a:cubicBezTo>
                      <a:pt x="-1078" y="11392"/>
                      <a:pt x="-660" y="5531"/>
                      <a:pt x="3108" y="2241"/>
                    </a:cubicBezTo>
                    <a:cubicBezTo>
                      <a:pt x="6876" y="-1048"/>
                      <a:pt x="12737" y="-689"/>
                      <a:pt x="16027" y="3138"/>
                    </a:cubicBezTo>
                    <a:cubicBezTo>
                      <a:pt x="19316" y="6966"/>
                      <a:pt x="18957" y="12827"/>
                      <a:pt x="15189" y="16116"/>
                    </a:cubicBezTo>
                    <a:cubicBezTo>
                      <a:pt x="11421" y="19466"/>
                      <a:pt x="5620" y="19047"/>
                      <a:pt x="2271" y="15219"/>
                    </a:cubicBezTo>
                    <a:close/>
                  </a:path>
                </a:pathLst>
              </a:custGeom>
              <a:grpFill/>
              <a:ln w="5978" cap="flat">
                <a:noFill/>
                <a:prstDash val="solid"/>
                <a:miter/>
              </a:ln>
            </p:spPr>
            <p:txBody>
              <a:bodyPr rtlCol="0" anchor="ctr"/>
              <a:lstStyle/>
              <a:p>
                <a:endParaRPr lang="en-GB"/>
              </a:p>
            </p:txBody>
          </p:sp>
          <p:sp>
            <p:nvSpPr>
              <p:cNvPr id="2841" name="Vrije vorm: vorm 2840">
                <a:extLst>
                  <a:ext uri="{FF2B5EF4-FFF2-40B4-BE49-F238E27FC236}">
                    <a16:creationId xmlns:a16="http://schemas.microsoft.com/office/drawing/2014/main" id="{BB0F1AAD-7CCD-438D-A4B1-E15966F4E99C}"/>
                  </a:ext>
                </a:extLst>
              </p:cNvPr>
              <p:cNvSpPr/>
              <p:nvPr/>
            </p:nvSpPr>
            <p:spPr>
              <a:xfrm>
                <a:off x="4758403" y="1922431"/>
                <a:ext cx="18317" cy="18405"/>
              </a:xfrm>
              <a:custGeom>
                <a:avLst/>
                <a:gdLst>
                  <a:gd name="connsiteX0" fmla="*/ 2271 w 18317"/>
                  <a:gd name="connsiteY0" fmla="*/ 15244 h 18405"/>
                  <a:gd name="connsiteX1" fmla="*/ 15190 w 18317"/>
                  <a:gd name="connsiteY1" fmla="*/ 16141 h 18405"/>
                  <a:gd name="connsiteX2" fmla="*/ 16027 w 18317"/>
                  <a:gd name="connsiteY2" fmla="*/ 3163 h 18405"/>
                  <a:gd name="connsiteX3" fmla="*/ 3108 w 18317"/>
                  <a:gd name="connsiteY3" fmla="*/ 2265 h 18405"/>
                  <a:gd name="connsiteX4" fmla="*/ 2271 w 18317"/>
                  <a:gd name="connsiteY4" fmla="*/ 1524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05">
                    <a:moveTo>
                      <a:pt x="2271" y="15244"/>
                    </a:moveTo>
                    <a:cubicBezTo>
                      <a:pt x="5620" y="19071"/>
                      <a:pt x="11422" y="19490"/>
                      <a:pt x="15190" y="16141"/>
                    </a:cubicBezTo>
                    <a:cubicBezTo>
                      <a:pt x="19017" y="12791"/>
                      <a:pt x="19376" y="6990"/>
                      <a:pt x="16027" y="3163"/>
                    </a:cubicBezTo>
                    <a:cubicBezTo>
                      <a:pt x="12677" y="-665"/>
                      <a:pt x="6876" y="-1084"/>
                      <a:pt x="3108" y="2265"/>
                    </a:cubicBezTo>
                    <a:cubicBezTo>
                      <a:pt x="-660" y="5615"/>
                      <a:pt x="-1078" y="11416"/>
                      <a:pt x="2271" y="15244"/>
                    </a:cubicBezTo>
                    <a:close/>
                  </a:path>
                </a:pathLst>
              </a:custGeom>
              <a:grpFill/>
              <a:ln w="5978" cap="flat">
                <a:noFill/>
                <a:prstDash val="solid"/>
                <a:miter/>
              </a:ln>
            </p:spPr>
            <p:txBody>
              <a:bodyPr rtlCol="0" anchor="ctr"/>
              <a:lstStyle/>
              <a:p>
                <a:endParaRPr lang="en-GB"/>
              </a:p>
            </p:txBody>
          </p:sp>
        </p:grpSp>
        <p:grpSp>
          <p:nvGrpSpPr>
            <p:cNvPr id="854" name="Graphic 3">
              <a:extLst>
                <a:ext uri="{FF2B5EF4-FFF2-40B4-BE49-F238E27FC236}">
                  <a16:creationId xmlns:a16="http://schemas.microsoft.com/office/drawing/2014/main" id="{0E10EB28-6C6C-471D-96E1-E8689AB649DC}"/>
                </a:ext>
              </a:extLst>
            </p:cNvPr>
            <p:cNvGrpSpPr/>
            <p:nvPr/>
          </p:nvGrpSpPr>
          <p:grpSpPr>
            <a:xfrm>
              <a:off x="4757815" y="1976268"/>
              <a:ext cx="49577" cy="53252"/>
              <a:chOff x="4757815" y="1976268"/>
              <a:chExt cx="49577" cy="53252"/>
            </a:xfrm>
            <a:grpFill/>
          </p:grpSpPr>
          <p:sp>
            <p:nvSpPr>
              <p:cNvPr id="2836" name="Vrije vorm: vorm 2835">
                <a:extLst>
                  <a:ext uri="{FF2B5EF4-FFF2-40B4-BE49-F238E27FC236}">
                    <a16:creationId xmlns:a16="http://schemas.microsoft.com/office/drawing/2014/main" id="{F955E326-5B11-427F-922E-13C271AE1D35}"/>
                  </a:ext>
                </a:extLst>
              </p:cNvPr>
              <p:cNvSpPr/>
              <p:nvPr/>
            </p:nvSpPr>
            <p:spPr>
              <a:xfrm>
                <a:off x="4765518" y="1984144"/>
                <a:ext cx="34209" cy="37558"/>
              </a:xfrm>
              <a:custGeom>
                <a:avLst/>
                <a:gdLst>
                  <a:gd name="connsiteX0" fmla="*/ 34210 w 34209"/>
                  <a:gd name="connsiteY0" fmla="*/ 35526 h 37558"/>
                  <a:gd name="connsiteX1" fmla="*/ 31937 w 34209"/>
                  <a:gd name="connsiteY1" fmla="*/ 37559 h 37558"/>
                  <a:gd name="connsiteX2" fmla="*/ 0 w 34209"/>
                  <a:gd name="connsiteY2" fmla="*/ 2093 h 37558"/>
                  <a:gd name="connsiteX3" fmla="*/ 2273 w 34209"/>
                  <a:gd name="connsiteY3" fmla="*/ 0 h 37558"/>
                </a:gdLst>
                <a:ahLst/>
                <a:cxnLst>
                  <a:cxn ang="0">
                    <a:pos x="connsiteX0" y="connsiteY0"/>
                  </a:cxn>
                  <a:cxn ang="0">
                    <a:pos x="connsiteX1" y="connsiteY1"/>
                  </a:cxn>
                  <a:cxn ang="0">
                    <a:pos x="connsiteX2" y="connsiteY2"/>
                  </a:cxn>
                  <a:cxn ang="0">
                    <a:pos x="connsiteX3" y="connsiteY3"/>
                  </a:cxn>
                </a:cxnLst>
                <a:rect l="l" t="t" r="r" b="b"/>
                <a:pathLst>
                  <a:path w="34209" h="37558">
                    <a:moveTo>
                      <a:pt x="34210" y="35526"/>
                    </a:moveTo>
                    <a:lnTo>
                      <a:pt x="31937" y="37559"/>
                    </a:lnTo>
                    <a:lnTo>
                      <a:pt x="0" y="2093"/>
                    </a:lnTo>
                    <a:lnTo>
                      <a:pt x="2273" y="0"/>
                    </a:lnTo>
                    <a:close/>
                  </a:path>
                </a:pathLst>
              </a:custGeom>
              <a:grpFill/>
              <a:ln w="5978" cap="flat">
                <a:noFill/>
                <a:prstDash val="solid"/>
                <a:miter/>
              </a:ln>
            </p:spPr>
            <p:txBody>
              <a:bodyPr rtlCol="0" anchor="ctr"/>
              <a:lstStyle/>
              <a:p>
                <a:endParaRPr lang="en-GB"/>
              </a:p>
            </p:txBody>
          </p:sp>
          <p:sp>
            <p:nvSpPr>
              <p:cNvPr id="2837" name="Vrije vorm: vorm 2836">
                <a:extLst>
                  <a:ext uri="{FF2B5EF4-FFF2-40B4-BE49-F238E27FC236}">
                    <a16:creationId xmlns:a16="http://schemas.microsoft.com/office/drawing/2014/main" id="{ABAA320B-478E-4E6D-B34B-924CD105C3A7}"/>
                  </a:ext>
                </a:extLst>
              </p:cNvPr>
              <p:cNvSpPr/>
              <p:nvPr/>
            </p:nvSpPr>
            <p:spPr>
              <a:xfrm>
                <a:off x="4757815" y="1976268"/>
                <a:ext cx="18277" cy="18489"/>
              </a:xfrm>
              <a:custGeom>
                <a:avLst/>
                <a:gdLst>
                  <a:gd name="connsiteX0" fmla="*/ 2380 w 18277"/>
                  <a:gd name="connsiteY0" fmla="*/ 15412 h 18489"/>
                  <a:gd name="connsiteX1" fmla="*/ 2979 w 18277"/>
                  <a:gd name="connsiteY1" fmla="*/ 2374 h 18489"/>
                  <a:gd name="connsiteX2" fmla="*/ 15897 w 18277"/>
                  <a:gd name="connsiteY2" fmla="*/ 3032 h 18489"/>
                  <a:gd name="connsiteX3" fmla="*/ 15299 w 18277"/>
                  <a:gd name="connsiteY3" fmla="*/ 16070 h 18489"/>
                  <a:gd name="connsiteX4" fmla="*/ 2380 w 18277"/>
                  <a:gd name="connsiteY4" fmla="*/ 15412 h 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89">
                    <a:moveTo>
                      <a:pt x="2380" y="15412"/>
                    </a:moveTo>
                    <a:cubicBezTo>
                      <a:pt x="-1028" y="11645"/>
                      <a:pt x="-730" y="5783"/>
                      <a:pt x="2979" y="2374"/>
                    </a:cubicBezTo>
                    <a:cubicBezTo>
                      <a:pt x="6746" y="-1035"/>
                      <a:pt x="12548" y="-736"/>
                      <a:pt x="15897" y="3032"/>
                    </a:cubicBezTo>
                    <a:cubicBezTo>
                      <a:pt x="19306" y="6800"/>
                      <a:pt x="19007" y="12661"/>
                      <a:pt x="15299" y="16070"/>
                    </a:cubicBezTo>
                    <a:cubicBezTo>
                      <a:pt x="11591" y="19539"/>
                      <a:pt x="5789" y="19240"/>
                      <a:pt x="2380" y="15412"/>
                    </a:cubicBezTo>
                    <a:close/>
                  </a:path>
                </a:pathLst>
              </a:custGeom>
              <a:grpFill/>
              <a:ln w="5978" cap="flat">
                <a:noFill/>
                <a:prstDash val="solid"/>
                <a:miter/>
              </a:ln>
            </p:spPr>
            <p:txBody>
              <a:bodyPr rtlCol="0" anchor="ctr"/>
              <a:lstStyle/>
              <a:p>
                <a:endParaRPr lang="en-GB"/>
              </a:p>
            </p:txBody>
          </p:sp>
          <p:sp>
            <p:nvSpPr>
              <p:cNvPr id="2838" name="Vrije vorm: vorm 2837">
                <a:extLst>
                  <a:ext uri="{FF2B5EF4-FFF2-40B4-BE49-F238E27FC236}">
                    <a16:creationId xmlns:a16="http://schemas.microsoft.com/office/drawing/2014/main" id="{A696C61A-4270-44BC-AD08-6F0C160A63D4}"/>
                  </a:ext>
                </a:extLst>
              </p:cNvPr>
              <p:cNvSpPr/>
              <p:nvPr/>
            </p:nvSpPr>
            <p:spPr>
              <a:xfrm>
                <a:off x="4789094" y="2011076"/>
                <a:ext cx="18298" cy="18444"/>
              </a:xfrm>
              <a:custGeom>
                <a:avLst/>
                <a:gdLst>
                  <a:gd name="connsiteX0" fmla="*/ 2381 w 18298"/>
                  <a:gd name="connsiteY0" fmla="*/ 15412 h 18444"/>
                  <a:gd name="connsiteX1" fmla="*/ 15299 w 18298"/>
                  <a:gd name="connsiteY1" fmla="*/ 16070 h 18444"/>
                  <a:gd name="connsiteX2" fmla="*/ 15897 w 18298"/>
                  <a:gd name="connsiteY2" fmla="*/ 3032 h 18444"/>
                  <a:gd name="connsiteX3" fmla="*/ 2978 w 18298"/>
                  <a:gd name="connsiteY3" fmla="*/ 2374 h 18444"/>
                  <a:gd name="connsiteX4" fmla="*/ 2381 w 18298"/>
                  <a:gd name="connsiteY4" fmla="*/ 1541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44">
                    <a:moveTo>
                      <a:pt x="2381" y="15412"/>
                    </a:moveTo>
                    <a:cubicBezTo>
                      <a:pt x="5790" y="19180"/>
                      <a:pt x="11591" y="19479"/>
                      <a:pt x="15299" y="16070"/>
                    </a:cubicBezTo>
                    <a:cubicBezTo>
                      <a:pt x="19067" y="12661"/>
                      <a:pt x="19306" y="6860"/>
                      <a:pt x="15897" y="3032"/>
                    </a:cubicBezTo>
                    <a:cubicBezTo>
                      <a:pt x="12488" y="-736"/>
                      <a:pt x="6686" y="-1035"/>
                      <a:pt x="2978" y="2374"/>
                    </a:cubicBezTo>
                    <a:cubicBezTo>
                      <a:pt x="-730" y="5843"/>
                      <a:pt x="-1029" y="11644"/>
                      <a:pt x="2381" y="15412"/>
                    </a:cubicBezTo>
                    <a:close/>
                  </a:path>
                </a:pathLst>
              </a:custGeom>
              <a:grpFill/>
              <a:ln w="5978" cap="flat">
                <a:noFill/>
                <a:prstDash val="solid"/>
                <a:miter/>
              </a:ln>
            </p:spPr>
            <p:txBody>
              <a:bodyPr rtlCol="0" anchor="ctr"/>
              <a:lstStyle/>
              <a:p>
                <a:endParaRPr lang="en-GB"/>
              </a:p>
            </p:txBody>
          </p:sp>
        </p:grpSp>
        <p:grpSp>
          <p:nvGrpSpPr>
            <p:cNvPr id="855" name="Graphic 3">
              <a:extLst>
                <a:ext uri="{FF2B5EF4-FFF2-40B4-BE49-F238E27FC236}">
                  <a16:creationId xmlns:a16="http://schemas.microsoft.com/office/drawing/2014/main" id="{23BA124F-6322-4FFA-BF33-4EED6647421F}"/>
                </a:ext>
              </a:extLst>
            </p:cNvPr>
            <p:cNvGrpSpPr/>
            <p:nvPr/>
          </p:nvGrpSpPr>
          <p:grpSpPr>
            <a:xfrm>
              <a:off x="5834014" y="5093677"/>
              <a:ext cx="73342" cy="250158"/>
              <a:chOff x="5834014" y="5093677"/>
              <a:chExt cx="73342" cy="250158"/>
            </a:xfrm>
            <a:grpFill/>
          </p:grpSpPr>
          <p:sp>
            <p:nvSpPr>
              <p:cNvPr id="2833" name="Vrije vorm: vorm 2832">
                <a:extLst>
                  <a:ext uri="{FF2B5EF4-FFF2-40B4-BE49-F238E27FC236}">
                    <a16:creationId xmlns:a16="http://schemas.microsoft.com/office/drawing/2014/main" id="{35B6A90F-96AB-410E-BBC4-48D49F8FC3BD}"/>
                  </a:ext>
                </a:extLst>
              </p:cNvPr>
              <p:cNvSpPr/>
              <p:nvPr/>
            </p:nvSpPr>
            <p:spPr>
              <a:xfrm>
                <a:off x="5841570" y="5102074"/>
                <a:ext cx="58132" cy="233367"/>
              </a:xfrm>
              <a:custGeom>
                <a:avLst/>
                <a:gdLst>
                  <a:gd name="connsiteX0" fmla="*/ 58132 w 58132"/>
                  <a:gd name="connsiteY0" fmla="*/ 718 h 233367"/>
                  <a:gd name="connsiteX1" fmla="*/ 2990 w 58132"/>
                  <a:gd name="connsiteY1" fmla="*/ 233368 h 233367"/>
                  <a:gd name="connsiteX2" fmla="*/ 0 w 58132"/>
                  <a:gd name="connsiteY2" fmla="*/ 232650 h 233367"/>
                  <a:gd name="connsiteX3" fmla="*/ 55202 w 58132"/>
                  <a:gd name="connsiteY3" fmla="*/ 0 h 233367"/>
                </a:gdLst>
                <a:ahLst/>
                <a:cxnLst>
                  <a:cxn ang="0">
                    <a:pos x="connsiteX0" y="connsiteY0"/>
                  </a:cxn>
                  <a:cxn ang="0">
                    <a:pos x="connsiteX1" y="connsiteY1"/>
                  </a:cxn>
                  <a:cxn ang="0">
                    <a:pos x="connsiteX2" y="connsiteY2"/>
                  </a:cxn>
                  <a:cxn ang="0">
                    <a:pos x="connsiteX3" y="connsiteY3"/>
                  </a:cxn>
                </a:cxnLst>
                <a:rect l="l" t="t" r="r" b="b"/>
                <a:pathLst>
                  <a:path w="58132" h="233367">
                    <a:moveTo>
                      <a:pt x="58132" y="718"/>
                    </a:moveTo>
                    <a:lnTo>
                      <a:pt x="2990" y="233368"/>
                    </a:lnTo>
                    <a:lnTo>
                      <a:pt x="0" y="232650"/>
                    </a:lnTo>
                    <a:lnTo>
                      <a:pt x="55202" y="0"/>
                    </a:lnTo>
                    <a:close/>
                  </a:path>
                </a:pathLst>
              </a:custGeom>
              <a:grpFill/>
              <a:ln w="5978" cap="flat">
                <a:noFill/>
                <a:prstDash val="solid"/>
                <a:miter/>
              </a:ln>
            </p:spPr>
            <p:txBody>
              <a:bodyPr rtlCol="0" anchor="ctr"/>
              <a:lstStyle/>
              <a:p>
                <a:endParaRPr lang="en-GB"/>
              </a:p>
            </p:txBody>
          </p:sp>
          <p:sp>
            <p:nvSpPr>
              <p:cNvPr id="2834" name="Vrije vorm: vorm 2833">
                <a:extLst>
                  <a:ext uri="{FF2B5EF4-FFF2-40B4-BE49-F238E27FC236}">
                    <a16:creationId xmlns:a16="http://schemas.microsoft.com/office/drawing/2014/main" id="{DEDADF2F-F71B-4919-B0BE-A8CC5FF55E87}"/>
                  </a:ext>
                </a:extLst>
              </p:cNvPr>
              <p:cNvSpPr/>
              <p:nvPr/>
            </p:nvSpPr>
            <p:spPr>
              <a:xfrm>
                <a:off x="5888977" y="5093677"/>
                <a:ext cx="18379" cy="18408"/>
              </a:xfrm>
              <a:custGeom>
                <a:avLst/>
                <a:gdLst>
                  <a:gd name="connsiteX0" fmla="*/ 260 w 18379"/>
                  <a:gd name="connsiteY0" fmla="*/ 7021 h 18408"/>
                  <a:gd name="connsiteX1" fmla="*/ 11324 w 18379"/>
                  <a:gd name="connsiteY1" fmla="*/ 263 h 18408"/>
                  <a:gd name="connsiteX2" fmla="*/ 18142 w 18379"/>
                  <a:gd name="connsiteY2" fmla="*/ 11387 h 18408"/>
                  <a:gd name="connsiteX3" fmla="*/ 7078 w 18379"/>
                  <a:gd name="connsiteY3" fmla="*/ 18145 h 18408"/>
                  <a:gd name="connsiteX4" fmla="*/ 260 w 18379"/>
                  <a:gd name="connsiteY4" fmla="*/ 70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9" h="18408">
                    <a:moveTo>
                      <a:pt x="260" y="7021"/>
                    </a:moveTo>
                    <a:cubicBezTo>
                      <a:pt x="1456" y="2057"/>
                      <a:pt x="6360" y="-933"/>
                      <a:pt x="11324" y="263"/>
                    </a:cubicBezTo>
                    <a:cubicBezTo>
                      <a:pt x="16228" y="1459"/>
                      <a:pt x="19278" y="6423"/>
                      <a:pt x="18142" y="11387"/>
                    </a:cubicBezTo>
                    <a:cubicBezTo>
                      <a:pt x="16946" y="16351"/>
                      <a:pt x="12042" y="19342"/>
                      <a:pt x="7078" y="18145"/>
                    </a:cubicBezTo>
                    <a:cubicBezTo>
                      <a:pt x="2114" y="16949"/>
                      <a:pt x="-937" y="11985"/>
                      <a:pt x="260" y="7021"/>
                    </a:cubicBezTo>
                    <a:close/>
                  </a:path>
                </a:pathLst>
              </a:custGeom>
              <a:grpFill/>
              <a:ln w="5978" cap="flat">
                <a:noFill/>
                <a:prstDash val="solid"/>
                <a:miter/>
              </a:ln>
            </p:spPr>
            <p:txBody>
              <a:bodyPr rtlCol="0" anchor="ctr"/>
              <a:lstStyle/>
              <a:p>
                <a:endParaRPr lang="en-GB"/>
              </a:p>
            </p:txBody>
          </p:sp>
          <p:sp>
            <p:nvSpPr>
              <p:cNvPr id="2835" name="Vrije vorm: vorm 2834">
                <a:extLst>
                  <a:ext uri="{FF2B5EF4-FFF2-40B4-BE49-F238E27FC236}">
                    <a16:creationId xmlns:a16="http://schemas.microsoft.com/office/drawing/2014/main" id="{4A6DB8EB-7D78-45FE-9D84-4762BC23EAB7}"/>
                  </a:ext>
                </a:extLst>
              </p:cNvPr>
              <p:cNvSpPr/>
              <p:nvPr/>
            </p:nvSpPr>
            <p:spPr>
              <a:xfrm>
                <a:off x="5834014" y="5325430"/>
                <a:ext cx="18401" cy="18405"/>
              </a:xfrm>
              <a:custGeom>
                <a:avLst/>
                <a:gdLst>
                  <a:gd name="connsiteX0" fmla="*/ 260 w 18401"/>
                  <a:gd name="connsiteY0" fmla="*/ 7021 h 18405"/>
                  <a:gd name="connsiteX1" fmla="*/ 7078 w 18401"/>
                  <a:gd name="connsiteY1" fmla="*/ 18145 h 18405"/>
                  <a:gd name="connsiteX2" fmla="*/ 18142 w 18401"/>
                  <a:gd name="connsiteY2" fmla="*/ 11387 h 18405"/>
                  <a:gd name="connsiteX3" fmla="*/ 11324 w 18401"/>
                  <a:gd name="connsiteY3" fmla="*/ 263 h 18405"/>
                  <a:gd name="connsiteX4" fmla="*/ 260 w 18401"/>
                  <a:gd name="connsiteY4" fmla="*/ 702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1" h="18405">
                    <a:moveTo>
                      <a:pt x="260" y="7021"/>
                    </a:moveTo>
                    <a:cubicBezTo>
                      <a:pt x="-937" y="11985"/>
                      <a:pt x="2114" y="16949"/>
                      <a:pt x="7078" y="18145"/>
                    </a:cubicBezTo>
                    <a:cubicBezTo>
                      <a:pt x="11982" y="19342"/>
                      <a:pt x="16946" y="16291"/>
                      <a:pt x="18142" y="11387"/>
                    </a:cubicBezTo>
                    <a:cubicBezTo>
                      <a:pt x="19338" y="6423"/>
                      <a:pt x="16288" y="1459"/>
                      <a:pt x="11324" y="263"/>
                    </a:cubicBezTo>
                    <a:cubicBezTo>
                      <a:pt x="6360" y="-933"/>
                      <a:pt x="1456" y="2057"/>
                      <a:pt x="260" y="7021"/>
                    </a:cubicBezTo>
                    <a:close/>
                  </a:path>
                </a:pathLst>
              </a:custGeom>
              <a:grpFill/>
              <a:ln w="5978" cap="flat">
                <a:noFill/>
                <a:prstDash val="solid"/>
                <a:miter/>
              </a:ln>
            </p:spPr>
            <p:txBody>
              <a:bodyPr rtlCol="0" anchor="ctr"/>
              <a:lstStyle/>
              <a:p>
                <a:endParaRPr lang="en-GB"/>
              </a:p>
            </p:txBody>
          </p:sp>
        </p:grpSp>
        <p:grpSp>
          <p:nvGrpSpPr>
            <p:cNvPr id="856" name="Graphic 3">
              <a:extLst>
                <a:ext uri="{FF2B5EF4-FFF2-40B4-BE49-F238E27FC236}">
                  <a16:creationId xmlns:a16="http://schemas.microsoft.com/office/drawing/2014/main" id="{A69DC08E-BA06-4FB8-9D12-E434A3FA7D39}"/>
                </a:ext>
              </a:extLst>
            </p:cNvPr>
            <p:cNvGrpSpPr/>
            <p:nvPr/>
          </p:nvGrpSpPr>
          <p:grpSpPr>
            <a:xfrm>
              <a:off x="5896262" y="5271895"/>
              <a:ext cx="30676" cy="187131"/>
              <a:chOff x="5896262" y="5271895"/>
              <a:chExt cx="30676" cy="187131"/>
            </a:xfrm>
            <a:grpFill/>
          </p:grpSpPr>
          <p:sp>
            <p:nvSpPr>
              <p:cNvPr id="2830" name="Vrije vorm: vorm 2829">
                <a:extLst>
                  <a:ext uri="{FF2B5EF4-FFF2-40B4-BE49-F238E27FC236}">
                    <a16:creationId xmlns:a16="http://schemas.microsoft.com/office/drawing/2014/main" id="{6AC2C554-D737-4041-96E5-A97258F35744}"/>
                  </a:ext>
                </a:extLst>
              </p:cNvPr>
              <p:cNvSpPr/>
              <p:nvPr/>
            </p:nvSpPr>
            <p:spPr>
              <a:xfrm>
                <a:off x="5903829" y="5280539"/>
                <a:ext cx="15549" cy="169852"/>
              </a:xfrm>
              <a:custGeom>
                <a:avLst/>
                <a:gdLst>
                  <a:gd name="connsiteX0" fmla="*/ 15550 w 15549"/>
                  <a:gd name="connsiteY0" fmla="*/ 239 h 169852"/>
                  <a:gd name="connsiteX1" fmla="*/ 3050 w 15549"/>
                  <a:gd name="connsiteY1" fmla="*/ 169852 h 169852"/>
                  <a:gd name="connsiteX2" fmla="*/ 0 w 15549"/>
                  <a:gd name="connsiteY2" fmla="*/ 169613 h 169852"/>
                  <a:gd name="connsiteX3" fmla="*/ 12500 w 15549"/>
                  <a:gd name="connsiteY3" fmla="*/ 0 h 169852"/>
                </a:gdLst>
                <a:ahLst/>
                <a:cxnLst>
                  <a:cxn ang="0">
                    <a:pos x="connsiteX0" y="connsiteY0"/>
                  </a:cxn>
                  <a:cxn ang="0">
                    <a:pos x="connsiteX1" y="connsiteY1"/>
                  </a:cxn>
                  <a:cxn ang="0">
                    <a:pos x="connsiteX2" y="connsiteY2"/>
                  </a:cxn>
                  <a:cxn ang="0">
                    <a:pos x="connsiteX3" y="connsiteY3"/>
                  </a:cxn>
                </a:cxnLst>
                <a:rect l="l" t="t" r="r" b="b"/>
                <a:pathLst>
                  <a:path w="15549" h="169852">
                    <a:moveTo>
                      <a:pt x="15550" y="239"/>
                    </a:moveTo>
                    <a:lnTo>
                      <a:pt x="3050" y="169852"/>
                    </a:lnTo>
                    <a:lnTo>
                      <a:pt x="0" y="169613"/>
                    </a:lnTo>
                    <a:lnTo>
                      <a:pt x="12500" y="0"/>
                    </a:lnTo>
                    <a:close/>
                  </a:path>
                </a:pathLst>
              </a:custGeom>
              <a:grpFill/>
              <a:ln w="5978" cap="flat">
                <a:noFill/>
                <a:prstDash val="solid"/>
                <a:miter/>
              </a:ln>
            </p:spPr>
            <p:txBody>
              <a:bodyPr rtlCol="0" anchor="ctr"/>
              <a:lstStyle/>
              <a:p>
                <a:endParaRPr lang="en-GB"/>
              </a:p>
            </p:txBody>
          </p:sp>
          <p:sp>
            <p:nvSpPr>
              <p:cNvPr id="2831" name="Vrije vorm: vorm 2830">
                <a:extLst>
                  <a:ext uri="{FF2B5EF4-FFF2-40B4-BE49-F238E27FC236}">
                    <a16:creationId xmlns:a16="http://schemas.microsoft.com/office/drawing/2014/main" id="{A97FD211-93CA-4B7F-ABEB-3ED36C2AD58F}"/>
                  </a:ext>
                </a:extLst>
              </p:cNvPr>
              <p:cNvSpPr/>
              <p:nvPr/>
            </p:nvSpPr>
            <p:spPr>
              <a:xfrm>
                <a:off x="5896262" y="5440559"/>
                <a:ext cx="18296" cy="18467"/>
              </a:xfrm>
              <a:custGeom>
                <a:avLst/>
                <a:gdLst>
                  <a:gd name="connsiteX0" fmla="*/ 18272 w 18296"/>
                  <a:gd name="connsiteY0" fmla="*/ 9952 h 18467"/>
                  <a:gd name="connsiteX1" fmla="*/ 8464 w 18296"/>
                  <a:gd name="connsiteY1" fmla="*/ 18444 h 18467"/>
                  <a:gd name="connsiteX2" fmla="*/ 31 w 18296"/>
                  <a:gd name="connsiteY2" fmla="*/ 8517 h 18467"/>
                  <a:gd name="connsiteX3" fmla="*/ 9840 w 18296"/>
                  <a:gd name="connsiteY3" fmla="*/ 24 h 18467"/>
                  <a:gd name="connsiteX4" fmla="*/ 18272 w 18296"/>
                  <a:gd name="connsiteY4" fmla="*/ 995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67">
                    <a:moveTo>
                      <a:pt x="18272" y="9952"/>
                    </a:moveTo>
                    <a:cubicBezTo>
                      <a:pt x="17914" y="15035"/>
                      <a:pt x="13488" y="18803"/>
                      <a:pt x="8464" y="18444"/>
                    </a:cubicBezTo>
                    <a:cubicBezTo>
                      <a:pt x="3440" y="18026"/>
                      <a:pt x="-387" y="13600"/>
                      <a:pt x="31" y="8517"/>
                    </a:cubicBezTo>
                    <a:cubicBezTo>
                      <a:pt x="390" y="3433"/>
                      <a:pt x="4816" y="-335"/>
                      <a:pt x="9840" y="24"/>
                    </a:cubicBezTo>
                    <a:cubicBezTo>
                      <a:pt x="14863" y="442"/>
                      <a:pt x="18631" y="4928"/>
                      <a:pt x="18272" y="9952"/>
                    </a:cubicBezTo>
                    <a:close/>
                  </a:path>
                </a:pathLst>
              </a:custGeom>
              <a:grpFill/>
              <a:ln w="5978" cap="flat">
                <a:noFill/>
                <a:prstDash val="solid"/>
                <a:miter/>
              </a:ln>
            </p:spPr>
            <p:txBody>
              <a:bodyPr rtlCol="0" anchor="ctr"/>
              <a:lstStyle/>
              <a:p>
                <a:endParaRPr lang="en-GB"/>
              </a:p>
            </p:txBody>
          </p:sp>
          <p:sp>
            <p:nvSpPr>
              <p:cNvPr id="2832" name="Vrije vorm: vorm 2831">
                <a:extLst>
                  <a:ext uri="{FF2B5EF4-FFF2-40B4-BE49-F238E27FC236}">
                    <a16:creationId xmlns:a16="http://schemas.microsoft.com/office/drawing/2014/main" id="{021A81BA-E708-414F-B5EB-23CAA301C639}"/>
                  </a:ext>
                </a:extLst>
              </p:cNvPr>
              <p:cNvSpPr/>
              <p:nvPr/>
            </p:nvSpPr>
            <p:spPr>
              <a:xfrm>
                <a:off x="5908590" y="5271895"/>
                <a:ext cx="18348" cy="18475"/>
              </a:xfrm>
              <a:custGeom>
                <a:avLst/>
                <a:gdLst>
                  <a:gd name="connsiteX0" fmla="*/ 18325 w 18348"/>
                  <a:gd name="connsiteY0" fmla="*/ 9959 h 18475"/>
                  <a:gd name="connsiteX1" fmla="*/ 9832 w 18348"/>
                  <a:gd name="connsiteY1" fmla="*/ 31 h 18475"/>
                  <a:gd name="connsiteX2" fmla="*/ 24 w 18348"/>
                  <a:gd name="connsiteY2" fmla="*/ 8524 h 18475"/>
                  <a:gd name="connsiteX3" fmla="*/ 8457 w 18348"/>
                  <a:gd name="connsiteY3" fmla="*/ 18452 h 18475"/>
                  <a:gd name="connsiteX4" fmla="*/ 18325 w 18348"/>
                  <a:gd name="connsiteY4" fmla="*/ 9959 h 18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75">
                    <a:moveTo>
                      <a:pt x="18325" y="9959"/>
                    </a:moveTo>
                    <a:cubicBezTo>
                      <a:pt x="18683" y="4876"/>
                      <a:pt x="14916" y="450"/>
                      <a:pt x="9832" y="31"/>
                    </a:cubicBezTo>
                    <a:cubicBezTo>
                      <a:pt x="4808" y="-387"/>
                      <a:pt x="382" y="3440"/>
                      <a:pt x="24" y="8524"/>
                    </a:cubicBezTo>
                    <a:cubicBezTo>
                      <a:pt x="-335" y="13607"/>
                      <a:pt x="3433" y="18033"/>
                      <a:pt x="8457" y="18452"/>
                    </a:cubicBezTo>
                    <a:cubicBezTo>
                      <a:pt x="13600" y="18811"/>
                      <a:pt x="17966" y="15043"/>
                      <a:pt x="18325" y="9959"/>
                    </a:cubicBezTo>
                    <a:close/>
                  </a:path>
                </a:pathLst>
              </a:custGeom>
              <a:grpFill/>
              <a:ln w="5978" cap="flat">
                <a:noFill/>
                <a:prstDash val="solid"/>
                <a:miter/>
              </a:ln>
            </p:spPr>
            <p:txBody>
              <a:bodyPr rtlCol="0" anchor="ctr"/>
              <a:lstStyle/>
              <a:p>
                <a:endParaRPr lang="en-GB"/>
              </a:p>
            </p:txBody>
          </p:sp>
        </p:grpSp>
        <p:grpSp>
          <p:nvGrpSpPr>
            <p:cNvPr id="857" name="Graphic 3">
              <a:extLst>
                <a:ext uri="{FF2B5EF4-FFF2-40B4-BE49-F238E27FC236}">
                  <a16:creationId xmlns:a16="http://schemas.microsoft.com/office/drawing/2014/main" id="{E0FD5C01-92A1-4EE7-B650-5F76F68AE199}"/>
                </a:ext>
              </a:extLst>
            </p:cNvPr>
            <p:cNvGrpSpPr/>
            <p:nvPr/>
          </p:nvGrpSpPr>
          <p:grpSpPr>
            <a:xfrm>
              <a:off x="5963750" y="5451103"/>
              <a:ext cx="26087" cy="230807"/>
              <a:chOff x="5963750" y="5451103"/>
              <a:chExt cx="26087" cy="230807"/>
            </a:xfrm>
            <a:grpFill/>
          </p:grpSpPr>
          <p:sp>
            <p:nvSpPr>
              <p:cNvPr id="2827" name="Vrije vorm: vorm 2826">
                <a:extLst>
                  <a:ext uri="{FF2B5EF4-FFF2-40B4-BE49-F238E27FC236}">
                    <a16:creationId xmlns:a16="http://schemas.microsoft.com/office/drawing/2014/main" id="{CB24A5CD-2514-4BB1-9633-3BE963BAC3AA}"/>
                  </a:ext>
                </a:extLst>
              </p:cNvPr>
              <p:cNvSpPr/>
              <p:nvPr/>
            </p:nvSpPr>
            <p:spPr>
              <a:xfrm>
                <a:off x="5971411" y="5459781"/>
                <a:ext cx="10825" cy="213451"/>
              </a:xfrm>
              <a:custGeom>
                <a:avLst/>
                <a:gdLst>
                  <a:gd name="connsiteX0" fmla="*/ 10825 w 10825"/>
                  <a:gd name="connsiteY0" fmla="*/ 120 h 213451"/>
                  <a:gd name="connsiteX1" fmla="*/ 3050 w 10825"/>
                  <a:gd name="connsiteY1" fmla="*/ 213452 h 213451"/>
                  <a:gd name="connsiteX2" fmla="*/ 0 w 10825"/>
                  <a:gd name="connsiteY2" fmla="*/ 213332 h 213451"/>
                  <a:gd name="connsiteX3" fmla="*/ 7775 w 10825"/>
                  <a:gd name="connsiteY3" fmla="*/ 0 h 213451"/>
                </a:gdLst>
                <a:ahLst/>
                <a:cxnLst>
                  <a:cxn ang="0">
                    <a:pos x="connsiteX0" y="connsiteY0"/>
                  </a:cxn>
                  <a:cxn ang="0">
                    <a:pos x="connsiteX1" y="connsiteY1"/>
                  </a:cxn>
                  <a:cxn ang="0">
                    <a:pos x="connsiteX2" y="connsiteY2"/>
                  </a:cxn>
                  <a:cxn ang="0">
                    <a:pos x="connsiteX3" y="connsiteY3"/>
                  </a:cxn>
                </a:cxnLst>
                <a:rect l="l" t="t" r="r" b="b"/>
                <a:pathLst>
                  <a:path w="10825" h="213451">
                    <a:moveTo>
                      <a:pt x="10825" y="120"/>
                    </a:moveTo>
                    <a:lnTo>
                      <a:pt x="3050" y="213452"/>
                    </a:lnTo>
                    <a:lnTo>
                      <a:pt x="0" y="213332"/>
                    </a:lnTo>
                    <a:lnTo>
                      <a:pt x="7775" y="0"/>
                    </a:lnTo>
                    <a:close/>
                  </a:path>
                </a:pathLst>
              </a:custGeom>
              <a:grpFill/>
              <a:ln w="5978" cap="flat">
                <a:noFill/>
                <a:prstDash val="solid"/>
                <a:miter/>
              </a:ln>
            </p:spPr>
            <p:txBody>
              <a:bodyPr rtlCol="0" anchor="ctr"/>
              <a:lstStyle/>
              <a:p>
                <a:endParaRPr lang="en-GB"/>
              </a:p>
            </p:txBody>
          </p:sp>
          <p:sp>
            <p:nvSpPr>
              <p:cNvPr id="2828" name="Vrije vorm: vorm 2827">
                <a:extLst>
                  <a:ext uri="{FF2B5EF4-FFF2-40B4-BE49-F238E27FC236}">
                    <a16:creationId xmlns:a16="http://schemas.microsoft.com/office/drawing/2014/main" id="{5451845A-B796-434D-ABCF-701791F930F5}"/>
                  </a:ext>
                </a:extLst>
              </p:cNvPr>
              <p:cNvSpPr/>
              <p:nvPr/>
            </p:nvSpPr>
            <p:spPr>
              <a:xfrm>
                <a:off x="5963750" y="5663478"/>
                <a:ext cx="18372" cy="18432"/>
              </a:xfrm>
              <a:custGeom>
                <a:avLst/>
                <a:gdLst>
                  <a:gd name="connsiteX0" fmla="*/ 18367 w 18372"/>
                  <a:gd name="connsiteY0" fmla="*/ 9575 h 18432"/>
                  <a:gd name="connsiteX1" fmla="*/ 8857 w 18372"/>
                  <a:gd name="connsiteY1" fmla="*/ 18427 h 18432"/>
                  <a:gd name="connsiteX2" fmla="*/ 6 w 18372"/>
                  <a:gd name="connsiteY2" fmla="*/ 8857 h 18432"/>
                  <a:gd name="connsiteX3" fmla="*/ 9515 w 18372"/>
                  <a:gd name="connsiteY3" fmla="*/ 6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187" y="14659"/>
                      <a:pt x="13941" y="18606"/>
                      <a:pt x="8857" y="18427"/>
                    </a:cubicBezTo>
                    <a:cubicBezTo>
                      <a:pt x="3774" y="18247"/>
                      <a:pt x="-174" y="13941"/>
                      <a:pt x="6" y="8857"/>
                    </a:cubicBezTo>
                    <a:cubicBezTo>
                      <a:pt x="185" y="3774"/>
                      <a:pt x="4432" y="-173"/>
                      <a:pt x="9515" y="6"/>
                    </a:cubicBezTo>
                    <a:cubicBezTo>
                      <a:pt x="14599" y="245"/>
                      <a:pt x="18546" y="4491"/>
                      <a:pt x="18367" y="9575"/>
                    </a:cubicBezTo>
                    <a:close/>
                  </a:path>
                </a:pathLst>
              </a:custGeom>
              <a:grpFill/>
              <a:ln w="5978" cap="flat">
                <a:noFill/>
                <a:prstDash val="solid"/>
                <a:miter/>
              </a:ln>
            </p:spPr>
            <p:txBody>
              <a:bodyPr rtlCol="0" anchor="ctr"/>
              <a:lstStyle/>
              <a:p>
                <a:endParaRPr lang="en-GB"/>
              </a:p>
            </p:txBody>
          </p:sp>
          <p:sp>
            <p:nvSpPr>
              <p:cNvPr id="2829" name="Vrije vorm: vorm 2828">
                <a:extLst>
                  <a:ext uri="{FF2B5EF4-FFF2-40B4-BE49-F238E27FC236}">
                    <a16:creationId xmlns:a16="http://schemas.microsoft.com/office/drawing/2014/main" id="{AED9D7A5-1EC8-4620-8B2A-1B43442BD685}"/>
                  </a:ext>
                </a:extLst>
              </p:cNvPr>
              <p:cNvSpPr/>
              <p:nvPr/>
            </p:nvSpPr>
            <p:spPr>
              <a:xfrm>
                <a:off x="5971465" y="5451103"/>
                <a:ext cx="18372" cy="18432"/>
              </a:xfrm>
              <a:custGeom>
                <a:avLst/>
                <a:gdLst>
                  <a:gd name="connsiteX0" fmla="*/ 18367 w 18372"/>
                  <a:gd name="connsiteY0" fmla="*/ 9575 h 18432"/>
                  <a:gd name="connsiteX1" fmla="*/ 9515 w 18372"/>
                  <a:gd name="connsiteY1" fmla="*/ 6 h 18432"/>
                  <a:gd name="connsiteX2" fmla="*/ 6 w 18372"/>
                  <a:gd name="connsiteY2" fmla="*/ 8858 h 18432"/>
                  <a:gd name="connsiteX3" fmla="*/ 8857 w 18372"/>
                  <a:gd name="connsiteY3" fmla="*/ 18427 h 18432"/>
                  <a:gd name="connsiteX4" fmla="*/ 18367 w 18372"/>
                  <a:gd name="connsiteY4" fmla="*/ 9575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18367" y="9575"/>
                    </a:moveTo>
                    <a:cubicBezTo>
                      <a:pt x="18546" y="4491"/>
                      <a:pt x="14599" y="185"/>
                      <a:pt x="9515" y="6"/>
                    </a:cubicBezTo>
                    <a:cubicBezTo>
                      <a:pt x="4432" y="-173"/>
                      <a:pt x="185" y="3774"/>
                      <a:pt x="6" y="8858"/>
                    </a:cubicBezTo>
                    <a:cubicBezTo>
                      <a:pt x="-174" y="13941"/>
                      <a:pt x="3774" y="18247"/>
                      <a:pt x="8857" y="18427"/>
                    </a:cubicBezTo>
                    <a:cubicBezTo>
                      <a:pt x="13941" y="18606"/>
                      <a:pt x="18187" y="14659"/>
                      <a:pt x="18367" y="9575"/>
                    </a:cubicBezTo>
                    <a:close/>
                  </a:path>
                </a:pathLst>
              </a:custGeom>
              <a:grpFill/>
              <a:ln w="5978" cap="flat">
                <a:noFill/>
                <a:prstDash val="solid"/>
                <a:miter/>
              </a:ln>
            </p:spPr>
            <p:txBody>
              <a:bodyPr rtlCol="0" anchor="ctr"/>
              <a:lstStyle/>
              <a:p>
                <a:endParaRPr lang="en-GB"/>
              </a:p>
            </p:txBody>
          </p:sp>
        </p:grpSp>
        <p:grpSp>
          <p:nvGrpSpPr>
            <p:cNvPr id="858" name="Graphic 3">
              <a:extLst>
                <a:ext uri="{FF2B5EF4-FFF2-40B4-BE49-F238E27FC236}">
                  <a16:creationId xmlns:a16="http://schemas.microsoft.com/office/drawing/2014/main" id="{DABF9379-6238-44E3-8140-F65ABE8349F4}"/>
                </a:ext>
              </a:extLst>
            </p:cNvPr>
            <p:cNvGrpSpPr/>
            <p:nvPr/>
          </p:nvGrpSpPr>
          <p:grpSpPr>
            <a:xfrm>
              <a:off x="4703793" y="1972380"/>
              <a:ext cx="180626" cy="235127"/>
              <a:chOff x="4703793" y="1972380"/>
              <a:chExt cx="180626" cy="235127"/>
            </a:xfrm>
            <a:grpFill/>
          </p:grpSpPr>
          <p:sp>
            <p:nvSpPr>
              <p:cNvPr id="2824" name="Vrije vorm: vorm 2823">
                <a:extLst>
                  <a:ext uri="{FF2B5EF4-FFF2-40B4-BE49-F238E27FC236}">
                    <a16:creationId xmlns:a16="http://schemas.microsoft.com/office/drawing/2014/main" id="{D8805D9D-B816-43A7-9D24-174A3CD5E58A}"/>
                  </a:ext>
                </a:extLst>
              </p:cNvPr>
              <p:cNvSpPr/>
              <p:nvPr/>
            </p:nvSpPr>
            <p:spPr>
              <a:xfrm>
                <a:off x="4711513" y="1980317"/>
                <a:ext cx="165247" cy="219253"/>
              </a:xfrm>
              <a:custGeom>
                <a:avLst/>
                <a:gdLst>
                  <a:gd name="connsiteX0" fmla="*/ 165247 w 165247"/>
                  <a:gd name="connsiteY0" fmla="*/ 217399 h 219253"/>
                  <a:gd name="connsiteX1" fmla="*/ 162795 w 165247"/>
                  <a:gd name="connsiteY1" fmla="*/ 219253 h 219253"/>
                  <a:gd name="connsiteX2" fmla="*/ 0 w 165247"/>
                  <a:gd name="connsiteY2" fmla="*/ 1854 h 219253"/>
                  <a:gd name="connsiteX3" fmla="*/ 2452 w 165247"/>
                  <a:gd name="connsiteY3" fmla="*/ 0 h 219253"/>
                </a:gdLst>
                <a:ahLst/>
                <a:cxnLst>
                  <a:cxn ang="0">
                    <a:pos x="connsiteX0" y="connsiteY0"/>
                  </a:cxn>
                  <a:cxn ang="0">
                    <a:pos x="connsiteX1" y="connsiteY1"/>
                  </a:cxn>
                  <a:cxn ang="0">
                    <a:pos x="connsiteX2" y="connsiteY2"/>
                  </a:cxn>
                  <a:cxn ang="0">
                    <a:pos x="connsiteX3" y="connsiteY3"/>
                  </a:cxn>
                </a:cxnLst>
                <a:rect l="l" t="t" r="r" b="b"/>
                <a:pathLst>
                  <a:path w="165247" h="219253">
                    <a:moveTo>
                      <a:pt x="165247" y="217399"/>
                    </a:moveTo>
                    <a:lnTo>
                      <a:pt x="162795" y="219253"/>
                    </a:lnTo>
                    <a:lnTo>
                      <a:pt x="0" y="1854"/>
                    </a:lnTo>
                    <a:lnTo>
                      <a:pt x="2452" y="0"/>
                    </a:lnTo>
                    <a:close/>
                  </a:path>
                </a:pathLst>
              </a:custGeom>
              <a:grpFill/>
              <a:ln w="5978" cap="flat">
                <a:noFill/>
                <a:prstDash val="solid"/>
                <a:miter/>
              </a:ln>
            </p:spPr>
            <p:txBody>
              <a:bodyPr rtlCol="0" anchor="ctr"/>
              <a:lstStyle/>
              <a:p>
                <a:endParaRPr lang="en-GB"/>
              </a:p>
            </p:txBody>
          </p:sp>
          <p:sp>
            <p:nvSpPr>
              <p:cNvPr id="2825" name="Vrije vorm: vorm 2824">
                <a:extLst>
                  <a:ext uri="{FF2B5EF4-FFF2-40B4-BE49-F238E27FC236}">
                    <a16:creationId xmlns:a16="http://schemas.microsoft.com/office/drawing/2014/main" id="{1E73E13F-42CD-4FA6-839E-5A49D38D9F59}"/>
                  </a:ext>
                </a:extLst>
              </p:cNvPr>
              <p:cNvSpPr/>
              <p:nvPr/>
            </p:nvSpPr>
            <p:spPr>
              <a:xfrm>
                <a:off x="4866050" y="2189061"/>
                <a:ext cx="18369" cy="18445"/>
              </a:xfrm>
              <a:custGeom>
                <a:avLst/>
                <a:gdLst>
                  <a:gd name="connsiteX0" fmla="*/ 16511 w 18369"/>
                  <a:gd name="connsiteY0" fmla="*/ 3691 h 18445"/>
                  <a:gd name="connsiteX1" fmla="*/ 14717 w 18369"/>
                  <a:gd name="connsiteY1" fmla="*/ 16609 h 18445"/>
                  <a:gd name="connsiteX2" fmla="*/ 1859 w 18369"/>
                  <a:gd name="connsiteY2" fmla="*/ 14755 h 18445"/>
                  <a:gd name="connsiteX3" fmla="*/ 3653 w 18369"/>
                  <a:gd name="connsiteY3" fmla="*/ 1837 h 18445"/>
                  <a:gd name="connsiteX4" fmla="*/ 16511 w 18369"/>
                  <a:gd name="connsiteY4" fmla="*/ 369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5">
                    <a:moveTo>
                      <a:pt x="16511" y="3691"/>
                    </a:moveTo>
                    <a:cubicBezTo>
                      <a:pt x="19562" y="7758"/>
                      <a:pt x="18784" y="13559"/>
                      <a:pt x="14717" y="16609"/>
                    </a:cubicBezTo>
                    <a:cubicBezTo>
                      <a:pt x="10650" y="19659"/>
                      <a:pt x="4909" y="18822"/>
                      <a:pt x="1859" y="14755"/>
                    </a:cubicBezTo>
                    <a:cubicBezTo>
                      <a:pt x="-1192" y="10688"/>
                      <a:pt x="-414" y="4887"/>
                      <a:pt x="3653" y="1837"/>
                    </a:cubicBezTo>
                    <a:cubicBezTo>
                      <a:pt x="7720" y="-1213"/>
                      <a:pt x="13461" y="-376"/>
                      <a:pt x="16511" y="3691"/>
                    </a:cubicBezTo>
                    <a:close/>
                  </a:path>
                </a:pathLst>
              </a:custGeom>
              <a:grpFill/>
              <a:ln w="5978" cap="flat">
                <a:noFill/>
                <a:prstDash val="solid"/>
                <a:miter/>
              </a:ln>
            </p:spPr>
            <p:txBody>
              <a:bodyPr rtlCol="0" anchor="ctr"/>
              <a:lstStyle/>
              <a:p>
                <a:endParaRPr lang="en-GB"/>
              </a:p>
            </p:txBody>
          </p:sp>
          <p:sp>
            <p:nvSpPr>
              <p:cNvPr id="2826" name="Vrije vorm: vorm 2825">
                <a:extLst>
                  <a:ext uri="{FF2B5EF4-FFF2-40B4-BE49-F238E27FC236}">
                    <a16:creationId xmlns:a16="http://schemas.microsoft.com/office/drawing/2014/main" id="{D689FAB5-36B5-404E-BA59-B1125DA3854B}"/>
                  </a:ext>
                </a:extLst>
              </p:cNvPr>
              <p:cNvSpPr/>
              <p:nvPr/>
            </p:nvSpPr>
            <p:spPr>
              <a:xfrm>
                <a:off x="4703793" y="1972380"/>
                <a:ext cx="18369" cy="18445"/>
              </a:xfrm>
              <a:custGeom>
                <a:avLst/>
                <a:gdLst>
                  <a:gd name="connsiteX0" fmla="*/ 16511 w 18369"/>
                  <a:gd name="connsiteY0" fmla="*/ 3691 h 18445"/>
                  <a:gd name="connsiteX1" fmla="*/ 3653 w 18369"/>
                  <a:gd name="connsiteY1" fmla="*/ 1837 h 18445"/>
                  <a:gd name="connsiteX2" fmla="*/ 1858 w 18369"/>
                  <a:gd name="connsiteY2" fmla="*/ 14755 h 18445"/>
                  <a:gd name="connsiteX3" fmla="*/ 14717 w 18369"/>
                  <a:gd name="connsiteY3" fmla="*/ 16609 h 18445"/>
                  <a:gd name="connsiteX4" fmla="*/ 16511 w 18369"/>
                  <a:gd name="connsiteY4" fmla="*/ 369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5">
                    <a:moveTo>
                      <a:pt x="16511" y="3691"/>
                    </a:moveTo>
                    <a:cubicBezTo>
                      <a:pt x="13461" y="-376"/>
                      <a:pt x="7720" y="-1213"/>
                      <a:pt x="3653" y="1837"/>
                    </a:cubicBezTo>
                    <a:cubicBezTo>
                      <a:pt x="-414" y="4887"/>
                      <a:pt x="-1191" y="10688"/>
                      <a:pt x="1858" y="14755"/>
                    </a:cubicBezTo>
                    <a:cubicBezTo>
                      <a:pt x="4909" y="18822"/>
                      <a:pt x="10650" y="19659"/>
                      <a:pt x="14717" y="16609"/>
                    </a:cubicBezTo>
                    <a:cubicBezTo>
                      <a:pt x="18784" y="13559"/>
                      <a:pt x="19561" y="7758"/>
                      <a:pt x="16511" y="3691"/>
                    </a:cubicBezTo>
                    <a:close/>
                  </a:path>
                </a:pathLst>
              </a:custGeom>
              <a:grpFill/>
              <a:ln w="5978" cap="flat">
                <a:noFill/>
                <a:prstDash val="solid"/>
                <a:miter/>
              </a:ln>
            </p:spPr>
            <p:txBody>
              <a:bodyPr rtlCol="0" anchor="ctr"/>
              <a:lstStyle/>
              <a:p>
                <a:endParaRPr lang="en-GB"/>
              </a:p>
            </p:txBody>
          </p:sp>
        </p:grpSp>
        <p:grpSp>
          <p:nvGrpSpPr>
            <p:cNvPr id="859" name="Graphic 3">
              <a:extLst>
                <a:ext uri="{FF2B5EF4-FFF2-40B4-BE49-F238E27FC236}">
                  <a16:creationId xmlns:a16="http://schemas.microsoft.com/office/drawing/2014/main" id="{21CA9E90-3BD9-4303-8980-1B30BDC5D8BD}"/>
                </a:ext>
              </a:extLst>
            </p:cNvPr>
            <p:cNvGrpSpPr/>
            <p:nvPr/>
          </p:nvGrpSpPr>
          <p:grpSpPr>
            <a:xfrm>
              <a:off x="4735936" y="2056481"/>
              <a:ext cx="147582" cy="151755"/>
              <a:chOff x="4735936" y="2056481"/>
              <a:chExt cx="147582" cy="151755"/>
            </a:xfrm>
            <a:grpFill/>
          </p:grpSpPr>
          <p:sp>
            <p:nvSpPr>
              <p:cNvPr id="2821" name="Vrije vorm: vorm 2820">
                <a:extLst>
                  <a:ext uri="{FF2B5EF4-FFF2-40B4-BE49-F238E27FC236}">
                    <a16:creationId xmlns:a16="http://schemas.microsoft.com/office/drawing/2014/main" id="{F0798FF1-D041-4708-8B09-506777EE8FA9}"/>
                  </a:ext>
                </a:extLst>
              </p:cNvPr>
              <p:cNvSpPr/>
              <p:nvPr/>
            </p:nvSpPr>
            <p:spPr>
              <a:xfrm>
                <a:off x="4743689" y="2064286"/>
                <a:ext cx="132113" cy="136121"/>
              </a:xfrm>
              <a:custGeom>
                <a:avLst/>
                <a:gdLst>
                  <a:gd name="connsiteX0" fmla="*/ 132114 w 132113"/>
                  <a:gd name="connsiteY0" fmla="*/ 134028 h 136121"/>
                  <a:gd name="connsiteX1" fmla="*/ 129901 w 132113"/>
                  <a:gd name="connsiteY1" fmla="*/ 136121 h 136121"/>
                  <a:gd name="connsiteX2" fmla="*/ 0 w 132113"/>
                  <a:gd name="connsiteY2" fmla="*/ 2153 h 136121"/>
                  <a:gd name="connsiteX3" fmla="*/ 2213 w 132113"/>
                  <a:gd name="connsiteY3" fmla="*/ 0 h 136121"/>
                </a:gdLst>
                <a:ahLst/>
                <a:cxnLst>
                  <a:cxn ang="0">
                    <a:pos x="connsiteX0" y="connsiteY0"/>
                  </a:cxn>
                  <a:cxn ang="0">
                    <a:pos x="connsiteX1" y="connsiteY1"/>
                  </a:cxn>
                  <a:cxn ang="0">
                    <a:pos x="connsiteX2" y="connsiteY2"/>
                  </a:cxn>
                  <a:cxn ang="0">
                    <a:pos x="connsiteX3" y="connsiteY3"/>
                  </a:cxn>
                </a:cxnLst>
                <a:rect l="l" t="t" r="r" b="b"/>
                <a:pathLst>
                  <a:path w="132113" h="136121">
                    <a:moveTo>
                      <a:pt x="132114" y="134028"/>
                    </a:moveTo>
                    <a:lnTo>
                      <a:pt x="129901" y="136121"/>
                    </a:lnTo>
                    <a:lnTo>
                      <a:pt x="0" y="2153"/>
                    </a:lnTo>
                    <a:lnTo>
                      <a:pt x="2213" y="0"/>
                    </a:lnTo>
                    <a:close/>
                  </a:path>
                </a:pathLst>
              </a:custGeom>
              <a:grpFill/>
              <a:ln w="5978" cap="flat">
                <a:noFill/>
                <a:prstDash val="solid"/>
                <a:miter/>
              </a:ln>
            </p:spPr>
            <p:txBody>
              <a:bodyPr rtlCol="0" anchor="ctr"/>
              <a:lstStyle/>
              <a:p>
                <a:endParaRPr lang="en-GB"/>
              </a:p>
            </p:txBody>
          </p:sp>
          <p:sp>
            <p:nvSpPr>
              <p:cNvPr id="2822" name="Vrije vorm: vorm 2821">
                <a:extLst>
                  <a:ext uri="{FF2B5EF4-FFF2-40B4-BE49-F238E27FC236}">
                    <a16:creationId xmlns:a16="http://schemas.microsoft.com/office/drawing/2014/main" id="{83E61743-6329-4D4D-9674-77DC9BE6DBE0}"/>
                  </a:ext>
                </a:extLst>
              </p:cNvPr>
              <p:cNvSpPr/>
              <p:nvPr/>
            </p:nvSpPr>
            <p:spPr>
              <a:xfrm>
                <a:off x="4735936" y="2056481"/>
                <a:ext cx="18316" cy="18444"/>
              </a:xfrm>
              <a:custGeom>
                <a:avLst/>
                <a:gdLst>
                  <a:gd name="connsiteX0" fmla="*/ 2609 w 18316"/>
                  <a:gd name="connsiteY0" fmla="*/ 15640 h 18444"/>
                  <a:gd name="connsiteX1" fmla="*/ 2729 w 18316"/>
                  <a:gd name="connsiteY1" fmla="*/ 2602 h 18444"/>
                  <a:gd name="connsiteX2" fmla="*/ 15707 w 18316"/>
                  <a:gd name="connsiteY2" fmla="*/ 2782 h 18444"/>
                  <a:gd name="connsiteX3" fmla="*/ 15588 w 18316"/>
                  <a:gd name="connsiteY3" fmla="*/ 15820 h 18444"/>
                  <a:gd name="connsiteX4" fmla="*/ 2609 w 18316"/>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2609" y="15640"/>
                    </a:moveTo>
                    <a:cubicBezTo>
                      <a:pt x="-919" y="11992"/>
                      <a:pt x="-859" y="6131"/>
                      <a:pt x="2729" y="2602"/>
                    </a:cubicBezTo>
                    <a:cubicBezTo>
                      <a:pt x="6377" y="-926"/>
                      <a:pt x="12179" y="-866"/>
                      <a:pt x="15707" y="2782"/>
                    </a:cubicBezTo>
                    <a:cubicBezTo>
                      <a:pt x="19236" y="6430"/>
                      <a:pt x="19176" y="12291"/>
                      <a:pt x="15588" y="15820"/>
                    </a:cubicBezTo>
                    <a:cubicBezTo>
                      <a:pt x="11999" y="19408"/>
                      <a:pt x="6198" y="19289"/>
                      <a:pt x="2609" y="15640"/>
                    </a:cubicBezTo>
                    <a:close/>
                  </a:path>
                </a:pathLst>
              </a:custGeom>
              <a:grpFill/>
              <a:ln w="5978" cap="flat">
                <a:noFill/>
                <a:prstDash val="solid"/>
                <a:miter/>
              </a:ln>
            </p:spPr>
            <p:txBody>
              <a:bodyPr rtlCol="0" anchor="ctr"/>
              <a:lstStyle/>
              <a:p>
                <a:endParaRPr lang="en-GB"/>
              </a:p>
            </p:txBody>
          </p:sp>
          <p:sp>
            <p:nvSpPr>
              <p:cNvPr id="2823" name="Vrije vorm: vorm 2822">
                <a:extLst>
                  <a:ext uri="{FF2B5EF4-FFF2-40B4-BE49-F238E27FC236}">
                    <a16:creationId xmlns:a16="http://schemas.microsoft.com/office/drawing/2014/main" id="{26AF2B12-2D35-4B2F-815D-9AA853510EBB}"/>
                  </a:ext>
                </a:extLst>
              </p:cNvPr>
              <p:cNvSpPr/>
              <p:nvPr/>
            </p:nvSpPr>
            <p:spPr>
              <a:xfrm>
                <a:off x="4865179" y="2189791"/>
                <a:ext cx="18339" cy="18444"/>
              </a:xfrm>
              <a:custGeom>
                <a:avLst/>
                <a:gdLst>
                  <a:gd name="connsiteX0" fmla="*/ 2610 w 18339"/>
                  <a:gd name="connsiteY0" fmla="*/ 15640 h 18444"/>
                  <a:gd name="connsiteX1" fmla="*/ 15588 w 18339"/>
                  <a:gd name="connsiteY1" fmla="*/ 15820 h 18444"/>
                  <a:gd name="connsiteX2" fmla="*/ 15707 w 18339"/>
                  <a:gd name="connsiteY2" fmla="*/ 2782 h 18444"/>
                  <a:gd name="connsiteX3" fmla="*/ 2729 w 18339"/>
                  <a:gd name="connsiteY3" fmla="*/ 2602 h 18444"/>
                  <a:gd name="connsiteX4" fmla="*/ 2610 w 18339"/>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2610" y="15640"/>
                    </a:moveTo>
                    <a:cubicBezTo>
                      <a:pt x="6138" y="19289"/>
                      <a:pt x="11940" y="19408"/>
                      <a:pt x="15588" y="15820"/>
                    </a:cubicBezTo>
                    <a:cubicBezTo>
                      <a:pt x="19176" y="12291"/>
                      <a:pt x="19296" y="6430"/>
                      <a:pt x="15707" y="2782"/>
                    </a:cubicBezTo>
                    <a:cubicBezTo>
                      <a:pt x="12179" y="-866"/>
                      <a:pt x="6378" y="-926"/>
                      <a:pt x="2729" y="2602"/>
                    </a:cubicBezTo>
                    <a:cubicBezTo>
                      <a:pt x="-859" y="6191"/>
                      <a:pt x="-919" y="11992"/>
                      <a:pt x="2610" y="15640"/>
                    </a:cubicBezTo>
                    <a:close/>
                  </a:path>
                </a:pathLst>
              </a:custGeom>
              <a:grpFill/>
              <a:ln w="5978" cap="flat">
                <a:noFill/>
                <a:prstDash val="solid"/>
                <a:miter/>
              </a:ln>
            </p:spPr>
            <p:txBody>
              <a:bodyPr rtlCol="0" anchor="ctr"/>
              <a:lstStyle/>
              <a:p>
                <a:endParaRPr lang="en-GB"/>
              </a:p>
            </p:txBody>
          </p:sp>
        </p:grpSp>
        <p:grpSp>
          <p:nvGrpSpPr>
            <p:cNvPr id="860" name="Graphic 3">
              <a:extLst>
                <a:ext uri="{FF2B5EF4-FFF2-40B4-BE49-F238E27FC236}">
                  <a16:creationId xmlns:a16="http://schemas.microsoft.com/office/drawing/2014/main" id="{18629757-B8B3-4DBF-A0C5-BBDEEE9D3DA3}"/>
                </a:ext>
              </a:extLst>
            </p:cNvPr>
            <p:cNvGrpSpPr/>
            <p:nvPr/>
          </p:nvGrpSpPr>
          <p:grpSpPr>
            <a:xfrm>
              <a:off x="5840190" y="5166123"/>
              <a:ext cx="28705" cy="112387"/>
              <a:chOff x="5840190" y="5166123"/>
              <a:chExt cx="28705" cy="112387"/>
            </a:xfrm>
            <a:grpFill/>
          </p:grpSpPr>
          <p:sp>
            <p:nvSpPr>
              <p:cNvPr id="2818" name="Vrije vorm: vorm 2817">
                <a:extLst>
                  <a:ext uri="{FF2B5EF4-FFF2-40B4-BE49-F238E27FC236}">
                    <a16:creationId xmlns:a16="http://schemas.microsoft.com/office/drawing/2014/main" id="{C033FA48-540F-4274-9CA8-0A1CD669AAD0}"/>
                  </a:ext>
                </a:extLst>
              </p:cNvPr>
              <p:cNvSpPr/>
              <p:nvPr/>
            </p:nvSpPr>
            <p:spPr>
              <a:xfrm>
                <a:off x="5847730" y="5174680"/>
                <a:ext cx="13576" cy="95272"/>
              </a:xfrm>
              <a:custGeom>
                <a:avLst/>
                <a:gdLst>
                  <a:gd name="connsiteX0" fmla="*/ 13576 w 13576"/>
                  <a:gd name="connsiteY0" fmla="*/ 359 h 95272"/>
                  <a:gd name="connsiteX1" fmla="*/ 3050 w 13576"/>
                  <a:gd name="connsiteY1" fmla="*/ 95273 h 95272"/>
                  <a:gd name="connsiteX2" fmla="*/ 0 w 13576"/>
                  <a:gd name="connsiteY2" fmla="*/ 94914 h 95272"/>
                  <a:gd name="connsiteX3" fmla="*/ 10586 w 13576"/>
                  <a:gd name="connsiteY3" fmla="*/ 0 h 95272"/>
                </a:gdLst>
                <a:ahLst/>
                <a:cxnLst>
                  <a:cxn ang="0">
                    <a:pos x="connsiteX0" y="connsiteY0"/>
                  </a:cxn>
                  <a:cxn ang="0">
                    <a:pos x="connsiteX1" y="connsiteY1"/>
                  </a:cxn>
                  <a:cxn ang="0">
                    <a:pos x="connsiteX2" y="connsiteY2"/>
                  </a:cxn>
                  <a:cxn ang="0">
                    <a:pos x="connsiteX3" y="connsiteY3"/>
                  </a:cxn>
                </a:cxnLst>
                <a:rect l="l" t="t" r="r" b="b"/>
                <a:pathLst>
                  <a:path w="13576" h="95272">
                    <a:moveTo>
                      <a:pt x="13576" y="359"/>
                    </a:moveTo>
                    <a:lnTo>
                      <a:pt x="3050" y="95273"/>
                    </a:lnTo>
                    <a:lnTo>
                      <a:pt x="0" y="94914"/>
                    </a:lnTo>
                    <a:lnTo>
                      <a:pt x="10586" y="0"/>
                    </a:lnTo>
                    <a:close/>
                  </a:path>
                </a:pathLst>
              </a:custGeom>
              <a:grpFill/>
              <a:ln w="5978" cap="flat">
                <a:noFill/>
                <a:prstDash val="solid"/>
                <a:miter/>
              </a:ln>
            </p:spPr>
            <p:txBody>
              <a:bodyPr rtlCol="0" anchor="ctr"/>
              <a:lstStyle/>
              <a:p>
                <a:endParaRPr lang="en-GB"/>
              </a:p>
            </p:txBody>
          </p:sp>
          <p:sp>
            <p:nvSpPr>
              <p:cNvPr id="2819" name="Vrije vorm: vorm 2818">
                <a:extLst>
                  <a:ext uri="{FF2B5EF4-FFF2-40B4-BE49-F238E27FC236}">
                    <a16:creationId xmlns:a16="http://schemas.microsoft.com/office/drawing/2014/main" id="{6D221E8E-7A28-4269-8832-19725B00642C}"/>
                  </a:ext>
                </a:extLst>
              </p:cNvPr>
              <p:cNvSpPr/>
              <p:nvPr/>
            </p:nvSpPr>
            <p:spPr>
              <a:xfrm>
                <a:off x="5840190" y="5260079"/>
                <a:ext cx="18298" cy="18431"/>
              </a:xfrm>
              <a:custGeom>
                <a:avLst/>
                <a:gdLst>
                  <a:gd name="connsiteX0" fmla="*/ 18245 w 18298"/>
                  <a:gd name="connsiteY0" fmla="*/ 10292 h 18431"/>
                  <a:gd name="connsiteX1" fmla="*/ 8138 w 18298"/>
                  <a:gd name="connsiteY1" fmla="*/ 18366 h 18431"/>
                  <a:gd name="connsiteX2" fmla="*/ 64 w 18298"/>
                  <a:gd name="connsiteY2" fmla="*/ 8139 h 18431"/>
                  <a:gd name="connsiteX3" fmla="*/ 10172 w 18298"/>
                  <a:gd name="connsiteY3" fmla="*/ 65 h 18431"/>
                  <a:gd name="connsiteX4" fmla="*/ 18245 w 18298"/>
                  <a:gd name="connsiteY4" fmla="*/ 1029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31">
                    <a:moveTo>
                      <a:pt x="18245" y="10292"/>
                    </a:moveTo>
                    <a:cubicBezTo>
                      <a:pt x="17707" y="15376"/>
                      <a:pt x="13162" y="18964"/>
                      <a:pt x="8138" y="18366"/>
                    </a:cubicBezTo>
                    <a:cubicBezTo>
                      <a:pt x="3114" y="17768"/>
                      <a:pt x="-534" y="13223"/>
                      <a:pt x="64" y="8139"/>
                    </a:cubicBezTo>
                    <a:cubicBezTo>
                      <a:pt x="603" y="3055"/>
                      <a:pt x="5148" y="-533"/>
                      <a:pt x="10172" y="65"/>
                    </a:cubicBezTo>
                    <a:cubicBezTo>
                      <a:pt x="15196" y="663"/>
                      <a:pt x="18784" y="5208"/>
                      <a:pt x="18245" y="10292"/>
                    </a:cubicBezTo>
                    <a:close/>
                  </a:path>
                </a:pathLst>
              </a:custGeom>
              <a:grpFill/>
              <a:ln w="5978" cap="flat">
                <a:noFill/>
                <a:prstDash val="solid"/>
                <a:miter/>
              </a:ln>
            </p:spPr>
            <p:txBody>
              <a:bodyPr rtlCol="0" anchor="ctr"/>
              <a:lstStyle/>
              <a:p>
                <a:endParaRPr lang="en-GB"/>
              </a:p>
            </p:txBody>
          </p:sp>
          <p:sp>
            <p:nvSpPr>
              <p:cNvPr id="2820" name="Vrije vorm: vorm 2819">
                <a:extLst>
                  <a:ext uri="{FF2B5EF4-FFF2-40B4-BE49-F238E27FC236}">
                    <a16:creationId xmlns:a16="http://schemas.microsoft.com/office/drawing/2014/main" id="{93587FE6-266B-41FA-A6A3-2D43E320542B}"/>
                  </a:ext>
                </a:extLst>
              </p:cNvPr>
              <p:cNvSpPr/>
              <p:nvPr/>
            </p:nvSpPr>
            <p:spPr>
              <a:xfrm>
                <a:off x="5850607" y="5166123"/>
                <a:ext cx="18288" cy="18429"/>
              </a:xfrm>
              <a:custGeom>
                <a:avLst/>
                <a:gdLst>
                  <a:gd name="connsiteX0" fmla="*/ 18235 w 18288"/>
                  <a:gd name="connsiteY0" fmla="*/ 10291 h 18429"/>
                  <a:gd name="connsiteX1" fmla="*/ 10161 w 18288"/>
                  <a:gd name="connsiteY1" fmla="*/ 64 h 18429"/>
                  <a:gd name="connsiteX2" fmla="*/ 53 w 18288"/>
                  <a:gd name="connsiteY2" fmla="*/ 8138 h 18429"/>
                  <a:gd name="connsiteX3" fmla="*/ 8128 w 18288"/>
                  <a:gd name="connsiteY3" fmla="*/ 18365 h 18429"/>
                  <a:gd name="connsiteX4" fmla="*/ 18235 w 18288"/>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9">
                    <a:moveTo>
                      <a:pt x="18235" y="10291"/>
                    </a:moveTo>
                    <a:cubicBezTo>
                      <a:pt x="18773" y="5208"/>
                      <a:pt x="15185" y="662"/>
                      <a:pt x="10161" y="64"/>
                    </a:cubicBezTo>
                    <a:cubicBezTo>
                      <a:pt x="5137" y="-534"/>
                      <a:pt x="592" y="3114"/>
                      <a:pt x="53" y="8138"/>
                    </a:cubicBezTo>
                    <a:cubicBezTo>
                      <a:pt x="-485" y="13162"/>
                      <a:pt x="3104" y="17767"/>
                      <a:pt x="8128" y="18365"/>
                    </a:cubicBezTo>
                    <a:cubicBezTo>
                      <a:pt x="13151" y="18963"/>
                      <a:pt x="17697" y="15315"/>
                      <a:pt x="18235" y="10291"/>
                    </a:cubicBezTo>
                    <a:close/>
                  </a:path>
                </a:pathLst>
              </a:custGeom>
              <a:grpFill/>
              <a:ln w="5978" cap="flat">
                <a:noFill/>
                <a:prstDash val="solid"/>
                <a:miter/>
              </a:ln>
            </p:spPr>
            <p:txBody>
              <a:bodyPr rtlCol="0" anchor="ctr"/>
              <a:lstStyle/>
              <a:p>
                <a:endParaRPr lang="en-GB"/>
              </a:p>
            </p:txBody>
          </p:sp>
        </p:grpSp>
        <p:grpSp>
          <p:nvGrpSpPr>
            <p:cNvPr id="861" name="Graphic 3">
              <a:extLst>
                <a:ext uri="{FF2B5EF4-FFF2-40B4-BE49-F238E27FC236}">
                  <a16:creationId xmlns:a16="http://schemas.microsoft.com/office/drawing/2014/main" id="{B20C2395-4E67-4E2E-887E-C4DC41ABB7DE}"/>
                </a:ext>
              </a:extLst>
            </p:cNvPr>
            <p:cNvGrpSpPr/>
            <p:nvPr/>
          </p:nvGrpSpPr>
          <p:grpSpPr>
            <a:xfrm>
              <a:off x="5871887" y="5109246"/>
              <a:ext cx="98154" cy="685892"/>
              <a:chOff x="5871887" y="5109246"/>
              <a:chExt cx="98154" cy="685892"/>
            </a:xfrm>
            <a:grpFill/>
          </p:grpSpPr>
          <p:sp>
            <p:nvSpPr>
              <p:cNvPr id="2815" name="Vrije vorm: vorm 2814">
                <a:extLst>
                  <a:ext uri="{FF2B5EF4-FFF2-40B4-BE49-F238E27FC236}">
                    <a16:creationId xmlns:a16="http://schemas.microsoft.com/office/drawing/2014/main" id="{81B35E78-88AA-4F28-8D15-E6C48E796841}"/>
                  </a:ext>
                </a:extLst>
              </p:cNvPr>
              <p:cNvSpPr/>
              <p:nvPr/>
            </p:nvSpPr>
            <p:spPr>
              <a:xfrm>
                <a:off x="5879488" y="5117803"/>
                <a:ext cx="82952" cy="668704"/>
              </a:xfrm>
              <a:custGeom>
                <a:avLst/>
                <a:gdLst>
                  <a:gd name="connsiteX0" fmla="*/ 82953 w 82952"/>
                  <a:gd name="connsiteY0" fmla="*/ 359 h 668704"/>
                  <a:gd name="connsiteX1" fmla="*/ 2990 w 82952"/>
                  <a:gd name="connsiteY1" fmla="*/ 668704 h 668704"/>
                  <a:gd name="connsiteX2" fmla="*/ 0 w 82952"/>
                  <a:gd name="connsiteY2" fmla="*/ 668346 h 668704"/>
                  <a:gd name="connsiteX3" fmla="*/ 79962 w 82952"/>
                  <a:gd name="connsiteY3" fmla="*/ 0 h 668704"/>
                </a:gdLst>
                <a:ahLst/>
                <a:cxnLst>
                  <a:cxn ang="0">
                    <a:pos x="connsiteX0" y="connsiteY0"/>
                  </a:cxn>
                  <a:cxn ang="0">
                    <a:pos x="connsiteX1" y="connsiteY1"/>
                  </a:cxn>
                  <a:cxn ang="0">
                    <a:pos x="connsiteX2" y="connsiteY2"/>
                  </a:cxn>
                  <a:cxn ang="0">
                    <a:pos x="connsiteX3" y="connsiteY3"/>
                  </a:cxn>
                </a:cxnLst>
                <a:rect l="l" t="t" r="r" b="b"/>
                <a:pathLst>
                  <a:path w="82952" h="668704">
                    <a:moveTo>
                      <a:pt x="82953" y="359"/>
                    </a:moveTo>
                    <a:lnTo>
                      <a:pt x="2990" y="668704"/>
                    </a:lnTo>
                    <a:lnTo>
                      <a:pt x="0" y="668346"/>
                    </a:lnTo>
                    <a:lnTo>
                      <a:pt x="79962" y="0"/>
                    </a:lnTo>
                    <a:close/>
                  </a:path>
                </a:pathLst>
              </a:custGeom>
              <a:grpFill/>
              <a:ln w="5978" cap="flat">
                <a:noFill/>
                <a:prstDash val="solid"/>
                <a:miter/>
              </a:ln>
            </p:spPr>
            <p:txBody>
              <a:bodyPr rtlCol="0" anchor="ctr"/>
              <a:lstStyle/>
              <a:p>
                <a:endParaRPr lang="en-GB"/>
              </a:p>
            </p:txBody>
          </p:sp>
          <p:sp>
            <p:nvSpPr>
              <p:cNvPr id="2816" name="Vrije vorm: vorm 2815">
                <a:extLst>
                  <a:ext uri="{FF2B5EF4-FFF2-40B4-BE49-F238E27FC236}">
                    <a16:creationId xmlns:a16="http://schemas.microsoft.com/office/drawing/2014/main" id="{B13F15CD-5547-47A2-980A-79BC2E2BB011}"/>
                  </a:ext>
                </a:extLst>
              </p:cNvPr>
              <p:cNvSpPr/>
              <p:nvPr/>
            </p:nvSpPr>
            <p:spPr>
              <a:xfrm>
                <a:off x="5951730" y="5109246"/>
                <a:ext cx="18311" cy="18431"/>
              </a:xfrm>
              <a:custGeom>
                <a:avLst/>
                <a:gdLst>
                  <a:gd name="connsiteX0" fmla="*/ 65 w 18311"/>
                  <a:gd name="connsiteY0" fmla="*/ 8079 h 18431"/>
                  <a:gd name="connsiteX1" fmla="*/ 10232 w 18311"/>
                  <a:gd name="connsiteY1" fmla="*/ 65 h 18431"/>
                  <a:gd name="connsiteX2" fmla="*/ 18246 w 18311"/>
                  <a:gd name="connsiteY2" fmla="*/ 10352 h 18431"/>
                  <a:gd name="connsiteX3" fmla="*/ 8079 w 18311"/>
                  <a:gd name="connsiteY3" fmla="*/ 18366 h 18431"/>
                  <a:gd name="connsiteX4" fmla="*/ 65 w 18311"/>
                  <a:gd name="connsiteY4" fmla="*/ 807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65" y="8079"/>
                    </a:moveTo>
                    <a:cubicBezTo>
                      <a:pt x="663" y="3056"/>
                      <a:pt x="5208" y="-533"/>
                      <a:pt x="10232" y="65"/>
                    </a:cubicBezTo>
                    <a:cubicBezTo>
                      <a:pt x="15256" y="723"/>
                      <a:pt x="18844" y="5268"/>
                      <a:pt x="18246" y="10352"/>
                    </a:cubicBezTo>
                    <a:cubicBezTo>
                      <a:pt x="17648" y="15376"/>
                      <a:pt x="13103" y="18964"/>
                      <a:pt x="8079" y="18366"/>
                    </a:cubicBezTo>
                    <a:cubicBezTo>
                      <a:pt x="3056" y="17708"/>
                      <a:pt x="-533" y="13103"/>
                      <a:pt x="65" y="8079"/>
                    </a:cubicBezTo>
                    <a:close/>
                  </a:path>
                </a:pathLst>
              </a:custGeom>
              <a:grpFill/>
              <a:ln w="5978" cap="flat">
                <a:noFill/>
                <a:prstDash val="solid"/>
                <a:miter/>
              </a:ln>
            </p:spPr>
            <p:txBody>
              <a:bodyPr rtlCol="0" anchor="ctr"/>
              <a:lstStyle/>
              <a:p>
                <a:endParaRPr lang="en-GB"/>
              </a:p>
            </p:txBody>
          </p:sp>
          <p:sp>
            <p:nvSpPr>
              <p:cNvPr id="2817" name="Vrije vorm: vorm 2816">
                <a:extLst>
                  <a:ext uri="{FF2B5EF4-FFF2-40B4-BE49-F238E27FC236}">
                    <a16:creationId xmlns:a16="http://schemas.microsoft.com/office/drawing/2014/main" id="{A16054DF-EC57-4817-85C5-DBD8ACF2D73D}"/>
                  </a:ext>
                </a:extLst>
              </p:cNvPr>
              <p:cNvSpPr/>
              <p:nvPr/>
            </p:nvSpPr>
            <p:spPr>
              <a:xfrm>
                <a:off x="5871887" y="5776681"/>
                <a:ext cx="18311" cy="18456"/>
              </a:xfrm>
              <a:custGeom>
                <a:avLst/>
                <a:gdLst>
                  <a:gd name="connsiteX0" fmla="*/ 65 w 18311"/>
                  <a:gd name="connsiteY0" fmla="*/ 8092 h 18456"/>
                  <a:gd name="connsiteX1" fmla="*/ 8079 w 18311"/>
                  <a:gd name="connsiteY1" fmla="*/ 18379 h 18456"/>
                  <a:gd name="connsiteX2" fmla="*/ 18247 w 18311"/>
                  <a:gd name="connsiteY2" fmla="*/ 10364 h 18456"/>
                  <a:gd name="connsiteX3" fmla="*/ 10232 w 18311"/>
                  <a:gd name="connsiteY3" fmla="*/ 78 h 18456"/>
                  <a:gd name="connsiteX4" fmla="*/ 65 w 18311"/>
                  <a:gd name="connsiteY4" fmla="*/ 8092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56">
                    <a:moveTo>
                      <a:pt x="65" y="8092"/>
                    </a:moveTo>
                    <a:cubicBezTo>
                      <a:pt x="-533" y="13116"/>
                      <a:pt x="3055" y="17721"/>
                      <a:pt x="8079" y="18379"/>
                    </a:cubicBezTo>
                    <a:cubicBezTo>
                      <a:pt x="13103" y="19037"/>
                      <a:pt x="17648" y="15448"/>
                      <a:pt x="18247" y="10364"/>
                    </a:cubicBezTo>
                    <a:cubicBezTo>
                      <a:pt x="18845" y="5341"/>
                      <a:pt x="15256" y="736"/>
                      <a:pt x="10232" y="78"/>
                    </a:cubicBezTo>
                    <a:cubicBezTo>
                      <a:pt x="5208" y="-580"/>
                      <a:pt x="663" y="3008"/>
                      <a:pt x="65" y="8092"/>
                    </a:cubicBezTo>
                    <a:close/>
                  </a:path>
                </a:pathLst>
              </a:custGeom>
              <a:grpFill/>
              <a:ln w="5978" cap="flat">
                <a:noFill/>
                <a:prstDash val="solid"/>
                <a:miter/>
              </a:ln>
            </p:spPr>
            <p:txBody>
              <a:bodyPr rtlCol="0" anchor="ctr"/>
              <a:lstStyle/>
              <a:p>
                <a:endParaRPr lang="en-GB"/>
              </a:p>
            </p:txBody>
          </p:sp>
        </p:grpSp>
        <p:grpSp>
          <p:nvGrpSpPr>
            <p:cNvPr id="862" name="Graphic 3">
              <a:extLst>
                <a:ext uri="{FF2B5EF4-FFF2-40B4-BE49-F238E27FC236}">
                  <a16:creationId xmlns:a16="http://schemas.microsoft.com/office/drawing/2014/main" id="{AFAD692B-D39B-42FF-AFDB-EC8C68F03B13}"/>
                </a:ext>
              </a:extLst>
            </p:cNvPr>
            <p:cNvGrpSpPr/>
            <p:nvPr/>
          </p:nvGrpSpPr>
          <p:grpSpPr>
            <a:xfrm>
              <a:off x="5856121" y="5261119"/>
              <a:ext cx="37044" cy="220602"/>
              <a:chOff x="5856121" y="5261119"/>
              <a:chExt cx="37044" cy="220602"/>
            </a:xfrm>
            <a:grpFill/>
          </p:grpSpPr>
          <p:sp>
            <p:nvSpPr>
              <p:cNvPr id="2812" name="Vrije vorm: vorm 2811">
                <a:extLst>
                  <a:ext uri="{FF2B5EF4-FFF2-40B4-BE49-F238E27FC236}">
                    <a16:creationId xmlns:a16="http://schemas.microsoft.com/office/drawing/2014/main" id="{A74F9D1C-2D97-4D27-A4F7-F989E79B0615}"/>
                  </a:ext>
                </a:extLst>
              </p:cNvPr>
              <p:cNvSpPr/>
              <p:nvPr/>
            </p:nvSpPr>
            <p:spPr>
              <a:xfrm>
                <a:off x="5863758" y="5269713"/>
                <a:ext cx="21769" cy="203404"/>
              </a:xfrm>
              <a:custGeom>
                <a:avLst/>
                <a:gdLst>
                  <a:gd name="connsiteX0" fmla="*/ 21770 w 21769"/>
                  <a:gd name="connsiteY0" fmla="*/ 299 h 203404"/>
                  <a:gd name="connsiteX1" fmla="*/ 2990 w 21769"/>
                  <a:gd name="connsiteY1" fmla="*/ 203404 h 203404"/>
                  <a:gd name="connsiteX2" fmla="*/ 0 w 21769"/>
                  <a:gd name="connsiteY2" fmla="*/ 203105 h 203404"/>
                  <a:gd name="connsiteX3" fmla="*/ 18720 w 21769"/>
                  <a:gd name="connsiteY3" fmla="*/ 0 h 203404"/>
                </a:gdLst>
                <a:ahLst/>
                <a:cxnLst>
                  <a:cxn ang="0">
                    <a:pos x="connsiteX0" y="connsiteY0"/>
                  </a:cxn>
                  <a:cxn ang="0">
                    <a:pos x="connsiteX1" y="connsiteY1"/>
                  </a:cxn>
                  <a:cxn ang="0">
                    <a:pos x="connsiteX2" y="connsiteY2"/>
                  </a:cxn>
                  <a:cxn ang="0">
                    <a:pos x="connsiteX3" y="connsiteY3"/>
                  </a:cxn>
                </a:cxnLst>
                <a:rect l="l" t="t" r="r" b="b"/>
                <a:pathLst>
                  <a:path w="21769" h="203404">
                    <a:moveTo>
                      <a:pt x="21770" y="299"/>
                    </a:moveTo>
                    <a:lnTo>
                      <a:pt x="2990" y="203404"/>
                    </a:lnTo>
                    <a:lnTo>
                      <a:pt x="0" y="203105"/>
                    </a:lnTo>
                    <a:lnTo>
                      <a:pt x="18720" y="0"/>
                    </a:lnTo>
                    <a:close/>
                  </a:path>
                </a:pathLst>
              </a:custGeom>
              <a:grpFill/>
              <a:ln w="5978" cap="flat">
                <a:noFill/>
                <a:prstDash val="solid"/>
                <a:miter/>
              </a:ln>
            </p:spPr>
            <p:txBody>
              <a:bodyPr rtlCol="0" anchor="ctr"/>
              <a:lstStyle/>
              <a:p>
                <a:endParaRPr lang="en-GB"/>
              </a:p>
            </p:txBody>
          </p:sp>
          <p:sp>
            <p:nvSpPr>
              <p:cNvPr id="2813" name="Vrije vorm: vorm 2812">
                <a:extLst>
                  <a:ext uri="{FF2B5EF4-FFF2-40B4-BE49-F238E27FC236}">
                    <a16:creationId xmlns:a16="http://schemas.microsoft.com/office/drawing/2014/main" id="{E2EC03AD-D305-4CF8-8131-60A5164A9713}"/>
                  </a:ext>
                </a:extLst>
              </p:cNvPr>
              <p:cNvSpPr/>
              <p:nvPr/>
            </p:nvSpPr>
            <p:spPr>
              <a:xfrm>
                <a:off x="5856121" y="5463317"/>
                <a:ext cx="18324" cy="18404"/>
              </a:xfrm>
              <a:custGeom>
                <a:avLst/>
                <a:gdLst>
                  <a:gd name="connsiteX0" fmla="*/ 18283 w 18324"/>
                  <a:gd name="connsiteY0" fmla="*/ 10100 h 18404"/>
                  <a:gd name="connsiteX1" fmla="*/ 8295 w 18324"/>
                  <a:gd name="connsiteY1" fmla="*/ 18353 h 18404"/>
                  <a:gd name="connsiteX2" fmla="*/ 42 w 18324"/>
                  <a:gd name="connsiteY2" fmla="*/ 8305 h 18404"/>
                  <a:gd name="connsiteX3" fmla="*/ 10030 w 18324"/>
                  <a:gd name="connsiteY3" fmla="*/ 52 h 18404"/>
                  <a:gd name="connsiteX4" fmla="*/ 18283 w 18324"/>
                  <a:gd name="connsiteY4" fmla="*/ 10100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04">
                    <a:moveTo>
                      <a:pt x="18283" y="10100"/>
                    </a:moveTo>
                    <a:cubicBezTo>
                      <a:pt x="17804" y="15183"/>
                      <a:pt x="13319" y="18891"/>
                      <a:pt x="8295" y="18353"/>
                    </a:cubicBezTo>
                    <a:cubicBezTo>
                      <a:pt x="3271" y="17875"/>
                      <a:pt x="-437" y="13389"/>
                      <a:pt x="42" y="8305"/>
                    </a:cubicBezTo>
                    <a:cubicBezTo>
                      <a:pt x="520" y="3222"/>
                      <a:pt x="4946" y="-486"/>
                      <a:pt x="10030" y="52"/>
                    </a:cubicBezTo>
                    <a:cubicBezTo>
                      <a:pt x="15053" y="530"/>
                      <a:pt x="18761" y="5016"/>
                      <a:pt x="18283" y="10100"/>
                    </a:cubicBezTo>
                    <a:close/>
                  </a:path>
                </a:pathLst>
              </a:custGeom>
              <a:grpFill/>
              <a:ln w="5978" cap="flat">
                <a:noFill/>
                <a:prstDash val="solid"/>
                <a:miter/>
              </a:ln>
            </p:spPr>
            <p:txBody>
              <a:bodyPr rtlCol="0" anchor="ctr"/>
              <a:lstStyle/>
              <a:p>
                <a:endParaRPr lang="en-GB"/>
              </a:p>
            </p:txBody>
          </p:sp>
          <p:sp>
            <p:nvSpPr>
              <p:cNvPr id="2814" name="Vrije vorm: vorm 2813">
                <a:extLst>
                  <a:ext uri="{FF2B5EF4-FFF2-40B4-BE49-F238E27FC236}">
                    <a16:creationId xmlns:a16="http://schemas.microsoft.com/office/drawing/2014/main" id="{D561A9AB-5F71-439D-9DF8-F5F24AFE83D8}"/>
                  </a:ext>
                </a:extLst>
              </p:cNvPr>
              <p:cNvSpPr/>
              <p:nvPr/>
            </p:nvSpPr>
            <p:spPr>
              <a:xfrm>
                <a:off x="5874841" y="5261119"/>
                <a:ext cx="18324" cy="18384"/>
              </a:xfrm>
              <a:custGeom>
                <a:avLst/>
                <a:gdLst>
                  <a:gd name="connsiteX0" fmla="*/ 18283 w 18324"/>
                  <a:gd name="connsiteY0" fmla="*/ 10089 h 18384"/>
                  <a:gd name="connsiteX1" fmla="*/ 10030 w 18324"/>
                  <a:gd name="connsiteY1" fmla="*/ 42 h 18384"/>
                  <a:gd name="connsiteX2" fmla="*/ 42 w 18324"/>
                  <a:gd name="connsiteY2" fmla="*/ 8295 h 18384"/>
                  <a:gd name="connsiteX3" fmla="*/ 8295 w 18324"/>
                  <a:gd name="connsiteY3" fmla="*/ 18343 h 18384"/>
                  <a:gd name="connsiteX4" fmla="*/ 18283 w 18324"/>
                  <a:gd name="connsiteY4" fmla="*/ 10089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18283" y="10089"/>
                    </a:moveTo>
                    <a:cubicBezTo>
                      <a:pt x="18761" y="5006"/>
                      <a:pt x="15053" y="520"/>
                      <a:pt x="10030" y="42"/>
                    </a:cubicBezTo>
                    <a:cubicBezTo>
                      <a:pt x="5006" y="-437"/>
                      <a:pt x="520" y="3271"/>
                      <a:pt x="42" y="8295"/>
                    </a:cubicBezTo>
                    <a:cubicBezTo>
                      <a:pt x="-437" y="13379"/>
                      <a:pt x="3271" y="17864"/>
                      <a:pt x="8295" y="18343"/>
                    </a:cubicBezTo>
                    <a:cubicBezTo>
                      <a:pt x="13319" y="18821"/>
                      <a:pt x="17804" y="15113"/>
                      <a:pt x="18283" y="10089"/>
                    </a:cubicBezTo>
                    <a:close/>
                  </a:path>
                </a:pathLst>
              </a:custGeom>
              <a:grpFill/>
              <a:ln w="5978" cap="flat">
                <a:noFill/>
                <a:prstDash val="solid"/>
                <a:miter/>
              </a:ln>
            </p:spPr>
            <p:txBody>
              <a:bodyPr rtlCol="0" anchor="ctr"/>
              <a:lstStyle/>
              <a:p>
                <a:endParaRPr lang="en-GB"/>
              </a:p>
            </p:txBody>
          </p:sp>
        </p:grpSp>
        <p:grpSp>
          <p:nvGrpSpPr>
            <p:cNvPr id="863" name="Graphic 3">
              <a:extLst>
                <a:ext uri="{FF2B5EF4-FFF2-40B4-BE49-F238E27FC236}">
                  <a16:creationId xmlns:a16="http://schemas.microsoft.com/office/drawing/2014/main" id="{2BD6C2C8-CD76-47EB-8B85-1C4AA1DD7799}"/>
                </a:ext>
              </a:extLst>
            </p:cNvPr>
            <p:cNvGrpSpPr/>
            <p:nvPr/>
          </p:nvGrpSpPr>
          <p:grpSpPr>
            <a:xfrm>
              <a:off x="5922598" y="5430340"/>
              <a:ext cx="30408" cy="238244"/>
              <a:chOff x="5922598" y="5430340"/>
              <a:chExt cx="30408" cy="238244"/>
            </a:xfrm>
            <a:grpFill/>
          </p:grpSpPr>
          <p:sp>
            <p:nvSpPr>
              <p:cNvPr id="2809" name="Vrije vorm: vorm 2808">
                <a:extLst>
                  <a:ext uri="{FF2B5EF4-FFF2-40B4-BE49-F238E27FC236}">
                    <a16:creationId xmlns:a16="http://schemas.microsoft.com/office/drawing/2014/main" id="{DE6E7A41-3DCC-4726-A0CB-284602DAD514}"/>
                  </a:ext>
                </a:extLst>
              </p:cNvPr>
              <p:cNvSpPr/>
              <p:nvPr/>
            </p:nvSpPr>
            <p:spPr>
              <a:xfrm>
                <a:off x="5930204" y="5439028"/>
                <a:ext cx="15131" cy="220867"/>
              </a:xfrm>
              <a:custGeom>
                <a:avLst/>
                <a:gdLst>
                  <a:gd name="connsiteX0" fmla="*/ 15131 w 15131"/>
                  <a:gd name="connsiteY0" fmla="*/ 179 h 220867"/>
                  <a:gd name="connsiteX1" fmla="*/ 2990 w 15131"/>
                  <a:gd name="connsiteY1" fmla="*/ 220868 h 220867"/>
                  <a:gd name="connsiteX2" fmla="*/ 0 w 15131"/>
                  <a:gd name="connsiteY2" fmla="*/ 220688 h 220867"/>
                  <a:gd name="connsiteX3" fmla="*/ 12141 w 15131"/>
                  <a:gd name="connsiteY3" fmla="*/ 0 h 220867"/>
                </a:gdLst>
                <a:ahLst/>
                <a:cxnLst>
                  <a:cxn ang="0">
                    <a:pos x="connsiteX0" y="connsiteY0"/>
                  </a:cxn>
                  <a:cxn ang="0">
                    <a:pos x="connsiteX1" y="connsiteY1"/>
                  </a:cxn>
                  <a:cxn ang="0">
                    <a:pos x="connsiteX2" y="connsiteY2"/>
                  </a:cxn>
                  <a:cxn ang="0">
                    <a:pos x="connsiteX3" y="connsiteY3"/>
                  </a:cxn>
                </a:cxnLst>
                <a:rect l="l" t="t" r="r" b="b"/>
                <a:pathLst>
                  <a:path w="15131" h="220867">
                    <a:moveTo>
                      <a:pt x="15131" y="179"/>
                    </a:moveTo>
                    <a:lnTo>
                      <a:pt x="2990" y="220868"/>
                    </a:lnTo>
                    <a:lnTo>
                      <a:pt x="0" y="220688"/>
                    </a:lnTo>
                    <a:lnTo>
                      <a:pt x="12141" y="0"/>
                    </a:lnTo>
                    <a:close/>
                  </a:path>
                </a:pathLst>
              </a:custGeom>
              <a:grpFill/>
              <a:ln w="5978" cap="flat">
                <a:noFill/>
                <a:prstDash val="solid"/>
                <a:miter/>
              </a:ln>
            </p:spPr>
            <p:txBody>
              <a:bodyPr rtlCol="0" anchor="ctr"/>
              <a:lstStyle/>
              <a:p>
                <a:endParaRPr lang="en-GB"/>
              </a:p>
            </p:txBody>
          </p:sp>
          <p:sp>
            <p:nvSpPr>
              <p:cNvPr id="2810" name="Vrije vorm: vorm 2809">
                <a:extLst>
                  <a:ext uri="{FF2B5EF4-FFF2-40B4-BE49-F238E27FC236}">
                    <a16:creationId xmlns:a16="http://schemas.microsoft.com/office/drawing/2014/main" id="{FB90B191-CC51-4292-AAB4-E4A60189DFBF}"/>
                  </a:ext>
                </a:extLst>
              </p:cNvPr>
              <p:cNvSpPr/>
              <p:nvPr/>
            </p:nvSpPr>
            <p:spPr>
              <a:xfrm>
                <a:off x="5922598" y="5650131"/>
                <a:ext cx="18322" cy="18452"/>
              </a:xfrm>
              <a:custGeom>
                <a:avLst/>
                <a:gdLst>
                  <a:gd name="connsiteX0" fmla="*/ 18312 w 18322"/>
                  <a:gd name="connsiteY0" fmla="*/ 9765 h 18452"/>
                  <a:gd name="connsiteX1" fmla="*/ 8683 w 18322"/>
                  <a:gd name="connsiteY1" fmla="*/ 18437 h 18452"/>
                  <a:gd name="connsiteX2" fmla="*/ 11 w 18322"/>
                  <a:gd name="connsiteY2" fmla="*/ 8688 h 18452"/>
                  <a:gd name="connsiteX3" fmla="*/ 9640 w 18322"/>
                  <a:gd name="connsiteY3" fmla="*/ 16 h 18452"/>
                  <a:gd name="connsiteX4" fmla="*/ 18312 w 18322"/>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52">
                    <a:moveTo>
                      <a:pt x="18312" y="9765"/>
                    </a:moveTo>
                    <a:cubicBezTo>
                      <a:pt x="18013" y="14848"/>
                      <a:pt x="13706" y="18736"/>
                      <a:pt x="8683" y="18437"/>
                    </a:cubicBezTo>
                    <a:cubicBezTo>
                      <a:pt x="3599" y="18138"/>
                      <a:pt x="-229" y="13772"/>
                      <a:pt x="11" y="8688"/>
                    </a:cubicBezTo>
                    <a:cubicBezTo>
                      <a:pt x="310" y="3604"/>
                      <a:pt x="4616" y="-283"/>
                      <a:pt x="9640" y="16"/>
                    </a:cubicBezTo>
                    <a:cubicBezTo>
                      <a:pt x="14663" y="375"/>
                      <a:pt x="18551" y="4681"/>
                      <a:pt x="18312" y="9765"/>
                    </a:cubicBezTo>
                    <a:close/>
                  </a:path>
                </a:pathLst>
              </a:custGeom>
              <a:grpFill/>
              <a:ln w="5978" cap="flat">
                <a:noFill/>
                <a:prstDash val="solid"/>
                <a:miter/>
              </a:ln>
            </p:spPr>
            <p:txBody>
              <a:bodyPr rtlCol="0" anchor="ctr"/>
              <a:lstStyle/>
              <a:p>
                <a:endParaRPr lang="en-GB"/>
              </a:p>
            </p:txBody>
          </p:sp>
          <p:sp>
            <p:nvSpPr>
              <p:cNvPr id="2811" name="Vrije vorm: vorm 2810">
                <a:extLst>
                  <a:ext uri="{FF2B5EF4-FFF2-40B4-BE49-F238E27FC236}">
                    <a16:creationId xmlns:a16="http://schemas.microsoft.com/office/drawing/2014/main" id="{B9B0B616-3838-47A4-95CF-A55CA5DD20F9}"/>
                  </a:ext>
                </a:extLst>
              </p:cNvPr>
              <p:cNvSpPr/>
              <p:nvPr/>
            </p:nvSpPr>
            <p:spPr>
              <a:xfrm>
                <a:off x="5934674" y="5430340"/>
                <a:ext cx="18333" cy="18452"/>
              </a:xfrm>
              <a:custGeom>
                <a:avLst/>
                <a:gdLst>
                  <a:gd name="connsiteX0" fmla="*/ 18317 w 18333"/>
                  <a:gd name="connsiteY0" fmla="*/ 9765 h 18452"/>
                  <a:gd name="connsiteX1" fmla="*/ 9645 w 18333"/>
                  <a:gd name="connsiteY1" fmla="*/ 16 h 18452"/>
                  <a:gd name="connsiteX2" fmla="*/ 16 w 18333"/>
                  <a:gd name="connsiteY2" fmla="*/ 8688 h 18452"/>
                  <a:gd name="connsiteX3" fmla="*/ 8688 w 18333"/>
                  <a:gd name="connsiteY3" fmla="*/ 18437 h 18452"/>
                  <a:gd name="connsiteX4" fmla="*/ 18317 w 18333"/>
                  <a:gd name="connsiteY4" fmla="*/ 97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18317" y="9765"/>
                    </a:moveTo>
                    <a:cubicBezTo>
                      <a:pt x="18616" y="4681"/>
                      <a:pt x="14729" y="315"/>
                      <a:pt x="9645" y="16"/>
                    </a:cubicBezTo>
                    <a:cubicBezTo>
                      <a:pt x="4562" y="-283"/>
                      <a:pt x="256" y="3604"/>
                      <a:pt x="16" y="8688"/>
                    </a:cubicBezTo>
                    <a:cubicBezTo>
                      <a:pt x="-283" y="13772"/>
                      <a:pt x="3605" y="18138"/>
                      <a:pt x="8688" y="18437"/>
                    </a:cubicBezTo>
                    <a:cubicBezTo>
                      <a:pt x="13712" y="18736"/>
                      <a:pt x="18018" y="14848"/>
                      <a:pt x="18317" y="9765"/>
                    </a:cubicBezTo>
                    <a:close/>
                  </a:path>
                </a:pathLst>
              </a:custGeom>
              <a:grpFill/>
              <a:ln w="5978" cap="flat">
                <a:noFill/>
                <a:prstDash val="solid"/>
                <a:miter/>
              </a:ln>
            </p:spPr>
            <p:txBody>
              <a:bodyPr rtlCol="0" anchor="ctr"/>
              <a:lstStyle/>
              <a:p>
                <a:endParaRPr lang="en-GB"/>
              </a:p>
            </p:txBody>
          </p:sp>
        </p:grpSp>
        <p:grpSp>
          <p:nvGrpSpPr>
            <p:cNvPr id="864" name="Graphic 3">
              <a:extLst>
                <a:ext uri="{FF2B5EF4-FFF2-40B4-BE49-F238E27FC236}">
                  <a16:creationId xmlns:a16="http://schemas.microsoft.com/office/drawing/2014/main" id="{196C9C57-BE23-43E9-BE61-167791D4A4BF}"/>
                </a:ext>
              </a:extLst>
            </p:cNvPr>
            <p:cNvGrpSpPr/>
            <p:nvPr/>
          </p:nvGrpSpPr>
          <p:grpSpPr>
            <a:xfrm>
              <a:off x="4730673" y="2100499"/>
              <a:ext cx="129341" cy="128787"/>
              <a:chOff x="4730673" y="2100499"/>
              <a:chExt cx="129341" cy="128787"/>
            </a:xfrm>
            <a:grpFill/>
          </p:grpSpPr>
          <p:sp>
            <p:nvSpPr>
              <p:cNvPr id="2806" name="Vrije vorm: vorm 2805">
                <a:extLst>
                  <a:ext uri="{FF2B5EF4-FFF2-40B4-BE49-F238E27FC236}">
                    <a16:creationId xmlns:a16="http://schemas.microsoft.com/office/drawing/2014/main" id="{223F24E3-B2A4-4407-89C1-8D599F3BA93E}"/>
                  </a:ext>
                </a:extLst>
              </p:cNvPr>
              <p:cNvSpPr/>
              <p:nvPr/>
            </p:nvSpPr>
            <p:spPr>
              <a:xfrm>
                <a:off x="4738426" y="2108304"/>
                <a:ext cx="113812" cy="113155"/>
              </a:xfrm>
              <a:custGeom>
                <a:avLst/>
                <a:gdLst>
                  <a:gd name="connsiteX0" fmla="*/ 113813 w 113812"/>
                  <a:gd name="connsiteY0" fmla="*/ 111002 h 113155"/>
                  <a:gd name="connsiteX1" fmla="*/ 111660 w 113812"/>
                  <a:gd name="connsiteY1" fmla="*/ 113155 h 113155"/>
                  <a:gd name="connsiteX2" fmla="*/ 0 w 113812"/>
                  <a:gd name="connsiteY2" fmla="*/ 2153 h 113155"/>
                  <a:gd name="connsiteX3" fmla="*/ 2153 w 113812"/>
                  <a:gd name="connsiteY3" fmla="*/ 0 h 113155"/>
                </a:gdLst>
                <a:ahLst/>
                <a:cxnLst>
                  <a:cxn ang="0">
                    <a:pos x="connsiteX0" y="connsiteY0"/>
                  </a:cxn>
                  <a:cxn ang="0">
                    <a:pos x="connsiteX1" y="connsiteY1"/>
                  </a:cxn>
                  <a:cxn ang="0">
                    <a:pos x="connsiteX2" y="connsiteY2"/>
                  </a:cxn>
                  <a:cxn ang="0">
                    <a:pos x="connsiteX3" y="connsiteY3"/>
                  </a:cxn>
                </a:cxnLst>
                <a:rect l="l" t="t" r="r" b="b"/>
                <a:pathLst>
                  <a:path w="113812" h="113155">
                    <a:moveTo>
                      <a:pt x="113813" y="111002"/>
                    </a:moveTo>
                    <a:lnTo>
                      <a:pt x="111660" y="113155"/>
                    </a:lnTo>
                    <a:lnTo>
                      <a:pt x="0" y="2153"/>
                    </a:lnTo>
                    <a:lnTo>
                      <a:pt x="2153" y="0"/>
                    </a:lnTo>
                    <a:close/>
                  </a:path>
                </a:pathLst>
              </a:custGeom>
              <a:grpFill/>
              <a:ln w="5978" cap="flat">
                <a:noFill/>
                <a:prstDash val="solid"/>
                <a:miter/>
              </a:ln>
            </p:spPr>
            <p:txBody>
              <a:bodyPr rtlCol="0" anchor="ctr"/>
              <a:lstStyle/>
              <a:p>
                <a:endParaRPr lang="en-GB"/>
              </a:p>
            </p:txBody>
          </p:sp>
          <p:sp>
            <p:nvSpPr>
              <p:cNvPr id="2807" name="Vrije vorm: vorm 2806">
                <a:extLst>
                  <a:ext uri="{FF2B5EF4-FFF2-40B4-BE49-F238E27FC236}">
                    <a16:creationId xmlns:a16="http://schemas.microsoft.com/office/drawing/2014/main" id="{1580B5FD-29BC-4C8E-8D9B-5BC7C41A557A}"/>
                  </a:ext>
                </a:extLst>
              </p:cNvPr>
              <p:cNvSpPr/>
              <p:nvPr/>
            </p:nvSpPr>
            <p:spPr>
              <a:xfrm>
                <a:off x="4730673" y="2100499"/>
                <a:ext cx="18316" cy="18420"/>
              </a:xfrm>
              <a:custGeom>
                <a:avLst/>
                <a:gdLst>
                  <a:gd name="connsiteX0" fmla="*/ 2729 w 18316"/>
                  <a:gd name="connsiteY0" fmla="*/ 15759 h 18420"/>
                  <a:gd name="connsiteX1" fmla="*/ 2609 w 18316"/>
                  <a:gd name="connsiteY1" fmla="*/ 2721 h 18420"/>
                  <a:gd name="connsiteX2" fmla="*/ 15588 w 18316"/>
                  <a:gd name="connsiteY2" fmla="*/ 2662 h 18420"/>
                  <a:gd name="connsiteX3" fmla="*/ 15707 w 18316"/>
                  <a:gd name="connsiteY3" fmla="*/ 15700 h 18420"/>
                  <a:gd name="connsiteX4" fmla="*/ 2729 w 18316"/>
                  <a:gd name="connsiteY4" fmla="*/ 1575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0">
                    <a:moveTo>
                      <a:pt x="2729" y="15759"/>
                    </a:moveTo>
                    <a:cubicBezTo>
                      <a:pt x="-859" y="12171"/>
                      <a:pt x="-919" y="6310"/>
                      <a:pt x="2609" y="2721"/>
                    </a:cubicBezTo>
                    <a:cubicBezTo>
                      <a:pt x="6138" y="-867"/>
                      <a:pt x="11940" y="-927"/>
                      <a:pt x="15588" y="2662"/>
                    </a:cubicBezTo>
                    <a:cubicBezTo>
                      <a:pt x="19176" y="6250"/>
                      <a:pt x="19236" y="12051"/>
                      <a:pt x="15707" y="15700"/>
                    </a:cubicBezTo>
                    <a:cubicBezTo>
                      <a:pt x="12119" y="19288"/>
                      <a:pt x="6318" y="19348"/>
                      <a:pt x="2729" y="15759"/>
                    </a:cubicBezTo>
                    <a:close/>
                  </a:path>
                </a:pathLst>
              </a:custGeom>
              <a:grpFill/>
              <a:ln w="5978" cap="flat">
                <a:noFill/>
                <a:prstDash val="solid"/>
                <a:miter/>
              </a:ln>
            </p:spPr>
            <p:txBody>
              <a:bodyPr rtlCol="0" anchor="ctr"/>
              <a:lstStyle/>
              <a:p>
                <a:endParaRPr lang="en-GB"/>
              </a:p>
            </p:txBody>
          </p:sp>
          <p:sp>
            <p:nvSpPr>
              <p:cNvPr id="2808" name="Vrije vorm: vorm 2807">
                <a:extLst>
                  <a:ext uri="{FF2B5EF4-FFF2-40B4-BE49-F238E27FC236}">
                    <a16:creationId xmlns:a16="http://schemas.microsoft.com/office/drawing/2014/main" id="{AD8018B5-0410-4E39-AB10-8880CC6ACDB3}"/>
                  </a:ext>
                </a:extLst>
              </p:cNvPr>
              <p:cNvSpPr/>
              <p:nvPr/>
            </p:nvSpPr>
            <p:spPr>
              <a:xfrm>
                <a:off x="4841675" y="2210821"/>
                <a:ext cx="18338" cy="18465"/>
              </a:xfrm>
              <a:custGeom>
                <a:avLst/>
                <a:gdLst>
                  <a:gd name="connsiteX0" fmla="*/ 2729 w 18338"/>
                  <a:gd name="connsiteY0" fmla="*/ 15782 h 18465"/>
                  <a:gd name="connsiteX1" fmla="*/ 15707 w 18338"/>
                  <a:gd name="connsiteY1" fmla="*/ 15722 h 18465"/>
                  <a:gd name="connsiteX2" fmla="*/ 15588 w 18338"/>
                  <a:gd name="connsiteY2" fmla="*/ 2684 h 18465"/>
                  <a:gd name="connsiteX3" fmla="*/ 2610 w 18338"/>
                  <a:gd name="connsiteY3" fmla="*/ 2744 h 18465"/>
                  <a:gd name="connsiteX4" fmla="*/ 2729 w 18338"/>
                  <a:gd name="connsiteY4" fmla="*/ 1578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5">
                    <a:moveTo>
                      <a:pt x="2729" y="15782"/>
                    </a:moveTo>
                    <a:cubicBezTo>
                      <a:pt x="6318" y="19370"/>
                      <a:pt x="12119" y="19370"/>
                      <a:pt x="15707" y="15722"/>
                    </a:cubicBezTo>
                    <a:cubicBezTo>
                      <a:pt x="19236" y="12133"/>
                      <a:pt x="19236" y="6272"/>
                      <a:pt x="15588" y="2684"/>
                    </a:cubicBezTo>
                    <a:cubicBezTo>
                      <a:pt x="11999" y="-905"/>
                      <a:pt x="6198" y="-905"/>
                      <a:pt x="2610" y="2744"/>
                    </a:cubicBezTo>
                    <a:cubicBezTo>
                      <a:pt x="-919" y="6392"/>
                      <a:pt x="-859" y="12193"/>
                      <a:pt x="2729" y="15782"/>
                    </a:cubicBezTo>
                    <a:close/>
                  </a:path>
                </a:pathLst>
              </a:custGeom>
              <a:grpFill/>
              <a:ln w="5978" cap="flat">
                <a:noFill/>
                <a:prstDash val="solid"/>
                <a:miter/>
              </a:ln>
            </p:spPr>
            <p:txBody>
              <a:bodyPr rtlCol="0" anchor="ctr"/>
              <a:lstStyle/>
              <a:p>
                <a:endParaRPr lang="en-GB"/>
              </a:p>
            </p:txBody>
          </p:sp>
        </p:grpSp>
        <p:grpSp>
          <p:nvGrpSpPr>
            <p:cNvPr id="865" name="Graphic 3">
              <a:extLst>
                <a:ext uri="{FF2B5EF4-FFF2-40B4-BE49-F238E27FC236}">
                  <a16:creationId xmlns:a16="http://schemas.microsoft.com/office/drawing/2014/main" id="{8DE7FDCF-9068-426F-A3C1-D13CCEDF79D5}"/>
                </a:ext>
              </a:extLst>
            </p:cNvPr>
            <p:cNvGrpSpPr/>
            <p:nvPr/>
          </p:nvGrpSpPr>
          <p:grpSpPr>
            <a:xfrm>
              <a:off x="4664099" y="1983684"/>
              <a:ext cx="196782" cy="244840"/>
              <a:chOff x="4664099" y="1983684"/>
              <a:chExt cx="196782" cy="244840"/>
            </a:xfrm>
            <a:grpFill/>
          </p:grpSpPr>
          <p:sp>
            <p:nvSpPr>
              <p:cNvPr id="2803" name="Vrije vorm: vorm 2802">
                <a:extLst>
                  <a:ext uri="{FF2B5EF4-FFF2-40B4-BE49-F238E27FC236}">
                    <a16:creationId xmlns:a16="http://schemas.microsoft.com/office/drawing/2014/main" id="{BDF31F16-7988-43E8-B11C-55B178604548}"/>
                  </a:ext>
                </a:extLst>
              </p:cNvPr>
              <p:cNvSpPr/>
              <p:nvPr/>
            </p:nvSpPr>
            <p:spPr>
              <a:xfrm>
                <a:off x="4671741" y="1991620"/>
                <a:ext cx="181395" cy="229001"/>
              </a:xfrm>
              <a:custGeom>
                <a:avLst/>
                <a:gdLst>
                  <a:gd name="connsiteX0" fmla="*/ 181395 w 181395"/>
                  <a:gd name="connsiteY0" fmla="*/ 227148 h 229001"/>
                  <a:gd name="connsiteX1" fmla="*/ 179003 w 181395"/>
                  <a:gd name="connsiteY1" fmla="*/ 229002 h 229001"/>
                  <a:gd name="connsiteX2" fmla="*/ 0 w 181395"/>
                  <a:gd name="connsiteY2" fmla="*/ 1854 h 229001"/>
                  <a:gd name="connsiteX3" fmla="*/ 2392 w 181395"/>
                  <a:gd name="connsiteY3" fmla="*/ 0 h 229001"/>
                </a:gdLst>
                <a:ahLst/>
                <a:cxnLst>
                  <a:cxn ang="0">
                    <a:pos x="connsiteX0" y="connsiteY0"/>
                  </a:cxn>
                  <a:cxn ang="0">
                    <a:pos x="connsiteX1" y="connsiteY1"/>
                  </a:cxn>
                  <a:cxn ang="0">
                    <a:pos x="connsiteX2" y="connsiteY2"/>
                  </a:cxn>
                  <a:cxn ang="0">
                    <a:pos x="connsiteX3" y="connsiteY3"/>
                  </a:cxn>
                </a:cxnLst>
                <a:rect l="l" t="t" r="r" b="b"/>
                <a:pathLst>
                  <a:path w="181395" h="229001">
                    <a:moveTo>
                      <a:pt x="181395" y="227148"/>
                    </a:moveTo>
                    <a:lnTo>
                      <a:pt x="179003" y="229002"/>
                    </a:lnTo>
                    <a:lnTo>
                      <a:pt x="0" y="1854"/>
                    </a:lnTo>
                    <a:lnTo>
                      <a:pt x="2392" y="0"/>
                    </a:lnTo>
                    <a:close/>
                  </a:path>
                </a:pathLst>
              </a:custGeom>
              <a:grpFill/>
              <a:ln w="5978" cap="flat">
                <a:noFill/>
                <a:prstDash val="solid"/>
                <a:miter/>
              </a:ln>
            </p:spPr>
            <p:txBody>
              <a:bodyPr rtlCol="0" anchor="ctr"/>
              <a:lstStyle/>
              <a:p>
                <a:endParaRPr lang="en-GB"/>
              </a:p>
            </p:txBody>
          </p:sp>
          <p:sp>
            <p:nvSpPr>
              <p:cNvPr id="2804" name="Vrije vorm: vorm 2803">
                <a:extLst>
                  <a:ext uri="{FF2B5EF4-FFF2-40B4-BE49-F238E27FC236}">
                    <a16:creationId xmlns:a16="http://schemas.microsoft.com/office/drawing/2014/main" id="{1DE472A4-04AF-42A8-802D-532F94EAC341}"/>
                  </a:ext>
                </a:extLst>
              </p:cNvPr>
              <p:cNvSpPr/>
              <p:nvPr/>
            </p:nvSpPr>
            <p:spPr>
              <a:xfrm>
                <a:off x="4842520" y="2210114"/>
                <a:ext cx="18361" cy="18410"/>
              </a:xfrm>
              <a:custGeom>
                <a:avLst/>
                <a:gdLst>
                  <a:gd name="connsiteX0" fmla="*/ 16358 w 18361"/>
                  <a:gd name="connsiteY0" fmla="*/ 3511 h 18410"/>
                  <a:gd name="connsiteX1" fmla="*/ 14862 w 18361"/>
                  <a:gd name="connsiteY1" fmla="*/ 16429 h 18410"/>
                  <a:gd name="connsiteX2" fmla="*/ 2004 w 18361"/>
                  <a:gd name="connsiteY2" fmla="*/ 14874 h 18410"/>
                  <a:gd name="connsiteX3" fmla="*/ 3499 w 18361"/>
                  <a:gd name="connsiteY3" fmla="*/ 1956 h 18410"/>
                  <a:gd name="connsiteX4" fmla="*/ 16358 w 18361"/>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0">
                    <a:moveTo>
                      <a:pt x="16358" y="3511"/>
                    </a:moveTo>
                    <a:cubicBezTo>
                      <a:pt x="19528" y="7518"/>
                      <a:pt x="18870" y="13319"/>
                      <a:pt x="14862" y="16429"/>
                    </a:cubicBezTo>
                    <a:cubicBezTo>
                      <a:pt x="10915" y="19599"/>
                      <a:pt x="5114" y="18881"/>
                      <a:pt x="2004" y="14874"/>
                    </a:cubicBezTo>
                    <a:cubicBezTo>
                      <a:pt x="-1166" y="10867"/>
                      <a:pt x="-508" y="5066"/>
                      <a:pt x="3499" y="1956"/>
                    </a:cubicBezTo>
                    <a:cubicBezTo>
                      <a:pt x="7446" y="-1154"/>
                      <a:pt x="13188" y="-496"/>
                      <a:pt x="16358" y="3511"/>
                    </a:cubicBezTo>
                    <a:close/>
                  </a:path>
                </a:pathLst>
              </a:custGeom>
              <a:grpFill/>
              <a:ln w="5978" cap="flat">
                <a:noFill/>
                <a:prstDash val="solid"/>
                <a:miter/>
              </a:ln>
            </p:spPr>
            <p:txBody>
              <a:bodyPr rtlCol="0" anchor="ctr"/>
              <a:lstStyle/>
              <a:p>
                <a:endParaRPr lang="en-GB"/>
              </a:p>
            </p:txBody>
          </p:sp>
          <p:sp>
            <p:nvSpPr>
              <p:cNvPr id="2805" name="Vrije vorm: vorm 2804">
                <a:extLst>
                  <a:ext uri="{FF2B5EF4-FFF2-40B4-BE49-F238E27FC236}">
                    <a16:creationId xmlns:a16="http://schemas.microsoft.com/office/drawing/2014/main" id="{3B71E5EC-C27D-476D-8262-6F3A0A37B6B6}"/>
                  </a:ext>
                </a:extLst>
              </p:cNvPr>
              <p:cNvSpPr/>
              <p:nvPr/>
            </p:nvSpPr>
            <p:spPr>
              <a:xfrm>
                <a:off x="4664099" y="1983684"/>
                <a:ext cx="18317" cy="18366"/>
              </a:xfrm>
              <a:custGeom>
                <a:avLst/>
                <a:gdLst>
                  <a:gd name="connsiteX0" fmla="*/ 16314 w 18317"/>
                  <a:gd name="connsiteY0" fmla="*/ 3511 h 18366"/>
                  <a:gd name="connsiteX1" fmla="*/ 3455 w 18317"/>
                  <a:gd name="connsiteY1" fmla="*/ 1956 h 18366"/>
                  <a:gd name="connsiteX2" fmla="*/ 1960 w 18317"/>
                  <a:gd name="connsiteY2" fmla="*/ 14874 h 18366"/>
                  <a:gd name="connsiteX3" fmla="*/ 14819 w 18317"/>
                  <a:gd name="connsiteY3" fmla="*/ 16429 h 18366"/>
                  <a:gd name="connsiteX4" fmla="*/ 16314 w 18317"/>
                  <a:gd name="connsiteY4" fmla="*/ 3511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66">
                    <a:moveTo>
                      <a:pt x="16314" y="3511"/>
                    </a:moveTo>
                    <a:cubicBezTo>
                      <a:pt x="13144" y="-496"/>
                      <a:pt x="7403" y="-1154"/>
                      <a:pt x="3455" y="1956"/>
                    </a:cubicBezTo>
                    <a:cubicBezTo>
                      <a:pt x="-492" y="5126"/>
                      <a:pt x="-1150" y="10927"/>
                      <a:pt x="1960" y="14874"/>
                    </a:cubicBezTo>
                    <a:cubicBezTo>
                      <a:pt x="5070" y="18821"/>
                      <a:pt x="10871" y="19539"/>
                      <a:pt x="14819" y="16429"/>
                    </a:cubicBezTo>
                    <a:cubicBezTo>
                      <a:pt x="18826" y="13319"/>
                      <a:pt x="19484" y="7518"/>
                      <a:pt x="16314" y="3511"/>
                    </a:cubicBezTo>
                    <a:close/>
                  </a:path>
                </a:pathLst>
              </a:custGeom>
              <a:grpFill/>
              <a:ln w="5978" cap="flat">
                <a:noFill/>
                <a:prstDash val="solid"/>
                <a:miter/>
              </a:ln>
            </p:spPr>
            <p:txBody>
              <a:bodyPr rtlCol="0" anchor="ctr"/>
              <a:lstStyle/>
              <a:p>
                <a:endParaRPr lang="en-GB"/>
              </a:p>
            </p:txBody>
          </p:sp>
        </p:grpSp>
        <p:grpSp>
          <p:nvGrpSpPr>
            <p:cNvPr id="866" name="Graphic 3">
              <a:extLst>
                <a:ext uri="{FF2B5EF4-FFF2-40B4-BE49-F238E27FC236}">
                  <a16:creationId xmlns:a16="http://schemas.microsoft.com/office/drawing/2014/main" id="{F7A82234-B924-4512-A2F5-F682755E7A4A}"/>
                </a:ext>
              </a:extLst>
            </p:cNvPr>
            <p:cNvGrpSpPr/>
            <p:nvPr/>
          </p:nvGrpSpPr>
          <p:grpSpPr>
            <a:xfrm>
              <a:off x="5792270" y="5092725"/>
              <a:ext cx="53087" cy="285856"/>
              <a:chOff x="5792270" y="5092725"/>
              <a:chExt cx="53087" cy="285856"/>
            </a:xfrm>
            <a:grpFill/>
          </p:grpSpPr>
          <p:sp>
            <p:nvSpPr>
              <p:cNvPr id="2800" name="Vrije vorm: vorm 2799">
                <a:extLst>
                  <a:ext uri="{FF2B5EF4-FFF2-40B4-BE49-F238E27FC236}">
                    <a16:creationId xmlns:a16="http://schemas.microsoft.com/office/drawing/2014/main" id="{9CF17CAA-0E50-427E-9757-921ABE46CA70}"/>
                  </a:ext>
                </a:extLst>
              </p:cNvPr>
              <p:cNvSpPr/>
              <p:nvPr/>
            </p:nvSpPr>
            <p:spPr>
              <a:xfrm>
                <a:off x="5799825" y="5101236"/>
                <a:ext cx="37917" cy="268773"/>
              </a:xfrm>
              <a:custGeom>
                <a:avLst/>
                <a:gdLst>
                  <a:gd name="connsiteX0" fmla="*/ 37918 w 37917"/>
                  <a:gd name="connsiteY0" fmla="*/ 419 h 268773"/>
                  <a:gd name="connsiteX1" fmla="*/ 3050 w 37917"/>
                  <a:gd name="connsiteY1" fmla="*/ 268774 h 268773"/>
                  <a:gd name="connsiteX2" fmla="*/ 0 w 37917"/>
                  <a:gd name="connsiteY2" fmla="*/ 268355 h 268773"/>
                  <a:gd name="connsiteX3" fmla="*/ 34868 w 37917"/>
                  <a:gd name="connsiteY3" fmla="*/ 0 h 268773"/>
                </a:gdLst>
                <a:ahLst/>
                <a:cxnLst>
                  <a:cxn ang="0">
                    <a:pos x="connsiteX0" y="connsiteY0"/>
                  </a:cxn>
                  <a:cxn ang="0">
                    <a:pos x="connsiteX1" y="connsiteY1"/>
                  </a:cxn>
                  <a:cxn ang="0">
                    <a:pos x="connsiteX2" y="connsiteY2"/>
                  </a:cxn>
                  <a:cxn ang="0">
                    <a:pos x="connsiteX3" y="connsiteY3"/>
                  </a:cxn>
                </a:cxnLst>
                <a:rect l="l" t="t" r="r" b="b"/>
                <a:pathLst>
                  <a:path w="37917" h="268773">
                    <a:moveTo>
                      <a:pt x="37918" y="419"/>
                    </a:moveTo>
                    <a:lnTo>
                      <a:pt x="3050" y="268774"/>
                    </a:lnTo>
                    <a:lnTo>
                      <a:pt x="0" y="268355"/>
                    </a:lnTo>
                    <a:lnTo>
                      <a:pt x="34868" y="0"/>
                    </a:lnTo>
                    <a:close/>
                  </a:path>
                </a:pathLst>
              </a:custGeom>
              <a:grpFill/>
              <a:ln w="5978" cap="flat">
                <a:noFill/>
                <a:prstDash val="solid"/>
                <a:miter/>
              </a:ln>
            </p:spPr>
            <p:txBody>
              <a:bodyPr rtlCol="0" anchor="ctr"/>
              <a:lstStyle/>
              <a:p>
                <a:endParaRPr lang="en-GB"/>
              </a:p>
            </p:txBody>
          </p:sp>
          <p:sp>
            <p:nvSpPr>
              <p:cNvPr id="2801" name="Vrije vorm: vorm 2800">
                <a:extLst>
                  <a:ext uri="{FF2B5EF4-FFF2-40B4-BE49-F238E27FC236}">
                    <a16:creationId xmlns:a16="http://schemas.microsoft.com/office/drawing/2014/main" id="{06D67314-00EF-4369-AB0E-C52D576801FA}"/>
                  </a:ext>
                </a:extLst>
              </p:cNvPr>
              <p:cNvSpPr/>
              <p:nvPr/>
            </p:nvSpPr>
            <p:spPr>
              <a:xfrm>
                <a:off x="5792270" y="5360183"/>
                <a:ext cx="18338" cy="18398"/>
              </a:xfrm>
              <a:custGeom>
                <a:avLst/>
                <a:gdLst>
                  <a:gd name="connsiteX0" fmla="*/ 18261 w 18338"/>
                  <a:gd name="connsiteY0" fmla="*/ 10426 h 18398"/>
                  <a:gd name="connsiteX1" fmla="*/ 7973 w 18338"/>
                  <a:gd name="connsiteY1" fmla="*/ 18320 h 18398"/>
                  <a:gd name="connsiteX2" fmla="*/ 79 w 18338"/>
                  <a:gd name="connsiteY2" fmla="*/ 7973 h 18398"/>
                  <a:gd name="connsiteX3" fmla="*/ 10366 w 18338"/>
                  <a:gd name="connsiteY3" fmla="*/ 79 h 18398"/>
                  <a:gd name="connsiteX4" fmla="*/ 18261 w 18338"/>
                  <a:gd name="connsiteY4" fmla="*/ 10426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18261" y="10426"/>
                    </a:moveTo>
                    <a:cubicBezTo>
                      <a:pt x="17602" y="15449"/>
                      <a:pt x="12997" y="18978"/>
                      <a:pt x="7973" y="18320"/>
                    </a:cubicBezTo>
                    <a:cubicBezTo>
                      <a:pt x="2950" y="17662"/>
                      <a:pt x="-579" y="12997"/>
                      <a:pt x="79" y="7973"/>
                    </a:cubicBezTo>
                    <a:cubicBezTo>
                      <a:pt x="737" y="2950"/>
                      <a:pt x="5342" y="-579"/>
                      <a:pt x="10366" y="79"/>
                    </a:cubicBezTo>
                    <a:cubicBezTo>
                      <a:pt x="15330" y="737"/>
                      <a:pt x="18918" y="5342"/>
                      <a:pt x="18261" y="10426"/>
                    </a:cubicBezTo>
                    <a:close/>
                  </a:path>
                </a:pathLst>
              </a:custGeom>
              <a:grpFill/>
              <a:ln w="5978" cap="flat">
                <a:noFill/>
                <a:prstDash val="solid"/>
                <a:miter/>
              </a:ln>
            </p:spPr>
            <p:txBody>
              <a:bodyPr rtlCol="0" anchor="ctr"/>
              <a:lstStyle/>
              <a:p>
                <a:endParaRPr lang="en-GB"/>
              </a:p>
            </p:txBody>
          </p:sp>
          <p:sp>
            <p:nvSpPr>
              <p:cNvPr id="2802" name="Vrije vorm: vorm 2801">
                <a:extLst>
                  <a:ext uri="{FF2B5EF4-FFF2-40B4-BE49-F238E27FC236}">
                    <a16:creationId xmlns:a16="http://schemas.microsoft.com/office/drawing/2014/main" id="{C91A9139-C658-4CF8-B96E-79CBA6CD2A41}"/>
                  </a:ext>
                </a:extLst>
              </p:cNvPr>
              <p:cNvSpPr/>
              <p:nvPr/>
            </p:nvSpPr>
            <p:spPr>
              <a:xfrm>
                <a:off x="5827018" y="5092725"/>
                <a:ext cx="18339" cy="18398"/>
              </a:xfrm>
              <a:custGeom>
                <a:avLst/>
                <a:gdLst>
                  <a:gd name="connsiteX0" fmla="*/ 18261 w 18339"/>
                  <a:gd name="connsiteY0" fmla="*/ 10425 h 18398"/>
                  <a:gd name="connsiteX1" fmla="*/ 10366 w 18339"/>
                  <a:gd name="connsiteY1" fmla="*/ 79 h 18398"/>
                  <a:gd name="connsiteX2" fmla="*/ 79 w 18339"/>
                  <a:gd name="connsiteY2" fmla="*/ 7973 h 18398"/>
                  <a:gd name="connsiteX3" fmla="*/ 7973 w 18339"/>
                  <a:gd name="connsiteY3" fmla="*/ 18320 h 18398"/>
                  <a:gd name="connsiteX4" fmla="*/ 18261 w 18339"/>
                  <a:gd name="connsiteY4" fmla="*/ 1042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8261" y="10425"/>
                    </a:moveTo>
                    <a:cubicBezTo>
                      <a:pt x="18918" y="5402"/>
                      <a:pt x="15390" y="737"/>
                      <a:pt x="10366" y="79"/>
                    </a:cubicBezTo>
                    <a:cubicBezTo>
                      <a:pt x="5342" y="-579"/>
                      <a:pt x="737" y="2950"/>
                      <a:pt x="79" y="7973"/>
                    </a:cubicBezTo>
                    <a:cubicBezTo>
                      <a:pt x="-579" y="12997"/>
                      <a:pt x="2950" y="17662"/>
                      <a:pt x="7973" y="18320"/>
                    </a:cubicBezTo>
                    <a:cubicBezTo>
                      <a:pt x="12997" y="18978"/>
                      <a:pt x="17602" y="15449"/>
                      <a:pt x="18261" y="10425"/>
                    </a:cubicBezTo>
                    <a:close/>
                  </a:path>
                </a:pathLst>
              </a:custGeom>
              <a:grpFill/>
              <a:ln w="5978" cap="flat">
                <a:noFill/>
                <a:prstDash val="solid"/>
                <a:miter/>
              </a:ln>
            </p:spPr>
            <p:txBody>
              <a:bodyPr rtlCol="0" anchor="ctr"/>
              <a:lstStyle/>
              <a:p>
                <a:endParaRPr lang="en-GB"/>
              </a:p>
            </p:txBody>
          </p:sp>
        </p:grpSp>
        <p:grpSp>
          <p:nvGrpSpPr>
            <p:cNvPr id="867" name="Graphic 3">
              <a:extLst>
                <a:ext uri="{FF2B5EF4-FFF2-40B4-BE49-F238E27FC236}">
                  <a16:creationId xmlns:a16="http://schemas.microsoft.com/office/drawing/2014/main" id="{2BBA0A70-DB09-44DA-8436-40859C965C4E}"/>
                </a:ext>
              </a:extLst>
            </p:cNvPr>
            <p:cNvGrpSpPr/>
            <p:nvPr/>
          </p:nvGrpSpPr>
          <p:grpSpPr>
            <a:xfrm>
              <a:off x="5832953" y="5278381"/>
              <a:ext cx="23502" cy="65259"/>
              <a:chOff x="5832953" y="5278381"/>
              <a:chExt cx="23502" cy="65259"/>
            </a:xfrm>
            <a:grpFill/>
          </p:grpSpPr>
          <p:sp>
            <p:nvSpPr>
              <p:cNvPr id="2797" name="Vrije vorm: vorm 2796">
                <a:extLst>
                  <a:ext uri="{FF2B5EF4-FFF2-40B4-BE49-F238E27FC236}">
                    <a16:creationId xmlns:a16="http://schemas.microsoft.com/office/drawing/2014/main" id="{64D7787A-B001-4B31-B42B-93D7C35E98B7}"/>
                  </a:ext>
                </a:extLst>
              </p:cNvPr>
              <p:cNvSpPr/>
              <p:nvPr/>
            </p:nvSpPr>
            <p:spPr>
              <a:xfrm>
                <a:off x="5840493" y="5286938"/>
                <a:ext cx="8373" cy="48145"/>
              </a:xfrm>
              <a:custGeom>
                <a:avLst/>
                <a:gdLst>
                  <a:gd name="connsiteX0" fmla="*/ 8373 w 8373"/>
                  <a:gd name="connsiteY0" fmla="*/ 359 h 48145"/>
                  <a:gd name="connsiteX1" fmla="*/ 3050 w 8373"/>
                  <a:gd name="connsiteY1" fmla="*/ 48145 h 48145"/>
                  <a:gd name="connsiteX2" fmla="*/ 0 w 8373"/>
                  <a:gd name="connsiteY2" fmla="*/ 47786 h 48145"/>
                  <a:gd name="connsiteX3" fmla="*/ 5323 w 8373"/>
                  <a:gd name="connsiteY3" fmla="*/ 0 h 48145"/>
                </a:gdLst>
                <a:ahLst/>
                <a:cxnLst>
                  <a:cxn ang="0">
                    <a:pos x="connsiteX0" y="connsiteY0"/>
                  </a:cxn>
                  <a:cxn ang="0">
                    <a:pos x="connsiteX1" y="connsiteY1"/>
                  </a:cxn>
                  <a:cxn ang="0">
                    <a:pos x="connsiteX2" y="connsiteY2"/>
                  </a:cxn>
                  <a:cxn ang="0">
                    <a:pos x="connsiteX3" y="connsiteY3"/>
                  </a:cxn>
                </a:cxnLst>
                <a:rect l="l" t="t" r="r" b="b"/>
                <a:pathLst>
                  <a:path w="8373" h="48145">
                    <a:moveTo>
                      <a:pt x="8373" y="359"/>
                    </a:moveTo>
                    <a:lnTo>
                      <a:pt x="3050" y="48145"/>
                    </a:lnTo>
                    <a:lnTo>
                      <a:pt x="0" y="47786"/>
                    </a:lnTo>
                    <a:lnTo>
                      <a:pt x="5323" y="0"/>
                    </a:lnTo>
                    <a:close/>
                  </a:path>
                </a:pathLst>
              </a:custGeom>
              <a:grpFill/>
              <a:ln w="5978" cap="flat">
                <a:noFill/>
                <a:prstDash val="solid"/>
                <a:miter/>
              </a:ln>
            </p:spPr>
            <p:txBody>
              <a:bodyPr rtlCol="0" anchor="ctr"/>
              <a:lstStyle/>
              <a:p>
                <a:endParaRPr lang="en-GB"/>
              </a:p>
            </p:txBody>
          </p:sp>
          <p:sp>
            <p:nvSpPr>
              <p:cNvPr id="2798" name="Vrije vorm: vorm 2797">
                <a:extLst>
                  <a:ext uri="{FF2B5EF4-FFF2-40B4-BE49-F238E27FC236}">
                    <a16:creationId xmlns:a16="http://schemas.microsoft.com/office/drawing/2014/main" id="{11BF3CB1-05EB-4A69-A384-9FAE87F2D073}"/>
                  </a:ext>
                </a:extLst>
              </p:cNvPr>
              <p:cNvSpPr/>
              <p:nvPr/>
            </p:nvSpPr>
            <p:spPr>
              <a:xfrm>
                <a:off x="5832953" y="5325210"/>
                <a:ext cx="18299" cy="18430"/>
              </a:xfrm>
              <a:custGeom>
                <a:avLst/>
                <a:gdLst>
                  <a:gd name="connsiteX0" fmla="*/ 18246 w 18299"/>
                  <a:gd name="connsiteY0" fmla="*/ 10291 h 18430"/>
                  <a:gd name="connsiteX1" fmla="*/ 8138 w 18299"/>
                  <a:gd name="connsiteY1" fmla="*/ 18365 h 18430"/>
                  <a:gd name="connsiteX2" fmla="*/ 64 w 18299"/>
                  <a:gd name="connsiteY2" fmla="*/ 8138 h 18430"/>
                  <a:gd name="connsiteX3" fmla="*/ 10172 w 18299"/>
                  <a:gd name="connsiteY3" fmla="*/ 64 h 18430"/>
                  <a:gd name="connsiteX4" fmla="*/ 18246 w 18299"/>
                  <a:gd name="connsiteY4" fmla="*/ 10291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30">
                    <a:moveTo>
                      <a:pt x="18246" y="10291"/>
                    </a:moveTo>
                    <a:cubicBezTo>
                      <a:pt x="17707" y="15375"/>
                      <a:pt x="13162" y="18963"/>
                      <a:pt x="8138" y="18365"/>
                    </a:cubicBezTo>
                    <a:cubicBezTo>
                      <a:pt x="3114" y="17767"/>
                      <a:pt x="-534" y="13222"/>
                      <a:pt x="64" y="8138"/>
                    </a:cubicBezTo>
                    <a:cubicBezTo>
                      <a:pt x="603" y="3114"/>
                      <a:pt x="5148" y="-534"/>
                      <a:pt x="10172" y="64"/>
                    </a:cubicBezTo>
                    <a:cubicBezTo>
                      <a:pt x="15196" y="662"/>
                      <a:pt x="18784" y="5208"/>
                      <a:pt x="18246" y="10291"/>
                    </a:cubicBezTo>
                    <a:close/>
                  </a:path>
                </a:pathLst>
              </a:custGeom>
              <a:grpFill/>
              <a:ln w="5978" cap="flat">
                <a:noFill/>
                <a:prstDash val="solid"/>
                <a:miter/>
              </a:ln>
            </p:spPr>
            <p:txBody>
              <a:bodyPr rtlCol="0" anchor="ctr"/>
              <a:lstStyle/>
              <a:p>
                <a:endParaRPr lang="en-GB"/>
              </a:p>
            </p:txBody>
          </p:sp>
          <p:sp>
            <p:nvSpPr>
              <p:cNvPr id="2799" name="Vrije vorm: vorm 2798">
                <a:extLst>
                  <a:ext uri="{FF2B5EF4-FFF2-40B4-BE49-F238E27FC236}">
                    <a16:creationId xmlns:a16="http://schemas.microsoft.com/office/drawing/2014/main" id="{4ECAD2B7-BE1C-4055-81DD-69933A2D4C59}"/>
                  </a:ext>
                </a:extLst>
              </p:cNvPr>
              <p:cNvSpPr/>
              <p:nvPr/>
            </p:nvSpPr>
            <p:spPr>
              <a:xfrm>
                <a:off x="5838167" y="5278381"/>
                <a:ext cx="18288" cy="18429"/>
              </a:xfrm>
              <a:custGeom>
                <a:avLst/>
                <a:gdLst>
                  <a:gd name="connsiteX0" fmla="*/ 18235 w 18288"/>
                  <a:gd name="connsiteY0" fmla="*/ 10291 h 18429"/>
                  <a:gd name="connsiteX1" fmla="*/ 10161 w 18288"/>
                  <a:gd name="connsiteY1" fmla="*/ 64 h 18429"/>
                  <a:gd name="connsiteX2" fmla="*/ 53 w 18288"/>
                  <a:gd name="connsiteY2" fmla="*/ 8138 h 18429"/>
                  <a:gd name="connsiteX3" fmla="*/ 8128 w 18288"/>
                  <a:gd name="connsiteY3" fmla="*/ 18365 h 18429"/>
                  <a:gd name="connsiteX4" fmla="*/ 18235 w 18288"/>
                  <a:gd name="connsiteY4" fmla="*/ 1029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9">
                    <a:moveTo>
                      <a:pt x="18235" y="10291"/>
                    </a:moveTo>
                    <a:cubicBezTo>
                      <a:pt x="18773" y="5208"/>
                      <a:pt x="15185" y="662"/>
                      <a:pt x="10161" y="64"/>
                    </a:cubicBezTo>
                    <a:cubicBezTo>
                      <a:pt x="5137" y="-534"/>
                      <a:pt x="592" y="3114"/>
                      <a:pt x="53" y="8138"/>
                    </a:cubicBezTo>
                    <a:cubicBezTo>
                      <a:pt x="-485" y="13162"/>
                      <a:pt x="3104" y="17767"/>
                      <a:pt x="8128" y="18365"/>
                    </a:cubicBezTo>
                    <a:cubicBezTo>
                      <a:pt x="13151" y="18963"/>
                      <a:pt x="17637" y="15315"/>
                      <a:pt x="18235" y="10291"/>
                    </a:cubicBezTo>
                    <a:close/>
                  </a:path>
                </a:pathLst>
              </a:custGeom>
              <a:grpFill/>
              <a:ln w="5978" cap="flat">
                <a:noFill/>
                <a:prstDash val="solid"/>
                <a:miter/>
              </a:ln>
            </p:spPr>
            <p:txBody>
              <a:bodyPr rtlCol="0" anchor="ctr"/>
              <a:lstStyle/>
              <a:p>
                <a:endParaRPr lang="en-GB"/>
              </a:p>
            </p:txBody>
          </p:sp>
        </p:grpSp>
        <p:grpSp>
          <p:nvGrpSpPr>
            <p:cNvPr id="868" name="Graphic 3">
              <a:extLst>
                <a:ext uri="{FF2B5EF4-FFF2-40B4-BE49-F238E27FC236}">
                  <a16:creationId xmlns:a16="http://schemas.microsoft.com/office/drawing/2014/main" id="{B0B9562B-7C78-4F66-B5C4-14D4D9688DFB}"/>
                </a:ext>
              </a:extLst>
            </p:cNvPr>
            <p:cNvGrpSpPr/>
            <p:nvPr/>
          </p:nvGrpSpPr>
          <p:grpSpPr>
            <a:xfrm>
              <a:off x="4717153" y="2135244"/>
              <a:ext cx="124921" cy="120479"/>
              <a:chOff x="4717153" y="2135244"/>
              <a:chExt cx="124921" cy="120479"/>
            </a:xfrm>
            <a:grpFill/>
          </p:grpSpPr>
          <p:sp>
            <p:nvSpPr>
              <p:cNvPr id="2794" name="Vrije vorm: vorm 2793">
                <a:extLst>
                  <a:ext uri="{FF2B5EF4-FFF2-40B4-BE49-F238E27FC236}">
                    <a16:creationId xmlns:a16="http://schemas.microsoft.com/office/drawing/2014/main" id="{5133B5A5-BF73-4160-A124-62ED664CC448}"/>
                  </a:ext>
                </a:extLst>
              </p:cNvPr>
              <p:cNvSpPr/>
              <p:nvPr/>
            </p:nvSpPr>
            <p:spPr>
              <a:xfrm>
                <a:off x="4724909" y="2143052"/>
                <a:ext cx="109327" cy="104901"/>
              </a:xfrm>
              <a:custGeom>
                <a:avLst/>
                <a:gdLst>
                  <a:gd name="connsiteX0" fmla="*/ 109327 w 109327"/>
                  <a:gd name="connsiteY0" fmla="*/ 102689 h 104901"/>
                  <a:gd name="connsiteX1" fmla="*/ 107234 w 109327"/>
                  <a:gd name="connsiteY1" fmla="*/ 104902 h 104901"/>
                  <a:gd name="connsiteX2" fmla="*/ 0 w 109327"/>
                  <a:gd name="connsiteY2" fmla="*/ 2213 h 104901"/>
                  <a:gd name="connsiteX3" fmla="*/ 2093 w 109327"/>
                  <a:gd name="connsiteY3" fmla="*/ 0 h 104901"/>
                </a:gdLst>
                <a:ahLst/>
                <a:cxnLst>
                  <a:cxn ang="0">
                    <a:pos x="connsiteX0" y="connsiteY0"/>
                  </a:cxn>
                  <a:cxn ang="0">
                    <a:pos x="connsiteX1" y="connsiteY1"/>
                  </a:cxn>
                  <a:cxn ang="0">
                    <a:pos x="connsiteX2" y="connsiteY2"/>
                  </a:cxn>
                  <a:cxn ang="0">
                    <a:pos x="connsiteX3" y="connsiteY3"/>
                  </a:cxn>
                </a:cxnLst>
                <a:rect l="l" t="t" r="r" b="b"/>
                <a:pathLst>
                  <a:path w="109327" h="104901">
                    <a:moveTo>
                      <a:pt x="109327" y="102689"/>
                    </a:moveTo>
                    <a:lnTo>
                      <a:pt x="107234" y="104902"/>
                    </a:lnTo>
                    <a:lnTo>
                      <a:pt x="0" y="2213"/>
                    </a:lnTo>
                    <a:lnTo>
                      <a:pt x="2093" y="0"/>
                    </a:lnTo>
                    <a:close/>
                  </a:path>
                </a:pathLst>
              </a:custGeom>
              <a:grpFill/>
              <a:ln w="5978" cap="flat">
                <a:noFill/>
                <a:prstDash val="solid"/>
                <a:miter/>
              </a:ln>
            </p:spPr>
            <p:txBody>
              <a:bodyPr rtlCol="0" anchor="ctr"/>
              <a:lstStyle/>
              <a:p>
                <a:endParaRPr lang="en-GB"/>
              </a:p>
            </p:txBody>
          </p:sp>
          <p:sp>
            <p:nvSpPr>
              <p:cNvPr id="2795" name="Vrije vorm: vorm 2794">
                <a:extLst>
                  <a:ext uri="{FF2B5EF4-FFF2-40B4-BE49-F238E27FC236}">
                    <a16:creationId xmlns:a16="http://schemas.microsoft.com/office/drawing/2014/main" id="{9356CCCB-619C-48AA-BF39-12AC38CB6A1C}"/>
                  </a:ext>
                </a:extLst>
              </p:cNvPr>
              <p:cNvSpPr/>
              <p:nvPr/>
            </p:nvSpPr>
            <p:spPr>
              <a:xfrm>
                <a:off x="4717153" y="2135244"/>
                <a:ext cx="18323" cy="18426"/>
              </a:xfrm>
              <a:custGeom>
                <a:avLst/>
                <a:gdLst>
                  <a:gd name="connsiteX0" fmla="*/ 2852 w 18323"/>
                  <a:gd name="connsiteY0" fmla="*/ 15882 h 18426"/>
                  <a:gd name="connsiteX1" fmla="*/ 2493 w 18323"/>
                  <a:gd name="connsiteY1" fmla="*/ 2844 h 18426"/>
                  <a:gd name="connsiteX2" fmla="*/ 15471 w 18323"/>
                  <a:gd name="connsiteY2" fmla="*/ 2545 h 18426"/>
                  <a:gd name="connsiteX3" fmla="*/ 15830 w 18323"/>
                  <a:gd name="connsiteY3" fmla="*/ 15583 h 18426"/>
                  <a:gd name="connsiteX4" fmla="*/ 2852 w 18323"/>
                  <a:gd name="connsiteY4" fmla="*/ 15882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6">
                    <a:moveTo>
                      <a:pt x="2852" y="15882"/>
                    </a:moveTo>
                    <a:cubicBezTo>
                      <a:pt x="-796" y="12353"/>
                      <a:pt x="-976" y="6552"/>
                      <a:pt x="2493" y="2844"/>
                    </a:cubicBezTo>
                    <a:cubicBezTo>
                      <a:pt x="5962" y="-804"/>
                      <a:pt x="11763" y="-984"/>
                      <a:pt x="15471" y="2545"/>
                    </a:cubicBezTo>
                    <a:cubicBezTo>
                      <a:pt x="19120" y="6073"/>
                      <a:pt x="19299" y="11875"/>
                      <a:pt x="15830" y="15583"/>
                    </a:cubicBezTo>
                    <a:cubicBezTo>
                      <a:pt x="12302" y="19231"/>
                      <a:pt x="6500" y="19410"/>
                      <a:pt x="2852" y="15882"/>
                    </a:cubicBezTo>
                    <a:close/>
                  </a:path>
                </a:pathLst>
              </a:custGeom>
              <a:grpFill/>
              <a:ln w="5978" cap="flat">
                <a:noFill/>
                <a:prstDash val="solid"/>
                <a:miter/>
              </a:ln>
            </p:spPr>
            <p:txBody>
              <a:bodyPr rtlCol="0" anchor="ctr"/>
              <a:lstStyle/>
              <a:p>
                <a:endParaRPr lang="en-GB"/>
              </a:p>
            </p:txBody>
          </p:sp>
          <p:sp>
            <p:nvSpPr>
              <p:cNvPr id="2796" name="Vrije vorm: vorm 2795">
                <a:extLst>
                  <a:ext uri="{FF2B5EF4-FFF2-40B4-BE49-F238E27FC236}">
                    <a16:creationId xmlns:a16="http://schemas.microsoft.com/office/drawing/2014/main" id="{EFC5D056-28DC-4CAE-B9AC-A3CC5ABC7EBA}"/>
                  </a:ext>
                </a:extLst>
              </p:cNvPr>
              <p:cNvSpPr/>
              <p:nvPr/>
            </p:nvSpPr>
            <p:spPr>
              <a:xfrm>
                <a:off x="4823708" y="2237254"/>
                <a:ext cx="18366" cy="18470"/>
              </a:xfrm>
              <a:custGeom>
                <a:avLst/>
                <a:gdLst>
                  <a:gd name="connsiteX0" fmla="*/ 2874 w 18366"/>
                  <a:gd name="connsiteY0" fmla="*/ 15903 h 18470"/>
                  <a:gd name="connsiteX1" fmla="*/ 15852 w 18366"/>
                  <a:gd name="connsiteY1" fmla="*/ 15604 h 18470"/>
                  <a:gd name="connsiteX2" fmla="*/ 15493 w 18366"/>
                  <a:gd name="connsiteY2" fmla="*/ 2567 h 18470"/>
                  <a:gd name="connsiteX3" fmla="*/ 2515 w 18366"/>
                  <a:gd name="connsiteY3" fmla="*/ 2866 h 18470"/>
                  <a:gd name="connsiteX4" fmla="*/ 2874 w 18366"/>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0">
                    <a:moveTo>
                      <a:pt x="2874" y="15903"/>
                    </a:moveTo>
                    <a:cubicBezTo>
                      <a:pt x="6522" y="19432"/>
                      <a:pt x="12323" y="19313"/>
                      <a:pt x="15852" y="15604"/>
                    </a:cubicBezTo>
                    <a:cubicBezTo>
                      <a:pt x="19321" y="11956"/>
                      <a:pt x="19201" y="6095"/>
                      <a:pt x="15493" y="2567"/>
                    </a:cubicBezTo>
                    <a:cubicBezTo>
                      <a:pt x="11845" y="-962"/>
                      <a:pt x="6043" y="-843"/>
                      <a:pt x="2515" y="2866"/>
                    </a:cubicBezTo>
                    <a:cubicBezTo>
                      <a:pt x="-954" y="6574"/>
                      <a:pt x="-834" y="12375"/>
                      <a:pt x="2874" y="15903"/>
                    </a:cubicBezTo>
                    <a:close/>
                  </a:path>
                </a:pathLst>
              </a:custGeom>
              <a:grpFill/>
              <a:ln w="5978" cap="flat">
                <a:noFill/>
                <a:prstDash val="solid"/>
                <a:miter/>
              </a:ln>
            </p:spPr>
            <p:txBody>
              <a:bodyPr rtlCol="0" anchor="ctr"/>
              <a:lstStyle/>
              <a:p>
                <a:endParaRPr lang="en-GB"/>
              </a:p>
            </p:txBody>
          </p:sp>
        </p:grpSp>
        <p:grpSp>
          <p:nvGrpSpPr>
            <p:cNvPr id="869" name="Graphic 3">
              <a:extLst>
                <a:ext uri="{FF2B5EF4-FFF2-40B4-BE49-F238E27FC236}">
                  <a16:creationId xmlns:a16="http://schemas.microsoft.com/office/drawing/2014/main" id="{9808C52E-1A15-49F6-B91E-0DB5996DF743}"/>
                </a:ext>
              </a:extLst>
            </p:cNvPr>
            <p:cNvGrpSpPr/>
            <p:nvPr/>
          </p:nvGrpSpPr>
          <p:grpSpPr>
            <a:xfrm>
              <a:off x="5764443" y="5090243"/>
              <a:ext cx="49365" cy="226827"/>
              <a:chOff x="5764443" y="5090243"/>
              <a:chExt cx="49365" cy="226827"/>
            </a:xfrm>
            <a:grpFill/>
          </p:grpSpPr>
          <p:sp>
            <p:nvSpPr>
              <p:cNvPr id="2791" name="Vrije vorm: vorm 2790">
                <a:extLst>
                  <a:ext uri="{FF2B5EF4-FFF2-40B4-BE49-F238E27FC236}">
                    <a16:creationId xmlns:a16="http://schemas.microsoft.com/office/drawing/2014/main" id="{CBE7CEB8-BCC5-416D-9899-F985435E13C2}"/>
                  </a:ext>
                </a:extLst>
              </p:cNvPr>
              <p:cNvSpPr/>
              <p:nvPr/>
            </p:nvSpPr>
            <p:spPr>
              <a:xfrm>
                <a:off x="5772074" y="5098785"/>
                <a:ext cx="34150" cy="209743"/>
              </a:xfrm>
              <a:custGeom>
                <a:avLst/>
                <a:gdLst>
                  <a:gd name="connsiteX0" fmla="*/ 34150 w 34150"/>
                  <a:gd name="connsiteY0" fmla="*/ 419 h 209743"/>
                  <a:gd name="connsiteX1" fmla="*/ 2990 w 34150"/>
                  <a:gd name="connsiteY1" fmla="*/ 209744 h 209743"/>
                  <a:gd name="connsiteX2" fmla="*/ 0 w 34150"/>
                  <a:gd name="connsiteY2" fmla="*/ 209265 h 209743"/>
                  <a:gd name="connsiteX3" fmla="*/ 31160 w 34150"/>
                  <a:gd name="connsiteY3" fmla="*/ 0 h 209743"/>
                </a:gdLst>
                <a:ahLst/>
                <a:cxnLst>
                  <a:cxn ang="0">
                    <a:pos x="connsiteX0" y="connsiteY0"/>
                  </a:cxn>
                  <a:cxn ang="0">
                    <a:pos x="connsiteX1" y="connsiteY1"/>
                  </a:cxn>
                  <a:cxn ang="0">
                    <a:pos x="connsiteX2" y="connsiteY2"/>
                  </a:cxn>
                  <a:cxn ang="0">
                    <a:pos x="connsiteX3" y="connsiteY3"/>
                  </a:cxn>
                </a:cxnLst>
                <a:rect l="l" t="t" r="r" b="b"/>
                <a:pathLst>
                  <a:path w="34150" h="209743">
                    <a:moveTo>
                      <a:pt x="34150" y="419"/>
                    </a:moveTo>
                    <a:lnTo>
                      <a:pt x="2990" y="209744"/>
                    </a:lnTo>
                    <a:lnTo>
                      <a:pt x="0" y="209265"/>
                    </a:lnTo>
                    <a:lnTo>
                      <a:pt x="31160" y="0"/>
                    </a:lnTo>
                    <a:close/>
                  </a:path>
                </a:pathLst>
              </a:custGeom>
              <a:grpFill/>
              <a:ln w="5978" cap="flat">
                <a:noFill/>
                <a:prstDash val="solid"/>
                <a:miter/>
              </a:ln>
            </p:spPr>
            <p:txBody>
              <a:bodyPr rtlCol="0" anchor="ctr"/>
              <a:lstStyle/>
              <a:p>
                <a:endParaRPr lang="en-GB"/>
              </a:p>
            </p:txBody>
          </p:sp>
          <p:sp>
            <p:nvSpPr>
              <p:cNvPr id="2792" name="Vrije vorm: vorm 2791">
                <a:extLst>
                  <a:ext uri="{FF2B5EF4-FFF2-40B4-BE49-F238E27FC236}">
                    <a16:creationId xmlns:a16="http://schemas.microsoft.com/office/drawing/2014/main" id="{00CEB848-55B4-4162-8545-8ED167256EA1}"/>
                  </a:ext>
                </a:extLst>
              </p:cNvPr>
              <p:cNvSpPr/>
              <p:nvPr/>
            </p:nvSpPr>
            <p:spPr>
              <a:xfrm>
                <a:off x="5764443" y="5298611"/>
                <a:ext cx="18325" cy="18458"/>
              </a:xfrm>
              <a:custGeom>
                <a:avLst/>
                <a:gdLst>
                  <a:gd name="connsiteX0" fmla="*/ 18217 w 18325"/>
                  <a:gd name="connsiteY0" fmla="*/ 10635 h 18458"/>
                  <a:gd name="connsiteX1" fmla="*/ 7810 w 18325"/>
                  <a:gd name="connsiteY1" fmla="*/ 18350 h 18458"/>
                  <a:gd name="connsiteX2" fmla="*/ 95 w 18325"/>
                  <a:gd name="connsiteY2" fmla="*/ 7824 h 18458"/>
                  <a:gd name="connsiteX3" fmla="*/ 10502 w 18325"/>
                  <a:gd name="connsiteY3" fmla="*/ 109 h 18458"/>
                  <a:gd name="connsiteX4" fmla="*/ 18217 w 18325"/>
                  <a:gd name="connsiteY4" fmla="*/ 10635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8">
                    <a:moveTo>
                      <a:pt x="18217" y="10635"/>
                    </a:moveTo>
                    <a:cubicBezTo>
                      <a:pt x="17439" y="15659"/>
                      <a:pt x="12774" y="19128"/>
                      <a:pt x="7810" y="18350"/>
                    </a:cubicBezTo>
                    <a:cubicBezTo>
                      <a:pt x="2786" y="17573"/>
                      <a:pt x="-622" y="12848"/>
                      <a:pt x="95" y="7824"/>
                    </a:cubicBezTo>
                    <a:cubicBezTo>
                      <a:pt x="813" y="2800"/>
                      <a:pt x="5478" y="-669"/>
                      <a:pt x="10502" y="109"/>
                    </a:cubicBezTo>
                    <a:cubicBezTo>
                      <a:pt x="15525" y="886"/>
                      <a:pt x="18994" y="5611"/>
                      <a:pt x="18217" y="10635"/>
                    </a:cubicBezTo>
                    <a:close/>
                  </a:path>
                </a:pathLst>
              </a:custGeom>
              <a:grpFill/>
              <a:ln w="5978" cap="flat">
                <a:noFill/>
                <a:prstDash val="solid"/>
                <a:miter/>
              </a:ln>
            </p:spPr>
            <p:txBody>
              <a:bodyPr rtlCol="0" anchor="ctr"/>
              <a:lstStyle/>
              <a:p>
                <a:endParaRPr lang="en-GB"/>
              </a:p>
            </p:txBody>
          </p:sp>
          <p:sp>
            <p:nvSpPr>
              <p:cNvPr id="2793" name="Vrije vorm: vorm 2792">
                <a:extLst>
                  <a:ext uri="{FF2B5EF4-FFF2-40B4-BE49-F238E27FC236}">
                    <a16:creationId xmlns:a16="http://schemas.microsoft.com/office/drawing/2014/main" id="{0E0BC57D-845D-458D-99AB-B485D0A7C4F6}"/>
                  </a:ext>
                </a:extLst>
              </p:cNvPr>
              <p:cNvSpPr/>
              <p:nvPr/>
            </p:nvSpPr>
            <p:spPr>
              <a:xfrm>
                <a:off x="5795469" y="5090243"/>
                <a:ext cx="18339" cy="18445"/>
              </a:xfrm>
              <a:custGeom>
                <a:avLst/>
                <a:gdLst>
                  <a:gd name="connsiteX0" fmla="*/ 18230 w 18339"/>
                  <a:gd name="connsiteY0" fmla="*/ 10635 h 18445"/>
                  <a:gd name="connsiteX1" fmla="*/ 10515 w 18339"/>
                  <a:gd name="connsiteY1" fmla="*/ 109 h 18445"/>
                  <a:gd name="connsiteX2" fmla="*/ 109 w 18339"/>
                  <a:gd name="connsiteY2" fmla="*/ 7824 h 18445"/>
                  <a:gd name="connsiteX3" fmla="*/ 7824 w 18339"/>
                  <a:gd name="connsiteY3" fmla="*/ 18350 h 18445"/>
                  <a:gd name="connsiteX4" fmla="*/ 18230 w 18339"/>
                  <a:gd name="connsiteY4" fmla="*/ 10635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5">
                    <a:moveTo>
                      <a:pt x="18230" y="10635"/>
                    </a:moveTo>
                    <a:cubicBezTo>
                      <a:pt x="19008" y="5611"/>
                      <a:pt x="15539" y="886"/>
                      <a:pt x="10515" y="109"/>
                    </a:cubicBezTo>
                    <a:cubicBezTo>
                      <a:pt x="5491" y="-669"/>
                      <a:pt x="827" y="2800"/>
                      <a:pt x="109" y="7824"/>
                    </a:cubicBezTo>
                    <a:cubicBezTo>
                      <a:pt x="-669" y="12848"/>
                      <a:pt x="2800" y="17573"/>
                      <a:pt x="7824" y="18350"/>
                    </a:cubicBezTo>
                    <a:cubicBezTo>
                      <a:pt x="12848" y="19068"/>
                      <a:pt x="17513" y="15659"/>
                      <a:pt x="18230" y="10635"/>
                    </a:cubicBezTo>
                    <a:close/>
                  </a:path>
                </a:pathLst>
              </a:custGeom>
              <a:grpFill/>
              <a:ln w="5978" cap="flat">
                <a:noFill/>
                <a:prstDash val="solid"/>
                <a:miter/>
              </a:ln>
            </p:spPr>
            <p:txBody>
              <a:bodyPr rtlCol="0" anchor="ctr"/>
              <a:lstStyle/>
              <a:p>
                <a:endParaRPr lang="en-GB"/>
              </a:p>
            </p:txBody>
          </p:sp>
        </p:grpSp>
        <p:grpSp>
          <p:nvGrpSpPr>
            <p:cNvPr id="870" name="Graphic 3">
              <a:extLst>
                <a:ext uri="{FF2B5EF4-FFF2-40B4-BE49-F238E27FC236}">
                  <a16:creationId xmlns:a16="http://schemas.microsoft.com/office/drawing/2014/main" id="{BEA885EC-5807-4635-8C01-250B4E7FDF3F}"/>
                </a:ext>
              </a:extLst>
            </p:cNvPr>
            <p:cNvGrpSpPr/>
            <p:nvPr/>
          </p:nvGrpSpPr>
          <p:grpSpPr>
            <a:xfrm>
              <a:off x="4669188" y="1933752"/>
              <a:ext cx="72650" cy="76622"/>
              <a:chOff x="4669188" y="1933752"/>
              <a:chExt cx="72650" cy="76622"/>
            </a:xfrm>
            <a:grpFill/>
          </p:grpSpPr>
          <p:sp>
            <p:nvSpPr>
              <p:cNvPr id="2788" name="Vrije vorm: vorm 2787">
                <a:extLst>
                  <a:ext uri="{FF2B5EF4-FFF2-40B4-BE49-F238E27FC236}">
                    <a16:creationId xmlns:a16="http://schemas.microsoft.com/office/drawing/2014/main" id="{F774FD19-659E-486D-BBA7-66154A4877DC}"/>
                  </a:ext>
                </a:extLst>
              </p:cNvPr>
              <p:cNvSpPr/>
              <p:nvPr/>
            </p:nvSpPr>
            <p:spPr>
              <a:xfrm>
                <a:off x="4676884" y="1941622"/>
                <a:ext cx="57235" cy="60943"/>
              </a:xfrm>
              <a:custGeom>
                <a:avLst/>
                <a:gdLst>
                  <a:gd name="connsiteX0" fmla="*/ 57236 w 57235"/>
                  <a:gd name="connsiteY0" fmla="*/ 58850 h 60943"/>
                  <a:gd name="connsiteX1" fmla="*/ 55023 w 57235"/>
                  <a:gd name="connsiteY1" fmla="*/ 60944 h 60943"/>
                  <a:gd name="connsiteX2" fmla="*/ 0 w 57235"/>
                  <a:gd name="connsiteY2" fmla="*/ 2093 h 60943"/>
                  <a:gd name="connsiteX3" fmla="*/ 2213 w 57235"/>
                  <a:gd name="connsiteY3" fmla="*/ 0 h 60943"/>
                </a:gdLst>
                <a:ahLst/>
                <a:cxnLst>
                  <a:cxn ang="0">
                    <a:pos x="connsiteX0" y="connsiteY0"/>
                  </a:cxn>
                  <a:cxn ang="0">
                    <a:pos x="connsiteX1" y="connsiteY1"/>
                  </a:cxn>
                  <a:cxn ang="0">
                    <a:pos x="connsiteX2" y="connsiteY2"/>
                  </a:cxn>
                  <a:cxn ang="0">
                    <a:pos x="connsiteX3" y="connsiteY3"/>
                  </a:cxn>
                </a:cxnLst>
                <a:rect l="l" t="t" r="r" b="b"/>
                <a:pathLst>
                  <a:path w="57235" h="60943">
                    <a:moveTo>
                      <a:pt x="57236" y="58850"/>
                    </a:moveTo>
                    <a:lnTo>
                      <a:pt x="55023" y="60944"/>
                    </a:lnTo>
                    <a:lnTo>
                      <a:pt x="0" y="2093"/>
                    </a:lnTo>
                    <a:lnTo>
                      <a:pt x="2213" y="0"/>
                    </a:lnTo>
                    <a:close/>
                  </a:path>
                </a:pathLst>
              </a:custGeom>
              <a:grpFill/>
              <a:ln w="5978" cap="flat">
                <a:noFill/>
                <a:prstDash val="solid"/>
                <a:miter/>
              </a:ln>
            </p:spPr>
            <p:txBody>
              <a:bodyPr rtlCol="0" anchor="ctr"/>
              <a:lstStyle/>
              <a:p>
                <a:endParaRPr lang="en-GB"/>
              </a:p>
            </p:txBody>
          </p:sp>
          <p:sp>
            <p:nvSpPr>
              <p:cNvPr id="2789" name="Vrije vorm: vorm 2788">
                <a:extLst>
                  <a:ext uri="{FF2B5EF4-FFF2-40B4-BE49-F238E27FC236}">
                    <a16:creationId xmlns:a16="http://schemas.microsoft.com/office/drawing/2014/main" id="{1BA7D831-1AE2-4BD0-B80E-AF2678B0319A}"/>
                  </a:ext>
                </a:extLst>
              </p:cNvPr>
              <p:cNvSpPr/>
              <p:nvPr/>
            </p:nvSpPr>
            <p:spPr>
              <a:xfrm>
                <a:off x="4669188" y="1933752"/>
                <a:ext cx="18323" cy="18474"/>
              </a:xfrm>
              <a:custGeom>
                <a:avLst/>
                <a:gdLst>
                  <a:gd name="connsiteX0" fmla="*/ 2493 w 18323"/>
                  <a:gd name="connsiteY0" fmla="*/ 15525 h 18474"/>
                  <a:gd name="connsiteX1" fmla="*/ 2852 w 18323"/>
                  <a:gd name="connsiteY1" fmla="*/ 2487 h 18474"/>
                  <a:gd name="connsiteX2" fmla="*/ 15830 w 18323"/>
                  <a:gd name="connsiteY2" fmla="*/ 2905 h 18474"/>
                  <a:gd name="connsiteX3" fmla="*/ 15472 w 18323"/>
                  <a:gd name="connsiteY3" fmla="*/ 15943 h 18474"/>
                  <a:gd name="connsiteX4" fmla="*/ 2493 w 18323"/>
                  <a:gd name="connsiteY4" fmla="*/ 15525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74">
                    <a:moveTo>
                      <a:pt x="2493" y="15525"/>
                    </a:moveTo>
                    <a:cubicBezTo>
                      <a:pt x="-975" y="11817"/>
                      <a:pt x="-796" y="5955"/>
                      <a:pt x="2852" y="2487"/>
                    </a:cubicBezTo>
                    <a:cubicBezTo>
                      <a:pt x="6560" y="-982"/>
                      <a:pt x="12362" y="-803"/>
                      <a:pt x="15830" y="2905"/>
                    </a:cubicBezTo>
                    <a:cubicBezTo>
                      <a:pt x="19299" y="6613"/>
                      <a:pt x="19120" y="12474"/>
                      <a:pt x="15472" y="15943"/>
                    </a:cubicBezTo>
                    <a:cubicBezTo>
                      <a:pt x="11763" y="19472"/>
                      <a:pt x="5962" y="19292"/>
                      <a:pt x="2493" y="15525"/>
                    </a:cubicBezTo>
                    <a:close/>
                  </a:path>
                </a:pathLst>
              </a:custGeom>
              <a:grpFill/>
              <a:ln w="5978" cap="flat">
                <a:noFill/>
                <a:prstDash val="solid"/>
                <a:miter/>
              </a:ln>
            </p:spPr>
            <p:txBody>
              <a:bodyPr rtlCol="0" anchor="ctr"/>
              <a:lstStyle/>
              <a:p>
                <a:endParaRPr lang="en-GB"/>
              </a:p>
            </p:txBody>
          </p:sp>
          <p:sp>
            <p:nvSpPr>
              <p:cNvPr id="2790" name="Vrije vorm: vorm 2789">
                <a:extLst>
                  <a:ext uri="{FF2B5EF4-FFF2-40B4-BE49-F238E27FC236}">
                    <a16:creationId xmlns:a16="http://schemas.microsoft.com/office/drawing/2014/main" id="{853BC678-4D62-4F35-9BA3-F47A1753A80A}"/>
                  </a:ext>
                </a:extLst>
              </p:cNvPr>
              <p:cNvSpPr/>
              <p:nvPr/>
            </p:nvSpPr>
            <p:spPr>
              <a:xfrm>
                <a:off x="4723493" y="1991945"/>
                <a:ext cx="18345" cy="18429"/>
              </a:xfrm>
              <a:custGeom>
                <a:avLst/>
                <a:gdLst>
                  <a:gd name="connsiteX0" fmla="*/ 2493 w 18345"/>
                  <a:gd name="connsiteY0" fmla="*/ 15525 h 18429"/>
                  <a:gd name="connsiteX1" fmla="*/ 15471 w 18345"/>
                  <a:gd name="connsiteY1" fmla="*/ 15943 h 18429"/>
                  <a:gd name="connsiteX2" fmla="*/ 15830 w 18345"/>
                  <a:gd name="connsiteY2" fmla="*/ 2905 h 18429"/>
                  <a:gd name="connsiteX3" fmla="*/ 2852 w 18345"/>
                  <a:gd name="connsiteY3" fmla="*/ 2487 h 18429"/>
                  <a:gd name="connsiteX4" fmla="*/ 2493 w 18345"/>
                  <a:gd name="connsiteY4" fmla="*/ 1552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9">
                    <a:moveTo>
                      <a:pt x="2493" y="15525"/>
                    </a:moveTo>
                    <a:cubicBezTo>
                      <a:pt x="5962" y="19233"/>
                      <a:pt x="11763" y="19412"/>
                      <a:pt x="15471" y="15943"/>
                    </a:cubicBezTo>
                    <a:cubicBezTo>
                      <a:pt x="19179" y="12474"/>
                      <a:pt x="19299" y="6613"/>
                      <a:pt x="15830" y="2905"/>
                    </a:cubicBezTo>
                    <a:cubicBezTo>
                      <a:pt x="12362" y="-803"/>
                      <a:pt x="6560" y="-982"/>
                      <a:pt x="2852" y="2487"/>
                    </a:cubicBezTo>
                    <a:cubicBezTo>
                      <a:pt x="-796" y="6015"/>
                      <a:pt x="-976" y="11817"/>
                      <a:pt x="2493" y="15525"/>
                    </a:cubicBezTo>
                    <a:close/>
                  </a:path>
                </a:pathLst>
              </a:custGeom>
              <a:grpFill/>
              <a:ln w="5978" cap="flat">
                <a:noFill/>
                <a:prstDash val="solid"/>
                <a:miter/>
              </a:ln>
            </p:spPr>
            <p:txBody>
              <a:bodyPr rtlCol="0" anchor="ctr"/>
              <a:lstStyle/>
              <a:p>
                <a:endParaRPr lang="en-GB"/>
              </a:p>
            </p:txBody>
          </p:sp>
        </p:grpSp>
        <p:grpSp>
          <p:nvGrpSpPr>
            <p:cNvPr id="871" name="Graphic 3">
              <a:extLst>
                <a:ext uri="{FF2B5EF4-FFF2-40B4-BE49-F238E27FC236}">
                  <a16:creationId xmlns:a16="http://schemas.microsoft.com/office/drawing/2014/main" id="{F8982557-EE0E-4236-B28C-415E6D6C7BCE}"/>
                </a:ext>
              </a:extLst>
            </p:cNvPr>
            <p:cNvGrpSpPr/>
            <p:nvPr/>
          </p:nvGrpSpPr>
          <p:grpSpPr>
            <a:xfrm>
              <a:off x="4669166" y="1933812"/>
              <a:ext cx="41191" cy="42891"/>
              <a:chOff x="4669166" y="1933812"/>
              <a:chExt cx="41191" cy="42891"/>
            </a:xfrm>
            <a:grpFill/>
          </p:grpSpPr>
          <p:sp>
            <p:nvSpPr>
              <p:cNvPr id="2785" name="Vrije vorm: vorm 2784">
                <a:extLst>
                  <a:ext uri="{FF2B5EF4-FFF2-40B4-BE49-F238E27FC236}">
                    <a16:creationId xmlns:a16="http://schemas.microsoft.com/office/drawing/2014/main" id="{70547A20-E791-41F1-8725-7D6A54256415}"/>
                  </a:ext>
                </a:extLst>
              </p:cNvPr>
              <p:cNvSpPr/>
              <p:nvPr/>
            </p:nvSpPr>
            <p:spPr>
              <a:xfrm>
                <a:off x="4676884" y="1941622"/>
                <a:ext cx="25717" cy="27272"/>
              </a:xfrm>
              <a:custGeom>
                <a:avLst/>
                <a:gdLst>
                  <a:gd name="connsiteX0" fmla="*/ 25717 w 25717"/>
                  <a:gd name="connsiteY0" fmla="*/ 25179 h 27272"/>
                  <a:gd name="connsiteX1" fmla="*/ 23504 w 25717"/>
                  <a:gd name="connsiteY1" fmla="*/ 27272 h 27272"/>
                  <a:gd name="connsiteX2" fmla="*/ 0 w 25717"/>
                  <a:gd name="connsiteY2" fmla="*/ 2093 h 27272"/>
                  <a:gd name="connsiteX3" fmla="*/ 2213 w 25717"/>
                  <a:gd name="connsiteY3" fmla="*/ 0 h 27272"/>
                </a:gdLst>
                <a:ahLst/>
                <a:cxnLst>
                  <a:cxn ang="0">
                    <a:pos x="connsiteX0" y="connsiteY0"/>
                  </a:cxn>
                  <a:cxn ang="0">
                    <a:pos x="connsiteX1" y="connsiteY1"/>
                  </a:cxn>
                  <a:cxn ang="0">
                    <a:pos x="connsiteX2" y="connsiteY2"/>
                  </a:cxn>
                  <a:cxn ang="0">
                    <a:pos x="connsiteX3" y="connsiteY3"/>
                  </a:cxn>
                </a:cxnLst>
                <a:rect l="l" t="t" r="r" b="b"/>
                <a:pathLst>
                  <a:path w="25717" h="27272">
                    <a:moveTo>
                      <a:pt x="25717" y="25179"/>
                    </a:moveTo>
                    <a:lnTo>
                      <a:pt x="23504" y="27272"/>
                    </a:lnTo>
                    <a:lnTo>
                      <a:pt x="0" y="2093"/>
                    </a:lnTo>
                    <a:lnTo>
                      <a:pt x="2213" y="0"/>
                    </a:lnTo>
                    <a:close/>
                  </a:path>
                </a:pathLst>
              </a:custGeom>
              <a:grpFill/>
              <a:ln w="5978" cap="flat">
                <a:noFill/>
                <a:prstDash val="solid"/>
                <a:miter/>
              </a:ln>
            </p:spPr>
            <p:txBody>
              <a:bodyPr rtlCol="0" anchor="ctr"/>
              <a:lstStyle/>
              <a:p>
                <a:endParaRPr lang="en-GB"/>
              </a:p>
            </p:txBody>
          </p:sp>
          <p:sp>
            <p:nvSpPr>
              <p:cNvPr id="2786" name="Vrije vorm: vorm 2785">
                <a:extLst>
                  <a:ext uri="{FF2B5EF4-FFF2-40B4-BE49-F238E27FC236}">
                    <a16:creationId xmlns:a16="http://schemas.microsoft.com/office/drawing/2014/main" id="{674A7F09-81D7-4949-95C8-DB7E615237D3}"/>
                  </a:ext>
                </a:extLst>
              </p:cNvPr>
              <p:cNvSpPr/>
              <p:nvPr/>
            </p:nvSpPr>
            <p:spPr>
              <a:xfrm>
                <a:off x="4692034" y="1958273"/>
                <a:ext cx="18323" cy="18429"/>
              </a:xfrm>
              <a:custGeom>
                <a:avLst/>
                <a:gdLst>
                  <a:gd name="connsiteX0" fmla="*/ 15830 w 18323"/>
                  <a:gd name="connsiteY0" fmla="*/ 2905 h 18429"/>
                  <a:gd name="connsiteX1" fmla="*/ 15471 w 18323"/>
                  <a:gd name="connsiteY1" fmla="*/ 15943 h 18429"/>
                  <a:gd name="connsiteX2" fmla="*/ 2493 w 18323"/>
                  <a:gd name="connsiteY2" fmla="*/ 15525 h 18429"/>
                  <a:gd name="connsiteX3" fmla="*/ 2852 w 18323"/>
                  <a:gd name="connsiteY3" fmla="*/ 2487 h 18429"/>
                  <a:gd name="connsiteX4" fmla="*/ 15830 w 18323"/>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9">
                    <a:moveTo>
                      <a:pt x="15830" y="2905"/>
                    </a:moveTo>
                    <a:cubicBezTo>
                      <a:pt x="19299" y="6613"/>
                      <a:pt x="19120" y="12474"/>
                      <a:pt x="15471" y="15943"/>
                    </a:cubicBezTo>
                    <a:cubicBezTo>
                      <a:pt x="11763" y="19412"/>
                      <a:pt x="5962" y="19233"/>
                      <a:pt x="2493" y="15525"/>
                    </a:cubicBezTo>
                    <a:cubicBezTo>
                      <a:pt x="-976" y="11817"/>
                      <a:pt x="-796" y="5956"/>
                      <a:pt x="2852" y="2487"/>
                    </a:cubicBezTo>
                    <a:cubicBezTo>
                      <a:pt x="6560" y="-982"/>
                      <a:pt x="12362" y="-803"/>
                      <a:pt x="15830" y="2905"/>
                    </a:cubicBezTo>
                    <a:close/>
                  </a:path>
                </a:pathLst>
              </a:custGeom>
              <a:grpFill/>
              <a:ln w="5978" cap="flat">
                <a:noFill/>
                <a:prstDash val="solid"/>
                <a:miter/>
              </a:ln>
            </p:spPr>
            <p:txBody>
              <a:bodyPr rtlCol="0" anchor="ctr"/>
              <a:lstStyle/>
              <a:p>
                <a:endParaRPr lang="en-GB"/>
              </a:p>
            </p:txBody>
          </p:sp>
          <p:sp>
            <p:nvSpPr>
              <p:cNvPr id="2787" name="Vrije vorm: vorm 2786">
                <a:extLst>
                  <a:ext uri="{FF2B5EF4-FFF2-40B4-BE49-F238E27FC236}">
                    <a16:creationId xmlns:a16="http://schemas.microsoft.com/office/drawing/2014/main" id="{16B5CF48-B1C0-49FF-8C40-F715095FA00A}"/>
                  </a:ext>
                </a:extLst>
              </p:cNvPr>
              <p:cNvSpPr/>
              <p:nvPr/>
            </p:nvSpPr>
            <p:spPr>
              <a:xfrm>
                <a:off x="4669166" y="1933812"/>
                <a:ext cx="18345" cy="18429"/>
              </a:xfrm>
              <a:custGeom>
                <a:avLst/>
                <a:gdLst>
                  <a:gd name="connsiteX0" fmla="*/ 15852 w 18345"/>
                  <a:gd name="connsiteY0" fmla="*/ 2905 h 18429"/>
                  <a:gd name="connsiteX1" fmla="*/ 2874 w 18345"/>
                  <a:gd name="connsiteY1" fmla="*/ 2487 h 18429"/>
                  <a:gd name="connsiteX2" fmla="*/ 2515 w 18345"/>
                  <a:gd name="connsiteY2" fmla="*/ 15525 h 18429"/>
                  <a:gd name="connsiteX3" fmla="*/ 15493 w 18345"/>
                  <a:gd name="connsiteY3" fmla="*/ 15943 h 18429"/>
                  <a:gd name="connsiteX4" fmla="*/ 15852 w 18345"/>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9">
                    <a:moveTo>
                      <a:pt x="15852" y="2905"/>
                    </a:moveTo>
                    <a:cubicBezTo>
                      <a:pt x="12383" y="-803"/>
                      <a:pt x="6582" y="-982"/>
                      <a:pt x="2874" y="2487"/>
                    </a:cubicBezTo>
                    <a:cubicBezTo>
                      <a:pt x="-834" y="5956"/>
                      <a:pt x="-954" y="11817"/>
                      <a:pt x="2515" y="15525"/>
                    </a:cubicBezTo>
                    <a:cubicBezTo>
                      <a:pt x="5984" y="19233"/>
                      <a:pt x="11785" y="19412"/>
                      <a:pt x="15493" y="15943"/>
                    </a:cubicBezTo>
                    <a:cubicBezTo>
                      <a:pt x="19141" y="12474"/>
                      <a:pt x="19321" y="6613"/>
                      <a:pt x="15852" y="2905"/>
                    </a:cubicBezTo>
                    <a:close/>
                  </a:path>
                </a:pathLst>
              </a:custGeom>
              <a:grpFill/>
              <a:ln w="5978" cap="flat">
                <a:noFill/>
                <a:prstDash val="solid"/>
                <a:miter/>
              </a:ln>
            </p:spPr>
            <p:txBody>
              <a:bodyPr rtlCol="0" anchor="ctr"/>
              <a:lstStyle/>
              <a:p>
                <a:endParaRPr lang="en-GB"/>
              </a:p>
            </p:txBody>
          </p:sp>
        </p:grpSp>
        <p:grpSp>
          <p:nvGrpSpPr>
            <p:cNvPr id="872" name="Graphic 3">
              <a:extLst>
                <a:ext uri="{FF2B5EF4-FFF2-40B4-BE49-F238E27FC236}">
                  <a16:creationId xmlns:a16="http://schemas.microsoft.com/office/drawing/2014/main" id="{13103E91-A071-4BCB-807A-BE8D3684681F}"/>
                </a:ext>
              </a:extLst>
            </p:cNvPr>
            <p:cNvGrpSpPr/>
            <p:nvPr/>
          </p:nvGrpSpPr>
          <p:grpSpPr>
            <a:xfrm>
              <a:off x="5736900" y="5079099"/>
              <a:ext cx="46725" cy="187213"/>
              <a:chOff x="5736900" y="5079099"/>
              <a:chExt cx="46725" cy="187213"/>
            </a:xfrm>
            <a:grpFill/>
          </p:grpSpPr>
          <p:sp>
            <p:nvSpPr>
              <p:cNvPr id="2782" name="Vrije vorm: vorm 2781">
                <a:extLst>
                  <a:ext uri="{FF2B5EF4-FFF2-40B4-BE49-F238E27FC236}">
                    <a16:creationId xmlns:a16="http://schemas.microsoft.com/office/drawing/2014/main" id="{2A664B0D-0C93-4F56-8DF2-4C304E203F4E}"/>
                  </a:ext>
                </a:extLst>
              </p:cNvPr>
              <p:cNvSpPr/>
              <p:nvPr/>
            </p:nvSpPr>
            <p:spPr>
              <a:xfrm>
                <a:off x="5744563" y="5087601"/>
                <a:ext cx="31518" cy="170211"/>
              </a:xfrm>
              <a:custGeom>
                <a:avLst/>
                <a:gdLst>
                  <a:gd name="connsiteX0" fmla="*/ 31519 w 31518"/>
                  <a:gd name="connsiteY0" fmla="*/ 538 h 170211"/>
                  <a:gd name="connsiteX1" fmla="*/ 2990 w 31518"/>
                  <a:gd name="connsiteY1" fmla="*/ 170211 h 170211"/>
                  <a:gd name="connsiteX2" fmla="*/ 0 w 31518"/>
                  <a:gd name="connsiteY2" fmla="*/ 169673 h 170211"/>
                  <a:gd name="connsiteX3" fmla="*/ 28468 w 31518"/>
                  <a:gd name="connsiteY3" fmla="*/ 0 h 170211"/>
                </a:gdLst>
                <a:ahLst/>
                <a:cxnLst>
                  <a:cxn ang="0">
                    <a:pos x="connsiteX0" y="connsiteY0"/>
                  </a:cxn>
                  <a:cxn ang="0">
                    <a:pos x="connsiteX1" y="connsiteY1"/>
                  </a:cxn>
                  <a:cxn ang="0">
                    <a:pos x="connsiteX2" y="connsiteY2"/>
                  </a:cxn>
                  <a:cxn ang="0">
                    <a:pos x="connsiteX3" y="connsiteY3"/>
                  </a:cxn>
                </a:cxnLst>
                <a:rect l="l" t="t" r="r" b="b"/>
                <a:pathLst>
                  <a:path w="31518" h="170211">
                    <a:moveTo>
                      <a:pt x="31519" y="538"/>
                    </a:moveTo>
                    <a:lnTo>
                      <a:pt x="2990" y="170211"/>
                    </a:lnTo>
                    <a:lnTo>
                      <a:pt x="0" y="169673"/>
                    </a:lnTo>
                    <a:lnTo>
                      <a:pt x="28468" y="0"/>
                    </a:lnTo>
                    <a:close/>
                  </a:path>
                </a:pathLst>
              </a:custGeom>
              <a:grpFill/>
              <a:ln w="5978" cap="flat">
                <a:noFill/>
                <a:prstDash val="solid"/>
                <a:miter/>
              </a:ln>
            </p:spPr>
            <p:txBody>
              <a:bodyPr rtlCol="0" anchor="ctr"/>
              <a:lstStyle/>
              <a:p>
                <a:endParaRPr lang="en-GB"/>
              </a:p>
            </p:txBody>
          </p:sp>
          <p:sp>
            <p:nvSpPr>
              <p:cNvPr id="2783" name="Vrije vorm: vorm 2782">
                <a:extLst>
                  <a:ext uri="{FF2B5EF4-FFF2-40B4-BE49-F238E27FC236}">
                    <a16:creationId xmlns:a16="http://schemas.microsoft.com/office/drawing/2014/main" id="{A8B6AE32-1363-405F-9867-6CD15966D343}"/>
                  </a:ext>
                </a:extLst>
              </p:cNvPr>
              <p:cNvSpPr/>
              <p:nvPr/>
            </p:nvSpPr>
            <p:spPr>
              <a:xfrm>
                <a:off x="5736900" y="5247875"/>
                <a:ext cx="18376" cy="18437"/>
              </a:xfrm>
              <a:custGeom>
                <a:avLst/>
                <a:gdLst>
                  <a:gd name="connsiteX0" fmla="*/ 18248 w 18376"/>
                  <a:gd name="connsiteY0" fmla="*/ 10774 h 18437"/>
                  <a:gd name="connsiteX1" fmla="*/ 7662 w 18376"/>
                  <a:gd name="connsiteY1" fmla="*/ 18310 h 18437"/>
                  <a:gd name="connsiteX2" fmla="*/ 127 w 18376"/>
                  <a:gd name="connsiteY2" fmla="*/ 7664 h 18437"/>
                  <a:gd name="connsiteX3" fmla="*/ 10713 w 18376"/>
                  <a:gd name="connsiteY3" fmla="*/ 128 h 18437"/>
                  <a:gd name="connsiteX4" fmla="*/ 18248 w 18376"/>
                  <a:gd name="connsiteY4" fmla="*/ 1077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7">
                    <a:moveTo>
                      <a:pt x="18248" y="10774"/>
                    </a:moveTo>
                    <a:cubicBezTo>
                      <a:pt x="17411" y="15798"/>
                      <a:pt x="12686" y="19147"/>
                      <a:pt x="7662" y="18310"/>
                    </a:cubicBezTo>
                    <a:cubicBezTo>
                      <a:pt x="2698" y="17472"/>
                      <a:pt x="-711" y="12688"/>
                      <a:pt x="127" y="7664"/>
                    </a:cubicBezTo>
                    <a:cubicBezTo>
                      <a:pt x="964" y="2640"/>
                      <a:pt x="5689" y="-709"/>
                      <a:pt x="10713" y="128"/>
                    </a:cubicBezTo>
                    <a:cubicBezTo>
                      <a:pt x="15736" y="1025"/>
                      <a:pt x="19085" y="5810"/>
                      <a:pt x="18248" y="10774"/>
                    </a:cubicBezTo>
                    <a:close/>
                  </a:path>
                </a:pathLst>
              </a:custGeom>
              <a:grpFill/>
              <a:ln w="5978" cap="flat">
                <a:noFill/>
                <a:prstDash val="solid"/>
                <a:miter/>
              </a:ln>
            </p:spPr>
            <p:txBody>
              <a:bodyPr rtlCol="0" anchor="ctr"/>
              <a:lstStyle/>
              <a:p>
                <a:endParaRPr lang="en-GB"/>
              </a:p>
            </p:txBody>
          </p:sp>
          <p:sp>
            <p:nvSpPr>
              <p:cNvPr id="2784" name="Vrije vorm: vorm 2783">
                <a:extLst>
                  <a:ext uri="{FF2B5EF4-FFF2-40B4-BE49-F238E27FC236}">
                    <a16:creationId xmlns:a16="http://schemas.microsoft.com/office/drawing/2014/main" id="{3A51912A-0CC5-49A1-955A-3B435DD6AE7C}"/>
                  </a:ext>
                </a:extLst>
              </p:cNvPr>
              <p:cNvSpPr/>
              <p:nvPr/>
            </p:nvSpPr>
            <p:spPr>
              <a:xfrm>
                <a:off x="5765247" y="5079099"/>
                <a:ext cx="18378" cy="18452"/>
              </a:xfrm>
              <a:custGeom>
                <a:avLst/>
                <a:gdLst>
                  <a:gd name="connsiteX0" fmla="*/ 18250 w 18378"/>
                  <a:gd name="connsiteY0" fmla="*/ 10774 h 18452"/>
                  <a:gd name="connsiteX1" fmla="*/ 10714 w 18378"/>
                  <a:gd name="connsiteY1" fmla="*/ 128 h 18452"/>
                  <a:gd name="connsiteX2" fmla="*/ 128 w 18378"/>
                  <a:gd name="connsiteY2" fmla="*/ 7664 h 18452"/>
                  <a:gd name="connsiteX3" fmla="*/ 7664 w 18378"/>
                  <a:gd name="connsiteY3" fmla="*/ 18310 h 18452"/>
                  <a:gd name="connsiteX4" fmla="*/ 18250 w 18378"/>
                  <a:gd name="connsiteY4" fmla="*/ 10774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52">
                    <a:moveTo>
                      <a:pt x="18250" y="10774"/>
                    </a:moveTo>
                    <a:cubicBezTo>
                      <a:pt x="19087" y="5750"/>
                      <a:pt x="15738" y="966"/>
                      <a:pt x="10714" y="128"/>
                    </a:cubicBezTo>
                    <a:cubicBezTo>
                      <a:pt x="5750" y="-709"/>
                      <a:pt x="966" y="2640"/>
                      <a:pt x="128" y="7664"/>
                    </a:cubicBezTo>
                    <a:cubicBezTo>
                      <a:pt x="-709" y="12688"/>
                      <a:pt x="2640" y="17472"/>
                      <a:pt x="7664" y="18310"/>
                    </a:cubicBezTo>
                    <a:cubicBezTo>
                      <a:pt x="12688" y="19207"/>
                      <a:pt x="17413" y="15798"/>
                      <a:pt x="18250" y="10774"/>
                    </a:cubicBezTo>
                    <a:close/>
                  </a:path>
                </a:pathLst>
              </a:custGeom>
              <a:grpFill/>
              <a:ln w="5978" cap="flat">
                <a:noFill/>
                <a:prstDash val="solid"/>
                <a:miter/>
              </a:ln>
            </p:spPr>
            <p:txBody>
              <a:bodyPr rtlCol="0" anchor="ctr"/>
              <a:lstStyle/>
              <a:p>
                <a:endParaRPr lang="en-GB"/>
              </a:p>
            </p:txBody>
          </p:sp>
        </p:grpSp>
        <p:grpSp>
          <p:nvGrpSpPr>
            <p:cNvPr id="873" name="Graphic 3">
              <a:extLst>
                <a:ext uri="{FF2B5EF4-FFF2-40B4-BE49-F238E27FC236}">
                  <a16:creationId xmlns:a16="http://schemas.microsoft.com/office/drawing/2014/main" id="{1288B1D5-2800-4DF4-B623-FF7333F07828}"/>
                </a:ext>
              </a:extLst>
            </p:cNvPr>
            <p:cNvGrpSpPr/>
            <p:nvPr/>
          </p:nvGrpSpPr>
          <p:grpSpPr>
            <a:xfrm>
              <a:off x="4698367" y="2164403"/>
              <a:ext cx="123977" cy="115966"/>
              <a:chOff x="4698367" y="2164403"/>
              <a:chExt cx="123977" cy="115966"/>
            </a:xfrm>
            <a:grpFill/>
          </p:grpSpPr>
          <p:sp>
            <p:nvSpPr>
              <p:cNvPr id="2779" name="Vrije vorm: vorm 2778">
                <a:extLst>
                  <a:ext uri="{FF2B5EF4-FFF2-40B4-BE49-F238E27FC236}">
                    <a16:creationId xmlns:a16="http://schemas.microsoft.com/office/drawing/2014/main" id="{2F787CD3-E764-4A22-ABEC-EBF7E813386A}"/>
                  </a:ext>
                </a:extLst>
              </p:cNvPr>
              <p:cNvSpPr/>
              <p:nvPr/>
            </p:nvSpPr>
            <p:spPr>
              <a:xfrm>
                <a:off x="4706190" y="2172238"/>
                <a:ext cx="108370" cy="100296"/>
              </a:xfrm>
              <a:custGeom>
                <a:avLst/>
                <a:gdLst>
                  <a:gd name="connsiteX0" fmla="*/ 108371 w 108370"/>
                  <a:gd name="connsiteY0" fmla="*/ 98084 h 100296"/>
                  <a:gd name="connsiteX1" fmla="*/ 106337 w 108370"/>
                  <a:gd name="connsiteY1" fmla="*/ 100297 h 100296"/>
                  <a:gd name="connsiteX2" fmla="*/ 0 w 108370"/>
                  <a:gd name="connsiteY2" fmla="*/ 2213 h 100296"/>
                  <a:gd name="connsiteX3" fmla="*/ 2034 w 108370"/>
                  <a:gd name="connsiteY3" fmla="*/ 0 h 100296"/>
                </a:gdLst>
                <a:ahLst/>
                <a:cxnLst>
                  <a:cxn ang="0">
                    <a:pos x="connsiteX0" y="connsiteY0"/>
                  </a:cxn>
                  <a:cxn ang="0">
                    <a:pos x="connsiteX1" y="connsiteY1"/>
                  </a:cxn>
                  <a:cxn ang="0">
                    <a:pos x="connsiteX2" y="connsiteY2"/>
                  </a:cxn>
                  <a:cxn ang="0">
                    <a:pos x="connsiteX3" y="connsiteY3"/>
                  </a:cxn>
                </a:cxnLst>
                <a:rect l="l" t="t" r="r" b="b"/>
                <a:pathLst>
                  <a:path w="108370" h="100296">
                    <a:moveTo>
                      <a:pt x="108371" y="98084"/>
                    </a:moveTo>
                    <a:lnTo>
                      <a:pt x="106337" y="100297"/>
                    </a:lnTo>
                    <a:lnTo>
                      <a:pt x="0" y="2213"/>
                    </a:lnTo>
                    <a:lnTo>
                      <a:pt x="2034" y="0"/>
                    </a:lnTo>
                    <a:close/>
                  </a:path>
                </a:pathLst>
              </a:custGeom>
              <a:grpFill/>
              <a:ln w="5978" cap="flat">
                <a:noFill/>
                <a:prstDash val="solid"/>
                <a:miter/>
              </a:ln>
            </p:spPr>
            <p:txBody>
              <a:bodyPr rtlCol="0" anchor="ctr"/>
              <a:lstStyle/>
              <a:p>
                <a:endParaRPr lang="en-GB"/>
              </a:p>
            </p:txBody>
          </p:sp>
          <p:sp>
            <p:nvSpPr>
              <p:cNvPr id="2780" name="Vrije vorm: vorm 2779">
                <a:extLst>
                  <a:ext uri="{FF2B5EF4-FFF2-40B4-BE49-F238E27FC236}">
                    <a16:creationId xmlns:a16="http://schemas.microsoft.com/office/drawing/2014/main" id="{8B093CCC-9D29-4E0D-BFA1-545F28315F50}"/>
                  </a:ext>
                </a:extLst>
              </p:cNvPr>
              <p:cNvSpPr/>
              <p:nvPr/>
            </p:nvSpPr>
            <p:spPr>
              <a:xfrm>
                <a:off x="4698367" y="2164403"/>
                <a:ext cx="18337" cy="18481"/>
              </a:xfrm>
              <a:custGeom>
                <a:avLst/>
                <a:gdLst>
                  <a:gd name="connsiteX0" fmla="*/ 2978 w 18337"/>
                  <a:gd name="connsiteY0" fmla="*/ 16029 h 18481"/>
                  <a:gd name="connsiteX1" fmla="*/ 2381 w 18337"/>
                  <a:gd name="connsiteY1" fmla="*/ 2991 h 18481"/>
                  <a:gd name="connsiteX2" fmla="*/ 15359 w 18337"/>
                  <a:gd name="connsiteY2" fmla="*/ 2452 h 18481"/>
                  <a:gd name="connsiteX3" fmla="*/ 15957 w 18337"/>
                  <a:gd name="connsiteY3" fmla="*/ 15490 h 18481"/>
                  <a:gd name="connsiteX4" fmla="*/ 2978 w 18337"/>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81">
                    <a:moveTo>
                      <a:pt x="2978" y="16029"/>
                    </a:moveTo>
                    <a:cubicBezTo>
                      <a:pt x="-730" y="12560"/>
                      <a:pt x="-1029" y="6759"/>
                      <a:pt x="2381" y="2991"/>
                    </a:cubicBezTo>
                    <a:cubicBezTo>
                      <a:pt x="5789" y="-777"/>
                      <a:pt x="11591" y="-1016"/>
                      <a:pt x="15359" y="2452"/>
                    </a:cubicBezTo>
                    <a:cubicBezTo>
                      <a:pt x="19067" y="5921"/>
                      <a:pt x="19366" y="11723"/>
                      <a:pt x="15957" y="15490"/>
                    </a:cubicBezTo>
                    <a:cubicBezTo>
                      <a:pt x="12547" y="19258"/>
                      <a:pt x="6746" y="19497"/>
                      <a:pt x="2978" y="16029"/>
                    </a:cubicBezTo>
                    <a:close/>
                  </a:path>
                </a:pathLst>
              </a:custGeom>
              <a:grpFill/>
              <a:ln w="5978" cap="flat">
                <a:noFill/>
                <a:prstDash val="solid"/>
                <a:miter/>
              </a:ln>
            </p:spPr>
            <p:txBody>
              <a:bodyPr rtlCol="0" anchor="ctr"/>
              <a:lstStyle/>
              <a:p>
                <a:endParaRPr lang="en-GB"/>
              </a:p>
            </p:txBody>
          </p:sp>
          <p:sp>
            <p:nvSpPr>
              <p:cNvPr id="2781" name="Vrije vorm: vorm 2780">
                <a:extLst>
                  <a:ext uri="{FF2B5EF4-FFF2-40B4-BE49-F238E27FC236}">
                    <a16:creationId xmlns:a16="http://schemas.microsoft.com/office/drawing/2014/main" id="{CD2A1507-833C-48B2-AB4C-5EB4B1392728}"/>
                  </a:ext>
                </a:extLst>
              </p:cNvPr>
              <p:cNvSpPr/>
              <p:nvPr/>
            </p:nvSpPr>
            <p:spPr>
              <a:xfrm>
                <a:off x="4804016" y="2261889"/>
                <a:ext cx="18328" cy="18481"/>
              </a:xfrm>
              <a:custGeom>
                <a:avLst/>
                <a:gdLst>
                  <a:gd name="connsiteX0" fmla="*/ 3008 w 18328"/>
                  <a:gd name="connsiteY0" fmla="*/ 16029 h 18481"/>
                  <a:gd name="connsiteX1" fmla="*/ 15927 w 18328"/>
                  <a:gd name="connsiteY1" fmla="*/ 15491 h 18481"/>
                  <a:gd name="connsiteX2" fmla="*/ 15329 w 18328"/>
                  <a:gd name="connsiteY2" fmla="*/ 2452 h 18481"/>
                  <a:gd name="connsiteX3" fmla="*/ 2351 w 18328"/>
                  <a:gd name="connsiteY3" fmla="*/ 2991 h 18481"/>
                  <a:gd name="connsiteX4" fmla="*/ 3008 w 1832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81">
                    <a:moveTo>
                      <a:pt x="3008" y="16029"/>
                    </a:moveTo>
                    <a:cubicBezTo>
                      <a:pt x="6716" y="19497"/>
                      <a:pt x="12518" y="19258"/>
                      <a:pt x="15927" y="15491"/>
                    </a:cubicBezTo>
                    <a:cubicBezTo>
                      <a:pt x="19336" y="11723"/>
                      <a:pt x="19097" y="5921"/>
                      <a:pt x="15329" y="2452"/>
                    </a:cubicBezTo>
                    <a:cubicBezTo>
                      <a:pt x="11621" y="-1016"/>
                      <a:pt x="5820" y="-777"/>
                      <a:pt x="2351" y="2991"/>
                    </a:cubicBezTo>
                    <a:cubicBezTo>
                      <a:pt x="-999" y="6759"/>
                      <a:pt x="-759" y="12560"/>
                      <a:pt x="3008" y="16029"/>
                    </a:cubicBezTo>
                    <a:close/>
                  </a:path>
                </a:pathLst>
              </a:custGeom>
              <a:grpFill/>
              <a:ln w="5978" cap="flat">
                <a:noFill/>
                <a:prstDash val="solid"/>
                <a:miter/>
              </a:ln>
            </p:spPr>
            <p:txBody>
              <a:bodyPr rtlCol="0" anchor="ctr"/>
              <a:lstStyle/>
              <a:p>
                <a:endParaRPr lang="en-GB"/>
              </a:p>
            </p:txBody>
          </p:sp>
        </p:grpSp>
        <p:grpSp>
          <p:nvGrpSpPr>
            <p:cNvPr id="874" name="Graphic 3">
              <a:extLst>
                <a:ext uri="{FF2B5EF4-FFF2-40B4-BE49-F238E27FC236}">
                  <a16:creationId xmlns:a16="http://schemas.microsoft.com/office/drawing/2014/main" id="{21C364C5-2D59-40DF-BFDB-7D1450923A48}"/>
                </a:ext>
              </a:extLst>
            </p:cNvPr>
            <p:cNvGrpSpPr/>
            <p:nvPr/>
          </p:nvGrpSpPr>
          <p:grpSpPr>
            <a:xfrm>
              <a:off x="4610910" y="1982608"/>
              <a:ext cx="231851" cy="272410"/>
              <a:chOff x="4610910" y="1982608"/>
              <a:chExt cx="231851" cy="272410"/>
            </a:xfrm>
            <a:grpFill/>
          </p:grpSpPr>
          <p:sp>
            <p:nvSpPr>
              <p:cNvPr id="2776" name="Vrije vorm: vorm 2775">
                <a:extLst>
                  <a:ext uri="{FF2B5EF4-FFF2-40B4-BE49-F238E27FC236}">
                    <a16:creationId xmlns:a16="http://schemas.microsoft.com/office/drawing/2014/main" id="{08E2F3E3-E128-463E-9B36-4AB9F63246B8}"/>
                  </a:ext>
                </a:extLst>
              </p:cNvPr>
              <p:cNvSpPr/>
              <p:nvPr/>
            </p:nvSpPr>
            <p:spPr>
              <a:xfrm>
                <a:off x="4618572" y="1990484"/>
                <a:ext cx="216502" cy="256692"/>
              </a:xfrm>
              <a:custGeom>
                <a:avLst/>
                <a:gdLst>
                  <a:gd name="connsiteX0" fmla="*/ 216502 w 216502"/>
                  <a:gd name="connsiteY0" fmla="*/ 254719 h 256692"/>
                  <a:gd name="connsiteX1" fmla="*/ 214170 w 216502"/>
                  <a:gd name="connsiteY1" fmla="*/ 256693 h 256692"/>
                  <a:gd name="connsiteX2" fmla="*/ 0 w 216502"/>
                  <a:gd name="connsiteY2" fmla="*/ 1974 h 256692"/>
                  <a:gd name="connsiteX3" fmla="*/ 2333 w 216502"/>
                  <a:gd name="connsiteY3" fmla="*/ 0 h 256692"/>
                </a:gdLst>
                <a:ahLst/>
                <a:cxnLst>
                  <a:cxn ang="0">
                    <a:pos x="connsiteX0" y="connsiteY0"/>
                  </a:cxn>
                  <a:cxn ang="0">
                    <a:pos x="connsiteX1" y="connsiteY1"/>
                  </a:cxn>
                  <a:cxn ang="0">
                    <a:pos x="connsiteX2" y="connsiteY2"/>
                  </a:cxn>
                  <a:cxn ang="0">
                    <a:pos x="connsiteX3" y="connsiteY3"/>
                  </a:cxn>
                </a:cxnLst>
                <a:rect l="l" t="t" r="r" b="b"/>
                <a:pathLst>
                  <a:path w="216502" h="256692">
                    <a:moveTo>
                      <a:pt x="216502" y="254719"/>
                    </a:moveTo>
                    <a:lnTo>
                      <a:pt x="214170" y="256693"/>
                    </a:lnTo>
                    <a:lnTo>
                      <a:pt x="0" y="1974"/>
                    </a:lnTo>
                    <a:lnTo>
                      <a:pt x="2333" y="0"/>
                    </a:lnTo>
                    <a:close/>
                  </a:path>
                </a:pathLst>
              </a:custGeom>
              <a:grpFill/>
              <a:ln w="5978" cap="flat">
                <a:noFill/>
                <a:prstDash val="solid"/>
                <a:miter/>
              </a:ln>
            </p:spPr>
            <p:txBody>
              <a:bodyPr rtlCol="0" anchor="ctr"/>
              <a:lstStyle/>
              <a:p>
                <a:endParaRPr lang="en-GB"/>
              </a:p>
            </p:txBody>
          </p:sp>
          <p:sp>
            <p:nvSpPr>
              <p:cNvPr id="2777" name="Vrije vorm: vorm 2776">
                <a:extLst>
                  <a:ext uri="{FF2B5EF4-FFF2-40B4-BE49-F238E27FC236}">
                    <a16:creationId xmlns:a16="http://schemas.microsoft.com/office/drawing/2014/main" id="{4C48F048-6FEC-490E-9DF5-E1CA812E609C}"/>
                  </a:ext>
                </a:extLst>
              </p:cNvPr>
              <p:cNvSpPr/>
              <p:nvPr/>
            </p:nvSpPr>
            <p:spPr>
              <a:xfrm>
                <a:off x="4824397" y="2236584"/>
                <a:ext cx="18364" cy="18433"/>
              </a:xfrm>
              <a:custGeom>
                <a:avLst/>
                <a:gdLst>
                  <a:gd name="connsiteX0" fmla="*/ 16179 w 18364"/>
                  <a:gd name="connsiteY0" fmla="*/ 3296 h 18433"/>
                  <a:gd name="connsiteX1" fmla="*/ 15103 w 18364"/>
                  <a:gd name="connsiteY1" fmla="*/ 16274 h 18433"/>
                  <a:gd name="connsiteX2" fmla="*/ 2185 w 18364"/>
                  <a:gd name="connsiteY2" fmla="*/ 15138 h 18433"/>
                  <a:gd name="connsiteX3" fmla="*/ 3261 w 18364"/>
                  <a:gd name="connsiteY3" fmla="*/ 2160 h 18433"/>
                  <a:gd name="connsiteX4" fmla="*/ 16179 w 18364"/>
                  <a:gd name="connsiteY4" fmla="*/ 3296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33">
                    <a:moveTo>
                      <a:pt x="16179" y="3296"/>
                    </a:moveTo>
                    <a:cubicBezTo>
                      <a:pt x="19469" y="7184"/>
                      <a:pt x="18990" y="12985"/>
                      <a:pt x="15103" y="16274"/>
                    </a:cubicBezTo>
                    <a:cubicBezTo>
                      <a:pt x="11216" y="19564"/>
                      <a:pt x="5474" y="19025"/>
                      <a:pt x="2185" y="15138"/>
                    </a:cubicBezTo>
                    <a:cubicBezTo>
                      <a:pt x="-1105" y="11250"/>
                      <a:pt x="-627" y="5449"/>
                      <a:pt x="3261" y="2160"/>
                    </a:cubicBezTo>
                    <a:cubicBezTo>
                      <a:pt x="7149" y="-1130"/>
                      <a:pt x="12950" y="-591"/>
                      <a:pt x="16179" y="3296"/>
                    </a:cubicBezTo>
                    <a:close/>
                  </a:path>
                </a:pathLst>
              </a:custGeom>
              <a:grpFill/>
              <a:ln w="5978" cap="flat">
                <a:noFill/>
                <a:prstDash val="solid"/>
                <a:miter/>
              </a:ln>
            </p:spPr>
            <p:txBody>
              <a:bodyPr rtlCol="0" anchor="ctr"/>
              <a:lstStyle/>
              <a:p>
                <a:endParaRPr lang="en-GB"/>
              </a:p>
            </p:txBody>
          </p:sp>
          <p:sp>
            <p:nvSpPr>
              <p:cNvPr id="2778" name="Vrije vorm: vorm 2777">
                <a:extLst>
                  <a:ext uri="{FF2B5EF4-FFF2-40B4-BE49-F238E27FC236}">
                    <a16:creationId xmlns:a16="http://schemas.microsoft.com/office/drawing/2014/main" id="{91958CA4-A184-4523-941B-B4F20C6B3898}"/>
                  </a:ext>
                </a:extLst>
              </p:cNvPr>
              <p:cNvSpPr/>
              <p:nvPr/>
            </p:nvSpPr>
            <p:spPr>
              <a:xfrm>
                <a:off x="4610910" y="1982608"/>
                <a:ext cx="18314" cy="18384"/>
              </a:xfrm>
              <a:custGeom>
                <a:avLst/>
                <a:gdLst>
                  <a:gd name="connsiteX0" fmla="*/ 16155 w 18314"/>
                  <a:gd name="connsiteY0" fmla="*/ 3271 h 18384"/>
                  <a:gd name="connsiteX1" fmla="*/ 3236 w 18314"/>
                  <a:gd name="connsiteY1" fmla="*/ 2135 h 18384"/>
                  <a:gd name="connsiteX2" fmla="*/ 2160 w 18314"/>
                  <a:gd name="connsiteY2" fmla="*/ 15113 h 18384"/>
                  <a:gd name="connsiteX3" fmla="*/ 15079 w 18314"/>
                  <a:gd name="connsiteY3" fmla="*/ 16250 h 18384"/>
                  <a:gd name="connsiteX4" fmla="*/ 16155 w 18314"/>
                  <a:gd name="connsiteY4" fmla="*/ 327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84">
                    <a:moveTo>
                      <a:pt x="16155" y="3271"/>
                    </a:moveTo>
                    <a:cubicBezTo>
                      <a:pt x="12865" y="-616"/>
                      <a:pt x="7124" y="-1095"/>
                      <a:pt x="3236" y="2135"/>
                    </a:cubicBezTo>
                    <a:cubicBezTo>
                      <a:pt x="-651" y="5424"/>
                      <a:pt x="-1070" y="11226"/>
                      <a:pt x="2160" y="15113"/>
                    </a:cubicBezTo>
                    <a:cubicBezTo>
                      <a:pt x="5449" y="19001"/>
                      <a:pt x="11191" y="19479"/>
                      <a:pt x="15079" y="16250"/>
                    </a:cubicBezTo>
                    <a:cubicBezTo>
                      <a:pt x="18966" y="13020"/>
                      <a:pt x="19384" y="7159"/>
                      <a:pt x="16155" y="3271"/>
                    </a:cubicBezTo>
                    <a:close/>
                  </a:path>
                </a:pathLst>
              </a:custGeom>
              <a:grpFill/>
              <a:ln w="5978" cap="flat">
                <a:noFill/>
                <a:prstDash val="solid"/>
                <a:miter/>
              </a:ln>
            </p:spPr>
            <p:txBody>
              <a:bodyPr rtlCol="0" anchor="ctr"/>
              <a:lstStyle/>
              <a:p>
                <a:endParaRPr lang="en-GB"/>
              </a:p>
            </p:txBody>
          </p:sp>
        </p:grpSp>
        <p:grpSp>
          <p:nvGrpSpPr>
            <p:cNvPr id="875" name="Graphic 3">
              <a:extLst>
                <a:ext uri="{FF2B5EF4-FFF2-40B4-BE49-F238E27FC236}">
                  <a16:creationId xmlns:a16="http://schemas.microsoft.com/office/drawing/2014/main" id="{B05AB0E5-9B6B-4234-8097-79C171D4D099}"/>
                </a:ext>
              </a:extLst>
            </p:cNvPr>
            <p:cNvGrpSpPr/>
            <p:nvPr/>
          </p:nvGrpSpPr>
          <p:grpSpPr>
            <a:xfrm>
              <a:off x="4613750" y="1930407"/>
              <a:ext cx="127748" cy="131301"/>
              <a:chOff x="4613750" y="1930407"/>
              <a:chExt cx="127748" cy="131301"/>
            </a:xfrm>
            <a:grpFill/>
          </p:grpSpPr>
          <p:sp>
            <p:nvSpPr>
              <p:cNvPr id="2773" name="Vrije vorm: vorm 2772">
                <a:extLst>
                  <a:ext uri="{FF2B5EF4-FFF2-40B4-BE49-F238E27FC236}">
                    <a16:creationId xmlns:a16="http://schemas.microsoft.com/office/drawing/2014/main" id="{474C8CD1-31A1-49E1-ADA0-CE2CC47C3AA9}"/>
                  </a:ext>
                </a:extLst>
              </p:cNvPr>
              <p:cNvSpPr/>
              <p:nvPr/>
            </p:nvSpPr>
            <p:spPr>
              <a:xfrm>
                <a:off x="4621503" y="1938272"/>
                <a:ext cx="112198" cy="115607"/>
              </a:xfrm>
              <a:custGeom>
                <a:avLst/>
                <a:gdLst>
                  <a:gd name="connsiteX0" fmla="*/ 112198 w 112198"/>
                  <a:gd name="connsiteY0" fmla="*/ 113454 h 115607"/>
                  <a:gd name="connsiteX1" fmla="*/ 110045 w 112198"/>
                  <a:gd name="connsiteY1" fmla="*/ 115607 h 115607"/>
                  <a:gd name="connsiteX2" fmla="*/ 0 w 112198"/>
                  <a:gd name="connsiteY2" fmla="*/ 2093 h 115607"/>
                  <a:gd name="connsiteX3" fmla="*/ 2213 w 112198"/>
                  <a:gd name="connsiteY3" fmla="*/ 0 h 115607"/>
                </a:gdLst>
                <a:ahLst/>
                <a:cxnLst>
                  <a:cxn ang="0">
                    <a:pos x="connsiteX0" y="connsiteY0"/>
                  </a:cxn>
                  <a:cxn ang="0">
                    <a:pos x="connsiteX1" y="connsiteY1"/>
                  </a:cxn>
                  <a:cxn ang="0">
                    <a:pos x="connsiteX2" y="connsiteY2"/>
                  </a:cxn>
                  <a:cxn ang="0">
                    <a:pos x="connsiteX3" y="connsiteY3"/>
                  </a:cxn>
                </a:cxnLst>
                <a:rect l="l" t="t" r="r" b="b"/>
                <a:pathLst>
                  <a:path w="112198" h="115607">
                    <a:moveTo>
                      <a:pt x="112198" y="113454"/>
                    </a:moveTo>
                    <a:lnTo>
                      <a:pt x="110045" y="115607"/>
                    </a:lnTo>
                    <a:lnTo>
                      <a:pt x="0" y="2093"/>
                    </a:lnTo>
                    <a:lnTo>
                      <a:pt x="2213" y="0"/>
                    </a:lnTo>
                    <a:close/>
                  </a:path>
                </a:pathLst>
              </a:custGeom>
              <a:grpFill/>
              <a:ln w="5978" cap="flat">
                <a:noFill/>
                <a:prstDash val="solid"/>
                <a:miter/>
              </a:ln>
            </p:spPr>
            <p:txBody>
              <a:bodyPr rtlCol="0" anchor="ctr"/>
              <a:lstStyle/>
              <a:p>
                <a:endParaRPr lang="en-GB"/>
              </a:p>
            </p:txBody>
          </p:sp>
          <p:sp>
            <p:nvSpPr>
              <p:cNvPr id="2774" name="Vrije vorm: vorm 2773">
                <a:extLst>
                  <a:ext uri="{FF2B5EF4-FFF2-40B4-BE49-F238E27FC236}">
                    <a16:creationId xmlns:a16="http://schemas.microsoft.com/office/drawing/2014/main" id="{39693A34-F38B-4529-B050-776A3359DFD8}"/>
                  </a:ext>
                </a:extLst>
              </p:cNvPr>
              <p:cNvSpPr/>
              <p:nvPr/>
            </p:nvSpPr>
            <p:spPr>
              <a:xfrm>
                <a:off x="4613750" y="1930407"/>
                <a:ext cx="18316" cy="18444"/>
              </a:xfrm>
              <a:custGeom>
                <a:avLst/>
                <a:gdLst>
                  <a:gd name="connsiteX0" fmla="*/ 2609 w 18316"/>
                  <a:gd name="connsiteY0" fmla="*/ 15640 h 18444"/>
                  <a:gd name="connsiteX1" fmla="*/ 2729 w 18316"/>
                  <a:gd name="connsiteY1" fmla="*/ 2602 h 18444"/>
                  <a:gd name="connsiteX2" fmla="*/ 15707 w 18316"/>
                  <a:gd name="connsiteY2" fmla="*/ 2782 h 18444"/>
                  <a:gd name="connsiteX3" fmla="*/ 15588 w 18316"/>
                  <a:gd name="connsiteY3" fmla="*/ 15820 h 18444"/>
                  <a:gd name="connsiteX4" fmla="*/ 2609 w 18316"/>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2609" y="15640"/>
                    </a:moveTo>
                    <a:cubicBezTo>
                      <a:pt x="-919" y="11992"/>
                      <a:pt x="-859" y="6131"/>
                      <a:pt x="2729" y="2602"/>
                    </a:cubicBezTo>
                    <a:cubicBezTo>
                      <a:pt x="6377" y="-926"/>
                      <a:pt x="12179" y="-866"/>
                      <a:pt x="15707" y="2782"/>
                    </a:cubicBezTo>
                    <a:cubicBezTo>
                      <a:pt x="19236" y="6430"/>
                      <a:pt x="19176" y="12291"/>
                      <a:pt x="15588" y="15820"/>
                    </a:cubicBezTo>
                    <a:cubicBezTo>
                      <a:pt x="11939" y="19408"/>
                      <a:pt x="6138" y="19289"/>
                      <a:pt x="2609" y="15640"/>
                    </a:cubicBezTo>
                    <a:close/>
                  </a:path>
                </a:pathLst>
              </a:custGeom>
              <a:grpFill/>
              <a:ln w="5978" cap="flat">
                <a:noFill/>
                <a:prstDash val="solid"/>
                <a:miter/>
              </a:ln>
            </p:spPr>
            <p:txBody>
              <a:bodyPr rtlCol="0" anchor="ctr"/>
              <a:lstStyle/>
              <a:p>
                <a:endParaRPr lang="en-GB"/>
              </a:p>
            </p:txBody>
          </p:sp>
          <p:sp>
            <p:nvSpPr>
              <p:cNvPr id="2775" name="Vrije vorm: vorm 2774">
                <a:extLst>
                  <a:ext uri="{FF2B5EF4-FFF2-40B4-BE49-F238E27FC236}">
                    <a16:creationId xmlns:a16="http://schemas.microsoft.com/office/drawing/2014/main" id="{AF224C47-95AF-433D-8251-A1CCB26E616A}"/>
                  </a:ext>
                </a:extLst>
              </p:cNvPr>
              <p:cNvSpPr/>
              <p:nvPr/>
            </p:nvSpPr>
            <p:spPr>
              <a:xfrm>
                <a:off x="4723137" y="2043263"/>
                <a:ext cx="18361" cy="18444"/>
              </a:xfrm>
              <a:custGeom>
                <a:avLst/>
                <a:gdLst>
                  <a:gd name="connsiteX0" fmla="*/ 2610 w 18361"/>
                  <a:gd name="connsiteY0" fmla="*/ 15640 h 18444"/>
                  <a:gd name="connsiteX1" fmla="*/ 15588 w 18361"/>
                  <a:gd name="connsiteY1" fmla="*/ 15820 h 18444"/>
                  <a:gd name="connsiteX2" fmla="*/ 15707 w 18361"/>
                  <a:gd name="connsiteY2" fmla="*/ 2782 h 18444"/>
                  <a:gd name="connsiteX3" fmla="*/ 2729 w 18361"/>
                  <a:gd name="connsiteY3" fmla="*/ 2602 h 18444"/>
                  <a:gd name="connsiteX4" fmla="*/ 2610 w 18361"/>
                  <a:gd name="connsiteY4" fmla="*/ 156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44">
                    <a:moveTo>
                      <a:pt x="2610" y="15640"/>
                    </a:moveTo>
                    <a:cubicBezTo>
                      <a:pt x="6138" y="19289"/>
                      <a:pt x="11940" y="19408"/>
                      <a:pt x="15588" y="15820"/>
                    </a:cubicBezTo>
                    <a:cubicBezTo>
                      <a:pt x="19236" y="12291"/>
                      <a:pt x="19296" y="6430"/>
                      <a:pt x="15707" y="2782"/>
                    </a:cubicBezTo>
                    <a:cubicBezTo>
                      <a:pt x="12179" y="-866"/>
                      <a:pt x="6378" y="-926"/>
                      <a:pt x="2729" y="2602"/>
                    </a:cubicBezTo>
                    <a:cubicBezTo>
                      <a:pt x="-859" y="6131"/>
                      <a:pt x="-919" y="11992"/>
                      <a:pt x="2610" y="15640"/>
                    </a:cubicBezTo>
                    <a:close/>
                  </a:path>
                </a:pathLst>
              </a:custGeom>
              <a:grpFill/>
              <a:ln w="5978" cap="flat">
                <a:noFill/>
                <a:prstDash val="solid"/>
                <a:miter/>
              </a:ln>
            </p:spPr>
            <p:txBody>
              <a:bodyPr rtlCol="0" anchor="ctr"/>
              <a:lstStyle/>
              <a:p>
                <a:endParaRPr lang="en-GB"/>
              </a:p>
            </p:txBody>
          </p:sp>
        </p:grpSp>
        <p:grpSp>
          <p:nvGrpSpPr>
            <p:cNvPr id="876" name="Graphic 3">
              <a:extLst>
                <a:ext uri="{FF2B5EF4-FFF2-40B4-BE49-F238E27FC236}">
                  <a16:creationId xmlns:a16="http://schemas.microsoft.com/office/drawing/2014/main" id="{E76C03DD-5683-47D5-A39B-FF94C94919F3}"/>
                </a:ext>
              </a:extLst>
            </p:cNvPr>
            <p:cNvGrpSpPr/>
            <p:nvPr/>
          </p:nvGrpSpPr>
          <p:grpSpPr>
            <a:xfrm>
              <a:off x="5813800" y="5105583"/>
              <a:ext cx="124915" cy="838236"/>
              <a:chOff x="5813800" y="5105583"/>
              <a:chExt cx="124915" cy="838236"/>
            </a:xfrm>
            <a:grpFill/>
          </p:grpSpPr>
          <p:sp>
            <p:nvSpPr>
              <p:cNvPr id="2770" name="Vrije vorm: vorm 2769">
                <a:extLst>
                  <a:ext uri="{FF2B5EF4-FFF2-40B4-BE49-F238E27FC236}">
                    <a16:creationId xmlns:a16="http://schemas.microsoft.com/office/drawing/2014/main" id="{E5D90171-01C9-4404-BC13-6960CDD8AE04}"/>
                  </a:ext>
                </a:extLst>
              </p:cNvPr>
              <p:cNvSpPr/>
              <p:nvPr/>
            </p:nvSpPr>
            <p:spPr>
              <a:xfrm>
                <a:off x="5821415" y="5114155"/>
                <a:ext cx="109686" cy="821093"/>
              </a:xfrm>
              <a:custGeom>
                <a:avLst/>
                <a:gdLst>
                  <a:gd name="connsiteX0" fmla="*/ 109687 w 109686"/>
                  <a:gd name="connsiteY0" fmla="*/ 359 h 821093"/>
                  <a:gd name="connsiteX1" fmla="*/ 2990 w 109686"/>
                  <a:gd name="connsiteY1" fmla="*/ 821093 h 821093"/>
                  <a:gd name="connsiteX2" fmla="*/ 0 w 109686"/>
                  <a:gd name="connsiteY2" fmla="*/ 820674 h 821093"/>
                  <a:gd name="connsiteX3" fmla="*/ 106696 w 109686"/>
                  <a:gd name="connsiteY3" fmla="*/ 0 h 821093"/>
                </a:gdLst>
                <a:ahLst/>
                <a:cxnLst>
                  <a:cxn ang="0">
                    <a:pos x="connsiteX0" y="connsiteY0"/>
                  </a:cxn>
                  <a:cxn ang="0">
                    <a:pos x="connsiteX1" y="connsiteY1"/>
                  </a:cxn>
                  <a:cxn ang="0">
                    <a:pos x="connsiteX2" y="connsiteY2"/>
                  </a:cxn>
                  <a:cxn ang="0">
                    <a:pos x="connsiteX3" y="connsiteY3"/>
                  </a:cxn>
                </a:cxnLst>
                <a:rect l="l" t="t" r="r" b="b"/>
                <a:pathLst>
                  <a:path w="109686" h="821093">
                    <a:moveTo>
                      <a:pt x="109687" y="359"/>
                    </a:moveTo>
                    <a:lnTo>
                      <a:pt x="2990" y="821093"/>
                    </a:lnTo>
                    <a:lnTo>
                      <a:pt x="0" y="820674"/>
                    </a:lnTo>
                    <a:lnTo>
                      <a:pt x="106696" y="0"/>
                    </a:lnTo>
                    <a:close/>
                  </a:path>
                </a:pathLst>
              </a:custGeom>
              <a:grpFill/>
              <a:ln w="5978" cap="flat">
                <a:noFill/>
                <a:prstDash val="solid"/>
                <a:miter/>
              </a:ln>
            </p:spPr>
            <p:txBody>
              <a:bodyPr rtlCol="0" anchor="ctr"/>
              <a:lstStyle/>
              <a:p>
                <a:endParaRPr lang="en-GB"/>
              </a:p>
            </p:txBody>
          </p:sp>
          <p:sp>
            <p:nvSpPr>
              <p:cNvPr id="2771" name="Vrije vorm: vorm 2770">
                <a:extLst>
                  <a:ext uri="{FF2B5EF4-FFF2-40B4-BE49-F238E27FC236}">
                    <a16:creationId xmlns:a16="http://schemas.microsoft.com/office/drawing/2014/main" id="{65D28E3C-A2A7-47DD-9284-6695A7DAA8B1}"/>
                  </a:ext>
                </a:extLst>
              </p:cNvPr>
              <p:cNvSpPr/>
              <p:nvPr/>
            </p:nvSpPr>
            <p:spPr>
              <a:xfrm>
                <a:off x="5920377" y="5105583"/>
                <a:ext cx="18339" cy="18399"/>
              </a:xfrm>
              <a:custGeom>
                <a:avLst/>
                <a:gdLst>
                  <a:gd name="connsiteX0" fmla="*/ 79 w 18339"/>
                  <a:gd name="connsiteY0" fmla="*/ 7973 h 18399"/>
                  <a:gd name="connsiteX1" fmla="*/ 10366 w 18339"/>
                  <a:gd name="connsiteY1" fmla="*/ 79 h 18399"/>
                  <a:gd name="connsiteX2" fmla="*/ 18261 w 18339"/>
                  <a:gd name="connsiteY2" fmla="*/ 10426 h 18399"/>
                  <a:gd name="connsiteX3" fmla="*/ 7973 w 18339"/>
                  <a:gd name="connsiteY3" fmla="*/ 18320 h 18399"/>
                  <a:gd name="connsiteX4" fmla="*/ 79 w 18339"/>
                  <a:gd name="connsiteY4" fmla="*/ 7973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9">
                    <a:moveTo>
                      <a:pt x="79" y="7973"/>
                    </a:moveTo>
                    <a:cubicBezTo>
                      <a:pt x="737" y="2950"/>
                      <a:pt x="5342" y="-579"/>
                      <a:pt x="10366" y="79"/>
                    </a:cubicBezTo>
                    <a:cubicBezTo>
                      <a:pt x="15390" y="737"/>
                      <a:pt x="18918" y="5402"/>
                      <a:pt x="18261" y="10426"/>
                    </a:cubicBezTo>
                    <a:cubicBezTo>
                      <a:pt x="17603" y="15449"/>
                      <a:pt x="12997" y="18978"/>
                      <a:pt x="7973" y="18320"/>
                    </a:cubicBezTo>
                    <a:cubicBezTo>
                      <a:pt x="2950" y="17662"/>
                      <a:pt x="-579" y="12997"/>
                      <a:pt x="79" y="7973"/>
                    </a:cubicBezTo>
                    <a:close/>
                  </a:path>
                </a:pathLst>
              </a:custGeom>
              <a:grpFill/>
              <a:ln w="5978" cap="flat">
                <a:noFill/>
                <a:prstDash val="solid"/>
                <a:miter/>
              </a:ln>
            </p:spPr>
            <p:txBody>
              <a:bodyPr rtlCol="0" anchor="ctr"/>
              <a:lstStyle/>
              <a:p>
                <a:endParaRPr lang="en-GB"/>
              </a:p>
            </p:txBody>
          </p:sp>
          <p:sp>
            <p:nvSpPr>
              <p:cNvPr id="2772" name="Vrije vorm: vorm 2771">
                <a:extLst>
                  <a:ext uri="{FF2B5EF4-FFF2-40B4-BE49-F238E27FC236}">
                    <a16:creationId xmlns:a16="http://schemas.microsoft.com/office/drawing/2014/main" id="{8A493855-6031-4E8F-B41E-0E9E7E2EED39}"/>
                  </a:ext>
                </a:extLst>
              </p:cNvPr>
              <p:cNvSpPr/>
              <p:nvPr/>
            </p:nvSpPr>
            <p:spPr>
              <a:xfrm>
                <a:off x="5813800" y="5925407"/>
                <a:ext cx="18339" cy="18412"/>
              </a:xfrm>
              <a:custGeom>
                <a:avLst/>
                <a:gdLst>
                  <a:gd name="connsiteX0" fmla="*/ 79 w 18339"/>
                  <a:gd name="connsiteY0" fmla="*/ 7987 h 18412"/>
                  <a:gd name="connsiteX1" fmla="*/ 7973 w 18339"/>
                  <a:gd name="connsiteY1" fmla="*/ 18334 h 18412"/>
                  <a:gd name="connsiteX2" fmla="*/ 18260 w 18339"/>
                  <a:gd name="connsiteY2" fmla="*/ 10439 h 18412"/>
                  <a:gd name="connsiteX3" fmla="*/ 10366 w 18339"/>
                  <a:gd name="connsiteY3" fmla="*/ 93 h 18412"/>
                  <a:gd name="connsiteX4" fmla="*/ 79 w 18339"/>
                  <a:gd name="connsiteY4" fmla="*/ 798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2">
                    <a:moveTo>
                      <a:pt x="79" y="7987"/>
                    </a:moveTo>
                    <a:cubicBezTo>
                      <a:pt x="-579" y="13011"/>
                      <a:pt x="2950" y="17676"/>
                      <a:pt x="7973" y="18334"/>
                    </a:cubicBezTo>
                    <a:cubicBezTo>
                      <a:pt x="12997" y="18992"/>
                      <a:pt x="17602" y="15463"/>
                      <a:pt x="18260" y="10439"/>
                    </a:cubicBezTo>
                    <a:cubicBezTo>
                      <a:pt x="18918" y="5416"/>
                      <a:pt x="15390" y="750"/>
                      <a:pt x="10366" y="93"/>
                    </a:cubicBezTo>
                    <a:cubicBezTo>
                      <a:pt x="5342" y="-625"/>
                      <a:pt x="737" y="2904"/>
                      <a:pt x="79" y="7987"/>
                    </a:cubicBezTo>
                    <a:close/>
                  </a:path>
                </a:pathLst>
              </a:custGeom>
              <a:grpFill/>
              <a:ln w="5978" cap="flat">
                <a:noFill/>
                <a:prstDash val="solid"/>
                <a:miter/>
              </a:ln>
            </p:spPr>
            <p:txBody>
              <a:bodyPr rtlCol="0" anchor="ctr"/>
              <a:lstStyle/>
              <a:p>
                <a:endParaRPr lang="en-GB"/>
              </a:p>
            </p:txBody>
          </p:sp>
        </p:grpSp>
        <p:grpSp>
          <p:nvGrpSpPr>
            <p:cNvPr id="877" name="Graphic 3">
              <a:extLst>
                <a:ext uri="{FF2B5EF4-FFF2-40B4-BE49-F238E27FC236}">
                  <a16:creationId xmlns:a16="http://schemas.microsoft.com/office/drawing/2014/main" id="{25BDDFA4-CE07-4596-8925-8F12A75BE4E3}"/>
                </a:ext>
              </a:extLst>
            </p:cNvPr>
            <p:cNvGrpSpPr/>
            <p:nvPr/>
          </p:nvGrpSpPr>
          <p:grpSpPr>
            <a:xfrm>
              <a:off x="5706898" y="5070091"/>
              <a:ext cx="46442" cy="168331"/>
              <a:chOff x="5706898" y="5070091"/>
              <a:chExt cx="46442" cy="168331"/>
            </a:xfrm>
            <a:grpFill/>
          </p:grpSpPr>
          <p:sp>
            <p:nvSpPr>
              <p:cNvPr id="2767" name="Vrije vorm: vorm 2766">
                <a:extLst>
                  <a:ext uri="{FF2B5EF4-FFF2-40B4-BE49-F238E27FC236}">
                    <a16:creationId xmlns:a16="http://schemas.microsoft.com/office/drawing/2014/main" id="{E9A874AA-3FFD-45A1-A38D-495A3A7A60A9}"/>
                  </a:ext>
                </a:extLst>
              </p:cNvPr>
              <p:cNvSpPr/>
              <p:nvPr/>
            </p:nvSpPr>
            <p:spPr>
              <a:xfrm>
                <a:off x="5714480" y="5078510"/>
                <a:ext cx="31219" cy="151491"/>
              </a:xfrm>
              <a:custGeom>
                <a:avLst/>
                <a:gdLst>
                  <a:gd name="connsiteX0" fmla="*/ 31219 w 31219"/>
                  <a:gd name="connsiteY0" fmla="*/ 598 h 151491"/>
                  <a:gd name="connsiteX1" fmla="*/ 2990 w 31219"/>
                  <a:gd name="connsiteY1" fmla="*/ 151492 h 151491"/>
                  <a:gd name="connsiteX2" fmla="*/ 0 w 31219"/>
                  <a:gd name="connsiteY2" fmla="*/ 150893 h 151491"/>
                  <a:gd name="connsiteX3" fmla="*/ 28229 w 31219"/>
                  <a:gd name="connsiteY3" fmla="*/ 0 h 151491"/>
                </a:gdLst>
                <a:ahLst/>
                <a:cxnLst>
                  <a:cxn ang="0">
                    <a:pos x="connsiteX0" y="connsiteY0"/>
                  </a:cxn>
                  <a:cxn ang="0">
                    <a:pos x="connsiteX1" y="connsiteY1"/>
                  </a:cxn>
                  <a:cxn ang="0">
                    <a:pos x="connsiteX2" y="connsiteY2"/>
                  </a:cxn>
                  <a:cxn ang="0">
                    <a:pos x="connsiteX3" y="connsiteY3"/>
                  </a:cxn>
                </a:cxnLst>
                <a:rect l="l" t="t" r="r" b="b"/>
                <a:pathLst>
                  <a:path w="31219" h="151491">
                    <a:moveTo>
                      <a:pt x="31219" y="598"/>
                    </a:moveTo>
                    <a:lnTo>
                      <a:pt x="2990" y="151492"/>
                    </a:lnTo>
                    <a:lnTo>
                      <a:pt x="0" y="150893"/>
                    </a:lnTo>
                    <a:lnTo>
                      <a:pt x="28229" y="0"/>
                    </a:lnTo>
                    <a:close/>
                  </a:path>
                </a:pathLst>
              </a:custGeom>
              <a:grpFill/>
              <a:ln w="5978" cap="flat">
                <a:noFill/>
                <a:prstDash val="solid"/>
                <a:miter/>
              </a:ln>
            </p:spPr>
            <p:txBody>
              <a:bodyPr rtlCol="0" anchor="ctr"/>
              <a:lstStyle/>
              <a:p>
                <a:endParaRPr lang="en-GB"/>
              </a:p>
            </p:txBody>
          </p:sp>
          <p:sp>
            <p:nvSpPr>
              <p:cNvPr id="2768" name="Vrije vorm: vorm 2767">
                <a:extLst>
                  <a:ext uri="{FF2B5EF4-FFF2-40B4-BE49-F238E27FC236}">
                    <a16:creationId xmlns:a16="http://schemas.microsoft.com/office/drawing/2014/main" id="{D5E3EFF1-0946-4F6F-B0A9-DBF0B811A45D}"/>
                  </a:ext>
                </a:extLst>
              </p:cNvPr>
              <p:cNvSpPr/>
              <p:nvPr/>
            </p:nvSpPr>
            <p:spPr>
              <a:xfrm>
                <a:off x="5706898" y="5220025"/>
                <a:ext cx="18333" cy="18397"/>
              </a:xfrm>
              <a:custGeom>
                <a:avLst/>
                <a:gdLst>
                  <a:gd name="connsiteX0" fmla="*/ 18168 w 18333"/>
                  <a:gd name="connsiteY0" fmla="*/ 10933 h 18397"/>
                  <a:gd name="connsiteX1" fmla="*/ 7462 w 18333"/>
                  <a:gd name="connsiteY1" fmla="*/ 18230 h 18397"/>
                  <a:gd name="connsiteX2" fmla="*/ 166 w 18333"/>
                  <a:gd name="connsiteY2" fmla="*/ 7464 h 18397"/>
                  <a:gd name="connsiteX3" fmla="*/ 10871 w 18333"/>
                  <a:gd name="connsiteY3" fmla="*/ 168 h 18397"/>
                  <a:gd name="connsiteX4" fmla="*/ 18168 w 18333"/>
                  <a:gd name="connsiteY4" fmla="*/ 109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7">
                    <a:moveTo>
                      <a:pt x="18168" y="10933"/>
                    </a:moveTo>
                    <a:cubicBezTo>
                      <a:pt x="17211" y="15957"/>
                      <a:pt x="12426" y="19186"/>
                      <a:pt x="7462" y="18230"/>
                    </a:cubicBezTo>
                    <a:cubicBezTo>
                      <a:pt x="2498" y="17273"/>
                      <a:pt x="-791" y="12428"/>
                      <a:pt x="166" y="7464"/>
                    </a:cubicBezTo>
                    <a:cubicBezTo>
                      <a:pt x="1123" y="2440"/>
                      <a:pt x="5907" y="-789"/>
                      <a:pt x="10871" y="168"/>
                    </a:cubicBezTo>
                    <a:cubicBezTo>
                      <a:pt x="15835" y="1125"/>
                      <a:pt x="19125" y="5969"/>
                      <a:pt x="18168" y="10933"/>
                    </a:cubicBezTo>
                    <a:close/>
                  </a:path>
                </a:pathLst>
              </a:custGeom>
              <a:grpFill/>
              <a:ln w="5978" cap="flat">
                <a:noFill/>
                <a:prstDash val="solid"/>
                <a:miter/>
              </a:ln>
            </p:spPr>
            <p:txBody>
              <a:bodyPr rtlCol="0" anchor="ctr"/>
              <a:lstStyle/>
              <a:p>
                <a:endParaRPr lang="en-GB"/>
              </a:p>
            </p:txBody>
          </p:sp>
          <p:sp>
            <p:nvSpPr>
              <p:cNvPr id="2769" name="Vrije vorm: vorm 2768">
                <a:extLst>
                  <a:ext uri="{FF2B5EF4-FFF2-40B4-BE49-F238E27FC236}">
                    <a16:creationId xmlns:a16="http://schemas.microsoft.com/office/drawing/2014/main" id="{40B8AF0C-69B3-4076-B55D-CF11D7F5372B}"/>
                  </a:ext>
                </a:extLst>
              </p:cNvPr>
              <p:cNvSpPr/>
              <p:nvPr/>
            </p:nvSpPr>
            <p:spPr>
              <a:xfrm>
                <a:off x="5735007" y="5070091"/>
                <a:ext cx="18333" cy="18393"/>
              </a:xfrm>
              <a:custGeom>
                <a:avLst/>
                <a:gdLst>
                  <a:gd name="connsiteX0" fmla="*/ 18168 w 18333"/>
                  <a:gd name="connsiteY0" fmla="*/ 10931 h 18393"/>
                  <a:gd name="connsiteX1" fmla="*/ 10871 w 18333"/>
                  <a:gd name="connsiteY1" fmla="*/ 166 h 18393"/>
                  <a:gd name="connsiteX2" fmla="*/ 166 w 18333"/>
                  <a:gd name="connsiteY2" fmla="*/ 7462 h 18393"/>
                  <a:gd name="connsiteX3" fmla="*/ 7462 w 18333"/>
                  <a:gd name="connsiteY3" fmla="*/ 18227 h 18393"/>
                  <a:gd name="connsiteX4" fmla="*/ 18168 w 18333"/>
                  <a:gd name="connsiteY4" fmla="*/ 10931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8168" y="10931"/>
                    </a:moveTo>
                    <a:cubicBezTo>
                      <a:pt x="19124" y="5907"/>
                      <a:pt x="15835" y="1123"/>
                      <a:pt x="10871" y="166"/>
                    </a:cubicBezTo>
                    <a:cubicBezTo>
                      <a:pt x="5907" y="-791"/>
                      <a:pt x="1123" y="2498"/>
                      <a:pt x="166" y="7462"/>
                    </a:cubicBezTo>
                    <a:cubicBezTo>
                      <a:pt x="-791" y="12486"/>
                      <a:pt x="2498" y="17270"/>
                      <a:pt x="7462" y="18227"/>
                    </a:cubicBezTo>
                    <a:cubicBezTo>
                      <a:pt x="12426" y="19184"/>
                      <a:pt x="17211" y="15895"/>
                      <a:pt x="18168" y="10931"/>
                    </a:cubicBezTo>
                    <a:close/>
                  </a:path>
                </a:pathLst>
              </a:custGeom>
              <a:grpFill/>
              <a:ln w="5978" cap="flat">
                <a:noFill/>
                <a:prstDash val="solid"/>
                <a:miter/>
              </a:ln>
            </p:spPr>
            <p:txBody>
              <a:bodyPr rtlCol="0" anchor="ctr"/>
              <a:lstStyle/>
              <a:p>
                <a:endParaRPr lang="en-GB"/>
              </a:p>
            </p:txBody>
          </p:sp>
        </p:grpSp>
        <p:grpSp>
          <p:nvGrpSpPr>
            <p:cNvPr id="878" name="Graphic 3">
              <a:extLst>
                <a:ext uri="{FF2B5EF4-FFF2-40B4-BE49-F238E27FC236}">
                  <a16:creationId xmlns:a16="http://schemas.microsoft.com/office/drawing/2014/main" id="{94E59EE1-AA8B-43C9-8E52-1C4B5DDD17A8}"/>
                </a:ext>
              </a:extLst>
            </p:cNvPr>
            <p:cNvGrpSpPr/>
            <p:nvPr/>
          </p:nvGrpSpPr>
          <p:grpSpPr>
            <a:xfrm>
              <a:off x="5871450" y="5458912"/>
              <a:ext cx="41732" cy="336171"/>
              <a:chOff x="5871450" y="5458912"/>
              <a:chExt cx="41732" cy="336171"/>
            </a:xfrm>
            <a:grpFill/>
          </p:grpSpPr>
          <p:sp>
            <p:nvSpPr>
              <p:cNvPr id="2764" name="Vrije vorm: vorm 2763">
                <a:extLst>
                  <a:ext uri="{FF2B5EF4-FFF2-40B4-BE49-F238E27FC236}">
                    <a16:creationId xmlns:a16="http://schemas.microsoft.com/office/drawing/2014/main" id="{5BFDCD19-825E-4C3E-ABDA-3C6A541C2735}"/>
                  </a:ext>
                </a:extLst>
              </p:cNvPr>
              <p:cNvSpPr/>
              <p:nvPr/>
            </p:nvSpPr>
            <p:spPr>
              <a:xfrm>
                <a:off x="5879069" y="5467616"/>
                <a:ext cx="26494" cy="318772"/>
              </a:xfrm>
              <a:custGeom>
                <a:avLst/>
                <a:gdLst>
                  <a:gd name="connsiteX0" fmla="*/ 26495 w 26494"/>
                  <a:gd name="connsiteY0" fmla="*/ 239 h 318772"/>
                  <a:gd name="connsiteX1" fmla="*/ 3050 w 26494"/>
                  <a:gd name="connsiteY1" fmla="*/ 318772 h 318772"/>
                  <a:gd name="connsiteX2" fmla="*/ 0 w 26494"/>
                  <a:gd name="connsiteY2" fmla="*/ 318533 h 318772"/>
                  <a:gd name="connsiteX3" fmla="*/ 23444 w 26494"/>
                  <a:gd name="connsiteY3" fmla="*/ 0 h 318772"/>
                </a:gdLst>
                <a:ahLst/>
                <a:cxnLst>
                  <a:cxn ang="0">
                    <a:pos x="connsiteX0" y="connsiteY0"/>
                  </a:cxn>
                  <a:cxn ang="0">
                    <a:pos x="connsiteX1" y="connsiteY1"/>
                  </a:cxn>
                  <a:cxn ang="0">
                    <a:pos x="connsiteX2" y="connsiteY2"/>
                  </a:cxn>
                  <a:cxn ang="0">
                    <a:pos x="connsiteX3" y="connsiteY3"/>
                  </a:cxn>
                </a:cxnLst>
                <a:rect l="l" t="t" r="r" b="b"/>
                <a:pathLst>
                  <a:path w="26494" h="318772">
                    <a:moveTo>
                      <a:pt x="26495" y="239"/>
                    </a:moveTo>
                    <a:lnTo>
                      <a:pt x="3050" y="318772"/>
                    </a:lnTo>
                    <a:lnTo>
                      <a:pt x="0" y="318533"/>
                    </a:lnTo>
                    <a:lnTo>
                      <a:pt x="23444" y="0"/>
                    </a:lnTo>
                    <a:close/>
                  </a:path>
                </a:pathLst>
              </a:custGeom>
              <a:grpFill/>
              <a:ln w="5978" cap="flat">
                <a:noFill/>
                <a:prstDash val="solid"/>
                <a:miter/>
              </a:ln>
            </p:spPr>
            <p:txBody>
              <a:bodyPr rtlCol="0" anchor="ctr"/>
              <a:lstStyle/>
              <a:p>
                <a:endParaRPr lang="en-GB"/>
              </a:p>
            </p:txBody>
          </p:sp>
          <p:sp>
            <p:nvSpPr>
              <p:cNvPr id="2765" name="Vrije vorm: vorm 2764">
                <a:extLst>
                  <a:ext uri="{FF2B5EF4-FFF2-40B4-BE49-F238E27FC236}">
                    <a16:creationId xmlns:a16="http://schemas.microsoft.com/office/drawing/2014/main" id="{5814B962-4CF9-4828-AD87-9333B5BC4BD4}"/>
                  </a:ext>
                </a:extLst>
              </p:cNvPr>
              <p:cNvSpPr/>
              <p:nvPr/>
            </p:nvSpPr>
            <p:spPr>
              <a:xfrm>
                <a:off x="5871450" y="5776616"/>
                <a:ext cx="18347" cy="18467"/>
              </a:xfrm>
              <a:custGeom>
                <a:avLst/>
                <a:gdLst>
                  <a:gd name="connsiteX0" fmla="*/ 18324 w 18347"/>
                  <a:gd name="connsiteY0" fmla="*/ 9952 h 18467"/>
                  <a:gd name="connsiteX1" fmla="*/ 8516 w 18347"/>
                  <a:gd name="connsiteY1" fmla="*/ 18444 h 18467"/>
                  <a:gd name="connsiteX2" fmla="*/ 23 w 18347"/>
                  <a:gd name="connsiteY2" fmla="*/ 8517 h 18467"/>
                  <a:gd name="connsiteX3" fmla="*/ 9831 w 18347"/>
                  <a:gd name="connsiteY3" fmla="*/ 24 h 18467"/>
                  <a:gd name="connsiteX4" fmla="*/ 18324 w 18347"/>
                  <a:gd name="connsiteY4" fmla="*/ 995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67">
                    <a:moveTo>
                      <a:pt x="18324" y="9952"/>
                    </a:moveTo>
                    <a:cubicBezTo>
                      <a:pt x="17966" y="15035"/>
                      <a:pt x="13539" y="18803"/>
                      <a:pt x="8516" y="18444"/>
                    </a:cubicBezTo>
                    <a:cubicBezTo>
                      <a:pt x="3492" y="18026"/>
                      <a:pt x="-336" y="13600"/>
                      <a:pt x="23" y="8517"/>
                    </a:cubicBezTo>
                    <a:cubicBezTo>
                      <a:pt x="382" y="3433"/>
                      <a:pt x="4808" y="-335"/>
                      <a:pt x="9831" y="24"/>
                    </a:cubicBezTo>
                    <a:cubicBezTo>
                      <a:pt x="14915" y="442"/>
                      <a:pt x="18683" y="4868"/>
                      <a:pt x="18324" y="9952"/>
                    </a:cubicBezTo>
                    <a:close/>
                  </a:path>
                </a:pathLst>
              </a:custGeom>
              <a:grpFill/>
              <a:ln w="5978" cap="flat">
                <a:noFill/>
                <a:prstDash val="solid"/>
                <a:miter/>
              </a:ln>
            </p:spPr>
            <p:txBody>
              <a:bodyPr rtlCol="0" anchor="ctr"/>
              <a:lstStyle/>
              <a:p>
                <a:endParaRPr lang="en-GB"/>
              </a:p>
            </p:txBody>
          </p:sp>
          <p:sp>
            <p:nvSpPr>
              <p:cNvPr id="2766" name="Vrije vorm: vorm 2765">
                <a:extLst>
                  <a:ext uri="{FF2B5EF4-FFF2-40B4-BE49-F238E27FC236}">
                    <a16:creationId xmlns:a16="http://schemas.microsoft.com/office/drawing/2014/main" id="{0D8EADB3-1FFE-4177-A056-FE27BCA41105}"/>
                  </a:ext>
                </a:extLst>
              </p:cNvPr>
              <p:cNvSpPr/>
              <p:nvPr/>
            </p:nvSpPr>
            <p:spPr>
              <a:xfrm>
                <a:off x="5894835" y="5458912"/>
                <a:ext cx="18348" cy="18483"/>
              </a:xfrm>
              <a:custGeom>
                <a:avLst/>
                <a:gdLst>
                  <a:gd name="connsiteX0" fmla="*/ 18325 w 18348"/>
                  <a:gd name="connsiteY0" fmla="*/ 9960 h 18483"/>
                  <a:gd name="connsiteX1" fmla="*/ 9832 w 18348"/>
                  <a:gd name="connsiteY1" fmla="*/ 31 h 18483"/>
                  <a:gd name="connsiteX2" fmla="*/ 24 w 18348"/>
                  <a:gd name="connsiteY2" fmla="*/ 8524 h 18483"/>
                  <a:gd name="connsiteX3" fmla="*/ 8516 w 18348"/>
                  <a:gd name="connsiteY3" fmla="*/ 18452 h 18483"/>
                  <a:gd name="connsiteX4" fmla="*/ 18325 w 18348"/>
                  <a:gd name="connsiteY4" fmla="*/ 9960 h 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83">
                    <a:moveTo>
                      <a:pt x="18325" y="9960"/>
                    </a:moveTo>
                    <a:cubicBezTo>
                      <a:pt x="18683" y="4876"/>
                      <a:pt x="14916" y="450"/>
                      <a:pt x="9832" y="31"/>
                    </a:cubicBezTo>
                    <a:cubicBezTo>
                      <a:pt x="4808" y="-387"/>
                      <a:pt x="382" y="3440"/>
                      <a:pt x="24" y="8524"/>
                    </a:cubicBezTo>
                    <a:cubicBezTo>
                      <a:pt x="-335" y="13608"/>
                      <a:pt x="3433" y="18033"/>
                      <a:pt x="8516" y="18452"/>
                    </a:cubicBezTo>
                    <a:cubicBezTo>
                      <a:pt x="13540" y="18871"/>
                      <a:pt x="17966" y="15043"/>
                      <a:pt x="18325" y="9960"/>
                    </a:cubicBezTo>
                    <a:close/>
                  </a:path>
                </a:pathLst>
              </a:custGeom>
              <a:grpFill/>
              <a:ln w="5978" cap="flat">
                <a:noFill/>
                <a:prstDash val="solid"/>
                <a:miter/>
              </a:ln>
            </p:spPr>
            <p:txBody>
              <a:bodyPr rtlCol="0" anchor="ctr"/>
              <a:lstStyle/>
              <a:p>
                <a:endParaRPr lang="en-GB"/>
              </a:p>
            </p:txBody>
          </p:sp>
        </p:grpSp>
        <p:grpSp>
          <p:nvGrpSpPr>
            <p:cNvPr id="879" name="Graphic 3">
              <a:extLst>
                <a:ext uri="{FF2B5EF4-FFF2-40B4-BE49-F238E27FC236}">
                  <a16:creationId xmlns:a16="http://schemas.microsoft.com/office/drawing/2014/main" id="{8B4DFB7B-8BC5-4619-9978-1FD581A599F5}"/>
                </a:ext>
              </a:extLst>
            </p:cNvPr>
            <p:cNvGrpSpPr/>
            <p:nvPr/>
          </p:nvGrpSpPr>
          <p:grpSpPr>
            <a:xfrm>
              <a:off x="4613727" y="1930444"/>
              <a:ext cx="56556" cy="57857"/>
              <a:chOff x="4613727" y="1930444"/>
              <a:chExt cx="56556" cy="57857"/>
            </a:xfrm>
            <a:grpFill/>
          </p:grpSpPr>
          <p:sp>
            <p:nvSpPr>
              <p:cNvPr id="2761" name="Vrije vorm: vorm 2760">
                <a:extLst>
                  <a:ext uri="{FF2B5EF4-FFF2-40B4-BE49-F238E27FC236}">
                    <a16:creationId xmlns:a16="http://schemas.microsoft.com/office/drawing/2014/main" id="{85252EED-16FD-41CD-B75F-027F02087F22}"/>
                  </a:ext>
                </a:extLst>
              </p:cNvPr>
              <p:cNvSpPr/>
              <p:nvPr/>
            </p:nvSpPr>
            <p:spPr>
              <a:xfrm>
                <a:off x="4621503" y="1938272"/>
                <a:ext cx="41027" cy="42164"/>
              </a:xfrm>
              <a:custGeom>
                <a:avLst/>
                <a:gdLst>
                  <a:gd name="connsiteX0" fmla="*/ 41028 w 41027"/>
                  <a:gd name="connsiteY0" fmla="*/ 40071 h 42164"/>
                  <a:gd name="connsiteX1" fmla="*/ 38875 w 41027"/>
                  <a:gd name="connsiteY1" fmla="*/ 42164 h 42164"/>
                  <a:gd name="connsiteX2" fmla="*/ 0 w 41027"/>
                  <a:gd name="connsiteY2" fmla="*/ 2093 h 42164"/>
                  <a:gd name="connsiteX3" fmla="*/ 2213 w 41027"/>
                  <a:gd name="connsiteY3" fmla="*/ 0 h 42164"/>
                </a:gdLst>
                <a:ahLst/>
                <a:cxnLst>
                  <a:cxn ang="0">
                    <a:pos x="connsiteX0" y="connsiteY0"/>
                  </a:cxn>
                  <a:cxn ang="0">
                    <a:pos x="connsiteX1" y="connsiteY1"/>
                  </a:cxn>
                  <a:cxn ang="0">
                    <a:pos x="connsiteX2" y="connsiteY2"/>
                  </a:cxn>
                  <a:cxn ang="0">
                    <a:pos x="connsiteX3" y="connsiteY3"/>
                  </a:cxn>
                </a:cxnLst>
                <a:rect l="l" t="t" r="r" b="b"/>
                <a:pathLst>
                  <a:path w="41027" h="42164">
                    <a:moveTo>
                      <a:pt x="41028" y="40071"/>
                    </a:moveTo>
                    <a:lnTo>
                      <a:pt x="38875" y="42164"/>
                    </a:lnTo>
                    <a:lnTo>
                      <a:pt x="0" y="2093"/>
                    </a:lnTo>
                    <a:lnTo>
                      <a:pt x="2213" y="0"/>
                    </a:lnTo>
                    <a:close/>
                  </a:path>
                </a:pathLst>
              </a:custGeom>
              <a:grpFill/>
              <a:ln w="5978" cap="flat">
                <a:noFill/>
                <a:prstDash val="solid"/>
                <a:miter/>
              </a:ln>
            </p:spPr>
            <p:txBody>
              <a:bodyPr rtlCol="0" anchor="ctr"/>
              <a:lstStyle/>
              <a:p>
                <a:endParaRPr lang="en-GB"/>
              </a:p>
            </p:txBody>
          </p:sp>
          <p:sp>
            <p:nvSpPr>
              <p:cNvPr id="2762" name="Vrije vorm: vorm 2761">
                <a:extLst>
                  <a:ext uri="{FF2B5EF4-FFF2-40B4-BE49-F238E27FC236}">
                    <a16:creationId xmlns:a16="http://schemas.microsoft.com/office/drawing/2014/main" id="{29CEC16D-F32D-4D12-984F-774B391CA4B6}"/>
                  </a:ext>
                </a:extLst>
              </p:cNvPr>
              <p:cNvSpPr/>
              <p:nvPr/>
            </p:nvSpPr>
            <p:spPr>
              <a:xfrm>
                <a:off x="4651966" y="1969857"/>
                <a:ext cx="18316" cy="18444"/>
              </a:xfrm>
              <a:custGeom>
                <a:avLst/>
                <a:gdLst>
                  <a:gd name="connsiteX0" fmla="*/ 15707 w 18316"/>
                  <a:gd name="connsiteY0" fmla="*/ 2805 h 18444"/>
                  <a:gd name="connsiteX1" fmla="*/ 15588 w 18316"/>
                  <a:gd name="connsiteY1" fmla="*/ 15843 h 18444"/>
                  <a:gd name="connsiteX2" fmla="*/ 2610 w 18316"/>
                  <a:gd name="connsiteY2" fmla="*/ 15663 h 18444"/>
                  <a:gd name="connsiteX3" fmla="*/ 2729 w 18316"/>
                  <a:gd name="connsiteY3" fmla="*/ 2625 h 18444"/>
                  <a:gd name="connsiteX4" fmla="*/ 15707 w 18316"/>
                  <a:gd name="connsiteY4" fmla="*/ 280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15707" y="2805"/>
                    </a:moveTo>
                    <a:cubicBezTo>
                      <a:pt x="19236" y="6453"/>
                      <a:pt x="19176" y="12314"/>
                      <a:pt x="15588" y="15843"/>
                    </a:cubicBezTo>
                    <a:cubicBezTo>
                      <a:pt x="11999" y="19371"/>
                      <a:pt x="6138" y="19311"/>
                      <a:pt x="2610" y="15663"/>
                    </a:cubicBezTo>
                    <a:cubicBezTo>
                      <a:pt x="-919" y="12015"/>
                      <a:pt x="-859" y="6154"/>
                      <a:pt x="2729" y="2625"/>
                    </a:cubicBezTo>
                    <a:cubicBezTo>
                      <a:pt x="6377" y="-963"/>
                      <a:pt x="12179" y="-844"/>
                      <a:pt x="15707" y="2805"/>
                    </a:cubicBezTo>
                    <a:close/>
                  </a:path>
                </a:pathLst>
              </a:custGeom>
              <a:grpFill/>
              <a:ln w="5978" cap="flat">
                <a:noFill/>
                <a:prstDash val="solid"/>
                <a:miter/>
              </a:ln>
            </p:spPr>
            <p:txBody>
              <a:bodyPr rtlCol="0" anchor="ctr"/>
              <a:lstStyle/>
              <a:p>
                <a:endParaRPr lang="en-GB"/>
              </a:p>
            </p:txBody>
          </p:sp>
          <p:sp>
            <p:nvSpPr>
              <p:cNvPr id="2763" name="Vrije vorm: vorm 2762">
                <a:extLst>
                  <a:ext uri="{FF2B5EF4-FFF2-40B4-BE49-F238E27FC236}">
                    <a16:creationId xmlns:a16="http://schemas.microsoft.com/office/drawing/2014/main" id="{3CE68874-E8B0-41EA-AA5D-9C6B0F6AA44C}"/>
                  </a:ext>
                </a:extLst>
              </p:cNvPr>
              <p:cNvSpPr/>
              <p:nvPr/>
            </p:nvSpPr>
            <p:spPr>
              <a:xfrm>
                <a:off x="4613727" y="1930444"/>
                <a:ext cx="18339" cy="18444"/>
              </a:xfrm>
              <a:custGeom>
                <a:avLst/>
                <a:gdLst>
                  <a:gd name="connsiteX0" fmla="*/ 15730 w 18339"/>
                  <a:gd name="connsiteY0" fmla="*/ 2805 h 18444"/>
                  <a:gd name="connsiteX1" fmla="*/ 2752 w 18339"/>
                  <a:gd name="connsiteY1" fmla="*/ 2625 h 18444"/>
                  <a:gd name="connsiteX2" fmla="*/ 2632 w 18339"/>
                  <a:gd name="connsiteY2" fmla="*/ 15663 h 18444"/>
                  <a:gd name="connsiteX3" fmla="*/ 15611 w 18339"/>
                  <a:gd name="connsiteY3" fmla="*/ 15843 h 18444"/>
                  <a:gd name="connsiteX4" fmla="*/ 15730 w 18339"/>
                  <a:gd name="connsiteY4" fmla="*/ 280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44">
                    <a:moveTo>
                      <a:pt x="15730" y="2805"/>
                    </a:moveTo>
                    <a:cubicBezTo>
                      <a:pt x="12201" y="-844"/>
                      <a:pt x="6400" y="-963"/>
                      <a:pt x="2752" y="2625"/>
                    </a:cubicBezTo>
                    <a:cubicBezTo>
                      <a:pt x="-836" y="6154"/>
                      <a:pt x="-956" y="12015"/>
                      <a:pt x="2632" y="15663"/>
                    </a:cubicBezTo>
                    <a:cubicBezTo>
                      <a:pt x="6161" y="19311"/>
                      <a:pt x="11962" y="19371"/>
                      <a:pt x="15611" y="15843"/>
                    </a:cubicBezTo>
                    <a:cubicBezTo>
                      <a:pt x="19199" y="12254"/>
                      <a:pt x="19259" y="6453"/>
                      <a:pt x="15730" y="2805"/>
                    </a:cubicBezTo>
                    <a:close/>
                  </a:path>
                </a:pathLst>
              </a:custGeom>
              <a:grpFill/>
              <a:ln w="5978" cap="flat">
                <a:noFill/>
                <a:prstDash val="solid"/>
                <a:miter/>
              </a:ln>
            </p:spPr>
            <p:txBody>
              <a:bodyPr rtlCol="0" anchor="ctr"/>
              <a:lstStyle/>
              <a:p>
                <a:endParaRPr lang="en-GB"/>
              </a:p>
            </p:txBody>
          </p:sp>
        </p:grpSp>
        <p:grpSp>
          <p:nvGrpSpPr>
            <p:cNvPr id="880" name="Graphic 3">
              <a:extLst>
                <a:ext uri="{FF2B5EF4-FFF2-40B4-BE49-F238E27FC236}">
                  <a16:creationId xmlns:a16="http://schemas.microsoft.com/office/drawing/2014/main" id="{CA2F146A-A38A-4348-9AD3-8BA2FD8BE483}"/>
                </a:ext>
              </a:extLst>
            </p:cNvPr>
            <p:cNvGrpSpPr/>
            <p:nvPr/>
          </p:nvGrpSpPr>
          <p:grpSpPr>
            <a:xfrm>
              <a:off x="4632290" y="2002714"/>
              <a:ext cx="103624" cy="103249"/>
              <a:chOff x="4632290" y="2002714"/>
              <a:chExt cx="103624" cy="103249"/>
            </a:xfrm>
            <a:grpFill/>
          </p:grpSpPr>
          <p:sp>
            <p:nvSpPr>
              <p:cNvPr id="2758" name="Vrije vorm: vorm 2757">
                <a:extLst>
                  <a:ext uri="{FF2B5EF4-FFF2-40B4-BE49-F238E27FC236}">
                    <a16:creationId xmlns:a16="http://schemas.microsoft.com/office/drawing/2014/main" id="{67B5B1C9-C32A-40EA-9932-1CE5C6380864}"/>
                  </a:ext>
                </a:extLst>
              </p:cNvPr>
              <p:cNvSpPr/>
              <p:nvPr/>
            </p:nvSpPr>
            <p:spPr>
              <a:xfrm>
                <a:off x="4640043" y="2010519"/>
                <a:ext cx="88095" cy="87617"/>
              </a:xfrm>
              <a:custGeom>
                <a:avLst/>
                <a:gdLst>
                  <a:gd name="connsiteX0" fmla="*/ 88096 w 88095"/>
                  <a:gd name="connsiteY0" fmla="*/ 85464 h 87617"/>
                  <a:gd name="connsiteX1" fmla="*/ 85943 w 88095"/>
                  <a:gd name="connsiteY1" fmla="*/ 87618 h 87617"/>
                  <a:gd name="connsiteX2" fmla="*/ 0 w 88095"/>
                  <a:gd name="connsiteY2" fmla="*/ 2153 h 87617"/>
                  <a:gd name="connsiteX3" fmla="*/ 2153 w 88095"/>
                  <a:gd name="connsiteY3" fmla="*/ 0 h 87617"/>
                </a:gdLst>
                <a:ahLst/>
                <a:cxnLst>
                  <a:cxn ang="0">
                    <a:pos x="connsiteX0" y="connsiteY0"/>
                  </a:cxn>
                  <a:cxn ang="0">
                    <a:pos x="connsiteX1" y="connsiteY1"/>
                  </a:cxn>
                  <a:cxn ang="0">
                    <a:pos x="connsiteX2" y="connsiteY2"/>
                  </a:cxn>
                  <a:cxn ang="0">
                    <a:pos x="connsiteX3" y="connsiteY3"/>
                  </a:cxn>
                </a:cxnLst>
                <a:rect l="l" t="t" r="r" b="b"/>
                <a:pathLst>
                  <a:path w="88095" h="87617">
                    <a:moveTo>
                      <a:pt x="88096" y="85464"/>
                    </a:moveTo>
                    <a:lnTo>
                      <a:pt x="85943" y="87618"/>
                    </a:lnTo>
                    <a:lnTo>
                      <a:pt x="0" y="2153"/>
                    </a:lnTo>
                    <a:lnTo>
                      <a:pt x="2153" y="0"/>
                    </a:lnTo>
                    <a:close/>
                  </a:path>
                </a:pathLst>
              </a:custGeom>
              <a:grpFill/>
              <a:ln w="5978" cap="flat">
                <a:noFill/>
                <a:prstDash val="solid"/>
                <a:miter/>
              </a:ln>
            </p:spPr>
            <p:txBody>
              <a:bodyPr rtlCol="0" anchor="ctr"/>
              <a:lstStyle/>
              <a:p>
                <a:endParaRPr lang="en-GB"/>
              </a:p>
            </p:txBody>
          </p:sp>
          <p:sp>
            <p:nvSpPr>
              <p:cNvPr id="2759" name="Vrije vorm: vorm 2758">
                <a:extLst>
                  <a:ext uri="{FF2B5EF4-FFF2-40B4-BE49-F238E27FC236}">
                    <a16:creationId xmlns:a16="http://schemas.microsoft.com/office/drawing/2014/main" id="{4CF9E6FB-449F-48B6-BED4-2491B1E50972}"/>
                  </a:ext>
                </a:extLst>
              </p:cNvPr>
              <p:cNvSpPr/>
              <p:nvPr/>
            </p:nvSpPr>
            <p:spPr>
              <a:xfrm>
                <a:off x="4632290" y="2002714"/>
                <a:ext cx="18316" cy="18420"/>
              </a:xfrm>
              <a:custGeom>
                <a:avLst/>
                <a:gdLst>
                  <a:gd name="connsiteX0" fmla="*/ 2729 w 18316"/>
                  <a:gd name="connsiteY0" fmla="*/ 15759 h 18420"/>
                  <a:gd name="connsiteX1" fmla="*/ 2610 w 18316"/>
                  <a:gd name="connsiteY1" fmla="*/ 2721 h 18420"/>
                  <a:gd name="connsiteX2" fmla="*/ 15588 w 18316"/>
                  <a:gd name="connsiteY2" fmla="*/ 2662 h 18420"/>
                  <a:gd name="connsiteX3" fmla="*/ 15707 w 18316"/>
                  <a:gd name="connsiteY3" fmla="*/ 15700 h 18420"/>
                  <a:gd name="connsiteX4" fmla="*/ 2729 w 18316"/>
                  <a:gd name="connsiteY4" fmla="*/ 1575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0">
                    <a:moveTo>
                      <a:pt x="2729" y="15759"/>
                    </a:moveTo>
                    <a:cubicBezTo>
                      <a:pt x="-859" y="12171"/>
                      <a:pt x="-919" y="6370"/>
                      <a:pt x="2610" y="2721"/>
                    </a:cubicBezTo>
                    <a:cubicBezTo>
                      <a:pt x="6138" y="-867"/>
                      <a:pt x="11940" y="-927"/>
                      <a:pt x="15588" y="2662"/>
                    </a:cubicBezTo>
                    <a:cubicBezTo>
                      <a:pt x="19176" y="6250"/>
                      <a:pt x="19236" y="12051"/>
                      <a:pt x="15707" y="15700"/>
                    </a:cubicBezTo>
                    <a:cubicBezTo>
                      <a:pt x="12119" y="19288"/>
                      <a:pt x="6318" y="19348"/>
                      <a:pt x="2729" y="15759"/>
                    </a:cubicBezTo>
                    <a:close/>
                  </a:path>
                </a:pathLst>
              </a:custGeom>
              <a:grpFill/>
              <a:ln w="5978" cap="flat">
                <a:noFill/>
                <a:prstDash val="solid"/>
                <a:miter/>
              </a:ln>
            </p:spPr>
            <p:txBody>
              <a:bodyPr rtlCol="0" anchor="ctr"/>
              <a:lstStyle/>
              <a:p>
                <a:endParaRPr lang="en-GB"/>
              </a:p>
            </p:txBody>
          </p:sp>
          <p:sp>
            <p:nvSpPr>
              <p:cNvPr id="2760" name="Vrije vorm: vorm 2759">
                <a:extLst>
                  <a:ext uri="{FF2B5EF4-FFF2-40B4-BE49-F238E27FC236}">
                    <a16:creationId xmlns:a16="http://schemas.microsoft.com/office/drawing/2014/main" id="{697D07BB-E1E6-423B-AA0A-E596BD85AD0F}"/>
                  </a:ext>
                </a:extLst>
              </p:cNvPr>
              <p:cNvSpPr/>
              <p:nvPr/>
            </p:nvSpPr>
            <p:spPr>
              <a:xfrm>
                <a:off x="4717575" y="2087499"/>
                <a:ext cx="18338" cy="18465"/>
              </a:xfrm>
              <a:custGeom>
                <a:avLst/>
                <a:gdLst>
                  <a:gd name="connsiteX0" fmla="*/ 2729 w 18338"/>
                  <a:gd name="connsiteY0" fmla="*/ 15782 h 18465"/>
                  <a:gd name="connsiteX1" fmla="*/ 15707 w 18338"/>
                  <a:gd name="connsiteY1" fmla="*/ 15722 h 18465"/>
                  <a:gd name="connsiteX2" fmla="*/ 15588 w 18338"/>
                  <a:gd name="connsiteY2" fmla="*/ 2684 h 18465"/>
                  <a:gd name="connsiteX3" fmla="*/ 2610 w 18338"/>
                  <a:gd name="connsiteY3" fmla="*/ 2744 h 18465"/>
                  <a:gd name="connsiteX4" fmla="*/ 2729 w 18338"/>
                  <a:gd name="connsiteY4" fmla="*/ 1578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5">
                    <a:moveTo>
                      <a:pt x="2729" y="15782"/>
                    </a:moveTo>
                    <a:cubicBezTo>
                      <a:pt x="6318" y="19370"/>
                      <a:pt x="12119" y="19370"/>
                      <a:pt x="15707" y="15722"/>
                    </a:cubicBezTo>
                    <a:cubicBezTo>
                      <a:pt x="19236" y="12133"/>
                      <a:pt x="19236" y="6272"/>
                      <a:pt x="15588" y="2684"/>
                    </a:cubicBezTo>
                    <a:cubicBezTo>
                      <a:pt x="11999" y="-905"/>
                      <a:pt x="6198" y="-905"/>
                      <a:pt x="2610" y="2744"/>
                    </a:cubicBezTo>
                    <a:cubicBezTo>
                      <a:pt x="-919" y="6332"/>
                      <a:pt x="-859" y="12193"/>
                      <a:pt x="2729" y="15782"/>
                    </a:cubicBezTo>
                    <a:close/>
                  </a:path>
                </a:pathLst>
              </a:custGeom>
              <a:grpFill/>
              <a:ln w="5978" cap="flat">
                <a:noFill/>
                <a:prstDash val="solid"/>
                <a:miter/>
              </a:ln>
            </p:spPr>
            <p:txBody>
              <a:bodyPr rtlCol="0" anchor="ctr"/>
              <a:lstStyle/>
              <a:p>
                <a:endParaRPr lang="en-GB"/>
              </a:p>
            </p:txBody>
          </p:sp>
        </p:grpSp>
        <p:grpSp>
          <p:nvGrpSpPr>
            <p:cNvPr id="881" name="Graphic 3">
              <a:extLst>
                <a:ext uri="{FF2B5EF4-FFF2-40B4-BE49-F238E27FC236}">
                  <a16:creationId xmlns:a16="http://schemas.microsoft.com/office/drawing/2014/main" id="{E0E3DE5B-CEFC-46FF-9281-565050637E91}"/>
                </a:ext>
              </a:extLst>
            </p:cNvPr>
            <p:cNvGrpSpPr/>
            <p:nvPr/>
          </p:nvGrpSpPr>
          <p:grpSpPr>
            <a:xfrm>
              <a:off x="5739094" y="5082908"/>
              <a:ext cx="138488" cy="707931"/>
              <a:chOff x="5739094" y="5082908"/>
              <a:chExt cx="138488" cy="707931"/>
            </a:xfrm>
            <a:grpFill/>
          </p:grpSpPr>
          <p:sp>
            <p:nvSpPr>
              <p:cNvPr id="2755" name="Vrije vorm: vorm 2754">
                <a:extLst>
                  <a:ext uri="{FF2B5EF4-FFF2-40B4-BE49-F238E27FC236}">
                    <a16:creationId xmlns:a16="http://schemas.microsoft.com/office/drawing/2014/main" id="{3EC55F2C-17DB-4256-88C1-806F90D142CD}"/>
                  </a:ext>
                </a:extLst>
              </p:cNvPr>
              <p:cNvSpPr/>
              <p:nvPr/>
            </p:nvSpPr>
            <p:spPr>
              <a:xfrm>
                <a:off x="5746656" y="5091369"/>
                <a:ext cx="123382" cy="690952"/>
              </a:xfrm>
              <a:custGeom>
                <a:avLst/>
                <a:gdLst>
                  <a:gd name="connsiteX0" fmla="*/ 123382 w 123382"/>
                  <a:gd name="connsiteY0" fmla="*/ 538 h 690952"/>
                  <a:gd name="connsiteX1" fmla="*/ 2990 w 123382"/>
                  <a:gd name="connsiteY1" fmla="*/ 690953 h 690952"/>
                  <a:gd name="connsiteX2" fmla="*/ 0 w 123382"/>
                  <a:gd name="connsiteY2" fmla="*/ 690415 h 690952"/>
                  <a:gd name="connsiteX3" fmla="*/ 120332 w 123382"/>
                  <a:gd name="connsiteY3" fmla="*/ 0 h 690952"/>
                </a:gdLst>
                <a:ahLst/>
                <a:cxnLst>
                  <a:cxn ang="0">
                    <a:pos x="connsiteX0" y="connsiteY0"/>
                  </a:cxn>
                  <a:cxn ang="0">
                    <a:pos x="connsiteX1" y="connsiteY1"/>
                  </a:cxn>
                  <a:cxn ang="0">
                    <a:pos x="connsiteX2" y="connsiteY2"/>
                  </a:cxn>
                  <a:cxn ang="0">
                    <a:pos x="connsiteX3" y="connsiteY3"/>
                  </a:cxn>
                </a:cxnLst>
                <a:rect l="l" t="t" r="r" b="b"/>
                <a:pathLst>
                  <a:path w="123382" h="690952">
                    <a:moveTo>
                      <a:pt x="123382" y="538"/>
                    </a:moveTo>
                    <a:lnTo>
                      <a:pt x="2990" y="690953"/>
                    </a:lnTo>
                    <a:lnTo>
                      <a:pt x="0" y="690415"/>
                    </a:lnTo>
                    <a:lnTo>
                      <a:pt x="120332" y="0"/>
                    </a:lnTo>
                    <a:close/>
                  </a:path>
                </a:pathLst>
              </a:custGeom>
              <a:grpFill/>
              <a:ln w="5978" cap="flat">
                <a:noFill/>
                <a:prstDash val="solid"/>
                <a:miter/>
              </a:ln>
            </p:spPr>
            <p:txBody>
              <a:bodyPr rtlCol="0" anchor="ctr"/>
              <a:lstStyle/>
              <a:p>
                <a:endParaRPr lang="en-GB"/>
              </a:p>
            </p:txBody>
          </p:sp>
          <p:sp>
            <p:nvSpPr>
              <p:cNvPr id="2756" name="Vrije vorm: vorm 2755">
                <a:extLst>
                  <a:ext uri="{FF2B5EF4-FFF2-40B4-BE49-F238E27FC236}">
                    <a16:creationId xmlns:a16="http://schemas.microsoft.com/office/drawing/2014/main" id="{4CD16B29-B79C-4C21-A771-CB822BB271B2}"/>
                  </a:ext>
                </a:extLst>
              </p:cNvPr>
              <p:cNvSpPr/>
              <p:nvPr/>
            </p:nvSpPr>
            <p:spPr>
              <a:xfrm>
                <a:off x="5859263" y="5082908"/>
                <a:ext cx="18320" cy="18416"/>
              </a:xfrm>
              <a:custGeom>
                <a:avLst/>
                <a:gdLst>
                  <a:gd name="connsiteX0" fmla="*/ 130 w 18320"/>
                  <a:gd name="connsiteY0" fmla="*/ 7563 h 18416"/>
                  <a:gd name="connsiteX1" fmla="*/ 10716 w 18320"/>
                  <a:gd name="connsiteY1" fmla="*/ 147 h 18416"/>
                  <a:gd name="connsiteX2" fmla="*/ 18192 w 18320"/>
                  <a:gd name="connsiteY2" fmla="*/ 10853 h 18416"/>
                  <a:gd name="connsiteX3" fmla="*/ 7606 w 18320"/>
                  <a:gd name="connsiteY3" fmla="*/ 18269 h 18416"/>
                  <a:gd name="connsiteX4" fmla="*/ 130 w 18320"/>
                  <a:gd name="connsiteY4" fmla="*/ 756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6">
                    <a:moveTo>
                      <a:pt x="130" y="7563"/>
                    </a:moveTo>
                    <a:cubicBezTo>
                      <a:pt x="1027" y="2539"/>
                      <a:pt x="5752" y="-750"/>
                      <a:pt x="10716" y="147"/>
                    </a:cubicBezTo>
                    <a:cubicBezTo>
                      <a:pt x="15680" y="1044"/>
                      <a:pt x="19029" y="5829"/>
                      <a:pt x="18192" y="10853"/>
                    </a:cubicBezTo>
                    <a:cubicBezTo>
                      <a:pt x="17295" y="15877"/>
                      <a:pt x="12570" y="19166"/>
                      <a:pt x="7606" y="18269"/>
                    </a:cubicBezTo>
                    <a:cubicBezTo>
                      <a:pt x="2582" y="17372"/>
                      <a:pt x="-707" y="12528"/>
                      <a:pt x="130" y="7563"/>
                    </a:cubicBezTo>
                    <a:close/>
                  </a:path>
                </a:pathLst>
              </a:custGeom>
              <a:grpFill/>
              <a:ln w="5978" cap="flat">
                <a:noFill/>
                <a:prstDash val="solid"/>
                <a:miter/>
              </a:ln>
            </p:spPr>
            <p:txBody>
              <a:bodyPr rtlCol="0" anchor="ctr"/>
              <a:lstStyle/>
              <a:p>
                <a:endParaRPr lang="en-GB"/>
              </a:p>
            </p:txBody>
          </p:sp>
          <p:sp>
            <p:nvSpPr>
              <p:cNvPr id="2757" name="Vrije vorm: vorm 2756">
                <a:extLst>
                  <a:ext uri="{FF2B5EF4-FFF2-40B4-BE49-F238E27FC236}">
                    <a16:creationId xmlns:a16="http://schemas.microsoft.com/office/drawing/2014/main" id="{3704F5BA-E51D-4FDB-AAD8-2688D698B643}"/>
                  </a:ext>
                </a:extLst>
              </p:cNvPr>
              <p:cNvSpPr/>
              <p:nvPr/>
            </p:nvSpPr>
            <p:spPr>
              <a:xfrm>
                <a:off x="5739094" y="5772425"/>
                <a:ext cx="18352" cy="18414"/>
              </a:xfrm>
              <a:custGeom>
                <a:avLst/>
                <a:gdLst>
                  <a:gd name="connsiteX0" fmla="*/ 145 w 18352"/>
                  <a:gd name="connsiteY0" fmla="*/ 7563 h 18414"/>
                  <a:gd name="connsiteX1" fmla="*/ 7621 w 18352"/>
                  <a:gd name="connsiteY1" fmla="*/ 18269 h 18414"/>
                  <a:gd name="connsiteX2" fmla="*/ 18207 w 18352"/>
                  <a:gd name="connsiteY2" fmla="*/ 10853 h 18414"/>
                  <a:gd name="connsiteX3" fmla="*/ 10731 w 18352"/>
                  <a:gd name="connsiteY3" fmla="*/ 147 h 18414"/>
                  <a:gd name="connsiteX4" fmla="*/ 145 w 18352"/>
                  <a:gd name="connsiteY4" fmla="*/ 756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4">
                    <a:moveTo>
                      <a:pt x="145" y="7563"/>
                    </a:moveTo>
                    <a:cubicBezTo>
                      <a:pt x="-752" y="12587"/>
                      <a:pt x="2598" y="17372"/>
                      <a:pt x="7621" y="18269"/>
                    </a:cubicBezTo>
                    <a:cubicBezTo>
                      <a:pt x="12585" y="19166"/>
                      <a:pt x="17370" y="15817"/>
                      <a:pt x="18207" y="10853"/>
                    </a:cubicBezTo>
                    <a:cubicBezTo>
                      <a:pt x="19104" y="5829"/>
                      <a:pt x="15755" y="1045"/>
                      <a:pt x="10731" y="147"/>
                    </a:cubicBezTo>
                    <a:cubicBezTo>
                      <a:pt x="5767" y="-750"/>
                      <a:pt x="983" y="2540"/>
                      <a:pt x="145" y="7563"/>
                    </a:cubicBezTo>
                    <a:close/>
                  </a:path>
                </a:pathLst>
              </a:custGeom>
              <a:grpFill/>
              <a:ln w="5978" cap="flat">
                <a:noFill/>
                <a:prstDash val="solid"/>
                <a:miter/>
              </a:ln>
            </p:spPr>
            <p:txBody>
              <a:bodyPr rtlCol="0" anchor="ctr"/>
              <a:lstStyle/>
              <a:p>
                <a:endParaRPr lang="en-GB"/>
              </a:p>
            </p:txBody>
          </p:sp>
        </p:grpSp>
        <p:grpSp>
          <p:nvGrpSpPr>
            <p:cNvPr id="882" name="Graphic 3">
              <a:extLst>
                <a:ext uri="{FF2B5EF4-FFF2-40B4-BE49-F238E27FC236}">
                  <a16:creationId xmlns:a16="http://schemas.microsoft.com/office/drawing/2014/main" id="{E5551652-4BCE-4873-91F3-0D540DBDCDDE}"/>
                </a:ext>
              </a:extLst>
            </p:cNvPr>
            <p:cNvGrpSpPr/>
            <p:nvPr/>
          </p:nvGrpSpPr>
          <p:grpSpPr>
            <a:xfrm>
              <a:off x="4686435" y="2199405"/>
              <a:ext cx="114986" cy="104334"/>
              <a:chOff x="4686435" y="2199405"/>
              <a:chExt cx="114986" cy="104334"/>
            </a:xfrm>
            <a:grpFill/>
          </p:grpSpPr>
          <p:sp>
            <p:nvSpPr>
              <p:cNvPr id="2752" name="Vrije vorm: vorm 2751">
                <a:extLst>
                  <a:ext uri="{FF2B5EF4-FFF2-40B4-BE49-F238E27FC236}">
                    <a16:creationId xmlns:a16="http://schemas.microsoft.com/office/drawing/2014/main" id="{8D6D148D-BE68-481C-A089-148E8901DA01}"/>
                  </a:ext>
                </a:extLst>
              </p:cNvPr>
              <p:cNvSpPr/>
              <p:nvPr/>
            </p:nvSpPr>
            <p:spPr>
              <a:xfrm>
                <a:off x="4694228" y="2207166"/>
                <a:ext cx="99399" cy="88813"/>
              </a:xfrm>
              <a:custGeom>
                <a:avLst/>
                <a:gdLst>
                  <a:gd name="connsiteX0" fmla="*/ 99400 w 99399"/>
                  <a:gd name="connsiteY0" fmla="*/ 86541 h 88813"/>
                  <a:gd name="connsiteX1" fmla="*/ 97366 w 99399"/>
                  <a:gd name="connsiteY1" fmla="*/ 88814 h 88813"/>
                  <a:gd name="connsiteX2" fmla="*/ 0 w 99399"/>
                  <a:gd name="connsiteY2" fmla="*/ 2273 h 88813"/>
                  <a:gd name="connsiteX3" fmla="*/ 2034 w 99399"/>
                  <a:gd name="connsiteY3" fmla="*/ 0 h 88813"/>
                </a:gdLst>
                <a:ahLst/>
                <a:cxnLst>
                  <a:cxn ang="0">
                    <a:pos x="connsiteX0" y="connsiteY0"/>
                  </a:cxn>
                  <a:cxn ang="0">
                    <a:pos x="connsiteX1" y="connsiteY1"/>
                  </a:cxn>
                  <a:cxn ang="0">
                    <a:pos x="connsiteX2" y="connsiteY2"/>
                  </a:cxn>
                  <a:cxn ang="0">
                    <a:pos x="connsiteX3" y="connsiteY3"/>
                  </a:cxn>
                </a:cxnLst>
                <a:rect l="l" t="t" r="r" b="b"/>
                <a:pathLst>
                  <a:path w="99399" h="88813">
                    <a:moveTo>
                      <a:pt x="99400" y="86541"/>
                    </a:moveTo>
                    <a:lnTo>
                      <a:pt x="97366" y="88814"/>
                    </a:lnTo>
                    <a:lnTo>
                      <a:pt x="0" y="2273"/>
                    </a:lnTo>
                    <a:lnTo>
                      <a:pt x="2034" y="0"/>
                    </a:lnTo>
                    <a:close/>
                  </a:path>
                </a:pathLst>
              </a:custGeom>
              <a:grpFill/>
              <a:ln w="5978" cap="flat">
                <a:noFill/>
                <a:prstDash val="solid"/>
                <a:miter/>
              </a:ln>
            </p:spPr>
            <p:txBody>
              <a:bodyPr rtlCol="0" anchor="ctr"/>
              <a:lstStyle/>
              <a:p>
                <a:endParaRPr lang="en-GB"/>
              </a:p>
            </p:txBody>
          </p:sp>
          <p:sp>
            <p:nvSpPr>
              <p:cNvPr id="2753" name="Vrije vorm: vorm 2752">
                <a:extLst>
                  <a:ext uri="{FF2B5EF4-FFF2-40B4-BE49-F238E27FC236}">
                    <a16:creationId xmlns:a16="http://schemas.microsoft.com/office/drawing/2014/main" id="{681D2EB5-A804-4722-B6EC-217204D963C9}"/>
                  </a:ext>
                </a:extLst>
              </p:cNvPr>
              <p:cNvSpPr/>
              <p:nvPr/>
            </p:nvSpPr>
            <p:spPr>
              <a:xfrm>
                <a:off x="4686435" y="2199405"/>
                <a:ext cx="18338" cy="18415"/>
              </a:xfrm>
              <a:custGeom>
                <a:avLst/>
                <a:gdLst>
                  <a:gd name="connsiteX0" fmla="*/ 3128 w 18338"/>
                  <a:gd name="connsiteY0" fmla="*/ 16073 h 18415"/>
                  <a:gd name="connsiteX1" fmla="*/ 2291 w 18338"/>
                  <a:gd name="connsiteY1" fmla="*/ 3095 h 18415"/>
                  <a:gd name="connsiteX2" fmla="*/ 15210 w 18338"/>
                  <a:gd name="connsiteY2" fmla="*/ 2318 h 18415"/>
                  <a:gd name="connsiteX3" fmla="*/ 16047 w 18338"/>
                  <a:gd name="connsiteY3" fmla="*/ 15296 h 18415"/>
                  <a:gd name="connsiteX4" fmla="*/ 3128 w 18338"/>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15">
                    <a:moveTo>
                      <a:pt x="3128" y="16073"/>
                    </a:moveTo>
                    <a:cubicBezTo>
                      <a:pt x="-699" y="12724"/>
                      <a:pt x="-1058" y="6863"/>
                      <a:pt x="2291" y="3095"/>
                    </a:cubicBezTo>
                    <a:cubicBezTo>
                      <a:pt x="5641" y="-732"/>
                      <a:pt x="11442" y="-1032"/>
                      <a:pt x="15210" y="2318"/>
                    </a:cubicBezTo>
                    <a:cubicBezTo>
                      <a:pt x="19037" y="5667"/>
                      <a:pt x="19396" y="11528"/>
                      <a:pt x="16047" y="15296"/>
                    </a:cubicBezTo>
                    <a:cubicBezTo>
                      <a:pt x="12698" y="19124"/>
                      <a:pt x="6896" y="19482"/>
                      <a:pt x="3128" y="16073"/>
                    </a:cubicBezTo>
                    <a:close/>
                  </a:path>
                </a:pathLst>
              </a:custGeom>
              <a:grpFill/>
              <a:ln w="5978" cap="flat">
                <a:noFill/>
                <a:prstDash val="solid"/>
                <a:miter/>
              </a:ln>
            </p:spPr>
            <p:txBody>
              <a:bodyPr rtlCol="0" anchor="ctr"/>
              <a:lstStyle/>
              <a:p>
                <a:endParaRPr lang="en-GB"/>
              </a:p>
            </p:txBody>
          </p:sp>
          <p:sp>
            <p:nvSpPr>
              <p:cNvPr id="2754" name="Vrije vorm: vorm 2753">
                <a:extLst>
                  <a:ext uri="{FF2B5EF4-FFF2-40B4-BE49-F238E27FC236}">
                    <a16:creationId xmlns:a16="http://schemas.microsoft.com/office/drawing/2014/main" id="{B38853DC-1668-4497-9B7B-A9728959E000}"/>
                  </a:ext>
                </a:extLst>
              </p:cNvPr>
              <p:cNvSpPr/>
              <p:nvPr/>
            </p:nvSpPr>
            <p:spPr>
              <a:xfrm>
                <a:off x="4783083" y="2285348"/>
                <a:ext cx="18338" cy="18391"/>
              </a:xfrm>
              <a:custGeom>
                <a:avLst/>
                <a:gdLst>
                  <a:gd name="connsiteX0" fmla="*/ 3129 w 18338"/>
                  <a:gd name="connsiteY0" fmla="*/ 16073 h 18391"/>
                  <a:gd name="connsiteX1" fmla="*/ 16047 w 18338"/>
                  <a:gd name="connsiteY1" fmla="*/ 15296 h 18391"/>
                  <a:gd name="connsiteX2" fmla="*/ 15210 w 18338"/>
                  <a:gd name="connsiteY2" fmla="*/ 2318 h 18391"/>
                  <a:gd name="connsiteX3" fmla="*/ 2291 w 18338"/>
                  <a:gd name="connsiteY3" fmla="*/ 3095 h 18391"/>
                  <a:gd name="connsiteX4" fmla="*/ 3129 w 18338"/>
                  <a:gd name="connsiteY4" fmla="*/ 1607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1">
                    <a:moveTo>
                      <a:pt x="3129" y="16073"/>
                    </a:moveTo>
                    <a:cubicBezTo>
                      <a:pt x="6956" y="19423"/>
                      <a:pt x="12698" y="19124"/>
                      <a:pt x="16047" y="15296"/>
                    </a:cubicBezTo>
                    <a:cubicBezTo>
                      <a:pt x="19396" y="11468"/>
                      <a:pt x="19037" y="5667"/>
                      <a:pt x="15210" y="2318"/>
                    </a:cubicBezTo>
                    <a:cubicBezTo>
                      <a:pt x="11382" y="-1032"/>
                      <a:pt x="5641" y="-732"/>
                      <a:pt x="2291" y="3095"/>
                    </a:cubicBezTo>
                    <a:cubicBezTo>
                      <a:pt x="-1058" y="6863"/>
                      <a:pt x="-699" y="12724"/>
                      <a:pt x="3129" y="16073"/>
                    </a:cubicBezTo>
                    <a:close/>
                  </a:path>
                </a:pathLst>
              </a:custGeom>
              <a:grpFill/>
              <a:ln w="5978" cap="flat">
                <a:noFill/>
                <a:prstDash val="solid"/>
                <a:miter/>
              </a:ln>
            </p:spPr>
            <p:txBody>
              <a:bodyPr rtlCol="0" anchor="ctr"/>
              <a:lstStyle/>
              <a:p>
                <a:endParaRPr lang="en-GB"/>
              </a:p>
            </p:txBody>
          </p:sp>
        </p:grpSp>
        <p:grpSp>
          <p:nvGrpSpPr>
            <p:cNvPr id="883" name="Graphic 3">
              <a:extLst>
                <a:ext uri="{FF2B5EF4-FFF2-40B4-BE49-F238E27FC236}">
                  <a16:creationId xmlns:a16="http://schemas.microsoft.com/office/drawing/2014/main" id="{BAAB78C1-9FFE-4CC4-A993-6324233893B8}"/>
                </a:ext>
              </a:extLst>
            </p:cNvPr>
            <p:cNvGrpSpPr/>
            <p:nvPr/>
          </p:nvGrpSpPr>
          <p:grpSpPr>
            <a:xfrm>
              <a:off x="4573872" y="1999137"/>
              <a:ext cx="249146" cy="280473"/>
              <a:chOff x="4573872" y="1999137"/>
              <a:chExt cx="249146" cy="280473"/>
            </a:xfrm>
            <a:grpFill/>
          </p:grpSpPr>
          <p:sp>
            <p:nvSpPr>
              <p:cNvPr id="2749" name="Vrije vorm: vorm 2748">
                <a:extLst>
                  <a:ext uri="{FF2B5EF4-FFF2-40B4-BE49-F238E27FC236}">
                    <a16:creationId xmlns:a16="http://schemas.microsoft.com/office/drawing/2014/main" id="{A6FEFF3A-75FF-443B-8DEF-335B8D14C210}"/>
                  </a:ext>
                </a:extLst>
              </p:cNvPr>
              <p:cNvSpPr/>
              <p:nvPr/>
            </p:nvSpPr>
            <p:spPr>
              <a:xfrm>
                <a:off x="4581611" y="2006991"/>
                <a:ext cx="233666" cy="264826"/>
              </a:xfrm>
              <a:custGeom>
                <a:avLst/>
                <a:gdLst>
                  <a:gd name="connsiteX0" fmla="*/ 233667 w 233666"/>
                  <a:gd name="connsiteY0" fmla="*/ 262793 h 264826"/>
                  <a:gd name="connsiteX1" fmla="*/ 231394 w 233666"/>
                  <a:gd name="connsiteY1" fmla="*/ 264826 h 264826"/>
                  <a:gd name="connsiteX2" fmla="*/ 0 w 233666"/>
                  <a:gd name="connsiteY2" fmla="*/ 2034 h 264826"/>
                  <a:gd name="connsiteX3" fmla="*/ 2273 w 233666"/>
                  <a:gd name="connsiteY3" fmla="*/ 0 h 264826"/>
                </a:gdLst>
                <a:ahLst/>
                <a:cxnLst>
                  <a:cxn ang="0">
                    <a:pos x="connsiteX0" y="connsiteY0"/>
                  </a:cxn>
                  <a:cxn ang="0">
                    <a:pos x="connsiteX1" y="connsiteY1"/>
                  </a:cxn>
                  <a:cxn ang="0">
                    <a:pos x="connsiteX2" y="connsiteY2"/>
                  </a:cxn>
                  <a:cxn ang="0">
                    <a:pos x="connsiteX3" y="connsiteY3"/>
                  </a:cxn>
                </a:cxnLst>
                <a:rect l="l" t="t" r="r" b="b"/>
                <a:pathLst>
                  <a:path w="233666" h="264826">
                    <a:moveTo>
                      <a:pt x="233667" y="262793"/>
                    </a:moveTo>
                    <a:lnTo>
                      <a:pt x="231394" y="264826"/>
                    </a:lnTo>
                    <a:lnTo>
                      <a:pt x="0" y="2034"/>
                    </a:lnTo>
                    <a:lnTo>
                      <a:pt x="2273" y="0"/>
                    </a:lnTo>
                    <a:close/>
                  </a:path>
                </a:pathLst>
              </a:custGeom>
              <a:grpFill/>
              <a:ln w="5978" cap="flat">
                <a:noFill/>
                <a:prstDash val="solid"/>
                <a:miter/>
              </a:ln>
            </p:spPr>
            <p:txBody>
              <a:bodyPr rtlCol="0" anchor="ctr"/>
              <a:lstStyle/>
              <a:p>
                <a:endParaRPr lang="en-GB"/>
              </a:p>
            </p:txBody>
          </p:sp>
          <p:sp>
            <p:nvSpPr>
              <p:cNvPr id="2750" name="Vrije vorm: vorm 2749">
                <a:extLst>
                  <a:ext uri="{FF2B5EF4-FFF2-40B4-BE49-F238E27FC236}">
                    <a16:creationId xmlns:a16="http://schemas.microsoft.com/office/drawing/2014/main" id="{F1505A0A-6615-4322-BB6E-A3A1681BC48D}"/>
                  </a:ext>
                </a:extLst>
              </p:cNvPr>
              <p:cNvSpPr/>
              <p:nvPr/>
            </p:nvSpPr>
            <p:spPr>
              <a:xfrm>
                <a:off x="4804727" y="2261233"/>
                <a:ext cx="18290" cy="18377"/>
              </a:xfrm>
              <a:custGeom>
                <a:avLst/>
                <a:gdLst>
                  <a:gd name="connsiteX0" fmla="*/ 15993 w 18290"/>
                  <a:gd name="connsiteY0" fmla="*/ 3108 h 18377"/>
                  <a:gd name="connsiteX1" fmla="*/ 15216 w 18290"/>
                  <a:gd name="connsiteY1" fmla="*/ 16086 h 18377"/>
                  <a:gd name="connsiteX2" fmla="*/ 2297 w 18290"/>
                  <a:gd name="connsiteY2" fmla="*/ 15249 h 18377"/>
                  <a:gd name="connsiteX3" fmla="*/ 3075 w 18290"/>
                  <a:gd name="connsiteY3" fmla="*/ 2271 h 18377"/>
                  <a:gd name="connsiteX4" fmla="*/ 15993 w 18290"/>
                  <a:gd name="connsiteY4" fmla="*/ 3108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77">
                    <a:moveTo>
                      <a:pt x="15993" y="3108"/>
                    </a:moveTo>
                    <a:cubicBezTo>
                      <a:pt x="19342" y="6936"/>
                      <a:pt x="18984" y="12737"/>
                      <a:pt x="15216" y="16086"/>
                    </a:cubicBezTo>
                    <a:cubicBezTo>
                      <a:pt x="11448" y="19436"/>
                      <a:pt x="5646" y="19077"/>
                      <a:pt x="2297" y="15249"/>
                    </a:cubicBezTo>
                    <a:cubicBezTo>
                      <a:pt x="-1052" y="11422"/>
                      <a:pt x="-693" y="5620"/>
                      <a:pt x="3075" y="2271"/>
                    </a:cubicBezTo>
                    <a:cubicBezTo>
                      <a:pt x="6843" y="-1078"/>
                      <a:pt x="12644" y="-660"/>
                      <a:pt x="15993" y="3108"/>
                    </a:cubicBezTo>
                    <a:close/>
                  </a:path>
                </a:pathLst>
              </a:custGeom>
              <a:grpFill/>
              <a:ln w="5978" cap="flat">
                <a:noFill/>
                <a:prstDash val="solid"/>
                <a:miter/>
              </a:ln>
            </p:spPr>
            <p:txBody>
              <a:bodyPr rtlCol="0" anchor="ctr"/>
              <a:lstStyle/>
              <a:p>
                <a:endParaRPr lang="en-GB"/>
              </a:p>
            </p:txBody>
          </p:sp>
          <p:sp>
            <p:nvSpPr>
              <p:cNvPr id="2751" name="Vrije vorm: vorm 2750">
                <a:extLst>
                  <a:ext uri="{FF2B5EF4-FFF2-40B4-BE49-F238E27FC236}">
                    <a16:creationId xmlns:a16="http://schemas.microsoft.com/office/drawing/2014/main" id="{302B3363-C7D9-471B-9AEB-9BC3484FF65F}"/>
                  </a:ext>
                </a:extLst>
              </p:cNvPr>
              <p:cNvSpPr/>
              <p:nvPr/>
            </p:nvSpPr>
            <p:spPr>
              <a:xfrm>
                <a:off x="4573872" y="1999137"/>
                <a:ext cx="18334" cy="18398"/>
              </a:xfrm>
              <a:custGeom>
                <a:avLst/>
                <a:gdLst>
                  <a:gd name="connsiteX0" fmla="*/ 15993 w 18334"/>
                  <a:gd name="connsiteY0" fmla="*/ 3129 h 18398"/>
                  <a:gd name="connsiteX1" fmla="*/ 3075 w 18334"/>
                  <a:gd name="connsiteY1" fmla="*/ 2291 h 18398"/>
                  <a:gd name="connsiteX2" fmla="*/ 2297 w 18334"/>
                  <a:gd name="connsiteY2" fmla="*/ 15269 h 18398"/>
                  <a:gd name="connsiteX3" fmla="*/ 15215 w 18334"/>
                  <a:gd name="connsiteY3" fmla="*/ 16107 h 18398"/>
                  <a:gd name="connsiteX4" fmla="*/ 15993 w 18334"/>
                  <a:gd name="connsiteY4" fmla="*/ 312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98">
                    <a:moveTo>
                      <a:pt x="15993" y="3129"/>
                    </a:moveTo>
                    <a:cubicBezTo>
                      <a:pt x="12644" y="-699"/>
                      <a:pt x="6843" y="-1058"/>
                      <a:pt x="3075" y="2291"/>
                    </a:cubicBezTo>
                    <a:cubicBezTo>
                      <a:pt x="-693" y="5641"/>
                      <a:pt x="-1052" y="11502"/>
                      <a:pt x="2297" y="15269"/>
                    </a:cubicBezTo>
                    <a:cubicBezTo>
                      <a:pt x="5646" y="19097"/>
                      <a:pt x="11447" y="19456"/>
                      <a:pt x="15215" y="16107"/>
                    </a:cubicBezTo>
                    <a:cubicBezTo>
                      <a:pt x="19043" y="12758"/>
                      <a:pt x="19402" y="6897"/>
                      <a:pt x="15993" y="3129"/>
                    </a:cubicBezTo>
                    <a:close/>
                  </a:path>
                </a:pathLst>
              </a:custGeom>
              <a:grpFill/>
              <a:ln w="5978" cap="flat">
                <a:noFill/>
                <a:prstDash val="solid"/>
                <a:miter/>
              </a:ln>
            </p:spPr>
            <p:txBody>
              <a:bodyPr rtlCol="0" anchor="ctr"/>
              <a:lstStyle/>
              <a:p>
                <a:endParaRPr lang="en-GB"/>
              </a:p>
            </p:txBody>
          </p:sp>
        </p:grpSp>
        <p:grpSp>
          <p:nvGrpSpPr>
            <p:cNvPr id="884" name="Graphic 3">
              <a:extLst>
                <a:ext uri="{FF2B5EF4-FFF2-40B4-BE49-F238E27FC236}">
                  <a16:creationId xmlns:a16="http://schemas.microsoft.com/office/drawing/2014/main" id="{3D87330E-905F-462B-B418-933C13FE220D}"/>
                </a:ext>
              </a:extLst>
            </p:cNvPr>
            <p:cNvGrpSpPr/>
            <p:nvPr/>
          </p:nvGrpSpPr>
          <p:grpSpPr>
            <a:xfrm>
              <a:off x="4630552" y="2052292"/>
              <a:ext cx="91668" cy="88662"/>
              <a:chOff x="4630552" y="2052292"/>
              <a:chExt cx="91668" cy="88662"/>
            </a:xfrm>
            <a:grpFill/>
          </p:grpSpPr>
          <p:sp>
            <p:nvSpPr>
              <p:cNvPr id="2746" name="Vrije vorm: vorm 2745">
                <a:extLst>
                  <a:ext uri="{FF2B5EF4-FFF2-40B4-BE49-F238E27FC236}">
                    <a16:creationId xmlns:a16="http://schemas.microsoft.com/office/drawing/2014/main" id="{5C92D9F4-C6DE-4FA4-B690-ED48478AF004}"/>
                  </a:ext>
                </a:extLst>
              </p:cNvPr>
              <p:cNvSpPr/>
              <p:nvPr/>
            </p:nvSpPr>
            <p:spPr>
              <a:xfrm>
                <a:off x="4638309" y="2060100"/>
                <a:ext cx="76074" cy="73024"/>
              </a:xfrm>
              <a:custGeom>
                <a:avLst/>
                <a:gdLst>
                  <a:gd name="connsiteX0" fmla="*/ 76075 w 76074"/>
                  <a:gd name="connsiteY0" fmla="*/ 70812 h 73024"/>
                  <a:gd name="connsiteX1" fmla="*/ 73982 w 76074"/>
                  <a:gd name="connsiteY1" fmla="*/ 73025 h 73024"/>
                  <a:gd name="connsiteX2" fmla="*/ 0 w 76074"/>
                  <a:gd name="connsiteY2" fmla="*/ 2213 h 73024"/>
                  <a:gd name="connsiteX3" fmla="*/ 2093 w 76074"/>
                  <a:gd name="connsiteY3" fmla="*/ 0 h 73024"/>
                </a:gdLst>
                <a:ahLst/>
                <a:cxnLst>
                  <a:cxn ang="0">
                    <a:pos x="connsiteX0" y="connsiteY0"/>
                  </a:cxn>
                  <a:cxn ang="0">
                    <a:pos x="connsiteX1" y="connsiteY1"/>
                  </a:cxn>
                  <a:cxn ang="0">
                    <a:pos x="connsiteX2" y="connsiteY2"/>
                  </a:cxn>
                  <a:cxn ang="0">
                    <a:pos x="connsiteX3" y="connsiteY3"/>
                  </a:cxn>
                </a:cxnLst>
                <a:rect l="l" t="t" r="r" b="b"/>
                <a:pathLst>
                  <a:path w="76074" h="73024">
                    <a:moveTo>
                      <a:pt x="76075" y="70812"/>
                    </a:moveTo>
                    <a:lnTo>
                      <a:pt x="73982" y="73025"/>
                    </a:lnTo>
                    <a:lnTo>
                      <a:pt x="0" y="2213"/>
                    </a:lnTo>
                    <a:lnTo>
                      <a:pt x="2093" y="0"/>
                    </a:lnTo>
                    <a:close/>
                  </a:path>
                </a:pathLst>
              </a:custGeom>
              <a:grpFill/>
              <a:ln w="5978" cap="flat">
                <a:noFill/>
                <a:prstDash val="solid"/>
                <a:miter/>
              </a:ln>
            </p:spPr>
            <p:txBody>
              <a:bodyPr rtlCol="0" anchor="ctr"/>
              <a:lstStyle/>
              <a:p>
                <a:endParaRPr lang="en-GB"/>
              </a:p>
            </p:txBody>
          </p:sp>
          <p:sp>
            <p:nvSpPr>
              <p:cNvPr id="2747" name="Vrije vorm: vorm 2746">
                <a:extLst>
                  <a:ext uri="{FF2B5EF4-FFF2-40B4-BE49-F238E27FC236}">
                    <a16:creationId xmlns:a16="http://schemas.microsoft.com/office/drawing/2014/main" id="{FFED8444-F8F5-4A2C-93A6-0AC8F75FA754}"/>
                  </a:ext>
                </a:extLst>
              </p:cNvPr>
              <p:cNvSpPr/>
              <p:nvPr/>
            </p:nvSpPr>
            <p:spPr>
              <a:xfrm>
                <a:off x="4630552" y="2052292"/>
                <a:ext cx="18323" cy="18448"/>
              </a:xfrm>
              <a:custGeom>
                <a:avLst/>
                <a:gdLst>
                  <a:gd name="connsiteX0" fmla="*/ 2852 w 18323"/>
                  <a:gd name="connsiteY0" fmla="*/ 15882 h 18448"/>
                  <a:gd name="connsiteX1" fmla="*/ 2493 w 18323"/>
                  <a:gd name="connsiteY1" fmla="*/ 2844 h 18448"/>
                  <a:gd name="connsiteX2" fmla="*/ 15472 w 18323"/>
                  <a:gd name="connsiteY2" fmla="*/ 2545 h 18448"/>
                  <a:gd name="connsiteX3" fmla="*/ 15830 w 18323"/>
                  <a:gd name="connsiteY3" fmla="*/ 15583 h 18448"/>
                  <a:gd name="connsiteX4" fmla="*/ 2852 w 18323"/>
                  <a:gd name="connsiteY4" fmla="*/ 15882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8">
                    <a:moveTo>
                      <a:pt x="2852" y="15882"/>
                    </a:moveTo>
                    <a:cubicBezTo>
                      <a:pt x="-796" y="12353"/>
                      <a:pt x="-975" y="6552"/>
                      <a:pt x="2493" y="2844"/>
                    </a:cubicBezTo>
                    <a:cubicBezTo>
                      <a:pt x="5962" y="-804"/>
                      <a:pt x="11763" y="-984"/>
                      <a:pt x="15472" y="2545"/>
                    </a:cubicBezTo>
                    <a:cubicBezTo>
                      <a:pt x="19120" y="6073"/>
                      <a:pt x="19299" y="11875"/>
                      <a:pt x="15830" y="15583"/>
                    </a:cubicBezTo>
                    <a:cubicBezTo>
                      <a:pt x="12302" y="19291"/>
                      <a:pt x="6500" y="19410"/>
                      <a:pt x="2852" y="15882"/>
                    </a:cubicBezTo>
                    <a:close/>
                  </a:path>
                </a:pathLst>
              </a:custGeom>
              <a:grpFill/>
              <a:ln w="5978" cap="flat">
                <a:noFill/>
                <a:prstDash val="solid"/>
                <a:miter/>
              </a:ln>
            </p:spPr>
            <p:txBody>
              <a:bodyPr rtlCol="0" anchor="ctr"/>
              <a:lstStyle/>
              <a:p>
                <a:endParaRPr lang="en-GB"/>
              </a:p>
            </p:txBody>
          </p:sp>
          <p:sp>
            <p:nvSpPr>
              <p:cNvPr id="2748" name="Vrije vorm: vorm 2747">
                <a:extLst>
                  <a:ext uri="{FF2B5EF4-FFF2-40B4-BE49-F238E27FC236}">
                    <a16:creationId xmlns:a16="http://schemas.microsoft.com/office/drawing/2014/main" id="{028EC11E-44FB-4829-9FAA-075B98B3A477}"/>
                  </a:ext>
                </a:extLst>
              </p:cNvPr>
              <p:cNvSpPr/>
              <p:nvPr/>
            </p:nvSpPr>
            <p:spPr>
              <a:xfrm>
                <a:off x="4703854" y="2122484"/>
                <a:ext cx="18366" cy="18470"/>
              </a:xfrm>
              <a:custGeom>
                <a:avLst/>
                <a:gdLst>
                  <a:gd name="connsiteX0" fmla="*/ 2874 w 18366"/>
                  <a:gd name="connsiteY0" fmla="*/ 15903 h 18470"/>
                  <a:gd name="connsiteX1" fmla="*/ 15852 w 18366"/>
                  <a:gd name="connsiteY1" fmla="*/ 15604 h 18470"/>
                  <a:gd name="connsiteX2" fmla="*/ 15493 w 18366"/>
                  <a:gd name="connsiteY2" fmla="*/ 2566 h 18470"/>
                  <a:gd name="connsiteX3" fmla="*/ 2515 w 18366"/>
                  <a:gd name="connsiteY3" fmla="*/ 2866 h 18470"/>
                  <a:gd name="connsiteX4" fmla="*/ 2874 w 18366"/>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0">
                    <a:moveTo>
                      <a:pt x="2874" y="15903"/>
                    </a:moveTo>
                    <a:cubicBezTo>
                      <a:pt x="6522" y="19432"/>
                      <a:pt x="12323" y="19313"/>
                      <a:pt x="15852" y="15604"/>
                    </a:cubicBezTo>
                    <a:cubicBezTo>
                      <a:pt x="19321" y="11956"/>
                      <a:pt x="19201" y="6095"/>
                      <a:pt x="15493" y="2566"/>
                    </a:cubicBezTo>
                    <a:cubicBezTo>
                      <a:pt x="11845" y="-962"/>
                      <a:pt x="6044" y="-842"/>
                      <a:pt x="2515" y="2866"/>
                    </a:cubicBezTo>
                    <a:cubicBezTo>
                      <a:pt x="-954" y="6574"/>
                      <a:pt x="-834" y="12375"/>
                      <a:pt x="2874" y="15903"/>
                    </a:cubicBezTo>
                    <a:close/>
                  </a:path>
                </a:pathLst>
              </a:custGeom>
              <a:grpFill/>
              <a:ln w="5978" cap="flat">
                <a:noFill/>
                <a:prstDash val="solid"/>
                <a:miter/>
              </a:ln>
            </p:spPr>
            <p:txBody>
              <a:bodyPr rtlCol="0" anchor="ctr"/>
              <a:lstStyle/>
              <a:p>
                <a:endParaRPr lang="en-GB"/>
              </a:p>
            </p:txBody>
          </p:sp>
        </p:grpSp>
        <p:grpSp>
          <p:nvGrpSpPr>
            <p:cNvPr id="885" name="Graphic 3">
              <a:extLst>
                <a:ext uri="{FF2B5EF4-FFF2-40B4-BE49-F238E27FC236}">
                  <a16:creationId xmlns:a16="http://schemas.microsoft.com/office/drawing/2014/main" id="{2B890516-A918-4EAD-9B61-48A3A7C4EFDC}"/>
                </a:ext>
              </a:extLst>
            </p:cNvPr>
            <p:cNvGrpSpPr/>
            <p:nvPr/>
          </p:nvGrpSpPr>
          <p:grpSpPr>
            <a:xfrm>
              <a:off x="4685166" y="2242814"/>
              <a:ext cx="99223" cy="87671"/>
              <a:chOff x="4685166" y="2242814"/>
              <a:chExt cx="99223" cy="87671"/>
            </a:xfrm>
            <a:grpFill/>
          </p:grpSpPr>
          <p:sp>
            <p:nvSpPr>
              <p:cNvPr id="2743" name="Vrije vorm: vorm 2742">
                <a:extLst>
                  <a:ext uri="{FF2B5EF4-FFF2-40B4-BE49-F238E27FC236}">
                    <a16:creationId xmlns:a16="http://schemas.microsoft.com/office/drawing/2014/main" id="{B92E108E-162B-4AEE-BDE6-B46864C80C8C}"/>
                  </a:ext>
                </a:extLst>
              </p:cNvPr>
              <p:cNvSpPr/>
              <p:nvPr/>
            </p:nvSpPr>
            <p:spPr>
              <a:xfrm>
                <a:off x="4693032" y="2250586"/>
                <a:ext cx="83491" cy="72127"/>
              </a:xfrm>
              <a:custGeom>
                <a:avLst/>
                <a:gdLst>
                  <a:gd name="connsiteX0" fmla="*/ 83491 w 83491"/>
                  <a:gd name="connsiteY0" fmla="*/ 69795 h 72127"/>
                  <a:gd name="connsiteX1" fmla="*/ 81517 w 83491"/>
                  <a:gd name="connsiteY1" fmla="*/ 72127 h 72127"/>
                  <a:gd name="connsiteX2" fmla="*/ 0 w 83491"/>
                  <a:gd name="connsiteY2" fmla="*/ 2332 h 72127"/>
                  <a:gd name="connsiteX3" fmla="*/ 1974 w 83491"/>
                  <a:gd name="connsiteY3" fmla="*/ 0 h 72127"/>
                </a:gdLst>
                <a:ahLst/>
                <a:cxnLst>
                  <a:cxn ang="0">
                    <a:pos x="connsiteX0" y="connsiteY0"/>
                  </a:cxn>
                  <a:cxn ang="0">
                    <a:pos x="connsiteX1" y="connsiteY1"/>
                  </a:cxn>
                  <a:cxn ang="0">
                    <a:pos x="connsiteX2" y="connsiteY2"/>
                  </a:cxn>
                  <a:cxn ang="0">
                    <a:pos x="connsiteX3" y="connsiteY3"/>
                  </a:cxn>
                </a:cxnLst>
                <a:rect l="l" t="t" r="r" b="b"/>
                <a:pathLst>
                  <a:path w="83491" h="72127">
                    <a:moveTo>
                      <a:pt x="83491" y="69795"/>
                    </a:moveTo>
                    <a:lnTo>
                      <a:pt x="81517" y="72127"/>
                    </a:lnTo>
                    <a:lnTo>
                      <a:pt x="0" y="2332"/>
                    </a:lnTo>
                    <a:lnTo>
                      <a:pt x="1974" y="0"/>
                    </a:lnTo>
                    <a:close/>
                  </a:path>
                </a:pathLst>
              </a:custGeom>
              <a:grpFill/>
              <a:ln w="5978" cap="flat">
                <a:noFill/>
                <a:prstDash val="solid"/>
                <a:miter/>
              </a:ln>
            </p:spPr>
            <p:txBody>
              <a:bodyPr rtlCol="0" anchor="ctr"/>
              <a:lstStyle/>
              <a:p>
                <a:endParaRPr lang="en-GB"/>
              </a:p>
            </p:txBody>
          </p:sp>
          <p:sp>
            <p:nvSpPr>
              <p:cNvPr id="2744" name="Vrije vorm: vorm 2743">
                <a:extLst>
                  <a:ext uri="{FF2B5EF4-FFF2-40B4-BE49-F238E27FC236}">
                    <a16:creationId xmlns:a16="http://schemas.microsoft.com/office/drawing/2014/main" id="{259D65DD-AB40-42A6-A51B-3C65366C2148}"/>
                  </a:ext>
                </a:extLst>
              </p:cNvPr>
              <p:cNvSpPr/>
              <p:nvPr/>
            </p:nvSpPr>
            <p:spPr>
              <a:xfrm>
                <a:off x="4685166" y="2242814"/>
                <a:ext cx="18364" cy="18439"/>
              </a:xfrm>
              <a:custGeom>
                <a:avLst/>
                <a:gdLst>
                  <a:gd name="connsiteX0" fmla="*/ 3261 w 18364"/>
                  <a:gd name="connsiteY0" fmla="*/ 16205 h 18439"/>
                  <a:gd name="connsiteX1" fmla="*/ 2185 w 18364"/>
                  <a:gd name="connsiteY1" fmla="*/ 3227 h 18439"/>
                  <a:gd name="connsiteX2" fmla="*/ 15103 w 18364"/>
                  <a:gd name="connsiteY2" fmla="*/ 2210 h 18439"/>
                  <a:gd name="connsiteX3" fmla="*/ 16180 w 18364"/>
                  <a:gd name="connsiteY3" fmla="*/ 15188 h 18439"/>
                  <a:gd name="connsiteX4" fmla="*/ 3261 w 18364"/>
                  <a:gd name="connsiteY4" fmla="*/ 16205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39">
                    <a:moveTo>
                      <a:pt x="3261" y="16205"/>
                    </a:moveTo>
                    <a:cubicBezTo>
                      <a:pt x="-626" y="12915"/>
                      <a:pt x="-1105" y="7054"/>
                      <a:pt x="2185" y="3227"/>
                    </a:cubicBezTo>
                    <a:cubicBezTo>
                      <a:pt x="5474" y="-661"/>
                      <a:pt x="11215" y="-1080"/>
                      <a:pt x="15103" y="2210"/>
                    </a:cubicBezTo>
                    <a:cubicBezTo>
                      <a:pt x="18990" y="5499"/>
                      <a:pt x="19469" y="11301"/>
                      <a:pt x="16180" y="15188"/>
                    </a:cubicBezTo>
                    <a:cubicBezTo>
                      <a:pt x="12890" y="19075"/>
                      <a:pt x="7149" y="19554"/>
                      <a:pt x="3261" y="16205"/>
                    </a:cubicBezTo>
                    <a:close/>
                  </a:path>
                </a:pathLst>
              </a:custGeom>
              <a:grpFill/>
              <a:ln w="5978" cap="flat">
                <a:noFill/>
                <a:prstDash val="solid"/>
                <a:miter/>
              </a:ln>
            </p:spPr>
            <p:txBody>
              <a:bodyPr rtlCol="0" anchor="ctr"/>
              <a:lstStyle/>
              <a:p>
                <a:endParaRPr lang="en-GB"/>
              </a:p>
            </p:txBody>
          </p:sp>
          <p:sp>
            <p:nvSpPr>
              <p:cNvPr id="2745" name="Vrije vorm: vorm 2744">
                <a:extLst>
                  <a:ext uri="{FF2B5EF4-FFF2-40B4-BE49-F238E27FC236}">
                    <a16:creationId xmlns:a16="http://schemas.microsoft.com/office/drawing/2014/main" id="{D4EEDC62-73B6-41BD-97CB-09FF145F8901}"/>
                  </a:ext>
                </a:extLst>
              </p:cNvPr>
              <p:cNvSpPr/>
              <p:nvPr/>
            </p:nvSpPr>
            <p:spPr>
              <a:xfrm>
                <a:off x="4766025" y="2312070"/>
                <a:ext cx="18364" cy="18414"/>
              </a:xfrm>
              <a:custGeom>
                <a:avLst/>
                <a:gdLst>
                  <a:gd name="connsiteX0" fmla="*/ 3261 w 18364"/>
                  <a:gd name="connsiteY0" fmla="*/ 16205 h 18414"/>
                  <a:gd name="connsiteX1" fmla="*/ 16180 w 18364"/>
                  <a:gd name="connsiteY1" fmla="*/ 15188 h 18414"/>
                  <a:gd name="connsiteX2" fmla="*/ 15103 w 18364"/>
                  <a:gd name="connsiteY2" fmla="*/ 2210 h 18414"/>
                  <a:gd name="connsiteX3" fmla="*/ 2185 w 18364"/>
                  <a:gd name="connsiteY3" fmla="*/ 3227 h 18414"/>
                  <a:gd name="connsiteX4" fmla="*/ 3261 w 18364"/>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3261" y="16205"/>
                    </a:moveTo>
                    <a:cubicBezTo>
                      <a:pt x="7149" y="19494"/>
                      <a:pt x="12890" y="19076"/>
                      <a:pt x="16180" y="15188"/>
                    </a:cubicBezTo>
                    <a:cubicBezTo>
                      <a:pt x="19469" y="11300"/>
                      <a:pt x="18990" y="5499"/>
                      <a:pt x="15103" y="2210"/>
                    </a:cubicBezTo>
                    <a:cubicBezTo>
                      <a:pt x="11215" y="-1079"/>
                      <a:pt x="5474" y="-661"/>
                      <a:pt x="2185" y="3227"/>
                    </a:cubicBezTo>
                    <a:cubicBezTo>
                      <a:pt x="-1105" y="7054"/>
                      <a:pt x="-626" y="12856"/>
                      <a:pt x="3261" y="16205"/>
                    </a:cubicBezTo>
                    <a:close/>
                  </a:path>
                </a:pathLst>
              </a:custGeom>
              <a:grpFill/>
              <a:ln w="5978" cap="flat">
                <a:noFill/>
                <a:prstDash val="solid"/>
                <a:miter/>
              </a:ln>
            </p:spPr>
            <p:txBody>
              <a:bodyPr rtlCol="0" anchor="ctr"/>
              <a:lstStyle/>
              <a:p>
                <a:endParaRPr lang="en-GB"/>
              </a:p>
            </p:txBody>
          </p:sp>
        </p:grpSp>
        <p:grpSp>
          <p:nvGrpSpPr>
            <p:cNvPr id="886" name="Graphic 3">
              <a:extLst>
                <a:ext uri="{FF2B5EF4-FFF2-40B4-BE49-F238E27FC236}">
                  <a16:creationId xmlns:a16="http://schemas.microsoft.com/office/drawing/2014/main" id="{F745732E-B76A-4A53-994B-132EAD993F25}"/>
                </a:ext>
              </a:extLst>
            </p:cNvPr>
            <p:cNvGrpSpPr/>
            <p:nvPr/>
          </p:nvGrpSpPr>
          <p:grpSpPr>
            <a:xfrm>
              <a:off x="5675116" y="5064009"/>
              <a:ext cx="47328" cy="159125"/>
              <a:chOff x="5675116" y="5064009"/>
              <a:chExt cx="47328" cy="159125"/>
            </a:xfrm>
            <a:grpFill/>
          </p:grpSpPr>
          <p:sp>
            <p:nvSpPr>
              <p:cNvPr id="2740" name="Vrije vorm: vorm 2739">
                <a:extLst>
                  <a:ext uri="{FF2B5EF4-FFF2-40B4-BE49-F238E27FC236}">
                    <a16:creationId xmlns:a16="http://schemas.microsoft.com/office/drawing/2014/main" id="{51544F01-372F-4CB7-BA7A-1DD26DA37206}"/>
                  </a:ext>
                </a:extLst>
              </p:cNvPr>
              <p:cNvSpPr/>
              <p:nvPr/>
            </p:nvSpPr>
            <p:spPr>
              <a:xfrm>
                <a:off x="5682662" y="5072529"/>
                <a:ext cx="32235" cy="142161"/>
              </a:xfrm>
              <a:custGeom>
                <a:avLst/>
                <a:gdLst>
                  <a:gd name="connsiteX0" fmla="*/ 32236 w 32235"/>
                  <a:gd name="connsiteY0" fmla="*/ 598 h 142161"/>
                  <a:gd name="connsiteX1" fmla="*/ 2990 w 32235"/>
                  <a:gd name="connsiteY1" fmla="*/ 142162 h 142161"/>
                  <a:gd name="connsiteX2" fmla="*/ 0 w 32235"/>
                  <a:gd name="connsiteY2" fmla="*/ 141564 h 142161"/>
                  <a:gd name="connsiteX3" fmla="*/ 29245 w 32235"/>
                  <a:gd name="connsiteY3" fmla="*/ 0 h 142161"/>
                </a:gdLst>
                <a:ahLst/>
                <a:cxnLst>
                  <a:cxn ang="0">
                    <a:pos x="connsiteX0" y="connsiteY0"/>
                  </a:cxn>
                  <a:cxn ang="0">
                    <a:pos x="connsiteX1" y="connsiteY1"/>
                  </a:cxn>
                  <a:cxn ang="0">
                    <a:pos x="connsiteX2" y="connsiteY2"/>
                  </a:cxn>
                  <a:cxn ang="0">
                    <a:pos x="connsiteX3" y="connsiteY3"/>
                  </a:cxn>
                </a:cxnLst>
                <a:rect l="l" t="t" r="r" b="b"/>
                <a:pathLst>
                  <a:path w="32235" h="142161">
                    <a:moveTo>
                      <a:pt x="32236" y="598"/>
                    </a:moveTo>
                    <a:lnTo>
                      <a:pt x="2990" y="142162"/>
                    </a:lnTo>
                    <a:lnTo>
                      <a:pt x="0" y="141564"/>
                    </a:lnTo>
                    <a:lnTo>
                      <a:pt x="29245" y="0"/>
                    </a:lnTo>
                    <a:close/>
                  </a:path>
                </a:pathLst>
              </a:custGeom>
              <a:grpFill/>
              <a:ln w="5978" cap="flat">
                <a:noFill/>
                <a:prstDash val="solid"/>
                <a:miter/>
              </a:ln>
            </p:spPr>
            <p:txBody>
              <a:bodyPr rtlCol="0" anchor="ctr"/>
              <a:lstStyle/>
              <a:p>
                <a:endParaRPr lang="en-GB"/>
              </a:p>
            </p:txBody>
          </p:sp>
          <p:sp>
            <p:nvSpPr>
              <p:cNvPr id="2741" name="Vrije vorm: vorm 2740">
                <a:extLst>
                  <a:ext uri="{FF2B5EF4-FFF2-40B4-BE49-F238E27FC236}">
                    <a16:creationId xmlns:a16="http://schemas.microsoft.com/office/drawing/2014/main" id="{8E4236BB-042B-42F3-97DE-64F4765C8874}"/>
                  </a:ext>
                </a:extLst>
              </p:cNvPr>
              <p:cNvSpPr/>
              <p:nvPr/>
            </p:nvSpPr>
            <p:spPr>
              <a:xfrm>
                <a:off x="5675116" y="5204693"/>
                <a:ext cx="18321" cy="18441"/>
              </a:xfrm>
              <a:custGeom>
                <a:avLst/>
                <a:gdLst>
                  <a:gd name="connsiteX0" fmla="*/ 18132 w 18321"/>
                  <a:gd name="connsiteY0" fmla="*/ 11135 h 18441"/>
                  <a:gd name="connsiteX1" fmla="*/ 7307 w 18321"/>
                  <a:gd name="connsiteY1" fmla="*/ 18252 h 18441"/>
                  <a:gd name="connsiteX2" fmla="*/ 190 w 18321"/>
                  <a:gd name="connsiteY2" fmla="*/ 7307 h 18441"/>
                  <a:gd name="connsiteX3" fmla="*/ 11015 w 18321"/>
                  <a:gd name="connsiteY3" fmla="*/ 190 h 18441"/>
                  <a:gd name="connsiteX4" fmla="*/ 18132 w 18321"/>
                  <a:gd name="connsiteY4" fmla="*/ 1113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8132" y="11135"/>
                    </a:moveTo>
                    <a:cubicBezTo>
                      <a:pt x="17115" y="16098"/>
                      <a:pt x="12271" y="19268"/>
                      <a:pt x="7307" y="18252"/>
                    </a:cubicBezTo>
                    <a:cubicBezTo>
                      <a:pt x="2343" y="17175"/>
                      <a:pt x="-827" y="12330"/>
                      <a:pt x="190" y="7307"/>
                    </a:cubicBezTo>
                    <a:cubicBezTo>
                      <a:pt x="1207" y="2343"/>
                      <a:pt x="6051" y="-827"/>
                      <a:pt x="11015" y="190"/>
                    </a:cubicBezTo>
                    <a:cubicBezTo>
                      <a:pt x="15979" y="1266"/>
                      <a:pt x="19149" y="6170"/>
                      <a:pt x="18132" y="11135"/>
                    </a:cubicBezTo>
                    <a:close/>
                  </a:path>
                </a:pathLst>
              </a:custGeom>
              <a:grpFill/>
              <a:ln w="5978" cap="flat">
                <a:noFill/>
                <a:prstDash val="solid"/>
                <a:miter/>
              </a:ln>
            </p:spPr>
            <p:txBody>
              <a:bodyPr rtlCol="0" anchor="ctr"/>
              <a:lstStyle/>
              <a:p>
                <a:endParaRPr lang="en-GB"/>
              </a:p>
            </p:txBody>
          </p:sp>
          <p:sp>
            <p:nvSpPr>
              <p:cNvPr id="2742" name="Vrije vorm: vorm 2741">
                <a:extLst>
                  <a:ext uri="{FF2B5EF4-FFF2-40B4-BE49-F238E27FC236}">
                    <a16:creationId xmlns:a16="http://schemas.microsoft.com/office/drawing/2014/main" id="{FFA6E9DF-4702-4CED-839E-EFB9444C00DC}"/>
                  </a:ext>
                </a:extLst>
              </p:cNvPr>
              <p:cNvSpPr/>
              <p:nvPr/>
            </p:nvSpPr>
            <p:spPr>
              <a:xfrm>
                <a:off x="5704123" y="5064009"/>
                <a:ext cx="18321" cy="18478"/>
              </a:xfrm>
              <a:custGeom>
                <a:avLst/>
                <a:gdLst>
                  <a:gd name="connsiteX0" fmla="*/ 18132 w 18321"/>
                  <a:gd name="connsiteY0" fmla="*/ 11152 h 18478"/>
                  <a:gd name="connsiteX1" fmla="*/ 11015 w 18321"/>
                  <a:gd name="connsiteY1" fmla="*/ 207 h 18478"/>
                  <a:gd name="connsiteX2" fmla="*/ 190 w 18321"/>
                  <a:gd name="connsiteY2" fmla="*/ 7324 h 18478"/>
                  <a:gd name="connsiteX3" fmla="*/ 7307 w 18321"/>
                  <a:gd name="connsiteY3" fmla="*/ 18269 h 18478"/>
                  <a:gd name="connsiteX4" fmla="*/ 18132 w 18321"/>
                  <a:gd name="connsiteY4" fmla="*/ 11152 h 1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78">
                    <a:moveTo>
                      <a:pt x="18132" y="11152"/>
                    </a:moveTo>
                    <a:cubicBezTo>
                      <a:pt x="19149" y="6188"/>
                      <a:pt x="15979" y="1284"/>
                      <a:pt x="11015" y="207"/>
                    </a:cubicBezTo>
                    <a:cubicBezTo>
                      <a:pt x="6051" y="-869"/>
                      <a:pt x="1206" y="2360"/>
                      <a:pt x="190" y="7324"/>
                    </a:cubicBezTo>
                    <a:cubicBezTo>
                      <a:pt x="-827" y="12288"/>
                      <a:pt x="2343" y="17193"/>
                      <a:pt x="7307" y="18269"/>
                    </a:cubicBezTo>
                    <a:cubicBezTo>
                      <a:pt x="12271" y="19346"/>
                      <a:pt x="17115" y="16176"/>
                      <a:pt x="18132" y="11152"/>
                    </a:cubicBezTo>
                    <a:close/>
                  </a:path>
                </a:pathLst>
              </a:custGeom>
              <a:grpFill/>
              <a:ln w="5978" cap="flat">
                <a:noFill/>
                <a:prstDash val="solid"/>
                <a:miter/>
              </a:ln>
            </p:spPr>
            <p:txBody>
              <a:bodyPr rtlCol="0" anchor="ctr"/>
              <a:lstStyle/>
              <a:p>
                <a:endParaRPr lang="en-GB"/>
              </a:p>
            </p:txBody>
          </p:sp>
        </p:grpSp>
        <p:grpSp>
          <p:nvGrpSpPr>
            <p:cNvPr id="887" name="Graphic 3">
              <a:extLst>
                <a:ext uri="{FF2B5EF4-FFF2-40B4-BE49-F238E27FC236}">
                  <a16:creationId xmlns:a16="http://schemas.microsoft.com/office/drawing/2014/main" id="{7D560CD0-5B82-423A-B1AD-A753AE7EA3F4}"/>
                </a:ext>
              </a:extLst>
            </p:cNvPr>
            <p:cNvGrpSpPr/>
            <p:nvPr/>
          </p:nvGrpSpPr>
          <p:grpSpPr>
            <a:xfrm>
              <a:off x="4688165" y="2288431"/>
              <a:ext cx="78512" cy="68084"/>
              <a:chOff x="4688165" y="2288431"/>
              <a:chExt cx="78512" cy="68084"/>
            </a:xfrm>
            <a:grpFill/>
          </p:grpSpPr>
          <p:sp>
            <p:nvSpPr>
              <p:cNvPr id="2737" name="Vrije vorm: vorm 2736">
                <a:extLst>
                  <a:ext uri="{FF2B5EF4-FFF2-40B4-BE49-F238E27FC236}">
                    <a16:creationId xmlns:a16="http://schemas.microsoft.com/office/drawing/2014/main" id="{A16D7B4E-C814-4492-B71B-A1C2C55A4AB0}"/>
                  </a:ext>
                </a:extLst>
              </p:cNvPr>
              <p:cNvSpPr/>
              <p:nvPr/>
            </p:nvSpPr>
            <p:spPr>
              <a:xfrm>
                <a:off x="4696022" y="2296219"/>
                <a:ext cx="62797" cy="52510"/>
              </a:xfrm>
              <a:custGeom>
                <a:avLst/>
                <a:gdLst>
                  <a:gd name="connsiteX0" fmla="*/ 62798 w 62797"/>
                  <a:gd name="connsiteY0" fmla="*/ 50178 h 52510"/>
                  <a:gd name="connsiteX1" fmla="*/ 60884 w 62797"/>
                  <a:gd name="connsiteY1" fmla="*/ 52511 h 52510"/>
                  <a:gd name="connsiteX2" fmla="*/ 0 w 62797"/>
                  <a:gd name="connsiteY2" fmla="*/ 2332 h 52510"/>
                  <a:gd name="connsiteX3" fmla="*/ 1974 w 62797"/>
                  <a:gd name="connsiteY3" fmla="*/ 0 h 52510"/>
                </a:gdLst>
                <a:ahLst/>
                <a:cxnLst>
                  <a:cxn ang="0">
                    <a:pos x="connsiteX0" y="connsiteY0"/>
                  </a:cxn>
                  <a:cxn ang="0">
                    <a:pos x="connsiteX1" y="connsiteY1"/>
                  </a:cxn>
                  <a:cxn ang="0">
                    <a:pos x="connsiteX2" y="connsiteY2"/>
                  </a:cxn>
                  <a:cxn ang="0">
                    <a:pos x="connsiteX3" y="connsiteY3"/>
                  </a:cxn>
                </a:cxnLst>
                <a:rect l="l" t="t" r="r" b="b"/>
                <a:pathLst>
                  <a:path w="62797" h="52510">
                    <a:moveTo>
                      <a:pt x="62798" y="50178"/>
                    </a:moveTo>
                    <a:lnTo>
                      <a:pt x="60884" y="52511"/>
                    </a:lnTo>
                    <a:lnTo>
                      <a:pt x="0" y="2332"/>
                    </a:lnTo>
                    <a:lnTo>
                      <a:pt x="1974" y="0"/>
                    </a:lnTo>
                    <a:close/>
                  </a:path>
                </a:pathLst>
              </a:custGeom>
              <a:grpFill/>
              <a:ln w="5978" cap="flat">
                <a:noFill/>
                <a:prstDash val="solid"/>
                <a:miter/>
              </a:ln>
            </p:spPr>
            <p:txBody>
              <a:bodyPr rtlCol="0" anchor="ctr"/>
              <a:lstStyle/>
              <a:p>
                <a:endParaRPr lang="en-GB"/>
              </a:p>
            </p:txBody>
          </p:sp>
          <p:sp>
            <p:nvSpPr>
              <p:cNvPr id="2738" name="Vrije vorm: vorm 2737">
                <a:extLst>
                  <a:ext uri="{FF2B5EF4-FFF2-40B4-BE49-F238E27FC236}">
                    <a16:creationId xmlns:a16="http://schemas.microsoft.com/office/drawing/2014/main" id="{0600EEA2-2B29-424E-A143-A7AE7979E5C1}"/>
                  </a:ext>
                </a:extLst>
              </p:cNvPr>
              <p:cNvSpPr/>
              <p:nvPr/>
            </p:nvSpPr>
            <p:spPr>
              <a:xfrm>
                <a:off x="4688165" y="2288431"/>
                <a:ext cx="18346" cy="18444"/>
              </a:xfrm>
              <a:custGeom>
                <a:avLst/>
                <a:gdLst>
                  <a:gd name="connsiteX0" fmla="*/ 3372 w 18346"/>
                  <a:gd name="connsiteY0" fmla="*/ 16339 h 18444"/>
                  <a:gd name="connsiteX1" fmla="*/ 2056 w 18346"/>
                  <a:gd name="connsiteY1" fmla="*/ 3361 h 18444"/>
                  <a:gd name="connsiteX2" fmla="*/ 14975 w 18346"/>
                  <a:gd name="connsiteY2" fmla="*/ 2105 h 18444"/>
                  <a:gd name="connsiteX3" fmla="*/ 16290 w 18346"/>
                  <a:gd name="connsiteY3" fmla="*/ 15084 h 18444"/>
                  <a:gd name="connsiteX4" fmla="*/ 3372 w 18346"/>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3372" y="16339"/>
                    </a:moveTo>
                    <a:cubicBezTo>
                      <a:pt x="-575" y="13110"/>
                      <a:pt x="-1114" y="7309"/>
                      <a:pt x="2056" y="3361"/>
                    </a:cubicBezTo>
                    <a:cubicBezTo>
                      <a:pt x="5286" y="-586"/>
                      <a:pt x="11027" y="-1124"/>
                      <a:pt x="14975" y="2105"/>
                    </a:cubicBezTo>
                    <a:cubicBezTo>
                      <a:pt x="18922" y="5335"/>
                      <a:pt x="19460" y="11136"/>
                      <a:pt x="16290" y="15084"/>
                    </a:cubicBezTo>
                    <a:cubicBezTo>
                      <a:pt x="13120" y="19031"/>
                      <a:pt x="7319" y="19569"/>
                      <a:pt x="3372" y="16339"/>
                    </a:cubicBezTo>
                    <a:close/>
                  </a:path>
                </a:pathLst>
              </a:custGeom>
              <a:grpFill/>
              <a:ln w="5978" cap="flat">
                <a:noFill/>
                <a:prstDash val="solid"/>
                <a:miter/>
              </a:ln>
            </p:spPr>
            <p:txBody>
              <a:bodyPr rtlCol="0" anchor="ctr"/>
              <a:lstStyle/>
              <a:p>
                <a:endParaRPr lang="en-GB"/>
              </a:p>
            </p:txBody>
          </p:sp>
          <p:sp>
            <p:nvSpPr>
              <p:cNvPr id="2739" name="Vrije vorm: vorm 2738">
                <a:extLst>
                  <a:ext uri="{FF2B5EF4-FFF2-40B4-BE49-F238E27FC236}">
                    <a16:creationId xmlns:a16="http://schemas.microsoft.com/office/drawing/2014/main" id="{CC0CD94D-D30C-4606-9C7E-F022E17A0663}"/>
                  </a:ext>
                </a:extLst>
              </p:cNvPr>
              <p:cNvSpPr/>
              <p:nvPr/>
            </p:nvSpPr>
            <p:spPr>
              <a:xfrm>
                <a:off x="4748350" y="2338072"/>
                <a:ext cx="18327" cy="18444"/>
              </a:xfrm>
              <a:custGeom>
                <a:avLst/>
                <a:gdLst>
                  <a:gd name="connsiteX0" fmla="*/ 3353 w 18327"/>
                  <a:gd name="connsiteY0" fmla="*/ 16339 h 18444"/>
                  <a:gd name="connsiteX1" fmla="*/ 16271 w 18327"/>
                  <a:gd name="connsiteY1" fmla="*/ 15083 h 18444"/>
                  <a:gd name="connsiteX2" fmla="*/ 14955 w 18327"/>
                  <a:gd name="connsiteY2" fmla="*/ 2105 h 18444"/>
                  <a:gd name="connsiteX3" fmla="*/ 2037 w 18327"/>
                  <a:gd name="connsiteY3" fmla="*/ 3361 h 18444"/>
                  <a:gd name="connsiteX4" fmla="*/ 3353 w 18327"/>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4">
                    <a:moveTo>
                      <a:pt x="3353" y="16339"/>
                    </a:moveTo>
                    <a:cubicBezTo>
                      <a:pt x="7300" y="19569"/>
                      <a:pt x="13041" y="19031"/>
                      <a:pt x="16271" y="15083"/>
                    </a:cubicBezTo>
                    <a:cubicBezTo>
                      <a:pt x="19441" y="11136"/>
                      <a:pt x="18903" y="5335"/>
                      <a:pt x="14955" y="2105"/>
                    </a:cubicBezTo>
                    <a:cubicBezTo>
                      <a:pt x="11008" y="-1124"/>
                      <a:pt x="5267" y="-586"/>
                      <a:pt x="2037" y="3361"/>
                    </a:cubicBezTo>
                    <a:cubicBezTo>
                      <a:pt x="-1133" y="7249"/>
                      <a:pt x="-534" y="13110"/>
                      <a:pt x="3353" y="16339"/>
                    </a:cubicBezTo>
                    <a:close/>
                  </a:path>
                </a:pathLst>
              </a:custGeom>
              <a:grpFill/>
              <a:ln w="5978" cap="flat">
                <a:noFill/>
                <a:prstDash val="solid"/>
                <a:miter/>
              </a:ln>
            </p:spPr>
            <p:txBody>
              <a:bodyPr rtlCol="0" anchor="ctr"/>
              <a:lstStyle/>
              <a:p>
                <a:endParaRPr lang="en-GB"/>
              </a:p>
            </p:txBody>
          </p:sp>
        </p:grpSp>
        <p:grpSp>
          <p:nvGrpSpPr>
            <p:cNvPr id="888" name="Graphic 3">
              <a:extLst>
                <a:ext uri="{FF2B5EF4-FFF2-40B4-BE49-F238E27FC236}">
                  <a16:creationId xmlns:a16="http://schemas.microsoft.com/office/drawing/2014/main" id="{089CE665-F5DC-4D85-9E27-753EDBFC6D38}"/>
                </a:ext>
              </a:extLst>
            </p:cNvPr>
            <p:cNvGrpSpPr/>
            <p:nvPr/>
          </p:nvGrpSpPr>
          <p:grpSpPr>
            <a:xfrm>
              <a:off x="4564437" y="2041996"/>
              <a:ext cx="237692" cy="261022"/>
              <a:chOff x="4564437" y="2041996"/>
              <a:chExt cx="237692" cy="261022"/>
            </a:xfrm>
            <a:grpFill/>
          </p:grpSpPr>
          <p:sp>
            <p:nvSpPr>
              <p:cNvPr id="2734" name="Vrije vorm: vorm 2733">
                <a:extLst>
                  <a:ext uri="{FF2B5EF4-FFF2-40B4-BE49-F238E27FC236}">
                    <a16:creationId xmlns:a16="http://schemas.microsoft.com/office/drawing/2014/main" id="{208BD38C-D2A6-4865-AE54-016FA7DF79C4}"/>
                  </a:ext>
                </a:extLst>
              </p:cNvPr>
              <p:cNvSpPr/>
              <p:nvPr/>
            </p:nvSpPr>
            <p:spPr>
              <a:xfrm>
                <a:off x="4572162" y="2049813"/>
                <a:ext cx="222243" cy="245388"/>
              </a:xfrm>
              <a:custGeom>
                <a:avLst/>
                <a:gdLst>
                  <a:gd name="connsiteX0" fmla="*/ 222243 w 222243"/>
                  <a:gd name="connsiteY0" fmla="*/ 243296 h 245388"/>
                  <a:gd name="connsiteX1" fmla="*/ 219971 w 222243"/>
                  <a:gd name="connsiteY1" fmla="*/ 245389 h 245388"/>
                  <a:gd name="connsiteX2" fmla="*/ 0 w 222243"/>
                  <a:gd name="connsiteY2" fmla="*/ 2033 h 245388"/>
                  <a:gd name="connsiteX3" fmla="*/ 2272 w 222243"/>
                  <a:gd name="connsiteY3" fmla="*/ 0 h 245388"/>
                </a:gdLst>
                <a:ahLst/>
                <a:cxnLst>
                  <a:cxn ang="0">
                    <a:pos x="connsiteX0" y="connsiteY0"/>
                  </a:cxn>
                  <a:cxn ang="0">
                    <a:pos x="connsiteX1" y="connsiteY1"/>
                  </a:cxn>
                  <a:cxn ang="0">
                    <a:pos x="connsiteX2" y="connsiteY2"/>
                  </a:cxn>
                  <a:cxn ang="0">
                    <a:pos x="connsiteX3" y="connsiteY3"/>
                  </a:cxn>
                </a:cxnLst>
                <a:rect l="l" t="t" r="r" b="b"/>
                <a:pathLst>
                  <a:path w="222243" h="245388">
                    <a:moveTo>
                      <a:pt x="222243" y="243296"/>
                    </a:moveTo>
                    <a:lnTo>
                      <a:pt x="219971" y="245389"/>
                    </a:lnTo>
                    <a:lnTo>
                      <a:pt x="0" y="2033"/>
                    </a:lnTo>
                    <a:lnTo>
                      <a:pt x="2272" y="0"/>
                    </a:lnTo>
                    <a:close/>
                  </a:path>
                </a:pathLst>
              </a:custGeom>
              <a:grpFill/>
              <a:ln w="5978" cap="flat">
                <a:noFill/>
                <a:prstDash val="solid"/>
                <a:miter/>
              </a:ln>
            </p:spPr>
            <p:txBody>
              <a:bodyPr rtlCol="0" anchor="ctr"/>
              <a:lstStyle/>
              <a:p>
                <a:endParaRPr lang="en-GB"/>
              </a:p>
            </p:txBody>
          </p:sp>
          <p:sp>
            <p:nvSpPr>
              <p:cNvPr id="2735" name="Vrije vorm: vorm 2734">
                <a:extLst>
                  <a:ext uri="{FF2B5EF4-FFF2-40B4-BE49-F238E27FC236}">
                    <a16:creationId xmlns:a16="http://schemas.microsoft.com/office/drawing/2014/main" id="{F8132C42-F70B-4BE6-8F76-EA9F9CCC1A2A}"/>
                  </a:ext>
                </a:extLst>
              </p:cNvPr>
              <p:cNvSpPr/>
              <p:nvPr/>
            </p:nvSpPr>
            <p:spPr>
              <a:xfrm>
                <a:off x="4783810" y="2284574"/>
                <a:ext cx="18319" cy="18444"/>
              </a:xfrm>
              <a:custGeom>
                <a:avLst/>
                <a:gdLst>
                  <a:gd name="connsiteX0" fmla="*/ 15918 w 18319"/>
                  <a:gd name="connsiteY0" fmla="*/ 3032 h 18444"/>
                  <a:gd name="connsiteX1" fmla="*/ 15320 w 18319"/>
                  <a:gd name="connsiteY1" fmla="*/ 16070 h 18444"/>
                  <a:gd name="connsiteX2" fmla="*/ 2402 w 18319"/>
                  <a:gd name="connsiteY2" fmla="*/ 15412 h 18444"/>
                  <a:gd name="connsiteX3" fmla="*/ 2999 w 18319"/>
                  <a:gd name="connsiteY3" fmla="*/ 2374 h 18444"/>
                  <a:gd name="connsiteX4" fmla="*/ 15918 w 18319"/>
                  <a:gd name="connsiteY4" fmla="*/ 30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15918" y="3032"/>
                    </a:moveTo>
                    <a:cubicBezTo>
                      <a:pt x="19327" y="6800"/>
                      <a:pt x="19088" y="12661"/>
                      <a:pt x="15320" y="16070"/>
                    </a:cubicBezTo>
                    <a:cubicBezTo>
                      <a:pt x="11552" y="19479"/>
                      <a:pt x="5811" y="19180"/>
                      <a:pt x="2402" y="15412"/>
                    </a:cubicBezTo>
                    <a:cubicBezTo>
                      <a:pt x="-1008" y="11644"/>
                      <a:pt x="-768" y="5783"/>
                      <a:pt x="2999" y="2374"/>
                    </a:cubicBezTo>
                    <a:cubicBezTo>
                      <a:pt x="6707" y="-1035"/>
                      <a:pt x="12509" y="-736"/>
                      <a:pt x="15918" y="3032"/>
                    </a:cubicBezTo>
                    <a:close/>
                  </a:path>
                </a:pathLst>
              </a:custGeom>
              <a:grpFill/>
              <a:ln w="5978" cap="flat">
                <a:noFill/>
                <a:prstDash val="solid"/>
                <a:miter/>
              </a:ln>
            </p:spPr>
            <p:txBody>
              <a:bodyPr rtlCol="0" anchor="ctr"/>
              <a:lstStyle/>
              <a:p>
                <a:endParaRPr lang="en-GB"/>
              </a:p>
            </p:txBody>
          </p:sp>
          <p:sp>
            <p:nvSpPr>
              <p:cNvPr id="2736" name="Vrije vorm: vorm 2735">
                <a:extLst>
                  <a:ext uri="{FF2B5EF4-FFF2-40B4-BE49-F238E27FC236}">
                    <a16:creationId xmlns:a16="http://schemas.microsoft.com/office/drawing/2014/main" id="{D141EB49-7F3B-4C07-B748-5D5CEAE0CAEC}"/>
                  </a:ext>
                </a:extLst>
              </p:cNvPr>
              <p:cNvSpPr/>
              <p:nvPr/>
            </p:nvSpPr>
            <p:spPr>
              <a:xfrm>
                <a:off x="4564437" y="2041996"/>
                <a:ext cx="18319" cy="18444"/>
              </a:xfrm>
              <a:custGeom>
                <a:avLst/>
                <a:gdLst>
                  <a:gd name="connsiteX0" fmla="*/ 15918 w 18319"/>
                  <a:gd name="connsiteY0" fmla="*/ 3032 h 18444"/>
                  <a:gd name="connsiteX1" fmla="*/ 2999 w 18319"/>
                  <a:gd name="connsiteY1" fmla="*/ 2374 h 18444"/>
                  <a:gd name="connsiteX2" fmla="*/ 2402 w 18319"/>
                  <a:gd name="connsiteY2" fmla="*/ 15412 h 18444"/>
                  <a:gd name="connsiteX3" fmla="*/ 15320 w 18319"/>
                  <a:gd name="connsiteY3" fmla="*/ 16070 h 18444"/>
                  <a:gd name="connsiteX4" fmla="*/ 15918 w 18319"/>
                  <a:gd name="connsiteY4" fmla="*/ 30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15918" y="3032"/>
                    </a:moveTo>
                    <a:cubicBezTo>
                      <a:pt x="12509" y="-736"/>
                      <a:pt x="6707" y="-1035"/>
                      <a:pt x="2999" y="2374"/>
                    </a:cubicBezTo>
                    <a:cubicBezTo>
                      <a:pt x="-768" y="5783"/>
                      <a:pt x="-1008" y="11644"/>
                      <a:pt x="2402" y="15412"/>
                    </a:cubicBezTo>
                    <a:cubicBezTo>
                      <a:pt x="5811" y="19180"/>
                      <a:pt x="11612" y="19479"/>
                      <a:pt x="15320" y="16070"/>
                    </a:cubicBezTo>
                    <a:cubicBezTo>
                      <a:pt x="19088" y="12601"/>
                      <a:pt x="19327" y="6800"/>
                      <a:pt x="15918" y="3032"/>
                    </a:cubicBezTo>
                    <a:close/>
                  </a:path>
                </a:pathLst>
              </a:custGeom>
              <a:grpFill/>
              <a:ln w="5978" cap="flat">
                <a:noFill/>
                <a:prstDash val="solid"/>
                <a:miter/>
              </a:ln>
            </p:spPr>
            <p:txBody>
              <a:bodyPr rtlCol="0" anchor="ctr"/>
              <a:lstStyle/>
              <a:p>
                <a:endParaRPr lang="en-GB"/>
              </a:p>
            </p:txBody>
          </p:sp>
        </p:grpSp>
        <p:grpSp>
          <p:nvGrpSpPr>
            <p:cNvPr id="889" name="Graphic 3">
              <a:extLst>
                <a:ext uri="{FF2B5EF4-FFF2-40B4-BE49-F238E27FC236}">
                  <a16:creationId xmlns:a16="http://schemas.microsoft.com/office/drawing/2014/main" id="{BB103002-165A-4B69-B19F-8AC801D86FBE}"/>
                </a:ext>
              </a:extLst>
            </p:cNvPr>
            <p:cNvGrpSpPr/>
            <p:nvPr/>
          </p:nvGrpSpPr>
          <p:grpSpPr>
            <a:xfrm>
              <a:off x="4611477" y="1982021"/>
              <a:ext cx="26113" cy="26158"/>
              <a:chOff x="4611477" y="1982021"/>
              <a:chExt cx="26113" cy="26158"/>
            </a:xfrm>
            <a:grpFill/>
          </p:grpSpPr>
          <p:sp>
            <p:nvSpPr>
              <p:cNvPr id="2731" name="Vrije vorm: vorm 2730">
                <a:extLst>
                  <a:ext uri="{FF2B5EF4-FFF2-40B4-BE49-F238E27FC236}">
                    <a16:creationId xmlns:a16="http://schemas.microsoft.com/office/drawing/2014/main" id="{8A8A267C-C9A6-4706-8A5C-8DEEACDA3763}"/>
                  </a:ext>
                </a:extLst>
              </p:cNvPr>
              <p:cNvSpPr/>
              <p:nvPr/>
            </p:nvSpPr>
            <p:spPr>
              <a:xfrm>
                <a:off x="4619290" y="1989826"/>
                <a:ext cx="10466" cy="10526"/>
              </a:xfrm>
              <a:custGeom>
                <a:avLst/>
                <a:gdLst>
                  <a:gd name="connsiteX0" fmla="*/ 10466 w 10466"/>
                  <a:gd name="connsiteY0" fmla="*/ 8373 h 10526"/>
                  <a:gd name="connsiteX1" fmla="*/ 8373 w 10466"/>
                  <a:gd name="connsiteY1" fmla="*/ 10526 h 10526"/>
                  <a:gd name="connsiteX2" fmla="*/ 0 w 10466"/>
                  <a:gd name="connsiteY2" fmla="*/ 2213 h 10526"/>
                  <a:gd name="connsiteX3" fmla="*/ 2093 w 10466"/>
                  <a:gd name="connsiteY3" fmla="*/ 0 h 10526"/>
                </a:gdLst>
                <a:ahLst/>
                <a:cxnLst>
                  <a:cxn ang="0">
                    <a:pos x="connsiteX0" y="connsiteY0"/>
                  </a:cxn>
                  <a:cxn ang="0">
                    <a:pos x="connsiteX1" y="connsiteY1"/>
                  </a:cxn>
                  <a:cxn ang="0">
                    <a:pos x="connsiteX2" y="connsiteY2"/>
                  </a:cxn>
                  <a:cxn ang="0">
                    <a:pos x="connsiteX3" y="connsiteY3"/>
                  </a:cxn>
                </a:cxnLst>
                <a:rect l="l" t="t" r="r" b="b"/>
                <a:pathLst>
                  <a:path w="10466" h="10526">
                    <a:moveTo>
                      <a:pt x="10466" y="8373"/>
                    </a:moveTo>
                    <a:lnTo>
                      <a:pt x="8373" y="10526"/>
                    </a:lnTo>
                    <a:lnTo>
                      <a:pt x="0" y="2213"/>
                    </a:lnTo>
                    <a:lnTo>
                      <a:pt x="2093" y="0"/>
                    </a:lnTo>
                    <a:close/>
                  </a:path>
                </a:pathLst>
              </a:custGeom>
              <a:grpFill/>
              <a:ln w="5978" cap="flat">
                <a:noFill/>
                <a:prstDash val="solid"/>
                <a:miter/>
              </a:ln>
            </p:spPr>
            <p:txBody>
              <a:bodyPr rtlCol="0" anchor="ctr"/>
              <a:lstStyle/>
              <a:p>
                <a:endParaRPr lang="en-GB"/>
              </a:p>
            </p:txBody>
          </p:sp>
          <p:sp>
            <p:nvSpPr>
              <p:cNvPr id="2732" name="Vrije vorm: vorm 2731">
                <a:extLst>
                  <a:ext uri="{FF2B5EF4-FFF2-40B4-BE49-F238E27FC236}">
                    <a16:creationId xmlns:a16="http://schemas.microsoft.com/office/drawing/2014/main" id="{138C4EF9-4D90-4FF4-AE8F-7BB4EE377ECD}"/>
                  </a:ext>
                </a:extLst>
              </p:cNvPr>
              <p:cNvSpPr/>
              <p:nvPr/>
            </p:nvSpPr>
            <p:spPr>
              <a:xfrm>
                <a:off x="4611477" y="1982021"/>
                <a:ext cx="18316" cy="18443"/>
              </a:xfrm>
              <a:custGeom>
                <a:avLst/>
                <a:gdLst>
                  <a:gd name="connsiteX0" fmla="*/ 2729 w 18316"/>
                  <a:gd name="connsiteY0" fmla="*/ 15759 h 18443"/>
                  <a:gd name="connsiteX1" fmla="*/ 2609 w 18316"/>
                  <a:gd name="connsiteY1" fmla="*/ 2721 h 18443"/>
                  <a:gd name="connsiteX2" fmla="*/ 15588 w 18316"/>
                  <a:gd name="connsiteY2" fmla="*/ 2662 h 18443"/>
                  <a:gd name="connsiteX3" fmla="*/ 15707 w 18316"/>
                  <a:gd name="connsiteY3" fmla="*/ 15700 h 18443"/>
                  <a:gd name="connsiteX4" fmla="*/ 2729 w 18316"/>
                  <a:gd name="connsiteY4" fmla="*/ 15759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3">
                    <a:moveTo>
                      <a:pt x="2729" y="15759"/>
                    </a:moveTo>
                    <a:cubicBezTo>
                      <a:pt x="-859" y="12171"/>
                      <a:pt x="-919" y="6370"/>
                      <a:pt x="2609" y="2721"/>
                    </a:cubicBezTo>
                    <a:cubicBezTo>
                      <a:pt x="6138" y="-867"/>
                      <a:pt x="11939" y="-927"/>
                      <a:pt x="15588" y="2662"/>
                    </a:cubicBezTo>
                    <a:cubicBezTo>
                      <a:pt x="19176" y="6250"/>
                      <a:pt x="19236" y="12051"/>
                      <a:pt x="15707" y="15700"/>
                    </a:cubicBezTo>
                    <a:cubicBezTo>
                      <a:pt x="12179" y="19348"/>
                      <a:pt x="6377" y="19348"/>
                      <a:pt x="2729" y="15759"/>
                    </a:cubicBezTo>
                    <a:close/>
                  </a:path>
                </a:pathLst>
              </a:custGeom>
              <a:grpFill/>
              <a:ln w="5978" cap="flat">
                <a:noFill/>
                <a:prstDash val="solid"/>
                <a:miter/>
              </a:ln>
            </p:spPr>
            <p:txBody>
              <a:bodyPr rtlCol="0" anchor="ctr"/>
              <a:lstStyle/>
              <a:p>
                <a:endParaRPr lang="en-GB"/>
              </a:p>
            </p:txBody>
          </p:sp>
          <p:sp>
            <p:nvSpPr>
              <p:cNvPr id="2733" name="Vrije vorm: vorm 2732">
                <a:extLst>
                  <a:ext uri="{FF2B5EF4-FFF2-40B4-BE49-F238E27FC236}">
                    <a16:creationId xmlns:a16="http://schemas.microsoft.com/office/drawing/2014/main" id="{056A5F7C-9659-4CBD-A10A-21514F101F04}"/>
                  </a:ext>
                </a:extLst>
              </p:cNvPr>
              <p:cNvSpPr/>
              <p:nvPr/>
            </p:nvSpPr>
            <p:spPr>
              <a:xfrm>
                <a:off x="4619230" y="1989714"/>
                <a:ext cx="18361" cy="18465"/>
              </a:xfrm>
              <a:custGeom>
                <a:avLst/>
                <a:gdLst>
                  <a:gd name="connsiteX0" fmla="*/ 2751 w 18361"/>
                  <a:gd name="connsiteY0" fmla="*/ 15782 h 18465"/>
                  <a:gd name="connsiteX1" fmla="*/ 15730 w 18361"/>
                  <a:gd name="connsiteY1" fmla="*/ 15722 h 18465"/>
                  <a:gd name="connsiteX2" fmla="*/ 15610 w 18361"/>
                  <a:gd name="connsiteY2" fmla="*/ 2684 h 18465"/>
                  <a:gd name="connsiteX3" fmla="*/ 2632 w 18361"/>
                  <a:gd name="connsiteY3" fmla="*/ 2744 h 18465"/>
                  <a:gd name="connsiteX4" fmla="*/ 2751 w 18361"/>
                  <a:gd name="connsiteY4" fmla="*/ 1578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65">
                    <a:moveTo>
                      <a:pt x="2751" y="15782"/>
                    </a:moveTo>
                    <a:cubicBezTo>
                      <a:pt x="6340" y="19370"/>
                      <a:pt x="12141" y="19370"/>
                      <a:pt x="15730" y="15722"/>
                    </a:cubicBezTo>
                    <a:cubicBezTo>
                      <a:pt x="19258" y="12133"/>
                      <a:pt x="19258" y="6272"/>
                      <a:pt x="15610" y="2684"/>
                    </a:cubicBezTo>
                    <a:cubicBezTo>
                      <a:pt x="12021" y="-905"/>
                      <a:pt x="6220" y="-905"/>
                      <a:pt x="2632" y="2744"/>
                    </a:cubicBezTo>
                    <a:cubicBezTo>
                      <a:pt x="-897" y="6332"/>
                      <a:pt x="-897" y="12193"/>
                      <a:pt x="2751" y="15782"/>
                    </a:cubicBezTo>
                    <a:close/>
                  </a:path>
                </a:pathLst>
              </a:custGeom>
              <a:grpFill/>
              <a:ln w="5978" cap="flat">
                <a:noFill/>
                <a:prstDash val="solid"/>
                <a:miter/>
              </a:ln>
            </p:spPr>
            <p:txBody>
              <a:bodyPr rtlCol="0" anchor="ctr"/>
              <a:lstStyle/>
              <a:p>
                <a:endParaRPr lang="en-GB"/>
              </a:p>
            </p:txBody>
          </p:sp>
        </p:grpSp>
        <p:grpSp>
          <p:nvGrpSpPr>
            <p:cNvPr id="890" name="Graphic 3">
              <a:extLst>
                <a:ext uri="{FF2B5EF4-FFF2-40B4-BE49-F238E27FC236}">
                  <a16:creationId xmlns:a16="http://schemas.microsoft.com/office/drawing/2014/main" id="{705DEAF6-4273-486E-A644-3F5C88BF2B09}"/>
                </a:ext>
              </a:extLst>
            </p:cNvPr>
            <p:cNvGrpSpPr/>
            <p:nvPr/>
          </p:nvGrpSpPr>
          <p:grpSpPr>
            <a:xfrm>
              <a:off x="5698104" y="5092576"/>
              <a:ext cx="146684" cy="672887"/>
              <a:chOff x="5698104" y="5092576"/>
              <a:chExt cx="146684" cy="672887"/>
            </a:xfrm>
            <a:grpFill/>
          </p:grpSpPr>
          <p:sp>
            <p:nvSpPr>
              <p:cNvPr id="2728" name="Vrije vorm: vorm 2727">
                <a:extLst>
                  <a:ext uri="{FF2B5EF4-FFF2-40B4-BE49-F238E27FC236}">
                    <a16:creationId xmlns:a16="http://schemas.microsoft.com/office/drawing/2014/main" id="{CD9675A7-F1B6-4F13-905C-8A9C914C942C}"/>
                  </a:ext>
                </a:extLst>
              </p:cNvPr>
              <p:cNvSpPr/>
              <p:nvPr/>
            </p:nvSpPr>
            <p:spPr>
              <a:xfrm>
                <a:off x="5705688" y="5101057"/>
                <a:ext cx="131456" cy="655965"/>
              </a:xfrm>
              <a:custGeom>
                <a:avLst/>
                <a:gdLst>
                  <a:gd name="connsiteX0" fmla="*/ 131456 w 131456"/>
                  <a:gd name="connsiteY0" fmla="*/ 598 h 655965"/>
                  <a:gd name="connsiteX1" fmla="*/ 2990 w 131456"/>
                  <a:gd name="connsiteY1" fmla="*/ 655965 h 655965"/>
                  <a:gd name="connsiteX2" fmla="*/ 0 w 131456"/>
                  <a:gd name="connsiteY2" fmla="*/ 655367 h 655965"/>
                  <a:gd name="connsiteX3" fmla="*/ 128466 w 131456"/>
                  <a:gd name="connsiteY3" fmla="*/ 0 h 655965"/>
                </a:gdLst>
                <a:ahLst/>
                <a:cxnLst>
                  <a:cxn ang="0">
                    <a:pos x="connsiteX0" y="connsiteY0"/>
                  </a:cxn>
                  <a:cxn ang="0">
                    <a:pos x="connsiteX1" y="connsiteY1"/>
                  </a:cxn>
                  <a:cxn ang="0">
                    <a:pos x="connsiteX2" y="connsiteY2"/>
                  </a:cxn>
                  <a:cxn ang="0">
                    <a:pos x="connsiteX3" y="connsiteY3"/>
                  </a:cxn>
                </a:cxnLst>
                <a:rect l="l" t="t" r="r" b="b"/>
                <a:pathLst>
                  <a:path w="131456" h="655965">
                    <a:moveTo>
                      <a:pt x="131456" y="598"/>
                    </a:moveTo>
                    <a:lnTo>
                      <a:pt x="2990" y="655965"/>
                    </a:lnTo>
                    <a:lnTo>
                      <a:pt x="0" y="655367"/>
                    </a:lnTo>
                    <a:lnTo>
                      <a:pt x="128466" y="0"/>
                    </a:lnTo>
                    <a:close/>
                  </a:path>
                </a:pathLst>
              </a:custGeom>
              <a:grpFill/>
              <a:ln w="5978" cap="flat">
                <a:noFill/>
                <a:prstDash val="solid"/>
                <a:miter/>
              </a:ln>
            </p:spPr>
            <p:txBody>
              <a:bodyPr rtlCol="0" anchor="ctr"/>
              <a:lstStyle/>
              <a:p>
                <a:endParaRPr lang="en-GB"/>
              </a:p>
            </p:txBody>
          </p:sp>
          <p:sp>
            <p:nvSpPr>
              <p:cNvPr id="2729" name="Vrije vorm: vorm 2728">
                <a:extLst>
                  <a:ext uri="{FF2B5EF4-FFF2-40B4-BE49-F238E27FC236}">
                    <a16:creationId xmlns:a16="http://schemas.microsoft.com/office/drawing/2014/main" id="{4ACDEA1F-6896-48FA-B4FC-B65D2FDAEF1C}"/>
                  </a:ext>
                </a:extLst>
              </p:cNvPr>
              <p:cNvSpPr/>
              <p:nvPr/>
            </p:nvSpPr>
            <p:spPr>
              <a:xfrm>
                <a:off x="5826431" y="5092576"/>
                <a:ext cx="18356" cy="18397"/>
              </a:xfrm>
              <a:custGeom>
                <a:avLst/>
                <a:gdLst>
                  <a:gd name="connsiteX0" fmla="*/ 187 w 18356"/>
                  <a:gd name="connsiteY0" fmla="*/ 7405 h 18397"/>
                  <a:gd name="connsiteX1" fmla="*/ 10952 w 18356"/>
                  <a:gd name="connsiteY1" fmla="*/ 168 h 18397"/>
                  <a:gd name="connsiteX2" fmla="*/ 18189 w 18356"/>
                  <a:gd name="connsiteY2" fmla="*/ 10993 h 18397"/>
                  <a:gd name="connsiteX3" fmla="*/ 7424 w 18356"/>
                  <a:gd name="connsiteY3" fmla="*/ 18230 h 18397"/>
                  <a:gd name="connsiteX4" fmla="*/ 187 w 18356"/>
                  <a:gd name="connsiteY4" fmla="*/ 7405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87" y="7405"/>
                    </a:moveTo>
                    <a:cubicBezTo>
                      <a:pt x="1144" y="2441"/>
                      <a:pt x="5988" y="-789"/>
                      <a:pt x="10952" y="168"/>
                    </a:cubicBezTo>
                    <a:cubicBezTo>
                      <a:pt x="15916" y="1185"/>
                      <a:pt x="19146" y="6029"/>
                      <a:pt x="18189" y="10993"/>
                    </a:cubicBezTo>
                    <a:cubicBezTo>
                      <a:pt x="17232" y="15957"/>
                      <a:pt x="12388" y="19187"/>
                      <a:pt x="7424" y="18230"/>
                    </a:cubicBezTo>
                    <a:cubicBezTo>
                      <a:pt x="2400" y="17273"/>
                      <a:pt x="-830" y="12428"/>
                      <a:pt x="187" y="7405"/>
                    </a:cubicBezTo>
                    <a:close/>
                  </a:path>
                </a:pathLst>
              </a:custGeom>
              <a:grpFill/>
              <a:ln w="5978" cap="flat">
                <a:noFill/>
                <a:prstDash val="solid"/>
                <a:miter/>
              </a:ln>
            </p:spPr>
            <p:txBody>
              <a:bodyPr rtlCol="0" anchor="ctr"/>
              <a:lstStyle/>
              <a:p>
                <a:endParaRPr lang="en-GB"/>
              </a:p>
            </p:txBody>
          </p:sp>
          <p:sp>
            <p:nvSpPr>
              <p:cNvPr id="2730" name="Vrije vorm: vorm 2729">
                <a:extLst>
                  <a:ext uri="{FF2B5EF4-FFF2-40B4-BE49-F238E27FC236}">
                    <a16:creationId xmlns:a16="http://schemas.microsoft.com/office/drawing/2014/main" id="{0E4BEFF0-B9F3-4BC2-9062-DDD72D4D173B}"/>
                  </a:ext>
                </a:extLst>
              </p:cNvPr>
              <p:cNvSpPr/>
              <p:nvPr/>
            </p:nvSpPr>
            <p:spPr>
              <a:xfrm>
                <a:off x="5698104" y="5747027"/>
                <a:ext cx="18337" cy="18435"/>
              </a:xfrm>
              <a:custGeom>
                <a:avLst/>
                <a:gdLst>
                  <a:gd name="connsiteX0" fmla="*/ 168 w 18337"/>
                  <a:gd name="connsiteY0" fmla="*/ 7424 h 18435"/>
                  <a:gd name="connsiteX1" fmla="*/ 7405 w 18337"/>
                  <a:gd name="connsiteY1" fmla="*/ 18249 h 18435"/>
                  <a:gd name="connsiteX2" fmla="*/ 18170 w 18337"/>
                  <a:gd name="connsiteY2" fmla="*/ 11012 h 18435"/>
                  <a:gd name="connsiteX3" fmla="*/ 10933 w 18337"/>
                  <a:gd name="connsiteY3" fmla="*/ 187 h 18435"/>
                  <a:gd name="connsiteX4" fmla="*/ 168 w 18337"/>
                  <a:gd name="connsiteY4" fmla="*/ 7424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5">
                    <a:moveTo>
                      <a:pt x="168" y="7424"/>
                    </a:moveTo>
                    <a:cubicBezTo>
                      <a:pt x="-789" y="12388"/>
                      <a:pt x="2441" y="17292"/>
                      <a:pt x="7405" y="18249"/>
                    </a:cubicBezTo>
                    <a:cubicBezTo>
                      <a:pt x="12368" y="19266"/>
                      <a:pt x="17213" y="16036"/>
                      <a:pt x="18170" y="11012"/>
                    </a:cubicBezTo>
                    <a:cubicBezTo>
                      <a:pt x="19127" y="5988"/>
                      <a:pt x="15897" y="1144"/>
                      <a:pt x="10933" y="187"/>
                    </a:cubicBezTo>
                    <a:cubicBezTo>
                      <a:pt x="5969" y="-830"/>
                      <a:pt x="1185" y="2400"/>
                      <a:pt x="168" y="7424"/>
                    </a:cubicBezTo>
                    <a:close/>
                  </a:path>
                </a:pathLst>
              </a:custGeom>
              <a:grpFill/>
              <a:ln w="5978" cap="flat">
                <a:noFill/>
                <a:prstDash val="solid"/>
                <a:miter/>
              </a:ln>
            </p:spPr>
            <p:txBody>
              <a:bodyPr rtlCol="0" anchor="ctr"/>
              <a:lstStyle/>
              <a:p>
                <a:endParaRPr lang="en-GB"/>
              </a:p>
            </p:txBody>
          </p:sp>
        </p:grpSp>
        <p:grpSp>
          <p:nvGrpSpPr>
            <p:cNvPr id="891" name="Graphic 3">
              <a:extLst>
                <a:ext uri="{FF2B5EF4-FFF2-40B4-BE49-F238E27FC236}">
                  <a16:creationId xmlns:a16="http://schemas.microsoft.com/office/drawing/2014/main" id="{C033995D-1D09-4F75-939F-7DFEC74ABDC8}"/>
                </a:ext>
              </a:extLst>
            </p:cNvPr>
            <p:cNvGrpSpPr/>
            <p:nvPr/>
          </p:nvGrpSpPr>
          <p:grpSpPr>
            <a:xfrm>
              <a:off x="5643213" y="5054831"/>
              <a:ext cx="49132" cy="154673"/>
              <a:chOff x="5643213" y="5054831"/>
              <a:chExt cx="49132" cy="154673"/>
            </a:xfrm>
            <a:grpFill/>
          </p:grpSpPr>
          <p:sp>
            <p:nvSpPr>
              <p:cNvPr id="2725" name="Vrije vorm: vorm 2724">
                <a:extLst>
                  <a:ext uri="{FF2B5EF4-FFF2-40B4-BE49-F238E27FC236}">
                    <a16:creationId xmlns:a16="http://schemas.microsoft.com/office/drawing/2014/main" id="{D4AD57BE-6FC3-4C1A-A160-6854EF3D0852}"/>
                  </a:ext>
                </a:extLst>
              </p:cNvPr>
              <p:cNvSpPr/>
              <p:nvPr/>
            </p:nvSpPr>
            <p:spPr>
              <a:xfrm>
                <a:off x="5650785" y="5063259"/>
                <a:ext cx="33970" cy="137855"/>
              </a:xfrm>
              <a:custGeom>
                <a:avLst/>
                <a:gdLst>
                  <a:gd name="connsiteX0" fmla="*/ 33970 w 33970"/>
                  <a:gd name="connsiteY0" fmla="*/ 718 h 137855"/>
                  <a:gd name="connsiteX1" fmla="*/ 2990 w 33970"/>
                  <a:gd name="connsiteY1" fmla="*/ 137856 h 137855"/>
                  <a:gd name="connsiteX2" fmla="*/ 0 w 33970"/>
                  <a:gd name="connsiteY2" fmla="*/ 137138 h 137855"/>
                  <a:gd name="connsiteX3" fmla="*/ 30980 w 33970"/>
                  <a:gd name="connsiteY3" fmla="*/ 0 h 137855"/>
                </a:gdLst>
                <a:ahLst/>
                <a:cxnLst>
                  <a:cxn ang="0">
                    <a:pos x="connsiteX0" y="connsiteY0"/>
                  </a:cxn>
                  <a:cxn ang="0">
                    <a:pos x="connsiteX1" y="connsiteY1"/>
                  </a:cxn>
                  <a:cxn ang="0">
                    <a:pos x="connsiteX2" y="connsiteY2"/>
                  </a:cxn>
                  <a:cxn ang="0">
                    <a:pos x="connsiteX3" y="connsiteY3"/>
                  </a:cxn>
                </a:cxnLst>
                <a:rect l="l" t="t" r="r" b="b"/>
                <a:pathLst>
                  <a:path w="33970" h="137855">
                    <a:moveTo>
                      <a:pt x="33970" y="718"/>
                    </a:moveTo>
                    <a:lnTo>
                      <a:pt x="2990" y="137856"/>
                    </a:lnTo>
                    <a:lnTo>
                      <a:pt x="0" y="137138"/>
                    </a:lnTo>
                    <a:lnTo>
                      <a:pt x="30980" y="0"/>
                    </a:lnTo>
                    <a:close/>
                  </a:path>
                </a:pathLst>
              </a:custGeom>
              <a:grpFill/>
              <a:ln w="5978" cap="flat">
                <a:noFill/>
                <a:prstDash val="solid"/>
                <a:miter/>
              </a:ln>
            </p:spPr>
            <p:txBody>
              <a:bodyPr rtlCol="0" anchor="ctr"/>
              <a:lstStyle/>
              <a:p>
                <a:endParaRPr lang="en-GB"/>
              </a:p>
            </p:txBody>
          </p:sp>
          <p:sp>
            <p:nvSpPr>
              <p:cNvPr id="2726" name="Vrije vorm: vorm 2725">
                <a:extLst>
                  <a:ext uri="{FF2B5EF4-FFF2-40B4-BE49-F238E27FC236}">
                    <a16:creationId xmlns:a16="http://schemas.microsoft.com/office/drawing/2014/main" id="{8ED66249-01D5-4C5A-906A-AF7FFBBC2370}"/>
                  </a:ext>
                </a:extLst>
              </p:cNvPr>
              <p:cNvSpPr/>
              <p:nvPr/>
            </p:nvSpPr>
            <p:spPr>
              <a:xfrm>
                <a:off x="5643213" y="5191050"/>
                <a:ext cx="18332" cy="18454"/>
              </a:xfrm>
              <a:custGeom>
                <a:avLst/>
                <a:gdLst>
                  <a:gd name="connsiteX0" fmla="*/ 18098 w 18332"/>
                  <a:gd name="connsiteY0" fmla="*/ 11321 h 18454"/>
                  <a:gd name="connsiteX1" fmla="*/ 7153 w 18332"/>
                  <a:gd name="connsiteY1" fmla="*/ 18198 h 18454"/>
                  <a:gd name="connsiteX2" fmla="*/ 216 w 18332"/>
                  <a:gd name="connsiteY2" fmla="*/ 7134 h 18454"/>
                  <a:gd name="connsiteX3" fmla="*/ 11160 w 18332"/>
                  <a:gd name="connsiteY3" fmla="*/ 256 h 18454"/>
                  <a:gd name="connsiteX4" fmla="*/ 18098 w 18332"/>
                  <a:gd name="connsiteY4" fmla="*/ 1132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4">
                    <a:moveTo>
                      <a:pt x="18098" y="11321"/>
                    </a:moveTo>
                    <a:cubicBezTo>
                      <a:pt x="16962" y="16284"/>
                      <a:pt x="12058" y="19395"/>
                      <a:pt x="7153" y="18198"/>
                    </a:cubicBezTo>
                    <a:cubicBezTo>
                      <a:pt x="2189" y="17062"/>
                      <a:pt x="-861" y="12098"/>
                      <a:pt x="216" y="7134"/>
                    </a:cubicBezTo>
                    <a:cubicBezTo>
                      <a:pt x="1352" y="2170"/>
                      <a:pt x="6256" y="-940"/>
                      <a:pt x="11160" y="256"/>
                    </a:cubicBezTo>
                    <a:cubicBezTo>
                      <a:pt x="16124" y="1393"/>
                      <a:pt x="19235" y="6357"/>
                      <a:pt x="18098" y="11321"/>
                    </a:cubicBezTo>
                    <a:close/>
                  </a:path>
                </a:pathLst>
              </a:custGeom>
              <a:grpFill/>
              <a:ln w="5978" cap="flat">
                <a:noFill/>
                <a:prstDash val="solid"/>
                <a:miter/>
              </a:ln>
            </p:spPr>
            <p:txBody>
              <a:bodyPr rtlCol="0" anchor="ctr"/>
              <a:lstStyle/>
              <a:p>
                <a:endParaRPr lang="en-GB"/>
              </a:p>
            </p:txBody>
          </p:sp>
          <p:sp>
            <p:nvSpPr>
              <p:cNvPr id="2727" name="Vrije vorm: vorm 2726">
                <a:extLst>
                  <a:ext uri="{FF2B5EF4-FFF2-40B4-BE49-F238E27FC236}">
                    <a16:creationId xmlns:a16="http://schemas.microsoft.com/office/drawing/2014/main" id="{D58E5FA2-9972-4A03-8E4C-7EF23A5E6FD3}"/>
                  </a:ext>
                </a:extLst>
              </p:cNvPr>
              <p:cNvSpPr/>
              <p:nvPr/>
            </p:nvSpPr>
            <p:spPr>
              <a:xfrm>
                <a:off x="5673995" y="5054831"/>
                <a:ext cx="18350" cy="18413"/>
              </a:xfrm>
              <a:custGeom>
                <a:avLst/>
                <a:gdLst>
                  <a:gd name="connsiteX0" fmla="*/ 18116 w 18350"/>
                  <a:gd name="connsiteY0" fmla="*/ 11299 h 18413"/>
                  <a:gd name="connsiteX1" fmla="*/ 11179 w 18350"/>
                  <a:gd name="connsiteY1" fmla="*/ 234 h 18413"/>
                  <a:gd name="connsiteX2" fmla="*/ 234 w 18350"/>
                  <a:gd name="connsiteY2" fmla="*/ 7112 h 18413"/>
                  <a:gd name="connsiteX3" fmla="*/ 7172 w 18350"/>
                  <a:gd name="connsiteY3" fmla="*/ 18176 h 18413"/>
                  <a:gd name="connsiteX4" fmla="*/ 18116 w 18350"/>
                  <a:gd name="connsiteY4" fmla="*/ 1129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3">
                    <a:moveTo>
                      <a:pt x="18116" y="11299"/>
                    </a:moveTo>
                    <a:cubicBezTo>
                      <a:pt x="19253" y="6334"/>
                      <a:pt x="16143" y="1371"/>
                      <a:pt x="11179" y="234"/>
                    </a:cubicBezTo>
                    <a:cubicBezTo>
                      <a:pt x="6215" y="-902"/>
                      <a:pt x="1311" y="2208"/>
                      <a:pt x="234" y="7112"/>
                    </a:cubicBezTo>
                    <a:cubicBezTo>
                      <a:pt x="-902" y="12076"/>
                      <a:pt x="2208" y="17040"/>
                      <a:pt x="7172" y="18176"/>
                    </a:cubicBezTo>
                    <a:cubicBezTo>
                      <a:pt x="12076" y="19313"/>
                      <a:pt x="16980" y="16263"/>
                      <a:pt x="18116" y="11299"/>
                    </a:cubicBezTo>
                    <a:close/>
                  </a:path>
                </a:pathLst>
              </a:custGeom>
              <a:grpFill/>
              <a:ln w="5978" cap="flat">
                <a:noFill/>
                <a:prstDash val="solid"/>
                <a:miter/>
              </a:ln>
            </p:spPr>
            <p:txBody>
              <a:bodyPr rtlCol="0" anchor="ctr"/>
              <a:lstStyle/>
              <a:p>
                <a:endParaRPr lang="en-GB"/>
              </a:p>
            </p:txBody>
          </p:sp>
        </p:grpSp>
        <p:grpSp>
          <p:nvGrpSpPr>
            <p:cNvPr id="892" name="Graphic 3">
              <a:extLst>
                <a:ext uri="{FF2B5EF4-FFF2-40B4-BE49-F238E27FC236}">
                  <a16:creationId xmlns:a16="http://schemas.microsoft.com/office/drawing/2014/main" id="{EEDCA36A-C2E2-4B7C-AE84-9E85EF4DDC28}"/>
                </a:ext>
              </a:extLst>
            </p:cNvPr>
            <p:cNvGrpSpPr/>
            <p:nvPr/>
          </p:nvGrpSpPr>
          <p:grpSpPr>
            <a:xfrm>
              <a:off x="4616491" y="2088807"/>
              <a:ext cx="86657" cy="81577"/>
              <a:chOff x="4616491" y="2088807"/>
              <a:chExt cx="86657" cy="81577"/>
            </a:xfrm>
            <a:grpFill/>
          </p:grpSpPr>
          <p:sp>
            <p:nvSpPr>
              <p:cNvPr id="2722" name="Vrije vorm: vorm 2721">
                <a:extLst>
                  <a:ext uri="{FF2B5EF4-FFF2-40B4-BE49-F238E27FC236}">
                    <a16:creationId xmlns:a16="http://schemas.microsoft.com/office/drawing/2014/main" id="{85A75179-22ED-4DA0-99B6-16D4D40162CB}"/>
                  </a:ext>
                </a:extLst>
              </p:cNvPr>
              <p:cNvSpPr/>
              <p:nvPr/>
            </p:nvSpPr>
            <p:spPr>
              <a:xfrm>
                <a:off x="4624254" y="2096642"/>
                <a:ext cx="71110" cy="65967"/>
              </a:xfrm>
              <a:custGeom>
                <a:avLst/>
                <a:gdLst>
                  <a:gd name="connsiteX0" fmla="*/ 71111 w 71110"/>
                  <a:gd name="connsiteY0" fmla="*/ 63695 h 65967"/>
                  <a:gd name="connsiteX1" fmla="*/ 69077 w 71110"/>
                  <a:gd name="connsiteY1" fmla="*/ 65967 h 65967"/>
                  <a:gd name="connsiteX2" fmla="*/ 0 w 71110"/>
                  <a:gd name="connsiteY2" fmla="*/ 2213 h 65967"/>
                  <a:gd name="connsiteX3" fmla="*/ 2093 w 71110"/>
                  <a:gd name="connsiteY3" fmla="*/ 0 h 65967"/>
                </a:gdLst>
                <a:ahLst/>
                <a:cxnLst>
                  <a:cxn ang="0">
                    <a:pos x="connsiteX0" y="connsiteY0"/>
                  </a:cxn>
                  <a:cxn ang="0">
                    <a:pos x="connsiteX1" y="connsiteY1"/>
                  </a:cxn>
                  <a:cxn ang="0">
                    <a:pos x="connsiteX2" y="connsiteY2"/>
                  </a:cxn>
                  <a:cxn ang="0">
                    <a:pos x="connsiteX3" y="connsiteY3"/>
                  </a:cxn>
                </a:cxnLst>
                <a:rect l="l" t="t" r="r" b="b"/>
                <a:pathLst>
                  <a:path w="71110" h="65967">
                    <a:moveTo>
                      <a:pt x="71111" y="63695"/>
                    </a:moveTo>
                    <a:lnTo>
                      <a:pt x="69077" y="65967"/>
                    </a:lnTo>
                    <a:lnTo>
                      <a:pt x="0" y="2213"/>
                    </a:lnTo>
                    <a:lnTo>
                      <a:pt x="2093" y="0"/>
                    </a:lnTo>
                    <a:close/>
                  </a:path>
                </a:pathLst>
              </a:custGeom>
              <a:grpFill/>
              <a:ln w="5978" cap="flat">
                <a:noFill/>
                <a:prstDash val="solid"/>
                <a:miter/>
              </a:ln>
            </p:spPr>
            <p:txBody>
              <a:bodyPr rtlCol="0" anchor="ctr"/>
              <a:lstStyle/>
              <a:p>
                <a:endParaRPr lang="en-GB"/>
              </a:p>
            </p:txBody>
          </p:sp>
          <p:sp>
            <p:nvSpPr>
              <p:cNvPr id="2723" name="Vrije vorm: vorm 2722">
                <a:extLst>
                  <a:ext uri="{FF2B5EF4-FFF2-40B4-BE49-F238E27FC236}">
                    <a16:creationId xmlns:a16="http://schemas.microsoft.com/office/drawing/2014/main" id="{374F8B9A-4E3E-4F87-BA4C-08E3E2AFB790}"/>
                  </a:ext>
                </a:extLst>
              </p:cNvPr>
              <p:cNvSpPr/>
              <p:nvPr/>
            </p:nvSpPr>
            <p:spPr>
              <a:xfrm>
                <a:off x="4616491" y="2088807"/>
                <a:ext cx="18337" cy="18481"/>
              </a:xfrm>
              <a:custGeom>
                <a:avLst/>
                <a:gdLst>
                  <a:gd name="connsiteX0" fmla="*/ 2978 w 18337"/>
                  <a:gd name="connsiteY0" fmla="*/ 16029 h 18481"/>
                  <a:gd name="connsiteX1" fmla="*/ 2381 w 18337"/>
                  <a:gd name="connsiteY1" fmla="*/ 2991 h 18481"/>
                  <a:gd name="connsiteX2" fmla="*/ 15359 w 18337"/>
                  <a:gd name="connsiteY2" fmla="*/ 2452 h 18481"/>
                  <a:gd name="connsiteX3" fmla="*/ 15957 w 18337"/>
                  <a:gd name="connsiteY3" fmla="*/ 15490 h 18481"/>
                  <a:gd name="connsiteX4" fmla="*/ 2978 w 18337"/>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81">
                    <a:moveTo>
                      <a:pt x="2978" y="16029"/>
                    </a:moveTo>
                    <a:cubicBezTo>
                      <a:pt x="-730" y="12560"/>
                      <a:pt x="-1029" y="6759"/>
                      <a:pt x="2381" y="2991"/>
                    </a:cubicBezTo>
                    <a:cubicBezTo>
                      <a:pt x="5789" y="-777"/>
                      <a:pt x="11591" y="-1016"/>
                      <a:pt x="15359" y="2452"/>
                    </a:cubicBezTo>
                    <a:cubicBezTo>
                      <a:pt x="19067" y="5921"/>
                      <a:pt x="19366" y="11723"/>
                      <a:pt x="15957" y="15490"/>
                    </a:cubicBezTo>
                    <a:cubicBezTo>
                      <a:pt x="12488" y="19258"/>
                      <a:pt x="6686" y="19497"/>
                      <a:pt x="2978" y="16029"/>
                    </a:cubicBezTo>
                    <a:close/>
                  </a:path>
                </a:pathLst>
              </a:custGeom>
              <a:grpFill/>
              <a:ln w="5978" cap="flat">
                <a:noFill/>
                <a:prstDash val="solid"/>
                <a:miter/>
              </a:ln>
            </p:spPr>
            <p:txBody>
              <a:bodyPr rtlCol="0" anchor="ctr"/>
              <a:lstStyle/>
              <a:p>
                <a:endParaRPr lang="en-GB"/>
              </a:p>
            </p:txBody>
          </p:sp>
          <p:sp>
            <p:nvSpPr>
              <p:cNvPr id="2724" name="Vrije vorm: vorm 2723">
                <a:extLst>
                  <a:ext uri="{FF2B5EF4-FFF2-40B4-BE49-F238E27FC236}">
                    <a16:creationId xmlns:a16="http://schemas.microsoft.com/office/drawing/2014/main" id="{1D04DAA3-0795-4A79-AE5C-ED294ACA57C2}"/>
                  </a:ext>
                </a:extLst>
              </p:cNvPr>
              <p:cNvSpPr/>
              <p:nvPr/>
            </p:nvSpPr>
            <p:spPr>
              <a:xfrm>
                <a:off x="4684850" y="2151903"/>
                <a:ext cx="18298" cy="18481"/>
              </a:xfrm>
              <a:custGeom>
                <a:avLst/>
                <a:gdLst>
                  <a:gd name="connsiteX0" fmla="*/ 2978 w 18298"/>
                  <a:gd name="connsiteY0" fmla="*/ 16029 h 18481"/>
                  <a:gd name="connsiteX1" fmla="*/ 15897 w 18298"/>
                  <a:gd name="connsiteY1" fmla="*/ 15490 h 18481"/>
                  <a:gd name="connsiteX2" fmla="*/ 15299 w 18298"/>
                  <a:gd name="connsiteY2" fmla="*/ 2452 h 18481"/>
                  <a:gd name="connsiteX3" fmla="*/ 2381 w 18298"/>
                  <a:gd name="connsiteY3" fmla="*/ 2991 h 18481"/>
                  <a:gd name="connsiteX4" fmla="*/ 2978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2978" y="16029"/>
                    </a:moveTo>
                    <a:cubicBezTo>
                      <a:pt x="6686" y="19497"/>
                      <a:pt x="12488" y="19258"/>
                      <a:pt x="15897" y="15490"/>
                    </a:cubicBezTo>
                    <a:cubicBezTo>
                      <a:pt x="19306" y="11723"/>
                      <a:pt x="19067" y="5921"/>
                      <a:pt x="15299" y="2452"/>
                    </a:cubicBezTo>
                    <a:cubicBezTo>
                      <a:pt x="11591" y="-1016"/>
                      <a:pt x="5790" y="-777"/>
                      <a:pt x="2381" y="2991"/>
                    </a:cubicBezTo>
                    <a:cubicBezTo>
                      <a:pt x="-1029" y="6759"/>
                      <a:pt x="-730" y="12620"/>
                      <a:pt x="2978" y="16029"/>
                    </a:cubicBezTo>
                    <a:close/>
                  </a:path>
                </a:pathLst>
              </a:custGeom>
              <a:grpFill/>
              <a:ln w="5978" cap="flat">
                <a:noFill/>
                <a:prstDash val="solid"/>
                <a:miter/>
              </a:ln>
            </p:spPr>
            <p:txBody>
              <a:bodyPr rtlCol="0" anchor="ctr"/>
              <a:lstStyle/>
              <a:p>
                <a:endParaRPr lang="en-GB"/>
              </a:p>
            </p:txBody>
          </p:sp>
        </p:grpSp>
        <p:grpSp>
          <p:nvGrpSpPr>
            <p:cNvPr id="893" name="Graphic 3">
              <a:extLst>
                <a:ext uri="{FF2B5EF4-FFF2-40B4-BE49-F238E27FC236}">
                  <a16:creationId xmlns:a16="http://schemas.microsoft.com/office/drawing/2014/main" id="{8A153EE7-272F-40B9-82A8-596C8DCF4501}"/>
                </a:ext>
              </a:extLst>
            </p:cNvPr>
            <p:cNvGrpSpPr/>
            <p:nvPr/>
          </p:nvGrpSpPr>
          <p:grpSpPr>
            <a:xfrm>
              <a:off x="4576991" y="2103391"/>
              <a:ext cx="208160" cy="226268"/>
              <a:chOff x="4576991" y="2103391"/>
              <a:chExt cx="208160" cy="226268"/>
            </a:xfrm>
            <a:grpFill/>
          </p:grpSpPr>
          <p:sp>
            <p:nvSpPr>
              <p:cNvPr id="2719" name="Vrije vorm: vorm 2718">
                <a:extLst>
                  <a:ext uri="{FF2B5EF4-FFF2-40B4-BE49-F238E27FC236}">
                    <a16:creationId xmlns:a16="http://schemas.microsoft.com/office/drawing/2014/main" id="{B282AED8-E64D-4B12-B35E-C3B3E37A8126}"/>
                  </a:ext>
                </a:extLst>
              </p:cNvPr>
              <p:cNvSpPr/>
              <p:nvPr/>
            </p:nvSpPr>
            <p:spPr>
              <a:xfrm>
                <a:off x="4584721" y="2111235"/>
                <a:ext cx="192698" cy="210581"/>
              </a:xfrm>
              <a:custGeom>
                <a:avLst/>
                <a:gdLst>
                  <a:gd name="connsiteX0" fmla="*/ 192699 w 192698"/>
                  <a:gd name="connsiteY0" fmla="*/ 208488 h 210581"/>
                  <a:gd name="connsiteX1" fmla="*/ 190426 w 192698"/>
                  <a:gd name="connsiteY1" fmla="*/ 210581 h 210581"/>
                  <a:gd name="connsiteX2" fmla="*/ 0 w 192698"/>
                  <a:gd name="connsiteY2" fmla="*/ 2093 h 210581"/>
                  <a:gd name="connsiteX3" fmla="*/ 2273 w 192698"/>
                  <a:gd name="connsiteY3" fmla="*/ 0 h 210581"/>
                </a:gdLst>
                <a:ahLst/>
                <a:cxnLst>
                  <a:cxn ang="0">
                    <a:pos x="connsiteX0" y="connsiteY0"/>
                  </a:cxn>
                  <a:cxn ang="0">
                    <a:pos x="connsiteX1" y="connsiteY1"/>
                  </a:cxn>
                  <a:cxn ang="0">
                    <a:pos x="connsiteX2" y="connsiteY2"/>
                  </a:cxn>
                  <a:cxn ang="0">
                    <a:pos x="connsiteX3" y="connsiteY3"/>
                  </a:cxn>
                </a:cxnLst>
                <a:rect l="l" t="t" r="r" b="b"/>
                <a:pathLst>
                  <a:path w="192698" h="210581">
                    <a:moveTo>
                      <a:pt x="192699" y="208488"/>
                    </a:moveTo>
                    <a:lnTo>
                      <a:pt x="190426" y="210581"/>
                    </a:lnTo>
                    <a:lnTo>
                      <a:pt x="0" y="2093"/>
                    </a:lnTo>
                    <a:lnTo>
                      <a:pt x="2273" y="0"/>
                    </a:lnTo>
                    <a:close/>
                  </a:path>
                </a:pathLst>
              </a:custGeom>
              <a:grpFill/>
              <a:ln w="5978" cap="flat">
                <a:noFill/>
                <a:prstDash val="solid"/>
                <a:miter/>
              </a:ln>
            </p:spPr>
            <p:txBody>
              <a:bodyPr rtlCol="0" anchor="ctr"/>
              <a:lstStyle/>
              <a:p>
                <a:endParaRPr lang="en-GB"/>
              </a:p>
            </p:txBody>
          </p:sp>
          <p:sp>
            <p:nvSpPr>
              <p:cNvPr id="2720" name="Vrije vorm: vorm 2719">
                <a:extLst>
                  <a:ext uri="{FF2B5EF4-FFF2-40B4-BE49-F238E27FC236}">
                    <a16:creationId xmlns:a16="http://schemas.microsoft.com/office/drawing/2014/main" id="{056EDF7D-96FF-4357-B433-70910594B300}"/>
                  </a:ext>
                </a:extLst>
              </p:cNvPr>
              <p:cNvSpPr/>
              <p:nvPr/>
            </p:nvSpPr>
            <p:spPr>
              <a:xfrm>
                <a:off x="4766819" y="2311221"/>
                <a:ext cx="18331" cy="18438"/>
              </a:xfrm>
              <a:custGeom>
                <a:avLst/>
                <a:gdLst>
                  <a:gd name="connsiteX0" fmla="*/ 15924 w 18331"/>
                  <a:gd name="connsiteY0" fmla="*/ 2999 h 18438"/>
                  <a:gd name="connsiteX1" fmla="*/ 15386 w 18331"/>
                  <a:gd name="connsiteY1" fmla="*/ 16038 h 18438"/>
                  <a:gd name="connsiteX2" fmla="*/ 2408 w 18331"/>
                  <a:gd name="connsiteY2" fmla="*/ 15439 h 18438"/>
                  <a:gd name="connsiteX3" fmla="*/ 2946 w 18331"/>
                  <a:gd name="connsiteY3" fmla="*/ 2401 h 18438"/>
                  <a:gd name="connsiteX4" fmla="*/ 15924 w 18331"/>
                  <a:gd name="connsiteY4" fmla="*/ 299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8">
                    <a:moveTo>
                      <a:pt x="15924" y="2999"/>
                    </a:moveTo>
                    <a:cubicBezTo>
                      <a:pt x="19333" y="6767"/>
                      <a:pt x="19094" y="12569"/>
                      <a:pt x="15386" y="16038"/>
                    </a:cubicBezTo>
                    <a:cubicBezTo>
                      <a:pt x="11678" y="19446"/>
                      <a:pt x="5877" y="19207"/>
                      <a:pt x="2408" y="15439"/>
                    </a:cubicBezTo>
                    <a:cubicBezTo>
                      <a:pt x="-1001" y="11672"/>
                      <a:pt x="-762" y="5870"/>
                      <a:pt x="2946" y="2401"/>
                    </a:cubicBezTo>
                    <a:cubicBezTo>
                      <a:pt x="6654" y="-1008"/>
                      <a:pt x="12455" y="-768"/>
                      <a:pt x="15924" y="2999"/>
                    </a:cubicBezTo>
                    <a:close/>
                  </a:path>
                </a:pathLst>
              </a:custGeom>
              <a:grpFill/>
              <a:ln w="5978" cap="flat">
                <a:noFill/>
                <a:prstDash val="solid"/>
                <a:miter/>
              </a:ln>
            </p:spPr>
            <p:txBody>
              <a:bodyPr rtlCol="0" anchor="ctr"/>
              <a:lstStyle/>
              <a:p>
                <a:endParaRPr lang="en-GB"/>
              </a:p>
            </p:txBody>
          </p:sp>
          <p:sp>
            <p:nvSpPr>
              <p:cNvPr id="2721" name="Vrije vorm: vorm 2720">
                <a:extLst>
                  <a:ext uri="{FF2B5EF4-FFF2-40B4-BE49-F238E27FC236}">
                    <a16:creationId xmlns:a16="http://schemas.microsoft.com/office/drawing/2014/main" id="{A3E0D9E6-91F9-4B0C-BF5A-D099E0D09907}"/>
                  </a:ext>
                </a:extLst>
              </p:cNvPr>
              <p:cNvSpPr/>
              <p:nvPr/>
            </p:nvSpPr>
            <p:spPr>
              <a:xfrm>
                <a:off x="4576991" y="2103391"/>
                <a:ext cx="18331" cy="18438"/>
              </a:xfrm>
              <a:custGeom>
                <a:avLst/>
                <a:gdLst>
                  <a:gd name="connsiteX0" fmla="*/ 15924 w 18331"/>
                  <a:gd name="connsiteY0" fmla="*/ 3000 h 18438"/>
                  <a:gd name="connsiteX1" fmla="*/ 2946 w 18331"/>
                  <a:gd name="connsiteY1" fmla="*/ 2401 h 18438"/>
                  <a:gd name="connsiteX2" fmla="*/ 2408 w 18331"/>
                  <a:gd name="connsiteY2" fmla="*/ 15439 h 18438"/>
                  <a:gd name="connsiteX3" fmla="*/ 15386 w 18331"/>
                  <a:gd name="connsiteY3" fmla="*/ 16037 h 18438"/>
                  <a:gd name="connsiteX4" fmla="*/ 15924 w 18331"/>
                  <a:gd name="connsiteY4" fmla="*/ 3000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8">
                    <a:moveTo>
                      <a:pt x="15924" y="3000"/>
                    </a:moveTo>
                    <a:cubicBezTo>
                      <a:pt x="12515" y="-768"/>
                      <a:pt x="6714" y="-1008"/>
                      <a:pt x="2946" y="2401"/>
                    </a:cubicBezTo>
                    <a:cubicBezTo>
                      <a:pt x="-762" y="5810"/>
                      <a:pt x="-1001" y="11672"/>
                      <a:pt x="2408" y="15439"/>
                    </a:cubicBezTo>
                    <a:cubicBezTo>
                      <a:pt x="5817" y="19207"/>
                      <a:pt x="11618" y="19447"/>
                      <a:pt x="15386" y="16037"/>
                    </a:cubicBezTo>
                    <a:cubicBezTo>
                      <a:pt x="19094" y="12569"/>
                      <a:pt x="19333" y="6767"/>
                      <a:pt x="15924" y="3000"/>
                    </a:cubicBezTo>
                    <a:close/>
                  </a:path>
                </a:pathLst>
              </a:custGeom>
              <a:grpFill/>
              <a:ln w="5978" cap="flat">
                <a:noFill/>
                <a:prstDash val="solid"/>
                <a:miter/>
              </a:ln>
            </p:spPr>
            <p:txBody>
              <a:bodyPr rtlCol="0" anchor="ctr"/>
              <a:lstStyle/>
              <a:p>
                <a:endParaRPr lang="en-GB"/>
              </a:p>
            </p:txBody>
          </p:sp>
        </p:grpSp>
        <p:grpSp>
          <p:nvGrpSpPr>
            <p:cNvPr id="894" name="Graphic 3">
              <a:extLst>
                <a:ext uri="{FF2B5EF4-FFF2-40B4-BE49-F238E27FC236}">
                  <a16:creationId xmlns:a16="http://schemas.microsoft.com/office/drawing/2014/main" id="{9B9930A8-E34B-4642-BFCE-3503AB2D3F7B}"/>
                </a:ext>
              </a:extLst>
            </p:cNvPr>
            <p:cNvGrpSpPr/>
            <p:nvPr/>
          </p:nvGrpSpPr>
          <p:grpSpPr>
            <a:xfrm>
              <a:off x="5761050" y="5378424"/>
              <a:ext cx="47166" cy="240044"/>
              <a:chOff x="5761050" y="5378424"/>
              <a:chExt cx="47166" cy="240044"/>
            </a:xfrm>
            <a:grpFill/>
          </p:grpSpPr>
          <p:sp>
            <p:nvSpPr>
              <p:cNvPr id="2716" name="Vrije vorm: vorm 2715">
                <a:extLst>
                  <a:ext uri="{FF2B5EF4-FFF2-40B4-BE49-F238E27FC236}">
                    <a16:creationId xmlns:a16="http://schemas.microsoft.com/office/drawing/2014/main" id="{51AE2110-B177-4CA0-9F31-39169BC7127A}"/>
                  </a:ext>
                </a:extLst>
              </p:cNvPr>
              <p:cNvSpPr/>
              <p:nvPr/>
            </p:nvSpPr>
            <p:spPr>
              <a:xfrm>
                <a:off x="5768665" y="5386936"/>
                <a:ext cx="31936" cy="223020"/>
              </a:xfrm>
              <a:custGeom>
                <a:avLst/>
                <a:gdLst>
                  <a:gd name="connsiteX0" fmla="*/ 31937 w 31936"/>
                  <a:gd name="connsiteY0" fmla="*/ 419 h 223020"/>
                  <a:gd name="connsiteX1" fmla="*/ 3050 w 31936"/>
                  <a:gd name="connsiteY1" fmla="*/ 223021 h 223020"/>
                  <a:gd name="connsiteX2" fmla="*/ 0 w 31936"/>
                  <a:gd name="connsiteY2" fmla="*/ 222602 h 223020"/>
                  <a:gd name="connsiteX3" fmla="*/ 28946 w 31936"/>
                  <a:gd name="connsiteY3" fmla="*/ 0 h 223020"/>
                </a:gdLst>
                <a:ahLst/>
                <a:cxnLst>
                  <a:cxn ang="0">
                    <a:pos x="connsiteX0" y="connsiteY0"/>
                  </a:cxn>
                  <a:cxn ang="0">
                    <a:pos x="connsiteX1" y="connsiteY1"/>
                  </a:cxn>
                  <a:cxn ang="0">
                    <a:pos x="connsiteX2" y="connsiteY2"/>
                  </a:cxn>
                  <a:cxn ang="0">
                    <a:pos x="connsiteX3" y="connsiteY3"/>
                  </a:cxn>
                </a:cxnLst>
                <a:rect l="l" t="t" r="r" b="b"/>
                <a:pathLst>
                  <a:path w="31936" h="223020">
                    <a:moveTo>
                      <a:pt x="31937" y="419"/>
                    </a:moveTo>
                    <a:lnTo>
                      <a:pt x="3050" y="223021"/>
                    </a:lnTo>
                    <a:lnTo>
                      <a:pt x="0" y="222602"/>
                    </a:lnTo>
                    <a:lnTo>
                      <a:pt x="28946" y="0"/>
                    </a:lnTo>
                    <a:close/>
                  </a:path>
                </a:pathLst>
              </a:custGeom>
              <a:grpFill/>
              <a:ln w="5978" cap="flat">
                <a:noFill/>
                <a:prstDash val="solid"/>
                <a:miter/>
              </a:ln>
            </p:spPr>
            <p:txBody>
              <a:bodyPr rtlCol="0" anchor="ctr"/>
              <a:lstStyle/>
              <a:p>
                <a:endParaRPr lang="en-GB"/>
              </a:p>
            </p:txBody>
          </p:sp>
          <p:sp>
            <p:nvSpPr>
              <p:cNvPr id="2717" name="Vrije vorm: vorm 2716">
                <a:extLst>
                  <a:ext uri="{FF2B5EF4-FFF2-40B4-BE49-F238E27FC236}">
                    <a16:creationId xmlns:a16="http://schemas.microsoft.com/office/drawing/2014/main" id="{95490F04-CBF6-4A2C-882C-FAC8F86AE9C4}"/>
                  </a:ext>
                </a:extLst>
              </p:cNvPr>
              <p:cNvSpPr/>
              <p:nvPr/>
            </p:nvSpPr>
            <p:spPr>
              <a:xfrm>
                <a:off x="5761050" y="5600069"/>
                <a:ext cx="18339" cy="18399"/>
              </a:xfrm>
              <a:custGeom>
                <a:avLst/>
                <a:gdLst>
                  <a:gd name="connsiteX0" fmla="*/ 18260 w 18339"/>
                  <a:gd name="connsiteY0" fmla="*/ 10426 h 18399"/>
                  <a:gd name="connsiteX1" fmla="*/ 7974 w 18339"/>
                  <a:gd name="connsiteY1" fmla="*/ 18320 h 18399"/>
                  <a:gd name="connsiteX2" fmla="*/ 79 w 18339"/>
                  <a:gd name="connsiteY2" fmla="*/ 7973 h 18399"/>
                  <a:gd name="connsiteX3" fmla="*/ 10366 w 18339"/>
                  <a:gd name="connsiteY3" fmla="*/ 79 h 18399"/>
                  <a:gd name="connsiteX4" fmla="*/ 18260 w 18339"/>
                  <a:gd name="connsiteY4" fmla="*/ 10426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9">
                    <a:moveTo>
                      <a:pt x="18260" y="10426"/>
                    </a:moveTo>
                    <a:cubicBezTo>
                      <a:pt x="17602" y="15449"/>
                      <a:pt x="12997" y="18978"/>
                      <a:pt x="7974" y="18320"/>
                    </a:cubicBezTo>
                    <a:cubicBezTo>
                      <a:pt x="2950" y="17662"/>
                      <a:pt x="-579" y="12997"/>
                      <a:pt x="79" y="7973"/>
                    </a:cubicBezTo>
                    <a:cubicBezTo>
                      <a:pt x="737" y="2950"/>
                      <a:pt x="5342" y="-579"/>
                      <a:pt x="10366" y="79"/>
                    </a:cubicBezTo>
                    <a:cubicBezTo>
                      <a:pt x="15390" y="797"/>
                      <a:pt x="18918" y="5402"/>
                      <a:pt x="18260" y="10426"/>
                    </a:cubicBezTo>
                    <a:close/>
                  </a:path>
                </a:pathLst>
              </a:custGeom>
              <a:grpFill/>
              <a:ln w="5978" cap="flat">
                <a:noFill/>
                <a:prstDash val="solid"/>
                <a:miter/>
              </a:ln>
            </p:spPr>
            <p:txBody>
              <a:bodyPr rtlCol="0" anchor="ctr"/>
              <a:lstStyle/>
              <a:p>
                <a:endParaRPr lang="en-GB"/>
              </a:p>
            </p:txBody>
          </p:sp>
          <p:sp>
            <p:nvSpPr>
              <p:cNvPr id="2718" name="Vrije vorm: vorm 2717">
                <a:extLst>
                  <a:ext uri="{FF2B5EF4-FFF2-40B4-BE49-F238E27FC236}">
                    <a16:creationId xmlns:a16="http://schemas.microsoft.com/office/drawing/2014/main" id="{FE8F36C9-6B00-448B-A577-1D891A66E1BF}"/>
                  </a:ext>
                </a:extLst>
              </p:cNvPr>
              <p:cNvSpPr/>
              <p:nvPr/>
            </p:nvSpPr>
            <p:spPr>
              <a:xfrm>
                <a:off x="5789878" y="5378424"/>
                <a:ext cx="18339" cy="18411"/>
              </a:xfrm>
              <a:custGeom>
                <a:avLst/>
                <a:gdLst>
                  <a:gd name="connsiteX0" fmla="*/ 18260 w 18339"/>
                  <a:gd name="connsiteY0" fmla="*/ 10426 h 18411"/>
                  <a:gd name="connsiteX1" fmla="*/ 10366 w 18339"/>
                  <a:gd name="connsiteY1" fmla="*/ 79 h 18411"/>
                  <a:gd name="connsiteX2" fmla="*/ 79 w 18339"/>
                  <a:gd name="connsiteY2" fmla="*/ 7973 h 18411"/>
                  <a:gd name="connsiteX3" fmla="*/ 7973 w 18339"/>
                  <a:gd name="connsiteY3" fmla="*/ 18320 h 18411"/>
                  <a:gd name="connsiteX4" fmla="*/ 18260 w 18339"/>
                  <a:gd name="connsiteY4" fmla="*/ 10426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1">
                    <a:moveTo>
                      <a:pt x="18260" y="10426"/>
                    </a:moveTo>
                    <a:cubicBezTo>
                      <a:pt x="18918" y="5402"/>
                      <a:pt x="15390" y="737"/>
                      <a:pt x="10366" y="79"/>
                    </a:cubicBezTo>
                    <a:cubicBezTo>
                      <a:pt x="5342" y="-579"/>
                      <a:pt x="737" y="2950"/>
                      <a:pt x="79" y="7973"/>
                    </a:cubicBezTo>
                    <a:cubicBezTo>
                      <a:pt x="-579" y="12997"/>
                      <a:pt x="2950" y="17662"/>
                      <a:pt x="7973" y="18320"/>
                    </a:cubicBezTo>
                    <a:cubicBezTo>
                      <a:pt x="12997" y="19038"/>
                      <a:pt x="17602" y="15449"/>
                      <a:pt x="18260" y="10426"/>
                    </a:cubicBezTo>
                    <a:close/>
                  </a:path>
                </a:pathLst>
              </a:custGeom>
              <a:grpFill/>
              <a:ln w="5978" cap="flat">
                <a:noFill/>
                <a:prstDash val="solid"/>
                <a:miter/>
              </a:ln>
            </p:spPr>
            <p:txBody>
              <a:bodyPr rtlCol="0" anchor="ctr"/>
              <a:lstStyle/>
              <a:p>
                <a:endParaRPr lang="en-GB"/>
              </a:p>
            </p:txBody>
          </p:sp>
        </p:grpSp>
        <p:grpSp>
          <p:nvGrpSpPr>
            <p:cNvPr id="895" name="Graphic 3">
              <a:extLst>
                <a:ext uri="{FF2B5EF4-FFF2-40B4-BE49-F238E27FC236}">
                  <a16:creationId xmlns:a16="http://schemas.microsoft.com/office/drawing/2014/main" id="{CC50543E-0C4B-4812-8355-09DCC06DFAE6}"/>
                </a:ext>
              </a:extLst>
            </p:cNvPr>
            <p:cNvGrpSpPr/>
            <p:nvPr/>
          </p:nvGrpSpPr>
          <p:grpSpPr>
            <a:xfrm>
              <a:off x="4574453" y="1998585"/>
              <a:ext cx="61167" cy="59416"/>
              <a:chOff x="4574453" y="1998585"/>
              <a:chExt cx="61167" cy="59416"/>
            </a:xfrm>
            <a:grpFill/>
          </p:grpSpPr>
          <p:sp>
            <p:nvSpPr>
              <p:cNvPr id="2713" name="Vrije vorm: vorm 2712">
                <a:extLst>
                  <a:ext uri="{FF2B5EF4-FFF2-40B4-BE49-F238E27FC236}">
                    <a16:creationId xmlns:a16="http://schemas.microsoft.com/office/drawing/2014/main" id="{252C4CD6-E2FC-4520-B77A-FC56318F5C1D}"/>
                  </a:ext>
                </a:extLst>
              </p:cNvPr>
              <p:cNvSpPr/>
              <p:nvPr/>
            </p:nvSpPr>
            <p:spPr>
              <a:xfrm>
                <a:off x="4582209" y="2006393"/>
                <a:ext cx="45573" cy="43838"/>
              </a:xfrm>
              <a:custGeom>
                <a:avLst/>
                <a:gdLst>
                  <a:gd name="connsiteX0" fmla="*/ 45573 w 45573"/>
                  <a:gd name="connsiteY0" fmla="*/ 41626 h 43838"/>
                  <a:gd name="connsiteX1" fmla="*/ 43480 w 45573"/>
                  <a:gd name="connsiteY1" fmla="*/ 43839 h 43838"/>
                  <a:gd name="connsiteX2" fmla="*/ 0 w 45573"/>
                  <a:gd name="connsiteY2" fmla="*/ 2213 h 43838"/>
                  <a:gd name="connsiteX3" fmla="*/ 2093 w 45573"/>
                  <a:gd name="connsiteY3" fmla="*/ 0 h 43838"/>
                </a:gdLst>
                <a:ahLst/>
                <a:cxnLst>
                  <a:cxn ang="0">
                    <a:pos x="connsiteX0" y="connsiteY0"/>
                  </a:cxn>
                  <a:cxn ang="0">
                    <a:pos x="connsiteX1" y="connsiteY1"/>
                  </a:cxn>
                  <a:cxn ang="0">
                    <a:pos x="connsiteX2" y="connsiteY2"/>
                  </a:cxn>
                  <a:cxn ang="0">
                    <a:pos x="connsiteX3" y="connsiteY3"/>
                  </a:cxn>
                </a:cxnLst>
                <a:rect l="l" t="t" r="r" b="b"/>
                <a:pathLst>
                  <a:path w="45573" h="43838">
                    <a:moveTo>
                      <a:pt x="45573" y="41626"/>
                    </a:moveTo>
                    <a:lnTo>
                      <a:pt x="43480" y="43839"/>
                    </a:lnTo>
                    <a:lnTo>
                      <a:pt x="0" y="2213"/>
                    </a:lnTo>
                    <a:lnTo>
                      <a:pt x="2093" y="0"/>
                    </a:lnTo>
                    <a:close/>
                  </a:path>
                </a:pathLst>
              </a:custGeom>
              <a:grpFill/>
              <a:ln w="5978" cap="flat">
                <a:noFill/>
                <a:prstDash val="solid"/>
                <a:miter/>
              </a:ln>
            </p:spPr>
            <p:txBody>
              <a:bodyPr rtlCol="0" anchor="ctr"/>
              <a:lstStyle/>
              <a:p>
                <a:endParaRPr lang="en-GB"/>
              </a:p>
            </p:txBody>
          </p:sp>
          <p:sp>
            <p:nvSpPr>
              <p:cNvPr id="2714" name="Vrije vorm: vorm 2713">
                <a:extLst>
                  <a:ext uri="{FF2B5EF4-FFF2-40B4-BE49-F238E27FC236}">
                    <a16:creationId xmlns:a16="http://schemas.microsoft.com/office/drawing/2014/main" id="{CD76DF6B-3A28-46F1-8121-122ED5AD8AD8}"/>
                  </a:ext>
                </a:extLst>
              </p:cNvPr>
              <p:cNvSpPr/>
              <p:nvPr/>
            </p:nvSpPr>
            <p:spPr>
              <a:xfrm>
                <a:off x="4574453" y="1998585"/>
                <a:ext cx="18323" cy="18403"/>
              </a:xfrm>
              <a:custGeom>
                <a:avLst/>
                <a:gdLst>
                  <a:gd name="connsiteX0" fmla="*/ 2852 w 18323"/>
                  <a:gd name="connsiteY0" fmla="*/ 15882 h 18403"/>
                  <a:gd name="connsiteX1" fmla="*/ 2493 w 18323"/>
                  <a:gd name="connsiteY1" fmla="*/ 2844 h 18403"/>
                  <a:gd name="connsiteX2" fmla="*/ 15471 w 18323"/>
                  <a:gd name="connsiteY2" fmla="*/ 2545 h 18403"/>
                  <a:gd name="connsiteX3" fmla="*/ 15830 w 18323"/>
                  <a:gd name="connsiteY3" fmla="*/ 15583 h 18403"/>
                  <a:gd name="connsiteX4" fmla="*/ 2852 w 18323"/>
                  <a:gd name="connsiteY4" fmla="*/ 15882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03">
                    <a:moveTo>
                      <a:pt x="2852" y="15882"/>
                    </a:moveTo>
                    <a:cubicBezTo>
                      <a:pt x="-796" y="12353"/>
                      <a:pt x="-976" y="6552"/>
                      <a:pt x="2493" y="2844"/>
                    </a:cubicBezTo>
                    <a:cubicBezTo>
                      <a:pt x="5962" y="-804"/>
                      <a:pt x="11763" y="-984"/>
                      <a:pt x="15471" y="2545"/>
                    </a:cubicBezTo>
                    <a:cubicBezTo>
                      <a:pt x="19120" y="6073"/>
                      <a:pt x="19299" y="11875"/>
                      <a:pt x="15830" y="15583"/>
                    </a:cubicBezTo>
                    <a:cubicBezTo>
                      <a:pt x="12301" y="19231"/>
                      <a:pt x="6500" y="19351"/>
                      <a:pt x="2852" y="15882"/>
                    </a:cubicBezTo>
                    <a:close/>
                  </a:path>
                </a:pathLst>
              </a:custGeom>
              <a:grpFill/>
              <a:ln w="5978" cap="flat">
                <a:noFill/>
                <a:prstDash val="solid"/>
                <a:miter/>
              </a:ln>
            </p:spPr>
            <p:txBody>
              <a:bodyPr rtlCol="0" anchor="ctr"/>
              <a:lstStyle/>
              <a:p>
                <a:endParaRPr lang="en-GB"/>
              </a:p>
            </p:txBody>
          </p:sp>
          <p:sp>
            <p:nvSpPr>
              <p:cNvPr id="2715" name="Vrije vorm: vorm 2714">
                <a:extLst>
                  <a:ext uri="{FF2B5EF4-FFF2-40B4-BE49-F238E27FC236}">
                    <a16:creationId xmlns:a16="http://schemas.microsoft.com/office/drawing/2014/main" id="{BC1B6611-6637-459C-B75F-CA3602C39D69}"/>
                  </a:ext>
                </a:extLst>
              </p:cNvPr>
              <p:cNvSpPr/>
              <p:nvPr/>
            </p:nvSpPr>
            <p:spPr>
              <a:xfrm>
                <a:off x="4617253" y="2039531"/>
                <a:ext cx="18366" cy="18470"/>
              </a:xfrm>
              <a:custGeom>
                <a:avLst/>
                <a:gdLst>
                  <a:gd name="connsiteX0" fmla="*/ 2874 w 18366"/>
                  <a:gd name="connsiteY0" fmla="*/ 15903 h 18470"/>
                  <a:gd name="connsiteX1" fmla="*/ 15852 w 18366"/>
                  <a:gd name="connsiteY1" fmla="*/ 15604 h 18470"/>
                  <a:gd name="connsiteX2" fmla="*/ 15493 w 18366"/>
                  <a:gd name="connsiteY2" fmla="*/ 2567 h 18470"/>
                  <a:gd name="connsiteX3" fmla="*/ 2515 w 18366"/>
                  <a:gd name="connsiteY3" fmla="*/ 2866 h 18470"/>
                  <a:gd name="connsiteX4" fmla="*/ 2874 w 18366"/>
                  <a:gd name="connsiteY4" fmla="*/ 15903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70">
                    <a:moveTo>
                      <a:pt x="2874" y="15903"/>
                    </a:moveTo>
                    <a:cubicBezTo>
                      <a:pt x="6522" y="19432"/>
                      <a:pt x="12323" y="19313"/>
                      <a:pt x="15852" y="15604"/>
                    </a:cubicBezTo>
                    <a:cubicBezTo>
                      <a:pt x="19321" y="11956"/>
                      <a:pt x="19201" y="6095"/>
                      <a:pt x="15493" y="2567"/>
                    </a:cubicBezTo>
                    <a:cubicBezTo>
                      <a:pt x="11845" y="-962"/>
                      <a:pt x="6044" y="-843"/>
                      <a:pt x="2515" y="2866"/>
                    </a:cubicBezTo>
                    <a:cubicBezTo>
                      <a:pt x="-954" y="6574"/>
                      <a:pt x="-834" y="12435"/>
                      <a:pt x="2874" y="15903"/>
                    </a:cubicBezTo>
                    <a:close/>
                  </a:path>
                </a:pathLst>
              </a:custGeom>
              <a:grpFill/>
              <a:ln w="5978" cap="flat">
                <a:noFill/>
                <a:prstDash val="solid"/>
                <a:miter/>
              </a:ln>
            </p:spPr>
            <p:txBody>
              <a:bodyPr rtlCol="0" anchor="ctr"/>
              <a:lstStyle/>
              <a:p>
                <a:endParaRPr lang="en-GB"/>
              </a:p>
            </p:txBody>
          </p:sp>
        </p:grpSp>
        <p:grpSp>
          <p:nvGrpSpPr>
            <p:cNvPr id="896" name="Graphic 3">
              <a:extLst>
                <a:ext uri="{FF2B5EF4-FFF2-40B4-BE49-F238E27FC236}">
                  <a16:creationId xmlns:a16="http://schemas.microsoft.com/office/drawing/2014/main" id="{403F38D7-A2CA-4DDA-A555-A207069E8C49}"/>
                </a:ext>
              </a:extLst>
            </p:cNvPr>
            <p:cNvGrpSpPr/>
            <p:nvPr/>
          </p:nvGrpSpPr>
          <p:grpSpPr>
            <a:xfrm>
              <a:off x="5705502" y="5266057"/>
              <a:ext cx="46725" cy="187273"/>
              <a:chOff x="5705502" y="5266057"/>
              <a:chExt cx="46725" cy="187273"/>
            </a:xfrm>
            <a:grpFill/>
          </p:grpSpPr>
          <p:sp>
            <p:nvSpPr>
              <p:cNvPr id="2710" name="Vrije vorm: vorm 2709">
                <a:extLst>
                  <a:ext uri="{FF2B5EF4-FFF2-40B4-BE49-F238E27FC236}">
                    <a16:creationId xmlns:a16="http://schemas.microsoft.com/office/drawing/2014/main" id="{580455D3-BFCD-493C-8A73-B26F3229F749}"/>
                  </a:ext>
                </a:extLst>
              </p:cNvPr>
              <p:cNvSpPr/>
              <p:nvPr/>
            </p:nvSpPr>
            <p:spPr>
              <a:xfrm>
                <a:off x="5713164" y="5274558"/>
                <a:ext cx="31518" cy="170270"/>
              </a:xfrm>
              <a:custGeom>
                <a:avLst/>
                <a:gdLst>
                  <a:gd name="connsiteX0" fmla="*/ 31519 w 31518"/>
                  <a:gd name="connsiteY0" fmla="*/ 478 h 170270"/>
                  <a:gd name="connsiteX1" fmla="*/ 2990 w 31518"/>
                  <a:gd name="connsiteY1" fmla="*/ 170271 h 170270"/>
                  <a:gd name="connsiteX2" fmla="*/ 0 w 31518"/>
                  <a:gd name="connsiteY2" fmla="*/ 169733 h 170270"/>
                  <a:gd name="connsiteX3" fmla="*/ 28468 w 31518"/>
                  <a:gd name="connsiteY3" fmla="*/ 0 h 170270"/>
                </a:gdLst>
                <a:ahLst/>
                <a:cxnLst>
                  <a:cxn ang="0">
                    <a:pos x="connsiteX0" y="connsiteY0"/>
                  </a:cxn>
                  <a:cxn ang="0">
                    <a:pos x="connsiteX1" y="connsiteY1"/>
                  </a:cxn>
                  <a:cxn ang="0">
                    <a:pos x="connsiteX2" y="connsiteY2"/>
                  </a:cxn>
                  <a:cxn ang="0">
                    <a:pos x="connsiteX3" y="connsiteY3"/>
                  </a:cxn>
                </a:cxnLst>
                <a:rect l="l" t="t" r="r" b="b"/>
                <a:pathLst>
                  <a:path w="31518" h="170270">
                    <a:moveTo>
                      <a:pt x="31519" y="478"/>
                    </a:moveTo>
                    <a:lnTo>
                      <a:pt x="2990" y="170271"/>
                    </a:lnTo>
                    <a:lnTo>
                      <a:pt x="0" y="169733"/>
                    </a:lnTo>
                    <a:lnTo>
                      <a:pt x="28468" y="0"/>
                    </a:lnTo>
                    <a:close/>
                  </a:path>
                </a:pathLst>
              </a:custGeom>
              <a:grpFill/>
              <a:ln w="5978" cap="flat">
                <a:noFill/>
                <a:prstDash val="solid"/>
                <a:miter/>
              </a:ln>
            </p:spPr>
            <p:txBody>
              <a:bodyPr rtlCol="0" anchor="ctr"/>
              <a:lstStyle/>
              <a:p>
                <a:endParaRPr lang="en-GB"/>
              </a:p>
            </p:txBody>
          </p:sp>
          <p:sp>
            <p:nvSpPr>
              <p:cNvPr id="2711" name="Vrije vorm: vorm 2710">
                <a:extLst>
                  <a:ext uri="{FF2B5EF4-FFF2-40B4-BE49-F238E27FC236}">
                    <a16:creationId xmlns:a16="http://schemas.microsoft.com/office/drawing/2014/main" id="{4E956101-0250-432B-9CBF-D429609A6A6D}"/>
                  </a:ext>
                </a:extLst>
              </p:cNvPr>
              <p:cNvSpPr/>
              <p:nvPr/>
            </p:nvSpPr>
            <p:spPr>
              <a:xfrm>
                <a:off x="5705502" y="5434892"/>
                <a:ext cx="18376" cy="18438"/>
              </a:xfrm>
              <a:custGeom>
                <a:avLst/>
                <a:gdLst>
                  <a:gd name="connsiteX0" fmla="*/ 18248 w 18376"/>
                  <a:gd name="connsiteY0" fmla="*/ 10774 h 18438"/>
                  <a:gd name="connsiteX1" fmla="*/ 7662 w 18376"/>
                  <a:gd name="connsiteY1" fmla="*/ 18310 h 18438"/>
                  <a:gd name="connsiteX2" fmla="*/ 127 w 18376"/>
                  <a:gd name="connsiteY2" fmla="*/ 7664 h 18438"/>
                  <a:gd name="connsiteX3" fmla="*/ 10713 w 18376"/>
                  <a:gd name="connsiteY3" fmla="*/ 128 h 18438"/>
                  <a:gd name="connsiteX4" fmla="*/ 18248 w 18376"/>
                  <a:gd name="connsiteY4" fmla="*/ 10774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18248" y="10774"/>
                    </a:moveTo>
                    <a:cubicBezTo>
                      <a:pt x="17411" y="15798"/>
                      <a:pt x="12686" y="19147"/>
                      <a:pt x="7662" y="18310"/>
                    </a:cubicBezTo>
                    <a:cubicBezTo>
                      <a:pt x="2698" y="17413"/>
                      <a:pt x="-711" y="12688"/>
                      <a:pt x="127" y="7664"/>
                    </a:cubicBezTo>
                    <a:cubicBezTo>
                      <a:pt x="964" y="2640"/>
                      <a:pt x="5689" y="-709"/>
                      <a:pt x="10713" y="128"/>
                    </a:cubicBezTo>
                    <a:cubicBezTo>
                      <a:pt x="15736" y="966"/>
                      <a:pt x="19085" y="5750"/>
                      <a:pt x="18248" y="10774"/>
                    </a:cubicBezTo>
                    <a:close/>
                  </a:path>
                </a:pathLst>
              </a:custGeom>
              <a:grpFill/>
              <a:ln w="5978" cap="flat">
                <a:noFill/>
                <a:prstDash val="solid"/>
                <a:miter/>
              </a:ln>
            </p:spPr>
            <p:txBody>
              <a:bodyPr rtlCol="0" anchor="ctr"/>
              <a:lstStyle/>
              <a:p>
                <a:endParaRPr lang="en-GB"/>
              </a:p>
            </p:txBody>
          </p:sp>
          <p:sp>
            <p:nvSpPr>
              <p:cNvPr id="2712" name="Vrije vorm: vorm 2711">
                <a:extLst>
                  <a:ext uri="{FF2B5EF4-FFF2-40B4-BE49-F238E27FC236}">
                    <a16:creationId xmlns:a16="http://schemas.microsoft.com/office/drawing/2014/main" id="{1CDC51E0-ECA9-4A8B-A35E-10A78B2DBB65}"/>
                  </a:ext>
                </a:extLst>
              </p:cNvPr>
              <p:cNvSpPr/>
              <p:nvPr/>
            </p:nvSpPr>
            <p:spPr>
              <a:xfrm>
                <a:off x="5733849" y="5266057"/>
                <a:ext cx="18378" cy="18437"/>
              </a:xfrm>
              <a:custGeom>
                <a:avLst/>
                <a:gdLst>
                  <a:gd name="connsiteX0" fmla="*/ 18250 w 18378"/>
                  <a:gd name="connsiteY0" fmla="*/ 10774 h 18437"/>
                  <a:gd name="connsiteX1" fmla="*/ 10714 w 18378"/>
                  <a:gd name="connsiteY1" fmla="*/ 128 h 18437"/>
                  <a:gd name="connsiteX2" fmla="*/ 128 w 18378"/>
                  <a:gd name="connsiteY2" fmla="*/ 7664 h 18437"/>
                  <a:gd name="connsiteX3" fmla="*/ 7664 w 18378"/>
                  <a:gd name="connsiteY3" fmla="*/ 18310 h 18437"/>
                  <a:gd name="connsiteX4" fmla="*/ 18250 w 18378"/>
                  <a:gd name="connsiteY4" fmla="*/ 1077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37">
                    <a:moveTo>
                      <a:pt x="18250" y="10774"/>
                    </a:moveTo>
                    <a:cubicBezTo>
                      <a:pt x="19087" y="5750"/>
                      <a:pt x="15738" y="966"/>
                      <a:pt x="10714" y="128"/>
                    </a:cubicBezTo>
                    <a:cubicBezTo>
                      <a:pt x="5750" y="-709"/>
                      <a:pt x="966" y="2640"/>
                      <a:pt x="128" y="7664"/>
                    </a:cubicBezTo>
                    <a:cubicBezTo>
                      <a:pt x="-709" y="12688"/>
                      <a:pt x="2640" y="17472"/>
                      <a:pt x="7664" y="18310"/>
                    </a:cubicBezTo>
                    <a:cubicBezTo>
                      <a:pt x="12688" y="19147"/>
                      <a:pt x="17413" y="15798"/>
                      <a:pt x="18250" y="10774"/>
                    </a:cubicBezTo>
                    <a:close/>
                  </a:path>
                </a:pathLst>
              </a:custGeom>
              <a:grpFill/>
              <a:ln w="5978" cap="flat">
                <a:noFill/>
                <a:prstDash val="solid"/>
                <a:miter/>
              </a:ln>
            </p:spPr>
            <p:txBody>
              <a:bodyPr rtlCol="0" anchor="ctr"/>
              <a:lstStyle/>
              <a:p>
                <a:endParaRPr lang="en-GB"/>
              </a:p>
            </p:txBody>
          </p:sp>
        </p:grpSp>
        <p:grpSp>
          <p:nvGrpSpPr>
            <p:cNvPr id="897" name="Graphic 3">
              <a:extLst>
                <a:ext uri="{FF2B5EF4-FFF2-40B4-BE49-F238E27FC236}">
                  <a16:creationId xmlns:a16="http://schemas.microsoft.com/office/drawing/2014/main" id="{89B2407D-EB97-4482-87E2-B564DA33053C}"/>
                </a:ext>
              </a:extLst>
            </p:cNvPr>
            <p:cNvGrpSpPr/>
            <p:nvPr/>
          </p:nvGrpSpPr>
          <p:grpSpPr>
            <a:xfrm>
              <a:off x="4635539" y="2154191"/>
              <a:ext cx="55418" cy="51404"/>
              <a:chOff x="4635539" y="2154191"/>
              <a:chExt cx="55418" cy="51404"/>
            </a:xfrm>
            <a:grpFill/>
          </p:grpSpPr>
          <p:sp>
            <p:nvSpPr>
              <p:cNvPr id="2707" name="Vrije vorm: vorm 2706">
                <a:extLst>
                  <a:ext uri="{FF2B5EF4-FFF2-40B4-BE49-F238E27FC236}">
                    <a16:creationId xmlns:a16="http://schemas.microsoft.com/office/drawing/2014/main" id="{5F02EF14-5017-4B57-8D29-76EDF9FBCB07}"/>
                  </a:ext>
                </a:extLst>
              </p:cNvPr>
              <p:cNvSpPr/>
              <p:nvPr/>
            </p:nvSpPr>
            <p:spPr>
              <a:xfrm>
                <a:off x="4643392" y="2161951"/>
                <a:ext cx="39771" cy="35884"/>
              </a:xfrm>
              <a:custGeom>
                <a:avLst/>
                <a:gdLst>
                  <a:gd name="connsiteX0" fmla="*/ 39772 w 39771"/>
                  <a:gd name="connsiteY0" fmla="*/ 33552 h 35884"/>
                  <a:gd name="connsiteX1" fmla="*/ 37798 w 39771"/>
                  <a:gd name="connsiteY1" fmla="*/ 35884 h 35884"/>
                  <a:gd name="connsiteX2" fmla="*/ 0 w 39771"/>
                  <a:gd name="connsiteY2" fmla="*/ 2273 h 35884"/>
                  <a:gd name="connsiteX3" fmla="*/ 1974 w 39771"/>
                  <a:gd name="connsiteY3" fmla="*/ 0 h 35884"/>
                </a:gdLst>
                <a:ahLst/>
                <a:cxnLst>
                  <a:cxn ang="0">
                    <a:pos x="connsiteX0" y="connsiteY0"/>
                  </a:cxn>
                  <a:cxn ang="0">
                    <a:pos x="connsiteX1" y="connsiteY1"/>
                  </a:cxn>
                  <a:cxn ang="0">
                    <a:pos x="connsiteX2" y="connsiteY2"/>
                  </a:cxn>
                  <a:cxn ang="0">
                    <a:pos x="connsiteX3" y="connsiteY3"/>
                  </a:cxn>
                </a:cxnLst>
                <a:rect l="l" t="t" r="r" b="b"/>
                <a:pathLst>
                  <a:path w="39771" h="35884">
                    <a:moveTo>
                      <a:pt x="39772" y="33552"/>
                    </a:moveTo>
                    <a:lnTo>
                      <a:pt x="37798" y="35884"/>
                    </a:lnTo>
                    <a:lnTo>
                      <a:pt x="0" y="2273"/>
                    </a:lnTo>
                    <a:lnTo>
                      <a:pt x="1974" y="0"/>
                    </a:lnTo>
                    <a:close/>
                  </a:path>
                </a:pathLst>
              </a:custGeom>
              <a:grpFill/>
              <a:ln w="5978" cap="flat">
                <a:noFill/>
                <a:prstDash val="solid"/>
                <a:miter/>
              </a:ln>
            </p:spPr>
            <p:txBody>
              <a:bodyPr rtlCol="0" anchor="ctr"/>
              <a:lstStyle/>
              <a:p>
                <a:endParaRPr lang="en-GB"/>
              </a:p>
            </p:txBody>
          </p:sp>
          <p:sp>
            <p:nvSpPr>
              <p:cNvPr id="2708" name="Vrije vorm: vorm 2707">
                <a:extLst>
                  <a:ext uri="{FF2B5EF4-FFF2-40B4-BE49-F238E27FC236}">
                    <a16:creationId xmlns:a16="http://schemas.microsoft.com/office/drawing/2014/main" id="{2426E0FD-207E-4E17-8BA9-9CB25CECFCDD}"/>
                  </a:ext>
                </a:extLst>
              </p:cNvPr>
              <p:cNvSpPr/>
              <p:nvPr/>
            </p:nvSpPr>
            <p:spPr>
              <a:xfrm>
                <a:off x="4635539" y="2154191"/>
                <a:ext cx="18317" cy="18415"/>
              </a:xfrm>
              <a:custGeom>
                <a:avLst/>
                <a:gdLst>
                  <a:gd name="connsiteX0" fmla="*/ 3129 w 18317"/>
                  <a:gd name="connsiteY0" fmla="*/ 16073 h 18415"/>
                  <a:gd name="connsiteX1" fmla="*/ 2291 w 18317"/>
                  <a:gd name="connsiteY1" fmla="*/ 3095 h 18415"/>
                  <a:gd name="connsiteX2" fmla="*/ 15210 w 18317"/>
                  <a:gd name="connsiteY2" fmla="*/ 2318 h 18415"/>
                  <a:gd name="connsiteX3" fmla="*/ 16047 w 18317"/>
                  <a:gd name="connsiteY3" fmla="*/ 15296 h 18415"/>
                  <a:gd name="connsiteX4" fmla="*/ 3129 w 18317"/>
                  <a:gd name="connsiteY4" fmla="*/ 16073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15">
                    <a:moveTo>
                      <a:pt x="3129" y="16073"/>
                    </a:moveTo>
                    <a:cubicBezTo>
                      <a:pt x="-699" y="12724"/>
                      <a:pt x="-1058" y="6863"/>
                      <a:pt x="2291" y="3095"/>
                    </a:cubicBezTo>
                    <a:cubicBezTo>
                      <a:pt x="5641" y="-732"/>
                      <a:pt x="11442" y="-1031"/>
                      <a:pt x="15210" y="2318"/>
                    </a:cubicBezTo>
                    <a:cubicBezTo>
                      <a:pt x="18977" y="5667"/>
                      <a:pt x="19396" y="11528"/>
                      <a:pt x="16047" y="15296"/>
                    </a:cubicBezTo>
                    <a:cubicBezTo>
                      <a:pt x="12758" y="19124"/>
                      <a:pt x="6956" y="19482"/>
                      <a:pt x="3129" y="16073"/>
                    </a:cubicBezTo>
                    <a:close/>
                  </a:path>
                </a:pathLst>
              </a:custGeom>
              <a:grpFill/>
              <a:ln w="5978" cap="flat">
                <a:noFill/>
                <a:prstDash val="solid"/>
                <a:miter/>
              </a:ln>
            </p:spPr>
            <p:txBody>
              <a:bodyPr rtlCol="0" anchor="ctr"/>
              <a:lstStyle/>
              <a:p>
                <a:endParaRPr lang="en-GB"/>
              </a:p>
            </p:txBody>
          </p:sp>
          <p:sp>
            <p:nvSpPr>
              <p:cNvPr id="2709" name="Vrije vorm: vorm 2708">
                <a:extLst>
                  <a:ext uri="{FF2B5EF4-FFF2-40B4-BE49-F238E27FC236}">
                    <a16:creationId xmlns:a16="http://schemas.microsoft.com/office/drawing/2014/main" id="{9C3C2397-6725-475A-9486-5F3167010E95}"/>
                  </a:ext>
                </a:extLst>
              </p:cNvPr>
              <p:cNvSpPr/>
              <p:nvPr/>
            </p:nvSpPr>
            <p:spPr>
              <a:xfrm>
                <a:off x="4672664" y="2187205"/>
                <a:ext cx="18293" cy="18391"/>
              </a:xfrm>
              <a:custGeom>
                <a:avLst/>
                <a:gdLst>
                  <a:gd name="connsiteX0" fmla="*/ 3084 w 18293"/>
                  <a:gd name="connsiteY0" fmla="*/ 16073 h 18391"/>
                  <a:gd name="connsiteX1" fmla="*/ 16003 w 18293"/>
                  <a:gd name="connsiteY1" fmla="*/ 15296 h 18391"/>
                  <a:gd name="connsiteX2" fmla="*/ 15165 w 18293"/>
                  <a:gd name="connsiteY2" fmla="*/ 2318 h 18391"/>
                  <a:gd name="connsiteX3" fmla="*/ 2247 w 18293"/>
                  <a:gd name="connsiteY3" fmla="*/ 3095 h 18391"/>
                  <a:gd name="connsiteX4" fmla="*/ 3084 w 18293"/>
                  <a:gd name="connsiteY4" fmla="*/ 1607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391">
                    <a:moveTo>
                      <a:pt x="3084" y="16073"/>
                    </a:moveTo>
                    <a:cubicBezTo>
                      <a:pt x="6912" y="19423"/>
                      <a:pt x="12653" y="19124"/>
                      <a:pt x="16003" y="15296"/>
                    </a:cubicBezTo>
                    <a:cubicBezTo>
                      <a:pt x="19352" y="11468"/>
                      <a:pt x="18993" y="5667"/>
                      <a:pt x="15165" y="2318"/>
                    </a:cubicBezTo>
                    <a:cubicBezTo>
                      <a:pt x="11338" y="-1031"/>
                      <a:pt x="5596" y="-732"/>
                      <a:pt x="2247" y="3095"/>
                    </a:cubicBezTo>
                    <a:cubicBezTo>
                      <a:pt x="-1043" y="6863"/>
                      <a:pt x="-684" y="12664"/>
                      <a:pt x="3084" y="16073"/>
                    </a:cubicBezTo>
                    <a:close/>
                  </a:path>
                </a:pathLst>
              </a:custGeom>
              <a:grpFill/>
              <a:ln w="5978" cap="flat">
                <a:noFill/>
                <a:prstDash val="solid"/>
                <a:miter/>
              </a:ln>
            </p:spPr>
            <p:txBody>
              <a:bodyPr rtlCol="0" anchor="ctr"/>
              <a:lstStyle/>
              <a:p>
                <a:endParaRPr lang="en-GB"/>
              </a:p>
            </p:txBody>
          </p:sp>
        </p:grpSp>
        <p:grpSp>
          <p:nvGrpSpPr>
            <p:cNvPr id="898" name="Graphic 3">
              <a:extLst>
                <a:ext uri="{FF2B5EF4-FFF2-40B4-BE49-F238E27FC236}">
                  <a16:creationId xmlns:a16="http://schemas.microsoft.com/office/drawing/2014/main" id="{12DE8583-1582-4F80-8E62-5B29F1AC2F9C}"/>
                </a:ext>
              </a:extLst>
            </p:cNvPr>
            <p:cNvGrpSpPr/>
            <p:nvPr/>
          </p:nvGrpSpPr>
          <p:grpSpPr>
            <a:xfrm>
              <a:off x="5813479" y="5481688"/>
              <a:ext cx="59292" cy="462044"/>
              <a:chOff x="5813479" y="5481688"/>
              <a:chExt cx="59292" cy="462044"/>
            </a:xfrm>
            <a:grpFill/>
          </p:grpSpPr>
          <p:sp>
            <p:nvSpPr>
              <p:cNvPr id="2704" name="Vrije vorm: vorm 2703">
                <a:extLst>
                  <a:ext uri="{FF2B5EF4-FFF2-40B4-BE49-F238E27FC236}">
                    <a16:creationId xmlns:a16="http://schemas.microsoft.com/office/drawing/2014/main" id="{99FEE9DC-A102-4737-957B-9B6B23440A33}"/>
                  </a:ext>
                </a:extLst>
              </p:cNvPr>
              <p:cNvSpPr/>
              <p:nvPr/>
            </p:nvSpPr>
            <p:spPr>
              <a:xfrm>
                <a:off x="5821056" y="5490282"/>
                <a:ext cx="44077" cy="444905"/>
              </a:xfrm>
              <a:custGeom>
                <a:avLst/>
                <a:gdLst>
                  <a:gd name="connsiteX0" fmla="*/ 44078 w 44077"/>
                  <a:gd name="connsiteY0" fmla="*/ 299 h 444905"/>
                  <a:gd name="connsiteX1" fmla="*/ 3050 w 44077"/>
                  <a:gd name="connsiteY1" fmla="*/ 444906 h 444905"/>
                  <a:gd name="connsiteX2" fmla="*/ 0 w 44077"/>
                  <a:gd name="connsiteY2" fmla="*/ 444607 h 444905"/>
                  <a:gd name="connsiteX3" fmla="*/ 41088 w 44077"/>
                  <a:gd name="connsiteY3" fmla="*/ 0 h 444905"/>
                </a:gdLst>
                <a:ahLst/>
                <a:cxnLst>
                  <a:cxn ang="0">
                    <a:pos x="connsiteX0" y="connsiteY0"/>
                  </a:cxn>
                  <a:cxn ang="0">
                    <a:pos x="connsiteX1" y="connsiteY1"/>
                  </a:cxn>
                  <a:cxn ang="0">
                    <a:pos x="connsiteX2" y="connsiteY2"/>
                  </a:cxn>
                  <a:cxn ang="0">
                    <a:pos x="connsiteX3" y="connsiteY3"/>
                  </a:cxn>
                </a:cxnLst>
                <a:rect l="l" t="t" r="r" b="b"/>
                <a:pathLst>
                  <a:path w="44077" h="444905">
                    <a:moveTo>
                      <a:pt x="44078" y="299"/>
                    </a:moveTo>
                    <a:lnTo>
                      <a:pt x="3050" y="444906"/>
                    </a:lnTo>
                    <a:lnTo>
                      <a:pt x="0" y="444607"/>
                    </a:lnTo>
                    <a:lnTo>
                      <a:pt x="41088" y="0"/>
                    </a:lnTo>
                    <a:close/>
                  </a:path>
                </a:pathLst>
              </a:custGeom>
              <a:grpFill/>
              <a:ln w="5978" cap="flat">
                <a:noFill/>
                <a:prstDash val="solid"/>
                <a:miter/>
              </a:ln>
            </p:spPr>
            <p:txBody>
              <a:bodyPr rtlCol="0" anchor="ctr"/>
              <a:lstStyle/>
              <a:p>
                <a:endParaRPr lang="en-GB"/>
              </a:p>
            </p:txBody>
          </p:sp>
          <p:sp>
            <p:nvSpPr>
              <p:cNvPr id="2705" name="Vrije vorm: vorm 2704">
                <a:extLst>
                  <a:ext uri="{FF2B5EF4-FFF2-40B4-BE49-F238E27FC236}">
                    <a16:creationId xmlns:a16="http://schemas.microsoft.com/office/drawing/2014/main" id="{14CE5D30-F209-4DFC-AEC2-EB551C69C27F}"/>
                  </a:ext>
                </a:extLst>
              </p:cNvPr>
              <p:cNvSpPr/>
              <p:nvPr/>
            </p:nvSpPr>
            <p:spPr>
              <a:xfrm>
                <a:off x="5813479" y="5925328"/>
                <a:ext cx="18314" cy="18404"/>
              </a:xfrm>
              <a:custGeom>
                <a:avLst/>
                <a:gdLst>
                  <a:gd name="connsiteX0" fmla="*/ 18283 w 18314"/>
                  <a:gd name="connsiteY0" fmla="*/ 10100 h 18404"/>
                  <a:gd name="connsiteX1" fmla="*/ 8295 w 18314"/>
                  <a:gd name="connsiteY1" fmla="*/ 18353 h 18404"/>
                  <a:gd name="connsiteX2" fmla="*/ 42 w 18314"/>
                  <a:gd name="connsiteY2" fmla="*/ 8305 h 18404"/>
                  <a:gd name="connsiteX3" fmla="*/ 10029 w 18314"/>
                  <a:gd name="connsiteY3" fmla="*/ 52 h 18404"/>
                  <a:gd name="connsiteX4" fmla="*/ 18283 w 18314"/>
                  <a:gd name="connsiteY4" fmla="*/ 10100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04">
                    <a:moveTo>
                      <a:pt x="18283" y="10100"/>
                    </a:moveTo>
                    <a:cubicBezTo>
                      <a:pt x="17804" y="15183"/>
                      <a:pt x="13319" y="18891"/>
                      <a:pt x="8295" y="18353"/>
                    </a:cubicBezTo>
                    <a:cubicBezTo>
                      <a:pt x="3271" y="17875"/>
                      <a:pt x="-437" y="13329"/>
                      <a:pt x="42" y="8305"/>
                    </a:cubicBezTo>
                    <a:cubicBezTo>
                      <a:pt x="520" y="3222"/>
                      <a:pt x="4945" y="-486"/>
                      <a:pt x="10029" y="52"/>
                    </a:cubicBezTo>
                    <a:cubicBezTo>
                      <a:pt x="14993" y="530"/>
                      <a:pt x="18701" y="5076"/>
                      <a:pt x="18283" y="10100"/>
                    </a:cubicBezTo>
                    <a:close/>
                  </a:path>
                </a:pathLst>
              </a:custGeom>
              <a:grpFill/>
              <a:ln w="5978" cap="flat">
                <a:noFill/>
                <a:prstDash val="solid"/>
                <a:miter/>
              </a:ln>
            </p:spPr>
            <p:txBody>
              <a:bodyPr rtlCol="0" anchor="ctr"/>
              <a:lstStyle/>
              <a:p>
                <a:endParaRPr lang="en-GB"/>
              </a:p>
            </p:txBody>
          </p:sp>
          <p:sp>
            <p:nvSpPr>
              <p:cNvPr id="2706" name="Vrije vorm: vorm 2705">
                <a:extLst>
                  <a:ext uri="{FF2B5EF4-FFF2-40B4-BE49-F238E27FC236}">
                    <a16:creationId xmlns:a16="http://schemas.microsoft.com/office/drawing/2014/main" id="{B2FA2C33-535F-4971-8348-4A9381D14EDD}"/>
                  </a:ext>
                </a:extLst>
              </p:cNvPr>
              <p:cNvSpPr/>
              <p:nvPr/>
            </p:nvSpPr>
            <p:spPr>
              <a:xfrm>
                <a:off x="5854447" y="5481688"/>
                <a:ext cx="18324" cy="18384"/>
              </a:xfrm>
              <a:custGeom>
                <a:avLst/>
                <a:gdLst>
                  <a:gd name="connsiteX0" fmla="*/ 18283 w 18324"/>
                  <a:gd name="connsiteY0" fmla="*/ 10089 h 18384"/>
                  <a:gd name="connsiteX1" fmla="*/ 10029 w 18324"/>
                  <a:gd name="connsiteY1" fmla="*/ 42 h 18384"/>
                  <a:gd name="connsiteX2" fmla="*/ 42 w 18324"/>
                  <a:gd name="connsiteY2" fmla="*/ 8295 h 18384"/>
                  <a:gd name="connsiteX3" fmla="*/ 8295 w 18324"/>
                  <a:gd name="connsiteY3" fmla="*/ 18343 h 18384"/>
                  <a:gd name="connsiteX4" fmla="*/ 18283 w 18324"/>
                  <a:gd name="connsiteY4" fmla="*/ 10089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84">
                    <a:moveTo>
                      <a:pt x="18283" y="10089"/>
                    </a:moveTo>
                    <a:cubicBezTo>
                      <a:pt x="18761" y="5006"/>
                      <a:pt x="15053" y="520"/>
                      <a:pt x="10029" y="42"/>
                    </a:cubicBezTo>
                    <a:cubicBezTo>
                      <a:pt x="5006" y="-437"/>
                      <a:pt x="520" y="3271"/>
                      <a:pt x="42" y="8295"/>
                    </a:cubicBezTo>
                    <a:cubicBezTo>
                      <a:pt x="-437" y="13379"/>
                      <a:pt x="3271" y="17864"/>
                      <a:pt x="8295" y="18343"/>
                    </a:cubicBezTo>
                    <a:cubicBezTo>
                      <a:pt x="13319" y="18821"/>
                      <a:pt x="17804" y="15113"/>
                      <a:pt x="18283" y="10089"/>
                    </a:cubicBezTo>
                    <a:close/>
                  </a:path>
                </a:pathLst>
              </a:custGeom>
              <a:grpFill/>
              <a:ln w="5978" cap="flat">
                <a:noFill/>
                <a:prstDash val="solid"/>
                <a:miter/>
              </a:ln>
            </p:spPr>
            <p:txBody>
              <a:bodyPr rtlCol="0" anchor="ctr"/>
              <a:lstStyle/>
              <a:p>
                <a:endParaRPr lang="en-GB"/>
              </a:p>
            </p:txBody>
          </p:sp>
        </p:grpSp>
        <p:grpSp>
          <p:nvGrpSpPr>
            <p:cNvPr id="899" name="Graphic 3">
              <a:extLst>
                <a:ext uri="{FF2B5EF4-FFF2-40B4-BE49-F238E27FC236}">
                  <a16:creationId xmlns:a16="http://schemas.microsoft.com/office/drawing/2014/main" id="{29D4BA6F-C592-4E79-8C64-BC5491447625}"/>
                </a:ext>
              </a:extLst>
            </p:cNvPr>
            <p:cNvGrpSpPr/>
            <p:nvPr/>
          </p:nvGrpSpPr>
          <p:grpSpPr>
            <a:xfrm>
              <a:off x="5613262" y="5046884"/>
              <a:ext cx="48671" cy="142256"/>
              <a:chOff x="5613262" y="5046884"/>
              <a:chExt cx="48671" cy="142256"/>
            </a:xfrm>
            <a:grpFill/>
          </p:grpSpPr>
          <p:sp>
            <p:nvSpPr>
              <p:cNvPr id="2701" name="Vrije vorm: vorm 2700">
                <a:extLst>
                  <a:ext uri="{FF2B5EF4-FFF2-40B4-BE49-F238E27FC236}">
                    <a16:creationId xmlns:a16="http://schemas.microsoft.com/office/drawing/2014/main" id="{4CE7653F-8977-486E-82BF-1ED948C9C5F1}"/>
                  </a:ext>
                </a:extLst>
              </p:cNvPr>
              <p:cNvSpPr/>
              <p:nvPr/>
            </p:nvSpPr>
            <p:spPr>
              <a:xfrm>
                <a:off x="5620822" y="5055305"/>
                <a:ext cx="33551" cy="125415"/>
              </a:xfrm>
              <a:custGeom>
                <a:avLst/>
                <a:gdLst>
                  <a:gd name="connsiteX0" fmla="*/ 33552 w 33551"/>
                  <a:gd name="connsiteY0" fmla="*/ 718 h 125415"/>
                  <a:gd name="connsiteX1" fmla="*/ 2930 w 33551"/>
                  <a:gd name="connsiteY1" fmla="*/ 125416 h 125415"/>
                  <a:gd name="connsiteX2" fmla="*/ 0 w 33551"/>
                  <a:gd name="connsiteY2" fmla="*/ 124698 h 125415"/>
                  <a:gd name="connsiteX3" fmla="*/ 30621 w 33551"/>
                  <a:gd name="connsiteY3" fmla="*/ 0 h 125415"/>
                </a:gdLst>
                <a:ahLst/>
                <a:cxnLst>
                  <a:cxn ang="0">
                    <a:pos x="connsiteX0" y="connsiteY0"/>
                  </a:cxn>
                  <a:cxn ang="0">
                    <a:pos x="connsiteX1" y="connsiteY1"/>
                  </a:cxn>
                  <a:cxn ang="0">
                    <a:pos x="connsiteX2" y="connsiteY2"/>
                  </a:cxn>
                  <a:cxn ang="0">
                    <a:pos x="connsiteX3" y="connsiteY3"/>
                  </a:cxn>
                </a:cxnLst>
                <a:rect l="l" t="t" r="r" b="b"/>
                <a:pathLst>
                  <a:path w="33551" h="125415">
                    <a:moveTo>
                      <a:pt x="33552" y="718"/>
                    </a:moveTo>
                    <a:lnTo>
                      <a:pt x="2930" y="125416"/>
                    </a:lnTo>
                    <a:lnTo>
                      <a:pt x="0" y="124698"/>
                    </a:lnTo>
                    <a:lnTo>
                      <a:pt x="30621" y="0"/>
                    </a:lnTo>
                    <a:close/>
                  </a:path>
                </a:pathLst>
              </a:custGeom>
              <a:grpFill/>
              <a:ln w="5978" cap="flat">
                <a:noFill/>
                <a:prstDash val="solid"/>
                <a:miter/>
              </a:ln>
            </p:spPr>
            <p:txBody>
              <a:bodyPr rtlCol="0" anchor="ctr"/>
              <a:lstStyle/>
              <a:p>
                <a:endParaRPr lang="en-GB"/>
              </a:p>
            </p:txBody>
          </p:sp>
          <p:sp>
            <p:nvSpPr>
              <p:cNvPr id="2702" name="Vrije vorm: vorm 2701">
                <a:extLst>
                  <a:ext uri="{FF2B5EF4-FFF2-40B4-BE49-F238E27FC236}">
                    <a16:creationId xmlns:a16="http://schemas.microsoft.com/office/drawing/2014/main" id="{3C2C3454-591C-46BA-A9AC-46E0370E90DC}"/>
                  </a:ext>
                </a:extLst>
              </p:cNvPr>
              <p:cNvSpPr/>
              <p:nvPr/>
            </p:nvSpPr>
            <p:spPr>
              <a:xfrm>
                <a:off x="5613262" y="5170689"/>
                <a:ext cx="18289" cy="18451"/>
              </a:xfrm>
              <a:custGeom>
                <a:avLst/>
                <a:gdLst>
                  <a:gd name="connsiteX0" fmla="*/ 18026 w 18289"/>
                  <a:gd name="connsiteY0" fmla="*/ 11467 h 18451"/>
                  <a:gd name="connsiteX1" fmla="*/ 6962 w 18289"/>
                  <a:gd name="connsiteY1" fmla="*/ 18165 h 18451"/>
                  <a:gd name="connsiteX2" fmla="*/ 263 w 18289"/>
                  <a:gd name="connsiteY2" fmla="*/ 6981 h 18451"/>
                  <a:gd name="connsiteX3" fmla="*/ 11328 w 18289"/>
                  <a:gd name="connsiteY3" fmla="*/ 283 h 18451"/>
                  <a:gd name="connsiteX4" fmla="*/ 18026 w 18289"/>
                  <a:gd name="connsiteY4" fmla="*/ 1146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1">
                    <a:moveTo>
                      <a:pt x="18026" y="11467"/>
                    </a:moveTo>
                    <a:cubicBezTo>
                      <a:pt x="16830" y="16431"/>
                      <a:pt x="11866" y="19421"/>
                      <a:pt x="6962" y="18165"/>
                    </a:cubicBezTo>
                    <a:cubicBezTo>
                      <a:pt x="2058" y="16909"/>
                      <a:pt x="-933" y="11945"/>
                      <a:pt x="263" y="6981"/>
                    </a:cubicBezTo>
                    <a:cubicBezTo>
                      <a:pt x="1459" y="2077"/>
                      <a:pt x="6423" y="-973"/>
                      <a:pt x="11328" y="283"/>
                    </a:cubicBezTo>
                    <a:cubicBezTo>
                      <a:pt x="16232" y="1539"/>
                      <a:pt x="19222" y="6563"/>
                      <a:pt x="18026" y="11467"/>
                    </a:cubicBezTo>
                    <a:close/>
                  </a:path>
                </a:pathLst>
              </a:custGeom>
              <a:grpFill/>
              <a:ln w="5978" cap="flat">
                <a:noFill/>
                <a:prstDash val="solid"/>
                <a:miter/>
              </a:ln>
            </p:spPr>
            <p:txBody>
              <a:bodyPr rtlCol="0" anchor="ctr"/>
              <a:lstStyle/>
              <a:p>
                <a:endParaRPr lang="en-GB"/>
              </a:p>
            </p:txBody>
          </p:sp>
          <p:sp>
            <p:nvSpPr>
              <p:cNvPr id="2703" name="Vrije vorm: vorm 2702">
                <a:extLst>
                  <a:ext uri="{FF2B5EF4-FFF2-40B4-BE49-F238E27FC236}">
                    <a16:creationId xmlns:a16="http://schemas.microsoft.com/office/drawing/2014/main" id="{33590563-2780-4CEE-B5FF-B0296EF2A39C}"/>
                  </a:ext>
                </a:extLst>
              </p:cNvPr>
              <p:cNvSpPr/>
              <p:nvPr/>
            </p:nvSpPr>
            <p:spPr>
              <a:xfrm>
                <a:off x="5643644" y="5046884"/>
                <a:ext cx="18289" cy="18432"/>
              </a:xfrm>
              <a:custGeom>
                <a:avLst/>
                <a:gdLst>
                  <a:gd name="connsiteX0" fmla="*/ 18026 w 18289"/>
                  <a:gd name="connsiteY0" fmla="*/ 11470 h 18432"/>
                  <a:gd name="connsiteX1" fmla="*/ 11328 w 18289"/>
                  <a:gd name="connsiteY1" fmla="*/ 286 h 18432"/>
                  <a:gd name="connsiteX2" fmla="*/ 263 w 18289"/>
                  <a:gd name="connsiteY2" fmla="*/ 6985 h 18432"/>
                  <a:gd name="connsiteX3" fmla="*/ 6962 w 18289"/>
                  <a:gd name="connsiteY3" fmla="*/ 18169 h 18432"/>
                  <a:gd name="connsiteX4" fmla="*/ 18026 w 18289"/>
                  <a:gd name="connsiteY4" fmla="*/ 11470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32">
                    <a:moveTo>
                      <a:pt x="18026" y="11470"/>
                    </a:moveTo>
                    <a:cubicBezTo>
                      <a:pt x="19222" y="6506"/>
                      <a:pt x="16232" y="1542"/>
                      <a:pt x="11328" y="286"/>
                    </a:cubicBezTo>
                    <a:cubicBezTo>
                      <a:pt x="6424" y="-970"/>
                      <a:pt x="1459" y="2021"/>
                      <a:pt x="263" y="6985"/>
                    </a:cubicBezTo>
                    <a:cubicBezTo>
                      <a:pt x="-933" y="11889"/>
                      <a:pt x="2058" y="16913"/>
                      <a:pt x="6962" y="18169"/>
                    </a:cubicBezTo>
                    <a:cubicBezTo>
                      <a:pt x="11866" y="19365"/>
                      <a:pt x="16830" y="16375"/>
                      <a:pt x="18026" y="11470"/>
                    </a:cubicBezTo>
                    <a:close/>
                  </a:path>
                </a:pathLst>
              </a:custGeom>
              <a:grpFill/>
              <a:ln w="5978" cap="flat">
                <a:noFill/>
                <a:prstDash val="solid"/>
                <a:miter/>
              </a:ln>
            </p:spPr>
            <p:txBody>
              <a:bodyPr rtlCol="0" anchor="ctr"/>
              <a:lstStyle/>
              <a:p>
                <a:endParaRPr lang="en-GB"/>
              </a:p>
            </p:txBody>
          </p:sp>
        </p:grpSp>
        <p:grpSp>
          <p:nvGrpSpPr>
            <p:cNvPr id="900" name="Graphic 3">
              <a:extLst>
                <a:ext uri="{FF2B5EF4-FFF2-40B4-BE49-F238E27FC236}">
                  <a16:creationId xmlns:a16="http://schemas.microsoft.com/office/drawing/2014/main" id="{E8A93157-0741-4E58-8CAA-AF47C7FFEB1D}"/>
                </a:ext>
              </a:extLst>
            </p:cNvPr>
            <p:cNvGrpSpPr/>
            <p:nvPr/>
          </p:nvGrpSpPr>
          <p:grpSpPr>
            <a:xfrm>
              <a:off x="5657151" y="5090139"/>
              <a:ext cx="156044" cy="653999"/>
              <a:chOff x="5657151" y="5090139"/>
              <a:chExt cx="156044" cy="653999"/>
            </a:xfrm>
            <a:grpFill/>
          </p:grpSpPr>
          <p:sp>
            <p:nvSpPr>
              <p:cNvPr id="2698" name="Vrije vorm: vorm 2697">
                <a:extLst>
                  <a:ext uri="{FF2B5EF4-FFF2-40B4-BE49-F238E27FC236}">
                    <a16:creationId xmlns:a16="http://schemas.microsoft.com/office/drawing/2014/main" id="{47D81105-E013-4BF6-ACAD-ED6199626B6E}"/>
                  </a:ext>
                </a:extLst>
              </p:cNvPr>
              <p:cNvSpPr/>
              <p:nvPr/>
            </p:nvSpPr>
            <p:spPr>
              <a:xfrm>
                <a:off x="5664780" y="5098545"/>
                <a:ext cx="140846" cy="637126"/>
              </a:xfrm>
              <a:custGeom>
                <a:avLst/>
                <a:gdLst>
                  <a:gd name="connsiteX0" fmla="*/ 140846 w 140846"/>
                  <a:gd name="connsiteY0" fmla="*/ 658 h 637126"/>
                  <a:gd name="connsiteX1" fmla="*/ 2931 w 140846"/>
                  <a:gd name="connsiteY1" fmla="*/ 637126 h 637126"/>
                  <a:gd name="connsiteX2" fmla="*/ 0 w 140846"/>
                  <a:gd name="connsiteY2" fmla="*/ 636469 h 637126"/>
                  <a:gd name="connsiteX3" fmla="*/ 137856 w 140846"/>
                  <a:gd name="connsiteY3" fmla="*/ 0 h 637126"/>
                </a:gdLst>
                <a:ahLst/>
                <a:cxnLst>
                  <a:cxn ang="0">
                    <a:pos x="connsiteX0" y="connsiteY0"/>
                  </a:cxn>
                  <a:cxn ang="0">
                    <a:pos x="connsiteX1" y="connsiteY1"/>
                  </a:cxn>
                  <a:cxn ang="0">
                    <a:pos x="connsiteX2" y="connsiteY2"/>
                  </a:cxn>
                  <a:cxn ang="0">
                    <a:pos x="connsiteX3" y="connsiteY3"/>
                  </a:cxn>
                </a:cxnLst>
                <a:rect l="l" t="t" r="r" b="b"/>
                <a:pathLst>
                  <a:path w="140846" h="637126">
                    <a:moveTo>
                      <a:pt x="140846" y="658"/>
                    </a:moveTo>
                    <a:lnTo>
                      <a:pt x="2931" y="637126"/>
                    </a:lnTo>
                    <a:lnTo>
                      <a:pt x="0" y="636469"/>
                    </a:lnTo>
                    <a:lnTo>
                      <a:pt x="137856" y="0"/>
                    </a:lnTo>
                    <a:close/>
                  </a:path>
                </a:pathLst>
              </a:custGeom>
              <a:grpFill/>
              <a:ln w="5978" cap="flat">
                <a:noFill/>
                <a:prstDash val="solid"/>
                <a:miter/>
              </a:ln>
            </p:spPr>
            <p:txBody>
              <a:bodyPr rtlCol="0" anchor="ctr"/>
              <a:lstStyle/>
              <a:p>
                <a:endParaRPr lang="en-GB"/>
              </a:p>
            </p:txBody>
          </p:sp>
          <p:sp>
            <p:nvSpPr>
              <p:cNvPr id="2699" name="Vrije vorm: vorm 2698">
                <a:extLst>
                  <a:ext uri="{FF2B5EF4-FFF2-40B4-BE49-F238E27FC236}">
                    <a16:creationId xmlns:a16="http://schemas.microsoft.com/office/drawing/2014/main" id="{35E74277-BC88-4DF4-B0C8-5D186E4E2EB7}"/>
                  </a:ext>
                </a:extLst>
              </p:cNvPr>
              <p:cNvSpPr/>
              <p:nvPr/>
            </p:nvSpPr>
            <p:spPr>
              <a:xfrm>
                <a:off x="5794887" y="5090139"/>
                <a:ext cx="18307" cy="18427"/>
              </a:xfrm>
              <a:custGeom>
                <a:avLst/>
                <a:gdLst>
                  <a:gd name="connsiteX0" fmla="*/ 213 w 18307"/>
                  <a:gd name="connsiteY0" fmla="*/ 7211 h 18427"/>
                  <a:gd name="connsiteX1" fmla="*/ 11098 w 18307"/>
                  <a:gd name="connsiteY1" fmla="*/ 213 h 18427"/>
                  <a:gd name="connsiteX2" fmla="*/ 18095 w 18307"/>
                  <a:gd name="connsiteY2" fmla="*/ 11218 h 18427"/>
                  <a:gd name="connsiteX3" fmla="*/ 7210 w 18307"/>
                  <a:gd name="connsiteY3" fmla="*/ 18215 h 18427"/>
                  <a:gd name="connsiteX4" fmla="*/ 213 w 18307"/>
                  <a:gd name="connsiteY4" fmla="*/ 7211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7">
                    <a:moveTo>
                      <a:pt x="213" y="7211"/>
                    </a:moveTo>
                    <a:cubicBezTo>
                      <a:pt x="1289" y="2246"/>
                      <a:pt x="6194" y="-864"/>
                      <a:pt x="11098" y="213"/>
                    </a:cubicBezTo>
                    <a:cubicBezTo>
                      <a:pt x="16062" y="1289"/>
                      <a:pt x="19172" y="6253"/>
                      <a:pt x="18095" y="11218"/>
                    </a:cubicBezTo>
                    <a:cubicBezTo>
                      <a:pt x="17019" y="16182"/>
                      <a:pt x="12114" y="19291"/>
                      <a:pt x="7210" y="18215"/>
                    </a:cubicBezTo>
                    <a:cubicBezTo>
                      <a:pt x="2246" y="17079"/>
                      <a:pt x="-864" y="12174"/>
                      <a:pt x="213" y="7211"/>
                    </a:cubicBezTo>
                    <a:close/>
                  </a:path>
                </a:pathLst>
              </a:custGeom>
              <a:grpFill/>
              <a:ln w="5978" cap="flat">
                <a:noFill/>
                <a:prstDash val="solid"/>
                <a:miter/>
              </a:ln>
            </p:spPr>
            <p:txBody>
              <a:bodyPr rtlCol="0" anchor="ctr"/>
              <a:lstStyle/>
              <a:p>
                <a:endParaRPr lang="en-GB"/>
              </a:p>
            </p:txBody>
          </p:sp>
          <p:sp>
            <p:nvSpPr>
              <p:cNvPr id="2700" name="Vrije vorm: vorm 2699">
                <a:extLst>
                  <a:ext uri="{FF2B5EF4-FFF2-40B4-BE49-F238E27FC236}">
                    <a16:creationId xmlns:a16="http://schemas.microsoft.com/office/drawing/2014/main" id="{3A8193ED-2233-44B8-8F1D-94274F052ADB}"/>
                  </a:ext>
                </a:extLst>
              </p:cNvPr>
              <p:cNvSpPr/>
              <p:nvPr/>
            </p:nvSpPr>
            <p:spPr>
              <a:xfrm>
                <a:off x="5657151" y="5725692"/>
                <a:ext cx="18308" cy="18445"/>
              </a:xfrm>
              <a:custGeom>
                <a:avLst/>
                <a:gdLst>
                  <a:gd name="connsiteX0" fmla="*/ 213 w 18308"/>
                  <a:gd name="connsiteY0" fmla="*/ 7228 h 18445"/>
                  <a:gd name="connsiteX1" fmla="*/ 7211 w 18308"/>
                  <a:gd name="connsiteY1" fmla="*/ 18233 h 18445"/>
                  <a:gd name="connsiteX2" fmla="*/ 18095 w 18308"/>
                  <a:gd name="connsiteY2" fmla="*/ 11236 h 18445"/>
                  <a:gd name="connsiteX3" fmla="*/ 11098 w 18308"/>
                  <a:gd name="connsiteY3" fmla="*/ 231 h 18445"/>
                  <a:gd name="connsiteX4" fmla="*/ 213 w 18308"/>
                  <a:gd name="connsiteY4" fmla="*/ 72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5">
                    <a:moveTo>
                      <a:pt x="213" y="7228"/>
                    </a:moveTo>
                    <a:cubicBezTo>
                      <a:pt x="-864" y="12192"/>
                      <a:pt x="2246" y="17097"/>
                      <a:pt x="7211" y="18233"/>
                    </a:cubicBezTo>
                    <a:cubicBezTo>
                      <a:pt x="12174" y="19310"/>
                      <a:pt x="17019" y="16199"/>
                      <a:pt x="18095" y="11236"/>
                    </a:cubicBezTo>
                    <a:cubicBezTo>
                      <a:pt x="19172" y="6272"/>
                      <a:pt x="16062" y="1367"/>
                      <a:pt x="11098" y="231"/>
                    </a:cubicBezTo>
                    <a:cubicBezTo>
                      <a:pt x="6194" y="-905"/>
                      <a:pt x="1289" y="2265"/>
                      <a:pt x="213" y="7228"/>
                    </a:cubicBezTo>
                    <a:close/>
                  </a:path>
                </a:pathLst>
              </a:custGeom>
              <a:grpFill/>
              <a:ln w="5978" cap="flat">
                <a:noFill/>
                <a:prstDash val="solid"/>
                <a:miter/>
              </a:ln>
            </p:spPr>
            <p:txBody>
              <a:bodyPr rtlCol="0" anchor="ctr"/>
              <a:lstStyle/>
              <a:p>
                <a:endParaRPr lang="en-GB"/>
              </a:p>
            </p:txBody>
          </p:sp>
        </p:grpSp>
        <p:grpSp>
          <p:nvGrpSpPr>
            <p:cNvPr id="901" name="Graphic 3">
              <a:extLst>
                <a:ext uri="{FF2B5EF4-FFF2-40B4-BE49-F238E27FC236}">
                  <a16:creationId xmlns:a16="http://schemas.microsoft.com/office/drawing/2014/main" id="{FEE293B8-2914-4641-9A91-98E472F49F5F}"/>
                </a:ext>
              </a:extLst>
            </p:cNvPr>
            <p:cNvGrpSpPr/>
            <p:nvPr/>
          </p:nvGrpSpPr>
          <p:grpSpPr>
            <a:xfrm>
              <a:off x="5720186" y="5316792"/>
              <a:ext cx="59891" cy="297698"/>
              <a:chOff x="5720186" y="5316792"/>
              <a:chExt cx="59891" cy="297698"/>
            </a:xfrm>
            <a:grpFill/>
          </p:grpSpPr>
          <p:sp>
            <p:nvSpPr>
              <p:cNvPr id="2695" name="Vrije vorm: vorm 2694">
                <a:extLst>
                  <a:ext uri="{FF2B5EF4-FFF2-40B4-BE49-F238E27FC236}">
                    <a16:creationId xmlns:a16="http://schemas.microsoft.com/office/drawing/2014/main" id="{FCC66446-925E-4B40-8429-097AAC57474E}"/>
                  </a:ext>
                </a:extLst>
              </p:cNvPr>
              <p:cNvSpPr/>
              <p:nvPr/>
            </p:nvSpPr>
            <p:spPr>
              <a:xfrm>
                <a:off x="5727757" y="5325334"/>
                <a:ext cx="44735" cy="280615"/>
              </a:xfrm>
              <a:custGeom>
                <a:avLst/>
                <a:gdLst>
                  <a:gd name="connsiteX0" fmla="*/ 44736 w 44735"/>
                  <a:gd name="connsiteY0" fmla="*/ 478 h 280615"/>
                  <a:gd name="connsiteX1" fmla="*/ 2990 w 44735"/>
                  <a:gd name="connsiteY1" fmla="*/ 280615 h 280615"/>
                  <a:gd name="connsiteX2" fmla="*/ 0 w 44735"/>
                  <a:gd name="connsiteY2" fmla="*/ 280137 h 280615"/>
                  <a:gd name="connsiteX3" fmla="*/ 41685 w 44735"/>
                  <a:gd name="connsiteY3" fmla="*/ 0 h 280615"/>
                </a:gdLst>
                <a:ahLst/>
                <a:cxnLst>
                  <a:cxn ang="0">
                    <a:pos x="connsiteX0" y="connsiteY0"/>
                  </a:cxn>
                  <a:cxn ang="0">
                    <a:pos x="connsiteX1" y="connsiteY1"/>
                  </a:cxn>
                  <a:cxn ang="0">
                    <a:pos x="connsiteX2" y="connsiteY2"/>
                  </a:cxn>
                  <a:cxn ang="0">
                    <a:pos x="connsiteX3" y="connsiteY3"/>
                  </a:cxn>
                </a:cxnLst>
                <a:rect l="l" t="t" r="r" b="b"/>
                <a:pathLst>
                  <a:path w="44735" h="280615">
                    <a:moveTo>
                      <a:pt x="44736" y="478"/>
                    </a:moveTo>
                    <a:lnTo>
                      <a:pt x="2990" y="280615"/>
                    </a:lnTo>
                    <a:lnTo>
                      <a:pt x="0" y="280137"/>
                    </a:lnTo>
                    <a:lnTo>
                      <a:pt x="41685" y="0"/>
                    </a:lnTo>
                    <a:close/>
                  </a:path>
                </a:pathLst>
              </a:custGeom>
              <a:grpFill/>
              <a:ln w="5978" cap="flat">
                <a:noFill/>
                <a:prstDash val="solid"/>
                <a:miter/>
              </a:ln>
            </p:spPr>
            <p:txBody>
              <a:bodyPr rtlCol="0" anchor="ctr"/>
              <a:lstStyle/>
              <a:p>
                <a:endParaRPr lang="en-GB"/>
              </a:p>
            </p:txBody>
          </p:sp>
          <p:sp>
            <p:nvSpPr>
              <p:cNvPr id="2696" name="Vrije vorm: vorm 2695">
                <a:extLst>
                  <a:ext uri="{FF2B5EF4-FFF2-40B4-BE49-F238E27FC236}">
                    <a16:creationId xmlns:a16="http://schemas.microsoft.com/office/drawing/2014/main" id="{AB35A334-BCE8-4E14-A69C-24BF1077179F}"/>
                  </a:ext>
                </a:extLst>
              </p:cNvPr>
              <p:cNvSpPr/>
              <p:nvPr/>
            </p:nvSpPr>
            <p:spPr>
              <a:xfrm>
                <a:off x="5720186" y="5596032"/>
                <a:ext cx="18312" cy="18459"/>
              </a:xfrm>
              <a:custGeom>
                <a:avLst/>
                <a:gdLst>
                  <a:gd name="connsiteX0" fmla="*/ 18217 w 18312"/>
                  <a:gd name="connsiteY0" fmla="*/ 10635 h 18459"/>
                  <a:gd name="connsiteX1" fmla="*/ 7810 w 18312"/>
                  <a:gd name="connsiteY1" fmla="*/ 18350 h 18459"/>
                  <a:gd name="connsiteX2" fmla="*/ 95 w 18312"/>
                  <a:gd name="connsiteY2" fmla="*/ 7824 h 18459"/>
                  <a:gd name="connsiteX3" fmla="*/ 10502 w 18312"/>
                  <a:gd name="connsiteY3" fmla="*/ 109 h 18459"/>
                  <a:gd name="connsiteX4" fmla="*/ 18217 w 18312"/>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9">
                    <a:moveTo>
                      <a:pt x="18217" y="10635"/>
                    </a:moveTo>
                    <a:cubicBezTo>
                      <a:pt x="17440" y="15659"/>
                      <a:pt x="12774" y="19128"/>
                      <a:pt x="7810" y="18350"/>
                    </a:cubicBezTo>
                    <a:cubicBezTo>
                      <a:pt x="2787" y="17573"/>
                      <a:pt x="-622" y="12848"/>
                      <a:pt x="95" y="7824"/>
                    </a:cubicBezTo>
                    <a:cubicBezTo>
                      <a:pt x="873" y="2800"/>
                      <a:pt x="5538" y="-669"/>
                      <a:pt x="10502" y="109"/>
                    </a:cubicBezTo>
                    <a:cubicBezTo>
                      <a:pt x="15526" y="886"/>
                      <a:pt x="18935" y="5552"/>
                      <a:pt x="18217" y="10635"/>
                    </a:cubicBezTo>
                    <a:close/>
                  </a:path>
                </a:pathLst>
              </a:custGeom>
              <a:grpFill/>
              <a:ln w="5978" cap="flat">
                <a:noFill/>
                <a:prstDash val="solid"/>
                <a:miter/>
              </a:ln>
            </p:spPr>
            <p:txBody>
              <a:bodyPr rtlCol="0" anchor="ctr"/>
              <a:lstStyle/>
              <a:p>
                <a:endParaRPr lang="en-GB"/>
              </a:p>
            </p:txBody>
          </p:sp>
          <p:sp>
            <p:nvSpPr>
              <p:cNvPr id="2697" name="Vrije vorm: vorm 2696">
                <a:extLst>
                  <a:ext uri="{FF2B5EF4-FFF2-40B4-BE49-F238E27FC236}">
                    <a16:creationId xmlns:a16="http://schemas.microsoft.com/office/drawing/2014/main" id="{09B7094A-717C-406C-911E-8EC86CBE4600}"/>
                  </a:ext>
                </a:extLst>
              </p:cNvPr>
              <p:cNvSpPr/>
              <p:nvPr/>
            </p:nvSpPr>
            <p:spPr>
              <a:xfrm>
                <a:off x="5761738" y="5316792"/>
                <a:ext cx="18339" cy="18459"/>
              </a:xfrm>
              <a:custGeom>
                <a:avLst/>
                <a:gdLst>
                  <a:gd name="connsiteX0" fmla="*/ 18230 w 18339"/>
                  <a:gd name="connsiteY0" fmla="*/ 10635 h 18459"/>
                  <a:gd name="connsiteX1" fmla="*/ 10515 w 18339"/>
                  <a:gd name="connsiteY1" fmla="*/ 109 h 18459"/>
                  <a:gd name="connsiteX2" fmla="*/ 109 w 18339"/>
                  <a:gd name="connsiteY2" fmla="*/ 7824 h 18459"/>
                  <a:gd name="connsiteX3" fmla="*/ 7824 w 18339"/>
                  <a:gd name="connsiteY3" fmla="*/ 18350 h 18459"/>
                  <a:gd name="connsiteX4" fmla="*/ 18230 w 18339"/>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9">
                    <a:moveTo>
                      <a:pt x="18230" y="10635"/>
                    </a:moveTo>
                    <a:cubicBezTo>
                      <a:pt x="19008" y="5611"/>
                      <a:pt x="15539" y="886"/>
                      <a:pt x="10515" y="109"/>
                    </a:cubicBezTo>
                    <a:cubicBezTo>
                      <a:pt x="5491" y="-669"/>
                      <a:pt x="827" y="2800"/>
                      <a:pt x="109" y="7824"/>
                    </a:cubicBezTo>
                    <a:cubicBezTo>
                      <a:pt x="-669" y="12848"/>
                      <a:pt x="2800" y="17573"/>
                      <a:pt x="7824" y="18350"/>
                    </a:cubicBezTo>
                    <a:cubicBezTo>
                      <a:pt x="12848" y="19128"/>
                      <a:pt x="17513" y="15659"/>
                      <a:pt x="18230" y="10635"/>
                    </a:cubicBezTo>
                    <a:close/>
                  </a:path>
                </a:pathLst>
              </a:custGeom>
              <a:grpFill/>
              <a:ln w="5978" cap="flat">
                <a:noFill/>
                <a:prstDash val="solid"/>
                <a:miter/>
              </a:ln>
            </p:spPr>
            <p:txBody>
              <a:bodyPr rtlCol="0" anchor="ctr"/>
              <a:lstStyle/>
              <a:p>
                <a:endParaRPr lang="en-GB"/>
              </a:p>
            </p:txBody>
          </p:sp>
        </p:grpSp>
        <p:grpSp>
          <p:nvGrpSpPr>
            <p:cNvPr id="902" name="Graphic 3">
              <a:extLst>
                <a:ext uri="{FF2B5EF4-FFF2-40B4-BE49-F238E27FC236}">
                  <a16:creationId xmlns:a16="http://schemas.microsoft.com/office/drawing/2014/main" id="{C19942DB-49CA-48F6-8D09-5F8AE1BC03D7}"/>
                </a:ext>
              </a:extLst>
            </p:cNvPr>
            <p:cNvGrpSpPr/>
            <p:nvPr/>
          </p:nvGrpSpPr>
          <p:grpSpPr>
            <a:xfrm>
              <a:off x="4632894" y="2198078"/>
              <a:ext cx="56640" cy="51188"/>
              <a:chOff x="4632894" y="2198078"/>
              <a:chExt cx="56640" cy="51188"/>
            </a:xfrm>
            <a:grpFill/>
          </p:grpSpPr>
          <p:sp>
            <p:nvSpPr>
              <p:cNvPr id="2692" name="Vrije vorm: vorm 2691">
                <a:extLst>
                  <a:ext uri="{FF2B5EF4-FFF2-40B4-BE49-F238E27FC236}">
                    <a16:creationId xmlns:a16="http://schemas.microsoft.com/office/drawing/2014/main" id="{5919D7F1-352F-424D-8367-CC7B8AC725D5}"/>
                  </a:ext>
                </a:extLst>
              </p:cNvPr>
              <p:cNvSpPr/>
              <p:nvPr/>
            </p:nvSpPr>
            <p:spPr>
              <a:xfrm>
                <a:off x="4640761" y="2205790"/>
                <a:ext cx="40967" cy="35764"/>
              </a:xfrm>
              <a:custGeom>
                <a:avLst/>
                <a:gdLst>
                  <a:gd name="connsiteX0" fmla="*/ 40968 w 40967"/>
                  <a:gd name="connsiteY0" fmla="*/ 33432 h 35764"/>
                  <a:gd name="connsiteX1" fmla="*/ 38994 w 40967"/>
                  <a:gd name="connsiteY1" fmla="*/ 35765 h 35764"/>
                  <a:gd name="connsiteX2" fmla="*/ 0 w 40967"/>
                  <a:gd name="connsiteY2" fmla="*/ 2332 h 35764"/>
                  <a:gd name="connsiteX3" fmla="*/ 1974 w 40967"/>
                  <a:gd name="connsiteY3" fmla="*/ 0 h 35764"/>
                </a:gdLst>
                <a:ahLst/>
                <a:cxnLst>
                  <a:cxn ang="0">
                    <a:pos x="connsiteX0" y="connsiteY0"/>
                  </a:cxn>
                  <a:cxn ang="0">
                    <a:pos x="connsiteX1" y="connsiteY1"/>
                  </a:cxn>
                  <a:cxn ang="0">
                    <a:pos x="connsiteX2" y="connsiteY2"/>
                  </a:cxn>
                  <a:cxn ang="0">
                    <a:pos x="connsiteX3" y="connsiteY3"/>
                  </a:cxn>
                </a:cxnLst>
                <a:rect l="l" t="t" r="r" b="b"/>
                <a:pathLst>
                  <a:path w="40967" h="35764">
                    <a:moveTo>
                      <a:pt x="40968" y="33432"/>
                    </a:moveTo>
                    <a:lnTo>
                      <a:pt x="38994" y="35765"/>
                    </a:lnTo>
                    <a:lnTo>
                      <a:pt x="0" y="2332"/>
                    </a:lnTo>
                    <a:lnTo>
                      <a:pt x="1974" y="0"/>
                    </a:lnTo>
                    <a:close/>
                  </a:path>
                </a:pathLst>
              </a:custGeom>
              <a:grpFill/>
              <a:ln w="5978" cap="flat">
                <a:noFill/>
                <a:prstDash val="solid"/>
                <a:miter/>
              </a:ln>
            </p:spPr>
            <p:txBody>
              <a:bodyPr rtlCol="0" anchor="ctr"/>
              <a:lstStyle/>
              <a:p>
                <a:endParaRPr lang="en-GB"/>
              </a:p>
            </p:txBody>
          </p:sp>
          <p:sp>
            <p:nvSpPr>
              <p:cNvPr id="2693" name="Vrije vorm: vorm 2692">
                <a:extLst>
                  <a:ext uri="{FF2B5EF4-FFF2-40B4-BE49-F238E27FC236}">
                    <a16:creationId xmlns:a16="http://schemas.microsoft.com/office/drawing/2014/main" id="{FD6A3969-70F0-47EB-AB3F-0685F05236C0}"/>
                  </a:ext>
                </a:extLst>
              </p:cNvPr>
              <p:cNvSpPr/>
              <p:nvPr/>
            </p:nvSpPr>
            <p:spPr>
              <a:xfrm>
                <a:off x="4632894" y="2198078"/>
                <a:ext cx="18364" cy="18414"/>
              </a:xfrm>
              <a:custGeom>
                <a:avLst/>
                <a:gdLst>
                  <a:gd name="connsiteX0" fmla="*/ 3261 w 18364"/>
                  <a:gd name="connsiteY0" fmla="*/ 16205 h 18414"/>
                  <a:gd name="connsiteX1" fmla="*/ 2185 w 18364"/>
                  <a:gd name="connsiteY1" fmla="*/ 3227 h 18414"/>
                  <a:gd name="connsiteX2" fmla="*/ 15103 w 18364"/>
                  <a:gd name="connsiteY2" fmla="*/ 2210 h 18414"/>
                  <a:gd name="connsiteX3" fmla="*/ 16180 w 18364"/>
                  <a:gd name="connsiteY3" fmla="*/ 15188 h 18414"/>
                  <a:gd name="connsiteX4" fmla="*/ 3261 w 18364"/>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3261" y="16205"/>
                    </a:moveTo>
                    <a:cubicBezTo>
                      <a:pt x="-626" y="12915"/>
                      <a:pt x="-1105" y="7054"/>
                      <a:pt x="2185" y="3227"/>
                    </a:cubicBezTo>
                    <a:cubicBezTo>
                      <a:pt x="5474" y="-661"/>
                      <a:pt x="11215" y="-1080"/>
                      <a:pt x="15103" y="2210"/>
                    </a:cubicBezTo>
                    <a:cubicBezTo>
                      <a:pt x="18990" y="5499"/>
                      <a:pt x="19469" y="11360"/>
                      <a:pt x="16180" y="15188"/>
                    </a:cubicBezTo>
                    <a:cubicBezTo>
                      <a:pt x="12890" y="19076"/>
                      <a:pt x="7089" y="19494"/>
                      <a:pt x="3261" y="16205"/>
                    </a:cubicBezTo>
                    <a:close/>
                  </a:path>
                </a:pathLst>
              </a:custGeom>
              <a:grpFill/>
              <a:ln w="5978" cap="flat">
                <a:noFill/>
                <a:prstDash val="solid"/>
                <a:miter/>
              </a:ln>
            </p:spPr>
            <p:txBody>
              <a:bodyPr rtlCol="0" anchor="ctr"/>
              <a:lstStyle/>
              <a:p>
                <a:endParaRPr lang="en-GB"/>
              </a:p>
            </p:txBody>
          </p:sp>
          <p:sp>
            <p:nvSpPr>
              <p:cNvPr id="2694" name="Vrije vorm: vorm 2693">
                <a:extLst>
                  <a:ext uri="{FF2B5EF4-FFF2-40B4-BE49-F238E27FC236}">
                    <a16:creationId xmlns:a16="http://schemas.microsoft.com/office/drawing/2014/main" id="{E8F2E312-FDF2-48DC-A4B1-8026EE8B04A6}"/>
                  </a:ext>
                </a:extLst>
              </p:cNvPr>
              <p:cNvSpPr/>
              <p:nvPr/>
            </p:nvSpPr>
            <p:spPr>
              <a:xfrm>
                <a:off x="4671215" y="2230852"/>
                <a:ext cx="18319" cy="18414"/>
              </a:xfrm>
              <a:custGeom>
                <a:avLst/>
                <a:gdLst>
                  <a:gd name="connsiteX0" fmla="*/ 3217 w 18319"/>
                  <a:gd name="connsiteY0" fmla="*/ 16205 h 18414"/>
                  <a:gd name="connsiteX1" fmla="*/ 16135 w 18319"/>
                  <a:gd name="connsiteY1" fmla="*/ 15188 h 18414"/>
                  <a:gd name="connsiteX2" fmla="*/ 15059 w 18319"/>
                  <a:gd name="connsiteY2" fmla="*/ 2210 h 18414"/>
                  <a:gd name="connsiteX3" fmla="*/ 2140 w 18319"/>
                  <a:gd name="connsiteY3" fmla="*/ 3227 h 18414"/>
                  <a:gd name="connsiteX4" fmla="*/ 3217 w 18319"/>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4">
                    <a:moveTo>
                      <a:pt x="3217" y="16205"/>
                    </a:moveTo>
                    <a:cubicBezTo>
                      <a:pt x="7105" y="19494"/>
                      <a:pt x="12846" y="19076"/>
                      <a:pt x="16135" y="15188"/>
                    </a:cubicBezTo>
                    <a:cubicBezTo>
                      <a:pt x="19425" y="11301"/>
                      <a:pt x="18946" y="5499"/>
                      <a:pt x="15059" y="2210"/>
                    </a:cubicBezTo>
                    <a:cubicBezTo>
                      <a:pt x="11171" y="-1080"/>
                      <a:pt x="5430" y="-661"/>
                      <a:pt x="2140" y="3227"/>
                    </a:cubicBezTo>
                    <a:cubicBezTo>
                      <a:pt x="-1089" y="7114"/>
                      <a:pt x="-611" y="12915"/>
                      <a:pt x="3217" y="16205"/>
                    </a:cubicBezTo>
                    <a:close/>
                  </a:path>
                </a:pathLst>
              </a:custGeom>
              <a:grpFill/>
              <a:ln w="5978" cap="flat">
                <a:noFill/>
                <a:prstDash val="solid"/>
                <a:miter/>
              </a:ln>
            </p:spPr>
            <p:txBody>
              <a:bodyPr rtlCol="0" anchor="ctr"/>
              <a:lstStyle/>
              <a:p>
                <a:endParaRPr lang="en-GB"/>
              </a:p>
            </p:txBody>
          </p:sp>
        </p:grpSp>
        <p:grpSp>
          <p:nvGrpSpPr>
            <p:cNvPr id="903" name="Graphic 3">
              <a:extLst>
                <a:ext uri="{FF2B5EF4-FFF2-40B4-BE49-F238E27FC236}">
                  <a16:creationId xmlns:a16="http://schemas.microsoft.com/office/drawing/2014/main" id="{5876998F-4900-42F4-9DA4-E181160BC0AC}"/>
                </a:ext>
              </a:extLst>
            </p:cNvPr>
            <p:cNvGrpSpPr/>
            <p:nvPr/>
          </p:nvGrpSpPr>
          <p:grpSpPr>
            <a:xfrm>
              <a:off x="4653517" y="2302707"/>
              <a:ext cx="81301" cy="68420"/>
              <a:chOff x="4653517" y="2302707"/>
              <a:chExt cx="81301" cy="68420"/>
            </a:xfrm>
            <a:grpFill/>
          </p:grpSpPr>
          <p:sp>
            <p:nvSpPr>
              <p:cNvPr id="2689" name="Vrije vorm: vorm 2688">
                <a:extLst>
                  <a:ext uri="{FF2B5EF4-FFF2-40B4-BE49-F238E27FC236}">
                    <a16:creationId xmlns:a16="http://schemas.microsoft.com/office/drawing/2014/main" id="{C98D050A-4DA5-4C6C-99B3-85FDF717DF2D}"/>
                  </a:ext>
                </a:extLst>
              </p:cNvPr>
              <p:cNvSpPr/>
              <p:nvPr/>
            </p:nvSpPr>
            <p:spPr>
              <a:xfrm>
                <a:off x="4661394" y="2310393"/>
                <a:ext cx="65548" cy="52989"/>
              </a:xfrm>
              <a:custGeom>
                <a:avLst/>
                <a:gdLst>
                  <a:gd name="connsiteX0" fmla="*/ 65548 w 65548"/>
                  <a:gd name="connsiteY0" fmla="*/ 50597 h 52989"/>
                  <a:gd name="connsiteX1" fmla="*/ 63694 w 65548"/>
                  <a:gd name="connsiteY1" fmla="*/ 52989 h 52989"/>
                  <a:gd name="connsiteX2" fmla="*/ 0 w 65548"/>
                  <a:gd name="connsiteY2" fmla="*/ 2452 h 52989"/>
                  <a:gd name="connsiteX3" fmla="*/ 1854 w 65548"/>
                  <a:gd name="connsiteY3" fmla="*/ 0 h 52989"/>
                </a:gdLst>
                <a:ahLst/>
                <a:cxnLst>
                  <a:cxn ang="0">
                    <a:pos x="connsiteX0" y="connsiteY0"/>
                  </a:cxn>
                  <a:cxn ang="0">
                    <a:pos x="connsiteX1" y="connsiteY1"/>
                  </a:cxn>
                  <a:cxn ang="0">
                    <a:pos x="connsiteX2" y="connsiteY2"/>
                  </a:cxn>
                  <a:cxn ang="0">
                    <a:pos x="connsiteX3" y="connsiteY3"/>
                  </a:cxn>
                </a:cxnLst>
                <a:rect l="l" t="t" r="r" b="b"/>
                <a:pathLst>
                  <a:path w="65548" h="52989">
                    <a:moveTo>
                      <a:pt x="65548" y="50597"/>
                    </a:moveTo>
                    <a:lnTo>
                      <a:pt x="63694" y="52989"/>
                    </a:lnTo>
                    <a:lnTo>
                      <a:pt x="0" y="2452"/>
                    </a:lnTo>
                    <a:lnTo>
                      <a:pt x="1854" y="0"/>
                    </a:lnTo>
                    <a:close/>
                  </a:path>
                </a:pathLst>
              </a:custGeom>
              <a:grpFill/>
              <a:ln w="5978" cap="flat">
                <a:noFill/>
                <a:prstDash val="solid"/>
                <a:miter/>
              </a:ln>
            </p:spPr>
            <p:txBody>
              <a:bodyPr rtlCol="0" anchor="ctr"/>
              <a:lstStyle/>
              <a:p>
                <a:endParaRPr lang="en-GB"/>
              </a:p>
            </p:txBody>
          </p:sp>
          <p:sp>
            <p:nvSpPr>
              <p:cNvPr id="2690" name="Vrije vorm: vorm 2689">
                <a:extLst>
                  <a:ext uri="{FF2B5EF4-FFF2-40B4-BE49-F238E27FC236}">
                    <a16:creationId xmlns:a16="http://schemas.microsoft.com/office/drawing/2014/main" id="{BEDE8DCA-08AF-4144-951A-84B220DC462C}"/>
                  </a:ext>
                </a:extLst>
              </p:cNvPr>
              <p:cNvSpPr/>
              <p:nvPr/>
            </p:nvSpPr>
            <p:spPr>
              <a:xfrm>
                <a:off x="4653517" y="2302707"/>
                <a:ext cx="18325" cy="18421"/>
              </a:xfrm>
              <a:custGeom>
                <a:avLst/>
                <a:gdLst>
                  <a:gd name="connsiteX0" fmla="*/ 3511 w 18325"/>
                  <a:gd name="connsiteY0" fmla="*/ 16418 h 18421"/>
                  <a:gd name="connsiteX1" fmla="*/ 1956 w 18325"/>
                  <a:gd name="connsiteY1" fmla="*/ 3499 h 18421"/>
                  <a:gd name="connsiteX2" fmla="*/ 14814 w 18325"/>
                  <a:gd name="connsiteY2" fmla="*/ 2004 h 18421"/>
                  <a:gd name="connsiteX3" fmla="*/ 16369 w 18325"/>
                  <a:gd name="connsiteY3" fmla="*/ 14922 h 18421"/>
                  <a:gd name="connsiteX4" fmla="*/ 3511 w 18325"/>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1">
                    <a:moveTo>
                      <a:pt x="3511" y="16418"/>
                    </a:moveTo>
                    <a:cubicBezTo>
                      <a:pt x="-496" y="13248"/>
                      <a:pt x="-1154" y="7447"/>
                      <a:pt x="1956" y="3499"/>
                    </a:cubicBezTo>
                    <a:cubicBezTo>
                      <a:pt x="5066" y="-508"/>
                      <a:pt x="10867" y="-1166"/>
                      <a:pt x="14814" y="2004"/>
                    </a:cubicBezTo>
                    <a:cubicBezTo>
                      <a:pt x="18822" y="5174"/>
                      <a:pt x="19479" y="10975"/>
                      <a:pt x="16369" y="14922"/>
                    </a:cubicBezTo>
                    <a:cubicBezTo>
                      <a:pt x="13259" y="18930"/>
                      <a:pt x="7458" y="19587"/>
                      <a:pt x="3511" y="16418"/>
                    </a:cubicBezTo>
                    <a:close/>
                  </a:path>
                </a:pathLst>
              </a:custGeom>
              <a:grpFill/>
              <a:ln w="5978" cap="flat">
                <a:noFill/>
                <a:prstDash val="solid"/>
                <a:miter/>
              </a:ln>
            </p:spPr>
            <p:txBody>
              <a:bodyPr rtlCol="0" anchor="ctr"/>
              <a:lstStyle/>
              <a:p>
                <a:endParaRPr lang="en-GB"/>
              </a:p>
            </p:txBody>
          </p:sp>
          <p:sp>
            <p:nvSpPr>
              <p:cNvPr id="2691" name="Vrije vorm: vorm 2690">
                <a:extLst>
                  <a:ext uri="{FF2B5EF4-FFF2-40B4-BE49-F238E27FC236}">
                    <a16:creationId xmlns:a16="http://schemas.microsoft.com/office/drawing/2014/main" id="{AFD10A80-4BFE-4E3A-8FD5-823DE3271128}"/>
                  </a:ext>
                </a:extLst>
              </p:cNvPr>
              <p:cNvSpPr/>
              <p:nvPr/>
            </p:nvSpPr>
            <p:spPr>
              <a:xfrm>
                <a:off x="4716494" y="2352706"/>
                <a:ext cx="18325" cy="18421"/>
              </a:xfrm>
              <a:custGeom>
                <a:avLst/>
                <a:gdLst>
                  <a:gd name="connsiteX0" fmla="*/ 3511 w 18325"/>
                  <a:gd name="connsiteY0" fmla="*/ 16418 h 18421"/>
                  <a:gd name="connsiteX1" fmla="*/ 16369 w 18325"/>
                  <a:gd name="connsiteY1" fmla="*/ 14922 h 18421"/>
                  <a:gd name="connsiteX2" fmla="*/ 14814 w 18325"/>
                  <a:gd name="connsiteY2" fmla="*/ 2004 h 18421"/>
                  <a:gd name="connsiteX3" fmla="*/ 1956 w 18325"/>
                  <a:gd name="connsiteY3" fmla="*/ 3499 h 18421"/>
                  <a:gd name="connsiteX4" fmla="*/ 3511 w 18325"/>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1">
                    <a:moveTo>
                      <a:pt x="3511" y="16418"/>
                    </a:moveTo>
                    <a:cubicBezTo>
                      <a:pt x="7518" y="19587"/>
                      <a:pt x="13259" y="18929"/>
                      <a:pt x="16369" y="14922"/>
                    </a:cubicBezTo>
                    <a:cubicBezTo>
                      <a:pt x="19479" y="10915"/>
                      <a:pt x="18821" y="5114"/>
                      <a:pt x="14814" y="2004"/>
                    </a:cubicBezTo>
                    <a:cubicBezTo>
                      <a:pt x="10807" y="-1166"/>
                      <a:pt x="5066" y="-508"/>
                      <a:pt x="1956" y="3499"/>
                    </a:cubicBezTo>
                    <a:cubicBezTo>
                      <a:pt x="-1154" y="7447"/>
                      <a:pt x="-496" y="13248"/>
                      <a:pt x="3511" y="16418"/>
                    </a:cubicBezTo>
                    <a:close/>
                  </a:path>
                </a:pathLst>
              </a:custGeom>
              <a:grpFill/>
              <a:ln w="5978" cap="flat">
                <a:noFill/>
                <a:prstDash val="solid"/>
                <a:miter/>
              </a:ln>
            </p:spPr>
            <p:txBody>
              <a:bodyPr rtlCol="0" anchor="ctr"/>
              <a:lstStyle/>
              <a:p>
                <a:endParaRPr lang="en-GB"/>
              </a:p>
            </p:txBody>
          </p:sp>
        </p:grpSp>
        <p:grpSp>
          <p:nvGrpSpPr>
            <p:cNvPr id="904" name="Graphic 3">
              <a:extLst>
                <a:ext uri="{FF2B5EF4-FFF2-40B4-BE49-F238E27FC236}">
                  <a16:creationId xmlns:a16="http://schemas.microsoft.com/office/drawing/2014/main" id="{BD633F6B-46CD-4971-A926-F24B25794B06}"/>
                </a:ext>
              </a:extLst>
            </p:cNvPr>
            <p:cNvGrpSpPr/>
            <p:nvPr/>
          </p:nvGrpSpPr>
          <p:grpSpPr>
            <a:xfrm>
              <a:off x="5675320" y="5238149"/>
              <a:ext cx="46562" cy="169288"/>
              <a:chOff x="5675320" y="5238149"/>
              <a:chExt cx="46562" cy="169288"/>
            </a:xfrm>
            <a:grpFill/>
          </p:grpSpPr>
          <p:sp>
            <p:nvSpPr>
              <p:cNvPr id="2686" name="Vrije vorm: vorm 2685">
                <a:extLst>
                  <a:ext uri="{FF2B5EF4-FFF2-40B4-BE49-F238E27FC236}">
                    <a16:creationId xmlns:a16="http://schemas.microsoft.com/office/drawing/2014/main" id="{A7190290-49AB-42FB-A6B9-CB9542F5589D}"/>
                  </a:ext>
                </a:extLst>
              </p:cNvPr>
              <p:cNvSpPr/>
              <p:nvPr/>
            </p:nvSpPr>
            <p:spPr>
              <a:xfrm>
                <a:off x="5682901" y="5246568"/>
                <a:ext cx="31398" cy="152389"/>
              </a:xfrm>
              <a:custGeom>
                <a:avLst/>
                <a:gdLst>
                  <a:gd name="connsiteX0" fmla="*/ 31399 w 31398"/>
                  <a:gd name="connsiteY0" fmla="*/ 598 h 152389"/>
                  <a:gd name="connsiteX1" fmla="*/ 2990 w 31398"/>
                  <a:gd name="connsiteY1" fmla="*/ 152389 h 152389"/>
                  <a:gd name="connsiteX2" fmla="*/ 0 w 31398"/>
                  <a:gd name="connsiteY2" fmla="*/ 151791 h 152389"/>
                  <a:gd name="connsiteX3" fmla="*/ 28408 w 31398"/>
                  <a:gd name="connsiteY3" fmla="*/ 0 h 152389"/>
                </a:gdLst>
                <a:ahLst/>
                <a:cxnLst>
                  <a:cxn ang="0">
                    <a:pos x="connsiteX0" y="connsiteY0"/>
                  </a:cxn>
                  <a:cxn ang="0">
                    <a:pos x="connsiteX1" y="connsiteY1"/>
                  </a:cxn>
                  <a:cxn ang="0">
                    <a:pos x="connsiteX2" y="connsiteY2"/>
                  </a:cxn>
                  <a:cxn ang="0">
                    <a:pos x="connsiteX3" y="connsiteY3"/>
                  </a:cxn>
                </a:cxnLst>
                <a:rect l="l" t="t" r="r" b="b"/>
                <a:pathLst>
                  <a:path w="31398" h="152389">
                    <a:moveTo>
                      <a:pt x="31399" y="598"/>
                    </a:moveTo>
                    <a:lnTo>
                      <a:pt x="2990" y="152389"/>
                    </a:lnTo>
                    <a:lnTo>
                      <a:pt x="0" y="151791"/>
                    </a:lnTo>
                    <a:lnTo>
                      <a:pt x="28408" y="0"/>
                    </a:lnTo>
                    <a:close/>
                  </a:path>
                </a:pathLst>
              </a:custGeom>
              <a:grpFill/>
              <a:ln w="5978" cap="flat">
                <a:noFill/>
                <a:prstDash val="solid"/>
                <a:miter/>
              </a:ln>
            </p:spPr>
            <p:txBody>
              <a:bodyPr rtlCol="0" anchor="ctr"/>
              <a:lstStyle/>
              <a:p>
                <a:endParaRPr lang="en-GB"/>
              </a:p>
            </p:txBody>
          </p:sp>
          <p:sp>
            <p:nvSpPr>
              <p:cNvPr id="2687" name="Vrije vorm: vorm 2686">
                <a:extLst>
                  <a:ext uri="{FF2B5EF4-FFF2-40B4-BE49-F238E27FC236}">
                    <a16:creationId xmlns:a16="http://schemas.microsoft.com/office/drawing/2014/main" id="{AAF656C2-C877-432F-84AC-1689FEB917F1}"/>
                  </a:ext>
                </a:extLst>
              </p:cNvPr>
              <p:cNvSpPr/>
              <p:nvPr/>
            </p:nvSpPr>
            <p:spPr>
              <a:xfrm>
                <a:off x="5675320" y="5389040"/>
                <a:ext cx="18317" cy="18397"/>
              </a:xfrm>
              <a:custGeom>
                <a:avLst/>
                <a:gdLst>
                  <a:gd name="connsiteX0" fmla="*/ 18168 w 18317"/>
                  <a:gd name="connsiteY0" fmla="*/ 10933 h 18397"/>
                  <a:gd name="connsiteX1" fmla="*/ 7462 w 18317"/>
                  <a:gd name="connsiteY1" fmla="*/ 18229 h 18397"/>
                  <a:gd name="connsiteX2" fmla="*/ 166 w 18317"/>
                  <a:gd name="connsiteY2" fmla="*/ 7464 h 18397"/>
                  <a:gd name="connsiteX3" fmla="*/ 10871 w 18317"/>
                  <a:gd name="connsiteY3" fmla="*/ 168 h 18397"/>
                  <a:gd name="connsiteX4" fmla="*/ 18168 w 18317"/>
                  <a:gd name="connsiteY4" fmla="*/ 109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397">
                    <a:moveTo>
                      <a:pt x="18168" y="10933"/>
                    </a:moveTo>
                    <a:cubicBezTo>
                      <a:pt x="17211" y="15957"/>
                      <a:pt x="12426" y="19187"/>
                      <a:pt x="7462" y="18229"/>
                    </a:cubicBezTo>
                    <a:cubicBezTo>
                      <a:pt x="2498" y="17273"/>
                      <a:pt x="-791" y="12428"/>
                      <a:pt x="166" y="7464"/>
                    </a:cubicBezTo>
                    <a:cubicBezTo>
                      <a:pt x="1122" y="2441"/>
                      <a:pt x="5907" y="-789"/>
                      <a:pt x="10871" y="168"/>
                    </a:cubicBezTo>
                    <a:cubicBezTo>
                      <a:pt x="15835" y="1065"/>
                      <a:pt x="19065" y="5909"/>
                      <a:pt x="18168" y="10933"/>
                    </a:cubicBezTo>
                    <a:close/>
                  </a:path>
                </a:pathLst>
              </a:custGeom>
              <a:grpFill/>
              <a:ln w="5978" cap="flat">
                <a:noFill/>
                <a:prstDash val="solid"/>
                <a:miter/>
              </a:ln>
            </p:spPr>
            <p:txBody>
              <a:bodyPr rtlCol="0" anchor="ctr"/>
              <a:lstStyle/>
              <a:p>
                <a:endParaRPr lang="en-GB"/>
              </a:p>
            </p:txBody>
          </p:sp>
          <p:sp>
            <p:nvSpPr>
              <p:cNvPr id="2688" name="Vrije vorm: vorm 2687">
                <a:extLst>
                  <a:ext uri="{FF2B5EF4-FFF2-40B4-BE49-F238E27FC236}">
                    <a16:creationId xmlns:a16="http://schemas.microsoft.com/office/drawing/2014/main" id="{B1260714-66EC-4F82-B7E4-5B56511D985B}"/>
                  </a:ext>
                </a:extLst>
              </p:cNvPr>
              <p:cNvSpPr/>
              <p:nvPr/>
            </p:nvSpPr>
            <p:spPr>
              <a:xfrm>
                <a:off x="5703549" y="5238149"/>
                <a:ext cx="18333" cy="18393"/>
              </a:xfrm>
              <a:custGeom>
                <a:avLst/>
                <a:gdLst>
                  <a:gd name="connsiteX0" fmla="*/ 18168 w 18333"/>
                  <a:gd name="connsiteY0" fmla="*/ 10931 h 18393"/>
                  <a:gd name="connsiteX1" fmla="*/ 10871 w 18333"/>
                  <a:gd name="connsiteY1" fmla="*/ 166 h 18393"/>
                  <a:gd name="connsiteX2" fmla="*/ 166 w 18333"/>
                  <a:gd name="connsiteY2" fmla="*/ 7462 h 18393"/>
                  <a:gd name="connsiteX3" fmla="*/ 7462 w 18333"/>
                  <a:gd name="connsiteY3" fmla="*/ 18227 h 18393"/>
                  <a:gd name="connsiteX4" fmla="*/ 18168 w 18333"/>
                  <a:gd name="connsiteY4" fmla="*/ 10931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8168" y="10931"/>
                    </a:moveTo>
                    <a:cubicBezTo>
                      <a:pt x="19125" y="5907"/>
                      <a:pt x="15835" y="1123"/>
                      <a:pt x="10871" y="166"/>
                    </a:cubicBezTo>
                    <a:cubicBezTo>
                      <a:pt x="5907" y="-791"/>
                      <a:pt x="1123" y="2498"/>
                      <a:pt x="166" y="7462"/>
                    </a:cubicBezTo>
                    <a:cubicBezTo>
                      <a:pt x="-791" y="12486"/>
                      <a:pt x="2498" y="17271"/>
                      <a:pt x="7462" y="18227"/>
                    </a:cubicBezTo>
                    <a:cubicBezTo>
                      <a:pt x="12426" y="19185"/>
                      <a:pt x="17211" y="15895"/>
                      <a:pt x="18168" y="10931"/>
                    </a:cubicBezTo>
                    <a:close/>
                  </a:path>
                </a:pathLst>
              </a:custGeom>
              <a:grpFill/>
              <a:ln w="5978" cap="flat">
                <a:noFill/>
                <a:prstDash val="solid"/>
                <a:miter/>
              </a:ln>
            </p:spPr>
            <p:txBody>
              <a:bodyPr rtlCol="0" anchor="ctr"/>
              <a:lstStyle/>
              <a:p>
                <a:endParaRPr lang="en-GB"/>
              </a:p>
            </p:txBody>
          </p:sp>
        </p:grpSp>
        <p:grpSp>
          <p:nvGrpSpPr>
            <p:cNvPr id="905" name="Graphic 3">
              <a:extLst>
                <a:ext uri="{FF2B5EF4-FFF2-40B4-BE49-F238E27FC236}">
                  <a16:creationId xmlns:a16="http://schemas.microsoft.com/office/drawing/2014/main" id="{2D1CFF14-2C99-4452-BE66-33FF00257EB6}"/>
                </a:ext>
              </a:extLst>
            </p:cNvPr>
            <p:cNvGrpSpPr/>
            <p:nvPr/>
          </p:nvGrpSpPr>
          <p:grpSpPr>
            <a:xfrm>
              <a:off x="4540493" y="2120144"/>
              <a:ext cx="226888" cy="235583"/>
              <a:chOff x="4540493" y="2120144"/>
              <a:chExt cx="226888" cy="235583"/>
            </a:xfrm>
            <a:grpFill/>
          </p:grpSpPr>
          <p:sp>
            <p:nvSpPr>
              <p:cNvPr id="2683" name="Vrije vorm: vorm 2682">
                <a:extLst>
                  <a:ext uri="{FF2B5EF4-FFF2-40B4-BE49-F238E27FC236}">
                    <a16:creationId xmlns:a16="http://schemas.microsoft.com/office/drawing/2014/main" id="{1606071D-747F-408C-AD57-C860231C746A}"/>
                  </a:ext>
                </a:extLst>
              </p:cNvPr>
              <p:cNvSpPr/>
              <p:nvPr/>
            </p:nvSpPr>
            <p:spPr>
              <a:xfrm>
                <a:off x="4548239" y="2127921"/>
                <a:ext cx="211418" cy="219970"/>
              </a:xfrm>
              <a:custGeom>
                <a:avLst/>
                <a:gdLst>
                  <a:gd name="connsiteX0" fmla="*/ 211418 w 211418"/>
                  <a:gd name="connsiteY0" fmla="*/ 217818 h 219970"/>
                  <a:gd name="connsiteX1" fmla="*/ 209206 w 211418"/>
                  <a:gd name="connsiteY1" fmla="*/ 219971 h 219970"/>
                  <a:gd name="connsiteX2" fmla="*/ 0 w 211418"/>
                  <a:gd name="connsiteY2" fmla="*/ 2153 h 219970"/>
                  <a:gd name="connsiteX3" fmla="*/ 2213 w 211418"/>
                  <a:gd name="connsiteY3" fmla="*/ 0 h 219970"/>
                </a:gdLst>
                <a:ahLst/>
                <a:cxnLst>
                  <a:cxn ang="0">
                    <a:pos x="connsiteX0" y="connsiteY0"/>
                  </a:cxn>
                  <a:cxn ang="0">
                    <a:pos x="connsiteX1" y="connsiteY1"/>
                  </a:cxn>
                  <a:cxn ang="0">
                    <a:pos x="connsiteX2" y="connsiteY2"/>
                  </a:cxn>
                  <a:cxn ang="0">
                    <a:pos x="connsiteX3" y="connsiteY3"/>
                  </a:cxn>
                </a:cxnLst>
                <a:rect l="l" t="t" r="r" b="b"/>
                <a:pathLst>
                  <a:path w="211418" h="219970">
                    <a:moveTo>
                      <a:pt x="211418" y="217818"/>
                    </a:moveTo>
                    <a:lnTo>
                      <a:pt x="209206" y="219971"/>
                    </a:lnTo>
                    <a:lnTo>
                      <a:pt x="0" y="2153"/>
                    </a:lnTo>
                    <a:lnTo>
                      <a:pt x="2213" y="0"/>
                    </a:lnTo>
                    <a:close/>
                  </a:path>
                </a:pathLst>
              </a:custGeom>
              <a:grpFill/>
              <a:ln w="5978" cap="flat">
                <a:noFill/>
                <a:prstDash val="solid"/>
                <a:miter/>
              </a:ln>
            </p:spPr>
            <p:txBody>
              <a:bodyPr rtlCol="0" anchor="ctr"/>
              <a:lstStyle/>
              <a:p>
                <a:endParaRPr lang="en-GB"/>
              </a:p>
            </p:txBody>
          </p:sp>
          <p:sp>
            <p:nvSpPr>
              <p:cNvPr id="2684" name="Vrije vorm: vorm 2683">
                <a:extLst>
                  <a:ext uri="{FF2B5EF4-FFF2-40B4-BE49-F238E27FC236}">
                    <a16:creationId xmlns:a16="http://schemas.microsoft.com/office/drawing/2014/main" id="{2FC3972E-FB98-42C7-99FF-8A9CE3564271}"/>
                  </a:ext>
                </a:extLst>
              </p:cNvPr>
              <p:cNvSpPr/>
              <p:nvPr/>
            </p:nvSpPr>
            <p:spPr>
              <a:xfrm>
                <a:off x="4749063" y="2337282"/>
                <a:ext cx="18318" cy="18445"/>
              </a:xfrm>
              <a:custGeom>
                <a:avLst/>
                <a:gdLst>
                  <a:gd name="connsiteX0" fmla="*/ 15738 w 18318"/>
                  <a:gd name="connsiteY0" fmla="*/ 2835 h 18445"/>
                  <a:gd name="connsiteX1" fmla="*/ 15559 w 18318"/>
                  <a:gd name="connsiteY1" fmla="*/ 15872 h 18445"/>
                  <a:gd name="connsiteX2" fmla="*/ 2580 w 18318"/>
                  <a:gd name="connsiteY2" fmla="*/ 15633 h 18445"/>
                  <a:gd name="connsiteX3" fmla="*/ 2760 w 18318"/>
                  <a:gd name="connsiteY3" fmla="*/ 2595 h 18445"/>
                  <a:gd name="connsiteX4" fmla="*/ 15738 w 18318"/>
                  <a:gd name="connsiteY4" fmla="*/ 2835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45">
                    <a:moveTo>
                      <a:pt x="15738" y="2835"/>
                    </a:moveTo>
                    <a:cubicBezTo>
                      <a:pt x="19267" y="6483"/>
                      <a:pt x="19147" y="12344"/>
                      <a:pt x="15559" y="15872"/>
                    </a:cubicBezTo>
                    <a:cubicBezTo>
                      <a:pt x="11910" y="19401"/>
                      <a:pt x="6109" y="19282"/>
                      <a:pt x="2580" y="15633"/>
                    </a:cubicBezTo>
                    <a:cubicBezTo>
                      <a:pt x="-948" y="11985"/>
                      <a:pt x="-829" y="6124"/>
                      <a:pt x="2760" y="2595"/>
                    </a:cubicBezTo>
                    <a:cubicBezTo>
                      <a:pt x="6408" y="-933"/>
                      <a:pt x="12210" y="-873"/>
                      <a:pt x="15738" y="2835"/>
                    </a:cubicBezTo>
                    <a:close/>
                  </a:path>
                </a:pathLst>
              </a:custGeom>
              <a:grpFill/>
              <a:ln w="5978" cap="flat">
                <a:noFill/>
                <a:prstDash val="solid"/>
                <a:miter/>
              </a:ln>
            </p:spPr>
            <p:txBody>
              <a:bodyPr rtlCol="0" anchor="ctr"/>
              <a:lstStyle/>
              <a:p>
                <a:endParaRPr lang="en-GB"/>
              </a:p>
            </p:txBody>
          </p:sp>
          <p:sp>
            <p:nvSpPr>
              <p:cNvPr id="2685" name="Vrije vorm: vorm 2684">
                <a:extLst>
                  <a:ext uri="{FF2B5EF4-FFF2-40B4-BE49-F238E27FC236}">
                    <a16:creationId xmlns:a16="http://schemas.microsoft.com/office/drawing/2014/main" id="{2807EB55-2DBA-429C-A6AB-60679B382756}"/>
                  </a:ext>
                </a:extLst>
              </p:cNvPr>
              <p:cNvSpPr/>
              <p:nvPr/>
            </p:nvSpPr>
            <p:spPr>
              <a:xfrm>
                <a:off x="4540493" y="2120144"/>
                <a:ext cx="18340" cy="18423"/>
              </a:xfrm>
              <a:custGeom>
                <a:avLst/>
                <a:gdLst>
                  <a:gd name="connsiteX0" fmla="*/ 15760 w 18340"/>
                  <a:gd name="connsiteY0" fmla="*/ 2813 h 18423"/>
                  <a:gd name="connsiteX1" fmla="*/ 2782 w 18340"/>
                  <a:gd name="connsiteY1" fmla="*/ 2573 h 18423"/>
                  <a:gd name="connsiteX2" fmla="*/ 2602 w 18340"/>
                  <a:gd name="connsiteY2" fmla="*/ 15611 h 18423"/>
                  <a:gd name="connsiteX3" fmla="*/ 15581 w 18340"/>
                  <a:gd name="connsiteY3" fmla="*/ 15851 h 18423"/>
                  <a:gd name="connsiteX4" fmla="*/ 15760 w 18340"/>
                  <a:gd name="connsiteY4" fmla="*/ 2813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3">
                    <a:moveTo>
                      <a:pt x="15760" y="2813"/>
                    </a:moveTo>
                    <a:cubicBezTo>
                      <a:pt x="12231" y="-836"/>
                      <a:pt x="6430" y="-955"/>
                      <a:pt x="2782" y="2573"/>
                    </a:cubicBezTo>
                    <a:cubicBezTo>
                      <a:pt x="-866" y="6102"/>
                      <a:pt x="-926" y="11903"/>
                      <a:pt x="2602" y="15611"/>
                    </a:cubicBezTo>
                    <a:cubicBezTo>
                      <a:pt x="6131" y="19260"/>
                      <a:pt x="11932" y="19379"/>
                      <a:pt x="15581" y="15851"/>
                    </a:cubicBezTo>
                    <a:cubicBezTo>
                      <a:pt x="19169" y="12322"/>
                      <a:pt x="19289" y="6461"/>
                      <a:pt x="15760" y="2813"/>
                    </a:cubicBezTo>
                    <a:close/>
                  </a:path>
                </a:pathLst>
              </a:custGeom>
              <a:grpFill/>
              <a:ln w="5978" cap="flat">
                <a:noFill/>
                <a:prstDash val="solid"/>
                <a:miter/>
              </a:ln>
            </p:spPr>
            <p:txBody>
              <a:bodyPr rtlCol="0" anchor="ctr"/>
              <a:lstStyle/>
              <a:p>
                <a:endParaRPr lang="en-GB"/>
              </a:p>
            </p:txBody>
          </p:sp>
        </p:grpSp>
        <p:grpSp>
          <p:nvGrpSpPr>
            <p:cNvPr id="906" name="Graphic 3">
              <a:extLst>
                <a:ext uri="{FF2B5EF4-FFF2-40B4-BE49-F238E27FC236}">
                  <a16:creationId xmlns:a16="http://schemas.microsoft.com/office/drawing/2014/main" id="{D8008FCB-CF4A-4425-9C0A-6038B25B1814}"/>
                </a:ext>
              </a:extLst>
            </p:cNvPr>
            <p:cNvGrpSpPr/>
            <p:nvPr/>
          </p:nvGrpSpPr>
          <p:grpSpPr>
            <a:xfrm>
              <a:off x="4564997" y="2041320"/>
              <a:ext cx="56216" cy="53468"/>
              <a:chOff x="4564997" y="2041320"/>
              <a:chExt cx="56216" cy="53468"/>
            </a:xfrm>
            <a:grpFill/>
          </p:grpSpPr>
          <p:sp>
            <p:nvSpPr>
              <p:cNvPr id="2680" name="Vrije vorm: vorm 2679">
                <a:extLst>
                  <a:ext uri="{FF2B5EF4-FFF2-40B4-BE49-F238E27FC236}">
                    <a16:creationId xmlns:a16="http://schemas.microsoft.com/office/drawing/2014/main" id="{3D917F89-425B-4BEF-A27F-2154AEE9892D}"/>
                  </a:ext>
                </a:extLst>
              </p:cNvPr>
              <p:cNvSpPr/>
              <p:nvPr/>
            </p:nvSpPr>
            <p:spPr>
              <a:xfrm>
                <a:off x="4572820" y="2049155"/>
                <a:ext cx="40668" cy="37857"/>
              </a:xfrm>
              <a:custGeom>
                <a:avLst/>
                <a:gdLst>
                  <a:gd name="connsiteX0" fmla="*/ 40669 w 40668"/>
                  <a:gd name="connsiteY0" fmla="*/ 35645 h 37857"/>
                  <a:gd name="connsiteX1" fmla="*/ 38576 w 40668"/>
                  <a:gd name="connsiteY1" fmla="*/ 37858 h 37857"/>
                  <a:gd name="connsiteX2" fmla="*/ 0 w 40668"/>
                  <a:gd name="connsiteY2" fmla="*/ 2273 h 37857"/>
                  <a:gd name="connsiteX3" fmla="*/ 2033 w 40668"/>
                  <a:gd name="connsiteY3" fmla="*/ 0 h 37857"/>
                </a:gdLst>
                <a:ahLst/>
                <a:cxnLst>
                  <a:cxn ang="0">
                    <a:pos x="connsiteX0" y="connsiteY0"/>
                  </a:cxn>
                  <a:cxn ang="0">
                    <a:pos x="connsiteX1" y="connsiteY1"/>
                  </a:cxn>
                  <a:cxn ang="0">
                    <a:pos x="connsiteX2" y="connsiteY2"/>
                  </a:cxn>
                  <a:cxn ang="0">
                    <a:pos x="connsiteX3" y="connsiteY3"/>
                  </a:cxn>
                </a:cxnLst>
                <a:rect l="l" t="t" r="r" b="b"/>
                <a:pathLst>
                  <a:path w="40668" h="37857">
                    <a:moveTo>
                      <a:pt x="40669" y="35645"/>
                    </a:moveTo>
                    <a:lnTo>
                      <a:pt x="38576" y="37858"/>
                    </a:lnTo>
                    <a:lnTo>
                      <a:pt x="0" y="2273"/>
                    </a:lnTo>
                    <a:lnTo>
                      <a:pt x="2033" y="0"/>
                    </a:lnTo>
                    <a:close/>
                  </a:path>
                </a:pathLst>
              </a:custGeom>
              <a:grpFill/>
              <a:ln w="5978" cap="flat">
                <a:noFill/>
                <a:prstDash val="solid"/>
                <a:miter/>
              </a:ln>
            </p:spPr>
            <p:txBody>
              <a:bodyPr rtlCol="0" anchor="ctr"/>
              <a:lstStyle/>
              <a:p>
                <a:endParaRPr lang="en-GB"/>
              </a:p>
            </p:txBody>
          </p:sp>
          <p:sp>
            <p:nvSpPr>
              <p:cNvPr id="2681" name="Vrije vorm: vorm 2680">
                <a:extLst>
                  <a:ext uri="{FF2B5EF4-FFF2-40B4-BE49-F238E27FC236}">
                    <a16:creationId xmlns:a16="http://schemas.microsoft.com/office/drawing/2014/main" id="{569E0606-96E1-4E6F-8520-CF08F2601A57}"/>
                  </a:ext>
                </a:extLst>
              </p:cNvPr>
              <p:cNvSpPr/>
              <p:nvPr/>
            </p:nvSpPr>
            <p:spPr>
              <a:xfrm>
                <a:off x="4564997" y="2041320"/>
                <a:ext cx="18277" cy="18481"/>
              </a:xfrm>
              <a:custGeom>
                <a:avLst/>
                <a:gdLst>
                  <a:gd name="connsiteX0" fmla="*/ 2979 w 18277"/>
                  <a:gd name="connsiteY0" fmla="*/ 16029 h 18481"/>
                  <a:gd name="connsiteX1" fmla="*/ 2380 w 18277"/>
                  <a:gd name="connsiteY1" fmla="*/ 2991 h 18481"/>
                  <a:gd name="connsiteX2" fmla="*/ 15299 w 18277"/>
                  <a:gd name="connsiteY2" fmla="*/ 2452 h 18481"/>
                  <a:gd name="connsiteX3" fmla="*/ 15897 w 18277"/>
                  <a:gd name="connsiteY3" fmla="*/ 15490 h 18481"/>
                  <a:gd name="connsiteX4" fmla="*/ 2979 w 18277"/>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81">
                    <a:moveTo>
                      <a:pt x="2979" y="16029"/>
                    </a:moveTo>
                    <a:cubicBezTo>
                      <a:pt x="-729" y="12560"/>
                      <a:pt x="-1029" y="6759"/>
                      <a:pt x="2380" y="2991"/>
                    </a:cubicBezTo>
                    <a:cubicBezTo>
                      <a:pt x="5789" y="-777"/>
                      <a:pt x="11591" y="-1016"/>
                      <a:pt x="15299" y="2452"/>
                    </a:cubicBezTo>
                    <a:cubicBezTo>
                      <a:pt x="19007" y="5921"/>
                      <a:pt x="19306" y="11723"/>
                      <a:pt x="15897" y="15490"/>
                    </a:cubicBezTo>
                    <a:cubicBezTo>
                      <a:pt x="12548" y="19258"/>
                      <a:pt x="6747" y="19497"/>
                      <a:pt x="2979" y="16029"/>
                    </a:cubicBezTo>
                    <a:close/>
                  </a:path>
                </a:pathLst>
              </a:custGeom>
              <a:grpFill/>
              <a:ln w="5978" cap="flat">
                <a:noFill/>
                <a:prstDash val="solid"/>
                <a:miter/>
              </a:ln>
            </p:spPr>
            <p:txBody>
              <a:bodyPr rtlCol="0" anchor="ctr"/>
              <a:lstStyle/>
              <a:p>
                <a:endParaRPr lang="en-GB"/>
              </a:p>
            </p:txBody>
          </p:sp>
          <p:sp>
            <p:nvSpPr>
              <p:cNvPr id="2682" name="Vrije vorm: vorm 2681">
                <a:extLst>
                  <a:ext uri="{FF2B5EF4-FFF2-40B4-BE49-F238E27FC236}">
                    <a16:creationId xmlns:a16="http://schemas.microsoft.com/office/drawing/2014/main" id="{EE86EB0B-3973-480C-B5B0-34F00E79D876}"/>
                  </a:ext>
                </a:extLst>
              </p:cNvPr>
              <p:cNvSpPr/>
              <p:nvPr/>
            </p:nvSpPr>
            <p:spPr>
              <a:xfrm>
                <a:off x="4602914" y="2076307"/>
                <a:ext cx="18298" cy="18481"/>
              </a:xfrm>
              <a:custGeom>
                <a:avLst/>
                <a:gdLst>
                  <a:gd name="connsiteX0" fmla="*/ 2978 w 18298"/>
                  <a:gd name="connsiteY0" fmla="*/ 16029 h 18481"/>
                  <a:gd name="connsiteX1" fmla="*/ 15897 w 18298"/>
                  <a:gd name="connsiteY1" fmla="*/ 15490 h 18481"/>
                  <a:gd name="connsiteX2" fmla="*/ 15299 w 18298"/>
                  <a:gd name="connsiteY2" fmla="*/ 2452 h 18481"/>
                  <a:gd name="connsiteX3" fmla="*/ 2381 w 18298"/>
                  <a:gd name="connsiteY3" fmla="*/ 2991 h 18481"/>
                  <a:gd name="connsiteX4" fmla="*/ 2978 w 18298"/>
                  <a:gd name="connsiteY4" fmla="*/ 16029 h 18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81">
                    <a:moveTo>
                      <a:pt x="2978" y="16029"/>
                    </a:moveTo>
                    <a:cubicBezTo>
                      <a:pt x="6686" y="19497"/>
                      <a:pt x="12488" y="19258"/>
                      <a:pt x="15897" y="15490"/>
                    </a:cubicBezTo>
                    <a:cubicBezTo>
                      <a:pt x="19306" y="11723"/>
                      <a:pt x="19067" y="5921"/>
                      <a:pt x="15299" y="2452"/>
                    </a:cubicBezTo>
                    <a:cubicBezTo>
                      <a:pt x="11591" y="-1016"/>
                      <a:pt x="5790" y="-777"/>
                      <a:pt x="2381" y="2991"/>
                    </a:cubicBezTo>
                    <a:cubicBezTo>
                      <a:pt x="-1029" y="6759"/>
                      <a:pt x="-730" y="12620"/>
                      <a:pt x="2978" y="16029"/>
                    </a:cubicBezTo>
                    <a:close/>
                  </a:path>
                </a:pathLst>
              </a:custGeom>
              <a:grpFill/>
              <a:ln w="5978" cap="flat">
                <a:noFill/>
                <a:prstDash val="solid"/>
                <a:miter/>
              </a:ln>
            </p:spPr>
            <p:txBody>
              <a:bodyPr rtlCol="0" anchor="ctr"/>
              <a:lstStyle/>
              <a:p>
                <a:endParaRPr lang="en-GB"/>
              </a:p>
            </p:txBody>
          </p:sp>
        </p:grpSp>
        <p:grpSp>
          <p:nvGrpSpPr>
            <p:cNvPr id="907" name="Graphic 3">
              <a:extLst>
                <a:ext uri="{FF2B5EF4-FFF2-40B4-BE49-F238E27FC236}">
                  <a16:creationId xmlns:a16="http://schemas.microsoft.com/office/drawing/2014/main" id="{F744B456-B964-422D-9514-F33D1B343D54}"/>
                </a:ext>
              </a:extLst>
            </p:cNvPr>
            <p:cNvGrpSpPr/>
            <p:nvPr/>
          </p:nvGrpSpPr>
          <p:grpSpPr>
            <a:xfrm>
              <a:off x="4577645" y="2102757"/>
              <a:ext cx="62476" cy="57624"/>
              <a:chOff x="4577645" y="2102757"/>
              <a:chExt cx="62476" cy="57624"/>
            </a:xfrm>
            <a:grpFill/>
          </p:grpSpPr>
          <p:sp>
            <p:nvSpPr>
              <p:cNvPr id="2677" name="Vrije vorm: vorm 2676">
                <a:extLst>
                  <a:ext uri="{FF2B5EF4-FFF2-40B4-BE49-F238E27FC236}">
                    <a16:creationId xmlns:a16="http://schemas.microsoft.com/office/drawing/2014/main" id="{32046D75-5791-4F35-8174-63C41D8FB005}"/>
                  </a:ext>
                </a:extLst>
              </p:cNvPr>
              <p:cNvSpPr/>
              <p:nvPr/>
            </p:nvSpPr>
            <p:spPr>
              <a:xfrm>
                <a:off x="4585499" y="2110457"/>
                <a:ext cx="46829" cy="42164"/>
              </a:xfrm>
              <a:custGeom>
                <a:avLst/>
                <a:gdLst>
                  <a:gd name="connsiteX0" fmla="*/ 46829 w 46829"/>
                  <a:gd name="connsiteY0" fmla="*/ 39891 h 42164"/>
                  <a:gd name="connsiteX1" fmla="*/ 44796 w 46829"/>
                  <a:gd name="connsiteY1" fmla="*/ 42164 h 42164"/>
                  <a:gd name="connsiteX2" fmla="*/ 0 w 46829"/>
                  <a:gd name="connsiteY2" fmla="*/ 2332 h 42164"/>
                  <a:gd name="connsiteX3" fmla="*/ 1974 w 46829"/>
                  <a:gd name="connsiteY3" fmla="*/ 0 h 42164"/>
                </a:gdLst>
                <a:ahLst/>
                <a:cxnLst>
                  <a:cxn ang="0">
                    <a:pos x="connsiteX0" y="connsiteY0"/>
                  </a:cxn>
                  <a:cxn ang="0">
                    <a:pos x="connsiteX1" y="connsiteY1"/>
                  </a:cxn>
                  <a:cxn ang="0">
                    <a:pos x="connsiteX2" y="connsiteY2"/>
                  </a:cxn>
                  <a:cxn ang="0">
                    <a:pos x="connsiteX3" y="connsiteY3"/>
                  </a:cxn>
                </a:cxnLst>
                <a:rect l="l" t="t" r="r" b="b"/>
                <a:pathLst>
                  <a:path w="46829" h="42164">
                    <a:moveTo>
                      <a:pt x="46829" y="39891"/>
                    </a:moveTo>
                    <a:lnTo>
                      <a:pt x="44796" y="42164"/>
                    </a:lnTo>
                    <a:lnTo>
                      <a:pt x="0" y="2332"/>
                    </a:lnTo>
                    <a:lnTo>
                      <a:pt x="1974" y="0"/>
                    </a:lnTo>
                    <a:close/>
                  </a:path>
                </a:pathLst>
              </a:custGeom>
              <a:grpFill/>
              <a:ln w="5978" cap="flat">
                <a:noFill/>
                <a:prstDash val="solid"/>
                <a:miter/>
              </a:ln>
            </p:spPr>
            <p:txBody>
              <a:bodyPr rtlCol="0" anchor="ctr"/>
              <a:lstStyle/>
              <a:p>
                <a:endParaRPr lang="en-GB"/>
              </a:p>
            </p:txBody>
          </p:sp>
          <p:sp>
            <p:nvSpPr>
              <p:cNvPr id="2678" name="Vrije vorm: vorm 2677">
                <a:extLst>
                  <a:ext uri="{FF2B5EF4-FFF2-40B4-BE49-F238E27FC236}">
                    <a16:creationId xmlns:a16="http://schemas.microsoft.com/office/drawing/2014/main" id="{C40DC6A0-1C4B-4E0A-943F-B00362E72DE0}"/>
                  </a:ext>
                </a:extLst>
              </p:cNvPr>
              <p:cNvSpPr/>
              <p:nvPr/>
            </p:nvSpPr>
            <p:spPr>
              <a:xfrm>
                <a:off x="4577645" y="2102757"/>
                <a:ext cx="18338" cy="18370"/>
              </a:xfrm>
              <a:custGeom>
                <a:avLst/>
                <a:gdLst>
                  <a:gd name="connsiteX0" fmla="*/ 3128 w 18338"/>
                  <a:gd name="connsiteY0" fmla="*/ 16073 h 18370"/>
                  <a:gd name="connsiteX1" fmla="*/ 2291 w 18338"/>
                  <a:gd name="connsiteY1" fmla="*/ 3095 h 18370"/>
                  <a:gd name="connsiteX2" fmla="*/ 15210 w 18338"/>
                  <a:gd name="connsiteY2" fmla="*/ 2318 h 18370"/>
                  <a:gd name="connsiteX3" fmla="*/ 16047 w 18338"/>
                  <a:gd name="connsiteY3" fmla="*/ 15296 h 18370"/>
                  <a:gd name="connsiteX4" fmla="*/ 3128 w 18338"/>
                  <a:gd name="connsiteY4" fmla="*/ 16073 h 18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70">
                    <a:moveTo>
                      <a:pt x="3128" y="16073"/>
                    </a:moveTo>
                    <a:cubicBezTo>
                      <a:pt x="-699" y="12724"/>
                      <a:pt x="-1058" y="6863"/>
                      <a:pt x="2291" y="3095"/>
                    </a:cubicBezTo>
                    <a:cubicBezTo>
                      <a:pt x="5641" y="-732"/>
                      <a:pt x="11442" y="-1031"/>
                      <a:pt x="15210" y="2318"/>
                    </a:cubicBezTo>
                    <a:cubicBezTo>
                      <a:pt x="19037" y="5667"/>
                      <a:pt x="19396" y="11528"/>
                      <a:pt x="16047" y="15296"/>
                    </a:cubicBezTo>
                    <a:cubicBezTo>
                      <a:pt x="12698" y="19064"/>
                      <a:pt x="6956" y="19423"/>
                      <a:pt x="3128" y="16073"/>
                    </a:cubicBezTo>
                    <a:close/>
                  </a:path>
                </a:pathLst>
              </a:custGeom>
              <a:grpFill/>
              <a:ln w="5978" cap="flat">
                <a:noFill/>
                <a:prstDash val="solid"/>
                <a:miter/>
              </a:ln>
            </p:spPr>
            <p:txBody>
              <a:bodyPr rtlCol="0" anchor="ctr"/>
              <a:lstStyle/>
              <a:p>
                <a:endParaRPr lang="en-GB"/>
              </a:p>
            </p:txBody>
          </p:sp>
          <p:sp>
            <p:nvSpPr>
              <p:cNvPr id="2679" name="Vrije vorm: vorm 2678">
                <a:extLst>
                  <a:ext uri="{FF2B5EF4-FFF2-40B4-BE49-F238E27FC236}">
                    <a16:creationId xmlns:a16="http://schemas.microsoft.com/office/drawing/2014/main" id="{C8DED45C-BE81-4E3F-8F38-F9886785016D}"/>
                  </a:ext>
                </a:extLst>
              </p:cNvPr>
              <p:cNvSpPr/>
              <p:nvPr/>
            </p:nvSpPr>
            <p:spPr>
              <a:xfrm>
                <a:off x="4621803" y="2141990"/>
                <a:ext cx="18318" cy="18391"/>
              </a:xfrm>
              <a:custGeom>
                <a:avLst/>
                <a:gdLst>
                  <a:gd name="connsiteX0" fmla="*/ 3108 w 18318"/>
                  <a:gd name="connsiteY0" fmla="*/ 16073 h 18391"/>
                  <a:gd name="connsiteX1" fmla="*/ 16027 w 18318"/>
                  <a:gd name="connsiteY1" fmla="*/ 15296 h 18391"/>
                  <a:gd name="connsiteX2" fmla="*/ 15189 w 18318"/>
                  <a:gd name="connsiteY2" fmla="*/ 2318 h 18391"/>
                  <a:gd name="connsiteX3" fmla="*/ 2271 w 18318"/>
                  <a:gd name="connsiteY3" fmla="*/ 3095 h 18391"/>
                  <a:gd name="connsiteX4" fmla="*/ 3108 w 18318"/>
                  <a:gd name="connsiteY4" fmla="*/ 1607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91">
                    <a:moveTo>
                      <a:pt x="3108" y="16073"/>
                    </a:moveTo>
                    <a:cubicBezTo>
                      <a:pt x="6936" y="19423"/>
                      <a:pt x="12678" y="19124"/>
                      <a:pt x="16027" y="15296"/>
                    </a:cubicBezTo>
                    <a:cubicBezTo>
                      <a:pt x="19376" y="11468"/>
                      <a:pt x="19017" y="5667"/>
                      <a:pt x="15189" y="2318"/>
                    </a:cubicBezTo>
                    <a:cubicBezTo>
                      <a:pt x="11421" y="-1031"/>
                      <a:pt x="5620" y="-732"/>
                      <a:pt x="2271" y="3095"/>
                    </a:cubicBezTo>
                    <a:cubicBezTo>
                      <a:pt x="-1078" y="6863"/>
                      <a:pt x="-660" y="12664"/>
                      <a:pt x="3108" y="16073"/>
                    </a:cubicBezTo>
                    <a:close/>
                  </a:path>
                </a:pathLst>
              </a:custGeom>
              <a:grpFill/>
              <a:ln w="5978" cap="flat">
                <a:noFill/>
                <a:prstDash val="solid"/>
                <a:miter/>
              </a:ln>
            </p:spPr>
            <p:txBody>
              <a:bodyPr rtlCol="0" anchor="ctr"/>
              <a:lstStyle/>
              <a:p>
                <a:endParaRPr lang="en-GB"/>
              </a:p>
            </p:txBody>
          </p:sp>
        </p:grpSp>
        <p:grpSp>
          <p:nvGrpSpPr>
            <p:cNvPr id="908" name="Graphic 3">
              <a:extLst>
                <a:ext uri="{FF2B5EF4-FFF2-40B4-BE49-F238E27FC236}">
                  <a16:creationId xmlns:a16="http://schemas.microsoft.com/office/drawing/2014/main" id="{ADB678D6-8B42-4FF9-9034-7640ADF76C8C}"/>
                </a:ext>
              </a:extLst>
            </p:cNvPr>
            <p:cNvGrpSpPr/>
            <p:nvPr/>
          </p:nvGrpSpPr>
          <p:grpSpPr>
            <a:xfrm>
              <a:off x="5584822" y="5037342"/>
              <a:ext cx="47199" cy="127091"/>
              <a:chOff x="5584822" y="5037342"/>
              <a:chExt cx="47199" cy="127091"/>
            </a:xfrm>
            <a:grpFill/>
          </p:grpSpPr>
          <p:sp>
            <p:nvSpPr>
              <p:cNvPr id="2674" name="Vrije vorm: vorm 2673">
                <a:extLst>
                  <a:ext uri="{FF2B5EF4-FFF2-40B4-BE49-F238E27FC236}">
                    <a16:creationId xmlns:a16="http://schemas.microsoft.com/office/drawing/2014/main" id="{0393CB5B-E426-4D46-BD09-31D49C3B714A}"/>
                  </a:ext>
                </a:extLst>
              </p:cNvPr>
              <p:cNvSpPr/>
              <p:nvPr/>
            </p:nvSpPr>
            <p:spPr>
              <a:xfrm>
                <a:off x="5592413" y="5045736"/>
                <a:ext cx="32056" cy="110344"/>
              </a:xfrm>
              <a:custGeom>
                <a:avLst/>
                <a:gdLst>
                  <a:gd name="connsiteX0" fmla="*/ 32057 w 32056"/>
                  <a:gd name="connsiteY0" fmla="*/ 778 h 110344"/>
                  <a:gd name="connsiteX1" fmla="*/ 2990 w 32056"/>
                  <a:gd name="connsiteY1" fmla="*/ 110344 h 110344"/>
                  <a:gd name="connsiteX2" fmla="*/ 0 w 32056"/>
                  <a:gd name="connsiteY2" fmla="*/ 109507 h 110344"/>
                  <a:gd name="connsiteX3" fmla="*/ 29066 w 32056"/>
                  <a:gd name="connsiteY3" fmla="*/ 0 h 110344"/>
                </a:gdLst>
                <a:ahLst/>
                <a:cxnLst>
                  <a:cxn ang="0">
                    <a:pos x="connsiteX0" y="connsiteY0"/>
                  </a:cxn>
                  <a:cxn ang="0">
                    <a:pos x="connsiteX1" y="connsiteY1"/>
                  </a:cxn>
                  <a:cxn ang="0">
                    <a:pos x="connsiteX2" y="connsiteY2"/>
                  </a:cxn>
                  <a:cxn ang="0">
                    <a:pos x="connsiteX3" y="connsiteY3"/>
                  </a:cxn>
                </a:cxnLst>
                <a:rect l="l" t="t" r="r" b="b"/>
                <a:pathLst>
                  <a:path w="32056" h="110344">
                    <a:moveTo>
                      <a:pt x="32057" y="778"/>
                    </a:moveTo>
                    <a:lnTo>
                      <a:pt x="2990" y="110344"/>
                    </a:lnTo>
                    <a:lnTo>
                      <a:pt x="0" y="109507"/>
                    </a:lnTo>
                    <a:lnTo>
                      <a:pt x="29066" y="0"/>
                    </a:lnTo>
                    <a:close/>
                  </a:path>
                </a:pathLst>
              </a:custGeom>
              <a:grpFill/>
              <a:ln w="5978" cap="flat">
                <a:noFill/>
                <a:prstDash val="solid"/>
                <a:miter/>
              </a:ln>
            </p:spPr>
            <p:txBody>
              <a:bodyPr rtlCol="0" anchor="ctr"/>
              <a:lstStyle/>
              <a:p>
                <a:endParaRPr lang="en-GB"/>
              </a:p>
            </p:txBody>
          </p:sp>
          <p:sp>
            <p:nvSpPr>
              <p:cNvPr id="2675" name="Vrije vorm: vorm 2674">
                <a:extLst>
                  <a:ext uri="{FF2B5EF4-FFF2-40B4-BE49-F238E27FC236}">
                    <a16:creationId xmlns:a16="http://schemas.microsoft.com/office/drawing/2014/main" id="{909230CB-D287-4634-BB77-95A264D36648}"/>
                  </a:ext>
                </a:extLst>
              </p:cNvPr>
              <p:cNvSpPr/>
              <p:nvPr/>
            </p:nvSpPr>
            <p:spPr>
              <a:xfrm>
                <a:off x="5584822" y="5145992"/>
                <a:ext cx="18372" cy="18442"/>
              </a:xfrm>
              <a:custGeom>
                <a:avLst/>
                <a:gdLst>
                  <a:gd name="connsiteX0" fmla="*/ 18057 w 18372"/>
                  <a:gd name="connsiteY0" fmla="*/ 11643 h 18442"/>
                  <a:gd name="connsiteX1" fmla="*/ 6813 w 18372"/>
                  <a:gd name="connsiteY1" fmla="*/ 18102 h 18442"/>
                  <a:gd name="connsiteX2" fmla="*/ 295 w 18372"/>
                  <a:gd name="connsiteY2" fmla="*/ 6799 h 18442"/>
                  <a:gd name="connsiteX3" fmla="*/ 11538 w 18372"/>
                  <a:gd name="connsiteY3" fmla="*/ 340 h 18442"/>
                  <a:gd name="connsiteX4" fmla="*/ 18057 w 18372"/>
                  <a:gd name="connsiteY4" fmla="*/ 1164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42">
                    <a:moveTo>
                      <a:pt x="18057" y="11643"/>
                    </a:moveTo>
                    <a:cubicBezTo>
                      <a:pt x="16742" y="16547"/>
                      <a:pt x="11718" y="19478"/>
                      <a:pt x="6813" y="18102"/>
                    </a:cubicBezTo>
                    <a:cubicBezTo>
                      <a:pt x="1909" y="16787"/>
                      <a:pt x="-961" y="11703"/>
                      <a:pt x="295" y="6799"/>
                    </a:cubicBezTo>
                    <a:cubicBezTo>
                      <a:pt x="1610" y="1895"/>
                      <a:pt x="6634" y="-1036"/>
                      <a:pt x="11538" y="340"/>
                    </a:cubicBezTo>
                    <a:cubicBezTo>
                      <a:pt x="16442" y="1655"/>
                      <a:pt x="19373" y="6739"/>
                      <a:pt x="18057" y="11643"/>
                    </a:cubicBezTo>
                    <a:close/>
                  </a:path>
                </a:pathLst>
              </a:custGeom>
              <a:grpFill/>
              <a:ln w="5978" cap="flat">
                <a:noFill/>
                <a:prstDash val="solid"/>
                <a:miter/>
              </a:ln>
            </p:spPr>
            <p:txBody>
              <a:bodyPr rtlCol="0" anchor="ctr"/>
              <a:lstStyle/>
              <a:p>
                <a:endParaRPr lang="en-GB"/>
              </a:p>
            </p:txBody>
          </p:sp>
          <p:sp>
            <p:nvSpPr>
              <p:cNvPr id="2676" name="Vrije vorm: vorm 2675">
                <a:extLst>
                  <a:ext uri="{FF2B5EF4-FFF2-40B4-BE49-F238E27FC236}">
                    <a16:creationId xmlns:a16="http://schemas.microsoft.com/office/drawing/2014/main" id="{DE514FB7-5D1B-4885-BBAA-163C8EB8A4E2}"/>
                  </a:ext>
                </a:extLst>
              </p:cNvPr>
              <p:cNvSpPr/>
              <p:nvPr/>
            </p:nvSpPr>
            <p:spPr>
              <a:xfrm>
                <a:off x="5613629" y="5037342"/>
                <a:ext cx="18392" cy="18421"/>
              </a:xfrm>
              <a:custGeom>
                <a:avLst/>
                <a:gdLst>
                  <a:gd name="connsiteX0" fmla="*/ 18078 w 18392"/>
                  <a:gd name="connsiteY0" fmla="*/ 11623 h 18421"/>
                  <a:gd name="connsiteX1" fmla="*/ 11559 w 18392"/>
                  <a:gd name="connsiteY1" fmla="*/ 319 h 18421"/>
                  <a:gd name="connsiteX2" fmla="*/ 315 w 18392"/>
                  <a:gd name="connsiteY2" fmla="*/ 6778 h 18421"/>
                  <a:gd name="connsiteX3" fmla="*/ 6834 w 18392"/>
                  <a:gd name="connsiteY3" fmla="*/ 18082 h 18421"/>
                  <a:gd name="connsiteX4" fmla="*/ 18078 w 18392"/>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21">
                    <a:moveTo>
                      <a:pt x="18078" y="11623"/>
                    </a:moveTo>
                    <a:cubicBezTo>
                      <a:pt x="19393" y="6718"/>
                      <a:pt x="16463" y="1635"/>
                      <a:pt x="11559" y="319"/>
                    </a:cubicBezTo>
                    <a:cubicBezTo>
                      <a:pt x="6655" y="-997"/>
                      <a:pt x="1631" y="1874"/>
                      <a:pt x="315" y="6778"/>
                    </a:cubicBezTo>
                    <a:cubicBezTo>
                      <a:pt x="-1001" y="11683"/>
                      <a:pt x="1930" y="16766"/>
                      <a:pt x="6834" y="18082"/>
                    </a:cubicBezTo>
                    <a:cubicBezTo>
                      <a:pt x="11738" y="19457"/>
                      <a:pt x="16762" y="16527"/>
                      <a:pt x="18078" y="11623"/>
                    </a:cubicBezTo>
                    <a:close/>
                  </a:path>
                </a:pathLst>
              </a:custGeom>
              <a:grpFill/>
              <a:ln w="5978" cap="flat">
                <a:noFill/>
                <a:prstDash val="solid"/>
                <a:miter/>
              </a:ln>
            </p:spPr>
            <p:txBody>
              <a:bodyPr rtlCol="0" anchor="ctr"/>
              <a:lstStyle/>
              <a:p>
                <a:endParaRPr lang="en-GB"/>
              </a:p>
            </p:txBody>
          </p:sp>
        </p:grpSp>
        <p:grpSp>
          <p:nvGrpSpPr>
            <p:cNvPr id="909" name="Graphic 3">
              <a:extLst>
                <a:ext uri="{FF2B5EF4-FFF2-40B4-BE49-F238E27FC236}">
                  <a16:creationId xmlns:a16="http://schemas.microsoft.com/office/drawing/2014/main" id="{488DB956-E28A-4568-B236-18F1D41D6556}"/>
                </a:ext>
              </a:extLst>
            </p:cNvPr>
            <p:cNvGrpSpPr/>
            <p:nvPr/>
          </p:nvGrpSpPr>
          <p:grpSpPr>
            <a:xfrm>
              <a:off x="4563407" y="2185563"/>
              <a:ext cx="128930" cy="109590"/>
              <a:chOff x="4563407" y="2185563"/>
              <a:chExt cx="128930" cy="109590"/>
            </a:xfrm>
            <a:grpFill/>
          </p:grpSpPr>
          <p:sp>
            <p:nvSpPr>
              <p:cNvPr id="2671" name="Vrije vorm: vorm 2670">
                <a:extLst>
                  <a:ext uri="{FF2B5EF4-FFF2-40B4-BE49-F238E27FC236}">
                    <a16:creationId xmlns:a16="http://schemas.microsoft.com/office/drawing/2014/main" id="{ADB77417-E283-403B-A55C-E23EE91C2CE5}"/>
                  </a:ext>
                </a:extLst>
              </p:cNvPr>
              <p:cNvSpPr/>
              <p:nvPr/>
            </p:nvSpPr>
            <p:spPr>
              <a:xfrm>
                <a:off x="4571265" y="2193290"/>
                <a:ext cx="113215" cy="94136"/>
              </a:xfrm>
              <a:custGeom>
                <a:avLst/>
                <a:gdLst>
                  <a:gd name="connsiteX0" fmla="*/ 113215 w 113215"/>
                  <a:gd name="connsiteY0" fmla="*/ 91804 h 94136"/>
                  <a:gd name="connsiteX1" fmla="*/ 111301 w 113215"/>
                  <a:gd name="connsiteY1" fmla="*/ 94137 h 94136"/>
                  <a:gd name="connsiteX2" fmla="*/ 0 w 113215"/>
                  <a:gd name="connsiteY2" fmla="*/ 2392 h 94136"/>
                  <a:gd name="connsiteX3" fmla="*/ 1914 w 113215"/>
                  <a:gd name="connsiteY3" fmla="*/ 0 h 94136"/>
                </a:gdLst>
                <a:ahLst/>
                <a:cxnLst>
                  <a:cxn ang="0">
                    <a:pos x="connsiteX0" y="connsiteY0"/>
                  </a:cxn>
                  <a:cxn ang="0">
                    <a:pos x="connsiteX1" y="connsiteY1"/>
                  </a:cxn>
                  <a:cxn ang="0">
                    <a:pos x="connsiteX2" y="connsiteY2"/>
                  </a:cxn>
                  <a:cxn ang="0">
                    <a:pos x="connsiteX3" y="connsiteY3"/>
                  </a:cxn>
                </a:cxnLst>
                <a:rect l="l" t="t" r="r" b="b"/>
                <a:pathLst>
                  <a:path w="113215" h="94136">
                    <a:moveTo>
                      <a:pt x="113215" y="91804"/>
                    </a:moveTo>
                    <a:lnTo>
                      <a:pt x="111301" y="94137"/>
                    </a:lnTo>
                    <a:lnTo>
                      <a:pt x="0" y="2392"/>
                    </a:lnTo>
                    <a:lnTo>
                      <a:pt x="1914" y="0"/>
                    </a:lnTo>
                    <a:close/>
                  </a:path>
                </a:pathLst>
              </a:custGeom>
              <a:grpFill/>
              <a:ln w="5978" cap="flat">
                <a:noFill/>
                <a:prstDash val="solid"/>
                <a:miter/>
              </a:ln>
            </p:spPr>
            <p:txBody>
              <a:bodyPr rtlCol="0" anchor="ctr"/>
              <a:lstStyle/>
              <a:p>
                <a:endParaRPr lang="en-GB"/>
              </a:p>
            </p:txBody>
          </p:sp>
          <p:sp>
            <p:nvSpPr>
              <p:cNvPr id="2672" name="Vrije vorm: vorm 2671">
                <a:extLst>
                  <a:ext uri="{FF2B5EF4-FFF2-40B4-BE49-F238E27FC236}">
                    <a16:creationId xmlns:a16="http://schemas.microsoft.com/office/drawing/2014/main" id="{7F68DE4D-3542-43DF-A5BC-D525B4A0C3F5}"/>
                  </a:ext>
                </a:extLst>
              </p:cNvPr>
              <p:cNvSpPr/>
              <p:nvPr/>
            </p:nvSpPr>
            <p:spPr>
              <a:xfrm>
                <a:off x="4563407" y="2185563"/>
                <a:ext cx="18346" cy="18444"/>
              </a:xfrm>
              <a:custGeom>
                <a:avLst/>
                <a:gdLst>
                  <a:gd name="connsiteX0" fmla="*/ 3372 w 18346"/>
                  <a:gd name="connsiteY0" fmla="*/ 16339 h 18444"/>
                  <a:gd name="connsiteX1" fmla="*/ 2056 w 18346"/>
                  <a:gd name="connsiteY1" fmla="*/ 3361 h 18444"/>
                  <a:gd name="connsiteX2" fmla="*/ 14975 w 18346"/>
                  <a:gd name="connsiteY2" fmla="*/ 2105 h 18444"/>
                  <a:gd name="connsiteX3" fmla="*/ 16290 w 18346"/>
                  <a:gd name="connsiteY3" fmla="*/ 15083 h 18444"/>
                  <a:gd name="connsiteX4" fmla="*/ 3372 w 18346"/>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3372" y="16339"/>
                    </a:moveTo>
                    <a:cubicBezTo>
                      <a:pt x="-575" y="13110"/>
                      <a:pt x="-1113" y="7308"/>
                      <a:pt x="2056" y="3361"/>
                    </a:cubicBezTo>
                    <a:cubicBezTo>
                      <a:pt x="5226" y="-586"/>
                      <a:pt x="11027" y="-1124"/>
                      <a:pt x="14975" y="2105"/>
                    </a:cubicBezTo>
                    <a:cubicBezTo>
                      <a:pt x="18922" y="5335"/>
                      <a:pt x="19460" y="11136"/>
                      <a:pt x="16290" y="15083"/>
                    </a:cubicBezTo>
                    <a:cubicBezTo>
                      <a:pt x="13061" y="19031"/>
                      <a:pt x="7260" y="19569"/>
                      <a:pt x="3372" y="16339"/>
                    </a:cubicBezTo>
                    <a:close/>
                  </a:path>
                </a:pathLst>
              </a:custGeom>
              <a:grpFill/>
              <a:ln w="5978" cap="flat">
                <a:noFill/>
                <a:prstDash val="solid"/>
                <a:miter/>
              </a:ln>
            </p:spPr>
            <p:txBody>
              <a:bodyPr rtlCol="0" anchor="ctr"/>
              <a:lstStyle/>
              <a:p>
                <a:endParaRPr lang="en-GB"/>
              </a:p>
            </p:txBody>
          </p:sp>
          <p:sp>
            <p:nvSpPr>
              <p:cNvPr id="2673" name="Vrije vorm: vorm 2672">
                <a:extLst>
                  <a:ext uri="{FF2B5EF4-FFF2-40B4-BE49-F238E27FC236}">
                    <a16:creationId xmlns:a16="http://schemas.microsoft.com/office/drawing/2014/main" id="{7E54F623-A1BF-427C-86E3-ECDDCA55F5CD}"/>
                  </a:ext>
                </a:extLst>
              </p:cNvPr>
              <p:cNvSpPr/>
              <p:nvPr/>
            </p:nvSpPr>
            <p:spPr>
              <a:xfrm>
                <a:off x="4673991" y="2276709"/>
                <a:ext cx="18346" cy="18444"/>
              </a:xfrm>
              <a:custGeom>
                <a:avLst/>
                <a:gdLst>
                  <a:gd name="connsiteX0" fmla="*/ 3372 w 18346"/>
                  <a:gd name="connsiteY0" fmla="*/ 16340 h 18444"/>
                  <a:gd name="connsiteX1" fmla="*/ 16290 w 18346"/>
                  <a:gd name="connsiteY1" fmla="*/ 15083 h 18444"/>
                  <a:gd name="connsiteX2" fmla="*/ 14975 w 18346"/>
                  <a:gd name="connsiteY2" fmla="*/ 2105 h 18444"/>
                  <a:gd name="connsiteX3" fmla="*/ 2056 w 18346"/>
                  <a:gd name="connsiteY3" fmla="*/ 3361 h 18444"/>
                  <a:gd name="connsiteX4" fmla="*/ 3372 w 18346"/>
                  <a:gd name="connsiteY4" fmla="*/ 163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4">
                    <a:moveTo>
                      <a:pt x="3372" y="16340"/>
                    </a:moveTo>
                    <a:cubicBezTo>
                      <a:pt x="7319" y="19569"/>
                      <a:pt x="13061" y="19031"/>
                      <a:pt x="16290" y="15083"/>
                    </a:cubicBezTo>
                    <a:cubicBezTo>
                      <a:pt x="19460" y="11136"/>
                      <a:pt x="18922" y="5335"/>
                      <a:pt x="14975" y="2105"/>
                    </a:cubicBezTo>
                    <a:cubicBezTo>
                      <a:pt x="11027" y="-1124"/>
                      <a:pt x="5286" y="-586"/>
                      <a:pt x="2056" y="3361"/>
                    </a:cubicBezTo>
                    <a:cubicBezTo>
                      <a:pt x="-1114" y="7309"/>
                      <a:pt x="-575" y="13110"/>
                      <a:pt x="3372" y="16340"/>
                    </a:cubicBezTo>
                    <a:close/>
                  </a:path>
                </a:pathLst>
              </a:custGeom>
              <a:grpFill/>
              <a:ln w="5978" cap="flat">
                <a:noFill/>
                <a:prstDash val="solid"/>
                <a:miter/>
              </a:ln>
            </p:spPr>
            <p:txBody>
              <a:bodyPr rtlCol="0" anchor="ctr"/>
              <a:lstStyle/>
              <a:p>
                <a:endParaRPr lang="en-GB"/>
              </a:p>
            </p:txBody>
          </p:sp>
        </p:grpSp>
        <p:grpSp>
          <p:nvGrpSpPr>
            <p:cNvPr id="910" name="Graphic 3">
              <a:extLst>
                <a:ext uri="{FF2B5EF4-FFF2-40B4-BE49-F238E27FC236}">
                  <a16:creationId xmlns:a16="http://schemas.microsoft.com/office/drawing/2014/main" id="{9B8383DE-E8FB-4BE9-A7C1-61882895AA2F}"/>
                </a:ext>
              </a:extLst>
            </p:cNvPr>
            <p:cNvGrpSpPr/>
            <p:nvPr/>
          </p:nvGrpSpPr>
          <p:grpSpPr>
            <a:xfrm>
              <a:off x="5560481" y="5027956"/>
              <a:ext cx="41610" cy="100030"/>
              <a:chOff x="5560481" y="5027956"/>
              <a:chExt cx="41610" cy="100030"/>
            </a:xfrm>
            <a:grpFill/>
          </p:grpSpPr>
          <p:sp>
            <p:nvSpPr>
              <p:cNvPr id="2668" name="Vrije vorm: vorm 2667">
                <a:extLst>
                  <a:ext uri="{FF2B5EF4-FFF2-40B4-BE49-F238E27FC236}">
                    <a16:creationId xmlns:a16="http://schemas.microsoft.com/office/drawing/2014/main" id="{E4F9022D-A881-471E-BB6B-1E9B6EFECE8E}"/>
                  </a:ext>
                </a:extLst>
              </p:cNvPr>
              <p:cNvSpPr/>
              <p:nvPr/>
            </p:nvSpPr>
            <p:spPr>
              <a:xfrm>
                <a:off x="5568072" y="5036346"/>
                <a:ext cx="26434" cy="83311"/>
              </a:xfrm>
              <a:custGeom>
                <a:avLst/>
                <a:gdLst>
                  <a:gd name="connsiteX0" fmla="*/ 26435 w 26434"/>
                  <a:gd name="connsiteY0" fmla="*/ 837 h 83311"/>
                  <a:gd name="connsiteX1" fmla="*/ 2930 w 26434"/>
                  <a:gd name="connsiteY1" fmla="*/ 83311 h 83311"/>
                  <a:gd name="connsiteX2" fmla="*/ 0 w 26434"/>
                  <a:gd name="connsiteY2" fmla="*/ 82414 h 83311"/>
                  <a:gd name="connsiteX3" fmla="*/ 23504 w 26434"/>
                  <a:gd name="connsiteY3" fmla="*/ 0 h 83311"/>
                </a:gdLst>
                <a:ahLst/>
                <a:cxnLst>
                  <a:cxn ang="0">
                    <a:pos x="connsiteX0" y="connsiteY0"/>
                  </a:cxn>
                  <a:cxn ang="0">
                    <a:pos x="connsiteX1" y="connsiteY1"/>
                  </a:cxn>
                  <a:cxn ang="0">
                    <a:pos x="connsiteX2" y="connsiteY2"/>
                  </a:cxn>
                  <a:cxn ang="0">
                    <a:pos x="connsiteX3" y="connsiteY3"/>
                  </a:cxn>
                </a:cxnLst>
                <a:rect l="l" t="t" r="r" b="b"/>
                <a:pathLst>
                  <a:path w="26434" h="83311">
                    <a:moveTo>
                      <a:pt x="26435" y="837"/>
                    </a:moveTo>
                    <a:lnTo>
                      <a:pt x="2930" y="83311"/>
                    </a:lnTo>
                    <a:lnTo>
                      <a:pt x="0" y="82414"/>
                    </a:lnTo>
                    <a:lnTo>
                      <a:pt x="23504" y="0"/>
                    </a:lnTo>
                    <a:close/>
                  </a:path>
                </a:pathLst>
              </a:custGeom>
              <a:grpFill/>
              <a:ln w="5978" cap="flat">
                <a:noFill/>
                <a:prstDash val="solid"/>
                <a:miter/>
              </a:ln>
            </p:spPr>
            <p:txBody>
              <a:bodyPr rtlCol="0" anchor="ctr"/>
              <a:lstStyle/>
              <a:p>
                <a:endParaRPr lang="en-GB"/>
              </a:p>
            </p:txBody>
          </p:sp>
          <p:sp>
            <p:nvSpPr>
              <p:cNvPr id="2669" name="Vrije vorm: vorm 2668">
                <a:extLst>
                  <a:ext uri="{FF2B5EF4-FFF2-40B4-BE49-F238E27FC236}">
                    <a16:creationId xmlns:a16="http://schemas.microsoft.com/office/drawing/2014/main" id="{D93420CB-5028-4C3D-9674-769F2C5E1EFA}"/>
                  </a:ext>
                </a:extLst>
              </p:cNvPr>
              <p:cNvSpPr/>
              <p:nvPr/>
            </p:nvSpPr>
            <p:spPr>
              <a:xfrm>
                <a:off x="5560481" y="5109534"/>
                <a:ext cx="18345" cy="18453"/>
              </a:xfrm>
              <a:custGeom>
                <a:avLst/>
                <a:gdLst>
                  <a:gd name="connsiteX0" fmla="*/ 17997 w 18345"/>
                  <a:gd name="connsiteY0" fmla="*/ 11798 h 18453"/>
                  <a:gd name="connsiteX1" fmla="*/ 6633 w 18345"/>
                  <a:gd name="connsiteY1" fmla="*/ 18078 h 18453"/>
                  <a:gd name="connsiteX2" fmla="*/ 354 w 18345"/>
                  <a:gd name="connsiteY2" fmla="*/ 6655 h 18453"/>
                  <a:gd name="connsiteX3" fmla="*/ 11717 w 18345"/>
                  <a:gd name="connsiteY3" fmla="*/ 375 h 18453"/>
                  <a:gd name="connsiteX4" fmla="*/ 17997 w 18345"/>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53">
                    <a:moveTo>
                      <a:pt x="17997" y="11798"/>
                    </a:moveTo>
                    <a:cubicBezTo>
                      <a:pt x="16621" y="16702"/>
                      <a:pt x="11538" y="19513"/>
                      <a:pt x="6633" y="18078"/>
                    </a:cubicBezTo>
                    <a:cubicBezTo>
                      <a:pt x="1729" y="16642"/>
                      <a:pt x="-1022" y="11559"/>
                      <a:pt x="354" y="6655"/>
                    </a:cubicBezTo>
                    <a:cubicBezTo>
                      <a:pt x="1729" y="1750"/>
                      <a:pt x="6813" y="-1060"/>
                      <a:pt x="11717" y="375"/>
                    </a:cubicBezTo>
                    <a:cubicBezTo>
                      <a:pt x="16561" y="1810"/>
                      <a:pt x="19372" y="6894"/>
                      <a:pt x="17997" y="11798"/>
                    </a:cubicBezTo>
                    <a:close/>
                  </a:path>
                </a:pathLst>
              </a:custGeom>
              <a:grpFill/>
              <a:ln w="5978" cap="flat">
                <a:noFill/>
                <a:prstDash val="solid"/>
                <a:miter/>
              </a:ln>
            </p:spPr>
            <p:txBody>
              <a:bodyPr rtlCol="0" anchor="ctr"/>
              <a:lstStyle/>
              <a:p>
                <a:endParaRPr lang="en-GB"/>
              </a:p>
            </p:txBody>
          </p:sp>
          <p:sp>
            <p:nvSpPr>
              <p:cNvPr id="2670" name="Vrije vorm: vorm 2669">
                <a:extLst>
                  <a:ext uri="{FF2B5EF4-FFF2-40B4-BE49-F238E27FC236}">
                    <a16:creationId xmlns:a16="http://schemas.microsoft.com/office/drawing/2014/main" id="{A8938D22-B992-49BF-AA30-B9718BB8B334}"/>
                  </a:ext>
                </a:extLst>
              </p:cNvPr>
              <p:cNvSpPr/>
              <p:nvPr/>
            </p:nvSpPr>
            <p:spPr>
              <a:xfrm>
                <a:off x="5583751" y="5027956"/>
                <a:ext cx="18341" cy="18453"/>
              </a:xfrm>
              <a:custGeom>
                <a:avLst/>
                <a:gdLst>
                  <a:gd name="connsiteX0" fmla="*/ 17992 w 18341"/>
                  <a:gd name="connsiteY0" fmla="*/ 11798 h 18453"/>
                  <a:gd name="connsiteX1" fmla="*/ 11713 w 18341"/>
                  <a:gd name="connsiteY1" fmla="*/ 375 h 18453"/>
                  <a:gd name="connsiteX2" fmla="*/ 349 w 18341"/>
                  <a:gd name="connsiteY2" fmla="*/ 6655 h 18453"/>
                  <a:gd name="connsiteX3" fmla="*/ 6629 w 18341"/>
                  <a:gd name="connsiteY3" fmla="*/ 18078 h 18453"/>
                  <a:gd name="connsiteX4" fmla="*/ 17992 w 18341"/>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3">
                    <a:moveTo>
                      <a:pt x="17992" y="11798"/>
                    </a:moveTo>
                    <a:cubicBezTo>
                      <a:pt x="19368" y="6894"/>
                      <a:pt x="16557" y="1810"/>
                      <a:pt x="11713" y="375"/>
                    </a:cubicBezTo>
                    <a:cubicBezTo>
                      <a:pt x="6868" y="-1060"/>
                      <a:pt x="1784" y="1751"/>
                      <a:pt x="349" y="6655"/>
                    </a:cubicBezTo>
                    <a:cubicBezTo>
                      <a:pt x="-1026" y="11559"/>
                      <a:pt x="1784" y="16643"/>
                      <a:pt x="6629" y="18078"/>
                    </a:cubicBezTo>
                    <a:cubicBezTo>
                      <a:pt x="11533" y="19513"/>
                      <a:pt x="16617" y="16703"/>
                      <a:pt x="17992" y="11798"/>
                    </a:cubicBezTo>
                    <a:close/>
                  </a:path>
                </a:pathLst>
              </a:custGeom>
              <a:grpFill/>
              <a:ln w="5978" cap="flat">
                <a:noFill/>
                <a:prstDash val="solid"/>
                <a:miter/>
              </a:ln>
            </p:spPr>
            <p:txBody>
              <a:bodyPr rtlCol="0" anchor="ctr"/>
              <a:lstStyle/>
              <a:p>
                <a:endParaRPr lang="en-GB"/>
              </a:p>
            </p:txBody>
          </p:sp>
        </p:grpSp>
        <p:grpSp>
          <p:nvGrpSpPr>
            <p:cNvPr id="911" name="Graphic 3">
              <a:extLst>
                <a:ext uri="{FF2B5EF4-FFF2-40B4-BE49-F238E27FC236}">
                  <a16:creationId xmlns:a16="http://schemas.microsoft.com/office/drawing/2014/main" id="{CEB00218-4FE8-493F-9B8F-176909F64707}"/>
                </a:ext>
              </a:extLst>
            </p:cNvPr>
            <p:cNvGrpSpPr/>
            <p:nvPr/>
          </p:nvGrpSpPr>
          <p:grpSpPr>
            <a:xfrm>
              <a:off x="5637079" y="5222737"/>
              <a:ext cx="52650" cy="184603"/>
              <a:chOff x="5637079" y="5222737"/>
              <a:chExt cx="52650" cy="184603"/>
            </a:xfrm>
            <a:grpFill/>
          </p:grpSpPr>
          <p:sp>
            <p:nvSpPr>
              <p:cNvPr id="2665" name="Vrije vorm: vorm 2664">
                <a:extLst>
                  <a:ext uri="{FF2B5EF4-FFF2-40B4-BE49-F238E27FC236}">
                    <a16:creationId xmlns:a16="http://schemas.microsoft.com/office/drawing/2014/main" id="{B358C084-B5B3-4300-96C5-D4DA3BCFC0D8}"/>
                  </a:ext>
                </a:extLst>
              </p:cNvPr>
              <p:cNvSpPr/>
              <p:nvPr/>
            </p:nvSpPr>
            <p:spPr>
              <a:xfrm>
                <a:off x="5644625" y="5231198"/>
                <a:ext cx="37499" cy="167699"/>
              </a:xfrm>
              <a:custGeom>
                <a:avLst/>
                <a:gdLst>
                  <a:gd name="connsiteX0" fmla="*/ 37499 w 37499"/>
                  <a:gd name="connsiteY0" fmla="*/ 658 h 167699"/>
                  <a:gd name="connsiteX1" fmla="*/ 2990 w 37499"/>
                  <a:gd name="connsiteY1" fmla="*/ 167699 h 167699"/>
                  <a:gd name="connsiteX2" fmla="*/ 0 w 37499"/>
                  <a:gd name="connsiteY2" fmla="*/ 167101 h 167699"/>
                  <a:gd name="connsiteX3" fmla="*/ 34509 w 37499"/>
                  <a:gd name="connsiteY3" fmla="*/ 0 h 167699"/>
                </a:gdLst>
                <a:ahLst/>
                <a:cxnLst>
                  <a:cxn ang="0">
                    <a:pos x="connsiteX0" y="connsiteY0"/>
                  </a:cxn>
                  <a:cxn ang="0">
                    <a:pos x="connsiteX1" y="connsiteY1"/>
                  </a:cxn>
                  <a:cxn ang="0">
                    <a:pos x="connsiteX2" y="connsiteY2"/>
                  </a:cxn>
                  <a:cxn ang="0">
                    <a:pos x="connsiteX3" y="connsiteY3"/>
                  </a:cxn>
                </a:cxnLst>
                <a:rect l="l" t="t" r="r" b="b"/>
                <a:pathLst>
                  <a:path w="37499" h="167699">
                    <a:moveTo>
                      <a:pt x="37499" y="658"/>
                    </a:moveTo>
                    <a:lnTo>
                      <a:pt x="2990" y="167699"/>
                    </a:lnTo>
                    <a:lnTo>
                      <a:pt x="0" y="167101"/>
                    </a:lnTo>
                    <a:lnTo>
                      <a:pt x="34509" y="0"/>
                    </a:lnTo>
                    <a:close/>
                  </a:path>
                </a:pathLst>
              </a:custGeom>
              <a:grpFill/>
              <a:ln w="5978" cap="flat">
                <a:noFill/>
                <a:prstDash val="solid"/>
                <a:miter/>
              </a:ln>
            </p:spPr>
            <p:txBody>
              <a:bodyPr rtlCol="0" anchor="ctr"/>
              <a:lstStyle/>
              <a:p>
                <a:endParaRPr lang="en-GB"/>
              </a:p>
            </p:txBody>
          </p:sp>
          <p:sp>
            <p:nvSpPr>
              <p:cNvPr id="2666" name="Vrije vorm: vorm 2665">
                <a:extLst>
                  <a:ext uri="{FF2B5EF4-FFF2-40B4-BE49-F238E27FC236}">
                    <a16:creationId xmlns:a16="http://schemas.microsoft.com/office/drawing/2014/main" id="{3783A472-A85E-4D88-B399-A29182B799F0}"/>
                  </a:ext>
                </a:extLst>
              </p:cNvPr>
              <p:cNvSpPr/>
              <p:nvPr/>
            </p:nvSpPr>
            <p:spPr>
              <a:xfrm>
                <a:off x="5637079" y="5388899"/>
                <a:ext cx="18321" cy="18441"/>
              </a:xfrm>
              <a:custGeom>
                <a:avLst/>
                <a:gdLst>
                  <a:gd name="connsiteX0" fmla="*/ 18132 w 18321"/>
                  <a:gd name="connsiteY0" fmla="*/ 11135 h 18441"/>
                  <a:gd name="connsiteX1" fmla="*/ 7307 w 18321"/>
                  <a:gd name="connsiteY1" fmla="*/ 18252 h 18441"/>
                  <a:gd name="connsiteX2" fmla="*/ 190 w 18321"/>
                  <a:gd name="connsiteY2" fmla="*/ 7307 h 18441"/>
                  <a:gd name="connsiteX3" fmla="*/ 11015 w 18321"/>
                  <a:gd name="connsiteY3" fmla="*/ 190 h 18441"/>
                  <a:gd name="connsiteX4" fmla="*/ 18132 w 18321"/>
                  <a:gd name="connsiteY4" fmla="*/ 1113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18132" y="11135"/>
                    </a:moveTo>
                    <a:cubicBezTo>
                      <a:pt x="17115" y="16099"/>
                      <a:pt x="12271" y="19268"/>
                      <a:pt x="7307" y="18252"/>
                    </a:cubicBezTo>
                    <a:cubicBezTo>
                      <a:pt x="2343" y="17175"/>
                      <a:pt x="-827" y="12331"/>
                      <a:pt x="190" y="7307"/>
                    </a:cubicBezTo>
                    <a:cubicBezTo>
                      <a:pt x="1206" y="2343"/>
                      <a:pt x="6051" y="-827"/>
                      <a:pt x="11015" y="190"/>
                    </a:cubicBezTo>
                    <a:cubicBezTo>
                      <a:pt x="15979" y="1266"/>
                      <a:pt x="19148" y="6170"/>
                      <a:pt x="18132" y="11135"/>
                    </a:cubicBezTo>
                    <a:close/>
                  </a:path>
                </a:pathLst>
              </a:custGeom>
              <a:grpFill/>
              <a:ln w="5978" cap="flat">
                <a:noFill/>
                <a:prstDash val="solid"/>
                <a:miter/>
              </a:ln>
            </p:spPr>
            <p:txBody>
              <a:bodyPr rtlCol="0" anchor="ctr"/>
              <a:lstStyle/>
              <a:p>
                <a:endParaRPr lang="en-GB"/>
              </a:p>
            </p:txBody>
          </p:sp>
          <p:sp>
            <p:nvSpPr>
              <p:cNvPr id="2667" name="Vrije vorm: vorm 2666">
                <a:extLst>
                  <a:ext uri="{FF2B5EF4-FFF2-40B4-BE49-F238E27FC236}">
                    <a16:creationId xmlns:a16="http://schemas.microsoft.com/office/drawing/2014/main" id="{437C4D52-B5E2-4B35-B8D1-45CBFEC02FAF}"/>
                  </a:ext>
                </a:extLst>
              </p:cNvPr>
              <p:cNvSpPr/>
              <p:nvPr/>
            </p:nvSpPr>
            <p:spPr>
              <a:xfrm>
                <a:off x="5671408" y="5222737"/>
                <a:ext cx="18321" cy="18458"/>
              </a:xfrm>
              <a:custGeom>
                <a:avLst/>
                <a:gdLst>
                  <a:gd name="connsiteX0" fmla="*/ 18132 w 18321"/>
                  <a:gd name="connsiteY0" fmla="*/ 11152 h 18458"/>
                  <a:gd name="connsiteX1" fmla="*/ 11015 w 18321"/>
                  <a:gd name="connsiteY1" fmla="*/ 207 h 18458"/>
                  <a:gd name="connsiteX2" fmla="*/ 190 w 18321"/>
                  <a:gd name="connsiteY2" fmla="*/ 7324 h 18458"/>
                  <a:gd name="connsiteX3" fmla="*/ 7307 w 18321"/>
                  <a:gd name="connsiteY3" fmla="*/ 18269 h 18458"/>
                  <a:gd name="connsiteX4" fmla="*/ 18132 w 18321"/>
                  <a:gd name="connsiteY4" fmla="*/ 1115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58">
                    <a:moveTo>
                      <a:pt x="18132" y="11152"/>
                    </a:moveTo>
                    <a:cubicBezTo>
                      <a:pt x="19149" y="6188"/>
                      <a:pt x="15979" y="1284"/>
                      <a:pt x="11015" y="207"/>
                    </a:cubicBezTo>
                    <a:cubicBezTo>
                      <a:pt x="6051" y="-870"/>
                      <a:pt x="1207" y="2360"/>
                      <a:pt x="190" y="7324"/>
                    </a:cubicBezTo>
                    <a:cubicBezTo>
                      <a:pt x="-827" y="12288"/>
                      <a:pt x="2343" y="17192"/>
                      <a:pt x="7307" y="18269"/>
                    </a:cubicBezTo>
                    <a:cubicBezTo>
                      <a:pt x="12211" y="19286"/>
                      <a:pt x="17055" y="16116"/>
                      <a:pt x="18132" y="11152"/>
                    </a:cubicBezTo>
                    <a:close/>
                  </a:path>
                </a:pathLst>
              </a:custGeom>
              <a:grpFill/>
              <a:ln w="5978" cap="flat">
                <a:noFill/>
                <a:prstDash val="solid"/>
                <a:miter/>
              </a:ln>
            </p:spPr>
            <p:txBody>
              <a:bodyPr rtlCol="0" anchor="ctr"/>
              <a:lstStyle/>
              <a:p>
                <a:endParaRPr lang="en-GB"/>
              </a:p>
            </p:txBody>
          </p:sp>
        </p:grpSp>
        <p:grpSp>
          <p:nvGrpSpPr>
            <p:cNvPr id="912" name="Graphic 3">
              <a:extLst>
                <a:ext uri="{FF2B5EF4-FFF2-40B4-BE49-F238E27FC236}">
                  <a16:creationId xmlns:a16="http://schemas.microsoft.com/office/drawing/2014/main" id="{B262B3D6-434F-480F-9DFA-50178BD0AC61}"/>
                </a:ext>
              </a:extLst>
            </p:cNvPr>
            <p:cNvGrpSpPr/>
            <p:nvPr/>
          </p:nvGrpSpPr>
          <p:grpSpPr>
            <a:xfrm>
              <a:off x="4541090" y="2119491"/>
              <a:ext cx="96173" cy="85039"/>
              <a:chOff x="4541090" y="2119491"/>
              <a:chExt cx="96173" cy="85039"/>
            </a:xfrm>
            <a:grpFill/>
          </p:grpSpPr>
          <p:sp>
            <p:nvSpPr>
              <p:cNvPr id="2662" name="Vrije vorm: vorm 2661">
                <a:extLst>
                  <a:ext uri="{FF2B5EF4-FFF2-40B4-BE49-F238E27FC236}">
                    <a16:creationId xmlns:a16="http://schemas.microsoft.com/office/drawing/2014/main" id="{B79BA4A2-C7E0-4A29-86A6-83E90B21AC01}"/>
                  </a:ext>
                </a:extLst>
              </p:cNvPr>
              <p:cNvSpPr/>
              <p:nvPr/>
            </p:nvSpPr>
            <p:spPr>
              <a:xfrm>
                <a:off x="4548957" y="2127203"/>
                <a:ext cx="80440" cy="69555"/>
              </a:xfrm>
              <a:custGeom>
                <a:avLst/>
                <a:gdLst>
                  <a:gd name="connsiteX0" fmla="*/ 80440 w 80440"/>
                  <a:gd name="connsiteY0" fmla="*/ 67223 h 69555"/>
                  <a:gd name="connsiteX1" fmla="*/ 78527 w 80440"/>
                  <a:gd name="connsiteY1" fmla="*/ 69556 h 69555"/>
                  <a:gd name="connsiteX2" fmla="*/ 0 w 80440"/>
                  <a:gd name="connsiteY2" fmla="*/ 2332 h 69555"/>
                  <a:gd name="connsiteX3" fmla="*/ 1973 w 80440"/>
                  <a:gd name="connsiteY3" fmla="*/ 0 h 69555"/>
                </a:gdLst>
                <a:ahLst/>
                <a:cxnLst>
                  <a:cxn ang="0">
                    <a:pos x="connsiteX0" y="connsiteY0"/>
                  </a:cxn>
                  <a:cxn ang="0">
                    <a:pos x="connsiteX1" y="connsiteY1"/>
                  </a:cxn>
                  <a:cxn ang="0">
                    <a:pos x="connsiteX2" y="connsiteY2"/>
                  </a:cxn>
                  <a:cxn ang="0">
                    <a:pos x="connsiteX3" y="connsiteY3"/>
                  </a:cxn>
                </a:cxnLst>
                <a:rect l="l" t="t" r="r" b="b"/>
                <a:pathLst>
                  <a:path w="80440" h="69555">
                    <a:moveTo>
                      <a:pt x="80440" y="67223"/>
                    </a:moveTo>
                    <a:lnTo>
                      <a:pt x="78527" y="69556"/>
                    </a:lnTo>
                    <a:lnTo>
                      <a:pt x="0" y="2332"/>
                    </a:lnTo>
                    <a:lnTo>
                      <a:pt x="1973" y="0"/>
                    </a:lnTo>
                    <a:close/>
                  </a:path>
                </a:pathLst>
              </a:custGeom>
              <a:grpFill/>
              <a:ln w="5978" cap="flat">
                <a:noFill/>
                <a:prstDash val="solid"/>
                <a:miter/>
              </a:ln>
            </p:spPr>
            <p:txBody>
              <a:bodyPr rtlCol="0" anchor="ctr"/>
              <a:lstStyle/>
              <a:p>
                <a:endParaRPr lang="en-GB"/>
              </a:p>
            </p:txBody>
          </p:sp>
          <p:sp>
            <p:nvSpPr>
              <p:cNvPr id="2663" name="Vrije vorm: vorm 2662">
                <a:extLst>
                  <a:ext uri="{FF2B5EF4-FFF2-40B4-BE49-F238E27FC236}">
                    <a16:creationId xmlns:a16="http://schemas.microsoft.com/office/drawing/2014/main" id="{0F6BC553-361A-49AD-884B-91B0D48BA3E2}"/>
                  </a:ext>
                </a:extLst>
              </p:cNvPr>
              <p:cNvSpPr/>
              <p:nvPr/>
            </p:nvSpPr>
            <p:spPr>
              <a:xfrm>
                <a:off x="4541090" y="2119491"/>
                <a:ext cx="18364" cy="18414"/>
              </a:xfrm>
              <a:custGeom>
                <a:avLst/>
                <a:gdLst>
                  <a:gd name="connsiteX0" fmla="*/ 3261 w 18364"/>
                  <a:gd name="connsiteY0" fmla="*/ 16205 h 18414"/>
                  <a:gd name="connsiteX1" fmla="*/ 2185 w 18364"/>
                  <a:gd name="connsiteY1" fmla="*/ 3227 h 18414"/>
                  <a:gd name="connsiteX2" fmla="*/ 15103 w 18364"/>
                  <a:gd name="connsiteY2" fmla="*/ 2210 h 18414"/>
                  <a:gd name="connsiteX3" fmla="*/ 16179 w 18364"/>
                  <a:gd name="connsiteY3" fmla="*/ 15188 h 18414"/>
                  <a:gd name="connsiteX4" fmla="*/ 3261 w 18364"/>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14">
                    <a:moveTo>
                      <a:pt x="3261" y="16205"/>
                    </a:moveTo>
                    <a:cubicBezTo>
                      <a:pt x="-627" y="12915"/>
                      <a:pt x="-1105" y="7054"/>
                      <a:pt x="2185" y="3227"/>
                    </a:cubicBezTo>
                    <a:cubicBezTo>
                      <a:pt x="5474" y="-661"/>
                      <a:pt x="11216" y="-1080"/>
                      <a:pt x="15103" y="2210"/>
                    </a:cubicBezTo>
                    <a:cubicBezTo>
                      <a:pt x="18990" y="5499"/>
                      <a:pt x="19469" y="11360"/>
                      <a:pt x="16179" y="15188"/>
                    </a:cubicBezTo>
                    <a:cubicBezTo>
                      <a:pt x="12890" y="19075"/>
                      <a:pt x="7089" y="19494"/>
                      <a:pt x="3261" y="16205"/>
                    </a:cubicBezTo>
                    <a:close/>
                  </a:path>
                </a:pathLst>
              </a:custGeom>
              <a:grpFill/>
              <a:ln w="5978" cap="flat">
                <a:noFill/>
                <a:prstDash val="solid"/>
                <a:miter/>
              </a:ln>
            </p:spPr>
            <p:txBody>
              <a:bodyPr rtlCol="0" anchor="ctr"/>
              <a:lstStyle/>
              <a:p>
                <a:endParaRPr lang="en-GB"/>
              </a:p>
            </p:txBody>
          </p:sp>
          <p:sp>
            <p:nvSpPr>
              <p:cNvPr id="2664" name="Vrije vorm: vorm 2663">
                <a:extLst>
                  <a:ext uri="{FF2B5EF4-FFF2-40B4-BE49-F238E27FC236}">
                    <a16:creationId xmlns:a16="http://schemas.microsoft.com/office/drawing/2014/main" id="{A9482857-75AB-46A5-B203-722DCC1E4B7B}"/>
                  </a:ext>
                </a:extLst>
              </p:cNvPr>
              <p:cNvSpPr/>
              <p:nvPr/>
            </p:nvSpPr>
            <p:spPr>
              <a:xfrm>
                <a:off x="4618944" y="2186116"/>
                <a:ext cx="18319" cy="18414"/>
              </a:xfrm>
              <a:custGeom>
                <a:avLst/>
                <a:gdLst>
                  <a:gd name="connsiteX0" fmla="*/ 3217 w 18319"/>
                  <a:gd name="connsiteY0" fmla="*/ 16205 h 18414"/>
                  <a:gd name="connsiteX1" fmla="*/ 16135 w 18319"/>
                  <a:gd name="connsiteY1" fmla="*/ 15188 h 18414"/>
                  <a:gd name="connsiteX2" fmla="*/ 15059 w 18319"/>
                  <a:gd name="connsiteY2" fmla="*/ 2210 h 18414"/>
                  <a:gd name="connsiteX3" fmla="*/ 2140 w 18319"/>
                  <a:gd name="connsiteY3" fmla="*/ 3227 h 18414"/>
                  <a:gd name="connsiteX4" fmla="*/ 3217 w 18319"/>
                  <a:gd name="connsiteY4" fmla="*/ 16205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14">
                    <a:moveTo>
                      <a:pt x="3217" y="16205"/>
                    </a:moveTo>
                    <a:cubicBezTo>
                      <a:pt x="7104" y="19494"/>
                      <a:pt x="12846" y="19076"/>
                      <a:pt x="16135" y="15188"/>
                    </a:cubicBezTo>
                    <a:cubicBezTo>
                      <a:pt x="19424" y="11301"/>
                      <a:pt x="18946" y="5499"/>
                      <a:pt x="15059" y="2210"/>
                    </a:cubicBezTo>
                    <a:cubicBezTo>
                      <a:pt x="11171" y="-1080"/>
                      <a:pt x="5430" y="-661"/>
                      <a:pt x="2140" y="3227"/>
                    </a:cubicBezTo>
                    <a:cubicBezTo>
                      <a:pt x="-1089" y="7054"/>
                      <a:pt x="-611" y="12915"/>
                      <a:pt x="3217" y="16205"/>
                    </a:cubicBezTo>
                    <a:close/>
                  </a:path>
                </a:pathLst>
              </a:custGeom>
              <a:grpFill/>
              <a:ln w="5978" cap="flat">
                <a:noFill/>
                <a:prstDash val="solid"/>
                <a:miter/>
              </a:ln>
            </p:spPr>
            <p:txBody>
              <a:bodyPr rtlCol="0" anchor="ctr"/>
              <a:lstStyle/>
              <a:p>
                <a:endParaRPr lang="en-GB"/>
              </a:p>
            </p:txBody>
          </p:sp>
        </p:grpSp>
        <p:grpSp>
          <p:nvGrpSpPr>
            <p:cNvPr id="913" name="Graphic 3">
              <a:extLst>
                <a:ext uri="{FF2B5EF4-FFF2-40B4-BE49-F238E27FC236}">
                  <a16:creationId xmlns:a16="http://schemas.microsoft.com/office/drawing/2014/main" id="{C1A3FF3B-EEF4-49FA-8324-7794A9F98871}"/>
                </a:ext>
              </a:extLst>
            </p:cNvPr>
            <p:cNvGrpSpPr/>
            <p:nvPr/>
          </p:nvGrpSpPr>
          <p:grpSpPr>
            <a:xfrm>
              <a:off x="5601805" y="5079028"/>
              <a:ext cx="181328" cy="723226"/>
              <a:chOff x="5601805" y="5079028"/>
              <a:chExt cx="181328" cy="723226"/>
            </a:xfrm>
            <a:grpFill/>
          </p:grpSpPr>
          <p:sp>
            <p:nvSpPr>
              <p:cNvPr id="2659" name="Vrije vorm: vorm 2658">
                <a:extLst>
                  <a:ext uri="{FF2B5EF4-FFF2-40B4-BE49-F238E27FC236}">
                    <a16:creationId xmlns:a16="http://schemas.microsoft.com/office/drawing/2014/main" id="{F60D12C3-1AAC-46BF-8214-AA633FA4006D}"/>
                  </a:ext>
                </a:extLst>
              </p:cNvPr>
              <p:cNvSpPr/>
              <p:nvPr/>
            </p:nvSpPr>
            <p:spPr>
              <a:xfrm>
                <a:off x="5609399" y="5087421"/>
                <a:ext cx="166144" cy="706442"/>
              </a:xfrm>
              <a:custGeom>
                <a:avLst/>
                <a:gdLst>
                  <a:gd name="connsiteX0" fmla="*/ 166144 w 166144"/>
                  <a:gd name="connsiteY0" fmla="*/ 718 h 706442"/>
                  <a:gd name="connsiteX1" fmla="*/ 2990 w 166144"/>
                  <a:gd name="connsiteY1" fmla="*/ 706443 h 706442"/>
                  <a:gd name="connsiteX2" fmla="*/ 0 w 166144"/>
                  <a:gd name="connsiteY2" fmla="*/ 705725 h 706442"/>
                  <a:gd name="connsiteX3" fmla="*/ 163154 w 166144"/>
                  <a:gd name="connsiteY3" fmla="*/ 0 h 706442"/>
                </a:gdLst>
                <a:ahLst/>
                <a:cxnLst>
                  <a:cxn ang="0">
                    <a:pos x="connsiteX0" y="connsiteY0"/>
                  </a:cxn>
                  <a:cxn ang="0">
                    <a:pos x="connsiteX1" y="connsiteY1"/>
                  </a:cxn>
                  <a:cxn ang="0">
                    <a:pos x="connsiteX2" y="connsiteY2"/>
                  </a:cxn>
                  <a:cxn ang="0">
                    <a:pos x="connsiteX3" y="connsiteY3"/>
                  </a:cxn>
                </a:cxnLst>
                <a:rect l="l" t="t" r="r" b="b"/>
                <a:pathLst>
                  <a:path w="166144" h="706442">
                    <a:moveTo>
                      <a:pt x="166144" y="718"/>
                    </a:moveTo>
                    <a:lnTo>
                      <a:pt x="2990" y="706443"/>
                    </a:lnTo>
                    <a:lnTo>
                      <a:pt x="0" y="705725"/>
                    </a:lnTo>
                    <a:lnTo>
                      <a:pt x="163154" y="0"/>
                    </a:lnTo>
                    <a:close/>
                  </a:path>
                </a:pathLst>
              </a:custGeom>
              <a:grpFill/>
              <a:ln w="5978" cap="flat">
                <a:noFill/>
                <a:prstDash val="solid"/>
                <a:miter/>
              </a:ln>
            </p:spPr>
            <p:txBody>
              <a:bodyPr rtlCol="0" anchor="ctr"/>
              <a:lstStyle/>
              <a:p>
                <a:endParaRPr lang="en-GB"/>
              </a:p>
            </p:txBody>
          </p:sp>
          <p:sp>
            <p:nvSpPr>
              <p:cNvPr id="2660" name="Vrije vorm: vorm 2659">
                <a:extLst>
                  <a:ext uri="{FF2B5EF4-FFF2-40B4-BE49-F238E27FC236}">
                    <a16:creationId xmlns:a16="http://schemas.microsoft.com/office/drawing/2014/main" id="{18A3FBA9-804E-47F1-87E4-CE54C14D69D6}"/>
                  </a:ext>
                </a:extLst>
              </p:cNvPr>
              <p:cNvSpPr/>
              <p:nvPr/>
            </p:nvSpPr>
            <p:spPr>
              <a:xfrm>
                <a:off x="5764779" y="5079028"/>
                <a:ext cx="18353" cy="18401"/>
              </a:xfrm>
              <a:custGeom>
                <a:avLst/>
                <a:gdLst>
                  <a:gd name="connsiteX0" fmla="*/ 237 w 18353"/>
                  <a:gd name="connsiteY0" fmla="*/ 7078 h 18401"/>
                  <a:gd name="connsiteX1" fmla="*/ 11242 w 18353"/>
                  <a:gd name="connsiteY1" fmla="*/ 260 h 18401"/>
                  <a:gd name="connsiteX2" fmla="*/ 18120 w 18353"/>
                  <a:gd name="connsiteY2" fmla="*/ 11324 h 18401"/>
                  <a:gd name="connsiteX3" fmla="*/ 7115 w 18353"/>
                  <a:gd name="connsiteY3" fmla="*/ 18142 h 18401"/>
                  <a:gd name="connsiteX4" fmla="*/ 237 w 18353"/>
                  <a:gd name="connsiteY4" fmla="*/ 7078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1">
                    <a:moveTo>
                      <a:pt x="237" y="7078"/>
                    </a:moveTo>
                    <a:cubicBezTo>
                      <a:pt x="1374" y="2114"/>
                      <a:pt x="6338" y="-937"/>
                      <a:pt x="11242" y="260"/>
                    </a:cubicBezTo>
                    <a:cubicBezTo>
                      <a:pt x="16146" y="1456"/>
                      <a:pt x="19256" y="6420"/>
                      <a:pt x="18120" y="11324"/>
                    </a:cubicBezTo>
                    <a:cubicBezTo>
                      <a:pt x="16984" y="16288"/>
                      <a:pt x="12020" y="19338"/>
                      <a:pt x="7115" y="18142"/>
                    </a:cubicBezTo>
                    <a:cubicBezTo>
                      <a:pt x="2151" y="17006"/>
                      <a:pt x="-899" y="12042"/>
                      <a:pt x="237" y="7078"/>
                    </a:cubicBezTo>
                    <a:close/>
                  </a:path>
                </a:pathLst>
              </a:custGeom>
              <a:grpFill/>
              <a:ln w="5978" cap="flat">
                <a:noFill/>
                <a:prstDash val="solid"/>
                <a:miter/>
              </a:ln>
            </p:spPr>
            <p:txBody>
              <a:bodyPr rtlCol="0" anchor="ctr"/>
              <a:lstStyle/>
              <a:p>
                <a:endParaRPr lang="en-GB"/>
              </a:p>
            </p:txBody>
          </p:sp>
          <p:sp>
            <p:nvSpPr>
              <p:cNvPr id="2661" name="Vrije vorm: vorm 2660">
                <a:extLst>
                  <a:ext uri="{FF2B5EF4-FFF2-40B4-BE49-F238E27FC236}">
                    <a16:creationId xmlns:a16="http://schemas.microsoft.com/office/drawing/2014/main" id="{F00A093F-AD27-4435-BB61-E5C13632E881}"/>
                  </a:ext>
                </a:extLst>
              </p:cNvPr>
              <p:cNvSpPr/>
              <p:nvPr/>
            </p:nvSpPr>
            <p:spPr>
              <a:xfrm>
                <a:off x="5601805" y="5783856"/>
                <a:ext cx="18357" cy="18398"/>
              </a:xfrm>
              <a:custGeom>
                <a:avLst/>
                <a:gdLst>
                  <a:gd name="connsiteX0" fmla="*/ 237 w 18357"/>
                  <a:gd name="connsiteY0" fmla="*/ 7078 h 18398"/>
                  <a:gd name="connsiteX1" fmla="*/ 7115 w 18357"/>
                  <a:gd name="connsiteY1" fmla="*/ 18142 h 18398"/>
                  <a:gd name="connsiteX2" fmla="*/ 18120 w 18357"/>
                  <a:gd name="connsiteY2" fmla="*/ 11324 h 18398"/>
                  <a:gd name="connsiteX3" fmla="*/ 11242 w 18357"/>
                  <a:gd name="connsiteY3" fmla="*/ 260 h 18398"/>
                  <a:gd name="connsiteX4" fmla="*/ 237 w 18357"/>
                  <a:gd name="connsiteY4" fmla="*/ 7078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398">
                    <a:moveTo>
                      <a:pt x="237" y="7078"/>
                    </a:moveTo>
                    <a:cubicBezTo>
                      <a:pt x="-899" y="12042"/>
                      <a:pt x="2151" y="17006"/>
                      <a:pt x="7115" y="18142"/>
                    </a:cubicBezTo>
                    <a:cubicBezTo>
                      <a:pt x="12020" y="19338"/>
                      <a:pt x="16984" y="16228"/>
                      <a:pt x="18120" y="11324"/>
                    </a:cubicBezTo>
                    <a:cubicBezTo>
                      <a:pt x="19256" y="6360"/>
                      <a:pt x="16206" y="1396"/>
                      <a:pt x="11242" y="260"/>
                    </a:cubicBezTo>
                    <a:cubicBezTo>
                      <a:pt x="6338" y="-936"/>
                      <a:pt x="1434" y="2114"/>
                      <a:pt x="237" y="7078"/>
                    </a:cubicBezTo>
                    <a:close/>
                  </a:path>
                </a:pathLst>
              </a:custGeom>
              <a:grpFill/>
              <a:ln w="5978" cap="flat">
                <a:noFill/>
                <a:prstDash val="solid"/>
                <a:miter/>
              </a:ln>
            </p:spPr>
            <p:txBody>
              <a:bodyPr rtlCol="0" anchor="ctr"/>
              <a:lstStyle/>
              <a:p>
                <a:endParaRPr lang="en-GB"/>
              </a:p>
            </p:txBody>
          </p:sp>
        </p:grpSp>
        <p:grpSp>
          <p:nvGrpSpPr>
            <p:cNvPr id="914" name="Graphic 3">
              <a:extLst>
                <a:ext uri="{FF2B5EF4-FFF2-40B4-BE49-F238E27FC236}">
                  <a16:creationId xmlns:a16="http://schemas.microsoft.com/office/drawing/2014/main" id="{1F7A99BF-73E4-4C4D-A8A0-AAB0BD956CB1}"/>
                </a:ext>
              </a:extLst>
            </p:cNvPr>
            <p:cNvGrpSpPr/>
            <p:nvPr/>
          </p:nvGrpSpPr>
          <p:grpSpPr>
            <a:xfrm>
              <a:off x="4541254" y="2258548"/>
              <a:ext cx="168528" cy="133175"/>
              <a:chOff x="4541254" y="2258548"/>
              <a:chExt cx="168528" cy="133175"/>
            </a:xfrm>
            <a:grpFill/>
          </p:grpSpPr>
          <p:sp>
            <p:nvSpPr>
              <p:cNvPr id="2656" name="Vrije vorm: vorm 2655">
                <a:extLst>
                  <a:ext uri="{FF2B5EF4-FFF2-40B4-BE49-F238E27FC236}">
                    <a16:creationId xmlns:a16="http://schemas.microsoft.com/office/drawing/2014/main" id="{92FC5A36-244F-48A2-88F3-21386A19A4D3}"/>
                  </a:ext>
                </a:extLst>
              </p:cNvPr>
              <p:cNvSpPr/>
              <p:nvPr/>
            </p:nvSpPr>
            <p:spPr>
              <a:xfrm>
                <a:off x="4549136" y="2266255"/>
                <a:ext cx="152747" cy="117700"/>
              </a:xfrm>
              <a:custGeom>
                <a:avLst/>
                <a:gdLst>
                  <a:gd name="connsiteX0" fmla="*/ 152748 w 152747"/>
                  <a:gd name="connsiteY0" fmla="*/ 115248 h 117700"/>
                  <a:gd name="connsiteX1" fmla="*/ 150894 w 152747"/>
                  <a:gd name="connsiteY1" fmla="*/ 117701 h 117700"/>
                  <a:gd name="connsiteX2" fmla="*/ 0 w 152747"/>
                  <a:gd name="connsiteY2" fmla="*/ 2452 h 117700"/>
                  <a:gd name="connsiteX3" fmla="*/ 1854 w 152747"/>
                  <a:gd name="connsiteY3" fmla="*/ 0 h 117700"/>
                </a:gdLst>
                <a:ahLst/>
                <a:cxnLst>
                  <a:cxn ang="0">
                    <a:pos x="connsiteX0" y="connsiteY0"/>
                  </a:cxn>
                  <a:cxn ang="0">
                    <a:pos x="connsiteX1" y="connsiteY1"/>
                  </a:cxn>
                  <a:cxn ang="0">
                    <a:pos x="connsiteX2" y="connsiteY2"/>
                  </a:cxn>
                  <a:cxn ang="0">
                    <a:pos x="connsiteX3" y="connsiteY3"/>
                  </a:cxn>
                </a:cxnLst>
                <a:rect l="l" t="t" r="r" b="b"/>
                <a:pathLst>
                  <a:path w="152747" h="117700">
                    <a:moveTo>
                      <a:pt x="152748" y="115248"/>
                    </a:moveTo>
                    <a:lnTo>
                      <a:pt x="150894" y="117701"/>
                    </a:lnTo>
                    <a:lnTo>
                      <a:pt x="0" y="2452"/>
                    </a:lnTo>
                    <a:lnTo>
                      <a:pt x="1854" y="0"/>
                    </a:lnTo>
                    <a:close/>
                  </a:path>
                </a:pathLst>
              </a:custGeom>
              <a:grpFill/>
              <a:ln w="5978" cap="flat">
                <a:noFill/>
                <a:prstDash val="solid"/>
                <a:miter/>
              </a:ln>
            </p:spPr>
            <p:txBody>
              <a:bodyPr rtlCol="0" anchor="ctr"/>
              <a:lstStyle/>
              <a:p>
                <a:endParaRPr lang="en-GB"/>
              </a:p>
            </p:txBody>
          </p:sp>
          <p:sp>
            <p:nvSpPr>
              <p:cNvPr id="2657" name="Vrije vorm: vorm 2656">
                <a:extLst>
                  <a:ext uri="{FF2B5EF4-FFF2-40B4-BE49-F238E27FC236}">
                    <a16:creationId xmlns:a16="http://schemas.microsoft.com/office/drawing/2014/main" id="{9AB56F5F-5AF3-4818-904E-2F2868D2748E}"/>
                  </a:ext>
                </a:extLst>
              </p:cNvPr>
              <p:cNvSpPr/>
              <p:nvPr/>
            </p:nvSpPr>
            <p:spPr>
              <a:xfrm>
                <a:off x="4541254" y="2258548"/>
                <a:ext cx="18334" cy="18421"/>
              </a:xfrm>
              <a:custGeom>
                <a:avLst/>
                <a:gdLst>
                  <a:gd name="connsiteX0" fmla="*/ 3635 w 18334"/>
                  <a:gd name="connsiteY0" fmla="*/ 16559 h 18421"/>
                  <a:gd name="connsiteX1" fmla="*/ 1841 w 18334"/>
                  <a:gd name="connsiteY1" fmla="*/ 3641 h 18421"/>
                  <a:gd name="connsiteX2" fmla="*/ 14700 w 18334"/>
                  <a:gd name="connsiteY2" fmla="*/ 1906 h 18421"/>
                  <a:gd name="connsiteX3" fmla="*/ 16494 w 18334"/>
                  <a:gd name="connsiteY3" fmla="*/ 14825 h 18421"/>
                  <a:gd name="connsiteX4" fmla="*/ 3635 w 18334"/>
                  <a:gd name="connsiteY4" fmla="*/ 1655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1">
                    <a:moveTo>
                      <a:pt x="3635" y="16559"/>
                    </a:moveTo>
                    <a:cubicBezTo>
                      <a:pt x="-372" y="13449"/>
                      <a:pt x="-1209" y="7707"/>
                      <a:pt x="1841" y="3641"/>
                    </a:cubicBezTo>
                    <a:cubicBezTo>
                      <a:pt x="4891" y="-426"/>
                      <a:pt x="10633" y="-1204"/>
                      <a:pt x="14700" y="1906"/>
                    </a:cubicBezTo>
                    <a:cubicBezTo>
                      <a:pt x="18706" y="5016"/>
                      <a:pt x="19544" y="10758"/>
                      <a:pt x="16494" y="14825"/>
                    </a:cubicBezTo>
                    <a:cubicBezTo>
                      <a:pt x="13443" y="18832"/>
                      <a:pt x="7642" y="19609"/>
                      <a:pt x="3635" y="16559"/>
                    </a:cubicBezTo>
                    <a:close/>
                  </a:path>
                </a:pathLst>
              </a:custGeom>
              <a:grpFill/>
              <a:ln w="5978" cap="flat">
                <a:noFill/>
                <a:prstDash val="solid"/>
                <a:miter/>
              </a:ln>
            </p:spPr>
            <p:txBody>
              <a:bodyPr rtlCol="0" anchor="ctr"/>
              <a:lstStyle/>
              <a:p>
                <a:endParaRPr lang="en-GB"/>
              </a:p>
            </p:txBody>
          </p:sp>
          <p:sp>
            <p:nvSpPr>
              <p:cNvPr id="2658" name="Vrije vorm: vorm 2657">
                <a:extLst>
                  <a:ext uri="{FF2B5EF4-FFF2-40B4-BE49-F238E27FC236}">
                    <a16:creationId xmlns:a16="http://schemas.microsoft.com/office/drawing/2014/main" id="{6CFCB1E8-A77A-4B0F-92CE-CEEBE05645D7}"/>
                  </a:ext>
                </a:extLst>
              </p:cNvPr>
              <p:cNvSpPr/>
              <p:nvPr/>
            </p:nvSpPr>
            <p:spPr>
              <a:xfrm>
                <a:off x="4691413" y="2373258"/>
                <a:ext cx="18369" cy="18465"/>
              </a:xfrm>
              <a:custGeom>
                <a:avLst/>
                <a:gdLst>
                  <a:gd name="connsiteX0" fmla="*/ 3653 w 18369"/>
                  <a:gd name="connsiteY0" fmla="*/ 16559 h 18465"/>
                  <a:gd name="connsiteX1" fmla="*/ 16511 w 18369"/>
                  <a:gd name="connsiteY1" fmla="*/ 14824 h 18465"/>
                  <a:gd name="connsiteX2" fmla="*/ 14717 w 18369"/>
                  <a:gd name="connsiteY2" fmla="*/ 1906 h 18465"/>
                  <a:gd name="connsiteX3" fmla="*/ 1859 w 18369"/>
                  <a:gd name="connsiteY3" fmla="*/ 3641 h 18465"/>
                  <a:gd name="connsiteX4" fmla="*/ 3653 w 18369"/>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65">
                    <a:moveTo>
                      <a:pt x="3653" y="16559"/>
                    </a:moveTo>
                    <a:cubicBezTo>
                      <a:pt x="7660" y="19669"/>
                      <a:pt x="13461" y="18891"/>
                      <a:pt x="16511" y="14824"/>
                    </a:cubicBezTo>
                    <a:cubicBezTo>
                      <a:pt x="19561" y="10758"/>
                      <a:pt x="18784" y="5016"/>
                      <a:pt x="14717" y="1906"/>
                    </a:cubicBezTo>
                    <a:cubicBezTo>
                      <a:pt x="10650" y="-1204"/>
                      <a:pt x="4908" y="-426"/>
                      <a:pt x="1859" y="3641"/>
                    </a:cubicBezTo>
                    <a:cubicBezTo>
                      <a:pt x="-1192" y="7648"/>
                      <a:pt x="-414" y="13449"/>
                      <a:pt x="3653" y="16559"/>
                    </a:cubicBezTo>
                    <a:close/>
                  </a:path>
                </a:pathLst>
              </a:custGeom>
              <a:grpFill/>
              <a:ln w="5978" cap="flat">
                <a:noFill/>
                <a:prstDash val="solid"/>
                <a:miter/>
              </a:ln>
            </p:spPr>
            <p:txBody>
              <a:bodyPr rtlCol="0" anchor="ctr"/>
              <a:lstStyle/>
              <a:p>
                <a:endParaRPr lang="en-GB"/>
              </a:p>
            </p:txBody>
          </p:sp>
        </p:grpSp>
        <p:grpSp>
          <p:nvGrpSpPr>
            <p:cNvPr id="915" name="Graphic 3">
              <a:extLst>
                <a:ext uri="{FF2B5EF4-FFF2-40B4-BE49-F238E27FC236}">
                  <a16:creationId xmlns:a16="http://schemas.microsoft.com/office/drawing/2014/main" id="{8518EB33-B794-4478-9610-5CFB96621B66}"/>
                </a:ext>
              </a:extLst>
            </p:cNvPr>
            <p:cNvGrpSpPr/>
            <p:nvPr/>
          </p:nvGrpSpPr>
          <p:grpSpPr>
            <a:xfrm>
              <a:off x="5532519" y="5017213"/>
              <a:ext cx="40086" cy="89781"/>
              <a:chOff x="5532519" y="5017213"/>
              <a:chExt cx="40086" cy="89781"/>
            </a:xfrm>
            <a:grpFill/>
          </p:grpSpPr>
          <p:sp>
            <p:nvSpPr>
              <p:cNvPr id="2653" name="Vrije vorm: vorm 2652">
                <a:extLst>
                  <a:ext uri="{FF2B5EF4-FFF2-40B4-BE49-F238E27FC236}">
                    <a16:creationId xmlns:a16="http://schemas.microsoft.com/office/drawing/2014/main" id="{FB5FDA7B-3BFA-4BF9-8CF3-9411E8852CDE}"/>
                  </a:ext>
                </a:extLst>
              </p:cNvPr>
              <p:cNvSpPr/>
              <p:nvPr/>
            </p:nvSpPr>
            <p:spPr>
              <a:xfrm>
                <a:off x="5540022" y="5025521"/>
                <a:ext cx="24999" cy="73144"/>
              </a:xfrm>
              <a:custGeom>
                <a:avLst/>
                <a:gdLst>
                  <a:gd name="connsiteX0" fmla="*/ 24999 w 24999"/>
                  <a:gd name="connsiteY0" fmla="*/ 897 h 73144"/>
                  <a:gd name="connsiteX1" fmla="*/ 2930 w 24999"/>
                  <a:gd name="connsiteY1" fmla="*/ 73144 h 73144"/>
                  <a:gd name="connsiteX2" fmla="*/ 0 w 24999"/>
                  <a:gd name="connsiteY2" fmla="*/ 72247 h 73144"/>
                  <a:gd name="connsiteX3" fmla="*/ 22129 w 24999"/>
                  <a:gd name="connsiteY3" fmla="*/ 0 h 73144"/>
                </a:gdLst>
                <a:ahLst/>
                <a:cxnLst>
                  <a:cxn ang="0">
                    <a:pos x="connsiteX0" y="connsiteY0"/>
                  </a:cxn>
                  <a:cxn ang="0">
                    <a:pos x="connsiteX1" y="connsiteY1"/>
                  </a:cxn>
                  <a:cxn ang="0">
                    <a:pos x="connsiteX2" y="connsiteY2"/>
                  </a:cxn>
                  <a:cxn ang="0">
                    <a:pos x="connsiteX3" y="connsiteY3"/>
                  </a:cxn>
                </a:cxnLst>
                <a:rect l="l" t="t" r="r" b="b"/>
                <a:pathLst>
                  <a:path w="24999" h="73144">
                    <a:moveTo>
                      <a:pt x="24999" y="897"/>
                    </a:moveTo>
                    <a:lnTo>
                      <a:pt x="2930" y="73144"/>
                    </a:lnTo>
                    <a:lnTo>
                      <a:pt x="0" y="72247"/>
                    </a:lnTo>
                    <a:lnTo>
                      <a:pt x="22129" y="0"/>
                    </a:lnTo>
                    <a:close/>
                  </a:path>
                </a:pathLst>
              </a:custGeom>
              <a:grpFill/>
              <a:ln w="5978" cap="flat">
                <a:noFill/>
                <a:prstDash val="solid"/>
                <a:miter/>
              </a:ln>
            </p:spPr>
            <p:txBody>
              <a:bodyPr rtlCol="0" anchor="ctr"/>
              <a:lstStyle/>
              <a:p>
                <a:endParaRPr lang="en-GB"/>
              </a:p>
            </p:txBody>
          </p:sp>
          <p:sp>
            <p:nvSpPr>
              <p:cNvPr id="2654" name="Vrije vorm: vorm 2653">
                <a:extLst>
                  <a:ext uri="{FF2B5EF4-FFF2-40B4-BE49-F238E27FC236}">
                    <a16:creationId xmlns:a16="http://schemas.microsoft.com/office/drawing/2014/main" id="{628E5708-FEB1-46A2-976D-1E9C787A75DE}"/>
                  </a:ext>
                </a:extLst>
              </p:cNvPr>
              <p:cNvSpPr/>
              <p:nvPr/>
            </p:nvSpPr>
            <p:spPr>
              <a:xfrm>
                <a:off x="5532519" y="5088541"/>
                <a:ext cx="18294" cy="18453"/>
              </a:xfrm>
              <a:custGeom>
                <a:avLst/>
                <a:gdLst>
                  <a:gd name="connsiteX0" fmla="*/ 17909 w 18294"/>
                  <a:gd name="connsiteY0" fmla="*/ 11978 h 18453"/>
                  <a:gd name="connsiteX1" fmla="*/ 6486 w 18294"/>
                  <a:gd name="connsiteY1" fmla="*/ 18019 h 18453"/>
                  <a:gd name="connsiteX2" fmla="*/ 386 w 18294"/>
                  <a:gd name="connsiteY2" fmla="*/ 6476 h 18453"/>
                  <a:gd name="connsiteX3" fmla="*/ 11809 w 18294"/>
                  <a:gd name="connsiteY3" fmla="*/ 435 h 18453"/>
                  <a:gd name="connsiteX4" fmla="*/ 17909 w 18294"/>
                  <a:gd name="connsiteY4" fmla="*/ 1197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53">
                    <a:moveTo>
                      <a:pt x="17909" y="11978"/>
                    </a:moveTo>
                    <a:cubicBezTo>
                      <a:pt x="16414" y="16822"/>
                      <a:pt x="11270" y="19574"/>
                      <a:pt x="6486" y="18019"/>
                    </a:cubicBezTo>
                    <a:cubicBezTo>
                      <a:pt x="1642" y="16523"/>
                      <a:pt x="-1050" y="11320"/>
                      <a:pt x="386" y="6476"/>
                    </a:cubicBezTo>
                    <a:cubicBezTo>
                      <a:pt x="1881" y="1631"/>
                      <a:pt x="7024" y="-1120"/>
                      <a:pt x="11809" y="435"/>
                    </a:cubicBezTo>
                    <a:cubicBezTo>
                      <a:pt x="16653" y="1930"/>
                      <a:pt x="19345" y="7134"/>
                      <a:pt x="17909" y="11978"/>
                    </a:cubicBezTo>
                    <a:close/>
                  </a:path>
                </a:pathLst>
              </a:custGeom>
              <a:grpFill/>
              <a:ln w="5978" cap="flat">
                <a:noFill/>
                <a:prstDash val="solid"/>
                <a:miter/>
              </a:ln>
            </p:spPr>
            <p:txBody>
              <a:bodyPr rtlCol="0" anchor="ctr"/>
              <a:lstStyle/>
              <a:p>
                <a:endParaRPr lang="en-GB"/>
              </a:p>
            </p:txBody>
          </p:sp>
          <p:sp>
            <p:nvSpPr>
              <p:cNvPr id="2655" name="Vrije vorm: vorm 2654">
                <a:extLst>
                  <a:ext uri="{FF2B5EF4-FFF2-40B4-BE49-F238E27FC236}">
                    <a16:creationId xmlns:a16="http://schemas.microsoft.com/office/drawing/2014/main" id="{84B08213-DCAA-4F44-BDA8-EDB6F4AD45BC}"/>
                  </a:ext>
                </a:extLst>
              </p:cNvPr>
              <p:cNvSpPr/>
              <p:nvPr/>
            </p:nvSpPr>
            <p:spPr>
              <a:xfrm>
                <a:off x="5554267" y="5017213"/>
                <a:ext cx="18338" cy="18409"/>
              </a:xfrm>
              <a:custGeom>
                <a:avLst/>
                <a:gdLst>
                  <a:gd name="connsiteX0" fmla="*/ 17931 w 18338"/>
                  <a:gd name="connsiteY0" fmla="*/ 11956 h 18409"/>
                  <a:gd name="connsiteX1" fmla="*/ 11830 w 18338"/>
                  <a:gd name="connsiteY1" fmla="*/ 413 h 18409"/>
                  <a:gd name="connsiteX2" fmla="*/ 407 w 18338"/>
                  <a:gd name="connsiteY2" fmla="*/ 6453 h 18409"/>
                  <a:gd name="connsiteX3" fmla="*/ 6508 w 18338"/>
                  <a:gd name="connsiteY3" fmla="*/ 17996 h 18409"/>
                  <a:gd name="connsiteX4" fmla="*/ 17931 w 18338"/>
                  <a:gd name="connsiteY4" fmla="*/ 11956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9">
                    <a:moveTo>
                      <a:pt x="17931" y="11956"/>
                    </a:moveTo>
                    <a:cubicBezTo>
                      <a:pt x="19426" y="7111"/>
                      <a:pt x="16675" y="1908"/>
                      <a:pt x="11830" y="413"/>
                    </a:cubicBezTo>
                    <a:cubicBezTo>
                      <a:pt x="6986" y="-1082"/>
                      <a:pt x="1843" y="1609"/>
                      <a:pt x="407" y="6453"/>
                    </a:cubicBezTo>
                    <a:cubicBezTo>
                      <a:pt x="-1088" y="11298"/>
                      <a:pt x="1664" y="16501"/>
                      <a:pt x="6508" y="17996"/>
                    </a:cubicBezTo>
                    <a:cubicBezTo>
                      <a:pt x="11352" y="19491"/>
                      <a:pt x="16436" y="16800"/>
                      <a:pt x="17931" y="11956"/>
                    </a:cubicBezTo>
                    <a:close/>
                  </a:path>
                </a:pathLst>
              </a:custGeom>
              <a:grpFill/>
              <a:ln w="5978" cap="flat">
                <a:noFill/>
                <a:prstDash val="solid"/>
                <a:miter/>
              </a:ln>
            </p:spPr>
            <p:txBody>
              <a:bodyPr rtlCol="0" anchor="ctr"/>
              <a:lstStyle/>
              <a:p>
                <a:endParaRPr lang="en-GB"/>
              </a:p>
            </p:txBody>
          </p:sp>
        </p:grpSp>
        <p:grpSp>
          <p:nvGrpSpPr>
            <p:cNvPr id="916" name="Graphic 3">
              <a:extLst>
                <a:ext uri="{FF2B5EF4-FFF2-40B4-BE49-F238E27FC236}">
                  <a16:creationId xmlns:a16="http://schemas.microsoft.com/office/drawing/2014/main" id="{8822C2D7-0B95-46AF-952F-E0A7DA7C06CC}"/>
                </a:ext>
              </a:extLst>
            </p:cNvPr>
            <p:cNvGrpSpPr/>
            <p:nvPr/>
          </p:nvGrpSpPr>
          <p:grpSpPr>
            <a:xfrm>
              <a:off x="5738683" y="5618371"/>
              <a:ext cx="38374" cy="172402"/>
              <a:chOff x="5738683" y="5618371"/>
              <a:chExt cx="38374" cy="172402"/>
            </a:xfrm>
            <a:grpFill/>
          </p:grpSpPr>
          <p:sp>
            <p:nvSpPr>
              <p:cNvPr id="2650" name="Vrije vorm: vorm 2649">
                <a:extLst>
                  <a:ext uri="{FF2B5EF4-FFF2-40B4-BE49-F238E27FC236}">
                    <a16:creationId xmlns:a16="http://schemas.microsoft.com/office/drawing/2014/main" id="{A1DB2780-3539-4D0D-B1F2-2C6E4FC158B9}"/>
                  </a:ext>
                </a:extLst>
              </p:cNvPr>
              <p:cNvSpPr/>
              <p:nvPr/>
            </p:nvSpPr>
            <p:spPr>
              <a:xfrm>
                <a:off x="5746297" y="5626882"/>
                <a:ext cx="23145" cy="155319"/>
              </a:xfrm>
              <a:custGeom>
                <a:avLst/>
                <a:gdLst>
                  <a:gd name="connsiteX0" fmla="*/ 23145 w 23145"/>
                  <a:gd name="connsiteY0" fmla="*/ 419 h 155319"/>
                  <a:gd name="connsiteX1" fmla="*/ 2990 w 23145"/>
                  <a:gd name="connsiteY1" fmla="*/ 155319 h 155319"/>
                  <a:gd name="connsiteX2" fmla="*/ 0 w 23145"/>
                  <a:gd name="connsiteY2" fmla="*/ 154901 h 155319"/>
                  <a:gd name="connsiteX3" fmla="*/ 20096 w 23145"/>
                  <a:gd name="connsiteY3" fmla="*/ 0 h 155319"/>
                </a:gdLst>
                <a:ahLst/>
                <a:cxnLst>
                  <a:cxn ang="0">
                    <a:pos x="connsiteX0" y="connsiteY0"/>
                  </a:cxn>
                  <a:cxn ang="0">
                    <a:pos x="connsiteX1" y="connsiteY1"/>
                  </a:cxn>
                  <a:cxn ang="0">
                    <a:pos x="connsiteX2" y="connsiteY2"/>
                  </a:cxn>
                  <a:cxn ang="0">
                    <a:pos x="connsiteX3" y="connsiteY3"/>
                  </a:cxn>
                </a:cxnLst>
                <a:rect l="l" t="t" r="r" b="b"/>
                <a:pathLst>
                  <a:path w="23145" h="155319">
                    <a:moveTo>
                      <a:pt x="23145" y="419"/>
                    </a:moveTo>
                    <a:lnTo>
                      <a:pt x="2990" y="155319"/>
                    </a:lnTo>
                    <a:lnTo>
                      <a:pt x="0" y="154901"/>
                    </a:lnTo>
                    <a:lnTo>
                      <a:pt x="20096" y="0"/>
                    </a:lnTo>
                    <a:close/>
                  </a:path>
                </a:pathLst>
              </a:custGeom>
              <a:grpFill/>
              <a:ln w="5978" cap="flat">
                <a:noFill/>
                <a:prstDash val="solid"/>
                <a:miter/>
              </a:ln>
            </p:spPr>
            <p:txBody>
              <a:bodyPr rtlCol="0" anchor="ctr"/>
              <a:lstStyle/>
              <a:p>
                <a:endParaRPr lang="en-GB"/>
              </a:p>
            </p:txBody>
          </p:sp>
          <p:sp>
            <p:nvSpPr>
              <p:cNvPr id="2651" name="Vrije vorm: vorm 2650">
                <a:extLst>
                  <a:ext uri="{FF2B5EF4-FFF2-40B4-BE49-F238E27FC236}">
                    <a16:creationId xmlns:a16="http://schemas.microsoft.com/office/drawing/2014/main" id="{DC45DEDC-200A-4A23-A0C8-0E9B03B078FB}"/>
                  </a:ext>
                </a:extLst>
              </p:cNvPr>
              <p:cNvSpPr/>
              <p:nvPr/>
            </p:nvSpPr>
            <p:spPr>
              <a:xfrm>
                <a:off x="5738683" y="5772374"/>
                <a:ext cx="18339" cy="18398"/>
              </a:xfrm>
              <a:custGeom>
                <a:avLst/>
                <a:gdLst>
                  <a:gd name="connsiteX0" fmla="*/ 18260 w 18339"/>
                  <a:gd name="connsiteY0" fmla="*/ 10425 h 18398"/>
                  <a:gd name="connsiteX1" fmla="*/ 7973 w 18339"/>
                  <a:gd name="connsiteY1" fmla="*/ 18320 h 18398"/>
                  <a:gd name="connsiteX2" fmla="*/ 79 w 18339"/>
                  <a:gd name="connsiteY2" fmla="*/ 7973 h 18398"/>
                  <a:gd name="connsiteX3" fmla="*/ 10366 w 18339"/>
                  <a:gd name="connsiteY3" fmla="*/ 79 h 18398"/>
                  <a:gd name="connsiteX4" fmla="*/ 18260 w 18339"/>
                  <a:gd name="connsiteY4" fmla="*/ 1042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8260" y="10425"/>
                    </a:moveTo>
                    <a:cubicBezTo>
                      <a:pt x="17602" y="15449"/>
                      <a:pt x="12997" y="18978"/>
                      <a:pt x="7973" y="18320"/>
                    </a:cubicBezTo>
                    <a:cubicBezTo>
                      <a:pt x="2950" y="17662"/>
                      <a:pt x="-579" y="12997"/>
                      <a:pt x="79" y="7973"/>
                    </a:cubicBezTo>
                    <a:cubicBezTo>
                      <a:pt x="737" y="2950"/>
                      <a:pt x="5342" y="-579"/>
                      <a:pt x="10366" y="79"/>
                    </a:cubicBezTo>
                    <a:cubicBezTo>
                      <a:pt x="15390" y="737"/>
                      <a:pt x="18918" y="5342"/>
                      <a:pt x="18260" y="10425"/>
                    </a:cubicBezTo>
                    <a:close/>
                  </a:path>
                </a:pathLst>
              </a:custGeom>
              <a:grpFill/>
              <a:ln w="5978" cap="flat">
                <a:noFill/>
                <a:prstDash val="solid"/>
                <a:miter/>
              </a:ln>
            </p:spPr>
            <p:txBody>
              <a:bodyPr rtlCol="0" anchor="ctr"/>
              <a:lstStyle/>
              <a:p>
                <a:endParaRPr lang="en-GB"/>
              </a:p>
            </p:txBody>
          </p:sp>
          <p:sp>
            <p:nvSpPr>
              <p:cNvPr id="2652" name="Vrije vorm: vorm 2651">
                <a:extLst>
                  <a:ext uri="{FF2B5EF4-FFF2-40B4-BE49-F238E27FC236}">
                    <a16:creationId xmlns:a16="http://schemas.microsoft.com/office/drawing/2014/main" id="{3DCA433D-3433-4C09-AAAF-0599FA2B08DA}"/>
                  </a:ext>
                </a:extLst>
              </p:cNvPr>
              <p:cNvSpPr/>
              <p:nvPr/>
            </p:nvSpPr>
            <p:spPr>
              <a:xfrm>
                <a:off x="5758718" y="5618371"/>
                <a:ext cx="18339" cy="18398"/>
              </a:xfrm>
              <a:custGeom>
                <a:avLst/>
                <a:gdLst>
                  <a:gd name="connsiteX0" fmla="*/ 18260 w 18339"/>
                  <a:gd name="connsiteY0" fmla="*/ 10425 h 18398"/>
                  <a:gd name="connsiteX1" fmla="*/ 10366 w 18339"/>
                  <a:gd name="connsiteY1" fmla="*/ 79 h 18398"/>
                  <a:gd name="connsiteX2" fmla="*/ 79 w 18339"/>
                  <a:gd name="connsiteY2" fmla="*/ 7973 h 18398"/>
                  <a:gd name="connsiteX3" fmla="*/ 7973 w 18339"/>
                  <a:gd name="connsiteY3" fmla="*/ 18320 h 18398"/>
                  <a:gd name="connsiteX4" fmla="*/ 18260 w 18339"/>
                  <a:gd name="connsiteY4" fmla="*/ 1042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8260" y="10425"/>
                    </a:moveTo>
                    <a:cubicBezTo>
                      <a:pt x="18918" y="5402"/>
                      <a:pt x="15390" y="737"/>
                      <a:pt x="10366" y="79"/>
                    </a:cubicBezTo>
                    <a:cubicBezTo>
                      <a:pt x="5342" y="-579"/>
                      <a:pt x="737" y="2950"/>
                      <a:pt x="79" y="7973"/>
                    </a:cubicBezTo>
                    <a:cubicBezTo>
                      <a:pt x="-579" y="12997"/>
                      <a:pt x="2950" y="17662"/>
                      <a:pt x="7973" y="18320"/>
                    </a:cubicBezTo>
                    <a:cubicBezTo>
                      <a:pt x="12997" y="18978"/>
                      <a:pt x="17602" y="15449"/>
                      <a:pt x="18260" y="10425"/>
                    </a:cubicBezTo>
                    <a:close/>
                  </a:path>
                </a:pathLst>
              </a:custGeom>
              <a:grpFill/>
              <a:ln w="5978" cap="flat">
                <a:noFill/>
                <a:prstDash val="solid"/>
                <a:miter/>
              </a:ln>
            </p:spPr>
            <p:txBody>
              <a:bodyPr rtlCol="0" anchor="ctr"/>
              <a:lstStyle/>
              <a:p>
                <a:endParaRPr lang="en-GB"/>
              </a:p>
            </p:txBody>
          </p:sp>
        </p:grpSp>
        <p:grpSp>
          <p:nvGrpSpPr>
            <p:cNvPr id="917" name="Graphic 3">
              <a:extLst>
                <a:ext uri="{FF2B5EF4-FFF2-40B4-BE49-F238E27FC236}">
                  <a16:creationId xmlns:a16="http://schemas.microsoft.com/office/drawing/2014/main" id="{6DE28DA6-F919-4ACA-BA90-AA809EF05691}"/>
                </a:ext>
              </a:extLst>
            </p:cNvPr>
            <p:cNvGrpSpPr/>
            <p:nvPr/>
          </p:nvGrpSpPr>
          <p:grpSpPr>
            <a:xfrm>
              <a:off x="4416801" y="2065629"/>
              <a:ext cx="318577" cy="304865"/>
              <a:chOff x="4416801" y="2065629"/>
              <a:chExt cx="318577" cy="304865"/>
            </a:xfrm>
            <a:grpFill/>
          </p:grpSpPr>
          <p:sp>
            <p:nvSpPr>
              <p:cNvPr id="2647" name="Vrije vorm: vorm 2646">
                <a:extLst>
                  <a:ext uri="{FF2B5EF4-FFF2-40B4-BE49-F238E27FC236}">
                    <a16:creationId xmlns:a16="http://schemas.microsoft.com/office/drawing/2014/main" id="{79F63A8C-4864-4EFA-80B5-844FA3C7B08D}"/>
                  </a:ext>
                </a:extLst>
              </p:cNvPr>
              <p:cNvSpPr/>
              <p:nvPr/>
            </p:nvSpPr>
            <p:spPr>
              <a:xfrm>
                <a:off x="4424617" y="2073377"/>
                <a:ext cx="302983" cy="289347"/>
              </a:xfrm>
              <a:custGeom>
                <a:avLst/>
                <a:gdLst>
                  <a:gd name="connsiteX0" fmla="*/ 302984 w 302983"/>
                  <a:gd name="connsiteY0" fmla="*/ 287075 h 289347"/>
                  <a:gd name="connsiteX1" fmla="*/ 300890 w 302983"/>
                  <a:gd name="connsiteY1" fmla="*/ 289347 h 289347"/>
                  <a:gd name="connsiteX2" fmla="*/ 0 w 302983"/>
                  <a:gd name="connsiteY2" fmla="*/ 2213 h 289347"/>
                  <a:gd name="connsiteX3" fmla="*/ 2093 w 302983"/>
                  <a:gd name="connsiteY3" fmla="*/ 0 h 289347"/>
                </a:gdLst>
                <a:ahLst/>
                <a:cxnLst>
                  <a:cxn ang="0">
                    <a:pos x="connsiteX0" y="connsiteY0"/>
                  </a:cxn>
                  <a:cxn ang="0">
                    <a:pos x="connsiteX1" y="connsiteY1"/>
                  </a:cxn>
                  <a:cxn ang="0">
                    <a:pos x="connsiteX2" y="connsiteY2"/>
                  </a:cxn>
                  <a:cxn ang="0">
                    <a:pos x="connsiteX3" y="connsiteY3"/>
                  </a:cxn>
                </a:cxnLst>
                <a:rect l="l" t="t" r="r" b="b"/>
                <a:pathLst>
                  <a:path w="302983" h="289347">
                    <a:moveTo>
                      <a:pt x="302984" y="287075"/>
                    </a:moveTo>
                    <a:lnTo>
                      <a:pt x="300890" y="289347"/>
                    </a:lnTo>
                    <a:lnTo>
                      <a:pt x="0" y="2213"/>
                    </a:lnTo>
                    <a:lnTo>
                      <a:pt x="2093" y="0"/>
                    </a:lnTo>
                    <a:close/>
                  </a:path>
                </a:pathLst>
              </a:custGeom>
              <a:grpFill/>
              <a:ln w="5978" cap="flat">
                <a:noFill/>
                <a:prstDash val="solid"/>
                <a:miter/>
              </a:ln>
            </p:spPr>
            <p:txBody>
              <a:bodyPr rtlCol="0" anchor="ctr"/>
              <a:lstStyle/>
              <a:p>
                <a:endParaRPr lang="en-GB"/>
              </a:p>
            </p:txBody>
          </p:sp>
          <p:sp>
            <p:nvSpPr>
              <p:cNvPr id="2648" name="Vrije vorm: vorm 2647">
                <a:extLst>
                  <a:ext uri="{FF2B5EF4-FFF2-40B4-BE49-F238E27FC236}">
                    <a16:creationId xmlns:a16="http://schemas.microsoft.com/office/drawing/2014/main" id="{6DC6224B-FDF4-4662-8A30-B443A71A1ED2}"/>
                  </a:ext>
                </a:extLst>
              </p:cNvPr>
              <p:cNvSpPr/>
              <p:nvPr/>
            </p:nvSpPr>
            <p:spPr>
              <a:xfrm>
                <a:off x="4717012" y="2352046"/>
                <a:ext cx="18366" cy="18448"/>
              </a:xfrm>
              <a:custGeom>
                <a:avLst/>
                <a:gdLst>
                  <a:gd name="connsiteX0" fmla="*/ 15493 w 18366"/>
                  <a:gd name="connsiteY0" fmla="*/ 2545 h 18448"/>
                  <a:gd name="connsiteX1" fmla="*/ 15852 w 18366"/>
                  <a:gd name="connsiteY1" fmla="*/ 15583 h 18448"/>
                  <a:gd name="connsiteX2" fmla="*/ 2874 w 18366"/>
                  <a:gd name="connsiteY2" fmla="*/ 15882 h 18448"/>
                  <a:gd name="connsiteX3" fmla="*/ 2515 w 18366"/>
                  <a:gd name="connsiteY3" fmla="*/ 2844 h 18448"/>
                  <a:gd name="connsiteX4" fmla="*/ 15493 w 18366"/>
                  <a:gd name="connsiteY4" fmla="*/ 2545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48">
                    <a:moveTo>
                      <a:pt x="15493" y="2545"/>
                    </a:moveTo>
                    <a:cubicBezTo>
                      <a:pt x="19201" y="6074"/>
                      <a:pt x="19321" y="11875"/>
                      <a:pt x="15852" y="15583"/>
                    </a:cubicBezTo>
                    <a:cubicBezTo>
                      <a:pt x="12383" y="19291"/>
                      <a:pt x="6582" y="19410"/>
                      <a:pt x="2874" y="15882"/>
                    </a:cubicBezTo>
                    <a:cubicBezTo>
                      <a:pt x="-834" y="12353"/>
                      <a:pt x="-954" y="6552"/>
                      <a:pt x="2515" y="2844"/>
                    </a:cubicBezTo>
                    <a:cubicBezTo>
                      <a:pt x="5984" y="-804"/>
                      <a:pt x="11785" y="-984"/>
                      <a:pt x="15493" y="2545"/>
                    </a:cubicBezTo>
                    <a:close/>
                  </a:path>
                </a:pathLst>
              </a:custGeom>
              <a:grpFill/>
              <a:ln w="5978" cap="flat">
                <a:noFill/>
                <a:prstDash val="solid"/>
                <a:miter/>
              </a:ln>
            </p:spPr>
            <p:txBody>
              <a:bodyPr rtlCol="0" anchor="ctr"/>
              <a:lstStyle/>
              <a:p>
                <a:endParaRPr lang="en-GB"/>
              </a:p>
            </p:txBody>
          </p:sp>
          <p:sp>
            <p:nvSpPr>
              <p:cNvPr id="2649" name="Vrije vorm: vorm 2648">
                <a:extLst>
                  <a:ext uri="{FF2B5EF4-FFF2-40B4-BE49-F238E27FC236}">
                    <a16:creationId xmlns:a16="http://schemas.microsoft.com/office/drawing/2014/main" id="{F0FBEDC1-25F1-4545-ABCB-867FF2AA734F}"/>
                  </a:ext>
                </a:extLst>
              </p:cNvPr>
              <p:cNvSpPr/>
              <p:nvPr/>
            </p:nvSpPr>
            <p:spPr>
              <a:xfrm>
                <a:off x="4416801" y="2065629"/>
                <a:ext cx="18368" cy="18426"/>
              </a:xfrm>
              <a:custGeom>
                <a:avLst/>
                <a:gdLst>
                  <a:gd name="connsiteX0" fmla="*/ 15472 w 18368"/>
                  <a:gd name="connsiteY0" fmla="*/ 2545 h 18426"/>
                  <a:gd name="connsiteX1" fmla="*/ 2493 w 18368"/>
                  <a:gd name="connsiteY1" fmla="*/ 2844 h 18426"/>
                  <a:gd name="connsiteX2" fmla="*/ 2852 w 18368"/>
                  <a:gd name="connsiteY2" fmla="*/ 15882 h 18426"/>
                  <a:gd name="connsiteX3" fmla="*/ 15830 w 18368"/>
                  <a:gd name="connsiteY3" fmla="*/ 15583 h 18426"/>
                  <a:gd name="connsiteX4" fmla="*/ 15472 w 18368"/>
                  <a:gd name="connsiteY4" fmla="*/ 254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6">
                    <a:moveTo>
                      <a:pt x="15472" y="2545"/>
                    </a:moveTo>
                    <a:cubicBezTo>
                      <a:pt x="11823" y="-984"/>
                      <a:pt x="5962" y="-804"/>
                      <a:pt x="2493" y="2844"/>
                    </a:cubicBezTo>
                    <a:cubicBezTo>
                      <a:pt x="-975" y="6552"/>
                      <a:pt x="-796" y="12353"/>
                      <a:pt x="2852" y="15882"/>
                    </a:cubicBezTo>
                    <a:cubicBezTo>
                      <a:pt x="6560" y="19410"/>
                      <a:pt x="12361" y="19231"/>
                      <a:pt x="15830" y="15583"/>
                    </a:cubicBezTo>
                    <a:cubicBezTo>
                      <a:pt x="19359" y="11875"/>
                      <a:pt x="19180" y="6014"/>
                      <a:pt x="15472" y="2545"/>
                    </a:cubicBezTo>
                    <a:close/>
                  </a:path>
                </a:pathLst>
              </a:custGeom>
              <a:grpFill/>
              <a:ln w="5978" cap="flat">
                <a:noFill/>
                <a:prstDash val="solid"/>
                <a:miter/>
              </a:ln>
            </p:spPr>
            <p:txBody>
              <a:bodyPr rtlCol="0" anchor="ctr"/>
              <a:lstStyle/>
              <a:p>
                <a:endParaRPr lang="en-GB"/>
              </a:p>
            </p:txBody>
          </p:sp>
        </p:grpSp>
        <p:grpSp>
          <p:nvGrpSpPr>
            <p:cNvPr id="918" name="Graphic 3">
              <a:extLst>
                <a:ext uri="{FF2B5EF4-FFF2-40B4-BE49-F238E27FC236}">
                  <a16:creationId xmlns:a16="http://schemas.microsoft.com/office/drawing/2014/main" id="{E391D061-FD7E-43B5-9C82-57B0ABB3F3D7}"/>
                </a:ext>
              </a:extLst>
            </p:cNvPr>
            <p:cNvGrpSpPr/>
            <p:nvPr/>
          </p:nvGrpSpPr>
          <p:grpSpPr>
            <a:xfrm>
              <a:off x="4521044" y="2197566"/>
              <a:ext cx="136384" cy="112139"/>
              <a:chOff x="4521044" y="2197566"/>
              <a:chExt cx="136384" cy="112139"/>
            </a:xfrm>
            <a:grpFill/>
          </p:grpSpPr>
          <p:sp>
            <p:nvSpPr>
              <p:cNvPr id="2644" name="Vrije vorm: vorm 2643">
                <a:extLst>
                  <a:ext uri="{FF2B5EF4-FFF2-40B4-BE49-F238E27FC236}">
                    <a16:creationId xmlns:a16="http://schemas.microsoft.com/office/drawing/2014/main" id="{0CD1E776-5EC2-4171-8966-0B18D202A0E0}"/>
                  </a:ext>
                </a:extLst>
              </p:cNvPr>
              <p:cNvSpPr/>
              <p:nvPr/>
            </p:nvSpPr>
            <p:spPr>
              <a:xfrm>
                <a:off x="4528921" y="2205312"/>
                <a:ext cx="120631" cy="96648"/>
              </a:xfrm>
              <a:custGeom>
                <a:avLst/>
                <a:gdLst>
                  <a:gd name="connsiteX0" fmla="*/ 120631 w 120631"/>
                  <a:gd name="connsiteY0" fmla="*/ 94256 h 96648"/>
                  <a:gd name="connsiteX1" fmla="*/ 118777 w 120631"/>
                  <a:gd name="connsiteY1" fmla="*/ 96648 h 96648"/>
                  <a:gd name="connsiteX2" fmla="*/ 0 w 120631"/>
                  <a:gd name="connsiteY2" fmla="*/ 2392 h 96648"/>
                  <a:gd name="connsiteX3" fmla="*/ 1854 w 120631"/>
                  <a:gd name="connsiteY3" fmla="*/ 0 h 96648"/>
                </a:gdLst>
                <a:ahLst/>
                <a:cxnLst>
                  <a:cxn ang="0">
                    <a:pos x="connsiteX0" y="connsiteY0"/>
                  </a:cxn>
                  <a:cxn ang="0">
                    <a:pos x="connsiteX1" y="connsiteY1"/>
                  </a:cxn>
                  <a:cxn ang="0">
                    <a:pos x="connsiteX2" y="connsiteY2"/>
                  </a:cxn>
                  <a:cxn ang="0">
                    <a:pos x="connsiteX3" y="connsiteY3"/>
                  </a:cxn>
                </a:cxnLst>
                <a:rect l="l" t="t" r="r" b="b"/>
                <a:pathLst>
                  <a:path w="120631" h="96648">
                    <a:moveTo>
                      <a:pt x="120631" y="94256"/>
                    </a:moveTo>
                    <a:lnTo>
                      <a:pt x="118777" y="96648"/>
                    </a:lnTo>
                    <a:lnTo>
                      <a:pt x="0" y="2392"/>
                    </a:lnTo>
                    <a:lnTo>
                      <a:pt x="1854" y="0"/>
                    </a:lnTo>
                    <a:close/>
                  </a:path>
                </a:pathLst>
              </a:custGeom>
              <a:grpFill/>
              <a:ln w="5978" cap="flat">
                <a:noFill/>
                <a:prstDash val="solid"/>
                <a:miter/>
              </a:ln>
            </p:spPr>
            <p:txBody>
              <a:bodyPr rtlCol="0" anchor="ctr"/>
              <a:lstStyle/>
              <a:p>
                <a:endParaRPr lang="en-GB"/>
              </a:p>
            </p:txBody>
          </p:sp>
          <p:sp>
            <p:nvSpPr>
              <p:cNvPr id="2645" name="Vrije vorm: vorm 2644">
                <a:extLst>
                  <a:ext uri="{FF2B5EF4-FFF2-40B4-BE49-F238E27FC236}">
                    <a16:creationId xmlns:a16="http://schemas.microsoft.com/office/drawing/2014/main" id="{B13ABD8D-76A5-45CD-BE50-D679D016A474}"/>
                  </a:ext>
                </a:extLst>
              </p:cNvPr>
              <p:cNvSpPr/>
              <p:nvPr/>
            </p:nvSpPr>
            <p:spPr>
              <a:xfrm>
                <a:off x="4521044" y="2197566"/>
                <a:ext cx="18324" cy="18421"/>
              </a:xfrm>
              <a:custGeom>
                <a:avLst/>
                <a:gdLst>
                  <a:gd name="connsiteX0" fmla="*/ 3511 w 18324"/>
                  <a:gd name="connsiteY0" fmla="*/ 16418 h 18421"/>
                  <a:gd name="connsiteX1" fmla="*/ 1956 w 18324"/>
                  <a:gd name="connsiteY1" fmla="*/ 3499 h 18421"/>
                  <a:gd name="connsiteX2" fmla="*/ 14814 w 18324"/>
                  <a:gd name="connsiteY2" fmla="*/ 2004 h 18421"/>
                  <a:gd name="connsiteX3" fmla="*/ 16369 w 18324"/>
                  <a:gd name="connsiteY3" fmla="*/ 14922 h 18421"/>
                  <a:gd name="connsiteX4" fmla="*/ 3511 w 18324"/>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1">
                    <a:moveTo>
                      <a:pt x="3511" y="16418"/>
                    </a:moveTo>
                    <a:cubicBezTo>
                      <a:pt x="-496" y="13248"/>
                      <a:pt x="-1154" y="7446"/>
                      <a:pt x="1956" y="3499"/>
                    </a:cubicBezTo>
                    <a:cubicBezTo>
                      <a:pt x="5066" y="-508"/>
                      <a:pt x="10867" y="-1166"/>
                      <a:pt x="14814" y="2004"/>
                    </a:cubicBezTo>
                    <a:cubicBezTo>
                      <a:pt x="18821" y="5174"/>
                      <a:pt x="19479" y="10975"/>
                      <a:pt x="16369" y="14922"/>
                    </a:cubicBezTo>
                    <a:cubicBezTo>
                      <a:pt x="13259" y="18930"/>
                      <a:pt x="7518" y="19587"/>
                      <a:pt x="3511" y="16418"/>
                    </a:cubicBezTo>
                    <a:close/>
                  </a:path>
                </a:pathLst>
              </a:custGeom>
              <a:grpFill/>
              <a:ln w="5978" cap="flat">
                <a:noFill/>
                <a:prstDash val="solid"/>
                <a:miter/>
              </a:ln>
            </p:spPr>
            <p:txBody>
              <a:bodyPr rtlCol="0" anchor="ctr"/>
              <a:lstStyle/>
              <a:p>
                <a:endParaRPr lang="en-GB"/>
              </a:p>
            </p:txBody>
          </p:sp>
          <p:sp>
            <p:nvSpPr>
              <p:cNvPr id="2646" name="Vrije vorm: vorm 2645">
                <a:extLst>
                  <a:ext uri="{FF2B5EF4-FFF2-40B4-BE49-F238E27FC236}">
                    <a16:creationId xmlns:a16="http://schemas.microsoft.com/office/drawing/2014/main" id="{D665D555-9682-461B-8D58-274725E3BADB}"/>
                  </a:ext>
                </a:extLst>
              </p:cNvPr>
              <p:cNvSpPr/>
              <p:nvPr/>
            </p:nvSpPr>
            <p:spPr>
              <a:xfrm>
                <a:off x="4639104" y="2291284"/>
                <a:ext cx="18324" cy="18421"/>
              </a:xfrm>
              <a:custGeom>
                <a:avLst/>
                <a:gdLst>
                  <a:gd name="connsiteX0" fmla="*/ 3511 w 18324"/>
                  <a:gd name="connsiteY0" fmla="*/ 16418 h 18421"/>
                  <a:gd name="connsiteX1" fmla="*/ 16369 w 18324"/>
                  <a:gd name="connsiteY1" fmla="*/ 14922 h 18421"/>
                  <a:gd name="connsiteX2" fmla="*/ 14814 w 18324"/>
                  <a:gd name="connsiteY2" fmla="*/ 2004 h 18421"/>
                  <a:gd name="connsiteX3" fmla="*/ 1956 w 18324"/>
                  <a:gd name="connsiteY3" fmla="*/ 3499 h 18421"/>
                  <a:gd name="connsiteX4" fmla="*/ 3511 w 18324"/>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21">
                    <a:moveTo>
                      <a:pt x="3511" y="16418"/>
                    </a:moveTo>
                    <a:cubicBezTo>
                      <a:pt x="7518" y="19587"/>
                      <a:pt x="13259" y="18930"/>
                      <a:pt x="16369" y="14922"/>
                    </a:cubicBezTo>
                    <a:cubicBezTo>
                      <a:pt x="19479" y="10915"/>
                      <a:pt x="18821" y="5114"/>
                      <a:pt x="14814" y="2004"/>
                    </a:cubicBezTo>
                    <a:cubicBezTo>
                      <a:pt x="10807" y="-1166"/>
                      <a:pt x="5066" y="-508"/>
                      <a:pt x="1956" y="3499"/>
                    </a:cubicBezTo>
                    <a:cubicBezTo>
                      <a:pt x="-1154" y="7447"/>
                      <a:pt x="-496" y="13248"/>
                      <a:pt x="3511" y="16418"/>
                    </a:cubicBezTo>
                    <a:close/>
                  </a:path>
                </a:pathLst>
              </a:custGeom>
              <a:grpFill/>
              <a:ln w="5978" cap="flat">
                <a:noFill/>
                <a:prstDash val="solid"/>
                <a:miter/>
              </a:ln>
            </p:spPr>
            <p:txBody>
              <a:bodyPr rtlCol="0" anchor="ctr"/>
              <a:lstStyle/>
              <a:p>
                <a:endParaRPr lang="en-GB"/>
              </a:p>
            </p:txBody>
          </p:sp>
        </p:grpSp>
        <p:grpSp>
          <p:nvGrpSpPr>
            <p:cNvPr id="919" name="Graphic 3">
              <a:extLst>
                <a:ext uri="{FF2B5EF4-FFF2-40B4-BE49-F238E27FC236}">
                  <a16:creationId xmlns:a16="http://schemas.microsoft.com/office/drawing/2014/main" id="{287699D2-860F-4806-856C-F920CC164BF6}"/>
                </a:ext>
              </a:extLst>
            </p:cNvPr>
            <p:cNvGrpSpPr/>
            <p:nvPr/>
          </p:nvGrpSpPr>
          <p:grpSpPr>
            <a:xfrm>
              <a:off x="5559942" y="5163775"/>
              <a:ext cx="38527" cy="94615"/>
              <a:chOff x="5559942" y="5163775"/>
              <a:chExt cx="38527" cy="94615"/>
            </a:xfrm>
            <a:grpFill/>
          </p:grpSpPr>
          <p:sp>
            <p:nvSpPr>
              <p:cNvPr id="2641" name="Vrije vorm: vorm 2640">
                <a:extLst>
                  <a:ext uri="{FF2B5EF4-FFF2-40B4-BE49-F238E27FC236}">
                    <a16:creationId xmlns:a16="http://schemas.microsoft.com/office/drawing/2014/main" id="{0451C153-2C58-4B63-8F5E-87254B6C6D48}"/>
                  </a:ext>
                </a:extLst>
              </p:cNvPr>
              <p:cNvSpPr/>
              <p:nvPr/>
            </p:nvSpPr>
            <p:spPr>
              <a:xfrm>
                <a:off x="5567533" y="5172168"/>
                <a:ext cx="23384" cy="77869"/>
              </a:xfrm>
              <a:custGeom>
                <a:avLst/>
                <a:gdLst>
                  <a:gd name="connsiteX0" fmla="*/ 23384 w 23384"/>
                  <a:gd name="connsiteY0" fmla="*/ 778 h 77869"/>
                  <a:gd name="connsiteX1" fmla="*/ 2930 w 23384"/>
                  <a:gd name="connsiteY1" fmla="*/ 77869 h 77869"/>
                  <a:gd name="connsiteX2" fmla="*/ 0 w 23384"/>
                  <a:gd name="connsiteY2" fmla="*/ 77092 h 77869"/>
                  <a:gd name="connsiteX3" fmla="*/ 20394 w 23384"/>
                  <a:gd name="connsiteY3" fmla="*/ 0 h 77869"/>
                </a:gdLst>
                <a:ahLst/>
                <a:cxnLst>
                  <a:cxn ang="0">
                    <a:pos x="connsiteX0" y="connsiteY0"/>
                  </a:cxn>
                  <a:cxn ang="0">
                    <a:pos x="connsiteX1" y="connsiteY1"/>
                  </a:cxn>
                  <a:cxn ang="0">
                    <a:pos x="connsiteX2" y="connsiteY2"/>
                  </a:cxn>
                  <a:cxn ang="0">
                    <a:pos x="connsiteX3" y="connsiteY3"/>
                  </a:cxn>
                </a:cxnLst>
                <a:rect l="l" t="t" r="r" b="b"/>
                <a:pathLst>
                  <a:path w="23384" h="77869">
                    <a:moveTo>
                      <a:pt x="23384" y="778"/>
                    </a:moveTo>
                    <a:lnTo>
                      <a:pt x="2930" y="77869"/>
                    </a:lnTo>
                    <a:lnTo>
                      <a:pt x="0" y="77092"/>
                    </a:lnTo>
                    <a:lnTo>
                      <a:pt x="20394" y="0"/>
                    </a:lnTo>
                    <a:close/>
                  </a:path>
                </a:pathLst>
              </a:custGeom>
              <a:grpFill/>
              <a:ln w="5978" cap="flat">
                <a:noFill/>
                <a:prstDash val="solid"/>
                <a:miter/>
              </a:ln>
            </p:spPr>
            <p:txBody>
              <a:bodyPr rtlCol="0" anchor="ctr"/>
              <a:lstStyle/>
              <a:p>
                <a:endParaRPr lang="en-GB"/>
              </a:p>
            </p:txBody>
          </p:sp>
          <p:sp>
            <p:nvSpPr>
              <p:cNvPr id="2642" name="Vrije vorm: vorm 2641">
                <a:extLst>
                  <a:ext uri="{FF2B5EF4-FFF2-40B4-BE49-F238E27FC236}">
                    <a16:creationId xmlns:a16="http://schemas.microsoft.com/office/drawing/2014/main" id="{CA9F7936-F62C-47C9-B76F-58B9C73F8D04}"/>
                  </a:ext>
                </a:extLst>
              </p:cNvPr>
              <p:cNvSpPr/>
              <p:nvPr/>
            </p:nvSpPr>
            <p:spPr>
              <a:xfrm>
                <a:off x="5559942" y="5239949"/>
                <a:ext cx="18312" cy="18442"/>
              </a:xfrm>
              <a:custGeom>
                <a:avLst/>
                <a:gdLst>
                  <a:gd name="connsiteX0" fmla="*/ 17998 w 18312"/>
                  <a:gd name="connsiteY0" fmla="*/ 11643 h 18442"/>
                  <a:gd name="connsiteX1" fmla="*/ 6814 w 18312"/>
                  <a:gd name="connsiteY1" fmla="*/ 18103 h 18442"/>
                  <a:gd name="connsiteX2" fmla="*/ 294 w 18312"/>
                  <a:gd name="connsiteY2" fmla="*/ 6799 h 18442"/>
                  <a:gd name="connsiteX3" fmla="*/ 11538 w 18312"/>
                  <a:gd name="connsiteY3" fmla="*/ 340 h 18442"/>
                  <a:gd name="connsiteX4" fmla="*/ 17998 w 18312"/>
                  <a:gd name="connsiteY4" fmla="*/ 1164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2">
                    <a:moveTo>
                      <a:pt x="17998" y="11643"/>
                    </a:moveTo>
                    <a:cubicBezTo>
                      <a:pt x="16682" y="16548"/>
                      <a:pt x="11658" y="19478"/>
                      <a:pt x="6814" y="18103"/>
                    </a:cubicBezTo>
                    <a:cubicBezTo>
                      <a:pt x="1909" y="16787"/>
                      <a:pt x="-961" y="11703"/>
                      <a:pt x="294" y="6799"/>
                    </a:cubicBezTo>
                    <a:cubicBezTo>
                      <a:pt x="1610" y="1895"/>
                      <a:pt x="6634" y="-1036"/>
                      <a:pt x="11538" y="340"/>
                    </a:cubicBezTo>
                    <a:cubicBezTo>
                      <a:pt x="16383" y="1656"/>
                      <a:pt x="19313" y="6739"/>
                      <a:pt x="17998" y="11643"/>
                    </a:cubicBezTo>
                    <a:close/>
                  </a:path>
                </a:pathLst>
              </a:custGeom>
              <a:grpFill/>
              <a:ln w="5978" cap="flat">
                <a:noFill/>
                <a:prstDash val="solid"/>
                <a:miter/>
              </a:ln>
            </p:spPr>
            <p:txBody>
              <a:bodyPr rtlCol="0" anchor="ctr"/>
              <a:lstStyle/>
              <a:p>
                <a:endParaRPr lang="en-GB"/>
              </a:p>
            </p:txBody>
          </p:sp>
          <p:sp>
            <p:nvSpPr>
              <p:cNvPr id="2643" name="Vrije vorm: vorm 2642">
                <a:extLst>
                  <a:ext uri="{FF2B5EF4-FFF2-40B4-BE49-F238E27FC236}">
                    <a16:creationId xmlns:a16="http://schemas.microsoft.com/office/drawing/2014/main" id="{4F8E7223-44DA-4849-A4B5-1135DB974286}"/>
                  </a:ext>
                </a:extLst>
              </p:cNvPr>
              <p:cNvSpPr/>
              <p:nvPr/>
            </p:nvSpPr>
            <p:spPr>
              <a:xfrm>
                <a:off x="5580077" y="5163775"/>
                <a:ext cx="18392" cy="18421"/>
              </a:xfrm>
              <a:custGeom>
                <a:avLst/>
                <a:gdLst>
                  <a:gd name="connsiteX0" fmla="*/ 18078 w 18392"/>
                  <a:gd name="connsiteY0" fmla="*/ 11623 h 18421"/>
                  <a:gd name="connsiteX1" fmla="*/ 11559 w 18392"/>
                  <a:gd name="connsiteY1" fmla="*/ 319 h 18421"/>
                  <a:gd name="connsiteX2" fmla="*/ 315 w 18392"/>
                  <a:gd name="connsiteY2" fmla="*/ 6778 h 18421"/>
                  <a:gd name="connsiteX3" fmla="*/ 6834 w 18392"/>
                  <a:gd name="connsiteY3" fmla="*/ 18082 h 18421"/>
                  <a:gd name="connsiteX4" fmla="*/ 18078 w 18392"/>
                  <a:gd name="connsiteY4" fmla="*/ 11623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21">
                    <a:moveTo>
                      <a:pt x="18078" y="11623"/>
                    </a:moveTo>
                    <a:cubicBezTo>
                      <a:pt x="19393" y="6718"/>
                      <a:pt x="16463" y="1635"/>
                      <a:pt x="11559" y="319"/>
                    </a:cubicBezTo>
                    <a:cubicBezTo>
                      <a:pt x="6654" y="-997"/>
                      <a:pt x="1631" y="1874"/>
                      <a:pt x="315" y="6778"/>
                    </a:cubicBezTo>
                    <a:cubicBezTo>
                      <a:pt x="-1001" y="11683"/>
                      <a:pt x="1930" y="16766"/>
                      <a:pt x="6834" y="18082"/>
                    </a:cubicBezTo>
                    <a:cubicBezTo>
                      <a:pt x="11738" y="19457"/>
                      <a:pt x="16762" y="16527"/>
                      <a:pt x="18078" y="11623"/>
                    </a:cubicBezTo>
                    <a:close/>
                  </a:path>
                </a:pathLst>
              </a:custGeom>
              <a:grpFill/>
              <a:ln w="5978" cap="flat">
                <a:noFill/>
                <a:prstDash val="solid"/>
                <a:miter/>
              </a:ln>
            </p:spPr>
            <p:txBody>
              <a:bodyPr rtlCol="0" anchor="ctr"/>
              <a:lstStyle/>
              <a:p>
                <a:endParaRPr lang="en-GB"/>
              </a:p>
            </p:txBody>
          </p:sp>
        </p:grpSp>
        <p:grpSp>
          <p:nvGrpSpPr>
            <p:cNvPr id="920" name="Graphic 3">
              <a:extLst>
                <a:ext uri="{FF2B5EF4-FFF2-40B4-BE49-F238E27FC236}">
                  <a16:creationId xmlns:a16="http://schemas.microsoft.com/office/drawing/2014/main" id="{F2461524-7185-4ECB-982E-2C1EFCBCF6B6}"/>
                </a:ext>
              </a:extLst>
            </p:cNvPr>
            <p:cNvGrpSpPr/>
            <p:nvPr/>
          </p:nvGrpSpPr>
          <p:grpSpPr>
            <a:xfrm>
              <a:off x="5514683" y="5046652"/>
              <a:ext cx="146429" cy="385125"/>
              <a:chOff x="5514683" y="5046652"/>
              <a:chExt cx="146429" cy="385125"/>
            </a:xfrm>
            <a:grpFill/>
          </p:grpSpPr>
          <p:sp>
            <p:nvSpPr>
              <p:cNvPr id="2638" name="Vrije vorm: vorm 2637">
                <a:extLst>
                  <a:ext uri="{FF2B5EF4-FFF2-40B4-BE49-F238E27FC236}">
                    <a16:creationId xmlns:a16="http://schemas.microsoft.com/office/drawing/2014/main" id="{445EF8A5-9B1E-4927-A545-FAE127625E6B}"/>
                  </a:ext>
                </a:extLst>
              </p:cNvPr>
              <p:cNvSpPr/>
              <p:nvPr/>
            </p:nvSpPr>
            <p:spPr>
              <a:xfrm>
                <a:off x="5522259" y="5054886"/>
                <a:ext cx="131276" cy="368591"/>
              </a:xfrm>
              <a:custGeom>
                <a:avLst/>
                <a:gdLst>
                  <a:gd name="connsiteX0" fmla="*/ 131277 w 131276"/>
                  <a:gd name="connsiteY0" fmla="*/ 1017 h 368591"/>
                  <a:gd name="connsiteX1" fmla="*/ 2871 w 131276"/>
                  <a:gd name="connsiteY1" fmla="*/ 368592 h 368591"/>
                  <a:gd name="connsiteX2" fmla="*/ 0 w 131276"/>
                  <a:gd name="connsiteY2" fmla="*/ 367575 h 368591"/>
                  <a:gd name="connsiteX3" fmla="*/ 128406 w 131276"/>
                  <a:gd name="connsiteY3" fmla="*/ 0 h 368591"/>
                </a:gdLst>
                <a:ahLst/>
                <a:cxnLst>
                  <a:cxn ang="0">
                    <a:pos x="connsiteX0" y="connsiteY0"/>
                  </a:cxn>
                  <a:cxn ang="0">
                    <a:pos x="connsiteX1" y="connsiteY1"/>
                  </a:cxn>
                  <a:cxn ang="0">
                    <a:pos x="connsiteX2" y="connsiteY2"/>
                  </a:cxn>
                  <a:cxn ang="0">
                    <a:pos x="connsiteX3" y="connsiteY3"/>
                  </a:cxn>
                </a:cxnLst>
                <a:rect l="l" t="t" r="r" b="b"/>
                <a:pathLst>
                  <a:path w="131276" h="368591">
                    <a:moveTo>
                      <a:pt x="131277" y="1017"/>
                    </a:moveTo>
                    <a:lnTo>
                      <a:pt x="2871" y="368592"/>
                    </a:lnTo>
                    <a:lnTo>
                      <a:pt x="0" y="367575"/>
                    </a:lnTo>
                    <a:lnTo>
                      <a:pt x="128406" y="0"/>
                    </a:lnTo>
                    <a:close/>
                  </a:path>
                </a:pathLst>
              </a:custGeom>
              <a:grpFill/>
              <a:ln w="5978" cap="flat">
                <a:noFill/>
                <a:prstDash val="solid"/>
                <a:miter/>
              </a:ln>
            </p:spPr>
            <p:txBody>
              <a:bodyPr rtlCol="0" anchor="ctr"/>
              <a:lstStyle/>
              <a:p>
                <a:endParaRPr lang="en-GB"/>
              </a:p>
            </p:txBody>
          </p:sp>
          <p:sp>
            <p:nvSpPr>
              <p:cNvPr id="2639" name="Vrije vorm: vorm 2638">
                <a:extLst>
                  <a:ext uri="{FF2B5EF4-FFF2-40B4-BE49-F238E27FC236}">
                    <a16:creationId xmlns:a16="http://schemas.microsoft.com/office/drawing/2014/main" id="{2463AD01-F6A3-419A-AE08-BC1A5079E06B}"/>
                  </a:ext>
                </a:extLst>
              </p:cNvPr>
              <p:cNvSpPr/>
              <p:nvPr/>
            </p:nvSpPr>
            <p:spPr>
              <a:xfrm>
                <a:off x="5642790" y="5046652"/>
                <a:ext cx="18322" cy="18441"/>
              </a:xfrm>
              <a:custGeom>
                <a:avLst/>
                <a:gdLst>
                  <a:gd name="connsiteX0" fmla="*/ 519 w 18322"/>
                  <a:gd name="connsiteY0" fmla="*/ 6141 h 18441"/>
                  <a:gd name="connsiteX1" fmla="*/ 12181 w 18322"/>
                  <a:gd name="connsiteY1" fmla="*/ 519 h 18441"/>
                  <a:gd name="connsiteX2" fmla="*/ 17803 w 18322"/>
                  <a:gd name="connsiteY2" fmla="*/ 12301 h 18441"/>
                  <a:gd name="connsiteX3" fmla="*/ 6141 w 18322"/>
                  <a:gd name="connsiteY3" fmla="*/ 17923 h 18441"/>
                  <a:gd name="connsiteX4" fmla="*/ 519 w 18322"/>
                  <a:gd name="connsiteY4" fmla="*/ 614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41">
                    <a:moveTo>
                      <a:pt x="519" y="6141"/>
                    </a:moveTo>
                    <a:cubicBezTo>
                      <a:pt x="2193" y="1356"/>
                      <a:pt x="7397" y="-1156"/>
                      <a:pt x="12181" y="519"/>
                    </a:cubicBezTo>
                    <a:cubicBezTo>
                      <a:pt x="16966" y="2193"/>
                      <a:pt x="19478" y="7516"/>
                      <a:pt x="17803" y="12301"/>
                    </a:cubicBezTo>
                    <a:cubicBezTo>
                      <a:pt x="16129" y="17086"/>
                      <a:pt x="10925" y="19597"/>
                      <a:pt x="6141" y="17923"/>
                    </a:cubicBezTo>
                    <a:cubicBezTo>
                      <a:pt x="1356" y="16188"/>
                      <a:pt x="-1156" y="10925"/>
                      <a:pt x="519" y="6141"/>
                    </a:cubicBezTo>
                    <a:close/>
                  </a:path>
                </a:pathLst>
              </a:custGeom>
              <a:grpFill/>
              <a:ln w="5978" cap="flat">
                <a:noFill/>
                <a:prstDash val="solid"/>
                <a:miter/>
              </a:ln>
            </p:spPr>
            <p:txBody>
              <a:bodyPr rtlCol="0" anchor="ctr"/>
              <a:lstStyle/>
              <a:p>
                <a:endParaRPr lang="en-GB"/>
              </a:p>
            </p:txBody>
          </p:sp>
          <p:sp>
            <p:nvSpPr>
              <p:cNvPr id="2640" name="Vrije vorm: vorm 2639">
                <a:extLst>
                  <a:ext uri="{FF2B5EF4-FFF2-40B4-BE49-F238E27FC236}">
                    <a16:creationId xmlns:a16="http://schemas.microsoft.com/office/drawing/2014/main" id="{AD46421A-275C-45DD-888D-94B536BB8106}"/>
                  </a:ext>
                </a:extLst>
              </p:cNvPr>
              <p:cNvSpPr/>
              <p:nvPr/>
            </p:nvSpPr>
            <p:spPr>
              <a:xfrm>
                <a:off x="5514683" y="5413307"/>
                <a:ext cx="18321" cy="18471"/>
              </a:xfrm>
              <a:custGeom>
                <a:avLst/>
                <a:gdLst>
                  <a:gd name="connsiteX0" fmla="*/ 519 w 18321"/>
                  <a:gd name="connsiteY0" fmla="*/ 6164 h 18471"/>
                  <a:gd name="connsiteX1" fmla="*/ 6141 w 18321"/>
                  <a:gd name="connsiteY1" fmla="*/ 17946 h 18471"/>
                  <a:gd name="connsiteX2" fmla="*/ 17803 w 18321"/>
                  <a:gd name="connsiteY2" fmla="*/ 12324 h 18471"/>
                  <a:gd name="connsiteX3" fmla="*/ 12181 w 18321"/>
                  <a:gd name="connsiteY3" fmla="*/ 542 h 18471"/>
                  <a:gd name="connsiteX4" fmla="*/ 519 w 18321"/>
                  <a:gd name="connsiteY4" fmla="*/ 6164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71">
                    <a:moveTo>
                      <a:pt x="519" y="6164"/>
                    </a:moveTo>
                    <a:cubicBezTo>
                      <a:pt x="-1156" y="10949"/>
                      <a:pt x="1356" y="16212"/>
                      <a:pt x="6141" y="17946"/>
                    </a:cubicBezTo>
                    <a:cubicBezTo>
                      <a:pt x="10925" y="19621"/>
                      <a:pt x="16129" y="17169"/>
                      <a:pt x="17803" y="12324"/>
                    </a:cubicBezTo>
                    <a:cubicBezTo>
                      <a:pt x="19478" y="7540"/>
                      <a:pt x="16966" y="2277"/>
                      <a:pt x="12181" y="542"/>
                    </a:cubicBezTo>
                    <a:cubicBezTo>
                      <a:pt x="7397" y="-1192"/>
                      <a:pt x="2193" y="1380"/>
                      <a:pt x="519" y="6164"/>
                    </a:cubicBezTo>
                    <a:close/>
                  </a:path>
                </a:pathLst>
              </a:custGeom>
              <a:grpFill/>
              <a:ln w="5978" cap="flat">
                <a:noFill/>
                <a:prstDash val="solid"/>
                <a:miter/>
              </a:ln>
            </p:spPr>
            <p:txBody>
              <a:bodyPr rtlCol="0" anchor="ctr"/>
              <a:lstStyle/>
              <a:p>
                <a:endParaRPr lang="en-GB"/>
              </a:p>
            </p:txBody>
          </p:sp>
        </p:grpSp>
        <p:grpSp>
          <p:nvGrpSpPr>
            <p:cNvPr id="921" name="Graphic 3">
              <a:extLst>
                <a:ext uri="{FF2B5EF4-FFF2-40B4-BE49-F238E27FC236}">
                  <a16:creationId xmlns:a16="http://schemas.microsoft.com/office/drawing/2014/main" id="{A715A699-6114-4873-B751-840CCA2B57A8}"/>
                </a:ext>
              </a:extLst>
            </p:cNvPr>
            <p:cNvGrpSpPr/>
            <p:nvPr/>
          </p:nvGrpSpPr>
          <p:grpSpPr>
            <a:xfrm>
              <a:off x="5587054" y="5209014"/>
              <a:ext cx="70424" cy="249109"/>
              <a:chOff x="5587054" y="5209014"/>
              <a:chExt cx="70424" cy="249109"/>
            </a:xfrm>
            <a:grpFill/>
          </p:grpSpPr>
          <p:sp>
            <p:nvSpPr>
              <p:cNvPr id="2635" name="Vrije vorm: vorm 2634">
                <a:extLst>
                  <a:ext uri="{FF2B5EF4-FFF2-40B4-BE49-F238E27FC236}">
                    <a16:creationId xmlns:a16="http://schemas.microsoft.com/office/drawing/2014/main" id="{4FA37F94-5B29-4FBF-A47C-C93F15F21AC3}"/>
                  </a:ext>
                </a:extLst>
              </p:cNvPr>
              <p:cNvSpPr/>
              <p:nvPr/>
            </p:nvSpPr>
            <p:spPr>
              <a:xfrm>
                <a:off x="5594626" y="5217442"/>
                <a:ext cx="55261" cy="232291"/>
              </a:xfrm>
              <a:custGeom>
                <a:avLst/>
                <a:gdLst>
                  <a:gd name="connsiteX0" fmla="*/ 55262 w 55261"/>
                  <a:gd name="connsiteY0" fmla="*/ 718 h 232291"/>
                  <a:gd name="connsiteX1" fmla="*/ 2990 w 55261"/>
                  <a:gd name="connsiteY1" fmla="*/ 232291 h 232291"/>
                  <a:gd name="connsiteX2" fmla="*/ 0 w 55261"/>
                  <a:gd name="connsiteY2" fmla="*/ 231634 h 232291"/>
                  <a:gd name="connsiteX3" fmla="*/ 52331 w 55261"/>
                  <a:gd name="connsiteY3" fmla="*/ 0 h 232291"/>
                </a:gdLst>
                <a:ahLst/>
                <a:cxnLst>
                  <a:cxn ang="0">
                    <a:pos x="connsiteX0" y="connsiteY0"/>
                  </a:cxn>
                  <a:cxn ang="0">
                    <a:pos x="connsiteX1" y="connsiteY1"/>
                  </a:cxn>
                  <a:cxn ang="0">
                    <a:pos x="connsiteX2" y="connsiteY2"/>
                  </a:cxn>
                  <a:cxn ang="0">
                    <a:pos x="connsiteX3" y="connsiteY3"/>
                  </a:cxn>
                </a:cxnLst>
                <a:rect l="l" t="t" r="r" b="b"/>
                <a:pathLst>
                  <a:path w="55261" h="232291">
                    <a:moveTo>
                      <a:pt x="55262" y="718"/>
                    </a:moveTo>
                    <a:lnTo>
                      <a:pt x="2990" y="232291"/>
                    </a:lnTo>
                    <a:lnTo>
                      <a:pt x="0" y="231634"/>
                    </a:lnTo>
                    <a:lnTo>
                      <a:pt x="52331" y="0"/>
                    </a:lnTo>
                    <a:close/>
                  </a:path>
                </a:pathLst>
              </a:custGeom>
              <a:grpFill/>
              <a:ln w="5978" cap="flat">
                <a:noFill/>
                <a:prstDash val="solid"/>
                <a:miter/>
              </a:ln>
            </p:spPr>
            <p:txBody>
              <a:bodyPr rtlCol="0" anchor="ctr"/>
              <a:lstStyle/>
              <a:p>
                <a:endParaRPr lang="en-GB"/>
              </a:p>
            </p:txBody>
          </p:sp>
          <p:sp>
            <p:nvSpPr>
              <p:cNvPr id="2636" name="Vrije vorm: vorm 2635">
                <a:extLst>
                  <a:ext uri="{FF2B5EF4-FFF2-40B4-BE49-F238E27FC236}">
                    <a16:creationId xmlns:a16="http://schemas.microsoft.com/office/drawing/2014/main" id="{C51753A2-A04A-47F0-9646-EBA6FF62219B}"/>
                  </a:ext>
                </a:extLst>
              </p:cNvPr>
              <p:cNvSpPr/>
              <p:nvPr/>
            </p:nvSpPr>
            <p:spPr>
              <a:xfrm>
                <a:off x="5587054" y="5439669"/>
                <a:ext cx="18332" cy="18454"/>
              </a:xfrm>
              <a:custGeom>
                <a:avLst/>
                <a:gdLst>
                  <a:gd name="connsiteX0" fmla="*/ 18098 w 18332"/>
                  <a:gd name="connsiteY0" fmla="*/ 11321 h 18454"/>
                  <a:gd name="connsiteX1" fmla="*/ 7153 w 18332"/>
                  <a:gd name="connsiteY1" fmla="*/ 18198 h 18454"/>
                  <a:gd name="connsiteX2" fmla="*/ 216 w 18332"/>
                  <a:gd name="connsiteY2" fmla="*/ 7134 h 18454"/>
                  <a:gd name="connsiteX3" fmla="*/ 11161 w 18332"/>
                  <a:gd name="connsiteY3" fmla="*/ 256 h 18454"/>
                  <a:gd name="connsiteX4" fmla="*/ 18098 w 18332"/>
                  <a:gd name="connsiteY4" fmla="*/ 11321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4">
                    <a:moveTo>
                      <a:pt x="18098" y="11321"/>
                    </a:moveTo>
                    <a:cubicBezTo>
                      <a:pt x="16962" y="16284"/>
                      <a:pt x="12058" y="19395"/>
                      <a:pt x="7153" y="18198"/>
                    </a:cubicBezTo>
                    <a:cubicBezTo>
                      <a:pt x="2190" y="17062"/>
                      <a:pt x="-861" y="12098"/>
                      <a:pt x="216" y="7134"/>
                    </a:cubicBezTo>
                    <a:cubicBezTo>
                      <a:pt x="1352" y="2170"/>
                      <a:pt x="6256" y="-940"/>
                      <a:pt x="11161" y="256"/>
                    </a:cubicBezTo>
                    <a:cubicBezTo>
                      <a:pt x="16124" y="1452"/>
                      <a:pt x="19234" y="6417"/>
                      <a:pt x="18098" y="11321"/>
                    </a:cubicBezTo>
                    <a:close/>
                  </a:path>
                </a:pathLst>
              </a:custGeom>
              <a:grpFill/>
              <a:ln w="5978" cap="flat">
                <a:noFill/>
                <a:prstDash val="solid"/>
                <a:miter/>
              </a:ln>
            </p:spPr>
            <p:txBody>
              <a:bodyPr rtlCol="0" anchor="ctr"/>
              <a:lstStyle/>
              <a:p>
                <a:endParaRPr lang="en-GB"/>
              </a:p>
            </p:txBody>
          </p:sp>
          <p:sp>
            <p:nvSpPr>
              <p:cNvPr id="2637" name="Vrije vorm: vorm 2636">
                <a:extLst>
                  <a:ext uri="{FF2B5EF4-FFF2-40B4-BE49-F238E27FC236}">
                    <a16:creationId xmlns:a16="http://schemas.microsoft.com/office/drawing/2014/main" id="{29593EDE-5613-4AFF-8358-AA1DC33A7B21}"/>
                  </a:ext>
                </a:extLst>
              </p:cNvPr>
              <p:cNvSpPr/>
              <p:nvPr/>
            </p:nvSpPr>
            <p:spPr>
              <a:xfrm>
                <a:off x="5639128" y="5209014"/>
                <a:ext cx="18350" cy="18432"/>
              </a:xfrm>
              <a:custGeom>
                <a:avLst/>
                <a:gdLst>
                  <a:gd name="connsiteX0" fmla="*/ 18117 w 18350"/>
                  <a:gd name="connsiteY0" fmla="*/ 11299 h 18432"/>
                  <a:gd name="connsiteX1" fmla="*/ 11179 w 18350"/>
                  <a:gd name="connsiteY1" fmla="*/ 234 h 18432"/>
                  <a:gd name="connsiteX2" fmla="*/ 234 w 18350"/>
                  <a:gd name="connsiteY2" fmla="*/ 7112 h 18432"/>
                  <a:gd name="connsiteX3" fmla="*/ 7172 w 18350"/>
                  <a:gd name="connsiteY3" fmla="*/ 18176 h 18432"/>
                  <a:gd name="connsiteX4" fmla="*/ 18117 w 18350"/>
                  <a:gd name="connsiteY4" fmla="*/ 11299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32">
                    <a:moveTo>
                      <a:pt x="18117" y="11299"/>
                    </a:moveTo>
                    <a:cubicBezTo>
                      <a:pt x="19253" y="6335"/>
                      <a:pt x="16143" y="1371"/>
                      <a:pt x="11179" y="234"/>
                    </a:cubicBezTo>
                    <a:cubicBezTo>
                      <a:pt x="6215" y="-902"/>
                      <a:pt x="1311" y="2208"/>
                      <a:pt x="234" y="7112"/>
                    </a:cubicBezTo>
                    <a:cubicBezTo>
                      <a:pt x="-902" y="12076"/>
                      <a:pt x="2208" y="17040"/>
                      <a:pt x="7172" y="18176"/>
                    </a:cubicBezTo>
                    <a:cubicBezTo>
                      <a:pt x="12136" y="19373"/>
                      <a:pt x="17040" y="16263"/>
                      <a:pt x="18117" y="11299"/>
                    </a:cubicBezTo>
                    <a:close/>
                  </a:path>
                </a:pathLst>
              </a:custGeom>
              <a:grpFill/>
              <a:ln w="5978" cap="flat">
                <a:noFill/>
                <a:prstDash val="solid"/>
                <a:miter/>
              </a:ln>
            </p:spPr>
            <p:txBody>
              <a:bodyPr rtlCol="0" anchor="ctr"/>
              <a:lstStyle/>
              <a:p>
                <a:endParaRPr lang="en-GB"/>
              </a:p>
            </p:txBody>
          </p:sp>
        </p:grpSp>
        <p:grpSp>
          <p:nvGrpSpPr>
            <p:cNvPr id="922" name="Graphic 3">
              <a:extLst>
                <a:ext uri="{FF2B5EF4-FFF2-40B4-BE49-F238E27FC236}">
                  <a16:creationId xmlns:a16="http://schemas.microsoft.com/office/drawing/2014/main" id="{06A7D7DB-822B-4FCC-BFBF-ADF7C7DA3E26}"/>
                </a:ext>
              </a:extLst>
            </p:cNvPr>
            <p:cNvGrpSpPr/>
            <p:nvPr/>
          </p:nvGrpSpPr>
          <p:grpSpPr>
            <a:xfrm>
              <a:off x="5492626" y="5005069"/>
              <a:ext cx="50953" cy="118808"/>
              <a:chOff x="5492626" y="5005069"/>
              <a:chExt cx="50953" cy="118808"/>
            </a:xfrm>
            <a:grpFill/>
          </p:grpSpPr>
          <p:sp>
            <p:nvSpPr>
              <p:cNvPr id="2632" name="Vrije vorm: vorm 2631">
                <a:extLst>
                  <a:ext uri="{FF2B5EF4-FFF2-40B4-BE49-F238E27FC236}">
                    <a16:creationId xmlns:a16="http://schemas.microsoft.com/office/drawing/2014/main" id="{8747BB4E-EE2D-4A55-9FC0-A5FB6E1550BF}"/>
                  </a:ext>
                </a:extLst>
              </p:cNvPr>
              <p:cNvSpPr/>
              <p:nvPr/>
            </p:nvSpPr>
            <p:spPr>
              <a:xfrm>
                <a:off x="5500131" y="5013440"/>
                <a:ext cx="35884" cy="102150"/>
              </a:xfrm>
              <a:custGeom>
                <a:avLst/>
                <a:gdLst>
                  <a:gd name="connsiteX0" fmla="*/ 35884 w 35884"/>
                  <a:gd name="connsiteY0" fmla="*/ 957 h 102150"/>
                  <a:gd name="connsiteX1" fmla="*/ 2930 w 35884"/>
                  <a:gd name="connsiteY1" fmla="*/ 102151 h 102150"/>
                  <a:gd name="connsiteX2" fmla="*/ 0 w 35884"/>
                  <a:gd name="connsiteY2" fmla="*/ 101194 h 102150"/>
                  <a:gd name="connsiteX3" fmla="*/ 33014 w 35884"/>
                  <a:gd name="connsiteY3" fmla="*/ 0 h 102150"/>
                </a:gdLst>
                <a:ahLst/>
                <a:cxnLst>
                  <a:cxn ang="0">
                    <a:pos x="connsiteX0" y="connsiteY0"/>
                  </a:cxn>
                  <a:cxn ang="0">
                    <a:pos x="connsiteX1" y="connsiteY1"/>
                  </a:cxn>
                  <a:cxn ang="0">
                    <a:pos x="connsiteX2" y="connsiteY2"/>
                  </a:cxn>
                  <a:cxn ang="0">
                    <a:pos x="connsiteX3" y="connsiteY3"/>
                  </a:cxn>
                </a:cxnLst>
                <a:rect l="l" t="t" r="r" b="b"/>
                <a:pathLst>
                  <a:path w="35884" h="102150">
                    <a:moveTo>
                      <a:pt x="35884" y="957"/>
                    </a:moveTo>
                    <a:lnTo>
                      <a:pt x="2930" y="102151"/>
                    </a:lnTo>
                    <a:lnTo>
                      <a:pt x="0" y="101194"/>
                    </a:lnTo>
                    <a:lnTo>
                      <a:pt x="33014" y="0"/>
                    </a:lnTo>
                    <a:close/>
                  </a:path>
                </a:pathLst>
              </a:custGeom>
              <a:grpFill/>
              <a:ln w="5978" cap="flat">
                <a:noFill/>
                <a:prstDash val="solid"/>
                <a:miter/>
              </a:ln>
            </p:spPr>
            <p:txBody>
              <a:bodyPr rtlCol="0" anchor="ctr"/>
              <a:lstStyle/>
              <a:p>
                <a:endParaRPr lang="en-GB"/>
              </a:p>
            </p:txBody>
          </p:sp>
          <p:sp>
            <p:nvSpPr>
              <p:cNvPr id="2633" name="Vrije vorm: vorm 2632">
                <a:extLst>
                  <a:ext uri="{FF2B5EF4-FFF2-40B4-BE49-F238E27FC236}">
                    <a16:creationId xmlns:a16="http://schemas.microsoft.com/office/drawing/2014/main" id="{70BDF7B5-907E-4139-BB9A-737537F1B9F6}"/>
                  </a:ext>
                </a:extLst>
              </p:cNvPr>
              <p:cNvSpPr/>
              <p:nvPr/>
            </p:nvSpPr>
            <p:spPr>
              <a:xfrm>
                <a:off x="5492626" y="5105449"/>
                <a:ext cx="18298" cy="18428"/>
              </a:xfrm>
              <a:custGeom>
                <a:avLst/>
                <a:gdLst>
                  <a:gd name="connsiteX0" fmla="*/ 17851 w 18298"/>
                  <a:gd name="connsiteY0" fmla="*/ 12115 h 18428"/>
                  <a:gd name="connsiteX1" fmla="*/ 6308 w 18298"/>
                  <a:gd name="connsiteY1" fmla="*/ 17976 h 18428"/>
                  <a:gd name="connsiteX2" fmla="*/ 447 w 18298"/>
                  <a:gd name="connsiteY2" fmla="*/ 6314 h 18428"/>
                  <a:gd name="connsiteX3" fmla="*/ 11990 w 18298"/>
                  <a:gd name="connsiteY3" fmla="*/ 453 h 18428"/>
                  <a:gd name="connsiteX4" fmla="*/ 17851 w 18298"/>
                  <a:gd name="connsiteY4" fmla="*/ 1211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28">
                    <a:moveTo>
                      <a:pt x="17851" y="12115"/>
                    </a:moveTo>
                    <a:cubicBezTo>
                      <a:pt x="16296" y="16960"/>
                      <a:pt x="11093" y="19531"/>
                      <a:pt x="6308" y="17976"/>
                    </a:cubicBezTo>
                    <a:cubicBezTo>
                      <a:pt x="1524" y="16361"/>
                      <a:pt x="-1108" y="11158"/>
                      <a:pt x="447" y="6314"/>
                    </a:cubicBezTo>
                    <a:cubicBezTo>
                      <a:pt x="2002" y="1469"/>
                      <a:pt x="7205" y="-1102"/>
                      <a:pt x="11990" y="453"/>
                    </a:cubicBezTo>
                    <a:cubicBezTo>
                      <a:pt x="16774" y="2067"/>
                      <a:pt x="19406" y="7270"/>
                      <a:pt x="17851" y="12115"/>
                    </a:cubicBezTo>
                    <a:close/>
                  </a:path>
                </a:pathLst>
              </a:custGeom>
              <a:grpFill/>
              <a:ln w="5978" cap="flat">
                <a:noFill/>
                <a:prstDash val="solid"/>
                <a:miter/>
              </a:ln>
            </p:spPr>
            <p:txBody>
              <a:bodyPr rtlCol="0" anchor="ctr"/>
              <a:lstStyle/>
              <a:p>
                <a:endParaRPr lang="en-GB"/>
              </a:p>
            </p:txBody>
          </p:sp>
          <p:sp>
            <p:nvSpPr>
              <p:cNvPr id="2634" name="Vrije vorm: vorm 2633">
                <a:extLst>
                  <a:ext uri="{FF2B5EF4-FFF2-40B4-BE49-F238E27FC236}">
                    <a16:creationId xmlns:a16="http://schemas.microsoft.com/office/drawing/2014/main" id="{F7DDF95B-DD26-493D-AC84-CA4D936D023C}"/>
                  </a:ext>
                </a:extLst>
              </p:cNvPr>
              <p:cNvSpPr/>
              <p:nvPr/>
            </p:nvSpPr>
            <p:spPr>
              <a:xfrm>
                <a:off x="5525281" y="5005069"/>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8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5" y="2090"/>
                      <a:pt x="11990" y="476"/>
                    </a:cubicBezTo>
                    <a:cubicBezTo>
                      <a:pt x="7205" y="-1139"/>
                      <a:pt x="2002" y="1492"/>
                      <a:pt x="447" y="6337"/>
                    </a:cubicBezTo>
                    <a:cubicBezTo>
                      <a:pt x="-1108" y="11181"/>
                      <a:pt x="1524" y="16384"/>
                      <a:pt x="6308" y="17999"/>
                    </a:cubicBezTo>
                    <a:cubicBezTo>
                      <a:pt x="11093" y="19614"/>
                      <a:pt x="16296" y="16982"/>
                      <a:pt x="17851" y="12138"/>
                    </a:cubicBezTo>
                    <a:close/>
                  </a:path>
                </a:pathLst>
              </a:custGeom>
              <a:grpFill/>
              <a:ln w="5978" cap="flat">
                <a:noFill/>
                <a:prstDash val="solid"/>
                <a:miter/>
              </a:ln>
            </p:spPr>
            <p:txBody>
              <a:bodyPr rtlCol="0" anchor="ctr"/>
              <a:lstStyle/>
              <a:p>
                <a:endParaRPr lang="en-GB"/>
              </a:p>
            </p:txBody>
          </p:sp>
        </p:grpSp>
        <p:grpSp>
          <p:nvGrpSpPr>
            <p:cNvPr id="923" name="Graphic 3">
              <a:extLst>
                <a:ext uri="{FF2B5EF4-FFF2-40B4-BE49-F238E27FC236}">
                  <a16:creationId xmlns:a16="http://schemas.microsoft.com/office/drawing/2014/main" id="{5ADF8263-2243-49B4-BBF8-041FAAC4C29D}"/>
                </a:ext>
              </a:extLst>
            </p:cNvPr>
            <p:cNvGrpSpPr/>
            <p:nvPr/>
          </p:nvGrpSpPr>
          <p:grpSpPr>
            <a:xfrm>
              <a:off x="5490077" y="5037033"/>
              <a:ext cx="141062" cy="340543"/>
              <a:chOff x="5490077" y="5037033"/>
              <a:chExt cx="141062" cy="340543"/>
            </a:xfrm>
            <a:grpFill/>
          </p:grpSpPr>
          <p:sp>
            <p:nvSpPr>
              <p:cNvPr id="2629" name="Vrije vorm: vorm 2628">
                <a:extLst>
                  <a:ext uri="{FF2B5EF4-FFF2-40B4-BE49-F238E27FC236}">
                    <a16:creationId xmlns:a16="http://schemas.microsoft.com/office/drawing/2014/main" id="{30D6BF9F-FE5A-4B4D-9E61-C434B6428F67}"/>
                  </a:ext>
                </a:extLst>
              </p:cNvPr>
              <p:cNvSpPr/>
              <p:nvPr/>
            </p:nvSpPr>
            <p:spPr>
              <a:xfrm>
                <a:off x="5497679" y="5045317"/>
                <a:ext cx="125834" cy="324035"/>
              </a:xfrm>
              <a:custGeom>
                <a:avLst/>
                <a:gdLst>
                  <a:gd name="connsiteX0" fmla="*/ 125834 w 125834"/>
                  <a:gd name="connsiteY0" fmla="*/ 1076 h 324035"/>
                  <a:gd name="connsiteX1" fmla="*/ 2871 w 125834"/>
                  <a:gd name="connsiteY1" fmla="*/ 324035 h 324035"/>
                  <a:gd name="connsiteX2" fmla="*/ 0 w 125834"/>
                  <a:gd name="connsiteY2" fmla="*/ 322959 h 324035"/>
                  <a:gd name="connsiteX3" fmla="*/ 123023 w 125834"/>
                  <a:gd name="connsiteY3" fmla="*/ 0 h 324035"/>
                </a:gdLst>
                <a:ahLst/>
                <a:cxnLst>
                  <a:cxn ang="0">
                    <a:pos x="connsiteX0" y="connsiteY0"/>
                  </a:cxn>
                  <a:cxn ang="0">
                    <a:pos x="connsiteX1" y="connsiteY1"/>
                  </a:cxn>
                  <a:cxn ang="0">
                    <a:pos x="connsiteX2" y="connsiteY2"/>
                  </a:cxn>
                  <a:cxn ang="0">
                    <a:pos x="connsiteX3" y="connsiteY3"/>
                  </a:cxn>
                </a:cxnLst>
                <a:rect l="l" t="t" r="r" b="b"/>
                <a:pathLst>
                  <a:path w="125834" h="324035">
                    <a:moveTo>
                      <a:pt x="125834" y="1076"/>
                    </a:moveTo>
                    <a:lnTo>
                      <a:pt x="2871" y="324035"/>
                    </a:lnTo>
                    <a:lnTo>
                      <a:pt x="0" y="322959"/>
                    </a:lnTo>
                    <a:lnTo>
                      <a:pt x="123023" y="0"/>
                    </a:lnTo>
                    <a:close/>
                  </a:path>
                </a:pathLst>
              </a:custGeom>
              <a:grpFill/>
              <a:ln w="5978" cap="flat">
                <a:noFill/>
                <a:prstDash val="solid"/>
                <a:miter/>
              </a:ln>
            </p:spPr>
            <p:txBody>
              <a:bodyPr rtlCol="0" anchor="ctr"/>
              <a:lstStyle/>
              <a:p>
                <a:endParaRPr lang="en-GB"/>
              </a:p>
            </p:txBody>
          </p:sp>
          <p:sp>
            <p:nvSpPr>
              <p:cNvPr id="2630" name="Vrije vorm: vorm 2629">
                <a:extLst>
                  <a:ext uri="{FF2B5EF4-FFF2-40B4-BE49-F238E27FC236}">
                    <a16:creationId xmlns:a16="http://schemas.microsoft.com/office/drawing/2014/main" id="{5FF267A3-DAF4-43DF-A1FA-DABDB3DE20A7}"/>
                  </a:ext>
                </a:extLst>
              </p:cNvPr>
              <p:cNvSpPr/>
              <p:nvPr/>
            </p:nvSpPr>
            <p:spPr>
              <a:xfrm>
                <a:off x="5612777" y="5037033"/>
                <a:ext cx="18362" cy="18421"/>
              </a:xfrm>
              <a:custGeom>
                <a:avLst/>
                <a:gdLst>
                  <a:gd name="connsiteX0" fmla="*/ 629 w 18362"/>
                  <a:gd name="connsiteY0" fmla="*/ 5892 h 18421"/>
                  <a:gd name="connsiteX1" fmla="*/ 12470 w 18362"/>
                  <a:gd name="connsiteY1" fmla="*/ 629 h 18421"/>
                  <a:gd name="connsiteX2" fmla="*/ 17733 w 18362"/>
                  <a:gd name="connsiteY2" fmla="*/ 12530 h 18421"/>
                  <a:gd name="connsiteX3" fmla="*/ 5892 w 18362"/>
                  <a:gd name="connsiteY3" fmla="*/ 17793 h 18421"/>
                  <a:gd name="connsiteX4" fmla="*/ 629 w 18362"/>
                  <a:gd name="connsiteY4" fmla="*/ 589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1">
                    <a:moveTo>
                      <a:pt x="629" y="5892"/>
                    </a:moveTo>
                    <a:cubicBezTo>
                      <a:pt x="2423" y="1167"/>
                      <a:pt x="7746" y="-1225"/>
                      <a:pt x="12470" y="629"/>
                    </a:cubicBezTo>
                    <a:cubicBezTo>
                      <a:pt x="17195" y="2483"/>
                      <a:pt x="19587" y="7806"/>
                      <a:pt x="17733" y="12530"/>
                    </a:cubicBezTo>
                    <a:cubicBezTo>
                      <a:pt x="15939" y="17255"/>
                      <a:pt x="10616" y="19647"/>
                      <a:pt x="5892" y="17793"/>
                    </a:cubicBezTo>
                    <a:cubicBezTo>
                      <a:pt x="1167" y="15999"/>
                      <a:pt x="-1225" y="10676"/>
                      <a:pt x="629" y="5892"/>
                    </a:cubicBezTo>
                    <a:close/>
                  </a:path>
                </a:pathLst>
              </a:custGeom>
              <a:grpFill/>
              <a:ln w="5978" cap="flat">
                <a:noFill/>
                <a:prstDash val="solid"/>
                <a:miter/>
              </a:ln>
            </p:spPr>
            <p:txBody>
              <a:bodyPr rtlCol="0" anchor="ctr"/>
              <a:lstStyle/>
              <a:p>
                <a:endParaRPr lang="en-GB"/>
              </a:p>
            </p:txBody>
          </p:sp>
          <p:sp>
            <p:nvSpPr>
              <p:cNvPr id="2631" name="Vrije vorm: vorm 2630">
                <a:extLst>
                  <a:ext uri="{FF2B5EF4-FFF2-40B4-BE49-F238E27FC236}">
                    <a16:creationId xmlns:a16="http://schemas.microsoft.com/office/drawing/2014/main" id="{C01FFE88-0B6F-4847-9F2F-193C458B0D0B}"/>
                  </a:ext>
                </a:extLst>
              </p:cNvPr>
              <p:cNvSpPr/>
              <p:nvPr/>
            </p:nvSpPr>
            <p:spPr>
              <a:xfrm>
                <a:off x="5490077" y="5359179"/>
                <a:ext cx="18313" cy="18397"/>
              </a:xfrm>
              <a:custGeom>
                <a:avLst/>
                <a:gdLst>
                  <a:gd name="connsiteX0" fmla="*/ 604 w 18313"/>
                  <a:gd name="connsiteY0" fmla="*/ 5867 h 18397"/>
                  <a:gd name="connsiteX1" fmla="*/ 5867 w 18313"/>
                  <a:gd name="connsiteY1" fmla="*/ 17769 h 18397"/>
                  <a:gd name="connsiteX2" fmla="*/ 17709 w 18313"/>
                  <a:gd name="connsiteY2" fmla="*/ 12506 h 18397"/>
                  <a:gd name="connsiteX3" fmla="*/ 12446 w 18313"/>
                  <a:gd name="connsiteY3" fmla="*/ 604 h 18397"/>
                  <a:gd name="connsiteX4" fmla="*/ 604 w 18313"/>
                  <a:gd name="connsiteY4" fmla="*/ 5867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97">
                    <a:moveTo>
                      <a:pt x="604" y="5867"/>
                    </a:moveTo>
                    <a:cubicBezTo>
                      <a:pt x="-1190" y="10592"/>
                      <a:pt x="1143" y="15975"/>
                      <a:pt x="5867" y="17769"/>
                    </a:cubicBezTo>
                    <a:cubicBezTo>
                      <a:pt x="10592" y="19623"/>
                      <a:pt x="15915" y="17231"/>
                      <a:pt x="17709" y="12506"/>
                    </a:cubicBezTo>
                    <a:cubicBezTo>
                      <a:pt x="19503" y="7781"/>
                      <a:pt x="17171" y="2399"/>
                      <a:pt x="12446" y="604"/>
                    </a:cubicBezTo>
                    <a:cubicBezTo>
                      <a:pt x="7721" y="-1190"/>
                      <a:pt x="2458" y="1142"/>
                      <a:pt x="604" y="5867"/>
                    </a:cubicBezTo>
                    <a:close/>
                  </a:path>
                </a:pathLst>
              </a:custGeom>
              <a:grpFill/>
              <a:ln w="5978" cap="flat">
                <a:noFill/>
                <a:prstDash val="solid"/>
                <a:miter/>
              </a:ln>
            </p:spPr>
            <p:txBody>
              <a:bodyPr rtlCol="0" anchor="ctr"/>
              <a:lstStyle/>
              <a:p>
                <a:endParaRPr lang="en-GB"/>
              </a:p>
            </p:txBody>
          </p:sp>
        </p:grpSp>
        <p:grpSp>
          <p:nvGrpSpPr>
            <p:cNvPr id="924" name="Graphic 3">
              <a:extLst>
                <a:ext uri="{FF2B5EF4-FFF2-40B4-BE49-F238E27FC236}">
                  <a16:creationId xmlns:a16="http://schemas.microsoft.com/office/drawing/2014/main" id="{1FE01E61-2103-4475-8B8D-D39B1B17EC98}"/>
                </a:ext>
              </a:extLst>
            </p:cNvPr>
            <p:cNvGrpSpPr/>
            <p:nvPr/>
          </p:nvGrpSpPr>
          <p:grpSpPr>
            <a:xfrm>
              <a:off x="5697698" y="5614214"/>
              <a:ext cx="38122" cy="151171"/>
              <a:chOff x="5697698" y="5614214"/>
              <a:chExt cx="38122" cy="151171"/>
            </a:xfrm>
            <a:grpFill/>
          </p:grpSpPr>
          <p:sp>
            <p:nvSpPr>
              <p:cNvPr id="2626" name="Vrije vorm: vorm 2625">
                <a:extLst>
                  <a:ext uri="{FF2B5EF4-FFF2-40B4-BE49-F238E27FC236}">
                    <a16:creationId xmlns:a16="http://schemas.microsoft.com/office/drawing/2014/main" id="{D30A8EF0-892F-46DD-B946-B3F79870AB7C}"/>
                  </a:ext>
                </a:extLst>
              </p:cNvPr>
              <p:cNvSpPr/>
              <p:nvPr/>
            </p:nvSpPr>
            <p:spPr>
              <a:xfrm>
                <a:off x="5705269" y="5622755"/>
                <a:ext cx="22906" cy="134087"/>
              </a:xfrm>
              <a:custGeom>
                <a:avLst/>
                <a:gdLst>
                  <a:gd name="connsiteX0" fmla="*/ 22906 w 22906"/>
                  <a:gd name="connsiteY0" fmla="*/ 479 h 134087"/>
                  <a:gd name="connsiteX1" fmla="*/ 3050 w 22906"/>
                  <a:gd name="connsiteY1" fmla="*/ 134088 h 134087"/>
                  <a:gd name="connsiteX2" fmla="*/ 0 w 22906"/>
                  <a:gd name="connsiteY2" fmla="*/ 133669 h 134087"/>
                  <a:gd name="connsiteX3" fmla="*/ 19916 w 22906"/>
                  <a:gd name="connsiteY3" fmla="*/ 0 h 134087"/>
                </a:gdLst>
                <a:ahLst/>
                <a:cxnLst>
                  <a:cxn ang="0">
                    <a:pos x="connsiteX0" y="connsiteY0"/>
                  </a:cxn>
                  <a:cxn ang="0">
                    <a:pos x="connsiteX1" y="connsiteY1"/>
                  </a:cxn>
                  <a:cxn ang="0">
                    <a:pos x="connsiteX2" y="connsiteY2"/>
                  </a:cxn>
                  <a:cxn ang="0">
                    <a:pos x="connsiteX3" y="connsiteY3"/>
                  </a:cxn>
                </a:cxnLst>
                <a:rect l="l" t="t" r="r" b="b"/>
                <a:pathLst>
                  <a:path w="22906" h="134087">
                    <a:moveTo>
                      <a:pt x="22906" y="479"/>
                    </a:moveTo>
                    <a:lnTo>
                      <a:pt x="3050" y="134088"/>
                    </a:lnTo>
                    <a:lnTo>
                      <a:pt x="0" y="133669"/>
                    </a:lnTo>
                    <a:lnTo>
                      <a:pt x="19916" y="0"/>
                    </a:lnTo>
                    <a:close/>
                  </a:path>
                </a:pathLst>
              </a:custGeom>
              <a:grpFill/>
              <a:ln w="5978" cap="flat">
                <a:noFill/>
                <a:prstDash val="solid"/>
                <a:miter/>
              </a:ln>
            </p:spPr>
            <p:txBody>
              <a:bodyPr rtlCol="0" anchor="ctr"/>
              <a:lstStyle/>
              <a:p>
                <a:endParaRPr lang="en-GB"/>
              </a:p>
            </p:txBody>
          </p:sp>
          <p:sp>
            <p:nvSpPr>
              <p:cNvPr id="2627" name="Vrije vorm: vorm 2626">
                <a:extLst>
                  <a:ext uri="{FF2B5EF4-FFF2-40B4-BE49-F238E27FC236}">
                    <a16:creationId xmlns:a16="http://schemas.microsoft.com/office/drawing/2014/main" id="{E2D8A942-32BA-4B72-9F3A-998471866F4C}"/>
                  </a:ext>
                </a:extLst>
              </p:cNvPr>
              <p:cNvSpPr/>
              <p:nvPr/>
            </p:nvSpPr>
            <p:spPr>
              <a:xfrm>
                <a:off x="5697698" y="5746926"/>
                <a:ext cx="18326" cy="18459"/>
              </a:xfrm>
              <a:custGeom>
                <a:avLst/>
                <a:gdLst>
                  <a:gd name="connsiteX0" fmla="*/ 18217 w 18326"/>
                  <a:gd name="connsiteY0" fmla="*/ 10635 h 18459"/>
                  <a:gd name="connsiteX1" fmla="*/ 7811 w 18326"/>
                  <a:gd name="connsiteY1" fmla="*/ 18350 h 18459"/>
                  <a:gd name="connsiteX2" fmla="*/ 95 w 18326"/>
                  <a:gd name="connsiteY2" fmla="*/ 7824 h 18459"/>
                  <a:gd name="connsiteX3" fmla="*/ 10502 w 18326"/>
                  <a:gd name="connsiteY3" fmla="*/ 109 h 18459"/>
                  <a:gd name="connsiteX4" fmla="*/ 18217 w 18326"/>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9">
                    <a:moveTo>
                      <a:pt x="18217" y="10635"/>
                    </a:moveTo>
                    <a:cubicBezTo>
                      <a:pt x="17440" y="15659"/>
                      <a:pt x="12834" y="19128"/>
                      <a:pt x="7811" y="18350"/>
                    </a:cubicBezTo>
                    <a:cubicBezTo>
                      <a:pt x="2787" y="17573"/>
                      <a:pt x="-622" y="12848"/>
                      <a:pt x="95" y="7824"/>
                    </a:cubicBezTo>
                    <a:cubicBezTo>
                      <a:pt x="813" y="2800"/>
                      <a:pt x="5538" y="-669"/>
                      <a:pt x="10502" y="109"/>
                    </a:cubicBezTo>
                    <a:cubicBezTo>
                      <a:pt x="15526" y="946"/>
                      <a:pt x="18995" y="5611"/>
                      <a:pt x="18217" y="10635"/>
                    </a:cubicBezTo>
                    <a:close/>
                  </a:path>
                </a:pathLst>
              </a:custGeom>
              <a:grpFill/>
              <a:ln w="5978" cap="flat">
                <a:noFill/>
                <a:prstDash val="solid"/>
                <a:miter/>
              </a:ln>
            </p:spPr>
            <p:txBody>
              <a:bodyPr rtlCol="0" anchor="ctr"/>
              <a:lstStyle/>
              <a:p>
                <a:endParaRPr lang="en-GB"/>
              </a:p>
            </p:txBody>
          </p:sp>
          <p:sp>
            <p:nvSpPr>
              <p:cNvPr id="2628" name="Vrije vorm: vorm 2627">
                <a:extLst>
                  <a:ext uri="{FF2B5EF4-FFF2-40B4-BE49-F238E27FC236}">
                    <a16:creationId xmlns:a16="http://schemas.microsoft.com/office/drawing/2014/main" id="{871E6A85-7665-4CC1-8FA9-87143A107320}"/>
                  </a:ext>
                </a:extLst>
              </p:cNvPr>
              <p:cNvSpPr/>
              <p:nvPr/>
            </p:nvSpPr>
            <p:spPr>
              <a:xfrm>
                <a:off x="5717481" y="5614214"/>
                <a:ext cx="18339" cy="18459"/>
              </a:xfrm>
              <a:custGeom>
                <a:avLst/>
                <a:gdLst>
                  <a:gd name="connsiteX0" fmla="*/ 18231 w 18339"/>
                  <a:gd name="connsiteY0" fmla="*/ 10635 h 18459"/>
                  <a:gd name="connsiteX1" fmla="*/ 10515 w 18339"/>
                  <a:gd name="connsiteY1" fmla="*/ 109 h 18459"/>
                  <a:gd name="connsiteX2" fmla="*/ 109 w 18339"/>
                  <a:gd name="connsiteY2" fmla="*/ 7824 h 18459"/>
                  <a:gd name="connsiteX3" fmla="*/ 7824 w 18339"/>
                  <a:gd name="connsiteY3" fmla="*/ 18350 h 18459"/>
                  <a:gd name="connsiteX4" fmla="*/ 18231 w 18339"/>
                  <a:gd name="connsiteY4" fmla="*/ 1063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9">
                    <a:moveTo>
                      <a:pt x="18231" y="10635"/>
                    </a:moveTo>
                    <a:cubicBezTo>
                      <a:pt x="19008" y="5611"/>
                      <a:pt x="15539" y="886"/>
                      <a:pt x="10515" y="109"/>
                    </a:cubicBezTo>
                    <a:cubicBezTo>
                      <a:pt x="5492" y="-669"/>
                      <a:pt x="827" y="2800"/>
                      <a:pt x="109" y="7824"/>
                    </a:cubicBezTo>
                    <a:cubicBezTo>
                      <a:pt x="-669" y="12848"/>
                      <a:pt x="2800" y="17573"/>
                      <a:pt x="7824" y="18350"/>
                    </a:cubicBezTo>
                    <a:cubicBezTo>
                      <a:pt x="12788" y="19128"/>
                      <a:pt x="17453" y="15659"/>
                      <a:pt x="18231" y="10635"/>
                    </a:cubicBezTo>
                    <a:close/>
                  </a:path>
                </a:pathLst>
              </a:custGeom>
              <a:grpFill/>
              <a:ln w="5978" cap="flat">
                <a:noFill/>
                <a:prstDash val="solid"/>
                <a:miter/>
              </a:ln>
            </p:spPr>
            <p:txBody>
              <a:bodyPr rtlCol="0" anchor="ctr"/>
              <a:lstStyle/>
              <a:p>
                <a:endParaRPr lang="en-GB"/>
              </a:p>
            </p:txBody>
          </p:sp>
        </p:grpSp>
        <p:grpSp>
          <p:nvGrpSpPr>
            <p:cNvPr id="925" name="Graphic 3">
              <a:extLst>
                <a:ext uri="{FF2B5EF4-FFF2-40B4-BE49-F238E27FC236}">
                  <a16:creationId xmlns:a16="http://schemas.microsoft.com/office/drawing/2014/main" id="{6F080388-34D3-4E69-B373-C8C5FA319D0C}"/>
                </a:ext>
              </a:extLst>
            </p:cNvPr>
            <p:cNvGrpSpPr/>
            <p:nvPr/>
          </p:nvGrpSpPr>
          <p:grpSpPr>
            <a:xfrm>
              <a:off x="5656699" y="5453059"/>
              <a:ext cx="64128" cy="290994"/>
              <a:chOff x="5656699" y="5453059"/>
              <a:chExt cx="64128" cy="290994"/>
            </a:xfrm>
            <a:grpFill/>
          </p:grpSpPr>
          <p:sp>
            <p:nvSpPr>
              <p:cNvPr id="2623" name="Vrije vorm: vorm 2622">
                <a:extLst>
                  <a:ext uri="{FF2B5EF4-FFF2-40B4-BE49-F238E27FC236}">
                    <a16:creationId xmlns:a16="http://schemas.microsoft.com/office/drawing/2014/main" id="{D013A007-120F-4E76-810E-BB74E07A2574}"/>
                  </a:ext>
                </a:extLst>
              </p:cNvPr>
              <p:cNvSpPr/>
              <p:nvPr/>
            </p:nvSpPr>
            <p:spPr>
              <a:xfrm>
                <a:off x="5664361" y="5461515"/>
                <a:ext cx="48922" cy="273976"/>
              </a:xfrm>
              <a:custGeom>
                <a:avLst/>
                <a:gdLst>
                  <a:gd name="connsiteX0" fmla="*/ 48922 w 48922"/>
                  <a:gd name="connsiteY0" fmla="*/ 538 h 273976"/>
                  <a:gd name="connsiteX1" fmla="*/ 2990 w 48922"/>
                  <a:gd name="connsiteY1" fmla="*/ 273977 h 273976"/>
                  <a:gd name="connsiteX2" fmla="*/ 0 w 48922"/>
                  <a:gd name="connsiteY2" fmla="*/ 273499 h 273976"/>
                  <a:gd name="connsiteX3" fmla="*/ 45872 w 48922"/>
                  <a:gd name="connsiteY3" fmla="*/ 0 h 273976"/>
                </a:gdLst>
                <a:ahLst/>
                <a:cxnLst>
                  <a:cxn ang="0">
                    <a:pos x="connsiteX0" y="connsiteY0"/>
                  </a:cxn>
                  <a:cxn ang="0">
                    <a:pos x="connsiteX1" y="connsiteY1"/>
                  </a:cxn>
                  <a:cxn ang="0">
                    <a:pos x="connsiteX2" y="connsiteY2"/>
                  </a:cxn>
                  <a:cxn ang="0">
                    <a:pos x="connsiteX3" y="connsiteY3"/>
                  </a:cxn>
                </a:cxnLst>
                <a:rect l="l" t="t" r="r" b="b"/>
                <a:pathLst>
                  <a:path w="48922" h="273976">
                    <a:moveTo>
                      <a:pt x="48922" y="538"/>
                    </a:moveTo>
                    <a:lnTo>
                      <a:pt x="2990" y="273977"/>
                    </a:lnTo>
                    <a:lnTo>
                      <a:pt x="0" y="273499"/>
                    </a:lnTo>
                    <a:lnTo>
                      <a:pt x="45872" y="0"/>
                    </a:lnTo>
                    <a:close/>
                  </a:path>
                </a:pathLst>
              </a:custGeom>
              <a:grpFill/>
              <a:ln w="5978" cap="flat">
                <a:noFill/>
                <a:prstDash val="solid"/>
                <a:miter/>
              </a:ln>
            </p:spPr>
            <p:txBody>
              <a:bodyPr rtlCol="0" anchor="ctr"/>
              <a:lstStyle/>
              <a:p>
                <a:endParaRPr lang="en-GB"/>
              </a:p>
            </p:txBody>
          </p:sp>
          <p:sp>
            <p:nvSpPr>
              <p:cNvPr id="2624" name="Vrije vorm: vorm 2623">
                <a:extLst>
                  <a:ext uri="{FF2B5EF4-FFF2-40B4-BE49-F238E27FC236}">
                    <a16:creationId xmlns:a16="http://schemas.microsoft.com/office/drawing/2014/main" id="{9B8B0FFB-111D-4111-BCF7-BB9F72E7DB06}"/>
                  </a:ext>
                </a:extLst>
              </p:cNvPr>
              <p:cNvSpPr/>
              <p:nvPr/>
            </p:nvSpPr>
            <p:spPr>
              <a:xfrm>
                <a:off x="5656699" y="5725615"/>
                <a:ext cx="18376" cy="18438"/>
              </a:xfrm>
              <a:custGeom>
                <a:avLst/>
                <a:gdLst>
                  <a:gd name="connsiteX0" fmla="*/ 18248 w 18376"/>
                  <a:gd name="connsiteY0" fmla="*/ 10774 h 18438"/>
                  <a:gd name="connsiteX1" fmla="*/ 7662 w 18376"/>
                  <a:gd name="connsiteY1" fmla="*/ 18310 h 18438"/>
                  <a:gd name="connsiteX2" fmla="*/ 127 w 18376"/>
                  <a:gd name="connsiteY2" fmla="*/ 7664 h 18438"/>
                  <a:gd name="connsiteX3" fmla="*/ 10712 w 18376"/>
                  <a:gd name="connsiteY3" fmla="*/ 128 h 18438"/>
                  <a:gd name="connsiteX4" fmla="*/ 18248 w 18376"/>
                  <a:gd name="connsiteY4" fmla="*/ 10774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18248" y="10774"/>
                    </a:moveTo>
                    <a:cubicBezTo>
                      <a:pt x="17411" y="15798"/>
                      <a:pt x="12686" y="19147"/>
                      <a:pt x="7662" y="18310"/>
                    </a:cubicBezTo>
                    <a:cubicBezTo>
                      <a:pt x="2698" y="17413"/>
                      <a:pt x="-711" y="12688"/>
                      <a:pt x="127" y="7664"/>
                    </a:cubicBezTo>
                    <a:cubicBezTo>
                      <a:pt x="964" y="2640"/>
                      <a:pt x="5689" y="-709"/>
                      <a:pt x="10712" y="128"/>
                    </a:cubicBezTo>
                    <a:cubicBezTo>
                      <a:pt x="15736" y="966"/>
                      <a:pt x="19085" y="5750"/>
                      <a:pt x="18248" y="10774"/>
                    </a:cubicBezTo>
                    <a:close/>
                  </a:path>
                </a:pathLst>
              </a:custGeom>
              <a:grpFill/>
              <a:ln w="5978" cap="flat">
                <a:noFill/>
                <a:prstDash val="solid"/>
                <a:miter/>
              </a:ln>
            </p:spPr>
            <p:txBody>
              <a:bodyPr rtlCol="0" anchor="ctr"/>
              <a:lstStyle/>
              <a:p>
                <a:endParaRPr lang="en-GB"/>
              </a:p>
            </p:txBody>
          </p:sp>
          <p:sp>
            <p:nvSpPr>
              <p:cNvPr id="2625" name="Vrije vorm: vorm 2624">
                <a:extLst>
                  <a:ext uri="{FF2B5EF4-FFF2-40B4-BE49-F238E27FC236}">
                    <a16:creationId xmlns:a16="http://schemas.microsoft.com/office/drawing/2014/main" id="{C988BD77-C840-4532-B448-A466F143BD60}"/>
                  </a:ext>
                </a:extLst>
              </p:cNvPr>
              <p:cNvSpPr/>
              <p:nvPr/>
            </p:nvSpPr>
            <p:spPr>
              <a:xfrm>
                <a:off x="5702450" y="5453059"/>
                <a:ext cx="18378" cy="18451"/>
              </a:xfrm>
              <a:custGeom>
                <a:avLst/>
                <a:gdLst>
                  <a:gd name="connsiteX0" fmla="*/ 18250 w 18378"/>
                  <a:gd name="connsiteY0" fmla="*/ 10789 h 18451"/>
                  <a:gd name="connsiteX1" fmla="*/ 10714 w 18378"/>
                  <a:gd name="connsiteY1" fmla="*/ 143 h 18451"/>
                  <a:gd name="connsiteX2" fmla="*/ 128 w 18378"/>
                  <a:gd name="connsiteY2" fmla="*/ 7679 h 18451"/>
                  <a:gd name="connsiteX3" fmla="*/ 7664 w 18378"/>
                  <a:gd name="connsiteY3" fmla="*/ 18325 h 18451"/>
                  <a:gd name="connsiteX4" fmla="*/ 18250 w 18378"/>
                  <a:gd name="connsiteY4" fmla="*/ 10789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 h="18451">
                    <a:moveTo>
                      <a:pt x="18250" y="10789"/>
                    </a:moveTo>
                    <a:cubicBezTo>
                      <a:pt x="19087" y="5765"/>
                      <a:pt x="15738" y="980"/>
                      <a:pt x="10714" y="143"/>
                    </a:cubicBezTo>
                    <a:cubicBezTo>
                      <a:pt x="5750" y="-754"/>
                      <a:pt x="966" y="2655"/>
                      <a:pt x="128" y="7679"/>
                    </a:cubicBezTo>
                    <a:cubicBezTo>
                      <a:pt x="-709" y="12703"/>
                      <a:pt x="2640" y="17487"/>
                      <a:pt x="7664" y="18325"/>
                    </a:cubicBezTo>
                    <a:cubicBezTo>
                      <a:pt x="12688" y="19162"/>
                      <a:pt x="17413" y="15753"/>
                      <a:pt x="18250" y="10789"/>
                    </a:cubicBezTo>
                    <a:close/>
                  </a:path>
                </a:pathLst>
              </a:custGeom>
              <a:grpFill/>
              <a:ln w="5978" cap="flat">
                <a:noFill/>
                <a:prstDash val="solid"/>
                <a:miter/>
              </a:ln>
            </p:spPr>
            <p:txBody>
              <a:bodyPr rtlCol="0" anchor="ctr"/>
              <a:lstStyle/>
              <a:p>
                <a:endParaRPr lang="en-GB"/>
              </a:p>
            </p:txBody>
          </p:sp>
        </p:grpSp>
        <p:grpSp>
          <p:nvGrpSpPr>
            <p:cNvPr id="926" name="Graphic 3">
              <a:extLst>
                <a:ext uri="{FF2B5EF4-FFF2-40B4-BE49-F238E27FC236}">
                  <a16:creationId xmlns:a16="http://schemas.microsoft.com/office/drawing/2014/main" id="{C34C40B5-D2A3-42CC-8B6C-EE0C28479D05}"/>
                </a:ext>
              </a:extLst>
            </p:cNvPr>
            <p:cNvGrpSpPr/>
            <p:nvPr/>
          </p:nvGrpSpPr>
          <p:grpSpPr>
            <a:xfrm>
              <a:off x="5552737" y="5188568"/>
              <a:ext cx="74448" cy="247034"/>
              <a:chOff x="5552737" y="5188568"/>
              <a:chExt cx="74448" cy="247034"/>
            </a:xfrm>
            <a:grpFill/>
          </p:grpSpPr>
          <p:sp>
            <p:nvSpPr>
              <p:cNvPr id="2620" name="Vrije vorm: vorm 2619">
                <a:extLst>
                  <a:ext uri="{FF2B5EF4-FFF2-40B4-BE49-F238E27FC236}">
                    <a16:creationId xmlns:a16="http://schemas.microsoft.com/office/drawing/2014/main" id="{4064A114-1983-4210-A8B9-F493142273B9}"/>
                  </a:ext>
                </a:extLst>
              </p:cNvPr>
              <p:cNvSpPr/>
              <p:nvPr/>
            </p:nvSpPr>
            <p:spPr>
              <a:xfrm>
                <a:off x="5560297" y="5196988"/>
                <a:ext cx="59328" cy="230197"/>
              </a:xfrm>
              <a:custGeom>
                <a:avLst/>
                <a:gdLst>
                  <a:gd name="connsiteX0" fmla="*/ 59329 w 59328"/>
                  <a:gd name="connsiteY0" fmla="*/ 718 h 230197"/>
                  <a:gd name="connsiteX1" fmla="*/ 2990 w 59328"/>
                  <a:gd name="connsiteY1" fmla="*/ 230198 h 230197"/>
                  <a:gd name="connsiteX2" fmla="*/ 0 w 59328"/>
                  <a:gd name="connsiteY2" fmla="*/ 229480 h 230197"/>
                  <a:gd name="connsiteX3" fmla="*/ 56338 w 59328"/>
                  <a:gd name="connsiteY3" fmla="*/ 0 h 230197"/>
                </a:gdLst>
                <a:ahLst/>
                <a:cxnLst>
                  <a:cxn ang="0">
                    <a:pos x="connsiteX0" y="connsiteY0"/>
                  </a:cxn>
                  <a:cxn ang="0">
                    <a:pos x="connsiteX1" y="connsiteY1"/>
                  </a:cxn>
                  <a:cxn ang="0">
                    <a:pos x="connsiteX2" y="connsiteY2"/>
                  </a:cxn>
                  <a:cxn ang="0">
                    <a:pos x="connsiteX3" y="connsiteY3"/>
                  </a:cxn>
                </a:cxnLst>
                <a:rect l="l" t="t" r="r" b="b"/>
                <a:pathLst>
                  <a:path w="59328" h="230197">
                    <a:moveTo>
                      <a:pt x="59329" y="718"/>
                    </a:moveTo>
                    <a:lnTo>
                      <a:pt x="2990" y="230198"/>
                    </a:lnTo>
                    <a:lnTo>
                      <a:pt x="0" y="229480"/>
                    </a:lnTo>
                    <a:lnTo>
                      <a:pt x="56338" y="0"/>
                    </a:lnTo>
                    <a:close/>
                  </a:path>
                </a:pathLst>
              </a:custGeom>
              <a:grpFill/>
              <a:ln w="5978" cap="flat">
                <a:noFill/>
                <a:prstDash val="solid"/>
                <a:miter/>
              </a:ln>
            </p:spPr>
            <p:txBody>
              <a:bodyPr rtlCol="0" anchor="ctr"/>
              <a:lstStyle/>
              <a:p>
                <a:endParaRPr lang="en-GB"/>
              </a:p>
            </p:txBody>
          </p:sp>
          <p:sp>
            <p:nvSpPr>
              <p:cNvPr id="2621" name="Vrije vorm: vorm 2620">
                <a:extLst>
                  <a:ext uri="{FF2B5EF4-FFF2-40B4-BE49-F238E27FC236}">
                    <a16:creationId xmlns:a16="http://schemas.microsoft.com/office/drawing/2014/main" id="{5E79E3E1-C841-4C29-AE04-7B9C94495565}"/>
                  </a:ext>
                </a:extLst>
              </p:cNvPr>
              <p:cNvSpPr/>
              <p:nvPr/>
            </p:nvSpPr>
            <p:spPr>
              <a:xfrm>
                <a:off x="5552737" y="5417151"/>
                <a:ext cx="18312" cy="18451"/>
              </a:xfrm>
              <a:custGeom>
                <a:avLst/>
                <a:gdLst>
                  <a:gd name="connsiteX0" fmla="*/ 18026 w 18312"/>
                  <a:gd name="connsiteY0" fmla="*/ 11470 h 18451"/>
                  <a:gd name="connsiteX1" fmla="*/ 6962 w 18312"/>
                  <a:gd name="connsiteY1" fmla="*/ 18169 h 18451"/>
                  <a:gd name="connsiteX2" fmla="*/ 263 w 18312"/>
                  <a:gd name="connsiteY2" fmla="*/ 6985 h 18451"/>
                  <a:gd name="connsiteX3" fmla="*/ 11328 w 18312"/>
                  <a:gd name="connsiteY3" fmla="*/ 286 h 18451"/>
                  <a:gd name="connsiteX4" fmla="*/ 18026 w 18312"/>
                  <a:gd name="connsiteY4" fmla="*/ 11470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1">
                    <a:moveTo>
                      <a:pt x="18026" y="11470"/>
                    </a:moveTo>
                    <a:cubicBezTo>
                      <a:pt x="16830" y="16374"/>
                      <a:pt x="11866" y="19425"/>
                      <a:pt x="6962" y="18169"/>
                    </a:cubicBezTo>
                    <a:cubicBezTo>
                      <a:pt x="2058" y="16913"/>
                      <a:pt x="-933" y="11949"/>
                      <a:pt x="263" y="6985"/>
                    </a:cubicBezTo>
                    <a:cubicBezTo>
                      <a:pt x="1459" y="2021"/>
                      <a:pt x="6423" y="-969"/>
                      <a:pt x="11328" y="286"/>
                    </a:cubicBezTo>
                    <a:cubicBezTo>
                      <a:pt x="16292" y="1542"/>
                      <a:pt x="19282" y="6566"/>
                      <a:pt x="18026" y="11470"/>
                    </a:cubicBezTo>
                    <a:close/>
                  </a:path>
                </a:pathLst>
              </a:custGeom>
              <a:grpFill/>
              <a:ln w="5978" cap="flat">
                <a:noFill/>
                <a:prstDash val="solid"/>
                <a:miter/>
              </a:ln>
            </p:spPr>
            <p:txBody>
              <a:bodyPr rtlCol="0" anchor="ctr"/>
              <a:lstStyle/>
              <a:p>
                <a:endParaRPr lang="en-GB"/>
              </a:p>
            </p:txBody>
          </p:sp>
          <p:sp>
            <p:nvSpPr>
              <p:cNvPr id="2622" name="Vrije vorm: vorm 2621">
                <a:extLst>
                  <a:ext uri="{FF2B5EF4-FFF2-40B4-BE49-F238E27FC236}">
                    <a16:creationId xmlns:a16="http://schemas.microsoft.com/office/drawing/2014/main" id="{203A8AF5-9B6E-44E6-8328-45F96960436B}"/>
                  </a:ext>
                </a:extLst>
              </p:cNvPr>
              <p:cNvSpPr/>
              <p:nvPr/>
            </p:nvSpPr>
            <p:spPr>
              <a:xfrm>
                <a:off x="5608896" y="5188568"/>
                <a:ext cx="18289" cy="18455"/>
              </a:xfrm>
              <a:custGeom>
                <a:avLst/>
                <a:gdLst>
                  <a:gd name="connsiteX0" fmla="*/ 18026 w 18289"/>
                  <a:gd name="connsiteY0" fmla="*/ 11470 h 18455"/>
                  <a:gd name="connsiteX1" fmla="*/ 11328 w 18289"/>
                  <a:gd name="connsiteY1" fmla="*/ 286 h 18455"/>
                  <a:gd name="connsiteX2" fmla="*/ 263 w 18289"/>
                  <a:gd name="connsiteY2" fmla="*/ 6985 h 18455"/>
                  <a:gd name="connsiteX3" fmla="*/ 6962 w 18289"/>
                  <a:gd name="connsiteY3" fmla="*/ 18169 h 18455"/>
                  <a:gd name="connsiteX4" fmla="*/ 18026 w 18289"/>
                  <a:gd name="connsiteY4" fmla="*/ 11470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5">
                    <a:moveTo>
                      <a:pt x="18026" y="11470"/>
                    </a:moveTo>
                    <a:cubicBezTo>
                      <a:pt x="19223" y="6566"/>
                      <a:pt x="16232" y="1542"/>
                      <a:pt x="11328" y="286"/>
                    </a:cubicBezTo>
                    <a:cubicBezTo>
                      <a:pt x="6424" y="-970"/>
                      <a:pt x="1460" y="2021"/>
                      <a:pt x="263" y="6985"/>
                    </a:cubicBezTo>
                    <a:cubicBezTo>
                      <a:pt x="-933" y="11889"/>
                      <a:pt x="2058" y="16913"/>
                      <a:pt x="6962" y="18169"/>
                    </a:cubicBezTo>
                    <a:cubicBezTo>
                      <a:pt x="11806" y="19425"/>
                      <a:pt x="16770" y="16435"/>
                      <a:pt x="18026" y="11470"/>
                    </a:cubicBezTo>
                    <a:close/>
                  </a:path>
                </a:pathLst>
              </a:custGeom>
              <a:grpFill/>
              <a:ln w="5978" cap="flat">
                <a:noFill/>
                <a:prstDash val="solid"/>
                <a:miter/>
              </a:ln>
            </p:spPr>
            <p:txBody>
              <a:bodyPr rtlCol="0" anchor="ctr"/>
              <a:lstStyle/>
              <a:p>
                <a:endParaRPr lang="en-GB"/>
              </a:p>
            </p:txBody>
          </p:sp>
        </p:grpSp>
        <p:grpSp>
          <p:nvGrpSpPr>
            <p:cNvPr id="927" name="Graphic 3">
              <a:extLst>
                <a:ext uri="{FF2B5EF4-FFF2-40B4-BE49-F238E27FC236}">
                  <a16:creationId xmlns:a16="http://schemas.microsoft.com/office/drawing/2014/main" id="{884A01E9-AF42-44D4-A545-19752F223365}"/>
                </a:ext>
              </a:extLst>
            </p:cNvPr>
            <p:cNvGrpSpPr/>
            <p:nvPr/>
          </p:nvGrpSpPr>
          <p:grpSpPr>
            <a:xfrm>
              <a:off x="5519697" y="5127237"/>
              <a:ext cx="54046" cy="143629"/>
              <a:chOff x="5519697" y="5127237"/>
              <a:chExt cx="54046" cy="143629"/>
            </a:xfrm>
            <a:grpFill/>
          </p:grpSpPr>
          <p:sp>
            <p:nvSpPr>
              <p:cNvPr id="2617" name="Vrije vorm: vorm 2616">
                <a:extLst>
                  <a:ext uri="{FF2B5EF4-FFF2-40B4-BE49-F238E27FC236}">
                    <a16:creationId xmlns:a16="http://schemas.microsoft.com/office/drawing/2014/main" id="{3510B4F4-3D54-4ED2-BC52-35BE1DA72BC2}"/>
                  </a:ext>
                </a:extLst>
              </p:cNvPr>
              <p:cNvSpPr/>
              <p:nvPr/>
            </p:nvSpPr>
            <p:spPr>
              <a:xfrm>
                <a:off x="5527283" y="5135566"/>
                <a:ext cx="38874" cy="126970"/>
              </a:xfrm>
              <a:custGeom>
                <a:avLst/>
                <a:gdLst>
                  <a:gd name="connsiteX0" fmla="*/ 38875 w 38874"/>
                  <a:gd name="connsiteY0" fmla="*/ 897 h 126970"/>
                  <a:gd name="connsiteX1" fmla="*/ 2930 w 38874"/>
                  <a:gd name="connsiteY1" fmla="*/ 126971 h 126970"/>
                  <a:gd name="connsiteX2" fmla="*/ 0 w 38874"/>
                  <a:gd name="connsiteY2" fmla="*/ 126074 h 126970"/>
                  <a:gd name="connsiteX3" fmla="*/ 35944 w 38874"/>
                  <a:gd name="connsiteY3" fmla="*/ 0 h 126970"/>
                </a:gdLst>
                <a:ahLst/>
                <a:cxnLst>
                  <a:cxn ang="0">
                    <a:pos x="connsiteX0" y="connsiteY0"/>
                  </a:cxn>
                  <a:cxn ang="0">
                    <a:pos x="connsiteX1" y="connsiteY1"/>
                  </a:cxn>
                  <a:cxn ang="0">
                    <a:pos x="connsiteX2" y="connsiteY2"/>
                  </a:cxn>
                  <a:cxn ang="0">
                    <a:pos x="connsiteX3" y="connsiteY3"/>
                  </a:cxn>
                </a:cxnLst>
                <a:rect l="l" t="t" r="r" b="b"/>
                <a:pathLst>
                  <a:path w="38874" h="126970">
                    <a:moveTo>
                      <a:pt x="38875" y="897"/>
                    </a:moveTo>
                    <a:lnTo>
                      <a:pt x="2930" y="126971"/>
                    </a:lnTo>
                    <a:lnTo>
                      <a:pt x="0" y="126074"/>
                    </a:lnTo>
                    <a:lnTo>
                      <a:pt x="35944" y="0"/>
                    </a:lnTo>
                    <a:close/>
                  </a:path>
                </a:pathLst>
              </a:custGeom>
              <a:grpFill/>
              <a:ln w="5978" cap="flat">
                <a:noFill/>
                <a:prstDash val="solid"/>
                <a:miter/>
              </a:ln>
            </p:spPr>
            <p:txBody>
              <a:bodyPr rtlCol="0" anchor="ctr"/>
              <a:lstStyle/>
              <a:p>
                <a:endParaRPr lang="en-GB"/>
              </a:p>
            </p:txBody>
          </p:sp>
          <p:sp>
            <p:nvSpPr>
              <p:cNvPr id="2618" name="Vrije vorm: vorm 2617">
                <a:extLst>
                  <a:ext uri="{FF2B5EF4-FFF2-40B4-BE49-F238E27FC236}">
                    <a16:creationId xmlns:a16="http://schemas.microsoft.com/office/drawing/2014/main" id="{54D8023C-DC57-41DA-8B30-29C0C43A92DE}"/>
                  </a:ext>
                </a:extLst>
              </p:cNvPr>
              <p:cNvSpPr/>
              <p:nvPr/>
            </p:nvSpPr>
            <p:spPr>
              <a:xfrm>
                <a:off x="5519697" y="5252413"/>
                <a:ext cx="18341" cy="18452"/>
              </a:xfrm>
              <a:custGeom>
                <a:avLst/>
                <a:gdLst>
                  <a:gd name="connsiteX0" fmla="*/ 17992 w 18341"/>
                  <a:gd name="connsiteY0" fmla="*/ 11798 h 18452"/>
                  <a:gd name="connsiteX1" fmla="*/ 6629 w 18341"/>
                  <a:gd name="connsiteY1" fmla="*/ 18078 h 18452"/>
                  <a:gd name="connsiteX2" fmla="*/ 349 w 18341"/>
                  <a:gd name="connsiteY2" fmla="*/ 6655 h 18452"/>
                  <a:gd name="connsiteX3" fmla="*/ 11712 w 18341"/>
                  <a:gd name="connsiteY3" fmla="*/ 375 h 18452"/>
                  <a:gd name="connsiteX4" fmla="*/ 17992 w 18341"/>
                  <a:gd name="connsiteY4" fmla="*/ 1179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2">
                    <a:moveTo>
                      <a:pt x="17992" y="11798"/>
                    </a:moveTo>
                    <a:cubicBezTo>
                      <a:pt x="16617" y="16702"/>
                      <a:pt x="11533" y="19513"/>
                      <a:pt x="6629" y="18078"/>
                    </a:cubicBezTo>
                    <a:cubicBezTo>
                      <a:pt x="1785" y="16642"/>
                      <a:pt x="-1027" y="11559"/>
                      <a:pt x="349" y="6655"/>
                    </a:cubicBezTo>
                    <a:cubicBezTo>
                      <a:pt x="1725" y="1750"/>
                      <a:pt x="6808" y="-1060"/>
                      <a:pt x="11712" y="375"/>
                    </a:cubicBezTo>
                    <a:cubicBezTo>
                      <a:pt x="16557" y="1810"/>
                      <a:pt x="19368" y="6894"/>
                      <a:pt x="17992" y="11798"/>
                    </a:cubicBezTo>
                    <a:close/>
                  </a:path>
                </a:pathLst>
              </a:custGeom>
              <a:grpFill/>
              <a:ln w="5978" cap="flat">
                <a:noFill/>
                <a:prstDash val="solid"/>
                <a:miter/>
              </a:ln>
            </p:spPr>
            <p:txBody>
              <a:bodyPr rtlCol="0" anchor="ctr"/>
              <a:lstStyle/>
              <a:p>
                <a:endParaRPr lang="en-GB"/>
              </a:p>
            </p:txBody>
          </p:sp>
          <p:sp>
            <p:nvSpPr>
              <p:cNvPr id="2619" name="Vrije vorm: vorm 2618">
                <a:extLst>
                  <a:ext uri="{FF2B5EF4-FFF2-40B4-BE49-F238E27FC236}">
                    <a16:creationId xmlns:a16="http://schemas.microsoft.com/office/drawing/2014/main" id="{7E61773E-FC2E-4172-85AF-134F5DD716E8}"/>
                  </a:ext>
                </a:extLst>
              </p:cNvPr>
              <p:cNvSpPr/>
              <p:nvPr/>
            </p:nvSpPr>
            <p:spPr>
              <a:xfrm>
                <a:off x="5555402" y="5127237"/>
                <a:ext cx="18341" cy="18452"/>
              </a:xfrm>
              <a:custGeom>
                <a:avLst/>
                <a:gdLst>
                  <a:gd name="connsiteX0" fmla="*/ 17992 w 18341"/>
                  <a:gd name="connsiteY0" fmla="*/ 11798 h 18452"/>
                  <a:gd name="connsiteX1" fmla="*/ 11713 w 18341"/>
                  <a:gd name="connsiteY1" fmla="*/ 375 h 18452"/>
                  <a:gd name="connsiteX2" fmla="*/ 349 w 18341"/>
                  <a:gd name="connsiteY2" fmla="*/ 6655 h 18452"/>
                  <a:gd name="connsiteX3" fmla="*/ 6629 w 18341"/>
                  <a:gd name="connsiteY3" fmla="*/ 18078 h 18452"/>
                  <a:gd name="connsiteX4" fmla="*/ 17992 w 18341"/>
                  <a:gd name="connsiteY4" fmla="*/ 1179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2">
                    <a:moveTo>
                      <a:pt x="17992" y="11798"/>
                    </a:moveTo>
                    <a:cubicBezTo>
                      <a:pt x="19368" y="6894"/>
                      <a:pt x="16557" y="1810"/>
                      <a:pt x="11713" y="375"/>
                    </a:cubicBezTo>
                    <a:cubicBezTo>
                      <a:pt x="6868" y="-1061"/>
                      <a:pt x="1784" y="1751"/>
                      <a:pt x="349" y="6655"/>
                    </a:cubicBezTo>
                    <a:cubicBezTo>
                      <a:pt x="-1026" y="11559"/>
                      <a:pt x="1784" y="16643"/>
                      <a:pt x="6629" y="18078"/>
                    </a:cubicBezTo>
                    <a:cubicBezTo>
                      <a:pt x="11533" y="19513"/>
                      <a:pt x="16617" y="16702"/>
                      <a:pt x="17992" y="11798"/>
                    </a:cubicBezTo>
                    <a:close/>
                  </a:path>
                </a:pathLst>
              </a:custGeom>
              <a:grpFill/>
              <a:ln w="5978" cap="flat">
                <a:noFill/>
                <a:prstDash val="solid"/>
                <a:miter/>
              </a:ln>
            </p:spPr>
            <p:txBody>
              <a:bodyPr rtlCol="0" anchor="ctr"/>
              <a:lstStyle/>
              <a:p>
                <a:endParaRPr lang="en-GB"/>
              </a:p>
            </p:txBody>
          </p:sp>
        </p:grpSp>
        <p:grpSp>
          <p:nvGrpSpPr>
            <p:cNvPr id="928" name="Graphic 3">
              <a:extLst>
                <a:ext uri="{FF2B5EF4-FFF2-40B4-BE49-F238E27FC236}">
                  <a16:creationId xmlns:a16="http://schemas.microsoft.com/office/drawing/2014/main" id="{45DA92D3-42D8-464E-8C01-6D5F96AD04C9}"/>
                </a:ext>
              </a:extLst>
            </p:cNvPr>
            <p:cNvGrpSpPr/>
            <p:nvPr/>
          </p:nvGrpSpPr>
          <p:grpSpPr>
            <a:xfrm>
              <a:off x="4472450" y="2251730"/>
              <a:ext cx="212299" cy="160906"/>
              <a:chOff x="4472450" y="2251730"/>
              <a:chExt cx="212299" cy="160906"/>
            </a:xfrm>
            <a:grpFill/>
          </p:grpSpPr>
          <p:sp>
            <p:nvSpPr>
              <p:cNvPr id="2614" name="Vrije vorm: vorm 2613">
                <a:extLst>
                  <a:ext uri="{FF2B5EF4-FFF2-40B4-BE49-F238E27FC236}">
                    <a16:creationId xmlns:a16="http://schemas.microsoft.com/office/drawing/2014/main" id="{7A8C788D-5C56-4EC4-920B-C444991D7C96}"/>
                  </a:ext>
                </a:extLst>
              </p:cNvPr>
              <p:cNvSpPr/>
              <p:nvPr/>
            </p:nvSpPr>
            <p:spPr>
              <a:xfrm>
                <a:off x="4480298" y="2259377"/>
                <a:ext cx="196526" cy="145570"/>
              </a:xfrm>
              <a:custGeom>
                <a:avLst/>
                <a:gdLst>
                  <a:gd name="connsiteX0" fmla="*/ 196527 w 196526"/>
                  <a:gd name="connsiteY0" fmla="*/ 143119 h 145570"/>
                  <a:gd name="connsiteX1" fmla="*/ 194792 w 196526"/>
                  <a:gd name="connsiteY1" fmla="*/ 145571 h 145570"/>
                  <a:gd name="connsiteX2" fmla="*/ 0 w 196526"/>
                  <a:gd name="connsiteY2" fmla="*/ 2512 h 145570"/>
                  <a:gd name="connsiteX3" fmla="*/ 1794 w 196526"/>
                  <a:gd name="connsiteY3" fmla="*/ 0 h 145570"/>
                </a:gdLst>
                <a:ahLst/>
                <a:cxnLst>
                  <a:cxn ang="0">
                    <a:pos x="connsiteX0" y="connsiteY0"/>
                  </a:cxn>
                  <a:cxn ang="0">
                    <a:pos x="connsiteX1" y="connsiteY1"/>
                  </a:cxn>
                  <a:cxn ang="0">
                    <a:pos x="connsiteX2" y="connsiteY2"/>
                  </a:cxn>
                  <a:cxn ang="0">
                    <a:pos x="connsiteX3" y="connsiteY3"/>
                  </a:cxn>
                </a:cxnLst>
                <a:rect l="l" t="t" r="r" b="b"/>
                <a:pathLst>
                  <a:path w="196526" h="145570">
                    <a:moveTo>
                      <a:pt x="196527" y="143119"/>
                    </a:moveTo>
                    <a:lnTo>
                      <a:pt x="194792" y="145571"/>
                    </a:lnTo>
                    <a:lnTo>
                      <a:pt x="0" y="2512"/>
                    </a:lnTo>
                    <a:lnTo>
                      <a:pt x="1794" y="0"/>
                    </a:lnTo>
                    <a:close/>
                  </a:path>
                </a:pathLst>
              </a:custGeom>
              <a:grpFill/>
              <a:ln w="5978" cap="flat">
                <a:noFill/>
                <a:prstDash val="solid"/>
                <a:miter/>
              </a:ln>
            </p:spPr>
            <p:txBody>
              <a:bodyPr rtlCol="0" anchor="ctr"/>
              <a:lstStyle/>
              <a:p>
                <a:endParaRPr lang="en-GB"/>
              </a:p>
            </p:txBody>
          </p:sp>
          <p:sp>
            <p:nvSpPr>
              <p:cNvPr id="2615" name="Vrije vorm: vorm 2614">
                <a:extLst>
                  <a:ext uri="{FF2B5EF4-FFF2-40B4-BE49-F238E27FC236}">
                    <a16:creationId xmlns:a16="http://schemas.microsoft.com/office/drawing/2014/main" id="{793AC4A7-8515-42EE-A04A-AFD4908237F5}"/>
                  </a:ext>
                </a:extLst>
              </p:cNvPr>
              <p:cNvSpPr/>
              <p:nvPr/>
            </p:nvSpPr>
            <p:spPr>
              <a:xfrm>
                <a:off x="4472450" y="2251730"/>
                <a:ext cx="18327" cy="18386"/>
              </a:xfrm>
              <a:custGeom>
                <a:avLst/>
                <a:gdLst>
                  <a:gd name="connsiteX0" fmla="*/ 3781 w 18327"/>
                  <a:gd name="connsiteY0" fmla="*/ 16618 h 18386"/>
                  <a:gd name="connsiteX1" fmla="*/ 1748 w 18327"/>
                  <a:gd name="connsiteY1" fmla="*/ 3759 h 18386"/>
                  <a:gd name="connsiteX2" fmla="*/ 14546 w 18327"/>
                  <a:gd name="connsiteY2" fmla="*/ 1786 h 18386"/>
                  <a:gd name="connsiteX3" fmla="*/ 16580 w 18327"/>
                  <a:gd name="connsiteY3" fmla="*/ 14644 h 18386"/>
                  <a:gd name="connsiteX4" fmla="*/ 3781 w 18327"/>
                  <a:gd name="connsiteY4" fmla="*/ 16618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86">
                    <a:moveTo>
                      <a:pt x="3781" y="16618"/>
                    </a:moveTo>
                    <a:cubicBezTo>
                      <a:pt x="-286" y="13628"/>
                      <a:pt x="-1243" y="7826"/>
                      <a:pt x="1748" y="3759"/>
                    </a:cubicBezTo>
                    <a:cubicBezTo>
                      <a:pt x="4738" y="-367"/>
                      <a:pt x="10479" y="-1205"/>
                      <a:pt x="14546" y="1786"/>
                    </a:cubicBezTo>
                    <a:cubicBezTo>
                      <a:pt x="18613" y="4776"/>
                      <a:pt x="19570" y="10577"/>
                      <a:pt x="16580" y="14644"/>
                    </a:cubicBezTo>
                    <a:cubicBezTo>
                      <a:pt x="13589" y="18711"/>
                      <a:pt x="7848" y="19608"/>
                      <a:pt x="3781" y="16618"/>
                    </a:cubicBezTo>
                    <a:close/>
                  </a:path>
                </a:pathLst>
              </a:custGeom>
              <a:grpFill/>
              <a:ln w="5978" cap="flat">
                <a:noFill/>
                <a:prstDash val="solid"/>
                <a:miter/>
              </a:ln>
            </p:spPr>
            <p:txBody>
              <a:bodyPr rtlCol="0" anchor="ctr"/>
              <a:lstStyle/>
              <a:p>
                <a:endParaRPr lang="en-GB"/>
              </a:p>
            </p:txBody>
          </p:sp>
          <p:sp>
            <p:nvSpPr>
              <p:cNvPr id="2616" name="Vrije vorm: vorm 2615">
                <a:extLst>
                  <a:ext uri="{FF2B5EF4-FFF2-40B4-BE49-F238E27FC236}">
                    <a16:creationId xmlns:a16="http://schemas.microsoft.com/office/drawing/2014/main" id="{83FDB53A-BE41-4E35-9E4A-86C7FBBC39B6}"/>
                  </a:ext>
                </a:extLst>
              </p:cNvPr>
              <p:cNvSpPr/>
              <p:nvPr/>
            </p:nvSpPr>
            <p:spPr>
              <a:xfrm>
                <a:off x="4666431" y="2394268"/>
                <a:ext cx="18318" cy="18368"/>
              </a:xfrm>
              <a:custGeom>
                <a:avLst/>
                <a:gdLst>
                  <a:gd name="connsiteX0" fmla="*/ 3755 w 18318"/>
                  <a:gd name="connsiteY0" fmla="*/ 16600 h 18368"/>
                  <a:gd name="connsiteX1" fmla="*/ 16554 w 18318"/>
                  <a:gd name="connsiteY1" fmla="*/ 14627 h 18368"/>
                  <a:gd name="connsiteX2" fmla="*/ 14520 w 18318"/>
                  <a:gd name="connsiteY2" fmla="*/ 1768 h 18368"/>
                  <a:gd name="connsiteX3" fmla="*/ 1722 w 18318"/>
                  <a:gd name="connsiteY3" fmla="*/ 3742 h 18368"/>
                  <a:gd name="connsiteX4" fmla="*/ 3755 w 18318"/>
                  <a:gd name="connsiteY4" fmla="*/ 16600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68">
                    <a:moveTo>
                      <a:pt x="3755" y="16600"/>
                    </a:moveTo>
                    <a:cubicBezTo>
                      <a:pt x="7822" y="19591"/>
                      <a:pt x="13563" y="18694"/>
                      <a:pt x="16554" y="14627"/>
                    </a:cubicBezTo>
                    <a:cubicBezTo>
                      <a:pt x="19544" y="10500"/>
                      <a:pt x="18647" y="4759"/>
                      <a:pt x="14520" y="1768"/>
                    </a:cubicBezTo>
                    <a:cubicBezTo>
                      <a:pt x="10453" y="-1222"/>
                      <a:pt x="4712" y="-325"/>
                      <a:pt x="1722" y="3742"/>
                    </a:cubicBezTo>
                    <a:cubicBezTo>
                      <a:pt x="-1209" y="7809"/>
                      <a:pt x="-312" y="13610"/>
                      <a:pt x="3755" y="16600"/>
                    </a:cubicBezTo>
                    <a:close/>
                  </a:path>
                </a:pathLst>
              </a:custGeom>
              <a:grpFill/>
              <a:ln w="5978" cap="flat">
                <a:noFill/>
                <a:prstDash val="solid"/>
                <a:miter/>
              </a:ln>
            </p:spPr>
            <p:txBody>
              <a:bodyPr rtlCol="0" anchor="ctr"/>
              <a:lstStyle/>
              <a:p>
                <a:endParaRPr lang="en-GB"/>
              </a:p>
            </p:txBody>
          </p:sp>
        </p:grpSp>
        <p:grpSp>
          <p:nvGrpSpPr>
            <p:cNvPr id="929" name="Graphic 3">
              <a:extLst>
                <a:ext uri="{FF2B5EF4-FFF2-40B4-BE49-F238E27FC236}">
                  <a16:creationId xmlns:a16="http://schemas.microsoft.com/office/drawing/2014/main" id="{E18D10A1-BA40-46FC-9319-0AFF8D651B60}"/>
                </a:ext>
              </a:extLst>
            </p:cNvPr>
            <p:cNvGrpSpPr/>
            <p:nvPr/>
          </p:nvGrpSpPr>
          <p:grpSpPr>
            <a:xfrm>
              <a:off x="5540058" y="5069910"/>
              <a:ext cx="212782" cy="809166"/>
              <a:chOff x="5540058" y="5069910"/>
              <a:chExt cx="212782" cy="809166"/>
            </a:xfrm>
            <a:grpFill/>
          </p:grpSpPr>
          <p:sp>
            <p:nvSpPr>
              <p:cNvPr id="2611" name="Vrije vorm: vorm 2610">
                <a:extLst>
                  <a:ext uri="{FF2B5EF4-FFF2-40B4-BE49-F238E27FC236}">
                    <a16:creationId xmlns:a16="http://schemas.microsoft.com/office/drawing/2014/main" id="{5593D71B-77DE-4E32-A567-C2332ADA638C}"/>
                  </a:ext>
                </a:extLst>
              </p:cNvPr>
              <p:cNvSpPr/>
              <p:nvPr/>
            </p:nvSpPr>
            <p:spPr>
              <a:xfrm>
                <a:off x="5547677" y="5078330"/>
                <a:ext cx="197543" cy="792326"/>
              </a:xfrm>
              <a:custGeom>
                <a:avLst/>
                <a:gdLst>
                  <a:gd name="connsiteX0" fmla="*/ 197543 w 197543"/>
                  <a:gd name="connsiteY0" fmla="*/ 778 h 792326"/>
                  <a:gd name="connsiteX1" fmla="*/ 2930 w 197543"/>
                  <a:gd name="connsiteY1" fmla="*/ 792326 h 792326"/>
                  <a:gd name="connsiteX2" fmla="*/ 0 w 197543"/>
                  <a:gd name="connsiteY2" fmla="*/ 791549 h 792326"/>
                  <a:gd name="connsiteX3" fmla="*/ 194613 w 197543"/>
                  <a:gd name="connsiteY3" fmla="*/ 0 h 792326"/>
                </a:gdLst>
                <a:ahLst/>
                <a:cxnLst>
                  <a:cxn ang="0">
                    <a:pos x="connsiteX0" y="connsiteY0"/>
                  </a:cxn>
                  <a:cxn ang="0">
                    <a:pos x="connsiteX1" y="connsiteY1"/>
                  </a:cxn>
                  <a:cxn ang="0">
                    <a:pos x="connsiteX2" y="connsiteY2"/>
                  </a:cxn>
                  <a:cxn ang="0">
                    <a:pos x="connsiteX3" y="connsiteY3"/>
                  </a:cxn>
                </a:cxnLst>
                <a:rect l="l" t="t" r="r" b="b"/>
                <a:pathLst>
                  <a:path w="197543" h="792326">
                    <a:moveTo>
                      <a:pt x="197543" y="778"/>
                    </a:moveTo>
                    <a:lnTo>
                      <a:pt x="2930" y="792326"/>
                    </a:lnTo>
                    <a:lnTo>
                      <a:pt x="0" y="791549"/>
                    </a:lnTo>
                    <a:lnTo>
                      <a:pt x="194613" y="0"/>
                    </a:lnTo>
                    <a:close/>
                  </a:path>
                </a:pathLst>
              </a:custGeom>
              <a:grpFill/>
              <a:ln w="5978" cap="flat">
                <a:noFill/>
                <a:prstDash val="solid"/>
                <a:miter/>
              </a:ln>
            </p:spPr>
            <p:txBody>
              <a:bodyPr rtlCol="0" anchor="ctr"/>
              <a:lstStyle/>
              <a:p>
                <a:endParaRPr lang="en-GB"/>
              </a:p>
            </p:txBody>
          </p:sp>
          <p:sp>
            <p:nvSpPr>
              <p:cNvPr id="2612" name="Vrije vorm: vorm 2611">
                <a:extLst>
                  <a:ext uri="{FF2B5EF4-FFF2-40B4-BE49-F238E27FC236}">
                    <a16:creationId xmlns:a16="http://schemas.microsoft.com/office/drawing/2014/main" id="{2BC706E7-FFB1-4F0A-B74E-676491ACA36F}"/>
                  </a:ext>
                </a:extLst>
              </p:cNvPr>
              <p:cNvSpPr/>
              <p:nvPr/>
            </p:nvSpPr>
            <p:spPr>
              <a:xfrm>
                <a:off x="5734471" y="5069910"/>
                <a:ext cx="18368" cy="18451"/>
              </a:xfrm>
              <a:custGeom>
                <a:avLst/>
                <a:gdLst>
                  <a:gd name="connsiteX0" fmla="*/ 283 w 18368"/>
                  <a:gd name="connsiteY0" fmla="*/ 6985 h 18451"/>
                  <a:gd name="connsiteX1" fmla="*/ 11407 w 18368"/>
                  <a:gd name="connsiteY1" fmla="*/ 286 h 18451"/>
                  <a:gd name="connsiteX2" fmla="*/ 18106 w 18368"/>
                  <a:gd name="connsiteY2" fmla="*/ 11470 h 18451"/>
                  <a:gd name="connsiteX3" fmla="*/ 6981 w 18368"/>
                  <a:gd name="connsiteY3" fmla="*/ 18169 h 18451"/>
                  <a:gd name="connsiteX4" fmla="*/ 283 w 18368"/>
                  <a:gd name="connsiteY4" fmla="*/ 6985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51">
                    <a:moveTo>
                      <a:pt x="283" y="6985"/>
                    </a:moveTo>
                    <a:cubicBezTo>
                      <a:pt x="1479" y="2021"/>
                      <a:pt x="6443" y="-969"/>
                      <a:pt x="11407" y="286"/>
                    </a:cubicBezTo>
                    <a:cubicBezTo>
                      <a:pt x="16311" y="1542"/>
                      <a:pt x="19301" y="6507"/>
                      <a:pt x="18106" y="11470"/>
                    </a:cubicBezTo>
                    <a:cubicBezTo>
                      <a:pt x="16909" y="16374"/>
                      <a:pt x="11945" y="19425"/>
                      <a:pt x="6981" y="18169"/>
                    </a:cubicBezTo>
                    <a:cubicBezTo>
                      <a:pt x="2077" y="16973"/>
                      <a:pt x="-973" y="11949"/>
                      <a:pt x="283" y="6985"/>
                    </a:cubicBezTo>
                    <a:close/>
                  </a:path>
                </a:pathLst>
              </a:custGeom>
              <a:grpFill/>
              <a:ln w="5978" cap="flat">
                <a:noFill/>
                <a:prstDash val="solid"/>
                <a:miter/>
              </a:ln>
            </p:spPr>
            <p:txBody>
              <a:bodyPr rtlCol="0" anchor="ctr"/>
              <a:lstStyle/>
              <a:p>
                <a:endParaRPr lang="en-GB"/>
              </a:p>
            </p:txBody>
          </p:sp>
          <p:sp>
            <p:nvSpPr>
              <p:cNvPr id="2613" name="Vrije vorm: vorm 2612">
                <a:extLst>
                  <a:ext uri="{FF2B5EF4-FFF2-40B4-BE49-F238E27FC236}">
                    <a16:creationId xmlns:a16="http://schemas.microsoft.com/office/drawing/2014/main" id="{66146490-7EA2-4F75-BFCD-F8905C4BE443}"/>
                  </a:ext>
                </a:extLst>
              </p:cNvPr>
              <p:cNvSpPr/>
              <p:nvPr/>
            </p:nvSpPr>
            <p:spPr>
              <a:xfrm>
                <a:off x="5540058" y="5860621"/>
                <a:ext cx="18289" cy="18455"/>
              </a:xfrm>
              <a:custGeom>
                <a:avLst/>
                <a:gdLst>
                  <a:gd name="connsiteX0" fmla="*/ 263 w 18289"/>
                  <a:gd name="connsiteY0" fmla="*/ 6985 h 18455"/>
                  <a:gd name="connsiteX1" fmla="*/ 6962 w 18289"/>
                  <a:gd name="connsiteY1" fmla="*/ 18169 h 18455"/>
                  <a:gd name="connsiteX2" fmla="*/ 18026 w 18289"/>
                  <a:gd name="connsiteY2" fmla="*/ 11470 h 18455"/>
                  <a:gd name="connsiteX3" fmla="*/ 11328 w 18289"/>
                  <a:gd name="connsiteY3" fmla="*/ 286 h 18455"/>
                  <a:gd name="connsiteX4" fmla="*/ 263 w 18289"/>
                  <a:gd name="connsiteY4" fmla="*/ 6985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55">
                    <a:moveTo>
                      <a:pt x="263" y="6985"/>
                    </a:moveTo>
                    <a:cubicBezTo>
                      <a:pt x="-933" y="11949"/>
                      <a:pt x="2058" y="16913"/>
                      <a:pt x="6962" y="18169"/>
                    </a:cubicBezTo>
                    <a:cubicBezTo>
                      <a:pt x="11866" y="19425"/>
                      <a:pt x="16830" y="16435"/>
                      <a:pt x="18026" y="11470"/>
                    </a:cubicBezTo>
                    <a:cubicBezTo>
                      <a:pt x="19222" y="6566"/>
                      <a:pt x="16232" y="1543"/>
                      <a:pt x="11328" y="286"/>
                    </a:cubicBezTo>
                    <a:cubicBezTo>
                      <a:pt x="6483" y="-970"/>
                      <a:pt x="1519" y="2021"/>
                      <a:pt x="263" y="6985"/>
                    </a:cubicBezTo>
                    <a:close/>
                  </a:path>
                </a:pathLst>
              </a:custGeom>
              <a:grpFill/>
              <a:ln w="5978" cap="flat">
                <a:noFill/>
                <a:prstDash val="solid"/>
                <a:miter/>
              </a:ln>
            </p:spPr>
            <p:txBody>
              <a:bodyPr rtlCol="0" anchor="ctr"/>
              <a:lstStyle/>
              <a:p>
                <a:endParaRPr lang="en-GB"/>
              </a:p>
            </p:txBody>
          </p:sp>
        </p:grpSp>
        <p:grpSp>
          <p:nvGrpSpPr>
            <p:cNvPr id="930" name="Graphic 3">
              <a:extLst>
                <a:ext uri="{FF2B5EF4-FFF2-40B4-BE49-F238E27FC236}">
                  <a16:creationId xmlns:a16="http://schemas.microsoft.com/office/drawing/2014/main" id="{23A9C9B2-FCFD-4389-840B-B7A16360603F}"/>
                </a:ext>
              </a:extLst>
            </p:cNvPr>
            <p:cNvGrpSpPr/>
            <p:nvPr/>
          </p:nvGrpSpPr>
          <p:grpSpPr>
            <a:xfrm>
              <a:off x="4358130" y="2069029"/>
              <a:ext cx="352108" cy="322085"/>
              <a:chOff x="4358130" y="2069029"/>
              <a:chExt cx="352108" cy="322085"/>
            </a:xfrm>
            <a:grpFill/>
          </p:grpSpPr>
          <p:sp>
            <p:nvSpPr>
              <p:cNvPr id="2608" name="Vrije vorm: vorm 2607">
                <a:extLst>
                  <a:ext uri="{FF2B5EF4-FFF2-40B4-BE49-F238E27FC236}">
                    <a16:creationId xmlns:a16="http://schemas.microsoft.com/office/drawing/2014/main" id="{DAED3970-F9C8-441A-B712-30646822E82F}"/>
                  </a:ext>
                </a:extLst>
              </p:cNvPr>
              <p:cNvSpPr/>
              <p:nvPr/>
            </p:nvSpPr>
            <p:spPr>
              <a:xfrm>
                <a:off x="4365886" y="2076786"/>
                <a:ext cx="336535" cy="306511"/>
              </a:xfrm>
              <a:custGeom>
                <a:avLst/>
                <a:gdLst>
                  <a:gd name="connsiteX0" fmla="*/ 336535 w 336535"/>
                  <a:gd name="connsiteY0" fmla="*/ 304239 h 306511"/>
                  <a:gd name="connsiteX1" fmla="*/ 334502 w 336535"/>
                  <a:gd name="connsiteY1" fmla="*/ 306512 h 306511"/>
                  <a:gd name="connsiteX2" fmla="*/ 0 w 336535"/>
                  <a:gd name="connsiteY2" fmla="*/ 2273 h 306511"/>
                  <a:gd name="connsiteX3" fmla="*/ 2093 w 336535"/>
                  <a:gd name="connsiteY3" fmla="*/ 0 h 306511"/>
                </a:gdLst>
                <a:ahLst/>
                <a:cxnLst>
                  <a:cxn ang="0">
                    <a:pos x="connsiteX0" y="connsiteY0"/>
                  </a:cxn>
                  <a:cxn ang="0">
                    <a:pos x="connsiteX1" y="connsiteY1"/>
                  </a:cxn>
                  <a:cxn ang="0">
                    <a:pos x="connsiteX2" y="connsiteY2"/>
                  </a:cxn>
                  <a:cxn ang="0">
                    <a:pos x="connsiteX3" y="connsiteY3"/>
                  </a:cxn>
                </a:cxnLst>
                <a:rect l="l" t="t" r="r" b="b"/>
                <a:pathLst>
                  <a:path w="336535" h="306511">
                    <a:moveTo>
                      <a:pt x="336535" y="304239"/>
                    </a:moveTo>
                    <a:lnTo>
                      <a:pt x="334502" y="306512"/>
                    </a:lnTo>
                    <a:lnTo>
                      <a:pt x="0" y="2273"/>
                    </a:lnTo>
                    <a:lnTo>
                      <a:pt x="2093" y="0"/>
                    </a:lnTo>
                    <a:close/>
                  </a:path>
                </a:pathLst>
              </a:custGeom>
              <a:grpFill/>
              <a:ln w="5978" cap="flat">
                <a:noFill/>
                <a:prstDash val="solid"/>
                <a:miter/>
              </a:ln>
            </p:spPr>
            <p:txBody>
              <a:bodyPr rtlCol="0" anchor="ctr"/>
              <a:lstStyle/>
              <a:p>
                <a:endParaRPr lang="en-GB"/>
              </a:p>
            </p:txBody>
          </p:sp>
          <p:sp>
            <p:nvSpPr>
              <p:cNvPr id="2609" name="Vrije vorm: vorm 2608">
                <a:extLst>
                  <a:ext uri="{FF2B5EF4-FFF2-40B4-BE49-F238E27FC236}">
                    <a16:creationId xmlns:a16="http://schemas.microsoft.com/office/drawing/2014/main" id="{504DE67D-E008-47A8-9148-9A0ED7DEF34C}"/>
                  </a:ext>
                </a:extLst>
              </p:cNvPr>
              <p:cNvSpPr/>
              <p:nvPr/>
            </p:nvSpPr>
            <p:spPr>
              <a:xfrm>
                <a:off x="4691914" y="2372649"/>
                <a:ext cx="18324" cy="18465"/>
              </a:xfrm>
              <a:custGeom>
                <a:avLst/>
                <a:gdLst>
                  <a:gd name="connsiteX0" fmla="*/ 15293 w 18324"/>
                  <a:gd name="connsiteY0" fmla="*/ 2395 h 18465"/>
                  <a:gd name="connsiteX1" fmla="*/ 15950 w 18324"/>
                  <a:gd name="connsiteY1" fmla="*/ 15433 h 18465"/>
                  <a:gd name="connsiteX2" fmla="*/ 3032 w 18324"/>
                  <a:gd name="connsiteY2" fmla="*/ 16091 h 18465"/>
                  <a:gd name="connsiteX3" fmla="*/ 2374 w 18324"/>
                  <a:gd name="connsiteY3" fmla="*/ 3053 h 18465"/>
                  <a:gd name="connsiteX4" fmla="*/ 15293 w 18324"/>
                  <a:gd name="connsiteY4" fmla="*/ 2395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65">
                    <a:moveTo>
                      <a:pt x="15293" y="2395"/>
                    </a:moveTo>
                    <a:cubicBezTo>
                      <a:pt x="19060" y="5804"/>
                      <a:pt x="19359" y="11665"/>
                      <a:pt x="15950" y="15433"/>
                    </a:cubicBezTo>
                    <a:cubicBezTo>
                      <a:pt x="12542" y="19201"/>
                      <a:pt x="6740" y="19500"/>
                      <a:pt x="3032" y="16091"/>
                    </a:cubicBezTo>
                    <a:cubicBezTo>
                      <a:pt x="-736" y="12682"/>
                      <a:pt x="-1035" y="6821"/>
                      <a:pt x="2374" y="3053"/>
                    </a:cubicBezTo>
                    <a:cubicBezTo>
                      <a:pt x="5724" y="-775"/>
                      <a:pt x="11525" y="-1014"/>
                      <a:pt x="15293" y="2395"/>
                    </a:cubicBezTo>
                    <a:close/>
                  </a:path>
                </a:pathLst>
              </a:custGeom>
              <a:grpFill/>
              <a:ln w="5978" cap="flat">
                <a:noFill/>
                <a:prstDash val="solid"/>
                <a:miter/>
              </a:ln>
            </p:spPr>
            <p:txBody>
              <a:bodyPr rtlCol="0" anchor="ctr"/>
              <a:lstStyle/>
              <a:p>
                <a:endParaRPr lang="en-GB"/>
              </a:p>
            </p:txBody>
          </p:sp>
          <p:sp>
            <p:nvSpPr>
              <p:cNvPr id="2610" name="Vrije vorm: vorm 2609">
                <a:extLst>
                  <a:ext uri="{FF2B5EF4-FFF2-40B4-BE49-F238E27FC236}">
                    <a16:creationId xmlns:a16="http://schemas.microsoft.com/office/drawing/2014/main" id="{B22E6CEA-6415-4E3B-A1DA-C404DAF51AC5}"/>
                  </a:ext>
                </a:extLst>
              </p:cNvPr>
              <p:cNvSpPr/>
              <p:nvPr/>
            </p:nvSpPr>
            <p:spPr>
              <a:xfrm>
                <a:off x="4358130" y="2069029"/>
                <a:ext cx="18324" cy="18474"/>
              </a:xfrm>
              <a:custGeom>
                <a:avLst/>
                <a:gdLst>
                  <a:gd name="connsiteX0" fmla="*/ 15293 w 18324"/>
                  <a:gd name="connsiteY0" fmla="*/ 2374 h 18474"/>
                  <a:gd name="connsiteX1" fmla="*/ 2374 w 18324"/>
                  <a:gd name="connsiteY1" fmla="*/ 3032 h 18474"/>
                  <a:gd name="connsiteX2" fmla="*/ 3032 w 18324"/>
                  <a:gd name="connsiteY2" fmla="*/ 16070 h 18474"/>
                  <a:gd name="connsiteX3" fmla="*/ 15950 w 18324"/>
                  <a:gd name="connsiteY3" fmla="*/ 15472 h 18474"/>
                  <a:gd name="connsiteX4" fmla="*/ 15293 w 18324"/>
                  <a:gd name="connsiteY4" fmla="*/ 2374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74">
                    <a:moveTo>
                      <a:pt x="15293" y="2374"/>
                    </a:moveTo>
                    <a:cubicBezTo>
                      <a:pt x="11525" y="-1035"/>
                      <a:pt x="5724" y="-736"/>
                      <a:pt x="2374" y="3032"/>
                    </a:cubicBezTo>
                    <a:cubicBezTo>
                      <a:pt x="-1035" y="6800"/>
                      <a:pt x="-736" y="12601"/>
                      <a:pt x="3032" y="16070"/>
                    </a:cubicBezTo>
                    <a:cubicBezTo>
                      <a:pt x="6800" y="19539"/>
                      <a:pt x="12601" y="19180"/>
                      <a:pt x="15950" y="15472"/>
                    </a:cubicBezTo>
                    <a:cubicBezTo>
                      <a:pt x="19359" y="11644"/>
                      <a:pt x="19060" y="5843"/>
                      <a:pt x="15293" y="2374"/>
                    </a:cubicBezTo>
                    <a:close/>
                  </a:path>
                </a:pathLst>
              </a:custGeom>
              <a:grpFill/>
              <a:ln w="5978" cap="flat">
                <a:noFill/>
                <a:prstDash val="solid"/>
                <a:miter/>
              </a:ln>
            </p:spPr>
            <p:txBody>
              <a:bodyPr rtlCol="0" anchor="ctr"/>
              <a:lstStyle/>
              <a:p>
                <a:endParaRPr lang="en-GB"/>
              </a:p>
            </p:txBody>
          </p:sp>
        </p:grpSp>
        <p:grpSp>
          <p:nvGrpSpPr>
            <p:cNvPr id="931" name="Graphic 3">
              <a:extLst>
                <a:ext uri="{FF2B5EF4-FFF2-40B4-BE49-F238E27FC236}">
                  <a16:creationId xmlns:a16="http://schemas.microsoft.com/office/drawing/2014/main" id="{4B205112-F50A-4CE3-9486-D63FE0FF32A6}"/>
                </a:ext>
              </a:extLst>
            </p:cNvPr>
            <p:cNvGrpSpPr/>
            <p:nvPr/>
          </p:nvGrpSpPr>
          <p:grpSpPr>
            <a:xfrm>
              <a:off x="5489104" y="5054663"/>
              <a:ext cx="202669" cy="641997"/>
              <a:chOff x="5489104" y="5054663"/>
              <a:chExt cx="202669" cy="641997"/>
            </a:xfrm>
            <a:grpFill/>
          </p:grpSpPr>
          <p:sp>
            <p:nvSpPr>
              <p:cNvPr id="2605" name="Vrije vorm: vorm 2604">
                <a:extLst>
                  <a:ext uri="{FF2B5EF4-FFF2-40B4-BE49-F238E27FC236}">
                    <a16:creationId xmlns:a16="http://schemas.microsoft.com/office/drawing/2014/main" id="{1848578C-0EC4-4685-A27C-6B5B8AFEB638}"/>
                  </a:ext>
                </a:extLst>
              </p:cNvPr>
              <p:cNvSpPr/>
              <p:nvPr/>
            </p:nvSpPr>
            <p:spPr>
              <a:xfrm>
                <a:off x="5496662" y="5063020"/>
                <a:ext cx="187495" cy="625284"/>
              </a:xfrm>
              <a:custGeom>
                <a:avLst/>
                <a:gdLst>
                  <a:gd name="connsiteX0" fmla="*/ 187496 w 187495"/>
                  <a:gd name="connsiteY0" fmla="*/ 897 h 625284"/>
                  <a:gd name="connsiteX1" fmla="*/ 2930 w 187495"/>
                  <a:gd name="connsiteY1" fmla="*/ 625285 h 625284"/>
                  <a:gd name="connsiteX2" fmla="*/ 0 w 187495"/>
                  <a:gd name="connsiteY2" fmla="*/ 624447 h 625284"/>
                  <a:gd name="connsiteX3" fmla="*/ 184565 w 187495"/>
                  <a:gd name="connsiteY3" fmla="*/ 0 h 625284"/>
                </a:gdLst>
                <a:ahLst/>
                <a:cxnLst>
                  <a:cxn ang="0">
                    <a:pos x="connsiteX0" y="connsiteY0"/>
                  </a:cxn>
                  <a:cxn ang="0">
                    <a:pos x="connsiteX1" y="connsiteY1"/>
                  </a:cxn>
                  <a:cxn ang="0">
                    <a:pos x="connsiteX2" y="connsiteY2"/>
                  </a:cxn>
                  <a:cxn ang="0">
                    <a:pos x="connsiteX3" y="connsiteY3"/>
                  </a:cxn>
                </a:cxnLst>
                <a:rect l="l" t="t" r="r" b="b"/>
                <a:pathLst>
                  <a:path w="187495" h="625284">
                    <a:moveTo>
                      <a:pt x="187496" y="897"/>
                    </a:moveTo>
                    <a:lnTo>
                      <a:pt x="2930" y="625285"/>
                    </a:lnTo>
                    <a:lnTo>
                      <a:pt x="0" y="624447"/>
                    </a:lnTo>
                    <a:lnTo>
                      <a:pt x="184565" y="0"/>
                    </a:lnTo>
                    <a:close/>
                  </a:path>
                </a:pathLst>
              </a:custGeom>
              <a:grpFill/>
              <a:ln w="5978" cap="flat">
                <a:noFill/>
                <a:prstDash val="solid"/>
                <a:miter/>
              </a:ln>
            </p:spPr>
            <p:txBody>
              <a:bodyPr rtlCol="0" anchor="ctr"/>
              <a:lstStyle/>
              <a:p>
                <a:endParaRPr lang="en-GB"/>
              </a:p>
            </p:txBody>
          </p:sp>
          <p:sp>
            <p:nvSpPr>
              <p:cNvPr id="2606" name="Vrije vorm: vorm 2605">
                <a:extLst>
                  <a:ext uri="{FF2B5EF4-FFF2-40B4-BE49-F238E27FC236}">
                    <a16:creationId xmlns:a16="http://schemas.microsoft.com/office/drawing/2014/main" id="{48B77A8E-6C8C-4D93-87A5-2ED4067938A3}"/>
                  </a:ext>
                </a:extLst>
              </p:cNvPr>
              <p:cNvSpPr/>
              <p:nvPr/>
            </p:nvSpPr>
            <p:spPr>
              <a:xfrm>
                <a:off x="5673430" y="5054663"/>
                <a:ext cx="18344" cy="18447"/>
              </a:xfrm>
              <a:custGeom>
                <a:avLst/>
                <a:gdLst>
                  <a:gd name="connsiteX0" fmla="*/ 380 w 18344"/>
                  <a:gd name="connsiteY0" fmla="*/ 6562 h 18447"/>
                  <a:gd name="connsiteX1" fmla="*/ 11804 w 18344"/>
                  <a:gd name="connsiteY1" fmla="*/ 402 h 18447"/>
                  <a:gd name="connsiteX2" fmla="*/ 17964 w 18344"/>
                  <a:gd name="connsiteY2" fmla="*/ 11885 h 18447"/>
                  <a:gd name="connsiteX3" fmla="*/ 6541 w 18344"/>
                  <a:gd name="connsiteY3" fmla="*/ 18045 h 18447"/>
                  <a:gd name="connsiteX4" fmla="*/ 380 w 18344"/>
                  <a:gd name="connsiteY4" fmla="*/ 6562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47">
                    <a:moveTo>
                      <a:pt x="380" y="6562"/>
                    </a:moveTo>
                    <a:cubicBezTo>
                      <a:pt x="1816" y="1718"/>
                      <a:pt x="6899" y="-1093"/>
                      <a:pt x="11804" y="402"/>
                    </a:cubicBezTo>
                    <a:cubicBezTo>
                      <a:pt x="16648" y="1897"/>
                      <a:pt x="19399" y="6981"/>
                      <a:pt x="17964" y="11885"/>
                    </a:cubicBezTo>
                    <a:cubicBezTo>
                      <a:pt x="16528" y="16729"/>
                      <a:pt x="11445" y="19541"/>
                      <a:pt x="6541" y="18045"/>
                    </a:cubicBezTo>
                    <a:cubicBezTo>
                      <a:pt x="1696" y="16610"/>
                      <a:pt x="-1055" y="11466"/>
                      <a:pt x="380" y="6562"/>
                    </a:cubicBezTo>
                    <a:close/>
                  </a:path>
                </a:pathLst>
              </a:custGeom>
              <a:grpFill/>
              <a:ln w="5978" cap="flat">
                <a:noFill/>
                <a:prstDash val="solid"/>
                <a:miter/>
              </a:ln>
            </p:spPr>
            <p:txBody>
              <a:bodyPr rtlCol="0" anchor="ctr"/>
              <a:lstStyle/>
              <a:p>
                <a:endParaRPr lang="en-GB"/>
              </a:p>
            </p:txBody>
          </p:sp>
          <p:sp>
            <p:nvSpPr>
              <p:cNvPr id="2607" name="Vrije vorm: vorm 2606">
                <a:extLst>
                  <a:ext uri="{FF2B5EF4-FFF2-40B4-BE49-F238E27FC236}">
                    <a16:creationId xmlns:a16="http://schemas.microsoft.com/office/drawing/2014/main" id="{91C68F54-C6F3-404F-89F3-0D3928B8CB22}"/>
                  </a:ext>
                </a:extLst>
              </p:cNvPr>
              <p:cNvSpPr/>
              <p:nvPr/>
            </p:nvSpPr>
            <p:spPr>
              <a:xfrm>
                <a:off x="5489104" y="5678235"/>
                <a:ext cx="18344" cy="18425"/>
              </a:xfrm>
              <a:custGeom>
                <a:avLst/>
                <a:gdLst>
                  <a:gd name="connsiteX0" fmla="*/ 380 w 18344"/>
                  <a:gd name="connsiteY0" fmla="*/ 6540 h 18425"/>
                  <a:gd name="connsiteX1" fmla="*/ 6541 w 18344"/>
                  <a:gd name="connsiteY1" fmla="*/ 18023 h 18425"/>
                  <a:gd name="connsiteX2" fmla="*/ 17964 w 18344"/>
                  <a:gd name="connsiteY2" fmla="*/ 11863 h 18425"/>
                  <a:gd name="connsiteX3" fmla="*/ 11804 w 18344"/>
                  <a:gd name="connsiteY3" fmla="*/ 381 h 18425"/>
                  <a:gd name="connsiteX4" fmla="*/ 380 w 18344"/>
                  <a:gd name="connsiteY4" fmla="*/ 6540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5">
                    <a:moveTo>
                      <a:pt x="380" y="6540"/>
                    </a:moveTo>
                    <a:cubicBezTo>
                      <a:pt x="-1055" y="11385"/>
                      <a:pt x="1696" y="16528"/>
                      <a:pt x="6541" y="18023"/>
                    </a:cubicBezTo>
                    <a:cubicBezTo>
                      <a:pt x="11385" y="19519"/>
                      <a:pt x="16469" y="16708"/>
                      <a:pt x="17964" y="11863"/>
                    </a:cubicBezTo>
                    <a:cubicBezTo>
                      <a:pt x="19399" y="7019"/>
                      <a:pt x="16648" y="1876"/>
                      <a:pt x="11804" y="381"/>
                    </a:cubicBezTo>
                    <a:cubicBezTo>
                      <a:pt x="6899" y="-1055"/>
                      <a:pt x="1816" y="1696"/>
                      <a:pt x="380" y="6540"/>
                    </a:cubicBezTo>
                    <a:close/>
                  </a:path>
                </a:pathLst>
              </a:custGeom>
              <a:grpFill/>
              <a:ln w="5978" cap="flat">
                <a:noFill/>
                <a:prstDash val="solid"/>
                <a:miter/>
              </a:ln>
            </p:spPr>
            <p:txBody>
              <a:bodyPr rtlCol="0" anchor="ctr"/>
              <a:lstStyle/>
              <a:p>
                <a:endParaRPr lang="en-GB"/>
              </a:p>
            </p:txBody>
          </p:sp>
        </p:grpSp>
        <p:grpSp>
          <p:nvGrpSpPr>
            <p:cNvPr id="932" name="Graphic 3">
              <a:extLst>
                <a:ext uri="{FF2B5EF4-FFF2-40B4-BE49-F238E27FC236}">
                  <a16:creationId xmlns:a16="http://schemas.microsoft.com/office/drawing/2014/main" id="{18B400DB-C171-434D-9FEF-2F909BE037E5}"/>
                </a:ext>
              </a:extLst>
            </p:cNvPr>
            <p:cNvGrpSpPr/>
            <p:nvPr/>
          </p:nvGrpSpPr>
          <p:grpSpPr>
            <a:xfrm>
              <a:off x="5455175" y="4992885"/>
              <a:ext cx="59588" cy="137517"/>
              <a:chOff x="5455175" y="4992885"/>
              <a:chExt cx="59588" cy="137517"/>
            </a:xfrm>
            <a:grpFill/>
          </p:grpSpPr>
          <p:sp>
            <p:nvSpPr>
              <p:cNvPr id="2602" name="Vrije vorm: vorm 2601">
                <a:extLst>
                  <a:ext uri="{FF2B5EF4-FFF2-40B4-BE49-F238E27FC236}">
                    <a16:creationId xmlns:a16="http://schemas.microsoft.com/office/drawing/2014/main" id="{454726D1-4BCA-4DBD-B6B7-C8C203EF83AD}"/>
                  </a:ext>
                </a:extLst>
              </p:cNvPr>
              <p:cNvSpPr/>
              <p:nvPr/>
            </p:nvSpPr>
            <p:spPr>
              <a:xfrm>
                <a:off x="5462691" y="5001119"/>
                <a:ext cx="44496" cy="120989"/>
              </a:xfrm>
              <a:custGeom>
                <a:avLst/>
                <a:gdLst>
                  <a:gd name="connsiteX0" fmla="*/ 44497 w 44496"/>
                  <a:gd name="connsiteY0" fmla="*/ 1017 h 120989"/>
                  <a:gd name="connsiteX1" fmla="*/ 2930 w 44496"/>
                  <a:gd name="connsiteY1" fmla="*/ 120990 h 120989"/>
                  <a:gd name="connsiteX2" fmla="*/ 0 w 44496"/>
                  <a:gd name="connsiteY2" fmla="*/ 119973 h 120989"/>
                  <a:gd name="connsiteX3" fmla="*/ 41626 w 44496"/>
                  <a:gd name="connsiteY3" fmla="*/ 0 h 120989"/>
                </a:gdLst>
                <a:ahLst/>
                <a:cxnLst>
                  <a:cxn ang="0">
                    <a:pos x="connsiteX0" y="connsiteY0"/>
                  </a:cxn>
                  <a:cxn ang="0">
                    <a:pos x="connsiteX1" y="connsiteY1"/>
                  </a:cxn>
                  <a:cxn ang="0">
                    <a:pos x="connsiteX2" y="connsiteY2"/>
                  </a:cxn>
                  <a:cxn ang="0">
                    <a:pos x="connsiteX3" y="connsiteY3"/>
                  </a:cxn>
                </a:cxnLst>
                <a:rect l="l" t="t" r="r" b="b"/>
                <a:pathLst>
                  <a:path w="44496" h="120989">
                    <a:moveTo>
                      <a:pt x="44497" y="1017"/>
                    </a:moveTo>
                    <a:lnTo>
                      <a:pt x="2930" y="120990"/>
                    </a:lnTo>
                    <a:lnTo>
                      <a:pt x="0" y="119973"/>
                    </a:lnTo>
                    <a:lnTo>
                      <a:pt x="41626" y="0"/>
                    </a:lnTo>
                    <a:close/>
                  </a:path>
                </a:pathLst>
              </a:custGeom>
              <a:grpFill/>
              <a:ln w="5978" cap="flat">
                <a:noFill/>
                <a:prstDash val="solid"/>
                <a:miter/>
              </a:ln>
            </p:spPr>
            <p:txBody>
              <a:bodyPr rtlCol="0" anchor="ctr"/>
              <a:lstStyle/>
              <a:p>
                <a:endParaRPr lang="en-GB"/>
              </a:p>
            </p:txBody>
          </p:sp>
          <p:sp>
            <p:nvSpPr>
              <p:cNvPr id="2603" name="Vrije vorm: vorm 2602">
                <a:extLst>
                  <a:ext uri="{FF2B5EF4-FFF2-40B4-BE49-F238E27FC236}">
                    <a16:creationId xmlns:a16="http://schemas.microsoft.com/office/drawing/2014/main" id="{00429A68-9708-4802-8301-B1D8AF78CE31}"/>
                  </a:ext>
                </a:extLst>
              </p:cNvPr>
              <p:cNvSpPr/>
              <p:nvPr/>
            </p:nvSpPr>
            <p:spPr>
              <a:xfrm>
                <a:off x="5455175" y="5112021"/>
                <a:ext cx="18315" cy="18381"/>
              </a:xfrm>
              <a:custGeom>
                <a:avLst/>
                <a:gdLst>
                  <a:gd name="connsiteX0" fmla="*/ 17803 w 18315"/>
                  <a:gd name="connsiteY0" fmla="*/ 12241 h 18381"/>
                  <a:gd name="connsiteX1" fmla="*/ 6141 w 18315"/>
                  <a:gd name="connsiteY1" fmla="*/ 17863 h 18381"/>
                  <a:gd name="connsiteX2" fmla="*/ 519 w 18315"/>
                  <a:gd name="connsiteY2" fmla="*/ 6141 h 18381"/>
                  <a:gd name="connsiteX3" fmla="*/ 12181 w 18315"/>
                  <a:gd name="connsiteY3" fmla="*/ 519 h 18381"/>
                  <a:gd name="connsiteX4" fmla="*/ 17803 w 18315"/>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81">
                    <a:moveTo>
                      <a:pt x="17803" y="12241"/>
                    </a:moveTo>
                    <a:cubicBezTo>
                      <a:pt x="16129" y="17026"/>
                      <a:pt x="10925" y="19538"/>
                      <a:pt x="6141" y="17863"/>
                    </a:cubicBezTo>
                    <a:cubicBezTo>
                      <a:pt x="1356" y="16188"/>
                      <a:pt x="-1156" y="10925"/>
                      <a:pt x="519" y="6141"/>
                    </a:cubicBezTo>
                    <a:cubicBezTo>
                      <a:pt x="2193" y="1356"/>
                      <a:pt x="7397" y="-1156"/>
                      <a:pt x="12181" y="519"/>
                    </a:cubicBezTo>
                    <a:cubicBezTo>
                      <a:pt x="16906" y="2134"/>
                      <a:pt x="19478" y="7397"/>
                      <a:pt x="17803" y="12241"/>
                    </a:cubicBezTo>
                    <a:close/>
                  </a:path>
                </a:pathLst>
              </a:custGeom>
              <a:grpFill/>
              <a:ln w="5978" cap="flat">
                <a:noFill/>
                <a:prstDash val="solid"/>
                <a:miter/>
              </a:ln>
            </p:spPr>
            <p:txBody>
              <a:bodyPr rtlCol="0" anchor="ctr"/>
              <a:lstStyle/>
              <a:p>
                <a:endParaRPr lang="en-GB"/>
              </a:p>
            </p:txBody>
          </p:sp>
          <p:sp>
            <p:nvSpPr>
              <p:cNvPr id="2604" name="Vrije vorm: vorm 2603">
                <a:extLst>
                  <a:ext uri="{FF2B5EF4-FFF2-40B4-BE49-F238E27FC236}">
                    <a16:creationId xmlns:a16="http://schemas.microsoft.com/office/drawing/2014/main" id="{DB9F0CE6-9553-4763-9E99-295C50A90318}"/>
                  </a:ext>
                </a:extLst>
              </p:cNvPr>
              <p:cNvSpPr/>
              <p:nvPr/>
            </p:nvSpPr>
            <p:spPr>
              <a:xfrm>
                <a:off x="5496442" y="4992885"/>
                <a:ext cx="18322" cy="18381"/>
              </a:xfrm>
              <a:custGeom>
                <a:avLst/>
                <a:gdLst>
                  <a:gd name="connsiteX0" fmla="*/ 17803 w 18322"/>
                  <a:gd name="connsiteY0" fmla="*/ 12241 h 18381"/>
                  <a:gd name="connsiteX1" fmla="*/ 12181 w 18322"/>
                  <a:gd name="connsiteY1" fmla="*/ 519 h 18381"/>
                  <a:gd name="connsiteX2" fmla="*/ 519 w 18322"/>
                  <a:gd name="connsiteY2" fmla="*/ 6141 h 18381"/>
                  <a:gd name="connsiteX3" fmla="*/ 6141 w 18322"/>
                  <a:gd name="connsiteY3" fmla="*/ 17863 h 18381"/>
                  <a:gd name="connsiteX4" fmla="*/ 17803 w 18322"/>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81">
                    <a:moveTo>
                      <a:pt x="17803" y="12241"/>
                    </a:moveTo>
                    <a:cubicBezTo>
                      <a:pt x="19478" y="7456"/>
                      <a:pt x="16966" y="2193"/>
                      <a:pt x="12181" y="519"/>
                    </a:cubicBezTo>
                    <a:cubicBezTo>
                      <a:pt x="7397" y="-1156"/>
                      <a:pt x="2194" y="1356"/>
                      <a:pt x="519" y="6141"/>
                    </a:cubicBezTo>
                    <a:cubicBezTo>
                      <a:pt x="-1156" y="10925"/>
                      <a:pt x="1356" y="16188"/>
                      <a:pt x="6141" y="17863"/>
                    </a:cubicBezTo>
                    <a:cubicBezTo>
                      <a:pt x="10926" y="19538"/>
                      <a:pt x="16129" y="17026"/>
                      <a:pt x="17803" y="12241"/>
                    </a:cubicBezTo>
                    <a:close/>
                  </a:path>
                </a:pathLst>
              </a:custGeom>
              <a:grpFill/>
              <a:ln w="5978" cap="flat">
                <a:noFill/>
                <a:prstDash val="solid"/>
                <a:miter/>
              </a:ln>
            </p:spPr>
            <p:txBody>
              <a:bodyPr rtlCol="0" anchor="ctr"/>
              <a:lstStyle/>
              <a:p>
                <a:endParaRPr lang="en-GB"/>
              </a:p>
            </p:txBody>
          </p:sp>
        </p:grpSp>
        <p:grpSp>
          <p:nvGrpSpPr>
            <p:cNvPr id="933" name="Graphic 3">
              <a:extLst>
                <a:ext uri="{FF2B5EF4-FFF2-40B4-BE49-F238E27FC236}">
                  <a16:creationId xmlns:a16="http://schemas.microsoft.com/office/drawing/2014/main" id="{7AD62F43-86BD-4C2E-939C-A2E57575A978}"/>
                </a:ext>
              </a:extLst>
            </p:cNvPr>
            <p:cNvGrpSpPr/>
            <p:nvPr/>
          </p:nvGrpSpPr>
          <p:grpSpPr>
            <a:xfrm>
              <a:off x="4526627" y="2247382"/>
              <a:ext cx="24307" cy="22949"/>
              <a:chOff x="4526627" y="2247382"/>
              <a:chExt cx="24307" cy="22949"/>
            </a:xfrm>
            <a:grpFill/>
          </p:grpSpPr>
          <p:sp>
            <p:nvSpPr>
              <p:cNvPr id="2600" name="Vrije vorm: vorm 2599">
                <a:extLst>
                  <a:ext uri="{FF2B5EF4-FFF2-40B4-BE49-F238E27FC236}">
                    <a16:creationId xmlns:a16="http://schemas.microsoft.com/office/drawing/2014/main" id="{477679F1-91EA-4BE3-8BFA-06275BA4E02B}"/>
                  </a:ext>
                </a:extLst>
              </p:cNvPr>
              <p:cNvSpPr/>
              <p:nvPr/>
            </p:nvSpPr>
            <p:spPr>
              <a:xfrm>
                <a:off x="4532565" y="2251909"/>
                <a:ext cx="18369" cy="18421"/>
              </a:xfrm>
              <a:custGeom>
                <a:avLst/>
                <a:gdLst>
                  <a:gd name="connsiteX0" fmla="*/ 3653 w 18369"/>
                  <a:gd name="connsiteY0" fmla="*/ 16559 h 18421"/>
                  <a:gd name="connsiteX1" fmla="*/ 1858 w 18369"/>
                  <a:gd name="connsiteY1" fmla="*/ 3641 h 18421"/>
                  <a:gd name="connsiteX2" fmla="*/ 14717 w 18369"/>
                  <a:gd name="connsiteY2" fmla="*/ 1906 h 18421"/>
                  <a:gd name="connsiteX3" fmla="*/ 16511 w 18369"/>
                  <a:gd name="connsiteY3" fmla="*/ 14824 h 18421"/>
                  <a:gd name="connsiteX4" fmla="*/ 3653 w 18369"/>
                  <a:gd name="connsiteY4" fmla="*/ 1655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21">
                    <a:moveTo>
                      <a:pt x="3653" y="16559"/>
                    </a:moveTo>
                    <a:cubicBezTo>
                      <a:pt x="-414" y="13449"/>
                      <a:pt x="-1192" y="7707"/>
                      <a:pt x="1858" y="3641"/>
                    </a:cubicBezTo>
                    <a:cubicBezTo>
                      <a:pt x="4908" y="-426"/>
                      <a:pt x="10650" y="-1204"/>
                      <a:pt x="14717" y="1906"/>
                    </a:cubicBezTo>
                    <a:cubicBezTo>
                      <a:pt x="18784" y="5016"/>
                      <a:pt x="19561" y="10758"/>
                      <a:pt x="16511" y="14824"/>
                    </a:cubicBezTo>
                    <a:cubicBezTo>
                      <a:pt x="13401" y="18832"/>
                      <a:pt x="7660" y="19609"/>
                      <a:pt x="3653" y="16559"/>
                    </a:cubicBezTo>
                    <a:close/>
                  </a:path>
                </a:pathLst>
              </a:custGeom>
              <a:grpFill/>
              <a:ln w="5978" cap="flat">
                <a:noFill/>
                <a:prstDash val="solid"/>
                <a:miter/>
              </a:ln>
            </p:spPr>
            <p:txBody>
              <a:bodyPr rtlCol="0" anchor="ctr"/>
              <a:lstStyle/>
              <a:p>
                <a:endParaRPr lang="en-GB"/>
              </a:p>
            </p:txBody>
          </p:sp>
          <p:sp>
            <p:nvSpPr>
              <p:cNvPr id="2601" name="Vrije vorm: vorm 2600">
                <a:extLst>
                  <a:ext uri="{FF2B5EF4-FFF2-40B4-BE49-F238E27FC236}">
                    <a16:creationId xmlns:a16="http://schemas.microsoft.com/office/drawing/2014/main" id="{6AC3F6E4-AE44-491B-B3A1-F0339294DCC7}"/>
                  </a:ext>
                </a:extLst>
              </p:cNvPr>
              <p:cNvSpPr/>
              <p:nvPr/>
            </p:nvSpPr>
            <p:spPr>
              <a:xfrm>
                <a:off x="4526627" y="2247382"/>
                <a:ext cx="18326" cy="18429"/>
              </a:xfrm>
              <a:custGeom>
                <a:avLst/>
                <a:gdLst>
                  <a:gd name="connsiteX0" fmla="*/ 3610 w 18326"/>
                  <a:gd name="connsiteY0" fmla="*/ 16541 h 18429"/>
                  <a:gd name="connsiteX1" fmla="*/ 16468 w 18326"/>
                  <a:gd name="connsiteY1" fmla="*/ 14807 h 18429"/>
                  <a:gd name="connsiteX2" fmla="*/ 14674 w 18326"/>
                  <a:gd name="connsiteY2" fmla="*/ 1888 h 18429"/>
                  <a:gd name="connsiteX3" fmla="*/ 1815 w 18326"/>
                  <a:gd name="connsiteY3" fmla="*/ 3623 h 18429"/>
                  <a:gd name="connsiteX4" fmla="*/ 3610 w 18326"/>
                  <a:gd name="connsiteY4" fmla="*/ 16541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3610" y="16541"/>
                    </a:moveTo>
                    <a:cubicBezTo>
                      <a:pt x="7676" y="19651"/>
                      <a:pt x="13418" y="18814"/>
                      <a:pt x="16468" y="14807"/>
                    </a:cubicBezTo>
                    <a:cubicBezTo>
                      <a:pt x="19518" y="10740"/>
                      <a:pt x="18741" y="4998"/>
                      <a:pt x="14674" y="1888"/>
                    </a:cubicBezTo>
                    <a:cubicBezTo>
                      <a:pt x="10667" y="-1222"/>
                      <a:pt x="4865" y="-384"/>
                      <a:pt x="1815" y="3623"/>
                    </a:cubicBezTo>
                    <a:cubicBezTo>
                      <a:pt x="-1175" y="7690"/>
                      <a:pt x="-398" y="13431"/>
                      <a:pt x="3610" y="16541"/>
                    </a:cubicBezTo>
                    <a:close/>
                  </a:path>
                </a:pathLst>
              </a:custGeom>
              <a:grpFill/>
              <a:ln w="5978" cap="flat">
                <a:noFill/>
                <a:prstDash val="solid"/>
                <a:miter/>
              </a:ln>
            </p:spPr>
            <p:txBody>
              <a:bodyPr rtlCol="0" anchor="ctr"/>
              <a:lstStyle/>
              <a:p>
                <a:endParaRPr lang="en-GB"/>
              </a:p>
            </p:txBody>
          </p:sp>
        </p:grpSp>
        <p:grpSp>
          <p:nvGrpSpPr>
            <p:cNvPr id="934" name="Graphic 3">
              <a:extLst>
                <a:ext uri="{FF2B5EF4-FFF2-40B4-BE49-F238E27FC236}">
                  <a16:creationId xmlns:a16="http://schemas.microsoft.com/office/drawing/2014/main" id="{2BF4BCB7-2C96-4EA1-B830-477249B9BD3B}"/>
                </a:ext>
              </a:extLst>
            </p:cNvPr>
            <p:cNvGrpSpPr/>
            <p:nvPr/>
          </p:nvGrpSpPr>
          <p:grpSpPr>
            <a:xfrm>
              <a:off x="4417298" y="2065111"/>
              <a:ext cx="150246" cy="127174"/>
              <a:chOff x="4417298" y="2065111"/>
              <a:chExt cx="150246" cy="127174"/>
            </a:xfrm>
            <a:grpFill/>
          </p:grpSpPr>
          <p:sp>
            <p:nvSpPr>
              <p:cNvPr id="2597" name="Vrije vorm: vorm 2596">
                <a:extLst>
                  <a:ext uri="{FF2B5EF4-FFF2-40B4-BE49-F238E27FC236}">
                    <a16:creationId xmlns:a16="http://schemas.microsoft.com/office/drawing/2014/main" id="{D68F3A4A-3371-4BD1-8ED6-3BBF486E76DF}"/>
                  </a:ext>
                </a:extLst>
              </p:cNvPr>
              <p:cNvSpPr/>
              <p:nvPr/>
            </p:nvSpPr>
            <p:spPr>
              <a:xfrm>
                <a:off x="4425156" y="2072839"/>
                <a:ext cx="134506" cy="111719"/>
              </a:xfrm>
              <a:custGeom>
                <a:avLst/>
                <a:gdLst>
                  <a:gd name="connsiteX0" fmla="*/ 134506 w 134506"/>
                  <a:gd name="connsiteY0" fmla="*/ 109328 h 111719"/>
                  <a:gd name="connsiteX1" fmla="*/ 132593 w 134506"/>
                  <a:gd name="connsiteY1" fmla="*/ 111720 h 111719"/>
                  <a:gd name="connsiteX2" fmla="*/ 0 w 134506"/>
                  <a:gd name="connsiteY2" fmla="*/ 2392 h 111719"/>
                  <a:gd name="connsiteX3" fmla="*/ 1914 w 134506"/>
                  <a:gd name="connsiteY3" fmla="*/ 0 h 111719"/>
                </a:gdLst>
                <a:ahLst/>
                <a:cxnLst>
                  <a:cxn ang="0">
                    <a:pos x="connsiteX0" y="connsiteY0"/>
                  </a:cxn>
                  <a:cxn ang="0">
                    <a:pos x="connsiteX1" y="connsiteY1"/>
                  </a:cxn>
                  <a:cxn ang="0">
                    <a:pos x="connsiteX2" y="connsiteY2"/>
                  </a:cxn>
                  <a:cxn ang="0">
                    <a:pos x="connsiteX3" y="connsiteY3"/>
                  </a:cxn>
                </a:cxnLst>
                <a:rect l="l" t="t" r="r" b="b"/>
                <a:pathLst>
                  <a:path w="134506" h="111719">
                    <a:moveTo>
                      <a:pt x="134506" y="109328"/>
                    </a:moveTo>
                    <a:lnTo>
                      <a:pt x="132593" y="111720"/>
                    </a:lnTo>
                    <a:lnTo>
                      <a:pt x="0" y="2392"/>
                    </a:lnTo>
                    <a:lnTo>
                      <a:pt x="1914" y="0"/>
                    </a:lnTo>
                    <a:close/>
                  </a:path>
                </a:pathLst>
              </a:custGeom>
              <a:grpFill/>
              <a:ln w="5978" cap="flat">
                <a:noFill/>
                <a:prstDash val="solid"/>
                <a:miter/>
              </a:ln>
            </p:spPr>
            <p:txBody>
              <a:bodyPr rtlCol="0" anchor="ctr"/>
              <a:lstStyle/>
              <a:p>
                <a:endParaRPr lang="en-GB"/>
              </a:p>
            </p:txBody>
          </p:sp>
          <p:sp>
            <p:nvSpPr>
              <p:cNvPr id="2598" name="Vrije vorm: vorm 2597">
                <a:extLst>
                  <a:ext uri="{FF2B5EF4-FFF2-40B4-BE49-F238E27FC236}">
                    <a16:creationId xmlns:a16="http://schemas.microsoft.com/office/drawing/2014/main" id="{B580F778-B9C7-43A6-9081-CB9F431904BE}"/>
                  </a:ext>
                </a:extLst>
              </p:cNvPr>
              <p:cNvSpPr/>
              <p:nvPr/>
            </p:nvSpPr>
            <p:spPr>
              <a:xfrm>
                <a:off x="4417298" y="2065111"/>
                <a:ext cx="18346" cy="18425"/>
              </a:xfrm>
              <a:custGeom>
                <a:avLst/>
                <a:gdLst>
                  <a:gd name="connsiteX0" fmla="*/ 3372 w 18346"/>
                  <a:gd name="connsiteY0" fmla="*/ 16339 h 18425"/>
                  <a:gd name="connsiteX1" fmla="*/ 2056 w 18346"/>
                  <a:gd name="connsiteY1" fmla="*/ 3361 h 18425"/>
                  <a:gd name="connsiteX2" fmla="*/ 14975 w 18346"/>
                  <a:gd name="connsiteY2" fmla="*/ 2105 h 18425"/>
                  <a:gd name="connsiteX3" fmla="*/ 16290 w 18346"/>
                  <a:gd name="connsiteY3" fmla="*/ 15083 h 18425"/>
                  <a:gd name="connsiteX4" fmla="*/ 3372 w 18346"/>
                  <a:gd name="connsiteY4" fmla="*/ 16339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5">
                    <a:moveTo>
                      <a:pt x="3372" y="16339"/>
                    </a:moveTo>
                    <a:cubicBezTo>
                      <a:pt x="-575" y="13110"/>
                      <a:pt x="-1113" y="7308"/>
                      <a:pt x="2056" y="3361"/>
                    </a:cubicBezTo>
                    <a:cubicBezTo>
                      <a:pt x="5286" y="-586"/>
                      <a:pt x="11027" y="-1124"/>
                      <a:pt x="14975" y="2105"/>
                    </a:cubicBezTo>
                    <a:cubicBezTo>
                      <a:pt x="18922" y="5335"/>
                      <a:pt x="19460" y="11136"/>
                      <a:pt x="16290" y="15083"/>
                    </a:cubicBezTo>
                    <a:cubicBezTo>
                      <a:pt x="13061" y="18971"/>
                      <a:pt x="7259" y="19569"/>
                      <a:pt x="3372" y="16339"/>
                    </a:cubicBezTo>
                    <a:close/>
                  </a:path>
                </a:pathLst>
              </a:custGeom>
              <a:grpFill/>
              <a:ln w="5978" cap="flat">
                <a:noFill/>
                <a:prstDash val="solid"/>
                <a:miter/>
              </a:ln>
            </p:spPr>
            <p:txBody>
              <a:bodyPr rtlCol="0" anchor="ctr"/>
              <a:lstStyle/>
              <a:p>
                <a:endParaRPr lang="en-GB"/>
              </a:p>
            </p:txBody>
          </p:sp>
          <p:sp>
            <p:nvSpPr>
              <p:cNvPr id="2599" name="Vrije vorm: vorm 2598">
                <a:extLst>
                  <a:ext uri="{FF2B5EF4-FFF2-40B4-BE49-F238E27FC236}">
                    <a16:creationId xmlns:a16="http://schemas.microsoft.com/office/drawing/2014/main" id="{7181A2F3-0C07-49FA-8631-C5F969767E26}"/>
                  </a:ext>
                </a:extLst>
              </p:cNvPr>
              <p:cNvSpPr/>
              <p:nvPr/>
            </p:nvSpPr>
            <p:spPr>
              <a:xfrm>
                <a:off x="4549192" y="2173841"/>
                <a:ext cx="18352" cy="18444"/>
              </a:xfrm>
              <a:custGeom>
                <a:avLst/>
                <a:gdLst>
                  <a:gd name="connsiteX0" fmla="*/ 3353 w 18352"/>
                  <a:gd name="connsiteY0" fmla="*/ 16339 h 18444"/>
                  <a:gd name="connsiteX1" fmla="*/ 16271 w 18352"/>
                  <a:gd name="connsiteY1" fmla="*/ 15084 h 18444"/>
                  <a:gd name="connsiteX2" fmla="*/ 14955 w 18352"/>
                  <a:gd name="connsiteY2" fmla="*/ 2105 h 18444"/>
                  <a:gd name="connsiteX3" fmla="*/ 2037 w 18352"/>
                  <a:gd name="connsiteY3" fmla="*/ 3361 h 18444"/>
                  <a:gd name="connsiteX4" fmla="*/ 3353 w 18352"/>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44">
                    <a:moveTo>
                      <a:pt x="3353" y="16339"/>
                    </a:moveTo>
                    <a:cubicBezTo>
                      <a:pt x="7300" y="19569"/>
                      <a:pt x="13042" y="19031"/>
                      <a:pt x="16271" y="15084"/>
                    </a:cubicBezTo>
                    <a:cubicBezTo>
                      <a:pt x="19501" y="11136"/>
                      <a:pt x="18903" y="5335"/>
                      <a:pt x="14955" y="2105"/>
                    </a:cubicBezTo>
                    <a:cubicBezTo>
                      <a:pt x="11008" y="-1124"/>
                      <a:pt x="5267" y="-586"/>
                      <a:pt x="2037" y="3361"/>
                    </a:cubicBezTo>
                    <a:cubicBezTo>
                      <a:pt x="-1133" y="7309"/>
                      <a:pt x="-535" y="13110"/>
                      <a:pt x="3353" y="16339"/>
                    </a:cubicBezTo>
                    <a:close/>
                  </a:path>
                </a:pathLst>
              </a:custGeom>
              <a:grpFill/>
              <a:ln w="5978" cap="flat">
                <a:noFill/>
                <a:prstDash val="solid"/>
                <a:miter/>
              </a:ln>
            </p:spPr>
            <p:txBody>
              <a:bodyPr rtlCol="0" anchor="ctr"/>
              <a:lstStyle/>
              <a:p>
                <a:endParaRPr lang="en-GB"/>
              </a:p>
            </p:txBody>
          </p:sp>
        </p:grpSp>
        <p:grpSp>
          <p:nvGrpSpPr>
            <p:cNvPr id="935" name="Graphic 3">
              <a:extLst>
                <a:ext uri="{FF2B5EF4-FFF2-40B4-BE49-F238E27FC236}">
                  <a16:creationId xmlns:a16="http://schemas.microsoft.com/office/drawing/2014/main" id="{360AA1EF-4DAF-41D2-A6AF-043030B82B03}"/>
                </a:ext>
              </a:extLst>
            </p:cNvPr>
            <p:cNvGrpSpPr/>
            <p:nvPr/>
          </p:nvGrpSpPr>
          <p:grpSpPr>
            <a:xfrm>
              <a:off x="4423908" y="2217171"/>
              <a:ext cx="240431" cy="218738"/>
              <a:chOff x="4423908" y="2217171"/>
              <a:chExt cx="240431" cy="218738"/>
            </a:xfrm>
            <a:grpFill/>
          </p:grpSpPr>
          <p:sp>
            <p:nvSpPr>
              <p:cNvPr id="2594" name="Vrije vorm: vorm 2593">
                <a:extLst>
                  <a:ext uri="{FF2B5EF4-FFF2-40B4-BE49-F238E27FC236}">
                    <a16:creationId xmlns:a16="http://schemas.microsoft.com/office/drawing/2014/main" id="{4FD3DB94-9DBA-4CE0-91A6-720FCB1A195D}"/>
                  </a:ext>
                </a:extLst>
              </p:cNvPr>
              <p:cNvSpPr/>
              <p:nvPr/>
            </p:nvSpPr>
            <p:spPr>
              <a:xfrm>
                <a:off x="4431674" y="2224928"/>
                <a:ext cx="224815" cy="203165"/>
              </a:xfrm>
              <a:custGeom>
                <a:avLst/>
                <a:gdLst>
                  <a:gd name="connsiteX0" fmla="*/ 224816 w 224815"/>
                  <a:gd name="connsiteY0" fmla="*/ 200892 h 203165"/>
                  <a:gd name="connsiteX1" fmla="*/ 222782 w 224815"/>
                  <a:gd name="connsiteY1" fmla="*/ 203165 h 203165"/>
                  <a:gd name="connsiteX2" fmla="*/ 0 w 224815"/>
                  <a:gd name="connsiteY2" fmla="*/ 2273 h 203165"/>
                  <a:gd name="connsiteX3" fmla="*/ 2034 w 224815"/>
                  <a:gd name="connsiteY3" fmla="*/ 0 h 203165"/>
                </a:gdLst>
                <a:ahLst/>
                <a:cxnLst>
                  <a:cxn ang="0">
                    <a:pos x="connsiteX0" y="connsiteY0"/>
                  </a:cxn>
                  <a:cxn ang="0">
                    <a:pos x="connsiteX1" y="connsiteY1"/>
                  </a:cxn>
                  <a:cxn ang="0">
                    <a:pos x="connsiteX2" y="connsiteY2"/>
                  </a:cxn>
                  <a:cxn ang="0">
                    <a:pos x="connsiteX3" y="connsiteY3"/>
                  </a:cxn>
                </a:cxnLst>
                <a:rect l="l" t="t" r="r" b="b"/>
                <a:pathLst>
                  <a:path w="224815" h="203165">
                    <a:moveTo>
                      <a:pt x="224816" y="200892"/>
                    </a:moveTo>
                    <a:lnTo>
                      <a:pt x="222782" y="203165"/>
                    </a:lnTo>
                    <a:lnTo>
                      <a:pt x="0" y="2273"/>
                    </a:lnTo>
                    <a:lnTo>
                      <a:pt x="2034" y="0"/>
                    </a:lnTo>
                    <a:close/>
                  </a:path>
                </a:pathLst>
              </a:custGeom>
              <a:grpFill/>
              <a:ln w="5978" cap="flat">
                <a:noFill/>
                <a:prstDash val="solid"/>
                <a:miter/>
              </a:ln>
            </p:spPr>
            <p:txBody>
              <a:bodyPr rtlCol="0" anchor="ctr"/>
              <a:lstStyle/>
              <a:p>
                <a:endParaRPr lang="en-GB"/>
              </a:p>
            </p:txBody>
          </p:sp>
          <p:sp>
            <p:nvSpPr>
              <p:cNvPr id="2595" name="Vrije vorm: vorm 2594">
                <a:extLst>
                  <a:ext uri="{FF2B5EF4-FFF2-40B4-BE49-F238E27FC236}">
                    <a16:creationId xmlns:a16="http://schemas.microsoft.com/office/drawing/2014/main" id="{617D0723-9A91-423C-B653-97E476BD52D0}"/>
                  </a:ext>
                </a:extLst>
              </p:cNvPr>
              <p:cNvSpPr/>
              <p:nvPr/>
            </p:nvSpPr>
            <p:spPr>
              <a:xfrm>
                <a:off x="4646009" y="2417466"/>
                <a:ext cx="18331" cy="18444"/>
              </a:xfrm>
              <a:custGeom>
                <a:avLst/>
                <a:gdLst>
                  <a:gd name="connsiteX0" fmla="*/ 15266 w 18331"/>
                  <a:gd name="connsiteY0" fmla="*/ 2374 h 18444"/>
                  <a:gd name="connsiteX1" fmla="*/ 15983 w 18331"/>
                  <a:gd name="connsiteY1" fmla="*/ 15412 h 18444"/>
                  <a:gd name="connsiteX2" fmla="*/ 3065 w 18331"/>
                  <a:gd name="connsiteY2" fmla="*/ 16070 h 18444"/>
                  <a:gd name="connsiteX3" fmla="*/ 2348 w 18331"/>
                  <a:gd name="connsiteY3" fmla="*/ 3032 h 18444"/>
                  <a:gd name="connsiteX4" fmla="*/ 15266 w 18331"/>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44">
                    <a:moveTo>
                      <a:pt x="15266" y="2374"/>
                    </a:moveTo>
                    <a:cubicBezTo>
                      <a:pt x="19034" y="5783"/>
                      <a:pt x="19393" y="11585"/>
                      <a:pt x="15983" y="15412"/>
                    </a:cubicBezTo>
                    <a:cubicBezTo>
                      <a:pt x="12634" y="19180"/>
                      <a:pt x="6833" y="19479"/>
                      <a:pt x="3065" y="16070"/>
                    </a:cubicBezTo>
                    <a:cubicBezTo>
                      <a:pt x="-703" y="12661"/>
                      <a:pt x="-1061" y="6860"/>
                      <a:pt x="2348" y="3032"/>
                    </a:cubicBezTo>
                    <a:cubicBezTo>
                      <a:pt x="5697" y="-736"/>
                      <a:pt x="11498" y="-1035"/>
                      <a:pt x="15266" y="2374"/>
                    </a:cubicBezTo>
                    <a:close/>
                  </a:path>
                </a:pathLst>
              </a:custGeom>
              <a:grpFill/>
              <a:ln w="5978" cap="flat">
                <a:noFill/>
                <a:prstDash val="solid"/>
                <a:miter/>
              </a:ln>
            </p:spPr>
            <p:txBody>
              <a:bodyPr rtlCol="0" anchor="ctr"/>
              <a:lstStyle/>
              <a:p>
                <a:endParaRPr lang="en-GB"/>
              </a:p>
            </p:txBody>
          </p:sp>
          <p:sp>
            <p:nvSpPr>
              <p:cNvPr id="2596" name="Vrije vorm: vorm 2595">
                <a:extLst>
                  <a:ext uri="{FF2B5EF4-FFF2-40B4-BE49-F238E27FC236}">
                    <a16:creationId xmlns:a16="http://schemas.microsoft.com/office/drawing/2014/main" id="{51AED03B-9CC5-429D-8AAB-3A969448F3EC}"/>
                  </a:ext>
                </a:extLst>
              </p:cNvPr>
              <p:cNvSpPr/>
              <p:nvPr/>
            </p:nvSpPr>
            <p:spPr>
              <a:xfrm>
                <a:off x="4423908" y="2217171"/>
                <a:ext cx="18283" cy="18444"/>
              </a:xfrm>
              <a:custGeom>
                <a:avLst/>
                <a:gdLst>
                  <a:gd name="connsiteX0" fmla="*/ 15242 w 18283"/>
                  <a:gd name="connsiteY0" fmla="*/ 2374 h 18444"/>
                  <a:gd name="connsiteX1" fmla="*/ 2324 w 18283"/>
                  <a:gd name="connsiteY1" fmla="*/ 3032 h 18444"/>
                  <a:gd name="connsiteX2" fmla="*/ 3041 w 18283"/>
                  <a:gd name="connsiteY2" fmla="*/ 16070 h 18444"/>
                  <a:gd name="connsiteX3" fmla="*/ 15960 w 18283"/>
                  <a:gd name="connsiteY3" fmla="*/ 15412 h 18444"/>
                  <a:gd name="connsiteX4" fmla="*/ 15242 w 18283"/>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3" h="18444">
                    <a:moveTo>
                      <a:pt x="15242" y="2374"/>
                    </a:moveTo>
                    <a:cubicBezTo>
                      <a:pt x="11474" y="-1035"/>
                      <a:pt x="5673" y="-736"/>
                      <a:pt x="2324" y="3032"/>
                    </a:cubicBezTo>
                    <a:cubicBezTo>
                      <a:pt x="-1026" y="6800"/>
                      <a:pt x="-727" y="12661"/>
                      <a:pt x="3041" y="16070"/>
                    </a:cubicBezTo>
                    <a:cubicBezTo>
                      <a:pt x="6809" y="19479"/>
                      <a:pt x="12610" y="19180"/>
                      <a:pt x="15960" y="15412"/>
                    </a:cubicBezTo>
                    <a:cubicBezTo>
                      <a:pt x="19309" y="11585"/>
                      <a:pt x="19010" y="5783"/>
                      <a:pt x="15242" y="2374"/>
                    </a:cubicBezTo>
                    <a:close/>
                  </a:path>
                </a:pathLst>
              </a:custGeom>
              <a:grpFill/>
              <a:ln w="5978" cap="flat">
                <a:noFill/>
                <a:prstDash val="solid"/>
                <a:miter/>
              </a:ln>
            </p:spPr>
            <p:txBody>
              <a:bodyPr rtlCol="0" anchor="ctr"/>
              <a:lstStyle/>
              <a:p>
                <a:endParaRPr lang="en-GB"/>
              </a:p>
            </p:txBody>
          </p:sp>
        </p:grpSp>
        <p:grpSp>
          <p:nvGrpSpPr>
            <p:cNvPr id="936" name="Graphic 3">
              <a:extLst>
                <a:ext uri="{FF2B5EF4-FFF2-40B4-BE49-F238E27FC236}">
                  <a16:creationId xmlns:a16="http://schemas.microsoft.com/office/drawing/2014/main" id="{8FA9E3E2-526D-4207-A81E-A40B3EEF04DB}"/>
                </a:ext>
              </a:extLst>
            </p:cNvPr>
            <p:cNvGrpSpPr/>
            <p:nvPr/>
          </p:nvGrpSpPr>
          <p:grpSpPr>
            <a:xfrm>
              <a:off x="5498859" y="5063936"/>
              <a:ext cx="223116" cy="786465"/>
              <a:chOff x="5498859" y="5063936"/>
              <a:chExt cx="223116" cy="786465"/>
            </a:xfrm>
            <a:grpFill/>
          </p:grpSpPr>
          <p:sp>
            <p:nvSpPr>
              <p:cNvPr id="2591" name="Vrije vorm: vorm 2590">
                <a:extLst>
                  <a:ext uri="{FF2B5EF4-FFF2-40B4-BE49-F238E27FC236}">
                    <a16:creationId xmlns:a16="http://schemas.microsoft.com/office/drawing/2014/main" id="{3BECDAB1-EE58-4969-BE62-A40C669B3242}"/>
                  </a:ext>
                </a:extLst>
              </p:cNvPr>
              <p:cNvSpPr/>
              <p:nvPr/>
            </p:nvSpPr>
            <p:spPr>
              <a:xfrm>
                <a:off x="5506410" y="5072290"/>
                <a:ext cx="207949" cy="769718"/>
              </a:xfrm>
              <a:custGeom>
                <a:avLst/>
                <a:gdLst>
                  <a:gd name="connsiteX0" fmla="*/ 207950 w 207949"/>
                  <a:gd name="connsiteY0" fmla="*/ 837 h 769718"/>
                  <a:gd name="connsiteX1" fmla="*/ 2930 w 207949"/>
                  <a:gd name="connsiteY1" fmla="*/ 769719 h 769718"/>
                  <a:gd name="connsiteX2" fmla="*/ 0 w 207949"/>
                  <a:gd name="connsiteY2" fmla="*/ 768941 h 769718"/>
                  <a:gd name="connsiteX3" fmla="*/ 205019 w 207949"/>
                  <a:gd name="connsiteY3" fmla="*/ 0 h 769718"/>
                </a:gdLst>
                <a:ahLst/>
                <a:cxnLst>
                  <a:cxn ang="0">
                    <a:pos x="connsiteX0" y="connsiteY0"/>
                  </a:cxn>
                  <a:cxn ang="0">
                    <a:pos x="connsiteX1" y="connsiteY1"/>
                  </a:cxn>
                  <a:cxn ang="0">
                    <a:pos x="connsiteX2" y="connsiteY2"/>
                  </a:cxn>
                  <a:cxn ang="0">
                    <a:pos x="connsiteX3" y="connsiteY3"/>
                  </a:cxn>
                </a:cxnLst>
                <a:rect l="l" t="t" r="r" b="b"/>
                <a:pathLst>
                  <a:path w="207949" h="769718">
                    <a:moveTo>
                      <a:pt x="207950" y="837"/>
                    </a:moveTo>
                    <a:lnTo>
                      <a:pt x="2930" y="769719"/>
                    </a:lnTo>
                    <a:lnTo>
                      <a:pt x="0" y="768941"/>
                    </a:lnTo>
                    <a:lnTo>
                      <a:pt x="205019" y="0"/>
                    </a:lnTo>
                    <a:close/>
                  </a:path>
                </a:pathLst>
              </a:custGeom>
              <a:grpFill/>
              <a:ln w="5978" cap="flat">
                <a:noFill/>
                <a:prstDash val="solid"/>
                <a:miter/>
              </a:ln>
            </p:spPr>
            <p:txBody>
              <a:bodyPr rtlCol="0" anchor="ctr"/>
              <a:lstStyle/>
              <a:p>
                <a:endParaRPr lang="en-GB"/>
              </a:p>
            </p:txBody>
          </p:sp>
          <p:sp>
            <p:nvSpPr>
              <p:cNvPr id="2592" name="Vrije vorm: vorm 2591">
                <a:extLst>
                  <a:ext uri="{FF2B5EF4-FFF2-40B4-BE49-F238E27FC236}">
                    <a16:creationId xmlns:a16="http://schemas.microsoft.com/office/drawing/2014/main" id="{D0826266-120D-4E8E-BB63-01F0D721CC86}"/>
                  </a:ext>
                </a:extLst>
              </p:cNvPr>
              <p:cNvSpPr/>
              <p:nvPr/>
            </p:nvSpPr>
            <p:spPr>
              <a:xfrm>
                <a:off x="5703635" y="5063936"/>
                <a:ext cx="18340" cy="18442"/>
              </a:xfrm>
              <a:custGeom>
                <a:avLst/>
                <a:gdLst>
                  <a:gd name="connsiteX0" fmla="*/ 319 w 18340"/>
                  <a:gd name="connsiteY0" fmla="*/ 6799 h 18442"/>
                  <a:gd name="connsiteX1" fmla="*/ 11563 w 18340"/>
                  <a:gd name="connsiteY1" fmla="*/ 340 h 18442"/>
                  <a:gd name="connsiteX2" fmla="*/ 18022 w 18340"/>
                  <a:gd name="connsiteY2" fmla="*/ 11643 h 18442"/>
                  <a:gd name="connsiteX3" fmla="*/ 6778 w 18340"/>
                  <a:gd name="connsiteY3" fmla="*/ 18103 h 18442"/>
                  <a:gd name="connsiteX4" fmla="*/ 319 w 18340"/>
                  <a:gd name="connsiteY4" fmla="*/ 679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42">
                    <a:moveTo>
                      <a:pt x="319" y="6799"/>
                    </a:moveTo>
                    <a:cubicBezTo>
                      <a:pt x="1635" y="1895"/>
                      <a:pt x="6659" y="-1036"/>
                      <a:pt x="11563" y="340"/>
                    </a:cubicBezTo>
                    <a:cubicBezTo>
                      <a:pt x="16467" y="1656"/>
                      <a:pt x="19338" y="6739"/>
                      <a:pt x="18022" y="11643"/>
                    </a:cubicBezTo>
                    <a:cubicBezTo>
                      <a:pt x="16706" y="16548"/>
                      <a:pt x="11682" y="19478"/>
                      <a:pt x="6778" y="18103"/>
                    </a:cubicBezTo>
                    <a:cubicBezTo>
                      <a:pt x="1874" y="16787"/>
                      <a:pt x="-997" y="11703"/>
                      <a:pt x="319" y="6799"/>
                    </a:cubicBezTo>
                    <a:close/>
                  </a:path>
                </a:pathLst>
              </a:custGeom>
              <a:grpFill/>
              <a:ln w="5978" cap="flat">
                <a:noFill/>
                <a:prstDash val="solid"/>
                <a:miter/>
              </a:ln>
            </p:spPr>
            <p:txBody>
              <a:bodyPr rtlCol="0" anchor="ctr"/>
              <a:lstStyle/>
              <a:p>
                <a:endParaRPr lang="en-GB"/>
              </a:p>
            </p:txBody>
          </p:sp>
          <p:sp>
            <p:nvSpPr>
              <p:cNvPr id="2593" name="Vrije vorm: vorm 2592">
                <a:extLst>
                  <a:ext uri="{FF2B5EF4-FFF2-40B4-BE49-F238E27FC236}">
                    <a16:creationId xmlns:a16="http://schemas.microsoft.com/office/drawing/2014/main" id="{7F7228F7-AB86-4D3E-AE4E-353B223DC435}"/>
                  </a:ext>
                </a:extLst>
              </p:cNvPr>
              <p:cNvSpPr/>
              <p:nvPr/>
            </p:nvSpPr>
            <p:spPr>
              <a:xfrm>
                <a:off x="5498859" y="5831980"/>
                <a:ext cx="18332" cy="18421"/>
              </a:xfrm>
              <a:custGeom>
                <a:avLst/>
                <a:gdLst>
                  <a:gd name="connsiteX0" fmla="*/ 315 w 18332"/>
                  <a:gd name="connsiteY0" fmla="*/ 6799 h 18421"/>
                  <a:gd name="connsiteX1" fmla="*/ 6774 w 18332"/>
                  <a:gd name="connsiteY1" fmla="*/ 18103 h 18421"/>
                  <a:gd name="connsiteX2" fmla="*/ 18018 w 18332"/>
                  <a:gd name="connsiteY2" fmla="*/ 11643 h 18421"/>
                  <a:gd name="connsiteX3" fmla="*/ 11559 w 18332"/>
                  <a:gd name="connsiteY3" fmla="*/ 340 h 18421"/>
                  <a:gd name="connsiteX4" fmla="*/ 315 w 18332"/>
                  <a:gd name="connsiteY4" fmla="*/ 679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1">
                    <a:moveTo>
                      <a:pt x="315" y="6799"/>
                    </a:moveTo>
                    <a:cubicBezTo>
                      <a:pt x="-1001" y="11703"/>
                      <a:pt x="1930" y="16787"/>
                      <a:pt x="6774" y="18103"/>
                    </a:cubicBezTo>
                    <a:cubicBezTo>
                      <a:pt x="11678" y="19418"/>
                      <a:pt x="16702" y="16548"/>
                      <a:pt x="18018" y="11643"/>
                    </a:cubicBezTo>
                    <a:cubicBezTo>
                      <a:pt x="19334" y="6739"/>
                      <a:pt x="16403" y="1656"/>
                      <a:pt x="11559" y="340"/>
                    </a:cubicBezTo>
                    <a:cubicBezTo>
                      <a:pt x="6655" y="-1036"/>
                      <a:pt x="1571" y="1895"/>
                      <a:pt x="315" y="6799"/>
                    </a:cubicBezTo>
                    <a:close/>
                  </a:path>
                </a:pathLst>
              </a:custGeom>
              <a:grpFill/>
              <a:ln w="5978" cap="flat">
                <a:noFill/>
                <a:prstDash val="solid"/>
                <a:miter/>
              </a:ln>
            </p:spPr>
            <p:txBody>
              <a:bodyPr rtlCol="0" anchor="ctr"/>
              <a:lstStyle/>
              <a:p>
                <a:endParaRPr lang="en-GB"/>
              </a:p>
            </p:txBody>
          </p:sp>
        </p:grpSp>
        <p:grpSp>
          <p:nvGrpSpPr>
            <p:cNvPr id="937" name="Graphic 3">
              <a:extLst>
                <a:ext uri="{FF2B5EF4-FFF2-40B4-BE49-F238E27FC236}">
                  <a16:creationId xmlns:a16="http://schemas.microsoft.com/office/drawing/2014/main" id="{87EBC2DD-F457-4E23-BE09-E25F30082E1D}"/>
                </a:ext>
              </a:extLst>
            </p:cNvPr>
            <p:cNvGrpSpPr/>
            <p:nvPr/>
          </p:nvGrpSpPr>
          <p:grpSpPr>
            <a:xfrm>
              <a:off x="4520343" y="2413012"/>
              <a:ext cx="127499" cy="89584"/>
              <a:chOff x="4520343" y="2413012"/>
              <a:chExt cx="127499" cy="89584"/>
            </a:xfrm>
            <a:grpFill/>
          </p:grpSpPr>
          <p:sp>
            <p:nvSpPr>
              <p:cNvPr id="2588" name="Vrije vorm: vorm 2587">
                <a:extLst>
                  <a:ext uri="{FF2B5EF4-FFF2-40B4-BE49-F238E27FC236}">
                    <a16:creationId xmlns:a16="http://schemas.microsoft.com/office/drawing/2014/main" id="{A2D555A3-FACE-4D46-90B8-C23C967EA5B1}"/>
                  </a:ext>
                </a:extLst>
              </p:cNvPr>
              <p:cNvSpPr/>
              <p:nvPr/>
            </p:nvSpPr>
            <p:spPr>
              <a:xfrm>
                <a:off x="4528263" y="2420677"/>
                <a:ext cx="111659" cy="74280"/>
              </a:xfrm>
              <a:custGeom>
                <a:avLst/>
                <a:gdLst>
                  <a:gd name="connsiteX0" fmla="*/ 111660 w 111659"/>
                  <a:gd name="connsiteY0" fmla="*/ 71709 h 74280"/>
                  <a:gd name="connsiteX1" fmla="*/ 109986 w 111659"/>
                  <a:gd name="connsiteY1" fmla="*/ 74280 h 74280"/>
                  <a:gd name="connsiteX2" fmla="*/ 0 w 111659"/>
                  <a:gd name="connsiteY2" fmla="*/ 2572 h 74280"/>
                  <a:gd name="connsiteX3" fmla="*/ 1674 w 111659"/>
                  <a:gd name="connsiteY3" fmla="*/ 0 h 74280"/>
                </a:gdLst>
                <a:ahLst/>
                <a:cxnLst>
                  <a:cxn ang="0">
                    <a:pos x="connsiteX0" y="connsiteY0"/>
                  </a:cxn>
                  <a:cxn ang="0">
                    <a:pos x="connsiteX1" y="connsiteY1"/>
                  </a:cxn>
                  <a:cxn ang="0">
                    <a:pos x="connsiteX2" y="connsiteY2"/>
                  </a:cxn>
                  <a:cxn ang="0">
                    <a:pos x="connsiteX3" y="connsiteY3"/>
                  </a:cxn>
                </a:cxnLst>
                <a:rect l="l" t="t" r="r" b="b"/>
                <a:pathLst>
                  <a:path w="111659" h="74280">
                    <a:moveTo>
                      <a:pt x="111660" y="71709"/>
                    </a:moveTo>
                    <a:lnTo>
                      <a:pt x="109986" y="74280"/>
                    </a:lnTo>
                    <a:lnTo>
                      <a:pt x="0" y="2572"/>
                    </a:lnTo>
                    <a:lnTo>
                      <a:pt x="1674" y="0"/>
                    </a:lnTo>
                    <a:close/>
                  </a:path>
                </a:pathLst>
              </a:custGeom>
              <a:grpFill/>
              <a:ln w="5978" cap="flat">
                <a:noFill/>
                <a:prstDash val="solid"/>
                <a:miter/>
              </a:ln>
            </p:spPr>
            <p:txBody>
              <a:bodyPr rtlCol="0" anchor="ctr"/>
              <a:lstStyle/>
              <a:p>
                <a:endParaRPr lang="en-GB"/>
              </a:p>
            </p:txBody>
          </p:sp>
          <p:sp>
            <p:nvSpPr>
              <p:cNvPr id="2589" name="Vrije vorm: vorm 2588">
                <a:extLst>
                  <a:ext uri="{FF2B5EF4-FFF2-40B4-BE49-F238E27FC236}">
                    <a16:creationId xmlns:a16="http://schemas.microsoft.com/office/drawing/2014/main" id="{4E6FB58E-76B3-44E0-B9F4-C661623C9332}"/>
                  </a:ext>
                </a:extLst>
              </p:cNvPr>
              <p:cNvSpPr/>
              <p:nvPr/>
            </p:nvSpPr>
            <p:spPr>
              <a:xfrm>
                <a:off x="4520343" y="2413012"/>
                <a:ext cx="18351" cy="18413"/>
              </a:xfrm>
              <a:custGeom>
                <a:avLst/>
                <a:gdLst>
                  <a:gd name="connsiteX0" fmla="*/ 4212 w 18351"/>
                  <a:gd name="connsiteY0" fmla="*/ 16935 h 18413"/>
                  <a:gd name="connsiteX1" fmla="*/ 1461 w 18351"/>
                  <a:gd name="connsiteY1" fmla="*/ 4196 h 18413"/>
                  <a:gd name="connsiteX2" fmla="*/ 14140 w 18351"/>
                  <a:gd name="connsiteY2" fmla="*/ 1505 h 18413"/>
                  <a:gd name="connsiteX3" fmla="*/ 16891 w 18351"/>
                  <a:gd name="connsiteY3" fmla="*/ 14244 h 18413"/>
                  <a:gd name="connsiteX4" fmla="*/ 4212 w 18351"/>
                  <a:gd name="connsiteY4" fmla="*/ 1693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13">
                    <a:moveTo>
                      <a:pt x="4212" y="16935"/>
                    </a:moveTo>
                    <a:cubicBezTo>
                      <a:pt x="-35" y="14184"/>
                      <a:pt x="-1290" y="8443"/>
                      <a:pt x="1461" y="4196"/>
                    </a:cubicBezTo>
                    <a:cubicBezTo>
                      <a:pt x="4212" y="-50"/>
                      <a:pt x="9894" y="-1306"/>
                      <a:pt x="14140" y="1505"/>
                    </a:cubicBezTo>
                    <a:cubicBezTo>
                      <a:pt x="18386" y="4256"/>
                      <a:pt x="19642" y="9997"/>
                      <a:pt x="16891" y="14244"/>
                    </a:cubicBezTo>
                    <a:cubicBezTo>
                      <a:pt x="14140" y="18490"/>
                      <a:pt x="8458" y="19686"/>
                      <a:pt x="4212" y="16935"/>
                    </a:cubicBezTo>
                    <a:close/>
                  </a:path>
                </a:pathLst>
              </a:custGeom>
              <a:grpFill/>
              <a:ln w="5978" cap="flat">
                <a:noFill/>
                <a:prstDash val="solid"/>
                <a:miter/>
              </a:ln>
            </p:spPr>
            <p:txBody>
              <a:bodyPr rtlCol="0" anchor="ctr"/>
              <a:lstStyle/>
              <a:p>
                <a:endParaRPr lang="en-GB"/>
              </a:p>
            </p:txBody>
          </p:sp>
          <p:sp>
            <p:nvSpPr>
              <p:cNvPr id="2590" name="Vrije vorm: vorm 2589">
                <a:extLst>
                  <a:ext uri="{FF2B5EF4-FFF2-40B4-BE49-F238E27FC236}">
                    <a16:creationId xmlns:a16="http://schemas.microsoft.com/office/drawing/2014/main" id="{6F6660BD-D38B-4BC1-986D-E0AD22291DD6}"/>
                  </a:ext>
                </a:extLst>
              </p:cNvPr>
              <p:cNvSpPr/>
              <p:nvPr/>
            </p:nvSpPr>
            <p:spPr>
              <a:xfrm>
                <a:off x="4629518" y="2484209"/>
                <a:ext cx="18325" cy="18387"/>
              </a:xfrm>
              <a:custGeom>
                <a:avLst/>
                <a:gdLst>
                  <a:gd name="connsiteX0" fmla="*/ 4186 w 18325"/>
                  <a:gd name="connsiteY0" fmla="*/ 16909 h 18387"/>
                  <a:gd name="connsiteX1" fmla="*/ 16865 w 18325"/>
                  <a:gd name="connsiteY1" fmla="*/ 14217 h 18387"/>
                  <a:gd name="connsiteX2" fmla="*/ 14113 w 18325"/>
                  <a:gd name="connsiteY2" fmla="*/ 1478 h 18387"/>
                  <a:gd name="connsiteX3" fmla="*/ 1434 w 18325"/>
                  <a:gd name="connsiteY3" fmla="*/ 4170 h 18387"/>
                  <a:gd name="connsiteX4" fmla="*/ 4186 w 18325"/>
                  <a:gd name="connsiteY4" fmla="*/ 1690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7">
                    <a:moveTo>
                      <a:pt x="4186" y="16909"/>
                    </a:moveTo>
                    <a:cubicBezTo>
                      <a:pt x="8432" y="19660"/>
                      <a:pt x="14113" y="18464"/>
                      <a:pt x="16865" y="14217"/>
                    </a:cubicBezTo>
                    <a:cubicBezTo>
                      <a:pt x="19616" y="9971"/>
                      <a:pt x="18360" y="4230"/>
                      <a:pt x="14113" y="1478"/>
                    </a:cubicBezTo>
                    <a:cubicBezTo>
                      <a:pt x="9867" y="-1273"/>
                      <a:pt x="4186" y="-77"/>
                      <a:pt x="1434" y="4170"/>
                    </a:cubicBezTo>
                    <a:cubicBezTo>
                      <a:pt x="-1257" y="8476"/>
                      <a:pt x="-61" y="14158"/>
                      <a:pt x="4186" y="16909"/>
                    </a:cubicBezTo>
                    <a:close/>
                  </a:path>
                </a:pathLst>
              </a:custGeom>
              <a:grpFill/>
              <a:ln w="5978" cap="flat">
                <a:noFill/>
                <a:prstDash val="solid"/>
                <a:miter/>
              </a:ln>
            </p:spPr>
            <p:txBody>
              <a:bodyPr rtlCol="0" anchor="ctr"/>
              <a:lstStyle/>
              <a:p>
                <a:endParaRPr lang="en-GB"/>
              </a:p>
            </p:txBody>
          </p:sp>
        </p:grpSp>
        <p:grpSp>
          <p:nvGrpSpPr>
            <p:cNvPr id="938" name="Graphic 3">
              <a:extLst>
                <a:ext uri="{FF2B5EF4-FFF2-40B4-BE49-F238E27FC236}">
                  <a16:creationId xmlns:a16="http://schemas.microsoft.com/office/drawing/2014/main" id="{B1A69C18-A899-4A7E-86A3-6D4079E68999}"/>
                </a:ext>
              </a:extLst>
            </p:cNvPr>
            <p:cNvGrpSpPr/>
            <p:nvPr/>
          </p:nvGrpSpPr>
          <p:grpSpPr>
            <a:xfrm>
              <a:off x="5430376" y="4982230"/>
              <a:ext cx="55007" cy="118107"/>
              <a:chOff x="5430376" y="4982230"/>
              <a:chExt cx="55007" cy="118107"/>
            </a:xfrm>
            <a:grpFill/>
          </p:grpSpPr>
          <p:sp>
            <p:nvSpPr>
              <p:cNvPr id="2585" name="Vrije vorm: vorm 2584">
                <a:extLst>
                  <a:ext uri="{FF2B5EF4-FFF2-40B4-BE49-F238E27FC236}">
                    <a16:creationId xmlns:a16="http://schemas.microsoft.com/office/drawing/2014/main" id="{B4856424-9BC0-4E60-A2D4-5E4F05C51FBC}"/>
                  </a:ext>
                </a:extLst>
              </p:cNvPr>
              <p:cNvSpPr/>
              <p:nvPr/>
            </p:nvSpPr>
            <p:spPr>
              <a:xfrm>
                <a:off x="5437991" y="4990474"/>
                <a:ext cx="39831" cy="101612"/>
              </a:xfrm>
              <a:custGeom>
                <a:avLst/>
                <a:gdLst>
                  <a:gd name="connsiteX0" fmla="*/ 39832 w 39831"/>
                  <a:gd name="connsiteY0" fmla="*/ 1076 h 101612"/>
                  <a:gd name="connsiteX1" fmla="*/ 2871 w 39831"/>
                  <a:gd name="connsiteY1" fmla="*/ 101612 h 101612"/>
                  <a:gd name="connsiteX2" fmla="*/ 0 w 39831"/>
                  <a:gd name="connsiteY2" fmla="*/ 100536 h 101612"/>
                  <a:gd name="connsiteX3" fmla="*/ 36961 w 39831"/>
                  <a:gd name="connsiteY3" fmla="*/ 0 h 101612"/>
                </a:gdLst>
                <a:ahLst/>
                <a:cxnLst>
                  <a:cxn ang="0">
                    <a:pos x="connsiteX0" y="connsiteY0"/>
                  </a:cxn>
                  <a:cxn ang="0">
                    <a:pos x="connsiteX1" y="connsiteY1"/>
                  </a:cxn>
                  <a:cxn ang="0">
                    <a:pos x="connsiteX2" y="connsiteY2"/>
                  </a:cxn>
                  <a:cxn ang="0">
                    <a:pos x="connsiteX3" y="connsiteY3"/>
                  </a:cxn>
                </a:cxnLst>
                <a:rect l="l" t="t" r="r" b="b"/>
                <a:pathLst>
                  <a:path w="39831" h="101612">
                    <a:moveTo>
                      <a:pt x="39832" y="1076"/>
                    </a:moveTo>
                    <a:lnTo>
                      <a:pt x="2871" y="101612"/>
                    </a:lnTo>
                    <a:lnTo>
                      <a:pt x="0" y="100536"/>
                    </a:lnTo>
                    <a:lnTo>
                      <a:pt x="36961" y="0"/>
                    </a:lnTo>
                    <a:close/>
                  </a:path>
                </a:pathLst>
              </a:custGeom>
              <a:grpFill/>
              <a:ln w="5978" cap="flat">
                <a:noFill/>
                <a:prstDash val="solid"/>
                <a:miter/>
              </a:ln>
            </p:spPr>
            <p:txBody>
              <a:bodyPr rtlCol="0" anchor="ctr"/>
              <a:lstStyle/>
              <a:p>
                <a:endParaRPr lang="en-GB"/>
              </a:p>
            </p:txBody>
          </p:sp>
          <p:sp>
            <p:nvSpPr>
              <p:cNvPr id="2586" name="Vrije vorm: vorm 2585">
                <a:extLst>
                  <a:ext uri="{FF2B5EF4-FFF2-40B4-BE49-F238E27FC236}">
                    <a16:creationId xmlns:a16="http://schemas.microsoft.com/office/drawing/2014/main" id="{E1EB848B-6204-4020-8D16-4116C9BCC382}"/>
                  </a:ext>
                </a:extLst>
              </p:cNvPr>
              <p:cNvSpPr/>
              <p:nvPr/>
            </p:nvSpPr>
            <p:spPr>
              <a:xfrm>
                <a:off x="5430376" y="5081921"/>
                <a:ext cx="18369" cy="18415"/>
              </a:xfrm>
              <a:custGeom>
                <a:avLst/>
                <a:gdLst>
                  <a:gd name="connsiteX0" fmla="*/ 17782 w 18369"/>
                  <a:gd name="connsiteY0" fmla="*/ 12438 h 18415"/>
                  <a:gd name="connsiteX1" fmla="*/ 6000 w 18369"/>
                  <a:gd name="connsiteY1" fmla="*/ 17820 h 18415"/>
                  <a:gd name="connsiteX2" fmla="*/ 557 w 18369"/>
                  <a:gd name="connsiteY2" fmla="*/ 5978 h 18415"/>
                  <a:gd name="connsiteX3" fmla="*/ 12339 w 18369"/>
                  <a:gd name="connsiteY3" fmla="*/ 596 h 18415"/>
                  <a:gd name="connsiteX4" fmla="*/ 17782 w 18369"/>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5">
                    <a:moveTo>
                      <a:pt x="17782" y="12438"/>
                    </a:moveTo>
                    <a:cubicBezTo>
                      <a:pt x="16047" y="17222"/>
                      <a:pt x="10784" y="19614"/>
                      <a:pt x="6000" y="17820"/>
                    </a:cubicBezTo>
                    <a:cubicBezTo>
                      <a:pt x="1275" y="16026"/>
                      <a:pt x="-1177" y="10703"/>
                      <a:pt x="557" y="5978"/>
                    </a:cubicBezTo>
                    <a:cubicBezTo>
                      <a:pt x="2291" y="1194"/>
                      <a:pt x="7555" y="-1198"/>
                      <a:pt x="12339" y="596"/>
                    </a:cubicBezTo>
                    <a:cubicBezTo>
                      <a:pt x="17124" y="2390"/>
                      <a:pt x="19576" y="7653"/>
                      <a:pt x="17782" y="12438"/>
                    </a:cubicBezTo>
                    <a:close/>
                  </a:path>
                </a:pathLst>
              </a:custGeom>
              <a:grpFill/>
              <a:ln w="5978" cap="flat">
                <a:noFill/>
                <a:prstDash val="solid"/>
                <a:miter/>
              </a:ln>
            </p:spPr>
            <p:txBody>
              <a:bodyPr rtlCol="0" anchor="ctr"/>
              <a:lstStyle/>
              <a:p>
                <a:endParaRPr lang="en-GB"/>
              </a:p>
            </p:txBody>
          </p:sp>
          <p:sp>
            <p:nvSpPr>
              <p:cNvPr id="2587" name="Vrije vorm: vorm 2586">
                <a:extLst>
                  <a:ext uri="{FF2B5EF4-FFF2-40B4-BE49-F238E27FC236}">
                    <a16:creationId xmlns:a16="http://schemas.microsoft.com/office/drawing/2014/main" id="{4C837694-14BC-42BB-8F5F-6447CE0FBC20}"/>
                  </a:ext>
                </a:extLst>
              </p:cNvPr>
              <p:cNvSpPr/>
              <p:nvPr/>
            </p:nvSpPr>
            <p:spPr>
              <a:xfrm>
                <a:off x="5467032" y="4982230"/>
                <a:ext cx="18352" cy="18408"/>
              </a:xfrm>
              <a:custGeom>
                <a:avLst/>
                <a:gdLst>
                  <a:gd name="connsiteX0" fmla="*/ 17788 w 18352"/>
                  <a:gd name="connsiteY0" fmla="*/ 12430 h 18408"/>
                  <a:gd name="connsiteX1" fmla="*/ 12346 w 18352"/>
                  <a:gd name="connsiteY1" fmla="*/ 589 h 18408"/>
                  <a:gd name="connsiteX2" fmla="*/ 564 w 18352"/>
                  <a:gd name="connsiteY2" fmla="*/ 5971 h 18408"/>
                  <a:gd name="connsiteX3" fmla="*/ 6006 w 18352"/>
                  <a:gd name="connsiteY3" fmla="*/ 17813 h 18408"/>
                  <a:gd name="connsiteX4" fmla="*/ 17788 w 18352"/>
                  <a:gd name="connsiteY4" fmla="*/ 12430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8">
                    <a:moveTo>
                      <a:pt x="17788" y="12430"/>
                    </a:moveTo>
                    <a:cubicBezTo>
                      <a:pt x="19523" y="7646"/>
                      <a:pt x="17131" y="2383"/>
                      <a:pt x="12346" y="589"/>
                    </a:cubicBezTo>
                    <a:cubicBezTo>
                      <a:pt x="7621" y="-1205"/>
                      <a:pt x="2358" y="1246"/>
                      <a:pt x="564" y="5971"/>
                    </a:cubicBezTo>
                    <a:cubicBezTo>
                      <a:pt x="-1170" y="10756"/>
                      <a:pt x="1222" y="16019"/>
                      <a:pt x="6006" y="17813"/>
                    </a:cubicBezTo>
                    <a:cubicBezTo>
                      <a:pt x="10791" y="19607"/>
                      <a:pt x="16054" y="17215"/>
                      <a:pt x="17788" y="12430"/>
                    </a:cubicBezTo>
                    <a:close/>
                  </a:path>
                </a:pathLst>
              </a:custGeom>
              <a:grpFill/>
              <a:ln w="5978" cap="flat">
                <a:noFill/>
                <a:prstDash val="solid"/>
                <a:miter/>
              </a:ln>
            </p:spPr>
            <p:txBody>
              <a:bodyPr rtlCol="0" anchor="ctr"/>
              <a:lstStyle/>
              <a:p>
                <a:endParaRPr lang="en-GB"/>
              </a:p>
            </p:txBody>
          </p:sp>
        </p:grpSp>
        <p:grpSp>
          <p:nvGrpSpPr>
            <p:cNvPr id="939" name="Graphic 3">
              <a:extLst>
                <a:ext uri="{FF2B5EF4-FFF2-40B4-BE49-F238E27FC236}">
                  <a16:creationId xmlns:a16="http://schemas.microsoft.com/office/drawing/2014/main" id="{3E297873-998D-4B57-8E7D-9C6124B7C482}"/>
                </a:ext>
              </a:extLst>
            </p:cNvPr>
            <p:cNvGrpSpPr/>
            <p:nvPr/>
          </p:nvGrpSpPr>
          <p:grpSpPr>
            <a:xfrm>
              <a:off x="5601458" y="5407104"/>
              <a:ext cx="88786" cy="395061"/>
              <a:chOff x="5601458" y="5407104"/>
              <a:chExt cx="88786" cy="395061"/>
            </a:xfrm>
            <a:grpFill/>
          </p:grpSpPr>
          <p:sp>
            <p:nvSpPr>
              <p:cNvPr id="2582" name="Vrije vorm: vorm 2581">
                <a:extLst>
                  <a:ext uri="{FF2B5EF4-FFF2-40B4-BE49-F238E27FC236}">
                    <a16:creationId xmlns:a16="http://schemas.microsoft.com/office/drawing/2014/main" id="{482ED3D8-7DDC-4012-9B0E-CAD6F6E50233}"/>
                  </a:ext>
                </a:extLst>
              </p:cNvPr>
              <p:cNvSpPr/>
              <p:nvPr/>
            </p:nvSpPr>
            <p:spPr>
              <a:xfrm>
                <a:off x="5609040" y="5415583"/>
                <a:ext cx="73622" cy="378101"/>
              </a:xfrm>
              <a:custGeom>
                <a:avLst/>
                <a:gdLst>
                  <a:gd name="connsiteX0" fmla="*/ 73623 w 73622"/>
                  <a:gd name="connsiteY0" fmla="*/ 538 h 378101"/>
                  <a:gd name="connsiteX1" fmla="*/ 2990 w 73622"/>
                  <a:gd name="connsiteY1" fmla="*/ 378101 h 378101"/>
                  <a:gd name="connsiteX2" fmla="*/ 0 w 73622"/>
                  <a:gd name="connsiteY2" fmla="*/ 377563 h 378101"/>
                  <a:gd name="connsiteX3" fmla="*/ 70632 w 73622"/>
                  <a:gd name="connsiteY3" fmla="*/ 0 h 378101"/>
                </a:gdLst>
                <a:ahLst/>
                <a:cxnLst>
                  <a:cxn ang="0">
                    <a:pos x="connsiteX0" y="connsiteY0"/>
                  </a:cxn>
                  <a:cxn ang="0">
                    <a:pos x="connsiteX1" y="connsiteY1"/>
                  </a:cxn>
                  <a:cxn ang="0">
                    <a:pos x="connsiteX2" y="connsiteY2"/>
                  </a:cxn>
                  <a:cxn ang="0">
                    <a:pos x="connsiteX3" y="connsiteY3"/>
                  </a:cxn>
                </a:cxnLst>
                <a:rect l="l" t="t" r="r" b="b"/>
                <a:pathLst>
                  <a:path w="73622" h="378101">
                    <a:moveTo>
                      <a:pt x="73623" y="538"/>
                    </a:moveTo>
                    <a:lnTo>
                      <a:pt x="2990" y="378101"/>
                    </a:lnTo>
                    <a:lnTo>
                      <a:pt x="0" y="377563"/>
                    </a:lnTo>
                    <a:lnTo>
                      <a:pt x="70632" y="0"/>
                    </a:lnTo>
                    <a:close/>
                  </a:path>
                </a:pathLst>
              </a:custGeom>
              <a:grpFill/>
              <a:ln w="5978" cap="flat">
                <a:noFill/>
                <a:prstDash val="solid"/>
                <a:miter/>
              </a:ln>
            </p:spPr>
            <p:txBody>
              <a:bodyPr rtlCol="0" anchor="ctr"/>
              <a:lstStyle/>
              <a:p>
                <a:endParaRPr lang="en-GB"/>
              </a:p>
            </p:txBody>
          </p:sp>
          <p:sp>
            <p:nvSpPr>
              <p:cNvPr id="2583" name="Vrije vorm: vorm 2582">
                <a:extLst>
                  <a:ext uri="{FF2B5EF4-FFF2-40B4-BE49-F238E27FC236}">
                    <a16:creationId xmlns:a16="http://schemas.microsoft.com/office/drawing/2014/main" id="{541DF2E2-930F-4B55-8230-52B70C44EF67}"/>
                  </a:ext>
                </a:extLst>
              </p:cNvPr>
              <p:cNvSpPr/>
              <p:nvPr/>
            </p:nvSpPr>
            <p:spPr>
              <a:xfrm>
                <a:off x="5601458" y="5783768"/>
                <a:ext cx="18333" cy="18397"/>
              </a:xfrm>
              <a:custGeom>
                <a:avLst/>
                <a:gdLst>
                  <a:gd name="connsiteX0" fmla="*/ 18168 w 18333"/>
                  <a:gd name="connsiteY0" fmla="*/ 10933 h 18397"/>
                  <a:gd name="connsiteX1" fmla="*/ 7462 w 18333"/>
                  <a:gd name="connsiteY1" fmla="*/ 18229 h 18397"/>
                  <a:gd name="connsiteX2" fmla="*/ 166 w 18333"/>
                  <a:gd name="connsiteY2" fmla="*/ 7464 h 18397"/>
                  <a:gd name="connsiteX3" fmla="*/ 10871 w 18333"/>
                  <a:gd name="connsiteY3" fmla="*/ 168 h 18397"/>
                  <a:gd name="connsiteX4" fmla="*/ 18168 w 18333"/>
                  <a:gd name="connsiteY4" fmla="*/ 10933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7">
                    <a:moveTo>
                      <a:pt x="18168" y="10933"/>
                    </a:moveTo>
                    <a:cubicBezTo>
                      <a:pt x="17211" y="15957"/>
                      <a:pt x="12426" y="19187"/>
                      <a:pt x="7462" y="18229"/>
                    </a:cubicBezTo>
                    <a:cubicBezTo>
                      <a:pt x="2498" y="17273"/>
                      <a:pt x="-791" y="12428"/>
                      <a:pt x="166" y="7464"/>
                    </a:cubicBezTo>
                    <a:cubicBezTo>
                      <a:pt x="1123" y="2441"/>
                      <a:pt x="5907" y="-789"/>
                      <a:pt x="10871" y="168"/>
                    </a:cubicBezTo>
                    <a:cubicBezTo>
                      <a:pt x="15835" y="1125"/>
                      <a:pt x="19125" y="5969"/>
                      <a:pt x="18168" y="10933"/>
                    </a:cubicBezTo>
                    <a:close/>
                  </a:path>
                </a:pathLst>
              </a:custGeom>
              <a:grpFill/>
              <a:ln w="5978" cap="flat">
                <a:noFill/>
                <a:prstDash val="solid"/>
                <a:miter/>
              </a:ln>
            </p:spPr>
            <p:txBody>
              <a:bodyPr rtlCol="0" anchor="ctr"/>
              <a:lstStyle/>
              <a:p>
                <a:endParaRPr lang="en-GB"/>
              </a:p>
            </p:txBody>
          </p:sp>
          <p:sp>
            <p:nvSpPr>
              <p:cNvPr id="2584" name="Vrije vorm: vorm 2583">
                <a:extLst>
                  <a:ext uri="{FF2B5EF4-FFF2-40B4-BE49-F238E27FC236}">
                    <a16:creationId xmlns:a16="http://schemas.microsoft.com/office/drawing/2014/main" id="{FB4D16A2-5075-473F-92FD-E875E11A91D0}"/>
                  </a:ext>
                </a:extLst>
              </p:cNvPr>
              <p:cNvSpPr/>
              <p:nvPr/>
            </p:nvSpPr>
            <p:spPr>
              <a:xfrm>
                <a:off x="5671911" y="5407104"/>
                <a:ext cx="18333" cy="18411"/>
              </a:xfrm>
              <a:custGeom>
                <a:avLst/>
                <a:gdLst>
                  <a:gd name="connsiteX0" fmla="*/ 18168 w 18333"/>
                  <a:gd name="connsiteY0" fmla="*/ 10931 h 18411"/>
                  <a:gd name="connsiteX1" fmla="*/ 10871 w 18333"/>
                  <a:gd name="connsiteY1" fmla="*/ 166 h 18411"/>
                  <a:gd name="connsiteX2" fmla="*/ 166 w 18333"/>
                  <a:gd name="connsiteY2" fmla="*/ 7462 h 18411"/>
                  <a:gd name="connsiteX3" fmla="*/ 7462 w 18333"/>
                  <a:gd name="connsiteY3" fmla="*/ 18227 h 18411"/>
                  <a:gd name="connsiteX4" fmla="*/ 18168 w 18333"/>
                  <a:gd name="connsiteY4" fmla="*/ 10931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1">
                    <a:moveTo>
                      <a:pt x="18168" y="10931"/>
                    </a:moveTo>
                    <a:cubicBezTo>
                      <a:pt x="19124" y="5907"/>
                      <a:pt x="15835" y="1123"/>
                      <a:pt x="10871" y="166"/>
                    </a:cubicBezTo>
                    <a:cubicBezTo>
                      <a:pt x="5907" y="-791"/>
                      <a:pt x="1122" y="2498"/>
                      <a:pt x="166" y="7462"/>
                    </a:cubicBezTo>
                    <a:cubicBezTo>
                      <a:pt x="-791" y="12426"/>
                      <a:pt x="2498" y="17271"/>
                      <a:pt x="7462" y="18227"/>
                    </a:cubicBezTo>
                    <a:cubicBezTo>
                      <a:pt x="12426" y="19244"/>
                      <a:pt x="17270" y="15955"/>
                      <a:pt x="18168" y="10931"/>
                    </a:cubicBezTo>
                    <a:close/>
                  </a:path>
                </a:pathLst>
              </a:custGeom>
              <a:grpFill/>
              <a:ln w="5978" cap="flat">
                <a:noFill/>
                <a:prstDash val="solid"/>
                <a:miter/>
              </a:ln>
            </p:spPr>
            <p:txBody>
              <a:bodyPr rtlCol="0" anchor="ctr"/>
              <a:lstStyle/>
              <a:p>
                <a:endParaRPr lang="en-GB"/>
              </a:p>
            </p:txBody>
          </p:sp>
        </p:grpSp>
        <p:grpSp>
          <p:nvGrpSpPr>
            <p:cNvPr id="940" name="Graphic 3">
              <a:extLst>
                <a:ext uri="{FF2B5EF4-FFF2-40B4-BE49-F238E27FC236}">
                  <a16:creationId xmlns:a16="http://schemas.microsoft.com/office/drawing/2014/main" id="{2A35E2A0-D72F-4AEF-A8F9-9E1BA71425B1}"/>
                </a:ext>
              </a:extLst>
            </p:cNvPr>
            <p:cNvGrpSpPr/>
            <p:nvPr/>
          </p:nvGrpSpPr>
          <p:grpSpPr>
            <a:xfrm>
              <a:off x="4344124" y="2108824"/>
              <a:ext cx="341161" cy="303140"/>
              <a:chOff x="4344124" y="2108824"/>
              <a:chExt cx="341161" cy="303140"/>
            </a:xfrm>
            <a:grpFill/>
          </p:grpSpPr>
          <p:sp>
            <p:nvSpPr>
              <p:cNvPr id="2579" name="Vrije vorm: vorm 2578">
                <a:extLst>
                  <a:ext uri="{FF2B5EF4-FFF2-40B4-BE49-F238E27FC236}">
                    <a16:creationId xmlns:a16="http://schemas.microsoft.com/office/drawing/2014/main" id="{5147DA57-4327-4CE8-B358-04832B07C755}"/>
                  </a:ext>
                </a:extLst>
              </p:cNvPr>
              <p:cNvSpPr/>
              <p:nvPr/>
            </p:nvSpPr>
            <p:spPr>
              <a:xfrm>
                <a:off x="4351952" y="2116558"/>
                <a:ext cx="325470" cy="287672"/>
              </a:xfrm>
              <a:custGeom>
                <a:avLst/>
                <a:gdLst>
                  <a:gd name="connsiteX0" fmla="*/ 325471 w 325470"/>
                  <a:gd name="connsiteY0" fmla="*/ 285400 h 287672"/>
                  <a:gd name="connsiteX1" fmla="*/ 323497 w 325470"/>
                  <a:gd name="connsiteY1" fmla="*/ 287673 h 287672"/>
                  <a:gd name="connsiteX2" fmla="*/ 0 w 325470"/>
                  <a:gd name="connsiteY2" fmla="*/ 2273 h 287672"/>
                  <a:gd name="connsiteX3" fmla="*/ 1973 w 325470"/>
                  <a:gd name="connsiteY3" fmla="*/ 0 h 287672"/>
                </a:gdLst>
                <a:ahLst/>
                <a:cxnLst>
                  <a:cxn ang="0">
                    <a:pos x="connsiteX0" y="connsiteY0"/>
                  </a:cxn>
                  <a:cxn ang="0">
                    <a:pos x="connsiteX1" y="connsiteY1"/>
                  </a:cxn>
                  <a:cxn ang="0">
                    <a:pos x="connsiteX2" y="connsiteY2"/>
                  </a:cxn>
                  <a:cxn ang="0">
                    <a:pos x="connsiteX3" y="connsiteY3"/>
                  </a:cxn>
                </a:cxnLst>
                <a:rect l="l" t="t" r="r" b="b"/>
                <a:pathLst>
                  <a:path w="325470" h="287672">
                    <a:moveTo>
                      <a:pt x="325471" y="285400"/>
                    </a:moveTo>
                    <a:lnTo>
                      <a:pt x="323497" y="287673"/>
                    </a:lnTo>
                    <a:lnTo>
                      <a:pt x="0" y="2273"/>
                    </a:lnTo>
                    <a:lnTo>
                      <a:pt x="1973" y="0"/>
                    </a:lnTo>
                    <a:close/>
                  </a:path>
                </a:pathLst>
              </a:custGeom>
              <a:grpFill/>
              <a:ln w="5978" cap="flat">
                <a:noFill/>
                <a:prstDash val="solid"/>
                <a:miter/>
              </a:ln>
            </p:spPr>
            <p:txBody>
              <a:bodyPr rtlCol="0" anchor="ctr"/>
              <a:lstStyle/>
              <a:p>
                <a:endParaRPr lang="en-GB"/>
              </a:p>
            </p:txBody>
          </p:sp>
          <p:sp>
            <p:nvSpPr>
              <p:cNvPr id="2580" name="Vrije vorm: vorm 2579">
                <a:extLst>
                  <a:ext uri="{FF2B5EF4-FFF2-40B4-BE49-F238E27FC236}">
                    <a16:creationId xmlns:a16="http://schemas.microsoft.com/office/drawing/2014/main" id="{483330BB-D657-4E65-B567-F5DA47B23C47}"/>
                  </a:ext>
                </a:extLst>
              </p:cNvPr>
              <p:cNvSpPr/>
              <p:nvPr/>
            </p:nvSpPr>
            <p:spPr>
              <a:xfrm>
                <a:off x="4666988" y="2393566"/>
                <a:ext cx="18297" cy="18398"/>
              </a:xfrm>
              <a:custGeom>
                <a:avLst/>
                <a:gdLst>
                  <a:gd name="connsiteX0" fmla="*/ 15159 w 18297"/>
                  <a:gd name="connsiteY0" fmla="*/ 2291 h 18398"/>
                  <a:gd name="connsiteX1" fmla="*/ 16057 w 18297"/>
                  <a:gd name="connsiteY1" fmla="*/ 15269 h 18398"/>
                  <a:gd name="connsiteX2" fmla="*/ 3138 w 18297"/>
                  <a:gd name="connsiteY2" fmla="*/ 16107 h 18398"/>
                  <a:gd name="connsiteX3" fmla="*/ 2241 w 18297"/>
                  <a:gd name="connsiteY3" fmla="*/ 3129 h 18398"/>
                  <a:gd name="connsiteX4" fmla="*/ 15159 w 18297"/>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398">
                    <a:moveTo>
                      <a:pt x="15159" y="2291"/>
                    </a:moveTo>
                    <a:cubicBezTo>
                      <a:pt x="18987" y="5641"/>
                      <a:pt x="19346" y="11502"/>
                      <a:pt x="16057" y="15269"/>
                    </a:cubicBezTo>
                    <a:cubicBezTo>
                      <a:pt x="12707" y="19097"/>
                      <a:pt x="6966" y="19456"/>
                      <a:pt x="3138" y="16107"/>
                    </a:cubicBezTo>
                    <a:cubicBezTo>
                      <a:pt x="-689" y="12758"/>
                      <a:pt x="-1048" y="6896"/>
                      <a:pt x="2241" y="3129"/>
                    </a:cubicBezTo>
                    <a:cubicBezTo>
                      <a:pt x="5530" y="-699"/>
                      <a:pt x="11332" y="-1058"/>
                      <a:pt x="15159" y="2291"/>
                    </a:cubicBezTo>
                    <a:close/>
                  </a:path>
                </a:pathLst>
              </a:custGeom>
              <a:grpFill/>
              <a:ln w="5978" cap="flat">
                <a:noFill/>
                <a:prstDash val="solid"/>
                <a:miter/>
              </a:ln>
            </p:spPr>
            <p:txBody>
              <a:bodyPr rtlCol="0" anchor="ctr"/>
              <a:lstStyle/>
              <a:p>
                <a:endParaRPr lang="en-GB"/>
              </a:p>
            </p:txBody>
          </p:sp>
          <p:sp>
            <p:nvSpPr>
              <p:cNvPr id="2581" name="Vrije vorm: vorm 2580">
                <a:extLst>
                  <a:ext uri="{FF2B5EF4-FFF2-40B4-BE49-F238E27FC236}">
                    <a16:creationId xmlns:a16="http://schemas.microsoft.com/office/drawing/2014/main" id="{E020A9EE-6A0D-4BC9-A5EF-D637E4556152}"/>
                  </a:ext>
                </a:extLst>
              </p:cNvPr>
              <p:cNvSpPr/>
              <p:nvPr/>
            </p:nvSpPr>
            <p:spPr>
              <a:xfrm>
                <a:off x="4344124" y="2108824"/>
                <a:ext cx="18322" cy="18398"/>
              </a:xfrm>
              <a:custGeom>
                <a:avLst/>
                <a:gdLst>
                  <a:gd name="connsiteX0" fmla="*/ 15184 w 18322"/>
                  <a:gd name="connsiteY0" fmla="*/ 2291 h 18398"/>
                  <a:gd name="connsiteX1" fmla="*/ 2266 w 18322"/>
                  <a:gd name="connsiteY1" fmla="*/ 3129 h 18398"/>
                  <a:gd name="connsiteX2" fmla="*/ 3163 w 18322"/>
                  <a:gd name="connsiteY2" fmla="*/ 16107 h 18398"/>
                  <a:gd name="connsiteX3" fmla="*/ 16081 w 18322"/>
                  <a:gd name="connsiteY3" fmla="*/ 15269 h 18398"/>
                  <a:gd name="connsiteX4" fmla="*/ 15184 w 18322"/>
                  <a:gd name="connsiteY4" fmla="*/ 22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398">
                    <a:moveTo>
                      <a:pt x="15184" y="2291"/>
                    </a:moveTo>
                    <a:cubicBezTo>
                      <a:pt x="11356" y="-1058"/>
                      <a:pt x="5555" y="-699"/>
                      <a:pt x="2266" y="3129"/>
                    </a:cubicBezTo>
                    <a:cubicBezTo>
                      <a:pt x="-1084" y="6956"/>
                      <a:pt x="-665" y="12758"/>
                      <a:pt x="3163" y="16107"/>
                    </a:cubicBezTo>
                    <a:cubicBezTo>
                      <a:pt x="6990" y="19456"/>
                      <a:pt x="12791" y="19097"/>
                      <a:pt x="16081" y="15269"/>
                    </a:cubicBezTo>
                    <a:cubicBezTo>
                      <a:pt x="19370" y="11442"/>
                      <a:pt x="19012" y="5641"/>
                      <a:pt x="15184" y="2291"/>
                    </a:cubicBezTo>
                    <a:close/>
                  </a:path>
                </a:pathLst>
              </a:custGeom>
              <a:grpFill/>
              <a:ln w="5978" cap="flat">
                <a:noFill/>
                <a:prstDash val="solid"/>
                <a:miter/>
              </a:ln>
            </p:spPr>
            <p:txBody>
              <a:bodyPr rtlCol="0" anchor="ctr"/>
              <a:lstStyle/>
              <a:p>
                <a:endParaRPr lang="en-GB"/>
              </a:p>
            </p:txBody>
          </p:sp>
        </p:grpSp>
        <p:grpSp>
          <p:nvGrpSpPr>
            <p:cNvPr id="941" name="Graphic 3">
              <a:extLst>
                <a:ext uri="{FF2B5EF4-FFF2-40B4-BE49-F238E27FC236}">
                  <a16:creationId xmlns:a16="http://schemas.microsoft.com/office/drawing/2014/main" id="{C79A5F17-8737-4052-A925-1079EFD234BF}"/>
                </a:ext>
              </a:extLst>
            </p:cNvPr>
            <p:cNvGrpSpPr/>
            <p:nvPr/>
          </p:nvGrpSpPr>
          <p:grpSpPr>
            <a:xfrm>
              <a:off x="4578344" y="2489315"/>
              <a:ext cx="58474" cy="43522"/>
              <a:chOff x="4578344" y="2489315"/>
              <a:chExt cx="58474" cy="43522"/>
            </a:xfrm>
            <a:grpFill/>
          </p:grpSpPr>
          <p:sp>
            <p:nvSpPr>
              <p:cNvPr id="2576" name="Vrije vorm: vorm 2575">
                <a:extLst>
                  <a:ext uri="{FF2B5EF4-FFF2-40B4-BE49-F238E27FC236}">
                    <a16:creationId xmlns:a16="http://schemas.microsoft.com/office/drawing/2014/main" id="{C7F33E8F-BA27-4830-8018-5825B3F24C2E}"/>
                  </a:ext>
                </a:extLst>
              </p:cNvPr>
              <p:cNvSpPr/>
              <p:nvPr/>
            </p:nvSpPr>
            <p:spPr>
              <a:xfrm>
                <a:off x="4586276" y="2496991"/>
                <a:ext cx="42522" cy="28169"/>
              </a:xfrm>
              <a:custGeom>
                <a:avLst/>
                <a:gdLst>
                  <a:gd name="connsiteX0" fmla="*/ 42523 w 42522"/>
                  <a:gd name="connsiteY0" fmla="*/ 25598 h 28169"/>
                  <a:gd name="connsiteX1" fmla="*/ 40968 w 42522"/>
                  <a:gd name="connsiteY1" fmla="*/ 28169 h 28169"/>
                  <a:gd name="connsiteX2" fmla="*/ 0 w 42522"/>
                  <a:gd name="connsiteY2" fmla="*/ 2572 h 28169"/>
                  <a:gd name="connsiteX3" fmla="*/ 1615 w 42522"/>
                  <a:gd name="connsiteY3" fmla="*/ 0 h 28169"/>
                </a:gdLst>
                <a:ahLst/>
                <a:cxnLst>
                  <a:cxn ang="0">
                    <a:pos x="connsiteX0" y="connsiteY0"/>
                  </a:cxn>
                  <a:cxn ang="0">
                    <a:pos x="connsiteX1" y="connsiteY1"/>
                  </a:cxn>
                  <a:cxn ang="0">
                    <a:pos x="connsiteX2" y="connsiteY2"/>
                  </a:cxn>
                  <a:cxn ang="0">
                    <a:pos x="connsiteX3" y="connsiteY3"/>
                  </a:cxn>
                </a:cxnLst>
                <a:rect l="l" t="t" r="r" b="b"/>
                <a:pathLst>
                  <a:path w="42522" h="28169">
                    <a:moveTo>
                      <a:pt x="42523" y="25598"/>
                    </a:moveTo>
                    <a:lnTo>
                      <a:pt x="40968" y="28169"/>
                    </a:lnTo>
                    <a:lnTo>
                      <a:pt x="0" y="2572"/>
                    </a:lnTo>
                    <a:lnTo>
                      <a:pt x="1615" y="0"/>
                    </a:lnTo>
                    <a:close/>
                  </a:path>
                </a:pathLst>
              </a:custGeom>
              <a:grpFill/>
              <a:ln w="5978" cap="flat">
                <a:noFill/>
                <a:prstDash val="solid"/>
                <a:miter/>
              </a:ln>
            </p:spPr>
            <p:txBody>
              <a:bodyPr rtlCol="0" anchor="ctr"/>
              <a:lstStyle/>
              <a:p>
                <a:endParaRPr lang="en-GB"/>
              </a:p>
            </p:txBody>
          </p:sp>
          <p:sp>
            <p:nvSpPr>
              <p:cNvPr id="2577" name="Vrije vorm: vorm 2576">
                <a:extLst>
                  <a:ext uri="{FF2B5EF4-FFF2-40B4-BE49-F238E27FC236}">
                    <a16:creationId xmlns:a16="http://schemas.microsoft.com/office/drawing/2014/main" id="{9BBACCDD-5238-46DD-AC2E-8D87562F871C}"/>
                  </a:ext>
                </a:extLst>
              </p:cNvPr>
              <p:cNvSpPr/>
              <p:nvPr/>
            </p:nvSpPr>
            <p:spPr>
              <a:xfrm>
                <a:off x="4578344" y="2489315"/>
                <a:ext cx="18316" cy="18403"/>
              </a:xfrm>
              <a:custGeom>
                <a:avLst/>
                <a:gdLst>
                  <a:gd name="connsiteX0" fmla="*/ 4344 w 18316"/>
                  <a:gd name="connsiteY0" fmla="*/ 17007 h 18403"/>
                  <a:gd name="connsiteX1" fmla="*/ 1354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4" y="4327"/>
                    </a:cubicBezTo>
                    <a:cubicBezTo>
                      <a:pt x="3985" y="21"/>
                      <a:pt x="9667" y="-1294"/>
                      <a:pt x="13973" y="1397"/>
                    </a:cubicBezTo>
                    <a:cubicBezTo>
                      <a:pt x="18279" y="4088"/>
                      <a:pt x="19595" y="9770"/>
                      <a:pt x="16963" y="14076"/>
                    </a:cubicBezTo>
                    <a:cubicBezTo>
                      <a:pt x="14272" y="18382"/>
                      <a:pt x="8650" y="19698"/>
                      <a:pt x="4344" y="17007"/>
                    </a:cubicBezTo>
                    <a:close/>
                  </a:path>
                </a:pathLst>
              </a:custGeom>
              <a:grpFill/>
              <a:ln w="5978" cap="flat">
                <a:noFill/>
                <a:prstDash val="solid"/>
                <a:miter/>
              </a:ln>
            </p:spPr>
            <p:txBody>
              <a:bodyPr rtlCol="0" anchor="ctr"/>
              <a:lstStyle/>
              <a:p>
                <a:endParaRPr lang="en-GB"/>
              </a:p>
            </p:txBody>
          </p:sp>
          <p:sp>
            <p:nvSpPr>
              <p:cNvPr id="2578" name="Vrije vorm: vorm 2577">
                <a:extLst>
                  <a:ext uri="{FF2B5EF4-FFF2-40B4-BE49-F238E27FC236}">
                    <a16:creationId xmlns:a16="http://schemas.microsoft.com/office/drawing/2014/main" id="{D4E2EE98-F235-4781-AC9A-B37B175BEE5A}"/>
                  </a:ext>
                </a:extLst>
              </p:cNvPr>
              <p:cNvSpPr/>
              <p:nvPr/>
            </p:nvSpPr>
            <p:spPr>
              <a:xfrm>
                <a:off x="4618475" y="2514434"/>
                <a:ext cx="18343" cy="18403"/>
              </a:xfrm>
              <a:custGeom>
                <a:avLst/>
                <a:gdLst>
                  <a:gd name="connsiteX0" fmla="*/ 4344 w 18343"/>
                  <a:gd name="connsiteY0" fmla="*/ 17007 h 18403"/>
                  <a:gd name="connsiteX1" fmla="*/ 16963 w 18343"/>
                  <a:gd name="connsiteY1" fmla="*/ 14076 h 18403"/>
                  <a:gd name="connsiteX2" fmla="*/ 13973 w 18343"/>
                  <a:gd name="connsiteY2" fmla="*/ 1397 h 18403"/>
                  <a:gd name="connsiteX3" fmla="*/ 1354 w 18343"/>
                  <a:gd name="connsiteY3" fmla="*/ 4327 h 18403"/>
                  <a:gd name="connsiteX4" fmla="*/ 4344 w 18343"/>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4344" y="17007"/>
                    </a:moveTo>
                    <a:cubicBezTo>
                      <a:pt x="8650" y="19698"/>
                      <a:pt x="14272" y="18382"/>
                      <a:pt x="16963" y="14076"/>
                    </a:cubicBezTo>
                    <a:cubicBezTo>
                      <a:pt x="19655" y="9770"/>
                      <a:pt x="18279" y="4088"/>
                      <a:pt x="13973" y="1397"/>
                    </a:cubicBezTo>
                    <a:cubicBezTo>
                      <a:pt x="9667" y="-1294"/>
                      <a:pt x="4045" y="21"/>
                      <a:pt x="1354" y="4327"/>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942" name="Graphic 3">
              <a:extLst>
                <a:ext uri="{FF2B5EF4-FFF2-40B4-BE49-F238E27FC236}">
                  <a16:creationId xmlns:a16="http://schemas.microsoft.com/office/drawing/2014/main" id="{E74007B4-7F43-4088-B9AE-14DC934FE73B}"/>
                </a:ext>
              </a:extLst>
            </p:cNvPr>
            <p:cNvGrpSpPr/>
            <p:nvPr/>
          </p:nvGrpSpPr>
          <p:grpSpPr>
            <a:xfrm>
              <a:off x="4419517" y="2258760"/>
              <a:ext cx="244063" cy="177948"/>
              <a:chOff x="4419517" y="2258760"/>
              <a:chExt cx="244063" cy="177948"/>
            </a:xfrm>
            <a:grpFill/>
          </p:grpSpPr>
          <p:sp>
            <p:nvSpPr>
              <p:cNvPr id="2573" name="Vrije vorm: vorm 2572">
                <a:extLst>
                  <a:ext uri="{FF2B5EF4-FFF2-40B4-BE49-F238E27FC236}">
                    <a16:creationId xmlns:a16="http://schemas.microsoft.com/office/drawing/2014/main" id="{85F480C3-AD00-49F7-B9B0-A4062D6BC00C}"/>
                  </a:ext>
                </a:extLst>
              </p:cNvPr>
              <p:cNvSpPr/>
              <p:nvPr/>
            </p:nvSpPr>
            <p:spPr>
              <a:xfrm>
                <a:off x="4427368" y="2266434"/>
                <a:ext cx="228343" cy="162615"/>
              </a:xfrm>
              <a:custGeom>
                <a:avLst/>
                <a:gdLst>
                  <a:gd name="connsiteX0" fmla="*/ 228344 w 228343"/>
                  <a:gd name="connsiteY0" fmla="*/ 160104 h 162615"/>
                  <a:gd name="connsiteX1" fmla="*/ 226610 w 228343"/>
                  <a:gd name="connsiteY1" fmla="*/ 162616 h 162615"/>
                  <a:gd name="connsiteX2" fmla="*/ 0 w 228343"/>
                  <a:gd name="connsiteY2" fmla="*/ 2512 h 162615"/>
                  <a:gd name="connsiteX3" fmla="*/ 1794 w 228343"/>
                  <a:gd name="connsiteY3" fmla="*/ 0 h 162615"/>
                </a:gdLst>
                <a:ahLst/>
                <a:cxnLst>
                  <a:cxn ang="0">
                    <a:pos x="connsiteX0" y="connsiteY0"/>
                  </a:cxn>
                  <a:cxn ang="0">
                    <a:pos x="connsiteX1" y="connsiteY1"/>
                  </a:cxn>
                  <a:cxn ang="0">
                    <a:pos x="connsiteX2" y="connsiteY2"/>
                  </a:cxn>
                  <a:cxn ang="0">
                    <a:pos x="connsiteX3" y="connsiteY3"/>
                  </a:cxn>
                </a:cxnLst>
                <a:rect l="l" t="t" r="r" b="b"/>
                <a:pathLst>
                  <a:path w="228343" h="162615">
                    <a:moveTo>
                      <a:pt x="228344" y="160104"/>
                    </a:moveTo>
                    <a:lnTo>
                      <a:pt x="226610" y="162616"/>
                    </a:lnTo>
                    <a:lnTo>
                      <a:pt x="0" y="2512"/>
                    </a:lnTo>
                    <a:lnTo>
                      <a:pt x="1794" y="0"/>
                    </a:lnTo>
                    <a:close/>
                  </a:path>
                </a:pathLst>
              </a:custGeom>
              <a:grpFill/>
              <a:ln w="5978" cap="flat">
                <a:noFill/>
                <a:prstDash val="solid"/>
                <a:miter/>
              </a:ln>
            </p:spPr>
            <p:txBody>
              <a:bodyPr rtlCol="0" anchor="ctr"/>
              <a:lstStyle/>
              <a:p>
                <a:endParaRPr lang="en-GB"/>
              </a:p>
            </p:txBody>
          </p:sp>
          <p:sp>
            <p:nvSpPr>
              <p:cNvPr id="2574" name="Vrije vorm: vorm 2573">
                <a:extLst>
                  <a:ext uri="{FF2B5EF4-FFF2-40B4-BE49-F238E27FC236}">
                    <a16:creationId xmlns:a16="http://schemas.microsoft.com/office/drawing/2014/main" id="{9B52E763-EACA-47A5-BFD1-CBA983AB604E}"/>
                  </a:ext>
                </a:extLst>
              </p:cNvPr>
              <p:cNvSpPr/>
              <p:nvPr/>
            </p:nvSpPr>
            <p:spPr>
              <a:xfrm>
                <a:off x="4419517" y="2258760"/>
                <a:ext cx="18274" cy="18442"/>
              </a:xfrm>
              <a:custGeom>
                <a:avLst/>
                <a:gdLst>
                  <a:gd name="connsiteX0" fmla="*/ 3904 w 18274"/>
                  <a:gd name="connsiteY0" fmla="*/ 16765 h 18442"/>
                  <a:gd name="connsiteX1" fmla="*/ 1632 w 18274"/>
                  <a:gd name="connsiteY1" fmla="*/ 3907 h 18442"/>
                  <a:gd name="connsiteX2" fmla="*/ 14370 w 18274"/>
                  <a:gd name="connsiteY2" fmla="*/ 1694 h 18442"/>
                  <a:gd name="connsiteX3" fmla="*/ 16643 w 18274"/>
                  <a:gd name="connsiteY3" fmla="*/ 14552 h 18442"/>
                  <a:gd name="connsiteX4" fmla="*/ 3904 w 18274"/>
                  <a:gd name="connsiteY4" fmla="*/ 16765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2">
                    <a:moveTo>
                      <a:pt x="3904" y="16765"/>
                    </a:moveTo>
                    <a:cubicBezTo>
                      <a:pt x="-223" y="13835"/>
                      <a:pt x="-1239" y="8093"/>
                      <a:pt x="1632" y="3907"/>
                    </a:cubicBezTo>
                    <a:cubicBezTo>
                      <a:pt x="4502" y="-280"/>
                      <a:pt x="10244" y="-1237"/>
                      <a:pt x="14370" y="1694"/>
                    </a:cubicBezTo>
                    <a:cubicBezTo>
                      <a:pt x="18497" y="4624"/>
                      <a:pt x="19514" y="10366"/>
                      <a:pt x="16643" y="14552"/>
                    </a:cubicBezTo>
                    <a:cubicBezTo>
                      <a:pt x="13712" y="18679"/>
                      <a:pt x="8031" y="19696"/>
                      <a:pt x="3904" y="16765"/>
                    </a:cubicBezTo>
                    <a:close/>
                  </a:path>
                </a:pathLst>
              </a:custGeom>
              <a:grpFill/>
              <a:ln w="5978" cap="flat">
                <a:noFill/>
                <a:prstDash val="solid"/>
                <a:miter/>
              </a:ln>
            </p:spPr>
            <p:txBody>
              <a:bodyPr rtlCol="0" anchor="ctr"/>
              <a:lstStyle/>
              <a:p>
                <a:endParaRPr lang="en-GB"/>
              </a:p>
            </p:txBody>
          </p:sp>
          <p:sp>
            <p:nvSpPr>
              <p:cNvPr id="2575" name="Vrije vorm: vorm 2574">
                <a:extLst>
                  <a:ext uri="{FF2B5EF4-FFF2-40B4-BE49-F238E27FC236}">
                    <a16:creationId xmlns:a16="http://schemas.microsoft.com/office/drawing/2014/main" id="{252593D5-5EEF-4A0B-A662-7F0A46F33BBF}"/>
                  </a:ext>
                </a:extLst>
              </p:cNvPr>
              <p:cNvSpPr/>
              <p:nvPr/>
            </p:nvSpPr>
            <p:spPr>
              <a:xfrm>
                <a:off x="4645289" y="2418282"/>
                <a:ext cx="18290" cy="18426"/>
              </a:xfrm>
              <a:custGeom>
                <a:avLst/>
                <a:gdLst>
                  <a:gd name="connsiteX0" fmla="*/ 3904 w 18290"/>
                  <a:gd name="connsiteY0" fmla="*/ 16749 h 18426"/>
                  <a:gd name="connsiteX1" fmla="*/ 16643 w 18290"/>
                  <a:gd name="connsiteY1" fmla="*/ 14536 h 18426"/>
                  <a:gd name="connsiteX2" fmla="*/ 14370 w 18290"/>
                  <a:gd name="connsiteY2" fmla="*/ 1677 h 18426"/>
                  <a:gd name="connsiteX3" fmla="*/ 1632 w 18290"/>
                  <a:gd name="connsiteY3" fmla="*/ 3890 h 18426"/>
                  <a:gd name="connsiteX4" fmla="*/ 3904 w 18290"/>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26">
                    <a:moveTo>
                      <a:pt x="3904" y="16749"/>
                    </a:moveTo>
                    <a:cubicBezTo>
                      <a:pt x="8031" y="19679"/>
                      <a:pt x="13772" y="18663"/>
                      <a:pt x="16643" y="14536"/>
                    </a:cubicBezTo>
                    <a:cubicBezTo>
                      <a:pt x="19514" y="10349"/>
                      <a:pt x="18557" y="4608"/>
                      <a:pt x="14370" y="1677"/>
                    </a:cubicBezTo>
                    <a:cubicBezTo>
                      <a:pt x="10244" y="-1253"/>
                      <a:pt x="4502" y="-236"/>
                      <a:pt x="1632" y="3890"/>
                    </a:cubicBezTo>
                    <a:cubicBezTo>
                      <a:pt x="-1239" y="8077"/>
                      <a:pt x="-223" y="13818"/>
                      <a:pt x="3904" y="16749"/>
                    </a:cubicBezTo>
                    <a:close/>
                  </a:path>
                </a:pathLst>
              </a:custGeom>
              <a:grpFill/>
              <a:ln w="5978" cap="flat">
                <a:noFill/>
                <a:prstDash val="solid"/>
                <a:miter/>
              </a:ln>
            </p:spPr>
            <p:txBody>
              <a:bodyPr rtlCol="0" anchor="ctr"/>
              <a:lstStyle/>
              <a:p>
                <a:endParaRPr lang="en-GB"/>
              </a:p>
            </p:txBody>
          </p:sp>
        </p:grpSp>
        <p:grpSp>
          <p:nvGrpSpPr>
            <p:cNvPr id="943" name="Graphic 3">
              <a:extLst>
                <a:ext uri="{FF2B5EF4-FFF2-40B4-BE49-F238E27FC236}">
                  <a16:creationId xmlns:a16="http://schemas.microsoft.com/office/drawing/2014/main" id="{1BF564CA-691E-433C-9CD0-C435ECB62D58}"/>
                </a:ext>
              </a:extLst>
            </p:cNvPr>
            <p:cNvGrpSpPr/>
            <p:nvPr/>
          </p:nvGrpSpPr>
          <p:grpSpPr>
            <a:xfrm>
              <a:off x="5413132" y="4972433"/>
              <a:ext cx="42600" cy="80817"/>
              <a:chOff x="5413132" y="4972433"/>
              <a:chExt cx="42600" cy="80817"/>
            </a:xfrm>
            <a:grpFill/>
          </p:grpSpPr>
          <p:sp>
            <p:nvSpPr>
              <p:cNvPr id="2570" name="Vrije vorm: vorm 2569">
                <a:extLst>
                  <a:ext uri="{FF2B5EF4-FFF2-40B4-BE49-F238E27FC236}">
                    <a16:creationId xmlns:a16="http://schemas.microsoft.com/office/drawing/2014/main" id="{6A761E08-DEB6-4D75-B192-55A4D3819C8D}"/>
                  </a:ext>
                </a:extLst>
              </p:cNvPr>
              <p:cNvSpPr/>
              <p:nvPr/>
            </p:nvSpPr>
            <p:spPr>
              <a:xfrm>
                <a:off x="5420706" y="4980665"/>
                <a:ext cx="27391" cy="64352"/>
              </a:xfrm>
              <a:custGeom>
                <a:avLst/>
                <a:gdLst>
                  <a:gd name="connsiteX0" fmla="*/ 27392 w 27391"/>
                  <a:gd name="connsiteY0" fmla="*/ 1136 h 64352"/>
                  <a:gd name="connsiteX1" fmla="*/ 2811 w 27391"/>
                  <a:gd name="connsiteY1" fmla="*/ 64353 h 64352"/>
                  <a:gd name="connsiteX2" fmla="*/ 0 w 27391"/>
                  <a:gd name="connsiteY2" fmla="*/ 63216 h 64352"/>
                  <a:gd name="connsiteX3" fmla="*/ 24581 w 27391"/>
                  <a:gd name="connsiteY3" fmla="*/ 0 h 64352"/>
                </a:gdLst>
                <a:ahLst/>
                <a:cxnLst>
                  <a:cxn ang="0">
                    <a:pos x="connsiteX0" y="connsiteY0"/>
                  </a:cxn>
                  <a:cxn ang="0">
                    <a:pos x="connsiteX1" y="connsiteY1"/>
                  </a:cxn>
                  <a:cxn ang="0">
                    <a:pos x="connsiteX2" y="connsiteY2"/>
                  </a:cxn>
                  <a:cxn ang="0">
                    <a:pos x="connsiteX3" y="connsiteY3"/>
                  </a:cxn>
                </a:cxnLst>
                <a:rect l="l" t="t" r="r" b="b"/>
                <a:pathLst>
                  <a:path w="27391" h="64352">
                    <a:moveTo>
                      <a:pt x="27392" y="1136"/>
                    </a:moveTo>
                    <a:lnTo>
                      <a:pt x="2811" y="64353"/>
                    </a:lnTo>
                    <a:lnTo>
                      <a:pt x="0" y="63216"/>
                    </a:lnTo>
                    <a:lnTo>
                      <a:pt x="24581" y="0"/>
                    </a:lnTo>
                    <a:close/>
                  </a:path>
                </a:pathLst>
              </a:custGeom>
              <a:grpFill/>
              <a:ln w="5978" cap="flat">
                <a:noFill/>
                <a:prstDash val="solid"/>
                <a:miter/>
              </a:ln>
            </p:spPr>
            <p:txBody>
              <a:bodyPr rtlCol="0" anchor="ctr"/>
              <a:lstStyle/>
              <a:p>
                <a:endParaRPr lang="en-GB"/>
              </a:p>
            </p:txBody>
          </p:sp>
          <p:sp>
            <p:nvSpPr>
              <p:cNvPr id="2571" name="Vrije vorm: vorm 2570">
                <a:extLst>
                  <a:ext uri="{FF2B5EF4-FFF2-40B4-BE49-F238E27FC236}">
                    <a16:creationId xmlns:a16="http://schemas.microsoft.com/office/drawing/2014/main" id="{2F6E47E3-4CD9-44A1-9588-FE9E7FB970A5}"/>
                  </a:ext>
                </a:extLst>
              </p:cNvPr>
              <p:cNvSpPr/>
              <p:nvPr/>
            </p:nvSpPr>
            <p:spPr>
              <a:xfrm>
                <a:off x="5413132" y="5034812"/>
                <a:ext cx="18318" cy="18438"/>
              </a:xfrm>
              <a:custGeom>
                <a:avLst/>
                <a:gdLst>
                  <a:gd name="connsiteX0" fmla="*/ 17682 w 18318"/>
                  <a:gd name="connsiteY0" fmla="*/ 12598 h 18438"/>
                  <a:gd name="connsiteX1" fmla="*/ 5840 w 18318"/>
                  <a:gd name="connsiteY1" fmla="*/ 17801 h 18438"/>
                  <a:gd name="connsiteX2" fmla="*/ 637 w 18318"/>
                  <a:gd name="connsiteY2" fmla="*/ 5840 h 18438"/>
                  <a:gd name="connsiteX3" fmla="*/ 12479 w 18318"/>
                  <a:gd name="connsiteY3" fmla="*/ 637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5828" y="17323"/>
                      <a:pt x="10505" y="19655"/>
                      <a:pt x="5840" y="17801"/>
                    </a:cubicBezTo>
                    <a:cubicBezTo>
                      <a:pt x="1115" y="15947"/>
                      <a:pt x="-1217" y="10565"/>
                      <a:pt x="637" y="5840"/>
                    </a:cubicBezTo>
                    <a:cubicBezTo>
                      <a:pt x="2491" y="1115"/>
                      <a:pt x="7814" y="-1217"/>
                      <a:pt x="12479" y="637"/>
                    </a:cubicBezTo>
                    <a:cubicBezTo>
                      <a:pt x="17204" y="2491"/>
                      <a:pt x="19536" y="7814"/>
                      <a:pt x="17682" y="12598"/>
                    </a:cubicBezTo>
                    <a:close/>
                  </a:path>
                </a:pathLst>
              </a:custGeom>
              <a:grpFill/>
              <a:ln w="5978" cap="flat">
                <a:noFill/>
                <a:prstDash val="solid"/>
                <a:miter/>
              </a:ln>
            </p:spPr>
            <p:txBody>
              <a:bodyPr rtlCol="0" anchor="ctr"/>
              <a:lstStyle/>
              <a:p>
                <a:endParaRPr lang="en-GB"/>
              </a:p>
            </p:txBody>
          </p:sp>
          <p:sp>
            <p:nvSpPr>
              <p:cNvPr id="2572" name="Vrije vorm: vorm 2571">
                <a:extLst>
                  <a:ext uri="{FF2B5EF4-FFF2-40B4-BE49-F238E27FC236}">
                    <a16:creationId xmlns:a16="http://schemas.microsoft.com/office/drawing/2014/main" id="{2DEFCAE5-34E6-4ABA-A6B9-3D416C700275}"/>
                  </a:ext>
                </a:extLst>
              </p:cNvPr>
              <p:cNvSpPr/>
              <p:nvPr/>
            </p:nvSpPr>
            <p:spPr>
              <a:xfrm>
                <a:off x="5437414" y="4972433"/>
                <a:ext cx="18318" cy="18438"/>
              </a:xfrm>
              <a:custGeom>
                <a:avLst/>
                <a:gdLst>
                  <a:gd name="connsiteX0" fmla="*/ 17682 w 18318"/>
                  <a:gd name="connsiteY0" fmla="*/ 12598 h 18438"/>
                  <a:gd name="connsiteX1" fmla="*/ 12479 w 18318"/>
                  <a:gd name="connsiteY1" fmla="*/ 637 h 18438"/>
                  <a:gd name="connsiteX2" fmla="*/ 637 w 18318"/>
                  <a:gd name="connsiteY2" fmla="*/ 5840 h 18438"/>
                  <a:gd name="connsiteX3" fmla="*/ 5840 w 18318"/>
                  <a:gd name="connsiteY3" fmla="*/ 17801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9536" y="7874"/>
                      <a:pt x="17204" y="2491"/>
                      <a:pt x="12479" y="637"/>
                    </a:cubicBezTo>
                    <a:cubicBezTo>
                      <a:pt x="7754" y="-1217"/>
                      <a:pt x="2431" y="1115"/>
                      <a:pt x="637" y="5840"/>
                    </a:cubicBezTo>
                    <a:cubicBezTo>
                      <a:pt x="-1217" y="10565"/>
                      <a:pt x="1115" y="15947"/>
                      <a:pt x="5840" y="17801"/>
                    </a:cubicBezTo>
                    <a:cubicBezTo>
                      <a:pt x="10505" y="19655"/>
                      <a:pt x="15828" y="17323"/>
                      <a:pt x="17682" y="12598"/>
                    </a:cubicBezTo>
                    <a:close/>
                  </a:path>
                </a:pathLst>
              </a:custGeom>
              <a:grpFill/>
              <a:ln w="5978" cap="flat">
                <a:noFill/>
                <a:prstDash val="solid"/>
                <a:miter/>
              </a:ln>
            </p:spPr>
            <p:txBody>
              <a:bodyPr rtlCol="0" anchor="ctr"/>
              <a:lstStyle/>
              <a:p>
                <a:endParaRPr lang="en-GB"/>
              </a:p>
            </p:txBody>
          </p:sp>
        </p:grpSp>
        <p:grpSp>
          <p:nvGrpSpPr>
            <p:cNvPr id="944" name="Graphic 3">
              <a:extLst>
                <a:ext uri="{FF2B5EF4-FFF2-40B4-BE49-F238E27FC236}">
                  <a16:creationId xmlns:a16="http://schemas.microsoft.com/office/drawing/2014/main" id="{28A813F1-0897-4328-92F5-FFB83599ECFC}"/>
                </a:ext>
              </a:extLst>
            </p:cNvPr>
            <p:cNvGrpSpPr/>
            <p:nvPr/>
          </p:nvGrpSpPr>
          <p:grpSpPr>
            <a:xfrm>
              <a:off x="4434795" y="2313947"/>
              <a:ext cx="222402" cy="156943"/>
              <a:chOff x="4434795" y="2313947"/>
              <a:chExt cx="222402" cy="156943"/>
            </a:xfrm>
            <a:grpFill/>
          </p:grpSpPr>
          <p:sp>
            <p:nvSpPr>
              <p:cNvPr id="2567" name="Vrije vorm: vorm 2566">
                <a:extLst>
                  <a:ext uri="{FF2B5EF4-FFF2-40B4-BE49-F238E27FC236}">
                    <a16:creationId xmlns:a16="http://schemas.microsoft.com/office/drawing/2014/main" id="{34DADD63-47BB-4896-8E17-C729D65CDEB6}"/>
                  </a:ext>
                </a:extLst>
              </p:cNvPr>
              <p:cNvSpPr/>
              <p:nvPr/>
            </p:nvSpPr>
            <p:spPr>
              <a:xfrm>
                <a:off x="4442739" y="2321637"/>
                <a:ext cx="206514" cy="141563"/>
              </a:xfrm>
              <a:custGeom>
                <a:avLst/>
                <a:gdLst>
                  <a:gd name="connsiteX0" fmla="*/ 206514 w 206514"/>
                  <a:gd name="connsiteY0" fmla="*/ 139052 h 141563"/>
                  <a:gd name="connsiteX1" fmla="*/ 204780 w 206514"/>
                  <a:gd name="connsiteY1" fmla="*/ 141564 h 141563"/>
                  <a:gd name="connsiteX2" fmla="*/ 0 w 206514"/>
                  <a:gd name="connsiteY2" fmla="*/ 2512 h 141563"/>
                  <a:gd name="connsiteX3" fmla="*/ 1674 w 206514"/>
                  <a:gd name="connsiteY3" fmla="*/ 0 h 141563"/>
                </a:gdLst>
                <a:ahLst/>
                <a:cxnLst>
                  <a:cxn ang="0">
                    <a:pos x="connsiteX0" y="connsiteY0"/>
                  </a:cxn>
                  <a:cxn ang="0">
                    <a:pos x="connsiteX1" y="connsiteY1"/>
                  </a:cxn>
                  <a:cxn ang="0">
                    <a:pos x="connsiteX2" y="connsiteY2"/>
                  </a:cxn>
                  <a:cxn ang="0">
                    <a:pos x="connsiteX3" y="connsiteY3"/>
                  </a:cxn>
                </a:cxnLst>
                <a:rect l="l" t="t" r="r" b="b"/>
                <a:pathLst>
                  <a:path w="206514" h="141563">
                    <a:moveTo>
                      <a:pt x="206514" y="139052"/>
                    </a:moveTo>
                    <a:lnTo>
                      <a:pt x="204780" y="141564"/>
                    </a:lnTo>
                    <a:lnTo>
                      <a:pt x="0" y="2512"/>
                    </a:lnTo>
                    <a:lnTo>
                      <a:pt x="1674" y="0"/>
                    </a:lnTo>
                    <a:close/>
                  </a:path>
                </a:pathLst>
              </a:custGeom>
              <a:grpFill/>
              <a:ln w="5978" cap="flat">
                <a:noFill/>
                <a:prstDash val="solid"/>
                <a:miter/>
              </a:ln>
            </p:spPr>
            <p:txBody>
              <a:bodyPr rtlCol="0" anchor="ctr"/>
              <a:lstStyle/>
              <a:p>
                <a:endParaRPr lang="en-GB"/>
              </a:p>
            </p:txBody>
          </p:sp>
          <p:sp>
            <p:nvSpPr>
              <p:cNvPr id="2568" name="Vrije vorm: vorm 2567">
                <a:extLst>
                  <a:ext uri="{FF2B5EF4-FFF2-40B4-BE49-F238E27FC236}">
                    <a16:creationId xmlns:a16="http://schemas.microsoft.com/office/drawing/2014/main" id="{6DFD7217-44E0-442E-A950-278F1B5D240B}"/>
                  </a:ext>
                </a:extLst>
              </p:cNvPr>
              <p:cNvSpPr/>
              <p:nvPr/>
            </p:nvSpPr>
            <p:spPr>
              <a:xfrm>
                <a:off x="4434795" y="2313947"/>
                <a:ext cx="18339" cy="18429"/>
              </a:xfrm>
              <a:custGeom>
                <a:avLst/>
                <a:gdLst>
                  <a:gd name="connsiteX0" fmla="*/ 4056 w 18339"/>
                  <a:gd name="connsiteY0" fmla="*/ 16840 h 18429"/>
                  <a:gd name="connsiteX1" fmla="*/ 1545 w 18339"/>
                  <a:gd name="connsiteY1" fmla="*/ 4042 h 18429"/>
                  <a:gd name="connsiteX2" fmla="*/ 14284 w 18339"/>
                  <a:gd name="connsiteY2" fmla="*/ 1589 h 18429"/>
                  <a:gd name="connsiteX3" fmla="*/ 16795 w 18339"/>
                  <a:gd name="connsiteY3" fmla="*/ 14388 h 18429"/>
                  <a:gd name="connsiteX4" fmla="*/ 4056 w 18339"/>
                  <a:gd name="connsiteY4" fmla="*/ 168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4056" y="16840"/>
                    </a:moveTo>
                    <a:cubicBezTo>
                      <a:pt x="-130" y="13970"/>
                      <a:pt x="-1267" y="8228"/>
                      <a:pt x="1545" y="4042"/>
                    </a:cubicBezTo>
                    <a:cubicBezTo>
                      <a:pt x="4355" y="-145"/>
                      <a:pt x="10037" y="-1281"/>
                      <a:pt x="14284" y="1589"/>
                    </a:cubicBezTo>
                    <a:cubicBezTo>
                      <a:pt x="18470" y="4460"/>
                      <a:pt x="19607" y="10142"/>
                      <a:pt x="16795" y="14388"/>
                    </a:cubicBezTo>
                    <a:cubicBezTo>
                      <a:pt x="13985" y="18575"/>
                      <a:pt x="8243" y="19711"/>
                      <a:pt x="4056" y="16840"/>
                    </a:cubicBezTo>
                    <a:close/>
                  </a:path>
                </a:pathLst>
              </a:custGeom>
              <a:grpFill/>
              <a:ln w="5978" cap="flat">
                <a:noFill/>
                <a:prstDash val="solid"/>
                <a:miter/>
              </a:ln>
            </p:spPr>
            <p:txBody>
              <a:bodyPr rtlCol="0" anchor="ctr"/>
              <a:lstStyle/>
              <a:p>
                <a:endParaRPr lang="en-GB"/>
              </a:p>
            </p:txBody>
          </p:sp>
          <p:sp>
            <p:nvSpPr>
              <p:cNvPr id="2569" name="Vrije vorm: vorm 2568">
                <a:extLst>
                  <a:ext uri="{FF2B5EF4-FFF2-40B4-BE49-F238E27FC236}">
                    <a16:creationId xmlns:a16="http://schemas.microsoft.com/office/drawing/2014/main" id="{BEAB40AD-E620-43D1-89A7-DBD03691A938}"/>
                  </a:ext>
                </a:extLst>
              </p:cNvPr>
              <p:cNvSpPr/>
              <p:nvPr/>
            </p:nvSpPr>
            <p:spPr>
              <a:xfrm>
                <a:off x="4638842" y="2452460"/>
                <a:ext cx="18355" cy="18429"/>
              </a:xfrm>
              <a:custGeom>
                <a:avLst/>
                <a:gdLst>
                  <a:gd name="connsiteX0" fmla="*/ 4072 w 18355"/>
                  <a:gd name="connsiteY0" fmla="*/ 16840 h 18429"/>
                  <a:gd name="connsiteX1" fmla="*/ 16811 w 18355"/>
                  <a:gd name="connsiteY1" fmla="*/ 14388 h 18429"/>
                  <a:gd name="connsiteX2" fmla="*/ 14299 w 18355"/>
                  <a:gd name="connsiteY2" fmla="*/ 1589 h 18429"/>
                  <a:gd name="connsiteX3" fmla="*/ 1560 w 18355"/>
                  <a:gd name="connsiteY3" fmla="*/ 4042 h 18429"/>
                  <a:gd name="connsiteX4" fmla="*/ 4072 w 18355"/>
                  <a:gd name="connsiteY4" fmla="*/ 168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9">
                    <a:moveTo>
                      <a:pt x="4072" y="16840"/>
                    </a:moveTo>
                    <a:cubicBezTo>
                      <a:pt x="8259" y="19711"/>
                      <a:pt x="13940" y="18575"/>
                      <a:pt x="16811" y="14388"/>
                    </a:cubicBezTo>
                    <a:cubicBezTo>
                      <a:pt x="19622" y="10202"/>
                      <a:pt x="18486" y="4460"/>
                      <a:pt x="14299" y="1589"/>
                    </a:cubicBezTo>
                    <a:cubicBezTo>
                      <a:pt x="10113" y="-1281"/>
                      <a:pt x="4431" y="-145"/>
                      <a:pt x="1560" y="4042"/>
                    </a:cubicBezTo>
                    <a:cubicBezTo>
                      <a:pt x="-1251" y="8288"/>
                      <a:pt x="-174" y="14029"/>
                      <a:pt x="4072" y="16840"/>
                    </a:cubicBezTo>
                    <a:close/>
                  </a:path>
                </a:pathLst>
              </a:custGeom>
              <a:grpFill/>
              <a:ln w="5978" cap="flat">
                <a:noFill/>
                <a:prstDash val="solid"/>
                <a:miter/>
              </a:ln>
            </p:spPr>
            <p:txBody>
              <a:bodyPr rtlCol="0" anchor="ctr"/>
              <a:lstStyle/>
              <a:p>
                <a:endParaRPr lang="en-GB"/>
              </a:p>
            </p:txBody>
          </p:sp>
        </p:grpSp>
        <p:grpSp>
          <p:nvGrpSpPr>
            <p:cNvPr id="945" name="Graphic 3">
              <a:extLst>
                <a:ext uri="{FF2B5EF4-FFF2-40B4-BE49-F238E27FC236}">
                  <a16:creationId xmlns:a16="http://schemas.microsoft.com/office/drawing/2014/main" id="{ABC8C50F-517B-4AB1-9668-033DBE12150F}"/>
                </a:ext>
              </a:extLst>
            </p:cNvPr>
            <p:cNvGrpSpPr/>
            <p:nvPr/>
          </p:nvGrpSpPr>
          <p:grpSpPr>
            <a:xfrm>
              <a:off x="5513951" y="5257732"/>
              <a:ext cx="59579" cy="173800"/>
              <a:chOff x="5513951" y="5257732"/>
              <a:chExt cx="59579" cy="173800"/>
            </a:xfrm>
            <a:grpFill/>
          </p:grpSpPr>
          <p:sp>
            <p:nvSpPr>
              <p:cNvPr id="2564" name="Vrije vorm: vorm 2563">
                <a:extLst>
                  <a:ext uri="{FF2B5EF4-FFF2-40B4-BE49-F238E27FC236}">
                    <a16:creationId xmlns:a16="http://schemas.microsoft.com/office/drawing/2014/main" id="{DA80D4AC-7CB7-43F8-B529-03D9B287E1D4}"/>
                  </a:ext>
                </a:extLst>
              </p:cNvPr>
              <p:cNvSpPr/>
              <p:nvPr/>
            </p:nvSpPr>
            <p:spPr>
              <a:xfrm>
                <a:off x="5521602" y="5266125"/>
                <a:ext cx="44376" cy="157053"/>
              </a:xfrm>
              <a:custGeom>
                <a:avLst/>
                <a:gdLst>
                  <a:gd name="connsiteX0" fmla="*/ 44377 w 44376"/>
                  <a:gd name="connsiteY0" fmla="*/ 837 h 157053"/>
                  <a:gd name="connsiteX1" fmla="*/ 2930 w 44376"/>
                  <a:gd name="connsiteY1" fmla="*/ 157054 h 157053"/>
                  <a:gd name="connsiteX2" fmla="*/ 0 w 44376"/>
                  <a:gd name="connsiteY2" fmla="*/ 156276 h 157053"/>
                  <a:gd name="connsiteX3" fmla="*/ 41446 w 44376"/>
                  <a:gd name="connsiteY3" fmla="*/ 0 h 157053"/>
                </a:gdLst>
                <a:ahLst/>
                <a:cxnLst>
                  <a:cxn ang="0">
                    <a:pos x="connsiteX0" y="connsiteY0"/>
                  </a:cxn>
                  <a:cxn ang="0">
                    <a:pos x="connsiteX1" y="connsiteY1"/>
                  </a:cxn>
                  <a:cxn ang="0">
                    <a:pos x="connsiteX2" y="connsiteY2"/>
                  </a:cxn>
                  <a:cxn ang="0">
                    <a:pos x="connsiteX3" y="connsiteY3"/>
                  </a:cxn>
                </a:cxnLst>
                <a:rect l="l" t="t" r="r" b="b"/>
                <a:pathLst>
                  <a:path w="44376" h="157053">
                    <a:moveTo>
                      <a:pt x="44377" y="837"/>
                    </a:moveTo>
                    <a:lnTo>
                      <a:pt x="2930" y="157054"/>
                    </a:lnTo>
                    <a:lnTo>
                      <a:pt x="0" y="156276"/>
                    </a:lnTo>
                    <a:lnTo>
                      <a:pt x="41446" y="0"/>
                    </a:lnTo>
                    <a:close/>
                  </a:path>
                </a:pathLst>
              </a:custGeom>
              <a:grpFill/>
              <a:ln w="5978" cap="flat">
                <a:noFill/>
                <a:prstDash val="solid"/>
                <a:miter/>
              </a:ln>
            </p:spPr>
            <p:txBody>
              <a:bodyPr rtlCol="0" anchor="ctr"/>
              <a:lstStyle/>
              <a:p>
                <a:endParaRPr lang="en-GB"/>
              </a:p>
            </p:txBody>
          </p:sp>
          <p:sp>
            <p:nvSpPr>
              <p:cNvPr id="2565" name="Vrije vorm: vorm 2564">
                <a:extLst>
                  <a:ext uri="{FF2B5EF4-FFF2-40B4-BE49-F238E27FC236}">
                    <a16:creationId xmlns:a16="http://schemas.microsoft.com/office/drawing/2014/main" id="{FEA1496D-BED7-4A49-A871-1BD1990D9A8B}"/>
                  </a:ext>
                </a:extLst>
              </p:cNvPr>
              <p:cNvSpPr/>
              <p:nvPr/>
            </p:nvSpPr>
            <p:spPr>
              <a:xfrm>
                <a:off x="5513951" y="5413091"/>
                <a:ext cx="18371" cy="18442"/>
              </a:xfrm>
              <a:custGeom>
                <a:avLst/>
                <a:gdLst>
                  <a:gd name="connsiteX0" fmla="*/ 18057 w 18371"/>
                  <a:gd name="connsiteY0" fmla="*/ 11643 h 18442"/>
                  <a:gd name="connsiteX1" fmla="*/ 6814 w 18371"/>
                  <a:gd name="connsiteY1" fmla="*/ 18102 h 18442"/>
                  <a:gd name="connsiteX2" fmla="*/ 294 w 18371"/>
                  <a:gd name="connsiteY2" fmla="*/ 6799 h 18442"/>
                  <a:gd name="connsiteX3" fmla="*/ 11478 w 18371"/>
                  <a:gd name="connsiteY3" fmla="*/ 340 h 18442"/>
                  <a:gd name="connsiteX4" fmla="*/ 18057 w 18371"/>
                  <a:gd name="connsiteY4" fmla="*/ 11643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2">
                    <a:moveTo>
                      <a:pt x="18057" y="11643"/>
                    </a:moveTo>
                    <a:cubicBezTo>
                      <a:pt x="16741" y="16548"/>
                      <a:pt x="11718" y="19478"/>
                      <a:pt x="6814" y="18102"/>
                    </a:cubicBezTo>
                    <a:cubicBezTo>
                      <a:pt x="1909" y="16787"/>
                      <a:pt x="-961" y="11703"/>
                      <a:pt x="294" y="6799"/>
                    </a:cubicBezTo>
                    <a:cubicBezTo>
                      <a:pt x="1610" y="1895"/>
                      <a:pt x="6634" y="-1036"/>
                      <a:pt x="11478" y="340"/>
                    </a:cubicBezTo>
                    <a:cubicBezTo>
                      <a:pt x="16442" y="1655"/>
                      <a:pt x="19373" y="6739"/>
                      <a:pt x="18057" y="11643"/>
                    </a:cubicBezTo>
                    <a:close/>
                  </a:path>
                </a:pathLst>
              </a:custGeom>
              <a:grpFill/>
              <a:ln w="5978" cap="flat">
                <a:noFill/>
                <a:prstDash val="solid"/>
                <a:miter/>
              </a:ln>
            </p:spPr>
            <p:txBody>
              <a:bodyPr rtlCol="0" anchor="ctr"/>
              <a:lstStyle/>
              <a:p>
                <a:endParaRPr lang="en-GB"/>
              </a:p>
            </p:txBody>
          </p:sp>
          <p:sp>
            <p:nvSpPr>
              <p:cNvPr id="2566" name="Vrije vorm: vorm 2565">
                <a:extLst>
                  <a:ext uri="{FF2B5EF4-FFF2-40B4-BE49-F238E27FC236}">
                    <a16:creationId xmlns:a16="http://schemas.microsoft.com/office/drawing/2014/main" id="{0588CB86-C4A0-42F4-B531-5C59EC386C08}"/>
                  </a:ext>
                </a:extLst>
              </p:cNvPr>
              <p:cNvSpPr/>
              <p:nvPr/>
            </p:nvSpPr>
            <p:spPr>
              <a:xfrm>
                <a:off x="5555137" y="5257732"/>
                <a:ext cx="18392" cy="18425"/>
              </a:xfrm>
              <a:custGeom>
                <a:avLst/>
                <a:gdLst>
                  <a:gd name="connsiteX0" fmla="*/ 18077 w 18392"/>
                  <a:gd name="connsiteY0" fmla="*/ 11622 h 18425"/>
                  <a:gd name="connsiteX1" fmla="*/ 11559 w 18392"/>
                  <a:gd name="connsiteY1" fmla="*/ 319 h 18425"/>
                  <a:gd name="connsiteX2" fmla="*/ 315 w 18392"/>
                  <a:gd name="connsiteY2" fmla="*/ 6778 h 18425"/>
                  <a:gd name="connsiteX3" fmla="*/ 6834 w 18392"/>
                  <a:gd name="connsiteY3" fmla="*/ 18082 h 18425"/>
                  <a:gd name="connsiteX4" fmla="*/ 18077 w 18392"/>
                  <a:gd name="connsiteY4" fmla="*/ 11622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2" h="18425">
                    <a:moveTo>
                      <a:pt x="18077" y="11622"/>
                    </a:moveTo>
                    <a:cubicBezTo>
                      <a:pt x="19393" y="6719"/>
                      <a:pt x="16463" y="1635"/>
                      <a:pt x="11559" y="319"/>
                    </a:cubicBezTo>
                    <a:cubicBezTo>
                      <a:pt x="6654" y="-997"/>
                      <a:pt x="1630" y="1874"/>
                      <a:pt x="315" y="6778"/>
                    </a:cubicBezTo>
                    <a:cubicBezTo>
                      <a:pt x="-1001" y="11682"/>
                      <a:pt x="1930" y="16766"/>
                      <a:pt x="6834" y="18082"/>
                    </a:cubicBezTo>
                    <a:cubicBezTo>
                      <a:pt x="11798" y="19457"/>
                      <a:pt x="16822" y="16586"/>
                      <a:pt x="18077" y="11622"/>
                    </a:cubicBezTo>
                    <a:close/>
                  </a:path>
                </a:pathLst>
              </a:custGeom>
              <a:grpFill/>
              <a:ln w="5978" cap="flat">
                <a:noFill/>
                <a:prstDash val="solid"/>
                <a:miter/>
              </a:ln>
            </p:spPr>
            <p:txBody>
              <a:bodyPr rtlCol="0" anchor="ctr"/>
              <a:lstStyle/>
              <a:p>
                <a:endParaRPr lang="en-GB"/>
              </a:p>
            </p:txBody>
          </p:sp>
        </p:grpSp>
        <p:grpSp>
          <p:nvGrpSpPr>
            <p:cNvPr id="946" name="Graphic 3">
              <a:extLst>
                <a:ext uri="{FF2B5EF4-FFF2-40B4-BE49-F238E27FC236}">
                  <a16:creationId xmlns:a16="http://schemas.microsoft.com/office/drawing/2014/main" id="{7AAFBFC5-04BF-4A8E-9E9E-6FB49D353B46}"/>
                </a:ext>
              </a:extLst>
            </p:cNvPr>
            <p:cNvGrpSpPr/>
            <p:nvPr/>
          </p:nvGrpSpPr>
          <p:grpSpPr>
            <a:xfrm>
              <a:off x="4472433" y="2251688"/>
              <a:ext cx="63498" cy="51579"/>
              <a:chOff x="4472433" y="2251688"/>
              <a:chExt cx="63498" cy="51579"/>
            </a:xfrm>
            <a:grpFill/>
          </p:grpSpPr>
          <p:sp>
            <p:nvSpPr>
              <p:cNvPr id="2561" name="Vrije vorm: vorm 2560">
                <a:extLst>
                  <a:ext uri="{FF2B5EF4-FFF2-40B4-BE49-F238E27FC236}">
                    <a16:creationId xmlns:a16="http://schemas.microsoft.com/office/drawing/2014/main" id="{47732060-9F0B-45F0-AAB3-61553918206B}"/>
                  </a:ext>
                </a:extLst>
              </p:cNvPr>
              <p:cNvSpPr/>
              <p:nvPr/>
            </p:nvSpPr>
            <p:spPr>
              <a:xfrm>
                <a:off x="4480298" y="2259377"/>
                <a:ext cx="47726" cy="36243"/>
              </a:xfrm>
              <a:custGeom>
                <a:avLst/>
                <a:gdLst>
                  <a:gd name="connsiteX0" fmla="*/ 47726 w 47726"/>
                  <a:gd name="connsiteY0" fmla="*/ 33731 h 36243"/>
                  <a:gd name="connsiteX1" fmla="*/ 45932 w 47726"/>
                  <a:gd name="connsiteY1" fmla="*/ 36243 h 36243"/>
                  <a:gd name="connsiteX2" fmla="*/ 0 w 47726"/>
                  <a:gd name="connsiteY2" fmla="*/ 2512 h 36243"/>
                  <a:gd name="connsiteX3" fmla="*/ 1794 w 47726"/>
                  <a:gd name="connsiteY3" fmla="*/ 0 h 36243"/>
                </a:gdLst>
                <a:ahLst/>
                <a:cxnLst>
                  <a:cxn ang="0">
                    <a:pos x="connsiteX0" y="connsiteY0"/>
                  </a:cxn>
                  <a:cxn ang="0">
                    <a:pos x="connsiteX1" y="connsiteY1"/>
                  </a:cxn>
                  <a:cxn ang="0">
                    <a:pos x="connsiteX2" y="connsiteY2"/>
                  </a:cxn>
                  <a:cxn ang="0">
                    <a:pos x="connsiteX3" y="connsiteY3"/>
                  </a:cxn>
                </a:cxnLst>
                <a:rect l="l" t="t" r="r" b="b"/>
                <a:pathLst>
                  <a:path w="47726" h="36243">
                    <a:moveTo>
                      <a:pt x="47726" y="33731"/>
                    </a:moveTo>
                    <a:lnTo>
                      <a:pt x="45932" y="36243"/>
                    </a:lnTo>
                    <a:lnTo>
                      <a:pt x="0" y="2512"/>
                    </a:lnTo>
                    <a:lnTo>
                      <a:pt x="1794" y="0"/>
                    </a:lnTo>
                    <a:close/>
                  </a:path>
                </a:pathLst>
              </a:custGeom>
              <a:grpFill/>
              <a:ln w="5978" cap="flat">
                <a:noFill/>
                <a:prstDash val="solid"/>
                <a:miter/>
              </a:ln>
            </p:spPr>
            <p:txBody>
              <a:bodyPr rtlCol="0" anchor="ctr"/>
              <a:lstStyle/>
              <a:p>
                <a:endParaRPr lang="en-GB"/>
              </a:p>
            </p:txBody>
          </p:sp>
          <p:sp>
            <p:nvSpPr>
              <p:cNvPr id="2562" name="Vrije vorm: vorm 2561">
                <a:extLst>
                  <a:ext uri="{FF2B5EF4-FFF2-40B4-BE49-F238E27FC236}">
                    <a16:creationId xmlns:a16="http://schemas.microsoft.com/office/drawing/2014/main" id="{52CE23E3-2818-4F5D-920C-D23B8C8BC06C}"/>
                  </a:ext>
                </a:extLst>
              </p:cNvPr>
              <p:cNvSpPr/>
              <p:nvPr/>
            </p:nvSpPr>
            <p:spPr>
              <a:xfrm>
                <a:off x="4517604" y="2284881"/>
                <a:ext cx="18327" cy="18386"/>
              </a:xfrm>
              <a:custGeom>
                <a:avLst/>
                <a:gdLst>
                  <a:gd name="connsiteX0" fmla="*/ 14546 w 18327"/>
                  <a:gd name="connsiteY0" fmla="*/ 1768 h 18386"/>
                  <a:gd name="connsiteX1" fmla="*/ 16580 w 18327"/>
                  <a:gd name="connsiteY1" fmla="*/ 14627 h 18386"/>
                  <a:gd name="connsiteX2" fmla="*/ 3781 w 18327"/>
                  <a:gd name="connsiteY2" fmla="*/ 16601 h 18386"/>
                  <a:gd name="connsiteX3" fmla="*/ 1748 w 18327"/>
                  <a:gd name="connsiteY3" fmla="*/ 3742 h 18386"/>
                  <a:gd name="connsiteX4" fmla="*/ 14546 w 18327"/>
                  <a:gd name="connsiteY4" fmla="*/ 1768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86">
                    <a:moveTo>
                      <a:pt x="14546" y="1768"/>
                    </a:moveTo>
                    <a:cubicBezTo>
                      <a:pt x="18613" y="4759"/>
                      <a:pt x="19570" y="10560"/>
                      <a:pt x="16580" y="14627"/>
                    </a:cubicBezTo>
                    <a:cubicBezTo>
                      <a:pt x="13589" y="18754"/>
                      <a:pt x="7848" y="19591"/>
                      <a:pt x="3781" y="16601"/>
                    </a:cubicBezTo>
                    <a:cubicBezTo>
                      <a:pt x="-286" y="13610"/>
                      <a:pt x="-1243" y="7809"/>
                      <a:pt x="1748" y="3742"/>
                    </a:cubicBezTo>
                    <a:cubicBezTo>
                      <a:pt x="4738" y="-325"/>
                      <a:pt x="10479" y="-1222"/>
                      <a:pt x="14546" y="1768"/>
                    </a:cubicBezTo>
                    <a:close/>
                  </a:path>
                </a:pathLst>
              </a:custGeom>
              <a:grpFill/>
              <a:ln w="5978" cap="flat">
                <a:noFill/>
                <a:prstDash val="solid"/>
                <a:miter/>
              </a:ln>
            </p:spPr>
            <p:txBody>
              <a:bodyPr rtlCol="0" anchor="ctr"/>
              <a:lstStyle/>
              <a:p>
                <a:endParaRPr lang="en-GB"/>
              </a:p>
            </p:txBody>
          </p:sp>
          <p:sp>
            <p:nvSpPr>
              <p:cNvPr id="2563" name="Vrije vorm: vorm 2562">
                <a:extLst>
                  <a:ext uri="{FF2B5EF4-FFF2-40B4-BE49-F238E27FC236}">
                    <a16:creationId xmlns:a16="http://schemas.microsoft.com/office/drawing/2014/main" id="{CF39663A-F236-4701-A449-ADA92A34E9DC}"/>
                  </a:ext>
                </a:extLst>
              </p:cNvPr>
              <p:cNvSpPr/>
              <p:nvPr/>
            </p:nvSpPr>
            <p:spPr>
              <a:xfrm>
                <a:off x="4472433" y="2251688"/>
                <a:ext cx="18318" cy="18368"/>
              </a:xfrm>
              <a:custGeom>
                <a:avLst/>
                <a:gdLst>
                  <a:gd name="connsiteX0" fmla="*/ 14563 w 18318"/>
                  <a:gd name="connsiteY0" fmla="*/ 1768 h 18368"/>
                  <a:gd name="connsiteX1" fmla="*/ 1765 w 18318"/>
                  <a:gd name="connsiteY1" fmla="*/ 3742 h 18368"/>
                  <a:gd name="connsiteX2" fmla="*/ 3798 w 18318"/>
                  <a:gd name="connsiteY2" fmla="*/ 16601 h 18368"/>
                  <a:gd name="connsiteX3" fmla="*/ 16597 w 18318"/>
                  <a:gd name="connsiteY3" fmla="*/ 14627 h 18368"/>
                  <a:gd name="connsiteX4" fmla="*/ 14563 w 18318"/>
                  <a:gd name="connsiteY4" fmla="*/ 1768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368">
                    <a:moveTo>
                      <a:pt x="14563" y="1768"/>
                    </a:moveTo>
                    <a:cubicBezTo>
                      <a:pt x="10496" y="-1222"/>
                      <a:pt x="4755" y="-325"/>
                      <a:pt x="1765" y="3742"/>
                    </a:cubicBezTo>
                    <a:cubicBezTo>
                      <a:pt x="-1226" y="7869"/>
                      <a:pt x="-329" y="13610"/>
                      <a:pt x="3798" y="16601"/>
                    </a:cubicBezTo>
                    <a:cubicBezTo>
                      <a:pt x="7865" y="19591"/>
                      <a:pt x="13606" y="18694"/>
                      <a:pt x="16597" y="14627"/>
                    </a:cubicBezTo>
                    <a:cubicBezTo>
                      <a:pt x="19527" y="10560"/>
                      <a:pt x="18630" y="4819"/>
                      <a:pt x="14563" y="1768"/>
                    </a:cubicBezTo>
                    <a:close/>
                  </a:path>
                </a:pathLst>
              </a:custGeom>
              <a:grpFill/>
              <a:ln w="5978" cap="flat">
                <a:noFill/>
                <a:prstDash val="solid"/>
                <a:miter/>
              </a:ln>
            </p:spPr>
            <p:txBody>
              <a:bodyPr rtlCol="0" anchor="ctr"/>
              <a:lstStyle/>
              <a:p>
                <a:endParaRPr lang="en-GB"/>
              </a:p>
            </p:txBody>
          </p:sp>
        </p:grpSp>
        <p:grpSp>
          <p:nvGrpSpPr>
            <p:cNvPr id="947" name="Graphic 3">
              <a:extLst>
                <a:ext uri="{FF2B5EF4-FFF2-40B4-BE49-F238E27FC236}">
                  <a16:creationId xmlns:a16="http://schemas.microsoft.com/office/drawing/2014/main" id="{A80A14B9-9CBF-4587-88DD-B262854C0FF2}"/>
                </a:ext>
              </a:extLst>
            </p:cNvPr>
            <p:cNvGrpSpPr/>
            <p:nvPr/>
          </p:nvGrpSpPr>
          <p:grpSpPr>
            <a:xfrm>
              <a:off x="4365152" y="2221333"/>
              <a:ext cx="292551" cy="248811"/>
              <a:chOff x="4365152" y="2221333"/>
              <a:chExt cx="292551" cy="248811"/>
            </a:xfrm>
            <a:grpFill/>
          </p:grpSpPr>
          <p:sp>
            <p:nvSpPr>
              <p:cNvPr id="2558" name="Vrije vorm: vorm 2557">
                <a:extLst>
                  <a:ext uri="{FF2B5EF4-FFF2-40B4-BE49-F238E27FC236}">
                    <a16:creationId xmlns:a16="http://schemas.microsoft.com/office/drawing/2014/main" id="{11275231-17B9-4B45-A717-E602957A9AB9}"/>
                  </a:ext>
                </a:extLst>
              </p:cNvPr>
              <p:cNvSpPr/>
              <p:nvPr/>
            </p:nvSpPr>
            <p:spPr>
              <a:xfrm>
                <a:off x="4373004" y="2229115"/>
                <a:ext cx="276907" cy="233307"/>
              </a:xfrm>
              <a:custGeom>
                <a:avLst/>
                <a:gdLst>
                  <a:gd name="connsiteX0" fmla="*/ 276908 w 276907"/>
                  <a:gd name="connsiteY0" fmla="*/ 230916 h 233307"/>
                  <a:gd name="connsiteX1" fmla="*/ 274934 w 276907"/>
                  <a:gd name="connsiteY1" fmla="*/ 233308 h 233307"/>
                  <a:gd name="connsiteX2" fmla="*/ 0 w 276907"/>
                  <a:gd name="connsiteY2" fmla="*/ 2332 h 233307"/>
                  <a:gd name="connsiteX3" fmla="*/ 1974 w 276907"/>
                  <a:gd name="connsiteY3" fmla="*/ 0 h 233307"/>
                </a:gdLst>
                <a:ahLst/>
                <a:cxnLst>
                  <a:cxn ang="0">
                    <a:pos x="connsiteX0" y="connsiteY0"/>
                  </a:cxn>
                  <a:cxn ang="0">
                    <a:pos x="connsiteX1" y="connsiteY1"/>
                  </a:cxn>
                  <a:cxn ang="0">
                    <a:pos x="connsiteX2" y="connsiteY2"/>
                  </a:cxn>
                  <a:cxn ang="0">
                    <a:pos x="connsiteX3" y="connsiteY3"/>
                  </a:cxn>
                </a:cxnLst>
                <a:rect l="l" t="t" r="r" b="b"/>
                <a:pathLst>
                  <a:path w="276907" h="233307">
                    <a:moveTo>
                      <a:pt x="276908" y="230916"/>
                    </a:moveTo>
                    <a:lnTo>
                      <a:pt x="274934" y="233308"/>
                    </a:lnTo>
                    <a:lnTo>
                      <a:pt x="0" y="2332"/>
                    </a:lnTo>
                    <a:lnTo>
                      <a:pt x="1974" y="0"/>
                    </a:lnTo>
                    <a:close/>
                  </a:path>
                </a:pathLst>
              </a:custGeom>
              <a:grpFill/>
              <a:ln w="5978" cap="flat">
                <a:noFill/>
                <a:prstDash val="solid"/>
                <a:miter/>
              </a:ln>
            </p:spPr>
            <p:txBody>
              <a:bodyPr rtlCol="0" anchor="ctr"/>
              <a:lstStyle/>
              <a:p>
                <a:endParaRPr lang="en-GB"/>
              </a:p>
            </p:txBody>
          </p:sp>
          <p:sp>
            <p:nvSpPr>
              <p:cNvPr id="2559" name="Vrije vorm: vorm 2558">
                <a:extLst>
                  <a:ext uri="{FF2B5EF4-FFF2-40B4-BE49-F238E27FC236}">
                    <a16:creationId xmlns:a16="http://schemas.microsoft.com/office/drawing/2014/main" id="{56EE3B4A-DEF3-43A4-8E80-80DD1C2473DB}"/>
                  </a:ext>
                </a:extLst>
              </p:cNvPr>
              <p:cNvSpPr/>
              <p:nvPr/>
            </p:nvSpPr>
            <p:spPr>
              <a:xfrm>
                <a:off x="4639368" y="2451711"/>
                <a:ext cx="18335" cy="18433"/>
              </a:xfrm>
              <a:custGeom>
                <a:avLst/>
                <a:gdLst>
                  <a:gd name="connsiteX0" fmla="*/ 15029 w 18335"/>
                  <a:gd name="connsiteY0" fmla="*/ 2160 h 18433"/>
                  <a:gd name="connsiteX1" fmla="*/ 16225 w 18335"/>
                  <a:gd name="connsiteY1" fmla="*/ 15138 h 18433"/>
                  <a:gd name="connsiteX2" fmla="*/ 3307 w 18335"/>
                  <a:gd name="connsiteY2" fmla="*/ 16274 h 18433"/>
                  <a:gd name="connsiteX3" fmla="*/ 2110 w 18335"/>
                  <a:gd name="connsiteY3" fmla="*/ 3296 h 18433"/>
                  <a:gd name="connsiteX4" fmla="*/ 15029 w 18335"/>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3">
                    <a:moveTo>
                      <a:pt x="15029" y="2160"/>
                    </a:moveTo>
                    <a:cubicBezTo>
                      <a:pt x="18916" y="5449"/>
                      <a:pt x="19455" y="11250"/>
                      <a:pt x="16225" y="15138"/>
                    </a:cubicBezTo>
                    <a:cubicBezTo>
                      <a:pt x="12995" y="19025"/>
                      <a:pt x="7194" y="19564"/>
                      <a:pt x="3307" y="16274"/>
                    </a:cubicBezTo>
                    <a:cubicBezTo>
                      <a:pt x="-581" y="12985"/>
                      <a:pt x="-1119" y="7183"/>
                      <a:pt x="2110" y="3296"/>
                    </a:cubicBezTo>
                    <a:cubicBezTo>
                      <a:pt x="5400" y="-591"/>
                      <a:pt x="11141" y="-1130"/>
                      <a:pt x="15029" y="2160"/>
                    </a:cubicBezTo>
                    <a:close/>
                  </a:path>
                </a:pathLst>
              </a:custGeom>
              <a:grpFill/>
              <a:ln w="5978" cap="flat">
                <a:noFill/>
                <a:prstDash val="solid"/>
                <a:miter/>
              </a:ln>
            </p:spPr>
            <p:txBody>
              <a:bodyPr rtlCol="0" anchor="ctr"/>
              <a:lstStyle/>
              <a:p>
                <a:endParaRPr lang="en-GB"/>
              </a:p>
            </p:txBody>
          </p:sp>
          <p:sp>
            <p:nvSpPr>
              <p:cNvPr id="2560" name="Vrije vorm: vorm 2559">
                <a:extLst>
                  <a:ext uri="{FF2B5EF4-FFF2-40B4-BE49-F238E27FC236}">
                    <a16:creationId xmlns:a16="http://schemas.microsoft.com/office/drawing/2014/main" id="{EF8D86A2-90B2-4BB4-9E6F-65BD60FFDFF2}"/>
                  </a:ext>
                </a:extLst>
              </p:cNvPr>
              <p:cNvSpPr/>
              <p:nvPr/>
            </p:nvSpPr>
            <p:spPr>
              <a:xfrm>
                <a:off x="4365152" y="2221333"/>
                <a:ext cx="18354" cy="18433"/>
              </a:xfrm>
              <a:custGeom>
                <a:avLst/>
                <a:gdLst>
                  <a:gd name="connsiteX0" fmla="*/ 15029 w 18354"/>
                  <a:gd name="connsiteY0" fmla="*/ 2160 h 18433"/>
                  <a:gd name="connsiteX1" fmla="*/ 2111 w 18354"/>
                  <a:gd name="connsiteY1" fmla="*/ 3296 h 18433"/>
                  <a:gd name="connsiteX2" fmla="*/ 3306 w 18354"/>
                  <a:gd name="connsiteY2" fmla="*/ 16274 h 18433"/>
                  <a:gd name="connsiteX3" fmla="*/ 16225 w 18354"/>
                  <a:gd name="connsiteY3" fmla="*/ 15138 h 18433"/>
                  <a:gd name="connsiteX4" fmla="*/ 15029 w 18354"/>
                  <a:gd name="connsiteY4" fmla="*/ 2160 h 18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33">
                    <a:moveTo>
                      <a:pt x="15029" y="2160"/>
                    </a:moveTo>
                    <a:cubicBezTo>
                      <a:pt x="11141" y="-1130"/>
                      <a:pt x="5340" y="-591"/>
                      <a:pt x="2111" y="3296"/>
                    </a:cubicBezTo>
                    <a:cubicBezTo>
                      <a:pt x="-1119" y="7183"/>
                      <a:pt x="-581" y="12985"/>
                      <a:pt x="3306" y="16274"/>
                    </a:cubicBezTo>
                    <a:cubicBezTo>
                      <a:pt x="7194" y="19564"/>
                      <a:pt x="12995" y="19025"/>
                      <a:pt x="16225" y="15138"/>
                    </a:cubicBezTo>
                    <a:cubicBezTo>
                      <a:pt x="19454" y="11250"/>
                      <a:pt x="18976" y="5449"/>
                      <a:pt x="15029" y="2160"/>
                    </a:cubicBezTo>
                    <a:close/>
                  </a:path>
                </a:pathLst>
              </a:custGeom>
              <a:grpFill/>
              <a:ln w="5978" cap="flat">
                <a:noFill/>
                <a:prstDash val="solid"/>
                <a:miter/>
              </a:ln>
            </p:spPr>
            <p:txBody>
              <a:bodyPr rtlCol="0" anchor="ctr"/>
              <a:lstStyle/>
              <a:p>
                <a:endParaRPr lang="en-GB"/>
              </a:p>
            </p:txBody>
          </p:sp>
        </p:grpSp>
        <p:grpSp>
          <p:nvGrpSpPr>
            <p:cNvPr id="948" name="Graphic 3">
              <a:extLst>
                <a:ext uri="{FF2B5EF4-FFF2-40B4-BE49-F238E27FC236}">
                  <a16:creationId xmlns:a16="http://schemas.microsoft.com/office/drawing/2014/main" id="{7735A4AA-8D85-42DF-9EE3-AD174E719515}"/>
                </a:ext>
              </a:extLst>
            </p:cNvPr>
            <p:cNvGrpSpPr/>
            <p:nvPr/>
          </p:nvGrpSpPr>
          <p:grpSpPr>
            <a:xfrm>
              <a:off x="4424425" y="2216444"/>
              <a:ext cx="111523" cy="86865"/>
              <a:chOff x="4424425" y="2216444"/>
              <a:chExt cx="111523" cy="86865"/>
            </a:xfrm>
            <a:grpFill/>
          </p:grpSpPr>
          <p:sp>
            <p:nvSpPr>
              <p:cNvPr id="2555" name="Vrije vorm: vorm 2554">
                <a:extLst>
                  <a:ext uri="{FF2B5EF4-FFF2-40B4-BE49-F238E27FC236}">
                    <a16:creationId xmlns:a16="http://schemas.microsoft.com/office/drawing/2014/main" id="{39396192-23B3-4DFD-BA2F-68781250E0B7}"/>
                  </a:ext>
                </a:extLst>
              </p:cNvPr>
              <p:cNvSpPr/>
              <p:nvPr/>
            </p:nvSpPr>
            <p:spPr>
              <a:xfrm>
                <a:off x="4432333" y="2224151"/>
                <a:ext cx="95691" cy="71469"/>
              </a:xfrm>
              <a:custGeom>
                <a:avLst/>
                <a:gdLst>
                  <a:gd name="connsiteX0" fmla="*/ 95692 w 95691"/>
                  <a:gd name="connsiteY0" fmla="*/ 68958 h 71469"/>
                  <a:gd name="connsiteX1" fmla="*/ 93897 w 95691"/>
                  <a:gd name="connsiteY1" fmla="*/ 71470 h 71469"/>
                  <a:gd name="connsiteX2" fmla="*/ 0 w 95691"/>
                  <a:gd name="connsiteY2" fmla="*/ 2452 h 71469"/>
                  <a:gd name="connsiteX3" fmla="*/ 1794 w 95691"/>
                  <a:gd name="connsiteY3" fmla="*/ 0 h 71469"/>
                </a:gdLst>
                <a:ahLst/>
                <a:cxnLst>
                  <a:cxn ang="0">
                    <a:pos x="connsiteX0" y="connsiteY0"/>
                  </a:cxn>
                  <a:cxn ang="0">
                    <a:pos x="connsiteX1" y="connsiteY1"/>
                  </a:cxn>
                  <a:cxn ang="0">
                    <a:pos x="connsiteX2" y="connsiteY2"/>
                  </a:cxn>
                  <a:cxn ang="0">
                    <a:pos x="connsiteX3" y="connsiteY3"/>
                  </a:cxn>
                </a:cxnLst>
                <a:rect l="l" t="t" r="r" b="b"/>
                <a:pathLst>
                  <a:path w="95691" h="71469">
                    <a:moveTo>
                      <a:pt x="95692" y="68958"/>
                    </a:moveTo>
                    <a:lnTo>
                      <a:pt x="93897" y="71470"/>
                    </a:lnTo>
                    <a:lnTo>
                      <a:pt x="0" y="2452"/>
                    </a:lnTo>
                    <a:lnTo>
                      <a:pt x="1794" y="0"/>
                    </a:lnTo>
                    <a:close/>
                  </a:path>
                </a:pathLst>
              </a:custGeom>
              <a:grpFill/>
              <a:ln w="5978" cap="flat">
                <a:noFill/>
                <a:prstDash val="solid"/>
                <a:miter/>
              </a:ln>
            </p:spPr>
            <p:txBody>
              <a:bodyPr rtlCol="0" anchor="ctr"/>
              <a:lstStyle/>
              <a:p>
                <a:endParaRPr lang="en-GB"/>
              </a:p>
            </p:txBody>
          </p:sp>
          <p:sp>
            <p:nvSpPr>
              <p:cNvPr id="2556" name="Vrije vorm: vorm 2555">
                <a:extLst>
                  <a:ext uri="{FF2B5EF4-FFF2-40B4-BE49-F238E27FC236}">
                    <a16:creationId xmlns:a16="http://schemas.microsoft.com/office/drawing/2014/main" id="{D6C60B4C-1DBF-4F5F-914F-99512F856F35}"/>
                  </a:ext>
                </a:extLst>
              </p:cNvPr>
              <p:cNvSpPr/>
              <p:nvPr/>
            </p:nvSpPr>
            <p:spPr>
              <a:xfrm>
                <a:off x="4424425" y="2216444"/>
                <a:ext cx="18327" cy="18429"/>
              </a:xfrm>
              <a:custGeom>
                <a:avLst/>
                <a:gdLst>
                  <a:gd name="connsiteX0" fmla="*/ 3781 w 18327"/>
                  <a:gd name="connsiteY0" fmla="*/ 16618 h 18429"/>
                  <a:gd name="connsiteX1" fmla="*/ 1747 w 18327"/>
                  <a:gd name="connsiteY1" fmla="*/ 3759 h 18429"/>
                  <a:gd name="connsiteX2" fmla="*/ 14546 w 18327"/>
                  <a:gd name="connsiteY2" fmla="*/ 1786 h 18429"/>
                  <a:gd name="connsiteX3" fmla="*/ 16580 w 18327"/>
                  <a:gd name="connsiteY3" fmla="*/ 14644 h 18429"/>
                  <a:gd name="connsiteX4" fmla="*/ 3781 w 18327"/>
                  <a:gd name="connsiteY4" fmla="*/ 16618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3781" y="16618"/>
                    </a:moveTo>
                    <a:cubicBezTo>
                      <a:pt x="-286" y="13627"/>
                      <a:pt x="-1243" y="7826"/>
                      <a:pt x="1747" y="3759"/>
                    </a:cubicBezTo>
                    <a:cubicBezTo>
                      <a:pt x="4738" y="-367"/>
                      <a:pt x="10479" y="-1205"/>
                      <a:pt x="14546" y="1786"/>
                    </a:cubicBezTo>
                    <a:cubicBezTo>
                      <a:pt x="18613" y="4776"/>
                      <a:pt x="19570" y="10577"/>
                      <a:pt x="16580" y="14644"/>
                    </a:cubicBezTo>
                    <a:cubicBezTo>
                      <a:pt x="13649" y="18771"/>
                      <a:pt x="7908" y="19668"/>
                      <a:pt x="3781" y="16618"/>
                    </a:cubicBezTo>
                    <a:close/>
                  </a:path>
                </a:pathLst>
              </a:custGeom>
              <a:grpFill/>
              <a:ln w="5978" cap="flat">
                <a:noFill/>
                <a:prstDash val="solid"/>
                <a:miter/>
              </a:ln>
            </p:spPr>
            <p:txBody>
              <a:bodyPr rtlCol="0" anchor="ctr"/>
              <a:lstStyle/>
              <a:p>
                <a:endParaRPr lang="en-GB"/>
              </a:p>
            </p:txBody>
          </p:sp>
          <p:sp>
            <p:nvSpPr>
              <p:cNvPr id="2557" name="Vrije vorm: vorm 2556">
                <a:extLst>
                  <a:ext uri="{FF2B5EF4-FFF2-40B4-BE49-F238E27FC236}">
                    <a16:creationId xmlns:a16="http://schemas.microsoft.com/office/drawing/2014/main" id="{6DC6C6DA-A001-40D4-8AA0-C74073CA03F7}"/>
                  </a:ext>
                </a:extLst>
              </p:cNvPr>
              <p:cNvSpPr/>
              <p:nvPr/>
            </p:nvSpPr>
            <p:spPr>
              <a:xfrm>
                <a:off x="4517587" y="2284941"/>
                <a:ext cx="18361" cy="18368"/>
              </a:xfrm>
              <a:custGeom>
                <a:avLst/>
                <a:gdLst>
                  <a:gd name="connsiteX0" fmla="*/ 3798 w 18361"/>
                  <a:gd name="connsiteY0" fmla="*/ 16600 h 18368"/>
                  <a:gd name="connsiteX1" fmla="*/ 16597 w 18361"/>
                  <a:gd name="connsiteY1" fmla="*/ 14627 h 18368"/>
                  <a:gd name="connsiteX2" fmla="*/ 14564 w 18361"/>
                  <a:gd name="connsiteY2" fmla="*/ 1768 h 18368"/>
                  <a:gd name="connsiteX3" fmla="*/ 1765 w 18361"/>
                  <a:gd name="connsiteY3" fmla="*/ 3742 h 18368"/>
                  <a:gd name="connsiteX4" fmla="*/ 3798 w 18361"/>
                  <a:gd name="connsiteY4" fmla="*/ 16600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368">
                    <a:moveTo>
                      <a:pt x="3798" y="16600"/>
                    </a:moveTo>
                    <a:cubicBezTo>
                      <a:pt x="7865" y="19591"/>
                      <a:pt x="13606" y="18694"/>
                      <a:pt x="16597" y="14627"/>
                    </a:cubicBezTo>
                    <a:cubicBezTo>
                      <a:pt x="19587" y="10500"/>
                      <a:pt x="18690" y="4759"/>
                      <a:pt x="14564" y="1768"/>
                    </a:cubicBezTo>
                    <a:cubicBezTo>
                      <a:pt x="10496" y="-1222"/>
                      <a:pt x="4755" y="-325"/>
                      <a:pt x="1765" y="3742"/>
                    </a:cubicBezTo>
                    <a:cubicBezTo>
                      <a:pt x="-1226" y="7809"/>
                      <a:pt x="-329" y="13550"/>
                      <a:pt x="3798" y="16600"/>
                    </a:cubicBezTo>
                    <a:close/>
                  </a:path>
                </a:pathLst>
              </a:custGeom>
              <a:grpFill/>
              <a:ln w="5978" cap="flat">
                <a:noFill/>
                <a:prstDash val="solid"/>
                <a:miter/>
              </a:ln>
            </p:spPr>
            <p:txBody>
              <a:bodyPr rtlCol="0" anchor="ctr"/>
              <a:lstStyle/>
              <a:p>
                <a:endParaRPr lang="en-GB"/>
              </a:p>
            </p:txBody>
          </p:sp>
        </p:grpSp>
        <p:grpSp>
          <p:nvGrpSpPr>
            <p:cNvPr id="949" name="Graphic 3">
              <a:extLst>
                <a:ext uri="{FF2B5EF4-FFF2-40B4-BE49-F238E27FC236}">
                  <a16:creationId xmlns:a16="http://schemas.microsoft.com/office/drawing/2014/main" id="{0F714CDC-8E64-49D4-B626-335E3F5A31EB}"/>
                </a:ext>
              </a:extLst>
            </p:cNvPr>
            <p:cNvGrpSpPr/>
            <p:nvPr/>
          </p:nvGrpSpPr>
          <p:grpSpPr>
            <a:xfrm>
              <a:off x="4358488" y="2068562"/>
              <a:ext cx="166467" cy="136002"/>
              <a:chOff x="4358488" y="2068562"/>
              <a:chExt cx="166467" cy="136002"/>
            </a:xfrm>
            <a:grpFill/>
          </p:grpSpPr>
          <p:sp>
            <p:nvSpPr>
              <p:cNvPr id="2552" name="Vrije vorm: vorm 2551">
                <a:extLst>
                  <a:ext uri="{FF2B5EF4-FFF2-40B4-BE49-F238E27FC236}">
                    <a16:creationId xmlns:a16="http://schemas.microsoft.com/office/drawing/2014/main" id="{2E4E9FAE-1FCA-4AAC-92E7-F77FD888B287}"/>
                  </a:ext>
                </a:extLst>
              </p:cNvPr>
              <p:cNvSpPr/>
              <p:nvPr/>
            </p:nvSpPr>
            <p:spPr>
              <a:xfrm>
                <a:off x="4366365" y="2076307"/>
                <a:ext cx="150714" cy="120511"/>
              </a:xfrm>
              <a:custGeom>
                <a:avLst/>
                <a:gdLst>
                  <a:gd name="connsiteX0" fmla="*/ 150714 w 150714"/>
                  <a:gd name="connsiteY0" fmla="*/ 118119 h 120511"/>
                  <a:gd name="connsiteX1" fmla="*/ 148860 w 150714"/>
                  <a:gd name="connsiteY1" fmla="*/ 120511 h 120511"/>
                  <a:gd name="connsiteX2" fmla="*/ 0 w 150714"/>
                  <a:gd name="connsiteY2" fmla="*/ 2392 h 120511"/>
                  <a:gd name="connsiteX3" fmla="*/ 1914 w 150714"/>
                  <a:gd name="connsiteY3" fmla="*/ 0 h 120511"/>
                </a:gdLst>
                <a:ahLst/>
                <a:cxnLst>
                  <a:cxn ang="0">
                    <a:pos x="connsiteX0" y="connsiteY0"/>
                  </a:cxn>
                  <a:cxn ang="0">
                    <a:pos x="connsiteX1" y="connsiteY1"/>
                  </a:cxn>
                  <a:cxn ang="0">
                    <a:pos x="connsiteX2" y="connsiteY2"/>
                  </a:cxn>
                  <a:cxn ang="0">
                    <a:pos x="connsiteX3" y="connsiteY3"/>
                  </a:cxn>
                </a:cxnLst>
                <a:rect l="l" t="t" r="r" b="b"/>
                <a:pathLst>
                  <a:path w="150714" h="120511">
                    <a:moveTo>
                      <a:pt x="150714" y="118119"/>
                    </a:moveTo>
                    <a:lnTo>
                      <a:pt x="148860" y="120511"/>
                    </a:lnTo>
                    <a:lnTo>
                      <a:pt x="0" y="2392"/>
                    </a:lnTo>
                    <a:lnTo>
                      <a:pt x="1914" y="0"/>
                    </a:lnTo>
                    <a:close/>
                  </a:path>
                </a:pathLst>
              </a:custGeom>
              <a:grpFill/>
              <a:ln w="5978" cap="flat">
                <a:noFill/>
                <a:prstDash val="solid"/>
                <a:miter/>
              </a:ln>
            </p:spPr>
            <p:txBody>
              <a:bodyPr rtlCol="0" anchor="ctr"/>
              <a:lstStyle/>
              <a:p>
                <a:endParaRPr lang="en-GB"/>
              </a:p>
            </p:txBody>
          </p:sp>
          <p:sp>
            <p:nvSpPr>
              <p:cNvPr id="2553" name="Vrije vorm: vorm 2552">
                <a:extLst>
                  <a:ext uri="{FF2B5EF4-FFF2-40B4-BE49-F238E27FC236}">
                    <a16:creationId xmlns:a16="http://schemas.microsoft.com/office/drawing/2014/main" id="{504442E7-8CAF-4C47-AC48-D78F1CEF8774}"/>
                  </a:ext>
                </a:extLst>
              </p:cNvPr>
              <p:cNvSpPr/>
              <p:nvPr/>
            </p:nvSpPr>
            <p:spPr>
              <a:xfrm>
                <a:off x="4358488" y="2068562"/>
                <a:ext cx="18325" cy="18421"/>
              </a:xfrm>
              <a:custGeom>
                <a:avLst/>
                <a:gdLst>
                  <a:gd name="connsiteX0" fmla="*/ 3511 w 18325"/>
                  <a:gd name="connsiteY0" fmla="*/ 16418 h 18421"/>
                  <a:gd name="connsiteX1" fmla="*/ 1956 w 18325"/>
                  <a:gd name="connsiteY1" fmla="*/ 3499 h 18421"/>
                  <a:gd name="connsiteX2" fmla="*/ 14815 w 18325"/>
                  <a:gd name="connsiteY2" fmla="*/ 2004 h 18421"/>
                  <a:gd name="connsiteX3" fmla="*/ 16369 w 18325"/>
                  <a:gd name="connsiteY3" fmla="*/ 14922 h 18421"/>
                  <a:gd name="connsiteX4" fmla="*/ 3511 w 18325"/>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21">
                    <a:moveTo>
                      <a:pt x="3511" y="16418"/>
                    </a:moveTo>
                    <a:cubicBezTo>
                      <a:pt x="-496" y="13248"/>
                      <a:pt x="-1154" y="7447"/>
                      <a:pt x="1956" y="3499"/>
                    </a:cubicBezTo>
                    <a:cubicBezTo>
                      <a:pt x="5066" y="-508"/>
                      <a:pt x="10867" y="-1166"/>
                      <a:pt x="14815" y="2004"/>
                    </a:cubicBezTo>
                    <a:cubicBezTo>
                      <a:pt x="18822" y="5174"/>
                      <a:pt x="19479" y="10975"/>
                      <a:pt x="16369" y="14922"/>
                    </a:cubicBezTo>
                    <a:cubicBezTo>
                      <a:pt x="13259" y="18930"/>
                      <a:pt x="7518" y="19587"/>
                      <a:pt x="3511" y="16418"/>
                    </a:cubicBezTo>
                    <a:close/>
                  </a:path>
                </a:pathLst>
              </a:custGeom>
              <a:grpFill/>
              <a:ln w="5978" cap="flat">
                <a:noFill/>
                <a:prstDash val="solid"/>
                <a:miter/>
              </a:ln>
            </p:spPr>
            <p:txBody>
              <a:bodyPr rtlCol="0" anchor="ctr"/>
              <a:lstStyle/>
              <a:p>
                <a:endParaRPr lang="en-GB"/>
              </a:p>
            </p:txBody>
          </p:sp>
          <p:sp>
            <p:nvSpPr>
              <p:cNvPr id="2554" name="Vrije vorm: vorm 2553">
                <a:extLst>
                  <a:ext uri="{FF2B5EF4-FFF2-40B4-BE49-F238E27FC236}">
                    <a16:creationId xmlns:a16="http://schemas.microsoft.com/office/drawing/2014/main" id="{057D76B6-5550-4157-8D13-E91435468F6D}"/>
                  </a:ext>
                </a:extLst>
              </p:cNvPr>
              <p:cNvSpPr/>
              <p:nvPr/>
            </p:nvSpPr>
            <p:spPr>
              <a:xfrm>
                <a:off x="4506649" y="2186143"/>
                <a:ext cx="18306" cy="18421"/>
              </a:xfrm>
              <a:custGeom>
                <a:avLst/>
                <a:gdLst>
                  <a:gd name="connsiteX0" fmla="*/ 3492 w 18306"/>
                  <a:gd name="connsiteY0" fmla="*/ 16418 h 18421"/>
                  <a:gd name="connsiteX1" fmla="*/ 16351 w 18306"/>
                  <a:gd name="connsiteY1" fmla="*/ 14922 h 18421"/>
                  <a:gd name="connsiteX2" fmla="*/ 14796 w 18306"/>
                  <a:gd name="connsiteY2" fmla="*/ 2004 h 18421"/>
                  <a:gd name="connsiteX3" fmla="*/ 1937 w 18306"/>
                  <a:gd name="connsiteY3" fmla="*/ 3499 h 18421"/>
                  <a:gd name="connsiteX4" fmla="*/ 3492 w 18306"/>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21">
                    <a:moveTo>
                      <a:pt x="3492" y="16418"/>
                    </a:moveTo>
                    <a:cubicBezTo>
                      <a:pt x="7499" y="19587"/>
                      <a:pt x="13241" y="18930"/>
                      <a:pt x="16351" y="14922"/>
                    </a:cubicBezTo>
                    <a:cubicBezTo>
                      <a:pt x="19461" y="10915"/>
                      <a:pt x="18803" y="5114"/>
                      <a:pt x="14796" y="2004"/>
                    </a:cubicBezTo>
                    <a:cubicBezTo>
                      <a:pt x="10789" y="-1166"/>
                      <a:pt x="5047" y="-508"/>
                      <a:pt x="1937" y="3499"/>
                    </a:cubicBezTo>
                    <a:cubicBezTo>
                      <a:pt x="-1173" y="7447"/>
                      <a:pt x="-455" y="13248"/>
                      <a:pt x="3492" y="16418"/>
                    </a:cubicBezTo>
                    <a:close/>
                  </a:path>
                </a:pathLst>
              </a:custGeom>
              <a:grpFill/>
              <a:ln w="5978" cap="flat">
                <a:noFill/>
                <a:prstDash val="solid"/>
                <a:miter/>
              </a:ln>
            </p:spPr>
            <p:txBody>
              <a:bodyPr rtlCol="0" anchor="ctr"/>
              <a:lstStyle/>
              <a:p>
                <a:endParaRPr lang="en-GB"/>
              </a:p>
            </p:txBody>
          </p:sp>
        </p:grpSp>
        <p:grpSp>
          <p:nvGrpSpPr>
            <p:cNvPr id="950" name="Graphic 3">
              <a:extLst>
                <a:ext uri="{FF2B5EF4-FFF2-40B4-BE49-F238E27FC236}">
                  <a16:creationId xmlns:a16="http://schemas.microsoft.com/office/drawing/2014/main" id="{8F649D11-56A6-4931-B650-58792D98A860}"/>
                </a:ext>
              </a:extLst>
            </p:cNvPr>
            <p:cNvGrpSpPr/>
            <p:nvPr/>
          </p:nvGrpSpPr>
          <p:grpSpPr>
            <a:xfrm>
              <a:off x="5489315" y="5270116"/>
              <a:ext cx="43699" cy="107207"/>
              <a:chOff x="5489315" y="5270116"/>
              <a:chExt cx="43699" cy="107207"/>
            </a:xfrm>
            <a:grpFill/>
          </p:grpSpPr>
          <p:sp>
            <p:nvSpPr>
              <p:cNvPr id="2549" name="Vrije vorm: vorm 2548">
                <a:extLst>
                  <a:ext uri="{FF2B5EF4-FFF2-40B4-BE49-F238E27FC236}">
                    <a16:creationId xmlns:a16="http://schemas.microsoft.com/office/drawing/2014/main" id="{2ADD9921-D71F-4501-A33F-AE6CF7597A1E}"/>
                  </a:ext>
                </a:extLst>
              </p:cNvPr>
              <p:cNvSpPr/>
              <p:nvPr/>
            </p:nvSpPr>
            <p:spPr>
              <a:xfrm>
                <a:off x="5496901" y="5278445"/>
                <a:ext cx="28527" cy="90548"/>
              </a:xfrm>
              <a:custGeom>
                <a:avLst/>
                <a:gdLst>
                  <a:gd name="connsiteX0" fmla="*/ 28528 w 28527"/>
                  <a:gd name="connsiteY0" fmla="*/ 897 h 90548"/>
                  <a:gd name="connsiteX1" fmla="*/ 2930 w 28527"/>
                  <a:gd name="connsiteY1" fmla="*/ 90548 h 90548"/>
                  <a:gd name="connsiteX2" fmla="*/ 0 w 28527"/>
                  <a:gd name="connsiteY2" fmla="*/ 89711 h 90548"/>
                  <a:gd name="connsiteX3" fmla="*/ 25597 w 28527"/>
                  <a:gd name="connsiteY3" fmla="*/ 0 h 90548"/>
                </a:gdLst>
                <a:ahLst/>
                <a:cxnLst>
                  <a:cxn ang="0">
                    <a:pos x="connsiteX0" y="connsiteY0"/>
                  </a:cxn>
                  <a:cxn ang="0">
                    <a:pos x="connsiteX1" y="connsiteY1"/>
                  </a:cxn>
                  <a:cxn ang="0">
                    <a:pos x="connsiteX2" y="connsiteY2"/>
                  </a:cxn>
                  <a:cxn ang="0">
                    <a:pos x="connsiteX3" y="connsiteY3"/>
                  </a:cxn>
                </a:cxnLst>
                <a:rect l="l" t="t" r="r" b="b"/>
                <a:pathLst>
                  <a:path w="28527" h="90548">
                    <a:moveTo>
                      <a:pt x="28528" y="897"/>
                    </a:moveTo>
                    <a:lnTo>
                      <a:pt x="2930" y="90548"/>
                    </a:lnTo>
                    <a:lnTo>
                      <a:pt x="0" y="89711"/>
                    </a:lnTo>
                    <a:lnTo>
                      <a:pt x="25597" y="0"/>
                    </a:lnTo>
                    <a:close/>
                  </a:path>
                </a:pathLst>
              </a:custGeom>
              <a:grpFill/>
              <a:ln w="5978" cap="flat">
                <a:noFill/>
                <a:prstDash val="solid"/>
                <a:miter/>
              </a:ln>
            </p:spPr>
            <p:txBody>
              <a:bodyPr rtlCol="0" anchor="ctr"/>
              <a:lstStyle/>
              <a:p>
                <a:endParaRPr lang="en-GB"/>
              </a:p>
            </p:txBody>
          </p:sp>
          <p:sp>
            <p:nvSpPr>
              <p:cNvPr id="2550" name="Vrije vorm: vorm 2549">
                <a:extLst>
                  <a:ext uri="{FF2B5EF4-FFF2-40B4-BE49-F238E27FC236}">
                    <a16:creationId xmlns:a16="http://schemas.microsoft.com/office/drawing/2014/main" id="{33D2C833-7AA9-47D6-B947-62ABBE0F9B0A}"/>
                  </a:ext>
                </a:extLst>
              </p:cNvPr>
              <p:cNvSpPr/>
              <p:nvPr/>
            </p:nvSpPr>
            <p:spPr>
              <a:xfrm>
                <a:off x="5489315" y="5358870"/>
                <a:ext cx="18362" cy="18453"/>
              </a:xfrm>
              <a:custGeom>
                <a:avLst/>
                <a:gdLst>
                  <a:gd name="connsiteX0" fmla="*/ 17992 w 18362"/>
                  <a:gd name="connsiteY0" fmla="*/ 11798 h 18453"/>
                  <a:gd name="connsiteX1" fmla="*/ 6629 w 18362"/>
                  <a:gd name="connsiteY1" fmla="*/ 18078 h 18453"/>
                  <a:gd name="connsiteX2" fmla="*/ 349 w 18362"/>
                  <a:gd name="connsiteY2" fmla="*/ 6655 h 18453"/>
                  <a:gd name="connsiteX3" fmla="*/ 11713 w 18362"/>
                  <a:gd name="connsiteY3" fmla="*/ 375 h 18453"/>
                  <a:gd name="connsiteX4" fmla="*/ 17992 w 18362"/>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53">
                    <a:moveTo>
                      <a:pt x="17992" y="11798"/>
                    </a:moveTo>
                    <a:cubicBezTo>
                      <a:pt x="16617" y="16702"/>
                      <a:pt x="11533" y="19513"/>
                      <a:pt x="6629" y="18078"/>
                    </a:cubicBezTo>
                    <a:cubicBezTo>
                      <a:pt x="1784" y="16642"/>
                      <a:pt x="-1026" y="11559"/>
                      <a:pt x="349" y="6655"/>
                    </a:cubicBezTo>
                    <a:cubicBezTo>
                      <a:pt x="1725" y="1750"/>
                      <a:pt x="6808" y="-1060"/>
                      <a:pt x="11713" y="375"/>
                    </a:cubicBezTo>
                    <a:cubicBezTo>
                      <a:pt x="16557" y="1810"/>
                      <a:pt x="19428" y="6954"/>
                      <a:pt x="17992" y="11798"/>
                    </a:cubicBezTo>
                    <a:close/>
                  </a:path>
                </a:pathLst>
              </a:custGeom>
              <a:grpFill/>
              <a:ln w="5978" cap="flat">
                <a:noFill/>
                <a:prstDash val="solid"/>
                <a:miter/>
              </a:ln>
            </p:spPr>
            <p:txBody>
              <a:bodyPr rtlCol="0" anchor="ctr"/>
              <a:lstStyle/>
              <a:p>
                <a:endParaRPr lang="en-GB"/>
              </a:p>
            </p:txBody>
          </p:sp>
          <p:sp>
            <p:nvSpPr>
              <p:cNvPr id="2551" name="Vrije vorm: vorm 2550">
                <a:extLst>
                  <a:ext uri="{FF2B5EF4-FFF2-40B4-BE49-F238E27FC236}">
                    <a16:creationId xmlns:a16="http://schemas.microsoft.com/office/drawing/2014/main" id="{608AB31B-92E5-4A8E-A0CE-5BFBB39D14B5}"/>
                  </a:ext>
                </a:extLst>
              </p:cNvPr>
              <p:cNvSpPr/>
              <p:nvPr/>
            </p:nvSpPr>
            <p:spPr>
              <a:xfrm>
                <a:off x="5514733" y="5270116"/>
                <a:ext cx="18281" cy="18453"/>
              </a:xfrm>
              <a:custGeom>
                <a:avLst/>
                <a:gdLst>
                  <a:gd name="connsiteX0" fmla="*/ 17932 w 18281"/>
                  <a:gd name="connsiteY0" fmla="*/ 11798 h 18453"/>
                  <a:gd name="connsiteX1" fmla="*/ 11653 w 18281"/>
                  <a:gd name="connsiteY1" fmla="*/ 375 h 18453"/>
                  <a:gd name="connsiteX2" fmla="*/ 349 w 18281"/>
                  <a:gd name="connsiteY2" fmla="*/ 6655 h 18453"/>
                  <a:gd name="connsiteX3" fmla="*/ 6629 w 18281"/>
                  <a:gd name="connsiteY3" fmla="*/ 18078 h 18453"/>
                  <a:gd name="connsiteX4" fmla="*/ 17932 w 18281"/>
                  <a:gd name="connsiteY4" fmla="*/ 1179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53">
                    <a:moveTo>
                      <a:pt x="17932" y="11798"/>
                    </a:moveTo>
                    <a:cubicBezTo>
                      <a:pt x="19308" y="6894"/>
                      <a:pt x="16497" y="1811"/>
                      <a:pt x="11653" y="375"/>
                    </a:cubicBezTo>
                    <a:cubicBezTo>
                      <a:pt x="6808" y="-1060"/>
                      <a:pt x="1725" y="1751"/>
                      <a:pt x="349" y="6655"/>
                    </a:cubicBezTo>
                    <a:cubicBezTo>
                      <a:pt x="-1026" y="11559"/>
                      <a:pt x="1784" y="16643"/>
                      <a:pt x="6629" y="18078"/>
                    </a:cubicBezTo>
                    <a:cubicBezTo>
                      <a:pt x="11413" y="19513"/>
                      <a:pt x="16497" y="16703"/>
                      <a:pt x="17932" y="11798"/>
                    </a:cubicBezTo>
                    <a:close/>
                  </a:path>
                </a:pathLst>
              </a:custGeom>
              <a:grpFill/>
              <a:ln w="5978" cap="flat">
                <a:noFill/>
                <a:prstDash val="solid"/>
                <a:miter/>
              </a:ln>
            </p:spPr>
            <p:txBody>
              <a:bodyPr rtlCol="0" anchor="ctr"/>
              <a:lstStyle/>
              <a:p>
                <a:endParaRPr lang="en-GB"/>
              </a:p>
            </p:txBody>
          </p:sp>
        </p:grpSp>
        <p:grpSp>
          <p:nvGrpSpPr>
            <p:cNvPr id="951" name="Graphic 3">
              <a:extLst>
                <a:ext uri="{FF2B5EF4-FFF2-40B4-BE49-F238E27FC236}">
                  <a16:creationId xmlns:a16="http://schemas.microsoft.com/office/drawing/2014/main" id="{FB37969C-43CF-44A9-89DD-0D85A33F7AE8}"/>
                </a:ext>
              </a:extLst>
            </p:cNvPr>
            <p:cNvGrpSpPr/>
            <p:nvPr/>
          </p:nvGrpSpPr>
          <p:grpSpPr>
            <a:xfrm>
              <a:off x="5433598" y="5106147"/>
              <a:ext cx="111855" cy="324464"/>
              <a:chOff x="5433598" y="5106147"/>
              <a:chExt cx="111855" cy="324464"/>
            </a:xfrm>
            <a:grpFill/>
          </p:grpSpPr>
          <p:sp>
            <p:nvSpPr>
              <p:cNvPr id="2546" name="Vrije vorm: vorm 2545">
                <a:extLst>
                  <a:ext uri="{FF2B5EF4-FFF2-40B4-BE49-F238E27FC236}">
                    <a16:creationId xmlns:a16="http://schemas.microsoft.com/office/drawing/2014/main" id="{6A067813-A269-4354-B279-10FB65614E37}"/>
                  </a:ext>
                </a:extLst>
              </p:cNvPr>
              <p:cNvSpPr/>
              <p:nvPr/>
            </p:nvSpPr>
            <p:spPr>
              <a:xfrm>
                <a:off x="5441161" y="5114454"/>
                <a:ext cx="96708" cy="307827"/>
              </a:xfrm>
              <a:custGeom>
                <a:avLst/>
                <a:gdLst>
                  <a:gd name="connsiteX0" fmla="*/ 96708 w 96708"/>
                  <a:gd name="connsiteY0" fmla="*/ 957 h 307827"/>
                  <a:gd name="connsiteX1" fmla="*/ 2930 w 96708"/>
                  <a:gd name="connsiteY1" fmla="*/ 307828 h 307827"/>
                  <a:gd name="connsiteX2" fmla="*/ 0 w 96708"/>
                  <a:gd name="connsiteY2" fmla="*/ 306931 h 307827"/>
                  <a:gd name="connsiteX3" fmla="*/ 93778 w 96708"/>
                  <a:gd name="connsiteY3" fmla="*/ 0 h 307827"/>
                </a:gdLst>
                <a:ahLst/>
                <a:cxnLst>
                  <a:cxn ang="0">
                    <a:pos x="connsiteX0" y="connsiteY0"/>
                  </a:cxn>
                  <a:cxn ang="0">
                    <a:pos x="connsiteX1" y="connsiteY1"/>
                  </a:cxn>
                  <a:cxn ang="0">
                    <a:pos x="connsiteX2" y="connsiteY2"/>
                  </a:cxn>
                  <a:cxn ang="0">
                    <a:pos x="connsiteX3" y="connsiteY3"/>
                  </a:cxn>
                </a:cxnLst>
                <a:rect l="l" t="t" r="r" b="b"/>
                <a:pathLst>
                  <a:path w="96708" h="307827">
                    <a:moveTo>
                      <a:pt x="96708" y="957"/>
                    </a:moveTo>
                    <a:lnTo>
                      <a:pt x="2930" y="307828"/>
                    </a:lnTo>
                    <a:lnTo>
                      <a:pt x="0" y="306931"/>
                    </a:lnTo>
                    <a:lnTo>
                      <a:pt x="93778" y="0"/>
                    </a:lnTo>
                    <a:close/>
                  </a:path>
                </a:pathLst>
              </a:custGeom>
              <a:grpFill/>
              <a:ln w="5978" cap="flat">
                <a:noFill/>
                <a:prstDash val="solid"/>
                <a:miter/>
              </a:ln>
            </p:spPr>
            <p:txBody>
              <a:bodyPr rtlCol="0" anchor="ctr"/>
              <a:lstStyle/>
              <a:p>
                <a:endParaRPr lang="en-GB"/>
              </a:p>
            </p:txBody>
          </p:sp>
          <p:sp>
            <p:nvSpPr>
              <p:cNvPr id="2547" name="Vrije vorm: vorm 2546">
                <a:extLst>
                  <a:ext uri="{FF2B5EF4-FFF2-40B4-BE49-F238E27FC236}">
                    <a16:creationId xmlns:a16="http://schemas.microsoft.com/office/drawing/2014/main" id="{F932B3A6-69D5-4E33-9061-BF07A662266F}"/>
                  </a:ext>
                </a:extLst>
              </p:cNvPr>
              <p:cNvSpPr/>
              <p:nvPr/>
            </p:nvSpPr>
            <p:spPr>
              <a:xfrm>
                <a:off x="5433598" y="5412158"/>
                <a:ext cx="18321" cy="18453"/>
              </a:xfrm>
              <a:custGeom>
                <a:avLst/>
                <a:gdLst>
                  <a:gd name="connsiteX0" fmla="*/ 17909 w 18321"/>
                  <a:gd name="connsiteY0" fmla="*/ 11978 h 18453"/>
                  <a:gd name="connsiteX1" fmla="*/ 6486 w 18321"/>
                  <a:gd name="connsiteY1" fmla="*/ 18019 h 18453"/>
                  <a:gd name="connsiteX2" fmla="*/ 386 w 18321"/>
                  <a:gd name="connsiteY2" fmla="*/ 6476 h 18453"/>
                  <a:gd name="connsiteX3" fmla="*/ 11809 w 18321"/>
                  <a:gd name="connsiteY3" fmla="*/ 435 h 18453"/>
                  <a:gd name="connsiteX4" fmla="*/ 17909 w 18321"/>
                  <a:gd name="connsiteY4" fmla="*/ 1197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53">
                    <a:moveTo>
                      <a:pt x="17909" y="11978"/>
                    </a:moveTo>
                    <a:cubicBezTo>
                      <a:pt x="16414" y="16822"/>
                      <a:pt x="11270" y="19574"/>
                      <a:pt x="6486" y="18019"/>
                    </a:cubicBezTo>
                    <a:cubicBezTo>
                      <a:pt x="1642" y="16523"/>
                      <a:pt x="-1050" y="11320"/>
                      <a:pt x="386" y="6476"/>
                    </a:cubicBezTo>
                    <a:cubicBezTo>
                      <a:pt x="1881" y="1631"/>
                      <a:pt x="7024" y="-1120"/>
                      <a:pt x="11809" y="435"/>
                    </a:cubicBezTo>
                    <a:cubicBezTo>
                      <a:pt x="16713" y="1930"/>
                      <a:pt x="19404" y="7134"/>
                      <a:pt x="17909" y="11978"/>
                    </a:cubicBezTo>
                    <a:close/>
                  </a:path>
                </a:pathLst>
              </a:custGeom>
              <a:grpFill/>
              <a:ln w="5978" cap="flat">
                <a:noFill/>
                <a:prstDash val="solid"/>
                <a:miter/>
              </a:ln>
            </p:spPr>
            <p:txBody>
              <a:bodyPr rtlCol="0" anchor="ctr"/>
              <a:lstStyle/>
              <a:p>
                <a:endParaRPr lang="en-GB"/>
              </a:p>
            </p:txBody>
          </p:sp>
          <p:sp>
            <p:nvSpPr>
              <p:cNvPr id="2548" name="Vrije vorm: vorm 2547">
                <a:extLst>
                  <a:ext uri="{FF2B5EF4-FFF2-40B4-BE49-F238E27FC236}">
                    <a16:creationId xmlns:a16="http://schemas.microsoft.com/office/drawing/2014/main" id="{A276A4C2-8220-431E-BA06-68AA30BEEB4E}"/>
                  </a:ext>
                </a:extLst>
              </p:cNvPr>
              <p:cNvSpPr/>
              <p:nvPr/>
            </p:nvSpPr>
            <p:spPr>
              <a:xfrm>
                <a:off x="5527115" y="5106147"/>
                <a:ext cx="18338" cy="18431"/>
              </a:xfrm>
              <a:custGeom>
                <a:avLst/>
                <a:gdLst>
                  <a:gd name="connsiteX0" fmla="*/ 17931 w 18338"/>
                  <a:gd name="connsiteY0" fmla="*/ 11956 h 18431"/>
                  <a:gd name="connsiteX1" fmla="*/ 11831 w 18338"/>
                  <a:gd name="connsiteY1" fmla="*/ 413 h 18431"/>
                  <a:gd name="connsiteX2" fmla="*/ 407 w 18338"/>
                  <a:gd name="connsiteY2" fmla="*/ 6453 h 18431"/>
                  <a:gd name="connsiteX3" fmla="*/ 6508 w 18338"/>
                  <a:gd name="connsiteY3" fmla="*/ 17996 h 18431"/>
                  <a:gd name="connsiteX4" fmla="*/ 17931 w 18338"/>
                  <a:gd name="connsiteY4" fmla="*/ 11956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1">
                    <a:moveTo>
                      <a:pt x="17931" y="11956"/>
                    </a:moveTo>
                    <a:cubicBezTo>
                      <a:pt x="19426" y="7111"/>
                      <a:pt x="16675" y="1908"/>
                      <a:pt x="11831" y="413"/>
                    </a:cubicBezTo>
                    <a:cubicBezTo>
                      <a:pt x="6986" y="-1082"/>
                      <a:pt x="1843" y="1609"/>
                      <a:pt x="407" y="6453"/>
                    </a:cubicBezTo>
                    <a:cubicBezTo>
                      <a:pt x="-1088" y="11298"/>
                      <a:pt x="1663" y="16501"/>
                      <a:pt x="6508" y="17996"/>
                    </a:cubicBezTo>
                    <a:cubicBezTo>
                      <a:pt x="11292" y="19551"/>
                      <a:pt x="16436" y="16800"/>
                      <a:pt x="17931" y="11956"/>
                    </a:cubicBezTo>
                    <a:close/>
                  </a:path>
                </a:pathLst>
              </a:custGeom>
              <a:grpFill/>
              <a:ln w="5978" cap="flat">
                <a:noFill/>
                <a:prstDash val="solid"/>
                <a:miter/>
              </a:ln>
            </p:spPr>
            <p:txBody>
              <a:bodyPr rtlCol="0" anchor="ctr"/>
              <a:lstStyle/>
              <a:p>
                <a:endParaRPr lang="en-GB"/>
              </a:p>
            </p:txBody>
          </p:sp>
        </p:grpSp>
        <p:grpSp>
          <p:nvGrpSpPr>
            <p:cNvPr id="952" name="Graphic 3">
              <a:extLst>
                <a:ext uri="{FF2B5EF4-FFF2-40B4-BE49-F238E27FC236}">
                  <a16:creationId xmlns:a16="http://schemas.microsoft.com/office/drawing/2014/main" id="{E43DC0F6-A633-45BF-B8E2-232669A2A09A}"/>
                </a:ext>
              </a:extLst>
            </p:cNvPr>
            <p:cNvGrpSpPr/>
            <p:nvPr/>
          </p:nvGrpSpPr>
          <p:grpSpPr>
            <a:xfrm>
              <a:off x="4344531" y="2108312"/>
              <a:ext cx="191750" cy="150878"/>
              <a:chOff x="4344531" y="2108312"/>
              <a:chExt cx="191750" cy="150878"/>
            </a:xfrm>
            <a:grpFill/>
          </p:grpSpPr>
          <p:sp>
            <p:nvSpPr>
              <p:cNvPr id="2543" name="Vrije vorm: vorm 2542">
                <a:extLst>
                  <a:ext uri="{FF2B5EF4-FFF2-40B4-BE49-F238E27FC236}">
                    <a16:creationId xmlns:a16="http://schemas.microsoft.com/office/drawing/2014/main" id="{B45F7362-8D20-4FE7-BC3F-AFF91010394B}"/>
                  </a:ext>
                </a:extLst>
              </p:cNvPr>
              <p:cNvSpPr/>
              <p:nvPr/>
            </p:nvSpPr>
            <p:spPr>
              <a:xfrm>
                <a:off x="4352430" y="2116019"/>
                <a:ext cx="175953" cy="135463"/>
              </a:xfrm>
              <a:custGeom>
                <a:avLst/>
                <a:gdLst>
                  <a:gd name="connsiteX0" fmla="*/ 175953 w 175953"/>
                  <a:gd name="connsiteY0" fmla="*/ 133011 h 135463"/>
                  <a:gd name="connsiteX1" fmla="*/ 174099 w 175953"/>
                  <a:gd name="connsiteY1" fmla="*/ 135463 h 135463"/>
                  <a:gd name="connsiteX2" fmla="*/ 0 w 175953"/>
                  <a:gd name="connsiteY2" fmla="*/ 2452 h 135463"/>
                  <a:gd name="connsiteX3" fmla="*/ 1795 w 175953"/>
                  <a:gd name="connsiteY3" fmla="*/ 0 h 135463"/>
                </a:gdLst>
                <a:ahLst/>
                <a:cxnLst>
                  <a:cxn ang="0">
                    <a:pos x="connsiteX0" y="connsiteY0"/>
                  </a:cxn>
                  <a:cxn ang="0">
                    <a:pos x="connsiteX1" y="connsiteY1"/>
                  </a:cxn>
                  <a:cxn ang="0">
                    <a:pos x="connsiteX2" y="connsiteY2"/>
                  </a:cxn>
                  <a:cxn ang="0">
                    <a:pos x="connsiteX3" y="connsiteY3"/>
                  </a:cxn>
                </a:cxnLst>
                <a:rect l="l" t="t" r="r" b="b"/>
                <a:pathLst>
                  <a:path w="175953" h="135463">
                    <a:moveTo>
                      <a:pt x="175953" y="133011"/>
                    </a:moveTo>
                    <a:lnTo>
                      <a:pt x="174099" y="135463"/>
                    </a:lnTo>
                    <a:lnTo>
                      <a:pt x="0" y="2452"/>
                    </a:lnTo>
                    <a:lnTo>
                      <a:pt x="1795" y="0"/>
                    </a:lnTo>
                    <a:close/>
                  </a:path>
                </a:pathLst>
              </a:custGeom>
              <a:grpFill/>
              <a:ln w="5978" cap="flat">
                <a:noFill/>
                <a:prstDash val="solid"/>
                <a:miter/>
              </a:ln>
            </p:spPr>
            <p:txBody>
              <a:bodyPr rtlCol="0" anchor="ctr"/>
              <a:lstStyle/>
              <a:p>
                <a:endParaRPr lang="en-GB"/>
              </a:p>
            </p:txBody>
          </p:sp>
          <p:sp>
            <p:nvSpPr>
              <p:cNvPr id="2544" name="Vrije vorm: vorm 2543">
                <a:extLst>
                  <a:ext uri="{FF2B5EF4-FFF2-40B4-BE49-F238E27FC236}">
                    <a16:creationId xmlns:a16="http://schemas.microsoft.com/office/drawing/2014/main" id="{0A14C239-5FA2-43B8-A751-38ADCD2B5CF0}"/>
                  </a:ext>
                </a:extLst>
              </p:cNvPr>
              <p:cNvSpPr/>
              <p:nvPr/>
            </p:nvSpPr>
            <p:spPr>
              <a:xfrm>
                <a:off x="4344531" y="2108312"/>
                <a:ext cx="18351" cy="18421"/>
              </a:xfrm>
              <a:custGeom>
                <a:avLst/>
                <a:gdLst>
                  <a:gd name="connsiteX0" fmla="*/ 3653 w 18351"/>
                  <a:gd name="connsiteY0" fmla="*/ 16559 h 18421"/>
                  <a:gd name="connsiteX1" fmla="*/ 1859 w 18351"/>
                  <a:gd name="connsiteY1" fmla="*/ 3641 h 18421"/>
                  <a:gd name="connsiteX2" fmla="*/ 14717 w 18351"/>
                  <a:gd name="connsiteY2" fmla="*/ 1906 h 18421"/>
                  <a:gd name="connsiteX3" fmla="*/ 16511 w 18351"/>
                  <a:gd name="connsiteY3" fmla="*/ 14825 h 18421"/>
                  <a:gd name="connsiteX4" fmla="*/ 3653 w 18351"/>
                  <a:gd name="connsiteY4" fmla="*/ 1655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1">
                    <a:moveTo>
                      <a:pt x="3653" y="16559"/>
                    </a:moveTo>
                    <a:cubicBezTo>
                      <a:pt x="-414" y="13449"/>
                      <a:pt x="-1192" y="7707"/>
                      <a:pt x="1859" y="3641"/>
                    </a:cubicBezTo>
                    <a:cubicBezTo>
                      <a:pt x="4908" y="-426"/>
                      <a:pt x="10650" y="-1204"/>
                      <a:pt x="14717" y="1906"/>
                    </a:cubicBezTo>
                    <a:cubicBezTo>
                      <a:pt x="18724" y="5016"/>
                      <a:pt x="19561" y="10758"/>
                      <a:pt x="16511" y="14825"/>
                    </a:cubicBezTo>
                    <a:cubicBezTo>
                      <a:pt x="13401" y="18832"/>
                      <a:pt x="7660" y="19609"/>
                      <a:pt x="3653" y="16559"/>
                    </a:cubicBezTo>
                    <a:close/>
                  </a:path>
                </a:pathLst>
              </a:custGeom>
              <a:grpFill/>
              <a:ln w="5978" cap="flat">
                <a:noFill/>
                <a:prstDash val="solid"/>
                <a:miter/>
              </a:ln>
            </p:spPr>
            <p:txBody>
              <a:bodyPr rtlCol="0" anchor="ctr"/>
              <a:lstStyle/>
              <a:p>
                <a:endParaRPr lang="en-GB"/>
              </a:p>
            </p:txBody>
          </p:sp>
          <p:sp>
            <p:nvSpPr>
              <p:cNvPr id="2545" name="Vrije vorm: vorm 2544">
                <a:extLst>
                  <a:ext uri="{FF2B5EF4-FFF2-40B4-BE49-F238E27FC236}">
                    <a16:creationId xmlns:a16="http://schemas.microsoft.com/office/drawing/2014/main" id="{7166424C-91FD-41F8-BC60-5F52C55BB68C}"/>
                  </a:ext>
                </a:extLst>
              </p:cNvPr>
              <p:cNvSpPr/>
              <p:nvPr/>
            </p:nvSpPr>
            <p:spPr>
              <a:xfrm>
                <a:off x="4517930" y="2240725"/>
                <a:ext cx="18351" cy="18465"/>
              </a:xfrm>
              <a:custGeom>
                <a:avLst/>
                <a:gdLst>
                  <a:gd name="connsiteX0" fmla="*/ 3635 w 18351"/>
                  <a:gd name="connsiteY0" fmla="*/ 16559 h 18465"/>
                  <a:gd name="connsiteX1" fmla="*/ 16493 w 18351"/>
                  <a:gd name="connsiteY1" fmla="*/ 14825 h 18465"/>
                  <a:gd name="connsiteX2" fmla="*/ 14699 w 18351"/>
                  <a:gd name="connsiteY2" fmla="*/ 1906 h 18465"/>
                  <a:gd name="connsiteX3" fmla="*/ 1841 w 18351"/>
                  <a:gd name="connsiteY3" fmla="*/ 3641 h 18465"/>
                  <a:gd name="connsiteX4" fmla="*/ 3635 w 18351"/>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65">
                    <a:moveTo>
                      <a:pt x="3635" y="16559"/>
                    </a:moveTo>
                    <a:cubicBezTo>
                      <a:pt x="7642" y="19669"/>
                      <a:pt x="13443" y="18891"/>
                      <a:pt x="16493" y="14825"/>
                    </a:cubicBezTo>
                    <a:cubicBezTo>
                      <a:pt x="19544" y="10758"/>
                      <a:pt x="18766" y="5016"/>
                      <a:pt x="14699" y="1906"/>
                    </a:cubicBezTo>
                    <a:cubicBezTo>
                      <a:pt x="10632" y="-1204"/>
                      <a:pt x="4891" y="-426"/>
                      <a:pt x="1841" y="3641"/>
                    </a:cubicBezTo>
                    <a:cubicBezTo>
                      <a:pt x="-1209" y="7707"/>
                      <a:pt x="-372" y="13449"/>
                      <a:pt x="3635" y="16559"/>
                    </a:cubicBezTo>
                    <a:close/>
                  </a:path>
                </a:pathLst>
              </a:custGeom>
              <a:grpFill/>
              <a:ln w="5978" cap="flat">
                <a:noFill/>
                <a:prstDash val="solid"/>
                <a:miter/>
              </a:ln>
            </p:spPr>
            <p:txBody>
              <a:bodyPr rtlCol="0" anchor="ctr"/>
              <a:lstStyle/>
              <a:p>
                <a:endParaRPr lang="en-GB"/>
              </a:p>
            </p:txBody>
          </p:sp>
        </p:grpSp>
        <p:grpSp>
          <p:nvGrpSpPr>
            <p:cNvPr id="953" name="Graphic 3">
              <a:extLst>
                <a:ext uri="{FF2B5EF4-FFF2-40B4-BE49-F238E27FC236}">
                  <a16:creationId xmlns:a16="http://schemas.microsoft.com/office/drawing/2014/main" id="{33C96234-DDA7-4B82-99AF-C00F79C96720}"/>
                </a:ext>
              </a:extLst>
            </p:cNvPr>
            <p:cNvGrpSpPr/>
            <p:nvPr/>
          </p:nvGrpSpPr>
          <p:grpSpPr>
            <a:xfrm>
              <a:off x="4419501" y="2258776"/>
              <a:ext cx="114939" cy="86742"/>
              <a:chOff x="4419501" y="2258776"/>
              <a:chExt cx="114939" cy="86742"/>
            </a:xfrm>
            <a:grpFill/>
          </p:grpSpPr>
          <p:sp>
            <p:nvSpPr>
              <p:cNvPr id="2540" name="Vrije vorm: vorm 2539">
                <a:extLst>
                  <a:ext uri="{FF2B5EF4-FFF2-40B4-BE49-F238E27FC236}">
                    <a16:creationId xmlns:a16="http://schemas.microsoft.com/office/drawing/2014/main" id="{D0415FEE-816C-4905-856F-2B90595DEBF4}"/>
                  </a:ext>
                </a:extLst>
              </p:cNvPr>
              <p:cNvSpPr/>
              <p:nvPr/>
            </p:nvSpPr>
            <p:spPr>
              <a:xfrm>
                <a:off x="4427368" y="2266434"/>
                <a:ext cx="99160" cy="71349"/>
              </a:xfrm>
              <a:custGeom>
                <a:avLst/>
                <a:gdLst>
                  <a:gd name="connsiteX0" fmla="*/ 99160 w 99160"/>
                  <a:gd name="connsiteY0" fmla="*/ 68838 h 71349"/>
                  <a:gd name="connsiteX1" fmla="*/ 97426 w 99160"/>
                  <a:gd name="connsiteY1" fmla="*/ 71350 h 71349"/>
                  <a:gd name="connsiteX2" fmla="*/ 0 w 99160"/>
                  <a:gd name="connsiteY2" fmla="*/ 2512 h 71349"/>
                  <a:gd name="connsiteX3" fmla="*/ 1794 w 99160"/>
                  <a:gd name="connsiteY3" fmla="*/ 0 h 71349"/>
                </a:gdLst>
                <a:ahLst/>
                <a:cxnLst>
                  <a:cxn ang="0">
                    <a:pos x="connsiteX0" y="connsiteY0"/>
                  </a:cxn>
                  <a:cxn ang="0">
                    <a:pos x="connsiteX1" y="connsiteY1"/>
                  </a:cxn>
                  <a:cxn ang="0">
                    <a:pos x="connsiteX2" y="connsiteY2"/>
                  </a:cxn>
                  <a:cxn ang="0">
                    <a:pos x="connsiteX3" y="connsiteY3"/>
                  </a:cxn>
                </a:cxnLst>
                <a:rect l="l" t="t" r="r" b="b"/>
                <a:pathLst>
                  <a:path w="99160" h="71349">
                    <a:moveTo>
                      <a:pt x="99160" y="68838"/>
                    </a:moveTo>
                    <a:lnTo>
                      <a:pt x="97426" y="71350"/>
                    </a:lnTo>
                    <a:lnTo>
                      <a:pt x="0" y="2512"/>
                    </a:lnTo>
                    <a:lnTo>
                      <a:pt x="1794" y="0"/>
                    </a:lnTo>
                    <a:close/>
                  </a:path>
                </a:pathLst>
              </a:custGeom>
              <a:grpFill/>
              <a:ln w="5978" cap="flat">
                <a:noFill/>
                <a:prstDash val="solid"/>
                <a:miter/>
              </a:ln>
            </p:spPr>
            <p:txBody>
              <a:bodyPr rtlCol="0" anchor="ctr"/>
              <a:lstStyle/>
              <a:p>
                <a:endParaRPr lang="en-GB"/>
              </a:p>
            </p:txBody>
          </p:sp>
          <p:sp>
            <p:nvSpPr>
              <p:cNvPr id="2541" name="Vrije vorm: vorm 2540">
                <a:extLst>
                  <a:ext uri="{FF2B5EF4-FFF2-40B4-BE49-F238E27FC236}">
                    <a16:creationId xmlns:a16="http://schemas.microsoft.com/office/drawing/2014/main" id="{0BEA7FB7-4690-4789-8808-2C2DFCCCE4E5}"/>
                  </a:ext>
                </a:extLst>
              </p:cNvPr>
              <p:cNvSpPr/>
              <p:nvPr/>
            </p:nvSpPr>
            <p:spPr>
              <a:xfrm>
                <a:off x="4516166" y="2327060"/>
                <a:ext cx="18274" cy="18459"/>
              </a:xfrm>
              <a:custGeom>
                <a:avLst/>
                <a:gdLst>
                  <a:gd name="connsiteX0" fmla="*/ 14370 w 18274"/>
                  <a:gd name="connsiteY0" fmla="*/ 1694 h 18459"/>
                  <a:gd name="connsiteX1" fmla="*/ 16643 w 18274"/>
                  <a:gd name="connsiteY1" fmla="*/ 14553 h 18459"/>
                  <a:gd name="connsiteX2" fmla="*/ 3904 w 18274"/>
                  <a:gd name="connsiteY2" fmla="*/ 16765 h 18459"/>
                  <a:gd name="connsiteX3" fmla="*/ 1631 w 18274"/>
                  <a:gd name="connsiteY3" fmla="*/ 3907 h 18459"/>
                  <a:gd name="connsiteX4" fmla="*/ 14370 w 18274"/>
                  <a:gd name="connsiteY4" fmla="*/ 1694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59">
                    <a:moveTo>
                      <a:pt x="14370" y="1694"/>
                    </a:moveTo>
                    <a:cubicBezTo>
                      <a:pt x="18497" y="4625"/>
                      <a:pt x="19514" y="10366"/>
                      <a:pt x="16643" y="14553"/>
                    </a:cubicBezTo>
                    <a:cubicBezTo>
                      <a:pt x="13713" y="18739"/>
                      <a:pt x="8031" y="19696"/>
                      <a:pt x="3904" y="16765"/>
                    </a:cubicBezTo>
                    <a:cubicBezTo>
                      <a:pt x="-223" y="13835"/>
                      <a:pt x="-1239" y="8093"/>
                      <a:pt x="1631" y="3907"/>
                    </a:cubicBezTo>
                    <a:cubicBezTo>
                      <a:pt x="4502" y="-280"/>
                      <a:pt x="10244" y="-1237"/>
                      <a:pt x="14370" y="1694"/>
                    </a:cubicBezTo>
                    <a:close/>
                  </a:path>
                </a:pathLst>
              </a:custGeom>
              <a:grpFill/>
              <a:ln w="5978" cap="flat">
                <a:noFill/>
                <a:prstDash val="solid"/>
                <a:miter/>
              </a:ln>
            </p:spPr>
            <p:txBody>
              <a:bodyPr rtlCol="0" anchor="ctr"/>
              <a:lstStyle/>
              <a:p>
                <a:endParaRPr lang="en-GB"/>
              </a:p>
            </p:txBody>
          </p:sp>
          <p:sp>
            <p:nvSpPr>
              <p:cNvPr id="2542" name="Vrije vorm: vorm 2541">
                <a:extLst>
                  <a:ext uri="{FF2B5EF4-FFF2-40B4-BE49-F238E27FC236}">
                    <a16:creationId xmlns:a16="http://schemas.microsoft.com/office/drawing/2014/main" id="{9FADD4D4-29DC-4540-AC4C-871FD251648A}"/>
                  </a:ext>
                </a:extLst>
              </p:cNvPr>
              <p:cNvSpPr/>
              <p:nvPr/>
            </p:nvSpPr>
            <p:spPr>
              <a:xfrm>
                <a:off x="4419501" y="2258776"/>
                <a:ext cx="18290" cy="18426"/>
              </a:xfrm>
              <a:custGeom>
                <a:avLst/>
                <a:gdLst>
                  <a:gd name="connsiteX0" fmla="*/ 14387 w 18290"/>
                  <a:gd name="connsiteY0" fmla="*/ 1677 h 18426"/>
                  <a:gd name="connsiteX1" fmla="*/ 1648 w 18290"/>
                  <a:gd name="connsiteY1" fmla="*/ 3890 h 18426"/>
                  <a:gd name="connsiteX2" fmla="*/ 3920 w 18290"/>
                  <a:gd name="connsiteY2" fmla="*/ 16749 h 18426"/>
                  <a:gd name="connsiteX3" fmla="*/ 16659 w 18290"/>
                  <a:gd name="connsiteY3" fmla="*/ 14536 h 18426"/>
                  <a:gd name="connsiteX4" fmla="*/ 14387 w 18290"/>
                  <a:gd name="connsiteY4" fmla="*/ 1677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26">
                    <a:moveTo>
                      <a:pt x="14387" y="1677"/>
                    </a:moveTo>
                    <a:cubicBezTo>
                      <a:pt x="10260" y="-1253"/>
                      <a:pt x="4519" y="-236"/>
                      <a:pt x="1648" y="3890"/>
                    </a:cubicBezTo>
                    <a:cubicBezTo>
                      <a:pt x="-1223" y="8077"/>
                      <a:pt x="-266" y="13818"/>
                      <a:pt x="3920" y="16749"/>
                    </a:cubicBezTo>
                    <a:cubicBezTo>
                      <a:pt x="8047" y="19679"/>
                      <a:pt x="13789" y="18663"/>
                      <a:pt x="16659" y="14536"/>
                    </a:cubicBezTo>
                    <a:cubicBezTo>
                      <a:pt x="19530" y="10349"/>
                      <a:pt x="18513" y="4608"/>
                      <a:pt x="14387" y="1677"/>
                    </a:cubicBezTo>
                    <a:close/>
                  </a:path>
                </a:pathLst>
              </a:custGeom>
              <a:grpFill/>
              <a:ln w="5978" cap="flat">
                <a:noFill/>
                <a:prstDash val="solid"/>
                <a:miter/>
              </a:ln>
            </p:spPr>
            <p:txBody>
              <a:bodyPr rtlCol="0" anchor="ctr"/>
              <a:lstStyle/>
              <a:p>
                <a:endParaRPr lang="en-GB"/>
              </a:p>
            </p:txBody>
          </p:sp>
        </p:grpSp>
        <p:grpSp>
          <p:nvGrpSpPr>
            <p:cNvPr id="954" name="Graphic 3">
              <a:extLst>
                <a:ext uri="{FF2B5EF4-FFF2-40B4-BE49-F238E27FC236}">
                  <a16:creationId xmlns:a16="http://schemas.microsoft.com/office/drawing/2014/main" id="{17357A17-97D1-4F8E-A0AA-FE97F163FEF3}"/>
                </a:ext>
              </a:extLst>
            </p:cNvPr>
            <p:cNvGrpSpPr/>
            <p:nvPr/>
          </p:nvGrpSpPr>
          <p:grpSpPr>
            <a:xfrm>
              <a:off x="5539772" y="5406943"/>
              <a:ext cx="111919" cy="472036"/>
              <a:chOff x="5539772" y="5406943"/>
              <a:chExt cx="111919" cy="472036"/>
            </a:xfrm>
            <a:grpFill/>
          </p:grpSpPr>
          <p:sp>
            <p:nvSpPr>
              <p:cNvPr id="2537" name="Vrije vorm: vorm 2536">
                <a:extLst>
                  <a:ext uri="{FF2B5EF4-FFF2-40B4-BE49-F238E27FC236}">
                    <a16:creationId xmlns:a16="http://schemas.microsoft.com/office/drawing/2014/main" id="{2BD0A78E-DC41-40C6-A8A5-3C43F85D5ABB}"/>
                  </a:ext>
                </a:extLst>
              </p:cNvPr>
              <p:cNvSpPr/>
              <p:nvPr/>
            </p:nvSpPr>
            <p:spPr>
              <a:xfrm>
                <a:off x="5547319" y="5415404"/>
                <a:ext cx="96768" cy="455132"/>
              </a:xfrm>
              <a:custGeom>
                <a:avLst/>
                <a:gdLst>
                  <a:gd name="connsiteX0" fmla="*/ 96768 w 96768"/>
                  <a:gd name="connsiteY0" fmla="*/ 658 h 455132"/>
                  <a:gd name="connsiteX1" fmla="*/ 2990 w 96768"/>
                  <a:gd name="connsiteY1" fmla="*/ 455133 h 455132"/>
                  <a:gd name="connsiteX2" fmla="*/ 0 w 96768"/>
                  <a:gd name="connsiteY2" fmla="*/ 454475 h 455132"/>
                  <a:gd name="connsiteX3" fmla="*/ 93778 w 96768"/>
                  <a:gd name="connsiteY3" fmla="*/ 0 h 455132"/>
                </a:gdLst>
                <a:ahLst/>
                <a:cxnLst>
                  <a:cxn ang="0">
                    <a:pos x="connsiteX0" y="connsiteY0"/>
                  </a:cxn>
                  <a:cxn ang="0">
                    <a:pos x="connsiteX1" y="connsiteY1"/>
                  </a:cxn>
                  <a:cxn ang="0">
                    <a:pos x="connsiteX2" y="connsiteY2"/>
                  </a:cxn>
                  <a:cxn ang="0">
                    <a:pos x="connsiteX3" y="connsiteY3"/>
                  </a:cxn>
                </a:cxnLst>
                <a:rect l="l" t="t" r="r" b="b"/>
                <a:pathLst>
                  <a:path w="96768" h="455132">
                    <a:moveTo>
                      <a:pt x="96768" y="658"/>
                    </a:moveTo>
                    <a:lnTo>
                      <a:pt x="2990" y="455133"/>
                    </a:lnTo>
                    <a:lnTo>
                      <a:pt x="0" y="454475"/>
                    </a:lnTo>
                    <a:lnTo>
                      <a:pt x="93778" y="0"/>
                    </a:lnTo>
                    <a:close/>
                  </a:path>
                </a:pathLst>
              </a:custGeom>
              <a:grpFill/>
              <a:ln w="5978" cap="flat">
                <a:noFill/>
                <a:prstDash val="solid"/>
                <a:miter/>
              </a:ln>
            </p:spPr>
            <p:txBody>
              <a:bodyPr rtlCol="0" anchor="ctr"/>
              <a:lstStyle/>
              <a:p>
                <a:endParaRPr lang="en-GB"/>
              </a:p>
            </p:txBody>
          </p:sp>
          <p:sp>
            <p:nvSpPr>
              <p:cNvPr id="2538" name="Vrije vorm: vorm 2537">
                <a:extLst>
                  <a:ext uri="{FF2B5EF4-FFF2-40B4-BE49-F238E27FC236}">
                    <a16:creationId xmlns:a16="http://schemas.microsoft.com/office/drawing/2014/main" id="{ED94AABF-8833-4202-A21F-5534A6DB7D90}"/>
                  </a:ext>
                </a:extLst>
              </p:cNvPr>
              <p:cNvSpPr/>
              <p:nvPr/>
            </p:nvSpPr>
            <p:spPr>
              <a:xfrm>
                <a:off x="5539772" y="5860539"/>
                <a:ext cx="18319" cy="18441"/>
              </a:xfrm>
              <a:custGeom>
                <a:avLst/>
                <a:gdLst>
                  <a:gd name="connsiteX0" fmla="*/ 18132 w 18319"/>
                  <a:gd name="connsiteY0" fmla="*/ 11134 h 18441"/>
                  <a:gd name="connsiteX1" fmla="*/ 7307 w 18319"/>
                  <a:gd name="connsiteY1" fmla="*/ 18252 h 18441"/>
                  <a:gd name="connsiteX2" fmla="*/ 190 w 18319"/>
                  <a:gd name="connsiteY2" fmla="*/ 7307 h 18441"/>
                  <a:gd name="connsiteX3" fmla="*/ 11015 w 18319"/>
                  <a:gd name="connsiteY3" fmla="*/ 190 h 18441"/>
                  <a:gd name="connsiteX4" fmla="*/ 18132 w 18319"/>
                  <a:gd name="connsiteY4" fmla="*/ 11134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1">
                    <a:moveTo>
                      <a:pt x="18132" y="11134"/>
                    </a:moveTo>
                    <a:cubicBezTo>
                      <a:pt x="17115" y="16099"/>
                      <a:pt x="12271" y="19268"/>
                      <a:pt x="7307" y="18252"/>
                    </a:cubicBezTo>
                    <a:cubicBezTo>
                      <a:pt x="2343" y="17175"/>
                      <a:pt x="-827" y="12331"/>
                      <a:pt x="190" y="7307"/>
                    </a:cubicBezTo>
                    <a:cubicBezTo>
                      <a:pt x="1207" y="2343"/>
                      <a:pt x="6051" y="-827"/>
                      <a:pt x="11015" y="190"/>
                    </a:cubicBezTo>
                    <a:cubicBezTo>
                      <a:pt x="15919" y="1266"/>
                      <a:pt x="19149" y="6170"/>
                      <a:pt x="18132" y="11134"/>
                    </a:cubicBezTo>
                    <a:close/>
                  </a:path>
                </a:pathLst>
              </a:custGeom>
              <a:grpFill/>
              <a:ln w="5978" cap="flat">
                <a:noFill/>
                <a:prstDash val="solid"/>
                <a:miter/>
              </a:ln>
            </p:spPr>
            <p:txBody>
              <a:bodyPr rtlCol="0" anchor="ctr"/>
              <a:lstStyle/>
              <a:p>
                <a:endParaRPr lang="en-GB"/>
              </a:p>
            </p:txBody>
          </p:sp>
          <p:sp>
            <p:nvSpPr>
              <p:cNvPr id="2539" name="Vrije vorm: vorm 2538">
                <a:extLst>
                  <a:ext uri="{FF2B5EF4-FFF2-40B4-BE49-F238E27FC236}">
                    <a16:creationId xmlns:a16="http://schemas.microsoft.com/office/drawing/2014/main" id="{6DCC368E-60C8-4FE6-A613-29E78A38D404}"/>
                  </a:ext>
                </a:extLst>
              </p:cNvPr>
              <p:cNvSpPr/>
              <p:nvPr/>
            </p:nvSpPr>
            <p:spPr>
              <a:xfrm>
                <a:off x="5633371" y="5406943"/>
                <a:ext cx="18321" cy="18458"/>
              </a:xfrm>
              <a:custGeom>
                <a:avLst/>
                <a:gdLst>
                  <a:gd name="connsiteX0" fmla="*/ 18132 w 18321"/>
                  <a:gd name="connsiteY0" fmla="*/ 11152 h 18458"/>
                  <a:gd name="connsiteX1" fmla="*/ 11015 w 18321"/>
                  <a:gd name="connsiteY1" fmla="*/ 207 h 18458"/>
                  <a:gd name="connsiteX2" fmla="*/ 190 w 18321"/>
                  <a:gd name="connsiteY2" fmla="*/ 7324 h 18458"/>
                  <a:gd name="connsiteX3" fmla="*/ 7307 w 18321"/>
                  <a:gd name="connsiteY3" fmla="*/ 18269 h 18458"/>
                  <a:gd name="connsiteX4" fmla="*/ 18132 w 18321"/>
                  <a:gd name="connsiteY4" fmla="*/ 1115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58">
                    <a:moveTo>
                      <a:pt x="18132" y="11152"/>
                    </a:moveTo>
                    <a:cubicBezTo>
                      <a:pt x="19148" y="6188"/>
                      <a:pt x="15979" y="1284"/>
                      <a:pt x="11015" y="207"/>
                    </a:cubicBezTo>
                    <a:cubicBezTo>
                      <a:pt x="6051" y="-869"/>
                      <a:pt x="1206" y="2360"/>
                      <a:pt x="190" y="7324"/>
                    </a:cubicBezTo>
                    <a:cubicBezTo>
                      <a:pt x="-827" y="12288"/>
                      <a:pt x="2343" y="17192"/>
                      <a:pt x="7307" y="18269"/>
                    </a:cubicBezTo>
                    <a:cubicBezTo>
                      <a:pt x="12211" y="19286"/>
                      <a:pt x="17115" y="16116"/>
                      <a:pt x="18132" y="11152"/>
                    </a:cubicBezTo>
                    <a:close/>
                  </a:path>
                </a:pathLst>
              </a:custGeom>
              <a:grpFill/>
              <a:ln w="5978" cap="flat">
                <a:noFill/>
                <a:prstDash val="solid"/>
                <a:miter/>
              </a:ln>
            </p:spPr>
            <p:txBody>
              <a:bodyPr rtlCol="0" anchor="ctr"/>
              <a:lstStyle/>
              <a:p>
                <a:endParaRPr lang="en-GB"/>
              </a:p>
            </p:txBody>
          </p:sp>
        </p:grpSp>
        <p:grpSp>
          <p:nvGrpSpPr>
            <p:cNvPr id="955" name="Graphic 3">
              <a:extLst>
                <a:ext uri="{FF2B5EF4-FFF2-40B4-BE49-F238E27FC236}">
                  <a16:creationId xmlns:a16="http://schemas.microsoft.com/office/drawing/2014/main" id="{18CD6A8F-A681-4ACD-9753-C0F3445CE210}"/>
                </a:ext>
              </a:extLst>
            </p:cNvPr>
            <p:cNvGrpSpPr/>
            <p:nvPr/>
          </p:nvGrpSpPr>
          <p:grpSpPr>
            <a:xfrm>
              <a:off x="5351454" y="4966572"/>
              <a:ext cx="72871" cy="151234"/>
              <a:chOff x="5351454" y="4966572"/>
              <a:chExt cx="72871" cy="151234"/>
            </a:xfrm>
            <a:grpFill/>
          </p:grpSpPr>
          <p:sp>
            <p:nvSpPr>
              <p:cNvPr id="2534" name="Vrije vorm: vorm 2533">
                <a:extLst>
                  <a:ext uri="{FF2B5EF4-FFF2-40B4-BE49-F238E27FC236}">
                    <a16:creationId xmlns:a16="http://schemas.microsoft.com/office/drawing/2014/main" id="{F7102BC2-2E2E-4E8D-A552-63016B9E15C0}"/>
                  </a:ext>
                </a:extLst>
              </p:cNvPr>
              <p:cNvSpPr/>
              <p:nvPr/>
            </p:nvSpPr>
            <p:spPr>
              <a:xfrm>
                <a:off x="5359045" y="4974685"/>
                <a:ext cx="57714" cy="134865"/>
              </a:xfrm>
              <a:custGeom>
                <a:avLst/>
                <a:gdLst>
                  <a:gd name="connsiteX0" fmla="*/ 57714 w 57714"/>
                  <a:gd name="connsiteY0" fmla="*/ 1196 h 134865"/>
                  <a:gd name="connsiteX1" fmla="*/ 2811 w 57714"/>
                  <a:gd name="connsiteY1" fmla="*/ 134865 h 134865"/>
                  <a:gd name="connsiteX2" fmla="*/ 0 w 57714"/>
                  <a:gd name="connsiteY2" fmla="*/ 133729 h 134865"/>
                  <a:gd name="connsiteX3" fmla="*/ 54903 w 57714"/>
                  <a:gd name="connsiteY3" fmla="*/ 0 h 134865"/>
                </a:gdLst>
                <a:ahLst/>
                <a:cxnLst>
                  <a:cxn ang="0">
                    <a:pos x="connsiteX0" y="connsiteY0"/>
                  </a:cxn>
                  <a:cxn ang="0">
                    <a:pos x="connsiteX1" y="connsiteY1"/>
                  </a:cxn>
                  <a:cxn ang="0">
                    <a:pos x="connsiteX2" y="connsiteY2"/>
                  </a:cxn>
                  <a:cxn ang="0">
                    <a:pos x="connsiteX3" y="connsiteY3"/>
                  </a:cxn>
                </a:cxnLst>
                <a:rect l="l" t="t" r="r" b="b"/>
                <a:pathLst>
                  <a:path w="57714" h="134865">
                    <a:moveTo>
                      <a:pt x="57714" y="1196"/>
                    </a:moveTo>
                    <a:lnTo>
                      <a:pt x="2811" y="134865"/>
                    </a:lnTo>
                    <a:lnTo>
                      <a:pt x="0" y="133729"/>
                    </a:lnTo>
                    <a:lnTo>
                      <a:pt x="54903" y="0"/>
                    </a:lnTo>
                    <a:close/>
                  </a:path>
                </a:pathLst>
              </a:custGeom>
              <a:grpFill/>
              <a:ln w="5978" cap="flat">
                <a:noFill/>
                <a:prstDash val="solid"/>
                <a:miter/>
              </a:ln>
            </p:spPr>
            <p:txBody>
              <a:bodyPr rtlCol="0" anchor="ctr"/>
              <a:lstStyle/>
              <a:p>
                <a:endParaRPr lang="en-GB"/>
              </a:p>
            </p:txBody>
          </p:sp>
          <p:sp>
            <p:nvSpPr>
              <p:cNvPr id="2535" name="Vrije vorm: vorm 2534">
                <a:extLst>
                  <a:ext uri="{FF2B5EF4-FFF2-40B4-BE49-F238E27FC236}">
                    <a16:creationId xmlns:a16="http://schemas.microsoft.com/office/drawing/2014/main" id="{15031742-1C3A-4A5D-A5B1-DD4617B309B4}"/>
                  </a:ext>
                </a:extLst>
              </p:cNvPr>
              <p:cNvSpPr/>
              <p:nvPr/>
            </p:nvSpPr>
            <p:spPr>
              <a:xfrm>
                <a:off x="5351454" y="5099387"/>
                <a:ext cx="18351" cy="18420"/>
              </a:xfrm>
              <a:custGeom>
                <a:avLst/>
                <a:gdLst>
                  <a:gd name="connsiteX0" fmla="*/ 17639 w 18351"/>
                  <a:gd name="connsiteY0" fmla="*/ 12734 h 18420"/>
                  <a:gd name="connsiteX1" fmla="*/ 5677 w 18351"/>
                  <a:gd name="connsiteY1" fmla="*/ 17699 h 18420"/>
                  <a:gd name="connsiteX2" fmla="*/ 713 w 18351"/>
                  <a:gd name="connsiteY2" fmla="*/ 5677 h 18420"/>
                  <a:gd name="connsiteX3" fmla="*/ 12675 w 18351"/>
                  <a:gd name="connsiteY3" fmla="*/ 713 h 18420"/>
                  <a:gd name="connsiteX4" fmla="*/ 17639 w 18351"/>
                  <a:gd name="connsiteY4" fmla="*/ 1273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0">
                    <a:moveTo>
                      <a:pt x="17639" y="12734"/>
                    </a:moveTo>
                    <a:cubicBezTo>
                      <a:pt x="15725" y="17459"/>
                      <a:pt x="10342" y="19672"/>
                      <a:pt x="5677" y="17699"/>
                    </a:cubicBezTo>
                    <a:cubicBezTo>
                      <a:pt x="1012" y="15725"/>
                      <a:pt x="-1260" y="10342"/>
                      <a:pt x="713" y="5677"/>
                    </a:cubicBezTo>
                    <a:cubicBezTo>
                      <a:pt x="2687" y="1012"/>
                      <a:pt x="8010" y="-1260"/>
                      <a:pt x="12675" y="713"/>
                    </a:cubicBezTo>
                    <a:cubicBezTo>
                      <a:pt x="17340" y="2687"/>
                      <a:pt x="19612" y="8010"/>
                      <a:pt x="17639" y="12734"/>
                    </a:cubicBezTo>
                    <a:close/>
                  </a:path>
                </a:pathLst>
              </a:custGeom>
              <a:grpFill/>
              <a:ln w="5978" cap="flat">
                <a:noFill/>
                <a:prstDash val="solid"/>
                <a:miter/>
              </a:ln>
            </p:spPr>
            <p:txBody>
              <a:bodyPr rtlCol="0" anchor="ctr"/>
              <a:lstStyle/>
              <a:p>
                <a:endParaRPr lang="en-GB"/>
              </a:p>
            </p:txBody>
          </p:sp>
          <p:sp>
            <p:nvSpPr>
              <p:cNvPr id="2536" name="Vrije vorm: vorm 2535">
                <a:extLst>
                  <a:ext uri="{FF2B5EF4-FFF2-40B4-BE49-F238E27FC236}">
                    <a16:creationId xmlns:a16="http://schemas.microsoft.com/office/drawing/2014/main" id="{2BD959EB-E773-41F9-AC87-65445169207B}"/>
                  </a:ext>
                </a:extLst>
              </p:cNvPr>
              <p:cNvSpPr/>
              <p:nvPr/>
            </p:nvSpPr>
            <p:spPr>
              <a:xfrm>
                <a:off x="5406024" y="4966572"/>
                <a:ext cx="18301" cy="18369"/>
              </a:xfrm>
              <a:custGeom>
                <a:avLst/>
                <a:gdLst>
                  <a:gd name="connsiteX0" fmla="*/ 17614 w 18301"/>
                  <a:gd name="connsiteY0" fmla="*/ 12717 h 18369"/>
                  <a:gd name="connsiteX1" fmla="*/ 12650 w 18301"/>
                  <a:gd name="connsiteY1" fmla="*/ 696 h 18369"/>
                  <a:gd name="connsiteX2" fmla="*/ 688 w 18301"/>
                  <a:gd name="connsiteY2" fmla="*/ 5660 h 18369"/>
                  <a:gd name="connsiteX3" fmla="*/ 5652 w 18301"/>
                  <a:gd name="connsiteY3" fmla="*/ 17681 h 18369"/>
                  <a:gd name="connsiteX4" fmla="*/ 17614 w 18301"/>
                  <a:gd name="connsiteY4" fmla="*/ 12717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69">
                    <a:moveTo>
                      <a:pt x="17614" y="12717"/>
                    </a:moveTo>
                    <a:cubicBezTo>
                      <a:pt x="19527" y="7993"/>
                      <a:pt x="17314" y="2610"/>
                      <a:pt x="12650" y="696"/>
                    </a:cubicBezTo>
                    <a:cubicBezTo>
                      <a:pt x="7985" y="-1218"/>
                      <a:pt x="2602" y="935"/>
                      <a:pt x="688" y="5660"/>
                    </a:cubicBezTo>
                    <a:cubicBezTo>
                      <a:pt x="-1226" y="10385"/>
                      <a:pt x="987" y="15768"/>
                      <a:pt x="5652" y="17681"/>
                    </a:cubicBezTo>
                    <a:cubicBezTo>
                      <a:pt x="10317" y="19595"/>
                      <a:pt x="15700" y="17382"/>
                      <a:pt x="17614" y="12717"/>
                    </a:cubicBezTo>
                    <a:close/>
                  </a:path>
                </a:pathLst>
              </a:custGeom>
              <a:grpFill/>
              <a:ln w="5978" cap="flat">
                <a:noFill/>
                <a:prstDash val="solid"/>
                <a:miter/>
              </a:ln>
            </p:spPr>
            <p:txBody>
              <a:bodyPr rtlCol="0" anchor="ctr"/>
              <a:lstStyle/>
              <a:p>
                <a:endParaRPr lang="en-GB"/>
              </a:p>
            </p:txBody>
          </p:sp>
        </p:grpSp>
        <p:grpSp>
          <p:nvGrpSpPr>
            <p:cNvPr id="956" name="Graphic 3">
              <a:extLst>
                <a:ext uri="{FF2B5EF4-FFF2-40B4-BE49-F238E27FC236}">
                  <a16:creationId xmlns:a16="http://schemas.microsoft.com/office/drawing/2014/main" id="{48C65D65-D5C0-4041-9854-BDBE6F1AFD6D}"/>
                </a:ext>
              </a:extLst>
            </p:cNvPr>
            <p:cNvGrpSpPr/>
            <p:nvPr/>
          </p:nvGrpSpPr>
          <p:grpSpPr>
            <a:xfrm>
              <a:off x="4434795" y="2313947"/>
              <a:ext cx="107093" cy="78715"/>
              <a:chOff x="4434795" y="2313947"/>
              <a:chExt cx="107093" cy="78715"/>
            </a:xfrm>
            <a:grpFill/>
          </p:grpSpPr>
          <p:sp>
            <p:nvSpPr>
              <p:cNvPr id="2531" name="Vrije vorm: vorm 2530">
                <a:extLst>
                  <a:ext uri="{FF2B5EF4-FFF2-40B4-BE49-F238E27FC236}">
                    <a16:creationId xmlns:a16="http://schemas.microsoft.com/office/drawing/2014/main" id="{9177A74B-741A-4AEE-82E3-BF74F34B3555}"/>
                  </a:ext>
                </a:extLst>
              </p:cNvPr>
              <p:cNvSpPr/>
              <p:nvPr/>
            </p:nvSpPr>
            <p:spPr>
              <a:xfrm>
                <a:off x="4442739" y="2321637"/>
                <a:ext cx="91206" cy="63335"/>
              </a:xfrm>
              <a:custGeom>
                <a:avLst/>
                <a:gdLst>
                  <a:gd name="connsiteX0" fmla="*/ 91206 w 91206"/>
                  <a:gd name="connsiteY0" fmla="*/ 60764 h 63335"/>
                  <a:gd name="connsiteX1" fmla="*/ 89531 w 91206"/>
                  <a:gd name="connsiteY1" fmla="*/ 63336 h 63335"/>
                  <a:gd name="connsiteX2" fmla="*/ 0 w 91206"/>
                  <a:gd name="connsiteY2" fmla="*/ 2512 h 63335"/>
                  <a:gd name="connsiteX3" fmla="*/ 1674 w 91206"/>
                  <a:gd name="connsiteY3" fmla="*/ 0 h 63335"/>
                </a:gdLst>
                <a:ahLst/>
                <a:cxnLst>
                  <a:cxn ang="0">
                    <a:pos x="connsiteX0" y="connsiteY0"/>
                  </a:cxn>
                  <a:cxn ang="0">
                    <a:pos x="connsiteX1" y="connsiteY1"/>
                  </a:cxn>
                  <a:cxn ang="0">
                    <a:pos x="connsiteX2" y="connsiteY2"/>
                  </a:cxn>
                  <a:cxn ang="0">
                    <a:pos x="connsiteX3" y="connsiteY3"/>
                  </a:cxn>
                </a:cxnLst>
                <a:rect l="l" t="t" r="r" b="b"/>
                <a:pathLst>
                  <a:path w="91206" h="63335">
                    <a:moveTo>
                      <a:pt x="91206" y="60764"/>
                    </a:moveTo>
                    <a:lnTo>
                      <a:pt x="89531" y="63336"/>
                    </a:lnTo>
                    <a:lnTo>
                      <a:pt x="0" y="2512"/>
                    </a:lnTo>
                    <a:lnTo>
                      <a:pt x="1674" y="0"/>
                    </a:lnTo>
                    <a:close/>
                  </a:path>
                </a:pathLst>
              </a:custGeom>
              <a:grpFill/>
              <a:ln w="5978" cap="flat">
                <a:noFill/>
                <a:prstDash val="solid"/>
                <a:miter/>
              </a:ln>
            </p:spPr>
            <p:txBody>
              <a:bodyPr rtlCol="0" anchor="ctr"/>
              <a:lstStyle/>
              <a:p>
                <a:endParaRPr lang="en-GB"/>
              </a:p>
            </p:txBody>
          </p:sp>
          <p:sp>
            <p:nvSpPr>
              <p:cNvPr id="2532" name="Vrije vorm: vorm 2531">
                <a:extLst>
                  <a:ext uri="{FF2B5EF4-FFF2-40B4-BE49-F238E27FC236}">
                    <a16:creationId xmlns:a16="http://schemas.microsoft.com/office/drawing/2014/main" id="{4B5BD220-C9F9-4BD7-8113-F6D6BB633B90}"/>
                  </a:ext>
                </a:extLst>
              </p:cNvPr>
              <p:cNvSpPr/>
              <p:nvPr/>
            </p:nvSpPr>
            <p:spPr>
              <a:xfrm>
                <a:off x="4523549" y="2374232"/>
                <a:ext cx="18339" cy="18429"/>
              </a:xfrm>
              <a:custGeom>
                <a:avLst/>
                <a:gdLst>
                  <a:gd name="connsiteX0" fmla="*/ 14283 w 18339"/>
                  <a:gd name="connsiteY0" fmla="*/ 1590 h 18429"/>
                  <a:gd name="connsiteX1" fmla="*/ 16795 w 18339"/>
                  <a:gd name="connsiteY1" fmla="*/ 14388 h 18429"/>
                  <a:gd name="connsiteX2" fmla="*/ 4056 w 18339"/>
                  <a:gd name="connsiteY2" fmla="*/ 16840 h 18429"/>
                  <a:gd name="connsiteX3" fmla="*/ 1544 w 18339"/>
                  <a:gd name="connsiteY3" fmla="*/ 4042 h 18429"/>
                  <a:gd name="connsiteX4" fmla="*/ 14283 w 18339"/>
                  <a:gd name="connsiteY4" fmla="*/ 159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14283" y="1590"/>
                    </a:moveTo>
                    <a:cubicBezTo>
                      <a:pt x="18470" y="4460"/>
                      <a:pt x="19606" y="10202"/>
                      <a:pt x="16795" y="14388"/>
                    </a:cubicBezTo>
                    <a:cubicBezTo>
                      <a:pt x="13984" y="18575"/>
                      <a:pt x="8303" y="19711"/>
                      <a:pt x="4056" y="16840"/>
                    </a:cubicBezTo>
                    <a:cubicBezTo>
                      <a:pt x="-130" y="13970"/>
                      <a:pt x="-1266" y="8288"/>
                      <a:pt x="1544" y="4042"/>
                    </a:cubicBezTo>
                    <a:cubicBezTo>
                      <a:pt x="4415" y="-145"/>
                      <a:pt x="10097" y="-1281"/>
                      <a:pt x="14283" y="1590"/>
                    </a:cubicBezTo>
                    <a:close/>
                  </a:path>
                </a:pathLst>
              </a:custGeom>
              <a:grpFill/>
              <a:ln w="5978" cap="flat">
                <a:noFill/>
                <a:prstDash val="solid"/>
                <a:miter/>
              </a:ln>
            </p:spPr>
            <p:txBody>
              <a:bodyPr rtlCol="0" anchor="ctr"/>
              <a:lstStyle/>
              <a:p>
                <a:endParaRPr lang="en-GB"/>
              </a:p>
            </p:txBody>
          </p:sp>
          <p:sp>
            <p:nvSpPr>
              <p:cNvPr id="2533" name="Vrije vorm: vorm 2532">
                <a:extLst>
                  <a:ext uri="{FF2B5EF4-FFF2-40B4-BE49-F238E27FC236}">
                    <a16:creationId xmlns:a16="http://schemas.microsoft.com/office/drawing/2014/main" id="{D696E6CF-9AB7-4625-B4B5-97A470A4ED44}"/>
                  </a:ext>
                </a:extLst>
              </p:cNvPr>
              <p:cNvSpPr/>
              <p:nvPr/>
            </p:nvSpPr>
            <p:spPr>
              <a:xfrm>
                <a:off x="4434795" y="2313947"/>
                <a:ext cx="18339" cy="18429"/>
              </a:xfrm>
              <a:custGeom>
                <a:avLst/>
                <a:gdLst>
                  <a:gd name="connsiteX0" fmla="*/ 14284 w 18339"/>
                  <a:gd name="connsiteY0" fmla="*/ 1589 h 18429"/>
                  <a:gd name="connsiteX1" fmla="*/ 1545 w 18339"/>
                  <a:gd name="connsiteY1" fmla="*/ 4042 h 18429"/>
                  <a:gd name="connsiteX2" fmla="*/ 4056 w 18339"/>
                  <a:gd name="connsiteY2" fmla="*/ 16840 h 18429"/>
                  <a:gd name="connsiteX3" fmla="*/ 16795 w 18339"/>
                  <a:gd name="connsiteY3" fmla="*/ 14388 h 18429"/>
                  <a:gd name="connsiteX4" fmla="*/ 14284 w 18339"/>
                  <a:gd name="connsiteY4" fmla="*/ 158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14284" y="1589"/>
                    </a:moveTo>
                    <a:cubicBezTo>
                      <a:pt x="10097" y="-1281"/>
                      <a:pt x="4415" y="-145"/>
                      <a:pt x="1545" y="4042"/>
                    </a:cubicBezTo>
                    <a:cubicBezTo>
                      <a:pt x="-1267" y="8228"/>
                      <a:pt x="-130" y="13970"/>
                      <a:pt x="4056" y="16840"/>
                    </a:cubicBezTo>
                    <a:cubicBezTo>
                      <a:pt x="8243" y="19711"/>
                      <a:pt x="13925" y="18575"/>
                      <a:pt x="16795" y="14388"/>
                    </a:cubicBezTo>
                    <a:cubicBezTo>
                      <a:pt x="19607" y="10202"/>
                      <a:pt x="18470" y="4460"/>
                      <a:pt x="14284" y="1589"/>
                    </a:cubicBezTo>
                    <a:close/>
                  </a:path>
                </a:pathLst>
              </a:custGeom>
              <a:grpFill/>
              <a:ln w="5978" cap="flat">
                <a:noFill/>
                <a:prstDash val="solid"/>
                <a:miter/>
              </a:ln>
            </p:spPr>
            <p:txBody>
              <a:bodyPr rtlCol="0" anchor="ctr"/>
              <a:lstStyle/>
              <a:p>
                <a:endParaRPr lang="en-GB"/>
              </a:p>
            </p:txBody>
          </p:sp>
        </p:grpSp>
        <p:grpSp>
          <p:nvGrpSpPr>
            <p:cNvPr id="957" name="Graphic 3">
              <a:extLst>
                <a:ext uri="{FF2B5EF4-FFF2-40B4-BE49-F238E27FC236}">
                  <a16:creationId xmlns:a16="http://schemas.microsoft.com/office/drawing/2014/main" id="{7A116B8B-2D3D-4696-A4A7-C25B8A2E73C7}"/>
                </a:ext>
              </a:extLst>
            </p:cNvPr>
            <p:cNvGrpSpPr/>
            <p:nvPr/>
          </p:nvGrpSpPr>
          <p:grpSpPr>
            <a:xfrm>
              <a:off x="4365690" y="2220722"/>
              <a:ext cx="168765" cy="124720"/>
              <a:chOff x="4365690" y="2220722"/>
              <a:chExt cx="168765" cy="124720"/>
            </a:xfrm>
            <a:grpFill/>
          </p:grpSpPr>
          <p:sp>
            <p:nvSpPr>
              <p:cNvPr id="2528" name="Vrije vorm: vorm 2527">
                <a:extLst>
                  <a:ext uri="{FF2B5EF4-FFF2-40B4-BE49-F238E27FC236}">
                    <a16:creationId xmlns:a16="http://schemas.microsoft.com/office/drawing/2014/main" id="{E8018FDC-ED5F-4496-AC17-D86D63CEAF11}"/>
                  </a:ext>
                </a:extLst>
              </p:cNvPr>
              <p:cNvSpPr/>
              <p:nvPr/>
            </p:nvSpPr>
            <p:spPr>
              <a:xfrm>
                <a:off x="4373542" y="2228397"/>
                <a:ext cx="152986" cy="109387"/>
              </a:xfrm>
              <a:custGeom>
                <a:avLst/>
                <a:gdLst>
                  <a:gd name="connsiteX0" fmla="*/ 152987 w 152986"/>
                  <a:gd name="connsiteY0" fmla="*/ 106876 h 109387"/>
                  <a:gd name="connsiteX1" fmla="*/ 151252 w 152986"/>
                  <a:gd name="connsiteY1" fmla="*/ 109387 h 109387"/>
                  <a:gd name="connsiteX2" fmla="*/ 0 w 152986"/>
                  <a:gd name="connsiteY2" fmla="*/ 2512 h 109387"/>
                  <a:gd name="connsiteX3" fmla="*/ 1794 w 152986"/>
                  <a:gd name="connsiteY3" fmla="*/ 0 h 109387"/>
                </a:gdLst>
                <a:ahLst/>
                <a:cxnLst>
                  <a:cxn ang="0">
                    <a:pos x="connsiteX0" y="connsiteY0"/>
                  </a:cxn>
                  <a:cxn ang="0">
                    <a:pos x="connsiteX1" y="connsiteY1"/>
                  </a:cxn>
                  <a:cxn ang="0">
                    <a:pos x="connsiteX2" y="connsiteY2"/>
                  </a:cxn>
                  <a:cxn ang="0">
                    <a:pos x="connsiteX3" y="connsiteY3"/>
                  </a:cxn>
                </a:cxnLst>
                <a:rect l="l" t="t" r="r" b="b"/>
                <a:pathLst>
                  <a:path w="152986" h="109387">
                    <a:moveTo>
                      <a:pt x="152987" y="106876"/>
                    </a:moveTo>
                    <a:lnTo>
                      <a:pt x="151252" y="109387"/>
                    </a:lnTo>
                    <a:lnTo>
                      <a:pt x="0" y="2512"/>
                    </a:lnTo>
                    <a:lnTo>
                      <a:pt x="1794" y="0"/>
                    </a:lnTo>
                    <a:close/>
                  </a:path>
                </a:pathLst>
              </a:custGeom>
              <a:grpFill/>
              <a:ln w="5978" cap="flat">
                <a:noFill/>
                <a:prstDash val="solid"/>
                <a:miter/>
              </a:ln>
            </p:spPr>
            <p:txBody>
              <a:bodyPr rtlCol="0" anchor="ctr"/>
              <a:lstStyle/>
              <a:p>
                <a:endParaRPr lang="en-GB"/>
              </a:p>
            </p:txBody>
          </p:sp>
          <p:sp>
            <p:nvSpPr>
              <p:cNvPr id="2529" name="Vrije vorm: vorm 2528">
                <a:extLst>
                  <a:ext uri="{FF2B5EF4-FFF2-40B4-BE49-F238E27FC236}">
                    <a16:creationId xmlns:a16="http://schemas.microsoft.com/office/drawing/2014/main" id="{8BA8842A-049F-4C13-9491-1C63B5556155}"/>
                  </a:ext>
                </a:extLst>
              </p:cNvPr>
              <p:cNvSpPr/>
              <p:nvPr/>
            </p:nvSpPr>
            <p:spPr>
              <a:xfrm>
                <a:off x="4365690" y="2220722"/>
                <a:ext cx="18274" cy="18442"/>
              </a:xfrm>
              <a:custGeom>
                <a:avLst/>
                <a:gdLst>
                  <a:gd name="connsiteX0" fmla="*/ 3904 w 18274"/>
                  <a:gd name="connsiteY0" fmla="*/ 16765 h 18442"/>
                  <a:gd name="connsiteX1" fmla="*/ 1632 w 18274"/>
                  <a:gd name="connsiteY1" fmla="*/ 3907 h 18442"/>
                  <a:gd name="connsiteX2" fmla="*/ 14370 w 18274"/>
                  <a:gd name="connsiteY2" fmla="*/ 1694 h 18442"/>
                  <a:gd name="connsiteX3" fmla="*/ 16643 w 18274"/>
                  <a:gd name="connsiteY3" fmla="*/ 14553 h 18442"/>
                  <a:gd name="connsiteX4" fmla="*/ 3904 w 18274"/>
                  <a:gd name="connsiteY4" fmla="*/ 16765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2">
                    <a:moveTo>
                      <a:pt x="3904" y="16765"/>
                    </a:moveTo>
                    <a:cubicBezTo>
                      <a:pt x="-223" y="13835"/>
                      <a:pt x="-1239" y="8093"/>
                      <a:pt x="1632" y="3907"/>
                    </a:cubicBezTo>
                    <a:cubicBezTo>
                      <a:pt x="4502" y="-280"/>
                      <a:pt x="10244" y="-1237"/>
                      <a:pt x="14370" y="1694"/>
                    </a:cubicBezTo>
                    <a:cubicBezTo>
                      <a:pt x="18497" y="4624"/>
                      <a:pt x="19514" y="10366"/>
                      <a:pt x="16643" y="14553"/>
                    </a:cubicBezTo>
                    <a:cubicBezTo>
                      <a:pt x="13712" y="18679"/>
                      <a:pt x="8031" y="19696"/>
                      <a:pt x="3904" y="16765"/>
                    </a:cubicBezTo>
                    <a:close/>
                  </a:path>
                </a:pathLst>
              </a:custGeom>
              <a:grpFill/>
              <a:ln w="5978" cap="flat">
                <a:noFill/>
                <a:prstDash val="solid"/>
                <a:miter/>
              </a:ln>
            </p:spPr>
            <p:txBody>
              <a:bodyPr rtlCol="0" anchor="ctr"/>
              <a:lstStyle/>
              <a:p>
                <a:endParaRPr lang="en-GB"/>
              </a:p>
            </p:txBody>
          </p:sp>
          <p:sp>
            <p:nvSpPr>
              <p:cNvPr id="2530" name="Vrije vorm: vorm 2529">
                <a:extLst>
                  <a:ext uri="{FF2B5EF4-FFF2-40B4-BE49-F238E27FC236}">
                    <a16:creationId xmlns:a16="http://schemas.microsoft.com/office/drawing/2014/main" id="{D66327E1-947F-4E86-852E-A96F1351189F}"/>
                  </a:ext>
                </a:extLst>
              </p:cNvPr>
              <p:cNvSpPr/>
              <p:nvPr/>
            </p:nvSpPr>
            <p:spPr>
              <a:xfrm>
                <a:off x="4516149" y="2327016"/>
                <a:ext cx="18307" cy="18426"/>
              </a:xfrm>
              <a:custGeom>
                <a:avLst/>
                <a:gdLst>
                  <a:gd name="connsiteX0" fmla="*/ 3920 w 18307"/>
                  <a:gd name="connsiteY0" fmla="*/ 16749 h 18426"/>
                  <a:gd name="connsiteX1" fmla="*/ 16659 w 18307"/>
                  <a:gd name="connsiteY1" fmla="*/ 14536 h 18426"/>
                  <a:gd name="connsiteX2" fmla="*/ 14387 w 18307"/>
                  <a:gd name="connsiteY2" fmla="*/ 1677 h 18426"/>
                  <a:gd name="connsiteX3" fmla="*/ 1648 w 18307"/>
                  <a:gd name="connsiteY3" fmla="*/ 3890 h 18426"/>
                  <a:gd name="connsiteX4" fmla="*/ 3920 w 18307"/>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6">
                    <a:moveTo>
                      <a:pt x="3920" y="16749"/>
                    </a:moveTo>
                    <a:cubicBezTo>
                      <a:pt x="8047" y="19679"/>
                      <a:pt x="13788" y="18663"/>
                      <a:pt x="16659" y="14536"/>
                    </a:cubicBezTo>
                    <a:cubicBezTo>
                      <a:pt x="19530" y="10349"/>
                      <a:pt x="18573" y="4608"/>
                      <a:pt x="14387" y="1677"/>
                    </a:cubicBezTo>
                    <a:cubicBezTo>
                      <a:pt x="10260" y="-1253"/>
                      <a:pt x="4518" y="-237"/>
                      <a:pt x="1648" y="3890"/>
                    </a:cubicBezTo>
                    <a:cubicBezTo>
                      <a:pt x="-1223" y="8077"/>
                      <a:pt x="-266" y="13818"/>
                      <a:pt x="3920" y="16749"/>
                    </a:cubicBezTo>
                    <a:close/>
                  </a:path>
                </a:pathLst>
              </a:custGeom>
              <a:grpFill/>
              <a:ln w="5978" cap="flat">
                <a:noFill/>
                <a:prstDash val="solid"/>
                <a:miter/>
              </a:ln>
            </p:spPr>
            <p:txBody>
              <a:bodyPr rtlCol="0" anchor="ctr"/>
              <a:lstStyle/>
              <a:p>
                <a:endParaRPr lang="en-GB"/>
              </a:p>
            </p:txBody>
          </p:sp>
        </p:grpSp>
        <p:grpSp>
          <p:nvGrpSpPr>
            <p:cNvPr id="958" name="Graphic 3">
              <a:extLst>
                <a:ext uri="{FF2B5EF4-FFF2-40B4-BE49-F238E27FC236}">
                  <a16:creationId xmlns:a16="http://schemas.microsoft.com/office/drawing/2014/main" id="{D11CFD24-A60B-4C23-A9D8-026931A6D88D}"/>
                </a:ext>
              </a:extLst>
            </p:cNvPr>
            <p:cNvGrpSpPr/>
            <p:nvPr/>
          </p:nvGrpSpPr>
          <p:grpSpPr>
            <a:xfrm>
              <a:off x="4428186" y="2436763"/>
              <a:ext cx="196147" cy="125181"/>
              <a:chOff x="4428186" y="2436763"/>
              <a:chExt cx="196147" cy="125181"/>
            </a:xfrm>
            <a:grpFill/>
          </p:grpSpPr>
          <p:sp>
            <p:nvSpPr>
              <p:cNvPr id="2525" name="Vrije vorm: vorm 2524">
                <a:extLst>
                  <a:ext uri="{FF2B5EF4-FFF2-40B4-BE49-F238E27FC236}">
                    <a16:creationId xmlns:a16="http://schemas.microsoft.com/office/drawing/2014/main" id="{205ECC73-157E-4C61-BA37-221040F547B4}"/>
                  </a:ext>
                </a:extLst>
              </p:cNvPr>
              <p:cNvSpPr/>
              <p:nvPr/>
            </p:nvSpPr>
            <p:spPr>
              <a:xfrm>
                <a:off x="4436160" y="2444421"/>
                <a:ext cx="180139" cy="109865"/>
              </a:xfrm>
              <a:custGeom>
                <a:avLst/>
                <a:gdLst>
                  <a:gd name="connsiteX0" fmla="*/ 180139 w 180139"/>
                  <a:gd name="connsiteY0" fmla="*/ 107234 h 109865"/>
                  <a:gd name="connsiteX1" fmla="*/ 178585 w 180139"/>
                  <a:gd name="connsiteY1" fmla="*/ 109866 h 109865"/>
                  <a:gd name="connsiteX2" fmla="*/ 0 w 180139"/>
                  <a:gd name="connsiteY2" fmla="*/ 2632 h 109865"/>
                  <a:gd name="connsiteX3" fmla="*/ 1555 w 180139"/>
                  <a:gd name="connsiteY3" fmla="*/ 0 h 109865"/>
                </a:gdLst>
                <a:ahLst/>
                <a:cxnLst>
                  <a:cxn ang="0">
                    <a:pos x="connsiteX0" y="connsiteY0"/>
                  </a:cxn>
                  <a:cxn ang="0">
                    <a:pos x="connsiteX1" y="connsiteY1"/>
                  </a:cxn>
                  <a:cxn ang="0">
                    <a:pos x="connsiteX2" y="connsiteY2"/>
                  </a:cxn>
                  <a:cxn ang="0">
                    <a:pos x="connsiteX3" y="connsiteY3"/>
                  </a:cxn>
                </a:cxnLst>
                <a:rect l="l" t="t" r="r" b="b"/>
                <a:pathLst>
                  <a:path w="180139" h="109865">
                    <a:moveTo>
                      <a:pt x="180139" y="107234"/>
                    </a:moveTo>
                    <a:lnTo>
                      <a:pt x="178585" y="109866"/>
                    </a:lnTo>
                    <a:lnTo>
                      <a:pt x="0" y="2632"/>
                    </a:lnTo>
                    <a:lnTo>
                      <a:pt x="1555" y="0"/>
                    </a:lnTo>
                    <a:close/>
                  </a:path>
                </a:pathLst>
              </a:custGeom>
              <a:grpFill/>
              <a:ln w="5978" cap="flat">
                <a:noFill/>
                <a:prstDash val="solid"/>
                <a:miter/>
              </a:ln>
            </p:spPr>
            <p:txBody>
              <a:bodyPr rtlCol="0" anchor="ctr"/>
              <a:lstStyle/>
              <a:p>
                <a:endParaRPr lang="en-GB"/>
              </a:p>
            </p:txBody>
          </p:sp>
          <p:sp>
            <p:nvSpPr>
              <p:cNvPr id="2526" name="Vrije vorm: vorm 2525">
                <a:extLst>
                  <a:ext uri="{FF2B5EF4-FFF2-40B4-BE49-F238E27FC236}">
                    <a16:creationId xmlns:a16="http://schemas.microsoft.com/office/drawing/2014/main" id="{4FCACA9D-7CB4-471D-AA47-3726D3EB5AD2}"/>
                  </a:ext>
                </a:extLst>
              </p:cNvPr>
              <p:cNvSpPr/>
              <p:nvPr/>
            </p:nvSpPr>
            <p:spPr>
              <a:xfrm>
                <a:off x="4428186" y="2436763"/>
                <a:ext cx="18341" cy="18425"/>
              </a:xfrm>
              <a:custGeom>
                <a:avLst/>
                <a:gdLst>
                  <a:gd name="connsiteX0" fmla="*/ 4506 w 18341"/>
                  <a:gd name="connsiteY0" fmla="*/ 17107 h 18425"/>
                  <a:gd name="connsiteX1" fmla="*/ 1276 w 18341"/>
                  <a:gd name="connsiteY1" fmla="*/ 4488 h 18425"/>
                  <a:gd name="connsiteX2" fmla="*/ 13836 w 18341"/>
                  <a:gd name="connsiteY2" fmla="*/ 1318 h 18425"/>
                  <a:gd name="connsiteX3" fmla="*/ 17065 w 18341"/>
                  <a:gd name="connsiteY3" fmla="*/ 13938 h 18425"/>
                  <a:gd name="connsiteX4" fmla="*/ 4506 w 18341"/>
                  <a:gd name="connsiteY4" fmla="*/ 17107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4506" y="17107"/>
                    </a:moveTo>
                    <a:cubicBezTo>
                      <a:pt x="140" y="14476"/>
                      <a:pt x="-1296" y="8854"/>
                      <a:pt x="1276" y="4488"/>
                    </a:cubicBezTo>
                    <a:cubicBezTo>
                      <a:pt x="3848" y="122"/>
                      <a:pt x="9470" y="-1313"/>
                      <a:pt x="13836" y="1318"/>
                    </a:cubicBezTo>
                    <a:cubicBezTo>
                      <a:pt x="18201" y="3950"/>
                      <a:pt x="19637" y="9572"/>
                      <a:pt x="17065" y="13938"/>
                    </a:cubicBezTo>
                    <a:cubicBezTo>
                      <a:pt x="14493" y="18304"/>
                      <a:pt x="8812" y="19739"/>
                      <a:pt x="4506" y="17107"/>
                    </a:cubicBezTo>
                    <a:close/>
                  </a:path>
                </a:pathLst>
              </a:custGeom>
              <a:grpFill/>
              <a:ln w="5978" cap="flat">
                <a:noFill/>
                <a:prstDash val="solid"/>
                <a:miter/>
              </a:ln>
            </p:spPr>
            <p:txBody>
              <a:bodyPr rtlCol="0" anchor="ctr"/>
              <a:lstStyle/>
              <a:p>
                <a:endParaRPr lang="en-GB"/>
              </a:p>
            </p:txBody>
          </p:sp>
          <p:sp>
            <p:nvSpPr>
              <p:cNvPr id="2527" name="Vrije vorm: vorm 2526">
                <a:extLst>
                  <a:ext uri="{FF2B5EF4-FFF2-40B4-BE49-F238E27FC236}">
                    <a16:creationId xmlns:a16="http://schemas.microsoft.com/office/drawing/2014/main" id="{0B5F9118-91D3-4406-8BF6-D71F351DA04A}"/>
                  </a:ext>
                </a:extLst>
              </p:cNvPr>
              <p:cNvSpPr/>
              <p:nvPr/>
            </p:nvSpPr>
            <p:spPr>
              <a:xfrm>
                <a:off x="4605993" y="2543519"/>
                <a:ext cx="18340" cy="18425"/>
              </a:xfrm>
              <a:custGeom>
                <a:avLst/>
                <a:gdLst>
                  <a:gd name="connsiteX0" fmla="*/ 4506 w 18340"/>
                  <a:gd name="connsiteY0" fmla="*/ 17108 h 18425"/>
                  <a:gd name="connsiteX1" fmla="*/ 17065 w 18340"/>
                  <a:gd name="connsiteY1" fmla="*/ 13938 h 18425"/>
                  <a:gd name="connsiteX2" fmla="*/ 13835 w 18340"/>
                  <a:gd name="connsiteY2" fmla="*/ 1318 h 18425"/>
                  <a:gd name="connsiteX3" fmla="*/ 1276 w 18340"/>
                  <a:gd name="connsiteY3" fmla="*/ 4488 h 18425"/>
                  <a:gd name="connsiteX4" fmla="*/ 4506 w 18340"/>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4506" y="17108"/>
                    </a:moveTo>
                    <a:cubicBezTo>
                      <a:pt x="8871" y="19739"/>
                      <a:pt x="14493" y="18304"/>
                      <a:pt x="17065" y="13938"/>
                    </a:cubicBezTo>
                    <a:cubicBezTo>
                      <a:pt x="19637" y="9572"/>
                      <a:pt x="18201" y="3890"/>
                      <a:pt x="13835" y="1318"/>
                    </a:cubicBezTo>
                    <a:cubicBezTo>
                      <a:pt x="9470" y="-1313"/>
                      <a:pt x="3848" y="122"/>
                      <a:pt x="1276" y="4488"/>
                    </a:cubicBezTo>
                    <a:cubicBezTo>
                      <a:pt x="-1296" y="8854"/>
                      <a:pt x="140" y="14476"/>
                      <a:pt x="4506" y="17108"/>
                    </a:cubicBezTo>
                    <a:close/>
                  </a:path>
                </a:pathLst>
              </a:custGeom>
              <a:grpFill/>
              <a:ln w="5978" cap="flat">
                <a:noFill/>
                <a:prstDash val="solid"/>
                <a:miter/>
              </a:ln>
            </p:spPr>
            <p:txBody>
              <a:bodyPr rtlCol="0" anchor="ctr"/>
              <a:lstStyle/>
              <a:p>
                <a:endParaRPr lang="en-GB"/>
              </a:p>
            </p:txBody>
          </p:sp>
        </p:grpSp>
        <p:grpSp>
          <p:nvGrpSpPr>
            <p:cNvPr id="959" name="Graphic 3">
              <a:extLst>
                <a:ext uri="{FF2B5EF4-FFF2-40B4-BE49-F238E27FC236}">
                  <a16:creationId xmlns:a16="http://schemas.microsoft.com/office/drawing/2014/main" id="{A6B25145-B0EA-4E7C-BBD7-CE6545DD1185}"/>
                </a:ext>
              </a:extLst>
            </p:cNvPr>
            <p:cNvGrpSpPr/>
            <p:nvPr/>
          </p:nvGrpSpPr>
          <p:grpSpPr>
            <a:xfrm>
              <a:off x="5318173" y="4971868"/>
              <a:ext cx="136408" cy="229909"/>
              <a:chOff x="5318173" y="4971868"/>
              <a:chExt cx="136408" cy="229909"/>
            </a:xfrm>
            <a:grpFill/>
          </p:grpSpPr>
          <p:sp>
            <p:nvSpPr>
              <p:cNvPr id="2522" name="Vrije vorm: vorm 2521">
                <a:extLst>
                  <a:ext uri="{FF2B5EF4-FFF2-40B4-BE49-F238E27FC236}">
                    <a16:creationId xmlns:a16="http://schemas.microsoft.com/office/drawing/2014/main" id="{66AF9061-E754-46AE-8841-64C7932C7F70}"/>
                  </a:ext>
                </a:extLst>
              </p:cNvPr>
              <p:cNvSpPr/>
              <p:nvPr/>
            </p:nvSpPr>
            <p:spPr>
              <a:xfrm>
                <a:off x="5325792" y="4979948"/>
                <a:ext cx="121169" cy="213810"/>
              </a:xfrm>
              <a:custGeom>
                <a:avLst/>
                <a:gdLst>
                  <a:gd name="connsiteX0" fmla="*/ 121169 w 121169"/>
                  <a:gd name="connsiteY0" fmla="*/ 1495 h 213810"/>
                  <a:gd name="connsiteX1" fmla="*/ 2632 w 121169"/>
                  <a:gd name="connsiteY1" fmla="*/ 213811 h 213810"/>
                  <a:gd name="connsiteX2" fmla="*/ 0 w 121169"/>
                  <a:gd name="connsiteY2" fmla="*/ 212256 h 213810"/>
                  <a:gd name="connsiteX3" fmla="*/ 118478 w 121169"/>
                  <a:gd name="connsiteY3" fmla="*/ 0 h 213810"/>
                </a:gdLst>
                <a:ahLst/>
                <a:cxnLst>
                  <a:cxn ang="0">
                    <a:pos x="connsiteX0" y="connsiteY0"/>
                  </a:cxn>
                  <a:cxn ang="0">
                    <a:pos x="connsiteX1" y="connsiteY1"/>
                  </a:cxn>
                  <a:cxn ang="0">
                    <a:pos x="connsiteX2" y="connsiteY2"/>
                  </a:cxn>
                  <a:cxn ang="0">
                    <a:pos x="connsiteX3" y="connsiteY3"/>
                  </a:cxn>
                </a:cxnLst>
                <a:rect l="l" t="t" r="r" b="b"/>
                <a:pathLst>
                  <a:path w="121169" h="213810">
                    <a:moveTo>
                      <a:pt x="121169" y="1495"/>
                    </a:moveTo>
                    <a:lnTo>
                      <a:pt x="2632" y="213811"/>
                    </a:lnTo>
                    <a:lnTo>
                      <a:pt x="0" y="212256"/>
                    </a:lnTo>
                    <a:lnTo>
                      <a:pt x="118478" y="0"/>
                    </a:lnTo>
                    <a:close/>
                  </a:path>
                </a:pathLst>
              </a:custGeom>
              <a:grpFill/>
              <a:ln w="5978" cap="flat">
                <a:noFill/>
                <a:prstDash val="solid"/>
                <a:miter/>
              </a:ln>
            </p:spPr>
            <p:txBody>
              <a:bodyPr rtlCol="0" anchor="ctr"/>
              <a:lstStyle/>
              <a:p>
                <a:endParaRPr lang="en-GB"/>
              </a:p>
            </p:txBody>
          </p:sp>
          <p:sp>
            <p:nvSpPr>
              <p:cNvPr id="2523" name="Vrije vorm: vorm 2522">
                <a:extLst>
                  <a:ext uri="{FF2B5EF4-FFF2-40B4-BE49-F238E27FC236}">
                    <a16:creationId xmlns:a16="http://schemas.microsoft.com/office/drawing/2014/main" id="{C060E7C4-245A-4404-94C8-5047AE0A4843}"/>
                  </a:ext>
                </a:extLst>
              </p:cNvPr>
              <p:cNvSpPr/>
              <p:nvPr/>
            </p:nvSpPr>
            <p:spPr>
              <a:xfrm>
                <a:off x="5436232" y="4971868"/>
                <a:ext cx="18348" cy="18431"/>
              </a:xfrm>
              <a:custGeom>
                <a:avLst/>
                <a:gdLst>
                  <a:gd name="connsiteX0" fmla="*/ 1160 w 18348"/>
                  <a:gd name="connsiteY0" fmla="*/ 4670 h 18431"/>
                  <a:gd name="connsiteX1" fmla="*/ 13660 w 18348"/>
                  <a:gd name="connsiteY1" fmla="*/ 1201 h 18431"/>
                  <a:gd name="connsiteX2" fmla="*/ 17189 w 18348"/>
                  <a:gd name="connsiteY2" fmla="*/ 13761 h 18431"/>
                  <a:gd name="connsiteX3" fmla="*/ 4689 w 18348"/>
                  <a:gd name="connsiteY3" fmla="*/ 17230 h 18431"/>
                  <a:gd name="connsiteX4" fmla="*/ 1160 w 18348"/>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1">
                    <a:moveTo>
                      <a:pt x="1160" y="4670"/>
                    </a:moveTo>
                    <a:cubicBezTo>
                      <a:pt x="3612" y="245"/>
                      <a:pt x="9234" y="-1310"/>
                      <a:pt x="13660" y="1201"/>
                    </a:cubicBezTo>
                    <a:cubicBezTo>
                      <a:pt x="18086" y="3713"/>
                      <a:pt x="19641" y="9335"/>
                      <a:pt x="17189" y="13761"/>
                    </a:cubicBezTo>
                    <a:cubicBezTo>
                      <a:pt x="14736" y="18187"/>
                      <a:pt x="9115" y="19741"/>
                      <a:pt x="4689" y="17230"/>
                    </a:cubicBezTo>
                    <a:cubicBezTo>
                      <a:pt x="263" y="14718"/>
                      <a:pt x="-1292" y="9096"/>
                      <a:pt x="1160" y="4670"/>
                    </a:cubicBezTo>
                    <a:close/>
                  </a:path>
                </a:pathLst>
              </a:custGeom>
              <a:grpFill/>
              <a:ln w="5978" cap="flat">
                <a:noFill/>
                <a:prstDash val="solid"/>
                <a:miter/>
              </a:ln>
            </p:spPr>
            <p:txBody>
              <a:bodyPr rtlCol="0" anchor="ctr"/>
              <a:lstStyle/>
              <a:p>
                <a:endParaRPr lang="en-GB"/>
              </a:p>
            </p:txBody>
          </p:sp>
          <p:sp>
            <p:nvSpPr>
              <p:cNvPr id="2524" name="Vrije vorm: vorm 2523">
                <a:extLst>
                  <a:ext uri="{FF2B5EF4-FFF2-40B4-BE49-F238E27FC236}">
                    <a16:creationId xmlns:a16="http://schemas.microsoft.com/office/drawing/2014/main" id="{E208E45B-F020-447F-A88C-6B1CBB9C3B40}"/>
                  </a:ext>
                </a:extLst>
              </p:cNvPr>
              <p:cNvSpPr/>
              <p:nvPr/>
            </p:nvSpPr>
            <p:spPr>
              <a:xfrm>
                <a:off x="5318173" y="5183346"/>
                <a:ext cx="18348" cy="18431"/>
              </a:xfrm>
              <a:custGeom>
                <a:avLst/>
                <a:gdLst>
                  <a:gd name="connsiteX0" fmla="*/ 1160 w 18348"/>
                  <a:gd name="connsiteY0" fmla="*/ 4670 h 18431"/>
                  <a:gd name="connsiteX1" fmla="*/ 4689 w 18348"/>
                  <a:gd name="connsiteY1" fmla="*/ 17230 h 18431"/>
                  <a:gd name="connsiteX2" fmla="*/ 17189 w 18348"/>
                  <a:gd name="connsiteY2" fmla="*/ 13761 h 18431"/>
                  <a:gd name="connsiteX3" fmla="*/ 13660 w 18348"/>
                  <a:gd name="connsiteY3" fmla="*/ 1201 h 18431"/>
                  <a:gd name="connsiteX4" fmla="*/ 1160 w 18348"/>
                  <a:gd name="connsiteY4" fmla="*/ 4670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1">
                    <a:moveTo>
                      <a:pt x="1160" y="4670"/>
                    </a:moveTo>
                    <a:cubicBezTo>
                      <a:pt x="-1292" y="9096"/>
                      <a:pt x="263" y="14718"/>
                      <a:pt x="4689" y="17230"/>
                    </a:cubicBezTo>
                    <a:cubicBezTo>
                      <a:pt x="9115" y="19742"/>
                      <a:pt x="14677" y="18187"/>
                      <a:pt x="17189" y="13761"/>
                    </a:cubicBezTo>
                    <a:cubicBezTo>
                      <a:pt x="19641" y="9335"/>
                      <a:pt x="18086" y="3714"/>
                      <a:pt x="13660" y="1201"/>
                    </a:cubicBezTo>
                    <a:cubicBezTo>
                      <a:pt x="9234" y="-1310"/>
                      <a:pt x="3612" y="245"/>
                      <a:pt x="1160" y="4670"/>
                    </a:cubicBezTo>
                    <a:close/>
                  </a:path>
                </a:pathLst>
              </a:custGeom>
              <a:grpFill/>
              <a:ln w="5978" cap="flat">
                <a:noFill/>
                <a:prstDash val="solid"/>
                <a:miter/>
              </a:ln>
            </p:spPr>
            <p:txBody>
              <a:bodyPr rtlCol="0" anchor="ctr"/>
              <a:lstStyle/>
              <a:p>
                <a:endParaRPr lang="en-GB"/>
              </a:p>
            </p:txBody>
          </p:sp>
        </p:grpSp>
        <p:grpSp>
          <p:nvGrpSpPr>
            <p:cNvPr id="960" name="Graphic 3">
              <a:extLst>
                <a:ext uri="{FF2B5EF4-FFF2-40B4-BE49-F238E27FC236}">
                  <a16:creationId xmlns:a16="http://schemas.microsoft.com/office/drawing/2014/main" id="{0AC526E6-8203-4E5D-A49B-98E3B824468D}"/>
                </a:ext>
              </a:extLst>
            </p:cNvPr>
            <p:cNvGrpSpPr/>
            <p:nvPr/>
          </p:nvGrpSpPr>
          <p:grpSpPr>
            <a:xfrm>
              <a:off x="4461493" y="2374616"/>
              <a:ext cx="61771" cy="46762"/>
              <a:chOff x="4461493" y="2374616"/>
              <a:chExt cx="61771" cy="46762"/>
            </a:xfrm>
            <a:grpFill/>
          </p:grpSpPr>
          <p:sp>
            <p:nvSpPr>
              <p:cNvPr id="2519" name="Vrije vorm: vorm 2518">
                <a:extLst>
                  <a:ext uri="{FF2B5EF4-FFF2-40B4-BE49-F238E27FC236}">
                    <a16:creationId xmlns:a16="http://schemas.microsoft.com/office/drawing/2014/main" id="{CA8C4A45-3756-4954-8700-CA198C762C74}"/>
                  </a:ext>
                </a:extLst>
              </p:cNvPr>
              <p:cNvSpPr/>
              <p:nvPr/>
            </p:nvSpPr>
            <p:spPr>
              <a:xfrm>
                <a:off x="4469473" y="2382341"/>
                <a:ext cx="45812" cy="31338"/>
              </a:xfrm>
              <a:custGeom>
                <a:avLst/>
                <a:gdLst>
                  <a:gd name="connsiteX0" fmla="*/ 45813 w 45812"/>
                  <a:gd name="connsiteY0" fmla="*/ 28767 h 31338"/>
                  <a:gd name="connsiteX1" fmla="*/ 44198 w 45812"/>
                  <a:gd name="connsiteY1" fmla="*/ 31339 h 31338"/>
                  <a:gd name="connsiteX2" fmla="*/ 0 w 45812"/>
                  <a:gd name="connsiteY2" fmla="*/ 2512 h 31338"/>
                  <a:gd name="connsiteX3" fmla="*/ 1615 w 45812"/>
                  <a:gd name="connsiteY3" fmla="*/ 0 h 31338"/>
                </a:gdLst>
                <a:ahLst/>
                <a:cxnLst>
                  <a:cxn ang="0">
                    <a:pos x="connsiteX0" y="connsiteY0"/>
                  </a:cxn>
                  <a:cxn ang="0">
                    <a:pos x="connsiteX1" y="connsiteY1"/>
                  </a:cxn>
                  <a:cxn ang="0">
                    <a:pos x="connsiteX2" y="connsiteY2"/>
                  </a:cxn>
                  <a:cxn ang="0">
                    <a:pos x="connsiteX3" y="connsiteY3"/>
                  </a:cxn>
                </a:cxnLst>
                <a:rect l="l" t="t" r="r" b="b"/>
                <a:pathLst>
                  <a:path w="45812" h="31338">
                    <a:moveTo>
                      <a:pt x="45813" y="28767"/>
                    </a:moveTo>
                    <a:lnTo>
                      <a:pt x="44198" y="31339"/>
                    </a:lnTo>
                    <a:lnTo>
                      <a:pt x="0" y="2512"/>
                    </a:lnTo>
                    <a:lnTo>
                      <a:pt x="1615" y="0"/>
                    </a:lnTo>
                    <a:close/>
                  </a:path>
                </a:pathLst>
              </a:custGeom>
              <a:grpFill/>
              <a:ln w="5978" cap="flat">
                <a:noFill/>
                <a:prstDash val="solid"/>
                <a:miter/>
              </a:ln>
            </p:spPr>
            <p:txBody>
              <a:bodyPr rtlCol="0" anchor="ctr"/>
              <a:lstStyle/>
              <a:p>
                <a:endParaRPr lang="en-GB"/>
              </a:p>
            </p:txBody>
          </p:sp>
          <p:sp>
            <p:nvSpPr>
              <p:cNvPr id="2520" name="Vrije vorm: vorm 2519">
                <a:extLst>
                  <a:ext uri="{FF2B5EF4-FFF2-40B4-BE49-F238E27FC236}">
                    <a16:creationId xmlns:a16="http://schemas.microsoft.com/office/drawing/2014/main" id="{CD19DC77-095E-47C4-AC66-778CF435F1E9}"/>
                  </a:ext>
                </a:extLst>
              </p:cNvPr>
              <p:cNvSpPr/>
              <p:nvPr/>
            </p:nvSpPr>
            <p:spPr>
              <a:xfrm>
                <a:off x="4461493" y="2374616"/>
                <a:ext cx="18351" cy="18440"/>
              </a:xfrm>
              <a:custGeom>
                <a:avLst/>
                <a:gdLst>
                  <a:gd name="connsiteX0" fmla="*/ 4212 w 18351"/>
                  <a:gd name="connsiteY0" fmla="*/ 16935 h 18440"/>
                  <a:gd name="connsiteX1" fmla="*/ 1461 w 18351"/>
                  <a:gd name="connsiteY1" fmla="*/ 4196 h 18440"/>
                  <a:gd name="connsiteX2" fmla="*/ 14140 w 18351"/>
                  <a:gd name="connsiteY2" fmla="*/ 1505 h 18440"/>
                  <a:gd name="connsiteX3" fmla="*/ 16891 w 18351"/>
                  <a:gd name="connsiteY3" fmla="*/ 14244 h 18440"/>
                  <a:gd name="connsiteX4" fmla="*/ 4212 w 18351"/>
                  <a:gd name="connsiteY4" fmla="*/ 16935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40">
                    <a:moveTo>
                      <a:pt x="4212" y="16935"/>
                    </a:moveTo>
                    <a:cubicBezTo>
                      <a:pt x="-34" y="14184"/>
                      <a:pt x="-1290" y="8443"/>
                      <a:pt x="1461" y="4196"/>
                    </a:cubicBezTo>
                    <a:cubicBezTo>
                      <a:pt x="4212" y="-50"/>
                      <a:pt x="9893" y="-1306"/>
                      <a:pt x="14140" y="1505"/>
                    </a:cubicBezTo>
                    <a:cubicBezTo>
                      <a:pt x="18386" y="4256"/>
                      <a:pt x="19642" y="9998"/>
                      <a:pt x="16891" y="14244"/>
                    </a:cubicBezTo>
                    <a:cubicBezTo>
                      <a:pt x="14140" y="18490"/>
                      <a:pt x="8458" y="19746"/>
                      <a:pt x="4212" y="16935"/>
                    </a:cubicBezTo>
                    <a:close/>
                  </a:path>
                </a:pathLst>
              </a:custGeom>
              <a:grpFill/>
              <a:ln w="5978" cap="flat">
                <a:noFill/>
                <a:prstDash val="solid"/>
                <a:miter/>
              </a:ln>
            </p:spPr>
            <p:txBody>
              <a:bodyPr rtlCol="0" anchor="ctr"/>
              <a:lstStyle/>
              <a:p>
                <a:endParaRPr lang="en-GB"/>
              </a:p>
            </p:txBody>
          </p:sp>
          <p:sp>
            <p:nvSpPr>
              <p:cNvPr id="2521" name="Vrije vorm: vorm 2520">
                <a:extLst>
                  <a:ext uri="{FF2B5EF4-FFF2-40B4-BE49-F238E27FC236}">
                    <a16:creationId xmlns:a16="http://schemas.microsoft.com/office/drawing/2014/main" id="{0DE6D63F-1A4E-48A3-94AA-B308E3A34860}"/>
                  </a:ext>
                </a:extLst>
              </p:cNvPr>
              <p:cNvSpPr/>
              <p:nvPr/>
            </p:nvSpPr>
            <p:spPr>
              <a:xfrm>
                <a:off x="4504913" y="2402991"/>
                <a:ext cx="18351" cy="18387"/>
              </a:xfrm>
              <a:custGeom>
                <a:avLst/>
                <a:gdLst>
                  <a:gd name="connsiteX0" fmla="*/ 4212 w 18351"/>
                  <a:gd name="connsiteY0" fmla="*/ 16909 h 18387"/>
                  <a:gd name="connsiteX1" fmla="*/ 16891 w 18351"/>
                  <a:gd name="connsiteY1" fmla="*/ 14217 h 18387"/>
                  <a:gd name="connsiteX2" fmla="*/ 14140 w 18351"/>
                  <a:gd name="connsiteY2" fmla="*/ 1479 h 18387"/>
                  <a:gd name="connsiteX3" fmla="*/ 1461 w 18351"/>
                  <a:gd name="connsiteY3" fmla="*/ 4170 h 18387"/>
                  <a:gd name="connsiteX4" fmla="*/ 4212 w 18351"/>
                  <a:gd name="connsiteY4" fmla="*/ 1690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7">
                    <a:moveTo>
                      <a:pt x="4212" y="16909"/>
                    </a:moveTo>
                    <a:cubicBezTo>
                      <a:pt x="8458" y="19660"/>
                      <a:pt x="14140" y="18464"/>
                      <a:pt x="16891" y="14217"/>
                    </a:cubicBezTo>
                    <a:cubicBezTo>
                      <a:pt x="19642" y="9971"/>
                      <a:pt x="18386" y="4230"/>
                      <a:pt x="14140" y="1479"/>
                    </a:cubicBezTo>
                    <a:cubicBezTo>
                      <a:pt x="9893" y="-1273"/>
                      <a:pt x="4212" y="-76"/>
                      <a:pt x="1461" y="4170"/>
                    </a:cubicBezTo>
                    <a:cubicBezTo>
                      <a:pt x="-1290" y="8416"/>
                      <a:pt x="-34" y="14098"/>
                      <a:pt x="4212" y="16909"/>
                    </a:cubicBezTo>
                    <a:close/>
                  </a:path>
                </a:pathLst>
              </a:custGeom>
              <a:grpFill/>
              <a:ln w="5978" cap="flat">
                <a:noFill/>
                <a:prstDash val="solid"/>
                <a:miter/>
              </a:ln>
            </p:spPr>
            <p:txBody>
              <a:bodyPr rtlCol="0" anchor="ctr"/>
              <a:lstStyle/>
              <a:p>
                <a:endParaRPr lang="en-GB"/>
              </a:p>
            </p:txBody>
          </p:sp>
        </p:grpSp>
        <p:grpSp>
          <p:nvGrpSpPr>
            <p:cNvPr id="961" name="Graphic 3">
              <a:extLst>
                <a:ext uri="{FF2B5EF4-FFF2-40B4-BE49-F238E27FC236}">
                  <a16:creationId xmlns:a16="http://schemas.microsoft.com/office/drawing/2014/main" id="{CFCE2A39-9765-46B4-AC58-95E86DC828FE}"/>
                </a:ext>
              </a:extLst>
            </p:cNvPr>
            <p:cNvGrpSpPr/>
            <p:nvPr/>
          </p:nvGrpSpPr>
          <p:grpSpPr>
            <a:xfrm>
              <a:off x="5369592" y="5051917"/>
              <a:ext cx="55219" cy="113232"/>
              <a:chOff x="5369592" y="5051917"/>
              <a:chExt cx="55219" cy="113232"/>
            </a:xfrm>
            <a:grpFill/>
          </p:grpSpPr>
          <p:sp>
            <p:nvSpPr>
              <p:cNvPr id="2516" name="Vrije vorm: vorm 2515">
                <a:extLst>
                  <a:ext uri="{FF2B5EF4-FFF2-40B4-BE49-F238E27FC236}">
                    <a16:creationId xmlns:a16="http://schemas.microsoft.com/office/drawing/2014/main" id="{1DC38CC8-67AC-40B7-8A16-F213C33A240D}"/>
                  </a:ext>
                </a:extLst>
              </p:cNvPr>
              <p:cNvSpPr/>
              <p:nvPr/>
            </p:nvSpPr>
            <p:spPr>
              <a:xfrm>
                <a:off x="5377167" y="5060149"/>
                <a:ext cx="40070" cy="96768"/>
              </a:xfrm>
              <a:custGeom>
                <a:avLst/>
                <a:gdLst>
                  <a:gd name="connsiteX0" fmla="*/ 40071 w 40070"/>
                  <a:gd name="connsiteY0" fmla="*/ 1136 h 96768"/>
                  <a:gd name="connsiteX1" fmla="*/ 2811 w 40070"/>
                  <a:gd name="connsiteY1" fmla="*/ 96768 h 96768"/>
                  <a:gd name="connsiteX2" fmla="*/ 0 w 40070"/>
                  <a:gd name="connsiteY2" fmla="*/ 95632 h 96768"/>
                  <a:gd name="connsiteX3" fmla="*/ 37200 w 40070"/>
                  <a:gd name="connsiteY3" fmla="*/ 0 h 96768"/>
                </a:gdLst>
                <a:ahLst/>
                <a:cxnLst>
                  <a:cxn ang="0">
                    <a:pos x="connsiteX0" y="connsiteY0"/>
                  </a:cxn>
                  <a:cxn ang="0">
                    <a:pos x="connsiteX1" y="connsiteY1"/>
                  </a:cxn>
                  <a:cxn ang="0">
                    <a:pos x="connsiteX2" y="connsiteY2"/>
                  </a:cxn>
                  <a:cxn ang="0">
                    <a:pos x="connsiteX3" y="connsiteY3"/>
                  </a:cxn>
                </a:cxnLst>
                <a:rect l="l" t="t" r="r" b="b"/>
                <a:pathLst>
                  <a:path w="40070" h="96768">
                    <a:moveTo>
                      <a:pt x="40071" y="1136"/>
                    </a:moveTo>
                    <a:lnTo>
                      <a:pt x="2811" y="96768"/>
                    </a:lnTo>
                    <a:lnTo>
                      <a:pt x="0" y="95632"/>
                    </a:lnTo>
                    <a:lnTo>
                      <a:pt x="37200" y="0"/>
                    </a:lnTo>
                    <a:close/>
                  </a:path>
                </a:pathLst>
              </a:custGeom>
              <a:grpFill/>
              <a:ln w="5978" cap="flat">
                <a:noFill/>
                <a:prstDash val="solid"/>
                <a:miter/>
              </a:ln>
            </p:spPr>
            <p:txBody>
              <a:bodyPr rtlCol="0" anchor="ctr"/>
              <a:lstStyle/>
              <a:p>
                <a:endParaRPr lang="en-GB"/>
              </a:p>
            </p:txBody>
          </p:sp>
          <p:sp>
            <p:nvSpPr>
              <p:cNvPr id="2517" name="Vrije vorm: vorm 2516">
                <a:extLst>
                  <a:ext uri="{FF2B5EF4-FFF2-40B4-BE49-F238E27FC236}">
                    <a16:creationId xmlns:a16="http://schemas.microsoft.com/office/drawing/2014/main" id="{B69A352F-8100-403E-B7CF-29AF75BEFA81}"/>
                  </a:ext>
                </a:extLst>
              </p:cNvPr>
              <p:cNvSpPr/>
              <p:nvPr/>
            </p:nvSpPr>
            <p:spPr>
              <a:xfrm>
                <a:off x="5369592" y="5146711"/>
                <a:ext cx="18318" cy="18438"/>
              </a:xfrm>
              <a:custGeom>
                <a:avLst/>
                <a:gdLst>
                  <a:gd name="connsiteX0" fmla="*/ 17682 w 18318"/>
                  <a:gd name="connsiteY0" fmla="*/ 12598 h 18438"/>
                  <a:gd name="connsiteX1" fmla="*/ 5840 w 18318"/>
                  <a:gd name="connsiteY1" fmla="*/ 17801 h 18438"/>
                  <a:gd name="connsiteX2" fmla="*/ 637 w 18318"/>
                  <a:gd name="connsiteY2" fmla="*/ 5840 h 18438"/>
                  <a:gd name="connsiteX3" fmla="*/ 12479 w 18318"/>
                  <a:gd name="connsiteY3" fmla="*/ 637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5828" y="17323"/>
                      <a:pt x="10505" y="19655"/>
                      <a:pt x="5840" y="17801"/>
                    </a:cubicBezTo>
                    <a:cubicBezTo>
                      <a:pt x="1115" y="15947"/>
                      <a:pt x="-1217" y="10565"/>
                      <a:pt x="637" y="5840"/>
                    </a:cubicBezTo>
                    <a:cubicBezTo>
                      <a:pt x="2491" y="1115"/>
                      <a:pt x="7814" y="-1217"/>
                      <a:pt x="12479" y="637"/>
                    </a:cubicBezTo>
                    <a:cubicBezTo>
                      <a:pt x="17204" y="2491"/>
                      <a:pt x="19536" y="7873"/>
                      <a:pt x="17682" y="12598"/>
                    </a:cubicBezTo>
                    <a:close/>
                  </a:path>
                </a:pathLst>
              </a:custGeom>
              <a:grpFill/>
              <a:ln w="5978" cap="flat">
                <a:noFill/>
                <a:prstDash val="solid"/>
                <a:miter/>
              </a:ln>
            </p:spPr>
            <p:txBody>
              <a:bodyPr rtlCol="0" anchor="ctr"/>
              <a:lstStyle/>
              <a:p>
                <a:endParaRPr lang="en-GB"/>
              </a:p>
            </p:txBody>
          </p:sp>
          <p:sp>
            <p:nvSpPr>
              <p:cNvPr id="2518" name="Vrije vorm: vorm 2517">
                <a:extLst>
                  <a:ext uri="{FF2B5EF4-FFF2-40B4-BE49-F238E27FC236}">
                    <a16:creationId xmlns:a16="http://schemas.microsoft.com/office/drawing/2014/main" id="{29503882-6E7D-4AE3-B312-BB6F34A008C5}"/>
                  </a:ext>
                </a:extLst>
              </p:cNvPr>
              <p:cNvSpPr/>
              <p:nvPr/>
            </p:nvSpPr>
            <p:spPr>
              <a:xfrm>
                <a:off x="5406494" y="5051917"/>
                <a:ext cx="18318" cy="18438"/>
              </a:xfrm>
              <a:custGeom>
                <a:avLst/>
                <a:gdLst>
                  <a:gd name="connsiteX0" fmla="*/ 17682 w 18318"/>
                  <a:gd name="connsiteY0" fmla="*/ 12598 h 18438"/>
                  <a:gd name="connsiteX1" fmla="*/ 12479 w 18318"/>
                  <a:gd name="connsiteY1" fmla="*/ 637 h 18438"/>
                  <a:gd name="connsiteX2" fmla="*/ 637 w 18318"/>
                  <a:gd name="connsiteY2" fmla="*/ 5840 h 18438"/>
                  <a:gd name="connsiteX3" fmla="*/ 5840 w 18318"/>
                  <a:gd name="connsiteY3" fmla="*/ 17802 h 18438"/>
                  <a:gd name="connsiteX4" fmla="*/ 17682 w 18318"/>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8">
                    <a:moveTo>
                      <a:pt x="17682" y="12598"/>
                    </a:moveTo>
                    <a:cubicBezTo>
                      <a:pt x="19536" y="7874"/>
                      <a:pt x="17203" y="2491"/>
                      <a:pt x="12479" y="637"/>
                    </a:cubicBezTo>
                    <a:cubicBezTo>
                      <a:pt x="7754" y="-1217"/>
                      <a:pt x="2431" y="1115"/>
                      <a:pt x="637" y="5840"/>
                    </a:cubicBezTo>
                    <a:cubicBezTo>
                      <a:pt x="-1217" y="10565"/>
                      <a:pt x="1115" y="15947"/>
                      <a:pt x="5840" y="17802"/>
                    </a:cubicBezTo>
                    <a:cubicBezTo>
                      <a:pt x="10505" y="19656"/>
                      <a:pt x="15828" y="17323"/>
                      <a:pt x="17682" y="12598"/>
                    </a:cubicBezTo>
                    <a:close/>
                  </a:path>
                </a:pathLst>
              </a:custGeom>
              <a:grpFill/>
              <a:ln w="5978" cap="flat">
                <a:noFill/>
                <a:prstDash val="solid"/>
                <a:miter/>
              </a:ln>
            </p:spPr>
            <p:txBody>
              <a:bodyPr rtlCol="0" anchor="ctr"/>
              <a:lstStyle/>
              <a:p>
                <a:endParaRPr lang="en-GB"/>
              </a:p>
            </p:txBody>
          </p:sp>
        </p:grpSp>
        <p:grpSp>
          <p:nvGrpSpPr>
            <p:cNvPr id="962" name="Graphic 3">
              <a:extLst>
                <a:ext uri="{FF2B5EF4-FFF2-40B4-BE49-F238E27FC236}">
                  <a16:creationId xmlns:a16="http://schemas.microsoft.com/office/drawing/2014/main" id="{E55DCCC1-6634-4BC8-9985-150485B74D47}"/>
                </a:ext>
              </a:extLst>
            </p:cNvPr>
            <p:cNvGrpSpPr/>
            <p:nvPr/>
          </p:nvGrpSpPr>
          <p:grpSpPr>
            <a:xfrm>
              <a:off x="5488683" y="5435033"/>
              <a:ext cx="77977" cy="261511"/>
              <a:chOff x="5488683" y="5435033"/>
              <a:chExt cx="77977" cy="261511"/>
            </a:xfrm>
            <a:grpFill/>
          </p:grpSpPr>
          <p:sp>
            <p:nvSpPr>
              <p:cNvPr id="2513" name="Vrije vorm: vorm 2512">
                <a:extLst>
                  <a:ext uri="{FF2B5EF4-FFF2-40B4-BE49-F238E27FC236}">
                    <a16:creationId xmlns:a16="http://schemas.microsoft.com/office/drawing/2014/main" id="{741A2E1B-CCAA-428D-B93A-427332D68D50}"/>
                  </a:ext>
                </a:extLst>
              </p:cNvPr>
              <p:cNvSpPr/>
              <p:nvPr/>
            </p:nvSpPr>
            <p:spPr>
              <a:xfrm>
                <a:off x="5496243" y="5443454"/>
                <a:ext cx="62857" cy="244671"/>
              </a:xfrm>
              <a:custGeom>
                <a:avLst/>
                <a:gdLst>
                  <a:gd name="connsiteX0" fmla="*/ 62857 w 62857"/>
                  <a:gd name="connsiteY0" fmla="*/ 718 h 244671"/>
                  <a:gd name="connsiteX1" fmla="*/ 2990 w 62857"/>
                  <a:gd name="connsiteY1" fmla="*/ 244671 h 244671"/>
                  <a:gd name="connsiteX2" fmla="*/ 0 w 62857"/>
                  <a:gd name="connsiteY2" fmla="*/ 243953 h 244671"/>
                  <a:gd name="connsiteX3" fmla="*/ 59867 w 62857"/>
                  <a:gd name="connsiteY3" fmla="*/ 0 h 244671"/>
                </a:gdLst>
                <a:ahLst/>
                <a:cxnLst>
                  <a:cxn ang="0">
                    <a:pos x="connsiteX0" y="connsiteY0"/>
                  </a:cxn>
                  <a:cxn ang="0">
                    <a:pos x="connsiteX1" y="connsiteY1"/>
                  </a:cxn>
                  <a:cxn ang="0">
                    <a:pos x="connsiteX2" y="connsiteY2"/>
                  </a:cxn>
                  <a:cxn ang="0">
                    <a:pos x="connsiteX3" y="connsiteY3"/>
                  </a:cxn>
                </a:cxnLst>
                <a:rect l="l" t="t" r="r" b="b"/>
                <a:pathLst>
                  <a:path w="62857" h="244671">
                    <a:moveTo>
                      <a:pt x="62857" y="718"/>
                    </a:moveTo>
                    <a:lnTo>
                      <a:pt x="2990" y="244671"/>
                    </a:lnTo>
                    <a:lnTo>
                      <a:pt x="0" y="243953"/>
                    </a:lnTo>
                    <a:lnTo>
                      <a:pt x="59867" y="0"/>
                    </a:lnTo>
                    <a:close/>
                  </a:path>
                </a:pathLst>
              </a:custGeom>
              <a:grpFill/>
              <a:ln w="5978" cap="flat">
                <a:noFill/>
                <a:prstDash val="solid"/>
                <a:miter/>
              </a:ln>
            </p:spPr>
            <p:txBody>
              <a:bodyPr rtlCol="0" anchor="ctr"/>
              <a:lstStyle/>
              <a:p>
                <a:endParaRPr lang="en-GB"/>
              </a:p>
            </p:txBody>
          </p:sp>
          <p:sp>
            <p:nvSpPr>
              <p:cNvPr id="2514" name="Vrije vorm: vorm 2513">
                <a:extLst>
                  <a:ext uri="{FF2B5EF4-FFF2-40B4-BE49-F238E27FC236}">
                    <a16:creationId xmlns:a16="http://schemas.microsoft.com/office/drawing/2014/main" id="{6367DF47-4F2B-473E-94E8-FC235D071037}"/>
                  </a:ext>
                </a:extLst>
              </p:cNvPr>
              <p:cNvSpPr/>
              <p:nvPr/>
            </p:nvSpPr>
            <p:spPr>
              <a:xfrm>
                <a:off x="5488683" y="5678093"/>
                <a:ext cx="18308" cy="18451"/>
              </a:xfrm>
              <a:custGeom>
                <a:avLst/>
                <a:gdLst>
                  <a:gd name="connsiteX0" fmla="*/ 18026 w 18308"/>
                  <a:gd name="connsiteY0" fmla="*/ 11467 h 18451"/>
                  <a:gd name="connsiteX1" fmla="*/ 6962 w 18308"/>
                  <a:gd name="connsiteY1" fmla="*/ 18165 h 18451"/>
                  <a:gd name="connsiteX2" fmla="*/ 263 w 18308"/>
                  <a:gd name="connsiteY2" fmla="*/ 6981 h 18451"/>
                  <a:gd name="connsiteX3" fmla="*/ 11328 w 18308"/>
                  <a:gd name="connsiteY3" fmla="*/ 283 h 18451"/>
                  <a:gd name="connsiteX4" fmla="*/ 18026 w 18308"/>
                  <a:gd name="connsiteY4" fmla="*/ 11467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51">
                    <a:moveTo>
                      <a:pt x="18026" y="11467"/>
                    </a:moveTo>
                    <a:cubicBezTo>
                      <a:pt x="16830" y="16431"/>
                      <a:pt x="11866" y="19421"/>
                      <a:pt x="6962" y="18165"/>
                    </a:cubicBezTo>
                    <a:cubicBezTo>
                      <a:pt x="2058" y="16909"/>
                      <a:pt x="-933" y="11945"/>
                      <a:pt x="263" y="6981"/>
                    </a:cubicBezTo>
                    <a:cubicBezTo>
                      <a:pt x="1460" y="2077"/>
                      <a:pt x="6423" y="-973"/>
                      <a:pt x="11328" y="283"/>
                    </a:cubicBezTo>
                    <a:cubicBezTo>
                      <a:pt x="16232" y="1539"/>
                      <a:pt x="19282" y="6562"/>
                      <a:pt x="18026" y="11467"/>
                    </a:cubicBezTo>
                    <a:close/>
                  </a:path>
                </a:pathLst>
              </a:custGeom>
              <a:grpFill/>
              <a:ln w="5978" cap="flat">
                <a:noFill/>
                <a:prstDash val="solid"/>
                <a:miter/>
              </a:ln>
            </p:spPr>
            <p:txBody>
              <a:bodyPr rtlCol="0" anchor="ctr"/>
              <a:lstStyle/>
              <a:p>
                <a:endParaRPr lang="en-GB"/>
              </a:p>
            </p:txBody>
          </p:sp>
          <p:sp>
            <p:nvSpPr>
              <p:cNvPr id="2515" name="Vrije vorm: vorm 2514">
                <a:extLst>
                  <a:ext uri="{FF2B5EF4-FFF2-40B4-BE49-F238E27FC236}">
                    <a16:creationId xmlns:a16="http://schemas.microsoft.com/office/drawing/2014/main" id="{985DA72A-DC86-40E1-BC15-D6C461A8FF64}"/>
                  </a:ext>
                </a:extLst>
              </p:cNvPr>
              <p:cNvSpPr/>
              <p:nvPr/>
            </p:nvSpPr>
            <p:spPr>
              <a:xfrm>
                <a:off x="5548371" y="5435033"/>
                <a:ext cx="18289" cy="18432"/>
              </a:xfrm>
              <a:custGeom>
                <a:avLst/>
                <a:gdLst>
                  <a:gd name="connsiteX0" fmla="*/ 18026 w 18289"/>
                  <a:gd name="connsiteY0" fmla="*/ 11471 h 18432"/>
                  <a:gd name="connsiteX1" fmla="*/ 11328 w 18289"/>
                  <a:gd name="connsiteY1" fmla="*/ 286 h 18432"/>
                  <a:gd name="connsiteX2" fmla="*/ 263 w 18289"/>
                  <a:gd name="connsiteY2" fmla="*/ 6985 h 18432"/>
                  <a:gd name="connsiteX3" fmla="*/ 6962 w 18289"/>
                  <a:gd name="connsiteY3" fmla="*/ 18169 h 18432"/>
                  <a:gd name="connsiteX4" fmla="*/ 18026 w 18289"/>
                  <a:gd name="connsiteY4" fmla="*/ 11471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32">
                    <a:moveTo>
                      <a:pt x="18026" y="11471"/>
                    </a:moveTo>
                    <a:cubicBezTo>
                      <a:pt x="19222" y="6507"/>
                      <a:pt x="16232" y="1542"/>
                      <a:pt x="11328" y="286"/>
                    </a:cubicBezTo>
                    <a:cubicBezTo>
                      <a:pt x="6424" y="-969"/>
                      <a:pt x="1460" y="2021"/>
                      <a:pt x="263" y="6985"/>
                    </a:cubicBezTo>
                    <a:cubicBezTo>
                      <a:pt x="-933" y="11889"/>
                      <a:pt x="2058" y="16913"/>
                      <a:pt x="6962" y="18169"/>
                    </a:cubicBezTo>
                    <a:cubicBezTo>
                      <a:pt x="11866" y="19365"/>
                      <a:pt x="16830" y="16374"/>
                      <a:pt x="18026" y="11471"/>
                    </a:cubicBezTo>
                    <a:close/>
                  </a:path>
                </a:pathLst>
              </a:custGeom>
              <a:grpFill/>
              <a:ln w="5978" cap="flat">
                <a:noFill/>
                <a:prstDash val="solid"/>
                <a:miter/>
              </a:ln>
            </p:spPr>
            <p:txBody>
              <a:bodyPr rtlCol="0" anchor="ctr"/>
              <a:lstStyle/>
              <a:p>
                <a:endParaRPr lang="en-GB"/>
              </a:p>
            </p:txBody>
          </p:sp>
        </p:grpSp>
        <p:grpSp>
          <p:nvGrpSpPr>
            <p:cNvPr id="963" name="Graphic 3">
              <a:extLst>
                <a:ext uri="{FF2B5EF4-FFF2-40B4-BE49-F238E27FC236}">
                  <a16:creationId xmlns:a16="http://schemas.microsoft.com/office/drawing/2014/main" id="{D92F7018-E7B1-4069-B185-328E963A04A3}"/>
                </a:ext>
              </a:extLst>
            </p:cNvPr>
            <p:cNvGrpSpPr/>
            <p:nvPr/>
          </p:nvGrpSpPr>
          <p:grpSpPr>
            <a:xfrm>
              <a:off x="5498479" y="5457692"/>
              <a:ext cx="102839" cy="392586"/>
              <a:chOff x="5498479" y="5457692"/>
              <a:chExt cx="102839" cy="392586"/>
            </a:xfrm>
            <a:grpFill/>
          </p:grpSpPr>
          <p:sp>
            <p:nvSpPr>
              <p:cNvPr id="2510" name="Vrije vorm: vorm 2509">
                <a:extLst>
                  <a:ext uri="{FF2B5EF4-FFF2-40B4-BE49-F238E27FC236}">
                    <a16:creationId xmlns:a16="http://schemas.microsoft.com/office/drawing/2014/main" id="{F7640267-A67C-4E68-A436-DF736CD517B3}"/>
                  </a:ext>
                </a:extLst>
              </p:cNvPr>
              <p:cNvSpPr/>
              <p:nvPr/>
            </p:nvSpPr>
            <p:spPr>
              <a:xfrm>
                <a:off x="5506051" y="5466120"/>
                <a:ext cx="87737" cy="375768"/>
              </a:xfrm>
              <a:custGeom>
                <a:avLst/>
                <a:gdLst>
                  <a:gd name="connsiteX0" fmla="*/ 87737 w 87737"/>
                  <a:gd name="connsiteY0" fmla="*/ 658 h 375768"/>
                  <a:gd name="connsiteX1" fmla="*/ 2990 w 87737"/>
                  <a:gd name="connsiteY1" fmla="*/ 375769 h 375768"/>
                  <a:gd name="connsiteX2" fmla="*/ 0 w 87737"/>
                  <a:gd name="connsiteY2" fmla="*/ 375051 h 375768"/>
                  <a:gd name="connsiteX3" fmla="*/ 84747 w 87737"/>
                  <a:gd name="connsiteY3" fmla="*/ 0 h 375768"/>
                </a:gdLst>
                <a:ahLst/>
                <a:cxnLst>
                  <a:cxn ang="0">
                    <a:pos x="connsiteX0" y="connsiteY0"/>
                  </a:cxn>
                  <a:cxn ang="0">
                    <a:pos x="connsiteX1" y="connsiteY1"/>
                  </a:cxn>
                  <a:cxn ang="0">
                    <a:pos x="connsiteX2" y="connsiteY2"/>
                  </a:cxn>
                  <a:cxn ang="0">
                    <a:pos x="connsiteX3" y="connsiteY3"/>
                  </a:cxn>
                </a:cxnLst>
                <a:rect l="l" t="t" r="r" b="b"/>
                <a:pathLst>
                  <a:path w="87737" h="375768">
                    <a:moveTo>
                      <a:pt x="87737" y="658"/>
                    </a:moveTo>
                    <a:lnTo>
                      <a:pt x="2990" y="375769"/>
                    </a:lnTo>
                    <a:lnTo>
                      <a:pt x="0" y="375051"/>
                    </a:lnTo>
                    <a:lnTo>
                      <a:pt x="84747" y="0"/>
                    </a:lnTo>
                    <a:close/>
                  </a:path>
                </a:pathLst>
              </a:custGeom>
              <a:grpFill/>
              <a:ln w="5978" cap="flat">
                <a:noFill/>
                <a:prstDash val="solid"/>
                <a:miter/>
              </a:ln>
            </p:spPr>
            <p:txBody>
              <a:bodyPr rtlCol="0" anchor="ctr"/>
              <a:lstStyle/>
              <a:p>
                <a:endParaRPr lang="en-GB"/>
              </a:p>
            </p:txBody>
          </p:sp>
          <p:sp>
            <p:nvSpPr>
              <p:cNvPr id="2511" name="Vrije vorm: vorm 2510">
                <a:extLst>
                  <a:ext uri="{FF2B5EF4-FFF2-40B4-BE49-F238E27FC236}">
                    <a16:creationId xmlns:a16="http://schemas.microsoft.com/office/drawing/2014/main" id="{6D1FC5FE-6328-429F-A65B-B57E46286545}"/>
                  </a:ext>
                </a:extLst>
              </p:cNvPr>
              <p:cNvSpPr/>
              <p:nvPr/>
            </p:nvSpPr>
            <p:spPr>
              <a:xfrm>
                <a:off x="5498479" y="5831824"/>
                <a:ext cx="18332" cy="18454"/>
              </a:xfrm>
              <a:custGeom>
                <a:avLst/>
                <a:gdLst>
                  <a:gd name="connsiteX0" fmla="*/ 18098 w 18332"/>
                  <a:gd name="connsiteY0" fmla="*/ 11320 h 18454"/>
                  <a:gd name="connsiteX1" fmla="*/ 7153 w 18332"/>
                  <a:gd name="connsiteY1" fmla="*/ 18198 h 18454"/>
                  <a:gd name="connsiteX2" fmla="*/ 216 w 18332"/>
                  <a:gd name="connsiteY2" fmla="*/ 7134 h 18454"/>
                  <a:gd name="connsiteX3" fmla="*/ 11161 w 18332"/>
                  <a:gd name="connsiteY3" fmla="*/ 256 h 18454"/>
                  <a:gd name="connsiteX4" fmla="*/ 18098 w 18332"/>
                  <a:gd name="connsiteY4" fmla="*/ 11320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54">
                    <a:moveTo>
                      <a:pt x="18098" y="11320"/>
                    </a:moveTo>
                    <a:cubicBezTo>
                      <a:pt x="16962" y="16284"/>
                      <a:pt x="12058" y="19395"/>
                      <a:pt x="7153" y="18198"/>
                    </a:cubicBezTo>
                    <a:cubicBezTo>
                      <a:pt x="2190" y="17062"/>
                      <a:pt x="-861" y="12098"/>
                      <a:pt x="216" y="7134"/>
                    </a:cubicBezTo>
                    <a:cubicBezTo>
                      <a:pt x="1352" y="2170"/>
                      <a:pt x="6256" y="-940"/>
                      <a:pt x="11161" y="256"/>
                    </a:cubicBezTo>
                    <a:cubicBezTo>
                      <a:pt x="16124" y="1452"/>
                      <a:pt x="19234" y="6357"/>
                      <a:pt x="18098" y="11320"/>
                    </a:cubicBezTo>
                    <a:close/>
                  </a:path>
                </a:pathLst>
              </a:custGeom>
              <a:grpFill/>
              <a:ln w="5978" cap="flat">
                <a:noFill/>
                <a:prstDash val="solid"/>
                <a:miter/>
              </a:ln>
            </p:spPr>
            <p:txBody>
              <a:bodyPr rtlCol="0" anchor="ctr"/>
              <a:lstStyle/>
              <a:p>
                <a:endParaRPr lang="en-GB"/>
              </a:p>
            </p:txBody>
          </p:sp>
          <p:sp>
            <p:nvSpPr>
              <p:cNvPr id="2512" name="Vrije vorm: vorm 2511">
                <a:extLst>
                  <a:ext uri="{FF2B5EF4-FFF2-40B4-BE49-F238E27FC236}">
                    <a16:creationId xmlns:a16="http://schemas.microsoft.com/office/drawing/2014/main" id="{7CD57B95-7182-47F4-B3ED-3394210CF335}"/>
                  </a:ext>
                </a:extLst>
              </p:cNvPr>
              <p:cNvSpPr/>
              <p:nvPr/>
            </p:nvSpPr>
            <p:spPr>
              <a:xfrm>
                <a:off x="5582969" y="5457692"/>
                <a:ext cx="18350" cy="18413"/>
              </a:xfrm>
              <a:custGeom>
                <a:avLst/>
                <a:gdLst>
                  <a:gd name="connsiteX0" fmla="*/ 18116 w 18350"/>
                  <a:gd name="connsiteY0" fmla="*/ 11298 h 18413"/>
                  <a:gd name="connsiteX1" fmla="*/ 11179 w 18350"/>
                  <a:gd name="connsiteY1" fmla="*/ 234 h 18413"/>
                  <a:gd name="connsiteX2" fmla="*/ 234 w 18350"/>
                  <a:gd name="connsiteY2" fmla="*/ 7112 h 18413"/>
                  <a:gd name="connsiteX3" fmla="*/ 7172 w 18350"/>
                  <a:gd name="connsiteY3" fmla="*/ 18176 h 18413"/>
                  <a:gd name="connsiteX4" fmla="*/ 18116 w 18350"/>
                  <a:gd name="connsiteY4" fmla="*/ 1129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3">
                    <a:moveTo>
                      <a:pt x="18116" y="11298"/>
                    </a:moveTo>
                    <a:cubicBezTo>
                      <a:pt x="19253" y="6335"/>
                      <a:pt x="16143" y="1371"/>
                      <a:pt x="11179" y="234"/>
                    </a:cubicBezTo>
                    <a:cubicBezTo>
                      <a:pt x="6215" y="-902"/>
                      <a:pt x="1311" y="2208"/>
                      <a:pt x="234" y="7112"/>
                    </a:cubicBezTo>
                    <a:cubicBezTo>
                      <a:pt x="-902" y="12076"/>
                      <a:pt x="2208" y="17040"/>
                      <a:pt x="7172" y="18176"/>
                    </a:cubicBezTo>
                    <a:cubicBezTo>
                      <a:pt x="12136" y="19313"/>
                      <a:pt x="17040" y="16263"/>
                      <a:pt x="18116" y="11298"/>
                    </a:cubicBezTo>
                    <a:close/>
                  </a:path>
                </a:pathLst>
              </a:custGeom>
              <a:grpFill/>
              <a:ln w="5978" cap="flat">
                <a:noFill/>
                <a:prstDash val="solid"/>
                <a:miter/>
              </a:ln>
            </p:spPr>
            <p:txBody>
              <a:bodyPr rtlCol="0" anchor="ctr"/>
              <a:lstStyle/>
              <a:p>
                <a:endParaRPr lang="en-GB"/>
              </a:p>
            </p:txBody>
          </p:sp>
        </p:grpSp>
        <p:grpSp>
          <p:nvGrpSpPr>
            <p:cNvPr id="964" name="Graphic 3">
              <a:extLst>
                <a:ext uri="{FF2B5EF4-FFF2-40B4-BE49-F238E27FC236}">
                  <a16:creationId xmlns:a16="http://schemas.microsoft.com/office/drawing/2014/main" id="{D18F513A-C9A1-4771-BB44-809284BF3C84}"/>
                </a:ext>
              </a:extLst>
            </p:cNvPr>
            <p:cNvGrpSpPr/>
            <p:nvPr/>
          </p:nvGrpSpPr>
          <p:grpSpPr>
            <a:xfrm>
              <a:off x="5282121" y="4933634"/>
              <a:ext cx="53552" cy="92327"/>
              <a:chOff x="5282121" y="4933634"/>
              <a:chExt cx="53552" cy="92327"/>
            </a:xfrm>
            <a:grpFill/>
          </p:grpSpPr>
          <p:sp>
            <p:nvSpPr>
              <p:cNvPr id="2507" name="Vrije vorm: vorm 2506">
                <a:extLst>
                  <a:ext uri="{FF2B5EF4-FFF2-40B4-BE49-F238E27FC236}">
                    <a16:creationId xmlns:a16="http://schemas.microsoft.com/office/drawing/2014/main" id="{F5A36A72-3F44-4794-8355-61AFEC189C88}"/>
                  </a:ext>
                </a:extLst>
              </p:cNvPr>
              <p:cNvSpPr/>
              <p:nvPr/>
            </p:nvSpPr>
            <p:spPr>
              <a:xfrm>
                <a:off x="5289669" y="4941791"/>
                <a:ext cx="38456" cy="76014"/>
              </a:xfrm>
              <a:custGeom>
                <a:avLst/>
                <a:gdLst>
                  <a:gd name="connsiteX0" fmla="*/ 38456 w 38456"/>
                  <a:gd name="connsiteY0" fmla="*/ 1375 h 76014"/>
                  <a:gd name="connsiteX1" fmla="*/ 2751 w 38456"/>
                  <a:gd name="connsiteY1" fmla="*/ 76015 h 76014"/>
                  <a:gd name="connsiteX2" fmla="*/ 0 w 38456"/>
                  <a:gd name="connsiteY2" fmla="*/ 74699 h 76014"/>
                  <a:gd name="connsiteX3" fmla="*/ 35705 w 38456"/>
                  <a:gd name="connsiteY3" fmla="*/ 0 h 76014"/>
                </a:gdLst>
                <a:ahLst/>
                <a:cxnLst>
                  <a:cxn ang="0">
                    <a:pos x="connsiteX0" y="connsiteY0"/>
                  </a:cxn>
                  <a:cxn ang="0">
                    <a:pos x="connsiteX1" y="connsiteY1"/>
                  </a:cxn>
                  <a:cxn ang="0">
                    <a:pos x="connsiteX2" y="connsiteY2"/>
                  </a:cxn>
                  <a:cxn ang="0">
                    <a:pos x="connsiteX3" y="connsiteY3"/>
                  </a:cxn>
                </a:cxnLst>
                <a:rect l="l" t="t" r="r" b="b"/>
                <a:pathLst>
                  <a:path w="38456" h="76014">
                    <a:moveTo>
                      <a:pt x="38456" y="1375"/>
                    </a:moveTo>
                    <a:lnTo>
                      <a:pt x="2751" y="76015"/>
                    </a:lnTo>
                    <a:lnTo>
                      <a:pt x="0" y="74699"/>
                    </a:lnTo>
                    <a:lnTo>
                      <a:pt x="35705" y="0"/>
                    </a:lnTo>
                    <a:close/>
                  </a:path>
                </a:pathLst>
              </a:custGeom>
              <a:grpFill/>
              <a:ln w="5978" cap="flat">
                <a:noFill/>
                <a:prstDash val="solid"/>
                <a:miter/>
              </a:ln>
            </p:spPr>
            <p:txBody>
              <a:bodyPr rtlCol="0" anchor="ctr"/>
              <a:lstStyle/>
              <a:p>
                <a:endParaRPr lang="en-GB"/>
              </a:p>
            </p:txBody>
          </p:sp>
          <p:sp>
            <p:nvSpPr>
              <p:cNvPr id="2508" name="Vrije vorm: vorm 2507">
                <a:extLst>
                  <a:ext uri="{FF2B5EF4-FFF2-40B4-BE49-F238E27FC236}">
                    <a16:creationId xmlns:a16="http://schemas.microsoft.com/office/drawing/2014/main" id="{C9AB5D41-A008-447B-B645-4A61652ED85B}"/>
                  </a:ext>
                </a:extLst>
              </p:cNvPr>
              <p:cNvSpPr/>
              <p:nvPr/>
            </p:nvSpPr>
            <p:spPr>
              <a:xfrm>
                <a:off x="5282121" y="5007496"/>
                <a:ext cx="18299" cy="18465"/>
              </a:xfrm>
              <a:custGeom>
                <a:avLst/>
                <a:gdLst>
                  <a:gd name="connsiteX0" fmla="*/ 17416 w 18299"/>
                  <a:gd name="connsiteY0" fmla="*/ 13240 h 18465"/>
                  <a:gd name="connsiteX1" fmla="*/ 5216 w 18299"/>
                  <a:gd name="connsiteY1" fmla="*/ 17546 h 18465"/>
                  <a:gd name="connsiteX2" fmla="*/ 910 w 18299"/>
                  <a:gd name="connsiteY2" fmla="*/ 5226 h 18465"/>
                  <a:gd name="connsiteX3" fmla="*/ 13110 w 18299"/>
                  <a:gd name="connsiteY3" fmla="*/ 920 h 18465"/>
                  <a:gd name="connsiteX4" fmla="*/ 17416 w 18299"/>
                  <a:gd name="connsiteY4" fmla="*/ 1324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65">
                    <a:moveTo>
                      <a:pt x="17416" y="13240"/>
                    </a:moveTo>
                    <a:cubicBezTo>
                      <a:pt x="15204" y="17845"/>
                      <a:pt x="9761" y="19759"/>
                      <a:pt x="5216" y="17546"/>
                    </a:cubicBezTo>
                    <a:cubicBezTo>
                      <a:pt x="670" y="15333"/>
                      <a:pt x="-1303" y="9831"/>
                      <a:pt x="910" y="5226"/>
                    </a:cubicBezTo>
                    <a:cubicBezTo>
                      <a:pt x="3122" y="621"/>
                      <a:pt x="8565" y="-1293"/>
                      <a:pt x="13110" y="920"/>
                    </a:cubicBezTo>
                    <a:cubicBezTo>
                      <a:pt x="17656" y="3133"/>
                      <a:pt x="19569" y="8635"/>
                      <a:pt x="17416" y="13240"/>
                    </a:cubicBezTo>
                    <a:close/>
                  </a:path>
                </a:pathLst>
              </a:custGeom>
              <a:grpFill/>
              <a:ln w="5978" cap="flat">
                <a:noFill/>
                <a:prstDash val="solid"/>
                <a:miter/>
              </a:ln>
            </p:spPr>
            <p:txBody>
              <a:bodyPr rtlCol="0" anchor="ctr"/>
              <a:lstStyle/>
              <a:p>
                <a:endParaRPr lang="en-GB"/>
              </a:p>
            </p:txBody>
          </p:sp>
          <p:sp>
            <p:nvSpPr>
              <p:cNvPr id="2509" name="Vrije vorm: vorm 2508">
                <a:extLst>
                  <a:ext uri="{FF2B5EF4-FFF2-40B4-BE49-F238E27FC236}">
                    <a16:creationId xmlns:a16="http://schemas.microsoft.com/office/drawing/2014/main" id="{8C5ECB1F-C260-41D9-8A16-8C1B56D9D27B}"/>
                  </a:ext>
                </a:extLst>
              </p:cNvPr>
              <p:cNvSpPr/>
              <p:nvPr/>
            </p:nvSpPr>
            <p:spPr>
              <a:xfrm>
                <a:off x="5317347" y="4933634"/>
                <a:ext cx="18325" cy="18466"/>
              </a:xfrm>
              <a:custGeom>
                <a:avLst/>
                <a:gdLst>
                  <a:gd name="connsiteX0" fmla="*/ 17416 w 18325"/>
                  <a:gd name="connsiteY0" fmla="*/ 13240 h 18466"/>
                  <a:gd name="connsiteX1" fmla="*/ 13110 w 18325"/>
                  <a:gd name="connsiteY1" fmla="*/ 920 h 18466"/>
                  <a:gd name="connsiteX2" fmla="*/ 910 w 18325"/>
                  <a:gd name="connsiteY2" fmla="*/ 5226 h 18466"/>
                  <a:gd name="connsiteX3" fmla="*/ 5216 w 18325"/>
                  <a:gd name="connsiteY3" fmla="*/ 17546 h 18466"/>
                  <a:gd name="connsiteX4" fmla="*/ 17416 w 18325"/>
                  <a:gd name="connsiteY4" fmla="*/ 13240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6">
                    <a:moveTo>
                      <a:pt x="17416" y="13240"/>
                    </a:moveTo>
                    <a:cubicBezTo>
                      <a:pt x="19629" y="8635"/>
                      <a:pt x="17656" y="3133"/>
                      <a:pt x="13110" y="920"/>
                    </a:cubicBezTo>
                    <a:cubicBezTo>
                      <a:pt x="8565" y="-1293"/>
                      <a:pt x="3063" y="621"/>
                      <a:pt x="910" y="5226"/>
                    </a:cubicBezTo>
                    <a:cubicBezTo>
                      <a:pt x="-1303" y="9831"/>
                      <a:pt x="670" y="15333"/>
                      <a:pt x="5216" y="17546"/>
                    </a:cubicBezTo>
                    <a:cubicBezTo>
                      <a:pt x="9761" y="19759"/>
                      <a:pt x="15263" y="17845"/>
                      <a:pt x="17416" y="13240"/>
                    </a:cubicBezTo>
                    <a:close/>
                  </a:path>
                </a:pathLst>
              </a:custGeom>
              <a:grpFill/>
              <a:ln w="5978" cap="flat">
                <a:noFill/>
                <a:prstDash val="solid"/>
                <a:miter/>
              </a:ln>
            </p:spPr>
            <p:txBody>
              <a:bodyPr rtlCol="0" anchor="ctr"/>
              <a:lstStyle/>
              <a:p>
                <a:endParaRPr lang="en-GB"/>
              </a:p>
            </p:txBody>
          </p:sp>
        </p:grpSp>
        <p:grpSp>
          <p:nvGrpSpPr>
            <p:cNvPr id="965" name="Graphic 3">
              <a:extLst>
                <a:ext uri="{FF2B5EF4-FFF2-40B4-BE49-F238E27FC236}">
                  <a16:creationId xmlns:a16="http://schemas.microsoft.com/office/drawing/2014/main" id="{03B6EFA5-25AA-4104-94A1-DFFE4707484D}"/>
                </a:ext>
              </a:extLst>
            </p:cNvPr>
            <p:cNvGrpSpPr/>
            <p:nvPr/>
          </p:nvGrpSpPr>
          <p:grpSpPr>
            <a:xfrm>
              <a:off x="5283306" y="4961229"/>
              <a:ext cx="109101" cy="228282"/>
              <a:chOff x="5283306" y="4961229"/>
              <a:chExt cx="109101" cy="228282"/>
            </a:xfrm>
            <a:grpFill/>
          </p:grpSpPr>
          <p:sp>
            <p:nvSpPr>
              <p:cNvPr id="2504" name="Vrije vorm: vorm 2503">
                <a:extLst>
                  <a:ext uri="{FF2B5EF4-FFF2-40B4-BE49-F238E27FC236}">
                    <a16:creationId xmlns:a16="http://schemas.microsoft.com/office/drawing/2014/main" id="{11C6E957-9F2A-47B7-ABB7-0219503D20D1}"/>
                  </a:ext>
                </a:extLst>
              </p:cNvPr>
              <p:cNvSpPr/>
              <p:nvPr/>
            </p:nvSpPr>
            <p:spPr>
              <a:xfrm>
                <a:off x="5290925" y="4969422"/>
                <a:ext cx="93897" cy="211956"/>
              </a:xfrm>
              <a:custGeom>
                <a:avLst/>
                <a:gdLst>
                  <a:gd name="connsiteX0" fmla="*/ 93897 w 93897"/>
                  <a:gd name="connsiteY0" fmla="*/ 1196 h 211956"/>
                  <a:gd name="connsiteX1" fmla="*/ 2751 w 93897"/>
                  <a:gd name="connsiteY1" fmla="*/ 211957 h 211956"/>
                  <a:gd name="connsiteX2" fmla="*/ 0 w 93897"/>
                  <a:gd name="connsiteY2" fmla="*/ 210701 h 211956"/>
                  <a:gd name="connsiteX3" fmla="*/ 91146 w 93897"/>
                  <a:gd name="connsiteY3" fmla="*/ 0 h 211956"/>
                </a:gdLst>
                <a:ahLst/>
                <a:cxnLst>
                  <a:cxn ang="0">
                    <a:pos x="connsiteX0" y="connsiteY0"/>
                  </a:cxn>
                  <a:cxn ang="0">
                    <a:pos x="connsiteX1" y="connsiteY1"/>
                  </a:cxn>
                  <a:cxn ang="0">
                    <a:pos x="connsiteX2" y="connsiteY2"/>
                  </a:cxn>
                  <a:cxn ang="0">
                    <a:pos x="connsiteX3" y="connsiteY3"/>
                  </a:cxn>
                </a:cxnLst>
                <a:rect l="l" t="t" r="r" b="b"/>
                <a:pathLst>
                  <a:path w="93897" h="211956">
                    <a:moveTo>
                      <a:pt x="93897" y="1196"/>
                    </a:moveTo>
                    <a:lnTo>
                      <a:pt x="2751" y="211957"/>
                    </a:lnTo>
                    <a:lnTo>
                      <a:pt x="0" y="210701"/>
                    </a:lnTo>
                    <a:lnTo>
                      <a:pt x="91146" y="0"/>
                    </a:lnTo>
                    <a:close/>
                  </a:path>
                </a:pathLst>
              </a:custGeom>
              <a:grpFill/>
              <a:ln w="5978" cap="flat">
                <a:noFill/>
                <a:prstDash val="solid"/>
                <a:miter/>
              </a:ln>
            </p:spPr>
            <p:txBody>
              <a:bodyPr rtlCol="0" anchor="ctr"/>
              <a:lstStyle/>
              <a:p>
                <a:endParaRPr lang="en-GB"/>
              </a:p>
            </p:txBody>
          </p:sp>
          <p:sp>
            <p:nvSpPr>
              <p:cNvPr id="2505" name="Vrije vorm: vorm 2504">
                <a:extLst>
                  <a:ext uri="{FF2B5EF4-FFF2-40B4-BE49-F238E27FC236}">
                    <a16:creationId xmlns:a16="http://schemas.microsoft.com/office/drawing/2014/main" id="{62F21B3F-DEFF-4AEB-82C4-9C61CD53FBB2}"/>
                  </a:ext>
                </a:extLst>
              </p:cNvPr>
              <p:cNvSpPr/>
              <p:nvPr/>
            </p:nvSpPr>
            <p:spPr>
              <a:xfrm>
                <a:off x="5283306" y="5171092"/>
                <a:ext cx="18348" cy="18418"/>
              </a:xfrm>
              <a:custGeom>
                <a:avLst/>
                <a:gdLst>
                  <a:gd name="connsiteX0" fmla="*/ 17607 w 18348"/>
                  <a:gd name="connsiteY0" fmla="*/ 12917 h 18418"/>
                  <a:gd name="connsiteX1" fmla="*/ 5526 w 18348"/>
                  <a:gd name="connsiteY1" fmla="*/ 17642 h 18418"/>
                  <a:gd name="connsiteX2" fmla="*/ 741 w 18348"/>
                  <a:gd name="connsiteY2" fmla="*/ 5501 h 18418"/>
                  <a:gd name="connsiteX3" fmla="*/ 12822 w 18348"/>
                  <a:gd name="connsiteY3" fmla="*/ 776 h 18418"/>
                  <a:gd name="connsiteX4" fmla="*/ 17607 w 18348"/>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8">
                    <a:moveTo>
                      <a:pt x="17607" y="12917"/>
                    </a:moveTo>
                    <a:cubicBezTo>
                      <a:pt x="15573" y="17582"/>
                      <a:pt x="10191" y="19676"/>
                      <a:pt x="5526" y="17642"/>
                    </a:cubicBezTo>
                    <a:cubicBezTo>
                      <a:pt x="861" y="15609"/>
                      <a:pt x="-1232" y="10166"/>
                      <a:pt x="741" y="5501"/>
                    </a:cubicBezTo>
                    <a:cubicBezTo>
                      <a:pt x="2775" y="836"/>
                      <a:pt x="8157" y="-1257"/>
                      <a:pt x="12822" y="776"/>
                    </a:cubicBezTo>
                    <a:cubicBezTo>
                      <a:pt x="17487" y="2870"/>
                      <a:pt x="19581" y="8312"/>
                      <a:pt x="17607" y="12917"/>
                    </a:cubicBezTo>
                    <a:close/>
                  </a:path>
                </a:pathLst>
              </a:custGeom>
              <a:grpFill/>
              <a:ln w="5978" cap="flat">
                <a:noFill/>
                <a:prstDash val="solid"/>
                <a:miter/>
              </a:ln>
            </p:spPr>
            <p:txBody>
              <a:bodyPr rtlCol="0" anchor="ctr"/>
              <a:lstStyle/>
              <a:p>
                <a:endParaRPr lang="en-GB"/>
              </a:p>
            </p:txBody>
          </p:sp>
          <p:sp>
            <p:nvSpPr>
              <p:cNvPr id="2506" name="Vrije vorm: vorm 2505">
                <a:extLst>
                  <a:ext uri="{FF2B5EF4-FFF2-40B4-BE49-F238E27FC236}">
                    <a16:creationId xmlns:a16="http://schemas.microsoft.com/office/drawing/2014/main" id="{F66F8DDB-BE19-4EF5-A915-63301B8450C0}"/>
                  </a:ext>
                </a:extLst>
              </p:cNvPr>
              <p:cNvSpPr/>
              <p:nvPr/>
            </p:nvSpPr>
            <p:spPr>
              <a:xfrm>
                <a:off x="5374008" y="4961229"/>
                <a:ext cx="18399" cy="18418"/>
              </a:xfrm>
              <a:custGeom>
                <a:avLst/>
                <a:gdLst>
                  <a:gd name="connsiteX0" fmla="*/ 17632 w 18399"/>
                  <a:gd name="connsiteY0" fmla="*/ 12917 h 18418"/>
                  <a:gd name="connsiteX1" fmla="*/ 12848 w 18399"/>
                  <a:gd name="connsiteY1" fmla="*/ 777 h 18418"/>
                  <a:gd name="connsiteX2" fmla="*/ 767 w 18399"/>
                  <a:gd name="connsiteY2" fmla="*/ 5501 h 18418"/>
                  <a:gd name="connsiteX3" fmla="*/ 5551 w 18399"/>
                  <a:gd name="connsiteY3" fmla="*/ 17642 h 18418"/>
                  <a:gd name="connsiteX4" fmla="*/ 17632 w 18399"/>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9" h="18418">
                    <a:moveTo>
                      <a:pt x="17632" y="12917"/>
                    </a:moveTo>
                    <a:cubicBezTo>
                      <a:pt x="19666" y="8252"/>
                      <a:pt x="17513" y="2810"/>
                      <a:pt x="12848" y="777"/>
                    </a:cubicBezTo>
                    <a:cubicBezTo>
                      <a:pt x="8183" y="-1257"/>
                      <a:pt x="2800" y="836"/>
                      <a:pt x="767" y="5501"/>
                    </a:cubicBezTo>
                    <a:cubicBezTo>
                      <a:pt x="-1267" y="10166"/>
                      <a:pt x="886" y="15609"/>
                      <a:pt x="5551" y="17642"/>
                    </a:cubicBezTo>
                    <a:cubicBezTo>
                      <a:pt x="10276" y="19676"/>
                      <a:pt x="15659" y="17582"/>
                      <a:pt x="17632" y="12917"/>
                    </a:cubicBezTo>
                    <a:close/>
                  </a:path>
                </a:pathLst>
              </a:custGeom>
              <a:grpFill/>
              <a:ln w="5978" cap="flat">
                <a:noFill/>
                <a:prstDash val="solid"/>
                <a:miter/>
              </a:ln>
            </p:spPr>
            <p:txBody>
              <a:bodyPr rtlCol="0" anchor="ctr"/>
              <a:lstStyle/>
              <a:p>
                <a:endParaRPr lang="en-GB"/>
              </a:p>
            </p:txBody>
          </p:sp>
        </p:grpSp>
        <p:grpSp>
          <p:nvGrpSpPr>
            <p:cNvPr id="966" name="Graphic 3">
              <a:extLst>
                <a:ext uri="{FF2B5EF4-FFF2-40B4-BE49-F238E27FC236}">
                  <a16:creationId xmlns:a16="http://schemas.microsoft.com/office/drawing/2014/main" id="{83D91385-673E-49BE-800D-1AC07CE37F8B}"/>
                </a:ext>
              </a:extLst>
            </p:cNvPr>
            <p:cNvGrpSpPr/>
            <p:nvPr/>
          </p:nvGrpSpPr>
          <p:grpSpPr>
            <a:xfrm>
              <a:off x="5272597" y="4904743"/>
              <a:ext cx="42325" cy="66259"/>
              <a:chOff x="5272597" y="4904743"/>
              <a:chExt cx="42325" cy="66259"/>
            </a:xfrm>
            <a:grpFill/>
          </p:grpSpPr>
          <p:sp>
            <p:nvSpPr>
              <p:cNvPr id="2501" name="Vrije vorm: vorm 2500">
                <a:extLst>
                  <a:ext uri="{FF2B5EF4-FFF2-40B4-BE49-F238E27FC236}">
                    <a16:creationId xmlns:a16="http://schemas.microsoft.com/office/drawing/2014/main" id="{18CF4AB9-8BB1-46AA-84FF-0556368D05D0}"/>
                  </a:ext>
                </a:extLst>
              </p:cNvPr>
              <p:cNvSpPr/>
              <p:nvPr/>
            </p:nvSpPr>
            <p:spPr>
              <a:xfrm>
                <a:off x="5280219" y="4912844"/>
                <a:ext cx="27092" cy="50058"/>
              </a:xfrm>
              <a:custGeom>
                <a:avLst/>
                <a:gdLst>
                  <a:gd name="connsiteX0" fmla="*/ 27093 w 27092"/>
                  <a:gd name="connsiteY0" fmla="*/ 1376 h 50058"/>
                  <a:gd name="connsiteX1" fmla="*/ 2751 w 27092"/>
                  <a:gd name="connsiteY1" fmla="*/ 50059 h 50058"/>
                  <a:gd name="connsiteX2" fmla="*/ 0 w 27092"/>
                  <a:gd name="connsiteY2" fmla="*/ 48683 h 50058"/>
                  <a:gd name="connsiteX3" fmla="*/ 24401 w 27092"/>
                  <a:gd name="connsiteY3" fmla="*/ 0 h 50058"/>
                </a:gdLst>
                <a:ahLst/>
                <a:cxnLst>
                  <a:cxn ang="0">
                    <a:pos x="connsiteX0" y="connsiteY0"/>
                  </a:cxn>
                  <a:cxn ang="0">
                    <a:pos x="connsiteX1" y="connsiteY1"/>
                  </a:cxn>
                  <a:cxn ang="0">
                    <a:pos x="connsiteX2" y="connsiteY2"/>
                  </a:cxn>
                  <a:cxn ang="0">
                    <a:pos x="connsiteX3" y="connsiteY3"/>
                  </a:cxn>
                </a:cxnLst>
                <a:rect l="l" t="t" r="r" b="b"/>
                <a:pathLst>
                  <a:path w="27092" h="50058">
                    <a:moveTo>
                      <a:pt x="27093" y="1376"/>
                    </a:moveTo>
                    <a:lnTo>
                      <a:pt x="2751" y="50059"/>
                    </a:lnTo>
                    <a:lnTo>
                      <a:pt x="0" y="48683"/>
                    </a:lnTo>
                    <a:lnTo>
                      <a:pt x="24401" y="0"/>
                    </a:lnTo>
                    <a:close/>
                  </a:path>
                </a:pathLst>
              </a:custGeom>
              <a:grpFill/>
              <a:ln w="5978" cap="flat">
                <a:noFill/>
                <a:prstDash val="solid"/>
                <a:miter/>
              </a:ln>
            </p:spPr>
            <p:txBody>
              <a:bodyPr rtlCol="0" anchor="ctr"/>
              <a:lstStyle/>
              <a:p>
                <a:endParaRPr lang="en-GB"/>
              </a:p>
            </p:txBody>
          </p:sp>
          <p:sp>
            <p:nvSpPr>
              <p:cNvPr id="2502" name="Vrije vorm: vorm 2501">
                <a:extLst>
                  <a:ext uri="{FF2B5EF4-FFF2-40B4-BE49-F238E27FC236}">
                    <a16:creationId xmlns:a16="http://schemas.microsoft.com/office/drawing/2014/main" id="{F8379163-AEDE-403E-B3E4-606C97B94E89}"/>
                  </a:ext>
                </a:extLst>
              </p:cNvPr>
              <p:cNvSpPr/>
              <p:nvPr/>
            </p:nvSpPr>
            <p:spPr>
              <a:xfrm>
                <a:off x="5272597" y="4952589"/>
                <a:ext cx="18353" cy="18413"/>
              </a:xfrm>
              <a:custGeom>
                <a:avLst/>
                <a:gdLst>
                  <a:gd name="connsiteX0" fmla="*/ 17371 w 18353"/>
                  <a:gd name="connsiteY0" fmla="*/ 13363 h 18413"/>
                  <a:gd name="connsiteX1" fmla="*/ 5050 w 18353"/>
                  <a:gd name="connsiteY1" fmla="*/ 17430 h 18413"/>
                  <a:gd name="connsiteX2" fmla="*/ 983 w 18353"/>
                  <a:gd name="connsiteY2" fmla="*/ 5050 h 18413"/>
                  <a:gd name="connsiteX3" fmla="*/ 13304 w 18353"/>
                  <a:gd name="connsiteY3" fmla="*/ 983 h 18413"/>
                  <a:gd name="connsiteX4" fmla="*/ 17371 w 18353"/>
                  <a:gd name="connsiteY4" fmla="*/ 13363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3">
                    <a:moveTo>
                      <a:pt x="17371" y="13363"/>
                    </a:moveTo>
                    <a:cubicBezTo>
                      <a:pt x="15098" y="17909"/>
                      <a:pt x="9596" y="19703"/>
                      <a:pt x="5050" y="17430"/>
                    </a:cubicBezTo>
                    <a:cubicBezTo>
                      <a:pt x="505" y="15158"/>
                      <a:pt x="-1289" y="9596"/>
                      <a:pt x="983" y="5050"/>
                    </a:cubicBezTo>
                    <a:cubicBezTo>
                      <a:pt x="3256" y="505"/>
                      <a:pt x="8758" y="-1289"/>
                      <a:pt x="13304" y="983"/>
                    </a:cubicBezTo>
                    <a:cubicBezTo>
                      <a:pt x="17849" y="3316"/>
                      <a:pt x="19643" y="8878"/>
                      <a:pt x="17371" y="13363"/>
                    </a:cubicBezTo>
                    <a:close/>
                  </a:path>
                </a:pathLst>
              </a:custGeom>
              <a:grpFill/>
              <a:ln w="5978" cap="flat">
                <a:noFill/>
                <a:prstDash val="solid"/>
                <a:miter/>
              </a:ln>
            </p:spPr>
            <p:txBody>
              <a:bodyPr rtlCol="0" anchor="ctr"/>
              <a:lstStyle/>
              <a:p>
                <a:endParaRPr lang="en-GB"/>
              </a:p>
            </p:txBody>
          </p:sp>
          <p:sp>
            <p:nvSpPr>
              <p:cNvPr id="2503" name="Vrije vorm: vorm 2502">
                <a:extLst>
                  <a:ext uri="{FF2B5EF4-FFF2-40B4-BE49-F238E27FC236}">
                    <a16:creationId xmlns:a16="http://schemas.microsoft.com/office/drawing/2014/main" id="{6CE8CDE5-2B4D-426D-AEF3-4ABF3050042A}"/>
                  </a:ext>
                </a:extLst>
              </p:cNvPr>
              <p:cNvSpPr/>
              <p:nvPr/>
            </p:nvSpPr>
            <p:spPr>
              <a:xfrm>
                <a:off x="5296591" y="4904743"/>
                <a:ext cx="18332" cy="18413"/>
              </a:xfrm>
              <a:custGeom>
                <a:avLst/>
                <a:gdLst>
                  <a:gd name="connsiteX0" fmla="*/ 17360 w 18332"/>
                  <a:gd name="connsiteY0" fmla="*/ 13363 h 18413"/>
                  <a:gd name="connsiteX1" fmla="*/ 13293 w 18332"/>
                  <a:gd name="connsiteY1" fmla="*/ 983 h 18413"/>
                  <a:gd name="connsiteX2" fmla="*/ 973 w 18332"/>
                  <a:gd name="connsiteY2" fmla="*/ 5050 h 18413"/>
                  <a:gd name="connsiteX3" fmla="*/ 5039 w 18332"/>
                  <a:gd name="connsiteY3" fmla="*/ 17430 h 18413"/>
                  <a:gd name="connsiteX4" fmla="*/ 17360 w 18332"/>
                  <a:gd name="connsiteY4" fmla="*/ 13363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13">
                    <a:moveTo>
                      <a:pt x="17360" y="13363"/>
                    </a:moveTo>
                    <a:cubicBezTo>
                      <a:pt x="19632" y="8818"/>
                      <a:pt x="17778" y="3256"/>
                      <a:pt x="13293" y="983"/>
                    </a:cubicBezTo>
                    <a:cubicBezTo>
                      <a:pt x="8747" y="-1289"/>
                      <a:pt x="3245" y="505"/>
                      <a:pt x="973" y="5050"/>
                    </a:cubicBezTo>
                    <a:cubicBezTo>
                      <a:pt x="-1300" y="9596"/>
                      <a:pt x="554" y="15158"/>
                      <a:pt x="5039" y="17430"/>
                    </a:cubicBezTo>
                    <a:cubicBezTo>
                      <a:pt x="9585" y="19703"/>
                      <a:pt x="15087" y="17909"/>
                      <a:pt x="17360" y="13363"/>
                    </a:cubicBezTo>
                    <a:close/>
                  </a:path>
                </a:pathLst>
              </a:custGeom>
              <a:grpFill/>
              <a:ln w="5978" cap="flat">
                <a:noFill/>
                <a:prstDash val="solid"/>
                <a:miter/>
              </a:ln>
            </p:spPr>
            <p:txBody>
              <a:bodyPr rtlCol="0" anchor="ctr"/>
              <a:lstStyle/>
              <a:p>
                <a:endParaRPr lang="en-GB"/>
              </a:p>
            </p:txBody>
          </p:sp>
        </p:grpSp>
        <p:grpSp>
          <p:nvGrpSpPr>
            <p:cNvPr id="967" name="Graphic 3">
              <a:extLst>
                <a:ext uri="{FF2B5EF4-FFF2-40B4-BE49-F238E27FC236}">
                  <a16:creationId xmlns:a16="http://schemas.microsoft.com/office/drawing/2014/main" id="{98DD54EE-4702-47FE-8674-AAD62173D692}"/>
                </a:ext>
              </a:extLst>
            </p:cNvPr>
            <p:cNvGrpSpPr/>
            <p:nvPr/>
          </p:nvGrpSpPr>
          <p:grpSpPr>
            <a:xfrm>
              <a:off x="5310089" y="5027813"/>
              <a:ext cx="291544" cy="808255"/>
              <a:chOff x="5310089" y="5027813"/>
              <a:chExt cx="291544" cy="808255"/>
            </a:xfrm>
            <a:grpFill/>
          </p:grpSpPr>
          <p:sp>
            <p:nvSpPr>
              <p:cNvPr id="2498" name="Vrije vorm: vorm 2497">
                <a:extLst>
                  <a:ext uri="{FF2B5EF4-FFF2-40B4-BE49-F238E27FC236}">
                    <a16:creationId xmlns:a16="http://schemas.microsoft.com/office/drawing/2014/main" id="{53E68CDB-0E56-4C15-8144-9B1147A50198}"/>
                  </a:ext>
                </a:extLst>
              </p:cNvPr>
              <p:cNvSpPr/>
              <p:nvPr/>
            </p:nvSpPr>
            <p:spPr>
              <a:xfrm>
                <a:off x="5317659" y="5036106"/>
                <a:ext cx="276369" cy="791727"/>
              </a:xfrm>
              <a:custGeom>
                <a:avLst/>
                <a:gdLst>
                  <a:gd name="connsiteX0" fmla="*/ 276369 w 276369"/>
                  <a:gd name="connsiteY0" fmla="*/ 1017 h 791727"/>
                  <a:gd name="connsiteX1" fmla="*/ 2871 w 276369"/>
                  <a:gd name="connsiteY1" fmla="*/ 791728 h 791727"/>
                  <a:gd name="connsiteX2" fmla="*/ 0 w 276369"/>
                  <a:gd name="connsiteY2" fmla="*/ 790711 h 791727"/>
                  <a:gd name="connsiteX3" fmla="*/ 273498 w 276369"/>
                  <a:gd name="connsiteY3" fmla="*/ 0 h 791727"/>
                </a:gdLst>
                <a:ahLst/>
                <a:cxnLst>
                  <a:cxn ang="0">
                    <a:pos x="connsiteX0" y="connsiteY0"/>
                  </a:cxn>
                  <a:cxn ang="0">
                    <a:pos x="connsiteX1" y="connsiteY1"/>
                  </a:cxn>
                  <a:cxn ang="0">
                    <a:pos x="connsiteX2" y="connsiteY2"/>
                  </a:cxn>
                  <a:cxn ang="0">
                    <a:pos x="connsiteX3" y="connsiteY3"/>
                  </a:cxn>
                </a:cxnLst>
                <a:rect l="l" t="t" r="r" b="b"/>
                <a:pathLst>
                  <a:path w="276369" h="791727">
                    <a:moveTo>
                      <a:pt x="276369" y="1017"/>
                    </a:moveTo>
                    <a:lnTo>
                      <a:pt x="2871" y="791728"/>
                    </a:lnTo>
                    <a:lnTo>
                      <a:pt x="0" y="790711"/>
                    </a:lnTo>
                    <a:lnTo>
                      <a:pt x="273498" y="0"/>
                    </a:lnTo>
                    <a:close/>
                  </a:path>
                </a:pathLst>
              </a:custGeom>
              <a:grpFill/>
              <a:ln w="5978" cap="flat">
                <a:noFill/>
                <a:prstDash val="solid"/>
                <a:miter/>
              </a:ln>
            </p:spPr>
            <p:txBody>
              <a:bodyPr rtlCol="0" anchor="ctr"/>
              <a:lstStyle/>
              <a:p>
                <a:endParaRPr lang="en-GB"/>
              </a:p>
            </p:txBody>
          </p:sp>
          <p:sp>
            <p:nvSpPr>
              <p:cNvPr id="2499" name="Vrije vorm: vorm 2498">
                <a:extLst>
                  <a:ext uri="{FF2B5EF4-FFF2-40B4-BE49-F238E27FC236}">
                    <a16:creationId xmlns:a16="http://schemas.microsoft.com/office/drawing/2014/main" id="{572E5D67-4A7C-4555-AA92-09CE2A323218}"/>
                  </a:ext>
                </a:extLst>
              </p:cNvPr>
              <p:cNvSpPr/>
              <p:nvPr/>
            </p:nvSpPr>
            <p:spPr>
              <a:xfrm>
                <a:off x="5583283" y="5027813"/>
                <a:ext cx="18351" cy="18381"/>
              </a:xfrm>
              <a:custGeom>
                <a:avLst/>
                <a:gdLst>
                  <a:gd name="connsiteX0" fmla="*/ 518 w 18351"/>
                  <a:gd name="connsiteY0" fmla="*/ 6141 h 18381"/>
                  <a:gd name="connsiteX1" fmla="*/ 12181 w 18351"/>
                  <a:gd name="connsiteY1" fmla="*/ 519 h 18381"/>
                  <a:gd name="connsiteX2" fmla="*/ 17862 w 18351"/>
                  <a:gd name="connsiteY2" fmla="*/ 12241 h 18381"/>
                  <a:gd name="connsiteX3" fmla="*/ 6200 w 18351"/>
                  <a:gd name="connsiteY3" fmla="*/ 17863 h 18381"/>
                  <a:gd name="connsiteX4" fmla="*/ 518 w 18351"/>
                  <a:gd name="connsiteY4" fmla="*/ 61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1">
                    <a:moveTo>
                      <a:pt x="518" y="6141"/>
                    </a:moveTo>
                    <a:cubicBezTo>
                      <a:pt x="2193" y="1356"/>
                      <a:pt x="7396" y="-1156"/>
                      <a:pt x="12181" y="519"/>
                    </a:cubicBezTo>
                    <a:cubicBezTo>
                      <a:pt x="16965" y="2194"/>
                      <a:pt x="19477" y="7457"/>
                      <a:pt x="17862" y="12241"/>
                    </a:cubicBezTo>
                    <a:cubicBezTo>
                      <a:pt x="16188" y="17026"/>
                      <a:pt x="10984" y="19537"/>
                      <a:pt x="6200" y="17863"/>
                    </a:cubicBezTo>
                    <a:cubicBezTo>
                      <a:pt x="1356" y="16248"/>
                      <a:pt x="-1156" y="10985"/>
                      <a:pt x="518" y="6141"/>
                    </a:cubicBezTo>
                    <a:close/>
                  </a:path>
                </a:pathLst>
              </a:custGeom>
              <a:grpFill/>
              <a:ln w="5978" cap="flat">
                <a:noFill/>
                <a:prstDash val="solid"/>
                <a:miter/>
              </a:ln>
            </p:spPr>
            <p:txBody>
              <a:bodyPr rtlCol="0" anchor="ctr"/>
              <a:lstStyle/>
              <a:p>
                <a:endParaRPr lang="en-GB"/>
              </a:p>
            </p:txBody>
          </p:sp>
          <p:sp>
            <p:nvSpPr>
              <p:cNvPr id="2500" name="Vrije vorm: vorm 2499">
                <a:extLst>
                  <a:ext uri="{FF2B5EF4-FFF2-40B4-BE49-F238E27FC236}">
                    <a16:creationId xmlns:a16="http://schemas.microsoft.com/office/drawing/2014/main" id="{05DAED89-3842-4CE6-B316-F143886192C7}"/>
                  </a:ext>
                </a:extLst>
              </p:cNvPr>
              <p:cNvSpPr/>
              <p:nvPr/>
            </p:nvSpPr>
            <p:spPr>
              <a:xfrm>
                <a:off x="5310089" y="5817663"/>
                <a:ext cx="18368" cy="18405"/>
              </a:xfrm>
              <a:custGeom>
                <a:avLst/>
                <a:gdLst>
                  <a:gd name="connsiteX0" fmla="*/ 512 w 18368"/>
                  <a:gd name="connsiteY0" fmla="*/ 6164 h 18405"/>
                  <a:gd name="connsiteX1" fmla="*/ 6194 w 18368"/>
                  <a:gd name="connsiteY1" fmla="*/ 17887 h 18405"/>
                  <a:gd name="connsiteX2" fmla="*/ 17856 w 18368"/>
                  <a:gd name="connsiteY2" fmla="*/ 12265 h 18405"/>
                  <a:gd name="connsiteX3" fmla="*/ 12175 w 18368"/>
                  <a:gd name="connsiteY3" fmla="*/ 542 h 18405"/>
                  <a:gd name="connsiteX4" fmla="*/ 512 w 18368"/>
                  <a:gd name="connsiteY4" fmla="*/ 6164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05">
                    <a:moveTo>
                      <a:pt x="512" y="6164"/>
                    </a:moveTo>
                    <a:cubicBezTo>
                      <a:pt x="-1163" y="10949"/>
                      <a:pt x="1409" y="16212"/>
                      <a:pt x="6194" y="17887"/>
                    </a:cubicBezTo>
                    <a:cubicBezTo>
                      <a:pt x="10978" y="19561"/>
                      <a:pt x="16182" y="17049"/>
                      <a:pt x="17856" y="12265"/>
                    </a:cubicBezTo>
                    <a:cubicBezTo>
                      <a:pt x="19531" y="7480"/>
                      <a:pt x="16959" y="2217"/>
                      <a:pt x="12175" y="542"/>
                    </a:cubicBezTo>
                    <a:cubicBezTo>
                      <a:pt x="7390" y="-1192"/>
                      <a:pt x="2127" y="1380"/>
                      <a:pt x="512" y="6164"/>
                    </a:cubicBezTo>
                    <a:close/>
                  </a:path>
                </a:pathLst>
              </a:custGeom>
              <a:grpFill/>
              <a:ln w="5978" cap="flat">
                <a:noFill/>
                <a:prstDash val="solid"/>
                <a:miter/>
              </a:ln>
            </p:spPr>
            <p:txBody>
              <a:bodyPr rtlCol="0" anchor="ctr"/>
              <a:lstStyle/>
              <a:p>
                <a:endParaRPr lang="en-GB"/>
              </a:p>
            </p:txBody>
          </p:sp>
        </p:grpSp>
        <p:grpSp>
          <p:nvGrpSpPr>
            <p:cNvPr id="968" name="Graphic 3">
              <a:extLst>
                <a:ext uri="{FF2B5EF4-FFF2-40B4-BE49-F238E27FC236}">
                  <a16:creationId xmlns:a16="http://schemas.microsoft.com/office/drawing/2014/main" id="{765FCBD5-8CFF-45B8-8592-31328063CB8F}"/>
                </a:ext>
              </a:extLst>
            </p:cNvPr>
            <p:cNvGrpSpPr/>
            <p:nvPr/>
          </p:nvGrpSpPr>
          <p:grpSpPr>
            <a:xfrm>
              <a:off x="5267494" y="4956480"/>
              <a:ext cx="92434" cy="181381"/>
              <a:chOff x="5267494" y="4956480"/>
              <a:chExt cx="92434" cy="181381"/>
            </a:xfrm>
            <a:grpFill/>
          </p:grpSpPr>
          <p:sp>
            <p:nvSpPr>
              <p:cNvPr id="2495" name="Vrije vorm: vorm 2494">
                <a:extLst>
                  <a:ext uri="{FF2B5EF4-FFF2-40B4-BE49-F238E27FC236}">
                    <a16:creationId xmlns:a16="http://schemas.microsoft.com/office/drawing/2014/main" id="{BAB01A1D-7EE0-43E9-9B20-64310D486202}"/>
                  </a:ext>
                </a:extLst>
              </p:cNvPr>
              <p:cNvSpPr/>
              <p:nvPr/>
            </p:nvSpPr>
            <p:spPr>
              <a:xfrm>
                <a:off x="5275076" y="4964577"/>
                <a:ext cx="77270" cy="165127"/>
              </a:xfrm>
              <a:custGeom>
                <a:avLst/>
                <a:gdLst>
                  <a:gd name="connsiteX0" fmla="*/ 77271 w 77270"/>
                  <a:gd name="connsiteY0" fmla="*/ 1316 h 165127"/>
                  <a:gd name="connsiteX1" fmla="*/ 2751 w 77270"/>
                  <a:gd name="connsiteY1" fmla="*/ 165128 h 165127"/>
                  <a:gd name="connsiteX2" fmla="*/ 0 w 77270"/>
                  <a:gd name="connsiteY2" fmla="*/ 163812 h 165127"/>
                  <a:gd name="connsiteX3" fmla="*/ 74520 w 77270"/>
                  <a:gd name="connsiteY3" fmla="*/ 0 h 165127"/>
                </a:gdLst>
                <a:ahLst/>
                <a:cxnLst>
                  <a:cxn ang="0">
                    <a:pos x="connsiteX0" y="connsiteY0"/>
                  </a:cxn>
                  <a:cxn ang="0">
                    <a:pos x="connsiteX1" y="connsiteY1"/>
                  </a:cxn>
                  <a:cxn ang="0">
                    <a:pos x="connsiteX2" y="connsiteY2"/>
                  </a:cxn>
                  <a:cxn ang="0">
                    <a:pos x="connsiteX3" y="connsiteY3"/>
                  </a:cxn>
                </a:cxnLst>
                <a:rect l="l" t="t" r="r" b="b"/>
                <a:pathLst>
                  <a:path w="77270" h="165127">
                    <a:moveTo>
                      <a:pt x="77271" y="1316"/>
                    </a:moveTo>
                    <a:lnTo>
                      <a:pt x="2751" y="165128"/>
                    </a:lnTo>
                    <a:lnTo>
                      <a:pt x="0" y="163812"/>
                    </a:lnTo>
                    <a:lnTo>
                      <a:pt x="74520" y="0"/>
                    </a:lnTo>
                    <a:close/>
                  </a:path>
                </a:pathLst>
              </a:custGeom>
              <a:grpFill/>
              <a:ln w="5978" cap="flat">
                <a:noFill/>
                <a:prstDash val="solid"/>
                <a:miter/>
              </a:ln>
            </p:spPr>
            <p:txBody>
              <a:bodyPr rtlCol="0" anchor="ctr"/>
              <a:lstStyle/>
              <a:p>
                <a:endParaRPr lang="en-GB"/>
              </a:p>
            </p:txBody>
          </p:sp>
          <p:sp>
            <p:nvSpPr>
              <p:cNvPr id="2496" name="Vrije vorm: vorm 2495">
                <a:extLst>
                  <a:ext uri="{FF2B5EF4-FFF2-40B4-BE49-F238E27FC236}">
                    <a16:creationId xmlns:a16="http://schemas.microsoft.com/office/drawing/2014/main" id="{A547FB17-6F37-4970-92C5-CF50B737601A}"/>
                  </a:ext>
                </a:extLst>
              </p:cNvPr>
              <p:cNvSpPr/>
              <p:nvPr/>
            </p:nvSpPr>
            <p:spPr>
              <a:xfrm>
                <a:off x="5267494" y="5119455"/>
                <a:ext cx="18333" cy="18406"/>
              </a:xfrm>
              <a:custGeom>
                <a:avLst/>
                <a:gdLst>
                  <a:gd name="connsiteX0" fmla="*/ 17510 w 18333"/>
                  <a:gd name="connsiteY0" fmla="*/ 13061 h 18406"/>
                  <a:gd name="connsiteX1" fmla="*/ 5369 w 18333"/>
                  <a:gd name="connsiteY1" fmla="*/ 17547 h 18406"/>
                  <a:gd name="connsiteX2" fmla="*/ 824 w 18333"/>
                  <a:gd name="connsiteY2" fmla="*/ 5346 h 18406"/>
                  <a:gd name="connsiteX3" fmla="*/ 12965 w 18333"/>
                  <a:gd name="connsiteY3" fmla="*/ 860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5417" y="17666"/>
                      <a:pt x="9974" y="19700"/>
                      <a:pt x="5369" y="17547"/>
                    </a:cubicBezTo>
                    <a:cubicBezTo>
                      <a:pt x="764" y="15393"/>
                      <a:pt x="-1269" y="9951"/>
                      <a:pt x="824" y="5346"/>
                    </a:cubicBezTo>
                    <a:cubicBezTo>
                      <a:pt x="2917" y="740"/>
                      <a:pt x="8359" y="-1293"/>
                      <a:pt x="12965" y="860"/>
                    </a:cubicBezTo>
                    <a:cubicBezTo>
                      <a:pt x="17570" y="2954"/>
                      <a:pt x="19603" y="8456"/>
                      <a:pt x="17510" y="13061"/>
                    </a:cubicBezTo>
                    <a:close/>
                  </a:path>
                </a:pathLst>
              </a:custGeom>
              <a:grpFill/>
              <a:ln w="5978" cap="flat">
                <a:noFill/>
                <a:prstDash val="solid"/>
                <a:miter/>
              </a:ln>
            </p:spPr>
            <p:txBody>
              <a:bodyPr rtlCol="0" anchor="ctr"/>
              <a:lstStyle/>
              <a:p>
                <a:endParaRPr lang="en-GB"/>
              </a:p>
            </p:txBody>
          </p:sp>
          <p:sp>
            <p:nvSpPr>
              <p:cNvPr id="2497" name="Vrije vorm: vorm 2496">
                <a:extLst>
                  <a:ext uri="{FF2B5EF4-FFF2-40B4-BE49-F238E27FC236}">
                    <a16:creationId xmlns:a16="http://schemas.microsoft.com/office/drawing/2014/main" id="{8C61EAC2-8F0B-49A5-B28A-B2EADF2C75F1}"/>
                  </a:ext>
                </a:extLst>
              </p:cNvPr>
              <p:cNvSpPr/>
              <p:nvPr/>
            </p:nvSpPr>
            <p:spPr>
              <a:xfrm>
                <a:off x="5341595" y="4956480"/>
                <a:ext cx="18333" cy="18406"/>
              </a:xfrm>
              <a:custGeom>
                <a:avLst/>
                <a:gdLst>
                  <a:gd name="connsiteX0" fmla="*/ 17510 w 18333"/>
                  <a:gd name="connsiteY0" fmla="*/ 13061 h 18406"/>
                  <a:gd name="connsiteX1" fmla="*/ 12965 w 18333"/>
                  <a:gd name="connsiteY1" fmla="*/ 860 h 18406"/>
                  <a:gd name="connsiteX2" fmla="*/ 824 w 18333"/>
                  <a:gd name="connsiteY2" fmla="*/ 5346 h 18406"/>
                  <a:gd name="connsiteX3" fmla="*/ 5369 w 18333"/>
                  <a:gd name="connsiteY3" fmla="*/ 17547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9603" y="8456"/>
                      <a:pt x="17570" y="2954"/>
                      <a:pt x="12965" y="860"/>
                    </a:cubicBezTo>
                    <a:cubicBezTo>
                      <a:pt x="8360" y="-1293"/>
                      <a:pt x="2917" y="740"/>
                      <a:pt x="824" y="5346"/>
                    </a:cubicBezTo>
                    <a:cubicBezTo>
                      <a:pt x="-1270" y="9951"/>
                      <a:pt x="764" y="15453"/>
                      <a:pt x="5369" y="17547"/>
                    </a:cubicBezTo>
                    <a:cubicBezTo>
                      <a:pt x="9974" y="19700"/>
                      <a:pt x="15417" y="17666"/>
                      <a:pt x="17510" y="13061"/>
                    </a:cubicBezTo>
                    <a:close/>
                  </a:path>
                </a:pathLst>
              </a:custGeom>
              <a:grpFill/>
              <a:ln w="5978" cap="flat">
                <a:noFill/>
                <a:prstDash val="solid"/>
                <a:miter/>
              </a:ln>
            </p:spPr>
            <p:txBody>
              <a:bodyPr rtlCol="0" anchor="ctr"/>
              <a:lstStyle/>
              <a:p>
                <a:endParaRPr lang="en-GB"/>
              </a:p>
            </p:txBody>
          </p:sp>
        </p:grpSp>
        <p:grpSp>
          <p:nvGrpSpPr>
            <p:cNvPr id="969" name="Graphic 3">
              <a:extLst>
                <a:ext uri="{FF2B5EF4-FFF2-40B4-BE49-F238E27FC236}">
                  <a16:creationId xmlns:a16="http://schemas.microsoft.com/office/drawing/2014/main" id="{28C8EE16-B466-4AF6-9646-B71A447A1375}"/>
                </a:ext>
              </a:extLst>
            </p:cNvPr>
            <p:cNvGrpSpPr/>
            <p:nvPr/>
          </p:nvGrpSpPr>
          <p:grpSpPr>
            <a:xfrm>
              <a:off x="5288721" y="5017030"/>
              <a:ext cx="283347" cy="733231"/>
              <a:chOff x="5288721" y="5017030"/>
              <a:chExt cx="283347" cy="733231"/>
            </a:xfrm>
            <a:grpFill/>
          </p:grpSpPr>
          <p:sp>
            <p:nvSpPr>
              <p:cNvPr id="2492" name="Vrije vorm: vorm 2491">
                <a:extLst>
                  <a:ext uri="{FF2B5EF4-FFF2-40B4-BE49-F238E27FC236}">
                    <a16:creationId xmlns:a16="http://schemas.microsoft.com/office/drawing/2014/main" id="{203A6D80-0E9B-45F2-A3B8-F0DC6797667A}"/>
                  </a:ext>
                </a:extLst>
              </p:cNvPr>
              <p:cNvSpPr/>
              <p:nvPr/>
            </p:nvSpPr>
            <p:spPr>
              <a:xfrm>
                <a:off x="5296367" y="5025281"/>
                <a:ext cx="268175" cy="716729"/>
              </a:xfrm>
              <a:custGeom>
                <a:avLst/>
                <a:gdLst>
                  <a:gd name="connsiteX0" fmla="*/ 268176 w 268175"/>
                  <a:gd name="connsiteY0" fmla="*/ 1077 h 716729"/>
                  <a:gd name="connsiteX1" fmla="*/ 2811 w 268175"/>
                  <a:gd name="connsiteY1" fmla="*/ 716730 h 716729"/>
                  <a:gd name="connsiteX2" fmla="*/ 0 w 268175"/>
                  <a:gd name="connsiteY2" fmla="*/ 715653 h 716729"/>
                  <a:gd name="connsiteX3" fmla="*/ 265305 w 268175"/>
                  <a:gd name="connsiteY3" fmla="*/ 0 h 716729"/>
                </a:gdLst>
                <a:ahLst/>
                <a:cxnLst>
                  <a:cxn ang="0">
                    <a:pos x="connsiteX0" y="connsiteY0"/>
                  </a:cxn>
                  <a:cxn ang="0">
                    <a:pos x="connsiteX1" y="connsiteY1"/>
                  </a:cxn>
                  <a:cxn ang="0">
                    <a:pos x="connsiteX2" y="connsiteY2"/>
                  </a:cxn>
                  <a:cxn ang="0">
                    <a:pos x="connsiteX3" y="connsiteY3"/>
                  </a:cxn>
                </a:cxnLst>
                <a:rect l="l" t="t" r="r" b="b"/>
                <a:pathLst>
                  <a:path w="268175" h="716729">
                    <a:moveTo>
                      <a:pt x="268176" y="1077"/>
                    </a:moveTo>
                    <a:lnTo>
                      <a:pt x="2811" y="716730"/>
                    </a:lnTo>
                    <a:lnTo>
                      <a:pt x="0" y="715653"/>
                    </a:lnTo>
                    <a:lnTo>
                      <a:pt x="265305" y="0"/>
                    </a:lnTo>
                    <a:close/>
                  </a:path>
                </a:pathLst>
              </a:custGeom>
              <a:grpFill/>
              <a:ln w="5978" cap="flat">
                <a:noFill/>
                <a:prstDash val="solid"/>
                <a:miter/>
              </a:ln>
            </p:spPr>
            <p:txBody>
              <a:bodyPr rtlCol="0" anchor="ctr"/>
              <a:lstStyle/>
              <a:p>
                <a:endParaRPr lang="en-GB"/>
              </a:p>
            </p:txBody>
          </p:sp>
          <p:sp>
            <p:nvSpPr>
              <p:cNvPr id="2493" name="Vrije vorm: vorm 2492">
                <a:extLst>
                  <a:ext uri="{FF2B5EF4-FFF2-40B4-BE49-F238E27FC236}">
                    <a16:creationId xmlns:a16="http://schemas.microsoft.com/office/drawing/2014/main" id="{02B5B802-AE28-4B98-A0E1-E4763CAE4386}"/>
                  </a:ext>
                </a:extLst>
              </p:cNvPr>
              <p:cNvSpPr/>
              <p:nvPr/>
            </p:nvSpPr>
            <p:spPr>
              <a:xfrm>
                <a:off x="5553751" y="5017030"/>
                <a:ext cx="18317" cy="18415"/>
              </a:xfrm>
              <a:custGeom>
                <a:avLst/>
                <a:gdLst>
                  <a:gd name="connsiteX0" fmla="*/ 565 w 18317"/>
                  <a:gd name="connsiteY0" fmla="*/ 5978 h 18415"/>
                  <a:gd name="connsiteX1" fmla="*/ 12346 w 18317"/>
                  <a:gd name="connsiteY1" fmla="*/ 596 h 18415"/>
                  <a:gd name="connsiteX2" fmla="*/ 17729 w 18317"/>
                  <a:gd name="connsiteY2" fmla="*/ 12437 h 18415"/>
                  <a:gd name="connsiteX3" fmla="*/ 5947 w 18317"/>
                  <a:gd name="connsiteY3" fmla="*/ 17820 h 18415"/>
                  <a:gd name="connsiteX4" fmla="*/ 565 w 18317"/>
                  <a:gd name="connsiteY4" fmla="*/ 597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15">
                    <a:moveTo>
                      <a:pt x="565" y="5978"/>
                    </a:moveTo>
                    <a:cubicBezTo>
                      <a:pt x="2359" y="1194"/>
                      <a:pt x="7622" y="-1198"/>
                      <a:pt x="12346" y="596"/>
                    </a:cubicBezTo>
                    <a:cubicBezTo>
                      <a:pt x="17071" y="2390"/>
                      <a:pt x="19523" y="7713"/>
                      <a:pt x="17729" y="12437"/>
                    </a:cubicBezTo>
                    <a:cubicBezTo>
                      <a:pt x="15935" y="17222"/>
                      <a:pt x="10672" y="19614"/>
                      <a:pt x="5947" y="17820"/>
                    </a:cubicBezTo>
                    <a:cubicBezTo>
                      <a:pt x="1222" y="16026"/>
                      <a:pt x="-1170" y="10703"/>
                      <a:pt x="565" y="5978"/>
                    </a:cubicBezTo>
                    <a:close/>
                  </a:path>
                </a:pathLst>
              </a:custGeom>
              <a:grpFill/>
              <a:ln w="5978" cap="flat">
                <a:noFill/>
                <a:prstDash val="solid"/>
                <a:miter/>
              </a:ln>
            </p:spPr>
            <p:txBody>
              <a:bodyPr rtlCol="0" anchor="ctr"/>
              <a:lstStyle/>
              <a:p>
                <a:endParaRPr lang="en-GB"/>
              </a:p>
            </p:txBody>
          </p:sp>
          <p:sp>
            <p:nvSpPr>
              <p:cNvPr id="2494" name="Vrije vorm: vorm 2493">
                <a:extLst>
                  <a:ext uri="{FF2B5EF4-FFF2-40B4-BE49-F238E27FC236}">
                    <a16:creationId xmlns:a16="http://schemas.microsoft.com/office/drawing/2014/main" id="{6851F410-FB0F-4DB4-BA08-8A033916BF91}"/>
                  </a:ext>
                </a:extLst>
              </p:cNvPr>
              <p:cNvSpPr/>
              <p:nvPr/>
            </p:nvSpPr>
            <p:spPr>
              <a:xfrm>
                <a:off x="5288721" y="5731846"/>
                <a:ext cx="18342" cy="18415"/>
              </a:xfrm>
              <a:custGeom>
                <a:avLst/>
                <a:gdLst>
                  <a:gd name="connsiteX0" fmla="*/ 589 w 18342"/>
                  <a:gd name="connsiteY0" fmla="*/ 5978 h 18415"/>
                  <a:gd name="connsiteX1" fmla="*/ 5971 w 18342"/>
                  <a:gd name="connsiteY1" fmla="*/ 17820 h 18415"/>
                  <a:gd name="connsiteX2" fmla="*/ 17753 w 18342"/>
                  <a:gd name="connsiteY2" fmla="*/ 12438 h 18415"/>
                  <a:gd name="connsiteX3" fmla="*/ 12371 w 18342"/>
                  <a:gd name="connsiteY3" fmla="*/ 596 h 18415"/>
                  <a:gd name="connsiteX4" fmla="*/ 589 w 18342"/>
                  <a:gd name="connsiteY4" fmla="*/ 597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15">
                    <a:moveTo>
                      <a:pt x="589" y="5978"/>
                    </a:moveTo>
                    <a:cubicBezTo>
                      <a:pt x="-1205" y="10763"/>
                      <a:pt x="1246" y="16026"/>
                      <a:pt x="5971" y="17820"/>
                    </a:cubicBezTo>
                    <a:cubicBezTo>
                      <a:pt x="10696" y="19614"/>
                      <a:pt x="16019" y="17222"/>
                      <a:pt x="17753" y="12438"/>
                    </a:cubicBezTo>
                    <a:cubicBezTo>
                      <a:pt x="19547" y="7653"/>
                      <a:pt x="17096" y="2390"/>
                      <a:pt x="12371" y="596"/>
                    </a:cubicBezTo>
                    <a:cubicBezTo>
                      <a:pt x="7646" y="-1199"/>
                      <a:pt x="2383" y="1194"/>
                      <a:pt x="589" y="5978"/>
                    </a:cubicBezTo>
                    <a:close/>
                  </a:path>
                </a:pathLst>
              </a:custGeom>
              <a:grpFill/>
              <a:ln w="5978" cap="flat">
                <a:noFill/>
                <a:prstDash val="solid"/>
                <a:miter/>
              </a:ln>
            </p:spPr>
            <p:txBody>
              <a:bodyPr rtlCol="0" anchor="ctr"/>
              <a:lstStyle/>
              <a:p>
                <a:endParaRPr lang="en-GB"/>
              </a:p>
            </p:txBody>
          </p:sp>
        </p:grpSp>
        <p:grpSp>
          <p:nvGrpSpPr>
            <p:cNvPr id="970" name="Graphic 3">
              <a:extLst>
                <a:ext uri="{FF2B5EF4-FFF2-40B4-BE49-F238E27FC236}">
                  <a16:creationId xmlns:a16="http://schemas.microsoft.com/office/drawing/2014/main" id="{21433A97-7263-420B-AAD8-2A40F5A7A9D6}"/>
                </a:ext>
              </a:extLst>
            </p:cNvPr>
            <p:cNvGrpSpPr/>
            <p:nvPr/>
          </p:nvGrpSpPr>
          <p:grpSpPr>
            <a:xfrm>
              <a:off x="5279215" y="5004926"/>
              <a:ext cx="263818" cy="634296"/>
              <a:chOff x="5279215" y="5004926"/>
              <a:chExt cx="263818" cy="634296"/>
            </a:xfrm>
            <a:grpFill/>
          </p:grpSpPr>
          <p:sp>
            <p:nvSpPr>
              <p:cNvPr id="2489" name="Vrije vorm: vorm 2488">
                <a:extLst>
                  <a:ext uri="{FF2B5EF4-FFF2-40B4-BE49-F238E27FC236}">
                    <a16:creationId xmlns:a16="http://schemas.microsoft.com/office/drawing/2014/main" id="{DB0D3B84-125B-4F88-8E26-34DF752273E8}"/>
                  </a:ext>
                </a:extLst>
              </p:cNvPr>
              <p:cNvSpPr/>
              <p:nvPr/>
            </p:nvSpPr>
            <p:spPr>
              <a:xfrm>
                <a:off x="5286738" y="5013141"/>
                <a:ext cx="248738" cy="617868"/>
              </a:xfrm>
              <a:custGeom>
                <a:avLst/>
                <a:gdLst>
                  <a:gd name="connsiteX0" fmla="*/ 248738 w 248738"/>
                  <a:gd name="connsiteY0" fmla="*/ 1136 h 617868"/>
                  <a:gd name="connsiteX1" fmla="*/ 2871 w 248738"/>
                  <a:gd name="connsiteY1" fmla="*/ 617868 h 617868"/>
                  <a:gd name="connsiteX2" fmla="*/ 0 w 248738"/>
                  <a:gd name="connsiteY2" fmla="*/ 616732 h 617868"/>
                  <a:gd name="connsiteX3" fmla="*/ 245927 w 248738"/>
                  <a:gd name="connsiteY3" fmla="*/ 0 h 617868"/>
                </a:gdLst>
                <a:ahLst/>
                <a:cxnLst>
                  <a:cxn ang="0">
                    <a:pos x="connsiteX0" y="connsiteY0"/>
                  </a:cxn>
                  <a:cxn ang="0">
                    <a:pos x="connsiteX1" y="connsiteY1"/>
                  </a:cxn>
                  <a:cxn ang="0">
                    <a:pos x="connsiteX2" y="connsiteY2"/>
                  </a:cxn>
                  <a:cxn ang="0">
                    <a:pos x="connsiteX3" y="connsiteY3"/>
                  </a:cxn>
                </a:cxnLst>
                <a:rect l="l" t="t" r="r" b="b"/>
                <a:pathLst>
                  <a:path w="248738" h="617868">
                    <a:moveTo>
                      <a:pt x="248738" y="1136"/>
                    </a:moveTo>
                    <a:lnTo>
                      <a:pt x="2871" y="617868"/>
                    </a:lnTo>
                    <a:lnTo>
                      <a:pt x="0" y="616732"/>
                    </a:lnTo>
                    <a:lnTo>
                      <a:pt x="245927" y="0"/>
                    </a:lnTo>
                    <a:close/>
                  </a:path>
                </a:pathLst>
              </a:custGeom>
              <a:grpFill/>
              <a:ln w="5978" cap="flat">
                <a:noFill/>
                <a:prstDash val="solid"/>
                <a:miter/>
              </a:ln>
            </p:spPr>
            <p:txBody>
              <a:bodyPr rtlCol="0" anchor="ctr"/>
              <a:lstStyle/>
              <a:p>
                <a:endParaRPr lang="en-GB"/>
              </a:p>
            </p:txBody>
          </p:sp>
          <p:sp>
            <p:nvSpPr>
              <p:cNvPr id="2490" name="Vrije vorm: vorm 2489">
                <a:extLst>
                  <a:ext uri="{FF2B5EF4-FFF2-40B4-BE49-F238E27FC236}">
                    <a16:creationId xmlns:a16="http://schemas.microsoft.com/office/drawing/2014/main" id="{2C7E6249-B897-4DED-842C-F2CF6B155542}"/>
                  </a:ext>
                </a:extLst>
              </p:cNvPr>
              <p:cNvSpPr/>
              <p:nvPr/>
            </p:nvSpPr>
            <p:spPr>
              <a:xfrm>
                <a:off x="5524723" y="5004926"/>
                <a:ext cx="18309" cy="18461"/>
              </a:xfrm>
              <a:custGeom>
                <a:avLst/>
                <a:gdLst>
                  <a:gd name="connsiteX0" fmla="*/ 646 w 18309"/>
                  <a:gd name="connsiteY0" fmla="*/ 5762 h 18461"/>
                  <a:gd name="connsiteX1" fmla="*/ 12548 w 18309"/>
                  <a:gd name="connsiteY1" fmla="*/ 679 h 18461"/>
                  <a:gd name="connsiteX2" fmla="*/ 17631 w 18309"/>
                  <a:gd name="connsiteY2" fmla="*/ 12700 h 18461"/>
                  <a:gd name="connsiteX3" fmla="*/ 5730 w 18309"/>
                  <a:gd name="connsiteY3" fmla="*/ 17783 h 18461"/>
                  <a:gd name="connsiteX4" fmla="*/ 646 w 18309"/>
                  <a:gd name="connsiteY4" fmla="*/ 5762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61">
                    <a:moveTo>
                      <a:pt x="646" y="5762"/>
                    </a:moveTo>
                    <a:cubicBezTo>
                      <a:pt x="2500" y="1037"/>
                      <a:pt x="7883" y="-1235"/>
                      <a:pt x="12548" y="679"/>
                    </a:cubicBezTo>
                    <a:cubicBezTo>
                      <a:pt x="17272" y="2592"/>
                      <a:pt x="19545" y="7975"/>
                      <a:pt x="17631" y="12700"/>
                    </a:cubicBezTo>
                    <a:cubicBezTo>
                      <a:pt x="15717" y="17424"/>
                      <a:pt x="10395" y="19697"/>
                      <a:pt x="5730" y="17783"/>
                    </a:cubicBezTo>
                    <a:cubicBezTo>
                      <a:pt x="1065" y="15810"/>
                      <a:pt x="-1208" y="10487"/>
                      <a:pt x="646" y="5762"/>
                    </a:cubicBezTo>
                    <a:close/>
                  </a:path>
                </a:pathLst>
              </a:custGeom>
              <a:grpFill/>
              <a:ln w="5978" cap="flat">
                <a:noFill/>
                <a:prstDash val="solid"/>
                <a:miter/>
              </a:ln>
            </p:spPr>
            <p:txBody>
              <a:bodyPr rtlCol="0" anchor="ctr"/>
              <a:lstStyle/>
              <a:p>
                <a:endParaRPr lang="en-GB"/>
              </a:p>
            </p:txBody>
          </p:sp>
          <p:sp>
            <p:nvSpPr>
              <p:cNvPr id="2491" name="Vrije vorm: vorm 2490">
                <a:extLst>
                  <a:ext uri="{FF2B5EF4-FFF2-40B4-BE49-F238E27FC236}">
                    <a16:creationId xmlns:a16="http://schemas.microsoft.com/office/drawing/2014/main" id="{7CB25310-EEB2-4122-924C-C1017D25026E}"/>
                  </a:ext>
                </a:extLst>
              </p:cNvPr>
              <p:cNvSpPr/>
              <p:nvPr/>
            </p:nvSpPr>
            <p:spPr>
              <a:xfrm>
                <a:off x="5279215" y="5620794"/>
                <a:ext cx="18277" cy="18429"/>
              </a:xfrm>
              <a:custGeom>
                <a:avLst/>
                <a:gdLst>
                  <a:gd name="connsiteX0" fmla="*/ 646 w 18277"/>
                  <a:gd name="connsiteY0" fmla="*/ 5730 h 18429"/>
                  <a:gd name="connsiteX1" fmla="*/ 5730 w 18277"/>
                  <a:gd name="connsiteY1" fmla="*/ 17751 h 18429"/>
                  <a:gd name="connsiteX2" fmla="*/ 17631 w 18277"/>
                  <a:gd name="connsiteY2" fmla="*/ 12667 h 18429"/>
                  <a:gd name="connsiteX3" fmla="*/ 12547 w 18277"/>
                  <a:gd name="connsiteY3" fmla="*/ 646 h 18429"/>
                  <a:gd name="connsiteX4" fmla="*/ 646 w 18277"/>
                  <a:gd name="connsiteY4" fmla="*/ 573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7" h="18429">
                    <a:moveTo>
                      <a:pt x="646" y="5730"/>
                    </a:moveTo>
                    <a:cubicBezTo>
                      <a:pt x="-1208" y="10454"/>
                      <a:pt x="1065" y="15837"/>
                      <a:pt x="5730" y="17751"/>
                    </a:cubicBezTo>
                    <a:cubicBezTo>
                      <a:pt x="10454" y="19665"/>
                      <a:pt x="15777" y="17392"/>
                      <a:pt x="17631" y="12667"/>
                    </a:cubicBezTo>
                    <a:cubicBezTo>
                      <a:pt x="19485" y="7942"/>
                      <a:pt x="17213" y="2560"/>
                      <a:pt x="12547" y="646"/>
                    </a:cubicBezTo>
                    <a:cubicBezTo>
                      <a:pt x="7823" y="-1208"/>
                      <a:pt x="2500" y="1064"/>
                      <a:pt x="646" y="5730"/>
                    </a:cubicBezTo>
                    <a:close/>
                  </a:path>
                </a:pathLst>
              </a:custGeom>
              <a:grpFill/>
              <a:ln w="5978" cap="flat">
                <a:noFill/>
                <a:prstDash val="solid"/>
                <a:miter/>
              </a:ln>
            </p:spPr>
            <p:txBody>
              <a:bodyPr rtlCol="0" anchor="ctr"/>
              <a:lstStyle/>
              <a:p>
                <a:endParaRPr lang="en-GB"/>
              </a:p>
            </p:txBody>
          </p:sp>
        </p:grpSp>
        <p:grpSp>
          <p:nvGrpSpPr>
            <p:cNvPr id="971" name="Graphic 3">
              <a:extLst>
                <a:ext uri="{FF2B5EF4-FFF2-40B4-BE49-F238E27FC236}">
                  <a16:creationId xmlns:a16="http://schemas.microsoft.com/office/drawing/2014/main" id="{E18E6852-761C-479C-9A0A-D32E32B84538}"/>
                </a:ext>
              </a:extLst>
            </p:cNvPr>
            <p:cNvGrpSpPr/>
            <p:nvPr/>
          </p:nvGrpSpPr>
          <p:grpSpPr>
            <a:xfrm>
              <a:off x="5265004" y="4981947"/>
              <a:ext cx="219729" cy="453645"/>
              <a:chOff x="5265004" y="4981947"/>
              <a:chExt cx="219729" cy="453645"/>
            </a:xfrm>
            <a:grpFill/>
          </p:grpSpPr>
          <p:sp>
            <p:nvSpPr>
              <p:cNvPr id="2486" name="Vrije vorm: vorm 2485">
                <a:extLst>
                  <a:ext uri="{FF2B5EF4-FFF2-40B4-BE49-F238E27FC236}">
                    <a16:creationId xmlns:a16="http://schemas.microsoft.com/office/drawing/2014/main" id="{6354D86C-B445-4E74-AEE8-CDB66AD7E899}"/>
                  </a:ext>
                </a:extLst>
              </p:cNvPr>
              <p:cNvSpPr/>
              <p:nvPr/>
            </p:nvSpPr>
            <p:spPr>
              <a:xfrm>
                <a:off x="5272564" y="4990115"/>
                <a:ext cx="204540" cy="437370"/>
              </a:xfrm>
              <a:custGeom>
                <a:avLst/>
                <a:gdLst>
                  <a:gd name="connsiteX0" fmla="*/ 204541 w 204540"/>
                  <a:gd name="connsiteY0" fmla="*/ 1256 h 437370"/>
                  <a:gd name="connsiteX1" fmla="*/ 2751 w 204540"/>
                  <a:gd name="connsiteY1" fmla="*/ 437370 h 437370"/>
                  <a:gd name="connsiteX2" fmla="*/ 0 w 204540"/>
                  <a:gd name="connsiteY2" fmla="*/ 436055 h 437370"/>
                  <a:gd name="connsiteX3" fmla="*/ 201790 w 204540"/>
                  <a:gd name="connsiteY3" fmla="*/ 0 h 437370"/>
                </a:gdLst>
                <a:ahLst/>
                <a:cxnLst>
                  <a:cxn ang="0">
                    <a:pos x="connsiteX0" y="connsiteY0"/>
                  </a:cxn>
                  <a:cxn ang="0">
                    <a:pos x="connsiteX1" y="connsiteY1"/>
                  </a:cxn>
                  <a:cxn ang="0">
                    <a:pos x="connsiteX2" y="connsiteY2"/>
                  </a:cxn>
                  <a:cxn ang="0">
                    <a:pos x="connsiteX3" y="connsiteY3"/>
                  </a:cxn>
                </a:cxnLst>
                <a:rect l="l" t="t" r="r" b="b"/>
                <a:pathLst>
                  <a:path w="204540" h="437370">
                    <a:moveTo>
                      <a:pt x="204541" y="1256"/>
                    </a:moveTo>
                    <a:lnTo>
                      <a:pt x="2751" y="437370"/>
                    </a:lnTo>
                    <a:lnTo>
                      <a:pt x="0" y="436055"/>
                    </a:lnTo>
                    <a:lnTo>
                      <a:pt x="201790" y="0"/>
                    </a:lnTo>
                    <a:close/>
                  </a:path>
                </a:pathLst>
              </a:custGeom>
              <a:grpFill/>
              <a:ln w="5978" cap="flat">
                <a:noFill/>
                <a:prstDash val="solid"/>
                <a:miter/>
              </a:ln>
            </p:spPr>
            <p:txBody>
              <a:bodyPr rtlCol="0" anchor="ctr"/>
              <a:lstStyle/>
              <a:p>
                <a:endParaRPr lang="en-GB"/>
              </a:p>
            </p:txBody>
          </p:sp>
          <p:sp>
            <p:nvSpPr>
              <p:cNvPr id="2487" name="Vrije vorm: vorm 2486">
                <a:extLst>
                  <a:ext uri="{FF2B5EF4-FFF2-40B4-BE49-F238E27FC236}">
                    <a16:creationId xmlns:a16="http://schemas.microsoft.com/office/drawing/2014/main" id="{CD510A63-58DE-468D-99C3-8613003C7FD9}"/>
                  </a:ext>
                </a:extLst>
              </p:cNvPr>
              <p:cNvSpPr/>
              <p:nvPr/>
            </p:nvSpPr>
            <p:spPr>
              <a:xfrm>
                <a:off x="5466375" y="4981947"/>
                <a:ext cx="18358" cy="18428"/>
              </a:xfrm>
              <a:custGeom>
                <a:avLst/>
                <a:gdLst>
                  <a:gd name="connsiteX0" fmla="*/ 861 w 18358"/>
                  <a:gd name="connsiteY0" fmla="*/ 5297 h 18428"/>
                  <a:gd name="connsiteX1" fmla="*/ 13062 w 18358"/>
                  <a:gd name="connsiteY1" fmla="*/ 871 h 18428"/>
                  <a:gd name="connsiteX2" fmla="*/ 17488 w 18358"/>
                  <a:gd name="connsiteY2" fmla="*/ 13132 h 18428"/>
                  <a:gd name="connsiteX3" fmla="*/ 5287 w 18358"/>
                  <a:gd name="connsiteY3" fmla="*/ 17557 h 18428"/>
                  <a:gd name="connsiteX4" fmla="*/ 861 w 18358"/>
                  <a:gd name="connsiteY4" fmla="*/ 529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28">
                    <a:moveTo>
                      <a:pt x="861" y="5297"/>
                    </a:moveTo>
                    <a:cubicBezTo>
                      <a:pt x="3014" y="692"/>
                      <a:pt x="8457" y="-1282"/>
                      <a:pt x="13062" y="871"/>
                    </a:cubicBezTo>
                    <a:cubicBezTo>
                      <a:pt x="17667" y="3024"/>
                      <a:pt x="19641" y="8527"/>
                      <a:pt x="17488" y="13132"/>
                    </a:cubicBezTo>
                    <a:cubicBezTo>
                      <a:pt x="15335" y="17737"/>
                      <a:pt x="9892" y="19711"/>
                      <a:pt x="5287" y="17557"/>
                    </a:cubicBezTo>
                    <a:cubicBezTo>
                      <a:pt x="742" y="15404"/>
                      <a:pt x="-1292" y="9902"/>
                      <a:pt x="861" y="5297"/>
                    </a:cubicBezTo>
                    <a:close/>
                  </a:path>
                </a:pathLst>
              </a:custGeom>
              <a:grpFill/>
              <a:ln w="5978" cap="flat">
                <a:noFill/>
                <a:prstDash val="solid"/>
                <a:miter/>
              </a:ln>
            </p:spPr>
            <p:txBody>
              <a:bodyPr rtlCol="0" anchor="ctr"/>
              <a:lstStyle/>
              <a:p>
                <a:endParaRPr lang="en-GB"/>
              </a:p>
            </p:txBody>
          </p:sp>
          <p:sp>
            <p:nvSpPr>
              <p:cNvPr id="2488" name="Vrije vorm: vorm 2487">
                <a:extLst>
                  <a:ext uri="{FF2B5EF4-FFF2-40B4-BE49-F238E27FC236}">
                    <a16:creationId xmlns:a16="http://schemas.microsoft.com/office/drawing/2014/main" id="{7D266F19-25B5-445E-BC16-E377FC74F220}"/>
                  </a:ext>
                </a:extLst>
              </p:cNvPr>
              <p:cNvSpPr/>
              <p:nvPr/>
            </p:nvSpPr>
            <p:spPr>
              <a:xfrm>
                <a:off x="5265004" y="5417164"/>
                <a:ext cx="18349" cy="18428"/>
              </a:xfrm>
              <a:custGeom>
                <a:avLst/>
                <a:gdLst>
                  <a:gd name="connsiteX0" fmla="*/ 862 w 18349"/>
                  <a:gd name="connsiteY0" fmla="*/ 5297 h 18428"/>
                  <a:gd name="connsiteX1" fmla="*/ 5287 w 18349"/>
                  <a:gd name="connsiteY1" fmla="*/ 17557 h 18428"/>
                  <a:gd name="connsiteX2" fmla="*/ 17488 w 18349"/>
                  <a:gd name="connsiteY2" fmla="*/ 13132 h 18428"/>
                  <a:gd name="connsiteX3" fmla="*/ 13062 w 18349"/>
                  <a:gd name="connsiteY3" fmla="*/ 871 h 18428"/>
                  <a:gd name="connsiteX4" fmla="*/ 862 w 18349"/>
                  <a:gd name="connsiteY4" fmla="*/ 529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28">
                    <a:moveTo>
                      <a:pt x="862" y="5297"/>
                    </a:moveTo>
                    <a:cubicBezTo>
                      <a:pt x="-1292" y="9902"/>
                      <a:pt x="742" y="15404"/>
                      <a:pt x="5287" y="17557"/>
                    </a:cubicBezTo>
                    <a:cubicBezTo>
                      <a:pt x="9892" y="19710"/>
                      <a:pt x="15335" y="17737"/>
                      <a:pt x="17488" y="13132"/>
                    </a:cubicBezTo>
                    <a:cubicBezTo>
                      <a:pt x="19641" y="8526"/>
                      <a:pt x="17607" y="3024"/>
                      <a:pt x="13062" y="871"/>
                    </a:cubicBezTo>
                    <a:cubicBezTo>
                      <a:pt x="8397" y="-1282"/>
                      <a:pt x="2955" y="692"/>
                      <a:pt x="862" y="5297"/>
                    </a:cubicBezTo>
                    <a:close/>
                  </a:path>
                </a:pathLst>
              </a:custGeom>
              <a:grpFill/>
              <a:ln w="5978" cap="flat">
                <a:noFill/>
                <a:prstDash val="solid"/>
                <a:miter/>
              </a:ln>
            </p:spPr>
            <p:txBody>
              <a:bodyPr rtlCol="0" anchor="ctr"/>
              <a:lstStyle/>
              <a:p>
                <a:endParaRPr lang="en-GB"/>
              </a:p>
            </p:txBody>
          </p:sp>
        </p:grpSp>
        <p:grpSp>
          <p:nvGrpSpPr>
            <p:cNvPr id="972" name="Graphic 3">
              <a:extLst>
                <a:ext uri="{FF2B5EF4-FFF2-40B4-BE49-F238E27FC236}">
                  <a16:creationId xmlns:a16="http://schemas.microsoft.com/office/drawing/2014/main" id="{E019DEBE-6F73-479E-B856-769A4243F7C1}"/>
                </a:ext>
              </a:extLst>
            </p:cNvPr>
            <p:cNvGrpSpPr/>
            <p:nvPr/>
          </p:nvGrpSpPr>
          <p:grpSpPr>
            <a:xfrm>
              <a:off x="4112966" y="2095941"/>
              <a:ext cx="535265" cy="406235"/>
              <a:chOff x="4112966" y="2095941"/>
              <a:chExt cx="535265" cy="406235"/>
            </a:xfrm>
            <a:grpFill/>
          </p:grpSpPr>
          <p:sp>
            <p:nvSpPr>
              <p:cNvPr id="2483" name="Vrije vorm: vorm 2482">
                <a:extLst>
                  <a:ext uri="{FF2B5EF4-FFF2-40B4-BE49-F238E27FC236}">
                    <a16:creationId xmlns:a16="http://schemas.microsoft.com/office/drawing/2014/main" id="{2526B598-5430-4644-8B5D-532F5BB3406E}"/>
                  </a:ext>
                </a:extLst>
              </p:cNvPr>
              <p:cNvSpPr/>
              <p:nvPr/>
            </p:nvSpPr>
            <p:spPr>
              <a:xfrm>
                <a:off x="4120797" y="2103639"/>
                <a:ext cx="519545" cy="390780"/>
              </a:xfrm>
              <a:custGeom>
                <a:avLst/>
                <a:gdLst>
                  <a:gd name="connsiteX0" fmla="*/ 519545 w 519545"/>
                  <a:gd name="connsiteY0" fmla="*/ 388328 h 390780"/>
                  <a:gd name="connsiteX1" fmla="*/ 517691 w 519545"/>
                  <a:gd name="connsiteY1" fmla="*/ 390780 h 390780"/>
                  <a:gd name="connsiteX2" fmla="*/ 0 w 519545"/>
                  <a:gd name="connsiteY2" fmla="*/ 2452 h 390780"/>
                  <a:gd name="connsiteX3" fmla="*/ 1794 w 519545"/>
                  <a:gd name="connsiteY3" fmla="*/ 0 h 390780"/>
                </a:gdLst>
                <a:ahLst/>
                <a:cxnLst>
                  <a:cxn ang="0">
                    <a:pos x="connsiteX0" y="connsiteY0"/>
                  </a:cxn>
                  <a:cxn ang="0">
                    <a:pos x="connsiteX1" y="connsiteY1"/>
                  </a:cxn>
                  <a:cxn ang="0">
                    <a:pos x="connsiteX2" y="connsiteY2"/>
                  </a:cxn>
                  <a:cxn ang="0">
                    <a:pos x="connsiteX3" y="connsiteY3"/>
                  </a:cxn>
                </a:cxnLst>
                <a:rect l="l" t="t" r="r" b="b"/>
                <a:pathLst>
                  <a:path w="519545" h="390780">
                    <a:moveTo>
                      <a:pt x="519545" y="388328"/>
                    </a:moveTo>
                    <a:lnTo>
                      <a:pt x="517691" y="390780"/>
                    </a:lnTo>
                    <a:lnTo>
                      <a:pt x="0" y="2452"/>
                    </a:lnTo>
                    <a:lnTo>
                      <a:pt x="1794" y="0"/>
                    </a:lnTo>
                    <a:close/>
                  </a:path>
                </a:pathLst>
              </a:custGeom>
              <a:grpFill/>
              <a:ln w="5978" cap="flat">
                <a:noFill/>
                <a:prstDash val="solid"/>
                <a:miter/>
              </a:ln>
            </p:spPr>
            <p:txBody>
              <a:bodyPr rtlCol="0" anchor="ctr"/>
              <a:lstStyle/>
              <a:p>
                <a:endParaRPr lang="en-GB"/>
              </a:p>
            </p:txBody>
          </p:sp>
          <p:sp>
            <p:nvSpPr>
              <p:cNvPr id="2484" name="Vrije vorm: vorm 2483">
                <a:extLst>
                  <a:ext uri="{FF2B5EF4-FFF2-40B4-BE49-F238E27FC236}">
                    <a16:creationId xmlns:a16="http://schemas.microsoft.com/office/drawing/2014/main" id="{DB6E0B71-5501-47AA-8595-D8999A892AD3}"/>
                  </a:ext>
                </a:extLst>
              </p:cNvPr>
              <p:cNvSpPr/>
              <p:nvPr/>
            </p:nvSpPr>
            <p:spPr>
              <a:xfrm>
                <a:off x="4629940" y="2483731"/>
                <a:ext cx="18291" cy="18445"/>
              </a:xfrm>
              <a:custGeom>
                <a:avLst/>
                <a:gdLst>
                  <a:gd name="connsiteX0" fmla="*/ 14588 w 18291"/>
                  <a:gd name="connsiteY0" fmla="*/ 1837 h 18445"/>
                  <a:gd name="connsiteX1" fmla="*/ 16502 w 18291"/>
                  <a:gd name="connsiteY1" fmla="*/ 14755 h 18445"/>
                  <a:gd name="connsiteX2" fmla="*/ 3703 w 18291"/>
                  <a:gd name="connsiteY2" fmla="*/ 16609 h 18445"/>
                  <a:gd name="connsiteX3" fmla="*/ 1790 w 18291"/>
                  <a:gd name="connsiteY3" fmla="*/ 3691 h 18445"/>
                  <a:gd name="connsiteX4" fmla="*/ 14588 w 18291"/>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4588" y="1837"/>
                    </a:moveTo>
                    <a:cubicBezTo>
                      <a:pt x="18655" y="4887"/>
                      <a:pt x="19493" y="10628"/>
                      <a:pt x="16502" y="14755"/>
                    </a:cubicBezTo>
                    <a:cubicBezTo>
                      <a:pt x="13512" y="18822"/>
                      <a:pt x="7770" y="19659"/>
                      <a:pt x="3703" y="16609"/>
                    </a:cubicBezTo>
                    <a:cubicBezTo>
                      <a:pt x="-363" y="13559"/>
                      <a:pt x="-1201" y="7758"/>
                      <a:pt x="1790" y="3691"/>
                    </a:cubicBezTo>
                    <a:cubicBezTo>
                      <a:pt x="4780" y="-376"/>
                      <a:pt x="10522" y="-1213"/>
                      <a:pt x="14588" y="1837"/>
                    </a:cubicBezTo>
                    <a:close/>
                  </a:path>
                </a:pathLst>
              </a:custGeom>
              <a:grpFill/>
              <a:ln w="5978" cap="flat">
                <a:noFill/>
                <a:prstDash val="solid"/>
                <a:miter/>
              </a:ln>
            </p:spPr>
            <p:txBody>
              <a:bodyPr rtlCol="0" anchor="ctr"/>
              <a:lstStyle/>
              <a:p>
                <a:endParaRPr lang="en-GB"/>
              </a:p>
            </p:txBody>
          </p:sp>
          <p:sp>
            <p:nvSpPr>
              <p:cNvPr id="2485" name="Vrije vorm: vorm 2484">
                <a:extLst>
                  <a:ext uri="{FF2B5EF4-FFF2-40B4-BE49-F238E27FC236}">
                    <a16:creationId xmlns:a16="http://schemas.microsoft.com/office/drawing/2014/main" id="{27FD43A5-7543-47C4-B887-66E43800F0A6}"/>
                  </a:ext>
                </a:extLst>
              </p:cNvPr>
              <p:cNvSpPr/>
              <p:nvPr/>
            </p:nvSpPr>
            <p:spPr>
              <a:xfrm>
                <a:off x="4112966" y="2095941"/>
                <a:ext cx="18274" cy="18445"/>
              </a:xfrm>
              <a:custGeom>
                <a:avLst/>
                <a:gdLst>
                  <a:gd name="connsiteX0" fmla="*/ 14588 w 18274"/>
                  <a:gd name="connsiteY0" fmla="*/ 1837 h 18445"/>
                  <a:gd name="connsiteX1" fmla="*/ 1790 w 18274"/>
                  <a:gd name="connsiteY1" fmla="*/ 3691 h 18445"/>
                  <a:gd name="connsiteX2" fmla="*/ 3703 w 18274"/>
                  <a:gd name="connsiteY2" fmla="*/ 16609 h 18445"/>
                  <a:gd name="connsiteX3" fmla="*/ 16502 w 18274"/>
                  <a:gd name="connsiteY3" fmla="*/ 14755 h 18445"/>
                  <a:gd name="connsiteX4" fmla="*/ 14588 w 18274"/>
                  <a:gd name="connsiteY4" fmla="*/ 1837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5">
                    <a:moveTo>
                      <a:pt x="14588" y="1837"/>
                    </a:moveTo>
                    <a:cubicBezTo>
                      <a:pt x="10522" y="-1213"/>
                      <a:pt x="4780" y="-376"/>
                      <a:pt x="1790" y="3691"/>
                    </a:cubicBezTo>
                    <a:cubicBezTo>
                      <a:pt x="-1201" y="7758"/>
                      <a:pt x="-363" y="13559"/>
                      <a:pt x="3703" y="16609"/>
                    </a:cubicBezTo>
                    <a:cubicBezTo>
                      <a:pt x="7770" y="19659"/>
                      <a:pt x="13512" y="18822"/>
                      <a:pt x="16502" y="14755"/>
                    </a:cubicBezTo>
                    <a:cubicBezTo>
                      <a:pt x="19493" y="10688"/>
                      <a:pt x="18595" y="4887"/>
                      <a:pt x="14588" y="1837"/>
                    </a:cubicBezTo>
                    <a:close/>
                  </a:path>
                </a:pathLst>
              </a:custGeom>
              <a:grpFill/>
              <a:ln w="5978" cap="flat">
                <a:noFill/>
                <a:prstDash val="solid"/>
                <a:miter/>
              </a:ln>
            </p:spPr>
            <p:txBody>
              <a:bodyPr rtlCol="0" anchor="ctr"/>
              <a:lstStyle/>
              <a:p>
                <a:endParaRPr lang="en-GB"/>
              </a:p>
            </p:txBody>
          </p:sp>
        </p:grpSp>
        <p:grpSp>
          <p:nvGrpSpPr>
            <p:cNvPr id="973" name="Graphic 3">
              <a:extLst>
                <a:ext uri="{FF2B5EF4-FFF2-40B4-BE49-F238E27FC236}">
                  <a16:creationId xmlns:a16="http://schemas.microsoft.com/office/drawing/2014/main" id="{A49F036F-03BE-4551-952C-5573479623A1}"/>
                </a:ext>
              </a:extLst>
            </p:cNvPr>
            <p:cNvGrpSpPr/>
            <p:nvPr/>
          </p:nvGrpSpPr>
          <p:grpSpPr>
            <a:xfrm>
              <a:off x="5245651" y="4888921"/>
              <a:ext cx="42316" cy="64172"/>
              <a:chOff x="5245651" y="4888921"/>
              <a:chExt cx="42316" cy="64172"/>
            </a:xfrm>
            <a:grpFill/>
          </p:grpSpPr>
          <p:sp>
            <p:nvSpPr>
              <p:cNvPr id="2480" name="Vrije vorm: vorm 2479">
                <a:extLst>
                  <a:ext uri="{FF2B5EF4-FFF2-40B4-BE49-F238E27FC236}">
                    <a16:creationId xmlns:a16="http://schemas.microsoft.com/office/drawing/2014/main" id="{F8F1A047-6947-4195-8FED-2CFD4E2C2712}"/>
                  </a:ext>
                </a:extLst>
              </p:cNvPr>
              <p:cNvSpPr/>
              <p:nvPr/>
            </p:nvSpPr>
            <p:spPr>
              <a:xfrm>
                <a:off x="5253306" y="4896995"/>
                <a:ext cx="27092" cy="47965"/>
              </a:xfrm>
              <a:custGeom>
                <a:avLst/>
                <a:gdLst>
                  <a:gd name="connsiteX0" fmla="*/ 27093 w 27092"/>
                  <a:gd name="connsiteY0" fmla="*/ 1435 h 47965"/>
                  <a:gd name="connsiteX1" fmla="*/ 2691 w 27092"/>
                  <a:gd name="connsiteY1" fmla="*/ 47965 h 47965"/>
                  <a:gd name="connsiteX2" fmla="*/ 0 w 27092"/>
                  <a:gd name="connsiteY2" fmla="*/ 46530 h 47965"/>
                  <a:gd name="connsiteX3" fmla="*/ 24401 w 27092"/>
                  <a:gd name="connsiteY3" fmla="*/ 0 h 47965"/>
                </a:gdLst>
                <a:ahLst/>
                <a:cxnLst>
                  <a:cxn ang="0">
                    <a:pos x="connsiteX0" y="connsiteY0"/>
                  </a:cxn>
                  <a:cxn ang="0">
                    <a:pos x="connsiteX1" y="connsiteY1"/>
                  </a:cxn>
                  <a:cxn ang="0">
                    <a:pos x="connsiteX2" y="connsiteY2"/>
                  </a:cxn>
                  <a:cxn ang="0">
                    <a:pos x="connsiteX3" y="connsiteY3"/>
                  </a:cxn>
                </a:cxnLst>
                <a:rect l="l" t="t" r="r" b="b"/>
                <a:pathLst>
                  <a:path w="27092" h="47965">
                    <a:moveTo>
                      <a:pt x="27093" y="1435"/>
                    </a:moveTo>
                    <a:lnTo>
                      <a:pt x="2691" y="47965"/>
                    </a:lnTo>
                    <a:lnTo>
                      <a:pt x="0" y="46530"/>
                    </a:lnTo>
                    <a:lnTo>
                      <a:pt x="24401" y="0"/>
                    </a:lnTo>
                    <a:close/>
                  </a:path>
                </a:pathLst>
              </a:custGeom>
              <a:grpFill/>
              <a:ln w="5978" cap="flat">
                <a:noFill/>
                <a:prstDash val="solid"/>
                <a:miter/>
              </a:ln>
            </p:spPr>
            <p:txBody>
              <a:bodyPr rtlCol="0" anchor="ctr"/>
              <a:lstStyle/>
              <a:p>
                <a:endParaRPr lang="en-GB"/>
              </a:p>
            </p:txBody>
          </p:sp>
          <p:sp>
            <p:nvSpPr>
              <p:cNvPr id="2481" name="Vrije vorm: vorm 2480">
                <a:extLst>
                  <a:ext uri="{FF2B5EF4-FFF2-40B4-BE49-F238E27FC236}">
                    <a16:creationId xmlns:a16="http://schemas.microsoft.com/office/drawing/2014/main" id="{7C3AD9CC-2117-4BE1-8FAA-51B6B8E04E8A}"/>
                  </a:ext>
                </a:extLst>
              </p:cNvPr>
              <p:cNvSpPr/>
              <p:nvPr/>
            </p:nvSpPr>
            <p:spPr>
              <a:xfrm>
                <a:off x="5245651" y="4934674"/>
                <a:ext cx="18360" cy="18420"/>
              </a:xfrm>
              <a:custGeom>
                <a:avLst/>
                <a:gdLst>
                  <a:gd name="connsiteX0" fmla="*/ 17284 w 18360"/>
                  <a:gd name="connsiteY0" fmla="*/ 13516 h 18420"/>
                  <a:gd name="connsiteX1" fmla="*/ 4904 w 18360"/>
                  <a:gd name="connsiteY1" fmla="*/ 17344 h 18420"/>
                  <a:gd name="connsiteX2" fmla="*/ 1076 w 18360"/>
                  <a:gd name="connsiteY2" fmla="*/ 4904 h 18420"/>
                  <a:gd name="connsiteX3" fmla="*/ 13457 w 18360"/>
                  <a:gd name="connsiteY3" fmla="*/ 1076 h 18420"/>
                  <a:gd name="connsiteX4" fmla="*/ 17284 w 18360"/>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17284" y="13516"/>
                    </a:moveTo>
                    <a:cubicBezTo>
                      <a:pt x="14952" y="18002"/>
                      <a:pt x="9390" y="19736"/>
                      <a:pt x="4904" y="17344"/>
                    </a:cubicBezTo>
                    <a:cubicBezTo>
                      <a:pt x="419" y="14952"/>
                      <a:pt x="-1316" y="9390"/>
                      <a:pt x="1076" y="4904"/>
                    </a:cubicBezTo>
                    <a:cubicBezTo>
                      <a:pt x="3409" y="419"/>
                      <a:pt x="8971" y="-1316"/>
                      <a:pt x="13457" y="1076"/>
                    </a:cubicBezTo>
                    <a:cubicBezTo>
                      <a:pt x="17942" y="3409"/>
                      <a:pt x="19676" y="9031"/>
                      <a:pt x="17284" y="13516"/>
                    </a:cubicBezTo>
                    <a:close/>
                  </a:path>
                </a:pathLst>
              </a:custGeom>
              <a:grpFill/>
              <a:ln w="5978" cap="flat">
                <a:noFill/>
                <a:prstDash val="solid"/>
                <a:miter/>
              </a:ln>
            </p:spPr>
            <p:txBody>
              <a:bodyPr rtlCol="0" anchor="ctr"/>
              <a:lstStyle/>
              <a:p>
                <a:endParaRPr lang="en-GB"/>
              </a:p>
            </p:txBody>
          </p:sp>
          <p:sp>
            <p:nvSpPr>
              <p:cNvPr id="2482" name="Vrije vorm: vorm 2481">
                <a:extLst>
                  <a:ext uri="{FF2B5EF4-FFF2-40B4-BE49-F238E27FC236}">
                    <a16:creationId xmlns:a16="http://schemas.microsoft.com/office/drawing/2014/main" id="{DD6D2440-BC82-4685-8C4F-0FC83CE4F0D9}"/>
                  </a:ext>
                </a:extLst>
              </p:cNvPr>
              <p:cNvSpPr/>
              <p:nvPr/>
            </p:nvSpPr>
            <p:spPr>
              <a:xfrm>
                <a:off x="5269660" y="4888921"/>
                <a:ext cx="18307" cy="18420"/>
              </a:xfrm>
              <a:custGeom>
                <a:avLst/>
                <a:gdLst>
                  <a:gd name="connsiteX0" fmla="*/ 17258 w 18307"/>
                  <a:gd name="connsiteY0" fmla="*/ 13516 h 18420"/>
                  <a:gd name="connsiteX1" fmla="*/ 13430 w 18307"/>
                  <a:gd name="connsiteY1" fmla="*/ 1076 h 18420"/>
                  <a:gd name="connsiteX2" fmla="*/ 1050 w 18307"/>
                  <a:gd name="connsiteY2" fmla="*/ 4904 h 18420"/>
                  <a:gd name="connsiteX3" fmla="*/ 4877 w 18307"/>
                  <a:gd name="connsiteY3" fmla="*/ 17344 h 18420"/>
                  <a:gd name="connsiteX4" fmla="*/ 17258 w 18307"/>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0">
                    <a:moveTo>
                      <a:pt x="17258" y="13516"/>
                    </a:moveTo>
                    <a:cubicBezTo>
                      <a:pt x="19590" y="9031"/>
                      <a:pt x="17916" y="3469"/>
                      <a:pt x="13430" y="1076"/>
                    </a:cubicBezTo>
                    <a:cubicBezTo>
                      <a:pt x="8945" y="-1316"/>
                      <a:pt x="3382" y="418"/>
                      <a:pt x="1050" y="4904"/>
                    </a:cubicBezTo>
                    <a:cubicBezTo>
                      <a:pt x="-1283" y="9389"/>
                      <a:pt x="392" y="14952"/>
                      <a:pt x="4877" y="17344"/>
                    </a:cubicBezTo>
                    <a:cubicBezTo>
                      <a:pt x="9363" y="19736"/>
                      <a:pt x="14925" y="18002"/>
                      <a:pt x="17258" y="13516"/>
                    </a:cubicBezTo>
                    <a:close/>
                  </a:path>
                </a:pathLst>
              </a:custGeom>
              <a:grpFill/>
              <a:ln w="5978" cap="flat">
                <a:noFill/>
                <a:prstDash val="solid"/>
                <a:miter/>
              </a:ln>
            </p:spPr>
            <p:txBody>
              <a:bodyPr rtlCol="0" anchor="ctr"/>
              <a:lstStyle/>
              <a:p>
                <a:endParaRPr lang="en-GB"/>
              </a:p>
            </p:txBody>
          </p:sp>
        </p:grpSp>
        <p:grpSp>
          <p:nvGrpSpPr>
            <p:cNvPr id="974" name="Graphic 3">
              <a:extLst>
                <a:ext uri="{FF2B5EF4-FFF2-40B4-BE49-F238E27FC236}">
                  <a16:creationId xmlns:a16="http://schemas.microsoft.com/office/drawing/2014/main" id="{51D05303-F978-4F23-9544-1E4E18AE6966}"/>
                </a:ext>
              </a:extLst>
            </p:cNvPr>
            <p:cNvGrpSpPr/>
            <p:nvPr/>
          </p:nvGrpSpPr>
          <p:grpSpPr>
            <a:xfrm>
              <a:off x="5334197" y="5122890"/>
              <a:ext cx="170986" cy="486861"/>
              <a:chOff x="5334197" y="5122890"/>
              <a:chExt cx="170986" cy="486861"/>
            </a:xfrm>
            <a:grpFill/>
          </p:grpSpPr>
          <p:sp>
            <p:nvSpPr>
              <p:cNvPr id="2477" name="Vrije vorm: vorm 2476">
                <a:extLst>
                  <a:ext uri="{FF2B5EF4-FFF2-40B4-BE49-F238E27FC236}">
                    <a16:creationId xmlns:a16="http://schemas.microsoft.com/office/drawing/2014/main" id="{B03F01FF-AB7F-4518-9497-4335738A1237}"/>
                  </a:ext>
                </a:extLst>
              </p:cNvPr>
              <p:cNvSpPr/>
              <p:nvPr/>
            </p:nvSpPr>
            <p:spPr>
              <a:xfrm>
                <a:off x="5341761" y="5131200"/>
                <a:ext cx="155857" cy="470264"/>
              </a:xfrm>
              <a:custGeom>
                <a:avLst/>
                <a:gdLst>
                  <a:gd name="connsiteX0" fmla="*/ 155858 w 155857"/>
                  <a:gd name="connsiteY0" fmla="*/ 957 h 470264"/>
                  <a:gd name="connsiteX1" fmla="*/ 2930 w 155857"/>
                  <a:gd name="connsiteY1" fmla="*/ 470264 h 470264"/>
                  <a:gd name="connsiteX2" fmla="*/ 0 w 155857"/>
                  <a:gd name="connsiteY2" fmla="*/ 469248 h 470264"/>
                  <a:gd name="connsiteX3" fmla="*/ 152987 w 155857"/>
                  <a:gd name="connsiteY3" fmla="*/ 0 h 470264"/>
                </a:gdLst>
                <a:ahLst/>
                <a:cxnLst>
                  <a:cxn ang="0">
                    <a:pos x="connsiteX0" y="connsiteY0"/>
                  </a:cxn>
                  <a:cxn ang="0">
                    <a:pos x="connsiteX1" y="connsiteY1"/>
                  </a:cxn>
                  <a:cxn ang="0">
                    <a:pos x="connsiteX2" y="connsiteY2"/>
                  </a:cxn>
                  <a:cxn ang="0">
                    <a:pos x="connsiteX3" y="connsiteY3"/>
                  </a:cxn>
                </a:cxnLst>
                <a:rect l="l" t="t" r="r" b="b"/>
                <a:pathLst>
                  <a:path w="155857" h="470264">
                    <a:moveTo>
                      <a:pt x="155858" y="957"/>
                    </a:moveTo>
                    <a:lnTo>
                      <a:pt x="2930" y="470264"/>
                    </a:lnTo>
                    <a:lnTo>
                      <a:pt x="0" y="469248"/>
                    </a:lnTo>
                    <a:lnTo>
                      <a:pt x="152987" y="0"/>
                    </a:lnTo>
                    <a:close/>
                  </a:path>
                </a:pathLst>
              </a:custGeom>
              <a:grpFill/>
              <a:ln w="5978" cap="flat">
                <a:noFill/>
                <a:prstDash val="solid"/>
                <a:miter/>
              </a:ln>
            </p:spPr>
            <p:txBody>
              <a:bodyPr rtlCol="0" anchor="ctr"/>
              <a:lstStyle/>
              <a:p>
                <a:endParaRPr lang="en-GB"/>
              </a:p>
            </p:txBody>
          </p:sp>
          <p:sp>
            <p:nvSpPr>
              <p:cNvPr id="2478" name="Vrije vorm: vorm 2477">
                <a:extLst>
                  <a:ext uri="{FF2B5EF4-FFF2-40B4-BE49-F238E27FC236}">
                    <a16:creationId xmlns:a16="http://schemas.microsoft.com/office/drawing/2014/main" id="{788A804F-1A64-4970-B0D2-BBA1AE616517}"/>
                  </a:ext>
                </a:extLst>
              </p:cNvPr>
              <p:cNvSpPr/>
              <p:nvPr/>
            </p:nvSpPr>
            <p:spPr>
              <a:xfrm>
                <a:off x="5334197" y="5591300"/>
                <a:ext cx="18326" cy="18451"/>
              </a:xfrm>
              <a:custGeom>
                <a:avLst/>
                <a:gdLst>
                  <a:gd name="connsiteX0" fmla="*/ 17851 w 18326"/>
                  <a:gd name="connsiteY0" fmla="*/ 12138 h 18451"/>
                  <a:gd name="connsiteX1" fmla="*/ 6308 w 18326"/>
                  <a:gd name="connsiteY1" fmla="*/ 17999 h 18451"/>
                  <a:gd name="connsiteX2" fmla="*/ 447 w 18326"/>
                  <a:gd name="connsiteY2" fmla="*/ 6337 h 18451"/>
                  <a:gd name="connsiteX3" fmla="*/ 11990 w 18326"/>
                  <a:gd name="connsiteY3" fmla="*/ 476 h 18451"/>
                  <a:gd name="connsiteX4" fmla="*/ 17851 w 18326"/>
                  <a:gd name="connsiteY4" fmla="*/ 12138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1">
                    <a:moveTo>
                      <a:pt x="17851" y="12138"/>
                    </a:moveTo>
                    <a:cubicBezTo>
                      <a:pt x="16296" y="16982"/>
                      <a:pt x="11093" y="19554"/>
                      <a:pt x="6308" y="17999"/>
                    </a:cubicBezTo>
                    <a:cubicBezTo>
                      <a:pt x="1524" y="16384"/>
                      <a:pt x="-1108" y="11181"/>
                      <a:pt x="447" y="6337"/>
                    </a:cubicBezTo>
                    <a:cubicBezTo>
                      <a:pt x="2002" y="1492"/>
                      <a:pt x="7205" y="-1139"/>
                      <a:pt x="11990" y="476"/>
                    </a:cubicBezTo>
                    <a:cubicBezTo>
                      <a:pt x="16834" y="2091"/>
                      <a:pt x="19466" y="7294"/>
                      <a:pt x="17851" y="12138"/>
                    </a:cubicBezTo>
                    <a:close/>
                  </a:path>
                </a:pathLst>
              </a:custGeom>
              <a:grpFill/>
              <a:ln w="5978" cap="flat">
                <a:noFill/>
                <a:prstDash val="solid"/>
                <a:miter/>
              </a:ln>
            </p:spPr>
            <p:txBody>
              <a:bodyPr rtlCol="0" anchor="ctr"/>
              <a:lstStyle/>
              <a:p>
                <a:endParaRPr lang="en-GB"/>
              </a:p>
            </p:txBody>
          </p:sp>
          <p:sp>
            <p:nvSpPr>
              <p:cNvPr id="2479" name="Vrije vorm: vorm 2478">
                <a:extLst>
                  <a:ext uri="{FF2B5EF4-FFF2-40B4-BE49-F238E27FC236}">
                    <a16:creationId xmlns:a16="http://schemas.microsoft.com/office/drawing/2014/main" id="{4E89C945-8394-48A3-8A24-89B8AFFD7B09}"/>
                  </a:ext>
                </a:extLst>
              </p:cNvPr>
              <p:cNvSpPr/>
              <p:nvPr/>
            </p:nvSpPr>
            <p:spPr>
              <a:xfrm>
                <a:off x="5486885" y="5122890"/>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9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5" y="2091"/>
                      <a:pt x="11990" y="476"/>
                    </a:cubicBezTo>
                    <a:cubicBezTo>
                      <a:pt x="7205" y="-1139"/>
                      <a:pt x="2002" y="1492"/>
                      <a:pt x="447" y="6337"/>
                    </a:cubicBezTo>
                    <a:cubicBezTo>
                      <a:pt x="-1108" y="11181"/>
                      <a:pt x="1524" y="16384"/>
                      <a:pt x="6309" y="17999"/>
                    </a:cubicBezTo>
                    <a:cubicBezTo>
                      <a:pt x="11093" y="19614"/>
                      <a:pt x="16296" y="16982"/>
                      <a:pt x="17851" y="12138"/>
                    </a:cubicBezTo>
                    <a:close/>
                  </a:path>
                </a:pathLst>
              </a:custGeom>
              <a:grpFill/>
              <a:ln w="5978" cap="flat">
                <a:noFill/>
                <a:prstDash val="solid"/>
                <a:miter/>
              </a:ln>
            </p:spPr>
            <p:txBody>
              <a:bodyPr rtlCol="0" anchor="ctr"/>
              <a:lstStyle/>
              <a:p>
                <a:endParaRPr lang="en-GB"/>
              </a:p>
            </p:txBody>
          </p:sp>
        </p:grpSp>
        <p:grpSp>
          <p:nvGrpSpPr>
            <p:cNvPr id="975" name="Graphic 3">
              <a:extLst>
                <a:ext uri="{FF2B5EF4-FFF2-40B4-BE49-F238E27FC236}">
                  <a16:creationId xmlns:a16="http://schemas.microsoft.com/office/drawing/2014/main" id="{C6B1AF02-01A5-4BF1-957E-00D7BAF0426F}"/>
                </a:ext>
              </a:extLst>
            </p:cNvPr>
            <p:cNvGrpSpPr/>
            <p:nvPr/>
          </p:nvGrpSpPr>
          <p:grpSpPr>
            <a:xfrm>
              <a:off x="5315128" y="5099212"/>
              <a:ext cx="127254" cy="314574"/>
              <a:chOff x="5315128" y="5099212"/>
              <a:chExt cx="127254" cy="314574"/>
            </a:xfrm>
            <a:grpFill/>
          </p:grpSpPr>
          <p:sp>
            <p:nvSpPr>
              <p:cNvPr id="2474" name="Vrije vorm: vorm 2473">
                <a:extLst>
                  <a:ext uri="{FF2B5EF4-FFF2-40B4-BE49-F238E27FC236}">
                    <a16:creationId xmlns:a16="http://schemas.microsoft.com/office/drawing/2014/main" id="{C8C00802-05A8-4813-8880-8FB25A564A1E}"/>
                  </a:ext>
                </a:extLst>
              </p:cNvPr>
              <p:cNvSpPr/>
              <p:nvPr/>
            </p:nvSpPr>
            <p:spPr>
              <a:xfrm>
                <a:off x="5322743" y="5107457"/>
                <a:ext cx="112078" cy="298138"/>
              </a:xfrm>
              <a:custGeom>
                <a:avLst/>
                <a:gdLst>
                  <a:gd name="connsiteX0" fmla="*/ 112079 w 112078"/>
                  <a:gd name="connsiteY0" fmla="*/ 1076 h 298138"/>
                  <a:gd name="connsiteX1" fmla="*/ 2871 w 112078"/>
                  <a:gd name="connsiteY1" fmla="*/ 298139 h 298138"/>
                  <a:gd name="connsiteX2" fmla="*/ 0 w 112078"/>
                  <a:gd name="connsiteY2" fmla="*/ 297062 h 298138"/>
                  <a:gd name="connsiteX3" fmla="*/ 109208 w 112078"/>
                  <a:gd name="connsiteY3" fmla="*/ 0 h 298138"/>
                </a:gdLst>
                <a:ahLst/>
                <a:cxnLst>
                  <a:cxn ang="0">
                    <a:pos x="connsiteX0" y="connsiteY0"/>
                  </a:cxn>
                  <a:cxn ang="0">
                    <a:pos x="connsiteX1" y="connsiteY1"/>
                  </a:cxn>
                  <a:cxn ang="0">
                    <a:pos x="connsiteX2" y="connsiteY2"/>
                  </a:cxn>
                  <a:cxn ang="0">
                    <a:pos x="connsiteX3" y="connsiteY3"/>
                  </a:cxn>
                </a:cxnLst>
                <a:rect l="l" t="t" r="r" b="b"/>
                <a:pathLst>
                  <a:path w="112078" h="298138">
                    <a:moveTo>
                      <a:pt x="112079" y="1076"/>
                    </a:moveTo>
                    <a:lnTo>
                      <a:pt x="2871" y="298139"/>
                    </a:lnTo>
                    <a:lnTo>
                      <a:pt x="0" y="297062"/>
                    </a:lnTo>
                    <a:lnTo>
                      <a:pt x="109208" y="0"/>
                    </a:lnTo>
                    <a:close/>
                  </a:path>
                </a:pathLst>
              </a:custGeom>
              <a:grpFill/>
              <a:ln w="5978" cap="flat">
                <a:noFill/>
                <a:prstDash val="solid"/>
                <a:miter/>
              </a:ln>
            </p:spPr>
            <p:txBody>
              <a:bodyPr rtlCol="0" anchor="ctr"/>
              <a:lstStyle/>
              <a:p>
                <a:endParaRPr lang="en-GB"/>
              </a:p>
            </p:txBody>
          </p:sp>
          <p:sp>
            <p:nvSpPr>
              <p:cNvPr id="2475" name="Vrije vorm: vorm 2474">
                <a:extLst>
                  <a:ext uri="{FF2B5EF4-FFF2-40B4-BE49-F238E27FC236}">
                    <a16:creationId xmlns:a16="http://schemas.microsoft.com/office/drawing/2014/main" id="{DBB961C9-CD8F-4331-BC62-E9CC44BF1F46}"/>
                  </a:ext>
                </a:extLst>
              </p:cNvPr>
              <p:cNvSpPr/>
              <p:nvPr/>
            </p:nvSpPr>
            <p:spPr>
              <a:xfrm>
                <a:off x="5315128" y="5395371"/>
                <a:ext cx="18369" cy="18415"/>
              </a:xfrm>
              <a:custGeom>
                <a:avLst/>
                <a:gdLst>
                  <a:gd name="connsiteX0" fmla="*/ 17782 w 18369"/>
                  <a:gd name="connsiteY0" fmla="*/ 12437 h 18415"/>
                  <a:gd name="connsiteX1" fmla="*/ 6000 w 18369"/>
                  <a:gd name="connsiteY1" fmla="*/ 17820 h 18415"/>
                  <a:gd name="connsiteX2" fmla="*/ 557 w 18369"/>
                  <a:gd name="connsiteY2" fmla="*/ 5978 h 18415"/>
                  <a:gd name="connsiteX3" fmla="*/ 12339 w 18369"/>
                  <a:gd name="connsiteY3" fmla="*/ 596 h 18415"/>
                  <a:gd name="connsiteX4" fmla="*/ 17782 w 18369"/>
                  <a:gd name="connsiteY4" fmla="*/ 12437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5">
                    <a:moveTo>
                      <a:pt x="17782" y="12437"/>
                    </a:moveTo>
                    <a:cubicBezTo>
                      <a:pt x="16047" y="17222"/>
                      <a:pt x="10784" y="19614"/>
                      <a:pt x="6000" y="17820"/>
                    </a:cubicBezTo>
                    <a:cubicBezTo>
                      <a:pt x="1275" y="16026"/>
                      <a:pt x="-1177" y="10703"/>
                      <a:pt x="557" y="5978"/>
                    </a:cubicBezTo>
                    <a:cubicBezTo>
                      <a:pt x="2292" y="1194"/>
                      <a:pt x="7555" y="-1198"/>
                      <a:pt x="12339" y="596"/>
                    </a:cubicBezTo>
                    <a:cubicBezTo>
                      <a:pt x="17124" y="2390"/>
                      <a:pt x="19576" y="7713"/>
                      <a:pt x="17782" y="12437"/>
                    </a:cubicBezTo>
                    <a:close/>
                  </a:path>
                </a:pathLst>
              </a:custGeom>
              <a:grpFill/>
              <a:ln w="5978" cap="flat">
                <a:noFill/>
                <a:prstDash val="solid"/>
                <a:miter/>
              </a:ln>
            </p:spPr>
            <p:txBody>
              <a:bodyPr rtlCol="0" anchor="ctr"/>
              <a:lstStyle/>
              <a:p>
                <a:endParaRPr lang="en-GB"/>
              </a:p>
            </p:txBody>
          </p:sp>
          <p:sp>
            <p:nvSpPr>
              <p:cNvPr id="2476" name="Vrije vorm: vorm 2475">
                <a:extLst>
                  <a:ext uri="{FF2B5EF4-FFF2-40B4-BE49-F238E27FC236}">
                    <a16:creationId xmlns:a16="http://schemas.microsoft.com/office/drawing/2014/main" id="{F67614B7-B278-4DC8-9290-64685E2DFB7A}"/>
                  </a:ext>
                </a:extLst>
              </p:cNvPr>
              <p:cNvSpPr/>
              <p:nvPr/>
            </p:nvSpPr>
            <p:spPr>
              <a:xfrm>
                <a:off x="5424030" y="5099212"/>
                <a:ext cx="18352" cy="18401"/>
              </a:xfrm>
              <a:custGeom>
                <a:avLst/>
                <a:gdLst>
                  <a:gd name="connsiteX0" fmla="*/ 17788 w 18352"/>
                  <a:gd name="connsiteY0" fmla="*/ 12430 h 18401"/>
                  <a:gd name="connsiteX1" fmla="*/ 12346 w 18352"/>
                  <a:gd name="connsiteY1" fmla="*/ 589 h 18401"/>
                  <a:gd name="connsiteX2" fmla="*/ 564 w 18352"/>
                  <a:gd name="connsiteY2" fmla="*/ 5971 h 18401"/>
                  <a:gd name="connsiteX3" fmla="*/ 6006 w 18352"/>
                  <a:gd name="connsiteY3" fmla="*/ 17813 h 18401"/>
                  <a:gd name="connsiteX4" fmla="*/ 17788 w 18352"/>
                  <a:gd name="connsiteY4" fmla="*/ 12430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1">
                    <a:moveTo>
                      <a:pt x="17788" y="12430"/>
                    </a:moveTo>
                    <a:cubicBezTo>
                      <a:pt x="19523" y="7646"/>
                      <a:pt x="17131" y="2383"/>
                      <a:pt x="12346" y="589"/>
                    </a:cubicBezTo>
                    <a:cubicBezTo>
                      <a:pt x="7621" y="-1205"/>
                      <a:pt x="2298" y="1246"/>
                      <a:pt x="564" y="5971"/>
                    </a:cubicBezTo>
                    <a:cubicBezTo>
                      <a:pt x="-1170" y="10756"/>
                      <a:pt x="1222" y="16019"/>
                      <a:pt x="6006" y="17813"/>
                    </a:cubicBezTo>
                    <a:cubicBezTo>
                      <a:pt x="10791" y="19607"/>
                      <a:pt x="16054" y="17155"/>
                      <a:pt x="17788" y="12430"/>
                    </a:cubicBezTo>
                    <a:close/>
                  </a:path>
                </a:pathLst>
              </a:custGeom>
              <a:grpFill/>
              <a:ln w="5978" cap="flat">
                <a:noFill/>
                <a:prstDash val="solid"/>
                <a:miter/>
              </a:ln>
            </p:spPr>
            <p:txBody>
              <a:bodyPr rtlCol="0" anchor="ctr"/>
              <a:lstStyle/>
              <a:p>
                <a:endParaRPr lang="en-GB"/>
              </a:p>
            </p:txBody>
          </p:sp>
        </p:grpSp>
        <p:grpSp>
          <p:nvGrpSpPr>
            <p:cNvPr id="976" name="Graphic 3">
              <a:extLst>
                <a:ext uri="{FF2B5EF4-FFF2-40B4-BE49-F238E27FC236}">
                  <a16:creationId xmlns:a16="http://schemas.microsoft.com/office/drawing/2014/main" id="{5CBFFC2C-654C-45D2-8E21-DC34163CF134}"/>
                </a:ext>
              </a:extLst>
            </p:cNvPr>
            <p:cNvGrpSpPr/>
            <p:nvPr/>
          </p:nvGrpSpPr>
          <p:grpSpPr>
            <a:xfrm>
              <a:off x="5227589" y="4966119"/>
              <a:ext cx="195961" cy="354085"/>
              <a:chOff x="5227589" y="4966119"/>
              <a:chExt cx="195961" cy="354085"/>
            </a:xfrm>
            <a:grpFill/>
          </p:grpSpPr>
          <p:sp>
            <p:nvSpPr>
              <p:cNvPr id="2471" name="Vrije vorm: vorm 2470">
                <a:extLst>
                  <a:ext uri="{FF2B5EF4-FFF2-40B4-BE49-F238E27FC236}">
                    <a16:creationId xmlns:a16="http://schemas.microsoft.com/office/drawing/2014/main" id="{0FFDD755-570B-4336-AF64-6D8D2352FCFB}"/>
                  </a:ext>
                </a:extLst>
              </p:cNvPr>
              <p:cNvSpPr/>
              <p:nvPr/>
            </p:nvSpPr>
            <p:spPr>
              <a:xfrm>
                <a:off x="5235185" y="4974206"/>
                <a:ext cx="180737" cy="337850"/>
              </a:xfrm>
              <a:custGeom>
                <a:avLst/>
                <a:gdLst>
                  <a:gd name="connsiteX0" fmla="*/ 180737 w 180737"/>
                  <a:gd name="connsiteY0" fmla="*/ 1435 h 337850"/>
                  <a:gd name="connsiteX1" fmla="*/ 2691 w 180737"/>
                  <a:gd name="connsiteY1" fmla="*/ 337851 h 337850"/>
                  <a:gd name="connsiteX2" fmla="*/ 0 w 180737"/>
                  <a:gd name="connsiteY2" fmla="*/ 336416 h 337850"/>
                  <a:gd name="connsiteX3" fmla="*/ 178046 w 180737"/>
                  <a:gd name="connsiteY3" fmla="*/ 0 h 337850"/>
                </a:gdLst>
                <a:ahLst/>
                <a:cxnLst>
                  <a:cxn ang="0">
                    <a:pos x="connsiteX0" y="connsiteY0"/>
                  </a:cxn>
                  <a:cxn ang="0">
                    <a:pos x="connsiteX1" y="connsiteY1"/>
                  </a:cxn>
                  <a:cxn ang="0">
                    <a:pos x="connsiteX2" y="connsiteY2"/>
                  </a:cxn>
                  <a:cxn ang="0">
                    <a:pos x="connsiteX3" y="connsiteY3"/>
                  </a:cxn>
                </a:cxnLst>
                <a:rect l="l" t="t" r="r" b="b"/>
                <a:pathLst>
                  <a:path w="180737" h="337850">
                    <a:moveTo>
                      <a:pt x="180737" y="1435"/>
                    </a:moveTo>
                    <a:lnTo>
                      <a:pt x="2691" y="337851"/>
                    </a:lnTo>
                    <a:lnTo>
                      <a:pt x="0" y="336416"/>
                    </a:lnTo>
                    <a:lnTo>
                      <a:pt x="178046" y="0"/>
                    </a:lnTo>
                    <a:close/>
                  </a:path>
                </a:pathLst>
              </a:custGeom>
              <a:grpFill/>
              <a:ln w="5978" cap="flat">
                <a:noFill/>
                <a:prstDash val="solid"/>
                <a:miter/>
              </a:ln>
            </p:spPr>
            <p:txBody>
              <a:bodyPr rtlCol="0" anchor="ctr"/>
              <a:lstStyle/>
              <a:p>
                <a:endParaRPr lang="en-GB"/>
              </a:p>
            </p:txBody>
          </p:sp>
          <p:sp>
            <p:nvSpPr>
              <p:cNvPr id="2472" name="Vrije vorm: vorm 2471">
                <a:extLst>
                  <a:ext uri="{FF2B5EF4-FFF2-40B4-BE49-F238E27FC236}">
                    <a16:creationId xmlns:a16="http://schemas.microsoft.com/office/drawing/2014/main" id="{889F454B-8347-4F2E-8AF8-91560C37759F}"/>
                  </a:ext>
                </a:extLst>
              </p:cNvPr>
              <p:cNvSpPr/>
              <p:nvPr/>
            </p:nvSpPr>
            <p:spPr>
              <a:xfrm>
                <a:off x="5405205" y="4966119"/>
                <a:ext cx="18345" cy="18447"/>
              </a:xfrm>
              <a:custGeom>
                <a:avLst/>
                <a:gdLst>
                  <a:gd name="connsiteX0" fmla="*/ 1088 w 18345"/>
                  <a:gd name="connsiteY0" fmla="*/ 4858 h 18447"/>
                  <a:gd name="connsiteX1" fmla="*/ 13468 w 18345"/>
                  <a:gd name="connsiteY1" fmla="*/ 1090 h 18447"/>
                  <a:gd name="connsiteX2" fmla="*/ 17296 w 18345"/>
                  <a:gd name="connsiteY2" fmla="*/ 13589 h 18447"/>
                  <a:gd name="connsiteX3" fmla="*/ 4916 w 18345"/>
                  <a:gd name="connsiteY3" fmla="*/ 17357 h 18447"/>
                  <a:gd name="connsiteX4" fmla="*/ 1088 w 18345"/>
                  <a:gd name="connsiteY4" fmla="*/ 485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7">
                    <a:moveTo>
                      <a:pt x="1088" y="4858"/>
                    </a:moveTo>
                    <a:cubicBezTo>
                      <a:pt x="3481" y="372"/>
                      <a:pt x="8983" y="-1303"/>
                      <a:pt x="13468" y="1090"/>
                    </a:cubicBezTo>
                    <a:cubicBezTo>
                      <a:pt x="17954" y="3482"/>
                      <a:pt x="19628" y="9104"/>
                      <a:pt x="17296" y="13589"/>
                    </a:cubicBezTo>
                    <a:cubicBezTo>
                      <a:pt x="14904" y="18075"/>
                      <a:pt x="9401" y="19750"/>
                      <a:pt x="4916" y="17357"/>
                    </a:cubicBezTo>
                    <a:cubicBezTo>
                      <a:pt x="370" y="14965"/>
                      <a:pt x="-1304" y="9343"/>
                      <a:pt x="1088" y="4858"/>
                    </a:cubicBezTo>
                    <a:close/>
                  </a:path>
                </a:pathLst>
              </a:custGeom>
              <a:grpFill/>
              <a:ln w="5978" cap="flat">
                <a:noFill/>
                <a:prstDash val="solid"/>
                <a:miter/>
              </a:ln>
            </p:spPr>
            <p:txBody>
              <a:bodyPr rtlCol="0" anchor="ctr"/>
              <a:lstStyle/>
              <a:p>
                <a:endParaRPr lang="en-GB"/>
              </a:p>
            </p:txBody>
          </p:sp>
          <p:sp>
            <p:nvSpPr>
              <p:cNvPr id="2473" name="Vrije vorm: vorm 2472">
                <a:extLst>
                  <a:ext uri="{FF2B5EF4-FFF2-40B4-BE49-F238E27FC236}">
                    <a16:creationId xmlns:a16="http://schemas.microsoft.com/office/drawing/2014/main" id="{89F8812B-6EDB-4A39-855D-2365D6935C48}"/>
                  </a:ext>
                </a:extLst>
              </p:cNvPr>
              <p:cNvSpPr/>
              <p:nvPr/>
            </p:nvSpPr>
            <p:spPr>
              <a:xfrm>
                <a:off x="5227589" y="5301757"/>
                <a:ext cx="18360" cy="18447"/>
              </a:xfrm>
              <a:custGeom>
                <a:avLst/>
                <a:gdLst>
                  <a:gd name="connsiteX0" fmla="*/ 1076 w 18360"/>
                  <a:gd name="connsiteY0" fmla="*/ 4858 h 18447"/>
                  <a:gd name="connsiteX1" fmla="*/ 4904 w 18360"/>
                  <a:gd name="connsiteY1" fmla="*/ 17357 h 18447"/>
                  <a:gd name="connsiteX2" fmla="*/ 17284 w 18360"/>
                  <a:gd name="connsiteY2" fmla="*/ 13589 h 18447"/>
                  <a:gd name="connsiteX3" fmla="*/ 13456 w 18360"/>
                  <a:gd name="connsiteY3" fmla="*/ 1090 h 18447"/>
                  <a:gd name="connsiteX4" fmla="*/ 1076 w 18360"/>
                  <a:gd name="connsiteY4" fmla="*/ 4858 h 1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47">
                    <a:moveTo>
                      <a:pt x="1076" y="4858"/>
                    </a:moveTo>
                    <a:cubicBezTo>
                      <a:pt x="-1316" y="9343"/>
                      <a:pt x="418" y="14905"/>
                      <a:pt x="4904" y="17357"/>
                    </a:cubicBezTo>
                    <a:cubicBezTo>
                      <a:pt x="9389" y="19750"/>
                      <a:pt x="14952" y="18075"/>
                      <a:pt x="17284" y="13589"/>
                    </a:cubicBezTo>
                    <a:cubicBezTo>
                      <a:pt x="19676" y="9104"/>
                      <a:pt x="17942" y="3542"/>
                      <a:pt x="13456" y="1090"/>
                    </a:cubicBezTo>
                    <a:cubicBezTo>
                      <a:pt x="9031" y="-1303"/>
                      <a:pt x="3469" y="372"/>
                      <a:pt x="1076" y="4858"/>
                    </a:cubicBezTo>
                    <a:close/>
                  </a:path>
                </a:pathLst>
              </a:custGeom>
              <a:grpFill/>
              <a:ln w="5978" cap="flat">
                <a:noFill/>
                <a:prstDash val="solid"/>
                <a:miter/>
              </a:ln>
            </p:spPr>
            <p:txBody>
              <a:bodyPr rtlCol="0" anchor="ctr"/>
              <a:lstStyle/>
              <a:p>
                <a:endParaRPr lang="en-GB"/>
              </a:p>
            </p:txBody>
          </p:sp>
        </p:grpSp>
        <p:grpSp>
          <p:nvGrpSpPr>
            <p:cNvPr id="977" name="Graphic 3">
              <a:extLst>
                <a:ext uri="{FF2B5EF4-FFF2-40B4-BE49-F238E27FC236}">
                  <a16:creationId xmlns:a16="http://schemas.microsoft.com/office/drawing/2014/main" id="{38114E92-B9A6-4EE5-867F-F19C971AC64F}"/>
                </a:ext>
              </a:extLst>
            </p:cNvPr>
            <p:cNvGrpSpPr/>
            <p:nvPr/>
          </p:nvGrpSpPr>
          <p:grpSpPr>
            <a:xfrm>
              <a:off x="4242167" y="2370359"/>
              <a:ext cx="368695" cy="219891"/>
              <a:chOff x="4242167" y="2370359"/>
              <a:chExt cx="368695" cy="219891"/>
            </a:xfrm>
            <a:grpFill/>
          </p:grpSpPr>
          <p:sp>
            <p:nvSpPr>
              <p:cNvPr id="2468" name="Vrije vorm: vorm 2467">
                <a:extLst>
                  <a:ext uri="{FF2B5EF4-FFF2-40B4-BE49-F238E27FC236}">
                    <a16:creationId xmlns:a16="http://schemas.microsoft.com/office/drawing/2014/main" id="{0EE2C103-EADF-4AF7-8869-06F9748E8D26}"/>
                  </a:ext>
                </a:extLst>
              </p:cNvPr>
              <p:cNvSpPr/>
              <p:nvPr/>
            </p:nvSpPr>
            <p:spPr>
              <a:xfrm>
                <a:off x="4250219" y="2378035"/>
                <a:ext cx="352623" cy="204600"/>
              </a:xfrm>
              <a:custGeom>
                <a:avLst/>
                <a:gdLst>
                  <a:gd name="connsiteX0" fmla="*/ 352623 w 352623"/>
                  <a:gd name="connsiteY0" fmla="*/ 201909 h 204600"/>
                  <a:gd name="connsiteX1" fmla="*/ 351128 w 352623"/>
                  <a:gd name="connsiteY1" fmla="*/ 204600 h 204600"/>
                  <a:gd name="connsiteX2" fmla="*/ 0 w 352623"/>
                  <a:gd name="connsiteY2" fmla="*/ 2632 h 204600"/>
                  <a:gd name="connsiteX3" fmla="*/ 1495 w 352623"/>
                  <a:gd name="connsiteY3" fmla="*/ 0 h 204600"/>
                </a:gdLst>
                <a:ahLst/>
                <a:cxnLst>
                  <a:cxn ang="0">
                    <a:pos x="connsiteX0" y="connsiteY0"/>
                  </a:cxn>
                  <a:cxn ang="0">
                    <a:pos x="connsiteX1" y="connsiteY1"/>
                  </a:cxn>
                  <a:cxn ang="0">
                    <a:pos x="connsiteX2" y="connsiteY2"/>
                  </a:cxn>
                  <a:cxn ang="0">
                    <a:pos x="connsiteX3" y="connsiteY3"/>
                  </a:cxn>
                </a:cxnLst>
                <a:rect l="l" t="t" r="r" b="b"/>
                <a:pathLst>
                  <a:path w="352623" h="204600">
                    <a:moveTo>
                      <a:pt x="352623" y="201909"/>
                    </a:moveTo>
                    <a:lnTo>
                      <a:pt x="351128" y="204600"/>
                    </a:lnTo>
                    <a:lnTo>
                      <a:pt x="0" y="2632"/>
                    </a:lnTo>
                    <a:lnTo>
                      <a:pt x="1495" y="0"/>
                    </a:lnTo>
                    <a:close/>
                  </a:path>
                </a:pathLst>
              </a:custGeom>
              <a:grpFill/>
              <a:ln w="5978" cap="flat">
                <a:noFill/>
                <a:prstDash val="solid"/>
                <a:miter/>
              </a:ln>
            </p:spPr>
            <p:txBody>
              <a:bodyPr rtlCol="0" anchor="ctr"/>
              <a:lstStyle/>
              <a:p>
                <a:endParaRPr lang="en-GB"/>
              </a:p>
            </p:txBody>
          </p:sp>
          <p:sp>
            <p:nvSpPr>
              <p:cNvPr id="2469" name="Vrije vorm: vorm 2468">
                <a:extLst>
                  <a:ext uri="{FF2B5EF4-FFF2-40B4-BE49-F238E27FC236}">
                    <a16:creationId xmlns:a16="http://schemas.microsoft.com/office/drawing/2014/main" id="{E4CF8EC2-E44B-4D47-8E32-1E84B91D7987}"/>
                  </a:ext>
                </a:extLst>
              </p:cNvPr>
              <p:cNvSpPr/>
              <p:nvPr/>
            </p:nvSpPr>
            <p:spPr>
              <a:xfrm>
                <a:off x="4242167" y="2370359"/>
                <a:ext cx="18318" cy="18427"/>
              </a:xfrm>
              <a:custGeom>
                <a:avLst/>
                <a:gdLst>
                  <a:gd name="connsiteX0" fmla="*/ 4644 w 18318"/>
                  <a:gd name="connsiteY0" fmla="*/ 17185 h 18427"/>
                  <a:gd name="connsiteX1" fmla="*/ 1175 w 18318"/>
                  <a:gd name="connsiteY1" fmla="*/ 4625 h 18427"/>
                  <a:gd name="connsiteX2" fmla="*/ 13675 w 18318"/>
                  <a:gd name="connsiteY2" fmla="*/ 1216 h 18427"/>
                  <a:gd name="connsiteX3" fmla="*/ 17143 w 18318"/>
                  <a:gd name="connsiteY3" fmla="*/ 13776 h 18427"/>
                  <a:gd name="connsiteX4" fmla="*/ 4644 w 18318"/>
                  <a:gd name="connsiteY4" fmla="*/ 17185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7">
                    <a:moveTo>
                      <a:pt x="4644" y="17185"/>
                    </a:moveTo>
                    <a:cubicBezTo>
                      <a:pt x="218" y="14673"/>
                      <a:pt x="-1277" y="9051"/>
                      <a:pt x="1175" y="4625"/>
                    </a:cubicBezTo>
                    <a:cubicBezTo>
                      <a:pt x="3687" y="200"/>
                      <a:pt x="9249" y="-1296"/>
                      <a:pt x="13675" y="1216"/>
                    </a:cubicBezTo>
                    <a:cubicBezTo>
                      <a:pt x="18100" y="3728"/>
                      <a:pt x="19596" y="9350"/>
                      <a:pt x="17143" y="13776"/>
                    </a:cubicBezTo>
                    <a:cubicBezTo>
                      <a:pt x="14691" y="18202"/>
                      <a:pt x="9069" y="19757"/>
                      <a:pt x="4644" y="17185"/>
                    </a:cubicBezTo>
                    <a:close/>
                  </a:path>
                </a:pathLst>
              </a:custGeom>
              <a:grpFill/>
              <a:ln w="5978" cap="flat">
                <a:noFill/>
                <a:prstDash val="solid"/>
                <a:miter/>
              </a:ln>
            </p:spPr>
            <p:txBody>
              <a:bodyPr rtlCol="0" anchor="ctr"/>
              <a:lstStyle/>
              <a:p>
                <a:endParaRPr lang="en-GB"/>
              </a:p>
            </p:txBody>
          </p:sp>
          <p:sp>
            <p:nvSpPr>
              <p:cNvPr id="2470" name="Vrije vorm: vorm 2469">
                <a:extLst>
                  <a:ext uri="{FF2B5EF4-FFF2-40B4-BE49-F238E27FC236}">
                    <a16:creationId xmlns:a16="http://schemas.microsoft.com/office/drawing/2014/main" id="{32258BBD-F738-421C-A18B-492D83EFCE27}"/>
                  </a:ext>
                </a:extLst>
              </p:cNvPr>
              <p:cNvSpPr/>
              <p:nvPr/>
            </p:nvSpPr>
            <p:spPr>
              <a:xfrm>
                <a:off x="4592530" y="2571850"/>
                <a:ext cx="18332" cy="18401"/>
              </a:xfrm>
              <a:custGeom>
                <a:avLst/>
                <a:gdLst>
                  <a:gd name="connsiteX0" fmla="*/ 4631 w 18332"/>
                  <a:gd name="connsiteY0" fmla="*/ 17185 h 18401"/>
                  <a:gd name="connsiteX1" fmla="*/ 17131 w 18332"/>
                  <a:gd name="connsiteY1" fmla="*/ 13776 h 18401"/>
                  <a:gd name="connsiteX2" fmla="*/ 13662 w 18332"/>
                  <a:gd name="connsiteY2" fmla="*/ 1216 h 18401"/>
                  <a:gd name="connsiteX3" fmla="*/ 1162 w 18332"/>
                  <a:gd name="connsiteY3" fmla="*/ 4625 h 18401"/>
                  <a:gd name="connsiteX4" fmla="*/ 4631 w 18332"/>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01">
                    <a:moveTo>
                      <a:pt x="4631" y="17185"/>
                    </a:moveTo>
                    <a:cubicBezTo>
                      <a:pt x="9057" y="19697"/>
                      <a:pt x="14619" y="18202"/>
                      <a:pt x="17131" y="13776"/>
                    </a:cubicBezTo>
                    <a:cubicBezTo>
                      <a:pt x="19643" y="9350"/>
                      <a:pt x="18088" y="3728"/>
                      <a:pt x="13662" y="1216"/>
                    </a:cubicBezTo>
                    <a:cubicBezTo>
                      <a:pt x="9236" y="-1295"/>
                      <a:pt x="3674" y="200"/>
                      <a:pt x="1162" y="4625"/>
                    </a:cubicBezTo>
                    <a:cubicBezTo>
                      <a:pt x="-1290" y="9051"/>
                      <a:pt x="265" y="14673"/>
                      <a:pt x="4631" y="17185"/>
                    </a:cubicBezTo>
                    <a:close/>
                  </a:path>
                </a:pathLst>
              </a:custGeom>
              <a:grpFill/>
              <a:ln w="5978" cap="flat">
                <a:noFill/>
                <a:prstDash val="solid"/>
                <a:miter/>
              </a:ln>
            </p:spPr>
            <p:txBody>
              <a:bodyPr rtlCol="0" anchor="ctr"/>
              <a:lstStyle/>
              <a:p>
                <a:endParaRPr lang="en-GB"/>
              </a:p>
            </p:txBody>
          </p:sp>
        </p:grpSp>
        <p:grpSp>
          <p:nvGrpSpPr>
            <p:cNvPr id="978" name="Graphic 3">
              <a:extLst>
                <a:ext uri="{FF2B5EF4-FFF2-40B4-BE49-F238E27FC236}">
                  <a16:creationId xmlns:a16="http://schemas.microsoft.com/office/drawing/2014/main" id="{05DD02AC-8AA0-442F-BB43-51D8390B884E}"/>
                </a:ext>
              </a:extLst>
            </p:cNvPr>
            <p:cNvGrpSpPr/>
            <p:nvPr/>
          </p:nvGrpSpPr>
          <p:grpSpPr>
            <a:xfrm>
              <a:off x="4188640" y="2245421"/>
              <a:ext cx="392410" cy="252548"/>
              <a:chOff x="4188640" y="2245421"/>
              <a:chExt cx="392410" cy="252548"/>
            </a:xfrm>
            <a:grpFill/>
          </p:grpSpPr>
          <p:sp>
            <p:nvSpPr>
              <p:cNvPr id="2465" name="Vrije vorm: vorm 2464">
                <a:extLst>
                  <a:ext uri="{FF2B5EF4-FFF2-40B4-BE49-F238E27FC236}">
                    <a16:creationId xmlns:a16="http://schemas.microsoft.com/office/drawing/2014/main" id="{FDC0EF8E-303C-4345-AFB5-4F95EDE43B2A}"/>
                  </a:ext>
                </a:extLst>
              </p:cNvPr>
              <p:cNvSpPr/>
              <p:nvPr/>
            </p:nvSpPr>
            <p:spPr>
              <a:xfrm>
                <a:off x="4196632" y="2253098"/>
                <a:ext cx="376486" cy="237195"/>
              </a:xfrm>
              <a:custGeom>
                <a:avLst/>
                <a:gdLst>
                  <a:gd name="connsiteX0" fmla="*/ 376487 w 376486"/>
                  <a:gd name="connsiteY0" fmla="*/ 234624 h 237195"/>
                  <a:gd name="connsiteX1" fmla="*/ 374872 w 376486"/>
                  <a:gd name="connsiteY1" fmla="*/ 237195 h 237195"/>
                  <a:gd name="connsiteX2" fmla="*/ 0 w 376486"/>
                  <a:gd name="connsiteY2" fmla="*/ 2572 h 237195"/>
                  <a:gd name="connsiteX3" fmla="*/ 1555 w 376486"/>
                  <a:gd name="connsiteY3" fmla="*/ 0 h 237195"/>
                </a:gdLst>
                <a:ahLst/>
                <a:cxnLst>
                  <a:cxn ang="0">
                    <a:pos x="connsiteX0" y="connsiteY0"/>
                  </a:cxn>
                  <a:cxn ang="0">
                    <a:pos x="connsiteX1" y="connsiteY1"/>
                  </a:cxn>
                  <a:cxn ang="0">
                    <a:pos x="connsiteX2" y="connsiteY2"/>
                  </a:cxn>
                  <a:cxn ang="0">
                    <a:pos x="connsiteX3" y="connsiteY3"/>
                  </a:cxn>
                </a:cxnLst>
                <a:rect l="l" t="t" r="r" b="b"/>
                <a:pathLst>
                  <a:path w="376486" h="237195">
                    <a:moveTo>
                      <a:pt x="376487" y="234624"/>
                    </a:moveTo>
                    <a:lnTo>
                      <a:pt x="374872" y="237195"/>
                    </a:lnTo>
                    <a:lnTo>
                      <a:pt x="0" y="2572"/>
                    </a:lnTo>
                    <a:lnTo>
                      <a:pt x="1555" y="0"/>
                    </a:lnTo>
                    <a:close/>
                  </a:path>
                </a:pathLst>
              </a:custGeom>
              <a:grpFill/>
              <a:ln w="5978" cap="flat">
                <a:noFill/>
                <a:prstDash val="solid"/>
                <a:miter/>
              </a:ln>
            </p:spPr>
            <p:txBody>
              <a:bodyPr rtlCol="0" anchor="ctr"/>
              <a:lstStyle/>
              <a:p>
                <a:endParaRPr lang="en-GB"/>
              </a:p>
            </p:txBody>
          </p:sp>
          <p:sp>
            <p:nvSpPr>
              <p:cNvPr id="2466" name="Vrije vorm: vorm 2465">
                <a:extLst>
                  <a:ext uri="{FF2B5EF4-FFF2-40B4-BE49-F238E27FC236}">
                    <a16:creationId xmlns:a16="http://schemas.microsoft.com/office/drawing/2014/main" id="{C1A23962-6A4A-43A0-8EF9-04D9A85B87EC}"/>
                  </a:ext>
                </a:extLst>
              </p:cNvPr>
              <p:cNvSpPr/>
              <p:nvPr/>
            </p:nvSpPr>
            <p:spPr>
              <a:xfrm>
                <a:off x="4188640" y="2245421"/>
                <a:ext cx="18316" cy="18403"/>
              </a:xfrm>
              <a:custGeom>
                <a:avLst/>
                <a:gdLst>
                  <a:gd name="connsiteX0" fmla="*/ 4344 w 18316"/>
                  <a:gd name="connsiteY0" fmla="*/ 17007 h 18403"/>
                  <a:gd name="connsiteX1" fmla="*/ 1354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4" y="4327"/>
                    </a:cubicBezTo>
                    <a:cubicBezTo>
                      <a:pt x="3985" y="21"/>
                      <a:pt x="9667" y="-1294"/>
                      <a:pt x="13973" y="1397"/>
                    </a:cubicBezTo>
                    <a:cubicBezTo>
                      <a:pt x="18279" y="4088"/>
                      <a:pt x="19595" y="9770"/>
                      <a:pt x="16963" y="14076"/>
                    </a:cubicBezTo>
                    <a:cubicBezTo>
                      <a:pt x="14272" y="18382"/>
                      <a:pt x="8650" y="19698"/>
                      <a:pt x="4344" y="17007"/>
                    </a:cubicBezTo>
                    <a:close/>
                  </a:path>
                </a:pathLst>
              </a:custGeom>
              <a:grpFill/>
              <a:ln w="5978" cap="flat">
                <a:noFill/>
                <a:prstDash val="solid"/>
                <a:miter/>
              </a:ln>
            </p:spPr>
            <p:txBody>
              <a:bodyPr rtlCol="0" anchor="ctr"/>
              <a:lstStyle/>
              <a:p>
                <a:endParaRPr lang="en-GB"/>
              </a:p>
            </p:txBody>
          </p:sp>
          <p:sp>
            <p:nvSpPr>
              <p:cNvPr id="2467" name="Vrije vorm: vorm 2466">
                <a:extLst>
                  <a:ext uri="{FF2B5EF4-FFF2-40B4-BE49-F238E27FC236}">
                    <a16:creationId xmlns:a16="http://schemas.microsoft.com/office/drawing/2014/main" id="{B517268A-540B-430C-8358-392CDB732B86}"/>
                  </a:ext>
                </a:extLst>
              </p:cNvPr>
              <p:cNvSpPr/>
              <p:nvPr/>
            </p:nvSpPr>
            <p:spPr>
              <a:xfrm>
                <a:off x="4562734" y="2479566"/>
                <a:ext cx="18316" cy="18403"/>
              </a:xfrm>
              <a:custGeom>
                <a:avLst/>
                <a:gdLst>
                  <a:gd name="connsiteX0" fmla="*/ 4344 w 18316"/>
                  <a:gd name="connsiteY0" fmla="*/ 17007 h 18403"/>
                  <a:gd name="connsiteX1" fmla="*/ 16963 w 18316"/>
                  <a:gd name="connsiteY1" fmla="*/ 14076 h 18403"/>
                  <a:gd name="connsiteX2" fmla="*/ 13973 w 18316"/>
                  <a:gd name="connsiteY2" fmla="*/ 1397 h 18403"/>
                  <a:gd name="connsiteX3" fmla="*/ 1354 w 18316"/>
                  <a:gd name="connsiteY3" fmla="*/ 4327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8650" y="19698"/>
                      <a:pt x="14272" y="18382"/>
                      <a:pt x="16963" y="14076"/>
                    </a:cubicBezTo>
                    <a:cubicBezTo>
                      <a:pt x="19595" y="9770"/>
                      <a:pt x="18279" y="4088"/>
                      <a:pt x="13973" y="1397"/>
                    </a:cubicBezTo>
                    <a:cubicBezTo>
                      <a:pt x="9667" y="-1294"/>
                      <a:pt x="4045" y="21"/>
                      <a:pt x="1354" y="4327"/>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979" name="Graphic 3">
              <a:extLst>
                <a:ext uri="{FF2B5EF4-FFF2-40B4-BE49-F238E27FC236}">
                  <a16:creationId xmlns:a16="http://schemas.microsoft.com/office/drawing/2014/main" id="{C81241B6-C3FB-4A0D-BE63-1BAAED62284A}"/>
                </a:ext>
              </a:extLst>
            </p:cNvPr>
            <p:cNvGrpSpPr/>
            <p:nvPr/>
          </p:nvGrpSpPr>
          <p:grpSpPr>
            <a:xfrm>
              <a:off x="5296073" y="5116364"/>
              <a:ext cx="66770" cy="136368"/>
              <a:chOff x="5296073" y="5116364"/>
              <a:chExt cx="66770" cy="136368"/>
            </a:xfrm>
            <a:grpFill/>
          </p:grpSpPr>
          <p:sp>
            <p:nvSpPr>
              <p:cNvPr id="2462" name="Vrije vorm: vorm 2461">
                <a:extLst>
                  <a:ext uri="{FF2B5EF4-FFF2-40B4-BE49-F238E27FC236}">
                    <a16:creationId xmlns:a16="http://schemas.microsoft.com/office/drawing/2014/main" id="{0F2F93C2-8DD4-4150-B95B-B330A480CEC5}"/>
                  </a:ext>
                </a:extLst>
              </p:cNvPr>
              <p:cNvSpPr/>
              <p:nvPr/>
            </p:nvSpPr>
            <p:spPr>
              <a:xfrm>
                <a:off x="5303664" y="5124561"/>
                <a:ext cx="51553" cy="119973"/>
              </a:xfrm>
              <a:custGeom>
                <a:avLst/>
                <a:gdLst>
                  <a:gd name="connsiteX0" fmla="*/ 51554 w 51553"/>
                  <a:gd name="connsiteY0" fmla="*/ 1136 h 119973"/>
                  <a:gd name="connsiteX1" fmla="*/ 2811 w 51553"/>
                  <a:gd name="connsiteY1" fmla="*/ 119973 h 119973"/>
                  <a:gd name="connsiteX2" fmla="*/ 0 w 51553"/>
                  <a:gd name="connsiteY2" fmla="*/ 118777 h 119973"/>
                  <a:gd name="connsiteX3" fmla="*/ 48743 w 51553"/>
                  <a:gd name="connsiteY3" fmla="*/ 0 h 119973"/>
                </a:gdLst>
                <a:ahLst/>
                <a:cxnLst>
                  <a:cxn ang="0">
                    <a:pos x="connsiteX0" y="connsiteY0"/>
                  </a:cxn>
                  <a:cxn ang="0">
                    <a:pos x="connsiteX1" y="connsiteY1"/>
                  </a:cxn>
                  <a:cxn ang="0">
                    <a:pos x="connsiteX2" y="connsiteY2"/>
                  </a:cxn>
                  <a:cxn ang="0">
                    <a:pos x="connsiteX3" y="connsiteY3"/>
                  </a:cxn>
                </a:cxnLst>
                <a:rect l="l" t="t" r="r" b="b"/>
                <a:pathLst>
                  <a:path w="51553" h="119973">
                    <a:moveTo>
                      <a:pt x="51554" y="1136"/>
                    </a:moveTo>
                    <a:lnTo>
                      <a:pt x="2811" y="119973"/>
                    </a:lnTo>
                    <a:lnTo>
                      <a:pt x="0" y="118777"/>
                    </a:lnTo>
                    <a:lnTo>
                      <a:pt x="48743" y="0"/>
                    </a:lnTo>
                    <a:close/>
                  </a:path>
                </a:pathLst>
              </a:custGeom>
              <a:grpFill/>
              <a:ln w="5978" cap="flat">
                <a:noFill/>
                <a:prstDash val="solid"/>
                <a:miter/>
              </a:ln>
            </p:spPr>
            <p:txBody>
              <a:bodyPr rtlCol="0" anchor="ctr"/>
              <a:lstStyle/>
              <a:p>
                <a:endParaRPr lang="en-GB"/>
              </a:p>
            </p:txBody>
          </p:sp>
          <p:sp>
            <p:nvSpPr>
              <p:cNvPr id="2463" name="Vrije vorm: vorm 2462">
                <a:extLst>
                  <a:ext uri="{FF2B5EF4-FFF2-40B4-BE49-F238E27FC236}">
                    <a16:creationId xmlns:a16="http://schemas.microsoft.com/office/drawing/2014/main" id="{991DD23B-E283-4435-AE86-2DEA4CFEC7F9}"/>
                  </a:ext>
                </a:extLst>
              </p:cNvPr>
              <p:cNvSpPr/>
              <p:nvPr/>
            </p:nvSpPr>
            <p:spPr>
              <a:xfrm>
                <a:off x="5296073" y="5234304"/>
                <a:ext cx="18327" cy="18428"/>
              </a:xfrm>
              <a:custGeom>
                <a:avLst/>
                <a:gdLst>
                  <a:gd name="connsiteX0" fmla="*/ 17639 w 18327"/>
                  <a:gd name="connsiteY0" fmla="*/ 12743 h 18428"/>
                  <a:gd name="connsiteX1" fmla="*/ 5677 w 18327"/>
                  <a:gd name="connsiteY1" fmla="*/ 17707 h 18428"/>
                  <a:gd name="connsiteX2" fmla="*/ 713 w 18327"/>
                  <a:gd name="connsiteY2" fmla="*/ 5685 h 18428"/>
                  <a:gd name="connsiteX3" fmla="*/ 12675 w 18327"/>
                  <a:gd name="connsiteY3" fmla="*/ 721 h 18428"/>
                  <a:gd name="connsiteX4" fmla="*/ 17639 w 18327"/>
                  <a:gd name="connsiteY4" fmla="*/ 12743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8">
                    <a:moveTo>
                      <a:pt x="17639" y="12743"/>
                    </a:moveTo>
                    <a:cubicBezTo>
                      <a:pt x="15725" y="17467"/>
                      <a:pt x="10342" y="19680"/>
                      <a:pt x="5677" y="17707"/>
                    </a:cubicBezTo>
                    <a:cubicBezTo>
                      <a:pt x="1012" y="15733"/>
                      <a:pt x="-1260" y="10351"/>
                      <a:pt x="713" y="5685"/>
                    </a:cubicBezTo>
                    <a:cubicBezTo>
                      <a:pt x="2627" y="961"/>
                      <a:pt x="8010" y="-1252"/>
                      <a:pt x="12675" y="721"/>
                    </a:cubicBezTo>
                    <a:cubicBezTo>
                      <a:pt x="17340" y="2635"/>
                      <a:pt x="19553" y="8078"/>
                      <a:pt x="17639" y="12743"/>
                    </a:cubicBezTo>
                    <a:close/>
                  </a:path>
                </a:pathLst>
              </a:custGeom>
              <a:grpFill/>
              <a:ln w="5978" cap="flat">
                <a:noFill/>
                <a:prstDash val="solid"/>
                <a:miter/>
              </a:ln>
            </p:spPr>
            <p:txBody>
              <a:bodyPr rtlCol="0" anchor="ctr"/>
              <a:lstStyle/>
              <a:p>
                <a:endParaRPr lang="en-GB"/>
              </a:p>
            </p:txBody>
          </p:sp>
          <p:sp>
            <p:nvSpPr>
              <p:cNvPr id="2464" name="Vrije vorm: vorm 2463">
                <a:extLst>
                  <a:ext uri="{FF2B5EF4-FFF2-40B4-BE49-F238E27FC236}">
                    <a16:creationId xmlns:a16="http://schemas.microsoft.com/office/drawing/2014/main" id="{5E6120DE-F6FD-4A7F-B139-FC07B684B277}"/>
                  </a:ext>
                </a:extLst>
              </p:cNvPr>
              <p:cNvSpPr/>
              <p:nvPr/>
            </p:nvSpPr>
            <p:spPr>
              <a:xfrm>
                <a:off x="5344542" y="5116364"/>
                <a:ext cx="18301" cy="18394"/>
              </a:xfrm>
              <a:custGeom>
                <a:avLst/>
                <a:gdLst>
                  <a:gd name="connsiteX0" fmla="*/ 17614 w 18301"/>
                  <a:gd name="connsiteY0" fmla="*/ 12743 h 18394"/>
                  <a:gd name="connsiteX1" fmla="*/ 12650 w 18301"/>
                  <a:gd name="connsiteY1" fmla="*/ 722 h 18394"/>
                  <a:gd name="connsiteX2" fmla="*/ 688 w 18301"/>
                  <a:gd name="connsiteY2" fmla="*/ 5686 h 18394"/>
                  <a:gd name="connsiteX3" fmla="*/ 5652 w 18301"/>
                  <a:gd name="connsiteY3" fmla="*/ 17707 h 18394"/>
                  <a:gd name="connsiteX4" fmla="*/ 17614 w 18301"/>
                  <a:gd name="connsiteY4" fmla="*/ 12743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94">
                    <a:moveTo>
                      <a:pt x="17614" y="12743"/>
                    </a:moveTo>
                    <a:cubicBezTo>
                      <a:pt x="19528" y="8018"/>
                      <a:pt x="17315" y="2635"/>
                      <a:pt x="12650" y="722"/>
                    </a:cubicBezTo>
                    <a:cubicBezTo>
                      <a:pt x="7985" y="-1252"/>
                      <a:pt x="2602" y="961"/>
                      <a:pt x="688" y="5686"/>
                    </a:cubicBezTo>
                    <a:cubicBezTo>
                      <a:pt x="-1226" y="10410"/>
                      <a:pt x="987" y="15793"/>
                      <a:pt x="5652" y="17707"/>
                    </a:cubicBezTo>
                    <a:cubicBezTo>
                      <a:pt x="10317" y="19620"/>
                      <a:pt x="15640" y="17408"/>
                      <a:pt x="17614" y="12743"/>
                    </a:cubicBezTo>
                    <a:close/>
                  </a:path>
                </a:pathLst>
              </a:custGeom>
              <a:grpFill/>
              <a:ln w="5978" cap="flat">
                <a:noFill/>
                <a:prstDash val="solid"/>
                <a:miter/>
              </a:ln>
            </p:spPr>
            <p:txBody>
              <a:bodyPr rtlCol="0" anchor="ctr"/>
              <a:lstStyle/>
              <a:p>
                <a:endParaRPr lang="en-GB"/>
              </a:p>
            </p:txBody>
          </p:sp>
        </p:grpSp>
        <p:grpSp>
          <p:nvGrpSpPr>
            <p:cNvPr id="980" name="Graphic 3">
              <a:extLst>
                <a:ext uri="{FF2B5EF4-FFF2-40B4-BE49-F238E27FC236}">
                  <a16:creationId xmlns:a16="http://schemas.microsoft.com/office/drawing/2014/main" id="{99E0BBF7-2A67-41FA-8426-3E40B693DFB2}"/>
                </a:ext>
              </a:extLst>
            </p:cNvPr>
            <p:cNvGrpSpPr/>
            <p:nvPr/>
          </p:nvGrpSpPr>
          <p:grpSpPr>
            <a:xfrm>
              <a:off x="5303205" y="5129365"/>
              <a:ext cx="164251" cy="439424"/>
              <a:chOff x="5303205" y="5129365"/>
              <a:chExt cx="164251" cy="439424"/>
            </a:xfrm>
            <a:grpFill/>
          </p:grpSpPr>
          <p:sp>
            <p:nvSpPr>
              <p:cNvPr id="2459" name="Vrije vorm: vorm 2458">
                <a:extLst>
                  <a:ext uri="{FF2B5EF4-FFF2-40B4-BE49-F238E27FC236}">
                    <a16:creationId xmlns:a16="http://schemas.microsoft.com/office/drawing/2014/main" id="{8A302E71-BA46-478F-BBAF-D1689A1662D8}"/>
                  </a:ext>
                </a:extLst>
              </p:cNvPr>
              <p:cNvSpPr/>
              <p:nvPr/>
            </p:nvSpPr>
            <p:spPr>
              <a:xfrm>
                <a:off x="5310721" y="5137599"/>
                <a:ext cx="149159" cy="422896"/>
              </a:xfrm>
              <a:custGeom>
                <a:avLst/>
                <a:gdLst>
                  <a:gd name="connsiteX0" fmla="*/ 149159 w 149159"/>
                  <a:gd name="connsiteY0" fmla="*/ 1017 h 422896"/>
                  <a:gd name="connsiteX1" fmla="*/ 2871 w 149159"/>
                  <a:gd name="connsiteY1" fmla="*/ 422897 h 422896"/>
                  <a:gd name="connsiteX2" fmla="*/ 0 w 149159"/>
                  <a:gd name="connsiteY2" fmla="*/ 421880 h 422896"/>
                  <a:gd name="connsiteX3" fmla="*/ 146288 w 149159"/>
                  <a:gd name="connsiteY3" fmla="*/ 0 h 422896"/>
                </a:gdLst>
                <a:ahLst/>
                <a:cxnLst>
                  <a:cxn ang="0">
                    <a:pos x="connsiteX0" y="connsiteY0"/>
                  </a:cxn>
                  <a:cxn ang="0">
                    <a:pos x="connsiteX1" y="connsiteY1"/>
                  </a:cxn>
                  <a:cxn ang="0">
                    <a:pos x="connsiteX2" y="connsiteY2"/>
                  </a:cxn>
                  <a:cxn ang="0">
                    <a:pos x="connsiteX3" y="connsiteY3"/>
                  </a:cxn>
                </a:cxnLst>
                <a:rect l="l" t="t" r="r" b="b"/>
                <a:pathLst>
                  <a:path w="149159" h="422896">
                    <a:moveTo>
                      <a:pt x="149159" y="1017"/>
                    </a:moveTo>
                    <a:lnTo>
                      <a:pt x="2871" y="422897"/>
                    </a:lnTo>
                    <a:lnTo>
                      <a:pt x="0" y="421880"/>
                    </a:lnTo>
                    <a:lnTo>
                      <a:pt x="146288" y="0"/>
                    </a:lnTo>
                    <a:close/>
                  </a:path>
                </a:pathLst>
              </a:custGeom>
              <a:grpFill/>
              <a:ln w="5978" cap="flat">
                <a:noFill/>
                <a:prstDash val="solid"/>
                <a:miter/>
              </a:ln>
            </p:spPr>
            <p:txBody>
              <a:bodyPr rtlCol="0" anchor="ctr"/>
              <a:lstStyle/>
              <a:p>
                <a:endParaRPr lang="en-GB"/>
              </a:p>
            </p:txBody>
          </p:sp>
          <p:sp>
            <p:nvSpPr>
              <p:cNvPr id="2460" name="Vrije vorm: vorm 2459">
                <a:extLst>
                  <a:ext uri="{FF2B5EF4-FFF2-40B4-BE49-F238E27FC236}">
                    <a16:creationId xmlns:a16="http://schemas.microsoft.com/office/drawing/2014/main" id="{B2B4424A-F41C-429D-A6BB-5D9D74B5D1F8}"/>
                  </a:ext>
                </a:extLst>
              </p:cNvPr>
              <p:cNvSpPr/>
              <p:nvPr/>
            </p:nvSpPr>
            <p:spPr>
              <a:xfrm>
                <a:off x="5303205" y="5550408"/>
                <a:ext cx="18292" cy="18381"/>
              </a:xfrm>
              <a:custGeom>
                <a:avLst/>
                <a:gdLst>
                  <a:gd name="connsiteX0" fmla="*/ 17803 w 18292"/>
                  <a:gd name="connsiteY0" fmla="*/ 12241 h 18381"/>
                  <a:gd name="connsiteX1" fmla="*/ 6141 w 18292"/>
                  <a:gd name="connsiteY1" fmla="*/ 17863 h 18381"/>
                  <a:gd name="connsiteX2" fmla="*/ 519 w 18292"/>
                  <a:gd name="connsiteY2" fmla="*/ 6141 h 18381"/>
                  <a:gd name="connsiteX3" fmla="*/ 12181 w 18292"/>
                  <a:gd name="connsiteY3" fmla="*/ 519 h 18381"/>
                  <a:gd name="connsiteX4" fmla="*/ 17803 w 18292"/>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381">
                    <a:moveTo>
                      <a:pt x="17803" y="12241"/>
                    </a:moveTo>
                    <a:cubicBezTo>
                      <a:pt x="16129" y="17026"/>
                      <a:pt x="10926" y="19537"/>
                      <a:pt x="6141" y="17863"/>
                    </a:cubicBezTo>
                    <a:cubicBezTo>
                      <a:pt x="1356" y="16188"/>
                      <a:pt x="-1156" y="10925"/>
                      <a:pt x="519" y="6141"/>
                    </a:cubicBezTo>
                    <a:cubicBezTo>
                      <a:pt x="2194" y="1356"/>
                      <a:pt x="7397" y="-1156"/>
                      <a:pt x="12181" y="519"/>
                    </a:cubicBezTo>
                    <a:cubicBezTo>
                      <a:pt x="16906" y="2134"/>
                      <a:pt x="19418" y="7397"/>
                      <a:pt x="17803" y="12241"/>
                    </a:cubicBezTo>
                    <a:close/>
                  </a:path>
                </a:pathLst>
              </a:custGeom>
              <a:grpFill/>
              <a:ln w="5978" cap="flat">
                <a:noFill/>
                <a:prstDash val="solid"/>
                <a:miter/>
              </a:ln>
            </p:spPr>
            <p:txBody>
              <a:bodyPr rtlCol="0" anchor="ctr"/>
              <a:lstStyle/>
              <a:p>
                <a:endParaRPr lang="en-GB"/>
              </a:p>
            </p:txBody>
          </p:sp>
          <p:sp>
            <p:nvSpPr>
              <p:cNvPr id="2461" name="Vrije vorm: vorm 2460">
                <a:extLst>
                  <a:ext uri="{FF2B5EF4-FFF2-40B4-BE49-F238E27FC236}">
                    <a16:creationId xmlns:a16="http://schemas.microsoft.com/office/drawing/2014/main" id="{6029179D-7D18-44C6-853C-BCD7744E7904}"/>
                  </a:ext>
                </a:extLst>
              </p:cNvPr>
              <p:cNvSpPr/>
              <p:nvPr/>
            </p:nvSpPr>
            <p:spPr>
              <a:xfrm>
                <a:off x="5449134" y="5129365"/>
                <a:ext cx="18322" cy="18405"/>
              </a:xfrm>
              <a:custGeom>
                <a:avLst/>
                <a:gdLst>
                  <a:gd name="connsiteX0" fmla="*/ 17803 w 18322"/>
                  <a:gd name="connsiteY0" fmla="*/ 12241 h 18405"/>
                  <a:gd name="connsiteX1" fmla="*/ 12181 w 18322"/>
                  <a:gd name="connsiteY1" fmla="*/ 519 h 18405"/>
                  <a:gd name="connsiteX2" fmla="*/ 519 w 18322"/>
                  <a:gd name="connsiteY2" fmla="*/ 6141 h 18405"/>
                  <a:gd name="connsiteX3" fmla="*/ 6141 w 18322"/>
                  <a:gd name="connsiteY3" fmla="*/ 17863 h 18405"/>
                  <a:gd name="connsiteX4" fmla="*/ 17803 w 18322"/>
                  <a:gd name="connsiteY4" fmla="*/ 12241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05">
                    <a:moveTo>
                      <a:pt x="17803" y="12241"/>
                    </a:moveTo>
                    <a:cubicBezTo>
                      <a:pt x="19478" y="7456"/>
                      <a:pt x="16966" y="2193"/>
                      <a:pt x="12181" y="519"/>
                    </a:cubicBezTo>
                    <a:cubicBezTo>
                      <a:pt x="7397" y="-1156"/>
                      <a:pt x="2194" y="1356"/>
                      <a:pt x="519" y="6141"/>
                    </a:cubicBezTo>
                    <a:cubicBezTo>
                      <a:pt x="-1156" y="10925"/>
                      <a:pt x="1356" y="16188"/>
                      <a:pt x="6141" y="17863"/>
                    </a:cubicBezTo>
                    <a:cubicBezTo>
                      <a:pt x="10925" y="19597"/>
                      <a:pt x="16129" y="17025"/>
                      <a:pt x="17803" y="12241"/>
                    </a:cubicBezTo>
                    <a:close/>
                  </a:path>
                </a:pathLst>
              </a:custGeom>
              <a:grpFill/>
              <a:ln w="5978" cap="flat">
                <a:noFill/>
                <a:prstDash val="solid"/>
                <a:miter/>
              </a:ln>
            </p:spPr>
            <p:txBody>
              <a:bodyPr rtlCol="0" anchor="ctr"/>
              <a:lstStyle/>
              <a:p>
                <a:endParaRPr lang="en-GB"/>
              </a:p>
            </p:txBody>
          </p:sp>
        </p:grpSp>
        <p:grpSp>
          <p:nvGrpSpPr>
            <p:cNvPr id="981" name="Graphic 3">
              <a:extLst>
                <a:ext uri="{FF2B5EF4-FFF2-40B4-BE49-F238E27FC236}">
                  <a16:creationId xmlns:a16="http://schemas.microsoft.com/office/drawing/2014/main" id="{01F7FDE7-0D6E-49C6-B970-6FD378A1ABDD}"/>
                </a:ext>
              </a:extLst>
            </p:cNvPr>
            <p:cNvGrpSpPr/>
            <p:nvPr/>
          </p:nvGrpSpPr>
          <p:grpSpPr>
            <a:xfrm>
              <a:off x="5212269" y="4874019"/>
              <a:ext cx="48343" cy="73103"/>
              <a:chOff x="5212269" y="4874019"/>
              <a:chExt cx="48343" cy="73103"/>
            </a:xfrm>
            <a:grpFill/>
          </p:grpSpPr>
          <p:sp>
            <p:nvSpPr>
              <p:cNvPr id="2456" name="Vrije vorm: vorm 2455">
                <a:extLst>
                  <a:ext uri="{FF2B5EF4-FFF2-40B4-BE49-F238E27FC236}">
                    <a16:creationId xmlns:a16="http://schemas.microsoft.com/office/drawing/2014/main" id="{5F004D79-9E8B-4DE3-BCEE-52ADB4BE2563}"/>
                  </a:ext>
                </a:extLst>
              </p:cNvPr>
              <p:cNvSpPr/>
              <p:nvPr/>
            </p:nvSpPr>
            <p:spPr>
              <a:xfrm>
                <a:off x="5219874" y="4882043"/>
                <a:ext cx="33133" cy="57055"/>
              </a:xfrm>
              <a:custGeom>
                <a:avLst/>
                <a:gdLst>
                  <a:gd name="connsiteX0" fmla="*/ 33133 w 33133"/>
                  <a:gd name="connsiteY0" fmla="*/ 1495 h 57055"/>
                  <a:gd name="connsiteX1" fmla="*/ 2691 w 33133"/>
                  <a:gd name="connsiteY1" fmla="*/ 57056 h 57055"/>
                  <a:gd name="connsiteX2" fmla="*/ 0 w 33133"/>
                  <a:gd name="connsiteY2" fmla="*/ 55561 h 57055"/>
                  <a:gd name="connsiteX3" fmla="*/ 30442 w 33133"/>
                  <a:gd name="connsiteY3" fmla="*/ 0 h 57055"/>
                </a:gdLst>
                <a:ahLst/>
                <a:cxnLst>
                  <a:cxn ang="0">
                    <a:pos x="connsiteX0" y="connsiteY0"/>
                  </a:cxn>
                  <a:cxn ang="0">
                    <a:pos x="connsiteX1" y="connsiteY1"/>
                  </a:cxn>
                  <a:cxn ang="0">
                    <a:pos x="connsiteX2" y="connsiteY2"/>
                  </a:cxn>
                  <a:cxn ang="0">
                    <a:pos x="connsiteX3" y="connsiteY3"/>
                  </a:cxn>
                </a:cxnLst>
                <a:rect l="l" t="t" r="r" b="b"/>
                <a:pathLst>
                  <a:path w="33133" h="57055">
                    <a:moveTo>
                      <a:pt x="33133" y="1495"/>
                    </a:moveTo>
                    <a:lnTo>
                      <a:pt x="2691" y="57056"/>
                    </a:lnTo>
                    <a:lnTo>
                      <a:pt x="0" y="55561"/>
                    </a:lnTo>
                    <a:lnTo>
                      <a:pt x="30442" y="0"/>
                    </a:lnTo>
                    <a:close/>
                  </a:path>
                </a:pathLst>
              </a:custGeom>
              <a:grpFill/>
              <a:ln w="5978" cap="flat">
                <a:noFill/>
                <a:prstDash val="solid"/>
                <a:miter/>
              </a:ln>
            </p:spPr>
            <p:txBody>
              <a:bodyPr rtlCol="0" anchor="ctr"/>
              <a:lstStyle/>
              <a:p>
                <a:endParaRPr lang="en-GB"/>
              </a:p>
            </p:txBody>
          </p:sp>
          <p:sp>
            <p:nvSpPr>
              <p:cNvPr id="2457" name="Vrije vorm: vorm 2456">
                <a:extLst>
                  <a:ext uri="{FF2B5EF4-FFF2-40B4-BE49-F238E27FC236}">
                    <a16:creationId xmlns:a16="http://schemas.microsoft.com/office/drawing/2014/main" id="{8AF7D236-349E-4D86-BBB6-8B1C3E9B6EF9}"/>
                  </a:ext>
                </a:extLst>
              </p:cNvPr>
              <p:cNvSpPr/>
              <p:nvPr/>
            </p:nvSpPr>
            <p:spPr>
              <a:xfrm>
                <a:off x="5212269" y="4928743"/>
                <a:ext cx="18320" cy="18379"/>
              </a:xfrm>
              <a:custGeom>
                <a:avLst/>
                <a:gdLst>
                  <a:gd name="connsiteX0" fmla="*/ 17174 w 18320"/>
                  <a:gd name="connsiteY0" fmla="*/ 13646 h 18379"/>
                  <a:gd name="connsiteX1" fmla="*/ 4734 w 18320"/>
                  <a:gd name="connsiteY1" fmla="*/ 17234 h 18379"/>
                  <a:gd name="connsiteX2" fmla="*/ 1146 w 18320"/>
                  <a:gd name="connsiteY2" fmla="*/ 4734 h 18379"/>
                  <a:gd name="connsiteX3" fmla="*/ 13586 w 18320"/>
                  <a:gd name="connsiteY3" fmla="*/ 1146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4722" y="18071"/>
                      <a:pt x="9160" y="19686"/>
                      <a:pt x="4734" y="17234"/>
                    </a:cubicBezTo>
                    <a:cubicBezTo>
                      <a:pt x="308" y="14782"/>
                      <a:pt x="-1306" y="9160"/>
                      <a:pt x="1146" y="4734"/>
                    </a:cubicBezTo>
                    <a:cubicBezTo>
                      <a:pt x="3598" y="309"/>
                      <a:pt x="9160" y="-1306"/>
                      <a:pt x="13586" y="1146"/>
                    </a:cubicBezTo>
                    <a:cubicBezTo>
                      <a:pt x="18012" y="3598"/>
                      <a:pt x="19626" y="9220"/>
                      <a:pt x="17174" y="13646"/>
                    </a:cubicBezTo>
                    <a:close/>
                  </a:path>
                </a:pathLst>
              </a:custGeom>
              <a:grpFill/>
              <a:ln w="5978" cap="flat">
                <a:noFill/>
                <a:prstDash val="solid"/>
                <a:miter/>
              </a:ln>
            </p:spPr>
            <p:txBody>
              <a:bodyPr rtlCol="0" anchor="ctr"/>
              <a:lstStyle/>
              <a:p>
                <a:endParaRPr lang="en-GB"/>
              </a:p>
            </p:txBody>
          </p:sp>
          <p:sp>
            <p:nvSpPr>
              <p:cNvPr id="2458" name="Vrije vorm: vorm 2457">
                <a:extLst>
                  <a:ext uri="{FF2B5EF4-FFF2-40B4-BE49-F238E27FC236}">
                    <a16:creationId xmlns:a16="http://schemas.microsoft.com/office/drawing/2014/main" id="{C0644F58-1B52-4A31-98B3-6F9AC6B97EB5}"/>
                  </a:ext>
                </a:extLst>
              </p:cNvPr>
              <p:cNvSpPr/>
              <p:nvPr/>
            </p:nvSpPr>
            <p:spPr>
              <a:xfrm>
                <a:off x="5242292" y="4874019"/>
                <a:ext cx="18320" cy="18392"/>
              </a:xfrm>
              <a:custGeom>
                <a:avLst/>
                <a:gdLst>
                  <a:gd name="connsiteX0" fmla="*/ 17174 w 18320"/>
                  <a:gd name="connsiteY0" fmla="*/ 13646 h 18392"/>
                  <a:gd name="connsiteX1" fmla="*/ 13586 w 18320"/>
                  <a:gd name="connsiteY1" fmla="*/ 1146 h 18392"/>
                  <a:gd name="connsiteX2" fmla="*/ 1146 w 18320"/>
                  <a:gd name="connsiteY2" fmla="*/ 4734 h 18392"/>
                  <a:gd name="connsiteX3" fmla="*/ 4734 w 18320"/>
                  <a:gd name="connsiteY3" fmla="*/ 17234 h 18392"/>
                  <a:gd name="connsiteX4" fmla="*/ 17174 w 18320"/>
                  <a:gd name="connsiteY4" fmla="*/ 13646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92">
                    <a:moveTo>
                      <a:pt x="17174" y="13646"/>
                    </a:moveTo>
                    <a:cubicBezTo>
                      <a:pt x="19626" y="9220"/>
                      <a:pt x="18012" y="3598"/>
                      <a:pt x="13586" y="1146"/>
                    </a:cubicBezTo>
                    <a:cubicBezTo>
                      <a:pt x="9160" y="-1306"/>
                      <a:pt x="3598" y="308"/>
                      <a:pt x="1146" y="4734"/>
                    </a:cubicBezTo>
                    <a:cubicBezTo>
                      <a:pt x="-1306" y="9160"/>
                      <a:pt x="309" y="14782"/>
                      <a:pt x="4734" y="17234"/>
                    </a:cubicBezTo>
                    <a:cubicBezTo>
                      <a:pt x="9160" y="19686"/>
                      <a:pt x="14722" y="18131"/>
                      <a:pt x="17174" y="13646"/>
                    </a:cubicBezTo>
                    <a:close/>
                  </a:path>
                </a:pathLst>
              </a:custGeom>
              <a:grpFill/>
              <a:ln w="5978" cap="flat">
                <a:noFill/>
                <a:prstDash val="solid"/>
                <a:miter/>
              </a:ln>
            </p:spPr>
            <p:txBody>
              <a:bodyPr rtlCol="0" anchor="ctr"/>
              <a:lstStyle/>
              <a:p>
                <a:endParaRPr lang="en-GB"/>
              </a:p>
            </p:txBody>
          </p:sp>
        </p:grpSp>
        <p:grpSp>
          <p:nvGrpSpPr>
            <p:cNvPr id="982" name="Graphic 3">
              <a:extLst>
                <a:ext uri="{FF2B5EF4-FFF2-40B4-BE49-F238E27FC236}">
                  <a16:creationId xmlns:a16="http://schemas.microsoft.com/office/drawing/2014/main" id="{55EEBDCF-4723-4F9E-87B6-0191211C0358}"/>
                </a:ext>
              </a:extLst>
            </p:cNvPr>
            <p:cNvGrpSpPr/>
            <p:nvPr/>
          </p:nvGrpSpPr>
          <p:grpSpPr>
            <a:xfrm>
              <a:off x="4340286" y="2511083"/>
              <a:ext cx="194797" cy="144360"/>
              <a:chOff x="4340286" y="2511083"/>
              <a:chExt cx="194797" cy="144360"/>
            </a:xfrm>
            <a:grpFill/>
          </p:grpSpPr>
          <p:sp>
            <p:nvSpPr>
              <p:cNvPr id="2453" name="Vrije vorm: vorm 2452">
                <a:extLst>
                  <a:ext uri="{FF2B5EF4-FFF2-40B4-BE49-F238E27FC236}">
                    <a16:creationId xmlns:a16="http://schemas.microsoft.com/office/drawing/2014/main" id="{A62BD39F-4F58-45C7-A968-981855A32FF5}"/>
                  </a:ext>
                </a:extLst>
              </p:cNvPr>
              <p:cNvSpPr/>
              <p:nvPr/>
            </p:nvSpPr>
            <p:spPr>
              <a:xfrm>
                <a:off x="4348244" y="2518761"/>
                <a:ext cx="178883" cy="129004"/>
              </a:xfrm>
              <a:custGeom>
                <a:avLst/>
                <a:gdLst>
                  <a:gd name="connsiteX0" fmla="*/ 178883 w 178883"/>
                  <a:gd name="connsiteY0" fmla="*/ 126492 h 129004"/>
                  <a:gd name="connsiteX1" fmla="*/ 177149 w 178883"/>
                  <a:gd name="connsiteY1" fmla="*/ 129004 h 129004"/>
                  <a:gd name="connsiteX2" fmla="*/ 0 w 178883"/>
                  <a:gd name="connsiteY2" fmla="*/ 2512 h 129004"/>
                  <a:gd name="connsiteX3" fmla="*/ 1734 w 178883"/>
                  <a:gd name="connsiteY3" fmla="*/ 0 h 129004"/>
                </a:gdLst>
                <a:ahLst/>
                <a:cxnLst>
                  <a:cxn ang="0">
                    <a:pos x="connsiteX0" y="connsiteY0"/>
                  </a:cxn>
                  <a:cxn ang="0">
                    <a:pos x="connsiteX1" y="connsiteY1"/>
                  </a:cxn>
                  <a:cxn ang="0">
                    <a:pos x="connsiteX2" y="connsiteY2"/>
                  </a:cxn>
                  <a:cxn ang="0">
                    <a:pos x="connsiteX3" y="connsiteY3"/>
                  </a:cxn>
                </a:cxnLst>
                <a:rect l="l" t="t" r="r" b="b"/>
                <a:pathLst>
                  <a:path w="178883" h="129004">
                    <a:moveTo>
                      <a:pt x="178883" y="126492"/>
                    </a:moveTo>
                    <a:lnTo>
                      <a:pt x="177149" y="129004"/>
                    </a:lnTo>
                    <a:lnTo>
                      <a:pt x="0" y="2512"/>
                    </a:lnTo>
                    <a:lnTo>
                      <a:pt x="1734" y="0"/>
                    </a:lnTo>
                    <a:close/>
                  </a:path>
                </a:pathLst>
              </a:custGeom>
              <a:grpFill/>
              <a:ln w="5978" cap="flat">
                <a:noFill/>
                <a:prstDash val="solid"/>
                <a:miter/>
              </a:ln>
            </p:spPr>
            <p:txBody>
              <a:bodyPr rtlCol="0" anchor="ctr"/>
              <a:lstStyle/>
              <a:p>
                <a:endParaRPr lang="en-GB"/>
              </a:p>
            </p:txBody>
          </p:sp>
          <p:sp>
            <p:nvSpPr>
              <p:cNvPr id="2454" name="Vrije vorm: vorm 2453">
                <a:extLst>
                  <a:ext uri="{FF2B5EF4-FFF2-40B4-BE49-F238E27FC236}">
                    <a16:creationId xmlns:a16="http://schemas.microsoft.com/office/drawing/2014/main" id="{EB302F9A-7C52-49BA-B4A6-B92FA08D8904}"/>
                  </a:ext>
                </a:extLst>
              </p:cNvPr>
              <p:cNvSpPr/>
              <p:nvPr/>
            </p:nvSpPr>
            <p:spPr>
              <a:xfrm>
                <a:off x="4516718" y="2637037"/>
                <a:ext cx="18366" cy="18406"/>
              </a:xfrm>
              <a:custGeom>
                <a:avLst/>
                <a:gdLst>
                  <a:gd name="connsiteX0" fmla="*/ 14476 w 18366"/>
                  <a:gd name="connsiteY0" fmla="*/ 1697 h 18406"/>
                  <a:gd name="connsiteX1" fmla="*/ 16689 w 18366"/>
                  <a:gd name="connsiteY1" fmla="*/ 14556 h 18406"/>
                  <a:gd name="connsiteX2" fmla="*/ 3890 w 18366"/>
                  <a:gd name="connsiteY2" fmla="*/ 16709 h 18406"/>
                  <a:gd name="connsiteX3" fmla="*/ 1677 w 18366"/>
                  <a:gd name="connsiteY3" fmla="*/ 3851 h 18406"/>
                  <a:gd name="connsiteX4" fmla="*/ 14476 w 18366"/>
                  <a:gd name="connsiteY4" fmla="*/ 169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4476" y="1697"/>
                    </a:moveTo>
                    <a:cubicBezTo>
                      <a:pt x="18603" y="4628"/>
                      <a:pt x="19620" y="10429"/>
                      <a:pt x="16689" y="14556"/>
                    </a:cubicBezTo>
                    <a:cubicBezTo>
                      <a:pt x="13759" y="18683"/>
                      <a:pt x="8077" y="19640"/>
                      <a:pt x="3890" y="16709"/>
                    </a:cubicBezTo>
                    <a:cubicBezTo>
                      <a:pt x="-237" y="13778"/>
                      <a:pt x="-1253" y="7977"/>
                      <a:pt x="1677" y="3851"/>
                    </a:cubicBezTo>
                    <a:cubicBezTo>
                      <a:pt x="4608" y="-276"/>
                      <a:pt x="10290" y="-1233"/>
                      <a:pt x="14476" y="1697"/>
                    </a:cubicBezTo>
                    <a:close/>
                  </a:path>
                </a:pathLst>
              </a:custGeom>
              <a:grpFill/>
              <a:ln w="5978" cap="flat">
                <a:noFill/>
                <a:prstDash val="solid"/>
                <a:miter/>
              </a:ln>
            </p:spPr>
            <p:txBody>
              <a:bodyPr rtlCol="0" anchor="ctr"/>
              <a:lstStyle/>
              <a:p>
                <a:endParaRPr lang="en-GB"/>
              </a:p>
            </p:txBody>
          </p:sp>
          <p:sp>
            <p:nvSpPr>
              <p:cNvPr id="2455" name="Vrije vorm: vorm 2454">
                <a:extLst>
                  <a:ext uri="{FF2B5EF4-FFF2-40B4-BE49-F238E27FC236}">
                    <a16:creationId xmlns:a16="http://schemas.microsoft.com/office/drawing/2014/main" id="{45EB5CC5-E130-452D-9777-FAF8F6621404}"/>
                  </a:ext>
                </a:extLst>
              </p:cNvPr>
              <p:cNvSpPr/>
              <p:nvPr/>
            </p:nvSpPr>
            <p:spPr>
              <a:xfrm>
                <a:off x="4340286" y="2511083"/>
                <a:ext cx="18366" cy="18406"/>
              </a:xfrm>
              <a:custGeom>
                <a:avLst/>
                <a:gdLst>
                  <a:gd name="connsiteX0" fmla="*/ 14476 w 18366"/>
                  <a:gd name="connsiteY0" fmla="*/ 1697 h 18406"/>
                  <a:gd name="connsiteX1" fmla="*/ 1677 w 18366"/>
                  <a:gd name="connsiteY1" fmla="*/ 3850 h 18406"/>
                  <a:gd name="connsiteX2" fmla="*/ 3890 w 18366"/>
                  <a:gd name="connsiteY2" fmla="*/ 16709 h 18406"/>
                  <a:gd name="connsiteX3" fmla="*/ 16689 w 18366"/>
                  <a:gd name="connsiteY3" fmla="*/ 14556 h 18406"/>
                  <a:gd name="connsiteX4" fmla="*/ 14476 w 18366"/>
                  <a:gd name="connsiteY4" fmla="*/ 1697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4476" y="1697"/>
                    </a:moveTo>
                    <a:cubicBezTo>
                      <a:pt x="10349" y="-1233"/>
                      <a:pt x="4608" y="-276"/>
                      <a:pt x="1677" y="3850"/>
                    </a:cubicBezTo>
                    <a:cubicBezTo>
                      <a:pt x="-1253" y="7977"/>
                      <a:pt x="-237" y="13719"/>
                      <a:pt x="3890" y="16709"/>
                    </a:cubicBezTo>
                    <a:cubicBezTo>
                      <a:pt x="8017" y="19640"/>
                      <a:pt x="13759" y="18683"/>
                      <a:pt x="16689" y="14556"/>
                    </a:cubicBezTo>
                    <a:cubicBezTo>
                      <a:pt x="19620" y="10370"/>
                      <a:pt x="18603" y="4628"/>
                      <a:pt x="14476" y="1697"/>
                    </a:cubicBezTo>
                    <a:close/>
                  </a:path>
                </a:pathLst>
              </a:custGeom>
              <a:grpFill/>
              <a:ln w="5978" cap="flat">
                <a:noFill/>
                <a:prstDash val="solid"/>
                <a:miter/>
              </a:ln>
            </p:spPr>
            <p:txBody>
              <a:bodyPr rtlCol="0" anchor="ctr"/>
              <a:lstStyle/>
              <a:p>
                <a:endParaRPr lang="en-GB"/>
              </a:p>
            </p:txBody>
          </p:sp>
        </p:grpSp>
        <p:grpSp>
          <p:nvGrpSpPr>
            <p:cNvPr id="983" name="Graphic 3">
              <a:extLst>
                <a:ext uri="{FF2B5EF4-FFF2-40B4-BE49-F238E27FC236}">
                  <a16:creationId xmlns:a16="http://schemas.microsoft.com/office/drawing/2014/main" id="{A336C8A4-EC20-4D44-BDC1-AD1EF74A66A8}"/>
                </a:ext>
              </a:extLst>
            </p:cNvPr>
            <p:cNvGrpSpPr/>
            <p:nvPr/>
          </p:nvGrpSpPr>
          <p:grpSpPr>
            <a:xfrm>
              <a:off x="4113152" y="2095591"/>
              <a:ext cx="428763" cy="297071"/>
              <a:chOff x="4113152" y="2095591"/>
              <a:chExt cx="428763" cy="297071"/>
            </a:xfrm>
            <a:grpFill/>
          </p:grpSpPr>
          <p:sp>
            <p:nvSpPr>
              <p:cNvPr id="2450" name="Vrije vorm: vorm 2449">
                <a:extLst>
                  <a:ext uri="{FF2B5EF4-FFF2-40B4-BE49-F238E27FC236}">
                    <a16:creationId xmlns:a16="http://schemas.microsoft.com/office/drawing/2014/main" id="{60A8A942-E88F-499F-8EC6-B8C7D3571313}"/>
                  </a:ext>
                </a:extLst>
              </p:cNvPr>
              <p:cNvSpPr/>
              <p:nvPr/>
            </p:nvSpPr>
            <p:spPr>
              <a:xfrm>
                <a:off x="4121096" y="2103280"/>
                <a:ext cx="412849" cy="281692"/>
              </a:xfrm>
              <a:custGeom>
                <a:avLst/>
                <a:gdLst>
                  <a:gd name="connsiteX0" fmla="*/ 412849 w 412849"/>
                  <a:gd name="connsiteY0" fmla="*/ 279120 h 281692"/>
                  <a:gd name="connsiteX1" fmla="*/ 411175 w 412849"/>
                  <a:gd name="connsiteY1" fmla="*/ 281692 h 281692"/>
                  <a:gd name="connsiteX2" fmla="*/ 0 w 412849"/>
                  <a:gd name="connsiteY2" fmla="*/ 2512 h 281692"/>
                  <a:gd name="connsiteX3" fmla="*/ 1675 w 412849"/>
                  <a:gd name="connsiteY3" fmla="*/ 0 h 281692"/>
                </a:gdLst>
                <a:ahLst/>
                <a:cxnLst>
                  <a:cxn ang="0">
                    <a:pos x="connsiteX0" y="connsiteY0"/>
                  </a:cxn>
                  <a:cxn ang="0">
                    <a:pos x="connsiteX1" y="connsiteY1"/>
                  </a:cxn>
                  <a:cxn ang="0">
                    <a:pos x="connsiteX2" y="connsiteY2"/>
                  </a:cxn>
                  <a:cxn ang="0">
                    <a:pos x="connsiteX3" y="connsiteY3"/>
                  </a:cxn>
                </a:cxnLst>
                <a:rect l="l" t="t" r="r" b="b"/>
                <a:pathLst>
                  <a:path w="412849" h="281692">
                    <a:moveTo>
                      <a:pt x="412849" y="279120"/>
                    </a:moveTo>
                    <a:lnTo>
                      <a:pt x="411175" y="281692"/>
                    </a:lnTo>
                    <a:lnTo>
                      <a:pt x="0" y="2512"/>
                    </a:lnTo>
                    <a:lnTo>
                      <a:pt x="1675" y="0"/>
                    </a:lnTo>
                    <a:close/>
                  </a:path>
                </a:pathLst>
              </a:custGeom>
              <a:grpFill/>
              <a:ln w="5978" cap="flat">
                <a:noFill/>
                <a:prstDash val="solid"/>
                <a:miter/>
              </a:ln>
            </p:spPr>
            <p:txBody>
              <a:bodyPr rtlCol="0" anchor="ctr"/>
              <a:lstStyle/>
              <a:p>
                <a:endParaRPr lang="en-GB"/>
              </a:p>
            </p:txBody>
          </p:sp>
          <p:sp>
            <p:nvSpPr>
              <p:cNvPr id="2451" name="Vrije vorm: vorm 2450">
                <a:extLst>
                  <a:ext uri="{FF2B5EF4-FFF2-40B4-BE49-F238E27FC236}">
                    <a16:creationId xmlns:a16="http://schemas.microsoft.com/office/drawing/2014/main" id="{C1F07393-8470-4D1A-948C-6EBF184088E4}"/>
                  </a:ext>
                </a:extLst>
              </p:cNvPr>
              <p:cNvSpPr/>
              <p:nvPr/>
            </p:nvSpPr>
            <p:spPr>
              <a:xfrm>
                <a:off x="4113152" y="2095591"/>
                <a:ext cx="18339" cy="18403"/>
              </a:xfrm>
              <a:custGeom>
                <a:avLst/>
                <a:gdLst>
                  <a:gd name="connsiteX0" fmla="*/ 4056 w 18339"/>
                  <a:gd name="connsiteY0" fmla="*/ 16840 h 18403"/>
                  <a:gd name="connsiteX1" fmla="*/ 1544 w 18339"/>
                  <a:gd name="connsiteY1" fmla="*/ 4042 h 18403"/>
                  <a:gd name="connsiteX2" fmla="*/ 14283 w 18339"/>
                  <a:gd name="connsiteY2" fmla="*/ 1590 h 18403"/>
                  <a:gd name="connsiteX3" fmla="*/ 16795 w 18339"/>
                  <a:gd name="connsiteY3" fmla="*/ 14388 h 18403"/>
                  <a:gd name="connsiteX4" fmla="*/ 4056 w 18339"/>
                  <a:gd name="connsiteY4" fmla="*/ 16840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03">
                    <a:moveTo>
                      <a:pt x="4056" y="16840"/>
                    </a:moveTo>
                    <a:cubicBezTo>
                      <a:pt x="-130" y="13970"/>
                      <a:pt x="-1266" y="8288"/>
                      <a:pt x="1544" y="4042"/>
                    </a:cubicBezTo>
                    <a:cubicBezTo>
                      <a:pt x="4355" y="-145"/>
                      <a:pt x="10037" y="-1281"/>
                      <a:pt x="14283" y="1590"/>
                    </a:cubicBezTo>
                    <a:cubicBezTo>
                      <a:pt x="18470" y="4460"/>
                      <a:pt x="19606" y="10142"/>
                      <a:pt x="16795" y="14388"/>
                    </a:cubicBezTo>
                    <a:cubicBezTo>
                      <a:pt x="13924" y="18575"/>
                      <a:pt x="8243" y="19651"/>
                      <a:pt x="4056" y="16840"/>
                    </a:cubicBezTo>
                    <a:close/>
                  </a:path>
                </a:pathLst>
              </a:custGeom>
              <a:grpFill/>
              <a:ln w="5978" cap="flat">
                <a:noFill/>
                <a:prstDash val="solid"/>
                <a:miter/>
              </a:ln>
            </p:spPr>
            <p:txBody>
              <a:bodyPr rtlCol="0" anchor="ctr"/>
              <a:lstStyle/>
              <a:p>
                <a:endParaRPr lang="en-GB"/>
              </a:p>
            </p:txBody>
          </p:sp>
          <p:sp>
            <p:nvSpPr>
              <p:cNvPr id="2452" name="Vrije vorm: vorm 2451">
                <a:extLst>
                  <a:ext uri="{FF2B5EF4-FFF2-40B4-BE49-F238E27FC236}">
                    <a16:creationId xmlns:a16="http://schemas.microsoft.com/office/drawing/2014/main" id="{0CF67B1F-2837-49DD-8C06-00310C5B985C}"/>
                  </a:ext>
                </a:extLst>
              </p:cNvPr>
              <p:cNvSpPr/>
              <p:nvPr/>
            </p:nvSpPr>
            <p:spPr>
              <a:xfrm>
                <a:off x="4523575" y="2374232"/>
                <a:ext cx="18339" cy="18429"/>
              </a:xfrm>
              <a:custGeom>
                <a:avLst/>
                <a:gdLst>
                  <a:gd name="connsiteX0" fmla="*/ 4030 w 18339"/>
                  <a:gd name="connsiteY0" fmla="*/ 16840 h 18429"/>
                  <a:gd name="connsiteX1" fmla="*/ 16769 w 18339"/>
                  <a:gd name="connsiteY1" fmla="*/ 14388 h 18429"/>
                  <a:gd name="connsiteX2" fmla="*/ 14257 w 18339"/>
                  <a:gd name="connsiteY2" fmla="*/ 1590 h 18429"/>
                  <a:gd name="connsiteX3" fmla="*/ 1518 w 18339"/>
                  <a:gd name="connsiteY3" fmla="*/ 4042 h 18429"/>
                  <a:gd name="connsiteX4" fmla="*/ 4030 w 18339"/>
                  <a:gd name="connsiteY4" fmla="*/ 168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29">
                    <a:moveTo>
                      <a:pt x="4030" y="16840"/>
                    </a:moveTo>
                    <a:cubicBezTo>
                      <a:pt x="8217" y="19711"/>
                      <a:pt x="13898" y="18575"/>
                      <a:pt x="16769" y="14388"/>
                    </a:cubicBezTo>
                    <a:cubicBezTo>
                      <a:pt x="19640" y="10202"/>
                      <a:pt x="18444" y="4460"/>
                      <a:pt x="14257" y="1590"/>
                    </a:cubicBezTo>
                    <a:cubicBezTo>
                      <a:pt x="10071" y="-1281"/>
                      <a:pt x="4389" y="-145"/>
                      <a:pt x="1518" y="4042"/>
                    </a:cubicBezTo>
                    <a:cubicBezTo>
                      <a:pt x="-1233" y="8228"/>
                      <a:pt x="-156" y="13970"/>
                      <a:pt x="4030" y="16840"/>
                    </a:cubicBezTo>
                    <a:close/>
                  </a:path>
                </a:pathLst>
              </a:custGeom>
              <a:grpFill/>
              <a:ln w="5978" cap="flat">
                <a:noFill/>
                <a:prstDash val="solid"/>
                <a:miter/>
              </a:ln>
            </p:spPr>
            <p:txBody>
              <a:bodyPr rtlCol="0" anchor="ctr"/>
              <a:lstStyle/>
              <a:p>
                <a:endParaRPr lang="en-GB"/>
              </a:p>
            </p:txBody>
          </p:sp>
        </p:grpSp>
        <p:grpSp>
          <p:nvGrpSpPr>
            <p:cNvPr id="984" name="Graphic 3">
              <a:extLst>
                <a:ext uri="{FF2B5EF4-FFF2-40B4-BE49-F238E27FC236}">
                  <a16:creationId xmlns:a16="http://schemas.microsoft.com/office/drawing/2014/main" id="{49DBAF4F-6A94-4F8C-AA7D-25B301FF58EF}"/>
                </a:ext>
              </a:extLst>
            </p:cNvPr>
            <p:cNvGrpSpPr/>
            <p:nvPr/>
          </p:nvGrpSpPr>
          <p:grpSpPr>
            <a:xfrm>
              <a:off x="5206208" y="4992682"/>
              <a:ext cx="308067" cy="718652"/>
              <a:chOff x="5206208" y="4992682"/>
              <a:chExt cx="308067" cy="718652"/>
            </a:xfrm>
            <a:grpFill/>
          </p:grpSpPr>
          <p:sp>
            <p:nvSpPr>
              <p:cNvPr id="2447" name="Vrije vorm: vorm 2446">
                <a:extLst>
                  <a:ext uri="{FF2B5EF4-FFF2-40B4-BE49-F238E27FC236}">
                    <a16:creationId xmlns:a16="http://schemas.microsoft.com/office/drawing/2014/main" id="{D3E6F1C6-C0E6-4849-98C0-4571555FFCFB}"/>
                  </a:ext>
                </a:extLst>
              </p:cNvPr>
              <p:cNvSpPr/>
              <p:nvPr/>
            </p:nvSpPr>
            <p:spPr>
              <a:xfrm>
                <a:off x="5213774" y="5000880"/>
                <a:ext cx="292935" cy="702196"/>
              </a:xfrm>
              <a:custGeom>
                <a:avLst/>
                <a:gdLst>
                  <a:gd name="connsiteX0" fmla="*/ 292936 w 292935"/>
                  <a:gd name="connsiteY0" fmla="*/ 1136 h 702196"/>
                  <a:gd name="connsiteX1" fmla="*/ 2811 w 292935"/>
                  <a:gd name="connsiteY1" fmla="*/ 702196 h 702196"/>
                  <a:gd name="connsiteX2" fmla="*/ 0 w 292935"/>
                  <a:gd name="connsiteY2" fmla="*/ 701060 h 702196"/>
                  <a:gd name="connsiteX3" fmla="*/ 290065 w 292935"/>
                  <a:gd name="connsiteY3" fmla="*/ 0 h 702196"/>
                </a:gdLst>
                <a:ahLst/>
                <a:cxnLst>
                  <a:cxn ang="0">
                    <a:pos x="connsiteX0" y="connsiteY0"/>
                  </a:cxn>
                  <a:cxn ang="0">
                    <a:pos x="connsiteX1" y="connsiteY1"/>
                  </a:cxn>
                  <a:cxn ang="0">
                    <a:pos x="connsiteX2" y="connsiteY2"/>
                  </a:cxn>
                  <a:cxn ang="0">
                    <a:pos x="connsiteX3" y="connsiteY3"/>
                  </a:cxn>
                </a:cxnLst>
                <a:rect l="l" t="t" r="r" b="b"/>
                <a:pathLst>
                  <a:path w="292935" h="702196">
                    <a:moveTo>
                      <a:pt x="292936" y="1136"/>
                    </a:moveTo>
                    <a:lnTo>
                      <a:pt x="2811" y="702196"/>
                    </a:lnTo>
                    <a:lnTo>
                      <a:pt x="0" y="701060"/>
                    </a:lnTo>
                    <a:lnTo>
                      <a:pt x="290065" y="0"/>
                    </a:lnTo>
                    <a:close/>
                  </a:path>
                </a:pathLst>
              </a:custGeom>
              <a:grpFill/>
              <a:ln w="5978" cap="flat">
                <a:noFill/>
                <a:prstDash val="solid"/>
                <a:miter/>
              </a:ln>
            </p:spPr>
            <p:txBody>
              <a:bodyPr rtlCol="0" anchor="ctr"/>
              <a:lstStyle/>
              <a:p>
                <a:endParaRPr lang="en-GB"/>
              </a:p>
            </p:txBody>
          </p:sp>
          <p:sp>
            <p:nvSpPr>
              <p:cNvPr id="2448" name="Vrije vorm: vorm 2447">
                <a:extLst>
                  <a:ext uri="{FF2B5EF4-FFF2-40B4-BE49-F238E27FC236}">
                    <a16:creationId xmlns:a16="http://schemas.microsoft.com/office/drawing/2014/main" id="{71213E3F-BC2B-4C75-B324-DFD6C0D59047}"/>
                  </a:ext>
                </a:extLst>
              </p:cNvPr>
              <p:cNvSpPr/>
              <p:nvPr/>
            </p:nvSpPr>
            <p:spPr>
              <a:xfrm>
                <a:off x="5495940" y="4992682"/>
                <a:ext cx="18335" cy="18429"/>
              </a:xfrm>
              <a:custGeom>
                <a:avLst/>
                <a:gdLst>
                  <a:gd name="connsiteX0" fmla="*/ 721 w 18335"/>
                  <a:gd name="connsiteY0" fmla="*/ 5627 h 18429"/>
                  <a:gd name="connsiteX1" fmla="*/ 12683 w 18335"/>
                  <a:gd name="connsiteY1" fmla="*/ 722 h 18429"/>
                  <a:gd name="connsiteX2" fmla="*/ 17647 w 18335"/>
                  <a:gd name="connsiteY2" fmla="*/ 12803 h 18429"/>
                  <a:gd name="connsiteX3" fmla="*/ 5685 w 18335"/>
                  <a:gd name="connsiteY3" fmla="*/ 17707 h 18429"/>
                  <a:gd name="connsiteX4" fmla="*/ 721 w 18335"/>
                  <a:gd name="connsiteY4" fmla="*/ 5627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9">
                    <a:moveTo>
                      <a:pt x="721" y="5627"/>
                    </a:moveTo>
                    <a:cubicBezTo>
                      <a:pt x="2635" y="962"/>
                      <a:pt x="8018" y="-1251"/>
                      <a:pt x="12683" y="722"/>
                    </a:cubicBezTo>
                    <a:cubicBezTo>
                      <a:pt x="17348" y="2696"/>
                      <a:pt x="19561" y="8079"/>
                      <a:pt x="17647" y="12803"/>
                    </a:cubicBezTo>
                    <a:cubicBezTo>
                      <a:pt x="15733" y="17468"/>
                      <a:pt x="10350" y="19681"/>
                      <a:pt x="5685" y="17707"/>
                    </a:cubicBezTo>
                    <a:cubicBezTo>
                      <a:pt x="961" y="15734"/>
                      <a:pt x="-1252" y="10291"/>
                      <a:pt x="721" y="5627"/>
                    </a:cubicBezTo>
                    <a:close/>
                  </a:path>
                </a:pathLst>
              </a:custGeom>
              <a:grpFill/>
              <a:ln w="5978" cap="flat">
                <a:noFill/>
                <a:prstDash val="solid"/>
                <a:miter/>
              </a:ln>
            </p:spPr>
            <p:txBody>
              <a:bodyPr rtlCol="0" anchor="ctr"/>
              <a:lstStyle/>
              <a:p>
                <a:endParaRPr lang="en-GB"/>
              </a:p>
            </p:txBody>
          </p:sp>
          <p:sp>
            <p:nvSpPr>
              <p:cNvPr id="2449" name="Vrije vorm: vorm 2448">
                <a:extLst>
                  <a:ext uri="{FF2B5EF4-FFF2-40B4-BE49-F238E27FC236}">
                    <a16:creationId xmlns:a16="http://schemas.microsoft.com/office/drawing/2014/main" id="{E1FF8079-1071-4A4E-A5B9-ED35951EF77A}"/>
                  </a:ext>
                </a:extLst>
              </p:cNvPr>
              <p:cNvSpPr/>
              <p:nvPr/>
            </p:nvSpPr>
            <p:spPr>
              <a:xfrm>
                <a:off x="5206208" y="5692896"/>
                <a:ext cx="18301" cy="18438"/>
              </a:xfrm>
              <a:custGeom>
                <a:avLst/>
                <a:gdLst>
                  <a:gd name="connsiteX0" fmla="*/ 688 w 18301"/>
                  <a:gd name="connsiteY0" fmla="*/ 5635 h 18438"/>
                  <a:gd name="connsiteX1" fmla="*/ 5652 w 18301"/>
                  <a:gd name="connsiteY1" fmla="*/ 17716 h 18438"/>
                  <a:gd name="connsiteX2" fmla="*/ 17614 w 18301"/>
                  <a:gd name="connsiteY2" fmla="*/ 12812 h 18438"/>
                  <a:gd name="connsiteX3" fmla="*/ 12649 w 18301"/>
                  <a:gd name="connsiteY3" fmla="*/ 731 h 18438"/>
                  <a:gd name="connsiteX4" fmla="*/ 688 w 18301"/>
                  <a:gd name="connsiteY4" fmla="*/ 5635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8">
                    <a:moveTo>
                      <a:pt x="688" y="5635"/>
                    </a:moveTo>
                    <a:cubicBezTo>
                      <a:pt x="-1225" y="10300"/>
                      <a:pt x="987" y="15742"/>
                      <a:pt x="5652" y="17716"/>
                    </a:cubicBezTo>
                    <a:cubicBezTo>
                      <a:pt x="10317" y="19690"/>
                      <a:pt x="15700" y="17477"/>
                      <a:pt x="17614" y="12812"/>
                    </a:cubicBezTo>
                    <a:cubicBezTo>
                      <a:pt x="19527" y="8147"/>
                      <a:pt x="17315" y="2704"/>
                      <a:pt x="12649" y="731"/>
                    </a:cubicBezTo>
                    <a:cubicBezTo>
                      <a:pt x="7985" y="-1243"/>
                      <a:pt x="2602" y="910"/>
                      <a:pt x="688" y="5635"/>
                    </a:cubicBezTo>
                    <a:close/>
                  </a:path>
                </a:pathLst>
              </a:custGeom>
              <a:grpFill/>
              <a:ln w="5978" cap="flat">
                <a:noFill/>
                <a:prstDash val="solid"/>
                <a:miter/>
              </a:ln>
            </p:spPr>
            <p:txBody>
              <a:bodyPr rtlCol="0" anchor="ctr"/>
              <a:lstStyle/>
              <a:p>
                <a:endParaRPr lang="en-GB"/>
              </a:p>
            </p:txBody>
          </p:sp>
        </p:grpSp>
        <p:grpSp>
          <p:nvGrpSpPr>
            <p:cNvPr id="985" name="Graphic 3">
              <a:extLst>
                <a:ext uri="{FF2B5EF4-FFF2-40B4-BE49-F238E27FC236}">
                  <a16:creationId xmlns:a16="http://schemas.microsoft.com/office/drawing/2014/main" id="{3D02D0C0-0953-4EC4-B639-635AED4AA283}"/>
                </a:ext>
              </a:extLst>
            </p:cNvPr>
            <p:cNvGrpSpPr/>
            <p:nvPr/>
          </p:nvGrpSpPr>
          <p:grpSpPr>
            <a:xfrm>
              <a:off x="4213323" y="2398720"/>
              <a:ext cx="373939" cy="214244"/>
              <a:chOff x="4213323" y="2398720"/>
              <a:chExt cx="373939" cy="214244"/>
            </a:xfrm>
            <a:grpFill/>
          </p:grpSpPr>
          <p:sp>
            <p:nvSpPr>
              <p:cNvPr id="2444" name="Vrije vorm: vorm 2443">
                <a:extLst>
                  <a:ext uri="{FF2B5EF4-FFF2-40B4-BE49-F238E27FC236}">
                    <a16:creationId xmlns:a16="http://schemas.microsoft.com/office/drawing/2014/main" id="{214D33CC-D600-4883-885A-94C2BF392AA1}"/>
                  </a:ext>
                </a:extLst>
              </p:cNvPr>
              <p:cNvSpPr/>
              <p:nvPr/>
            </p:nvSpPr>
            <p:spPr>
              <a:xfrm>
                <a:off x="4221333" y="2406324"/>
                <a:ext cx="357886" cy="198978"/>
              </a:xfrm>
              <a:custGeom>
                <a:avLst/>
                <a:gdLst>
                  <a:gd name="connsiteX0" fmla="*/ 357887 w 357886"/>
                  <a:gd name="connsiteY0" fmla="*/ 196287 h 198978"/>
                  <a:gd name="connsiteX1" fmla="*/ 356451 w 357886"/>
                  <a:gd name="connsiteY1" fmla="*/ 198979 h 198978"/>
                  <a:gd name="connsiteX2" fmla="*/ 0 w 357886"/>
                  <a:gd name="connsiteY2" fmla="*/ 2691 h 198978"/>
                  <a:gd name="connsiteX3" fmla="*/ 1435 w 357886"/>
                  <a:gd name="connsiteY3" fmla="*/ 0 h 198978"/>
                </a:gdLst>
                <a:ahLst/>
                <a:cxnLst>
                  <a:cxn ang="0">
                    <a:pos x="connsiteX0" y="connsiteY0"/>
                  </a:cxn>
                  <a:cxn ang="0">
                    <a:pos x="connsiteX1" y="connsiteY1"/>
                  </a:cxn>
                  <a:cxn ang="0">
                    <a:pos x="connsiteX2" y="connsiteY2"/>
                  </a:cxn>
                  <a:cxn ang="0">
                    <a:pos x="connsiteX3" y="connsiteY3"/>
                  </a:cxn>
                </a:cxnLst>
                <a:rect l="l" t="t" r="r" b="b"/>
                <a:pathLst>
                  <a:path w="357886" h="198978">
                    <a:moveTo>
                      <a:pt x="357887" y="196287"/>
                    </a:moveTo>
                    <a:lnTo>
                      <a:pt x="356451" y="198979"/>
                    </a:lnTo>
                    <a:lnTo>
                      <a:pt x="0" y="2691"/>
                    </a:lnTo>
                    <a:lnTo>
                      <a:pt x="1435" y="0"/>
                    </a:lnTo>
                    <a:close/>
                  </a:path>
                </a:pathLst>
              </a:custGeom>
              <a:grpFill/>
              <a:ln w="5978" cap="flat">
                <a:noFill/>
                <a:prstDash val="solid"/>
                <a:miter/>
              </a:ln>
            </p:spPr>
            <p:txBody>
              <a:bodyPr rtlCol="0" anchor="ctr"/>
              <a:lstStyle/>
              <a:p>
                <a:endParaRPr lang="en-GB"/>
              </a:p>
            </p:txBody>
          </p:sp>
          <p:sp>
            <p:nvSpPr>
              <p:cNvPr id="2445" name="Vrije vorm: vorm 2444">
                <a:extLst>
                  <a:ext uri="{FF2B5EF4-FFF2-40B4-BE49-F238E27FC236}">
                    <a16:creationId xmlns:a16="http://schemas.microsoft.com/office/drawing/2014/main" id="{E67201E5-157C-4B70-B7AC-3D710B041337}"/>
                  </a:ext>
                </a:extLst>
              </p:cNvPr>
              <p:cNvSpPr/>
              <p:nvPr/>
            </p:nvSpPr>
            <p:spPr>
              <a:xfrm>
                <a:off x="4213323" y="2398720"/>
                <a:ext cx="18351" cy="18423"/>
              </a:xfrm>
              <a:custGeom>
                <a:avLst/>
                <a:gdLst>
                  <a:gd name="connsiteX0" fmla="*/ 4780 w 18351"/>
                  <a:gd name="connsiteY0" fmla="*/ 17292 h 18423"/>
                  <a:gd name="connsiteX1" fmla="*/ 1132 w 18351"/>
                  <a:gd name="connsiteY1" fmla="*/ 4792 h 18423"/>
                  <a:gd name="connsiteX2" fmla="*/ 13572 w 18351"/>
                  <a:gd name="connsiteY2" fmla="*/ 1144 h 18423"/>
                  <a:gd name="connsiteX3" fmla="*/ 17220 w 18351"/>
                  <a:gd name="connsiteY3" fmla="*/ 13644 h 18423"/>
                  <a:gd name="connsiteX4" fmla="*/ 4780 w 18351"/>
                  <a:gd name="connsiteY4" fmla="*/ 172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3">
                    <a:moveTo>
                      <a:pt x="4780" y="17292"/>
                    </a:moveTo>
                    <a:cubicBezTo>
                      <a:pt x="355" y="14840"/>
                      <a:pt x="-1320" y="9218"/>
                      <a:pt x="1132" y="4792"/>
                    </a:cubicBezTo>
                    <a:cubicBezTo>
                      <a:pt x="3524" y="307"/>
                      <a:pt x="9086" y="-1308"/>
                      <a:pt x="13572" y="1144"/>
                    </a:cubicBezTo>
                    <a:cubicBezTo>
                      <a:pt x="17997" y="3596"/>
                      <a:pt x="19672" y="9218"/>
                      <a:pt x="17220" y="13644"/>
                    </a:cubicBezTo>
                    <a:cubicBezTo>
                      <a:pt x="14768" y="18070"/>
                      <a:pt x="9206" y="19744"/>
                      <a:pt x="4780" y="17292"/>
                    </a:cubicBezTo>
                    <a:close/>
                  </a:path>
                </a:pathLst>
              </a:custGeom>
              <a:grpFill/>
              <a:ln w="5978" cap="flat">
                <a:noFill/>
                <a:prstDash val="solid"/>
                <a:miter/>
              </a:ln>
            </p:spPr>
            <p:txBody>
              <a:bodyPr rtlCol="0" anchor="ctr"/>
              <a:lstStyle/>
              <a:p>
                <a:endParaRPr lang="en-GB"/>
              </a:p>
            </p:txBody>
          </p:sp>
          <p:sp>
            <p:nvSpPr>
              <p:cNvPr id="2446" name="Vrije vorm: vorm 2445">
                <a:extLst>
                  <a:ext uri="{FF2B5EF4-FFF2-40B4-BE49-F238E27FC236}">
                    <a16:creationId xmlns:a16="http://schemas.microsoft.com/office/drawing/2014/main" id="{4343E128-407C-4A73-BBEE-FB135451077A}"/>
                  </a:ext>
                </a:extLst>
              </p:cNvPr>
              <p:cNvSpPr/>
              <p:nvPr/>
            </p:nvSpPr>
            <p:spPr>
              <a:xfrm>
                <a:off x="4568937" y="2594529"/>
                <a:ext cx="18325" cy="18435"/>
              </a:xfrm>
              <a:custGeom>
                <a:avLst/>
                <a:gdLst>
                  <a:gd name="connsiteX0" fmla="*/ 4780 w 18325"/>
                  <a:gd name="connsiteY0" fmla="*/ 17292 h 18435"/>
                  <a:gd name="connsiteX1" fmla="*/ 17220 w 18325"/>
                  <a:gd name="connsiteY1" fmla="*/ 13644 h 18435"/>
                  <a:gd name="connsiteX2" fmla="*/ 13572 w 18325"/>
                  <a:gd name="connsiteY2" fmla="*/ 1144 h 18435"/>
                  <a:gd name="connsiteX3" fmla="*/ 1132 w 18325"/>
                  <a:gd name="connsiteY3" fmla="*/ 4792 h 18435"/>
                  <a:gd name="connsiteX4" fmla="*/ 4780 w 18325"/>
                  <a:gd name="connsiteY4" fmla="*/ 1729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5">
                    <a:moveTo>
                      <a:pt x="4780" y="17292"/>
                    </a:moveTo>
                    <a:cubicBezTo>
                      <a:pt x="9206" y="19744"/>
                      <a:pt x="14768" y="18129"/>
                      <a:pt x="17220" y="13644"/>
                    </a:cubicBezTo>
                    <a:cubicBezTo>
                      <a:pt x="19612" y="9158"/>
                      <a:pt x="17997" y="3596"/>
                      <a:pt x="13572" y="1144"/>
                    </a:cubicBezTo>
                    <a:cubicBezTo>
                      <a:pt x="9146" y="-1308"/>
                      <a:pt x="3584" y="307"/>
                      <a:pt x="1132" y="4792"/>
                    </a:cubicBezTo>
                    <a:cubicBezTo>
                      <a:pt x="-1320" y="9218"/>
                      <a:pt x="354" y="14840"/>
                      <a:pt x="4780" y="17292"/>
                    </a:cubicBezTo>
                    <a:close/>
                  </a:path>
                </a:pathLst>
              </a:custGeom>
              <a:grpFill/>
              <a:ln w="5978" cap="flat">
                <a:noFill/>
                <a:prstDash val="solid"/>
                <a:miter/>
              </a:ln>
            </p:spPr>
            <p:txBody>
              <a:bodyPr rtlCol="0" anchor="ctr"/>
              <a:lstStyle/>
              <a:p>
                <a:endParaRPr lang="en-GB"/>
              </a:p>
            </p:txBody>
          </p:sp>
        </p:grpSp>
        <p:grpSp>
          <p:nvGrpSpPr>
            <p:cNvPr id="986" name="Graphic 3">
              <a:extLst>
                <a:ext uri="{FF2B5EF4-FFF2-40B4-BE49-F238E27FC236}">
                  <a16:creationId xmlns:a16="http://schemas.microsoft.com/office/drawing/2014/main" id="{3DAA7C9F-6458-43F4-8CF9-5905FEAB8D08}"/>
                </a:ext>
              </a:extLst>
            </p:cNvPr>
            <p:cNvGrpSpPr/>
            <p:nvPr/>
          </p:nvGrpSpPr>
          <p:grpSpPr>
            <a:xfrm>
              <a:off x="4346387" y="2554503"/>
              <a:ext cx="172668" cy="128477"/>
              <a:chOff x="4346387" y="2554503"/>
              <a:chExt cx="172668" cy="128477"/>
            </a:xfrm>
            <a:grpFill/>
          </p:grpSpPr>
          <p:sp>
            <p:nvSpPr>
              <p:cNvPr id="2441" name="Vrije vorm: vorm 2440">
                <a:extLst>
                  <a:ext uri="{FF2B5EF4-FFF2-40B4-BE49-F238E27FC236}">
                    <a16:creationId xmlns:a16="http://schemas.microsoft.com/office/drawing/2014/main" id="{4A0A9438-74DF-44B8-AFC3-89A598C781EB}"/>
                  </a:ext>
                </a:extLst>
              </p:cNvPr>
              <p:cNvSpPr/>
              <p:nvPr/>
            </p:nvSpPr>
            <p:spPr>
              <a:xfrm>
                <a:off x="4354344" y="2562181"/>
                <a:ext cx="156754" cy="113095"/>
              </a:xfrm>
              <a:custGeom>
                <a:avLst/>
                <a:gdLst>
                  <a:gd name="connsiteX0" fmla="*/ 156755 w 156754"/>
                  <a:gd name="connsiteY0" fmla="*/ 110583 h 113095"/>
                  <a:gd name="connsiteX1" fmla="*/ 155021 w 156754"/>
                  <a:gd name="connsiteY1" fmla="*/ 113095 h 113095"/>
                  <a:gd name="connsiteX2" fmla="*/ 0 w 156754"/>
                  <a:gd name="connsiteY2" fmla="*/ 2512 h 113095"/>
                  <a:gd name="connsiteX3" fmla="*/ 1735 w 156754"/>
                  <a:gd name="connsiteY3" fmla="*/ 0 h 113095"/>
                </a:gdLst>
                <a:ahLst/>
                <a:cxnLst>
                  <a:cxn ang="0">
                    <a:pos x="connsiteX0" y="connsiteY0"/>
                  </a:cxn>
                  <a:cxn ang="0">
                    <a:pos x="connsiteX1" y="connsiteY1"/>
                  </a:cxn>
                  <a:cxn ang="0">
                    <a:pos x="connsiteX2" y="connsiteY2"/>
                  </a:cxn>
                  <a:cxn ang="0">
                    <a:pos x="connsiteX3" y="connsiteY3"/>
                  </a:cxn>
                </a:cxnLst>
                <a:rect l="l" t="t" r="r" b="b"/>
                <a:pathLst>
                  <a:path w="156754" h="113095">
                    <a:moveTo>
                      <a:pt x="156755" y="110583"/>
                    </a:moveTo>
                    <a:lnTo>
                      <a:pt x="155021" y="113095"/>
                    </a:lnTo>
                    <a:lnTo>
                      <a:pt x="0" y="2512"/>
                    </a:lnTo>
                    <a:lnTo>
                      <a:pt x="1735" y="0"/>
                    </a:lnTo>
                    <a:close/>
                  </a:path>
                </a:pathLst>
              </a:custGeom>
              <a:grpFill/>
              <a:ln w="5978" cap="flat">
                <a:noFill/>
                <a:prstDash val="solid"/>
                <a:miter/>
              </a:ln>
            </p:spPr>
            <p:txBody>
              <a:bodyPr rtlCol="0" anchor="ctr"/>
              <a:lstStyle/>
              <a:p>
                <a:endParaRPr lang="en-GB"/>
              </a:p>
            </p:txBody>
          </p:sp>
          <p:sp>
            <p:nvSpPr>
              <p:cNvPr id="2442" name="Vrije vorm: vorm 2441">
                <a:extLst>
                  <a:ext uri="{FF2B5EF4-FFF2-40B4-BE49-F238E27FC236}">
                    <a16:creationId xmlns:a16="http://schemas.microsoft.com/office/drawing/2014/main" id="{FB325765-BDFC-4848-87BE-35CE9279B405}"/>
                  </a:ext>
                </a:extLst>
              </p:cNvPr>
              <p:cNvSpPr/>
              <p:nvPr/>
            </p:nvSpPr>
            <p:spPr>
              <a:xfrm>
                <a:off x="4500689" y="2664548"/>
                <a:ext cx="18366" cy="18432"/>
              </a:xfrm>
              <a:custGeom>
                <a:avLst/>
                <a:gdLst>
                  <a:gd name="connsiteX0" fmla="*/ 14476 w 18366"/>
                  <a:gd name="connsiteY0" fmla="*/ 1697 h 18432"/>
                  <a:gd name="connsiteX1" fmla="*/ 16689 w 18366"/>
                  <a:gd name="connsiteY1" fmla="*/ 14556 h 18432"/>
                  <a:gd name="connsiteX2" fmla="*/ 3890 w 18366"/>
                  <a:gd name="connsiteY2" fmla="*/ 16709 h 18432"/>
                  <a:gd name="connsiteX3" fmla="*/ 1677 w 18366"/>
                  <a:gd name="connsiteY3" fmla="*/ 3850 h 18432"/>
                  <a:gd name="connsiteX4" fmla="*/ 14476 w 18366"/>
                  <a:gd name="connsiteY4" fmla="*/ 169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32">
                    <a:moveTo>
                      <a:pt x="14476" y="1697"/>
                    </a:moveTo>
                    <a:cubicBezTo>
                      <a:pt x="18603" y="4628"/>
                      <a:pt x="19620" y="10429"/>
                      <a:pt x="16689" y="14556"/>
                    </a:cubicBezTo>
                    <a:cubicBezTo>
                      <a:pt x="13759" y="18683"/>
                      <a:pt x="8077" y="19700"/>
                      <a:pt x="3890" y="16709"/>
                    </a:cubicBezTo>
                    <a:cubicBezTo>
                      <a:pt x="-237" y="13778"/>
                      <a:pt x="-1253" y="7977"/>
                      <a:pt x="1677" y="3850"/>
                    </a:cubicBezTo>
                    <a:cubicBezTo>
                      <a:pt x="4608" y="-276"/>
                      <a:pt x="10290" y="-1233"/>
                      <a:pt x="14476" y="1697"/>
                    </a:cubicBezTo>
                    <a:close/>
                  </a:path>
                </a:pathLst>
              </a:custGeom>
              <a:grpFill/>
              <a:ln w="5978" cap="flat">
                <a:noFill/>
                <a:prstDash val="solid"/>
                <a:miter/>
              </a:ln>
            </p:spPr>
            <p:txBody>
              <a:bodyPr rtlCol="0" anchor="ctr"/>
              <a:lstStyle/>
              <a:p>
                <a:endParaRPr lang="en-GB"/>
              </a:p>
            </p:txBody>
          </p:sp>
          <p:sp>
            <p:nvSpPr>
              <p:cNvPr id="2443" name="Vrije vorm: vorm 2442">
                <a:extLst>
                  <a:ext uri="{FF2B5EF4-FFF2-40B4-BE49-F238E27FC236}">
                    <a16:creationId xmlns:a16="http://schemas.microsoft.com/office/drawing/2014/main" id="{FBCAB2CB-DC11-4C0B-B0C0-84D7F201FAEA}"/>
                  </a:ext>
                </a:extLst>
              </p:cNvPr>
              <p:cNvSpPr/>
              <p:nvPr/>
            </p:nvSpPr>
            <p:spPr>
              <a:xfrm>
                <a:off x="4346387" y="2554503"/>
                <a:ext cx="18366" cy="18406"/>
              </a:xfrm>
              <a:custGeom>
                <a:avLst/>
                <a:gdLst>
                  <a:gd name="connsiteX0" fmla="*/ 14476 w 18366"/>
                  <a:gd name="connsiteY0" fmla="*/ 1698 h 18406"/>
                  <a:gd name="connsiteX1" fmla="*/ 1677 w 18366"/>
                  <a:gd name="connsiteY1" fmla="*/ 3851 h 18406"/>
                  <a:gd name="connsiteX2" fmla="*/ 3890 w 18366"/>
                  <a:gd name="connsiteY2" fmla="*/ 16709 h 18406"/>
                  <a:gd name="connsiteX3" fmla="*/ 16689 w 18366"/>
                  <a:gd name="connsiteY3" fmla="*/ 14556 h 18406"/>
                  <a:gd name="connsiteX4" fmla="*/ 14476 w 18366"/>
                  <a:gd name="connsiteY4" fmla="*/ 1698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4476" y="1698"/>
                    </a:moveTo>
                    <a:cubicBezTo>
                      <a:pt x="10349" y="-1233"/>
                      <a:pt x="4608" y="-276"/>
                      <a:pt x="1677" y="3851"/>
                    </a:cubicBezTo>
                    <a:cubicBezTo>
                      <a:pt x="-1253" y="7977"/>
                      <a:pt x="-237" y="13719"/>
                      <a:pt x="3890" y="16709"/>
                    </a:cubicBezTo>
                    <a:cubicBezTo>
                      <a:pt x="8017" y="19640"/>
                      <a:pt x="13759" y="18683"/>
                      <a:pt x="16689" y="14556"/>
                    </a:cubicBezTo>
                    <a:cubicBezTo>
                      <a:pt x="19620" y="10429"/>
                      <a:pt x="18603" y="4688"/>
                      <a:pt x="14476" y="1698"/>
                    </a:cubicBezTo>
                    <a:close/>
                  </a:path>
                </a:pathLst>
              </a:custGeom>
              <a:grpFill/>
              <a:ln w="5978" cap="flat">
                <a:noFill/>
                <a:prstDash val="solid"/>
                <a:miter/>
              </a:ln>
            </p:spPr>
            <p:txBody>
              <a:bodyPr rtlCol="0" anchor="ctr"/>
              <a:lstStyle/>
              <a:p>
                <a:endParaRPr lang="en-GB"/>
              </a:p>
            </p:txBody>
          </p:sp>
        </p:grpSp>
        <p:grpSp>
          <p:nvGrpSpPr>
            <p:cNvPr id="987" name="Graphic 3">
              <a:extLst>
                <a:ext uri="{FF2B5EF4-FFF2-40B4-BE49-F238E27FC236}">
                  <a16:creationId xmlns:a16="http://schemas.microsoft.com/office/drawing/2014/main" id="{2EFDF936-2C5A-4601-8379-13162F08753D}"/>
                </a:ext>
              </a:extLst>
            </p:cNvPr>
            <p:cNvGrpSpPr/>
            <p:nvPr/>
          </p:nvGrpSpPr>
          <p:grpSpPr>
            <a:xfrm>
              <a:off x="5169868" y="4858537"/>
              <a:ext cx="63602" cy="97550"/>
              <a:chOff x="5169868" y="4858537"/>
              <a:chExt cx="63602" cy="97550"/>
            </a:xfrm>
            <a:grpFill/>
          </p:grpSpPr>
          <p:sp>
            <p:nvSpPr>
              <p:cNvPr id="2438" name="Vrije vorm: vorm 2437">
                <a:extLst>
                  <a:ext uri="{FF2B5EF4-FFF2-40B4-BE49-F238E27FC236}">
                    <a16:creationId xmlns:a16="http://schemas.microsoft.com/office/drawing/2014/main" id="{BE4B298D-B29E-46C3-9F4D-A913D13CDAB5}"/>
                  </a:ext>
                </a:extLst>
              </p:cNvPr>
              <p:cNvSpPr/>
              <p:nvPr/>
            </p:nvSpPr>
            <p:spPr>
              <a:xfrm>
                <a:off x="5177471" y="4866613"/>
                <a:ext cx="48384" cy="81457"/>
              </a:xfrm>
              <a:custGeom>
                <a:avLst/>
                <a:gdLst>
                  <a:gd name="connsiteX0" fmla="*/ 48384 w 48384"/>
                  <a:gd name="connsiteY0" fmla="*/ 1555 h 81457"/>
                  <a:gd name="connsiteX1" fmla="*/ 2632 w 48384"/>
                  <a:gd name="connsiteY1" fmla="*/ 81457 h 81457"/>
                  <a:gd name="connsiteX2" fmla="*/ 0 w 48384"/>
                  <a:gd name="connsiteY2" fmla="*/ 79902 h 81457"/>
                  <a:gd name="connsiteX3" fmla="*/ 45753 w 48384"/>
                  <a:gd name="connsiteY3" fmla="*/ 0 h 81457"/>
                </a:gdLst>
                <a:ahLst/>
                <a:cxnLst>
                  <a:cxn ang="0">
                    <a:pos x="connsiteX0" y="connsiteY0"/>
                  </a:cxn>
                  <a:cxn ang="0">
                    <a:pos x="connsiteX1" y="connsiteY1"/>
                  </a:cxn>
                  <a:cxn ang="0">
                    <a:pos x="connsiteX2" y="connsiteY2"/>
                  </a:cxn>
                  <a:cxn ang="0">
                    <a:pos x="connsiteX3" y="connsiteY3"/>
                  </a:cxn>
                </a:cxnLst>
                <a:rect l="l" t="t" r="r" b="b"/>
                <a:pathLst>
                  <a:path w="48384" h="81457">
                    <a:moveTo>
                      <a:pt x="48384" y="1555"/>
                    </a:moveTo>
                    <a:lnTo>
                      <a:pt x="2632" y="81457"/>
                    </a:lnTo>
                    <a:lnTo>
                      <a:pt x="0" y="79902"/>
                    </a:lnTo>
                    <a:lnTo>
                      <a:pt x="45753" y="0"/>
                    </a:lnTo>
                    <a:close/>
                  </a:path>
                </a:pathLst>
              </a:custGeom>
              <a:grpFill/>
              <a:ln w="5978" cap="flat">
                <a:noFill/>
                <a:prstDash val="solid"/>
                <a:miter/>
              </a:ln>
            </p:spPr>
            <p:txBody>
              <a:bodyPr rtlCol="0" anchor="ctr"/>
              <a:lstStyle/>
              <a:p>
                <a:endParaRPr lang="en-GB"/>
              </a:p>
            </p:txBody>
          </p:sp>
          <p:sp>
            <p:nvSpPr>
              <p:cNvPr id="2439" name="Vrije vorm: vorm 2438">
                <a:extLst>
                  <a:ext uri="{FF2B5EF4-FFF2-40B4-BE49-F238E27FC236}">
                    <a16:creationId xmlns:a16="http://schemas.microsoft.com/office/drawing/2014/main" id="{11BA522F-02CC-4628-AA18-E7383A503C1C}"/>
                  </a:ext>
                </a:extLst>
              </p:cNvPr>
              <p:cNvSpPr/>
              <p:nvPr/>
            </p:nvSpPr>
            <p:spPr>
              <a:xfrm>
                <a:off x="5169868" y="4937602"/>
                <a:ext cx="18315" cy="18485"/>
              </a:xfrm>
              <a:custGeom>
                <a:avLst/>
                <a:gdLst>
                  <a:gd name="connsiteX0" fmla="*/ 17112 w 18315"/>
                  <a:gd name="connsiteY0" fmla="*/ 13878 h 18485"/>
                  <a:gd name="connsiteX1" fmla="*/ 4612 w 18315"/>
                  <a:gd name="connsiteY1" fmla="*/ 17227 h 18485"/>
                  <a:gd name="connsiteX2" fmla="*/ 1203 w 18315"/>
                  <a:gd name="connsiteY2" fmla="*/ 4608 h 18485"/>
                  <a:gd name="connsiteX3" fmla="*/ 13703 w 18315"/>
                  <a:gd name="connsiteY3" fmla="*/ 1258 h 18485"/>
                  <a:gd name="connsiteX4" fmla="*/ 17112 w 18315"/>
                  <a:gd name="connsiteY4" fmla="*/ 13878 h 18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85">
                    <a:moveTo>
                      <a:pt x="17112" y="13878"/>
                    </a:moveTo>
                    <a:cubicBezTo>
                      <a:pt x="14600" y="18303"/>
                      <a:pt x="8978" y="19799"/>
                      <a:pt x="4612" y="17227"/>
                    </a:cubicBezTo>
                    <a:cubicBezTo>
                      <a:pt x="247" y="14655"/>
                      <a:pt x="-1308" y="9033"/>
                      <a:pt x="1203" y="4608"/>
                    </a:cubicBezTo>
                    <a:cubicBezTo>
                      <a:pt x="3716" y="182"/>
                      <a:pt x="9338" y="-1314"/>
                      <a:pt x="13703" y="1258"/>
                    </a:cubicBezTo>
                    <a:cubicBezTo>
                      <a:pt x="18069" y="3830"/>
                      <a:pt x="19624" y="9512"/>
                      <a:pt x="17112" y="13878"/>
                    </a:cubicBezTo>
                    <a:close/>
                  </a:path>
                </a:pathLst>
              </a:custGeom>
              <a:grpFill/>
              <a:ln w="5978" cap="flat">
                <a:noFill/>
                <a:prstDash val="solid"/>
                <a:miter/>
              </a:ln>
            </p:spPr>
            <p:txBody>
              <a:bodyPr rtlCol="0" anchor="ctr"/>
              <a:lstStyle/>
              <a:p>
                <a:endParaRPr lang="en-GB"/>
              </a:p>
            </p:txBody>
          </p:sp>
          <p:sp>
            <p:nvSpPr>
              <p:cNvPr id="2440" name="Vrije vorm: vorm 2439">
                <a:extLst>
                  <a:ext uri="{FF2B5EF4-FFF2-40B4-BE49-F238E27FC236}">
                    <a16:creationId xmlns:a16="http://schemas.microsoft.com/office/drawing/2014/main" id="{3F7C1778-0E29-4FF8-800B-D2D382864AE6}"/>
                  </a:ext>
                </a:extLst>
              </p:cNvPr>
              <p:cNvSpPr/>
              <p:nvPr/>
            </p:nvSpPr>
            <p:spPr>
              <a:xfrm>
                <a:off x="5215129" y="4858537"/>
                <a:ext cx="18341" cy="18454"/>
              </a:xfrm>
              <a:custGeom>
                <a:avLst/>
                <a:gdLst>
                  <a:gd name="connsiteX0" fmla="*/ 17125 w 18341"/>
                  <a:gd name="connsiteY0" fmla="*/ 13877 h 18454"/>
                  <a:gd name="connsiteX1" fmla="*/ 13716 w 18341"/>
                  <a:gd name="connsiteY1" fmla="*/ 1258 h 18454"/>
                  <a:gd name="connsiteX2" fmla="*/ 1216 w 18341"/>
                  <a:gd name="connsiteY2" fmla="*/ 4607 h 18454"/>
                  <a:gd name="connsiteX3" fmla="*/ 4625 w 18341"/>
                  <a:gd name="connsiteY3" fmla="*/ 17167 h 18454"/>
                  <a:gd name="connsiteX4" fmla="*/ 17125 w 18341"/>
                  <a:gd name="connsiteY4" fmla="*/ 1387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4">
                    <a:moveTo>
                      <a:pt x="17125" y="13877"/>
                    </a:moveTo>
                    <a:cubicBezTo>
                      <a:pt x="19637" y="9452"/>
                      <a:pt x="18142" y="3830"/>
                      <a:pt x="13716" y="1258"/>
                    </a:cubicBezTo>
                    <a:cubicBezTo>
                      <a:pt x="9350" y="-1313"/>
                      <a:pt x="3728" y="182"/>
                      <a:pt x="1216" y="4607"/>
                    </a:cubicBezTo>
                    <a:cubicBezTo>
                      <a:pt x="-1295" y="9033"/>
                      <a:pt x="200" y="14655"/>
                      <a:pt x="4625" y="17167"/>
                    </a:cubicBezTo>
                    <a:cubicBezTo>
                      <a:pt x="8991" y="19799"/>
                      <a:pt x="14613" y="18244"/>
                      <a:pt x="17125" y="13877"/>
                    </a:cubicBezTo>
                    <a:close/>
                  </a:path>
                </a:pathLst>
              </a:custGeom>
              <a:grpFill/>
              <a:ln w="5978" cap="flat">
                <a:noFill/>
                <a:prstDash val="solid"/>
                <a:miter/>
              </a:ln>
            </p:spPr>
            <p:txBody>
              <a:bodyPr rtlCol="0" anchor="ctr"/>
              <a:lstStyle/>
              <a:p>
                <a:endParaRPr lang="en-GB"/>
              </a:p>
            </p:txBody>
          </p:sp>
        </p:grpSp>
        <p:grpSp>
          <p:nvGrpSpPr>
            <p:cNvPr id="988" name="Graphic 3">
              <a:extLst>
                <a:ext uri="{FF2B5EF4-FFF2-40B4-BE49-F238E27FC236}">
                  <a16:creationId xmlns:a16="http://schemas.microsoft.com/office/drawing/2014/main" id="{969B2324-B3E8-4FDC-9F21-BED7DBEE8E97}"/>
                </a:ext>
              </a:extLst>
            </p:cNvPr>
            <p:cNvGrpSpPr/>
            <p:nvPr/>
          </p:nvGrpSpPr>
          <p:grpSpPr>
            <a:xfrm>
              <a:off x="5296038" y="5199855"/>
              <a:ext cx="32501" cy="52877"/>
              <a:chOff x="5296038" y="5199855"/>
              <a:chExt cx="32501" cy="52877"/>
            </a:xfrm>
            <a:grpFill/>
          </p:grpSpPr>
          <p:sp>
            <p:nvSpPr>
              <p:cNvPr id="2435" name="Vrije vorm: vorm 2434">
                <a:extLst>
                  <a:ext uri="{FF2B5EF4-FFF2-40B4-BE49-F238E27FC236}">
                    <a16:creationId xmlns:a16="http://schemas.microsoft.com/office/drawing/2014/main" id="{1B860BED-9355-4472-BAA2-2E7B4295844B}"/>
                  </a:ext>
                </a:extLst>
              </p:cNvPr>
              <p:cNvSpPr/>
              <p:nvPr/>
            </p:nvSpPr>
            <p:spPr>
              <a:xfrm>
                <a:off x="5303664" y="5208112"/>
                <a:ext cx="17284" cy="36422"/>
              </a:xfrm>
              <a:custGeom>
                <a:avLst/>
                <a:gdLst>
                  <a:gd name="connsiteX0" fmla="*/ 17284 w 17284"/>
                  <a:gd name="connsiteY0" fmla="*/ 1136 h 36422"/>
                  <a:gd name="connsiteX1" fmla="*/ 2811 w 17284"/>
                  <a:gd name="connsiteY1" fmla="*/ 36423 h 36422"/>
                  <a:gd name="connsiteX2" fmla="*/ 0 w 17284"/>
                  <a:gd name="connsiteY2" fmla="*/ 35227 h 36422"/>
                  <a:gd name="connsiteX3" fmla="*/ 14473 w 17284"/>
                  <a:gd name="connsiteY3" fmla="*/ 0 h 36422"/>
                </a:gdLst>
                <a:ahLst/>
                <a:cxnLst>
                  <a:cxn ang="0">
                    <a:pos x="connsiteX0" y="connsiteY0"/>
                  </a:cxn>
                  <a:cxn ang="0">
                    <a:pos x="connsiteX1" y="connsiteY1"/>
                  </a:cxn>
                  <a:cxn ang="0">
                    <a:pos x="connsiteX2" y="connsiteY2"/>
                  </a:cxn>
                  <a:cxn ang="0">
                    <a:pos x="connsiteX3" y="connsiteY3"/>
                  </a:cxn>
                </a:cxnLst>
                <a:rect l="l" t="t" r="r" b="b"/>
                <a:pathLst>
                  <a:path w="17284" h="36422">
                    <a:moveTo>
                      <a:pt x="17284" y="1136"/>
                    </a:moveTo>
                    <a:lnTo>
                      <a:pt x="2811" y="36423"/>
                    </a:lnTo>
                    <a:lnTo>
                      <a:pt x="0" y="35227"/>
                    </a:lnTo>
                    <a:lnTo>
                      <a:pt x="14473" y="0"/>
                    </a:lnTo>
                    <a:close/>
                  </a:path>
                </a:pathLst>
              </a:custGeom>
              <a:grpFill/>
              <a:ln w="5978" cap="flat">
                <a:noFill/>
                <a:prstDash val="solid"/>
                <a:miter/>
              </a:ln>
            </p:spPr>
            <p:txBody>
              <a:bodyPr rtlCol="0" anchor="ctr"/>
              <a:lstStyle/>
              <a:p>
                <a:endParaRPr lang="en-GB"/>
              </a:p>
            </p:txBody>
          </p:sp>
          <p:sp>
            <p:nvSpPr>
              <p:cNvPr id="2436" name="Vrije vorm: vorm 2435">
                <a:extLst>
                  <a:ext uri="{FF2B5EF4-FFF2-40B4-BE49-F238E27FC236}">
                    <a16:creationId xmlns:a16="http://schemas.microsoft.com/office/drawing/2014/main" id="{21425E3B-2906-4791-B523-410682DEBB47}"/>
                  </a:ext>
                </a:extLst>
              </p:cNvPr>
              <p:cNvSpPr/>
              <p:nvPr/>
            </p:nvSpPr>
            <p:spPr>
              <a:xfrm>
                <a:off x="5310187" y="5199855"/>
                <a:ext cx="18352" cy="18428"/>
              </a:xfrm>
              <a:custGeom>
                <a:avLst/>
                <a:gdLst>
                  <a:gd name="connsiteX0" fmla="*/ 713 w 18352"/>
                  <a:gd name="connsiteY0" fmla="*/ 5685 h 18428"/>
                  <a:gd name="connsiteX1" fmla="*/ 12675 w 18352"/>
                  <a:gd name="connsiteY1" fmla="*/ 721 h 18428"/>
                  <a:gd name="connsiteX2" fmla="*/ 17639 w 18352"/>
                  <a:gd name="connsiteY2" fmla="*/ 12743 h 18428"/>
                  <a:gd name="connsiteX3" fmla="*/ 5677 w 18352"/>
                  <a:gd name="connsiteY3" fmla="*/ 17707 h 18428"/>
                  <a:gd name="connsiteX4" fmla="*/ 713 w 18352"/>
                  <a:gd name="connsiteY4" fmla="*/ 568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28">
                    <a:moveTo>
                      <a:pt x="713" y="5685"/>
                    </a:moveTo>
                    <a:cubicBezTo>
                      <a:pt x="2627" y="961"/>
                      <a:pt x="8010" y="-1252"/>
                      <a:pt x="12675" y="721"/>
                    </a:cubicBezTo>
                    <a:cubicBezTo>
                      <a:pt x="17340" y="2695"/>
                      <a:pt x="19613" y="8078"/>
                      <a:pt x="17639" y="12743"/>
                    </a:cubicBezTo>
                    <a:cubicBezTo>
                      <a:pt x="15725" y="17468"/>
                      <a:pt x="10342" y="19680"/>
                      <a:pt x="5677" y="17707"/>
                    </a:cubicBezTo>
                    <a:cubicBezTo>
                      <a:pt x="1012" y="15793"/>
                      <a:pt x="-1260" y="10410"/>
                      <a:pt x="713" y="5685"/>
                    </a:cubicBezTo>
                    <a:close/>
                  </a:path>
                </a:pathLst>
              </a:custGeom>
              <a:grpFill/>
              <a:ln w="5978" cap="flat">
                <a:noFill/>
                <a:prstDash val="solid"/>
                <a:miter/>
              </a:ln>
            </p:spPr>
            <p:txBody>
              <a:bodyPr rtlCol="0" anchor="ctr"/>
              <a:lstStyle/>
              <a:p>
                <a:endParaRPr lang="en-GB"/>
              </a:p>
            </p:txBody>
          </p:sp>
          <p:sp>
            <p:nvSpPr>
              <p:cNvPr id="2437" name="Vrije vorm: vorm 2436">
                <a:extLst>
                  <a:ext uri="{FF2B5EF4-FFF2-40B4-BE49-F238E27FC236}">
                    <a16:creationId xmlns:a16="http://schemas.microsoft.com/office/drawing/2014/main" id="{DB945862-AE05-40D7-A6DC-84B8A969B549}"/>
                  </a:ext>
                </a:extLst>
              </p:cNvPr>
              <p:cNvSpPr/>
              <p:nvPr/>
            </p:nvSpPr>
            <p:spPr>
              <a:xfrm>
                <a:off x="5296038" y="5234304"/>
                <a:ext cx="18301" cy="18428"/>
              </a:xfrm>
              <a:custGeom>
                <a:avLst/>
                <a:gdLst>
                  <a:gd name="connsiteX0" fmla="*/ 688 w 18301"/>
                  <a:gd name="connsiteY0" fmla="*/ 5685 h 18428"/>
                  <a:gd name="connsiteX1" fmla="*/ 5652 w 18301"/>
                  <a:gd name="connsiteY1" fmla="*/ 17707 h 18428"/>
                  <a:gd name="connsiteX2" fmla="*/ 17614 w 18301"/>
                  <a:gd name="connsiteY2" fmla="*/ 12743 h 18428"/>
                  <a:gd name="connsiteX3" fmla="*/ 12650 w 18301"/>
                  <a:gd name="connsiteY3" fmla="*/ 721 h 18428"/>
                  <a:gd name="connsiteX4" fmla="*/ 688 w 18301"/>
                  <a:gd name="connsiteY4" fmla="*/ 568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8">
                    <a:moveTo>
                      <a:pt x="688" y="5685"/>
                    </a:moveTo>
                    <a:cubicBezTo>
                      <a:pt x="-1226" y="10410"/>
                      <a:pt x="987" y="15793"/>
                      <a:pt x="5652" y="17707"/>
                    </a:cubicBezTo>
                    <a:cubicBezTo>
                      <a:pt x="10317" y="19680"/>
                      <a:pt x="15700" y="17467"/>
                      <a:pt x="17614" y="12743"/>
                    </a:cubicBezTo>
                    <a:cubicBezTo>
                      <a:pt x="19528" y="8018"/>
                      <a:pt x="17315" y="2635"/>
                      <a:pt x="12650" y="721"/>
                    </a:cubicBezTo>
                    <a:cubicBezTo>
                      <a:pt x="7985" y="-1252"/>
                      <a:pt x="2662" y="961"/>
                      <a:pt x="688" y="5685"/>
                    </a:cubicBezTo>
                    <a:close/>
                  </a:path>
                </a:pathLst>
              </a:custGeom>
              <a:grpFill/>
              <a:ln w="5978" cap="flat">
                <a:noFill/>
                <a:prstDash val="solid"/>
                <a:miter/>
              </a:ln>
            </p:spPr>
            <p:txBody>
              <a:bodyPr rtlCol="0" anchor="ctr"/>
              <a:lstStyle/>
              <a:p>
                <a:endParaRPr lang="en-GB"/>
              </a:p>
            </p:txBody>
          </p:sp>
        </p:grpSp>
        <p:grpSp>
          <p:nvGrpSpPr>
            <p:cNvPr id="989" name="Graphic 3">
              <a:extLst>
                <a:ext uri="{FF2B5EF4-FFF2-40B4-BE49-F238E27FC236}">
                  <a16:creationId xmlns:a16="http://schemas.microsoft.com/office/drawing/2014/main" id="{4473A484-5B9E-48E4-9194-5F1725A75264}"/>
                </a:ext>
              </a:extLst>
            </p:cNvPr>
            <p:cNvGrpSpPr/>
            <p:nvPr/>
          </p:nvGrpSpPr>
          <p:grpSpPr>
            <a:xfrm>
              <a:off x="5157958" y="4960902"/>
              <a:ext cx="233756" cy="419269"/>
              <a:chOff x="5157958" y="4960902"/>
              <a:chExt cx="233756" cy="419269"/>
            </a:xfrm>
            <a:grpFill/>
          </p:grpSpPr>
          <p:sp>
            <p:nvSpPr>
              <p:cNvPr id="2432" name="Vrije vorm: vorm 2431">
                <a:extLst>
                  <a:ext uri="{FF2B5EF4-FFF2-40B4-BE49-F238E27FC236}">
                    <a16:creationId xmlns:a16="http://schemas.microsoft.com/office/drawing/2014/main" id="{8EA9ABE5-9F12-4885-90BD-84215C534E8B}"/>
                  </a:ext>
                </a:extLst>
              </p:cNvPr>
              <p:cNvSpPr/>
              <p:nvPr/>
            </p:nvSpPr>
            <p:spPr>
              <a:xfrm>
                <a:off x="5165569" y="4968943"/>
                <a:ext cx="218535" cy="403160"/>
              </a:xfrm>
              <a:custGeom>
                <a:avLst/>
                <a:gdLst>
                  <a:gd name="connsiteX0" fmla="*/ 218535 w 218535"/>
                  <a:gd name="connsiteY0" fmla="*/ 1495 h 403160"/>
                  <a:gd name="connsiteX1" fmla="*/ 2691 w 218535"/>
                  <a:gd name="connsiteY1" fmla="*/ 403161 h 403160"/>
                  <a:gd name="connsiteX2" fmla="*/ 0 w 218535"/>
                  <a:gd name="connsiteY2" fmla="*/ 401725 h 403160"/>
                  <a:gd name="connsiteX3" fmla="*/ 215844 w 218535"/>
                  <a:gd name="connsiteY3" fmla="*/ 0 h 403160"/>
                </a:gdLst>
                <a:ahLst/>
                <a:cxnLst>
                  <a:cxn ang="0">
                    <a:pos x="connsiteX0" y="connsiteY0"/>
                  </a:cxn>
                  <a:cxn ang="0">
                    <a:pos x="connsiteX1" y="connsiteY1"/>
                  </a:cxn>
                  <a:cxn ang="0">
                    <a:pos x="connsiteX2" y="connsiteY2"/>
                  </a:cxn>
                  <a:cxn ang="0">
                    <a:pos x="connsiteX3" y="connsiteY3"/>
                  </a:cxn>
                </a:cxnLst>
                <a:rect l="l" t="t" r="r" b="b"/>
                <a:pathLst>
                  <a:path w="218535" h="403160">
                    <a:moveTo>
                      <a:pt x="218535" y="1495"/>
                    </a:moveTo>
                    <a:lnTo>
                      <a:pt x="2691" y="403161"/>
                    </a:lnTo>
                    <a:lnTo>
                      <a:pt x="0" y="401725"/>
                    </a:lnTo>
                    <a:lnTo>
                      <a:pt x="215844" y="0"/>
                    </a:lnTo>
                    <a:close/>
                  </a:path>
                </a:pathLst>
              </a:custGeom>
              <a:grpFill/>
              <a:ln w="5978" cap="flat">
                <a:noFill/>
                <a:prstDash val="solid"/>
                <a:miter/>
              </a:ln>
            </p:spPr>
            <p:txBody>
              <a:bodyPr rtlCol="0" anchor="ctr"/>
              <a:lstStyle/>
              <a:p>
                <a:endParaRPr lang="en-GB"/>
              </a:p>
            </p:txBody>
          </p:sp>
          <p:sp>
            <p:nvSpPr>
              <p:cNvPr id="2433" name="Vrije vorm: vorm 2432">
                <a:extLst>
                  <a:ext uri="{FF2B5EF4-FFF2-40B4-BE49-F238E27FC236}">
                    <a16:creationId xmlns:a16="http://schemas.microsoft.com/office/drawing/2014/main" id="{DAD9A9CF-EF83-4E2E-B074-2F1477B047C9}"/>
                  </a:ext>
                </a:extLst>
              </p:cNvPr>
              <p:cNvSpPr/>
              <p:nvPr/>
            </p:nvSpPr>
            <p:spPr>
              <a:xfrm>
                <a:off x="5373384" y="4960902"/>
                <a:ext cx="18331" cy="18414"/>
              </a:xfrm>
              <a:custGeom>
                <a:avLst/>
                <a:gdLst>
                  <a:gd name="connsiteX0" fmla="*/ 1091 w 18331"/>
                  <a:gd name="connsiteY0" fmla="*/ 4812 h 18414"/>
                  <a:gd name="connsiteX1" fmla="*/ 13531 w 18331"/>
                  <a:gd name="connsiteY1" fmla="*/ 1104 h 18414"/>
                  <a:gd name="connsiteX2" fmla="*/ 17239 w 18331"/>
                  <a:gd name="connsiteY2" fmla="*/ 13603 h 18414"/>
                  <a:gd name="connsiteX3" fmla="*/ 4799 w 18331"/>
                  <a:gd name="connsiteY3" fmla="*/ 17311 h 18414"/>
                  <a:gd name="connsiteX4" fmla="*/ 1091 w 18331"/>
                  <a:gd name="connsiteY4" fmla="*/ 4812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14">
                    <a:moveTo>
                      <a:pt x="1091" y="4812"/>
                    </a:moveTo>
                    <a:cubicBezTo>
                      <a:pt x="3484" y="326"/>
                      <a:pt x="9046" y="-1289"/>
                      <a:pt x="13531" y="1104"/>
                    </a:cubicBezTo>
                    <a:cubicBezTo>
                      <a:pt x="17957" y="3556"/>
                      <a:pt x="19632" y="9118"/>
                      <a:pt x="17239" y="13603"/>
                    </a:cubicBezTo>
                    <a:cubicBezTo>
                      <a:pt x="14847" y="18089"/>
                      <a:pt x="9285" y="19704"/>
                      <a:pt x="4799" y="17311"/>
                    </a:cubicBezTo>
                    <a:cubicBezTo>
                      <a:pt x="374" y="14859"/>
                      <a:pt x="-1301" y="9237"/>
                      <a:pt x="1091" y="4812"/>
                    </a:cubicBezTo>
                    <a:close/>
                  </a:path>
                </a:pathLst>
              </a:custGeom>
              <a:grpFill/>
              <a:ln w="5978" cap="flat">
                <a:noFill/>
                <a:prstDash val="solid"/>
                <a:miter/>
              </a:ln>
            </p:spPr>
            <p:txBody>
              <a:bodyPr rtlCol="0" anchor="ctr"/>
              <a:lstStyle/>
              <a:p>
                <a:endParaRPr lang="en-GB"/>
              </a:p>
            </p:txBody>
          </p:sp>
          <p:sp>
            <p:nvSpPr>
              <p:cNvPr id="2434" name="Vrije vorm: vorm 2433">
                <a:extLst>
                  <a:ext uri="{FF2B5EF4-FFF2-40B4-BE49-F238E27FC236}">
                    <a16:creationId xmlns:a16="http://schemas.microsoft.com/office/drawing/2014/main" id="{37129067-81B7-4907-B506-781A2F62AF52}"/>
                  </a:ext>
                </a:extLst>
              </p:cNvPr>
              <p:cNvSpPr/>
              <p:nvPr/>
            </p:nvSpPr>
            <p:spPr>
              <a:xfrm>
                <a:off x="5157958" y="5361742"/>
                <a:ext cx="18331" cy="18429"/>
              </a:xfrm>
              <a:custGeom>
                <a:avLst/>
                <a:gdLst>
                  <a:gd name="connsiteX0" fmla="*/ 1091 w 18331"/>
                  <a:gd name="connsiteY0" fmla="*/ 4799 h 18429"/>
                  <a:gd name="connsiteX1" fmla="*/ 4800 w 18331"/>
                  <a:gd name="connsiteY1" fmla="*/ 17299 h 18429"/>
                  <a:gd name="connsiteX2" fmla="*/ 17239 w 18331"/>
                  <a:gd name="connsiteY2" fmla="*/ 13591 h 18429"/>
                  <a:gd name="connsiteX3" fmla="*/ 13531 w 18331"/>
                  <a:gd name="connsiteY3" fmla="*/ 1091 h 18429"/>
                  <a:gd name="connsiteX4" fmla="*/ 1091 w 18331"/>
                  <a:gd name="connsiteY4" fmla="*/ 4799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29">
                    <a:moveTo>
                      <a:pt x="1091" y="4799"/>
                    </a:moveTo>
                    <a:cubicBezTo>
                      <a:pt x="-1301" y="9285"/>
                      <a:pt x="374" y="14847"/>
                      <a:pt x="4800" y="17299"/>
                    </a:cubicBezTo>
                    <a:cubicBezTo>
                      <a:pt x="9225" y="19751"/>
                      <a:pt x="14788" y="18077"/>
                      <a:pt x="17239" y="13591"/>
                    </a:cubicBezTo>
                    <a:cubicBezTo>
                      <a:pt x="19632" y="9106"/>
                      <a:pt x="17957" y="3544"/>
                      <a:pt x="13531" y="1091"/>
                    </a:cubicBezTo>
                    <a:cubicBezTo>
                      <a:pt x="9046" y="-1301"/>
                      <a:pt x="3484" y="374"/>
                      <a:pt x="1091" y="4799"/>
                    </a:cubicBezTo>
                    <a:close/>
                  </a:path>
                </a:pathLst>
              </a:custGeom>
              <a:grpFill/>
              <a:ln w="5978" cap="flat">
                <a:noFill/>
                <a:prstDash val="solid"/>
                <a:miter/>
              </a:ln>
            </p:spPr>
            <p:txBody>
              <a:bodyPr rtlCol="0" anchor="ctr"/>
              <a:lstStyle/>
              <a:p>
                <a:endParaRPr lang="en-GB"/>
              </a:p>
            </p:txBody>
          </p:sp>
        </p:grpSp>
        <p:grpSp>
          <p:nvGrpSpPr>
            <p:cNvPr id="990" name="Graphic 3">
              <a:extLst>
                <a:ext uri="{FF2B5EF4-FFF2-40B4-BE49-F238E27FC236}">
                  <a16:creationId xmlns:a16="http://schemas.microsoft.com/office/drawing/2014/main" id="{DD791259-1D6B-4AEB-867D-3703273B310E}"/>
                </a:ext>
              </a:extLst>
            </p:cNvPr>
            <p:cNvGrpSpPr/>
            <p:nvPr/>
          </p:nvGrpSpPr>
          <p:grpSpPr>
            <a:xfrm>
              <a:off x="5264511" y="5163876"/>
              <a:ext cx="116761" cy="271542"/>
              <a:chOff x="5264511" y="5163876"/>
              <a:chExt cx="116761" cy="271542"/>
            </a:xfrm>
            <a:grpFill/>
          </p:grpSpPr>
          <p:sp>
            <p:nvSpPr>
              <p:cNvPr id="2429" name="Vrije vorm: vorm 2428">
                <a:extLst>
                  <a:ext uri="{FF2B5EF4-FFF2-40B4-BE49-F238E27FC236}">
                    <a16:creationId xmlns:a16="http://schemas.microsoft.com/office/drawing/2014/main" id="{D4817786-7D78-45A2-AF21-CC4012FE8CEB}"/>
                  </a:ext>
                </a:extLst>
              </p:cNvPr>
              <p:cNvSpPr/>
              <p:nvPr/>
            </p:nvSpPr>
            <p:spPr>
              <a:xfrm>
                <a:off x="5272026" y="5172048"/>
                <a:ext cx="101612" cy="255137"/>
              </a:xfrm>
              <a:custGeom>
                <a:avLst/>
                <a:gdLst>
                  <a:gd name="connsiteX0" fmla="*/ 101612 w 101612"/>
                  <a:gd name="connsiteY0" fmla="*/ 1136 h 255137"/>
                  <a:gd name="connsiteX1" fmla="*/ 2871 w 101612"/>
                  <a:gd name="connsiteY1" fmla="*/ 255137 h 255137"/>
                  <a:gd name="connsiteX2" fmla="*/ 0 w 101612"/>
                  <a:gd name="connsiteY2" fmla="*/ 254001 h 255137"/>
                  <a:gd name="connsiteX3" fmla="*/ 98802 w 101612"/>
                  <a:gd name="connsiteY3" fmla="*/ 0 h 255137"/>
                </a:gdLst>
                <a:ahLst/>
                <a:cxnLst>
                  <a:cxn ang="0">
                    <a:pos x="connsiteX0" y="connsiteY0"/>
                  </a:cxn>
                  <a:cxn ang="0">
                    <a:pos x="connsiteX1" y="connsiteY1"/>
                  </a:cxn>
                  <a:cxn ang="0">
                    <a:pos x="connsiteX2" y="connsiteY2"/>
                  </a:cxn>
                  <a:cxn ang="0">
                    <a:pos x="connsiteX3" y="connsiteY3"/>
                  </a:cxn>
                </a:cxnLst>
                <a:rect l="l" t="t" r="r" b="b"/>
                <a:pathLst>
                  <a:path w="101612" h="255137">
                    <a:moveTo>
                      <a:pt x="101612" y="1136"/>
                    </a:moveTo>
                    <a:lnTo>
                      <a:pt x="2871" y="255137"/>
                    </a:lnTo>
                    <a:lnTo>
                      <a:pt x="0" y="254001"/>
                    </a:lnTo>
                    <a:lnTo>
                      <a:pt x="98802" y="0"/>
                    </a:lnTo>
                    <a:close/>
                  </a:path>
                </a:pathLst>
              </a:custGeom>
              <a:grpFill/>
              <a:ln w="5978" cap="flat">
                <a:noFill/>
                <a:prstDash val="solid"/>
                <a:miter/>
              </a:ln>
            </p:spPr>
            <p:txBody>
              <a:bodyPr rtlCol="0" anchor="ctr"/>
              <a:lstStyle/>
              <a:p>
                <a:endParaRPr lang="en-GB"/>
              </a:p>
            </p:txBody>
          </p:sp>
          <p:sp>
            <p:nvSpPr>
              <p:cNvPr id="2430" name="Vrije vorm: vorm 2429">
                <a:extLst>
                  <a:ext uri="{FF2B5EF4-FFF2-40B4-BE49-F238E27FC236}">
                    <a16:creationId xmlns:a16="http://schemas.microsoft.com/office/drawing/2014/main" id="{AE1C15CF-8383-457F-8B3F-20A26CE1A612}"/>
                  </a:ext>
                </a:extLst>
              </p:cNvPr>
              <p:cNvSpPr/>
              <p:nvPr/>
            </p:nvSpPr>
            <p:spPr>
              <a:xfrm>
                <a:off x="5264511" y="5416980"/>
                <a:ext cx="18286" cy="18438"/>
              </a:xfrm>
              <a:custGeom>
                <a:avLst/>
                <a:gdLst>
                  <a:gd name="connsiteX0" fmla="*/ 17682 w 18286"/>
                  <a:gd name="connsiteY0" fmla="*/ 12598 h 18438"/>
                  <a:gd name="connsiteX1" fmla="*/ 5840 w 18286"/>
                  <a:gd name="connsiteY1" fmla="*/ 17801 h 18438"/>
                  <a:gd name="connsiteX2" fmla="*/ 637 w 18286"/>
                  <a:gd name="connsiteY2" fmla="*/ 5840 h 18438"/>
                  <a:gd name="connsiteX3" fmla="*/ 12479 w 18286"/>
                  <a:gd name="connsiteY3" fmla="*/ 637 h 18438"/>
                  <a:gd name="connsiteX4" fmla="*/ 17682 w 18286"/>
                  <a:gd name="connsiteY4" fmla="*/ 12598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438">
                    <a:moveTo>
                      <a:pt x="17682" y="12598"/>
                    </a:moveTo>
                    <a:cubicBezTo>
                      <a:pt x="15828" y="17323"/>
                      <a:pt x="10505" y="19655"/>
                      <a:pt x="5840" y="17801"/>
                    </a:cubicBezTo>
                    <a:cubicBezTo>
                      <a:pt x="1115" y="15947"/>
                      <a:pt x="-1217" y="10565"/>
                      <a:pt x="637" y="5840"/>
                    </a:cubicBezTo>
                    <a:cubicBezTo>
                      <a:pt x="2491" y="1115"/>
                      <a:pt x="7813" y="-1217"/>
                      <a:pt x="12479" y="637"/>
                    </a:cubicBezTo>
                    <a:cubicBezTo>
                      <a:pt x="17143" y="2491"/>
                      <a:pt x="19476" y="7873"/>
                      <a:pt x="17682" y="12598"/>
                    </a:cubicBezTo>
                    <a:close/>
                  </a:path>
                </a:pathLst>
              </a:custGeom>
              <a:grpFill/>
              <a:ln w="5978" cap="flat">
                <a:noFill/>
                <a:prstDash val="solid"/>
                <a:miter/>
              </a:ln>
            </p:spPr>
            <p:txBody>
              <a:bodyPr rtlCol="0" anchor="ctr"/>
              <a:lstStyle/>
              <a:p>
                <a:endParaRPr lang="en-GB"/>
              </a:p>
            </p:txBody>
          </p:sp>
          <p:sp>
            <p:nvSpPr>
              <p:cNvPr id="2431" name="Vrije vorm: vorm 2430">
                <a:extLst>
                  <a:ext uri="{FF2B5EF4-FFF2-40B4-BE49-F238E27FC236}">
                    <a16:creationId xmlns:a16="http://schemas.microsoft.com/office/drawing/2014/main" id="{83E456D4-D94E-4559-82D7-5C8FD6B6F816}"/>
                  </a:ext>
                </a:extLst>
              </p:cNvPr>
              <p:cNvSpPr/>
              <p:nvPr/>
            </p:nvSpPr>
            <p:spPr>
              <a:xfrm>
                <a:off x="5362954" y="5163876"/>
                <a:ext cx="18318" cy="18413"/>
              </a:xfrm>
              <a:custGeom>
                <a:avLst/>
                <a:gdLst>
                  <a:gd name="connsiteX0" fmla="*/ 17682 w 18318"/>
                  <a:gd name="connsiteY0" fmla="*/ 12598 h 18413"/>
                  <a:gd name="connsiteX1" fmla="*/ 12479 w 18318"/>
                  <a:gd name="connsiteY1" fmla="*/ 637 h 18413"/>
                  <a:gd name="connsiteX2" fmla="*/ 637 w 18318"/>
                  <a:gd name="connsiteY2" fmla="*/ 5840 h 18413"/>
                  <a:gd name="connsiteX3" fmla="*/ 5840 w 18318"/>
                  <a:gd name="connsiteY3" fmla="*/ 17801 h 18413"/>
                  <a:gd name="connsiteX4" fmla="*/ 17682 w 18318"/>
                  <a:gd name="connsiteY4" fmla="*/ 1259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7682" y="12598"/>
                    </a:moveTo>
                    <a:cubicBezTo>
                      <a:pt x="19536" y="7874"/>
                      <a:pt x="17204" y="2491"/>
                      <a:pt x="12479" y="637"/>
                    </a:cubicBezTo>
                    <a:cubicBezTo>
                      <a:pt x="7754" y="-1217"/>
                      <a:pt x="2431" y="1115"/>
                      <a:pt x="637" y="5840"/>
                    </a:cubicBezTo>
                    <a:cubicBezTo>
                      <a:pt x="-1217" y="10565"/>
                      <a:pt x="1115" y="15947"/>
                      <a:pt x="5840" y="17801"/>
                    </a:cubicBezTo>
                    <a:cubicBezTo>
                      <a:pt x="10505" y="19596"/>
                      <a:pt x="15828" y="17323"/>
                      <a:pt x="17682" y="12598"/>
                    </a:cubicBezTo>
                    <a:close/>
                  </a:path>
                </a:pathLst>
              </a:custGeom>
              <a:grpFill/>
              <a:ln w="5978" cap="flat">
                <a:noFill/>
                <a:prstDash val="solid"/>
                <a:miter/>
              </a:ln>
            </p:spPr>
            <p:txBody>
              <a:bodyPr rtlCol="0" anchor="ctr"/>
              <a:lstStyle/>
              <a:p>
                <a:endParaRPr lang="en-GB"/>
              </a:p>
            </p:txBody>
          </p:sp>
        </p:grpSp>
        <p:grpSp>
          <p:nvGrpSpPr>
            <p:cNvPr id="991" name="Graphic 3">
              <a:extLst>
                <a:ext uri="{FF2B5EF4-FFF2-40B4-BE49-F238E27FC236}">
                  <a16:creationId xmlns:a16="http://schemas.microsoft.com/office/drawing/2014/main" id="{203C0FD7-A78F-436C-8B4F-3D2085AC6499}"/>
                </a:ext>
              </a:extLst>
            </p:cNvPr>
            <p:cNvGrpSpPr/>
            <p:nvPr/>
          </p:nvGrpSpPr>
          <p:grpSpPr>
            <a:xfrm>
              <a:off x="4021961" y="2141563"/>
              <a:ext cx="602660" cy="419894"/>
              <a:chOff x="4021961" y="2141563"/>
              <a:chExt cx="602660" cy="419894"/>
            </a:xfrm>
            <a:grpFill/>
          </p:grpSpPr>
          <p:sp>
            <p:nvSpPr>
              <p:cNvPr id="2426" name="Vrije vorm: vorm 2425">
                <a:extLst>
                  <a:ext uri="{FF2B5EF4-FFF2-40B4-BE49-F238E27FC236}">
                    <a16:creationId xmlns:a16="http://schemas.microsoft.com/office/drawing/2014/main" id="{35DEE8F9-6FC9-41D0-96AD-074B3B675964}"/>
                  </a:ext>
                </a:extLst>
              </p:cNvPr>
              <p:cNvSpPr/>
              <p:nvPr/>
            </p:nvSpPr>
            <p:spPr>
              <a:xfrm>
                <a:off x="4029890" y="2149272"/>
                <a:ext cx="586768" cy="404476"/>
              </a:xfrm>
              <a:custGeom>
                <a:avLst/>
                <a:gdLst>
                  <a:gd name="connsiteX0" fmla="*/ 586769 w 586768"/>
                  <a:gd name="connsiteY0" fmla="*/ 401964 h 404476"/>
                  <a:gd name="connsiteX1" fmla="*/ 585094 w 586768"/>
                  <a:gd name="connsiteY1" fmla="*/ 404476 h 404476"/>
                  <a:gd name="connsiteX2" fmla="*/ 0 w 586768"/>
                  <a:gd name="connsiteY2" fmla="*/ 2512 h 404476"/>
                  <a:gd name="connsiteX3" fmla="*/ 1735 w 586768"/>
                  <a:gd name="connsiteY3" fmla="*/ 0 h 404476"/>
                </a:gdLst>
                <a:ahLst/>
                <a:cxnLst>
                  <a:cxn ang="0">
                    <a:pos x="connsiteX0" y="connsiteY0"/>
                  </a:cxn>
                  <a:cxn ang="0">
                    <a:pos x="connsiteX1" y="connsiteY1"/>
                  </a:cxn>
                  <a:cxn ang="0">
                    <a:pos x="connsiteX2" y="connsiteY2"/>
                  </a:cxn>
                  <a:cxn ang="0">
                    <a:pos x="connsiteX3" y="connsiteY3"/>
                  </a:cxn>
                </a:cxnLst>
                <a:rect l="l" t="t" r="r" b="b"/>
                <a:pathLst>
                  <a:path w="586768" h="404476">
                    <a:moveTo>
                      <a:pt x="586769" y="401964"/>
                    </a:moveTo>
                    <a:lnTo>
                      <a:pt x="585094" y="404476"/>
                    </a:lnTo>
                    <a:lnTo>
                      <a:pt x="0" y="2512"/>
                    </a:lnTo>
                    <a:lnTo>
                      <a:pt x="1735" y="0"/>
                    </a:lnTo>
                    <a:close/>
                  </a:path>
                </a:pathLst>
              </a:custGeom>
              <a:grpFill/>
              <a:ln w="5978" cap="flat">
                <a:noFill/>
                <a:prstDash val="solid"/>
                <a:miter/>
              </a:ln>
            </p:spPr>
            <p:txBody>
              <a:bodyPr rtlCol="0" anchor="ctr"/>
              <a:lstStyle/>
              <a:p>
                <a:endParaRPr lang="en-GB"/>
              </a:p>
            </p:txBody>
          </p:sp>
          <p:sp>
            <p:nvSpPr>
              <p:cNvPr id="2427" name="Vrije vorm: vorm 2426">
                <a:extLst>
                  <a:ext uri="{FF2B5EF4-FFF2-40B4-BE49-F238E27FC236}">
                    <a16:creationId xmlns:a16="http://schemas.microsoft.com/office/drawing/2014/main" id="{7066B108-B2DA-4B24-9C4F-0FF9BDFFC3A2}"/>
                  </a:ext>
                </a:extLst>
              </p:cNvPr>
              <p:cNvSpPr/>
              <p:nvPr/>
            </p:nvSpPr>
            <p:spPr>
              <a:xfrm>
                <a:off x="4606303" y="2543007"/>
                <a:ext cx="18317" cy="18450"/>
              </a:xfrm>
              <a:custGeom>
                <a:avLst/>
                <a:gdLst>
                  <a:gd name="connsiteX0" fmla="*/ 14302 w 18317"/>
                  <a:gd name="connsiteY0" fmla="*/ 1651 h 18450"/>
                  <a:gd name="connsiteX1" fmla="*/ 16754 w 18317"/>
                  <a:gd name="connsiteY1" fmla="*/ 14450 h 18450"/>
                  <a:gd name="connsiteX2" fmla="*/ 4015 w 18317"/>
                  <a:gd name="connsiteY2" fmla="*/ 16842 h 18450"/>
                  <a:gd name="connsiteX3" fmla="*/ 1563 w 18317"/>
                  <a:gd name="connsiteY3" fmla="*/ 4043 h 18450"/>
                  <a:gd name="connsiteX4" fmla="*/ 14302 w 18317"/>
                  <a:gd name="connsiteY4" fmla="*/ 1651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50">
                    <a:moveTo>
                      <a:pt x="14302" y="1651"/>
                    </a:moveTo>
                    <a:cubicBezTo>
                      <a:pt x="18489" y="4522"/>
                      <a:pt x="19565" y="10263"/>
                      <a:pt x="16754" y="14450"/>
                    </a:cubicBezTo>
                    <a:cubicBezTo>
                      <a:pt x="13883" y="18636"/>
                      <a:pt x="8202" y="19713"/>
                      <a:pt x="4015" y="16842"/>
                    </a:cubicBezTo>
                    <a:cubicBezTo>
                      <a:pt x="-171" y="13971"/>
                      <a:pt x="-1248" y="8230"/>
                      <a:pt x="1563" y="4043"/>
                    </a:cubicBezTo>
                    <a:cubicBezTo>
                      <a:pt x="4434" y="-203"/>
                      <a:pt x="10116" y="-1280"/>
                      <a:pt x="14302" y="1651"/>
                    </a:cubicBezTo>
                    <a:close/>
                  </a:path>
                </a:pathLst>
              </a:custGeom>
              <a:grpFill/>
              <a:ln w="5978" cap="flat">
                <a:noFill/>
                <a:prstDash val="solid"/>
                <a:miter/>
              </a:ln>
            </p:spPr>
            <p:txBody>
              <a:bodyPr rtlCol="0" anchor="ctr"/>
              <a:lstStyle/>
              <a:p>
                <a:endParaRPr lang="en-GB"/>
              </a:p>
            </p:txBody>
          </p:sp>
          <p:sp>
            <p:nvSpPr>
              <p:cNvPr id="2428" name="Vrije vorm: vorm 2427">
                <a:extLst>
                  <a:ext uri="{FF2B5EF4-FFF2-40B4-BE49-F238E27FC236}">
                    <a16:creationId xmlns:a16="http://schemas.microsoft.com/office/drawing/2014/main" id="{4D189B8D-93D7-464D-A48D-312FF978FE81}"/>
                  </a:ext>
                </a:extLst>
              </p:cNvPr>
              <p:cNvSpPr/>
              <p:nvPr/>
            </p:nvSpPr>
            <p:spPr>
              <a:xfrm>
                <a:off x="4021961" y="2141563"/>
                <a:ext cx="18343" cy="18408"/>
              </a:xfrm>
              <a:custGeom>
                <a:avLst/>
                <a:gdLst>
                  <a:gd name="connsiteX0" fmla="*/ 14328 w 18343"/>
                  <a:gd name="connsiteY0" fmla="*/ 1609 h 18408"/>
                  <a:gd name="connsiteX1" fmla="*/ 1589 w 18343"/>
                  <a:gd name="connsiteY1" fmla="*/ 4001 h 18408"/>
                  <a:gd name="connsiteX2" fmla="*/ 4042 w 18343"/>
                  <a:gd name="connsiteY2" fmla="*/ 16800 h 18408"/>
                  <a:gd name="connsiteX3" fmla="*/ 16781 w 18343"/>
                  <a:gd name="connsiteY3" fmla="*/ 14407 h 18408"/>
                  <a:gd name="connsiteX4" fmla="*/ 14328 w 18343"/>
                  <a:gd name="connsiteY4" fmla="*/ 1609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4328" y="1609"/>
                    </a:moveTo>
                    <a:cubicBezTo>
                      <a:pt x="10142" y="-1262"/>
                      <a:pt x="4460" y="-186"/>
                      <a:pt x="1589" y="4001"/>
                    </a:cubicBezTo>
                    <a:cubicBezTo>
                      <a:pt x="-1281" y="8187"/>
                      <a:pt x="-145" y="13929"/>
                      <a:pt x="4042" y="16800"/>
                    </a:cubicBezTo>
                    <a:cubicBezTo>
                      <a:pt x="8228" y="19670"/>
                      <a:pt x="13910" y="18594"/>
                      <a:pt x="16781" y="14407"/>
                    </a:cubicBezTo>
                    <a:cubicBezTo>
                      <a:pt x="19592" y="10221"/>
                      <a:pt x="18515" y="4479"/>
                      <a:pt x="14328" y="1609"/>
                    </a:cubicBezTo>
                    <a:close/>
                  </a:path>
                </a:pathLst>
              </a:custGeom>
              <a:grpFill/>
              <a:ln w="5978" cap="flat">
                <a:noFill/>
                <a:prstDash val="solid"/>
                <a:miter/>
              </a:ln>
            </p:spPr>
            <p:txBody>
              <a:bodyPr rtlCol="0" anchor="ctr"/>
              <a:lstStyle/>
              <a:p>
                <a:endParaRPr lang="en-GB"/>
              </a:p>
            </p:txBody>
          </p:sp>
        </p:grpSp>
        <p:grpSp>
          <p:nvGrpSpPr>
            <p:cNvPr id="992" name="Graphic 3">
              <a:extLst>
                <a:ext uri="{FF2B5EF4-FFF2-40B4-BE49-F238E27FC236}">
                  <a16:creationId xmlns:a16="http://schemas.microsoft.com/office/drawing/2014/main" id="{1E57DC8D-0B17-44A3-A854-876DD1DF63DD}"/>
                </a:ext>
              </a:extLst>
            </p:cNvPr>
            <p:cNvGrpSpPr/>
            <p:nvPr/>
          </p:nvGrpSpPr>
          <p:grpSpPr>
            <a:xfrm>
              <a:off x="4226576" y="2449783"/>
              <a:ext cx="335079" cy="185169"/>
              <a:chOff x="4226576" y="2449783"/>
              <a:chExt cx="335079" cy="185169"/>
            </a:xfrm>
            <a:grpFill/>
          </p:grpSpPr>
          <p:sp>
            <p:nvSpPr>
              <p:cNvPr id="2423" name="Vrije vorm: vorm 2422">
                <a:extLst>
                  <a:ext uri="{FF2B5EF4-FFF2-40B4-BE49-F238E27FC236}">
                    <a16:creationId xmlns:a16="http://schemas.microsoft.com/office/drawing/2014/main" id="{5392CBD9-FAD2-4E86-8CAB-3EFA6B0E0F62}"/>
                  </a:ext>
                </a:extLst>
              </p:cNvPr>
              <p:cNvSpPr/>
              <p:nvPr/>
            </p:nvSpPr>
            <p:spPr>
              <a:xfrm>
                <a:off x="4234669" y="2457399"/>
                <a:ext cx="318892" cy="169912"/>
              </a:xfrm>
              <a:custGeom>
                <a:avLst/>
                <a:gdLst>
                  <a:gd name="connsiteX0" fmla="*/ 318892 w 318892"/>
                  <a:gd name="connsiteY0" fmla="*/ 167221 h 169912"/>
                  <a:gd name="connsiteX1" fmla="*/ 317457 w 318892"/>
                  <a:gd name="connsiteY1" fmla="*/ 169912 h 169912"/>
                  <a:gd name="connsiteX2" fmla="*/ 0 w 318892"/>
                  <a:gd name="connsiteY2" fmla="*/ 2691 h 169912"/>
                  <a:gd name="connsiteX3" fmla="*/ 1376 w 318892"/>
                  <a:gd name="connsiteY3" fmla="*/ 0 h 169912"/>
                </a:gdLst>
                <a:ahLst/>
                <a:cxnLst>
                  <a:cxn ang="0">
                    <a:pos x="connsiteX0" y="connsiteY0"/>
                  </a:cxn>
                  <a:cxn ang="0">
                    <a:pos x="connsiteX1" y="connsiteY1"/>
                  </a:cxn>
                  <a:cxn ang="0">
                    <a:pos x="connsiteX2" y="connsiteY2"/>
                  </a:cxn>
                  <a:cxn ang="0">
                    <a:pos x="connsiteX3" y="connsiteY3"/>
                  </a:cxn>
                </a:cxnLst>
                <a:rect l="l" t="t" r="r" b="b"/>
                <a:pathLst>
                  <a:path w="318892" h="169912">
                    <a:moveTo>
                      <a:pt x="318892" y="167221"/>
                    </a:moveTo>
                    <a:lnTo>
                      <a:pt x="317457" y="169912"/>
                    </a:lnTo>
                    <a:lnTo>
                      <a:pt x="0" y="2691"/>
                    </a:lnTo>
                    <a:lnTo>
                      <a:pt x="1376" y="0"/>
                    </a:lnTo>
                    <a:close/>
                  </a:path>
                </a:pathLst>
              </a:custGeom>
              <a:grpFill/>
              <a:ln w="5978" cap="flat">
                <a:noFill/>
                <a:prstDash val="solid"/>
                <a:miter/>
              </a:ln>
            </p:spPr>
            <p:txBody>
              <a:bodyPr rtlCol="0" anchor="ctr"/>
              <a:lstStyle/>
              <a:p>
                <a:endParaRPr lang="en-GB"/>
              </a:p>
            </p:txBody>
          </p:sp>
          <p:sp>
            <p:nvSpPr>
              <p:cNvPr id="2424" name="Vrije vorm: vorm 2423">
                <a:extLst>
                  <a:ext uri="{FF2B5EF4-FFF2-40B4-BE49-F238E27FC236}">
                    <a16:creationId xmlns:a16="http://schemas.microsoft.com/office/drawing/2014/main" id="{9B83EA39-FEC7-4D4C-9238-1629A5EA9D31}"/>
                  </a:ext>
                </a:extLst>
              </p:cNvPr>
              <p:cNvSpPr/>
              <p:nvPr/>
            </p:nvSpPr>
            <p:spPr>
              <a:xfrm>
                <a:off x="4226576" y="2449783"/>
                <a:ext cx="18341" cy="18400"/>
              </a:xfrm>
              <a:custGeom>
                <a:avLst/>
                <a:gdLst>
                  <a:gd name="connsiteX0" fmla="*/ 4924 w 18341"/>
                  <a:gd name="connsiteY0" fmla="*/ 17364 h 18400"/>
                  <a:gd name="connsiteX1" fmla="*/ 1037 w 18341"/>
                  <a:gd name="connsiteY1" fmla="*/ 4924 h 18400"/>
                  <a:gd name="connsiteX2" fmla="*/ 13417 w 18341"/>
                  <a:gd name="connsiteY2" fmla="*/ 1037 h 18400"/>
                  <a:gd name="connsiteX3" fmla="*/ 17304 w 18341"/>
                  <a:gd name="connsiteY3" fmla="*/ 13477 h 18400"/>
                  <a:gd name="connsiteX4" fmla="*/ 4924 w 18341"/>
                  <a:gd name="connsiteY4" fmla="*/ 1736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4924" y="17364"/>
                    </a:moveTo>
                    <a:cubicBezTo>
                      <a:pt x="439" y="14972"/>
                      <a:pt x="-1296" y="9410"/>
                      <a:pt x="1037" y="4924"/>
                    </a:cubicBezTo>
                    <a:cubicBezTo>
                      <a:pt x="3369" y="439"/>
                      <a:pt x="8931" y="-1296"/>
                      <a:pt x="13417" y="1037"/>
                    </a:cubicBezTo>
                    <a:cubicBezTo>
                      <a:pt x="17902" y="3429"/>
                      <a:pt x="19637" y="8991"/>
                      <a:pt x="17304" y="13477"/>
                    </a:cubicBezTo>
                    <a:cubicBezTo>
                      <a:pt x="14972" y="17962"/>
                      <a:pt x="9410" y="19697"/>
                      <a:pt x="4924" y="17364"/>
                    </a:cubicBezTo>
                    <a:close/>
                  </a:path>
                </a:pathLst>
              </a:custGeom>
              <a:grpFill/>
              <a:ln w="5978" cap="flat">
                <a:noFill/>
                <a:prstDash val="solid"/>
                <a:miter/>
              </a:ln>
            </p:spPr>
            <p:txBody>
              <a:bodyPr rtlCol="0" anchor="ctr"/>
              <a:lstStyle/>
              <a:p>
                <a:endParaRPr lang="en-GB"/>
              </a:p>
            </p:txBody>
          </p:sp>
          <p:sp>
            <p:nvSpPr>
              <p:cNvPr id="2425" name="Vrije vorm: vorm 2424">
                <a:extLst>
                  <a:ext uri="{FF2B5EF4-FFF2-40B4-BE49-F238E27FC236}">
                    <a16:creationId xmlns:a16="http://schemas.microsoft.com/office/drawing/2014/main" id="{4473D55D-0FDF-4B40-879C-55199B9A6CC3}"/>
                  </a:ext>
                </a:extLst>
              </p:cNvPr>
              <p:cNvSpPr/>
              <p:nvPr/>
            </p:nvSpPr>
            <p:spPr>
              <a:xfrm>
                <a:off x="4543288" y="2616488"/>
                <a:ext cx="18367" cy="18465"/>
              </a:xfrm>
              <a:custGeom>
                <a:avLst/>
                <a:gdLst>
                  <a:gd name="connsiteX0" fmla="*/ 4951 w 18367"/>
                  <a:gd name="connsiteY0" fmla="*/ 17402 h 18465"/>
                  <a:gd name="connsiteX1" fmla="*/ 17331 w 18367"/>
                  <a:gd name="connsiteY1" fmla="*/ 13515 h 18465"/>
                  <a:gd name="connsiteX2" fmla="*/ 13443 w 18367"/>
                  <a:gd name="connsiteY2" fmla="*/ 1075 h 18465"/>
                  <a:gd name="connsiteX3" fmla="*/ 1063 w 18367"/>
                  <a:gd name="connsiteY3" fmla="*/ 4962 h 18465"/>
                  <a:gd name="connsiteX4" fmla="*/ 4951 w 18367"/>
                  <a:gd name="connsiteY4" fmla="*/ 1740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65">
                    <a:moveTo>
                      <a:pt x="4951" y="17402"/>
                    </a:moveTo>
                    <a:cubicBezTo>
                      <a:pt x="9436" y="19794"/>
                      <a:pt x="14998" y="18000"/>
                      <a:pt x="17331" y="13515"/>
                    </a:cubicBezTo>
                    <a:cubicBezTo>
                      <a:pt x="19663" y="9029"/>
                      <a:pt x="17929" y="3467"/>
                      <a:pt x="13443" y="1075"/>
                    </a:cubicBezTo>
                    <a:cubicBezTo>
                      <a:pt x="8958" y="-1318"/>
                      <a:pt x="3396" y="417"/>
                      <a:pt x="1063" y="4962"/>
                    </a:cubicBezTo>
                    <a:cubicBezTo>
                      <a:pt x="-1329" y="9448"/>
                      <a:pt x="465" y="15069"/>
                      <a:pt x="4951" y="17402"/>
                    </a:cubicBezTo>
                    <a:close/>
                  </a:path>
                </a:pathLst>
              </a:custGeom>
              <a:grpFill/>
              <a:ln w="5978" cap="flat">
                <a:noFill/>
                <a:prstDash val="solid"/>
                <a:miter/>
              </a:ln>
            </p:spPr>
            <p:txBody>
              <a:bodyPr rtlCol="0" anchor="ctr"/>
              <a:lstStyle/>
              <a:p>
                <a:endParaRPr lang="en-GB"/>
              </a:p>
            </p:txBody>
          </p:sp>
        </p:grpSp>
        <p:grpSp>
          <p:nvGrpSpPr>
            <p:cNvPr id="993" name="Graphic 3">
              <a:extLst>
                <a:ext uri="{FF2B5EF4-FFF2-40B4-BE49-F238E27FC236}">
                  <a16:creationId xmlns:a16="http://schemas.microsoft.com/office/drawing/2014/main" id="{453B4754-1A86-4898-999F-E458DDAA3355}"/>
                </a:ext>
              </a:extLst>
            </p:cNvPr>
            <p:cNvGrpSpPr/>
            <p:nvPr/>
          </p:nvGrpSpPr>
          <p:grpSpPr>
            <a:xfrm>
              <a:off x="4305805" y="2572804"/>
              <a:ext cx="212395" cy="111574"/>
              <a:chOff x="4305805" y="2572804"/>
              <a:chExt cx="212395" cy="111574"/>
            </a:xfrm>
            <a:grpFill/>
          </p:grpSpPr>
          <p:sp>
            <p:nvSpPr>
              <p:cNvPr id="2420" name="Vrije vorm: vorm 2419">
                <a:extLst>
                  <a:ext uri="{FF2B5EF4-FFF2-40B4-BE49-F238E27FC236}">
                    <a16:creationId xmlns:a16="http://schemas.microsoft.com/office/drawing/2014/main" id="{73667CA5-1EC5-4A85-A59D-071F00F1AA93}"/>
                  </a:ext>
                </a:extLst>
              </p:cNvPr>
              <p:cNvSpPr/>
              <p:nvPr/>
            </p:nvSpPr>
            <p:spPr>
              <a:xfrm>
                <a:off x="4313914" y="2580422"/>
                <a:ext cx="196227" cy="96289"/>
              </a:xfrm>
              <a:custGeom>
                <a:avLst/>
                <a:gdLst>
                  <a:gd name="connsiteX0" fmla="*/ 196227 w 196227"/>
                  <a:gd name="connsiteY0" fmla="*/ 93539 h 96289"/>
                  <a:gd name="connsiteX1" fmla="*/ 194912 w 196227"/>
                  <a:gd name="connsiteY1" fmla="*/ 96290 h 96289"/>
                  <a:gd name="connsiteX2" fmla="*/ 0 w 196227"/>
                  <a:gd name="connsiteY2" fmla="*/ 2751 h 96289"/>
                  <a:gd name="connsiteX3" fmla="*/ 1316 w 196227"/>
                  <a:gd name="connsiteY3" fmla="*/ 0 h 96289"/>
                </a:gdLst>
                <a:ahLst/>
                <a:cxnLst>
                  <a:cxn ang="0">
                    <a:pos x="connsiteX0" y="connsiteY0"/>
                  </a:cxn>
                  <a:cxn ang="0">
                    <a:pos x="connsiteX1" y="connsiteY1"/>
                  </a:cxn>
                  <a:cxn ang="0">
                    <a:pos x="connsiteX2" y="connsiteY2"/>
                  </a:cxn>
                  <a:cxn ang="0">
                    <a:pos x="connsiteX3" y="connsiteY3"/>
                  </a:cxn>
                </a:cxnLst>
                <a:rect l="l" t="t" r="r" b="b"/>
                <a:pathLst>
                  <a:path w="196227" h="96289">
                    <a:moveTo>
                      <a:pt x="196227" y="93539"/>
                    </a:moveTo>
                    <a:lnTo>
                      <a:pt x="194912" y="96290"/>
                    </a:lnTo>
                    <a:lnTo>
                      <a:pt x="0" y="2751"/>
                    </a:lnTo>
                    <a:lnTo>
                      <a:pt x="1316" y="0"/>
                    </a:lnTo>
                    <a:close/>
                  </a:path>
                </a:pathLst>
              </a:custGeom>
              <a:grpFill/>
              <a:ln w="5978" cap="flat">
                <a:noFill/>
                <a:prstDash val="solid"/>
                <a:miter/>
              </a:ln>
            </p:spPr>
            <p:txBody>
              <a:bodyPr rtlCol="0" anchor="ctr"/>
              <a:lstStyle/>
              <a:p>
                <a:endParaRPr lang="en-GB"/>
              </a:p>
            </p:txBody>
          </p:sp>
          <p:sp>
            <p:nvSpPr>
              <p:cNvPr id="2421" name="Vrije vorm: vorm 2420">
                <a:extLst>
                  <a:ext uri="{FF2B5EF4-FFF2-40B4-BE49-F238E27FC236}">
                    <a16:creationId xmlns:a16="http://schemas.microsoft.com/office/drawing/2014/main" id="{82421584-5CAF-4361-8323-189008E8A95A}"/>
                  </a:ext>
                </a:extLst>
              </p:cNvPr>
              <p:cNvSpPr/>
              <p:nvPr/>
            </p:nvSpPr>
            <p:spPr>
              <a:xfrm>
                <a:off x="4305805" y="2572804"/>
                <a:ext cx="18311" cy="18406"/>
              </a:xfrm>
              <a:custGeom>
                <a:avLst/>
                <a:gdLst>
                  <a:gd name="connsiteX0" fmla="*/ 5238 w 18311"/>
                  <a:gd name="connsiteY0" fmla="*/ 17486 h 18406"/>
                  <a:gd name="connsiteX1" fmla="*/ 872 w 18311"/>
                  <a:gd name="connsiteY1" fmla="*/ 5226 h 18406"/>
                  <a:gd name="connsiteX2" fmla="*/ 13073 w 18311"/>
                  <a:gd name="connsiteY2" fmla="*/ 920 h 18406"/>
                  <a:gd name="connsiteX3" fmla="*/ 17439 w 18311"/>
                  <a:gd name="connsiteY3" fmla="*/ 13180 h 18406"/>
                  <a:gd name="connsiteX4" fmla="*/ 5238 w 18311"/>
                  <a:gd name="connsiteY4" fmla="*/ 174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6">
                    <a:moveTo>
                      <a:pt x="5238" y="17486"/>
                    </a:moveTo>
                    <a:cubicBezTo>
                      <a:pt x="693" y="15273"/>
                      <a:pt x="-1281" y="9771"/>
                      <a:pt x="872" y="5226"/>
                    </a:cubicBezTo>
                    <a:cubicBezTo>
                      <a:pt x="3025" y="621"/>
                      <a:pt x="8527" y="-1293"/>
                      <a:pt x="13073" y="920"/>
                    </a:cubicBezTo>
                    <a:cubicBezTo>
                      <a:pt x="17618" y="3133"/>
                      <a:pt x="19592" y="8635"/>
                      <a:pt x="17439" y="13180"/>
                    </a:cubicBezTo>
                    <a:cubicBezTo>
                      <a:pt x="15286" y="17785"/>
                      <a:pt x="9843" y="19699"/>
                      <a:pt x="5238" y="17486"/>
                    </a:cubicBezTo>
                    <a:close/>
                  </a:path>
                </a:pathLst>
              </a:custGeom>
              <a:grpFill/>
              <a:ln w="5978" cap="flat">
                <a:noFill/>
                <a:prstDash val="solid"/>
                <a:miter/>
              </a:ln>
            </p:spPr>
            <p:txBody>
              <a:bodyPr rtlCol="0" anchor="ctr"/>
              <a:lstStyle/>
              <a:p>
                <a:endParaRPr lang="en-GB"/>
              </a:p>
            </p:txBody>
          </p:sp>
          <p:sp>
            <p:nvSpPr>
              <p:cNvPr id="2422" name="Vrije vorm: vorm 2421">
                <a:extLst>
                  <a:ext uri="{FF2B5EF4-FFF2-40B4-BE49-F238E27FC236}">
                    <a16:creationId xmlns:a16="http://schemas.microsoft.com/office/drawing/2014/main" id="{6CBAA38C-9AAD-4159-A70A-8E79491FB803}"/>
                  </a:ext>
                </a:extLst>
              </p:cNvPr>
              <p:cNvSpPr/>
              <p:nvPr/>
            </p:nvSpPr>
            <p:spPr>
              <a:xfrm>
                <a:off x="4499880" y="2665936"/>
                <a:ext cx="18321" cy="18442"/>
              </a:xfrm>
              <a:custGeom>
                <a:avLst/>
                <a:gdLst>
                  <a:gd name="connsiteX0" fmla="*/ 5238 w 18321"/>
                  <a:gd name="connsiteY0" fmla="*/ 17535 h 18442"/>
                  <a:gd name="connsiteX1" fmla="*/ 17439 w 18321"/>
                  <a:gd name="connsiteY1" fmla="*/ 13169 h 18442"/>
                  <a:gd name="connsiteX2" fmla="*/ 13073 w 18321"/>
                  <a:gd name="connsiteY2" fmla="*/ 908 h 18442"/>
                  <a:gd name="connsiteX3" fmla="*/ 873 w 18321"/>
                  <a:gd name="connsiteY3" fmla="*/ 5274 h 18442"/>
                  <a:gd name="connsiteX4" fmla="*/ 5238 w 18321"/>
                  <a:gd name="connsiteY4" fmla="*/ 17535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2">
                    <a:moveTo>
                      <a:pt x="5238" y="17535"/>
                    </a:moveTo>
                    <a:cubicBezTo>
                      <a:pt x="9784" y="19748"/>
                      <a:pt x="15286" y="17774"/>
                      <a:pt x="17439" y="13169"/>
                    </a:cubicBezTo>
                    <a:cubicBezTo>
                      <a:pt x="19592" y="8564"/>
                      <a:pt x="17678" y="3061"/>
                      <a:pt x="13073" y="908"/>
                    </a:cubicBezTo>
                    <a:cubicBezTo>
                      <a:pt x="8528" y="-1305"/>
                      <a:pt x="3025" y="669"/>
                      <a:pt x="873" y="5274"/>
                    </a:cubicBezTo>
                    <a:cubicBezTo>
                      <a:pt x="-1281" y="9820"/>
                      <a:pt x="693" y="15322"/>
                      <a:pt x="5238" y="17535"/>
                    </a:cubicBezTo>
                    <a:close/>
                  </a:path>
                </a:pathLst>
              </a:custGeom>
              <a:grpFill/>
              <a:ln w="5978" cap="flat">
                <a:noFill/>
                <a:prstDash val="solid"/>
                <a:miter/>
              </a:ln>
            </p:spPr>
            <p:txBody>
              <a:bodyPr rtlCol="0" anchor="ctr"/>
              <a:lstStyle/>
              <a:p>
                <a:endParaRPr lang="en-GB"/>
              </a:p>
            </p:txBody>
          </p:sp>
        </p:grpSp>
        <p:grpSp>
          <p:nvGrpSpPr>
            <p:cNvPr id="994" name="Graphic 3">
              <a:extLst>
                <a:ext uri="{FF2B5EF4-FFF2-40B4-BE49-F238E27FC236}">
                  <a16:creationId xmlns:a16="http://schemas.microsoft.com/office/drawing/2014/main" id="{6F1273D7-C635-41D9-9123-33F52A27E2DE}"/>
                </a:ext>
              </a:extLst>
            </p:cNvPr>
            <p:cNvGrpSpPr/>
            <p:nvPr/>
          </p:nvGrpSpPr>
          <p:grpSpPr>
            <a:xfrm>
              <a:off x="5126240" y="4842611"/>
              <a:ext cx="80392" cy="122343"/>
              <a:chOff x="5126240" y="4842611"/>
              <a:chExt cx="80392" cy="122343"/>
            </a:xfrm>
            <a:grpFill/>
          </p:grpSpPr>
          <p:sp>
            <p:nvSpPr>
              <p:cNvPr id="2417" name="Vrije vorm: vorm 2416">
                <a:extLst>
                  <a:ext uri="{FF2B5EF4-FFF2-40B4-BE49-F238E27FC236}">
                    <a16:creationId xmlns:a16="http://schemas.microsoft.com/office/drawing/2014/main" id="{B308C8F6-0CB9-44A1-9002-F2BE106F42C9}"/>
                  </a:ext>
                </a:extLst>
              </p:cNvPr>
              <p:cNvSpPr/>
              <p:nvPr/>
            </p:nvSpPr>
            <p:spPr>
              <a:xfrm>
                <a:off x="5133811" y="4850704"/>
                <a:ext cx="65190" cy="106217"/>
              </a:xfrm>
              <a:custGeom>
                <a:avLst/>
                <a:gdLst>
                  <a:gd name="connsiteX0" fmla="*/ 65190 w 65190"/>
                  <a:gd name="connsiteY0" fmla="*/ 1555 h 106217"/>
                  <a:gd name="connsiteX1" fmla="*/ 2632 w 65190"/>
                  <a:gd name="connsiteY1" fmla="*/ 106218 h 106217"/>
                  <a:gd name="connsiteX2" fmla="*/ 0 w 65190"/>
                  <a:gd name="connsiteY2" fmla="*/ 104663 h 106217"/>
                  <a:gd name="connsiteX3" fmla="*/ 62558 w 65190"/>
                  <a:gd name="connsiteY3" fmla="*/ 0 h 106217"/>
                </a:gdLst>
                <a:ahLst/>
                <a:cxnLst>
                  <a:cxn ang="0">
                    <a:pos x="connsiteX0" y="connsiteY0"/>
                  </a:cxn>
                  <a:cxn ang="0">
                    <a:pos x="connsiteX1" y="connsiteY1"/>
                  </a:cxn>
                  <a:cxn ang="0">
                    <a:pos x="connsiteX2" y="connsiteY2"/>
                  </a:cxn>
                  <a:cxn ang="0">
                    <a:pos x="connsiteX3" y="connsiteY3"/>
                  </a:cxn>
                </a:cxnLst>
                <a:rect l="l" t="t" r="r" b="b"/>
                <a:pathLst>
                  <a:path w="65190" h="106217">
                    <a:moveTo>
                      <a:pt x="65190" y="1555"/>
                    </a:moveTo>
                    <a:lnTo>
                      <a:pt x="2632" y="106218"/>
                    </a:lnTo>
                    <a:lnTo>
                      <a:pt x="0" y="104663"/>
                    </a:lnTo>
                    <a:lnTo>
                      <a:pt x="62558" y="0"/>
                    </a:lnTo>
                    <a:close/>
                  </a:path>
                </a:pathLst>
              </a:custGeom>
              <a:grpFill/>
              <a:ln w="5978" cap="flat">
                <a:noFill/>
                <a:prstDash val="solid"/>
                <a:miter/>
              </a:ln>
            </p:spPr>
            <p:txBody>
              <a:bodyPr rtlCol="0" anchor="ctr"/>
              <a:lstStyle/>
              <a:p>
                <a:endParaRPr lang="en-GB"/>
              </a:p>
            </p:txBody>
          </p:sp>
          <p:sp>
            <p:nvSpPr>
              <p:cNvPr id="2418" name="Vrije vorm: vorm 2417">
                <a:extLst>
                  <a:ext uri="{FF2B5EF4-FFF2-40B4-BE49-F238E27FC236}">
                    <a16:creationId xmlns:a16="http://schemas.microsoft.com/office/drawing/2014/main" id="{B86F60C7-5FCB-45B2-83A0-AC02A10E8EE6}"/>
                  </a:ext>
                </a:extLst>
              </p:cNvPr>
              <p:cNvSpPr/>
              <p:nvPr/>
            </p:nvSpPr>
            <p:spPr>
              <a:xfrm>
                <a:off x="5126240" y="4946497"/>
                <a:ext cx="18312" cy="18458"/>
              </a:xfrm>
              <a:custGeom>
                <a:avLst/>
                <a:gdLst>
                  <a:gd name="connsiteX0" fmla="*/ 17021 w 18312"/>
                  <a:gd name="connsiteY0" fmla="*/ 14014 h 18458"/>
                  <a:gd name="connsiteX1" fmla="*/ 4461 w 18312"/>
                  <a:gd name="connsiteY1" fmla="*/ 17123 h 18458"/>
                  <a:gd name="connsiteX2" fmla="*/ 1292 w 18312"/>
                  <a:gd name="connsiteY2" fmla="*/ 4444 h 18458"/>
                  <a:gd name="connsiteX3" fmla="*/ 13851 w 18312"/>
                  <a:gd name="connsiteY3" fmla="*/ 1335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4450" y="18380"/>
                      <a:pt x="8768" y="19755"/>
                      <a:pt x="4461" y="17123"/>
                    </a:cubicBezTo>
                    <a:cubicBezTo>
                      <a:pt x="96" y="14492"/>
                      <a:pt x="-1280" y="8811"/>
                      <a:pt x="1292" y="4444"/>
                    </a:cubicBezTo>
                    <a:cubicBezTo>
                      <a:pt x="3864" y="79"/>
                      <a:pt x="9545" y="-1297"/>
                      <a:pt x="13851" y="1335"/>
                    </a:cubicBezTo>
                    <a:cubicBezTo>
                      <a:pt x="18217" y="4026"/>
                      <a:pt x="19593" y="9707"/>
                      <a:pt x="17021" y="14014"/>
                    </a:cubicBezTo>
                    <a:close/>
                  </a:path>
                </a:pathLst>
              </a:custGeom>
              <a:grpFill/>
              <a:ln w="5978" cap="flat">
                <a:noFill/>
                <a:prstDash val="solid"/>
                <a:miter/>
              </a:ln>
            </p:spPr>
            <p:txBody>
              <a:bodyPr rtlCol="0" anchor="ctr"/>
              <a:lstStyle/>
              <a:p>
                <a:endParaRPr lang="en-GB"/>
              </a:p>
            </p:txBody>
          </p:sp>
          <p:sp>
            <p:nvSpPr>
              <p:cNvPr id="2419" name="Vrije vorm: vorm 2418">
                <a:extLst>
                  <a:ext uri="{FF2B5EF4-FFF2-40B4-BE49-F238E27FC236}">
                    <a16:creationId xmlns:a16="http://schemas.microsoft.com/office/drawing/2014/main" id="{8FD7D5D5-2660-4A3D-A012-4CD76F855D33}"/>
                  </a:ext>
                </a:extLst>
              </p:cNvPr>
              <p:cNvSpPr/>
              <p:nvPr/>
            </p:nvSpPr>
            <p:spPr>
              <a:xfrm>
                <a:off x="5188320" y="4842611"/>
                <a:ext cx="18312" cy="18458"/>
              </a:xfrm>
              <a:custGeom>
                <a:avLst/>
                <a:gdLst>
                  <a:gd name="connsiteX0" fmla="*/ 17021 w 18312"/>
                  <a:gd name="connsiteY0" fmla="*/ 14014 h 18458"/>
                  <a:gd name="connsiteX1" fmla="*/ 13851 w 18312"/>
                  <a:gd name="connsiteY1" fmla="*/ 1335 h 18458"/>
                  <a:gd name="connsiteX2" fmla="*/ 1292 w 18312"/>
                  <a:gd name="connsiteY2" fmla="*/ 4444 h 18458"/>
                  <a:gd name="connsiteX3" fmla="*/ 4461 w 18312"/>
                  <a:gd name="connsiteY3" fmla="*/ 17123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9593" y="9648"/>
                      <a:pt x="18217" y="3966"/>
                      <a:pt x="13851" y="1335"/>
                    </a:cubicBezTo>
                    <a:cubicBezTo>
                      <a:pt x="9485" y="-1297"/>
                      <a:pt x="3864" y="79"/>
                      <a:pt x="1292" y="4444"/>
                    </a:cubicBezTo>
                    <a:cubicBezTo>
                      <a:pt x="-1280" y="8811"/>
                      <a:pt x="96" y="14492"/>
                      <a:pt x="4461" y="17123"/>
                    </a:cubicBezTo>
                    <a:cubicBezTo>
                      <a:pt x="8768" y="19755"/>
                      <a:pt x="14390" y="18380"/>
                      <a:pt x="17021" y="14014"/>
                    </a:cubicBezTo>
                    <a:close/>
                  </a:path>
                </a:pathLst>
              </a:custGeom>
              <a:grpFill/>
              <a:ln w="5978" cap="flat">
                <a:noFill/>
                <a:prstDash val="solid"/>
                <a:miter/>
              </a:ln>
            </p:spPr>
            <p:txBody>
              <a:bodyPr rtlCol="0" anchor="ctr"/>
              <a:lstStyle/>
              <a:p>
                <a:endParaRPr lang="en-GB"/>
              </a:p>
            </p:txBody>
          </p:sp>
        </p:grpSp>
        <p:grpSp>
          <p:nvGrpSpPr>
            <p:cNvPr id="995" name="Graphic 3">
              <a:extLst>
                <a:ext uri="{FF2B5EF4-FFF2-40B4-BE49-F238E27FC236}">
                  <a16:creationId xmlns:a16="http://schemas.microsoft.com/office/drawing/2014/main" id="{06515C50-95F4-4C5C-9956-E2F80788A514}"/>
                </a:ext>
              </a:extLst>
            </p:cNvPr>
            <p:cNvGrpSpPr/>
            <p:nvPr/>
          </p:nvGrpSpPr>
          <p:grpSpPr>
            <a:xfrm>
              <a:off x="3936155" y="2032466"/>
              <a:ext cx="700914" cy="499950"/>
              <a:chOff x="3936155" y="2032466"/>
              <a:chExt cx="700914" cy="499950"/>
            </a:xfrm>
            <a:grpFill/>
          </p:grpSpPr>
          <p:sp>
            <p:nvSpPr>
              <p:cNvPr id="2414" name="Vrije vorm: vorm 2413">
                <a:extLst>
                  <a:ext uri="{FF2B5EF4-FFF2-40B4-BE49-F238E27FC236}">
                    <a16:creationId xmlns:a16="http://schemas.microsoft.com/office/drawing/2014/main" id="{18F7F489-8016-4D15-B4C7-732E8757B321}"/>
                  </a:ext>
                </a:extLst>
              </p:cNvPr>
              <p:cNvSpPr/>
              <p:nvPr/>
            </p:nvSpPr>
            <p:spPr>
              <a:xfrm>
                <a:off x="3944066" y="2040124"/>
                <a:ext cx="685091" cy="484617"/>
              </a:xfrm>
              <a:custGeom>
                <a:avLst/>
                <a:gdLst>
                  <a:gd name="connsiteX0" fmla="*/ 685092 w 685091"/>
                  <a:gd name="connsiteY0" fmla="*/ 482106 h 484617"/>
                  <a:gd name="connsiteX1" fmla="*/ 683357 w 685091"/>
                  <a:gd name="connsiteY1" fmla="*/ 484618 h 484617"/>
                  <a:gd name="connsiteX2" fmla="*/ 0 w 685091"/>
                  <a:gd name="connsiteY2" fmla="*/ 2512 h 484617"/>
                  <a:gd name="connsiteX3" fmla="*/ 1734 w 685091"/>
                  <a:gd name="connsiteY3" fmla="*/ 0 h 484617"/>
                </a:gdLst>
                <a:ahLst/>
                <a:cxnLst>
                  <a:cxn ang="0">
                    <a:pos x="connsiteX0" y="connsiteY0"/>
                  </a:cxn>
                  <a:cxn ang="0">
                    <a:pos x="connsiteX1" y="connsiteY1"/>
                  </a:cxn>
                  <a:cxn ang="0">
                    <a:pos x="connsiteX2" y="connsiteY2"/>
                  </a:cxn>
                  <a:cxn ang="0">
                    <a:pos x="connsiteX3" y="connsiteY3"/>
                  </a:cxn>
                </a:cxnLst>
                <a:rect l="l" t="t" r="r" b="b"/>
                <a:pathLst>
                  <a:path w="685091" h="484617">
                    <a:moveTo>
                      <a:pt x="685092" y="482106"/>
                    </a:moveTo>
                    <a:lnTo>
                      <a:pt x="683357" y="484618"/>
                    </a:lnTo>
                    <a:lnTo>
                      <a:pt x="0" y="2512"/>
                    </a:lnTo>
                    <a:lnTo>
                      <a:pt x="1734" y="0"/>
                    </a:lnTo>
                    <a:close/>
                  </a:path>
                </a:pathLst>
              </a:custGeom>
              <a:grpFill/>
              <a:ln w="5978" cap="flat">
                <a:noFill/>
                <a:prstDash val="solid"/>
                <a:miter/>
              </a:ln>
            </p:spPr>
            <p:txBody>
              <a:bodyPr rtlCol="0" anchor="ctr"/>
              <a:lstStyle/>
              <a:p>
                <a:endParaRPr lang="en-GB"/>
              </a:p>
            </p:txBody>
          </p:sp>
          <p:sp>
            <p:nvSpPr>
              <p:cNvPr id="2415" name="Vrije vorm: vorm 2414">
                <a:extLst>
                  <a:ext uri="{FF2B5EF4-FFF2-40B4-BE49-F238E27FC236}">
                    <a16:creationId xmlns:a16="http://schemas.microsoft.com/office/drawing/2014/main" id="{E49962A2-AFEF-43EF-B281-557726849AC5}"/>
                  </a:ext>
                </a:extLst>
              </p:cNvPr>
              <p:cNvSpPr/>
              <p:nvPr/>
            </p:nvSpPr>
            <p:spPr>
              <a:xfrm>
                <a:off x="4618795" y="2513974"/>
                <a:ext cx="18274" cy="18442"/>
              </a:xfrm>
              <a:custGeom>
                <a:avLst/>
                <a:gdLst>
                  <a:gd name="connsiteX0" fmla="*/ 14370 w 18274"/>
                  <a:gd name="connsiteY0" fmla="*/ 1677 h 18442"/>
                  <a:gd name="connsiteX1" fmla="*/ 16643 w 18274"/>
                  <a:gd name="connsiteY1" fmla="*/ 14536 h 18442"/>
                  <a:gd name="connsiteX2" fmla="*/ 3904 w 18274"/>
                  <a:gd name="connsiteY2" fmla="*/ 16749 h 18442"/>
                  <a:gd name="connsiteX3" fmla="*/ 1631 w 18274"/>
                  <a:gd name="connsiteY3" fmla="*/ 3890 h 18442"/>
                  <a:gd name="connsiteX4" fmla="*/ 14370 w 18274"/>
                  <a:gd name="connsiteY4" fmla="*/ 1677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42">
                    <a:moveTo>
                      <a:pt x="14370" y="1677"/>
                    </a:moveTo>
                    <a:cubicBezTo>
                      <a:pt x="18497" y="4608"/>
                      <a:pt x="19514" y="10349"/>
                      <a:pt x="16643" y="14536"/>
                    </a:cubicBezTo>
                    <a:cubicBezTo>
                      <a:pt x="13772" y="18722"/>
                      <a:pt x="8031" y="19679"/>
                      <a:pt x="3904" y="16749"/>
                    </a:cubicBezTo>
                    <a:cubicBezTo>
                      <a:pt x="-223" y="13818"/>
                      <a:pt x="-1239" y="8077"/>
                      <a:pt x="1631" y="3890"/>
                    </a:cubicBezTo>
                    <a:cubicBezTo>
                      <a:pt x="4502" y="-236"/>
                      <a:pt x="10184" y="-1253"/>
                      <a:pt x="14370" y="1677"/>
                    </a:cubicBezTo>
                    <a:close/>
                  </a:path>
                </a:pathLst>
              </a:custGeom>
              <a:grpFill/>
              <a:ln w="5978" cap="flat">
                <a:noFill/>
                <a:prstDash val="solid"/>
                <a:miter/>
              </a:ln>
            </p:spPr>
            <p:txBody>
              <a:bodyPr rtlCol="0" anchor="ctr"/>
              <a:lstStyle/>
              <a:p>
                <a:endParaRPr lang="en-GB"/>
              </a:p>
            </p:txBody>
          </p:sp>
          <p:sp>
            <p:nvSpPr>
              <p:cNvPr id="2416" name="Vrije vorm: vorm 2415">
                <a:extLst>
                  <a:ext uri="{FF2B5EF4-FFF2-40B4-BE49-F238E27FC236}">
                    <a16:creationId xmlns:a16="http://schemas.microsoft.com/office/drawing/2014/main" id="{F5C9E067-1194-480B-A7B2-CC9E2CB5C096}"/>
                  </a:ext>
                </a:extLst>
              </p:cNvPr>
              <p:cNvSpPr/>
              <p:nvPr/>
            </p:nvSpPr>
            <p:spPr>
              <a:xfrm>
                <a:off x="3936155" y="2032466"/>
                <a:ext cx="18316" cy="18426"/>
              </a:xfrm>
              <a:custGeom>
                <a:avLst/>
                <a:gdLst>
                  <a:gd name="connsiteX0" fmla="*/ 14371 w 18316"/>
                  <a:gd name="connsiteY0" fmla="*/ 1677 h 18426"/>
                  <a:gd name="connsiteX1" fmla="*/ 1632 w 18316"/>
                  <a:gd name="connsiteY1" fmla="*/ 3890 h 18426"/>
                  <a:gd name="connsiteX2" fmla="*/ 3904 w 18316"/>
                  <a:gd name="connsiteY2" fmla="*/ 16749 h 18426"/>
                  <a:gd name="connsiteX3" fmla="*/ 16643 w 18316"/>
                  <a:gd name="connsiteY3" fmla="*/ 14536 h 18426"/>
                  <a:gd name="connsiteX4" fmla="*/ 14371 w 18316"/>
                  <a:gd name="connsiteY4" fmla="*/ 1677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6">
                    <a:moveTo>
                      <a:pt x="14371" y="1677"/>
                    </a:moveTo>
                    <a:cubicBezTo>
                      <a:pt x="10244" y="-1253"/>
                      <a:pt x="4502" y="-236"/>
                      <a:pt x="1632" y="3890"/>
                    </a:cubicBezTo>
                    <a:cubicBezTo>
                      <a:pt x="-1239" y="8077"/>
                      <a:pt x="-222" y="13818"/>
                      <a:pt x="3904" y="16749"/>
                    </a:cubicBezTo>
                    <a:cubicBezTo>
                      <a:pt x="8031" y="19679"/>
                      <a:pt x="13772" y="18663"/>
                      <a:pt x="16643" y="14536"/>
                    </a:cubicBezTo>
                    <a:cubicBezTo>
                      <a:pt x="19574" y="10349"/>
                      <a:pt x="18557" y="4608"/>
                      <a:pt x="14371" y="1677"/>
                    </a:cubicBezTo>
                    <a:close/>
                  </a:path>
                </a:pathLst>
              </a:custGeom>
              <a:grpFill/>
              <a:ln w="5978" cap="flat">
                <a:noFill/>
                <a:prstDash val="solid"/>
                <a:miter/>
              </a:ln>
            </p:spPr>
            <p:txBody>
              <a:bodyPr rtlCol="0" anchor="ctr"/>
              <a:lstStyle/>
              <a:p>
                <a:endParaRPr lang="en-GB"/>
              </a:p>
            </p:txBody>
          </p:sp>
        </p:grpSp>
        <p:grpSp>
          <p:nvGrpSpPr>
            <p:cNvPr id="996" name="Graphic 3">
              <a:extLst>
                <a:ext uri="{FF2B5EF4-FFF2-40B4-BE49-F238E27FC236}">
                  <a16:creationId xmlns:a16="http://schemas.microsoft.com/office/drawing/2014/main" id="{F9E1B955-AE4A-4E74-9F53-75181A6A2C04}"/>
                </a:ext>
              </a:extLst>
            </p:cNvPr>
            <p:cNvGrpSpPr/>
            <p:nvPr/>
          </p:nvGrpSpPr>
          <p:grpSpPr>
            <a:xfrm>
              <a:off x="4304379" y="2573442"/>
              <a:ext cx="207701" cy="141736"/>
              <a:chOff x="4304379" y="2573442"/>
              <a:chExt cx="207701" cy="141736"/>
            </a:xfrm>
            <a:grpFill/>
          </p:grpSpPr>
          <p:sp>
            <p:nvSpPr>
              <p:cNvPr id="2411" name="Vrije vorm: vorm 2410">
                <a:extLst>
                  <a:ext uri="{FF2B5EF4-FFF2-40B4-BE49-F238E27FC236}">
                    <a16:creationId xmlns:a16="http://schemas.microsoft.com/office/drawing/2014/main" id="{8BBB894D-49FC-45CE-B6A5-2FF9541E81FF}"/>
                  </a:ext>
                </a:extLst>
              </p:cNvPr>
              <p:cNvSpPr/>
              <p:nvPr/>
            </p:nvSpPr>
            <p:spPr>
              <a:xfrm>
                <a:off x="4312299" y="2581080"/>
                <a:ext cx="191801" cy="126432"/>
              </a:xfrm>
              <a:custGeom>
                <a:avLst/>
                <a:gdLst>
                  <a:gd name="connsiteX0" fmla="*/ 191802 w 191801"/>
                  <a:gd name="connsiteY0" fmla="*/ 123861 h 126432"/>
                  <a:gd name="connsiteX1" fmla="*/ 190127 w 191801"/>
                  <a:gd name="connsiteY1" fmla="*/ 126432 h 126432"/>
                  <a:gd name="connsiteX2" fmla="*/ 0 w 191801"/>
                  <a:gd name="connsiteY2" fmla="*/ 2572 h 126432"/>
                  <a:gd name="connsiteX3" fmla="*/ 1674 w 191801"/>
                  <a:gd name="connsiteY3" fmla="*/ 0 h 126432"/>
                </a:gdLst>
                <a:ahLst/>
                <a:cxnLst>
                  <a:cxn ang="0">
                    <a:pos x="connsiteX0" y="connsiteY0"/>
                  </a:cxn>
                  <a:cxn ang="0">
                    <a:pos x="connsiteX1" y="connsiteY1"/>
                  </a:cxn>
                  <a:cxn ang="0">
                    <a:pos x="connsiteX2" y="connsiteY2"/>
                  </a:cxn>
                  <a:cxn ang="0">
                    <a:pos x="connsiteX3" y="connsiteY3"/>
                  </a:cxn>
                </a:cxnLst>
                <a:rect l="l" t="t" r="r" b="b"/>
                <a:pathLst>
                  <a:path w="191801" h="126432">
                    <a:moveTo>
                      <a:pt x="191802" y="123861"/>
                    </a:moveTo>
                    <a:lnTo>
                      <a:pt x="190127" y="126432"/>
                    </a:lnTo>
                    <a:lnTo>
                      <a:pt x="0" y="2572"/>
                    </a:lnTo>
                    <a:lnTo>
                      <a:pt x="1674" y="0"/>
                    </a:lnTo>
                    <a:close/>
                  </a:path>
                </a:pathLst>
              </a:custGeom>
              <a:grpFill/>
              <a:ln w="5978" cap="flat">
                <a:noFill/>
                <a:prstDash val="solid"/>
                <a:miter/>
              </a:ln>
            </p:spPr>
            <p:txBody>
              <a:bodyPr rtlCol="0" anchor="ctr"/>
              <a:lstStyle/>
              <a:p>
                <a:endParaRPr lang="en-GB"/>
              </a:p>
            </p:txBody>
          </p:sp>
          <p:sp>
            <p:nvSpPr>
              <p:cNvPr id="2412" name="Vrije vorm: vorm 2411">
                <a:extLst>
                  <a:ext uri="{FF2B5EF4-FFF2-40B4-BE49-F238E27FC236}">
                    <a16:creationId xmlns:a16="http://schemas.microsoft.com/office/drawing/2014/main" id="{B83EBDF6-DAF4-4650-8FDD-C39A1BF425BB}"/>
                  </a:ext>
                </a:extLst>
              </p:cNvPr>
              <p:cNvSpPr/>
              <p:nvPr/>
            </p:nvSpPr>
            <p:spPr>
              <a:xfrm>
                <a:off x="4493729" y="2696764"/>
                <a:ext cx="18351" cy="18413"/>
              </a:xfrm>
              <a:custGeom>
                <a:avLst/>
                <a:gdLst>
                  <a:gd name="connsiteX0" fmla="*/ 14140 w 18351"/>
                  <a:gd name="connsiteY0" fmla="*/ 1479 h 18413"/>
                  <a:gd name="connsiteX1" fmla="*/ 16891 w 18351"/>
                  <a:gd name="connsiteY1" fmla="*/ 14218 h 18413"/>
                  <a:gd name="connsiteX2" fmla="*/ 4212 w 18351"/>
                  <a:gd name="connsiteY2" fmla="*/ 16909 h 18413"/>
                  <a:gd name="connsiteX3" fmla="*/ 1461 w 18351"/>
                  <a:gd name="connsiteY3" fmla="*/ 4170 h 18413"/>
                  <a:gd name="connsiteX4" fmla="*/ 14140 w 18351"/>
                  <a:gd name="connsiteY4" fmla="*/ 147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13">
                    <a:moveTo>
                      <a:pt x="14140" y="1479"/>
                    </a:moveTo>
                    <a:cubicBezTo>
                      <a:pt x="18386" y="4230"/>
                      <a:pt x="19642" y="9971"/>
                      <a:pt x="16891" y="14218"/>
                    </a:cubicBezTo>
                    <a:cubicBezTo>
                      <a:pt x="14140" y="18464"/>
                      <a:pt x="8458" y="19720"/>
                      <a:pt x="4212" y="16909"/>
                    </a:cubicBezTo>
                    <a:cubicBezTo>
                      <a:pt x="-35" y="14098"/>
                      <a:pt x="-1290" y="8416"/>
                      <a:pt x="1461" y="4170"/>
                    </a:cubicBezTo>
                    <a:cubicBezTo>
                      <a:pt x="4212" y="-76"/>
                      <a:pt x="9894" y="-1273"/>
                      <a:pt x="14140" y="1479"/>
                    </a:cubicBezTo>
                    <a:close/>
                  </a:path>
                </a:pathLst>
              </a:custGeom>
              <a:grpFill/>
              <a:ln w="5978" cap="flat">
                <a:noFill/>
                <a:prstDash val="solid"/>
                <a:miter/>
              </a:ln>
            </p:spPr>
            <p:txBody>
              <a:bodyPr rtlCol="0" anchor="ctr"/>
              <a:lstStyle/>
              <a:p>
                <a:endParaRPr lang="en-GB"/>
              </a:p>
            </p:txBody>
          </p:sp>
          <p:sp>
            <p:nvSpPr>
              <p:cNvPr id="2413" name="Vrije vorm: vorm 2412">
                <a:extLst>
                  <a:ext uri="{FF2B5EF4-FFF2-40B4-BE49-F238E27FC236}">
                    <a16:creationId xmlns:a16="http://schemas.microsoft.com/office/drawing/2014/main" id="{FCDF9BAA-EC9F-4AED-B7A2-A75EC7410146}"/>
                  </a:ext>
                </a:extLst>
              </p:cNvPr>
              <p:cNvSpPr/>
              <p:nvPr/>
            </p:nvSpPr>
            <p:spPr>
              <a:xfrm>
                <a:off x="4304379" y="2573442"/>
                <a:ext cx="18325" cy="18387"/>
              </a:xfrm>
              <a:custGeom>
                <a:avLst/>
                <a:gdLst>
                  <a:gd name="connsiteX0" fmla="*/ 14140 w 18325"/>
                  <a:gd name="connsiteY0" fmla="*/ 1479 h 18387"/>
                  <a:gd name="connsiteX1" fmla="*/ 1461 w 18325"/>
                  <a:gd name="connsiteY1" fmla="*/ 4170 h 18387"/>
                  <a:gd name="connsiteX2" fmla="*/ 4212 w 18325"/>
                  <a:gd name="connsiteY2" fmla="*/ 16909 h 18387"/>
                  <a:gd name="connsiteX3" fmla="*/ 16891 w 18325"/>
                  <a:gd name="connsiteY3" fmla="*/ 14217 h 18387"/>
                  <a:gd name="connsiteX4" fmla="*/ 14140 w 18325"/>
                  <a:gd name="connsiteY4" fmla="*/ 147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7">
                    <a:moveTo>
                      <a:pt x="14140" y="1479"/>
                    </a:moveTo>
                    <a:cubicBezTo>
                      <a:pt x="9893" y="-1273"/>
                      <a:pt x="4212" y="-76"/>
                      <a:pt x="1461" y="4170"/>
                    </a:cubicBezTo>
                    <a:cubicBezTo>
                      <a:pt x="-1291" y="8416"/>
                      <a:pt x="-34" y="14158"/>
                      <a:pt x="4212" y="16909"/>
                    </a:cubicBezTo>
                    <a:cubicBezTo>
                      <a:pt x="8458" y="19660"/>
                      <a:pt x="14140" y="18464"/>
                      <a:pt x="16891" y="14217"/>
                    </a:cubicBezTo>
                    <a:cubicBezTo>
                      <a:pt x="19583" y="9911"/>
                      <a:pt x="18386" y="4230"/>
                      <a:pt x="14140" y="1479"/>
                    </a:cubicBezTo>
                    <a:close/>
                  </a:path>
                </a:pathLst>
              </a:custGeom>
              <a:grpFill/>
              <a:ln w="5978" cap="flat">
                <a:noFill/>
                <a:prstDash val="solid"/>
                <a:miter/>
              </a:ln>
            </p:spPr>
            <p:txBody>
              <a:bodyPr rtlCol="0" anchor="ctr"/>
              <a:lstStyle/>
              <a:p>
                <a:endParaRPr lang="en-GB"/>
              </a:p>
            </p:txBody>
          </p:sp>
        </p:grpSp>
        <p:grpSp>
          <p:nvGrpSpPr>
            <p:cNvPr id="997" name="Graphic 3">
              <a:extLst>
                <a:ext uri="{FF2B5EF4-FFF2-40B4-BE49-F238E27FC236}">
                  <a16:creationId xmlns:a16="http://schemas.microsoft.com/office/drawing/2014/main" id="{63B315DF-9F30-4CB8-9769-5ECC95F59B16}"/>
                </a:ext>
              </a:extLst>
            </p:cNvPr>
            <p:cNvGrpSpPr/>
            <p:nvPr/>
          </p:nvGrpSpPr>
          <p:grpSpPr>
            <a:xfrm>
              <a:off x="5160280" y="4969036"/>
              <a:ext cx="122467" cy="226363"/>
              <a:chOff x="5160280" y="4969036"/>
              <a:chExt cx="122467" cy="226363"/>
            </a:xfrm>
            <a:grpFill/>
          </p:grpSpPr>
          <p:sp>
            <p:nvSpPr>
              <p:cNvPr id="2408" name="Vrije vorm: vorm 2407">
                <a:extLst>
                  <a:ext uri="{FF2B5EF4-FFF2-40B4-BE49-F238E27FC236}">
                    <a16:creationId xmlns:a16="http://schemas.microsoft.com/office/drawing/2014/main" id="{E9FED83C-3D3F-4D71-A558-23BED22F0072}"/>
                  </a:ext>
                </a:extLst>
              </p:cNvPr>
              <p:cNvSpPr/>
              <p:nvPr/>
            </p:nvSpPr>
            <p:spPr>
              <a:xfrm>
                <a:off x="5167902" y="4977137"/>
                <a:ext cx="107234" cy="210162"/>
              </a:xfrm>
              <a:custGeom>
                <a:avLst/>
                <a:gdLst>
                  <a:gd name="connsiteX0" fmla="*/ 107234 w 107234"/>
                  <a:gd name="connsiteY0" fmla="*/ 1376 h 210162"/>
                  <a:gd name="connsiteX1" fmla="*/ 2751 w 107234"/>
                  <a:gd name="connsiteY1" fmla="*/ 210163 h 210162"/>
                  <a:gd name="connsiteX2" fmla="*/ 0 w 107234"/>
                  <a:gd name="connsiteY2" fmla="*/ 208787 h 210162"/>
                  <a:gd name="connsiteX3" fmla="*/ 104483 w 107234"/>
                  <a:gd name="connsiteY3" fmla="*/ 0 h 210162"/>
                </a:gdLst>
                <a:ahLst/>
                <a:cxnLst>
                  <a:cxn ang="0">
                    <a:pos x="connsiteX0" y="connsiteY0"/>
                  </a:cxn>
                  <a:cxn ang="0">
                    <a:pos x="connsiteX1" y="connsiteY1"/>
                  </a:cxn>
                  <a:cxn ang="0">
                    <a:pos x="connsiteX2" y="connsiteY2"/>
                  </a:cxn>
                  <a:cxn ang="0">
                    <a:pos x="connsiteX3" y="connsiteY3"/>
                  </a:cxn>
                </a:cxnLst>
                <a:rect l="l" t="t" r="r" b="b"/>
                <a:pathLst>
                  <a:path w="107234" h="210162">
                    <a:moveTo>
                      <a:pt x="107234" y="1376"/>
                    </a:moveTo>
                    <a:lnTo>
                      <a:pt x="2751" y="210163"/>
                    </a:lnTo>
                    <a:lnTo>
                      <a:pt x="0" y="208787"/>
                    </a:lnTo>
                    <a:lnTo>
                      <a:pt x="104483" y="0"/>
                    </a:lnTo>
                    <a:close/>
                  </a:path>
                </a:pathLst>
              </a:custGeom>
              <a:grpFill/>
              <a:ln w="5978" cap="flat">
                <a:noFill/>
                <a:prstDash val="solid"/>
                <a:miter/>
              </a:ln>
            </p:spPr>
            <p:txBody>
              <a:bodyPr rtlCol="0" anchor="ctr"/>
              <a:lstStyle/>
              <a:p>
                <a:endParaRPr lang="en-GB"/>
              </a:p>
            </p:txBody>
          </p:sp>
          <p:sp>
            <p:nvSpPr>
              <p:cNvPr id="2409" name="Vrije vorm: vorm 2408">
                <a:extLst>
                  <a:ext uri="{FF2B5EF4-FFF2-40B4-BE49-F238E27FC236}">
                    <a16:creationId xmlns:a16="http://schemas.microsoft.com/office/drawing/2014/main" id="{B8844D34-512F-4B48-ADC1-3CC0FCDC60D3}"/>
                  </a:ext>
                </a:extLst>
              </p:cNvPr>
              <p:cNvSpPr/>
              <p:nvPr/>
            </p:nvSpPr>
            <p:spPr>
              <a:xfrm>
                <a:off x="5160280" y="5176986"/>
                <a:ext cx="18353" cy="18413"/>
              </a:xfrm>
              <a:custGeom>
                <a:avLst/>
                <a:gdLst>
                  <a:gd name="connsiteX0" fmla="*/ 17371 w 18353"/>
                  <a:gd name="connsiteY0" fmla="*/ 13364 h 18413"/>
                  <a:gd name="connsiteX1" fmla="*/ 5050 w 18353"/>
                  <a:gd name="connsiteY1" fmla="*/ 17430 h 18413"/>
                  <a:gd name="connsiteX2" fmla="*/ 983 w 18353"/>
                  <a:gd name="connsiteY2" fmla="*/ 5050 h 18413"/>
                  <a:gd name="connsiteX3" fmla="*/ 13304 w 18353"/>
                  <a:gd name="connsiteY3" fmla="*/ 983 h 18413"/>
                  <a:gd name="connsiteX4" fmla="*/ 17371 w 18353"/>
                  <a:gd name="connsiteY4" fmla="*/ 1336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3">
                    <a:moveTo>
                      <a:pt x="17371" y="13364"/>
                    </a:moveTo>
                    <a:cubicBezTo>
                      <a:pt x="15098" y="17909"/>
                      <a:pt x="9595" y="19703"/>
                      <a:pt x="5050" y="17430"/>
                    </a:cubicBezTo>
                    <a:cubicBezTo>
                      <a:pt x="505" y="15158"/>
                      <a:pt x="-1289" y="9596"/>
                      <a:pt x="983" y="5050"/>
                    </a:cubicBezTo>
                    <a:cubicBezTo>
                      <a:pt x="3256" y="505"/>
                      <a:pt x="8758" y="-1289"/>
                      <a:pt x="13304" y="983"/>
                    </a:cubicBezTo>
                    <a:cubicBezTo>
                      <a:pt x="17849" y="3316"/>
                      <a:pt x="19643" y="8878"/>
                      <a:pt x="17371" y="13364"/>
                    </a:cubicBezTo>
                    <a:close/>
                  </a:path>
                </a:pathLst>
              </a:custGeom>
              <a:grpFill/>
              <a:ln w="5978" cap="flat">
                <a:noFill/>
                <a:prstDash val="solid"/>
                <a:miter/>
              </a:ln>
            </p:spPr>
            <p:txBody>
              <a:bodyPr rtlCol="0" anchor="ctr"/>
              <a:lstStyle/>
              <a:p>
                <a:endParaRPr lang="en-GB"/>
              </a:p>
            </p:txBody>
          </p:sp>
          <p:sp>
            <p:nvSpPr>
              <p:cNvPr id="2410" name="Vrije vorm: vorm 2409">
                <a:extLst>
                  <a:ext uri="{FF2B5EF4-FFF2-40B4-BE49-F238E27FC236}">
                    <a16:creationId xmlns:a16="http://schemas.microsoft.com/office/drawing/2014/main" id="{529F523F-499E-44AC-AB7D-4F33B59D2996}"/>
                  </a:ext>
                </a:extLst>
              </p:cNvPr>
              <p:cNvSpPr/>
              <p:nvPr/>
            </p:nvSpPr>
            <p:spPr>
              <a:xfrm>
                <a:off x="5264415" y="4969036"/>
                <a:ext cx="18332" cy="18413"/>
              </a:xfrm>
              <a:custGeom>
                <a:avLst/>
                <a:gdLst>
                  <a:gd name="connsiteX0" fmla="*/ 17360 w 18332"/>
                  <a:gd name="connsiteY0" fmla="*/ 13363 h 18413"/>
                  <a:gd name="connsiteX1" fmla="*/ 13293 w 18332"/>
                  <a:gd name="connsiteY1" fmla="*/ 983 h 18413"/>
                  <a:gd name="connsiteX2" fmla="*/ 973 w 18332"/>
                  <a:gd name="connsiteY2" fmla="*/ 5050 h 18413"/>
                  <a:gd name="connsiteX3" fmla="*/ 5039 w 18332"/>
                  <a:gd name="connsiteY3" fmla="*/ 17430 h 18413"/>
                  <a:gd name="connsiteX4" fmla="*/ 17360 w 18332"/>
                  <a:gd name="connsiteY4" fmla="*/ 13363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13">
                    <a:moveTo>
                      <a:pt x="17360" y="13363"/>
                    </a:moveTo>
                    <a:cubicBezTo>
                      <a:pt x="19632" y="8818"/>
                      <a:pt x="17778" y="3256"/>
                      <a:pt x="13293" y="983"/>
                    </a:cubicBezTo>
                    <a:cubicBezTo>
                      <a:pt x="8747" y="-1289"/>
                      <a:pt x="3245" y="505"/>
                      <a:pt x="973" y="5050"/>
                    </a:cubicBezTo>
                    <a:cubicBezTo>
                      <a:pt x="-1300" y="9596"/>
                      <a:pt x="554" y="15158"/>
                      <a:pt x="5039" y="17430"/>
                    </a:cubicBezTo>
                    <a:cubicBezTo>
                      <a:pt x="9585" y="19703"/>
                      <a:pt x="15087" y="17909"/>
                      <a:pt x="17360" y="13363"/>
                    </a:cubicBezTo>
                    <a:close/>
                  </a:path>
                </a:pathLst>
              </a:custGeom>
              <a:grpFill/>
              <a:ln w="5978" cap="flat">
                <a:noFill/>
                <a:prstDash val="solid"/>
                <a:miter/>
              </a:ln>
            </p:spPr>
            <p:txBody>
              <a:bodyPr rtlCol="0" anchor="ctr"/>
              <a:lstStyle/>
              <a:p>
                <a:endParaRPr lang="en-GB"/>
              </a:p>
            </p:txBody>
          </p:sp>
        </p:grpSp>
        <p:grpSp>
          <p:nvGrpSpPr>
            <p:cNvPr id="998" name="Graphic 3">
              <a:extLst>
                <a:ext uri="{FF2B5EF4-FFF2-40B4-BE49-F238E27FC236}">
                  <a16:creationId xmlns:a16="http://schemas.microsoft.com/office/drawing/2014/main" id="{6E177A34-D858-4DFF-9623-D7FDA9192C6D}"/>
                </a:ext>
              </a:extLst>
            </p:cNvPr>
            <p:cNvGrpSpPr/>
            <p:nvPr/>
          </p:nvGrpSpPr>
          <p:grpSpPr>
            <a:xfrm>
              <a:off x="4189142" y="2473772"/>
              <a:ext cx="345175" cy="182858"/>
              <a:chOff x="4189142" y="2473772"/>
              <a:chExt cx="345175" cy="182858"/>
            </a:xfrm>
            <a:grpFill/>
          </p:grpSpPr>
          <p:sp>
            <p:nvSpPr>
              <p:cNvPr id="2405" name="Vrije vorm: vorm 2404">
                <a:extLst>
                  <a:ext uri="{FF2B5EF4-FFF2-40B4-BE49-F238E27FC236}">
                    <a16:creationId xmlns:a16="http://schemas.microsoft.com/office/drawing/2014/main" id="{174C4C9A-44C3-4BF9-B0E1-F1B033D0CDBF}"/>
                  </a:ext>
                </a:extLst>
              </p:cNvPr>
              <p:cNvSpPr/>
              <p:nvPr/>
            </p:nvSpPr>
            <p:spPr>
              <a:xfrm>
                <a:off x="4197230" y="2481441"/>
                <a:ext cx="328999" cy="167579"/>
              </a:xfrm>
              <a:custGeom>
                <a:avLst/>
                <a:gdLst>
                  <a:gd name="connsiteX0" fmla="*/ 328999 w 328999"/>
                  <a:gd name="connsiteY0" fmla="*/ 164829 h 167579"/>
                  <a:gd name="connsiteX1" fmla="*/ 327684 w 328999"/>
                  <a:gd name="connsiteY1" fmla="*/ 167580 h 167579"/>
                  <a:gd name="connsiteX2" fmla="*/ 0 w 328999"/>
                  <a:gd name="connsiteY2" fmla="*/ 2751 h 167579"/>
                  <a:gd name="connsiteX3" fmla="*/ 1375 w 328999"/>
                  <a:gd name="connsiteY3" fmla="*/ 0 h 167579"/>
                </a:gdLst>
                <a:ahLst/>
                <a:cxnLst>
                  <a:cxn ang="0">
                    <a:pos x="connsiteX0" y="connsiteY0"/>
                  </a:cxn>
                  <a:cxn ang="0">
                    <a:pos x="connsiteX1" y="connsiteY1"/>
                  </a:cxn>
                  <a:cxn ang="0">
                    <a:pos x="connsiteX2" y="connsiteY2"/>
                  </a:cxn>
                  <a:cxn ang="0">
                    <a:pos x="connsiteX3" y="connsiteY3"/>
                  </a:cxn>
                </a:cxnLst>
                <a:rect l="l" t="t" r="r" b="b"/>
                <a:pathLst>
                  <a:path w="328999" h="167579">
                    <a:moveTo>
                      <a:pt x="328999" y="164829"/>
                    </a:moveTo>
                    <a:lnTo>
                      <a:pt x="327684" y="167580"/>
                    </a:lnTo>
                    <a:lnTo>
                      <a:pt x="0" y="2751"/>
                    </a:lnTo>
                    <a:lnTo>
                      <a:pt x="1375" y="0"/>
                    </a:lnTo>
                    <a:close/>
                  </a:path>
                </a:pathLst>
              </a:custGeom>
              <a:grpFill/>
              <a:ln w="5978" cap="flat">
                <a:noFill/>
                <a:prstDash val="solid"/>
                <a:miter/>
              </a:ln>
            </p:spPr>
            <p:txBody>
              <a:bodyPr rtlCol="0" anchor="ctr"/>
              <a:lstStyle/>
              <a:p>
                <a:endParaRPr lang="en-GB"/>
              </a:p>
            </p:txBody>
          </p:sp>
          <p:sp>
            <p:nvSpPr>
              <p:cNvPr id="2406" name="Vrije vorm: vorm 2405">
                <a:extLst>
                  <a:ext uri="{FF2B5EF4-FFF2-40B4-BE49-F238E27FC236}">
                    <a16:creationId xmlns:a16="http://schemas.microsoft.com/office/drawing/2014/main" id="{54E12945-6320-48F9-90DF-CB3F1C5AD0BA}"/>
                  </a:ext>
                </a:extLst>
              </p:cNvPr>
              <p:cNvSpPr/>
              <p:nvPr/>
            </p:nvSpPr>
            <p:spPr>
              <a:xfrm>
                <a:off x="4189142" y="2473772"/>
                <a:ext cx="18329" cy="18459"/>
              </a:xfrm>
              <a:custGeom>
                <a:avLst/>
                <a:gdLst>
                  <a:gd name="connsiteX0" fmla="*/ 5098 w 18329"/>
                  <a:gd name="connsiteY0" fmla="*/ 17478 h 18459"/>
                  <a:gd name="connsiteX1" fmla="*/ 971 w 18329"/>
                  <a:gd name="connsiteY1" fmla="*/ 5098 h 18459"/>
                  <a:gd name="connsiteX2" fmla="*/ 13231 w 18329"/>
                  <a:gd name="connsiteY2" fmla="*/ 971 h 18459"/>
                  <a:gd name="connsiteX3" fmla="*/ 17358 w 18329"/>
                  <a:gd name="connsiteY3" fmla="*/ 13351 h 18459"/>
                  <a:gd name="connsiteX4" fmla="*/ 5098 w 18329"/>
                  <a:gd name="connsiteY4" fmla="*/ 17478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9">
                    <a:moveTo>
                      <a:pt x="5098" y="17478"/>
                    </a:moveTo>
                    <a:cubicBezTo>
                      <a:pt x="552" y="15205"/>
                      <a:pt x="-1302" y="9643"/>
                      <a:pt x="971" y="5098"/>
                    </a:cubicBezTo>
                    <a:cubicBezTo>
                      <a:pt x="3244" y="552"/>
                      <a:pt x="8746" y="-1302"/>
                      <a:pt x="13231" y="971"/>
                    </a:cubicBezTo>
                    <a:cubicBezTo>
                      <a:pt x="17777" y="3244"/>
                      <a:pt x="19631" y="8806"/>
                      <a:pt x="17358" y="13351"/>
                    </a:cubicBezTo>
                    <a:cubicBezTo>
                      <a:pt x="15145" y="17956"/>
                      <a:pt x="9643" y="19750"/>
                      <a:pt x="5098" y="17478"/>
                    </a:cubicBezTo>
                    <a:close/>
                  </a:path>
                </a:pathLst>
              </a:custGeom>
              <a:grpFill/>
              <a:ln w="5978" cap="flat">
                <a:noFill/>
                <a:prstDash val="solid"/>
                <a:miter/>
              </a:ln>
            </p:spPr>
            <p:txBody>
              <a:bodyPr rtlCol="0" anchor="ctr"/>
              <a:lstStyle/>
              <a:p>
                <a:endParaRPr lang="en-GB"/>
              </a:p>
            </p:txBody>
          </p:sp>
          <p:sp>
            <p:nvSpPr>
              <p:cNvPr id="2407" name="Vrije vorm: vorm 2406">
                <a:extLst>
                  <a:ext uri="{FF2B5EF4-FFF2-40B4-BE49-F238E27FC236}">
                    <a16:creationId xmlns:a16="http://schemas.microsoft.com/office/drawing/2014/main" id="{B5820DBD-4EF2-4BBF-9B29-B3E05929CE34}"/>
                  </a:ext>
                </a:extLst>
              </p:cNvPr>
              <p:cNvSpPr/>
              <p:nvPr/>
            </p:nvSpPr>
            <p:spPr>
              <a:xfrm>
                <a:off x="4515988" y="2638182"/>
                <a:ext cx="18329" cy="18448"/>
              </a:xfrm>
              <a:custGeom>
                <a:avLst/>
                <a:gdLst>
                  <a:gd name="connsiteX0" fmla="*/ 5098 w 18329"/>
                  <a:gd name="connsiteY0" fmla="*/ 17478 h 18448"/>
                  <a:gd name="connsiteX1" fmla="*/ 17358 w 18329"/>
                  <a:gd name="connsiteY1" fmla="*/ 13351 h 18448"/>
                  <a:gd name="connsiteX2" fmla="*/ 13231 w 18329"/>
                  <a:gd name="connsiteY2" fmla="*/ 971 h 18448"/>
                  <a:gd name="connsiteX3" fmla="*/ 971 w 18329"/>
                  <a:gd name="connsiteY3" fmla="*/ 5098 h 18448"/>
                  <a:gd name="connsiteX4" fmla="*/ 5098 w 18329"/>
                  <a:gd name="connsiteY4" fmla="*/ 174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8">
                    <a:moveTo>
                      <a:pt x="5098" y="17478"/>
                    </a:moveTo>
                    <a:cubicBezTo>
                      <a:pt x="9643" y="19750"/>
                      <a:pt x="15145" y="17896"/>
                      <a:pt x="17358" y="13351"/>
                    </a:cubicBezTo>
                    <a:cubicBezTo>
                      <a:pt x="19631" y="8806"/>
                      <a:pt x="17777" y="3244"/>
                      <a:pt x="13231" y="971"/>
                    </a:cubicBezTo>
                    <a:cubicBezTo>
                      <a:pt x="8686" y="-1302"/>
                      <a:pt x="3184" y="552"/>
                      <a:pt x="971" y="5098"/>
                    </a:cubicBezTo>
                    <a:cubicBezTo>
                      <a:pt x="-1302" y="9703"/>
                      <a:pt x="552" y="15205"/>
                      <a:pt x="5098" y="17478"/>
                    </a:cubicBezTo>
                    <a:close/>
                  </a:path>
                </a:pathLst>
              </a:custGeom>
              <a:grpFill/>
              <a:ln w="5978" cap="flat">
                <a:noFill/>
                <a:prstDash val="solid"/>
                <a:miter/>
              </a:ln>
            </p:spPr>
            <p:txBody>
              <a:bodyPr rtlCol="0" anchor="ctr"/>
              <a:lstStyle/>
              <a:p>
                <a:endParaRPr lang="en-GB"/>
              </a:p>
            </p:txBody>
          </p:sp>
        </p:grpSp>
        <p:grpSp>
          <p:nvGrpSpPr>
            <p:cNvPr id="999" name="Graphic 3">
              <a:extLst>
                <a:ext uri="{FF2B5EF4-FFF2-40B4-BE49-F238E27FC236}">
                  <a16:creationId xmlns:a16="http://schemas.microsoft.com/office/drawing/2014/main" id="{9EDE509C-BD39-450B-BC96-BCABF38AB795}"/>
                </a:ext>
              </a:extLst>
            </p:cNvPr>
            <p:cNvGrpSpPr/>
            <p:nvPr/>
          </p:nvGrpSpPr>
          <p:grpSpPr>
            <a:xfrm>
              <a:off x="5145594" y="4950941"/>
              <a:ext cx="109898" cy="193117"/>
              <a:chOff x="5145594" y="4950941"/>
              <a:chExt cx="109898" cy="193117"/>
            </a:xfrm>
            <a:grpFill/>
          </p:grpSpPr>
          <p:sp>
            <p:nvSpPr>
              <p:cNvPr id="2402" name="Vrije vorm: vorm 2401">
                <a:extLst>
                  <a:ext uri="{FF2B5EF4-FFF2-40B4-BE49-F238E27FC236}">
                    <a16:creationId xmlns:a16="http://schemas.microsoft.com/office/drawing/2014/main" id="{F8FD298F-ADBC-4249-9FBE-2C8231F69BB8}"/>
                  </a:ext>
                </a:extLst>
              </p:cNvPr>
              <p:cNvSpPr/>
              <p:nvPr/>
            </p:nvSpPr>
            <p:spPr>
              <a:xfrm>
                <a:off x="5153189" y="4959015"/>
                <a:ext cx="94674" cy="176909"/>
              </a:xfrm>
              <a:custGeom>
                <a:avLst/>
                <a:gdLst>
                  <a:gd name="connsiteX0" fmla="*/ 94675 w 94674"/>
                  <a:gd name="connsiteY0" fmla="*/ 1435 h 176909"/>
                  <a:gd name="connsiteX1" fmla="*/ 2691 w 94674"/>
                  <a:gd name="connsiteY1" fmla="*/ 176909 h 176909"/>
                  <a:gd name="connsiteX2" fmla="*/ 0 w 94674"/>
                  <a:gd name="connsiteY2" fmla="*/ 175474 h 176909"/>
                  <a:gd name="connsiteX3" fmla="*/ 91984 w 94674"/>
                  <a:gd name="connsiteY3" fmla="*/ 0 h 176909"/>
                </a:gdLst>
                <a:ahLst/>
                <a:cxnLst>
                  <a:cxn ang="0">
                    <a:pos x="connsiteX0" y="connsiteY0"/>
                  </a:cxn>
                  <a:cxn ang="0">
                    <a:pos x="connsiteX1" y="connsiteY1"/>
                  </a:cxn>
                  <a:cxn ang="0">
                    <a:pos x="connsiteX2" y="connsiteY2"/>
                  </a:cxn>
                  <a:cxn ang="0">
                    <a:pos x="connsiteX3" y="connsiteY3"/>
                  </a:cxn>
                </a:cxnLst>
                <a:rect l="l" t="t" r="r" b="b"/>
                <a:pathLst>
                  <a:path w="94674" h="176909">
                    <a:moveTo>
                      <a:pt x="94675" y="1435"/>
                    </a:moveTo>
                    <a:lnTo>
                      <a:pt x="2691" y="176909"/>
                    </a:lnTo>
                    <a:lnTo>
                      <a:pt x="0" y="175474"/>
                    </a:lnTo>
                    <a:lnTo>
                      <a:pt x="91984" y="0"/>
                    </a:lnTo>
                    <a:close/>
                  </a:path>
                </a:pathLst>
              </a:custGeom>
              <a:grpFill/>
              <a:ln w="5978" cap="flat">
                <a:noFill/>
                <a:prstDash val="solid"/>
                <a:miter/>
              </a:ln>
            </p:spPr>
            <p:txBody>
              <a:bodyPr rtlCol="0" anchor="ctr"/>
              <a:lstStyle/>
              <a:p>
                <a:endParaRPr lang="en-GB"/>
              </a:p>
            </p:txBody>
          </p:sp>
          <p:sp>
            <p:nvSpPr>
              <p:cNvPr id="2403" name="Vrije vorm: vorm 2402">
                <a:extLst>
                  <a:ext uri="{FF2B5EF4-FFF2-40B4-BE49-F238E27FC236}">
                    <a16:creationId xmlns:a16="http://schemas.microsoft.com/office/drawing/2014/main" id="{EAF9B2E6-1F0F-4230-82EE-8CEC2666E4FB}"/>
                  </a:ext>
                </a:extLst>
              </p:cNvPr>
              <p:cNvSpPr/>
              <p:nvPr/>
            </p:nvSpPr>
            <p:spPr>
              <a:xfrm>
                <a:off x="5145594" y="5125638"/>
                <a:ext cx="18322" cy="18420"/>
              </a:xfrm>
              <a:custGeom>
                <a:avLst/>
                <a:gdLst>
                  <a:gd name="connsiteX0" fmla="*/ 17284 w 18322"/>
                  <a:gd name="connsiteY0" fmla="*/ 13516 h 18420"/>
                  <a:gd name="connsiteX1" fmla="*/ 4904 w 18322"/>
                  <a:gd name="connsiteY1" fmla="*/ 17344 h 18420"/>
                  <a:gd name="connsiteX2" fmla="*/ 1076 w 18322"/>
                  <a:gd name="connsiteY2" fmla="*/ 4904 h 18420"/>
                  <a:gd name="connsiteX3" fmla="*/ 13456 w 18322"/>
                  <a:gd name="connsiteY3" fmla="*/ 1076 h 18420"/>
                  <a:gd name="connsiteX4" fmla="*/ 17284 w 18322"/>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0">
                    <a:moveTo>
                      <a:pt x="17284" y="13516"/>
                    </a:moveTo>
                    <a:cubicBezTo>
                      <a:pt x="14951" y="18002"/>
                      <a:pt x="9389" y="19736"/>
                      <a:pt x="4904" y="17344"/>
                    </a:cubicBezTo>
                    <a:cubicBezTo>
                      <a:pt x="418" y="14952"/>
                      <a:pt x="-1316" y="9390"/>
                      <a:pt x="1076" y="4904"/>
                    </a:cubicBezTo>
                    <a:cubicBezTo>
                      <a:pt x="3409" y="419"/>
                      <a:pt x="8971" y="-1316"/>
                      <a:pt x="13456" y="1076"/>
                    </a:cubicBezTo>
                    <a:cubicBezTo>
                      <a:pt x="17882" y="3409"/>
                      <a:pt x="19617" y="8971"/>
                      <a:pt x="17284" y="13516"/>
                    </a:cubicBezTo>
                    <a:close/>
                  </a:path>
                </a:pathLst>
              </a:custGeom>
              <a:grpFill/>
              <a:ln w="5978" cap="flat">
                <a:noFill/>
                <a:prstDash val="solid"/>
                <a:miter/>
              </a:ln>
            </p:spPr>
            <p:txBody>
              <a:bodyPr rtlCol="0" anchor="ctr"/>
              <a:lstStyle/>
              <a:p>
                <a:endParaRPr lang="en-GB"/>
              </a:p>
            </p:txBody>
          </p:sp>
          <p:sp>
            <p:nvSpPr>
              <p:cNvPr id="2404" name="Vrije vorm: vorm 2403">
                <a:extLst>
                  <a:ext uri="{FF2B5EF4-FFF2-40B4-BE49-F238E27FC236}">
                    <a16:creationId xmlns:a16="http://schemas.microsoft.com/office/drawing/2014/main" id="{E9EF63AC-1D1D-4A54-B273-8DA1EAEB37DE}"/>
                  </a:ext>
                </a:extLst>
              </p:cNvPr>
              <p:cNvSpPr/>
              <p:nvPr/>
            </p:nvSpPr>
            <p:spPr>
              <a:xfrm>
                <a:off x="5237185" y="4950941"/>
                <a:ext cx="18307" cy="18420"/>
              </a:xfrm>
              <a:custGeom>
                <a:avLst/>
                <a:gdLst>
                  <a:gd name="connsiteX0" fmla="*/ 17258 w 18307"/>
                  <a:gd name="connsiteY0" fmla="*/ 13516 h 18420"/>
                  <a:gd name="connsiteX1" fmla="*/ 13430 w 18307"/>
                  <a:gd name="connsiteY1" fmla="*/ 1076 h 18420"/>
                  <a:gd name="connsiteX2" fmla="*/ 1050 w 18307"/>
                  <a:gd name="connsiteY2" fmla="*/ 4904 h 18420"/>
                  <a:gd name="connsiteX3" fmla="*/ 4877 w 18307"/>
                  <a:gd name="connsiteY3" fmla="*/ 17344 h 18420"/>
                  <a:gd name="connsiteX4" fmla="*/ 17258 w 18307"/>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20">
                    <a:moveTo>
                      <a:pt x="17258" y="13516"/>
                    </a:moveTo>
                    <a:cubicBezTo>
                      <a:pt x="19590" y="9031"/>
                      <a:pt x="17915" y="3469"/>
                      <a:pt x="13430" y="1076"/>
                    </a:cubicBezTo>
                    <a:cubicBezTo>
                      <a:pt x="8944" y="-1316"/>
                      <a:pt x="3382" y="418"/>
                      <a:pt x="1050" y="4904"/>
                    </a:cubicBezTo>
                    <a:cubicBezTo>
                      <a:pt x="-1283" y="9389"/>
                      <a:pt x="392" y="14952"/>
                      <a:pt x="4877" y="17344"/>
                    </a:cubicBezTo>
                    <a:cubicBezTo>
                      <a:pt x="9363" y="19736"/>
                      <a:pt x="14865" y="18002"/>
                      <a:pt x="17258" y="13516"/>
                    </a:cubicBezTo>
                    <a:close/>
                  </a:path>
                </a:pathLst>
              </a:custGeom>
              <a:grpFill/>
              <a:ln w="5978" cap="flat">
                <a:noFill/>
                <a:prstDash val="solid"/>
                <a:miter/>
              </a:ln>
            </p:spPr>
            <p:txBody>
              <a:bodyPr rtlCol="0" anchor="ctr"/>
              <a:lstStyle/>
              <a:p>
                <a:endParaRPr lang="en-GB"/>
              </a:p>
            </p:txBody>
          </p:sp>
        </p:grpSp>
        <p:grpSp>
          <p:nvGrpSpPr>
            <p:cNvPr id="1000" name="Graphic 3">
              <a:extLst>
                <a:ext uri="{FF2B5EF4-FFF2-40B4-BE49-F238E27FC236}">
                  <a16:creationId xmlns:a16="http://schemas.microsoft.com/office/drawing/2014/main" id="{9DDF3DCB-823B-4F41-9C63-8EC3F8CA913B}"/>
                </a:ext>
              </a:extLst>
            </p:cNvPr>
            <p:cNvGrpSpPr/>
            <p:nvPr/>
          </p:nvGrpSpPr>
          <p:grpSpPr>
            <a:xfrm>
              <a:off x="5170520" y="5024063"/>
              <a:ext cx="121971" cy="235566"/>
              <a:chOff x="5170520" y="5024063"/>
              <a:chExt cx="121971" cy="235566"/>
            </a:xfrm>
            <a:grpFill/>
          </p:grpSpPr>
          <p:sp>
            <p:nvSpPr>
              <p:cNvPr id="2399" name="Vrije vorm: vorm 2398">
                <a:extLst>
                  <a:ext uri="{FF2B5EF4-FFF2-40B4-BE49-F238E27FC236}">
                    <a16:creationId xmlns:a16="http://schemas.microsoft.com/office/drawing/2014/main" id="{431DDF33-BE4E-42D4-95D5-FC5D3C5F84D7}"/>
                  </a:ext>
                </a:extLst>
              </p:cNvPr>
              <p:cNvSpPr/>
              <p:nvPr/>
            </p:nvSpPr>
            <p:spPr>
              <a:xfrm>
                <a:off x="5178069" y="5032219"/>
                <a:ext cx="106875" cy="219253"/>
              </a:xfrm>
              <a:custGeom>
                <a:avLst/>
                <a:gdLst>
                  <a:gd name="connsiteX0" fmla="*/ 106875 w 106875"/>
                  <a:gd name="connsiteY0" fmla="*/ 1375 h 219253"/>
                  <a:gd name="connsiteX1" fmla="*/ 2751 w 106875"/>
                  <a:gd name="connsiteY1" fmla="*/ 219253 h 219253"/>
                  <a:gd name="connsiteX2" fmla="*/ 0 w 106875"/>
                  <a:gd name="connsiteY2" fmla="*/ 217938 h 219253"/>
                  <a:gd name="connsiteX3" fmla="*/ 104124 w 106875"/>
                  <a:gd name="connsiteY3" fmla="*/ 0 h 219253"/>
                </a:gdLst>
                <a:ahLst/>
                <a:cxnLst>
                  <a:cxn ang="0">
                    <a:pos x="connsiteX0" y="connsiteY0"/>
                  </a:cxn>
                  <a:cxn ang="0">
                    <a:pos x="connsiteX1" y="connsiteY1"/>
                  </a:cxn>
                  <a:cxn ang="0">
                    <a:pos x="connsiteX2" y="connsiteY2"/>
                  </a:cxn>
                  <a:cxn ang="0">
                    <a:pos x="connsiteX3" y="connsiteY3"/>
                  </a:cxn>
                </a:cxnLst>
                <a:rect l="l" t="t" r="r" b="b"/>
                <a:pathLst>
                  <a:path w="106875" h="219253">
                    <a:moveTo>
                      <a:pt x="106875" y="1375"/>
                    </a:moveTo>
                    <a:lnTo>
                      <a:pt x="2751" y="219253"/>
                    </a:lnTo>
                    <a:lnTo>
                      <a:pt x="0" y="217938"/>
                    </a:lnTo>
                    <a:lnTo>
                      <a:pt x="104124" y="0"/>
                    </a:lnTo>
                    <a:close/>
                  </a:path>
                </a:pathLst>
              </a:custGeom>
              <a:grpFill/>
              <a:ln w="5978" cap="flat">
                <a:noFill/>
                <a:prstDash val="solid"/>
                <a:miter/>
              </a:ln>
            </p:spPr>
            <p:txBody>
              <a:bodyPr rtlCol="0" anchor="ctr"/>
              <a:lstStyle/>
              <a:p>
                <a:endParaRPr lang="en-GB"/>
              </a:p>
            </p:txBody>
          </p:sp>
          <p:sp>
            <p:nvSpPr>
              <p:cNvPr id="2400" name="Vrije vorm: vorm 2399">
                <a:extLst>
                  <a:ext uri="{FF2B5EF4-FFF2-40B4-BE49-F238E27FC236}">
                    <a16:creationId xmlns:a16="http://schemas.microsoft.com/office/drawing/2014/main" id="{B6FE22A9-B9C7-4309-BDF0-D05F02540175}"/>
                  </a:ext>
                </a:extLst>
              </p:cNvPr>
              <p:cNvSpPr/>
              <p:nvPr/>
            </p:nvSpPr>
            <p:spPr>
              <a:xfrm>
                <a:off x="5170520" y="5241163"/>
                <a:ext cx="18326" cy="18466"/>
              </a:xfrm>
              <a:custGeom>
                <a:avLst/>
                <a:gdLst>
                  <a:gd name="connsiteX0" fmla="*/ 17416 w 18326"/>
                  <a:gd name="connsiteY0" fmla="*/ 13240 h 18466"/>
                  <a:gd name="connsiteX1" fmla="*/ 5216 w 18326"/>
                  <a:gd name="connsiteY1" fmla="*/ 17546 h 18466"/>
                  <a:gd name="connsiteX2" fmla="*/ 910 w 18326"/>
                  <a:gd name="connsiteY2" fmla="*/ 5226 h 18466"/>
                  <a:gd name="connsiteX3" fmla="*/ 13110 w 18326"/>
                  <a:gd name="connsiteY3" fmla="*/ 920 h 18466"/>
                  <a:gd name="connsiteX4" fmla="*/ 17416 w 18326"/>
                  <a:gd name="connsiteY4" fmla="*/ 13240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66">
                    <a:moveTo>
                      <a:pt x="17416" y="13240"/>
                    </a:moveTo>
                    <a:cubicBezTo>
                      <a:pt x="15204" y="17845"/>
                      <a:pt x="9761" y="19759"/>
                      <a:pt x="5216" y="17546"/>
                    </a:cubicBezTo>
                    <a:cubicBezTo>
                      <a:pt x="670" y="15333"/>
                      <a:pt x="-1303" y="9831"/>
                      <a:pt x="910" y="5226"/>
                    </a:cubicBezTo>
                    <a:cubicBezTo>
                      <a:pt x="3122" y="621"/>
                      <a:pt x="8565" y="-1293"/>
                      <a:pt x="13110" y="920"/>
                    </a:cubicBezTo>
                    <a:cubicBezTo>
                      <a:pt x="17656" y="3192"/>
                      <a:pt x="19629" y="8695"/>
                      <a:pt x="17416" y="13240"/>
                    </a:cubicBezTo>
                    <a:close/>
                  </a:path>
                </a:pathLst>
              </a:custGeom>
              <a:grpFill/>
              <a:ln w="5978" cap="flat">
                <a:noFill/>
                <a:prstDash val="solid"/>
                <a:miter/>
              </a:ln>
            </p:spPr>
            <p:txBody>
              <a:bodyPr rtlCol="0" anchor="ctr"/>
              <a:lstStyle/>
              <a:p>
                <a:endParaRPr lang="en-GB"/>
              </a:p>
            </p:txBody>
          </p:sp>
          <p:sp>
            <p:nvSpPr>
              <p:cNvPr id="2401" name="Vrije vorm: vorm 2400">
                <a:extLst>
                  <a:ext uri="{FF2B5EF4-FFF2-40B4-BE49-F238E27FC236}">
                    <a16:creationId xmlns:a16="http://schemas.microsoft.com/office/drawing/2014/main" id="{A0EC90F7-404D-452E-A24A-25A12A20B852}"/>
                  </a:ext>
                </a:extLst>
              </p:cNvPr>
              <p:cNvSpPr/>
              <p:nvPr/>
            </p:nvSpPr>
            <p:spPr>
              <a:xfrm>
                <a:off x="5274166" y="5024063"/>
                <a:ext cx="18325" cy="18466"/>
              </a:xfrm>
              <a:custGeom>
                <a:avLst/>
                <a:gdLst>
                  <a:gd name="connsiteX0" fmla="*/ 17416 w 18325"/>
                  <a:gd name="connsiteY0" fmla="*/ 13240 h 18466"/>
                  <a:gd name="connsiteX1" fmla="*/ 13110 w 18325"/>
                  <a:gd name="connsiteY1" fmla="*/ 920 h 18466"/>
                  <a:gd name="connsiteX2" fmla="*/ 910 w 18325"/>
                  <a:gd name="connsiteY2" fmla="*/ 5226 h 18466"/>
                  <a:gd name="connsiteX3" fmla="*/ 5216 w 18325"/>
                  <a:gd name="connsiteY3" fmla="*/ 17546 h 18466"/>
                  <a:gd name="connsiteX4" fmla="*/ 17416 w 18325"/>
                  <a:gd name="connsiteY4" fmla="*/ 13240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6">
                    <a:moveTo>
                      <a:pt x="17416" y="13240"/>
                    </a:moveTo>
                    <a:cubicBezTo>
                      <a:pt x="19629" y="8635"/>
                      <a:pt x="17656" y="3133"/>
                      <a:pt x="13110" y="920"/>
                    </a:cubicBezTo>
                    <a:cubicBezTo>
                      <a:pt x="8565" y="-1293"/>
                      <a:pt x="3063" y="621"/>
                      <a:pt x="910" y="5226"/>
                    </a:cubicBezTo>
                    <a:cubicBezTo>
                      <a:pt x="-1303" y="9831"/>
                      <a:pt x="670" y="15333"/>
                      <a:pt x="5216" y="17546"/>
                    </a:cubicBezTo>
                    <a:cubicBezTo>
                      <a:pt x="9761" y="19759"/>
                      <a:pt x="15263" y="17845"/>
                      <a:pt x="17416" y="13240"/>
                    </a:cubicBezTo>
                    <a:close/>
                  </a:path>
                </a:pathLst>
              </a:custGeom>
              <a:grpFill/>
              <a:ln w="5978" cap="flat">
                <a:noFill/>
                <a:prstDash val="solid"/>
                <a:miter/>
              </a:ln>
            </p:spPr>
            <p:txBody>
              <a:bodyPr rtlCol="0" anchor="ctr"/>
              <a:lstStyle/>
              <a:p>
                <a:endParaRPr lang="en-GB"/>
              </a:p>
            </p:txBody>
          </p:sp>
        </p:grpSp>
        <p:grpSp>
          <p:nvGrpSpPr>
            <p:cNvPr id="1001" name="Graphic 3">
              <a:extLst>
                <a:ext uri="{FF2B5EF4-FFF2-40B4-BE49-F238E27FC236}">
                  <a16:creationId xmlns:a16="http://schemas.microsoft.com/office/drawing/2014/main" id="{039060D9-2EC6-460A-A459-77F7E6F60EB8}"/>
                </a:ext>
              </a:extLst>
            </p:cNvPr>
            <p:cNvGrpSpPr/>
            <p:nvPr/>
          </p:nvGrpSpPr>
          <p:grpSpPr>
            <a:xfrm>
              <a:off x="4268570" y="2595362"/>
              <a:ext cx="242863" cy="121048"/>
              <a:chOff x="4268570" y="2595362"/>
              <a:chExt cx="242863" cy="121048"/>
            </a:xfrm>
            <a:grpFill/>
          </p:grpSpPr>
          <p:sp>
            <p:nvSpPr>
              <p:cNvPr id="2396" name="Vrije vorm: vorm 2395">
                <a:extLst>
                  <a:ext uri="{FF2B5EF4-FFF2-40B4-BE49-F238E27FC236}">
                    <a16:creationId xmlns:a16="http://schemas.microsoft.com/office/drawing/2014/main" id="{B68FD916-CC12-4088-87DC-BF7748BC4D05}"/>
                  </a:ext>
                </a:extLst>
              </p:cNvPr>
              <p:cNvSpPr/>
              <p:nvPr/>
            </p:nvSpPr>
            <p:spPr>
              <a:xfrm>
                <a:off x="4276714" y="2602970"/>
                <a:ext cx="226549" cy="105798"/>
              </a:xfrm>
              <a:custGeom>
                <a:avLst/>
                <a:gdLst>
                  <a:gd name="connsiteX0" fmla="*/ 226550 w 226549"/>
                  <a:gd name="connsiteY0" fmla="*/ 103048 h 105798"/>
                  <a:gd name="connsiteX1" fmla="*/ 225294 w 226549"/>
                  <a:gd name="connsiteY1" fmla="*/ 105799 h 105798"/>
                  <a:gd name="connsiteX2" fmla="*/ 0 w 226549"/>
                  <a:gd name="connsiteY2" fmla="*/ 2811 h 105798"/>
                  <a:gd name="connsiteX3" fmla="*/ 1256 w 226549"/>
                  <a:gd name="connsiteY3" fmla="*/ 0 h 105798"/>
                </a:gdLst>
                <a:ahLst/>
                <a:cxnLst>
                  <a:cxn ang="0">
                    <a:pos x="connsiteX0" y="connsiteY0"/>
                  </a:cxn>
                  <a:cxn ang="0">
                    <a:pos x="connsiteX1" y="connsiteY1"/>
                  </a:cxn>
                  <a:cxn ang="0">
                    <a:pos x="connsiteX2" y="connsiteY2"/>
                  </a:cxn>
                  <a:cxn ang="0">
                    <a:pos x="connsiteX3" y="connsiteY3"/>
                  </a:cxn>
                </a:cxnLst>
                <a:rect l="l" t="t" r="r" b="b"/>
                <a:pathLst>
                  <a:path w="226549" h="105798">
                    <a:moveTo>
                      <a:pt x="226550" y="103048"/>
                    </a:moveTo>
                    <a:lnTo>
                      <a:pt x="225294" y="105799"/>
                    </a:lnTo>
                    <a:lnTo>
                      <a:pt x="0" y="2811"/>
                    </a:lnTo>
                    <a:lnTo>
                      <a:pt x="1256" y="0"/>
                    </a:lnTo>
                    <a:close/>
                  </a:path>
                </a:pathLst>
              </a:custGeom>
              <a:grpFill/>
              <a:ln w="5978" cap="flat">
                <a:noFill/>
                <a:prstDash val="solid"/>
                <a:miter/>
              </a:ln>
            </p:spPr>
            <p:txBody>
              <a:bodyPr rtlCol="0" anchor="ctr"/>
              <a:lstStyle/>
              <a:p>
                <a:endParaRPr lang="en-GB"/>
              </a:p>
            </p:txBody>
          </p:sp>
          <p:sp>
            <p:nvSpPr>
              <p:cNvPr id="2397" name="Vrije vorm: vorm 2396">
                <a:extLst>
                  <a:ext uri="{FF2B5EF4-FFF2-40B4-BE49-F238E27FC236}">
                    <a16:creationId xmlns:a16="http://schemas.microsoft.com/office/drawing/2014/main" id="{FA9F3FC6-D39E-4770-8085-ED99D2E3C393}"/>
                  </a:ext>
                </a:extLst>
              </p:cNvPr>
              <p:cNvSpPr/>
              <p:nvPr/>
            </p:nvSpPr>
            <p:spPr>
              <a:xfrm>
                <a:off x="4268570" y="2595362"/>
                <a:ext cx="18346" cy="18419"/>
              </a:xfrm>
              <a:custGeom>
                <a:avLst/>
                <a:gdLst>
                  <a:gd name="connsiteX0" fmla="*/ 5393 w 18346"/>
                  <a:gd name="connsiteY0" fmla="*/ 17595 h 18419"/>
                  <a:gd name="connsiteX1" fmla="*/ 788 w 18346"/>
                  <a:gd name="connsiteY1" fmla="*/ 5395 h 18419"/>
                  <a:gd name="connsiteX2" fmla="*/ 12928 w 18346"/>
                  <a:gd name="connsiteY2" fmla="*/ 850 h 18419"/>
                  <a:gd name="connsiteX3" fmla="*/ 17534 w 18346"/>
                  <a:gd name="connsiteY3" fmla="*/ 13050 h 18419"/>
                  <a:gd name="connsiteX4" fmla="*/ 5393 w 18346"/>
                  <a:gd name="connsiteY4" fmla="*/ 17595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9">
                    <a:moveTo>
                      <a:pt x="5393" y="17595"/>
                    </a:moveTo>
                    <a:cubicBezTo>
                      <a:pt x="788" y="15502"/>
                      <a:pt x="-1246" y="10000"/>
                      <a:pt x="788" y="5395"/>
                    </a:cubicBezTo>
                    <a:cubicBezTo>
                      <a:pt x="2881" y="790"/>
                      <a:pt x="8264" y="-1304"/>
                      <a:pt x="12928" y="850"/>
                    </a:cubicBezTo>
                    <a:cubicBezTo>
                      <a:pt x="17534" y="2943"/>
                      <a:pt x="19627" y="8445"/>
                      <a:pt x="17534" y="13050"/>
                    </a:cubicBezTo>
                    <a:cubicBezTo>
                      <a:pt x="15440" y="17655"/>
                      <a:pt x="10058" y="19689"/>
                      <a:pt x="5393" y="17595"/>
                    </a:cubicBezTo>
                    <a:close/>
                  </a:path>
                </a:pathLst>
              </a:custGeom>
              <a:grpFill/>
              <a:ln w="5978" cap="flat">
                <a:noFill/>
                <a:prstDash val="solid"/>
                <a:miter/>
              </a:ln>
            </p:spPr>
            <p:txBody>
              <a:bodyPr rtlCol="0" anchor="ctr"/>
              <a:lstStyle/>
              <a:p>
                <a:endParaRPr lang="en-GB"/>
              </a:p>
            </p:txBody>
          </p:sp>
          <p:sp>
            <p:nvSpPr>
              <p:cNvPr id="2398" name="Vrije vorm: vorm 2397">
                <a:extLst>
                  <a:ext uri="{FF2B5EF4-FFF2-40B4-BE49-F238E27FC236}">
                    <a16:creationId xmlns:a16="http://schemas.microsoft.com/office/drawing/2014/main" id="{5AF1E797-4971-4A60-A732-63C8ED781FD4}"/>
                  </a:ext>
                </a:extLst>
              </p:cNvPr>
              <p:cNvSpPr/>
              <p:nvPr/>
            </p:nvSpPr>
            <p:spPr>
              <a:xfrm>
                <a:off x="4493061" y="2698017"/>
                <a:ext cx="18372" cy="18393"/>
              </a:xfrm>
              <a:custGeom>
                <a:avLst/>
                <a:gdLst>
                  <a:gd name="connsiteX0" fmla="*/ 5419 w 18372"/>
                  <a:gd name="connsiteY0" fmla="*/ 17570 h 18393"/>
                  <a:gd name="connsiteX1" fmla="*/ 17559 w 18372"/>
                  <a:gd name="connsiteY1" fmla="*/ 13024 h 18393"/>
                  <a:gd name="connsiteX2" fmla="*/ 12954 w 18372"/>
                  <a:gd name="connsiteY2" fmla="*/ 824 h 18393"/>
                  <a:gd name="connsiteX3" fmla="*/ 813 w 18372"/>
                  <a:gd name="connsiteY3" fmla="*/ 5369 h 18393"/>
                  <a:gd name="connsiteX4" fmla="*/ 5419 w 18372"/>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393">
                    <a:moveTo>
                      <a:pt x="5419" y="17570"/>
                    </a:moveTo>
                    <a:cubicBezTo>
                      <a:pt x="10023" y="19663"/>
                      <a:pt x="15466" y="17630"/>
                      <a:pt x="17559" y="13024"/>
                    </a:cubicBezTo>
                    <a:cubicBezTo>
                      <a:pt x="19653" y="8419"/>
                      <a:pt x="17559" y="2917"/>
                      <a:pt x="12954" y="824"/>
                    </a:cubicBezTo>
                    <a:cubicBezTo>
                      <a:pt x="8349" y="-1269"/>
                      <a:pt x="2906" y="764"/>
                      <a:pt x="813" y="5369"/>
                    </a:cubicBezTo>
                    <a:cubicBezTo>
                      <a:pt x="-1280" y="9974"/>
                      <a:pt x="813" y="15417"/>
                      <a:pt x="5419" y="17570"/>
                    </a:cubicBezTo>
                    <a:close/>
                  </a:path>
                </a:pathLst>
              </a:custGeom>
              <a:grpFill/>
              <a:ln w="5978" cap="flat">
                <a:noFill/>
                <a:prstDash val="solid"/>
                <a:miter/>
              </a:ln>
            </p:spPr>
            <p:txBody>
              <a:bodyPr rtlCol="0" anchor="ctr"/>
              <a:lstStyle/>
              <a:p>
                <a:endParaRPr lang="en-GB"/>
              </a:p>
            </p:txBody>
          </p:sp>
        </p:grpSp>
        <p:grpSp>
          <p:nvGrpSpPr>
            <p:cNvPr id="1002" name="Graphic 3">
              <a:extLst>
                <a:ext uri="{FF2B5EF4-FFF2-40B4-BE49-F238E27FC236}">
                  <a16:creationId xmlns:a16="http://schemas.microsoft.com/office/drawing/2014/main" id="{ABBB5613-C51C-4B03-95FF-647995F7EA2A}"/>
                </a:ext>
              </a:extLst>
            </p:cNvPr>
            <p:cNvGrpSpPr/>
            <p:nvPr/>
          </p:nvGrpSpPr>
          <p:grpSpPr>
            <a:xfrm>
              <a:off x="4330706" y="2545051"/>
              <a:ext cx="27659" cy="23124"/>
              <a:chOff x="4330706" y="2545051"/>
              <a:chExt cx="27659" cy="23124"/>
            </a:xfrm>
            <a:grpFill/>
          </p:grpSpPr>
          <p:sp>
            <p:nvSpPr>
              <p:cNvPr id="2394" name="Vrije vorm: vorm 2393">
                <a:extLst>
                  <a:ext uri="{FF2B5EF4-FFF2-40B4-BE49-F238E27FC236}">
                    <a16:creationId xmlns:a16="http://schemas.microsoft.com/office/drawing/2014/main" id="{CFF1C715-6454-4F9E-A2BC-398B6A71F642}"/>
                  </a:ext>
                </a:extLst>
              </p:cNvPr>
              <p:cNvSpPr/>
              <p:nvPr/>
            </p:nvSpPr>
            <p:spPr>
              <a:xfrm>
                <a:off x="4330706" y="2545051"/>
                <a:ext cx="18329" cy="18459"/>
              </a:xfrm>
              <a:custGeom>
                <a:avLst/>
                <a:gdLst>
                  <a:gd name="connsiteX0" fmla="*/ 13231 w 18329"/>
                  <a:gd name="connsiteY0" fmla="*/ 982 h 18459"/>
                  <a:gd name="connsiteX1" fmla="*/ 17358 w 18329"/>
                  <a:gd name="connsiteY1" fmla="*/ 13362 h 18459"/>
                  <a:gd name="connsiteX2" fmla="*/ 5098 w 18329"/>
                  <a:gd name="connsiteY2" fmla="*/ 17489 h 18459"/>
                  <a:gd name="connsiteX3" fmla="*/ 971 w 18329"/>
                  <a:gd name="connsiteY3" fmla="*/ 5109 h 18459"/>
                  <a:gd name="connsiteX4" fmla="*/ 13231 w 18329"/>
                  <a:gd name="connsiteY4" fmla="*/ 982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9">
                    <a:moveTo>
                      <a:pt x="13231" y="982"/>
                    </a:moveTo>
                    <a:cubicBezTo>
                      <a:pt x="17777" y="3255"/>
                      <a:pt x="19631" y="8817"/>
                      <a:pt x="17358" y="13362"/>
                    </a:cubicBezTo>
                    <a:cubicBezTo>
                      <a:pt x="15086" y="17907"/>
                      <a:pt x="9583" y="19761"/>
                      <a:pt x="5098" y="17489"/>
                    </a:cubicBezTo>
                    <a:cubicBezTo>
                      <a:pt x="552" y="15216"/>
                      <a:pt x="-1302" y="9654"/>
                      <a:pt x="971" y="5109"/>
                    </a:cubicBezTo>
                    <a:cubicBezTo>
                      <a:pt x="3244" y="503"/>
                      <a:pt x="8746" y="-1291"/>
                      <a:pt x="13231" y="982"/>
                    </a:cubicBezTo>
                    <a:close/>
                  </a:path>
                </a:pathLst>
              </a:custGeom>
              <a:grpFill/>
              <a:ln w="5978" cap="flat">
                <a:noFill/>
                <a:prstDash val="solid"/>
                <a:miter/>
              </a:ln>
            </p:spPr>
            <p:txBody>
              <a:bodyPr rtlCol="0" anchor="ctr"/>
              <a:lstStyle/>
              <a:p>
                <a:endParaRPr lang="en-GB"/>
              </a:p>
            </p:txBody>
          </p:sp>
          <p:sp>
            <p:nvSpPr>
              <p:cNvPr id="2395" name="Vrije vorm: vorm 2394">
                <a:extLst>
                  <a:ext uri="{FF2B5EF4-FFF2-40B4-BE49-F238E27FC236}">
                    <a16:creationId xmlns:a16="http://schemas.microsoft.com/office/drawing/2014/main" id="{B100C6FC-CBBC-4A07-8E1D-DD533A4F8FD1}"/>
                  </a:ext>
                </a:extLst>
              </p:cNvPr>
              <p:cNvSpPr/>
              <p:nvPr/>
            </p:nvSpPr>
            <p:spPr>
              <a:xfrm>
                <a:off x="4340036" y="2549727"/>
                <a:ext cx="18329" cy="18449"/>
              </a:xfrm>
              <a:custGeom>
                <a:avLst/>
                <a:gdLst>
                  <a:gd name="connsiteX0" fmla="*/ 13231 w 18329"/>
                  <a:gd name="connsiteY0" fmla="*/ 971 h 18449"/>
                  <a:gd name="connsiteX1" fmla="*/ 971 w 18329"/>
                  <a:gd name="connsiteY1" fmla="*/ 5098 h 18449"/>
                  <a:gd name="connsiteX2" fmla="*/ 5098 w 18329"/>
                  <a:gd name="connsiteY2" fmla="*/ 17478 h 18449"/>
                  <a:gd name="connsiteX3" fmla="*/ 17358 w 18329"/>
                  <a:gd name="connsiteY3" fmla="*/ 13351 h 18449"/>
                  <a:gd name="connsiteX4" fmla="*/ 13231 w 18329"/>
                  <a:gd name="connsiteY4" fmla="*/ 971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13231" y="971"/>
                    </a:moveTo>
                    <a:cubicBezTo>
                      <a:pt x="8686" y="-1302"/>
                      <a:pt x="3184" y="552"/>
                      <a:pt x="971" y="5098"/>
                    </a:cubicBezTo>
                    <a:cubicBezTo>
                      <a:pt x="-1302" y="9643"/>
                      <a:pt x="552" y="15205"/>
                      <a:pt x="5098" y="17478"/>
                    </a:cubicBezTo>
                    <a:cubicBezTo>
                      <a:pt x="9643" y="19751"/>
                      <a:pt x="15145" y="17897"/>
                      <a:pt x="17358" y="13351"/>
                    </a:cubicBezTo>
                    <a:cubicBezTo>
                      <a:pt x="19631" y="8806"/>
                      <a:pt x="17777" y="3244"/>
                      <a:pt x="13231" y="971"/>
                    </a:cubicBezTo>
                    <a:close/>
                  </a:path>
                </a:pathLst>
              </a:custGeom>
              <a:grpFill/>
              <a:ln w="5978" cap="flat">
                <a:noFill/>
                <a:prstDash val="solid"/>
                <a:miter/>
              </a:ln>
            </p:spPr>
            <p:txBody>
              <a:bodyPr rtlCol="0" anchor="ctr"/>
              <a:lstStyle/>
              <a:p>
                <a:endParaRPr lang="en-GB"/>
              </a:p>
            </p:txBody>
          </p:sp>
        </p:grpSp>
        <p:grpSp>
          <p:nvGrpSpPr>
            <p:cNvPr id="1003" name="Graphic 3">
              <a:extLst>
                <a:ext uri="{FF2B5EF4-FFF2-40B4-BE49-F238E27FC236}">
                  <a16:creationId xmlns:a16="http://schemas.microsoft.com/office/drawing/2014/main" id="{799DCBC0-9889-495D-9D35-7C8692CE3B14}"/>
                </a:ext>
              </a:extLst>
            </p:cNvPr>
            <p:cNvGrpSpPr/>
            <p:nvPr/>
          </p:nvGrpSpPr>
          <p:grpSpPr>
            <a:xfrm>
              <a:off x="5309797" y="5429763"/>
              <a:ext cx="136734" cy="406221"/>
              <a:chOff x="5309797" y="5429763"/>
              <a:chExt cx="136734" cy="406221"/>
            </a:xfrm>
            <a:grpFill/>
          </p:grpSpPr>
          <p:sp>
            <p:nvSpPr>
              <p:cNvPr id="2391" name="Vrije vorm: vorm 2390">
                <a:extLst>
                  <a:ext uri="{FF2B5EF4-FFF2-40B4-BE49-F238E27FC236}">
                    <a16:creationId xmlns:a16="http://schemas.microsoft.com/office/drawing/2014/main" id="{31C16A99-A008-4FE5-92BA-29462E06808C}"/>
                  </a:ext>
                </a:extLst>
              </p:cNvPr>
              <p:cNvSpPr/>
              <p:nvPr/>
            </p:nvSpPr>
            <p:spPr>
              <a:xfrm>
                <a:off x="5317360" y="5438131"/>
                <a:ext cx="121588" cy="389524"/>
              </a:xfrm>
              <a:custGeom>
                <a:avLst/>
                <a:gdLst>
                  <a:gd name="connsiteX0" fmla="*/ 121588 w 121588"/>
                  <a:gd name="connsiteY0" fmla="*/ 897 h 389524"/>
                  <a:gd name="connsiteX1" fmla="*/ 2871 w 121588"/>
                  <a:gd name="connsiteY1" fmla="*/ 389524 h 389524"/>
                  <a:gd name="connsiteX2" fmla="*/ 0 w 121588"/>
                  <a:gd name="connsiteY2" fmla="*/ 388627 h 389524"/>
                  <a:gd name="connsiteX3" fmla="*/ 118717 w 121588"/>
                  <a:gd name="connsiteY3" fmla="*/ 0 h 389524"/>
                </a:gdLst>
                <a:ahLst/>
                <a:cxnLst>
                  <a:cxn ang="0">
                    <a:pos x="connsiteX0" y="connsiteY0"/>
                  </a:cxn>
                  <a:cxn ang="0">
                    <a:pos x="connsiteX1" y="connsiteY1"/>
                  </a:cxn>
                  <a:cxn ang="0">
                    <a:pos x="connsiteX2" y="connsiteY2"/>
                  </a:cxn>
                  <a:cxn ang="0">
                    <a:pos x="connsiteX3" y="connsiteY3"/>
                  </a:cxn>
                </a:cxnLst>
                <a:rect l="l" t="t" r="r" b="b"/>
                <a:pathLst>
                  <a:path w="121588" h="389524">
                    <a:moveTo>
                      <a:pt x="121588" y="897"/>
                    </a:moveTo>
                    <a:lnTo>
                      <a:pt x="2871" y="389524"/>
                    </a:lnTo>
                    <a:lnTo>
                      <a:pt x="0" y="388627"/>
                    </a:lnTo>
                    <a:lnTo>
                      <a:pt x="118717" y="0"/>
                    </a:lnTo>
                    <a:close/>
                  </a:path>
                </a:pathLst>
              </a:custGeom>
              <a:grpFill/>
              <a:ln w="5978" cap="flat">
                <a:noFill/>
                <a:prstDash val="solid"/>
                <a:miter/>
              </a:ln>
            </p:spPr>
            <p:txBody>
              <a:bodyPr rtlCol="0" anchor="ctr"/>
              <a:lstStyle/>
              <a:p>
                <a:endParaRPr lang="en-GB"/>
              </a:p>
            </p:txBody>
          </p:sp>
          <p:sp>
            <p:nvSpPr>
              <p:cNvPr id="2392" name="Vrije vorm: vorm 2391">
                <a:extLst>
                  <a:ext uri="{FF2B5EF4-FFF2-40B4-BE49-F238E27FC236}">
                    <a16:creationId xmlns:a16="http://schemas.microsoft.com/office/drawing/2014/main" id="{D32A3A07-5820-4E3B-98D5-EAE5B7383018}"/>
                  </a:ext>
                </a:extLst>
              </p:cNvPr>
              <p:cNvSpPr/>
              <p:nvPr/>
            </p:nvSpPr>
            <p:spPr>
              <a:xfrm>
                <a:off x="5309797" y="5817531"/>
                <a:ext cx="18294" cy="18453"/>
              </a:xfrm>
              <a:custGeom>
                <a:avLst/>
                <a:gdLst>
                  <a:gd name="connsiteX0" fmla="*/ 17909 w 18294"/>
                  <a:gd name="connsiteY0" fmla="*/ 11978 h 18453"/>
                  <a:gd name="connsiteX1" fmla="*/ 6486 w 18294"/>
                  <a:gd name="connsiteY1" fmla="*/ 18019 h 18453"/>
                  <a:gd name="connsiteX2" fmla="*/ 386 w 18294"/>
                  <a:gd name="connsiteY2" fmla="*/ 6476 h 18453"/>
                  <a:gd name="connsiteX3" fmla="*/ 11809 w 18294"/>
                  <a:gd name="connsiteY3" fmla="*/ 435 h 18453"/>
                  <a:gd name="connsiteX4" fmla="*/ 17909 w 18294"/>
                  <a:gd name="connsiteY4" fmla="*/ 11978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4" h="18453">
                    <a:moveTo>
                      <a:pt x="17909" y="11978"/>
                    </a:moveTo>
                    <a:cubicBezTo>
                      <a:pt x="16414" y="16822"/>
                      <a:pt x="11270" y="19574"/>
                      <a:pt x="6486" y="18019"/>
                    </a:cubicBezTo>
                    <a:cubicBezTo>
                      <a:pt x="1642" y="16523"/>
                      <a:pt x="-1050" y="11320"/>
                      <a:pt x="386" y="6476"/>
                    </a:cubicBezTo>
                    <a:cubicBezTo>
                      <a:pt x="1881" y="1631"/>
                      <a:pt x="7024" y="-1120"/>
                      <a:pt x="11809" y="435"/>
                    </a:cubicBezTo>
                    <a:cubicBezTo>
                      <a:pt x="16653" y="1930"/>
                      <a:pt x="19344" y="7134"/>
                      <a:pt x="17909" y="11978"/>
                    </a:cubicBezTo>
                    <a:close/>
                  </a:path>
                </a:pathLst>
              </a:custGeom>
              <a:grpFill/>
              <a:ln w="5978" cap="flat">
                <a:noFill/>
                <a:prstDash val="solid"/>
                <a:miter/>
              </a:ln>
            </p:spPr>
            <p:txBody>
              <a:bodyPr rtlCol="0" anchor="ctr"/>
              <a:lstStyle/>
              <a:p>
                <a:endParaRPr lang="en-GB"/>
              </a:p>
            </p:txBody>
          </p:sp>
          <p:sp>
            <p:nvSpPr>
              <p:cNvPr id="2393" name="Vrije vorm: vorm 2392">
                <a:extLst>
                  <a:ext uri="{FF2B5EF4-FFF2-40B4-BE49-F238E27FC236}">
                    <a16:creationId xmlns:a16="http://schemas.microsoft.com/office/drawing/2014/main" id="{C4A246DC-C308-4C4A-817F-8635B80EADBF}"/>
                  </a:ext>
                </a:extLst>
              </p:cNvPr>
              <p:cNvSpPr/>
              <p:nvPr/>
            </p:nvSpPr>
            <p:spPr>
              <a:xfrm>
                <a:off x="5428194" y="5429763"/>
                <a:ext cx="18338" cy="18431"/>
              </a:xfrm>
              <a:custGeom>
                <a:avLst/>
                <a:gdLst>
                  <a:gd name="connsiteX0" fmla="*/ 17931 w 18338"/>
                  <a:gd name="connsiteY0" fmla="*/ 11956 h 18431"/>
                  <a:gd name="connsiteX1" fmla="*/ 11831 w 18338"/>
                  <a:gd name="connsiteY1" fmla="*/ 413 h 18431"/>
                  <a:gd name="connsiteX2" fmla="*/ 407 w 18338"/>
                  <a:gd name="connsiteY2" fmla="*/ 6453 h 18431"/>
                  <a:gd name="connsiteX3" fmla="*/ 6508 w 18338"/>
                  <a:gd name="connsiteY3" fmla="*/ 17996 h 18431"/>
                  <a:gd name="connsiteX4" fmla="*/ 17931 w 18338"/>
                  <a:gd name="connsiteY4" fmla="*/ 11956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31">
                    <a:moveTo>
                      <a:pt x="17931" y="11956"/>
                    </a:moveTo>
                    <a:cubicBezTo>
                      <a:pt x="19426" y="7111"/>
                      <a:pt x="16675" y="1908"/>
                      <a:pt x="11831" y="413"/>
                    </a:cubicBezTo>
                    <a:cubicBezTo>
                      <a:pt x="6986" y="-1082"/>
                      <a:pt x="1843" y="1609"/>
                      <a:pt x="407" y="6453"/>
                    </a:cubicBezTo>
                    <a:cubicBezTo>
                      <a:pt x="-1088" y="11298"/>
                      <a:pt x="1664" y="16501"/>
                      <a:pt x="6508" y="17996"/>
                    </a:cubicBezTo>
                    <a:cubicBezTo>
                      <a:pt x="11352" y="19551"/>
                      <a:pt x="16496" y="16800"/>
                      <a:pt x="17931" y="11956"/>
                    </a:cubicBezTo>
                    <a:close/>
                  </a:path>
                </a:pathLst>
              </a:custGeom>
              <a:grpFill/>
              <a:ln w="5978" cap="flat">
                <a:noFill/>
                <a:prstDash val="solid"/>
                <a:miter/>
              </a:ln>
            </p:spPr>
            <p:txBody>
              <a:bodyPr rtlCol="0" anchor="ctr"/>
              <a:lstStyle/>
              <a:p>
                <a:endParaRPr lang="en-GB"/>
              </a:p>
            </p:txBody>
          </p:sp>
        </p:grpSp>
        <p:grpSp>
          <p:nvGrpSpPr>
            <p:cNvPr id="1004" name="Graphic 3">
              <a:extLst>
                <a:ext uri="{FF2B5EF4-FFF2-40B4-BE49-F238E27FC236}">
                  <a16:creationId xmlns:a16="http://schemas.microsoft.com/office/drawing/2014/main" id="{FBFFD26E-3AA1-4C0B-BDB0-3B34855F54F8}"/>
                </a:ext>
              </a:extLst>
            </p:cNvPr>
            <p:cNvGrpSpPr/>
            <p:nvPr/>
          </p:nvGrpSpPr>
          <p:grpSpPr>
            <a:xfrm>
              <a:off x="5088695" y="4827221"/>
              <a:ext cx="90829" cy="134702"/>
              <a:chOff x="5088695" y="4827221"/>
              <a:chExt cx="90829" cy="134702"/>
            </a:xfrm>
            <a:grpFill/>
          </p:grpSpPr>
          <p:sp>
            <p:nvSpPr>
              <p:cNvPr id="2388" name="Vrije vorm: vorm 2387">
                <a:extLst>
                  <a:ext uri="{FF2B5EF4-FFF2-40B4-BE49-F238E27FC236}">
                    <a16:creationId xmlns:a16="http://schemas.microsoft.com/office/drawing/2014/main" id="{E7968679-D539-4837-82D4-47FF51E190C9}"/>
                  </a:ext>
                </a:extLst>
              </p:cNvPr>
              <p:cNvSpPr/>
              <p:nvPr/>
            </p:nvSpPr>
            <p:spPr>
              <a:xfrm>
                <a:off x="5096312" y="4835214"/>
                <a:ext cx="75536" cy="118717"/>
              </a:xfrm>
              <a:custGeom>
                <a:avLst/>
                <a:gdLst>
                  <a:gd name="connsiteX0" fmla="*/ 75537 w 75536"/>
                  <a:gd name="connsiteY0" fmla="*/ 1615 h 118717"/>
                  <a:gd name="connsiteX1" fmla="*/ 2572 w 75536"/>
                  <a:gd name="connsiteY1" fmla="*/ 118717 h 118717"/>
                  <a:gd name="connsiteX2" fmla="*/ 0 w 75536"/>
                  <a:gd name="connsiteY2" fmla="*/ 117043 h 118717"/>
                  <a:gd name="connsiteX3" fmla="*/ 72965 w 75536"/>
                  <a:gd name="connsiteY3" fmla="*/ 0 h 118717"/>
                </a:gdLst>
                <a:ahLst/>
                <a:cxnLst>
                  <a:cxn ang="0">
                    <a:pos x="connsiteX0" y="connsiteY0"/>
                  </a:cxn>
                  <a:cxn ang="0">
                    <a:pos x="connsiteX1" y="connsiteY1"/>
                  </a:cxn>
                  <a:cxn ang="0">
                    <a:pos x="connsiteX2" y="connsiteY2"/>
                  </a:cxn>
                  <a:cxn ang="0">
                    <a:pos x="connsiteX3" y="connsiteY3"/>
                  </a:cxn>
                </a:cxnLst>
                <a:rect l="l" t="t" r="r" b="b"/>
                <a:pathLst>
                  <a:path w="75536" h="118717">
                    <a:moveTo>
                      <a:pt x="75537" y="1615"/>
                    </a:moveTo>
                    <a:lnTo>
                      <a:pt x="2572" y="118717"/>
                    </a:lnTo>
                    <a:lnTo>
                      <a:pt x="0" y="117043"/>
                    </a:lnTo>
                    <a:lnTo>
                      <a:pt x="72965" y="0"/>
                    </a:lnTo>
                    <a:close/>
                  </a:path>
                </a:pathLst>
              </a:custGeom>
              <a:grpFill/>
              <a:ln w="5978" cap="flat">
                <a:noFill/>
                <a:prstDash val="solid"/>
                <a:miter/>
              </a:ln>
            </p:spPr>
            <p:txBody>
              <a:bodyPr rtlCol="0" anchor="ctr"/>
              <a:lstStyle/>
              <a:p>
                <a:endParaRPr lang="en-GB"/>
              </a:p>
            </p:txBody>
          </p:sp>
          <p:sp>
            <p:nvSpPr>
              <p:cNvPr id="2389" name="Vrije vorm: vorm 2388">
                <a:extLst>
                  <a:ext uri="{FF2B5EF4-FFF2-40B4-BE49-F238E27FC236}">
                    <a16:creationId xmlns:a16="http://schemas.microsoft.com/office/drawing/2014/main" id="{D3C77604-D27E-4EC6-9D3A-B08280784B00}"/>
                  </a:ext>
                </a:extLst>
              </p:cNvPr>
              <p:cNvSpPr/>
              <p:nvPr/>
            </p:nvSpPr>
            <p:spPr>
              <a:xfrm>
                <a:off x="5088695" y="4943520"/>
                <a:ext cx="18343" cy="18404"/>
              </a:xfrm>
              <a:custGeom>
                <a:avLst/>
                <a:gdLst>
                  <a:gd name="connsiteX0" fmla="*/ 16947 w 18343"/>
                  <a:gd name="connsiteY0" fmla="*/ 14119 h 18404"/>
                  <a:gd name="connsiteX1" fmla="*/ 4327 w 18343"/>
                  <a:gd name="connsiteY1" fmla="*/ 16990 h 18404"/>
                  <a:gd name="connsiteX2" fmla="*/ 1397 w 18343"/>
                  <a:gd name="connsiteY2" fmla="*/ 4311 h 18404"/>
                  <a:gd name="connsiteX3" fmla="*/ 14016 w 18343"/>
                  <a:gd name="connsiteY3" fmla="*/ 1440 h 18404"/>
                  <a:gd name="connsiteX4" fmla="*/ 16947 w 18343"/>
                  <a:gd name="connsiteY4" fmla="*/ 1411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119"/>
                    </a:moveTo>
                    <a:cubicBezTo>
                      <a:pt x="14256" y="18426"/>
                      <a:pt x="8634" y="19682"/>
                      <a:pt x="4327" y="16990"/>
                    </a:cubicBezTo>
                    <a:cubicBezTo>
                      <a:pt x="21" y="14299"/>
                      <a:pt x="-1294" y="8617"/>
                      <a:pt x="1397" y="4311"/>
                    </a:cubicBezTo>
                    <a:cubicBezTo>
                      <a:pt x="4088" y="5"/>
                      <a:pt x="9710" y="-1310"/>
                      <a:pt x="14016" y="1440"/>
                    </a:cubicBezTo>
                    <a:cubicBezTo>
                      <a:pt x="18322" y="4072"/>
                      <a:pt x="19638" y="9814"/>
                      <a:pt x="16947" y="14119"/>
                    </a:cubicBezTo>
                    <a:close/>
                  </a:path>
                </a:pathLst>
              </a:custGeom>
              <a:grpFill/>
              <a:ln w="5978" cap="flat">
                <a:noFill/>
                <a:prstDash val="solid"/>
                <a:miter/>
              </a:ln>
            </p:spPr>
            <p:txBody>
              <a:bodyPr rtlCol="0" anchor="ctr"/>
              <a:lstStyle/>
              <a:p>
                <a:endParaRPr lang="en-GB"/>
              </a:p>
            </p:txBody>
          </p:sp>
          <p:sp>
            <p:nvSpPr>
              <p:cNvPr id="2390" name="Vrije vorm: vorm 2389">
                <a:extLst>
                  <a:ext uri="{FF2B5EF4-FFF2-40B4-BE49-F238E27FC236}">
                    <a16:creationId xmlns:a16="http://schemas.microsoft.com/office/drawing/2014/main" id="{0964E4FC-6452-4E5D-B857-3C618F83E750}"/>
                  </a:ext>
                </a:extLst>
              </p:cNvPr>
              <p:cNvSpPr/>
              <p:nvPr/>
            </p:nvSpPr>
            <p:spPr>
              <a:xfrm>
                <a:off x="5161182" y="4827221"/>
                <a:ext cx="18343" cy="18404"/>
              </a:xfrm>
              <a:custGeom>
                <a:avLst/>
                <a:gdLst>
                  <a:gd name="connsiteX0" fmla="*/ 16947 w 18343"/>
                  <a:gd name="connsiteY0" fmla="*/ 14093 h 18404"/>
                  <a:gd name="connsiteX1" fmla="*/ 14016 w 18343"/>
                  <a:gd name="connsiteY1" fmla="*/ 1414 h 18404"/>
                  <a:gd name="connsiteX2" fmla="*/ 1397 w 18343"/>
                  <a:gd name="connsiteY2" fmla="*/ 4285 h 18404"/>
                  <a:gd name="connsiteX3" fmla="*/ 4327 w 18343"/>
                  <a:gd name="connsiteY3" fmla="*/ 16964 h 18404"/>
                  <a:gd name="connsiteX4" fmla="*/ 16947 w 18343"/>
                  <a:gd name="connsiteY4" fmla="*/ 14093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093"/>
                    </a:moveTo>
                    <a:cubicBezTo>
                      <a:pt x="19638" y="9787"/>
                      <a:pt x="18322" y="4105"/>
                      <a:pt x="14016" y="1414"/>
                    </a:cubicBezTo>
                    <a:cubicBezTo>
                      <a:pt x="9710" y="-1277"/>
                      <a:pt x="4088" y="-21"/>
                      <a:pt x="1397" y="4285"/>
                    </a:cubicBezTo>
                    <a:cubicBezTo>
                      <a:pt x="-1294" y="8591"/>
                      <a:pt x="21" y="14273"/>
                      <a:pt x="4327" y="16964"/>
                    </a:cubicBezTo>
                    <a:cubicBezTo>
                      <a:pt x="8574" y="19715"/>
                      <a:pt x="14256" y="18399"/>
                      <a:pt x="16947" y="14093"/>
                    </a:cubicBezTo>
                    <a:close/>
                  </a:path>
                </a:pathLst>
              </a:custGeom>
              <a:grpFill/>
              <a:ln w="5978" cap="flat">
                <a:noFill/>
                <a:prstDash val="solid"/>
                <a:miter/>
              </a:ln>
            </p:spPr>
            <p:txBody>
              <a:bodyPr rtlCol="0" anchor="ctr"/>
              <a:lstStyle/>
              <a:p>
                <a:endParaRPr lang="en-GB"/>
              </a:p>
            </p:txBody>
          </p:sp>
        </p:grpSp>
        <p:grpSp>
          <p:nvGrpSpPr>
            <p:cNvPr id="1005" name="Graphic 3">
              <a:extLst>
                <a:ext uri="{FF2B5EF4-FFF2-40B4-BE49-F238E27FC236}">
                  <a16:creationId xmlns:a16="http://schemas.microsoft.com/office/drawing/2014/main" id="{51ACA4A0-3904-4A23-B83E-2775DFD71209}"/>
                </a:ext>
              </a:extLst>
            </p:cNvPr>
            <p:cNvGrpSpPr/>
            <p:nvPr/>
          </p:nvGrpSpPr>
          <p:grpSpPr>
            <a:xfrm>
              <a:off x="4277956" y="2639164"/>
              <a:ext cx="216949" cy="104820"/>
              <a:chOff x="4277956" y="2639164"/>
              <a:chExt cx="216949" cy="104820"/>
            </a:xfrm>
            <a:grpFill/>
          </p:grpSpPr>
          <p:sp>
            <p:nvSpPr>
              <p:cNvPr id="2385" name="Vrije vorm: vorm 2384">
                <a:extLst>
                  <a:ext uri="{FF2B5EF4-FFF2-40B4-BE49-F238E27FC236}">
                    <a16:creationId xmlns:a16="http://schemas.microsoft.com/office/drawing/2014/main" id="{CCA3AA76-A5B7-4FD1-A6AE-18A9ED300C1B}"/>
                  </a:ext>
                </a:extLst>
              </p:cNvPr>
              <p:cNvSpPr/>
              <p:nvPr/>
            </p:nvSpPr>
            <p:spPr>
              <a:xfrm>
                <a:off x="4286104" y="2646808"/>
                <a:ext cx="200713" cy="89531"/>
              </a:xfrm>
              <a:custGeom>
                <a:avLst/>
                <a:gdLst>
                  <a:gd name="connsiteX0" fmla="*/ 200713 w 200713"/>
                  <a:gd name="connsiteY0" fmla="*/ 86720 h 89531"/>
                  <a:gd name="connsiteX1" fmla="*/ 199517 w 200713"/>
                  <a:gd name="connsiteY1" fmla="*/ 89531 h 89531"/>
                  <a:gd name="connsiteX2" fmla="*/ 0 w 200713"/>
                  <a:gd name="connsiteY2" fmla="*/ 2811 h 89531"/>
                  <a:gd name="connsiteX3" fmla="*/ 1196 w 200713"/>
                  <a:gd name="connsiteY3" fmla="*/ 0 h 89531"/>
                </a:gdLst>
                <a:ahLst/>
                <a:cxnLst>
                  <a:cxn ang="0">
                    <a:pos x="connsiteX0" y="connsiteY0"/>
                  </a:cxn>
                  <a:cxn ang="0">
                    <a:pos x="connsiteX1" y="connsiteY1"/>
                  </a:cxn>
                  <a:cxn ang="0">
                    <a:pos x="connsiteX2" y="connsiteY2"/>
                  </a:cxn>
                  <a:cxn ang="0">
                    <a:pos x="connsiteX3" y="connsiteY3"/>
                  </a:cxn>
                </a:cxnLst>
                <a:rect l="l" t="t" r="r" b="b"/>
                <a:pathLst>
                  <a:path w="200713" h="89531">
                    <a:moveTo>
                      <a:pt x="200713" y="86720"/>
                    </a:moveTo>
                    <a:lnTo>
                      <a:pt x="199517" y="89531"/>
                    </a:lnTo>
                    <a:lnTo>
                      <a:pt x="0" y="2811"/>
                    </a:lnTo>
                    <a:lnTo>
                      <a:pt x="1196" y="0"/>
                    </a:lnTo>
                    <a:close/>
                  </a:path>
                </a:pathLst>
              </a:custGeom>
              <a:grpFill/>
              <a:ln w="5978" cap="flat">
                <a:noFill/>
                <a:prstDash val="solid"/>
                <a:miter/>
              </a:ln>
            </p:spPr>
            <p:txBody>
              <a:bodyPr rtlCol="0" anchor="ctr"/>
              <a:lstStyle/>
              <a:p>
                <a:endParaRPr lang="en-GB"/>
              </a:p>
            </p:txBody>
          </p:sp>
          <p:sp>
            <p:nvSpPr>
              <p:cNvPr id="2386" name="Vrije vorm: vorm 2385">
                <a:extLst>
                  <a:ext uri="{FF2B5EF4-FFF2-40B4-BE49-F238E27FC236}">
                    <a16:creationId xmlns:a16="http://schemas.microsoft.com/office/drawing/2014/main" id="{EB7D86CA-3DFA-4C2B-AF91-550FB523EAA6}"/>
                  </a:ext>
                </a:extLst>
              </p:cNvPr>
              <p:cNvSpPr/>
              <p:nvPr/>
            </p:nvSpPr>
            <p:spPr>
              <a:xfrm>
                <a:off x="4277956" y="2639164"/>
                <a:ext cx="18304" cy="18458"/>
              </a:xfrm>
              <a:custGeom>
                <a:avLst/>
                <a:gdLst>
                  <a:gd name="connsiteX0" fmla="*/ 5576 w 18304"/>
                  <a:gd name="connsiteY0" fmla="*/ 17692 h 18458"/>
                  <a:gd name="connsiteX1" fmla="*/ 732 w 18304"/>
                  <a:gd name="connsiteY1" fmla="*/ 5551 h 18458"/>
                  <a:gd name="connsiteX2" fmla="*/ 12753 w 18304"/>
                  <a:gd name="connsiteY2" fmla="*/ 767 h 18458"/>
                  <a:gd name="connsiteX3" fmla="*/ 17538 w 18304"/>
                  <a:gd name="connsiteY3" fmla="*/ 12908 h 18458"/>
                  <a:gd name="connsiteX4" fmla="*/ 5576 w 18304"/>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8">
                    <a:moveTo>
                      <a:pt x="5576" y="17692"/>
                    </a:moveTo>
                    <a:cubicBezTo>
                      <a:pt x="911" y="15659"/>
                      <a:pt x="-1242" y="10216"/>
                      <a:pt x="732" y="5551"/>
                    </a:cubicBezTo>
                    <a:cubicBezTo>
                      <a:pt x="2705" y="886"/>
                      <a:pt x="8088" y="-1267"/>
                      <a:pt x="12753" y="767"/>
                    </a:cubicBezTo>
                    <a:cubicBezTo>
                      <a:pt x="17418" y="2800"/>
                      <a:pt x="19571" y="8243"/>
                      <a:pt x="17538" y="12908"/>
                    </a:cubicBezTo>
                    <a:cubicBezTo>
                      <a:pt x="15564" y="17572"/>
                      <a:pt x="10181" y="19725"/>
                      <a:pt x="5576" y="17692"/>
                    </a:cubicBezTo>
                    <a:close/>
                  </a:path>
                </a:pathLst>
              </a:custGeom>
              <a:grpFill/>
              <a:ln w="5978" cap="flat">
                <a:noFill/>
                <a:prstDash val="solid"/>
                <a:miter/>
              </a:ln>
            </p:spPr>
            <p:txBody>
              <a:bodyPr rtlCol="0" anchor="ctr"/>
              <a:lstStyle/>
              <a:p>
                <a:endParaRPr lang="en-GB"/>
              </a:p>
            </p:txBody>
          </p:sp>
          <p:sp>
            <p:nvSpPr>
              <p:cNvPr id="2387" name="Vrije vorm: vorm 2386">
                <a:extLst>
                  <a:ext uri="{FF2B5EF4-FFF2-40B4-BE49-F238E27FC236}">
                    <a16:creationId xmlns:a16="http://schemas.microsoft.com/office/drawing/2014/main" id="{9A70B702-E770-44AD-9AF8-3ED4BB15E08B}"/>
                  </a:ext>
                </a:extLst>
              </p:cNvPr>
              <p:cNvSpPr/>
              <p:nvPr/>
            </p:nvSpPr>
            <p:spPr>
              <a:xfrm>
                <a:off x="4476601" y="2725525"/>
                <a:ext cx="18305" cy="18458"/>
              </a:xfrm>
              <a:custGeom>
                <a:avLst/>
                <a:gdLst>
                  <a:gd name="connsiteX0" fmla="*/ 5551 w 18305"/>
                  <a:gd name="connsiteY0" fmla="*/ 17692 h 18458"/>
                  <a:gd name="connsiteX1" fmla="*/ 17572 w 18305"/>
                  <a:gd name="connsiteY1" fmla="*/ 12908 h 18458"/>
                  <a:gd name="connsiteX2" fmla="*/ 12788 w 18305"/>
                  <a:gd name="connsiteY2" fmla="*/ 767 h 18458"/>
                  <a:gd name="connsiteX3" fmla="*/ 767 w 18305"/>
                  <a:gd name="connsiteY3" fmla="*/ 5551 h 18458"/>
                  <a:gd name="connsiteX4" fmla="*/ 5551 w 1830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8">
                    <a:moveTo>
                      <a:pt x="5551" y="17692"/>
                    </a:moveTo>
                    <a:cubicBezTo>
                      <a:pt x="10216" y="19726"/>
                      <a:pt x="15599" y="17573"/>
                      <a:pt x="17572" y="12908"/>
                    </a:cubicBezTo>
                    <a:cubicBezTo>
                      <a:pt x="19546" y="8243"/>
                      <a:pt x="17393" y="2800"/>
                      <a:pt x="12788" y="767"/>
                    </a:cubicBezTo>
                    <a:cubicBezTo>
                      <a:pt x="8123" y="-1267"/>
                      <a:pt x="2740" y="886"/>
                      <a:pt x="767" y="5551"/>
                    </a:cubicBezTo>
                    <a:cubicBezTo>
                      <a:pt x="-1267" y="10216"/>
                      <a:pt x="886" y="15659"/>
                      <a:pt x="5551" y="17692"/>
                    </a:cubicBezTo>
                    <a:close/>
                  </a:path>
                </a:pathLst>
              </a:custGeom>
              <a:grpFill/>
              <a:ln w="5978" cap="flat">
                <a:noFill/>
                <a:prstDash val="solid"/>
                <a:miter/>
              </a:ln>
            </p:spPr>
            <p:txBody>
              <a:bodyPr rtlCol="0" anchor="ctr"/>
              <a:lstStyle/>
              <a:p>
                <a:endParaRPr lang="en-GB"/>
              </a:p>
            </p:txBody>
          </p:sp>
        </p:grpSp>
        <p:grpSp>
          <p:nvGrpSpPr>
            <p:cNvPr id="1006" name="Graphic 3">
              <a:extLst>
                <a:ext uri="{FF2B5EF4-FFF2-40B4-BE49-F238E27FC236}">
                  <a16:creationId xmlns:a16="http://schemas.microsoft.com/office/drawing/2014/main" id="{D20F8E6F-C968-48E0-8D7B-C6C31409A245}"/>
                </a:ext>
              </a:extLst>
            </p:cNvPr>
            <p:cNvGrpSpPr/>
            <p:nvPr/>
          </p:nvGrpSpPr>
          <p:grpSpPr>
            <a:xfrm>
              <a:off x="5193453" y="5136141"/>
              <a:ext cx="84779" cy="164515"/>
              <a:chOff x="5193453" y="5136141"/>
              <a:chExt cx="84779" cy="164515"/>
            </a:xfrm>
            <a:grpFill/>
          </p:grpSpPr>
          <p:sp>
            <p:nvSpPr>
              <p:cNvPr id="2382" name="Vrije vorm: vorm 2381">
                <a:extLst>
                  <a:ext uri="{FF2B5EF4-FFF2-40B4-BE49-F238E27FC236}">
                    <a16:creationId xmlns:a16="http://schemas.microsoft.com/office/drawing/2014/main" id="{B4082AA5-A38D-4BBE-94F9-90A9A3476699}"/>
                  </a:ext>
                </a:extLst>
              </p:cNvPr>
              <p:cNvSpPr/>
              <p:nvPr/>
            </p:nvSpPr>
            <p:spPr>
              <a:xfrm>
                <a:off x="5201035" y="5144298"/>
                <a:ext cx="69615" cy="148202"/>
              </a:xfrm>
              <a:custGeom>
                <a:avLst/>
                <a:gdLst>
                  <a:gd name="connsiteX0" fmla="*/ 69616 w 69615"/>
                  <a:gd name="connsiteY0" fmla="*/ 1316 h 148202"/>
                  <a:gd name="connsiteX1" fmla="*/ 2751 w 69615"/>
                  <a:gd name="connsiteY1" fmla="*/ 148202 h 148202"/>
                  <a:gd name="connsiteX2" fmla="*/ 0 w 69615"/>
                  <a:gd name="connsiteY2" fmla="*/ 146946 h 148202"/>
                  <a:gd name="connsiteX3" fmla="*/ 66805 w 69615"/>
                  <a:gd name="connsiteY3" fmla="*/ 0 h 148202"/>
                </a:gdLst>
                <a:ahLst/>
                <a:cxnLst>
                  <a:cxn ang="0">
                    <a:pos x="connsiteX0" y="connsiteY0"/>
                  </a:cxn>
                  <a:cxn ang="0">
                    <a:pos x="connsiteX1" y="connsiteY1"/>
                  </a:cxn>
                  <a:cxn ang="0">
                    <a:pos x="connsiteX2" y="connsiteY2"/>
                  </a:cxn>
                  <a:cxn ang="0">
                    <a:pos x="connsiteX3" y="connsiteY3"/>
                  </a:cxn>
                </a:cxnLst>
                <a:rect l="l" t="t" r="r" b="b"/>
                <a:pathLst>
                  <a:path w="69615" h="148202">
                    <a:moveTo>
                      <a:pt x="69616" y="1316"/>
                    </a:moveTo>
                    <a:lnTo>
                      <a:pt x="2751" y="148202"/>
                    </a:lnTo>
                    <a:lnTo>
                      <a:pt x="0" y="146946"/>
                    </a:lnTo>
                    <a:lnTo>
                      <a:pt x="66805" y="0"/>
                    </a:lnTo>
                    <a:close/>
                  </a:path>
                </a:pathLst>
              </a:custGeom>
              <a:grpFill/>
              <a:ln w="5978" cap="flat">
                <a:noFill/>
                <a:prstDash val="solid"/>
                <a:miter/>
              </a:ln>
            </p:spPr>
            <p:txBody>
              <a:bodyPr rtlCol="0" anchor="ctr"/>
              <a:lstStyle/>
              <a:p>
                <a:endParaRPr lang="en-GB"/>
              </a:p>
            </p:txBody>
          </p:sp>
          <p:sp>
            <p:nvSpPr>
              <p:cNvPr id="2383" name="Vrije vorm: vorm 2382">
                <a:extLst>
                  <a:ext uri="{FF2B5EF4-FFF2-40B4-BE49-F238E27FC236}">
                    <a16:creationId xmlns:a16="http://schemas.microsoft.com/office/drawing/2014/main" id="{44C7F454-BD79-446A-8ACD-182F8E9B833C}"/>
                  </a:ext>
                </a:extLst>
              </p:cNvPr>
              <p:cNvSpPr/>
              <p:nvPr/>
            </p:nvSpPr>
            <p:spPr>
              <a:xfrm>
                <a:off x="5193453" y="5282250"/>
                <a:ext cx="18333" cy="18406"/>
              </a:xfrm>
              <a:custGeom>
                <a:avLst/>
                <a:gdLst>
                  <a:gd name="connsiteX0" fmla="*/ 17510 w 18333"/>
                  <a:gd name="connsiteY0" fmla="*/ 13061 h 18406"/>
                  <a:gd name="connsiteX1" fmla="*/ 5369 w 18333"/>
                  <a:gd name="connsiteY1" fmla="*/ 17546 h 18406"/>
                  <a:gd name="connsiteX2" fmla="*/ 824 w 18333"/>
                  <a:gd name="connsiteY2" fmla="*/ 5346 h 18406"/>
                  <a:gd name="connsiteX3" fmla="*/ 12965 w 18333"/>
                  <a:gd name="connsiteY3" fmla="*/ 860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5417" y="17666"/>
                      <a:pt x="9974" y="19699"/>
                      <a:pt x="5369" y="17546"/>
                    </a:cubicBezTo>
                    <a:cubicBezTo>
                      <a:pt x="764" y="15393"/>
                      <a:pt x="-1269" y="9951"/>
                      <a:pt x="824" y="5346"/>
                    </a:cubicBezTo>
                    <a:cubicBezTo>
                      <a:pt x="2917" y="741"/>
                      <a:pt x="8359" y="-1293"/>
                      <a:pt x="12965" y="860"/>
                    </a:cubicBezTo>
                    <a:cubicBezTo>
                      <a:pt x="17570" y="2953"/>
                      <a:pt x="19603" y="8456"/>
                      <a:pt x="17510" y="13061"/>
                    </a:cubicBezTo>
                    <a:close/>
                  </a:path>
                </a:pathLst>
              </a:custGeom>
              <a:grpFill/>
              <a:ln w="5978" cap="flat">
                <a:noFill/>
                <a:prstDash val="solid"/>
                <a:miter/>
              </a:ln>
            </p:spPr>
            <p:txBody>
              <a:bodyPr rtlCol="0" anchor="ctr"/>
              <a:lstStyle/>
              <a:p>
                <a:endParaRPr lang="en-GB"/>
              </a:p>
            </p:txBody>
          </p:sp>
          <p:sp>
            <p:nvSpPr>
              <p:cNvPr id="2384" name="Vrije vorm: vorm 2383">
                <a:extLst>
                  <a:ext uri="{FF2B5EF4-FFF2-40B4-BE49-F238E27FC236}">
                    <a16:creationId xmlns:a16="http://schemas.microsoft.com/office/drawing/2014/main" id="{42441668-DFE8-471C-B2C8-4840BBEF7AC4}"/>
                  </a:ext>
                </a:extLst>
              </p:cNvPr>
              <p:cNvSpPr/>
              <p:nvPr/>
            </p:nvSpPr>
            <p:spPr>
              <a:xfrm>
                <a:off x="5259898" y="5136141"/>
                <a:ext cx="18333" cy="18416"/>
              </a:xfrm>
              <a:custGeom>
                <a:avLst/>
                <a:gdLst>
                  <a:gd name="connsiteX0" fmla="*/ 17510 w 18333"/>
                  <a:gd name="connsiteY0" fmla="*/ 13061 h 18416"/>
                  <a:gd name="connsiteX1" fmla="*/ 12965 w 18333"/>
                  <a:gd name="connsiteY1" fmla="*/ 860 h 18416"/>
                  <a:gd name="connsiteX2" fmla="*/ 824 w 18333"/>
                  <a:gd name="connsiteY2" fmla="*/ 5346 h 18416"/>
                  <a:gd name="connsiteX3" fmla="*/ 5369 w 18333"/>
                  <a:gd name="connsiteY3" fmla="*/ 17546 h 18416"/>
                  <a:gd name="connsiteX4" fmla="*/ 17510 w 18333"/>
                  <a:gd name="connsiteY4" fmla="*/ 13061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17510" y="13061"/>
                    </a:moveTo>
                    <a:cubicBezTo>
                      <a:pt x="19603" y="8456"/>
                      <a:pt x="17570" y="2953"/>
                      <a:pt x="12965" y="860"/>
                    </a:cubicBezTo>
                    <a:cubicBezTo>
                      <a:pt x="8359" y="-1293"/>
                      <a:pt x="2917" y="741"/>
                      <a:pt x="824" y="5346"/>
                    </a:cubicBezTo>
                    <a:cubicBezTo>
                      <a:pt x="-1269" y="9951"/>
                      <a:pt x="764" y="15453"/>
                      <a:pt x="5369" y="17546"/>
                    </a:cubicBezTo>
                    <a:cubicBezTo>
                      <a:pt x="9974" y="19699"/>
                      <a:pt x="15357" y="17726"/>
                      <a:pt x="17510" y="13061"/>
                    </a:cubicBezTo>
                    <a:close/>
                  </a:path>
                </a:pathLst>
              </a:custGeom>
              <a:grpFill/>
              <a:ln w="5978" cap="flat">
                <a:noFill/>
                <a:prstDash val="solid"/>
                <a:miter/>
              </a:ln>
            </p:spPr>
            <p:txBody>
              <a:bodyPr rtlCol="0" anchor="ctr"/>
              <a:lstStyle/>
              <a:p>
                <a:endParaRPr lang="en-GB"/>
              </a:p>
            </p:txBody>
          </p:sp>
        </p:grpSp>
        <p:grpSp>
          <p:nvGrpSpPr>
            <p:cNvPr id="1007" name="Graphic 3">
              <a:extLst>
                <a:ext uri="{FF2B5EF4-FFF2-40B4-BE49-F238E27FC236}">
                  <a16:creationId xmlns:a16="http://schemas.microsoft.com/office/drawing/2014/main" id="{1AE320CD-D004-4803-BC77-C02D18B54D91}"/>
                </a:ext>
              </a:extLst>
            </p:cNvPr>
            <p:cNvGrpSpPr/>
            <p:nvPr/>
          </p:nvGrpSpPr>
          <p:grpSpPr>
            <a:xfrm>
              <a:off x="5084466" y="4933338"/>
              <a:ext cx="250574" cy="414922"/>
              <a:chOff x="5084466" y="4933338"/>
              <a:chExt cx="250574" cy="414922"/>
            </a:xfrm>
            <a:grpFill/>
          </p:grpSpPr>
          <p:sp>
            <p:nvSpPr>
              <p:cNvPr id="2379" name="Vrije vorm: vorm 2378">
                <a:extLst>
                  <a:ext uri="{FF2B5EF4-FFF2-40B4-BE49-F238E27FC236}">
                    <a16:creationId xmlns:a16="http://schemas.microsoft.com/office/drawing/2014/main" id="{DE52916B-C654-4610-A971-C2DB2FE9D5F5}"/>
                  </a:ext>
                </a:extLst>
              </p:cNvPr>
              <p:cNvSpPr/>
              <p:nvPr/>
            </p:nvSpPr>
            <p:spPr>
              <a:xfrm>
                <a:off x="5092066" y="4941372"/>
                <a:ext cx="235341" cy="398854"/>
              </a:xfrm>
              <a:custGeom>
                <a:avLst/>
                <a:gdLst>
                  <a:gd name="connsiteX0" fmla="*/ 235341 w 235341"/>
                  <a:gd name="connsiteY0" fmla="*/ 1555 h 398854"/>
                  <a:gd name="connsiteX1" fmla="*/ 2632 w 235341"/>
                  <a:gd name="connsiteY1" fmla="*/ 398854 h 398854"/>
                  <a:gd name="connsiteX2" fmla="*/ 0 w 235341"/>
                  <a:gd name="connsiteY2" fmla="*/ 397299 h 398854"/>
                  <a:gd name="connsiteX3" fmla="*/ 232710 w 235341"/>
                  <a:gd name="connsiteY3" fmla="*/ 0 h 398854"/>
                </a:gdLst>
                <a:ahLst/>
                <a:cxnLst>
                  <a:cxn ang="0">
                    <a:pos x="connsiteX0" y="connsiteY0"/>
                  </a:cxn>
                  <a:cxn ang="0">
                    <a:pos x="connsiteX1" y="connsiteY1"/>
                  </a:cxn>
                  <a:cxn ang="0">
                    <a:pos x="connsiteX2" y="connsiteY2"/>
                  </a:cxn>
                  <a:cxn ang="0">
                    <a:pos x="connsiteX3" y="connsiteY3"/>
                  </a:cxn>
                </a:cxnLst>
                <a:rect l="l" t="t" r="r" b="b"/>
                <a:pathLst>
                  <a:path w="235341" h="398854">
                    <a:moveTo>
                      <a:pt x="235341" y="1555"/>
                    </a:moveTo>
                    <a:lnTo>
                      <a:pt x="2632" y="398854"/>
                    </a:lnTo>
                    <a:lnTo>
                      <a:pt x="0" y="397299"/>
                    </a:lnTo>
                    <a:lnTo>
                      <a:pt x="232710" y="0"/>
                    </a:lnTo>
                    <a:close/>
                  </a:path>
                </a:pathLst>
              </a:custGeom>
              <a:grpFill/>
              <a:ln w="5978" cap="flat">
                <a:noFill/>
                <a:prstDash val="solid"/>
                <a:miter/>
              </a:ln>
            </p:spPr>
            <p:txBody>
              <a:bodyPr rtlCol="0" anchor="ctr"/>
              <a:lstStyle/>
              <a:p>
                <a:endParaRPr lang="en-GB"/>
              </a:p>
            </p:txBody>
          </p:sp>
          <p:sp>
            <p:nvSpPr>
              <p:cNvPr id="2380" name="Vrije vorm: vorm 2379">
                <a:extLst>
                  <a:ext uri="{FF2B5EF4-FFF2-40B4-BE49-F238E27FC236}">
                    <a16:creationId xmlns:a16="http://schemas.microsoft.com/office/drawing/2014/main" id="{BE51471F-82EC-4E30-AB29-A073AF0A9EF7}"/>
                  </a:ext>
                </a:extLst>
              </p:cNvPr>
              <p:cNvSpPr/>
              <p:nvPr/>
            </p:nvSpPr>
            <p:spPr>
              <a:xfrm>
                <a:off x="5316684" y="4933338"/>
                <a:ext cx="18356" cy="18400"/>
              </a:xfrm>
              <a:custGeom>
                <a:avLst/>
                <a:gdLst>
                  <a:gd name="connsiteX0" fmla="*/ 1274 w 18356"/>
                  <a:gd name="connsiteY0" fmla="*/ 4505 h 18400"/>
                  <a:gd name="connsiteX1" fmla="*/ 13833 w 18356"/>
                  <a:gd name="connsiteY1" fmla="*/ 1276 h 18400"/>
                  <a:gd name="connsiteX2" fmla="*/ 17123 w 18356"/>
                  <a:gd name="connsiteY2" fmla="*/ 13895 h 18400"/>
                  <a:gd name="connsiteX3" fmla="*/ 4563 w 18356"/>
                  <a:gd name="connsiteY3" fmla="*/ 17125 h 18400"/>
                  <a:gd name="connsiteX4" fmla="*/ 1274 w 18356"/>
                  <a:gd name="connsiteY4" fmla="*/ 4505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0">
                    <a:moveTo>
                      <a:pt x="1274" y="4505"/>
                    </a:moveTo>
                    <a:cubicBezTo>
                      <a:pt x="3845" y="140"/>
                      <a:pt x="9467" y="-1296"/>
                      <a:pt x="13833" y="1276"/>
                    </a:cubicBezTo>
                    <a:cubicBezTo>
                      <a:pt x="18199" y="3848"/>
                      <a:pt x="19635" y="9529"/>
                      <a:pt x="17123" y="13895"/>
                    </a:cubicBezTo>
                    <a:cubicBezTo>
                      <a:pt x="14551" y="18261"/>
                      <a:pt x="8929" y="19697"/>
                      <a:pt x="4563" y="17125"/>
                    </a:cubicBezTo>
                    <a:cubicBezTo>
                      <a:pt x="137" y="14493"/>
                      <a:pt x="-1298" y="8872"/>
                      <a:pt x="1274" y="4505"/>
                    </a:cubicBezTo>
                    <a:close/>
                  </a:path>
                </a:pathLst>
              </a:custGeom>
              <a:grpFill/>
              <a:ln w="5978" cap="flat">
                <a:noFill/>
                <a:prstDash val="solid"/>
                <a:miter/>
              </a:ln>
            </p:spPr>
            <p:txBody>
              <a:bodyPr rtlCol="0" anchor="ctr"/>
              <a:lstStyle/>
              <a:p>
                <a:endParaRPr lang="en-GB"/>
              </a:p>
            </p:txBody>
          </p:sp>
          <p:sp>
            <p:nvSpPr>
              <p:cNvPr id="2381" name="Vrije vorm: vorm 2380">
                <a:extLst>
                  <a:ext uri="{FF2B5EF4-FFF2-40B4-BE49-F238E27FC236}">
                    <a16:creationId xmlns:a16="http://schemas.microsoft.com/office/drawing/2014/main" id="{4218CA21-A0E0-4C85-9F73-1E2042BD343E}"/>
                  </a:ext>
                </a:extLst>
              </p:cNvPr>
              <p:cNvSpPr/>
              <p:nvPr/>
            </p:nvSpPr>
            <p:spPr>
              <a:xfrm>
                <a:off x="5084466" y="5329819"/>
                <a:ext cx="18369" cy="18441"/>
              </a:xfrm>
              <a:custGeom>
                <a:avLst/>
                <a:gdLst>
                  <a:gd name="connsiteX0" fmla="*/ 1261 w 18369"/>
                  <a:gd name="connsiteY0" fmla="*/ 4546 h 18441"/>
                  <a:gd name="connsiteX1" fmla="*/ 4550 w 18369"/>
                  <a:gd name="connsiteY1" fmla="*/ 17165 h 18441"/>
                  <a:gd name="connsiteX2" fmla="*/ 17109 w 18369"/>
                  <a:gd name="connsiteY2" fmla="*/ 13935 h 18441"/>
                  <a:gd name="connsiteX3" fmla="*/ 13820 w 18369"/>
                  <a:gd name="connsiteY3" fmla="*/ 1316 h 18441"/>
                  <a:gd name="connsiteX4" fmla="*/ 1261 w 18369"/>
                  <a:gd name="connsiteY4" fmla="*/ 454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1">
                    <a:moveTo>
                      <a:pt x="1261" y="4546"/>
                    </a:moveTo>
                    <a:cubicBezTo>
                      <a:pt x="-1311" y="8912"/>
                      <a:pt x="184" y="14593"/>
                      <a:pt x="4550" y="17165"/>
                    </a:cubicBezTo>
                    <a:cubicBezTo>
                      <a:pt x="8916" y="19737"/>
                      <a:pt x="14538" y="18302"/>
                      <a:pt x="17109" y="13935"/>
                    </a:cubicBezTo>
                    <a:cubicBezTo>
                      <a:pt x="19681" y="9570"/>
                      <a:pt x="18186" y="3888"/>
                      <a:pt x="13820" y="1316"/>
                    </a:cubicBezTo>
                    <a:cubicBezTo>
                      <a:pt x="9454" y="-1315"/>
                      <a:pt x="3832" y="120"/>
                      <a:pt x="1261" y="4546"/>
                    </a:cubicBezTo>
                    <a:close/>
                  </a:path>
                </a:pathLst>
              </a:custGeom>
              <a:grpFill/>
              <a:ln w="5978" cap="flat">
                <a:noFill/>
                <a:prstDash val="solid"/>
                <a:miter/>
              </a:ln>
            </p:spPr>
            <p:txBody>
              <a:bodyPr rtlCol="0" anchor="ctr"/>
              <a:lstStyle/>
              <a:p>
                <a:endParaRPr lang="en-GB"/>
              </a:p>
            </p:txBody>
          </p:sp>
        </p:grpSp>
        <p:grpSp>
          <p:nvGrpSpPr>
            <p:cNvPr id="1008" name="Graphic 3">
              <a:extLst>
                <a:ext uri="{FF2B5EF4-FFF2-40B4-BE49-F238E27FC236}">
                  <a16:creationId xmlns:a16="http://schemas.microsoft.com/office/drawing/2014/main" id="{47EF8896-E21D-4373-A440-4C0CDB7E4616}"/>
                </a:ext>
              </a:extLst>
            </p:cNvPr>
            <p:cNvGrpSpPr/>
            <p:nvPr/>
          </p:nvGrpSpPr>
          <p:grpSpPr>
            <a:xfrm>
              <a:off x="5082009" y="4956135"/>
              <a:ext cx="277285" cy="490091"/>
              <a:chOff x="5082009" y="4956135"/>
              <a:chExt cx="277285" cy="490091"/>
            </a:xfrm>
            <a:grpFill/>
          </p:grpSpPr>
          <p:sp>
            <p:nvSpPr>
              <p:cNvPr id="2376" name="Vrije vorm: vorm 2375">
                <a:extLst>
                  <a:ext uri="{FF2B5EF4-FFF2-40B4-BE49-F238E27FC236}">
                    <a16:creationId xmlns:a16="http://schemas.microsoft.com/office/drawing/2014/main" id="{C455FC93-185D-4D1E-9B97-AD634C7C0C3C}"/>
                  </a:ext>
                </a:extLst>
              </p:cNvPr>
              <p:cNvSpPr/>
              <p:nvPr/>
            </p:nvSpPr>
            <p:spPr>
              <a:xfrm>
                <a:off x="5089614" y="4964218"/>
                <a:ext cx="262135" cy="473912"/>
              </a:xfrm>
              <a:custGeom>
                <a:avLst/>
                <a:gdLst>
                  <a:gd name="connsiteX0" fmla="*/ 262135 w 262135"/>
                  <a:gd name="connsiteY0" fmla="*/ 1435 h 473912"/>
                  <a:gd name="connsiteX1" fmla="*/ 2691 w 262135"/>
                  <a:gd name="connsiteY1" fmla="*/ 473912 h 473912"/>
                  <a:gd name="connsiteX2" fmla="*/ 0 w 262135"/>
                  <a:gd name="connsiteY2" fmla="*/ 472417 h 473912"/>
                  <a:gd name="connsiteX3" fmla="*/ 259444 w 262135"/>
                  <a:gd name="connsiteY3" fmla="*/ 0 h 473912"/>
                </a:gdLst>
                <a:ahLst/>
                <a:cxnLst>
                  <a:cxn ang="0">
                    <a:pos x="connsiteX0" y="connsiteY0"/>
                  </a:cxn>
                  <a:cxn ang="0">
                    <a:pos x="connsiteX1" y="connsiteY1"/>
                  </a:cxn>
                  <a:cxn ang="0">
                    <a:pos x="connsiteX2" y="connsiteY2"/>
                  </a:cxn>
                  <a:cxn ang="0">
                    <a:pos x="connsiteX3" y="connsiteY3"/>
                  </a:cxn>
                </a:cxnLst>
                <a:rect l="l" t="t" r="r" b="b"/>
                <a:pathLst>
                  <a:path w="262135" h="473912">
                    <a:moveTo>
                      <a:pt x="262135" y="1435"/>
                    </a:moveTo>
                    <a:lnTo>
                      <a:pt x="2691" y="473912"/>
                    </a:lnTo>
                    <a:lnTo>
                      <a:pt x="0" y="472417"/>
                    </a:lnTo>
                    <a:lnTo>
                      <a:pt x="259444" y="0"/>
                    </a:lnTo>
                    <a:close/>
                  </a:path>
                </a:pathLst>
              </a:custGeom>
              <a:grpFill/>
              <a:ln w="5978" cap="flat">
                <a:noFill/>
                <a:prstDash val="solid"/>
                <a:miter/>
              </a:ln>
            </p:spPr>
            <p:txBody>
              <a:bodyPr rtlCol="0" anchor="ctr"/>
              <a:lstStyle/>
              <a:p>
                <a:endParaRPr lang="en-GB"/>
              </a:p>
            </p:txBody>
          </p:sp>
          <p:sp>
            <p:nvSpPr>
              <p:cNvPr id="2377" name="Vrije vorm: vorm 2376">
                <a:extLst>
                  <a:ext uri="{FF2B5EF4-FFF2-40B4-BE49-F238E27FC236}">
                    <a16:creationId xmlns:a16="http://schemas.microsoft.com/office/drawing/2014/main" id="{D889E7CF-872A-49AA-9844-DADF0CAECEB6}"/>
                  </a:ext>
                </a:extLst>
              </p:cNvPr>
              <p:cNvSpPr/>
              <p:nvPr/>
            </p:nvSpPr>
            <p:spPr>
              <a:xfrm>
                <a:off x="5341013" y="4956135"/>
                <a:ext cx="18281" cy="18439"/>
              </a:xfrm>
              <a:custGeom>
                <a:avLst/>
                <a:gdLst>
                  <a:gd name="connsiteX0" fmla="*/ 1107 w 18281"/>
                  <a:gd name="connsiteY0" fmla="*/ 4734 h 18439"/>
                  <a:gd name="connsiteX1" fmla="*/ 13547 w 18281"/>
                  <a:gd name="connsiteY1" fmla="*/ 1146 h 18439"/>
                  <a:gd name="connsiteX2" fmla="*/ 17136 w 18281"/>
                  <a:gd name="connsiteY2" fmla="*/ 13706 h 18439"/>
                  <a:gd name="connsiteX3" fmla="*/ 4696 w 18281"/>
                  <a:gd name="connsiteY3" fmla="*/ 17294 h 18439"/>
                  <a:gd name="connsiteX4" fmla="*/ 1107 w 18281"/>
                  <a:gd name="connsiteY4" fmla="*/ 47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39">
                    <a:moveTo>
                      <a:pt x="1107" y="4734"/>
                    </a:moveTo>
                    <a:cubicBezTo>
                      <a:pt x="3559" y="309"/>
                      <a:pt x="9121" y="-1306"/>
                      <a:pt x="13547" y="1146"/>
                    </a:cubicBezTo>
                    <a:cubicBezTo>
                      <a:pt x="17973" y="3598"/>
                      <a:pt x="19587" y="9220"/>
                      <a:pt x="17136" y="13706"/>
                    </a:cubicBezTo>
                    <a:cubicBezTo>
                      <a:pt x="14683" y="18131"/>
                      <a:pt x="9121" y="19746"/>
                      <a:pt x="4696" y="17294"/>
                    </a:cubicBezTo>
                    <a:cubicBezTo>
                      <a:pt x="330" y="14782"/>
                      <a:pt x="-1285" y="9160"/>
                      <a:pt x="1107" y="4734"/>
                    </a:cubicBezTo>
                    <a:close/>
                  </a:path>
                </a:pathLst>
              </a:custGeom>
              <a:grpFill/>
              <a:ln w="5978" cap="flat">
                <a:noFill/>
                <a:prstDash val="solid"/>
                <a:miter/>
              </a:ln>
            </p:spPr>
            <p:txBody>
              <a:bodyPr rtlCol="0" anchor="ctr"/>
              <a:lstStyle/>
              <a:p>
                <a:endParaRPr lang="en-GB"/>
              </a:p>
            </p:txBody>
          </p:sp>
          <p:sp>
            <p:nvSpPr>
              <p:cNvPr id="2378" name="Vrije vorm: vorm 2377">
                <a:extLst>
                  <a:ext uri="{FF2B5EF4-FFF2-40B4-BE49-F238E27FC236}">
                    <a16:creationId xmlns:a16="http://schemas.microsoft.com/office/drawing/2014/main" id="{8F182B8E-74BC-4FBB-AB60-77DF74D6366C}"/>
                  </a:ext>
                </a:extLst>
              </p:cNvPr>
              <p:cNvSpPr/>
              <p:nvPr/>
            </p:nvSpPr>
            <p:spPr>
              <a:xfrm>
                <a:off x="5082009" y="5427781"/>
                <a:ext cx="18320" cy="18445"/>
              </a:xfrm>
              <a:custGeom>
                <a:avLst/>
                <a:gdLst>
                  <a:gd name="connsiteX0" fmla="*/ 1146 w 18320"/>
                  <a:gd name="connsiteY0" fmla="*/ 4728 h 18445"/>
                  <a:gd name="connsiteX1" fmla="*/ 4734 w 18320"/>
                  <a:gd name="connsiteY1" fmla="*/ 17288 h 18445"/>
                  <a:gd name="connsiteX2" fmla="*/ 17174 w 18320"/>
                  <a:gd name="connsiteY2" fmla="*/ 13699 h 18445"/>
                  <a:gd name="connsiteX3" fmla="*/ 13586 w 18320"/>
                  <a:gd name="connsiteY3" fmla="*/ 1199 h 18445"/>
                  <a:gd name="connsiteX4" fmla="*/ 1146 w 18320"/>
                  <a:gd name="connsiteY4" fmla="*/ 4728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45">
                    <a:moveTo>
                      <a:pt x="1146" y="4728"/>
                    </a:moveTo>
                    <a:cubicBezTo>
                      <a:pt x="-1306" y="9154"/>
                      <a:pt x="309" y="14776"/>
                      <a:pt x="4734" y="17288"/>
                    </a:cubicBezTo>
                    <a:cubicBezTo>
                      <a:pt x="9160" y="19740"/>
                      <a:pt x="14722" y="18185"/>
                      <a:pt x="17174" y="13699"/>
                    </a:cubicBezTo>
                    <a:cubicBezTo>
                      <a:pt x="19626" y="9274"/>
                      <a:pt x="18011" y="3652"/>
                      <a:pt x="13586" y="1199"/>
                    </a:cubicBezTo>
                    <a:cubicBezTo>
                      <a:pt x="9160" y="-1312"/>
                      <a:pt x="3598" y="243"/>
                      <a:pt x="1146" y="4728"/>
                    </a:cubicBezTo>
                    <a:close/>
                  </a:path>
                </a:pathLst>
              </a:custGeom>
              <a:grpFill/>
              <a:ln w="5978" cap="flat">
                <a:noFill/>
                <a:prstDash val="solid"/>
                <a:miter/>
              </a:ln>
            </p:spPr>
            <p:txBody>
              <a:bodyPr rtlCol="0" anchor="ctr"/>
              <a:lstStyle/>
              <a:p>
                <a:endParaRPr lang="en-GB"/>
              </a:p>
            </p:txBody>
          </p:sp>
        </p:grpSp>
        <p:grpSp>
          <p:nvGrpSpPr>
            <p:cNvPr id="1009" name="Graphic 3">
              <a:extLst>
                <a:ext uri="{FF2B5EF4-FFF2-40B4-BE49-F238E27FC236}">
                  <a16:creationId xmlns:a16="http://schemas.microsoft.com/office/drawing/2014/main" id="{F18EFA80-BF06-4F36-B5EA-8675BEE0A601}"/>
                </a:ext>
              </a:extLst>
            </p:cNvPr>
            <p:cNvGrpSpPr/>
            <p:nvPr/>
          </p:nvGrpSpPr>
          <p:grpSpPr>
            <a:xfrm>
              <a:off x="5107427" y="4944891"/>
              <a:ext cx="114370" cy="193555"/>
              <a:chOff x="5107427" y="4944891"/>
              <a:chExt cx="114370" cy="193555"/>
            </a:xfrm>
            <a:grpFill/>
          </p:grpSpPr>
          <p:sp>
            <p:nvSpPr>
              <p:cNvPr id="2373" name="Vrije vorm: vorm 2372">
                <a:extLst>
                  <a:ext uri="{FF2B5EF4-FFF2-40B4-BE49-F238E27FC236}">
                    <a16:creationId xmlns:a16="http://schemas.microsoft.com/office/drawing/2014/main" id="{AF98B03B-1684-4398-B724-776395DA2BB5}"/>
                  </a:ext>
                </a:extLst>
              </p:cNvPr>
              <p:cNvSpPr/>
              <p:nvPr/>
            </p:nvSpPr>
            <p:spPr>
              <a:xfrm>
                <a:off x="5115032" y="4952915"/>
                <a:ext cx="99100" cy="177447"/>
              </a:xfrm>
              <a:custGeom>
                <a:avLst/>
                <a:gdLst>
                  <a:gd name="connsiteX0" fmla="*/ 99101 w 99100"/>
                  <a:gd name="connsiteY0" fmla="*/ 1495 h 177447"/>
                  <a:gd name="connsiteX1" fmla="*/ 2632 w 99100"/>
                  <a:gd name="connsiteY1" fmla="*/ 177448 h 177447"/>
                  <a:gd name="connsiteX2" fmla="*/ 0 w 99100"/>
                  <a:gd name="connsiteY2" fmla="*/ 175953 h 177447"/>
                  <a:gd name="connsiteX3" fmla="*/ 96469 w 99100"/>
                  <a:gd name="connsiteY3" fmla="*/ 0 h 177447"/>
                </a:gdLst>
                <a:ahLst/>
                <a:cxnLst>
                  <a:cxn ang="0">
                    <a:pos x="connsiteX0" y="connsiteY0"/>
                  </a:cxn>
                  <a:cxn ang="0">
                    <a:pos x="connsiteX1" y="connsiteY1"/>
                  </a:cxn>
                  <a:cxn ang="0">
                    <a:pos x="connsiteX2" y="connsiteY2"/>
                  </a:cxn>
                  <a:cxn ang="0">
                    <a:pos x="connsiteX3" y="connsiteY3"/>
                  </a:cxn>
                </a:cxnLst>
                <a:rect l="l" t="t" r="r" b="b"/>
                <a:pathLst>
                  <a:path w="99100" h="177447">
                    <a:moveTo>
                      <a:pt x="99101" y="1495"/>
                    </a:moveTo>
                    <a:lnTo>
                      <a:pt x="2632" y="177448"/>
                    </a:lnTo>
                    <a:lnTo>
                      <a:pt x="0" y="175953"/>
                    </a:lnTo>
                    <a:lnTo>
                      <a:pt x="96469" y="0"/>
                    </a:lnTo>
                    <a:close/>
                  </a:path>
                </a:pathLst>
              </a:custGeom>
              <a:grpFill/>
              <a:ln w="5978" cap="flat">
                <a:noFill/>
                <a:prstDash val="solid"/>
                <a:miter/>
              </a:ln>
            </p:spPr>
            <p:txBody>
              <a:bodyPr rtlCol="0" anchor="ctr"/>
              <a:lstStyle/>
              <a:p>
                <a:endParaRPr lang="en-GB"/>
              </a:p>
            </p:txBody>
          </p:sp>
          <p:sp>
            <p:nvSpPr>
              <p:cNvPr id="2374" name="Vrije vorm: vorm 2373">
                <a:extLst>
                  <a:ext uri="{FF2B5EF4-FFF2-40B4-BE49-F238E27FC236}">
                    <a16:creationId xmlns:a16="http://schemas.microsoft.com/office/drawing/2014/main" id="{530B15F1-DA7B-4706-A7B6-46358778DE80}"/>
                  </a:ext>
                </a:extLst>
              </p:cNvPr>
              <p:cNvSpPr/>
              <p:nvPr/>
            </p:nvSpPr>
            <p:spPr>
              <a:xfrm>
                <a:off x="5107427" y="5120066"/>
                <a:ext cx="18320" cy="18379"/>
              </a:xfrm>
              <a:custGeom>
                <a:avLst/>
                <a:gdLst>
                  <a:gd name="connsiteX0" fmla="*/ 17174 w 18320"/>
                  <a:gd name="connsiteY0" fmla="*/ 13646 h 18379"/>
                  <a:gd name="connsiteX1" fmla="*/ 4734 w 18320"/>
                  <a:gd name="connsiteY1" fmla="*/ 17234 h 18379"/>
                  <a:gd name="connsiteX2" fmla="*/ 1146 w 18320"/>
                  <a:gd name="connsiteY2" fmla="*/ 4734 h 18379"/>
                  <a:gd name="connsiteX3" fmla="*/ 13586 w 18320"/>
                  <a:gd name="connsiteY3" fmla="*/ 1146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4722" y="18071"/>
                      <a:pt x="9160" y="19686"/>
                      <a:pt x="4734" y="17234"/>
                    </a:cubicBezTo>
                    <a:cubicBezTo>
                      <a:pt x="309" y="14782"/>
                      <a:pt x="-1306" y="9160"/>
                      <a:pt x="1146" y="4734"/>
                    </a:cubicBezTo>
                    <a:cubicBezTo>
                      <a:pt x="3598" y="309"/>
                      <a:pt x="9160" y="-1306"/>
                      <a:pt x="13586" y="1146"/>
                    </a:cubicBezTo>
                    <a:cubicBezTo>
                      <a:pt x="18011" y="3598"/>
                      <a:pt x="19626" y="9160"/>
                      <a:pt x="17174" y="13646"/>
                    </a:cubicBezTo>
                    <a:close/>
                  </a:path>
                </a:pathLst>
              </a:custGeom>
              <a:grpFill/>
              <a:ln w="5978" cap="flat">
                <a:noFill/>
                <a:prstDash val="solid"/>
                <a:miter/>
              </a:ln>
            </p:spPr>
            <p:txBody>
              <a:bodyPr rtlCol="0" anchor="ctr"/>
              <a:lstStyle/>
              <a:p>
                <a:endParaRPr lang="en-GB"/>
              </a:p>
            </p:txBody>
          </p:sp>
          <p:sp>
            <p:nvSpPr>
              <p:cNvPr id="2375" name="Vrije vorm: vorm 2374">
                <a:extLst>
                  <a:ext uri="{FF2B5EF4-FFF2-40B4-BE49-F238E27FC236}">
                    <a16:creationId xmlns:a16="http://schemas.microsoft.com/office/drawing/2014/main" id="{C01934E1-9265-4FDC-89BE-38C9ED26DEAA}"/>
                  </a:ext>
                </a:extLst>
              </p:cNvPr>
              <p:cNvSpPr/>
              <p:nvPr/>
            </p:nvSpPr>
            <p:spPr>
              <a:xfrm>
                <a:off x="5203477" y="4944891"/>
                <a:ext cx="18320" cy="18379"/>
              </a:xfrm>
              <a:custGeom>
                <a:avLst/>
                <a:gdLst>
                  <a:gd name="connsiteX0" fmla="*/ 17174 w 18320"/>
                  <a:gd name="connsiteY0" fmla="*/ 13646 h 18379"/>
                  <a:gd name="connsiteX1" fmla="*/ 13586 w 18320"/>
                  <a:gd name="connsiteY1" fmla="*/ 1146 h 18379"/>
                  <a:gd name="connsiteX2" fmla="*/ 1146 w 18320"/>
                  <a:gd name="connsiteY2" fmla="*/ 4734 h 18379"/>
                  <a:gd name="connsiteX3" fmla="*/ 4734 w 18320"/>
                  <a:gd name="connsiteY3" fmla="*/ 17234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9626" y="9220"/>
                      <a:pt x="18011" y="3598"/>
                      <a:pt x="13586" y="1146"/>
                    </a:cubicBezTo>
                    <a:cubicBezTo>
                      <a:pt x="9160" y="-1306"/>
                      <a:pt x="3598" y="309"/>
                      <a:pt x="1146" y="4734"/>
                    </a:cubicBezTo>
                    <a:cubicBezTo>
                      <a:pt x="-1306" y="9160"/>
                      <a:pt x="309" y="14782"/>
                      <a:pt x="4734" y="17234"/>
                    </a:cubicBezTo>
                    <a:cubicBezTo>
                      <a:pt x="9160" y="19686"/>
                      <a:pt x="14722" y="18071"/>
                      <a:pt x="17174" y="13646"/>
                    </a:cubicBezTo>
                    <a:close/>
                  </a:path>
                </a:pathLst>
              </a:custGeom>
              <a:grpFill/>
              <a:ln w="5978" cap="flat">
                <a:noFill/>
                <a:prstDash val="solid"/>
                <a:miter/>
              </a:ln>
            </p:spPr>
            <p:txBody>
              <a:bodyPr rtlCol="0" anchor="ctr"/>
              <a:lstStyle/>
              <a:p>
                <a:endParaRPr lang="en-GB"/>
              </a:p>
            </p:txBody>
          </p:sp>
        </p:grpSp>
        <p:grpSp>
          <p:nvGrpSpPr>
            <p:cNvPr id="1010" name="Graphic 3">
              <a:extLst>
                <a:ext uri="{FF2B5EF4-FFF2-40B4-BE49-F238E27FC236}">
                  <a16:creationId xmlns:a16="http://schemas.microsoft.com/office/drawing/2014/main" id="{F10261B4-AA21-4B22-AF6B-AD521120ADB4}"/>
                </a:ext>
              </a:extLst>
            </p:cNvPr>
            <p:cNvGrpSpPr/>
            <p:nvPr/>
          </p:nvGrpSpPr>
          <p:grpSpPr>
            <a:xfrm>
              <a:off x="4304968" y="2572386"/>
              <a:ext cx="63475" cy="40105"/>
              <a:chOff x="4304968" y="2572386"/>
              <a:chExt cx="63475" cy="40105"/>
            </a:xfrm>
            <a:grpFill/>
          </p:grpSpPr>
          <p:sp>
            <p:nvSpPr>
              <p:cNvPr id="2370" name="Vrije vorm: vorm 2369">
                <a:extLst>
                  <a:ext uri="{FF2B5EF4-FFF2-40B4-BE49-F238E27FC236}">
                    <a16:creationId xmlns:a16="http://schemas.microsoft.com/office/drawing/2014/main" id="{F1510E9F-6D85-4E12-A2D3-473306C9BCAC}"/>
                  </a:ext>
                </a:extLst>
              </p:cNvPr>
              <p:cNvSpPr/>
              <p:nvPr/>
            </p:nvSpPr>
            <p:spPr>
              <a:xfrm>
                <a:off x="4313077" y="2580004"/>
                <a:ext cx="47247" cy="24820"/>
              </a:xfrm>
              <a:custGeom>
                <a:avLst/>
                <a:gdLst>
                  <a:gd name="connsiteX0" fmla="*/ 47247 w 47247"/>
                  <a:gd name="connsiteY0" fmla="*/ 22069 h 24820"/>
                  <a:gd name="connsiteX1" fmla="*/ 45992 w 47247"/>
                  <a:gd name="connsiteY1" fmla="*/ 24820 h 24820"/>
                  <a:gd name="connsiteX2" fmla="*/ 0 w 47247"/>
                  <a:gd name="connsiteY2" fmla="*/ 2751 h 24820"/>
                  <a:gd name="connsiteX3" fmla="*/ 1256 w 47247"/>
                  <a:gd name="connsiteY3" fmla="*/ 0 h 24820"/>
                </a:gdLst>
                <a:ahLst/>
                <a:cxnLst>
                  <a:cxn ang="0">
                    <a:pos x="connsiteX0" y="connsiteY0"/>
                  </a:cxn>
                  <a:cxn ang="0">
                    <a:pos x="connsiteX1" y="connsiteY1"/>
                  </a:cxn>
                  <a:cxn ang="0">
                    <a:pos x="connsiteX2" y="connsiteY2"/>
                  </a:cxn>
                  <a:cxn ang="0">
                    <a:pos x="connsiteX3" y="connsiteY3"/>
                  </a:cxn>
                </a:cxnLst>
                <a:rect l="l" t="t" r="r" b="b"/>
                <a:pathLst>
                  <a:path w="47247" h="24820">
                    <a:moveTo>
                      <a:pt x="47247" y="22069"/>
                    </a:moveTo>
                    <a:lnTo>
                      <a:pt x="45992" y="24820"/>
                    </a:lnTo>
                    <a:lnTo>
                      <a:pt x="0" y="2751"/>
                    </a:lnTo>
                    <a:lnTo>
                      <a:pt x="1256" y="0"/>
                    </a:lnTo>
                    <a:close/>
                  </a:path>
                </a:pathLst>
              </a:custGeom>
              <a:grpFill/>
              <a:ln w="5978" cap="flat">
                <a:noFill/>
                <a:prstDash val="solid"/>
                <a:miter/>
              </a:ln>
            </p:spPr>
            <p:txBody>
              <a:bodyPr rtlCol="0" anchor="ctr"/>
              <a:lstStyle/>
              <a:p>
                <a:endParaRPr lang="en-GB"/>
              </a:p>
            </p:txBody>
          </p:sp>
          <p:sp>
            <p:nvSpPr>
              <p:cNvPr id="2371" name="Vrije vorm: vorm 2370">
                <a:extLst>
                  <a:ext uri="{FF2B5EF4-FFF2-40B4-BE49-F238E27FC236}">
                    <a16:creationId xmlns:a16="http://schemas.microsoft.com/office/drawing/2014/main" id="{AAB642BF-7CED-4DDC-8F52-F40D998DDF0F}"/>
                  </a:ext>
                </a:extLst>
              </p:cNvPr>
              <p:cNvSpPr/>
              <p:nvPr/>
            </p:nvSpPr>
            <p:spPr>
              <a:xfrm>
                <a:off x="4304968" y="2572386"/>
                <a:ext cx="18311" cy="18406"/>
              </a:xfrm>
              <a:custGeom>
                <a:avLst/>
                <a:gdLst>
                  <a:gd name="connsiteX0" fmla="*/ 5238 w 18311"/>
                  <a:gd name="connsiteY0" fmla="*/ 17486 h 18406"/>
                  <a:gd name="connsiteX1" fmla="*/ 872 w 18311"/>
                  <a:gd name="connsiteY1" fmla="*/ 5226 h 18406"/>
                  <a:gd name="connsiteX2" fmla="*/ 13073 w 18311"/>
                  <a:gd name="connsiteY2" fmla="*/ 920 h 18406"/>
                  <a:gd name="connsiteX3" fmla="*/ 17439 w 18311"/>
                  <a:gd name="connsiteY3" fmla="*/ 13180 h 18406"/>
                  <a:gd name="connsiteX4" fmla="*/ 5238 w 18311"/>
                  <a:gd name="connsiteY4" fmla="*/ 174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6">
                    <a:moveTo>
                      <a:pt x="5238" y="17486"/>
                    </a:moveTo>
                    <a:cubicBezTo>
                      <a:pt x="693" y="15273"/>
                      <a:pt x="-1281" y="9771"/>
                      <a:pt x="872" y="5226"/>
                    </a:cubicBezTo>
                    <a:cubicBezTo>
                      <a:pt x="3025" y="621"/>
                      <a:pt x="8528" y="-1293"/>
                      <a:pt x="13073" y="920"/>
                    </a:cubicBezTo>
                    <a:cubicBezTo>
                      <a:pt x="17618" y="3133"/>
                      <a:pt x="19592" y="8635"/>
                      <a:pt x="17439" y="13180"/>
                    </a:cubicBezTo>
                    <a:cubicBezTo>
                      <a:pt x="15286" y="17785"/>
                      <a:pt x="9784" y="19699"/>
                      <a:pt x="5238" y="17486"/>
                    </a:cubicBezTo>
                    <a:close/>
                  </a:path>
                </a:pathLst>
              </a:custGeom>
              <a:grpFill/>
              <a:ln w="5978" cap="flat">
                <a:noFill/>
                <a:prstDash val="solid"/>
                <a:miter/>
              </a:ln>
            </p:spPr>
            <p:txBody>
              <a:bodyPr rtlCol="0" anchor="ctr"/>
              <a:lstStyle/>
              <a:p>
                <a:endParaRPr lang="en-GB"/>
              </a:p>
            </p:txBody>
          </p:sp>
          <p:sp>
            <p:nvSpPr>
              <p:cNvPr id="2372" name="Vrije vorm: vorm 2371">
                <a:extLst>
                  <a:ext uri="{FF2B5EF4-FFF2-40B4-BE49-F238E27FC236}">
                    <a16:creationId xmlns:a16="http://schemas.microsoft.com/office/drawing/2014/main" id="{21485501-0B73-4CB5-8B32-8E535A3E75AB}"/>
                  </a:ext>
                </a:extLst>
              </p:cNvPr>
              <p:cNvSpPr/>
              <p:nvPr/>
            </p:nvSpPr>
            <p:spPr>
              <a:xfrm>
                <a:off x="4350122" y="2594106"/>
                <a:ext cx="18321" cy="18385"/>
              </a:xfrm>
              <a:custGeom>
                <a:avLst/>
                <a:gdLst>
                  <a:gd name="connsiteX0" fmla="*/ 5238 w 18321"/>
                  <a:gd name="connsiteY0" fmla="*/ 17476 h 18385"/>
                  <a:gd name="connsiteX1" fmla="*/ 17439 w 18321"/>
                  <a:gd name="connsiteY1" fmla="*/ 13170 h 18385"/>
                  <a:gd name="connsiteX2" fmla="*/ 13073 w 18321"/>
                  <a:gd name="connsiteY2" fmla="*/ 910 h 18385"/>
                  <a:gd name="connsiteX3" fmla="*/ 872 w 18321"/>
                  <a:gd name="connsiteY3" fmla="*/ 5216 h 18385"/>
                  <a:gd name="connsiteX4" fmla="*/ 5238 w 18321"/>
                  <a:gd name="connsiteY4" fmla="*/ 17476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5">
                    <a:moveTo>
                      <a:pt x="5238" y="17476"/>
                    </a:moveTo>
                    <a:cubicBezTo>
                      <a:pt x="9784" y="19689"/>
                      <a:pt x="15286" y="17715"/>
                      <a:pt x="17439" y="13170"/>
                    </a:cubicBezTo>
                    <a:cubicBezTo>
                      <a:pt x="19592" y="8565"/>
                      <a:pt x="17678" y="3063"/>
                      <a:pt x="13073" y="910"/>
                    </a:cubicBezTo>
                    <a:cubicBezTo>
                      <a:pt x="8528" y="-1303"/>
                      <a:pt x="3025" y="670"/>
                      <a:pt x="872" y="5216"/>
                    </a:cubicBezTo>
                    <a:cubicBezTo>
                      <a:pt x="-1281" y="9761"/>
                      <a:pt x="693" y="15263"/>
                      <a:pt x="5238" y="17476"/>
                    </a:cubicBezTo>
                    <a:close/>
                  </a:path>
                </a:pathLst>
              </a:custGeom>
              <a:grpFill/>
              <a:ln w="5978" cap="flat">
                <a:noFill/>
                <a:prstDash val="solid"/>
                <a:miter/>
              </a:ln>
            </p:spPr>
            <p:txBody>
              <a:bodyPr rtlCol="0" anchor="ctr"/>
              <a:lstStyle/>
              <a:p>
                <a:endParaRPr lang="en-GB"/>
              </a:p>
            </p:txBody>
          </p:sp>
        </p:grpSp>
        <p:grpSp>
          <p:nvGrpSpPr>
            <p:cNvPr id="1011" name="Graphic 3">
              <a:extLst>
                <a:ext uri="{FF2B5EF4-FFF2-40B4-BE49-F238E27FC236}">
                  <a16:creationId xmlns:a16="http://schemas.microsoft.com/office/drawing/2014/main" id="{31C77465-BD8F-41FA-A4C4-88C5E2AFDA90}"/>
                </a:ext>
              </a:extLst>
            </p:cNvPr>
            <p:cNvGrpSpPr/>
            <p:nvPr/>
          </p:nvGrpSpPr>
          <p:grpSpPr>
            <a:xfrm>
              <a:off x="4305795" y="2572755"/>
              <a:ext cx="62638" cy="39687"/>
              <a:chOff x="4305795" y="2572755"/>
              <a:chExt cx="62638" cy="39687"/>
            </a:xfrm>
            <a:grpFill/>
          </p:grpSpPr>
          <p:sp>
            <p:nvSpPr>
              <p:cNvPr id="2367" name="Vrije vorm: vorm 2366">
                <a:extLst>
                  <a:ext uri="{FF2B5EF4-FFF2-40B4-BE49-F238E27FC236}">
                    <a16:creationId xmlns:a16="http://schemas.microsoft.com/office/drawing/2014/main" id="{C1749DD7-732A-4D33-BB45-34BFCF6B2DFD}"/>
                  </a:ext>
                </a:extLst>
              </p:cNvPr>
              <p:cNvSpPr/>
              <p:nvPr/>
            </p:nvSpPr>
            <p:spPr>
              <a:xfrm>
                <a:off x="4313914" y="2580422"/>
                <a:ext cx="46410" cy="24401"/>
              </a:xfrm>
              <a:custGeom>
                <a:avLst/>
                <a:gdLst>
                  <a:gd name="connsiteX0" fmla="*/ 46410 w 46410"/>
                  <a:gd name="connsiteY0" fmla="*/ 21650 h 24401"/>
                  <a:gd name="connsiteX1" fmla="*/ 45155 w 46410"/>
                  <a:gd name="connsiteY1" fmla="*/ 24401 h 24401"/>
                  <a:gd name="connsiteX2" fmla="*/ 0 w 46410"/>
                  <a:gd name="connsiteY2" fmla="*/ 2751 h 24401"/>
                  <a:gd name="connsiteX3" fmla="*/ 1316 w 46410"/>
                  <a:gd name="connsiteY3" fmla="*/ 0 h 24401"/>
                </a:gdLst>
                <a:ahLst/>
                <a:cxnLst>
                  <a:cxn ang="0">
                    <a:pos x="connsiteX0" y="connsiteY0"/>
                  </a:cxn>
                  <a:cxn ang="0">
                    <a:pos x="connsiteX1" y="connsiteY1"/>
                  </a:cxn>
                  <a:cxn ang="0">
                    <a:pos x="connsiteX2" y="connsiteY2"/>
                  </a:cxn>
                  <a:cxn ang="0">
                    <a:pos x="connsiteX3" y="connsiteY3"/>
                  </a:cxn>
                </a:cxnLst>
                <a:rect l="l" t="t" r="r" b="b"/>
                <a:pathLst>
                  <a:path w="46410" h="24401">
                    <a:moveTo>
                      <a:pt x="46410" y="21650"/>
                    </a:moveTo>
                    <a:lnTo>
                      <a:pt x="45155" y="24401"/>
                    </a:lnTo>
                    <a:lnTo>
                      <a:pt x="0" y="2751"/>
                    </a:lnTo>
                    <a:lnTo>
                      <a:pt x="1316" y="0"/>
                    </a:lnTo>
                    <a:close/>
                  </a:path>
                </a:pathLst>
              </a:custGeom>
              <a:grpFill/>
              <a:ln w="5978" cap="flat">
                <a:noFill/>
                <a:prstDash val="solid"/>
                <a:miter/>
              </a:ln>
            </p:spPr>
            <p:txBody>
              <a:bodyPr rtlCol="0" anchor="ctr"/>
              <a:lstStyle/>
              <a:p>
                <a:endParaRPr lang="en-GB"/>
              </a:p>
            </p:txBody>
          </p:sp>
          <p:sp>
            <p:nvSpPr>
              <p:cNvPr id="2368" name="Vrije vorm: vorm 2367">
                <a:extLst>
                  <a:ext uri="{FF2B5EF4-FFF2-40B4-BE49-F238E27FC236}">
                    <a16:creationId xmlns:a16="http://schemas.microsoft.com/office/drawing/2014/main" id="{4ADD7EEA-9F77-4567-9A24-F3D9701A957B}"/>
                  </a:ext>
                </a:extLst>
              </p:cNvPr>
              <p:cNvSpPr/>
              <p:nvPr/>
            </p:nvSpPr>
            <p:spPr>
              <a:xfrm>
                <a:off x="4350122" y="2594046"/>
                <a:ext cx="18311" cy="18396"/>
              </a:xfrm>
              <a:custGeom>
                <a:avLst/>
                <a:gdLst>
                  <a:gd name="connsiteX0" fmla="*/ 13073 w 18311"/>
                  <a:gd name="connsiteY0" fmla="*/ 910 h 18396"/>
                  <a:gd name="connsiteX1" fmla="*/ 17439 w 18311"/>
                  <a:gd name="connsiteY1" fmla="*/ 13170 h 18396"/>
                  <a:gd name="connsiteX2" fmla="*/ 5238 w 18311"/>
                  <a:gd name="connsiteY2" fmla="*/ 17476 h 18396"/>
                  <a:gd name="connsiteX3" fmla="*/ 872 w 18311"/>
                  <a:gd name="connsiteY3" fmla="*/ 5216 h 18396"/>
                  <a:gd name="connsiteX4" fmla="*/ 13073 w 18311"/>
                  <a:gd name="connsiteY4" fmla="*/ 910 h 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396">
                    <a:moveTo>
                      <a:pt x="13073" y="910"/>
                    </a:moveTo>
                    <a:cubicBezTo>
                      <a:pt x="17618" y="3122"/>
                      <a:pt x="19592" y="8625"/>
                      <a:pt x="17439" y="13170"/>
                    </a:cubicBezTo>
                    <a:cubicBezTo>
                      <a:pt x="15286" y="17775"/>
                      <a:pt x="9784" y="19689"/>
                      <a:pt x="5238" y="17476"/>
                    </a:cubicBezTo>
                    <a:cubicBezTo>
                      <a:pt x="693" y="15263"/>
                      <a:pt x="-1281" y="9761"/>
                      <a:pt x="872" y="5216"/>
                    </a:cubicBezTo>
                    <a:cubicBezTo>
                      <a:pt x="3025" y="670"/>
                      <a:pt x="8528" y="-1303"/>
                      <a:pt x="13073" y="910"/>
                    </a:cubicBezTo>
                    <a:close/>
                  </a:path>
                </a:pathLst>
              </a:custGeom>
              <a:grpFill/>
              <a:ln w="5978" cap="flat">
                <a:noFill/>
                <a:prstDash val="solid"/>
                <a:miter/>
              </a:ln>
            </p:spPr>
            <p:txBody>
              <a:bodyPr rtlCol="0" anchor="ctr"/>
              <a:lstStyle/>
              <a:p>
                <a:endParaRPr lang="en-GB"/>
              </a:p>
            </p:txBody>
          </p:sp>
          <p:sp>
            <p:nvSpPr>
              <p:cNvPr id="2369" name="Vrije vorm: vorm 2368">
                <a:extLst>
                  <a:ext uri="{FF2B5EF4-FFF2-40B4-BE49-F238E27FC236}">
                    <a16:creationId xmlns:a16="http://schemas.microsoft.com/office/drawing/2014/main" id="{89494B8E-DD32-45F8-8E07-5E7FE08D08D5}"/>
                  </a:ext>
                </a:extLst>
              </p:cNvPr>
              <p:cNvSpPr/>
              <p:nvPr/>
            </p:nvSpPr>
            <p:spPr>
              <a:xfrm>
                <a:off x="4305795" y="2572755"/>
                <a:ext cx="18331" cy="18385"/>
              </a:xfrm>
              <a:custGeom>
                <a:avLst/>
                <a:gdLst>
                  <a:gd name="connsiteX0" fmla="*/ 13083 w 18331"/>
                  <a:gd name="connsiteY0" fmla="*/ 910 h 18385"/>
                  <a:gd name="connsiteX1" fmla="*/ 882 w 18331"/>
                  <a:gd name="connsiteY1" fmla="*/ 5216 h 18385"/>
                  <a:gd name="connsiteX2" fmla="*/ 5248 w 18331"/>
                  <a:gd name="connsiteY2" fmla="*/ 17476 h 18385"/>
                  <a:gd name="connsiteX3" fmla="*/ 17449 w 18331"/>
                  <a:gd name="connsiteY3" fmla="*/ 13170 h 18385"/>
                  <a:gd name="connsiteX4" fmla="*/ 13083 w 18331"/>
                  <a:gd name="connsiteY4" fmla="*/ 910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385">
                    <a:moveTo>
                      <a:pt x="13083" y="910"/>
                    </a:moveTo>
                    <a:cubicBezTo>
                      <a:pt x="8537" y="-1303"/>
                      <a:pt x="3035" y="670"/>
                      <a:pt x="882" y="5216"/>
                    </a:cubicBezTo>
                    <a:cubicBezTo>
                      <a:pt x="-1271" y="9821"/>
                      <a:pt x="643" y="15323"/>
                      <a:pt x="5248" y="17476"/>
                    </a:cubicBezTo>
                    <a:cubicBezTo>
                      <a:pt x="9794" y="19689"/>
                      <a:pt x="15296" y="17715"/>
                      <a:pt x="17449" y="13170"/>
                    </a:cubicBezTo>
                    <a:cubicBezTo>
                      <a:pt x="19602" y="8625"/>
                      <a:pt x="17688" y="3122"/>
                      <a:pt x="13083" y="910"/>
                    </a:cubicBezTo>
                    <a:close/>
                  </a:path>
                </a:pathLst>
              </a:custGeom>
              <a:grpFill/>
              <a:ln w="5978" cap="flat">
                <a:noFill/>
                <a:prstDash val="solid"/>
                <a:miter/>
              </a:ln>
            </p:spPr>
            <p:txBody>
              <a:bodyPr rtlCol="0" anchor="ctr"/>
              <a:lstStyle/>
              <a:p>
                <a:endParaRPr lang="en-GB"/>
              </a:p>
            </p:txBody>
          </p:sp>
        </p:grpSp>
        <p:grpSp>
          <p:nvGrpSpPr>
            <p:cNvPr id="1012" name="Graphic 3">
              <a:extLst>
                <a:ext uri="{FF2B5EF4-FFF2-40B4-BE49-F238E27FC236}">
                  <a16:creationId xmlns:a16="http://schemas.microsoft.com/office/drawing/2014/main" id="{FB607D35-561C-4B9A-8896-8C69C76E00CF}"/>
                </a:ext>
              </a:extLst>
            </p:cNvPr>
            <p:cNvGrpSpPr/>
            <p:nvPr/>
          </p:nvGrpSpPr>
          <p:grpSpPr>
            <a:xfrm>
              <a:off x="4198359" y="2564194"/>
              <a:ext cx="297030" cy="178804"/>
              <a:chOff x="4198359" y="2564194"/>
              <a:chExt cx="297030" cy="178804"/>
            </a:xfrm>
            <a:grpFill/>
          </p:grpSpPr>
          <p:sp>
            <p:nvSpPr>
              <p:cNvPr id="2364" name="Vrije vorm: vorm 2363">
                <a:extLst>
                  <a:ext uri="{FF2B5EF4-FFF2-40B4-BE49-F238E27FC236}">
                    <a16:creationId xmlns:a16="http://schemas.microsoft.com/office/drawing/2014/main" id="{8E4383A8-0815-4B3E-9E26-F2F0A19AAB2E}"/>
                  </a:ext>
                </a:extLst>
              </p:cNvPr>
              <p:cNvSpPr/>
              <p:nvPr/>
            </p:nvSpPr>
            <p:spPr>
              <a:xfrm>
                <a:off x="4206381" y="2571870"/>
                <a:ext cx="280974" cy="163512"/>
              </a:xfrm>
              <a:custGeom>
                <a:avLst/>
                <a:gdLst>
                  <a:gd name="connsiteX0" fmla="*/ 280974 w 280974"/>
                  <a:gd name="connsiteY0" fmla="*/ 160881 h 163512"/>
                  <a:gd name="connsiteX1" fmla="*/ 279479 w 280974"/>
                  <a:gd name="connsiteY1" fmla="*/ 163513 h 163512"/>
                  <a:gd name="connsiteX2" fmla="*/ 0 w 280974"/>
                  <a:gd name="connsiteY2" fmla="*/ 2632 h 163512"/>
                  <a:gd name="connsiteX3" fmla="*/ 1495 w 280974"/>
                  <a:gd name="connsiteY3" fmla="*/ 0 h 163512"/>
                </a:gdLst>
                <a:ahLst/>
                <a:cxnLst>
                  <a:cxn ang="0">
                    <a:pos x="connsiteX0" y="connsiteY0"/>
                  </a:cxn>
                  <a:cxn ang="0">
                    <a:pos x="connsiteX1" y="connsiteY1"/>
                  </a:cxn>
                  <a:cxn ang="0">
                    <a:pos x="connsiteX2" y="connsiteY2"/>
                  </a:cxn>
                  <a:cxn ang="0">
                    <a:pos x="connsiteX3" y="connsiteY3"/>
                  </a:cxn>
                </a:cxnLst>
                <a:rect l="l" t="t" r="r" b="b"/>
                <a:pathLst>
                  <a:path w="280974" h="163512">
                    <a:moveTo>
                      <a:pt x="280974" y="160881"/>
                    </a:moveTo>
                    <a:lnTo>
                      <a:pt x="279479" y="163513"/>
                    </a:lnTo>
                    <a:lnTo>
                      <a:pt x="0" y="2632"/>
                    </a:lnTo>
                    <a:lnTo>
                      <a:pt x="1495" y="0"/>
                    </a:lnTo>
                    <a:close/>
                  </a:path>
                </a:pathLst>
              </a:custGeom>
              <a:grpFill/>
              <a:ln w="5978" cap="flat">
                <a:noFill/>
                <a:prstDash val="solid"/>
                <a:miter/>
              </a:ln>
            </p:spPr>
            <p:txBody>
              <a:bodyPr rtlCol="0" anchor="ctr"/>
              <a:lstStyle/>
              <a:p>
                <a:endParaRPr lang="en-GB"/>
              </a:p>
            </p:txBody>
          </p:sp>
          <p:sp>
            <p:nvSpPr>
              <p:cNvPr id="2365" name="Vrije vorm: vorm 2364">
                <a:extLst>
                  <a:ext uri="{FF2B5EF4-FFF2-40B4-BE49-F238E27FC236}">
                    <a16:creationId xmlns:a16="http://schemas.microsoft.com/office/drawing/2014/main" id="{B405003D-1AF1-467F-909A-000F4FF82085}"/>
                  </a:ext>
                </a:extLst>
              </p:cNvPr>
              <p:cNvSpPr/>
              <p:nvPr/>
            </p:nvSpPr>
            <p:spPr>
              <a:xfrm>
                <a:off x="4477048" y="2724610"/>
                <a:ext cx="18341" cy="18388"/>
              </a:xfrm>
              <a:custGeom>
                <a:avLst/>
                <a:gdLst>
                  <a:gd name="connsiteX0" fmla="*/ 13716 w 18341"/>
                  <a:gd name="connsiteY0" fmla="*/ 1203 h 18388"/>
                  <a:gd name="connsiteX1" fmla="*/ 17125 w 18341"/>
                  <a:gd name="connsiteY1" fmla="*/ 13763 h 18388"/>
                  <a:gd name="connsiteX2" fmla="*/ 4626 w 18341"/>
                  <a:gd name="connsiteY2" fmla="*/ 17172 h 18388"/>
                  <a:gd name="connsiteX3" fmla="*/ 1217 w 18341"/>
                  <a:gd name="connsiteY3" fmla="*/ 4613 h 18388"/>
                  <a:gd name="connsiteX4" fmla="*/ 13716 w 18341"/>
                  <a:gd name="connsiteY4" fmla="*/ 1203 h 1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8">
                    <a:moveTo>
                      <a:pt x="13716" y="1203"/>
                    </a:moveTo>
                    <a:cubicBezTo>
                      <a:pt x="18142" y="3715"/>
                      <a:pt x="19637" y="9397"/>
                      <a:pt x="17125" y="13763"/>
                    </a:cubicBezTo>
                    <a:cubicBezTo>
                      <a:pt x="14613" y="18189"/>
                      <a:pt x="9051" y="19684"/>
                      <a:pt x="4626" y="17172"/>
                    </a:cubicBezTo>
                    <a:cubicBezTo>
                      <a:pt x="200" y="14660"/>
                      <a:pt x="-1296" y="9038"/>
                      <a:pt x="1217" y="4613"/>
                    </a:cubicBezTo>
                    <a:cubicBezTo>
                      <a:pt x="3728" y="247"/>
                      <a:pt x="9290" y="-1308"/>
                      <a:pt x="13716" y="1203"/>
                    </a:cubicBezTo>
                    <a:close/>
                  </a:path>
                </a:pathLst>
              </a:custGeom>
              <a:grpFill/>
              <a:ln w="5978" cap="flat">
                <a:noFill/>
                <a:prstDash val="solid"/>
                <a:miter/>
              </a:ln>
            </p:spPr>
            <p:txBody>
              <a:bodyPr rtlCol="0" anchor="ctr"/>
              <a:lstStyle/>
              <a:p>
                <a:endParaRPr lang="en-GB"/>
              </a:p>
            </p:txBody>
          </p:sp>
          <p:sp>
            <p:nvSpPr>
              <p:cNvPr id="2366" name="Vrije vorm: vorm 2365">
                <a:extLst>
                  <a:ext uri="{FF2B5EF4-FFF2-40B4-BE49-F238E27FC236}">
                    <a16:creationId xmlns:a16="http://schemas.microsoft.com/office/drawing/2014/main" id="{96C628BC-9DF0-4459-BF68-966AC7BF8A8E}"/>
                  </a:ext>
                </a:extLst>
              </p:cNvPr>
              <p:cNvSpPr/>
              <p:nvPr/>
            </p:nvSpPr>
            <p:spPr>
              <a:xfrm>
                <a:off x="4198359" y="2564194"/>
                <a:ext cx="18315" cy="18401"/>
              </a:xfrm>
              <a:custGeom>
                <a:avLst/>
                <a:gdLst>
                  <a:gd name="connsiteX0" fmla="*/ 13703 w 18315"/>
                  <a:gd name="connsiteY0" fmla="*/ 1216 h 18401"/>
                  <a:gd name="connsiteX1" fmla="*/ 1203 w 18315"/>
                  <a:gd name="connsiteY1" fmla="*/ 4625 h 18401"/>
                  <a:gd name="connsiteX2" fmla="*/ 4612 w 18315"/>
                  <a:gd name="connsiteY2" fmla="*/ 17185 h 18401"/>
                  <a:gd name="connsiteX3" fmla="*/ 17112 w 18315"/>
                  <a:gd name="connsiteY3" fmla="*/ 13776 h 18401"/>
                  <a:gd name="connsiteX4" fmla="*/ 13703 w 18315"/>
                  <a:gd name="connsiteY4" fmla="*/ 1216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01">
                    <a:moveTo>
                      <a:pt x="13703" y="1216"/>
                    </a:moveTo>
                    <a:cubicBezTo>
                      <a:pt x="9278" y="-1295"/>
                      <a:pt x="3716" y="200"/>
                      <a:pt x="1203" y="4625"/>
                    </a:cubicBezTo>
                    <a:cubicBezTo>
                      <a:pt x="-1308" y="9051"/>
                      <a:pt x="247" y="14673"/>
                      <a:pt x="4612" y="17185"/>
                    </a:cubicBezTo>
                    <a:cubicBezTo>
                      <a:pt x="9038" y="19697"/>
                      <a:pt x="14600" y="18202"/>
                      <a:pt x="17112" y="13776"/>
                    </a:cubicBezTo>
                    <a:cubicBezTo>
                      <a:pt x="19624" y="9410"/>
                      <a:pt x="18069" y="3728"/>
                      <a:pt x="13703" y="1216"/>
                    </a:cubicBezTo>
                    <a:close/>
                  </a:path>
                </a:pathLst>
              </a:custGeom>
              <a:grpFill/>
              <a:ln w="5978" cap="flat">
                <a:noFill/>
                <a:prstDash val="solid"/>
                <a:miter/>
              </a:ln>
            </p:spPr>
            <p:txBody>
              <a:bodyPr rtlCol="0" anchor="ctr"/>
              <a:lstStyle/>
              <a:p>
                <a:endParaRPr lang="en-GB"/>
              </a:p>
            </p:txBody>
          </p:sp>
        </p:grpSp>
        <p:grpSp>
          <p:nvGrpSpPr>
            <p:cNvPr id="1013" name="Graphic 3">
              <a:extLst>
                <a:ext uri="{FF2B5EF4-FFF2-40B4-BE49-F238E27FC236}">
                  <a16:creationId xmlns:a16="http://schemas.microsoft.com/office/drawing/2014/main" id="{1653DE3D-6EFD-4F7C-92BF-AE1D72A05F97}"/>
                </a:ext>
              </a:extLst>
            </p:cNvPr>
            <p:cNvGrpSpPr/>
            <p:nvPr/>
          </p:nvGrpSpPr>
          <p:grpSpPr>
            <a:xfrm>
              <a:off x="5050837" y="4904330"/>
              <a:ext cx="263433" cy="421664"/>
              <a:chOff x="5050837" y="4904330"/>
              <a:chExt cx="263433" cy="421664"/>
            </a:xfrm>
            <a:grpFill/>
          </p:grpSpPr>
          <p:sp>
            <p:nvSpPr>
              <p:cNvPr id="2361" name="Vrije vorm: vorm 2360">
                <a:extLst>
                  <a:ext uri="{FF2B5EF4-FFF2-40B4-BE49-F238E27FC236}">
                    <a16:creationId xmlns:a16="http://schemas.microsoft.com/office/drawing/2014/main" id="{3D95F934-79F4-4BEB-B76D-153E862978CA}"/>
                  </a:ext>
                </a:extLst>
              </p:cNvPr>
              <p:cNvSpPr/>
              <p:nvPr/>
            </p:nvSpPr>
            <p:spPr>
              <a:xfrm>
                <a:off x="5058454" y="4912365"/>
                <a:ext cx="248199" cy="405612"/>
              </a:xfrm>
              <a:custGeom>
                <a:avLst/>
                <a:gdLst>
                  <a:gd name="connsiteX0" fmla="*/ 248200 w 248199"/>
                  <a:gd name="connsiteY0" fmla="*/ 1615 h 405612"/>
                  <a:gd name="connsiteX1" fmla="*/ 2632 w 248199"/>
                  <a:gd name="connsiteY1" fmla="*/ 405613 h 405612"/>
                  <a:gd name="connsiteX2" fmla="*/ 0 w 248199"/>
                  <a:gd name="connsiteY2" fmla="*/ 403998 h 405612"/>
                  <a:gd name="connsiteX3" fmla="*/ 245568 w 248199"/>
                  <a:gd name="connsiteY3" fmla="*/ 0 h 405612"/>
                </a:gdLst>
                <a:ahLst/>
                <a:cxnLst>
                  <a:cxn ang="0">
                    <a:pos x="connsiteX0" y="connsiteY0"/>
                  </a:cxn>
                  <a:cxn ang="0">
                    <a:pos x="connsiteX1" y="connsiteY1"/>
                  </a:cxn>
                  <a:cxn ang="0">
                    <a:pos x="connsiteX2" y="connsiteY2"/>
                  </a:cxn>
                  <a:cxn ang="0">
                    <a:pos x="connsiteX3" y="connsiteY3"/>
                  </a:cxn>
                </a:cxnLst>
                <a:rect l="l" t="t" r="r" b="b"/>
                <a:pathLst>
                  <a:path w="248199" h="405612">
                    <a:moveTo>
                      <a:pt x="248200" y="1615"/>
                    </a:moveTo>
                    <a:lnTo>
                      <a:pt x="2632" y="405613"/>
                    </a:lnTo>
                    <a:lnTo>
                      <a:pt x="0" y="403998"/>
                    </a:lnTo>
                    <a:lnTo>
                      <a:pt x="245568" y="0"/>
                    </a:lnTo>
                    <a:close/>
                  </a:path>
                </a:pathLst>
              </a:custGeom>
              <a:grpFill/>
              <a:ln w="5978" cap="flat">
                <a:noFill/>
                <a:prstDash val="solid"/>
                <a:miter/>
              </a:ln>
            </p:spPr>
            <p:txBody>
              <a:bodyPr rtlCol="0" anchor="ctr"/>
              <a:lstStyle/>
              <a:p>
                <a:endParaRPr lang="en-GB"/>
              </a:p>
            </p:txBody>
          </p:sp>
          <p:sp>
            <p:nvSpPr>
              <p:cNvPr id="2362" name="Vrije vorm: vorm 2361">
                <a:extLst>
                  <a:ext uri="{FF2B5EF4-FFF2-40B4-BE49-F238E27FC236}">
                    <a16:creationId xmlns:a16="http://schemas.microsoft.com/office/drawing/2014/main" id="{2B807321-5CBB-413D-8FC2-DA32D5E887B2}"/>
                  </a:ext>
                </a:extLst>
              </p:cNvPr>
              <p:cNvSpPr/>
              <p:nvPr/>
            </p:nvSpPr>
            <p:spPr>
              <a:xfrm>
                <a:off x="5295928" y="4904330"/>
                <a:ext cx="18343" cy="18403"/>
              </a:xfrm>
              <a:custGeom>
                <a:avLst/>
                <a:gdLst>
                  <a:gd name="connsiteX0" fmla="*/ 1337 w 18343"/>
                  <a:gd name="connsiteY0" fmla="*/ 4387 h 18403"/>
                  <a:gd name="connsiteX1" fmla="*/ 13956 w 18343"/>
                  <a:gd name="connsiteY1" fmla="*/ 1337 h 18403"/>
                  <a:gd name="connsiteX2" fmla="*/ 17007 w 18343"/>
                  <a:gd name="connsiteY2" fmla="*/ 14016 h 18403"/>
                  <a:gd name="connsiteX3" fmla="*/ 4387 w 18343"/>
                  <a:gd name="connsiteY3" fmla="*/ 17066 h 18403"/>
                  <a:gd name="connsiteX4" fmla="*/ 1337 w 18343"/>
                  <a:gd name="connsiteY4" fmla="*/ 438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3">
                    <a:moveTo>
                      <a:pt x="1337" y="4387"/>
                    </a:moveTo>
                    <a:cubicBezTo>
                      <a:pt x="3969" y="81"/>
                      <a:pt x="9590" y="-1295"/>
                      <a:pt x="13956" y="1337"/>
                    </a:cubicBezTo>
                    <a:cubicBezTo>
                      <a:pt x="18262" y="4028"/>
                      <a:pt x="19638" y="9650"/>
                      <a:pt x="17007" y="14016"/>
                    </a:cubicBezTo>
                    <a:cubicBezTo>
                      <a:pt x="14375" y="18322"/>
                      <a:pt x="8753" y="19698"/>
                      <a:pt x="4387" y="17066"/>
                    </a:cubicBezTo>
                    <a:cubicBezTo>
                      <a:pt x="81" y="14435"/>
                      <a:pt x="-1294" y="8753"/>
                      <a:pt x="1337" y="4387"/>
                    </a:cubicBezTo>
                    <a:close/>
                  </a:path>
                </a:pathLst>
              </a:custGeom>
              <a:grpFill/>
              <a:ln w="5978" cap="flat">
                <a:noFill/>
                <a:prstDash val="solid"/>
                <a:miter/>
              </a:ln>
            </p:spPr>
            <p:txBody>
              <a:bodyPr rtlCol="0" anchor="ctr"/>
              <a:lstStyle/>
              <a:p>
                <a:endParaRPr lang="en-GB"/>
              </a:p>
            </p:txBody>
          </p:sp>
          <p:sp>
            <p:nvSpPr>
              <p:cNvPr id="2363" name="Vrije vorm: vorm 2362">
                <a:extLst>
                  <a:ext uri="{FF2B5EF4-FFF2-40B4-BE49-F238E27FC236}">
                    <a16:creationId xmlns:a16="http://schemas.microsoft.com/office/drawing/2014/main" id="{30FD22C5-1E5E-421D-8E8A-80DF462FFF68}"/>
                  </a:ext>
                </a:extLst>
              </p:cNvPr>
              <p:cNvSpPr/>
              <p:nvPr/>
            </p:nvSpPr>
            <p:spPr>
              <a:xfrm>
                <a:off x="5050837" y="5307524"/>
                <a:ext cx="18343" cy="18470"/>
              </a:xfrm>
              <a:custGeom>
                <a:avLst/>
                <a:gdLst>
                  <a:gd name="connsiteX0" fmla="*/ 1337 w 18343"/>
                  <a:gd name="connsiteY0" fmla="*/ 4414 h 18470"/>
                  <a:gd name="connsiteX1" fmla="*/ 4387 w 18343"/>
                  <a:gd name="connsiteY1" fmla="*/ 17093 h 18470"/>
                  <a:gd name="connsiteX2" fmla="*/ 17006 w 18343"/>
                  <a:gd name="connsiteY2" fmla="*/ 14043 h 18470"/>
                  <a:gd name="connsiteX3" fmla="*/ 13957 w 18343"/>
                  <a:gd name="connsiteY3" fmla="*/ 1364 h 18470"/>
                  <a:gd name="connsiteX4" fmla="*/ 1337 w 18343"/>
                  <a:gd name="connsiteY4" fmla="*/ 4414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70">
                    <a:moveTo>
                      <a:pt x="1337" y="4414"/>
                    </a:moveTo>
                    <a:cubicBezTo>
                      <a:pt x="-1295" y="8720"/>
                      <a:pt x="81" y="14402"/>
                      <a:pt x="4387" y="17093"/>
                    </a:cubicBezTo>
                    <a:cubicBezTo>
                      <a:pt x="8693" y="19784"/>
                      <a:pt x="14375" y="18409"/>
                      <a:pt x="17006" y="14043"/>
                    </a:cubicBezTo>
                    <a:cubicBezTo>
                      <a:pt x="19638" y="9736"/>
                      <a:pt x="18263" y="4055"/>
                      <a:pt x="13957" y="1364"/>
                    </a:cubicBezTo>
                    <a:cubicBezTo>
                      <a:pt x="9650" y="-1328"/>
                      <a:pt x="3968" y="108"/>
                      <a:pt x="1337" y="4414"/>
                    </a:cubicBezTo>
                    <a:close/>
                  </a:path>
                </a:pathLst>
              </a:custGeom>
              <a:grpFill/>
              <a:ln w="5978" cap="flat">
                <a:noFill/>
                <a:prstDash val="solid"/>
                <a:miter/>
              </a:ln>
            </p:spPr>
            <p:txBody>
              <a:bodyPr rtlCol="0" anchor="ctr"/>
              <a:lstStyle/>
              <a:p>
                <a:endParaRPr lang="en-GB"/>
              </a:p>
            </p:txBody>
          </p:sp>
        </p:grpSp>
        <p:grpSp>
          <p:nvGrpSpPr>
            <p:cNvPr id="1014" name="Graphic 3">
              <a:extLst>
                <a:ext uri="{FF2B5EF4-FFF2-40B4-BE49-F238E27FC236}">
                  <a16:creationId xmlns:a16="http://schemas.microsoft.com/office/drawing/2014/main" id="{14D030B0-84E1-4A8F-9116-9E774DF45B7C}"/>
                </a:ext>
              </a:extLst>
            </p:cNvPr>
            <p:cNvGrpSpPr/>
            <p:nvPr/>
          </p:nvGrpSpPr>
          <p:grpSpPr>
            <a:xfrm>
              <a:off x="3899245" y="2119684"/>
              <a:ext cx="711876" cy="470137"/>
              <a:chOff x="3899245" y="2119684"/>
              <a:chExt cx="711876" cy="470137"/>
            </a:xfrm>
            <a:grpFill/>
          </p:grpSpPr>
          <p:sp>
            <p:nvSpPr>
              <p:cNvPr id="2358" name="Vrije vorm: vorm 2357">
                <a:extLst>
                  <a:ext uri="{FF2B5EF4-FFF2-40B4-BE49-F238E27FC236}">
                    <a16:creationId xmlns:a16="http://schemas.microsoft.com/office/drawing/2014/main" id="{76C36943-EA86-4DEE-A8B4-B9C337423A47}"/>
                  </a:ext>
                </a:extLst>
              </p:cNvPr>
              <p:cNvSpPr/>
              <p:nvPr/>
            </p:nvSpPr>
            <p:spPr>
              <a:xfrm>
                <a:off x="3907225" y="2127383"/>
                <a:ext cx="695917" cy="454774"/>
              </a:xfrm>
              <a:custGeom>
                <a:avLst/>
                <a:gdLst>
                  <a:gd name="connsiteX0" fmla="*/ 695917 w 695917"/>
                  <a:gd name="connsiteY0" fmla="*/ 452202 h 454774"/>
                  <a:gd name="connsiteX1" fmla="*/ 694302 w 695917"/>
                  <a:gd name="connsiteY1" fmla="*/ 454774 h 454774"/>
                  <a:gd name="connsiteX2" fmla="*/ 0 w 695917"/>
                  <a:gd name="connsiteY2" fmla="*/ 2572 h 454774"/>
                  <a:gd name="connsiteX3" fmla="*/ 1675 w 695917"/>
                  <a:gd name="connsiteY3" fmla="*/ 0 h 454774"/>
                </a:gdLst>
                <a:ahLst/>
                <a:cxnLst>
                  <a:cxn ang="0">
                    <a:pos x="connsiteX0" y="connsiteY0"/>
                  </a:cxn>
                  <a:cxn ang="0">
                    <a:pos x="connsiteX1" y="connsiteY1"/>
                  </a:cxn>
                  <a:cxn ang="0">
                    <a:pos x="connsiteX2" y="connsiteY2"/>
                  </a:cxn>
                  <a:cxn ang="0">
                    <a:pos x="connsiteX3" y="connsiteY3"/>
                  </a:cxn>
                </a:cxnLst>
                <a:rect l="l" t="t" r="r" b="b"/>
                <a:pathLst>
                  <a:path w="695917" h="454774">
                    <a:moveTo>
                      <a:pt x="695917" y="452202"/>
                    </a:moveTo>
                    <a:lnTo>
                      <a:pt x="694302" y="454774"/>
                    </a:lnTo>
                    <a:lnTo>
                      <a:pt x="0" y="2572"/>
                    </a:lnTo>
                    <a:lnTo>
                      <a:pt x="1675" y="0"/>
                    </a:lnTo>
                    <a:close/>
                  </a:path>
                </a:pathLst>
              </a:custGeom>
              <a:grpFill/>
              <a:ln w="5978" cap="flat">
                <a:noFill/>
                <a:prstDash val="solid"/>
                <a:miter/>
              </a:ln>
            </p:spPr>
            <p:txBody>
              <a:bodyPr rtlCol="0" anchor="ctr"/>
              <a:lstStyle/>
              <a:p>
                <a:endParaRPr lang="en-GB"/>
              </a:p>
            </p:txBody>
          </p:sp>
          <p:sp>
            <p:nvSpPr>
              <p:cNvPr id="2359" name="Vrije vorm: vorm 2358">
                <a:extLst>
                  <a:ext uri="{FF2B5EF4-FFF2-40B4-BE49-F238E27FC236}">
                    <a16:creationId xmlns:a16="http://schemas.microsoft.com/office/drawing/2014/main" id="{977B5F56-09B2-4274-BCAB-F32CD98AB548}"/>
                  </a:ext>
                </a:extLst>
              </p:cNvPr>
              <p:cNvSpPr/>
              <p:nvPr/>
            </p:nvSpPr>
            <p:spPr>
              <a:xfrm>
                <a:off x="4592770" y="2571408"/>
                <a:ext cx="18351" cy="18413"/>
              </a:xfrm>
              <a:custGeom>
                <a:avLst/>
                <a:gdLst>
                  <a:gd name="connsiteX0" fmla="*/ 14140 w 18351"/>
                  <a:gd name="connsiteY0" fmla="*/ 1478 h 18413"/>
                  <a:gd name="connsiteX1" fmla="*/ 16891 w 18351"/>
                  <a:gd name="connsiteY1" fmla="*/ 14217 h 18413"/>
                  <a:gd name="connsiteX2" fmla="*/ 4212 w 18351"/>
                  <a:gd name="connsiteY2" fmla="*/ 16909 h 18413"/>
                  <a:gd name="connsiteX3" fmla="*/ 1461 w 18351"/>
                  <a:gd name="connsiteY3" fmla="*/ 4170 h 18413"/>
                  <a:gd name="connsiteX4" fmla="*/ 14140 w 18351"/>
                  <a:gd name="connsiteY4" fmla="*/ 1478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13">
                    <a:moveTo>
                      <a:pt x="14140" y="1478"/>
                    </a:moveTo>
                    <a:cubicBezTo>
                      <a:pt x="18386" y="4230"/>
                      <a:pt x="19642" y="9971"/>
                      <a:pt x="16891" y="14217"/>
                    </a:cubicBezTo>
                    <a:cubicBezTo>
                      <a:pt x="14140" y="18464"/>
                      <a:pt x="8458" y="19720"/>
                      <a:pt x="4212" y="16909"/>
                    </a:cubicBezTo>
                    <a:cubicBezTo>
                      <a:pt x="-35" y="14158"/>
                      <a:pt x="-1290" y="8416"/>
                      <a:pt x="1461" y="4170"/>
                    </a:cubicBezTo>
                    <a:cubicBezTo>
                      <a:pt x="4212" y="-76"/>
                      <a:pt x="9894" y="-1273"/>
                      <a:pt x="14140" y="1478"/>
                    </a:cubicBezTo>
                    <a:close/>
                  </a:path>
                </a:pathLst>
              </a:custGeom>
              <a:grpFill/>
              <a:ln w="5978" cap="flat">
                <a:noFill/>
                <a:prstDash val="solid"/>
                <a:miter/>
              </a:ln>
            </p:spPr>
            <p:txBody>
              <a:bodyPr rtlCol="0" anchor="ctr"/>
              <a:lstStyle/>
              <a:p>
                <a:endParaRPr lang="en-GB"/>
              </a:p>
            </p:txBody>
          </p:sp>
          <p:sp>
            <p:nvSpPr>
              <p:cNvPr id="2360" name="Vrije vorm: vorm 2359">
                <a:extLst>
                  <a:ext uri="{FF2B5EF4-FFF2-40B4-BE49-F238E27FC236}">
                    <a16:creationId xmlns:a16="http://schemas.microsoft.com/office/drawing/2014/main" id="{56F99E73-1095-4433-BE4F-80E3C8D8A04A}"/>
                  </a:ext>
                </a:extLst>
              </p:cNvPr>
              <p:cNvSpPr/>
              <p:nvPr/>
            </p:nvSpPr>
            <p:spPr>
              <a:xfrm>
                <a:off x="3899245" y="2119684"/>
                <a:ext cx="18351" cy="18387"/>
              </a:xfrm>
              <a:custGeom>
                <a:avLst/>
                <a:gdLst>
                  <a:gd name="connsiteX0" fmla="*/ 14140 w 18351"/>
                  <a:gd name="connsiteY0" fmla="*/ 1479 h 18387"/>
                  <a:gd name="connsiteX1" fmla="*/ 1461 w 18351"/>
                  <a:gd name="connsiteY1" fmla="*/ 4170 h 18387"/>
                  <a:gd name="connsiteX2" fmla="*/ 4212 w 18351"/>
                  <a:gd name="connsiteY2" fmla="*/ 16909 h 18387"/>
                  <a:gd name="connsiteX3" fmla="*/ 16891 w 18351"/>
                  <a:gd name="connsiteY3" fmla="*/ 14217 h 18387"/>
                  <a:gd name="connsiteX4" fmla="*/ 14140 w 18351"/>
                  <a:gd name="connsiteY4" fmla="*/ 147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87">
                    <a:moveTo>
                      <a:pt x="14140" y="1479"/>
                    </a:moveTo>
                    <a:cubicBezTo>
                      <a:pt x="9893" y="-1273"/>
                      <a:pt x="4212" y="-77"/>
                      <a:pt x="1461" y="4170"/>
                    </a:cubicBezTo>
                    <a:cubicBezTo>
                      <a:pt x="-1290" y="8416"/>
                      <a:pt x="-34" y="14158"/>
                      <a:pt x="4212" y="16909"/>
                    </a:cubicBezTo>
                    <a:cubicBezTo>
                      <a:pt x="8458" y="19660"/>
                      <a:pt x="14140" y="18464"/>
                      <a:pt x="16891" y="14217"/>
                    </a:cubicBezTo>
                    <a:cubicBezTo>
                      <a:pt x="19642" y="9971"/>
                      <a:pt x="18386" y="4289"/>
                      <a:pt x="14140" y="1479"/>
                    </a:cubicBezTo>
                    <a:close/>
                  </a:path>
                </a:pathLst>
              </a:custGeom>
              <a:grpFill/>
              <a:ln w="5978" cap="flat">
                <a:noFill/>
                <a:prstDash val="solid"/>
                <a:miter/>
              </a:ln>
            </p:spPr>
            <p:txBody>
              <a:bodyPr rtlCol="0" anchor="ctr"/>
              <a:lstStyle/>
              <a:p>
                <a:endParaRPr lang="en-GB"/>
              </a:p>
            </p:txBody>
          </p:sp>
        </p:grpSp>
        <p:grpSp>
          <p:nvGrpSpPr>
            <p:cNvPr id="1015" name="Graphic 3">
              <a:extLst>
                <a:ext uri="{FF2B5EF4-FFF2-40B4-BE49-F238E27FC236}">
                  <a16:creationId xmlns:a16="http://schemas.microsoft.com/office/drawing/2014/main" id="{F0587E64-3404-4AD7-BCA9-09F3DB81163A}"/>
                </a:ext>
              </a:extLst>
            </p:cNvPr>
            <p:cNvGrpSpPr/>
            <p:nvPr/>
          </p:nvGrpSpPr>
          <p:grpSpPr>
            <a:xfrm>
              <a:off x="3936326" y="2032186"/>
              <a:ext cx="528088" cy="350795"/>
              <a:chOff x="3936326" y="2032186"/>
              <a:chExt cx="528088" cy="350795"/>
            </a:xfrm>
            <a:grpFill/>
          </p:grpSpPr>
          <p:sp>
            <p:nvSpPr>
              <p:cNvPr id="2355" name="Vrije vorm: vorm 2354">
                <a:extLst>
                  <a:ext uri="{FF2B5EF4-FFF2-40B4-BE49-F238E27FC236}">
                    <a16:creationId xmlns:a16="http://schemas.microsoft.com/office/drawing/2014/main" id="{8B1FE660-FC82-4661-A29F-67224D87CF04}"/>
                  </a:ext>
                </a:extLst>
              </p:cNvPr>
              <p:cNvSpPr/>
              <p:nvPr/>
            </p:nvSpPr>
            <p:spPr>
              <a:xfrm>
                <a:off x="3944305" y="2039885"/>
                <a:ext cx="512189" cy="335458"/>
              </a:xfrm>
              <a:custGeom>
                <a:avLst/>
                <a:gdLst>
                  <a:gd name="connsiteX0" fmla="*/ 512189 w 512189"/>
                  <a:gd name="connsiteY0" fmla="*/ 332887 h 335458"/>
                  <a:gd name="connsiteX1" fmla="*/ 510514 w 512189"/>
                  <a:gd name="connsiteY1" fmla="*/ 335459 h 335458"/>
                  <a:gd name="connsiteX2" fmla="*/ 0 w 512189"/>
                  <a:gd name="connsiteY2" fmla="*/ 2512 h 335458"/>
                  <a:gd name="connsiteX3" fmla="*/ 1615 w 512189"/>
                  <a:gd name="connsiteY3" fmla="*/ 0 h 335458"/>
                </a:gdLst>
                <a:ahLst/>
                <a:cxnLst>
                  <a:cxn ang="0">
                    <a:pos x="connsiteX0" y="connsiteY0"/>
                  </a:cxn>
                  <a:cxn ang="0">
                    <a:pos x="connsiteX1" y="connsiteY1"/>
                  </a:cxn>
                  <a:cxn ang="0">
                    <a:pos x="connsiteX2" y="connsiteY2"/>
                  </a:cxn>
                  <a:cxn ang="0">
                    <a:pos x="connsiteX3" y="connsiteY3"/>
                  </a:cxn>
                </a:cxnLst>
                <a:rect l="l" t="t" r="r" b="b"/>
                <a:pathLst>
                  <a:path w="512189" h="335458">
                    <a:moveTo>
                      <a:pt x="512189" y="332887"/>
                    </a:moveTo>
                    <a:lnTo>
                      <a:pt x="510514" y="335459"/>
                    </a:lnTo>
                    <a:lnTo>
                      <a:pt x="0" y="2512"/>
                    </a:lnTo>
                    <a:lnTo>
                      <a:pt x="1615" y="0"/>
                    </a:lnTo>
                    <a:close/>
                  </a:path>
                </a:pathLst>
              </a:custGeom>
              <a:grpFill/>
              <a:ln w="5978" cap="flat">
                <a:noFill/>
                <a:prstDash val="solid"/>
                <a:miter/>
              </a:ln>
            </p:spPr>
            <p:txBody>
              <a:bodyPr rtlCol="0" anchor="ctr"/>
              <a:lstStyle/>
              <a:p>
                <a:endParaRPr lang="en-GB"/>
              </a:p>
            </p:txBody>
          </p:sp>
          <p:sp>
            <p:nvSpPr>
              <p:cNvPr id="2356" name="Vrije vorm: vorm 2355">
                <a:extLst>
                  <a:ext uri="{FF2B5EF4-FFF2-40B4-BE49-F238E27FC236}">
                    <a16:creationId xmlns:a16="http://schemas.microsoft.com/office/drawing/2014/main" id="{8ACECA0C-6ED1-4322-B6B9-7FB43572808F}"/>
                  </a:ext>
                </a:extLst>
              </p:cNvPr>
              <p:cNvSpPr/>
              <p:nvPr/>
            </p:nvSpPr>
            <p:spPr>
              <a:xfrm>
                <a:off x="3936326" y="2032186"/>
                <a:ext cx="18351" cy="18428"/>
              </a:xfrm>
              <a:custGeom>
                <a:avLst/>
                <a:gdLst>
                  <a:gd name="connsiteX0" fmla="*/ 4212 w 18351"/>
                  <a:gd name="connsiteY0" fmla="*/ 16909 h 18428"/>
                  <a:gd name="connsiteX1" fmla="*/ 1461 w 18351"/>
                  <a:gd name="connsiteY1" fmla="*/ 4170 h 18428"/>
                  <a:gd name="connsiteX2" fmla="*/ 14140 w 18351"/>
                  <a:gd name="connsiteY2" fmla="*/ 1479 h 18428"/>
                  <a:gd name="connsiteX3" fmla="*/ 16891 w 18351"/>
                  <a:gd name="connsiteY3" fmla="*/ 14217 h 18428"/>
                  <a:gd name="connsiteX4" fmla="*/ 4212 w 18351"/>
                  <a:gd name="connsiteY4" fmla="*/ 16909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8">
                    <a:moveTo>
                      <a:pt x="4212" y="16909"/>
                    </a:moveTo>
                    <a:cubicBezTo>
                      <a:pt x="-34" y="14158"/>
                      <a:pt x="-1290" y="8416"/>
                      <a:pt x="1461" y="4170"/>
                    </a:cubicBezTo>
                    <a:cubicBezTo>
                      <a:pt x="4212" y="-76"/>
                      <a:pt x="9893" y="-1273"/>
                      <a:pt x="14140" y="1479"/>
                    </a:cubicBezTo>
                    <a:cubicBezTo>
                      <a:pt x="18386" y="4230"/>
                      <a:pt x="19642" y="9971"/>
                      <a:pt x="16891" y="14217"/>
                    </a:cubicBezTo>
                    <a:cubicBezTo>
                      <a:pt x="14140" y="18524"/>
                      <a:pt x="8458" y="19720"/>
                      <a:pt x="4212" y="16909"/>
                    </a:cubicBezTo>
                    <a:close/>
                  </a:path>
                </a:pathLst>
              </a:custGeom>
              <a:grpFill/>
              <a:ln w="5978" cap="flat">
                <a:noFill/>
                <a:prstDash val="solid"/>
                <a:miter/>
              </a:ln>
            </p:spPr>
            <p:txBody>
              <a:bodyPr rtlCol="0" anchor="ctr"/>
              <a:lstStyle/>
              <a:p>
                <a:endParaRPr lang="en-GB"/>
              </a:p>
            </p:txBody>
          </p:sp>
          <p:sp>
            <p:nvSpPr>
              <p:cNvPr id="2357" name="Vrije vorm: vorm 2356">
                <a:extLst>
                  <a:ext uri="{FF2B5EF4-FFF2-40B4-BE49-F238E27FC236}">
                    <a16:creationId xmlns:a16="http://schemas.microsoft.com/office/drawing/2014/main" id="{893C4220-1341-4824-9845-2F9AA5254BDE}"/>
                  </a:ext>
                </a:extLst>
              </p:cNvPr>
              <p:cNvSpPr/>
              <p:nvPr/>
            </p:nvSpPr>
            <p:spPr>
              <a:xfrm>
                <a:off x="4446089" y="2364595"/>
                <a:ext cx="18325" cy="18387"/>
              </a:xfrm>
              <a:custGeom>
                <a:avLst/>
                <a:gdLst>
                  <a:gd name="connsiteX0" fmla="*/ 4186 w 18325"/>
                  <a:gd name="connsiteY0" fmla="*/ 16909 h 18387"/>
                  <a:gd name="connsiteX1" fmla="*/ 16865 w 18325"/>
                  <a:gd name="connsiteY1" fmla="*/ 14217 h 18387"/>
                  <a:gd name="connsiteX2" fmla="*/ 14113 w 18325"/>
                  <a:gd name="connsiteY2" fmla="*/ 1478 h 18387"/>
                  <a:gd name="connsiteX3" fmla="*/ 1434 w 18325"/>
                  <a:gd name="connsiteY3" fmla="*/ 4170 h 18387"/>
                  <a:gd name="connsiteX4" fmla="*/ 4186 w 18325"/>
                  <a:gd name="connsiteY4" fmla="*/ 16909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87">
                    <a:moveTo>
                      <a:pt x="4186" y="16909"/>
                    </a:moveTo>
                    <a:cubicBezTo>
                      <a:pt x="8432" y="19660"/>
                      <a:pt x="14113" y="18464"/>
                      <a:pt x="16865" y="14217"/>
                    </a:cubicBezTo>
                    <a:cubicBezTo>
                      <a:pt x="19616" y="9971"/>
                      <a:pt x="18360" y="4230"/>
                      <a:pt x="14113" y="1478"/>
                    </a:cubicBezTo>
                    <a:cubicBezTo>
                      <a:pt x="9867" y="-1273"/>
                      <a:pt x="4186" y="-77"/>
                      <a:pt x="1434" y="4170"/>
                    </a:cubicBezTo>
                    <a:cubicBezTo>
                      <a:pt x="-1257" y="8476"/>
                      <a:pt x="-61" y="14158"/>
                      <a:pt x="4186" y="16909"/>
                    </a:cubicBezTo>
                    <a:close/>
                  </a:path>
                </a:pathLst>
              </a:custGeom>
              <a:grpFill/>
              <a:ln w="5978" cap="flat">
                <a:noFill/>
                <a:prstDash val="solid"/>
                <a:miter/>
              </a:ln>
            </p:spPr>
            <p:txBody>
              <a:bodyPr rtlCol="0" anchor="ctr"/>
              <a:lstStyle/>
              <a:p>
                <a:endParaRPr lang="en-GB"/>
              </a:p>
            </p:txBody>
          </p:sp>
        </p:grpSp>
        <p:grpSp>
          <p:nvGrpSpPr>
            <p:cNvPr id="1016" name="Graphic 3">
              <a:extLst>
                <a:ext uri="{FF2B5EF4-FFF2-40B4-BE49-F238E27FC236}">
                  <a16:creationId xmlns:a16="http://schemas.microsoft.com/office/drawing/2014/main" id="{0F6473D4-DA71-427C-A9F2-70815799DCAA}"/>
                </a:ext>
              </a:extLst>
            </p:cNvPr>
            <p:cNvGrpSpPr/>
            <p:nvPr/>
          </p:nvGrpSpPr>
          <p:grpSpPr>
            <a:xfrm>
              <a:off x="5054524" y="4812280"/>
              <a:ext cx="97452" cy="140183"/>
              <a:chOff x="5054524" y="4812280"/>
              <a:chExt cx="97452" cy="140183"/>
            </a:xfrm>
            <a:grpFill/>
          </p:grpSpPr>
          <p:sp>
            <p:nvSpPr>
              <p:cNvPr id="2352" name="Vrije vorm: vorm 2351">
                <a:extLst>
                  <a:ext uri="{FF2B5EF4-FFF2-40B4-BE49-F238E27FC236}">
                    <a16:creationId xmlns:a16="http://schemas.microsoft.com/office/drawing/2014/main" id="{191DA4E1-669B-4DB2-966E-8EBE42740CAB}"/>
                  </a:ext>
                </a:extLst>
              </p:cNvPr>
              <p:cNvSpPr/>
              <p:nvPr/>
            </p:nvSpPr>
            <p:spPr>
              <a:xfrm>
                <a:off x="5062162" y="4820262"/>
                <a:ext cx="82175" cy="124219"/>
              </a:xfrm>
              <a:custGeom>
                <a:avLst/>
                <a:gdLst>
                  <a:gd name="connsiteX0" fmla="*/ 82175 w 82175"/>
                  <a:gd name="connsiteY0" fmla="*/ 1674 h 124219"/>
                  <a:gd name="connsiteX1" fmla="*/ 2572 w 82175"/>
                  <a:gd name="connsiteY1" fmla="*/ 124220 h 124219"/>
                  <a:gd name="connsiteX2" fmla="*/ 0 w 82175"/>
                  <a:gd name="connsiteY2" fmla="*/ 122545 h 124219"/>
                  <a:gd name="connsiteX3" fmla="*/ 79603 w 82175"/>
                  <a:gd name="connsiteY3" fmla="*/ 0 h 124219"/>
                </a:gdLst>
                <a:ahLst/>
                <a:cxnLst>
                  <a:cxn ang="0">
                    <a:pos x="connsiteX0" y="connsiteY0"/>
                  </a:cxn>
                  <a:cxn ang="0">
                    <a:pos x="connsiteX1" y="connsiteY1"/>
                  </a:cxn>
                  <a:cxn ang="0">
                    <a:pos x="connsiteX2" y="connsiteY2"/>
                  </a:cxn>
                  <a:cxn ang="0">
                    <a:pos x="connsiteX3" y="connsiteY3"/>
                  </a:cxn>
                </a:cxnLst>
                <a:rect l="l" t="t" r="r" b="b"/>
                <a:pathLst>
                  <a:path w="82175" h="124219">
                    <a:moveTo>
                      <a:pt x="82175" y="1674"/>
                    </a:moveTo>
                    <a:lnTo>
                      <a:pt x="2572" y="124220"/>
                    </a:lnTo>
                    <a:lnTo>
                      <a:pt x="0" y="122545"/>
                    </a:lnTo>
                    <a:lnTo>
                      <a:pt x="79603" y="0"/>
                    </a:lnTo>
                    <a:close/>
                  </a:path>
                </a:pathLst>
              </a:custGeom>
              <a:grpFill/>
              <a:ln w="5978" cap="flat">
                <a:noFill/>
                <a:prstDash val="solid"/>
                <a:miter/>
              </a:ln>
            </p:spPr>
            <p:txBody>
              <a:bodyPr rtlCol="0" anchor="ctr"/>
              <a:lstStyle/>
              <a:p>
                <a:endParaRPr lang="en-GB"/>
              </a:p>
            </p:txBody>
          </p:sp>
          <p:sp>
            <p:nvSpPr>
              <p:cNvPr id="2353" name="Vrije vorm: vorm 2352">
                <a:extLst>
                  <a:ext uri="{FF2B5EF4-FFF2-40B4-BE49-F238E27FC236}">
                    <a16:creationId xmlns:a16="http://schemas.microsoft.com/office/drawing/2014/main" id="{E1D347B3-2659-4551-862A-53A33FDB9F30}"/>
                  </a:ext>
                </a:extLst>
              </p:cNvPr>
              <p:cNvSpPr/>
              <p:nvPr/>
            </p:nvSpPr>
            <p:spPr>
              <a:xfrm>
                <a:off x="5054524" y="4934048"/>
                <a:ext cx="18327" cy="18416"/>
              </a:xfrm>
              <a:custGeom>
                <a:avLst/>
                <a:gdLst>
                  <a:gd name="connsiteX0" fmla="*/ 16849 w 18327"/>
                  <a:gd name="connsiteY0" fmla="*/ 14262 h 18416"/>
                  <a:gd name="connsiteX1" fmla="*/ 4170 w 18327"/>
                  <a:gd name="connsiteY1" fmla="*/ 16893 h 18416"/>
                  <a:gd name="connsiteX2" fmla="*/ 1479 w 18327"/>
                  <a:gd name="connsiteY2" fmla="*/ 4154 h 18416"/>
                  <a:gd name="connsiteX3" fmla="*/ 14158 w 18327"/>
                  <a:gd name="connsiteY3" fmla="*/ 152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4098" y="18508"/>
                      <a:pt x="8416" y="19705"/>
                      <a:pt x="4170" y="16893"/>
                    </a:cubicBezTo>
                    <a:cubicBezTo>
                      <a:pt x="-76" y="14083"/>
                      <a:pt x="-1273" y="8401"/>
                      <a:pt x="1479" y="4154"/>
                    </a:cubicBezTo>
                    <a:cubicBezTo>
                      <a:pt x="4230" y="-92"/>
                      <a:pt x="9912" y="-1288"/>
                      <a:pt x="14158" y="1523"/>
                    </a:cubicBezTo>
                    <a:cubicBezTo>
                      <a:pt x="18404" y="4334"/>
                      <a:pt x="19600" y="10016"/>
                      <a:pt x="16849" y="14262"/>
                    </a:cubicBezTo>
                    <a:close/>
                  </a:path>
                </a:pathLst>
              </a:custGeom>
              <a:grpFill/>
              <a:ln w="5978" cap="flat">
                <a:noFill/>
                <a:prstDash val="solid"/>
                <a:miter/>
              </a:ln>
            </p:spPr>
            <p:txBody>
              <a:bodyPr rtlCol="0" anchor="ctr"/>
              <a:lstStyle/>
              <a:p>
                <a:endParaRPr lang="en-GB"/>
              </a:p>
            </p:txBody>
          </p:sp>
          <p:sp>
            <p:nvSpPr>
              <p:cNvPr id="2354" name="Vrije vorm: vorm 2353">
                <a:extLst>
                  <a:ext uri="{FF2B5EF4-FFF2-40B4-BE49-F238E27FC236}">
                    <a16:creationId xmlns:a16="http://schemas.microsoft.com/office/drawing/2014/main" id="{33EC1BB6-1D83-40E1-BEFD-81014286CAEF}"/>
                  </a:ext>
                </a:extLst>
              </p:cNvPr>
              <p:cNvSpPr/>
              <p:nvPr/>
            </p:nvSpPr>
            <p:spPr>
              <a:xfrm>
                <a:off x="5133649" y="4812280"/>
                <a:ext cx="18327" cy="18390"/>
              </a:xfrm>
              <a:custGeom>
                <a:avLst/>
                <a:gdLst>
                  <a:gd name="connsiteX0" fmla="*/ 16849 w 18327"/>
                  <a:gd name="connsiteY0" fmla="*/ 14262 h 18390"/>
                  <a:gd name="connsiteX1" fmla="*/ 14158 w 18327"/>
                  <a:gd name="connsiteY1" fmla="*/ 1523 h 18390"/>
                  <a:gd name="connsiteX2" fmla="*/ 1478 w 18327"/>
                  <a:gd name="connsiteY2" fmla="*/ 4154 h 18390"/>
                  <a:gd name="connsiteX3" fmla="*/ 4170 w 18327"/>
                  <a:gd name="connsiteY3" fmla="*/ 16893 h 18390"/>
                  <a:gd name="connsiteX4" fmla="*/ 16849 w 18327"/>
                  <a:gd name="connsiteY4" fmla="*/ 14262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0">
                    <a:moveTo>
                      <a:pt x="16849" y="14262"/>
                    </a:moveTo>
                    <a:cubicBezTo>
                      <a:pt x="19600" y="10015"/>
                      <a:pt x="18404" y="4274"/>
                      <a:pt x="14158" y="1523"/>
                    </a:cubicBezTo>
                    <a:cubicBezTo>
                      <a:pt x="9911" y="-1288"/>
                      <a:pt x="4230" y="-92"/>
                      <a:pt x="1478" y="4154"/>
                    </a:cubicBezTo>
                    <a:cubicBezTo>
                      <a:pt x="-1273" y="8401"/>
                      <a:pt x="-76" y="14142"/>
                      <a:pt x="4170" y="16893"/>
                    </a:cubicBezTo>
                    <a:cubicBezTo>
                      <a:pt x="8416" y="19645"/>
                      <a:pt x="14098" y="18508"/>
                      <a:pt x="16849" y="14262"/>
                    </a:cubicBezTo>
                    <a:close/>
                  </a:path>
                </a:pathLst>
              </a:custGeom>
              <a:grpFill/>
              <a:ln w="5978" cap="flat">
                <a:noFill/>
                <a:prstDash val="solid"/>
                <a:miter/>
              </a:ln>
            </p:spPr>
            <p:txBody>
              <a:bodyPr rtlCol="0" anchor="ctr"/>
              <a:lstStyle/>
              <a:p>
                <a:endParaRPr lang="en-GB"/>
              </a:p>
            </p:txBody>
          </p:sp>
        </p:grpSp>
        <p:grpSp>
          <p:nvGrpSpPr>
            <p:cNvPr id="1017" name="Graphic 3">
              <a:extLst>
                <a:ext uri="{FF2B5EF4-FFF2-40B4-BE49-F238E27FC236}">
                  <a16:creationId xmlns:a16="http://schemas.microsoft.com/office/drawing/2014/main" id="{E2866963-D191-4D42-AB96-1E9F8808BBF1}"/>
                </a:ext>
              </a:extLst>
            </p:cNvPr>
            <p:cNvGrpSpPr/>
            <p:nvPr/>
          </p:nvGrpSpPr>
          <p:grpSpPr>
            <a:xfrm>
              <a:off x="5181514" y="5188018"/>
              <a:ext cx="112868" cy="236774"/>
              <a:chOff x="5181514" y="5188018"/>
              <a:chExt cx="112868" cy="236774"/>
            </a:xfrm>
            <a:grpFill/>
          </p:grpSpPr>
          <p:sp>
            <p:nvSpPr>
              <p:cNvPr id="2349" name="Vrije vorm: vorm 2348">
                <a:extLst>
                  <a:ext uri="{FF2B5EF4-FFF2-40B4-BE49-F238E27FC236}">
                    <a16:creationId xmlns:a16="http://schemas.microsoft.com/office/drawing/2014/main" id="{B429B6B8-4BAB-438C-9AC0-3AEFF45543E2}"/>
                  </a:ext>
                </a:extLst>
              </p:cNvPr>
              <p:cNvSpPr/>
              <p:nvPr/>
            </p:nvSpPr>
            <p:spPr>
              <a:xfrm>
                <a:off x="5189133" y="5196151"/>
                <a:ext cx="97605" cy="220449"/>
              </a:xfrm>
              <a:custGeom>
                <a:avLst/>
                <a:gdLst>
                  <a:gd name="connsiteX0" fmla="*/ 97605 w 97605"/>
                  <a:gd name="connsiteY0" fmla="*/ 1256 h 220449"/>
                  <a:gd name="connsiteX1" fmla="*/ 2811 w 97605"/>
                  <a:gd name="connsiteY1" fmla="*/ 220450 h 220449"/>
                  <a:gd name="connsiteX2" fmla="*/ 0 w 97605"/>
                  <a:gd name="connsiteY2" fmla="*/ 219194 h 220449"/>
                  <a:gd name="connsiteX3" fmla="*/ 94854 w 97605"/>
                  <a:gd name="connsiteY3" fmla="*/ 0 h 220449"/>
                </a:gdLst>
                <a:ahLst/>
                <a:cxnLst>
                  <a:cxn ang="0">
                    <a:pos x="connsiteX0" y="connsiteY0"/>
                  </a:cxn>
                  <a:cxn ang="0">
                    <a:pos x="connsiteX1" y="connsiteY1"/>
                  </a:cxn>
                  <a:cxn ang="0">
                    <a:pos x="connsiteX2" y="connsiteY2"/>
                  </a:cxn>
                  <a:cxn ang="0">
                    <a:pos x="connsiteX3" y="connsiteY3"/>
                  </a:cxn>
                </a:cxnLst>
                <a:rect l="l" t="t" r="r" b="b"/>
                <a:pathLst>
                  <a:path w="97605" h="220449">
                    <a:moveTo>
                      <a:pt x="97605" y="1256"/>
                    </a:moveTo>
                    <a:lnTo>
                      <a:pt x="2811" y="220450"/>
                    </a:lnTo>
                    <a:lnTo>
                      <a:pt x="0" y="219194"/>
                    </a:lnTo>
                    <a:lnTo>
                      <a:pt x="94854" y="0"/>
                    </a:lnTo>
                    <a:close/>
                  </a:path>
                </a:pathLst>
              </a:custGeom>
              <a:grpFill/>
              <a:ln w="5978" cap="flat">
                <a:noFill/>
                <a:prstDash val="solid"/>
                <a:miter/>
              </a:ln>
            </p:spPr>
            <p:txBody>
              <a:bodyPr rtlCol="0" anchor="ctr"/>
              <a:lstStyle/>
              <a:p>
                <a:endParaRPr lang="en-GB"/>
              </a:p>
            </p:txBody>
          </p:sp>
          <p:sp>
            <p:nvSpPr>
              <p:cNvPr id="2350" name="Vrije vorm: vorm 2349">
                <a:extLst>
                  <a:ext uri="{FF2B5EF4-FFF2-40B4-BE49-F238E27FC236}">
                    <a16:creationId xmlns:a16="http://schemas.microsoft.com/office/drawing/2014/main" id="{DE5702FC-9972-4ACF-9166-B0FEE3A71787}"/>
                  </a:ext>
                </a:extLst>
              </p:cNvPr>
              <p:cNvSpPr/>
              <p:nvPr/>
            </p:nvSpPr>
            <p:spPr>
              <a:xfrm>
                <a:off x="5181514" y="5406374"/>
                <a:ext cx="18373" cy="18418"/>
              </a:xfrm>
              <a:custGeom>
                <a:avLst/>
                <a:gdLst>
                  <a:gd name="connsiteX0" fmla="*/ 17607 w 18373"/>
                  <a:gd name="connsiteY0" fmla="*/ 12917 h 18418"/>
                  <a:gd name="connsiteX1" fmla="*/ 5526 w 18373"/>
                  <a:gd name="connsiteY1" fmla="*/ 17642 h 18418"/>
                  <a:gd name="connsiteX2" fmla="*/ 741 w 18373"/>
                  <a:gd name="connsiteY2" fmla="*/ 5501 h 18418"/>
                  <a:gd name="connsiteX3" fmla="*/ 12822 w 18373"/>
                  <a:gd name="connsiteY3" fmla="*/ 777 h 18418"/>
                  <a:gd name="connsiteX4" fmla="*/ 17607 w 18373"/>
                  <a:gd name="connsiteY4" fmla="*/ 12917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18">
                    <a:moveTo>
                      <a:pt x="17607" y="12917"/>
                    </a:moveTo>
                    <a:cubicBezTo>
                      <a:pt x="15574" y="17582"/>
                      <a:pt x="10191" y="19676"/>
                      <a:pt x="5526" y="17642"/>
                    </a:cubicBezTo>
                    <a:cubicBezTo>
                      <a:pt x="861" y="15609"/>
                      <a:pt x="-1232" y="10166"/>
                      <a:pt x="741" y="5501"/>
                    </a:cubicBezTo>
                    <a:cubicBezTo>
                      <a:pt x="2775" y="836"/>
                      <a:pt x="8158" y="-1257"/>
                      <a:pt x="12822" y="777"/>
                    </a:cubicBezTo>
                    <a:cubicBezTo>
                      <a:pt x="17487" y="2810"/>
                      <a:pt x="19640" y="8252"/>
                      <a:pt x="17607" y="12917"/>
                    </a:cubicBezTo>
                    <a:close/>
                  </a:path>
                </a:pathLst>
              </a:custGeom>
              <a:grpFill/>
              <a:ln w="5978" cap="flat">
                <a:noFill/>
                <a:prstDash val="solid"/>
                <a:miter/>
              </a:ln>
            </p:spPr>
            <p:txBody>
              <a:bodyPr rtlCol="0" anchor="ctr"/>
              <a:lstStyle/>
              <a:p>
                <a:endParaRPr lang="en-GB"/>
              </a:p>
            </p:txBody>
          </p:sp>
          <p:sp>
            <p:nvSpPr>
              <p:cNvPr id="2351" name="Vrije vorm: vorm 2350">
                <a:extLst>
                  <a:ext uri="{FF2B5EF4-FFF2-40B4-BE49-F238E27FC236}">
                    <a16:creationId xmlns:a16="http://schemas.microsoft.com/office/drawing/2014/main" id="{A73FDEAD-C287-4969-B799-3A3A8051C61E}"/>
                  </a:ext>
                </a:extLst>
              </p:cNvPr>
              <p:cNvSpPr/>
              <p:nvPr/>
            </p:nvSpPr>
            <p:spPr>
              <a:xfrm>
                <a:off x="5275984" y="5188018"/>
                <a:ext cx="18398" cy="18409"/>
              </a:xfrm>
              <a:custGeom>
                <a:avLst/>
                <a:gdLst>
                  <a:gd name="connsiteX0" fmla="*/ 17632 w 18398"/>
                  <a:gd name="connsiteY0" fmla="*/ 12917 h 18409"/>
                  <a:gd name="connsiteX1" fmla="*/ 12848 w 18398"/>
                  <a:gd name="connsiteY1" fmla="*/ 777 h 18409"/>
                  <a:gd name="connsiteX2" fmla="*/ 767 w 18398"/>
                  <a:gd name="connsiteY2" fmla="*/ 5501 h 18409"/>
                  <a:gd name="connsiteX3" fmla="*/ 5551 w 18398"/>
                  <a:gd name="connsiteY3" fmla="*/ 17642 h 18409"/>
                  <a:gd name="connsiteX4" fmla="*/ 17632 w 18398"/>
                  <a:gd name="connsiteY4" fmla="*/ 12917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409">
                    <a:moveTo>
                      <a:pt x="17632" y="12917"/>
                    </a:moveTo>
                    <a:cubicBezTo>
                      <a:pt x="19666" y="8252"/>
                      <a:pt x="17513" y="2810"/>
                      <a:pt x="12848" y="777"/>
                    </a:cubicBezTo>
                    <a:cubicBezTo>
                      <a:pt x="8183" y="-1257"/>
                      <a:pt x="2800" y="836"/>
                      <a:pt x="767" y="5501"/>
                    </a:cubicBezTo>
                    <a:cubicBezTo>
                      <a:pt x="-1267" y="10166"/>
                      <a:pt x="886" y="15609"/>
                      <a:pt x="5551" y="17642"/>
                    </a:cubicBezTo>
                    <a:cubicBezTo>
                      <a:pt x="10216" y="19676"/>
                      <a:pt x="15599" y="17523"/>
                      <a:pt x="17632" y="12917"/>
                    </a:cubicBezTo>
                    <a:close/>
                  </a:path>
                </a:pathLst>
              </a:custGeom>
              <a:grpFill/>
              <a:ln w="5978" cap="flat">
                <a:noFill/>
                <a:prstDash val="solid"/>
                <a:miter/>
              </a:ln>
            </p:spPr>
            <p:txBody>
              <a:bodyPr rtlCol="0" anchor="ctr"/>
              <a:lstStyle/>
              <a:p>
                <a:endParaRPr lang="en-GB"/>
              </a:p>
            </p:txBody>
          </p:sp>
        </p:grpSp>
        <p:grpSp>
          <p:nvGrpSpPr>
            <p:cNvPr id="1018" name="Graphic 3">
              <a:extLst>
                <a:ext uri="{FF2B5EF4-FFF2-40B4-BE49-F238E27FC236}">
                  <a16:creationId xmlns:a16="http://schemas.microsoft.com/office/drawing/2014/main" id="{23113D06-88CE-4361-A2F8-A932995A6D71}"/>
                </a:ext>
              </a:extLst>
            </p:cNvPr>
            <p:cNvGrpSpPr/>
            <p:nvPr/>
          </p:nvGrpSpPr>
          <p:grpSpPr>
            <a:xfrm>
              <a:off x="4198345" y="2645224"/>
              <a:ext cx="289569" cy="130378"/>
              <a:chOff x="4198345" y="2645224"/>
              <a:chExt cx="289569" cy="130378"/>
            </a:xfrm>
            <a:grpFill/>
          </p:grpSpPr>
          <p:sp>
            <p:nvSpPr>
              <p:cNvPr id="2346" name="Vrije vorm: vorm 2345">
                <a:extLst>
                  <a:ext uri="{FF2B5EF4-FFF2-40B4-BE49-F238E27FC236}">
                    <a16:creationId xmlns:a16="http://schemas.microsoft.com/office/drawing/2014/main" id="{26D30E60-38BD-477E-8208-ADD76186BF06}"/>
                  </a:ext>
                </a:extLst>
              </p:cNvPr>
              <p:cNvSpPr/>
              <p:nvPr/>
            </p:nvSpPr>
            <p:spPr>
              <a:xfrm>
                <a:off x="4206500" y="2652849"/>
                <a:ext cx="273199" cy="115128"/>
              </a:xfrm>
              <a:custGeom>
                <a:avLst/>
                <a:gdLst>
                  <a:gd name="connsiteX0" fmla="*/ 273199 w 273199"/>
                  <a:gd name="connsiteY0" fmla="*/ 112258 h 115128"/>
                  <a:gd name="connsiteX1" fmla="*/ 272063 w 273199"/>
                  <a:gd name="connsiteY1" fmla="*/ 115129 h 115128"/>
                  <a:gd name="connsiteX2" fmla="*/ 0 w 273199"/>
                  <a:gd name="connsiteY2" fmla="*/ 2871 h 115128"/>
                  <a:gd name="connsiteX3" fmla="*/ 1196 w 273199"/>
                  <a:gd name="connsiteY3" fmla="*/ 0 h 115128"/>
                </a:gdLst>
                <a:ahLst/>
                <a:cxnLst>
                  <a:cxn ang="0">
                    <a:pos x="connsiteX0" y="connsiteY0"/>
                  </a:cxn>
                  <a:cxn ang="0">
                    <a:pos x="connsiteX1" y="connsiteY1"/>
                  </a:cxn>
                  <a:cxn ang="0">
                    <a:pos x="connsiteX2" y="connsiteY2"/>
                  </a:cxn>
                  <a:cxn ang="0">
                    <a:pos x="connsiteX3" y="connsiteY3"/>
                  </a:cxn>
                </a:cxnLst>
                <a:rect l="l" t="t" r="r" b="b"/>
                <a:pathLst>
                  <a:path w="273199" h="115128">
                    <a:moveTo>
                      <a:pt x="273199" y="112258"/>
                    </a:moveTo>
                    <a:lnTo>
                      <a:pt x="272063" y="115129"/>
                    </a:lnTo>
                    <a:lnTo>
                      <a:pt x="0" y="2871"/>
                    </a:lnTo>
                    <a:lnTo>
                      <a:pt x="1196" y="0"/>
                    </a:lnTo>
                    <a:close/>
                  </a:path>
                </a:pathLst>
              </a:custGeom>
              <a:grpFill/>
              <a:ln w="5978" cap="flat">
                <a:noFill/>
                <a:prstDash val="solid"/>
                <a:miter/>
              </a:ln>
            </p:spPr>
            <p:txBody>
              <a:bodyPr rtlCol="0" anchor="ctr"/>
              <a:lstStyle/>
              <a:p>
                <a:endParaRPr lang="en-GB"/>
              </a:p>
            </p:txBody>
          </p:sp>
          <p:sp>
            <p:nvSpPr>
              <p:cNvPr id="2347" name="Vrije vorm: vorm 2346">
                <a:extLst>
                  <a:ext uri="{FF2B5EF4-FFF2-40B4-BE49-F238E27FC236}">
                    <a16:creationId xmlns:a16="http://schemas.microsoft.com/office/drawing/2014/main" id="{ACB5CA55-CB97-4E32-B6B0-B9AAE94E3D76}"/>
                  </a:ext>
                </a:extLst>
              </p:cNvPr>
              <p:cNvSpPr/>
              <p:nvPr/>
            </p:nvSpPr>
            <p:spPr>
              <a:xfrm>
                <a:off x="4198345" y="2645224"/>
                <a:ext cx="18343" cy="18444"/>
              </a:xfrm>
              <a:custGeom>
                <a:avLst/>
                <a:gdLst>
                  <a:gd name="connsiteX0" fmla="*/ 5703 w 18343"/>
                  <a:gd name="connsiteY0" fmla="*/ 17732 h 18444"/>
                  <a:gd name="connsiteX1" fmla="*/ 679 w 18343"/>
                  <a:gd name="connsiteY1" fmla="*/ 5711 h 18444"/>
                  <a:gd name="connsiteX2" fmla="*/ 12641 w 18343"/>
                  <a:gd name="connsiteY2" fmla="*/ 687 h 18444"/>
                  <a:gd name="connsiteX3" fmla="*/ 17664 w 18343"/>
                  <a:gd name="connsiteY3" fmla="*/ 12708 h 18444"/>
                  <a:gd name="connsiteX4" fmla="*/ 5703 w 18343"/>
                  <a:gd name="connsiteY4" fmla="*/ 177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4">
                    <a:moveTo>
                      <a:pt x="5703" y="17732"/>
                    </a:moveTo>
                    <a:cubicBezTo>
                      <a:pt x="1038" y="15819"/>
                      <a:pt x="-1235" y="10436"/>
                      <a:pt x="679" y="5711"/>
                    </a:cubicBezTo>
                    <a:cubicBezTo>
                      <a:pt x="2593" y="986"/>
                      <a:pt x="7916" y="-1227"/>
                      <a:pt x="12641" y="687"/>
                    </a:cubicBezTo>
                    <a:cubicBezTo>
                      <a:pt x="17306" y="2601"/>
                      <a:pt x="19578" y="7984"/>
                      <a:pt x="17664" y="12708"/>
                    </a:cubicBezTo>
                    <a:cubicBezTo>
                      <a:pt x="15751" y="17433"/>
                      <a:pt x="10428" y="19706"/>
                      <a:pt x="5703" y="17732"/>
                    </a:cubicBezTo>
                    <a:close/>
                  </a:path>
                </a:pathLst>
              </a:custGeom>
              <a:grpFill/>
              <a:ln w="5978" cap="flat">
                <a:noFill/>
                <a:prstDash val="solid"/>
                <a:miter/>
              </a:ln>
            </p:spPr>
            <p:txBody>
              <a:bodyPr rtlCol="0" anchor="ctr"/>
              <a:lstStyle/>
              <a:p>
                <a:endParaRPr lang="en-GB"/>
              </a:p>
            </p:txBody>
          </p:sp>
          <p:sp>
            <p:nvSpPr>
              <p:cNvPr id="2348" name="Vrije vorm: vorm 2347">
                <a:extLst>
                  <a:ext uri="{FF2B5EF4-FFF2-40B4-BE49-F238E27FC236}">
                    <a16:creationId xmlns:a16="http://schemas.microsoft.com/office/drawing/2014/main" id="{21B1CA41-2731-4940-980D-EED3CC1D053B}"/>
                  </a:ext>
                </a:extLst>
              </p:cNvPr>
              <p:cNvSpPr/>
              <p:nvPr/>
            </p:nvSpPr>
            <p:spPr>
              <a:xfrm>
                <a:off x="4469563" y="2757183"/>
                <a:ext cx="18352" cy="18419"/>
              </a:xfrm>
              <a:custGeom>
                <a:avLst/>
                <a:gdLst>
                  <a:gd name="connsiteX0" fmla="*/ 5711 w 18352"/>
                  <a:gd name="connsiteY0" fmla="*/ 17732 h 18419"/>
                  <a:gd name="connsiteX1" fmla="*/ 17673 w 18352"/>
                  <a:gd name="connsiteY1" fmla="*/ 12708 h 18419"/>
                  <a:gd name="connsiteX2" fmla="*/ 12649 w 18352"/>
                  <a:gd name="connsiteY2" fmla="*/ 687 h 18419"/>
                  <a:gd name="connsiteX3" fmla="*/ 687 w 18352"/>
                  <a:gd name="connsiteY3" fmla="*/ 5711 h 18419"/>
                  <a:gd name="connsiteX4" fmla="*/ 5711 w 18352"/>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19">
                    <a:moveTo>
                      <a:pt x="5711" y="17732"/>
                    </a:moveTo>
                    <a:cubicBezTo>
                      <a:pt x="10376" y="19646"/>
                      <a:pt x="15759" y="17433"/>
                      <a:pt x="17673" y="12708"/>
                    </a:cubicBezTo>
                    <a:cubicBezTo>
                      <a:pt x="19587" y="7984"/>
                      <a:pt x="17314" y="2601"/>
                      <a:pt x="12649" y="687"/>
                    </a:cubicBezTo>
                    <a:cubicBezTo>
                      <a:pt x="7984" y="-1227"/>
                      <a:pt x="2601" y="986"/>
                      <a:pt x="687" y="5711"/>
                    </a:cubicBezTo>
                    <a:cubicBezTo>
                      <a:pt x="-1227" y="10376"/>
                      <a:pt x="986" y="15759"/>
                      <a:pt x="5711" y="17732"/>
                    </a:cubicBezTo>
                    <a:close/>
                  </a:path>
                </a:pathLst>
              </a:custGeom>
              <a:grpFill/>
              <a:ln w="5978" cap="flat">
                <a:noFill/>
                <a:prstDash val="solid"/>
                <a:miter/>
              </a:ln>
            </p:spPr>
            <p:txBody>
              <a:bodyPr rtlCol="0" anchor="ctr"/>
              <a:lstStyle/>
              <a:p>
                <a:endParaRPr lang="en-GB"/>
              </a:p>
            </p:txBody>
          </p:sp>
        </p:grpSp>
        <p:grpSp>
          <p:nvGrpSpPr>
            <p:cNvPr id="1019" name="Graphic 3">
              <a:extLst>
                <a:ext uri="{FF2B5EF4-FFF2-40B4-BE49-F238E27FC236}">
                  <a16:creationId xmlns:a16="http://schemas.microsoft.com/office/drawing/2014/main" id="{C1680FC9-A2A1-41F4-981B-7B9C0B148209}"/>
                </a:ext>
              </a:extLst>
            </p:cNvPr>
            <p:cNvGrpSpPr/>
            <p:nvPr/>
          </p:nvGrpSpPr>
          <p:grpSpPr>
            <a:xfrm>
              <a:off x="4180703" y="2425583"/>
              <a:ext cx="162296" cy="94274"/>
              <a:chOff x="4180703" y="2425583"/>
              <a:chExt cx="162296" cy="94274"/>
            </a:xfrm>
            <a:grpFill/>
          </p:grpSpPr>
          <p:sp>
            <p:nvSpPr>
              <p:cNvPr id="2343" name="Vrije vorm: vorm 2342">
                <a:extLst>
                  <a:ext uri="{FF2B5EF4-FFF2-40B4-BE49-F238E27FC236}">
                    <a16:creationId xmlns:a16="http://schemas.microsoft.com/office/drawing/2014/main" id="{F7DB77A0-C95A-4788-BE4C-276183544B87}"/>
                  </a:ext>
                </a:extLst>
              </p:cNvPr>
              <p:cNvSpPr/>
              <p:nvPr/>
            </p:nvSpPr>
            <p:spPr>
              <a:xfrm>
                <a:off x="4188737" y="2433237"/>
                <a:ext cx="146228" cy="78945"/>
              </a:xfrm>
              <a:custGeom>
                <a:avLst/>
                <a:gdLst>
                  <a:gd name="connsiteX0" fmla="*/ 146229 w 146228"/>
                  <a:gd name="connsiteY0" fmla="*/ 76254 h 78945"/>
                  <a:gd name="connsiteX1" fmla="*/ 144853 w 146228"/>
                  <a:gd name="connsiteY1" fmla="*/ 78945 h 78945"/>
                  <a:gd name="connsiteX2" fmla="*/ 0 w 146228"/>
                  <a:gd name="connsiteY2" fmla="*/ 2691 h 78945"/>
                  <a:gd name="connsiteX3" fmla="*/ 1435 w 146228"/>
                  <a:gd name="connsiteY3" fmla="*/ 0 h 78945"/>
                </a:gdLst>
                <a:ahLst/>
                <a:cxnLst>
                  <a:cxn ang="0">
                    <a:pos x="connsiteX0" y="connsiteY0"/>
                  </a:cxn>
                  <a:cxn ang="0">
                    <a:pos x="connsiteX1" y="connsiteY1"/>
                  </a:cxn>
                  <a:cxn ang="0">
                    <a:pos x="connsiteX2" y="connsiteY2"/>
                  </a:cxn>
                  <a:cxn ang="0">
                    <a:pos x="connsiteX3" y="connsiteY3"/>
                  </a:cxn>
                </a:cxnLst>
                <a:rect l="l" t="t" r="r" b="b"/>
                <a:pathLst>
                  <a:path w="146228" h="78945">
                    <a:moveTo>
                      <a:pt x="146229" y="76254"/>
                    </a:moveTo>
                    <a:lnTo>
                      <a:pt x="144853" y="78945"/>
                    </a:lnTo>
                    <a:lnTo>
                      <a:pt x="0" y="2691"/>
                    </a:lnTo>
                    <a:lnTo>
                      <a:pt x="1435" y="0"/>
                    </a:lnTo>
                    <a:close/>
                  </a:path>
                </a:pathLst>
              </a:custGeom>
              <a:grpFill/>
              <a:ln w="5978" cap="flat">
                <a:noFill/>
                <a:prstDash val="solid"/>
                <a:miter/>
              </a:ln>
            </p:spPr>
            <p:txBody>
              <a:bodyPr rtlCol="0" anchor="ctr"/>
              <a:lstStyle/>
              <a:p>
                <a:endParaRPr lang="en-GB"/>
              </a:p>
            </p:txBody>
          </p:sp>
          <p:sp>
            <p:nvSpPr>
              <p:cNvPr id="2344" name="Vrije vorm: vorm 2343">
                <a:extLst>
                  <a:ext uri="{FF2B5EF4-FFF2-40B4-BE49-F238E27FC236}">
                    <a16:creationId xmlns:a16="http://schemas.microsoft.com/office/drawing/2014/main" id="{1B3F6453-CA9B-4401-9CEA-F9EB0F834EDE}"/>
                  </a:ext>
                </a:extLst>
              </p:cNvPr>
              <p:cNvSpPr/>
              <p:nvPr/>
            </p:nvSpPr>
            <p:spPr>
              <a:xfrm>
                <a:off x="4324659" y="2501419"/>
                <a:ext cx="18341" cy="18438"/>
              </a:xfrm>
              <a:custGeom>
                <a:avLst/>
                <a:gdLst>
                  <a:gd name="connsiteX0" fmla="*/ 13417 w 18341"/>
                  <a:gd name="connsiteY0" fmla="*/ 1075 h 18438"/>
                  <a:gd name="connsiteX1" fmla="*/ 17304 w 18341"/>
                  <a:gd name="connsiteY1" fmla="*/ 13514 h 18438"/>
                  <a:gd name="connsiteX2" fmla="*/ 4924 w 18341"/>
                  <a:gd name="connsiteY2" fmla="*/ 17402 h 18438"/>
                  <a:gd name="connsiteX3" fmla="*/ 1037 w 18341"/>
                  <a:gd name="connsiteY3" fmla="*/ 4962 h 18438"/>
                  <a:gd name="connsiteX4" fmla="*/ 13417 w 18341"/>
                  <a:gd name="connsiteY4" fmla="*/ 1075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8">
                    <a:moveTo>
                      <a:pt x="13417" y="1075"/>
                    </a:moveTo>
                    <a:cubicBezTo>
                      <a:pt x="17902" y="3467"/>
                      <a:pt x="19637" y="9029"/>
                      <a:pt x="17304" y="13514"/>
                    </a:cubicBezTo>
                    <a:cubicBezTo>
                      <a:pt x="14972" y="18000"/>
                      <a:pt x="9410" y="19734"/>
                      <a:pt x="4924" y="17402"/>
                    </a:cubicBezTo>
                    <a:cubicBezTo>
                      <a:pt x="439" y="15010"/>
                      <a:pt x="-1296" y="9448"/>
                      <a:pt x="1037" y="4962"/>
                    </a:cubicBezTo>
                    <a:cubicBezTo>
                      <a:pt x="3429" y="417"/>
                      <a:pt x="8931" y="-1318"/>
                      <a:pt x="13417" y="1075"/>
                    </a:cubicBezTo>
                    <a:close/>
                  </a:path>
                </a:pathLst>
              </a:custGeom>
              <a:grpFill/>
              <a:ln w="5978" cap="flat">
                <a:noFill/>
                <a:prstDash val="solid"/>
                <a:miter/>
              </a:ln>
            </p:spPr>
            <p:txBody>
              <a:bodyPr rtlCol="0" anchor="ctr"/>
              <a:lstStyle/>
              <a:p>
                <a:endParaRPr lang="en-GB"/>
              </a:p>
            </p:txBody>
          </p:sp>
          <p:sp>
            <p:nvSpPr>
              <p:cNvPr id="2345" name="Vrije vorm: vorm 2344">
                <a:extLst>
                  <a:ext uri="{FF2B5EF4-FFF2-40B4-BE49-F238E27FC236}">
                    <a16:creationId xmlns:a16="http://schemas.microsoft.com/office/drawing/2014/main" id="{D90325D9-D83E-49BA-AFDE-9324A7519B3B}"/>
                  </a:ext>
                </a:extLst>
              </p:cNvPr>
              <p:cNvSpPr/>
              <p:nvPr/>
            </p:nvSpPr>
            <p:spPr>
              <a:xfrm>
                <a:off x="4180703" y="2425583"/>
                <a:ext cx="18340" cy="18476"/>
              </a:xfrm>
              <a:custGeom>
                <a:avLst/>
                <a:gdLst>
                  <a:gd name="connsiteX0" fmla="*/ 13417 w 18340"/>
                  <a:gd name="connsiteY0" fmla="*/ 1075 h 18476"/>
                  <a:gd name="connsiteX1" fmla="*/ 1037 w 18340"/>
                  <a:gd name="connsiteY1" fmla="*/ 4962 h 18476"/>
                  <a:gd name="connsiteX2" fmla="*/ 4924 w 18340"/>
                  <a:gd name="connsiteY2" fmla="*/ 17402 h 18476"/>
                  <a:gd name="connsiteX3" fmla="*/ 17304 w 18340"/>
                  <a:gd name="connsiteY3" fmla="*/ 13514 h 18476"/>
                  <a:gd name="connsiteX4" fmla="*/ 13417 w 18340"/>
                  <a:gd name="connsiteY4" fmla="*/ 1075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76">
                    <a:moveTo>
                      <a:pt x="13417" y="1075"/>
                    </a:moveTo>
                    <a:cubicBezTo>
                      <a:pt x="8931" y="-1318"/>
                      <a:pt x="3369" y="417"/>
                      <a:pt x="1037" y="4962"/>
                    </a:cubicBezTo>
                    <a:cubicBezTo>
                      <a:pt x="-1296" y="9448"/>
                      <a:pt x="439" y="15010"/>
                      <a:pt x="4924" y="17402"/>
                    </a:cubicBezTo>
                    <a:cubicBezTo>
                      <a:pt x="9410" y="19794"/>
                      <a:pt x="14972" y="18060"/>
                      <a:pt x="17304" y="13514"/>
                    </a:cubicBezTo>
                    <a:cubicBezTo>
                      <a:pt x="19637" y="9029"/>
                      <a:pt x="17902" y="3407"/>
                      <a:pt x="13417" y="1075"/>
                    </a:cubicBezTo>
                    <a:close/>
                  </a:path>
                </a:pathLst>
              </a:custGeom>
              <a:grpFill/>
              <a:ln w="5978" cap="flat">
                <a:noFill/>
                <a:prstDash val="solid"/>
                <a:miter/>
              </a:ln>
            </p:spPr>
            <p:txBody>
              <a:bodyPr rtlCol="0" anchor="ctr"/>
              <a:lstStyle/>
              <a:p>
                <a:endParaRPr lang="en-GB"/>
              </a:p>
            </p:txBody>
          </p:sp>
        </p:grpSp>
        <p:grpSp>
          <p:nvGrpSpPr>
            <p:cNvPr id="1020" name="Graphic 3">
              <a:extLst>
                <a:ext uri="{FF2B5EF4-FFF2-40B4-BE49-F238E27FC236}">
                  <a16:creationId xmlns:a16="http://schemas.microsoft.com/office/drawing/2014/main" id="{27694848-1A32-4F09-9F5D-D2BA0AB61DCF}"/>
                </a:ext>
              </a:extLst>
            </p:cNvPr>
            <p:cNvGrpSpPr/>
            <p:nvPr/>
          </p:nvGrpSpPr>
          <p:grpSpPr>
            <a:xfrm>
              <a:off x="5062095" y="4953630"/>
              <a:ext cx="116950" cy="190610"/>
              <a:chOff x="5062095" y="4953630"/>
              <a:chExt cx="116950" cy="190610"/>
            </a:xfrm>
            <a:grpFill/>
          </p:grpSpPr>
          <p:sp>
            <p:nvSpPr>
              <p:cNvPr id="2340" name="Vrije vorm: vorm 2339">
                <a:extLst>
                  <a:ext uri="{FF2B5EF4-FFF2-40B4-BE49-F238E27FC236}">
                    <a16:creationId xmlns:a16="http://schemas.microsoft.com/office/drawing/2014/main" id="{DB7C9787-0D60-4059-A88D-288BBC23AD09}"/>
                  </a:ext>
                </a:extLst>
              </p:cNvPr>
              <p:cNvSpPr/>
              <p:nvPr/>
            </p:nvSpPr>
            <p:spPr>
              <a:xfrm>
                <a:off x="5069698" y="4961647"/>
                <a:ext cx="101732" cy="174517"/>
              </a:xfrm>
              <a:custGeom>
                <a:avLst/>
                <a:gdLst>
                  <a:gd name="connsiteX0" fmla="*/ 101732 w 101732"/>
                  <a:gd name="connsiteY0" fmla="*/ 1555 h 174517"/>
                  <a:gd name="connsiteX1" fmla="*/ 2691 w 101732"/>
                  <a:gd name="connsiteY1" fmla="*/ 174517 h 174517"/>
                  <a:gd name="connsiteX2" fmla="*/ 0 w 101732"/>
                  <a:gd name="connsiteY2" fmla="*/ 172962 h 174517"/>
                  <a:gd name="connsiteX3" fmla="*/ 99101 w 101732"/>
                  <a:gd name="connsiteY3" fmla="*/ 0 h 174517"/>
                </a:gdLst>
                <a:ahLst/>
                <a:cxnLst>
                  <a:cxn ang="0">
                    <a:pos x="connsiteX0" y="connsiteY0"/>
                  </a:cxn>
                  <a:cxn ang="0">
                    <a:pos x="connsiteX1" y="connsiteY1"/>
                  </a:cxn>
                  <a:cxn ang="0">
                    <a:pos x="connsiteX2" y="connsiteY2"/>
                  </a:cxn>
                  <a:cxn ang="0">
                    <a:pos x="connsiteX3" y="connsiteY3"/>
                  </a:cxn>
                </a:cxnLst>
                <a:rect l="l" t="t" r="r" b="b"/>
                <a:pathLst>
                  <a:path w="101732" h="174517">
                    <a:moveTo>
                      <a:pt x="101732" y="1555"/>
                    </a:moveTo>
                    <a:lnTo>
                      <a:pt x="2691" y="174517"/>
                    </a:lnTo>
                    <a:lnTo>
                      <a:pt x="0" y="172962"/>
                    </a:lnTo>
                    <a:lnTo>
                      <a:pt x="99101" y="0"/>
                    </a:lnTo>
                    <a:close/>
                  </a:path>
                </a:pathLst>
              </a:custGeom>
              <a:grpFill/>
              <a:ln w="5978" cap="flat">
                <a:noFill/>
                <a:prstDash val="solid"/>
                <a:miter/>
              </a:ln>
            </p:spPr>
            <p:txBody>
              <a:bodyPr rtlCol="0" anchor="ctr"/>
              <a:lstStyle/>
              <a:p>
                <a:endParaRPr lang="en-GB"/>
              </a:p>
            </p:txBody>
          </p:sp>
          <p:sp>
            <p:nvSpPr>
              <p:cNvPr id="2341" name="Vrije vorm: vorm 2340">
                <a:extLst>
                  <a:ext uri="{FF2B5EF4-FFF2-40B4-BE49-F238E27FC236}">
                    <a16:creationId xmlns:a16="http://schemas.microsoft.com/office/drawing/2014/main" id="{EBDC7A7A-0979-45F7-8C23-7B87BF84BE87}"/>
                  </a:ext>
                </a:extLst>
              </p:cNvPr>
              <p:cNvSpPr/>
              <p:nvPr/>
            </p:nvSpPr>
            <p:spPr>
              <a:xfrm>
                <a:off x="5062095" y="5125755"/>
                <a:ext cx="18328" cy="18485"/>
              </a:xfrm>
              <a:custGeom>
                <a:avLst/>
                <a:gdLst>
                  <a:gd name="connsiteX0" fmla="*/ 17112 w 18328"/>
                  <a:gd name="connsiteY0" fmla="*/ 13877 h 18485"/>
                  <a:gd name="connsiteX1" fmla="*/ 4612 w 18328"/>
                  <a:gd name="connsiteY1" fmla="*/ 17227 h 18485"/>
                  <a:gd name="connsiteX2" fmla="*/ 1204 w 18328"/>
                  <a:gd name="connsiteY2" fmla="*/ 4607 h 18485"/>
                  <a:gd name="connsiteX3" fmla="*/ 13703 w 18328"/>
                  <a:gd name="connsiteY3" fmla="*/ 1258 h 18485"/>
                  <a:gd name="connsiteX4" fmla="*/ 17112 w 18328"/>
                  <a:gd name="connsiteY4" fmla="*/ 13877 h 18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85">
                    <a:moveTo>
                      <a:pt x="17112" y="13877"/>
                    </a:moveTo>
                    <a:cubicBezTo>
                      <a:pt x="14600" y="18303"/>
                      <a:pt x="8979" y="19799"/>
                      <a:pt x="4612" y="17227"/>
                    </a:cubicBezTo>
                    <a:cubicBezTo>
                      <a:pt x="247" y="14655"/>
                      <a:pt x="-1308" y="9033"/>
                      <a:pt x="1204" y="4607"/>
                    </a:cubicBezTo>
                    <a:cubicBezTo>
                      <a:pt x="3715" y="182"/>
                      <a:pt x="9337" y="-1313"/>
                      <a:pt x="13703" y="1258"/>
                    </a:cubicBezTo>
                    <a:cubicBezTo>
                      <a:pt x="18129" y="3830"/>
                      <a:pt x="19624" y="9452"/>
                      <a:pt x="17112" y="13877"/>
                    </a:cubicBezTo>
                    <a:close/>
                  </a:path>
                </a:pathLst>
              </a:custGeom>
              <a:grpFill/>
              <a:ln w="5978" cap="flat">
                <a:noFill/>
                <a:prstDash val="solid"/>
                <a:miter/>
              </a:ln>
            </p:spPr>
            <p:txBody>
              <a:bodyPr rtlCol="0" anchor="ctr"/>
              <a:lstStyle/>
              <a:p>
                <a:endParaRPr lang="en-GB"/>
              </a:p>
            </p:txBody>
          </p:sp>
          <p:sp>
            <p:nvSpPr>
              <p:cNvPr id="2342" name="Vrije vorm: vorm 2341">
                <a:extLst>
                  <a:ext uri="{FF2B5EF4-FFF2-40B4-BE49-F238E27FC236}">
                    <a16:creationId xmlns:a16="http://schemas.microsoft.com/office/drawing/2014/main" id="{FAB0B95F-3ACB-4C43-A658-80EBC2F20231}"/>
                  </a:ext>
                </a:extLst>
              </p:cNvPr>
              <p:cNvSpPr/>
              <p:nvPr/>
            </p:nvSpPr>
            <p:spPr>
              <a:xfrm>
                <a:off x="5160704" y="4953630"/>
                <a:ext cx="18341" cy="18442"/>
              </a:xfrm>
              <a:custGeom>
                <a:avLst/>
                <a:gdLst>
                  <a:gd name="connsiteX0" fmla="*/ 17125 w 18341"/>
                  <a:gd name="connsiteY0" fmla="*/ 13818 h 18442"/>
                  <a:gd name="connsiteX1" fmla="*/ 13716 w 18341"/>
                  <a:gd name="connsiteY1" fmla="*/ 1258 h 18442"/>
                  <a:gd name="connsiteX2" fmla="*/ 1217 w 18341"/>
                  <a:gd name="connsiteY2" fmla="*/ 4607 h 18442"/>
                  <a:gd name="connsiteX3" fmla="*/ 4626 w 18341"/>
                  <a:gd name="connsiteY3" fmla="*/ 17227 h 18442"/>
                  <a:gd name="connsiteX4" fmla="*/ 17125 w 18341"/>
                  <a:gd name="connsiteY4" fmla="*/ 13818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42">
                    <a:moveTo>
                      <a:pt x="17125" y="13818"/>
                    </a:moveTo>
                    <a:cubicBezTo>
                      <a:pt x="19637" y="9392"/>
                      <a:pt x="18142" y="3770"/>
                      <a:pt x="13716" y="1258"/>
                    </a:cubicBezTo>
                    <a:cubicBezTo>
                      <a:pt x="9350" y="-1313"/>
                      <a:pt x="3728" y="182"/>
                      <a:pt x="1217" y="4607"/>
                    </a:cubicBezTo>
                    <a:cubicBezTo>
                      <a:pt x="-1296" y="9033"/>
                      <a:pt x="200" y="14655"/>
                      <a:pt x="4626" y="17227"/>
                    </a:cubicBezTo>
                    <a:cubicBezTo>
                      <a:pt x="8991" y="19738"/>
                      <a:pt x="14613" y="18243"/>
                      <a:pt x="17125" y="13818"/>
                    </a:cubicBezTo>
                    <a:close/>
                  </a:path>
                </a:pathLst>
              </a:custGeom>
              <a:grpFill/>
              <a:ln w="5978" cap="flat">
                <a:noFill/>
                <a:prstDash val="solid"/>
                <a:miter/>
              </a:ln>
            </p:spPr>
            <p:txBody>
              <a:bodyPr rtlCol="0" anchor="ctr"/>
              <a:lstStyle/>
              <a:p>
                <a:endParaRPr lang="en-GB"/>
              </a:p>
            </p:txBody>
          </p:sp>
        </p:grpSp>
        <p:grpSp>
          <p:nvGrpSpPr>
            <p:cNvPr id="1021" name="Graphic 3">
              <a:extLst>
                <a:ext uri="{FF2B5EF4-FFF2-40B4-BE49-F238E27FC236}">
                  <a16:creationId xmlns:a16="http://schemas.microsoft.com/office/drawing/2014/main" id="{A8071CD8-F1FE-4880-89E8-2EE061BEC363}"/>
                </a:ext>
              </a:extLst>
            </p:cNvPr>
            <p:cNvGrpSpPr/>
            <p:nvPr/>
          </p:nvGrpSpPr>
          <p:grpSpPr>
            <a:xfrm>
              <a:off x="5005726" y="4888540"/>
              <a:ext cx="281589" cy="436518"/>
              <a:chOff x="5005726" y="4888540"/>
              <a:chExt cx="281589" cy="436518"/>
            </a:xfrm>
            <a:grpFill/>
          </p:grpSpPr>
          <p:sp>
            <p:nvSpPr>
              <p:cNvPr id="2337" name="Vrije vorm: vorm 2336">
                <a:extLst>
                  <a:ext uri="{FF2B5EF4-FFF2-40B4-BE49-F238E27FC236}">
                    <a16:creationId xmlns:a16="http://schemas.microsoft.com/office/drawing/2014/main" id="{40F41EC4-05F4-4007-AA11-F8BC1581D02B}"/>
                  </a:ext>
                </a:extLst>
              </p:cNvPr>
              <p:cNvSpPr/>
              <p:nvPr/>
            </p:nvSpPr>
            <p:spPr>
              <a:xfrm>
                <a:off x="5013360" y="4896576"/>
                <a:ext cx="266381" cy="420444"/>
              </a:xfrm>
              <a:custGeom>
                <a:avLst/>
                <a:gdLst>
                  <a:gd name="connsiteX0" fmla="*/ 266382 w 266381"/>
                  <a:gd name="connsiteY0" fmla="*/ 1615 h 420444"/>
                  <a:gd name="connsiteX1" fmla="*/ 2572 w 266381"/>
                  <a:gd name="connsiteY1" fmla="*/ 420445 h 420444"/>
                  <a:gd name="connsiteX2" fmla="*/ 0 w 266381"/>
                  <a:gd name="connsiteY2" fmla="*/ 418830 h 420444"/>
                  <a:gd name="connsiteX3" fmla="*/ 263810 w 266381"/>
                  <a:gd name="connsiteY3" fmla="*/ 0 h 420444"/>
                </a:gdLst>
                <a:ahLst/>
                <a:cxnLst>
                  <a:cxn ang="0">
                    <a:pos x="connsiteX0" y="connsiteY0"/>
                  </a:cxn>
                  <a:cxn ang="0">
                    <a:pos x="connsiteX1" y="connsiteY1"/>
                  </a:cxn>
                  <a:cxn ang="0">
                    <a:pos x="connsiteX2" y="connsiteY2"/>
                  </a:cxn>
                  <a:cxn ang="0">
                    <a:pos x="connsiteX3" y="connsiteY3"/>
                  </a:cxn>
                </a:cxnLst>
                <a:rect l="l" t="t" r="r" b="b"/>
                <a:pathLst>
                  <a:path w="266381" h="420444">
                    <a:moveTo>
                      <a:pt x="266382" y="1615"/>
                    </a:moveTo>
                    <a:lnTo>
                      <a:pt x="2572" y="420445"/>
                    </a:lnTo>
                    <a:lnTo>
                      <a:pt x="0" y="418830"/>
                    </a:lnTo>
                    <a:lnTo>
                      <a:pt x="263810" y="0"/>
                    </a:lnTo>
                    <a:close/>
                  </a:path>
                </a:pathLst>
              </a:custGeom>
              <a:grpFill/>
              <a:ln w="5978" cap="flat">
                <a:noFill/>
                <a:prstDash val="solid"/>
                <a:miter/>
              </a:ln>
            </p:spPr>
            <p:txBody>
              <a:bodyPr rtlCol="0" anchor="ctr"/>
              <a:lstStyle/>
              <a:p>
                <a:endParaRPr lang="en-GB"/>
              </a:p>
            </p:txBody>
          </p:sp>
          <p:sp>
            <p:nvSpPr>
              <p:cNvPr id="2338" name="Vrije vorm: vorm 2337">
                <a:extLst>
                  <a:ext uri="{FF2B5EF4-FFF2-40B4-BE49-F238E27FC236}">
                    <a16:creationId xmlns:a16="http://schemas.microsoft.com/office/drawing/2014/main" id="{122FFB7B-FA51-4A88-86B4-71CB94F903BD}"/>
                  </a:ext>
                </a:extLst>
              </p:cNvPr>
              <p:cNvSpPr/>
              <p:nvPr/>
            </p:nvSpPr>
            <p:spPr>
              <a:xfrm>
                <a:off x="5269012" y="4888540"/>
                <a:ext cx="18303" cy="18465"/>
              </a:xfrm>
              <a:custGeom>
                <a:avLst/>
                <a:gdLst>
                  <a:gd name="connsiteX0" fmla="*/ 1400 w 18303"/>
                  <a:gd name="connsiteY0" fmla="*/ 4269 h 18465"/>
                  <a:gd name="connsiteX1" fmla="*/ 14019 w 18303"/>
                  <a:gd name="connsiteY1" fmla="*/ 1458 h 18465"/>
                  <a:gd name="connsiteX2" fmla="*/ 16889 w 18303"/>
                  <a:gd name="connsiteY2" fmla="*/ 14197 h 18465"/>
                  <a:gd name="connsiteX3" fmla="*/ 4270 w 18303"/>
                  <a:gd name="connsiteY3" fmla="*/ 17008 h 18465"/>
                  <a:gd name="connsiteX4" fmla="*/ 1400 w 18303"/>
                  <a:gd name="connsiteY4" fmla="*/ 426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65">
                    <a:moveTo>
                      <a:pt x="1400" y="4269"/>
                    </a:moveTo>
                    <a:cubicBezTo>
                      <a:pt x="4091" y="-37"/>
                      <a:pt x="9772" y="-1293"/>
                      <a:pt x="14019" y="1458"/>
                    </a:cubicBezTo>
                    <a:cubicBezTo>
                      <a:pt x="18325" y="4209"/>
                      <a:pt x="19581" y="9891"/>
                      <a:pt x="16889" y="14197"/>
                    </a:cubicBezTo>
                    <a:cubicBezTo>
                      <a:pt x="14198" y="18503"/>
                      <a:pt x="8516" y="19759"/>
                      <a:pt x="4270" y="17008"/>
                    </a:cubicBezTo>
                    <a:cubicBezTo>
                      <a:pt x="24" y="14257"/>
                      <a:pt x="-1292" y="8575"/>
                      <a:pt x="1400" y="4269"/>
                    </a:cubicBezTo>
                    <a:close/>
                  </a:path>
                </a:pathLst>
              </a:custGeom>
              <a:grpFill/>
              <a:ln w="5978" cap="flat">
                <a:noFill/>
                <a:prstDash val="solid"/>
                <a:miter/>
              </a:ln>
            </p:spPr>
            <p:txBody>
              <a:bodyPr rtlCol="0" anchor="ctr"/>
              <a:lstStyle/>
              <a:p>
                <a:endParaRPr lang="en-GB"/>
              </a:p>
            </p:txBody>
          </p:sp>
          <p:sp>
            <p:nvSpPr>
              <p:cNvPr id="2339" name="Vrije vorm: vorm 2338">
                <a:extLst>
                  <a:ext uri="{FF2B5EF4-FFF2-40B4-BE49-F238E27FC236}">
                    <a16:creationId xmlns:a16="http://schemas.microsoft.com/office/drawing/2014/main" id="{61B0464A-61BE-479D-B67A-C11FCC282D6C}"/>
                  </a:ext>
                </a:extLst>
              </p:cNvPr>
              <p:cNvSpPr/>
              <p:nvPr/>
            </p:nvSpPr>
            <p:spPr>
              <a:xfrm>
                <a:off x="5005726" y="5306633"/>
                <a:ext cx="18318" cy="18424"/>
              </a:xfrm>
              <a:custGeom>
                <a:avLst/>
                <a:gdLst>
                  <a:gd name="connsiteX0" fmla="*/ 1414 w 18318"/>
                  <a:gd name="connsiteY0" fmla="*/ 4228 h 18424"/>
                  <a:gd name="connsiteX1" fmla="*/ 4285 w 18318"/>
                  <a:gd name="connsiteY1" fmla="*/ 16966 h 18424"/>
                  <a:gd name="connsiteX2" fmla="*/ 16904 w 18318"/>
                  <a:gd name="connsiteY2" fmla="*/ 14156 h 18424"/>
                  <a:gd name="connsiteX3" fmla="*/ 14033 w 18318"/>
                  <a:gd name="connsiteY3" fmla="*/ 1417 h 18424"/>
                  <a:gd name="connsiteX4" fmla="*/ 1414 w 18318"/>
                  <a:gd name="connsiteY4" fmla="*/ 4228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4">
                    <a:moveTo>
                      <a:pt x="1414" y="4228"/>
                    </a:moveTo>
                    <a:cubicBezTo>
                      <a:pt x="-1277" y="8534"/>
                      <a:pt x="-21" y="14216"/>
                      <a:pt x="4285" y="16966"/>
                    </a:cubicBezTo>
                    <a:cubicBezTo>
                      <a:pt x="8591" y="19718"/>
                      <a:pt x="14213" y="18462"/>
                      <a:pt x="16904" y="14156"/>
                    </a:cubicBezTo>
                    <a:cubicBezTo>
                      <a:pt x="19595" y="9849"/>
                      <a:pt x="18340" y="4168"/>
                      <a:pt x="14033" y="1417"/>
                    </a:cubicBezTo>
                    <a:cubicBezTo>
                      <a:pt x="9787" y="-1275"/>
                      <a:pt x="4105" y="-19"/>
                      <a:pt x="1414" y="4228"/>
                    </a:cubicBezTo>
                    <a:close/>
                  </a:path>
                </a:pathLst>
              </a:custGeom>
              <a:grpFill/>
              <a:ln w="5978" cap="flat">
                <a:noFill/>
                <a:prstDash val="solid"/>
                <a:miter/>
              </a:ln>
            </p:spPr>
            <p:txBody>
              <a:bodyPr rtlCol="0" anchor="ctr"/>
              <a:lstStyle/>
              <a:p>
                <a:endParaRPr lang="en-GB"/>
              </a:p>
            </p:txBody>
          </p:sp>
        </p:grpSp>
        <p:grpSp>
          <p:nvGrpSpPr>
            <p:cNvPr id="1022" name="Graphic 3">
              <a:extLst>
                <a:ext uri="{FF2B5EF4-FFF2-40B4-BE49-F238E27FC236}">
                  <a16:creationId xmlns:a16="http://schemas.microsoft.com/office/drawing/2014/main" id="{F01D7F47-4994-4BFD-9002-D57B7AA13895}"/>
                </a:ext>
              </a:extLst>
            </p:cNvPr>
            <p:cNvGrpSpPr/>
            <p:nvPr/>
          </p:nvGrpSpPr>
          <p:grpSpPr>
            <a:xfrm>
              <a:off x="4189142" y="2473832"/>
              <a:ext cx="152775" cy="86090"/>
              <a:chOff x="4189142" y="2473832"/>
              <a:chExt cx="152775" cy="86090"/>
            </a:xfrm>
            <a:grpFill/>
          </p:grpSpPr>
          <p:sp>
            <p:nvSpPr>
              <p:cNvPr id="2334" name="Vrije vorm: vorm 2333">
                <a:extLst>
                  <a:ext uri="{FF2B5EF4-FFF2-40B4-BE49-F238E27FC236}">
                    <a16:creationId xmlns:a16="http://schemas.microsoft.com/office/drawing/2014/main" id="{987E94FE-BE63-4217-84BB-1D51D1CD6371}"/>
                  </a:ext>
                </a:extLst>
              </p:cNvPr>
              <p:cNvSpPr/>
              <p:nvPr/>
            </p:nvSpPr>
            <p:spPr>
              <a:xfrm>
                <a:off x="4197230" y="2481441"/>
                <a:ext cx="136599" cy="70811"/>
              </a:xfrm>
              <a:custGeom>
                <a:avLst/>
                <a:gdLst>
                  <a:gd name="connsiteX0" fmla="*/ 136600 w 136599"/>
                  <a:gd name="connsiteY0" fmla="*/ 68061 h 70811"/>
                  <a:gd name="connsiteX1" fmla="*/ 135284 w 136599"/>
                  <a:gd name="connsiteY1" fmla="*/ 70812 h 70811"/>
                  <a:gd name="connsiteX2" fmla="*/ 0 w 136599"/>
                  <a:gd name="connsiteY2" fmla="*/ 2751 h 70811"/>
                  <a:gd name="connsiteX3" fmla="*/ 1375 w 136599"/>
                  <a:gd name="connsiteY3" fmla="*/ 0 h 70811"/>
                </a:gdLst>
                <a:ahLst/>
                <a:cxnLst>
                  <a:cxn ang="0">
                    <a:pos x="connsiteX0" y="connsiteY0"/>
                  </a:cxn>
                  <a:cxn ang="0">
                    <a:pos x="connsiteX1" y="connsiteY1"/>
                  </a:cxn>
                  <a:cxn ang="0">
                    <a:pos x="connsiteX2" y="connsiteY2"/>
                  </a:cxn>
                  <a:cxn ang="0">
                    <a:pos x="connsiteX3" y="connsiteY3"/>
                  </a:cxn>
                </a:cxnLst>
                <a:rect l="l" t="t" r="r" b="b"/>
                <a:pathLst>
                  <a:path w="136599" h="70811">
                    <a:moveTo>
                      <a:pt x="136600" y="68061"/>
                    </a:moveTo>
                    <a:lnTo>
                      <a:pt x="135284" y="70812"/>
                    </a:lnTo>
                    <a:lnTo>
                      <a:pt x="0" y="2751"/>
                    </a:lnTo>
                    <a:lnTo>
                      <a:pt x="1375" y="0"/>
                    </a:lnTo>
                    <a:close/>
                  </a:path>
                </a:pathLst>
              </a:custGeom>
              <a:grpFill/>
              <a:ln w="5978" cap="flat">
                <a:noFill/>
                <a:prstDash val="solid"/>
                <a:miter/>
              </a:ln>
            </p:spPr>
            <p:txBody>
              <a:bodyPr rtlCol="0" anchor="ctr"/>
              <a:lstStyle/>
              <a:p>
                <a:endParaRPr lang="en-GB"/>
              </a:p>
            </p:txBody>
          </p:sp>
          <p:sp>
            <p:nvSpPr>
              <p:cNvPr id="2335" name="Vrije vorm: vorm 2334">
                <a:extLst>
                  <a:ext uri="{FF2B5EF4-FFF2-40B4-BE49-F238E27FC236}">
                    <a16:creationId xmlns:a16="http://schemas.microsoft.com/office/drawing/2014/main" id="{5009D8EC-EFAF-43B6-9D7A-2C05B3081466}"/>
                  </a:ext>
                </a:extLst>
              </p:cNvPr>
              <p:cNvSpPr/>
              <p:nvPr/>
            </p:nvSpPr>
            <p:spPr>
              <a:xfrm>
                <a:off x="4323589" y="2541463"/>
                <a:ext cx="18329" cy="18459"/>
              </a:xfrm>
              <a:custGeom>
                <a:avLst/>
                <a:gdLst>
                  <a:gd name="connsiteX0" fmla="*/ 13231 w 18329"/>
                  <a:gd name="connsiteY0" fmla="*/ 982 h 18459"/>
                  <a:gd name="connsiteX1" fmla="*/ 17358 w 18329"/>
                  <a:gd name="connsiteY1" fmla="*/ 13362 h 18459"/>
                  <a:gd name="connsiteX2" fmla="*/ 5098 w 18329"/>
                  <a:gd name="connsiteY2" fmla="*/ 17489 h 18459"/>
                  <a:gd name="connsiteX3" fmla="*/ 971 w 18329"/>
                  <a:gd name="connsiteY3" fmla="*/ 5109 h 18459"/>
                  <a:gd name="connsiteX4" fmla="*/ 13231 w 18329"/>
                  <a:gd name="connsiteY4" fmla="*/ 982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59">
                    <a:moveTo>
                      <a:pt x="13231" y="982"/>
                    </a:moveTo>
                    <a:cubicBezTo>
                      <a:pt x="17777" y="3255"/>
                      <a:pt x="19631" y="8817"/>
                      <a:pt x="17358" y="13362"/>
                    </a:cubicBezTo>
                    <a:cubicBezTo>
                      <a:pt x="15086" y="17907"/>
                      <a:pt x="9583" y="19761"/>
                      <a:pt x="5098" y="17489"/>
                    </a:cubicBezTo>
                    <a:cubicBezTo>
                      <a:pt x="552" y="15216"/>
                      <a:pt x="-1302" y="9654"/>
                      <a:pt x="971" y="5109"/>
                    </a:cubicBezTo>
                    <a:cubicBezTo>
                      <a:pt x="3244" y="503"/>
                      <a:pt x="8746" y="-1291"/>
                      <a:pt x="13231" y="982"/>
                    </a:cubicBezTo>
                    <a:close/>
                  </a:path>
                </a:pathLst>
              </a:custGeom>
              <a:grpFill/>
              <a:ln w="5978" cap="flat">
                <a:noFill/>
                <a:prstDash val="solid"/>
                <a:miter/>
              </a:ln>
            </p:spPr>
            <p:txBody>
              <a:bodyPr rtlCol="0" anchor="ctr"/>
              <a:lstStyle/>
              <a:p>
                <a:endParaRPr lang="en-GB"/>
              </a:p>
            </p:txBody>
          </p:sp>
          <p:sp>
            <p:nvSpPr>
              <p:cNvPr id="2336" name="Vrije vorm: vorm 2335">
                <a:extLst>
                  <a:ext uri="{FF2B5EF4-FFF2-40B4-BE49-F238E27FC236}">
                    <a16:creationId xmlns:a16="http://schemas.microsoft.com/office/drawing/2014/main" id="{0A114325-24F3-4EB1-83A4-C71EBECA097C}"/>
                  </a:ext>
                </a:extLst>
              </p:cNvPr>
              <p:cNvSpPr/>
              <p:nvPr/>
            </p:nvSpPr>
            <p:spPr>
              <a:xfrm>
                <a:off x="4189142" y="2473832"/>
                <a:ext cx="18329" cy="18449"/>
              </a:xfrm>
              <a:custGeom>
                <a:avLst/>
                <a:gdLst>
                  <a:gd name="connsiteX0" fmla="*/ 13231 w 18329"/>
                  <a:gd name="connsiteY0" fmla="*/ 971 h 18449"/>
                  <a:gd name="connsiteX1" fmla="*/ 971 w 18329"/>
                  <a:gd name="connsiteY1" fmla="*/ 5098 h 18449"/>
                  <a:gd name="connsiteX2" fmla="*/ 5098 w 18329"/>
                  <a:gd name="connsiteY2" fmla="*/ 17478 h 18449"/>
                  <a:gd name="connsiteX3" fmla="*/ 17358 w 18329"/>
                  <a:gd name="connsiteY3" fmla="*/ 13351 h 18449"/>
                  <a:gd name="connsiteX4" fmla="*/ 13231 w 18329"/>
                  <a:gd name="connsiteY4" fmla="*/ 971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13231" y="971"/>
                    </a:moveTo>
                    <a:cubicBezTo>
                      <a:pt x="8686" y="-1302"/>
                      <a:pt x="3184" y="552"/>
                      <a:pt x="971" y="5098"/>
                    </a:cubicBezTo>
                    <a:cubicBezTo>
                      <a:pt x="-1302" y="9643"/>
                      <a:pt x="552" y="15205"/>
                      <a:pt x="5098" y="17478"/>
                    </a:cubicBezTo>
                    <a:cubicBezTo>
                      <a:pt x="9643" y="19751"/>
                      <a:pt x="15145" y="17897"/>
                      <a:pt x="17358" y="13351"/>
                    </a:cubicBezTo>
                    <a:cubicBezTo>
                      <a:pt x="19631" y="8806"/>
                      <a:pt x="17777" y="3244"/>
                      <a:pt x="13231" y="971"/>
                    </a:cubicBezTo>
                    <a:close/>
                  </a:path>
                </a:pathLst>
              </a:custGeom>
              <a:grpFill/>
              <a:ln w="5978" cap="flat">
                <a:noFill/>
                <a:prstDash val="solid"/>
                <a:miter/>
              </a:ln>
            </p:spPr>
            <p:txBody>
              <a:bodyPr rtlCol="0" anchor="ctr"/>
              <a:lstStyle/>
              <a:p>
                <a:endParaRPr lang="en-GB"/>
              </a:p>
            </p:txBody>
          </p:sp>
        </p:grpSp>
        <p:grpSp>
          <p:nvGrpSpPr>
            <p:cNvPr id="1023" name="Graphic 3">
              <a:extLst>
                <a:ext uri="{FF2B5EF4-FFF2-40B4-BE49-F238E27FC236}">
                  <a16:creationId xmlns:a16="http://schemas.microsoft.com/office/drawing/2014/main" id="{54418466-DA3B-4A3A-87F4-7CE978006B46}"/>
                </a:ext>
              </a:extLst>
            </p:cNvPr>
            <p:cNvGrpSpPr/>
            <p:nvPr/>
          </p:nvGrpSpPr>
          <p:grpSpPr>
            <a:xfrm>
              <a:off x="4999835" y="4798319"/>
              <a:ext cx="123817" cy="174385"/>
              <a:chOff x="4999835" y="4798319"/>
              <a:chExt cx="123817" cy="174385"/>
            </a:xfrm>
            <a:grpFill/>
          </p:grpSpPr>
          <p:sp>
            <p:nvSpPr>
              <p:cNvPr id="2331" name="Vrije vorm: vorm 2330">
                <a:extLst>
                  <a:ext uri="{FF2B5EF4-FFF2-40B4-BE49-F238E27FC236}">
                    <a16:creationId xmlns:a16="http://schemas.microsoft.com/office/drawing/2014/main" id="{60E0E490-1F3C-4B91-9025-CC7578CDA72A}"/>
                  </a:ext>
                </a:extLst>
              </p:cNvPr>
              <p:cNvSpPr/>
              <p:nvPr/>
            </p:nvSpPr>
            <p:spPr>
              <a:xfrm>
                <a:off x="5007439" y="4806267"/>
                <a:ext cx="108550" cy="158489"/>
              </a:xfrm>
              <a:custGeom>
                <a:avLst/>
                <a:gdLst>
                  <a:gd name="connsiteX0" fmla="*/ 108550 w 108550"/>
                  <a:gd name="connsiteY0" fmla="*/ 1735 h 158489"/>
                  <a:gd name="connsiteX1" fmla="*/ 2572 w 108550"/>
                  <a:gd name="connsiteY1" fmla="*/ 158489 h 158489"/>
                  <a:gd name="connsiteX2" fmla="*/ 0 w 108550"/>
                  <a:gd name="connsiteY2" fmla="*/ 156755 h 158489"/>
                  <a:gd name="connsiteX3" fmla="*/ 106038 w 108550"/>
                  <a:gd name="connsiteY3" fmla="*/ 0 h 158489"/>
                </a:gdLst>
                <a:ahLst/>
                <a:cxnLst>
                  <a:cxn ang="0">
                    <a:pos x="connsiteX0" y="connsiteY0"/>
                  </a:cxn>
                  <a:cxn ang="0">
                    <a:pos x="connsiteX1" y="connsiteY1"/>
                  </a:cxn>
                  <a:cxn ang="0">
                    <a:pos x="connsiteX2" y="connsiteY2"/>
                  </a:cxn>
                  <a:cxn ang="0">
                    <a:pos x="connsiteX3" y="connsiteY3"/>
                  </a:cxn>
                </a:cxnLst>
                <a:rect l="l" t="t" r="r" b="b"/>
                <a:pathLst>
                  <a:path w="108550" h="158489">
                    <a:moveTo>
                      <a:pt x="108550" y="1735"/>
                    </a:moveTo>
                    <a:lnTo>
                      <a:pt x="2572" y="158489"/>
                    </a:lnTo>
                    <a:lnTo>
                      <a:pt x="0" y="156755"/>
                    </a:lnTo>
                    <a:lnTo>
                      <a:pt x="106038" y="0"/>
                    </a:lnTo>
                    <a:close/>
                  </a:path>
                </a:pathLst>
              </a:custGeom>
              <a:grpFill/>
              <a:ln w="5978" cap="flat">
                <a:noFill/>
                <a:prstDash val="solid"/>
                <a:miter/>
              </a:ln>
            </p:spPr>
            <p:txBody>
              <a:bodyPr rtlCol="0" anchor="ctr"/>
              <a:lstStyle/>
              <a:p>
                <a:endParaRPr lang="en-GB"/>
              </a:p>
            </p:txBody>
          </p:sp>
          <p:sp>
            <p:nvSpPr>
              <p:cNvPr id="2332" name="Vrije vorm: vorm 2331">
                <a:extLst>
                  <a:ext uri="{FF2B5EF4-FFF2-40B4-BE49-F238E27FC236}">
                    <a16:creationId xmlns:a16="http://schemas.microsoft.com/office/drawing/2014/main" id="{4E233B90-FD64-40A0-8701-0FB7ED523BF6}"/>
                  </a:ext>
                </a:extLst>
              </p:cNvPr>
              <p:cNvSpPr/>
              <p:nvPr/>
            </p:nvSpPr>
            <p:spPr>
              <a:xfrm>
                <a:off x="4999835" y="4954296"/>
                <a:ext cx="18317" cy="18408"/>
              </a:xfrm>
              <a:custGeom>
                <a:avLst/>
                <a:gdLst>
                  <a:gd name="connsiteX0" fmla="*/ 16754 w 18317"/>
                  <a:gd name="connsiteY0" fmla="*/ 14407 h 18408"/>
                  <a:gd name="connsiteX1" fmla="*/ 4015 w 18317"/>
                  <a:gd name="connsiteY1" fmla="*/ 16799 h 18408"/>
                  <a:gd name="connsiteX2" fmla="*/ 1563 w 18317"/>
                  <a:gd name="connsiteY2" fmla="*/ 4001 h 18408"/>
                  <a:gd name="connsiteX3" fmla="*/ 14302 w 18317"/>
                  <a:gd name="connsiteY3" fmla="*/ 1609 h 18408"/>
                  <a:gd name="connsiteX4" fmla="*/ 16754 w 1831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08">
                    <a:moveTo>
                      <a:pt x="16754" y="14407"/>
                    </a:moveTo>
                    <a:cubicBezTo>
                      <a:pt x="13943" y="18594"/>
                      <a:pt x="8202" y="19670"/>
                      <a:pt x="4015" y="16799"/>
                    </a:cubicBezTo>
                    <a:cubicBezTo>
                      <a:pt x="-171" y="13929"/>
                      <a:pt x="-1248" y="8187"/>
                      <a:pt x="1563" y="4001"/>
                    </a:cubicBezTo>
                    <a:cubicBezTo>
                      <a:pt x="4434" y="-186"/>
                      <a:pt x="10116" y="-1262"/>
                      <a:pt x="14302" y="1609"/>
                    </a:cubicBezTo>
                    <a:cubicBezTo>
                      <a:pt x="18489" y="4479"/>
                      <a:pt x="19565" y="10221"/>
                      <a:pt x="16754" y="14407"/>
                    </a:cubicBezTo>
                    <a:close/>
                  </a:path>
                </a:pathLst>
              </a:custGeom>
              <a:grpFill/>
              <a:ln w="5978" cap="flat">
                <a:noFill/>
                <a:prstDash val="solid"/>
                <a:miter/>
              </a:ln>
            </p:spPr>
            <p:txBody>
              <a:bodyPr rtlCol="0" anchor="ctr"/>
              <a:lstStyle/>
              <a:p>
                <a:endParaRPr lang="en-GB"/>
              </a:p>
            </p:txBody>
          </p:sp>
          <p:sp>
            <p:nvSpPr>
              <p:cNvPr id="2333" name="Vrije vorm: vorm 2332">
                <a:extLst>
                  <a:ext uri="{FF2B5EF4-FFF2-40B4-BE49-F238E27FC236}">
                    <a16:creationId xmlns:a16="http://schemas.microsoft.com/office/drawing/2014/main" id="{A57AC597-C260-48DF-B3E3-252773934A96}"/>
                  </a:ext>
                </a:extLst>
              </p:cNvPr>
              <p:cNvSpPr/>
              <p:nvPr/>
            </p:nvSpPr>
            <p:spPr>
              <a:xfrm>
                <a:off x="5105309" y="4798319"/>
                <a:ext cx="18343" cy="18408"/>
              </a:xfrm>
              <a:custGeom>
                <a:avLst/>
                <a:gdLst>
                  <a:gd name="connsiteX0" fmla="*/ 16780 w 18343"/>
                  <a:gd name="connsiteY0" fmla="*/ 14407 h 18408"/>
                  <a:gd name="connsiteX1" fmla="*/ 14328 w 18343"/>
                  <a:gd name="connsiteY1" fmla="*/ 1609 h 18408"/>
                  <a:gd name="connsiteX2" fmla="*/ 1589 w 18343"/>
                  <a:gd name="connsiteY2" fmla="*/ 4001 h 18408"/>
                  <a:gd name="connsiteX3" fmla="*/ 4041 w 18343"/>
                  <a:gd name="connsiteY3" fmla="*/ 16800 h 18408"/>
                  <a:gd name="connsiteX4" fmla="*/ 16780 w 18343"/>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6780" y="14407"/>
                    </a:moveTo>
                    <a:cubicBezTo>
                      <a:pt x="19592" y="10221"/>
                      <a:pt x="18515" y="4480"/>
                      <a:pt x="14328" y="1609"/>
                    </a:cubicBezTo>
                    <a:cubicBezTo>
                      <a:pt x="10142" y="-1262"/>
                      <a:pt x="4460" y="-186"/>
                      <a:pt x="1589" y="4001"/>
                    </a:cubicBezTo>
                    <a:cubicBezTo>
                      <a:pt x="-1281" y="8188"/>
                      <a:pt x="-145" y="13929"/>
                      <a:pt x="4041" y="16800"/>
                    </a:cubicBezTo>
                    <a:cubicBezTo>
                      <a:pt x="8228" y="19670"/>
                      <a:pt x="13910" y="18594"/>
                      <a:pt x="16780" y="14407"/>
                    </a:cubicBezTo>
                    <a:close/>
                  </a:path>
                </a:pathLst>
              </a:custGeom>
              <a:grpFill/>
              <a:ln w="5978" cap="flat">
                <a:noFill/>
                <a:prstDash val="solid"/>
                <a:miter/>
              </a:ln>
            </p:spPr>
            <p:txBody>
              <a:bodyPr rtlCol="0" anchor="ctr"/>
              <a:lstStyle/>
              <a:p>
                <a:endParaRPr lang="en-GB"/>
              </a:p>
            </p:txBody>
          </p:sp>
        </p:grpSp>
        <p:grpSp>
          <p:nvGrpSpPr>
            <p:cNvPr id="1024" name="Graphic 3">
              <a:extLst>
                <a:ext uri="{FF2B5EF4-FFF2-40B4-BE49-F238E27FC236}">
                  <a16:creationId xmlns:a16="http://schemas.microsoft.com/office/drawing/2014/main" id="{43ED4AD8-70A4-424F-B705-C8963E284F9C}"/>
                </a:ext>
              </a:extLst>
            </p:cNvPr>
            <p:cNvGrpSpPr/>
            <p:nvPr/>
          </p:nvGrpSpPr>
          <p:grpSpPr>
            <a:xfrm>
              <a:off x="4268544" y="2595388"/>
              <a:ext cx="51745" cy="33610"/>
              <a:chOff x="4268544" y="2595388"/>
              <a:chExt cx="51745" cy="33610"/>
            </a:xfrm>
            <a:grpFill/>
          </p:grpSpPr>
          <p:sp>
            <p:nvSpPr>
              <p:cNvPr id="2328" name="Vrije vorm: vorm 2327">
                <a:extLst>
                  <a:ext uri="{FF2B5EF4-FFF2-40B4-BE49-F238E27FC236}">
                    <a16:creationId xmlns:a16="http://schemas.microsoft.com/office/drawing/2014/main" id="{A4E39B11-62E3-4339-9A39-A7A301F10897}"/>
                  </a:ext>
                </a:extLst>
              </p:cNvPr>
              <p:cNvSpPr/>
              <p:nvPr/>
            </p:nvSpPr>
            <p:spPr>
              <a:xfrm>
                <a:off x="4276714" y="2602970"/>
                <a:ext cx="35405" cy="18420"/>
              </a:xfrm>
              <a:custGeom>
                <a:avLst/>
                <a:gdLst>
                  <a:gd name="connsiteX0" fmla="*/ 35406 w 35405"/>
                  <a:gd name="connsiteY0" fmla="*/ 15670 h 18420"/>
                  <a:gd name="connsiteX1" fmla="*/ 34150 w 35405"/>
                  <a:gd name="connsiteY1" fmla="*/ 18421 h 18420"/>
                  <a:gd name="connsiteX2" fmla="*/ 0 w 35405"/>
                  <a:gd name="connsiteY2" fmla="*/ 2811 h 18420"/>
                  <a:gd name="connsiteX3" fmla="*/ 1256 w 35405"/>
                  <a:gd name="connsiteY3" fmla="*/ 0 h 18420"/>
                </a:gdLst>
                <a:ahLst/>
                <a:cxnLst>
                  <a:cxn ang="0">
                    <a:pos x="connsiteX0" y="connsiteY0"/>
                  </a:cxn>
                  <a:cxn ang="0">
                    <a:pos x="connsiteX1" y="connsiteY1"/>
                  </a:cxn>
                  <a:cxn ang="0">
                    <a:pos x="connsiteX2" y="connsiteY2"/>
                  </a:cxn>
                  <a:cxn ang="0">
                    <a:pos x="connsiteX3" y="connsiteY3"/>
                  </a:cxn>
                </a:cxnLst>
                <a:rect l="l" t="t" r="r" b="b"/>
                <a:pathLst>
                  <a:path w="35405" h="18420">
                    <a:moveTo>
                      <a:pt x="35406" y="15670"/>
                    </a:moveTo>
                    <a:lnTo>
                      <a:pt x="34150" y="18421"/>
                    </a:lnTo>
                    <a:lnTo>
                      <a:pt x="0" y="2811"/>
                    </a:lnTo>
                    <a:lnTo>
                      <a:pt x="1256" y="0"/>
                    </a:lnTo>
                    <a:close/>
                  </a:path>
                </a:pathLst>
              </a:custGeom>
              <a:grpFill/>
              <a:ln w="5978" cap="flat">
                <a:noFill/>
                <a:prstDash val="solid"/>
                <a:miter/>
              </a:ln>
            </p:spPr>
            <p:txBody>
              <a:bodyPr rtlCol="0" anchor="ctr"/>
              <a:lstStyle/>
              <a:p>
                <a:endParaRPr lang="en-GB"/>
              </a:p>
            </p:txBody>
          </p:sp>
          <p:sp>
            <p:nvSpPr>
              <p:cNvPr id="2329" name="Vrije vorm: vorm 2328">
                <a:extLst>
                  <a:ext uri="{FF2B5EF4-FFF2-40B4-BE49-F238E27FC236}">
                    <a16:creationId xmlns:a16="http://schemas.microsoft.com/office/drawing/2014/main" id="{F253AFCB-E057-4F66-A899-30C1CA96D6D5}"/>
                  </a:ext>
                </a:extLst>
              </p:cNvPr>
              <p:cNvSpPr/>
              <p:nvPr/>
            </p:nvSpPr>
            <p:spPr>
              <a:xfrm>
                <a:off x="4301917" y="2610579"/>
                <a:ext cx="18372" cy="18419"/>
              </a:xfrm>
              <a:custGeom>
                <a:avLst/>
                <a:gdLst>
                  <a:gd name="connsiteX0" fmla="*/ 12954 w 18372"/>
                  <a:gd name="connsiteY0" fmla="*/ 824 h 18419"/>
                  <a:gd name="connsiteX1" fmla="*/ 17560 w 18372"/>
                  <a:gd name="connsiteY1" fmla="*/ 13024 h 18419"/>
                  <a:gd name="connsiteX2" fmla="*/ 5419 w 18372"/>
                  <a:gd name="connsiteY2" fmla="*/ 17570 h 18419"/>
                  <a:gd name="connsiteX3" fmla="*/ 813 w 18372"/>
                  <a:gd name="connsiteY3" fmla="*/ 5369 h 18419"/>
                  <a:gd name="connsiteX4" fmla="*/ 12954 w 18372"/>
                  <a:gd name="connsiteY4" fmla="*/ 82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19">
                    <a:moveTo>
                      <a:pt x="12954" y="824"/>
                    </a:moveTo>
                    <a:cubicBezTo>
                      <a:pt x="17560" y="2917"/>
                      <a:pt x="19653" y="8419"/>
                      <a:pt x="17560" y="13024"/>
                    </a:cubicBezTo>
                    <a:cubicBezTo>
                      <a:pt x="15466" y="17629"/>
                      <a:pt x="10024" y="19723"/>
                      <a:pt x="5419" y="17570"/>
                    </a:cubicBezTo>
                    <a:cubicBezTo>
                      <a:pt x="813" y="15476"/>
                      <a:pt x="-1280" y="9974"/>
                      <a:pt x="813" y="5369"/>
                    </a:cubicBezTo>
                    <a:cubicBezTo>
                      <a:pt x="2907" y="764"/>
                      <a:pt x="8349" y="-1269"/>
                      <a:pt x="12954" y="824"/>
                    </a:cubicBezTo>
                    <a:close/>
                  </a:path>
                </a:pathLst>
              </a:custGeom>
              <a:grpFill/>
              <a:ln w="5978" cap="flat">
                <a:noFill/>
                <a:prstDash val="solid"/>
                <a:miter/>
              </a:ln>
            </p:spPr>
            <p:txBody>
              <a:bodyPr rtlCol="0" anchor="ctr"/>
              <a:lstStyle/>
              <a:p>
                <a:endParaRPr lang="en-GB"/>
              </a:p>
            </p:txBody>
          </p:sp>
          <p:sp>
            <p:nvSpPr>
              <p:cNvPr id="2330" name="Vrije vorm: vorm 2329">
                <a:extLst>
                  <a:ext uri="{FF2B5EF4-FFF2-40B4-BE49-F238E27FC236}">
                    <a16:creationId xmlns:a16="http://schemas.microsoft.com/office/drawing/2014/main" id="{CB3153D9-871B-451E-81AF-F2756B8C48CC}"/>
                  </a:ext>
                </a:extLst>
              </p:cNvPr>
              <p:cNvSpPr/>
              <p:nvPr/>
            </p:nvSpPr>
            <p:spPr>
              <a:xfrm>
                <a:off x="4268544" y="2595388"/>
                <a:ext cx="18381" cy="18393"/>
              </a:xfrm>
              <a:custGeom>
                <a:avLst/>
                <a:gdLst>
                  <a:gd name="connsiteX0" fmla="*/ 12954 w 18381"/>
                  <a:gd name="connsiteY0" fmla="*/ 824 h 18393"/>
                  <a:gd name="connsiteX1" fmla="*/ 813 w 18381"/>
                  <a:gd name="connsiteY1" fmla="*/ 5369 h 18393"/>
                  <a:gd name="connsiteX2" fmla="*/ 5418 w 18381"/>
                  <a:gd name="connsiteY2" fmla="*/ 17570 h 18393"/>
                  <a:gd name="connsiteX3" fmla="*/ 17559 w 18381"/>
                  <a:gd name="connsiteY3" fmla="*/ 13024 h 18393"/>
                  <a:gd name="connsiteX4" fmla="*/ 12954 w 18381"/>
                  <a:gd name="connsiteY4" fmla="*/ 824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393">
                    <a:moveTo>
                      <a:pt x="12954" y="824"/>
                    </a:moveTo>
                    <a:cubicBezTo>
                      <a:pt x="8349" y="-1270"/>
                      <a:pt x="2907" y="764"/>
                      <a:pt x="813" y="5369"/>
                    </a:cubicBezTo>
                    <a:cubicBezTo>
                      <a:pt x="-1280" y="9974"/>
                      <a:pt x="813" y="15476"/>
                      <a:pt x="5418" y="17570"/>
                    </a:cubicBezTo>
                    <a:cubicBezTo>
                      <a:pt x="10024" y="19663"/>
                      <a:pt x="15466" y="17630"/>
                      <a:pt x="17559" y="13024"/>
                    </a:cubicBezTo>
                    <a:cubicBezTo>
                      <a:pt x="19652" y="8419"/>
                      <a:pt x="17619" y="2917"/>
                      <a:pt x="12954" y="824"/>
                    </a:cubicBezTo>
                    <a:close/>
                  </a:path>
                </a:pathLst>
              </a:custGeom>
              <a:grpFill/>
              <a:ln w="5978" cap="flat">
                <a:noFill/>
                <a:prstDash val="solid"/>
                <a:miter/>
              </a:ln>
            </p:spPr>
            <p:txBody>
              <a:bodyPr rtlCol="0" anchor="ctr"/>
              <a:lstStyle/>
              <a:p>
                <a:endParaRPr lang="en-GB"/>
              </a:p>
            </p:txBody>
          </p:sp>
        </p:grpSp>
        <p:grpSp>
          <p:nvGrpSpPr>
            <p:cNvPr id="1025" name="Graphic 3">
              <a:extLst>
                <a:ext uri="{FF2B5EF4-FFF2-40B4-BE49-F238E27FC236}">
                  <a16:creationId xmlns:a16="http://schemas.microsoft.com/office/drawing/2014/main" id="{F322751A-7FF8-453F-BD5D-279F029CE9BD}"/>
                </a:ext>
              </a:extLst>
            </p:cNvPr>
            <p:cNvGrpSpPr/>
            <p:nvPr/>
          </p:nvGrpSpPr>
          <p:grpSpPr>
            <a:xfrm>
              <a:off x="3901507" y="2227421"/>
              <a:ext cx="660403" cy="407025"/>
              <a:chOff x="3901507" y="2227421"/>
              <a:chExt cx="660403" cy="407025"/>
            </a:xfrm>
            <a:grpFill/>
          </p:grpSpPr>
          <p:sp>
            <p:nvSpPr>
              <p:cNvPr id="2325" name="Vrije vorm: vorm 2324">
                <a:extLst>
                  <a:ext uri="{FF2B5EF4-FFF2-40B4-BE49-F238E27FC236}">
                    <a16:creationId xmlns:a16="http://schemas.microsoft.com/office/drawing/2014/main" id="{6920BDFF-FD48-4531-AEA2-FAA4AB9BD2AC}"/>
                  </a:ext>
                </a:extLst>
              </p:cNvPr>
              <p:cNvSpPr/>
              <p:nvPr/>
            </p:nvSpPr>
            <p:spPr>
              <a:xfrm>
                <a:off x="3909498" y="2235096"/>
                <a:ext cx="644362" cy="391737"/>
              </a:xfrm>
              <a:custGeom>
                <a:avLst/>
                <a:gdLst>
                  <a:gd name="connsiteX0" fmla="*/ 644363 w 644362"/>
                  <a:gd name="connsiteY0" fmla="*/ 389106 h 391737"/>
                  <a:gd name="connsiteX1" fmla="*/ 642808 w 644362"/>
                  <a:gd name="connsiteY1" fmla="*/ 391737 h 391737"/>
                  <a:gd name="connsiteX2" fmla="*/ 0 w 644362"/>
                  <a:gd name="connsiteY2" fmla="*/ 2631 h 391737"/>
                  <a:gd name="connsiteX3" fmla="*/ 1555 w 644362"/>
                  <a:gd name="connsiteY3" fmla="*/ 0 h 391737"/>
                </a:gdLst>
                <a:ahLst/>
                <a:cxnLst>
                  <a:cxn ang="0">
                    <a:pos x="connsiteX0" y="connsiteY0"/>
                  </a:cxn>
                  <a:cxn ang="0">
                    <a:pos x="connsiteX1" y="connsiteY1"/>
                  </a:cxn>
                  <a:cxn ang="0">
                    <a:pos x="connsiteX2" y="connsiteY2"/>
                  </a:cxn>
                  <a:cxn ang="0">
                    <a:pos x="connsiteX3" y="connsiteY3"/>
                  </a:cxn>
                </a:cxnLst>
                <a:rect l="l" t="t" r="r" b="b"/>
                <a:pathLst>
                  <a:path w="644362" h="391737">
                    <a:moveTo>
                      <a:pt x="644363" y="389106"/>
                    </a:moveTo>
                    <a:lnTo>
                      <a:pt x="642808" y="391737"/>
                    </a:lnTo>
                    <a:lnTo>
                      <a:pt x="0" y="2631"/>
                    </a:lnTo>
                    <a:lnTo>
                      <a:pt x="1555" y="0"/>
                    </a:lnTo>
                    <a:close/>
                  </a:path>
                </a:pathLst>
              </a:custGeom>
              <a:grpFill/>
              <a:ln w="5978" cap="flat">
                <a:noFill/>
                <a:prstDash val="solid"/>
                <a:miter/>
              </a:ln>
            </p:spPr>
            <p:txBody>
              <a:bodyPr rtlCol="0" anchor="ctr"/>
              <a:lstStyle/>
              <a:p>
                <a:endParaRPr lang="en-GB"/>
              </a:p>
            </p:txBody>
          </p:sp>
          <p:sp>
            <p:nvSpPr>
              <p:cNvPr id="2326" name="Vrije vorm: vorm 2325">
                <a:extLst>
                  <a:ext uri="{FF2B5EF4-FFF2-40B4-BE49-F238E27FC236}">
                    <a16:creationId xmlns:a16="http://schemas.microsoft.com/office/drawing/2014/main" id="{7ECCAB7D-2D9D-4D3F-BA0D-74346003A523}"/>
                  </a:ext>
                </a:extLst>
              </p:cNvPr>
              <p:cNvSpPr/>
              <p:nvPr/>
            </p:nvSpPr>
            <p:spPr>
              <a:xfrm>
                <a:off x="4543598" y="2616049"/>
                <a:ext cx="18313" cy="18398"/>
              </a:xfrm>
              <a:custGeom>
                <a:avLst/>
                <a:gdLst>
                  <a:gd name="connsiteX0" fmla="*/ 13851 w 18313"/>
                  <a:gd name="connsiteY0" fmla="*/ 1335 h 18398"/>
                  <a:gd name="connsiteX1" fmla="*/ 17021 w 18313"/>
                  <a:gd name="connsiteY1" fmla="*/ 13954 h 18398"/>
                  <a:gd name="connsiteX2" fmla="*/ 4462 w 18313"/>
                  <a:gd name="connsiteY2" fmla="*/ 17064 h 18398"/>
                  <a:gd name="connsiteX3" fmla="*/ 1292 w 18313"/>
                  <a:gd name="connsiteY3" fmla="*/ 4445 h 18398"/>
                  <a:gd name="connsiteX4" fmla="*/ 13851 w 18313"/>
                  <a:gd name="connsiteY4" fmla="*/ 133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98">
                    <a:moveTo>
                      <a:pt x="13851" y="1335"/>
                    </a:moveTo>
                    <a:cubicBezTo>
                      <a:pt x="18217" y="3966"/>
                      <a:pt x="19593" y="9648"/>
                      <a:pt x="17021" y="13954"/>
                    </a:cubicBezTo>
                    <a:cubicBezTo>
                      <a:pt x="14449" y="18320"/>
                      <a:pt x="8768" y="19695"/>
                      <a:pt x="4462" y="17064"/>
                    </a:cubicBezTo>
                    <a:cubicBezTo>
                      <a:pt x="96" y="14432"/>
                      <a:pt x="-1280" y="8751"/>
                      <a:pt x="1292" y="4445"/>
                    </a:cubicBezTo>
                    <a:cubicBezTo>
                      <a:pt x="3864" y="79"/>
                      <a:pt x="9486" y="-1297"/>
                      <a:pt x="13851" y="1335"/>
                    </a:cubicBezTo>
                    <a:close/>
                  </a:path>
                </a:pathLst>
              </a:custGeom>
              <a:grpFill/>
              <a:ln w="5978" cap="flat">
                <a:noFill/>
                <a:prstDash val="solid"/>
                <a:miter/>
              </a:ln>
            </p:spPr>
            <p:txBody>
              <a:bodyPr rtlCol="0" anchor="ctr"/>
              <a:lstStyle/>
              <a:p>
                <a:endParaRPr lang="en-GB"/>
              </a:p>
            </p:txBody>
          </p:sp>
          <p:sp>
            <p:nvSpPr>
              <p:cNvPr id="2327" name="Vrije vorm: vorm 2326">
                <a:extLst>
                  <a:ext uri="{FF2B5EF4-FFF2-40B4-BE49-F238E27FC236}">
                    <a16:creationId xmlns:a16="http://schemas.microsoft.com/office/drawing/2014/main" id="{DC5C7BEA-1FF7-42A7-9C7B-4661EC623A7A}"/>
                  </a:ext>
                </a:extLst>
              </p:cNvPr>
              <p:cNvSpPr/>
              <p:nvPr/>
            </p:nvSpPr>
            <p:spPr>
              <a:xfrm>
                <a:off x="3901507" y="2227421"/>
                <a:ext cx="18339" cy="18398"/>
              </a:xfrm>
              <a:custGeom>
                <a:avLst/>
                <a:gdLst>
                  <a:gd name="connsiteX0" fmla="*/ 13852 w 18339"/>
                  <a:gd name="connsiteY0" fmla="*/ 1335 h 18398"/>
                  <a:gd name="connsiteX1" fmla="*/ 1292 w 18339"/>
                  <a:gd name="connsiteY1" fmla="*/ 4445 h 18398"/>
                  <a:gd name="connsiteX2" fmla="*/ 4462 w 18339"/>
                  <a:gd name="connsiteY2" fmla="*/ 17064 h 18398"/>
                  <a:gd name="connsiteX3" fmla="*/ 17021 w 18339"/>
                  <a:gd name="connsiteY3" fmla="*/ 13954 h 18398"/>
                  <a:gd name="connsiteX4" fmla="*/ 13852 w 18339"/>
                  <a:gd name="connsiteY4" fmla="*/ 1335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398">
                    <a:moveTo>
                      <a:pt x="13852" y="1335"/>
                    </a:moveTo>
                    <a:cubicBezTo>
                      <a:pt x="9485" y="-1297"/>
                      <a:pt x="3863" y="79"/>
                      <a:pt x="1292" y="4445"/>
                    </a:cubicBezTo>
                    <a:cubicBezTo>
                      <a:pt x="-1280" y="8810"/>
                      <a:pt x="96" y="14492"/>
                      <a:pt x="4462" y="17064"/>
                    </a:cubicBezTo>
                    <a:cubicBezTo>
                      <a:pt x="8828" y="19695"/>
                      <a:pt x="14449" y="18320"/>
                      <a:pt x="17021" y="13954"/>
                    </a:cubicBezTo>
                    <a:cubicBezTo>
                      <a:pt x="19653" y="9648"/>
                      <a:pt x="18217" y="3966"/>
                      <a:pt x="13852" y="1335"/>
                    </a:cubicBezTo>
                    <a:close/>
                  </a:path>
                </a:pathLst>
              </a:custGeom>
              <a:grpFill/>
              <a:ln w="5978" cap="flat">
                <a:noFill/>
                <a:prstDash val="solid"/>
                <a:miter/>
              </a:ln>
            </p:spPr>
            <p:txBody>
              <a:bodyPr rtlCol="0" anchor="ctr"/>
              <a:lstStyle/>
              <a:p>
                <a:endParaRPr lang="en-GB"/>
              </a:p>
            </p:txBody>
          </p:sp>
        </p:grpSp>
        <p:grpSp>
          <p:nvGrpSpPr>
            <p:cNvPr id="1026" name="Graphic 3">
              <a:extLst>
                <a:ext uri="{FF2B5EF4-FFF2-40B4-BE49-F238E27FC236}">
                  <a16:creationId xmlns:a16="http://schemas.microsoft.com/office/drawing/2014/main" id="{E91F5811-8365-4CF5-85F1-8DAEC0A46A36}"/>
                </a:ext>
              </a:extLst>
            </p:cNvPr>
            <p:cNvGrpSpPr/>
            <p:nvPr/>
          </p:nvGrpSpPr>
          <p:grpSpPr>
            <a:xfrm>
              <a:off x="3922934" y="2133540"/>
              <a:ext cx="507803" cy="312199"/>
              <a:chOff x="3922934" y="2133540"/>
              <a:chExt cx="507803" cy="312199"/>
            </a:xfrm>
            <a:grpFill/>
          </p:grpSpPr>
          <p:sp>
            <p:nvSpPr>
              <p:cNvPr id="2322" name="Vrije vorm: vorm 2321">
                <a:extLst>
                  <a:ext uri="{FF2B5EF4-FFF2-40B4-BE49-F238E27FC236}">
                    <a16:creationId xmlns:a16="http://schemas.microsoft.com/office/drawing/2014/main" id="{AB565B47-6986-435B-9FE9-27F17143469B}"/>
                  </a:ext>
                </a:extLst>
              </p:cNvPr>
              <p:cNvSpPr/>
              <p:nvPr/>
            </p:nvSpPr>
            <p:spPr>
              <a:xfrm>
                <a:off x="3930969" y="2141198"/>
                <a:ext cx="491794" cy="296883"/>
              </a:xfrm>
              <a:custGeom>
                <a:avLst/>
                <a:gdLst>
                  <a:gd name="connsiteX0" fmla="*/ 491795 w 491794"/>
                  <a:gd name="connsiteY0" fmla="*/ 294252 h 296883"/>
                  <a:gd name="connsiteX1" fmla="*/ 490240 w 491794"/>
                  <a:gd name="connsiteY1" fmla="*/ 296883 h 296883"/>
                  <a:gd name="connsiteX2" fmla="*/ 0 w 491794"/>
                  <a:gd name="connsiteY2" fmla="*/ 2632 h 296883"/>
                  <a:gd name="connsiteX3" fmla="*/ 1555 w 491794"/>
                  <a:gd name="connsiteY3" fmla="*/ 0 h 296883"/>
                </a:gdLst>
                <a:ahLst/>
                <a:cxnLst>
                  <a:cxn ang="0">
                    <a:pos x="connsiteX0" y="connsiteY0"/>
                  </a:cxn>
                  <a:cxn ang="0">
                    <a:pos x="connsiteX1" y="connsiteY1"/>
                  </a:cxn>
                  <a:cxn ang="0">
                    <a:pos x="connsiteX2" y="connsiteY2"/>
                  </a:cxn>
                  <a:cxn ang="0">
                    <a:pos x="connsiteX3" y="connsiteY3"/>
                  </a:cxn>
                </a:cxnLst>
                <a:rect l="l" t="t" r="r" b="b"/>
                <a:pathLst>
                  <a:path w="491794" h="296883">
                    <a:moveTo>
                      <a:pt x="491795" y="294252"/>
                    </a:moveTo>
                    <a:lnTo>
                      <a:pt x="490240" y="296883"/>
                    </a:lnTo>
                    <a:lnTo>
                      <a:pt x="0" y="2632"/>
                    </a:lnTo>
                    <a:lnTo>
                      <a:pt x="1555" y="0"/>
                    </a:lnTo>
                    <a:close/>
                  </a:path>
                </a:pathLst>
              </a:custGeom>
              <a:grpFill/>
              <a:ln w="5978" cap="flat">
                <a:noFill/>
                <a:prstDash val="solid"/>
                <a:miter/>
              </a:ln>
            </p:spPr>
            <p:txBody>
              <a:bodyPr rtlCol="0" anchor="ctr"/>
              <a:lstStyle/>
              <a:p>
                <a:endParaRPr lang="en-GB"/>
              </a:p>
            </p:txBody>
          </p:sp>
          <p:sp>
            <p:nvSpPr>
              <p:cNvPr id="2323" name="Vrije vorm: vorm 2322">
                <a:extLst>
                  <a:ext uri="{FF2B5EF4-FFF2-40B4-BE49-F238E27FC236}">
                    <a16:creationId xmlns:a16="http://schemas.microsoft.com/office/drawing/2014/main" id="{E979F29D-BEA1-436D-AAAE-0AE738D9F842}"/>
                  </a:ext>
                </a:extLst>
              </p:cNvPr>
              <p:cNvSpPr/>
              <p:nvPr/>
            </p:nvSpPr>
            <p:spPr>
              <a:xfrm>
                <a:off x="3922934" y="2133540"/>
                <a:ext cx="18341" cy="18425"/>
              </a:xfrm>
              <a:custGeom>
                <a:avLst/>
                <a:gdLst>
                  <a:gd name="connsiteX0" fmla="*/ 4505 w 18341"/>
                  <a:gd name="connsiteY0" fmla="*/ 17108 h 18425"/>
                  <a:gd name="connsiteX1" fmla="*/ 1276 w 18341"/>
                  <a:gd name="connsiteY1" fmla="*/ 4488 h 18425"/>
                  <a:gd name="connsiteX2" fmla="*/ 13835 w 18341"/>
                  <a:gd name="connsiteY2" fmla="*/ 1318 h 18425"/>
                  <a:gd name="connsiteX3" fmla="*/ 17065 w 18341"/>
                  <a:gd name="connsiteY3" fmla="*/ 13938 h 18425"/>
                  <a:gd name="connsiteX4" fmla="*/ 4505 w 1834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4505" y="17108"/>
                    </a:moveTo>
                    <a:cubicBezTo>
                      <a:pt x="140" y="14476"/>
                      <a:pt x="-1296" y="8854"/>
                      <a:pt x="1276" y="4488"/>
                    </a:cubicBezTo>
                    <a:cubicBezTo>
                      <a:pt x="3848" y="122"/>
                      <a:pt x="9470" y="-1313"/>
                      <a:pt x="13835" y="1318"/>
                    </a:cubicBezTo>
                    <a:cubicBezTo>
                      <a:pt x="18202" y="3950"/>
                      <a:pt x="19637" y="9572"/>
                      <a:pt x="17065" y="13938"/>
                    </a:cubicBezTo>
                    <a:cubicBezTo>
                      <a:pt x="14493" y="18304"/>
                      <a:pt x="8872" y="19739"/>
                      <a:pt x="4505" y="17108"/>
                    </a:cubicBezTo>
                    <a:close/>
                  </a:path>
                </a:pathLst>
              </a:custGeom>
              <a:grpFill/>
              <a:ln w="5978" cap="flat">
                <a:noFill/>
                <a:prstDash val="solid"/>
                <a:miter/>
              </a:ln>
            </p:spPr>
            <p:txBody>
              <a:bodyPr rtlCol="0" anchor="ctr"/>
              <a:lstStyle/>
              <a:p>
                <a:endParaRPr lang="en-GB"/>
              </a:p>
            </p:txBody>
          </p:sp>
          <p:sp>
            <p:nvSpPr>
              <p:cNvPr id="2324" name="Vrije vorm: vorm 2323">
                <a:extLst>
                  <a:ext uri="{FF2B5EF4-FFF2-40B4-BE49-F238E27FC236}">
                    <a16:creationId xmlns:a16="http://schemas.microsoft.com/office/drawing/2014/main" id="{2691FCF0-B985-4472-AB8A-9D32A840DB9C}"/>
                  </a:ext>
                </a:extLst>
              </p:cNvPr>
              <p:cNvSpPr/>
              <p:nvPr/>
            </p:nvSpPr>
            <p:spPr>
              <a:xfrm>
                <a:off x="4412397" y="2427313"/>
                <a:ext cx="18340" cy="18425"/>
              </a:xfrm>
              <a:custGeom>
                <a:avLst/>
                <a:gdLst>
                  <a:gd name="connsiteX0" fmla="*/ 4506 w 18340"/>
                  <a:gd name="connsiteY0" fmla="*/ 17108 h 18425"/>
                  <a:gd name="connsiteX1" fmla="*/ 17065 w 18340"/>
                  <a:gd name="connsiteY1" fmla="*/ 13938 h 18425"/>
                  <a:gd name="connsiteX2" fmla="*/ 13835 w 18340"/>
                  <a:gd name="connsiteY2" fmla="*/ 1318 h 18425"/>
                  <a:gd name="connsiteX3" fmla="*/ 1276 w 18340"/>
                  <a:gd name="connsiteY3" fmla="*/ 4488 h 18425"/>
                  <a:gd name="connsiteX4" fmla="*/ 4506 w 18340"/>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5">
                    <a:moveTo>
                      <a:pt x="4506" y="17108"/>
                    </a:moveTo>
                    <a:cubicBezTo>
                      <a:pt x="8871" y="19739"/>
                      <a:pt x="14493" y="18304"/>
                      <a:pt x="17065" y="13938"/>
                    </a:cubicBezTo>
                    <a:cubicBezTo>
                      <a:pt x="19637" y="9572"/>
                      <a:pt x="18201" y="3890"/>
                      <a:pt x="13835" y="1318"/>
                    </a:cubicBezTo>
                    <a:cubicBezTo>
                      <a:pt x="9470" y="-1313"/>
                      <a:pt x="3848" y="122"/>
                      <a:pt x="1276" y="4488"/>
                    </a:cubicBezTo>
                    <a:cubicBezTo>
                      <a:pt x="-1296" y="8854"/>
                      <a:pt x="140" y="14536"/>
                      <a:pt x="4506" y="17108"/>
                    </a:cubicBezTo>
                    <a:close/>
                  </a:path>
                </a:pathLst>
              </a:custGeom>
              <a:grpFill/>
              <a:ln w="5978" cap="flat">
                <a:noFill/>
                <a:prstDash val="solid"/>
                <a:miter/>
              </a:ln>
            </p:spPr>
            <p:txBody>
              <a:bodyPr rtlCol="0" anchor="ctr"/>
              <a:lstStyle/>
              <a:p>
                <a:endParaRPr lang="en-GB"/>
              </a:p>
            </p:txBody>
          </p:sp>
        </p:grpSp>
        <p:grpSp>
          <p:nvGrpSpPr>
            <p:cNvPr id="1027" name="Graphic 3">
              <a:extLst>
                <a:ext uri="{FF2B5EF4-FFF2-40B4-BE49-F238E27FC236}">
                  <a16:creationId xmlns:a16="http://schemas.microsoft.com/office/drawing/2014/main" id="{01CF2F8B-EECC-431C-8DD6-E26D67DBEE41}"/>
                </a:ext>
              </a:extLst>
            </p:cNvPr>
            <p:cNvGrpSpPr/>
            <p:nvPr/>
          </p:nvGrpSpPr>
          <p:grpSpPr>
            <a:xfrm>
              <a:off x="5278803" y="5567752"/>
              <a:ext cx="36682" cy="71311"/>
              <a:chOff x="5278803" y="5567752"/>
              <a:chExt cx="36682" cy="71311"/>
            </a:xfrm>
            <a:grpFill/>
          </p:grpSpPr>
          <p:sp>
            <p:nvSpPr>
              <p:cNvPr id="2319" name="Vrije vorm: vorm 2318">
                <a:extLst>
                  <a:ext uri="{FF2B5EF4-FFF2-40B4-BE49-F238E27FC236}">
                    <a16:creationId xmlns:a16="http://schemas.microsoft.com/office/drawing/2014/main" id="{01C14FF9-F816-48B7-BC50-9CF7666E29BB}"/>
                  </a:ext>
                </a:extLst>
              </p:cNvPr>
              <p:cNvSpPr/>
              <p:nvPr/>
            </p:nvSpPr>
            <p:spPr>
              <a:xfrm>
                <a:off x="5286380" y="5575986"/>
                <a:ext cx="21530" cy="54843"/>
              </a:xfrm>
              <a:custGeom>
                <a:avLst/>
                <a:gdLst>
                  <a:gd name="connsiteX0" fmla="*/ 21530 w 21530"/>
                  <a:gd name="connsiteY0" fmla="*/ 1017 h 54843"/>
                  <a:gd name="connsiteX1" fmla="*/ 2871 w 21530"/>
                  <a:gd name="connsiteY1" fmla="*/ 54843 h 54843"/>
                  <a:gd name="connsiteX2" fmla="*/ 0 w 21530"/>
                  <a:gd name="connsiteY2" fmla="*/ 53826 h 54843"/>
                  <a:gd name="connsiteX3" fmla="*/ 18660 w 21530"/>
                  <a:gd name="connsiteY3" fmla="*/ 0 h 54843"/>
                </a:gdLst>
                <a:ahLst/>
                <a:cxnLst>
                  <a:cxn ang="0">
                    <a:pos x="connsiteX0" y="connsiteY0"/>
                  </a:cxn>
                  <a:cxn ang="0">
                    <a:pos x="connsiteX1" y="connsiteY1"/>
                  </a:cxn>
                  <a:cxn ang="0">
                    <a:pos x="connsiteX2" y="connsiteY2"/>
                  </a:cxn>
                  <a:cxn ang="0">
                    <a:pos x="connsiteX3" y="connsiteY3"/>
                  </a:cxn>
                </a:cxnLst>
                <a:rect l="l" t="t" r="r" b="b"/>
                <a:pathLst>
                  <a:path w="21530" h="54843">
                    <a:moveTo>
                      <a:pt x="21530" y="1017"/>
                    </a:moveTo>
                    <a:lnTo>
                      <a:pt x="2871" y="54843"/>
                    </a:lnTo>
                    <a:lnTo>
                      <a:pt x="0" y="53826"/>
                    </a:lnTo>
                    <a:lnTo>
                      <a:pt x="18660" y="0"/>
                    </a:lnTo>
                    <a:close/>
                  </a:path>
                </a:pathLst>
              </a:custGeom>
              <a:grpFill/>
              <a:ln w="5978" cap="flat">
                <a:noFill/>
                <a:prstDash val="solid"/>
                <a:miter/>
              </a:ln>
            </p:spPr>
            <p:txBody>
              <a:bodyPr rtlCol="0" anchor="ctr"/>
              <a:lstStyle/>
              <a:p>
                <a:endParaRPr lang="en-GB"/>
              </a:p>
            </p:txBody>
          </p:sp>
          <p:sp>
            <p:nvSpPr>
              <p:cNvPr id="2320" name="Vrije vorm: vorm 2319">
                <a:extLst>
                  <a:ext uri="{FF2B5EF4-FFF2-40B4-BE49-F238E27FC236}">
                    <a16:creationId xmlns:a16="http://schemas.microsoft.com/office/drawing/2014/main" id="{FB173050-2D1C-43E6-86A1-52E85322A84E}"/>
                  </a:ext>
                </a:extLst>
              </p:cNvPr>
              <p:cNvSpPr/>
              <p:nvPr/>
            </p:nvSpPr>
            <p:spPr>
              <a:xfrm>
                <a:off x="5278803" y="5620682"/>
                <a:ext cx="18321" cy="18381"/>
              </a:xfrm>
              <a:custGeom>
                <a:avLst/>
                <a:gdLst>
                  <a:gd name="connsiteX0" fmla="*/ 17803 w 18321"/>
                  <a:gd name="connsiteY0" fmla="*/ 12241 h 18381"/>
                  <a:gd name="connsiteX1" fmla="*/ 6141 w 18321"/>
                  <a:gd name="connsiteY1" fmla="*/ 17863 h 18381"/>
                  <a:gd name="connsiteX2" fmla="*/ 519 w 18321"/>
                  <a:gd name="connsiteY2" fmla="*/ 6141 h 18381"/>
                  <a:gd name="connsiteX3" fmla="*/ 12181 w 18321"/>
                  <a:gd name="connsiteY3" fmla="*/ 519 h 18381"/>
                  <a:gd name="connsiteX4" fmla="*/ 17803 w 18321"/>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17803" y="12241"/>
                    </a:moveTo>
                    <a:cubicBezTo>
                      <a:pt x="16129" y="17026"/>
                      <a:pt x="10925" y="19537"/>
                      <a:pt x="6141" y="17863"/>
                    </a:cubicBezTo>
                    <a:cubicBezTo>
                      <a:pt x="1356" y="16188"/>
                      <a:pt x="-1156" y="10925"/>
                      <a:pt x="519" y="6141"/>
                    </a:cubicBezTo>
                    <a:cubicBezTo>
                      <a:pt x="2193" y="1356"/>
                      <a:pt x="7397" y="-1156"/>
                      <a:pt x="12181" y="519"/>
                    </a:cubicBezTo>
                    <a:cubicBezTo>
                      <a:pt x="16966" y="2194"/>
                      <a:pt x="19478" y="7457"/>
                      <a:pt x="17803" y="12241"/>
                    </a:cubicBezTo>
                    <a:close/>
                  </a:path>
                </a:pathLst>
              </a:custGeom>
              <a:grpFill/>
              <a:ln w="5978" cap="flat">
                <a:noFill/>
                <a:prstDash val="solid"/>
                <a:miter/>
              </a:ln>
            </p:spPr>
            <p:txBody>
              <a:bodyPr rtlCol="0" anchor="ctr"/>
              <a:lstStyle/>
              <a:p>
                <a:endParaRPr lang="en-GB"/>
              </a:p>
            </p:txBody>
          </p:sp>
          <p:sp>
            <p:nvSpPr>
              <p:cNvPr id="2321" name="Vrije vorm: vorm 2320">
                <a:extLst>
                  <a:ext uri="{FF2B5EF4-FFF2-40B4-BE49-F238E27FC236}">
                    <a16:creationId xmlns:a16="http://schemas.microsoft.com/office/drawing/2014/main" id="{EABE8DB5-7C57-4175-9503-C342CDE31376}"/>
                  </a:ext>
                </a:extLst>
              </p:cNvPr>
              <p:cNvSpPr/>
              <p:nvPr/>
            </p:nvSpPr>
            <p:spPr>
              <a:xfrm>
                <a:off x="5297164" y="5567752"/>
                <a:ext cx="18321" cy="18381"/>
              </a:xfrm>
              <a:custGeom>
                <a:avLst/>
                <a:gdLst>
                  <a:gd name="connsiteX0" fmla="*/ 17803 w 18321"/>
                  <a:gd name="connsiteY0" fmla="*/ 12241 h 18381"/>
                  <a:gd name="connsiteX1" fmla="*/ 12181 w 18321"/>
                  <a:gd name="connsiteY1" fmla="*/ 519 h 18381"/>
                  <a:gd name="connsiteX2" fmla="*/ 519 w 18321"/>
                  <a:gd name="connsiteY2" fmla="*/ 6141 h 18381"/>
                  <a:gd name="connsiteX3" fmla="*/ 6141 w 18321"/>
                  <a:gd name="connsiteY3" fmla="*/ 17863 h 18381"/>
                  <a:gd name="connsiteX4" fmla="*/ 17803 w 18321"/>
                  <a:gd name="connsiteY4" fmla="*/ 12241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81">
                    <a:moveTo>
                      <a:pt x="17803" y="12241"/>
                    </a:moveTo>
                    <a:cubicBezTo>
                      <a:pt x="19478" y="7456"/>
                      <a:pt x="16966" y="2193"/>
                      <a:pt x="12181" y="519"/>
                    </a:cubicBezTo>
                    <a:cubicBezTo>
                      <a:pt x="7397" y="-1156"/>
                      <a:pt x="2193" y="1356"/>
                      <a:pt x="519" y="6141"/>
                    </a:cubicBezTo>
                    <a:cubicBezTo>
                      <a:pt x="-1156" y="10925"/>
                      <a:pt x="1356" y="16188"/>
                      <a:pt x="6141" y="17863"/>
                    </a:cubicBezTo>
                    <a:cubicBezTo>
                      <a:pt x="10925" y="19538"/>
                      <a:pt x="16129" y="17026"/>
                      <a:pt x="17803" y="12241"/>
                    </a:cubicBezTo>
                    <a:close/>
                  </a:path>
                </a:pathLst>
              </a:custGeom>
              <a:grpFill/>
              <a:ln w="5978" cap="flat">
                <a:noFill/>
                <a:prstDash val="solid"/>
                <a:miter/>
              </a:ln>
            </p:spPr>
            <p:txBody>
              <a:bodyPr rtlCol="0" anchor="ctr"/>
              <a:lstStyle/>
              <a:p>
                <a:endParaRPr lang="en-GB"/>
              </a:p>
            </p:txBody>
          </p:sp>
        </p:grpSp>
        <p:grpSp>
          <p:nvGrpSpPr>
            <p:cNvPr id="1028" name="Graphic 3">
              <a:extLst>
                <a:ext uri="{FF2B5EF4-FFF2-40B4-BE49-F238E27FC236}">
                  <a16:creationId xmlns:a16="http://schemas.microsoft.com/office/drawing/2014/main" id="{BB090648-5953-4F63-A7AB-6633E73D64B5}"/>
                </a:ext>
              </a:extLst>
            </p:cNvPr>
            <p:cNvGrpSpPr/>
            <p:nvPr/>
          </p:nvGrpSpPr>
          <p:grpSpPr>
            <a:xfrm>
              <a:off x="5288444" y="5608763"/>
              <a:ext cx="58369" cy="141438"/>
              <a:chOff x="5288444" y="5608763"/>
              <a:chExt cx="58369" cy="141438"/>
            </a:xfrm>
            <a:grpFill/>
          </p:grpSpPr>
          <p:sp>
            <p:nvSpPr>
              <p:cNvPr id="2316" name="Vrije vorm: vorm 2315">
                <a:extLst>
                  <a:ext uri="{FF2B5EF4-FFF2-40B4-BE49-F238E27FC236}">
                    <a16:creationId xmlns:a16="http://schemas.microsoft.com/office/drawing/2014/main" id="{06FF24F4-900E-4B6E-84D4-4BDE0DD3DBCA}"/>
                  </a:ext>
                </a:extLst>
              </p:cNvPr>
              <p:cNvSpPr/>
              <p:nvPr/>
            </p:nvSpPr>
            <p:spPr>
              <a:xfrm>
                <a:off x="5296009" y="5617074"/>
                <a:ext cx="43240" cy="124757"/>
              </a:xfrm>
              <a:custGeom>
                <a:avLst/>
                <a:gdLst>
                  <a:gd name="connsiteX0" fmla="*/ 43241 w 43240"/>
                  <a:gd name="connsiteY0" fmla="*/ 957 h 124757"/>
                  <a:gd name="connsiteX1" fmla="*/ 2871 w 43240"/>
                  <a:gd name="connsiteY1" fmla="*/ 124758 h 124757"/>
                  <a:gd name="connsiteX2" fmla="*/ 0 w 43240"/>
                  <a:gd name="connsiteY2" fmla="*/ 123801 h 124757"/>
                  <a:gd name="connsiteX3" fmla="*/ 40370 w 43240"/>
                  <a:gd name="connsiteY3" fmla="*/ 0 h 124757"/>
                </a:gdLst>
                <a:ahLst/>
                <a:cxnLst>
                  <a:cxn ang="0">
                    <a:pos x="connsiteX0" y="connsiteY0"/>
                  </a:cxn>
                  <a:cxn ang="0">
                    <a:pos x="connsiteX1" y="connsiteY1"/>
                  </a:cxn>
                  <a:cxn ang="0">
                    <a:pos x="connsiteX2" y="connsiteY2"/>
                  </a:cxn>
                  <a:cxn ang="0">
                    <a:pos x="connsiteX3" y="connsiteY3"/>
                  </a:cxn>
                </a:cxnLst>
                <a:rect l="l" t="t" r="r" b="b"/>
                <a:pathLst>
                  <a:path w="43240" h="124757">
                    <a:moveTo>
                      <a:pt x="43241" y="957"/>
                    </a:moveTo>
                    <a:lnTo>
                      <a:pt x="2871" y="124758"/>
                    </a:lnTo>
                    <a:lnTo>
                      <a:pt x="0" y="123801"/>
                    </a:lnTo>
                    <a:lnTo>
                      <a:pt x="40370" y="0"/>
                    </a:lnTo>
                    <a:close/>
                  </a:path>
                </a:pathLst>
              </a:custGeom>
              <a:grpFill/>
              <a:ln w="5978" cap="flat">
                <a:noFill/>
                <a:prstDash val="solid"/>
                <a:miter/>
              </a:ln>
            </p:spPr>
            <p:txBody>
              <a:bodyPr rtlCol="0" anchor="ctr"/>
              <a:lstStyle/>
              <a:p>
                <a:endParaRPr lang="en-GB"/>
              </a:p>
            </p:txBody>
          </p:sp>
          <p:sp>
            <p:nvSpPr>
              <p:cNvPr id="2317" name="Vrije vorm: vorm 2316">
                <a:extLst>
                  <a:ext uri="{FF2B5EF4-FFF2-40B4-BE49-F238E27FC236}">
                    <a16:creationId xmlns:a16="http://schemas.microsoft.com/office/drawing/2014/main" id="{03AB07E4-194C-4E14-BF87-63D0EB99A920}"/>
                  </a:ext>
                </a:extLst>
              </p:cNvPr>
              <p:cNvSpPr/>
              <p:nvPr/>
            </p:nvSpPr>
            <p:spPr>
              <a:xfrm>
                <a:off x="5288444" y="5731750"/>
                <a:ext cx="18298" cy="18451"/>
              </a:xfrm>
              <a:custGeom>
                <a:avLst/>
                <a:gdLst>
                  <a:gd name="connsiteX0" fmla="*/ 17851 w 18298"/>
                  <a:gd name="connsiteY0" fmla="*/ 12115 h 18451"/>
                  <a:gd name="connsiteX1" fmla="*/ 6308 w 18298"/>
                  <a:gd name="connsiteY1" fmla="*/ 17976 h 18451"/>
                  <a:gd name="connsiteX2" fmla="*/ 447 w 18298"/>
                  <a:gd name="connsiteY2" fmla="*/ 6314 h 18451"/>
                  <a:gd name="connsiteX3" fmla="*/ 11990 w 18298"/>
                  <a:gd name="connsiteY3" fmla="*/ 453 h 18451"/>
                  <a:gd name="connsiteX4" fmla="*/ 17851 w 18298"/>
                  <a:gd name="connsiteY4" fmla="*/ 12115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51">
                    <a:moveTo>
                      <a:pt x="17851" y="12115"/>
                    </a:moveTo>
                    <a:cubicBezTo>
                      <a:pt x="16296" y="16960"/>
                      <a:pt x="11093" y="19591"/>
                      <a:pt x="6308" y="17976"/>
                    </a:cubicBezTo>
                    <a:cubicBezTo>
                      <a:pt x="1524" y="16362"/>
                      <a:pt x="-1108" y="11158"/>
                      <a:pt x="447" y="6314"/>
                    </a:cubicBezTo>
                    <a:cubicBezTo>
                      <a:pt x="2002" y="1469"/>
                      <a:pt x="7205" y="-1102"/>
                      <a:pt x="11990" y="453"/>
                    </a:cubicBezTo>
                    <a:cubicBezTo>
                      <a:pt x="16774" y="2068"/>
                      <a:pt x="19406" y="7271"/>
                      <a:pt x="17851" y="12115"/>
                    </a:cubicBezTo>
                    <a:close/>
                  </a:path>
                </a:pathLst>
              </a:custGeom>
              <a:grpFill/>
              <a:ln w="5978" cap="flat">
                <a:noFill/>
                <a:prstDash val="solid"/>
                <a:miter/>
              </a:ln>
            </p:spPr>
            <p:txBody>
              <a:bodyPr rtlCol="0" anchor="ctr"/>
              <a:lstStyle/>
              <a:p>
                <a:endParaRPr lang="en-GB"/>
              </a:p>
            </p:txBody>
          </p:sp>
          <p:sp>
            <p:nvSpPr>
              <p:cNvPr id="2318" name="Vrije vorm: vorm 2317">
                <a:extLst>
                  <a:ext uri="{FF2B5EF4-FFF2-40B4-BE49-F238E27FC236}">
                    <a16:creationId xmlns:a16="http://schemas.microsoft.com/office/drawing/2014/main" id="{4B1D8F7F-3C14-497C-9FBB-B30917E957F1}"/>
                  </a:ext>
                </a:extLst>
              </p:cNvPr>
              <p:cNvSpPr/>
              <p:nvPr/>
            </p:nvSpPr>
            <p:spPr>
              <a:xfrm>
                <a:off x="5328515" y="5608763"/>
                <a:ext cx="18298" cy="18474"/>
              </a:xfrm>
              <a:custGeom>
                <a:avLst/>
                <a:gdLst>
                  <a:gd name="connsiteX0" fmla="*/ 17851 w 18298"/>
                  <a:gd name="connsiteY0" fmla="*/ 12138 h 18474"/>
                  <a:gd name="connsiteX1" fmla="*/ 11990 w 18298"/>
                  <a:gd name="connsiteY1" fmla="*/ 476 h 18474"/>
                  <a:gd name="connsiteX2" fmla="*/ 447 w 18298"/>
                  <a:gd name="connsiteY2" fmla="*/ 6337 h 18474"/>
                  <a:gd name="connsiteX3" fmla="*/ 6308 w 18298"/>
                  <a:gd name="connsiteY3" fmla="*/ 17999 h 18474"/>
                  <a:gd name="connsiteX4" fmla="*/ 17851 w 18298"/>
                  <a:gd name="connsiteY4" fmla="*/ 12138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74">
                    <a:moveTo>
                      <a:pt x="17851" y="12138"/>
                    </a:moveTo>
                    <a:cubicBezTo>
                      <a:pt x="19406" y="7294"/>
                      <a:pt x="16774" y="2091"/>
                      <a:pt x="11990" y="476"/>
                    </a:cubicBezTo>
                    <a:cubicBezTo>
                      <a:pt x="7205" y="-1139"/>
                      <a:pt x="2002" y="1492"/>
                      <a:pt x="447" y="6337"/>
                    </a:cubicBezTo>
                    <a:cubicBezTo>
                      <a:pt x="-1108" y="11181"/>
                      <a:pt x="1524" y="16385"/>
                      <a:pt x="6308" y="17999"/>
                    </a:cubicBezTo>
                    <a:cubicBezTo>
                      <a:pt x="11093" y="19614"/>
                      <a:pt x="16296" y="16982"/>
                      <a:pt x="17851" y="12138"/>
                    </a:cubicBezTo>
                    <a:close/>
                  </a:path>
                </a:pathLst>
              </a:custGeom>
              <a:grpFill/>
              <a:ln w="5978" cap="flat">
                <a:noFill/>
                <a:prstDash val="solid"/>
                <a:miter/>
              </a:ln>
            </p:spPr>
            <p:txBody>
              <a:bodyPr rtlCol="0" anchor="ctr"/>
              <a:lstStyle/>
              <a:p>
                <a:endParaRPr lang="en-GB"/>
              </a:p>
            </p:txBody>
          </p:sp>
        </p:grpSp>
        <p:grpSp>
          <p:nvGrpSpPr>
            <p:cNvPr id="1029" name="Graphic 3">
              <a:extLst>
                <a:ext uri="{FF2B5EF4-FFF2-40B4-BE49-F238E27FC236}">
                  <a16:creationId xmlns:a16="http://schemas.microsoft.com/office/drawing/2014/main" id="{43189C2F-DD16-4A00-A0D6-C0B1AB8378CC}"/>
                </a:ext>
              </a:extLst>
            </p:cNvPr>
            <p:cNvGrpSpPr/>
            <p:nvPr/>
          </p:nvGrpSpPr>
          <p:grpSpPr>
            <a:xfrm>
              <a:off x="3814486" y="2124673"/>
              <a:ext cx="772990" cy="487870"/>
              <a:chOff x="3814486" y="2124673"/>
              <a:chExt cx="772990" cy="487870"/>
            </a:xfrm>
            <a:grpFill/>
          </p:grpSpPr>
          <p:sp>
            <p:nvSpPr>
              <p:cNvPr id="2313" name="Vrije vorm: vorm 2312">
                <a:extLst>
                  <a:ext uri="{FF2B5EF4-FFF2-40B4-BE49-F238E27FC236}">
                    <a16:creationId xmlns:a16="http://schemas.microsoft.com/office/drawing/2014/main" id="{188DC1FB-2299-469C-B744-0B4050C4F451}"/>
                  </a:ext>
                </a:extLst>
              </p:cNvPr>
              <p:cNvSpPr/>
              <p:nvPr/>
            </p:nvSpPr>
            <p:spPr>
              <a:xfrm>
                <a:off x="3822478" y="2132407"/>
                <a:ext cx="757039" cy="472417"/>
              </a:xfrm>
              <a:custGeom>
                <a:avLst/>
                <a:gdLst>
                  <a:gd name="connsiteX0" fmla="*/ 757040 w 757039"/>
                  <a:gd name="connsiteY0" fmla="*/ 469845 h 472417"/>
                  <a:gd name="connsiteX1" fmla="*/ 755425 w 757039"/>
                  <a:gd name="connsiteY1" fmla="*/ 472417 h 472417"/>
                  <a:gd name="connsiteX2" fmla="*/ 0 w 757039"/>
                  <a:gd name="connsiteY2" fmla="*/ 2572 h 472417"/>
                  <a:gd name="connsiteX3" fmla="*/ 1615 w 757039"/>
                  <a:gd name="connsiteY3" fmla="*/ 0 h 472417"/>
                </a:gdLst>
                <a:ahLst/>
                <a:cxnLst>
                  <a:cxn ang="0">
                    <a:pos x="connsiteX0" y="connsiteY0"/>
                  </a:cxn>
                  <a:cxn ang="0">
                    <a:pos x="connsiteX1" y="connsiteY1"/>
                  </a:cxn>
                  <a:cxn ang="0">
                    <a:pos x="connsiteX2" y="connsiteY2"/>
                  </a:cxn>
                  <a:cxn ang="0">
                    <a:pos x="connsiteX3" y="connsiteY3"/>
                  </a:cxn>
                </a:cxnLst>
                <a:rect l="l" t="t" r="r" b="b"/>
                <a:pathLst>
                  <a:path w="757039" h="472417">
                    <a:moveTo>
                      <a:pt x="757040" y="469845"/>
                    </a:moveTo>
                    <a:lnTo>
                      <a:pt x="755425" y="472417"/>
                    </a:lnTo>
                    <a:lnTo>
                      <a:pt x="0" y="2572"/>
                    </a:lnTo>
                    <a:lnTo>
                      <a:pt x="1615" y="0"/>
                    </a:lnTo>
                    <a:close/>
                  </a:path>
                </a:pathLst>
              </a:custGeom>
              <a:grpFill/>
              <a:ln w="5978" cap="flat">
                <a:noFill/>
                <a:prstDash val="solid"/>
                <a:miter/>
              </a:ln>
            </p:spPr>
            <p:txBody>
              <a:bodyPr rtlCol="0" anchor="ctr"/>
              <a:lstStyle/>
              <a:p>
                <a:endParaRPr lang="en-GB"/>
              </a:p>
            </p:txBody>
          </p:sp>
          <p:sp>
            <p:nvSpPr>
              <p:cNvPr id="2314" name="Vrije vorm: vorm 2313">
                <a:extLst>
                  <a:ext uri="{FF2B5EF4-FFF2-40B4-BE49-F238E27FC236}">
                    <a16:creationId xmlns:a16="http://schemas.microsoft.com/office/drawing/2014/main" id="{BA560678-319E-4574-901A-74F8159A6749}"/>
                  </a:ext>
                </a:extLst>
              </p:cNvPr>
              <p:cNvSpPr/>
              <p:nvPr/>
            </p:nvSpPr>
            <p:spPr>
              <a:xfrm>
                <a:off x="4569107" y="2594099"/>
                <a:ext cx="18369" cy="18443"/>
              </a:xfrm>
              <a:custGeom>
                <a:avLst/>
                <a:gdLst>
                  <a:gd name="connsiteX0" fmla="*/ 13999 w 18369"/>
                  <a:gd name="connsiteY0" fmla="*/ 1394 h 18443"/>
                  <a:gd name="connsiteX1" fmla="*/ 16990 w 18369"/>
                  <a:gd name="connsiteY1" fmla="*/ 14074 h 18443"/>
                  <a:gd name="connsiteX2" fmla="*/ 4370 w 18369"/>
                  <a:gd name="connsiteY2" fmla="*/ 17064 h 18443"/>
                  <a:gd name="connsiteX3" fmla="*/ 1380 w 18369"/>
                  <a:gd name="connsiteY3" fmla="*/ 4385 h 18443"/>
                  <a:gd name="connsiteX4" fmla="*/ 13999 w 18369"/>
                  <a:gd name="connsiteY4" fmla="*/ 1394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3">
                    <a:moveTo>
                      <a:pt x="13999" y="1394"/>
                    </a:moveTo>
                    <a:cubicBezTo>
                      <a:pt x="18306" y="4086"/>
                      <a:pt x="19681" y="9767"/>
                      <a:pt x="16990" y="14074"/>
                    </a:cubicBezTo>
                    <a:cubicBezTo>
                      <a:pt x="14358" y="18380"/>
                      <a:pt x="8676" y="19755"/>
                      <a:pt x="4370" y="17064"/>
                    </a:cubicBezTo>
                    <a:cubicBezTo>
                      <a:pt x="64" y="14372"/>
                      <a:pt x="-1311" y="8691"/>
                      <a:pt x="1380" y="4385"/>
                    </a:cubicBezTo>
                    <a:cubicBezTo>
                      <a:pt x="4071" y="19"/>
                      <a:pt x="9693" y="-1297"/>
                      <a:pt x="13999" y="1394"/>
                    </a:cubicBezTo>
                    <a:close/>
                  </a:path>
                </a:pathLst>
              </a:custGeom>
              <a:grpFill/>
              <a:ln w="5978" cap="flat">
                <a:noFill/>
                <a:prstDash val="solid"/>
                <a:miter/>
              </a:ln>
            </p:spPr>
            <p:txBody>
              <a:bodyPr rtlCol="0" anchor="ctr"/>
              <a:lstStyle/>
              <a:p>
                <a:endParaRPr lang="en-GB"/>
              </a:p>
            </p:txBody>
          </p:sp>
          <p:sp>
            <p:nvSpPr>
              <p:cNvPr id="2315" name="Vrije vorm: vorm 2314">
                <a:extLst>
                  <a:ext uri="{FF2B5EF4-FFF2-40B4-BE49-F238E27FC236}">
                    <a16:creationId xmlns:a16="http://schemas.microsoft.com/office/drawing/2014/main" id="{7496620E-3220-4697-AC4E-52CA2E7FB886}"/>
                  </a:ext>
                </a:extLst>
              </p:cNvPr>
              <p:cNvSpPr/>
              <p:nvPr/>
            </p:nvSpPr>
            <p:spPr>
              <a:xfrm>
                <a:off x="3814486" y="2124673"/>
                <a:ext cx="18343" cy="18458"/>
              </a:xfrm>
              <a:custGeom>
                <a:avLst/>
                <a:gdLst>
                  <a:gd name="connsiteX0" fmla="*/ 13973 w 18343"/>
                  <a:gd name="connsiteY0" fmla="*/ 1394 h 18458"/>
                  <a:gd name="connsiteX1" fmla="*/ 1354 w 18343"/>
                  <a:gd name="connsiteY1" fmla="*/ 4385 h 18458"/>
                  <a:gd name="connsiteX2" fmla="*/ 4344 w 18343"/>
                  <a:gd name="connsiteY2" fmla="*/ 17064 h 18458"/>
                  <a:gd name="connsiteX3" fmla="*/ 16963 w 18343"/>
                  <a:gd name="connsiteY3" fmla="*/ 14073 h 18458"/>
                  <a:gd name="connsiteX4" fmla="*/ 13973 w 18343"/>
                  <a:gd name="connsiteY4" fmla="*/ 139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8">
                    <a:moveTo>
                      <a:pt x="13973" y="1394"/>
                    </a:moveTo>
                    <a:cubicBezTo>
                      <a:pt x="9667" y="-1297"/>
                      <a:pt x="4045" y="19"/>
                      <a:pt x="1354" y="4385"/>
                    </a:cubicBezTo>
                    <a:cubicBezTo>
                      <a:pt x="-1278" y="8691"/>
                      <a:pt x="38" y="14372"/>
                      <a:pt x="4344" y="17064"/>
                    </a:cubicBezTo>
                    <a:cubicBezTo>
                      <a:pt x="8650" y="19755"/>
                      <a:pt x="14272" y="18439"/>
                      <a:pt x="16963" y="14073"/>
                    </a:cubicBezTo>
                    <a:cubicBezTo>
                      <a:pt x="19655" y="9708"/>
                      <a:pt x="18279" y="4086"/>
                      <a:pt x="13973" y="1394"/>
                    </a:cubicBezTo>
                    <a:close/>
                  </a:path>
                </a:pathLst>
              </a:custGeom>
              <a:grpFill/>
              <a:ln w="5978" cap="flat">
                <a:noFill/>
                <a:prstDash val="solid"/>
                <a:miter/>
              </a:ln>
            </p:spPr>
            <p:txBody>
              <a:bodyPr rtlCol="0" anchor="ctr"/>
              <a:lstStyle/>
              <a:p>
                <a:endParaRPr lang="en-GB"/>
              </a:p>
            </p:txBody>
          </p:sp>
        </p:grpSp>
        <p:grpSp>
          <p:nvGrpSpPr>
            <p:cNvPr id="1030" name="Graphic 3">
              <a:extLst>
                <a:ext uri="{FF2B5EF4-FFF2-40B4-BE49-F238E27FC236}">
                  <a16:creationId xmlns:a16="http://schemas.microsoft.com/office/drawing/2014/main" id="{FF8CE5D8-0262-493A-8150-A14A9B3F4D92}"/>
                </a:ext>
              </a:extLst>
            </p:cNvPr>
            <p:cNvGrpSpPr/>
            <p:nvPr/>
          </p:nvGrpSpPr>
          <p:grpSpPr>
            <a:xfrm>
              <a:off x="5205800" y="5412662"/>
              <a:ext cx="121333" cy="298486"/>
              <a:chOff x="5205800" y="5412662"/>
              <a:chExt cx="121333" cy="298486"/>
            </a:xfrm>
            <a:grpFill/>
          </p:grpSpPr>
          <p:sp>
            <p:nvSpPr>
              <p:cNvPr id="2310" name="Vrije vorm: vorm 2309">
                <a:extLst>
                  <a:ext uri="{FF2B5EF4-FFF2-40B4-BE49-F238E27FC236}">
                    <a16:creationId xmlns:a16="http://schemas.microsoft.com/office/drawing/2014/main" id="{37AE58E2-B153-44B5-802A-34683D2EEEC2}"/>
                  </a:ext>
                </a:extLst>
              </p:cNvPr>
              <p:cNvSpPr/>
              <p:nvPr/>
            </p:nvSpPr>
            <p:spPr>
              <a:xfrm>
                <a:off x="5213415" y="5420906"/>
                <a:ext cx="106157" cy="281991"/>
              </a:xfrm>
              <a:custGeom>
                <a:avLst/>
                <a:gdLst>
                  <a:gd name="connsiteX0" fmla="*/ 106158 w 106157"/>
                  <a:gd name="connsiteY0" fmla="*/ 1076 h 281991"/>
                  <a:gd name="connsiteX1" fmla="*/ 2871 w 106157"/>
                  <a:gd name="connsiteY1" fmla="*/ 281991 h 281991"/>
                  <a:gd name="connsiteX2" fmla="*/ 0 w 106157"/>
                  <a:gd name="connsiteY2" fmla="*/ 280914 h 281991"/>
                  <a:gd name="connsiteX3" fmla="*/ 103287 w 106157"/>
                  <a:gd name="connsiteY3" fmla="*/ 0 h 281991"/>
                </a:gdLst>
                <a:ahLst/>
                <a:cxnLst>
                  <a:cxn ang="0">
                    <a:pos x="connsiteX0" y="connsiteY0"/>
                  </a:cxn>
                  <a:cxn ang="0">
                    <a:pos x="connsiteX1" y="connsiteY1"/>
                  </a:cxn>
                  <a:cxn ang="0">
                    <a:pos x="connsiteX2" y="connsiteY2"/>
                  </a:cxn>
                  <a:cxn ang="0">
                    <a:pos x="connsiteX3" y="connsiteY3"/>
                  </a:cxn>
                </a:cxnLst>
                <a:rect l="l" t="t" r="r" b="b"/>
                <a:pathLst>
                  <a:path w="106157" h="281991">
                    <a:moveTo>
                      <a:pt x="106158" y="1076"/>
                    </a:moveTo>
                    <a:lnTo>
                      <a:pt x="2871" y="281991"/>
                    </a:lnTo>
                    <a:lnTo>
                      <a:pt x="0" y="280914"/>
                    </a:lnTo>
                    <a:lnTo>
                      <a:pt x="103287" y="0"/>
                    </a:lnTo>
                    <a:close/>
                  </a:path>
                </a:pathLst>
              </a:custGeom>
              <a:grpFill/>
              <a:ln w="5978" cap="flat">
                <a:noFill/>
                <a:prstDash val="solid"/>
                <a:miter/>
              </a:ln>
            </p:spPr>
            <p:txBody>
              <a:bodyPr rtlCol="0" anchor="ctr"/>
              <a:lstStyle/>
              <a:p>
                <a:endParaRPr lang="en-GB"/>
              </a:p>
            </p:txBody>
          </p:sp>
          <p:sp>
            <p:nvSpPr>
              <p:cNvPr id="2311" name="Vrije vorm: vorm 2310">
                <a:extLst>
                  <a:ext uri="{FF2B5EF4-FFF2-40B4-BE49-F238E27FC236}">
                    <a16:creationId xmlns:a16="http://schemas.microsoft.com/office/drawing/2014/main" id="{75031803-90A6-4D84-AEA4-64AC8E8F80B8}"/>
                  </a:ext>
                </a:extLst>
              </p:cNvPr>
              <p:cNvSpPr/>
              <p:nvPr/>
            </p:nvSpPr>
            <p:spPr>
              <a:xfrm>
                <a:off x="5205800" y="5692732"/>
                <a:ext cx="18345" cy="18415"/>
              </a:xfrm>
              <a:custGeom>
                <a:avLst/>
                <a:gdLst>
                  <a:gd name="connsiteX0" fmla="*/ 17782 w 18345"/>
                  <a:gd name="connsiteY0" fmla="*/ 12438 h 18415"/>
                  <a:gd name="connsiteX1" fmla="*/ 6000 w 18345"/>
                  <a:gd name="connsiteY1" fmla="*/ 17820 h 18415"/>
                  <a:gd name="connsiteX2" fmla="*/ 557 w 18345"/>
                  <a:gd name="connsiteY2" fmla="*/ 5978 h 18415"/>
                  <a:gd name="connsiteX3" fmla="*/ 12339 w 18345"/>
                  <a:gd name="connsiteY3" fmla="*/ 596 h 18415"/>
                  <a:gd name="connsiteX4" fmla="*/ 17782 w 18345"/>
                  <a:gd name="connsiteY4" fmla="*/ 12438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15">
                    <a:moveTo>
                      <a:pt x="17782" y="12438"/>
                    </a:moveTo>
                    <a:cubicBezTo>
                      <a:pt x="16047" y="17222"/>
                      <a:pt x="10784" y="19614"/>
                      <a:pt x="6000" y="17820"/>
                    </a:cubicBezTo>
                    <a:cubicBezTo>
                      <a:pt x="1275" y="16026"/>
                      <a:pt x="-1177" y="10703"/>
                      <a:pt x="557" y="5978"/>
                    </a:cubicBezTo>
                    <a:cubicBezTo>
                      <a:pt x="2291" y="1194"/>
                      <a:pt x="7555" y="-1198"/>
                      <a:pt x="12339" y="596"/>
                    </a:cubicBezTo>
                    <a:cubicBezTo>
                      <a:pt x="17124" y="2390"/>
                      <a:pt x="19516" y="7653"/>
                      <a:pt x="17782" y="12438"/>
                    </a:cubicBezTo>
                    <a:close/>
                  </a:path>
                </a:pathLst>
              </a:custGeom>
              <a:grpFill/>
              <a:ln w="5978" cap="flat">
                <a:noFill/>
                <a:prstDash val="solid"/>
                <a:miter/>
              </a:ln>
            </p:spPr>
            <p:txBody>
              <a:bodyPr rtlCol="0" anchor="ctr"/>
              <a:lstStyle/>
              <a:p>
                <a:endParaRPr lang="en-GB"/>
              </a:p>
            </p:txBody>
          </p:sp>
          <p:sp>
            <p:nvSpPr>
              <p:cNvPr id="2312" name="Vrije vorm: vorm 2311">
                <a:extLst>
                  <a:ext uri="{FF2B5EF4-FFF2-40B4-BE49-F238E27FC236}">
                    <a16:creationId xmlns:a16="http://schemas.microsoft.com/office/drawing/2014/main" id="{DBC74A3A-75CF-41EE-BC68-8C1C14199E53}"/>
                  </a:ext>
                </a:extLst>
              </p:cNvPr>
              <p:cNvSpPr/>
              <p:nvPr/>
            </p:nvSpPr>
            <p:spPr>
              <a:xfrm>
                <a:off x="5308782" y="5412662"/>
                <a:ext cx="18352" cy="18409"/>
              </a:xfrm>
              <a:custGeom>
                <a:avLst/>
                <a:gdLst>
                  <a:gd name="connsiteX0" fmla="*/ 17788 w 18352"/>
                  <a:gd name="connsiteY0" fmla="*/ 12431 h 18409"/>
                  <a:gd name="connsiteX1" fmla="*/ 12346 w 18352"/>
                  <a:gd name="connsiteY1" fmla="*/ 589 h 18409"/>
                  <a:gd name="connsiteX2" fmla="*/ 564 w 18352"/>
                  <a:gd name="connsiteY2" fmla="*/ 5971 h 18409"/>
                  <a:gd name="connsiteX3" fmla="*/ 6007 w 18352"/>
                  <a:gd name="connsiteY3" fmla="*/ 17813 h 18409"/>
                  <a:gd name="connsiteX4" fmla="*/ 17788 w 18352"/>
                  <a:gd name="connsiteY4" fmla="*/ 12431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09">
                    <a:moveTo>
                      <a:pt x="17788" y="12431"/>
                    </a:moveTo>
                    <a:cubicBezTo>
                      <a:pt x="19523" y="7646"/>
                      <a:pt x="17131" y="2383"/>
                      <a:pt x="12346" y="589"/>
                    </a:cubicBezTo>
                    <a:cubicBezTo>
                      <a:pt x="7621" y="-1205"/>
                      <a:pt x="2358" y="1247"/>
                      <a:pt x="564" y="5971"/>
                    </a:cubicBezTo>
                    <a:cubicBezTo>
                      <a:pt x="-1170" y="10756"/>
                      <a:pt x="1222" y="16019"/>
                      <a:pt x="6007" y="17813"/>
                    </a:cubicBezTo>
                    <a:cubicBezTo>
                      <a:pt x="10791" y="19608"/>
                      <a:pt x="16054" y="17215"/>
                      <a:pt x="17788" y="12431"/>
                    </a:cubicBezTo>
                    <a:close/>
                  </a:path>
                </a:pathLst>
              </a:custGeom>
              <a:grpFill/>
              <a:ln w="5978" cap="flat">
                <a:noFill/>
                <a:prstDash val="solid"/>
                <a:miter/>
              </a:ln>
            </p:spPr>
            <p:txBody>
              <a:bodyPr rtlCol="0" anchor="ctr"/>
              <a:lstStyle/>
              <a:p>
                <a:endParaRPr lang="en-GB"/>
              </a:p>
            </p:txBody>
          </p:sp>
        </p:grpSp>
        <p:grpSp>
          <p:nvGrpSpPr>
            <p:cNvPr id="1031" name="Graphic 3">
              <a:extLst>
                <a:ext uri="{FF2B5EF4-FFF2-40B4-BE49-F238E27FC236}">
                  <a16:creationId xmlns:a16="http://schemas.microsoft.com/office/drawing/2014/main" id="{920B8FC1-FB16-4E41-BC8E-5B0AF5FC2DF0}"/>
                </a:ext>
              </a:extLst>
            </p:cNvPr>
            <p:cNvGrpSpPr/>
            <p:nvPr/>
          </p:nvGrpSpPr>
          <p:grpSpPr>
            <a:xfrm>
              <a:off x="4964854" y="4873624"/>
              <a:ext cx="295091" cy="441529"/>
              <a:chOff x="4964854" y="4873624"/>
              <a:chExt cx="295091" cy="441529"/>
            </a:xfrm>
            <a:grpFill/>
          </p:grpSpPr>
          <p:sp>
            <p:nvSpPr>
              <p:cNvPr id="2307" name="Vrije vorm: vorm 2306">
                <a:extLst>
                  <a:ext uri="{FF2B5EF4-FFF2-40B4-BE49-F238E27FC236}">
                    <a16:creationId xmlns:a16="http://schemas.microsoft.com/office/drawing/2014/main" id="{B3C752ED-F995-4876-BD13-72FEC111F93A}"/>
                  </a:ext>
                </a:extLst>
              </p:cNvPr>
              <p:cNvSpPr/>
              <p:nvPr/>
            </p:nvSpPr>
            <p:spPr>
              <a:xfrm>
                <a:off x="4972452" y="4881625"/>
                <a:ext cx="279897" cy="425587"/>
              </a:xfrm>
              <a:custGeom>
                <a:avLst/>
                <a:gdLst>
                  <a:gd name="connsiteX0" fmla="*/ 279898 w 279897"/>
                  <a:gd name="connsiteY0" fmla="*/ 1674 h 425587"/>
                  <a:gd name="connsiteX1" fmla="*/ 2572 w 279897"/>
                  <a:gd name="connsiteY1" fmla="*/ 425588 h 425587"/>
                  <a:gd name="connsiteX2" fmla="*/ 0 w 279897"/>
                  <a:gd name="connsiteY2" fmla="*/ 423914 h 425587"/>
                  <a:gd name="connsiteX3" fmla="*/ 277326 w 279897"/>
                  <a:gd name="connsiteY3" fmla="*/ 0 h 425587"/>
                </a:gdLst>
                <a:ahLst/>
                <a:cxnLst>
                  <a:cxn ang="0">
                    <a:pos x="connsiteX0" y="connsiteY0"/>
                  </a:cxn>
                  <a:cxn ang="0">
                    <a:pos x="connsiteX1" y="connsiteY1"/>
                  </a:cxn>
                  <a:cxn ang="0">
                    <a:pos x="connsiteX2" y="connsiteY2"/>
                  </a:cxn>
                  <a:cxn ang="0">
                    <a:pos x="connsiteX3" y="connsiteY3"/>
                  </a:cxn>
                </a:cxnLst>
                <a:rect l="l" t="t" r="r" b="b"/>
                <a:pathLst>
                  <a:path w="279897" h="425587">
                    <a:moveTo>
                      <a:pt x="279898" y="1674"/>
                    </a:moveTo>
                    <a:lnTo>
                      <a:pt x="2572" y="425588"/>
                    </a:lnTo>
                    <a:lnTo>
                      <a:pt x="0" y="423914"/>
                    </a:lnTo>
                    <a:lnTo>
                      <a:pt x="277326" y="0"/>
                    </a:lnTo>
                    <a:close/>
                  </a:path>
                </a:pathLst>
              </a:custGeom>
              <a:grpFill/>
              <a:ln w="5978" cap="flat">
                <a:noFill/>
                <a:prstDash val="solid"/>
                <a:miter/>
              </a:ln>
            </p:spPr>
            <p:txBody>
              <a:bodyPr rtlCol="0" anchor="ctr"/>
              <a:lstStyle/>
              <a:p>
                <a:endParaRPr lang="en-GB"/>
              </a:p>
            </p:txBody>
          </p:sp>
          <p:sp>
            <p:nvSpPr>
              <p:cNvPr id="2308" name="Vrije vorm: vorm 2307">
                <a:extLst>
                  <a:ext uri="{FF2B5EF4-FFF2-40B4-BE49-F238E27FC236}">
                    <a16:creationId xmlns:a16="http://schemas.microsoft.com/office/drawing/2014/main" id="{C927B34C-3235-48A9-B618-497680B2BC90}"/>
                  </a:ext>
                </a:extLst>
              </p:cNvPr>
              <p:cNvSpPr/>
              <p:nvPr/>
            </p:nvSpPr>
            <p:spPr>
              <a:xfrm>
                <a:off x="5241658" y="4873624"/>
                <a:ext cx="18288" cy="18393"/>
              </a:xfrm>
              <a:custGeom>
                <a:avLst/>
                <a:gdLst>
                  <a:gd name="connsiteX0" fmla="*/ 1481 w 18288"/>
                  <a:gd name="connsiteY0" fmla="*/ 4113 h 18393"/>
                  <a:gd name="connsiteX1" fmla="*/ 14161 w 18288"/>
                  <a:gd name="connsiteY1" fmla="*/ 1541 h 18393"/>
                  <a:gd name="connsiteX2" fmla="*/ 16792 w 18288"/>
                  <a:gd name="connsiteY2" fmla="*/ 14280 h 18393"/>
                  <a:gd name="connsiteX3" fmla="*/ 4113 w 18288"/>
                  <a:gd name="connsiteY3" fmla="*/ 16852 h 18393"/>
                  <a:gd name="connsiteX4" fmla="*/ 1481 w 18288"/>
                  <a:gd name="connsiteY4" fmla="*/ 4113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93">
                    <a:moveTo>
                      <a:pt x="1481" y="4113"/>
                    </a:moveTo>
                    <a:cubicBezTo>
                      <a:pt x="4232" y="-133"/>
                      <a:pt x="9914" y="-1269"/>
                      <a:pt x="14161" y="1541"/>
                    </a:cubicBezTo>
                    <a:cubicBezTo>
                      <a:pt x="18407" y="4352"/>
                      <a:pt x="19543" y="10094"/>
                      <a:pt x="16792" y="14280"/>
                    </a:cubicBezTo>
                    <a:cubicBezTo>
                      <a:pt x="14041" y="18527"/>
                      <a:pt x="8359" y="19663"/>
                      <a:pt x="4113" y="16852"/>
                    </a:cubicBezTo>
                    <a:cubicBezTo>
                      <a:pt x="-73" y="14101"/>
                      <a:pt x="-1270" y="8359"/>
                      <a:pt x="1481" y="4113"/>
                    </a:cubicBezTo>
                    <a:close/>
                  </a:path>
                </a:pathLst>
              </a:custGeom>
              <a:grpFill/>
              <a:ln w="5978" cap="flat">
                <a:noFill/>
                <a:prstDash val="solid"/>
                <a:miter/>
              </a:ln>
            </p:spPr>
            <p:txBody>
              <a:bodyPr rtlCol="0" anchor="ctr"/>
              <a:lstStyle/>
              <a:p>
                <a:endParaRPr lang="en-GB"/>
              </a:p>
            </p:txBody>
          </p:sp>
          <p:sp>
            <p:nvSpPr>
              <p:cNvPr id="2309" name="Vrije vorm: vorm 2308">
                <a:extLst>
                  <a:ext uri="{FF2B5EF4-FFF2-40B4-BE49-F238E27FC236}">
                    <a16:creationId xmlns:a16="http://schemas.microsoft.com/office/drawing/2014/main" id="{E84DC110-F4A4-440C-8BDE-287EAFF1B5B6}"/>
                  </a:ext>
                </a:extLst>
              </p:cNvPr>
              <p:cNvSpPr/>
              <p:nvPr/>
            </p:nvSpPr>
            <p:spPr>
              <a:xfrm>
                <a:off x="4964854" y="5296760"/>
                <a:ext cx="18304" cy="18393"/>
              </a:xfrm>
              <a:custGeom>
                <a:avLst/>
                <a:gdLst>
                  <a:gd name="connsiteX0" fmla="*/ 1497 w 18304"/>
                  <a:gd name="connsiteY0" fmla="*/ 4113 h 18393"/>
                  <a:gd name="connsiteX1" fmla="*/ 4128 w 18304"/>
                  <a:gd name="connsiteY1" fmla="*/ 16852 h 18393"/>
                  <a:gd name="connsiteX2" fmla="*/ 16807 w 18304"/>
                  <a:gd name="connsiteY2" fmla="*/ 14280 h 18393"/>
                  <a:gd name="connsiteX3" fmla="*/ 14176 w 18304"/>
                  <a:gd name="connsiteY3" fmla="*/ 1541 h 18393"/>
                  <a:gd name="connsiteX4" fmla="*/ 1497 w 18304"/>
                  <a:gd name="connsiteY4" fmla="*/ 4113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393">
                    <a:moveTo>
                      <a:pt x="1497" y="4113"/>
                    </a:moveTo>
                    <a:cubicBezTo>
                      <a:pt x="-1255" y="8359"/>
                      <a:pt x="-118" y="14101"/>
                      <a:pt x="4128" y="16852"/>
                    </a:cubicBezTo>
                    <a:cubicBezTo>
                      <a:pt x="8375" y="19663"/>
                      <a:pt x="14056" y="18527"/>
                      <a:pt x="16807" y="14280"/>
                    </a:cubicBezTo>
                    <a:cubicBezTo>
                      <a:pt x="19559" y="10034"/>
                      <a:pt x="18422" y="4293"/>
                      <a:pt x="14176" y="1541"/>
                    </a:cubicBezTo>
                    <a:cubicBezTo>
                      <a:pt x="9929" y="-1269"/>
                      <a:pt x="4248" y="-133"/>
                      <a:pt x="1497" y="4113"/>
                    </a:cubicBezTo>
                    <a:close/>
                  </a:path>
                </a:pathLst>
              </a:custGeom>
              <a:grpFill/>
              <a:ln w="5978" cap="flat">
                <a:noFill/>
                <a:prstDash val="solid"/>
                <a:miter/>
              </a:ln>
            </p:spPr>
            <p:txBody>
              <a:bodyPr rtlCol="0" anchor="ctr"/>
              <a:lstStyle/>
              <a:p>
                <a:endParaRPr lang="en-GB"/>
              </a:p>
            </p:txBody>
          </p:sp>
        </p:grpSp>
        <p:grpSp>
          <p:nvGrpSpPr>
            <p:cNvPr id="1032" name="Graphic 3">
              <a:extLst>
                <a:ext uri="{FF2B5EF4-FFF2-40B4-BE49-F238E27FC236}">
                  <a16:creationId xmlns:a16="http://schemas.microsoft.com/office/drawing/2014/main" id="{50C8A7EA-5011-437D-9020-E196672440E6}"/>
                </a:ext>
              </a:extLst>
            </p:cNvPr>
            <p:cNvGrpSpPr/>
            <p:nvPr/>
          </p:nvGrpSpPr>
          <p:grpSpPr>
            <a:xfrm>
              <a:off x="5181548" y="5318278"/>
              <a:ext cx="56470" cy="106514"/>
              <a:chOff x="5181548" y="5318278"/>
              <a:chExt cx="56470" cy="106514"/>
            </a:xfrm>
            <a:grpFill/>
          </p:grpSpPr>
          <p:sp>
            <p:nvSpPr>
              <p:cNvPr id="2304" name="Vrije vorm: vorm 2303">
                <a:extLst>
                  <a:ext uri="{FF2B5EF4-FFF2-40B4-BE49-F238E27FC236}">
                    <a16:creationId xmlns:a16="http://schemas.microsoft.com/office/drawing/2014/main" id="{FEBA7870-329D-423D-93B0-F5241E8400C8}"/>
                  </a:ext>
                </a:extLst>
              </p:cNvPr>
              <p:cNvSpPr/>
              <p:nvPr/>
            </p:nvSpPr>
            <p:spPr>
              <a:xfrm>
                <a:off x="5189133" y="5326471"/>
                <a:ext cx="41267" cy="90129"/>
              </a:xfrm>
              <a:custGeom>
                <a:avLst/>
                <a:gdLst>
                  <a:gd name="connsiteX0" fmla="*/ 41267 w 41267"/>
                  <a:gd name="connsiteY0" fmla="*/ 1256 h 90129"/>
                  <a:gd name="connsiteX1" fmla="*/ 2811 w 41267"/>
                  <a:gd name="connsiteY1" fmla="*/ 90130 h 90129"/>
                  <a:gd name="connsiteX2" fmla="*/ 0 w 41267"/>
                  <a:gd name="connsiteY2" fmla="*/ 88873 h 90129"/>
                  <a:gd name="connsiteX3" fmla="*/ 38456 w 41267"/>
                  <a:gd name="connsiteY3" fmla="*/ 0 h 90129"/>
                </a:gdLst>
                <a:ahLst/>
                <a:cxnLst>
                  <a:cxn ang="0">
                    <a:pos x="connsiteX0" y="connsiteY0"/>
                  </a:cxn>
                  <a:cxn ang="0">
                    <a:pos x="connsiteX1" y="connsiteY1"/>
                  </a:cxn>
                  <a:cxn ang="0">
                    <a:pos x="connsiteX2" y="connsiteY2"/>
                  </a:cxn>
                  <a:cxn ang="0">
                    <a:pos x="connsiteX3" y="connsiteY3"/>
                  </a:cxn>
                </a:cxnLst>
                <a:rect l="l" t="t" r="r" b="b"/>
                <a:pathLst>
                  <a:path w="41267" h="90129">
                    <a:moveTo>
                      <a:pt x="41267" y="1256"/>
                    </a:moveTo>
                    <a:lnTo>
                      <a:pt x="2811" y="90130"/>
                    </a:lnTo>
                    <a:lnTo>
                      <a:pt x="0" y="88873"/>
                    </a:lnTo>
                    <a:lnTo>
                      <a:pt x="38456" y="0"/>
                    </a:lnTo>
                    <a:close/>
                  </a:path>
                </a:pathLst>
              </a:custGeom>
              <a:grpFill/>
              <a:ln w="5978" cap="flat">
                <a:noFill/>
                <a:prstDash val="solid"/>
                <a:miter/>
              </a:ln>
            </p:spPr>
            <p:txBody>
              <a:bodyPr rtlCol="0" anchor="ctr"/>
              <a:lstStyle/>
              <a:p>
                <a:endParaRPr lang="en-GB"/>
              </a:p>
            </p:txBody>
          </p:sp>
          <p:sp>
            <p:nvSpPr>
              <p:cNvPr id="2305" name="Vrije vorm: vorm 2304">
                <a:extLst>
                  <a:ext uri="{FF2B5EF4-FFF2-40B4-BE49-F238E27FC236}">
                    <a16:creationId xmlns:a16="http://schemas.microsoft.com/office/drawing/2014/main" id="{F540AB7C-AE0C-4F58-8530-0814B09E9BA5}"/>
                  </a:ext>
                </a:extLst>
              </p:cNvPr>
              <p:cNvSpPr/>
              <p:nvPr/>
            </p:nvSpPr>
            <p:spPr>
              <a:xfrm>
                <a:off x="5219646" y="5318278"/>
                <a:ext cx="18373" cy="18418"/>
              </a:xfrm>
              <a:custGeom>
                <a:avLst/>
                <a:gdLst>
                  <a:gd name="connsiteX0" fmla="*/ 767 w 18373"/>
                  <a:gd name="connsiteY0" fmla="*/ 5501 h 18418"/>
                  <a:gd name="connsiteX1" fmla="*/ 12848 w 18373"/>
                  <a:gd name="connsiteY1" fmla="*/ 776 h 18418"/>
                  <a:gd name="connsiteX2" fmla="*/ 17632 w 18373"/>
                  <a:gd name="connsiteY2" fmla="*/ 12917 h 18418"/>
                  <a:gd name="connsiteX3" fmla="*/ 5551 w 18373"/>
                  <a:gd name="connsiteY3" fmla="*/ 17642 h 18418"/>
                  <a:gd name="connsiteX4" fmla="*/ 767 w 18373"/>
                  <a:gd name="connsiteY4" fmla="*/ 5501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18">
                    <a:moveTo>
                      <a:pt x="767" y="5501"/>
                    </a:moveTo>
                    <a:cubicBezTo>
                      <a:pt x="2800" y="836"/>
                      <a:pt x="8183" y="-1257"/>
                      <a:pt x="12848" y="776"/>
                    </a:cubicBezTo>
                    <a:cubicBezTo>
                      <a:pt x="17513" y="2810"/>
                      <a:pt x="19606" y="8252"/>
                      <a:pt x="17632" y="12917"/>
                    </a:cubicBezTo>
                    <a:cubicBezTo>
                      <a:pt x="15599" y="17583"/>
                      <a:pt x="10216" y="19676"/>
                      <a:pt x="5551" y="17642"/>
                    </a:cubicBezTo>
                    <a:cubicBezTo>
                      <a:pt x="886" y="15609"/>
                      <a:pt x="-1267" y="10166"/>
                      <a:pt x="767" y="5501"/>
                    </a:cubicBezTo>
                    <a:close/>
                  </a:path>
                </a:pathLst>
              </a:custGeom>
              <a:grpFill/>
              <a:ln w="5978" cap="flat">
                <a:noFill/>
                <a:prstDash val="solid"/>
                <a:miter/>
              </a:ln>
            </p:spPr>
            <p:txBody>
              <a:bodyPr rtlCol="0" anchor="ctr"/>
              <a:lstStyle/>
              <a:p>
                <a:endParaRPr lang="en-GB"/>
              </a:p>
            </p:txBody>
          </p:sp>
          <p:sp>
            <p:nvSpPr>
              <p:cNvPr id="2306" name="Vrije vorm: vorm 2305">
                <a:extLst>
                  <a:ext uri="{FF2B5EF4-FFF2-40B4-BE49-F238E27FC236}">
                    <a16:creationId xmlns:a16="http://schemas.microsoft.com/office/drawing/2014/main" id="{6B3CE68A-D4CA-4917-B40B-E8EB3F1DF26E}"/>
                  </a:ext>
                </a:extLst>
              </p:cNvPr>
              <p:cNvSpPr/>
              <p:nvPr/>
            </p:nvSpPr>
            <p:spPr>
              <a:xfrm>
                <a:off x="5181548" y="5406348"/>
                <a:ext cx="18398" cy="18444"/>
              </a:xfrm>
              <a:custGeom>
                <a:avLst/>
                <a:gdLst>
                  <a:gd name="connsiteX0" fmla="*/ 767 w 18398"/>
                  <a:gd name="connsiteY0" fmla="*/ 5527 h 18444"/>
                  <a:gd name="connsiteX1" fmla="*/ 5551 w 18398"/>
                  <a:gd name="connsiteY1" fmla="*/ 17668 h 18444"/>
                  <a:gd name="connsiteX2" fmla="*/ 17632 w 18398"/>
                  <a:gd name="connsiteY2" fmla="*/ 12943 h 18444"/>
                  <a:gd name="connsiteX3" fmla="*/ 12848 w 18398"/>
                  <a:gd name="connsiteY3" fmla="*/ 802 h 18444"/>
                  <a:gd name="connsiteX4" fmla="*/ 767 w 18398"/>
                  <a:gd name="connsiteY4" fmla="*/ 5527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98" h="18444">
                    <a:moveTo>
                      <a:pt x="767" y="5527"/>
                    </a:moveTo>
                    <a:cubicBezTo>
                      <a:pt x="-1267" y="10192"/>
                      <a:pt x="886" y="15634"/>
                      <a:pt x="5551" y="17668"/>
                    </a:cubicBezTo>
                    <a:cubicBezTo>
                      <a:pt x="10216" y="19701"/>
                      <a:pt x="15599" y="17608"/>
                      <a:pt x="17632" y="12943"/>
                    </a:cubicBezTo>
                    <a:cubicBezTo>
                      <a:pt x="19666" y="8278"/>
                      <a:pt x="17513" y="2835"/>
                      <a:pt x="12848" y="802"/>
                    </a:cubicBezTo>
                    <a:cubicBezTo>
                      <a:pt x="8183" y="-1291"/>
                      <a:pt x="2800" y="862"/>
                      <a:pt x="767" y="5527"/>
                    </a:cubicBezTo>
                    <a:close/>
                  </a:path>
                </a:pathLst>
              </a:custGeom>
              <a:grpFill/>
              <a:ln w="5978" cap="flat">
                <a:noFill/>
                <a:prstDash val="solid"/>
                <a:miter/>
              </a:ln>
            </p:spPr>
            <p:txBody>
              <a:bodyPr rtlCol="0" anchor="ctr"/>
              <a:lstStyle/>
              <a:p>
                <a:endParaRPr lang="en-GB"/>
              </a:p>
            </p:txBody>
          </p:sp>
        </p:grpSp>
        <p:grpSp>
          <p:nvGrpSpPr>
            <p:cNvPr id="1033" name="Graphic 3">
              <a:extLst>
                <a:ext uri="{FF2B5EF4-FFF2-40B4-BE49-F238E27FC236}">
                  <a16:creationId xmlns:a16="http://schemas.microsoft.com/office/drawing/2014/main" id="{F29763EB-EE0E-4065-A396-4E6CF05878C6}"/>
                </a:ext>
              </a:extLst>
            </p:cNvPr>
            <p:cNvGrpSpPr/>
            <p:nvPr/>
          </p:nvGrpSpPr>
          <p:grpSpPr>
            <a:xfrm>
              <a:off x="4180703" y="2425621"/>
              <a:ext cx="47945" cy="33977"/>
              <a:chOff x="4180703" y="2425621"/>
              <a:chExt cx="47945" cy="33977"/>
            </a:xfrm>
            <a:grpFill/>
          </p:grpSpPr>
          <p:sp>
            <p:nvSpPr>
              <p:cNvPr id="2301" name="Vrije vorm: vorm 2300">
                <a:extLst>
                  <a:ext uri="{FF2B5EF4-FFF2-40B4-BE49-F238E27FC236}">
                    <a16:creationId xmlns:a16="http://schemas.microsoft.com/office/drawing/2014/main" id="{41D71269-7B11-4126-92CA-70D7541D9C33}"/>
                  </a:ext>
                </a:extLst>
              </p:cNvPr>
              <p:cNvSpPr/>
              <p:nvPr/>
            </p:nvSpPr>
            <p:spPr>
              <a:xfrm>
                <a:off x="4188737" y="2433237"/>
                <a:ext cx="31877" cy="18719"/>
              </a:xfrm>
              <a:custGeom>
                <a:avLst/>
                <a:gdLst>
                  <a:gd name="connsiteX0" fmla="*/ 31877 w 31877"/>
                  <a:gd name="connsiteY0" fmla="*/ 16028 h 18719"/>
                  <a:gd name="connsiteX1" fmla="*/ 30442 w 31877"/>
                  <a:gd name="connsiteY1" fmla="*/ 18720 h 18719"/>
                  <a:gd name="connsiteX2" fmla="*/ 0 w 31877"/>
                  <a:gd name="connsiteY2" fmla="*/ 2691 h 18719"/>
                  <a:gd name="connsiteX3" fmla="*/ 1435 w 31877"/>
                  <a:gd name="connsiteY3" fmla="*/ 0 h 18719"/>
                </a:gdLst>
                <a:ahLst/>
                <a:cxnLst>
                  <a:cxn ang="0">
                    <a:pos x="connsiteX0" y="connsiteY0"/>
                  </a:cxn>
                  <a:cxn ang="0">
                    <a:pos x="connsiteX1" y="connsiteY1"/>
                  </a:cxn>
                  <a:cxn ang="0">
                    <a:pos x="connsiteX2" y="connsiteY2"/>
                  </a:cxn>
                  <a:cxn ang="0">
                    <a:pos x="connsiteX3" y="connsiteY3"/>
                  </a:cxn>
                </a:cxnLst>
                <a:rect l="l" t="t" r="r" b="b"/>
                <a:pathLst>
                  <a:path w="31877" h="18719">
                    <a:moveTo>
                      <a:pt x="31877" y="16028"/>
                    </a:moveTo>
                    <a:lnTo>
                      <a:pt x="30442" y="18720"/>
                    </a:lnTo>
                    <a:lnTo>
                      <a:pt x="0" y="2691"/>
                    </a:lnTo>
                    <a:lnTo>
                      <a:pt x="1435" y="0"/>
                    </a:lnTo>
                    <a:close/>
                  </a:path>
                </a:pathLst>
              </a:custGeom>
              <a:grpFill/>
              <a:ln w="5978" cap="flat">
                <a:noFill/>
                <a:prstDash val="solid"/>
                <a:miter/>
              </a:ln>
            </p:spPr>
            <p:txBody>
              <a:bodyPr rtlCol="0" anchor="ctr"/>
              <a:lstStyle/>
              <a:p>
                <a:endParaRPr lang="en-GB"/>
              </a:p>
            </p:txBody>
          </p:sp>
          <p:sp>
            <p:nvSpPr>
              <p:cNvPr id="2302" name="Vrije vorm: vorm 2301">
                <a:extLst>
                  <a:ext uri="{FF2B5EF4-FFF2-40B4-BE49-F238E27FC236}">
                    <a16:creationId xmlns:a16="http://schemas.microsoft.com/office/drawing/2014/main" id="{667C47F2-2658-424F-A792-797527C308CA}"/>
                  </a:ext>
                </a:extLst>
              </p:cNvPr>
              <p:cNvSpPr/>
              <p:nvPr/>
            </p:nvSpPr>
            <p:spPr>
              <a:xfrm>
                <a:off x="4180703" y="2425621"/>
                <a:ext cx="18340" cy="18400"/>
              </a:xfrm>
              <a:custGeom>
                <a:avLst/>
                <a:gdLst>
                  <a:gd name="connsiteX0" fmla="*/ 4924 w 18340"/>
                  <a:gd name="connsiteY0" fmla="*/ 17364 h 18400"/>
                  <a:gd name="connsiteX1" fmla="*/ 1037 w 18340"/>
                  <a:gd name="connsiteY1" fmla="*/ 4924 h 18400"/>
                  <a:gd name="connsiteX2" fmla="*/ 13417 w 18340"/>
                  <a:gd name="connsiteY2" fmla="*/ 1037 h 18400"/>
                  <a:gd name="connsiteX3" fmla="*/ 17304 w 18340"/>
                  <a:gd name="connsiteY3" fmla="*/ 13477 h 18400"/>
                  <a:gd name="connsiteX4" fmla="*/ 4924 w 18340"/>
                  <a:gd name="connsiteY4" fmla="*/ 17364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00">
                    <a:moveTo>
                      <a:pt x="4924" y="17364"/>
                    </a:moveTo>
                    <a:cubicBezTo>
                      <a:pt x="439" y="14972"/>
                      <a:pt x="-1296" y="9410"/>
                      <a:pt x="1037" y="4924"/>
                    </a:cubicBezTo>
                    <a:cubicBezTo>
                      <a:pt x="3369" y="439"/>
                      <a:pt x="8931" y="-1296"/>
                      <a:pt x="13417" y="1037"/>
                    </a:cubicBezTo>
                    <a:cubicBezTo>
                      <a:pt x="17902" y="3429"/>
                      <a:pt x="19637" y="8991"/>
                      <a:pt x="17304" y="13477"/>
                    </a:cubicBezTo>
                    <a:cubicBezTo>
                      <a:pt x="14972" y="17962"/>
                      <a:pt x="9410" y="19697"/>
                      <a:pt x="4924" y="17364"/>
                    </a:cubicBezTo>
                    <a:close/>
                  </a:path>
                </a:pathLst>
              </a:custGeom>
              <a:grpFill/>
              <a:ln w="5978" cap="flat">
                <a:noFill/>
                <a:prstDash val="solid"/>
                <a:miter/>
              </a:ln>
            </p:spPr>
            <p:txBody>
              <a:bodyPr rtlCol="0" anchor="ctr"/>
              <a:lstStyle/>
              <a:p>
                <a:endParaRPr lang="en-GB"/>
              </a:p>
            </p:txBody>
          </p:sp>
          <p:sp>
            <p:nvSpPr>
              <p:cNvPr id="2303" name="Vrije vorm: vorm 2302">
                <a:extLst>
                  <a:ext uri="{FF2B5EF4-FFF2-40B4-BE49-F238E27FC236}">
                    <a16:creationId xmlns:a16="http://schemas.microsoft.com/office/drawing/2014/main" id="{EDC28786-D002-40B3-A44F-2E6CB9922F0B}"/>
                  </a:ext>
                </a:extLst>
              </p:cNvPr>
              <p:cNvSpPr/>
              <p:nvPr/>
            </p:nvSpPr>
            <p:spPr>
              <a:xfrm>
                <a:off x="4210308" y="2441133"/>
                <a:ext cx="18341" cy="18465"/>
              </a:xfrm>
              <a:custGeom>
                <a:avLst/>
                <a:gdLst>
                  <a:gd name="connsiteX0" fmla="*/ 4924 w 18341"/>
                  <a:gd name="connsiteY0" fmla="*/ 17402 h 18465"/>
                  <a:gd name="connsiteX1" fmla="*/ 17304 w 18341"/>
                  <a:gd name="connsiteY1" fmla="*/ 13515 h 18465"/>
                  <a:gd name="connsiteX2" fmla="*/ 13417 w 18341"/>
                  <a:gd name="connsiteY2" fmla="*/ 1075 h 18465"/>
                  <a:gd name="connsiteX3" fmla="*/ 1037 w 18341"/>
                  <a:gd name="connsiteY3" fmla="*/ 4962 h 18465"/>
                  <a:gd name="connsiteX4" fmla="*/ 4924 w 18341"/>
                  <a:gd name="connsiteY4" fmla="*/ 17402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65">
                    <a:moveTo>
                      <a:pt x="4924" y="17402"/>
                    </a:moveTo>
                    <a:cubicBezTo>
                      <a:pt x="9410" y="19794"/>
                      <a:pt x="14972" y="18000"/>
                      <a:pt x="17304" y="13515"/>
                    </a:cubicBezTo>
                    <a:cubicBezTo>
                      <a:pt x="19637" y="9029"/>
                      <a:pt x="17902" y="3467"/>
                      <a:pt x="13417" y="1075"/>
                    </a:cubicBezTo>
                    <a:cubicBezTo>
                      <a:pt x="8931" y="-1318"/>
                      <a:pt x="3369" y="417"/>
                      <a:pt x="1037" y="4962"/>
                    </a:cubicBezTo>
                    <a:cubicBezTo>
                      <a:pt x="-1296" y="9507"/>
                      <a:pt x="439" y="15070"/>
                      <a:pt x="4924" y="17402"/>
                    </a:cubicBezTo>
                    <a:close/>
                  </a:path>
                </a:pathLst>
              </a:custGeom>
              <a:grpFill/>
              <a:ln w="5978" cap="flat">
                <a:noFill/>
                <a:prstDash val="solid"/>
                <a:miter/>
              </a:ln>
            </p:spPr>
            <p:txBody>
              <a:bodyPr rtlCol="0" anchor="ctr"/>
              <a:lstStyle/>
              <a:p>
                <a:endParaRPr lang="en-GB"/>
              </a:p>
            </p:txBody>
          </p:sp>
        </p:grpSp>
        <p:grpSp>
          <p:nvGrpSpPr>
            <p:cNvPr id="1034" name="Graphic 3">
              <a:extLst>
                <a:ext uri="{FF2B5EF4-FFF2-40B4-BE49-F238E27FC236}">
                  <a16:creationId xmlns:a16="http://schemas.microsoft.com/office/drawing/2014/main" id="{D50BBBAC-7EA8-4B08-B07C-779529BCBC8A}"/>
                </a:ext>
              </a:extLst>
            </p:cNvPr>
            <p:cNvGrpSpPr/>
            <p:nvPr/>
          </p:nvGrpSpPr>
          <p:grpSpPr>
            <a:xfrm>
              <a:off x="4217292" y="2770336"/>
              <a:ext cx="235744" cy="94203"/>
              <a:chOff x="4217292" y="2770336"/>
              <a:chExt cx="235744" cy="94203"/>
            </a:xfrm>
            <a:grpFill/>
          </p:grpSpPr>
          <p:sp>
            <p:nvSpPr>
              <p:cNvPr id="2298" name="Vrije vorm: vorm 2297">
                <a:extLst>
                  <a:ext uri="{FF2B5EF4-FFF2-40B4-BE49-F238E27FC236}">
                    <a16:creationId xmlns:a16="http://schemas.microsoft.com/office/drawing/2014/main" id="{61EF8B82-2E15-48B0-B827-47B7FEC16B17}"/>
                  </a:ext>
                </a:extLst>
              </p:cNvPr>
              <p:cNvSpPr/>
              <p:nvPr/>
            </p:nvSpPr>
            <p:spPr>
              <a:xfrm>
                <a:off x="4225519" y="2777906"/>
                <a:ext cx="219253" cy="79005"/>
              </a:xfrm>
              <a:custGeom>
                <a:avLst/>
                <a:gdLst>
                  <a:gd name="connsiteX0" fmla="*/ 219253 w 219253"/>
                  <a:gd name="connsiteY0" fmla="*/ 76135 h 79005"/>
                  <a:gd name="connsiteX1" fmla="*/ 218237 w 219253"/>
                  <a:gd name="connsiteY1" fmla="*/ 79005 h 79005"/>
                  <a:gd name="connsiteX2" fmla="*/ 0 w 219253"/>
                  <a:gd name="connsiteY2" fmla="*/ 2931 h 79005"/>
                  <a:gd name="connsiteX3" fmla="*/ 957 w 219253"/>
                  <a:gd name="connsiteY3" fmla="*/ 0 h 79005"/>
                </a:gdLst>
                <a:ahLst/>
                <a:cxnLst>
                  <a:cxn ang="0">
                    <a:pos x="connsiteX0" y="connsiteY0"/>
                  </a:cxn>
                  <a:cxn ang="0">
                    <a:pos x="connsiteX1" y="connsiteY1"/>
                  </a:cxn>
                  <a:cxn ang="0">
                    <a:pos x="connsiteX2" y="connsiteY2"/>
                  </a:cxn>
                  <a:cxn ang="0">
                    <a:pos x="connsiteX3" y="connsiteY3"/>
                  </a:cxn>
                </a:cxnLst>
                <a:rect l="l" t="t" r="r" b="b"/>
                <a:pathLst>
                  <a:path w="219253" h="79005">
                    <a:moveTo>
                      <a:pt x="219253" y="76135"/>
                    </a:moveTo>
                    <a:lnTo>
                      <a:pt x="218237" y="79005"/>
                    </a:lnTo>
                    <a:lnTo>
                      <a:pt x="0" y="2931"/>
                    </a:lnTo>
                    <a:lnTo>
                      <a:pt x="957" y="0"/>
                    </a:lnTo>
                    <a:close/>
                  </a:path>
                </a:pathLst>
              </a:custGeom>
              <a:grpFill/>
              <a:ln w="5978" cap="flat">
                <a:noFill/>
                <a:prstDash val="solid"/>
                <a:miter/>
              </a:ln>
            </p:spPr>
            <p:txBody>
              <a:bodyPr rtlCol="0" anchor="ctr"/>
              <a:lstStyle/>
              <a:p>
                <a:endParaRPr lang="en-GB"/>
              </a:p>
            </p:txBody>
          </p:sp>
          <p:sp>
            <p:nvSpPr>
              <p:cNvPr id="2299" name="Vrije vorm: vorm 2298">
                <a:extLst>
                  <a:ext uri="{FF2B5EF4-FFF2-40B4-BE49-F238E27FC236}">
                    <a16:creationId xmlns:a16="http://schemas.microsoft.com/office/drawing/2014/main" id="{B12AC878-9E1B-4A09-835B-AFF615CCEA9E}"/>
                  </a:ext>
                </a:extLst>
              </p:cNvPr>
              <p:cNvSpPr/>
              <p:nvPr/>
            </p:nvSpPr>
            <p:spPr>
              <a:xfrm>
                <a:off x="4217292" y="2770336"/>
                <a:ext cx="18368" cy="18428"/>
              </a:xfrm>
              <a:custGeom>
                <a:avLst/>
                <a:gdLst>
                  <a:gd name="connsiteX0" fmla="*/ 6194 w 18368"/>
                  <a:gd name="connsiteY0" fmla="*/ 17916 h 18428"/>
                  <a:gd name="connsiteX1" fmla="*/ 512 w 18368"/>
                  <a:gd name="connsiteY1" fmla="*/ 6194 h 18428"/>
                  <a:gd name="connsiteX2" fmla="*/ 12174 w 18368"/>
                  <a:gd name="connsiteY2" fmla="*/ 512 h 18428"/>
                  <a:gd name="connsiteX3" fmla="*/ 17856 w 18368"/>
                  <a:gd name="connsiteY3" fmla="*/ 12234 h 18428"/>
                  <a:gd name="connsiteX4" fmla="*/ 6194 w 18368"/>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6194" y="17916"/>
                    </a:moveTo>
                    <a:cubicBezTo>
                      <a:pt x="1409" y="16241"/>
                      <a:pt x="-1163" y="10978"/>
                      <a:pt x="512" y="6194"/>
                    </a:cubicBezTo>
                    <a:cubicBezTo>
                      <a:pt x="2127" y="1409"/>
                      <a:pt x="7390" y="-1162"/>
                      <a:pt x="12174" y="512"/>
                    </a:cubicBezTo>
                    <a:cubicBezTo>
                      <a:pt x="16959" y="2187"/>
                      <a:pt x="19531" y="7450"/>
                      <a:pt x="17856" y="12234"/>
                    </a:cubicBezTo>
                    <a:cubicBezTo>
                      <a:pt x="16182" y="17019"/>
                      <a:pt x="10978" y="19591"/>
                      <a:pt x="6194" y="17916"/>
                    </a:cubicBezTo>
                    <a:close/>
                  </a:path>
                </a:pathLst>
              </a:custGeom>
              <a:grpFill/>
              <a:ln w="5978" cap="flat">
                <a:noFill/>
                <a:prstDash val="solid"/>
                <a:miter/>
              </a:ln>
            </p:spPr>
            <p:txBody>
              <a:bodyPr rtlCol="0" anchor="ctr"/>
              <a:lstStyle/>
              <a:p>
                <a:endParaRPr lang="en-GB"/>
              </a:p>
            </p:txBody>
          </p:sp>
          <p:sp>
            <p:nvSpPr>
              <p:cNvPr id="2300" name="Vrije vorm: vorm 2299">
                <a:extLst>
                  <a:ext uri="{FF2B5EF4-FFF2-40B4-BE49-F238E27FC236}">
                    <a16:creationId xmlns:a16="http://schemas.microsoft.com/office/drawing/2014/main" id="{28A89A08-DD37-4055-93F7-63A2AC6A5131}"/>
                  </a:ext>
                </a:extLst>
              </p:cNvPr>
              <p:cNvSpPr/>
              <p:nvPr/>
            </p:nvSpPr>
            <p:spPr>
              <a:xfrm>
                <a:off x="4434691" y="2846112"/>
                <a:ext cx="18345" cy="18428"/>
              </a:xfrm>
              <a:custGeom>
                <a:avLst/>
                <a:gdLst>
                  <a:gd name="connsiteX0" fmla="*/ 6194 w 18345"/>
                  <a:gd name="connsiteY0" fmla="*/ 17916 h 18428"/>
                  <a:gd name="connsiteX1" fmla="*/ 17856 w 18345"/>
                  <a:gd name="connsiteY1" fmla="*/ 12234 h 18428"/>
                  <a:gd name="connsiteX2" fmla="*/ 12175 w 18345"/>
                  <a:gd name="connsiteY2" fmla="*/ 512 h 18428"/>
                  <a:gd name="connsiteX3" fmla="*/ 512 w 18345"/>
                  <a:gd name="connsiteY3" fmla="*/ 6194 h 18428"/>
                  <a:gd name="connsiteX4" fmla="*/ 6194 w 18345"/>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8">
                    <a:moveTo>
                      <a:pt x="6194" y="17916"/>
                    </a:moveTo>
                    <a:cubicBezTo>
                      <a:pt x="10978" y="19591"/>
                      <a:pt x="16182" y="17019"/>
                      <a:pt x="17856" y="12234"/>
                    </a:cubicBezTo>
                    <a:cubicBezTo>
                      <a:pt x="19471" y="7450"/>
                      <a:pt x="16959" y="2187"/>
                      <a:pt x="12175" y="512"/>
                    </a:cubicBezTo>
                    <a:cubicBezTo>
                      <a:pt x="7390" y="-1162"/>
                      <a:pt x="2187" y="1409"/>
                      <a:pt x="512" y="6194"/>
                    </a:cubicBezTo>
                    <a:cubicBezTo>
                      <a:pt x="-1163" y="10978"/>
                      <a:pt x="1409" y="16241"/>
                      <a:pt x="6194" y="17916"/>
                    </a:cubicBezTo>
                    <a:close/>
                  </a:path>
                </a:pathLst>
              </a:custGeom>
              <a:grpFill/>
              <a:ln w="5978" cap="flat">
                <a:noFill/>
                <a:prstDash val="solid"/>
                <a:miter/>
              </a:ln>
            </p:spPr>
            <p:txBody>
              <a:bodyPr rtlCol="0" anchor="ctr"/>
              <a:lstStyle/>
              <a:p>
                <a:endParaRPr lang="en-GB"/>
              </a:p>
            </p:txBody>
          </p:sp>
        </p:grpSp>
        <p:grpSp>
          <p:nvGrpSpPr>
            <p:cNvPr id="1035" name="Graphic 3">
              <a:extLst>
                <a:ext uri="{FF2B5EF4-FFF2-40B4-BE49-F238E27FC236}">
                  <a16:creationId xmlns:a16="http://schemas.microsoft.com/office/drawing/2014/main" id="{E3152B2D-A7A3-41A4-8EA9-59B0870AC87A}"/>
                </a:ext>
              </a:extLst>
            </p:cNvPr>
            <p:cNvGrpSpPr/>
            <p:nvPr/>
          </p:nvGrpSpPr>
          <p:grpSpPr>
            <a:xfrm>
              <a:off x="4174964" y="2716135"/>
              <a:ext cx="282625" cy="116101"/>
              <a:chOff x="4174964" y="2716135"/>
              <a:chExt cx="282625" cy="116101"/>
            </a:xfrm>
            <a:grpFill/>
          </p:grpSpPr>
          <p:sp>
            <p:nvSpPr>
              <p:cNvPr id="2295" name="Vrije vorm: vorm 2294">
                <a:extLst>
                  <a:ext uri="{FF2B5EF4-FFF2-40B4-BE49-F238E27FC236}">
                    <a16:creationId xmlns:a16="http://schemas.microsoft.com/office/drawing/2014/main" id="{F30387B0-7136-4031-9541-6558FC33BFBB}"/>
                  </a:ext>
                </a:extLst>
              </p:cNvPr>
              <p:cNvSpPr/>
              <p:nvPr/>
            </p:nvSpPr>
            <p:spPr>
              <a:xfrm>
                <a:off x="4183235" y="2723780"/>
                <a:ext cx="266142" cy="100835"/>
              </a:xfrm>
              <a:custGeom>
                <a:avLst/>
                <a:gdLst>
                  <a:gd name="connsiteX0" fmla="*/ 266142 w 266142"/>
                  <a:gd name="connsiteY0" fmla="*/ 97964 h 100835"/>
                  <a:gd name="connsiteX1" fmla="*/ 265066 w 266142"/>
                  <a:gd name="connsiteY1" fmla="*/ 100835 h 100835"/>
                  <a:gd name="connsiteX2" fmla="*/ 0 w 266142"/>
                  <a:gd name="connsiteY2" fmla="*/ 2871 h 100835"/>
                  <a:gd name="connsiteX3" fmla="*/ 1017 w 266142"/>
                  <a:gd name="connsiteY3" fmla="*/ 0 h 100835"/>
                </a:gdLst>
                <a:ahLst/>
                <a:cxnLst>
                  <a:cxn ang="0">
                    <a:pos x="connsiteX0" y="connsiteY0"/>
                  </a:cxn>
                  <a:cxn ang="0">
                    <a:pos x="connsiteX1" y="connsiteY1"/>
                  </a:cxn>
                  <a:cxn ang="0">
                    <a:pos x="connsiteX2" y="connsiteY2"/>
                  </a:cxn>
                  <a:cxn ang="0">
                    <a:pos x="connsiteX3" y="connsiteY3"/>
                  </a:cxn>
                </a:cxnLst>
                <a:rect l="l" t="t" r="r" b="b"/>
                <a:pathLst>
                  <a:path w="266142" h="100835">
                    <a:moveTo>
                      <a:pt x="266142" y="97964"/>
                    </a:moveTo>
                    <a:lnTo>
                      <a:pt x="265066" y="100835"/>
                    </a:lnTo>
                    <a:lnTo>
                      <a:pt x="0" y="2871"/>
                    </a:lnTo>
                    <a:lnTo>
                      <a:pt x="1017" y="0"/>
                    </a:lnTo>
                    <a:close/>
                  </a:path>
                </a:pathLst>
              </a:custGeom>
              <a:grpFill/>
              <a:ln w="5978" cap="flat">
                <a:noFill/>
                <a:prstDash val="solid"/>
                <a:miter/>
              </a:ln>
            </p:spPr>
            <p:txBody>
              <a:bodyPr rtlCol="0" anchor="ctr"/>
              <a:lstStyle/>
              <a:p>
                <a:endParaRPr lang="en-GB"/>
              </a:p>
            </p:txBody>
          </p:sp>
          <p:sp>
            <p:nvSpPr>
              <p:cNvPr id="2296" name="Vrije vorm: vorm 2295">
                <a:extLst>
                  <a:ext uri="{FF2B5EF4-FFF2-40B4-BE49-F238E27FC236}">
                    <a16:creationId xmlns:a16="http://schemas.microsoft.com/office/drawing/2014/main" id="{C273688A-92B2-48B6-872D-6ADFDC2F2005}"/>
                  </a:ext>
                </a:extLst>
              </p:cNvPr>
              <p:cNvSpPr/>
              <p:nvPr/>
            </p:nvSpPr>
            <p:spPr>
              <a:xfrm>
                <a:off x="4174964" y="2716135"/>
                <a:ext cx="18337" cy="18429"/>
              </a:xfrm>
              <a:custGeom>
                <a:avLst/>
                <a:gdLst>
                  <a:gd name="connsiteX0" fmla="*/ 6059 w 18337"/>
                  <a:gd name="connsiteY0" fmla="*/ 17872 h 18429"/>
                  <a:gd name="connsiteX1" fmla="*/ 557 w 18337"/>
                  <a:gd name="connsiteY1" fmla="*/ 6031 h 18429"/>
                  <a:gd name="connsiteX2" fmla="*/ 12279 w 18337"/>
                  <a:gd name="connsiteY2" fmla="*/ 588 h 18429"/>
                  <a:gd name="connsiteX3" fmla="*/ 17781 w 18337"/>
                  <a:gd name="connsiteY3" fmla="*/ 12430 h 18429"/>
                  <a:gd name="connsiteX4" fmla="*/ 6059 w 18337"/>
                  <a:gd name="connsiteY4" fmla="*/ 1787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29">
                    <a:moveTo>
                      <a:pt x="6059" y="17872"/>
                    </a:moveTo>
                    <a:cubicBezTo>
                      <a:pt x="1274" y="16138"/>
                      <a:pt x="-1178" y="10815"/>
                      <a:pt x="557" y="6031"/>
                    </a:cubicBezTo>
                    <a:cubicBezTo>
                      <a:pt x="2291" y="1246"/>
                      <a:pt x="7554" y="-1206"/>
                      <a:pt x="12279" y="588"/>
                    </a:cubicBezTo>
                    <a:cubicBezTo>
                      <a:pt x="17063" y="2323"/>
                      <a:pt x="19516" y="7645"/>
                      <a:pt x="17781" y="12430"/>
                    </a:cubicBezTo>
                    <a:cubicBezTo>
                      <a:pt x="16106" y="17155"/>
                      <a:pt x="10843" y="19607"/>
                      <a:pt x="6059" y="17872"/>
                    </a:cubicBezTo>
                    <a:close/>
                  </a:path>
                </a:pathLst>
              </a:custGeom>
              <a:grpFill/>
              <a:ln w="5978" cap="flat">
                <a:noFill/>
                <a:prstDash val="solid"/>
                <a:miter/>
              </a:ln>
            </p:spPr>
            <p:txBody>
              <a:bodyPr rtlCol="0" anchor="ctr"/>
              <a:lstStyle/>
              <a:p>
                <a:endParaRPr lang="en-GB"/>
              </a:p>
            </p:txBody>
          </p:sp>
          <p:sp>
            <p:nvSpPr>
              <p:cNvPr id="2297" name="Vrije vorm: vorm 2296">
                <a:extLst>
                  <a:ext uri="{FF2B5EF4-FFF2-40B4-BE49-F238E27FC236}">
                    <a16:creationId xmlns:a16="http://schemas.microsoft.com/office/drawing/2014/main" id="{B2D9191D-A208-47EF-ACBB-A5D55D50B339}"/>
                  </a:ext>
                </a:extLst>
              </p:cNvPr>
              <p:cNvSpPr/>
              <p:nvPr/>
            </p:nvSpPr>
            <p:spPr>
              <a:xfrm>
                <a:off x="4439252" y="2813824"/>
                <a:ext cx="18337" cy="18412"/>
              </a:xfrm>
              <a:custGeom>
                <a:avLst/>
                <a:gdLst>
                  <a:gd name="connsiteX0" fmla="*/ 6059 w 18337"/>
                  <a:gd name="connsiteY0" fmla="*/ 17848 h 18412"/>
                  <a:gd name="connsiteX1" fmla="*/ 17781 w 18337"/>
                  <a:gd name="connsiteY1" fmla="*/ 12406 h 18412"/>
                  <a:gd name="connsiteX2" fmla="*/ 12279 w 18337"/>
                  <a:gd name="connsiteY2" fmla="*/ 564 h 18412"/>
                  <a:gd name="connsiteX3" fmla="*/ 557 w 18337"/>
                  <a:gd name="connsiteY3" fmla="*/ 6006 h 18412"/>
                  <a:gd name="connsiteX4" fmla="*/ 6059 w 18337"/>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12">
                    <a:moveTo>
                      <a:pt x="6059" y="17848"/>
                    </a:moveTo>
                    <a:cubicBezTo>
                      <a:pt x="10843" y="19583"/>
                      <a:pt x="16047" y="17190"/>
                      <a:pt x="17781" y="12406"/>
                    </a:cubicBezTo>
                    <a:cubicBezTo>
                      <a:pt x="19516" y="7621"/>
                      <a:pt x="17063" y="2358"/>
                      <a:pt x="12279" y="564"/>
                    </a:cubicBezTo>
                    <a:cubicBezTo>
                      <a:pt x="7494" y="-1170"/>
                      <a:pt x="2291" y="1222"/>
                      <a:pt x="557" y="6006"/>
                    </a:cubicBezTo>
                    <a:cubicBezTo>
                      <a:pt x="-1178" y="10791"/>
                      <a:pt x="1274" y="16114"/>
                      <a:pt x="6059" y="17848"/>
                    </a:cubicBezTo>
                    <a:close/>
                  </a:path>
                </a:pathLst>
              </a:custGeom>
              <a:grpFill/>
              <a:ln w="5978" cap="flat">
                <a:noFill/>
                <a:prstDash val="solid"/>
                <a:miter/>
              </a:ln>
            </p:spPr>
            <p:txBody>
              <a:bodyPr rtlCol="0" anchor="ctr"/>
              <a:lstStyle/>
              <a:p>
                <a:endParaRPr lang="en-GB"/>
              </a:p>
            </p:txBody>
          </p:sp>
        </p:grpSp>
        <p:grpSp>
          <p:nvGrpSpPr>
            <p:cNvPr id="1036" name="Graphic 3">
              <a:extLst>
                <a:ext uri="{FF2B5EF4-FFF2-40B4-BE49-F238E27FC236}">
                  <a16:creationId xmlns:a16="http://schemas.microsoft.com/office/drawing/2014/main" id="{81898974-0066-4639-837D-67A0B2243FB2}"/>
                </a:ext>
              </a:extLst>
            </p:cNvPr>
            <p:cNvGrpSpPr/>
            <p:nvPr/>
          </p:nvGrpSpPr>
          <p:grpSpPr>
            <a:xfrm>
              <a:off x="4198749" y="2563425"/>
              <a:ext cx="121540" cy="65607"/>
              <a:chOff x="4198749" y="2563425"/>
              <a:chExt cx="121540" cy="65607"/>
            </a:xfrm>
            <a:grpFill/>
          </p:grpSpPr>
          <p:sp>
            <p:nvSpPr>
              <p:cNvPr id="2292" name="Vrije vorm: vorm 2291">
                <a:extLst>
                  <a:ext uri="{FF2B5EF4-FFF2-40B4-BE49-F238E27FC236}">
                    <a16:creationId xmlns:a16="http://schemas.microsoft.com/office/drawing/2014/main" id="{B1230367-7658-4E41-A80D-10D25687816B}"/>
                  </a:ext>
                </a:extLst>
              </p:cNvPr>
              <p:cNvSpPr/>
              <p:nvPr/>
            </p:nvSpPr>
            <p:spPr>
              <a:xfrm>
                <a:off x="4206859" y="2571033"/>
                <a:ext cx="105260" cy="50357"/>
              </a:xfrm>
              <a:custGeom>
                <a:avLst/>
                <a:gdLst>
                  <a:gd name="connsiteX0" fmla="*/ 105261 w 105260"/>
                  <a:gd name="connsiteY0" fmla="*/ 47607 h 50357"/>
                  <a:gd name="connsiteX1" fmla="*/ 104005 w 105260"/>
                  <a:gd name="connsiteY1" fmla="*/ 50358 h 50357"/>
                  <a:gd name="connsiteX2" fmla="*/ 0 w 105260"/>
                  <a:gd name="connsiteY2" fmla="*/ 2811 h 50357"/>
                  <a:gd name="connsiteX3" fmla="*/ 1256 w 105260"/>
                  <a:gd name="connsiteY3" fmla="*/ 0 h 50357"/>
                </a:gdLst>
                <a:ahLst/>
                <a:cxnLst>
                  <a:cxn ang="0">
                    <a:pos x="connsiteX0" y="connsiteY0"/>
                  </a:cxn>
                  <a:cxn ang="0">
                    <a:pos x="connsiteX1" y="connsiteY1"/>
                  </a:cxn>
                  <a:cxn ang="0">
                    <a:pos x="connsiteX2" y="connsiteY2"/>
                  </a:cxn>
                  <a:cxn ang="0">
                    <a:pos x="connsiteX3" y="connsiteY3"/>
                  </a:cxn>
                </a:cxnLst>
                <a:rect l="l" t="t" r="r" b="b"/>
                <a:pathLst>
                  <a:path w="105260" h="50357">
                    <a:moveTo>
                      <a:pt x="105261" y="47607"/>
                    </a:moveTo>
                    <a:lnTo>
                      <a:pt x="104005" y="50358"/>
                    </a:lnTo>
                    <a:lnTo>
                      <a:pt x="0" y="2811"/>
                    </a:lnTo>
                    <a:lnTo>
                      <a:pt x="1256" y="0"/>
                    </a:lnTo>
                    <a:close/>
                  </a:path>
                </a:pathLst>
              </a:custGeom>
              <a:grpFill/>
              <a:ln w="5978" cap="flat">
                <a:noFill/>
                <a:prstDash val="solid"/>
                <a:miter/>
              </a:ln>
            </p:spPr>
            <p:txBody>
              <a:bodyPr rtlCol="0" anchor="ctr"/>
              <a:lstStyle/>
              <a:p>
                <a:endParaRPr lang="en-GB"/>
              </a:p>
            </p:txBody>
          </p:sp>
          <p:sp>
            <p:nvSpPr>
              <p:cNvPr id="2293" name="Vrije vorm: vorm 2292">
                <a:extLst>
                  <a:ext uri="{FF2B5EF4-FFF2-40B4-BE49-F238E27FC236}">
                    <a16:creationId xmlns:a16="http://schemas.microsoft.com/office/drawing/2014/main" id="{C4ADAEBB-D0F5-4A99-A67C-F25627B33777}"/>
                  </a:ext>
                </a:extLst>
              </p:cNvPr>
              <p:cNvSpPr/>
              <p:nvPr/>
            </p:nvSpPr>
            <p:spPr>
              <a:xfrm>
                <a:off x="4198749" y="2563425"/>
                <a:ext cx="18372" cy="18419"/>
              </a:xfrm>
              <a:custGeom>
                <a:avLst/>
                <a:gdLst>
                  <a:gd name="connsiteX0" fmla="*/ 5419 w 18372"/>
                  <a:gd name="connsiteY0" fmla="*/ 17596 h 18419"/>
                  <a:gd name="connsiteX1" fmla="*/ 813 w 18372"/>
                  <a:gd name="connsiteY1" fmla="*/ 5395 h 18419"/>
                  <a:gd name="connsiteX2" fmla="*/ 12954 w 18372"/>
                  <a:gd name="connsiteY2" fmla="*/ 849 h 18419"/>
                  <a:gd name="connsiteX3" fmla="*/ 17560 w 18372"/>
                  <a:gd name="connsiteY3" fmla="*/ 13050 h 18419"/>
                  <a:gd name="connsiteX4" fmla="*/ 5419 w 18372"/>
                  <a:gd name="connsiteY4" fmla="*/ 1759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19">
                    <a:moveTo>
                      <a:pt x="5419" y="17596"/>
                    </a:moveTo>
                    <a:cubicBezTo>
                      <a:pt x="813" y="15502"/>
                      <a:pt x="-1280" y="10000"/>
                      <a:pt x="813" y="5395"/>
                    </a:cubicBezTo>
                    <a:cubicBezTo>
                      <a:pt x="2907" y="790"/>
                      <a:pt x="8349" y="-1304"/>
                      <a:pt x="12954" y="849"/>
                    </a:cubicBezTo>
                    <a:cubicBezTo>
                      <a:pt x="17560" y="2943"/>
                      <a:pt x="19653" y="8445"/>
                      <a:pt x="17560" y="13050"/>
                    </a:cubicBezTo>
                    <a:cubicBezTo>
                      <a:pt x="15406" y="17655"/>
                      <a:pt x="10024" y="19689"/>
                      <a:pt x="5419" y="17596"/>
                    </a:cubicBezTo>
                    <a:close/>
                  </a:path>
                </a:pathLst>
              </a:custGeom>
              <a:grpFill/>
              <a:ln w="5978" cap="flat">
                <a:noFill/>
                <a:prstDash val="solid"/>
                <a:miter/>
              </a:ln>
            </p:spPr>
            <p:txBody>
              <a:bodyPr rtlCol="0" anchor="ctr"/>
              <a:lstStyle/>
              <a:p>
                <a:endParaRPr lang="en-GB"/>
              </a:p>
            </p:txBody>
          </p:sp>
          <p:sp>
            <p:nvSpPr>
              <p:cNvPr id="2294" name="Vrije vorm: vorm 2293">
                <a:extLst>
                  <a:ext uri="{FF2B5EF4-FFF2-40B4-BE49-F238E27FC236}">
                    <a16:creationId xmlns:a16="http://schemas.microsoft.com/office/drawing/2014/main" id="{CA7D715E-E64D-4797-B983-345242D5FC4B}"/>
                  </a:ext>
                </a:extLst>
              </p:cNvPr>
              <p:cNvSpPr/>
              <p:nvPr/>
            </p:nvSpPr>
            <p:spPr>
              <a:xfrm>
                <a:off x="4301917" y="2610639"/>
                <a:ext cx="18372" cy="18393"/>
              </a:xfrm>
              <a:custGeom>
                <a:avLst/>
                <a:gdLst>
                  <a:gd name="connsiteX0" fmla="*/ 5419 w 18372"/>
                  <a:gd name="connsiteY0" fmla="*/ 17570 h 18393"/>
                  <a:gd name="connsiteX1" fmla="*/ 17560 w 18372"/>
                  <a:gd name="connsiteY1" fmla="*/ 13024 h 18393"/>
                  <a:gd name="connsiteX2" fmla="*/ 12954 w 18372"/>
                  <a:gd name="connsiteY2" fmla="*/ 824 h 18393"/>
                  <a:gd name="connsiteX3" fmla="*/ 813 w 18372"/>
                  <a:gd name="connsiteY3" fmla="*/ 5369 h 18393"/>
                  <a:gd name="connsiteX4" fmla="*/ 5419 w 18372"/>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393">
                    <a:moveTo>
                      <a:pt x="5419" y="17570"/>
                    </a:moveTo>
                    <a:cubicBezTo>
                      <a:pt x="10024" y="19663"/>
                      <a:pt x="15466" y="17630"/>
                      <a:pt x="17560" y="13024"/>
                    </a:cubicBezTo>
                    <a:cubicBezTo>
                      <a:pt x="19653" y="8419"/>
                      <a:pt x="17560" y="2917"/>
                      <a:pt x="12954" y="824"/>
                    </a:cubicBezTo>
                    <a:cubicBezTo>
                      <a:pt x="8349" y="-1270"/>
                      <a:pt x="2907" y="764"/>
                      <a:pt x="813" y="5369"/>
                    </a:cubicBezTo>
                    <a:cubicBezTo>
                      <a:pt x="-1280" y="9974"/>
                      <a:pt x="813" y="15477"/>
                      <a:pt x="5419" y="17570"/>
                    </a:cubicBezTo>
                    <a:close/>
                  </a:path>
                </a:pathLst>
              </a:custGeom>
              <a:grpFill/>
              <a:ln w="5978" cap="flat">
                <a:noFill/>
                <a:prstDash val="solid"/>
                <a:miter/>
              </a:ln>
            </p:spPr>
            <p:txBody>
              <a:bodyPr rtlCol="0" anchor="ctr"/>
              <a:lstStyle/>
              <a:p>
                <a:endParaRPr lang="en-GB"/>
              </a:p>
            </p:txBody>
          </p:sp>
        </p:grpSp>
        <p:grpSp>
          <p:nvGrpSpPr>
            <p:cNvPr id="1037" name="Graphic 3">
              <a:extLst>
                <a:ext uri="{FF2B5EF4-FFF2-40B4-BE49-F238E27FC236}">
                  <a16:creationId xmlns:a16="http://schemas.microsoft.com/office/drawing/2014/main" id="{E4A091D9-8104-4BD6-9532-EE5032A27227}"/>
                </a:ext>
              </a:extLst>
            </p:cNvPr>
            <p:cNvGrpSpPr/>
            <p:nvPr/>
          </p:nvGrpSpPr>
          <p:grpSpPr>
            <a:xfrm>
              <a:off x="4148780" y="2665941"/>
              <a:ext cx="315615" cy="134670"/>
              <a:chOff x="4148780" y="2665941"/>
              <a:chExt cx="315615" cy="134670"/>
            </a:xfrm>
            <a:grpFill/>
          </p:grpSpPr>
          <p:sp>
            <p:nvSpPr>
              <p:cNvPr id="2289" name="Vrije vorm: vorm 2288">
                <a:extLst>
                  <a:ext uri="{FF2B5EF4-FFF2-40B4-BE49-F238E27FC236}">
                    <a16:creationId xmlns:a16="http://schemas.microsoft.com/office/drawing/2014/main" id="{0B6D7B19-1007-46CD-AAC3-3C57C39F8A14}"/>
                  </a:ext>
                </a:extLst>
              </p:cNvPr>
              <p:cNvSpPr/>
              <p:nvPr/>
            </p:nvSpPr>
            <p:spPr>
              <a:xfrm>
                <a:off x="4156980" y="2673542"/>
                <a:ext cx="299215" cy="119435"/>
              </a:xfrm>
              <a:custGeom>
                <a:avLst/>
                <a:gdLst>
                  <a:gd name="connsiteX0" fmla="*/ 299216 w 299215"/>
                  <a:gd name="connsiteY0" fmla="*/ 116564 h 119435"/>
                  <a:gd name="connsiteX1" fmla="*/ 298139 w 299215"/>
                  <a:gd name="connsiteY1" fmla="*/ 119435 h 119435"/>
                  <a:gd name="connsiteX2" fmla="*/ 0 w 299215"/>
                  <a:gd name="connsiteY2" fmla="*/ 2871 h 119435"/>
                  <a:gd name="connsiteX3" fmla="*/ 1076 w 299215"/>
                  <a:gd name="connsiteY3" fmla="*/ 0 h 119435"/>
                </a:gdLst>
                <a:ahLst/>
                <a:cxnLst>
                  <a:cxn ang="0">
                    <a:pos x="connsiteX0" y="connsiteY0"/>
                  </a:cxn>
                  <a:cxn ang="0">
                    <a:pos x="connsiteX1" y="connsiteY1"/>
                  </a:cxn>
                  <a:cxn ang="0">
                    <a:pos x="connsiteX2" y="connsiteY2"/>
                  </a:cxn>
                  <a:cxn ang="0">
                    <a:pos x="connsiteX3" y="connsiteY3"/>
                  </a:cxn>
                </a:cxnLst>
                <a:rect l="l" t="t" r="r" b="b"/>
                <a:pathLst>
                  <a:path w="299215" h="119435">
                    <a:moveTo>
                      <a:pt x="299216" y="116564"/>
                    </a:moveTo>
                    <a:lnTo>
                      <a:pt x="298139" y="119435"/>
                    </a:lnTo>
                    <a:lnTo>
                      <a:pt x="0" y="2871"/>
                    </a:lnTo>
                    <a:lnTo>
                      <a:pt x="1076" y="0"/>
                    </a:lnTo>
                    <a:close/>
                  </a:path>
                </a:pathLst>
              </a:custGeom>
              <a:grpFill/>
              <a:ln w="5978" cap="flat">
                <a:noFill/>
                <a:prstDash val="solid"/>
                <a:miter/>
              </a:ln>
            </p:spPr>
            <p:txBody>
              <a:bodyPr rtlCol="0" anchor="ctr"/>
              <a:lstStyle/>
              <a:p>
                <a:endParaRPr lang="en-GB"/>
              </a:p>
            </p:txBody>
          </p:sp>
          <p:sp>
            <p:nvSpPr>
              <p:cNvPr id="2290" name="Vrije vorm: vorm 2289">
                <a:extLst>
                  <a:ext uri="{FF2B5EF4-FFF2-40B4-BE49-F238E27FC236}">
                    <a16:creationId xmlns:a16="http://schemas.microsoft.com/office/drawing/2014/main" id="{EE2CC262-30D5-4955-A515-7F12D848F3D2}"/>
                  </a:ext>
                </a:extLst>
              </p:cNvPr>
              <p:cNvSpPr/>
              <p:nvPr/>
            </p:nvSpPr>
            <p:spPr>
              <a:xfrm>
                <a:off x="4148780" y="2665941"/>
                <a:ext cx="18313" cy="18404"/>
              </a:xfrm>
              <a:custGeom>
                <a:avLst/>
                <a:gdLst>
                  <a:gd name="connsiteX0" fmla="*/ 5867 w 18313"/>
                  <a:gd name="connsiteY0" fmla="*/ 17769 h 18404"/>
                  <a:gd name="connsiteX1" fmla="*/ 604 w 18313"/>
                  <a:gd name="connsiteY1" fmla="*/ 5867 h 18404"/>
                  <a:gd name="connsiteX2" fmla="*/ 12446 w 18313"/>
                  <a:gd name="connsiteY2" fmla="*/ 604 h 18404"/>
                  <a:gd name="connsiteX3" fmla="*/ 17709 w 18313"/>
                  <a:gd name="connsiteY3" fmla="*/ 12506 h 18404"/>
                  <a:gd name="connsiteX4" fmla="*/ 5867 w 18313"/>
                  <a:gd name="connsiteY4" fmla="*/ 1776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5867" y="17769"/>
                    </a:moveTo>
                    <a:cubicBezTo>
                      <a:pt x="1142" y="15915"/>
                      <a:pt x="-1190" y="10592"/>
                      <a:pt x="604" y="5867"/>
                    </a:cubicBezTo>
                    <a:cubicBezTo>
                      <a:pt x="2399" y="1142"/>
                      <a:pt x="7721" y="-1190"/>
                      <a:pt x="12446" y="604"/>
                    </a:cubicBezTo>
                    <a:cubicBezTo>
                      <a:pt x="17171" y="2458"/>
                      <a:pt x="19503" y="7781"/>
                      <a:pt x="17709" y="12506"/>
                    </a:cubicBezTo>
                    <a:cubicBezTo>
                      <a:pt x="15915" y="17290"/>
                      <a:pt x="10592" y="19623"/>
                      <a:pt x="5867" y="17769"/>
                    </a:cubicBezTo>
                    <a:close/>
                  </a:path>
                </a:pathLst>
              </a:custGeom>
              <a:grpFill/>
              <a:ln w="5978" cap="flat">
                <a:noFill/>
                <a:prstDash val="solid"/>
                <a:miter/>
              </a:ln>
            </p:spPr>
            <p:txBody>
              <a:bodyPr rtlCol="0" anchor="ctr"/>
              <a:lstStyle/>
              <a:p>
                <a:endParaRPr lang="en-GB"/>
              </a:p>
            </p:txBody>
          </p:sp>
          <p:sp>
            <p:nvSpPr>
              <p:cNvPr id="2291" name="Vrije vorm: vorm 2290">
                <a:extLst>
                  <a:ext uri="{FF2B5EF4-FFF2-40B4-BE49-F238E27FC236}">
                    <a16:creationId xmlns:a16="http://schemas.microsoft.com/office/drawing/2014/main" id="{83C324B2-9639-4BBF-9D40-AE62C9F8458E}"/>
                  </a:ext>
                </a:extLst>
              </p:cNvPr>
              <p:cNvSpPr/>
              <p:nvPr/>
            </p:nvSpPr>
            <p:spPr>
              <a:xfrm>
                <a:off x="4446082" y="2782174"/>
                <a:ext cx="18313" cy="18436"/>
              </a:xfrm>
              <a:custGeom>
                <a:avLst/>
                <a:gdLst>
                  <a:gd name="connsiteX0" fmla="*/ 5867 w 18313"/>
                  <a:gd name="connsiteY0" fmla="*/ 17801 h 18436"/>
                  <a:gd name="connsiteX1" fmla="*/ 17709 w 18313"/>
                  <a:gd name="connsiteY1" fmla="*/ 12538 h 18436"/>
                  <a:gd name="connsiteX2" fmla="*/ 12446 w 18313"/>
                  <a:gd name="connsiteY2" fmla="*/ 636 h 18436"/>
                  <a:gd name="connsiteX3" fmla="*/ 604 w 18313"/>
                  <a:gd name="connsiteY3" fmla="*/ 5899 h 18436"/>
                  <a:gd name="connsiteX4" fmla="*/ 5867 w 18313"/>
                  <a:gd name="connsiteY4" fmla="*/ 178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6">
                    <a:moveTo>
                      <a:pt x="5867" y="17801"/>
                    </a:moveTo>
                    <a:cubicBezTo>
                      <a:pt x="10592" y="19655"/>
                      <a:pt x="15915" y="17322"/>
                      <a:pt x="17709" y="12538"/>
                    </a:cubicBezTo>
                    <a:cubicBezTo>
                      <a:pt x="19503" y="7813"/>
                      <a:pt x="17171" y="2430"/>
                      <a:pt x="12446" y="636"/>
                    </a:cubicBezTo>
                    <a:cubicBezTo>
                      <a:pt x="7721" y="-1218"/>
                      <a:pt x="2398" y="1115"/>
                      <a:pt x="604" y="5899"/>
                    </a:cubicBezTo>
                    <a:cubicBezTo>
                      <a:pt x="-1190" y="10624"/>
                      <a:pt x="1143" y="15947"/>
                      <a:pt x="5867" y="17801"/>
                    </a:cubicBezTo>
                    <a:close/>
                  </a:path>
                </a:pathLst>
              </a:custGeom>
              <a:grpFill/>
              <a:ln w="5978" cap="flat">
                <a:noFill/>
                <a:prstDash val="solid"/>
                <a:miter/>
              </a:ln>
            </p:spPr>
            <p:txBody>
              <a:bodyPr rtlCol="0" anchor="ctr"/>
              <a:lstStyle/>
              <a:p>
                <a:endParaRPr lang="en-GB"/>
              </a:p>
            </p:txBody>
          </p:sp>
        </p:grpSp>
        <p:grpSp>
          <p:nvGrpSpPr>
            <p:cNvPr id="1038" name="Graphic 3">
              <a:extLst>
                <a:ext uri="{FF2B5EF4-FFF2-40B4-BE49-F238E27FC236}">
                  <a16:creationId xmlns:a16="http://schemas.microsoft.com/office/drawing/2014/main" id="{97B171AF-3BE5-4AAC-8100-1A974173EAF6}"/>
                </a:ext>
              </a:extLst>
            </p:cNvPr>
            <p:cNvGrpSpPr/>
            <p:nvPr/>
          </p:nvGrpSpPr>
          <p:grpSpPr>
            <a:xfrm>
              <a:off x="5157389" y="5298996"/>
              <a:ext cx="46742" cy="80905"/>
              <a:chOff x="5157389" y="5298996"/>
              <a:chExt cx="46742" cy="80905"/>
            </a:xfrm>
            <a:grpFill/>
          </p:grpSpPr>
          <p:sp>
            <p:nvSpPr>
              <p:cNvPr id="2286" name="Vrije vorm: vorm 2285">
                <a:extLst>
                  <a:ext uri="{FF2B5EF4-FFF2-40B4-BE49-F238E27FC236}">
                    <a16:creationId xmlns:a16="http://schemas.microsoft.com/office/drawing/2014/main" id="{C1EF241A-2EEB-436B-82C1-3B9297E40AEE}"/>
                  </a:ext>
                </a:extLst>
              </p:cNvPr>
              <p:cNvSpPr/>
              <p:nvPr/>
            </p:nvSpPr>
            <p:spPr>
              <a:xfrm>
                <a:off x="5164971" y="5307153"/>
                <a:ext cx="31578" cy="64592"/>
              </a:xfrm>
              <a:custGeom>
                <a:avLst/>
                <a:gdLst>
                  <a:gd name="connsiteX0" fmla="*/ 31578 w 31578"/>
                  <a:gd name="connsiteY0" fmla="*/ 1256 h 64592"/>
                  <a:gd name="connsiteX1" fmla="*/ 2811 w 31578"/>
                  <a:gd name="connsiteY1" fmla="*/ 64592 h 64592"/>
                  <a:gd name="connsiteX2" fmla="*/ 0 w 31578"/>
                  <a:gd name="connsiteY2" fmla="*/ 63336 h 64592"/>
                  <a:gd name="connsiteX3" fmla="*/ 28827 w 31578"/>
                  <a:gd name="connsiteY3" fmla="*/ 0 h 64592"/>
                </a:gdLst>
                <a:ahLst/>
                <a:cxnLst>
                  <a:cxn ang="0">
                    <a:pos x="connsiteX0" y="connsiteY0"/>
                  </a:cxn>
                  <a:cxn ang="0">
                    <a:pos x="connsiteX1" y="connsiteY1"/>
                  </a:cxn>
                  <a:cxn ang="0">
                    <a:pos x="connsiteX2" y="connsiteY2"/>
                  </a:cxn>
                  <a:cxn ang="0">
                    <a:pos x="connsiteX3" y="connsiteY3"/>
                  </a:cxn>
                </a:cxnLst>
                <a:rect l="l" t="t" r="r" b="b"/>
                <a:pathLst>
                  <a:path w="31578" h="64592">
                    <a:moveTo>
                      <a:pt x="31578" y="1256"/>
                    </a:moveTo>
                    <a:lnTo>
                      <a:pt x="2811" y="64592"/>
                    </a:lnTo>
                    <a:lnTo>
                      <a:pt x="0" y="63336"/>
                    </a:lnTo>
                    <a:lnTo>
                      <a:pt x="28827" y="0"/>
                    </a:lnTo>
                    <a:close/>
                  </a:path>
                </a:pathLst>
              </a:custGeom>
              <a:grpFill/>
              <a:ln w="5978" cap="flat">
                <a:noFill/>
                <a:prstDash val="solid"/>
                <a:miter/>
              </a:ln>
            </p:spPr>
            <p:txBody>
              <a:bodyPr rtlCol="0" anchor="ctr"/>
              <a:lstStyle/>
              <a:p>
                <a:endParaRPr lang="en-GB"/>
              </a:p>
            </p:txBody>
          </p:sp>
          <p:sp>
            <p:nvSpPr>
              <p:cNvPr id="2287" name="Vrije vorm: vorm 2286">
                <a:extLst>
                  <a:ext uri="{FF2B5EF4-FFF2-40B4-BE49-F238E27FC236}">
                    <a16:creationId xmlns:a16="http://schemas.microsoft.com/office/drawing/2014/main" id="{47922243-9B7A-46C3-A347-D30744B05021}"/>
                  </a:ext>
                </a:extLst>
              </p:cNvPr>
              <p:cNvSpPr/>
              <p:nvPr/>
            </p:nvSpPr>
            <p:spPr>
              <a:xfrm>
                <a:off x="5157389" y="5361495"/>
                <a:ext cx="18333" cy="18406"/>
              </a:xfrm>
              <a:custGeom>
                <a:avLst/>
                <a:gdLst>
                  <a:gd name="connsiteX0" fmla="*/ 17510 w 18333"/>
                  <a:gd name="connsiteY0" fmla="*/ 13061 h 18406"/>
                  <a:gd name="connsiteX1" fmla="*/ 5369 w 18333"/>
                  <a:gd name="connsiteY1" fmla="*/ 17546 h 18406"/>
                  <a:gd name="connsiteX2" fmla="*/ 824 w 18333"/>
                  <a:gd name="connsiteY2" fmla="*/ 5346 h 18406"/>
                  <a:gd name="connsiteX3" fmla="*/ 12965 w 18333"/>
                  <a:gd name="connsiteY3" fmla="*/ 860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5417" y="17666"/>
                      <a:pt x="9974" y="19699"/>
                      <a:pt x="5369" y="17546"/>
                    </a:cubicBezTo>
                    <a:cubicBezTo>
                      <a:pt x="764" y="15393"/>
                      <a:pt x="-1270" y="9951"/>
                      <a:pt x="824" y="5346"/>
                    </a:cubicBezTo>
                    <a:cubicBezTo>
                      <a:pt x="2917" y="741"/>
                      <a:pt x="8360" y="-1293"/>
                      <a:pt x="12965" y="860"/>
                    </a:cubicBezTo>
                    <a:cubicBezTo>
                      <a:pt x="17570" y="2953"/>
                      <a:pt x="19603" y="8456"/>
                      <a:pt x="17510" y="13061"/>
                    </a:cubicBezTo>
                    <a:close/>
                  </a:path>
                </a:pathLst>
              </a:custGeom>
              <a:grpFill/>
              <a:ln w="5978" cap="flat">
                <a:noFill/>
                <a:prstDash val="solid"/>
                <a:miter/>
              </a:ln>
            </p:spPr>
            <p:txBody>
              <a:bodyPr rtlCol="0" anchor="ctr"/>
              <a:lstStyle/>
              <a:p>
                <a:endParaRPr lang="en-GB"/>
              </a:p>
            </p:txBody>
          </p:sp>
          <p:sp>
            <p:nvSpPr>
              <p:cNvPr id="2288" name="Vrije vorm: vorm 2287">
                <a:extLst>
                  <a:ext uri="{FF2B5EF4-FFF2-40B4-BE49-F238E27FC236}">
                    <a16:creationId xmlns:a16="http://schemas.microsoft.com/office/drawing/2014/main" id="{C2F30DB6-09F7-4427-A2BF-74E0FECE4896}"/>
                  </a:ext>
                </a:extLst>
              </p:cNvPr>
              <p:cNvSpPr/>
              <p:nvPr/>
            </p:nvSpPr>
            <p:spPr>
              <a:xfrm>
                <a:off x="5185797" y="5298996"/>
                <a:ext cx="18333" cy="18406"/>
              </a:xfrm>
              <a:custGeom>
                <a:avLst/>
                <a:gdLst>
                  <a:gd name="connsiteX0" fmla="*/ 17510 w 18333"/>
                  <a:gd name="connsiteY0" fmla="*/ 13061 h 18406"/>
                  <a:gd name="connsiteX1" fmla="*/ 12965 w 18333"/>
                  <a:gd name="connsiteY1" fmla="*/ 860 h 18406"/>
                  <a:gd name="connsiteX2" fmla="*/ 824 w 18333"/>
                  <a:gd name="connsiteY2" fmla="*/ 5346 h 18406"/>
                  <a:gd name="connsiteX3" fmla="*/ 5369 w 18333"/>
                  <a:gd name="connsiteY3" fmla="*/ 17546 h 18406"/>
                  <a:gd name="connsiteX4" fmla="*/ 17510 w 18333"/>
                  <a:gd name="connsiteY4" fmla="*/ 13061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06">
                    <a:moveTo>
                      <a:pt x="17510" y="13061"/>
                    </a:moveTo>
                    <a:cubicBezTo>
                      <a:pt x="19603" y="8456"/>
                      <a:pt x="17570" y="2953"/>
                      <a:pt x="12965" y="860"/>
                    </a:cubicBezTo>
                    <a:cubicBezTo>
                      <a:pt x="8360" y="-1293"/>
                      <a:pt x="2917" y="740"/>
                      <a:pt x="824" y="5346"/>
                    </a:cubicBezTo>
                    <a:cubicBezTo>
                      <a:pt x="-1270" y="9951"/>
                      <a:pt x="764" y="15453"/>
                      <a:pt x="5369" y="17546"/>
                    </a:cubicBezTo>
                    <a:cubicBezTo>
                      <a:pt x="9974" y="19699"/>
                      <a:pt x="15417" y="17666"/>
                      <a:pt x="17510" y="13061"/>
                    </a:cubicBezTo>
                    <a:close/>
                  </a:path>
                </a:pathLst>
              </a:custGeom>
              <a:grpFill/>
              <a:ln w="5978" cap="flat">
                <a:noFill/>
                <a:prstDash val="solid"/>
                <a:miter/>
              </a:ln>
            </p:spPr>
            <p:txBody>
              <a:bodyPr rtlCol="0" anchor="ctr"/>
              <a:lstStyle/>
              <a:p>
                <a:endParaRPr lang="en-GB"/>
              </a:p>
            </p:txBody>
          </p:sp>
        </p:grpSp>
        <p:grpSp>
          <p:nvGrpSpPr>
            <p:cNvPr id="1039" name="Graphic 3">
              <a:extLst>
                <a:ext uri="{FF2B5EF4-FFF2-40B4-BE49-F238E27FC236}">
                  <a16:creationId xmlns:a16="http://schemas.microsoft.com/office/drawing/2014/main" id="{B3FB4507-DBDD-43DE-8094-BA60C17CB4A1}"/>
                </a:ext>
              </a:extLst>
            </p:cNvPr>
            <p:cNvGrpSpPr/>
            <p:nvPr/>
          </p:nvGrpSpPr>
          <p:grpSpPr>
            <a:xfrm>
              <a:off x="4244749" y="2817410"/>
              <a:ext cx="199752" cy="77865"/>
              <a:chOff x="4244749" y="2817410"/>
              <a:chExt cx="199752" cy="77865"/>
            </a:xfrm>
            <a:grpFill/>
          </p:grpSpPr>
          <p:sp>
            <p:nvSpPr>
              <p:cNvPr id="2283" name="Vrije vorm: vorm 2282">
                <a:extLst>
                  <a:ext uri="{FF2B5EF4-FFF2-40B4-BE49-F238E27FC236}">
                    <a16:creationId xmlns:a16="http://schemas.microsoft.com/office/drawing/2014/main" id="{3CAE193C-AB55-4499-8F34-48CACE8D2E5F}"/>
                  </a:ext>
                </a:extLst>
              </p:cNvPr>
              <p:cNvSpPr/>
              <p:nvPr/>
            </p:nvSpPr>
            <p:spPr>
              <a:xfrm>
                <a:off x="4253030" y="2825034"/>
                <a:ext cx="183189" cy="62618"/>
              </a:xfrm>
              <a:custGeom>
                <a:avLst/>
                <a:gdLst>
                  <a:gd name="connsiteX0" fmla="*/ 183190 w 183189"/>
                  <a:gd name="connsiteY0" fmla="*/ 59748 h 62618"/>
                  <a:gd name="connsiteX1" fmla="*/ 182233 w 183189"/>
                  <a:gd name="connsiteY1" fmla="*/ 62618 h 62618"/>
                  <a:gd name="connsiteX2" fmla="*/ 0 w 183189"/>
                  <a:gd name="connsiteY2" fmla="*/ 2871 h 62618"/>
                  <a:gd name="connsiteX3" fmla="*/ 957 w 183189"/>
                  <a:gd name="connsiteY3" fmla="*/ 0 h 62618"/>
                </a:gdLst>
                <a:ahLst/>
                <a:cxnLst>
                  <a:cxn ang="0">
                    <a:pos x="connsiteX0" y="connsiteY0"/>
                  </a:cxn>
                  <a:cxn ang="0">
                    <a:pos x="connsiteX1" y="connsiteY1"/>
                  </a:cxn>
                  <a:cxn ang="0">
                    <a:pos x="connsiteX2" y="connsiteY2"/>
                  </a:cxn>
                  <a:cxn ang="0">
                    <a:pos x="connsiteX3" y="connsiteY3"/>
                  </a:cxn>
                </a:cxnLst>
                <a:rect l="l" t="t" r="r" b="b"/>
                <a:pathLst>
                  <a:path w="183189" h="62618">
                    <a:moveTo>
                      <a:pt x="183190" y="59748"/>
                    </a:moveTo>
                    <a:lnTo>
                      <a:pt x="182233" y="62618"/>
                    </a:lnTo>
                    <a:lnTo>
                      <a:pt x="0" y="2871"/>
                    </a:lnTo>
                    <a:lnTo>
                      <a:pt x="957" y="0"/>
                    </a:lnTo>
                    <a:close/>
                  </a:path>
                </a:pathLst>
              </a:custGeom>
              <a:grpFill/>
              <a:ln w="5978" cap="flat">
                <a:noFill/>
                <a:prstDash val="solid"/>
                <a:miter/>
              </a:ln>
            </p:spPr>
            <p:txBody>
              <a:bodyPr rtlCol="0" anchor="ctr"/>
              <a:lstStyle/>
              <a:p>
                <a:endParaRPr lang="en-GB"/>
              </a:p>
            </p:txBody>
          </p:sp>
          <p:sp>
            <p:nvSpPr>
              <p:cNvPr id="2284" name="Vrije vorm: vorm 2283">
                <a:extLst>
                  <a:ext uri="{FF2B5EF4-FFF2-40B4-BE49-F238E27FC236}">
                    <a16:creationId xmlns:a16="http://schemas.microsoft.com/office/drawing/2014/main" id="{391DFF89-FCCF-4BE5-A830-0CDF0DC6A526}"/>
                  </a:ext>
                </a:extLst>
              </p:cNvPr>
              <p:cNvSpPr/>
              <p:nvPr/>
            </p:nvSpPr>
            <p:spPr>
              <a:xfrm>
                <a:off x="4244749" y="2817410"/>
                <a:ext cx="18357" cy="18416"/>
              </a:xfrm>
              <a:custGeom>
                <a:avLst/>
                <a:gdLst>
                  <a:gd name="connsiteX0" fmla="*/ 6368 w 18357"/>
                  <a:gd name="connsiteY0" fmla="*/ 17970 h 18416"/>
                  <a:gd name="connsiteX1" fmla="*/ 447 w 18357"/>
                  <a:gd name="connsiteY1" fmla="*/ 6368 h 18416"/>
                  <a:gd name="connsiteX2" fmla="*/ 11990 w 18357"/>
                  <a:gd name="connsiteY2" fmla="*/ 447 h 18416"/>
                  <a:gd name="connsiteX3" fmla="*/ 17911 w 18357"/>
                  <a:gd name="connsiteY3" fmla="*/ 12049 h 18416"/>
                  <a:gd name="connsiteX4" fmla="*/ 6368 w 18357"/>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6368" y="17970"/>
                    </a:moveTo>
                    <a:cubicBezTo>
                      <a:pt x="1523" y="16415"/>
                      <a:pt x="-1108" y="11212"/>
                      <a:pt x="447" y="6368"/>
                    </a:cubicBezTo>
                    <a:cubicBezTo>
                      <a:pt x="2002" y="1523"/>
                      <a:pt x="7145" y="-1108"/>
                      <a:pt x="11990" y="447"/>
                    </a:cubicBezTo>
                    <a:cubicBezTo>
                      <a:pt x="16834" y="2002"/>
                      <a:pt x="19465" y="7205"/>
                      <a:pt x="17911" y="12049"/>
                    </a:cubicBezTo>
                    <a:cubicBezTo>
                      <a:pt x="16356" y="16894"/>
                      <a:pt x="11212" y="19525"/>
                      <a:pt x="6368" y="17970"/>
                    </a:cubicBezTo>
                    <a:close/>
                  </a:path>
                </a:pathLst>
              </a:custGeom>
              <a:grpFill/>
              <a:ln w="5978" cap="flat">
                <a:noFill/>
                <a:prstDash val="solid"/>
                <a:miter/>
              </a:ln>
            </p:spPr>
            <p:txBody>
              <a:bodyPr rtlCol="0" anchor="ctr"/>
              <a:lstStyle/>
              <a:p>
                <a:endParaRPr lang="en-GB"/>
              </a:p>
            </p:txBody>
          </p:sp>
          <p:sp>
            <p:nvSpPr>
              <p:cNvPr id="2285" name="Vrije vorm: vorm 2284">
                <a:extLst>
                  <a:ext uri="{FF2B5EF4-FFF2-40B4-BE49-F238E27FC236}">
                    <a16:creationId xmlns:a16="http://schemas.microsoft.com/office/drawing/2014/main" id="{43E7FB7B-7A01-41AF-ADC3-C9CCCC9CFA6F}"/>
                  </a:ext>
                </a:extLst>
              </p:cNvPr>
              <p:cNvSpPr/>
              <p:nvPr/>
            </p:nvSpPr>
            <p:spPr>
              <a:xfrm>
                <a:off x="4426144" y="2876859"/>
                <a:ext cx="18357" cy="18416"/>
              </a:xfrm>
              <a:custGeom>
                <a:avLst/>
                <a:gdLst>
                  <a:gd name="connsiteX0" fmla="*/ 6368 w 18357"/>
                  <a:gd name="connsiteY0" fmla="*/ 17970 h 18416"/>
                  <a:gd name="connsiteX1" fmla="*/ 17910 w 18357"/>
                  <a:gd name="connsiteY1" fmla="*/ 12049 h 18416"/>
                  <a:gd name="connsiteX2" fmla="*/ 11990 w 18357"/>
                  <a:gd name="connsiteY2" fmla="*/ 447 h 18416"/>
                  <a:gd name="connsiteX3" fmla="*/ 447 w 18357"/>
                  <a:gd name="connsiteY3" fmla="*/ 6368 h 18416"/>
                  <a:gd name="connsiteX4" fmla="*/ 6368 w 18357"/>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6368" y="17970"/>
                    </a:moveTo>
                    <a:cubicBezTo>
                      <a:pt x="11212" y="19525"/>
                      <a:pt x="16355" y="16894"/>
                      <a:pt x="17910" y="12049"/>
                    </a:cubicBezTo>
                    <a:cubicBezTo>
                      <a:pt x="19465" y="7205"/>
                      <a:pt x="16834" y="2002"/>
                      <a:pt x="11990" y="447"/>
                    </a:cubicBezTo>
                    <a:cubicBezTo>
                      <a:pt x="7145" y="-1108"/>
                      <a:pt x="2002" y="1523"/>
                      <a:pt x="447" y="6368"/>
                    </a:cubicBezTo>
                    <a:cubicBezTo>
                      <a:pt x="-1108" y="11212"/>
                      <a:pt x="1523" y="16415"/>
                      <a:pt x="6368" y="17970"/>
                    </a:cubicBezTo>
                    <a:close/>
                  </a:path>
                </a:pathLst>
              </a:custGeom>
              <a:grpFill/>
              <a:ln w="5978" cap="flat">
                <a:noFill/>
                <a:prstDash val="solid"/>
                <a:miter/>
              </a:ln>
            </p:spPr>
            <p:txBody>
              <a:bodyPr rtlCol="0" anchor="ctr"/>
              <a:lstStyle/>
              <a:p>
                <a:endParaRPr lang="en-GB"/>
              </a:p>
            </p:txBody>
          </p:sp>
        </p:grpSp>
        <p:grpSp>
          <p:nvGrpSpPr>
            <p:cNvPr id="1040" name="Graphic 3">
              <a:extLst>
                <a:ext uri="{FF2B5EF4-FFF2-40B4-BE49-F238E27FC236}">
                  <a16:creationId xmlns:a16="http://schemas.microsoft.com/office/drawing/2014/main" id="{81ABC24A-0DAA-4ED3-9E84-B93CAC8B0182}"/>
                </a:ext>
              </a:extLst>
            </p:cNvPr>
            <p:cNvGrpSpPr/>
            <p:nvPr/>
          </p:nvGrpSpPr>
          <p:grpSpPr>
            <a:xfrm>
              <a:off x="4952234" y="4782561"/>
              <a:ext cx="144141" cy="197050"/>
              <a:chOff x="4952234" y="4782561"/>
              <a:chExt cx="144141" cy="197050"/>
            </a:xfrm>
            <a:grpFill/>
          </p:grpSpPr>
          <p:sp>
            <p:nvSpPr>
              <p:cNvPr id="2280" name="Vrije vorm: vorm 2279">
                <a:extLst>
                  <a:ext uri="{FF2B5EF4-FFF2-40B4-BE49-F238E27FC236}">
                    <a16:creationId xmlns:a16="http://schemas.microsoft.com/office/drawing/2014/main" id="{5532A701-8FBF-44A9-A522-4903A5CC9EB3}"/>
                  </a:ext>
                </a:extLst>
              </p:cNvPr>
              <p:cNvSpPr/>
              <p:nvPr/>
            </p:nvSpPr>
            <p:spPr>
              <a:xfrm>
                <a:off x="4959952" y="4790538"/>
                <a:ext cx="128765" cy="181156"/>
              </a:xfrm>
              <a:custGeom>
                <a:avLst/>
                <a:gdLst>
                  <a:gd name="connsiteX0" fmla="*/ 128765 w 128765"/>
                  <a:gd name="connsiteY0" fmla="*/ 1735 h 181156"/>
                  <a:gd name="connsiteX1" fmla="*/ 2452 w 128765"/>
                  <a:gd name="connsiteY1" fmla="*/ 181156 h 181156"/>
                  <a:gd name="connsiteX2" fmla="*/ 0 w 128765"/>
                  <a:gd name="connsiteY2" fmla="*/ 179422 h 181156"/>
                  <a:gd name="connsiteX3" fmla="*/ 126313 w 128765"/>
                  <a:gd name="connsiteY3" fmla="*/ 0 h 181156"/>
                </a:gdLst>
                <a:ahLst/>
                <a:cxnLst>
                  <a:cxn ang="0">
                    <a:pos x="connsiteX0" y="connsiteY0"/>
                  </a:cxn>
                  <a:cxn ang="0">
                    <a:pos x="connsiteX1" y="connsiteY1"/>
                  </a:cxn>
                  <a:cxn ang="0">
                    <a:pos x="connsiteX2" y="connsiteY2"/>
                  </a:cxn>
                  <a:cxn ang="0">
                    <a:pos x="connsiteX3" y="connsiteY3"/>
                  </a:cxn>
                </a:cxnLst>
                <a:rect l="l" t="t" r="r" b="b"/>
                <a:pathLst>
                  <a:path w="128765" h="181156">
                    <a:moveTo>
                      <a:pt x="128765" y="1735"/>
                    </a:moveTo>
                    <a:lnTo>
                      <a:pt x="2452" y="181156"/>
                    </a:lnTo>
                    <a:lnTo>
                      <a:pt x="0" y="179422"/>
                    </a:lnTo>
                    <a:lnTo>
                      <a:pt x="126313" y="0"/>
                    </a:lnTo>
                    <a:close/>
                  </a:path>
                </a:pathLst>
              </a:custGeom>
              <a:grpFill/>
              <a:ln w="5978" cap="flat">
                <a:noFill/>
                <a:prstDash val="solid"/>
                <a:miter/>
              </a:ln>
            </p:spPr>
            <p:txBody>
              <a:bodyPr rtlCol="0" anchor="ctr"/>
              <a:lstStyle/>
              <a:p>
                <a:endParaRPr lang="en-GB"/>
              </a:p>
            </p:txBody>
          </p:sp>
          <p:sp>
            <p:nvSpPr>
              <p:cNvPr id="2281" name="Vrije vorm: vorm 2280">
                <a:extLst>
                  <a:ext uri="{FF2B5EF4-FFF2-40B4-BE49-F238E27FC236}">
                    <a16:creationId xmlns:a16="http://schemas.microsoft.com/office/drawing/2014/main" id="{50A631A8-0E57-45EA-9225-E9510DD2FA7D}"/>
                  </a:ext>
                </a:extLst>
              </p:cNvPr>
              <p:cNvSpPr/>
              <p:nvPr/>
            </p:nvSpPr>
            <p:spPr>
              <a:xfrm>
                <a:off x="4952234" y="4961205"/>
                <a:ext cx="18366" cy="18406"/>
              </a:xfrm>
              <a:custGeom>
                <a:avLst/>
                <a:gdLst>
                  <a:gd name="connsiteX0" fmla="*/ 16689 w 18366"/>
                  <a:gd name="connsiteY0" fmla="*/ 14556 h 18406"/>
                  <a:gd name="connsiteX1" fmla="*/ 3890 w 18366"/>
                  <a:gd name="connsiteY1" fmla="*/ 16709 h 18406"/>
                  <a:gd name="connsiteX2" fmla="*/ 1677 w 18366"/>
                  <a:gd name="connsiteY2" fmla="*/ 3851 h 18406"/>
                  <a:gd name="connsiteX3" fmla="*/ 14476 w 18366"/>
                  <a:gd name="connsiteY3" fmla="*/ 1697 h 18406"/>
                  <a:gd name="connsiteX4" fmla="*/ 16689 w 18366"/>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6689" y="14556"/>
                    </a:moveTo>
                    <a:cubicBezTo>
                      <a:pt x="13759" y="18683"/>
                      <a:pt x="8077" y="19640"/>
                      <a:pt x="3890" y="16709"/>
                    </a:cubicBezTo>
                    <a:cubicBezTo>
                      <a:pt x="-237" y="13779"/>
                      <a:pt x="-1253" y="7977"/>
                      <a:pt x="1677" y="3851"/>
                    </a:cubicBezTo>
                    <a:cubicBezTo>
                      <a:pt x="4608" y="-276"/>
                      <a:pt x="10290" y="-1233"/>
                      <a:pt x="14476" y="1697"/>
                    </a:cubicBezTo>
                    <a:cubicBezTo>
                      <a:pt x="18603" y="4688"/>
                      <a:pt x="19620" y="10429"/>
                      <a:pt x="16689" y="14556"/>
                    </a:cubicBezTo>
                    <a:close/>
                  </a:path>
                </a:pathLst>
              </a:custGeom>
              <a:grpFill/>
              <a:ln w="5978" cap="flat">
                <a:noFill/>
                <a:prstDash val="solid"/>
                <a:miter/>
              </a:ln>
            </p:spPr>
            <p:txBody>
              <a:bodyPr rtlCol="0" anchor="ctr"/>
              <a:lstStyle/>
              <a:p>
                <a:endParaRPr lang="en-GB"/>
              </a:p>
            </p:txBody>
          </p:sp>
          <p:sp>
            <p:nvSpPr>
              <p:cNvPr id="2282" name="Vrije vorm: vorm 2281">
                <a:extLst>
                  <a:ext uri="{FF2B5EF4-FFF2-40B4-BE49-F238E27FC236}">
                    <a16:creationId xmlns:a16="http://schemas.microsoft.com/office/drawing/2014/main" id="{5C638883-405F-44D4-BCA6-06EA10627C95}"/>
                  </a:ext>
                </a:extLst>
              </p:cNvPr>
              <p:cNvSpPr/>
              <p:nvPr/>
            </p:nvSpPr>
            <p:spPr>
              <a:xfrm>
                <a:off x="5078009" y="4782561"/>
                <a:ext cx="18366" cy="18432"/>
              </a:xfrm>
              <a:custGeom>
                <a:avLst/>
                <a:gdLst>
                  <a:gd name="connsiteX0" fmla="*/ 16689 w 18366"/>
                  <a:gd name="connsiteY0" fmla="*/ 14556 h 18432"/>
                  <a:gd name="connsiteX1" fmla="*/ 14476 w 18366"/>
                  <a:gd name="connsiteY1" fmla="*/ 1697 h 18432"/>
                  <a:gd name="connsiteX2" fmla="*/ 1677 w 18366"/>
                  <a:gd name="connsiteY2" fmla="*/ 3850 h 18432"/>
                  <a:gd name="connsiteX3" fmla="*/ 3890 w 18366"/>
                  <a:gd name="connsiteY3" fmla="*/ 16709 h 18432"/>
                  <a:gd name="connsiteX4" fmla="*/ 16689 w 18366"/>
                  <a:gd name="connsiteY4" fmla="*/ 1455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32">
                    <a:moveTo>
                      <a:pt x="16689" y="14556"/>
                    </a:moveTo>
                    <a:cubicBezTo>
                      <a:pt x="19620" y="10429"/>
                      <a:pt x="18603" y="4688"/>
                      <a:pt x="14476" y="1697"/>
                    </a:cubicBezTo>
                    <a:cubicBezTo>
                      <a:pt x="10349" y="-1233"/>
                      <a:pt x="4608" y="-276"/>
                      <a:pt x="1677" y="3850"/>
                    </a:cubicBezTo>
                    <a:cubicBezTo>
                      <a:pt x="-1253" y="7977"/>
                      <a:pt x="-237" y="13719"/>
                      <a:pt x="3890" y="16709"/>
                    </a:cubicBezTo>
                    <a:cubicBezTo>
                      <a:pt x="8077" y="19700"/>
                      <a:pt x="13758" y="18683"/>
                      <a:pt x="16689" y="14556"/>
                    </a:cubicBezTo>
                    <a:close/>
                  </a:path>
                </a:pathLst>
              </a:custGeom>
              <a:grpFill/>
              <a:ln w="5978" cap="flat">
                <a:noFill/>
                <a:prstDash val="solid"/>
                <a:miter/>
              </a:ln>
            </p:spPr>
            <p:txBody>
              <a:bodyPr rtlCol="0" anchor="ctr"/>
              <a:lstStyle/>
              <a:p>
                <a:endParaRPr lang="en-GB"/>
              </a:p>
            </p:txBody>
          </p:sp>
        </p:grpSp>
        <p:grpSp>
          <p:nvGrpSpPr>
            <p:cNvPr id="1041" name="Graphic 3">
              <a:extLst>
                <a:ext uri="{FF2B5EF4-FFF2-40B4-BE49-F238E27FC236}">
                  <a16:creationId xmlns:a16="http://schemas.microsoft.com/office/drawing/2014/main" id="{85CC762C-06D7-4AC5-AEEC-826F66DBE8AB}"/>
                </a:ext>
              </a:extLst>
            </p:cNvPr>
            <p:cNvGrpSpPr/>
            <p:nvPr/>
          </p:nvGrpSpPr>
          <p:grpSpPr>
            <a:xfrm>
              <a:off x="4052409" y="2541722"/>
              <a:ext cx="435778" cy="233199"/>
              <a:chOff x="4052409" y="2541722"/>
              <a:chExt cx="435778" cy="233199"/>
            </a:xfrm>
            <a:grpFill/>
          </p:grpSpPr>
          <p:sp>
            <p:nvSpPr>
              <p:cNvPr id="2277" name="Vrije vorm: vorm 2276">
                <a:extLst>
                  <a:ext uri="{FF2B5EF4-FFF2-40B4-BE49-F238E27FC236}">
                    <a16:creationId xmlns:a16="http://schemas.microsoft.com/office/drawing/2014/main" id="{44BFB2DA-8EF8-4C14-8AF6-37DD3A537F39}"/>
                  </a:ext>
                </a:extLst>
              </p:cNvPr>
              <p:cNvSpPr/>
              <p:nvPr/>
            </p:nvSpPr>
            <p:spPr>
              <a:xfrm>
                <a:off x="4060451" y="2549382"/>
                <a:ext cx="419667" cy="217877"/>
              </a:xfrm>
              <a:custGeom>
                <a:avLst/>
                <a:gdLst>
                  <a:gd name="connsiteX0" fmla="*/ 419668 w 419667"/>
                  <a:gd name="connsiteY0" fmla="*/ 215127 h 217877"/>
                  <a:gd name="connsiteX1" fmla="*/ 418292 w 419667"/>
                  <a:gd name="connsiteY1" fmla="*/ 217878 h 217877"/>
                  <a:gd name="connsiteX2" fmla="*/ 0 w 419667"/>
                  <a:gd name="connsiteY2" fmla="*/ 2751 h 217877"/>
                  <a:gd name="connsiteX3" fmla="*/ 1376 w 419667"/>
                  <a:gd name="connsiteY3" fmla="*/ 0 h 217877"/>
                </a:gdLst>
                <a:ahLst/>
                <a:cxnLst>
                  <a:cxn ang="0">
                    <a:pos x="connsiteX0" y="connsiteY0"/>
                  </a:cxn>
                  <a:cxn ang="0">
                    <a:pos x="connsiteX1" y="connsiteY1"/>
                  </a:cxn>
                  <a:cxn ang="0">
                    <a:pos x="connsiteX2" y="connsiteY2"/>
                  </a:cxn>
                  <a:cxn ang="0">
                    <a:pos x="connsiteX3" y="connsiteY3"/>
                  </a:cxn>
                </a:cxnLst>
                <a:rect l="l" t="t" r="r" b="b"/>
                <a:pathLst>
                  <a:path w="419667" h="217877">
                    <a:moveTo>
                      <a:pt x="419668" y="215127"/>
                    </a:moveTo>
                    <a:lnTo>
                      <a:pt x="418292" y="217878"/>
                    </a:lnTo>
                    <a:lnTo>
                      <a:pt x="0" y="2751"/>
                    </a:lnTo>
                    <a:lnTo>
                      <a:pt x="1376" y="0"/>
                    </a:lnTo>
                    <a:close/>
                  </a:path>
                </a:pathLst>
              </a:custGeom>
              <a:grpFill/>
              <a:ln w="5978" cap="flat">
                <a:noFill/>
                <a:prstDash val="solid"/>
                <a:miter/>
              </a:ln>
            </p:spPr>
            <p:txBody>
              <a:bodyPr rtlCol="0" anchor="ctr"/>
              <a:lstStyle/>
              <a:p>
                <a:endParaRPr lang="en-GB"/>
              </a:p>
            </p:txBody>
          </p:sp>
          <p:sp>
            <p:nvSpPr>
              <p:cNvPr id="2278" name="Vrije vorm: vorm 2277">
                <a:extLst>
                  <a:ext uri="{FF2B5EF4-FFF2-40B4-BE49-F238E27FC236}">
                    <a16:creationId xmlns:a16="http://schemas.microsoft.com/office/drawing/2014/main" id="{BA292FDE-6803-490D-AC56-082EDFD52933}"/>
                  </a:ext>
                </a:extLst>
              </p:cNvPr>
              <p:cNvSpPr/>
              <p:nvPr/>
            </p:nvSpPr>
            <p:spPr>
              <a:xfrm>
                <a:off x="4469837" y="2756489"/>
                <a:ext cx="18349" cy="18431"/>
              </a:xfrm>
              <a:custGeom>
                <a:avLst/>
                <a:gdLst>
                  <a:gd name="connsiteX0" fmla="*/ 13332 w 18349"/>
                  <a:gd name="connsiteY0" fmla="*/ 1022 h 18431"/>
                  <a:gd name="connsiteX1" fmla="*/ 17338 w 18349"/>
                  <a:gd name="connsiteY1" fmla="*/ 13402 h 18431"/>
                  <a:gd name="connsiteX2" fmla="*/ 5018 w 18349"/>
                  <a:gd name="connsiteY2" fmla="*/ 17409 h 18431"/>
                  <a:gd name="connsiteX3" fmla="*/ 1011 w 18349"/>
                  <a:gd name="connsiteY3" fmla="*/ 5029 h 18431"/>
                  <a:gd name="connsiteX4" fmla="*/ 13332 w 18349"/>
                  <a:gd name="connsiteY4" fmla="*/ 1022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1">
                    <a:moveTo>
                      <a:pt x="13332" y="1022"/>
                    </a:moveTo>
                    <a:cubicBezTo>
                      <a:pt x="17817" y="3355"/>
                      <a:pt x="19671" y="8917"/>
                      <a:pt x="17338" y="13402"/>
                    </a:cubicBezTo>
                    <a:cubicBezTo>
                      <a:pt x="15066" y="17948"/>
                      <a:pt x="9504" y="19742"/>
                      <a:pt x="5018" y="17409"/>
                    </a:cubicBezTo>
                    <a:cubicBezTo>
                      <a:pt x="533" y="15077"/>
                      <a:pt x="-1321" y="9515"/>
                      <a:pt x="1011" y="5029"/>
                    </a:cubicBezTo>
                    <a:cubicBezTo>
                      <a:pt x="3284" y="484"/>
                      <a:pt x="8846" y="-1310"/>
                      <a:pt x="13332" y="1022"/>
                    </a:cubicBezTo>
                    <a:close/>
                  </a:path>
                </a:pathLst>
              </a:custGeom>
              <a:grpFill/>
              <a:ln w="5978" cap="flat">
                <a:noFill/>
                <a:prstDash val="solid"/>
                <a:miter/>
              </a:ln>
            </p:spPr>
            <p:txBody>
              <a:bodyPr rtlCol="0" anchor="ctr"/>
              <a:lstStyle/>
              <a:p>
                <a:endParaRPr lang="en-GB"/>
              </a:p>
            </p:txBody>
          </p:sp>
          <p:sp>
            <p:nvSpPr>
              <p:cNvPr id="2279" name="Vrije vorm: vorm 2278">
                <a:extLst>
                  <a:ext uri="{FF2B5EF4-FFF2-40B4-BE49-F238E27FC236}">
                    <a16:creationId xmlns:a16="http://schemas.microsoft.com/office/drawing/2014/main" id="{E8211B4A-6BAF-47E3-A67F-107655E5680D}"/>
                  </a:ext>
                </a:extLst>
              </p:cNvPr>
              <p:cNvSpPr/>
              <p:nvPr/>
            </p:nvSpPr>
            <p:spPr>
              <a:xfrm>
                <a:off x="4052409" y="2541722"/>
                <a:ext cx="18297" cy="18405"/>
              </a:xfrm>
              <a:custGeom>
                <a:avLst/>
                <a:gdLst>
                  <a:gd name="connsiteX0" fmla="*/ 13305 w 18297"/>
                  <a:gd name="connsiteY0" fmla="*/ 1022 h 18405"/>
                  <a:gd name="connsiteX1" fmla="*/ 985 w 18297"/>
                  <a:gd name="connsiteY1" fmla="*/ 5029 h 18405"/>
                  <a:gd name="connsiteX2" fmla="*/ 4992 w 18297"/>
                  <a:gd name="connsiteY2" fmla="*/ 17409 h 18405"/>
                  <a:gd name="connsiteX3" fmla="*/ 17312 w 18297"/>
                  <a:gd name="connsiteY3" fmla="*/ 13402 h 18405"/>
                  <a:gd name="connsiteX4" fmla="*/ 13305 w 18297"/>
                  <a:gd name="connsiteY4" fmla="*/ 102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5">
                    <a:moveTo>
                      <a:pt x="13305" y="1022"/>
                    </a:moveTo>
                    <a:cubicBezTo>
                      <a:pt x="8820" y="-1310"/>
                      <a:pt x="3258" y="484"/>
                      <a:pt x="985" y="5029"/>
                    </a:cubicBezTo>
                    <a:cubicBezTo>
                      <a:pt x="-1288" y="9575"/>
                      <a:pt x="507" y="15137"/>
                      <a:pt x="4992" y="17409"/>
                    </a:cubicBezTo>
                    <a:cubicBezTo>
                      <a:pt x="9478" y="19682"/>
                      <a:pt x="15040" y="17948"/>
                      <a:pt x="17312" y="13402"/>
                    </a:cubicBezTo>
                    <a:cubicBezTo>
                      <a:pt x="19585" y="8917"/>
                      <a:pt x="17791" y="3355"/>
                      <a:pt x="13305" y="1022"/>
                    </a:cubicBezTo>
                    <a:close/>
                  </a:path>
                </a:pathLst>
              </a:custGeom>
              <a:grpFill/>
              <a:ln w="5978" cap="flat">
                <a:noFill/>
                <a:prstDash val="solid"/>
                <a:miter/>
              </a:ln>
            </p:spPr>
            <p:txBody>
              <a:bodyPr rtlCol="0" anchor="ctr"/>
              <a:lstStyle/>
              <a:p>
                <a:endParaRPr lang="en-GB"/>
              </a:p>
            </p:txBody>
          </p:sp>
        </p:grpSp>
        <p:grpSp>
          <p:nvGrpSpPr>
            <p:cNvPr id="1042" name="Graphic 3">
              <a:extLst>
                <a:ext uri="{FF2B5EF4-FFF2-40B4-BE49-F238E27FC236}">
                  <a16:creationId xmlns:a16="http://schemas.microsoft.com/office/drawing/2014/main" id="{3247DED1-9D3D-407A-9E44-A91D2EE7F290}"/>
                </a:ext>
              </a:extLst>
            </p:cNvPr>
            <p:cNvGrpSpPr/>
            <p:nvPr/>
          </p:nvGrpSpPr>
          <p:grpSpPr>
            <a:xfrm>
              <a:off x="5015716" y="4962286"/>
              <a:ext cx="119387" cy="187533"/>
              <a:chOff x="5015716" y="4962286"/>
              <a:chExt cx="119387" cy="187533"/>
            </a:xfrm>
            <a:grpFill/>
          </p:grpSpPr>
          <p:sp>
            <p:nvSpPr>
              <p:cNvPr id="2274" name="Vrije vorm: vorm 2273">
                <a:extLst>
                  <a:ext uri="{FF2B5EF4-FFF2-40B4-BE49-F238E27FC236}">
                    <a16:creationId xmlns:a16="http://schemas.microsoft.com/office/drawing/2014/main" id="{B4A4904B-28A6-4834-8D64-12563E5D6475}"/>
                  </a:ext>
                </a:extLst>
              </p:cNvPr>
              <p:cNvSpPr/>
              <p:nvPr/>
            </p:nvSpPr>
            <p:spPr>
              <a:xfrm>
                <a:off x="5023347" y="4970318"/>
                <a:ext cx="104124" cy="171467"/>
              </a:xfrm>
              <a:custGeom>
                <a:avLst/>
                <a:gdLst>
                  <a:gd name="connsiteX0" fmla="*/ 104125 w 104124"/>
                  <a:gd name="connsiteY0" fmla="*/ 1615 h 171467"/>
                  <a:gd name="connsiteX1" fmla="*/ 2572 w 104124"/>
                  <a:gd name="connsiteY1" fmla="*/ 171468 h 171467"/>
                  <a:gd name="connsiteX2" fmla="*/ 0 w 104124"/>
                  <a:gd name="connsiteY2" fmla="*/ 169913 h 171467"/>
                  <a:gd name="connsiteX3" fmla="*/ 101553 w 104124"/>
                  <a:gd name="connsiteY3" fmla="*/ 0 h 171467"/>
                </a:gdLst>
                <a:ahLst/>
                <a:cxnLst>
                  <a:cxn ang="0">
                    <a:pos x="connsiteX0" y="connsiteY0"/>
                  </a:cxn>
                  <a:cxn ang="0">
                    <a:pos x="connsiteX1" y="connsiteY1"/>
                  </a:cxn>
                  <a:cxn ang="0">
                    <a:pos x="connsiteX2" y="connsiteY2"/>
                  </a:cxn>
                  <a:cxn ang="0">
                    <a:pos x="connsiteX3" y="connsiteY3"/>
                  </a:cxn>
                </a:cxnLst>
                <a:rect l="l" t="t" r="r" b="b"/>
                <a:pathLst>
                  <a:path w="104124" h="171467">
                    <a:moveTo>
                      <a:pt x="104125" y="1615"/>
                    </a:moveTo>
                    <a:lnTo>
                      <a:pt x="2572" y="171468"/>
                    </a:lnTo>
                    <a:lnTo>
                      <a:pt x="0" y="169913"/>
                    </a:lnTo>
                    <a:lnTo>
                      <a:pt x="101553" y="0"/>
                    </a:lnTo>
                    <a:close/>
                  </a:path>
                </a:pathLst>
              </a:custGeom>
              <a:grpFill/>
              <a:ln w="5978" cap="flat">
                <a:noFill/>
                <a:prstDash val="solid"/>
                <a:miter/>
              </a:ln>
            </p:spPr>
            <p:txBody>
              <a:bodyPr rtlCol="0" anchor="ctr"/>
              <a:lstStyle/>
              <a:p>
                <a:endParaRPr lang="en-GB"/>
              </a:p>
            </p:txBody>
          </p:sp>
          <p:sp>
            <p:nvSpPr>
              <p:cNvPr id="2275" name="Vrije vorm: vorm 2274">
                <a:extLst>
                  <a:ext uri="{FF2B5EF4-FFF2-40B4-BE49-F238E27FC236}">
                    <a16:creationId xmlns:a16="http://schemas.microsoft.com/office/drawing/2014/main" id="{4BC846C2-DDB5-47C5-B3B1-98CD6A156FC2}"/>
                  </a:ext>
                </a:extLst>
              </p:cNvPr>
              <p:cNvSpPr/>
              <p:nvPr/>
            </p:nvSpPr>
            <p:spPr>
              <a:xfrm>
                <a:off x="5015716" y="5131361"/>
                <a:ext cx="18312" cy="18458"/>
              </a:xfrm>
              <a:custGeom>
                <a:avLst/>
                <a:gdLst>
                  <a:gd name="connsiteX0" fmla="*/ 17021 w 18312"/>
                  <a:gd name="connsiteY0" fmla="*/ 14014 h 18458"/>
                  <a:gd name="connsiteX1" fmla="*/ 4462 w 18312"/>
                  <a:gd name="connsiteY1" fmla="*/ 17124 h 18458"/>
                  <a:gd name="connsiteX2" fmla="*/ 1292 w 18312"/>
                  <a:gd name="connsiteY2" fmla="*/ 4445 h 18458"/>
                  <a:gd name="connsiteX3" fmla="*/ 13851 w 18312"/>
                  <a:gd name="connsiteY3" fmla="*/ 1335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4449" y="18380"/>
                      <a:pt x="8768" y="19755"/>
                      <a:pt x="4462" y="17124"/>
                    </a:cubicBezTo>
                    <a:cubicBezTo>
                      <a:pt x="96" y="14492"/>
                      <a:pt x="-1280" y="8811"/>
                      <a:pt x="1292" y="4445"/>
                    </a:cubicBezTo>
                    <a:cubicBezTo>
                      <a:pt x="3864" y="79"/>
                      <a:pt x="9545" y="-1297"/>
                      <a:pt x="13851" y="1335"/>
                    </a:cubicBezTo>
                    <a:cubicBezTo>
                      <a:pt x="18217" y="4026"/>
                      <a:pt x="19593" y="9708"/>
                      <a:pt x="17021" y="14014"/>
                    </a:cubicBezTo>
                    <a:close/>
                  </a:path>
                </a:pathLst>
              </a:custGeom>
              <a:grpFill/>
              <a:ln w="5978" cap="flat">
                <a:noFill/>
                <a:prstDash val="solid"/>
                <a:miter/>
              </a:ln>
            </p:spPr>
            <p:txBody>
              <a:bodyPr rtlCol="0" anchor="ctr"/>
              <a:lstStyle/>
              <a:p>
                <a:endParaRPr lang="en-GB"/>
              </a:p>
            </p:txBody>
          </p:sp>
          <p:sp>
            <p:nvSpPr>
              <p:cNvPr id="2276" name="Vrije vorm: vorm 2275">
                <a:extLst>
                  <a:ext uri="{FF2B5EF4-FFF2-40B4-BE49-F238E27FC236}">
                    <a16:creationId xmlns:a16="http://schemas.microsoft.com/office/drawing/2014/main" id="{B44B3B59-5C55-406D-BCC4-D025A0BDEB0D}"/>
                  </a:ext>
                </a:extLst>
              </p:cNvPr>
              <p:cNvSpPr/>
              <p:nvPr/>
            </p:nvSpPr>
            <p:spPr>
              <a:xfrm>
                <a:off x="5116790" y="4962286"/>
                <a:ext cx="18312" cy="18458"/>
              </a:xfrm>
              <a:custGeom>
                <a:avLst/>
                <a:gdLst>
                  <a:gd name="connsiteX0" fmla="*/ 17021 w 18312"/>
                  <a:gd name="connsiteY0" fmla="*/ 14014 h 18458"/>
                  <a:gd name="connsiteX1" fmla="*/ 13851 w 18312"/>
                  <a:gd name="connsiteY1" fmla="*/ 1335 h 18458"/>
                  <a:gd name="connsiteX2" fmla="*/ 1292 w 18312"/>
                  <a:gd name="connsiteY2" fmla="*/ 4445 h 18458"/>
                  <a:gd name="connsiteX3" fmla="*/ 4462 w 18312"/>
                  <a:gd name="connsiteY3" fmla="*/ 17124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9593" y="9648"/>
                      <a:pt x="18217" y="3966"/>
                      <a:pt x="13851" y="1335"/>
                    </a:cubicBezTo>
                    <a:cubicBezTo>
                      <a:pt x="9485" y="-1297"/>
                      <a:pt x="3863" y="79"/>
                      <a:pt x="1292" y="4445"/>
                    </a:cubicBezTo>
                    <a:cubicBezTo>
                      <a:pt x="-1280" y="8810"/>
                      <a:pt x="96" y="14492"/>
                      <a:pt x="4462" y="17124"/>
                    </a:cubicBezTo>
                    <a:cubicBezTo>
                      <a:pt x="8768" y="19755"/>
                      <a:pt x="14449" y="18380"/>
                      <a:pt x="17021" y="14014"/>
                    </a:cubicBezTo>
                    <a:close/>
                  </a:path>
                </a:pathLst>
              </a:custGeom>
              <a:grpFill/>
              <a:ln w="5978" cap="flat">
                <a:noFill/>
                <a:prstDash val="solid"/>
                <a:miter/>
              </a:ln>
            </p:spPr>
            <p:txBody>
              <a:bodyPr rtlCol="0" anchor="ctr"/>
              <a:lstStyle/>
              <a:p>
                <a:endParaRPr lang="en-GB"/>
              </a:p>
            </p:txBody>
          </p:sp>
        </p:grpSp>
        <p:grpSp>
          <p:nvGrpSpPr>
            <p:cNvPr id="1043" name="Graphic 3">
              <a:extLst>
                <a:ext uri="{FF2B5EF4-FFF2-40B4-BE49-F238E27FC236}">
                  <a16:creationId xmlns:a16="http://schemas.microsoft.com/office/drawing/2014/main" id="{773606AE-8F80-49A5-9714-1326A2B8D1F6}"/>
                </a:ext>
              </a:extLst>
            </p:cNvPr>
            <p:cNvGrpSpPr/>
            <p:nvPr/>
          </p:nvGrpSpPr>
          <p:grpSpPr>
            <a:xfrm>
              <a:off x="4022196" y="2141296"/>
              <a:ext cx="169150" cy="112779"/>
              <a:chOff x="4022196" y="2141296"/>
              <a:chExt cx="169150" cy="112779"/>
            </a:xfrm>
            <a:grpFill/>
          </p:grpSpPr>
          <p:sp>
            <p:nvSpPr>
              <p:cNvPr id="2271" name="Vrije vorm: vorm 2270">
                <a:extLst>
                  <a:ext uri="{FF2B5EF4-FFF2-40B4-BE49-F238E27FC236}">
                    <a16:creationId xmlns:a16="http://schemas.microsoft.com/office/drawing/2014/main" id="{967E8489-26C3-488F-8A56-9C03093A5620}"/>
                  </a:ext>
                </a:extLst>
              </p:cNvPr>
              <p:cNvSpPr/>
              <p:nvPr/>
            </p:nvSpPr>
            <p:spPr>
              <a:xfrm>
                <a:off x="4030188" y="2148913"/>
                <a:ext cx="153226" cy="97485"/>
              </a:xfrm>
              <a:custGeom>
                <a:avLst/>
                <a:gdLst>
                  <a:gd name="connsiteX0" fmla="*/ 153226 w 153226"/>
                  <a:gd name="connsiteY0" fmla="*/ 94914 h 97485"/>
                  <a:gd name="connsiteX1" fmla="*/ 151612 w 153226"/>
                  <a:gd name="connsiteY1" fmla="*/ 97486 h 97485"/>
                  <a:gd name="connsiteX2" fmla="*/ 0 w 153226"/>
                  <a:gd name="connsiteY2" fmla="*/ 2572 h 97485"/>
                  <a:gd name="connsiteX3" fmla="*/ 1615 w 153226"/>
                  <a:gd name="connsiteY3" fmla="*/ 0 h 97485"/>
                </a:gdLst>
                <a:ahLst/>
                <a:cxnLst>
                  <a:cxn ang="0">
                    <a:pos x="connsiteX0" y="connsiteY0"/>
                  </a:cxn>
                  <a:cxn ang="0">
                    <a:pos x="connsiteX1" y="connsiteY1"/>
                  </a:cxn>
                  <a:cxn ang="0">
                    <a:pos x="connsiteX2" y="connsiteY2"/>
                  </a:cxn>
                  <a:cxn ang="0">
                    <a:pos x="connsiteX3" y="connsiteY3"/>
                  </a:cxn>
                </a:cxnLst>
                <a:rect l="l" t="t" r="r" b="b"/>
                <a:pathLst>
                  <a:path w="153226" h="97485">
                    <a:moveTo>
                      <a:pt x="153226" y="94914"/>
                    </a:moveTo>
                    <a:lnTo>
                      <a:pt x="151612" y="97486"/>
                    </a:lnTo>
                    <a:lnTo>
                      <a:pt x="0" y="2572"/>
                    </a:lnTo>
                    <a:lnTo>
                      <a:pt x="1615" y="0"/>
                    </a:lnTo>
                    <a:close/>
                  </a:path>
                </a:pathLst>
              </a:custGeom>
              <a:grpFill/>
              <a:ln w="5978" cap="flat">
                <a:noFill/>
                <a:prstDash val="solid"/>
                <a:miter/>
              </a:ln>
            </p:spPr>
            <p:txBody>
              <a:bodyPr rtlCol="0" anchor="ctr"/>
              <a:lstStyle/>
              <a:p>
                <a:endParaRPr lang="en-GB"/>
              </a:p>
            </p:txBody>
          </p:sp>
          <p:sp>
            <p:nvSpPr>
              <p:cNvPr id="2272" name="Vrije vorm: vorm 2271">
                <a:extLst>
                  <a:ext uri="{FF2B5EF4-FFF2-40B4-BE49-F238E27FC236}">
                    <a16:creationId xmlns:a16="http://schemas.microsoft.com/office/drawing/2014/main" id="{F8E2BA97-70F0-4F9C-8F87-5341A13F9152}"/>
                  </a:ext>
                </a:extLst>
              </p:cNvPr>
              <p:cNvSpPr/>
              <p:nvPr/>
            </p:nvSpPr>
            <p:spPr>
              <a:xfrm>
                <a:off x="4022196" y="2141296"/>
                <a:ext cx="18316" cy="18403"/>
              </a:xfrm>
              <a:custGeom>
                <a:avLst/>
                <a:gdLst>
                  <a:gd name="connsiteX0" fmla="*/ 4344 w 18316"/>
                  <a:gd name="connsiteY0" fmla="*/ 17007 h 18403"/>
                  <a:gd name="connsiteX1" fmla="*/ 1354 w 18316"/>
                  <a:gd name="connsiteY1" fmla="*/ 4327 h 18403"/>
                  <a:gd name="connsiteX2" fmla="*/ 13973 w 18316"/>
                  <a:gd name="connsiteY2" fmla="*/ 1397 h 18403"/>
                  <a:gd name="connsiteX3" fmla="*/ 16963 w 18316"/>
                  <a:gd name="connsiteY3" fmla="*/ 14076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38" y="14315"/>
                      <a:pt x="-1278" y="8634"/>
                      <a:pt x="1354" y="4327"/>
                    </a:cubicBezTo>
                    <a:cubicBezTo>
                      <a:pt x="4045" y="21"/>
                      <a:pt x="9667" y="-1294"/>
                      <a:pt x="13973" y="1397"/>
                    </a:cubicBezTo>
                    <a:cubicBezTo>
                      <a:pt x="18279" y="4088"/>
                      <a:pt x="19595" y="9770"/>
                      <a:pt x="16963" y="14076"/>
                    </a:cubicBezTo>
                    <a:cubicBezTo>
                      <a:pt x="14332" y="18382"/>
                      <a:pt x="8650" y="19698"/>
                      <a:pt x="4344" y="17007"/>
                    </a:cubicBezTo>
                    <a:close/>
                  </a:path>
                </a:pathLst>
              </a:custGeom>
              <a:grpFill/>
              <a:ln w="5978" cap="flat">
                <a:noFill/>
                <a:prstDash val="solid"/>
                <a:miter/>
              </a:ln>
            </p:spPr>
            <p:txBody>
              <a:bodyPr rtlCol="0" anchor="ctr"/>
              <a:lstStyle/>
              <a:p>
                <a:endParaRPr lang="en-GB"/>
              </a:p>
            </p:txBody>
          </p:sp>
          <p:sp>
            <p:nvSpPr>
              <p:cNvPr id="2273" name="Vrije vorm: vorm 2272">
                <a:extLst>
                  <a:ext uri="{FF2B5EF4-FFF2-40B4-BE49-F238E27FC236}">
                    <a16:creationId xmlns:a16="http://schemas.microsoft.com/office/drawing/2014/main" id="{7A949B4F-43F0-423D-8128-619B66BD6DE8}"/>
                  </a:ext>
                </a:extLst>
              </p:cNvPr>
              <p:cNvSpPr/>
              <p:nvPr/>
            </p:nvSpPr>
            <p:spPr>
              <a:xfrm>
                <a:off x="4173030" y="2235672"/>
                <a:ext cx="18316" cy="18403"/>
              </a:xfrm>
              <a:custGeom>
                <a:avLst/>
                <a:gdLst>
                  <a:gd name="connsiteX0" fmla="*/ 4344 w 18316"/>
                  <a:gd name="connsiteY0" fmla="*/ 17007 h 18403"/>
                  <a:gd name="connsiteX1" fmla="*/ 16963 w 18316"/>
                  <a:gd name="connsiteY1" fmla="*/ 14076 h 18403"/>
                  <a:gd name="connsiteX2" fmla="*/ 13973 w 18316"/>
                  <a:gd name="connsiteY2" fmla="*/ 1397 h 18403"/>
                  <a:gd name="connsiteX3" fmla="*/ 1354 w 18316"/>
                  <a:gd name="connsiteY3" fmla="*/ 4327 h 18403"/>
                  <a:gd name="connsiteX4" fmla="*/ 4344 w 18316"/>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3">
                    <a:moveTo>
                      <a:pt x="4344" y="17007"/>
                    </a:moveTo>
                    <a:cubicBezTo>
                      <a:pt x="8650" y="19698"/>
                      <a:pt x="14272" y="18382"/>
                      <a:pt x="16963" y="14076"/>
                    </a:cubicBezTo>
                    <a:cubicBezTo>
                      <a:pt x="19595" y="9770"/>
                      <a:pt x="18279" y="4088"/>
                      <a:pt x="13973" y="1397"/>
                    </a:cubicBezTo>
                    <a:cubicBezTo>
                      <a:pt x="9667" y="-1294"/>
                      <a:pt x="4045" y="21"/>
                      <a:pt x="1354" y="4327"/>
                    </a:cubicBezTo>
                    <a:cubicBezTo>
                      <a:pt x="-1278" y="8634"/>
                      <a:pt x="38" y="14315"/>
                      <a:pt x="4344" y="17007"/>
                    </a:cubicBezTo>
                    <a:close/>
                  </a:path>
                </a:pathLst>
              </a:custGeom>
              <a:grpFill/>
              <a:ln w="5978" cap="flat">
                <a:noFill/>
                <a:prstDash val="solid"/>
                <a:miter/>
              </a:ln>
            </p:spPr>
            <p:txBody>
              <a:bodyPr rtlCol="0" anchor="ctr"/>
              <a:lstStyle/>
              <a:p>
                <a:endParaRPr lang="en-GB"/>
              </a:p>
            </p:txBody>
          </p:sp>
        </p:grpSp>
        <p:grpSp>
          <p:nvGrpSpPr>
            <p:cNvPr id="1044" name="Graphic 3">
              <a:extLst>
                <a:ext uri="{FF2B5EF4-FFF2-40B4-BE49-F238E27FC236}">
                  <a16:creationId xmlns:a16="http://schemas.microsoft.com/office/drawing/2014/main" id="{1AF52AED-495B-4B7C-908F-653B4BE1CAB6}"/>
                </a:ext>
              </a:extLst>
            </p:cNvPr>
            <p:cNvGrpSpPr/>
            <p:nvPr/>
          </p:nvGrpSpPr>
          <p:grpSpPr>
            <a:xfrm>
              <a:off x="4930353" y="4858200"/>
              <a:ext cx="302492" cy="435509"/>
              <a:chOff x="4930353" y="4858200"/>
              <a:chExt cx="302492" cy="435509"/>
            </a:xfrm>
            <a:grpFill/>
          </p:grpSpPr>
          <p:sp>
            <p:nvSpPr>
              <p:cNvPr id="2268" name="Vrije vorm: vorm 2267">
                <a:extLst>
                  <a:ext uri="{FF2B5EF4-FFF2-40B4-BE49-F238E27FC236}">
                    <a16:creationId xmlns:a16="http://schemas.microsoft.com/office/drawing/2014/main" id="{95E713A8-D2F5-48E5-BEAF-37979952FA82}"/>
                  </a:ext>
                </a:extLst>
              </p:cNvPr>
              <p:cNvSpPr/>
              <p:nvPr/>
            </p:nvSpPr>
            <p:spPr>
              <a:xfrm>
                <a:off x="4938003" y="4866134"/>
                <a:ext cx="287194" cy="419607"/>
              </a:xfrm>
              <a:custGeom>
                <a:avLst/>
                <a:gdLst>
                  <a:gd name="connsiteX0" fmla="*/ 287194 w 287194"/>
                  <a:gd name="connsiteY0" fmla="*/ 1735 h 419607"/>
                  <a:gd name="connsiteX1" fmla="*/ 2512 w 287194"/>
                  <a:gd name="connsiteY1" fmla="*/ 419608 h 419607"/>
                  <a:gd name="connsiteX2" fmla="*/ 0 w 287194"/>
                  <a:gd name="connsiteY2" fmla="*/ 417873 h 419607"/>
                  <a:gd name="connsiteX3" fmla="*/ 284682 w 287194"/>
                  <a:gd name="connsiteY3" fmla="*/ 0 h 419607"/>
                </a:gdLst>
                <a:ahLst/>
                <a:cxnLst>
                  <a:cxn ang="0">
                    <a:pos x="connsiteX0" y="connsiteY0"/>
                  </a:cxn>
                  <a:cxn ang="0">
                    <a:pos x="connsiteX1" y="connsiteY1"/>
                  </a:cxn>
                  <a:cxn ang="0">
                    <a:pos x="connsiteX2" y="connsiteY2"/>
                  </a:cxn>
                  <a:cxn ang="0">
                    <a:pos x="connsiteX3" y="connsiteY3"/>
                  </a:cxn>
                </a:cxnLst>
                <a:rect l="l" t="t" r="r" b="b"/>
                <a:pathLst>
                  <a:path w="287194" h="419607">
                    <a:moveTo>
                      <a:pt x="287194" y="1735"/>
                    </a:moveTo>
                    <a:lnTo>
                      <a:pt x="2512" y="419608"/>
                    </a:lnTo>
                    <a:lnTo>
                      <a:pt x="0" y="417873"/>
                    </a:lnTo>
                    <a:lnTo>
                      <a:pt x="284682" y="0"/>
                    </a:lnTo>
                    <a:close/>
                  </a:path>
                </a:pathLst>
              </a:custGeom>
              <a:grpFill/>
              <a:ln w="5978" cap="flat">
                <a:noFill/>
                <a:prstDash val="solid"/>
                <a:miter/>
              </a:ln>
            </p:spPr>
            <p:txBody>
              <a:bodyPr rtlCol="0" anchor="ctr"/>
              <a:lstStyle/>
              <a:p>
                <a:endParaRPr lang="en-GB"/>
              </a:p>
            </p:txBody>
          </p:sp>
          <p:sp>
            <p:nvSpPr>
              <p:cNvPr id="2269" name="Vrije vorm: vorm 2268">
                <a:extLst>
                  <a:ext uri="{FF2B5EF4-FFF2-40B4-BE49-F238E27FC236}">
                    <a16:creationId xmlns:a16="http://schemas.microsoft.com/office/drawing/2014/main" id="{D0779A63-D76F-403B-A434-8342C5BF9CFF}"/>
                  </a:ext>
                </a:extLst>
              </p:cNvPr>
              <p:cNvSpPr/>
              <p:nvPr/>
            </p:nvSpPr>
            <p:spPr>
              <a:xfrm>
                <a:off x="5214540" y="4858200"/>
                <a:ext cx="18306" cy="18439"/>
              </a:xfrm>
              <a:custGeom>
                <a:avLst/>
                <a:gdLst>
                  <a:gd name="connsiteX0" fmla="*/ 1567 w 18306"/>
                  <a:gd name="connsiteY0" fmla="*/ 3987 h 18439"/>
                  <a:gd name="connsiteX1" fmla="*/ 14306 w 18306"/>
                  <a:gd name="connsiteY1" fmla="*/ 1654 h 18439"/>
                  <a:gd name="connsiteX2" fmla="*/ 16698 w 18306"/>
                  <a:gd name="connsiteY2" fmla="*/ 14453 h 18439"/>
                  <a:gd name="connsiteX3" fmla="*/ 3959 w 18306"/>
                  <a:gd name="connsiteY3" fmla="*/ 16785 h 18439"/>
                  <a:gd name="connsiteX4" fmla="*/ 1567 w 18306"/>
                  <a:gd name="connsiteY4" fmla="*/ 3987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39">
                    <a:moveTo>
                      <a:pt x="1567" y="3987"/>
                    </a:moveTo>
                    <a:cubicBezTo>
                      <a:pt x="4437" y="-200"/>
                      <a:pt x="10119" y="-1276"/>
                      <a:pt x="14306" y="1654"/>
                    </a:cubicBezTo>
                    <a:cubicBezTo>
                      <a:pt x="18492" y="4525"/>
                      <a:pt x="19569" y="10266"/>
                      <a:pt x="16698" y="14453"/>
                    </a:cubicBezTo>
                    <a:cubicBezTo>
                      <a:pt x="13827" y="18640"/>
                      <a:pt x="8145" y="19716"/>
                      <a:pt x="3959" y="16785"/>
                    </a:cubicBezTo>
                    <a:cubicBezTo>
                      <a:pt x="-168" y="13915"/>
                      <a:pt x="-1245" y="8173"/>
                      <a:pt x="1567" y="3987"/>
                    </a:cubicBezTo>
                    <a:close/>
                  </a:path>
                </a:pathLst>
              </a:custGeom>
              <a:grpFill/>
              <a:ln w="5978" cap="flat">
                <a:noFill/>
                <a:prstDash val="solid"/>
                <a:miter/>
              </a:ln>
            </p:spPr>
            <p:txBody>
              <a:bodyPr rtlCol="0" anchor="ctr"/>
              <a:lstStyle/>
              <a:p>
                <a:endParaRPr lang="en-GB"/>
              </a:p>
            </p:txBody>
          </p:sp>
          <p:sp>
            <p:nvSpPr>
              <p:cNvPr id="2270" name="Vrije vorm: vorm 2269">
                <a:extLst>
                  <a:ext uri="{FF2B5EF4-FFF2-40B4-BE49-F238E27FC236}">
                    <a16:creationId xmlns:a16="http://schemas.microsoft.com/office/drawing/2014/main" id="{33DE6B5A-9611-46CC-93D8-F96DE28E576D}"/>
                  </a:ext>
                </a:extLst>
              </p:cNvPr>
              <p:cNvSpPr/>
              <p:nvPr/>
            </p:nvSpPr>
            <p:spPr>
              <a:xfrm>
                <a:off x="4930353" y="5275296"/>
                <a:ext cx="18348" cy="18413"/>
              </a:xfrm>
              <a:custGeom>
                <a:avLst/>
                <a:gdLst>
                  <a:gd name="connsiteX0" fmla="*/ 1609 w 18348"/>
                  <a:gd name="connsiteY0" fmla="*/ 3987 h 18413"/>
                  <a:gd name="connsiteX1" fmla="*/ 4001 w 18348"/>
                  <a:gd name="connsiteY1" fmla="*/ 16786 h 18413"/>
                  <a:gd name="connsiteX2" fmla="*/ 16740 w 18348"/>
                  <a:gd name="connsiteY2" fmla="*/ 14453 h 18413"/>
                  <a:gd name="connsiteX3" fmla="*/ 14348 w 18348"/>
                  <a:gd name="connsiteY3" fmla="*/ 1654 h 18413"/>
                  <a:gd name="connsiteX4" fmla="*/ 1609 w 18348"/>
                  <a:gd name="connsiteY4" fmla="*/ 3987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13">
                    <a:moveTo>
                      <a:pt x="1609" y="3987"/>
                    </a:moveTo>
                    <a:cubicBezTo>
                      <a:pt x="-1262" y="8173"/>
                      <a:pt x="-186" y="13915"/>
                      <a:pt x="4001" y="16786"/>
                    </a:cubicBezTo>
                    <a:cubicBezTo>
                      <a:pt x="8187" y="19656"/>
                      <a:pt x="13869" y="18640"/>
                      <a:pt x="16740" y="14453"/>
                    </a:cubicBezTo>
                    <a:cubicBezTo>
                      <a:pt x="19611" y="10266"/>
                      <a:pt x="18534" y="4525"/>
                      <a:pt x="14348" y="1654"/>
                    </a:cubicBezTo>
                    <a:cubicBezTo>
                      <a:pt x="10161" y="-1276"/>
                      <a:pt x="4419" y="-200"/>
                      <a:pt x="1609" y="3987"/>
                    </a:cubicBezTo>
                    <a:close/>
                  </a:path>
                </a:pathLst>
              </a:custGeom>
              <a:grpFill/>
              <a:ln w="5978" cap="flat">
                <a:noFill/>
                <a:prstDash val="solid"/>
                <a:miter/>
              </a:ln>
            </p:spPr>
            <p:txBody>
              <a:bodyPr rtlCol="0" anchor="ctr"/>
              <a:lstStyle/>
              <a:p>
                <a:endParaRPr lang="en-GB"/>
              </a:p>
            </p:txBody>
          </p:sp>
        </p:grpSp>
        <p:grpSp>
          <p:nvGrpSpPr>
            <p:cNvPr id="1045" name="Graphic 3">
              <a:extLst>
                <a:ext uri="{FF2B5EF4-FFF2-40B4-BE49-F238E27FC236}">
                  <a16:creationId xmlns:a16="http://schemas.microsoft.com/office/drawing/2014/main" id="{40BF1BA6-5919-4A52-A2B2-461156499368}"/>
                </a:ext>
              </a:extLst>
            </p:cNvPr>
            <p:cNvGrpSpPr/>
            <p:nvPr/>
          </p:nvGrpSpPr>
          <p:grpSpPr>
            <a:xfrm>
              <a:off x="4244609" y="2854410"/>
              <a:ext cx="190860" cy="71387"/>
              <a:chOff x="4244609" y="2854410"/>
              <a:chExt cx="190860" cy="71387"/>
            </a:xfrm>
            <a:grpFill/>
          </p:grpSpPr>
          <p:sp>
            <p:nvSpPr>
              <p:cNvPr id="2265" name="Vrije vorm: vorm 2264">
                <a:extLst>
                  <a:ext uri="{FF2B5EF4-FFF2-40B4-BE49-F238E27FC236}">
                    <a16:creationId xmlns:a16="http://schemas.microsoft.com/office/drawing/2014/main" id="{3B469961-FDE5-44F1-AA60-D1EBBCD2D042}"/>
                  </a:ext>
                </a:extLst>
              </p:cNvPr>
              <p:cNvSpPr/>
              <p:nvPr/>
            </p:nvSpPr>
            <p:spPr>
              <a:xfrm>
                <a:off x="4252911" y="2861995"/>
                <a:ext cx="174218" cy="56218"/>
              </a:xfrm>
              <a:custGeom>
                <a:avLst/>
                <a:gdLst>
                  <a:gd name="connsiteX0" fmla="*/ 174218 w 174218"/>
                  <a:gd name="connsiteY0" fmla="*/ 53288 h 56218"/>
                  <a:gd name="connsiteX1" fmla="*/ 173381 w 174218"/>
                  <a:gd name="connsiteY1" fmla="*/ 56219 h 56218"/>
                  <a:gd name="connsiteX2" fmla="*/ 0 w 174218"/>
                  <a:gd name="connsiteY2" fmla="*/ 2930 h 56218"/>
                  <a:gd name="connsiteX3" fmla="*/ 837 w 174218"/>
                  <a:gd name="connsiteY3" fmla="*/ 0 h 56218"/>
                </a:gdLst>
                <a:ahLst/>
                <a:cxnLst>
                  <a:cxn ang="0">
                    <a:pos x="connsiteX0" y="connsiteY0"/>
                  </a:cxn>
                  <a:cxn ang="0">
                    <a:pos x="connsiteX1" y="connsiteY1"/>
                  </a:cxn>
                  <a:cxn ang="0">
                    <a:pos x="connsiteX2" y="connsiteY2"/>
                  </a:cxn>
                  <a:cxn ang="0">
                    <a:pos x="connsiteX3" y="connsiteY3"/>
                  </a:cxn>
                </a:cxnLst>
                <a:rect l="l" t="t" r="r" b="b"/>
                <a:pathLst>
                  <a:path w="174218" h="56218">
                    <a:moveTo>
                      <a:pt x="174218" y="53288"/>
                    </a:moveTo>
                    <a:lnTo>
                      <a:pt x="173381" y="56219"/>
                    </a:lnTo>
                    <a:lnTo>
                      <a:pt x="0" y="2930"/>
                    </a:lnTo>
                    <a:lnTo>
                      <a:pt x="837" y="0"/>
                    </a:lnTo>
                    <a:close/>
                  </a:path>
                </a:pathLst>
              </a:custGeom>
              <a:grpFill/>
              <a:ln w="5978" cap="flat">
                <a:noFill/>
                <a:prstDash val="solid"/>
                <a:miter/>
              </a:ln>
            </p:spPr>
            <p:txBody>
              <a:bodyPr rtlCol="0" anchor="ctr"/>
              <a:lstStyle/>
              <a:p>
                <a:endParaRPr lang="en-GB"/>
              </a:p>
            </p:txBody>
          </p:sp>
          <p:sp>
            <p:nvSpPr>
              <p:cNvPr id="2266" name="Vrije vorm: vorm 2265">
                <a:extLst>
                  <a:ext uri="{FF2B5EF4-FFF2-40B4-BE49-F238E27FC236}">
                    <a16:creationId xmlns:a16="http://schemas.microsoft.com/office/drawing/2014/main" id="{EA551F34-4AAA-4CA0-9412-F16430516C20}"/>
                  </a:ext>
                </a:extLst>
              </p:cNvPr>
              <p:cNvSpPr/>
              <p:nvPr/>
            </p:nvSpPr>
            <p:spPr>
              <a:xfrm>
                <a:off x="4244609" y="2854410"/>
                <a:ext cx="18338" cy="18398"/>
              </a:xfrm>
              <a:custGeom>
                <a:avLst/>
                <a:gdLst>
                  <a:gd name="connsiteX0" fmla="*/ 6508 w 18338"/>
                  <a:gd name="connsiteY0" fmla="*/ 17991 h 18398"/>
                  <a:gd name="connsiteX1" fmla="*/ 407 w 18338"/>
                  <a:gd name="connsiteY1" fmla="*/ 6508 h 18398"/>
                  <a:gd name="connsiteX2" fmla="*/ 11831 w 18338"/>
                  <a:gd name="connsiteY2" fmla="*/ 407 h 18398"/>
                  <a:gd name="connsiteX3" fmla="*/ 17931 w 18338"/>
                  <a:gd name="connsiteY3" fmla="*/ 11890 h 18398"/>
                  <a:gd name="connsiteX4" fmla="*/ 6508 w 18338"/>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6508" y="17991"/>
                    </a:moveTo>
                    <a:cubicBezTo>
                      <a:pt x="1663" y="16496"/>
                      <a:pt x="-1088" y="11352"/>
                      <a:pt x="407" y="6508"/>
                    </a:cubicBezTo>
                    <a:cubicBezTo>
                      <a:pt x="1843" y="1663"/>
                      <a:pt x="6986" y="-1088"/>
                      <a:pt x="11831" y="407"/>
                    </a:cubicBezTo>
                    <a:cubicBezTo>
                      <a:pt x="16675" y="1903"/>
                      <a:pt x="19426" y="7046"/>
                      <a:pt x="17931" y="11890"/>
                    </a:cubicBezTo>
                    <a:cubicBezTo>
                      <a:pt x="16436" y="16735"/>
                      <a:pt x="11352" y="19486"/>
                      <a:pt x="6508" y="17991"/>
                    </a:cubicBezTo>
                    <a:close/>
                  </a:path>
                </a:pathLst>
              </a:custGeom>
              <a:grpFill/>
              <a:ln w="5978" cap="flat">
                <a:noFill/>
                <a:prstDash val="solid"/>
                <a:miter/>
              </a:ln>
            </p:spPr>
            <p:txBody>
              <a:bodyPr rtlCol="0" anchor="ctr"/>
              <a:lstStyle/>
              <a:p>
                <a:endParaRPr lang="en-GB"/>
              </a:p>
            </p:txBody>
          </p:sp>
          <p:sp>
            <p:nvSpPr>
              <p:cNvPr id="2267" name="Vrije vorm: vorm 2266">
                <a:extLst>
                  <a:ext uri="{FF2B5EF4-FFF2-40B4-BE49-F238E27FC236}">
                    <a16:creationId xmlns:a16="http://schemas.microsoft.com/office/drawing/2014/main" id="{162DA19C-D338-47A9-8340-AB4A5A1FAEAE}"/>
                  </a:ext>
                </a:extLst>
              </p:cNvPr>
              <p:cNvSpPr/>
              <p:nvPr/>
            </p:nvSpPr>
            <p:spPr>
              <a:xfrm>
                <a:off x="4417153" y="2907400"/>
                <a:ext cx="18316" cy="18398"/>
              </a:xfrm>
              <a:custGeom>
                <a:avLst/>
                <a:gdLst>
                  <a:gd name="connsiteX0" fmla="*/ 6508 w 18316"/>
                  <a:gd name="connsiteY0" fmla="*/ 17991 h 18398"/>
                  <a:gd name="connsiteX1" fmla="*/ 17931 w 18316"/>
                  <a:gd name="connsiteY1" fmla="*/ 11891 h 18398"/>
                  <a:gd name="connsiteX2" fmla="*/ 11831 w 18316"/>
                  <a:gd name="connsiteY2" fmla="*/ 407 h 18398"/>
                  <a:gd name="connsiteX3" fmla="*/ 407 w 18316"/>
                  <a:gd name="connsiteY3" fmla="*/ 6508 h 18398"/>
                  <a:gd name="connsiteX4" fmla="*/ 6508 w 18316"/>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8">
                    <a:moveTo>
                      <a:pt x="6508" y="17991"/>
                    </a:moveTo>
                    <a:cubicBezTo>
                      <a:pt x="11352" y="19486"/>
                      <a:pt x="16496" y="16735"/>
                      <a:pt x="17931" y="11891"/>
                    </a:cubicBezTo>
                    <a:cubicBezTo>
                      <a:pt x="19366" y="7046"/>
                      <a:pt x="16675" y="1903"/>
                      <a:pt x="11831" y="407"/>
                    </a:cubicBezTo>
                    <a:cubicBezTo>
                      <a:pt x="6986" y="-1088"/>
                      <a:pt x="1843" y="1664"/>
                      <a:pt x="407" y="6508"/>
                    </a:cubicBezTo>
                    <a:cubicBezTo>
                      <a:pt x="-1088" y="11352"/>
                      <a:pt x="1664" y="16555"/>
                      <a:pt x="6508" y="17991"/>
                    </a:cubicBezTo>
                    <a:close/>
                  </a:path>
                </a:pathLst>
              </a:custGeom>
              <a:grpFill/>
              <a:ln w="5978" cap="flat">
                <a:noFill/>
                <a:prstDash val="solid"/>
                <a:miter/>
              </a:ln>
            </p:spPr>
            <p:txBody>
              <a:bodyPr rtlCol="0" anchor="ctr"/>
              <a:lstStyle/>
              <a:p>
                <a:endParaRPr lang="en-GB"/>
              </a:p>
            </p:txBody>
          </p:sp>
        </p:grpSp>
        <p:grpSp>
          <p:nvGrpSpPr>
            <p:cNvPr id="1046" name="Graphic 3">
              <a:extLst>
                <a:ext uri="{FF2B5EF4-FFF2-40B4-BE49-F238E27FC236}">
                  <a16:creationId xmlns:a16="http://schemas.microsoft.com/office/drawing/2014/main" id="{B590B7D3-B45A-451F-ABD0-BBA6FA154A1C}"/>
                </a:ext>
              </a:extLst>
            </p:cNvPr>
            <p:cNvGrpSpPr/>
            <p:nvPr/>
          </p:nvGrpSpPr>
          <p:grpSpPr>
            <a:xfrm>
              <a:off x="5083906" y="5193433"/>
              <a:ext cx="86523" cy="154534"/>
              <a:chOff x="5083906" y="5193433"/>
              <a:chExt cx="86523" cy="154534"/>
            </a:xfrm>
            <a:grpFill/>
          </p:grpSpPr>
          <p:sp>
            <p:nvSpPr>
              <p:cNvPr id="2262" name="Vrije vorm: vorm 2261">
                <a:extLst>
                  <a:ext uri="{FF2B5EF4-FFF2-40B4-BE49-F238E27FC236}">
                    <a16:creationId xmlns:a16="http://schemas.microsoft.com/office/drawing/2014/main" id="{A443D161-6F00-4A98-82CC-B9965F0C203F}"/>
                  </a:ext>
                </a:extLst>
              </p:cNvPr>
              <p:cNvSpPr/>
              <p:nvPr/>
            </p:nvSpPr>
            <p:spPr>
              <a:xfrm>
                <a:off x="5091528" y="5201533"/>
                <a:ext cx="71290" cy="138334"/>
              </a:xfrm>
              <a:custGeom>
                <a:avLst/>
                <a:gdLst>
                  <a:gd name="connsiteX0" fmla="*/ 71290 w 71290"/>
                  <a:gd name="connsiteY0" fmla="*/ 1375 h 138334"/>
                  <a:gd name="connsiteX1" fmla="*/ 2751 w 71290"/>
                  <a:gd name="connsiteY1" fmla="*/ 138334 h 138334"/>
                  <a:gd name="connsiteX2" fmla="*/ 0 w 71290"/>
                  <a:gd name="connsiteY2" fmla="*/ 136958 h 138334"/>
                  <a:gd name="connsiteX3" fmla="*/ 68539 w 71290"/>
                  <a:gd name="connsiteY3" fmla="*/ 0 h 138334"/>
                </a:gdLst>
                <a:ahLst/>
                <a:cxnLst>
                  <a:cxn ang="0">
                    <a:pos x="connsiteX0" y="connsiteY0"/>
                  </a:cxn>
                  <a:cxn ang="0">
                    <a:pos x="connsiteX1" y="connsiteY1"/>
                  </a:cxn>
                  <a:cxn ang="0">
                    <a:pos x="connsiteX2" y="connsiteY2"/>
                  </a:cxn>
                  <a:cxn ang="0">
                    <a:pos x="connsiteX3" y="connsiteY3"/>
                  </a:cxn>
                </a:cxnLst>
                <a:rect l="l" t="t" r="r" b="b"/>
                <a:pathLst>
                  <a:path w="71290" h="138334">
                    <a:moveTo>
                      <a:pt x="71290" y="1375"/>
                    </a:moveTo>
                    <a:lnTo>
                      <a:pt x="2751" y="138334"/>
                    </a:lnTo>
                    <a:lnTo>
                      <a:pt x="0" y="136958"/>
                    </a:lnTo>
                    <a:lnTo>
                      <a:pt x="68539" y="0"/>
                    </a:lnTo>
                    <a:close/>
                  </a:path>
                </a:pathLst>
              </a:custGeom>
              <a:grpFill/>
              <a:ln w="5978" cap="flat">
                <a:noFill/>
                <a:prstDash val="solid"/>
                <a:miter/>
              </a:ln>
            </p:spPr>
            <p:txBody>
              <a:bodyPr rtlCol="0" anchor="ctr"/>
              <a:lstStyle/>
              <a:p>
                <a:endParaRPr lang="en-GB"/>
              </a:p>
            </p:txBody>
          </p:sp>
          <p:sp>
            <p:nvSpPr>
              <p:cNvPr id="2263" name="Vrije vorm: vorm 2262">
                <a:extLst>
                  <a:ext uri="{FF2B5EF4-FFF2-40B4-BE49-F238E27FC236}">
                    <a16:creationId xmlns:a16="http://schemas.microsoft.com/office/drawing/2014/main" id="{AC84F08D-3F9F-4052-B791-A6D801A2FF05}"/>
                  </a:ext>
                </a:extLst>
              </p:cNvPr>
              <p:cNvSpPr/>
              <p:nvPr/>
            </p:nvSpPr>
            <p:spPr>
              <a:xfrm>
                <a:off x="5083906" y="5329554"/>
                <a:ext cx="18353" cy="18413"/>
              </a:xfrm>
              <a:custGeom>
                <a:avLst/>
                <a:gdLst>
                  <a:gd name="connsiteX0" fmla="*/ 17371 w 18353"/>
                  <a:gd name="connsiteY0" fmla="*/ 13364 h 18413"/>
                  <a:gd name="connsiteX1" fmla="*/ 5050 w 18353"/>
                  <a:gd name="connsiteY1" fmla="*/ 17430 h 18413"/>
                  <a:gd name="connsiteX2" fmla="*/ 983 w 18353"/>
                  <a:gd name="connsiteY2" fmla="*/ 5050 h 18413"/>
                  <a:gd name="connsiteX3" fmla="*/ 13304 w 18353"/>
                  <a:gd name="connsiteY3" fmla="*/ 983 h 18413"/>
                  <a:gd name="connsiteX4" fmla="*/ 17371 w 18353"/>
                  <a:gd name="connsiteY4" fmla="*/ 1336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13">
                    <a:moveTo>
                      <a:pt x="17371" y="13364"/>
                    </a:moveTo>
                    <a:cubicBezTo>
                      <a:pt x="15098" y="17909"/>
                      <a:pt x="9596" y="19703"/>
                      <a:pt x="5050" y="17430"/>
                    </a:cubicBezTo>
                    <a:cubicBezTo>
                      <a:pt x="505" y="15158"/>
                      <a:pt x="-1289" y="9596"/>
                      <a:pt x="983" y="5050"/>
                    </a:cubicBezTo>
                    <a:cubicBezTo>
                      <a:pt x="3256" y="505"/>
                      <a:pt x="8758" y="-1289"/>
                      <a:pt x="13304" y="983"/>
                    </a:cubicBezTo>
                    <a:cubicBezTo>
                      <a:pt x="17849" y="3256"/>
                      <a:pt x="19643" y="8818"/>
                      <a:pt x="17371" y="13364"/>
                    </a:cubicBezTo>
                    <a:close/>
                  </a:path>
                </a:pathLst>
              </a:custGeom>
              <a:grpFill/>
              <a:ln w="5978" cap="flat">
                <a:noFill/>
                <a:prstDash val="solid"/>
                <a:miter/>
              </a:ln>
            </p:spPr>
            <p:txBody>
              <a:bodyPr rtlCol="0" anchor="ctr"/>
              <a:lstStyle/>
              <a:p>
                <a:endParaRPr lang="en-GB"/>
              </a:p>
            </p:txBody>
          </p:sp>
          <p:sp>
            <p:nvSpPr>
              <p:cNvPr id="2264" name="Vrije vorm: vorm 2263">
                <a:extLst>
                  <a:ext uri="{FF2B5EF4-FFF2-40B4-BE49-F238E27FC236}">
                    <a16:creationId xmlns:a16="http://schemas.microsoft.com/office/drawing/2014/main" id="{C9F43DD2-C99D-43A5-8D14-EEFC82E62E94}"/>
                  </a:ext>
                </a:extLst>
              </p:cNvPr>
              <p:cNvSpPr/>
              <p:nvPr/>
            </p:nvSpPr>
            <p:spPr>
              <a:xfrm>
                <a:off x="5152097" y="5193433"/>
                <a:ext cx="18332" cy="18413"/>
              </a:xfrm>
              <a:custGeom>
                <a:avLst/>
                <a:gdLst>
                  <a:gd name="connsiteX0" fmla="*/ 17360 w 18332"/>
                  <a:gd name="connsiteY0" fmla="*/ 13364 h 18413"/>
                  <a:gd name="connsiteX1" fmla="*/ 13293 w 18332"/>
                  <a:gd name="connsiteY1" fmla="*/ 983 h 18413"/>
                  <a:gd name="connsiteX2" fmla="*/ 972 w 18332"/>
                  <a:gd name="connsiteY2" fmla="*/ 5050 h 18413"/>
                  <a:gd name="connsiteX3" fmla="*/ 5040 w 18332"/>
                  <a:gd name="connsiteY3" fmla="*/ 17430 h 18413"/>
                  <a:gd name="connsiteX4" fmla="*/ 17360 w 18332"/>
                  <a:gd name="connsiteY4" fmla="*/ 1336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13">
                    <a:moveTo>
                      <a:pt x="17360" y="13364"/>
                    </a:moveTo>
                    <a:cubicBezTo>
                      <a:pt x="19633" y="8818"/>
                      <a:pt x="17778" y="3256"/>
                      <a:pt x="13293" y="983"/>
                    </a:cubicBezTo>
                    <a:cubicBezTo>
                      <a:pt x="8748" y="-1289"/>
                      <a:pt x="3245" y="505"/>
                      <a:pt x="972" y="5050"/>
                    </a:cubicBezTo>
                    <a:cubicBezTo>
                      <a:pt x="-1300" y="9596"/>
                      <a:pt x="554" y="15158"/>
                      <a:pt x="5040" y="17430"/>
                    </a:cubicBezTo>
                    <a:cubicBezTo>
                      <a:pt x="9585" y="19703"/>
                      <a:pt x="15087" y="17909"/>
                      <a:pt x="17360" y="13364"/>
                    </a:cubicBezTo>
                    <a:close/>
                  </a:path>
                </a:pathLst>
              </a:custGeom>
              <a:grpFill/>
              <a:ln w="5978" cap="flat">
                <a:noFill/>
                <a:prstDash val="solid"/>
                <a:miter/>
              </a:ln>
            </p:spPr>
            <p:txBody>
              <a:bodyPr rtlCol="0" anchor="ctr"/>
              <a:lstStyle/>
              <a:p>
                <a:endParaRPr lang="en-GB"/>
              </a:p>
            </p:txBody>
          </p:sp>
        </p:grpSp>
        <p:grpSp>
          <p:nvGrpSpPr>
            <p:cNvPr id="1047" name="Graphic 3">
              <a:extLst>
                <a:ext uri="{FF2B5EF4-FFF2-40B4-BE49-F238E27FC236}">
                  <a16:creationId xmlns:a16="http://schemas.microsoft.com/office/drawing/2014/main" id="{4A67EF64-BF19-451E-A1AC-559CFEEB0281}"/>
                </a:ext>
              </a:extLst>
            </p:cNvPr>
            <p:cNvGrpSpPr/>
            <p:nvPr/>
          </p:nvGrpSpPr>
          <p:grpSpPr>
            <a:xfrm>
              <a:off x="4902185" y="4712652"/>
              <a:ext cx="89158" cy="104457"/>
              <a:chOff x="4902185" y="4712652"/>
              <a:chExt cx="89158" cy="104457"/>
            </a:xfrm>
            <a:grpFill/>
          </p:grpSpPr>
          <p:sp>
            <p:nvSpPr>
              <p:cNvPr id="2259" name="Vrije vorm: vorm 2258">
                <a:extLst>
                  <a:ext uri="{FF2B5EF4-FFF2-40B4-BE49-F238E27FC236}">
                    <a16:creationId xmlns:a16="http://schemas.microsoft.com/office/drawing/2014/main" id="{E9F6287A-830E-4346-9C01-CF488B89D9BD}"/>
                  </a:ext>
                </a:extLst>
              </p:cNvPr>
              <p:cNvSpPr/>
              <p:nvPr/>
            </p:nvSpPr>
            <p:spPr>
              <a:xfrm>
                <a:off x="4909953" y="4720504"/>
                <a:ext cx="73682" cy="88693"/>
              </a:xfrm>
              <a:custGeom>
                <a:avLst/>
                <a:gdLst>
                  <a:gd name="connsiteX0" fmla="*/ 73683 w 73682"/>
                  <a:gd name="connsiteY0" fmla="*/ 1973 h 88693"/>
                  <a:gd name="connsiteX1" fmla="*/ 2333 w 73682"/>
                  <a:gd name="connsiteY1" fmla="*/ 88694 h 88693"/>
                  <a:gd name="connsiteX2" fmla="*/ 0 w 73682"/>
                  <a:gd name="connsiteY2" fmla="*/ 86780 h 88693"/>
                  <a:gd name="connsiteX3" fmla="*/ 71350 w 73682"/>
                  <a:gd name="connsiteY3" fmla="*/ 0 h 88693"/>
                </a:gdLst>
                <a:ahLst/>
                <a:cxnLst>
                  <a:cxn ang="0">
                    <a:pos x="connsiteX0" y="connsiteY0"/>
                  </a:cxn>
                  <a:cxn ang="0">
                    <a:pos x="connsiteX1" y="connsiteY1"/>
                  </a:cxn>
                  <a:cxn ang="0">
                    <a:pos x="connsiteX2" y="connsiteY2"/>
                  </a:cxn>
                  <a:cxn ang="0">
                    <a:pos x="connsiteX3" y="connsiteY3"/>
                  </a:cxn>
                </a:cxnLst>
                <a:rect l="l" t="t" r="r" b="b"/>
                <a:pathLst>
                  <a:path w="73682" h="88693">
                    <a:moveTo>
                      <a:pt x="73683" y="1973"/>
                    </a:moveTo>
                    <a:lnTo>
                      <a:pt x="2333" y="88694"/>
                    </a:lnTo>
                    <a:lnTo>
                      <a:pt x="0" y="86780"/>
                    </a:lnTo>
                    <a:lnTo>
                      <a:pt x="71350" y="0"/>
                    </a:lnTo>
                    <a:close/>
                  </a:path>
                </a:pathLst>
              </a:custGeom>
              <a:grpFill/>
              <a:ln w="5978" cap="flat">
                <a:noFill/>
                <a:prstDash val="solid"/>
                <a:miter/>
              </a:ln>
            </p:spPr>
            <p:txBody>
              <a:bodyPr rtlCol="0" anchor="ctr"/>
              <a:lstStyle/>
              <a:p>
                <a:endParaRPr lang="en-GB"/>
              </a:p>
            </p:txBody>
          </p:sp>
          <p:sp>
            <p:nvSpPr>
              <p:cNvPr id="2260" name="Vrije vorm: vorm 2259">
                <a:extLst>
                  <a:ext uri="{FF2B5EF4-FFF2-40B4-BE49-F238E27FC236}">
                    <a16:creationId xmlns:a16="http://schemas.microsoft.com/office/drawing/2014/main" id="{D1E54227-5BE4-4A3C-A0F2-8F8B81AD01C7}"/>
                  </a:ext>
                </a:extLst>
              </p:cNvPr>
              <p:cNvSpPr/>
              <p:nvPr/>
            </p:nvSpPr>
            <p:spPr>
              <a:xfrm>
                <a:off x="4902185" y="4798715"/>
                <a:ext cx="18365" cy="18394"/>
              </a:xfrm>
              <a:custGeom>
                <a:avLst/>
                <a:gdLst>
                  <a:gd name="connsiteX0" fmla="*/ 16260 w 18365"/>
                  <a:gd name="connsiteY0" fmla="*/ 15088 h 18394"/>
                  <a:gd name="connsiteX1" fmla="*/ 3342 w 18365"/>
                  <a:gd name="connsiteY1" fmla="*/ 16285 h 18394"/>
                  <a:gd name="connsiteX2" fmla="*/ 2086 w 18365"/>
                  <a:gd name="connsiteY2" fmla="*/ 3307 h 18394"/>
                  <a:gd name="connsiteX3" fmla="*/ 15004 w 18365"/>
                  <a:gd name="connsiteY3" fmla="*/ 2110 h 18394"/>
                  <a:gd name="connsiteX4" fmla="*/ 16260 w 18365"/>
                  <a:gd name="connsiteY4" fmla="*/ 150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4">
                    <a:moveTo>
                      <a:pt x="16260" y="15088"/>
                    </a:moveTo>
                    <a:cubicBezTo>
                      <a:pt x="13031" y="18976"/>
                      <a:pt x="7289" y="19514"/>
                      <a:pt x="3342" y="16285"/>
                    </a:cubicBezTo>
                    <a:cubicBezTo>
                      <a:pt x="-546" y="13055"/>
                      <a:pt x="-1143" y="7254"/>
                      <a:pt x="2086" y="3307"/>
                    </a:cubicBezTo>
                    <a:cubicBezTo>
                      <a:pt x="5315" y="-581"/>
                      <a:pt x="11057" y="-1119"/>
                      <a:pt x="15004" y="2110"/>
                    </a:cubicBezTo>
                    <a:cubicBezTo>
                      <a:pt x="18952" y="5340"/>
                      <a:pt x="19490" y="11141"/>
                      <a:pt x="16260" y="15088"/>
                    </a:cubicBezTo>
                    <a:close/>
                  </a:path>
                </a:pathLst>
              </a:custGeom>
              <a:grpFill/>
              <a:ln w="5978" cap="flat">
                <a:noFill/>
                <a:prstDash val="solid"/>
                <a:miter/>
              </a:ln>
            </p:spPr>
            <p:txBody>
              <a:bodyPr rtlCol="0" anchor="ctr"/>
              <a:lstStyle/>
              <a:p>
                <a:endParaRPr lang="en-GB"/>
              </a:p>
            </p:txBody>
          </p:sp>
          <p:sp>
            <p:nvSpPr>
              <p:cNvPr id="2261" name="Vrije vorm: vorm 2260">
                <a:extLst>
                  <a:ext uri="{FF2B5EF4-FFF2-40B4-BE49-F238E27FC236}">
                    <a16:creationId xmlns:a16="http://schemas.microsoft.com/office/drawing/2014/main" id="{45AE4D95-2FEA-46EE-AD39-2B1595CB45F7}"/>
                  </a:ext>
                </a:extLst>
              </p:cNvPr>
              <p:cNvSpPr/>
              <p:nvPr/>
            </p:nvSpPr>
            <p:spPr>
              <a:xfrm>
                <a:off x="4972978" y="4712652"/>
                <a:ext cx="18365" cy="18395"/>
              </a:xfrm>
              <a:custGeom>
                <a:avLst/>
                <a:gdLst>
                  <a:gd name="connsiteX0" fmla="*/ 16280 w 18365"/>
                  <a:gd name="connsiteY0" fmla="*/ 15088 h 18395"/>
                  <a:gd name="connsiteX1" fmla="*/ 15024 w 18365"/>
                  <a:gd name="connsiteY1" fmla="*/ 2110 h 18395"/>
                  <a:gd name="connsiteX2" fmla="*/ 2105 w 18365"/>
                  <a:gd name="connsiteY2" fmla="*/ 3307 h 18395"/>
                  <a:gd name="connsiteX3" fmla="*/ 3361 w 18365"/>
                  <a:gd name="connsiteY3" fmla="*/ 16285 h 18395"/>
                  <a:gd name="connsiteX4" fmla="*/ 16280 w 18365"/>
                  <a:gd name="connsiteY4" fmla="*/ 15088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5">
                    <a:moveTo>
                      <a:pt x="16280" y="15088"/>
                    </a:moveTo>
                    <a:cubicBezTo>
                      <a:pt x="19509" y="11201"/>
                      <a:pt x="18911" y="5340"/>
                      <a:pt x="15024" y="2110"/>
                    </a:cubicBezTo>
                    <a:cubicBezTo>
                      <a:pt x="11136" y="-1119"/>
                      <a:pt x="5335" y="-581"/>
                      <a:pt x="2105" y="3307"/>
                    </a:cubicBezTo>
                    <a:cubicBezTo>
                      <a:pt x="-1124" y="7194"/>
                      <a:pt x="-586" y="13055"/>
                      <a:pt x="3361" y="16285"/>
                    </a:cubicBezTo>
                    <a:cubicBezTo>
                      <a:pt x="7249" y="19514"/>
                      <a:pt x="13050" y="18976"/>
                      <a:pt x="16280" y="15088"/>
                    </a:cubicBezTo>
                    <a:close/>
                  </a:path>
                </a:pathLst>
              </a:custGeom>
              <a:grpFill/>
              <a:ln w="5978" cap="flat">
                <a:noFill/>
                <a:prstDash val="solid"/>
                <a:miter/>
              </a:ln>
            </p:spPr>
            <p:txBody>
              <a:bodyPr rtlCol="0" anchor="ctr"/>
              <a:lstStyle/>
              <a:p>
                <a:endParaRPr lang="en-GB"/>
              </a:p>
            </p:txBody>
          </p:sp>
        </p:grpSp>
        <p:grpSp>
          <p:nvGrpSpPr>
            <p:cNvPr id="1048" name="Graphic 3">
              <a:extLst>
                <a:ext uri="{FF2B5EF4-FFF2-40B4-BE49-F238E27FC236}">
                  <a16:creationId xmlns:a16="http://schemas.microsoft.com/office/drawing/2014/main" id="{88FB52E9-123C-4BE0-92C6-E2EC22852F9E}"/>
                </a:ext>
              </a:extLst>
            </p:cNvPr>
            <p:cNvGrpSpPr/>
            <p:nvPr/>
          </p:nvGrpSpPr>
          <p:grpSpPr>
            <a:xfrm>
              <a:off x="4185853" y="2599153"/>
              <a:ext cx="93567" cy="51113"/>
              <a:chOff x="4185853" y="2599153"/>
              <a:chExt cx="93567" cy="51113"/>
            </a:xfrm>
            <a:grpFill/>
          </p:grpSpPr>
          <p:sp>
            <p:nvSpPr>
              <p:cNvPr id="2256" name="Vrije vorm: vorm 2255">
                <a:extLst>
                  <a:ext uri="{FF2B5EF4-FFF2-40B4-BE49-F238E27FC236}">
                    <a16:creationId xmlns:a16="http://schemas.microsoft.com/office/drawing/2014/main" id="{4706EE2E-CB01-4D4B-827D-1795366198F9}"/>
                  </a:ext>
                </a:extLst>
              </p:cNvPr>
              <p:cNvSpPr/>
              <p:nvPr/>
            </p:nvSpPr>
            <p:spPr>
              <a:xfrm>
                <a:off x="4194001" y="2606797"/>
                <a:ext cx="77270" cy="35824"/>
              </a:xfrm>
              <a:custGeom>
                <a:avLst/>
                <a:gdLst>
                  <a:gd name="connsiteX0" fmla="*/ 77271 w 77270"/>
                  <a:gd name="connsiteY0" fmla="*/ 33073 h 35824"/>
                  <a:gd name="connsiteX1" fmla="*/ 76075 w 77270"/>
                  <a:gd name="connsiteY1" fmla="*/ 35824 h 35824"/>
                  <a:gd name="connsiteX2" fmla="*/ 0 w 77270"/>
                  <a:gd name="connsiteY2" fmla="*/ 2811 h 35824"/>
                  <a:gd name="connsiteX3" fmla="*/ 1196 w 77270"/>
                  <a:gd name="connsiteY3" fmla="*/ 0 h 35824"/>
                </a:gdLst>
                <a:ahLst/>
                <a:cxnLst>
                  <a:cxn ang="0">
                    <a:pos x="connsiteX0" y="connsiteY0"/>
                  </a:cxn>
                  <a:cxn ang="0">
                    <a:pos x="connsiteX1" y="connsiteY1"/>
                  </a:cxn>
                  <a:cxn ang="0">
                    <a:pos x="connsiteX2" y="connsiteY2"/>
                  </a:cxn>
                  <a:cxn ang="0">
                    <a:pos x="connsiteX3" y="connsiteY3"/>
                  </a:cxn>
                </a:cxnLst>
                <a:rect l="l" t="t" r="r" b="b"/>
                <a:pathLst>
                  <a:path w="77270" h="35824">
                    <a:moveTo>
                      <a:pt x="77271" y="33073"/>
                    </a:moveTo>
                    <a:lnTo>
                      <a:pt x="76075" y="35824"/>
                    </a:lnTo>
                    <a:lnTo>
                      <a:pt x="0" y="2811"/>
                    </a:lnTo>
                    <a:lnTo>
                      <a:pt x="1196" y="0"/>
                    </a:lnTo>
                    <a:close/>
                  </a:path>
                </a:pathLst>
              </a:custGeom>
              <a:grpFill/>
              <a:ln w="5978" cap="flat">
                <a:noFill/>
                <a:prstDash val="solid"/>
                <a:miter/>
              </a:ln>
            </p:spPr>
            <p:txBody>
              <a:bodyPr rtlCol="0" anchor="ctr"/>
              <a:lstStyle/>
              <a:p>
                <a:endParaRPr lang="en-GB"/>
              </a:p>
            </p:txBody>
          </p:sp>
          <p:sp>
            <p:nvSpPr>
              <p:cNvPr id="2257" name="Vrije vorm: vorm 2256">
                <a:extLst>
                  <a:ext uri="{FF2B5EF4-FFF2-40B4-BE49-F238E27FC236}">
                    <a16:creationId xmlns:a16="http://schemas.microsoft.com/office/drawing/2014/main" id="{5DCE07E1-42FD-43FD-9CA3-7D105D024EB6}"/>
                  </a:ext>
                </a:extLst>
              </p:cNvPr>
              <p:cNvSpPr/>
              <p:nvPr/>
            </p:nvSpPr>
            <p:spPr>
              <a:xfrm>
                <a:off x="4185853" y="2599153"/>
                <a:ext cx="18304" cy="18424"/>
              </a:xfrm>
              <a:custGeom>
                <a:avLst/>
                <a:gdLst>
                  <a:gd name="connsiteX0" fmla="*/ 5576 w 18304"/>
                  <a:gd name="connsiteY0" fmla="*/ 17692 h 18424"/>
                  <a:gd name="connsiteX1" fmla="*/ 732 w 18304"/>
                  <a:gd name="connsiteY1" fmla="*/ 5551 h 18424"/>
                  <a:gd name="connsiteX2" fmla="*/ 12753 w 18304"/>
                  <a:gd name="connsiteY2" fmla="*/ 767 h 18424"/>
                  <a:gd name="connsiteX3" fmla="*/ 17538 w 18304"/>
                  <a:gd name="connsiteY3" fmla="*/ 12908 h 18424"/>
                  <a:gd name="connsiteX4" fmla="*/ 5576 w 18304"/>
                  <a:gd name="connsiteY4" fmla="*/ 17692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4">
                    <a:moveTo>
                      <a:pt x="5576" y="17692"/>
                    </a:moveTo>
                    <a:cubicBezTo>
                      <a:pt x="911" y="15659"/>
                      <a:pt x="-1242" y="10216"/>
                      <a:pt x="732" y="5551"/>
                    </a:cubicBezTo>
                    <a:cubicBezTo>
                      <a:pt x="2705" y="886"/>
                      <a:pt x="8088" y="-1267"/>
                      <a:pt x="12753" y="767"/>
                    </a:cubicBezTo>
                    <a:cubicBezTo>
                      <a:pt x="17418" y="2800"/>
                      <a:pt x="19571" y="8243"/>
                      <a:pt x="17538" y="12908"/>
                    </a:cubicBezTo>
                    <a:cubicBezTo>
                      <a:pt x="15624" y="17513"/>
                      <a:pt x="10241" y="19666"/>
                      <a:pt x="5576" y="17692"/>
                    </a:cubicBezTo>
                    <a:close/>
                  </a:path>
                </a:pathLst>
              </a:custGeom>
              <a:grpFill/>
              <a:ln w="5978" cap="flat">
                <a:noFill/>
                <a:prstDash val="solid"/>
                <a:miter/>
              </a:ln>
            </p:spPr>
            <p:txBody>
              <a:bodyPr rtlCol="0" anchor="ctr"/>
              <a:lstStyle/>
              <a:p>
                <a:endParaRPr lang="en-GB"/>
              </a:p>
            </p:txBody>
          </p:sp>
          <p:sp>
            <p:nvSpPr>
              <p:cNvPr id="2258" name="Vrije vorm: vorm 2257">
                <a:extLst>
                  <a:ext uri="{FF2B5EF4-FFF2-40B4-BE49-F238E27FC236}">
                    <a16:creationId xmlns:a16="http://schemas.microsoft.com/office/drawing/2014/main" id="{C269F808-DFE5-4457-8F91-05296B539511}"/>
                  </a:ext>
                </a:extLst>
              </p:cNvPr>
              <p:cNvSpPr/>
              <p:nvPr/>
            </p:nvSpPr>
            <p:spPr>
              <a:xfrm>
                <a:off x="4261115" y="2631808"/>
                <a:ext cx="18305" cy="18458"/>
              </a:xfrm>
              <a:custGeom>
                <a:avLst/>
                <a:gdLst>
                  <a:gd name="connsiteX0" fmla="*/ 5551 w 18305"/>
                  <a:gd name="connsiteY0" fmla="*/ 17692 h 18458"/>
                  <a:gd name="connsiteX1" fmla="*/ 17573 w 18305"/>
                  <a:gd name="connsiteY1" fmla="*/ 12908 h 18458"/>
                  <a:gd name="connsiteX2" fmla="*/ 12788 w 18305"/>
                  <a:gd name="connsiteY2" fmla="*/ 767 h 18458"/>
                  <a:gd name="connsiteX3" fmla="*/ 767 w 18305"/>
                  <a:gd name="connsiteY3" fmla="*/ 5551 h 18458"/>
                  <a:gd name="connsiteX4" fmla="*/ 5551 w 1830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8">
                    <a:moveTo>
                      <a:pt x="5551" y="17692"/>
                    </a:moveTo>
                    <a:cubicBezTo>
                      <a:pt x="10216" y="19726"/>
                      <a:pt x="15599" y="17572"/>
                      <a:pt x="17573" y="12908"/>
                    </a:cubicBezTo>
                    <a:cubicBezTo>
                      <a:pt x="19546" y="8243"/>
                      <a:pt x="17393" y="2800"/>
                      <a:pt x="12788" y="767"/>
                    </a:cubicBezTo>
                    <a:cubicBezTo>
                      <a:pt x="8123" y="-1267"/>
                      <a:pt x="2740" y="886"/>
                      <a:pt x="767" y="5551"/>
                    </a:cubicBezTo>
                    <a:cubicBezTo>
                      <a:pt x="-1267" y="10276"/>
                      <a:pt x="886" y="15659"/>
                      <a:pt x="5551" y="17692"/>
                    </a:cubicBezTo>
                    <a:close/>
                  </a:path>
                </a:pathLst>
              </a:custGeom>
              <a:grpFill/>
              <a:ln w="5978" cap="flat">
                <a:noFill/>
                <a:prstDash val="solid"/>
                <a:miter/>
              </a:ln>
            </p:spPr>
            <p:txBody>
              <a:bodyPr rtlCol="0" anchor="ctr"/>
              <a:lstStyle/>
              <a:p>
                <a:endParaRPr lang="en-GB"/>
              </a:p>
            </p:txBody>
          </p:sp>
        </p:grpSp>
        <p:grpSp>
          <p:nvGrpSpPr>
            <p:cNvPr id="1049" name="Graphic 3">
              <a:extLst>
                <a:ext uri="{FF2B5EF4-FFF2-40B4-BE49-F238E27FC236}">
                  <a16:creationId xmlns:a16="http://schemas.microsoft.com/office/drawing/2014/main" id="{01E47C33-1797-43DF-9FE7-8F408CFAC259}"/>
                </a:ext>
              </a:extLst>
            </p:cNvPr>
            <p:cNvGrpSpPr/>
            <p:nvPr/>
          </p:nvGrpSpPr>
          <p:grpSpPr>
            <a:xfrm>
              <a:off x="4886531" y="4764552"/>
              <a:ext cx="182547" cy="186120"/>
              <a:chOff x="4886531" y="4764552"/>
              <a:chExt cx="182547" cy="186120"/>
            </a:xfrm>
            <a:grpFill/>
          </p:grpSpPr>
          <p:sp>
            <p:nvSpPr>
              <p:cNvPr id="2253" name="Vrije vorm: vorm 2252">
                <a:extLst>
                  <a:ext uri="{FF2B5EF4-FFF2-40B4-BE49-F238E27FC236}">
                    <a16:creationId xmlns:a16="http://schemas.microsoft.com/office/drawing/2014/main" id="{38EE444E-ECB0-436D-B9C6-F865C9F627C8}"/>
                  </a:ext>
                </a:extLst>
              </p:cNvPr>
              <p:cNvSpPr/>
              <p:nvPr/>
            </p:nvSpPr>
            <p:spPr>
              <a:xfrm>
                <a:off x="4894283" y="4772357"/>
                <a:ext cx="167041" cy="170510"/>
              </a:xfrm>
              <a:custGeom>
                <a:avLst/>
                <a:gdLst>
                  <a:gd name="connsiteX0" fmla="*/ 167042 w 167041"/>
                  <a:gd name="connsiteY0" fmla="*/ 2153 h 170510"/>
                  <a:gd name="connsiteX1" fmla="*/ 2213 w 167041"/>
                  <a:gd name="connsiteY1" fmla="*/ 170510 h 170510"/>
                  <a:gd name="connsiteX2" fmla="*/ 0 w 167041"/>
                  <a:gd name="connsiteY2" fmla="*/ 168357 h 170510"/>
                  <a:gd name="connsiteX3" fmla="*/ 164829 w 167041"/>
                  <a:gd name="connsiteY3" fmla="*/ 0 h 170510"/>
                </a:gdLst>
                <a:ahLst/>
                <a:cxnLst>
                  <a:cxn ang="0">
                    <a:pos x="connsiteX0" y="connsiteY0"/>
                  </a:cxn>
                  <a:cxn ang="0">
                    <a:pos x="connsiteX1" y="connsiteY1"/>
                  </a:cxn>
                  <a:cxn ang="0">
                    <a:pos x="connsiteX2" y="connsiteY2"/>
                  </a:cxn>
                  <a:cxn ang="0">
                    <a:pos x="connsiteX3" y="connsiteY3"/>
                  </a:cxn>
                </a:cxnLst>
                <a:rect l="l" t="t" r="r" b="b"/>
                <a:pathLst>
                  <a:path w="167041" h="170510">
                    <a:moveTo>
                      <a:pt x="167042" y="2153"/>
                    </a:moveTo>
                    <a:lnTo>
                      <a:pt x="2213" y="170510"/>
                    </a:lnTo>
                    <a:lnTo>
                      <a:pt x="0" y="168357"/>
                    </a:lnTo>
                    <a:lnTo>
                      <a:pt x="164829" y="0"/>
                    </a:lnTo>
                    <a:close/>
                  </a:path>
                </a:pathLst>
              </a:custGeom>
              <a:grpFill/>
              <a:ln w="5978" cap="flat">
                <a:noFill/>
                <a:prstDash val="solid"/>
                <a:miter/>
              </a:ln>
            </p:spPr>
            <p:txBody>
              <a:bodyPr rtlCol="0" anchor="ctr"/>
              <a:lstStyle/>
              <a:p>
                <a:endParaRPr lang="en-GB"/>
              </a:p>
            </p:txBody>
          </p:sp>
          <p:sp>
            <p:nvSpPr>
              <p:cNvPr id="2254" name="Vrije vorm: vorm 2253">
                <a:extLst>
                  <a:ext uri="{FF2B5EF4-FFF2-40B4-BE49-F238E27FC236}">
                    <a16:creationId xmlns:a16="http://schemas.microsoft.com/office/drawing/2014/main" id="{B468365E-91FC-4B3D-90C3-F61DA415E258}"/>
                  </a:ext>
                </a:extLst>
              </p:cNvPr>
              <p:cNvSpPr/>
              <p:nvPr/>
            </p:nvSpPr>
            <p:spPr>
              <a:xfrm>
                <a:off x="5050716" y="4764552"/>
                <a:ext cx="18361" cy="18421"/>
              </a:xfrm>
              <a:custGeom>
                <a:avLst/>
                <a:gdLst>
                  <a:gd name="connsiteX0" fmla="*/ 2654 w 18361"/>
                  <a:gd name="connsiteY0" fmla="*/ 2722 h 18421"/>
                  <a:gd name="connsiteX1" fmla="*/ 15632 w 18361"/>
                  <a:gd name="connsiteY1" fmla="*/ 2662 h 18421"/>
                  <a:gd name="connsiteX2" fmla="*/ 15752 w 18361"/>
                  <a:gd name="connsiteY2" fmla="*/ 15700 h 18421"/>
                  <a:gd name="connsiteX3" fmla="*/ 2774 w 18361"/>
                  <a:gd name="connsiteY3" fmla="*/ 15760 h 18421"/>
                  <a:gd name="connsiteX4" fmla="*/ 2654 w 18361"/>
                  <a:gd name="connsiteY4" fmla="*/ 272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1">
                    <a:moveTo>
                      <a:pt x="2654" y="2722"/>
                    </a:moveTo>
                    <a:cubicBezTo>
                      <a:pt x="6183" y="-867"/>
                      <a:pt x="11984" y="-927"/>
                      <a:pt x="15632" y="2662"/>
                    </a:cubicBezTo>
                    <a:cubicBezTo>
                      <a:pt x="19221" y="6250"/>
                      <a:pt x="19281" y="12052"/>
                      <a:pt x="15752" y="15700"/>
                    </a:cubicBezTo>
                    <a:cubicBezTo>
                      <a:pt x="12224" y="19288"/>
                      <a:pt x="6422" y="19348"/>
                      <a:pt x="2774" y="15760"/>
                    </a:cubicBezTo>
                    <a:cubicBezTo>
                      <a:pt x="-874" y="12171"/>
                      <a:pt x="-934" y="6310"/>
                      <a:pt x="2654" y="2722"/>
                    </a:cubicBezTo>
                    <a:close/>
                  </a:path>
                </a:pathLst>
              </a:custGeom>
              <a:grpFill/>
              <a:ln w="5978" cap="flat">
                <a:noFill/>
                <a:prstDash val="solid"/>
                <a:miter/>
              </a:ln>
            </p:spPr>
            <p:txBody>
              <a:bodyPr rtlCol="0" anchor="ctr"/>
              <a:lstStyle/>
              <a:p>
                <a:endParaRPr lang="en-GB"/>
              </a:p>
            </p:txBody>
          </p:sp>
          <p:sp>
            <p:nvSpPr>
              <p:cNvPr id="2255" name="Vrije vorm: vorm 2254">
                <a:extLst>
                  <a:ext uri="{FF2B5EF4-FFF2-40B4-BE49-F238E27FC236}">
                    <a16:creationId xmlns:a16="http://schemas.microsoft.com/office/drawing/2014/main" id="{41CA9C49-672E-441E-B5E1-2452F70470DB}"/>
                  </a:ext>
                </a:extLst>
              </p:cNvPr>
              <p:cNvSpPr/>
              <p:nvPr/>
            </p:nvSpPr>
            <p:spPr>
              <a:xfrm>
                <a:off x="4886531" y="4932251"/>
                <a:ext cx="18316" cy="18421"/>
              </a:xfrm>
              <a:custGeom>
                <a:avLst/>
                <a:gdLst>
                  <a:gd name="connsiteX0" fmla="*/ 2610 w 18316"/>
                  <a:gd name="connsiteY0" fmla="*/ 2721 h 18421"/>
                  <a:gd name="connsiteX1" fmla="*/ 2729 w 18316"/>
                  <a:gd name="connsiteY1" fmla="*/ 15759 h 18421"/>
                  <a:gd name="connsiteX2" fmla="*/ 15707 w 18316"/>
                  <a:gd name="connsiteY2" fmla="*/ 15699 h 18421"/>
                  <a:gd name="connsiteX3" fmla="*/ 15588 w 18316"/>
                  <a:gd name="connsiteY3" fmla="*/ 2661 h 18421"/>
                  <a:gd name="connsiteX4" fmla="*/ 2610 w 18316"/>
                  <a:gd name="connsiteY4" fmla="*/ 27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1">
                    <a:moveTo>
                      <a:pt x="2610" y="2721"/>
                    </a:moveTo>
                    <a:cubicBezTo>
                      <a:pt x="-919" y="6310"/>
                      <a:pt x="-859" y="12171"/>
                      <a:pt x="2729" y="15759"/>
                    </a:cubicBezTo>
                    <a:cubicBezTo>
                      <a:pt x="6318" y="19348"/>
                      <a:pt x="12119" y="19288"/>
                      <a:pt x="15707" y="15699"/>
                    </a:cubicBezTo>
                    <a:cubicBezTo>
                      <a:pt x="19236" y="12111"/>
                      <a:pt x="19176" y="6250"/>
                      <a:pt x="15588" y="2661"/>
                    </a:cubicBezTo>
                    <a:cubicBezTo>
                      <a:pt x="11999" y="-927"/>
                      <a:pt x="6198" y="-867"/>
                      <a:pt x="2610" y="2721"/>
                    </a:cubicBezTo>
                    <a:close/>
                  </a:path>
                </a:pathLst>
              </a:custGeom>
              <a:grpFill/>
              <a:ln w="5978" cap="flat">
                <a:noFill/>
                <a:prstDash val="solid"/>
                <a:miter/>
              </a:ln>
            </p:spPr>
            <p:txBody>
              <a:bodyPr rtlCol="0" anchor="ctr"/>
              <a:lstStyle/>
              <a:p>
                <a:endParaRPr lang="en-GB"/>
              </a:p>
            </p:txBody>
          </p:sp>
        </p:grpSp>
        <p:grpSp>
          <p:nvGrpSpPr>
            <p:cNvPr id="1050" name="Graphic 3">
              <a:extLst>
                <a:ext uri="{FF2B5EF4-FFF2-40B4-BE49-F238E27FC236}">
                  <a16:creationId xmlns:a16="http://schemas.microsoft.com/office/drawing/2014/main" id="{633AA37B-E85C-4C02-8B0F-FCB08D650E86}"/>
                </a:ext>
              </a:extLst>
            </p:cNvPr>
            <p:cNvGrpSpPr/>
            <p:nvPr/>
          </p:nvGrpSpPr>
          <p:grpSpPr>
            <a:xfrm>
              <a:off x="4979009" y="4959096"/>
              <a:ext cx="118281" cy="178780"/>
              <a:chOff x="4979009" y="4959096"/>
              <a:chExt cx="118281" cy="178780"/>
            </a:xfrm>
            <a:grpFill/>
          </p:grpSpPr>
          <p:sp>
            <p:nvSpPr>
              <p:cNvPr id="2250" name="Vrije vorm: vorm 2249">
                <a:extLst>
                  <a:ext uri="{FF2B5EF4-FFF2-40B4-BE49-F238E27FC236}">
                    <a16:creationId xmlns:a16="http://schemas.microsoft.com/office/drawing/2014/main" id="{1F2D63BA-AEB7-4C10-86A6-02E3893D28B2}"/>
                  </a:ext>
                </a:extLst>
              </p:cNvPr>
              <p:cNvSpPr/>
              <p:nvPr/>
            </p:nvSpPr>
            <p:spPr>
              <a:xfrm>
                <a:off x="4986626" y="4967089"/>
                <a:ext cx="103047" cy="162795"/>
              </a:xfrm>
              <a:custGeom>
                <a:avLst/>
                <a:gdLst>
                  <a:gd name="connsiteX0" fmla="*/ 103048 w 103047"/>
                  <a:gd name="connsiteY0" fmla="*/ 1615 h 162795"/>
                  <a:gd name="connsiteX1" fmla="*/ 2572 w 103047"/>
                  <a:gd name="connsiteY1" fmla="*/ 162795 h 162795"/>
                  <a:gd name="connsiteX2" fmla="*/ 0 w 103047"/>
                  <a:gd name="connsiteY2" fmla="*/ 161121 h 162795"/>
                  <a:gd name="connsiteX3" fmla="*/ 100476 w 103047"/>
                  <a:gd name="connsiteY3" fmla="*/ 0 h 162795"/>
                </a:gdLst>
                <a:ahLst/>
                <a:cxnLst>
                  <a:cxn ang="0">
                    <a:pos x="connsiteX0" y="connsiteY0"/>
                  </a:cxn>
                  <a:cxn ang="0">
                    <a:pos x="connsiteX1" y="connsiteY1"/>
                  </a:cxn>
                  <a:cxn ang="0">
                    <a:pos x="connsiteX2" y="connsiteY2"/>
                  </a:cxn>
                  <a:cxn ang="0">
                    <a:pos x="connsiteX3" y="connsiteY3"/>
                  </a:cxn>
                </a:cxnLst>
                <a:rect l="l" t="t" r="r" b="b"/>
                <a:pathLst>
                  <a:path w="103047" h="162795">
                    <a:moveTo>
                      <a:pt x="103048" y="1615"/>
                    </a:moveTo>
                    <a:lnTo>
                      <a:pt x="2572" y="162795"/>
                    </a:lnTo>
                    <a:lnTo>
                      <a:pt x="0" y="161121"/>
                    </a:lnTo>
                    <a:lnTo>
                      <a:pt x="100476" y="0"/>
                    </a:lnTo>
                    <a:close/>
                  </a:path>
                </a:pathLst>
              </a:custGeom>
              <a:grpFill/>
              <a:ln w="5978" cap="flat">
                <a:noFill/>
                <a:prstDash val="solid"/>
                <a:miter/>
              </a:ln>
            </p:spPr>
            <p:txBody>
              <a:bodyPr rtlCol="0" anchor="ctr"/>
              <a:lstStyle/>
              <a:p>
                <a:endParaRPr lang="en-GB"/>
              </a:p>
            </p:txBody>
          </p:sp>
          <p:sp>
            <p:nvSpPr>
              <p:cNvPr id="2251" name="Vrije vorm: vorm 2250">
                <a:extLst>
                  <a:ext uri="{FF2B5EF4-FFF2-40B4-BE49-F238E27FC236}">
                    <a16:creationId xmlns:a16="http://schemas.microsoft.com/office/drawing/2014/main" id="{1D01A9E1-DC1D-41A3-B4CE-5E9EB3B024BE}"/>
                  </a:ext>
                </a:extLst>
              </p:cNvPr>
              <p:cNvSpPr/>
              <p:nvPr/>
            </p:nvSpPr>
            <p:spPr>
              <a:xfrm>
                <a:off x="4979009" y="5119499"/>
                <a:ext cx="18343" cy="18377"/>
              </a:xfrm>
              <a:custGeom>
                <a:avLst/>
                <a:gdLst>
                  <a:gd name="connsiteX0" fmla="*/ 16947 w 18343"/>
                  <a:gd name="connsiteY0" fmla="*/ 14093 h 18377"/>
                  <a:gd name="connsiteX1" fmla="*/ 4328 w 18343"/>
                  <a:gd name="connsiteY1" fmla="*/ 16964 h 18377"/>
                  <a:gd name="connsiteX2" fmla="*/ 1397 w 18343"/>
                  <a:gd name="connsiteY2" fmla="*/ 4285 h 18377"/>
                  <a:gd name="connsiteX3" fmla="*/ 14016 w 18343"/>
                  <a:gd name="connsiteY3" fmla="*/ 1414 h 18377"/>
                  <a:gd name="connsiteX4" fmla="*/ 16947 w 18343"/>
                  <a:gd name="connsiteY4" fmla="*/ 14093 h 1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7">
                    <a:moveTo>
                      <a:pt x="16947" y="14093"/>
                    </a:moveTo>
                    <a:cubicBezTo>
                      <a:pt x="14255" y="18399"/>
                      <a:pt x="8634" y="19655"/>
                      <a:pt x="4328" y="16964"/>
                    </a:cubicBezTo>
                    <a:cubicBezTo>
                      <a:pt x="21" y="14272"/>
                      <a:pt x="-1294" y="8531"/>
                      <a:pt x="1397" y="4285"/>
                    </a:cubicBezTo>
                    <a:cubicBezTo>
                      <a:pt x="4088" y="-22"/>
                      <a:pt x="9710" y="-1277"/>
                      <a:pt x="14016" y="1414"/>
                    </a:cubicBezTo>
                    <a:cubicBezTo>
                      <a:pt x="18322" y="4046"/>
                      <a:pt x="19638" y="9787"/>
                      <a:pt x="16947" y="14093"/>
                    </a:cubicBezTo>
                    <a:close/>
                  </a:path>
                </a:pathLst>
              </a:custGeom>
              <a:grpFill/>
              <a:ln w="5978" cap="flat">
                <a:noFill/>
                <a:prstDash val="solid"/>
                <a:miter/>
              </a:ln>
            </p:spPr>
            <p:txBody>
              <a:bodyPr rtlCol="0" anchor="ctr"/>
              <a:lstStyle/>
              <a:p>
                <a:endParaRPr lang="en-GB"/>
              </a:p>
            </p:txBody>
          </p:sp>
          <p:sp>
            <p:nvSpPr>
              <p:cNvPr id="2252" name="Vrije vorm: vorm 2251">
                <a:extLst>
                  <a:ext uri="{FF2B5EF4-FFF2-40B4-BE49-F238E27FC236}">
                    <a16:creationId xmlns:a16="http://schemas.microsoft.com/office/drawing/2014/main" id="{37A3BF0D-F4D6-4A5E-A099-576571776F75}"/>
                  </a:ext>
                </a:extLst>
              </p:cNvPr>
              <p:cNvSpPr/>
              <p:nvPr/>
            </p:nvSpPr>
            <p:spPr>
              <a:xfrm>
                <a:off x="5078947" y="4959096"/>
                <a:ext cx="18343" cy="18404"/>
              </a:xfrm>
              <a:custGeom>
                <a:avLst/>
                <a:gdLst>
                  <a:gd name="connsiteX0" fmla="*/ 16947 w 18343"/>
                  <a:gd name="connsiteY0" fmla="*/ 14093 h 18404"/>
                  <a:gd name="connsiteX1" fmla="*/ 14016 w 18343"/>
                  <a:gd name="connsiteY1" fmla="*/ 1414 h 18404"/>
                  <a:gd name="connsiteX2" fmla="*/ 1397 w 18343"/>
                  <a:gd name="connsiteY2" fmla="*/ 4285 h 18404"/>
                  <a:gd name="connsiteX3" fmla="*/ 4327 w 18343"/>
                  <a:gd name="connsiteY3" fmla="*/ 16964 h 18404"/>
                  <a:gd name="connsiteX4" fmla="*/ 16947 w 18343"/>
                  <a:gd name="connsiteY4" fmla="*/ 14093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093"/>
                    </a:moveTo>
                    <a:cubicBezTo>
                      <a:pt x="19638" y="9787"/>
                      <a:pt x="18322" y="4105"/>
                      <a:pt x="14016" y="1414"/>
                    </a:cubicBezTo>
                    <a:cubicBezTo>
                      <a:pt x="9710" y="-1277"/>
                      <a:pt x="4088" y="-21"/>
                      <a:pt x="1397" y="4285"/>
                    </a:cubicBezTo>
                    <a:cubicBezTo>
                      <a:pt x="-1294" y="8591"/>
                      <a:pt x="21" y="14272"/>
                      <a:pt x="4327" y="16964"/>
                    </a:cubicBezTo>
                    <a:cubicBezTo>
                      <a:pt x="8634" y="19715"/>
                      <a:pt x="14256" y="18399"/>
                      <a:pt x="16947" y="14093"/>
                    </a:cubicBezTo>
                    <a:close/>
                  </a:path>
                </a:pathLst>
              </a:custGeom>
              <a:grpFill/>
              <a:ln w="5978" cap="flat">
                <a:noFill/>
                <a:prstDash val="solid"/>
                <a:miter/>
              </a:ln>
            </p:spPr>
            <p:txBody>
              <a:bodyPr rtlCol="0" anchor="ctr"/>
              <a:lstStyle/>
              <a:p>
                <a:endParaRPr lang="en-GB"/>
              </a:p>
            </p:txBody>
          </p:sp>
        </p:grpSp>
        <p:grpSp>
          <p:nvGrpSpPr>
            <p:cNvPr id="1051" name="Graphic 3">
              <a:extLst>
                <a:ext uri="{FF2B5EF4-FFF2-40B4-BE49-F238E27FC236}">
                  <a16:creationId xmlns:a16="http://schemas.microsoft.com/office/drawing/2014/main" id="{8497033F-F044-4C2E-9CCF-62F07F870EB8}"/>
                </a:ext>
              </a:extLst>
            </p:cNvPr>
            <p:cNvGrpSpPr/>
            <p:nvPr/>
          </p:nvGrpSpPr>
          <p:grpSpPr>
            <a:xfrm>
              <a:off x="4889943" y="4765398"/>
              <a:ext cx="180087" cy="239330"/>
              <a:chOff x="4889943" y="4765398"/>
              <a:chExt cx="180087" cy="239330"/>
            </a:xfrm>
            <a:grpFill/>
          </p:grpSpPr>
          <p:sp>
            <p:nvSpPr>
              <p:cNvPr id="2247" name="Vrije vorm: vorm 2246">
                <a:extLst>
                  <a:ext uri="{FF2B5EF4-FFF2-40B4-BE49-F238E27FC236}">
                    <a16:creationId xmlns:a16="http://schemas.microsoft.com/office/drawing/2014/main" id="{E3D52598-3E77-4306-9E8C-2A45E0945FE1}"/>
                  </a:ext>
                </a:extLst>
              </p:cNvPr>
              <p:cNvSpPr/>
              <p:nvPr/>
            </p:nvSpPr>
            <p:spPr>
              <a:xfrm>
                <a:off x="4897573" y="4773313"/>
                <a:ext cx="164828" cy="223440"/>
              </a:xfrm>
              <a:custGeom>
                <a:avLst/>
                <a:gdLst>
                  <a:gd name="connsiteX0" fmla="*/ 164829 w 164828"/>
                  <a:gd name="connsiteY0" fmla="*/ 1795 h 223440"/>
                  <a:gd name="connsiteX1" fmla="*/ 2452 w 164828"/>
                  <a:gd name="connsiteY1" fmla="*/ 223440 h 223440"/>
                  <a:gd name="connsiteX2" fmla="*/ 0 w 164828"/>
                  <a:gd name="connsiteY2" fmla="*/ 221646 h 223440"/>
                  <a:gd name="connsiteX3" fmla="*/ 162377 w 164828"/>
                  <a:gd name="connsiteY3" fmla="*/ 0 h 223440"/>
                </a:gdLst>
                <a:ahLst/>
                <a:cxnLst>
                  <a:cxn ang="0">
                    <a:pos x="connsiteX0" y="connsiteY0"/>
                  </a:cxn>
                  <a:cxn ang="0">
                    <a:pos x="connsiteX1" y="connsiteY1"/>
                  </a:cxn>
                  <a:cxn ang="0">
                    <a:pos x="connsiteX2" y="connsiteY2"/>
                  </a:cxn>
                  <a:cxn ang="0">
                    <a:pos x="connsiteX3" y="connsiteY3"/>
                  </a:cxn>
                </a:cxnLst>
                <a:rect l="l" t="t" r="r" b="b"/>
                <a:pathLst>
                  <a:path w="164828" h="223440">
                    <a:moveTo>
                      <a:pt x="164829" y="1795"/>
                    </a:moveTo>
                    <a:lnTo>
                      <a:pt x="2452" y="223440"/>
                    </a:lnTo>
                    <a:lnTo>
                      <a:pt x="0" y="221646"/>
                    </a:lnTo>
                    <a:lnTo>
                      <a:pt x="162377" y="0"/>
                    </a:lnTo>
                    <a:close/>
                  </a:path>
                </a:pathLst>
              </a:custGeom>
              <a:grpFill/>
              <a:ln w="5978" cap="flat">
                <a:noFill/>
                <a:prstDash val="solid"/>
                <a:miter/>
              </a:ln>
            </p:spPr>
            <p:txBody>
              <a:bodyPr rtlCol="0" anchor="ctr"/>
              <a:lstStyle/>
              <a:p>
                <a:endParaRPr lang="en-GB"/>
              </a:p>
            </p:txBody>
          </p:sp>
          <p:sp>
            <p:nvSpPr>
              <p:cNvPr id="2248" name="Vrije vorm: vorm 2247">
                <a:extLst>
                  <a:ext uri="{FF2B5EF4-FFF2-40B4-BE49-F238E27FC236}">
                    <a16:creationId xmlns:a16="http://schemas.microsoft.com/office/drawing/2014/main" id="{984C3390-CBB3-4B43-9418-447222809784}"/>
                  </a:ext>
                </a:extLst>
              </p:cNvPr>
              <p:cNvSpPr/>
              <p:nvPr/>
            </p:nvSpPr>
            <p:spPr>
              <a:xfrm>
                <a:off x="4889943" y="4986326"/>
                <a:ext cx="18309" cy="18402"/>
              </a:xfrm>
              <a:custGeom>
                <a:avLst/>
                <a:gdLst>
                  <a:gd name="connsiteX0" fmla="*/ 16541 w 18309"/>
                  <a:gd name="connsiteY0" fmla="*/ 14674 h 18402"/>
                  <a:gd name="connsiteX1" fmla="*/ 3742 w 18309"/>
                  <a:gd name="connsiteY1" fmla="*/ 16588 h 18402"/>
                  <a:gd name="connsiteX2" fmla="*/ 1768 w 18309"/>
                  <a:gd name="connsiteY2" fmla="*/ 3729 h 18402"/>
                  <a:gd name="connsiteX3" fmla="*/ 14567 w 18309"/>
                  <a:gd name="connsiteY3" fmla="*/ 1815 h 18402"/>
                  <a:gd name="connsiteX4" fmla="*/ 16541 w 18309"/>
                  <a:gd name="connsiteY4" fmla="*/ 14674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2">
                    <a:moveTo>
                      <a:pt x="16541" y="14674"/>
                    </a:moveTo>
                    <a:cubicBezTo>
                      <a:pt x="13550" y="18741"/>
                      <a:pt x="7809" y="19638"/>
                      <a:pt x="3742" y="16588"/>
                    </a:cubicBezTo>
                    <a:cubicBezTo>
                      <a:pt x="-325" y="13537"/>
                      <a:pt x="-1222" y="7796"/>
                      <a:pt x="1768" y="3729"/>
                    </a:cubicBezTo>
                    <a:cubicBezTo>
                      <a:pt x="4759" y="-338"/>
                      <a:pt x="10500" y="-1235"/>
                      <a:pt x="14567" y="1815"/>
                    </a:cubicBezTo>
                    <a:cubicBezTo>
                      <a:pt x="18634" y="4806"/>
                      <a:pt x="19531" y="10547"/>
                      <a:pt x="16541" y="14674"/>
                    </a:cubicBezTo>
                    <a:close/>
                  </a:path>
                </a:pathLst>
              </a:custGeom>
              <a:grpFill/>
              <a:ln w="5978" cap="flat">
                <a:noFill/>
                <a:prstDash val="solid"/>
                <a:miter/>
              </a:ln>
            </p:spPr>
            <p:txBody>
              <a:bodyPr rtlCol="0" anchor="ctr"/>
              <a:lstStyle/>
              <a:p>
                <a:endParaRPr lang="en-GB"/>
              </a:p>
            </p:txBody>
          </p:sp>
          <p:sp>
            <p:nvSpPr>
              <p:cNvPr id="2249" name="Vrije vorm: vorm 2248">
                <a:extLst>
                  <a:ext uri="{FF2B5EF4-FFF2-40B4-BE49-F238E27FC236}">
                    <a16:creationId xmlns:a16="http://schemas.microsoft.com/office/drawing/2014/main" id="{277AC891-E842-4E6D-AF87-347726F8BAB5}"/>
                  </a:ext>
                </a:extLst>
              </p:cNvPr>
              <p:cNvSpPr/>
              <p:nvPr/>
            </p:nvSpPr>
            <p:spPr>
              <a:xfrm>
                <a:off x="5051722" y="4765398"/>
                <a:ext cx="18309" cy="18402"/>
              </a:xfrm>
              <a:custGeom>
                <a:avLst/>
                <a:gdLst>
                  <a:gd name="connsiteX0" fmla="*/ 16541 w 18309"/>
                  <a:gd name="connsiteY0" fmla="*/ 14674 h 18402"/>
                  <a:gd name="connsiteX1" fmla="*/ 14567 w 18309"/>
                  <a:gd name="connsiteY1" fmla="*/ 1815 h 18402"/>
                  <a:gd name="connsiteX2" fmla="*/ 1768 w 18309"/>
                  <a:gd name="connsiteY2" fmla="*/ 3729 h 18402"/>
                  <a:gd name="connsiteX3" fmla="*/ 3742 w 18309"/>
                  <a:gd name="connsiteY3" fmla="*/ 16588 h 18402"/>
                  <a:gd name="connsiteX4" fmla="*/ 16541 w 18309"/>
                  <a:gd name="connsiteY4" fmla="*/ 14674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2">
                    <a:moveTo>
                      <a:pt x="16541" y="14674"/>
                    </a:moveTo>
                    <a:cubicBezTo>
                      <a:pt x="19531" y="10607"/>
                      <a:pt x="18634" y="4806"/>
                      <a:pt x="14567" y="1815"/>
                    </a:cubicBezTo>
                    <a:cubicBezTo>
                      <a:pt x="10500" y="-1235"/>
                      <a:pt x="4759" y="-338"/>
                      <a:pt x="1768" y="3729"/>
                    </a:cubicBezTo>
                    <a:cubicBezTo>
                      <a:pt x="-1222" y="7796"/>
                      <a:pt x="-325" y="13597"/>
                      <a:pt x="3742" y="16588"/>
                    </a:cubicBezTo>
                    <a:cubicBezTo>
                      <a:pt x="7809" y="19638"/>
                      <a:pt x="13550" y="18741"/>
                      <a:pt x="16541" y="14674"/>
                    </a:cubicBezTo>
                    <a:close/>
                  </a:path>
                </a:pathLst>
              </a:custGeom>
              <a:grpFill/>
              <a:ln w="5978" cap="flat">
                <a:noFill/>
                <a:prstDash val="solid"/>
                <a:miter/>
              </a:ln>
            </p:spPr>
            <p:txBody>
              <a:bodyPr rtlCol="0" anchor="ctr"/>
              <a:lstStyle/>
              <a:p>
                <a:endParaRPr lang="en-GB"/>
              </a:p>
            </p:txBody>
          </p:sp>
        </p:grpSp>
        <p:grpSp>
          <p:nvGrpSpPr>
            <p:cNvPr id="1052" name="Graphic 3">
              <a:extLst>
                <a:ext uri="{FF2B5EF4-FFF2-40B4-BE49-F238E27FC236}">
                  <a16:creationId xmlns:a16="http://schemas.microsoft.com/office/drawing/2014/main" id="{758BB58A-4B67-4230-BFF4-C2D53C0F54FB}"/>
                </a:ext>
              </a:extLst>
            </p:cNvPr>
            <p:cNvGrpSpPr/>
            <p:nvPr/>
          </p:nvGrpSpPr>
          <p:grpSpPr>
            <a:xfrm>
              <a:off x="5050321" y="5141906"/>
              <a:ext cx="105054" cy="183846"/>
              <a:chOff x="5050321" y="5141906"/>
              <a:chExt cx="105054" cy="183846"/>
            </a:xfrm>
            <a:grpFill/>
          </p:grpSpPr>
          <p:sp>
            <p:nvSpPr>
              <p:cNvPr id="2244" name="Vrije vorm: vorm 2243">
                <a:extLst>
                  <a:ext uri="{FF2B5EF4-FFF2-40B4-BE49-F238E27FC236}">
                    <a16:creationId xmlns:a16="http://schemas.microsoft.com/office/drawing/2014/main" id="{1CA477B6-5A27-4383-BAB0-5DFB11BC0D85}"/>
                  </a:ext>
                </a:extLst>
              </p:cNvPr>
              <p:cNvSpPr/>
              <p:nvPr/>
            </p:nvSpPr>
            <p:spPr>
              <a:xfrm>
                <a:off x="5057976" y="5149980"/>
                <a:ext cx="89830" cy="167639"/>
              </a:xfrm>
              <a:custGeom>
                <a:avLst/>
                <a:gdLst>
                  <a:gd name="connsiteX0" fmla="*/ 89831 w 89830"/>
                  <a:gd name="connsiteY0" fmla="*/ 1435 h 167639"/>
                  <a:gd name="connsiteX1" fmla="*/ 2691 w 89830"/>
                  <a:gd name="connsiteY1" fmla="*/ 167639 h 167639"/>
                  <a:gd name="connsiteX2" fmla="*/ 0 w 89830"/>
                  <a:gd name="connsiteY2" fmla="*/ 166204 h 167639"/>
                  <a:gd name="connsiteX3" fmla="*/ 87139 w 89830"/>
                  <a:gd name="connsiteY3" fmla="*/ 0 h 167639"/>
                </a:gdLst>
                <a:ahLst/>
                <a:cxnLst>
                  <a:cxn ang="0">
                    <a:pos x="connsiteX0" y="connsiteY0"/>
                  </a:cxn>
                  <a:cxn ang="0">
                    <a:pos x="connsiteX1" y="connsiteY1"/>
                  </a:cxn>
                  <a:cxn ang="0">
                    <a:pos x="connsiteX2" y="connsiteY2"/>
                  </a:cxn>
                  <a:cxn ang="0">
                    <a:pos x="connsiteX3" y="connsiteY3"/>
                  </a:cxn>
                </a:cxnLst>
                <a:rect l="l" t="t" r="r" b="b"/>
                <a:pathLst>
                  <a:path w="89830" h="167639">
                    <a:moveTo>
                      <a:pt x="89831" y="1435"/>
                    </a:moveTo>
                    <a:lnTo>
                      <a:pt x="2691" y="167639"/>
                    </a:lnTo>
                    <a:lnTo>
                      <a:pt x="0" y="166204"/>
                    </a:lnTo>
                    <a:lnTo>
                      <a:pt x="87139" y="0"/>
                    </a:lnTo>
                    <a:close/>
                  </a:path>
                </a:pathLst>
              </a:custGeom>
              <a:grpFill/>
              <a:ln w="5978" cap="flat">
                <a:noFill/>
                <a:prstDash val="solid"/>
                <a:miter/>
              </a:ln>
            </p:spPr>
            <p:txBody>
              <a:bodyPr rtlCol="0" anchor="ctr"/>
              <a:lstStyle/>
              <a:p>
                <a:endParaRPr lang="en-GB"/>
              </a:p>
            </p:txBody>
          </p:sp>
          <p:sp>
            <p:nvSpPr>
              <p:cNvPr id="2245" name="Vrije vorm: vorm 2244">
                <a:extLst>
                  <a:ext uri="{FF2B5EF4-FFF2-40B4-BE49-F238E27FC236}">
                    <a16:creationId xmlns:a16="http://schemas.microsoft.com/office/drawing/2014/main" id="{FAA7A9DD-9C53-42BE-BE42-32B54C8A5C7D}"/>
                  </a:ext>
                </a:extLst>
              </p:cNvPr>
              <p:cNvSpPr/>
              <p:nvPr/>
            </p:nvSpPr>
            <p:spPr>
              <a:xfrm>
                <a:off x="5050321" y="5307332"/>
                <a:ext cx="18360" cy="18420"/>
              </a:xfrm>
              <a:custGeom>
                <a:avLst/>
                <a:gdLst>
                  <a:gd name="connsiteX0" fmla="*/ 17284 w 18360"/>
                  <a:gd name="connsiteY0" fmla="*/ 13516 h 18420"/>
                  <a:gd name="connsiteX1" fmla="*/ 4904 w 18360"/>
                  <a:gd name="connsiteY1" fmla="*/ 17344 h 18420"/>
                  <a:gd name="connsiteX2" fmla="*/ 1076 w 18360"/>
                  <a:gd name="connsiteY2" fmla="*/ 4904 h 18420"/>
                  <a:gd name="connsiteX3" fmla="*/ 13456 w 18360"/>
                  <a:gd name="connsiteY3" fmla="*/ 1076 h 18420"/>
                  <a:gd name="connsiteX4" fmla="*/ 17284 w 18360"/>
                  <a:gd name="connsiteY4" fmla="*/ 13516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17284" y="13516"/>
                    </a:moveTo>
                    <a:cubicBezTo>
                      <a:pt x="14952" y="18002"/>
                      <a:pt x="9389" y="19736"/>
                      <a:pt x="4904" y="17344"/>
                    </a:cubicBezTo>
                    <a:cubicBezTo>
                      <a:pt x="418" y="14952"/>
                      <a:pt x="-1316" y="9390"/>
                      <a:pt x="1076" y="4904"/>
                    </a:cubicBezTo>
                    <a:cubicBezTo>
                      <a:pt x="3409" y="419"/>
                      <a:pt x="8971" y="-1316"/>
                      <a:pt x="13456" y="1076"/>
                    </a:cubicBezTo>
                    <a:cubicBezTo>
                      <a:pt x="17942" y="3409"/>
                      <a:pt x="19677" y="8971"/>
                      <a:pt x="17284" y="13516"/>
                    </a:cubicBezTo>
                    <a:close/>
                  </a:path>
                </a:pathLst>
              </a:custGeom>
              <a:grpFill/>
              <a:ln w="5978" cap="flat">
                <a:noFill/>
                <a:prstDash val="solid"/>
                <a:miter/>
              </a:ln>
            </p:spPr>
            <p:txBody>
              <a:bodyPr rtlCol="0" anchor="ctr"/>
              <a:lstStyle/>
              <a:p>
                <a:endParaRPr lang="en-GB"/>
              </a:p>
            </p:txBody>
          </p:sp>
          <p:sp>
            <p:nvSpPr>
              <p:cNvPr id="2246" name="Vrije vorm: vorm 2245">
                <a:extLst>
                  <a:ext uri="{FF2B5EF4-FFF2-40B4-BE49-F238E27FC236}">
                    <a16:creationId xmlns:a16="http://schemas.microsoft.com/office/drawing/2014/main" id="{2342C400-2333-445E-9473-BB5E4D13EEAC}"/>
                  </a:ext>
                </a:extLst>
              </p:cNvPr>
              <p:cNvSpPr/>
              <p:nvPr/>
            </p:nvSpPr>
            <p:spPr>
              <a:xfrm>
                <a:off x="5137068" y="5141906"/>
                <a:ext cx="18307" cy="18393"/>
              </a:xfrm>
              <a:custGeom>
                <a:avLst/>
                <a:gdLst>
                  <a:gd name="connsiteX0" fmla="*/ 17258 w 18307"/>
                  <a:gd name="connsiteY0" fmla="*/ 13516 h 18393"/>
                  <a:gd name="connsiteX1" fmla="*/ 13430 w 18307"/>
                  <a:gd name="connsiteY1" fmla="*/ 1076 h 18393"/>
                  <a:gd name="connsiteX2" fmla="*/ 1050 w 18307"/>
                  <a:gd name="connsiteY2" fmla="*/ 4904 h 18393"/>
                  <a:gd name="connsiteX3" fmla="*/ 4877 w 18307"/>
                  <a:gd name="connsiteY3" fmla="*/ 17344 h 18393"/>
                  <a:gd name="connsiteX4" fmla="*/ 17258 w 18307"/>
                  <a:gd name="connsiteY4" fmla="*/ 13516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393">
                    <a:moveTo>
                      <a:pt x="17258" y="13516"/>
                    </a:moveTo>
                    <a:cubicBezTo>
                      <a:pt x="19590" y="9031"/>
                      <a:pt x="17915" y="3469"/>
                      <a:pt x="13430" y="1076"/>
                    </a:cubicBezTo>
                    <a:cubicBezTo>
                      <a:pt x="8944" y="-1316"/>
                      <a:pt x="3382" y="418"/>
                      <a:pt x="1050" y="4904"/>
                    </a:cubicBezTo>
                    <a:cubicBezTo>
                      <a:pt x="-1282" y="9389"/>
                      <a:pt x="392" y="14951"/>
                      <a:pt x="4877" y="17344"/>
                    </a:cubicBezTo>
                    <a:cubicBezTo>
                      <a:pt x="9363" y="19676"/>
                      <a:pt x="14925" y="18002"/>
                      <a:pt x="17258" y="13516"/>
                    </a:cubicBezTo>
                    <a:close/>
                  </a:path>
                </a:pathLst>
              </a:custGeom>
              <a:grpFill/>
              <a:ln w="5978" cap="flat">
                <a:noFill/>
                <a:prstDash val="solid"/>
                <a:miter/>
              </a:ln>
            </p:spPr>
            <p:txBody>
              <a:bodyPr rtlCol="0" anchor="ctr"/>
              <a:lstStyle/>
              <a:p>
                <a:endParaRPr lang="en-GB"/>
              </a:p>
            </p:txBody>
          </p:sp>
        </p:grpSp>
        <p:grpSp>
          <p:nvGrpSpPr>
            <p:cNvPr id="1053" name="Graphic 3">
              <a:extLst>
                <a:ext uri="{FF2B5EF4-FFF2-40B4-BE49-F238E27FC236}">
                  <a16:creationId xmlns:a16="http://schemas.microsoft.com/office/drawing/2014/main" id="{6BCA3CDE-E692-44C8-BEFE-7BF72C0DB3C8}"/>
                </a:ext>
              </a:extLst>
            </p:cNvPr>
            <p:cNvGrpSpPr/>
            <p:nvPr/>
          </p:nvGrpSpPr>
          <p:grpSpPr>
            <a:xfrm>
              <a:off x="5081587" y="5257789"/>
              <a:ext cx="99364" cy="188198"/>
              <a:chOff x="5081587" y="5257789"/>
              <a:chExt cx="99364" cy="188198"/>
            </a:xfrm>
            <a:grpFill/>
          </p:grpSpPr>
          <p:sp>
            <p:nvSpPr>
              <p:cNvPr id="2241" name="Vrije vorm: vorm 2240">
                <a:extLst>
                  <a:ext uri="{FF2B5EF4-FFF2-40B4-BE49-F238E27FC236}">
                    <a16:creationId xmlns:a16="http://schemas.microsoft.com/office/drawing/2014/main" id="{6B2F555F-CB5A-4B32-B4C1-FA9D840104AF}"/>
                  </a:ext>
                </a:extLst>
              </p:cNvPr>
              <p:cNvSpPr/>
              <p:nvPr/>
            </p:nvSpPr>
            <p:spPr>
              <a:xfrm>
                <a:off x="5089135" y="5265946"/>
                <a:ext cx="84208" cy="171885"/>
              </a:xfrm>
              <a:custGeom>
                <a:avLst/>
                <a:gdLst>
                  <a:gd name="connsiteX0" fmla="*/ 84209 w 84208"/>
                  <a:gd name="connsiteY0" fmla="*/ 1316 h 171885"/>
                  <a:gd name="connsiteX1" fmla="*/ 2751 w 84208"/>
                  <a:gd name="connsiteY1" fmla="*/ 171886 h 171885"/>
                  <a:gd name="connsiteX2" fmla="*/ 0 w 84208"/>
                  <a:gd name="connsiteY2" fmla="*/ 170510 h 171885"/>
                  <a:gd name="connsiteX3" fmla="*/ 81458 w 84208"/>
                  <a:gd name="connsiteY3" fmla="*/ 0 h 171885"/>
                </a:gdLst>
                <a:ahLst/>
                <a:cxnLst>
                  <a:cxn ang="0">
                    <a:pos x="connsiteX0" y="connsiteY0"/>
                  </a:cxn>
                  <a:cxn ang="0">
                    <a:pos x="connsiteX1" y="connsiteY1"/>
                  </a:cxn>
                  <a:cxn ang="0">
                    <a:pos x="connsiteX2" y="connsiteY2"/>
                  </a:cxn>
                  <a:cxn ang="0">
                    <a:pos x="connsiteX3" y="connsiteY3"/>
                  </a:cxn>
                </a:cxnLst>
                <a:rect l="l" t="t" r="r" b="b"/>
                <a:pathLst>
                  <a:path w="84208" h="171885">
                    <a:moveTo>
                      <a:pt x="84209" y="1316"/>
                    </a:moveTo>
                    <a:lnTo>
                      <a:pt x="2751" y="171886"/>
                    </a:lnTo>
                    <a:lnTo>
                      <a:pt x="0" y="170510"/>
                    </a:lnTo>
                    <a:lnTo>
                      <a:pt x="81458" y="0"/>
                    </a:lnTo>
                    <a:close/>
                  </a:path>
                </a:pathLst>
              </a:custGeom>
              <a:grpFill/>
              <a:ln w="5978" cap="flat">
                <a:noFill/>
                <a:prstDash val="solid"/>
                <a:miter/>
              </a:ln>
            </p:spPr>
            <p:txBody>
              <a:bodyPr rtlCol="0" anchor="ctr"/>
              <a:lstStyle/>
              <a:p>
                <a:endParaRPr lang="en-GB"/>
              </a:p>
            </p:txBody>
          </p:sp>
          <p:sp>
            <p:nvSpPr>
              <p:cNvPr id="2242" name="Vrije vorm: vorm 2241">
                <a:extLst>
                  <a:ext uri="{FF2B5EF4-FFF2-40B4-BE49-F238E27FC236}">
                    <a16:creationId xmlns:a16="http://schemas.microsoft.com/office/drawing/2014/main" id="{33DD5003-3C3F-49FB-8CAF-6EACAAE2BB31}"/>
                  </a:ext>
                </a:extLst>
              </p:cNvPr>
              <p:cNvSpPr/>
              <p:nvPr/>
            </p:nvSpPr>
            <p:spPr>
              <a:xfrm>
                <a:off x="5081587" y="5427522"/>
                <a:ext cx="18299" cy="18465"/>
              </a:xfrm>
              <a:custGeom>
                <a:avLst/>
                <a:gdLst>
                  <a:gd name="connsiteX0" fmla="*/ 17416 w 18299"/>
                  <a:gd name="connsiteY0" fmla="*/ 13240 h 18465"/>
                  <a:gd name="connsiteX1" fmla="*/ 5216 w 18299"/>
                  <a:gd name="connsiteY1" fmla="*/ 17546 h 18465"/>
                  <a:gd name="connsiteX2" fmla="*/ 910 w 18299"/>
                  <a:gd name="connsiteY2" fmla="*/ 5226 h 18465"/>
                  <a:gd name="connsiteX3" fmla="*/ 13110 w 18299"/>
                  <a:gd name="connsiteY3" fmla="*/ 920 h 18465"/>
                  <a:gd name="connsiteX4" fmla="*/ 17416 w 18299"/>
                  <a:gd name="connsiteY4" fmla="*/ 1324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465">
                    <a:moveTo>
                      <a:pt x="17416" y="13240"/>
                    </a:moveTo>
                    <a:cubicBezTo>
                      <a:pt x="15204" y="17845"/>
                      <a:pt x="9761" y="19759"/>
                      <a:pt x="5216" y="17546"/>
                    </a:cubicBezTo>
                    <a:cubicBezTo>
                      <a:pt x="670" y="15333"/>
                      <a:pt x="-1303" y="9831"/>
                      <a:pt x="910" y="5226"/>
                    </a:cubicBezTo>
                    <a:cubicBezTo>
                      <a:pt x="3122" y="621"/>
                      <a:pt x="8565" y="-1293"/>
                      <a:pt x="13110" y="920"/>
                    </a:cubicBezTo>
                    <a:cubicBezTo>
                      <a:pt x="17656" y="3133"/>
                      <a:pt x="19569" y="8635"/>
                      <a:pt x="17416" y="13240"/>
                    </a:cubicBezTo>
                    <a:close/>
                  </a:path>
                </a:pathLst>
              </a:custGeom>
              <a:grpFill/>
              <a:ln w="5978" cap="flat">
                <a:noFill/>
                <a:prstDash val="solid"/>
                <a:miter/>
              </a:ln>
            </p:spPr>
            <p:txBody>
              <a:bodyPr rtlCol="0" anchor="ctr"/>
              <a:lstStyle/>
              <a:p>
                <a:endParaRPr lang="en-GB"/>
              </a:p>
            </p:txBody>
          </p:sp>
          <p:sp>
            <p:nvSpPr>
              <p:cNvPr id="2243" name="Vrije vorm: vorm 2242">
                <a:extLst>
                  <a:ext uri="{FF2B5EF4-FFF2-40B4-BE49-F238E27FC236}">
                    <a16:creationId xmlns:a16="http://schemas.microsoft.com/office/drawing/2014/main" id="{27C3E64E-B59A-4B30-B458-71C5116BDD99}"/>
                  </a:ext>
                </a:extLst>
              </p:cNvPr>
              <p:cNvSpPr/>
              <p:nvPr/>
            </p:nvSpPr>
            <p:spPr>
              <a:xfrm>
                <a:off x="5162626" y="5257789"/>
                <a:ext cx="18326" cy="18429"/>
              </a:xfrm>
              <a:custGeom>
                <a:avLst/>
                <a:gdLst>
                  <a:gd name="connsiteX0" fmla="*/ 17416 w 18326"/>
                  <a:gd name="connsiteY0" fmla="*/ 13240 h 18429"/>
                  <a:gd name="connsiteX1" fmla="*/ 13110 w 18326"/>
                  <a:gd name="connsiteY1" fmla="*/ 920 h 18429"/>
                  <a:gd name="connsiteX2" fmla="*/ 910 w 18326"/>
                  <a:gd name="connsiteY2" fmla="*/ 5226 h 18429"/>
                  <a:gd name="connsiteX3" fmla="*/ 5216 w 18326"/>
                  <a:gd name="connsiteY3" fmla="*/ 17546 h 18429"/>
                  <a:gd name="connsiteX4" fmla="*/ 17416 w 18326"/>
                  <a:gd name="connsiteY4" fmla="*/ 13240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29">
                    <a:moveTo>
                      <a:pt x="17416" y="13240"/>
                    </a:moveTo>
                    <a:cubicBezTo>
                      <a:pt x="19629" y="8635"/>
                      <a:pt x="17656" y="3133"/>
                      <a:pt x="13110" y="920"/>
                    </a:cubicBezTo>
                    <a:cubicBezTo>
                      <a:pt x="8565" y="-1293"/>
                      <a:pt x="3063" y="621"/>
                      <a:pt x="910" y="5226"/>
                    </a:cubicBezTo>
                    <a:cubicBezTo>
                      <a:pt x="-1303" y="9831"/>
                      <a:pt x="670" y="15333"/>
                      <a:pt x="5216" y="17546"/>
                    </a:cubicBezTo>
                    <a:cubicBezTo>
                      <a:pt x="9701" y="19699"/>
                      <a:pt x="15204" y="17785"/>
                      <a:pt x="17416" y="13240"/>
                    </a:cubicBezTo>
                    <a:close/>
                  </a:path>
                </a:pathLst>
              </a:custGeom>
              <a:grpFill/>
              <a:ln w="5978" cap="flat">
                <a:noFill/>
                <a:prstDash val="solid"/>
                <a:miter/>
              </a:ln>
            </p:spPr>
            <p:txBody>
              <a:bodyPr rtlCol="0" anchor="ctr"/>
              <a:lstStyle/>
              <a:p>
                <a:endParaRPr lang="en-GB"/>
              </a:p>
            </p:txBody>
          </p:sp>
        </p:grpSp>
        <p:grpSp>
          <p:nvGrpSpPr>
            <p:cNvPr id="1054" name="Graphic 3">
              <a:extLst>
                <a:ext uri="{FF2B5EF4-FFF2-40B4-BE49-F238E27FC236}">
                  <a16:creationId xmlns:a16="http://schemas.microsoft.com/office/drawing/2014/main" id="{BDC28F16-82AA-4229-BBB9-0C1DE7755212}"/>
                </a:ext>
              </a:extLst>
            </p:cNvPr>
            <p:cNvGrpSpPr/>
            <p:nvPr/>
          </p:nvGrpSpPr>
          <p:grpSpPr>
            <a:xfrm>
              <a:off x="4196167" y="2840801"/>
              <a:ext cx="217790" cy="110472"/>
              <a:chOff x="4196167" y="2840801"/>
              <a:chExt cx="217790" cy="110472"/>
            </a:xfrm>
            <a:grpFill/>
          </p:grpSpPr>
          <p:sp>
            <p:nvSpPr>
              <p:cNvPr id="2238" name="Vrije vorm: vorm 2237">
                <a:extLst>
                  <a:ext uri="{FF2B5EF4-FFF2-40B4-BE49-F238E27FC236}">
                    <a16:creationId xmlns:a16="http://schemas.microsoft.com/office/drawing/2014/main" id="{52F42F16-4D64-49D2-8AA5-8BDE34920FF1}"/>
                  </a:ext>
                </a:extLst>
              </p:cNvPr>
              <p:cNvSpPr/>
              <p:nvPr/>
            </p:nvSpPr>
            <p:spPr>
              <a:xfrm>
                <a:off x="4204288" y="2848418"/>
                <a:ext cx="201550" cy="95272"/>
              </a:xfrm>
              <a:custGeom>
                <a:avLst/>
                <a:gdLst>
                  <a:gd name="connsiteX0" fmla="*/ 201550 w 201550"/>
                  <a:gd name="connsiteY0" fmla="*/ 92462 h 95272"/>
                  <a:gd name="connsiteX1" fmla="*/ 200294 w 201550"/>
                  <a:gd name="connsiteY1" fmla="*/ 95273 h 95272"/>
                  <a:gd name="connsiteX2" fmla="*/ 0 w 201550"/>
                  <a:gd name="connsiteY2" fmla="*/ 2811 h 95272"/>
                  <a:gd name="connsiteX3" fmla="*/ 1256 w 201550"/>
                  <a:gd name="connsiteY3" fmla="*/ 0 h 95272"/>
                </a:gdLst>
                <a:ahLst/>
                <a:cxnLst>
                  <a:cxn ang="0">
                    <a:pos x="connsiteX0" y="connsiteY0"/>
                  </a:cxn>
                  <a:cxn ang="0">
                    <a:pos x="connsiteX1" y="connsiteY1"/>
                  </a:cxn>
                  <a:cxn ang="0">
                    <a:pos x="connsiteX2" y="connsiteY2"/>
                  </a:cxn>
                  <a:cxn ang="0">
                    <a:pos x="connsiteX3" y="connsiteY3"/>
                  </a:cxn>
                </a:cxnLst>
                <a:rect l="l" t="t" r="r" b="b"/>
                <a:pathLst>
                  <a:path w="201550" h="95272">
                    <a:moveTo>
                      <a:pt x="201550" y="92462"/>
                    </a:moveTo>
                    <a:lnTo>
                      <a:pt x="200294" y="95273"/>
                    </a:lnTo>
                    <a:lnTo>
                      <a:pt x="0" y="2811"/>
                    </a:lnTo>
                    <a:lnTo>
                      <a:pt x="1256" y="0"/>
                    </a:lnTo>
                    <a:close/>
                  </a:path>
                </a:pathLst>
              </a:custGeom>
              <a:grpFill/>
              <a:ln w="5978" cap="flat">
                <a:noFill/>
                <a:prstDash val="solid"/>
                <a:miter/>
              </a:ln>
            </p:spPr>
            <p:txBody>
              <a:bodyPr rtlCol="0" anchor="ctr"/>
              <a:lstStyle/>
              <a:p>
                <a:endParaRPr lang="en-GB"/>
              </a:p>
            </p:txBody>
          </p:sp>
          <p:sp>
            <p:nvSpPr>
              <p:cNvPr id="2239" name="Vrije vorm: vorm 2238">
                <a:extLst>
                  <a:ext uri="{FF2B5EF4-FFF2-40B4-BE49-F238E27FC236}">
                    <a16:creationId xmlns:a16="http://schemas.microsoft.com/office/drawing/2014/main" id="{DF3336E8-87C5-4373-B5C0-1E411946F490}"/>
                  </a:ext>
                </a:extLst>
              </p:cNvPr>
              <p:cNvSpPr/>
              <p:nvPr/>
            </p:nvSpPr>
            <p:spPr>
              <a:xfrm>
                <a:off x="4395624" y="2932880"/>
                <a:ext cx="18333" cy="18393"/>
              </a:xfrm>
              <a:custGeom>
                <a:avLst/>
                <a:gdLst>
                  <a:gd name="connsiteX0" fmla="*/ 12965 w 18333"/>
                  <a:gd name="connsiteY0" fmla="*/ 824 h 18393"/>
                  <a:gd name="connsiteX1" fmla="*/ 17510 w 18333"/>
                  <a:gd name="connsiteY1" fmla="*/ 13024 h 18393"/>
                  <a:gd name="connsiteX2" fmla="*/ 5369 w 18333"/>
                  <a:gd name="connsiteY2" fmla="*/ 17570 h 18393"/>
                  <a:gd name="connsiteX3" fmla="*/ 824 w 18333"/>
                  <a:gd name="connsiteY3" fmla="*/ 5369 h 18393"/>
                  <a:gd name="connsiteX4" fmla="*/ 12965 w 18333"/>
                  <a:gd name="connsiteY4" fmla="*/ 824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12965" y="824"/>
                    </a:moveTo>
                    <a:cubicBezTo>
                      <a:pt x="17570" y="2977"/>
                      <a:pt x="19603" y="8419"/>
                      <a:pt x="17510" y="13024"/>
                    </a:cubicBezTo>
                    <a:cubicBezTo>
                      <a:pt x="15417" y="17630"/>
                      <a:pt x="9974" y="19663"/>
                      <a:pt x="5369" y="17570"/>
                    </a:cubicBezTo>
                    <a:cubicBezTo>
                      <a:pt x="764" y="15417"/>
                      <a:pt x="-1270" y="9974"/>
                      <a:pt x="824" y="5369"/>
                    </a:cubicBezTo>
                    <a:cubicBezTo>
                      <a:pt x="2917" y="764"/>
                      <a:pt x="8359" y="-1270"/>
                      <a:pt x="12965" y="824"/>
                    </a:cubicBezTo>
                    <a:close/>
                  </a:path>
                </a:pathLst>
              </a:custGeom>
              <a:grpFill/>
              <a:ln w="5978" cap="flat">
                <a:noFill/>
                <a:prstDash val="solid"/>
                <a:miter/>
              </a:ln>
            </p:spPr>
            <p:txBody>
              <a:bodyPr rtlCol="0" anchor="ctr"/>
              <a:lstStyle/>
              <a:p>
                <a:endParaRPr lang="en-GB"/>
              </a:p>
            </p:txBody>
          </p:sp>
          <p:sp>
            <p:nvSpPr>
              <p:cNvPr id="2240" name="Vrije vorm: vorm 2239">
                <a:extLst>
                  <a:ext uri="{FF2B5EF4-FFF2-40B4-BE49-F238E27FC236}">
                    <a16:creationId xmlns:a16="http://schemas.microsoft.com/office/drawing/2014/main" id="{29D8780F-A75B-45C8-A604-D2221D6B2725}"/>
                  </a:ext>
                </a:extLst>
              </p:cNvPr>
              <p:cNvSpPr/>
              <p:nvPr/>
            </p:nvSpPr>
            <p:spPr>
              <a:xfrm>
                <a:off x="4196167" y="2840801"/>
                <a:ext cx="18333" cy="18464"/>
              </a:xfrm>
              <a:custGeom>
                <a:avLst/>
                <a:gdLst>
                  <a:gd name="connsiteX0" fmla="*/ 12965 w 18333"/>
                  <a:gd name="connsiteY0" fmla="*/ 859 h 18464"/>
                  <a:gd name="connsiteX1" fmla="*/ 824 w 18333"/>
                  <a:gd name="connsiteY1" fmla="*/ 5404 h 18464"/>
                  <a:gd name="connsiteX2" fmla="*/ 5369 w 18333"/>
                  <a:gd name="connsiteY2" fmla="*/ 17605 h 18464"/>
                  <a:gd name="connsiteX3" fmla="*/ 17510 w 18333"/>
                  <a:gd name="connsiteY3" fmla="*/ 13060 h 18464"/>
                  <a:gd name="connsiteX4" fmla="*/ 12965 w 18333"/>
                  <a:gd name="connsiteY4" fmla="*/ 859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12965" y="859"/>
                    </a:moveTo>
                    <a:cubicBezTo>
                      <a:pt x="8359" y="-1294"/>
                      <a:pt x="2917" y="739"/>
                      <a:pt x="824" y="5404"/>
                    </a:cubicBezTo>
                    <a:cubicBezTo>
                      <a:pt x="-1269" y="10009"/>
                      <a:pt x="764" y="15512"/>
                      <a:pt x="5369" y="17605"/>
                    </a:cubicBezTo>
                    <a:cubicBezTo>
                      <a:pt x="9974" y="19758"/>
                      <a:pt x="15417" y="17725"/>
                      <a:pt x="17510" y="13060"/>
                    </a:cubicBezTo>
                    <a:cubicBezTo>
                      <a:pt x="19603" y="8455"/>
                      <a:pt x="17570" y="2952"/>
                      <a:pt x="12965" y="859"/>
                    </a:cubicBezTo>
                    <a:close/>
                  </a:path>
                </a:pathLst>
              </a:custGeom>
              <a:grpFill/>
              <a:ln w="5978" cap="flat">
                <a:noFill/>
                <a:prstDash val="solid"/>
                <a:miter/>
              </a:ln>
            </p:spPr>
            <p:txBody>
              <a:bodyPr rtlCol="0" anchor="ctr"/>
              <a:lstStyle/>
              <a:p>
                <a:endParaRPr lang="en-GB"/>
              </a:p>
            </p:txBody>
          </p:sp>
        </p:grpSp>
        <p:grpSp>
          <p:nvGrpSpPr>
            <p:cNvPr id="1055" name="Graphic 3">
              <a:extLst>
                <a:ext uri="{FF2B5EF4-FFF2-40B4-BE49-F238E27FC236}">
                  <a16:creationId xmlns:a16="http://schemas.microsoft.com/office/drawing/2014/main" id="{9E4A0969-F088-489D-AFDC-CEFCC162986B}"/>
                </a:ext>
              </a:extLst>
            </p:cNvPr>
            <p:cNvGrpSpPr/>
            <p:nvPr/>
          </p:nvGrpSpPr>
          <p:grpSpPr>
            <a:xfrm>
              <a:off x="4221646" y="2884432"/>
              <a:ext cx="191833" cy="68220"/>
              <a:chOff x="4221646" y="2884432"/>
              <a:chExt cx="191833" cy="68220"/>
            </a:xfrm>
            <a:grpFill/>
          </p:grpSpPr>
          <p:sp>
            <p:nvSpPr>
              <p:cNvPr id="2235" name="Vrije vorm: vorm 2234">
                <a:extLst>
                  <a:ext uri="{FF2B5EF4-FFF2-40B4-BE49-F238E27FC236}">
                    <a16:creationId xmlns:a16="http://schemas.microsoft.com/office/drawing/2014/main" id="{2E63CA7A-72CA-40FC-AA79-97E576F7DD5C}"/>
                  </a:ext>
                </a:extLst>
              </p:cNvPr>
              <p:cNvSpPr/>
              <p:nvPr/>
            </p:nvSpPr>
            <p:spPr>
              <a:xfrm>
                <a:off x="4229945" y="2892018"/>
                <a:ext cx="175235" cy="52989"/>
              </a:xfrm>
              <a:custGeom>
                <a:avLst/>
                <a:gdLst>
                  <a:gd name="connsiteX0" fmla="*/ 175235 w 175235"/>
                  <a:gd name="connsiteY0" fmla="*/ 50059 h 52989"/>
                  <a:gd name="connsiteX1" fmla="*/ 174398 w 175235"/>
                  <a:gd name="connsiteY1" fmla="*/ 52989 h 52989"/>
                  <a:gd name="connsiteX2" fmla="*/ 0 w 175235"/>
                  <a:gd name="connsiteY2" fmla="*/ 2990 h 52989"/>
                  <a:gd name="connsiteX3" fmla="*/ 837 w 175235"/>
                  <a:gd name="connsiteY3" fmla="*/ 0 h 52989"/>
                </a:gdLst>
                <a:ahLst/>
                <a:cxnLst>
                  <a:cxn ang="0">
                    <a:pos x="connsiteX0" y="connsiteY0"/>
                  </a:cxn>
                  <a:cxn ang="0">
                    <a:pos x="connsiteX1" y="connsiteY1"/>
                  </a:cxn>
                  <a:cxn ang="0">
                    <a:pos x="connsiteX2" y="connsiteY2"/>
                  </a:cxn>
                  <a:cxn ang="0">
                    <a:pos x="connsiteX3" y="connsiteY3"/>
                  </a:cxn>
                </a:cxnLst>
                <a:rect l="l" t="t" r="r" b="b"/>
                <a:pathLst>
                  <a:path w="175235" h="52989">
                    <a:moveTo>
                      <a:pt x="175235" y="50059"/>
                    </a:moveTo>
                    <a:lnTo>
                      <a:pt x="174398" y="52989"/>
                    </a:lnTo>
                    <a:lnTo>
                      <a:pt x="0" y="2990"/>
                    </a:lnTo>
                    <a:lnTo>
                      <a:pt x="837" y="0"/>
                    </a:lnTo>
                    <a:close/>
                  </a:path>
                </a:pathLst>
              </a:custGeom>
              <a:grpFill/>
              <a:ln w="5978" cap="flat">
                <a:noFill/>
                <a:prstDash val="solid"/>
                <a:miter/>
              </a:ln>
            </p:spPr>
            <p:txBody>
              <a:bodyPr rtlCol="0" anchor="ctr"/>
              <a:lstStyle/>
              <a:p>
                <a:endParaRPr lang="en-GB"/>
              </a:p>
            </p:txBody>
          </p:sp>
          <p:sp>
            <p:nvSpPr>
              <p:cNvPr id="2236" name="Vrije vorm: vorm 2235">
                <a:extLst>
                  <a:ext uri="{FF2B5EF4-FFF2-40B4-BE49-F238E27FC236}">
                    <a16:creationId xmlns:a16="http://schemas.microsoft.com/office/drawing/2014/main" id="{4CE20D48-21B6-491D-AE8F-8C378E018E9D}"/>
                  </a:ext>
                </a:extLst>
              </p:cNvPr>
              <p:cNvSpPr/>
              <p:nvPr/>
            </p:nvSpPr>
            <p:spPr>
              <a:xfrm>
                <a:off x="4221646" y="2884432"/>
                <a:ext cx="18332" cy="18421"/>
              </a:xfrm>
              <a:custGeom>
                <a:avLst/>
                <a:gdLst>
                  <a:gd name="connsiteX0" fmla="*/ 6684 w 18332"/>
                  <a:gd name="connsiteY0" fmla="*/ 18052 h 18421"/>
                  <a:gd name="connsiteX1" fmla="*/ 345 w 18332"/>
                  <a:gd name="connsiteY1" fmla="*/ 6688 h 18421"/>
                  <a:gd name="connsiteX2" fmla="*/ 11648 w 18332"/>
                  <a:gd name="connsiteY2" fmla="*/ 349 h 18421"/>
                  <a:gd name="connsiteX3" fmla="*/ 17988 w 18332"/>
                  <a:gd name="connsiteY3" fmla="*/ 11712 h 18421"/>
                  <a:gd name="connsiteX4" fmla="*/ 6684 w 18332"/>
                  <a:gd name="connsiteY4" fmla="*/ 1805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21">
                    <a:moveTo>
                      <a:pt x="6684" y="18052"/>
                    </a:moveTo>
                    <a:cubicBezTo>
                      <a:pt x="1840" y="16676"/>
                      <a:pt x="-1031" y="11533"/>
                      <a:pt x="345" y="6688"/>
                    </a:cubicBezTo>
                    <a:cubicBezTo>
                      <a:pt x="1720" y="1784"/>
                      <a:pt x="6804" y="-1027"/>
                      <a:pt x="11648" y="349"/>
                    </a:cubicBezTo>
                    <a:cubicBezTo>
                      <a:pt x="16493" y="1724"/>
                      <a:pt x="19363" y="6868"/>
                      <a:pt x="17988" y="11712"/>
                    </a:cubicBezTo>
                    <a:cubicBezTo>
                      <a:pt x="16612" y="16616"/>
                      <a:pt x="11528" y="19487"/>
                      <a:pt x="6684" y="18052"/>
                    </a:cubicBezTo>
                    <a:close/>
                  </a:path>
                </a:pathLst>
              </a:custGeom>
              <a:grpFill/>
              <a:ln w="5978" cap="flat">
                <a:noFill/>
                <a:prstDash val="solid"/>
                <a:miter/>
              </a:ln>
            </p:spPr>
            <p:txBody>
              <a:bodyPr rtlCol="0" anchor="ctr"/>
              <a:lstStyle/>
              <a:p>
                <a:endParaRPr lang="en-GB"/>
              </a:p>
            </p:txBody>
          </p:sp>
          <p:sp>
            <p:nvSpPr>
              <p:cNvPr id="2237" name="Vrije vorm: vorm 2236">
                <a:extLst>
                  <a:ext uri="{FF2B5EF4-FFF2-40B4-BE49-F238E27FC236}">
                    <a16:creationId xmlns:a16="http://schemas.microsoft.com/office/drawing/2014/main" id="{FA2BCC14-435F-49A9-911D-B82DE8680E49}"/>
                  </a:ext>
                </a:extLst>
              </p:cNvPr>
              <p:cNvSpPr/>
              <p:nvPr/>
            </p:nvSpPr>
            <p:spPr>
              <a:xfrm>
                <a:off x="4395142" y="2934252"/>
                <a:ext cx="18336" cy="18400"/>
              </a:xfrm>
              <a:custGeom>
                <a:avLst/>
                <a:gdLst>
                  <a:gd name="connsiteX0" fmla="*/ 6688 w 18336"/>
                  <a:gd name="connsiteY0" fmla="*/ 18052 h 18400"/>
                  <a:gd name="connsiteX1" fmla="*/ 17992 w 18336"/>
                  <a:gd name="connsiteY1" fmla="*/ 11712 h 18400"/>
                  <a:gd name="connsiteX2" fmla="*/ 11653 w 18336"/>
                  <a:gd name="connsiteY2" fmla="*/ 349 h 18400"/>
                  <a:gd name="connsiteX3" fmla="*/ 349 w 18336"/>
                  <a:gd name="connsiteY3" fmla="*/ 6688 h 18400"/>
                  <a:gd name="connsiteX4" fmla="*/ 6688 w 18336"/>
                  <a:gd name="connsiteY4" fmla="*/ 18052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00">
                    <a:moveTo>
                      <a:pt x="6688" y="18052"/>
                    </a:moveTo>
                    <a:cubicBezTo>
                      <a:pt x="11533" y="19427"/>
                      <a:pt x="16617" y="16616"/>
                      <a:pt x="17992" y="11712"/>
                    </a:cubicBezTo>
                    <a:cubicBezTo>
                      <a:pt x="19368" y="6808"/>
                      <a:pt x="16497" y="1725"/>
                      <a:pt x="11653" y="349"/>
                    </a:cubicBezTo>
                    <a:cubicBezTo>
                      <a:pt x="6808" y="-1027"/>
                      <a:pt x="1724" y="1784"/>
                      <a:pt x="349" y="6688"/>
                    </a:cubicBezTo>
                    <a:cubicBezTo>
                      <a:pt x="-1027" y="11533"/>
                      <a:pt x="1784" y="16616"/>
                      <a:pt x="6688" y="18052"/>
                    </a:cubicBezTo>
                    <a:close/>
                  </a:path>
                </a:pathLst>
              </a:custGeom>
              <a:grpFill/>
              <a:ln w="5978" cap="flat">
                <a:noFill/>
                <a:prstDash val="solid"/>
                <a:miter/>
              </a:ln>
            </p:spPr>
            <p:txBody>
              <a:bodyPr rtlCol="0" anchor="ctr"/>
              <a:lstStyle/>
              <a:p>
                <a:endParaRPr lang="en-GB"/>
              </a:p>
            </p:txBody>
          </p:sp>
        </p:grpSp>
        <p:grpSp>
          <p:nvGrpSpPr>
            <p:cNvPr id="1056" name="Graphic 3">
              <a:extLst>
                <a:ext uri="{FF2B5EF4-FFF2-40B4-BE49-F238E27FC236}">
                  <a16:creationId xmlns:a16="http://schemas.microsoft.com/office/drawing/2014/main" id="{8DD14B4F-47D1-4889-BFCC-BA64444F9BD3}"/>
                </a:ext>
              </a:extLst>
            </p:cNvPr>
            <p:cNvGrpSpPr/>
            <p:nvPr/>
          </p:nvGrpSpPr>
          <p:grpSpPr>
            <a:xfrm>
              <a:off x="4878697" y="4697810"/>
              <a:ext cx="83684" cy="95027"/>
              <a:chOff x="4878697" y="4697810"/>
              <a:chExt cx="83684" cy="95027"/>
            </a:xfrm>
            <a:grpFill/>
          </p:grpSpPr>
          <p:sp>
            <p:nvSpPr>
              <p:cNvPr id="2232" name="Vrije vorm: vorm 2231">
                <a:extLst>
                  <a:ext uri="{FF2B5EF4-FFF2-40B4-BE49-F238E27FC236}">
                    <a16:creationId xmlns:a16="http://schemas.microsoft.com/office/drawing/2014/main" id="{89F138D9-C83E-4EA1-B929-7C10EB53333F}"/>
                  </a:ext>
                </a:extLst>
              </p:cNvPr>
              <p:cNvSpPr/>
              <p:nvPr/>
            </p:nvSpPr>
            <p:spPr>
              <a:xfrm>
                <a:off x="4886389" y="4705671"/>
                <a:ext cx="68299" cy="79304"/>
              </a:xfrm>
              <a:custGeom>
                <a:avLst/>
                <a:gdLst>
                  <a:gd name="connsiteX0" fmla="*/ 68300 w 68299"/>
                  <a:gd name="connsiteY0" fmla="*/ 2034 h 79304"/>
                  <a:gd name="connsiteX1" fmla="*/ 2333 w 68299"/>
                  <a:gd name="connsiteY1" fmla="*/ 79304 h 79304"/>
                  <a:gd name="connsiteX2" fmla="*/ 0 w 68299"/>
                  <a:gd name="connsiteY2" fmla="*/ 77331 h 79304"/>
                  <a:gd name="connsiteX3" fmla="*/ 66027 w 68299"/>
                  <a:gd name="connsiteY3" fmla="*/ 0 h 79304"/>
                </a:gdLst>
                <a:ahLst/>
                <a:cxnLst>
                  <a:cxn ang="0">
                    <a:pos x="connsiteX0" y="connsiteY0"/>
                  </a:cxn>
                  <a:cxn ang="0">
                    <a:pos x="connsiteX1" y="connsiteY1"/>
                  </a:cxn>
                  <a:cxn ang="0">
                    <a:pos x="connsiteX2" y="connsiteY2"/>
                  </a:cxn>
                  <a:cxn ang="0">
                    <a:pos x="connsiteX3" y="connsiteY3"/>
                  </a:cxn>
                </a:cxnLst>
                <a:rect l="l" t="t" r="r" b="b"/>
                <a:pathLst>
                  <a:path w="68299" h="79304">
                    <a:moveTo>
                      <a:pt x="68300" y="2034"/>
                    </a:moveTo>
                    <a:lnTo>
                      <a:pt x="2333" y="79304"/>
                    </a:lnTo>
                    <a:lnTo>
                      <a:pt x="0" y="77331"/>
                    </a:lnTo>
                    <a:lnTo>
                      <a:pt x="66027" y="0"/>
                    </a:lnTo>
                    <a:close/>
                  </a:path>
                </a:pathLst>
              </a:custGeom>
              <a:grpFill/>
              <a:ln w="5978" cap="flat">
                <a:noFill/>
                <a:prstDash val="solid"/>
                <a:miter/>
              </a:ln>
            </p:spPr>
            <p:txBody>
              <a:bodyPr rtlCol="0" anchor="ctr"/>
              <a:lstStyle/>
              <a:p>
                <a:endParaRPr lang="en-GB"/>
              </a:p>
            </p:txBody>
          </p:sp>
          <p:sp>
            <p:nvSpPr>
              <p:cNvPr id="2233" name="Vrije vorm: vorm 2232">
                <a:extLst>
                  <a:ext uri="{FF2B5EF4-FFF2-40B4-BE49-F238E27FC236}">
                    <a16:creationId xmlns:a16="http://schemas.microsoft.com/office/drawing/2014/main" id="{A6E5320C-9C63-434C-94F1-3C4559C16527}"/>
                  </a:ext>
                </a:extLst>
              </p:cNvPr>
              <p:cNvSpPr/>
              <p:nvPr/>
            </p:nvSpPr>
            <p:spPr>
              <a:xfrm>
                <a:off x="4878697" y="4774423"/>
                <a:ext cx="18315" cy="18414"/>
              </a:xfrm>
              <a:custGeom>
                <a:avLst/>
                <a:gdLst>
                  <a:gd name="connsiteX0" fmla="*/ 16125 w 18315"/>
                  <a:gd name="connsiteY0" fmla="*/ 15218 h 18414"/>
                  <a:gd name="connsiteX1" fmla="*/ 3207 w 18315"/>
                  <a:gd name="connsiteY1" fmla="*/ 16175 h 18414"/>
                  <a:gd name="connsiteX2" fmla="*/ 2190 w 18315"/>
                  <a:gd name="connsiteY2" fmla="*/ 3197 h 18414"/>
                  <a:gd name="connsiteX3" fmla="*/ 15108 w 18315"/>
                  <a:gd name="connsiteY3" fmla="*/ 2240 h 18414"/>
                  <a:gd name="connsiteX4" fmla="*/ 16125 w 18315"/>
                  <a:gd name="connsiteY4" fmla="*/ 1521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14">
                    <a:moveTo>
                      <a:pt x="16125" y="15218"/>
                    </a:moveTo>
                    <a:cubicBezTo>
                      <a:pt x="12836" y="19046"/>
                      <a:pt x="7034" y="19524"/>
                      <a:pt x="3207" y="16175"/>
                    </a:cubicBezTo>
                    <a:cubicBezTo>
                      <a:pt x="-621" y="12826"/>
                      <a:pt x="-1100" y="7024"/>
                      <a:pt x="2190" y="3197"/>
                    </a:cubicBezTo>
                    <a:cubicBezTo>
                      <a:pt x="5479" y="-631"/>
                      <a:pt x="11281" y="-1110"/>
                      <a:pt x="15108" y="2240"/>
                    </a:cubicBezTo>
                    <a:cubicBezTo>
                      <a:pt x="18936" y="5529"/>
                      <a:pt x="19415" y="11390"/>
                      <a:pt x="16125" y="15218"/>
                    </a:cubicBezTo>
                    <a:close/>
                  </a:path>
                </a:pathLst>
              </a:custGeom>
              <a:grpFill/>
              <a:ln w="5978" cap="flat">
                <a:noFill/>
                <a:prstDash val="solid"/>
                <a:miter/>
              </a:ln>
            </p:spPr>
            <p:txBody>
              <a:bodyPr rtlCol="0" anchor="ctr"/>
              <a:lstStyle/>
              <a:p>
                <a:endParaRPr lang="en-GB"/>
              </a:p>
            </p:txBody>
          </p:sp>
          <p:sp>
            <p:nvSpPr>
              <p:cNvPr id="2234" name="Vrije vorm: vorm 2233">
                <a:extLst>
                  <a:ext uri="{FF2B5EF4-FFF2-40B4-BE49-F238E27FC236}">
                    <a16:creationId xmlns:a16="http://schemas.microsoft.com/office/drawing/2014/main" id="{5841EB25-6EF1-4D11-9D86-CAF18264BA49}"/>
                  </a:ext>
                </a:extLst>
              </p:cNvPr>
              <p:cNvSpPr/>
              <p:nvPr/>
            </p:nvSpPr>
            <p:spPr>
              <a:xfrm>
                <a:off x="4944046" y="4697810"/>
                <a:ext cx="18334" cy="18434"/>
              </a:xfrm>
              <a:custGeom>
                <a:avLst/>
                <a:gdLst>
                  <a:gd name="connsiteX0" fmla="*/ 16145 w 18334"/>
                  <a:gd name="connsiteY0" fmla="*/ 15218 h 18434"/>
                  <a:gd name="connsiteX1" fmla="*/ 15128 w 18334"/>
                  <a:gd name="connsiteY1" fmla="*/ 2240 h 18434"/>
                  <a:gd name="connsiteX2" fmla="*/ 2210 w 18334"/>
                  <a:gd name="connsiteY2" fmla="*/ 3197 h 18434"/>
                  <a:gd name="connsiteX3" fmla="*/ 3227 w 18334"/>
                  <a:gd name="connsiteY3" fmla="*/ 16175 h 18434"/>
                  <a:gd name="connsiteX4" fmla="*/ 16145 w 18334"/>
                  <a:gd name="connsiteY4" fmla="*/ 15218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4">
                    <a:moveTo>
                      <a:pt x="16145" y="15218"/>
                    </a:moveTo>
                    <a:cubicBezTo>
                      <a:pt x="19434" y="11390"/>
                      <a:pt x="18956" y="5529"/>
                      <a:pt x="15128" y="2240"/>
                    </a:cubicBezTo>
                    <a:cubicBezTo>
                      <a:pt x="11300" y="-1110"/>
                      <a:pt x="5499" y="-631"/>
                      <a:pt x="2210" y="3197"/>
                    </a:cubicBezTo>
                    <a:cubicBezTo>
                      <a:pt x="-1079" y="7025"/>
                      <a:pt x="-661" y="12886"/>
                      <a:pt x="3227" y="16175"/>
                    </a:cubicBezTo>
                    <a:cubicBezTo>
                      <a:pt x="7114" y="19524"/>
                      <a:pt x="12855" y="19105"/>
                      <a:pt x="16145" y="15218"/>
                    </a:cubicBezTo>
                    <a:close/>
                  </a:path>
                </a:pathLst>
              </a:custGeom>
              <a:grpFill/>
              <a:ln w="5978" cap="flat">
                <a:noFill/>
                <a:prstDash val="solid"/>
                <a:miter/>
              </a:ln>
            </p:spPr>
            <p:txBody>
              <a:bodyPr rtlCol="0" anchor="ctr"/>
              <a:lstStyle/>
              <a:p>
                <a:endParaRPr lang="en-GB"/>
              </a:p>
            </p:txBody>
          </p:sp>
        </p:grpSp>
        <p:grpSp>
          <p:nvGrpSpPr>
            <p:cNvPr id="1057" name="Graphic 3">
              <a:extLst>
                <a:ext uri="{FF2B5EF4-FFF2-40B4-BE49-F238E27FC236}">
                  <a16:creationId xmlns:a16="http://schemas.microsoft.com/office/drawing/2014/main" id="{643F8EC1-AD48-41E6-8132-B2A3801960CD}"/>
                </a:ext>
              </a:extLst>
            </p:cNvPr>
            <p:cNvGrpSpPr/>
            <p:nvPr/>
          </p:nvGrpSpPr>
          <p:grpSpPr>
            <a:xfrm>
              <a:off x="4327602" y="3051217"/>
              <a:ext cx="63770" cy="27888"/>
              <a:chOff x="4327602" y="3051217"/>
              <a:chExt cx="63770" cy="27888"/>
            </a:xfrm>
            <a:grpFill/>
          </p:grpSpPr>
          <p:sp>
            <p:nvSpPr>
              <p:cNvPr id="2229" name="Vrije vorm: vorm 2228">
                <a:extLst>
                  <a:ext uri="{FF2B5EF4-FFF2-40B4-BE49-F238E27FC236}">
                    <a16:creationId xmlns:a16="http://schemas.microsoft.com/office/drawing/2014/main" id="{00A6BED9-76EB-49F9-8642-276B096CB504}"/>
                  </a:ext>
                </a:extLst>
              </p:cNvPr>
              <p:cNvSpPr/>
              <p:nvPr/>
            </p:nvSpPr>
            <p:spPr>
              <a:xfrm>
                <a:off x="4336043" y="3058880"/>
                <a:ext cx="46889" cy="12619"/>
              </a:xfrm>
              <a:custGeom>
                <a:avLst/>
                <a:gdLst>
                  <a:gd name="connsiteX0" fmla="*/ 46889 w 46889"/>
                  <a:gd name="connsiteY0" fmla="*/ 9629 h 12619"/>
                  <a:gd name="connsiteX1" fmla="*/ 46291 w 46889"/>
                  <a:gd name="connsiteY1" fmla="*/ 12619 h 12619"/>
                  <a:gd name="connsiteX2" fmla="*/ 0 w 46889"/>
                  <a:gd name="connsiteY2" fmla="*/ 2990 h 12619"/>
                  <a:gd name="connsiteX3" fmla="*/ 598 w 46889"/>
                  <a:gd name="connsiteY3" fmla="*/ 0 h 12619"/>
                </a:gdLst>
                <a:ahLst/>
                <a:cxnLst>
                  <a:cxn ang="0">
                    <a:pos x="connsiteX0" y="connsiteY0"/>
                  </a:cxn>
                  <a:cxn ang="0">
                    <a:pos x="connsiteX1" y="connsiteY1"/>
                  </a:cxn>
                  <a:cxn ang="0">
                    <a:pos x="connsiteX2" y="connsiteY2"/>
                  </a:cxn>
                  <a:cxn ang="0">
                    <a:pos x="connsiteX3" y="connsiteY3"/>
                  </a:cxn>
                </a:cxnLst>
                <a:rect l="l" t="t" r="r" b="b"/>
                <a:pathLst>
                  <a:path w="46889" h="12619">
                    <a:moveTo>
                      <a:pt x="46889" y="9629"/>
                    </a:moveTo>
                    <a:lnTo>
                      <a:pt x="46291" y="12619"/>
                    </a:lnTo>
                    <a:lnTo>
                      <a:pt x="0" y="2990"/>
                    </a:lnTo>
                    <a:lnTo>
                      <a:pt x="598" y="0"/>
                    </a:lnTo>
                    <a:close/>
                  </a:path>
                </a:pathLst>
              </a:custGeom>
              <a:grpFill/>
              <a:ln w="5978" cap="flat">
                <a:noFill/>
                <a:prstDash val="solid"/>
                <a:miter/>
              </a:ln>
            </p:spPr>
            <p:txBody>
              <a:bodyPr rtlCol="0" anchor="ctr"/>
              <a:lstStyle/>
              <a:p>
                <a:endParaRPr lang="en-GB"/>
              </a:p>
            </p:txBody>
          </p:sp>
          <p:sp>
            <p:nvSpPr>
              <p:cNvPr id="2230" name="Vrije vorm: vorm 2229">
                <a:extLst>
                  <a:ext uri="{FF2B5EF4-FFF2-40B4-BE49-F238E27FC236}">
                    <a16:creationId xmlns:a16="http://schemas.microsoft.com/office/drawing/2014/main" id="{D147690F-74B3-4E7D-859A-B86088BE2811}"/>
                  </a:ext>
                </a:extLst>
              </p:cNvPr>
              <p:cNvSpPr/>
              <p:nvPr/>
            </p:nvSpPr>
            <p:spPr>
              <a:xfrm>
                <a:off x="4327602" y="3051217"/>
                <a:ext cx="18376" cy="18455"/>
              </a:xfrm>
              <a:custGeom>
                <a:avLst/>
                <a:gdLst>
                  <a:gd name="connsiteX0" fmla="*/ 7364 w 18376"/>
                  <a:gd name="connsiteY0" fmla="*/ 18249 h 18455"/>
                  <a:gd name="connsiteX1" fmla="*/ 187 w 18376"/>
                  <a:gd name="connsiteY1" fmla="*/ 7364 h 18455"/>
                  <a:gd name="connsiteX2" fmla="*/ 11012 w 18376"/>
                  <a:gd name="connsiteY2" fmla="*/ 187 h 18455"/>
                  <a:gd name="connsiteX3" fmla="*/ 18189 w 18376"/>
                  <a:gd name="connsiteY3" fmla="*/ 11072 h 18455"/>
                  <a:gd name="connsiteX4" fmla="*/ 7364 w 18376"/>
                  <a:gd name="connsiteY4" fmla="*/ 18249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55">
                    <a:moveTo>
                      <a:pt x="7364" y="18249"/>
                    </a:moveTo>
                    <a:cubicBezTo>
                      <a:pt x="2400" y="17232"/>
                      <a:pt x="-830" y="12328"/>
                      <a:pt x="187" y="7364"/>
                    </a:cubicBezTo>
                    <a:cubicBezTo>
                      <a:pt x="1204" y="2400"/>
                      <a:pt x="6048" y="-830"/>
                      <a:pt x="11012" y="187"/>
                    </a:cubicBezTo>
                    <a:cubicBezTo>
                      <a:pt x="15976" y="1204"/>
                      <a:pt x="19206" y="6108"/>
                      <a:pt x="18189" y="11072"/>
                    </a:cubicBezTo>
                    <a:cubicBezTo>
                      <a:pt x="17173" y="16096"/>
                      <a:pt x="12328" y="19325"/>
                      <a:pt x="7364" y="18249"/>
                    </a:cubicBezTo>
                    <a:close/>
                  </a:path>
                </a:pathLst>
              </a:custGeom>
              <a:grpFill/>
              <a:ln w="5978" cap="flat">
                <a:noFill/>
                <a:prstDash val="solid"/>
                <a:miter/>
              </a:ln>
            </p:spPr>
            <p:txBody>
              <a:bodyPr rtlCol="0" anchor="ctr"/>
              <a:lstStyle/>
              <a:p>
                <a:endParaRPr lang="en-GB"/>
              </a:p>
            </p:txBody>
          </p:sp>
          <p:sp>
            <p:nvSpPr>
              <p:cNvPr id="2231" name="Vrije vorm: vorm 2230">
                <a:extLst>
                  <a:ext uri="{FF2B5EF4-FFF2-40B4-BE49-F238E27FC236}">
                    <a16:creationId xmlns:a16="http://schemas.microsoft.com/office/drawing/2014/main" id="{20EB2D99-0393-4F77-8BF7-4EC3216172E8}"/>
                  </a:ext>
                </a:extLst>
              </p:cNvPr>
              <p:cNvSpPr/>
              <p:nvPr/>
            </p:nvSpPr>
            <p:spPr>
              <a:xfrm>
                <a:off x="4372996" y="3060664"/>
                <a:ext cx="18376" cy="18440"/>
              </a:xfrm>
              <a:custGeom>
                <a:avLst/>
                <a:gdLst>
                  <a:gd name="connsiteX0" fmla="*/ 7364 w 18376"/>
                  <a:gd name="connsiteY0" fmla="*/ 18251 h 18440"/>
                  <a:gd name="connsiteX1" fmla="*/ 18189 w 18376"/>
                  <a:gd name="connsiteY1" fmla="*/ 11074 h 18440"/>
                  <a:gd name="connsiteX2" fmla="*/ 11012 w 18376"/>
                  <a:gd name="connsiteY2" fmla="*/ 190 h 18440"/>
                  <a:gd name="connsiteX3" fmla="*/ 187 w 18376"/>
                  <a:gd name="connsiteY3" fmla="*/ 7366 h 18440"/>
                  <a:gd name="connsiteX4" fmla="*/ 7364 w 18376"/>
                  <a:gd name="connsiteY4" fmla="*/ 18251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40">
                    <a:moveTo>
                      <a:pt x="7364" y="18251"/>
                    </a:moveTo>
                    <a:cubicBezTo>
                      <a:pt x="12328" y="19268"/>
                      <a:pt x="17172" y="16098"/>
                      <a:pt x="18189" y="11074"/>
                    </a:cubicBezTo>
                    <a:cubicBezTo>
                      <a:pt x="19206" y="6110"/>
                      <a:pt x="15976" y="1206"/>
                      <a:pt x="11012" y="190"/>
                    </a:cubicBezTo>
                    <a:cubicBezTo>
                      <a:pt x="6048" y="-827"/>
                      <a:pt x="1204" y="2343"/>
                      <a:pt x="187" y="7366"/>
                    </a:cubicBezTo>
                    <a:cubicBezTo>
                      <a:pt x="-830" y="12330"/>
                      <a:pt x="2400" y="17235"/>
                      <a:pt x="7364" y="18251"/>
                    </a:cubicBezTo>
                    <a:close/>
                  </a:path>
                </a:pathLst>
              </a:custGeom>
              <a:grpFill/>
              <a:ln w="5978" cap="flat">
                <a:noFill/>
                <a:prstDash val="solid"/>
                <a:miter/>
              </a:ln>
            </p:spPr>
            <p:txBody>
              <a:bodyPr rtlCol="0" anchor="ctr"/>
              <a:lstStyle/>
              <a:p>
                <a:endParaRPr lang="en-GB"/>
              </a:p>
            </p:txBody>
          </p:sp>
        </p:grpSp>
        <p:grpSp>
          <p:nvGrpSpPr>
            <p:cNvPr id="1058" name="Graphic 3">
              <a:extLst>
                <a:ext uri="{FF2B5EF4-FFF2-40B4-BE49-F238E27FC236}">
                  <a16:creationId xmlns:a16="http://schemas.microsoft.com/office/drawing/2014/main" id="{CAD4BA12-4E74-4A50-A3D9-90368D490B6B}"/>
                </a:ext>
              </a:extLst>
            </p:cNvPr>
            <p:cNvGrpSpPr/>
            <p:nvPr/>
          </p:nvGrpSpPr>
          <p:grpSpPr>
            <a:xfrm>
              <a:off x="4333563" y="3085747"/>
              <a:ext cx="67099" cy="27662"/>
              <a:chOff x="4333563" y="3085747"/>
              <a:chExt cx="67099" cy="27662"/>
            </a:xfrm>
            <a:grpFill/>
          </p:grpSpPr>
          <p:sp>
            <p:nvSpPr>
              <p:cNvPr id="2226" name="Vrije vorm: vorm 2225">
                <a:extLst>
                  <a:ext uri="{FF2B5EF4-FFF2-40B4-BE49-F238E27FC236}">
                    <a16:creationId xmlns:a16="http://schemas.microsoft.com/office/drawing/2014/main" id="{03D2B7A9-DD8D-4B42-9E88-E1348C744A83}"/>
                  </a:ext>
                </a:extLst>
              </p:cNvPr>
              <p:cNvSpPr/>
              <p:nvPr/>
            </p:nvSpPr>
            <p:spPr>
              <a:xfrm>
                <a:off x="4342023" y="3093389"/>
                <a:ext cx="50178" cy="12380"/>
              </a:xfrm>
              <a:custGeom>
                <a:avLst/>
                <a:gdLst>
                  <a:gd name="connsiteX0" fmla="*/ 50178 w 50178"/>
                  <a:gd name="connsiteY0" fmla="*/ 9330 h 12380"/>
                  <a:gd name="connsiteX1" fmla="*/ 49640 w 50178"/>
                  <a:gd name="connsiteY1" fmla="*/ 12380 h 12380"/>
                  <a:gd name="connsiteX2" fmla="*/ 0 w 50178"/>
                  <a:gd name="connsiteY2" fmla="*/ 3050 h 12380"/>
                  <a:gd name="connsiteX3" fmla="*/ 538 w 50178"/>
                  <a:gd name="connsiteY3" fmla="*/ 0 h 12380"/>
                </a:gdLst>
                <a:ahLst/>
                <a:cxnLst>
                  <a:cxn ang="0">
                    <a:pos x="connsiteX0" y="connsiteY0"/>
                  </a:cxn>
                  <a:cxn ang="0">
                    <a:pos x="connsiteX1" y="connsiteY1"/>
                  </a:cxn>
                  <a:cxn ang="0">
                    <a:pos x="connsiteX2" y="connsiteY2"/>
                  </a:cxn>
                  <a:cxn ang="0">
                    <a:pos x="connsiteX3" y="connsiteY3"/>
                  </a:cxn>
                </a:cxnLst>
                <a:rect l="l" t="t" r="r" b="b"/>
                <a:pathLst>
                  <a:path w="50178" h="12380">
                    <a:moveTo>
                      <a:pt x="50178" y="9330"/>
                    </a:moveTo>
                    <a:lnTo>
                      <a:pt x="49640" y="12380"/>
                    </a:lnTo>
                    <a:lnTo>
                      <a:pt x="0" y="3050"/>
                    </a:lnTo>
                    <a:lnTo>
                      <a:pt x="538" y="0"/>
                    </a:lnTo>
                    <a:close/>
                  </a:path>
                </a:pathLst>
              </a:custGeom>
              <a:grpFill/>
              <a:ln w="5978" cap="flat">
                <a:noFill/>
                <a:prstDash val="solid"/>
                <a:miter/>
              </a:ln>
            </p:spPr>
            <p:txBody>
              <a:bodyPr rtlCol="0" anchor="ctr"/>
              <a:lstStyle/>
              <a:p>
                <a:endParaRPr lang="en-GB"/>
              </a:p>
            </p:txBody>
          </p:sp>
          <p:sp>
            <p:nvSpPr>
              <p:cNvPr id="2227" name="Vrije vorm: vorm 2226">
                <a:extLst>
                  <a:ext uri="{FF2B5EF4-FFF2-40B4-BE49-F238E27FC236}">
                    <a16:creationId xmlns:a16="http://schemas.microsoft.com/office/drawing/2014/main" id="{B30958B7-FB50-41FF-88DA-A8F0203E26C8}"/>
                  </a:ext>
                </a:extLst>
              </p:cNvPr>
              <p:cNvSpPr/>
              <p:nvPr/>
            </p:nvSpPr>
            <p:spPr>
              <a:xfrm>
                <a:off x="4333563" y="3085747"/>
                <a:ext cx="18296" cy="18452"/>
              </a:xfrm>
              <a:custGeom>
                <a:avLst/>
                <a:gdLst>
                  <a:gd name="connsiteX0" fmla="*/ 7504 w 18296"/>
                  <a:gd name="connsiteY0" fmla="*/ 18287 h 18452"/>
                  <a:gd name="connsiteX1" fmla="*/ 147 w 18296"/>
                  <a:gd name="connsiteY1" fmla="*/ 7522 h 18452"/>
                  <a:gd name="connsiteX2" fmla="*/ 10793 w 18296"/>
                  <a:gd name="connsiteY2" fmla="*/ 165 h 18452"/>
                  <a:gd name="connsiteX3" fmla="*/ 18149 w 18296"/>
                  <a:gd name="connsiteY3" fmla="*/ 10931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2540" y="17330"/>
                      <a:pt x="-750" y="12546"/>
                      <a:pt x="147" y="7522"/>
                    </a:cubicBezTo>
                    <a:cubicBezTo>
                      <a:pt x="1045" y="2498"/>
                      <a:pt x="5829" y="-791"/>
                      <a:pt x="10793" y="165"/>
                    </a:cubicBezTo>
                    <a:cubicBezTo>
                      <a:pt x="15757" y="1122"/>
                      <a:pt x="19047" y="5907"/>
                      <a:pt x="18149" y="10931"/>
                    </a:cubicBezTo>
                    <a:cubicBezTo>
                      <a:pt x="17253" y="15955"/>
                      <a:pt x="12468" y="19244"/>
                      <a:pt x="7504" y="18287"/>
                    </a:cubicBezTo>
                    <a:close/>
                  </a:path>
                </a:pathLst>
              </a:custGeom>
              <a:grpFill/>
              <a:ln w="5978" cap="flat">
                <a:noFill/>
                <a:prstDash val="solid"/>
                <a:miter/>
              </a:ln>
            </p:spPr>
            <p:txBody>
              <a:bodyPr rtlCol="0" anchor="ctr"/>
              <a:lstStyle/>
              <a:p>
                <a:endParaRPr lang="en-GB"/>
              </a:p>
            </p:txBody>
          </p:sp>
          <p:sp>
            <p:nvSpPr>
              <p:cNvPr id="2228" name="Vrije vorm: vorm 2227">
                <a:extLst>
                  <a:ext uri="{FF2B5EF4-FFF2-40B4-BE49-F238E27FC236}">
                    <a16:creationId xmlns:a16="http://schemas.microsoft.com/office/drawing/2014/main" id="{29625A14-662F-4E3C-9C40-9F4ADD516B59}"/>
                  </a:ext>
                </a:extLst>
              </p:cNvPr>
              <p:cNvSpPr/>
              <p:nvPr/>
            </p:nvSpPr>
            <p:spPr>
              <a:xfrm>
                <a:off x="4382347" y="3094958"/>
                <a:ext cx="18314" cy="18452"/>
              </a:xfrm>
              <a:custGeom>
                <a:avLst/>
                <a:gdLst>
                  <a:gd name="connsiteX0" fmla="*/ 7522 w 18314"/>
                  <a:gd name="connsiteY0" fmla="*/ 18287 h 18452"/>
                  <a:gd name="connsiteX1" fmla="*/ 18168 w 18314"/>
                  <a:gd name="connsiteY1" fmla="*/ 10931 h 18452"/>
                  <a:gd name="connsiteX2" fmla="*/ 10811 w 18314"/>
                  <a:gd name="connsiteY2" fmla="*/ 166 h 18452"/>
                  <a:gd name="connsiteX3" fmla="*/ 166 w 18314"/>
                  <a:gd name="connsiteY3" fmla="*/ 7522 h 18452"/>
                  <a:gd name="connsiteX4" fmla="*/ 7522 w 18314"/>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52">
                    <a:moveTo>
                      <a:pt x="7522" y="18287"/>
                    </a:moveTo>
                    <a:cubicBezTo>
                      <a:pt x="12486" y="19244"/>
                      <a:pt x="17270" y="15955"/>
                      <a:pt x="18168" y="10931"/>
                    </a:cubicBezTo>
                    <a:cubicBezTo>
                      <a:pt x="19064" y="5907"/>
                      <a:pt x="15775" y="1122"/>
                      <a:pt x="10811" y="166"/>
                    </a:cubicBezTo>
                    <a:cubicBezTo>
                      <a:pt x="5847" y="-791"/>
                      <a:pt x="1062" y="2498"/>
                      <a:pt x="166" y="7522"/>
                    </a:cubicBezTo>
                    <a:cubicBezTo>
                      <a:pt x="-792" y="12486"/>
                      <a:pt x="2498" y="17330"/>
                      <a:pt x="7522" y="18287"/>
                    </a:cubicBezTo>
                    <a:close/>
                  </a:path>
                </a:pathLst>
              </a:custGeom>
              <a:grpFill/>
              <a:ln w="5978" cap="flat">
                <a:noFill/>
                <a:prstDash val="solid"/>
                <a:miter/>
              </a:ln>
            </p:spPr>
            <p:txBody>
              <a:bodyPr rtlCol="0" anchor="ctr"/>
              <a:lstStyle/>
              <a:p>
                <a:endParaRPr lang="en-GB"/>
              </a:p>
            </p:txBody>
          </p:sp>
        </p:grpSp>
        <p:grpSp>
          <p:nvGrpSpPr>
            <p:cNvPr id="1059" name="Graphic 3">
              <a:extLst>
                <a:ext uri="{FF2B5EF4-FFF2-40B4-BE49-F238E27FC236}">
                  <a16:creationId xmlns:a16="http://schemas.microsoft.com/office/drawing/2014/main" id="{1586E382-BB39-4457-9463-C7E156D0A530}"/>
                </a:ext>
              </a:extLst>
            </p:cNvPr>
            <p:cNvGrpSpPr/>
            <p:nvPr/>
          </p:nvGrpSpPr>
          <p:grpSpPr>
            <a:xfrm>
              <a:off x="4273250" y="3005298"/>
              <a:ext cx="115157" cy="40359"/>
              <a:chOff x="4273250" y="3005298"/>
              <a:chExt cx="115157" cy="40359"/>
            </a:xfrm>
            <a:grpFill/>
          </p:grpSpPr>
          <p:sp>
            <p:nvSpPr>
              <p:cNvPr id="2223" name="Vrije vorm: vorm 2222">
                <a:extLst>
                  <a:ext uri="{FF2B5EF4-FFF2-40B4-BE49-F238E27FC236}">
                    <a16:creationId xmlns:a16="http://schemas.microsoft.com/office/drawing/2014/main" id="{0E90FD1C-7441-4C00-B2D4-C8779754D09F}"/>
                  </a:ext>
                </a:extLst>
              </p:cNvPr>
              <p:cNvSpPr/>
              <p:nvPr/>
            </p:nvSpPr>
            <p:spPr>
              <a:xfrm>
                <a:off x="4281678" y="3012888"/>
                <a:ext cx="98323" cy="25178"/>
              </a:xfrm>
              <a:custGeom>
                <a:avLst/>
                <a:gdLst>
                  <a:gd name="connsiteX0" fmla="*/ 98323 w 98323"/>
                  <a:gd name="connsiteY0" fmla="*/ 22188 h 25178"/>
                  <a:gd name="connsiteX1" fmla="*/ 97665 w 98323"/>
                  <a:gd name="connsiteY1" fmla="*/ 25179 h 25178"/>
                  <a:gd name="connsiteX2" fmla="*/ 0 w 98323"/>
                  <a:gd name="connsiteY2" fmla="*/ 2990 h 25178"/>
                  <a:gd name="connsiteX3" fmla="*/ 658 w 98323"/>
                  <a:gd name="connsiteY3" fmla="*/ 0 h 25178"/>
                </a:gdLst>
                <a:ahLst/>
                <a:cxnLst>
                  <a:cxn ang="0">
                    <a:pos x="connsiteX0" y="connsiteY0"/>
                  </a:cxn>
                  <a:cxn ang="0">
                    <a:pos x="connsiteX1" y="connsiteY1"/>
                  </a:cxn>
                  <a:cxn ang="0">
                    <a:pos x="connsiteX2" y="connsiteY2"/>
                  </a:cxn>
                  <a:cxn ang="0">
                    <a:pos x="connsiteX3" y="connsiteY3"/>
                  </a:cxn>
                </a:cxnLst>
                <a:rect l="l" t="t" r="r" b="b"/>
                <a:pathLst>
                  <a:path w="98323" h="25178">
                    <a:moveTo>
                      <a:pt x="98323" y="22188"/>
                    </a:moveTo>
                    <a:lnTo>
                      <a:pt x="97665" y="25179"/>
                    </a:lnTo>
                    <a:lnTo>
                      <a:pt x="0" y="2990"/>
                    </a:lnTo>
                    <a:lnTo>
                      <a:pt x="658" y="0"/>
                    </a:lnTo>
                    <a:close/>
                  </a:path>
                </a:pathLst>
              </a:custGeom>
              <a:grpFill/>
              <a:ln w="5978" cap="flat">
                <a:noFill/>
                <a:prstDash val="solid"/>
                <a:miter/>
              </a:ln>
            </p:spPr>
            <p:txBody>
              <a:bodyPr rtlCol="0" anchor="ctr"/>
              <a:lstStyle/>
              <a:p>
                <a:endParaRPr lang="en-GB"/>
              </a:p>
            </p:txBody>
          </p:sp>
          <p:sp>
            <p:nvSpPr>
              <p:cNvPr id="2224" name="Vrije vorm: vorm 2223">
                <a:extLst>
                  <a:ext uri="{FF2B5EF4-FFF2-40B4-BE49-F238E27FC236}">
                    <a16:creationId xmlns:a16="http://schemas.microsoft.com/office/drawing/2014/main" id="{B620E6A2-D7B4-4C0A-97BD-0C71CACD5AA2}"/>
                  </a:ext>
                </a:extLst>
              </p:cNvPr>
              <p:cNvSpPr/>
              <p:nvPr/>
            </p:nvSpPr>
            <p:spPr>
              <a:xfrm>
                <a:off x="4273250" y="3005298"/>
                <a:ext cx="18350" cy="18389"/>
              </a:xfrm>
              <a:custGeom>
                <a:avLst/>
                <a:gdLst>
                  <a:gd name="connsiteX0" fmla="*/ 7172 w 18350"/>
                  <a:gd name="connsiteY0" fmla="*/ 18176 h 18389"/>
                  <a:gd name="connsiteX1" fmla="*/ 234 w 18350"/>
                  <a:gd name="connsiteY1" fmla="*/ 7172 h 18389"/>
                  <a:gd name="connsiteX2" fmla="*/ 11179 w 18350"/>
                  <a:gd name="connsiteY2" fmla="*/ 234 h 18389"/>
                  <a:gd name="connsiteX3" fmla="*/ 18116 w 18350"/>
                  <a:gd name="connsiteY3" fmla="*/ 11239 h 18389"/>
                  <a:gd name="connsiteX4" fmla="*/ 7172 w 18350"/>
                  <a:gd name="connsiteY4" fmla="*/ 18176 h 18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89">
                    <a:moveTo>
                      <a:pt x="7172" y="18176"/>
                    </a:moveTo>
                    <a:cubicBezTo>
                      <a:pt x="2208" y="17040"/>
                      <a:pt x="-902" y="12136"/>
                      <a:pt x="234" y="7172"/>
                    </a:cubicBezTo>
                    <a:cubicBezTo>
                      <a:pt x="1311" y="2208"/>
                      <a:pt x="6215" y="-902"/>
                      <a:pt x="11179" y="234"/>
                    </a:cubicBezTo>
                    <a:cubicBezTo>
                      <a:pt x="16143" y="1370"/>
                      <a:pt x="19253" y="6275"/>
                      <a:pt x="18116" y="11239"/>
                    </a:cubicBezTo>
                    <a:cubicBezTo>
                      <a:pt x="17040" y="16143"/>
                      <a:pt x="12136" y="19253"/>
                      <a:pt x="7172" y="18176"/>
                    </a:cubicBezTo>
                    <a:close/>
                  </a:path>
                </a:pathLst>
              </a:custGeom>
              <a:grpFill/>
              <a:ln w="5978" cap="flat">
                <a:noFill/>
                <a:prstDash val="solid"/>
                <a:miter/>
              </a:ln>
            </p:spPr>
            <p:txBody>
              <a:bodyPr rtlCol="0" anchor="ctr"/>
              <a:lstStyle/>
              <a:p>
                <a:endParaRPr lang="en-GB"/>
              </a:p>
            </p:txBody>
          </p:sp>
          <p:sp>
            <p:nvSpPr>
              <p:cNvPr id="2225" name="Vrije vorm: vorm 2224">
                <a:extLst>
                  <a:ext uri="{FF2B5EF4-FFF2-40B4-BE49-F238E27FC236}">
                    <a16:creationId xmlns:a16="http://schemas.microsoft.com/office/drawing/2014/main" id="{CA5CFBA9-B089-477D-9340-0BE25EE25211}"/>
                  </a:ext>
                </a:extLst>
              </p:cNvPr>
              <p:cNvSpPr/>
              <p:nvPr/>
            </p:nvSpPr>
            <p:spPr>
              <a:xfrm>
                <a:off x="4370078" y="3027247"/>
                <a:ext cx="18329" cy="18410"/>
              </a:xfrm>
              <a:custGeom>
                <a:avLst/>
                <a:gdLst>
                  <a:gd name="connsiteX0" fmla="*/ 7172 w 18329"/>
                  <a:gd name="connsiteY0" fmla="*/ 18176 h 18410"/>
                  <a:gd name="connsiteX1" fmla="*/ 18116 w 18329"/>
                  <a:gd name="connsiteY1" fmla="*/ 11239 h 18410"/>
                  <a:gd name="connsiteX2" fmla="*/ 11179 w 18329"/>
                  <a:gd name="connsiteY2" fmla="*/ 234 h 18410"/>
                  <a:gd name="connsiteX3" fmla="*/ 234 w 18329"/>
                  <a:gd name="connsiteY3" fmla="*/ 7172 h 18410"/>
                  <a:gd name="connsiteX4" fmla="*/ 7172 w 18329"/>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0">
                    <a:moveTo>
                      <a:pt x="7172" y="18176"/>
                    </a:moveTo>
                    <a:cubicBezTo>
                      <a:pt x="12136" y="19313"/>
                      <a:pt x="16980" y="16203"/>
                      <a:pt x="18116" y="11239"/>
                    </a:cubicBezTo>
                    <a:cubicBezTo>
                      <a:pt x="19193" y="6275"/>
                      <a:pt x="16083" y="1371"/>
                      <a:pt x="11179" y="234"/>
                    </a:cubicBezTo>
                    <a:cubicBezTo>
                      <a:pt x="6274" y="-902"/>
                      <a:pt x="1370" y="2208"/>
                      <a:pt x="234" y="7172"/>
                    </a:cubicBezTo>
                    <a:cubicBezTo>
                      <a:pt x="-902" y="12136"/>
                      <a:pt x="2208" y="17100"/>
                      <a:pt x="7172" y="18176"/>
                    </a:cubicBezTo>
                    <a:close/>
                  </a:path>
                </a:pathLst>
              </a:custGeom>
              <a:grpFill/>
              <a:ln w="5978" cap="flat">
                <a:noFill/>
                <a:prstDash val="solid"/>
                <a:miter/>
              </a:ln>
            </p:spPr>
            <p:txBody>
              <a:bodyPr rtlCol="0" anchor="ctr"/>
              <a:lstStyle/>
              <a:p>
                <a:endParaRPr lang="en-GB"/>
              </a:p>
            </p:txBody>
          </p:sp>
        </p:grpSp>
        <p:grpSp>
          <p:nvGrpSpPr>
            <p:cNvPr id="1060" name="Graphic 3">
              <a:extLst>
                <a:ext uri="{FF2B5EF4-FFF2-40B4-BE49-F238E27FC236}">
                  <a16:creationId xmlns:a16="http://schemas.microsoft.com/office/drawing/2014/main" id="{EB3C48B9-C391-44A2-A501-95DE9488BF17}"/>
                </a:ext>
              </a:extLst>
            </p:cNvPr>
            <p:cNvGrpSpPr/>
            <p:nvPr/>
          </p:nvGrpSpPr>
          <p:grpSpPr>
            <a:xfrm>
              <a:off x="3966150" y="2549958"/>
              <a:ext cx="498573" cy="250039"/>
              <a:chOff x="3966150" y="2549958"/>
              <a:chExt cx="498573" cy="250039"/>
            </a:xfrm>
            <a:grpFill/>
          </p:grpSpPr>
          <p:sp>
            <p:nvSpPr>
              <p:cNvPr id="2220" name="Vrije vorm: vorm 2219">
                <a:extLst>
                  <a:ext uri="{FF2B5EF4-FFF2-40B4-BE49-F238E27FC236}">
                    <a16:creationId xmlns:a16="http://schemas.microsoft.com/office/drawing/2014/main" id="{5423628D-6EC6-4576-9655-A3EC854806A3}"/>
                  </a:ext>
                </a:extLst>
              </p:cNvPr>
              <p:cNvSpPr/>
              <p:nvPr/>
            </p:nvSpPr>
            <p:spPr>
              <a:xfrm>
                <a:off x="3974269" y="2557576"/>
                <a:ext cx="482345" cy="234743"/>
              </a:xfrm>
              <a:custGeom>
                <a:avLst/>
                <a:gdLst>
                  <a:gd name="connsiteX0" fmla="*/ 482345 w 482345"/>
                  <a:gd name="connsiteY0" fmla="*/ 231992 h 234743"/>
                  <a:gd name="connsiteX1" fmla="*/ 481029 w 482345"/>
                  <a:gd name="connsiteY1" fmla="*/ 234743 h 234743"/>
                  <a:gd name="connsiteX2" fmla="*/ 0 w 482345"/>
                  <a:gd name="connsiteY2" fmla="*/ 2811 h 234743"/>
                  <a:gd name="connsiteX3" fmla="*/ 1256 w 482345"/>
                  <a:gd name="connsiteY3" fmla="*/ 0 h 234743"/>
                </a:gdLst>
                <a:ahLst/>
                <a:cxnLst>
                  <a:cxn ang="0">
                    <a:pos x="connsiteX0" y="connsiteY0"/>
                  </a:cxn>
                  <a:cxn ang="0">
                    <a:pos x="connsiteX1" y="connsiteY1"/>
                  </a:cxn>
                  <a:cxn ang="0">
                    <a:pos x="connsiteX2" y="connsiteY2"/>
                  </a:cxn>
                  <a:cxn ang="0">
                    <a:pos x="connsiteX3" y="connsiteY3"/>
                  </a:cxn>
                </a:cxnLst>
                <a:rect l="l" t="t" r="r" b="b"/>
                <a:pathLst>
                  <a:path w="482345" h="234743">
                    <a:moveTo>
                      <a:pt x="482345" y="231992"/>
                    </a:moveTo>
                    <a:lnTo>
                      <a:pt x="481029" y="234743"/>
                    </a:lnTo>
                    <a:lnTo>
                      <a:pt x="0" y="2811"/>
                    </a:lnTo>
                    <a:lnTo>
                      <a:pt x="1256" y="0"/>
                    </a:lnTo>
                    <a:close/>
                  </a:path>
                </a:pathLst>
              </a:custGeom>
              <a:grpFill/>
              <a:ln w="5978" cap="flat">
                <a:noFill/>
                <a:prstDash val="solid"/>
                <a:miter/>
              </a:ln>
            </p:spPr>
            <p:txBody>
              <a:bodyPr rtlCol="0" anchor="ctr"/>
              <a:lstStyle/>
              <a:p>
                <a:endParaRPr lang="en-GB"/>
              </a:p>
            </p:txBody>
          </p:sp>
          <p:sp>
            <p:nvSpPr>
              <p:cNvPr id="2221" name="Vrije vorm: vorm 2220">
                <a:extLst>
                  <a:ext uri="{FF2B5EF4-FFF2-40B4-BE49-F238E27FC236}">
                    <a16:creationId xmlns:a16="http://schemas.microsoft.com/office/drawing/2014/main" id="{8FE2A95B-48D1-4DF6-A05A-05E3D3CAA9C1}"/>
                  </a:ext>
                </a:extLst>
              </p:cNvPr>
              <p:cNvSpPr/>
              <p:nvPr/>
            </p:nvSpPr>
            <p:spPr>
              <a:xfrm>
                <a:off x="4446412" y="2781531"/>
                <a:ext cx="18311" cy="18465"/>
              </a:xfrm>
              <a:custGeom>
                <a:avLst/>
                <a:gdLst>
                  <a:gd name="connsiteX0" fmla="*/ 13073 w 18311"/>
                  <a:gd name="connsiteY0" fmla="*/ 920 h 18465"/>
                  <a:gd name="connsiteX1" fmla="*/ 17439 w 18311"/>
                  <a:gd name="connsiteY1" fmla="*/ 13240 h 18465"/>
                  <a:gd name="connsiteX2" fmla="*/ 5238 w 18311"/>
                  <a:gd name="connsiteY2" fmla="*/ 17546 h 18465"/>
                  <a:gd name="connsiteX3" fmla="*/ 873 w 18311"/>
                  <a:gd name="connsiteY3" fmla="*/ 5226 h 18465"/>
                  <a:gd name="connsiteX4" fmla="*/ 13073 w 18311"/>
                  <a:gd name="connsiteY4" fmla="*/ 92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65">
                    <a:moveTo>
                      <a:pt x="13073" y="920"/>
                    </a:moveTo>
                    <a:cubicBezTo>
                      <a:pt x="17618" y="3133"/>
                      <a:pt x="19592" y="8635"/>
                      <a:pt x="17439" y="13240"/>
                    </a:cubicBezTo>
                    <a:cubicBezTo>
                      <a:pt x="15286" y="17845"/>
                      <a:pt x="9784" y="19759"/>
                      <a:pt x="5238" y="17546"/>
                    </a:cubicBezTo>
                    <a:cubicBezTo>
                      <a:pt x="693" y="15333"/>
                      <a:pt x="-1281" y="9831"/>
                      <a:pt x="873" y="5226"/>
                    </a:cubicBezTo>
                    <a:cubicBezTo>
                      <a:pt x="3025" y="621"/>
                      <a:pt x="8468" y="-1293"/>
                      <a:pt x="13073" y="920"/>
                    </a:cubicBezTo>
                    <a:close/>
                  </a:path>
                </a:pathLst>
              </a:custGeom>
              <a:grpFill/>
              <a:ln w="5978" cap="flat">
                <a:noFill/>
                <a:prstDash val="solid"/>
                <a:miter/>
              </a:ln>
            </p:spPr>
            <p:txBody>
              <a:bodyPr rtlCol="0" anchor="ctr"/>
              <a:lstStyle/>
              <a:p>
                <a:endParaRPr lang="en-GB"/>
              </a:p>
            </p:txBody>
          </p:sp>
          <p:sp>
            <p:nvSpPr>
              <p:cNvPr id="2222" name="Vrije vorm: vorm 2221">
                <a:extLst>
                  <a:ext uri="{FF2B5EF4-FFF2-40B4-BE49-F238E27FC236}">
                    <a16:creationId xmlns:a16="http://schemas.microsoft.com/office/drawing/2014/main" id="{8172B54F-8002-4FC3-BC2D-1C5BE293A8F6}"/>
                  </a:ext>
                </a:extLst>
              </p:cNvPr>
              <p:cNvSpPr/>
              <p:nvPr/>
            </p:nvSpPr>
            <p:spPr>
              <a:xfrm>
                <a:off x="3966150" y="2549958"/>
                <a:ext cx="18331" cy="18465"/>
              </a:xfrm>
              <a:custGeom>
                <a:avLst/>
                <a:gdLst>
                  <a:gd name="connsiteX0" fmla="*/ 13083 w 18331"/>
                  <a:gd name="connsiteY0" fmla="*/ 920 h 18465"/>
                  <a:gd name="connsiteX1" fmla="*/ 882 w 18331"/>
                  <a:gd name="connsiteY1" fmla="*/ 5226 h 18465"/>
                  <a:gd name="connsiteX2" fmla="*/ 5248 w 18331"/>
                  <a:gd name="connsiteY2" fmla="*/ 17546 h 18465"/>
                  <a:gd name="connsiteX3" fmla="*/ 17449 w 18331"/>
                  <a:gd name="connsiteY3" fmla="*/ 13240 h 18465"/>
                  <a:gd name="connsiteX4" fmla="*/ 13083 w 18331"/>
                  <a:gd name="connsiteY4" fmla="*/ 920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65">
                    <a:moveTo>
                      <a:pt x="13083" y="920"/>
                    </a:moveTo>
                    <a:cubicBezTo>
                      <a:pt x="8538" y="-1293"/>
                      <a:pt x="3036" y="621"/>
                      <a:pt x="882" y="5226"/>
                    </a:cubicBezTo>
                    <a:cubicBezTo>
                      <a:pt x="-1271" y="9831"/>
                      <a:pt x="643" y="15333"/>
                      <a:pt x="5248" y="17546"/>
                    </a:cubicBezTo>
                    <a:cubicBezTo>
                      <a:pt x="9853" y="19759"/>
                      <a:pt x="15296" y="17845"/>
                      <a:pt x="17449" y="13240"/>
                    </a:cubicBezTo>
                    <a:cubicBezTo>
                      <a:pt x="19602" y="8635"/>
                      <a:pt x="17688" y="3133"/>
                      <a:pt x="13083" y="920"/>
                    </a:cubicBezTo>
                    <a:close/>
                  </a:path>
                </a:pathLst>
              </a:custGeom>
              <a:grpFill/>
              <a:ln w="5978" cap="flat">
                <a:noFill/>
                <a:prstDash val="solid"/>
                <a:miter/>
              </a:ln>
            </p:spPr>
            <p:txBody>
              <a:bodyPr rtlCol="0" anchor="ctr"/>
              <a:lstStyle/>
              <a:p>
                <a:endParaRPr lang="en-GB"/>
              </a:p>
            </p:txBody>
          </p:sp>
        </p:grpSp>
        <p:grpSp>
          <p:nvGrpSpPr>
            <p:cNvPr id="1061" name="Graphic 3">
              <a:extLst>
                <a:ext uri="{FF2B5EF4-FFF2-40B4-BE49-F238E27FC236}">
                  <a16:creationId xmlns:a16="http://schemas.microsoft.com/office/drawing/2014/main" id="{B07171F7-B3F1-429D-8805-EF53AEB22592}"/>
                </a:ext>
              </a:extLst>
            </p:cNvPr>
            <p:cNvGrpSpPr/>
            <p:nvPr/>
          </p:nvGrpSpPr>
          <p:grpSpPr>
            <a:xfrm>
              <a:off x="4843072" y="4842312"/>
              <a:ext cx="363029" cy="514543"/>
              <a:chOff x="4843072" y="4842312"/>
              <a:chExt cx="363029" cy="514543"/>
            </a:xfrm>
            <a:grpFill/>
          </p:grpSpPr>
          <p:sp>
            <p:nvSpPr>
              <p:cNvPr id="2217" name="Vrije vorm: vorm 2216">
                <a:extLst>
                  <a:ext uri="{FF2B5EF4-FFF2-40B4-BE49-F238E27FC236}">
                    <a16:creationId xmlns:a16="http://schemas.microsoft.com/office/drawing/2014/main" id="{F3A37C04-B0A9-4DDD-BB78-8207AAF83B9C}"/>
                  </a:ext>
                </a:extLst>
              </p:cNvPr>
              <p:cNvSpPr/>
              <p:nvPr/>
            </p:nvSpPr>
            <p:spPr>
              <a:xfrm>
                <a:off x="4850684" y="4850286"/>
                <a:ext cx="347779" cy="498612"/>
              </a:xfrm>
              <a:custGeom>
                <a:avLst/>
                <a:gdLst>
                  <a:gd name="connsiteX0" fmla="*/ 347779 w 347779"/>
                  <a:gd name="connsiteY0" fmla="*/ 1734 h 498612"/>
                  <a:gd name="connsiteX1" fmla="*/ 2512 w 347779"/>
                  <a:gd name="connsiteY1" fmla="*/ 498613 h 498612"/>
                  <a:gd name="connsiteX2" fmla="*/ 0 w 347779"/>
                  <a:gd name="connsiteY2" fmla="*/ 496878 h 498612"/>
                  <a:gd name="connsiteX3" fmla="*/ 345267 w 347779"/>
                  <a:gd name="connsiteY3" fmla="*/ 0 h 498612"/>
                </a:gdLst>
                <a:ahLst/>
                <a:cxnLst>
                  <a:cxn ang="0">
                    <a:pos x="connsiteX0" y="connsiteY0"/>
                  </a:cxn>
                  <a:cxn ang="0">
                    <a:pos x="connsiteX1" y="connsiteY1"/>
                  </a:cxn>
                  <a:cxn ang="0">
                    <a:pos x="connsiteX2" y="connsiteY2"/>
                  </a:cxn>
                  <a:cxn ang="0">
                    <a:pos x="connsiteX3" y="connsiteY3"/>
                  </a:cxn>
                </a:cxnLst>
                <a:rect l="l" t="t" r="r" b="b"/>
                <a:pathLst>
                  <a:path w="347779" h="498612">
                    <a:moveTo>
                      <a:pt x="347779" y="1734"/>
                    </a:moveTo>
                    <a:lnTo>
                      <a:pt x="2512" y="498613"/>
                    </a:lnTo>
                    <a:lnTo>
                      <a:pt x="0" y="496878"/>
                    </a:lnTo>
                    <a:lnTo>
                      <a:pt x="345267" y="0"/>
                    </a:lnTo>
                    <a:close/>
                  </a:path>
                </a:pathLst>
              </a:custGeom>
              <a:grpFill/>
              <a:ln w="5978" cap="flat">
                <a:noFill/>
                <a:prstDash val="solid"/>
                <a:miter/>
              </a:ln>
            </p:spPr>
            <p:txBody>
              <a:bodyPr rtlCol="0" anchor="ctr"/>
              <a:lstStyle/>
              <a:p>
                <a:endParaRPr lang="en-GB"/>
              </a:p>
            </p:txBody>
          </p:sp>
          <p:sp>
            <p:nvSpPr>
              <p:cNvPr id="2218" name="Vrije vorm: vorm 2217">
                <a:extLst>
                  <a:ext uri="{FF2B5EF4-FFF2-40B4-BE49-F238E27FC236}">
                    <a16:creationId xmlns:a16="http://schemas.microsoft.com/office/drawing/2014/main" id="{9FB76DF4-EE2B-495A-AA47-8AC033051FFD}"/>
                  </a:ext>
                </a:extLst>
              </p:cNvPr>
              <p:cNvSpPr/>
              <p:nvPr/>
            </p:nvSpPr>
            <p:spPr>
              <a:xfrm>
                <a:off x="5187774" y="4842312"/>
                <a:ext cx="18326" cy="18472"/>
              </a:xfrm>
              <a:custGeom>
                <a:avLst/>
                <a:gdLst>
                  <a:gd name="connsiteX0" fmla="*/ 1658 w 18326"/>
                  <a:gd name="connsiteY0" fmla="*/ 3907 h 18472"/>
                  <a:gd name="connsiteX1" fmla="*/ 14397 w 18326"/>
                  <a:gd name="connsiteY1" fmla="*/ 1694 h 18472"/>
                  <a:gd name="connsiteX2" fmla="*/ 16669 w 18326"/>
                  <a:gd name="connsiteY2" fmla="*/ 14553 h 18472"/>
                  <a:gd name="connsiteX3" fmla="*/ 3930 w 18326"/>
                  <a:gd name="connsiteY3" fmla="*/ 16825 h 18472"/>
                  <a:gd name="connsiteX4" fmla="*/ 1658 w 18326"/>
                  <a:gd name="connsiteY4" fmla="*/ 3907 h 1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72">
                    <a:moveTo>
                      <a:pt x="1658" y="3907"/>
                    </a:moveTo>
                    <a:cubicBezTo>
                      <a:pt x="4528" y="-280"/>
                      <a:pt x="10270" y="-1237"/>
                      <a:pt x="14397" y="1694"/>
                    </a:cubicBezTo>
                    <a:cubicBezTo>
                      <a:pt x="18523" y="4625"/>
                      <a:pt x="19600" y="10366"/>
                      <a:pt x="16669" y="14553"/>
                    </a:cubicBezTo>
                    <a:cubicBezTo>
                      <a:pt x="13739" y="18739"/>
                      <a:pt x="8057" y="19696"/>
                      <a:pt x="3930" y="16825"/>
                    </a:cubicBezTo>
                    <a:cubicBezTo>
                      <a:pt x="-196" y="13835"/>
                      <a:pt x="-1273" y="8093"/>
                      <a:pt x="1658" y="3907"/>
                    </a:cubicBezTo>
                    <a:close/>
                  </a:path>
                </a:pathLst>
              </a:custGeom>
              <a:grpFill/>
              <a:ln w="5978" cap="flat">
                <a:noFill/>
                <a:prstDash val="solid"/>
                <a:miter/>
              </a:ln>
            </p:spPr>
            <p:txBody>
              <a:bodyPr rtlCol="0" anchor="ctr"/>
              <a:lstStyle/>
              <a:p>
                <a:endParaRPr lang="en-GB"/>
              </a:p>
            </p:txBody>
          </p:sp>
          <p:sp>
            <p:nvSpPr>
              <p:cNvPr id="2219" name="Vrije vorm: vorm 2218">
                <a:extLst>
                  <a:ext uri="{FF2B5EF4-FFF2-40B4-BE49-F238E27FC236}">
                    <a16:creationId xmlns:a16="http://schemas.microsoft.com/office/drawing/2014/main" id="{29AAB457-0EF2-4BE4-B4E0-DDE3AB9B0F81}"/>
                  </a:ext>
                </a:extLst>
              </p:cNvPr>
              <p:cNvSpPr/>
              <p:nvPr/>
            </p:nvSpPr>
            <p:spPr>
              <a:xfrm>
                <a:off x="4843072" y="5338429"/>
                <a:ext cx="18274" cy="18426"/>
              </a:xfrm>
              <a:custGeom>
                <a:avLst/>
                <a:gdLst>
                  <a:gd name="connsiteX0" fmla="*/ 1631 w 18274"/>
                  <a:gd name="connsiteY0" fmla="*/ 3890 h 18426"/>
                  <a:gd name="connsiteX1" fmla="*/ 3904 w 18274"/>
                  <a:gd name="connsiteY1" fmla="*/ 16749 h 18426"/>
                  <a:gd name="connsiteX2" fmla="*/ 16643 w 18274"/>
                  <a:gd name="connsiteY2" fmla="*/ 14536 h 18426"/>
                  <a:gd name="connsiteX3" fmla="*/ 14370 w 18274"/>
                  <a:gd name="connsiteY3" fmla="*/ 1677 h 18426"/>
                  <a:gd name="connsiteX4" fmla="*/ 1631 w 18274"/>
                  <a:gd name="connsiteY4" fmla="*/ 3890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26">
                    <a:moveTo>
                      <a:pt x="1631" y="3890"/>
                    </a:moveTo>
                    <a:cubicBezTo>
                      <a:pt x="-1239" y="8077"/>
                      <a:pt x="-223" y="13818"/>
                      <a:pt x="3904" y="16749"/>
                    </a:cubicBezTo>
                    <a:cubicBezTo>
                      <a:pt x="8031" y="19679"/>
                      <a:pt x="13772" y="18663"/>
                      <a:pt x="16643" y="14536"/>
                    </a:cubicBezTo>
                    <a:cubicBezTo>
                      <a:pt x="19514" y="10349"/>
                      <a:pt x="18497" y="4608"/>
                      <a:pt x="14370" y="1677"/>
                    </a:cubicBezTo>
                    <a:cubicBezTo>
                      <a:pt x="10244" y="-1253"/>
                      <a:pt x="4502" y="-237"/>
                      <a:pt x="1631" y="3890"/>
                    </a:cubicBezTo>
                    <a:close/>
                  </a:path>
                </a:pathLst>
              </a:custGeom>
              <a:grpFill/>
              <a:ln w="5978" cap="flat">
                <a:noFill/>
                <a:prstDash val="solid"/>
                <a:miter/>
              </a:ln>
            </p:spPr>
            <p:txBody>
              <a:bodyPr rtlCol="0" anchor="ctr"/>
              <a:lstStyle/>
              <a:p>
                <a:endParaRPr lang="en-GB"/>
              </a:p>
            </p:txBody>
          </p:sp>
        </p:grpSp>
        <p:grpSp>
          <p:nvGrpSpPr>
            <p:cNvPr id="1062" name="Graphic 3">
              <a:extLst>
                <a:ext uri="{FF2B5EF4-FFF2-40B4-BE49-F238E27FC236}">
                  <a16:creationId xmlns:a16="http://schemas.microsoft.com/office/drawing/2014/main" id="{8F9A649B-DF94-4167-BF1D-EEC5C4C72FB0}"/>
                </a:ext>
              </a:extLst>
            </p:cNvPr>
            <p:cNvGrpSpPr/>
            <p:nvPr/>
          </p:nvGrpSpPr>
          <p:grpSpPr>
            <a:xfrm>
              <a:off x="4207676" y="2954074"/>
              <a:ext cx="200873" cy="63443"/>
              <a:chOff x="4207676" y="2954074"/>
              <a:chExt cx="200873" cy="63443"/>
            </a:xfrm>
            <a:grpFill/>
          </p:grpSpPr>
          <p:sp>
            <p:nvSpPr>
              <p:cNvPr id="2214" name="Vrije vorm: vorm 2213">
                <a:extLst>
                  <a:ext uri="{FF2B5EF4-FFF2-40B4-BE49-F238E27FC236}">
                    <a16:creationId xmlns:a16="http://schemas.microsoft.com/office/drawing/2014/main" id="{ADAE84EA-4353-4903-899C-703701052697}"/>
                  </a:ext>
                </a:extLst>
              </p:cNvPr>
              <p:cNvSpPr/>
              <p:nvPr/>
            </p:nvSpPr>
            <p:spPr>
              <a:xfrm>
                <a:off x="4216069" y="2961693"/>
                <a:ext cx="184086" cy="48204"/>
              </a:xfrm>
              <a:custGeom>
                <a:avLst/>
                <a:gdLst>
                  <a:gd name="connsiteX0" fmla="*/ 184087 w 184086"/>
                  <a:gd name="connsiteY0" fmla="*/ 45274 h 48204"/>
                  <a:gd name="connsiteX1" fmla="*/ 183369 w 184086"/>
                  <a:gd name="connsiteY1" fmla="*/ 48205 h 48204"/>
                  <a:gd name="connsiteX2" fmla="*/ 0 w 184086"/>
                  <a:gd name="connsiteY2" fmla="*/ 2930 h 48204"/>
                  <a:gd name="connsiteX3" fmla="*/ 718 w 184086"/>
                  <a:gd name="connsiteY3" fmla="*/ 0 h 48204"/>
                </a:gdLst>
                <a:ahLst/>
                <a:cxnLst>
                  <a:cxn ang="0">
                    <a:pos x="connsiteX0" y="connsiteY0"/>
                  </a:cxn>
                  <a:cxn ang="0">
                    <a:pos x="connsiteX1" y="connsiteY1"/>
                  </a:cxn>
                  <a:cxn ang="0">
                    <a:pos x="connsiteX2" y="connsiteY2"/>
                  </a:cxn>
                  <a:cxn ang="0">
                    <a:pos x="connsiteX3" y="connsiteY3"/>
                  </a:cxn>
                </a:cxnLst>
                <a:rect l="l" t="t" r="r" b="b"/>
                <a:pathLst>
                  <a:path w="184086" h="48204">
                    <a:moveTo>
                      <a:pt x="184087" y="45274"/>
                    </a:moveTo>
                    <a:lnTo>
                      <a:pt x="183369" y="48205"/>
                    </a:lnTo>
                    <a:lnTo>
                      <a:pt x="0" y="2930"/>
                    </a:lnTo>
                    <a:lnTo>
                      <a:pt x="718" y="0"/>
                    </a:lnTo>
                    <a:close/>
                  </a:path>
                </a:pathLst>
              </a:custGeom>
              <a:grpFill/>
              <a:ln w="5978" cap="flat">
                <a:noFill/>
                <a:prstDash val="solid"/>
                <a:miter/>
              </a:ln>
            </p:spPr>
            <p:txBody>
              <a:bodyPr rtlCol="0" anchor="ctr"/>
              <a:lstStyle/>
              <a:p>
                <a:endParaRPr lang="en-GB"/>
              </a:p>
            </p:txBody>
          </p:sp>
          <p:sp>
            <p:nvSpPr>
              <p:cNvPr id="2215" name="Vrije vorm: vorm 2214">
                <a:extLst>
                  <a:ext uri="{FF2B5EF4-FFF2-40B4-BE49-F238E27FC236}">
                    <a16:creationId xmlns:a16="http://schemas.microsoft.com/office/drawing/2014/main" id="{62EEFD9A-EBCE-42EF-AD65-55E0D5B4ECA1}"/>
                  </a:ext>
                </a:extLst>
              </p:cNvPr>
              <p:cNvSpPr/>
              <p:nvPr/>
            </p:nvSpPr>
            <p:spPr>
              <a:xfrm>
                <a:off x="4207676" y="2954074"/>
                <a:ext cx="18342" cy="18408"/>
              </a:xfrm>
              <a:custGeom>
                <a:avLst/>
                <a:gdLst>
                  <a:gd name="connsiteX0" fmla="*/ 7018 w 18342"/>
                  <a:gd name="connsiteY0" fmla="*/ 18146 h 18408"/>
                  <a:gd name="connsiteX1" fmla="*/ 260 w 18342"/>
                  <a:gd name="connsiteY1" fmla="*/ 7021 h 18408"/>
                  <a:gd name="connsiteX2" fmla="*/ 11324 w 18342"/>
                  <a:gd name="connsiteY2" fmla="*/ 263 h 18408"/>
                  <a:gd name="connsiteX3" fmla="*/ 18082 w 18342"/>
                  <a:gd name="connsiteY3" fmla="*/ 11387 h 18408"/>
                  <a:gd name="connsiteX4" fmla="*/ 7018 w 18342"/>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7018" y="18146"/>
                    </a:moveTo>
                    <a:cubicBezTo>
                      <a:pt x="2114" y="16949"/>
                      <a:pt x="-936" y="11926"/>
                      <a:pt x="260" y="7021"/>
                    </a:cubicBezTo>
                    <a:cubicBezTo>
                      <a:pt x="1456" y="2057"/>
                      <a:pt x="6420" y="-933"/>
                      <a:pt x="11324" y="263"/>
                    </a:cubicBezTo>
                    <a:cubicBezTo>
                      <a:pt x="16228" y="1459"/>
                      <a:pt x="19279" y="6483"/>
                      <a:pt x="18082" y="11387"/>
                    </a:cubicBezTo>
                    <a:cubicBezTo>
                      <a:pt x="16886" y="16351"/>
                      <a:pt x="11982" y="19342"/>
                      <a:pt x="7018" y="18146"/>
                    </a:cubicBezTo>
                    <a:close/>
                  </a:path>
                </a:pathLst>
              </a:custGeom>
              <a:grpFill/>
              <a:ln w="5978" cap="flat">
                <a:noFill/>
                <a:prstDash val="solid"/>
                <a:miter/>
              </a:ln>
            </p:spPr>
            <p:txBody>
              <a:bodyPr rtlCol="0" anchor="ctr"/>
              <a:lstStyle/>
              <a:p>
                <a:endParaRPr lang="en-GB"/>
              </a:p>
            </p:txBody>
          </p:sp>
          <p:sp>
            <p:nvSpPr>
              <p:cNvPr id="2216" name="Vrije vorm: vorm 2215">
                <a:extLst>
                  <a:ext uri="{FF2B5EF4-FFF2-40B4-BE49-F238E27FC236}">
                    <a16:creationId xmlns:a16="http://schemas.microsoft.com/office/drawing/2014/main" id="{A129BA87-E246-45AB-BCA9-A9BBA8C4FC85}"/>
                  </a:ext>
                </a:extLst>
              </p:cNvPr>
              <p:cNvSpPr/>
              <p:nvPr/>
            </p:nvSpPr>
            <p:spPr>
              <a:xfrm>
                <a:off x="4390208" y="2999109"/>
                <a:ext cx="18342" cy="18408"/>
              </a:xfrm>
              <a:custGeom>
                <a:avLst/>
                <a:gdLst>
                  <a:gd name="connsiteX0" fmla="*/ 7018 w 18342"/>
                  <a:gd name="connsiteY0" fmla="*/ 18146 h 18408"/>
                  <a:gd name="connsiteX1" fmla="*/ 18082 w 18342"/>
                  <a:gd name="connsiteY1" fmla="*/ 11387 h 18408"/>
                  <a:gd name="connsiteX2" fmla="*/ 11324 w 18342"/>
                  <a:gd name="connsiteY2" fmla="*/ 263 h 18408"/>
                  <a:gd name="connsiteX3" fmla="*/ 260 w 18342"/>
                  <a:gd name="connsiteY3" fmla="*/ 7021 h 18408"/>
                  <a:gd name="connsiteX4" fmla="*/ 7018 w 18342"/>
                  <a:gd name="connsiteY4" fmla="*/ 18146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7018" y="18146"/>
                    </a:moveTo>
                    <a:cubicBezTo>
                      <a:pt x="11922" y="19342"/>
                      <a:pt x="16886" y="16351"/>
                      <a:pt x="18082" y="11387"/>
                    </a:cubicBezTo>
                    <a:cubicBezTo>
                      <a:pt x="19279" y="6423"/>
                      <a:pt x="16228" y="1459"/>
                      <a:pt x="11324" y="263"/>
                    </a:cubicBezTo>
                    <a:cubicBezTo>
                      <a:pt x="6420" y="-933"/>
                      <a:pt x="1456" y="2057"/>
                      <a:pt x="260" y="7021"/>
                    </a:cubicBezTo>
                    <a:cubicBezTo>
                      <a:pt x="-936" y="11985"/>
                      <a:pt x="2114" y="16949"/>
                      <a:pt x="7018" y="18146"/>
                    </a:cubicBezTo>
                    <a:close/>
                  </a:path>
                </a:pathLst>
              </a:custGeom>
              <a:grpFill/>
              <a:ln w="5978" cap="flat">
                <a:noFill/>
                <a:prstDash val="solid"/>
                <a:miter/>
              </a:ln>
            </p:spPr>
            <p:txBody>
              <a:bodyPr rtlCol="0" anchor="ctr"/>
              <a:lstStyle/>
              <a:p>
                <a:endParaRPr lang="en-GB"/>
              </a:p>
            </p:txBody>
          </p:sp>
        </p:grpSp>
        <p:grpSp>
          <p:nvGrpSpPr>
            <p:cNvPr id="1063" name="Graphic 3">
              <a:extLst>
                <a:ext uri="{FF2B5EF4-FFF2-40B4-BE49-F238E27FC236}">
                  <a16:creationId xmlns:a16="http://schemas.microsoft.com/office/drawing/2014/main" id="{3009B1D8-73C3-464C-80E5-24E40FF61741}"/>
                </a:ext>
              </a:extLst>
            </p:cNvPr>
            <p:cNvGrpSpPr/>
            <p:nvPr/>
          </p:nvGrpSpPr>
          <p:grpSpPr>
            <a:xfrm>
              <a:off x="3979596" y="2270015"/>
              <a:ext cx="235963" cy="138229"/>
              <a:chOff x="3979596" y="2270015"/>
              <a:chExt cx="235963" cy="138229"/>
            </a:xfrm>
            <a:grpFill/>
          </p:grpSpPr>
          <p:sp>
            <p:nvSpPr>
              <p:cNvPr id="2211" name="Vrije vorm: vorm 2210">
                <a:extLst>
                  <a:ext uri="{FF2B5EF4-FFF2-40B4-BE49-F238E27FC236}">
                    <a16:creationId xmlns:a16="http://schemas.microsoft.com/office/drawing/2014/main" id="{4D63BA0C-556A-45B1-89B7-EE5ABE5579DE}"/>
                  </a:ext>
                </a:extLst>
              </p:cNvPr>
              <p:cNvSpPr/>
              <p:nvPr/>
            </p:nvSpPr>
            <p:spPr>
              <a:xfrm>
                <a:off x="3987606" y="2277678"/>
                <a:ext cx="219911" cy="122903"/>
              </a:xfrm>
              <a:custGeom>
                <a:avLst/>
                <a:gdLst>
                  <a:gd name="connsiteX0" fmla="*/ 219911 w 219911"/>
                  <a:gd name="connsiteY0" fmla="*/ 120272 h 122903"/>
                  <a:gd name="connsiteX1" fmla="*/ 218416 w 219911"/>
                  <a:gd name="connsiteY1" fmla="*/ 122904 h 122903"/>
                  <a:gd name="connsiteX2" fmla="*/ 0 w 219911"/>
                  <a:gd name="connsiteY2" fmla="*/ 2691 h 122903"/>
                  <a:gd name="connsiteX3" fmla="*/ 1495 w 219911"/>
                  <a:gd name="connsiteY3" fmla="*/ 0 h 122903"/>
                </a:gdLst>
                <a:ahLst/>
                <a:cxnLst>
                  <a:cxn ang="0">
                    <a:pos x="connsiteX0" y="connsiteY0"/>
                  </a:cxn>
                  <a:cxn ang="0">
                    <a:pos x="connsiteX1" y="connsiteY1"/>
                  </a:cxn>
                  <a:cxn ang="0">
                    <a:pos x="connsiteX2" y="connsiteY2"/>
                  </a:cxn>
                  <a:cxn ang="0">
                    <a:pos x="connsiteX3" y="connsiteY3"/>
                  </a:cxn>
                </a:cxnLst>
                <a:rect l="l" t="t" r="r" b="b"/>
                <a:pathLst>
                  <a:path w="219911" h="122903">
                    <a:moveTo>
                      <a:pt x="219911" y="120272"/>
                    </a:moveTo>
                    <a:lnTo>
                      <a:pt x="218416" y="122904"/>
                    </a:lnTo>
                    <a:lnTo>
                      <a:pt x="0" y="2691"/>
                    </a:lnTo>
                    <a:lnTo>
                      <a:pt x="1495" y="0"/>
                    </a:lnTo>
                    <a:close/>
                  </a:path>
                </a:pathLst>
              </a:custGeom>
              <a:grpFill/>
              <a:ln w="5978" cap="flat">
                <a:noFill/>
                <a:prstDash val="solid"/>
                <a:miter/>
              </a:ln>
            </p:spPr>
            <p:txBody>
              <a:bodyPr rtlCol="0" anchor="ctr"/>
              <a:lstStyle/>
              <a:p>
                <a:endParaRPr lang="en-GB"/>
              </a:p>
            </p:txBody>
          </p:sp>
          <p:sp>
            <p:nvSpPr>
              <p:cNvPr id="2212" name="Vrije vorm: vorm 2211">
                <a:extLst>
                  <a:ext uri="{FF2B5EF4-FFF2-40B4-BE49-F238E27FC236}">
                    <a16:creationId xmlns:a16="http://schemas.microsoft.com/office/drawing/2014/main" id="{D8ACAAAC-F902-49D2-98B3-70FBB3A7B90D}"/>
                  </a:ext>
                </a:extLst>
              </p:cNvPr>
              <p:cNvSpPr/>
              <p:nvPr/>
            </p:nvSpPr>
            <p:spPr>
              <a:xfrm>
                <a:off x="3979596" y="2270015"/>
                <a:ext cx="18351" cy="18423"/>
              </a:xfrm>
              <a:custGeom>
                <a:avLst/>
                <a:gdLst>
                  <a:gd name="connsiteX0" fmla="*/ 4780 w 18351"/>
                  <a:gd name="connsiteY0" fmla="*/ 17292 h 18423"/>
                  <a:gd name="connsiteX1" fmla="*/ 1132 w 18351"/>
                  <a:gd name="connsiteY1" fmla="*/ 4792 h 18423"/>
                  <a:gd name="connsiteX2" fmla="*/ 13572 w 18351"/>
                  <a:gd name="connsiteY2" fmla="*/ 1144 h 18423"/>
                  <a:gd name="connsiteX3" fmla="*/ 17220 w 18351"/>
                  <a:gd name="connsiteY3" fmla="*/ 13644 h 18423"/>
                  <a:gd name="connsiteX4" fmla="*/ 4780 w 18351"/>
                  <a:gd name="connsiteY4" fmla="*/ 172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423">
                    <a:moveTo>
                      <a:pt x="4780" y="17292"/>
                    </a:moveTo>
                    <a:cubicBezTo>
                      <a:pt x="354" y="14840"/>
                      <a:pt x="-1320" y="9218"/>
                      <a:pt x="1132" y="4792"/>
                    </a:cubicBezTo>
                    <a:cubicBezTo>
                      <a:pt x="3524" y="307"/>
                      <a:pt x="9086" y="-1308"/>
                      <a:pt x="13572" y="1144"/>
                    </a:cubicBezTo>
                    <a:cubicBezTo>
                      <a:pt x="17998" y="3596"/>
                      <a:pt x="19672" y="9218"/>
                      <a:pt x="17220" y="13644"/>
                    </a:cubicBezTo>
                    <a:cubicBezTo>
                      <a:pt x="14828" y="18069"/>
                      <a:pt x="9206" y="19744"/>
                      <a:pt x="4780" y="17292"/>
                    </a:cubicBezTo>
                    <a:close/>
                  </a:path>
                </a:pathLst>
              </a:custGeom>
              <a:grpFill/>
              <a:ln w="5978" cap="flat">
                <a:noFill/>
                <a:prstDash val="solid"/>
                <a:miter/>
              </a:ln>
            </p:spPr>
            <p:txBody>
              <a:bodyPr rtlCol="0" anchor="ctr"/>
              <a:lstStyle/>
              <a:p>
                <a:endParaRPr lang="en-GB"/>
              </a:p>
            </p:txBody>
          </p:sp>
          <p:sp>
            <p:nvSpPr>
              <p:cNvPr id="2213" name="Vrije vorm: vorm 2212">
                <a:extLst>
                  <a:ext uri="{FF2B5EF4-FFF2-40B4-BE49-F238E27FC236}">
                    <a16:creationId xmlns:a16="http://schemas.microsoft.com/office/drawing/2014/main" id="{91D8A7BE-DEAA-4A9A-A1DF-B5157BCBA01A}"/>
                  </a:ext>
                </a:extLst>
              </p:cNvPr>
              <p:cNvSpPr/>
              <p:nvPr/>
            </p:nvSpPr>
            <p:spPr>
              <a:xfrm>
                <a:off x="4197223" y="2389809"/>
                <a:ext cx="18337" cy="18435"/>
              </a:xfrm>
              <a:custGeom>
                <a:avLst/>
                <a:gdLst>
                  <a:gd name="connsiteX0" fmla="*/ 4792 w 18337"/>
                  <a:gd name="connsiteY0" fmla="*/ 17292 h 18435"/>
                  <a:gd name="connsiteX1" fmla="*/ 17232 w 18337"/>
                  <a:gd name="connsiteY1" fmla="*/ 13644 h 18435"/>
                  <a:gd name="connsiteX2" fmla="*/ 13584 w 18337"/>
                  <a:gd name="connsiteY2" fmla="*/ 1144 h 18435"/>
                  <a:gd name="connsiteX3" fmla="*/ 1144 w 18337"/>
                  <a:gd name="connsiteY3" fmla="*/ 4792 h 18435"/>
                  <a:gd name="connsiteX4" fmla="*/ 4792 w 18337"/>
                  <a:gd name="connsiteY4" fmla="*/ 17292 h 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5">
                    <a:moveTo>
                      <a:pt x="4792" y="17292"/>
                    </a:moveTo>
                    <a:cubicBezTo>
                      <a:pt x="9218" y="19744"/>
                      <a:pt x="14780" y="18129"/>
                      <a:pt x="17232" y="13644"/>
                    </a:cubicBezTo>
                    <a:cubicBezTo>
                      <a:pt x="19624" y="9158"/>
                      <a:pt x="18009" y="3596"/>
                      <a:pt x="13584" y="1144"/>
                    </a:cubicBezTo>
                    <a:cubicBezTo>
                      <a:pt x="9158" y="-1308"/>
                      <a:pt x="3596" y="307"/>
                      <a:pt x="1144" y="4792"/>
                    </a:cubicBezTo>
                    <a:cubicBezTo>
                      <a:pt x="-1308" y="9278"/>
                      <a:pt x="307" y="14840"/>
                      <a:pt x="4792" y="17292"/>
                    </a:cubicBezTo>
                    <a:close/>
                  </a:path>
                </a:pathLst>
              </a:custGeom>
              <a:grpFill/>
              <a:ln w="5978" cap="flat">
                <a:noFill/>
                <a:prstDash val="solid"/>
                <a:miter/>
              </a:ln>
            </p:spPr>
            <p:txBody>
              <a:bodyPr rtlCol="0" anchor="ctr"/>
              <a:lstStyle/>
              <a:p>
                <a:endParaRPr lang="en-GB"/>
              </a:p>
            </p:txBody>
          </p:sp>
        </p:grpSp>
        <p:grpSp>
          <p:nvGrpSpPr>
            <p:cNvPr id="1064" name="Graphic 3">
              <a:extLst>
                <a:ext uri="{FF2B5EF4-FFF2-40B4-BE49-F238E27FC236}">
                  <a16:creationId xmlns:a16="http://schemas.microsoft.com/office/drawing/2014/main" id="{276DF175-A12D-468C-8297-58A2FAFCFC01}"/>
                </a:ext>
              </a:extLst>
            </p:cNvPr>
            <p:cNvGrpSpPr/>
            <p:nvPr/>
          </p:nvGrpSpPr>
          <p:grpSpPr>
            <a:xfrm>
              <a:off x="3899830" y="2173474"/>
              <a:ext cx="344772" cy="206136"/>
              <a:chOff x="3899830" y="2173474"/>
              <a:chExt cx="344772" cy="206136"/>
            </a:xfrm>
            <a:grpFill/>
          </p:grpSpPr>
          <p:sp>
            <p:nvSpPr>
              <p:cNvPr id="2208" name="Vrije vorm: vorm 2207">
                <a:extLst>
                  <a:ext uri="{FF2B5EF4-FFF2-40B4-BE49-F238E27FC236}">
                    <a16:creationId xmlns:a16="http://schemas.microsoft.com/office/drawing/2014/main" id="{89539600-CC4F-4172-AB24-90166A83C79D}"/>
                  </a:ext>
                </a:extLst>
              </p:cNvPr>
              <p:cNvSpPr/>
              <p:nvPr/>
            </p:nvSpPr>
            <p:spPr>
              <a:xfrm>
                <a:off x="3907883" y="2181090"/>
                <a:ext cx="328700" cy="190844"/>
              </a:xfrm>
              <a:custGeom>
                <a:avLst/>
                <a:gdLst>
                  <a:gd name="connsiteX0" fmla="*/ 328700 w 328700"/>
                  <a:gd name="connsiteY0" fmla="*/ 188213 h 190844"/>
                  <a:gd name="connsiteX1" fmla="*/ 327205 w 328700"/>
                  <a:gd name="connsiteY1" fmla="*/ 190845 h 190844"/>
                  <a:gd name="connsiteX2" fmla="*/ 0 w 328700"/>
                  <a:gd name="connsiteY2" fmla="*/ 2691 h 190844"/>
                  <a:gd name="connsiteX3" fmla="*/ 1495 w 328700"/>
                  <a:gd name="connsiteY3" fmla="*/ 0 h 190844"/>
                </a:gdLst>
                <a:ahLst/>
                <a:cxnLst>
                  <a:cxn ang="0">
                    <a:pos x="connsiteX0" y="connsiteY0"/>
                  </a:cxn>
                  <a:cxn ang="0">
                    <a:pos x="connsiteX1" y="connsiteY1"/>
                  </a:cxn>
                  <a:cxn ang="0">
                    <a:pos x="connsiteX2" y="connsiteY2"/>
                  </a:cxn>
                  <a:cxn ang="0">
                    <a:pos x="connsiteX3" y="connsiteY3"/>
                  </a:cxn>
                </a:cxnLst>
                <a:rect l="l" t="t" r="r" b="b"/>
                <a:pathLst>
                  <a:path w="328700" h="190844">
                    <a:moveTo>
                      <a:pt x="328700" y="188213"/>
                    </a:moveTo>
                    <a:lnTo>
                      <a:pt x="327205" y="190845"/>
                    </a:lnTo>
                    <a:lnTo>
                      <a:pt x="0" y="2691"/>
                    </a:lnTo>
                    <a:lnTo>
                      <a:pt x="1495" y="0"/>
                    </a:lnTo>
                    <a:close/>
                  </a:path>
                </a:pathLst>
              </a:custGeom>
              <a:grpFill/>
              <a:ln w="5978" cap="flat">
                <a:noFill/>
                <a:prstDash val="solid"/>
                <a:miter/>
              </a:ln>
            </p:spPr>
            <p:txBody>
              <a:bodyPr rtlCol="0" anchor="ctr"/>
              <a:lstStyle/>
              <a:p>
                <a:endParaRPr lang="en-GB"/>
              </a:p>
            </p:txBody>
          </p:sp>
          <p:sp>
            <p:nvSpPr>
              <p:cNvPr id="2209" name="Vrije vorm: vorm 2208">
                <a:extLst>
                  <a:ext uri="{FF2B5EF4-FFF2-40B4-BE49-F238E27FC236}">
                    <a16:creationId xmlns:a16="http://schemas.microsoft.com/office/drawing/2014/main" id="{F697423A-8E5D-4E3B-A892-1A0A881080D3}"/>
                  </a:ext>
                </a:extLst>
              </p:cNvPr>
              <p:cNvSpPr/>
              <p:nvPr/>
            </p:nvSpPr>
            <p:spPr>
              <a:xfrm>
                <a:off x="3899830" y="2173474"/>
                <a:ext cx="18318" cy="18401"/>
              </a:xfrm>
              <a:custGeom>
                <a:avLst/>
                <a:gdLst>
                  <a:gd name="connsiteX0" fmla="*/ 4644 w 18318"/>
                  <a:gd name="connsiteY0" fmla="*/ 17185 h 18401"/>
                  <a:gd name="connsiteX1" fmla="*/ 1175 w 18318"/>
                  <a:gd name="connsiteY1" fmla="*/ 4625 h 18401"/>
                  <a:gd name="connsiteX2" fmla="*/ 13675 w 18318"/>
                  <a:gd name="connsiteY2" fmla="*/ 1216 h 18401"/>
                  <a:gd name="connsiteX3" fmla="*/ 17143 w 18318"/>
                  <a:gd name="connsiteY3" fmla="*/ 13776 h 18401"/>
                  <a:gd name="connsiteX4" fmla="*/ 4644 w 18318"/>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01">
                    <a:moveTo>
                      <a:pt x="4644" y="17185"/>
                    </a:moveTo>
                    <a:cubicBezTo>
                      <a:pt x="218" y="14673"/>
                      <a:pt x="-1277" y="9051"/>
                      <a:pt x="1175" y="4625"/>
                    </a:cubicBezTo>
                    <a:cubicBezTo>
                      <a:pt x="3687" y="200"/>
                      <a:pt x="9249" y="-1295"/>
                      <a:pt x="13675" y="1216"/>
                    </a:cubicBezTo>
                    <a:cubicBezTo>
                      <a:pt x="18100" y="3728"/>
                      <a:pt x="19596" y="9350"/>
                      <a:pt x="17143" y="13776"/>
                    </a:cubicBezTo>
                    <a:cubicBezTo>
                      <a:pt x="14631" y="18202"/>
                      <a:pt x="9069" y="19697"/>
                      <a:pt x="4644" y="17185"/>
                    </a:cubicBezTo>
                    <a:close/>
                  </a:path>
                </a:pathLst>
              </a:custGeom>
              <a:grpFill/>
              <a:ln w="5978" cap="flat">
                <a:noFill/>
                <a:prstDash val="solid"/>
                <a:miter/>
              </a:ln>
            </p:spPr>
            <p:txBody>
              <a:bodyPr rtlCol="0" anchor="ctr"/>
              <a:lstStyle/>
              <a:p>
                <a:endParaRPr lang="en-GB"/>
              </a:p>
            </p:txBody>
          </p:sp>
          <p:sp>
            <p:nvSpPr>
              <p:cNvPr id="2210" name="Vrije vorm: vorm 2209">
                <a:extLst>
                  <a:ext uri="{FF2B5EF4-FFF2-40B4-BE49-F238E27FC236}">
                    <a16:creationId xmlns:a16="http://schemas.microsoft.com/office/drawing/2014/main" id="{EF409D94-D50F-419B-AC04-904B083B39E6}"/>
                  </a:ext>
                </a:extLst>
              </p:cNvPr>
              <p:cNvSpPr/>
              <p:nvPr/>
            </p:nvSpPr>
            <p:spPr>
              <a:xfrm>
                <a:off x="4226258" y="2361209"/>
                <a:ext cx="18344" cy="18401"/>
              </a:xfrm>
              <a:custGeom>
                <a:avLst/>
                <a:gdLst>
                  <a:gd name="connsiteX0" fmla="*/ 4644 w 18344"/>
                  <a:gd name="connsiteY0" fmla="*/ 17185 h 18401"/>
                  <a:gd name="connsiteX1" fmla="*/ 17143 w 18344"/>
                  <a:gd name="connsiteY1" fmla="*/ 13776 h 18401"/>
                  <a:gd name="connsiteX2" fmla="*/ 13675 w 18344"/>
                  <a:gd name="connsiteY2" fmla="*/ 1216 h 18401"/>
                  <a:gd name="connsiteX3" fmla="*/ 1175 w 18344"/>
                  <a:gd name="connsiteY3" fmla="*/ 4625 h 18401"/>
                  <a:gd name="connsiteX4" fmla="*/ 4644 w 18344"/>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1">
                    <a:moveTo>
                      <a:pt x="4644" y="17185"/>
                    </a:moveTo>
                    <a:cubicBezTo>
                      <a:pt x="9070" y="19697"/>
                      <a:pt x="14632" y="18202"/>
                      <a:pt x="17143" y="13776"/>
                    </a:cubicBezTo>
                    <a:cubicBezTo>
                      <a:pt x="19655" y="9350"/>
                      <a:pt x="18100" y="3728"/>
                      <a:pt x="13675" y="1216"/>
                    </a:cubicBezTo>
                    <a:cubicBezTo>
                      <a:pt x="9249" y="-1295"/>
                      <a:pt x="3687" y="200"/>
                      <a:pt x="1175" y="4625"/>
                    </a:cubicBezTo>
                    <a:cubicBezTo>
                      <a:pt x="-1277" y="9051"/>
                      <a:pt x="218" y="14673"/>
                      <a:pt x="4644" y="17185"/>
                    </a:cubicBezTo>
                    <a:close/>
                  </a:path>
                </a:pathLst>
              </a:custGeom>
              <a:grpFill/>
              <a:ln w="5978" cap="flat">
                <a:noFill/>
                <a:prstDash val="solid"/>
                <a:miter/>
              </a:ln>
            </p:spPr>
            <p:txBody>
              <a:bodyPr rtlCol="0" anchor="ctr"/>
              <a:lstStyle/>
              <a:p>
                <a:endParaRPr lang="en-GB"/>
              </a:p>
            </p:txBody>
          </p:sp>
        </p:grpSp>
        <p:grpSp>
          <p:nvGrpSpPr>
            <p:cNvPr id="1065" name="Graphic 3">
              <a:extLst>
                <a:ext uri="{FF2B5EF4-FFF2-40B4-BE49-F238E27FC236}">
                  <a16:creationId xmlns:a16="http://schemas.microsoft.com/office/drawing/2014/main" id="{8D0E09E3-F2DB-4334-A0CE-AA2872A8C5C5}"/>
                </a:ext>
              </a:extLst>
            </p:cNvPr>
            <p:cNvGrpSpPr/>
            <p:nvPr/>
          </p:nvGrpSpPr>
          <p:grpSpPr>
            <a:xfrm>
              <a:off x="5005276" y="5136154"/>
              <a:ext cx="111619" cy="188591"/>
              <a:chOff x="5005276" y="5136154"/>
              <a:chExt cx="111619" cy="188591"/>
            </a:xfrm>
            <a:grpFill/>
          </p:grpSpPr>
          <p:sp>
            <p:nvSpPr>
              <p:cNvPr id="2205" name="Vrije vorm: vorm 2204">
                <a:extLst>
                  <a:ext uri="{FF2B5EF4-FFF2-40B4-BE49-F238E27FC236}">
                    <a16:creationId xmlns:a16="http://schemas.microsoft.com/office/drawing/2014/main" id="{7818E8DE-1A3D-46C2-847C-DC1E164EEC31}"/>
                  </a:ext>
                </a:extLst>
              </p:cNvPr>
              <p:cNvSpPr/>
              <p:nvPr/>
            </p:nvSpPr>
            <p:spPr>
              <a:xfrm>
                <a:off x="5012881" y="5144178"/>
                <a:ext cx="96409" cy="172544"/>
              </a:xfrm>
              <a:custGeom>
                <a:avLst/>
                <a:gdLst>
                  <a:gd name="connsiteX0" fmla="*/ 96410 w 96409"/>
                  <a:gd name="connsiteY0" fmla="*/ 1495 h 172544"/>
                  <a:gd name="connsiteX1" fmla="*/ 2632 w 96409"/>
                  <a:gd name="connsiteY1" fmla="*/ 172544 h 172544"/>
                  <a:gd name="connsiteX2" fmla="*/ 0 w 96409"/>
                  <a:gd name="connsiteY2" fmla="*/ 171049 h 172544"/>
                  <a:gd name="connsiteX3" fmla="*/ 93718 w 96409"/>
                  <a:gd name="connsiteY3" fmla="*/ 0 h 172544"/>
                </a:gdLst>
                <a:ahLst/>
                <a:cxnLst>
                  <a:cxn ang="0">
                    <a:pos x="connsiteX0" y="connsiteY0"/>
                  </a:cxn>
                  <a:cxn ang="0">
                    <a:pos x="connsiteX1" y="connsiteY1"/>
                  </a:cxn>
                  <a:cxn ang="0">
                    <a:pos x="connsiteX2" y="connsiteY2"/>
                  </a:cxn>
                  <a:cxn ang="0">
                    <a:pos x="connsiteX3" y="connsiteY3"/>
                  </a:cxn>
                </a:cxnLst>
                <a:rect l="l" t="t" r="r" b="b"/>
                <a:pathLst>
                  <a:path w="96409" h="172544">
                    <a:moveTo>
                      <a:pt x="96410" y="1495"/>
                    </a:moveTo>
                    <a:lnTo>
                      <a:pt x="2632" y="172544"/>
                    </a:lnTo>
                    <a:lnTo>
                      <a:pt x="0" y="171049"/>
                    </a:lnTo>
                    <a:lnTo>
                      <a:pt x="93718" y="0"/>
                    </a:lnTo>
                    <a:close/>
                  </a:path>
                </a:pathLst>
              </a:custGeom>
              <a:grpFill/>
              <a:ln w="5978" cap="flat">
                <a:noFill/>
                <a:prstDash val="solid"/>
                <a:miter/>
              </a:ln>
            </p:spPr>
            <p:txBody>
              <a:bodyPr rtlCol="0" anchor="ctr"/>
              <a:lstStyle/>
              <a:p>
                <a:endParaRPr lang="en-GB"/>
              </a:p>
            </p:txBody>
          </p:sp>
          <p:sp>
            <p:nvSpPr>
              <p:cNvPr id="2206" name="Vrije vorm: vorm 2205">
                <a:extLst>
                  <a:ext uri="{FF2B5EF4-FFF2-40B4-BE49-F238E27FC236}">
                    <a16:creationId xmlns:a16="http://schemas.microsoft.com/office/drawing/2014/main" id="{F7E7494F-2CC6-475C-BD31-DA64999A680F}"/>
                  </a:ext>
                </a:extLst>
              </p:cNvPr>
              <p:cNvSpPr/>
              <p:nvPr/>
            </p:nvSpPr>
            <p:spPr>
              <a:xfrm>
                <a:off x="5005276" y="5306366"/>
                <a:ext cx="18320" cy="18379"/>
              </a:xfrm>
              <a:custGeom>
                <a:avLst/>
                <a:gdLst>
                  <a:gd name="connsiteX0" fmla="*/ 17174 w 18320"/>
                  <a:gd name="connsiteY0" fmla="*/ 13646 h 18379"/>
                  <a:gd name="connsiteX1" fmla="*/ 4734 w 18320"/>
                  <a:gd name="connsiteY1" fmla="*/ 17234 h 18379"/>
                  <a:gd name="connsiteX2" fmla="*/ 1146 w 18320"/>
                  <a:gd name="connsiteY2" fmla="*/ 4734 h 18379"/>
                  <a:gd name="connsiteX3" fmla="*/ 13586 w 18320"/>
                  <a:gd name="connsiteY3" fmla="*/ 1146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4722" y="18071"/>
                      <a:pt x="9160" y="19686"/>
                      <a:pt x="4734" y="17234"/>
                    </a:cubicBezTo>
                    <a:cubicBezTo>
                      <a:pt x="309" y="14782"/>
                      <a:pt x="-1306" y="9160"/>
                      <a:pt x="1146" y="4734"/>
                    </a:cubicBezTo>
                    <a:cubicBezTo>
                      <a:pt x="3598" y="309"/>
                      <a:pt x="9160" y="-1306"/>
                      <a:pt x="13586" y="1146"/>
                    </a:cubicBezTo>
                    <a:cubicBezTo>
                      <a:pt x="18012" y="3598"/>
                      <a:pt x="19626" y="9220"/>
                      <a:pt x="17174" y="13646"/>
                    </a:cubicBezTo>
                    <a:close/>
                  </a:path>
                </a:pathLst>
              </a:custGeom>
              <a:grpFill/>
              <a:ln w="5978" cap="flat">
                <a:noFill/>
                <a:prstDash val="solid"/>
                <a:miter/>
              </a:ln>
            </p:spPr>
            <p:txBody>
              <a:bodyPr rtlCol="0" anchor="ctr"/>
              <a:lstStyle/>
              <a:p>
                <a:endParaRPr lang="en-GB"/>
              </a:p>
            </p:txBody>
          </p:sp>
          <p:sp>
            <p:nvSpPr>
              <p:cNvPr id="2207" name="Vrije vorm: vorm 2206">
                <a:extLst>
                  <a:ext uri="{FF2B5EF4-FFF2-40B4-BE49-F238E27FC236}">
                    <a16:creationId xmlns:a16="http://schemas.microsoft.com/office/drawing/2014/main" id="{1B9019D8-53FA-443F-8647-5B2FFE40EF43}"/>
                  </a:ext>
                </a:extLst>
              </p:cNvPr>
              <p:cNvSpPr/>
              <p:nvPr/>
            </p:nvSpPr>
            <p:spPr>
              <a:xfrm>
                <a:off x="5098575" y="5136154"/>
                <a:ext cx="18320" cy="18379"/>
              </a:xfrm>
              <a:custGeom>
                <a:avLst/>
                <a:gdLst>
                  <a:gd name="connsiteX0" fmla="*/ 17174 w 18320"/>
                  <a:gd name="connsiteY0" fmla="*/ 13646 h 18379"/>
                  <a:gd name="connsiteX1" fmla="*/ 13586 w 18320"/>
                  <a:gd name="connsiteY1" fmla="*/ 1146 h 18379"/>
                  <a:gd name="connsiteX2" fmla="*/ 1146 w 18320"/>
                  <a:gd name="connsiteY2" fmla="*/ 4734 h 18379"/>
                  <a:gd name="connsiteX3" fmla="*/ 4735 w 18320"/>
                  <a:gd name="connsiteY3" fmla="*/ 17234 h 18379"/>
                  <a:gd name="connsiteX4" fmla="*/ 17174 w 18320"/>
                  <a:gd name="connsiteY4" fmla="*/ 13646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379">
                    <a:moveTo>
                      <a:pt x="17174" y="13646"/>
                    </a:moveTo>
                    <a:cubicBezTo>
                      <a:pt x="19626" y="9220"/>
                      <a:pt x="18012" y="3598"/>
                      <a:pt x="13586" y="1146"/>
                    </a:cubicBezTo>
                    <a:cubicBezTo>
                      <a:pt x="9160" y="-1306"/>
                      <a:pt x="3598" y="309"/>
                      <a:pt x="1146" y="4734"/>
                    </a:cubicBezTo>
                    <a:cubicBezTo>
                      <a:pt x="-1306" y="9160"/>
                      <a:pt x="308" y="14782"/>
                      <a:pt x="4735" y="17234"/>
                    </a:cubicBezTo>
                    <a:cubicBezTo>
                      <a:pt x="9160" y="19686"/>
                      <a:pt x="14722" y="18071"/>
                      <a:pt x="17174" y="13646"/>
                    </a:cubicBezTo>
                    <a:close/>
                  </a:path>
                </a:pathLst>
              </a:custGeom>
              <a:grpFill/>
              <a:ln w="5978" cap="flat">
                <a:noFill/>
                <a:prstDash val="solid"/>
                <a:miter/>
              </a:ln>
            </p:spPr>
            <p:txBody>
              <a:bodyPr rtlCol="0" anchor="ctr"/>
              <a:lstStyle/>
              <a:p>
                <a:endParaRPr lang="en-GB"/>
              </a:p>
            </p:txBody>
          </p:sp>
        </p:grpSp>
        <p:grpSp>
          <p:nvGrpSpPr>
            <p:cNvPr id="1066" name="Graphic 3">
              <a:extLst>
                <a:ext uri="{FF2B5EF4-FFF2-40B4-BE49-F238E27FC236}">
                  <a16:creationId xmlns:a16="http://schemas.microsoft.com/office/drawing/2014/main" id="{5984A482-3950-4BED-84E7-46A4BDAEF41A}"/>
                </a:ext>
              </a:extLst>
            </p:cNvPr>
            <p:cNvGrpSpPr/>
            <p:nvPr/>
          </p:nvGrpSpPr>
          <p:grpSpPr>
            <a:xfrm>
              <a:off x="4819739" y="4656854"/>
              <a:ext cx="136549" cy="151761"/>
              <a:chOff x="4819739" y="4656854"/>
              <a:chExt cx="136549" cy="151761"/>
            </a:xfrm>
            <a:grpFill/>
          </p:grpSpPr>
          <p:sp>
            <p:nvSpPr>
              <p:cNvPr id="2202" name="Vrije vorm: vorm 2201">
                <a:extLst>
                  <a:ext uri="{FF2B5EF4-FFF2-40B4-BE49-F238E27FC236}">
                    <a16:creationId xmlns:a16="http://schemas.microsoft.com/office/drawing/2014/main" id="{9B6B44E5-DAA8-4AA7-ABDB-93AEE3DC3CD4}"/>
                  </a:ext>
                </a:extLst>
              </p:cNvPr>
              <p:cNvSpPr/>
              <p:nvPr/>
            </p:nvSpPr>
            <p:spPr>
              <a:xfrm>
                <a:off x="4827419" y="4664764"/>
                <a:ext cx="121169" cy="136001"/>
              </a:xfrm>
              <a:custGeom>
                <a:avLst/>
                <a:gdLst>
                  <a:gd name="connsiteX0" fmla="*/ 121169 w 121169"/>
                  <a:gd name="connsiteY0" fmla="*/ 2033 h 136001"/>
                  <a:gd name="connsiteX1" fmla="*/ 2273 w 121169"/>
                  <a:gd name="connsiteY1" fmla="*/ 136002 h 136001"/>
                  <a:gd name="connsiteX2" fmla="*/ 0 w 121169"/>
                  <a:gd name="connsiteY2" fmla="*/ 133968 h 136001"/>
                  <a:gd name="connsiteX3" fmla="*/ 118897 w 121169"/>
                  <a:gd name="connsiteY3" fmla="*/ 0 h 136001"/>
                </a:gdLst>
                <a:ahLst/>
                <a:cxnLst>
                  <a:cxn ang="0">
                    <a:pos x="connsiteX0" y="connsiteY0"/>
                  </a:cxn>
                  <a:cxn ang="0">
                    <a:pos x="connsiteX1" y="connsiteY1"/>
                  </a:cxn>
                  <a:cxn ang="0">
                    <a:pos x="connsiteX2" y="connsiteY2"/>
                  </a:cxn>
                  <a:cxn ang="0">
                    <a:pos x="connsiteX3" y="connsiteY3"/>
                  </a:cxn>
                </a:cxnLst>
                <a:rect l="l" t="t" r="r" b="b"/>
                <a:pathLst>
                  <a:path w="121169" h="136001">
                    <a:moveTo>
                      <a:pt x="121169" y="2033"/>
                    </a:moveTo>
                    <a:lnTo>
                      <a:pt x="2273" y="136002"/>
                    </a:lnTo>
                    <a:lnTo>
                      <a:pt x="0" y="133968"/>
                    </a:lnTo>
                    <a:lnTo>
                      <a:pt x="118897" y="0"/>
                    </a:lnTo>
                    <a:close/>
                  </a:path>
                </a:pathLst>
              </a:custGeom>
              <a:grpFill/>
              <a:ln w="5978" cap="flat">
                <a:noFill/>
                <a:prstDash val="solid"/>
                <a:miter/>
              </a:ln>
            </p:spPr>
            <p:txBody>
              <a:bodyPr rtlCol="0" anchor="ctr"/>
              <a:lstStyle/>
              <a:p>
                <a:endParaRPr lang="en-GB"/>
              </a:p>
            </p:txBody>
          </p:sp>
          <p:sp>
            <p:nvSpPr>
              <p:cNvPr id="2203" name="Vrije vorm: vorm 2202">
                <a:extLst>
                  <a:ext uri="{FF2B5EF4-FFF2-40B4-BE49-F238E27FC236}">
                    <a16:creationId xmlns:a16="http://schemas.microsoft.com/office/drawing/2014/main" id="{84596457-18D2-4619-B454-FD2D3B3234EF}"/>
                  </a:ext>
                </a:extLst>
              </p:cNvPr>
              <p:cNvSpPr/>
              <p:nvPr/>
            </p:nvSpPr>
            <p:spPr>
              <a:xfrm>
                <a:off x="4819739" y="4790164"/>
                <a:ext cx="18310" cy="18450"/>
              </a:xfrm>
              <a:custGeom>
                <a:avLst/>
                <a:gdLst>
                  <a:gd name="connsiteX0" fmla="*/ 15993 w 18310"/>
                  <a:gd name="connsiteY0" fmla="*/ 15386 h 18450"/>
                  <a:gd name="connsiteX1" fmla="*/ 3075 w 18310"/>
                  <a:gd name="connsiteY1" fmla="*/ 16103 h 18450"/>
                  <a:gd name="connsiteX2" fmla="*/ 2297 w 18310"/>
                  <a:gd name="connsiteY2" fmla="*/ 3065 h 18450"/>
                  <a:gd name="connsiteX3" fmla="*/ 15215 w 18310"/>
                  <a:gd name="connsiteY3" fmla="*/ 2348 h 18450"/>
                  <a:gd name="connsiteX4" fmla="*/ 15993 w 18310"/>
                  <a:gd name="connsiteY4" fmla="*/ 1538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50">
                    <a:moveTo>
                      <a:pt x="15993" y="15386"/>
                    </a:moveTo>
                    <a:cubicBezTo>
                      <a:pt x="12644" y="19153"/>
                      <a:pt x="6843" y="19512"/>
                      <a:pt x="3075" y="16103"/>
                    </a:cubicBezTo>
                    <a:cubicBezTo>
                      <a:pt x="-693" y="12694"/>
                      <a:pt x="-1052" y="6893"/>
                      <a:pt x="2297" y="3065"/>
                    </a:cubicBezTo>
                    <a:cubicBezTo>
                      <a:pt x="5646" y="-703"/>
                      <a:pt x="11448" y="-1061"/>
                      <a:pt x="15215" y="2348"/>
                    </a:cubicBezTo>
                    <a:cubicBezTo>
                      <a:pt x="19043" y="5817"/>
                      <a:pt x="19342" y="11618"/>
                      <a:pt x="15993" y="15386"/>
                    </a:cubicBezTo>
                    <a:close/>
                  </a:path>
                </a:pathLst>
              </a:custGeom>
              <a:grpFill/>
              <a:ln w="5978" cap="flat">
                <a:noFill/>
                <a:prstDash val="solid"/>
                <a:miter/>
              </a:ln>
            </p:spPr>
            <p:txBody>
              <a:bodyPr rtlCol="0" anchor="ctr"/>
              <a:lstStyle/>
              <a:p>
                <a:endParaRPr lang="en-GB"/>
              </a:p>
            </p:txBody>
          </p:sp>
          <p:sp>
            <p:nvSpPr>
              <p:cNvPr id="2204" name="Vrije vorm: vorm 2203">
                <a:extLst>
                  <a:ext uri="{FF2B5EF4-FFF2-40B4-BE49-F238E27FC236}">
                    <a16:creationId xmlns:a16="http://schemas.microsoft.com/office/drawing/2014/main" id="{75AF71D0-A0B0-4353-9CDD-2D388D356333}"/>
                  </a:ext>
                </a:extLst>
              </p:cNvPr>
              <p:cNvSpPr/>
              <p:nvPr/>
            </p:nvSpPr>
            <p:spPr>
              <a:xfrm>
                <a:off x="4937978" y="4656854"/>
                <a:ext cx="18310" cy="18471"/>
              </a:xfrm>
              <a:custGeom>
                <a:avLst/>
                <a:gdLst>
                  <a:gd name="connsiteX0" fmla="*/ 15993 w 18310"/>
                  <a:gd name="connsiteY0" fmla="*/ 15386 h 18471"/>
                  <a:gd name="connsiteX1" fmla="*/ 15215 w 18310"/>
                  <a:gd name="connsiteY1" fmla="*/ 2348 h 18471"/>
                  <a:gd name="connsiteX2" fmla="*/ 2297 w 18310"/>
                  <a:gd name="connsiteY2" fmla="*/ 3065 h 18471"/>
                  <a:gd name="connsiteX3" fmla="*/ 3075 w 18310"/>
                  <a:gd name="connsiteY3" fmla="*/ 16103 h 18471"/>
                  <a:gd name="connsiteX4" fmla="*/ 15993 w 18310"/>
                  <a:gd name="connsiteY4" fmla="*/ 15386 h 18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0" h="18471">
                    <a:moveTo>
                      <a:pt x="15993" y="15386"/>
                    </a:moveTo>
                    <a:cubicBezTo>
                      <a:pt x="19342" y="11618"/>
                      <a:pt x="19043" y="5757"/>
                      <a:pt x="15215" y="2348"/>
                    </a:cubicBezTo>
                    <a:cubicBezTo>
                      <a:pt x="11388" y="-1061"/>
                      <a:pt x="5646" y="-703"/>
                      <a:pt x="2297" y="3065"/>
                    </a:cubicBezTo>
                    <a:cubicBezTo>
                      <a:pt x="-1052" y="6833"/>
                      <a:pt x="-693" y="12694"/>
                      <a:pt x="3075" y="16103"/>
                    </a:cubicBezTo>
                    <a:cubicBezTo>
                      <a:pt x="6843" y="19512"/>
                      <a:pt x="12644" y="19213"/>
                      <a:pt x="15993" y="15386"/>
                    </a:cubicBezTo>
                    <a:close/>
                  </a:path>
                </a:pathLst>
              </a:custGeom>
              <a:grpFill/>
              <a:ln w="5978" cap="flat">
                <a:noFill/>
                <a:prstDash val="solid"/>
                <a:miter/>
              </a:ln>
            </p:spPr>
            <p:txBody>
              <a:bodyPr rtlCol="0" anchor="ctr"/>
              <a:lstStyle/>
              <a:p>
                <a:endParaRPr lang="en-GB"/>
              </a:p>
            </p:txBody>
          </p:sp>
        </p:grpSp>
        <p:grpSp>
          <p:nvGrpSpPr>
            <p:cNvPr id="1067" name="Graphic 3">
              <a:extLst>
                <a:ext uri="{FF2B5EF4-FFF2-40B4-BE49-F238E27FC236}">
                  <a16:creationId xmlns:a16="http://schemas.microsoft.com/office/drawing/2014/main" id="{F90CD0E8-0931-4BD3-B1EA-DEBFDE40BDC2}"/>
                </a:ext>
              </a:extLst>
            </p:cNvPr>
            <p:cNvGrpSpPr/>
            <p:nvPr/>
          </p:nvGrpSpPr>
          <p:grpSpPr>
            <a:xfrm>
              <a:off x="4172000" y="2907971"/>
              <a:ext cx="239211" cy="77302"/>
              <a:chOff x="4172000" y="2907971"/>
              <a:chExt cx="239211" cy="77302"/>
            </a:xfrm>
            <a:grpFill/>
          </p:grpSpPr>
          <p:sp>
            <p:nvSpPr>
              <p:cNvPr id="2199" name="Vrije vorm: vorm 2198">
                <a:extLst>
                  <a:ext uri="{FF2B5EF4-FFF2-40B4-BE49-F238E27FC236}">
                    <a16:creationId xmlns:a16="http://schemas.microsoft.com/office/drawing/2014/main" id="{8B5B9103-35FF-48CB-842B-6161FB1338FA}"/>
                  </a:ext>
                </a:extLst>
              </p:cNvPr>
              <p:cNvSpPr/>
              <p:nvPr/>
            </p:nvSpPr>
            <p:spPr>
              <a:xfrm>
                <a:off x="4180365" y="2915522"/>
                <a:ext cx="222482" cy="62139"/>
              </a:xfrm>
              <a:custGeom>
                <a:avLst/>
                <a:gdLst>
                  <a:gd name="connsiteX0" fmla="*/ 222483 w 222482"/>
                  <a:gd name="connsiteY0" fmla="*/ 59149 h 62139"/>
                  <a:gd name="connsiteX1" fmla="*/ 221765 w 222482"/>
                  <a:gd name="connsiteY1" fmla="*/ 62140 h 62139"/>
                  <a:gd name="connsiteX2" fmla="*/ 0 w 222482"/>
                  <a:gd name="connsiteY2" fmla="*/ 2990 h 62139"/>
                  <a:gd name="connsiteX3" fmla="*/ 778 w 222482"/>
                  <a:gd name="connsiteY3" fmla="*/ 0 h 62139"/>
                </a:gdLst>
                <a:ahLst/>
                <a:cxnLst>
                  <a:cxn ang="0">
                    <a:pos x="connsiteX0" y="connsiteY0"/>
                  </a:cxn>
                  <a:cxn ang="0">
                    <a:pos x="connsiteX1" y="connsiteY1"/>
                  </a:cxn>
                  <a:cxn ang="0">
                    <a:pos x="connsiteX2" y="connsiteY2"/>
                  </a:cxn>
                  <a:cxn ang="0">
                    <a:pos x="connsiteX3" y="connsiteY3"/>
                  </a:cxn>
                </a:cxnLst>
                <a:rect l="l" t="t" r="r" b="b"/>
                <a:pathLst>
                  <a:path w="222482" h="62139">
                    <a:moveTo>
                      <a:pt x="222483" y="59149"/>
                    </a:moveTo>
                    <a:lnTo>
                      <a:pt x="221765" y="62140"/>
                    </a:lnTo>
                    <a:lnTo>
                      <a:pt x="0" y="2990"/>
                    </a:lnTo>
                    <a:lnTo>
                      <a:pt x="778" y="0"/>
                    </a:lnTo>
                    <a:close/>
                  </a:path>
                </a:pathLst>
              </a:custGeom>
              <a:grpFill/>
              <a:ln w="5978" cap="flat">
                <a:noFill/>
                <a:prstDash val="solid"/>
                <a:miter/>
              </a:ln>
            </p:spPr>
            <p:txBody>
              <a:bodyPr rtlCol="0" anchor="ctr"/>
              <a:lstStyle/>
              <a:p>
                <a:endParaRPr lang="en-GB"/>
              </a:p>
            </p:txBody>
          </p:sp>
          <p:sp>
            <p:nvSpPr>
              <p:cNvPr id="2200" name="Vrije vorm: vorm 2199">
                <a:extLst>
                  <a:ext uri="{FF2B5EF4-FFF2-40B4-BE49-F238E27FC236}">
                    <a16:creationId xmlns:a16="http://schemas.microsoft.com/office/drawing/2014/main" id="{0AAB74B2-5BFC-4D98-B25F-5C2019D58661}"/>
                  </a:ext>
                </a:extLst>
              </p:cNvPr>
              <p:cNvSpPr/>
              <p:nvPr/>
            </p:nvSpPr>
            <p:spPr>
              <a:xfrm>
                <a:off x="4172000" y="2907971"/>
                <a:ext cx="18308" cy="18368"/>
              </a:xfrm>
              <a:custGeom>
                <a:avLst/>
                <a:gdLst>
                  <a:gd name="connsiteX0" fmla="*/ 6869 w 18308"/>
                  <a:gd name="connsiteY0" fmla="*/ 18078 h 18368"/>
                  <a:gd name="connsiteX1" fmla="*/ 290 w 18308"/>
                  <a:gd name="connsiteY1" fmla="*/ 6834 h 18368"/>
                  <a:gd name="connsiteX2" fmla="*/ 11474 w 18308"/>
                  <a:gd name="connsiteY2" fmla="*/ 315 h 18368"/>
                  <a:gd name="connsiteX3" fmla="*/ 17994 w 18308"/>
                  <a:gd name="connsiteY3" fmla="*/ 11559 h 18368"/>
                  <a:gd name="connsiteX4" fmla="*/ 6869 w 18308"/>
                  <a:gd name="connsiteY4" fmla="*/ 18078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368">
                    <a:moveTo>
                      <a:pt x="6869" y="18078"/>
                    </a:moveTo>
                    <a:cubicBezTo>
                      <a:pt x="1965" y="16762"/>
                      <a:pt x="-965" y="11738"/>
                      <a:pt x="290" y="6834"/>
                    </a:cubicBezTo>
                    <a:cubicBezTo>
                      <a:pt x="1547" y="1930"/>
                      <a:pt x="6570" y="-1001"/>
                      <a:pt x="11474" y="315"/>
                    </a:cubicBezTo>
                    <a:cubicBezTo>
                      <a:pt x="16379" y="1631"/>
                      <a:pt x="19309" y="6654"/>
                      <a:pt x="17994" y="11559"/>
                    </a:cubicBezTo>
                    <a:cubicBezTo>
                      <a:pt x="16737" y="16403"/>
                      <a:pt x="11774" y="19333"/>
                      <a:pt x="6869" y="18078"/>
                    </a:cubicBezTo>
                    <a:close/>
                  </a:path>
                </a:pathLst>
              </a:custGeom>
              <a:grpFill/>
              <a:ln w="5978" cap="flat">
                <a:noFill/>
                <a:prstDash val="solid"/>
                <a:miter/>
              </a:ln>
            </p:spPr>
            <p:txBody>
              <a:bodyPr rtlCol="0" anchor="ctr"/>
              <a:lstStyle/>
              <a:p>
                <a:endParaRPr lang="en-GB"/>
              </a:p>
            </p:txBody>
          </p:sp>
          <p:sp>
            <p:nvSpPr>
              <p:cNvPr id="2201" name="Vrije vorm: vorm 2200">
                <a:extLst>
                  <a:ext uri="{FF2B5EF4-FFF2-40B4-BE49-F238E27FC236}">
                    <a16:creationId xmlns:a16="http://schemas.microsoft.com/office/drawing/2014/main" id="{E366855B-F80C-41BC-97CB-CF1DDB631650}"/>
                  </a:ext>
                </a:extLst>
              </p:cNvPr>
              <p:cNvSpPr/>
              <p:nvPr/>
            </p:nvSpPr>
            <p:spPr>
              <a:xfrm>
                <a:off x="4392868" y="2966881"/>
                <a:ext cx="18343" cy="18392"/>
              </a:xfrm>
              <a:custGeom>
                <a:avLst/>
                <a:gdLst>
                  <a:gd name="connsiteX0" fmla="*/ 6869 w 18343"/>
                  <a:gd name="connsiteY0" fmla="*/ 18078 h 18392"/>
                  <a:gd name="connsiteX1" fmla="*/ 18053 w 18343"/>
                  <a:gd name="connsiteY1" fmla="*/ 11558 h 18392"/>
                  <a:gd name="connsiteX2" fmla="*/ 11474 w 18343"/>
                  <a:gd name="connsiteY2" fmla="*/ 315 h 18392"/>
                  <a:gd name="connsiteX3" fmla="*/ 290 w 18343"/>
                  <a:gd name="connsiteY3" fmla="*/ 6834 h 18392"/>
                  <a:gd name="connsiteX4" fmla="*/ 6869 w 18343"/>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6869" y="18078"/>
                    </a:moveTo>
                    <a:cubicBezTo>
                      <a:pt x="11774" y="19393"/>
                      <a:pt x="16797" y="16463"/>
                      <a:pt x="18053" y="11558"/>
                    </a:cubicBezTo>
                    <a:cubicBezTo>
                      <a:pt x="19309" y="6654"/>
                      <a:pt x="16379" y="1571"/>
                      <a:pt x="11474" y="315"/>
                    </a:cubicBezTo>
                    <a:cubicBezTo>
                      <a:pt x="6571" y="-1001"/>
                      <a:pt x="1547" y="1930"/>
                      <a:pt x="290" y="6834"/>
                    </a:cubicBezTo>
                    <a:cubicBezTo>
                      <a:pt x="-965" y="11738"/>
                      <a:pt x="1965" y="16762"/>
                      <a:pt x="6869" y="18078"/>
                    </a:cubicBezTo>
                    <a:close/>
                  </a:path>
                </a:pathLst>
              </a:custGeom>
              <a:grpFill/>
              <a:ln w="5978" cap="flat">
                <a:noFill/>
                <a:prstDash val="solid"/>
                <a:miter/>
              </a:ln>
            </p:spPr>
            <p:txBody>
              <a:bodyPr rtlCol="0" anchor="ctr"/>
              <a:lstStyle/>
              <a:p>
                <a:endParaRPr lang="en-GB"/>
              </a:p>
            </p:txBody>
          </p:sp>
        </p:grpSp>
        <p:grpSp>
          <p:nvGrpSpPr>
            <p:cNvPr id="1068" name="Graphic 3">
              <a:extLst>
                <a:ext uri="{FF2B5EF4-FFF2-40B4-BE49-F238E27FC236}">
                  <a16:creationId xmlns:a16="http://schemas.microsoft.com/office/drawing/2014/main" id="{F5B0908E-0C2A-4FCA-8AAF-E923BB55C4C1}"/>
                </a:ext>
              </a:extLst>
            </p:cNvPr>
            <p:cNvGrpSpPr/>
            <p:nvPr/>
          </p:nvGrpSpPr>
          <p:grpSpPr>
            <a:xfrm>
              <a:off x="4827612" y="4728902"/>
              <a:ext cx="191142" cy="236727"/>
              <a:chOff x="4827612" y="4728902"/>
              <a:chExt cx="191142" cy="236727"/>
            </a:xfrm>
            <a:grpFill/>
          </p:grpSpPr>
          <p:sp>
            <p:nvSpPr>
              <p:cNvPr id="2196" name="Vrije vorm: vorm 2195">
                <a:extLst>
                  <a:ext uri="{FF2B5EF4-FFF2-40B4-BE49-F238E27FC236}">
                    <a16:creationId xmlns:a16="http://schemas.microsoft.com/office/drawing/2014/main" id="{E504409E-7578-4AD3-ABDF-5B1A1A63353A}"/>
                  </a:ext>
                </a:extLst>
              </p:cNvPr>
              <p:cNvSpPr/>
              <p:nvPr/>
            </p:nvSpPr>
            <p:spPr>
              <a:xfrm>
                <a:off x="4835314" y="4736771"/>
                <a:ext cx="175713" cy="220987"/>
              </a:xfrm>
              <a:custGeom>
                <a:avLst/>
                <a:gdLst>
                  <a:gd name="connsiteX0" fmla="*/ 175713 w 175713"/>
                  <a:gd name="connsiteY0" fmla="*/ 1914 h 220987"/>
                  <a:gd name="connsiteX1" fmla="*/ 2392 w 175713"/>
                  <a:gd name="connsiteY1" fmla="*/ 220988 h 220987"/>
                  <a:gd name="connsiteX2" fmla="*/ 0 w 175713"/>
                  <a:gd name="connsiteY2" fmla="*/ 219074 h 220987"/>
                  <a:gd name="connsiteX3" fmla="*/ 173321 w 175713"/>
                  <a:gd name="connsiteY3" fmla="*/ 0 h 220987"/>
                </a:gdLst>
                <a:ahLst/>
                <a:cxnLst>
                  <a:cxn ang="0">
                    <a:pos x="connsiteX0" y="connsiteY0"/>
                  </a:cxn>
                  <a:cxn ang="0">
                    <a:pos x="connsiteX1" y="connsiteY1"/>
                  </a:cxn>
                  <a:cxn ang="0">
                    <a:pos x="connsiteX2" y="connsiteY2"/>
                  </a:cxn>
                  <a:cxn ang="0">
                    <a:pos x="connsiteX3" y="connsiteY3"/>
                  </a:cxn>
                </a:cxnLst>
                <a:rect l="l" t="t" r="r" b="b"/>
                <a:pathLst>
                  <a:path w="175713" h="220987">
                    <a:moveTo>
                      <a:pt x="175713" y="1914"/>
                    </a:moveTo>
                    <a:lnTo>
                      <a:pt x="2392" y="220988"/>
                    </a:lnTo>
                    <a:lnTo>
                      <a:pt x="0" y="219074"/>
                    </a:lnTo>
                    <a:lnTo>
                      <a:pt x="173321" y="0"/>
                    </a:lnTo>
                    <a:close/>
                  </a:path>
                </a:pathLst>
              </a:custGeom>
              <a:grpFill/>
              <a:ln w="5978" cap="flat">
                <a:noFill/>
                <a:prstDash val="solid"/>
                <a:miter/>
              </a:ln>
            </p:spPr>
            <p:txBody>
              <a:bodyPr rtlCol="0" anchor="ctr"/>
              <a:lstStyle/>
              <a:p>
                <a:endParaRPr lang="en-GB"/>
              </a:p>
            </p:txBody>
          </p:sp>
          <p:sp>
            <p:nvSpPr>
              <p:cNvPr id="2197" name="Vrije vorm: vorm 2196">
                <a:extLst>
                  <a:ext uri="{FF2B5EF4-FFF2-40B4-BE49-F238E27FC236}">
                    <a16:creationId xmlns:a16="http://schemas.microsoft.com/office/drawing/2014/main" id="{B6119F93-E56D-4A69-93B9-3598880F6262}"/>
                  </a:ext>
                </a:extLst>
              </p:cNvPr>
              <p:cNvSpPr/>
              <p:nvPr/>
            </p:nvSpPr>
            <p:spPr>
              <a:xfrm>
                <a:off x="4827612" y="4947198"/>
                <a:ext cx="18318" cy="18431"/>
              </a:xfrm>
              <a:custGeom>
                <a:avLst/>
                <a:gdLst>
                  <a:gd name="connsiteX0" fmla="*/ 16314 w 18318"/>
                  <a:gd name="connsiteY0" fmla="*/ 14987 h 18431"/>
                  <a:gd name="connsiteX1" fmla="*/ 3456 w 18318"/>
                  <a:gd name="connsiteY1" fmla="*/ 16422 h 18431"/>
                  <a:gd name="connsiteX2" fmla="*/ 1960 w 18318"/>
                  <a:gd name="connsiteY2" fmla="*/ 3444 h 18431"/>
                  <a:gd name="connsiteX3" fmla="*/ 14819 w 18318"/>
                  <a:gd name="connsiteY3" fmla="*/ 2009 h 18431"/>
                  <a:gd name="connsiteX4" fmla="*/ 16314 w 18318"/>
                  <a:gd name="connsiteY4" fmla="*/ 14987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1">
                    <a:moveTo>
                      <a:pt x="16314" y="14987"/>
                    </a:moveTo>
                    <a:cubicBezTo>
                      <a:pt x="13144" y="18934"/>
                      <a:pt x="7403" y="19592"/>
                      <a:pt x="3456" y="16422"/>
                    </a:cubicBezTo>
                    <a:cubicBezTo>
                      <a:pt x="-492" y="13253"/>
                      <a:pt x="-1150" y="7451"/>
                      <a:pt x="1960" y="3444"/>
                    </a:cubicBezTo>
                    <a:cubicBezTo>
                      <a:pt x="5130" y="-503"/>
                      <a:pt x="10872" y="-1161"/>
                      <a:pt x="14819" y="2009"/>
                    </a:cubicBezTo>
                    <a:cubicBezTo>
                      <a:pt x="18826" y="5178"/>
                      <a:pt x="19484" y="10980"/>
                      <a:pt x="16314" y="14987"/>
                    </a:cubicBezTo>
                    <a:close/>
                  </a:path>
                </a:pathLst>
              </a:custGeom>
              <a:grpFill/>
              <a:ln w="5978" cap="flat">
                <a:noFill/>
                <a:prstDash val="solid"/>
                <a:miter/>
              </a:ln>
            </p:spPr>
            <p:txBody>
              <a:bodyPr rtlCol="0" anchor="ctr"/>
              <a:lstStyle/>
              <a:p>
                <a:endParaRPr lang="en-GB"/>
              </a:p>
            </p:txBody>
          </p:sp>
          <p:sp>
            <p:nvSpPr>
              <p:cNvPr id="2198" name="Vrije vorm: vorm 2197">
                <a:extLst>
                  <a:ext uri="{FF2B5EF4-FFF2-40B4-BE49-F238E27FC236}">
                    <a16:creationId xmlns:a16="http://schemas.microsoft.com/office/drawing/2014/main" id="{5CB4C893-4288-4E8A-B6F9-D89FF9DD10B0}"/>
                  </a:ext>
                </a:extLst>
              </p:cNvPr>
              <p:cNvSpPr/>
              <p:nvPr/>
            </p:nvSpPr>
            <p:spPr>
              <a:xfrm>
                <a:off x="5000429" y="4728902"/>
                <a:ext cx="18324" cy="18390"/>
              </a:xfrm>
              <a:custGeom>
                <a:avLst/>
                <a:gdLst>
                  <a:gd name="connsiteX0" fmla="*/ 16339 w 18324"/>
                  <a:gd name="connsiteY0" fmla="*/ 14927 h 18390"/>
                  <a:gd name="connsiteX1" fmla="*/ 14844 w 18324"/>
                  <a:gd name="connsiteY1" fmla="*/ 2009 h 18390"/>
                  <a:gd name="connsiteX2" fmla="*/ 1985 w 18324"/>
                  <a:gd name="connsiteY2" fmla="*/ 3444 h 18390"/>
                  <a:gd name="connsiteX3" fmla="*/ 3481 w 18324"/>
                  <a:gd name="connsiteY3" fmla="*/ 16363 h 18390"/>
                  <a:gd name="connsiteX4" fmla="*/ 16339 w 18324"/>
                  <a:gd name="connsiteY4" fmla="*/ 14927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0">
                    <a:moveTo>
                      <a:pt x="16339" y="14927"/>
                    </a:moveTo>
                    <a:cubicBezTo>
                      <a:pt x="19509" y="10980"/>
                      <a:pt x="18792" y="5178"/>
                      <a:pt x="14844" y="2009"/>
                    </a:cubicBezTo>
                    <a:cubicBezTo>
                      <a:pt x="10897" y="-1161"/>
                      <a:pt x="5095" y="-503"/>
                      <a:pt x="1985" y="3444"/>
                    </a:cubicBezTo>
                    <a:cubicBezTo>
                      <a:pt x="-1184" y="7392"/>
                      <a:pt x="-467" y="13193"/>
                      <a:pt x="3481" y="16363"/>
                    </a:cubicBezTo>
                    <a:cubicBezTo>
                      <a:pt x="7428" y="19532"/>
                      <a:pt x="13170" y="18934"/>
                      <a:pt x="16339" y="14927"/>
                    </a:cubicBezTo>
                    <a:close/>
                  </a:path>
                </a:pathLst>
              </a:custGeom>
              <a:grpFill/>
              <a:ln w="5978" cap="flat">
                <a:noFill/>
                <a:prstDash val="solid"/>
                <a:miter/>
              </a:ln>
            </p:spPr>
            <p:txBody>
              <a:bodyPr rtlCol="0" anchor="ctr"/>
              <a:lstStyle/>
              <a:p>
                <a:endParaRPr lang="en-GB"/>
              </a:p>
            </p:txBody>
          </p:sp>
        </p:grpSp>
        <p:grpSp>
          <p:nvGrpSpPr>
            <p:cNvPr id="1069" name="Graphic 3">
              <a:extLst>
                <a:ext uri="{FF2B5EF4-FFF2-40B4-BE49-F238E27FC236}">
                  <a16:creationId xmlns:a16="http://schemas.microsoft.com/office/drawing/2014/main" id="{DEBB1B73-4A6C-41EC-B390-B0725F6E58E5}"/>
                </a:ext>
              </a:extLst>
            </p:cNvPr>
            <p:cNvGrpSpPr/>
            <p:nvPr/>
          </p:nvGrpSpPr>
          <p:grpSpPr>
            <a:xfrm>
              <a:off x="4290044" y="3111562"/>
              <a:ext cx="112511" cy="34225"/>
              <a:chOff x="4290044" y="3111562"/>
              <a:chExt cx="112511" cy="34225"/>
            </a:xfrm>
            <a:grpFill/>
          </p:grpSpPr>
          <p:sp>
            <p:nvSpPr>
              <p:cNvPr id="2193" name="Vrije vorm: vorm 2192">
                <a:extLst>
                  <a:ext uri="{FF2B5EF4-FFF2-40B4-BE49-F238E27FC236}">
                    <a16:creationId xmlns:a16="http://schemas.microsoft.com/office/drawing/2014/main" id="{CB725AAF-76AE-4838-89C2-E0DD319909C2}"/>
                  </a:ext>
                </a:extLst>
              </p:cNvPr>
              <p:cNvSpPr/>
              <p:nvPr/>
            </p:nvSpPr>
            <p:spPr>
              <a:xfrm>
                <a:off x="4298484" y="3119106"/>
                <a:ext cx="95571" cy="19078"/>
              </a:xfrm>
              <a:custGeom>
                <a:avLst/>
                <a:gdLst>
                  <a:gd name="connsiteX0" fmla="*/ 95572 w 95571"/>
                  <a:gd name="connsiteY0" fmla="*/ 16088 h 19078"/>
                  <a:gd name="connsiteX1" fmla="*/ 95093 w 95571"/>
                  <a:gd name="connsiteY1" fmla="*/ 19079 h 19078"/>
                  <a:gd name="connsiteX2" fmla="*/ 0 w 95571"/>
                  <a:gd name="connsiteY2" fmla="*/ 3050 h 19078"/>
                  <a:gd name="connsiteX3" fmla="*/ 538 w 95571"/>
                  <a:gd name="connsiteY3" fmla="*/ 0 h 19078"/>
                </a:gdLst>
                <a:ahLst/>
                <a:cxnLst>
                  <a:cxn ang="0">
                    <a:pos x="connsiteX0" y="connsiteY0"/>
                  </a:cxn>
                  <a:cxn ang="0">
                    <a:pos x="connsiteX1" y="connsiteY1"/>
                  </a:cxn>
                  <a:cxn ang="0">
                    <a:pos x="connsiteX2" y="connsiteY2"/>
                  </a:cxn>
                  <a:cxn ang="0">
                    <a:pos x="connsiteX3" y="connsiteY3"/>
                  </a:cxn>
                </a:cxnLst>
                <a:rect l="l" t="t" r="r" b="b"/>
                <a:pathLst>
                  <a:path w="95571" h="19078">
                    <a:moveTo>
                      <a:pt x="95572" y="16088"/>
                    </a:moveTo>
                    <a:lnTo>
                      <a:pt x="95093" y="19079"/>
                    </a:lnTo>
                    <a:lnTo>
                      <a:pt x="0" y="3050"/>
                    </a:lnTo>
                    <a:lnTo>
                      <a:pt x="538" y="0"/>
                    </a:lnTo>
                    <a:close/>
                  </a:path>
                </a:pathLst>
              </a:custGeom>
              <a:grpFill/>
              <a:ln w="5978" cap="flat">
                <a:noFill/>
                <a:prstDash val="solid"/>
                <a:miter/>
              </a:ln>
            </p:spPr>
            <p:txBody>
              <a:bodyPr rtlCol="0" anchor="ctr"/>
              <a:lstStyle/>
              <a:p>
                <a:endParaRPr lang="en-GB"/>
              </a:p>
            </p:txBody>
          </p:sp>
          <p:sp>
            <p:nvSpPr>
              <p:cNvPr id="2194" name="Vrije vorm: vorm 2193">
                <a:extLst>
                  <a:ext uri="{FF2B5EF4-FFF2-40B4-BE49-F238E27FC236}">
                    <a16:creationId xmlns:a16="http://schemas.microsoft.com/office/drawing/2014/main" id="{38360CBC-5FD9-473E-8E65-662E422B8A35}"/>
                  </a:ext>
                </a:extLst>
              </p:cNvPr>
              <p:cNvSpPr/>
              <p:nvPr/>
            </p:nvSpPr>
            <p:spPr>
              <a:xfrm>
                <a:off x="4290044" y="3111562"/>
                <a:ext cx="18314" cy="18376"/>
              </a:xfrm>
              <a:custGeom>
                <a:avLst/>
                <a:gdLst>
                  <a:gd name="connsiteX0" fmla="*/ 7662 w 18314"/>
                  <a:gd name="connsiteY0" fmla="*/ 18250 h 18376"/>
                  <a:gd name="connsiteX1" fmla="*/ 127 w 18314"/>
                  <a:gd name="connsiteY1" fmla="*/ 7664 h 18376"/>
                  <a:gd name="connsiteX2" fmla="*/ 10653 w 18314"/>
                  <a:gd name="connsiteY2" fmla="*/ 128 h 18376"/>
                  <a:gd name="connsiteX3" fmla="*/ 18188 w 18314"/>
                  <a:gd name="connsiteY3" fmla="*/ 10714 h 18376"/>
                  <a:gd name="connsiteX4" fmla="*/ 7662 w 18314"/>
                  <a:gd name="connsiteY4" fmla="*/ 18250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76">
                    <a:moveTo>
                      <a:pt x="7662" y="18250"/>
                    </a:moveTo>
                    <a:cubicBezTo>
                      <a:pt x="2698" y="17412"/>
                      <a:pt x="-711" y="12628"/>
                      <a:pt x="127" y="7664"/>
                    </a:cubicBezTo>
                    <a:cubicBezTo>
                      <a:pt x="964" y="2640"/>
                      <a:pt x="5629" y="-709"/>
                      <a:pt x="10653" y="128"/>
                    </a:cubicBezTo>
                    <a:cubicBezTo>
                      <a:pt x="15616" y="965"/>
                      <a:pt x="19025" y="5750"/>
                      <a:pt x="18188" y="10714"/>
                    </a:cubicBezTo>
                    <a:cubicBezTo>
                      <a:pt x="17411" y="15678"/>
                      <a:pt x="12686" y="19087"/>
                      <a:pt x="7662" y="18250"/>
                    </a:cubicBezTo>
                    <a:close/>
                  </a:path>
                </a:pathLst>
              </a:custGeom>
              <a:grpFill/>
              <a:ln w="5978" cap="flat">
                <a:noFill/>
                <a:prstDash val="solid"/>
                <a:miter/>
              </a:ln>
            </p:spPr>
            <p:txBody>
              <a:bodyPr rtlCol="0" anchor="ctr"/>
              <a:lstStyle/>
              <a:p>
                <a:endParaRPr lang="en-GB"/>
              </a:p>
            </p:txBody>
          </p:sp>
          <p:sp>
            <p:nvSpPr>
              <p:cNvPr id="2195" name="Vrije vorm: vorm 2194">
                <a:extLst>
                  <a:ext uri="{FF2B5EF4-FFF2-40B4-BE49-F238E27FC236}">
                    <a16:creationId xmlns:a16="http://schemas.microsoft.com/office/drawing/2014/main" id="{941B13BC-6E0E-4A0D-80DD-D6870C028AF0}"/>
                  </a:ext>
                </a:extLst>
              </p:cNvPr>
              <p:cNvSpPr/>
              <p:nvPr/>
            </p:nvSpPr>
            <p:spPr>
              <a:xfrm>
                <a:off x="4384239" y="3127411"/>
                <a:ext cx="18316" cy="18376"/>
              </a:xfrm>
              <a:custGeom>
                <a:avLst/>
                <a:gdLst>
                  <a:gd name="connsiteX0" fmla="*/ 7664 w 18316"/>
                  <a:gd name="connsiteY0" fmla="*/ 18250 h 18376"/>
                  <a:gd name="connsiteX1" fmla="*/ 18190 w 18316"/>
                  <a:gd name="connsiteY1" fmla="*/ 10714 h 18376"/>
                  <a:gd name="connsiteX2" fmla="*/ 10654 w 18316"/>
                  <a:gd name="connsiteY2" fmla="*/ 128 h 18376"/>
                  <a:gd name="connsiteX3" fmla="*/ 128 w 18316"/>
                  <a:gd name="connsiteY3" fmla="*/ 7664 h 18376"/>
                  <a:gd name="connsiteX4" fmla="*/ 7664 w 18316"/>
                  <a:gd name="connsiteY4" fmla="*/ 18250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76">
                    <a:moveTo>
                      <a:pt x="7664" y="18250"/>
                    </a:moveTo>
                    <a:cubicBezTo>
                      <a:pt x="12628" y="19087"/>
                      <a:pt x="17353" y="15678"/>
                      <a:pt x="18190" y="10714"/>
                    </a:cubicBezTo>
                    <a:cubicBezTo>
                      <a:pt x="19027" y="5690"/>
                      <a:pt x="15618" y="965"/>
                      <a:pt x="10654" y="128"/>
                    </a:cubicBezTo>
                    <a:cubicBezTo>
                      <a:pt x="5630" y="-709"/>
                      <a:pt x="966" y="2640"/>
                      <a:pt x="128" y="7664"/>
                    </a:cubicBezTo>
                    <a:cubicBezTo>
                      <a:pt x="-709" y="12688"/>
                      <a:pt x="2640" y="17412"/>
                      <a:pt x="7664" y="18250"/>
                    </a:cubicBezTo>
                    <a:close/>
                  </a:path>
                </a:pathLst>
              </a:custGeom>
              <a:grpFill/>
              <a:ln w="5978" cap="flat">
                <a:noFill/>
                <a:prstDash val="solid"/>
                <a:miter/>
              </a:ln>
            </p:spPr>
            <p:txBody>
              <a:bodyPr rtlCol="0" anchor="ctr"/>
              <a:lstStyle/>
              <a:p>
                <a:endParaRPr lang="en-GB"/>
              </a:p>
            </p:txBody>
          </p:sp>
        </p:grpSp>
        <p:grpSp>
          <p:nvGrpSpPr>
            <p:cNvPr id="1070" name="Graphic 3">
              <a:extLst>
                <a:ext uri="{FF2B5EF4-FFF2-40B4-BE49-F238E27FC236}">
                  <a16:creationId xmlns:a16="http://schemas.microsoft.com/office/drawing/2014/main" id="{28583572-F871-47CE-939B-E7D943605FFF}"/>
                </a:ext>
              </a:extLst>
            </p:cNvPr>
            <p:cNvGrpSpPr/>
            <p:nvPr/>
          </p:nvGrpSpPr>
          <p:grpSpPr>
            <a:xfrm>
              <a:off x="4819037" y="4746703"/>
              <a:ext cx="225669" cy="290715"/>
              <a:chOff x="4819037" y="4746703"/>
              <a:chExt cx="225669" cy="290715"/>
            </a:xfrm>
            <a:grpFill/>
          </p:grpSpPr>
          <p:sp>
            <p:nvSpPr>
              <p:cNvPr id="2190" name="Vrije vorm: vorm 2189">
                <a:extLst>
                  <a:ext uri="{FF2B5EF4-FFF2-40B4-BE49-F238E27FC236}">
                    <a16:creationId xmlns:a16="http://schemas.microsoft.com/office/drawing/2014/main" id="{3E51B147-0A69-4B43-B621-9EBE96B121C4}"/>
                  </a:ext>
                </a:extLst>
              </p:cNvPr>
              <p:cNvSpPr/>
              <p:nvPr/>
            </p:nvSpPr>
            <p:spPr>
              <a:xfrm>
                <a:off x="4826761" y="4754594"/>
                <a:ext cx="210282" cy="274933"/>
              </a:xfrm>
              <a:custGeom>
                <a:avLst/>
                <a:gdLst>
                  <a:gd name="connsiteX0" fmla="*/ 210282 w 210282"/>
                  <a:gd name="connsiteY0" fmla="*/ 1914 h 274933"/>
                  <a:gd name="connsiteX1" fmla="*/ 2392 w 210282"/>
                  <a:gd name="connsiteY1" fmla="*/ 274934 h 274933"/>
                  <a:gd name="connsiteX2" fmla="*/ 0 w 210282"/>
                  <a:gd name="connsiteY2" fmla="*/ 273020 h 274933"/>
                  <a:gd name="connsiteX3" fmla="*/ 207890 w 210282"/>
                  <a:gd name="connsiteY3" fmla="*/ 0 h 274933"/>
                </a:gdLst>
                <a:ahLst/>
                <a:cxnLst>
                  <a:cxn ang="0">
                    <a:pos x="connsiteX0" y="connsiteY0"/>
                  </a:cxn>
                  <a:cxn ang="0">
                    <a:pos x="connsiteX1" y="connsiteY1"/>
                  </a:cxn>
                  <a:cxn ang="0">
                    <a:pos x="connsiteX2" y="connsiteY2"/>
                  </a:cxn>
                  <a:cxn ang="0">
                    <a:pos x="connsiteX3" y="connsiteY3"/>
                  </a:cxn>
                </a:cxnLst>
                <a:rect l="l" t="t" r="r" b="b"/>
                <a:pathLst>
                  <a:path w="210282" h="274933">
                    <a:moveTo>
                      <a:pt x="210282" y="1914"/>
                    </a:moveTo>
                    <a:lnTo>
                      <a:pt x="2392" y="274934"/>
                    </a:lnTo>
                    <a:lnTo>
                      <a:pt x="0" y="273020"/>
                    </a:lnTo>
                    <a:lnTo>
                      <a:pt x="207890" y="0"/>
                    </a:lnTo>
                    <a:close/>
                  </a:path>
                </a:pathLst>
              </a:custGeom>
              <a:grpFill/>
              <a:ln w="5978" cap="flat">
                <a:noFill/>
                <a:prstDash val="solid"/>
                <a:miter/>
              </a:ln>
            </p:spPr>
            <p:txBody>
              <a:bodyPr rtlCol="0" anchor="ctr"/>
              <a:lstStyle/>
              <a:p>
                <a:endParaRPr lang="en-GB"/>
              </a:p>
            </p:txBody>
          </p:sp>
          <p:sp>
            <p:nvSpPr>
              <p:cNvPr id="2191" name="Vrije vorm: vorm 2190">
                <a:extLst>
                  <a:ext uri="{FF2B5EF4-FFF2-40B4-BE49-F238E27FC236}">
                    <a16:creationId xmlns:a16="http://schemas.microsoft.com/office/drawing/2014/main" id="{3FA457CF-F23E-45A0-BE6D-4664CBDAB03F}"/>
                  </a:ext>
                </a:extLst>
              </p:cNvPr>
              <p:cNvSpPr/>
              <p:nvPr/>
            </p:nvSpPr>
            <p:spPr>
              <a:xfrm>
                <a:off x="4819037" y="5019005"/>
                <a:ext cx="18361" cy="18413"/>
              </a:xfrm>
              <a:custGeom>
                <a:avLst/>
                <a:gdLst>
                  <a:gd name="connsiteX0" fmla="*/ 16456 w 18361"/>
                  <a:gd name="connsiteY0" fmla="*/ 14829 h 18413"/>
                  <a:gd name="connsiteX1" fmla="*/ 3597 w 18361"/>
                  <a:gd name="connsiteY1" fmla="*/ 16503 h 18413"/>
                  <a:gd name="connsiteX2" fmla="*/ 1863 w 18361"/>
                  <a:gd name="connsiteY2" fmla="*/ 3585 h 18413"/>
                  <a:gd name="connsiteX3" fmla="*/ 14721 w 18361"/>
                  <a:gd name="connsiteY3" fmla="*/ 1910 h 18413"/>
                  <a:gd name="connsiteX4" fmla="*/ 16456 w 18361"/>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3">
                    <a:moveTo>
                      <a:pt x="16456" y="14829"/>
                    </a:moveTo>
                    <a:cubicBezTo>
                      <a:pt x="13405" y="18836"/>
                      <a:pt x="7604" y="19614"/>
                      <a:pt x="3597" y="16503"/>
                    </a:cubicBezTo>
                    <a:cubicBezTo>
                      <a:pt x="-410" y="13393"/>
                      <a:pt x="-1188" y="7592"/>
                      <a:pt x="1863" y="3585"/>
                    </a:cubicBezTo>
                    <a:cubicBezTo>
                      <a:pt x="4913" y="-422"/>
                      <a:pt x="10714" y="-1200"/>
                      <a:pt x="14721" y="1910"/>
                    </a:cubicBezTo>
                    <a:cubicBezTo>
                      <a:pt x="18788" y="5021"/>
                      <a:pt x="19566" y="10762"/>
                      <a:pt x="16456" y="14829"/>
                    </a:cubicBezTo>
                    <a:close/>
                  </a:path>
                </a:pathLst>
              </a:custGeom>
              <a:grpFill/>
              <a:ln w="5978" cap="flat">
                <a:noFill/>
                <a:prstDash val="solid"/>
                <a:miter/>
              </a:ln>
            </p:spPr>
            <p:txBody>
              <a:bodyPr rtlCol="0" anchor="ctr"/>
              <a:lstStyle/>
              <a:p>
                <a:endParaRPr lang="en-GB"/>
              </a:p>
            </p:txBody>
          </p:sp>
          <p:sp>
            <p:nvSpPr>
              <p:cNvPr id="2192" name="Vrije vorm: vorm 2191">
                <a:extLst>
                  <a:ext uri="{FF2B5EF4-FFF2-40B4-BE49-F238E27FC236}">
                    <a16:creationId xmlns:a16="http://schemas.microsoft.com/office/drawing/2014/main" id="{D9172976-E25B-470C-A3FE-C5C7017C9E62}"/>
                  </a:ext>
                </a:extLst>
              </p:cNvPr>
              <p:cNvSpPr/>
              <p:nvPr/>
            </p:nvSpPr>
            <p:spPr>
              <a:xfrm>
                <a:off x="5026389" y="4746703"/>
                <a:ext cx="18318" cy="18413"/>
              </a:xfrm>
              <a:custGeom>
                <a:avLst/>
                <a:gdLst>
                  <a:gd name="connsiteX0" fmla="*/ 16456 w 18318"/>
                  <a:gd name="connsiteY0" fmla="*/ 14829 h 18413"/>
                  <a:gd name="connsiteX1" fmla="*/ 14721 w 18318"/>
                  <a:gd name="connsiteY1" fmla="*/ 1910 h 18413"/>
                  <a:gd name="connsiteX2" fmla="*/ 1863 w 18318"/>
                  <a:gd name="connsiteY2" fmla="*/ 3585 h 18413"/>
                  <a:gd name="connsiteX3" fmla="*/ 3597 w 18318"/>
                  <a:gd name="connsiteY3" fmla="*/ 16503 h 18413"/>
                  <a:gd name="connsiteX4" fmla="*/ 16456 w 18318"/>
                  <a:gd name="connsiteY4" fmla="*/ 14829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6456" y="14829"/>
                    </a:moveTo>
                    <a:cubicBezTo>
                      <a:pt x="19506" y="10822"/>
                      <a:pt x="18728" y="5020"/>
                      <a:pt x="14721" y="1910"/>
                    </a:cubicBezTo>
                    <a:cubicBezTo>
                      <a:pt x="10714" y="-1200"/>
                      <a:pt x="4973" y="-422"/>
                      <a:pt x="1863" y="3585"/>
                    </a:cubicBezTo>
                    <a:cubicBezTo>
                      <a:pt x="-1187" y="7592"/>
                      <a:pt x="-410" y="13393"/>
                      <a:pt x="3597" y="16503"/>
                    </a:cubicBezTo>
                    <a:cubicBezTo>
                      <a:pt x="7664" y="19613"/>
                      <a:pt x="13405" y="18836"/>
                      <a:pt x="16456" y="14829"/>
                    </a:cubicBezTo>
                    <a:close/>
                  </a:path>
                </a:pathLst>
              </a:custGeom>
              <a:grpFill/>
              <a:ln w="5978" cap="flat">
                <a:noFill/>
                <a:prstDash val="solid"/>
                <a:miter/>
              </a:ln>
            </p:spPr>
            <p:txBody>
              <a:bodyPr rtlCol="0" anchor="ctr"/>
              <a:lstStyle/>
              <a:p>
                <a:endParaRPr lang="en-GB"/>
              </a:p>
            </p:txBody>
          </p:sp>
        </p:grpSp>
        <p:grpSp>
          <p:nvGrpSpPr>
            <p:cNvPr id="1071" name="Graphic 3">
              <a:extLst>
                <a:ext uri="{FF2B5EF4-FFF2-40B4-BE49-F238E27FC236}">
                  <a16:creationId xmlns:a16="http://schemas.microsoft.com/office/drawing/2014/main" id="{31E3FF48-F5A0-487D-ADE7-192C612DC7C1}"/>
                </a:ext>
              </a:extLst>
            </p:cNvPr>
            <p:cNvGrpSpPr/>
            <p:nvPr/>
          </p:nvGrpSpPr>
          <p:grpSpPr>
            <a:xfrm>
              <a:off x="4811653" y="4782058"/>
              <a:ext cx="284038" cy="330663"/>
              <a:chOff x="4811653" y="4782058"/>
              <a:chExt cx="284038" cy="330663"/>
            </a:xfrm>
            <a:grpFill/>
          </p:grpSpPr>
          <p:sp>
            <p:nvSpPr>
              <p:cNvPr id="2187" name="Vrije vorm: vorm 2186">
                <a:extLst>
                  <a:ext uri="{FF2B5EF4-FFF2-40B4-BE49-F238E27FC236}">
                    <a16:creationId xmlns:a16="http://schemas.microsoft.com/office/drawing/2014/main" id="{A48EA767-6A18-4DC3-818C-3ACA297A4930}"/>
                  </a:ext>
                </a:extLst>
              </p:cNvPr>
              <p:cNvSpPr/>
              <p:nvPr/>
            </p:nvSpPr>
            <p:spPr>
              <a:xfrm>
                <a:off x="4819345" y="4789940"/>
                <a:ext cx="268654" cy="314885"/>
              </a:xfrm>
              <a:custGeom>
                <a:avLst/>
                <a:gdLst>
                  <a:gd name="connsiteX0" fmla="*/ 268654 w 268654"/>
                  <a:gd name="connsiteY0" fmla="*/ 1974 h 314885"/>
                  <a:gd name="connsiteX1" fmla="*/ 2333 w 268654"/>
                  <a:gd name="connsiteY1" fmla="*/ 314885 h 314885"/>
                  <a:gd name="connsiteX2" fmla="*/ 0 w 268654"/>
                  <a:gd name="connsiteY2" fmla="*/ 312911 h 314885"/>
                  <a:gd name="connsiteX3" fmla="*/ 266382 w 268654"/>
                  <a:gd name="connsiteY3" fmla="*/ 0 h 314885"/>
                </a:gdLst>
                <a:ahLst/>
                <a:cxnLst>
                  <a:cxn ang="0">
                    <a:pos x="connsiteX0" y="connsiteY0"/>
                  </a:cxn>
                  <a:cxn ang="0">
                    <a:pos x="connsiteX1" y="connsiteY1"/>
                  </a:cxn>
                  <a:cxn ang="0">
                    <a:pos x="connsiteX2" y="connsiteY2"/>
                  </a:cxn>
                  <a:cxn ang="0">
                    <a:pos x="connsiteX3" y="connsiteY3"/>
                  </a:cxn>
                </a:cxnLst>
                <a:rect l="l" t="t" r="r" b="b"/>
                <a:pathLst>
                  <a:path w="268654" h="314885">
                    <a:moveTo>
                      <a:pt x="268654" y="1974"/>
                    </a:moveTo>
                    <a:lnTo>
                      <a:pt x="2333" y="314885"/>
                    </a:lnTo>
                    <a:lnTo>
                      <a:pt x="0" y="312911"/>
                    </a:lnTo>
                    <a:lnTo>
                      <a:pt x="266382" y="0"/>
                    </a:lnTo>
                    <a:close/>
                  </a:path>
                </a:pathLst>
              </a:custGeom>
              <a:grpFill/>
              <a:ln w="5978" cap="flat">
                <a:noFill/>
                <a:prstDash val="solid"/>
                <a:miter/>
              </a:ln>
            </p:spPr>
            <p:txBody>
              <a:bodyPr rtlCol="0" anchor="ctr"/>
              <a:lstStyle/>
              <a:p>
                <a:endParaRPr lang="en-GB"/>
              </a:p>
            </p:txBody>
          </p:sp>
          <p:sp>
            <p:nvSpPr>
              <p:cNvPr id="2188" name="Vrije vorm: vorm 2187">
                <a:extLst>
                  <a:ext uri="{FF2B5EF4-FFF2-40B4-BE49-F238E27FC236}">
                    <a16:creationId xmlns:a16="http://schemas.microsoft.com/office/drawing/2014/main" id="{AFA9C7D7-8F71-4918-9554-032817EC0B2B}"/>
                  </a:ext>
                </a:extLst>
              </p:cNvPr>
              <p:cNvSpPr/>
              <p:nvPr/>
            </p:nvSpPr>
            <p:spPr>
              <a:xfrm>
                <a:off x="5077376" y="4782058"/>
                <a:ext cx="18314" cy="18454"/>
              </a:xfrm>
              <a:custGeom>
                <a:avLst/>
                <a:gdLst>
                  <a:gd name="connsiteX0" fmla="*/ 2190 w 18314"/>
                  <a:gd name="connsiteY0" fmla="*/ 3217 h 18454"/>
                  <a:gd name="connsiteX1" fmla="*/ 15108 w 18314"/>
                  <a:gd name="connsiteY1" fmla="*/ 2260 h 18454"/>
                  <a:gd name="connsiteX2" fmla="*/ 16125 w 18314"/>
                  <a:gd name="connsiteY2" fmla="*/ 15238 h 18454"/>
                  <a:gd name="connsiteX3" fmla="*/ 3206 w 18314"/>
                  <a:gd name="connsiteY3" fmla="*/ 16195 h 18454"/>
                  <a:gd name="connsiteX4" fmla="*/ 2190 w 18314"/>
                  <a:gd name="connsiteY4" fmla="*/ 3217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54">
                    <a:moveTo>
                      <a:pt x="2190" y="3217"/>
                    </a:moveTo>
                    <a:cubicBezTo>
                      <a:pt x="5479" y="-671"/>
                      <a:pt x="11281" y="-1089"/>
                      <a:pt x="15108" y="2260"/>
                    </a:cubicBezTo>
                    <a:cubicBezTo>
                      <a:pt x="18936" y="5549"/>
                      <a:pt x="19414" y="11410"/>
                      <a:pt x="16125" y="15238"/>
                    </a:cubicBezTo>
                    <a:cubicBezTo>
                      <a:pt x="12836" y="19125"/>
                      <a:pt x="7034" y="19544"/>
                      <a:pt x="3206" y="16195"/>
                    </a:cubicBezTo>
                    <a:cubicBezTo>
                      <a:pt x="-621" y="12846"/>
                      <a:pt x="-1099" y="7044"/>
                      <a:pt x="2190" y="3217"/>
                    </a:cubicBezTo>
                    <a:close/>
                  </a:path>
                </a:pathLst>
              </a:custGeom>
              <a:grpFill/>
              <a:ln w="5978" cap="flat">
                <a:noFill/>
                <a:prstDash val="solid"/>
                <a:miter/>
              </a:ln>
            </p:spPr>
            <p:txBody>
              <a:bodyPr rtlCol="0" anchor="ctr"/>
              <a:lstStyle/>
              <a:p>
                <a:endParaRPr lang="en-GB"/>
              </a:p>
            </p:txBody>
          </p:sp>
          <p:sp>
            <p:nvSpPr>
              <p:cNvPr id="2189" name="Vrije vorm: vorm 2188">
                <a:extLst>
                  <a:ext uri="{FF2B5EF4-FFF2-40B4-BE49-F238E27FC236}">
                    <a16:creationId xmlns:a16="http://schemas.microsoft.com/office/drawing/2014/main" id="{E84ED3FD-00A9-4742-A1A6-CE16B3CCA597}"/>
                  </a:ext>
                </a:extLst>
              </p:cNvPr>
              <p:cNvSpPr/>
              <p:nvPr/>
            </p:nvSpPr>
            <p:spPr>
              <a:xfrm>
                <a:off x="4811653" y="5094312"/>
                <a:ext cx="18314" cy="18410"/>
              </a:xfrm>
              <a:custGeom>
                <a:avLst/>
                <a:gdLst>
                  <a:gd name="connsiteX0" fmla="*/ 2190 w 18314"/>
                  <a:gd name="connsiteY0" fmla="*/ 3217 h 18410"/>
                  <a:gd name="connsiteX1" fmla="*/ 3207 w 18314"/>
                  <a:gd name="connsiteY1" fmla="*/ 16195 h 18410"/>
                  <a:gd name="connsiteX2" fmla="*/ 16125 w 18314"/>
                  <a:gd name="connsiteY2" fmla="*/ 15238 h 18410"/>
                  <a:gd name="connsiteX3" fmla="*/ 15108 w 18314"/>
                  <a:gd name="connsiteY3" fmla="*/ 2260 h 18410"/>
                  <a:gd name="connsiteX4" fmla="*/ 2190 w 18314"/>
                  <a:gd name="connsiteY4" fmla="*/ 3217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10">
                    <a:moveTo>
                      <a:pt x="2190" y="3217"/>
                    </a:moveTo>
                    <a:cubicBezTo>
                      <a:pt x="-1099" y="7104"/>
                      <a:pt x="-621" y="12905"/>
                      <a:pt x="3207" y="16195"/>
                    </a:cubicBezTo>
                    <a:cubicBezTo>
                      <a:pt x="7034" y="19484"/>
                      <a:pt x="12835" y="19066"/>
                      <a:pt x="16125" y="15238"/>
                    </a:cubicBezTo>
                    <a:cubicBezTo>
                      <a:pt x="19414" y="11410"/>
                      <a:pt x="18936" y="5549"/>
                      <a:pt x="15108" y="2260"/>
                    </a:cubicBezTo>
                    <a:cubicBezTo>
                      <a:pt x="11281" y="-1089"/>
                      <a:pt x="5479" y="-671"/>
                      <a:pt x="2190" y="3217"/>
                    </a:cubicBezTo>
                    <a:close/>
                  </a:path>
                </a:pathLst>
              </a:custGeom>
              <a:grpFill/>
              <a:ln w="5978" cap="flat">
                <a:noFill/>
                <a:prstDash val="solid"/>
                <a:miter/>
              </a:ln>
            </p:spPr>
            <p:txBody>
              <a:bodyPr rtlCol="0" anchor="ctr"/>
              <a:lstStyle/>
              <a:p>
                <a:endParaRPr lang="en-GB"/>
              </a:p>
            </p:txBody>
          </p:sp>
        </p:grpSp>
        <p:grpSp>
          <p:nvGrpSpPr>
            <p:cNvPr id="1072" name="Graphic 3">
              <a:extLst>
                <a:ext uri="{FF2B5EF4-FFF2-40B4-BE49-F238E27FC236}">
                  <a16:creationId xmlns:a16="http://schemas.microsoft.com/office/drawing/2014/main" id="{5FAF61DB-2E8D-495B-9FE1-17D19B25F33E}"/>
                </a:ext>
              </a:extLst>
            </p:cNvPr>
            <p:cNvGrpSpPr/>
            <p:nvPr/>
          </p:nvGrpSpPr>
          <p:grpSpPr>
            <a:xfrm>
              <a:off x="4793228" y="4746047"/>
              <a:ext cx="250794" cy="264375"/>
              <a:chOff x="4793228" y="4746047"/>
              <a:chExt cx="250794" cy="264375"/>
            </a:xfrm>
            <a:grpFill/>
          </p:grpSpPr>
          <p:sp>
            <p:nvSpPr>
              <p:cNvPr id="2184" name="Vrije vorm: vorm 2183">
                <a:extLst>
                  <a:ext uri="{FF2B5EF4-FFF2-40B4-BE49-F238E27FC236}">
                    <a16:creationId xmlns:a16="http://schemas.microsoft.com/office/drawing/2014/main" id="{7F534E12-0F98-4110-8072-C04C1AF43130}"/>
                  </a:ext>
                </a:extLst>
              </p:cNvPr>
              <p:cNvSpPr/>
              <p:nvPr/>
            </p:nvSpPr>
            <p:spPr>
              <a:xfrm>
                <a:off x="4800925" y="4753876"/>
                <a:ext cx="235341" cy="248738"/>
              </a:xfrm>
              <a:custGeom>
                <a:avLst/>
                <a:gdLst>
                  <a:gd name="connsiteX0" fmla="*/ 235341 w 235341"/>
                  <a:gd name="connsiteY0" fmla="*/ 2153 h 248738"/>
                  <a:gd name="connsiteX1" fmla="*/ 2213 w 235341"/>
                  <a:gd name="connsiteY1" fmla="*/ 248738 h 248738"/>
                  <a:gd name="connsiteX2" fmla="*/ 0 w 235341"/>
                  <a:gd name="connsiteY2" fmla="*/ 246585 h 248738"/>
                  <a:gd name="connsiteX3" fmla="*/ 233128 w 235341"/>
                  <a:gd name="connsiteY3" fmla="*/ 0 h 248738"/>
                </a:gdLst>
                <a:ahLst/>
                <a:cxnLst>
                  <a:cxn ang="0">
                    <a:pos x="connsiteX0" y="connsiteY0"/>
                  </a:cxn>
                  <a:cxn ang="0">
                    <a:pos x="connsiteX1" y="connsiteY1"/>
                  </a:cxn>
                  <a:cxn ang="0">
                    <a:pos x="connsiteX2" y="connsiteY2"/>
                  </a:cxn>
                  <a:cxn ang="0">
                    <a:pos x="connsiteX3" y="connsiteY3"/>
                  </a:cxn>
                </a:cxnLst>
                <a:rect l="l" t="t" r="r" b="b"/>
                <a:pathLst>
                  <a:path w="235341" h="248738">
                    <a:moveTo>
                      <a:pt x="235341" y="2153"/>
                    </a:moveTo>
                    <a:lnTo>
                      <a:pt x="2213" y="248738"/>
                    </a:lnTo>
                    <a:lnTo>
                      <a:pt x="0" y="246585"/>
                    </a:lnTo>
                    <a:lnTo>
                      <a:pt x="233128" y="0"/>
                    </a:lnTo>
                    <a:close/>
                  </a:path>
                </a:pathLst>
              </a:custGeom>
              <a:grpFill/>
              <a:ln w="5978" cap="flat">
                <a:noFill/>
                <a:prstDash val="solid"/>
                <a:miter/>
              </a:ln>
            </p:spPr>
            <p:txBody>
              <a:bodyPr rtlCol="0" anchor="ctr"/>
              <a:lstStyle/>
              <a:p>
                <a:endParaRPr lang="en-GB"/>
              </a:p>
            </p:txBody>
          </p:sp>
          <p:sp>
            <p:nvSpPr>
              <p:cNvPr id="2185" name="Vrije vorm: vorm 2184">
                <a:extLst>
                  <a:ext uri="{FF2B5EF4-FFF2-40B4-BE49-F238E27FC236}">
                    <a16:creationId xmlns:a16="http://schemas.microsoft.com/office/drawing/2014/main" id="{58FF6D59-C9F8-4D1A-8A7D-9A1A674A3208}"/>
                  </a:ext>
                </a:extLst>
              </p:cNvPr>
              <p:cNvSpPr/>
              <p:nvPr/>
            </p:nvSpPr>
            <p:spPr>
              <a:xfrm>
                <a:off x="5025677" y="4746047"/>
                <a:ext cx="18345" cy="18469"/>
              </a:xfrm>
              <a:custGeom>
                <a:avLst/>
                <a:gdLst>
                  <a:gd name="connsiteX0" fmla="*/ 2515 w 18345"/>
                  <a:gd name="connsiteY0" fmla="*/ 2866 h 18469"/>
                  <a:gd name="connsiteX1" fmla="*/ 15493 w 18345"/>
                  <a:gd name="connsiteY1" fmla="*/ 2567 h 18469"/>
                  <a:gd name="connsiteX2" fmla="*/ 15852 w 18345"/>
                  <a:gd name="connsiteY2" fmla="*/ 15605 h 18469"/>
                  <a:gd name="connsiteX3" fmla="*/ 2874 w 18345"/>
                  <a:gd name="connsiteY3" fmla="*/ 15903 h 18469"/>
                  <a:gd name="connsiteX4" fmla="*/ 2515 w 18345"/>
                  <a:gd name="connsiteY4" fmla="*/ 2866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9">
                    <a:moveTo>
                      <a:pt x="2515" y="2866"/>
                    </a:moveTo>
                    <a:cubicBezTo>
                      <a:pt x="5984" y="-842"/>
                      <a:pt x="11785" y="-962"/>
                      <a:pt x="15493" y="2567"/>
                    </a:cubicBezTo>
                    <a:cubicBezTo>
                      <a:pt x="19141" y="6095"/>
                      <a:pt x="19321" y="11897"/>
                      <a:pt x="15852" y="15605"/>
                    </a:cubicBezTo>
                    <a:cubicBezTo>
                      <a:pt x="12383" y="19313"/>
                      <a:pt x="6582" y="19432"/>
                      <a:pt x="2874" y="15903"/>
                    </a:cubicBezTo>
                    <a:cubicBezTo>
                      <a:pt x="-834" y="12375"/>
                      <a:pt x="-954" y="6574"/>
                      <a:pt x="2515" y="2866"/>
                    </a:cubicBezTo>
                    <a:close/>
                  </a:path>
                </a:pathLst>
              </a:custGeom>
              <a:grpFill/>
              <a:ln w="5978" cap="flat">
                <a:noFill/>
                <a:prstDash val="solid"/>
                <a:miter/>
              </a:ln>
            </p:spPr>
            <p:txBody>
              <a:bodyPr rtlCol="0" anchor="ctr"/>
              <a:lstStyle/>
              <a:p>
                <a:endParaRPr lang="en-GB"/>
              </a:p>
            </p:txBody>
          </p:sp>
          <p:sp>
            <p:nvSpPr>
              <p:cNvPr id="2186" name="Vrije vorm: vorm 2185">
                <a:extLst>
                  <a:ext uri="{FF2B5EF4-FFF2-40B4-BE49-F238E27FC236}">
                    <a16:creationId xmlns:a16="http://schemas.microsoft.com/office/drawing/2014/main" id="{DA381D93-07B0-4975-8375-26D19093C22E}"/>
                  </a:ext>
                </a:extLst>
              </p:cNvPr>
              <p:cNvSpPr/>
              <p:nvPr/>
            </p:nvSpPr>
            <p:spPr>
              <a:xfrm>
                <a:off x="4793228" y="4991974"/>
                <a:ext cx="18323" cy="18448"/>
              </a:xfrm>
              <a:custGeom>
                <a:avLst/>
                <a:gdLst>
                  <a:gd name="connsiteX0" fmla="*/ 2493 w 18323"/>
                  <a:gd name="connsiteY0" fmla="*/ 2866 h 18448"/>
                  <a:gd name="connsiteX1" fmla="*/ 2852 w 18323"/>
                  <a:gd name="connsiteY1" fmla="*/ 15903 h 18448"/>
                  <a:gd name="connsiteX2" fmla="*/ 15830 w 18323"/>
                  <a:gd name="connsiteY2" fmla="*/ 15605 h 18448"/>
                  <a:gd name="connsiteX3" fmla="*/ 15472 w 18323"/>
                  <a:gd name="connsiteY3" fmla="*/ 2567 h 18448"/>
                  <a:gd name="connsiteX4" fmla="*/ 2493 w 18323"/>
                  <a:gd name="connsiteY4" fmla="*/ 2866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48">
                    <a:moveTo>
                      <a:pt x="2493" y="2866"/>
                    </a:moveTo>
                    <a:cubicBezTo>
                      <a:pt x="-975" y="6574"/>
                      <a:pt x="-796" y="12375"/>
                      <a:pt x="2852" y="15903"/>
                    </a:cubicBezTo>
                    <a:cubicBezTo>
                      <a:pt x="6501" y="19432"/>
                      <a:pt x="12302" y="19253"/>
                      <a:pt x="15830" y="15605"/>
                    </a:cubicBezTo>
                    <a:cubicBezTo>
                      <a:pt x="19299" y="11897"/>
                      <a:pt x="19120" y="6095"/>
                      <a:pt x="15472" y="2567"/>
                    </a:cubicBezTo>
                    <a:cubicBezTo>
                      <a:pt x="11764" y="-962"/>
                      <a:pt x="5962" y="-842"/>
                      <a:pt x="2493" y="2866"/>
                    </a:cubicBezTo>
                    <a:close/>
                  </a:path>
                </a:pathLst>
              </a:custGeom>
              <a:grpFill/>
              <a:ln w="5978" cap="flat">
                <a:noFill/>
                <a:prstDash val="solid"/>
                <a:miter/>
              </a:ln>
            </p:spPr>
            <p:txBody>
              <a:bodyPr rtlCol="0" anchor="ctr"/>
              <a:lstStyle/>
              <a:p>
                <a:endParaRPr lang="en-GB"/>
              </a:p>
            </p:txBody>
          </p:sp>
        </p:grpSp>
        <p:grpSp>
          <p:nvGrpSpPr>
            <p:cNvPr id="1073" name="Graphic 3">
              <a:extLst>
                <a:ext uri="{FF2B5EF4-FFF2-40B4-BE49-F238E27FC236}">
                  <a16:creationId xmlns:a16="http://schemas.microsoft.com/office/drawing/2014/main" id="{7D0E7FA8-1EEF-4BD8-A976-A1588C744585}"/>
                </a:ext>
              </a:extLst>
            </p:cNvPr>
            <p:cNvGrpSpPr/>
            <p:nvPr/>
          </p:nvGrpSpPr>
          <p:grpSpPr>
            <a:xfrm>
              <a:off x="4915472" y="4949478"/>
              <a:ext cx="147391" cy="217095"/>
              <a:chOff x="4915472" y="4949478"/>
              <a:chExt cx="147391" cy="217095"/>
            </a:xfrm>
            <a:grpFill/>
          </p:grpSpPr>
          <p:sp>
            <p:nvSpPr>
              <p:cNvPr id="2181" name="Vrije vorm: vorm 2180">
                <a:extLst>
                  <a:ext uri="{FF2B5EF4-FFF2-40B4-BE49-F238E27FC236}">
                    <a16:creationId xmlns:a16="http://schemas.microsoft.com/office/drawing/2014/main" id="{ED6D41D4-BEEC-4C8D-8D9E-E3303774973F}"/>
                  </a:ext>
                </a:extLst>
              </p:cNvPr>
              <p:cNvSpPr/>
              <p:nvPr/>
            </p:nvSpPr>
            <p:spPr>
              <a:xfrm>
                <a:off x="4923111" y="4957460"/>
                <a:ext cx="132113" cy="201131"/>
              </a:xfrm>
              <a:custGeom>
                <a:avLst/>
                <a:gdLst>
                  <a:gd name="connsiteX0" fmla="*/ 132114 w 132113"/>
                  <a:gd name="connsiteY0" fmla="*/ 1674 h 201131"/>
                  <a:gd name="connsiteX1" fmla="*/ 2512 w 132113"/>
                  <a:gd name="connsiteY1" fmla="*/ 201132 h 201131"/>
                  <a:gd name="connsiteX2" fmla="*/ 0 w 132113"/>
                  <a:gd name="connsiteY2" fmla="*/ 199457 h 201131"/>
                  <a:gd name="connsiteX3" fmla="*/ 129542 w 132113"/>
                  <a:gd name="connsiteY3" fmla="*/ 0 h 201131"/>
                </a:gdLst>
                <a:ahLst/>
                <a:cxnLst>
                  <a:cxn ang="0">
                    <a:pos x="connsiteX0" y="connsiteY0"/>
                  </a:cxn>
                  <a:cxn ang="0">
                    <a:pos x="connsiteX1" y="connsiteY1"/>
                  </a:cxn>
                  <a:cxn ang="0">
                    <a:pos x="connsiteX2" y="connsiteY2"/>
                  </a:cxn>
                  <a:cxn ang="0">
                    <a:pos x="connsiteX3" y="connsiteY3"/>
                  </a:cxn>
                </a:cxnLst>
                <a:rect l="l" t="t" r="r" b="b"/>
                <a:pathLst>
                  <a:path w="132113" h="201131">
                    <a:moveTo>
                      <a:pt x="132114" y="1674"/>
                    </a:moveTo>
                    <a:lnTo>
                      <a:pt x="2512" y="201132"/>
                    </a:lnTo>
                    <a:lnTo>
                      <a:pt x="0" y="199457"/>
                    </a:lnTo>
                    <a:lnTo>
                      <a:pt x="129542" y="0"/>
                    </a:lnTo>
                    <a:close/>
                  </a:path>
                </a:pathLst>
              </a:custGeom>
              <a:grpFill/>
              <a:ln w="5978" cap="flat">
                <a:noFill/>
                <a:prstDash val="solid"/>
                <a:miter/>
              </a:ln>
            </p:spPr>
            <p:txBody>
              <a:bodyPr rtlCol="0" anchor="ctr"/>
              <a:lstStyle/>
              <a:p>
                <a:endParaRPr lang="en-GB"/>
              </a:p>
            </p:txBody>
          </p:sp>
          <p:sp>
            <p:nvSpPr>
              <p:cNvPr id="2182" name="Vrije vorm: vorm 2181">
                <a:extLst>
                  <a:ext uri="{FF2B5EF4-FFF2-40B4-BE49-F238E27FC236}">
                    <a16:creationId xmlns:a16="http://schemas.microsoft.com/office/drawing/2014/main" id="{9FD5A48C-8BD5-4CFF-8121-FEC62355E566}"/>
                  </a:ext>
                </a:extLst>
              </p:cNvPr>
              <p:cNvSpPr/>
              <p:nvPr/>
            </p:nvSpPr>
            <p:spPr>
              <a:xfrm>
                <a:off x="4915472" y="5148157"/>
                <a:ext cx="18327" cy="18416"/>
              </a:xfrm>
              <a:custGeom>
                <a:avLst/>
                <a:gdLst>
                  <a:gd name="connsiteX0" fmla="*/ 16849 w 18327"/>
                  <a:gd name="connsiteY0" fmla="*/ 14262 h 18416"/>
                  <a:gd name="connsiteX1" fmla="*/ 4170 w 18327"/>
                  <a:gd name="connsiteY1" fmla="*/ 16893 h 18416"/>
                  <a:gd name="connsiteX2" fmla="*/ 1479 w 18327"/>
                  <a:gd name="connsiteY2" fmla="*/ 4155 h 18416"/>
                  <a:gd name="connsiteX3" fmla="*/ 14158 w 18327"/>
                  <a:gd name="connsiteY3" fmla="*/ 152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4098" y="18508"/>
                      <a:pt x="8416" y="19704"/>
                      <a:pt x="4170" y="16893"/>
                    </a:cubicBezTo>
                    <a:cubicBezTo>
                      <a:pt x="-76" y="14082"/>
                      <a:pt x="-1273" y="8401"/>
                      <a:pt x="1479" y="4155"/>
                    </a:cubicBezTo>
                    <a:cubicBezTo>
                      <a:pt x="4230" y="-92"/>
                      <a:pt x="9912" y="-1288"/>
                      <a:pt x="14158" y="1523"/>
                    </a:cubicBezTo>
                    <a:cubicBezTo>
                      <a:pt x="18404" y="4334"/>
                      <a:pt x="19600" y="10016"/>
                      <a:pt x="16849" y="14262"/>
                    </a:cubicBezTo>
                    <a:close/>
                  </a:path>
                </a:pathLst>
              </a:custGeom>
              <a:grpFill/>
              <a:ln w="5978" cap="flat">
                <a:noFill/>
                <a:prstDash val="solid"/>
                <a:miter/>
              </a:ln>
            </p:spPr>
            <p:txBody>
              <a:bodyPr rtlCol="0" anchor="ctr"/>
              <a:lstStyle/>
              <a:p>
                <a:endParaRPr lang="en-GB"/>
              </a:p>
            </p:txBody>
          </p:sp>
          <p:sp>
            <p:nvSpPr>
              <p:cNvPr id="2183" name="Vrije vorm: vorm 2182">
                <a:extLst>
                  <a:ext uri="{FF2B5EF4-FFF2-40B4-BE49-F238E27FC236}">
                    <a16:creationId xmlns:a16="http://schemas.microsoft.com/office/drawing/2014/main" id="{2C889049-4398-49D5-BAB5-C7FCE8C4846B}"/>
                  </a:ext>
                </a:extLst>
              </p:cNvPr>
              <p:cNvSpPr/>
              <p:nvPr/>
            </p:nvSpPr>
            <p:spPr>
              <a:xfrm>
                <a:off x="5044536" y="4949478"/>
                <a:ext cx="18327" cy="18416"/>
              </a:xfrm>
              <a:custGeom>
                <a:avLst/>
                <a:gdLst>
                  <a:gd name="connsiteX0" fmla="*/ 16849 w 18327"/>
                  <a:gd name="connsiteY0" fmla="*/ 14262 h 18416"/>
                  <a:gd name="connsiteX1" fmla="*/ 14158 w 18327"/>
                  <a:gd name="connsiteY1" fmla="*/ 1523 h 18416"/>
                  <a:gd name="connsiteX2" fmla="*/ 1479 w 18327"/>
                  <a:gd name="connsiteY2" fmla="*/ 4154 h 18416"/>
                  <a:gd name="connsiteX3" fmla="*/ 4170 w 18327"/>
                  <a:gd name="connsiteY3" fmla="*/ 1689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9600" y="10015"/>
                      <a:pt x="18404" y="4274"/>
                      <a:pt x="14158" y="1523"/>
                    </a:cubicBezTo>
                    <a:cubicBezTo>
                      <a:pt x="9911" y="-1288"/>
                      <a:pt x="4229" y="-92"/>
                      <a:pt x="1479" y="4154"/>
                    </a:cubicBezTo>
                    <a:cubicBezTo>
                      <a:pt x="-1273" y="8401"/>
                      <a:pt x="-76" y="14142"/>
                      <a:pt x="4170" y="16893"/>
                    </a:cubicBezTo>
                    <a:cubicBezTo>
                      <a:pt x="8416" y="19704"/>
                      <a:pt x="14098" y="18508"/>
                      <a:pt x="16849" y="14262"/>
                    </a:cubicBezTo>
                    <a:close/>
                  </a:path>
                </a:pathLst>
              </a:custGeom>
              <a:grpFill/>
              <a:ln w="5978" cap="flat">
                <a:noFill/>
                <a:prstDash val="solid"/>
                <a:miter/>
              </a:ln>
            </p:spPr>
            <p:txBody>
              <a:bodyPr rtlCol="0" anchor="ctr"/>
              <a:lstStyle/>
              <a:p>
                <a:endParaRPr lang="en-GB"/>
              </a:p>
            </p:txBody>
          </p:sp>
        </p:grpSp>
        <p:grpSp>
          <p:nvGrpSpPr>
            <p:cNvPr id="1074" name="Graphic 3">
              <a:extLst>
                <a:ext uri="{FF2B5EF4-FFF2-40B4-BE49-F238E27FC236}">
                  <a16:creationId xmlns:a16="http://schemas.microsoft.com/office/drawing/2014/main" id="{9435751C-0455-484A-B536-25B8F2112731}"/>
                </a:ext>
              </a:extLst>
            </p:cNvPr>
            <p:cNvGrpSpPr/>
            <p:nvPr/>
          </p:nvGrpSpPr>
          <p:grpSpPr>
            <a:xfrm>
              <a:off x="4221646" y="2884432"/>
              <a:ext cx="72098" cy="33830"/>
              <a:chOff x="4221646" y="2884432"/>
              <a:chExt cx="72098" cy="33830"/>
            </a:xfrm>
            <a:grpFill/>
          </p:grpSpPr>
          <p:sp>
            <p:nvSpPr>
              <p:cNvPr id="2178" name="Vrije vorm: vorm 2177">
                <a:extLst>
                  <a:ext uri="{FF2B5EF4-FFF2-40B4-BE49-F238E27FC236}">
                    <a16:creationId xmlns:a16="http://schemas.microsoft.com/office/drawing/2014/main" id="{F7DCF929-D35C-41F9-96F5-88F76C1B3705}"/>
                  </a:ext>
                </a:extLst>
              </p:cNvPr>
              <p:cNvSpPr/>
              <p:nvPr/>
            </p:nvSpPr>
            <p:spPr>
              <a:xfrm>
                <a:off x="4229945" y="2892018"/>
                <a:ext cx="55441" cy="18659"/>
              </a:xfrm>
              <a:custGeom>
                <a:avLst/>
                <a:gdLst>
                  <a:gd name="connsiteX0" fmla="*/ 55441 w 55441"/>
                  <a:gd name="connsiteY0" fmla="*/ 15729 h 18659"/>
                  <a:gd name="connsiteX1" fmla="*/ 54604 w 55441"/>
                  <a:gd name="connsiteY1" fmla="*/ 18660 h 18659"/>
                  <a:gd name="connsiteX2" fmla="*/ 0 w 55441"/>
                  <a:gd name="connsiteY2" fmla="*/ 2990 h 18659"/>
                  <a:gd name="connsiteX3" fmla="*/ 837 w 55441"/>
                  <a:gd name="connsiteY3" fmla="*/ 0 h 18659"/>
                </a:gdLst>
                <a:ahLst/>
                <a:cxnLst>
                  <a:cxn ang="0">
                    <a:pos x="connsiteX0" y="connsiteY0"/>
                  </a:cxn>
                  <a:cxn ang="0">
                    <a:pos x="connsiteX1" y="connsiteY1"/>
                  </a:cxn>
                  <a:cxn ang="0">
                    <a:pos x="connsiteX2" y="connsiteY2"/>
                  </a:cxn>
                  <a:cxn ang="0">
                    <a:pos x="connsiteX3" y="connsiteY3"/>
                  </a:cxn>
                </a:cxnLst>
                <a:rect l="l" t="t" r="r" b="b"/>
                <a:pathLst>
                  <a:path w="55441" h="18659">
                    <a:moveTo>
                      <a:pt x="55441" y="15729"/>
                    </a:moveTo>
                    <a:lnTo>
                      <a:pt x="54604" y="18660"/>
                    </a:lnTo>
                    <a:lnTo>
                      <a:pt x="0" y="2990"/>
                    </a:lnTo>
                    <a:lnTo>
                      <a:pt x="837" y="0"/>
                    </a:lnTo>
                    <a:close/>
                  </a:path>
                </a:pathLst>
              </a:custGeom>
              <a:grpFill/>
              <a:ln w="5978" cap="flat">
                <a:noFill/>
                <a:prstDash val="solid"/>
                <a:miter/>
              </a:ln>
            </p:spPr>
            <p:txBody>
              <a:bodyPr rtlCol="0" anchor="ctr"/>
              <a:lstStyle/>
              <a:p>
                <a:endParaRPr lang="en-GB"/>
              </a:p>
            </p:txBody>
          </p:sp>
          <p:sp>
            <p:nvSpPr>
              <p:cNvPr id="2179" name="Vrije vorm: vorm 2178">
                <a:extLst>
                  <a:ext uri="{FF2B5EF4-FFF2-40B4-BE49-F238E27FC236}">
                    <a16:creationId xmlns:a16="http://schemas.microsoft.com/office/drawing/2014/main" id="{AB69F557-6A72-4B21-9BA3-011A2E7DA889}"/>
                  </a:ext>
                </a:extLst>
              </p:cNvPr>
              <p:cNvSpPr/>
              <p:nvPr/>
            </p:nvSpPr>
            <p:spPr>
              <a:xfrm>
                <a:off x="4275412" y="2899863"/>
                <a:ext cx="18332" cy="18400"/>
              </a:xfrm>
              <a:custGeom>
                <a:avLst/>
                <a:gdLst>
                  <a:gd name="connsiteX0" fmla="*/ 11648 w 18332"/>
                  <a:gd name="connsiteY0" fmla="*/ 349 h 18400"/>
                  <a:gd name="connsiteX1" fmla="*/ 17988 w 18332"/>
                  <a:gd name="connsiteY1" fmla="*/ 11712 h 18400"/>
                  <a:gd name="connsiteX2" fmla="*/ 6684 w 18332"/>
                  <a:gd name="connsiteY2" fmla="*/ 18052 h 18400"/>
                  <a:gd name="connsiteX3" fmla="*/ 345 w 18332"/>
                  <a:gd name="connsiteY3" fmla="*/ 6688 h 18400"/>
                  <a:gd name="connsiteX4" fmla="*/ 11648 w 18332"/>
                  <a:gd name="connsiteY4" fmla="*/ 34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00">
                    <a:moveTo>
                      <a:pt x="11648" y="349"/>
                    </a:moveTo>
                    <a:cubicBezTo>
                      <a:pt x="16493" y="1725"/>
                      <a:pt x="19364" y="6868"/>
                      <a:pt x="17988" y="11712"/>
                    </a:cubicBezTo>
                    <a:cubicBezTo>
                      <a:pt x="16612" y="16616"/>
                      <a:pt x="11529" y="19427"/>
                      <a:pt x="6684" y="18052"/>
                    </a:cubicBezTo>
                    <a:cubicBezTo>
                      <a:pt x="1840" y="16676"/>
                      <a:pt x="-1031" y="11533"/>
                      <a:pt x="345" y="6688"/>
                    </a:cubicBezTo>
                    <a:cubicBezTo>
                      <a:pt x="1660" y="1784"/>
                      <a:pt x="6744" y="-1027"/>
                      <a:pt x="11648" y="349"/>
                    </a:cubicBezTo>
                    <a:close/>
                  </a:path>
                </a:pathLst>
              </a:custGeom>
              <a:grpFill/>
              <a:ln w="5978" cap="flat">
                <a:noFill/>
                <a:prstDash val="solid"/>
                <a:miter/>
              </a:ln>
            </p:spPr>
            <p:txBody>
              <a:bodyPr rtlCol="0" anchor="ctr"/>
              <a:lstStyle/>
              <a:p>
                <a:endParaRPr lang="en-GB"/>
              </a:p>
            </p:txBody>
          </p:sp>
          <p:sp>
            <p:nvSpPr>
              <p:cNvPr id="2180" name="Vrije vorm: vorm 2179">
                <a:extLst>
                  <a:ext uri="{FF2B5EF4-FFF2-40B4-BE49-F238E27FC236}">
                    <a16:creationId xmlns:a16="http://schemas.microsoft.com/office/drawing/2014/main" id="{F84481C1-D7E0-4C4D-AC68-3AD56A0B1F81}"/>
                  </a:ext>
                </a:extLst>
              </p:cNvPr>
              <p:cNvSpPr/>
              <p:nvPr/>
            </p:nvSpPr>
            <p:spPr>
              <a:xfrm>
                <a:off x="4221646" y="2884432"/>
                <a:ext cx="18311" cy="18400"/>
              </a:xfrm>
              <a:custGeom>
                <a:avLst/>
                <a:gdLst>
                  <a:gd name="connsiteX0" fmla="*/ 11648 w 18311"/>
                  <a:gd name="connsiteY0" fmla="*/ 349 h 18400"/>
                  <a:gd name="connsiteX1" fmla="*/ 345 w 18311"/>
                  <a:gd name="connsiteY1" fmla="*/ 6688 h 18400"/>
                  <a:gd name="connsiteX2" fmla="*/ 6684 w 18311"/>
                  <a:gd name="connsiteY2" fmla="*/ 18052 h 18400"/>
                  <a:gd name="connsiteX3" fmla="*/ 17988 w 18311"/>
                  <a:gd name="connsiteY3" fmla="*/ 11712 h 18400"/>
                  <a:gd name="connsiteX4" fmla="*/ 11648 w 18311"/>
                  <a:gd name="connsiteY4" fmla="*/ 34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0">
                    <a:moveTo>
                      <a:pt x="11648" y="349"/>
                    </a:moveTo>
                    <a:cubicBezTo>
                      <a:pt x="6804" y="-1027"/>
                      <a:pt x="1720" y="1784"/>
                      <a:pt x="345" y="6688"/>
                    </a:cubicBezTo>
                    <a:cubicBezTo>
                      <a:pt x="-1031" y="11593"/>
                      <a:pt x="1840" y="16676"/>
                      <a:pt x="6684" y="18052"/>
                    </a:cubicBezTo>
                    <a:cubicBezTo>
                      <a:pt x="11528" y="19427"/>
                      <a:pt x="16612" y="16616"/>
                      <a:pt x="17988" y="11712"/>
                    </a:cubicBezTo>
                    <a:cubicBezTo>
                      <a:pt x="19304" y="6868"/>
                      <a:pt x="16493" y="1724"/>
                      <a:pt x="11648" y="349"/>
                    </a:cubicBezTo>
                    <a:close/>
                  </a:path>
                </a:pathLst>
              </a:custGeom>
              <a:grpFill/>
              <a:ln w="5978" cap="flat">
                <a:noFill/>
                <a:prstDash val="solid"/>
                <a:miter/>
              </a:ln>
            </p:spPr>
            <p:txBody>
              <a:bodyPr rtlCol="0" anchor="ctr"/>
              <a:lstStyle/>
              <a:p>
                <a:endParaRPr lang="en-GB"/>
              </a:p>
            </p:txBody>
          </p:sp>
        </p:grpSp>
        <p:grpSp>
          <p:nvGrpSpPr>
            <p:cNvPr id="1075" name="Graphic 3">
              <a:extLst>
                <a:ext uri="{FF2B5EF4-FFF2-40B4-BE49-F238E27FC236}">
                  <a16:creationId xmlns:a16="http://schemas.microsoft.com/office/drawing/2014/main" id="{3034029B-6674-4D58-AECC-7C3B8C84E4AA}"/>
                </a:ext>
              </a:extLst>
            </p:cNvPr>
            <p:cNvGrpSpPr/>
            <p:nvPr/>
          </p:nvGrpSpPr>
          <p:grpSpPr>
            <a:xfrm>
              <a:off x="4806052" y="4660869"/>
              <a:ext cx="104095" cy="111613"/>
              <a:chOff x="4806052" y="4660869"/>
              <a:chExt cx="104095" cy="111613"/>
            </a:xfrm>
            <a:grpFill/>
          </p:grpSpPr>
          <p:sp>
            <p:nvSpPr>
              <p:cNvPr id="2175" name="Vrije vorm: vorm 2174">
                <a:extLst>
                  <a:ext uri="{FF2B5EF4-FFF2-40B4-BE49-F238E27FC236}">
                    <a16:creationId xmlns:a16="http://schemas.microsoft.com/office/drawing/2014/main" id="{48D1844C-F2D5-440D-AF4A-A232CB2D981F}"/>
                  </a:ext>
                </a:extLst>
              </p:cNvPr>
              <p:cNvSpPr/>
              <p:nvPr/>
            </p:nvSpPr>
            <p:spPr>
              <a:xfrm>
                <a:off x="4813783" y="4668711"/>
                <a:ext cx="88634" cy="95931"/>
              </a:xfrm>
              <a:custGeom>
                <a:avLst/>
                <a:gdLst>
                  <a:gd name="connsiteX0" fmla="*/ 88634 w 88634"/>
                  <a:gd name="connsiteY0" fmla="*/ 2093 h 95931"/>
                  <a:gd name="connsiteX1" fmla="*/ 2273 w 88634"/>
                  <a:gd name="connsiteY1" fmla="*/ 95931 h 95931"/>
                  <a:gd name="connsiteX2" fmla="*/ 0 w 88634"/>
                  <a:gd name="connsiteY2" fmla="*/ 93838 h 95931"/>
                  <a:gd name="connsiteX3" fmla="*/ 86422 w 88634"/>
                  <a:gd name="connsiteY3" fmla="*/ 0 h 95931"/>
                </a:gdLst>
                <a:ahLst/>
                <a:cxnLst>
                  <a:cxn ang="0">
                    <a:pos x="connsiteX0" y="connsiteY0"/>
                  </a:cxn>
                  <a:cxn ang="0">
                    <a:pos x="connsiteX1" y="connsiteY1"/>
                  </a:cxn>
                  <a:cxn ang="0">
                    <a:pos x="connsiteX2" y="connsiteY2"/>
                  </a:cxn>
                  <a:cxn ang="0">
                    <a:pos x="connsiteX3" y="connsiteY3"/>
                  </a:cxn>
                </a:cxnLst>
                <a:rect l="l" t="t" r="r" b="b"/>
                <a:pathLst>
                  <a:path w="88634" h="95931">
                    <a:moveTo>
                      <a:pt x="88634" y="2093"/>
                    </a:moveTo>
                    <a:lnTo>
                      <a:pt x="2273" y="95931"/>
                    </a:lnTo>
                    <a:lnTo>
                      <a:pt x="0" y="93838"/>
                    </a:lnTo>
                    <a:lnTo>
                      <a:pt x="86422" y="0"/>
                    </a:lnTo>
                    <a:close/>
                  </a:path>
                </a:pathLst>
              </a:custGeom>
              <a:grpFill/>
              <a:ln w="5978" cap="flat">
                <a:noFill/>
                <a:prstDash val="solid"/>
                <a:miter/>
              </a:ln>
            </p:spPr>
            <p:txBody>
              <a:bodyPr rtlCol="0" anchor="ctr"/>
              <a:lstStyle/>
              <a:p>
                <a:endParaRPr lang="en-GB"/>
              </a:p>
            </p:txBody>
          </p:sp>
          <p:sp>
            <p:nvSpPr>
              <p:cNvPr id="2176" name="Vrije vorm: vorm 2175">
                <a:extLst>
                  <a:ext uri="{FF2B5EF4-FFF2-40B4-BE49-F238E27FC236}">
                    <a16:creationId xmlns:a16="http://schemas.microsoft.com/office/drawing/2014/main" id="{7AC32BDE-8CF7-445A-BA2E-A01A686729E1}"/>
                  </a:ext>
                </a:extLst>
              </p:cNvPr>
              <p:cNvSpPr/>
              <p:nvPr/>
            </p:nvSpPr>
            <p:spPr>
              <a:xfrm>
                <a:off x="4806052" y="4754049"/>
                <a:ext cx="18331" cy="18434"/>
              </a:xfrm>
              <a:custGeom>
                <a:avLst/>
                <a:gdLst>
                  <a:gd name="connsiteX0" fmla="*/ 15924 w 18331"/>
                  <a:gd name="connsiteY0" fmla="*/ 15497 h 18434"/>
                  <a:gd name="connsiteX1" fmla="*/ 2946 w 18331"/>
                  <a:gd name="connsiteY1" fmla="*/ 15975 h 18434"/>
                  <a:gd name="connsiteX2" fmla="*/ 2408 w 18331"/>
                  <a:gd name="connsiteY2" fmla="*/ 2937 h 18434"/>
                  <a:gd name="connsiteX3" fmla="*/ 15386 w 18331"/>
                  <a:gd name="connsiteY3" fmla="*/ 2459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2515" y="19205"/>
                      <a:pt x="6714" y="19444"/>
                      <a:pt x="2946" y="15975"/>
                    </a:cubicBezTo>
                    <a:cubicBezTo>
                      <a:pt x="-762" y="12507"/>
                      <a:pt x="-1001" y="6705"/>
                      <a:pt x="2408" y="2937"/>
                    </a:cubicBezTo>
                    <a:cubicBezTo>
                      <a:pt x="5817" y="-771"/>
                      <a:pt x="11618" y="-1010"/>
                      <a:pt x="15386" y="2459"/>
                    </a:cubicBezTo>
                    <a:cubicBezTo>
                      <a:pt x="19094" y="5928"/>
                      <a:pt x="19333" y="11729"/>
                      <a:pt x="15924" y="15497"/>
                    </a:cubicBezTo>
                    <a:close/>
                  </a:path>
                </a:pathLst>
              </a:custGeom>
              <a:grpFill/>
              <a:ln w="5978" cap="flat">
                <a:noFill/>
                <a:prstDash val="solid"/>
                <a:miter/>
              </a:ln>
            </p:spPr>
            <p:txBody>
              <a:bodyPr rtlCol="0" anchor="ctr"/>
              <a:lstStyle/>
              <a:p>
                <a:endParaRPr lang="en-GB"/>
              </a:p>
            </p:txBody>
          </p:sp>
          <p:sp>
            <p:nvSpPr>
              <p:cNvPr id="2177" name="Vrije vorm: vorm 2176">
                <a:extLst>
                  <a:ext uri="{FF2B5EF4-FFF2-40B4-BE49-F238E27FC236}">
                    <a16:creationId xmlns:a16="http://schemas.microsoft.com/office/drawing/2014/main" id="{34E2D27F-087F-43C4-807B-4B9FE9A18FC1}"/>
                  </a:ext>
                </a:extLst>
              </p:cNvPr>
              <p:cNvSpPr/>
              <p:nvPr/>
            </p:nvSpPr>
            <p:spPr>
              <a:xfrm>
                <a:off x="4891816" y="4660869"/>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7" y="-771"/>
                      <a:pt x="2408" y="2937"/>
                    </a:cubicBezTo>
                    <a:cubicBezTo>
                      <a:pt x="-1001" y="6646"/>
                      <a:pt x="-762" y="12507"/>
                      <a:pt x="2946" y="15975"/>
                    </a:cubicBezTo>
                    <a:cubicBezTo>
                      <a:pt x="6714" y="19444"/>
                      <a:pt x="12515" y="19205"/>
                      <a:pt x="15924" y="15497"/>
                    </a:cubicBezTo>
                    <a:close/>
                  </a:path>
                </a:pathLst>
              </a:custGeom>
              <a:grpFill/>
              <a:ln w="5978" cap="flat">
                <a:noFill/>
                <a:prstDash val="solid"/>
                <a:miter/>
              </a:ln>
            </p:spPr>
            <p:txBody>
              <a:bodyPr rtlCol="0" anchor="ctr"/>
              <a:lstStyle/>
              <a:p>
                <a:endParaRPr lang="en-GB"/>
              </a:p>
            </p:txBody>
          </p:sp>
        </p:grpSp>
        <p:grpSp>
          <p:nvGrpSpPr>
            <p:cNvPr id="1076" name="Graphic 3">
              <a:extLst>
                <a:ext uri="{FF2B5EF4-FFF2-40B4-BE49-F238E27FC236}">
                  <a16:creationId xmlns:a16="http://schemas.microsoft.com/office/drawing/2014/main" id="{9D39DF31-D9D5-4A52-9A12-F57FA25863C7}"/>
                </a:ext>
              </a:extLst>
            </p:cNvPr>
            <p:cNvGrpSpPr/>
            <p:nvPr/>
          </p:nvGrpSpPr>
          <p:grpSpPr>
            <a:xfrm>
              <a:off x="4243965" y="3138270"/>
              <a:ext cx="155746" cy="39016"/>
              <a:chOff x="4243965" y="3138270"/>
              <a:chExt cx="155746" cy="39016"/>
            </a:xfrm>
            <a:grpFill/>
          </p:grpSpPr>
          <p:sp>
            <p:nvSpPr>
              <p:cNvPr id="2172" name="Vrije vorm: vorm 2171">
                <a:extLst>
                  <a:ext uri="{FF2B5EF4-FFF2-40B4-BE49-F238E27FC236}">
                    <a16:creationId xmlns:a16="http://schemas.microsoft.com/office/drawing/2014/main" id="{C06068DC-4712-494E-A5DD-26629A48189A}"/>
                  </a:ext>
                </a:extLst>
              </p:cNvPr>
              <p:cNvSpPr/>
              <p:nvPr/>
            </p:nvSpPr>
            <p:spPr>
              <a:xfrm>
                <a:off x="4252492" y="3145899"/>
                <a:ext cx="138692" cy="23743"/>
              </a:xfrm>
              <a:custGeom>
                <a:avLst/>
                <a:gdLst>
                  <a:gd name="connsiteX0" fmla="*/ 138693 w 138692"/>
                  <a:gd name="connsiteY0" fmla="*/ 20693 h 23743"/>
                  <a:gd name="connsiteX1" fmla="*/ 138274 w 138692"/>
                  <a:gd name="connsiteY1" fmla="*/ 23743 h 23743"/>
                  <a:gd name="connsiteX2" fmla="*/ 0 w 138692"/>
                  <a:gd name="connsiteY2" fmla="*/ 3050 h 23743"/>
                  <a:gd name="connsiteX3" fmla="*/ 419 w 138692"/>
                  <a:gd name="connsiteY3" fmla="*/ 0 h 23743"/>
                </a:gdLst>
                <a:ahLst/>
                <a:cxnLst>
                  <a:cxn ang="0">
                    <a:pos x="connsiteX0" y="connsiteY0"/>
                  </a:cxn>
                  <a:cxn ang="0">
                    <a:pos x="connsiteX1" y="connsiteY1"/>
                  </a:cxn>
                  <a:cxn ang="0">
                    <a:pos x="connsiteX2" y="connsiteY2"/>
                  </a:cxn>
                  <a:cxn ang="0">
                    <a:pos x="connsiteX3" y="connsiteY3"/>
                  </a:cxn>
                </a:cxnLst>
                <a:rect l="l" t="t" r="r" b="b"/>
                <a:pathLst>
                  <a:path w="138692" h="23743">
                    <a:moveTo>
                      <a:pt x="138693" y="20693"/>
                    </a:moveTo>
                    <a:lnTo>
                      <a:pt x="138274" y="23743"/>
                    </a:lnTo>
                    <a:lnTo>
                      <a:pt x="0" y="3050"/>
                    </a:lnTo>
                    <a:lnTo>
                      <a:pt x="419" y="0"/>
                    </a:lnTo>
                    <a:close/>
                  </a:path>
                </a:pathLst>
              </a:custGeom>
              <a:grpFill/>
              <a:ln w="5978" cap="flat">
                <a:noFill/>
                <a:prstDash val="solid"/>
                <a:miter/>
              </a:ln>
            </p:spPr>
            <p:txBody>
              <a:bodyPr rtlCol="0" anchor="ctr"/>
              <a:lstStyle/>
              <a:p>
                <a:endParaRPr lang="en-GB"/>
              </a:p>
            </p:txBody>
          </p:sp>
          <p:sp>
            <p:nvSpPr>
              <p:cNvPr id="2173" name="Vrije vorm: vorm 2172">
                <a:extLst>
                  <a:ext uri="{FF2B5EF4-FFF2-40B4-BE49-F238E27FC236}">
                    <a16:creationId xmlns:a16="http://schemas.microsoft.com/office/drawing/2014/main" id="{AA0B99BE-1BF4-4FB9-B181-BCE446F907D8}"/>
                  </a:ext>
                </a:extLst>
              </p:cNvPr>
              <p:cNvSpPr/>
              <p:nvPr/>
            </p:nvSpPr>
            <p:spPr>
              <a:xfrm>
                <a:off x="4243965" y="3138270"/>
                <a:ext cx="18369" cy="18444"/>
              </a:xfrm>
              <a:custGeom>
                <a:avLst/>
                <a:gdLst>
                  <a:gd name="connsiteX0" fmla="*/ 7869 w 18369"/>
                  <a:gd name="connsiteY0" fmla="*/ 18335 h 18444"/>
                  <a:gd name="connsiteX1" fmla="*/ 94 w 18369"/>
                  <a:gd name="connsiteY1" fmla="*/ 7869 h 18444"/>
                  <a:gd name="connsiteX2" fmla="*/ 10500 w 18369"/>
                  <a:gd name="connsiteY2" fmla="*/ 94 h 18444"/>
                  <a:gd name="connsiteX3" fmla="*/ 18276 w 18369"/>
                  <a:gd name="connsiteY3" fmla="*/ 10560 h 18444"/>
                  <a:gd name="connsiteX4" fmla="*/ 7869 w 18369"/>
                  <a:gd name="connsiteY4" fmla="*/ 1833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4">
                    <a:moveTo>
                      <a:pt x="7869" y="18335"/>
                    </a:moveTo>
                    <a:cubicBezTo>
                      <a:pt x="2845" y="17558"/>
                      <a:pt x="-624" y="12893"/>
                      <a:pt x="94" y="7869"/>
                    </a:cubicBezTo>
                    <a:cubicBezTo>
                      <a:pt x="812" y="2845"/>
                      <a:pt x="5477" y="-624"/>
                      <a:pt x="10500" y="94"/>
                    </a:cubicBezTo>
                    <a:cubicBezTo>
                      <a:pt x="15524" y="872"/>
                      <a:pt x="18993" y="5536"/>
                      <a:pt x="18276" y="10560"/>
                    </a:cubicBezTo>
                    <a:cubicBezTo>
                      <a:pt x="17558" y="15644"/>
                      <a:pt x="12893" y="19113"/>
                      <a:pt x="7869" y="18335"/>
                    </a:cubicBezTo>
                    <a:close/>
                  </a:path>
                </a:pathLst>
              </a:custGeom>
              <a:grpFill/>
              <a:ln w="5978" cap="flat">
                <a:noFill/>
                <a:prstDash val="solid"/>
                <a:miter/>
              </a:ln>
            </p:spPr>
            <p:txBody>
              <a:bodyPr rtlCol="0" anchor="ctr"/>
              <a:lstStyle/>
              <a:p>
                <a:endParaRPr lang="en-GB"/>
              </a:p>
            </p:txBody>
          </p:sp>
          <p:sp>
            <p:nvSpPr>
              <p:cNvPr id="2174" name="Vrije vorm: vorm 2173">
                <a:extLst>
                  <a:ext uri="{FF2B5EF4-FFF2-40B4-BE49-F238E27FC236}">
                    <a16:creationId xmlns:a16="http://schemas.microsoft.com/office/drawing/2014/main" id="{F50D0378-7BEA-4894-A0B0-01AEE437A64F}"/>
                  </a:ext>
                </a:extLst>
              </p:cNvPr>
              <p:cNvSpPr/>
              <p:nvPr/>
            </p:nvSpPr>
            <p:spPr>
              <a:xfrm>
                <a:off x="4381343" y="3158830"/>
                <a:ext cx="18369" cy="18456"/>
              </a:xfrm>
              <a:custGeom>
                <a:avLst/>
                <a:gdLst>
                  <a:gd name="connsiteX0" fmla="*/ 7869 w 18369"/>
                  <a:gd name="connsiteY0" fmla="*/ 18349 h 18456"/>
                  <a:gd name="connsiteX1" fmla="*/ 18275 w 18369"/>
                  <a:gd name="connsiteY1" fmla="*/ 10574 h 18456"/>
                  <a:gd name="connsiteX2" fmla="*/ 10500 w 18369"/>
                  <a:gd name="connsiteY2" fmla="*/ 107 h 18456"/>
                  <a:gd name="connsiteX3" fmla="*/ 94 w 18369"/>
                  <a:gd name="connsiteY3" fmla="*/ 7882 h 18456"/>
                  <a:gd name="connsiteX4" fmla="*/ 7869 w 18369"/>
                  <a:gd name="connsiteY4" fmla="*/ 1834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56">
                    <a:moveTo>
                      <a:pt x="7869" y="18349"/>
                    </a:moveTo>
                    <a:cubicBezTo>
                      <a:pt x="12893" y="19126"/>
                      <a:pt x="17558" y="15598"/>
                      <a:pt x="18275" y="10574"/>
                    </a:cubicBezTo>
                    <a:cubicBezTo>
                      <a:pt x="18993" y="5550"/>
                      <a:pt x="15524" y="825"/>
                      <a:pt x="10500" y="107"/>
                    </a:cubicBezTo>
                    <a:cubicBezTo>
                      <a:pt x="5476" y="-670"/>
                      <a:pt x="872" y="2859"/>
                      <a:pt x="94" y="7882"/>
                    </a:cubicBezTo>
                    <a:cubicBezTo>
                      <a:pt x="-624" y="12906"/>
                      <a:pt x="2845" y="17571"/>
                      <a:pt x="7869" y="18349"/>
                    </a:cubicBezTo>
                    <a:close/>
                  </a:path>
                </a:pathLst>
              </a:custGeom>
              <a:grpFill/>
              <a:ln w="5978" cap="flat">
                <a:noFill/>
                <a:prstDash val="solid"/>
                <a:miter/>
              </a:ln>
            </p:spPr>
            <p:txBody>
              <a:bodyPr rtlCol="0" anchor="ctr"/>
              <a:lstStyle/>
              <a:p>
                <a:endParaRPr lang="en-GB"/>
              </a:p>
            </p:txBody>
          </p:sp>
        </p:grpSp>
        <p:grpSp>
          <p:nvGrpSpPr>
            <p:cNvPr id="1077" name="Graphic 3">
              <a:extLst>
                <a:ext uri="{FF2B5EF4-FFF2-40B4-BE49-F238E27FC236}">
                  <a16:creationId xmlns:a16="http://schemas.microsoft.com/office/drawing/2014/main" id="{2DDA8557-C2B1-42B5-8CB2-AE28A6D95540}"/>
                </a:ext>
              </a:extLst>
            </p:cNvPr>
            <p:cNvGrpSpPr/>
            <p:nvPr/>
          </p:nvGrpSpPr>
          <p:grpSpPr>
            <a:xfrm>
              <a:off x="4964370" y="5141724"/>
              <a:ext cx="106962" cy="173206"/>
              <a:chOff x="4964370" y="5141724"/>
              <a:chExt cx="106962" cy="173206"/>
            </a:xfrm>
            <a:grpFill/>
          </p:grpSpPr>
          <p:sp>
            <p:nvSpPr>
              <p:cNvPr id="2169" name="Vrije vorm: vorm 2168">
                <a:extLst>
                  <a:ext uri="{FF2B5EF4-FFF2-40B4-BE49-F238E27FC236}">
                    <a16:creationId xmlns:a16="http://schemas.microsoft.com/office/drawing/2014/main" id="{462C70DF-F5A2-42CB-99AF-1B7D3EBB462C}"/>
                  </a:ext>
                </a:extLst>
              </p:cNvPr>
              <p:cNvSpPr/>
              <p:nvPr/>
            </p:nvSpPr>
            <p:spPr>
              <a:xfrm>
                <a:off x="4971973" y="5149800"/>
                <a:ext cx="91744" cy="157053"/>
              </a:xfrm>
              <a:custGeom>
                <a:avLst/>
                <a:gdLst>
                  <a:gd name="connsiteX0" fmla="*/ 91744 w 91744"/>
                  <a:gd name="connsiteY0" fmla="*/ 1495 h 157053"/>
                  <a:gd name="connsiteX1" fmla="*/ 2632 w 91744"/>
                  <a:gd name="connsiteY1" fmla="*/ 157054 h 157053"/>
                  <a:gd name="connsiteX2" fmla="*/ 0 w 91744"/>
                  <a:gd name="connsiteY2" fmla="*/ 155499 h 157053"/>
                  <a:gd name="connsiteX3" fmla="*/ 89053 w 91744"/>
                  <a:gd name="connsiteY3" fmla="*/ 0 h 157053"/>
                </a:gdLst>
                <a:ahLst/>
                <a:cxnLst>
                  <a:cxn ang="0">
                    <a:pos x="connsiteX0" y="connsiteY0"/>
                  </a:cxn>
                  <a:cxn ang="0">
                    <a:pos x="connsiteX1" y="connsiteY1"/>
                  </a:cxn>
                  <a:cxn ang="0">
                    <a:pos x="connsiteX2" y="connsiteY2"/>
                  </a:cxn>
                  <a:cxn ang="0">
                    <a:pos x="connsiteX3" y="connsiteY3"/>
                  </a:cxn>
                </a:cxnLst>
                <a:rect l="l" t="t" r="r" b="b"/>
                <a:pathLst>
                  <a:path w="91744" h="157053">
                    <a:moveTo>
                      <a:pt x="91744" y="1495"/>
                    </a:moveTo>
                    <a:lnTo>
                      <a:pt x="2632" y="157054"/>
                    </a:lnTo>
                    <a:lnTo>
                      <a:pt x="0" y="155499"/>
                    </a:lnTo>
                    <a:lnTo>
                      <a:pt x="89053" y="0"/>
                    </a:lnTo>
                    <a:close/>
                  </a:path>
                </a:pathLst>
              </a:custGeom>
              <a:grpFill/>
              <a:ln w="5978" cap="flat">
                <a:noFill/>
                <a:prstDash val="solid"/>
                <a:miter/>
              </a:ln>
            </p:spPr>
            <p:txBody>
              <a:bodyPr rtlCol="0" anchor="ctr"/>
              <a:lstStyle/>
              <a:p>
                <a:endParaRPr lang="en-GB"/>
              </a:p>
            </p:txBody>
          </p:sp>
          <p:sp>
            <p:nvSpPr>
              <p:cNvPr id="2170" name="Vrije vorm: vorm 2169">
                <a:extLst>
                  <a:ext uri="{FF2B5EF4-FFF2-40B4-BE49-F238E27FC236}">
                    <a16:creationId xmlns:a16="http://schemas.microsoft.com/office/drawing/2014/main" id="{AF0BB491-1E77-42C7-84D2-715A37CDC50E}"/>
                  </a:ext>
                </a:extLst>
              </p:cNvPr>
              <p:cNvSpPr/>
              <p:nvPr/>
            </p:nvSpPr>
            <p:spPr>
              <a:xfrm>
                <a:off x="4964370" y="5296445"/>
                <a:ext cx="18328" cy="18485"/>
              </a:xfrm>
              <a:custGeom>
                <a:avLst/>
                <a:gdLst>
                  <a:gd name="connsiteX0" fmla="*/ 17112 w 18328"/>
                  <a:gd name="connsiteY0" fmla="*/ 13878 h 18485"/>
                  <a:gd name="connsiteX1" fmla="*/ 4612 w 18328"/>
                  <a:gd name="connsiteY1" fmla="*/ 17227 h 18485"/>
                  <a:gd name="connsiteX2" fmla="*/ 1203 w 18328"/>
                  <a:gd name="connsiteY2" fmla="*/ 4608 h 18485"/>
                  <a:gd name="connsiteX3" fmla="*/ 13703 w 18328"/>
                  <a:gd name="connsiteY3" fmla="*/ 1258 h 18485"/>
                  <a:gd name="connsiteX4" fmla="*/ 17112 w 18328"/>
                  <a:gd name="connsiteY4" fmla="*/ 13878 h 18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85">
                    <a:moveTo>
                      <a:pt x="17112" y="13878"/>
                    </a:moveTo>
                    <a:cubicBezTo>
                      <a:pt x="14600" y="18303"/>
                      <a:pt x="8978" y="19799"/>
                      <a:pt x="4612" y="17227"/>
                    </a:cubicBezTo>
                    <a:cubicBezTo>
                      <a:pt x="247" y="14655"/>
                      <a:pt x="-1308" y="9033"/>
                      <a:pt x="1203" y="4608"/>
                    </a:cubicBezTo>
                    <a:cubicBezTo>
                      <a:pt x="3715" y="182"/>
                      <a:pt x="9337" y="-1314"/>
                      <a:pt x="13703" y="1258"/>
                    </a:cubicBezTo>
                    <a:cubicBezTo>
                      <a:pt x="18129" y="3830"/>
                      <a:pt x="19624" y="9452"/>
                      <a:pt x="17112" y="13878"/>
                    </a:cubicBezTo>
                    <a:close/>
                  </a:path>
                </a:pathLst>
              </a:custGeom>
              <a:grpFill/>
              <a:ln w="5978" cap="flat">
                <a:noFill/>
                <a:prstDash val="solid"/>
                <a:miter/>
              </a:ln>
            </p:spPr>
            <p:txBody>
              <a:bodyPr rtlCol="0" anchor="ctr"/>
              <a:lstStyle/>
              <a:p>
                <a:endParaRPr lang="en-GB"/>
              </a:p>
            </p:txBody>
          </p:sp>
          <p:sp>
            <p:nvSpPr>
              <p:cNvPr id="2171" name="Vrije vorm: vorm 2170">
                <a:extLst>
                  <a:ext uri="{FF2B5EF4-FFF2-40B4-BE49-F238E27FC236}">
                    <a16:creationId xmlns:a16="http://schemas.microsoft.com/office/drawing/2014/main" id="{C1C0EF00-CA89-4AE7-AD45-6F496671E4EB}"/>
                  </a:ext>
                </a:extLst>
              </p:cNvPr>
              <p:cNvSpPr/>
              <p:nvPr/>
            </p:nvSpPr>
            <p:spPr>
              <a:xfrm>
                <a:off x="5052992" y="5141724"/>
                <a:ext cx="18341" cy="18469"/>
              </a:xfrm>
              <a:custGeom>
                <a:avLst/>
                <a:gdLst>
                  <a:gd name="connsiteX0" fmla="*/ 17125 w 18341"/>
                  <a:gd name="connsiteY0" fmla="*/ 13818 h 18469"/>
                  <a:gd name="connsiteX1" fmla="*/ 13716 w 18341"/>
                  <a:gd name="connsiteY1" fmla="*/ 1258 h 18469"/>
                  <a:gd name="connsiteX2" fmla="*/ 1216 w 18341"/>
                  <a:gd name="connsiteY2" fmla="*/ 4608 h 18469"/>
                  <a:gd name="connsiteX3" fmla="*/ 4625 w 18341"/>
                  <a:gd name="connsiteY3" fmla="*/ 17227 h 18469"/>
                  <a:gd name="connsiteX4" fmla="*/ 17125 w 18341"/>
                  <a:gd name="connsiteY4" fmla="*/ 13818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69">
                    <a:moveTo>
                      <a:pt x="17125" y="13818"/>
                    </a:moveTo>
                    <a:cubicBezTo>
                      <a:pt x="19637" y="9392"/>
                      <a:pt x="18142" y="3770"/>
                      <a:pt x="13716" y="1258"/>
                    </a:cubicBezTo>
                    <a:cubicBezTo>
                      <a:pt x="9350" y="-1314"/>
                      <a:pt x="3728" y="182"/>
                      <a:pt x="1216" y="4608"/>
                    </a:cubicBezTo>
                    <a:cubicBezTo>
                      <a:pt x="-1295" y="9033"/>
                      <a:pt x="200" y="14655"/>
                      <a:pt x="4625" y="17227"/>
                    </a:cubicBezTo>
                    <a:cubicBezTo>
                      <a:pt x="9051" y="19799"/>
                      <a:pt x="14613" y="18243"/>
                      <a:pt x="17125" y="13818"/>
                    </a:cubicBezTo>
                    <a:close/>
                  </a:path>
                </a:pathLst>
              </a:custGeom>
              <a:grpFill/>
              <a:ln w="5978" cap="flat">
                <a:noFill/>
                <a:prstDash val="solid"/>
                <a:miter/>
              </a:ln>
            </p:spPr>
            <p:txBody>
              <a:bodyPr rtlCol="0" anchor="ctr"/>
              <a:lstStyle/>
              <a:p>
                <a:endParaRPr lang="en-GB"/>
              </a:p>
            </p:txBody>
          </p:sp>
        </p:grpSp>
        <p:grpSp>
          <p:nvGrpSpPr>
            <p:cNvPr id="1078" name="Graphic 3">
              <a:extLst>
                <a:ext uri="{FF2B5EF4-FFF2-40B4-BE49-F238E27FC236}">
                  <a16:creationId xmlns:a16="http://schemas.microsoft.com/office/drawing/2014/main" id="{DEC1E7CF-DE87-4E6A-A5C5-7AFF040F9044}"/>
                </a:ext>
              </a:extLst>
            </p:cNvPr>
            <p:cNvGrpSpPr/>
            <p:nvPr/>
          </p:nvGrpSpPr>
          <p:grpSpPr>
            <a:xfrm>
              <a:off x="4078491" y="2595763"/>
              <a:ext cx="121272" cy="60882"/>
              <a:chOff x="4078491" y="2595763"/>
              <a:chExt cx="121272" cy="60882"/>
            </a:xfrm>
            <a:grpFill/>
          </p:grpSpPr>
          <p:sp>
            <p:nvSpPr>
              <p:cNvPr id="2166" name="Vrije vorm: vorm 2165">
                <a:extLst>
                  <a:ext uri="{FF2B5EF4-FFF2-40B4-BE49-F238E27FC236}">
                    <a16:creationId xmlns:a16="http://schemas.microsoft.com/office/drawing/2014/main" id="{908DDE68-C31F-413E-803F-0F771B1E57F7}"/>
                  </a:ext>
                </a:extLst>
              </p:cNvPr>
              <p:cNvSpPr/>
              <p:nvPr/>
            </p:nvSpPr>
            <p:spPr>
              <a:xfrm>
                <a:off x="4086647" y="2603388"/>
                <a:ext cx="104902" cy="45632"/>
              </a:xfrm>
              <a:custGeom>
                <a:avLst/>
                <a:gdLst>
                  <a:gd name="connsiteX0" fmla="*/ 104902 w 104902"/>
                  <a:gd name="connsiteY0" fmla="*/ 42822 h 45632"/>
                  <a:gd name="connsiteX1" fmla="*/ 103766 w 104902"/>
                  <a:gd name="connsiteY1" fmla="*/ 45633 h 45632"/>
                  <a:gd name="connsiteX2" fmla="*/ 0 w 104902"/>
                  <a:gd name="connsiteY2" fmla="*/ 2811 h 45632"/>
                  <a:gd name="connsiteX3" fmla="*/ 1136 w 104902"/>
                  <a:gd name="connsiteY3" fmla="*/ 0 h 45632"/>
                </a:gdLst>
                <a:ahLst/>
                <a:cxnLst>
                  <a:cxn ang="0">
                    <a:pos x="connsiteX0" y="connsiteY0"/>
                  </a:cxn>
                  <a:cxn ang="0">
                    <a:pos x="connsiteX1" y="connsiteY1"/>
                  </a:cxn>
                  <a:cxn ang="0">
                    <a:pos x="connsiteX2" y="connsiteY2"/>
                  </a:cxn>
                  <a:cxn ang="0">
                    <a:pos x="connsiteX3" y="connsiteY3"/>
                  </a:cxn>
                </a:cxnLst>
                <a:rect l="l" t="t" r="r" b="b"/>
                <a:pathLst>
                  <a:path w="104902" h="45632">
                    <a:moveTo>
                      <a:pt x="104902" y="42822"/>
                    </a:moveTo>
                    <a:lnTo>
                      <a:pt x="103766" y="45633"/>
                    </a:lnTo>
                    <a:lnTo>
                      <a:pt x="0" y="2811"/>
                    </a:lnTo>
                    <a:lnTo>
                      <a:pt x="1136" y="0"/>
                    </a:lnTo>
                    <a:close/>
                  </a:path>
                </a:pathLst>
              </a:custGeom>
              <a:grpFill/>
              <a:ln w="5978" cap="flat">
                <a:noFill/>
                <a:prstDash val="solid"/>
                <a:miter/>
              </a:ln>
            </p:spPr>
            <p:txBody>
              <a:bodyPr rtlCol="0" anchor="ctr"/>
              <a:lstStyle/>
              <a:p>
                <a:endParaRPr lang="en-GB"/>
              </a:p>
            </p:txBody>
          </p:sp>
          <p:sp>
            <p:nvSpPr>
              <p:cNvPr id="2167" name="Vrije vorm: vorm 2166">
                <a:extLst>
                  <a:ext uri="{FF2B5EF4-FFF2-40B4-BE49-F238E27FC236}">
                    <a16:creationId xmlns:a16="http://schemas.microsoft.com/office/drawing/2014/main" id="{ADEA14E4-82E3-42C9-AAFD-C81F42059160}"/>
                  </a:ext>
                </a:extLst>
              </p:cNvPr>
              <p:cNvSpPr/>
              <p:nvPr/>
            </p:nvSpPr>
            <p:spPr>
              <a:xfrm>
                <a:off x="4078491" y="2595763"/>
                <a:ext cx="18343" cy="18419"/>
              </a:xfrm>
              <a:custGeom>
                <a:avLst/>
                <a:gdLst>
                  <a:gd name="connsiteX0" fmla="*/ 5703 w 18343"/>
                  <a:gd name="connsiteY0" fmla="*/ 17732 h 18419"/>
                  <a:gd name="connsiteX1" fmla="*/ 679 w 18343"/>
                  <a:gd name="connsiteY1" fmla="*/ 5711 h 18419"/>
                  <a:gd name="connsiteX2" fmla="*/ 12641 w 18343"/>
                  <a:gd name="connsiteY2" fmla="*/ 687 h 18419"/>
                  <a:gd name="connsiteX3" fmla="*/ 17665 w 18343"/>
                  <a:gd name="connsiteY3" fmla="*/ 12709 h 18419"/>
                  <a:gd name="connsiteX4" fmla="*/ 5703 w 18343"/>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9">
                    <a:moveTo>
                      <a:pt x="5703" y="17732"/>
                    </a:moveTo>
                    <a:cubicBezTo>
                      <a:pt x="1038" y="15818"/>
                      <a:pt x="-1234" y="10436"/>
                      <a:pt x="679" y="5711"/>
                    </a:cubicBezTo>
                    <a:cubicBezTo>
                      <a:pt x="2593" y="986"/>
                      <a:pt x="7916" y="-1226"/>
                      <a:pt x="12641" y="687"/>
                    </a:cubicBezTo>
                    <a:cubicBezTo>
                      <a:pt x="17306" y="2601"/>
                      <a:pt x="19578" y="7984"/>
                      <a:pt x="17665" y="12709"/>
                    </a:cubicBezTo>
                    <a:cubicBezTo>
                      <a:pt x="15751" y="17433"/>
                      <a:pt x="10368" y="19646"/>
                      <a:pt x="5703" y="17732"/>
                    </a:cubicBezTo>
                    <a:close/>
                  </a:path>
                </a:pathLst>
              </a:custGeom>
              <a:grpFill/>
              <a:ln w="5978" cap="flat">
                <a:noFill/>
                <a:prstDash val="solid"/>
                <a:miter/>
              </a:ln>
            </p:spPr>
            <p:txBody>
              <a:bodyPr rtlCol="0" anchor="ctr"/>
              <a:lstStyle/>
              <a:p>
                <a:endParaRPr lang="en-GB"/>
              </a:p>
            </p:txBody>
          </p:sp>
          <p:sp>
            <p:nvSpPr>
              <p:cNvPr id="2168" name="Vrije vorm: vorm 2167">
                <a:extLst>
                  <a:ext uri="{FF2B5EF4-FFF2-40B4-BE49-F238E27FC236}">
                    <a16:creationId xmlns:a16="http://schemas.microsoft.com/office/drawing/2014/main" id="{61025513-A009-4E00-81E0-DA086DE733ED}"/>
                  </a:ext>
                </a:extLst>
              </p:cNvPr>
              <p:cNvSpPr/>
              <p:nvPr/>
            </p:nvSpPr>
            <p:spPr>
              <a:xfrm>
                <a:off x="4181387" y="2638226"/>
                <a:ext cx="18377" cy="18419"/>
              </a:xfrm>
              <a:custGeom>
                <a:avLst/>
                <a:gdLst>
                  <a:gd name="connsiteX0" fmla="*/ 5736 w 18377"/>
                  <a:gd name="connsiteY0" fmla="*/ 17732 h 18419"/>
                  <a:gd name="connsiteX1" fmla="*/ 17698 w 18377"/>
                  <a:gd name="connsiteY1" fmla="*/ 12709 h 18419"/>
                  <a:gd name="connsiteX2" fmla="*/ 12674 w 18377"/>
                  <a:gd name="connsiteY2" fmla="*/ 687 h 18419"/>
                  <a:gd name="connsiteX3" fmla="*/ 712 w 18377"/>
                  <a:gd name="connsiteY3" fmla="*/ 5711 h 18419"/>
                  <a:gd name="connsiteX4" fmla="*/ 5736 w 18377"/>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19">
                    <a:moveTo>
                      <a:pt x="5736" y="17732"/>
                    </a:moveTo>
                    <a:cubicBezTo>
                      <a:pt x="10401" y="19646"/>
                      <a:pt x="15784" y="17433"/>
                      <a:pt x="17698" y="12709"/>
                    </a:cubicBezTo>
                    <a:cubicBezTo>
                      <a:pt x="19611" y="7984"/>
                      <a:pt x="17339" y="2601"/>
                      <a:pt x="12674" y="687"/>
                    </a:cubicBezTo>
                    <a:cubicBezTo>
                      <a:pt x="8009" y="-1227"/>
                      <a:pt x="2626" y="986"/>
                      <a:pt x="712" y="5711"/>
                    </a:cubicBezTo>
                    <a:cubicBezTo>
                      <a:pt x="-1261" y="10436"/>
                      <a:pt x="1011" y="15819"/>
                      <a:pt x="5736" y="17732"/>
                    </a:cubicBezTo>
                    <a:close/>
                  </a:path>
                </a:pathLst>
              </a:custGeom>
              <a:grpFill/>
              <a:ln w="5978" cap="flat">
                <a:noFill/>
                <a:prstDash val="solid"/>
                <a:miter/>
              </a:ln>
            </p:spPr>
            <p:txBody>
              <a:bodyPr rtlCol="0" anchor="ctr"/>
              <a:lstStyle/>
              <a:p>
                <a:endParaRPr lang="en-GB"/>
              </a:p>
            </p:txBody>
          </p:sp>
        </p:grpSp>
        <p:grpSp>
          <p:nvGrpSpPr>
            <p:cNvPr id="1079" name="Graphic 3">
              <a:extLst>
                <a:ext uri="{FF2B5EF4-FFF2-40B4-BE49-F238E27FC236}">
                  <a16:creationId xmlns:a16="http://schemas.microsoft.com/office/drawing/2014/main" id="{847945D6-A8C7-434E-994C-C803BBB66C4A}"/>
                </a:ext>
              </a:extLst>
            </p:cNvPr>
            <p:cNvGrpSpPr/>
            <p:nvPr/>
          </p:nvGrpSpPr>
          <p:grpSpPr>
            <a:xfrm>
              <a:off x="4772174" y="4826871"/>
              <a:ext cx="406835" cy="561035"/>
              <a:chOff x="4772174" y="4826871"/>
              <a:chExt cx="406835" cy="561035"/>
            </a:xfrm>
            <a:grpFill/>
          </p:grpSpPr>
          <p:sp>
            <p:nvSpPr>
              <p:cNvPr id="2163" name="Vrije vorm: vorm 2162">
                <a:extLst>
                  <a:ext uri="{FF2B5EF4-FFF2-40B4-BE49-F238E27FC236}">
                    <a16:creationId xmlns:a16="http://schemas.microsoft.com/office/drawing/2014/main" id="{1E318D89-94D1-43C6-9097-2F8FE1A6FE91}"/>
                  </a:ext>
                </a:extLst>
              </p:cNvPr>
              <p:cNvSpPr/>
              <p:nvPr/>
            </p:nvSpPr>
            <p:spPr>
              <a:xfrm>
                <a:off x="4779812" y="4834795"/>
                <a:ext cx="391557" cy="545142"/>
              </a:xfrm>
              <a:custGeom>
                <a:avLst/>
                <a:gdLst>
                  <a:gd name="connsiteX0" fmla="*/ 391558 w 391557"/>
                  <a:gd name="connsiteY0" fmla="*/ 1794 h 545142"/>
                  <a:gd name="connsiteX1" fmla="*/ 2512 w 391557"/>
                  <a:gd name="connsiteY1" fmla="*/ 545143 h 545142"/>
                  <a:gd name="connsiteX2" fmla="*/ 0 w 391557"/>
                  <a:gd name="connsiteY2" fmla="*/ 543348 h 545142"/>
                  <a:gd name="connsiteX3" fmla="*/ 389046 w 391557"/>
                  <a:gd name="connsiteY3" fmla="*/ 0 h 545142"/>
                </a:gdLst>
                <a:ahLst/>
                <a:cxnLst>
                  <a:cxn ang="0">
                    <a:pos x="connsiteX0" y="connsiteY0"/>
                  </a:cxn>
                  <a:cxn ang="0">
                    <a:pos x="connsiteX1" y="connsiteY1"/>
                  </a:cxn>
                  <a:cxn ang="0">
                    <a:pos x="connsiteX2" y="connsiteY2"/>
                  </a:cxn>
                  <a:cxn ang="0">
                    <a:pos x="connsiteX3" y="connsiteY3"/>
                  </a:cxn>
                </a:cxnLst>
                <a:rect l="l" t="t" r="r" b="b"/>
                <a:pathLst>
                  <a:path w="391557" h="545142">
                    <a:moveTo>
                      <a:pt x="391558" y="1794"/>
                    </a:moveTo>
                    <a:lnTo>
                      <a:pt x="2512" y="545143"/>
                    </a:lnTo>
                    <a:lnTo>
                      <a:pt x="0" y="543348"/>
                    </a:lnTo>
                    <a:lnTo>
                      <a:pt x="389046" y="0"/>
                    </a:lnTo>
                    <a:close/>
                  </a:path>
                </a:pathLst>
              </a:custGeom>
              <a:grpFill/>
              <a:ln w="5978" cap="flat">
                <a:noFill/>
                <a:prstDash val="solid"/>
                <a:miter/>
              </a:ln>
            </p:spPr>
            <p:txBody>
              <a:bodyPr rtlCol="0" anchor="ctr"/>
              <a:lstStyle/>
              <a:p>
                <a:endParaRPr lang="en-GB"/>
              </a:p>
            </p:txBody>
          </p:sp>
          <p:sp>
            <p:nvSpPr>
              <p:cNvPr id="2164" name="Vrije vorm: vorm 2163">
                <a:extLst>
                  <a:ext uri="{FF2B5EF4-FFF2-40B4-BE49-F238E27FC236}">
                    <a16:creationId xmlns:a16="http://schemas.microsoft.com/office/drawing/2014/main" id="{66C96163-1DE6-4E43-8EE9-52DB9DD60F5A}"/>
                  </a:ext>
                </a:extLst>
              </p:cNvPr>
              <p:cNvSpPr/>
              <p:nvPr/>
            </p:nvSpPr>
            <p:spPr>
              <a:xfrm>
                <a:off x="5160698" y="4826871"/>
                <a:ext cx="18311" cy="18421"/>
              </a:xfrm>
              <a:custGeom>
                <a:avLst/>
                <a:gdLst>
                  <a:gd name="connsiteX0" fmla="*/ 1701 w 18311"/>
                  <a:gd name="connsiteY0" fmla="*/ 3798 h 18421"/>
                  <a:gd name="connsiteX1" fmla="*/ 14500 w 18311"/>
                  <a:gd name="connsiteY1" fmla="*/ 1765 h 18421"/>
                  <a:gd name="connsiteX2" fmla="*/ 16593 w 18311"/>
                  <a:gd name="connsiteY2" fmla="*/ 14623 h 18421"/>
                  <a:gd name="connsiteX3" fmla="*/ 3794 w 18311"/>
                  <a:gd name="connsiteY3" fmla="*/ 16657 h 18421"/>
                  <a:gd name="connsiteX4" fmla="*/ 1701 w 18311"/>
                  <a:gd name="connsiteY4" fmla="*/ 379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1701" y="3798"/>
                    </a:moveTo>
                    <a:cubicBezTo>
                      <a:pt x="4632" y="-329"/>
                      <a:pt x="10373" y="-1226"/>
                      <a:pt x="14500" y="1765"/>
                    </a:cubicBezTo>
                    <a:cubicBezTo>
                      <a:pt x="18627" y="4755"/>
                      <a:pt x="19524" y="10497"/>
                      <a:pt x="16593" y="14623"/>
                    </a:cubicBezTo>
                    <a:cubicBezTo>
                      <a:pt x="13662" y="18750"/>
                      <a:pt x="7921" y="19647"/>
                      <a:pt x="3794" y="16657"/>
                    </a:cubicBezTo>
                    <a:cubicBezTo>
                      <a:pt x="-272" y="13666"/>
                      <a:pt x="-1230" y="7925"/>
                      <a:pt x="1701" y="3798"/>
                    </a:cubicBezTo>
                    <a:close/>
                  </a:path>
                </a:pathLst>
              </a:custGeom>
              <a:grpFill/>
              <a:ln w="5978" cap="flat">
                <a:noFill/>
                <a:prstDash val="solid"/>
                <a:miter/>
              </a:ln>
            </p:spPr>
            <p:txBody>
              <a:bodyPr rtlCol="0" anchor="ctr"/>
              <a:lstStyle/>
              <a:p>
                <a:endParaRPr lang="en-GB"/>
              </a:p>
            </p:txBody>
          </p:sp>
          <p:sp>
            <p:nvSpPr>
              <p:cNvPr id="2165" name="Vrije vorm: vorm 2164">
                <a:extLst>
                  <a:ext uri="{FF2B5EF4-FFF2-40B4-BE49-F238E27FC236}">
                    <a16:creationId xmlns:a16="http://schemas.microsoft.com/office/drawing/2014/main" id="{528CC28A-E2B5-4B49-A15C-3CEFED609BEF}"/>
                  </a:ext>
                </a:extLst>
              </p:cNvPr>
              <p:cNvSpPr/>
              <p:nvPr/>
            </p:nvSpPr>
            <p:spPr>
              <a:xfrm>
                <a:off x="4772174" y="5369502"/>
                <a:ext cx="18327" cy="18404"/>
              </a:xfrm>
              <a:custGeom>
                <a:avLst/>
                <a:gdLst>
                  <a:gd name="connsiteX0" fmla="*/ 1718 w 18327"/>
                  <a:gd name="connsiteY0" fmla="*/ 3798 h 18404"/>
                  <a:gd name="connsiteX1" fmla="*/ 3811 w 18327"/>
                  <a:gd name="connsiteY1" fmla="*/ 16657 h 18404"/>
                  <a:gd name="connsiteX2" fmla="*/ 16610 w 18327"/>
                  <a:gd name="connsiteY2" fmla="*/ 14623 h 18404"/>
                  <a:gd name="connsiteX3" fmla="*/ 14517 w 18327"/>
                  <a:gd name="connsiteY3" fmla="*/ 1765 h 18404"/>
                  <a:gd name="connsiteX4" fmla="*/ 1718 w 18327"/>
                  <a:gd name="connsiteY4" fmla="*/ 3798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04">
                    <a:moveTo>
                      <a:pt x="1718" y="3798"/>
                    </a:moveTo>
                    <a:cubicBezTo>
                      <a:pt x="-1213" y="7925"/>
                      <a:pt x="-316" y="13666"/>
                      <a:pt x="3811" y="16657"/>
                    </a:cubicBezTo>
                    <a:cubicBezTo>
                      <a:pt x="7938" y="19647"/>
                      <a:pt x="13620" y="18690"/>
                      <a:pt x="16610" y="14623"/>
                    </a:cubicBezTo>
                    <a:cubicBezTo>
                      <a:pt x="19540" y="10496"/>
                      <a:pt x="18644" y="4755"/>
                      <a:pt x="14517" y="1765"/>
                    </a:cubicBezTo>
                    <a:cubicBezTo>
                      <a:pt x="10390" y="-1226"/>
                      <a:pt x="4648" y="-329"/>
                      <a:pt x="1718" y="3798"/>
                    </a:cubicBezTo>
                    <a:close/>
                  </a:path>
                </a:pathLst>
              </a:custGeom>
              <a:grpFill/>
              <a:ln w="5978" cap="flat">
                <a:noFill/>
                <a:prstDash val="solid"/>
                <a:miter/>
              </a:ln>
            </p:spPr>
            <p:txBody>
              <a:bodyPr rtlCol="0" anchor="ctr"/>
              <a:lstStyle/>
              <a:p>
                <a:endParaRPr lang="en-GB"/>
              </a:p>
            </p:txBody>
          </p:sp>
        </p:grpSp>
        <p:grpSp>
          <p:nvGrpSpPr>
            <p:cNvPr id="1080" name="Graphic 3">
              <a:extLst>
                <a:ext uri="{FF2B5EF4-FFF2-40B4-BE49-F238E27FC236}">
                  <a16:creationId xmlns:a16="http://schemas.microsoft.com/office/drawing/2014/main" id="{0068D22F-969F-4523-8C30-8D327DDF0B08}"/>
                </a:ext>
              </a:extLst>
            </p:cNvPr>
            <p:cNvGrpSpPr/>
            <p:nvPr/>
          </p:nvGrpSpPr>
          <p:grpSpPr>
            <a:xfrm>
              <a:off x="3856688" y="2552159"/>
              <a:ext cx="601122" cy="279548"/>
              <a:chOff x="3856688" y="2552159"/>
              <a:chExt cx="601122" cy="279548"/>
            </a:xfrm>
            <a:grpFill/>
          </p:grpSpPr>
          <p:sp>
            <p:nvSpPr>
              <p:cNvPr id="2160" name="Vrije vorm: vorm 2159">
                <a:extLst>
                  <a:ext uri="{FF2B5EF4-FFF2-40B4-BE49-F238E27FC236}">
                    <a16:creationId xmlns:a16="http://schemas.microsoft.com/office/drawing/2014/main" id="{9EEEFCBA-80FA-4452-8B01-22140511AF40}"/>
                  </a:ext>
                </a:extLst>
              </p:cNvPr>
              <p:cNvSpPr/>
              <p:nvPr/>
            </p:nvSpPr>
            <p:spPr>
              <a:xfrm>
                <a:off x="3864822" y="2559789"/>
                <a:ext cx="584854" cy="264288"/>
              </a:xfrm>
              <a:custGeom>
                <a:avLst/>
                <a:gdLst>
                  <a:gd name="connsiteX0" fmla="*/ 584855 w 584854"/>
                  <a:gd name="connsiteY0" fmla="*/ 261477 h 264288"/>
                  <a:gd name="connsiteX1" fmla="*/ 583659 w 584854"/>
                  <a:gd name="connsiteY1" fmla="*/ 264288 h 264288"/>
                  <a:gd name="connsiteX2" fmla="*/ 0 w 584854"/>
                  <a:gd name="connsiteY2" fmla="*/ 2811 h 264288"/>
                  <a:gd name="connsiteX3" fmla="*/ 1196 w 584854"/>
                  <a:gd name="connsiteY3" fmla="*/ 0 h 264288"/>
                </a:gdLst>
                <a:ahLst/>
                <a:cxnLst>
                  <a:cxn ang="0">
                    <a:pos x="connsiteX0" y="connsiteY0"/>
                  </a:cxn>
                  <a:cxn ang="0">
                    <a:pos x="connsiteX1" y="connsiteY1"/>
                  </a:cxn>
                  <a:cxn ang="0">
                    <a:pos x="connsiteX2" y="connsiteY2"/>
                  </a:cxn>
                  <a:cxn ang="0">
                    <a:pos x="connsiteX3" y="connsiteY3"/>
                  </a:cxn>
                </a:cxnLst>
                <a:rect l="l" t="t" r="r" b="b"/>
                <a:pathLst>
                  <a:path w="584854" h="264288">
                    <a:moveTo>
                      <a:pt x="584855" y="261477"/>
                    </a:moveTo>
                    <a:lnTo>
                      <a:pt x="583659" y="264288"/>
                    </a:lnTo>
                    <a:lnTo>
                      <a:pt x="0" y="2811"/>
                    </a:lnTo>
                    <a:lnTo>
                      <a:pt x="1196" y="0"/>
                    </a:lnTo>
                    <a:close/>
                  </a:path>
                </a:pathLst>
              </a:custGeom>
              <a:grpFill/>
              <a:ln w="5978" cap="flat">
                <a:noFill/>
                <a:prstDash val="solid"/>
                <a:miter/>
              </a:ln>
            </p:spPr>
            <p:txBody>
              <a:bodyPr rtlCol="0" anchor="ctr"/>
              <a:lstStyle/>
              <a:p>
                <a:endParaRPr lang="en-GB"/>
              </a:p>
            </p:txBody>
          </p:sp>
          <p:sp>
            <p:nvSpPr>
              <p:cNvPr id="2161" name="Vrije vorm: vorm 2160">
                <a:extLst>
                  <a:ext uri="{FF2B5EF4-FFF2-40B4-BE49-F238E27FC236}">
                    <a16:creationId xmlns:a16="http://schemas.microsoft.com/office/drawing/2014/main" id="{BDF7AF52-442C-4D77-9754-AEA92BA76865}"/>
                  </a:ext>
                </a:extLst>
              </p:cNvPr>
              <p:cNvSpPr/>
              <p:nvPr/>
            </p:nvSpPr>
            <p:spPr>
              <a:xfrm>
                <a:off x="4439509" y="2813277"/>
                <a:ext cx="18301" cy="18430"/>
              </a:xfrm>
              <a:custGeom>
                <a:avLst/>
                <a:gdLst>
                  <a:gd name="connsiteX0" fmla="*/ 12859 w 18301"/>
                  <a:gd name="connsiteY0" fmla="*/ 812 h 18430"/>
                  <a:gd name="connsiteX1" fmla="*/ 17524 w 18301"/>
                  <a:gd name="connsiteY1" fmla="*/ 12953 h 18430"/>
                  <a:gd name="connsiteX2" fmla="*/ 5443 w 18301"/>
                  <a:gd name="connsiteY2" fmla="*/ 17618 h 18430"/>
                  <a:gd name="connsiteX3" fmla="*/ 777 w 18301"/>
                  <a:gd name="connsiteY3" fmla="*/ 5477 h 18430"/>
                  <a:gd name="connsiteX4" fmla="*/ 12859 w 1830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0">
                    <a:moveTo>
                      <a:pt x="12859" y="812"/>
                    </a:moveTo>
                    <a:cubicBezTo>
                      <a:pt x="17464" y="2906"/>
                      <a:pt x="19557" y="8348"/>
                      <a:pt x="17524" y="12953"/>
                    </a:cubicBezTo>
                    <a:cubicBezTo>
                      <a:pt x="15490" y="17618"/>
                      <a:pt x="10048" y="19711"/>
                      <a:pt x="5443" y="17618"/>
                    </a:cubicBezTo>
                    <a:cubicBezTo>
                      <a:pt x="837" y="15525"/>
                      <a:pt x="-1256" y="10082"/>
                      <a:pt x="777" y="5477"/>
                    </a:cubicBezTo>
                    <a:cubicBezTo>
                      <a:pt x="2811" y="812"/>
                      <a:pt x="8194" y="-1281"/>
                      <a:pt x="12859" y="812"/>
                    </a:cubicBezTo>
                    <a:close/>
                  </a:path>
                </a:pathLst>
              </a:custGeom>
              <a:grpFill/>
              <a:ln w="5978" cap="flat">
                <a:noFill/>
                <a:prstDash val="solid"/>
                <a:miter/>
              </a:ln>
            </p:spPr>
            <p:txBody>
              <a:bodyPr rtlCol="0" anchor="ctr"/>
              <a:lstStyle/>
              <a:p>
                <a:endParaRPr lang="en-GB"/>
              </a:p>
            </p:txBody>
          </p:sp>
          <p:sp>
            <p:nvSpPr>
              <p:cNvPr id="2162" name="Vrije vorm: vorm 2161">
                <a:extLst>
                  <a:ext uri="{FF2B5EF4-FFF2-40B4-BE49-F238E27FC236}">
                    <a16:creationId xmlns:a16="http://schemas.microsoft.com/office/drawing/2014/main" id="{ACF8AEC2-2B98-4961-BCC9-68DBB64BA6FB}"/>
                  </a:ext>
                </a:extLst>
              </p:cNvPr>
              <p:cNvSpPr/>
              <p:nvPr/>
            </p:nvSpPr>
            <p:spPr>
              <a:xfrm>
                <a:off x="3856688" y="2552159"/>
                <a:ext cx="18301" cy="18430"/>
              </a:xfrm>
              <a:custGeom>
                <a:avLst/>
                <a:gdLst>
                  <a:gd name="connsiteX0" fmla="*/ 12859 w 18301"/>
                  <a:gd name="connsiteY0" fmla="*/ 812 h 18430"/>
                  <a:gd name="connsiteX1" fmla="*/ 778 w 18301"/>
                  <a:gd name="connsiteY1" fmla="*/ 5477 h 18430"/>
                  <a:gd name="connsiteX2" fmla="*/ 5442 w 18301"/>
                  <a:gd name="connsiteY2" fmla="*/ 17618 h 18430"/>
                  <a:gd name="connsiteX3" fmla="*/ 17524 w 18301"/>
                  <a:gd name="connsiteY3" fmla="*/ 12953 h 18430"/>
                  <a:gd name="connsiteX4" fmla="*/ 12859 w 1830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30">
                    <a:moveTo>
                      <a:pt x="12859" y="812"/>
                    </a:moveTo>
                    <a:cubicBezTo>
                      <a:pt x="8254" y="-1281"/>
                      <a:pt x="2811" y="812"/>
                      <a:pt x="778" y="5477"/>
                    </a:cubicBezTo>
                    <a:cubicBezTo>
                      <a:pt x="-1256" y="10142"/>
                      <a:pt x="837" y="15585"/>
                      <a:pt x="5442" y="17618"/>
                    </a:cubicBezTo>
                    <a:cubicBezTo>
                      <a:pt x="10048" y="19711"/>
                      <a:pt x="15490" y="17618"/>
                      <a:pt x="17524" y="12953"/>
                    </a:cubicBezTo>
                    <a:cubicBezTo>
                      <a:pt x="19557" y="8288"/>
                      <a:pt x="17464" y="2846"/>
                      <a:pt x="12859" y="812"/>
                    </a:cubicBezTo>
                    <a:close/>
                  </a:path>
                </a:pathLst>
              </a:custGeom>
              <a:grpFill/>
              <a:ln w="5978" cap="flat">
                <a:noFill/>
                <a:prstDash val="solid"/>
                <a:miter/>
              </a:ln>
            </p:spPr>
            <p:txBody>
              <a:bodyPr rtlCol="0" anchor="ctr"/>
              <a:lstStyle/>
              <a:p>
                <a:endParaRPr lang="en-GB"/>
              </a:p>
            </p:txBody>
          </p:sp>
        </p:grpSp>
        <p:grpSp>
          <p:nvGrpSpPr>
            <p:cNvPr id="1081" name="Graphic 3">
              <a:extLst>
                <a:ext uri="{FF2B5EF4-FFF2-40B4-BE49-F238E27FC236}">
                  <a16:creationId xmlns:a16="http://schemas.microsoft.com/office/drawing/2014/main" id="{992A7F6D-676C-4D5A-87E9-A9936E9C6A5F}"/>
                </a:ext>
              </a:extLst>
            </p:cNvPr>
            <p:cNvGrpSpPr/>
            <p:nvPr/>
          </p:nvGrpSpPr>
          <p:grpSpPr>
            <a:xfrm>
              <a:off x="4052602" y="2541200"/>
              <a:ext cx="134714" cy="69055"/>
              <a:chOff x="4052602" y="2541200"/>
              <a:chExt cx="134714" cy="69055"/>
            </a:xfrm>
            <a:grpFill/>
          </p:grpSpPr>
          <p:sp>
            <p:nvSpPr>
              <p:cNvPr id="2157" name="Vrije vorm: vorm 2156">
                <a:extLst>
                  <a:ext uri="{FF2B5EF4-FFF2-40B4-BE49-F238E27FC236}">
                    <a16:creationId xmlns:a16="http://schemas.microsoft.com/office/drawing/2014/main" id="{7C34EDEB-AB80-4453-98FA-E74A4C6895EE}"/>
                  </a:ext>
                </a:extLst>
              </p:cNvPr>
              <p:cNvSpPr/>
              <p:nvPr/>
            </p:nvSpPr>
            <p:spPr>
              <a:xfrm>
                <a:off x="4060750" y="2548844"/>
                <a:ext cx="118478" cy="53766"/>
              </a:xfrm>
              <a:custGeom>
                <a:avLst/>
                <a:gdLst>
                  <a:gd name="connsiteX0" fmla="*/ 118478 w 118478"/>
                  <a:gd name="connsiteY0" fmla="*/ 50956 h 53766"/>
                  <a:gd name="connsiteX1" fmla="*/ 117282 w 118478"/>
                  <a:gd name="connsiteY1" fmla="*/ 53767 h 53766"/>
                  <a:gd name="connsiteX2" fmla="*/ 0 w 118478"/>
                  <a:gd name="connsiteY2" fmla="*/ 2811 h 53766"/>
                  <a:gd name="connsiteX3" fmla="*/ 1196 w 118478"/>
                  <a:gd name="connsiteY3" fmla="*/ 0 h 53766"/>
                </a:gdLst>
                <a:ahLst/>
                <a:cxnLst>
                  <a:cxn ang="0">
                    <a:pos x="connsiteX0" y="connsiteY0"/>
                  </a:cxn>
                  <a:cxn ang="0">
                    <a:pos x="connsiteX1" y="connsiteY1"/>
                  </a:cxn>
                  <a:cxn ang="0">
                    <a:pos x="connsiteX2" y="connsiteY2"/>
                  </a:cxn>
                  <a:cxn ang="0">
                    <a:pos x="connsiteX3" y="connsiteY3"/>
                  </a:cxn>
                </a:cxnLst>
                <a:rect l="l" t="t" r="r" b="b"/>
                <a:pathLst>
                  <a:path w="118478" h="53766">
                    <a:moveTo>
                      <a:pt x="118478" y="50956"/>
                    </a:moveTo>
                    <a:lnTo>
                      <a:pt x="117282" y="53767"/>
                    </a:lnTo>
                    <a:lnTo>
                      <a:pt x="0" y="2811"/>
                    </a:lnTo>
                    <a:lnTo>
                      <a:pt x="1196" y="0"/>
                    </a:lnTo>
                    <a:close/>
                  </a:path>
                </a:pathLst>
              </a:custGeom>
              <a:grpFill/>
              <a:ln w="5978" cap="flat">
                <a:noFill/>
                <a:prstDash val="solid"/>
                <a:miter/>
              </a:ln>
            </p:spPr>
            <p:txBody>
              <a:bodyPr rtlCol="0" anchor="ctr"/>
              <a:lstStyle/>
              <a:p>
                <a:endParaRPr lang="en-GB"/>
              </a:p>
            </p:txBody>
          </p:sp>
          <p:sp>
            <p:nvSpPr>
              <p:cNvPr id="2158" name="Vrije vorm: vorm 2157">
                <a:extLst>
                  <a:ext uri="{FF2B5EF4-FFF2-40B4-BE49-F238E27FC236}">
                    <a16:creationId xmlns:a16="http://schemas.microsoft.com/office/drawing/2014/main" id="{E2701BCD-FEC7-48D7-870E-DB66DDB02751}"/>
                  </a:ext>
                </a:extLst>
              </p:cNvPr>
              <p:cNvSpPr/>
              <p:nvPr/>
            </p:nvSpPr>
            <p:spPr>
              <a:xfrm>
                <a:off x="4052602" y="2541200"/>
                <a:ext cx="18304" cy="18458"/>
              </a:xfrm>
              <a:custGeom>
                <a:avLst/>
                <a:gdLst>
                  <a:gd name="connsiteX0" fmla="*/ 5576 w 18304"/>
                  <a:gd name="connsiteY0" fmla="*/ 17692 h 18458"/>
                  <a:gd name="connsiteX1" fmla="*/ 732 w 18304"/>
                  <a:gd name="connsiteY1" fmla="*/ 5551 h 18458"/>
                  <a:gd name="connsiteX2" fmla="*/ 12753 w 18304"/>
                  <a:gd name="connsiteY2" fmla="*/ 767 h 18458"/>
                  <a:gd name="connsiteX3" fmla="*/ 17538 w 18304"/>
                  <a:gd name="connsiteY3" fmla="*/ 12908 h 18458"/>
                  <a:gd name="connsiteX4" fmla="*/ 5576 w 18304"/>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58">
                    <a:moveTo>
                      <a:pt x="5576" y="17692"/>
                    </a:moveTo>
                    <a:cubicBezTo>
                      <a:pt x="911" y="15659"/>
                      <a:pt x="-1242" y="10216"/>
                      <a:pt x="732" y="5551"/>
                    </a:cubicBezTo>
                    <a:cubicBezTo>
                      <a:pt x="2705" y="886"/>
                      <a:pt x="8088" y="-1267"/>
                      <a:pt x="12753" y="767"/>
                    </a:cubicBezTo>
                    <a:cubicBezTo>
                      <a:pt x="17418" y="2800"/>
                      <a:pt x="19571" y="8243"/>
                      <a:pt x="17538" y="12908"/>
                    </a:cubicBezTo>
                    <a:cubicBezTo>
                      <a:pt x="15624" y="17572"/>
                      <a:pt x="10241" y="19725"/>
                      <a:pt x="5576" y="17692"/>
                    </a:cubicBezTo>
                    <a:close/>
                  </a:path>
                </a:pathLst>
              </a:custGeom>
              <a:grpFill/>
              <a:ln w="5978" cap="flat">
                <a:noFill/>
                <a:prstDash val="solid"/>
                <a:miter/>
              </a:ln>
            </p:spPr>
            <p:txBody>
              <a:bodyPr rtlCol="0" anchor="ctr"/>
              <a:lstStyle/>
              <a:p>
                <a:endParaRPr lang="en-GB"/>
              </a:p>
            </p:txBody>
          </p:sp>
          <p:sp>
            <p:nvSpPr>
              <p:cNvPr id="2159" name="Vrije vorm: vorm 2158">
                <a:extLst>
                  <a:ext uri="{FF2B5EF4-FFF2-40B4-BE49-F238E27FC236}">
                    <a16:creationId xmlns:a16="http://schemas.microsoft.com/office/drawing/2014/main" id="{7E879AD4-8170-4C94-A95C-217184C74E84}"/>
                  </a:ext>
                </a:extLst>
              </p:cNvPr>
              <p:cNvSpPr/>
              <p:nvPr/>
            </p:nvSpPr>
            <p:spPr>
              <a:xfrm>
                <a:off x="4169012" y="2591797"/>
                <a:ext cx="18305" cy="18458"/>
              </a:xfrm>
              <a:custGeom>
                <a:avLst/>
                <a:gdLst>
                  <a:gd name="connsiteX0" fmla="*/ 5551 w 18305"/>
                  <a:gd name="connsiteY0" fmla="*/ 17692 h 18458"/>
                  <a:gd name="connsiteX1" fmla="*/ 17573 w 18305"/>
                  <a:gd name="connsiteY1" fmla="*/ 12908 h 18458"/>
                  <a:gd name="connsiteX2" fmla="*/ 12788 w 18305"/>
                  <a:gd name="connsiteY2" fmla="*/ 767 h 18458"/>
                  <a:gd name="connsiteX3" fmla="*/ 767 w 18305"/>
                  <a:gd name="connsiteY3" fmla="*/ 5551 h 18458"/>
                  <a:gd name="connsiteX4" fmla="*/ 5551 w 1830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58">
                    <a:moveTo>
                      <a:pt x="5551" y="17692"/>
                    </a:moveTo>
                    <a:cubicBezTo>
                      <a:pt x="10216" y="19726"/>
                      <a:pt x="15599" y="17572"/>
                      <a:pt x="17573" y="12908"/>
                    </a:cubicBezTo>
                    <a:cubicBezTo>
                      <a:pt x="19546" y="8243"/>
                      <a:pt x="17393" y="2800"/>
                      <a:pt x="12788" y="767"/>
                    </a:cubicBezTo>
                    <a:cubicBezTo>
                      <a:pt x="8123" y="-1267"/>
                      <a:pt x="2740" y="886"/>
                      <a:pt x="767" y="5551"/>
                    </a:cubicBezTo>
                    <a:cubicBezTo>
                      <a:pt x="-1267" y="10216"/>
                      <a:pt x="886" y="15659"/>
                      <a:pt x="5551" y="17692"/>
                    </a:cubicBezTo>
                    <a:close/>
                  </a:path>
                </a:pathLst>
              </a:custGeom>
              <a:grpFill/>
              <a:ln w="5978" cap="flat">
                <a:noFill/>
                <a:prstDash val="solid"/>
                <a:miter/>
              </a:ln>
            </p:spPr>
            <p:txBody>
              <a:bodyPr rtlCol="0" anchor="ctr"/>
              <a:lstStyle/>
              <a:p>
                <a:endParaRPr lang="en-GB"/>
              </a:p>
            </p:txBody>
          </p:sp>
        </p:grpSp>
        <p:grpSp>
          <p:nvGrpSpPr>
            <p:cNvPr id="1082" name="Graphic 3">
              <a:extLst>
                <a:ext uri="{FF2B5EF4-FFF2-40B4-BE49-F238E27FC236}">
                  <a16:creationId xmlns:a16="http://schemas.microsoft.com/office/drawing/2014/main" id="{335442B7-4610-4AEE-8153-86360BC6F732}"/>
                </a:ext>
              </a:extLst>
            </p:cNvPr>
            <p:cNvGrpSpPr/>
            <p:nvPr/>
          </p:nvGrpSpPr>
          <p:grpSpPr>
            <a:xfrm>
              <a:off x="4778068" y="4650289"/>
              <a:ext cx="98126" cy="101855"/>
              <a:chOff x="4778068" y="4650289"/>
              <a:chExt cx="98126" cy="101855"/>
            </a:xfrm>
            <a:grpFill/>
          </p:grpSpPr>
          <p:sp>
            <p:nvSpPr>
              <p:cNvPr id="2154" name="Vrije vorm: vorm 2153">
                <a:extLst>
                  <a:ext uri="{FF2B5EF4-FFF2-40B4-BE49-F238E27FC236}">
                    <a16:creationId xmlns:a16="http://schemas.microsoft.com/office/drawing/2014/main" id="{3F817C18-1CA2-4C76-9183-1E1261EB93F3}"/>
                  </a:ext>
                </a:extLst>
              </p:cNvPr>
              <p:cNvSpPr/>
              <p:nvPr/>
            </p:nvSpPr>
            <p:spPr>
              <a:xfrm>
                <a:off x="4785793" y="4658125"/>
                <a:ext cx="82653" cy="86241"/>
              </a:xfrm>
              <a:custGeom>
                <a:avLst/>
                <a:gdLst>
                  <a:gd name="connsiteX0" fmla="*/ 82654 w 82653"/>
                  <a:gd name="connsiteY0" fmla="*/ 2093 h 86241"/>
                  <a:gd name="connsiteX1" fmla="*/ 2213 w 82653"/>
                  <a:gd name="connsiteY1" fmla="*/ 86242 h 86241"/>
                  <a:gd name="connsiteX2" fmla="*/ 0 w 82653"/>
                  <a:gd name="connsiteY2" fmla="*/ 84089 h 86241"/>
                  <a:gd name="connsiteX3" fmla="*/ 80441 w 82653"/>
                  <a:gd name="connsiteY3" fmla="*/ 0 h 86241"/>
                </a:gdLst>
                <a:ahLst/>
                <a:cxnLst>
                  <a:cxn ang="0">
                    <a:pos x="connsiteX0" y="connsiteY0"/>
                  </a:cxn>
                  <a:cxn ang="0">
                    <a:pos x="connsiteX1" y="connsiteY1"/>
                  </a:cxn>
                  <a:cxn ang="0">
                    <a:pos x="connsiteX2" y="connsiteY2"/>
                  </a:cxn>
                  <a:cxn ang="0">
                    <a:pos x="connsiteX3" y="connsiteY3"/>
                  </a:cxn>
                </a:cxnLst>
                <a:rect l="l" t="t" r="r" b="b"/>
                <a:pathLst>
                  <a:path w="82653" h="86241">
                    <a:moveTo>
                      <a:pt x="82654" y="2093"/>
                    </a:moveTo>
                    <a:lnTo>
                      <a:pt x="2213" y="86242"/>
                    </a:lnTo>
                    <a:lnTo>
                      <a:pt x="0" y="84089"/>
                    </a:lnTo>
                    <a:lnTo>
                      <a:pt x="80441" y="0"/>
                    </a:lnTo>
                    <a:close/>
                  </a:path>
                </a:pathLst>
              </a:custGeom>
              <a:grpFill/>
              <a:ln w="5978" cap="flat">
                <a:noFill/>
                <a:prstDash val="solid"/>
                <a:miter/>
              </a:ln>
            </p:spPr>
            <p:txBody>
              <a:bodyPr rtlCol="0" anchor="ctr"/>
              <a:lstStyle/>
              <a:p>
                <a:endParaRPr lang="en-GB"/>
              </a:p>
            </p:txBody>
          </p:sp>
          <p:sp>
            <p:nvSpPr>
              <p:cNvPr id="2155" name="Vrije vorm: vorm 2154">
                <a:extLst>
                  <a:ext uri="{FF2B5EF4-FFF2-40B4-BE49-F238E27FC236}">
                    <a16:creationId xmlns:a16="http://schemas.microsoft.com/office/drawing/2014/main" id="{0AFB5C4D-8714-45FB-8333-4CE24EC71FD9}"/>
                  </a:ext>
                </a:extLst>
              </p:cNvPr>
              <p:cNvSpPr/>
              <p:nvPr/>
            </p:nvSpPr>
            <p:spPr>
              <a:xfrm>
                <a:off x="4778068" y="4733720"/>
                <a:ext cx="18320" cy="18423"/>
              </a:xfrm>
              <a:custGeom>
                <a:avLst/>
                <a:gdLst>
                  <a:gd name="connsiteX0" fmla="*/ 15799 w 18320"/>
                  <a:gd name="connsiteY0" fmla="*/ 15611 h 18423"/>
                  <a:gd name="connsiteX1" fmla="*/ 2821 w 18320"/>
                  <a:gd name="connsiteY1" fmla="*/ 15851 h 18423"/>
                  <a:gd name="connsiteX2" fmla="*/ 2522 w 18320"/>
                  <a:gd name="connsiteY2" fmla="*/ 2813 h 18423"/>
                  <a:gd name="connsiteX3" fmla="*/ 15500 w 18320"/>
                  <a:gd name="connsiteY3" fmla="*/ 2573 h 18423"/>
                  <a:gd name="connsiteX4" fmla="*/ 15799 w 18320"/>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15799" y="15611"/>
                    </a:moveTo>
                    <a:cubicBezTo>
                      <a:pt x="12270" y="19260"/>
                      <a:pt x="6469" y="19379"/>
                      <a:pt x="2821" y="15851"/>
                    </a:cubicBezTo>
                    <a:cubicBezTo>
                      <a:pt x="-827" y="12322"/>
                      <a:pt x="-947" y="6461"/>
                      <a:pt x="2522" y="2813"/>
                    </a:cubicBezTo>
                    <a:cubicBezTo>
                      <a:pt x="6050" y="-836"/>
                      <a:pt x="11852" y="-955"/>
                      <a:pt x="15500" y="2573"/>
                    </a:cubicBezTo>
                    <a:cubicBezTo>
                      <a:pt x="19148" y="6102"/>
                      <a:pt x="19268" y="11963"/>
                      <a:pt x="15799" y="15611"/>
                    </a:cubicBezTo>
                    <a:close/>
                  </a:path>
                </a:pathLst>
              </a:custGeom>
              <a:grpFill/>
              <a:ln w="5978" cap="flat">
                <a:noFill/>
                <a:prstDash val="solid"/>
                <a:miter/>
              </a:ln>
            </p:spPr>
            <p:txBody>
              <a:bodyPr rtlCol="0" anchor="ctr"/>
              <a:lstStyle/>
              <a:p>
                <a:endParaRPr lang="en-GB"/>
              </a:p>
            </p:txBody>
          </p:sp>
          <p:sp>
            <p:nvSpPr>
              <p:cNvPr id="2156" name="Vrije vorm: vorm 2155">
                <a:extLst>
                  <a:ext uri="{FF2B5EF4-FFF2-40B4-BE49-F238E27FC236}">
                    <a16:creationId xmlns:a16="http://schemas.microsoft.com/office/drawing/2014/main" id="{DCC1B06C-D674-400A-AF9F-F0F5FF7D6E9B}"/>
                  </a:ext>
                </a:extLst>
              </p:cNvPr>
              <p:cNvSpPr/>
              <p:nvPr/>
            </p:nvSpPr>
            <p:spPr>
              <a:xfrm>
                <a:off x="4857828" y="4650289"/>
                <a:ext cx="18366" cy="18423"/>
              </a:xfrm>
              <a:custGeom>
                <a:avLst/>
                <a:gdLst>
                  <a:gd name="connsiteX0" fmla="*/ 15822 w 18366"/>
                  <a:gd name="connsiteY0" fmla="*/ 15611 h 18423"/>
                  <a:gd name="connsiteX1" fmla="*/ 15523 w 18366"/>
                  <a:gd name="connsiteY1" fmla="*/ 2573 h 18423"/>
                  <a:gd name="connsiteX2" fmla="*/ 2545 w 18366"/>
                  <a:gd name="connsiteY2" fmla="*/ 2813 h 18423"/>
                  <a:gd name="connsiteX3" fmla="*/ 2844 w 18366"/>
                  <a:gd name="connsiteY3" fmla="*/ 15851 h 18423"/>
                  <a:gd name="connsiteX4" fmla="*/ 15822 w 18366"/>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3">
                    <a:moveTo>
                      <a:pt x="15822" y="15611"/>
                    </a:moveTo>
                    <a:cubicBezTo>
                      <a:pt x="19351" y="11963"/>
                      <a:pt x="19171" y="6102"/>
                      <a:pt x="15523" y="2573"/>
                    </a:cubicBezTo>
                    <a:cubicBezTo>
                      <a:pt x="11875" y="-955"/>
                      <a:pt x="6073" y="-836"/>
                      <a:pt x="2545" y="2813"/>
                    </a:cubicBezTo>
                    <a:cubicBezTo>
                      <a:pt x="-984" y="6461"/>
                      <a:pt x="-805" y="12322"/>
                      <a:pt x="2844" y="15851"/>
                    </a:cubicBezTo>
                    <a:cubicBezTo>
                      <a:pt x="6492" y="19379"/>
                      <a:pt x="12293" y="19260"/>
                      <a:pt x="15822" y="15611"/>
                    </a:cubicBezTo>
                    <a:close/>
                  </a:path>
                </a:pathLst>
              </a:custGeom>
              <a:grpFill/>
              <a:ln w="5978" cap="flat">
                <a:noFill/>
                <a:prstDash val="solid"/>
                <a:miter/>
              </a:ln>
            </p:spPr>
            <p:txBody>
              <a:bodyPr rtlCol="0" anchor="ctr"/>
              <a:lstStyle/>
              <a:p>
                <a:endParaRPr lang="en-GB"/>
              </a:p>
            </p:txBody>
          </p:sp>
        </p:grpSp>
        <p:grpSp>
          <p:nvGrpSpPr>
            <p:cNvPr id="1083" name="Graphic 3">
              <a:extLst>
                <a:ext uri="{FF2B5EF4-FFF2-40B4-BE49-F238E27FC236}">
                  <a16:creationId xmlns:a16="http://schemas.microsoft.com/office/drawing/2014/main" id="{F6F8DCFA-CFCE-4D32-BD4F-2E7F26B3DBE1}"/>
                </a:ext>
              </a:extLst>
            </p:cNvPr>
            <p:cNvGrpSpPr/>
            <p:nvPr/>
          </p:nvGrpSpPr>
          <p:grpSpPr>
            <a:xfrm>
              <a:off x="4894036" y="4969487"/>
              <a:ext cx="113829" cy="159553"/>
              <a:chOff x="4894036" y="4969487"/>
              <a:chExt cx="113829" cy="159553"/>
            </a:xfrm>
            <a:grpFill/>
          </p:grpSpPr>
          <p:sp>
            <p:nvSpPr>
              <p:cNvPr id="2151" name="Vrije vorm: vorm 2150">
                <a:extLst>
                  <a:ext uri="{FF2B5EF4-FFF2-40B4-BE49-F238E27FC236}">
                    <a16:creationId xmlns:a16="http://schemas.microsoft.com/office/drawing/2014/main" id="{899DC0E7-7DDA-4B6E-84A7-5BA29ABED520}"/>
                  </a:ext>
                </a:extLst>
              </p:cNvPr>
              <p:cNvSpPr/>
              <p:nvPr/>
            </p:nvSpPr>
            <p:spPr>
              <a:xfrm>
                <a:off x="4901700" y="4977495"/>
                <a:ext cx="98502" cy="143597"/>
              </a:xfrm>
              <a:custGeom>
                <a:avLst/>
                <a:gdLst>
                  <a:gd name="connsiteX0" fmla="*/ 98502 w 98502"/>
                  <a:gd name="connsiteY0" fmla="*/ 1675 h 143597"/>
                  <a:gd name="connsiteX1" fmla="*/ 2512 w 98502"/>
                  <a:gd name="connsiteY1" fmla="*/ 143597 h 143597"/>
                  <a:gd name="connsiteX2" fmla="*/ 0 w 98502"/>
                  <a:gd name="connsiteY2" fmla="*/ 141863 h 143597"/>
                  <a:gd name="connsiteX3" fmla="*/ 95991 w 98502"/>
                  <a:gd name="connsiteY3" fmla="*/ 0 h 143597"/>
                </a:gdLst>
                <a:ahLst/>
                <a:cxnLst>
                  <a:cxn ang="0">
                    <a:pos x="connsiteX0" y="connsiteY0"/>
                  </a:cxn>
                  <a:cxn ang="0">
                    <a:pos x="connsiteX1" y="connsiteY1"/>
                  </a:cxn>
                  <a:cxn ang="0">
                    <a:pos x="connsiteX2" y="connsiteY2"/>
                  </a:cxn>
                  <a:cxn ang="0">
                    <a:pos x="connsiteX3" y="connsiteY3"/>
                  </a:cxn>
                </a:cxnLst>
                <a:rect l="l" t="t" r="r" b="b"/>
                <a:pathLst>
                  <a:path w="98502" h="143597">
                    <a:moveTo>
                      <a:pt x="98502" y="1675"/>
                    </a:moveTo>
                    <a:lnTo>
                      <a:pt x="2512" y="143597"/>
                    </a:lnTo>
                    <a:lnTo>
                      <a:pt x="0" y="141863"/>
                    </a:lnTo>
                    <a:lnTo>
                      <a:pt x="95991" y="0"/>
                    </a:lnTo>
                    <a:close/>
                  </a:path>
                </a:pathLst>
              </a:custGeom>
              <a:grpFill/>
              <a:ln w="5978" cap="flat">
                <a:noFill/>
                <a:prstDash val="solid"/>
                <a:miter/>
              </a:ln>
            </p:spPr>
            <p:txBody>
              <a:bodyPr rtlCol="0" anchor="ctr"/>
              <a:lstStyle/>
              <a:p>
                <a:endParaRPr lang="en-GB"/>
              </a:p>
            </p:txBody>
          </p:sp>
          <p:sp>
            <p:nvSpPr>
              <p:cNvPr id="2152" name="Vrije vorm: vorm 2151">
                <a:extLst>
                  <a:ext uri="{FF2B5EF4-FFF2-40B4-BE49-F238E27FC236}">
                    <a16:creationId xmlns:a16="http://schemas.microsoft.com/office/drawing/2014/main" id="{0291A2DD-3518-42D9-8A56-D759BA8734F8}"/>
                  </a:ext>
                </a:extLst>
              </p:cNvPr>
              <p:cNvSpPr/>
              <p:nvPr/>
            </p:nvSpPr>
            <p:spPr>
              <a:xfrm>
                <a:off x="4894036" y="5110632"/>
                <a:ext cx="18343" cy="18408"/>
              </a:xfrm>
              <a:custGeom>
                <a:avLst/>
                <a:gdLst>
                  <a:gd name="connsiteX0" fmla="*/ 16754 w 18343"/>
                  <a:gd name="connsiteY0" fmla="*/ 14408 h 18408"/>
                  <a:gd name="connsiteX1" fmla="*/ 4015 w 18343"/>
                  <a:gd name="connsiteY1" fmla="*/ 16800 h 18408"/>
                  <a:gd name="connsiteX2" fmla="*/ 1563 w 18343"/>
                  <a:gd name="connsiteY2" fmla="*/ 4001 h 18408"/>
                  <a:gd name="connsiteX3" fmla="*/ 14302 w 18343"/>
                  <a:gd name="connsiteY3" fmla="*/ 1609 h 18408"/>
                  <a:gd name="connsiteX4" fmla="*/ 16754 w 18343"/>
                  <a:gd name="connsiteY4" fmla="*/ 14408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6754" y="14408"/>
                    </a:moveTo>
                    <a:cubicBezTo>
                      <a:pt x="13943" y="18594"/>
                      <a:pt x="8202" y="19670"/>
                      <a:pt x="4015" y="16800"/>
                    </a:cubicBezTo>
                    <a:cubicBezTo>
                      <a:pt x="-171" y="13929"/>
                      <a:pt x="-1248" y="8187"/>
                      <a:pt x="1563" y="4001"/>
                    </a:cubicBezTo>
                    <a:cubicBezTo>
                      <a:pt x="4374" y="-185"/>
                      <a:pt x="10116" y="-1262"/>
                      <a:pt x="14302" y="1609"/>
                    </a:cubicBezTo>
                    <a:cubicBezTo>
                      <a:pt x="18489" y="4479"/>
                      <a:pt x="19625" y="10221"/>
                      <a:pt x="16754" y="14408"/>
                    </a:cubicBezTo>
                    <a:close/>
                  </a:path>
                </a:pathLst>
              </a:custGeom>
              <a:grpFill/>
              <a:ln w="5978" cap="flat">
                <a:noFill/>
                <a:prstDash val="solid"/>
                <a:miter/>
              </a:ln>
            </p:spPr>
            <p:txBody>
              <a:bodyPr rtlCol="0" anchor="ctr"/>
              <a:lstStyle/>
              <a:p>
                <a:endParaRPr lang="en-GB"/>
              </a:p>
            </p:txBody>
          </p:sp>
          <p:sp>
            <p:nvSpPr>
              <p:cNvPr id="2153" name="Vrije vorm: vorm 2152">
                <a:extLst>
                  <a:ext uri="{FF2B5EF4-FFF2-40B4-BE49-F238E27FC236}">
                    <a16:creationId xmlns:a16="http://schemas.microsoft.com/office/drawing/2014/main" id="{4DD94DFD-39C7-465B-9A16-1FD8959B9A19}"/>
                  </a:ext>
                </a:extLst>
              </p:cNvPr>
              <p:cNvSpPr/>
              <p:nvPr/>
            </p:nvSpPr>
            <p:spPr>
              <a:xfrm>
                <a:off x="4989522" y="4969487"/>
                <a:ext cx="18343" cy="18450"/>
              </a:xfrm>
              <a:custGeom>
                <a:avLst/>
                <a:gdLst>
                  <a:gd name="connsiteX0" fmla="*/ 16781 w 18343"/>
                  <a:gd name="connsiteY0" fmla="*/ 14407 h 18450"/>
                  <a:gd name="connsiteX1" fmla="*/ 14329 w 18343"/>
                  <a:gd name="connsiteY1" fmla="*/ 1609 h 18450"/>
                  <a:gd name="connsiteX2" fmla="*/ 1590 w 18343"/>
                  <a:gd name="connsiteY2" fmla="*/ 4001 h 18450"/>
                  <a:gd name="connsiteX3" fmla="*/ 4042 w 18343"/>
                  <a:gd name="connsiteY3" fmla="*/ 16800 h 18450"/>
                  <a:gd name="connsiteX4" fmla="*/ 16781 w 18343"/>
                  <a:gd name="connsiteY4" fmla="*/ 14407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50">
                    <a:moveTo>
                      <a:pt x="16781" y="14407"/>
                    </a:moveTo>
                    <a:cubicBezTo>
                      <a:pt x="19592" y="10221"/>
                      <a:pt x="18515" y="4480"/>
                      <a:pt x="14329" y="1609"/>
                    </a:cubicBezTo>
                    <a:cubicBezTo>
                      <a:pt x="10142" y="-1262"/>
                      <a:pt x="4460" y="-186"/>
                      <a:pt x="1590" y="4001"/>
                    </a:cubicBezTo>
                    <a:cubicBezTo>
                      <a:pt x="-1281" y="8188"/>
                      <a:pt x="-145" y="13929"/>
                      <a:pt x="4042" y="16800"/>
                    </a:cubicBezTo>
                    <a:cubicBezTo>
                      <a:pt x="8228" y="19730"/>
                      <a:pt x="13910" y="18654"/>
                      <a:pt x="16781" y="14407"/>
                    </a:cubicBezTo>
                    <a:close/>
                  </a:path>
                </a:pathLst>
              </a:custGeom>
              <a:grpFill/>
              <a:ln w="5978" cap="flat">
                <a:noFill/>
                <a:prstDash val="solid"/>
                <a:miter/>
              </a:ln>
            </p:spPr>
            <p:txBody>
              <a:bodyPr rtlCol="0" anchor="ctr"/>
              <a:lstStyle/>
              <a:p>
                <a:endParaRPr lang="en-GB"/>
              </a:p>
            </p:txBody>
          </p:sp>
        </p:grpSp>
        <p:grpSp>
          <p:nvGrpSpPr>
            <p:cNvPr id="1084" name="Graphic 3">
              <a:extLst>
                <a:ext uri="{FF2B5EF4-FFF2-40B4-BE49-F238E27FC236}">
                  <a16:creationId xmlns:a16="http://schemas.microsoft.com/office/drawing/2014/main" id="{9BA0F39B-B682-4891-89E1-8D67AC295556}"/>
                </a:ext>
              </a:extLst>
            </p:cNvPr>
            <p:cNvGrpSpPr/>
            <p:nvPr/>
          </p:nvGrpSpPr>
          <p:grpSpPr>
            <a:xfrm>
              <a:off x="4256387" y="3208345"/>
              <a:ext cx="135389" cy="31445"/>
              <a:chOff x="4256387" y="3208345"/>
              <a:chExt cx="135389" cy="31445"/>
            </a:xfrm>
            <a:grpFill/>
          </p:grpSpPr>
          <p:sp>
            <p:nvSpPr>
              <p:cNvPr id="2148" name="Vrije vorm: vorm 2147">
                <a:extLst>
                  <a:ext uri="{FF2B5EF4-FFF2-40B4-BE49-F238E27FC236}">
                    <a16:creationId xmlns:a16="http://schemas.microsoft.com/office/drawing/2014/main" id="{FCB0CE6F-FE4A-4424-805C-CE5E5EF8BA00}"/>
                  </a:ext>
                </a:extLst>
              </p:cNvPr>
              <p:cNvSpPr/>
              <p:nvPr/>
            </p:nvSpPr>
            <p:spPr>
              <a:xfrm>
                <a:off x="4264932" y="3215934"/>
                <a:ext cx="118298" cy="16207"/>
              </a:xfrm>
              <a:custGeom>
                <a:avLst/>
                <a:gdLst>
                  <a:gd name="connsiteX0" fmla="*/ 118299 w 118298"/>
                  <a:gd name="connsiteY0" fmla="*/ 13157 h 16207"/>
                  <a:gd name="connsiteX1" fmla="*/ 117940 w 118298"/>
                  <a:gd name="connsiteY1" fmla="*/ 16208 h 16207"/>
                  <a:gd name="connsiteX2" fmla="*/ 0 w 118298"/>
                  <a:gd name="connsiteY2" fmla="*/ 3050 h 16207"/>
                  <a:gd name="connsiteX3" fmla="*/ 299 w 118298"/>
                  <a:gd name="connsiteY3" fmla="*/ 0 h 16207"/>
                </a:gdLst>
                <a:ahLst/>
                <a:cxnLst>
                  <a:cxn ang="0">
                    <a:pos x="connsiteX0" y="connsiteY0"/>
                  </a:cxn>
                  <a:cxn ang="0">
                    <a:pos x="connsiteX1" y="connsiteY1"/>
                  </a:cxn>
                  <a:cxn ang="0">
                    <a:pos x="connsiteX2" y="connsiteY2"/>
                  </a:cxn>
                  <a:cxn ang="0">
                    <a:pos x="connsiteX3" y="connsiteY3"/>
                  </a:cxn>
                </a:cxnLst>
                <a:rect l="l" t="t" r="r" b="b"/>
                <a:pathLst>
                  <a:path w="118298" h="16207">
                    <a:moveTo>
                      <a:pt x="118299" y="13157"/>
                    </a:moveTo>
                    <a:lnTo>
                      <a:pt x="117940" y="16208"/>
                    </a:lnTo>
                    <a:lnTo>
                      <a:pt x="0" y="3050"/>
                    </a:lnTo>
                    <a:lnTo>
                      <a:pt x="299" y="0"/>
                    </a:lnTo>
                    <a:close/>
                  </a:path>
                </a:pathLst>
              </a:custGeom>
              <a:grpFill/>
              <a:ln w="5978" cap="flat">
                <a:noFill/>
                <a:prstDash val="solid"/>
                <a:miter/>
              </a:ln>
            </p:spPr>
            <p:txBody>
              <a:bodyPr rtlCol="0" anchor="ctr"/>
              <a:lstStyle/>
              <a:p>
                <a:endParaRPr lang="en-GB"/>
              </a:p>
            </p:txBody>
          </p:sp>
          <p:sp>
            <p:nvSpPr>
              <p:cNvPr id="2149" name="Vrije vorm: vorm 2148">
                <a:extLst>
                  <a:ext uri="{FF2B5EF4-FFF2-40B4-BE49-F238E27FC236}">
                    <a16:creationId xmlns:a16="http://schemas.microsoft.com/office/drawing/2014/main" id="{324480E8-36CE-48E3-BA57-23263071CD9B}"/>
                  </a:ext>
                </a:extLst>
              </p:cNvPr>
              <p:cNvSpPr/>
              <p:nvPr/>
            </p:nvSpPr>
            <p:spPr>
              <a:xfrm>
                <a:off x="4256387" y="3208345"/>
                <a:ext cx="18346" cy="18407"/>
              </a:xfrm>
              <a:custGeom>
                <a:avLst/>
                <a:gdLst>
                  <a:gd name="connsiteX0" fmla="*/ 8186 w 18346"/>
                  <a:gd name="connsiteY0" fmla="*/ 18354 h 18407"/>
                  <a:gd name="connsiteX1" fmla="*/ 53 w 18346"/>
                  <a:gd name="connsiteY1" fmla="*/ 8187 h 18407"/>
                  <a:gd name="connsiteX2" fmla="*/ 10160 w 18346"/>
                  <a:gd name="connsiteY2" fmla="*/ 53 h 18407"/>
                  <a:gd name="connsiteX3" fmla="*/ 18294 w 18346"/>
                  <a:gd name="connsiteY3" fmla="*/ 10221 h 18407"/>
                  <a:gd name="connsiteX4" fmla="*/ 8186 w 18346"/>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7">
                    <a:moveTo>
                      <a:pt x="8186" y="18354"/>
                    </a:moveTo>
                    <a:cubicBezTo>
                      <a:pt x="3163" y="17816"/>
                      <a:pt x="-485" y="13211"/>
                      <a:pt x="53" y="8187"/>
                    </a:cubicBezTo>
                    <a:cubicBezTo>
                      <a:pt x="591" y="3104"/>
                      <a:pt x="5136" y="-485"/>
                      <a:pt x="10160" y="53"/>
                    </a:cubicBezTo>
                    <a:cubicBezTo>
                      <a:pt x="15184" y="592"/>
                      <a:pt x="18832" y="5197"/>
                      <a:pt x="18294" y="10221"/>
                    </a:cubicBezTo>
                    <a:cubicBezTo>
                      <a:pt x="17756" y="15244"/>
                      <a:pt x="13210" y="18893"/>
                      <a:pt x="8186" y="18354"/>
                    </a:cubicBezTo>
                    <a:close/>
                  </a:path>
                </a:pathLst>
              </a:custGeom>
              <a:grpFill/>
              <a:ln w="5978" cap="flat">
                <a:noFill/>
                <a:prstDash val="solid"/>
                <a:miter/>
              </a:ln>
            </p:spPr>
            <p:txBody>
              <a:bodyPr rtlCol="0" anchor="ctr"/>
              <a:lstStyle/>
              <a:p>
                <a:endParaRPr lang="en-GB"/>
              </a:p>
            </p:txBody>
          </p:sp>
          <p:sp>
            <p:nvSpPr>
              <p:cNvPr id="2150" name="Vrije vorm: vorm 2149">
                <a:extLst>
                  <a:ext uri="{FF2B5EF4-FFF2-40B4-BE49-F238E27FC236}">
                    <a16:creationId xmlns:a16="http://schemas.microsoft.com/office/drawing/2014/main" id="{99A32180-DB86-4F8C-826C-3DE6933EA674}"/>
                  </a:ext>
                </a:extLst>
              </p:cNvPr>
              <p:cNvSpPr/>
              <p:nvPr/>
            </p:nvSpPr>
            <p:spPr>
              <a:xfrm>
                <a:off x="4373429" y="3221383"/>
                <a:ext cx="18346" cy="18406"/>
              </a:xfrm>
              <a:custGeom>
                <a:avLst/>
                <a:gdLst>
                  <a:gd name="connsiteX0" fmla="*/ 8186 w 18346"/>
                  <a:gd name="connsiteY0" fmla="*/ 18354 h 18406"/>
                  <a:gd name="connsiteX1" fmla="*/ 18294 w 18346"/>
                  <a:gd name="connsiteY1" fmla="*/ 10220 h 18406"/>
                  <a:gd name="connsiteX2" fmla="*/ 10160 w 18346"/>
                  <a:gd name="connsiteY2" fmla="*/ 53 h 18406"/>
                  <a:gd name="connsiteX3" fmla="*/ 53 w 18346"/>
                  <a:gd name="connsiteY3" fmla="*/ 8187 h 18406"/>
                  <a:gd name="connsiteX4" fmla="*/ 8186 w 18346"/>
                  <a:gd name="connsiteY4" fmla="*/ 18354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6">
                    <a:moveTo>
                      <a:pt x="8186" y="18354"/>
                    </a:moveTo>
                    <a:cubicBezTo>
                      <a:pt x="13210" y="18892"/>
                      <a:pt x="17756" y="15244"/>
                      <a:pt x="18294" y="10220"/>
                    </a:cubicBezTo>
                    <a:cubicBezTo>
                      <a:pt x="18832" y="5136"/>
                      <a:pt x="15184" y="591"/>
                      <a:pt x="10160" y="53"/>
                    </a:cubicBezTo>
                    <a:cubicBezTo>
                      <a:pt x="5136" y="-486"/>
                      <a:pt x="591" y="3163"/>
                      <a:pt x="53" y="8187"/>
                    </a:cubicBezTo>
                    <a:cubicBezTo>
                      <a:pt x="-486" y="13210"/>
                      <a:pt x="3163" y="17756"/>
                      <a:pt x="8186" y="18354"/>
                    </a:cubicBezTo>
                    <a:close/>
                  </a:path>
                </a:pathLst>
              </a:custGeom>
              <a:grpFill/>
              <a:ln w="5978" cap="flat">
                <a:noFill/>
                <a:prstDash val="solid"/>
                <a:miter/>
              </a:ln>
            </p:spPr>
            <p:txBody>
              <a:bodyPr rtlCol="0" anchor="ctr"/>
              <a:lstStyle/>
              <a:p>
                <a:endParaRPr lang="en-GB"/>
              </a:p>
            </p:txBody>
          </p:sp>
        </p:grpSp>
        <p:grpSp>
          <p:nvGrpSpPr>
            <p:cNvPr id="1085" name="Graphic 3">
              <a:extLst>
                <a:ext uri="{FF2B5EF4-FFF2-40B4-BE49-F238E27FC236}">
                  <a16:creationId xmlns:a16="http://schemas.microsoft.com/office/drawing/2014/main" id="{4E6E5D56-EB95-4EBC-B20C-D9DE06B6156D}"/>
                </a:ext>
              </a:extLst>
            </p:cNvPr>
            <p:cNvGrpSpPr/>
            <p:nvPr/>
          </p:nvGrpSpPr>
          <p:grpSpPr>
            <a:xfrm>
              <a:off x="4229281" y="3170761"/>
              <a:ext cx="166826" cy="37834"/>
              <a:chOff x="4229281" y="3170761"/>
              <a:chExt cx="166826" cy="37834"/>
            </a:xfrm>
            <a:grpFill/>
          </p:grpSpPr>
          <p:sp>
            <p:nvSpPr>
              <p:cNvPr id="2145" name="Vrije vorm: vorm 2144">
                <a:extLst>
                  <a:ext uri="{FF2B5EF4-FFF2-40B4-BE49-F238E27FC236}">
                    <a16:creationId xmlns:a16="http://schemas.microsoft.com/office/drawing/2014/main" id="{B705F219-5CFE-49B0-BE17-AE475FBD52BA}"/>
                  </a:ext>
                </a:extLst>
              </p:cNvPr>
              <p:cNvSpPr/>
              <p:nvPr/>
            </p:nvSpPr>
            <p:spPr>
              <a:xfrm>
                <a:off x="4237779" y="3178375"/>
                <a:ext cx="149817" cy="22547"/>
              </a:xfrm>
              <a:custGeom>
                <a:avLst/>
                <a:gdLst>
                  <a:gd name="connsiteX0" fmla="*/ 149817 w 149817"/>
                  <a:gd name="connsiteY0" fmla="*/ 19557 h 22547"/>
                  <a:gd name="connsiteX1" fmla="*/ 149458 w 149817"/>
                  <a:gd name="connsiteY1" fmla="*/ 22547 h 22547"/>
                  <a:gd name="connsiteX2" fmla="*/ 0 w 149817"/>
                  <a:gd name="connsiteY2" fmla="*/ 3050 h 22547"/>
                  <a:gd name="connsiteX3" fmla="*/ 359 w 149817"/>
                  <a:gd name="connsiteY3" fmla="*/ 0 h 22547"/>
                </a:gdLst>
                <a:ahLst/>
                <a:cxnLst>
                  <a:cxn ang="0">
                    <a:pos x="connsiteX0" y="connsiteY0"/>
                  </a:cxn>
                  <a:cxn ang="0">
                    <a:pos x="connsiteX1" y="connsiteY1"/>
                  </a:cxn>
                  <a:cxn ang="0">
                    <a:pos x="connsiteX2" y="connsiteY2"/>
                  </a:cxn>
                  <a:cxn ang="0">
                    <a:pos x="connsiteX3" y="connsiteY3"/>
                  </a:cxn>
                </a:cxnLst>
                <a:rect l="l" t="t" r="r" b="b"/>
                <a:pathLst>
                  <a:path w="149817" h="22547">
                    <a:moveTo>
                      <a:pt x="149817" y="19557"/>
                    </a:moveTo>
                    <a:lnTo>
                      <a:pt x="149458" y="22547"/>
                    </a:lnTo>
                    <a:lnTo>
                      <a:pt x="0" y="3050"/>
                    </a:lnTo>
                    <a:lnTo>
                      <a:pt x="359" y="0"/>
                    </a:lnTo>
                    <a:close/>
                  </a:path>
                </a:pathLst>
              </a:custGeom>
              <a:grpFill/>
              <a:ln w="5978" cap="flat">
                <a:noFill/>
                <a:prstDash val="solid"/>
                <a:miter/>
              </a:ln>
            </p:spPr>
            <p:txBody>
              <a:bodyPr rtlCol="0" anchor="ctr"/>
              <a:lstStyle/>
              <a:p>
                <a:endParaRPr lang="en-GB"/>
              </a:p>
            </p:txBody>
          </p:sp>
          <p:sp>
            <p:nvSpPr>
              <p:cNvPr id="2146" name="Vrije vorm: vorm 2145">
                <a:extLst>
                  <a:ext uri="{FF2B5EF4-FFF2-40B4-BE49-F238E27FC236}">
                    <a16:creationId xmlns:a16="http://schemas.microsoft.com/office/drawing/2014/main" id="{0CDB7F18-8CE6-4C34-BEAD-12D924BDB1D3}"/>
                  </a:ext>
                </a:extLst>
              </p:cNvPr>
              <p:cNvSpPr/>
              <p:nvPr/>
            </p:nvSpPr>
            <p:spPr>
              <a:xfrm>
                <a:off x="4229281" y="3170761"/>
                <a:ext cx="18313" cy="18456"/>
              </a:xfrm>
              <a:custGeom>
                <a:avLst/>
                <a:gdLst>
                  <a:gd name="connsiteX0" fmla="*/ 8020 w 18313"/>
                  <a:gd name="connsiteY0" fmla="*/ 18379 h 18456"/>
                  <a:gd name="connsiteX1" fmla="*/ 66 w 18313"/>
                  <a:gd name="connsiteY1" fmla="*/ 8032 h 18456"/>
                  <a:gd name="connsiteX2" fmla="*/ 10293 w 18313"/>
                  <a:gd name="connsiteY2" fmla="*/ 78 h 18456"/>
                  <a:gd name="connsiteX3" fmla="*/ 18247 w 18313"/>
                  <a:gd name="connsiteY3" fmla="*/ 10425 h 18456"/>
                  <a:gd name="connsiteX4" fmla="*/ 8020 w 18313"/>
                  <a:gd name="connsiteY4" fmla="*/ 1837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56">
                    <a:moveTo>
                      <a:pt x="8020" y="18379"/>
                    </a:moveTo>
                    <a:cubicBezTo>
                      <a:pt x="2997" y="17721"/>
                      <a:pt x="-532" y="13116"/>
                      <a:pt x="66" y="8032"/>
                    </a:cubicBezTo>
                    <a:cubicBezTo>
                      <a:pt x="724" y="3008"/>
                      <a:pt x="5269" y="-580"/>
                      <a:pt x="10293" y="78"/>
                    </a:cubicBezTo>
                    <a:cubicBezTo>
                      <a:pt x="15317" y="736"/>
                      <a:pt x="18845" y="5341"/>
                      <a:pt x="18247" y="10425"/>
                    </a:cubicBezTo>
                    <a:cubicBezTo>
                      <a:pt x="17590" y="15448"/>
                      <a:pt x="13044" y="19037"/>
                      <a:pt x="8020" y="18379"/>
                    </a:cubicBezTo>
                    <a:close/>
                  </a:path>
                </a:pathLst>
              </a:custGeom>
              <a:grpFill/>
              <a:ln w="5978" cap="flat">
                <a:noFill/>
                <a:prstDash val="solid"/>
                <a:miter/>
              </a:ln>
            </p:spPr>
            <p:txBody>
              <a:bodyPr rtlCol="0" anchor="ctr"/>
              <a:lstStyle/>
              <a:p>
                <a:endParaRPr lang="en-GB"/>
              </a:p>
            </p:txBody>
          </p:sp>
          <p:sp>
            <p:nvSpPr>
              <p:cNvPr id="2147" name="Vrije vorm: vorm 2146">
                <a:extLst>
                  <a:ext uri="{FF2B5EF4-FFF2-40B4-BE49-F238E27FC236}">
                    <a16:creationId xmlns:a16="http://schemas.microsoft.com/office/drawing/2014/main" id="{226EEB64-D980-4102-8FF8-235236841A18}"/>
                  </a:ext>
                </a:extLst>
              </p:cNvPr>
              <p:cNvSpPr/>
              <p:nvPr/>
            </p:nvSpPr>
            <p:spPr>
              <a:xfrm>
                <a:off x="4377782" y="3190139"/>
                <a:ext cx="18325" cy="18456"/>
              </a:xfrm>
              <a:custGeom>
                <a:avLst/>
                <a:gdLst>
                  <a:gd name="connsiteX0" fmla="*/ 8020 w 18325"/>
                  <a:gd name="connsiteY0" fmla="*/ 18379 h 18456"/>
                  <a:gd name="connsiteX1" fmla="*/ 18248 w 18325"/>
                  <a:gd name="connsiteY1" fmla="*/ 10424 h 18456"/>
                  <a:gd name="connsiteX2" fmla="*/ 10293 w 18325"/>
                  <a:gd name="connsiteY2" fmla="*/ 78 h 18456"/>
                  <a:gd name="connsiteX3" fmla="*/ 66 w 18325"/>
                  <a:gd name="connsiteY3" fmla="*/ 8032 h 18456"/>
                  <a:gd name="connsiteX4" fmla="*/ 8020 w 18325"/>
                  <a:gd name="connsiteY4" fmla="*/ 1837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6">
                    <a:moveTo>
                      <a:pt x="8020" y="18379"/>
                    </a:moveTo>
                    <a:cubicBezTo>
                      <a:pt x="13044" y="19037"/>
                      <a:pt x="17649" y="15448"/>
                      <a:pt x="18248" y="10424"/>
                    </a:cubicBezTo>
                    <a:cubicBezTo>
                      <a:pt x="18905" y="5401"/>
                      <a:pt x="15317" y="736"/>
                      <a:pt x="10293" y="78"/>
                    </a:cubicBezTo>
                    <a:cubicBezTo>
                      <a:pt x="5269" y="-580"/>
                      <a:pt x="664" y="3008"/>
                      <a:pt x="66" y="8032"/>
                    </a:cubicBezTo>
                    <a:cubicBezTo>
                      <a:pt x="-532" y="13056"/>
                      <a:pt x="2997" y="17721"/>
                      <a:pt x="8020" y="18379"/>
                    </a:cubicBezTo>
                    <a:close/>
                  </a:path>
                </a:pathLst>
              </a:custGeom>
              <a:grpFill/>
              <a:ln w="5978" cap="flat">
                <a:noFill/>
                <a:prstDash val="solid"/>
                <a:miter/>
              </a:ln>
            </p:spPr>
            <p:txBody>
              <a:bodyPr rtlCol="0" anchor="ctr"/>
              <a:lstStyle/>
              <a:p>
                <a:endParaRPr lang="en-GB"/>
              </a:p>
            </p:txBody>
          </p:sp>
        </p:grpSp>
        <p:grpSp>
          <p:nvGrpSpPr>
            <p:cNvPr id="1086" name="Graphic 3">
              <a:extLst>
                <a:ext uri="{FF2B5EF4-FFF2-40B4-BE49-F238E27FC236}">
                  <a16:creationId xmlns:a16="http://schemas.microsoft.com/office/drawing/2014/main" id="{0A924995-B70C-4D99-B620-FFAA57C84EA3}"/>
                </a:ext>
              </a:extLst>
            </p:cNvPr>
            <p:cNvGrpSpPr/>
            <p:nvPr/>
          </p:nvGrpSpPr>
          <p:grpSpPr>
            <a:xfrm>
              <a:off x="4090374" y="2926037"/>
              <a:ext cx="298339" cy="118560"/>
              <a:chOff x="4090374" y="2926037"/>
              <a:chExt cx="298339" cy="118560"/>
            </a:xfrm>
            <a:grpFill/>
          </p:grpSpPr>
          <p:sp>
            <p:nvSpPr>
              <p:cNvPr id="2142" name="Vrije vorm: vorm 2141">
                <a:extLst>
                  <a:ext uri="{FF2B5EF4-FFF2-40B4-BE49-F238E27FC236}">
                    <a16:creationId xmlns:a16="http://schemas.microsoft.com/office/drawing/2014/main" id="{D48BB430-338E-4ABC-870D-CA2755D09635}"/>
                  </a:ext>
                </a:extLst>
              </p:cNvPr>
              <p:cNvSpPr/>
              <p:nvPr/>
            </p:nvSpPr>
            <p:spPr>
              <a:xfrm>
                <a:off x="4098548" y="2933644"/>
                <a:ext cx="281930" cy="103346"/>
              </a:xfrm>
              <a:custGeom>
                <a:avLst/>
                <a:gdLst>
                  <a:gd name="connsiteX0" fmla="*/ 281931 w 281930"/>
                  <a:gd name="connsiteY0" fmla="*/ 100476 h 103346"/>
                  <a:gd name="connsiteX1" fmla="*/ 280914 w 281930"/>
                  <a:gd name="connsiteY1" fmla="*/ 103347 h 103346"/>
                  <a:gd name="connsiteX2" fmla="*/ 0 w 281930"/>
                  <a:gd name="connsiteY2" fmla="*/ 2871 h 103346"/>
                  <a:gd name="connsiteX3" fmla="*/ 1017 w 281930"/>
                  <a:gd name="connsiteY3" fmla="*/ 0 h 103346"/>
                </a:gdLst>
                <a:ahLst/>
                <a:cxnLst>
                  <a:cxn ang="0">
                    <a:pos x="connsiteX0" y="connsiteY0"/>
                  </a:cxn>
                  <a:cxn ang="0">
                    <a:pos x="connsiteX1" y="connsiteY1"/>
                  </a:cxn>
                  <a:cxn ang="0">
                    <a:pos x="connsiteX2" y="connsiteY2"/>
                  </a:cxn>
                  <a:cxn ang="0">
                    <a:pos x="connsiteX3" y="connsiteY3"/>
                  </a:cxn>
                </a:cxnLst>
                <a:rect l="l" t="t" r="r" b="b"/>
                <a:pathLst>
                  <a:path w="281930" h="103346">
                    <a:moveTo>
                      <a:pt x="281931" y="100476"/>
                    </a:moveTo>
                    <a:lnTo>
                      <a:pt x="280914" y="103347"/>
                    </a:lnTo>
                    <a:lnTo>
                      <a:pt x="0" y="2871"/>
                    </a:lnTo>
                    <a:lnTo>
                      <a:pt x="1017" y="0"/>
                    </a:lnTo>
                    <a:close/>
                  </a:path>
                </a:pathLst>
              </a:custGeom>
              <a:grpFill/>
              <a:ln w="5978" cap="flat">
                <a:noFill/>
                <a:prstDash val="solid"/>
                <a:miter/>
              </a:ln>
            </p:spPr>
            <p:txBody>
              <a:bodyPr rtlCol="0" anchor="ctr"/>
              <a:lstStyle/>
              <a:p>
                <a:endParaRPr lang="en-GB"/>
              </a:p>
            </p:txBody>
          </p:sp>
          <p:sp>
            <p:nvSpPr>
              <p:cNvPr id="2143" name="Vrije vorm: vorm 2142">
                <a:extLst>
                  <a:ext uri="{FF2B5EF4-FFF2-40B4-BE49-F238E27FC236}">
                    <a16:creationId xmlns:a16="http://schemas.microsoft.com/office/drawing/2014/main" id="{47249322-9D4A-4982-A1D2-1FD36C1FD271}"/>
                  </a:ext>
                </a:extLst>
              </p:cNvPr>
              <p:cNvSpPr/>
              <p:nvPr/>
            </p:nvSpPr>
            <p:spPr>
              <a:xfrm>
                <a:off x="4370392" y="3026178"/>
                <a:ext cx="18322" cy="18419"/>
              </a:xfrm>
              <a:custGeom>
                <a:avLst/>
                <a:gdLst>
                  <a:gd name="connsiteX0" fmla="*/ 12181 w 18322"/>
                  <a:gd name="connsiteY0" fmla="*/ 526 h 18419"/>
                  <a:gd name="connsiteX1" fmla="*/ 17803 w 18322"/>
                  <a:gd name="connsiteY1" fmla="*/ 12308 h 18419"/>
                  <a:gd name="connsiteX2" fmla="*/ 6141 w 18322"/>
                  <a:gd name="connsiteY2" fmla="*/ 17870 h 18419"/>
                  <a:gd name="connsiteX3" fmla="*/ 519 w 18322"/>
                  <a:gd name="connsiteY3" fmla="*/ 6088 h 18419"/>
                  <a:gd name="connsiteX4" fmla="*/ 12181 w 18322"/>
                  <a:gd name="connsiteY4" fmla="*/ 526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19">
                    <a:moveTo>
                      <a:pt x="12181" y="526"/>
                    </a:moveTo>
                    <a:cubicBezTo>
                      <a:pt x="16966" y="2260"/>
                      <a:pt x="19478" y="7523"/>
                      <a:pt x="17803" y="12308"/>
                    </a:cubicBezTo>
                    <a:cubicBezTo>
                      <a:pt x="16129" y="17092"/>
                      <a:pt x="10865" y="19604"/>
                      <a:pt x="6141" y="17870"/>
                    </a:cubicBezTo>
                    <a:cubicBezTo>
                      <a:pt x="1356" y="16136"/>
                      <a:pt x="-1156" y="10872"/>
                      <a:pt x="519" y="6088"/>
                    </a:cubicBezTo>
                    <a:cubicBezTo>
                      <a:pt x="2193" y="1303"/>
                      <a:pt x="7397" y="-1149"/>
                      <a:pt x="12181" y="526"/>
                    </a:cubicBezTo>
                    <a:close/>
                  </a:path>
                </a:pathLst>
              </a:custGeom>
              <a:grpFill/>
              <a:ln w="5978" cap="flat">
                <a:noFill/>
                <a:prstDash val="solid"/>
                <a:miter/>
              </a:ln>
            </p:spPr>
            <p:txBody>
              <a:bodyPr rtlCol="0" anchor="ctr"/>
              <a:lstStyle/>
              <a:p>
                <a:endParaRPr lang="en-GB"/>
              </a:p>
            </p:txBody>
          </p:sp>
          <p:sp>
            <p:nvSpPr>
              <p:cNvPr id="2144" name="Vrije vorm: vorm 2143">
                <a:extLst>
                  <a:ext uri="{FF2B5EF4-FFF2-40B4-BE49-F238E27FC236}">
                    <a16:creationId xmlns:a16="http://schemas.microsoft.com/office/drawing/2014/main" id="{FF39A5DA-55AC-4DA9-AAF9-0D657D742D41}"/>
                  </a:ext>
                </a:extLst>
              </p:cNvPr>
              <p:cNvSpPr/>
              <p:nvPr/>
            </p:nvSpPr>
            <p:spPr>
              <a:xfrm>
                <a:off x="4090374" y="2926037"/>
                <a:ext cx="18292" cy="18442"/>
              </a:xfrm>
              <a:custGeom>
                <a:avLst/>
                <a:gdLst>
                  <a:gd name="connsiteX0" fmla="*/ 12181 w 18292"/>
                  <a:gd name="connsiteY0" fmla="*/ 549 h 18442"/>
                  <a:gd name="connsiteX1" fmla="*/ 519 w 18292"/>
                  <a:gd name="connsiteY1" fmla="*/ 6111 h 18442"/>
                  <a:gd name="connsiteX2" fmla="*/ 6141 w 18292"/>
                  <a:gd name="connsiteY2" fmla="*/ 17894 h 18442"/>
                  <a:gd name="connsiteX3" fmla="*/ 17803 w 18292"/>
                  <a:gd name="connsiteY3" fmla="*/ 12331 h 18442"/>
                  <a:gd name="connsiteX4" fmla="*/ 12181 w 18292"/>
                  <a:gd name="connsiteY4" fmla="*/ 5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2" h="18442">
                    <a:moveTo>
                      <a:pt x="12181" y="549"/>
                    </a:moveTo>
                    <a:cubicBezTo>
                      <a:pt x="7397" y="-1185"/>
                      <a:pt x="2194" y="1327"/>
                      <a:pt x="519" y="6111"/>
                    </a:cubicBezTo>
                    <a:cubicBezTo>
                      <a:pt x="-1156" y="10896"/>
                      <a:pt x="1356" y="16159"/>
                      <a:pt x="6141" y="17894"/>
                    </a:cubicBezTo>
                    <a:cubicBezTo>
                      <a:pt x="10925" y="19628"/>
                      <a:pt x="16128" y="17116"/>
                      <a:pt x="17803" y="12331"/>
                    </a:cubicBezTo>
                    <a:cubicBezTo>
                      <a:pt x="19418" y="7547"/>
                      <a:pt x="16906" y="2224"/>
                      <a:pt x="12181" y="549"/>
                    </a:cubicBezTo>
                    <a:close/>
                  </a:path>
                </a:pathLst>
              </a:custGeom>
              <a:grpFill/>
              <a:ln w="5978" cap="flat">
                <a:noFill/>
                <a:prstDash val="solid"/>
                <a:miter/>
              </a:ln>
            </p:spPr>
            <p:txBody>
              <a:bodyPr rtlCol="0" anchor="ctr"/>
              <a:lstStyle/>
              <a:p>
                <a:endParaRPr lang="en-GB"/>
              </a:p>
            </p:txBody>
          </p:sp>
        </p:grpSp>
        <p:grpSp>
          <p:nvGrpSpPr>
            <p:cNvPr id="1087" name="Graphic 3">
              <a:extLst>
                <a:ext uri="{FF2B5EF4-FFF2-40B4-BE49-F238E27FC236}">
                  <a16:creationId xmlns:a16="http://schemas.microsoft.com/office/drawing/2014/main" id="{7404DECD-456F-4FC0-80B5-33F1985623B2}"/>
                </a:ext>
              </a:extLst>
            </p:cNvPr>
            <p:cNvGrpSpPr/>
            <p:nvPr/>
          </p:nvGrpSpPr>
          <p:grpSpPr>
            <a:xfrm>
              <a:off x="4261362" y="3242626"/>
              <a:ext cx="129436" cy="28730"/>
              <a:chOff x="4261362" y="3242626"/>
              <a:chExt cx="129436" cy="28730"/>
            </a:xfrm>
            <a:grpFill/>
          </p:grpSpPr>
          <p:sp>
            <p:nvSpPr>
              <p:cNvPr id="2139" name="Vrije vorm: vorm 2138">
                <a:extLst>
                  <a:ext uri="{FF2B5EF4-FFF2-40B4-BE49-F238E27FC236}">
                    <a16:creationId xmlns:a16="http://schemas.microsoft.com/office/drawing/2014/main" id="{9AE70204-ACEA-4F12-82DE-8F91FC673EE5}"/>
                  </a:ext>
                </a:extLst>
              </p:cNvPr>
              <p:cNvSpPr/>
              <p:nvPr/>
            </p:nvSpPr>
            <p:spPr>
              <a:xfrm>
                <a:off x="4269896" y="3250263"/>
                <a:ext cx="112378" cy="13456"/>
              </a:xfrm>
              <a:custGeom>
                <a:avLst/>
                <a:gdLst>
                  <a:gd name="connsiteX0" fmla="*/ 112378 w 112378"/>
                  <a:gd name="connsiteY0" fmla="*/ 10406 h 13456"/>
                  <a:gd name="connsiteX1" fmla="*/ 112079 w 112378"/>
                  <a:gd name="connsiteY1" fmla="*/ 13457 h 13456"/>
                  <a:gd name="connsiteX2" fmla="*/ 0 w 112378"/>
                  <a:gd name="connsiteY2" fmla="*/ 3050 h 13456"/>
                  <a:gd name="connsiteX3" fmla="*/ 299 w 112378"/>
                  <a:gd name="connsiteY3" fmla="*/ 0 h 13456"/>
                </a:gdLst>
                <a:ahLst/>
                <a:cxnLst>
                  <a:cxn ang="0">
                    <a:pos x="connsiteX0" y="connsiteY0"/>
                  </a:cxn>
                  <a:cxn ang="0">
                    <a:pos x="connsiteX1" y="connsiteY1"/>
                  </a:cxn>
                  <a:cxn ang="0">
                    <a:pos x="connsiteX2" y="connsiteY2"/>
                  </a:cxn>
                  <a:cxn ang="0">
                    <a:pos x="connsiteX3" y="connsiteY3"/>
                  </a:cxn>
                </a:cxnLst>
                <a:rect l="l" t="t" r="r" b="b"/>
                <a:pathLst>
                  <a:path w="112378" h="13456">
                    <a:moveTo>
                      <a:pt x="112378" y="10406"/>
                    </a:moveTo>
                    <a:lnTo>
                      <a:pt x="112079" y="13457"/>
                    </a:lnTo>
                    <a:lnTo>
                      <a:pt x="0" y="3050"/>
                    </a:lnTo>
                    <a:lnTo>
                      <a:pt x="299" y="0"/>
                    </a:lnTo>
                    <a:close/>
                  </a:path>
                </a:pathLst>
              </a:custGeom>
              <a:grpFill/>
              <a:ln w="5978" cap="flat">
                <a:noFill/>
                <a:prstDash val="solid"/>
                <a:miter/>
              </a:ln>
            </p:spPr>
            <p:txBody>
              <a:bodyPr rtlCol="0" anchor="ctr"/>
              <a:lstStyle/>
              <a:p>
                <a:endParaRPr lang="en-GB"/>
              </a:p>
            </p:txBody>
          </p:sp>
          <p:sp>
            <p:nvSpPr>
              <p:cNvPr id="2140" name="Vrije vorm: vorm 2139">
                <a:extLst>
                  <a:ext uri="{FF2B5EF4-FFF2-40B4-BE49-F238E27FC236}">
                    <a16:creationId xmlns:a16="http://schemas.microsoft.com/office/drawing/2014/main" id="{4E4327DE-B4E0-49B4-8555-08DB402B7E83}"/>
                  </a:ext>
                </a:extLst>
              </p:cNvPr>
              <p:cNvSpPr/>
              <p:nvPr/>
            </p:nvSpPr>
            <p:spPr>
              <a:xfrm>
                <a:off x="4261362" y="3242626"/>
                <a:ext cx="18323" cy="18434"/>
              </a:xfrm>
              <a:custGeom>
                <a:avLst/>
                <a:gdLst>
                  <a:gd name="connsiteX0" fmla="*/ 8354 w 18323"/>
                  <a:gd name="connsiteY0" fmla="*/ 18402 h 18434"/>
                  <a:gd name="connsiteX1" fmla="*/ 41 w 18323"/>
                  <a:gd name="connsiteY1" fmla="*/ 8355 h 18434"/>
                  <a:gd name="connsiteX2" fmla="*/ 9969 w 18323"/>
                  <a:gd name="connsiteY2" fmla="*/ 42 h 18434"/>
                  <a:gd name="connsiteX3" fmla="*/ 18282 w 18323"/>
                  <a:gd name="connsiteY3" fmla="*/ 10089 h 18434"/>
                  <a:gd name="connsiteX4" fmla="*/ 8354 w 18323"/>
                  <a:gd name="connsiteY4" fmla="*/ 18402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4">
                    <a:moveTo>
                      <a:pt x="8354" y="18402"/>
                    </a:moveTo>
                    <a:cubicBezTo>
                      <a:pt x="3330" y="17924"/>
                      <a:pt x="-438" y="13438"/>
                      <a:pt x="41" y="8355"/>
                    </a:cubicBezTo>
                    <a:cubicBezTo>
                      <a:pt x="460" y="3271"/>
                      <a:pt x="4945" y="-437"/>
                      <a:pt x="9969" y="42"/>
                    </a:cubicBezTo>
                    <a:cubicBezTo>
                      <a:pt x="14993" y="520"/>
                      <a:pt x="18761" y="5005"/>
                      <a:pt x="18282" y="10089"/>
                    </a:cubicBezTo>
                    <a:cubicBezTo>
                      <a:pt x="17804" y="15113"/>
                      <a:pt x="13378" y="18821"/>
                      <a:pt x="8354" y="18402"/>
                    </a:cubicBezTo>
                    <a:close/>
                  </a:path>
                </a:pathLst>
              </a:custGeom>
              <a:grpFill/>
              <a:ln w="5978" cap="flat">
                <a:noFill/>
                <a:prstDash val="solid"/>
                <a:miter/>
              </a:ln>
            </p:spPr>
            <p:txBody>
              <a:bodyPr rtlCol="0" anchor="ctr"/>
              <a:lstStyle/>
              <a:p>
                <a:endParaRPr lang="en-GB"/>
              </a:p>
            </p:txBody>
          </p:sp>
          <p:sp>
            <p:nvSpPr>
              <p:cNvPr id="2141" name="Vrije vorm: vorm 2140">
                <a:extLst>
                  <a:ext uri="{FF2B5EF4-FFF2-40B4-BE49-F238E27FC236}">
                    <a16:creationId xmlns:a16="http://schemas.microsoft.com/office/drawing/2014/main" id="{CCC4DB8D-BA42-4D82-931E-2F8F48C90D17}"/>
                  </a:ext>
                </a:extLst>
              </p:cNvPr>
              <p:cNvSpPr/>
              <p:nvPr/>
            </p:nvSpPr>
            <p:spPr>
              <a:xfrm>
                <a:off x="4372493" y="3252914"/>
                <a:ext cx="18305" cy="18442"/>
              </a:xfrm>
              <a:custGeom>
                <a:avLst/>
                <a:gdLst>
                  <a:gd name="connsiteX0" fmla="*/ 8345 w 18305"/>
                  <a:gd name="connsiteY0" fmla="*/ 18402 h 18442"/>
                  <a:gd name="connsiteX1" fmla="*/ 18273 w 18305"/>
                  <a:gd name="connsiteY1" fmla="*/ 10089 h 18442"/>
                  <a:gd name="connsiteX2" fmla="*/ 9960 w 18305"/>
                  <a:gd name="connsiteY2" fmla="*/ 41 h 18442"/>
                  <a:gd name="connsiteX3" fmla="*/ 32 w 18305"/>
                  <a:gd name="connsiteY3" fmla="*/ 8354 h 18442"/>
                  <a:gd name="connsiteX4" fmla="*/ 8345 w 18305"/>
                  <a:gd name="connsiteY4" fmla="*/ 18402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42">
                    <a:moveTo>
                      <a:pt x="8345" y="18402"/>
                    </a:moveTo>
                    <a:cubicBezTo>
                      <a:pt x="13369" y="18880"/>
                      <a:pt x="17855" y="15112"/>
                      <a:pt x="18273" y="10089"/>
                    </a:cubicBezTo>
                    <a:cubicBezTo>
                      <a:pt x="18692" y="5005"/>
                      <a:pt x="14984" y="519"/>
                      <a:pt x="9960" y="41"/>
                    </a:cubicBezTo>
                    <a:cubicBezTo>
                      <a:pt x="4936" y="-438"/>
                      <a:pt x="451" y="3330"/>
                      <a:pt x="32" y="8354"/>
                    </a:cubicBezTo>
                    <a:cubicBezTo>
                      <a:pt x="-386" y="13438"/>
                      <a:pt x="3322" y="17923"/>
                      <a:pt x="8345" y="18402"/>
                    </a:cubicBezTo>
                    <a:close/>
                  </a:path>
                </a:pathLst>
              </a:custGeom>
              <a:grpFill/>
              <a:ln w="5978" cap="flat">
                <a:noFill/>
                <a:prstDash val="solid"/>
                <a:miter/>
              </a:ln>
            </p:spPr>
            <p:txBody>
              <a:bodyPr rtlCol="0" anchor="ctr"/>
              <a:lstStyle/>
              <a:p>
                <a:endParaRPr lang="en-GB"/>
              </a:p>
            </p:txBody>
          </p:sp>
        </p:grpSp>
        <p:grpSp>
          <p:nvGrpSpPr>
            <p:cNvPr id="1088" name="Graphic 3">
              <a:extLst>
                <a:ext uri="{FF2B5EF4-FFF2-40B4-BE49-F238E27FC236}">
                  <a16:creationId xmlns:a16="http://schemas.microsoft.com/office/drawing/2014/main" id="{6C50D310-3A73-410C-8B58-C1D1C1958813}"/>
                </a:ext>
              </a:extLst>
            </p:cNvPr>
            <p:cNvGrpSpPr/>
            <p:nvPr/>
          </p:nvGrpSpPr>
          <p:grpSpPr>
            <a:xfrm>
              <a:off x="4817558" y="4812889"/>
              <a:ext cx="91311" cy="107148"/>
              <a:chOff x="4817558" y="4812889"/>
              <a:chExt cx="91311" cy="107148"/>
            </a:xfrm>
            <a:grpFill/>
          </p:grpSpPr>
          <p:sp>
            <p:nvSpPr>
              <p:cNvPr id="2136" name="Vrije vorm: vorm 2135">
                <a:extLst>
                  <a:ext uri="{FF2B5EF4-FFF2-40B4-BE49-F238E27FC236}">
                    <a16:creationId xmlns:a16="http://schemas.microsoft.com/office/drawing/2014/main" id="{128BF765-2543-4A37-8EED-7AC3E9033FF6}"/>
                  </a:ext>
                </a:extLst>
              </p:cNvPr>
              <p:cNvSpPr/>
              <p:nvPr/>
            </p:nvSpPr>
            <p:spPr>
              <a:xfrm>
                <a:off x="4825266" y="4820741"/>
                <a:ext cx="75955" cy="91445"/>
              </a:xfrm>
              <a:custGeom>
                <a:avLst/>
                <a:gdLst>
                  <a:gd name="connsiteX0" fmla="*/ 75955 w 75955"/>
                  <a:gd name="connsiteY0" fmla="*/ 1973 h 91445"/>
                  <a:gd name="connsiteX1" fmla="*/ 2392 w 75955"/>
                  <a:gd name="connsiteY1" fmla="*/ 91445 h 91445"/>
                  <a:gd name="connsiteX2" fmla="*/ 0 w 75955"/>
                  <a:gd name="connsiteY2" fmla="*/ 89471 h 91445"/>
                  <a:gd name="connsiteX3" fmla="*/ 73563 w 75955"/>
                  <a:gd name="connsiteY3" fmla="*/ 0 h 91445"/>
                </a:gdLst>
                <a:ahLst/>
                <a:cxnLst>
                  <a:cxn ang="0">
                    <a:pos x="connsiteX0" y="connsiteY0"/>
                  </a:cxn>
                  <a:cxn ang="0">
                    <a:pos x="connsiteX1" y="connsiteY1"/>
                  </a:cxn>
                  <a:cxn ang="0">
                    <a:pos x="connsiteX2" y="connsiteY2"/>
                  </a:cxn>
                  <a:cxn ang="0">
                    <a:pos x="connsiteX3" y="connsiteY3"/>
                  </a:cxn>
                </a:cxnLst>
                <a:rect l="l" t="t" r="r" b="b"/>
                <a:pathLst>
                  <a:path w="75955" h="91445">
                    <a:moveTo>
                      <a:pt x="75955" y="1973"/>
                    </a:moveTo>
                    <a:lnTo>
                      <a:pt x="2392" y="91445"/>
                    </a:lnTo>
                    <a:lnTo>
                      <a:pt x="0" y="89471"/>
                    </a:lnTo>
                    <a:lnTo>
                      <a:pt x="73563" y="0"/>
                    </a:lnTo>
                    <a:close/>
                  </a:path>
                </a:pathLst>
              </a:custGeom>
              <a:grpFill/>
              <a:ln w="5978" cap="flat">
                <a:noFill/>
                <a:prstDash val="solid"/>
                <a:miter/>
              </a:ln>
            </p:spPr>
            <p:txBody>
              <a:bodyPr rtlCol="0" anchor="ctr"/>
              <a:lstStyle/>
              <a:p>
                <a:endParaRPr lang="en-GB"/>
              </a:p>
            </p:txBody>
          </p:sp>
          <p:sp>
            <p:nvSpPr>
              <p:cNvPr id="2137" name="Vrije vorm: vorm 2136">
                <a:extLst>
                  <a:ext uri="{FF2B5EF4-FFF2-40B4-BE49-F238E27FC236}">
                    <a16:creationId xmlns:a16="http://schemas.microsoft.com/office/drawing/2014/main" id="{3AEC0BE2-3E94-4D9D-B2E2-6205329AC280}"/>
                  </a:ext>
                </a:extLst>
              </p:cNvPr>
              <p:cNvSpPr/>
              <p:nvPr/>
            </p:nvSpPr>
            <p:spPr>
              <a:xfrm>
                <a:off x="4817558" y="4901643"/>
                <a:ext cx="18346" cy="18394"/>
              </a:xfrm>
              <a:custGeom>
                <a:avLst/>
                <a:gdLst>
                  <a:gd name="connsiteX0" fmla="*/ 16261 w 18346"/>
                  <a:gd name="connsiteY0" fmla="*/ 15089 h 18394"/>
                  <a:gd name="connsiteX1" fmla="*/ 3342 w 18346"/>
                  <a:gd name="connsiteY1" fmla="*/ 16285 h 18394"/>
                  <a:gd name="connsiteX2" fmla="*/ 2086 w 18346"/>
                  <a:gd name="connsiteY2" fmla="*/ 3306 h 18394"/>
                  <a:gd name="connsiteX3" fmla="*/ 15005 w 18346"/>
                  <a:gd name="connsiteY3" fmla="*/ 2111 h 18394"/>
                  <a:gd name="connsiteX4" fmla="*/ 16261 w 18346"/>
                  <a:gd name="connsiteY4" fmla="*/ 1508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4">
                    <a:moveTo>
                      <a:pt x="16261" y="15089"/>
                    </a:moveTo>
                    <a:cubicBezTo>
                      <a:pt x="13031" y="18976"/>
                      <a:pt x="7290" y="19514"/>
                      <a:pt x="3342" y="16285"/>
                    </a:cubicBezTo>
                    <a:cubicBezTo>
                      <a:pt x="-546" y="13055"/>
                      <a:pt x="-1143" y="7254"/>
                      <a:pt x="2086" y="3306"/>
                    </a:cubicBezTo>
                    <a:cubicBezTo>
                      <a:pt x="5316" y="-581"/>
                      <a:pt x="11057" y="-1119"/>
                      <a:pt x="15005" y="2111"/>
                    </a:cubicBezTo>
                    <a:cubicBezTo>
                      <a:pt x="18892" y="5340"/>
                      <a:pt x="19490" y="11141"/>
                      <a:pt x="16261" y="15089"/>
                    </a:cubicBezTo>
                    <a:close/>
                  </a:path>
                </a:pathLst>
              </a:custGeom>
              <a:grpFill/>
              <a:ln w="5978" cap="flat">
                <a:noFill/>
                <a:prstDash val="solid"/>
                <a:miter/>
              </a:ln>
            </p:spPr>
            <p:txBody>
              <a:bodyPr rtlCol="0" anchor="ctr"/>
              <a:lstStyle/>
              <a:p>
                <a:endParaRPr lang="en-GB"/>
              </a:p>
            </p:txBody>
          </p:sp>
          <p:sp>
            <p:nvSpPr>
              <p:cNvPr id="2138" name="Vrije vorm: vorm 2137">
                <a:extLst>
                  <a:ext uri="{FF2B5EF4-FFF2-40B4-BE49-F238E27FC236}">
                    <a16:creationId xmlns:a16="http://schemas.microsoft.com/office/drawing/2014/main" id="{9EB9F1A7-D23F-45C0-A23C-DAE15EDCCFBE}"/>
                  </a:ext>
                </a:extLst>
              </p:cNvPr>
              <p:cNvSpPr/>
              <p:nvPr/>
            </p:nvSpPr>
            <p:spPr>
              <a:xfrm>
                <a:off x="4890503" y="4812889"/>
                <a:ext cx="18365" cy="18394"/>
              </a:xfrm>
              <a:custGeom>
                <a:avLst/>
                <a:gdLst>
                  <a:gd name="connsiteX0" fmla="*/ 16280 w 18365"/>
                  <a:gd name="connsiteY0" fmla="*/ 15088 h 18394"/>
                  <a:gd name="connsiteX1" fmla="*/ 15024 w 18365"/>
                  <a:gd name="connsiteY1" fmla="*/ 2110 h 18394"/>
                  <a:gd name="connsiteX2" fmla="*/ 2105 w 18365"/>
                  <a:gd name="connsiteY2" fmla="*/ 3307 h 18394"/>
                  <a:gd name="connsiteX3" fmla="*/ 3361 w 18365"/>
                  <a:gd name="connsiteY3" fmla="*/ 16285 h 18394"/>
                  <a:gd name="connsiteX4" fmla="*/ 16280 w 18365"/>
                  <a:gd name="connsiteY4" fmla="*/ 15088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4">
                    <a:moveTo>
                      <a:pt x="16280" y="15088"/>
                    </a:moveTo>
                    <a:cubicBezTo>
                      <a:pt x="19509" y="11201"/>
                      <a:pt x="18911" y="5340"/>
                      <a:pt x="15024" y="2110"/>
                    </a:cubicBezTo>
                    <a:cubicBezTo>
                      <a:pt x="11136" y="-1119"/>
                      <a:pt x="5335" y="-581"/>
                      <a:pt x="2105" y="3307"/>
                    </a:cubicBezTo>
                    <a:cubicBezTo>
                      <a:pt x="-1124" y="7194"/>
                      <a:pt x="-586" y="13055"/>
                      <a:pt x="3361" y="16285"/>
                    </a:cubicBezTo>
                    <a:cubicBezTo>
                      <a:pt x="7308" y="19514"/>
                      <a:pt x="13110" y="18976"/>
                      <a:pt x="16280" y="15088"/>
                    </a:cubicBezTo>
                    <a:close/>
                  </a:path>
                </a:pathLst>
              </a:custGeom>
              <a:grpFill/>
              <a:ln w="5978" cap="flat">
                <a:noFill/>
                <a:prstDash val="solid"/>
                <a:miter/>
              </a:ln>
            </p:spPr>
            <p:txBody>
              <a:bodyPr rtlCol="0" anchor="ctr"/>
              <a:lstStyle/>
              <a:p>
                <a:endParaRPr lang="en-GB"/>
              </a:p>
            </p:txBody>
          </p:sp>
        </p:grpSp>
        <p:grpSp>
          <p:nvGrpSpPr>
            <p:cNvPr id="1089" name="Graphic 3">
              <a:extLst>
                <a:ext uri="{FF2B5EF4-FFF2-40B4-BE49-F238E27FC236}">
                  <a16:creationId xmlns:a16="http://schemas.microsoft.com/office/drawing/2014/main" id="{F021E75D-957A-45EB-BEC9-FBEC9AAF00AE}"/>
                </a:ext>
              </a:extLst>
            </p:cNvPr>
            <p:cNvGrpSpPr/>
            <p:nvPr/>
          </p:nvGrpSpPr>
          <p:grpSpPr>
            <a:xfrm>
              <a:off x="4749004" y="4630793"/>
              <a:ext cx="101171" cy="101911"/>
              <a:chOff x="4749004" y="4630793"/>
              <a:chExt cx="101171" cy="101911"/>
            </a:xfrm>
            <a:grpFill/>
          </p:grpSpPr>
          <p:sp>
            <p:nvSpPr>
              <p:cNvPr id="2133" name="Vrije vorm: vorm 2132">
                <a:extLst>
                  <a:ext uri="{FF2B5EF4-FFF2-40B4-BE49-F238E27FC236}">
                    <a16:creationId xmlns:a16="http://schemas.microsoft.com/office/drawing/2014/main" id="{8B2B3518-0994-4959-96EC-93FB4BF62047}"/>
                  </a:ext>
                </a:extLst>
              </p:cNvPr>
              <p:cNvSpPr/>
              <p:nvPr/>
            </p:nvSpPr>
            <p:spPr>
              <a:xfrm>
                <a:off x="4756727" y="4638628"/>
                <a:ext cx="85703" cy="86301"/>
              </a:xfrm>
              <a:custGeom>
                <a:avLst/>
                <a:gdLst>
                  <a:gd name="connsiteX0" fmla="*/ 85703 w 85703"/>
                  <a:gd name="connsiteY0" fmla="*/ 2153 h 86301"/>
                  <a:gd name="connsiteX1" fmla="*/ 2213 w 85703"/>
                  <a:gd name="connsiteY1" fmla="*/ 86302 h 86301"/>
                  <a:gd name="connsiteX2" fmla="*/ 0 w 85703"/>
                  <a:gd name="connsiteY2" fmla="*/ 84089 h 86301"/>
                  <a:gd name="connsiteX3" fmla="*/ 83551 w 85703"/>
                  <a:gd name="connsiteY3" fmla="*/ 0 h 86301"/>
                </a:gdLst>
                <a:ahLst/>
                <a:cxnLst>
                  <a:cxn ang="0">
                    <a:pos x="connsiteX0" y="connsiteY0"/>
                  </a:cxn>
                  <a:cxn ang="0">
                    <a:pos x="connsiteX1" y="connsiteY1"/>
                  </a:cxn>
                  <a:cxn ang="0">
                    <a:pos x="connsiteX2" y="connsiteY2"/>
                  </a:cxn>
                  <a:cxn ang="0">
                    <a:pos x="connsiteX3" y="connsiteY3"/>
                  </a:cxn>
                </a:cxnLst>
                <a:rect l="l" t="t" r="r" b="b"/>
                <a:pathLst>
                  <a:path w="85703" h="86301">
                    <a:moveTo>
                      <a:pt x="85703" y="2153"/>
                    </a:moveTo>
                    <a:lnTo>
                      <a:pt x="2213" y="86302"/>
                    </a:lnTo>
                    <a:lnTo>
                      <a:pt x="0" y="84089"/>
                    </a:lnTo>
                    <a:lnTo>
                      <a:pt x="83551" y="0"/>
                    </a:lnTo>
                    <a:close/>
                  </a:path>
                </a:pathLst>
              </a:custGeom>
              <a:grpFill/>
              <a:ln w="5978" cap="flat">
                <a:noFill/>
                <a:prstDash val="solid"/>
                <a:miter/>
              </a:ln>
            </p:spPr>
            <p:txBody>
              <a:bodyPr rtlCol="0" anchor="ctr"/>
              <a:lstStyle/>
              <a:p>
                <a:endParaRPr lang="en-GB"/>
              </a:p>
            </p:txBody>
          </p:sp>
          <p:sp>
            <p:nvSpPr>
              <p:cNvPr id="2134" name="Vrije vorm: vorm 2133">
                <a:extLst>
                  <a:ext uri="{FF2B5EF4-FFF2-40B4-BE49-F238E27FC236}">
                    <a16:creationId xmlns:a16="http://schemas.microsoft.com/office/drawing/2014/main" id="{C6126C21-7C4B-423B-8FA6-6CF8B8826E72}"/>
                  </a:ext>
                </a:extLst>
              </p:cNvPr>
              <p:cNvSpPr/>
              <p:nvPr/>
            </p:nvSpPr>
            <p:spPr>
              <a:xfrm>
                <a:off x="4749004" y="4714284"/>
                <a:ext cx="18316" cy="18420"/>
              </a:xfrm>
              <a:custGeom>
                <a:avLst/>
                <a:gdLst>
                  <a:gd name="connsiteX0" fmla="*/ 15677 w 18316"/>
                  <a:gd name="connsiteY0" fmla="*/ 15729 h 18420"/>
                  <a:gd name="connsiteX1" fmla="*/ 2699 w 18316"/>
                  <a:gd name="connsiteY1" fmla="*/ 15729 h 18420"/>
                  <a:gd name="connsiteX2" fmla="*/ 2639 w 18316"/>
                  <a:gd name="connsiteY2" fmla="*/ 2691 h 18420"/>
                  <a:gd name="connsiteX3" fmla="*/ 15617 w 18316"/>
                  <a:gd name="connsiteY3" fmla="*/ 2691 h 18420"/>
                  <a:gd name="connsiteX4" fmla="*/ 15677 w 18316"/>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20">
                    <a:moveTo>
                      <a:pt x="15677" y="15729"/>
                    </a:moveTo>
                    <a:cubicBezTo>
                      <a:pt x="12089" y="19318"/>
                      <a:pt x="6287" y="19318"/>
                      <a:pt x="2699" y="15729"/>
                    </a:cubicBezTo>
                    <a:cubicBezTo>
                      <a:pt x="-890" y="12141"/>
                      <a:pt x="-890" y="6280"/>
                      <a:pt x="2639" y="2691"/>
                    </a:cubicBezTo>
                    <a:cubicBezTo>
                      <a:pt x="6228" y="-897"/>
                      <a:pt x="12029" y="-897"/>
                      <a:pt x="15617" y="2691"/>
                    </a:cubicBezTo>
                    <a:cubicBezTo>
                      <a:pt x="19206" y="6280"/>
                      <a:pt x="19206" y="12141"/>
                      <a:pt x="15677" y="15729"/>
                    </a:cubicBezTo>
                    <a:close/>
                  </a:path>
                </a:pathLst>
              </a:custGeom>
              <a:grpFill/>
              <a:ln w="5978" cap="flat">
                <a:noFill/>
                <a:prstDash val="solid"/>
                <a:miter/>
              </a:ln>
            </p:spPr>
            <p:txBody>
              <a:bodyPr rtlCol="0" anchor="ctr"/>
              <a:lstStyle/>
              <a:p>
                <a:endParaRPr lang="en-GB"/>
              </a:p>
            </p:txBody>
          </p:sp>
          <p:sp>
            <p:nvSpPr>
              <p:cNvPr id="2135" name="Vrije vorm: vorm 2134">
                <a:extLst>
                  <a:ext uri="{FF2B5EF4-FFF2-40B4-BE49-F238E27FC236}">
                    <a16:creationId xmlns:a16="http://schemas.microsoft.com/office/drawing/2014/main" id="{23ED7160-0336-4E90-99F3-7B00177A9EF7}"/>
                  </a:ext>
                </a:extLst>
              </p:cNvPr>
              <p:cNvSpPr/>
              <p:nvPr/>
            </p:nvSpPr>
            <p:spPr>
              <a:xfrm>
                <a:off x="4831815" y="4630793"/>
                <a:ext cx="18361" cy="18420"/>
              </a:xfrm>
              <a:custGeom>
                <a:avLst/>
                <a:gdLst>
                  <a:gd name="connsiteX0" fmla="*/ 15700 w 18361"/>
                  <a:gd name="connsiteY0" fmla="*/ 15729 h 18420"/>
                  <a:gd name="connsiteX1" fmla="*/ 15640 w 18361"/>
                  <a:gd name="connsiteY1" fmla="*/ 2691 h 18420"/>
                  <a:gd name="connsiteX2" fmla="*/ 2662 w 18361"/>
                  <a:gd name="connsiteY2" fmla="*/ 2691 h 18420"/>
                  <a:gd name="connsiteX3" fmla="*/ 2722 w 18361"/>
                  <a:gd name="connsiteY3" fmla="*/ 15729 h 18420"/>
                  <a:gd name="connsiteX4" fmla="*/ 15700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700" y="15729"/>
                    </a:moveTo>
                    <a:cubicBezTo>
                      <a:pt x="19288" y="12141"/>
                      <a:pt x="19228" y="6280"/>
                      <a:pt x="15640" y="2691"/>
                    </a:cubicBezTo>
                    <a:cubicBezTo>
                      <a:pt x="12052" y="-897"/>
                      <a:pt x="6250" y="-897"/>
                      <a:pt x="2662" y="2691"/>
                    </a:cubicBezTo>
                    <a:cubicBezTo>
                      <a:pt x="-927" y="6280"/>
                      <a:pt x="-867" y="12141"/>
                      <a:pt x="2722" y="15729"/>
                    </a:cubicBezTo>
                    <a:cubicBezTo>
                      <a:pt x="6370" y="19318"/>
                      <a:pt x="12171" y="19318"/>
                      <a:pt x="15700" y="15729"/>
                    </a:cubicBezTo>
                    <a:close/>
                  </a:path>
                </a:pathLst>
              </a:custGeom>
              <a:grpFill/>
              <a:ln w="5978" cap="flat">
                <a:noFill/>
                <a:prstDash val="solid"/>
                <a:miter/>
              </a:ln>
            </p:spPr>
            <p:txBody>
              <a:bodyPr rtlCol="0" anchor="ctr"/>
              <a:lstStyle/>
              <a:p>
                <a:endParaRPr lang="en-GB"/>
              </a:p>
            </p:txBody>
          </p:sp>
        </p:grpSp>
        <p:grpSp>
          <p:nvGrpSpPr>
            <p:cNvPr id="1090" name="Graphic 3">
              <a:extLst>
                <a:ext uri="{FF2B5EF4-FFF2-40B4-BE49-F238E27FC236}">
                  <a16:creationId xmlns:a16="http://schemas.microsoft.com/office/drawing/2014/main" id="{5387E12D-0228-4747-B9B4-E68934639834}"/>
                </a:ext>
              </a:extLst>
            </p:cNvPr>
            <p:cNvGrpSpPr/>
            <p:nvPr/>
          </p:nvGrpSpPr>
          <p:grpSpPr>
            <a:xfrm>
              <a:off x="4721304" y="4485210"/>
              <a:ext cx="51827" cy="46434"/>
              <a:chOff x="4721304" y="4485210"/>
              <a:chExt cx="51827" cy="46434"/>
            </a:xfrm>
            <a:grpFill/>
          </p:grpSpPr>
          <p:sp>
            <p:nvSpPr>
              <p:cNvPr id="2130" name="Vrije vorm: vorm 2129">
                <a:extLst>
                  <a:ext uri="{FF2B5EF4-FFF2-40B4-BE49-F238E27FC236}">
                    <a16:creationId xmlns:a16="http://schemas.microsoft.com/office/drawing/2014/main" id="{455F8C9C-55DC-45EC-9FE1-92A7A95A99D5}"/>
                  </a:ext>
                </a:extLst>
              </p:cNvPr>
              <p:cNvSpPr/>
              <p:nvPr/>
            </p:nvSpPr>
            <p:spPr>
              <a:xfrm>
                <a:off x="4729156" y="4492997"/>
                <a:ext cx="36183" cy="30920"/>
              </a:xfrm>
              <a:custGeom>
                <a:avLst/>
                <a:gdLst>
                  <a:gd name="connsiteX0" fmla="*/ 36183 w 36183"/>
                  <a:gd name="connsiteY0" fmla="*/ 2333 h 30920"/>
                  <a:gd name="connsiteX1" fmla="*/ 1914 w 36183"/>
                  <a:gd name="connsiteY1" fmla="*/ 30921 h 30920"/>
                  <a:gd name="connsiteX2" fmla="*/ 0 w 36183"/>
                  <a:gd name="connsiteY2" fmla="*/ 28528 h 30920"/>
                  <a:gd name="connsiteX3" fmla="*/ 34210 w 36183"/>
                  <a:gd name="connsiteY3" fmla="*/ 0 h 30920"/>
                </a:gdLst>
                <a:ahLst/>
                <a:cxnLst>
                  <a:cxn ang="0">
                    <a:pos x="connsiteX0" y="connsiteY0"/>
                  </a:cxn>
                  <a:cxn ang="0">
                    <a:pos x="connsiteX1" y="connsiteY1"/>
                  </a:cxn>
                  <a:cxn ang="0">
                    <a:pos x="connsiteX2" y="connsiteY2"/>
                  </a:cxn>
                  <a:cxn ang="0">
                    <a:pos x="connsiteX3" y="connsiteY3"/>
                  </a:cxn>
                </a:cxnLst>
                <a:rect l="l" t="t" r="r" b="b"/>
                <a:pathLst>
                  <a:path w="36183" h="30920">
                    <a:moveTo>
                      <a:pt x="36183" y="2333"/>
                    </a:moveTo>
                    <a:lnTo>
                      <a:pt x="1914" y="30921"/>
                    </a:lnTo>
                    <a:lnTo>
                      <a:pt x="0" y="28528"/>
                    </a:lnTo>
                    <a:lnTo>
                      <a:pt x="34210" y="0"/>
                    </a:lnTo>
                    <a:close/>
                  </a:path>
                </a:pathLst>
              </a:custGeom>
              <a:grpFill/>
              <a:ln w="5978" cap="flat">
                <a:noFill/>
                <a:prstDash val="solid"/>
                <a:miter/>
              </a:ln>
            </p:spPr>
            <p:txBody>
              <a:bodyPr rtlCol="0" anchor="ctr"/>
              <a:lstStyle/>
              <a:p>
                <a:endParaRPr lang="en-GB"/>
              </a:p>
            </p:txBody>
          </p:sp>
          <p:sp>
            <p:nvSpPr>
              <p:cNvPr id="2131" name="Vrije vorm: vorm 2130">
                <a:extLst>
                  <a:ext uri="{FF2B5EF4-FFF2-40B4-BE49-F238E27FC236}">
                    <a16:creationId xmlns:a16="http://schemas.microsoft.com/office/drawing/2014/main" id="{258D3FEA-E17C-42EF-95D3-451581835E2C}"/>
                  </a:ext>
                </a:extLst>
              </p:cNvPr>
              <p:cNvSpPr/>
              <p:nvPr/>
            </p:nvSpPr>
            <p:spPr>
              <a:xfrm>
                <a:off x="4721304" y="4513200"/>
                <a:ext cx="18335" cy="18444"/>
              </a:xfrm>
              <a:custGeom>
                <a:avLst/>
                <a:gdLst>
                  <a:gd name="connsiteX0" fmla="*/ 15029 w 18335"/>
                  <a:gd name="connsiteY0" fmla="*/ 16340 h 18444"/>
                  <a:gd name="connsiteX1" fmla="*/ 2110 w 18335"/>
                  <a:gd name="connsiteY1" fmla="*/ 15084 h 18444"/>
                  <a:gd name="connsiteX2" fmla="*/ 3307 w 18335"/>
                  <a:gd name="connsiteY2" fmla="*/ 2105 h 18444"/>
                  <a:gd name="connsiteX3" fmla="*/ 16225 w 18335"/>
                  <a:gd name="connsiteY3" fmla="*/ 3361 h 18444"/>
                  <a:gd name="connsiteX4" fmla="*/ 15029 w 18335"/>
                  <a:gd name="connsiteY4" fmla="*/ 163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40"/>
                    </a:moveTo>
                    <a:cubicBezTo>
                      <a:pt x="11141" y="19569"/>
                      <a:pt x="5340" y="19031"/>
                      <a:pt x="2110" y="15084"/>
                    </a:cubicBezTo>
                    <a:cubicBezTo>
                      <a:pt x="-1119" y="11136"/>
                      <a:pt x="-581" y="5335"/>
                      <a:pt x="3307" y="2105"/>
                    </a:cubicBezTo>
                    <a:cubicBezTo>
                      <a:pt x="7194" y="-1124"/>
                      <a:pt x="12995" y="-586"/>
                      <a:pt x="16225" y="3361"/>
                    </a:cubicBezTo>
                    <a:cubicBezTo>
                      <a:pt x="19454" y="7249"/>
                      <a:pt x="18916" y="13110"/>
                      <a:pt x="15029" y="16340"/>
                    </a:cubicBezTo>
                    <a:close/>
                  </a:path>
                </a:pathLst>
              </a:custGeom>
              <a:grpFill/>
              <a:ln w="5978" cap="flat">
                <a:noFill/>
                <a:prstDash val="solid"/>
                <a:miter/>
              </a:ln>
            </p:spPr>
            <p:txBody>
              <a:bodyPr rtlCol="0" anchor="ctr"/>
              <a:lstStyle/>
              <a:p>
                <a:endParaRPr lang="en-GB"/>
              </a:p>
            </p:txBody>
          </p:sp>
          <p:sp>
            <p:nvSpPr>
              <p:cNvPr id="2132" name="Vrije vorm: vorm 2131">
                <a:extLst>
                  <a:ext uri="{FF2B5EF4-FFF2-40B4-BE49-F238E27FC236}">
                    <a16:creationId xmlns:a16="http://schemas.microsoft.com/office/drawing/2014/main" id="{C7338352-825C-4266-A312-E6EA866A13F4}"/>
                  </a:ext>
                </a:extLst>
              </p:cNvPr>
              <p:cNvSpPr/>
              <p:nvPr/>
            </p:nvSpPr>
            <p:spPr>
              <a:xfrm>
                <a:off x="4754796" y="4485210"/>
                <a:ext cx="18335" cy="18444"/>
              </a:xfrm>
              <a:custGeom>
                <a:avLst/>
                <a:gdLst>
                  <a:gd name="connsiteX0" fmla="*/ 15029 w 18335"/>
                  <a:gd name="connsiteY0" fmla="*/ 16340 h 18444"/>
                  <a:gd name="connsiteX1" fmla="*/ 16225 w 18335"/>
                  <a:gd name="connsiteY1" fmla="*/ 3361 h 18444"/>
                  <a:gd name="connsiteX2" fmla="*/ 3307 w 18335"/>
                  <a:gd name="connsiteY2" fmla="*/ 2105 h 18444"/>
                  <a:gd name="connsiteX3" fmla="*/ 2110 w 18335"/>
                  <a:gd name="connsiteY3" fmla="*/ 15084 h 18444"/>
                  <a:gd name="connsiteX4" fmla="*/ 15029 w 18335"/>
                  <a:gd name="connsiteY4" fmla="*/ 16340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40"/>
                    </a:moveTo>
                    <a:cubicBezTo>
                      <a:pt x="18916" y="13110"/>
                      <a:pt x="19455" y="7309"/>
                      <a:pt x="16225" y="3361"/>
                    </a:cubicBezTo>
                    <a:cubicBezTo>
                      <a:pt x="12995" y="-586"/>
                      <a:pt x="7194" y="-1124"/>
                      <a:pt x="3307" y="2105"/>
                    </a:cubicBezTo>
                    <a:cubicBezTo>
                      <a:pt x="-581" y="5335"/>
                      <a:pt x="-1119" y="11136"/>
                      <a:pt x="2110" y="15084"/>
                    </a:cubicBezTo>
                    <a:cubicBezTo>
                      <a:pt x="5400" y="19031"/>
                      <a:pt x="11201" y="19569"/>
                      <a:pt x="15029" y="16340"/>
                    </a:cubicBezTo>
                    <a:close/>
                  </a:path>
                </a:pathLst>
              </a:custGeom>
              <a:grpFill/>
              <a:ln w="5978" cap="flat">
                <a:noFill/>
                <a:prstDash val="solid"/>
                <a:miter/>
              </a:ln>
            </p:spPr>
            <p:txBody>
              <a:bodyPr rtlCol="0" anchor="ctr"/>
              <a:lstStyle/>
              <a:p>
                <a:endParaRPr lang="en-GB"/>
              </a:p>
            </p:txBody>
          </p:sp>
        </p:grpSp>
        <p:grpSp>
          <p:nvGrpSpPr>
            <p:cNvPr id="1091" name="Graphic 3">
              <a:extLst>
                <a:ext uri="{FF2B5EF4-FFF2-40B4-BE49-F238E27FC236}">
                  <a16:creationId xmlns:a16="http://schemas.microsoft.com/office/drawing/2014/main" id="{8BE19AE3-4F04-4171-BDE3-AB129B4EBC73}"/>
                </a:ext>
              </a:extLst>
            </p:cNvPr>
            <p:cNvGrpSpPr/>
            <p:nvPr/>
          </p:nvGrpSpPr>
          <p:grpSpPr>
            <a:xfrm>
              <a:off x="4929893" y="5147150"/>
              <a:ext cx="94686" cy="146266"/>
              <a:chOff x="4929893" y="5147150"/>
              <a:chExt cx="94686" cy="146266"/>
            </a:xfrm>
            <a:grpFill/>
          </p:grpSpPr>
          <p:sp>
            <p:nvSpPr>
              <p:cNvPr id="2127" name="Vrije vorm: vorm 2126">
                <a:extLst>
                  <a:ext uri="{FF2B5EF4-FFF2-40B4-BE49-F238E27FC236}">
                    <a16:creationId xmlns:a16="http://schemas.microsoft.com/office/drawing/2014/main" id="{720CEF0A-2BB3-4FCB-AF06-BF329960B16F}"/>
                  </a:ext>
                </a:extLst>
              </p:cNvPr>
              <p:cNvSpPr/>
              <p:nvPr/>
            </p:nvSpPr>
            <p:spPr>
              <a:xfrm>
                <a:off x="4937524" y="5155183"/>
                <a:ext cx="79483" cy="130200"/>
              </a:xfrm>
              <a:custGeom>
                <a:avLst/>
                <a:gdLst>
                  <a:gd name="connsiteX0" fmla="*/ 79484 w 79483"/>
                  <a:gd name="connsiteY0" fmla="*/ 1615 h 130200"/>
                  <a:gd name="connsiteX1" fmla="*/ 2572 w 79483"/>
                  <a:gd name="connsiteY1" fmla="*/ 130200 h 130200"/>
                  <a:gd name="connsiteX2" fmla="*/ 0 w 79483"/>
                  <a:gd name="connsiteY2" fmla="*/ 128645 h 130200"/>
                  <a:gd name="connsiteX3" fmla="*/ 76852 w 79483"/>
                  <a:gd name="connsiteY3" fmla="*/ 0 h 130200"/>
                </a:gdLst>
                <a:ahLst/>
                <a:cxnLst>
                  <a:cxn ang="0">
                    <a:pos x="connsiteX0" y="connsiteY0"/>
                  </a:cxn>
                  <a:cxn ang="0">
                    <a:pos x="connsiteX1" y="connsiteY1"/>
                  </a:cxn>
                  <a:cxn ang="0">
                    <a:pos x="connsiteX2" y="connsiteY2"/>
                  </a:cxn>
                  <a:cxn ang="0">
                    <a:pos x="connsiteX3" y="connsiteY3"/>
                  </a:cxn>
                </a:cxnLst>
                <a:rect l="l" t="t" r="r" b="b"/>
                <a:pathLst>
                  <a:path w="79483" h="130200">
                    <a:moveTo>
                      <a:pt x="79484" y="1615"/>
                    </a:moveTo>
                    <a:lnTo>
                      <a:pt x="2572" y="130200"/>
                    </a:lnTo>
                    <a:lnTo>
                      <a:pt x="0" y="128645"/>
                    </a:lnTo>
                    <a:lnTo>
                      <a:pt x="76852" y="0"/>
                    </a:lnTo>
                    <a:close/>
                  </a:path>
                </a:pathLst>
              </a:custGeom>
              <a:grpFill/>
              <a:ln w="5978" cap="flat">
                <a:noFill/>
                <a:prstDash val="solid"/>
                <a:miter/>
              </a:ln>
            </p:spPr>
            <p:txBody>
              <a:bodyPr rtlCol="0" anchor="ctr"/>
              <a:lstStyle/>
              <a:p>
                <a:endParaRPr lang="en-GB"/>
              </a:p>
            </p:txBody>
          </p:sp>
          <p:sp>
            <p:nvSpPr>
              <p:cNvPr id="2128" name="Vrije vorm: vorm 2127">
                <a:extLst>
                  <a:ext uri="{FF2B5EF4-FFF2-40B4-BE49-F238E27FC236}">
                    <a16:creationId xmlns:a16="http://schemas.microsoft.com/office/drawing/2014/main" id="{BC307170-8751-4FBE-8564-2EF428DB4BEE}"/>
                  </a:ext>
                </a:extLst>
              </p:cNvPr>
              <p:cNvSpPr/>
              <p:nvPr/>
            </p:nvSpPr>
            <p:spPr>
              <a:xfrm>
                <a:off x="4929893" y="5274958"/>
                <a:ext cx="18312" cy="18458"/>
              </a:xfrm>
              <a:custGeom>
                <a:avLst/>
                <a:gdLst>
                  <a:gd name="connsiteX0" fmla="*/ 17021 w 18312"/>
                  <a:gd name="connsiteY0" fmla="*/ 14014 h 18458"/>
                  <a:gd name="connsiteX1" fmla="*/ 4462 w 18312"/>
                  <a:gd name="connsiteY1" fmla="*/ 17124 h 18458"/>
                  <a:gd name="connsiteX2" fmla="*/ 1292 w 18312"/>
                  <a:gd name="connsiteY2" fmla="*/ 4445 h 18458"/>
                  <a:gd name="connsiteX3" fmla="*/ 13851 w 18312"/>
                  <a:gd name="connsiteY3" fmla="*/ 1335 h 18458"/>
                  <a:gd name="connsiteX4" fmla="*/ 17021 w 18312"/>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8">
                    <a:moveTo>
                      <a:pt x="17021" y="14014"/>
                    </a:moveTo>
                    <a:cubicBezTo>
                      <a:pt x="14449" y="18380"/>
                      <a:pt x="8768" y="19755"/>
                      <a:pt x="4462" y="17124"/>
                    </a:cubicBezTo>
                    <a:cubicBezTo>
                      <a:pt x="96" y="14492"/>
                      <a:pt x="-1280" y="8811"/>
                      <a:pt x="1292" y="4445"/>
                    </a:cubicBezTo>
                    <a:cubicBezTo>
                      <a:pt x="3863" y="79"/>
                      <a:pt x="9545" y="-1297"/>
                      <a:pt x="13851" y="1335"/>
                    </a:cubicBezTo>
                    <a:cubicBezTo>
                      <a:pt x="18217" y="4026"/>
                      <a:pt x="19593" y="9648"/>
                      <a:pt x="17021" y="14014"/>
                    </a:cubicBezTo>
                    <a:close/>
                  </a:path>
                </a:pathLst>
              </a:custGeom>
              <a:grpFill/>
              <a:ln w="5978" cap="flat">
                <a:noFill/>
                <a:prstDash val="solid"/>
                <a:miter/>
              </a:ln>
            </p:spPr>
            <p:txBody>
              <a:bodyPr rtlCol="0" anchor="ctr"/>
              <a:lstStyle/>
              <a:p>
                <a:endParaRPr lang="en-GB"/>
              </a:p>
            </p:txBody>
          </p:sp>
          <p:sp>
            <p:nvSpPr>
              <p:cNvPr id="2129" name="Vrije vorm: vorm 2128">
                <a:extLst>
                  <a:ext uri="{FF2B5EF4-FFF2-40B4-BE49-F238E27FC236}">
                    <a16:creationId xmlns:a16="http://schemas.microsoft.com/office/drawing/2014/main" id="{25750979-3051-4669-BBE0-92B50D307C9A}"/>
                  </a:ext>
                </a:extLst>
              </p:cNvPr>
              <p:cNvSpPr/>
              <p:nvPr/>
            </p:nvSpPr>
            <p:spPr>
              <a:xfrm>
                <a:off x="5006240" y="5147150"/>
                <a:ext cx="18339" cy="18458"/>
              </a:xfrm>
              <a:custGeom>
                <a:avLst/>
                <a:gdLst>
                  <a:gd name="connsiteX0" fmla="*/ 17048 w 18339"/>
                  <a:gd name="connsiteY0" fmla="*/ 14014 h 18458"/>
                  <a:gd name="connsiteX1" fmla="*/ 13878 w 18339"/>
                  <a:gd name="connsiteY1" fmla="*/ 1335 h 18458"/>
                  <a:gd name="connsiteX2" fmla="*/ 1318 w 18339"/>
                  <a:gd name="connsiteY2" fmla="*/ 4444 h 18458"/>
                  <a:gd name="connsiteX3" fmla="*/ 4488 w 18339"/>
                  <a:gd name="connsiteY3" fmla="*/ 17124 h 18458"/>
                  <a:gd name="connsiteX4" fmla="*/ 17048 w 18339"/>
                  <a:gd name="connsiteY4" fmla="*/ 14014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8">
                    <a:moveTo>
                      <a:pt x="17048" y="14014"/>
                    </a:moveTo>
                    <a:cubicBezTo>
                      <a:pt x="19619" y="9648"/>
                      <a:pt x="18244" y="3966"/>
                      <a:pt x="13878" y="1335"/>
                    </a:cubicBezTo>
                    <a:cubicBezTo>
                      <a:pt x="9512" y="-1297"/>
                      <a:pt x="3890" y="79"/>
                      <a:pt x="1318" y="4444"/>
                    </a:cubicBezTo>
                    <a:cubicBezTo>
                      <a:pt x="-1313" y="8811"/>
                      <a:pt x="122" y="14492"/>
                      <a:pt x="4488" y="17124"/>
                    </a:cubicBezTo>
                    <a:cubicBezTo>
                      <a:pt x="8854" y="19755"/>
                      <a:pt x="14476" y="18380"/>
                      <a:pt x="17048" y="14014"/>
                    </a:cubicBezTo>
                    <a:close/>
                  </a:path>
                </a:pathLst>
              </a:custGeom>
              <a:grpFill/>
              <a:ln w="5978" cap="flat">
                <a:noFill/>
                <a:prstDash val="solid"/>
                <a:miter/>
              </a:ln>
            </p:spPr>
            <p:txBody>
              <a:bodyPr rtlCol="0" anchor="ctr"/>
              <a:lstStyle/>
              <a:p>
                <a:endParaRPr lang="en-GB"/>
              </a:p>
            </p:txBody>
          </p:sp>
        </p:grpSp>
        <p:grpSp>
          <p:nvGrpSpPr>
            <p:cNvPr id="1092" name="Graphic 3">
              <a:extLst>
                <a:ext uri="{FF2B5EF4-FFF2-40B4-BE49-F238E27FC236}">
                  <a16:creationId xmlns:a16="http://schemas.microsoft.com/office/drawing/2014/main" id="{2F50E19A-668B-4121-AF6D-12224D91965A}"/>
                </a:ext>
              </a:extLst>
            </p:cNvPr>
            <p:cNvGrpSpPr/>
            <p:nvPr/>
          </p:nvGrpSpPr>
          <p:grpSpPr>
            <a:xfrm>
              <a:off x="4725305" y="4797912"/>
              <a:ext cx="397843" cy="504881"/>
              <a:chOff x="4725305" y="4797912"/>
              <a:chExt cx="397843" cy="504881"/>
            </a:xfrm>
            <a:grpFill/>
          </p:grpSpPr>
          <p:sp>
            <p:nvSpPr>
              <p:cNvPr id="2124" name="Vrije vorm: vorm 2123">
                <a:extLst>
                  <a:ext uri="{FF2B5EF4-FFF2-40B4-BE49-F238E27FC236}">
                    <a16:creationId xmlns:a16="http://schemas.microsoft.com/office/drawing/2014/main" id="{E179C035-9127-453E-86DA-D4BD0AE1FB17}"/>
                  </a:ext>
                </a:extLst>
              </p:cNvPr>
              <p:cNvSpPr/>
              <p:nvPr/>
            </p:nvSpPr>
            <p:spPr>
              <a:xfrm>
                <a:off x="4732983" y="4805849"/>
                <a:ext cx="382467" cy="489043"/>
              </a:xfrm>
              <a:custGeom>
                <a:avLst/>
                <a:gdLst>
                  <a:gd name="connsiteX0" fmla="*/ 382467 w 382467"/>
                  <a:gd name="connsiteY0" fmla="*/ 1914 h 489043"/>
                  <a:gd name="connsiteX1" fmla="*/ 2392 w 382467"/>
                  <a:gd name="connsiteY1" fmla="*/ 489044 h 489043"/>
                  <a:gd name="connsiteX2" fmla="*/ 0 w 382467"/>
                  <a:gd name="connsiteY2" fmla="*/ 487130 h 489043"/>
                  <a:gd name="connsiteX3" fmla="*/ 380075 w 382467"/>
                  <a:gd name="connsiteY3" fmla="*/ 0 h 489043"/>
                </a:gdLst>
                <a:ahLst/>
                <a:cxnLst>
                  <a:cxn ang="0">
                    <a:pos x="connsiteX0" y="connsiteY0"/>
                  </a:cxn>
                  <a:cxn ang="0">
                    <a:pos x="connsiteX1" y="connsiteY1"/>
                  </a:cxn>
                  <a:cxn ang="0">
                    <a:pos x="connsiteX2" y="connsiteY2"/>
                  </a:cxn>
                  <a:cxn ang="0">
                    <a:pos x="connsiteX3" y="connsiteY3"/>
                  </a:cxn>
                </a:cxnLst>
                <a:rect l="l" t="t" r="r" b="b"/>
                <a:pathLst>
                  <a:path w="382467" h="489043">
                    <a:moveTo>
                      <a:pt x="382467" y="1914"/>
                    </a:moveTo>
                    <a:lnTo>
                      <a:pt x="2392" y="489044"/>
                    </a:lnTo>
                    <a:lnTo>
                      <a:pt x="0" y="487130"/>
                    </a:lnTo>
                    <a:lnTo>
                      <a:pt x="380075" y="0"/>
                    </a:lnTo>
                    <a:close/>
                  </a:path>
                </a:pathLst>
              </a:custGeom>
              <a:grpFill/>
              <a:ln w="5978" cap="flat">
                <a:noFill/>
                <a:prstDash val="solid"/>
                <a:miter/>
              </a:ln>
            </p:spPr>
            <p:txBody>
              <a:bodyPr rtlCol="0" anchor="ctr"/>
              <a:lstStyle/>
              <a:p>
                <a:endParaRPr lang="en-GB"/>
              </a:p>
            </p:txBody>
          </p:sp>
          <p:sp>
            <p:nvSpPr>
              <p:cNvPr id="2125" name="Vrije vorm: vorm 2124">
                <a:extLst>
                  <a:ext uri="{FF2B5EF4-FFF2-40B4-BE49-F238E27FC236}">
                    <a16:creationId xmlns:a16="http://schemas.microsoft.com/office/drawing/2014/main" id="{177A4BCC-1FDD-4CB9-A7D2-95D0FD94790D}"/>
                  </a:ext>
                </a:extLst>
              </p:cNvPr>
              <p:cNvSpPr/>
              <p:nvPr/>
            </p:nvSpPr>
            <p:spPr>
              <a:xfrm>
                <a:off x="5104841" y="4797912"/>
                <a:ext cx="18306" cy="18384"/>
              </a:xfrm>
              <a:custGeom>
                <a:avLst/>
                <a:gdLst>
                  <a:gd name="connsiteX0" fmla="*/ 1937 w 18306"/>
                  <a:gd name="connsiteY0" fmla="*/ 3511 h 18384"/>
                  <a:gd name="connsiteX1" fmla="*/ 14796 w 18306"/>
                  <a:gd name="connsiteY1" fmla="*/ 1956 h 18384"/>
                  <a:gd name="connsiteX2" fmla="*/ 16351 w 18306"/>
                  <a:gd name="connsiteY2" fmla="*/ 14874 h 18384"/>
                  <a:gd name="connsiteX3" fmla="*/ 3492 w 18306"/>
                  <a:gd name="connsiteY3" fmla="*/ 16429 h 18384"/>
                  <a:gd name="connsiteX4" fmla="*/ 1937 w 18306"/>
                  <a:gd name="connsiteY4" fmla="*/ 3511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84">
                    <a:moveTo>
                      <a:pt x="1937" y="3511"/>
                    </a:moveTo>
                    <a:cubicBezTo>
                      <a:pt x="5047" y="-496"/>
                      <a:pt x="10789" y="-1154"/>
                      <a:pt x="14796" y="1956"/>
                    </a:cubicBezTo>
                    <a:cubicBezTo>
                      <a:pt x="18803" y="5126"/>
                      <a:pt x="19461" y="10927"/>
                      <a:pt x="16351" y="14874"/>
                    </a:cubicBezTo>
                    <a:cubicBezTo>
                      <a:pt x="13241" y="18881"/>
                      <a:pt x="7499" y="19539"/>
                      <a:pt x="3492" y="16429"/>
                    </a:cubicBezTo>
                    <a:cubicBezTo>
                      <a:pt x="-455" y="13319"/>
                      <a:pt x="-1173" y="7518"/>
                      <a:pt x="1937" y="3511"/>
                    </a:cubicBezTo>
                    <a:close/>
                  </a:path>
                </a:pathLst>
              </a:custGeom>
              <a:grpFill/>
              <a:ln w="5978" cap="flat">
                <a:noFill/>
                <a:prstDash val="solid"/>
                <a:miter/>
              </a:ln>
            </p:spPr>
            <p:txBody>
              <a:bodyPr rtlCol="0" anchor="ctr"/>
              <a:lstStyle/>
              <a:p>
                <a:endParaRPr lang="en-GB"/>
              </a:p>
            </p:txBody>
          </p:sp>
          <p:sp>
            <p:nvSpPr>
              <p:cNvPr id="2126" name="Vrije vorm: vorm 2125">
                <a:extLst>
                  <a:ext uri="{FF2B5EF4-FFF2-40B4-BE49-F238E27FC236}">
                    <a16:creationId xmlns:a16="http://schemas.microsoft.com/office/drawing/2014/main" id="{A67657AB-1C6B-4CB7-8200-550C607DA867}"/>
                  </a:ext>
                </a:extLst>
              </p:cNvPr>
              <p:cNvSpPr/>
              <p:nvPr/>
            </p:nvSpPr>
            <p:spPr>
              <a:xfrm>
                <a:off x="4725305" y="5284384"/>
                <a:ext cx="18288" cy="18410"/>
              </a:xfrm>
              <a:custGeom>
                <a:avLst/>
                <a:gdLst>
                  <a:gd name="connsiteX0" fmla="*/ 1937 w 18288"/>
                  <a:gd name="connsiteY0" fmla="*/ 3511 h 18410"/>
                  <a:gd name="connsiteX1" fmla="*/ 3492 w 18288"/>
                  <a:gd name="connsiteY1" fmla="*/ 16429 h 18410"/>
                  <a:gd name="connsiteX2" fmla="*/ 16351 w 18288"/>
                  <a:gd name="connsiteY2" fmla="*/ 14874 h 18410"/>
                  <a:gd name="connsiteX3" fmla="*/ 14796 w 18288"/>
                  <a:gd name="connsiteY3" fmla="*/ 1956 h 18410"/>
                  <a:gd name="connsiteX4" fmla="*/ 1937 w 18288"/>
                  <a:gd name="connsiteY4" fmla="*/ 3511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10">
                    <a:moveTo>
                      <a:pt x="1937" y="3511"/>
                    </a:moveTo>
                    <a:cubicBezTo>
                      <a:pt x="-1173" y="7518"/>
                      <a:pt x="-455" y="13319"/>
                      <a:pt x="3492" y="16429"/>
                    </a:cubicBezTo>
                    <a:cubicBezTo>
                      <a:pt x="7499" y="19599"/>
                      <a:pt x="13241" y="18881"/>
                      <a:pt x="16351" y="14874"/>
                    </a:cubicBezTo>
                    <a:cubicBezTo>
                      <a:pt x="19461" y="10867"/>
                      <a:pt x="18743" y="5066"/>
                      <a:pt x="14796" y="1956"/>
                    </a:cubicBezTo>
                    <a:cubicBezTo>
                      <a:pt x="10849" y="-1154"/>
                      <a:pt x="5047" y="-496"/>
                      <a:pt x="1937" y="3511"/>
                    </a:cubicBezTo>
                    <a:close/>
                  </a:path>
                </a:pathLst>
              </a:custGeom>
              <a:grpFill/>
              <a:ln w="5978" cap="flat">
                <a:noFill/>
                <a:prstDash val="solid"/>
                <a:miter/>
              </a:ln>
            </p:spPr>
            <p:txBody>
              <a:bodyPr rtlCol="0" anchor="ctr"/>
              <a:lstStyle/>
              <a:p>
                <a:endParaRPr lang="en-GB"/>
              </a:p>
            </p:txBody>
          </p:sp>
        </p:grpSp>
        <p:grpSp>
          <p:nvGrpSpPr>
            <p:cNvPr id="1093" name="Graphic 3">
              <a:extLst>
                <a:ext uri="{FF2B5EF4-FFF2-40B4-BE49-F238E27FC236}">
                  <a16:creationId xmlns:a16="http://schemas.microsoft.com/office/drawing/2014/main" id="{AC57E98D-148F-4C2F-9FFB-633D48AB12A7}"/>
                </a:ext>
              </a:extLst>
            </p:cNvPr>
            <p:cNvGrpSpPr/>
            <p:nvPr/>
          </p:nvGrpSpPr>
          <p:grpSpPr>
            <a:xfrm>
              <a:off x="4266045" y="3276607"/>
              <a:ext cx="126000" cy="26370"/>
              <a:chOff x="4266045" y="3276607"/>
              <a:chExt cx="126000" cy="26370"/>
            </a:xfrm>
            <a:grpFill/>
          </p:grpSpPr>
          <p:sp>
            <p:nvSpPr>
              <p:cNvPr id="2121" name="Vrije vorm: vorm 2120">
                <a:extLst>
                  <a:ext uri="{FF2B5EF4-FFF2-40B4-BE49-F238E27FC236}">
                    <a16:creationId xmlns:a16="http://schemas.microsoft.com/office/drawing/2014/main" id="{CDEE52E4-A28D-4012-8C9E-1C5474E2B777}"/>
                  </a:ext>
                </a:extLst>
              </p:cNvPr>
              <p:cNvSpPr/>
              <p:nvPr/>
            </p:nvSpPr>
            <p:spPr>
              <a:xfrm>
                <a:off x="4274621" y="3284293"/>
                <a:ext cx="108848" cy="11064"/>
              </a:xfrm>
              <a:custGeom>
                <a:avLst/>
                <a:gdLst>
                  <a:gd name="connsiteX0" fmla="*/ 108849 w 108848"/>
                  <a:gd name="connsiteY0" fmla="*/ 8014 h 11064"/>
                  <a:gd name="connsiteX1" fmla="*/ 108670 w 108848"/>
                  <a:gd name="connsiteY1" fmla="*/ 11064 h 11064"/>
                  <a:gd name="connsiteX2" fmla="*/ 0 w 108848"/>
                  <a:gd name="connsiteY2" fmla="*/ 3050 h 11064"/>
                  <a:gd name="connsiteX3" fmla="*/ 239 w 108848"/>
                  <a:gd name="connsiteY3" fmla="*/ 0 h 11064"/>
                </a:gdLst>
                <a:ahLst/>
                <a:cxnLst>
                  <a:cxn ang="0">
                    <a:pos x="connsiteX0" y="connsiteY0"/>
                  </a:cxn>
                  <a:cxn ang="0">
                    <a:pos x="connsiteX1" y="connsiteY1"/>
                  </a:cxn>
                  <a:cxn ang="0">
                    <a:pos x="connsiteX2" y="connsiteY2"/>
                  </a:cxn>
                  <a:cxn ang="0">
                    <a:pos x="connsiteX3" y="connsiteY3"/>
                  </a:cxn>
                </a:cxnLst>
                <a:rect l="l" t="t" r="r" b="b"/>
                <a:pathLst>
                  <a:path w="108848" h="11064">
                    <a:moveTo>
                      <a:pt x="108849" y="8014"/>
                    </a:moveTo>
                    <a:lnTo>
                      <a:pt x="108670" y="11064"/>
                    </a:lnTo>
                    <a:lnTo>
                      <a:pt x="0" y="3050"/>
                    </a:lnTo>
                    <a:lnTo>
                      <a:pt x="239" y="0"/>
                    </a:lnTo>
                    <a:close/>
                  </a:path>
                </a:pathLst>
              </a:custGeom>
              <a:grpFill/>
              <a:ln w="5978" cap="flat">
                <a:noFill/>
                <a:prstDash val="solid"/>
                <a:miter/>
              </a:ln>
            </p:spPr>
            <p:txBody>
              <a:bodyPr rtlCol="0" anchor="ctr"/>
              <a:lstStyle/>
              <a:p>
                <a:endParaRPr lang="en-GB"/>
              </a:p>
            </p:txBody>
          </p:sp>
          <p:sp>
            <p:nvSpPr>
              <p:cNvPr id="2122" name="Vrije vorm: vorm 2121">
                <a:extLst>
                  <a:ext uri="{FF2B5EF4-FFF2-40B4-BE49-F238E27FC236}">
                    <a16:creationId xmlns:a16="http://schemas.microsoft.com/office/drawing/2014/main" id="{8782C40E-067B-41C0-AF1E-F7AF837BFB99}"/>
                  </a:ext>
                </a:extLst>
              </p:cNvPr>
              <p:cNvSpPr/>
              <p:nvPr/>
            </p:nvSpPr>
            <p:spPr>
              <a:xfrm>
                <a:off x="4266045" y="3276607"/>
                <a:ext cx="18288" cy="18423"/>
              </a:xfrm>
              <a:custGeom>
                <a:avLst/>
                <a:gdLst>
                  <a:gd name="connsiteX0" fmla="*/ 8516 w 18288"/>
                  <a:gd name="connsiteY0" fmla="*/ 18392 h 18423"/>
                  <a:gd name="connsiteX1" fmla="*/ 23 w 18288"/>
                  <a:gd name="connsiteY1" fmla="*/ 8524 h 18423"/>
                  <a:gd name="connsiteX2" fmla="*/ 9772 w 18288"/>
                  <a:gd name="connsiteY2" fmla="*/ 31 h 18423"/>
                  <a:gd name="connsiteX3" fmla="*/ 18265 w 18288"/>
                  <a:gd name="connsiteY3" fmla="*/ 9899 h 18423"/>
                  <a:gd name="connsiteX4" fmla="*/ 8516 w 18288"/>
                  <a:gd name="connsiteY4" fmla="*/ 183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3">
                    <a:moveTo>
                      <a:pt x="8516" y="18392"/>
                    </a:moveTo>
                    <a:cubicBezTo>
                      <a:pt x="3492" y="18033"/>
                      <a:pt x="-336" y="13608"/>
                      <a:pt x="23" y="8524"/>
                    </a:cubicBezTo>
                    <a:cubicBezTo>
                      <a:pt x="382" y="3440"/>
                      <a:pt x="4748" y="-387"/>
                      <a:pt x="9772" y="31"/>
                    </a:cubicBezTo>
                    <a:cubicBezTo>
                      <a:pt x="14796" y="390"/>
                      <a:pt x="18624" y="4816"/>
                      <a:pt x="18265" y="9899"/>
                    </a:cubicBezTo>
                    <a:cubicBezTo>
                      <a:pt x="17965" y="14983"/>
                      <a:pt x="13540" y="18811"/>
                      <a:pt x="8516" y="18392"/>
                    </a:cubicBezTo>
                    <a:close/>
                  </a:path>
                </a:pathLst>
              </a:custGeom>
              <a:grpFill/>
              <a:ln w="5978" cap="flat">
                <a:noFill/>
                <a:prstDash val="solid"/>
                <a:miter/>
              </a:ln>
            </p:spPr>
            <p:txBody>
              <a:bodyPr rtlCol="0" anchor="ctr"/>
              <a:lstStyle/>
              <a:p>
                <a:endParaRPr lang="en-GB"/>
              </a:p>
            </p:txBody>
          </p:sp>
          <p:sp>
            <p:nvSpPr>
              <p:cNvPr id="2123" name="Vrije vorm: vorm 2122">
                <a:extLst>
                  <a:ext uri="{FF2B5EF4-FFF2-40B4-BE49-F238E27FC236}">
                    <a16:creationId xmlns:a16="http://schemas.microsoft.com/office/drawing/2014/main" id="{415E21EE-E69A-4CA4-BE40-6E4BFEC58474}"/>
                  </a:ext>
                </a:extLst>
              </p:cNvPr>
              <p:cNvSpPr/>
              <p:nvPr/>
            </p:nvSpPr>
            <p:spPr>
              <a:xfrm>
                <a:off x="4373758" y="3284569"/>
                <a:ext cx="18287" cy="18407"/>
              </a:xfrm>
              <a:custGeom>
                <a:avLst/>
                <a:gdLst>
                  <a:gd name="connsiteX0" fmla="*/ 8516 w 18287"/>
                  <a:gd name="connsiteY0" fmla="*/ 18384 h 18407"/>
                  <a:gd name="connsiteX1" fmla="*/ 18264 w 18287"/>
                  <a:gd name="connsiteY1" fmla="*/ 9892 h 18407"/>
                  <a:gd name="connsiteX2" fmla="*/ 9772 w 18287"/>
                  <a:gd name="connsiteY2" fmla="*/ 23 h 18407"/>
                  <a:gd name="connsiteX3" fmla="*/ 23 w 18287"/>
                  <a:gd name="connsiteY3" fmla="*/ 8516 h 18407"/>
                  <a:gd name="connsiteX4" fmla="*/ 8516 w 18287"/>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07">
                    <a:moveTo>
                      <a:pt x="8516" y="18384"/>
                    </a:moveTo>
                    <a:cubicBezTo>
                      <a:pt x="13540" y="18743"/>
                      <a:pt x="17965" y="14975"/>
                      <a:pt x="18264" y="9892"/>
                    </a:cubicBezTo>
                    <a:cubicBezTo>
                      <a:pt x="18623" y="4808"/>
                      <a:pt x="14796" y="382"/>
                      <a:pt x="9772" y="23"/>
                    </a:cubicBezTo>
                    <a:cubicBezTo>
                      <a:pt x="4748" y="-336"/>
                      <a:pt x="322" y="3492"/>
                      <a:pt x="23" y="8516"/>
                    </a:cubicBezTo>
                    <a:cubicBezTo>
                      <a:pt x="-336" y="13600"/>
                      <a:pt x="3492" y="18025"/>
                      <a:pt x="8516" y="18384"/>
                    </a:cubicBezTo>
                    <a:close/>
                  </a:path>
                </a:pathLst>
              </a:custGeom>
              <a:grpFill/>
              <a:ln w="5978" cap="flat">
                <a:noFill/>
                <a:prstDash val="solid"/>
                <a:miter/>
              </a:ln>
            </p:spPr>
            <p:txBody>
              <a:bodyPr rtlCol="0" anchor="ctr"/>
              <a:lstStyle/>
              <a:p>
                <a:endParaRPr lang="en-GB"/>
              </a:p>
            </p:txBody>
          </p:sp>
        </p:grpSp>
        <p:grpSp>
          <p:nvGrpSpPr>
            <p:cNvPr id="1094" name="Graphic 3">
              <a:extLst>
                <a:ext uri="{FF2B5EF4-FFF2-40B4-BE49-F238E27FC236}">
                  <a16:creationId xmlns:a16="http://schemas.microsoft.com/office/drawing/2014/main" id="{F8F67102-49D7-434C-A2A0-7AF1B630BBD4}"/>
                </a:ext>
              </a:extLst>
            </p:cNvPr>
            <p:cNvGrpSpPr/>
            <p:nvPr/>
          </p:nvGrpSpPr>
          <p:grpSpPr>
            <a:xfrm>
              <a:off x="4706553" y="4811906"/>
              <a:ext cx="444956" cy="595047"/>
              <a:chOff x="4706553" y="4811906"/>
              <a:chExt cx="444956" cy="595047"/>
            </a:xfrm>
            <a:grpFill/>
          </p:grpSpPr>
          <p:sp>
            <p:nvSpPr>
              <p:cNvPr id="2118" name="Vrije vorm: vorm 2117">
                <a:extLst>
                  <a:ext uri="{FF2B5EF4-FFF2-40B4-BE49-F238E27FC236}">
                    <a16:creationId xmlns:a16="http://schemas.microsoft.com/office/drawing/2014/main" id="{D7FB3904-9D4F-4857-BAFF-9E00DD46345A}"/>
                  </a:ext>
                </a:extLst>
              </p:cNvPr>
              <p:cNvSpPr/>
              <p:nvPr/>
            </p:nvSpPr>
            <p:spPr>
              <a:xfrm>
                <a:off x="4714204" y="4819844"/>
                <a:ext cx="429654" cy="579173"/>
              </a:xfrm>
              <a:custGeom>
                <a:avLst/>
                <a:gdLst>
                  <a:gd name="connsiteX0" fmla="*/ 429655 w 429654"/>
                  <a:gd name="connsiteY0" fmla="*/ 1854 h 579173"/>
                  <a:gd name="connsiteX1" fmla="*/ 2452 w 429654"/>
                  <a:gd name="connsiteY1" fmla="*/ 579173 h 579173"/>
                  <a:gd name="connsiteX2" fmla="*/ 0 w 429654"/>
                  <a:gd name="connsiteY2" fmla="*/ 577319 h 579173"/>
                  <a:gd name="connsiteX3" fmla="*/ 427203 w 429654"/>
                  <a:gd name="connsiteY3" fmla="*/ 0 h 579173"/>
                </a:gdLst>
                <a:ahLst/>
                <a:cxnLst>
                  <a:cxn ang="0">
                    <a:pos x="connsiteX0" y="connsiteY0"/>
                  </a:cxn>
                  <a:cxn ang="0">
                    <a:pos x="connsiteX1" y="connsiteY1"/>
                  </a:cxn>
                  <a:cxn ang="0">
                    <a:pos x="connsiteX2" y="connsiteY2"/>
                  </a:cxn>
                  <a:cxn ang="0">
                    <a:pos x="connsiteX3" y="connsiteY3"/>
                  </a:cxn>
                </a:cxnLst>
                <a:rect l="l" t="t" r="r" b="b"/>
                <a:pathLst>
                  <a:path w="429654" h="579173">
                    <a:moveTo>
                      <a:pt x="429655" y="1854"/>
                    </a:moveTo>
                    <a:lnTo>
                      <a:pt x="2452" y="579173"/>
                    </a:lnTo>
                    <a:lnTo>
                      <a:pt x="0" y="577319"/>
                    </a:lnTo>
                    <a:lnTo>
                      <a:pt x="427203" y="0"/>
                    </a:lnTo>
                    <a:close/>
                  </a:path>
                </a:pathLst>
              </a:custGeom>
              <a:grpFill/>
              <a:ln w="5978" cap="flat">
                <a:noFill/>
                <a:prstDash val="solid"/>
                <a:miter/>
              </a:ln>
            </p:spPr>
            <p:txBody>
              <a:bodyPr rtlCol="0" anchor="ctr"/>
              <a:lstStyle/>
              <a:p>
                <a:endParaRPr lang="en-GB"/>
              </a:p>
            </p:txBody>
          </p:sp>
          <p:sp>
            <p:nvSpPr>
              <p:cNvPr id="2119" name="Vrije vorm: vorm 2118">
                <a:extLst>
                  <a:ext uri="{FF2B5EF4-FFF2-40B4-BE49-F238E27FC236}">
                    <a16:creationId xmlns:a16="http://schemas.microsoft.com/office/drawing/2014/main" id="{19D8447F-18EA-4987-B8B0-E4BD0C5D2A34}"/>
                  </a:ext>
                </a:extLst>
              </p:cNvPr>
              <p:cNvSpPr/>
              <p:nvPr/>
            </p:nvSpPr>
            <p:spPr>
              <a:xfrm>
                <a:off x="5133218" y="4811906"/>
                <a:ext cx="18291" cy="18446"/>
              </a:xfrm>
              <a:custGeom>
                <a:avLst/>
                <a:gdLst>
                  <a:gd name="connsiteX0" fmla="*/ 1790 w 18291"/>
                  <a:gd name="connsiteY0" fmla="*/ 3691 h 18446"/>
                  <a:gd name="connsiteX1" fmla="*/ 14588 w 18291"/>
                  <a:gd name="connsiteY1" fmla="*/ 1837 h 18446"/>
                  <a:gd name="connsiteX2" fmla="*/ 16502 w 18291"/>
                  <a:gd name="connsiteY2" fmla="*/ 14755 h 18446"/>
                  <a:gd name="connsiteX3" fmla="*/ 3703 w 18291"/>
                  <a:gd name="connsiteY3" fmla="*/ 16609 h 18446"/>
                  <a:gd name="connsiteX4" fmla="*/ 1790 w 18291"/>
                  <a:gd name="connsiteY4" fmla="*/ 3691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6">
                    <a:moveTo>
                      <a:pt x="1790" y="3691"/>
                    </a:moveTo>
                    <a:cubicBezTo>
                      <a:pt x="4780" y="-376"/>
                      <a:pt x="10521" y="-1213"/>
                      <a:pt x="14588" y="1837"/>
                    </a:cubicBezTo>
                    <a:cubicBezTo>
                      <a:pt x="18655" y="4887"/>
                      <a:pt x="19492" y="10629"/>
                      <a:pt x="16502" y="14755"/>
                    </a:cubicBezTo>
                    <a:cubicBezTo>
                      <a:pt x="13512" y="18822"/>
                      <a:pt x="7770" y="19660"/>
                      <a:pt x="3703" y="16609"/>
                    </a:cubicBezTo>
                    <a:cubicBezTo>
                      <a:pt x="-363" y="13559"/>
                      <a:pt x="-1201" y="7758"/>
                      <a:pt x="1790" y="3691"/>
                    </a:cubicBezTo>
                    <a:close/>
                  </a:path>
                </a:pathLst>
              </a:custGeom>
              <a:grpFill/>
              <a:ln w="5978" cap="flat">
                <a:noFill/>
                <a:prstDash val="solid"/>
                <a:miter/>
              </a:ln>
            </p:spPr>
            <p:txBody>
              <a:bodyPr rtlCol="0" anchor="ctr"/>
              <a:lstStyle/>
              <a:p>
                <a:endParaRPr lang="en-GB"/>
              </a:p>
            </p:txBody>
          </p:sp>
          <p:sp>
            <p:nvSpPr>
              <p:cNvPr id="2120" name="Vrije vorm: vorm 2119">
                <a:extLst>
                  <a:ext uri="{FF2B5EF4-FFF2-40B4-BE49-F238E27FC236}">
                    <a16:creationId xmlns:a16="http://schemas.microsoft.com/office/drawing/2014/main" id="{7C55737E-1426-4499-B9C0-DADBDA8210A3}"/>
                  </a:ext>
                </a:extLst>
              </p:cNvPr>
              <p:cNvSpPr/>
              <p:nvPr/>
            </p:nvSpPr>
            <p:spPr>
              <a:xfrm>
                <a:off x="4706553" y="5388508"/>
                <a:ext cx="18291" cy="18445"/>
              </a:xfrm>
              <a:custGeom>
                <a:avLst/>
                <a:gdLst>
                  <a:gd name="connsiteX0" fmla="*/ 1790 w 18291"/>
                  <a:gd name="connsiteY0" fmla="*/ 3691 h 18445"/>
                  <a:gd name="connsiteX1" fmla="*/ 3703 w 18291"/>
                  <a:gd name="connsiteY1" fmla="*/ 16609 h 18445"/>
                  <a:gd name="connsiteX2" fmla="*/ 16502 w 18291"/>
                  <a:gd name="connsiteY2" fmla="*/ 14755 h 18445"/>
                  <a:gd name="connsiteX3" fmla="*/ 14588 w 18291"/>
                  <a:gd name="connsiteY3" fmla="*/ 1837 h 18445"/>
                  <a:gd name="connsiteX4" fmla="*/ 1790 w 18291"/>
                  <a:gd name="connsiteY4" fmla="*/ 369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45">
                    <a:moveTo>
                      <a:pt x="1790" y="3691"/>
                    </a:moveTo>
                    <a:cubicBezTo>
                      <a:pt x="-1201" y="7758"/>
                      <a:pt x="-363" y="13559"/>
                      <a:pt x="3703" y="16609"/>
                    </a:cubicBezTo>
                    <a:cubicBezTo>
                      <a:pt x="7770" y="19659"/>
                      <a:pt x="13512" y="18822"/>
                      <a:pt x="16502" y="14755"/>
                    </a:cubicBezTo>
                    <a:cubicBezTo>
                      <a:pt x="19493" y="10688"/>
                      <a:pt x="18655" y="4887"/>
                      <a:pt x="14588" y="1837"/>
                    </a:cubicBezTo>
                    <a:cubicBezTo>
                      <a:pt x="10522" y="-1213"/>
                      <a:pt x="4780" y="-376"/>
                      <a:pt x="1790" y="3691"/>
                    </a:cubicBezTo>
                    <a:close/>
                  </a:path>
                </a:pathLst>
              </a:custGeom>
              <a:grpFill/>
              <a:ln w="5978" cap="flat">
                <a:noFill/>
                <a:prstDash val="solid"/>
                <a:miter/>
              </a:ln>
            </p:spPr>
            <p:txBody>
              <a:bodyPr rtlCol="0" anchor="ctr"/>
              <a:lstStyle/>
              <a:p>
                <a:endParaRPr lang="en-GB"/>
              </a:p>
            </p:txBody>
          </p:sp>
        </p:grpSp>
        <p:grpSp>
          <p:nvGrpSpPr>
            <p:cNvPr id="1095" name="Graphic 3">
              <a:extLst>
                <a:ext uri="{FF2B5EF4-FFF2-40B4-BE49-F238E27FC236}">
                  <a16:creationId xmlns:a16="http://schemas.microsoft.com/office/drawing/2014/main" id="{89163C36-9874-46FC-B081-511E5FF8E6DE}"/>
                </a:ext>
              </a:extLst>
            </p:cNvPr>
            <p:cNvGrpSpPr/>
            <p:nvPr/>
          </p:nvGrpSpPr>
          <p:grpSpPr>
            <a:xfrm>
              <a:off x="4069057" y="2634721"/>
              <a:ext cx="80931" cy="42925"/>
              <a:chOff x="4069057" y="2634721"/>
              <a:chExt cx="80931" cy="42925"/>
            </a:xfrm>
            <a:grpFill/>
          </p:grpSpPr>
          <p:sp>
            <p:nvSpPr>
              <p:cNvPr id="2115" name="Vrije vorm: vorm 2114">
                <a:extLst>
                  <a:ext uri="{FF2B5EF4-FFF2-40B4-BE49-F238E27FC236}">
                    <a16:creationId xmlns:a16="http://schemas.microsoft.com/office/drawing/2014/main" id="{71063318-128A-411B-82E3-9EEFBF57BB6B}"/>
                  </a:ext>
                </a:extLst>
              </p:cNvPr>
              <p:cNvSpPr/>
              <p:nvPr/>
            </p:nvSpPr>
            <p:spPr>
              <a:xfrm>
                <a:off x="4077257" y="2642323"/>
                <a:ext cx="64591" cy="27690"/>
              </a:xfrm>
              <a:custGeom>
                <a:avLst/>
                <a:gdLst>
                  <a:gd name="connsiteX0" fmla="*/ 64592 w 64591"/>
                  <a:gd name="connsiteY0" fmla="*/ 24880 h 27690"/>
                  <a:gd name="connsiteX1" fmla="*/ 63455 w 64591"/>
                  <a:gd name="connsiteY1" fmla="*/ 27691 h 27690"/>
                  <a:gd name="connsiteX2" fmla="*/ 0 w 64591"/>
                  <a:gd name="connsiteY2" fmla="*/ 2871 h 27690"/>
                  <a:gd name="connsiteX3" fmla="*/ 1076 w 64591"/>
                  <a:gd name="connsiteY3" fmla="*/ 0 h 27690"/>
                </a:gdLst>
                <a:ahLst/>
                <a:cxnLst>
                  <a:cxn ang="0">
                    <a:pos x="connsiteX0" y="connsiteY0"/>
                  </a:cxn>
                  <a:cxn ang="0">
                    <a:pos x="connsiteX1" y="connsiteY1"/>
                  </a:cxn>
                  <a:cxn ang="0">
                    <a:pos x="connsiteX2" y="connsiteY2"/>
                  </a:cxn>
                  <a:cxn ang="0">
                    <a:pos x="connsiteX3" y="connsiteY3"/>
                  </a:cxn>
                </a:cxnLst>
                <a:rect l="l" t="t" r="r" b="b"/>
                <a:pathLst>
                  <a:path w="64591" h="27690">
                    <a:moveTo>
                      <a:pt x="64592" y="24880"/>
                    </a:moveTo>
                    <a:lnTo>
                      <a:pt x="63455" y="27691"/>
                    </a:lnTo>
                    <a:lnTo>
                      <a:pt x="0" y="2871"/>
                    </a:lnTo>
                    <a:lnTo>
                      <a:pt x="1076" y="0"/>
                    </a:lnTo>
                    <a:close/>
                  </a:path>
                </a:pathLst>
              </a:custGeom>
              <a:grpFill/>
              <a:ln w="5978" cap="flat">
                <a:noFill/>
                <a:prstDash val="solid"/>
                <a:miter/>
              </a:ln>
            </p:spPr>
            <p:txBody>
              <a:bodyPr rtlCol="0" anchor="ctr"/>
              <a:lstStyle/>
              <a:p>
                <a:endParaRPr lang="en-GB"/>
              </a:p>
            </p:txBody>
          </p:sp>
          <p:sp>
            <p:nvSpPr>
              <p:cNvPr id="2116" name="Vrije vorm: vorm 2115">
                <a:extLst>
                  <a:ext uri="{FF2B5EF4-FFF2-40B4-BE49-F238E27FC236}">
                    <a16:creationId xmlns:a16="http://schemas.microsoft.com/office/drawing/2014/main" id="{67739BD1-FD80-4FDA-940F-F4AB212FADEE}"/>
                  </a:ext>
                </a:extLst>
              </p:cNvPr>
              <p:cNvSpPr/>
              <p:nvPr/>
            </p:nvSpPr>
            <p:spPr>
              <a:xfrm>
                <a:off x="4069057" y="2634721"/>
                <a:ext cx="18313" cy="18404"/>
              </a:xfrm>
              <a:custGeom>
                <a:avLst/>
                <a:gdLst>
                  <a:gd name="connsiteX0" fmla="*/ 5867 w 18313"/>
                  <a:gd name="connsiteY0" fmla="*/ 17769 h 18404"/>
                  <a:gd name="connsiteX1" fmla="*/ 604 w 18313"/>
                  <a:gd name="connsiteY1" fmla="*/ 5867 h 18404"/>
                  <a:gd name="connsiteX2" fmla="*/ 12446 w 18313"/>
                  <a:gd name="connsiteY2" fmla="*/ 604 h 18404"/>
                  <a:gd name="connsiteX3" fmla="*/ 17709 w 18313"/>
                  <a:gd name="connsiteY3" fmla="*/ 12506 h 18404"/>
                  <a:gd name="connsiteX4" fmla="*/ 5867 w 18313"/>
                  <a:gd name="connsiteY4" fmla="*/ 1776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5867" y="17769"/>
                    </a:moveTo>
                    <a:cubicBezTo>
                      <a:pt x="1142" y="15915"/>
                      <a:pt x="-1190" y="10592"/>
                      <a:pt x="604" y="5867"/>
                    </a:cubicBezTo>
                    <a:cubicBezTo>
                      <a:pt x="2398" y="1142"/>
                      <a:pt x="7721" y="-1190"/>
                      <a:pt x="12446" y="604"/>
                    </a:cubicBezTo>
                    <a:cubicBezTo>
                      <a:pt x="17171" y="2458"/>
                      <a:pt x="19503" y="7781"/>
                      <a:pt x="17709" y="12506"/>
                    </a:cubicBezTo>
                    <a:cubicBezTo>
                      <a:pt x="15915" y="17290"/>
                      <a:pt x="10592" y="19623"/>
                      <a:pt x="5867" y="17769"/>
                    </a:cubicBezTo>
                    <a:close/>
                  </a:path>
                </a:pathLst>
              </a:custGeom>
              <a:grpFill/>
              <a:ln w="5978" cap="flat">
                <a:noFill/>
                <a:prstDash val="solid"/>
                <a:miter/>
              </a:ln>
            </p:spPr>
            <p:txBody>
              <a:bodyPr rtlCol="0" anchor="ctr"/>
              <a:lstStyle/>
              <a:p>
                <a:endParaRPr lang="en-GB"/>
              </a:p>
            </p:txBody>
          </p:sp>
          <p:sp>
            <p:nvSpPr>
              <p:cNvPr id="2117" name="Vrije vorm: vorm 2116">
                <a:extLst>
                  <a:ext uri="{FF2B5EF4-FFF2-40B4-BE49-F238E27FC236}">
                    <a16:creationId xmlns:a16="http://schemas.microsoft.com/office/drawing/2014/main" id="{5527E12A-334A-484B-A96C-4C47C6ED7869}"/>
                  </a:ext>
                </a:extLst>
              </p:cNvPr>
              <p:cNvSpPr/>
              <p:nvPr/>
            </p:nvSpPr>
            <p:spPr>
              <a:xfrm>
                <a:off x="4131675" y="2659210"/>
                <a:ext cx="18313" cy="18436"/>
              </a:xfrm>
              <a:custGeom>
                <a:avLst/>
                <a:gdLst>
                  <a:gd name="connsiteX0" fmla="*/ 5867 w 18313"/>
                  <a:gd name="connsiteY0" fmla="*/ 17801 h 18436"/>
                  <a:gd name="connsiteX1" fmla="*/ 17709 w 18313"/>
                  <a:gd name="connsiteY1" fmla="*/ 12538 h 18436"/>
                  <a:gd name="connsiteX2" fmla="*/ 12446 w 18313"/>
                  <a:gd name="connsiteY2" fmla="*/ 636 h 18436"/>
                  <a:gd name="connsiteX3" fmla="*/ 604 w 18313"/>
                  <a:gd name="connsiteY3" fmla="*/ 5899 h 18436"/>
                  <a:gd name="connsiteX4" fmla="*/ 5867 w 18313"/>
                  <a:gd name="connsiteY4" fmla="*/ 178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6">
                    <a:moveTo>
                      <a:pt x="5867" y="17801"/>
                    </a:moveTo>
                    <a:cubicBezTo>
                      <a:pt x="10592" y="19655"/>
                      <a:pt x="15915" y="17322"/>
                      <a:pt x="17709" y="12538"/>
                    </a:cubicBezTo>
                    <a:cubicBezTo>
                      <a:pt x="19503" y="7813"/>
                      <a:pt x="17171" y="2430"/>
                      <a:pt x="12446" y="636"/>
                    </a:cubicBezTo>
                    <a:cubicBezTo>
                      <a:pt x="7721" y="-1218"/>
                      <a:pt x="2399" y="1115"/>
                      <a:pt x="604" y="5899"/>
                    </a:cubicBezTo>
                    <a:cubicBezTo>
                      <a:pt x="-1190" y="10624"/>
                      <a:pt x="1143" y="15947"/>
                      <a:pt x="5867" y="17801"/>
                    </a:cubicBezTo>
                    <a:close/>
                  </a:path>
                </a:pathLst>
              </a:custGeom>
              <a:grpFill/>
              <a:ln w="5978" cap="flat">
                <a:noFill/>
                <a:prstDash val="solid"/>
                <a:miter/>
              </a:ln>
            </p:spPr>
            <p:txBody>
              <a:bodyPr rtlCol="0" anchor="ctr"/>
              <a:lstStyle/>
              <a:p>
                <a:endParaRPr lang="en-GB"/>
              </a:p>
            </p:txBody>
          </p:sp>
        </p:grpSp>
        <p:grpSp>
          <p:nvGrpSpPr>
            <p:cNvPr id="1096" name="Graphic 3">
              <a:extLst>
                <a:ext uri="{FF2B5EF4-FFF2-40B4-BE49-F238E27FC236}">
                  <a16:creationId xmlns:a16="http://schemas.microsoft.com/office/drawing/2014/main" id="{ED6934EE-A455-4CFD-B21C-497D7B94E78F}"/>
                </a:ext>
              </a:extLst>
            </p:cNvPr>
            <p:cNvGrpSpPr/>
            <p:nvPr/>
          </p:nvGrpSpPr>
          <p:grpSpPr>
            <a:xfrm>
              <a:off x="4827586" y="4878838"/>
              <a:ext cx="72425" cy="86790"/>
              <a:chOff x="4827586" y="4878838"/>
              <a:chExt cx="72425" cy="86790"/>
            </a:xfrm>
            <a:grpFill/>
          </p:grpSpPr>
          <p:sp>
            <p:nvSpPr>
              <p:cNvPr id="2112" name="Vrije vorm: vorm 2111">
                <a:extLst>
                  <a:ext uri="{FF2B5EF4-FFF2-40B4-BE49-F238E27FC236}">
                    <a16:creationId xmlns:a16="http://schemas.microsoft.com/office/drawing/2014/main" id="{9B32C0DB-4307-4FD6-9F82-B4BA36DB14D5}"/>
                  </a:ext>
                </a:extLst>
              </p:cNvPr>
              <p:cNvSpPr/>
              <p:nvPr/>
            </p:nvSpPr>
            <p:spPr>
              <a:xfrm>
                <a:off x="4835314" y="4886708"/>
                <a:ext cx="57055" cy="71050"/>
              </a:xfrm>
              <a:custGeom>
                <a:avLst/>
                <a:gdLst>
                  <a:gd name="connsiteX0" fmla="*/ 57056 w 57055"/>
                  <a:gd name="connsiteY0" fmla="*/ 1914 h 71050"/>
                  <a:gd name="connsiteX1" fmla="*/ 2392 w 57055"/>
                  <a:gd name="connsiteY1" fmla="*/ 71051 h 71050"/>
                  <a:gd name="connsiteX2" fmla="*/ 0 w 57055"/>
                  <a:gd name="connsiteY2" fmla="*/ 69137 h 71050"/>
                  <a:gd name="connsiteX3" fmla="*/ 54664 w 57055"/>
                  <a:gd name="connsiteY3" fmla="*/ 0 h 71050"/>
                </a:gdLst>
                <a:ahLst/>
                <a:cxnLst>
                  <a:cxn ang="0">
                    <a:pos x="connsiteX0" y="connsiteY0"/>
                  </a:cxn>
                  <a:cxn ang="0">
                    <a:pos x="connsiteX1" y="connsiteY1"/>
                  </a:cxn>
                  <a:cxn ang="0">
                    <a:pos x="connsiteX2" y="connsiteY2"/>
                  </a:cxn>
                  <a:cxn ang="0">
                    <a:pos x="connsiteX3" y="connsiteY3"/>
                  </a:cxn>
                </a:cxnLst>
                <a:rect l="l" t="t" r="r" b="b"/>
                <a:pathLst>
                  <a:path w="57055" h="71050">
                    <a:moveTo>
                      <a:pt x="57056" y="1914"/>
                    </a:moveTo>
                    <a:lnTo>
                      <a:pt x="2392" y="71051"/>
                    </a:lnTo>
                    <a:lnTo>
                      <a:pt x="0" y="69137"/>
                    </a:lnTo>
                    <a:lnTo>
                      <a:pt x="54664" y="0"/>
                    </a:lnTo>
                    <a:close/>
                  </a:path>
                </a:pathLst>
              </a:custGeom>
              <a:grpFill/>
              <a:ln w="5978" cap="flat">
                <a:noFill/>
                <a:prstDash val="solid"/>
                <a:miter/>
              </a:ln>
            </p:spPr>
            <p:txBody>
              <a:bodyPr rtlCol="0" anchor="ctr"/>
              <a:lstStyle/>
              <a:p>
                <a:endParaRPr lang="en-GB"/>
              </a:p>
            </p:txBody>
          </p:sp>
          <p:sp>
            <p:nvSpPr>
              <p:cNvPr id="2113" name="Vrije vorm: vorm 2112">
                <a:extLst>
                  <a:ext uri="{FF2B5EF4-FFF2-40B4-BE49-F238E27FC236}">
                    <a16:creationId xmlns:a16="http://schemas.microsoft.com/office/drawing/2014/main" id="{1B0668F5-AFA6-4D51-95F2-30B9A6284499}"/>
                  </a:ext>
                </a:extLst>
              </p:cNvPr>
              <p:cNvSpPr/>
              <p:nvPr/>
            </p:nvSpPr>
            <p:spPr>
              <a:xfrm>
                <a:off x="4881712" y="4878838"/>
                <a:ext cx="18299" cy="18371"/>
              </a:xfrm>
              <a:custGeom>
                <a:avLst/>
                <a:gdLst>
                  <a:gd name="connsiteX0" fmla="*/ 1985 w 18299"/>
                  <a:gd name="connsiteY0" fmla="*/ 3444 h 18371"/>
                  <a:gd name="connsiteX1" fmla="*/ 14844 w 18299"/>
                  <a:gd name="connsiteY1" fmla="*/ 2009 h 18371"/>
                  <a:gd name="connsiteX2" fmla="*/ 16339 w 18299"/>
                  <a:gd name="connsiteY2" fmla="*/ 14927 h 18371"/>
                  <a:gd name="connsiteX3" fmla="*/ 3481 w 18299"/>
                  <a:gd name="connsiteY3" fmla="*/ 16362 h 18371"/>
                  <a:gd name="connsiteX4" fmla="*/ 1985 w 18299"/>
                  <a:gd name="connsiteY4" fmla="*/ 3444 h 1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9" h="18371">
                    <a:moveTo>
                      <a:pt x="1985" y="3444"/>
                    </a:moveTo>
                    <a:cubicBezTo>
                      <a:pt x="5155" y="-503"/>
                      <a:pt x="10897" y="-1161"/>
                      <a:pt x="14844" y="2009"/>
                    </a:cubicBezTo>
                    <a:cubicBezTo>
                      <a:pt x="18791" y="5178"/>
                      <a:pt x="19449" y="10980"/>
                      <a:pt x="16339" y="14927"/>
                    </a:cubicBezTo>
                    <a:cubicBezTo>
                      <a:pt x="13169" y="18874"/>
                      <a:pt x="7428" y="19532"/>
                      <a:pt x="3481" y="16362"/>
                    </a:cubicBezTo>
                    <a:cubicBezTo>
                      <a:pt x="-467" y="13193"/>
                      <a:pt x="-1184" y="7451"/>
                      <a:pt x="1985" y="3444"/>
                    </a:cubicBezTo>
                    <a:close/>
                  </a:path>
                </a:pathLst>
              </a:custGeom>
              <a:grpFill/>
              <a:ln w="5978" cap="flat">
                <a:noFill/>
                <a:prstDash val="solid"/>
                <a:miter/>
              </a:ln>
            </p:spPr>
            <p:txBody>
              <a:bodyPr rtlCol="0" anchor="ctr"/>
              <a:lstStyle/>
              <a:p>
                <a:endParaRPr lang="en-GB"/>
              </a:p>
            </p:txBody>
          </p:sp>
          <p:sp>
            <p:nvSpPr>
              <p:cNvPr id="2114" name="Vrije vorm: vorm 2113">
                <a:extLst>
                  <a:ext uri="{FF2B5EF4-FFF2-40B4-BE49-F238E27FC236}">
                    <a16:creationId xmlns:a16="http://schemas.microsoft.com/office/drawing/2014/main" id="{5D118BDB-408A-43C1-BD37-85DC8DD629BB}"/>
                  </a:ext>
                </a:extLst>
              </p:cNvPr>
              <p:cNvSpPr/>
              <p:nvPr/>
            </p:nvSpPr>
            <p:spPr>
              <a:xfrm>
                <a:off x="4827586" y="4947198"/>
                <a:ext cx="18324" cy="18431"/>
              </a:xfrm>
              <a:custGeom>
                <a:avLst/>
                <a:gdLst>
                  <a:gd name="connsiteX0" fmla="*/ 1986 w 18324"/>
                  <a:gd name="connsiteY0" fmla="*/ 3444 h 18431"/>
                  <a:gd name="connsiteX1" fmla="*/ 3481 w 18324"/>
                  <a:gd name="connsiteY1" fmla="*/ 16422 h 18431"/>
                  <a:gd name="connsiteX2" fmla="*/ 16339 w 18324"/>
                  <a:gd name="connsiteY2" fmla="*/ 14987 h 18431"/>
                  <a:gd name="connsiteX3" fmla="*/ 14844 w 18324"/>
                  <a:gd name="connsiteY3" fmla="*/ 2009 h 18431"/>
                  <a:gd name="connsiteX4" fmla="*/ 1986 w 18324"/>
                  <a:gd name="connsiteY4" fmla="*/ 3444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31">
                    <a:moveTo>
                      <a:pt x="1986" y="3444"/>
                    </a:moveTo>
                    <a:cubicBezTo>
                      <a:pt x="-1184" y="7392"/>
                      <a:pt x="-467" y="13193"/>
                      <a:pt x="3481" y="16422"/>
                    </a:cubicBezTo>
                    <a:cubicBezTo>
                      <a:pt x="7428" y="19592"/>
                      <a:pt x="13229" y="18934"/>
                      <a:pt x="16339" y="14987"/>
                    </a:cubicBezTo>
                    <a:cubicBezTo>
                      <a:pt x="19509" y="11040"/>
                      <a:pt x="18791" y="5238"/>
                      <a:pt x="14844" y="2009"/>
                    </a:cubicBezTo>
                    <a:cubicBezTo>
                      <a:pt x="10897" y="-1161"/>
                      <a:pt x="5155" y="-503"/>
                      <a:pt x="1986" y="3444"/>
                    </a:cubicBezTo>
                    <a:close/>
                  </a:path>
                </a:pathLst>
              </a:custGeom>
              <a:grpFill/>
              <a:ln w="5978" cap="flat">
                <a:noFill/>
                <a:prstDash val="solid"/>
                <a:miter/>
              </a:ln>
            </p:spPr>
            <p:txBody>
              <a:bodyPr rtlCol="0" anchor="ctr"/>
              <a:lstStyle/>
              <a:p>
                <a:endParaRPr lang="en-GB"/>
              </a:p>
            </p:txBody>
          </p:sp>
        </p:grpSp>
        <p:grpSp>
          <p:nvGrpSpPr>
            <p:cNvPr id="1097" name="Graphic 3">
              <a:extLst>
                <a:ext uri="{FF2B5EF4-FFF2-40B4-BE49-F238E27FC236}">
                  <a16:creationId xmlns:a16="http://schemas.microsoft.com/office/drawing/2014/main" id="{E463340A-F883-4798-82DF-DA14F2481F54}"/>
                </a:ext>
              </a:extLst>
            </p:cNvPr>
            <p:cNvGrpSpPr/>
            <p:nvPr/>
          </p:nvGrpSpPr>
          <p:grpSpPr>
            <a:xfrm>
              <a:off x="4084026" y="2805069"/>
              <a:ext cx="161375" cy="62356"/>
              <a:chOff x="4084026" y="2805069"/>
              <a:chExt cx="161375" cy="62356"/>
            </a:xfrm>
            <a:grpFill/>
          </p:grpSpPr>
          <p:sp>
            <p:nvSpPr>
              <p:cNvPr id="2109" name="Vrije vorm: vorm 2108">
                <a:extLst>
                  <a:ext uri="{FF2B5EF4-FFF2-40B4-BE49-F238E27FC236}">
                    <a16:creationId xmlns:a16="http://schemas.microsoft.com/office/drawing/2014/main" id="{83CF7C44-FFA4-4A44-898C-A4EE06E6E658}"/>
                  </a:ext>
                </a:extLst>
              </p:cNvPr>
              <p:cNvSpPr/>
              <p:nvPr/>
            </p:nvSpPr>
            <p:spPr>
              <a:xfrm>
                <a:off x="4092328" y="2812654"/>
                <a:ext cx="144733" cy="47127"/>
              </a:xfrm>
              <a:custGeom>
                <a:avLst/>
                <a:gdLst>
                  <a:gd name="connsiteX0" fmla="*/ 144734 w 144733"/>
                  <a:gd name="connsiteY0" fmla="*/ 44257 h 47127"/>
                  <a:gd name="connsiteX1" fmla="*/ 143896 w 144733"/>
                  <a:gd name="connsiteY1" fmla="*/ 47128 h 47127"/>
                  <a:gd name="connsiteX2" fmla="*/ 0 w 144733"/>
                  <a:gd name="connsiteY2" fmla="*/ 2930 h 47127"/>
                  <a:gd name="connsiteX3" fmla="*/ 837 w 144733"/>
                  <a:gd name="connsiteY3" fmla="*/ 0 h 47127"/>
                </a:gdLst>
                <a:ahLst/>
                <a:cxnLst>
                  <a:cxn ang="0">
                    <a:pos x="connsiteX0" y="connsiteY0"/>
                  </a:cxn>
                  <a:cxn ang="0">
                    <a:pos x="connsiteX1" y="connsiteY1"/>
                  </a:cxn>
                  <a:cxn ang="0">
                    <a:pos x="connsiteX2" y="connsiteY2"/>
                  </a:cxn>
                  <a:cxn ang="0">
                    <a:pos x="connsiteX3" y="connsiteY3"/>
                  </a:cxn>
                </a:cxnLst>
                <a:rect l="l" t="t" r="r" b="b"/>
                <a:pathLst>
                  <a:path w="144733" h="47127">
                    <a:moveTo>
                      <a:pt x="144734" y="44257"/>
                    </a:moveTo>
                    <a:lnTo>
                      <a:pt x="143896" y="47128"/>
                    </a:lnTo>
                    <a:lnTo>
                      <a:pt x="0" y="2930"/>
                    </a:lnTo>
                    <a:lnTo>
                      <a:pt x="837" y="0"/>
                    </a:lnTo>
                    <a:close/>
                  </a:path>
                </a:pathLst>
              </a:custGeom>
              <a:grpFill/>
              <a:ln w="5978" cap="flat">
                <a:noFill/>
                <a:prstDash val="solid"/>
                <a:miter/>
              </a:ln>
            </p:spPr>
            <p:txBody>
              <a:bodyPr rtlCol="0" anchor="ctr"/>
              <a:lstStyle/>
              <a:p>
                <a:endParaRPr lang="en-GB"/>
              </a:p>
            </p:txBody>
          </p:sp>
          <p:sp>
            <p:nvSpPr>
              <p:cNvPr id="2110" name="Vrije vorm: vorm 2109">
                <a:extLst>
                  <a:ext uri="{FF2B5EF4-FFF2-40B4-BE49-F238E27FC236}">
                    <a16:creationId xmlns:a16="http://schemas.microsoft.com/office/drawing/2014/main" id="{17E95BEC-FCE1-4094-BEBD-23859DA7B8D4}"/>
                  </a:ext>
                </a:extLst>
              </p:cNvPr>
              <p:cNvSpPr/>
              <p:nvPr/>
            </p:nvSpPr>
            <p:spPr>
              <a:xfrm>
                <a:off x="4084026" y="2805069"/>
                <a:ext cx="18338" cy="18398"/>
              </a:xfrm>
              <a:custGeom>
                <a:avLst/>
                <a:gdLst>
                  <a:gd name="connsiteX0" fmla="*/ 6508 w 18338"/>
                  <a:gd name="connsiteY0" fmla="*/ 17991 h 18398"/>
                  <a:gd name="connsiteX1" fmla="*/ 407 w 18338"/>
                  <a:gd name="connsiteY1" fmla="*/ 6508 h 18398"/>
                  <a:gd name="connsiteX2" fmla="*/ 11831 w 18338"/>
                  <a:gd name="connsiteY2" fmla="*/ 407 h 18398"/>
                  <a:gd name="connsiteX3" fmla="*/ 17931 w 18338"/>
                  <a:gd name="connsiteY3" fmla="*/ 11890 h 18398"/>
                  <a:gd name="connsiteX4" fmla="*/ 6508 w 18338"/>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6508" y="17991"/>
                    </a:moveTo>
                    <a:cubicBezTo>
                      <a:pt x="1664" y="16496"/>
                      <a:pt x="-1088" y="11352"/>
                      <a:pt x="407" y="6508"/>
                    </a:cubicBezTo>
                    <a:cubicBezTo>
                      <a:pt x="1843" y="1663"/>
                      <a:pt x="6986" y="-1088"/>
                      <a:pt x="11831" y="407"/>
                    </a:cubicBezTo>
                    <a:cubicBezTo>
                      <a:pt x="16675" y="1903"/>
                      <a:pt x="19426" y="7046"/>
                      <a:pt x="17931" y="11890"/>
                    </a:cubicBezTo>
                    <a:cubicBezTo>
                      <a:pt x="16496" y="16735"/>
                      <a:pt x="11352" y="19486"/>
                      <a:pt x="6508" y="17991"/>
                    </a:cubicBezTo>
                    <a:close/>
                  </a:path>
                </a:pathLst>
              </a:custGeom>
              <a:grpFill/>
              <a:ln w="5978" cap="flat">
                <a:noFill/>
                <a:prstDash val="solid"/>
                <a:miter/>
              </a:ln>
            </p:spPr>
            <p:txBody>
              <a:bodyPr rtlCol="0" anchor="ctr"/>
              <a:lstStyle/>
              <a:p>
                <a:endParaRPr lang="en-GB"/>
              </a:p>
            </p:txBody>
          </p:sp>
          <p:sp>
            <p:nvSpPr>
              <p:cNvPr id="2111" name="Vrije vorm: vorm 2110">
                <a:extLst>
                  <a:ext uri="{FF2B5EF4-FFF2-40B4-BE49-F238E27FC236}">
                    <a16:creationId xmlns:a16="http://schemas.microsoft.com/office/drawing/2014/main" id="{683D511A-CBA6-429D-900A-2BA218F37748}"/>
                  </a:ext>
                </a:extLst>
              </p:cNvPr>
              <p:cNvSpPr/>
              <p:nvPr/>
            </p:nvSpPr>
            <p:spPr>
              <a:xfrm>
                <a:off x="4227085" y="2849028"/>
                <a:ext cx="18316" cy="18398"/>
              </a:xfrm>
              <a:custGeom>
                <a:avLst/>
                <a:gdLst>
                  <a:gd name="connsiteX0" fmla="*/ 6508 w 18316"/>
                  <a:gd name="connsiteY0" fmla="*/ 17991 h 18398"/>
                  <a:gd name="connsiteX1" fmla="*/ 17931 w 18316"/>
                  <a:gd name="connsiteY1" fmla="*/ 11890 h 18398"/>
                  <a:gd name="connsiteX2" fmla="*/ 11831 w 18316"/>
                  <a:gd name="connsiteY2" fmla="*/ 407 h 18398"/>
                  <a:gd name="connsiteX3" fmla="*/ 407 w 18316"/>
                  <a:gd name="connsiteY3" fmla="*/ 6508 h 18398"/>
                  <a:gd name="connsiteX4" fmla="*/ 6508 w 18316"/>
                  <a:gd name="connsiteY4" fmla="*/ 17991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8">
                    <a:moveTo>
                      <a:pt x="6508" y="17991"/>
                    </a:moveTo>
                    <a:cubicBezTo>
                      <a:pt x="11352" y="19486"/>
                      <a:pt x="16496" y="16735"/>
                      <a:pt x="17931" y="11890"/>
                    </a:cubicBezTo>
                    <a:cubicBezTo>
                      <a:pt x="19366" y="7046"/>
                      <a:pt x="16675" y="1903"/>
                      <a:pt x="11831" y="407"/>
                    </a:cubicBezTo>
                    <a:cubicBezTo>
                      <a:pt x="6986" y="-1088"/>
                      <a:pt x="1843" y="1663"/>
                      <a:pt x="407" y="6508"/>
                    </a:cubicBezTo>
                    <a:cubicBezTo>
                      <a:pt x="-1088" y="11352"/>
                      <a:pt x="1663" y="16496"/>
                      <a:pt x="6508" y="17991"/>
                    </a:cubicBezTo>
                    <a:close/>
                  </a:path>
                </a:pathLst>
              </a:custGeom>
              <a:grpFill/>
              <a:ln w="5978" cap="flat">
                <a:noFill/>
                <a:prstDash val="solid"/>
                <a:miter/>
              </a:ln>
            </p:spPr>
            <p:txBody>
              <a:bodyPr rtlCol="0" anchor="ctr"/>
              <a:lstStyle/>
              <a:p>
                <a:endParaRPr lang="en-GB"/>
              </a:p>
            </p:txBody>
          </p:sp>
        </p:grpSp>
        <p:grpSp>
          <p:nvGrpSpPr>
            <p:cNvPr id="1098" name="Graphic 3">
              <a:extLst>
                <a:ext uri="{FF2B5EF4-FFF2-40B4-BE49-F238E27FC236}">
                  <a16:creationId xmlns:a16="http://schemas.microsoft.com/office/drawing/2014/main" id="{875BED0C-1E57-40F2-A17A-0D60E5DD94D9}"/>
                </a:ext>
              </a:extLst>
            </p:cNvPr>
            <p:cNvGrpSpPr/>
            <p:nvPr/>
          </p:nvGrpSpPr>
          <p:grpSpPr>
            <a:xfrm>
              <a:off x="4172000" y="2907911"/>
              <a:ext cx="23307" cy="19708"/>
              <a:chOff x="4172000" y="2907911"/>
              <a:chExt cx="23307" cy="19708"/>
            </a:xfrm>
            <a:grpFill/>
          </p:grpSpPr>
          <p:sp>
            <p:nvSpPr>
              <p:cNvPr id="2106" name="Vrije vorm: vorm 2105">
                <a:extLst>
                  <a:ext uri="{FF2B5EF4-FFF2-40B4-BE49-F238E27FC236}">
                    <a16:creationId xmlns:a16="http://schemas.microsoft.com/office/drawing/2014/main" id="{3C3E1EF5-C5F9-4987-8226-F7C374BB6BE8}"/>
                  </a:ext>
                </a:extLst>
              </p:cNvPr>
              <p:cNvSpPr/>
              <p:nvPr/>
            </p:nvSpPr>
            <p:spPr>
              <a:xfrm>
                <a:off x="4180365" y="2915522"/>
                <a:ext cx="6578" cy="4485"/>
              </a:xfrm>
              <a:custGeom>
                <a:avLst/>
                <a:gdLst>
                  <a:gd name="connsiteX0" fmla="*/ 6579 w 6578"/>
                  <a:gd name="connsiteY0" fmla="*/ 1555 h 4485"/>
                  <a:gd name="connsiteX1" fmla="*/ 5801 w 6578"/>
                  <a:gd name="connsiteY1" fmla="*/ 4486 h 4485"/>
                  <a:gd name="connsiteX2" fmla="*/ 0 w 6578"/>
                  <a:gd name="connsiteY2" fmla="*/ 2990 h 4485"/>
                  <a:gd name="connsiteX3" fmla="*/ 778 w 6578"/>
                  <a:gd name="connsiteY3" fmla="*/ 0 h 4485"/>
                </a:gdLst>
                <a:ahLst/>
                <a:cxnLst>
                  <a:cxn ang="0">
                    <a:pos x="connsiteX0" y="connsiteY0"/>
                  </a:cxn>
                  <a:cxn ang="0">
                    <a:pos x="connsiteX1" y="connsiteY1"/>
                  </a:cxn>
                  <a:cxn ang="0">
                    <a:pos x="connsiteX2" y="connsiteY2"/>
                  </a:cxn>
                  <a:cxn ang="0">
                    <a:pos x="connsiteX3" y="connsiteY3"/>
                  </a:cxn>
                </a:cxnLst>
                <a:rect l="l" t="t" r="r" b="b"/>
                <a:pathLst>
                  <a:path w="6578" h="4485">
                    <a:moveTo>
                      <a:pt x="6579" y="1555"/>
                    </a:moveTo>
                    <a:lnTo>
                      <a:pt x="5801" y="4486"/>
                    </a:lnTo>
                    <a:lnTo>
                      <a:pt x="0" y="2990"/>
                    </a:lnTo>
                    <a:lnTo>
                      <a:pt x="778" y="0"/>
                    </a:lnTo>
                    <a:close/>
                  </a:path>
                </a:pathLst>
              </a:custGeom>
              <a:grpFill/>
              <a:ln w="5978" cap="flat">
                <a:noFill/>
                <a:prstDash val="solid"/>
                <a:miter/>
              </a:ln>
            </p:spPr>
            <p:txBody>
              <a:bodyPr rtlCol="0" anchor="ctr"/>
              <a:lstStyle/>
              <a:p>
                <a:endParaRPr lang="en-GB"/>
              </a:p>
            </p:txBody>
          </p:sp>
          <p:sp>
            <p:nvSpPr>
              <p:cNvPr id="2107" name="Vrije vorm: vorm 2106">
                <a:extLst>
                  <a:ext uri="{FF2B5EF4-FFF2-40B4-BE49-F238E27FC236}">
                    <a16:creationId xmlns:a16="http://schemas.microsoft.com/office/drawing/2014/main" id="{E3BEAC97-54B7-4EBD-AE46-FD565A91C09C}"/>
                  </a:ext>
                </a:extLst>
              </p:cNvPr>
              <p:cNvSpPr/>
              <p:nvPr/>
            </p:nvSpPr>
            <p:spPr>
              <a:xfrm>
                <a:off x="4176964" y="2909227"/>
                <a:ext cx="18343" cy="18392"/>
              </a:xfrm>
              <a:custGeom>
                <a:avLst/>
                <a:gdLst>
                  <a:gd name="connsiteX0" fmla="*/ 11474 w 18343"/>
                  <a:gd name="connsiteY0" fmla="*/ 315 h 18392"/>
                  <a:gd name="connsiteX1" fmla="*/ 18053 w 18343"/>
                  <a:gd name="connsiteY1" fmla="*/ 11559 h 18392"/>
                  <a:gd name="connsiteX2" fmla="*/ 6869 w 18343"/>
                  <a:gd name="connsiteY2" fmla="*/ 18078 h 18392"/>
                  <a:gd name="connsiteX3" fmla="*/ 291 w 18343"/>
                  <a:gd name="connsiteY3" fmla="*/ 6834 h 18392"/>
                  <a:gd name="connsiteX4" fmla="*/ 11474 w 18343"/>
                  <a:gd name="connsiteY4" fmla="*/ 315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11474" y="315"/>
                    </a:moveTo>
                    <a:cubicBezTo>
                      <a:pt x="16379" y="1631"/>
                      <a:pt x="19309" y="6654"/>
                      <a:pt x="18053" y="11559"/>
                    </a:cubicBezTo>
                    <a:cubicBezTo>
                      <a:pt x="16797" y="16463"/>
                      <a:pt x="11773" y="19393"/>
                      <a:pt x="6869" y="18078"/>
                    </a:cubicBezTo>
                    <a:cubicBezTo>
                      <a:pt x="1965" y="16762"/>
                      <a:pt x="-966" y="11738"/>
                      <a:pt x="291" y="6834"/>
                    </a:cubicBezTo>
                    <a:cubicBezTo>
                      <a:pt x="1547" y="1930"/>
                      <a:pt x="6570" y="-1001"/>
                      <a:pt x="11474" y="315"/>
                    </a:cubicBezTo>
                    <a:close/>
                  </a:path>
                </a:pathLst>
              </a:custGeom>
              <a:grpFill/>
              <a:ln w="5978" cap="flat">
                <a:noFill/>
                <a:prstDash val="solid"/>
                <a:miter/>
              </a:ln>
            </p:spPr>
            <p:txBody>
              <a:bodyPr rtlCol="0" anchor="ctr"/>
              <a:lstStyle/>
              <a:p>
                <a:endParaRPr lang="en-GB"/>
              </a:p>
            </p:txBody>
          </p:sp>
          <p:sp>
            <p:nvSpPr>
              <p:cNvPr id="2108" name="Vrije vorm: vorm 2107">
                <a:extLst>
                  <a:ext uri="{FF2B5EF4-FFF2-40B4-BE49-F238E27FC236}">
                    <a16:creationId xmlns:a16="http://schemas.microsoft.com/office/drawing/2014/main" id="{3B7F17D5-8797-4DE7-B8DC-FFC577CE0BF1}"/>
                  </a:ext>
                </a:extLst>
              </p:cNvPr>
              <p:cNvSpPr/>
              <p:nvPr/>
            </p:nvSpPr>
            <p:spPr>
              <a:xfrm>
                <a:off x="4172000" y="2907911"/>
                <a:ext cx="18343" cy="18392"/>
              </a:xfrm>
              <a:custGeom>
                <a:avLst/>
                <a:gdLst>
                  <a:gd name="connsiteX0" fmla="*/ 11474 w 18343"/>
                  <a:gd name="connsiteY0" fmla="*/ 315 h 18392"/>
                  <a:gd name="connsiteX1" fmla="*/ 290 w 18343"/>
                  <a:gd name="connsiteY1" fmla="*/ 6834 h 18392"/>
                  <a:gd name="connsiteX2" fmla="*/ 6869 w 18343"/>
                  <a:gd name="connsiteY2" fmla="*/ 18078 h 18392"/>
                  <a:gd name="connsiteX3" fmla="*/ 18053 w 18343"/>
                  <a:gd name="connsiteY3" fmla="*/ 11559 h 18392"/>
                  <a:gd name="connsiteX4" fmla="*/ 11474 w 18343"/>
                  <a:gd name="connsiteY4" fmla="*/ 315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11474" y="315"/>
                    </a:moveTo>
                    <a:cubicBezTo>
                      <a:pt x="6570" y="-1001"/>
                      <a:pt x="1547" y="1930"/>
                      <a:pt x="290" y="6834"/>
                    </a:cubicBezTo>
                    <a:cubicBezTo>
                      <a:pt x="-965" y="11738"/>
                      <a:pt x="1965" y="16822"/>
                      <a:pt x="6869" y="18078"/>
                    </a:cubicBezTo>
                    <a:cubicBezTo>
                      <a:pt x="11774" y="19393"/>
                      <a:pt x="16797" y="16463"/>
                      <a:pt x="18053" y="11559"/>
                    </a:cubicBezTo>
                    <a:cubicBezTo>
                      <a:pt x="19309" y="6654"/>
                      <a:pt x="16379" y="1631"/>
                      <a:pt x="11474" y="315"/>
                    </a:cubicBezTo>
                    <a:close/>
                  </a:path>
                </a:pathLst>
              </a:custGeom>
              <a:grpFill/>
              <a:ln w="5978" cap="flat">
                <a:noFill/>
                <a:prstDash val="solid"/>
                <a:miter/>
              </a:ln>
            </p:spPr>
            <p:txBody>
              <a:bodyPr rtlCol="0" anchor="ctr"/>
              <a:lstStyle/>
              <a:p>
                <a:endParaRPr lang="en-GB"/>
              </a:p>
            </p:txBody>
          </p:sp>
        </p:grpSp>
        <p:grpSp>
          <p:nvGrpSpPr>
            <p:cNvPr id="1099" name="Graphic 3">
              <a:extLst>
                <a:ext uri="{FF2B5EF4-FFF2-40B4-BE49-F238E27FC236}">
                  <a16:creationId xmlns:a16="http://schemas.microsoft.com/office/drawing/2014/main" id="{3A961D3B-3E88-46D4-BB85-1C82B6907F6D}"/>
                </a:ext>
              </a:extLst>
            </p:cNvPr>
            <p:cNvGrpSpPr/>
            <p:nvPr/>
          </p:nvGrpSpPr>
          <p:grpSpPr>
            <a:xfrm>
              <a:off x="3774124" y="2568338"/>
              <a:ext cx="679052" cy="295661"/>
              <a:chOff x="3774124" y="2568338"/>
              <a:chExt cx="679052" cy="295661"/>
            </a:xfrm>
            <a:grpFill/>
          </p:grpSpPr>
          <p:sp>
            <p:nvSpPr>
              <p:cNvPr id="2103" name="Vrije vorm: vorm 2102">
                <a:extLst>
                  <a:ext uri="{FF2B5EF4-FFF2-40B4-BE49-F238E27FC236}">
                    <a16:creationId xmlns:a16="http://schemas.microsoft.com/office/drawing/2014/main" id="{D2DB20A2-3053-4B8F-866E-5BE5A3B39250}"/>
                  </a:ext>
                </a:extLst>
              </p:cNvPr>
              <p:cNvSpPr/>
              <p:nvPr/>
            </p:nvSpPr>
            <p:spPr>
              <a:xfrm>
                <a:off x="3782288" y="2575997"/>
                <a:ext cx="662723" cy="280376"/>
              </a:xfrm>
              <a:custGeom>
                <a:avLst/>
                <a:gdLst>
                  <a:gd name="connsiteX0" fmla="*/ 662724 w 662723"/>
                  <a:gd name="connsiteY0" fmla="*/ 277565 h 280376"/>
                  <a:gd name="connsiteX1" fmla="*/ 661588 w 662723"/>
                  <a:gd name="connsiteY1" fmla="*/ 280376 h 280376"/>
                  <a:gd name="connsiteX2" fmla="*/ 0 w 662723"/>
                  <a:gd name="connsiteY2" fmla="*/ 2811 h 280376"/>
                  <a:gd name="connsiteX3" fmla="*/ 1136 w 662723"/>
                  <a:gd name="connsiteY3" fmla="*/ 0 h 280376"/>
                </a:gdLst>
                <a:ahLst/>
                <a:cxnLst>
                  <a:cxn ang="0">
                    <a:pos x="connsiteX0" y="connsiteY0"/>
                  </a:cxn>
                  <a:cxn ang="0">
                    <a:pos x="connsiteX1" y="connsiteY1"/>
                  </a:cxn>
                  <a:cxn ang="0">
                    <a:pos x="connsiteX2" y="connsiteY2"/>
                  </a:cxn>
                  <a:cxn ang="0">
                    <a:pos x="connsiteX3" y="connsiteY3"/>
                  </a:cxn>
                </a:cxnLst>
                <a:rect l="l" t="t" r="r" b="b"/>
                <a:pathLst>
                  <a:path w="662723" h="280376">
                    <a:moveTo>
                      <a:pt x="662724" y="277565"/>
                    </a:moveTo>
                    <a:lnTo>
                      <a:pt x="661588" y="280376"/>
                    </a:lnTo>
                    <a:lnTo>
                      <a:pt x="0" y="2811"/>
                    </a:lnTo>
                    <a:lnTo>
                      <a:pt x="1136" y="0"/>
                    </a:lnTo>
                    <a:close/>
                  </a:path>
                </a:pathLst>
              </a:custGeom>
              <a:grpFill/>
              <a:ln w="5978" cap="flat">
                <a:noFill/>
                <a:prstDash val="solid"/>
                <a:miter/>
              </a:ln>
            </p:spPr>
            <p:txBody>
              <a:bodyPr rtlCol="0" anchor="ctr"/>
              <a:lstStyle/>
              <a:p>
                <a:endParaRPr lang="en-GB"/>
              </a:p>
            </p:txBody>
          </p:sp>
          <p:sp>
            <p:nvSpPr>
              <p:cNvPr id="2104" name="Vrije vorm: vorm 2103">
                <a:extLst>
                  <a:ext uri="{FF2B5EF4-FFF2-40B4-BE49-F238E27FC236}">
                    <a16:creationId xmlns:a16="http://schemas.microsoft.com/office/drawing/2014/main" id="{E3B06AFE-A1DD-47F5-8EB9-811AD0163691}"/>
                  </a:ext>
                </a:extLst>
              </p:cNvPr>
              <p:cNvSpPr/>
              <p:nvPr/>
            </p:nvSpPr>
            <p:spPr>
              <a:xfrm>
                <a:off x="4434874" y="2845577"/>
                <a:ext cx="18301" cy="18421"/>
              </a:xfrm>
              <a:custGeom>
                <a:avLst/>
                <a:gdLst>
                  <a:gd name="connsiteX0" fmla="*/ 12650 w 18301"/>
                  <a:gd name="connsiteY0" fmla="*/ 688 h 18421"/>
                  <a:gd name="connsiteX1" fmla="*/ 17614 w 18301"/>
                  <a:gd name="connsiteY1" fmla="*/ 12769 h 18421"/>
                  <a:gd name="connsiteX2" fmla="*/ 5652 w 18301"/>
                  <a:gd name="connsiteY2" fmla="*/ 17733 h 18421"/>
                  <a:gd name="connsiteX3" fmla="*/ 688 w 18301"/>
                  <a:gd name="connsiteY3" fmla="*/ 5652 h 18421"/>
                  <a:gd name="connsiteX4" fmla="*/ 12650 w 18301"/>
                  <a:gd name="connsiteY4" fmla="*/ 68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1">
                    <a:moveTo>
                      <a:pt x="12650" y="688"/>
                    </a:moveTo>
                    <a:cubicBezTo>
                      <a:pt x="17314" y="2662"/>
                      <a:pt x="19528" y="8044"/>
                      <a:pt x="17614" y="12769"/>
                    </a:cubicBezTo>
                    <a:cubicBezTo>
                      <a:pt x="15700" y="17434"/>
                      <a:pt x="10317" y="19647"/>
                      <a:pt x="5652" y="17733"/>
                    </a:cubicBezTo>
                    <a:cubicBezTo>
                      <a:pt x="987" y="15760"/>
                      <a:pt x="-1226" y="10377"/>
                      <a:pt x="688" y="5652"/>
                    </a:cubicBezTo>
                    <a:cubicBezTo>
                      <a:pt x="2602" y="987"/>
                      <a:pt x="7985" y="-1226"/>
                      <a:pt x="12650" y="688"/>
                    </a:cubicBezTo>
                    <a:close/>
                  </a:path>
                </a:pathLst>
              </a:custGeom>
              <a:grpFill/>
              <a:ln w="5978" cap="flat">
                <a:noFill/>
                <a:prstDash val="solid"/>
                <a:miter/>
              </a:ln>
            </p:spPr>
            <p:txBody>
              <a:bodyPr rtlCol="0" anchor="ctr"/>
              <a:lstStyle/>
              <a:p>
                <a:endParaRPr lang="en-GB"/>
              </a:p>
            </p:txBody>
          </p:sp>
          <p:sp>
            <p:nvSpPr>
              <p:cNvPr id="2105" name="Vrije vorm: vorm 2104">
                <a:extLst>
                  <a:ext uri="{FF2B5EF4-FFF2-40B4-BE49-F238E27FC236}">
                    <a16:creationId xmlns:a16="http://schemas.microsoft.com/office/drawing/2014/main" id="{EA229E1E-18B0-469F-979F-736FAFEEB159}"/>
                  </a:ext>
                </a:extLst>
              </p:cNvPr>
              <p:cNvSpPr/>
              <p:nvPr/>
            </p:nvSpPr>
            <p:spPr>
              <a:xfrm>
                <a:off x="3774124" y="2568338"/>
                <a:ext cx="18301" cy="18488"/>
              </a:xfrm>
              <a:custGeom>
                <a:avLst/>
                <a:gdLst>
                  <a:gd name="connsiteX0" fmla="*/ 12650 w 18301"/>
                  <a:gd name="connsiteY0" fmla="*/ 722 h 18488"/>
                  <a:gd name="connsiteX1" fmla="*/ 688 w 18301"/>
                  <a:gd name="connsiteY1" fmla="*/ 5685 h 18488"/>
                  <a:gd name="connsiteX2" fmla="*/ 5652 w 18301"/>
                  <a:gd name="connsiteY2" fmla="*/ 17767 h 18488"/>
                  <a:gd name="connsiteX3" fmla="*/ 17613 w 18301"/>
                  <a:gd name="connsiteY3" fmla="*/ 12802 h 18488"/>
                  <a:gd name="connsiteX4" fmla="*/ 12650 w 18301"/>
                  <a:gd name="connsiteY4" fmla="*/ 722 h 18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88">
                    <a:moveTo>
                      <a:pt x="12650" y="722"/>
                    </a:moveTo>
                    <a:cubicBezTo>
                      <a:pt x="7985" y="-1252"/>
                      <a:pt x="2602" y="961"/>
                      <a:pt x="688" y="5685"/>
                    </a:cubicBezTo>
                    <a:cubicBezTo>
                      <a:pt x="-1226" y="10350"/>
                      <a:pt x="987" y="15793"/>
                      <a:pt x="5652" y="17767"/>
                    </a:cubicBezTo>
                    <a:cubicBezTo>
                      <a:pt x="10317" y="19740"/>
                      <a:pt x="15700" y="17527"/>
                      <a:pt x="17613" y="12802"/>
                    </a:cubicBezTo>
                    <a:cubicBezTo>
                      <a:pt x="19527" y="8078"/>
                      <a:pt x="17314" y="2695"/>
                      <a:pt x="12650" y="722"/>
                    </a:cubicBezTo>
                    <a:close/>
                  </a:path>
                </a:pathLst>
              </a:custGeom>
              <a:grpFill/>
              <a:ln w="5978" cap="flat">
                <a:noFill/>
                <a:prstDash val="solid"/>
                <a:miter/>
              </a:ln>
            </p:spPr>
            <p:txBody>
              <a:bodyPr rtlCol="0" anchor="ctr"/>
              <a:lstStyle/>
              <a:p>
                <a:endParaRPr lang="en-GB"/>
              </a:p>
            </p:txBody>
          </p:sp>
        </p:grpSp>
        <p:grpSp>
          <p:nvGrpSpPr>
            <p:cNvPr id="1100" name="Graphic 3">
              <a:extLst>
                <a:ext uri="{FF2B5EF4-FFF2-40B4-BE49-F238E27FC236}">
                  <a16:creationId xmlns:a16="http://schemas.microsoft.com/office/drawing/2014/main" id="{3111AEBC-BF82-4051-B1B4-4F8E57218F97}"/>
                </a:ext>
              </a:extLst>
            </p:cNvPr>
            <p:cNvGrpSpPr/>
            <p:nvPr/>
          </p:nvGrpSpPr>
          <p:grpSpPr>
            <a:xfrm>
              <a:off x="4198227" y="3203295"/>
              <a:ext cx="192858" cy="66426"/>
              <a:chOff x="4198227" y="3203295"/>
              <a:chExt cx="192858" cy="66426"/>
            </a:xfrm>
            <a:grpFill/>
          </p:grpSpPr>
          <p:sp>
            <p:nvSpPr>
              <p:cNvPr id="2100" name="Vrije vorm: vorm 2099">
                <a:extLst>
                  <a:ext uri="{FF2B5EF4-FFF2-40B4-BE49-F238E27FC236}">
                    <a16:creationId xmlns:a16="http://schemas.microsoft.com/office/drawing/2014/main" id="{05D86B37-91ED-4A56-8818-760F0B605E31}"/>
                  </a:ext>
                </a:extLst>
              </p:cNvPr>
              <p:cNvSpPr/>
              <p:nvPr/>
            </p:nvSpPr>
            <p:spPr>
              <a:xfrm>
                <a:off x="4206560" y="3210850"/>
                <a:ext cx="176191" cy="51314"/>
              </a:xfrm>
              <a:custGeom>
                <a:avLst/>
                <a:gdLst>
                  <a:gd name="connsiteX0" fmla="*/ 176192 w 176191"/>
                  <a:gd name="connsiteY0" fmla="*/ 48324 h 51314"/>
                  <a:gd name="connsiteX1" fmla="*/ 175414 w 176191"/>
                  <a:gd name="connsiteY1" fmla="*/ 51315 h 51314"/>
                  <a:gd name="connsiteX2" fmla="*/ 0 w 176191"/>
                  <a:gd name="connsiteY2" fmla="*/ 2990 h 51314"/>
                  <a:gd name="connsiteX3" fmla="*/ 778 w 176191"/>
                  <a:gd name="connsiteY3" fmla="*/ 0 h 51314"/>
                </a:gdLst>
                <a:ahLst/>
                <a:cxnLst>
                  <a:cxn ang="0">
                    <a:pos x="connsiteX0" y="connsiteY0"/>
                  </a:cxn>
                  <a:cxn ang="0">
                    <a:pos x="connsiteX1" y="connsiteY1"/>
                  </a:cxn>
                  <a:cxn ang="0">
                    <a:pos x="connsiteX2" y="connsiteY2"/>
                  </a:cxn>
                  <a:cxn ang="0">
                    <a:pos x="connsiteX3" y="connsiteY3"/>
                  </a:cxn>
                </a:cxnLst>
                <a:rect l="l" t="t" r="r" b="b"/>
                <a:pathLst>
                  <a:path w="176191" h="51314">
                    <a:moveTo>
                      <a:pt x="176192" y="48324"/>
                    </a:moveTo>
                    <a:lnTo>
                      <a:pt x="175414" y="51315"/>
                    </a:lnTo>
                    <a:lnTo>
                      <a:pt x="0" y="2990"/>
                    </a:lnTo>
                    <a:lnTo>
                      <a:pt x="778" y="0"/>
                    </a:lnTo>
                    <a:close/>
                  </a:path>
                </a:pathLst>
              </a:custGeom>
              <a:grpFill/>
              <a:ln w="5978" cap="flat">
                <a:noFill/>
                <a:prstDash val="solid"/>
                <a:miter/>
              </a:ln>
            </p:spPr>
            <p:txBody>
              <a:bodyPr rtlCol="0" anchor="ctr"/>
              <a:lstStyle/>
              <a:p>
                <a:endParaRPr lang="en-GB"/>
              </a:p>
            </p:txBody>
          </p:sp>
          <p:sp>
            <p:nvSpPr>
              <p:cNvPr id="2101" name="Vrije vorm: vorm 2100">
                <a:extLst>
                  <a:ext uri="{FF2B5EF4-FFF2-40B4-BE49-F238E27FC236}">
                    <a16:creationId xmlns:a16="http://schemas.microsoft.com/office/drawing/2014/main" id="{C5CA7624-EBB9-4ED9-8B72-7C7C5FDB7F9D}"/>
                  </a:ext>
                </a:extLst>
              </p:cNvPr>
              <p:cNvSpPr/>
              <p:nvPr/>
            </p:nvSpPr>
            <p:spPr>
              <a:xfrm>
                <a:off x="4372744" y="3251320"/>
                <a:ext cx="18341" cy="18400"/>
              </a:xfrm>
              <a:custGeom>
                <a:avLst/>
                <a:gdLst>
                  <a:gd name="connsiteX0" fmla="*/ 11563 w 18341"/>
                  <a:gd name="connsiteY0" fmla="*/ 319 h 18400"/>
                  <a:gd name="connsiteX1" fmla="*/ 18022 w 18341"/>
                  <a:gd name="connsiteY1" fmla="*/ 11623 h 18400"/>
                  <a:gd name="connsiteX2" fmla="*/ 6778 w 18341"/>
                  <a:gd name="connsiteY2" fmla="*/ 18082 h 18400"/>
                  <a:gd name="connsiteX3" fmla="*/ 319 w 18341"/>
                  <a:gd name="connsiteY3" fmla="*/ 6778 h 18400"/>
                  <a:gd name="connsiteX4" fmla="*/ 11563 w 18341"/>
                  <a:gd name="connsiteY4" fmla="*/ 31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0">
                    <a:moveTo>
                      <a:pt x="11563" y="319"/>
                    </a:moveTo>
                    <a:cubicBezTo>
                      <a:pt x="16467" y="1635"/>
                      <a:pt x="19338" y="6718"/>
                      <a:pt x="18022" y="11623"/>
                    </a:cubicBezTo>
                    <a:cubicBezTo>
                      <a:pt x="16706" y="16527"/>
                      <a:pt x="11683" y="19398"/>
                      <a:pt x="6778" y="18082"/>
                    </a:cubicBezTo>
                    <a:cubicBezTo>
                      <a:pt x="1874" y="16766"/>
                      <a:pt x="-997" y="11682"/>
                      <a:pt x="319" y="6778"/>
                    </a:cubicBezTo>
                    <a:cubicBezTo>
                      <a:pt x="1694" y="1874"/>
                      <a:pt x="6718" y="-997"/>
                      <a:pt x="11563" y="319"/>
                    </a:cubicBezTo>
                    <a:close/>
                  </a:path>
                </a:pathLst>
              </a:custGeom>
              <a:grpFill/>
              <a:ln w="5978" cap="flat">
                <a:noFill/>
                <a:prstDash val="solid"/>
                <a:miter/>
              </a:ln>
            </p:spPr>
            <p:txBody>
              <a:bodyPr rtlCol="0" anchor="ctr"/>
              <a:lstStyle/>
              <a:p>
                <a:endParaRPr lang="en-GB"/>
              </a:p>
            </p:txBody>
          </p:sp>
          <p:sp>
            <p:nvSpPr>
              <p:cNvPr id="2102" name="Vrije vorm: vorm 2101">
                <a:extLst>
                  <a:ext uri="{FF2B5EF4-FFF2-40B4-BE49-F238E27FC236}">
                    <a16:creationId xmlns:a16="http://schemas.microsoft.com/office/drawing/2014/main" id="{8D76F4D4-4E88-488F-B15C-BCE328136F66}"/>
                  </a:ext>
                </a:extLst>
              </p:cNvPr>
              <p:cNvSpPr/>
              <p:nvPr/>
            </p:nvSpPr>
            <p:spPr>
              <a:xfrm>
                <a:off x="4198227" y="3203295"/>
                <a:ext cx="18337" cy="18400"/>
              </a:xfrm>
              <a:custGeom>
                <a:avLst/>
                <a:gdLst>
                  <a:gd name="connsiteX0" fmla="*/ 11563 w 18337"/>
                  <a:gd name="connsiteY0" fmla="*/ 319 h 18400"/>
                  <a:gd name="connsiteX1" fmla="*/ 319 w 18337"/>
                  <a:gd name="connsiteY1" fmla="*/ 6778 h 18400"/>
                  <a:gd name="connsiteX2" fmla="*/ 6778 w 18337"/>
                  <a:gd name="connsiteY2" fmla="*/ 18082 h 18400"/>
                  <a:gd name="connsiteX3" fmla="*/ 18022 w 18337"/>
                  <a:gd name="connsiteY3" fmla="*/ 11623 h 18400"/>
                  <a:gd name="connsiteX4" fmla="*/ 11563 w 18337"/>
                  <a:gd name="connsiteY4" fmla="*/ 319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00">
                    <a:moveTo>
                      <a:pt x="11563" y="319"/>
                    </a:moveTo>
                    <a:cubicBezTo>
                      <a:pt x="6659" y="-997"/>
                      <a:pt x="1635" y="1874"/>
                      <a:pt x="319" y="6778"/>
                    </a:cubicBezTo>
                    <a:cubicBezTo>
                      <a:pt x="-997" y="11682"/>
                      <a:pt x="1874" y="16766"/>
                      <a:pt x="6778" y="18082"/>
                    </a:cubicBezTo>
                    <a:cubicBezTo>
                      <a:pt x="11683" y="19398"/>
                      <a:pt x="16706" y="16527"/>
                      <a:pt x="18022" y="11623"/>
                    </a:cubicBezTo>
                    <a:cubicBezTo>
                      <a:pt x="19338" y="6718"/>
                      <a:pt x="16407" y="1635"/>
                      <a:pt x="11563" y="319"/>
                    </a:cubicBezTo>
                    <a:close/>
                  </a:path>
                </a:pathLst>
              </a:custGeom>
              <a:grpFill/>
              <a:ln w="5978" cap="flat">
                <a:noFill/>
                <a:prstDash val="solid"/>
                <a:miter/>
              </a:ln>
            </p:spPr>
            <p:txBody>
              <a:bodyPr rtlCol="0" anchor="ctr"/>
              <a:lstStyle/>
              <a:p>
                <a:endParaRPr lang="en-GB"/>
              </a:p>
            </p:txBody>
          </p:sp>
        </p:grpSp>
        <p:grpSp>
          <p:nvGrpSpPr>
            <p:cNvPr id="1101" name="Graphic 3">
              <a:extLst>
                <a:ext uri="{FF2B5EF4-FFF2-40B4-BE49-F238E27FC236}">
                  <a16:creationId xmlns:a16="http://schemas.microsoft.com/office/drawing/2014/main" id="{63B745A4-8D74-405A-AC0C-6FF85E47803A}"/>
                </a:ext>
              </a:extLst>
            </p:cNvPr>
            <p:cNvGrpSpPr/>
            <p:nvPr/>
          </p:nvGrpSpPr>
          <p:grpSpPr>
            <a:xfrm>
              <a:off x="4244402" y="3308978"/>
              <a:ext cx="148647" cy="25510"/>
              <a:chOff x="4244402" y="3308978"/>
              <a:chExt cx="148647" cy="25510"/>
            </a:xfrm>
            <a:grpFill/>
          </p:grpSpPr>
          <p:sp>
            <p:nvSpPr>
              <p:cNvPr id="2097" name="Vrije vorm: vorm 2096">
                <a:extLst>
                  <a:ext uri="{FF2B5EF4-FFF2-40B4-BE49-F238E27FC236}">
                    <a16:creationId xmlns:a16="http://schemas.microsoft.com/office/drawing/2014/main" id="{1B22D0B7-D829-4A42-BE2D-9C88DEB1AE99}"/>
                  </a:ext>
                </a:extLst>
              </p:cNvPr>
              <p:cNvSpPr/>
              <p:nvPr/>
            </p:nvSpPr>
            <p:spPr>
              <a:xfrm>
                <a:off x="4253030" y="3316589"/>
                <a:ext cx="131396" cy="10226"/>
              </a:xfrm>
              <a:custGeom>
                <a:avLst/>
                <a:gdLst>
                  <a:gd name="connsiteX0" fmla="*/ 131397 w 131396"/>
                  <a:gd name="connsiteY0" fmla="*/ 7177 h 10226"/>
                  <a:gd name="connsiteX1" fmla="*/ 131217 w 131396"/>
                  <a:gd name="connsiteY1" fmla="*/ 10227 h 10226"/>
                  <a:gd name="connsiteX2" fmla="*/ 0 w 131396"/>
                  <a:gd name="connsiteY2" fmla="*/ 3050 h 10226"/>
                  <a:gd name="connsiteX3" fmla="*/ 120 w 131396"/>
                  <a:gd name="connsiteY3" fmla="*/ 0 h 10226"/>
                </a:gdLst>
                <a:ahLst/>
                <a:cxnLst>
                  <a:cxn ang="0">
                    <a:pos x="connsiteX0" y="connsiteY0"/>
                  </a:cxn>
                  <a:cxn ang="0">
                    <a:pos x="connsiteX1" y="connsiteY1"/>
                  </a:cxn>
                  <a:cxn ang="0">
                    <a:pos x="connsiteX2" y="connsiteY2"/>
                  </a:cxn>
                  <a:cxn ang="0">
                    <a:pos x="connsiteX3" y="connsiteY3"/>
                  </a:cxn>
                </a:cxnLst>
                <a:rect l="l" t="t" r="r" b="b"/>
                <a:pathLst>
                  <a:path w="131396" h="10226">
                    <a:moveTo>
                      <a:pt x="131397" y="7177"/>
                    </a:moveTo>
                    <a:lnTo>
                      <a:pt x="131217" y="10227"/>
                    </a:lnTo>
                    <a:lnTo>
                      <a:pt x="0" y="3050"/>
                    </a:lnTo>
                    <a:lnTo>
                      <a:pt x="120" y="0"/>
                    </a:lnTo>
                    <a:close/>
                  </a:path>
                </a:pathLst>
              </a:custGeom>
              <a:grpFill/>
              <a:ln w="5978" cap="flat">
                <a:noFill/>
                <a:prstDash val="solid"/>
                <a:miter/>
              </a:ln>
            </p:spPr>
            <p:txBody>
              <a:bodyPr rtlCol="0" anchor="ctr"/>
              <a:lstStyle/>
              <a:p>
                <a:endParaRPr lang="en-GB"/>
              </a:p>
            </p:txBody>
          </p:sp>
          <p:sp>
            <p:nvSpPr>
              <p:cNvPr id="2098" name="Vrije vorm: vorm 2097">
                <a:extLst>
                  <a:ext uri="{FF2B5EF4-FFF2-40B4-BE49-F238E27FC236}">
                    <a16:creationId xmlns:a16="http://schemas.microsoft.com/office/drawing/2014/main" id="{C945489F-341D-44BF-965D-27756CDEDA95}"/>
                  </a:ext>
                </a:extLst>
              </p:cNvPr>
              <p:cNvSpPr/>
              <p:nvPr/>
            </p:nvSpPr>
            <p:spPr>
              <a:xfrm>
                <a:off x="4244402" y="3308978"/>
                <a:ext cx="18333" cy="18387"/>
              </a:xfrm>
              <a:custGeom>
                <a:avLst/>
                <a:gdLst>
                  <a:gd name="connsiteX0" fmla="*/ 8688 w 18333"/>
                  <a:gd name="connsiteY0" fmla="*/ 18377 h 18387"/>
                  <a:gd name="connsiteX1" fmla="*/ 16 w 18333"/>
                  <a:gd name="connsiteY1" fmla="*/ 8688 h 18387"/>
                  <a:gd name="connsiteX2" fmla="*/ 9645 w 18333"/>
                  <a:gd name="connsiteY2" fmla="*/ 16 h 18387"/>
                  <a:gd name="connsiteX3" fmla="*/ 18317 w 18333"/>
                  <a:gd name="connsiteY3" fmla="*/ 9705 h 18387"/>
                  <a:gd name="connsiteX4" fmla="*/ 8688 w 18333"/>
                  <a:gd name="connsiteY4" fmla="*/ 18377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87">
                    <a:moveTo>
                      <a:pt x="8688" y="18377"/>
                    </a:moveTo>
                    <a:cubicBezTo>
                      <a:pt x="3605" y="18078"/>
                      <a:pt x="-283" y="13772"/>
                      <a:pt x="16" y="8688"/>
                    </a:cubicBezTo>
                    <a:cubicBezTo>
                      <a:pt x="256" y="3605"/>
                      <a:pt x="4562" y="-283"/>
                      <a:pt x="9645" y="16"/>
                    </a:cubicBezTo>
                    <a:cubicBezTo>
                      <a:pt x="14729" y="315"/>
                      <a:pt x="18616" y="4621"/>
                      <a:pt x="18317" y="9705"/>
                    </a:cubicBezTo>
                    <a:cubicBezTo>
                      <a:pt x="18078" y="14729"/>
                      <a:pt x="13772" y="18616"/>
                      <a:pt x="8688" y="18377"/>
                    </a:cubicBezTo>
                    <a:close/>
                  </a:path>
                </a:pathLst>
              </a:custGeom>
              <a:grpFill/>
              <a:ln w="5978" cap="flat">
                <a:noFill/>
                <a:prstDash val="solid"/>
                <a:miter/>
              </a:ln>
            </p:spPr>
            <p:txBody>
              <a:bodyPr rtlCol="0" anchor="ctr"/>
              <a:lstStyle/>
              <a:p>
                <a:endParaRPr lang="en-GB"/>
              </a:p>
            </p:txBody>
          </p:sp>
          <p:sp>
            <p:nvSpPr>
              <p:cNvPr id="2099" name="Vrije vorm: vorm 2098">
                <a:extLst>
                  <a:ext uri="{FF2B5EF4-FFF2-40B4-BE49-F238E27FC236}">
                    <a16:creationId xmlns:a16="http://schemas.microsoft.com/office/drawing/2014/main" id="{D10DC954-5CBD-4B9B-9B71-37CAB330DF53}"/>
                  </a:ext>
                </a:extLst>
              </p:cNvPr>
              <p:cNvSpPr/>
              <p:nvPr/>
            </p:nvSpPr>
            <p:spPr>
              <a:xfrm>
                <a:off x="4374722" y="3316100"/>
                <a:ext cx="18327" cy="18387"/>
              </a:xfrm>
              <a:custGeom>
                <a:avLst/>
                <a:gdLst>
                  <a:gd name="connsiteX0" fmla="*/ 8688 w 18327"/>
                  <a:gd name="connsiteY0" fmla="*/ 18371 h 18387"/>
                  <a:gd name="connsiteX1" fmla="*/ 18317 w 18327"/>
                  <a:gd name="connsiteY1" fmla="*/ 9699 h 18387"/>
                  <a:gd name="connsiteX2" fmla="*/ 9645 w 18327"/>
                  <a:gd name="connsiteY2" fmla="*/ 11 h 18387"/>
                  <a:gd name="connsiteX3" fmla="*/ 16 w 18327"/>
                  <a:gd name="connsiteY3" fmla="*/ 8683 h 18387"/>
                  <a:gd name="connsiteX4" fmla="*/ 8688 w 18327"/>
                  <a:gd name="connsiteY4" fmla="*/ 18371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87">
                    <a:moveTo>
                      <a:pt x="8688" y="18371"/>
                    </a:moveTo>
                    <a:cubicBezTo>
                      <a:pt x="13772" y="18670"/>
                      <a:pt x="18077" y="14783"/>
                      <a:pt x="18317" y="9699"/>
                    </a:cubicBezTo>
                    <a:cubicBezTo>
                      <a:pt x="18556" y="4616"/>
                      <a:pt x="14668" y="250"/>
                      <a:pt x="9645" y="11"/>
                    </a:cubicBezTo>
                    <a:cubicBezTo>
                      <a:pt x="4621" y="-229"/>
                      <a:pt x="255" y="3599"/>
                      <a:pt x="16" y="8683"/>
                    </a:cubicBezTo>
                    <a:cubicBezTo>
                      <a:pt x="-283" y="13766"/>
                      <a:pt x="3664" y="18132"/>
                      <a:pt x="8688" y="18371"/>
                    </a:cubicBezTo>
                    <a:close/>
                  </a:path>
                </a:pathLst>
              </a:custGeom>
              <a:grpFill/>
              <a:ln w="5978" cap="flat">
                <a:noFill/>
                <a:prstDash val="solid"/>
                <a:miter/>
              </a:ln>
            </p:spPr>
            <p:txBody>
              <a:bodyPr rtlCol="0" anchor="ctr"/>
              <a:lstStyle/>
              <a:p>
                <a:endParaRPr lang="en-GB"/>
              </a:p>
            </p:txBody>
          </p:sp>
        </p:grpSp>
        <p:grpSp>
          <p:nvGrpSpPr>
            <p:cNvPr id="1102" name="Graphic 3">
              <a:extLst>
                <a:ext uri="{FF2B5EF4-FFF2-40B4-BE49-F238E27FC236}">
                  <a16:creationId xmlns:a16="http://schemas.microsoft.com/office/drawing/2014/main" id="{23A01FBB-4771-40FA-A2D0-B4DCAB5A03FF}"/>
                </a:ext>
              </a:extLst>
            </p:cNvPr>
            <p:cNvGrpSpPr/>
            <p:nvPr/>
          </p:nvGrpSpPr>
          <p:grpSpPr>
            <a:xfrm>
              <a:off x="4027563" y="2950248"/>
              <a:ext cx="364035" cy="127943"/>
              <a:chOff x="4027563" y="2950248"/>
              <a:chExt cx="364035" cy="127943"/>
            </a:xfrm>
            <a:grpFill/>
          </p:grpSpPr>
          <p:sp>
            <p:nvSpPr>
              <p:cNvPr id="2094" name="Vrije vorm: vorm 2093">
                <a:extLst>
                  <a:ext uri="{FF2B5EF4-FFF2-40B4-BE49-F238E27FC236}">
                    <a16:creationId xmlns:a16="http://schemas.microsoft.com/office/drawing/2014/main" id="{D6D94D1C-B5F8-4129-82EE-79E49CE9B2D1}"/>
                  </a:ext>
                </a:extLst>
              </p:cNvPr>
              <p:cNvSpPr/>
              <p:nvPr/>
            </p:nvSpPr>
            <p:spPr>
              <a:xfrm>
                <a:off x="4035870" y="2957866"/>
                <a:ext cx="347420" cy="112736"/>
              </a:xfrm>
              <a:custGeom>
                <a:avLst/>
                <a:gdLst>
                  <a:gd name="connsiteX0" fmla="*/ 347420 w 347420"/>
                  <a:gd name="connsiteY0" fmla="*/ 109806 h 112736"/>
                  <a:gd name="connsiteX1" fmla="*/ 346523 w 347420"/>
                  <a:gd name="connsiteY1" fmla="*/ 112736 h 112736"/>
                  <a:gd name="connsiteX2" fmla="*/ 0 w 347420"/>
                  <a:gd name="connsiteY2" fmla="*/ 2930 h 112736"/>
                  <a:gd name="connsiteX3" fmla="*/ 897 w 347420"/>
                  <a:gd name="connsiteY3" fmla="*/ 0 h 112736"/>
                </a:gdLst>
                <a:ahLst/>
                <a:cxnLst>
                  <a:cxn ang="0">
                    <a:pos x="connsiteX0" y="connsiteY0"/>
                  </a:cxn>
                  <a:cxn ang="0">
                    <a:pos x="connsiteX1" y="connsiteY1"/>
                  </a:cxn>
                  <a:cxn ang="0">
                    <a:pos x="connsiteX2" y="connsiteY2"/>
                  </a:cxn>
                  <a:cxn ang="0">
                    <a:pos x="connsiteX3" y="connsiteY3"/>
                  </a:cxn>
                </a:cxnLst>
                <a:rect l="l" t="t" r="r" b="b"/>
                <a:pathLst>
                  <a:path w="347420" h="112736">
                    <a:moveTo>
                      <a:pt x="347420" y="109806"/>
                    </a:moveTo>
                    <a:lnTo>
                      <a:pt x="346523" y="112736"/>
                    </a:lnTo>
                    <a:lnTo>
                      <a:pt x="0" y="2930"/>
                    </a:lnTo>
                    <a:lnTo>
                      <a:pt x="897" y="0"/>
                    </a:lnTo>
                    <a:close/>
                  </a:path>
                </a:pathLst>
              </a:custGeom>
              <a:grpFill/>
              <a:ln w="5978" cap="flat">
                <a:noFill/>
                <a:prstDash val="solid"/>
                <a:miter/>
              </a:ln>
            </p:spPr>
            <p:txBody>
              <a:bodyPr rtlCol="0" anchor="ctr"/>
              <a:lstStyle/>
              <a:p>
                <a:endParaRPr lang="en-GB"/>
              </a:p>
            </p:txBody>
          </p:sp>
          <p:sp>
            <p:nvSpPr>
              <p:cNvPr id="2095" name="Vrije vorm: vorm 2094">
                <a:extLst>
                  <a:ext uri="{FF2B5EF4-FFF2-40B4-BE49-F238E27FC236}">
                    <a16:creationId xmlns:a16="http://schemas.microsoft.com/office/drawing/2014/main" id="{6DFDB831-7F7B-41D6-8F94-48DC53032B54}"/>
                  </a:ext>
                </a:extLst>
              </p:cNvPr>
              <p:cNvSpPr/>
              <p:nvPr/>
            </p:nvSpPr>
            <p:spPr>
              <a:xfrm>
                <a:off x="4373249" y="3059755"/>
                <a:ext cx="18349" cy="18436"/>
              </a:xfrm>
              <a:custGeom>
                <a:avLst/>
                <a:gdLst>
                  <a:gd name="connsiteX0" fmla="*/ 11896 w 18349"/>
                  <a:gd name="connsiteY0" fmla="*/ 440 h 18436"/>
                  <a:gd name="connsiteX1" fmla="*/ 17936 w 18349"/>
                  <a:gd name="connsiteY1" fmla="*/ 11983 h 18436"/>
                  <a:gd name="connsiteX2" fmla="*/ 6453 w 18349"/>
                  <a:gd name="connsiteY2" fmla="*/ 18024 h 18436"/>
                  <a:gd name="connsiteX3" fmla="*/ 413 w 18349"/>
                  <a:gd name="connsiteY3" fmla="*/ 6481 h 18436"/>
                  <a:gd name="connsiteX4" fmla="*/ 11896 w 18349"/>
                  <a:gd name="connsiteY4" fmla="*/ 440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36">
                    <a:moveTo>
                      <a:pt x="11896" y="440"/>
                    </a:moveTo>
                    <a:cubicBezTo>
                      <a:pt x="16740" y="1996"/>
                      <a:pt x="19432" y="7139"/>
                      <a:pt x="17936" y="11983"/>
                    </a:cubicBezTo>
                    <a:cubicBezTo>
                      <a:pt x="16441" y="16828"/>
                      <a:pt x="11298" y="19519"/>
                      <a:pt x="6453" y="18024"/>
                    </a:cubicBezTo>
                    <a:cubicBezTo>
                      <a:pt x="1609" y="16469"/>
                      <a:pt x="-1082" y="11325"/>
                      <a:pt x="413" y="6481"/>
                    </a:cubicBezTo>
                    <a:cubicBezTo>
                      <a:pt x="1908" y="1577"/>
                      <a:pt x="7051" y="-1115"/>
                      <a:pt x="11896" y="440"/>
                    </a:cubicBezTo>
                    <a:close/>
                  </a:path>
                </a:pathLst>
              </a:custGeom>
              <a:grpFill/>
              <a:ln w="5978" cap="flat">
                <a:noFill/>
                <a:prstDash val="solid"/>
                <a:miter/>
              </a:ln>
            </p:spPr>
            <p:txBody>
              <a:bodyPr rtlCol="0" anchor="ctr"/>
              <a:lstStyle/>
              <a:p>
                <a:endParaRPr lang="en-GB"/>
              </a:p>
            </p:txBody>
          </p:sp>
          <p:sp>
            <p:nvSpPr>
              <p:cNvPr id="2096" name="Vrije vorm: vorm 2095">
                <a:extLst>
                  <a:ext uri="{FF2B5EF4-FFF2-40B4-BE49-F238E27FC236}">
                    <a16:creationId xmlns:a16="http://schemas.microsoft.com/office/drawing/2014/main" id="{775B3C1B-F7B5-4039-ADEF-F78E40EF0375}"/>
                  </a:ext>
                </a:extLst>
              </p:cNvPr>
              <p:cNvSpPr/>
              <p:nvPr/>
            </p:nvSpPr>
            <p:spPr>
              <a:xfrm>
                <a:off x="4027563" y="2950248"/>
                <a:ext cx="18349" cy="18464"/>
              </a:xfrm>
              <a:custGeom>
                <a:avLst/>
                <a:gdLst>
                  <a:gd name="connsiteX0" fmla="*/ 11896 w 18349"/>
                  <a:gd name="connsiteY0" fmla="*/ 440 h 18464"/>
                  <a:gd name="connsiteX1" fmla="*/ 413 w 18349"/>
                  <a:gd name="connsiteY1" fmla="*/ 6481 h 18464"/>
                  <a:gd name="connsiteX2" fmla="*/ 6453 w 18349"/>
                  <a:gd name="connsiteY2" fmla="*/ 18024 h 18464"/>
                  <a:gd name="connsiteX3" fmla="*/ 17936 w 18349"/>
                  <a:gd name="connsiteY3" fmla="*/ 11983 h 18464"/>
                  <a:gd name="connsiteX4" fmla="*/ 11896 w 18349"/>
                  <a:gd name="connsiteY4" fmla="*/ 440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4">
                    <a:moveTo>
                      <a:pt x="11896" y="440"/>
                    </a:moveTo>
                    <a:cubicBezTo>
                      <a:pt x="7052" y="-1115"/>
                      <a:pt x="1908" y="1577"/>
                      <a:pt x="413" y="6481"/>
                    </a:cubicBezTo>
                    <a:cubicBezTo>
                      <a:pt x="-1082" y="11325"/>
                      <a:pt x="1609" y="16529"/>
                      <a:pt x="6453" y="18024"/>
                    </a:cubicBezTo>
                    <a:cubicBezTo>
                      <a:pt x="11298" y="19579"/>
                      <a:pt x="16441" y="16887"/>
                      <a:pt x="17936" y="11983"/>
                    </a:cubicBezTo>
                    <a:cubicBezTo>
                      <a:pt x="19432" y="7139"/>
                      <a:pt x="16741" y="1936"/>
                      <a:pt x="11896" y="440"/>
                    </a:cubicBezTo>
                    <a:close/>
                  </a:path>
                </a:pathLst>
              </a:custGeom>
              <a:grpFill/>
              <a:ln w="5978" cap="flat">
                <a:noFill/>
                <a:prstDash val="solid"/>
                <a:miter/>
              </a:ln>
            </p:spPr>
            <p:txBody>
              <a:bodyPr rtlCol="0" anchor="ctr"/>
              <a:lstStyle/>
              <a:p>
                <a:endParaRPr lang="en-GB"/>
              </a:p>
            </p:txBody>
          </p:sp>
        </p:grpSp>
        <p:grpSp>
          <p:nvGrpSpPr>
            <p:cNvPr id="1103" name="Graphic 3">
              <a:extLst>
                <a:ext uri="{FF2B5EF4-FFF2-40B4-BE49-F238E27FC236}">
                  <a16:creationId xmlns:a16="http://schemas.microsoft.com/office/drawing/2014/main" id="{F0071E04-9556-47DB-8799-E8B9AE022467}"/>
                </a:ext>
              </a:extLst>
            </p:cNvPr>
            <p:cNvGrpSpPr/>
            <p:nvPr/>
          </p:nvGrpSpPr>
          <p:grpSpPr>
            <a:xfrm>
              <a:off x="4700260" y="4607766"/>
              <a:ext cx="127369" cy="124222"/>
              <a:chOff x="4700260" y="4607766"/>
              <a:chExt cx="127369" cy="124222"/>
            </a:xfrm>
            <a:grpFill/>
          </p:grpSpPr>
          <p:sp>
            <p:nvSpPr>
              <p:cNvPr id="2091" name="Vrije vorm: vorm 2090">
                <a:extLst>
                  <a:ext uri="{FF2B5EF4-FFF2-40B4-BE49-F238E27FC236}">
                    <a16:creationId xmlns:a16="http://schemas.microsoft.com/office/drawing/2014/main" id="{8FCD858D-9016-4255-8231-4D7EB97E4955}"/>
                  </a:ext>
                </a:extLst>
              </p:cNvPr>
              <p:cNvSpPr/>
              <p:nvPr/>
            </p:nvSpPr>
            <p:spPr>
              <a:xfrm>
                <a:off x="4708044" y="4615542"/>
                <a:ext cx="111839" cy="108609"/>
              </a:xfrm>
              <a:custGeom>
                <a:avLst/>
                <a:gdLst>
                  <a:gd name="connsiteX0" fmla="*/ 111840 w 111839"/>
                  <a:gd name="connsiteY0" fmla="*/ 2213 h 108609"/>
                  <a:gd name="connsiteX1" fmla="*/ 2153 w 111839"/>
                  <a:gd name="connsiteY1" fmla="*/ 108610 h 108609"/>
                  <a:gd name="connsiteX2" fmla="*/ 0 w 111839"/>
                  <a:gd name="connsiteY2" fmla="*/ 106397 h 108609"/>
                  <a:gd name="connsiteX3" fmla="*/ 109687 w 111839"/>
                  <a:gd name="connsiteY3" fmla="*/ 0 h 108609"/>
                </a:gdLst>
                <a:ahLst/>
                <a:cxnLst>
                  <a:cxn ang="0">
                    <a:pos x="connsiteX0" y="connsiteY0"/>
                  </a:cxn>
                  <a:cxn ang="0">
                    <a:pos x="connsiteX1" y="connsiteY1"/>
                  </a:cxn>
                  <a:cxn ang="0">
                    <a:pos x="connsiteX2" y="connsiteY2"/>
                  </a:cxn>
                  <a:cxn ang="0">
                    <a:pos x="connsiteX3" y="connsiteY3"/>
                  </a:cxn>
                </a:cxnLst>
                <a:rect l="l" t="t" r="r" b="b"/>
                <a:pathLst>
                  <a:path w="111839" h="108609">
                    <a:moveTo>
                      <a:pt x="111840" y="2213"/>
                    </a:moveTo>
                    <a:lnTo>
                      <a:pt x="2153" y="108610"/>
                    </a:lnTo>
                    <a:lnTo>
                      <a:pt x="0" y="106397"/>
                    </a:lnTo>
                    <a:lnTo>
                      <a:pt x="109687" y="0"/>
                    </a:lnTo>
                    <a:close/>
                  </a:path>
                </a:pathLst>
              </a:custGeom>
              <a:grpFill/>
              <a:ln w="5978" cap="flat">
                <a:noFill/>
                <a:prstDash val="solid"/>
                <a:miter/>
              </a:ln>
            </p:spPr>
            <p:txBody>
              <a:bodyPr rtlCol="0" anchor="ctr"/>
              <a:lstStyle/>
              <a:p>
                <a:endParaRPr lang="en-GB"/>
              </a:p>
            </p:txBody>
          </p:sp>
          <p:sp>
            <p:nvSpPr>
              <p:cNvPr id="2092" name="Vrije vorm: vorm 2091">
                <a:extLst>
                  <a:ext uri="{FF2B5EF4-FFF2-40B4-BE49-F238E27FC236}">
                    <a16:creationId xmlns:a16="http://schemas.microsoft.com/office/drawing/2014/main" id="{17CB255C-103B-4341-8D16-1582132306FF}"/>
                  </a:ext>
                </a:extLst>
              </p:cNvPr>
              <p:cNvSpPr/>
              <p:nvPr/>
            </p:nvSpPr>
            <p:spPr>
              <a:xfrm>
                <a:off x="4700260" y="4713565"/>
                <a:ext cx="18340" cy="18423"/>
              </a:xfrm>
              <a:custGeom>
                <a:avLst/>
                <a:gdLst>
                  <a:gd name="connsiteX0" fmla="*/ 15559 w 18340"/>
                  <a:gd name="connsiteY0" fmla="*/ 15851 h 18423"/>
                  <a:gd name="connsiteX1" fmla="*/ 2580 w 18340"/>
                  <a:gd name="connsiteY1" fmla="*/ 15611 h 18423"/>
                  <a:gd name="connsiteX2" fmla="*/ 2760 w 18340"/>
                  <a:gd name="connsiteY2" fmla="*/ 2573 h 18423"/>
                  <a:gd name="connsiteX3" fmla="*/ 15738 w 18340"/>
                  <a:gd name="connsiteY3" fmla="*/ 2813 h 18423"/>
                  <a:gd name="connsiteX4" fmla="*/ 15559 w 18340"/>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3">
                    <a:moveTo>
                      <a:pt x="15559" y="15851"/>
                    </a:moveTo>
                    <a:cubicBezTo>
                      <a:pt x="11910" y="19379"/>
                      <a:pt x="6109" y="19260"/>
                      <a:pt x="2580" y="15611"/>
                    </a:cubicBezTo>
                    <a:cubicBezTo>
                      <a:pt x="-948" y="11963"/>
                      <a:pt x="-829" y="6102"/>
                      <a:pt x="2760" y="2573"/>
                    </a:cubicBezTo>
                    <a:cubicBezTo>
                      <a:pt x="6408" y="-955"/>
                      <a:pt x="12209" y="-836"/>
                      <a:pt x="15738" y="2813"/>
                    </a:cubicBezTo>
                    <a:cubicBezTo>
                      <a:pt x="19267" y="6461"/>
                      <a:pt x="19207" y="12322"/>
                      <a:pt x="15559" y="15851"/>
                    </a:cubicBezTo>
                    <a:close/>
                  </a:path>
                </a:pathLst>
              </a:custGeom>
              <a:grpFill/>
              <a:ln w="5978" cap="flat">
                <a:noFill/>
                <a:prstDash val="solid"/>
                <a:miter/>
              </a:ln>
            </p:spPr>
            <p:txBody>
              <a:bodyPr rtlCol="0" anchor="ctr"/>
              <a:lstStyle/>
              <a:p>
                <a:endParaRPr lang="en-GB"/>
              </a:p>
            </p:txBody>
          </p:sp>
          <p:sp>
            <p:nvSpPr>
              <p:cNvPr id="2093" name="Vrije vorm: vorm 2092">
                <a:extLst>
                  <a:ext uri="{FF2B5EF4-FFF2-40B4-BE49-F238E27FC236}">
                    <a16:creationId xmlns:a16="http://schemas.microsoft.com/office/drawing/2014/main" id="{CCC1B363-F100-41DD-80E9-902AAB4B5A83}"/>
                  </a:ext>
                </a:extLst>
              </p:cNvPr>
              <p:cNvSpPr/>
              <p:nvPr/>
            </p:nvSpPr>
            <p:spPr>
              <a:xfrm>
                <a:off x="4809267" y="4607766"/>
                <a:ext cx="18362" cy="18424"/>
              </a:xfrm>
              <a:custGeom>
                <a:avLst/>
                <a:gdLst>
                  <a:gd name="connsiteX0" fmla="*/ 15581 w 18362"/>
                  <a:gd name="connsiteY0" fmla="*/ 15851 h 18424"/>
                  <a:gd name="connsiteX1" fmla="*/ 15760 w 18362"/>
                  <a:gd name="connsiteY1" fmla="*/ 2813 h 18424"/>
                  <a:gd name="connsiteX2" fmla="*/ 2782 w 18362"/>
                  <a:gd name="connsiteY2" fmla="*/ 2573 h 18424"/>
                  <a:gd name="connsiteX3" fmla="*/ 2602 w 18362"/>
                  <a:gd name="connsiteY3" fmla="*/ 15611 h 18424"/>
                  <a:gd name="connsiteX4" fmla="*/ 15581 w 18362"/>
                  <a:gd name="connsiteY4" fmla="*/ 15851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15581" y="15851"/>
                    </a:moveTo>
                    <a:cubicBezTo>
                      <a:pt x="19229" y="12322"/>
                      <a:pt x="19289" y="6521"/>
                      <a:pt x="15760" y="2813"/>
                    </a:cubicBezTo>
                    <a:cubicBezTo>
                      <a:pt x="12231" y="-836"/>
                      <a:pt x="6430" y="-955"/>
                      <a:pt x="2782" y="2573"/>
                    </a:cubicBezTo>
                    <a:cubicBezTo>
                      <a:pt x="-866" y="6102"/>
                      <a:pt x="-926" y="11903"/>
                      <a:pt x="2602" y="15611"/>
                    </a:cubicBezTo>
                    <a:cubicBezTo>
                      <a:pt x="6131" y="19260"/>
                      <a:pt x="11932" y="19379"/>
                      <a:pt x="15581" y="15851"/>
                    </a:cubicBezTo>
                    <a:close/>
                  </a:path>
                </a:pathLst>
              </a:custGeom>
              <a:grpFill/>
              <a:ln w="5978" cap="flat">
                <a:noFill/>
                <a:prstDash val="solid"/>
                <a:miter/>
              </a:ln>
            </p:spPr>
            <p:txBody>
              <a:bodyPr rtlCol="0" anchor="ctr"/>
              <a:lstStyle/>
              <a:p>
                <a:endParaRPr lang="en-GB"/>
              </a:p>
            </p:txBody>
          </p:sp>
        </p:grpSp>
        <p:grpSp>
          <p:nvGrpSpPr>
            <p:cNvPr id="1104" name="Graphic 3">
              <a:extLst>
                <a:ext uri="{FF2B5EF4-FFF2-40B4-BE49-F238E27FC236}">
                  <a16:creationId xmlns:a16="http://schemas.microsoft.com/office/drawing/2014/main" id="{74D92BB4-D5F6-4C63-A738-DCF792A63986}"/>
                </a:ext>
              </a:extLst>
            </p:cNvPr>
            <p:cNvGrpSpPr/>
            <p:nvPr/>
          </p:nvGrpSpPr>
          <p:grpSpPr>
            <a:xfrm>
              <a:off x="3899430" y="2119426"/>
              <a:ext cx="26056" cy="23090"/>
              <a:chOff x="3899430" y="2119426"/>
              <a:chExt cx="26056" cy="23090"/>
            </a:xfrm>
            <a:grpFill/>
          </p:grpSpPr>
          <p:sp>
            <p:nvSpPr>
              <p:cNvPr id="2088" name="Vrije vorm: vorm 2087">
                <a:extLst>
                  <a:ext uri="{FF2B5EF4-FFF2-40B4-BE49-F238E27FC236}">
                    <a16:creationId xmlns:a16="http://schemas.microsoft.com/office/drawing/2014/main" id="{10BE8330-722C-48BF-A9C7-6C1DBB24C216}"/>
                  </a:ext>
                </a:extLst>
              </p:cNvPr>
              <p:cNvSpPr/>
              <p:nvPr/>
            </p:nvSpPr>
            <p:spPr>
              <a:xfrm>
                <a:off x="3907464" y="2127084"/>
                <a:ext cx="10047" cy="7715"/>
              </a:xfrm>
              <a:custGeom>
                <a:avLst/>
                <a:gdLst>
                  <a:gd name="connsiteX0" fmla="*/ 10048 w 10047"/>
                  <a:gd name="connsiteY0" fmla="*/ 5084 h 7715"/>
                  <a:gd name="connsiteX1" fmla="*/ 8493 w 10047"/>
                  <a:gd name="connsiteY1" fmla="*/ 7715 h 7715"/>
                  <a:gd name="connsiteX2" fmla="*/ 0 w 10047"/>
                  <a:gd name="connsiteY2" fmla="*/ 2632 h 7715"/>
                  <a:gd name="connsiteX3" fmla="*/ 1555 w 10047"/>
                  <a:gd name="connsiteY3" fmla="*/ 0 h 7715"/>
                </a:gdLst>
                <a:ahLst/>
                <a:cxnLst>
                  <a:cxn ang="0">
                    <a:pos x="connsiteX0" y="connsiteY0"/>
                  </a:cxn>
                  <a:cxn ang="0">
                    <a:pos x="connsiteX1" y="connsiteY1"/>
                  </a:cxn>
                  <a:cxn ang="0">
                    <a:pos x="connsiteX2" y="connsiteY2"/>
                  </a:cxn>
                  <a:cxn ang="0">
                    <a:pos x="connsiteX3" y="connsiteY3"/>
                  </a:cxn>
                </a:cxnLst>
                <a:rect l="l" t="t" r="r" b="b"/>
                <a:pathLst>
                  <a:path w="10047" h="7715">
                    <a:moveTo>
                      <a:pt x="10048" y="5084"/>
                    </a:moveTo>
                    <a:lnTo>
                      <a:pt x="8493" y="7715"/>
                    </a:lnTo>
                    <a:lnTo>
                      <a:pt x="0" y="2632"/>
                    </a:lnTo>
                    <a:lnTo>
                      <a:pt x="1555" y="0"/>
                    </a:lnTo>
                    <a:close/>
                  </a:path>
                </a:pathLst>
              </a:custGeom>
              <a:grpFill/>
              <a:ln w="5978" cap="flat">
                <a:noFill/>
                <a:prstDash val="solid"/>
                <a:miter/>
              </a:ln>
            </p:spPr>
            <p:txBody>
              <a:bodyPr rtlCol="0" anchor="ctr"/>
              <a:lstStyle/>
              <a:p>
                <a:endParaRPr lang="en-GB"/>
              </a:p>
            </p:txBody>
          </p:sp>
          <p:sp>
            <p:nvSpPr>
              <p:cNvPr id="2089" name="Vrije vorm: vorm 2088">
                <a:extLst>
                  <a:ext uri="{FF2B5EF4-FFF2-40B4-BE49-F238E27FC236}">
                    <a16:creationId xmlns:a16="http://schemas.microsoft.com/office/drawing/2014/main" id="{C1F6D55E-3A77-4D80-B359-F62E477CE24B}"/>
                  </a:ext>
                </a:extLst>
              </p:cNvPr>
              <p:cNvSpPr/>
              <p:nvPr/>
            </p:nvSpPr>
            <p:spPr>
              <a:xfrm>
                <a:off x="3899430" y="2119426"/>
                <a:ext cx="18341" cy="18425"/>
              </a:xfrm>
              <a:custGeom>
                <a:avLst/>
                <a:gdLst>
                  <a:gd name="connsiteX0" fmla="*/ 4505 w 18341"/>
                  <a:gd name="connsiteY0" fmla="*/ 17108 h 18425"/>
                  <a:gd name="connsiteX1" fmla="*/ 1276 w 18341"/>
                  <a:gd name="connsiteY1" fmla="*/ 4488 h 18425"/>
                  <a:gd name="connsiteX2" fmla="*/ 13835 w 18341"/>
                  <a:gd name="connsiteY2" fmla="*/ 1318 h 18425"/>
                  <a:gd name="connsiteX3" fmla="*/ 17065 w 18341"/>
                  <a:gd name="connsiteY3" fmla="*/ 13938 h 18425"/>
                  <a:gd name="connsiteX4" fmla="*/ 4505 w 1834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25">
                    <a:moveTo>
                      <a:pt x="4505" y="17108"/>
                    </a:moveTo>
                    <a:cubicBezTo>
                      <a:pt x="140" y="14476"/>
                      <a:pt x="-1296" y="8854"/>
                      <a:pt x="1276" y="4488"/>
                    </a:cubicBezTo>
                    <a:cubicBezTo>
                      <a:pt x="3848" y="122"/>
                      <a:pt x="9470" y="-1313"/>
                      <a:pt x="13835" y="1318"/>
                    </a:cubicBezTo>
                    <a:cubicBezTo>
                      <a:pt x="18202" y="3950"/>
                      <a:pt x="19637" y="9572"/>
                      <a:pt x="17065" y="13938"/>
                    </a:cubicBezTo>
                    <a:cubicBezTo>
                      <a:pt x="14493" y="18304"/>
                      <a:pt x="8872" y="19739"/>
                      <a:pt x="4505" y="17108"/>
                    </a:cubicBezTo>
                    <a:close/>
                  </a:path>
                </a:pathLst>
              </a:custGeom>
              <a:grpFill/>
              <a:ln w="5978" cap="flat">
                <a:noFill/>
                <a:prstDash val="solid"/>
                <a:miter/>
              </a:ln>
            </p:spPr>
            <p:txBody>
              <a:bodyPr rtlCol="0" anchor="ctr"/>
              <a:lstStyle/>
              <a:p>
                <a:endParaRPr lang="en-GB"/>
              </a:p>
            </p:txBody>
          </p:sp>
          <p:sp>
            <p:nvSpPr>
              <p:cNvPr id="2090" name="Vrije vorm: vorm 2089">
                <a:extLst>
                  <a:ext uri="{FF2B5EF4-FFF2-40B4-BE49-F238E27FC236}">
                    <a16:creationId xmlns:a16="http://schemas.microsoft.com/office/drawing/2014/main" id="{A0E93285-460E-43DF-B285-C8174CD00872}"/>
                  </a:ext>
                </a:extLst>
              </p:cNvPr>
              <p:cNvSpPr/>
              <p:nvPr/>
            </p:nvSpPr>
            <p:spPr>
              <a:xfrm>
                <a:off x="3907185" y="2124091"/>
                <a:ext cx="18301" cy="18425"/>
              </a:xfrm>
              <a:custGeom>
                <a:avLst/>
                <a:gdLst>
                  <a:gd name="connsiteX0" fmla="*/ 4466 w 18301"/>
                  <a:gd name="connsiteY0" fmla="*/ 17108 h 18425"/>
                  <a:gd name="connsiteX1" fmla="*/ 17025 w 18301"/>
                  <a:gd name="connsiteY1" fmla="*/ 13938 h 18425"/>
                  <a:gd name="connsiteX2" fmla="*/ 13796 w 18301"/>
                  <a:gd name="connsiteY2" fmla="*/ 1318 h 18425"/>
                  <a:gd name="connsiteX3" fmla="*/ 1236 w 18301"/>
                  <a:gd name="connsiteY3" fmla="*/ 4488 h 18425"/>
                  <a:gd name="connsiteX4" fmla="*/ 4466 w 18301"/>
                  <a:gd name="connsiteY4" fmla="*/ 17108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5">
                    <a:moveTo>
                      <a:pt x="4466" y="17108"/>
                    </a:moveTo>
                    <a:cubicBezTo>
                      <a:pt x="8832" y="19739"/>
                      <a:pt x="14453" y="18304"/>
                      <a:pt x="17025" y="13938"/>
                    </a:cubicBezTo>
                    <a:cubicBezTo>
                      <a:pt x="19597" y="9572"/>
                      <a:pt x="18161" y="3890"/>
                      <a:pt x="13796" y="1318"/>
                    </a:cubicBezTo>
                    <a:cubicBezTo>
                      <a:pt x="9430" y="-1313"/>
                      <a:pt x="3808" y="122"/>
                      <a:pt x="1236" y="4488"/>
                    </a:cubicBezTo>
                    <a:cubicBezTo>
                      <a:pt x="-1276" y="8794"/>
                      <a:pt x="159" y="14476"/>
                      <a:pt x="4466" y="17108"/>
                    </a:cubicBezTo>
                    <a:close/>
                  </a:path>
                </a:pathLst>
              </a:custGeom>
              <a:grpFill/>
              <a:ln w="5978" cap="flat">
                <a:noFill/>
                <a:prstDash val="solid"/>
                <a:miter/>
              </a:ln>
            </p:spPr>
            <p:txBody>
              <a:bodyPr rtlCol="0" anchor="ctr"/>
              <a:lstStyle/>
              <a:p>
                <a:endParaRPr lang="en-GB"/>
              </a:p>
            </p:txBody>
          </p:sp>
        </p:grpSp>
        <p:grpSp>
          <p:nvGrpSpPr>
            <p:cNvPr id="1105" name="Graphic 3">
              <a:extLst>
                <a:ext uri="{FF2B5EF4-FFF2-40B4-BE49-F238E27FC236}">
                  <a16:creationId xmlns:a16="http://schemas.microsoft.com/office/drawing/2014/main" id="{935828BE-2DA6-4C7B-A006-C03D51323646}"/>
                </a:ext>
              </a:extLst>
            </p:cNvPr>
            <p:cNvGrpSpPr/>
            <p:nvPr/>
          </p:nvGrpSpPr>
          <p:grpSpPr>
            <a:xfrm>
              <a:off x="4792625" y="4878898"/>
              <a:ext cx="107412" cy="130988"/>
              <a:chOff x="4792625" y="4878898"/>
              <a:chExt cx="107412" cy="130988"/>
            </a:xfrm>
            <a:grpFill/>
          </p:grpSpPr>
          <p:sp>
            <p:nvSpPr>
              <p:cNvPr id="2085" name="Vrije vorm: vorm 2084">
                <a:extLst>
                  <a:ext uri="{FF2B5EF4-FFF2-40B4-BE49-F238E27FC236}">
                    <a16:creationId xmlns:a16="http://schemas.microsoft.com/office/drawing/2014/main" id="{5467C3BB-25B0-4CB8-B601-A08CBAE40E19}"/>
                  </a:ext>
                </a:extLst>
              </p:cNvPr>
              <p:cNvSpPr/>
              <p:nvPr/>
            </p:nvSpPr>
            <p:spPr>
              <a:xfrm>
                <a:off x="4800266" y="4886708"/>
                <a:ext cx="92103" cy="115248"/>
              </a:xfrm>
              <a:custGeom>
                <a:avLst/>
                <a:gdLst>
                  <a:gd name="connsiteX0" fmla="*/ 92103 w 92103"/>
                  <a:gd name="connsiteY0" fmla="*/ 1914 h 115248"/>
                  <a:gd name="connsiteX1" fmla="*/ 2392 w 92103"/>
                  <a:gd name="connsiteY1" fmla="*/ 115249 h 115248"/>
                  <a:gd name="connsiteX2" fmla="*/ 0 w 92103"/>
                  <a:gd name="connsiteY2" fmla="*/ 113395 h 115248"/>
                  <a:gd name="connsiteX3" fmla="*/ 89711 w 92103"/>
                  <a:gd name="connsiteY3" fmla="*/ 0 h 115248"/>
                </a:gdLst>
                <a:ahLst/>
                <a:cxnLst>
                  <a:cxn ang="0">
                    <a:pos x="connsiteX0" y="connsiteY0"/>
                  </a:cxn>
                  <a:cxn ang="0">
                    <a:pos x="connsiteX1" y="connsiteY1"/>
                  </a:cxn>
                  <a:cxn ang="0">
                    <a:pos x="connsiteX2" y="connsiteY2"/>
                  </a:cxn>
                  <a:cxn ang="0">
                    <a:pos x="connsiteX3" y="connsiteY3"/>
                  </a:cxn>
                </a:cxnLst>
                <a:rect l="l" t="t" r="r" b="b"/>
                <a:pathLst>
                  <a:path w="92103" h="115248">
                    <a:moveTo>
                      <a:pt x="92103" y="1914"/>
                    </a:moveTo>
                    <a:lnTo>
                      <a:pt x="2392" y="115249"/>
                    </a:lnTo>
                    <a:lnTo>
                      <a:pt x="0" y="113395"/>
                    </a:lnTo>
                    <a:lnTo>
                      <a:pt x="89711" y="0"/>
                    </a:lnTo>
                    <a:close/>
                  </a:path>
                </a:pathLst>
              </a:custGeom>
              <a:grpFill/>
              <a:ln w="5978" cap="flat">
                <a:noFill/>
                <a:prstDash val="solid"/>
                <a:miter/>
              </a:ln>
            </p:spPr>
            <p:txBody>
              <a:bodyPr rtlCol="0" anchor="ctr"/>
              <a:lstStyle/>
              <a:p>
                <a:endParaRPr lang="en-GB"/>
              </a:p>
            </p:txBody>
          </p:sp>
          <p:sp>
            <p:nvSpPr>
              <p:cNvPr id="2086" name="Vrije vorm: vorm 2085">
                <a:extLst>
                  <a:ext uri="{FF2B5EF4-FFF2-40B4-BE49-F238E27FC236}">
                    <a16:creationId xmlns:a16="http://schemas.microsoft.com/office/drawing/2014/main" id="{24A0207B-B716-4323-BD18-42B2B2253CB8}"/>
                  </a:ext>
                </a:extLst>
              </p:cNvPr>
              <p:cNvSpPr/>
              <p:nvPr/>
            </p:nvSpPr>
            <p:spPr>
              <a:xfrm>
                <a:off x="4792625" y="4991455"/>
                <a:ext cx="18274" cy="18430"/>
              </a:xfrm>
              <a:custGeom>
                <a:avLst/>
                <a:gdLst>
                  <a:gd name="connsiteX0" fmla="*/ 16314 w 18274"/>
                  <a:gd name="connsiteY0" fmla="*/ 14987 h 18430"/>
                  <a:gd name="connsiteX1" fmla="*/ 3455 w 18274"/>
                  <a:gd name="connsiteY1" fmla="*/ 16422 h 18430"/>
                  <a:gd name="connsiteX2" fmla="*/ 1960 w 18274"/>
                  <a:gd name="connsiteY2" fmla="*/ 3444 h 18430"/>
                  <a:gd name="connsiteX3" fmla="*/ 14819 w 18274"/>
                  <a:gd name="connsiteY3" fmla="*/ 2009 h 18430"/>
                  <a:gd name="connsiteX4" fmla="*/ 16314 w 18274"/>
                  <a:gd name="connsiteY4" fmla="*/ 14987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30">
                    <a:moveTo>
                      <a:pt x="16314" y="14987"/>
                    </a:moveTo>
                    <a:cubicBezTo>
                      <a:pt x="13144" y="18934"/>
                      <a:pt x="7403" y="19592"/>
                      <a:pt x="3455" y="16422"/>
                    </a:cubicBezTo>
                    <a:cubicBezTo>
                      <a:pt x="-492" y="13252"/>
                      <a:pt x="-1150" y="7451"/>
                      <a:pt x="1960" y="3444"/>
                    </a:cubicBezTo>
                    <a:cubicBezTo>
                      <a:pt x="5130" y="-503"/>
                      <a:pt x="10872" y="-1161"/>
                      <a:pt x="14819" y="2009"/>
                    </a:cubicBezTo>
                    <a:cubicBezTo>
                      <a:pt x="18766" y="5178"/>
                      <a:pt x="19424" y="10980"/>
                      <a:pt x="16314" y="14987"/>
                    </a:cubicBezTo>
                    <a:close/>
                  </a:path>
                </a:pathLst>
              </a:custGeom>
              <a:grpFill/>
              <a:ln w="5978" cap="flat">
                <a:noFill/>
                <a:prstDash val="solid"/>
                <a:miter/>
              </a:ln>
            </p:spPr>
            <p:txBody>
              <a:bodyPr rtlCol="0" anchor="ctr"/>
              <a:lstStyle/>
              <a:p>
                <a:endParaRPr lang="en-GB"/>
              </a:p>
            </p:txBody>
          </p:sp>
          <p:sp>
            <p:nvSpPr>
              <p:cNvPr id="2087" name="Vrije vorm: vorm 2086">
                <a:extLst>
                  <a:ext uri="{FF2B5EF4-FFF2-40B4-BE49-F238E27FC236}">
                    <a16:creationId xmlns:a16="http://schemas.microsoft.com/office/drawing/2014/main" id="{95C17A28-3358-41A1-B41E-3D41FF0455A7}"/>
                  </a:ext>
                </a:extLst>
              </p:cNvPr>
              <p:cNvSpPr/>
              <p:nvPr/>
            </p:nvSpPr>
            <p:spPr>
              <a:xfrm>
                <a:off x="4881712" y="4878898"/>
                <a:ext cx="18324" cy="18371"/>
              </a:xfrm>
              <a:custGeom>
                <a:avLst/>
                <a:gdLst>
                  <a:gd name="connsiteX0" fmla="*/ 16339 w 18324"/>
                  <a:gd name="connsiteY0" fmla="*/ 14927 h 18371"/>
                  <a:gd name="connsiteX1" fmla="*/ 14844 w 18324"/>
                  <a:gd name="connsiteY1" fmla="*/ 2009 h 18371"/>
                  <a:gd name="connsiteX2" fmla="*/ 1985 w 18324"/>
                  <a:gd name="connsiteY2" fmla="*/ 3444 h 18371"/>
                  <a:gd name="connsiteX3" fmla="*/ 3481 w 18324"/>
                  <a:gd name="connsiteY3" fmla="*/ 16362 h 18371"/>
                  <a:gd name="connsiteX4" fmla="*/ 16339 w 18324"/>
                  <a:gd name="connsiteY4" fmla="*/ 14927 h 1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71">
                    <a:moveTo>
                      <a:pt x="16339" y="14927"/>
                    </a:moveTo>
                    <a:cubicBezTo>
                      <a:pt x="19509" y="10980"/>
                      <a:pt x="18791" y="5178"/>
                      <a:pt x="14844" y="2009"/>
                    </a:cubicBezTo>
                    <a:cubicBezTo>
                      <a:pt x="10897" y="-1161"/>
                      <a:pt x="5095" y="-503"/>
                      <a:pt x="1985" y="3444"/>
                    </a:cubicBezTo>
                    <a:cubicBezTo>
                      <a:pt x="-1184" y="7391"/>
                      <a:pt x="-467" y="13193"/>
                      <a:pt x="3481" y="16362"/>
                    </a:cubicBezTo>
                    <a:cubicBezTo>
                      <a:pt x="7428" y="19532"/>
                      <a:pt x="13229" y="18875"/>
                      <a:pt x="16339" y="14927"/>
                    </a:cubicBezTo>
                    <a:close/>
                  </a:path>
                </a:pathLst>
              </a:custGeom>
              <a:grpFill/>
              <a:ln w="5978" cap="flat">
                <a:noFill/>
                <a:prstDash val="solid"/>
                <a:miter/>
              </a:ln>
            </p:spPr>
            <p:txBody>
              <a:bodyPr rtlCol="0" anchor="ctr"/>
              <a:lstStyle/>
              <a:p>
                <a:endParaRPr lang="en-GB"/>
              </a:p>
            </p:txBody>
          </p:sp>
        </p:grpSp>
        <p:grpSp>
          <p:nvGrpSpPr>
            <p:cNvPr id="1106" name="Graphic 3">
              <a:extLst>
                <a:ext uri="{FF2B5EF4-FFF2-40B4-BE49-F238E27FC236}">
                  <a16:creationId xmlns:a16="http://schemas.microsoft.com/office/drawing/2014/main" id="{1B0CB438-020F-4603-BC3B-1FC44184EEE4}"/>
                </a:ext>
              </a:extLst>
            </p:cNvPr>
            <p:cNvGrpSpPr/>
            <p:nvPr/>
          </p:nvGrpSpPr>
          <p:grpSpPr>
            <a:xfrm>
              <a:off x="4084048" y="2805069"/>
              <a:ext cx="113350" cy="47584"/>
              <a:chOff x="4084048" y="2805069"/>
              <a:chExt cx="113350" cy="47584"/>
            </a:xfrm>
            <a:grpFill/>
          </p:grpSpPr>
          <p:sp>
            <p:nvSpPr>
              <p:cNvPr id="2082" name="Vrije vorm: vorm 2081">
                <a:extLst>
                  <a:ext uri="{FF2B5EF4-FFF2-40B4-BE49-F238E27FC236}">
                    <a16:creationId xmlns:a16="http://schemas.microsoft.com/office/drawing/2014/main" id="{75FB8268-BC56-40D3-A47B-D0AACB07F1EB}"/>
                  </a:ext>
                </a:extLst>
              </p:cNvPr>
              <p:cNvSpPr/>
              <p:nvPr/>
            </p:nvSpPr>
            <p:spPr>
              <a:xfrm>
                <a:off x="4092328" y="2812654"/>
                <a:ext cx="96768" cy="32415"/>
              </a:xfrm>
              <a:custGeom>
                <a:avLst/>
                <a:gdLst>
                  <a:gd name="connsiteX0" fmla="*/ 96768 w 96768"/>
                  <a:gd name="connsiteY0" fmla="*/ 29485 h 32415"/>
                  <a:gd name="connsiteX1" fmla="*/ 95871 w 96768"/>
                  <a:gd name="connsiteY1" fmla="*/ 32415 h 32415"/>
                  <a:gd name="connsiteX2" fmla="*/ 0 w 96768"/>
                  <a:gd name="connsiteY2" fmla="*/ 2930 h 32415"/>
                  <a:gd name="connsiteX3" fmla="*/ 837 w 96768"/>
                  <a:gd name="connsiteY3" fmla="*/ 0 h 32415"/>
                </a:gdLst>
                <a:ahLst/>
                <a:cxnLst>
                  <a:cxn ang="0">
                    <a:pos x="connsiteX0" y="connsiteY0"/>
                  </a:cxn>
                  <a:cxn ang="0">
                    <a:pos x="connsiteX1" y="connsiteY1"/>
                  </a:cxn>
                  <a:cxn ang="0">
                    <a:pos x="connsiteX2" y="connsiteY2"/>
                  </a:cxn>
                  <a:cxn ang="0">
                    <a:pos x="connsiteX3" y="connsiteY3"/>
                  </a:cxn>
                </a:cxnLst>
                <a:rect l="l" t="t" r="r" b="b"/>
                <a:pathLst>
                  <a:path w="96768" h="32415">
                    <a:moveTo>
                      <a:pt x="96768" y="29485"/>
                    </a:moveTo>
                    <a:lnTo>
                      <a:pt x="95871" y="32415"/>
                    </a:lnTo>
                    <a:lnTo>
                      <a:pt x="0" y="2930"/>
                    </a:lnTo>
                    <a:lnTo>
                      <a:pt x="837" y="0"/>
                    </a:lnTo>
                    <a:close/>
                  </a:path>
                </a:pathLst>
              </a:custGeom>
              <a:grpFill/>
              <a:ln w="5978" cap="flat">
                <a:noFill/>
                <a:prstDash val="solid"/>
                <a:miter/>
              </a:ln>
            </p:spPr>
            <p:txBody>
              <a:bodyPr rtlCol="0" anchor="ctr"/>
              <a:lstStyle/>
              <a:p>
                <a:endParaRPr lang="en-GB"/>
              </a:p>
            </p:txBody>
          </p:sp>
          <p:sp>
            <p:nvSpPr>
              <p:cNvPr id="2083" name="Vrije vorm: vorm 2082">
                <a:extLst>
                  <a:ext uri="{FF2B5EF4-FFF2-40B4-BE49-F238E27FC236}">
                    <a16:creationId xmlns:a16="http://schemas.microsoft.com/office/drawing/2014/main" id="{9144B373-66A5-4121-B512-E5640000F964}"/>
                  </a:ext>
                </a:extLst>
              </p:cNvPr>
              <p:cNvSpPr/>
              <p:nvPr/>
            </p:nvSpPr>
            <p:spPr>
              <a:xfrm>
                <a:off x="4179060" y="2834255"/>
                <a:ext cx="18338" cy="18398"/>
              </a:xfrm>
              <a:custGeom>
                <a:avLst/>
                <a:gdLst>
                  <a:gd name="connsiteX0" fmla="*/ 11831 w 18338"/>
                  <a:gd name="connsiteY0" fmla="*/ 407 h 18398"/>
                  <a:gd name="connsiteX1" fmla="*/ 17931 w 18338"/>
                  <a:gd name="connsiteY1" fmla="*/ 11890 h 18398"/>
                  <a:gd name="connsiteX2" fmla="*/ 6508 w 18338"/>
                  <a:gd name="connsiteY2" fmla="*/ 17991 h 18398"/>
                  <a:gd name="connsiteX3" fmla="*/ 407 w 18338"/>
                  <a:gd name="connsiteY3" fmla="*/ 6508 h 18398"/>
                  <a:gd name="connsiteX4" fmla="*/ 11831 w 18338"/>
                  <a:gd name="connsiteY4" fmla="*/ 407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98">
                    <a:moveTo>
                      <a:pt x="11831" y="407"/>
                    </a:moveTo>
                    <a:cubicBezTo>
                      <a:pt x="16675" y="1903"/>
                      <a:pt x="19426" y="7046"/>
                      <a:pt x="17931" y="11890"/>
                    </a:cubicBezTo>
                    <a:cubicBezTo>
                      <a:pt x="16496" y="16735"/>
                      <a:pt x="11352" y="19486"/>
                      <a:pt x="6508" y="17991"/>
                    </a:cubicBezTo>
                    <a:cubicBezTo>
                      <a:pt x="1664" y="16496"/>
                      <a:pt x="-1088" y="11352"/>
                      <a:pt x="407" y="6508"/>
                    </a:cubicBezTo>
                    <a:cubicBezTo>
                      <a:pt x="1843" y="1663"/>
                      <a:pt x="6986" y="-1088"/>
                      <a:pt x="11831" y="407"/>
                    </a:cubicBezTo>
                    <a:close/>
                  </a:path>
                </a:pathLst>
              </a:custGeom>
              <a:grpFill/>
              <a:ln w="5978" cap="flat">
                <a:noFill/>
                <a:prstDash val="solid"/>
                <a:miter/>
              </a:ln>
            </p:spPr>
            <p:txBody>
              <a:bodyPr rtlCol="0" anchor="ctr"/>
              <a:lstStyle/>
              <a:p>
                <a:endParaRPr lang="en-GB"/>
              </a:p>
            </p:txBody>
          </p:sp>
          <p:sp>
            <p:nvSpPr>
              <p:cNvPr id="2084" name="Vrije vorm: vorm 2083">
                <a:extLst>
                  <a:ext uri="{FF2B5EF4-FFF2-40B4-BE49-F238E27FC236}">
                    <a16:creationId xmlns:a16="http://schemas.microsoft.com/office/drawing/2014/main" id="{B1EED4F2-C266-4B20-AFD3-02C80025A7CB}"/>
                  </a:ext>
                </a:extLst>
              </p:cNvPr>
              <p:cNvSpPr/>
              <p:nvPr/>
            </p:nvSpPr>
            <p:spPr>
              <a:xfrm>
                <a:off x="4084048" y="2805069"/>
                <a:ext cx="18316" cy="18398"/>
              </a:xfrm>
              <a:custGeom>
                <a:avLst/>
                <a:gdLst>
                  <a:gd name="connsiteX0" fmla="*/ 11809 w 18316"/>
                  <a:gd name="connsiteY0" fmla="*/ 407 h 18398"/>
                  <a:gd name="connsiteX1" fmla="*/ 386 w 18316"/>
                  <a:gd name="connsiteY1" fmla="*/ 6508 h 18398"/>
                  <a:gd name="connsiteX2" fmla="*/ 6486 w 18316"/>
                  <a:gd name="connsiteY2" fmla="*/ 17991 h 18398"/>
                  <a:gd name="connsiteX3" fmla="*/ 17909 w 18316"/>
                  <a:gd name="connsiteY3" fmla="*/ 11890 h 18398"/>
                  <a:gd name="connsiteX4" fmla="*/ 11809 w 18316"/>
                  <a:gd name="connsiteY4" fmla="*/ 407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8">
                    <a:moveTo>
                      <a:pt x="11809" y="407"/>
                    </a:moveTo>
                    <a:cubicBezTo>
                      <a:pt x="6965" y="-1088"/>
                      <a:pt x="1821" y="1663"/>
                      <a:pt x="386" y="6508"/>
                    </a:cubicBezTo>
                    <a:cubicBezTo>
                      <a:pt x="-1050" y="11352"/>
                      <a:pt x="1642" y="16496"/>
                      <a:pt x="6486" y="17991"/>
                    </a:cubicBezTo>
                    <a:cubicBezTo>
                      <a:pt x="11330" y="19486"/>
                      <a:pt x="16474" y="16735"/>
                      <a:pt x="17909" y="11890"/>
                    </a:cubicBezTo>
                    <a:cubicBezTo>
                      <a:pt x="19404" y="7046"/>
                      <a:pt x="16653" y="1903"/>
                      <a:pt x="11809" y="407"/>
                    </a:cubicBezTo>
                    <a:close/>
                  </a:path>
                </a:pathLst>
              </a:custGeom>
              <a:grpFill/>
              <a:ln w="5978" cap="flat">
                <a:noFill/>
                <a:prstDash val="solid"/>
                <a:miter/>
              </a:ln>
            </p:spPr>
            <p:txBody>
              <a:bodyPr rtlCol="0" anchor="ctr"/>
              <a:lstStyle/>
              <a:p>
                <a:endParaRPr lang="en-GB"/>
              </a:p>
            </p:txBody>
          </p:sp>
        </p:grpSp>
        <p:grpSp>
          <p:nvGrpSpPr>
            <p:cNvPr id="1107" name="Graphic 3">
              <a:extLst>
                <a:ext uri="{FF2B5EF4-FFF2-40B4-BE49-F238E27FC236}">
                  <a16:creationId xmlns:a16="http://schemas.microsoft.com/office/drawing/2014/main" id="{47D34840-D82C-4A9D-B6F6-9AEE10442D36}"/>
                </a:ext>
              </a:extLst>
            </p:cNvPr>
            <p:cNvGrpSpPr/>
            <p:nvPr/>
          </p:nvGrpSpPr>
          <p:grpSpPr>
            <a:xfrm>
              <a:off x="3999669" y="2651304"/>
              <a:ext cx="176408" cy="76867"/>
              <a:chOff x="3999669" y="2651304"/>
              <a:chExt cx="176408" cy="76867"/>
            </a:xfrm>
            <a:grpFill/>
          </p:grpSpPr>
          <p:sp>
            <p:nvSpPr>
              <p:cNvPr id="2079" name="Vrije vorm: vorm 2078">
                <a:extLst>
                  <a:ext uri="{FF2B5EF4-FFF2-40B4-BE49-F238E27FC236}">
                    <a16:creationId xmlns:a16="http://schemas.microsoft.com/office/drawing/2014/main" id="{9ADC76AD-0ECA-44E5-87EB-68FB6CB438AA}"/>
                  </a:ext>
                </a:extLst>
              </p:cNvPr>
              <p:cNvSpPr/>
              <p:nvPr/>
            </p:nvSpPr>
            <p:spPr>
              <a:xfrm>
                <a:off x="4007940" y="2658949"/>
                <a:ext cx="159984" cy="61661"/>
              </a:xfrm>
              <a:custGeom>
                <a:avLst/>
                <a:gdLst>
                  <a:gd name="connsiteX0" fmla="*/ 159984 w 159984"/>
                  <a:gd name="connsiteY0" fmla="*/ 58731 h 61661"/>
                  <a:gd name="connsiteX1" fmla="*/ 158908 w 159984"/>
                  <a:gd name="connsiteY1" fmla="*/ 61661 h 61661"/>
                  <a:gd name="connsiteX2" fmla="*/ 0 w 159984"/>
                  <a:gd name="connsiteY2" fmla="*/ 2871 h 61661"/>
                  <a:gd name="connsiteX3" fmla="*/ 1017 w 159984"/>
                  <a:gd name="connsiteY3" fmla="*/ 0 h 61661"/>
                </a:gdLst>
                <a:ahLst/>
                <a:cxnLst>
                  <a:cxn ang="0">
                    <a:pos x="connsiteX0" y="connsiteY0"/>
                  </a:cxn>
                  <a:cxn ang="0">
                    <a:pos x="connsiteX1" y="connsiteY1"/>
                  </a:cxn>
                  <a:cxn ang="0">
                    <a:pos x="connsiteX2" y="connsiteY2"/>
                  </a:cxn>
                  <a:cxn ang="0">
                    <a:pos x="connsiteX3" y="connsiteY3"/>
                  </a:cxn>
                </a:cxnLst>
                <a:rect l="l" t="t" r="r" b="b"/>
                <a:pathLst>
                  <a:path w="159984" h="61661">
                    <a:moveTo>
                      <a:pt x="159984" y="58731"/>
                    </a:moveTo>
                    <a:lnTo>
                      <a:pt x="158908" y="61661"/>
                    </a:lnTo>
                    <a:lnTo>
                      <a:pt x="0" y="2871"/>
                    </a:lnTo>
                    <a:lnTo>
                      <a:pt x="1017" y="0"/>
                    </a:lnTo>
                    <a:close/>
                  </a:path>
                </a:pathLst>
              </a:custGeom>
              <a:grpFill/>
              <a:ln w="5978" cap="flat">
                <a:noFill/>
                <a:prstDash val="solid"/>
                <a:miter/>
              </a:ln>
            </p:spPr>
            <p:txBody>
              <a:bodyPr rtlCol="0" anchor="ctr"/>
              <a:lstStyle/>
              <a:p>
                <a:endParaRPr lang="en-GB"/>
              </a:p>
            </p:txBody>
          </p:sp>
          <p:sp>
            <p:nvSpPr>
              <p:cNvPr id="2080" name="Vrije vorm: vorm 2079">
                <a:extLst>
                  <a:ext uri="{FF2B5EF4-FFF2-40B4-BE49-F238E27FC236}">
                    <a16:creationId xmlns:a16="http://schemas.microsoft.com/office/drawing/2014/main" id="{619E4189-2CF3-455B-B201-F0B62FF875D3}"/>
                  </a:ext>
                </a:extLst>
              </p:cNvPr>
              <p:cNvSpPr/>
              <p:nvPr/>
            </p:nvSpPr>
            <p:spPr>
              <a:xfrm>
                <a:off x="3999669" y="2651304"/>
                <a:ext cx="18337" cy="18460"/>
              </a:xfrm>
              <a:custGeom>
                <a:avLst/>
                <a:gdLst>
                  <a:gd name="connsiteX0" fmla="*/ 6059 w 18337"/>
                  <a:gd name="connsiteY0" fmla="*/ 17872 h 18460"/>
                  <a:gd name="connsiteX1" fmla="*/ 557 w 18337"/>
                  <a:gd name="connsiteY1" fmla="*/ 6031 h 18460"/>
                  <a:gd name="connsiteX2" fmla="*/ 12279 w 18337"/>
                  <a:gd name="connsiteY2" fmla="*/ 588 h 18460"/>
                  <a:gd name="connsiteX3" fmla="*/ 17781 w 18337"/>
                  <a:gd name="connsiteY3" fmla="*/ 12430 h 18460"/>
                  <a:gd name="connsiteX4" fmla="*/ 6059 w 18337"/>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60">
                    <a:moveTo>
                      <a:pt x="6059" y="17872"/>
                    </a:moveTo>
                    <a:cubicBezTo>
                      <a:pt x="1274" y="16138"/>
                      <a:pt x="-1178" y="10815"/>
                      <a:pt x="557" y="6031"/>
                    </a:cubicBezTo>
                    <a:cubicBezTo>
                      <a:pt x="2291" y="1246"/>
                      <a:pt x="7554" y="-1206"/>
                      <a:pt x="12279" y="588"/>
                    </a:cubicBezTo>
                    <a:cubicBezTo>
                      <a:pt x="17063" y="2322"/>
                      <a:pt x="19516" y="7645"/>
                      <a:pt x="17781" y="12430"/>
                    </a:cubicBezTo>
                    <a:cubicBezTo>
                      <a:pt x="16106" y="17215"/>
                      <a:pt x="10843" y="19667"/>
                      <a:pt x="6059" y="17872"/>
                    </a:cubicBezTo>
                    <a:close/>
                  </a:path>
                </a:pathLst>
              </a:custGeom>
              <a:grpFill/>
              <a:ln w="5978" cap="flat">
                <a:noFill/>
                <a:prstDash val="solid"/>
                <a:miter/>
              </a:ln>
            </p:spPr>
            <p:txBody>
              <a:bodyPr rtlCol="0" anchor="ctr"/>
              <a:lstStyle/>
              <a:p>
                <a:endParaRPr lang="en-GB"/>
              </a:p>
            </p:txBody>
          </p:sp>
          <p:sp>
            <p:nvSpPr>
              <p:cNvPr id="2081" name="Vrije vorm: vorm 2080">
                <a:extLst>
                  <a:ext uri="{FF2B5EF4-FFF2-40B4-BE49-F238E27FC236}">
                    <a16:creationId xmlns:a16="http://schemas.microsoft.com/office/drawing/2014/main" id="{B1E9C123-1F84-4462-9406-617D6F17EE21}"/>
                  </a:ext>
                </a:extLst>
              </p:cNvPr>
              <p:cNvSpPr/>
              <p:nvPr/>
            </p:nvSpPr>
            <p:spPr>
              <a:xfrm>
                <a:off x="4157769" y="2709766"/>
                <a:ext cx="18307" cy="18405"/>
              </a:xfrm>
              <a:custGeom>
                <a:avLst/>
                <a:gdLst>
                  <a:gd name="connsiteX0" fmla="*/ 6029 w 18307"/>
                  <a:gd name="connsiteY0" fmla="*/ 17842 h 18405"/>
                  <a:gd name="connsiteX1" fmla="*/ 17751 w 18307"/>
                  <a:gd name="connsiteY1" fmla="*/ 12399 h 18405"/>
                  <a:gd name="connsiteX2" fmla="*/ 12248 w 18307"/>
                  <a:gd name="connsiteY2" fmla="*/ 557 h 18405"/>
                  <a:gd name="connsiteX3" fmla="*/ 526 w 18307"/>
                  <a:gd name="connsiteY3" fmla="*/ 6000 h 18405"/>
                  <a:gd name="connsiteX4" fmla="*/ 6029 w 18307"/>
                  <a:gd name="connsiteY4" fmla="*/ 17842 h 1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05">
                    <a:moveTo>
                      <a:pt x="6029" y="17842"/>
                    </a:moveTo>
                    <a:cubicBezTo>
                      <a:pt x="10813" y="19576"/>
                      <a:pt x="16016" y="17184"/>
                      <a:pt x="17751" y="12399"/>
                    </a:cubicBezTo>
                    <a:cubicBezTo>
                      <a:pt x="19485" y="7614"/>
                      <a:pt x="17033" y="2351"/>
                      <a:pt x="12248" y="557"/>
                    </a:cubicBezTo>
                    <a:cubicBezTo>
                      <a:pt x="7464" y="-1177"/>
                      <a:pt x="2261" y="1275"/>
                      <a:pt x="526" y="6000"/>
                    </a:cubicBezTo>
                    <a:cubicBezTo>
                      <a:pt x="-1148" y="10784"/>
                      <a:pt x="1304" y="16107"/>
                      <a:pt x="6029" y="17842"/>
                    </a:cubicBezTo>
                    <a:close/>
                  </a:path>
                </a:pathLst>
              </a:custGeom>
              <a:grpFill/>
              <a:ln w="5978" cap="flat">
                <a:noFill/>
                <a:prstDash val="solid"/>
                <a:miter/>
              </a:ln>
            </p:spPr>
            <p:txBody>
              <a:bodyPr rtlCol="0" anchor="ctr"/>
              <a:lstStyle/>
              <a:p>
                <a:endParaRPr lang="en-GB"/>
              </a:p>
            </p:txBody>
          </p:sp>
        </p:grpSp>
        <p:grpSp>
          <p:nvGrpSpPr>
            <p:cNvPr id="1108" name="Graphic 3">
              <a:extLst>
                <a:ext uri="{FF2B5EF4-FFF2-40B4-BE49-F238E27FC236}">
                  <a16:creationId xmlns:a16="http://schemas.microsoft.com/office/drawing/2014/main" id="{D2DBA687-7556-4817-BA26-F597C8A29B48}"/>
                </a:ext>
              </a:extLst>
            </p:cNvPr>
            <p:cNvGrpSpPr/>
            <p:nvPr/>
          </p:nvGrpSpPr>
          <p:grpSpPr>
            <a:xfrm>
              <a:off x="4638958" y="4504433"/>
              <a:ext cx="160114" cy="141313"/>
              <a:chOff x="4638958" y="4504433"/>
              <a:chExt cx="160114" cy="141313"/>
            </a:xfrm>
            <a:grpFill/>
          </p:grpSpPr>
          <p:sp>
            <p:nvSpPr>
              <p:cNvPr id="2076" name="Vrije vorm: vorm 2075">
                <a:extLst>
                  <a:ext uri="{FF2B5EF4-FFF2-40B4-BE49-F238E27FC236}">
                    <a16:creationId xmlns:a16="http://schemas.microsoft.com/office/drawing/2014/main" id="{5E440C1A-AD1B-42E1-915F-491C1B20FC0C}"/>
                  </a:ext>
                </a:extLst>
              </p:cNvPr>
              <p:cNvSpPr/>
              <p:nvPr/>
            </p:nvSpPr>
            <p:spPr>
              <a:xfrm>
                <a:off x="4646801" y="4512195"/>
                <a:ext cx="144434" cy="125834"/>
              </a:xfrm>
              <a:custGeom>
                <a:avLst/>
                <a:gdLst>
                  <a:gd name="connsiteX0" fmla="*/ 144434 w 144434"/>
                  <a:gd name="connsiteY0" fmla="*/ 2333 h 125834"/>
                  <a:gd name="connsiteX1" fmla="*/ 1974 w 144434"/>
                  <a:gd name="connsiteY1" fmla="*/ 125834 h 125834"/>
                  <a:gd name="connsiteX2" fmla="*/ 0 w 144434"/>
                  <a:gd name="connsiteY2" fmla="*/ 123502 h 125834"/>
                  <a:gd name="connsiteX3" fmla="*/ 142461 w 144434"/>
                  <a:gd name="connsiteY3" fmla="*/ 0 h 125834"/>
                </a:gdLst>
                <a:ahLst/>
                <a:cxnLst>
                  <a:cxn ang="0">
                    <a:pos x="connsiteX0" y="connsiteY0"/>
                  </a:cxn>
                  <a:cxn ang="0">
                    <a:pos x="connsiteX1" y="connsiteY1"/>
                  </a:cxn>
                  <a:cxn ang="0">
                    <a:pos x="connsiteX2" y="connsiteY2"/>
                  </a:cxn>
                  <a:cxn ang="0">
                    <a:pos x="connsiteX3" y="connsiteY3"/>
                  </a:cxn>
                </a:cxnLst>
                <a:rect l="l" t="t" r="r" b="b"/>
                <a:pathLst>
                  <a:path w="144434" h="125834">
                    <a:moveTo>
                      <a:pt x="144434" y="2333"/>
                    </a:moveTo>
                    <a:lnTo>
                      <a:pt x="1974" y="125834"/>
                    </a:lnTo>
                    <a:lnTo>
                      <a:pt x="0" y="123502"/>
                    </a:lnTo>
                    <a:lnTo>
                      <a:pt x="142461" y="0"/>
                    </a:lnTo>
                    <a:close/>
                  </a:path>
                </a:pathLst>
              </a:custGeom>
              <a:grpFill/>
              <a:ln w="5978" cap="flat">
                <a:noFill/>
                <a:prstDash val="solid"/>
                <a:miter/>
              </a:ln>
            </p:spPr>
            <p:txBody>
              <a:bodyPr rtlCol="0" anchor="ctr"/>
              <a:lstStyle/>
              <a:p>
                <a:endParaRPr lang="en-GB"/>
              </a:p>
            </p:txBody>
          </p:sp>
          <p:sp>
            <p:nvSpPr>
              <p:cNvPr id="2077" name="Vrije vorm: vorm 2076">
                <a:extLst>
                  <a:ext uri="{FF2B5EF4-FFF2-40B4-BE49-F238E27FC236}">
                    <a16:creationId xmlns:a16="http://schemas.microsoft.com/office/drawing/2014/main" id="{2E57411A-7BA5-4353-BE82-7239D93AD002}"/>
                  </a:ext>
                </a:extLst>
              </p:cNvPr>
              <p:cNvSpPr/>
              <p:nvPr/>
            </p:nvSpPr>
            <p:spPr>
              <a:xfrm>
                <a:off x="4638958" y="4627382"/>
                <a:ext cx="18301" cy="18365"/>
              </a:xfrm>
              <a:custGeom>
                <a:avLst/>
                <a:gdLst>
                  <a:gd name="connsiteX0" fmla="*/ 15139 w 18301"/>
                  <a:gd name="connsiteY0" fmla="*/ 16150 h 18365"/>
                  <a:gd name="connsiteX1" fmla="*/ 2221 w 18301"/>
                  <a:gd name="connsiteY1" fmla="*/ 15193 h 18365"/>
                  <a:gd name="connsiteX2" fmla="*/ 3118 w 18301"/>
                  <a:gd name="connsiteY2" fmla="*/ 2215 h 18365"/>
                  <a:gd name="connsiteX3" fmla="*/ 16036 w 18301"/>
                  <a:gd name="connsiteY3" fmla="*/ 3172 h 18365"/>
                  <a:gd name="connsiteX4" fmla="*/ 15139 w 18301"/>
                  <a:gd name="connsiteY4" fmla="*/ 1615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65">
                    <a:moveTo>
                      <a:pt x="15139" y="16150"/>
                    </a:moveTo>
                    <a:cubicBezTo>
                      <a:pt x="11312" y="19440"/>
                      <a:pt x="5510" y="19021"/>
                      <a:pt x="2221" y="15193"/>
                    </a:cubicBezTo>
                    <a:cubicBezTo>
                      <a:pt x="-1068" y="11306"/>
                      <a:pt x="-650" y="5505"/>
                      <a:pt x="3118" y="2215"/>
                    </a:cubicBezTo>
                    <a:cubicBezTo>
                      <a:pt x="6945" y="-1074"/>
                      <a:pt x="12747" y="-655"/>
                      <a:pt x="16036" y="3172"/>
                    </a:cubicBezTo>
                    <a:cubicBezTo>
                      <a:pt x="19385" y="7060"/>
                      <a:pt x="18967" y="12861"/>
                      <a:pt x="15139" y="16150"/>
                    </a:cubicBezTo>
                    <a:close/>
                  </a:path>
                </a:pathLst>
              </a:custGeom>
              <a:grpFill/>
              <a:ln w="5978" cap="flat">
                <a:noFill/>
                <a:prstDash val="solid"/>
                <a:miter/>
              </a:ln>
            </p:spPr>
            <p:txBody>
              <a:bodyPr rtlCol="0" anchor="ctr"/>
              <a:lstStyle/>
              <a:p>
                <a:endParaRPr lang="en-GB"/>
              </a:p>
            </p:txBody>
          </p:sp>
          <p:sp>
            <p:nvSpPr>
              <p:cNvPr id="2078" name="Vrije vorm: vorm 2077">
                <a:extLst>
                  <a:ext uri="{FF2B5EF4-FFF2-40B4-BE49-F238E27FC236}">
                    <a16:creationId xmlns:a16="http://schemas.microsoft.com/office/drawing/2014/main" id="{2EF7FDA2-D6EC-46D6-A41E-DF10070BAADE}"/>
                  </a:ext>
                </a:extLst>
              </p:cNvPr>
              <p:cNvSpPr/>
              <p:nvPr/>
            </p:nvSpPr>
            <p:spPr>
              <a:xfrm>
                <a:off x="4780767" y="4504433"/>
                <a:ext cx="18306" cy="18454"/>
              </a:xfrm>
              <a:custGeom>
                <a:avLst/>
                <a:gdLst>
                  <a:gd name="connsiteX0" fmla="*/ 15134 w 18306"/>
                  <a:gd name="connsiteY0" fmla="*/ 16195 h 18454"/>
                  <a:gd name="connsiteX1" fmla="*/ 16091 w 18306"/>
                  <a:gd name="connsiteY1" fmla="*/ 3217 h 18454"/>
                  <a:gd name="connsiteX2" fmla="*/ 3172 w 18306"/>
                  <a:gd name="connsiteY2" fmla="*/ 2260 h 18454"/>
                  <a:gd name="connsiteX3" fmla="*/ 2216 w 18306"/>
                  <a:gd name="connsiteY3" fmla="*/ 15238 h 18454"/>
                  <a:gd name="connsiteX4" fmla="*/ 15134 w 18306"/>
                  <a:gd name="connsiteY4" fmla="*/ 16195 h 18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54">
                    <a:moveTo>
                      <a:pt x="15134" y="16195"/>
                    </a:moveTo>
                    <a:cubicBezTo>
                      <a:pt x="18961" y="12905"/>
                      <a:pt x="19380" y="7044"/>
                      <a:pt x="16091" y="3217"/>
                    </a:cubicBezTo>
                    <a:cubicBezTo>
                      <a:pt x="12801" y="-671"/>
                      <a:pt x="7000" y="-1089"/>
                      <a:pt x="3172" y="2260"/>
                    </a:cubicBezTo>
                    <a:cubicBezTo>
                      <a:pt x="-655" y="5549"/>
                      <a:pt x="-1074" y="11410"/>
                      <a:pt x="2216" y="15238"/>
                    </a:cubicBezTo>
                    <a:cubicBezTo>
                      <a:pt x="5565" y="19125"/>
                      <a:pt x="11306" y="19544"/>
                      <a:pt x="15134" y="16195"/>
                    </a:cubicBezTo>
                    <a:close/>
                  </a:path>
                </a:pathLst>
              </a:custGeom>
              <a:grpFill/>
              <a:ln w="5978" cap="flat">
                <a:noFill/>
                <a:prstDash val="solid"/>
                <a:miter/>
              </a:ln>
            </p:spPr>
            <p:txBody>
              <a:bodyPr rtlCol="0" anchor="ctr"/>
              <a:lstStyle/>
              <a:p>
                <a:endParaRPr lang="en-GB"/>
              </a:p>
            </p:txBody>
          </p:sp>
        </p:grpSp>
        <p:grpSp>
          <p:nvGrpSpPr>
            <p:cNvPr id="1109" name="Graphic 3">
              <a:extLst>
                <a:ext uri="{FF2B5EF4-FFF2-40B4-BE49-F238E27FC236}">
                  <a16:creationId xmlns:a16="http://schemas.microsoft.com/office/drawing/2014/main" id="{9D4CE45C-426F-4455-BA53-47BC2AB71E81}"/>
                </a:ext>
              </a:extLst>
            </p:cNvPr>
            <p:cNvGrpSpPr/>
            <p:nvPr/>
          </p:nvGrpSpPr>
          <p:grpSpPr>
            <a:xfrm>
              <a:off x="3901667" y="2227133"/>
              <a:ext cx="80166" cy="52466"/>
              <a:chOff x="3901667" y="2227133"/>
              <a:chExt cx="80166" cy="52466"/>
            </a:xfrm>
            <a:grpFill/>
          </p:grpSpPr>
          <p:sp>
            <p:nvSpPr>
              <p:cNvPr id="2073" name="Vrije vorm: vorm 2072">
                <a:extLst>
                  <a:ext uri="{FF2B5EF4-FFF2-40B4-BE49-F238E27FC236}">
                    <a16:creationId xmlns:a16="http://schemas.microsoft.com/office/drawing/2014/main" id="{6C134788-EC6A-4AE4-B7B1-65B1DC87F9B1}"/>
                  </a:ext>
                </a:extLst>
              </p:cNvPr>
              <p:cNvSpPr/>
              <p:nvPr/>
            </p:nvSpPr>
            <p:spPr>
              <a:xfrm>
                <a:off x="3909737" y="2234737"/>
                <a:ext cx="64053" cy="37200"/>
              </a:xfrm>
              <a:custGeom>
                <a:avLst/>
                <a:gdLst>
                  <a:gd name="connsiteX0" fmla="*/ 64053 w 64053"/>
                  <a:gd name="connsiteY0" fmla="*/ 34509 h 37200"/>
                  <a:gd name="connsiteX1" fmla="*/ 62618 w 64053"/>
                  <a:gd name="connsiteY1" fmla="*/ 37200 h 37200"/>
                  <a:gd name="connsiteX2" fmla="*/ 0 w 64053"/>
                  <a:gd name="connsiteY2" fmla="*/ 2691 h 37200"/>
                  <a:gd name="connsiteX3" fmla="*/ 1435 w 64053"/>
                  <a:gd name="connsiteY3" fmla="*/ 0 h 37200"/>
                </a:gdLst>
                <a:ahLst/>
                <a:cxnLst>
                  <a:cxn ang="0">
                    <a:pos x="connsiteX0" y="connsiteY0"/>
                  </a:cxn>
                  <a:cxn ang="0">
                    <a:pos x="connsiteX1" y="connsiteY1"/>
                  </a:cxn>
                  <a:cxn ang="0">
                    <a:pos x="connsiteX2" y="connsiteY2"/>
                  </a:cxn>
                  <a:cxn ang="0">
                    <a:pos x="connsiteX3" y="connsiteY3"/>
                  </a:cxn>
                </a:cxnLst>
                <a:rect l="l" t="t" r="r" b="b"/>
                <a:pathLst>
                  <a:path w="64053" h="37200">
                    <a:moveTo>
                      <a:pt x="64053" y="34509"/>
                    </a:moveTo>
                    <a:lnTo>
                      <a:pt x="62618" y="37200"/>
                    </a:lnTo>
                    <a:lnTo>
                      <a:pt x="0" y="2691"/>
                    </a:lnTo>
                    <a:lnTo>
                      <a:pt x="1435" y="0"/>
                    </a:lnTo>
                    <a:close/>
                  </a:path>
                </a:pathLst>
              </a:custGeom>
              <a:grpFill/>
              <a:ln w="5978" cap="flat">
                <a:noFill/>
                <a:prstDash val="solid"/>
                <a:miter/>
              </a:ln>
            </p:spPr>
            <p:txBody>
              <a:bodyPr rtlCol="0" anchor="ctr"/>
              <a:lstStyle/>
              <a:p>
                <a:endParaRPr lang="en-GB"/>
              </a:p>
            </p:txBody>
          </p:sp>
          <p:sp>
            <p:nvSpPr>
              <p:cNvPr id="2074" name="Vrije vorm: vorm 2073">
                <a:extLst>
                  <a:ext uri="{FF2B5EF4-FFF2-40B4-BE49-F238E27FC236}">
                    <a16:creationId xmlns:a16="http://schemas.microsoft.com/office/drawing/2014/main" id="{412D9987-BA67-42A7-921C-16468EA4795C}"/>
                  </a:ext>
                </a:extLst>
              </p:cNvPr>
              <p:cNvSpPr/>
              <p:nvPr/>
            </p:nvSpPr>
            <p:spPr>
              <a:xfrm>
                <a:off x="3901667" y="2227133"/>
                <a:ext cx="18351" cy="18397"/>
              </a:xfrm>
              <a:custGeom>
                <a:avLst/>
                <a:gdLst>
                  <a:gd name="connsiteX0" fmla="*/ 4780 w 18351"/>
                  <a:gd name="connsiteY0" fmla="*/ 17292 h 18397"/>
                  <a:gd name="connsiteX1" fmla="*/ 1132 w 18351"/>
                  <a:gd name="connsiteY1" fmla="*/ 4792 h 18397"/>
                  <a:gd name="connsiteX2" fmla="*/ 13572 w 18351"/>
                  <a:gd name="connsiteY2" fmla="*/ 1144 h 18397"/>
                  <a:gd name="connsiteX3" fmla="*/ 17220 w 18351"/>
                  <a:gd name="connsiteY3" fmla="*/ 13644 h 18397"/>
                  <a:gd name="connsiteX4" fmla="*/ 4780 w 18351"/>
                  <a:gd name="connsiteY4" fmla="*/ 1729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1" h="18397">
                    <a:moveTo>
                      <a:pt x="4780" y="17292"/>
                    </a:moveTo>
                    <a:cubicBezTo>
                      <a:pt x="354" y="14840"/>
                      <a:pt x="-1320" y="9218"/>
                      <a:pt x="1132" y="4792"/>
                    </a:cubicBezTo>
                    <a:cubicBezTo>
                      <a:pt x="3524" y="307"/>
                      <a:pt x="9086" y="-1308"/>
                      <a:pt x="13572" y="1144"/>
                    </a:cubicBezTo>
                    <a:cubicBezTo>
                      <a:pt x="17997" y="3596"/>
                      <a:pt x="19672" y="9218"/>
                      <a:pt x="17220" y="13644"/>
                    </a:cubicBezTo>
                    <a:cubicBezTo>
                      <a:pt x="14828" y="18069"/>
                      <a:pt x="9265" y="19684"/>
                      <a:pt x="4780" y="17292"/>
                    </a:cubicBezTo>
                    <a:close/>
                  </a:path>
                </a:pathLst>
              </a:custGeom>
              <a:grpFill/>
              <a:ln w="5978" cap="flat">
                <a:noFill/>
                <a:prstDash val="solid"/>
                <a:miter/>
              </a:ln>
            </p:spPr>
            <p:txBody>
              <a:bodyPr rtlCol="0" anchor="ctr"/>
              <a:lstStyle/>
              <a:p>
                <a:endParaRPr lang="en-GB"/>
              </a:p>
            </p:txBody>
          </p:sp>
          <p:sp>
            <p:nvSpPr>
              <p:cNvPr id="2075" name="Vrije vorm: vorm 2074">
                <a:extLst>
                  <a:ext uri="{FF2B5EF4-FFF2-40B4-BE49-F238E27FC236}">
                    <a16:creationId xmlns:a16="http://schemas.microsoft.com/office/drawing/2014/main" id="{B538112F-DB82-4A09-8E76-5C566ECF6AD4}"/>
                  </a:ext>
                </a:extLst>
              </p:cNvPr>
              <p:cNvSpPr/>
              <p:nvPr/>
            </p:nvSpPr>
            <p:spPr>
              <a:xfrm>
                <a:off x="3963508" y="2261164"/>
                <a:ext cx="18325" cy="18436"/>
              </a:xfrm>
              <a:custGeom>
                <a:avLst/>
                <a:gdLst>
                  <a:gd name="connsiteX0" fmla="*/ 4780 w 18325"/>
                  <a:gd name="connsiteY0" fmla="*/ 17292 h 18436"/>
                  <a:gd name="connsiteX1" fmla="*/ 17220 w 18325"/>
                  <a:gd name="connsiteY1" fmla="*/ 13644 h 18436"/>
                  <a:gd name="connsiteX2" fmla="*/ 13572 w 18325"/>
                  <a:gd name="connsiteY2" fmla="*/ 1144 h 18436"/>
                  <a:gd name="connsiteX3" fmla="*/ 1132 w 18325"/>
                  <a:gd name="connsiteY3" fmla="*/ 4792 h 18436"/>
                  <a:gd name="connsiteX4" fmla="*/ 4780 w 18325"/>
                  <a:gd name="connsiteY4" fmla="*/ 17292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36">
                    <a:moveTo>
                      <a:pt x="4780" y="17292"/>
                    </a:moveTo>
                    <a:cubicBezTo>
                      <a:pt x="9206" y="19744"/>
                      <a:pt x="14768" y="18129"/>
                      <a:pt x="17220" y="13644"/>
                    </a:cubicBezTo>
                    <a:cubicBezTo>
                      <a:pt x="19612" y="9158"/>
                      <a:pt x="17998" y="3596"/>
                      <a:pt x="13572" y="1144"/>
                    </a:cubicBezTo>
                    <a:cubicBezTo>
                      <a:pt x="9146" y="-1308"/>
                      <a:pt x="3584" y="307"/>
                      <a:pt x="1132" y="4792"/>
                    </a:cubicBezTo>
                    <a:cubicBezTo>
                      <a:pt x="-1320" y="9218"/>
                      <a:pt x="354" y="14840"/>
                      <a:pt x="4780" y="17292"/>
                    </a:cubicBezTo>
                    <a:close/>
                  </a:path>
                </a:pathLst>
              </a:custGeom>
              <a:grpFill/>
              <a:ln w="5978" cap="flat">
                <a:noFill/>
                <a:prstDash val="solid"/>
                <a:miter/>
              </a:ln>
            </p:spPr>
            <p:txBody>
              <a:bodyPr rtlCol="0" anchor="ctr"/>
              <a:lstStyle/>
              <a:p>
                <a:endParaRPr lang="en-GB"/>
              </a:p>
            </p:txBody>
          </p:sp>
        </p:grpSp>
        <p:grpSp>
          <p:nvGrpSpPr>
            <p:cNvPr id="1110" name="Graphic 3">
              <a:extLst>
                <a:ext uri="{FF2B5EF4-FFF2-40B4-BE49-F238E27FC236}">
                  <a16:creationId xmlns:a16="http://schemas.microsoft.com/office/drawing/2014/main" id="{BF9894C3-51FA-4008-9F5A-799BFC48B676}"/>
                </a:ext>
              </a:extLst>
            </p:cNvPr>
            <p:cNvGrpSpPr/>
            <p:nvPr/>
          </p:nvGrpSpPr>
          <p:grpSpPr>
            <a:xfrm>
              <a:off x="4821848" y="4946100"/>
              <a:ext cx="71068" cy="87670"/>
              <a:chOff x="4821848" y="4946100"/>
              <a:chExt cx="71068" cy="87670"/>
            </a:xfrm>
            <a:grpFill/>
          </p:grpSpPr>
          <p:sp>
            <p:nvSpPr>
              <p:cNvPr id="2070" name="Vrije vorm: vorm 2069">
                <a:extLst>
                  <a:ext uri="{FF2B5EF4-FFF2-40B4-BE49-F238E27FC236}">
                    <a16:creationId xmlns:a16="http://schemas.microsoft.com/office/drawing/2014/main" id="{9C12BE90-6E54-4D95-BB38-AAC7DE444983}"/>
                  </a:ext>
                </a:extLst>
              </p:cNvPr>
              <p:cNvSpPr/>
              <p:nvPr/>
            </p:nvSpPr>
            <p:spPr>
              <a:xfrm>
                <a:off x="4829512" y="4954051"/>
                <a:ext cx="55680" cy="71828"/>
              </a:xfrm>
              <a:custGeom>
                <a:avLst/>
                <a:gdLst>
                  <a:gd name="connsiteX0" fmla="*/ 55681 w 55680"/>
                  <a:gd name="connsiteY0" fmla="*/ 1854 h 71828"/>
                  <a:gd name="connsiteX1" fmla="*/ 2392 w 55680"/>
                  <a:gd name="connsiteY1" fmla="*/ 71829 h 71828"/>
                  <a:gd name="connsiteX2" fmla="*/ 0 w 55680"/>
                  <a:gd name="connsiteY2" fmla="*/ 69975 h 71828"/>
                  <a:gd name="connsiteX3" fmla="*/ 53288 w 55680"/>
                  <a:gd name="connsiteY3" fmla="*/ 0 h 71828"/>
                </a:gdLst>
                <a:ahLst/>
                <a:cxnLst>
                  <a:cxn ang="0">
                    <a:pos x="connsiteX0" y="connsiteY0"/>
                  </a:cxn>
                  <a:cxn ang="0">
                    <a:pos x="connsiteX1" y="connsiteY1"/>
                  </a:cxn>
                  <a:cxn ang="0">
                    <a:pos x="connsiteX2" y="connsiteY2"/>
                  </a:cxn>
                  <a:cxn ang="0">
                    <a:pos x="connsiteX3" y="connsiteY3"/>
                  </a:cxn>
                </a:cxnLst>
                <a:rect l="l" t="t" r="r" b="b"/>
                <a:pathLst>
                  <a:path w="55680" h="71828">
                    <a:moveTo>
                      <a:pt x="55681" y="1854"/>
                    </a:moveTo>
                    <a:lnTo>
                      <a:pt x="2392" y="71829"/>
                    </a:lnTo>
                    <a:lnTo>
                      <a:pt x="0" y="69975"/>
                    </a:lnTo>
                    <a:lnTo>
                      <a:pt x="53288" y="0"/>
                    </a:lnTo>
                    <a:close/>
                  </a:path>
                </a:pathLst>
              </a:custGeom>
              <a:grpFill/>
              <a:ln w="5978" cap="flat">
                <a:noFill/>
                <a:prstDash val="solid"/>
                <a:miter/>
              </a:ln>
            </p:spPr>
            <p:txBody>
              <a:bodyPr rtlCol="0" anchor="ctr"/>
              <a:lstStyle/>
              <a:p>
                <a:endParaRPr lang="en-GB"/>
              </a:p>
            </p:txBody>
          </p:sp>
          <p:sp>
            <p:nvSpPr>
              <p:cNvPr id="2071" name="Vrije vorm: vorm 2070">
                <a:extLst>
                  <a:ext uri="{FF2B5EF4-FFF2-40B4-BE49-F238E27FC236}">
                    <a16:creationId xmlns:a16="http://schemas.microsoft.com/office/drawing/2014/main" id="{9A6F52D5-B178-4876-9F7D-BE27BE48E499}"/>
                  </a:ext>
                </a:extLst>
              </p:cNvPr>
              <p:cNvSpPr/>
              <p:nvPr/>
            </p:nvSpPr>
            <p:spPr>
              <a:xfrm>
                <a:off x="4874573" y="4946100"/>
                <a:ext cx="18343" cy="18413"/>
              </a:xfrm>
              <a:custGeom>
                <a:avLst/>
                <a:gdLst>
                  <a:gd name="connsiteX0" fmla="*/ 1888 w 18343"/>
                  <a:gd name="connsiteY0" fmla="*/ 3585 h 18413"/>
                  <a:gd name="connsiteX1" fmla="*/ 14747 w 18343"/>
                  <a:gd name="connsiteY1" fmla="*/ 1910 h 18413"/>
                  <a:gd name="connsiteX2" fmla="*/ 16481 w 18343"/>
                  <a:gd name="connsiteY2" fmla="*/ 14829 h 18413"/>
                  <a:gd name="connsiteX3" fmla="*/ 3623 w 18343"/>
                  <a:gd name="connsiteY3" fmla="*/ 16503 h 18413"/>
                  <a:gd name="connsiteX4" fmla="*/ 1888 w 18343"/>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3">
                    <a:moveTo>
                      <a:pt x="1888" y="3585"/>
                    </a:moveTo>
                    <a:cubicBezTo>
                      <a:pt x="4938" y="-422"/>
                      <a:pt x="10740" y="-1200"/>
                      <a:pt x="14747" y="1910"/>
                    </a:cubicBezTo>
                    <a:cubicBezTo>
                      <a:pt x="18754" y="5021"/>
                      <a:pt x="19531" y="10822"/>
                      <a:pt x="16481" y="14829"/>
                    </a:cubicBezTo>
                    <a:cubicBezTo>
                      <a:pt x="13431" y="18836"/>
                      <a:pt x="7630" y="19614"/>
                      <a:pt x="3623" y="16503"/>
                    </a:cubicBezTo>
                    <a:cubicBezTo>
                      <a:pt x="-384" y="13393"/>
                      <a:pt x="-1222" y="7652"/>
                      <a:pt x="1888" y="3585"/>
                    </a:cubicBezTo>
                    <a:close/>
                  </a:path>
                </a:pathLst>
              </a:custGeom>
              <a:grpFill/>
              <a:ln w="5978" cap="flat">
                <a:noFill/>
                <a:prstDash val="solid"/>
                <a:miter/>
              </a:ln>
            </p:spPr>
            <p:txBody>
              <a:bodyPr rtlCol="0" anchor="ctr"/>
              <a:lstStyle/>
              <a:p>
                <a:endParaRPr lang="en-GB"/>
              </a:p>
            </p:txBody>
          </p:sp>
          <p:sp>
            <p:nvSpPr>
              <p:cNvPr id="2072" name="Vrije vorm: vorm 2071">
                <a:extLst>
                  <a:ext uri="{FF2B5EF4-FFF2-40B4-BE49-F238E27FC236}">
                    <a16:creationId xmlns:a16="http://schemas.microsoft.com/office/drawing/2014/main" id="{0C0621A7-BA43-4547-9014-7E0B2407359D}"/>
                  </a:ext>
                </a:extLst>
              </p:cNvPr>
              <p:cNvSpPr/>
              <p:nvPr/>
            </p:nvSpPr>
            <p:spPr>
              <a:xfrm>
                <a:off x="4821848" y="5015357"/>
                <a:ext cx="18343" cy="18413"/>
              </a:xfrm>
              <a:custGeom>
                <a:avLst/>
                <a:gdLst>
                  <a:gd name="connsiteX0" fmla="*/ 1863 w 18343"/>
                  <a:gd name="connsiteY0" fmla="*/ 3585 h 18413"/>
                  <a:gd name="connsiteX1" fmla="*/ 3597 w 18343"/>
                  <a:gd name="connsiteY1" fmla="*/ 16503 h 18413"/>
                  <a:gd name="connsiteX2" fmla="*/ 16456 w 18343"/>
                  <a:gd name="connsiteY2" fmla="*/ 14829 h 18413"/>
                  <a:gd name="connsiteX3" fmla="*/ 14721 w 18343"/>
                  <a:gd name="connsiteY3" fmla="*/ 1910 h 18413"/>
                  <a:gd name="connsiteX4" fmla="*/ 1863 w 18343"/>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3">
                    <a:moveTo>
                      <a:pt x="1863" y="3585"/>
                    </a:moveTo>
                    <a:cubicBezTo>
                      <a:pt x="-1188" y="7592"/>
                      <a:pt x="-410" y="13393"/>
                      <a:pt x="3597" y="16503"/>
                    </a:cubicBezTo>
                    <a:cubicBezTo>
                      <a:pt x="7604" y="19613"/>
                      <a:pt x="13346" y="18836"/>
                      <a:pt x="16456" y="14829"/>
                    </a:cubicBezTo>
                    <a:cubicBezTo>
                      <a:pt x="19565" y="10822"/>
                      <a:pt x="18728" y="5021"/>
                      <a:pt x="14721" y="1910"/>
                    </a:cubicBezTo>
                    <a:cubicBezTo>
                      <a:pt x="10654" y="-1200"/>
                      <a:pt x="4913" y="-422"/>
                      <a:pt x="1863" y="3585"/>
                    </a:cubicBezTo>
                    <a:close/>
                  </a:path>
                </a:pathLst>
              </a:custGeom>
              <a:grpFill/>
              <a:ln w="5978" cap="flat">
                <a:noFill/>
                <a:prstDash val="solid"/>
                <a:miter/>
              </a:ln>
            </p:spPr>
            <p:txBody>
              <a:bodyPr rtlCol="0" anchor="ctr"/>
              <a:lstStyle/>
              <a:p>
                <a:endParaRPr lang="en-GB"/>
              </a:p>
            </p:txBody>
          </p:sp>
        </p:grpSp>
        <p:grpSp>
          <p:nvGrpSpPr>
            <p:cNvPr id="1111" name="Graphic 3">
              <a:extLst>
                <a:ext uri="{FF2B5EF4-FFF2-40B4-BE49-F238E27FC236}">
                  <a16:creationId xmlns:a16="http://schemas.microsoft.com/office/drawing/2014/main" id="{06D50C20-D1EF-45B5-B335-809AE6B1E0EB}"/>
                </a:ext>
              </a:extLst>
            </p:cNvPr>
            <p:cNvGrpSpPr/>
            <p:nvPr/>
          </p:nvGrpSpPr>
          <p:grpSpPr>
            <a:xfrm>
              <a:off x="4665933" y="4728364"/>
              <a:ext cx="352254" cy="376974"/>
              <a:chOff x="4665933" y="4728364"/>
              <a:chExt cx="352254" cy="376974"/>
            </a:xfrm>
            <a:grpFill/>
          </p:grpSpPr>
          <p:sp>
            <p:nvSpPr>
              <p:cNvPr id="2067" name="Vrije vorm: vorm 2066">
                <a:extLst>
                  <a:ext uri="{FF2B5EF4-FFF2-40B4-BE49-F238E27FC236}">
                    <a16:creationId xmlns:a16="http://schemas.microsoft.com/office/drawing/2014/main" id="{27D1BDB6-40A0-4B66-AAA2-21833D7F5736}"/>
                  </a:ext>
                </a:extLst>
              </p:cNvPr>
              <p:cNvSpPr/>
              <p:nvPr/>
            </p:nvSpPr>
            <p:spPr>
              <a:xfrm>
                <a:off x="4673655" y="4736233"/>
                <a:ext cx="336774" cy="361295"/>
              </a:xfrm>
              <a:custGeom>
                <a:avLst/>
                <a:gdLst>
                  <a:gd name="connsiteX0" fmla="*/ 336774 w 336774"/>
                  <a:gd name="connsiteY0" fmla="*/ 2093 h 361295"/>
                  <a:gd name="connsiteX1" fmla="*/ 2273 w 336774"/>
                  <a:gd name="connsiteY1" fmla="*/ 361295 h 361295"/>
                  <a:gd name="connsiteX2" fmla="*/ 0 w 336774"/>
                  <a:gd name="connsiteY2" fmla="*/ 359202 h 361295"/>
                  <a:gd name="connsiteX3" fmla="*/ 334562 w 336774"/>
                  <a:gd name="connsiteY3" fmla="*/ 0 h 361295"/>
                </a:gdLst>
                <a:ahLst/>
                <a:cxnLst>
                  <a:cxn ang="0">
                    <a:pos x="connsiteX0" y="connsiteY0"/>
                  </a:cxn>
                  <a:cxn ang="0">
                    <a:pos x="connsiteX1" y="connsiteY1"/>
                  </a:cxn>
                  <a:cxn ang="0">
                    <a:pos x="connsiteX2" y="connsiteY2"/>
                  </a:cxn>
                  <a:cxn ang="0">
                    <a:pos x="connsiteX3" y="connsiteY3"/>
                  </a:cxn>
                </a:cxnLst>
                <a:rect l="l" t="t" r="r" b="b"/>
                <a:pathLst>
                  <a:path w="336774" h="361295">
                    <a:moveTo>
                      <a:pt x="336774" y="2093"/>
                    </a:moveTo>
                    <a:lnTo>
                      <a:pt x="2273" y="361295"/>
                    </a:lnTo>
                    <a:lnTo>
                      <a:pt x="0" y="359202"/>
                    </a:lnTo>
                    <a:lnTo>
                      <a:pt x="334562" y="0"/>
                    </a:lnTo>
                    <a:close/>
                  </a:path>
                </a:pathLst>
              </a:custGeom>
              <a:grpFill/>
              <a:ln w="5978" cap="flat">
                <a:noFill/>
                <a:prstDash val="solid"/>
                <a:miter/>
              </a:ln>
            </p:spPr>
            <p:txBody>
              <a:bodyPr rtlCol="0" anchor="ctr"/>
              <a:lstStyle/>
              <a:p>
                <a:endParaRPr lang="en-GB"/>
              </a:p>
            </p:txBody>
          </p:sp>
          <p:sp>
            <p:nvSpPr>
              <p:cNvPr id="2068" name="Vrije vorm: vorm 2067">
                <a:extLst>
                  <a:ext uri="{FF2B5EF4-FFF2-40B4-BE49-F238E27FC236}">
                    <a16:creationId xmlns:a16="http://schemas.microsoft.com/office/drawing/2014/main" id="{6F85E823-BC6E-4655-8CEF-20B3F2B700C3}"/>
                  </a:ext>
                </a:extLst>
              </p:cNvPr>
              <p:cNvSpPr/>
              <p:nvPr/>
            </p:nvSpPr>
            <p:spPr>
              <a:xfrm>
                <a:off x="4999860" y="4728364"/>
                <a:ext cx="18327" cy="18429"/>
              </a:xfrm>
              <a:custGeom>
                <a:avLst/>
                <a:gdLst>
                  <a:gd name="connsiteX0" fmla="*/ 2435 w 18327"/>
                  <a:gd name="connsiteY0" fmla="*/ 2905 h 18429"/>
                  <a:gd name="connsiteX1" fmla="*/ 15414 w 18327"/>
                  <a:gd name="connsiteY1" fmla="*/ 2487 h 18429"/>
                  <a:gd name="connsiteX2" fmla="*/ 15892 w 18327"/>
                  <a:gd name="connsiteY2" fmla="*/ 15525 h 18429"/>
                  <a:gd name="connsiteX3" fmla="*/ 2914 w 18327"/>
                  <a:gd name="connsiteY3" fmla="*/ 15943 h 18429"/>
                  <a:gd name="connsiteX4" fmla="*/ 2435 w 18327"/>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9">
                    <a:moveTo>
                      <a:pt x="2435" y="2905"/>
                    </a:moveTo>
                    <a:cubicBezTo>
                      <a:pt x="5904" y="-803"/>
                      <a:pt x="11706" y="-982"/>
                      <a:pt x="15414" y="2487"/>
                    </a:cubicBezTo>
                    <a:cubicBezTo>
                      <a:pt x="19122" y="5956"/>
                      <a:pt x="19301" y="11817"/>
                      <a:pt x="15892" y="15525"/>
                    </a:cubicBezTo>
                    <a:cubicBezTo>
                      <a:pt x="12423" y="19233"/>
                      <a:pt x="6622" y="19412"/>
                      <a:pt x="2914" y="15943"/>
                    </a:cubicBezTo>
                    <a:cubicBezTo>
                      <a:pt x="-794" y="12474"/>
                      <a:pt x="-974" y="6613"/>
                      <a:pt x="2435" y="2905"/>
                    </a:cubicBezTo>
                    <a:close/>
                  </a:path>
                </a:pathLst>
              </a:custGeom>
              <a:grpFill/>
              <a:ln w="5978" cap="flat">
                <a:noFill/>
                <a:prstDash val="solid"/>
                <a:miter/>
              </a:ln>
            </p:spPr>
            <p:txBody>
              <a:bodyPr rtlCol="0" anchor="ctr"/>
              <a:lstStyle/>
              <a:p>
                <a:endParaRPr lang="en-GB"/>
              </a:p>
            </p:txBody>
          </p:sp>
          <p:sp>
            <p:nvSpPr>
              <p:cNvPr id="2069" name="Vrije vorm: vorm 2068">
                <a:extLst>
                  <a:ext uri="{FF2B5EF4-FFF2-40B4-BE49-F238E27FC236}">
                    <a16:creationId xmlns:a16="http://schemas.microsoft.com/office/drawing/2014/main" id="{DF95AC33-6A65-4401-9B2C-F2EEEDE7A108}"/>
                  </a:ext>
                </a:extLst>
              </p:cNvPr>
              <p:cNvSpPr/>
              <p:nvPr/>
            </p:nvSpPr>
            <p:spPr>
              <a:xfrm>
                <a:off x="4665933" y="5086908"/>
                <a:ext cx="18374" cy="18429"/>
              </a:xfrm>
              <a:custGeom>
                <a:avLst/>
                <a:gdLst>
                  <a:gd name="connsiteX0" fmla="*/ 2459 w 18374"/>
                  <a:gd name="connsiteY0" fmla="*/ 2905 h 18429"/>
                  <a:gd name="connsiteX1" fmla="*/ 2937 w 18374"/>
                  <a:gd name="connsiteY1" fmla="*/ 15943 h 18429"/>
                  <a:gd name="connsiteX2" fmla="*/ 15915 w 18374"/>
                  <a:gd name="connsiteY2" fmla="*/ 15525 h 18429"/>
                  <a:gd name="connsiteX3" fmla="*/ 15437 w 18374"/>
                  <a:gd name="connsiteY3" fmla="*/ 2487 h 18429"/>
                  <a:gd name="connsiteX4" fmla="*/ 2459 w 18374"/>
                  <a:gd name="connsiteY4" fmla="*/ 290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29">
                    <a:moveTo>
                      <a:pt x="2459" y="2905"/>
                    </a:moveTo>
                    <a:cubicBezTo>
                      <a:pt x="-1010" y="6613"/>
                      <a:pt x="-771" y="12415"/>
                      <a:pt x="2937" y="15943"/>
                    </a:cubicBezTo>
                    <a:cubicBezTo>
                      <a:pt x="6645" y="19412"/>
                      <a:pt x="12447" y="19233"/>
                      <a:pt x="15915" y="15525"/>
                    </a:cubicBezTo>
                    <a:cubicBezTo>
                      <a:pt x="19384" y="11817"/>
                      <a:pt x="19145" y="6015"/>
                      <a:pt x="15437" y="2487"/>
                    </a:cubicBezTo>
                    <a:cubicBezTo>
                      <a:pt x="11729" y="-982"/>
                      <a:pt x="5928" y="-803"/>
                      <a:pt x="2459" y="2905"/>
                    </a:cubicBezTo>
                    <a:close/>
                  </a:path>
                </a:pathLst>
              </a:custGeom>
              <a:grpFill/>
              <a:ln w="5978" cap="flat">
                <a:noFill/>
                <a:prstDash val="solid"/>
                <a:miter/>
              </a:ln>
            </p:spPr>
            <p:txBody>
              <a:bodyPr rtlCol="0" anchor="ctr"/>
              <a:lstStyle/>
              <a:p>
                <a:endParaRPr lang="en-GB"/>
              </a:p>
            </p:txBody>
          </p:sp>
        </p:grpSp>
        <p:grpSp>
          <p:nvGrpSpPr>
            <p:cNvPr id="1112" name="Graphic 3">
              <a:extLst>
                <a:ext uri="{FF2B5EF4-FFF2-40B4-BE49-F238E27FC236}">
                  <a16:creationId xmlns:a16="http://schemas.microsoft.com/office/drawing/2014/main" id="{7AAFF401-C8C9-4EFA-97D3-C071BB944D5F}"/>
                </a:ext>
              </a:extLst>
            </p:cNvPr>
            <p:cNvGrpSpPr/>
            <p:nvPr/>
          </p:nvGrpSpPr>
          <p:grpSpPr>
            <a:xfrm>
              <a:off x="4058829" y="2995477"/>
              <a:ext cx="269207" cy="70470"/>
              <a:chOff x="4058829" y="2995477"/>
              <a:chExt cx="269207" cy="70470"/>
            </a:xfrm>
            <a:grpFill/>
          </p:grpSpPr>
          <p:sp>
            <p:nvSpPr>
              <p:cNvPr id="2064" name="Vrije vorm: vorm 2063">
                <a:extLst>
                  <a:ext uri="{FF2B5EF4-FFF2-40B4-BE49-F238E27FC236}">
                    <a16:creationId xmlns:a16="http://schemas.microsoft.com/office/drawing/2014/main" id="{28CBDF70-5197-44F1-9CC8-A9FB3A8DD973}"/>
                  </a:ext>
                </a:extLst>
              </p:cNvPr>
              <p:cNvSpPr/>
              <p:nvPr/>
            </p:nvSpPr>
            <p:spPr>
              <a:xfrm>
                <a:off x="4067269" y="3003080"/>
                <a:ext cx="252326" cy="55261"/>
              </a:xfrm>
              <a:custGeom>
                <a:avLst/>
                <a:gdLst>
                  <a:gd name="connsiteX0" fmla="*/ 252327 w 252326"/>
                  <a:gd name="connsiteY0" fmla="*/ 52271 h 55261"/>
                  <a:gd name="connsiteX1" fmla="*/ 251729 w 252326"/>
                  <a:gd name="connsiteY1" fmla="*/ 55262 h 55261"/>
                  <a:gd name="connsiteX2" fmla="*/ 0 w 252326"/>
                  <a:gd name="connsiteY2" fmla="*/ 2990 h 55261"/>
                  <a:gd name="connsiteX3" fmla="*/ 598 w 252326"/>
                  <a:gd name="connsiteY3" fmla="*/ 0 h 55261"/>
                </a:gdLst>
                <a:ahLst/>
                <a:cxnLst>
                  <a:cxn ang="0">
                    <a:pos x="connsiteX0" y="connsiteY0"/>
                  </a:cxn>
                  <a:cxn ang="0">
                    <a:pos x="connsiteX1" y="connsiteY1"/>
                  </a:cxn>
                  <a:cxn ang="0">
                    <a:pos x="connsiteX2" y="connsiteY2"/>
                  </a:cxn>
                  <a:cxn ang="0">
                    <a:pos x="connsiteX3" y="connsiteY3"/>
                  </a:cxn>
                </a:cxnLst>
                <a:rect l="l" t="t" r="r" b="b"/>
                <a:pathLst>
                  <a:path w="252326" h="55261">
                    <a:moveTo>
                      <a:pt x="252327" y="52271"/>
                    </a:moveTo>
                    <a:lnTo>
                      <a:pt x="251729" y="55262"/>
                    </a:lnTo>
                    <a:lnTo>
                      <a:pt x="0" y="2990"/>
                    </a:lnTo>
                    <a:lnTo>
                      <a:pt x="598" y="0"/>
                    </a:lnTo>
                    <a:close/>
                  </a:path>
                </a:pathLst>
              </a:custGeom>
              <a:grpFill/>
              <a:ln w="5978" cap="flat">
                <a:noFill/>
                <a:prstDash val="solid"/>
                <a:miter/>
              </a:ln>
            </p:spPr>
            <p:txBody>
              <a:bodyPr rtlCol="0" anchor="ctr"/>
              <a:lstStyle/>
              <a:p>
                <a:endParaRPr lang="en-GB"/>
              </a:p>
            </p:txBody>
          </p:sp>
          <p:sp>
            <p:nvSpPr>
              <p:cNvPr id="2065" name="Vrije vorm: vorm 2064">
                <a:extLst>
                  <a:ext uri="{FF2B5EF4-FFF2-40B4-BE49-F238E27FC236}">
                    <a16:creationId xmlns:a16="http://schemas.microsoft.com/office/drawing/2014/main" id="{991EE580-F6E2-47AB-AAF4-1124207C1978}"/>
                  </a:ext>
                </a:extLst>
              </p:cNvPr>
              <p:cNvSpPr/>
              <p:nvPr/>
            </p:nvSpPr>
            <p:spPr>
              <a:xfrm>
                <a:off x="4058829" y="2995477"/>
                <a:ext cx="18376" cy="18436"/>
              </a:xfrm>
              <a:custGeom>
                <a:avLst/>
                <a:gdLst>
                  <a:gd name="connsiteX0" fmla="*/ 7364 w 18376"/>
                  <a:gd name="connsiteY0" fmla="*/ 18249 h 18436"/>
                  <a:gd name="connsiteX1" fmla="*/ 187 w 18376"/>
                  <a:gd name="connsiteY1" fmla="*/ 7364 h 18436"/>
                  <a:gd name="connsiteX2" fmla="*/ 11012 w 18376"/>
                  <a:gd name="connsiteY2" fmla="*/ 187 h 18436"/>
                  <a:gd name="connsiteX3" fmla="*/ 18189 w 18376"/>
                  <a:gd name="connsiteY3" fmla="*/ 11072 h 18436"/>
                  <a:gd name="connsiteX4" fmla="*/ 7364 w 18376"/>
                  <a:gd name="connsiteY4" fmla="*/ 18249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6">
                    <a:moveTo>
                      <a:pt x="7364" y="18249"/>
                    </a:moveTo>
                    <a:cubicBezTo>
                      <a:pt x="2400" y="17232"/>
                      <a:pt x="-830" y="12328"/>
                      <a:pt x="187" y="7364"/>
                    </a:cubicBezTo>
                    <a:cubicBezTo>
                      <a:pt x="1204" y="2400"/>
                      <a:pt x="6048" y="-830"/>
                      <a:pt x="11012" y="187"/>
                    </a:cubicBezTo>
                    <a:cubicBezTo>
                      <a:pt x="15976" y="1204"/>
                      <a:pt x="19206" y="6108"/>
                      <a:pt x="18189" y="11072"/>
                    </a:cubicBezTo>
                    <a:cubicBezTo>
                      <a:pt x="17173" y="16036"/>
                      <a:pt x="12328" y="19266"/>
                      <a:pt x="7364" y="18249"/>
                    </a:cubicBezTo>
                    <a:close/>
                  </a:path>
                </a:pathLst>
              </a:custGeom>
              <a:grpFill/>
              <a:ln w="5978" cap="flat">
                <a:noFill/>
                <a:prstDash val="solid"/>
                <a:miter/>
              </a:ln>
            </p:spPr>
            <p:txBody>
              <a:bodyPr rtlCol="0" anchor="ctr"/>
              <a:lstStyle/>
              <a:p>
                <a:endParaRPr lang="en-GB"/>
              </a:p>
            </p:txBody>
          </p:sp>
          <p:sp>
            <p:nvSpPr>
              <p:cNvPr id="2066" name="Vrije vorm: vorm 2065">
                <a:extLst>
                  <a:ext uri="{FF2B5EF4-FFF2-40B4-BE49-F238E27FC236}">
                    <a16:creationId xmlns:a16="http://schemas.microsoft.com/office/drawing/2014/main" id="{F05FD85B-C75C-434C-BAF3-64B4D70BE632}"/>
                  </a:ext>
                </a:extLst>
              </p:cNvPr>
              <p:cNvSpPr/>
              <p:nvPr/>
            </p:nvSpPr>
            <p:spPr>
              <a:xfrm>
                <a:off x="4309660" y="3047507"/>
                <a:ext cx="18376" cy="18440"/>
              </a:xfrm>
              <a:custGeom>
                <a:avLst/>
                <a:gdLst>
                  <a:gd name="connsiteX0" fmla="*/ 7364 w 18376"/>
                  <a:gd name="connsiteY0" fmla="*/ 18251 h 18440"/>
                  <a:gd name="connsiteX1" fmla="*/ 18189 w 18376"/>
                  <a:gd name="connsiteY1" fmla="*/ 11075 h 18440"/>
                  <a:gd name="connsiteX2" fmla="*/ 11012 w 18376"/>
                  <a:gd name="connsiteY2" fmla="*/ 190 h 18440"/>
                  <a:gd name="connsiteX3" fmla="*/ 187 w 18376"/>
                  <a:gd name="connsiteY3" fmla="*/ 7367 h 18440"/>
                  <a:gd name="connsiteX4" fmla="*/ 7364 w 18376"/>
                  <a:gd name="connsiteY4" fmla="*/ 18251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40">
                    <a:moveTo>
                      <a:pt x="7364" y="18251"/>
                    </a:moveTo>
                    <a:cubicBezTo>
                      <a:pt x="12328" y="19268"/>
                      <a:pt x="17173" y="16098"/>
                      <a:pt x="18189" y="11075"/>
                    </a:cubicBezTo>
                    <a:cubicBezTo>
                      <a:pt x="19206" y="6110"/>
                      <a:pt x="15976" y="1206"/>
                      <a:pt x="11012" y="190"/>
                    </a:cubicBezTo>
                    <a:cubicBezTo>
                      <a:pt x="6048" y="-827"/>
                      <a:pt x="1204" y="2343"/>
                      <a:pt x="187" y="7367"/>
                    </a:cubicBezTo>
                    <a:cubicBezTo>
                      <a:pt x="-830" y="12330"/>
                      <a:pt x="2400" y="17235"/>
                      <a:pt x="7364" y="18251"/>
                    </a:cubicBezTo>
                    <a:close/>
                  </a:path>
                </a:pathLst>
              </a:custGeom>
              <a:grpFill/>
              <a:ln w="5978" cap="flat">
                <a:noFill/>
                <a:prstDash val="solid"/>
                <a:miter/>
              </a:ln>
            </p:spPr>
            <p:txBody>
              <a:bodyPr rtlCol="0" anchor="ctr"/>
              <a:lstStyle/>
              <a:p>
                <a:endParaRPr lang="en-GB"/>
              </a:p>
            </p:txBody>
          </p:sp>
        </p:grpSp>
        <p:grpSp>
          <p:nvGrpSpPr>
            <p:cNvPr id="1113" name="Graphic 3">
              <a:extLst>
                <a:ext uri="{FF2B5EF4-FFF2-40B4-BE49-F238E27FC236}">
                  <a16:creationId xmlns:a16="http://schemas.microsoft.com/office/drawing/2014/main" id="{34D39654-A735-4328-911C-B5DABD90CF95}"/>
                </a:ext>
              </a:extLst>
            </p:cNvPr>
            <p:cNvGrpSpPr/>
            <p:nvPr/>
          </p:nvGrpSpPr>
          <p:grpSpPr>
            <a:xfrm>
              <a:off x="4814258" y="4976217"/>
              <a:ext cx="145755" cy="199383"/>
              <a:chOff x="4814258" y="4976217"/>
              <a:chExt cx="145755" cy="199383"/>
            </a:xfrm>
            <a:grpFill/>
          </p:grpSpPr>
          <p:sp>
            <p:nvSpPr>
              <p:cNvPr id="2061" name="Vrije vorm: vorm 2060">
                <a:extLst>
                  <a:ext uri="{FF2B5EF4-FFF2-40B4-BE49-F238E27FC236}">
                    <a16:creationId xmlns:a16="http://schemas.microsoft.com/office/drawing/2014/main" id="{86E89141-A4C6-4C55-B994-F6895A3BC99D}"/>
                  </a:ext>
                </a:extLst>
              </p:cNvPr>
              <p:cNvSpPr/>
              <p:nvPr/>
            </p:nvSpPr>
            <p:spPr>
              <a:xfrm>
                <a:off x="4821976" y="4984194"/>
                <a:ext cx="130379" cy="183428"/>
              </a:xfrm>
              <a:custGeom>
                <a:avLst/>
                <a:gdLst>
                  <a:gd name="connsiteX0" fmla="*/ 130380 w 130379"/>
                  <a:gd name="connsiteY0" fmla="*/ 1795 h 183428"/>
                  <a:gd name="connsiteX1" fmla="*/ 2512 w 130379"/>
                  <a:gd name="connsiteY1" fmla="*/ 183429 h 183428"/>
                  <a:gd name="connsiteX2" fmla="*/ 0 w 130379"/>
                  <a:gd name="connsiteY2" fmla="*/ 181694 h 183428"/>
                  <a:gd name="connsiteX3" fmla="*/ 127928 w 130379"/>
                  <a:gd name="connsiteY3" fmla="*/ 0 h 183428"/>
                </a:gdLst>
                <a:ahLst/>
                <a:cxnLst>
                  <a:cxn ang="0">
                    <a:pos x="connsiteX0" y="connsiteY0"/>
                  </a:cxn>
                  <a:cxn ang="0">
                    <a:pos x="connsiteX1" y="connsiteY1"/>
                  </a:cxn>
                  <a:cxn ang="0">
                    <a:pos x="connsiteX2" y="connsiteY2"/>
                  </a:cxn>
                  <a:cxn ang="0">
                    <a:pos x="connsiteX3" y="connsiteY3"/>
                  </a:cxn>
                </a:cxnLst>
                <a:rect l="l" t="t" r="r" b="b"/>
                <a:pathLst>
                  <a:path w="130379" h="183428">
                    <a:moveTo>
                      <a:pt x="130380" y="1795"/>
                    </a:moveTo>
                    <a:lnTo>
                      <a:pt x="2512" y="183429"/>
                    </a:lnTo>
                    <a:lnTo>
                      <a:pt x="0" y="181694"/>
                    </a:lnTo>
                    <a:lnTo>
                      <a:pt x="127928" y="0"/>
                    </a:lnTo>
                    <a:close/>
                  </a:path>
                </a:pathLst>
              </a:custGeom>
              <a:grpFill/>
              <a:ln w="5978" cap="flat">
                <a:noFill/>
                <a:prstDash val="solid"/>
                <a:miter/>
              </a:ln>
            </p:spPr>
            <p:txBody>
              <a:bodyPr rtlCol="0" anchor="ctr"/>
              <a:lstStyle/>
              <a:p>
                <a:endParaRPr lang="en-GB"/>
              </a:p>
            </p:txBody>
          </p:sp>
          <p:sp>
            <p:nvSpPr>
              <p:cNvPr id="2062" name="Vrije vorm: vorm 2061">
                <a:extLst>
                  <a:ext uri="{FF2B5EF4-FFF2-40B4-BE49-F238E27FC236}">
                    <a16:creationId xmlns:a16="http://schemas.microsoft.com/office/drawing/2014/main" id="{1418249E-60E6-4691-9842-3AD98D828AAD}"/>
                  </a:ext>
                </a:extLst>
              </p:cNvPr>
              <p:cNvSpPr/>
              <p:nvPr/>
            </p:nvSpPr>
            <p:spPr>
              <a:xfrm>
                <a:off x="4814258" y="5157193"/>
                <a:ext cx="18382" cy="18406"/>
              </a:xfrm>
              <a:custGeom>
                <a:avLst/>
                <a:gdLst>
                  <a:gd name="connsiteX0" fmla="*/ 16689 w 18382"/>
                  <a:gd name="connsiteY0" fmla="*/ 14556 h 18406"/>
                  <a:gd name="connsiteX1" fmla="*/ 3890 w 18382"/>
                  <a:gd name="connsiteY1" fmla="*/ 16709 h 18406"/>
                  <a:gd name="connsiteX2" fmla="*/ 1677 w 18382"/>
                  <a:gd name="connsiteY2" fmla="*/ 3850 h 18406"/>
                  <a:gd name="connsiteX3" fmla="*/ 14476 w 18382"/>
                  <a:gd name="connsiteY3" fmla="*/ 1697 h 18406"/>
                  <a:gd name="connsiteX4" fmla="*/ 16689 w 18382"/>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2" h="18406">
                    <a:moveTo>
                      <a:pt x="16689" y="14556"/>
                    </a:moveTo>
                    <a:cubicBezTo>
                      <a:pt x="13759" y="18683"/>
                      <a:pt x="8077" y="19640"/>
                      <a:pt x="3890" y="16709"/>
                    </a:cubicBezTo>
                    <a:cubicBezTo>
                      <a:pt x="-237" y="13779"/>
                      <a:pt x="-1253" y="7977"/>
                      <a:pt x="1677" y="3850"/>
                    </a:cubicBezTo>
                    <a:cubicBezTo>
                      <a:pt x="4608" y="-276"/>
                      <a:pt x="10290" y="-1233"/>
                      <a:pt x="14476" y="1697"/>
                    </a:cubicBezTo>
                    <a:cubicBezTo>
                      <a:pt x="18663" y="4628"/>
                      <a:pt x="19620" y="10370"/>
                      <a:pt x="16689" y="14556"/>
                    </a:cubicBezTo>
                    <a:close/>
                  </a:path>
                </a:pathLst>
              </a:custGeom>
              <a:grpFill/>
              <a:ln w="5978" cap="flat">
                <a:noFill/>
                <a:prstDash val="solid"/>
                <a:miter/>
              </a:ln>
            </p:spPr>
            <p:txBody>
              <a:bodyPr rtlCol="0" anchor="ctr"/>
              <a:lstStyle/>
              <a:p>
                <a:endParaRPr lang="en-GB"/>
              </a:p>
            </p:txBody>
          </p:sp>
          <p:sp>
            <p:nvSpPr>
              <p:cNvPr id="2063" name="Vrije vorm: vorm 2062">
                <a:extLst>
                  <a:ext uri="{FF2B5EF4-FFF2-40B4-BE49-F238E27FC236}">
                    <a16:creationId xmlns:a16="http://schemas.microsoft.com/office/drawing/2014/main" id="{557AC014-D589-4CB9-92D0-25660CDAB603}"/>
                  </a:ext>
                </a:extLst>
              </p:cNvPr>
              <p:cNvSpPr/>
              <p:nvPr/>
            </p:nvSpPr>
            <p:spPr>
              <a:xfrm>
                <a:off x="4941648" y="4976217"/>
                <a:ext cx="18366" cy="18449"/>
              </a:xfrm>
              <a:custGeom>
                <a:avLst/>
                <a:gdLst>
                  <a:gd name="connsiteX0" fmla="*/ 16689 w 18366"/>
                  <a:gd name="connsiteY0" fmla="*/ 14556 h 18449"/>
                  <a:gd name="connsiteX1" fmla="*/ 14476 w 18366"/>
                  <a:gd name="connsiteY1" fmla="*/ 1697 h 18449"/>
                  <a:gd name="connsiteX2" fmla="*/ 1678 w 18366"/>
                  <a:gd name="connsiteY2" fmla="*/ 3850 h 18449"/>
                  <a:gd name="connsiteX3" fmla="*/ 3890 w 18366"/>
                  <a:gd name="connsiteY3" fmla="*/ 16709 h 18449"/>
                  <a:gd name="connsiteX4" fmla="*/ 16689 w 18366"/>
                  <a:gd name="connsiteY4" fmla="*/ 14556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49">
                    <a:moveTo>
                      <a:pt x="16689" y="14556"/>
                    </a:moveTo>
                    <a:cubicBezTo>
                      <a:pt x="19620" y="10429"/>
                      <a:pt x="18603" y="4628"/>
                      <a:pt x="14476" y="1697"/>
                    </a:cubicBezTo>
                    <a:cubicBezTo>
                      <a:pt x="10349" y="-1233"/>
                      <a:pt x="4608" y="-276"/>
                      <a:pt x="1678" y="3850"/>
                    </a:cubicBezTo>
                    <a:cubicBezTo>
                      <a:pt x="-1253" y="7977"/>
                      <a:pt x="-236" y="13719"/>
                      <a:pt x="3890" y="16709"/>
                    </a:cubicBezTo>
                    <a:cubicBezTo>
                      <a:pt x="8077" y="19700"/>
                      <a:pt x="13818" y="18743"/>
                      <a:pt x="16689" y="14556"/>
                    </a:cubicBezTo>
                    <a:close/>
                  </a:path>
                </a:pathLst>
              </a:custGeom>
              <a:grpFill/>
              <a:ln w="5978" cap="flat">
                <a:noFill/>
                <a:prstDash val="solid"/>
                <a:miter/>
              </a:ln>
            </p:spPr>
            <p:txBody>
              <a:bodyPr rtlCol="0" anchor="ctr"/>
              <a:lstStyle/>
              <a:p>
                <a:endParaRPr lang="en-GB"/>
              </a:p>
            </p:txBody>
          </p:sp>
        </p:grpSp>
        <p:grpSp>
          <p:nvGrpSpPr>
            <p:cNvPr id="1114" name="Graphic 3">
              <a:extLst>
                <a:ext uri="{FF2B5EF4-FFF2-40B4-BE49-F238E27FC236}">
                  <a16:creationId xmlns:a16="http://schemas.microsoft.com/office/drawing/2014/main" id="{8AC6B303-6B81-4A33-9098-3B06A1CB1BC6}"/>
                </a:ext>
              </a:extLst>
            </p:cNvPr>
            <p:cNvGrpSpPr/>
            <p:nvPr/>
          </p:nvGrpSpPr>
          <p:grpSpPr>
            <a:xfrm>
              <a:off x="4736535" y="4788358"/>
              <a:ext cx="148515" cy="170863"/>
              <a:chOff x="4736535" y="4788358"/>
              <a:chExt cx="148515" cy="170863"/>
            </a:xfrm>
            <a:grpFill/>
          </p:grpSpPr>
          <p:sp>
            <p:nvSpPr>
              <p:cNvPr id="2058" name="Vrije vorm: vorm 2057">
                <a:extLst>
                  <a:ext uri="{FF2B5EF4-FFF2-40B4-BE49-F238E27FC236}">
                    <a16:creationId xmlns:a16="http://schemas.microsoft.com/office/drawing/2014/main" id="{9C2D56AA-FCB8-49FD-BEC8-2C4393E7B413}"/>
                  </a:ext>
                </a:extLst>
              </p:cNvPr>
              <p:cNvSpPr/>
              <p:nvPr/>
            </p:nvSpPr>
            <p:spPr>
              <a:xfrm>
                <a:off x="4744287" y="4796220"/>
                <a:ext cx="133071" cy="155139"/>
              </a:xfrm>
              <a:custGeom>
                <a:avLst/>
                <a:gdLst>
                  <a:gd name="connsiteX0" fmla="*/ 133071 w 133071"/>
                  <a:gd name="connsiteY0" fmla="*/ 2034 h 155139"/>
                  <a:gd name="connsiteX1" fmla="*/ 2273 w 133071"/>
                  <a:gd name="connsiteY1" fmla="*/ 155140 h 155139"/>
                  <a:gd name="connsiteX2" fmla="*/ 0 w 133071"/>
                  <a:gd name="connsiteY2" fmla="*/ 153166 h 155139"/>
                  <a:gd name="connsiteX3" fmla="*/ 130798 w 133071"/>
                  <a:gd name="connsiteY3" fmla="*/ 0 h 155139"/>
                </a:gdLst>
                <a:ahLst/>
                <a:cxnLst>
                  <a:cxn ang="0">
                    <a:pos x="connsiteX0" y="connsiteY0"/>
                  </a:cxn>
                  <a:cxn ang="0">
                    <a:pos x="connsiteX1" y="connsiteY1"/>
                  </a:cxn>
                  <a:cxn ang="0">
                    <a:pos x="connsiteX2" y="connsiteY2"/>
                  </a:cxn>
                  <a:cxn ang="0">
                    <a:pos x="connsiteX3" y="connsiteY3"/>
                  </a:cxn>
                </a:cxnLst>
                <a:rect l="l" t="t" r="r" b="b"/>
                <a:pathLst>
                  <a:path w="133071" h="155139">
                    <a:moveTo>
                      <a:pt x="133071" y="2034"/>
                    </a:moveTo>
                    <a:lnTo>
                      <a:pt x="2273" y="155140"/>
                    </a:lnTo>
                    <a:lnTo>
                      <a:pt x="0" y="153166"/>
                    </a:lnTo>
                    <a:lnTo>
                      <a:pt x="130798" y="0"/>
                    </a:lnTo>
                    <a:close/>
                  </a:path>
                </a:pathLst>
              </a:custGeom>
              <a:grpFill/>
              <a:ln w="5978" cap="flat">
                <a:noFill/>
                <a:prstDash val="solid"/>
                <a:miter/>
              </a:ln>
            </p:spPr>
            <p:txBody>
              <a:bodyPr rtlCol="0" anchor="ctr"/>
              <a:lstStyle/>
              <a:p>
                <a:endParaRPr lang="en-GB"/>
              </a:p>
            </p:txBody>
          </p:sp>
          <p:sp>
            <p:nvSpPr>
              <p:cNvPr id="2059" name="Vrije vorm: vorm 2058">
                <a:extLst>
                  <a:ext uri="{FF2B5EF4-FFF2-40B4-BE49-F238E27FC236}">
                    <a16:creationId xmlns:a16="http://schemas.microsoft.com/office/drawing/2014/main" id="{8C195579-DEC3-406C-9BBB-9D88A8B4F9D7}"/>
                  </a:ext>
                </a:extLst>
              </p:cNvPr>
              <p:cNvSpPr/>
              <p:nvPr/>
            </p:nvSpPr>
            <p:spPr>
              <a:xfrm>
                <a:off x="4736535" y="4940807"/>
                <a:ext cx="18334" cy="18414"/>
              </a:xfrm>
              <a:custGeom>
                <a:avLst/>
                <a:gdLst>
                  <a:gd name="connsiteX0" fmla="*/ 16125 w 18334"/>
                  <a:gd name="connsiteY0" fmla="*/ 15218 h 18414"/>
                  <a:gd name="connsiteX1" fmla="*/ 3207 w 18334"/>
                  <a:gd name="connsiteY1" fmla="*/ 16175 h 18414"/>
                  <a:gd name="connsiteX2" fmla="*/ 2190 w 18334"/>
                  <a:gd name="connsiteY2" fmla="*/ 3197 h 18414"/>
                  <a:gd name="connsiteX3" fmla="*/ 15108 w 18334"/>
                  <a:gd name="connsiteY3" fmla="*/ 2240 h 18414"/>
                  <a:gd name="connsiteX4" fmla="*/ 16125 w 18334"/>
                  <a:gd name="connsiteY4" fmla="*/ 1521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14">
                    <a:moveTo>
                      <a:pt x="16125" y="15218"/>
                    </a:moveTo>
                    <a:cubicBezTo>
                      <a:pt x="12835" y="19045"/>
                      <a:pt x="7034" y="19524"/>
                      <a:pt x="3207" y="16175"/>
                    </a:cubicBezTo>
                    <a:cubicBezTo>
                      <a:pt x="-621" y="12826"/>
                      <a:pt x="-1099" y="7025"/>
                      <a:pt x="2190" y="3197"/>
                    </a:cubicBezTo>
                    <a:cubicBezTo>
                      <a:pt x="5479" y="-631"/>
                      <a:pt x="11281" y="-1110"/>
                      <a:pt x="15108" y="2240"/>
                    </a:cubicBezTo>
                    <a:cubicBezTo>
                      <a:pt x="18996" y="5529"/>
                      <a:pt x="19414" y="11390"/>
                      <a:pt x="16125" y="15218"/>
                    </a:cubicBezTo>
                    <a:close/>
                  </a:path>
                </a:pathLst>
              </a:custGeom>
              <a:grpFill/>
              <a:ln w="5978" cap="flat">
                <a:noFill/>
                <a:prstDash val="solid"/>
                <a:miter/>
              </a:ln>
            </p:spPr>
            <p:txBody>
              <a:bodyPr rtlCol="0" anchor="ctr"/>
              <a:lstStyle/>
              <a:p>
                <a:endParaRPr lang="en-GB"/>
              </a:p>
            </p:txBody>
          </p:sp>
          <p:sp>
            <p:nvSpPr>
              <p:cNvPr id="2060" name="Vrije vorm: vorm 2059">
                <a:extLst>
                  <a:ext uri="{FF2B5EF4-FFF2-40B4-BE49-F238E27FC236}">
                    <a16:creationId xmlns:a16="http://schemas.microsoft.com/office/drawing/2014/main" id="{8FF7DC80-1E66-41BE-B32E-664F88AADE66}"/>
                  </a:ext>
                </a:extLst>
              </p:cNvPr>
              <p:cNvSpPr/>
              <p:nvPr/>
            </p:nvSpPr>
            <p:spPr>
              <a:xfrm>
                <a:off x="4866715" y="4788358"/>
                <a:ext cx="18334" cy="18434"/>
              </a:xfrm>
              <a:custGeom>
                <a:avLst/>
                <a:gdLst>
                  <a:gd name="connsiteX0" fmla="*/ 16145 w 18334"/>
                  <a:gd name="connsiteY0" fmla="*/ 15218 h 18434"/>
                  <a:gd name="connsiteX1" fmla="*/ 15128 w 18334"/>
                  <a:gd name="connsiteY1" fmla="*/ 2240 h 18434"/>
                  <a:gd name="connsiteX2" fmla="*/ 2210 w 18334"/>
                  <a:gd name="connsiteY2" fmla="*/ 3197 h 18434"/>
                  <a:gd name="connsiteX3" fmla="*/ 3227 w 18334"/>
                  <a:gd name="connsiteY3" fmla="*/ 16175 h 18434"/>
                  <a:gd name="connsiteX4" fmla="*/ 16145 w 18334"/>
                  <a:gd name="connsiteY4" fmla="*/ 15218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34">
                    <a:moveTo>
                      <a:pt x="16145" y="15218"/>
                    </a:moveTo>
                    <a:cubicBezTo>
                      <a:pt x="19435" y="11390"/>
                      <a:pt x="18956" y="5529"/>
                      <a:pt x="15128" y="2240"/>
                    </a:cubicBezTo>
                    <a:cubicBezTo>
                      <a:pt x="11301" y="-1110"/>
                      <a:pt x="5499" y="-631"/>
                      <a:pt x="2210" y="3197"/>
                    </a:cubicBezTo>
                    <a:cubicBezTo>
                      <a:pt x="-1080" y="7024"/>
                      <a:pt x="-661" y="12886"/>
                      <a:pt x="3227" y="16175"/>
                    </a:cubicBezTo>
                    <a:cubicBezTo>
                      <a:pt x="7114" y="19524"/>
                      <a:pt x="12856" y="19105"/>
                      <a:pt x="16145" y="15218"/>
                    </a:cubicBezTo>
                    <a:close/>
                  </a:path>
                </a:pathLst>
              </a:custGeom>
              <a:grpFill/>
              <a:ln w="5978" cap="flat">
                <a:noFill/>
                <a:prstDash val="solid"/>
                <a:miter/>
              </a:ln>
            </p:spPr>
            <p:txBody>
              <a:bodyPr rtlCol="0" anchor="ctr"/>
              <a:lstStyle/>
              <a:p>
                <a:endParaRPr lang="en-GB"/>
              </a:p>
            </p:txBody>
          </p:sp>
        </p:grpSp>
        <p:grpSp>
          <p:nvGrpSpPr>
            <p:cNvPr id="1115" name="Graphic 3">
              <a:extLst>
                <a:ext uri="{FF2B5EF4-FFF2-40B4-BE49-F238E27FC236}">
                  <a16:creationId xmlns:a16="http://schemas.microsoft.com/office/drawing/2014/main" id="{6322F58F-A90F-4508-B118-F9597E1A8E00}"/>
                </a:ext>
              </a:extLst>
            </p:cNvPr>
            <p:cNvGrpSpPr/>
            <p:nvPr/>
          </p:nvGrpSpPr>
          <p:grpSpPr>
            <a:xfrm>
              <a:off x="4640209" y="4567749"/>
              <a:ext cx="182998" cy="172258"/>
              <a:chOff x="4640209" y="4567749"/>
              <a:chExt cx="182998" cy="172258"/>
            </a:xfrm>
            <a:grpFill/>
          </p:grpSpPr>
          <p:sp>
            <p:nvSpPr>
              <p:cNvPr id="2055" name="Vrije vorm: vorm 2054">
                <a:extLst>
                  <a:ext uri="{FF2B5EF4-FFF2-40B4-BE49-F238E27FC236}">
                    <a16:creationId xmlns:a16="http://schemas.microsoft.com/office/drawing/2014/main" id="{DB5F5342-ED5C-4050-8652-81217495F07B}"/>
                  </a:ext>
                </a:extLst>
              </p:cNvPr>
              <p:cNvSpPr/>
              <p:nvPr/>
            </p:nvSpPr>
            <p:spPr>
              <a:xfrm>
                <a:off x="4648057" y="4575531"/>
                <a:ext cx="167340" cy="156694"/>
              </a:xfrm>
              <a:custGeom>
                <a:avLst/>
                <a:gdLst>
                  <a:gd name="connsiteX0" fmla="*/ 167341 w 167340"/>
                  <a:gd name="connsiteY0" fmla="*/ 2213 h 156694"/>
                  <a:gd name="connsiteX1" fmla="*/ 2093 w 167340"/>
                  <a:gd name="connsiteY1" fmla="*/ 156695 h 156694"/>
                  <a:gd name="connsiteX2" fmla="*/ 0 w 167340"/>
                  <a:gd name="connsiteY2" fmla="*/ 154482 h 156694"/>
                  <a:gd name="connsiteX3" fmla="*/ 165247 w 167340"/>
                  <a:gd name="connsiteY3" fmla="*/ 0 h 156694"/>
                </a:gdLst>
                <a:ahLst/>
                <a:cxnLst>
                  <a:cxn ang="0">
                    <a:pos x="connsiteX0" y="connsiteY0"/>
                  </a:cxn>
                  <a:cxn ang="0">
                    <a:pos x="connsiteX1" y="connsiteY1"/>
                  </a:cxn>
                  <a:cxn ang="0">
                    <a:pos x="connsiteX2" y="connsiteY2"/>
                  </a:cxn>
                  <a:cxn ang="0">
                    <a:pos x="connsiteX3" y="connsiteY3"/>
                  </a:cxn>
                </a:cxnLst>
                <a:rect l="l" t="t" r="r" b="b"/>
                <a:pathLst>
                  <a:path w="167340" h="156694">
                    <a:moveTo>
                      <a:pt x="167341" y="2213"/>
                    </a:moveTo>
                    <a:lnTo>
                      <a:pt x="2093" y="156695"/>
                    </a:lnTo>
                    <a:lnTo>
                      <a:pt x="0" y="154482"/>
                    </a:lnTo>
                    <a:lnTo>
                      <a:pt x="165247" y="0"/>
                    </a:lnTo>
                    <a:close/>
                  </a:path>
                </a:pathLst>
              </a:custGeom>
              <a:grpFill/>
              <a:ln w="5978" cap="flat">
                <a:noFill/>
                <a:prstDash val="solid"/>
                <a:miter/>
              </a:ln>
            </p:spPr>
            <p:txBody>
              <a:bodyPr rtlCol="0" anchor="ctr"/>
              <a:lstStyle/>
              <a:p>
                <a:endParaRPr lang="en-GB"/>
              </a:p>
            </p:txBody>
          </p:sp>
          <p:sp>
            <p:nvSpPr>
              <p:cNvPr id="2056" name="Vrije vorm: vorm 2055">
                <a:extLst>
                  <a:ext uri="{FF2B5EF4-FFF2-40B4-BE49-F238E27FC236}">
                    <a16:creationId xmlns:a16="http://schemas.microsoft.com/office/drawing/2014/main" id="{29351657-FE84-4BFB-98C4-D9B18DA8E630}"/>
                  </a:ext>
                </a:extLst>
              </p:cNvPr>
              <p:cNvSpPr/>
              <p:nvPr/>
            </p:nvSpPr>
            <p:spPr>
              <a:xfrm>
                <a:off x="4640209" y="4721574"/>
                <a:ext cx="18372" cy="18434"/>
              </a:xfrm>
              <a:custGeom>
                <a:avLst/>
                <a:gdLst>
                  <a:gd name="connsiteX0" fmla="*/ 15443 w 18372"/>
                  <a:gd name="connsiteY0" fmla="*/ 15975 h 18434"/>
                  <a:gd name="connsiteX1" fmla="*/ 2465 w 18372"/>
                  <a:gd name="connsiteY1" fmla="*/ 15497 h 18434"/>
                  <a:gd name="connsiteX2" fmla="*/ 2884 w 18372"/>
                  <a:gd name="connsiteY2" fmla="*/ 2459 h 18434"/>
                  <a:gd name="connsiteX3" fmla="*/ 15862 w 18372"/>
                  <a:gd name="connsiteY3" fmla="*/ 2937 h 18434"/>
                  <a:gd name="connsiteX4" fmla="*/ 15443 w 18372"/>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4">
                    <a:moveTo>
                      <a:pt x="15443" y="15975"/>
                    </a:moveTo>
                    <a:cubicBezTo>
                      <a:pt x="11735" y="19444"/>
                      <a:pt x="5934" y="19205"/>
                      <a:pt x="2465" y="15497"/>
                    </a:cubicBezTo>
                    <a:cubicBezTo>
                      <a:pt x="-1004" y="11789"/>
                      <a:pt x="-764" y="5928"/>
                      <a:pt x="2884" y="2459"/>
                    </a:cubicBezTo>
                    <a:cubicBezTo>
                      <a:pt x="6592" y="-1010"/>
                      <a:pt x="12393" y="-771"/>
                      <a:pt x="15862" y="2937"/>
                    </a:cubicBezTo>
                    <a:cubicBezTo>
                      <a:pt x="19391" y="6705"/>
                      <a:pt x="19151" y="12506"/>
                      <a:pt x="15443" y="15975"/>
                    </a:cubicBezTo>
                    <a:close/>
                  </a:path>
                </a:pathLst>
              </a:custGeom>
              <a:grpFill/>
              <a:ln w="5978" cap="flat">
                <a:noFill/>
                <a:prstDash val="solid"/>
                <a:miter/>
              </a:ln>
            </p:spPr>
            <p:txBody>
              <a:bodyPr rtlCol="0" anchor="ctr"/>
              <a:lstStyle/>
              <a:p>
                <a:endParaRPr lang="en-GB"/>
              </a:p>
            </p:txBody>
          </p:sp>
          <p:sp>
            <p:nvSpPr>
              <p:cNvPr id="2057" name="Vrije vorm: vorm 2056">
                <a:extLst>
                  <a:ext uri="{FF2B5EF4-FFF2-40B4-BE49-F238E27FC236}">
                    <a16:creationId xmlns:a16="http://schemas.microsoft.com/office/drawing/2014/main" id="{3366379D-6EFF-41FC-803B-A1A828B937F5}"/>
                  </a:ext>
                </a:extLst>
              </p:cNvPr>
              <p:cNvSpPr/>
              <p:nvPr/>
            </p:nvSpPr>
            <p:spPr>
              <a:xfrm>
                <a:off x="4804837" y="4567749"/>
                <a:ext cx="18370" cy="18434"/>
              </a:xfrm>
              <a:custGeom>
                <a:avLst/>
                <a:gdLst>
                  <a:gd name="connsiteX0" fmla="*/ 15465 w 18370"/>
                  <a:gd name="connsiteY0" fmla="*/ 15975 h 18434"/>
                  <a:gd name="connsiteX1" fmla="*/ 15884 w 18370"/>
                  <a:gd name="connsiteY1" fmla="*/ 2937 h 18434"/>
                  <a:gd name="connsiteX2" fmla="*/ 2905 w 18370"/>
                  <a:gd name="connsiteY2" fmla="*/ 2459 h 18434"/>
                  <a:gd name="connsiteX3" fmla="*/ 2487 w 18370"/>
                  <a:gd name="connsiteY3" fmla="*/ 15497 h 18434"/>
                  <a:gd name="connsiteX4" fmla="*/ 15465 w 18370"/>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34">
                    <a:moveTo>
                      <a:pt x="15465" y="15975"/>
                    </a:moveTo>
                    <a:cubicBezTo>
                      <a:pt x="19173" y="12507"/>
                      <a:pt x="19352" y="6705"/>
                      <a:pt x="15884" y="2937"/>
                    </a:cubicBezTo>
                    <a:cubicBezTo>
                      <a:pt x="12415" y="-771"/>
                      <a:pt x="6613" y="-1010"/>
                      <a:pt x="2905" y="2459"/>
                    </a:cubicBezTo>
                    <a:cubicBezTo>
                      <a:pt x="-803" y="5928"/>
                      <a:pt x="-982" y="11729"/>
                      <a:pt x="2487" y="15497"/>
                    </a:cubicBezTo>
                    <a:cubicBezTo>
                      <a:pt x="5955" y="19205"/>
                      <a:pt x="11757" y="19444"/>
                      <a:pt x="15465" y="15975"/>
                    </a:cubicBezTo>
                    <a:close/>
                  </a:path>
                </a:pathLst>
              </a:custGeom>
              <a:grpFill/>
              <a:ln w="5978" cap="flat">
                <a:noFill/>
                <a:prstDash val="solid"/>
                <a:miter/>
              </a:ln>
            </p:spPr>
            <p:txBody>
              <a:bodyPr rtlCol="0" anchor="ctr"/>
              <a:lstStyle/>
              <a:p>
                <a:endParaRPr lang="en-GB"/>
              </a:p>
            </p:txBody>
          </p:sp>
        </p:grpSp>
        <p:grpSp>
          <p:nvGrpSpPr>
            <p:cNvPr id="1116" name="Graphic 3">
              <a:extLst>
                <a:ext uri="{FF2B5EF4-FFF2-40B4-BE49-F238E27FC236}">
                  <a16:creationId xmlns:a16="http://schemas.microsoft.com/office/drawing/2014/main" id="{CABC6C27-A413-49B5-9331-73D434197F2E}"/>
                </a:ext>
              </a:extLst>
            </p:cNvPr>
            <p:cNvGrpSpPr/>
            <p:nvPr/>
          </p:nvGrpSpPr>
          <p:grpSpPr>
            <a:xfrm>
              <a:off x="3876097" y="2829491"/>
              <a:ext cx="532639" cy="187372"/>
              <a:chOff x="3876097" y="2829491"/>
              <a:chExt cx="532639" cy="187372"/>
            </a:xfrm>
            <a:grpFill/>
          </p:grpSpPr>
          <p:sp>
            <p:nvSpPr>
              <p:cNvPr id="2052" name="Vrije vorm: vorm 2051">
                <a:extLst>
                  <a:ext uri="{FF2B5EF4-FFF2-40B4-BE49-F238E27FC236}">
                    <a16:creationId xmlns:a16="http://schemas.microsoft.com/office/drawing/2014/main" id="{F95867E8-092E-4335-98E0-DE0F8AF0BABE}"/>
                  </a:ext>
                </a:extLst>
              </p:cNvPr>
              <p:cNvSpPr/>
              <p:nvPr/>
            </p:nvSpPr>
            <p:spPr>
              <a:xfrm>
                <a:off x="3884379" y="2837115"/>
                <a:ext cx="516076" cy="172125"/>
              </a:xfrm>
              <a:custGeom>
                <a:avLst/>
                <a:gdLst>
                  <a:gd name="connsiteX0" fmla="*/ 516076 w 516076"/>
                  <a:gd name="connsiteY0" fmla="*/ 169254 h 172125"/>
                  <a:gd name="connsiteX1" fmla="*/ 515179 w 516076"/>
                  <a:gd name="connsiteY1" fmla="*/ 172125 h 172125"/>
                  <a:gd name="connsiteX2" fmla="*/ 0 w 516076"/>
                  <a:gd name="connsiteY2" fmla="*/ 2930 h 172125"/>
                  <a:gd name="connsiteX3" fmla="*/ 957 w 516076"/>
                  <a:gd name="connsiteY3" fmla="*/ 0 h 172125"/>
                </a:gdLst>
                <a:ahLst/>
                <a:cxnLst>
                  <a:cxn ang="0">
                    <a:pos x="connsiteX0" y="connsiteY0"/>
                  </a:cxn>
                  <a:cxn ang="0">
                    <a:pos x="connsiteX1" y="connsiteY1"/>
                  </a:cxn>
                  <a:cxn ang="0">
                    <a:pos x="connsiteX2" y="connsiteY2"/>
                  </a:cxn>
                  <a:cxn ang="0">
                    <a:pos x="connsiteX3" y="connsiteY3"/>
                  </a:cxn>
                </a:cxnLst>
                <a:rect l="l" t="t" r="r" b="b"/>
                <a:pathLst>
                  <a:path w="516076" h="172125">
                    <a:moveTo>
                      <a:pt x="516076" y="169254"/>
                    </a:moveTo>
                    <a:lnTo>
                      <a:pt x="515179" y="172125"/>
                    </a:lnTo>
                    <a:lnTo>
                      <a:pt x="0" y="2930"/>
                    </a:lnTo>
                    <a:lnTo>
                      <a:pt x="957" y="0"/>
                    </a:lnTo>
                    <a:close/>
                  </a:path>
                </a:pathLst>
              </a:custGeom>
              <a:grpFill/>
              <a:ln w="5978" cap="flat">
                <a:noFill/>
                <a:prstDash val="solid"/>
                <a:miter/>
              </a:ln>
            </p:spPr>
            <p:txBody>
              <a:bodyPr rtlCol="0" anchor="ctr"/>
              <a:lstStyle/>
              <a:p>
                <a:endParaRPr lang="en-GB"/>
              </a:p>
            </p:txBody>
          </p:sp>
          <p:sp>
            <p:nvSpPr>
              <p:cNvPr id="2053" name="Vrije vorm: vorm 2052">
                <a:extLst>
                  <a:ext uri="{FF2B5EF4-FFF2-40B4-BE49-F238E27FC236}">
                    <a16:creationId xmlns:a16="http://schemas.microsoft.com/office/drawing/2014/main" id="{EF47D676-AE0D-45BF-87BD-BAB4EF32F715}"/>
                  </a:ext>
                </a:extLst>
              </p:cNvPr>
              <p:cNvSpPr/>
              <p:nvPr/>
            </p:nvSpPr>
            <p:spPr>
              <a:xfrm>
                <a:off x="4390380" y="2998447"/>
                <a:ext cx="18357" cy="18416"/>
              </a:xfrm>
              <a:custGeom>
                <a:avLst/>
                <a:gdLst>
                  <a:gd name="connsiteX0" fmla="*/ 11990 w 18357"/>
                  <a:gd name="connsiteY0" fmla="*/ 447 h 18416"/>
                  <a:gd name="connsiteX1" fmla="*/ 17910 w 18357"/>
                  <a:gd name="connsiteY1" fmla="*/ 12049 h 18416"/>
                  <a:gd name="connsiteX2" fmla="*/ 6368 w 18357"/>
                  <a:gd name="connsiteY2" fmla="*/ 17970 h 18416"/>
                  <a:gd name="connsiteX3" fmla="*/ 447 w 18357"/>
                  <a:gd name="connsiteY3" fmla="*/ 6368 h 18416"/>
                  <a:gd name="connsiteX4" fmla="*/ 11990 w 18357"/>
                  <a:gd name="connsiteY4" fmla="*/ 44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11990" y="447"/>
                    </a:moveTo>
                    <a:cubicBezTo>
                      <a:pt x="16834" y="2002"/>
                      <a:pt x="19465" y="7205"/>
                      <a:pt x="17910" y="12049"/>
                    </a:cubicBezTo>
                    <a:cubicBezTo>
                      <a:pt x="16355" y="16894"/>
                      <a:pt x="11212" y="19525"/>
                      <a:pt x="6368" y="17970"/>
                    </a:cubicBezTo>
                    <a:cubicBezTo>
                      <a:pt x="1523" y="16415"/>
                      <a:pt x="-1108" y="11212"/>
                      <a:pt x="447" y="6368"/>
                    </a:cubicBezTo>
                    <a:cubicBezTo>
                      <a:pt x="2001" y="1523"/>
                      <a:pt x="7205" y="-1108"/>
                      <a:pt x="11990" y="447"/>
                    </a:cubicBezTo>
                    <a:close/>
                  </a:path>
                </a:pathLst>
              </a:custGeom>
              <a:grpFill/>
              <a:ln w="5978" cap="flat">
                <a:noFill/>
                <a:prstDash val="solid"/>
                <a:miter/>
              </a:ln>
            </p:spPr>
            <p:txBody>
              <a:bodyPr rtlCol="0" anchor="ctr"/>
              <a:lstStyle/>
              <a:p>
                <a:endParaRPr lang="en-GB"/>
              </a:p>
            </p:txBody>
          </p:sp>
          <p:sp>
            <p:nvSpPr>
              <p:cNvPr id="2054" name="Vrije vorm: vorm 2053">
                <a:extLst>
                  <a:ext uri="{FF2B5EF4-FFF2-40B4-BE49-F238E27FC236}">
                    <a16:creationId xmlns:a16="http://schemas.microsoft.com/office/drawing/2014/main" id="{6A47E7CF-405B-475A-B4CF-B3AE9AA78D3F}"/>
                  </a:ext>
                </a:extLst>
              </p:cNvPr>
              <p:cNvSpPr/>
              <p:nvPr/>
            </p:nvSpPr>
            <p:spPr>
              <a:xfrm>
                <a:off x="3876097" y="2829491"/>
                <a:ext cx="18357" cy="18358"/>
              </a:xfrm>
              <a:custGeom>
                <a:avLst/>
                <a:gdLst>
                  <a:gd name="connsiteX0" fmla="*/ 11990 w 18357"/>
                  <a:gd name="connsiteY0" fmla="*/ 447 h 18358"/>
                  <a:gd name="connsiteX1" fmla="*/ 447 w 18357"/>
                  <a:gd name="connsiteY1" fmla="*/ 6308 h 18358"/>
                  <a:gd name="connsiteX2" fmla="*/ 6368 w 18357"/>
                  <a:gd name="connsiteY2" fmla="*/ 17911 h 18358"/>
                  <a:gd name="connsiteX3" fmla="*/ 17911 w 18357"/>
                  <a:gd name="connsiteY3" fmla="*/ 12050 h 18358"/>
                  <a:gd name="connsiteX4" fmla="*/ 11990 w 18357"/>
                  <a:gd name="connsiteY4" fmla="*/ 447 h 1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358">
                    <a:moveTo>
                      <a:pt x="11990" y="447"/>
                    </a:moveTo>
                    <a:cubicBezTo>
                      <a:pt x="7145" y="-1108"/>
                      <a:pt x="2002" y="1524"/>
                      <a:pt x="447" y="6308"/>
                    </a:cubicBezTo>
                    <a:cubicBezTo>
                      <a:pt x="-1108" y="11153"/>
                      <a:pt x="1523" y="16356"/>
                      <a:pt x="6368" y="17911"/>
                    </a:cubicBezTo>
                    <a:cubicBezTo>
                      <a:pt x="11152" y="19466"/>
                      <a:pt x="16356" y="16834"/>
                      <a:pt x="17911" y="12050"/>
                    </a:cubicBezTo>
                    <a:cubicBezTo>
                      <a:pt x="19466" y="7265"/>
                      <a:pt x="16834" y="2062"/>
                      <a:pt x="11990" y="447"/>
                    </a:cubicBezTo>
                    <a:close/>
                  </a:path>
                </a:pathLst>
              </a:custGeom>
              <a:grpFill/>
              <a:ln w="5978" cap="flat">
                <a:noFill/>
                <a:prstDash val="solid"/>
                <a:miter/>
              </a:ln>
            </p:spPr>
            <p:txBody>
              <a:bodyPr rtlCol="0" anchor="ctr"/>
              <a:lstStyle/>
              <a:p>
                <a:endParaRPr lang="en-GB"/>
              </a:p>
            </p:txBody>
          </p:sp>
        </p:grpSp>
        <p:grpSp>
          <p:nvGrpSpPr>
            <p:cNvPr id="1117" name="Graphic 3">
              <a:extLst>
                <a:ext uri="{FF2B5EF4-FFF2-40B4-BE49-F238E27FC236}">
                  <a16:creationId xmlns:a16="http://schemas.microsoft.com/office/drawing/2014/main" id="{D1273161-45D4-45B0-95BC-77BA2FD6EB68}"/>
                </a:ext>
              </a:extLst>
            </p:cNvPr>
            <p:cNvGrpSpPr/>
            <p:nvPr/>
          </p:nvGrpSpPr>
          <p:grpSpPr>
            <a:xfrm>
              <a:off x="4606341" y="4335183"/>
              <a:ext cx="51511" cy="40378"/>
              <a:chOff x="4606341" y="4335183"/>
              <a:chExt cx="51511" cy="40378"/>
            </a:xfrm>
            <a:grpFill/>
          </p:grpSpPr>
          <p:sp>
            <p:nvSpPr>
              <p:cNvPr id="2049" name="Vrije vorm: vorm 2048">
                <a:extLst>
                  <a:ext uri="{FF2B5EF4-FFF2-40B4-BE49-F238E27FC236}">
                    <a16:creationId xmlns:a16="http://schemas.microsoft.com/office/drawing/2014/main" id="{FB2D2B76-3817-4D37-BFAC-38DFBD477CC6}"/>
                  </a:ext>
                </a:extLst>
              </p:cNvPr>
              <p:cNvSpPr/>
              <p:nvPr/>
            </p:nvSpPr>
            <p:spPr>
              <a:xfrm>
                <a:off x="4614266" y="4342881"/>
                <a:ext cx="35645" cy="24939"/>
              </a:xfrm>
              <a:custGeom>
                <a:avLst/>
                <a:gdLst>
                  <a:gd name="connsiteX0" fmla="*/ 35645 w 35645"/>
                  <a:gd name="connsiteY0" fmla="*/ 2572 h 24939"/>
                  <a:gd name="connsiteX1" fmla="*/ 1674 w 35645"/>
                  <a:gd name="connsiteY1" fmla="*/ 24940 h 24939"/>
                  <a:gd name="connsiteX2" fmla="*/ 0 w 35645"/>
                  <a:gd name="connsiteY2" fmla="*/ 22428 h 24939"/>
                  <a:gd name="connsiteX3" fmla="*/ 33970 w 35645"/>
                  <a:gd name="connsiteY3" fmla="*/ 0 h 24939"/>
                </a:gdLst>
                <a:ahLst/>
                <a:cxnLst>
                  <a:cxn ang="0">
                    <a:pos x="connsiteX0" y="connsiteY0"/>
                  </a:cxn>
                  <a:cxn ang="0">
                    <a:pos x="connsiteX1" y="connsiteY1"/>
                  </a:cxn>
                  <a:cxn ang="0">
                    <a:pos x="connsiteX2" y="connsiteY2"/>
                  </a:cxn>
                  <a:cxn ang="0">
                    <a:pos x="connsiteX3" y="connsiteY3"/>
                  </a:cxn>
                </a:cxnLst>
                <a:rect l="l" t="t" r="r" b="b"/>
                <a:pathLst>
                  <a:path w="35645" h="24939">
                    <a:moveTo>
                      <a:pt x="35645" y="2572"/>
                    </a:moveTo>
                    <a:lnTo>
                      <a:pt x="1674" y="24940"/>
                    </a:lnTo>
                    <a:lnTo>
                      <a:pt x="0" y="22428"/>
                    </a:lnTo>
                    <a:lnTo>
                      <a:pt x="33970" y="0"/>
                    </a:lnTo>
                    <a:close/>
                  </a:path>
                </a:pathLst>
              </a:custGeom>
              <a:grpFill/>
              <a:ln w="5978" cap="flat">
                <a:noFill/>
                <a:prstDash val="solid"/>
                <a:miter/>
              </a:ln>
            </p:spPr>
            <p:txBody>
              <a:bodyPr rtlCol="0" anchor="ctr"/>
              <a:lstStyle/>
              <a:p>
                <a:endParaRPr lang="en-GB"/>
              </a:p>
            </p:txBody>
          </p:sp>
          <p:sp>
            <p:nvSpPr>
              <p:cNvPr id="2050" name="Vrije vorm: vorm 2049">
                <a:extLst>
                  <a:ext uri="{FF2B5EF4-FFF2-40B4-BE49-F238E27FC236}">
                    <a16:creationId xmlns:a16="http://schemas.microsoft.com/office/drawing/2014/main" id="{CE7D536A-0672-4DD7-B652-2E6A9E351200}"/>
                  </a:ext>
                </a:extLst>
              </p:cNvPr>
              <p:cNvSpPr/>
              <p:nvPr/>
            </p:nvSpPr>
            <p:spPr>
              <a:xfrm>
                <a:off x="4606341" y="4357090"/>
                <a:ext cx="18318" cy="18470"/>
              </a:xfrm>
              <a:custGeom>
                <a:avLst/>
                <a:gdLst>
                  <a:gd name="connsiteX0" fmla="*/ 14205 w 18318"/>
                  <a:gd name="connsiteY0" fmla="*/ 16951 h 18470"/>
                  <a:gd name="connsiteX1" fmla="*/ 1526 w 18318"/>
                  <a:gd name="connsiteY1" fmla="*/ 14259 h 18470"/>
                  <a:gd name="connsiteX2" fmla="*/ 4098 w 18318"/>
                  <a:gd name="connsiteY2" fmla="*/ 1520 h 18470"/>
                  <a:gd name="connsiteX3" fmla="*/ 16777 w 18318"/>
                  <a:gd name="connsiteY3" fmla="*/ 4212 h 18470"/>
                  <a:gd name="connsiteX4" fmla="*/ 14205 w 18318"/>
                  <a:gd name="connsiteY4" fmla="*/ 16951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0">
                    <a:moveTo>
                      <a:pt x="14205" y="16951"/>
                    </a:moveTo>
                    <a:cubicBezTo>
                      <a:pt x="9959" y="19761"/>
                      <a:pt x="4277" y="18565"/>
                      <a:pt x="1526" y="14259"/>
                    </a:cubicBezTo>
                    <a:cubicBezTo>
                      <a:pt x="-1285" y="10013"/>
                      <a:pt x="-89" y="4271"/>
                      <a:pt x="4098" y="1520"/>
                    </a:cubicBezTo>
                    <a:cubicBezTo>
                      <a:pt x="8344" y="-1291"/>
                      <a:pt x="14026" y="-95"/>
                      <a:pt x="16777" y="4212"/>
                    </a:cubicBezTo>
                    <a:cubicBezTo>
                      <a:pt x="19588" y="8458"/>
                      <a:pt x="18451" y="14139"/>
                      <a:pt x="14205" y="16951"/>
                    </a:cubicBezTo>
                    <a:close/>
                  </a:path>
                </a:pathLst>
              </a:custGeom>
              <a:grpFill/>
              <a:ln w="5978" cap="flat">
                <a:noFill/>
                <a:prstDash val="solid"/>
                <a:miter/>
              </a:ln>
            </p:spPr>
            <p:txBody>
              <a:bodyPr rtlCol="0" anchor="ctr"/>
              <a:lstStyle/>
              <a:p>
                <a:endParaRPr lang="en-GB"/>
              </a:p>
            </p:txBody>
          </p:sp>
          <p:sp>
            <p:nvSpPr>
              <p:cNvPr id="2051" name="Vrije vorm: vorm 2050">
                <a:extLst>
                  <a:ext uri="{FF2B5EF4-FFF2-40B4-BE49-F238E27FC236}">
                    <a16:creationId xmlns:a16="http://schemas.microsoft.com/office/drawing/2014/main" id="{A2DFD333-84F7-48F0-AEF8-4CB358F24E18}"/>
                  </a:ext>
                </a:extLst>
              </p:cNvPr>
              <p:cNvSpPr/>
              <p:nvPr/>
            </p:nvSpPr>
            <p:spPr>
              <a:xfrm>
                <a:off x="4639518" y="4335183"/>
                <a:ext cx="18333" cy="18428"/>
              </a:xfrm>
              <a:custGeom>
                <a:avLst/>
                <a:gdLst>
                  <a:gd name="connsiteX0" fmla="*/ 14220 w 18333"/>
                  <a:gd name="connsiteY0" fmla="*/ 16909 h 18428"/>
                  <a:gd name="connsiteX1" fmla="*/ 16792 w 18333"/>
                  <a:gd name="connsiteY1" fmla="*/ 4170 h 18428"/>
                  <a:gd name="connsiteX2" fmla="*/ 4113 w 18333"/>
                  <a:gd name="connsiteY2" fmla="*/ 1479 h 18428"/>
                  <a:gd name="connsiteX3" fmla="*/ 1541 w 18333"/>
                  <a:gd name="connsiteY3" fmla="*/ 14218 h 18428"/>
                  <a:gd name="connsiteX4" fmla="*/ 14220 w 18333"/>
                  <a:gd name="connsiteY4" fmla="*/ 16909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28">
                    <a:moveTo>
                      <a:pt x="14220" y="16909"/>
                    </a:moveTo>
                    <a:cubicBezTo>
                      <a:pt x="18467" y="14098"/>
                      <a:pt x="19603" y="8416"/>
                      <a:pt x="16792" y="4170"/>
                    </a:cubicBezTo>
                    <a:cubicBezTo>
                      <a:pt x="13981" y="-76"/>
                      <a:pt x="8300" y="-1273"/>
                      <a:pt x="4113" y="1479"/>
                    </a:cubicBezTo>
                    <a:cubicBezTo>
                      <a:pt x="-133" y="4289"/>
                      <a:pt x="-1269" y="9971"/>
                      <a:pt x="1541" y="14218"/>
                    </a:cubicBezTo>
                    <a:cubicBezTo>
                      <a:pt x="4352" y="18524"/>
                      <a:pt x="10034" y="19720"/>
                      <a:pt x="14220" y="16909"/>
                    </a:cubicBezTo>
                    <a:close/>
                  </a:path>
                </a:pathLst>
              </a:custGeom>
              <a:grpFill/>
              <a:ln w="5978" cap="flat">
                <a:noFill/>
                <a:prstDash val="solid"/>
                <a:miter/>
              </a:ln>
            </p:spPr>
            <p:txBody>
              <a:bodyPr rtlCol="0" anchor="ctr"/>
              <a:lstStyle/>
              <a:p>
                <a:endParaRPr lang="en-GB"/>
              </a:p>
            </p:txBody>
          </p:sp>
        </p:grpSp>
        <p:grpSp>
          <p:nvGrpSpPr>
            <p:cNvPr id="1118" name="Graphic 3">
              <a:extLst>
                <a:ext uri="{FF2B5EF4-FFF2-40B4-BE49-F238E27FC236}">
                  <a16:creationId xmlns:a16="http://schemas.microsoft.com/office/drawing/2014/main" id="{A07BDB78-BF93-4292-B904-C09A920F4E69}"/>
                </a:ext>
              </a:extLst>
            </p:cNvPr>
            <p:cNvGrpSpPr/>
            <p:nvPr/>
          </p:nvGrpSpPr>
          <p:grpSpPr>
            <a:xfrm>
              <a:off x="4617235" y="4531976"/>
              <a:ext cx="198204" cy="180289"/>
              <a:chOff x="4617235" y="4531976"/>
              <a:chExt cx="198204" cy="180289"/>
            </a:xfrm>
            <a:grpFill/>
          </p:grpSpPr>
          <p:sp>
            <p:nvSpPr>
              <p:cNvPr id="2046" name="Vrije vorm: vorm 2045">
                <a:extLst>
                  <a:ext uri="{FF2B5EF4-FFF2-40B4-BE49-F238E27FC236}">
                    <a16:creationId xmlns:a16="http://schemas.microsoft.com/office/drawing/2014/main" id="{8EBC7508-8E17-4841-9456-3F8CDBD9D367}"/>
                  </a:ext>
                </a:extLst>
              </p:cNvPr>
              <p:cNvSpPr/>
              <p:nvPr/>
            </p:nvSpPr>
            <p:spPr>
              <a:xfrm>
                <a:off x="4625031" y="4539706"/>
                <a:ext cx="182591" cy="164828"/>
              </a:xfrm>
              <a:custGeom>
                <a:avLst/>
                <a:gdLst>
                  <a:gd name="connsiteX0" fmla="*/ 182592 w 182591"/>
                  <a:gd name="connsiteY0" fmla="*/ 2273 h 164828"/>
                  <a:gd name="connsiteX1" fmla="*/ 2034 w 182591"/>
                  <a:gd name="connsiteY1" fmla="*/ 164829 h 164828"/>
                  <a:gd name="connsiteX2" fmla="*/ 0 w 182591"/>
                  <a:gd name="connsiteY2" fmla="*/ 162496 h 164828"/>
                  <a:gd name="connsiteX3" fmla="*/ 180558 w 182591"/>
                  <a:gd name="connsiteY3" fmla="*/ 0 h 164828"/>
                </a:gdLst>
                <a:ahLst/>
                <a:cxnLst>
                  <a:cxn ang="0">
                    <a:pos x="connsiteX0" y="connsiteY0"/>
                  </a:cxn>
                  <a:cxn ang="0">
                    <a:pos x="connsiteX1" y="connsiteY1"/>
                  </a:cxn>
                  <a:cxn ang="0">
                    <a:pos x="connsiteX2" y="connsiteY2"/>
                  </a:cxn>
                  <a:cxn ang="0">
                    <a:pos x="connsiteX3" y="connsiteY3"/>
                  </a:cxn>
                </a:cxnLst>
                <a:rect l="l" t="t" r="r" b="b"/>
                <a:pathLst>
                  <a:path w="182591" h="164828">
                    <a:moveTo>
                      <a:pt x="182592" y="2273"/>
                    </a:moveTo>
                    <a:lnTo>
                      <a:pt x="2034" y="164829"/>
                    </a:lnTo>
                    <a:lnTo>
                      <a:pt x="0" y="162496"/>
                    </a:lnTo>
                    <a:lnTo>
                      <a:pt x="180558" y="0"/>
                    </a:lnTo>
                    <a:close/>
                  </a:path>
                </a:pathLst>
              </a:custGeom>
              <a:grpFill/>
              <a:ln w="5978" cap="flat">
                <a:noFill/>
                <a:prstDash val="solid"/>
                <a:miter/>
              </a:ln>
            </p:spPr>
            <p:txBody>
              <a:bodyPr rtlCol="0" anchor="ctr"/>
              <a:lstStyle/>
              <a:p>
                <a:endParaRPr lang="en-GB"/>
              </a:p>
            </p:txBody>
          </p:sp>
          <p:sp>
            <p:nvSpPr>
              <p:cNvPr id="2047" name="Vrije vorm: vorm 2046">
                <a:extLst>
                  <a:ext uri="{FF2B5EF4-FFF2-40B4-BE49-F238E27FC236}">
                    <a16:creationId xmlns:a16="http://schemas.microsoft.com/office/drawing/2014/main" id="{47ED1465-F093-4D28-9EE1-96E24DEE782A}"/>
                  </a:ext>
                </a:extLst>
              </p:cNvPr>
              <p:cNvSpPr/>
              <p:nvPr/>
            </p:nvSpPr>
            <p:spPr>
              <a:xfrm>
                <a:off x="4617235" y="4693875"/>
                <a:ext cx="18303" cy="18391"/>
              </a:xfrm>
              <a:custGeom>
                <a:avLst/>
                <a:gdLst>
                  <a:gd name="connsiteX0" fmla="*/ 15272 w 18303"/>
                  <a:gd name="connsiteY0" fmla="*/ 16043 h 18391"/>
                  <a:gd name="connsiteX1" fmla="*/ 2354 w 18303"/>
                  <a:gd name="connsiteY1" fmla="*/ 15326 h 18391"/>
                  <a:gd name="connsiteX2" fmla="*/ 3011 w 18303"/>
                  <a:gd name="connsiteY2" fmla="*/ 2348 h 18391"/>
                  <a:gd name="connsiteX3" fmla="*/ 15930 w 18303"/>
                  <a:gd name="connsiteY3" fmla="*/ 3065 h 18391"/>
                  <a:gd name="connsiteX4" fmla="*/ 15272 w 18303"/>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391">
                    <a:moveTo>
                      <a:pt x="15272" y="16043"/>
                    </a:moveTo>
                    <a:cubicBezTo>
                      <a:pt x="11504" y="19452"/>
                      <a:pt x="5703" y="19094"/>
                      <a:pt x="2354" y="15326"/>
                    </a:cubicBezTo>
                    <a:cubicBezTo>
                      <a:pt x="-1055" y="11498"/>
                      <a:pt x="-697" y="5697"/>
                      <a:pt x="3011" y="2348"/>
                    </a:cubicBezTo>
                    <a:cubicBezTo>
                      <a:pt x="6779" y="-1061"/>
                      <a:pt x="12580" y="-703"/>
                      <a:pt x="15930" y="3065"/>
                    </a:cubicBezTo>
                    <a:cubicBezTo>
                      <a:pt x="19339" y="6833"/>
                      <a:pt x="19040" y="12694"/>
                      <a:pt x="15272" y="16043"/>
                    </a:cubicBezTo>
                    <a:close/>
                  </a:path>
                </a:pathLst>
              </a:custGeom>
              <a:grpFill/>
              <a:ln w="5978" cap="flat">
                <a:noFill/>
                <a:prstDash val="solid"/>
                <a:miter/>
              </a:ln>
            </p:spPr>
            <p:txBody>
              <a:bodyPr rtlCol="0" anchor="ctr"/>
              <a:lstStyle/>
              <a:p>
                <a:endParaRPr lang="en-GB"/>
              </a:p>
            </p:txBody>
          </p:sp>
          <p:sp>
            <p:nvSpPr>
              <p:cNvPr id="2048" name="Vrije vorm: vorm 2047">
                <a:extLst>
                  <a:ext uri="{FF2B5EF4-FFF2-40B4-BE49-F238E27FC236}">
                    <a16:creationId xmlns:a16="http://schemas.microsoft.com/office/drawing/2014/main" id="{A6B4E9F2-C487-45DB-B387-0882DE5AC82A}"/>
                  </a:ext>
                </a:extLst>
              </p:cNvPr>
              <p:cNvSpPr/>
              <p:nvPr/>
            </p:nvSpPr>
            <p:spPr>
              <a:xfrm>
                <a:off x="4797115" y="4531976"/>
                <a:ext cx="18325" cy="18391"/>
              </a:xfrm>
              <a:custGeom>
                <a:avLst/>
                <a:gdLst>
                  <a:gd name="connsiteX0" fmla="*/ 15293 w 18325"/>
                  <a:gd name="connsiteY0" fmla="*/ 16043 h 18391"/>
                  <a:gd name="connsiteX1" fmla="*/ 15951 w 18325"/>
                  <a:gd name="connsiteY1" fmla="*/ 3065 h 18391"/>
                  <a:gd name="connsiteX2" fmla="*/ 3032 w 18325"/>
                  <a:gd name="connsiteY2" fmla="*/ 2348 h 18391"/>
                  <a:gd name="connsiteX3" fmla="*/ 2374 w 18325"/>
                  <a:gd name="connsiteY3" fmla="*/ 15326 h 18391"/>
                  <a:gd name="connsiteX4" fmla="*/ 15293 w 18325"/>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91">
                    <a:moveTo>
                      <a:pt x="15293" y="16043"/>
                    </a:moveTo>
                    <a:cubicBezTo>
                      <a:pt x="19061" y="12634"/>
                      <a:pt x="19360" y="6833"/>
                      <a:pt x="15951" y="3065"/>
                    </a:cubicBezTo>
                    <a:cubicBezTo>
                      <a:pt x="12542" y="-703"/>
                      <a:pt x="6800" y="-1061"/>
                      <a:pt x="3032" y="2348"/>
                    </a:cubicBezTo>
                    <a:cubicBezTo>
                      <a:pt x="-735" y="5757"/>
                      <a:pt x="-1035" y="11558"/>
                      <a:pt x="2374" y="15326"/>
                    </a:cubicBezTo>
                    <a:cubicBezTo>
                      <a:pt x="5723" y="19094"/>
                      <a:pt x="11525" y="19452"/>
                      <a:pt x="15293" y="16043"/>
                    </a:cubicBezTo>
                    <a:close/>
                  </a:path>
                </a:pathLst>
              </a:custGeom>
              <a:grpFill/>
              <a:ln w="5978" cap="flat">
                <a:noFill/>
                <a:prstDash val="solid"/>
                <a:miter/>
              </a:ln>
            </p:spPr>
            <p:txBody>
              <a:bodyPr rtlCol="0" anchor="ctr"/>
              <a:lstStyle/>
              <a:p>
                <a:endParaRPr lang="en-GB"/>
              </a:p>
            </p:txBody>
          </p:sp>
        </p:grpSp>
        <p:grpSp>
          <p:nvGrpSpPr>
            <p:cNvPr id="1119" name="Graphic 3">
              <a:extLst>
                <a:ext uri="{FF2B5EF4-FFF2-40B4-BE49-F238E27FC236}">
                  <a16:creationId xmlns:a16="http://schemas.microsoft.com/office/drawing/2014/main" id="{8603F168-9058-48C1-873C-224893EC0FDE}"/>
                </a:ext>
              </a:extLst>
            </p:cNvPr>
            <p:cNvGrpSpPr/>
            <p:nvPr/>
          </p:nvGrpSpPr>
          <p:grpSpPr>
            <a:xfrm>
              <a:off x="4191543" y="3340865"/>
              <a:ext cx="191035" cy="24652"/>
              <a:chOff x="4191543" y="3340865"/>
              <a:chExt cx="191035" cy="24652"/>
            </a:xfrm>
            <a:grpFill/>
          </p:grpSpPr>
          <p:sp>
            <p:nvSpPr>
              <p:cNvPr id="2043" name="Vrije vorm: vorm 2042">
                <a:extLst>
                  <a:ext uri="{FF2B5EF4-FFF2-40B4-BE49-F238E27FC236}">
                    <a16:creationId xmlns:a16="http://schemas.microsoft.com/office/drawing/2014/main" id="{FDE04CB9-33BD-4B0F-8B27-0C3924E54332}"/>
                  </a:ext>
                </a:extLst>
              </p:cNvPr>
              <p:cNvSpPr/>
              <p:nvPr/>
            </p:nvSpPr>
            <p:spPr>
              <a:xfrm>
                <a:off x="4200221" y="3348526"/>
                <a:ext cx="173680" cy="9329"/>
              </a:xfrm>
              <a:custGeom>
                <a:avLst/>
                <a:gdLst>
                  <a:gd name="connsiteX0" fmla="*/ 173680 w 173680"/>
                  <a:gd name="connsiteY0" fmla="*/ 6220 h 9329"/>
                  <a:gd name="connsiteX1" fmla="*/ 173620 w 173680"/>
                  <a:gd name="connsiteY1" fmla="*/ 9330 h 9329"/>
                  <a:gd name="connsiteX2" fmla="*/ 0 w 173680"/>
                  <a:gd name="connsiteY2" fmla="*/ 3050 h 9329"/>
                  <a:gd name="connsiteX3" fmla="*/ 119 w 173680"/>
                  <a:gd name="connsiteY3" fmla="*/ 0 h 9329"/>
                </a:gdLst>
                <a:ahLst/>
                <a:cxnLst>
                  <a:cxn ang="0">
                    <a:pos x="connsiteX0" y="connsiteY0"/>
                  </a:cxn>
                  <a:cxn ang="0">
                    <a:pos x="connsiteX1" y="connsiteY1"/>
                  </a:cxn>
                  <a:cxn ang="0">
                    <a:pos x="connsiteX2" y="connsiteY2"/>
                  </a:cxn>
                  <a:cxn ang="0">
                    <a:pos x="connsiteX3" y="connsiteY3"/>
                  </a:cxn>
                </a:cxnLst>
                <a:rect l="l" t="t" r="r" b="b"/>
                <a:pathLst>
                  <a:path w="173680" h="9329">
                    <a:moveTo>
                      <a:pt x="173680" y="6220"/>
                    </a:moveTo>
                    <a:lnTo>
                      <a:pt x="173620" y="9330"/>
                    </a:lnTo>
                    <a:lnTo>
                      <a:pt x="0" y="3050"/>
                    </a:lnTo>
                    <a:lnTo>
                      <a:pt x="119" y="0"/>
                    </a:lnTo>
                    <a:close/>
                  </a:path>
                </a:pathLst>
              </a:custGeom>
              <a:grpFill/>
              <a:ln w="5978" cap="flat">
                <a:noFill/>
                <a:prstDash val="solid"/>
                <a:miter/>
              </a:ln>
            </p:spPr>
            <p:txBody>
              <a:bodyPr rtlCol="0" anchor="ctr"/>
              <a:lstStyle/>
              <a:p>
                <a:endParaRPr lang="en-GB"/>
              </a:p>
            </p:txBody>
          </p:sp>
          <p:sp>
            <p:nvSpPr>
              <p:cNvPr id="2044" name="Vrije vorm: vorm 2043">
                <a:extLst>
                  <a:ext uri="{FF2B5EF4-FFF2-40B4-BE49-F238E27FC236}">
                    <a16:creationId xmlns:a16="http://schemas.microsoft.com/office/drawing/2014/main" id="{69545F4B-48F7-4430-9DF8-1D331DD26FA9}"/>
                  </a:ext>
                </a:extLst>
              </p:cNvPr>
              <p:cNvSpPr/>
              <p:nvPr/>
            </p:nvSpPr>
            <p:spPr>
              <a:xfrm>
                <a:off x="4191543" y="3340865"/>
                <a:ext cx="18312" cy="18372"/>
              </a:xfrm>
              <a:custGeom>
                <a:avLst/>
                <a:gdLst>
                  <a:gd name="connsiteX0" fmla="*/ 8857 w 18312"/>
                  <a:gd name="connsiteY0" fmla="*/ 18367 h 18372"/>
                  <a:gd name="connsiteX1" fmla="*/ 6 w 18312"/>
                  <a:gd name="connsiteY1" fmla="*/ 8857 h 18372"/>
                  <a:gd name="connsiteX2" fmla="*/ 9455 w 18312"/>
                  <a:gd name="connsiteY2" fmla="*/ 6 h 18372"/>
                  <a:gd name="connsiteX3" fmla="*/ 18307 w 18312"/>
                  <a:gd name="connsiteY3" fmla="*/ 9515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3774" y="18187"/>
                      <a:pt x="-174" y="13941"/>
                      <a:pt x="6" y="8857"/>
                    </a:cubicBezTo>
                    <a:cubicBezTo>
                      <a:pt x="185" y="3774"/>
                      <a:pt x="4372" y="-174"/>
                      <a:pt x="9455" y="6"/>
                    </a:cubicBezTo>
                    <a:cubicBezTo>
                      <a:pt x="14539" y="185"/>
                      <a:pt x="18486" y="4432"/>
                      <a:pt x="18307" y="9515"/>
                    </a:cubicBezTo>
                    <a:cubicBezTo>
                      <a:pt x="18127" y="14599"/>
                      <a:pt x="13941" y="18546"/>
                      <a:pt x="8857" y="18367"/>
                    </a:cubicBezTo>
                    <a:close/>
                  </a:path>
                </a:pathLst>
              </a:custGeom>
              <a:grpFill/>
              <a:ln w="5978" cap="flat">
                <a:noFill/>
                <a:prstDash val="solid"/>
                <a:miter/>
              </a:ln>
            </p:spPr>
            <p:txBody>
              <a:bodyPr rtlCol="0" anchor="ctr"/>
              <a:lstStyle/>
              <a:p>
                <a:endParaRPr lang="en-GB"/>
              </a:p>
            </p:txBody>
          </p:sp>
          <p:sp>
            <p:nvSpPr>
              <p:cNvPr id="2045" name="Vrije vorm: vorm 2044">
                <a:extLst>
                  <a:ext uri="{FF2B5EF4-FFF2-40B4-BE49-F238E27FC236}">
                    <a16:creationId xmlns:a16="http://schemas.microsoft.com/office/drawing/2014/main" id="{1B721726-A463-44A2-93E3-8342AEC68EE6}"/>
                  </a:ext>
                </a:extLst>
              </p:cNvPr>
              <p:cNvSpPr/>
              <p:nvPr/>
            </p:nvSpPr>
            <p:spPr>
              <a:xfrm>
                <a:off x="4364266" y="3347145"/>
                <a:ext cx="18312" cy="18372"/>
              </a:xfrm>
              <a:custGeom>
                <a:avLst/>
                <a:gdLst>
                  <a:gd name="connsiteX0" fmla="*/ 8857 w 18312"/>
                  <a:gd name="connsiteY0" fmla="*/ 18367 h 18372"/>
                  <a:gd name="connsiteX1" fmla="*/ 18307 w 18312"/>
                  <a:gd name="connsiteY1" fmla="*/ 9515 h 18372"/>
                  <a:gd name="connsiteX2" fmla="*/ 9455 w 18312"/>
                  <a:gd name="connsiteY2" fmla="*/ 6 h 18372"/>
                  <a:gd name="connsiteX3" fmla="*/ 6 w 18312"/>
                  <a:gd name="connsiteY3" fmla="*/ 8857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13941" y="18546"/>
                      <a:pt x="18127" y="14599"/>
                      <a:pt x="18307" y="9515"/>
                    </a:cubicBezTo>
                    <a:cubicBezTo>
                      <a:pt x="18486" y="4432"/>
                      <a:pt x="14479" y="185"/>
                      <a:pt x="9455" y="6"/>
                    </a:cubicBezTo>
                    <a:cubicBezTo>
                      <a:pt x="4372" y="-174"/>
                      <a:pt x="185" y="3774"/>
                      <a:pt x="6" y="8857"/>
                    </a:cubicBezTo>
                    <a:cubicBezTo>
                      <a:pt x="-174" y="13881"/>
                      <a:pt x="3774" y="18187"/>
                      <a:pt x="8857" y="18367"/>
                    </a:cubicBezTo>
                    <a:close/>
                  </a:path>
                </a:pathLst>
              </a:custGeom>
              <a:grpFill/>
              <a:ln w="5978" cap="flat">
                <a:noFill/>
                <a:prstDash val="solid"/>
                <a:miter/>
              </a:ln>
            </p:spPr>
            <p:txBody>
              <a:bodyPr rtlCol="0" anchor="ctr"/>
              <a:lstStyle/>
              <a:p>
                <a:endParaRPr lang="en-GB"/>
              </a:p>
            </p:txBody>
          </p:sp>
        </p:grpSp>
        <p:grpSp>
          <p:nvGrpSpPr>
            <p:cNvPr id="1120" name="Graphic 3">
              <a:extLst>
                <a:ext uri="{FF2B5EF4-FFF2-40B4-BE49-F238E27FC236}">
                  <a16:creationId xmlns:a16="http://schemas.microsoft.com/office/drawing/2014/main" id="{FCAD4FA4-7DBC-4163-9565-449E1F990844}"/>
                </a:ext>
              </a:extLst>
            </p:cNvPr>
            <p:cNvGrpSpPr/>
            <p:nvPr/>
          </p:nvGrpSpPr>
          <p:grpSpPr>
            <a:xfrm>
              <a:off x="4065420" y="2958050"/>
              <a:ext cx="208277" cy="61591"/>
              <a:chOff x="4065420" y="2958050"/>
              <a:chExt cx="208277" cy="61591"/>
            </a:xfrm>
            <a:grpFill/>
          </p:grpSpPr>
          <p:sp>
            <p:nvSpPr>
              <p:cNvPr id="2040" name="Vrije vorm: vorm 2039">
                <a:extLst>
                  <a:ext uri="{FF2B5EF4-FFF2-40B4-BE49-F238E27FC236}">
                    <a16:creationId xmlns:a16="http://schemas.microsoft.com/office/drawing/2014/main" id="{ADDCA3FB-22E2-450E-BB97-44422D96D42F}"/>
                  </a:ext>
                </a:extLst>
              </p:cNvPr>
              <p:cNvSpPr/>
              <p:nvPr/>
            </p:nvSpPr>
            <p:spPr>
              <a:xfrm>
                <a:off x="4073788" y="2965641"/>
                <a:ext cx="191502" cy="46350"/>
              </a:xfrm>
              <a:custGeom>
                <a:avLst/>
                <a:gdLst>
                  <a:gd name="connsiteX0" fmla="*/ 191502 w 191502"/>
                  <a:gd name="connsiteY0" fmla="*/ 43360 h 46350"/>
                  <a:gd name="connsiteX1" fmla="*/ 190845 w 191502"/>
                  <a:gd name="connsiteY1" fmla="*/ 46351 h 46350"/>
                  <a:gd name="connsiteX2" fmla="*/ 0 w 191502"/>
                  <a:gd name="connsiteY2" fmla="*/ 2990 h 46350"/>
                  <a:gd name="connsiteX3" fmla="*/ 658 w 191502"/>
                  <a:gd name="connsiteY3" fmla="*/ 0 h 46350"/>
                </a:gdLst>
                <a:ahLst/>
                <a:cxnLst>
                  <a:cxn ang="0">
                    <a:pos x="connsiteX0" y="connsiteY0"/>
                  </a:cxn>
                  <a:cxn ang="0">
                    <a:pos x="connsiteX1" y="connsiteY1"/>
                  </a:cxn>
                  <a:cxn ang="0">
                    <a:pos x="connsiteX2" y="connsiteY2"/>
                  </a:cxn>
                  <a:cxn ang="0">
                    <a:pos x="connsiteX3" y="connsiteY3"/>
                  </a:cxn>
                </a:cxnLst>
                <a:rect l="l" t="t" r="r" b="b"/>
                <a:pathLst>
                  <a:path w="191502" h="46350">
                    <a:moveTo>
                      <a:pt x="191502" y="43360"/>
                    </a:moveTo>
                    <a:lnTo>
                      <a:pt x="190845" y="46351"/>
                    </a:lnTo>
                    <a:lnTo>
                      <a:pt x="0" y="2990"/>
                    </a:lnTo>
                    <a:lnTo>
                      <a:pt x="658" y="0"/>
                    </a:lnTo>
                    <a:close/>
                  </a:path>
                </a:pathLst>
              </a:custGeom>
              <a:grpFill/>
              <a:ln w="5978" cap="flat">
                <a:noFill/>
                <a:prstDash val="solid"/>
                <a:miter/>
              </a:ln>
            </p:spPr>
            <p:txBody>
              <a:bodyPr rtlCol="0" anchor="ctr"/>
              <a:lstStyle/>
              <a:p>
                <a:endParaRPr lang="en-GB"/>
              </a:p>
            </p:txBody>
          </p:sp>
          <p:sp>
            <p:nvSpPr>
              <p:cNvPr id="2041" name="Vrije vorm: vorm 2040">
                <a:extLst>
                  <a:ext uri="{FF2B5EF4-FFF2-40B4-BE49-F238E27FC236}">
                    <a16:creationId xmlns:a16="http://schemas.microsoft.com/office/drawing/2014/main" id="{389BB6CC-1B25-4AB7-A892-9E14DEF951D7}"/>
                  </a:ext>
                </a:extLst>
              </p:cNvPr>
              <p:cNvSpPr/>
              <p:nvPr/>
            </p:nvSpPr>
            <p:spPr>
              <a:xfrm>
                <a:off x="4065420" y="2958050"/>
                <a:ext cx="18350" cy="18410"/>
              </a:xfrm>
              <a:custGeom>
                <a:avLst/>
                <a:gdLst>
                  <a:gd name="connsiteX0" fmla="*/ 7172 w 18350"/>
                  <a:gd name="connsiteY0" fmla="*/ 18176 h 18410"/>
                  <a:gd name="connsiteX1" fmla="*/ 234 w 18350"/>
                  <a:gd name="connsiteY1" fmla="*/ 7172 h 18410"/>
                  <a:gd name="connsiteX2" fmla="*/ 11179 w 18350"/>
                  <a:gd name="connsiteY2" fmla="*/ 234 h 18410"/>
                  <a:gd name="connsiteX3" fmla="*/ 18116 w 18350"/>
                  <a:gd name="connsiteY3" fmla="*/ 11239 h 18410"/>
                  <a:gd name="connsiteX4" fmla="*/ 7172 w 18350"/>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0">
                    <a:moveTo>
                      <a:pt x="7172" y="18176"/>
                    </a:moveTo>
                    <a:cubicBezTo>
                      <a:pt x="2208" y="17040"/>
                      <a:pt x="-902" y="12136"/>
                      <a:pt x="234" y="7172"/>
                    </a:cubicBezTo>
                    <a:cubicBezTo>
                      <a:pt x="1311" y="2208"/>
                      <a:pt x="6215" y="-902"/>
                      <a:pt x="11179" y="234"/>
                    </a:cubicBezTo>
                    <a:cubicBezTo>
                      <a:pt x="16143" y="1371"/>
                      <a:pt x="19253" y="6275"/>
                      <a:pt x="18116" y="11239"/>
                    </a:cubicBezTo>
                    <a:cubicBezTo>
                      <a:pt x="16980" y="16203"/>
                      <a:pt x="12076" y="19313"/>
                      <a:pt x="7172" y="18176"/>
                    </a:cubicBezTo>
                    <a:close/>
                  </a:path>
                </a:pathLst>
              </a:custGeom>
              <a:grpFill/>
              <a:ln w="5978" cap="flat">
                <a:noFill/>
                <a:prstDash val="solid"/>
                <a:miter/>
              </a:ln>
            </p:spPr>
            <p:txBody>
              <a:bodyPr rtlCol="0" anchor="ctr"/>
              <a:lstStyle/>
              <a:p>
                <a:endParaRPr lang="en-GB"/>
              </a:p>
            </p:txBody>
          </p:sp>
          <p:sp>
            <p:nvSpPr>
              <p:cNvPr id="2042" name="Vrije vorm: vorm 2041">
                <a:extLst>
                  <a:ext uri="{FF2B5EF4-FFF2-40B4-BE49-F238E27FC236}">
                    <a16:creationId xmlns:a16="http://schemas.microsoft.com/office/drawing/2014/main" id="{A53C31D4-5C6A-4D5F-9103-26F74EFEF302}"/>
                  </a:ext>
                </a:extLst>
              </p:cNvPr>
              <p:cNvSpPr/>
              <p:nvPr/>
            </p:nvSpPr>
            <p:spPr>
              <a:xfrm>
                <a:off x="4255371" y="3001231"/>
                <a:ext cx="18326" cy="18410"/>
              </a:xfrm>
              <a:custGeom>
                <a:avLst/>
                <a:gdLst>
                  <a:gd name="connsiteX0" fmla="*/ 7169 w 18326"/>
                  <a:gd name="connsiteY0" fmla="*/ 18176 h 18410"/>
                  <a:gd name="connsiteX1" fmla="*/ 18114 w 18326"/>
                  <a:gd name="connsiteY1" fmla="*/ 11239 h 18410"/>
                  <a:gd name="connsiteX2" fmla="*/ 11176 w 18326"/>
                  <a:gd name="connsiteY2" fmla="*/ 234 h 18410"/>
                  <a:gd name="connsiteX3" fmla="*/ 231 w 18326"/>
                  <a:gd name="connsiteY3" fmla="*/ 7172 h 18410"/>
                  <a:gd name="connsiteX4" fmla="*/ 7169 w 18326"/>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10">
                    <a:moveTo>
                      <a:pt x="7169" y="18176"/>
                    </a:moveTo>
                    <a:cubicBezTo>
                      <a:pt x="12133" y="19313"/>
                      <a:pt x="16977" y="16203"/>
                      <a:pt x="18114" y="11239"/>
                    </a:cubicBezTo>
                    <a:cubicBezTo>
                      <a:pt x="19190" y="6275"/>
                      <a:pt x="16080" y="1371"/>
                      <a:pt x="11176" y="234"/>
                    </a:cubicBezTo>
                    <a:cubicBezTo>
                      <a:pt x="6212" y="-902"/>
                      <a:pt x="1368" y="2208"/>
                      <a:pt x="231" y="7172"/>
                    </a:cubicBezTo>
                    <a:cubicBezTo>
                      <a:pt x="-905" y="12076"/>
                      <a:pt x="2265" y="17040"/>
                      <a:pt x="7169" y="18176"/>
                    </a:cubicBezTo>
                    <a:close/>
                  </a:path>
                </a:pathLst>
              </a:custGeom>
              <a:grpFill/>
              <a:ln w="5978" cap="flat">
                <a:noFill/>
                <a:prstDash val="solid"/>
                <a:miter/>
              </a:ln>
            </p:spPr>
            <p:txBody>
              <a:bodyPr rtlCol="0" anchor="ctr"/>
              <a:lstStyle/>
              <a:p>
                <a:endParaRPr lang="en-GB"/>
              </a:p>
            </p:txBody>
          </p:sp>
        </p:grpSp>
        <p:grpSp>
          <p:nvGrpSpPr>
            <p:cNvPr id="1121" name="Graphic 3">
              <a:extLst>
                <a:ext uri="{FF2B5EF4-FFF2-40B4-BE49-F238E27FC236}">
                  <a16:creationId xmlns:a16="http://schemas.microsoft.com/office/drawing/2014/main" id="{B1E40D55-2D71-4BF8-8F41-2F476CCE4CA9}"/>
                </a:ext>
              </a:extLst>
            </p:cNvPr>
            <p:cNvGrpSpPr/>
            <p:nvPr/>
          </p:nvGrpSpPr>
          <p:grpSpPr>
            <a:xfrm>
              <a:off x="4323810" y="3537673"/>
              <a:ext cx="43662" cy="20322"/>
              <a:chOff x="4323810" y="3537673"/>
              <a:chExt cx="43662" cy="20322"/>
            </a:xfrm>
            <a:grpFill/>
          </p:grpSpPr>
          <p:sp>
            <p:nvSpPr>
              <p:cNvPr id="2037" name="Vrije vorm: vorm 2036">
                <a:extLst>
                  <a:ext uri="{FF2B5EF4-FFF2-40B4-BE49-F238E27FC236}">
                    <a16:creationId xmlns:a16="http://schemas.microsoft.com/office/drawing/2014/main" id="{4E99B8F3-4DF6-46F5-AFD9-721DFE386B04}"/>
                  </a:ext>
                </a:extLst>
              </p:cNvPr>
              <p:cNvSpPr/>
              <p:nvPr/>
            </p:nvSpPr>
            <p:spPr>
              <a:xfrm>
                <a:off x="4332395" y="3545292"/>
                <a:ext cx="26494" cy="5083"/>
              </a:xfrm>
              <a:custGeom>
                <a:avLst/>
                <a:gdLst>
                  <a:gd name="connsiteX0" fmla="*/ 26255 w 26494"/>
                  <a:gd name="connsiteY0" fmla="*/ 0 h 5083"/>
                  <a:gd name="connsiteX1" fmla="*/ 26495 w 26494"/>
                  <a:gd name="connsiteY1" fmla="*/ 3050 h 5083"/>
                  <a:gd name="connsiteX2" fmla="*/ 239 w 26494"/>
                  <a:gd name="connsiteY2" fmla="*/ 5083 h 5083"/>
                  <a:gd name="connsiteX3" fmla="*/ 0 w 26494"/>
                  <a:gd name="connsiteY3" fmla="*/ 2033 h 5083"/>
                </a:gdLst>
                <a:ahLst/>
                <a:cxnLst>
                  <a:cxn ang="0">
                    <a:pos x="connsiteX0" y="connsiteY0"/>
                  </a:cxn>
                  <a:cxn ang="0">
                    <a:pos x="connsiteX1" y="connsiteY1"/>
                  </a:cxn>
                  <a:cxn ang="0">
                    <a:pos x="connsiteX2" y="connsiteY2"/>
                  </a:cxn>
                  <a:cxn ang="0">
                    <a:pos x="connsiteX3" y="connsiteY3"/>
                  </a:cxn>
                </a:cxnLst>
                <a:rect l="l" t="t" r="r" b="b"/>
                <a:pathLst>
                  <a:path w="26494" h="5083">
                    <a:moveTo>
                      <a:pt x="26255" y="0"/>
                    </a:moveTo>
                    <a:lnTo>
                      <a:pt x="26495" y="3050"/>
                    </a:lnTo>
                    <a:lnTo>
                      <a:pt x="239" y="5083"/>
                    </a:lnTo>
                    <a:lnTo>
                      <a:pt x="0" y="2033"/>
                    </a:lnTo>
                    <a:close/>
                  </a:path>
                </a:pathLst>
              </a:custGeom>
              <a:grpFill/>
              <a:ln w="5978" cap="flat">
                <a:noFill/>
                <a:prstDash val="solid"/>
                <a:miter/>
              </a:ln>
            </p:spPr>
            <p:txBody>
              <a:bodyPr rtlCol="0" anchor="ctr"/>
              <a:lstStyle/>
              <a:p>
                <a:endParaRPr lang="en-GB"/>
              </a:p>
            </p:txBody>
          </p:sp>
          <p:sp>
            <p:nvSpPr>
              <p:cNvPr id="2038" name="Vrije vorm: vorm 2037">
                <a:extLst>
                  <a:ext uri="{FF2B5EF4-FFF2-40B4-BE49-F238E27FC236}">
                    <a16:creationId xmlns:a16="http://schemas.microsoft.com/office/drawing/2014/main" id="{E5E4F86F-E78E-4CD1-8FA1-2824E2993953}"/>
                  </a:ext>
                </a:extLst>
              </p:cNvPr>
              <p:cNvSpPr/>
              <p:nvPr/>
            </p:nvSpPr>
            <p:spPr>
              <a:xfrm>
                <a:off x="4323810" y="3539587"/>
                <a:ext cx="18356" cy="18408"/>
              </a:xfrm>
              <a:custGeom>
                <a:avLst/>
                <a:gdLst>
                  <a:gd name="connsiteX0" fmla="*/ 9900 w 18356"/>
                  <a:gd name="connsiteY0" fmla="*/ 18384 h 18408"/>
                  <a:gd name="connsiteX1" fmla="*/ 32 w 18356"/>
                  <a:gd name="connsiteY1" fmla="*/ 9892 h 18408"/>
                  <a:gd name="connsiteX2" fmla="*/ 8464 w 18356"/>
                  <a:gd name="connsiteY2" fmla="*/ 24 h 18408"/>
                  <a:gd name="connsiteX3" fmla="*/ 18333 w 18356"/>
                  <a:gd name="connsiteY3" fmla="*/ 8516 h 18408"/>
                  <a:gd name="connsiteX4" fmla="*/ 9900 w 18356"/>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8">
                    <a:moveTo>
                      <a:pt x="9900" y="18384"/>
                    </a:moveTo>
                    <a:cubicBezTo>
                      <a:pt x="4876" y="18743"/>
                      <a:pt x="450" y="14975"/>
                      <a:pt x="32" y="9892"/>
                    </a:cubicBezTo>
                    <a:cubicBezTo>
                      <a:pt x="-387" y="4808"/>
                      <a:pt x="3381" y="382"/>
                      <a:pt x="8464" y="24"/>
                    </a:cubicBezTo>
                    <a:cubicBezTo>
                      <a:pt x="13488" y="-335"/>
                      <a:pt x="17914" y="3433"/>
                      <a:pt x="18333" y="8516"/>
                    </a:cubicBezTo>
                    <a:cubicBezTo>
                      <a:pt x="18692" y="13600"/>
                      <a:pt x="14924" y="18026"/>
                      <a:pt x="9900" y="18384"/>
                    </a:cubicBezTo>
                    <a:close/>
                  </a:path>
                </a:pathLst>
              </a:custGeom>
              <a:grpFill/>
              <a:ln w="5978" cap="flat">
                <a:noFill/>
                <a:prstDash val="solid"/>
                <a:miter/>
              </a:ln>
            </p:spPr>
            <p:txBody>
              <a:bodyPr rtlCol="0" anchor="ctr"/>
              <a:lstStyle/>
              <a:p>
                <a:endParaRPr lang="en-GB"/>
              </a:p>
            </p:txBody>
          </p:sp>
          <p:sp>
            <p:nvSpPr>
              <p:cNvPr id="2039" name="Vrije vorm: vorm 2038">
                <a:extLst>
                  <a:ext uri="{FF2B5EF4-FFF2-40B4-BE49-F238E27FC236}">
                    <a16:creationId xmlns:a16="http://schemas.microsoft.com/office/drawing/2014/main" id="{97826A3A-4B1F-4A4E-924E-37A8091CDF66}"/>
                  </a:ext>
                </a:extLst>
              </p:cNvPr>
              <p:cNvSpPr/>
              <p:nvPr/>
            </p:nvSpPr>
            <p:spPr>
              <a:xfrm>
                <a:off x="4349117" y="3537673"/>
                <a:ext cx="18356" cy="18408"/>
              </a:xfrm>
              <a:custGeom>
                <a:avLst/>
                <a:gdLst>
                  <a:gd name="connsiteX0" fmla="*/ 9952 w 18356"/>
                  <a:gd name="connsiteY0" fmla="*/ 18384 h 18408"/>
                  <a:gd name="connsiteX1" fmla="*/ 18325 w 18356"/>
                  <a:gd name="connsiteY1" fmla="*/ 8516 h 18408"/>
                  <a:gd name="connsiteX2" fmla="*/ 8457 w 18356"/>
                  <a:gd name="connsiteY2" fmla="*/ 24 h 18408"/>
                  <a:gd name="connsiteX3" fmla="*/ 24 w 18356"/>
                  <a:gd name="connsiteY3" fmla="*/ 9892 h 18408"/>
                  <a:gd name="connsiteX4" fmla="*/ 9952 w 18356"/>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8">
                    <a:moveTo>
                      <a:pt x="9952" y="18384"/>
                    </a:moveTo>
                    <a:cubicBezTo>
                      <a:pt x="14975" y="18026"/>
                      <a:pt x="18743" y="13600"/>
                      <a:pt x="18325" y="8516"/>
                    </a:cubicBezTo>
                    <a:cubicBezTo>
                      <a:pt x="17906" y="3433"/>
                      <a:pt x="13480" y="-335"/>
                      <a:pt x="8457" y="24"/>
                    </a:cubicBezTo>
                    <a:cubicBezTo>
                      <a:pt x="3433" y="382"/>
                      <a:pt x="-335" y="4808"/>
                      <a:pt x="24" y="9892"/>
                    </a:cubicBezTo>
                    <a:cubicBezTo>
                      <a:pt x="442" y="14975"/>
                      <a:pt x="4868" y="18743"/>
                      <a:pt x="9952" y="18384"/>
                    </a:cubicBezTo>
                    <a:close/>
                  </a:path>
                </a:pathLst>
              </a:custGeom>
              <a:grpFill/>
              <a:ln w="5978" cap="flat">
                <a:noFill/>
                <a:prstDash val="solid"/>
                <a:miter/>
              </a:ln>
            </p:spPr>
            <p:txBody>
              <a:bodyPr rtlCol="0" anchor="ctr"/>
              <a:lstStyle/>
              <a:p>
                <a:endParaRPr lang="en-GB"/>
              </a:p>
            </p:txBody>
          </p:sp>
        </p:grpSp>
        <p:grpSp>
          <p:nvGrpSpPr>
            <p:cNvPr id="1122" name="Graphic 3">
              <a:extLst>
                <a:ext uri="{FF2B5EF4-FFF2-40B4-BE49-F238E27FC236}">
                  <a16:creationId xmlns:a16="http://schemas.microsoft.com/office/drawing/2014/main" id="{10B1EEDB-0922-4FC5-8697-4CBC4559F74E}"/>
                </a:ext>
              </a:extLst>
            </p:cNvPr>
            <p:cNvGrpSpPr/>
            <p:nvPr/>
          </p:nvGrpSpPr>
          <p:grpSpPr>
            <a:xfrm>
              <a:off x="4063169" y="3149972"/>
              <a:ext cx="328728" cy="88803"/>
              <a:chOff x="4063169" y="3149972"/>
              <a:chExt cx="328728" cy="88803"/>
            </a:xfrm>
            <a:grpFill/>
          </p:grpSpPr>
          <p:sp>
            <p:nvSpPr>
              <p:cNvPr id="2034" name="Vrije vorm: vorm 2033">
                <a:extLst>
                  <a:ext uri="{FF2B5EF4-FFF2-40B4-BE49-F238E27FC236}">
                    <a16:creationId xmlns:a16="http://schemas.microsoft.com/office/drawing/2014/main" id="{3ED97C9C-115B-471C-92A2-0F354FD75CF8}"/>
                  </a:ext>
                </a:extLst>
              </p:cNvPr>
              <p:cNvSpPr/>
              <p:nvPr/>
            </p:nvSpPr>
            <p:spPr>
              <a:xfrm>
                <a:off x="4071575" y="3157562"/>
                <a:ext cx="311954" cy="73562"/>
              </a:xfrm>
              <a:custGeom>
                <a:avLst/>
                <a:gdLst>
                  <a:gd name="connsiteX0" fmla="*/ 311954 w 311954"/>
                  <a:gd name="connsiteY0" fmla="*/ 70632 h 73562"/>
                  <a:gd name="connsiteX1" fmla="*/ 311297 w 311954"/>
                  <a:gd name="connsiteY1" fmla="*/ 73563 h 73562"/>
                  <a:gd name="connsiteX2" fmla="*/ 0 w 311954"/>
                  <a:gd name="connsiteY2" fmla="*/ 2990 h 73562"/>
                  <a:gd name="connsiteX3" fmla="*/ 658 w 311954"/>
                  <a:gd name="connsiteY3" fmla="*/ 0 h 73562"/>
                </a:gdLst>
                <a:ahLst/>
                <a:cxnLst>
                  <a:cxn ang="0">
                    <a:pos x="connsiteX0" y="connsiteY0"/>
                  </a:cxn>
                  <a:cxn ang="0">
                    <a:pos x="connsiteX1" y="connsiteY1"/>
                  </a:cxn>
                  <a:cxn ang="0">
                    <a:pos x="connsiteX2" y="connsiteY2"/>
                  </a:cxn>
                  <a:cxn ang="0">
                    <a:pos x="connsiteX3" y="connsiteY3"/>
                  </a:cxn>
                </a:cxnLst>
                <a:rect l="l" t="t" r="r" b="b"/>
                <a:pathLst>
                  <a:path w="311954" h="73562">
                    <a:moveTo>
                      <a:pt x="311954" y="70632"/>
                    </a:moveTo>
                    <a:lnTo>
                      <a:pt x="311297" y="73563"/>
                    </a:lnTo>
                    <a:lnTo>
                      <a:pt x="0" y="2990"/>
                    </a:lnTo>
                    <a:lnTo>
                      <a:pt x="658" y="0"/>
                    </a:lnTo>
                    <a:close/>
                  </a:path>
                </a:pathLst>
              </a:custGeom>
              <a:grpFill/>
              <a:ln w="5978" cap="flat">
                <a:noFill/>
                <a:prstDash val="solid"/>
                <a:miter/>
              </a:ln>
            </p:spPr>
            <p:txBody>
              <a:bodyPr rtlCol="0" anchor="ctr"/>
              <a:lstStyle/>
              <a:p>
                <a:endParaRPr lang="en-GB"/>
              </a:p>
            </p:txBody>
          </p:sp>
          <p:sp>
            <p:nvSpPr>
              <p:cNvPr id="2035" name="Vrije vorm: vorm 2034">
                <a:extLst>
                  <a:ext uri="{FF2B5EF4-FFF2-40B4-BE49-F238E27FC236}">
                    <a16:creationId xmlns:a16="http://schemas.microsoft.com/office/drawing/2014/main" id="{6623B1BD-D667-4EF8-96E3-B1BEC90C64CD}"/>
                  </a:ext>
                </a:extLst>
              </p:cNvPr>
              <p:cNvSpPr/>
              <p:nvPr/>
            </p:nvSpPr>
            <p:spPr>
              <a:xfrm>
                <a:off x="4373547" y="3220365"/>
                <a:ext cx="18350" cy="18410"/>
              </a:xfrm>
              <a:custGeom>
                <a:avLst/>
                <a:gdLst>
                  <a:gd name="connsiteX0" fmla="*/ 11179 w 18350"/>
                  <a:gd name="connsiteY0" fmla="*/ 234 h 18410"/>
                  <a:gd name="connsiteX1" fmla="*/ 18116 w 18350"/>
                  <a:gd name="connsiteY1" fmla="*/ 11239 h 18410"/>
                  <a:gd name="connsiteX2" fmla="*/ 7172 w 18350"/>
                  <a:gd name="connsiteY2" fmla="*/ 18176 h 18410"/>
                  <a:gd name="connsiteX3" fmla="*/ 234 w 18350"/>
                  <a:gd name="connsiteY3" fmla="*/ 7172 h 18410"/>
                  <a:gd name="connsiteX4" fmla="*/ 11179 w 18350"/>
                  <a:gd name="connsiteY4" fmla="*/ 234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410">
                    <a:moveTo>
                      <a:pt x="11179" y="234"/>
                    </a:moveTo>
                    <a:cubicBezTo>
                      <a:pt x="16143" y="1371"/>
                      <a:pt x="19253" y="6275"/>
                      <a:pt x="18116" y="11239"/>
                    </a:cubicBezTo>
                    <a:cubicBezTo>
                      <a:pt x="17040" y="16203"/>
                      <a:pt x="12136" y="19313"/>
                      <a:pt x="7172" y="18176"/>
                    </a:cubicBezTo>
                    <a:cubicBezTo>
                      <a:pt x="2208" y="17040"/>
                      <a:pt x="-902" y="12136"/>
                      <a:pt x="234" y="7172"/>
                    </a:cubicBezTo>
                    <a:cubicBezTo>
                      <a:pt x="1370" y="2208"/>
                      <a:pt x="6275" y="-902"/>
                      <a:pt x="11179" y="234"/>
                    </a:cubicBezTo>
                    <a:close/>
                  </a:path>
                </a:pathLst>
              </a:custGeom>
              <a:grpFill/>
              <a:ln w="5978" cap="flat">
                <a:noFill/>
                <a:prstDash val="solid"/>
                <a:miter/>
              </a:ln>
            </p:spPr>
            <p:txBody>
              <a:bodyPr rtlCol="0" anchor="ctr"/>
              <a:lstStyle/>
              <a:p>
                <a:endParaRPr lang="en-GB"/>
              </a:p>
            </p:txBody>
          </p:sp>
          <p:sp>
            <p:nvSpPr>
              <p:cNvPr id="2036" name="Vrije vorm: vorm 2035">
                <a:extLst>
                  <a:ext uri="{FF2B5EF4-FFF2-40B4-BE49-F238E27FC236}">
                    <a16:creationId xmlns:a16="http://schemas.microsoft.com/office/drawing/2014/main" id="{66E4AF59-32C6-458D-9FF3-39846FB2B7FA}"/>
                  </a:ext>
                </a:extLst>
              </p:cNvPr>
              <p:cNvSpPr/>
              <p:nvPr/>
            </p:nvSpPr>
            <p:spPr>
              <a:xfrm>
                <a:off x="4063169" y="3149972"/>
                <a:ext cx="18329" cy="18410"/>
              </a:xfrm>
              <a:custGeom>
                <a:avLst/>
                <a:gdLst>
                  <a:gd name="connsiteX0" fmla="*/ 11157 w 18329"/>
                  <a:gd name="connsiteY0" fmla="*/ 234 h 18410"/>
                  <a:gd name="connsiteX1" fmla="*/ 213 w 18329"/>
                  <a:gd name="connsiteY1" fmla="*/ 7172 h 18410"/>
                  <a:gd name="connsiteX2" fmla="*/ 7150 w 18329"/>
                  <a:gd name="connsiteY2" fmla="*/ 18176 h 18410"/>
                  <a:gd name="connsiteX3" fmla="*/ 18095 w 18329"/>
                  <a:gd name="connsiteY3" fmla="*/ 11239 h 18410"/>
                  <a:gd name="connsiteX4" fmla="*/ 11157 w 18329"/>
                  <a:gd name="connsiteY4" fmla="*/ 234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0">
                    <a:moveTo>
                      <a:pt x="11157" y="234"/>
                    </a:moveTo>
                    <a:cubicBezTo>
                      <a:pt x="6194" y="-902"/>
                      <a:pt x="1349" y="2208"/>
                      <a:pt x="213" y="7172"/>
                    </a:cubicBezTo>
                    <a:cubicBezTo>
                      <a:pt x="-863" y="12136"/>
                      <a:pt x="2246" y="17040"/>
                      <a:pt x="7150" y="18176"/>
                    </a:cubicBezTo>
                    <a:cubicBezTo>
                      <a:pt x="12115" y="19313"/>
                      <a:pt x="16959" y="16203"/>
                      <a:pt x="18095" y="11239"/>
                    </a:cubicBezTo>
                    <a:cubicBezTo>
                      <a:pt x="19232" y="6275"/>
                      <a:pt x="16122" y="1311"/>
                      <a:pt x="11157" y="234"/>
                    </a:cubicBezTo>
                    <a:close/>
                  </a:path>
                </a:pathLst>
              </a:custGeom>
              <a:grpFill/>
              <a:ln w="5978" cap="flat">
                <a:noFill/>
                <a:prstDash val="solid"/>
                <a:miter/>
              </a:ln>
            </p:spPr>
            <p:txBody>
              <a:bodyPr rtlCol="0" anchor="ctr"/>
              <a:lstStyle/>
              <a:p>
                <a:endParaRPr lang="en-GB"/>
              </a:p>
            </p:txBody>
          </p:sp>
        </p:grpSp>
        <p:grpSp>
          <p:nvGrpSpPr>
            <p:cNvPr id="1123" name="Graphic 3">
              <a:extLst>
                <a:ext uri="{FF2B5EF4-FFF2-40B4-BE49-F238E27FC236}">
                  <a16:creationId xmlns:a16="http://schemas.microsoft.com/office/drawing/2014/main" id="{4F50AC8B-4532-4F70-9B0F-205B7A4A7F18}"/>
                </a:ext>
              </a:extLst>
            </p:cNvPr>
            <p:cNvGrpSpPr/>
            <p:nvPr/>
          </p:nvGrpSpPr>
          <p:grpSpPr>
            <a:xfrm>
              <a:off x="3966353" y="2549473"/>
              <a:ext cx="113497" cy="57713"/>
              <a:chOff x="3966353" y="2549473"/>
              <a:chExt cx="113497" cy="57713"/>
            </a:xfrm>
            <a:grpFill/>
          </p:grpSpPr>
          <p:sp>
            <p:nvSpPr>
              <p:cNvPr id="2031" name="Vrije vorm: vorm 2030">
                <a:extLst>
                  <a:ext uri="{FF2B5EF4-FFF2-40B4-BE49-F238E27FC236}">
                    <a16:creationId xmlns:a16="http://schemas.microsoft.com/office/drawing/2014/main" id="{A31B382C-632B-49CC-8840-E4886A2C1320}"/>
                  </a:ext>
                </a:extLst>
              </p:cNvPr>
              <p:cNvSpPr/>
              <p:nvPr/>
            </p:nvSpPr>
            <p:spPr>
              <a:xfrm>
                <a:off x="3974508" y="2557098"/>
                <a:ext cx="97127" cy="42463"/>
              </a:xfrm>
              <a:custGeom>
                <a:avLst/>
                <a:gdLst>
                  <a:gd name="connsiteX0" fmla="*/ 97127 w 97127"/>
                  <a:gd name="connsiteY0" fmla="*/ 39592 h 42463"/>
                  <a:gd name="connsiteX1" fmla="*/ 95991 w 97127"/>
                  <a:gd name="connsiteY1" fmla="*/ 42463 h 42463"/>
                  <a:gd name="connsiteX2" fmla="*/ 0 w 97127"/>
                  <a:gd name="connsiteY2" fmla="*/ 2871 h 42463"/>
                  <a:gd name="connsiteX3" fmla="*/ 1136 w 97127"/>
                  <a:gd name="connsiteY3" fmla="*/ 0 h 42463"/>
                </a:gdLst>
                <a:ahLst/>
                <a:cxnLst>
                  <a:cxn ang="0">
                    <a:pos x="connsiteX0" y="connsiteY0"/>
                  </a:cxn>
                  <a:cxn ang="0">
                    <a:pos x="connsiteX1" y="connsiteY1"/>
                  </a:cxn>
                  <a:cxn ang="0">
                    <a:pos x="connsiteX2" y="connsiteY2"/>
                  </a:cxn>
                  <a:cxn ang="0">
                    <a:pos x="connsiteX3" y="connsiteY3"/>
                  </a:cxn>
                </a:cxnLst>
                <a:rect l="l" t="t" r="r" b="b"/>
                <a:pathLst>
                  <a:path w="97127" h="42463">
                    <a:moveTo>
                      <a:pt x="97127" y="39592"/>
                    </a:moveTo>
                    <a:lnTo>
                      <a:pt x="95991" y="42463"/>
                    </a:lnTo>
                    <a:lnTo>
                      <a:pt x="0" y="2871"/>
                    </a:lnTo>
                    <a:lnTo>
                      <a:pt x="1136" y="0"/>
                    </a:lnTo>
                    <a:close/>
                  </a:path>
                </a:pathLst>
              </a:custGeom>
              <a:grpFill/>
              <a:ln w="5978" cap="flat">
                <a:noFill/>
                <a:prstDash val="solid"/>
                <a:miter/>
              </a:ln>
            </p:spPr>
            <p:txBody>
              <a:bodyPr rtlCol="0" anchor="ctr"/>
              <a:lstStyle/>
              <a:p>
                <a:endParaRPr lang="en-GB"/>
              </a:p>
            </p:txBody>
          </p:sp>
          <p:sp>
            <p:nvSpPr>
              <p:cNvPr id="2032" name="Vrije vorm: vorm 2031">
                <a:extLst>
                  <a:ext uri="{FF2B5EF4-FFF2-40B4-BE49-F238E27FC236}">
                    <a16:creationId xmlns:a16="http://schemas.microsoft.com/office/drawing/2014/main" id="{51CA2BC3-530E-4987-AE46-DB2EFCB577A2}"/>
                  </a:ext>
                </a:extLst>
              </p:cNvPr>
              <p:cNvSpPr/>
              <p:nvPr/>
            </p:nvSpPr>
            <p:spPr>
              <a:xfrm>
                <a:off x="3966353" y="2549473"/>
                <a:ext cx="18343" cy="18444"/>
              </a:xfrm>
              <a:custGeom>
                <a:avLst/>
                <a:gdLst>
                  <a:gd name="connsiteX0" fmla="*/ 5703 w 18343"/>
                  <a:gd name="connsiteY0" fmla="*/ 17732 h 18444"/>
                  <a:gd name="connsiteX1" fmla="*/ 679 w 18343"/>
                  <a:gd name="connsiteY1" fmla="*/ 5711 h 18444"/>
                  <a:gd name="connsiteX2" fmla="*/ 12641 w 18343"/>
                  <a:gd name="connsiteY2" fmla="*/ 687 h 18444"/>
                  <a:gd name="connsiteX3" fmla="*/ 17665 w 18343"/>
                  <a:gd name="connsiteY3" fmla="*/ 12709 h 18444"/>
                  <a:gd name="connsiteX4" fmla="*/ 5703 w 18343"/>
                  <a:gd name="connsiteY4" fmla="*/ 17732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44">
                    <a:moveTo>
                      <a:pt x="5703" y="17732"/>
                    </a:moveTo>
                    <a:cubicBezTo>
                      <a:pt x="1038" y="15819"/>
                      <a:pt x="-1234" y="10436"/>
                      <a:pt x="679" y="5711"/>
                    </a:cubicBezTo>
                    <a:cubicBezTo>
                      <a:pt x="2593" y="986"/>
                      <a:pt x="7916" y="-1227"/>
                      <a:pt x="12641" y="687"/>
                    </a:cubicBezTo>
                    <a:cubicBezTo>
                      <a:pt x="17306" y="2601"/>
                      <a:pt x="19578" y="7984"/>
                      <a:pt x="17665" y="12709"/>
                    </a:cubicBezTo>
                    <a:cubicBezTo>
                      <a:pt x="15751" y="17433"/>
                      <a:pt x="10428" y="19706"/>
                      <a:pt x="5703" y="17732"/>
                    </a:cubicBezTo>
                    <a:close/>
                  </a:path>
                </a:pathLst>
              </a:custGeom>
              <a:grpFill/>
              <a:ln w="5978" cap="flat">
                <a:noFill/>
                <a:prstDash val="solid"/>
                <a:miter/>
              </a:ln>
            </p:spPr>
            <p:txBody>
              <a:bodyPr rtlCol="0" anchor="ctr"/>
              <a:lstStyle/>
              <a:p>
                <a:endParaRPr lang="en-GB"/>
              </a:p>
            </p:txBody>
          </p:sp>
          <p:sp>
            <p:nvSpPr>
              <p:cNvPr id="2033" name="Vrije vorm: vorm 2032">
                <a:extLst>
                  <a:ext uri="{FF2B5EF4-FFF2-40B4-BE49-F238E27FC236}">
                    <a16:creationId xmlns:a16="http://schemas.microsoft.com/office/drawing/2014/main" id="{88D328E0-C8E7-4B7F-8259-04ADAC7A76EC}"/>
                  </a:ext>
                </a:extLst>
              </p:cNvPr>
              <p:cNvSpPr/>
              <p:nvPr/>
            </p:nvSpPr>
            <p:spPr>
              <a:xfrm>
                <a:off x="4061506" y="2588766"/>
                <a:ext cx="18343" cy="18419"/>
              </a:xfrm>
              <a:custGeom>
                <a:avLst/>
                <a:gdLst>
                  <a:gd name="connsiteX0" fmla="*/ 5703 w 18343"/>
                  <a:gd name="connsiteY0" fmla="*/ 17732 h 18419"/>
                  <a:gd name="connsiteX1" fmla="*/ 17664 w 18343"/>
                  <a:gd name="connsiteY1" fmla="*/ 12708 h 18419"/>
                  <a:gd name="connsiteX2" fmla="*/ 12641 w 18343"/>
                  <a:gd name="connsiteY2" fmla="*/ 687 h 18419"/>
                  <a:gd name="connsiteX3" fmla="*/ 679 w 18343"/>
                  <a:gd name="connsiteY3" fmla="*/ 5711 h 18419"/>
                  <a:gd name="connsiteX4" fmla="*/ 5703 w 18343"/>
                  <a:gd name="connsiteY4" fmla="*/ 17732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19">
                    <a:moveTo>
                      <a:pt x="5703" y="17732"/>
                    </a:moveTo>
                    <a:cubicBezTo>
                      <a:pt x="10368" y="19646"/>
                      <a:pt x="15751" y="17433"/>
                      <a:pt x="17664" y="12708"/>
                    </a:cubicBezTo>
                    <a:cubicBezTo>
                      <a:pt x="19578" y="7984"/>
                      <a:pt x="17306" y="2601"/>
                      <a:pt x="12641" y="687"/>
                    </a:cubicBezTo>
                    <a:cubicBezTo>
                      <a:pt x="7976" y="-1227"/>
                      <a:pt x="2593" y="986"/>
                      <a:pt x="679" y="5711"/>
                    </a:cubicBezTo>
                    <a:cubicBezTo>
                      <a:pt x="-1235" y="10376"/>
                      <a:pt x="1038" y="15759"/>
                      <a:pt x="5703" y="17732"/>
                    </a:cubicBezTo>
                    <a:close/>
                  </a:path>
                </a:pathLst>
              </a:custGeom>
              <a:grpFill/>
              <a:ln w="5978" cap="flat">
                <a:noFill/>
                <a:prstDash val="solid"/>
                <a:miter/>
              </a:ln>
            </p:spPr>
            <p:txBody>
              <a:bodyPr rtlCol="0" anchor="ctr"/>
              <a:lstStyle/>
              <a:p>
                <a:endParaRPr lang="en-GB"/>
              </a:p>
            </p:txBody>
          </p:sp>
        </p:grpSp>
        <p:grpSp>
          <p:nvGrpSpPr>
            <p:cNvPr id="1124" name="Graphic 3">
              <a:extLst>
                <a:ext uri="{FF2B5EF4-FFF2-40B4-BE49-F238E27FC236}">
                  <a16:creationId xmlns:a16="http://schemas.microsoft.com/office/drawing/2014/main" id="{93255473-769B-4ED3-9564-038C8DB85626}"/>
                </a:ext>
              </a:extLst>
            </p:cNvPr>
            <p:cNvGrpSpPr/>
            <p:nvPr/>
          </p:nvGrpSpPr>
          <p:grpSpPr>
            <a:xfrm>
              <a:off x="4076399" y="2921658"/>
              <a:ext cx="131856" cy="46398"/>
              <a:chOff x="4076399" y="2921658"/>
              <a:chExt cx="131856" cy="46398"/>
            </a:xfrm>
            <a:grpFill/>
          </p:grpSpPr>
          <p:sp>
            <p:nvSpPr>
              <p:cNvPr id="2028" name="Vrije vorm: vorm 2027">
                <a:extLst>
                  <a:ext uri="{FF2B5EF4-FFF2-40B4-BE49-F238E27FC236}">
                    <a16:creationId xmlns:a16="http://schemas.microsoft.com/office/drawing/2014/main" id="{4891FB93-70A7-4AC3-94B1-22E89843E638}"/>
                  </a:ext>
                </a:extLst>
              </p:cNvPr>
              <p:cNvSpPr/>
              <p:nvPr/>
            </p:nvSpPr>
            <p:spPr>
              <a:xfrm>
                <a:off x="4084793" y="2929278"/>
                <a:ext cx="115069" cy="31159"/>
              </a:xfrm>
              <a:custGeom>
                <a:avLst/>
                <a:gdLst>
                  <a:gd name="connsiteX0" fmla="*/ 115069 w 115069"/>
                  <a:gd name="connsiteY0" fmla="*/ 28229 h 31159"/>
                  <a:gd name="connsiteX1" fmla="*/ 114351 w 115069"/>
                  <a:gd name="connsiteY1" fmla="*/ 31160 h 31159"/>
                  <a:gd name="connsiteX2" fmla="*/ 0 w 115069"/>
                  <a:gd name="connsiteY2" fmla="*/ 2930 h 31159"/>
                  <a:gd name="connsiteX3" fmla="*/ 718 w 115069"/>
                  <a:gd name="connsiteY3" fmla="*/ 0 h 31159"/>
                </a:gdLst>
                <a:ahLst/>
                <a:cxnLst>
                  <a:cxn ang="0">
                    <a:pos x="connsiteX0" y="connsiteY0"/>
                  </a:cxn>
                  <a:cxn ang="0">
                    <a:pos x="connsiteX1" y="connsiteY1"/>
                  </a:cxn>
                  <a:cxn ang="0">
                    <a:pos x="connsiteX2" y="connsiteY2"/>
                  </a:cxn>
                  <a:cxn ang="0">
                    <a:pos x="connsiteX3" y="connsiteY3"/>
                  </a:cxn>
                </a:cxnLst>
                <a:rect l="l" t="t" r="r" b="b"/>
                <a:pathLst>
                  <a:path w="115069" h="31159">
                    <a:moveTo>
                      <a:pt x="115069" y="28229"/>
                    </a:moveTo>
                    <a:lnTo>
                      <a:pt x="114351" y="31160"/>
                    </a:lnTo>
                    <a:lnTo>
                      <a:pt x="0" y="2930"/>
                    </a:lnTo>
                    <a:lnTo>
                      <a:pt x="718" y="0"/>
                    </a:lnTo>
                    <a:close/>
                  </a:path>
                </a:pathLst>
              </a:custGeom>
              <a:grpFill/>
              <a:ln w="5978" cap="flat">
                <a:noFill/>
                <a:prstDash val="solid"/>
                <a:miter/>
              </a:ln>
            </p:spPr>
            <p:txBody>
              <a:bodyPr rtlCol="0" anchor="ctr"/>
              <a:lstStyle/>
              <a:p>
                <a:endParaRPr lang="en-GB"/>
              </a:p>
            </p:txBody>
          </p:sp>
          <p:sp>
            <p:nvSpPr>
              <p:cNvPr id="2029" name="Vrije vorm: vorm 2028">
                <a:extLst>
                  <a:ext uri="{FF2B5EF4-FFF2-40B4-BE49-F238E27FC236}">
                    <a16:creationId xmlns:a16="http://schemas.microsoft.com/office/drawing/2014/main" id="{4181AE8B-5980-4E64-98FA-C98C74ABBDFF}"/>
                  </a:ext>
                </a:extLst>
              </p:cNvPr>
              <p:cNvSpPr/>
              <p:nvPr/>
            </p:nvSpPr>
            <p:spPr>
              <a:xfrm>
                <a:off x="4076399" y="2921658"/>
                <a:ext cx="18342" cy="18408"/>
              </a:xfrm>
              <a:custGeom>
                <a:avLst/>
                <a:gdLst>
                  <a:gd name="connsiteX0" fmla="*/ 7018 w 18342"/>
                  <a:gd name="connsiteY0" fmla="*/ 18145 h 18408"/>
                  <a:gd name="connsiteX1" fmla="*/ 260 w 18342"/>
                  <a:gd name="connsiteY1" fmla="*/ 7021 h 18408"/>
                  <a:gd name="connsiteX2" fmla="*/ 11324 w 18342"/>
                  <a:gd name="connsiteY2" fmla="*/ 263 h 18408"/>
                  <a:gd name="connsiteX3" fmla="*/ 18082 w 18342"/>
                  <a:gd name="connsiteY3" fmla="*/ 11387 h 18408"/>
                  <a:gd name="connsiteX4" fmla="*/ 7018 w 18342"/>
                  <a:gd name="connsiteY4" fmla="*/ 18145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7018" y="18145"/>
                    </a:moveTo>
                    <a:cubicBezTo>
                      <a:pt x="2114" y="16949"/>
                      <a:pt x="-936" y="11925"/>
                      <a:pt x="260" y="7021"/>
                    </a:cubicBezTo>
                    <a:cubicBezTo>
                      <a:pt x="1456" y="2057"/>
                      <a:pt x="6420" y="-933"/>
                      <a:pt x="11324" y="263"/>
                    </a:cubicBezTo>
                    <a:cubicBezTo>
                      <a:pt x="16228" y="1459"/>
                      <a:pt x="19279" y="6483"/>
                      <a:pt x="18082" y="11387"/>
                    </a:cubicBezTo>
                    <a:cubicBezTo>
                      <a:pt x="16886" y="16351"/>
                      <a:pt x="11922" y="19342"/>
                      <a:pt x="7018" y="18145"/>
                    </a:cubicBezTo>
                    <a:close/>
                  </a:path>
                </a:pathLst>
              </a:custGeom>
              <a:grpFill/>
              <a:ln w="5978" cap="flat">
                <a:noFill/>
                <a:prstDash val="solid"/>
                <a:miter/>
              </a:ln>
            </p:spPr>
            <p:txBody>
              <a:bodyPr rtlCol="0" anchor="ctr"/>
              <a:lstStyle/>
              <a:p>
                <a:endParaRPr lang="en-GB"/>
              </a:p>
            </p:txBody>
          </p:sp>
          <p:sp>
            <p:nvSpPr>
              <p:cNvPr id="2030" name="Vrije vorm: vorm 2029">
                <a:extLst>
                  <a:ext uri="{FF2B5EF4-FFF2-40B4-BE49-F238E27FC236}">
                    <a16:creationId xmlns:a16="http://schemas.microsoft.com/office/drawing/2014/main" id="{E5F5116E-DFD4-4BFF-BEC6-9D139E6A6202}"/>
                  </a:ext>
                </a:extLst>
              </p:cNvPr>
              <p:cNvSpPr/>
              <p:nvPr/>
            </p:nvSpPr>
            <p:spPr>
              <a:xfrm>
                <a:off x="4189910" y="2949648"/>
                <a:ext cx="18345" cy="18408"/>
              </a:xfrm>
              <a:custGeom>
                <a:avLst/>
                <a:gdLst>
                  <a:gd name="connsiteX0" fmla="*/ 7021 w 18345"/>
                  <a:gd name="connsiteY0" fmla="*/ 18145 h 18408"/>
                  <a:gd name="connsiteX1" fmla="*/ 18086 w 18345"/>
                  <a:gd name="connsiteY1" fmla="*/ 11387 h 18408"/>
                  <a:gd name="connsiteX2" fmla="*/ 11328 w 18345"/>
                  <a:gd name="connsiteY2" fmla="*/ 263 h 18408"/>
                  <a:gd name="connsiteX3" fmla="*/ 263 w 18345"/>
                  <a:gd name="connsiteY3" fmla="*/ 7021 h 18408"/>
                  <a:gd name="connsiteX4" fmla="*/ 7021 w 18345"/>
                  <a:gd name="connsiteY4" fmla="*/ 18145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8">
                    <a:moveTo>
                      <a:pt x="7021" y="18145"/>
                    </a:moveTo>
                    <a:cubicBezTo>
                      <a:pt x="11926" y="19342"/>
                      <a:pt x="16890" y="16351"/>
                      <a:pt x="18086" y="11387"/>
                    </a:cubicBezTo>
                    <a:cubicBezTo>
                      <a:pt x="19282" y="6423"/>
                      <a:pt x="16232" y="1459"/>
                      <a:pt x="11328" y="263"/>
                    </a:cubicBezTo>
                    <a:cubicBezTo>
                      <a:pt x="6423" y="-933"/>
                      <a:pt x="1459" y="2057"/>
                      <a:pt x="263" y="7021"/>
                    </a:cubicBezTo>
                    <a:cubicBezTo>
                      <a:pt x="-933" y="11985"/>
                      <a:pt x="2058" y="16949"/>
                      <a:pt x="7021" y="18145"/>
                    </a:cubicBezTo>
                    <a:close/>
                  </a:path>
                </a:pathLst>
              </a:custGeom>
              <a:grpFill/>
              <a:ln w="5978" cap="flat">
                <a:noFill/>
                <a:prstDash val="solid"/>
                <a:miter/>
              </a:ln>
            </p:spPr>
            <p:txBody>
              <a:bodyPr rtlCol="0" anchor="ctr"/>
              <a:lstStyle/>
              <a:p>
                <a:endParaRPr lang="en-GB"/>
              </a:p>
            </p:txBody>
          </p:sp>
        </p:grpSp>
        <p:grpSp>
          <p:nvGrpSpPr>
            <p:cNvPr id="1125" name="Graphic 3">
              <a:extLst>
                <a:ext uri="{FF2B5EF4-FFF2-40B4-BE49-F238E27FC236}">
                  <a16:creationId xmlns:a16="http://schemas.microsoft.com/office/drawing/2014/main" id="{396C2096-4853-4CD1-B963-90EA4F3DE280}"/>
                </a:ext>
              </a:extLst>
            </p:cNvPr>
            <p:cNvGrpSpPr/>
            <p:nvPr/>
          </p:nvGrpSpPr>
          <p:grpSpPr>
            <a:xfrm>
              <a:off x="4842648" y="5135049"/>
              <a:ext cx="144955" cy="221543"/>
              <a:chOff x="4842648" y="5135049"/>
              <a:chExt cx="144955" cy="221543"/>
            </a:xfrm>
            <a:grpFill/>
          </p:grpSpPr>
          <p:sp>
            <p:nvSpPr>
              <p:cNvPr id="2025" name="Vrije vorm: vorm 2024">
                <a:extLst>
                  <a:ext uri="{FF2B5EF4-FFF2-40B4-BE49-F238E27FC236}">
                    <a16:creationId xmlns:a16="http://schemas.microsoft.com/office/drawing/2014/main" id="{32BD956B-25FD-4E8A-8B30-7DE41D3BF8DF}"/>
                  </a:ext>
                </a:extLst>
              </p:cNvPr>
              <p:cNvSpPr/>
              <p:nvPr/>
            </p:nvSpPr>
            <p:spPr>
              <a:xfrm>
                <a:off x="4850265" y="5143042"/>
                <a:ext cx="129721" cy="205557"/>
              </a:xfrm>
              <a:custGeom>
                <a:avLst/>
                <a:gdLst>
                  <a:gd name="connsiteX0" fmla="*/ 129722 w 129721"/>
                  <a:gd name="connsiteY0" fmla="*/ 1615 h 205557"/>
                  <a:gd name="connsiteX1" fmla="*/ 2631 w 129721"/>
                  <a:gd name="connsiteY1" fmla="*/ 205557 h 205557"/>
                  <a:gd name="connsiteX2" fmla="*/ 0 w 129721"/>
                  <a:gd name="connsiteY2" fmla="*/ 203943 h 205557"/>
                  <a:gd name="connsiteX3" fmla="*/ 127150 w 129721"/>
                  <a:gd name="connsiteY3" fmla="*/ 0 h 205557"/>
                </a:gdLst>
                <a:ahLst/>
                <a:cxnLst>
                  <a:cxn ang="0">
                    <a:pos x="connsiteX0" y="connsiteY0"/>
                  </a:cxn>
                  <a:cxn ang="0">
                    <a:pos x="connsiteX1" y="connsiteY1"/>
                  </a:cxn>
                  <a:cxn ang="0">
                    <a:pos x="connsiteX2" y="connsiteY2"/>
                  </a:cxn>
                  <a:cxn ang="0">
                    <a:pos x="connsiteX3" y="connsiteY3"/>
                  </a:cxn>
                </a:cxnLst>
                <a:rect l="l" t="t" r="r" b="b"/>
                <a:pathLst>
                  <a:path w="129721" h="205557">
                    <a:moveTo>
                      <a:pt x="129722" y="1615"/>
                    </a:moveTo>
                    <a:lnTo>
                      <a:pt x="2631" y="205557"/>
                    </a:lnTo>
                    <a:lnTo>
                      <a:pt x="0" y="203943"/>
                    </a:lnTo>
                    <a:lnTo>
                      <a:pt x="127150" y="0"/>
                    </a:lnTo>
                    <a:close/>
                  </a:path>
                </a:pathLst>
              </a:custGeom>
              <a:grpFill/>
              <a:ln w="5978" cap="flat">
                <a:noFill/>
                <a:prstDash val="solid"/>
                <a:miter/>
              </a:ln>
            </p:spPr>
            <p:txBody>
              <a:bodyPr rtlCol="0" anchor="ctr"/>
              <a:lstStyle/>
              <a:p>
                <a:endParaRPr lang="en-GB"/>
              </a:p>
            </p:txBody>
          </p:sp>
          <p:sp>
            <p:nvSpPr>
              <p:cNvPr id="2026" name="Vrije vorm: vorm 2025">
                <a:extLst>
                  <a:ext uri="{FF2B5EF4-FFF2-40B4-BE49-F238E27FC236}">
                    <a16:creationId xmlns:a16="http://schemas.microsoft.com/office/drawing/2014/main" id="{235BB974-ABDA-4372-BB5E-7BA15607BB44}"/>
                  </a:ext>
                </a:extLst>
              </p:cNvPr>
              <p:cNvSpPr/>
              <p:nvPr/>
            </p:nvSpPr>
            <p:spPr>
              <a:xfrm>
                <a:off x="4842648" y="5338214"/>
                <a:ext cx="18343" cy="18378"/>
              </a:xfrm>
              <a:custGeom>
                <a:avLst/>
                <a:gdLst>
                  <a:gd name="connsiteX0" fmla="*/ 16947 w 18343"/>
                  <a:gd name="connsiteY0" fmla="*/ 14093 h 18378"/>
                  <a:gd name="connsiteX1" fmla="*/ 4327 w 18343"/>
                  <a:gd name="connsiteY1" fmla="*/ 16964 h 18378"/>
                  <a:gd name="connsiteX2" fmla="*/ 1397 w 18343"/>
                  <a:gd name="connsiteY2" fmla="*/ 4285 h 18378"/>
                  <a:gd name="connsiteX3" fmla="*/ 14016 w 18343"/>
                  <a:gd name="connsiteY3" fmla="*/ 1414 h 18378"/>
                  <a:gd name="connsiteX4" fmla="*/ 16947 w 18343"/>
                  <a:gd name="connsiteY4" fmla="*/ 14093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8">
                    <a:moveTo>
                      <a:pt x="16947" y="14093"/>
                    </a:moveTo>
                    <a:cubicBezTo>
                      <a:pt x="14256" y="18399"/>
                      <a:pt x="8634" y="19655"/>
                      <a:pt x="4327" y="16964"/>
                    </a:cubicBezTo>
                    <a:cubicBezTo>
                      <a:pt x="21" y="14273"/>
                      <a:pt x="-1294" y="8531"/>
                      <a:pt x="1397" y="4285"/>
                    </a:cubicBezTo>
                    <a:cubicBezTo>
                      <a:pt x="4088" y="-21"/>
                      <a:pt x="9710" y="-1277"/>
                      <a:pt x="14016" y="1414"/>
                    </a:cubicBezTo>
                    <a:cubicBezTo>
                      <a:pt x="18322" y="4105"/>
                      <a:pt x="19638" y="9787"/>
                      <a:pt x="16947" y="14093"/>
                    </a:cubicBezTo>
                    <a:close/>
                  </a:path>
                </a:pathLst>
              </a:custGeom>
              <a:grpFill/>
              <a:ln w="5978" cap="flat">
                <a:noFill/>
                <a:prstDash val="solid"/>
                <a:miter/>
              </a:ln>
            </p:spPr>
            <p:txBody>
              <a:bodyPr rtlCol="0" anchor="ctr"/>
              <a:lstStyle/>
              <a:p>
                <a:endParaRPr lang="en-GB"/>
              </a:p>
            </p:txBody>
          </p:sp>
          <p:sp>
            <p:nvSpPr>
              <p:cNvPr id="2027" name="Vrije vorm: vorm 2026">
                <a:extLst>
                  <a:ext uri="{FF2B5EF4-FFF2-40B4-BE49-F238E27FC236}">
                    <a16:creationId xmlns:a16="http://schemas.microsoft.com/office/drawing/2014/main" id="{E6C4F8EC-9530-45DD-B0D5-3FD77EF2717F}"/>
                  </a:ext>
                </a:extLst>
              </p:cNvPr>
              <p:cNvSpPr/>
              <p:nvPr/>
            </p:nvSpPr>
            <p:spPr>
              <a:xfrm>
                <a:off x="4969260" y="5135049"/>
                <a:ext cx="18343" cy="18404"/>
              </a:xfrm>
              <a:custGeom>
                <a:avLst/>
                <a:gdLst>
                  <a:gd name="connsiteX0" fmla="*/ 16947 w 18343"/>
                  <a:gd name="connsiteY0" fmla="*/ 14093 h 18404"/>
                  <a:gd name="connsiteX1" fmla="*/ 14016 w 18343"/>
                  <a:gd name="connsiteY1" fmla="*/ 1414 h 18404"/>
                  <a:gd name="connsiteX2" fmla="*/ 1397 w 18343"/>
                  <a:gd name="connsiteY2" fmla="*/ 4285 h 18404"/>
                  <a:gd name="connsiteX3" fmla="*/ 4328 w 18343"/>
                  <a:gd name="connsiteY3" fmla="*/ 16964 h 18404"/>
                  <a:gd name="connsiteX4" fmla="*/ 16947 w 18343"/>
                  <a:gd name="connsiteY4" fmla="*/ 14093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4">
                    <a:moveTo>
                      <a:pt x="16947" y="14093"/>
                    </a:moveTo>
                    <a:cubicBezTo>
                      <a:pt x="19638" y="9787"/>
                      <a:pt x="18322" y="4105"/>
                      <a:pt x="14016" y="1414"/>
                    </a:cubicBezTo>
                    <a:cubicBezTo>
                      <a:pt x="9710" y="-1277"/>
                      <a:pt x="4088" y="-21"/>
                      <a:pt x="1397" y="4285"/>
                    </a:cubicBezTo>
                    <a:cubicBezTo>
                      <a:pt x="-1294" y="8591"/>
                      <a:pt x="21" y="14273"/>
                      <a:pt x="4328" y="16964"/>
                    </a:cubicBezTo>
                    <a:cubicBezTo>
                      <a:pt x="8634" y="19715"/>
                      <a:pt x="14255" y="18399"/>
                      <a:pt x="16947" y="14093"/>
                    </a:cubicBezTo>
                    <a:close/>
                  </a:path>
                </a:pathLst>
              </a:custGeom>
              <a:grpFill/>
              <a:ln w="5978" cap="flat">
                <a:noFill/>
                <a:prstDash val="solid"/>
                <a:miter/>
              </a:ln>
            </p:spPr>
            <p:txBody>
              <a:bodyPr rtlCol="0" anchor="ctr"/>
              <a:lstStyle/>
              <a:p>
                <a:endParaRPr lang="en-GB"/>
              </a:p>
            </p:txBody>
          </p:sp>
        </p:grpSp>
        <p:grpSp>
          <p:nvGrpSpPr>
            <p:cNvPr id="1126" name="Graphic 3">
              <a:extLst>
                <a:ext uri="{FF2B5EF4-FFF2-40B4-BE49-F238E27FC236}">
                  <a16:creationId xmlns:a16="http://schemas.microsoft.com/office/drawing/2014/main" id="{FC80F212-B3BF-41D1-AAA1-BBDBDD3BD476}"/>
                </a:ext>
              </a:extLst>
            </p:cNvPr>
            <p:cNvGrpSpPr/>
            <p:nvPr/>
          </p:nvGrpSpPr>
          <p:grpSpPr>
            <a:xfrm>
              <a:off x="3939441" y="2971341"/>
              <a:ext cx="461393" cy="141231"/>
              <a:chOff x="3939441" y="2971341"/>
              <a:chExt cx="461393" cy="141231"/>
            </a:xfrm>
            <a:grpFill/>
          </p:grpSpPr>
          <p:sp>
            <p:nvSpPr>
              <p:cNvPr id="2022" name="Vrije vorm: vorm 2021">
                <a:extLst>
                  <a:ext uri="{FF2B5EF4-FFF2-40B4-BE49-F238E27FC236}">
                    <a16:creationId xmlns:a16="http://schemas.microsoft.com/office/drawing/2014/main" id="{776E3173-CE5F-441E-BFAE-944E0D5409A4}"/>
                  </a:ext>
                </a:extLst>
              </p:cNvPr>
              <p:cNvSpPr/>
              <p:nvPr/>
            </p:nvSpPr>
            <p:spPr>
              <a:xfrm>
                <a:off x="3947774" y="2978918"/>
                <a:ext cx="444726" cy="126073"/>
              </a:xfrm>
              <a:custGeom>
                <a:avLst/>
                <a:gdLst>
                  <a:gd name="connsiteX0" fmla="*/ 444726 w 444726"/>
                  <a:gd name="connsiteY0" fmla="*/ 123143 h 126073"/>
                  <a:gd name="connsiteX1" fmla="*/ 443949 w 444726"/>
                  <a:gd name="connsiteY1" fmla="*/ 126074 h 126073"/>
                  <a:gd name="connsiteX2" fmla="*/ 0 w 444726"/>
                  <a:gd name="connsiteY2" fmla="*/ 2990 h 126073"/>
                  <a:gd name="connsiteX3" fmla="*/ 837 w 444726"/>
                  <a:gd name="connsiteY3" fmla="*/ 0 h 126073"/>
                </a:gdLst>
                <a:ahLst/>
                <a:cxnLst>
                  <a:cxn ang="0">
                    <a:pos x="connsiteX0" y="connsiteY0"/>
                  </a:cxn>
                  <a:cxn ang="0">
                    <a:pos x="connsiteX1" y="connsiteY1"/>
                  </a:cxn>
                  <a:cxn ang="0">
                    <a:pos x="connsiteX2" y="connsiteY2"/>
                  </a:cxn>
                  <a:cxn ang="0">
                    <a:pos x="connsiteX3" y="connsiteY3"/>
                  </a:cxn>
                </a:cxnLst>
                <a:rect l="l" t="t" r="r" b="b"/>
                <a:pathLst>
                  <a:path w="444726" h="126073">
                    <a:moveTo>
                      <a:pt x="444726" y="123143"/>
                    </a:moveTo>
                    <a:lnTo>
                      <a:pt x="443949" y="126074"/>
                    </a:lnTo>
                    <a:lnTo>
                      <a:pt x="0" y="2990"/>
                    </a:lnTo>
                    <a:lnTo>
                      <a:pt x="837" y="0"/>
                    </a:lnTo>
                    <a:close/>
                  </a:path>
                </a:pathLst>
              </a:custGeom>
              <a:grpFill/>
              <a:ln w="5978" cap="flat">
                <a:noFill/>
                <a:prstDash val="solid"/>
                <a:miter/>
              </a:ln>
            </p:spPr>
            <p:txBody>
              <a:bodyPr rtlCol="0" anchor="ctr"/>
              <a:lstStyle/>
              <a:p>
                <a:endParaRPr lang="en-GB"/>
              </a:p>
            </p:txBody>
          </p:sp>
          <p:sp>
            <p:nvSpPr>
              <p:cNvPr id="2023" name="Vrije vorm: vorm 2022">
                <a:extLst>
                  <a:ext uri="{FF2B5EF4-FFF2-40B4-BE49-F238E27FC236}">
                    <a16:creationId xmlns:a16="http://schemas.microsoft.com/office/drawing/2014/main" id="{517B82CC-9A3D-477F-BB04-DFF8B328C66B}"/>
                  </a:ext>
                </a:extLst>
              </p:cNvPr>
              <p:cNvSpPr/>
              <p:nvPr/>
            </p:nvSpPr>
            <p:spPr>
              <a:xfrm>
                <a:off x="4382493" y="3094185"/>
                <a:ext cx="18341" cy="18387"/>
              </a:xfrm>
              <a:custGeom>
                <a:avLst/>
                <a:gdLst>
                  <a:gd name="connsiteX0" fmla="*/ 11563 w 18341"/>
                  <a:gd name="connsiteY0" fmla="*/ 340 h 18387"/>
                  <a:gd name="connsiteX1" fmla="*/ 18022 w 18341"/>
                  <a:gd name="connsiteY1" fmla="*/ 11644 h 18387"/>
                  <a:gd name="connsiteX2" fmla="*/ 6778 w 18341"/>
                  <a:gd name="connsiteY2" fmla="*/ 18043 h 18387"/>
                  <a:gd name="connsiteX3" fmla="*/ 319 w 18341"/>
                  <a:gd name="connsiteY3" fmla="*/ 6739 h 18387"/>
                  <a:gd name="connsiteX4" fmla="*/ 11563 w 18341"/>
                  <a:gd name="connsiteY4" fmla="*/ 34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7">
                    <a:moveTo>
                      <a:pt x="11563" y="340"/>
                    </a:moveTo>
                    <a:cubicBezTo>
                      <a:pt x="16467" y="1716"/>
                      <a:pt x="19338" y="6799"/>
                      <a:pt x="18022" y="11644"/>
                    </a:cubicBezTo>
                    <a:cubicBezTo>
                      <a:pt x="16706" y="16548"/>
                      <a:pt x="11683" y="19418"/>
                      <a:pt x="6778" y="18043"/>
                    </a:cubicBezTo>
                    <a:cubicBezTo>
                      <a:pt x="1874" y="16667"/>
                      <a:pt x="-997" y="11644"/>
                      <a:pt x="319" y="6739"/>
                    </a:cubicBezTo>
                    <a:cubicBezTo>
                      <a:pt x="1635" y="1895"/>
                      <a:pt x="6718" y="-1035"/>
                      <a:pt x="11563" y="340"/>
                    </a:cubicBezTo>
                    <a:close/>
                  </a:path>
                </a:pathLst>
              </a:custGeom>
              <a:grpFill/>
              <a:ln w="5978" cap="flat">
                <a:noFill/>
                <a:prstDash val="solid"/>
                <a:miter/>
              </a:ln>
            </p:spPr>
            <p:txBody>
              <a:bodyPr rtlCol="0" anchor="ctr"/>
              <a:lstStyle/>
              <a:p>
                <a:endParaRPr lang="en-GB"/>
              </a:p>
            </p:txBody>
          </p:sp>
          <p:sp>
            <p:nvSpPr>
              <p:cNvPr id="2024" name="Vrije vorm: vorm 2023">
                <a:extLst>
                  <a:ext uri="{FF2B5EF4-FFF2-40B4-BE49-F238E27FC236}">
                    <a16:creationId xmlns:a16="http://schemas.microsoft.com/office/drawing/2014/main" id="{55EF57D8-D28A-4186-AAE2-CBBE58AD5F3C}"/>
                  </a:ext>
                </a:extLst>
              </p:cNvPr>
              <p:cNvSpPr/>
              <p:nvPr/>
            </p:nvSpPr>
            <p:spPr>
              <a:xfrm>
                <a:off x="3939441" y="2971341"/>
                <a:ext cx="18341" cy="18387"/>
              </a:xfrm>
              <a:custGeom>
                <a:avLst/>
                <a:gdLst>
                  <a:gd name="connsiteX0" fmla="*/ 11563 w 18341"/>
                  <a:gd name="connsiteY0" fmla="*/ 340 h 18387"/>
                  <a:gd name="connsiteX1" fmla="*/ 319 w 18341"/>
                  <a:gd name="connsiteY1" fmla="*/ 6739 h 18387"/>
                  <a:gd name="connsiteX2" fmla="*/ 6778 w 18341"/>
                  <a:gd name="connsiteY2" fmla="*/ 18043 h 18387"/>
                  <a:gd name="connsiteX3" fmla="*/ 18022 w 18341"/>
                  <a:gd name="connsiteY3" fmla="*/ 11644 h 18387"/>
                  <a:gd name="connsiteX4" fmla="*/ 11563 w 18341"/>
                  <a:gd name="connsiteY4" fmla="*/ 34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7">
                    <a:moveTo>
                      <a:pt x="11563" y="340"/>
                    </a:moveTo>
                    <a:cubicBezTo>
                      <a:pt x="6659" y="-1036"/>
                      <a:pt x="1635" y="1895"/>
                      <a:pt x="319" y="6739"/>
                    </a:cubicBezTo>
                    <a:cubicBezTo>
                      <a:pt x="-997" y="11644"/>
                      <a:pt x="1874" y="16727"/>
                      <a:pt x="6778" y="18043"/>
                    </a:cubicBezTo>
                    <a:cubicBezTo>
                      <a:pt x="11683" y="19419"/>
                      <a:pt x="16706" y="16548"/>
                      <a:pt x="18022" y="11644"/>
                    </a:cubicBezTo>
                    <a:cubicBezTo>
                      <a:pt x="19338" y="6739"/>
                      <a:pt x="16467" y="1656"/>
                      <a:pt x="11563" y="340"/>
                    </a:cubicBezTo>
                    <a:close/>
                  </a:path>
                </a:pathLst>
              </a:custGeom>
              <a:grpFill/>
              <a:ln w="5978" cap="flat">
                <a:noFill/>
                <a:prstDash val="solid"/>
                <a:miter/>
              </a:ln>
            </p:spPr>
            <p:txBody>
              <a:bodyPr rtlCol="0" anchor="ctr"/>
              <a:lstStyle/>
              <a:p>
                <a:endParaRPr lang="en-GB"/>
              </a:p>
            </p:txBody>
          </p:sp>
        </p:grpSp>
        <p:grpSp>
          <p:nvGrpSpPr>
            <p:cNvPr id="1127" name="Graphic 3">
              <a:extLst>
                <a:ext uri="{FF2B5EF4-FFF2-40B4-BE49-F238E27FC236}">
                  <a16:creationId xmlns:a16="http://schemas.microsoft.com/office/drawing/2014/main" id="{3DAA404C-E09A-4A1F-B260-310F0B59E04D}"/>
                </a:ext>
              </a:extLst>
            </p:cNvPr>
            <p:cNvGrpSpPr/>
            <p:nvPr/>
          </p:nvGrpSpPr>
          <p:grpSpPr>
            <a:xfrm>
              <a:off x="3909828" y="2707604"/>
              <a:ext cx="335813" cy="122481"/>
              <a:chOff x="3909828" y="2707604"/>
              <a:chExt cx="335813" cy="122481"/>
            </a:xfrm>
            <a:grpFill/>
          </p:grpSpPr>
          <p:sp>
            <p:nvSpPr>
              <p:cNvPr id="2019" name="Vrije vorm: vorm 2018">
                <a:extLst>
                  <a:ext uri="{FF2B5EF4-FFF2-40B4-BE49-F238E27FC236}">
                    <a16:creationId xmlns:a16="http://schemas.microsoft.com/office/drawing/2014/main" id="{E9FFD6C8-6C2C-4C78-AB7A-4D7D12934E0A}"/>
                  </a:ext>
                </a:extLst>
              </p:cNvPr>
              <p:cNvSpPr/>
              <p:nvPr/>
            </p:nvSpPr>
            <p:spPr>
              <a:xfrm>
                <a:off x="3918110" y="2715228"/>
                <a:ext cx="319310" cy="107294"/>
              </a:xfrm>
              <a:custGeom>
                <a:avLst/>
                <a:gdLst>
                  <a:gd name="connsiteX0" fmla="*/ 319311 w 319310"/>
                  <a:gd name="connsiteY0" fmla="*/ 104363 h 107294"/>
                  <a:gd name="connsiteX1" fmla="*/ 318354 w 319310"/>
                  <a:gd name="connsiteY1" fmla="*/ 107294 h 107294"/>
                  <a:gd name="connsiteX2" fmla="*/ 0 w 319310"/>
                  <a:gd name="connsiteY2" fmla="*/ 2930 h 107294"/>
                  <a:gd name="connsiteX3" fmla="*/ 957 w 319310"/>
                  <a:gd name="connsiteY3" fmla="*/ 0 h 107294"/>
                </a:gdLst>
                <a:ahLst/>
                <a:cxnLst>
                  <a:cxn ang="0">
                    <a:pos x="connsiteX0" y="connsiteY0"/>
                  </a:cxn>
                  <a:cxn ang="0">
                    <a:pos x="connsiteX1" y="connsiteY1"/>
                  </a:cxn>
                  <a:cxn ang="0">
                    <a:pos x="connsiteX2" y="connsiteY2"/>
                  </a:cxn>
                  <a:cxn ang="0">
                    <a:pos x="connsiteX3" y="connsiteY3"/>
                  </a:cxn>
                </a:cxnLst>
                <a:rect l="l" t="t" r="r" b="b"/>
                <a:pathLst>
                  <a:path w="319310" h="107294">
                    <a:moveTo>
                      <a:pt x="319311" y="104363"/>
                    </a:moveTo>
                    <a:lnTo>
                      <a:pt x="318354" y="107294"/>
                    </a:lnTo>
                    <a:lnTo>
                      <a:pt x="0" y="2930"/>
                    </a:lnTo>
                    <a:lnTo>
                      <a:pt x="957" y="0"/>
                    </a:lnTo>
                    <a:close/>
                  </a:path>
                </a:pathLst>
              </a:custGeom>
              <a:grpFill/>
              <a:ln w="5978" cap="flat">
                <a:noFill/>
                <a:prstDash val="solid"/>
                <a:miter/>
              </a:ln>
            </p:spPr>
            <p:txBody>
              <a:bodyPr rtlCol="0" anchor="ctr"/>
              <a:lstStyle/>
              <a:p>
                <a:endParaRPr lang="en-GB"/>
              </a:p>
            </p:txBody>
          </p:sp>
          <p:sp>
            <p:nvSpPr>
              <p:cNvPr id="2020" name="Vrije vorm: vorm 2019">
                <a:extLst>
                  <a:ext uri="{FF2B5EF4-FFF2-40B4-BE49-F238E27FC236}">
                    <a16:creationId xmlns:a16="http://schemas.microsoft.com/office/drawing/2014/main" id="{2352B813-5806-48EC-B265-B467C9DD5CE2}"/>
                  </a:ext>
                </a:extLst>
              </p:cNvPr>
              <p:cNvSpPr/>
              <p:nvPr/>
            </p:nvSpPr>
            <p:spPr>
              <a:xfrm>
                <a:off x="3909828" y="2707604"/>
                <a:ext cx="18357" cy="18439"/>
              </a:xfrm>
              <a:custGeom>
                <a:avLst/>
                <a:gdLst>
                  <a:gd name="connsiteX0" fmla="*/ 6368 w 18357"/>
                  <a:gd name="connsiteY0" fmla="*/ 17970 h 18439"/>
                  <a:gd name="connsiteX1" fmla="*/ 447 w 18357"/>
                  <a:gd name="connsiteY1" fmla="*/ 6368 h 18439"/>
                  <a:gd name="connsiteX2" fmla="*/ 11990 w 18357"/>
                  <a:gd name="connsiteY2" fmla="*/ 447 h 18439"/>
                  <a:gd name="connsiteX3" fmla="*/ 17911 w 18357"/>
                  <a:gd name="connsiteY3" fmla="*/ 12049 h 18439"/>
                  <a:gd name="connsiteX4" fmla="*/ 6368 w 18357"/>
                  <a:gd name="connsiteY4" fmla="*/ 1797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39">
                    <a:moveTo>
                      <a:pt x="6368" y="17970"/>
                    </a:moveTo>
                    <a:cubicBezTo>
                      <a:pt x="1523" y="16415"/>
                      <a:pt x="-1108" y="11212"/>
                      <a:pt x="447" y="6368"/>
                    </a:cubicBezTo>
                    <a:cubicBezTo>
                      <a:pt x="2002" y="1523"/>
                      <a:pt x="7145" y="-1108"/>
                      <a:pt x="11990" y="447"/>
                    </a:cubicBezTo>
                    <a:cubicBezTo>
                      <a:pt x="16834" y="2002"/>
                      <a:pt x="19465" y="7205"/>
                      <a:pt x="17911" y="12049"/>
                    </a:cubicBezTo>
                    <a:cubicBezTo>
                      <a:pt x="16356" y="16894"/>
                      <a:pt x="11212" y="19585"/>
                      <a:pt x="6368" y="17970"/>
                    </a:cubicBezTo>
                    <a:close/>
                  </a:path>
                </a:pathLst>
              </a:custGeom>
              <a:grpFill/>
              <a:ln w="5978" cap="flat">
                <a:noFill/>
                <a:prstDash val="solid"/>
                <a:miter/>
              </a:ln>
            </p:spPr>
            <p:txBody>
              <a:bodyPr rtlCol="0" anchor="ctr"/>
              <a:lstStyle/>
              <a:p>
                <a:endParaRPr lang="en-GB"/>
              </a:p>
            </p:txBody>
          </p:sp>
          <p:sp>
            <p:nvSpPr>
              <p:cNvPr id="2021" name="Vrije vorm: vorm 2020">
                <a:extLst>
                  <a:ext uri="{FF2B5EF4-FFF2-40B4-BE49-F238E27FC236}">
                    <a16:creationId xmlns:a16="http://schemas.microsoft.com/office/drawing/2014/main" id="{0AB0DACA-5920-4484-9F52-441266A0FA86}"/>
                  </a:ext>
                </a:extLst>
              </p:cNvPr>
              <p:cNvSpPr/>
              <p:nvPr/>
            </p:nvSpPr>
            <p:spPr>
              <a:xfrm>
                <a:off x="4227313" y="2811669"/>
                <a:ext cx="18329" cy="18416"/>
              </a:xfrm>
              <a:custGeom>
                <a:avLst/>
                <a:gdLst>
                  <a:gd name="connsiteX0" fmla="*/ 6340 w 18329"/>
                  <a:gd name="connsiteY0" fmla="*/ 17970 h 18416"/>
                  <a:gd name="connsiteX1" fmla="*/ 17882 w 18329"/>
                  <a:gd name="connsiteY1" fmla="*/ 12049 h 18416"/>
                  <a:gd name="connsiteX2" fmla="*/ 11962 w 18329"/>
                  <a:gd name="connsiteY2" fmla="*/ 447 h 18416"/>
                  <a:gd name="connsiteX3" fmla="*/ 419 w 18329"/>
                  <a:gd name="connsiteY3" fmla="*/ 6368 h 18416"/>
                  <a:gd name="connsiteX4" fmla="*/ 6340 w 18329"/>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6">
                    <a:moveTo>
                      <a:pt x="6340" y="17970"/>
                    </a:moveTo>
                    <a:cubicBezTo>
                      <a:pt x="11184" y="19525"/>
                      <a:pt x="16327" y="16894"/>
                      <a:pt x="17882" y="12049"/>
                    </a:cubicBezTo>
                    <a:cubicBezTo>
                      <a:pt x="19438" y="7205"/>
                      <a:pt x="16806" y="2002"/>
                      <a:pt x="11962" y="447"/>
                    </a:cubicBezTo>
                    <a:cubicBezTo>
                      <a:pt x="7117" y="-1108"/>
                      <a:pt x="1974" y="1523"/>
                      <a:pt x="419" y="6368"/>
                    </a:cubicBezTo>
                    <a:cubicBezTo>
                      <a:pt x="-1076" y="11212"/>
                      <a:pt x="1555" y="16415"/>
                      <a:pt x="6340" y="17970"/>
                    </a:cubicBezTo>
                    <a:close/>
                  </a:path>
                </a:pathLst>
              </a:custGeom>
              <a:grpFill/>
              <a:ln w="5978" cap="flat">
                <a:noFill/>
                <a:prstDash val="solid"/>
                <a:miter/>
              </a:ln>
            </p:spPr>
            <p:txBody>
              <a:bodyPr rtlCol="0" anchor="ctr"/>
              <a:lstStyle/>
              <a:p>
                <a:endParaRPr lang="en-GB"/>
              </a:p>
            </p:txBody>
          </p:sp>
        </p:grpSp>
        <p:grpSp>
          <p:nvGrpSpPr>
            <p:cNvPr id="1128" name="Graphic 3">
              <a:extLst>
                <a:ext uri="{FF2B5EF4-FFF2-40B4-BE49-F238E27FC236}">
                  <a16:creationId xmlns:a16="http://schemas.microsoft.com/office/drawing/2014/main" id="{E2F59303-998F-4823-B65B-F5CF9B414D37}"/>
                </a:ext>
              </a:extLst>
            </p:cNvPr>
            <p:cNvGrpSpPr/>
            <p:nvPr/>
          </p:nvGrpSpPr>
          <p:grpSpPr>
            <a:xfrm>
              <a:off x="4591904" y="4378757"/>
              <a:ext cx="58333" cy="45930"/>
              <a:chOff x="4591904" y="4378757"/>
              <a:chExt cx="58333" cy="45930"/>
            </a:xfrm>
            <a:grpFill/>
          </p:grpSpPr>
          <p:sp>
            <p:nvSpPr>
              <p:cNvPr id="2016" name="Vrije vorm: vorm 2015">
                <a:extLst>
                  <a:ext uri="{FF2B5EF4-FFF2-40B4-BE49-F238E27FC236}">
                    <a16:creationId xmlns:a16="http://schemas.microsoft.com/office/drawing/2014/main" id="{D558BED9-0B7B-449E-B6A0-FD06B97D9167}"/>
                  </a:ext>
                </a:extLst>
              </p:cNvPr>
              <p:cNvSpPr/>
              <p:nvPr/>
            </p:nvSpPr>
            <p:spPr>
              <a:xfrm>
                <a:off x="4599793" y="4386421"/>
                <a:ext cx="42522" cy="30561"/>
              </a:xfrm>
              <a:custGeom>
                <a:avLst/>
                <a:gdLst>
                  <a:gd name="connsiteX0" fmla="*/ 42523 w 42522"/>
                  <a:gd name="connsiteY0" fmla="*/ 2512 h 30561"/>
                  <a:gd name="connsiteX1" fmla="*/ 1734 w 42522"/>
                  <a:gd name="connsiteY1" fmla="*/ 30561 h 30561"/>
                  <a:gd name="connsiteX2" fmla="*/ 0 w 42522"/>
                  <a:gd name="connsiteY2" fmla="*/ 28049 h 30561"/>
                  <a:gd name="connsiteX3" fmla="*/ 40848 w 42522"/>
                  <a:gd name="connsiteY3" fmla="*/ 0 h 30561"/>
                </a:gdLst>
                <a:ahLst/>
                <a:cxnLst>
                  <a:cxn ang="0">
                    <a:pos x="connsiteX0" y="connsiteY0"/>
                  </a:cxn>
                  <a:cxn ang="0">
                    <a:pos x="connsiteX1" y="connsiteY1"/>
                  </a:cxn>
                  <a:cxn ang="0">
                    <a:pos x="connsiteX2" y="connsiteY2"/>
                  </a:cxn>
                  <a:cxn ang="0">
                    <a:pos x="connsiteX3" y="connsiteY3"/>
                  </a:cxn>
                </a:cxnLst>
                <a:rect l="l" t="t" r="r" b="b"/>
                <a:pathLst>
                  <a:path w="42522" h="30561">
                    <a:moveTo>
                      <a:pt x="42523" y="2512"/>
                    </a:moveTo>
                    <a:lnTo>
                      <a:pt x="1734" y="30561"/>
                    </a:lnTo>
                    <a:lnTo>
                      <a:pt x="0" y="28049"/>
                    </a:lnTo>
                    <a:lnTo>
                      <a:pt x="40848" y="0"/>
                    </a:lnTo>
                    <a:close/>
                  </a:path>
                </a:pathLst>
              </a:custGeom>
              <a:grpFill/>
              <a:ln w="5978" cap="flat">
                <a:noFill/>
                <a:prstDash val="solid"/>
                <a:miter/>
              </a:ln>
            </p:spPr>
            <p:txBody>
              <a:bodyPr rtlCol="0" anchor="ctr"/>
              <a:lstStyle/>
              <a:p>
                <a:endParaRPr lang="en-GB"/>
              </a:p>
            </p:txBody>
          </p:sp>
          <p:sp>
            <p:nvSpPr>
              <p:cNvPr id="2017" name="Vrije vorm: vorm 2016">
                <a:extLst>
                  <a:ext uri="{FF2B5EF4-FFF2-40B4-BE49-F238E27FC236}">
                    <a16:creationId xmlns:a16="http://schemas.microsoft.com/office/drawing/2014/main" id="{8037263B-6F3B-4C13-8A11-CAF57130AAA5}"/>
                  </a:ext>
                </a:extLst>
              </p:cNvPr>
              <p:cNvSpPr/>
              <p:nvPr/>
            </p:nvSpPr>
            <p:spPr>
              <a:xfrm>
                <a:off x="4591904" y="4406226"/>
                <a:ext cx="18306" cy="18461"/>
              </a:xfrm>
              <a:custGeom>
                <a:avLst/>
                <a:gdLst>
                  <a:gd name="connsiteX0" fmla="*/ 14348 w 18306"/>
                  <a:gd name="connsiteY0" fmla="*/ 16856 h 18461"/>
                  <a:gd name="connsiteX1" fmla="*/ 1609 w 18306"/>
                  <a:gd name="connsiteY1" fmla="*/ 14404 h 18461"/>
                  <a:gd name="connsiteX2" fmla="*/ 4001 w 18306"/>
                  <a:gd name="connsiteY2" fmla="*/ 1605 h 18461"/>
                  <a:gd name="connsiteX3" fmla="*/ 16740 w 18306"/>
                  <a:gd name="connsiteY3" fmla="*/ 4058 h 18461"/>
                  <a:gd name="connsiteX4" fmla="*/ 14348 w 18306"/>
                  <a:gd name="connsiteY4" fmla="*/ 1685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461">
                    <a:moveTo>
                      <a:pt x="14348" y="16856"/>
                    </a:moveTo>
                    <a:cubicBezTo>
                      <a:pt x="10161" y="19727"/>
                      <a:pt x="4480" y="18651"/>
                      <a:pt x="1609" y="14404"/>
                    </a:cubicBezTo>
                    <a:cubicBezTo>
                      <a:pt x="-1262" y="10218"/>
                      <a:pt x="-186" y="4476"/>
                      <a:pt x="4001" y="1605"/>
                    </a:cubicBezTo>
                    <a:cubicBezTo>
                      <a:pt x="8188" y="-1265"/>
                      <a:pt x="13869" y="-189"/>
                      <a:pt x="16740" y="4058"/>
                    </a:cubicBezTo>
                    <a:cubicBezTo>
                      <a:pt x="19551" y="8244"/>
                      <a:pt x="18474" y="13985"/>
                      <a:pt x="14348" y="16856"/>
                    </a:cubicBezTo>
                    <a:close/>
                  </a:path>
                </a:pathLst>
              </a:custGeom>
              <a:grpFill/>
              <a:ln w="5978" cap="flat">
                <a:noFill/>
                <a:prstDash val="solid"/>
                <a:miter/>
              </a:ln>
            </p:spPr>
            <p:txBody>
              <a:bodyPr rtlCol="0" anchor="ctr"/>
              <a:lstStyle/>
              <a:p>
                <a:endParaRPr lang="en-GB"/>
              </a:p>
            </p:txBody>
          </p:sp>
          <p:sp>
            <p:nvSpPr>
              <p:cNvPr id="2018" name="Vrije vorm: vorm 2017">
                <a:extLst>
                  <a:ext uri="{FF2B5EF4-FFF2-40B4-BE49-F238E27FC236}">
                    <a16:creationId xmlns:a16="http://schemas.microsoft.com/office/drawing/2014/main" id="{7008073B-6371-4960-91D0-AEAAC4B3BB73}"/>
                  </a:ext>
                </a:extLst>
              </p:cNvPr>
              <p:cNvSpPr/>
              <p:nvPr/>
            </p:nvSpPr>
            <p:spPr>
              <a:xfrm>
                <a:off x="4631941" y="4378757"/>
                <a:ext cx="18296" cy="18419"/>
              </a:xfrm>
              <a:custGeom>
                <a:avLst/>
                <a:gdLst>
                  <a:gd name="connsiteX0" fmla="*/ 14321 w 18296"/>
                  <a:gd name="connsiteY0" fmla="*/ 16814 h 18419"/>
                  <a:gd name="connsiteX1" fmla="*/ 16714 w 18296"/>
                  <a:gd name="connsiteY1" fmla="*/ 4015 h 18419"/>
                  <a:gd name="connsiteX2" fmla="*/ 3975 w 18296"/>
                  <a:gd name="connsiteY2" fmla="*/ 1563 h 18419"/>
                  <a:gd name="connsiteX3" fmla="*/ 1582 w 18296"/>
                  <a:gd name="connsiteY3" fmla="*/ 14362 h 18419"/>
                  <a:gd name="connsiteX4" fmla="*/ 14321 w 18296"/>
                  <a:gd name="connsiteY4" fmla="*/ 1681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9">
                    <a:moveTo>
                      <a:pt x="14321" y="16814"/>
                    </a:moveTo>
                    <a:cubicBezTo>
                      <a:pt x="18508" y="13944"/>
                      <a:pt x="19524" y="8202"/>
                      <a:pt x="16714" y="4015"/>
                    </a:cubicBezTo>
                    <a:cubicBezTo>
                      <a:pt x="13843" y="-171"/>
                      <a:pt x="8161" y="-1248"/>
                      <a:pt x="3975" y="1563"/>
                    </a:cubicBezTo>
                    <a:cubicBezTo>
                      <a:pt x="-212" y="4434"/>
                      <a:pt x="-1228" y="10176"/>
                      <a:pt x="1582" y="14362"/>
                    </a:cubicBezTo>
                    <a:cubicBezTo>
                      <a:pt x="4453" y="18608"/>
                      <a:pt x="10195" y="19685"/>
                      <a:pt x="14321" y="16814"/>
                    </a:cubicBezTo>
                    <a:close/>
                  </a:path>
                </a:pathLst>
              </a:custGeom>
              <a:grpFill/>
              <a:ln w="5978" cap="flat">
                <a:noFill/>
                <a:prstDash val="solid"/>
                <a:miter/>
              </a:ln>
            </p:spPr>
            <p:txBody>
              <a:bodyPr rtlCol="0" anchor="ctr"/>
              <a:lstStyle/>
              <a:p>
                <a:endParaRPr lang="en-GB"/>
              </a:p>
            </p:txBody>
          </p:sp>
        </p:grpSp>
        <p:grpSp>
          <p:nvGrpSpPr>
            <p:cNvPr id="1129" name="Graphic 3">
              <a:extLst>
                <a:ext uri="{FF2B5EF4-FFF2-40B4-BE49-F238E27FC236}">
                  <a16:creationId xmlns:a16="http://schemas.microsoft.com/office/drawing/2014/main" id="{DDAECF49-1E8D-433D-93E9-B1805766E461}"/>
                </a:ext>
              </a:extLst>
            </p:cNvPr>
            <p:cNvGrpSpPr/>
            <p:nvPr/>
          </p:nvGrpSpPr>
          <p:grpSpPr>
            <a:xfrm>
              <a:off x="4630038" y="4524933"/>
              <a:ext cx="95546" cy="82846"/>
              <a:chOff x="4630038" y="4524933"/>
              <a:chExt cx="95546" cy="82846"/>
            </a:xfrm>
            <a:grpFill/>
          </p:grpSpPr>
          <p:sp>
            <p:nvSpPr>
              <p:cNvPr id="2013" name="Vrije vorm: vorm 2012">
                <a:extLst>
                  <a:ext uri="{FF2B5EF4-FFF2-40B4-BE49-F238E27FC236}">
                    <a16:creationId xmlns:a16="http://schemas.microsoft.com/office/drawing/2014/main" id="{FF7E2016-2510-4648-BBA1-F06762481C70}"/>
                  </a:ext>
                </a:extLst>
              </p:cNvPr>
              <p:cNvSpPr/>
              <p:nvPr/>
            </p:nvSpPr>
            <p:spPr>
              <a:xfrm>
                <a:off x="4637890" y="4532709"/>
                <a:ext cx="79842" cy="67342"/>
              </a:xfrm>
              <a:custGeom>
                <a:avLst/>
                <a:gdLst>
                  <a:gd name="connsiteX0" fmla="*/ 79843 w 79842"/>
                  <a:gd name="connsiteY0" fmla="*/ 2333 h 67342"/>
                  <a:gd name="connsiteX1" fmla="*/ 1973 w 79842"/>
                  <a:gd name="connsiteY1" fmla="*/ 67343 h 67342"/>
                  <a:gd name="connsiteX2" fmla="*/ 0 w 79842"/>
                  <a:gd name="connsiteY2" fmla="*/ 64951 h 67342"/>
                  <a:gd name="connsiteX3" fmla="*/ 77869 w 79842"/>
                  <a:gd name="connsiteY3" fmla="*/ 0 h 67342"/>
                </a:gdLst>
                <a:ahLst/>
                <a:cxnLst>
                  <a:cxn ang="0">
                    <a:pos x="connsiteX0" y="connsiteY0"/>
                  </a:cxn>
                  <a:cxn ang="0">
                    <a:pos x="connsiteX1" y="connsiteY1"/>
                  </a:cxn>
                  <a:cxn ang="0">
                    <a:pos x="connsiteX2" y="connsiteY2"/>
                  </a:cxn>
                  <a:cxn ang="0">
                    <a:pos x="connsiteX3" y="connsiteY3"/>
                  </a:cxn>
                </a:cxnLst>
                <a:rect l="l" t="t" r="r" b="b"/>
                <a:pathLst>
                  <a:path w="79842" h="67342">
                    <a:moveTo>
                      <a:pt x="79843" y="2333"/>
                    </a:moveTo>
                    <a:lnTo>
                      <a:pt x="1973" y="67343"/>
                    </a:lnTo>
                    <a:lnTo>
                      <a:pt x="0" y="64951"/>
                    </a:lnTo>
                    <a:lnTo>
                      <a:pt x="77869" y="0"/>
                    </a:lnTo>
                    <a:close/>
                  </a:path>
                </a:pathLst>
              </a:custGeom>
              <a:grpFill/>
              <a:ln w="5978" cap="flat">
                <a:noFill/>
                <a:prstDash val="solid"/>
                <a:miter/>
              </a:ln>
            </p:spPr>
            <p:txBody>
              <a:bodyPr rtlCol="0" anchor="ctr"/>
              <a:lstStyle/>
              <a:p>
                <a:endParaRPr lang="en-GB"/>
              </a:p>
            </p:txBody>
          </p:sp>
          <p:sp>
            <p:nvSpPr>
              <p:cNvPr id="2014" name="Vrije vorm: vorm 2013">
                <a:extLst>
                  <a:ext uri="{FF2B5EF4-FFF2-40B4-BE49-F238E27FC236}">
                    <a16:creationId xmlns:a16="http://schemas.microsoft.com/office/drawing/2014/main" id="{89B13434-4C63-44E3-95EA-F37234769BDD}"/>
                  </a:ext>
                </a:extLst>
              </p:cNvPr>
              <p:cNvSpPr/>
              <p:nvPr/>
            </p:nvSpPr>
            <p:spPr>
              <a:xfrm>
                <a:off x="4630038" y="4589335"/>
                <a:ext cx="18335" cy="18444"/>
              </a:xfrm>
              <a:custGeom>
                <a:avLst/>
                <a:gdLst>
                  <a:gd name="connsiteX0" fmla="*/ 15029 w 18335"/>
                  <a:gd name="connsiteY0" fmla="*/ 16339 h 18444"/>
                  <a:gd name="connsiteX1" fmla="*/ 2110 w 18335"/>
                  <a:gd name="connsiteY1" fmla="*/ 15083 h 18444"/>
                  <a:gd name="connsiteX2" fmla="*/ 3307 w 18335"/>
                  <a:gd name="connsiteY2" fmla="*/ 2105 h 18444"/>
                  <a:gd name="connsiteX3" fmla="*/ 16225 w 18335"/>
                  <a:gd name="connsiteY3" fmla="*/ 3361 h 18444"/>
                  <a:gd name="connsiteX4" fmla="*/ 15029 w 18335"/>
                  <a:gd name="connsiteY4" fmla="*/ 16339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4">
                    <a:moveTo>
                      <a:pt x="15029" y="16339"/>
                    </a:moveTo>
                    <a:cubicBezTo>
                      <a:pt x="11141" y="19569"/>
                      <a:pt x="5340" y="19031"/>
                      <a:pt x="2110" y="15083"/>
                    </a:cubicBezTo>
                    <a:cubicBezTo>
                      <a:pt x="-1119" y="11136"/>
                      <a:pt x="-581" y="5335"/>
                      <a:pt x="3307" y="2105"/>
                    </a:cubicBezTo>
                    <a:cubicBezTo>
                      <a:pt x="7194" y="-1124"/>
                      <a:pt x="12995" y="-586"/>
                      <a:pt x="16225" y="3361"/>
                    </a:cubicBezTo>
                    <a:cubicBezTo>
                      <a:pt x="19455" y="7249"/>
                      <a:pt x="18916" y="13110"/>
                      <a:pt x="15029" y="16339"/>
                    </a:cubicBezTo>
                    <a:close/>
                  </a:path>
                </a:pathLst>
              </a:custGeom>
              <a:grpFill/>
              <a:ln w="5978" cap="flat">
                <a:noFill/>
                <a:prstDash val="solid"/>
                <a:miter/>
              </a:ln>
            </p:spPr>
            <p:txBody>
              <a:bodyPr rtlCol="0" anchor="ctr"/>
              <a:lstStyle/>
              <a:p>
                <a:endParaRPr lang="en-GB"/>
              </a:p>
            </p:txBody>
          </p:sp>
          <p:sp>
            <p:nvSpPr>
              <p:cNvPr id="2015" name="Vrije vorm: vorm 2014">
                <a:extLst>
                  <a:ext uri="{FF2B5EF4-FFF2-40B4-BE49-F238E27FC236}">
                    <a16:creationId xmlns:a16="http://schemas.microsoft.com/office/drawing/2014/main" id="{428DE328-416B-46B1-AB2C-1048FC9ADF25}"/>
                  </a:ext>
                </a:extLst>
              </p:cNvPr>
              <p:cNvSpPr/>
              <p:nvPr/>
            </p:nvSpPr>
            <p:spPr>
              <a:xfrm>
                <a:off x="4707249" y="4524933"/>
                <a:ext cx="18335" cy="18439"/>
              </a:xfrm>
              <a:custGeom>
                <a:avLst/>
                <a:gdLst>
                  <a:gd name="connsiteX0" fmla="*/ 15029 w 18335"/>
                  <a:gd name="connsiteY0" fmla="*/ 16329 h 18439"/>
                  <a:gd name="connsiteX1" fmla="*/ 16225 w 18335"/>
                  <a:gd name="connsiteY1" fmla="*/ 3351 h 18439"/>
                  <a:gd name="connsiteX2" fmla="*/ 3306 w 18335"/>
                  <a:gd name="connsiteY2" fmla="*/ 2154 h 18439"/>
                  <a:gd name="connsiteX3" fmla="*/ 2110 w 18335"/>
                  <a:gd name="connsiteY3" fmla="*/ 15133 h 18439"/>
                  <a:gd name="connsiteX4" fmla="*/ 15029 w 18335"/>
                  <a:gd name="connsiteY4" fmla="*/ 16329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9">
                    <a:moveTo>
                      <a:pt x="15029" y="16329"/>
                    </a:moveTo>
                    <a:cubicBezTo>
                      <a:pt x="18916" y="13099"/>
                      <a:pt x="19454" y="7298"/>
                      <a:pt x="16225" y="3351"/>
                    </a:cubicBezTo>
                    <a:cubicBezTo>
                      <a:pt x="12995" y="-596"/>
                      <a:pt x="7194" y="-1135"/>
                      <a:pt x="3306" y="2154"/>
                    </a:cubicBezTo>
                    <a:cubicBezTo>
                      <a:pt x="-581" y="5384"/>
                      <a:pt x="-1119" y="11185"/>
                      <a:pt x="2110" y="15133"/>
                    </a:cubicBezTo>
                    <a:cubicBezTo>
                      <a:pt x="5340" y="19020"/>
                      <a:pt x="11141" y="19559"/>
                      <a:pt x="15029" y="16329"/>
                    </a:cubicBezTo>
                    <a:close/>
                  </a:path>
                </a:pathLst>
              </a:custGeom>
              <a:grpFill/>
              <a:ln w="5978" cap="flat">
                <a:noFill/>
                <a:prstDash val="solid"/>
                <a:miter/>
              </a:ln>
            </p:spPr>
            <p:txBody>
              <a:bodyPr rtlCol="0" anchor="ctr"/>
              <a:lstStyle/>
              <a:p>
                <a:endParaRPr lang="en-GB"/>
              </a:p>
            </p:txBody>
          </p:sp>
        </p:grpSp>
        <p:grpSp>
          <p:nvGrpSpPr>
            <p:cNvPr id="1130" name="Graphic 3">
              <a:extLst>
                <a:ext uri="{FF2B5EF4-FFF2-40B4-BE49-F238E27FC236}">
                  <a16:creationId xmlns:a16="http://schemas.microsoft.com/office/drawing/2014/main" id="{6F7F621F-C5B3-4F2E-AFEE-67B06C3CD95E}"/>
                </a:ext>
              </a:extLst>
            </p:cNvPr>
            <p:cNvGrpSpPr/>
            <p:nvPr/>
          </p:nvGrpSpPr>
          <p:grpSpPr>
            <a:xfrm>
              <a:off x="4722313" y="4803920"/>
              <a:ext cx="103575" cy="114501"/>
              <a:chOff x="4722313" y="4803920"/>
              <a:chExt cx="103575" cy="114501"/>
            </a:xfrm>
            <a:grpFill/>
          </p:grpSpPr>
          <p:sp>
            <p:nvSpPr>
              <p:cNvPr id="2010" name="Vrije vorm: vorm 2009">
                <a:extLst>
                  <a:ext uri="{FF2B5EF4-FFF2-40B4-BE49-F238E27FC236}">
                    <a16:creationId xmlns:a16="http://schemas.microsoft.com/office/drawing/2014/main" id="{1CC71A2B-D4A0-4BF9-BB32-6D227EBFA6F4}"/>
                  </a:ext>
                </a:extLst>
              </p:cNvPr>
              <p:cNvSpPr/>
              <p:nvPr/>
            </p:nvSpPr>
            <p:spPr>
              <a:xfrm>
                <a:off x="4730053" y="4811770"/>
                <a:ext cx="88095" cy="98801"/>
              </a:xfrm>
              <a:custGeom>
                <a:avLst/>
                <a:gdLst>
                  <a:gd name="connsiteX0" fmla="*/ 88096 w 88095"/>
                  <a:gd name="connsiteY0" fmla="*/ 2033 h 98801"/>
                  <a:gd name="connsiteX1" fmla="*/ 2273 w 88095"/>
                  <a:gd name="connsiteY1" fmla="*/ 98801 h 98801"/>
                  <a:gd name="connsiteX2" fmla="*/ 0 w 88095"/>
                  <a:gd name="connsiteY2" fmla="*/ 96768 h 98801"/>
                  <a:gd name="connsiteX3" fmla="*/ 85824 w 88095"/>
                  <a:gd name="connsiteY3" fmla="*/ 0 h 98801"/>
                </a:gdLst>
                <a:ahLst/>
                <a:cxnLst>
                  <a:cxn ang="0">
                    <a:pos x="connsiteX0" y="connsiteY0"/>
                  </a:cxn>
                  <a:cxn ang="0">
                    <a:pos x="connsiteX1" y="connsiteY1"/>
                  </a:cxn>
                  <a:cxn ang="0">
                    <a:pos x="connsiteX2" y="connsiteY2"/>
                  </a:cxn>
                  <a:cxn ang="0">
                    <a:pos x="connsiteX3" y="connsiteY3"/>
                  </a:cxn>
                </a:cxnLst>
                <a:rect l="l" t="t" r="r" b="b"/>
                <a:pathLst>
                  <a:path w="88095" h="98801">
                    <a:moveTo>
                      <a:pt x="88096" y="2033"/>
                    </a:moveTo>
                    <a:lnTo>
                      <a:pt x="2273" y="98801"/>
                    </a:lnTo>
                    <a:lnTo>
                      <a:pt x="0" y="96768"/>
                    </a:lnTo>
                    <a:lnTo>
                      <a:pt x="85824" y="0"/>
                    </a:lnTo>
                    <a:close/>
                  </a:path>
                </a:pathLst>
              </a:custGeom>
              <a:grpFill/>
              <a:ln w="5978" cap="flat">
                <a:noFill/>
                <a:prstDash val="solid"/>
                <a:miter/>
              </a:ln>
            </p:spPr>
            <p:txBody>
              <a:bodyPr rtlCol="0" anchor="ctr"/>
              <a:lstStyle/>
              <a:p>
                <a:endParaRPr lang="en-GB"/>
              </a:p>
            </p:txBody>
          </p:sp>
          <p:sp>
            <p:nvSpPr>
              <p:cNvPr id="2011" name="Vrije vorm: vorm 2010">
                <a:extLst>
                  <a:ext uri="{FF2B5EF4-FFF2-40B4-BE49-F238E27FC236}">
                    <a16:creationId xmlns:a16="http://schemas.microsoft.com/office/drawing/2014/main" id="{8D2255CA-6E7C-4FB4-BB03-20FFB8B92860}"/>
                  </a:ext>
                </a:extLst>
              </p:cNvPr>
              <p:cNvSpPr/>
              <p:nvPr/>
            </p:nvSpPr>
            <p:spPr>
              <a:xfrm>
                <a:off x="4722313" y="4899970"/>
                <a:ext cx="18334" cy="18450"/>
              </a:xfrm>
              <a:custGeom>
                <a:avLst/>
                <a:gdLst>
                  <a:gd name="connsiteX0" fmla="*/ 15993 w 18334"/>
                  <a:gd name="connsiteY0" fmla="*/ 15385 h 18450"/>
                  <a:gd name="connsiteX1" fmla="*/ 3075 w 18334"/>
                  <a:gd name="connsiteY1" fmla="*/ 16103 h 18450"/>
                  <a:gd name="connsiteX2" fmla="*/ 2297 w 18334"/>
                  <a:gd name="connsiteY2" fmla="*/ 3065 h 18450"/>
                  <a:gd name="connsiteX3" fmla="*/ 15215 w 18334"/>
                  <a:gd name="connsiteY3" fmla="*/ 2348 h 18450"/>
                  <a:gd name="connsiteX4" fmla="*/ 15993 w 18334"/>
                  <a:gd name="connsiteY4" fmla="*/ 15385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50">
                    <a:moveTo>
                      <a:pt x="15993" y="15385"/>
                    </a:moveTo>
                    <a:cubicBezTo>
                      <a:pt x="12644" y="19153"/>
                      <a:pt x="6843" y="19512"/>
                      <a:pt x="3075" y="16103"/>
                    </a:cubicBezTo>
                    <a:cubicBezTo>
                      <a:pt x="-693" y="12694"/>
                      <a:pt x="-1052" y="6893"/>
                      <a:pt x="2297" y="3065"/>
                    </a:cubicBezTo>
                    <a:cubicBezTo>
                      <a:pt x="5646" y="-702"/>
                      <a:pt x="11447" y="-1062"/>
                      <a:pt x="15215" y="2348"/>
                    </a:cubicBezTo>
                    <a:cubicBezTo>
                      <a:pt x="19043" y="5816"/>
                      <a:pt x="19402" y="11618"/>
                      <a:pt x="15993" y="15385"/>
                    </a:cubicBezTo>
                    <a:close/>
                  </a:path>
                </a:pathLst>
              </a:custGeom>
              <a:grpFill/>
              <a:ln w="5978" cap="flat">
                <a:noFill/>
                <a:prstDash val="solid"/>
                <a:miter/>
              </a:ln>
            </p:spPr>
            <p:txBody>
              <a:bodyPr rtlCol="0" anchor="ctr"/>
              <a:lstStyle/>
              <a:p>
                <a:endParaRPr lang="en-GB"/>
              </a:p>
            </p:txBody>
          </p:sp>
          <p:sp>
            <p:nvSpPr>
              <p:cNvPr id="2012" name="Vrije vorm: vorm 2011">
                <a:extLst>
                  <a:ext uri="{FF2B5EF4-FFF2-40B4-BE49-F238E27FC236}">
                    <a16:creationId xmlns:a16="http://schemas.microsoft.com/office/drawing/2014/main" id="{660A62AC-7E6E-40C5-926E-7E6917825657}"/>
                  </a:ext>
                </a:extLst>
              </p:cNvPr>
              <p:cNvSpPr/>
              <p:nvPr/>
            </p:nvSpPr>
            <p:spPr>
              <a:xfrm>
                <a:off x="4807598" y="4803920"/>
                <a:ext cx="18290" cy="18450"/>
              </a:xfrm>
              <a:custGeom>
                <a:avLst/>
                <a:gdLst>
                  <a:gd name="connsiteX0" fmla="*/ 15993 w 18290"/>
                  <a:gd name="connsiteY0" fmla="*/ 15386 h 18450"/>
                  <a:gd name="connsiteX1" fmla="*/ 15216 w 18290"/>
                  <a:gd name="connsiteY1" fmla="*/ 2348 h 18450"/>
                  <a:gd name="connsiteX2" fmla="*/ 2297 w 18290"/>
                  <a:gd name="connsiteY2" fmla="*/ 3065 h 18450"/>
                  <a:gd name="connsiteX3" fmla="*/ 3074 w 18290"/>
                  <a:gd name="connsiteY3" fmla="*/ 16104 h 18450"/>
                  <a:gd name="connsiteX4" fmla="*/ 15993 w 18290"/>
                  <a:gd name="connsiteY4" fmla="*/ 1538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50">
                    <a:moveTo>
                      <a:pt x="15993" y="15386"/>
                    </a:moveTo>
                    <a:cubicBezTo>
                      <a:pt x="19342" y="11618"/>
                      <a:pt x="18983" y="5757"/>
                      <a:pt x="15216" y="2348"/>
                    </a:cubicBezTo>
                    <a:cubicBezTo>
                      <a:pt x="11448" y="-1061"/>
                      <a:pt x="5647" y="-703"/>
                      <a:pt x="2297" y="3065"/>
                    </a:cubicBezTo>
                    <a:cubicBezTo>
                      <a:pt x="-1052" y="6833"/>
                      <a:pt x="-693" y="12695"/>
                      <a:pt x="3074" y="16104"/>
                    </a:cubicBezTo>
                    <a:cubicBezTo>
                      <a:pt x="6783" y="19512"/>
                      <a:pt x="12584" y="19153"/>
                      <a:pt x="15993" y="15386"/>
                    </a:cubicBezTo>
                    <a:close/>
                  </a:path>
                </a:pathLst>
              </a:custGeom>
              <a:grpFill/>
              <a:ln w="5978" cap="flat">
                <a:noFill/>
                <a:prstDash val="solid"/>
                <a:miter/>
              </a:ln>
            </p:spPr>
            <p:txBody>
              <a:bodyPr rtlCol="0" anchor="ctr"/>
              <a:lstStyle/>
              <a:p>
                <a:endParaRPr lang="en-GB"/>
              </a:p>
            </p:txBody>
          </p:sp>
        </p:grpSp>
        <p:grpSp>
          <p:nvGrpSpPr>
            <p:cNvPr id="1131" name="Graphic 3">
              <a:extLst>
                <a:ext uri="{FF2B5EF4-FFF2-40B4-BE49-F238E27FC236}">
                  <a16:creationId xmlns:a16="http://schemas.microsoft.com/office/drawing/2014/main" id="{40C28B37-8D4F-4AAD-83EE-56619EC16FC5}"/>
                </a:ext>
              </a:extLst>
            </p:cNvPr>
            <p:cNvGrpSpPr/>
            <p:nvPr/>
          </p:nvGrpSpPr>
          <p:grpSpPr>
            <a:xfrm>
              <a:off x="4584779" y="4656358"/>
              <a:ext cx="371047" cy="357196"/>
              <a:chOff x="4584779" y="4656358"/>
              <a:chExt cx="371047" cy="357196"/>
            </a:xfrm>
            <a:grpFill/>
          </p:grpSpPr>
          <p:sp>
            <p:nvSpPr>
              <p:cNvPr id="2007" name="Vrije vorm: vorm 2006">
                <a:extLst>
                  <a:ext uri="{FF2B5EF4-FFF2-40B4-BE49-F238E27FC236}">
                    <a16:creationId xmlns:a16="http://schemas.microsoft.com/office/drawing/2014/main" id="{47ECB393-87B6-48F3-8EDC-7CA5458C71F0}"/>
                  </a:ext>
                </a:extLst>
              </p:cNvPr>
              <p:cNvSpPr/>
              <p:nvPr/>
            </p:nvSpPr>
            <p:spPr>
              <a:xfrm>
                <a:off x="4592556" y="4664165"/>
                <a:ext cx="355434" cy="341559"/>
              </a:xfrm>
              <a:custGeom>
                <a:avLst/>
                <a:gdLst>
                  <a:gd name="connsiteX0" fmla="*/ 355434 w 355434"/>
                  <a:gd name="connsiteY0" fmla="*/ 2213 h 341559"/>
                  <a:gd name="connsiteX1" fmla="*/ 2093 w 355434"/>
                  <a:gd name="connsiteY1" fmla="*/ 341559 h 341559"/>
                  <a:gd name="connsiteX2" fmla="*/ 0 w 355434"/>
                  <a:gd name="connsiteY2" fmla="*/ 339346 h 341559"/>
                  <a:gd name="connsiteX3" fmla="*/ 353341 w 355434"/>
                  <a:gd name="connsiteY3" fmla="*/ 0 h 341559"/>
                </a:gdLst>
                <a:ahLst/>
                <a:cxnLst>
                  <a:cxn ang="0">
                    <a:pos x="connsiteX0" y="connsiteY0"/>
                  </a:cxn>
                  <a:cxn ang="0">
                    <a:pos x="connsiteX1" y="connsiteY1"/>
                  </a:cxn>
                  <a:cxn ang="0">
                    <a:pos x="connsiteX2" y="connsiteY2"/>
                  </a:cxn>
                  <a:cxn ang="0">
                    <a:pos x="connsiteX3" y="connsiteY3"/>
                  </a:cxn>
                </a:cxnLst>
                <a:rect l="l" t="t" r="r" b="b"/>
                <a:pathLst>
                  <a:path w="355434" h="341559">
                    <a:moveTo>
                      <a:pt x="355434" y="2213"/>
                    </a:moveTo>
                    <a:lnTo>
                      <a:pt x="2093" y="341559"/>
                    </a:lnTo>
                    <a:lnTo>
                      <a:pt x="0" y="339346"/>
                    </a:lnTo>
                    <a:lnTo>
                      <a:pt x="353341" y="0"/>
                    </a:lnTo>
                    <a:close/>
                  </a:path>
                </a:pathLst>
              </a:custGeom>
              <a:grpFill/>
              <a:ln w="5978" cap="flat">
                <a:noFill/>
                <a:prstDash val="solid"/>
                <a:miter/>
              </a:ln>
            </p:spPr>
            <p:txBody>
              <a:bodyPr rtlCol="0" anchor="ctr"/>
              <a:lstStyle/>
              <a:p>
                <a:endParaRPr lang="en-GB"/>
              </a:p>
            </p:txBody>
          </p:sp>
          <p:sp>
            <p:nvSpPr>
              <p:cNvPr id="2008" name="Vrije vorm: vorm 2007">
                <a:extLst>
                  <a:ext uri="{FF2B5EF4-FFF2-40B4-BE49-F238E27FC236}">
                    <a16:creationId xmlns:a16="http://schemas.microsoft.com/office/drawing/2014/main" id="{B35CF1C0-0FCB-44AF-A547-11C74568EEC0}"/>
                  </a:ext>
                </a:extLst>
              </p:cNvPr>
              <p:cNvSpPr/>
              <p:nvPr/>
            </p:nvSpPr>
            <p:spPr>
              <a:xfrm>
                <a:off x="4937463" y="4656358"/>
                <a:ext cx="18364" cy="18426"/>
              </a:xfrm>
              <a:custGeom>
                <a:avLst/>
                <a:gdLst>
                  <a:gd name="connsiteX0" fmla="*/ 2813 w 18364"/>
                  <a:gd name="connsiteY0" fmla="*/ 2545 h 18426"/>
                  <a:gd name="connsiteX1" fmla="*/ 15791 w 18364"/>
                  <a:gd name="connsiteY1" fmla="*/ 2844 h 18426"/>
                  <a:gd name="connsiteX2" fmla="*/ 15552 w 18364"/>
                  <a:gd name="connsiteY2" fmla="*/ 15882 h 18426"/>
                  <a:gd name="connsiteX3" fmla="*/ 2573 w 18364"/>
                  <a:gd name="connsiteY3" fmla="*/ 15583 h 18426"/>
                  <a:gd name="connsiteX4" fmla="*/ 2813 w 18364"/>
                  <a:gd name="connsiteY4" fmla="*/ 2545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6">
                    <a:moveTo>
                      <a:pt x="2813" y="2545"/>
                    </a:moveTo>
                    <a:cubicBezTo>
                      <a:pt x="6461" y="-984"/>
                      <a:pt x="12262" y="-804"/>
                      <a:pt x="15791" y="2844"/>
                    </a:cubicBezTo>
                    <a:cubicBezTo>
                      <a:pt x="19320" y="6552"/>
                      <a:pt x="19200" y="12353"/>
                      <a:pt x="15552" y="15882"/>
                    </a:cubicBezTo>
                    <a:cubicBezTo>
                      <a:pt x="11903" y="19410"/>
                      <a:pt x="6102" y="19231"/>
                      <a:pt x="2573" y="15583"/>
                    </a:cubicBezTo>
                    <a:cubicBezTo>
                      <a:pt x="-955" y="11875"/>
                      <a:pt x="-836" y="6073"/>
                      <a:pt x="2813" y="2545"/>
                    </a:cubicBezTo>
                    <a:close/>
                  </a:path>
                </a:pathLst>
              </a:custGeom>
              <a:grpFill/>
              <a:ln w="5978" cap="flat">
                <a:noFill/>
                <a:prstDash val="solid"/>
                <a:miter/>
              </a:ln>
            </p:spPr>
            <p:txBody>
              <a:bodyPr rtlCol="0" anchor="ctr"/>
              <a:lstStyle/>
              <a:p>
                <a:endParaRPr lang="en-GB"/>
              </a:p>
            </p:txBody>
          </p:sp>
          <p:sp>
            <p:nvSpPr>
              <p:cNvPr id="2009" name="Vrije vorm: vorm 2008">
                <a:extLst>
                  <a:ext uri="{FF2B5EF4-FFF2-40B4-BE49-F238E27FC236}">
                    <a16:creationId xmlns:a16="http://schemas.microsoft.com/office/drawing/2014/main" id="{853A3146-8544-46BA-BA5C-B00DB469F999}"/>
                  </a:ext>
                </a:extLst>
              </p:cNvPr>
              <p:cNvSpPr/>
              <p:nvPr/>
            </p:nvSpPr>
            <p:spPr>
              <a:xfrm>
                <a:off x="4584779" y="4995084"/>
                <a:ext cx="18364" cy="18470"/>
              </a:xfrm>
              <a:custGeom>
                <a:avLst/>
                <a:gdLst>
                  <a:gd name="connsiteX0" fmla="*/ 2813 w 18364"/>
                  <a:gd name="connsiteY0" fmla="*/ 2566 h 18470"/>
                  <a:gd name="connsiteX1" fmla="*/ 2573 w 18364"/>
                  <a:gd name="connsiteY1" fmla="*/ 15604 h 18470"/>
                  <a:gd name="connsiteX2" fmla="*/ 15552 w 18364"/>
                  <a:gd name="connsiteY2" fmla="*/ 15904 h 18470"/>
                  <a:gd name="connsiteX3" fmla="*/ 15791 w 18364"/>
                  <a:gd name="connsiteY3" fmla="*/ 2866 h 18470"/>
                  <a:gd name="connsiteX4" fmla="*/ 2813 w 18364"/>
                  <a:gd name="connsiteY4" fmla="*/ 256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70">
                    <a:moveTo>
                      <a:pt x="2813" y="2566"/>
                    </a:moveTo>
                    <a:cubicBezTo>
                      <a:pt x="-836" y="6095"/>
                      <a:pt x="-955" y="11896"/>
                      <a:pt x="2573" y="15604"/>
                    </a:cubicBezTo>
                    <a:cubicBezTo>
                      <a:pt x="6102" y="19313"/>
                      <a:pt x="11903" y="19432"/>
                      <a:pt x="15552" y="15904"/>
                    </a:cubicBezTo>
                    <a:cubicBezTo>
                      <a:pt x="19200" y="12375"/>
                      <a:pt x="19319" y="6574"/>
                      <a:pt x="15791" y="2866"/>
                    </a:cubicBezTo>
                    <a:cubicBezTo>
                      <a:pt x="12262" y="-843"/>
                      <a:pt x="6461" y="-962"/>
                      <a:pt x="2813" y="2566"/>
                    </a:cubicBezTo>
                    <a:close/>
                  </a:path>
                </a:pathLst>
              </a:custGeom>
              <a:grpFill/>
              <a:ln w="5978" cap="flat">
                <a:noFill/>
                <a:prstDash val="solid"/>
                <a:miter/>
              </a:ln>
            </p:spPr>
            <p:txBody>
              <a:bodyPr rtlCol="0" anchor="ctr"/>
              <a:lstStyle/>
              <a:p>
                <a:endParaRPr lang="en-GB"/>
              </a:p>
            </p:txBody>
          </p:sp>
        </p:grpSp>
        <p:grpSp>
          <p:nvGrpSpPr>
            <p:cNvPr id="1132" name="Graphic 3">
              <a:extLst>
                <a:ext uri="{FF2B5EF4-FFF2-40B4-BE49-F238E27FC236}">
                  <a16:creationId xmlns:a16="http://schemas.microsoft.com/office/drawing/2014/main" id="{3327DAE6-EDE1-4DF7-AFCB-3107D199CD8B}"/>
                </a:ext>
              </a:extLst>
            </p:cNvPr>
            <p:cNvGrpSpPr/>
            <p:nvPr/>
          </p:nvGrpSpPr>
          <p:grpSpPr>
            <a:xfrm>
              <a:off x="4009168" y="3024744"/>
              <a:ext cx="324689" cy="76047"/>
              <a:chOff x="4009168" y="3024744"/>
              <a:chExt cx="324689" cy="76047"/>
            </a:xfrm>
            <a:grpFill/>
          </p:grpSpPr>
          <p:sp>
            <p:nvSpPr>
              <p:cNvPr id="2004" name="Vrije vorm: vorm 2003">
                <a:extLst>
                  <a:ext uri="{FF2B5EF4-FFF2-40B4-BE49-F238E27FC236}">
                    <a16:creationId xmlns:a16="http://schemas.microsoft.com/office/drawing/2014/main" id="{0D5F920A-3F26-41DD-92B7-F84425946F18}"/>
                  </a:ext>
                </a:extLst>
              </p:cNvPr>
              <p:cNvSpPr/>
              <p:nvPr/>
            </p:nvSpPr>
            <p:spPr>
              <a:xfrm>
                <a:off x="4017569" y="3032386"/>
                <a:ext cx="307827" cy="60823"/>
              </a:xfrm>
              <a:custGeom>
                <a:avLst/>
                <a:gdLst>
                  <a:gd name="connsiteX0" fmla="*/ 307828 w 307827"/>
                  <a:gd name="connsiteY0" fmla="*/ 57774 h 60823"/>
                  <a:gd name="connsiteX1" fmla="*/ 307290 w 307827"/>
                  <a:gd name="connsiteY1" fmla="*/ 60824 h 60823"/>
                  <a:gd name="connsiteX2" fmla="*/ 0 w 307827"/>
                  <a:gd name="connsiteY2" fmla="*/ 2990 h 60823"/>
                  <a:gd name="connsiteX3" fmla="*/ 538 w 307827"/>
                  <a:gd name="connsiteY3" fmla="*/ 0 h 60823"/>
                </a:gdLst>
                <a:ahLst/>
                <a:cxnLst>
                  <a:cxn ang="0">
                    <a:pos x="connsiteX0" y="connsiteY0"/>
                  </a:cxn>
                  <a:cxn ang="0">
                    <a:pos x="connsiteX1" y="connsiteY1"/>
                  </a:cxn>
                  <a:cxn ang="0">
                    <a:pos x="connsiteX2" y="connsiteY2"/>
                  </a:cxn>
                  <a:cxn ang="0">
                    <a:pos x="connsiteX3" y="connsiteY3"/>
                  </a:cxn>
                </a:cxnLst>
                <a:rect l="l" t="t" r="r" b="b"/>
                <a:pathLst>
                  <a:path w="307827" h="60823">
                    <a:moveTo>
                      <a:pt x="307828" y="57774"/>
                    </a:moveTo>
                    <a:lnTo>
                      <a:pt x="307290" y="60824"/>
                    </a:lnTo>
                    <a:lnTo>
                      <a:pt x="0" y="2990"/>
                    </a:lnTo>
                    <a:lnTo>
                      <a:pt x="538" y="0"/>
                    </a:lnTo>
                    <a:close/>
                  </a:path>
                </a:pathLst>
              </a:custGeom>
              <a:grpFill/>
              <a:ln w="5978" cap="flat">
                <a:noFill/>
                <a:prstDash val="solid"/>
                <a:miter/>
              </a:ln>
            </p:spPr>
            <p:txBody>
              <a:bodyPr rtlCol="0" anchor="ctr"/>
              <a:lstStyle/>
              <a:p>
                <a:endParaRPr lang="en-GB"/>
              </a:p>
            </p:txBody>
          </p:sp>
          <p:sp>
            <p:nvSpPr>
              <p:cNvPr id="2005" name="Vrije vorm: vorm 2004">
                <a:extLst>
                  <a:ext uri="{FF2B5EF4-FFF2-40B4-BE49-F238E27FC236}">
                    <a16:creationId xmlns:a16="http://schemas.microsoft.com/office/drawing/2014/main" id="{FEE792EB-EEAE-41E0-9E17-419672EE53BD}"/>
                  </a:ext>
                </a:extLst>
              </p:cNvPr>
              <p:cNvSpPr/>
              <p:nvPr/>
            </p:nvSpPr>
            <p:spPr>
              <a:xfrm>
                <a:off x="4009168" y="3024744"/>
                <a:ext cx="18296" cy="18452"/>
              </a:xfrm>
              <a:custGeom>
                <a:avLst/>
                <a:gdLst>
                  <a:gd name="connsiteX0" fmla="*/ 7504 w 18296"/>
                  <a:gd name="connsiteY0" fmla="*/ 18287 h 18452"/>
                  <a:gd name="connsiteX1" fmla="*/ 147 w 18296"/>
                  <a:gd name="connsiteY1" fmla="*/ 7522 h 18452"/>
                  <a:gd name="connsiteX2" fmla="*/ 10793 w 18296"/>
                  <a:gd name="connsiteY2" fmla="*/ 166 h 18452"/>
                  <a:gd name="connsiteX3" fmla="*/ 18149 w 18296"/>
                  <a:gd name="connsiteY3" fmla="*/ 10931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2540" y="17330"/>
                      <a:pt x="-750" y="12546"/>
                      <a:pt x="147" y="7522"/>
                    </a:cubicBezTo>
                    <a:cubicBezTo>
                      <a:pt x="1045" y="2498"/>
                      <a:pt x="5829" y="-791"/>
                      <a:pt x="10793" y="166"/>
                    </a:cubicBezTo>
                    <a:cubicBezTo>
                      <a:pt x="15757" y="1122"/>
                      <a:pt x="19047" y="5907"/>
                      <a:pt x="18149" y="10931"/>
                    </a:cubicBezTo>
                    <a:cubicBezTo>
                      <a:pt x="17253" y="15955"/>
                      <a:pt x="12468" y="19244"/>
                      <a:pt x="7504" y="18287"/>
                    </a:cubicBezTo>
                    <a:close/>
                  </a:path>
                </a:pathLst>
              </a:custGeom>
              <a:grpFill/>
              <a:ln w="5978" cap="flat">
                <a:noFill/>
                <a:prstDash val="solid"/>
                <a:miter/>
              </a:ln>
            </p:spPr>
            <p:txBody>
              <a:bodyPr rtlCol="0" anchor="ctr"/>
              <a:lstStyle/>
              <a:p>
                <a:endParaRPr lang="en-GB"/>
              </a:p>
            </p:txBody>
          </p:sp>
          <p:sp>
            <p:nvSpPr>
              <p:cNvPr id="2006" name="Vrije vorm: vorm 2005">
                <a:extLst>
                  <a:ext uri="{FF2B5EF4-FFF2-40B4-BE49-F238E27FC236}">
                    <a16:creationId xmlns:a16="http://schemas.microsoft.com/office/drawing/2014/main" id="{B22767E3-F99D-4335-9686-8D04C8C90953}"/>
                  </a:ext>
                </a:extLst>
              </p:cNvPr>
              <p:cNvSpPr/>
              <p:nvPr/>
            </p:nvSpPr>
            <p:spPr>
              <a:xfrm>
                <a:off x="4315545" y="3082338"/>
                <a:ext cx="18312" cy="18452"/>
              </a:xfrm>
              <a:custGeom>
                <a:avLst/>
                <a:gdLst>
                  <a:gd name="connsiteX0" fmla="*/ 7520 w 18312"/>
                  <a:gd name="connsiteY0" fmla="*/ 18287 h 18452"/>
                  <a:gd name="connsiteX1" fmla="*/ 18165 w 18312"/>
                  <a:gd name="connsiteY1" fmla="*/ 10931 h 18452"/>
                  <a:gd name="connsiteX2" fmla="*/ 10809 w 18312"/>
                  <a:gd name="connsiteY2" fmla="*/ 166 h 18452"/>
                  <a:gd name="connsiteX3" fmla="*/ 163 w 18312"/>
                  <a:gd name="connsiteY3" fmla="*/ 7522 h 18452"/>
                  <a:gd name="connsiteX4" fmla="*/ 7520 w 18312"/>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52">
                    <a:moveTo>
                      <a:pt x="7520" y="18287"/>
                    </a:moveTo>
                    <a:cubicBezTo>
                      <a:pt x="12484" y="19244"/>
                      <a:pt x="17268" y="15955"/>
                      <a:pt x="18165" y="10931"/>
                    </a:cubicBezTo>
                    <a:cubicBezTo>
                      <a:pt x="19062" y="5907"/>
                      <a:pt x="15773" y="1122"/>
                      <a:pt x="10809" y="166"/>
                    </a:cubicBezTo>
                    <a:cubicBezTo>
                      <a:pt x="5845" y="-791"/>
                      <a:pt x="1060" y="2498"/>
                      <a:pt x="163" y="7522"/>
                    </a:cubicBezTo>
                    <a:cubicBezTo>
                      <a:pt x="-794" y="12545"/>
                      <a:pt x="2556" y="17390"/>
                      <a:pt x="7520" y="18287"/>
                    </a:cubicBezTo>
                    <a:close/>
                  </a:path>
                </a:pathLst>
              </a:custGeom>
              <a:grpFill/>
              <a:ln w="5978" cap="flat">
                <a:noFill/>
                <a:prstDash val="solid"/>
                <a:miter/>
              </a:ln>
            </p:spPr>
            <p:txBody>
              <a:bodyPr rtlCol="0" anchor="ctr"/>
              <a:lstStyle/>
              <a:p>
                <a:endParaRPr lang="en-GB"/>
              </a:p>
            </p:txBody>
          </p:sp>
        </p:grpSp>
        <p:grpSp>
          <p:nvGrpSpPr>
            <p:cNvPr id="1133" name="Graphic 3">
              <a:extLst>
                <a:ext uri="{FF2B5EF4-FFF2-40B4-BE49-F238E27FC236}">
                  <a16:creationId xmlns:a16="http://schemas.microsoft.com/office/drawing/2014/main" id="{3A43EDCC-ACD7-49E4-8057-29CDD591B729}"/>
                </a:ext>
              </a:extLst>
            </p:cNvPr>
            <p:cNvGrpSpPr/>
            <p:nvPr/>
          </p:nvGrpSpPr>
          <p:grpSpPr>
            <a:xfrm>
              <a:off x="4074117" y="3226175"/>
              <a:ext cx="318112" cy="75791"/>
              <a:chOff x="4074117" y="3226175"/>
              <a:chExt cx="318112" cy="75791"/>
            </a:xfrm>
            <a:grpFill/>
          </p:grpSpPr>
          <p:sp>
            <p:nvSpPr>
              <p:cNvPr id="2001" name="Vrije vorm: vorm 2000">
                <a:extLst>
                  <a:ext uri="{FF2B5EF4-FFF2-40B4-BE49-F238E27FC236}">
                    <a16:creationId xmlns:a16="http://schemas.microsoft.com/office/drawing/2014/main" id="{CDAE313C-DE2D-4C6B-8BF7-992CD9F26670}"/>
                  </a:ext>
                </a:extLst>
              </p:cNvPr>
              <p:cNvSpPr/>
              <p:nvPr/>
            </p:nvSpPr>
            <p:spPr>
              <a:xfrm>
                <a:off x="4082580" y="3233816"/>
                <a:ext cx="301189" cy="60524"/>
              </a:xfrm>
              <a:custGeom>
                <a:avLst/>
                <a:gdLst>
                  <a:gd name="connsiteX0" fmla="*/ 301189 w 301189"/>
                  <a:gd name="connsiteY0" fmla="*/ 57475 h 60524"/>
                  <a:gd name="connsiteX1" fmla="*/ 300651 w 301189"/>
                  <a:gd name="connsiteY1" fmla="*/ 60525 h 60524"/>
                  <a:gd name="connsiteX2" fmla="*/ 0 w 301189"/>
                  <a:gd name="connsiteY2" fmla="*/ 2990 h 60524"/>
                  <a:gd name="connsiteX3" fmla="*/ 538 w 301189"/>
                  <a:gd name="connsiteY3" fmla="*/ 0 h 60524"/>
                </a:gdLst>
                <a:ahLst/>
                <a:cxnLst>
                  <a:cxn ang="0">
                    <a:pos x="connsiteX0" y="connsiteY0"/>
                  </a:cxn>
                  <a:cxn ang="0">
                    <a:pos x="connsiteX1" y="connsiteY1"/>
                  </a:cxn>
                  <a:cxn ang="0">
                    <a:pos x="connsiteX2" y="connsiteY2"/>
                  </a:cxn>
                  <a:cxn ang="0">
                    <a:pos x="connsiteX3" y="connsiteY3"/>
                  </a:cxn>
                </a:cxnLst>
                <a:rect l="l" t="t" r="r" b="b"/>
                <a:pathLst>
                  <a:path w="301189" h="60524">
                    <a:moveTo>
                      <a:pt x="301189" y="57475"/>
                    </a:moveTo>
                    <a:lnTo>
                      <a:pt x="300651" y="60525"/>
                    </a:lnTo>
                    <a:lnTo>
                      <a:pt x="0" y="2990"/>
                    </a:lnTo>
                    <a:lnTo>
                      <a:pt x="538" y="0"/>
                    </a:lnTo>
                    <a:close/>
                  </a:path>
                </a:pathLst>
              </a:custGeom>
              <a:grpFill/>
              <a:ln w="5978" cap="flat">
                <a:noFill/>
                <a:prstDash val="solid"/>
                <a:miter/>
              </a:ln>
            </p:spPr>
            <p:txBody>
              <a:bodyPr rtlCol="0" anchor="ctr"/>
              <a:lstStyle/>
              <a:p>
                <a:endParaRPr lang="en-GB"/>
              </a:p>
            </p:txBody>
          </p:sp>
          <p:sp>
            <p:nvSpPr>
              <p:cNvPr id="2002" name="Vrije vorm: vorm 2001">
                <a:extLst>
                  <a:ext uri="{FF2B5EF4-FFF2-40B4-BE49-F238E27FC236}">
                    <a16:creationId xmlns:a16="http://schemas.microsoft.com/office/drawing/2014/main" id="{E97E2C93-4BB9-4378-A496-FEC1922FEF6B}"/>
                  </a:ext>
                </a:extLst>
              </p:cNvPr>
              <p:cNvSpPr/>
              <p:nvPr/>
            </p:nvSpPr>
            <p:spPr>
              <a:xfrm>
                <a:off x="4373873" y="3283530"/>
                <a:ext cx="18356" cy="18436"/>
              </a:xfrm>
              <a:custGeom>
                <a:avLst/>
                <a:gdLst>
                  <a:gd name="connsiteX0" fmla="*/ 10853 w 18356"/>
                  <a:gd name="connsiteY0" fmla="*/ 166 h 18436"/>
                  <a:gd name="connsiteX1" fmla="*/ 18209 w 18356"/>
                  <a:gd name="connsiteY1" fmla="*/ 10931 h 18436"/>
                  <a:gd name="connsiteX2" fmla="*/ 7504 w 18356"/>
                  <a:gd name="connsiteY2" fmla="*/ 18287 h 18436"/>
                  <a:gd name="connsiteX3" fmla="*/ 147 w 18356"/>
                  <a:gd name="connsiteY3" fmla="*/ 7522 h 18436"/>
                  <a:gd name="connsiteX4" fmla="*/ 10853 w 18356"/>
                  <a:gd name="connsiteY4" fmla="*/ 16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36">
                    <a:moveTo>
                      <a:pt x="10853" y="166"/>
                    </a:moveTo>
                    <a:cubicBezTo>
                      <a:pt x="15817" y="1122"/>
                      <a:pt x="19106" y="5967"/>
                      <a:pt x="18209" y="10931"/>
                    </a:cubicBezTo>
                    <a:cubicBezTo>
                      <a:pt x="17312" y="15955"/>
                      <a:pt x="12468" y="19184"/>
                      <a:pt x="7504" y="18287"/>
                    </a:cubicBezTo>
                    <a:cubicBezTo>
                      <a:pt x="2540" y="17330"/>
                      <a:pt x="-750" y="12486"/>
                      <a:pt x="147" y="7522"/>
                    </a:cubicBezTo>
                    <a:cubicBezTo>
                      <a:pt x="1104" y="2498"/>
                      <a:pt x="5889" y="-791"/>
                      <a:pt x="10853" y="166"/>
                    </a:cubicBezTo>
                    <a:close/>
                  </a:path>
                </a:pathLst>
              </a:custGeom>
              <a:grpFill/>
              <a:ln w="5978" cap="flat">
                <a:noFill/>
                <a:prstDash val="solid"/>
                <a:miter/>
              </a:ln>
            </p:spPr>
            <p:txBody>
              <a:bodyPr rtlCol="0" anchor="ctr"/>
              <a:lstStyle/>
              <a:p>
                <a:endParaRPr lang="en-GB"/>
              </a:p>
            </p:txBody>
          </p:sp>
          <p:sp>
            <p:nvSpPr>
              <p:cNvPr id="2003" name="Vrije vorm: vorm 2002">
                <a:extLst>
                  <a:ext uri="{FF2B5EF4-FFF2-40B4-BE49-F238E27FC236}">
                    <a16:creationId xmlns:a16="http://schemas.microsoft.com/office/drawing/2014/main" id="{213478F0-6FF8-45DA-9BE5-BFC7335EF3F9}"/>
                  </a:ext>
                </a:extLst>
              </p:cNvPr>
              <p:cNvSpPr/>
              <p:nvPr/>
            </p:nvSpPr>
            <p:spPr>
              <a:xfrm>
                <a:off x="4074117" y="3226175"/>
                <a:ext cx="18358" cy="18452"/>
              </a:xfrm>
              <a:custGeom>
                <a:avLst/>
                <a:gdLst>
                  <a:gd name="connsiteX0" fmla="*/ 10855 w 18358"/>
                  <a:gd name="connsiteY0" fmla="*/ 166 h 18452"/>
                  <a:gd name="connsiteX1" fmla="*/ 149 w 18358"/>
                  <a:gd name="connsiteY1" fmla="*/ 7522 h 18452"/>
                  <a:gd name="connsiteX2" fmla="*/ 7506 w 18358"/>
                  <a:gd name="connsiteY2" fmla="*/ 18287 h 18452"/>
                  <a:gd name="connsiteX3" fmla="*/ 18211 w 18358"/>
                  <a:gd name="connsiteY3" fmla="*/ 10931 h 18452"/>
                  <a:gd name="connsiteX4" fmla="*/ 10855 w 18358"/>
                  <a:gd name="connsiteY4" fmla="*/ 166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52">
                    <a:moveTo>
                      <a:pt x="10855" y="166"/>
                    </a:moveTo>
                    <a:cubicBezTo>
                      <a:pt x="5891" y="-791"/>
                      <a:pt x="1106" y="2498"/>
                      <a:pt x="149" y="7522"/>
                    </a:cubicBezTo>
                    <a:cubicBezTo>
                      <a:pt x="-748" y="12546"/>
                      <a:pt x="2482" y="17330"/>
                      <a:pt x="7506" y="18287"/>
                    </a:cubicBezTo>
                    <a:cubicBezTo>
                      <a:pt x="12470" y="19244"/>
                      <a:pt x="17254" y="15955"/>
                      <a:pt x="18211" y="10931"/>
                    </a:cubicBezTo>
                    <a:cubicBezTo>
                      <a:pt x="19108" y="5967"/>
                      <a:pt x="15819" y="1122"/>
                      <a:pt x="10855" y="166"/>
                    </a:cubicBezTo>
                    <a:close/>
                  </a:path>
                </a:pathLst>
              </a:custGeom>
              <a:grpFill/>
              <a:ln w="5978" cap="flat">
                <a:noFill/>
                <a:prstDash val="solid"/>
                <a:miter/>
              </a:ln>
            </p:spPr>
            <p:txBody>
              <a:bodyPr rtlCol="0" anchor="ctr"/>
              <a:lstStyle/>
              <a:p>
                <a:endParaRPr lang="en-GB"/>
              </a:p>
            </p:txBody>
          </p:sp>
        </p:grpSp>
        <p:grpSp>
          <p:nvGrpSpPr>
            <p:cNvPr id="1134" name="Graphic 3">
              <a:extLst>
                <a:ext uri="{FF2B5EF4-FFF2-40B4-BE49-F238E27FC236}">
                  <a16:creationId xmlns:a16="http://schemas.microsoft.com/office/drawing/2014/main" id="{1EB0A744-89A2-413F-AA56-8C961183DA78}"/>
                </a:ext>
              </a:extLst>
            </p:cNvPr>
            <p:cNvGrpSpPr/>
            <p:nvPr/>
          </p:nvGrpSpPr>
          <p:grpSpPr>
            <a:xfrm>
              <a:off x="4594400" y="4712189"/>
              <a:ext cx="396421" cy="414287"/>
              <a:chOff x="4594400" y="4712189"/>
              <a:chExt cx="396421" cy="414287"/>
            </a:xfrm>
            <a:grpFill/>
          </p:grpSpPr>
          <p:sp>
            <p:nvSpPr>
              <p:cNvPr id="1998" name="Vrije vorm: vorm 1997">
                <a:extLst>
                  <a:ext uri="{FF2B5EF4-FFF2-40B4-BE49-F238E27FC236}">
                    <a16:creationId xmlns:a16="http://schemas.microsoft.com/office/drawing/2014/main" id="{16AD9612-E43C-4B32-9E4A-2B90DECD5624}"/>
                  </a:ext>
                </a:extLst>
              </p:cNvPr>
              <p:cNvSpPr/>
              <p:nvPr/>
            </p:nvSpPr>
            <p:spPr>
              <a:xfrm>
                <a:off x="4602125" y="4719966"/>
                <a:ext cx="380972" cy="398675"/>
              </a:xfrm>
              <a:custGeom>
                <a:avLst/>
                <a:gdLst>
                  <a:gd name="connsiteX0" fmla="*/ 380972 w 380972"/>
                  <a:gd name="connsiteY0" fmla="*/ 2153 h 398675"/>
                  <a:gd name="connsiteX1" fmla="*/ 2213 w 380972"/>
                  <a:gd name="connsiteY1" fmla="*/ 398675 h 398675"/>
                  <a:gd name="connsiteX2" fmla="*/ 0 w 380972"/>
                  <a:gd name="connsiteY2" fmla="*/ 396582 h 398675"/>
                  <a:gd name="connsiteX3" fmla="*/ 378759 w 380972"/>
                  <a:gd name="connsiteY3" fmla="*/ 0 h 398675"/>
                </a:gdLst>
                <a:ahLst/>
                <a:cxnLst>
                  <a:cxn ang="0">
                    <a:pos x="connsiteX0" y="connsiteY0"/>
                  </a:cxn>
                  <a:cxn ang="0">
                    <a:pos x="connsiteX1" y="connsiteY1"/>
                  </a:cxn>
                  <a:cxn ang="0">
                    <a:pos x="connsiteX2" y="connsiteY2"/>
                  </a:cxn>
                  <a:cxn ang="0">
                    <a:pos x="connsiteX3" y="connsiteY3"/>
                  </a:cxn>
                </a:cxnLst>
                <a:rect l="l" t="t" r="r" b="b"/>
                <a:pathLst>
                  <a:path w="380972" h="398675">
                    <a:moveTo>
                      <a:pt x="380972" y="2153"/>
                    </a:moveTo>
                    <a:lnTo>
                      <a:pt x="2213" y="398675"/>
                    </a:lnTo>
                    <a:lnTo>
                      <a:pt x="0" y="396582"/>
                    </a:lnTo>
                    <a:lnTo>
                      <a:pt x="378759" y="0"/>
                    </a:lnTo>
                    <a:close/>
                  </a:path>
                </a:pathLst>
              </a:custGeom>
              <a:grpFill/>
              <a:ln w="5978" cap="flat">
                <a:noFill/>
                <a:prstDash val="solid"/>
                <a:miter/>
              </a:ln>
            </p:spPr>
            <p:txBody>
              <a:bodyPr rtlCol="0" anchor="ctr"/>
              <a:lstStyle/>
              <a:p>
                <a:endParaRPr lang="en-GB"/>
              </a:p>
            </p:txBody>
          </p:sp>
          <p:sp>
            <p:nvSpPr>
              <p:cNvPr id="1999" name="Vrije vorm: vorm 1998">
                <a:extLst>
                  <a:ext uri="{FF2B5EF4-FFF2-40B4-BE49-F238E27FC236}">
                    <a16:creationId xmlns:a16="http://schemas.microsoft.com/office/drawing/2014/main" id="{A77C62BA-1502-40F8-953A-327C5A502427}"/>
                  </a:ext>
                </a:extLst>
              </p:cNvPr>
              <p:cNvSpPr/>
              <p:nvPr/>
            </p:nvSpPr>
            <p:spPr>
              <a:xfrm>
                <a:off x="4972502" y="4712189"/>
                <a:ext cx="18320" cy="18423"/>
              </a:xfrm>
              <a:custGeom>
                <a:avLst/>
                <a:gdLst>
                  <a:gd name="connsiteX0" fmla="*/ 2522 w 18320"/>
                  <a:gd name="connsiteY0" fmla="*/ 2812 h 18423"/>
                  <a:gd name="connsiteX1" fmla="*/ 15500 w 18320"/>
                  <a:gd name="connsiteY1" fmla="*/ 2573 h 18423"/>
                  <a:gd name="connsiteX2" fmla="*/ 15799 w 18320"/>
                  <a:gd name="connsiteY2" fmla="*/ 15611 h 18423"/>
                  <a:gd name="connsiteX3" fmla="*/ 2821 w 18320"/>
                  <a:gd name="connsiteY3" fmla="*/ 15851 h 18423"/>
                  <a:gd name="connsiteX4" fmla="*/ 2522 w 18320"/>
                  <a:gd name="connsiteY4" fmla="*/ 281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2522" y="2812"/>
                    </a:moveTo>
                    <a:cubicBezTo>
                      <a:pt x="5990" y="-836"/>
                      <a:pt x="11852" y="-955"/>
                      <a:pt x="15500" y="2573"/>
                    </a:cubicBezTo>
                    <a:cubicBezTo>
                      <a:pt x="19148" y="6102"/>
                      <a:pt x="19268" y="11963"/>
                      <a:pt x="15799" y="15611"/>
                    </a:cubicBezTo>
                    <a:cubicBezTo>
                      <a:pt x="12330" y="19259"/>
                      <a:pt x="6469" y="19379"/>
                      <a:pt x="2821" y="15851"/>
                    </a:cubicBezTo>
                    <a:cubicBezTo>
                      <a:pt x="-827" y="12322"/>
                      <a:pt x="-947" y="6461"/>
                      <a:pt x="2522" y="2812"/>
                    </a:cubicBezTo>
                    <a:close/>
                  </a:path>
                </a:pathLst>
              </a:custGeom>
              <a:grpFill/>
              <a:ln w="5978" cap="flat">
                <a:noFill/>
                <a:prstDash val="solid"/>
                <a:miter/>
              </a:ln>
            </p:spPr>
            <p:txBody>
              <a:bodyPr rtlCol="0" anchor="ctr"/>
              <a:lstStyle/>
              <a:p>
                <a:endParaRPr lang="en-GB"/>
              </a:p>
            </p:txBody>
          </p:sp>
          <p:sp>
            <p:nvSpPr>
              <p:cNvPr id="2000" name="Vrije vorm: vorm 1999">
                <a:extLst>
                  <a:ext uri="{FF2B5EF4-FFF2-40B4-BE49-F238E27FC236}">
                    <a16:creationId xmlns:a16="http://schemas.microsoft.com/office/drawing/2014/main" id="{9B264D61-1752-4755-AE39-4EE93EE0BB68}"/>
                  </a:ext>
                </a:extLst>
              </p:cNvPr>
              <p:cNvSpPr/>
              <p:nvPr/>
            </p:nvSpPr>
            <p:spPr>
              <a:xfrm>
                <a:off x="4594400" y="5108053"/>
                <a:ext cx="18320" cy="18423"/>
              </a:xfrm>
              <a:custGeom>
                <a:avLst/>
                <a:gdLst>
                  <a:gd name="connsiteX0" fmla="*/ 2522 w 18320"/>
                  <a:gd name="connsiteY0" fmla="*/ 2812 h 18423"/>
                  <a:gd name="connsiteX1" fmla="*/ 2821 w 18320"/>
                  <a:gd name="connsiteY1" fmla="*/ 15851 h 18423"/>
                  <a:gd name="connsiteX2" fmla="*/ 15799 w 18320"/>
                  <a:gd name="connsiteY2" fmla="*/ 15611 h 18423"/>
                  <a:gd name="connsiteX3" fmla="*/ 15500 w 18320"/>
                  <a:gd name="connsiteY3" fmla="*/ 2573 h 18423"/>
                  <a:gd name="connsiteX4" fmla="*/ 2522 w 18320"/>
                  <a:gd name="connsiteY4" fmla="*/ 281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23">
                    <a:moveTo>
                      <a:pt x="2522" y="2812"/>
                    </a:moveTo>
                    <a:cubicBezTo>
                      <a:pt x="-947" y="6461"/>
                      <a:pt x="-828" y="12322"/>
                      <a:pt x="2821" y="15851"/>
                    </a:cubicBezTo>
                    <a:cubicBezTo>
                      <a:pt x="6469" y="19379"/>
                      <a:pt x="12270" y="19259"/>
                      <a:pt x="15799" y="15611"/>
                    </a:cubicBezTo>
                    <a:cubicBezTo>
                      <a:pt x="19268" y="11963"/>
                      <a:pt x="19148" y="6102"/>
                      <a:pt x="15500" y="2573"/>
                    </a:cubicBezTo>
                    <a:cubicBezTo>
                      <a:pt x="11792" y="-955"/>
                      <a:pt x="5991" y="-836"/>
                      <a:pt x="2522" y="2812"/>
                    </a:cubicBezTo>
                    <a:close/>
                  </a:path>
                </a:pathLst>
              </a:custGeom>
              <a:grpFill/>
              <a:ln w="5978" cap="flat">
                <a:noFill/>
                <a:prstDash val="solid"/>
                <a:miter/>
              </a:ln>
            </p:spPr>
            <p:txBody>
              <a:bodyPr rtlCol="0" anchor="ctr"/>
              <a:lstStyle/>
              <a:p>
                <a:endParaRPr lang="en-GB"/>
              </a:p>
            </p:txBody>
          </p:sp>
        </p:grpSp>
        <p:grpSp>
          <p:nvGrpSpPr>
            <p:cNvPr id="1135" name="Graphic 3">
              <a:extLst>
                <a:ext uri="{FF2B5EF4-FFF2-40B4-BE49-F238E27FC236}">
                  <a16:creationId xmlns:a16="http://schemas.microsoft.com/office/drawing/2014/main" id="{A713B444-4B98-496D-A97E-4131266E63B6}"/>
                </a:ext>
              </a:extLst>
            </p:cNvPr>
            <p:cNvGrpSpPr/>
            <p:nvPr/>
          </p:nvGrpSpPr>
          <p:grpSpPr>
            <a:xfrm>
              <a:off x="4557343" y="4503495"/>
              <a:ext cx="240995" cy="166259"/>
              <a:chOff x="4557343" y="4503495"/>
              <a:chExt cx="240995" cy="166259"/>
            </a:xfrm>
            <a:grpFill/>
          </p:grpSpPr>
          <p:sp>
            <p:nvSpPr>
              <p:cNvPr id="1995" name="Vrije vorm: vorm 1994">
                <a:extLst>
                  <a:ext uri="{FF2B5EF4-FFF2-40B4-BE49-F238E27FC236}">
                    <a16:creationId xmlns:a16="http://schemas.microsoft.com/office/drawing/2014/main" id="{51D38F09-99D5-4823-9E25-7AECE8585315}"/>
                  </a:ext>
                </a:extLst>
              </p:cNvPr>
              <p:cNvSpPr/>
              <p:nvPr/>
            </p:nvSpPr>
            <p:spPr>
              <a:xfrm>
                <a:off x="4565344" y="4511179"/>
                <a:ext cx="225114" cy="150893"/>
              </a:xfrm>
              <a:custGeom>
                <a:avLst/>
                <a:gdLst>
                  <a:gd name="connsiteX0" fmla="*/ 225114 w 225114"/>
                  <a:gd name="connsiteY0" fmla="*/ 2572 h 150893"/>
                  <a:gd name="connsiteX1" fmla="*/ 1674 w 225114"/>
                  <a:gd name="connsiteY1" fmla="*/ 150893 h 150893"/>
                  <a:gd name="connsiteX2" fmla="*/ 0 w 225114"/>
                  <a:gd name="connsiteY2" fmla="*/ 148322 h 150893"/>
                  <a:gd name="connsiteX3" fmla="*/ 223440 w 225114"/>
                  <a:gd name="connsiteY3" fmla="*/ 0 h 150893"/>
                </a:gdLst>
                <a:ahLst/>
                <a:cxnLst>
                  <a:cxn ang="0">
                    <a:pos x="connsiteX0" y="connsiteY0"/>
                  </a:cxn>
                  <a:cxn ang="0">
                    <a:pos x="connsiteX1" y="connsiteY1"/>
                  </a:cxn>
                  <a:cxn ang="0">
                    <a:pos x="connsiteX2" y="connsiteY2"/>
                  </a:cxn>
                  <a:cxn ang="0">
                    <a:pos x="connsiteX3" y="connsiteY3"/>
                  </a:cxn>
                </a:cxnLst>
                <a:rect l="l" t="t" r="r" b="b"/>
                <a:pathLst>
                  <a:path w="225114" h="150893">
                    <a:moveTo>
                      <a:pt x="225114" y="2572"/>
                    </a:moveTo>
                    <a:lnTo>
                      <a:pt x="1674" y="150893"/>
                    </a:lnTo>
                    <a:lnTo>
                      <a:pt x="0" y="148322"/>
                    </a:lnTo>
                    <a:lnTo>
                      <a:pt x="223440" y="0"/>
                    </a:lnTo>
                    <a:close/>
                  </a:path>
                </a:pathLst>
              </a:custGeom>
              <a:grpFill/>
              <a:ln w="5978" cap="flat">
                <a:noFill/>
                <a:prstDash val="solid"/>
                <a:miter/>
              </a:ln>
            </p:spPr>
            <p:txBody>
              <a:bodyPr rtlCol="0" anchor="ctr"/>
              <a:lstStyle/>
              <a:p>
                <a:endParaRPr lang="en-GB"/>
              </a:p>
            </p:txBody>
          </p:sp>
          <p:sp>
            <p:nvSpPr>
              <p:cNvPr id="1996" name="Vrije vorm: vorm 1995">
                <a:extLst>
                  <a:ext uri="{FF2B5EF4-FFF2-40B4-BE49-F238E27FC236}">
                    <a16:creationId xmlns:a16="http://schemas.microsoft.com/office/drawing/2014/main" id="{A13263DC-BDB2-4B40-B960-9A5F41C2F676}"/>
                  </a:ext>
                </a:extLst>
              </p:cNvPr>
              <p:cNvSpPr/>
              <p:nvPr/>
            </p:nvSpPr>
            <p:spPr>
              <a:xfrm>
                <a:off x="4780047" y="4503495"/>
                <a:ext cx="18291" cy="18416"/>
              </a:xfrm>
              <a:custGeom>
                <a:avLst/>
                <a:gdLst>
                  <a:gd name="connsiteX0" fmla="*/ 4071 w 18291"/>
                  <a:gd name="connsiteY0" fmla="*/ 1523 h 18416"/>
                  <a:gd name="connsiteX1" fmla="*/ 16751 w 18291"/>
                  <a:gd name="connsiteY1" fmla="*/ 4154 h 18416"/>
                  <a:gd name="connsiteX2" fmla="*/ 14179 w 18291"/>
                  <a:gd name="connsiteY2" fmla="*/ 16893 h 18416"/>
                  <a:gd name="connsiteX3" fmla="*/ 1499 w 18291"/>
                  <a:gd name="connsiteY3" fmla="*/ 14262 h 18416"/>
                  <a:gd name="connsiteX4" fmla="*/ 4071 w 18291"/>
                  <a:gd name="connsiteY4" fmla="*/ 152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16">
                    <a:moveTo>
                      <a:pt x="4071" y="1523"/>
                    </a:moveTo>
                    <a:cubicBezTo>
                      <a:pt x="8258" y="-1288"/>
                      <a:pt x="13999" y="-92"/>
                      <a:pt x="16751" y="4154"/>
                    </a:cubicBezTo>
                    <a:cubicBezTo>
                      <a:pt x="19561" y="8401"/>
                      <a:pt x="18425" y="14142"/>
                      <a:pt x="14179" y="16893"/>
                    </a:cubicBezTo>
                    <a:cubicBezTo>
                      <a:pt x="9932" y="19705"/>
                      <a:pt x="4251" y="18508"/>
                      <a:pt x="1499" y="14262"/>
                    </a:cubicBezTo>
                    <a:cubicBezTo>
                      <a:pt x="-1251" y="10075"/>
                      <a:pt x="-115" y="4334"/>
                      <a:pt x="4071" y="1523"/>
                    </a:cubicBezTo>
                    <a:close/>
                  </a:path>
                </a:pathLst>
              </a:custGeom>
              <a:grpFill/>
              <a:ln w="5978" cap="flat">
                <a:noFill/>
                <a:prstDash val="solid"/>
                <a:miter/>
              </a:ln>
            </p:spPr>
            <p:txBody>
              <a:bodyPr rtlCol="0" anchor="ctr"/>
              <a:lstStyle/>
              <a:p>
                <a:endParaRPr lang="en-GB"/>
              </a:p>
            </p:txBody>
          </p:sp>
          <p:sp>
            <p:nvSpPr>
              <p:cNvPr id="1997" name="Vrije vorm: vorm 1996">
                <a:extLst>
                  <a:ext uri="{FF2B5EF4-FFF2-40B4-BE49-F238E27FC236}">
                    <a16:creationId xmlns:a16="http://schemas.microsoft.com/office/drawing/2014/main" id="{121DDB20-41FA-40A8-9D1D-01837F124026}"/>
                  </a:ext>
                </a:extLst>
              </p:cNvPr>
              <p:cNvSpPr/>
              <p:nvPr/>
            </p:nvSpPr>
            <p:spPr>
              <a:xfrm>
                <a:off x="4557343" y="4651323"/>
                <a:ext cx="18318" cy="18431"/>
              </a:xfrm>
              <a:custGeom>
                <a:avLst/>
                <a:gdLst>
                  <a:gd name="connsiteX0" fmla="*/ 4113 w 18318"/>
                  <a:gd name="connsiteY0" fmla="*/ 1539 h 18431"/>
                  <a:gd name="connsiteX1" fmla="*/ 1541 w 18318"/>
                  <a:gd name="connsiteY1" fmla="*/ 14277 h 18431"/>
                  <a:gd name="connsiteX2" fmla="*/ 14220 w 18318"/>
                  <a:gd name="connsiteY2" fmla="*/ 16909 h 18431"/>
                  <a:gd name="connsiteX3" fmla="*/ 16792 w 18318"/>
                  <a:gd name="connsiteY3" fmla="*/ 4170 h 18431"/>
                  <a:gd name="connsiteX4" fmla="*/ 4113 w 18318"/>
                  <a:gd name="connsiteY4" fmla="*/ 1539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1">
                    <a:moveTo>
                      <a:pt x="4113" y="1539"/>
                    </a:moveTo>
                    <a:cubicBezTo>
                      <a:pt x="-133" y="4349"/>
                      <a:pt x="-1269" y="10031"/>
                      <a:pt x="1541" y="14277"/>
                    </a:cubicBezTo>
                    <a:cubicBezTo>
                      <a:pt x="4352" y="18524"/>
                      <a:pt x="10034" y="19720"/>
                      <a:pt x="14220" y="16909"/>
                    </a:cubicBezTo>
                    <a:cubicBezTo>
                      <a:pt x="18407" y="14098"/>
                      <a:pt x="19603" y="8416"/>
                      <a:pt x="16792" y="4170"/>
                    </a:cubicBezTo>
                    <a:cubicBezTo>
                      <a:pt x="14041" y="-136"/>
                      <a:pt x="8359" y="-1273"/>
                      <a:pt x="4113" y="1539"/>
                    </a:cubicBezTo>
                    <a:close/>
                  </a:path>
                </a:pathLst>
              </a:custGeom>
              <a:grpFill/>
              <a:ln w="5978" cap="flat">
                <a:noFill/>
                <a:prstDash val="solid"/>
                <a:miter/>
              </a:ln>
            </p:spPr>
            <p:txBody>
              <a:bodyPr rtlCol="0" anchor="ctr"/>
              <a:lstStyle/>
              <a:p>
                <a:endParaRPr lang="en-GB"/>
              </a:p>
            </p:txBody>
          </p:sp>
        </p:grpSp>
        <p:grpSp>
          <p:nvGrpSpPr>
            <p:cNvPr id="1136" name="Graphic 3">
              <a:extLst>
                <a:ext uri="{FF2B5EF4-FFF2-40B4-BE49-F238E27FC236}">
                  <a16:creationId xmlns:a16="http://schemas.microsoft.com/office/drawing/2014/main" id="{6FF96169-0424-4062-AACB-B586C7FAA246}"/>
                </a:ext>
              </a:extLst>
            </p:cNvPr>
            <p:cNvGrpSpPr/>
            <p:nvPr/>
          </p:nvGrpSpPr>
          <p:grpSpPr>
            <a:xfrm>
              <a:off x="4592377" y="4697328"/>
              <a:ext cx="369526" cy="368495"/>
              <a:chOff x="4592377" y="4697328"/>
              <a:chExt cx="369526" cy="368495"/>
            </a:xfrm>
            <a:grpFill/>
          </p:grpSpPr>
          <p:sp>
            <p:nvSpPr>
              <p:cNvPr id="1992" name="Vrije vorm: vorm 1991">
                <a:extLst>
                  <a:ext uri="{FF2B5EF4-FFF2-40B4-BE49-F238E27FC236}">
                    <a16:creationId xmlns:a16="http://schemas.microsoft.com/office/drawing/2014/main" id="{4B89BF6F-E5EB-405F-91BF-251421F59233}"/>
                  </a:ext>
                </a:extLst>
              </p:cNvPr>
              <p:cNvSpPr/>
              <p:nvPr/>
            </p:nvSpPr>
            <p:spPr>
              <a:xfrm>
                <a:off x="4600152" y="4705133"/>
                <a:ext cx="353998" cy="352862"/>
              </a:xfrm>
              <a:custGeom>
                <a:avLst/>
                <a:gdLst>
                  <a:gd name="connsiteX0" fmla="*/ 353999 w 353998"/>
                  <a:gd name="connsiteY0" fmla="*/ 2153 h 352862"/>
                  <a:gd name="connsiteX1" fmla="*/ 2153 w 353998"/>
                  <a:gd name="connsiteY1" fmla="*/ 352863 h 352862"/>
                  <a:gd name="connsiteX2" fmla="*/ 0 w 353998"/>
                  <a:gd name="connsiteY2" fmla="*/ 350650 h 352862"/>
                  <a:gd name="connsiteX3" fmla="*/ 351846 w 353998"/>
                  <a:gd name="connsiteY3" fmla="*/ 0 h 352862"/>
                </a:gdLst>
                <a:ahLst/>
                <a:cxnLst>
                  <a:cxn ang="0">
                    <a:pos x="connsiteX0" y="connsiteY0"/>
                  </a:cxn>
                  <a:cxn ang="0">
                    <a:pos x="connsiteX1" y="connsiteY1"/>
                  </a:cxn>
                  <a:cxn ang="0">
                    <a:pos x="connsiteX2" y="connsiteY2"/>
                  </a:cxn>
                  <a:cxn ang="0">
                    <a:pos x="connsiteX3" y="connsiteY3"/>
                  </a:cxn>
                </a:cxnLst>
                <a:rect l="l" t="t" r="r" b="b"/>
                <a:pathLst>
                  <a:path w="353998" h="352862">
                    <a:moveTo>
                      <a:pt x="353999" y="2153"/>
                    </a:moveTo>
                    <a:lnTo>
                      <a:pt x="2153" y="352863"/>
                    </a:lnTo>
                    <a:lnTo>
                      <a:pt x="0" y="350650"/>
                    </a:lnTo>
                    <a:lnTo>
                      <a:pt x="351846" y="0"/>
                    </a:lnTo>
                    <a:close/>
                  </a:path>
                </a:pathLst>
              </a:custGeom>
              <a:grpFill/>
              <a:ln w="5978" cap="flat">
                <a:noFill/>
                <a:prstDash val="solid"/>
                <a:miter/>
              </a:ln>
            </p:spPr>
            <p:txBody>
              <a:bodyPr rtlCol="0" anchor="ctr"/>
              <a:lstStyle/>
              <a:p>
                <a:endParaRPr lang="en-GB"/>
              </a:p>
            </p:txBody>
          </p:sp>
          <p:sp>
            <p:nvSpPr>
              <p:cNvPr id="1993" name="Vrije vorm: vorm 1992">
                <a:extLst>
                  <a:ext uri="{FF2B5EF4-FFF2-40B4-BE49-F238E27FC236}">
                    <a16:creationId xmlns:a16="http://schemas.microsoft.com/office/drawing/2014/main" id="{4DB3B249-1406-40AD-BCA8-58D07DEBFAA4}"/>
                  </a:ext>
                </a:extLst>
              </p:cNvPr>
              <p:cNvSpPr/>
              <p:nvPr/>
            </p:nvSpPr>
            <p:spPr>
              <a:xfrm>
                <a:off x="4943565" y="4697328"/>
                <a:ext cx="18338" cy="18421"/>
              </a:xfrm>
              <a:custGeom>
                <a:avLst/>
                <a:gdLst>
                  <a:gd name="connsiteX0" fmla="*/ 2691 w 18338"/>
                  <a:gd name="connsiteY0" fmla="*/ 2662 h 18421"/>
                  <a:gd name="connsiteX1" fmla="*/ 15670 w 18338"/>
                  <a:gd name="connsiteY1" fmla="*/ 2721 h 18421"/>
                  <a:gd name="connsiteX2" fmla="*/ 15670 w 18338"/>
                  <a:gd name="connsiteY2" fmla="*/ 15760 h 18421"/>
                  <a:gd name="connsiteX3" fmla="*/ 2691 w 18338"/>
                  <a:gd name="connsiteY3" fmla="*/ 15700 h 18421"/>
                  <a:gd name="connsiteX4" fmla="*/ 2691 w 18338"/>
                  <a:gd name="connsiteY4" fmla="*/ 266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1">
                    <a:moveTo>
                      <a:pt x="2691" y="2662"/>
                    </a:moveTo>
                    <a:cubicBezTo>
                      <a:pt x="6280" y="-927"/>
                      <a:pt x="12081" y="-867"/>
                      <a:pt x="15670" y="2721"/>
                    </a:cubicBezTo>
                    <a:cubicBezTo>
                      <a:pt x="19258" y="6370"/>
                      <a:pt x="19198" y="12171"/>
                      <a:pt x="15670" y="15760"/>
                    </a:cubicBezTo>
                    <a:cubicBezTo>
                      <a:pt x="12081" y="19348"/>
                      <a:pt x="6280" y="19288"/>
                      <a:pt x="2691" y="15700"/>
                    </a:cubicBezTo>
                    <a:cubicBezTo>
                      <a:pt x="-897" y="12052"/>
                      <a:pt x="-897" y="6190"/>
                      <a:pt x="2691" y="2662"/>
                    </a:cubicBezTo>
                    <a:close/>
                  </a:path>
                </a:pathLst>
              </a:custGeom>
              <a:grpFill/>
              <a:ln w="5978" cap="flat">
                <a:noFill/>
                <a:prstDash val="solid"/>
                <a:miter/>
              </a:ln>
            </p:spPr>
            <p:txBody>
              <a:bodyPr rtlCol="0" anchor="ctr"/>
              <a:lstStyle/>
              <a:p>
                <a:endParaRPr lang="en-GB"/>
              </a:p>
            </p:txBody>
          </p:sp>
          <p:sp>
            <p:nvSpPr>
              <p:cNvPr id="1994" name="Vrije vorm: vorm 1993">
                <a:extLst>
                  <a:ext uri="{FF2B5EF4-FFF2-40B4-BE49-F238E27FC236}">
                    <a16:creationId xmlns:a16="http://schemas.microsoft.com/office/drawing/2014/main" id="{BF7B573A-729C-48D8-A32D-62B67771BA73}"/>
                  </a:ext>
                </a:extLst>
              </p:cNvPr>
              <p:cNvSpPr/>
              <p:nvPr/>
            </p:nvSpPr>
            <p:spPr>
              <a:xfrm>
                <a:off x="4592377" y="5047358"/>
                <a:ext cx="18360" cy="18465"/>
              </a:xfrm>
              <a:custGeom>
                <a:avLst/>
                <a:gdLst>
                  <a:gd name="connsiteX0" fmla="*/ 2691 w 18360"/>
                  <a:gd name="connsiteY0" fmla="*/ 2684 h 18465"/>
                  <a:gd name="connsiteX1" fmla="*/ 2691 w 18360"/>
                  <a:gd name="connsiteY1" fmla="*/ 15722 h 18465"/>
                  <a:gd name="connsiteX2" fmla="*/ 15670 w 18360"/>
                  <a:gd name="connsiteY2" fmla="*/ 15782 h 18465"/>
                  <a:gd name="connsiteX3" fmla="*/ 15670 w 18360"/>
                  <a:gd name="connsiteY3" fmla="*/ 2744 h 18465"/>
                  <a:gd name="connsiteX4" fmla="*/ 2691 w 18360"/>
                  <a:gd name="connsiteY4" fmla="*/ 2684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65">
                    <a:moveTo>
                      <a:pt x="2691" y="2684"/>
                    </a:moveTo>
                    <a:cubicBezTo>
                      <a:pt x="-897" y="6272"/>
                      <a:pt x="-897" y="12074"/>
                      <a:pt x="2691" y="15722"/>
                    </a:cubicBezTo>
                    <a:cubicBezTo>
                      <a:pt x="6280" y="19370"/>
                      <a:pt x="12081" y="19370"/>
                      <a:pt x="15670" y="15782"/>
                    </a:cubicBezTo>
                    <a:cubicBezTo>
                      <a:pt x="19258" y="12193"/>
                      <a:pt x="19258" y="6392"/>
                      <a:pt x="15670" y="2744"/>
                    </a:cubicBezTo>
                    <a:cubicBezTo>
                      <a:pt x="12081" y="-905"/>
                      <a:pt x="6280" y="-905"/>
                      <a:pt x="2691" y="2684"/>
                    </a:cubicBezTo>
                    <a:close/>
                  </a:path>
                </a:pathLst>
              </a:custGeom>
              <a:grpFill/>
              <a:ln w="5978" cap="flat">
                <a:noFill/>
                <a:prstDash val="solid"/>
                <a:miter/>
              </a:ln>
            </p:spPr>
            <p:txBody>
              <a:bodyPr rtlCol="0" anchor="ctr"/>
              <a:lstStyle/>
              <a:p>
                <a:endParaRPr lang="en-GB"/>
              </a:p>
            </p:txBody>
          </p:sp>
        </p:grpSp>
        <p:grpSp>
          <p:nvGrpSpPr>
            <p:cNvPr id="1137" name="Graphic 3">
              <a:extLst>
                <a:ext uri="{FF2B5EF4-FFF2-40B4-BE49-F238E27FC236}">
                  <a16:creationId xmlns:a16="http://schemas.microsoft.com/office/drawing/2014/main" id="{E64741A3-9F6D-4FFA-8A71-1139E727ADB1}"/>
                </a:ext>
              </a:extLst>
            </p:cNvPr>
            <p:cNvGrpSpPr/>
            <p:nvPr/>
          </p:nvGrpSpPr>
          <p:grpSpPr>
            <a:xfrm>
              <a:off x="4565148" y="4531081"/>
              <a:ext cx="249565" cy="179926"/>
              <a:chOff x="4565148" y="4531081"/>
              <a:chExt cx="249565" cy="179926"/>
            </a:xfrm>
            <a:grpFill/>
          </p:grpSpPr>
          <p:sp>
            <p:nvSpPr>
              <p:cNvPr id="1989" name="Vrije vorm: vorm 1988">
                <a:extLst>
                  <a:ext uri="{FF2B5EF4-FFF2-40B4-BE49-F238E27FC236}">
                    <a16:creationId xmlns:a16="http://schemas.microsoft.com/office/drawing/2014/main" id="{E16DD8EE-596E-467B-9A4B-36DF3344A3E2}"/>
                  </a:ext>
                </a:extLst>
              </p:cNvPr>
              <p:cNvSpPr/>
              <p:nvPr/>
            </p:nvSpPr>
            <p:spPr>
              <a:xfrm>
                <a:off x="4573059" y="4538750"/>
                <a:ext cx="233786" cy="164589"/>
              </a:xfrm>
              <a:custGeom>
                <a:avLst/>
                <a:gdLst>
                  <a:gd name="connsiteX0" fmla="*/ 233787 w 233786"/>
                  <a:gd name="connsiteY0" fmla="*/ 2512 h 164589"/>
                  <a:gd name="connsiteX1" fmla="*/ 1734 w 233786"/>
                  <a:gd name="connsiteY1" fmla="*/ 164590 h 164589"/>
                  <a:gd name="connsiteX2" fmla="*/ 0 w 233786"/>
                  <a:gd name="connsiteY2" fmla="*/ 162077 h 164589"/>
                  <a:gd name="connsiteX3" fmla="*/ 231992 w 233786"/>
                  <a:gd name="connsiteY3" fmla="*/ 0 h 164589"/>
                </a:gdLst>
                <a:ahLst/>
                <a:cxnLst>
                  <a:cxn ang="0">
                    <a:pos x="connsiteX0" y="connsiteY0"/>
                  </a:cxn>
                  <a:cxn ang="0">
                    <a:pos x="connsiteX1" y="connsiteY1"/>
                  </a:cxn>
                  <a:cxn ang="0">
                    <a:pos x="connsiteX2" y="connsiteY2"/>
                  </a:cxn>
                  <a:cxn ang="0">
                    <a:pos x="connsiteX3" y="connsiteY3"/>
                  </a:cxn>
                </a:cxnLst>
                <a:rect l="l" t="t" r="r" b="b"/>
                <a:pathLst>
                  <a:path w="233786" h="164589">
                    <a:moveTo>
                      <a:pt x="233787" y="2512"/>
                    </a:moveTo>
                    <a:lnTo>
                      <a:pt x="1734" y="164590"/>
                    </a:lnTo>
                    <a:lnTo>
                      <a:pt x="0" y="162077"/>
                    </a:lnTo>
                    <a:lnTo>
                      <a:pt x="231992" y="0"/>
                    </a:lnTo>
                    <a:close/>
                  </a:path>
                </a:pathLst>
              </a:custGeom>
              <a:grpFill/>
              <a:ln w="5978" cap="flat">
                <a:noFill/>
                <a:prstDash val="solid"/>
                <a:miter/>
              </a:ln>
            </p:spPr>
            <p:txBody>
              <a:bodyPr rtlCol="0" anchor="ctr"/>
              <a:lstStyle/>
              <a:p>
                <a:endParaRPr lang="en-GB"/>
              </a:p>
            </p:txBody>
          </p:sp>
          <p:sp>
            <p:nvSpPr>
              <p:cNvPr id="1990" name="Vrije vorm: vorm 1989">
                <a:extLst>
                  <a:ext uri="{FF2B5EF4-FFF2-40B4-BE49-F238E27FC236}">
                    <a16:creationId xmlns:a16="http://schemas.microsoft.com/office/drawing/2014/main" id="{9A84CF9D-88BE-43D7-A996-A92CCD99D784}"/>
                  </a:ext>
                </a:extLst>
              </p:cNvPr>
              <p:cNvSpPr/>
              <p:nvPr/>
            </p:nvSpPr>
            <p:spPr>
              <a:xfrm>
                <a:off x="4796422" y="4531081"/>
                <a:ext cx="18290" cy="18387"/>
              </a:xfrm>
              <a:custGeom>
                <a:avLst/>
                <a:gdLst>
                  <a:gd name="connsiteX0" fmla="*/ 3904 w 18290"/>
                  <a:gd name="connsiteY0" fmla="*/ 1628 h 18387"/>
                  <a:gd name="connsiteX1" fmla="*/ 16643 w 18290"/>
                  <a:gd name="connsiteY1" fmla="*/ 3961 h 18387"/>
                  <a:gd name="connsiteX2" fmla="*/ 14370 w 18290"/>
                  <a:gd name="connsiteY2" fmla="*/ 16759 h 18387"/>
                  <a:gd name="connsiteX3" fmla="*/ 1631 w 18290"/>
                  <a:gd name="connsiteY3" fmla="*/ 14427 h 18387"/>
                  <a:gd name="connsiteX4" fmla="*/ 3904 w 18290"/>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387">
                    <a:moveTo>
                      <a:pt x="3904" y="1628"/>
                    </a:moveTo>
                    <a:cubicBezTo>
                      <a:pt x="8031" y="-1243"/>
                      <a:pt x="13772" y="-226"/>
                      <a:pt x="16643" y="3961"/>
                    </a:cubicBezTo>
                    <a:cubicBezTo>
                      <a:pt x="19514" y="8147"/>
                      <a:pt x="18557" y="13888"/>
                      <a:pt x="14370" y="16759"/>
                    </a:cubicBezTo>
                    <a:cubicBezTo>
                      <a:pt x="10244" y="19630"/>
                      <a:pt x="4502" y="18613"/>
                      <a:pt x="1631" y="14427"/>
                    </a:cubicBezTo>
                    <a:cubicBezTo>
                      <a:pt x="-1239" y="10240"/>
                      <a:pt x="-223" y="4499"/>
                      <a:pt x="3904" y="1628"/>
                    </a:cubicBezTo>
                    <a:close/>
                  </a:path>
                </a:pathLst>
              </a:custGeom>
              <a:grpFill/>
              <a:ln w="5978" cap="flat">
                <a:noFill/>
                <a:prstDash val="solid"/>
                <a:miter/>
              </a:ln>
            </p:spPr>
            <p:txBody>
              <a:bodyPr rtlCol="0" anchor="ctr"/>
              <a:lstStyle/>
              <a:p>
                <a:endParaRPr lang="en-GB"/>
              </a:p>
            </p:txBody>
          </p:sp>
          <p:sp>
            <p:nvSpPr>
              <p:cNvPr id="1991" name="Vrije vorm: vorm 1990">
                <a:extLst>
                  <a:ext uri="{FF2B5EF4-FFF2-40B4-BE49-F238E27FC236}">
                    <a16:creationId xmlns:a16="http://schemas.microsoft.com/office/drawing/2014/main" id="{65F59302-EBA0-424D-9E3E-71DF680DAED0}"/>
                  </a:ext>
                </a:extLst>
              </p:cNvPr>
              <p:cNvSpPr/>
              <p:nvPr/>
            </p:nvSpPr>
            <p:spPr>
              <a:xfrm>
                <a:off x="4565148" y="4692620"/>
                <a:ext cx="18274" cy="18387"/>
              </a:xfrm>
              <a:custGeom>
                <a:avLst/>
                <a:gdLst>
                  <a:gd name="connsiteX0" fmla="*/ 3904 w 18274"/>
                  <a:gd name="connsiteY0" fmla="*/ 1628 h 18387"/>
                  <a:gd name="connsiteX1" fmla="*/ 1631 w 18274"/>
                  <a:gd name="connsiteY1" fmla="*/ 14427 h 18387"/>
                  <a:gd name="connsiteX2" fmla="*/ 14370 w 18274"/>
                  <a:gd name="connsiteY2" fmla="*/ 16759 h 18387"/>
                  <a:gd name="connsiteX3" fmla="*/ 16643 w 18274"/>
                  <a:gd name="connsiteY3" fmla="*/ 3961 h 18387"/>
                  <a:gd name="connsiteX4" fmla="*/ 3904 w 18274"/>
                  <a:gd name="connsiteY4" fmla="*/ 1628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387">
                    <a:moveTo>
                      <a:pt x="3904" y="1628"/>
                    </a:moveTo>
                    <a:cubicBezTo>
                      <a:pt x="-223" y="4499"/>
                      <a:pt x="-1239" y="10240"/>
                      <a:pt x="1631" y="14427"/>
                    </a:cubicBezTo>
                    <a:cubicBezTo>
                      <a:pt x="4502" y="18613"/>
                      <a:pt x="10244" y="19630"/>
                      <a:pt x="14370" y="16759"/>
                    </a:cubicBezTo>
                    <a:cubicBezTo>
                      <a:pt x="18497" y="13888"/>
                      <a:pt x="19514" y="8147"/>
                      <a:pt x="16643" y="3961"/>
                    </a:cubicBezTo>
                    <a:cubicBezTo>
                      <a:pt x="13772" y="-226"/>
                      <a:pt x="8031" y="-1243"/>
                      <a:pt x="3904" y="1628"/>
                    </a:cubicBezTo>
                    <a:close/>
                  </a:path>
                </a:pathLst>
              </a:custGeom>
              <a:grpFill/>
              <a:ln w="5978" cap="flat">
                <a:noFill/>
                <a:prstDash val="solid"/>
                <a:miter/>
              </a:ln>
            </p:spPr>
            <p:txBody>
              <a:bodyPr rtlCol="0" anchor="ctr"/>
              <a:lstStyle/>
              <a:p>
                <a:endParaRPr lang="en-GB"/>
              </a:p>
            </p:txBody>
          </p:sp>
        </p:grpSp>
        <p:grpSp>
          <p:nvGrpSpPr>
            <p:cNvPr id="1138" name="Graphic 3">
              <a:extLst>
                <a:ext uri="{FF2B5EF4-FFF2-40B4-BE49-F238E27FC236}">
                  <a16:creationId xmlns:a16="http://schemas.microsoft.com/office/drawing/2014/main" id="{6504A5DD-061E-463A-8B1D-E72C6465E2D2}"/>
                </a:ext>
              </a:extLst>
            </p:cNvPr>
            <p:cNvGrpSpPr/>
            <p:nvPr/>
          </p:nvGrpSpPr>
          <p:grpSpPr>
            <a:xfrm>
              <a:off x="3814665" y="2124432"/>
              <a:ext cx="87601" cy="58292"/>
              <a:chOff x="3814665" y="2124432"/>
              <a:chExt cx="87601" cy="58292"/>
            </a:xfrm>
            <a:grpFill/>
          </p:grpSpPr>
          <p:sp>
            <p:nvSpPr>
              <p:cNvPr id="1986" name="Vrije vorm: vorm 1985">
                <a:extLst>
                  <a:ext uri="{FF2B5EF4-FFF2-40B4-BE49-F238E27FC236}">
                    <a16:creationId xmlns:a16="http://schemas.microsoft.com/office/drawing/2014/main" id="{E77A69FC-3F3D-42DA-AF9E-6E010253DE8C}"/>
                  </a:ext>
                </a:extLst>
              </p:cNvPr>
              <p:cNvSpPr/>
              <p:nvPr/>
            </p:nvSpPr>
            <p:spPr>
              <a:xfrm>
                <a:off x="3822658" y="2132108"/>
                <a:ext cx="71589" cy="42941"/>
              </a:xfrm>
              <a:custGeom>
                <a:avLst/>
                <a:gdLst>
                  <a:gd name="connsiteX0" fmla="*/ 71589 w 71589"/>
                  <a:gd name="connsiteY0" fmla="*/ 40310 h 42941"/>
                  <a:gd name="connsiteX1" fmla="*/ 70094 w 71589"/>
                  <a:gd name="connsiteY1" fmla="*/ 42942 h 42941"/>
                  <a:gd name="connsiteX2" fmla="*/ 0 w 71589"/>
                  <a:gd name="connsiteY2" fmla="*/ 2631 h 42941"/>
                  <a:gd name="connsiteX3" fmla="*/ 1495 w 71589"/>
                  <a:gd name="connsiteY3" fmla="*/ 0 h 42941"/>
                </a:gdLst>
                <a:ahLst/>
                <a:cxnLst>
                  <a:cxn ang="0">
                    <a:pos x="connsiteX0" y="connsiteY0"/>
                  </a:cxn>
                  <a:cxn ang="0">
                    <a:pos x="connsiteX1" y="connsiteY1"/>
                  </a:cxn>
                  <a:cxn ang="0">
                    <a:pos x="connsiteX2" y="connsiteY2"/>
                  </a:cxn>
                  <a:cxn ang="0">
                    <a:pos x="connsiteX3" y="connsiteY3"/>
                  </a:cxn>
                </a:cxnLst>
                <a:rect l="l" t="t" r="r" b="b"/>
                <a:pathLst>
                  <a:path w="71589" h="42941">
                    <a:moveTo>
                      <a:pt x="71589" y="40310"/>
                    </a:moveTo>
                    <a:lnTo>
                      <a:pt x="70094" y="42942"/>
                    </a:lnTo>
                    <a:lnTo>
                      <a:pt x="0" y="2631"/>
                    </a:lnTo>
                    <a:lnTo>
                      <a:pt x="1495" y="0"/>
                    </a:lnTo>
                    <a:close/>
                  </a:path>
                </a:pathLst>
              </a:custGeom>
              <a:grpFill/>
              <a:ln w="5978" cap="flat">
                <a:noFill/>
                <a:prstDash val="solid"/>
                <a:miter/>
              </a:ln>
            </p:spPr>
            <p:txBody>
              <a:bodyPr rtlCol="0" anchor="ctr"/>
              <a:lstStyle/>
              <a:p>
                <a:endParaRPr lang="en-GB"/>
              </a:p>
            </p:txBody>
          </p:sp>
          <p:sp>
            <p:nvSpPr>
              <p:cNvPr id="1987" name="Vrije vorm: vorm 1986">
                <a:extLst>
                  <a:ext uri="{FF2B5EF4-FFF2-40B4-BE49-F238E27FC236}">
                    <a16:creationId xmlns:a16="http://schemas.microsoft.com/office/drawing/2014/main" id="{C4485336-F71D-4548-9DBB-B3CB46E680C4}"/>
                  </a:ext>
                </a:extLst>
              </p:cNvPr>
              <p:cNvSpPr/>
              <p:nvPr/>
            </p:nvSpPr>
            <p:spPr>
              <a:xfrm>
                <a:off x="3814665" y="2124432"/>
                <a:ext cx="18318" cy="18427"/>
              </a:xfrm>
              <a:custGeom>
                <a:avLst/>
                <a:gdLst>
                  <a:gd name="connsiteX0" fmla="*/ 4644 w 18318"/>
                  <a:gd name="connsiteY0" fmla="*/ 17185 h 18427"/>
                  <a:gd name="connsiteX1" fmla="*/ 1175 w 18318"/>
                  <a:gd name="connsiteY1" fmla="*/ 4625 h 18427"/>
                  <a:gd name="connsiteX2" fmla="*/ 13675 w 18318"/>
                  <a:gd name="connsiteY2" fmla="*/ 1216 h 18427"/>
                  <a:gd name="connsiteX3" fmla="*/ 17143 w 18318"/>
                  <a:gd name="connsiteY3" fmla="*/ 13776 h 18427"/>
                  <a:gd name="connsiteX4" fmla="*/ 4644 w 18318"/>
                  <a:gd name="connsiteY4" fmla="*/ 17185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27">
                    <a:moveTo>
                      <a:pt x="4644" y="17185"/>
                    </a:moveTo>
                    <a:cubicBezTo>
                      <a:pt x="218" y="14673"/>
                      <a:pt x="-1277" y="9051"/>
                      <a:pt x="1175" y="4625"/>
                    </a:cubicBezTo>
                    <a:cubicBezTo>
                      <a:pt x="3687" y="200"/>
                      <a:pt x="9249" y="-1295"/>
                      <a:pt x="13675" y="1216"/>
                    </a:cubicBezTo>
                    <a:cubicBezTo>
                      <a:pt x="18101" y="3728"/>
                      <a:pt x="19596" y="9350"/>
                      <a:pt x="17143" y="13776"/>
                    </a:cubicBezTo>
                    <a:cubicBezTo>
                      <a:pt x="14632" y="18202"/>
                      <a:pt x="9010" y="19757"/>
                      <a:pt x="4644" y="17185"/>
                    </a:cubicBezTo>
                    <a:close/>
                  </a:path>
                </a:pathLst>
              </a:custGeom>
              <a:grpFill/>
              <a:ln w="5978" cap="flat">
                <a:noFill/>
                <a:prstDash val="solid"/>
                <a:miter/>
              </a:ln>
            </p:spPr>
            <p:txBody>
              <a:bodyPr rtlCol="0" anchor="ctr"/>
              <a:lstStyle/>
              <a:p>
                <a:endParaRPr lang="en-GB"/>
              </a:p>
            </p:txBody>
          </p:sp>
          <p:sp>
            <p:nvSpPr>
              <p:cNvPr id="1988" name="Vrije vorm: vorm 1987">
                <a:extLst>
                  <a:ext uri="{FF2B5EF4-FFF2-40B4-BE49-F238E27FC236}">
                    <a16:creationId xmlns:a16="http://schemas.microsoft.com/office/drawing/2014/main" id="{29A01E58-0C8C-46AF-8A5F-F6B369285599}"/>
                  </a:ext>
                </a:extLst>
              </p:cNvPr>
              <p:cNvSpPr/>
              <p:nvPr/>
            </p:nvSpPr>
            <p:spPr>
              <a:xfrm>
                <a:off x="3883921" y="2164323"/>
                <a:ext cx="18344" cy="18401"/>
              </a:xfrm>
              <a:custGeom>
                <a:avLst/>
                <a:gdLst>
                  <a:gd name="connsiteX0" fmla="*/ 4644 w 18344"/>
                  <a:gd name="connsiteY0" fmla="*/ 17185 h 18401"/>
                  <a:gd name="connsiteX1" fmla="*/ 17143 w 18344"/>
                  <a:gd name="connsiteY1" fmla="*/ 13776 h 18401"/>
                  <a:gd name="connsiteX2" fmla="*/ 13675 w 18344"/>
                  <a:gd name="connsiteY2" fmla="*/ 1216 h 18401"/>
                  <a:gd name="connsiteX3" fmla="*/ 1175 w 18344"/>
                  <a:gd name="connsiteY3" fmla="*/ 4625 h 18401"/>
                  <a:gd name="connsiteX4" fmla="*/ 4644 w 18344"/>
                  <a:gd name="connsiteY4" fmla="*/ 17185 h 1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01">
                    <a:moveTo>
                      <a:pt x="4644" y="17185"/>
                    </a:moveTo>
                    <a:cubicBezTo>
                      <a:pt x="9069" y="19697"/>
                      <a:pt x="14632" y="18202"/>
                      <a:pt x="17143" y="13776"/>
                    </a:cubicBezTo>
                    <a:cubicBezTo>
                      <a:pt x="19655" y="9350"/>
                      <a:pt x="18100" y="3728"/>
                      <a:pt x="13675" y="1216"/>
                    </a:cubicBezTo>
                    <a:cubicBezTo>
                      <a:pt x="9249" y="-1295"/>
                      <a:pt x="3687" y="200"/>
                      <a:pt x="1175" y="4625"/>
                    </a:cubicBezTo>
                    <a:cubicBezTo>
                      <a:pt x="-1277" y="8991"/>
                      <a:pt x="218" y="14613"/>
                      <a:pt x="4644" y="17185"/>
                    </a:cubicBezTo>
                    <a:close/>
                  </a:path>
                </a:pathLst>
              </a:custGeom>
              <a:grpFill/>
              <a:ln w="5978" cap="flat">
                <a:noFill/>
                <a:prstDash val="solid"/>
                <a:miter/>
              </a:ln>
            </p:spPr>
            <p:txBody>
              <a:bodyPr rtlCol="0" anchor="ctr"/>
              <a:lstStyle/>
              <a:p>
                <a:endParaRPr lang="en-GB"/>
              </a:p>
            </p:txBody>
          </p:sp>
        </p:grpSp>
        <p:grpSp>
          <p:nvGrpSpPr>
            <p:cNvPr id="1139" name="Graphic 3">
              <a:extLst>
                <a:ext uri="{FF2B5EF4-FFF2-40B4-BE49-F238E27FC236}">
                  <a16:creationId xmlns:a16="http://schemas.microsoft.com/office/drawing/2014/main" id="{0DD41744-4C7A-43F4-A8E8-8BD6EF1262AA}"/>
                </a:ext>
              </a:extLst>
            </p:cNvPr>
            <p:cNvGrpSpPr/>
            <p:nvPr/>
          </p:nvGrpSpPr>
          <p:grpSpPr>
            <a:xfrm>
              <a:off x="4707610" y="4767506"/>
              <a:ext cx="104334" cy="111793"/>
              <a:chOff x="4707610" y="4767506"/>
              <a:chExt cx="104334" cy="111793"/>
            </a:xfrm>
            <a:grpFill/>
          </p:grpSpPr>
          <p:sp>
            <p:nvSpPr>
              <p:cNvPr id="1983" name="Vrije vorm: vorm 1982">
                <a:extLst>
                  <a:ext uri="{FF2B5EF4-FFF2-40B4-BE49-F238E27FC236}">
                    <a16:creationId xmlns:a16="http://schemas.microsoft.com/office/drawing/2014/main" id="{259BD057-0B76-4AD6-8920-298818480EFA}"/>
                  </a:ext>
                </a:extLst>
              </p:cNvPr>
              <p:cNvSpPr/>
              <p:nvPr/>
            </p:nvSpPr>
            <p:spPr>
              <a:xfrm>
                <a:off x="4715400" y="4775347"/>
                <a:ext cx="88813" cy="96110"/>
              </a:xfrm>
              <a:custGeom>
                <a:avLst/>
                <a:gdLst>
                  <a:gd name="connsiteX0" fmla="*/ 88814 w 88813"/>
                  <a:gd name="connsiteY0" fmla="*/ 2093 h 96110"/>
                  <a:gd name="connsiteX1" fmla="*/ 2213 w 88813"/>
                  <a:gd name="connsiteY1" fmla="*/ 96110 h 96110"/>
                  <a:gd name="connsiteX2" fmla="*/ 0 w 88813"/>
                  <a:gd name="connsiteY2" fmla="*/ 94017 h 96110"/>
                  <a:gd name="connsiteX3" fmla="*/ 86601 w 88813"/>
                  <a:gd name="connsiteY3" fmla="*/ 0 h 96110"/>
                </a:gdLst>
                <a:ahLst/>
                <a:cxnLst>
                  <a:cxn ang="0">
                    <a:pos x="connsiteX0" y="connsiteY0"/>
                  </a:cxn>
                  <a:cxn ang="0">
                    <a:pos x="connsiteX1" y="connsiteY1"/>
                  </a:cxn>
                  <a:cxn ang="0">
                    <a:pos x="connsiteX2" y="connsiteY2"/>
                  </a:cxn>
                  <a:cxn ang="0">
                    <a:pos x="connsiteX3" y="connsiteY3"/>
                  </a:cxn>
                </a:cxnLst>
                <a:rect l="l" t="t" r="r" b="b"/>
                <a:pathLst>
                  <a:path w="88813" h="96110">
                    <a:moveTo>
                      <a:pt x="88814" y="2093"/>
                    </a:moveTo>
                    <a:lnTo>
                      <a:pt x="2213" y="96110"/>
                    </a:lnTo>
                    <a:lnTo>
                      <a:pt x="0" y="94017"/>
                    </a:lnTo>
                    <a:lnTo>
                      <a:pt x="86601" y="0"/>
                    </a:lnTo>
                    <a:close/>
                  </a:path>
                </a:pathLst>
              </a:custGeom>
              <a:grpFill/>
              <a:ln w="5978" cap="flat">
                <a:noFill/>
                <a:prstDash val="solid"/>
                <a:miter/>
              </a:ln>
            </p:spPr>
            <p:txBody>
              <a:bodyPr rtlCol="0" anchor="ctr"/>
              <a:lstStyle/>
              <a:p>
                <a:endParaRPr lang="en-GB"/>
              </a:p>
            </p:txBody>
          </p:sp>
          <p:sp>
            <p:nvSpPr>
              <p:cNvPr id="1984" name="Vrije vorm: vorm 1983">
                <a:extLst>
                  <a:ext uri="{FF2B5EF4-FFF2-40B4-BE49-F238E27FC236}">
                    <a16:creationId xmlns:a16="http://schemas.microsoft.com/office/drawing/2014/main" id="{CAE3F671-EADE-428F-8A45-91A505929FBE}"/>
                  </a:ext>
                </a:extLst>
              </p:cNvPr>
              <p:cNvSpPr/>
              <p:nvPr/>
            </p:nvSpPr>
            <p:spPr>
              <a:xfrm>
                <a:off x="4707610" y="4860865"/>
                <a:ext cx="18376" cy="18434"/>
              </a:xfrm>
              <a:custGeom>
                <a:avLst/>
                <a:gdLst>
                  <a:gd name="connsiteX0" fmla="*/ 15924 w 18376"/>
                  <a:gd name="connsiteY0" fmla="*/ 15497 h 18434"/>
                  <a:gd name="connsiteX1" fmla="*/ 2946 w 18376"/>
                  <a:gd name="connsiteY1" fmla="*/ 15975 h 18434"/>
                  <a:gd name="connsiteX2" fmla="*/ 2408 w 18376"/>
                  <a:gd name="connsiteY2" fmla="*/ 2937 h 18434"/>
                  <a:gd name="connsiteX3" fmla="*/ 15386 w 18376"/>
                  <a:gd name="connsiteY3" fmla="*/ 2459 h 18434"/>
                  <a:gd name="connsiteX4" fmla="*/ 15924 w 18376"/>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4">
                    <a:moveTo>
                      <a:pt x="15924" y="15497"/>
                    </a:moveTo>
                    <a:cubicBezTo>
                      <a:pt x="12515" y="19205"/>
                      <a:pt x="6714" y="19444"/>
                      <a:pt x="2946" y="15975"/>
                    </a:cubicBezTo>
                    <a:cubicBezTo>
                      <a:pt x="-762" y="12507"/>
                      <a:pt x="-1001" y="6705"/>
                      <a:pt x="2408" y="2937"/>
                    </a:cubicBezTo>
                    <a:cubicBezTo>
                      <a:pt x="5817" y="-771"/>
                      <a:pt x="11618" y="-1010"/>
                      <a:pt x="15386" y="2459"/>
                    </a:cubicBezTo>
                    <a:cubicBezTo>
                      <a:pt x="19154" y="5928"/>
                      <a:pt x="19393" y="11729"/>
                      <a:pt x="15924" y="15497"/>
                    </a:cubicBezTo>
                    <a:close/>
                  </a:path>
                </a:pathLst>
              </a:custGeom>
              <a:grpFill/>
              <a:ln w="5978" cap="flat">
                <a:noFill/>
                <a:prstDash val="solid"/>
                <a:miter/>
              </a:ln>
            </p:spPr>
            <p:txBody>
              <a:bodyPr rtlCol="0" anchor="ctr"/>
              <a:lstStyle/>
              <a:p>
                <a:endParaRPr lang="en-GB"/>
              </a:p>
            </p:txBody>
          </p:sp>
          <p:sp>
            <p:nvSpPr>
              <p:cNvPr id="1985" name="Vrije vorm: vorm 1984">
                <a:extLst>
                  <a:ext uri="{FF2B5EF4-FFF2-40B4-BE49-F238E27FC236}">
                    <a16:creationId xmlns:a16="http://schemas.microsoft.com/office/drawing/2014/main" id="{ACB794FA-74BF-49C8-9FD0-F380FDE3BF66}"/>
                  </a:ext>
                </a:extLst>
              </p:cNvPr>
              <p:cNvSpPr/>
              <p:nvPr/>
            </p:nvSpPr>
            <p:spPr>
              <a:xfrm>
                <a:off x="4793612" y="4767506"/>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6" y="-771"/>
                      <a:pt x="2408" y="2937"/>
                    </a:cubicBezTo>
                    <a:cubicBezTo>
                      <a:pt x="-1001" y="6645"/>
                      <a:pt x="-762" y="12507"/>
                      <a:pt x="2946" y="15975"/>
                    </a:cubicBezTo>
                    <a:cubicBezTo>
                      <a:pt x="6654" y="19444"/>
                      <a:pt x="12455" y="19205"/>
                      <a:pt x="15924" y="15497"/>
                    </a:cubicBezTo>
                    <a:close/>
                  </a:path>
                </a:pathLst>
              </a:custGeom>
              <a:grpFill/>
              <a:ln w="5978" cap="flat">
                <a:noFill/>
                <a:prstDash val="solid"/>
                <a:miter/>
              </a:ln>
            </p:spPr>
            <p:txBody>
              <a:bodyPr rtlCol="0" anchor="ctr"/>
              <a:lstStyle/>
              <a:p>
                <a:endParaRPr lang="en-GB"/>
              </a:p>
            </p:txBody>
          </p:sp>
        </p:grpSp>
        <p:grpSp>
          <p:nvGrpSpPr>
            <p:cNvPr id="1140" name="Graphic 3">
              <a:extLst>
                <a:ext uri="{FF2B5EF4-FFF2-40B4-BE49-F238E27FC236}">
                  <a16:creationId xmlns:a16="http://schemas.microsoft.com/office/drawing/2014/main" id="{BCFFAF06-C529-4458-A612-558C4AD33417}"/>
                </a:ext>
              </a:extLst>
            </p:cNvPr>
            <p:cNvGrpSpPr/>
            <p:nvPr/>
          </p:nvGrpSpPr>
          <p:grpSpPr>
            <a:xfrm>
              <a:off x="4810724" y="5019005"/>
              <a:ext cx="26691" cy="29418"/>
              <a:chOff x="4810724" y="5019005"/>
              <a:chExt cx="26691" cy="29418"/>
            </a:xfrm>
            <a:grpFill/>
          </p:grpSpPr>
          <p:sp>
            <p:nvSpPr>
              <p:cNvPr id="1981" name="Vrije vorm: vorm 1980">
                <a:extLst>
                  <a:ext uri="{FF2B5EF4-FFF2-40B4-BE49-F238E27FC236}">
                    <a16:creationId xmlns:a16="http://schemas.microsoft.com/office/drawing/2014/main" id="{FD3AC7D5-757B-46F9-8A99-4ABFA50FED08}"/>
                  </a:ext>
                </a:extLst>
              </p:cNvPr>
              <p:cNvSpPr/>
              <p:nvPr/>
            </p:nvSpPr>
            <p:spPr>
              <a:xfrm>
                <a:off x="4810724" y="5030010"/>
                <a:ext cx="18318" cy="18413"/>
              </a:xfrm>
              <a:custGeom>
                <a:avLst/>
                <a:gdLst>
                  <a:gd name="connsiteX0" fmla="*/ 1863 w 18318"/>
                  <a:gd name="connsiteY0" fmla="*/ 3585 h 18413"/>
                  <a:gd name="connsiteX1" fmla="*/ 14721 w 18318"/>
                  <a:gd name="connsiteY1" fmla="*/ 1910 h 18413"/>
                  <a:gd name="connsiteX2" fmla="*/ 16456 w 18318"/>
                  <a:gd name="connsiteY2" fmla="*/ 14829 h 18413"/>
                  <a:gd name="connsiteX3" fmla="*/ 3597 w 18318"/>
                  <a:gd name="connsiteY3" fmla="*/ 16503 h 18413"/>
                  <a:gd name="connsiteX4" fmla="*/ 1863 w 18318"/>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863" y="3585"/>
                    </a:moveTo>
                    <a:cubicBezTo>
                      <a:pt x="4913" y="-422"/>
                      <a:pt x="10655" y="-1200"/>
                      <a:pt x="14721" y="1910"/>
                    </a:cubicBezTo>
                    <a:cubicBezTo>
                      <a:pt x="18728" y="5020"/>
                      <a:pt x="19506" y="10822"/>
                      <a:pt x="16456" y="14829"/>
                    </a:cubicBezTo>
                    <a:cubicBezTo>
                      <a:pt x="13405" y="18836"/>
                      <a:pt x="7664" y="19613"/>
                      <a:pt x="3597" y="16503"/>
                    </a:cubicBezTo>
                    <a:cubicBezTo>
                      <a:pt x="-410" y="13393"/>
                      <a:pt x="-1188" y="7592"/>
                      <a:pt x="1863" y="3585"/>
                    </a:cubicBezTo>
                    <a:close/>
                  </a:path>
                </a:pathLst>
              </a:custGeom>
              <a:grpFill/>
              <a:ln w="5978" cap="flat">
                <a:noFill/>
                <a:prstDash val="solid"/>
                <a:miter/>
              </a:ln>
            </p:spPr>
            <p:txBody>
              <a:bodyPr rtlCol="0" anchor="ctr"/>
              <a:lstStyle/>
              <a:p>
                <a:endParaRPr lang="en-GB"/>
              </a:p>
            </p:txBody>
          </p:sp>
          <p:sp>
            <p:nvSpPr>
              <p:cNvPr id="1982" name="Vrije vorm: vorm 1981">
                <a:extLst>
                  <a:ext uri="{FF2B5EF4-FFF2-40B4-BE49-F238E27FC236}">
                    <a16:creationId xmlns:a16="http://schemas.microsoft.com/office/drawing/2014/main" id="{19BACF3B-167E-4D62-8DC9-9B16B3B16F88}"/>
                  </a:ext>
                </a:extLst>
              </p:cNvPr>
              <p:cNvSpPr/>
              <p:nvPr/>
            </p:nvSpPr>
            <p:spPr>
              <a:xfrm>
                <a:off x="4819097" y="5019005"/>
                <a:ext cx="18318" cy="18413"/>
              </a:xfrm>
              <a:custGeom>
                <a:avLst/>
                <a:gdLst>
                  <a:gd name="connsiteX0" fmla="*/ 1863 w 18318"/>
                  <a:gd name="connsiteY0" fmla="*/ 3585 h 18413"/>
                  <a:gd name="connsiteX1" fmla="*/ 3597 w 18318"/>
                  <a:gd name="connsiteY1" fmla="*/ 16503 h 18413"/>
                  <a:gd name="connsiteX2" fmla="*/ 16456 w 18318"/>
                  <a:gd name="connsiteY2" fmla="*/ 14829 h 18413"/>
                  <a:gd name="connsiteX3" fmla="*/ 14721 w 18318"/>
                  <a:gd name="connsiteY3" fmla="*/ 1910 h 18413"/>
                  <a:gd name="connsiteX4" fmla="*/ 1863 w 18318"/>
                  <a:gd name="connsiteY4" fmla="*/ 3585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3">
                    <a:moveTo>
                      <a:pt x="1863" y="3585"/>
                    </a:moveTo>
                    <a:cubicBezTo>
                      <a:pt x="-1188" y="7592"/>
                      <a:pt x="-410" y="13393"/>
                      <a:pt x="3597" y="16503"/>
                    </a:cubicBezTo>
                    <a:cubicBezTo>
                      <a:pt x="7604" y="19614"/>
                      <a:pt x="13346" y="18836"/>
                      <a:pt x="16456" y="14829"/>
                    </a:cubicBezTo>
                    <a:cubicBezTo>
                      <a:pt x="19506" y="10822"/>
                      <a:pt x="18728" y="5021"/>
                      <a:pt x="14721" y="1910"/>
                    </a:cubicBezTo>
                    <a:cubicBezTo>
                      <a:pt x="10654" y="-1200"/>
                      <a:pt x="4913" y="-422"/>
                      <a:pt x="1863" y="3585"/>
                    </a:cubicBezTo>
                    <a:close/>
                  </a:path>
                </a:pathLst>
              </a:custGeom>
              <a:grpFill/>
              <a:ln w="5978" cap="flat">
                <a:noFill/>
                <a:prstDash val="solid"/>
                <a:miter/>
              </a:ln>
            </p:spPr>
            <p:txBody>
              <a:bodyPr rtlCol="0" anchor="ctr"/>
              <a:lstStyle/>
              <a:p>
                <a:endParaRPr lang="en-GB"/>
              </a:p>
            </p:txBody>
          </p:sp>
        </p:grpSp>
        <p:grpSp>
          <p:nvGrpSpPr>
            <p:cNvPr id="1141" name="Graphic 3">
              <a:extLst>
                <a:ext uri="{FF2B5EF4-FFF2-40B4-BE49-F238E27FC236}">
                  <a16:creationId xmlns:a16="http://schemas.microsoft.com/office/drawing/2014/main" id="{2C9856C0-7D55-48F2-955A-E08D46F11520}"/>
                </a:ext>
              </a:extLst>
            </p:cNvPr>
            <p:cNvGrpSpPr/>
            <p:nvPr/>
          </p:nvGrpSpPr>
          <p:grpSpPr>
            <a:xfrm>
              <a:off x="3883388" y="2653892"/>
              <a:ext cx="334904" cy="128832"/>
              <a:chOff x="3883388" y="2653892"/>
              <a:chExt cx="334904" cy="128832"/>
            </a:xfrm>
            <a:grpFill/>
          </p:grpSpPr>
          <p:sp>
            <p:nvSpPr>
              <p:cNvPr id="1978" name="Vrije vorm: vorm 1977">
                <a:extLst>
                  <a:ext uri="{FF2B5EF4-FFF2-40B4-BE49-F238E27FC236}">
                    <a16:creationId xmlns:a16="http://schemas.microsoft.com/office/drawing/2014/main" id="{07710775-DE82-490B-9DDE-78EE1CD370B1}"/>
                  </a:ext>
                </a:extLst>
              </p:cNvPr>
              <p:cNvSpPr/>
              <p:nvPr/>
            </p:nvSpPr>
            <p:spPr>
              <a:xfrm>
                <a:off x="3891615" y="2661521"/>
                <a:ext cx="318413" cy="113573"/>
              </a:xfrm>
              <a:custGeom>
                <a:avLst/>
                <a:gdLst>
                  <a:gd name="connsiteX0" fmla="*/ 318414 w 318413"/>
                  <a:gd name="connsiteY0" fmla="*/ 110703 h 113573"/>
                  <a:gd name="connsiteX1" fmla="*/ 317397 w 318413"/>
                  <a:gd name="connsiteY1" fmla="*/ 113574 h 113573"/>
                  <a:gd name="connsiteX2" fmla="*/ 0 w 318413"/>
                  <a:gd name="connsiteY2" fmla="*/ 2930 h 113573"/>
                  <a:gd name="connsiteX3" fmla="*/ 1017 w 318413"/>
                  <a:gd name="connsiteY3" fmla="*/ 0 h 113573"/>
                </a:gdLst>
                <a:ahLst/>
                <a:cxnLst>
                  <a:cxn ang="0">
                    <a:pos x="connsiteX0" y="connsiteY0"/>
                  </a:cxn>
                  <a:cxn ang="0">
                    <a:pos x="connsiteX1" y="connsiteY1"/>
                  </a:cxn>
                  <a:cxn ang="0">
                    <a:pos x="connsiteX2" y="connsiteY2"/>
                  </a:cxn>
                  <a:cxn ang="0">
                    <a:pos x="connsiteX3" y="connsiteY3"/>
                  </a:cxn>
                </a:cxnLst>
                <a:rect l="l" t="t" r="r" b="b"/>
                <a:pathLst>
                  <a:path w="318413" h="113573">
                    <a:moveTo>
                      <a:pt x="318414" y="110703"/>
                    </a:moveTo>
                    <a:lnTo>
                      <a:pt x="317397" y="113574"/>
                    </a:lnTo>
                    <a:lnTo>
                      <a:pt x="0" y="2930"/>
                    </a:lnTo>
                    <a:lnTo>
                      <a:pt x="1017" y="0"/>
                    </a:lnTo>
                    <a:close/>
                  </a:path>
                </a:pathLst>
              </a:custGeom>
              <a:grpFill/>
              <a:ln w="5978" cap="flat">
                <a:noFill/>
                <a:prstDash val="solid"/>
                <a:miter/>
              </a:ln>
            </p:spPr>
            <p:txBody>
              <a:bodyPr rtlCol="0" anchor="ctr"/>
              <a:lstStyle/>
              <a:p>
                <a:endParaRPr lang="en-GB"/>
              </a:p>
            </p:txBody>
          </p:sp>
          <p:sp>
            <p:nvSpPr>
              <p:cNvPr id="1979" name="Vrije vorm: vorm 1978">
                <a:extLst>
                  <a:ext uri="{FF2B5EF4-FFF2-40B4-BE49-F238E27FC236}">
                    <a16:creationId xmlns:a16="http://schemas.microsoft.com/office/drawing/2014/main" id="{6AFB0981-D875-4D23-AB84-7CBA8E95A7B9}"/>
                  </a:ext>
                </a:extLst>
              </p:cNvPr>
              <p:cNvSpPr/>
              <p:nvPr/>
            </p:nvSpPr>
            <p:spPr>
              <a:xfrm>
                <a:off x="3883388" y="2653892"/>
                <a:ext cx="18368" cy="18434"/>
              </a:xfrm>
              <a:custGeom>
                <a:avLst/>
                <a:gdLst>
                  <a:gd name="connsiteX0" fmla="*/ 6194 w 18368"/>
                  <a:gd name="connsiteY0" fmla="*/ 17916 h 18434"/>
                  <a:gd name="connsiteX1" fmla="*/ 512 w 18368"/>
                  <a:gd name="connsiteY1" fmla="*/ 6194 h 18434"/>
                  <a:gd name="connsiteX2" fmla="*/ 12175 w 18368"/>
                  <a:gd name="connsiteY2" fmla="*/ 512 h 18434"/>
                  <a:gd name="connsiteX3" fmla="*/ 17856 w 18368"/>
                  <a:gd name="connsiteY3" fmla="*/ 12234 h 18434"/>
                  <a:gd name="connsiteX4" fmla="*/ 6194 w 18368"/>
                  <a:gd name="connsiteY4" fmla="*/ 1791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34">
                    <a:moveTo>
                      <a:pt x="6194" y="17916"/>
                    </a:moveTo>
                    <a:cubicBezTo>
                      <a:pt x="1409" y="16241"/>
                      <a:pt x="-1163" y="10978"/>
                      <a:pt x="512" y="6194"/>
                    </a:cubicBezTo>
                    <a:cubicBezTo>
                      <a:pt x="2127" y="1409"/>
                      <a:pt x="7390" y="-1162"/>
                      <a:pt x="12175" y="512"/>
                    </a:cubicBezTo>
                    <a:cubicBezTo>
                      <a:pt x="16959" y="2187"/>
                      <a:pt x="19531" y="7450"/>
                      <a:pt x="17856" y="12234"/>
                    </a:cubicBezTo>
                    <a:cubicBezTo>
                      <a:pt x="16182" y="17079"/>
                      <a:pt x="10978" y="19591"/>
                      <a:pt x="6194" y="17916"/>
                    </a:cubicBezTo>
                    <a:close/>
                  </a:path>
                </a:pathLst>
              </a:custGeom>
              <a:grpFill/>
              <a:ln w="5978" cap="flat">
                <a:noFill/>
                <a:prstDash val="solid"/>
                <a:miter/>
              </a:ln>
            </p:spPr>
            <p:txBody>
              <a:bodyPr rtlCol="0" anchor="ctr"/>
              <a:lstStyle/>
              <a:p>
                <a:endParaRPr lang="en-GB"/>
              </a:p>
            </p:txBody>
          </p:sp>
          <p:sp>
            <p:nvSpPr>
              <p:cNvPr id="1980" name="Vrije vorm: vorm 1979">
                <a:extLst>
                  <a:ext uri="{FF2B5EF4-FFF2-40B4-BE49-F238E27FC236}">
                    <a16:creationId xmlns:a16="http://schemas.microsoft.com/office/drawing/2014/main" id="{6C8478E9-9CE6-4F43-94E2-6BC2A3549A22}"/>
                  </a:ext>
                </a:extLst>
              </p:cNvPr>
              <p:cNvSpPr/>
              <p:nvPr/>
            </p:nvSpPr>
            <p:spPr>
              <a:xfrm>
                <a:off x="4199948" y="2764296"/>
                <a:ext cx="18345" cy="18428"/>
              </a:xfrm>
              <a:custGeom>
                <a:avLst/>
                <a:gdLst>
                  <a:gd name="connsiteX0" fmla="*/ 6194 w 18345"/>
                  <a:gd name="connsiteY0" fmla="*/ 17916 h 18428"/>
                  <a:gd name="connsiteX1" fmla="*/ 17856 w 18345"/>
                  <a:gd name="connsiteY1" fmla="*/ 12234 h 18428"/>
                  <a:gd name="connsiteX2" fmla="*/ 12175 w 18345"/>
                  <a:gd name="connsiteY2" fmla="*/ 512 h 18428"/>
                  <a:gd name="connsiteX3" fmla="*/ 512 w 18345"/>
                  <a:gd name="connsiteY3" fmla="*/ 6194 h 18428"/>
                  <a:gd name="connsiteX4" fmla="*/ 6194 w 18345"/>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28">
                    <a:moveTo>
                      <a:pt x="6194" y="17916"/>
                    </a:moveTo>
                    <a:cubicBezTo>
                      <a:pt x="10978" y="19591"/>
                      <a:pt x="16182" y="17019"/>
                      <a:pt x="17856" y="12234"/>
                    </a:cubicBezTo>
                    <a:cubicBezTo>
                      <a:pt x="19471" y="7450"/>
                      <a:pt x="16959" y="2187"/>
                      <a:pt x="12175" y="512"/>
                    </a:cubicBezTo>
                    <a:cubicBezTo>
                      <a:pt x="7390" y="-1163"/>
                      <a:pt x="2187" y="1409"/>
                      <a:pt x="512" y="6194"/>
                    </a:cubicBezTo>
                    <a:cubicBezTo>
                      <a:pt x="-1163" y="10978"/>
                      <a:pt x="1409" y="16241"/>
                      <a:pt x="6194" y="17916"/>
                    </a:cubicBezTo>
                    <a:close/>
                  </a:path>
                </a:pathLst>
              </a:custGeom>
              <a:grpFill/>
              <a:ln w="5978" cap="flat">
                <a:noFill/>
                <a:prstDash val="solid"/>
                <a:miter/>
              </a:ln>
            </p:spPr>
            <p:txBody>
              <a:bodyPr rtlCol="0" anchor="ctr"/>
              <a:lstStyle/>
              <a:p>
                <a:endParaRPr lang="en-GB"/>
              </a:p>
            </p:txBody>
          </p:sp>
        </p:grpSp>
        <p:grpSp>
          <p:nvGrpSpPr>
            <p:cNvPr id="1142" name="Graphic 3">
              <a:extLst>
                <a:ext uri="{FF2B5EF4-FFF2-40B4-BE49-F238E27FC236}">
                  <a16:creationId xmlns:a16="http://schemas.microsoft.com/office/drawing/2014/main" id="{6D850A82-0A9B-4BFF-B59B-887CD06DEDF5}"/>
                </a:ext>
              </a:extLst>
            </p:cNvPr>
            <p:cNvGrpSpPr/>
            <p:nvPr/>
          </p:nvGrpSpPr>
          <p:grpSpPr>
            <a:xfrm>
              <a:off x="3795263" y="2762591"/>
              <a:ext cx="616135" cy="222041"/>
              <a:chOff x="3795263" y="2762591"/>
              <a:chExt cx="616135" cy="222041"/>
            </a:xfrm>
            <a:grpFill/>
          </p:grpSpPr>
          <p:sp>
            <p:nvSpPr>
              <p:cNvPr id="1975" name="Vrije vorm: vorm 1974">
                <a:extLst>
                  <a:ext uri="{FF2B5EF4-FFF2-40B4-BE49-F238E27FC236}">
                    <a16:creationId xmlns:a16="http://schemas.microsoft.com/office/drawing/2014/main" id="{399FF4E3-0975-47C5-929B-DCF63C01D099}"/>
                  </a:ext>
                </a:extLst>
              </p:cNvPr>
              <p:cNvSpPr/>
              <p:nvPr/>
            </p:nvSpPr>
            <p:spPr>
              <a:xfrm>
                <a:off x="3803519" y="2770191"/>
                <a:ext cx="599627" cy="206873"/>
              </a:xfrm>
              <a:custGeom>
                <a:avLst/>
                <a:gdLst>
                  <a:gd name="connsiteX0" fmla="*/ 599627 w 599627"/>
                  <a:gd name="connsiteY0" fmla="*/ 203943 h 206873"/>
                  <a:gd name="connsiteX1" fmla="*/ 598670 w 599627"/>
                  <a:gd name="connsiteY1" fmla="*/ 206873 h 206873"/>
                  <a:gd name="connsiteX2" fmla="*/ 0 w 599627"/>
                  <a:gd name="connsiteY2" fmla="*/ 2871 h 206873"/>
                  <a:gd name="connsiteX3" fmla="*/ 957 w 599627"/>
                  <a:gd name="connsiteY3" fmla="*/ 0 h 206873"/>
                </a:gdLst>
                <a:ahLst/>
                <a:cxnLst>
                  <a:cxn ang="0">
                    <a:pos x="connsiteX0" y="connsiteY0"/>
                  </a:cxn>
                  <a:cxn ang="0">
                    <a:pos x="connsiteX1" y="connsiteY1"/>
                  </a:cxn>
                  <a:cxn ang="0">
                    <a:pos x="connsiteX2" y="connsiteY2"/>
                  </a:cxn>
                  <a:cxn ang="0">
                    <a:pos x="connsiteX3" y="connsiteY3"/>
                  </a:cxn>
                </a:cxnLst>
                <a:rect l="l" t="t" r="r" b="b"/>
                <a:pathLst>
                  <a:path w="599627" h="206873">
                    <a:moveTo>
                      <a:pt x="599627" y="203943"/>
                    </a:moveTo>
                    <a:lnTo>
                      <a:pt x="598670" y="206873"/>
                    </a:lnTo>
                    <a:lnTo>
                      <a:pt x="0" y="2871"/>
                    </a:lnTo>
                    <a:lnTo>
                      <a:pt x="957" y="0"/>
                    </a:lnTo>
                    <a:close/>
                  </a:path>
                </a:pathLst>
              </a:custGeom>
              <a:grpFill/>
              <a:ln w="5978" cap="flat">
                <a:noFill/>
                <a:prstDash val="solid"/>
                <a:miter/>
              </a:ln>
            </p:spPr>
            <p:txBody>
              <a:bodyPr rtlCol="0" anchor="ctr"/>
              <a:lstStyle/>
              <a:p>
                <a:endParaRPr lang="en-GB"/>
              </a:p>
            </p:txBody>
          </p:sp>
          <p:sp>
            <p:nvSpPr>
              <p:cNvPr id="1976" name="Vrije vorm: vorm 1975">
                <a:extLst>
                  <a:ext uri="{FF2B5EF4-FFF2-40B4-BE49-F238E27FC236}">
                    <a16:creationId xmlns:a16="http://schemas.microsoft.com/office/drawing/2014/main" id="{68DA5385-D7F2-4F2A-BA74-2F0671F423AB}"/>
                  </a:ext>
                </a:extLst>
              </p:cNvPr>
              <p:cNvSpPr/>
              <p:nvPr/>
            </p:nvSpPr>
            <p:spPr>
              <a:xfrm>
                <a:off x="4393041" y="2966235"/>
                <a:ext cx="18356" cy="18397"/>
              </a:xfrm>
              <a:custGeom>
                <a:avLst/>
                <a:gdLst>
                  <a:gd name="connsiteX0" fmla="*/ 12079 w 18356"/>
                  <a:gd name="connsiteY0" fmla="*/ 482 h 18397"/>
                  <a:gd name="connsiteX1" fmla="*/ 17880 w 18356"/>
                  <a:gd name="connsiteY1" fmla="*/ 12145 h 18397"/>
                  <a:gd name="connsiteX2" fmla="*/ 6277 w 18356"/>
                  <a:gd name="connsiteY2" fmla="*/ 17886 h 18397"/>
                  <a:gd name="connsiteX3" fmla="*/ 476 w 18356"/>
                  <a:gd name="connsiteY3" fmla="*/ 6224 h 18397"/>
                  <a:gd name="connsiteX4" fmla="*/ 12079 w 18356"/>
                  <a:gd name="connsiteY4" fmla="*/ 482 h 1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397">
                    <a:moveTo>
                      <a:pt x="12079" y="482"/>
                    </a:moveTo>
                    <a:cubicBezTo>
                      <a:pt x="16863" y="2097"/>
                      <a:pt x="19495" y="7360"/>
                      <a:pt x="17880" y="12145"/>
                    </a:cubicBezTo>
                    <a:cubicBezTo>
                      <a:pt x="16265" y="16989"/>
                      <a:pt x="11062" y="19561"/>
                      <a:pt x="6277" y="17886"/>
                    </a:cubicBezTo>
                    <a:cubicBezTo>
                      <a:pt x="1493" y="16272"/>
                      <a:pt x="-1139" y="11008"/>
                      <a:pt x="476" y="6224"/>
                    </a:cubicBezTo>
                    <a:cubicBezTo>
                      <a:pt x="2091" y="1439"/>
                      <a:pt x="7294" y="-1132"/>
                      <a:pt x="12079" y="482"/>
                    </a:cubicBezTo>
                    <a:close/>
                  </a:path>
                </a:pathLst>
              </a:custGeom>
              <a:grpFill/>
              <a:ln w="5978" cap="flat">
                <a:noFill/>
                <a:prstDash val="solid"/>
                <a:miter/>
              </a:ln>
            </p:spPr>
            <p:txBody>
              <a:bodyPr rtlCol="0" anchor="ctr"/>
              <a:lstStyle/>
              <a:p>
                <a:endParaRPr lang="en-GB"/>
              </a:p>
            </p:txBody>
          </p:sp>
          <p:sp>
            <p:nvSpPr>
              <p:cNvPr id="1977" name="Vrije vorm: vorm 1976">
                <a:extLst>
                  <a:ext uri="{FF2B5EF4-FFF2-40B4-BE49-F238E27FC236}">
                    <a16:creationId xmlns:a16="http://schemas.microsoft.com/office/drawing/2014/main" id="{D6BC9588-6350-42C2-9DAE-C7C328D8C24E}"/>
                  </a:ext>
                </a:extLst>
              </p:cNvPr>
              <p:cNvSpPr/>
              <p:nvPr/>
            </p:nvSpPr>
            <p:spPr>
              <a:xfrm>
                <a:off x="3795263" y="2762591"/>
                <a:ext cx="18338" cy="18368"/>
              </a:xfrm>
              <a:custGeom>
                <a:avLst/>
                <a:gdLst>
                  <a:gd name="connsiteX0" fmla="*/ 12085 w 18338"/>
                  <a:gd name="connsiteY0" fmla="*/ 482 h 18368"/>
                  <a:gd name="connsiteX1" fmla="*/ 482 w 18338"/>
                  <a:gd name="connsiteY1" fmla="*/ 6224 h 18368"/>
                  <a:gd name="connsiteX2" fmla="*/ 6283 w 18338"/>
                  <a:gd name="connsiteY2" fmla="*/ 17886 h 18368"/>
                  <a:gd name="connsiteX3" fmla="*/ 17886 w 18338"/>
                  <a:gd name="connsiteY3" fmla="*/ 12145 h 18368"/>
                  <a:gd name="connsiteX4" fmla="*/ 12085 w 18338"/>
                  <a:gd name="connsiteY4" fmla="*/ 482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368">
                    <a:moveTo>
                      <a:pt x="12085" y="482"/>
                    </a:moveTo>
                    <a:cubicBezTo>
                      <a:pt x="7300" y="-1133"/>
                      <a:pt x="2096" y="1439"/>
                      <a:pt x="482" y="6224"/>
                    </a:cubicBezTo>
                    <a:cubicBezTo>
                      <a:pt x="-1133" y="11068"/>
                      <a:pt x="1439" y="16271"/>
                      <a:pt x="6283" y="17886"/>
                    </a:cubicBezTo>
                    <a:cubicBezTo>
                      <a:pt x="11068" y="19501"/>
                      <a:pt x="16271" y="16929"/>
                      <a:pt x="17886" y="12145"/>
                    </a:cubicBezTo>
                    <a:cubicBezTo>
                      <a:pt x="19441" y="7360"/>
                      <a:pt x="16869" y="2097"/>
                      <a:pt x="12085" y="482"/>
                    </a:cubicBezTo>
                    <a:close/>
                  </a:path>
                </a:pathLst>
              </a:custGeom>
              <a:grpFill/>
              <a:ln w="5978" cap="flat">
                <a:noFill/>
                <a:prstDash val="solid"/>
                <a:miter/>
              </a:ln>
            </p:spPr>
            <p:txBody>
              <a:bodyPr rtlCol="0" anchor="ctr"/>
              <a:lstStyle/>
              <a:p>
                <a:endParaRPr lang="en-GB"/>
              </a:p>
            </p:txBody>
          </p:sp>
        </p:grpSp>
        <p:grpSp>
          <p:nvGrpSpPr>
            <p:cNvPr id="1143" name="Graphic 3">
              <a:extLst>
                <a:ext uri="{FF2B5EF4-FFF2-40B4-BE49-F238E27FC236}">
                  <a16:creationId xmlns:a16="http://schemas.microsoft.com/office/drawing/2014/main" id="{306B5D53-E6A9-4497-A28C-A28D20BDDDD4}"/>
                </a:ext>
              </a:extLst>
            </p:cNvPr>
            <p:cNvGrpSpPr/>
            <p:nvPr/>
          </p:nvGrpSpPr>
          <p:grpSpPr>
            <a:xfrm>
              <a:off x="3680776" y="2632883"/>
              <a:ext cx="754805" cy="292413"/>
              <a:chOff x="3680776" y="2632883"/>
              <a:chExt cx="754805" cy="292413"/>
            </a:xfrm>
            <a:grpFill/>
          </p:grpSpPr>
          <p:sp>
            <p:nvSpPr>
              <p:cNvPr id="1972" name="Vrije vorm: vorm 1971">
                <a:extLst>
                  <a:ext uri="{FF2B5EF4-FFF2-40B4-BE49-F238E27FC236}">
                    <a16:creationId xmlns:a16="http://schemas.microsoft.com/office/drawing/2014/main" id="{82C2AF04-3DE5-470E-A772-1EFA1D24BB4D}"/>
                  </a:ext>
                </a:extLst>
              </p:cNvPr>
              <p:cNvSpPr/>
              <p:nvPr/>
            </p:nvSpPr>
            <p:spPr>
              <a:xfrm>
                <a:off x="3688988" y="2640529"/>
                <a:ext cx="738439" cy="277146"/>
              </a:xfrm>
              <a:custGeom>
                <a:avLst/>
                <a:gdLst>
                  <a:gd name="connsiteX0" fmla="*/ 738440 w 738439"/>
                  <a:gd name="connsiteY0" fmla="*/ 274276 h 277146"/>
                  <a:gd name="connsiteX1" fmla="*/ 737364 w 738439"/>
                  <a:gd name="connsiteY1" fmla="*/ 277147 h 277146"/>
                  <a:gd name="connsiteX2" fmla="*/ 0 w 738439"/>
                  <a:gd name="connsiteY2" fmla="*/ 2871 h 277146"/>
                  <a:gd name="connsiteX3" fmla="*/ 1017 w 738439"/>
                  <a:gd name="connsiteY3" fmla="*/ 0 h 277146"/>
                </a:gdLst>
                <a:ahLst/>
                <a:cxnLst>
                  <a:cxn ang="0">
                    <a:pos x="connsiteX0" y="connsiteY0"/>
                  </a:cxn>
                  <a:cxn ang="0">
                    <a:pos x="connsiteX1" y="connsiteY1"/>
                  </a:cxn>
                  <a:cxn ang="0">
                    <a:pos x="connsiteX2" y="connsiteY2"/>
                  </a:cxn>
                  <a:cxn ang="0">
                    <a:pos x="connsiteX3" y="connsiteY3"/>
                  </a:cxn>
                </a:cxnLst>
                <a:rect l="l" t="t" r="r" b="b"/>
                <a:pathLst>
                  <a:path w="738439" h="277146">
                    <a:moveTo>
                      <a:pt x="738440" y="274276"/>
                    </a:moveTo>
                    <a:lnTo>
                      <a:pt x="737364" y="277147"/>
                    </a:lnTo>
                    <a:lnTo>
                      <a:pt x="0" y="2871"/>
                    </a:lnTo>
                    <a:lnTo>
                      <a:pt x="1017" y="0"/>
                    </a:lnTo>
                    <a:close/>
                  </a:path>
                </a:pathLst>
              </a:custGeom>
              <a:grpFill/>
              <a:ln w="5978" cap="flat">
                <a:noFill/>
                <a:prstDash val="solid"/>
                <a:miter/>
              </a:ln>
            </p:spPr>
            <p:txBody>
              <a:bodyPr rtlCol="0" anchor="ctr"/>
              <a:lstStyle/>
              <a:p>
                <a:endParaRPr lang="en-GB"/>
              </a:p>
            </p:txBody>
          </p:sp>
          <p:sp>
            <p:nvSpPr>
              <p:cNvPr id="1973" name="Vrije vorm: vorm 1972">
                <a:extLst>
                  <a:ext uri="{FF2B5EF4-FFF2-40B4-BE49-F238E27FC236}">
                    <a16:creationId xmlns:a16="http://schemas.microsoft.com/office/drawing/2014/main" id="{D9AC3BA2-20F9-4F3A-9A5E-0730A6316E48}"/>
                  </a:ext>
                </a:extLst>
              </p:cNvPr>
              <p:cNvSpPr/>
              <p:nvPr/>
            </p:nvSpPr>
            <p:spPr>
              <a:xfrm>
                <a:off x="4417242" y="2906884"/>
                <a:ext cx="18339" cy="18412"/>
              </a:xfrm>
              <a:custGeom>
                <a:avLst/>
                <a:gdLst>
                  <a:gd name="connsiteX0" fmla="*/ 12339 w 18339"/>
                  <a:gd name="connsiteY0" fmla="*/ 564 h 18412"/>
                  <a:gd name="connsiteX1" fmla="*/ 17782 w 18339"/>
                  <a:gd name="connsiteY1" fmla="*/ 12406 h 18412"/>
                  <a:gd name="connsiteX2" fmla="*/ 6000 w 18339"/>
                  <a:gd name="connsiteY2" fmla="*/ 17848 h 18412"/>
                  <a:gd name="connsiteX3" fmla="*/ 557 w 18339"/>
                  <a:gd name="connsiteY3" fmla="*/ 6006 h 18412"/>
                  <a:gd name="connsiteX4" fmla="*/ 12339 w 18339"/>
                  <a:gd name="connsiteY4" fmla="*/ 564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12">
                    <a:moveTo>
                      <a:pt x="12339" y="564"/>
                    </a:moveTo>
                    <a:cubicBezTo>
                      <a:pt x="17064" y="2358"/>
                      <a:pt x="19516" y="7621"/>
                      <a:pt x="17782" y="12406"/>
                    </a:cubicBezTo>
                    <a:cubicBezTo>
                      <a:pt x="16047" y="17190"/>
                      <a:pt x="10784" y="19583"/>
                      <a:pt x="6000" y="17848"/>
                    </a:cubicBezTo>
                    <a:cubicBezTo>
                      <a:pt x="1275" y="16054"/>
                      <a:pt x="-1177" y="10791"/>
                      <a:pt x="557" y="6006"/>
                    </a:cubicBezTo>
                    <a:cubicBezTo>
                      <a:pt x="2352" y="1222"/>
                      <a:pt x="7615" y="-1170"/>
                      <a:pt x="12339" y="564"/>
                    </a:cubicBezTo>
                    <a:close/>
                  </a:path>
                </a:pathLst>
              </a:custGeom>
              <a:grpFill/>
              <a:ln w="5978" cap="flat">
                <a:noFill/>
                <a:prstDash val="solid"/>
                <a:miter/>
              </a:ln>
            </p:spPr>
            <p:txBody>
              <a:bodyPr rtlCol="0" anchor="ctr"/>
              <a:lstStyle/>
              <a:p>
                <a:endParaRPr lang="en-GB"/>
              </a:p>
            </p:txBody>
          </p:sp>
          <p:sp>
            <p:nvSpPr>
              <p:cNvPr id="1974" name="Vrije vorm: vorm 1973">
                <a:extLst>
                  <a:ext uri="{FF2B5EF4-FFF2-40B4-BE49-F238E27FC236}">
                    <a16:creationId xmlns:a16="http://schemas.microsoft.com/office/drawing/2014/main" id="{53EBFE25-7F88-47C0-AE54-16E0C671C3B5}"/>
                  </a:ext>
                </a:extLst>
              </p:cNvPr>
              <p:cNvSpPr/>
              <p:nvPr/>
            </p:nvSpPr>
            <p:spPr>
              <a:xfrm>
                <a:off x="3680776" y="2632883"/>
                <a:ext cx="18338" cy="18460"/>
              </a:xfrm>
              <a:custGeom>
                <a:avLst/>
                <a:gdLst>
                  <a:gd name="connsiteX0" fmla="*/ 12339 w 18338"/>
                  <a:gd name="connsiteY0" fmla="*/ 588 h 18460"/>
                  <a:gd name="connsiteX1" fmla="*/ 557 w 18338"/>
                  <a:gd name="connsiteY1" fmla="*/ 6031 h 18460"/>
                  <a:gd name="connsiteX2" fmla="*/ 6000 w 18338"/>
                  <a:gd name="connsiteY2" fmla="*/ 17872 h 18460"/>
                  <a:gd name="connsiteX3" fmla="*/ 17782 w 18338"/>
                  <a:gd name="connsiteY3" fmla="*/ 12430 h 18460"/>
                  <a:gd name="connsiteX4" fmla="*/ 12339 w 18338"/>
                  <a:gd name="connsiteY4" fmla="*/ 588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60">
                    <a:moveTo>
                      <a:pt x="12339" y="588"/>
                    </a:moveTo>
                    <a:cubicBezTo>
                      <a:pt x="7615" y="-1206"/>
                      <a:pt x="2352" y="1246"/>
                      <a:pt x="557" y="6031"/>
                    </a:cubicBezTo>
                    <a:cubicBezTo>
                      <a:pt x="-1177" y="10815"/>
                      <a:pt x="1275" y="16078"/>
                      <a:pt x="6000" y="17872"/>
                    </a:cubicBezTo>
                    <a:cubicBezTo>
                      <a:pt x="10724" y="19667"/>
                      <a:pt x="15988" y="17214"/>
                      <a:pt x="17782" y="12430"/>
                    </a:cubicBezTo>
                    <a:cubicBezTo>
                      <a:pt x="19516" y="7645"/>
                      <a:pt x="17064" y="2382"/>
                      <a:pt x="12339" y="588"/>
                    </a:cubicBezTo>
                    <a:close/>
                  </a:path>
                </a:pathLst>
              </a:custGeom>
              <a:grpFill/>
              <a:ln w="5978" cap="flat">
                <a:noFill/>
                <a:prstDash val="solid"/>
                <a:miter/>
              </a:ln>
            </p:spPr>
            <p:txBody>
              <a:bodyPr rtlCol="0" anchor="ctr"/>
              <a:lstStyle/>
              <a:p>
                <a:endParaRPr lang="en-GB"/>
              </a:p>
            </p:txBody>
          </p:sp>
        </p:grpSp>
        <p:grpSp>
          <p:nvGrpSpPr>
            <p:cNvPr id="1144" name="Graphic 3">
              <a:extLst>
                <a:ext uri="{FF2B5EF4-FFF2-40B4-BE49-F238E27FC236}">
                  <a16:creationId xmlns:a16="http://schemas.microsoft.com/office/drawing/2014/main" id="{1AE3B49B-EFB8-4730-B25B-AE573399B483}"/>
                </a:ext>
              </a:extLst>
            </p:cNvPr>
            <p:cNvGrpSpPr/>
            <p:nvPr/>
          </p:nvGrpSpPr>
          <p:grpSpPr>
            <a:xfrm>
              <a:off x="4773200" y="5001098"/>
              <a:ext cx="124227" cy="162957"/>
              <a:chOff x="4773200" y="5001098"/>
              <a:chExt cx="124227" cy="162957"/>
            </a:xfrm>
            <a:grpFill/>
          </p:grpSpPr>
          <p:sp>
            <p:nvSpPr>
              <p:cNvPr id="1969" name="Vrije vorm: vorm 1968">
                <a:extLst>
                  <a:ext uri="{FF2B5EF4-FFF2-40B4-BE49-F238E27FC236}">
                    <a16:creationId xmlns:a16="http://schemas.microsoft.com/office/drawing/2014/main" id="{AA794C73-D3A6-4C6E-AC62-C5841155959C}"/>
                  </a:ext>
                </a:extLst>
              </p:cNvPr>
              <p:cNvSpPr/>
              <p:nvPr/>
            </p:nvSpPr>
            <p:spPr>
              <a:xfrm>
                <a:off x="4780889" y="5009014"/>
                <a:ext cx="108849" cy="147125"/>
              </a:xfrm>
              <a:custGeom>
                <a:avLst/>
                <a:gdLst>
                  <a:gd name="connsiteX0" fmla="*/ 108849 w 108849"/>
                  <a:gd name="connsiteY0" fmla="*/ 1854 h 147125"/>
                  <a:gd name="connsiteX1" fmla="*/ 2452 w 108849"/>
                  <a:gd name="connsiteY1" fmla="*/ 147126 h 147125"/>
                  <a:gd name="connsiteX2" fmla="*/ 0 w 108849"/>
                  <a:gd name="connsiteY2" fmla="*/ 145331 h 147125"/>
                  <a:gd name="connsiteX3" fmla="*/ 106397 w 108849"/>
                  <a:gd name="connsiteY3" fmla="*/ 0 h 147125"/>
                </a:gdLst>
                <a:ahLst/>
                <a:cxnLst>
                  <a:cxn ang="0">
                    <a:pos x="connsiteX0" y="connsiteY0"/>
                  </a:cxn>
                  <a:cxn ang="0">
                    <a:pos x="connsiteX1" y="connsiteY1"/>
                  </a:cxn>
                  <a:cxn ang="0">
                    <a:pos x="connsiteX2" y="connsiteY2"/>
                  </a:cxn>
                  <a:cxn ang="0">
                    <a:pos x="connsiteX3" y="connsiteY3"/>
                  </a:cxn>
                </a:cxnLst>
                <a:rect l="l" t="t" r="r" b="b"/>
                <a:pathLst>
                  <a:path w="108849" h="147125">
                    <a:moveTo>
                      <a:pt x="108849" y="1854"/>
                    </a:moveTo>
                    <a:lnTo>
                      <a:pt x="2452" y="147126"/>
                    </a:lnTo>
                    <a:lnTo>
                      <a:pt x="0" y="145331"/>
                    </a:lnTo>
                    <a:lnTo>
                      <a:pt x="106397" y="0"/>
                    </a:lnTo>
                    <a:close/>
                  </a:path>
                </a:pathLst>
              </a:custGeom>
              <a:grpFill/>
              <a:ln w="5978" cap="flat">
                <a:noFill/>
                <a:prstDash val="solid"/>
                <a:miter/>
              </a:ln>
            </p:spPr>
            <p:txBody>
              <a:bodyPr rtlCol="0" anchor="ctr"/>
              <a:lstStyle/>
              <a:p>
                <a:endParaRPr lang="en-GB"/>
              </a:p>
            </p:txBody>
          </p:sp>
          <p:sp>
            <p:nvSpPr>
              <p:cNvPr id="1970" name="Vrije vorm: vorm 1969">
                <a:extLst>
                  <a:ext uri="{FF2B5EF4-FFF2-40B4-BE49-F238E27FC236}">
                    <a16:creationId xmlns:a16="http://schemas.microsoft.com/office/drawing/2014/main" id="{B60A452D-46D4-4049-A5F1-03415336E261}"/>
                  </a:ext>
                </a:extLst>
              </p:cNvPr>
              <p:cNvSpPr/>
              <p:nvPr/>
            </p:nvSpPr>
            <p:spPr>
              <a:xfrm>
                <a:off x="4773200" y="5145652"/>
                <a:ext cx="18326" cy="18402"/>
              </a:xfrm>
              <a:custGeom>
                <a:avLst/>
                <a:gdLst>
                  <a:gd name="connsiteX0" fmla="*/ 16541 w 18326"/>
                  <a:gd name="connsiteY0" fmla="*/ 14674 h 18402"/>
                  <a:gd name="connsiteX1" fmla="*/ 3742 w 18326"/>
                  <a:gd name="connsiteY1" fmla="*/ 16588 h 18402"/>
                  <a:gd name="connsiteX2" fmla="*/ 1768 w 18326"/>
                  <a:gd name="connsiteY2" fmla="*/ 3729 h 18402"/>
                  <a:gd name="connsiteX3" fmla="*/ 14567 w 18326"/>
                  <a:gd name="connsiteY3" fmla="*/ 1815 h 18402"/>
                  <a:gd name="connsiteX4" fmla="*/ 16541 w 18326"/>
                  <a:gd name="connsiteY4" fmla="*/ 14674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02">
                    <a:moveTo>
                      <a:pt x="16541" y="14674"/>
                    </a:moveTo>
                    <a:cubicBezTo>
                      <a:pt x="13550" y="18741"/>
                      <a:pt x="7809" y="19638"/>
                      <a:pt x="3742" y="16588"/>
                    </a:cubicBezTo>
                    <a:cubicBezTo>
                      <a:pt x="-325" y="13537"/>
                      <a:pt x="-1222" y="7796"/>
                      <a:pt x="1768" y="3729"/>
                    </a:cubicBezTo>
                    <a:cubicBezTo>
                      <a:pt x="4759" y="-338"/>
                      <a:pt x="10500" y="-1235"/>
                      <a:pt x="14567" y="1815"/>
                    </a:cubicBezTo>
                    <a:cubicBezTo>
                      <a:pt x="18694" y="4865"/>
                      <a:pt x="19531" y="10607"/>
                      <a:pt x="16541" y="14674"/>
                    </a:cubicBezTo>
                    <a:close/>
                  </a:path>
                </a:pathLst>
              </a:custGeom>
              <a:grpFill/>
              <a:ln w="5978" cap="flat">
                <a:noFill/>
                <a:prstDash val="solid"/>
                <a:miter/>
              </a:ln>
            </p:spPr>
            <p:txBody>
              <a:bodyPr rtlCol="0" anchor="ctr"/>
              <a:lstStyle/>
              <a:p>
                <a:endParaRPr lang="en-GB"/>
              </a:p>
            </p:txBody>
          </p:sp>
          <p:sp>
            <p:nvSpPr>
              <p:cNvPr id="1971" name="Vrije vorm: vorm 1970">
                <a:extLst>
                  <a:ext uri="{FF2B5EF4-FFF2-40B4-BE49-F238E27FC236}">
                    <a16:creationId xmlns:a16="http://schemas.microsoft.com/office/drawing/2014/main" id="{74EFA572-0582-44B4-8FE6-99079722E781}"/>
                  </a:ext>
                </a:extLst>
              </p:cNvPr>
              <p:cNvSpPr/>
              <p:nvPr/>
            </p:nvSpPr>
            <p:spPr>
              <a:xfrm>
                <a:off x="4879118" y="5001098"/>
                <a:ext cx="18309" cy="18420"/>
              </a:xfrm>
              <a:custGeom>
                <a:avLst/>
                <a:gdLst>
                  <a:gd name="connsiteX0" fmla="*/ 16541 w 18309"/>
                  <a:gd name="connsiteY0" fmla="*/ 14674 h 18420"/>
                  <a:gd name="connsiteX1" fmla="*/ 14567 w 18309"/>
                  <a:gd name="connsiteY1" fmla="*/ 1815 h 18420"/>
                  <a:gd name="connsiteX2" fmla="*/ 1768 w 18309"/>
                  <a:gd name="connsiteY2" fmla="*/ 3729 h 18420"/>
                  <a:gd name="connsiteX3" fmla="*/ 3742 w 18309"/>
                  <a:gd name="connsiteY3" fmla="*/ 16588 h 18420"/>
                  <a:gd name="connsiteX4" fmla="*/ 16541 w 18309"/>
                  <a:gd name="connsiteY4" fmla="*/ 1467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0">
                    <a:moveTo>
                      <a:pt x="16541" y="14674"/>
                    </a:moveTo>
                    <a:cubicBezTo>
                      <a:pt x="19531" y="10607"/>
                      <a:pt x="18634" y="4806"/>
                      <a:pt x="14567" y="1815"/>
                    </a:cubicBezTo>
                    <a:cubicBezTo>
                      <a:pt x="10500" y="-1235"/>
                      <a:pt x="4759" y="-338"/>
                      <a:pt x="1768" y="3729"/>
                    </a:cubicBezTo>
                    <a:cubicBezTo>
                      <a:pt x="-1222" y="7796"/>
                      <a:pt x="-325" y="13598"/>
                      <a:pt x="3742" y="16588"/>
                    </a:cubicBezTo>
                    <a:cubicBezTo>
                      <a:pt x="7809" y="19638"/>
                      <a:pt x="13490" y="18801"/>
                      <a:pt x="16541" y="14674"/>
                    </a:cubicBezTo>
                    <a:close/>
                  </a:path>
                </a:pathLst>
              </a:custGeom>
              <a:grpFill/>
              <a:ln w="5978" cap="flat">
                <a:noFill/>
                <a:prstDash val="solid"/>
                <a:miter/>
              </a:ln>
            </p:spPr>
            <p:txBody>
              <a:bodyPr rtlCol="0" anchor="ctr"/>
              <a:lstStyle/>
              <a:p>
                <a:endParaRPr lang="en-GB"/>
              </a:p>
            </p:txBody>
          </p:sp>
        </p:grpSp>
        <p:grpSp>
          <p:nvGrpSpPr>
            <p:cNvPr id="1145" name="Graphic 3">
              <a:extLst>
                <a:ext uri="{FF2B5EF4-FFF2-40B4-BE49-F238E27FC236}">
                  <a16:creationId xmlns:a16="http://schemas.microsoft.com/office/drawing/2014/main" id="{85C8F51C-7B9E-40E1-81F5-6C6F633DA4D3}"/>
                </a:ext>
              </a:extLst>
            </p:cNvPr>
            <p:cNvGrpSpPr/>
            <p:nvPr/>
          </p:nvGrpSpPr>
          <p:grpSpPr>
            <a:xfrm>
              <a:off x="4532947" y="4302789"/>
              <a:ext cx="117031" cy="80916"/>
              <a:chOff x="4532947" y="4302789"/>
              <a:chExt cx="117031" cy="80916"/>
            </a:xfrm>
            <a:grpFill/>
          </p:grpSpPr>
          <p:sp>
            <p:nvSpPr>
              <p:cNvPr id="1966" name="Vrije vorm: vorm 1965">
                <a:extLst>
                  <a:ext uri="{FF2B5EF4-FFF2-40B4-BE49-F238E27FC236}">
                    <a16:creationId xmlns:a16="http://schemas.microsoft.com/office/drawing/2014/main" id="{94B11764-AC03-47C2-9369-E14568074E0B}"/>
                  </a:ext>
                </a:extLst>
              </p:cNvPr>
              <p:cNvSpPr/>
              <p:nvPr/>
            </p:nvSpPr>
            <p:spPr>
              <a:xfrm>
                <a:off x="4540882" y="4310466"/>
                <a:ext cx="101134" cy="65548"/>
              </a:xfrm>
              <a:custGeom>
                <a:avLst/>
                <a:gdLst>
                  <a:gd name="connsiteX0" fmla="*/ 101134 w 101134"/>
                  <a:gd name="connsiteY0" fmla="*/ 2632 h 65548"/>
                  <a:gd name="connsiteX1" fmla="*/ 1615 w 101134"/>
                  <a:gd name="connsiteY1" fmla="*/ 65548 h 65548"/>
                  <a:gd name="connsiteX2" fmla="*/ 0 w 101134"/>
                  <a:gd name="connsiteY2" fmla="*/ 62977 h 65548"/>
                  <a:gd name="connsiteX3" fmla="*/ 99519 w 101134"/>
                  <a:gd name="connsiteY3" fmla="*/ 0 h 65548"/>
                </a:gdLst>
                <a:ahLst/>
                <a:cxnLst>
                  <a:cxn ang="0">
                    <a:pos x="connsiteX0" y="connsiteY0"/>
                  </a:cxn>
                  <a:cxn ang="0">
                    <a:pos x="connsiteX1" y="connsiteY1"/>
                  </a:cxn>
                  <a:cxn ang="0">
                    <a:pos x="connsiteX2" y="connsiteY2"/>
                  </a:cxn>
                  <a:cxn ang="0">
                    <a:pos x="connsiteX3" y="connsiteY3"/>
                  </a:cxn>
                </a:cxnLst>
                <a:rect l="l" t="t" r="r" b="b"/>
                <a:pathLst>
                  <a:path w="101134" h="65548">
                    <a:moveTo>
                      <a:pt x="101134" y="2632"/>
                    </a:moveTo>
                    <a:lnTo>
                      <a:pt x="1615" y="65548"/>
                    </a:lnTo>
                    <a:lnTo>
                      <a:pt x="0" y="62977"/>
                    </a:lnTo>
                    <a:lnTo>
                      <a:pt x="99519" y="0"/>
                    </a:lnTo>
                    <a:close/>
                  </a:path>
                </a:pathLst>
              </a:custGeom>
              <a:grpFill/>
              <a:ln w="5978" cap="flat">
                <a:noFill/>
                <a:prstDash val="solid"/>
                <a:miter/>
              </a:ln>
            </p:spPr>
            <p:txBody>
              <a:bodyPr rtlCol="0" anchor="ctr"/>
              <a:lstStyle/>
              <a:p>
                <a:endParaRPr lang="en-GB"/>
              </a:p>
            </p:txBody>
          </p:sp>
          <p:sp>
            <p:nvSpPr>
              <p:cNvPr id="1967" name="Vrije vorm: vorm 1966">
                <a:extLst>
                  <a:ext uri="{FF2B5EF4-FFF2-40B4-BE49-F238E27FC236}">
                    <a16:creationId xmlns:a16="http://schemas.microsoft.com/office/drawing/2014/main" id="{A99C530A-1554-4567-BA85-11C02F1D2FE5}"/>
                  </a:ext>
                </a:extLst>
              </p:cNvPr>
              <p:cNvSpPr/>
              <p:nvPr/>
            </p:nvSpPr>
            <p:spPr>
              <a:xfrm>
                <a:off x="4532947" y="4365273"/>
                <a:ext cx="18304" cy="18432"/>
              </a:xfrm>
              <a:custGeom>
                <a:avLst/>
                <a:gdLst>
                  <a:gd name="connsiteX0" fmla="*/ 14036 w 18304"/>
                  <a:gd name="connsiteY0" fmla="*/ 17021 h 18432"/>
                  <a:gd name="connsiteX1" fmla="*/ 1417 w 18304"/>
                  <a:gd name="connsiteY1" fmla="*/ 14090 h 18432"/>
                  <a:gd name="connsiteX2" fmla="*/ 4228 w 18304"/>
                  <a:gd name="connsiteY2" fmla="*/ 1411 h 18432"/>
                  <a:gd name="connsiteX3" fmla="*/ 16847 w 18304"/>
                  <a:gd name="connsiteY3" fmla="*/ 4342 h 18432"/>
                  <a:gd name="connsiteX4" fmla="*/ 14036 w 18304"/>
                  <a:gd name="connsiteY4" fmla="*/ 17021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2">
                    <a:moveTo>
                      <a:pt x="14036" y="17021"/>
                    </a:moveTo>
                    <a:cubicBezTo>
                      <a:pt x="9790" y="19712"/>
                      <a:pt x="4108" y="18456"/>
                      <a:pt x="1417" y="14090"/>
                    </a:cubicBezTo>
                    <a:cubicBezTo>
                      <a:pt x="-1275" y="9784"/>
                      <a:pt x="-19" y="4103"/>
                      <a:pt x="4228" y="1411"/>
                    </a:cubicBezTo>
                    <a:cubicBezTo>
                      <a:pt x="8474" y="-1280"/>
                      <a:pt x="14156" y="-24"/>
                      <a:pt x="16847" y="4342"/>
                    </a:cubicBezTo>
                    <a:cubicBezTo>
                      <a:pt x="19598" y="8648"/>
                      <a:pt x="18342" y="14330"/>
                      <a:pt x="14036" y="17021"/>
                    </a:cubicBezTo>
                    <a:close/>
                  </a:path>
                </a:pathLst>
              </a:custGeom>
              <a:grpFill/>
              <a:ln w="5978" cap="flat">
                <a:noFill/>
                <a:prstDash val="solid"/>
                <a:miter/>
              </a:ln>
            </p:spPr>
            <p:txBody>
              <a:bodyPr rtlCol="0" anchor="ctr"/>
              <a:lstStyle/>
              <a:p>
                <a:endParaRPr lang="en-GB"/>
              </a:p>
            </p:txBody>
          </p:sp>
          <p:sp>
            <p:nvSpPr>
              <p:cNvPr id="1968" name="Vrije vorm: vorm 1967">
                <a:extLst>
                  <a:ext uri="{FF2B5EF4-FFF2-40B4-BE49-F238E27FC236}">
                    <a16:creationId xmlns:a16="http://schemas.microsoft.com/office/drawing/2014/main" id="{35BA9060-50C4-4B03-9F62-32F9604FC135}"/>
                  </a:ext>
                </a:extLst>
              </p:cNvPr>
              <p:cNvSpPr/>
              <p:nvPr/>
            </p:nvSpPr>
            <p:spPr>
              <a:xfrm>
                <a:off x="4631662" y="4302789"/>
                <a:ext cx="18316" cy="18444"/>
              </a:xfrm>
              <a:custGeom>
                <a:avLst/>
                <a:gdLst>
                  <a:gd name="connsiteX0" fmla="*/ 14063 w 18316"/>
                  <a:gd name="connsiteY0" fmla="*/ 17007 h 18444"/>
                  <a:gd name="connsiteX1" fmla="*/ 16873 w 18316"/>
                  <a:gd name="connsiteY1" fmla="*/ 4327 h 18444"/>
                  <a:gd name="connsiteX2" fmla="*/ 4254 w 18316"/>
                  <a:gd name="connsiteY2" fmla="*/ 1397 h 18444"/>
                  <a:gd name="connsiteX3" fmla="*/ 1443 w 18316"/>
                  <a:gd name="connsiteY3" fmla="*/ 14076 h 18444"/>
                  <a:gd name="connsiteX4" fmla="*/ 14063 w 18316"/>
                  <a:gd name="connsiteY4" fmla="*/ 17007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14063" y="17007"/>
                    </a:moveTo>
                    <a:cubicBezTo>
                      <a:pt x="18309" y="14315"/>
                      <a:pt x="19625" y="8633"/>
                      <a:pt x="16873" y="4327"/>
                    </a:cubicBezTo>
                    <a:cubicBezTo>
                      <a:pt x="14182" y="21"/>
                      <a:pt x="8501" y="-1294"/>
                      <a:pt x="4254" y="1397"/>
                    </a:cubicBezTo>
                    <a:cubicBezTo>
                      <a:pt x="8" y="4088"/>
                      <a:pt x="-1308" y="9770"/>
                      <a:pt x="1443" y="14076"/>
                    </a:cubicBezTo>
                    <a:cubicBezTo>
                      <a:pt x="4134" y="18442"/>
                      <a:pt x="9756" y="19757"/>
                      <a:pt x="14063" y="17007"/>
                    </a:cubicBezTo>
                    <a:close/>
                  </a:path>
                </a:pathLst>
              </a:custGeom>
              <a:grpFill/>
              <a:ln w="5978" cap="flat">
                <a:noFill/>
                <a:prstDash val="solid"/>
                <a:miter/>
              </a:ln>
            </p:spPr>
            <p:txBody>
              <a:bodyPr rtlCol="0" anchor="ctr"/>
              <a:lstStyle/>
              <a:p>
                <a:endParaRPr lang="en-GB"/>
              </a:p>
            </p:txBody>
          </p:sp>
        </p:grpSp>
        <p:grpSp>
          <p:nvGrpSpPr>
            <p:cNvPr id="1146" name="Graphic 3">
              <a:extLst>
                <a:ext uri="{FF2B5EF4-FFF2-40B4-BE49-F238E27FC236}">
                  <a16:creationId xmlns:a16="http://schemas.microsoft.com/office/drawing/2014/main" id="{9EAEA98D-A2B8-4B01-8FD5-F7CC5899F30E}"/>
                </a:ext>
              </a:extLst>
            </p:cNvPr>
            <p:cNvGrpSpPr/>
            <p:nvPr/>
          </p:nvGrpSpPr>
          <p:grpSpPr>
            <a:xfrm>
              <a:off x="4684350" y="4746997"/>
              <a:ext cx="99382" cy="103111"/>
              <a:chOff x="4684350" y="4746997"/>
              <a:chExt cx="99382" cy="103111"/>
            </a:xfrm>
            <a:grpFill/>
          </p:grpSpPr>
          <p:sp>
            <p:nvSpPr>
              <p:cNvPr id="1963" name="Vrije vorm: vorm 1962">
                <a:extLst>
                  <a:ext uri="{FF2B5EF4-FFF2-40B4-BE49-F238E27FC236}">
                    <a16:creationId xmlns:a16="http://schemas.microsoft.com/office/drawing/2014/main" id="{44206D0F-B29F-448C-AE54-015AAE986651}"/>
                  </a:ext>
                </a:extLst>
              </p:cNvPr>
              <p:cNvSpPr/>
              <p:nvPr/>
            </p:nvSpPr>
            <p:spPr>
              <a:xfrm>
                <a:off x="4692135" y="4754833"/>
                <a:ext cx="83849" cy="87497"/>
              </a:xfrm>
              <a:custGeom>
                <a:avLst/>
                <a:gdLst>
                  <a:gd name="connsiteX0" fmla="*/ 83849 w 83849"/>
                  <a:gd name="connsiteY0" fmla="*/ 2093 h 87497"/>
                  <a:gd name="connsiteX1" fmla="*/ 2213 w 83849"/>
                  <a:gd name="connsiteY1" fmla="*/ 87498 h 87497"/>
                  <a:gd name="connsiteX2" fmla="*/ 0 w 83849"/>
                  <a:gd name="connsiteY2" fmla="*/ 85345 h 87497"/>
                  <a:gd name="connsiteX3" fmla="*/ 81637 w 83849"/>
                  <a:gd name="connsiteY3" fmla="*/ 0 h 87497"/>
                </a:gdLst>
                <a:ahLst/>
                <a:cxnLst>
                  <a:cxn ang="0">
                    <a:pos x="connsiteX0" y="connsiteY0"/>
                  </a:cxn>
                  <a:cxn ang="0">
                    <a:pos x="connsiteX1" y="connsiteY1"/>
                  </a:cxn>
                  <a:cxn ang="0">
                    <a:pos x="connsiteX2" y="connsiteY2"/>
                  </a:cxn>
                  <a:cxn ang="0">
                    <a:pos x="connsiteX3" y="connsiteY3"/>
                  </a:cxn>
                </a:cxnLst>
                <a:rect l="l" t="t" r="r" b="b"/>
                <a:pathLst>
                  <a:path w="83849" h="87497">
                    <a:moveTo>
                      <a:pt x="83849" y="2093"/>
                    </a:moveTo>
                    <a:lnTo>
                      <a:pt x="2213" y="87498"/>
                    </a:lnTo>
                    <a:lnTo>
                      <a:pt x="0" y="85345"/>
                    </a:lnTo>
                    <a:lnTo>
                      <a:pt x="81637" y="0"/>
                    </a:lnTo>
                    <a:close/>
                  </a:path>
                </a:pathLst>
              </a:custGeom>
              <a:grpFill/>
              <a:ln w="5978" cap="flat">
                <a:noFill/>
                <a:prstDash val="solid"/>
                <a:miter/>
              </a:ln>
            </p:spPr>
            <p:txBody>
              <a:bodyPr rtlCol="0" anchor="ctr"/>
              <a:lstStyle/>
              <a:p>
                <a:endParaRPr lang="en-GB"/>
              </a:p>
            </p:txBody>
          </p:sp>
          <p:sp>
            <p:nvSpPr>
              <p:cNvPr id="1964" name="Vrije vorm: vorm 1963">
                <a:extLst>
                  <a:ext uri="{FF2B5EF4-FFF2-40B4-BE49-F238E27FC236}">
                    <a16:creationId xmlns:a16="http://schemas.microsoft.com/office/drawing/2014/main" id="{5F97C3EE-1EE5-4469-BAC9-5379C49A44ED}"/>
                  </a:ext>
                </a:extLst>
              </p:cNvPr>
              <p:cNvSpPr/>
              <p:nvPr/>
            </p:nvSpPr>
            <p:spPr>
              <a:xfrm>
                <a:off x="4684350" y="4831684"/>
                <a:ext cx="18343" cy="18423"/>
              </a:xfrm>
              <a:custGeom>
                <a:avLst/>
                <a:gdLst>
                  <a:gd name="connsiteX0" fmla="*/ 15799 w 18343"/>
                  <a:gd name="connsiteY0" fmla="*/ 15611 h 18423"/>
                  <a:gd name="connsiteX1" fmla="*/ 2821 w 18343"/>
                  <a:gd name="connsiteY1" fmla="*/ 15851 h 18423"/>
                  <a:gd name="connsiteX2" fmla="*/ 2522 w 18343"/>
                  <a:gd name="connsiteY2" fmla="*/ 2813 h 18423"/>
                  <a:gd name="connsiteX3" fmla="*/ 15500 w 18343"/>
                  <a:gd name="connsiteY3" fmla="*/ 2573 h 18423"/>
                  <a:gd name="connsiteX4" fmla="*/ 15799 w 18343"/>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3">
                    <a:moveTo>
                      <a:pt x="15799" y="15611"/>
                    </a:moveTo>
                    <a:cubicBezTo>
                      <a:pt x="12270" y="19260"/>
                      <a:pt x="6469" y="19379"/>
                      <a:pt x="2821" y="15851"/>
                    </a:cubicBezTo>
                    <a:cubicBezTo>
                      <a:pt x="-827" y="12322"/>
                      <a:pt x="-947" y="6461"/>
                      <a:pt x="2522" y="2813"/>
                    </a:cubicBezTo>
                    <a:cubicBezTo>
                      <a:pt x="6050" y="-836"/>
                      <a:pt x="11852" y="-955"/>
                      <a:pt x="15500" y="2573"/>
                    </a:cubicBezTo>
                    <a:cubicBezTo>
                      <a:pt x="19148" y="6102"/>
                      <a:pt x="19328" y="11963"/>
                      <a:pt x="15799" y="15611"/>
                    </a:cubicBezTo>
                    <a:close/>
                  </a:path>
                </a:pathLst>
              </a:custGeom>
              <a:grpFill/>
              <a:ln w="5978" cap="flat">
                <a:noFill/>
                <a:prstDash val="solid"/>
                <a:miter/>
              </a:ln>
            </p:spPr>
            <p:txBody>
              <a:bodyPr rtlCol="0" anchor="ctr"/>
              <a:lstStyle/>
              <a:p>
                <a:endParaRPr lang="en-GB"/>
              </a:p>
            </p:txBody>
          </p:sp>
          <p:sp>
            <p:nvSpPr>
              <p:cNvPr id="1965" name="Vrije vorm: vorm 1964">
                <a:extLst>
                  <a:ext uri="{FF2B5EF4-FFF2-40B4-BE49-F238E27FC236}">
                    <a16:creationId xmlns:a16="http://schemas.microsoft.com/office/drawing/2014/main" id="{631757B7-41A4-4947-96B0-384766790A03}"/>
                  </a:ext>
                </a:extLst>
              </p:cNvPr>
              <p:cNvSpPr/>
              <p:nvPr/>
            </p:nvSpPr>
            <p:spPr>
              <a:xfrm>
                <a:off x="4765366" y="4746997"/>
                <a:ext cx="18366" cy="18423"/>
              </a:xfrm>
              <a:custGeom>
                <a:avLst/>
                <a:gdLst>
                  <a:gd name="connsiteX0" fmla="*/ 15822 w 18366"/>
                  <a:gd name="connsiteY0" fmla="*/ 15611 h 18423"/>
                  <a:gd name="connsiteX1" fmla="*/ 15523 w 18366"/>
                  <a:gd name="connsiteY1" fmla="*/ 2573 h 18423"/>
                  <a:gd name="connsiteX2" fmla="*/ 2545 w 18366"/>
                  <a:gd name="connsiteY2" fmla="*/ 2813 h 18423"/>
                  <a:gd name="connsiteX3" fmla="*/ 2844 w 18366"/>
                  <a:gd name="connsiteY3" fmla="*/ 15851 h 18423"/>
                  <a:gd name="connsiteX4" fmla="*/ 15822 w 18366"/>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3">
                    <a:moveTo>
                      <a:pt x="15822" y="15611"/>
                    </a:moveTo>
                    <a:cubicBezTo>
                      <a:pt x="19351" y="11963"/>
                      <a:pt x="19171" y="6102"/>
                      <a:pt x="15523" y="2573"/>
                    </a:cubicBezTo>
                    <a:cubicBezTo>
                      <a:pt x="11875" y="-955"/>
                      <a:pt x="6073" y="-836"/>
                      <a:pt x="2545" y="2813"/>
                    </a:cubicBezTo>
                    <a:cubicBezTo>
                      <a:pt x="-984" y="6461"/>
                      <a:pt x="-804" y="12322"/>
                      <a:pt x="2844" y="15851"/>
                    </a:cubicBezTo>
                    <a:cubicBezTo>
                      <a:pt x="6492" y="19379"/>
                      <a:pt x="12293" y="19260"/>
                      <a:pt x="15822" y="15611"/>
                    </a:cubicBezTo>
                    <a:close/>
                  </a:path>
                </a:pathLst>
              </a:custGeom>
              <a:grpFill/>
              <a:ln w="5978" cap="flat">
                <a:noFill/>
                <a:prstDash val="solid"/>
                <a:miter/>
              </a:ln>
            </p:spPr>
            <p:txBody>
              <a:bodyPr rtlCol="0" anchor="ctr"/>
              <a:lstStyle/>
              <a:p>
                <a:endParaRPr lang="en-GB"/>
              </a:p>
            </p:txBody>
          </p:sp>
        </p:grpSp>
        <p:grpSp>
          <p:nvGrpSpPr>
            <p:cNvPr id="1147" name="Graphic 3">
              <a:extLst>
                <a:ext uri="{FF2B5EF4-FFF2-40B4-BE49-F238E27FC236}">
                  <a16:creationId xmlns:a16="http://schemas.microsoft.com/office/drawing/2014/main" id="{BADEBC13-7168-4137-A281-1D036614286E}"/>
                </a:ext>
              </a:extLst>
            </p:cNvPr>
            <p:cNvGrpSpPr/>
            <p:nvPr/>
          </p:nvGrpSpPr>
          <p:grpSpPr>
            <a:xfrm>
              <a:off x="3957432" y="3096107"/>
              <a:ext cx="438809" cy="111685"/>
              <a:chOff x="3957432" y="3096107"/>
              <a:chExt cx="438809" cy="111685"/>
            </a:xfrm>
            <a:grpFill/>
          </p:grpSpPr>
          <p:sp>
            <p:nvSpPr>
              <p:cNvPr id="1960" name="Vrije vorm: vorm 1959">
                <a:extLst>
                  <a:ext uri="{FF2B5EF4-FFF2-40B4-BE49-F238E27FC236}">
                    <a16:creationId xmlns:a16="http://schemas.microsoft.com/office/drawing/2014/main" id="{1213B4CC-192C-4018-94D7-4DC5B0BED942}"/>
                  </a:ext>
                </a:extLst>
              </p:cNvPr>
              <p:cNvSpPr/>
              <p:nvPr/>
            </p:nvSpPr>
            <p:spPr>
              <a:xfrm>
                <a:off x="3965836" y="3103676"/>
                <a:ext cx="421999" cy="96469"/>
              </a:xfrm>
              <a:custGeom>
                <a:avLst/>
                <a:gdLst>
                  <a:gd name="connsiteX0" fmla="*/ 422000 w 421999"/>
                  <a:gd name="connsiteY0" fmla="*/ 93479 h 96469"/>
                  <a:gd name="connsiteX1" fmla="*/ 421401 w 421999"/>
                  <a:gd name="connsiteY1" fmla="*/ 96469 h 96469"/>
                  <a:gd name="connsiteX2" fmla="*/ 0 w 421999"/>
                  <a:gd name="connsiteY2" fmla="*/ 3050 h 96469"/>
                  <a:gd name="connsiteX3" fmla="*/ 658 w 421999"/>
                  <a:gd name="connsiteY3" fmla="*/ 0 h 96469"/>
                </a:gdLst>
                <a:ahLst/>
                <a:cxnLst>
                  <a:cxn ang="0">
                    <a:pos x="connsiteX0" y="connsiteY0"/>
                  </a:cxn>
                  <a:cxn ang="0">
                    <a:pos x="connsiteX1" y="connsiteY1"/>
                  </a:cxn>
                  <a:cxn ang="0">
                    <a:pos x="connsiteX2" y="connsiteY2"/>
                  </a:cxn>
                  <a:cxn ang="0">
                    <a:pos x="connsiteX3" y="connsiteY3"/>
                  </a:cxn>
                </a:cxnLst>
                <a:rect l="l" t="t" r="r" b="b"/>
                <a:pathLst>
                  <a:path w="421999" h="96469">
                    <a:moveTo>
                      <a:pt x="422000" y="93479"/>
                    </a:moveTo>
                    <a:lnTo>
                      <a:pt x="421401" y="96469"/>
                    </a:lnTo>
                    <a:lnTo>
                      <a:pt x="0" y="3050"/>
                    </a:lnTo>
                    <a:lnTo>
                      <a:pt x="658" y="0"/>
                    </a:lnTo>
                    <a:close/>
                  </a:path>
                </a:pathLst>
              </a:custGeom>
              <a:grpFill/>
              <a:ln w="5978" cap="flat">
                <a:noFill/>
                <a:prstDash val="solid"/>
                <a:miter/>
              </a:ln>
            </p:spPr>
            <p:txBody>
              <a:bodyPr rtlCol="0" anchor="ctr"/>
              <a:lstStyle/>
              <a:p>
                <a:endParaRPr lang="en-GB"/>
              </a:p>
            </p:txBody>
          </p:sp>
          <p:sp>
            <p:nvSpPr>
              <p:cNvPr id="1961" name="Vrije vorm: vorm 1960">
                <a:extLst>
                  <a:ext uri="{FF2B5EF4-FFF2-40B4-BE49-F238E27FC236}">
                    <a16:creationId xmlns:a16="http://schemas.microsoft.com/office/drawing/2014/main" id="{64427227-1DEF-45FB-A212-86762FF45F1E}"/>
                  </a:ext>
                </a:extLst>
              </p:cNvPr>
              <p:cNvSpPr/>
              <p:nvPr/>
            </p:nvSpPr>
            <p:spPr>
              <a:xfrm>
                <a:off x="4377934" y="3189346"/>
                <a:ext cx="18308" cy="18445"/>
              </a:xfrm>
              <a:custGeom>
                <a:avLst/>
                <a:gdLst>
                  <a:gd name="connsiteX0" fmla="*/ 11098 w 18308"/>
                  <a:gd name="connsiteY0" fmla="*/ 213 h 18445"/>
                  <a:gd name="connsiteX1" fmla="*/ 18095 w 18308"/>
                  <a:gd name="connsiteY1" fmla="*/ 11217 h 18445"/>
                  <a:gd name="connsiteX2" fmla="*/ 7210 w 18308"/>
                  <a:gd name="connsiteY2" fmla="*/ 18215 h 18445"/>
                  <a:gd name="connsiteX3" fmla="*/ 213 w 18308"/>
                  <a:gd name="connsiteY3" fmla="*/ 7210 h 18445"/>
                  <a:gd name="connsiteX4" fmla="*/ 11098 w 18308"/>
                  <a:gd name="connsiteY4" fmla="*/ 213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 h="18445">
                    <a:moveTo>
                      <a:pt x="11098" y="213"/>
                    </a:moveTo>
                    <a:cubicBezTo>
                      <a:pt x="16062" y="1289"/>
                      <a:pt x="19172" y="6253"/>
                      <a:pt x="18095" y="11217"/>
                    </a:cubicBezTo>
                    <a:cubicBezTo>
                      <a:pt x="17019" y="16181"/>
                      <a:pt x="12115" y="19351"/>
                      <a:pt x="7210" y="18215"/>
                    </a:cubicBezTo>
                    <a:cubicBezTo>
                      <a:pt x="2246" y="17138"/>
                      <a:pt x="-864" y="12174"/>
                      <a:pt x="213" y="7210"/>
                    </a:cubicBezTo>
                    <a:cubicBezTo>
                      <a:pt x="1289" y="2246"/>
                      <a:pt x="6134" y="-864"/>
                      <a:pt x="11098" y="213"/>
                    </a:cubicBezTo>
                    <a:close/>
                  </a:path>
                </a:pathLst>
              </a:custGeom>
              <a:grpFill/>
              <a:ln w="5978" cap="flat">
                <a:noFill/>
                <a:prstDash val="solid"/>
                <a:miter/>
              </a:ln>
            </p:spPr>
            <p:txBody>
              <a:bodyPr rtlCol="0" anchor="ctr"/>
              <a:lstStyle/>
              <a:p>
                <a:endParaRPr lang="en-GB"/>
              </a:p>
            </p:txBody>
          </p:sp>
          <p:sp>
            <p:nvSpPr>
              <p:cNvPr id="1962" name="Vrije vorm: vorm 1961">
                <a:extLst>
                  <a:ext uri="{FF2B5EF4-FFF2-40B4-BE49-F238E27FC236}">
                    <a16:creationId xmlns:a16="http://schemas.microsoft.com/office/drawing/2014/main" id="{4B602BB3-B49E-4416-AEC0-2E799BD64980}"/>
                  </a:ext>
                </a:extLst>
              </p:cNvPr>
              <p:cNvSpPr/>
              <p:nvPr/>
            </p:nvSpPr>
            <p:spPr>
              <a:xfrm>
                <a:off x="3957432" y="3096107"/>
                <a:ext cx="18323" cy="18427"/>
              </a:xfrm>
              <a:custGeom>
                <a:avLst/>
                <a:gdLst>
                  <a:gd name="connsiteX0" fmla="*/ 11095 w 18323"/>
                  <a:gd name="connsiteY0" fmla="*/ 213 h 18427"/>
                  <a:gd name="connsiteX1" fmla="*/ 210 w 18323"/>
                  <a:gd name="connsiteY1" fmla="*/ 7210 h 18427"/>
                  <a:gd name="connsiteX2" fmla="*/ 7208 w 18323"/>
                  <a:gd name="connsiteY2" fmla="*/ 18215 h 18427"/>
                  <a:gd name="connsiteX3" fmla="*/ 18093 w 18323"/>
                  <a:gd name="connsiteY3" fmla="*/ 11217 h 18427"/>
                  <a:gd name="connsiteX4" fmla="*/ 11095 w 18323"/>
                  <a:gd name="connsiteY4" fmla="*/ 213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27">
                    <a:moveTo>
                      <a:pt x="11095" y="213"/>
                    </a:moveTo>
                    <a:cubicBezTo>
                      <a:pt x="6131" y="-864"/>
                      <a:pt x="1287" y="2246"/>
                      <a:pt x="210" y="7210"/>
                    </a:cubicBezTo>
                    <a:cubicBezTo>
                      <a:pt x="-867" y="12174"/>
                      <a:pt x="2303" y="17079"/>
                      <a:pt x="7208" y="18215"/>
                    </a:cubicBezTo>
                    <a:cubicBezTo>
                      <a:pt x="12172" y="19291"/>
                      <a:pt x="17016" y="16181"/>
                      <a:pt x="18093" y="11217"/>
                    </a:cubicBezTo>
                    <a:cubicBezTo>
                      <a:pt x="19229" y="6194"/>
                      <a:pt x="16059" y="1289"/>
                      <a:pt x="11095" y="213"/>
                    </a:cubicBezTo>
                    <a:close/>
                  </a:path>
                </a:pathLst>
              </a:custGeom>
              <a:grpFill/>
              <a:ln w="5978" cap="flat">
                <a:noFill/>
                <a:prstDash val="solid"/>
                <a:miter/>
              </a:ln>
            </p:spPr>
            <p:txBody>
              <a:bodyPr rtlCol="0" anchor="ctr"/>
              <a:lstStyle/>
              <a:p>
                <a:endParaRPr lang="en-GB"/>
              </a:p>
            </p:txBody>
          </p:sp>
        </p:grpSp>
        <p:grpSp>
          <p:nvGrpSpPr>
            <p:cNvPr id="1148" name="Graphic 3">
              <a:extLst>
                <a:ext uri="{FF2B5EF4-FFF2-40B4-BE49-F238E27FC236}">
                  <a16:creationId xmlns:a16="http://schemas.microsoft.com/office/drawing/2014/main" id="{3F831A72-2D28-41B4-B4A1-05229A019D91}"/>
                </a:ext>
              </a:extLst>
            </p:cNvPr>
            <p:cNvGrpSpPr/>
            <p:nvPr/>
          </p:nvGrpSpPr>
          <p:grpSpPr>
            <a:xfrm>
              <a:off x="3632644" y="2566868"/>
              <a:ext cx="812014" cy="327931"/>
              <a:chOff x="3632644" y="2566868"/>
              <a:chExt cx="812014" cy="327931"/>
            </a:xfrm>
            <a:grpFill/>
          </p:grpSpPr>
          <p:sp>
            <p:nvSpPr>
              <p:cNvPr id="1957" name="Vrije vorm: vorm 1956">
                <a:extLst>
                  <a:ext uri="{FF2B5EF4-FFF2-40B4-BE49-F238E27FC236}">
                    <a16:creationId xmlns:a16="http://schemas.microsoft.com/office/drawing/2014/main" id="{64342625-59C0-4D92-9CC7-1D8002A541E4}"/>
                  </a:ext>
                </a:extLst>
              </p:cNvPr>
              <p:cNvSpPr/>
              <p:nvPr/>
            </p:nvSpPr>
            <p:spPr>
              <a:xfrm>
                <a:off x="3640844" y="2574502"/>
                <a:ext cx="795615" cy="312672"/>
              </a:xfrm>
              <a:custGeom>
                <a:avLst/>
                <a:gdLst>
                  <a:gd name="connsiteX0" fmla="*/ 795616 w 795615"/>
                  <a:gd name="connsiteY0" fmla="*/ 309861 h 312672"/>
                  <a:gd name="connsiteX1" fmla="*/ 794539 w 795615"/>
                  <a:gd name="connsiteY1" fmla="*/ 312672 h 312672"/>
                  <a:gd name="connsiteX2" fmla="*/ 0 w 795615"/>
                  <a:gd name="connsiteY2" fmla="*/ 2871 h 312672"/>
                  <a:gd name="connsiteX3" fmla="*/ 1076 w 795615"/>
                  <a:gd name="connsiteY3" fmla="*/ 0 h 312672"/>
                </a:gdLst>
                <a:ahLst/>
                <a:cxnLst>
                  <a:cxn ang="0">
                    <a:pos x="connsiteX0" y="connsiteY0"/>
                  </a:cxn>
                  <a:cxn ang="0">
                    <a:pos x="connsiteX1" y="connsiteY1"/>
                  </a:cxn>
                  <a:cxn ang="0">
                    <a:pos x="connsiteX2" y="connsiteY2"/>
                  </a:cxn>
                  <a:cxn ang="0">
                    <a:pos x="connsiteX3" y="connsiteY3"/>
                  </a:cxn>
                </a:cxnLst>
                <a:rect l="l" t="t" r="r" b="b"/>
                <a:pathLst>
                  <a:path w="795615" h="312672">
                    <a:moveTo>
                      <a:pt x="795616" y="309861"/>
                    </a:moveTo>
                    <a:lnTo>
                      <a:pt x="794539" y="312672"/>
                    </a:lnTo>
                    <a:lnTo>
                      <a:pt x="0" y="2871"/>
                    </a:lnTo>
                    <a:lnTo>
                      <a:pt x="1076" y="0"/>
                    </a:lnTo>
                    <a:close/>
                  </a:path>
                </a:pathLst>
              </a:custGeom>
              <a:grpFill/>
              <a:ln w="5978" cap="flat">
                <a:noFill/>
                <a:prstDash val="solid"/>
                <a:miter/>
              </a:ln>
            </p:spPr>
            <p:txBody>
              <a:bodyPr rtlCol="0" anchor="ctr"/>
              <a:lstStyle/>
              <a:p>
                <a:endParaRPr lang="en-GB"/>
              </a:p>
            </p:txBody>
          </p:sp>
          <p:sp>
            <p:nvSpPr>
              <p:cNvPr id="1958" name="Vrije vorm: vorm 1957">
                <a:extLst>
                  <a:ext uri="{FF2B5EF4-FFF2-40B4-BE49-F238E27FC236}">
                    <a16:creationId xmlns:a16="http://schemas.microsoft.com/office/drawing/2014/main" id="{1796F25B-2FE6-4F48-BDAA-56D73EB0C664}"/>
                  </a:ext>
                </a:extLst>
              </p:cNvPr>
              <p:cNvSpPr/>
              <p:nvPr/>
            </p:nvSpPr>
            <p:spPr>
              <a:xfrm>
                <a:off x="4426346" y="2876378"/>
                <a:ext cx="18313" cy="18421"/>
              </a:xfrm>
              <a:custGeom>
                <a:avLst/>
                <a:gdLst>
                  <a:gd name="connsiteX0" fmla="*/ 12446 w 18313"/>
                  <a:gd name="connsiteY0" fmla="*/ 629 h 18421"/>
                  <a:gd name="connsiteX1" fmla="*/ 17709 w 18313"/>
                  <a:gd name="connsiteY1" fmla="*/ 12530 h 18421"/>
                  <a:gd name="connsiteX2" fmla="*/ 5867 w 18313"/>
                  <a:gd name="connsiteY2" fmla="*/ 17793 h 18421"/>
                  <a:gd name="connsiteX3" fmla="*/ 604 w 18313"/>
                  <a:gd name="connsiteY3" fmla="*/ 5892 h 18421"/>
                  <a:gd name="connsiteX4" fmla="*/ 12446 w 18313"/>
                  <a:gd name="connsiteY4" fmla="*/ 629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21">
                    <a:moveTo>
                      <a:pt x="12446" y="629"/>
                    </a:moveTo>
                    <a:cubicBezTo>
                      <a:pt x="17171" y="2483"/>
                      <a:pt x="19503" y="7806"/>
                      <a:pt x="17709" y="12530"/>
                    </a:cubicBezTo>
                    <a:cubicBezTo>
                      <a:pt x="15915" y="17255"/>
                      <a:pt x="10592" y="19647"/>
                      <a:pt x="5867" y="17793"/>
                    </a:cubicBezTo>
                    <a:cubicBezTo>
                      <a:pt x="1143" y="15939"/>
                      <a:pt x="-1190" y="10617"/>
                      <a:pt x="604" y="5892"/>
                    </a:cubicBezTo>
                    <a:cubicBezTo>
                      <a:pt x="2398" y="1167"/>
                      <a:pt x="7721" y="-1225"/>
                      <a:pt x="12446" y="629"/>
                    </a:cubicBezTo>
                    <a:close/>
                  </a:path>
                </a:pathLst>
              </a:custGeom>
              <a:grpFill/>
              <a:ln w="5978" cap="flat">
                <a:noFill/>
                <a:prstDash val="solid"/>
                <a:miter/>
              </a:ln>
            </p:spPr>
            <p:txBody>
              <a:bodyPr rtlCol="0" anchor="ctr"/>
              <a:lstStyle/>
              <a:p>
                <a:endParaRPr lang="en-GB"/>
              </a:p>
            </p:txBody>
          </p:sp>
          <p:sp>
            <p:nvSpPr>
              <p:cNvPr id="1959" name="Vrije vorm: vorm 1958">
                <a:extLst>
                  <a:ext uri="{FF2B5EF4-FFF2-40B4-BE49-F238E27FC236}">
                    <a16:creationId xmlns:a16="http://schemas.microsoft.com/office/drawing/2014/main" id="{6AD6E18B-CA83-4228-AD25-F0CB3DCD6B37}"/>
                  </a:ext>
                </a:extLst>
              </p:cNvPr>
              <p:cNvSpPr/>
              <p:nvPr/>
            </p:nvSpPr>
            <p:spPr>
              <a:xfrm>
                <a:off x="3632644" y="2566868"/>
                <a:ext cx="18337" cy="18436"/>
              </a:xfrm>
              <a:custGeom>
                <a:avLst/>
                <a:gdLst>
                  <a:gd name="connsiteX0" fmla="*/ 12446 w 18337"/>
                  <a:gd name="connsiteY0" fmla="*/ 636 h 18436"/>
                  <a:gd name="connsiteX1" fmla="*/ 604 w 18337"/>
                  <a:gd name="connsiteY1" fmla="*/ 5899 h 18436"/>
                  <a:gd name="connsiteX2" fmla="*/ 5867 w 18337"/>
                  <a:gd name="connsiteY2" fmla="*/ 17801 h 18436"/>
                  <a:gd name="connsiteX3" fmla="*/ 17709 w 18337"/>
                  <a:gd name="connsiteY3" fmla="*/ 12538 h 18436"/>
                  <a:gd name="connsiteX4" fmla="*/ 12446 w 18337"/>
                  <a:gd name="connsiteY4" fmla="*/ 63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2446" y="636"/>
                    </a:moveTo>
                    <a:cubicBezTo>
                      <a:pt x="7721" y="-1218"/>
                      <a:pt x="2398" y="1115"/>
                      <a:pt x="604" y="5899"/>
                    </a:cubicBezTo>
                    <a:cubicBezTo>
                      <a:pt x="-1190" y="10624"/>
                      <a:pt x="1143" y="16007"/>
                      <a:pt x="5867" y="17801"/>
                    </a:cubicBezTo>
                    <a:cubicBezTo>
                      <a:pt x="10592" y="19655"/>
                      <a:pt x="15915" y="17322"/>
                      <a:pt x="17709" y="12538"/>
                    </a:cubicBezTo>
                    <a:cubicBezTo>
                      <a:pt x="19563" y="7813"/>
                      <a:pt x="17171" y="2490"/>
                      <a:pt x="12446" y="636"/>
                    </a:cubicBezTo>
                    <a:close/>
                  </a:path>
                </a:pathLst>
              </a:custGeom>
              <a:grpFill/>
              <a:ln w="5978" cap="flat">
                <a:noFill/>
                <a:prstDash val="solid"/>
                <a:miter/>
              </a:ln>
            </p:spPr>
            <p:txBody>
              <a:bodyPr rtlCol="0" anchor="ctr"/>
              <a:lstStyle/>
              <a:p>
                <a:endParaRPr lang="en-GB"/>
              </a:p>
            </p:txBody>
          </p:sp>
        </p:grpSp>
        <p:grpSp>
          <p:nvGrpSpPr>
            <p:cNvPr id="1149" name="Graphic 3">
              <a:extLst>
                <a:ext uri="{FF2B5EF4-FFF2-40B4-BE49-F238E27FC236}">
                  <a16:creationId xmlns:a16="http://schemas.microsoft.com/office/drawing/2014/main" id="{734D208F-D4E8-499F-A55B-261A58679DBC}"/>
                </a:ext>
              </a:extLst>
            </p:cNvPr>
            <p:cNvGrpSpPr/>
            <p:nvPr/>
          </p:nvGrpSpPr>
          <p:grpSpPr>
            <a:xfrm>
              <a:off x="4569342" y="4660296"/>
              <a:ext cx="340240" cy="311081"/>
              <a:chOff x="4569342" y="4660296"/>
              <a:chExt cx="340240" cy="311081"/>
            </a:xfrm>
            <a:grpFill/>
          </p:grpSpPr>
          <p:sp>
            <p:nvSpPr>
              <p:cNvPr id="1954" name="Vrije vorm: vorm 1953">
                <a:extLst>
                  <a:ext uri="{FF2B5EF4-FFF2-40B4-BE49-F238E27FC236}">
                    <a16:creationId xmlns:a16="http://schemas.microsoft.com/office/drawing/2014/main" id="{032B3D88-A8A0-49F7-840A-CA536D612BB0}"/>
                  </a:ext>
                </a:extLst>
              </p:cNvPr>
              <p:cNvSpPr/>
              <p:nvPr/>
            </p:nvSpPr>
            <p:spPr>
              <a:xfrm>
                <a:off x="4577126" y="4668053"/>
                <a:ext cx="324693" cy="295567"/>
              </a:xfrm>
              <a:custGeom>
                <a:avLst/>
                <a:gdLst>
                  <a:gd name="connsiteX0" fmla="*/ 324694 w 324693"/>
                  <a:gd name="connsiteY0" fmla="*/ 2273 h 295567"/>
                  <a:gd name="connsiteX1" fmla="*/ 2034 w 324693"/>
                  <a:gd name="connsiteY1" fmla="*/ 295567 h 295567"/>
                  <a:gd name="connsiteX2" fmla="*/ 0 w 324693"/>
                  <a:gd name="connsiteY2" fmla="*/ 293294 h 295567"/>
                  <a:gd name="connsiteX3" fmla="*/ 322600 w 324693"/>
                  <a:gd name="connsiteY3" fmla="*/ 0 h 295567"/>
                </a:gdLst>
                <a:ahLst/>
                <a:cxnLst>
                  <a:cxn ang="0">
                    <a:pos x="connsiteX0" y="connsiteY0"/>
                  </a:cxn>
                  <a:cxn ang="0">
                    <a:pos x="connsiteX1" y="connsiteY1"/>
                  </a:cxn>
                  <a:cxn ang="0">
                    <a:pos x="connsiteX2" y="connsiteY2"/>
                  </a:cxn>
                  <a:cxn ang="0">
                    <a:pos x="connsiteX3" y="connsiteY3"/>
                  </a:cxn>
                </a:cxnLst>
                <a:rect l="l" t="t" r="r" b="b"/>
                <a:pathLst>
                  <a:path w="324693" h="295567">
                    <a:moveTo>
                      <a:pt x="324694" y="2273"/>
                    </a:moveTo>
                    <a:lnTo>
                      <a:pt x="2034" y="295567"/>
                    </a:lnTo>
                    <a:lnTo>
                      <a:pt x="0" y="293294"/>
                    </a:lnTo>
                    <a:lnTo>
                      <a:pt x="322600" y="0"/>
                    </a:lnTo>
                    <a:close/>
                  </a:path>
                </a:pathLst>
              </a:custGeom>
              <a:grpFill/>
              <a:ln w="5978" cap="flat">
                <a:noFill/>
                <a:prstDash val="solid"/>
                <a:miter/>
              </a:ln>
            </p:spPr>
            <p:txBody>
              <a:bodyPr rtlCol="0" anchor="ctr"/>
              <a:lstStyle/>
              <a:p>
                <a:endParaRPr lang="en-GB"/>
              </a:p>
            </p:txBody>
          </p:sp>
          <p:sp>
            <p:nvSpPr>
              <p:cNvPr id="1955" name="Vrije vorm: vorm 1954">
                <a:extLst>
                  <a:ext uri="{FF2B5EF4-FFF2-40B4-BE49-F238E27FC236}">
                    <a16:creationId xmlns:a16="http://schemas.microsoft.com/office/drawing/2014/main" id="{3565E929-EE9F-475A-BAA6-51974B1B4CC5}"/>
                  </a:ext>
                </a:extLst>
              </p:cNvPr>
              <p:cNvSpPr/>
              <p:nvPr/>
            </p:nvSpPr>
            <p:spPr>
              <a:xfrm>
                <a:off x="4891284" y="4660296"/>
                <a:ext cx="18298" cy="18444"/>
              </a:xfrm>
              <a:custGeom>
                <a:avLst/>
                <a:gdLst>
                  <a:gd name="connsiteX0" fmla="*/ 3000 w 18298"/>
                  <a:gd name="connsiteY0" fmla="*/ 2374 h 18444"/>
                  <a:gd name="connsiteX1" fmla="*/ 15918 w 18298"/>
                  <a:gd name="connsiteY1" fmla="*/ 3032 h 18444"/>
                  <a:gd name="connsiteX2" fmla="*/ 15320 w 18298"/>
                  <a:gd name="connsiteY2" fmla="*/ 16070 h 18444"/>
                  <a:gd name="connsiteX3" fmla="*/ 2401 w 18298"/>
                  <a:gd name="connsiteY3" fmla="*/ 15412 h 18444"/>
                  <a:gd name="connsiteX4" fmla="*/ 3000 w 18298"/>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8" h="18444">
                    <a:moveTo>
                      <a:pt x="3000" y="2374"/>
                    </a:moveTo>
                    <a:cubicBezTo>
                      <a:pt x="6768" y="-1035"/>
                      <a:pt x="12569" y="-736"/>
                      <a:pt x="15918" y="3032"/>
                    </a:cubicBezTo>
                    <a:cubicBezTo>
                      <a:pt x="19327" y="6800"/>
                      <a:pt x="19028" y="12661"/>
                      <a:pt x="15320" y="16070"/>
                    </a:cubicBezTo>
                    <a:cubicBezTo>
                      <a:pt x="11552" y="19479"/>
                      <a:pt x="5751" y="19180"/>
                      <a:pt x="2401" y="15412"/>
                    </a:cubicBezTo>
                    <a:cubicBezTo>
                      <a:pt x="-1008" y="11585"/>
                      <a:pt x="-768" y="5783"/>
                      <a:pt x="3000" y="2374"/>
                    </a:cubicBezTo>
                    <a:close/>
                  </a:path>
                </a:pathLst>
              </a:custGeom>
              <a:grpFill/>
              <a:ln w="5978" cap="flat">
                <a:noFill/>
                <a:prstDash val="solid"/>
                <a:miter/>
              </a:ln>
            </p:spPr>
            <p:txBody>
              <a:bodyPr rtlCol="0" anchor="ctr"/>
              <a:lstStyle/>
              <a:p>
                <a:endParaRPr lang="en-GB"/>
              </a:p>
            </p:txBody>
          </p:sp>
          <p:sp>
            <p:nvSpPr>
              <p:cNvPr id="1956" name="Vrije vorm: vorm 1955">
                <a:extLst>
                  <a:ext uri="{FF2B5EF4-FFF2-40B4-BE49-F238E27FC236}">
                    <a16:creationId xmlns:a16="http://schemas.microsoft.com/office/drawing/2014/main" id="{23C371BC-49D5-4F6C-928A-271EA650CE7D}"/>
                  </a:ext>
                </a:extLst>
              </p:cNvPr>
              <p:cNvSpPr/>
              <p:nvPr/>
            </p:nvSpPr>
            <p:spPr>
              <a:xfrm>
                <a:off x="4569342" y="4952933"/>
                <a:ext cx="18319" cy="18444"/>
              </a:xfrm>
              <a:custGeom>
                <a:avLst/>
                <a:gdLst>
                  <a:gd name="connsiteX0" fmla="*/ 2999 w 18319"/>
                  <a:gd name="connsiteY0" fmla="*/ 2374 h 18444"/>
                  <a:gd name="connsiteX1" fmla="*/ 2402 w 18319"/>
                  <a:gd name="connsiteY1" fmla="*/ 15412 h 18444"/>
                  <a:gd name="connsiteX2" fmla="*/ 15320 w 18319"/>
                  <a:gd name="connsiteY2" fmla="*/ 16070 h 18444"/>
                  <a:gd name="connsiteX3" fmla="*/ 15918 w 18319"/>
                  <a:gd name="connsiteY3" fmla="*/ 3032 h 18444"/>
                  <a:gd name="connsiteX4" fmla="*/ 2999 w 18319"/>
                  <a:gd name="connsiteY4" fmla="*/ 2374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44">
                    <a:moveTo>
                      <a:pt x="2999" y="2374"/>
                    </a:moveTo>
                    <a:cubicBezTo>
                      <a:pt x="-768" y="5783"/>
                      <a:pt x="-1008" y="11585"/>
                      <a:pt x="2402" y="15412"/>
                    </a:cubicBezTo>
                    <a:cubicBezTo>
                      <a:pt x="5811" y="19180"/>
                      <a:pt x="11612" y="19479"/>
                      <a:pt x="15320" y="16070"/>
                    </a:cubicBezTo>
                    <a:cubicBezTo>
                      <a:pt x="19088" y="12661"/>
                      <a:pt x="19327" y="6860"/>
                      <a:pt x="15918" y="3032"/>
                    </a:cubicBezTo>
                    <a:cubicBezTo>
                      <a:pt x="12509" y="-736"/>
                      <a:pt x="6707" y="-1035"/>
                      <a:pt x="2999" y="2374"/>
                    </a:cubicBezTo>
                    <a:close/>
                  </a:path>
                </a:pathLst>
              </a:custGeom>
              <a:grpFill/>
              <a:ln w="5978" cap="flat">
                <a:noFill/>
                <a:prstDash val="solid"/>
                <a:miter/>
              </a:ln>
            </p:spPr>
            <p:txBody>
              <a:bodyPr rtlCol="0" anchor="ctr"/>
              <a:lstStyle/>
              <a:p>
                <a:endParaRPr lang="en-GB"/>
              </a:p>
            </p:txBody>
          </p:sp>
        </p:grpSp>
        <p:grpSp>
          <p:nvGrpSpPr>
            <p:cNvPr id="1150" name="Graphic 3">
              <a:extLst>
                <a:ext uri="{FF2B5EF4-FFF2-40B4-BE49-F238E27FC236}">
                  <a16:creationId xmlns:a16="http://schemas.microsoft.com/office/drawing/2014/main" id="{AD177E1D-E794-44D3-A931-4100E0D991A6}"/>
                </a:ext>
              </a:extLst>
            </p:cNvPr>
            <p:cNvGrpSpPr/>
            <p:nvPr/>
          </p:nvGrpSpPr>
          <p:grpSpPr>
            <a:xfrm>
              <a:off x="4233636" y="3505743"/>
              <a:ext cx="132565" cy="25031"/>
              <a:chOff x="4233636" y="3505743"/>
              <a:chExt cx="132565" cy="25031"/>
            </a:xfrm>
            <a:grpFill/>
          </p:grpSpPr>
          <p:sp>
            <p:nvSpPr>
              <p:cNvPr id="1951" name="Vrije vorm: vorm 1950">
                <a:extLst>
                  <a:ext uri="{FF2B5EF4-FFF2-40B4-BE49-F238E27FC236}">
                    <a16:creationId xmlns:a16="http://schemas.microsoft.com/office/drawing/2014/main" id="{AE4B1B80-C7EB-492E-84EE-9DEFC302CBBE}"/>
                  </a:ext>
                </a:extLst>
              </p:cNvPr>
              <p:cNvSpPr/>
              <p:nvPr/>
            </p:nvSpPr>
            <p:spPr>
              <a:xfrm>
                <a:off x="4242205" y="3513415"/>
                <a:ext cx="115368" cy="9688"/>
              </a:xfrm>
              <a:custGeom>
                <a:avLst/>
                <a:gdLst>
                  <a:gd name="connsiteX0" fmla="*/ 115189 w 115368"/>
                  <a:gd name="connsiteY0" fmla="*/ 0 h 9688"/>
                  <a:gd name="connsiteX1" fmla="*/ 115368 w 115368"/>
                  <a:gd name="connsiteY1" fmla="*/ 3050 h 9688"/>
                  <a:gd name="connsiteX2" fmla="*/ 239 w 115368"/>
                  <a:gd name="connsiteY2" fmla="*/ 9689 h 9688"/>
                  <a:gd name="connsiteX3" fmla="*/ 0 w 115368"/>
                  <a:gd name="connsiteY3" fmla="*/ 6639 h 9688"/>
                </a:gdLst>
                <a:ahLst/>
                <a:cxnLst>
                  <a:cxn ang="0">
                    <a:pos x="connsiteX0" y="connsiteY0"/>
                  </a:cxn>
                  <a:cxn ang="0">
                    <a:pos x="connsiteX1" y="connsiteY1"/>
                  </a:cxn>
                  <a:cxn ang="0">
                    <a:pos x="connsiteX2" y="connsiteY2"/>
                  </a:cxn>
                  <a:cxn ang="0">
                    <a:pos x="connsiteX3" y="connsiteY3"/>
                  </a:cxn>
                </a:cxnLst>
                <a:rect l="l" t="t" r="r" b="b"/>
                <a:pathLst>
                  <a:path w="115368" h="9688">
                    <a:moveTo>
                      <a:pt x="115189" y="0"/>
                    </a:moveTo>
                    <a:lnTo>
                      <a:pt x="115368" y="3050"/>
                    </a:lnTo>
                    <a:lnTo>
                      <a:pt x="239" y="9689"/>
                    </a:lnTo>
                    <a:lnTo>
                      <a:pt x="0" y="6639"/>
                    </a:lnTo>
                    <a:close/>
                  </a:path>
                </a:pathLst>
              </a:custGeom>
              <a:grpFill/>
              <a:ln w="5978" cap="flat">
                <a:noFill/>
                <a:prstDash val="solid"/>
                <a:miter/>
              </a:ln>
            </p:spPr>
            <p:txBody>
              <a:bodyPr rtlCol="0" anchor="ctr"/>
              <a:lstStyle/>
              <a:p>
                <a:endParaRPr lang="en-GB"/>
              </a:p>
            </p:txBody>
          </p:sp>
          <p:sp>
            <p:nvSpPr>
              <p:cNvPr id="1952" name="Vrije vorm: vorm 1951">
                <a:extLst>
                  <a:ext uri="{FF2B5EF4-FFF2-40B4-BE49-F238E27FC236}">
                    <a16:creationId xmlns:a16="http://schemas.microsoft.com/office/drawing/2014/main" id="{6F7D6528-98E5-4A75-9083-8F6F713C477F}"/>
                  </a:ext>
                </a:extLst>
              </p:cNvPr>
              <p:cNvSpPr/>
              <p:nvPr/>
            </p:nvSpPr>
            <p:spPr>
              <a:xfrm>
                <a:off x="4233636" y="3512322"/>
                <a:ext cx="18333" cy="18452"/>
              </a:xfrm>
              <a:custGeom>
                <a:avLst/>
                <a:gdLst>
                  <a:gd name="connsiteX0" fmla="*/ 9705 w 18333"/>
                  <a:gd name="connsiteY0" fmla="*/ 18437 h 18452"/>
                  <a:gd name="connsiteX1" fmla="*/ 16 w 18333"/>
                  <a:gd name="connsiteY1" fmla="*/ 9765 h 18452"/>
                  <a:gd name="connsiteX2" fmla="*/ 8629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9" y="16"/>
                    </a:cubicBezTo>
                    <a:cubicBezTo>
                      <a:pt x="13653" y="-283"/>
                      <a:pt x="18018" y="3605"/>
                      <a:pt x="18317" y="8688"/>
                    </a:cubicBezTo>
                    <a:cubicBezTo>
                      <a:pt x="18616" y="13772"/>
                      <a:pt x="14789" y="18138"/>
                      <a:pt x="9705" y="18437"/>
                    </a:cubicBezTo>
                    <a:close/>
                  </a:path>
                </a:pathLst>
              </a:custGeom>
              <a:grpFill/>
              <a:ln w="5978" cap="flat">
                <a:noFill/>
                <a:prstDash val="solid"/>
                <a:miter/>
              </a:ln>
            </p:spPr>
            <p:txBody>
              <a:bodyPr rtlCol="0" anchor="ctr"/>
              <a:lstStyle/>
              <a:p>
                <a:endParaRPr lang="en-GB"/>
              </a:p>
            </p:txBody>
          </p:sp>
          <p:sp>
            <p:nvSpPr>
              <p:cNvPr id="1953" name="Vrije vorm: vorm 1952">
                <a:extLst>
                  <a:ext uri="{FF2B5EF4-FFF2-40B4-BE49-F238E27FC236}">
                    <a16:creationId xmlns:a16="http://schemas.microsoft.com/office/drawing/2014/main" id="{34FDE3E0-DE07-4327-8533-D46173DFBAD1}"/>
                  </a:ext>
                </a:extLst>
              </p:cNvPr>
              <p:cNvSpPr/>
              <p:nvPr/>
            </p:nvSpPr>
            <p:spPr>
              <a:xfrm>
                <a:off x="4347869" y="3505743"/>
                <a:ext cx="18333" cy="18452"/>
              </a:xfrm>
              <a:custGeom>
                <a:avLst/>
                <a:gdLst>
                  <a:gd name="connsiteX0" fmla="*/ 9705 w 18333"/>
                  <a:gd name="connsiteY0" fmla="*/ 18437 h 18452"/>
                  <a:gd name="connsiteX1" fmla="*/ 18317 w 18333"/>
                  <a:gd name="connsiteY1" fmla="*/ 8688 h 18452"/>
                  <a:gd name="connsiteX2" fmla="*/ 8628 w 18333"/>
                  <a:gd name="connsiteY2" fmla="*/ 16 h 18452"/>
                  <a:gd name="connsiteX3" fmla="*/ 16 w 18333"/>
                  <a:gd name="connsiteY3" fmla="*/ 9765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14729" y="18138"/>
                      <a:pt x="18616" y="13772"/>
                      <a:pt x="18317" y="8688"/>
                    </a:cubicBezTo>
                    <a:cubicBezTo>
                      <a:pt x="18018" y="3605"/>
                      <a:pt x="13652" y="-283"/>
                      <a:pt x="8628" y="16"/>
                    </a:cubicBezTo>
                    <a:cubicBezTo>
                      <a:pt x="3604" y="315"/>
                      <a:pt x="-283"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1151" name="Graphic 3">
              <a:extLst>
                <a:ext uri="{FF2B5EF4-FFF2-40B4-BE49-F238E27FC236}">
                  <a16:creationId xmlns:a16="http://schemas.microsoft.com/office/drawing/2014/main" id="{39271BCA-4D95-4989-B35A-D42AE8831F21}"/>
                </a:ext>
              </a:extLst>
            </p:cNvPr>
            <p:cNvGrpSpPr/>
            <p:nvPr/>
          </p:nvGrpSpPr>
          <p:grpSpPr>
            <a:xfrm>
              <a:off x="3906811" y="3047399"/>
              <a:ext cx="492983" cy="129120"/>
              <a:chOff x="3906811" y="3047399"/>
              <a:chExt cx="492983" cy="129120"/>
            </a:xfrm>
            <a:grpFill/>
          </p:grpSpPr>
          <p:sp>
            <p:nvSpPr>
              <p:cNvPr id="1948" name="Vrije vorm: vorm 1947">
                <a:extLst>
                  <a:ext uri="{FF2B5EF4-FFF2-40B4-BE49-F238E27FC236}">
                    <a16:creationId xmlns:a16="http://schemas.microsoft.com/office/drawing/2014/main" id="{7BF2C89D-0188-416E-B4A8-A5A1CA188877}"/>
                  </a:ext>
                </a:extLst>
              </p:cNvPr>
              <p:cNvSpPr/>
              <p:nvPr/>
            </p:nvSpPr>
            <p:spPr>
              <a:xfrm>
                <a:off x="3915179" y="3054993"/>
                <a:ext cx="476244" cy="113932"/>
              </a:xfrm>
              <a:custGeom>
                <a:avLst/>
                <a:gdLst>
                  <a:gd name="connsiteX0" fmla="*/ 476245 w 476244"/>
                  <a:gd name="connsiteY0" fmla="*/ 110942 h 113932"/>
                  <a:gd name="connsiteX1" fmla="*/ 475587 w 476244"/>
                  <a:gd name="connsiteY1" fmla="*/ 113933 h 113932"/>
                  <a:gd name="connsiteX2" fmla="*/ 0 w 476244"/>
                  <a:gd name="connsiteY2" fmla="*/ 2990 h 113932"/>
                  <a:gd name="connsiteX3" fmla="*/ 658 w 476244"/>
                  <a:gd name="connsiteY3" fmla="*/ 0 h 113932"/>
                </a:gdLst>
                <a:ahLst/>
                <a:cxnLst>
                  <a:cxn ang="0">
                    <a:pos x="connsiteX0" y="connsiteY0"/>
                  </a:cxn>
                  <a:cxn ang="0">
                    <a:pos x="connsiteX1" y="connsiteY1"/>
                  </a:cxn>
                  <a:cxn ang="0">
                    <a:pos x="connsiteX2" y="connsiteY2"/>
                  </a:cxn>
                  <a:cxn ang="0">
                    <a:pos x="connsiteX3" y="connsiteY3"/>
                  </a:cxn>
                </a:cxnLst>
                <a:rect l="l" t="t" r="r" b="b"/>
                <a:pathLst>
                  <a:path w="476244" h="113932">
                    <a:moveTo>
                      <a:pt x="476245" y="110942"/>
                    </a:moveTo>
                    <a:lnTo>
                      <a:pt x="475587" y="113933"/>
                    </a:lnTo>
                    <a:lnTo>
                      <a:pt x="0" y="2990"/>
                    </a:lnTo>
                    <a:lnTo>
                      <a:pt x="658" y="0"/>
                    </a:lnTo>
                    <a:close/>
                  </a:path>
                </a:pathLst>
              </a:custGeom>
              <a:grpFill/>
              <a:ln w="5978" cap="flat">
                <a:noFill/>
                <a:prstDash val="solid"/>
                <a:miter/>
              </a:ln>
            </p:spPr>
            <p:txBody>
              <a:bodyPr rtlCol="0" anchor="ctr"/>
              <a:lstStyle/>
              <a:p>
                <a:endParaRPr lang="en-GB"/>
              </a:p>
            </p:txBody>
          </p:sp>
          <p:sp>
            <p:nvSpPr>
              <p:cNvPr id="1949" name="Vrije vorm: vorm 1948">
                <a:extLst>
                  <a:ext uri="{FF2B5EF4-FFF2-40B4-BE49-F238E27FC236}">
                    <a16:creationId xmlns:a16="http://schemas.microsoft.com/office/drawing/2014/main" id="{F60AC7C6-60DC-4836-9724-5E76A39E3EEC}"/>
                  </a:ext>
                </a:extLst>
              </p:cNvPr>
              <p:cNvSpPr/>
              <p:nvPr/>
            </p:nvSpPr>
            <p:spPr>
              <a:xfrm>
                <a:off x="4381498" y="3158105"/>
                <a:ext cx="18297" cy="18413"/>
              </a:xfrm>
              <a:custGeom>
                <a:avLst/>
                <a:gdLst>
                  <a:gd name="connsiteX0" fmla="*/ 11182 w 18297"/>
                  <a:gd name="connsiteY0" fmla="*/ 234 h 18413"/>
                  <a:gd name="connsiteX1" fmla="*/ 18060 w 18297"/>
                  <a:gd name="connsiteY1" fmla="*/ 11299 h 18413"/>
                  <a:gd name="connsiteX2" fmla="*/ 7115 w 18297"/>
                  <a:gd name="connsiteY2" fmla="*/ 18176 h 18413"/>
                  <a:gd name="connsiteX3" fmla="*/ 237 w 18297"/>
                  <a:gd name="connsiteY3" fmla="*/ 7112 h 18413"/>
                  <a:gd name="connsiteX4" fmla="*/ 11182 w 18297"/>
                  <a:gd name="connsiteY4" fmla="*/ 234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1182" y="234"/>
                    </a:moveTo>
                    <a:cubicBezTo>
                      <a:pt x="16146" y="1371"/>
                      <a:pt x="19196" y="6335"/>
                      <a:pt x="18060" y="11299"/>
                    </a:cubicBezTo>
                    <a:cubicBezTo>
                      <a:pt x="16923" y="16263"/>
                      <a:pt x="12019" y="19313"/>
                      <a:pt x="7115" y="18176"/>
                    </a:cubicBezTo>
                    <a:cubicBezTo>
                      <a:pt x="2151" y="17040"/>
                      <a:pt x="-899" y="12076"/>
                      <a:pt x="237" y="7112"/>
                    </a:cubicBezTo>
                    <a:cubicBezTo>
                      <a:pt x="1374" y="2208"/>
                      <a:pt x="6278" y="-902"/>
                      <a:pt x="11182" y="234"/>
                    </a:cubicBezTo>
                    <a:close/>
                  </a:path>
                </a:pathLst>
              </a:custGeom>
              <a:grpFill/>
              <a:ln w="5978" cap="flat">
                <a:noFill/>
                <a:prstDash val="solid"/>
                <a:miter/>
              </a:ln>
            </p:spPr>
            <p:txBody>
              <a:bodyPr rtlCol="0" anchor="ctr"/>
              <a:lstStyle/>
              <a:p>
                <a:endParaRPr lang="en-GB"/>
              </a:p>
            </p:txBody>
          </p:sp>
          <p:sp>
            <p:nvSpPr>
              <p:cNvPr id="1950" name="Vrije vorm: vorm 1949">
                <a:extLst>
                  <a:ext uri="{FF2B5EF4-FFF2-40B4-BE49-F238E27FC236}">
                    <a16:creationId xmlns:a16="http://schemas.microsoft.com/office/drawing/2014/main" id="{B4C0995E-4722-46C8-AE86-3CB954912956}"/>
                  </a:ext>
                </a:extLst>
              </p:cNvPr>
              <p:cNvSpPr/>
              <p:nvPr/>
            </p:nvSpPr>
            <p:spPr>
              <a:xfrm>
                <a:off x="3906811" y="3047399"/>
                <a:ext cx="18329" cy="18416"/>
              </a:xfrm>
              <a:custGeom>
                <a:avLst/>
                <a:gdLst>
                  <a:gd name="connsiteX0" fmla="*/ 11179 w 18329"/>
                  <a:gd name="connsiteY0" fmla="*/ 237 h 18416"/>
                  <a:gd name="connsiteX1" fmla="*/ 234 w 18329"/>
                  <a:gd name="connsiteY1" fmla="*/ 7115 h 18416"/>
                  <a:gd name="connsiteX2" fmla="*/ 7112 w 18329"/>
                  <a:gd name="connsiteY2" fmla="*/ 18180 h 18416"/>
                  <a:gd name="connsiteX3" fmla="*/ 18117 w 18329"/>
                  <a:gd name="connsiteY3" fmla="*/ 11302 h 18416"/>
                  <a:gd name="connsiteX4" fmla="*/ 11179 w 18329"/>
                  <a:gd name="connsiteY4" fmla="*/ 23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6">
                    <a:moveTo>
                      <a:pt x="11179" y="237"/>
                    </a:moveTo>
                    <a:cubicBezTo>
                      <a:pt x="6215" y="-899"/>
                      <a:pt x="1311" y="2151"/>
                      <a:pt x="234" y="7115"/>
                    </a:cubicBezTo>
                    <a:cubicBezTo>
                      <a:pt x="-902" y="12079"/>
                      <a:pt x="2208" y="17043"/>
                      <a:pt x="7112" y="18180"/>
                    </a:cubicBezTo>
                    <a:cubicBezTo>
                      <a:pt x="12076" y="19316"/>
                      <a:pt x="16980" y="16266"/>
                      <a:pt x="18117" y="11302"/>
                    </a:cubicBezTo>
                    <a:cubicBezTo>
                      <a:pt x="19193" y="6338"/>
                      <a:pt x="16083" y="1374"/>
                      <a:pt x="11179" y="237"/>
                    </a:cubicBezTo>
                    <a:close/>
                  </a:path>
                </a:pathLst>
              </a:custGeom>
              <a:grpFill/>
              <a:ln w="5978" cap="flat">
                <a:noFill/>
                <a:prstDash val="solid"/>
                <a:miter/>
              </a:ln>
            </p:spPr>
            <p:txBody>
              <a:bodyPr rtlCol="0" anchor="ctr"/>
              <a:lstStyle/>
              <a:p>
                <a:endParaRPr lang="en-GB"/>
              </a:p>
            </p:txBody>
          </p:sp>
        </p:grpSp>
        <p:grpSp>
          <p:nvGrpSpPr>
            <p:cNvPr id="1152" name="Graphic 3">
              <a:extLst>
                <a:ext uri="{FF2B5EF4-FFF2-40B4-BE49-F238E27FC236}">
                  <a16:creationId xmlns:a16="http://schemas.microsoft.com/office/drawing/2014/main" id="{D50604B7-58CF-4F67-A580-A35D29A32B95}"/>
                </a:ext>
              </a:extLst>
            </p:cNvPr>
            <p:cNvGrpSpPr/>
            <p:nvPr/>
          </p:nvGrpSpPr>
          <p:grpSpPr>
            <a:xfrm>
              <a:off x="4435754" y="4024668"/>
              <a:ext cx="68692" cy="38353"/>
              <a:chOff x="4435754" y="4024668"/>
              <a:chExt cx="68692" cy="38353"/>
            </a:xfrm>
            <a:grpFill/>
          </p:grpSpPr>
          <p:sp>
            <p:nvSpPr>
              <p:cNvPr id="1945" name="Vrije vorm: vorm 1944">
                <a:extLst>
                  <a:ext uri="{FF2B5EF4-FFF2-40B4-BE49-F238E27FC236}">
                    <a16:creationId xmlns:a16="http://schemas.microsoft.com/office/drawing/2014/main" id="{99B6F208-D345-41E9-BCDA-3F95701D8EA8}"/>
                  </a:ext>
                </a:extLst>
              </p:cNvPr>
              <p:cNvSpPr/>
              <p:nvPr/>
            </p:nvSpPr>
            <p:spPr>
              <a:xfrm>
                <a:off x="4443875" y="4032302"/>
                <a:ext cx="52391" cy="23085"/>
              </a:xfrm>
              <a:custGeom>
                <a:avLst/>
                <a:gdLst>
                  <a:gd name="connsiteX0" fmla="*/ 52391 w 52391"/>
                  <a:gd name="connsiteY0" fmla="*/ 2811 h 23085"/>
                  <a:gd name="connsiteX1" fmla="*/ 1136 w 52391"/>
                  <a:gd name="connsiteY1" fmla="*/ 23085 h 23085"/>
                  <a:gd name="connsiteX2" fmla="*/ 0 w 52391"/>
                  <a:gd name="connsiteY2" fmla="*/ 20275 h 23085"/>
                  <a:gd name="connsiteX3" fmla="*/ 51255 w 52391"/>
                  <a:gd name="connsiteY3" fmla="*/ 0 h 23085"/>
                </a:gdLst>
                <a:ahLst/>
                <a:cxnLst>
                  <a:cxn ang="0">
                    <a:pos x="connsiteX0" y="connsiteY0"/>
                  </a:cxn>
                  <a:cxn ang="0">
                    <a:pos x="connsiteX1" y="connsiteY1"/>
                  </a:cxn>
                  <a:cxn ang="0">
                    <a:pos x="connsiteX2" y="connsiteY2"/>
                  </a:cxn>
                  <a:cxn ang="0">
                    <a:pos x="connsiteX3" y="connsiteY3"/>
                  </a:cxn>
                </a:cxnLst>
                <a:rect l="l" t="t" r="r" b="b"/>
                <a:pathLst>
                  <a:path w="52391" h="23085">
                    <a:moveTo>
                      <a:pt x="52391" y="2811"/>
                    </a:moveTo>
                    <a:lnTo>
                      <a:pt x="1136" y="23085"/>
                    </a:lnTo>
                    <a:lnTo>
                      <a:pt x="0" y="20275"/>
                    </a:lnTo>
                    <a:lnTo>
                      <a:pt x="51255" y="0"/>
                    </a:lnTo>
                    <a:close/>
                  </a:path>
                </a:pathLst>
              </a:custGeom>
              <a:grpFill/>
              <a:ln w="5978" cap="flat">
                <a:noFill/>
                <a:prstDash val="solid"/>
                <a:miter/>
              </a:ln>
            </p:spPr>
            <p:txBody>
              <a:bodyPr rtlCol="0" anchor="ctr"/>
              <a:lstStyle/>
              <a:p>
                <a:endParaRPr lang="en-GB"/>
              </a:p>
            </p:txBody>
          </p:sp>
          <p:sp>
            <p:nvSpPr>
              <p:cNvPr id="1946" name="Vrije vorm: vorm 1945">
                <a:extLst>
                  <a:ext uri="{FF2B5EF4-FFF2-40B4-BE49-F238E27FC236}">
                    <a16:creationId xmlns:a16="http://schemas.microsoft.com/office/drawing/2014/main" id="{3D63F089-BF0A-4B9E-B041-99526DEECBF0}"/>
                  </a:ext>
                </a:extLst>
              </p:cNvPr>
              <p:cNvSpPr/>
              <p:nvPr/>
            </p:nvSpPr>
            <p:spPr>
              <a:xfrm>
                <a:off x="4435754" y="4044584"/>
                <a:ext cx="18327" cy="18438"/>
              </a:xfrm>
              <a:custGeom>
                <a:avLst/>
                <a:gdLst>
                  <a:gd name="connsiteX0" fmla="*/ 12547 w 18327"/>
                  <a:gd name="connsiteY0" fmla="*/ 17801 h 18438"/>
                  <a:gd name="connsiteX1" fmla="*/ 645 w 18327"/>
                  <a:gd name="connsiteY1" fmla="*/ 12598 h 18438"/>
                  <a:gd name="connsiteX2" fmla="*/ 5788 w 18327"/>
                  <a:gd name="connsiteY2" fmla="*/ 637 h 18438"/>
                  <a:gd name="connsiteX3" fmla="*/ 17690 w 18327"/>
                  <a:gd name="connsiteY3" fmla="*/ 5840 h 18438"/>
                  <a:gd name="connsiteX4" fmla="*/ 12547 w 18327"/>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8">
                    <a:moveTo>
                      <a:pt x="12547" y="17801"/>
                    </a:moveTo>
                    <a:cubicBezTo>
                      <a:pt x="7822" y="19655"/>
                      <a:pt x="2499" y="17323"/>
                      <a:pt x="645" y="12598"/>
                    </a:cubicBezTo>
                    <a:cubicBezTo>
                      <a:pt x="-1209" y="7874"/>
                      <a:pt x="1064" y="2491"/>
                      <a:pt x="5788" y="637"/>
                    </a:cubicBezTo>
                    <a:cubicBezTo>
                      <a:pt x="10513" y="-1217"/>
                      <a:pt x="15836" y="1115"/>
                      <a:pt x="17690" y="5840"/>
                    </a:cubicBezTo>
                    <a:cubicBezTo>
                      <a:pt x="19544" y="10565"/>
                      <a:pt x="17211" y="15947"/>
                      <a:pt x="12547" y="17801"/>
                    </a:cubicBezTo>
                    <a:close/>
                  </a:path>
                </a:pathLst>
              </a:custGeom>
              <a:grpFill/>
              <a:ln w="5978" cap="flat">
                <a:noFill/>
                <a:prstDash val="solid"/>
                <a:miter/>
              </a:ln>
            </p:spPr>
            <p:txBody>
              <a:bodyPr rtlCol="0" anchor="ctr"/>
              <a:lstStyle/>
              <a:p>
                <a:endParaRPr lang="en-GB"/>
              </a:p>
            </p:txBody>
          </p:sp>
          <p:sp>
            <p:nvSpPr>
              <p:cNvPr id="1947" name="Vrije vorm: vorm 1946">
                <a:extLst>
                  <a:ext uri="{FF2B5EF4-FFF2-40B4-BE49-F238E27FC236}">
                    <a16:creationId xmlns:a16="http://schemas.microsoft.com/office/drawing/2014/main" id="{E65A98C5-1F8F-4D55-A739-1D929E61C37E}"/>
                  </a:ext>
                </a:extLst>
              </p:cNvPr>
              <p:cNvSpPr/>
              <p:nvPr/>
            </p:nvSpPr>
            <p:spPr>
              <a:xfrm>
                <a:off x="4486112" y="4024668"/>
                <a:ext cx="18335" cy="18438"/>
              </a:xfrm>
              <a:custGeom>
                <a:avLst/>
                <a:gdLst>
                  <a:gd name="connsiteX0" fmla="*/ 12547 w 18335"/>
                  <a:gd name="connsiteY0" fmla="*/ 17801 h 18438"/>
                  <a:gd name="connsiteX1" fmla="*/ 17690 w 18335"/>
                  <a:gd name="connsiteY1" fmla="*/ 5840 h 18438"/>
                  <a:gd name="connsiteX2" fmla="*/ 5788 w 18335"/>
                  <a:gd name="connsiteY2" fmla="*/ 637 h 18438"/>
                  <a:gd name="connsiteX3" fmla="*/ 645 w 18335"/>
                  <a:gd name="connsiteY3" fmla="*/ 12598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17272" y="15947"/>
                      <a:pt x="19544" y="10565"/>
                      <a:pt x="17690" y="5840"/>
                    </a:cubicBezTo>
                    <a:cubicBezTo>
                      <a:pt x="15836" y="1115"/>
                      <a:pt x="10513" y="-1217"/>
                      <a:pt x="5788" y="637"/>
                    </a:cubicBezTo>
                    <a:cubicBezTo>
                      <a:pt x="1064" y="2491"/>
                      <a:pt x="-1209" y="7873"/>
                      <a:pt x="645" y="12598"/>
                    </a:cubicBezTo>
                    <a:cubicBezTo>
                      <a:pt x="2499" y="17323"/>
                      <a:pt x="7822" y="19655"/>
                      <a:pt x="12547" y="17801"/>
                    </a:cubicBezTo>
                    <a:close/>
                  </a:path>
                </a:pathLst>
              </a:custGeom>
              <a:grpFill/>
              <a:ln w="5978" cap="flat">
                <a:noFill/>
                <a:prstDash val="solid"/>
                <a:miter/>
              </a:ln>
            </p:spPr>
            <p:txBody>
              <a:bodyPr rtlCol="0" anchor="ctr"/>
              <a:lstStyle/>
              <a:p>
                <a:endParaRPr lang="en-GB"/>
              </a:p>
            </p:txBody>
          </p:sp>
        </p:grpSp>
        <p:grpSp>
          <p:nvGrpSpPr>
            <p:cNvPr id="1153" name="Graphic 3">
              <a:extLst>
                <a:ext uri="{FF2B5EF4-FFF2-40B4-BE49-F238E27FC236}">
                  <a16:creationId xmlns:a16="http://schemas.microsoft.com/office/drawing/2014/main" id="{52B0F26A-331F-4167-B045-ACA33E49E6E1}"/>
                </a:ext>
              </a:extLst>
            </p:cNvPr>
            <p:cNvGrpSpPr/>
            <p:nvPr/>
          </p:nvGrpSpPr>
          <p:grpSpPr>
            <a:xfrm>
              <a:off x="4132458" y="3374600"/>
              <a:ext cx="233309" cy="22131"/>
              <a:chOff x="4132458" y="3374600"/>
              <a:chExt cx="233309" cy="22131"/>
            </a:xfrm>
            <a:grpFill/>
          </p:grpSpPr>
          <p:sp>
            <p:nvSpPr>
              <p:cNvPr id="1942" name="Vrije vorm: vorm 1941">
                <a:extLst>
                  <a:ext uri="{FF2B5EF4-FFF2-40B4-BE49-F238E27FC236}">
                    <a16:creationId xmlns:a16="http://schemas.microsoft.com/office/drawing/2014/main" id="{B9555D09-967C-4311-A471-8C08844077B4}"/>
                  </a:ext>
                </a:extLst>
              </p:cNvPr>
              <p:cNvSpPr/>
              <p:nvPr/>
            </p:nvSpPr>
            <p:spPr>
              <a:xfrm>
                <a:off x="4141131" y="3382258"/>
                <a:ext cx="216023" cy="6817"/>
              </a:xfrm>
              <a:custGeom>
                <a:avLst/>
                <a:gdLst>
                  <a:gd name="connsiteX0" fmla="*/ 216024 w 216023"/>
                  <a:gd name="connsiteY0" fmla="*/ 3768 h 6817"/>
                  <a:gd name="connsiteX1" fmla="*/ 215964 w 216023"/>
                  <a:gd name="connsiteY1" fmla="*/ 6818 h 6817"/>
                  <a:gd name="connsiteX2" fmla="*/ 0 w 216023"/>
                  <a:gd name="connsiteY2" fmla="*/ 3050 h 6817"/>
                  <a:gd name="connsiteX3" fmla="*/ 60 w 216023"/>
                  <a:gd name="connsiteY3" fmla="*/ 0 h 6817"/>
                </a:gdLst>
                <a:ahLst/>
                <a:cxnLst>
                  <a:cxn ang="0">
                    <a:pos x="connsiteX0" y="connsiteY0"/>
                  </a:cxn>
                  <a:cxn ang="0">
                    <a:pos x="connsiteX1" y="connsiteY1"/>
                  </a:cxn>
                  <a:cxn ang="0">
                    <a:pos x="connsiteX2" y="connsiteY2"/>
                  </a:cxn>
                  <a:cxn ang="0">
                    <a:pos x="connsiteX3" y="connsiteY3"/>
                  </a:cxn>
                </a:cxnLst>
                <a:rect l="l" t="t" r="r" b="b"/>
                <a:pathLst>
                  <a:path w="216023" h="6817">
                    <a:moveTo>
                      <a:pt x="216024" y="3768"/>
                    </a:moveTo>
                    <a:lnTo>
                      <a:pt x="215964" y="6818"/>
                    </a:lnTo>
                    <a:lnTo>
                      <a:pt x="0" y="3050"/>
                    </a:lnTo>
                    <a:lnTo>
                      <a:pt x="60" y="0"/>
                    </a:lnTo>
                    <a:close/>
                  </a:path>
                </a:pathLst>
              </a:custGeom>
              <a:grpFill/>
              <a:ln w="5978" cap="flat">
                <a:noFill/>
                <a:prstDash val="solid"/>
                <a:miter/>
              </a:ln>
            </p:spPr>
            <p:txBody>
              <a:bodyPr rtlCol="0" anchor="ctr"/>
              <a:lstStyle/>
              <a:p>
                <a:endParaRPr lang="en-GB"/>
              </a:p>
            </p:txBody>
          </p:sp>
          <p:sp>
            <p:nvSpPr>
              <p:cNvPr id="1943" name="Vrije vorm: vorm 1942">
                <a:extLst>
                  <a:ext uri="{FF2B5EF4-FFF2-40B4-BE49-F238E27FC236}">
                    <a16:creationId xmlns:a16="http://schemas.microsoft.com/office/drawing/2014/main" id="{6A82B533-8D15-41AB-806B-053B313CFFDB}"/>
                  </a:ext>
                </a:extLst>
              </p:cNvPr>
              <p:cNvSpPr/>
              <p:nvPr/>
            </p:nvSpPr>
            <p:spPr>
              <a:xfrm>
                <a:off x="4132458" y="3374600"/>
                <a:ext cx="18302" cy="18423"/>
              </a:xfrm>
              <a:custGeom>
                <a:avLst/>
                <a:gdLst>
                  <a:gd name="connsiteX0" fmla="*/ 9032 w 18302"/>
                  <a:gd name="connsiteY0" fmla="*/ 18423 h 18423"/>
                  <a:gd name="connsiteX1" fmla="*/ 1 w 18302"/>
                  <a:gd name="connsiteY1" fmla="*/ 9033 h 18423"/>
                  <a:gd name="connsiteX2" fmla="*/ 9271 w 18302"/>
                  <a:gd name="connsiteY2" fmla="*/ 3 h 18423"/>
                  <a:gd name="connsiteX3" fmla="*/ 18302 w 18302"/>
                  <a:gd name="connsiteY3" fmla="*/ 9392 h 18423"/>
                  <a:gd name="connsiteX4" fmla="*/ 9032 w 18302"/>
                  <a:gd name="connsiteY4" fmla="*/ 18423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3">
                    <a:moveTo>
                      <a:pt x="9032" y="18423"/>
                    </a:moveTo>
                    <a:cubicBezTo>
                      <a:pt x="3948" y="18363"/>
                      <a:pt x="-59" y="14117"/>
                      <a:pt x="1" y="9033"/>
                    </a:cubicBezTo>
                    <a:cubicBezTo>
                      <a:pt x="61" y="3950"/>
                      <a:pt x="4247" y="-117"/>
                      <a:pt x="9271" y="3"/>
                    </a:cubicBezTo>
                    <a:cubicBezTo>
                      <a:pt x="14295" y="122"/>
                      <a:pt x="18362" y="4309"/>
                      <a:pt x="18302" y="9392"/>
                    </a:cubicBezTo>
                    <a:cubicBezTo>
                      <a:pt x="18242" y="14416"/>
                      <a:pt x="14115" y="18483"/>
                      <a:pt x="9032" y="18423"/>
                    </a:cubicBezTo>
                    <a:close/>
                  </a:path>
                </a:pathLst>
              </a:custGeom>
              <a:grpFill/>
              <a:ln w="5978" cap="flat">
                <a:noFill/>
                <a:prstDash val="solid"/>
                <a:miter/>
              </a:ln>
            </p:spPr>
            <p:txBody>
              <a:bodyPr rtlCol="0" anchor="ctr"/>
              <a:lstStyle/>
              <a:p>
                <a:endParaRPr lang="en-GB"/>
              </a:p>
            </p:txBody>
          </p:sp>
          <p:sp>
            <p:nvSpPr>
              <p:cNvPr id="1944" name="Vrije vorm: vorm 1943">
                <a:extLst>
                  <a:ext uri="{FF2B5EF4-FFF2-40B4-BE49-F238E27FC236}">
                    <a16:creationId xmlns:a16="http://schemas.microsoft.com/office/drawing/2014/main" id="{C6EC9DD3-6D2D-43A6-86DD-030EDC788B7F}"/>
                  </a:ext>
                </a:extLst>
              </p:cNvPr>
              <p:cNvSpPr/>
              <p:nvPr/>
            </p:nvSpPr>
            <p:spPr>
              <a:xfrm>
                <a:off x="4347465" y="3378310"/>
                <a:ext cx="18302" cy="18421"/>
              </a:xfrm>
              <a:custGeom>
                <a:avLst/>
                <a:gdLst>
                  <a:gd name="connsiteX0" fmla="*/ 9031 w 18302"/>
                  <a:gd name="connsiteY0" fmla="*/ 18421 h 18421"/>
                  <a:gd name="connsiteX1" fmla="*/ 18302 w 18302"/>
                  <a:gd name="connsiteY1" fmla="*/ 9390 h 18421"/>
                  <a:gd name="connsiteX2" fmla="*/ 9271 w 18302"/>
                  <a:gd name="connsiteY2" fmla="*/ 1 h 18421"/>
                  <a:gd name="connsiteX3" fmla="*/ 1 w 18302"/>
                  <a:gd name="connsiteY3" fmla="*/ 9032 h 18421"/>
                  <a:gd name="connsiteX4" fmla="*/ 9031 w 18302"/>
                  <a:gd name="connsiteY4" fmla="*/ 184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1" y="18421"/>
                    </a:moveTo>
                    <a:cubicBezTo>
                      <a:pt x="14115" y="18481"/>
                      <a:pt x="18242" y="14474"/>
                      <a:pt x="18302" y="9390"/>
                    </a:cubicBezTo>
                    <a:cubicBezTo>
                      <a:pt x="18362" y="4307"/>
                      <a:pt x="14294" y="120"/>
                      <a:pt x="9271" y="1"/>
                    </a:cubicBezTo>
                    <a:cubicBezTo>
                      <a:pt x="4187" y="-59"/>
                      <a:pt x="60" y="3948"/>
                      <a:pt x="1" y="9032"/>
                    </a:cubicBezTo>
                    <a:cubicBezTo>
                      <a:pt x="-59" y="14175"/>
                      <a:pt x="4008" y="18362"/>
                      <a:pt x="9031" y="18421"/>
                    </a:cubicBezTo>
                    <a:close/>
                  </a:path>
                </a:pathLst>
              </a:custGeom>
              <a:grpFill/>
              <a:ln w="5978" cap="flat">
                <a:noFill/>
                <a:prstDash val="solid"/>
                <a:miter/>
              </a:ln>
            </p:spPr>
            <p:txBody>
              <a:bodyPr rtlCol="0" anchor="ctr"/>
              <a:lstStyle/>
              <a:p>
                <a:endParaRPr lang="en-GB"/>
              </a:p>
            </p:txBody>
          </p:sp>
        </p:grpSp>
        <p:grpSp>
          <p:nvGrpSpPr>
            <p:cNvPr id="1154" name="Graphic 3">
              <a:extLst>
                <a:ext uri="{FF2B5EF4-FFF2-40B4-BE49-F238E27FC236}">
                  <a16:creationId xmlns:a16="http://schemas.microsoft.com/office/drawing/2014/main" id="{8258E7D2-A1CB-4668-92F9-48D21B36319B}"/>
                </a:ext>
              </a:extLst>
            </p:cNvPr>
            <p:cNvGrpSpPr/>
            <p:nvPr/>
          </p:nvGrpSpPr>
          <p:grpSpPr>
            <a:xfrm>
              <a:off x="4441777" y="4055564"/>
              <a:ext cx="70462" cy="40129"/>
              <a:chOff x="4441777" y="4055564"/>
              <a:chExt cx="70462" cy="40129"/>
            </a:xfrm>
            <a:grpFill/>
          </p:grpSpPr>
          <p:sp>
            <p:nvSpPr>
              <p:cNvPr id="1939" name="Vrije vorm: vorm 1938">
                <a:extLst>
                  <a:ext uri="{FF2B5EF4-FFF2-40B4-BE49-F238E27FC236}">
                    <a16:creationId xmlns:a16="http://schemas.microsoft.com/office/drawing/2014/main" id="{8612771A-FDDC-4A4A-A9F6-2EC8E75B0FA1}"/>
                  </a:ext>
                </a:extLst>
              </p:cNvPr>
              <p:cNvSpPr/>
              <p:nvPr/>
            </p:nvSpPr>
            <p:spPr>
              <a:xfrm>
                <a:off x="4449775" y="4063238"/>
                <a:ext cx="54047" cy="24884"/>
              </a:xfrm>
              <a:custGeom>
                <a:avLst/>
                <a:gdLst>
                  <a:gd name="connsiteX0" fmla="*/ 0 w 54047"/>
                  <a:gd name="connsiteY0" fmla="*/ 22070 h 24884"/>
                  <a:gd name="connsiteX1" fmla="*/ 52872 w 54047"/>
                  <a:gd name="connsiteY1" fmla="*/ 0 h 24884"/>
                  <a:gd name="connsiteX2" fmla="*/ 54047 w 54047"/>
                  <a:gd name="connsiteY2" fmla="*/ 2815 h 24884"/>
                  <a:gd name="connsiteX3" fmla="*/ 1175 w 54047"/>
                  <a:gd name="connsiteY3" fmla="*/ 24885 h 24884"/>
                </a:gdLst>
                <a:ahLst/>
                <a:cxnLst>
                  <a:cxn ang="0">
                    <a:pos x="connsiteX0" y="connsiteY0"/>
                  </a:cxn>
                  <a:cxn ang="0">
                    <a:pos x="connsiteX1" y="connsiteY1"/>
                  </a:cxn>
                  <a:cxn ang="0">
                    <a:pos x="connsiteX2" y="connsiteY2"/>
                  </a:cxn>
                  <a:cxn ang="0">
                    <a:pos x="connsiteX3" y="connsiteY3"/>
                  </a:cxn>
                </a:cxnLst>
                <a:rect l="l" t="t" r="r" b="b"/>
                <a:pathLst>
                  <a:path w="54047" h="24884">
                    <a:moveTo>
                      <a:pt x="0" y="22070"/>
                    </a:moveTo>
                    <a:lnTo>
                      <a:pt x="52872" y="0"/>
                    </a:lnTo>
                    <a:lnTo>
                      <a:pt x="54047" y="2815"/>
                    </a:lnTo>
                    <a:lnTo>
                      <a:pt x="1175" y="24885"/>
                    </a:lnTo>
                    <a:close/>
                  </a:path>
                </a:pathLst>
              </a:custGeom>
              <a:grpFill/>
              <a:ln w="5978" cap="flat">
                <a:noFill/>
                <a:prstDash val="solid"/>
                <a:miter/>
              </a:ln>
            </p:spPr>
            <p:txBody>
              <a:bodyPr rtlCol="0" anchor="ctr"/>
              <a:lstStyle/>
              <a:p>
                <a:endParaRPr lang="en-GB"/>
              </a:p>
            </p:txBody>
          </p:sp>
          <p:sp>
            <p:nvSpPr>
              <p:cNvPr id="1940" name="Vrije vorm: vorm 1939">
                <a:extLst>
                  <a:ext uri="{FF2B5EF4-FFF2-40B4-BE49-F238E27FC236}">
                    <a16:creationId xmlns:a16="http://schemas.microsoft.com/office/drawing/2014/main" id="{6A5677F9-4997-4C23-849B-86FF68A45B78}"/>
                  </a:ext>
                </a:extLst>
              </p:cNvPr>
              <p:cNvSpPr/>
              <p:nvPr/>
            </p:nvSpPr>
            <p:spPr>
              <a:xfrm>
                <a:off x="4441777" y="4077282"/>
                <a:ext cx="18370" cy="18411"/>
              </a:xfrm>
              <a:custGeom>
                <a:avLst/>
                <a:gdLst>
                  <a:gd name="connsiteX0" fmla="*/ 12744 w 18370"/>
                  <a:gd name="connsiteY0" fmla="*/ 17698 h 18411"/>
                  <a:gd name="connsiteX1" fmla="*/ 722 w 18370"/>
                  <a:gd name="connsiteY1" fmla="*/ 12734 h 18411"/>
                  <a:gd name="connsiteX2" fmla="*/ 5626 w 18370"/>
                  <a:gd name="connsiteY2" fmla="*/ 713 h 18411"/>
                  <a:gd name="connsiteX3" fmla="*/ 17648 w 18370"/>
                  <a:gd name="connsiteY3" fmla="*/ 5677 h 18411"/>
                  <a:gd name="connsiteX4" fmla="*/ 12744 w 18370"/>
                  <a:gd name="connsiteY4" fmla="*/ 1769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1">
                    <a:moveTo>
                      <a:pt x="12744" y="17698"/>
                    </a:moveTo>
                    <a:cubicBezTo>
                      <a:pt x="8079" y="19672"/>
                      <a:pt x="2696" y="17399"/>
                      <a:pt x="722" y="12734"/>
                    </a:cubicBezTo>
                    <a:cubicBezTo>
                      <a:pt x="-1251" y="8010"/>
                      <a:pt x="962" y="2627"/>
                      <a:pt x="5626" y="713"/>
                    </a:cubicBezTo>
                    <a:cubicBezTo>
                      <a:pt x="10292" y="-1260"/>
                      <a:pt x="15674" y="1012"/>
                      <a:pt x="17648" y="5677"/>
                    </a:cubicBezTo>
                    <a:cubicBezTo>
                      <a:pt x="19622" y="10342"/>
                      <a:pt x="17409" y="15725"/>
                      <a:pt x="12744" y="17698"/>
                    </a:cubicBezTo>
                    <a:close/>
                  </a:path>
                </a:pathLst>
              </a:custGeom>
              <a:grpFill/>
              <a:ln w="5978" cap="flat">
                <a:noFill/>
                <a:prstDash val="solid"/>
                <a:miter/>
              </a:ln>
            </p:spPr>
            <p:txBody>
              <a:bodyPr rtlCol="0" anchor="ctr"/>
              <a:lstStyle/>
              <a:p>
                <a:endParaRPr lang="en-GB"/>
              </a:p>
            </p:txBody>
          </p:sp>
          <p:sp>
            <p:nvSpPr>
              <p:cNvPr id="1941" name="Vrije vorm: vorm 1940">
                <a:extLst>
                  <a:ext uri="{FF2B5EF4-FFF2-40B4-BE49-F238E27FC236}">
                    <a16:creationId xmlns:a16="http://schemas.microsoft.com/office/drawing/2014/main" id="{509C4B30-9446-4404-AD2C-DF93EB9CC53C}"/>
                  </a:ext>
                </a:extLst>
              </p:cNvPr>
              <p:cNvSpPr/>
              <p:nvPr/>
            </p:nvSpPr>
            <p:spPr>
              <a:xfrm>
                <a:off x="4493869" y="4055564"/>
                <a:ext cx="18370" cy="18394"/>
              </a:xfrm>
              <a:custGeom>
                <a:avLst/>
                <a:gdLst>
                  <a:gd name="connsiteX0" fmla="*/ 12744 w 18370"/>
                  <a:gd name="connsiteY0" fmla="*/ 17707 h 18394"/>
                  <a:gd name="connsiteX1" fmla="*/ 17648 w 18370"/>
                  <a:gd name="connsiteY1" fmla="*/ 5685 h 18394"/>
                  <a:gd name="connsiteX2" fmla="*/ 5627 w 18370"/>
                  <a:gd name="connsiteY2" fmla="*/ 722 h 18394"/>
                  <a:gd name="connsiteX3" fmla="*/ 722 w 18370"/>
                  <a:gd name="connsiteY3" fmla="*/ 12743 h 18394"/>
                  <a:gd name="connsiteX4" fmla="*/ 12744 w 18370"/>
                  <a:gd name="connsiteY4" fmla="*/ 17707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394">
                    <a:moveTo>
                      <a:pt x="12744" y="17707"/>
                    </a:moveTo>
                    <a:cubicBezTo>
                      <a:pt x="17409" y="15733"/>
                      <a:pt x="19621" y="10350"/>
                      <a:pt x="17648" y="5685"/>
                    </a:cubicBezTo>
                    <a:cubicBezTo>
                      <a:pt x="15674" y="961"/>
                      <a:pt x="10291" y="-1252"/>
                      <a:pt x="5627" y="722"/>
                    </a:cubicBezTo>
                    <a:cubicBezTo>
                      <a:pt x="962" y="2695"/>
                      <a:pt x="-1251" y="8078"/>
                      <a:pt x="722" y="12743"/>
                    </a:cubicBezTo>
                    <a:cubicBezTo>
                      <a:pt x="2696" y="17408"/>
                      <a:pt x="8079" y="19620"/>
                      <a:pt x="12744" y="17707"/>
                    </a:cubicBezTo>
                    <a:close/>
                  </a:path>
                </a:pathLst>
              </a:custGeom>
              <a:grpFill/>
              <a:ln w="5978" cap="flat">
                <a:noFill/>
                <a:prstDash val="solid"/>
                <a:miter/>
              </a:ln>
            </p:spPr>
            <p:txBody>
              <a:bodyPr rtlCol="0" anchor="ctr"/>
              <a:lstStyle/>
              <a:p>
                <a:endParaRPr lang="en-GB"/>
              </a:p>
            </p:txBody>
          </p:sp>
        </p:grpSp>
        <p:grpSp>
          <p:nvGrpSpPr>
            <p:cNvPr id="1155" name="Graphic 3">
              <a:extLst>
                <a:ext uri="{FF2B5EF4-FFF2-40B4-BE49-F238E27FC236}">
                  <a16:creationId xmlns:a16="http://schemas.microsoft.com/office/drawing/2014/main" id="{C77A5BBB-1AC6-446B-9A15-C985C9D2078B}"/>
                </a:ext>
              </a:extLst>
            </p:cNvPr>
            <p:cNvGrpSpPr/>
            <p:nvPr/>
          </p:nvGrpSpPr>
          <p:grpSpPr>
            <a:xfrm>
              <a:off x="4487932" y="4274742"/>
              <a:ext cx="147886" cy="96968"/>
              <a:chOff x="4487932" y="4274742"/>
              <a:chExt cx="147886" cy="96968"/>
            </a:xfrm>
            <a:grpFill/>
          </p:grpSpPr>
          <p:sp>
            <p:nvSpPr>
              <p:cNvPr id="1936" name="Vrije vorm: vorm 1935">
                <a:extLst>
                  <a:ext uri="{FF2B5EF4-FFF2-40B4-BE49-F238E27FC236}">
                    <a16:creationId xmlns:a16="http://schemas.microsoft.com/office/drawing/2014/main" id="{B2D5DC25-1094-49D2-A8A7-E5E1BDF62F99}"/>
                  </a:ext>
                </a:extLst>
              </p:cNvPr>
              <p:cNvSpPr/>
              <p:nvPr/>
            </p:nvSpPr>
            <p:spPr>
              <a:xfrm>
                <a:off x="4495908" y="4282356"/>
                <a:ext cx="131934" cy="81696"/>
              </a:xfrm>
              <a:custGeom>
                <a:avLst/>
                <a:gdLst>
                  <a:gd name="connsiteX0" fmla="*/ 131935 w 131934"/>
                  <a:gd name="connsiteY0" fmla="*/ 2632 h 81696"/>
                  <a:gd name="connsiteX1" fmla="*/ 1615 w 131934"/>
                  <a:gd name="connsiteY1" fmla="*/ 81696 h 81696"/>
                  <a:gd name="connsiteX2" fmla="*/ 0 w 131934"/>
                  <a:gd name="connsiteY2" fmla="*/ 79065 h 81696"/>
                  <a:gd name="connsiteX3" fmla="*/ 130380 w 131934"/>
                  <a:gd name="connsiteY3" fmla="*/ 0 h 81696"/>
                </a:gdLst>
                <a:ahLst/>
                <a:cxnLst>
                  <a:cxn ang="0">
                    <a:pos x="connsiteX0" y="connsiteY0"/>
                  </a:cxn>
                  <a:cxn ang="0">
                    <a:pos x="connsiteX1" y="connsiteY1"/>
                  </a:cxn>
                  <a:cxn ang="0">
                    <a:pos x="connsiteX2" y="connsiteY2"/>
                  </a:cxn>
                  <a:cxn ang="0">
                    <a:pos x="connsiteX3" y="connsiteY3"/>
                  </a:cxn>
                </a:cxnLst>
                <a:rect l="l" t="t" r="r" b="b"/>
                <a:pathLst>
                  <a:path w="131934" h="81696">
                    <a:moveTo>
                      <a:pt x="131935" y="2632"/>
                    </a:moveTo>
                    <a:lnTo>
                      <a:pt x="1615" y="81696"/>
                    </a:lnTo>
                    <a:lnTo>
                      <a:pt x="0" y="79065"/>
                    </a:lnTo>
                    <a:lnTo>
                      <a:pt x="130380" y="0"/>
                    </a:lnTo>
                    <a:close/>
                  </a:path>
                </a:pathLst>
              </a:custGeom>
              <a:grpFill/>
              <a:ln w="5978" cap="flat">
                <a:noFill/>
                <a:prstDash val="solid"/>
                <a:miter/>
              </a:ln>
            </p:spPr>
            <p:txBody>
              <a:bodyPr rtlCol="0" anchor="ctr"/>
              <a:lstStyle/>
              <a:p>
                <a:endParaRPr lang="en-GB"/>
              </a:p>
            </p:txBody>
          </p:sp>
          <p:sp>
            <p:nvSpPr>
              <p:cNvPr id="1937" name="Vrije vorm: vorm 1936">
                <a:extLst>
                  <a:ext uri="{FF2B5EF4-FFF2-40B4-BE49-F238E27FC236}">
                    <a16:creationId xmlns:a16="http://schemas.microsoft.com/office/drawing/2014/main" id="{4BFD401D-C8DD-4FD7-8C59-8175809E024C}"/>
                  </a:ext>
                </a:extLst>
              </p:cNvPr>
              <p:cNvSpPr/>
              <p:nvPr/>
            </p:nvSpPr>
            <p:spPr>
              <a:xfrm>
                <a:off x="4487932" y="4353283"/>
                <a:ext cx="18343" cy="18428"/>
              </a:xfrm>
              <a:custGeom>
                <a:avLst/>
                <a:gdLst>
                  <a:gd name="connsiteX0" fmla="*/ 13957 w 18343"/>
                  <a:gd name="connsiteY0" fmla="*/ 17110 h 18428"/>
                  <a:gd name="connsiteX1" fmla="*/ 1337 w 18343"/>
                  <a:gd name="connsiteY1" fmla="*/ 13940 h 18428"/>
                  <a:gd name="connsiteX2" fmla="*/ 4387 w 18343"/>
                  <a:gd name="connsiteY2" fmla="*/ 1321 h 18428"/>
                  <a:gd name="connsiteX3" fmla="*/ 17006 w 18343"/>
                  <a:gd name="connsiteY3" fmla="*/ 4431 h 18428"/>
                  <a:gd name="connsiteX4" fmla="*/ 13957 w 18343"/>
                  <a:gd name="connsiteY4" fmla="*/ 17110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8">
                    <a:moveTo>
                      <a:pt x="13957" y="17110"/>
                    </a:moveTo>
                    <a:cubicBezTo>
                      <a:pt x="9650" y="19741"/>
                      <a:pt x="3968" y="18306"/>
                      <a:pt x="1337" y="13940"/>
                    </a:cubicBezTo>
                    <a:cubicBezTo>
                      <a:pt x="-1295" y="9574"/>
                      <a:pt x="81" y="3892"/>
                      <a:pt x="4387" y="1321"/>
                    </a:cubicBezTo>
                    <a:cubicBezTo>
                      <a:pt x="8693" y="-1311"/>
                      <a:pt x="14375" y="125"/>
                      <a:pt x="17006" y="4431"/>
                    </a:cubicBezTo>
                    <a:cubicBezTo>
                      <a:pt x="19638" y="8856"/>
                      <a:pt x="18263" y="14478"/>
                      <a:pt x="13957" y="17110"/>
                    </a:cubicBezTo>
                    <a:close/>
                  </a:path>
                </a:pathLst>
              </a:custGeom>
              <a:grpFill/>
              <a:ln w="5978" cap="flat">
                <a:noFill/>
                <a:prstDash val="solid"/>
                <a:miter/>
              </a:ln>
            </p:spPr>
            <p:txBody>
              <a:bodyPr rtlCol="0" anchor="ctr"/>
              <a:lstStyle/>
              <a:p>
                <a:endParaRPr lang="en-GB"/>
              </a:p>
            </p:txBody>
          </p:sp>
          <p:sp>
            <p:nvSpPr>
              <p:cNvPr id="1938" name="Vrije vorm: vorm 1937">
                <a:extLst>
                  <a:ext uri="{FF2B5EF4-FFF2-40B4-BE49-F238E27FC236}">
                    <a16:creationId xmlns:a16="http://schemas.microsoft.com/office/drawing/2014/main" id="{8419D73D-05E4-4395-A03A-493C0605CFE1}"/>
                  </a:ext>
                </a:extLst>
              </p:cNvPr>
              <p:cNvSpPr/>
              <p:nvPr/>
            </p:nvSpPr>
            <p:spPr>
              <a:xfrm>
                <a:off x="4617474" y="4274742"/>
                <a:ext cx="18343" cy="18384"/>
              </a:xfrm>
              <a:custGeom>
                <a:avLst/>
                <a:gdLst>
                  <a:gd name="connsiteX0" fmla="*/ 13956 w 18343"/>
                  <a:gd name="connsiteY0" fmla="*/ 17064 h 18384"/>
                  <a:gd name="connsiteX1" fmla="*/ 17007 w 18343"/>
                  <a:gd name="connsiteY1" fmla="*/ 4444 h 18384"/>
                  <a:gd name="connsiteX2" fmla="*/ 4387 w 18343"/>
                  <a:gd name="connsiteY2" fmla="*/ 1335 h 18384"/>
                  <a:gd name="connsiteX3" fmla="*/ 1337 w 18343"/>
                  <a:gd name="connsiteY3" fmla="*/ 13954 h 18384"/>
                  <a:gd name="connsiteX4" fmla="*/ 13956 w 18343"/>
                  <a:gd name="connsiteY4" fmla="*/ 17064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84">
                    <a:moveTo>
                      <a:pt x="13956" y="17064"/>
                    </a:moveTo>
                    <a:cubicBezTo>
                      <a:pt x="18262" y="14432"/>
                      <a:pt x="19638" y="8751"/>
                      <a:pt x="17007" y="4444"/>
                    </a:cubicBezTo>
                    <a:cubicBezTo>
                      <a:pt x="14375" y="79"/>
                      <a:pt x="8753" y="-1297"/>
                      <a:pt x="4387" y="1335"/>
                    </a:cubicBezTo>
                    <a:cubicBezTo>
                      <a:pt x="81" y="3966"/>
                      <a:pt x="-1294" y="9648"/>
                      <a:pt x="1337" y="13954"/>
                    </a:cubicBezTo>
                    <a:cubicBezTo>
                      <a:pt x="3969" y="18260"/>
                      <a:pt x="9650" y="19695"/>
                      <a:pt x="13956" y="17064"/>
                    </a:cubicBezTo>
                    <a:close/>
                  </a:path>
                </a:pathLst>
              </a:custGeom>
              <a:grpFill/>
              <a:ln w="5978" cap="flat">
                <a:noFill/>
                <a:prstDash val="solid"/>
                <a:miter/>
              </a:ln>
            </p:spPr>
            <p:txBody>
              <a:bodyPr rtlCol="0" anchor="ctr"/>
              <a:lstStyle/>
              <a:p>
                <a:endParaRPr lang="en-GB"/>
              </a:p>
            </p:txBody>
          </p:sp>
        </p:grpSp>
        <p:grpSp>
          <p:nvGrpSpPr>
            <p:cNvPr id="1156" name="Graphic 3">
              <a:extLst>
                <a:ext uri="{FF2B5EF4-FFF2-40B4-BE49-F238E27FC236}">
                  <a16:creationId xmlns:a16="http://schemas.microsoft.com/office/drawing/2014/main" id="{84E0E4D3-4DAD-40C3-A48C-B62493A5A6C1}"/>
                </a:ext>
              </a:extLst>
            </p:cNvPr>
            <p:cNvGrpSpPr/>
            <p:nvPr/>
          </p:nvGrpSpPr>
          <p:grpSpPr>
            <a:xfrm>
              <a:off x="4656422" y="4727322"/>
              <a:ext cx="98001" cy="98622"/>
              <a:chOff x="4656422" y="4727322"/>
              <a:chExt cx="98001" cy="98622"/>
            </a:xfrm>
            <a:grpFill/>
          </p:grpSpPr>
          <p:sp>
            <p:nvSpPr>
              <p:cNvPr id="1933" name="Vrije vorm: vorm 1932">
                <a:extLst>
                  <a:ext uri="{FF2B5EF4-FFF2-40B4-BE49-F238E27FC236}">
                    <a16:creationId xmlns:a16="http://schemas.microsoft.com/office/drawing/2014/main" id="{B3E3DEFB-CC30-439C-B2BD-6650442D5797}"/>
                  </a:ext>
                </a:extLst>
              </p:cNvPr>
              <p:cNvSpPr/>
              <p:nvPr/>
            </p:nvSpPr>
            <p:spPr>
              <a:xfrm>
                <a:off x="4664205" y="4735097"/>
                <a:ext cx="82414" cy="83071"/>
              </a:xfrm>
              <a:custGeom>
                <a:avLst/>
                <a:gdLst>
                  <a:gd name="connsiteX0" fmla="*/ 82415 w 82414"/>
                  <a:gd name="connsiteY0" fmla="*/ 2153 h 83071"/>
                  <a:gd name="connsiteX1" fmla="*/ 2153 w 82414"/>
                  <a:gd name="connsiteY1" fmla="*/ 83072 h 83071"/>
                  <a:gd name="connsiteX2" fmla="*/ 0 w 82414"/>
                  <a:gd name="connsiteY2" fmla="*/ 80859 h 83071"/>
                  <a:gd name="connsiteX3" fmla="*/ 80262 w 82414"/>
                  <a:gd name="connsiteY3" fmla="*/ 0 h 83071"/>
                </a:gdLst>
                <a:ahLst/>
                <a:cxnLst>
                  <a:cxn ang="0">
                    <a:pos x="connsiteX0" y="connsiteY0"/>
                  </a:cxn>
                  <a:cxn ang="0">
                    <a:pos x="connsiteX1" y="connsiteY1"/>
                  </a:cxn>
                  <a:cxn ang="0">
                    <a:pos x="connsiteX2" y="connsiteY2"/>
                  </a:cxn>
                  <a:cxn ang="0">
                    <a:pos x="connsiteX3" y="connsiteY3"/>
                  </a:cxn>
                </a:cxnLst>
                <a:rect l="l" t="t" r="r" b="b"/>
                <a:pathLst>
                  <a:path w="82414" h="83071">
                    <a:moveTo>
                      <a:pt x="82415" y="2153"/>
                    </a:moveTo>
                    <a:lnTo>
                      <a:pt x="2153" y="83072"/>
                    </a:lnTo>
                    <a:lnTo>
                      <a:pt x="0" y="80859"/>
                    </a:lnTo>
                    <a:lnTo>
                      <a:pt x="80262" y="0"/>
                    </a:lnTo>
                    <a:close/>
                  </a:path>
                </a:pathLst>
              </a:custGeom>
              <a:grpFill/>
              <a:ln w="5978" cap="flat">
                <a:noFill/>
                <a:prstDash val="solid"/>
                <a:miter/>
              </a:ln>
            </p:spPr>
            <p:txBody>
              <a:bodyPr rtlCol="0" anchor="ctr"/>
              <a:lstStyle/>
              <a:p>
                <a:endParaRPr lang="en-GB"/>
              </a:p>
            </p:txBody>
          </p:sp>
          <p:sp>
            <p:nvSpPr>
              <p:cNvPr id="1934" name="Vrije vorm: vorm 1933">
                <a:extLst>
                  <a:ext uri="{FF2B5EF4-FFF2-40B4-BE49-F238E27FC236}">
                    <a16:creationId xmlns:a16="http://schemas.microsoft.com/office/drawing/2014/main" id="{CF8B178F-8703-4FD3-8C3B-16099695E6DF}"/>
                  </a:ext>
                </a:extLst>
              </p:cNvPr>
              <p:cNvSpPr/>
              <p:nvPr/>
            </p:nvSpPr>
            <p:spPr>
              <a:xfrm>
                <a:off x="4656422" y="4807523"/>
                <a:ext cx="18338" cy="18420"/>
              </a:xfrm>
              <a:custGeom>
                <a:avLst/>
                <a:gdLst>
                  <a:gd name="connsiteX0" fmla="*/ 15677 w 18338"/>
                  <a:gd name="connsiteY0" fmla="*/ 15729 h 18420"/>
                  <a:gd name="connsiteX1" fmla="*/ 2699 w 18338"/>
                  <a:gd name="connsiteY1" fmla="*/ 15729 h 18420"/>
                  <a:gd name="connsiteX2" fmla="*/ 2639 w 18338"/>
                  <a:gd name="connsiteY2" fmla="*/ 2691 h 18420"/>
                  <a:gd name="connsiteX3" fmla="*/ 15617 w 18338"/>
                  <a:gd name="connsiteY3" fmla="*/ 2691 h 18420"/>
                  <a:gd name="connsiteX4" fmla="*/ 15677 w 18338"/>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20">
                    <a:moveTo>
                      <a:pt x="15677" y="15729"/>
                    </a:moveTo>
                    <a:cubicBezTo>
                      <a:pt x="12089" y="19318"/>
                      <a:pt x="6287" y="19318"/>
                      <a:pt x="2699" y="15729"/>
                    </a:cubicBezTo>
                    <a:cubicBezTo>
                      <a:pt x="-890" y="12141"/>
                      <a:pt x="-890" y="6280"/>
                      <a:pt x="2639" y="2691"/>
                    </a:cubicBezTo>
                    <a:cubicBezTo>
                      <a:pt x="6227" y="-897"/>
                      <a:pt x="12029" y="-897"/>
                      <a:pt x="15617" y="2691"/>
                    </a:cubicBezTo>
                    <a:cubicBezTo>
                      <a:pt x="19206" y="6280"/>
                      <a:pt x="19266" y="12141"/>
                      <a:pt x="15677" y="15729"/>
                    </a:cubicBezTo>
                    <a:close/>
                  </a:path>
                </a:pathLst>
              </a:custGeom>
              <a:grpFill/>
              <a:ln w="5978" cap="flat">
                <a:noFill/>
                <a:prstDash val="solid"/>
                <a:miter/>
              </a:ln>
            </p:spPr>
            <p:txBody>
              <a:bodyPr rtlCol="0" anchor="ctr"/>
              <a:lstStyle/>
              <a:p>
                <a:endParaRPr lang="en-GB"/>
              </a:p>
            </p:txBody>
          </p:sp>
          <p:sp>
            <p:nvSpPr>
              <p:cNvPr id="1935" name="Vrije vorm: vorm 1934">
                <a:extLst>
                  <a:ext uri="{FF2B5EF4-FFF2-40B4-BE49-F238E27FC236}">
                    <a16:creationId xmlns:a16="http://schemas.microsoft.com/office/drawing/2014/main" id="{A7E2B4AA-C37E-48A2-B70E-FBEE6D4C7488}"/>
                  </a:ext>
                </a:extLst>
              </p:cNvPr>
              <p:cNvSpPr/>
              <p:nvPr/>
            </p:nvSpPr>
            <p:spPr>
              <a:xfrm>
                <a:off x="4736063" y="4727322"/>
                <a:ext cx="18361" cy="18420"/>
              </a:xfrm>
              <a:custGeom>
                <a:avLst/>
                <a:gdLst>
                  <a:gd name="connsiteX0" fmla="*/ 15700 w 18361"/>
                  <a:gd name="connsiteY0" fmla="*/ 15729 h 18420"/>
                  <a:gd name="connsiteX1" fmla="*/ 15640 w 18361"/>
                  <a:gd name="connsiteY1" fmla="*/ 2691 h 18420"/>
                  <a:gd name="connsiteX2" fmla="*/ 2662 w 18361"/>
                  <a:gd name="connsiteY2" fmla="*/ 2691 h 18420"/>
                  <a:gd name="connsiteX3" fmla="*/ 2721 w 18361"/>
                  <a:gd name="connsiteY3" fmla="*/ 15729 h 18420"/>
                  <a:gd name="connsiteX4" fmla="*/ 15700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700" y="15729"/>
                    </a:moveTo>
                    <a:cubicBezTo>
                      <a:pt x="19288" y="12141"/>
                      <a:pt x="19228" y="6280"/>
                      <a:pt x="15640" y="2691"/>
                    </a:cubicBezTo>
                    <a:cubicBezTo>
                      <a:pt x="12051" y="-897"/>
                      <a:pt x="6250" y="-897"/>
                      <a:pt x="2662" y="2691"/>
                    </a:cubicBezTo>
                    <a:cubicBezTo>
                      <a:pt x="-927" y="6280"/>
                      <a:pt x="-867" y="12141"/>
                      <a:pt x="2721" y="15729"/>
                    </a:cubicBezTo>
                    <a:cubicBezTo>
                      <a:pt x="6310" y="19318"/>
                      <a:pt x="12111" y="19318"/>
                      <a:pt x="15700" y="15729"/>
                    </a:cubicBezTo>
                    <a:close/>
                  </a:path>
                </a:pathLst>
              </a:custGeom>
              <a:grpFill/>
              <a:ln w="5978" cap="flat">
                <a:noFill/>
                <a:prstDash val="solid"/>
                <a:miter/>
              </a:ln>
            </p:spPr>
            <p:txBody>
              <a:bodyPr rtlCol="0" anchor="ctr"/>
              <a:lstStyle/>
              <a:p>
                <a:endParaRPr lang="en-GB"/>
              </a:p>
            </p:txBody>
          </p:sp>
        </p:grpSp>
        <p:grpSp>
          <p:nvGrpSpPr>
            <p:cNvPr id="1157" name="Graphic 3">
              <a:extLst>
                <a:ext uri="{FF2B5EF4-FFF2-40B4-BE49-F238E27FC236}">
                  <a16:creationId xmlns:a16="http://schemas.microsoft.com/office/drawing/2014/main" id="{4244CFAD-32D8-4706-8AD2-8BE73AC8D03F}"/>
                </a:ext>
              </a:extLst>
            </p:cNvPr>
            <p:cNvGrpSpPr/>
            <p:nvPr/>
          </p:nvGrpSpPr>
          <p:grpSpPr>
            <a:xfrm>
              <a:off x="4437894" y="4084405"/>
              <a:ext cx="86959" cy="48661"/>
              <a:chOff x="4437894" y="4084405"/>
              <a:chExt cx="86959" cy="48661"/>
            </a:xfrm>
            <a:grpFill/>
          </p:grpSpPr>
          <p:sp>
            <p:nvSpPr>
              <p:cNvPr id="1930" name="Vrije vorm: vorm 1929">
                <a:extLst>
                  <a:ext uri="{FF2B5EF4-FFF2-40B4-BE49-F238E27FC236}">
                    <a16:creationId xmlns:a16="http://schemas.microsoft.com/office/drawing/2014/main" id="{4D868BD2-8517-4AD8-9D0C-7E1655EE706D}"/>
                  </a:ext>
                </a:extLst>
              </p:cNvPr>
              <p:cNvSpPr/>
              <p:nvPr/>
            </p:nvSpPr>
            <p:spPr>
              <a:xfrm>
                <a:off x="4446028" y="4092050"/>
                <a:ext cx="70692" cy="33372"/>
              </a:xfrm>
              <a:custGeom>
                <a:avLst/>
                <a:gdLst>
                  <a:gd name="connsiteX0" fmla="*/ 70692 w 70692"/>
                  <a:gd name="connsiteY0" fmla="*/ 2811 h 33372"/>
                  <a:gd name="connsiteX1" fmla="*/ 1196 w 70692"/>
                  <a:gd name="connsiteY1" fmla="*/ 33373 h 33372"/>
                  <a:gd name="connsiteX2" fmla="*/ 0 w 70692"/>
                  <a:gd name="connsiteY2" fmla="*/ 30561 h 33372"/>
                  <a:gd name="connsiteX3" fmla="*/ 69496 w 70692"/>
                  <a:gd name="connsiteY3" fmla="*/ 0 h 33372"/>
                </a:gdLst>
                <a:ahLst/>
                <a:cxnLst>
                  <a:cxn ang="0">
                    <a:pos x="connsiteX0" y="connsiteY0"/>
                  </a:cxn>
                  <a:cxn ang="0">
                    <a:pos x="connsiteX1" y="connsiteY1"/>
                  </a:cxn>
                  <a:cxn ang="0">
                    <a:pos x="connsiteX2" y="connsiteY2"/>
                  </a:cxn>
                  <a:cxn ang="0">
                    <a:pos x="connsiteX3" y="connsiteY3"/>
                  </a:cxn>
                </a:cxnLst>
                <a:rect l="l" t="t" r="r" b="b"/>
                <a:pathLst>
                  <a:path w="70692" h="33372">
                    <a:moveTo>
                      <a:pt x="70692" y="2811"/>
                    </a:moveTo>
                    <a:lnTo>
                      <a:pt x="1196" y="33373"/>
                    </a:lnTo>
                    <a:lnTo>
                      <a:pt x="0" y="30561"/>
                    </a:lnTo>
                    <a:lnTo>
                      <a:pt x="69496" y="0"/>
                    </a:lnTo>
                    <a:close/>
                  </a:path>
                </a:pathLst>
              </a:custGeom>
              <a:grpFill/>
              <a:ln w="5978" cap="flat">
                <a:noFill/>
                <a:prstDash val="solid"/>
                <a:miter/>
              </a:ln>
            </p:spPr>
            <p:txBody>
              <a:bodyPr rtlCol="0" anchor="ctr"/>
              <a:lstStyle/>
              <a:p>
                <a:endParaRPr lang="en-GB"/>
              </a:p>
            </p:txBody>
          </p:sp>
          <p:sp>
            <p:nvSpPr>
              <p:cNvPr id="1931" name="Vrije vorm: vorm 1930">
                <a:extLst>
                  <a:ext uri="{FF2B5EF4-FFF2-40B4-BE49-F238E27FC236}">
                    <a16:creationId xmlns:a16="http://schemas.microsoft.com/office/drawing/2014/main" id="{64E0BA1F-0881-4878-B782-9952E25F09AA}"/>
                  </a:ext>
                </a:extLst>
              </p:cNvPr>
              <p:cNvSpPr/>
              <p:nvPr/>
            </p:nvSpPr>
            <p:spPr>
              <a:xfrm>
                <a:off x="4437894" y="4114608"/>
                <a:ext cx="18301" cy="18458"/>
              </a:xfrm>
              <a:custGeom>
                <a:avLst/>
                <a:gdLst>
                  <a:gd name="connsiteX0" fmla="*/ 12859 w 18301"/>
                  <a:gd name="connsiteY0" fmla="*/ 17692 h 18458"/>
                  <a:gd name="connsiteX1" fmla="*/ 778 w 18301"/>
                  <a:gd name="connsiteY1" fmla="*/ 12907 h 18458"/>
                  <a:gd name="connsiteX2" fmla="*/ 5442 w 18301"/>
                  <a:gd name="connsiteY2" fmla="*/ 767 h 18458"/>
                  <a:gd name="connsiteX3" fmla="*/ 17524 w 18301"/>
                  <a:gd name="connsiteY3" fmla="*/ 5551 h 18458"/>
                  <a:gd name="connsiteX4" fmla="*/ 12859 w 18301"/>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58">
                    <a:moveTo>
                      <a:pt x="12859" y="17692"/>
                    </a:moveTo>
                    <a:cubicBezTo>
                      <a:pt x="8254" y="19726"/>
                      <a:pt x="2811" y="17573"/>
                      <a:pt x="778" y="12907"/>
                    </a:cubicBezTo>
                    <a:cubicBezTo>
                      <a:pt x="-1256" y="8243"/>
                      <a:pt x="837" y="2800"/>
                      <a:pt x="5442" y="767"/>
                    </a:cubicBezTo>
                    <a:cubicBezTo>
                      <a:pt x="10048" y="-1267"/>
                      <a:pt x="15490" y="886"/>
                      <a:pt x="17524" y="5551"/>
                    </a:cubicBezTo>
                    <a:cubicBezTo>
                      <a:pt x="19557" y="10216"/>
                      <a:pt x="17464" y="15659"/>
                      <a:pt x="12859" y="17692"/>
                    </a:cubicBezTo>
                    <a:close/>
                  </a:path>
                </a:pathLst>
              </a:custGeom>
              <a:grpFill/>
              <a:ln w="5978" cap="flat">
                <a:noFill/>
                <a:prstDash val="solid"/>
                <a:miter/>
              </a:ln>
            </p:spPr>
            <p:txBody>
              <a:bodyPr rtlCol="0" anchor="ctr"/>
              <a:lstStyle/>
              <a:p>
                <a:endParaRPr lang="en-GB"/>
              </a:p>
            </p:txBody>
          </p:sp>
          <p:sp>
            <p:nvSpPr>
              <p:cNvPr id="1932" name="Vrije vorm: vorm 1931">
                <a:extLst>
                  <a:ext uri="{FF2B5EF4-FFF2-40B4-BE49-F238E27FC236}">
                    <a16:creationId xmlns:a16="http://schemas.microsoft.com/office/drawing/2014/main" id="{928811B1-6655-4D7F-A1C0-9171BDC66BA5}"/>
                  </a:ext>
                </a:extLst>
              </p:cNvPr>
              <p:cNvSpPr/>
              <p:nvPr/>
            </p:nvSpPr>
            <p:spPr>
              <a:xfrm>
                <a:off x="4506553" y="4084405"/>
                <a:ext cx="18301" cy="18467"/>
              </a:xfrm>
              <a:custGeom>
                <a:avLst/>
                <a:gdLst>
                  <a:gd name="connsiteX0" fmla="*/ 12859 w 18301"/>
                  <a:gd name="connsiteY0" fmla="*/ 17692 h 18467"/>
                  <a:gd name="connsiteX1" fmla="*/ 17524 w 18301"/>
                  <a:gd name="connsiteY1" fmla="*/ 5551 h 18467"/>
                  <a:gd name="connsiteX2" fmla="*/ 5442 w 18301"/>
                  <a:gd name="connsiteY2" fmla="*/ 767 h 18467"/>
                  <a:gd name="connsiteX3" fmla="*/ 778 w 18301"/>
                  <a:gd name="connsiteY3" fmla="*/ 12908 h 18467"/>
                  <a:gd name="connsiteX4" fmla="*/ 12859 w 18301"/>
                  <a:gd name="connsiteY4" fmla="*/ 1769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7">
                    <a:moveTo>
                      <a:pt x="12859" y="17692"/>
                    </a:moveTo>
                    <a:cubicBezTo>
                      <a:pt x="17464" y="15659"/>
                      <a:pt x="19557" y="10216"/>
                      <a:pt x="17524" y="5551"/>
                    </a:cubicBezTo>
                    <a:cubicBezTo>
                      <a:pt x="15490" y="886"/>
                      <a:pt x="10048" y="-1267"/>
                      <a:pt x="5442" y="767"/>
                    </a:cubicBezTo>
                    <a:cubicBezTo>
                      <a:pt x="838" y="2800"/>
                      <a:pt x="-1256" y="8242"/>
                      <a:pt x="778" y="12908"/>
                    </a:cubicBezTo>
                    <a:cubicBezTo>
                      <a:pt x="2811" y="17632"/>
                      <a:pt x="8194" y="19726"/>
                      <a:pt x="12859" y="17692"/>
                    </a:cubicBezTo>
                    <a:close/>
                  </a:path>
                </a:pathLst>
              </a:custGeom>
              <a:grpFill/>
              <a:ln w="5978" cap="flat">
                <a:noFill/>
                <a:prstDash val="solid"/>
                <a:miter/>
              </a:ln>
            </p:spPr>
            <p:txBody>
              <a:bodyPr rtlCol="0" anchor="ctr"/>
              <a:lstStyle/>
              <a:p>
                <a:endParaRPr lang="en-GB"/>
              </a:p>
            </p:txBody>
          </p:sp>
        </p:grpSp>
        <p:grpSp>
          <p:nvGrpSpPr>
            <p:cNvPr id="1158" name="Graphic 3">
              <a:extLst>
                <a:ext uri="{FF2B5EF4-FFF2-40B4-BE49-F238E27FC236}">
                  <a16:creationId xmlns:a16="http://schemas.microsoft.com/office/drawing/2014/main" id="{9A75918F-875F-4086-B1D2-FEECA8B3BA26}"/>
                </a:ext>
              </a:extLst>
            </p:cNvPr>
            <p:cNvGrpSpPr/>
            <p:nvPr/>
          </p:nvGrpSpPr>
          <p:grpSpPr>
            <a:xfrm>
              <a:off x="4411283" y="3992804"/>
              <a:ext cx="88478" cy="44691"/>
              <a:chOff x="4411283" y="3992804"/>
              <a:chExt cx="88478" cy="44691"/>
            </a:xfrm>
            <a:grpFill/>
          </p:grpSpPr>
          <p:sp>
            <p:nvSpPr>
              <p:cNvPr id="1927" name="Vrije vorm: vorm 1926">
                <a:extLst>
                  <a:ext uri="{FF2B5EF4-FFF2-40B4-BE49-F238E27FC236}">
                    <a16:creationId xmlns:a16="http://schemas.microsoft.com/office/drawing/2014/main" id="{3E6D13E6-FBDE-417C-B4FF-4E2281CB446A}"/>
                  </a:ext>
                </a:extLst>
              </p:cNvPr>
              <p:cNvSpPr/>
              <p:nvPr/>
            </p:nvSpPr>
            <p:spPr>
              <a:xfrm>
                <a:off x="4419659" y="4000242"/>
                <a:ext cx="72103" cy="29414"/>
              </a:xfrm>
              <a:custGeom>
                <a:avLst/>
                <a:gdLst>
                  <a:gd name="connsiteX0" fmla="*/ 0 w 72103"/>
                  <a:gd name="connsiteY0" fmla="*/ 26558 h 29414"/>
                  <a:gd name="connsiteX1" fmla="*/ 71035 w 72103"/>
                  <a:gd name="connsiteY1" fmla="*/ 0 h 29414"/>
                  <a:gd name="connsiteX2" fmla="*/ 72103 w 72103"/>
                  <a:gd name="connsiteY2" fmla="*/ 2857 h 29414"/>
                  <a:gd name="connsiteX3" fmla="*/ 1068 w 72103"/>
                  <a:gd name="connsiteY3" fmla="*/ 29415 h 29414"/>
                </a:gdLst>
                <a:ahLst/>
                <a:cxnLst>
                  <a:cxn ang="0">
                    <a:pos x="connsiteX0" y="connsiteY0"/>
                  </a:cxn>
                  <a:cxn ang="0">
                    <a:pos x="connsiteX1" y="connsiteY1"/>
                  </a:cxn>
                  <a:cxn ang="0">
                    <a:pos x="connsiteX2" y="connsiteY2"/>
                  </a:cxn>
                  <a:cxn ang="0">
                    <a:pos x="connsiteX3" y="connsiteY3"/>
                  </a:cxn>
                </a:cxnLst>
                <a:rect l="l" t="t" r="r" b="b"/>
                <a:pathLst>
                  <a:path w="72103" h="29414">
                    <a:moveTo>
                      <a:pt x="0" y="26558"/>
                    </a:moveTo>
                    <a:lnTo>
                      <a:pt x="71035" y="0"/>
                    </a:lnTo>
                    <a:lnTo>
                      <a:pt x="72103" y="2857"/>
                    </a:lnTo>
                    <a:lnTo>
                      <a:pt x="1068" y="29415"/>
                    </a:lnTo>
                    <a:close/>
                  </a:path>
                </a:pathLst>
              </a:custGeom>
              <a:grpFill/>
              <a:ln w="5978" cap="flat">
                <a:noFill/>
                <a:prstDash val="solid"/>
                <a:miter/>
              </a:ln>
            </p:spPr>
            <p:txBody>
              <a:bodyPr rtlCol="0" anchor="ctr"/>
              <a:lstStyle/>
              <a:p>
                <a:endParaRPr lang="en-GB"/>
              </a:p>
            </p:txBody>
          </p:sp>
          <p:sp>
            <p:nvSpPr>
              <p:cNvPr id="1928" name="Vrije vorm: vorm 1927">
                <a:extLst>
                  <a:ext uri="{FF2B5EF4-FFF2-40B4-BE49-F238E27FC236}">
                    <a16:creationId xmlns:a16="http://schemas.microsoft.com/office/drawing/2014/main" id="{19F7DBB9-EE6E-447F-A6E0-5FBC4A74B0B0}"/>
                  </a:ext>
                </a:extLst>
              </p:cNvPr>
              <p:cNvSpPr/>
              <p:nvPr/>
            </p:nvSpPr>
            <p:spPr>
              <a:xfrm>
                <a:off x="4411283" y="4019035"/>
                <a:ext cx="18349" cy="18460"/>
              </a:xfrm>
              <a:custGeom>
                <a:avLst/>
                <a:gdLst>
                  <a:gd name="connsiteX0" fmla="*/ 12378 w 18349"/>
                  <a:gd name="connsiteY0" fmla="*/ 17872 h 18460"/>
                  <a:gd name="connsiteX1" fmla="*/ 596 w 18349"/>
                  <a:gd name="connsiteY1" fmla="*/ 12430 h 18460"/>
                  <a:gd name="connsiteX2" fmla="*/ 5978 w 18349"/>
                  <a:gd name="connsiteY2" fmla="*/ 588 h 18460"/>
                  <a:gd name="connsiteX3" fmla="*/ 17760 w 18349"/>
                  <a:gd name="connsiteY3" fmla="*/ 6030 h 18460"/>
                  <a:gd name="connsiteX4" fmla="*/ 12378 w 18349"/>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0">
                    <a:moveTo>
                      <a:pt x="12378" y="17872"/>
                    </a:moveTo>
                    <a:cubicBezTo>
                      <a:pt x="7653" y="19667"/>
                      <a:pt x="2330" y="17214"/>
                      <a:pt x="596" y="12430"/>
                    </a:cubicBezTo>
                    <a:cubicBezTo>
                      <a:pt x="-1198" y="7645"/>
                      <a:pt x="1194" y="2382"/>
                      <a:pt x="5978" y="588"/>
                    </a:cubicBezTo>
                    <a:cubicBezTo>
                      <a:pt x="10703" y="-1206"/>
                      <a:pt x="16026" y="1246"/>
                      <a:pt x="17760" y="6030"/>
                    </a:cubicBezTo>
                    <a:cubicBezTo>
                      <a:pt x="19555" y="10755"/>
                      <a:pt x="17103" y="16078"/>
                      <a:pt x="12378" y="17872"/>
                    </a:cubicBezTo>
                    <a:close/>
                  </a:path>
                </a:pathLst>
              </a:custGeom>
              <a:grpFill/>
              <a:ln w="5978" cap="flat">
                <a:noFill/>
                <a:prstDash val="solid"/>
                <a:miter/>
              </a:ln>
            </p:spPr>
            <p:txBody>
              <a:bodyPr rtlCol="0" anchor="ctr"/>
              <a:lstStyle/>
              <a:p>
                <a:endParaRPr lang="en-GB"/>
              </a:p>
            </p:txBody>
          </p:sp>
          <p:sp>
            <p:nvSpPr>
              <p:cNvPr id="1929" name="Vrije vorm: vorm 1928">
                <a:extLst>
                  <a:ext uri="{FF2B5EF4-FFF2-40B4-BE49-F238E27FC236}">
                    <a16:creationId xmlns:a16="http://schemas.microsoft.com/office/drawing/2014/main" id="{04C94F67-C3F5-47B8-AEB8-2F5933C1D5BD}"/>
                  </a:ext>
                </a:extLst>
              </p:cNvPr>
              <p:cNvSpPr/>
              <p:nvPr/>
            </p:nvSpPr>
            <p:spPr>
              <a:xfrm>
                <a:off x="4481468" y="3992804"/>
                <a:ext cx="18293" cy="18436"/>
              </a:xfrm>
              <a:custGeom>
                <a:avLst/>
                <a:gdLst>
                  <a:gd name="connsiteX0" fmla="*/ 12347 w 18293"/>
                  <a:gd name="connsiteY0" fmla="*/ 17848 h 18436"/>
                  <a:gd name="connsiteX1" fmla="*/ 17729 w 18293"/>
                  <a:gd name="connsiteY1" fmla="*/ 6006 h 18436"/>
                  <a:gd name="connsiteX2" fmla="*/ 5947 w 18293"/>
                  <a:gd name="connsiteY2" fmla="*/ 564 h 18436"/>
                  <a:gd name="connsiteX3" fmla="*/ 565 w 18293"/>
                  <a:gd name="connsiteY3" fmla="*/ 12406 h 18436"/>
                  <a:gd name="connsiteX4" fmla="*/ 12347 w 18293"/>
                  <a:gd name="connsiteY4" fmla="*/ 17848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36">
                    <a:moveTo>
                      <a:pt x="12347" y="17848"/>
                    </a:moveTo>
                    <a:cubicBezTo>
                      <a:pt x="17071" y="16054"/>
                      <a:pt x="19464" y="10791"/>
                      <a:pt x="17729" y="6006"/>
                    </a:cubicBezTo>
                    <a:cubicBezTo>
                      <a:pt x="15935" y="1222"/>
                      <a:pt x="10672" y="-1170"/>
                      <a:pt x="5947" y="564"/>
                    </a:cubicBezTo>
                    <a:cubicBezTo>
                      <a:pt x="1223" y="2358"/>
                      <a:pt x="-1170" y="7621"/>
                      <a:pt x="565" y="12406"/>
                    </a:cubicBezTo>
                    <a:cubicBezTo>
                      <a:pt x="2359" y="17191"/>
                      <a:pt x="7622" y="19642"/>
                      <a:pt x="12347" y="17848"/>
                    </a:cubicBezTo>
                    <a:close/>
                  </a:path>
                </a:pathLst>
              </a:custGeom>
              <a:grpFill/>
              <a:ln w="5978" cap="flat">
                <a:noFill/>
                <a:prstDash val="solid"/>
                <a:miter/>
              </a:ln>
            </p:spPr>
            <p:txBody>
              <a:bodyPr rtlCol="0" anchor="ctr"/>
              <a:lstStyle/>
              <a:p>
                <a:endParaRPr lang="en-GB"/>
              </a:p>
            </p:txBody>
          </p:sp>
        </p:grpSp>
        <p:grpSp>
          <p:nvGrpSpPr>
            <p:cNvPr id="1159" name="Graphic 3">
              <a:extLst>
                <a:ext uri="{FF2B5EF4-FFF2-40B4-BE49-F238E27FC236}">
                  <a16:creationId xmlns:a16="http://schemas.microsoft.com/office/drawing/2014/main" id="{819B25AF-FF74-4C12-9F8B-A8538B911AEF}"/>
                </a:ext>
              </a:extLst>
            </p:cNvPr>
            <p:cNvGrpSpPr/>
            <p:nvPr/>
          </p:nvGrpSpPr>
          <p:grpSpPr>
            <a:xfrm>
              <a:off x="4536440" y="4566940"/>
              <a:ext cx="286177" cy="219107"/>
              <a:chOff x="4536440" y="4566940"/>
              <a:chExt cx="286177" cy="219107"/>
            </a:xfrm>
            <a:grpFill/>
          </p:grpSpPr>
          <p:sp>
            <p:nvSpPr>
              <p:cNvPr id="1924" name="Vrije vorm: vorm 1923">
                <a:extLst>
                  <a:ext uri="{FF2B5EF4-FFF2-40B4-BE49-F238E27FC236}">
                    <a16:creationId xmlns:a16="http://schemas.microsoft.com/office/drawing/2014/main" id="{DC41B673-A54F-4B37-A20E-5ED7F1A5B19F}"/>
                  </a:ext>
                </a:extLst>
              </p:cNvPr>
              <p:cNvSpPr/>
              <p:nvPr/>
            </p:nvSpPr>
            <p:spPr>
              <a:xfrm>
                <a:off x="4544351" y="4574694"/>
                <a:ext cx="270328" cy="203643"/>
              </a:xfrm>
              <a:custGeom>
                <a:avLst/>
                <a:gdLst>
                  <a:gd name="connsiteX0" fmla="*/ 270329 w 270328"/>
                  <a:gd name="connsiteY0" fmla="*/ 2452 h 203643"/>
                  <a:gd name="connsiteX1" fmla="*/ 1794 w 270328"/>
                  <a:gd name="connsiteY1" fmla="*/ 203643 h 203643"/>
                  <a:gd name="connsiteX2" fmla="*/ 0 w 270328"/>
                  <a:gd name="connsiteY2" fmla="*/ 201192 h 203643"/>
                  <a:gd name="connsiteX3" fmla="*/ 268475 w 270328"/>
                  <a:gd name="connsiteY3" fmla="*/ 0 h 203643"/>
                </a:gdLst>
                <a:ahLst/>
                <a:cxnLst>
                  <a:cxn ang="0">
                    <a:pos x="connsiteX0" y="connsiteY0"/>
                  </a:cxn>
                  <a:cxn ang="0">
                    <a:pos x="connsiteX1" y="connsiteY1"/>
                  </a:cxn>
                  <a:cxn ang="0">
                    <a:pos x="connsiteX2" y="connsiteY2"/>
                  </a:cxn>
                  <a:cxn ang="0">
                    <a:pos x="connsiteX3" y="connsiteY3"/>
                  </a:cxn>
                </a:cxnLst>
                <a:rect l="l" t="t" r="r" b="b"/>
                <a:pathLst>
                  <a:path w="270328" h="203643">
                    <a:moveTo>
                      <a:pt x="270329" y="2452"/>
                    </a:moveTo>
                    <a:lnTo>
                      <a:pt x="1794" y="203643"/>
                    </a:lnTo>
                    <a:lnTo>
                      <a:pt x="0" y="201192"/>
                    </a:lnTo>
                    <a:lnTo>
                      <a:pt x="268475" y="0"/>
                    </a:lnTo>
                    <a:close/>
                  </a:path>
                </a:pathLst>
              </a:custGeom>
              <a:grpFill/>
              <a:ln w="5978" cap="flat">
                <a:noFill/>
                <a:prstDash val="solid"/>
                <a:miter/>
              </a:ln>
            </p:spPr>
            <p:txBody>
              <a:bodyPr rtlCol="0" anchor="ctr"/>
              <a:lstStyle/>
              <a:p>
                <a:endParaRPr lang="en-GB"/>
              </a:p>
            </p:txBody>
          </p:sp>
          <p:sp>
            <p:nvSpPr>
              <p:cNvPr id="1925" name="Vrije vorm: vorm 1924">
                <a:extLst>
                  <a:ext uri="{FF2B5EF4-FFF2-40B4-BE49-F238E27FC236}">
                    <a16:creationId xmlns:a16="http://schemas.microsoft.com/office/drawing/2014/main" id="{4FE4CD5F-05F0-4231-922E-B909BFD4C364}"/>
                  </a:ext>
                </a:extLst>
              </p:cNvPr>
              <p:cNvSpPr/>
              <p:nvPr/>
            </p:nvSpPr>
            <p:spPr>
              <a:xfrm>
                <a:off x="4804244" y="4566940"/>
                <a:ext cx="18373" cy="18497"/>
              </a:xfrm>
              <a:custGeom>
                <a:avLst/>
                <a:gdLst>
                  <a:gd name="connsiteX0" fmla="*/ 3678 w 18373"/>
                  <a:gd name="connsiteY0" fmla="*/ 1833 h 18497"/>
                  <a:gd name="connsiteX1" fmla="*/ 16537 w 18373"/>
                  <a:gd name="connsiteY1" fmla="*/ 3747 h 18497"/>
                  <a:gd name="connsiteX2" fmla="*/ 14683 w 18373"/>
                  <a:gd name="connsiteY2" fmla="*/ 16665 h 18497"/>
                  <a:gd name="connsiteX3" fmla="*/ 1884 w 18373"/>
                  <a:gd name="connsiteY3" fmla="*/ 14751 h 18497"/>
                  <a:gd name="connsiteX4" fmla="*/ 3678 w 18373"/>
                  <a:gd name="connsiteY4" fmla="*/ 1833 h 18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 h="18497">
                    <a:moveTo>
                      <a:pt x="3678" y="1833"/>
                    </a:moveTo>
                    <a:cubicBezTo>
                      <a:pt x="7745" y="-1217"/>
                      <a:pt x="13487" y="-380"/>
                      <a:pt x="16537" y="3747"/>
                    </a:cubicBezTo>
                    <a:cubicBezTo>
                      <a:pt x="19587" y="7813"/>
                      <a:pt x="18750" y="13615"/>
                      <a:pt x="14683" y="16665"/>
                    </a:cubicBezTo>
                    <a:cubicBezTo>
                      <a:pt x="10616" y="19715"/>
                      <a:pt x="4875" y="18878"/>
                      <a:pt x="1884" y="14751"/>
                    </a:cubicBezTo>
                    <a:cubicBezTo>
                      <a:pt x="-1226" y="10684"/>
                      <a:pt x="-389" y="4883"/>
                      <a:pt x="3678" y="1833"/>
                    </a:cubicBezTo>
                    <a:close/>
                  </a:path>
                </a:pathLst>
              </a:custGeom>
              <a:grpFill/>
              <a:ln w="5978" cap="flat">
                <a:noFill/>
                <a:prstDash val="solid"/>
                <a:miter/>
              </a:ln>
            </p:spPr>
            <p:txBody>
              <a:bodyPr rtlCol="0" anchor="ctr"/>
              <a:lstStyle/>
              <a:p>
                <a:endParaRPr lang="en-GB"/>
              </a:p>
            </p:txBody>
          </p:sp>
          <p:sp>
            <p:nvSpPr>
              <p:cNvPr id="1926" name="Vrije vorm: vorm 1925">
                <a:extLst>
                  <a:ext uri="{FF2B5EF4-FFF2-40B4-BE49-F238E27FC236}">
                    <a16:creationId xmlns:a16="http://schemas.microsoft.com/office/drawing/2014/main" id="{DE5FB697-92D5-418B-8BED-755E33B2949A}"/>
                  </a:ext>
                </a:extLst>
              </p:cNvPr>
              <p:cNvSpPr/>
              <p:nvPr/>
            </p:nvSpPr>
            <p:spPr>
              <a:xfrm>
                <a:off x="4536440" y="4767653"/>
                <a:ext cx="18334" cy="18394"/>
              </a:xfrm>
              <a:custGeom>
                <a:avLst/>
                <a:gdLst>
                  <a:gd name="connsiteX0" fmla="*/ 3665 w 18334"/>
                  <a:gd name="connsiteY0" fmla="*/ 1833 h 18394"/>
                  <a:gd name="connsiteX1" fmla="*/ 1811 w 18334"/>
                  <a:gd name="connsiteY1" fmla="*/ 14691 h 18394"/>
                  <a:gd name="connsiteX2" fmla="*/ 14670 w 18334"/>
                  <a:gd name="connsiteY2" fmla="*/ 16605 h 18394"/>
                  <a:gd name="connsiteX3" fmla="*/ 16524 w 18334"/>
                  <a:gd name="connsiteY3" fmla="*/ 3747 h 18394"/>
                  <a:gd name="connsiteX4" fmla="*/ 3665 w 18334"/>
                  <a:gd name="connsiteY4" fmla="*/ 1833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394">
                    <a:moveTo>
                      <a:pt x="3665" y="1833"/>
                    </a:moveTo>
                    <a:cubicBezTo>
                      <a:pt x="-402" y="4883"/>
                      <a:pt x="-1179" y="10624"/>
                      <a:pt x="1811" y="14691"/>
                    </a:cubicBezTo>
                    <a:cubicBezTo>
                      <a:pt x="4861" y="18758"/>
                      <a:pt x="10603" y="19595"/>
                      <a:pt x="14670" y="16605"/>
                    </a:cubicBezTo>
                    <a:cubicBezTo>
                      <a:pt x="18737" y="13555"/>
                      <a:pt x="19514" y="7813"/>
                      <a:pt x="16524" y="3747"/>
                    </a:cubicBezTo>
                    <a:cubicBezTo>
                      <a:pt x="13474" y="-380"/>
                      <a:pt x="7732" y="-1217"/>
                      <a:pt x="3665" y="1833"/>
                    </a:cubicBezTo>
                    <a:close/>
                  </a:path>
                </a:pathLst>
              </a:custGeom>
              <a:grpFill/>
              <a:ln w="5978" cap="flat">
                <a:noFill/>
                <a:prstDash val="solid"/>
                <a:miter/>
              </a:ln>
            </p:spPr>
            <p:txBody>
              <a:bodyPr rtlCol="0" anchor="ctr"/>
              <a:lstStyle/>
              <a:p>
                <a:endParaRPr lang="en-GB"/>
              </a:p>
            </p:txBody>
          </p:sp>
        </p:grpSp>
        <p:grpSp>
          <p:nvGrpSpPr>
            <p:cNvPr id="1160" name="Graphic 3">
              <a:extLst>
                <a:ext uri="{FF2B5EF4-FFF2-40B4-BE49-F238E27FC236}">
                  <a16:creationId xmlns:a16="http://schemas.microsoft.com/office/drawing/2014/main" id="{3175BCFC-2FDF-4A03-8233-3F939D42E408}"/>
                </a:ext>
              </a:extLst>
            </p:cNvPr>
            <p:cNvGrpSpPr/>
            <p:nvPr/>
          </p:nvGrpSpPr>
          <p:grpSpPr>
            <a:xfrm>
              <a:off x="3879630" y="3000963"/>
              <a:ext cx="523058" cy="144146"/>
              <a:chOff x="3879630" y="3000963"/>
              <a:chExt cx="523058" cy="144146"/>
            </a:xfrm>
            <a:grpFill/>
          </p:grpSpPr>
          <p:sp>
            <p:nvSpPr>
              <p:cNvPr id="1921" name="Vrije vorm: vorm 1920">
                <a:extLst>
                  <a:ext uri="{FF2B5EF4-FFF2-40B4-BE49-F238E27FC236}">
                    <a16:creationId xmlns:a16="http://schemas.microsoft.com/office/drawing/2014/main" id="{FCC1BE66-5661-4A54-88BB-C30594294E27}"/>
                  </a:ext>
                </a:extLst>
              </p:cNvPr>
              <p:cNvSpPr/>
              <p:nvPr/>
            </p:nvSpPr>
            <p:spPr>
              <a:xfrm>
                <a:off x="3887967" y="3008582"/>
                <a:ext cx="506327" cy="128944"/>
              </a:xfrm>
              <a:custGeom>
                <a:avLst/>
                <a:gdLst>
                  <a:gd name="connsiteX0" fmla="*/ 506328 w 506327"/>
                  <a:gd name="connsiteY0" fmla="*/ 125954 h 128944"/>
                  <a:gd name="connsiteX1" fmla="*/ 505610 w 506327"/>
                  <a:gd name="connsiteY1" fmla="*/ 128944 h 128944"/>
                  <a:gd name="connsiteX2" fmla="*/ 0 w 506327"/>
                  <a:gd name="connsiteY2" fmla="*/ 2931 h 128944"/>
                  <a:gd name="connsiteX3" fmla="*/ 718 w 506327"/>
                  <a:gd name="connsiteY3" fmla="*/ 0 h 128944"/>
                </a:gdLst>
                <a:ahLst/>
                <a:cxnLst>
                  <a:cxn ang="0">
                    <a:pos x="connsiteX0" y="connsiteY0"/>
                  </a:cxn>
                  <a:cxn ang="0">
                    <a:pos x="connsiteX1" y="connsiteY1"/>
                  </a:cxn>
                  <a:cxn ang="0">
                    <a:pos x="connsiteX2" y="connsiteY2"/>
                  </a:cxn>
                  <a:cxn ang="0">
                    <a:pos x="connsiteX3" y="connsiteY3"/>
                  </a:cxn>
                </a:cxnLst>
                <a:rect l="l" t="t" r="r" b="b"/>
                <a:pathLst>
                  <a:path w="506327" h="128944">
                    <a:moveTo>
                      <a:pt x="506328" y="125954"/>
                    </a:moveTo>
                    <a:lnTo>
                      <a:pt x="505610" y="128944"/>
                    </a:lnTo>
                    <a:lnTo>
                      <a:pt x="0" y="2931"/>
                    </a:lnTo>
                    <a:lnTo>
                      <a:pt x="718" y="0"/>
                    </a:lnTo>
                    <a:close/>
                  </a:path>
                </a:pathLst>
              </a:custGeom>
              <a:grpFill/>
              <a:ln w="5978" cap="flat">
                <a:noFill/>
                <a:prstDash val="solid"/>
                <a:miter/>
              </a:ln>
            </p:spPr>
            <p:txBody>
              <a:bodyPr rtlCol="0" anchor="ctr"/>
              <a:lstStyle/>
              <a:p>
                <a:endParaRPr lang="en-GB"/>
              </a:p>
            </p:txBody>
          </p:sp>
          <p:sp>
            <p:nvSpPr>
              <p:cNvPr id="1922" name="Vrije vorm: vorm 1921">
                <a:extLst>
                  <a:ext uri="{FF2B5EF4-FFF2-40B4-BE49-F238E27FC236}">
                    <a16:creationId xmlns:a16="http://schemas.microsoft.com/office/drawing/2014/main" id="{0E327450-D315-4949-A32E-1E2277D7F35F}"/>
                  </a:ext>
                </a:extLst>
              </p:cNvPr>
              <p:cNvSpPr/>
              <p:nvPr/>
            </p:nvSpPr>
            <p:spPr>
              <a:xfrm>
                <a:off x="4384346" y="3126677"/>
                <a:ext cx="18342" cy="18432"/>
              </a:xfrm>
              <a:custGeom>
                <a:avLst/>
                <a:gdLst>
                  <a:gd name="connsiteX0" fmla="*/ 11324 w 18342"/>
                  <a:gd name="connsiteY0" fmla="*/ 263 h 18432"/>
                  <a:gd name="connsiteX1" fmla="*/ 18083 w 18342"/>
                  <a:gd name="connsiteY1" fmla="*/ 11447 h 18432"/>
                  <a:gd name="connsiteX2" fmla="*/ 7018 w 18342"/>
                  <a:gd name="connsiteY2" fmla="*/ 18146 h 18432"/>
                  <a:gd name="connsiteX3" fmla="*/ 260 w 18342"/>
                  <a:gd name="connsiteY3" fmla="*/ 6962 h 18432"/>
                  <a:gd name="connsiteX4" fmla="*/ 11324 w 18342"/>
                  <a:gd name="connsiteY4" fmla="*/ 263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32">
                    <a:moveTo>
                      <a:pt x="11324" y="263"/>
                    </a:moveTo>
                    <a:cubicBezTo>
                      <a:pt x="16229" y="1460"/>
                      <a:pt x="19279" y="6483"/>
                      <a:pt x="18083" y="11447"/>
                    </a:cubicBezTo>
                    <a:cubicBezTo>
                      <a:pt x="16886" y="16411"/>
                      <a:pt x="11922" y="19402"/>
                      <a:pt x="7018" y="18146"/>
                    </a:cubicBezTo>
                    <a:cubicBezTo>
                      <a:pt x="2114" y="16950"/>
                      <a:pt x="-936" y="11926"/>
                      <a:pt x="260" y="6962"/>
                    </a:cubicBezTo>
                    <a:cubicBezTo>
                      <a:pt x="1456" y="2058"/>
                      <a:pt x="6420" y="-933"/>
                      <a:pt x="11324" y="263"/>
                    </a:cubicBezTo>
                    <a:close/>
                  </a:path>
                </a:pathLst>
              </a:custGeom>
              <a:grpFill/>
              <a:ln w="5978" cap="flat">
                <a:noFill/>
                <a:prstDash val="solid"/>
                <a:miter/>
              </a:ln>
            </p:spPr>
            <p:txBody>
              <a:bodyPr rtlCol="0" anchor="ctr"/>
              <a:lstStyle/>
              <a:p>
                <a:endParaRPr lang="en-GB"/>
              </a:p>
            </p:txBody>
          </p:sp>
          <p:sp>
            <p:nvSpPr>
              <p:cNvPr id="1923" name="Vrije vorm: vorm 1922">
                <a:extLst>
                  <a:ext uri="{FF2B5EF4-FFF2-40B4-BE49-F238E27FC236}">
                    <a16:creationId xmlns:a16="http://schemas.microsoft.com/office/drawing/2014/main" id="{31CE7252-3E43-4C9C-9FB1-D25D8992314D}"/>
                  </a:ext>
                </a:extLst>
              </p:cNvPr>
              <p:cNvSpPr/>
              <p:nvPr/>
            </p:nvSpPr>
            <p:spPr>
              <a:xfrm>
                <a:off x="3879630" y="3000963"/>
                <a:ext cx="18345" cy="18409"/>
              </a:xfrm>
              <a:custGeom>
                <a:avLst/>
                <a:gdLst>
                  <a:gd name="connsiteX0" fmla="*/ 11327 w 18345"/>
                  <a:gd name="connsiteY0" fmla="*/ 263 h 18409"/>
                  <a:gd name="connsiteX1" fmla="*/ 263 w 18345"/>
                  <a:gd name="connsiteY1" fmla="*/ 6962 h 18409"/>
                  <a:gd name="connsiteX2" fmla="*/ 7021 w 18345"/>
                  <a:gd name="connsiteY2" fmla="*/ 18146 h 18409"/>
                  <a:gd name="connsiteX3" fmla="*/ 18086 w 18345"/>
                  <a:gd name="connsiteY3" fmla="*/ 11447 h 18409"/>
                  <a:gd name="connsiteX4" fmla="*/ 11327 w 18345"/>
                  <a:gd name="connsiteY4" fmla="*/ 263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09">
                    <a:moveTo>
                      <a:pt x="11327" y="263"/>
                    </a:moveTo>
                    <a:cubicBezTo>
                      <a:pt x="6423" y="-933"/>
                      <a:pt x="1459" y="2058"/>
                      <a:pt x="263" y="6962"/>
                    </a:cubicBezTo>
                    <a:cubicBezTo>
                      <a:pt x="-933" y="11926"/>
                      <a:pt x="2057" y="16890"/>
                      <a:pt x="7021" y="18146"/>
                    </a:cubicBezTo>
                    <a:cubicBezTo>
                      <a:pt x="11925" y="19342"/>
                      <a:pt x="16889" y="16351"/>
                      <a:pt x="18086" y="11447"/>
                    </a:cubicBezTo>
                    <a:cubicBezTo>
                      <a:pt x="19282" y="6483"/>
                      <a:pt x="16232" y="1459"/>
                      <a:pt x="11327" y="263"/>
                    </a:cubicBezTo>
                    <a:close/>
                  </a:path>
                </a:pathLst>
              </a:custGeom>
              <a:grpFill/>
              <a:ln w="5978" cap="flat">
                <a:noFill/>
                <a:prstDash val="solid"/>
                <a:miter/>
              </a:ln>
            </p:spPr>
            <p:txBody>
              <a:bodyPr rtlCol="0" anchor="ctr"/>
              <a:lstStyle/>
              <a:p>
                <a:endParaRPr lang="en-GB"/>
              </a:p>
            </p:txBody>
          </p:sp>
        </p:grpSp>
        <p:grpSp>
          <p:nvGrpSpPr>
            <p:cNvPr id="1161" name="Graphic 3">
              <a:extLst>
                <a:ext uri="{FF2B5EF4-FFF2-40B4-BE49-F238E27FC236}">
                  <a16:creationId xmlns:a16="http://schemas.microsoft.com/office/drawing/2014/main" id="{6BE109F7-45D2-4728-87A8-006DC2407FEC}"/>
                </a:ext>
              </a:extLst>
            </p:cNvPr>
            <p:cNvGrpSpPr/>
            <p:nvPr/>
          </p:nvGrpSpPr>
          <p:grpSpPr>
            <a:xfrm>
              <a:off x="4527869" y="4463243"/>
              <a:ext cx="222373" cy="182293"/>
              <a:chOff x="4527869" y="4463243"/>
              <a:chExt cx="222373" cy="182293"/>
            </a:xfrm>
            <a:grpFill/>
          </p:grpSpPr>
          <p:sp>
            <p:nvSpPr>
              <p:cNvPr id="1918" name="Vrije vorm: vorm 1917">
                <a:extLst>
                  <a:ext uri="{FF2B5EF4-FFF2-40B4-BE49-F238E27FC236}">
                    <a16:creationId xmlns:a16="http://schemas.microsoft.com/office/drawing/2014/main" id="{1334E85C-6EA6-4D33-8D85-EFF1194C0EB9}"/>
                  </a:ext>
                </a:extLst>
              </p:cNvPr>
              <p:cNvSpPr/>
              <p:nvPr/>
            </p:nvSpPr>
            <p:spPr>
              <a:xfrm>
                <a:off x="4535739" y="4470988"/>
                <a:ext cx="206633" cy="166802"/>
              </a:xfrm>
              <a:custGeom>
                <a:avLst/>
                <a:gdLst>
                  <a:gd name="connsiteX0" fmla="*/ 206634 w 206633"/>
                  <a:gd name="connsiteY0" fmla="*/ 2392 h 166802"/>
                  <a:gd name="connsiteX1" fmla="*/ 1854 w 206633"/>
                  <a:gd name="connsiteY1" fmla="*/ 166802 h 166802"/>
                  <a:gd name="connsiteX2" fmla="*/ 0 w 206633"/>
                  <a:gd name="connsiteY2" fmla="*/ 164410 h 166802"/>
                  <a:gd name="connsiteX3" fmla="*/ 204720 w 206633"/>
                  <a:gd name="connsiteY3" fmla="*/ 0 h 166802"/>
                </a:gdLst>
                <a:ahLst/>
                <a:cxnLst>
                  <a:cxn ang="0">
                    <a:pos x="connsiteX0" y="connsiteY0"/>
                  </a:cxn>
                  <a:cxn ang="0">
                    <a:pos x="connsiteX1" y="connsiteY1"/>
                  </a:cxn>
                  <a:cxn ang="0">
                    <a:pos x="connsiteX2" y="connsiteY2"/>
                  </a:cxn>
                  <a:cxn ang="0">
                    <a:pos x="connsiteX3" y="connsiteY3"/>
                  </a:cxn>
                </a:cxnLst>
                <a:rect l="l" t="t" r="r" b="b"/>
                <a:pathLst>
                  <a:path w="206633" h="166802">
                    <a:moveTo>
                      <a:pt x="206634" y="2392"/>
                    </a:moveTo>
                    <a:lnTo>
                      <a:pt x="1854" y="166802"/>
                    </a:lnTo>
                    <a:lnTo>
                      <a:pt x="0" y="164410"/>
                    </a:lnTo>
                    <a:lnTo>
                      <a:pt x="204720" y="0"/>
                    </a:lnTo>
                    <a:close/>
                  </a:path>
                </a:pathLst>
              </a:custGeom>
              <a:grpFill/>
              <a:ln w="5978" cap="flat">
                <a:noFill/>
                <a:prstDash val="solid"/>
                <a:miter/>
              </a:ln>
            </p:spPr>
            <p:txBody>
              <a:bodyPr rtlCol="0" anchor="ctr"/>
              <a:lstStyle/>
              <a:p>
                <a:endParaRPr lang="en-GB"/>
              </a:p>
            </p:txBody>
          </p:sp>
          <p:sp>
            <p:nvSpPr>
              <p:cNvPr id="1919" name="Vrije vorm: vorm 1918">
                <a:extLst>
                  <a:ext uri="{FF2B5EF4-FFF2-40B4-BE49-F238E27FC236}">
                    <a16:creationId xmlns:a16="http://schemas.microsoft.com/office/drawing/2014/main" id="{5D7DB39C-BDE9-4763-BC67-103AEBDB5349}"/>
                  </a:ext>
                </a:extLst>
              </p:cNvPr>
              <p:cNvSpPr/>
              <p:nvPr/>
            </p:nvSpPr>
            <p:spPr>
              <a:xfrm>
                <a:off x="4527869" y="4627114"/>
                <a:ext cx="18311" cy="18421"/>
              </a:xfrm>
              <a:custGeom>
                <a:avLst/>
                <a:gdLst>
                  <a:gd name="connsiteX0" fmla="*/ 14867 w 18311"/>
                  <a:gd name="connsiteY0" fmla="*/ 16418 h 18421"/>
                  <a:gd name="connsiteX1" fmla="*/ 2009 w 18311"/>
                  <a:gd name="connsiteY1" fmla="*/ 14923 h 18421"/>
                  <a:gd name="connsiteX2" fmla="*/ 3444 w 18311"/>
                  <a:gd name="connsiteY2" fmla="*/ 2004 h 18421"/>
                  <a:gd name="connsiteX3" fmla="*/ 16303 w 18311"/>
                  <a:gd name="connsiteY3" fmla="*/ 3499 h 18421"/>
                  <a:gd name="connsiteX4" fmla="*/ 14867 w 18311"/>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14867" y="16418"/>
                    </a:moveTo>
                    <a:cubicBezTo>
                      <a:pt x="10920" y="19587"/>
                      <a:pt x="5178" y="18930"/>
                      <a:pt x="2009" y="14923"/>
                    </a:cubicBezTo>
                    <a:cubicBezTo>
                      <a:pt x="-1161" y="10915"/>
                      <a:pt x="-503" y="5174"/>
                      <a:pt x="3444" y="2004"/>
                    </a:cubicBezTo>
                    <a:cubicBezTo>
                      <a:pt x="7391" y="-1166"/>
                      <a:pt x="13133" y="-508"/>
                      <a:pt x="16303" y="3499"/>
                    </a:cubicBezTo>
                    <a:cubicBezTo>
                      <a:pt x="19472" y="7447"/>
                      <a:pt x="18815" y="13248"/>
                      <a:pt x="14867" y="16418"/>
                    </a:cubicBezTo>
                    <a:close/>
                  </a:path>
                </a:pathLst>
              </a:custGeom>
              <a:grpFill/>
              <a:ln w="5978" cap="flat">
                <a:noFill/>
                <a:prstDash val="solid"/>
                <a:miter/>
              </a:ln>
            </p:spPr>
            <p:txBody>
              <a:bodyPr rtlCol="0" anchor="ctr"/>
              <a:lstStyle/>
              <a:p>
                <a:endParaRPr lang="en-GB"/>
              </a:p>
            </p:txBody>
          </p:sp>
          <p:sp>
            <p:nvSpPr>
              <p:cNvPr id="1920" name="Vrije vorm: vorm 1919">
                <a:extLst>
                  <a:ext uri="{FF2B5EF4-FFF2-40B4-BE49-F238E27FC236}">
                    <a16:creationId xmlns:a16="http://schemas.microsoft.com/office/drawing/2014/main" id="{17C544A8-937C-495F-AFE4-7566C774DE49}"/>
                  </a:ext>
                </a:extLst>
              </p:cNvPr>
              <p:cNvSpPr/>
              <p:nvPr/>
            </p:nvSpPr>
            <p:spPr>
              <a:xfrm>
                <a:off x="4731931" y="4463243"/>
                <a:ext cx="18311" cy="18421"/>
              </a:xfrm>
              <a:custGeom>
                <a:avLst/>
                <a:gdLst>
                  <a:gd name="connsiteX0" fmla="*/ 14867 w 18311"/>
                  <a:gd name="connsiteY0" fmla="*/ 16418 h 18421"/>
                  <a:gd name="connsiteX1" fmla="*/ 16303 w 18311"/>
                  <a:gd name="connsiteY1" fmla="*/ 3499 h 18421"/>
                  <a:gd name="connsiteX2" fmla="*/ 3444 w 18311"/>
                  <a:gd name="connsiteY2" fmla="*/ 2004 h 18421"/>
                  <a:gd name="connsiteX3" fmla="*/ 2009 w 18311"/>
                  <a:gd name="connsiteY3" fmla="*/ 14922 h 18421"/>
                  <a:gd name="connsiteX4" fmla="*/ 14867 w 18311"/>
                  <a:gd name="connsiteY4" fmla="*/ 16418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14867" y="16418"/>
                    </a:moveTo>
                    <a:cubicBezTo>
                      <a:pt x="18815" y="13248"/>
                      <a:pt x="19472" y="7447"/>
                      <a:pt x="16303" y="3499"/>
                    </a:cubicBezTo>
                    <a:cubicBezTo>
                      <a:pt x="13133" y="-508"/>
                      <a:pt x="7391" y="-1166"/>
                      <a:pt x="3444" y="2004"/>
                    </a:cubicBezTo>
                    <a:cubicBezTo>
                      <a:pt x="-503" y="5174"/>
                      <a:pt x="-1161" y="10975"/>
                      <a:pt x="2009" y="14922"/>
                    </a:cubicBezTo>
                    <a:cubicBezTo>
                      <a:pt x="5178" y="18929"/>
                      <a:pt x="10920" y="19588"/>
                      <a:pt x="14867" y="16418"/>
                    </a:cubicBezTo>
                    <a:close/>
                  </a:path>
                </a:pathLst>
              </a:custGeom>
              <a:grpFill/>
              <a:ln w="5978" cap="flat">
                <a:noFill/>
                <a:prstDash val="solid"/>
                <a:miter/>
              </a:ln>
            </p:spPr>
            <p:txBody>
              <a:bodyPr rtlCol="0" anchor="ctr"/>
              <a:lstStyle/>
              <a:p>
                <a:endParaRPr lang="en-GB"/>
              </a:p>
            </p:txBody>
          </p:sp>
        </p:grpSp>
        <p:grpSp>
          <p:nvGrpSpPr>
            <p:cNvPr id="1162" name="Graphic 3">
              <a:extLst>
                <a:ext uri="{FF2B5EF4-FFF2-40B4-BE49-F238E27FC236}">
                  <a16:creationId xmlns:a16="http://schemas.microsoft.com/office/drawing/2014/main" id="{CBCC45E8-F158-4D19-8339-C1328B882AF3}"/>
                </a:ext>
              </a:extLst>
            </p:cNvPr>
            <p:cNvGrpSpPr/>
            <p:nvPr/>
          </p:nvGrpSpPr>
          <p:grpSpPr>
            <a:xfrm>
              <a:off x="4519568" y="4396525"/>
              <a:ext cx="161106" cy="120414"/>
              <a:chOff x="4519568" y="4396525"/>
              <a:chExt cx="161106" cy="120414"/>
            </a:xfrm>
            <a:grpFill/>
          </p:grpSpPr>
          <p:sp>
            <p:nvSpPr>
              <p:cNvPr id="1915" name="Vrije vorm: vorm 1914">
                <a:extLst>
                  <a:ext uri="{FF2B5EF4-FFF2-40B4-BE49-F238E27FC236}">
                    <a16:creationId xmlns:a16="http://schemas.microsoft.com/office/drawing/2014/main" id="{B845CA56-DC25-4250-B1F8-BB8A95FD9C26}"/>
                  </a:ext>
                </a:extLst>
              </p:cNvPr>
              <p:cNvSpPr/>
              <p:nvPr/>
            </p:nvSpPr>
            <p:spPr>
              <a:xfrm>
                <a:off x="4527486" y="4404243"/>
                <a:ext cx="145271" cy="105021"/>
              </a:xfrm>
              <a:custGeom>
                <a:avLst/>
                <a:gdLst>
                  <a:gd name="connsiteX0" fmla="*/ 145272 w 145271"/>
                  <a:gd name="connsiteY0" fmla="*/ 2452 h 105021"/>
                  <a:gd name="connsiteX1" fmla="*/ 1794 w 145271"/>
                  <a:gd name="connsiteY1" fmla="*/ 105021 h 105021"/>
                  <a:gd name="connsiteX2" fmla="*/ 0 w 145271"/>
                  <a:gd name="connsiteY2" fmla="*/ 102510 h 105021"/>
                  <a:gd name="connsiteX3" fmla="*/ 143537 w 145271"/>
                  <a:gd name="connsiteY3" fmla="*/ 0 h 105021"/>
                </a:gdLst>
                <a:ahLst/>
                <a:cxnLst>
                  <a:cxn ang="0">
                    <a:pos x="connsiteX0" y="connsiteY0"/>
                  </a:cxn>
                  <a:cxn ang="0">
                    <a:pos x="connsiteX1" y="connsiteY1"/>
                  </a:cxn>
                  <a:cxn ang="0">
                    <a:pos x="connsiteX2" y="connsiteY2"/>
                  </a:cxn>
                  <a:cxn ang="0">
                    <a:pos x="connsiteX3" y="connsiteY3"/>
                  </a:cxn>
                </a:cxnLst>
                <a:rect l="l" t="t" r="r" b="b"/>
                <a:pathLst>
                  <a:path w="145271" h="105021">
                    <a:moveTo>
                      <a:pt x="145272" y="2452"/>
                    </a:moveTo>
                    <a:lnTo>
                      <a:pt x="1794" y="105021"/>
                    </a:lnTo>
                    <a:lnTo>
                      <a:pt x="0" y="102510"/>
                    </a:lnTo>
                    <a:lnTo>
                      <a:pt x="143537" y="0"/>
                    </a:lnTo>
                    <a:close/>
                  </a:path>
                </a:pathLst>
              </a:custGeom>
              <a:grpFill/>
              <a:ln w="5978" cap="flat">
                <a:noFill/>
                <a:prstDash val="solid"/>
                <a:miter/>
              </a:ln>
            </p:spPr>
            <p:txBody>
              <a:bodyPr rtlCol="0" anchor="ctr"/>
              <a:lstStyle/>
              <a:p>
                <a:endParaRPr lang="en-GB"/>
              </a:p>
            </p:txBody>
          </p:sp>
          <p:sp>
            <p:nvSpPr>
              <p:cNvPr id="1916" name="Vrije vorm: vorm 1915">
                <a:extLst>
                  <a:ext uri="{FF2B5EF4-FFF2-40B4-BE49-F238E27FC236}">
                    <a16:creationId xmlns:a16="http://schemas.microsoft.com/office/drawing/2014/main" id="{DDF10E02-57CA-4DF4-BB12-FD655575D051}"/>
                  </a:ext>
                </a:extLst>
              </p:cNvPr>
              <p:cNvSpPr/>
              <p:nvPr/>
            </p:nvSpPr>
            <p:spPr>
              <a:xfrm>
                <a:off x="4519568" y="4498480"/>
                <a:ext cx="18346" cy="18459"/>
              </a:xfrm>
              <a:custGeom>
                <a:avLst/>
                <a:gdLst>
                  <a:gd name="connsiteX0" fmla="*/ 14496 w 18346"/>
                  <a:gd name="connsiteY0" fmla="*/ 16765 h 18459"/>
                  <a:gd name="connsiteX1" fmla="*/ 1697 w 18346"/>
                  <a:gd name="connsiteY1" fmla="*/ 14553 h 18459"/>
                  <a:gd name="connsiteX2" fmla="*/ 3850 w 18346"/>
                  <a:gd name="connsiteY2" fmla="*/ 1694 h 18459"/>
                  <a:gd name="connsiteX3" fmla="*/ 16649 w 18346"/>
                  <a:gd name="connsiteY3" fmla="*/ 3907 h 18459"/>
                  <a:gd name="connsiteX4" fmla="*/ 14496 w 18346"/>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9">
                    <a:moveTo>
                      <a:pt x="14496" y="16765"/>
                    </a:moveTo>
                    <a:cubicBezTo>
                      <a:pt x="10369" y="19696"/>
                      <a:pt x="4628" y="18739"/>
                      <a:pt x="1697" y="14553"/>
                    </a:cubicBezTo>
                    <a:cubicBezTo>
                      <a:pt x="-1233" y="10426"/>
                      <a:pt x="-276" y="4624"/>
                      <a:pt x="3850" y="1694"/>
                    </a:cubicBezTo>
                    <a:cubicBezTo>
                      <a:pt x="7977" y="-1237"/>
                      <a:pt x="13719" y="-280"/>
                      <a:pt x="16649" y="3907"/>
                    </a:cubicBezTo>
                    <a:cubicBezTo>
                      <a:pt x="19580" y="8093"/>
                      <a:pt x="18623" y="13835"/>
                      <a:pt x="14496" y="16765"/>
                    </a:cubicBezTo>
                    <a:close/>
                  </a:path>
                </a:pathLst>
              </a:custGeom>
              <a:grpFill/>
              <a:ln w="5978" cap="flat">
                <a:noFill/>
                <a:prstDash val="solid"/>
                <a:miter/>
              </a:ln>
            </p:spPr>
            <p:txBody>
              <a:bodyPr rtlCol="0" anchor="ctr"/>
              <a:lstStyle/>
              <a:p>
                <a:endParaRPr lang="en-GB"/>
              </a:p>
            </p:txBody>
          </p:sp>
          <p:sp>
            <p:nvSpPr>
              <p:cNvPr id="1917" name="Vrije vorm: vorm 1916">
                <a:extLst>
                  <a:ext uri="{FF2B5EF4-FFF2-40B4-BE49-F238E27FC236}">
                    <a16:creationId xmlns:a16="http://schemas.microsoft.com/office/drawing/2014/main" id="{7D98A986-7B43-4642-89F2-549851E42822}"/>
                  </a:ext>
                </a:extLst>
              </p:cNvPr>
              <p:cNvSpPr/>
              <p:nvPr/>
            </p:nvSpPr>
            <p:spPr>
              <a:xfrm>
                <a:off x="4662328" y="4396525"/>
                <a:ext cx="18346" cy="18426"/>
              </a:xfrm>
              <a:custGeom>
                <a:avLst/>
                <a:gdLst>
                  <a:gd name="connsiteX0" fmla="*/ 14496 w 18346"/>
                  <a:gd name="connsiteY0" fmla="*/ 16749 h 18426"/>
                  <a:gd name="connsiteX1" fmla="*/ 16649 w 18346"/>
                  <a:gd name="connsiteY1" fmla="*/ 3890 h 18426"/>
                  <a:gd name="connsiteX2" fmla="*/ 3850 w 18346"/>
                  <a:gd name="connsiteY2" fmla="*/ 1677 h 18426"/>
                  <a:gd name="connsiteX3" fmla="*/ 1697 w 18346"/>
                  <a:gd name="connsiteY3" fmla="*/ 14536 h 18426"/>
                  <a:gd name="connsiteX4" fmla="*/ 14496 w 18346"/>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6">
                    <a:moveTo>
                      <a:pt x="14496" y="16749"/>
                    </a:moveTo>
                    <a:cubicBezTo>
                      <a:pt x="18623" y="13818"/>
                      <a:pt x="19580" y="8077"/>
                      <a:pt x="16649" y="3890"/>
                    </a:cubicBezTo>
                    <a:cubicBezTo>
                      <a:pt x="13719" y="-237"/>
                      <a:pt x="7977" y="-1253"/>
                      <a:pt x="3850" y="1677"/>
                    </a:cubicBezTo>
                    <a:cubicBezTo>
                      <a:pt x="-276" y="4608"/>
                      <a:pt x="-1233" y="10349"/>
                      <a:pt x="1697" y="14536"/>
                    </a:cubicBezTo>
                    <a:cubicBezTo>
                      <a:pt x="4688" y="18663"/>
                      <a:pt x="10429" y="19679"/>
                      <a:pt x="14496" y="16749"/>
                    </a:cubicBezTo>
                    <a:close/>
                  </a:path>
                </a:pathLst>
              </a:custGeom>
              <a:grpFill/>
              <a:ln w="5978" cap="flat">
                <a:noFill/>
                <a:prstDash val="solid"/>
                <a:miter/>
              </a:ln>
            </p:spPr>
            <p:txBody>
              <a:bodyPr rtlCol="0" anchor="ctr"/>
              <a:lstStyle/>
              <a:p>
                <a:endParaRPr lang="en-GB"/>
              </a:p>
            </p:txBody>
          </p:sp>
        </p:grpSp>
        <p:grpSp>
          <p:nvGrpSpPr>
            <p:cNvPr id="1163" name="Graphic 3">
              <a:extLst>
                <a:ext uri="{FF2B5EF4-FFF2-40B4-BE49-F238E27FC236}">
                  <a16:creationId xmlns:a16="http://schemas.microsoft.com/office/drawing/2014/main" id="{53CDB60F-9D5A-4916-B686-4CF0AFB49E53}"/>
                </a:ext>
              </a:extLst>
            </p:cNvPr>
            <p:cNvGrpSpPr/>
            <p:nvPr/>
          </p:nvGrpSpPr>
          <p:grpSpPr>
            <a:xfrm>
              <a:off x="4072751" y="2920761"/>
              <a:ext cx="21990" cy="19305"/>
              <a:chOff x="4072751" y="2920761"/>
              <a:chExt cx="21990" cy="19305"/>
            </a:xfrm>
            <a:grpFill/>
          </p:grpSpPr>
          <p:sp>
            <p:nvSpPr>
              <p:cNvPr id="1913" name="Vrije vorm: vorm 1912">
                <a:extLst>
                  <a:ext uri="{FF2B5EF4-FFF2-40B4-BE49-F238E27FC236}">
                    <a16:creationId xmlns:a16="http://schemas.microsoft.com/office/drawing/2014/main" id="{874359A0-93B8-4038-B0D1-40DC31C0FB64}"/>
                  </a:ext>
                </a:extLst>
              </p:cNvPr>
              <p:cNvSpPr/>
              <p:nvPr/>
            </p:nvSpPr>
            <p:spPr>
              <a:xfrm>
                <a:off x="4072751" y="2920761"/>
                <a:ext cx="18342" cy="18408"/>
              </a:xfrm>
              <a:custGeom>
                <a:avLst/>
                <a:gdLst>
                  <a:gd name="connsiteX0" fmla="*/ 11324 w 18342"/>
                  <a:gd name="connsiteY0" fmla="*/ 263 h 18408"/>
                  <a:gd name="connsiteX1" fmla="*/ 18082 w 18342"/>
                  <a:gd name="connsiteY1" fmla="*/ 11387 h 18408"/>
                  <a:gd name="connsiteX2" fmla="*/ 7018 w 18342"/>
                  <a:gd name="connsiteY2" fmla="*/ 18145 h 18408"/>
                  <a:gd name="connsiteX3" fmla="*/ 260 w 18342"/>
                  <a:gd name="connsiteY3" fmla="*/ 7021 h 18408"/>
                  <a:gd name="connsiteX4" fmla="*/ 11324 w 18342"/>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11324" y="263"/>
                    </a:moveTo>
                    <a:cubicBezTo>
                      <a:pt x="16228" y="1459"/>
                      <a:pt x="19279" y="6483"/>
                      <a:pt x="18082" y="11387"/>
                    </a:cubicBezTo>
                    <a:cubicBezTo>
                      <a:pt x="16886" y="16351"/>
                      <a:pt x="11922" y="19342"/>
                      <a:pt x="7018" y="18145"/>
                    </a:cubicBezTo>
                    <a:cubicBezTo>
                      <a:pt x="2114" y="16949"/>
                      <a:pt x="-936" y="11925"/>
                      <a:pt x="260" y="7021"/>
                    </a:cubicBezTo>
                    <a:cubicBezTo>
                      <a:pt x="1456" y="2057"/>
                      <a:pt x="6420" y="-933"/>
                      <a:pt x="11324" y="263"/>
                    </a:cubicBezTo>
                    <a:close/>
                  </a:path>
                </a:pathLst>
              </a:custGeom>
              <a:grpFill/>
              <a:ln w="5978" cap="flat">
                <a:noFill/>
                <a:prstDash val="solid"/>
                <a:miter/>
              </a:ln>
            </p:spPr>
            <p:txBody>
              <a:bodyPr rtlCol="0" anchor="ctr"/>
              <a:lstStyle/>
              <a:p>
                <a:endParaRPr lang="en-GB"/>
              </a:p>
            </p:txBody>
          </p:sp>
          <p:sp>
            <p:nvSpPr>
              <p:cNvPr id="1914" name="Vrije vorm: vorm 1913">
                <a:extLst>
                  <a:ext uri="{FF2B5EF4-FFF2-40B4-BE49-F238E27FC236}">
                    <a16:creationId xmlns:a16="http://schemas.microsoft.com/office/drawing/2014/main" id="{C62BFDFC-71FE-4D12-900F-74E4359CF5E5}"/>
                  </a:ext>
                </a:extLst>
              </p:cNvPr>
              <p:cNvSpPr/>
              <p:nvPr/>
            </p:nvSpPr>
            <p:spPr>
              <a:xfrm>
                <a:off x="4076399" y="2921658"/>
                <a:ext cx="18342" cy="18408"/>
              </a:xfrm>
              <a:custGeom>
                <a:avLst/>
                <a:gdLst>
                  <a:gd name="connsiteX0" fmla="*/ 11324 w 18342"/>
                  <a:gd name="connsiteY0" fmla="*/ 263 h 18408"/>
                  <a:gd name="connsiteX1" fmla="*/ 260 w 18342"/>
                  <a:gd name="connsiteY1" fmla="*/ 7021 h 18408"/>
                  <a:gd name="connsiteX2" fmla="*/ 7018 w 18342"/>
                  <a:gd name="connsiteY2" fmla="*/ 18145 h 18408"/>
                  <a:gd name="connsiteX3" fmla="*/ 18082 w 18342"/>
                  <a:gd name="connsiteY3" fmla="*/ 11387 h 18408"/>
                  <a:gd name="connsiteX4" fmla="*/ 11324 w 18342"/>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408">
                    <a:moveTo>
                      <a:pt x="11324" y="263"/>
                    </a:moveTo>
                    <a:cubicBezTo>
                      <a:pt x="6420" y="-933"/>
                      <a:pt x="1456" y="2057"/>
                      <a:pt x="260" y="7021"/>
                    </a:cubicBezTo>
                    <a:cubicBezTo>
                      <a:pt x="-936" y="11985"/>
                      <a:pt x="2114" y="16949"/>
                      <a:pt x="7018" y="18145"/>
                    </a:cubicBezTo>
                    <a:cubicBezTo>
                      <a:pt x="11922" y="19342"/>
                      <a:pt x="16886" y="16351"/>
                      <a:pt x="18082" y="11387"/>
                    </a:cubicBezTo>
                    <a:cubicBezTo>
                      <a:pt x="19279" y="6483"/>
                      <a:pt x="16228" y="1459"/>
                      <a:pt x="11324" y="263"/>
                    </a:cubicBezTo>
                    <a:close/>
                  </a:path>
                </a:pathLst>
              </a:custGeom>
              <a:grpFill/>
              <a:ln w="5978" cap="flat">
                <a:noFill/>
                <a:prstDash val="solid"/>
                <a:miter/>
              </a:ln>
            </p:spPr>
            <p:txBody>
              <a:bodyPr rtlCol="0" anchor="ctr"/>
              <a:lstStyle/>
              <a:p>
                <a:endParaRPr lang="en-GB"/>
              </a:p>
            </p:txBody>
          </p:sp>
        </p:grpSp>
        <p:grpSp>
          <p:nvGrpSpPr>
            <p:cNvPr id="1164" name="Graphic 3">
              <a:extLst>
                <a:ext uri="{FF2B5EF4-FFF2-40B4-BE49-F238E27FC236}">
                  <a16:creationId xmlns:a16="http://schemas.microsoft.com/office/drawing/2014/main" id="{8589B969-58BE-4EA1-B22B-9041882184D4}"/>
                </a:ext>
              </a:extLst>
            </p:cNvPr>
            <p:cNvGrpSpPr/>
            <p:nvPr/>
          </p:nvGrpSpPr>
          <p:grpSpPr>
            <a:xfrm>
              <a:off x="4540292" y="4649665"/>
              <a:ext cx="335324" cy="294185"/>
              <a:chOff x="4540292" y="4649665"/>
              <a:chExt cx="335324" cy="294185"/>
            </a:xfrm>
            <a:grpFill/>
          </p:grpSpPr>
          <p:sp>
            <p:nvSpPr>
              <p:cNvPr id="1910" name="Vrije vorm: vorm 1909">
                <a:extLst>
                  <a:ext uri="{FF2B5EF4-FFF2-40B4-BE49-F238E27FC236}">
                    <a16:creationId xmlns:a16="http://schemas.microsoft.com/office/drawing/2014/main" id="{78B301FF-135A-491A-BBC6-F0802C6FFE8E}"/>
                  </a:ext>
                </a:extLst>
              </p:cNvPr>
              <p:cNvSpPr/>
              <p:nvPr/>
            </p:nvSpPr>
            <p:spPr>
              <a:xfrm>
                <a:off x="4548119" y="4657467"/>
                <a:ext cx="319669" cy="278701"/>
              </a:xfrm>
              <a:custGeom>
                <a:avLst/>
                <a:gdLst>
                  <a:gd name="connsiteX0" fmla="*/ 319670 w 319669"/>
                  <a:gd name="connsiteY0" fmla="*/ 2273 h 278701"/>
                  <a:gd name="connsiteX1" fmla="*/ 1974 w 319669"/>
                  <a:gd name="connsiteY1" fmla="*/ 278702 h 278701"/>
                  <a:gd name="connsiteX2" fmla="*/ 0 w 319669"/>
                  <a:gd name="connsiteY2" fmla="*/ 276369 h 278701"/>
                  <a:gd name="connsiteX3" fmla="*/ 317696 w 319669"/>
                  <a:gd name="connsiteY3" fmla="*/ 0 h 278701"/>
                </a:gdLst>
                <a:ahLst/>
                <a:cxnLst>
                  <a:cxn ang="0">
                    <a:pos x="connsiteX0" y="connsiteY0"/>
                  </a:cxn>
                  <a:cxn ang="0">
                    <a:pos x="connsiteX1" y="connsiteY1"/>
                  </a:cxn>
                  <a:cxn ang="0">
                    <a:pos x="connsiteX2" y="connsiteY2"/>
                  </a:cxn>
                  <a:cxn ang="0">
                    <a:pos x="connsiteX3" y="connsiteY3"/>
                  </a:cxn>
                </a:cxnLst>
                <a:rect l="l" t="t" r="r" b="b"/>
                <a:pathLst>
                  <a:path w="319669" h="278701">
                    <a:moveTo>
                      <a:pt x="319670" y="2273"/>
                    </a:moveTo>
                    <a:lnTo>
                      <a:pt x="1974" y="278702"/>
                    </a:lnTo>
                    <a:lnTo>
                      <a:pt x="0" y="276369"/>
                    </a:lnTo>
                    <a:lnTo>
                      <a:pt x="317696" y="0"/>
                    </a:lnTo>
                    <a:close/>
                  </a:path>
                </a:pathLst>
              </a:custGeom>
              <a:grpFill/>
              <a:ln w="5978" cap="flat">
                <a:noFill/>
                <a:prstDash val="solid"/>
                <a:miter/>
              </a:ln>
            </p:spPr>
            <p:txBody>
              <a:bodyPr rtlCol="0" anchor="ctr"/>
              <a:lstStyle/>
              <a:p>
                <a:endParaRPr lang="en-GB"/>
              </a:p>
            </p:txBody>
          </p:sp>
          <p:sp>
            <p:nvSpPr>
              <p:cNvPr id="1911" name="Vrije vorm: vorm 1910">
                <a:extLst>
                  <a:ext uri="{FF2B5EF4-FFF2-40B4-BE49-F238E27FC236}">
                    <a16:creationId xmlns:a16="http://schemas.microsoft.com/office/drawing/2014/main" id="{B287F0D3-9151-4B43-A8DB-49D1488CF957}"/>
                  </a:ext>
                </a:extLst>
              </p:cNvPr>
              <p:cNvSpPr/>
              <p:nvPr/>
            </p:nvSpPr>
            <p:spPr>
              <a:xfrm>
                <a:off x="4857270" y="4649665"/>
                <a:ext cx="18346" cy="18414"/>
              </a:xfrm>
              <a:custGeom>
                <a:avLst/>
                <a:gdLst>
                  <a:gd name="connsiteX0" fmla="*/ 3162 w 18346"/>
                  <a:gd name="connsiteY0" fmla="*/ 2240 h 18414"/>
                  <a:gd name="connsiteX1" fmla="*/ 16081 w 18346"/>
                  <a:gd name="connsiteY1" fmla="*/ 3197 h 18414"/>
                  <a:gd name="connsiteX2" fmla="*/ 15184 w 18346"/>
                  <a:gd name="connsiteY2" fmla="*/ 16175 h 18414"/>
                  <a:gd name="connsiteX3" fmla="*/ 2265 w 18346"/>
                  <a:gd name="connsiteY3" fmla="*/ 15218 h 18414"/>
                  <a:gd name="connsiteX4" fmla="*/ 3162 w 18346"/>
                  <a:gd name="connsiteY4" fmla="*/ 2240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4">
                    <a:moveTo>
                      <a:pt x="3162" y="2240"/>
                    </a:moveTo>
                    <a:cubicBezTo>
                      <a:pt x="6990" y="-1110"/>
                      <a:pt x="12791" y="-631"/>
                      <a:pt x="16081" y="3197"/>
                    </a:cubicBezTo>
                    <a:cubicBezTo>
                      <a:pt x="19430" y="7024"/>
                      <a:pt x="19011" y="12886"/>
                      <a:pt x="15184" y="16175"/>
                    </a:cubicBezTo>
                    <a:cubicBezTo>
                      <a:pt x="11356" y="19524"/>
                      <a:pt x="5555" y="19045"/>
                      <a:pt x="2265" y="15218"/>
                    </a:cubicBezTo>
                    <a:cubicBezTo>
                      <a:pt x="-1084" y="11390"/>
                      <a:pt x="-665" y="5589"/>
                      <a:pt x="3162" y="2240"/>
                    </a:cubicBezTo>
                    <a:close/>
                  </a:path>
                </a:pathLst>
              </a:custGeom>
              <a:grpFill/>
              <a:ln w="5978" cap="flat">
                <a:noFill/>
                <a:prstDash val="solid"/>
                <a:miter/>
              </a:ln>
            </p:spPr>
            <p:txBody>
              <a:bodyPr rtlCol="0" anchor="ctr"/>
              <a:lstStyle/>
              <a:p>
                <a:endParaRPr lang="en-GB"/>
              </a:p>
            </p:txBody>
          </p:sp>
          <p:sp>
            <p:nvSpPr>
              <p:cNvPr id="1912" name="Vrije vorm: vorm 1911">
                <a:extLst>
                  <a:ext uri="{FF2B5EF4-FFF2-40B4-BE49-F238E27FC236}">
                    <a16:creationId xmlns:a16="http://schemas.microsoft.com/office/drawing/2014/main" id="{DB86D5CE-4D45-4052-83CD-1D40B8056475}"/>
                  </a:ext>
                </a:extLst>
              </p:cNvPr>
              <p:cNvSpPr/>
              <p:nvPr/>
            </p:nvSpPr>
            <p:spPr>
              <a:xfrm>
                <a:off x="4540292" y="4925461"/>
                <a:ext cx="18346" cy="18390"/>
              </a:xfrm>
              <a:custGeom>
                <a:avLst/>
                <a:gdLst>
                  <a:gd name="connsiteX0" fmla="*/ 3162 w 18346"/>
                  <a:gd name="connsiteY0" fmla="*/ 2216 h 18390"/>
                  <a:gd name="connsiteX1" fmla="*/ 2265 w 18346"/>
                  <a:gd name="connsiteY1" fmla="*/ 15194 h 18390"/>
                  <a:gd name="connsiteX2" fmla="*/ 15184 w 18346"/>
                  <a:gd name="connsiteY2" fmla="*/ 16150 h 18390"/>
                  <a:gd name="connsiteX3" fmla="*/ 16081 w 18346"/>
                  <a:gd name="connsiteY3" fmla="*/ 3172 h 18390"/>
                  <a:gd name="connsiteX4" fmla="*/ 3162 w 18346"/>
                  <a:gd name="connsiteY4" fmla="*/ 2216 h 1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390">
                    <a:moveTo>
                      <a:pt x="3162" y="2216"/>
                    </a:moveTo>
                    <a:cubicBezTo>
                      <a:pt x="-665" y="5565"/>
                      <a:pt x="-1084" y="11366"/>
                      <a:pt x="2265" y="15194"/>
                    </a:cubicBezTo>
                    <a:cubicBezTo>
                      <a:pt x="5615" y="19021"/>
                      <a:pt x="11356" y="19500"/>
                      <a:pt x="15184" y="16150"/>
                    </a:cubicBezTo>
                    <a:cubicBezTo>
                      <a:pt x="19011" y="12801"/>
                      <a:pt x="19430" y="7000"/>
                      <a:pt x="16081" y="3172"/>
                    </a:cubicBezTo>
                    <a:cubicBezTo>
                      <a:pt x="12732" y="-655"/>
                      <a:pt x="6990" y="-1074"/>
                      <a:pt x="3162" y="2216"/>
                    </a:cubicBezTo>
                    <a:close/>
                  </a:path>
                </a:pathLst>
              </a:custGeom>
              <a:grpFill/>
              <a:ln w="5978" cap="flat">
                <a:noFill/>
                <a:prstDash val="solid"/>
                <a:miter/>
              </a:ln>
            </p:spPr>
            <p:txBody>
              <a:bodyPr rtlCol="0" anchor="ctr"/>
              <a:lstStyle/>
              <a:p>
                <a:endParaRPr lang="en-GB"/>
              </a:p>
            </p:txBody>
          </p:sp>
        </p:grpSp>
        <p:grpSp>
          <p:nvGrpSpPr>
            <p:cNvPr id="1165" name="Graphic 3">
              <a:extLst>
                <a:ext uri="{FF2B5EF4-FFF2-40B4-BE49-F238E27FC236}">
                  <a16:creationId xmlns:a16="http://schemas.microsoft.com/office/drawing/2014/main" id="{F3346500-3377-42D4-8473-018A1CAC1D27}"/>
                </a:ext>
              </a:extLst>
            </p:cNvPr>
            <p:cNvGrpSpPr/>
            <p:nvPr/>
          </p:nvGrpSpPr>
          <p:grpSpPr>
            <a:xfrm>
              <a:off x="4503340" y="4484405"/>
              <a:ext cx="269158" cy="181999"/>
              <a:chOff x="4503340" y="4484405"/>
              <a:chExt cx="269158" cy="181999"/>
            </a:xfrm>
            <a:grpFill/>
          </p:grpSpPr>
          <p:sp>
            <p:nvSpPr>
              <p:cNvPr id="1907" name="Vrije vorm: vorm 1906">
                <a:extLst>
                  <a:ext uri="{FF2B5EF4-FFF2-40B4-BE49-F238E27FC236}">
                    <a16:creationId xmlns:a16="http://schemas.microsoft.com/office/drawing/2014/main" id="{9009B307-6F2A-432D-8EB4-568CDBC23CAD}"/>
                  </a:ext>
                </a:extLst>
              </p:cNvPr>
              <p:cNvSpPr/>
              <p:nvPr/>
            </p:nvSpPr>
            <p:spPr>
              <a:xfrm>
                <a:off x="4511278" y="4492040"/>
                <a:ext cx="253283" cy="166682"/>
              </a:xfrm>
              <a:custGeom>
                <a:avLst/>
                <a:gdLst>
                  <a:gd name="connsiteX0" fmla="*/ 253284 w 253283"/>
                  <a:gd name="connsiteY0" fmla="*/ 2572 h 166682"/>
                  <a:gd name="connsiteX1" fmla="*/ 1675 w 253283"/>
                  <a:gd name="connsiteY1" fmla="*/ 166683 h 166682"/>
                  <a:gd name="connsiteX2" fmla="*/ 0 w 253283"/>
                  <a:gd name="connsiteY2" fmla="*/ 164111 h 166682"/>
                  <a:gd name="connsiteX3" fmla="*/ 251609 w 253283"/>
                  <a:gd name="connsiteY3" fmla="*/ 0 h 166682"/>
                </a:gdLst>
                <a:ahLst/>
                <a:cxnLst>
                  <a:cxn ang="0">
                    <a:pos x="connsiteX0" y="connsiteY0"/>
                  </a:cxn>
                  <a:cxn ang="0">
                    <a:pos x="connsiteX1" y="connsiteY1"/>
                  </a:cxn>
                  <a:cxn ang="0">
                    <a:pos x="connsiteX2" y="connsiteY2"/>
                  </a:cxn>
                  <a:cxn ang="0">
                    <a:pos x="connsiteX3" y="connsiteY3"/>
                  </a:cxn>
                </a:cxnLst>
                <a:rect l="l" t="t" r="r" b="b"/>
                <a:pathLst>
                  <a:path w="253283" h="166682">
                    <a:moveTo>
                      <a:pt x="253284" y="2572"/>
                    </a:moveTo>
                    <a:lnTo>
                      <a:pt x="1675" y="166683"/>
                    </a:lnTo>
                    <a:lnTo>
                      <a:pt x="0" y="164111"/>
                    </a:lnTo>
                    <a:lnTo>
                      <a:pt x="251609" y="0"/>
                    </a:lnTo>
                    <a:close/>
                  </a:path>
                </a:pathLst>
              </a:custGeom>
              <a:grpFill/>
              <a:ln w="5978" cap="flat">
                <a:noFill/>
                <a:prstDash val="solid"/>
                <a:miter/>
              </a:ln>
            </p:spPr>
            <p:txBody>
              <a:bodyPr rtlCol="0" anchor="ctr"/>
              <a:lstStyle/>
              <a:p>
                <a:endParaRPr lang="en-GB"/>
              </a:p>
            </p:txBody>
          </p:sp>
          <p:sp>
            <p:nvSpPr>
              <p:cNvPr id="1908" name="Vrije vorm: vorm 1907">
                <a:extLst>
                  <a:ext uri="{FF2B5EF4-FFF2-40B4-BE49-F238E27FC236}">
                    <a16:creationId xmlns:a16="http://schemas.microsoft.com/office/drawing/2014/main" id="{F910B58B-60C1-4B70-A2BF-09C7530E992D}"/>
                  </a:ext>
                </a:extLst>
              </p:cNvPr>
              <p:cNvSpPr/>
              <p:nvPr/>
            </p:nvSpPr>
            <p:spPr>
              <a:xfrm>
                <a:off x="4754172" y="4484405"/>
                <a:ext cx="18327" cy="18441"/>
              </a:xfrm>
              <a:custGeom>
                <a:avLst/>
                <a:gdLst>
                  <a:gd name="connsiteX0" fmla="*/ 4170 w 18327"/>
                  <a:gd name="connsiteY0" fmla="*/ 1475 h 18441"/>
                  <a:gd name="connsiteX1" fmla="*/ 16849 w 18327"/>
                  <a:gd name="connsiteY1" fmla="*/ 4227 h 18441"/>
                  <a:gd name="connsiteX2" fmla="*/ 14158 w 18327"/>
                  <a:gd name="connsiteY2" fmla="*/ 16966 h 18441"/>
                  <a:gd name="connsiteX3" fmla="*/ 1479 w 18327"/>
                  <a:gd name="connsiteY3" fmla="*/ 14214 h 18441"/>
                  <a:gd name="connsiteX4" fmla="*/ 4170 w 18327"/>
                  <a:gd name="connsiteY4" fmla="*/ 1475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4170" y="1475"/>
                    </a:moveTo>
                    <a:cubicBezTo>
                      <a:pt x="8416" y="-1275"/>
                      <a:pt x="14098" y="-79"/>
                      <a:pt x="16849" y="4227"/>
                    </a:cubicBezTo>
                    <a:cubicBezTo>
                      <a:pt x="19600" y="8473"/>
                      <a:pt x="18404" y="14214"/>
                      <a:pt x="14158" y="16966"/>
                    </a:cubicBezTo>
                    <a:cubicBezTo>
                      <a:pt x="9911" y="19717"/>
                      <a:pt x="4229" y="18521"/>
                      <a:pt x="1479" y="14214"/>
                    </a:cubicBezTo>
                    <a:cubicBezTo>
                      <a:pt x="-1273" y="9908"/>
                      <a:pt x="-76" y="4227"/>
                      <a:pt x="4170" y="1475"/>
                    </a:cubicBezTo>
                    <a:close/>
                  </a:path>
                </a:pathLst>
              </a:custGeom>
              <a:grpFill/>
              <a:ln w="5978" cap="flat">
                <a:noFill/>
                <a:prstDash val="solid"/>
                <a:miter/>
              </a:ln>
            </p:spPr>
            <p:txBody>
              <a:bodyPr rtlCol="0" anchor="ctr"/>
              <a:lstStyle/>
              <a:p>
                <a:endParaRPr lang="en-GB"/>
              </a:p>
            </p:txBody>
          </p:sp>
          <p:sp>
            <p:nvSpPr>
              <p:cNvPr id="1909" name="Vrije vorm: vorm 1908">
                <a:extLst>
                  <a:ext uri="{FF2B5EF4-FFF2-40B4-BE49-F238E27FC236}">
                    <a16:creationId xmlns:a16="http://schemas.microsoft.com/office/drawing/2014/main" id="{8F41CBD3-3E30-4E43-9226-DAEE00B6ECE6}"/>
                  </a:ext>
                </a:extLst>
              </p:cNvPr>
              <p:cNvSpPr/>
              <p:nvPr/>
            </p:nvSpPr>
            <p:spPr>
              <a:xfrm>
                <a:off x="4503340" y="4647977"/>
                <a:ext cx="18327" cy="18426"/>
              </a:xfrm>
              <a:custGeom>
                <a:avLst/>
                <a:gdLst>
                  <a:gd name="connsiteX0" fmla="*/ 4170 w 18327"/>
                  <a:gd name="connsiteY0" fmla="*/ 1476 h 18426"/>
                  <a:gd name="connsiteX1" fmla="*/ 1479 w 18327"/>
                  <a:gd name="connsiteY1" fmla="*/ 14215 h 18426"/>
                  <a:gd name="connsiteX2" fmla="*/ 14158 w 18327"/>
                  <a:gd name="connsiteY2" fmla="*/ 16966 h 18426"/>
                  <a:gd name="connsiteX3" fmla="*/ 16849 w 18327"/>
                  <a:gd name="connsiteY3" fmla="*/ 4227 h 18426"/>
                  <a:gd name="connsiteX4" fmla="*/ 4170 w 18327"/>
                  <a:gd name="connsiteY4" fmla="*/ 1476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6">
                    <a:moveTo>
                      <a:pt x="4170" y="1476"/>
                    </a:moveTo>
                    <a:cubicBezTo>
                      <a:pt x="-76" y="4227"/>
                      <a:pt x="-1273" y="9968"/>
                      <a:pt x="1479" y="14215"/>
                    </a:cubicBezTo>
                    <a:cubicBezTo>
                      <a:pt x="4229" y="18461"/>
                      <a:pt x="9911" y="19717"/>
                      <a:pt x="14158" y="16966"/>
                    </a:cubicBezTo>
                    <a:cubicBezTo>
                      <a:pt x="18404" y="14215"/>
                      <a:pt x="19600" y="8473"/>
                      <a:pt x="16849" y="4227"/>
                    </a:cubicBezTo>
                    <a:cubicBezTo>
                      <a:pt x="14098" y="-79"/>
                      <a:pt x="8416" y="-1276"/>
                      <a:pt x="4170" y="1476"/>
                    </a:cubicBezTo>
                    <a:close/>
                  </a:path>
                </a:pathLst>
              </a:custGeom>
              <a:grpFill/>
              <a:ln w="5978" cap="flat">
                <a:noFill/>
                <a:prstDash val="solid"/>
                <a:miter/>
              </a:ln>
            </p:spPr>
            <p:txBody>
              <a:bodyPr rtlCol="0" anchor="ctr"/>
              <a:lstStyle/>
              <a:p>
                <a:endParaRPr lang="en-GB"/>
              </a:p>
            </p:txBody>
          </p:sp>
        </p:grpSp>
        <p:grpSp>
          <p:nvGrpSpPr>
            <p:cNvPr id="1166" name="Graphic 3">
              <a:extLst>
                <a:ext uri="{FF2B5EF4-FFF2-40B4-BE49-F238E27FC236}">
                  <a16:creationId xmlns:a16="http://schemas.microsoft.com/office/drawing/2014/main" id="{F5B2D996-ED83-4B8C-A03C-84E5EF0C8015}"/>
                </a:ext>
              </a:extLst>
            </p:cNvPr>
            <p:cNvGrpSpPr/>
            <p:nvPr/>
          </p:nvGrpSpPr>
          <p:grpSpPr>
            <a:xfrm>
              <a:off x="3967623" y="3057137"/>
              <a:ext cx="322673" cy="69752"/>
              <a:chOff x="3967623" y="3057137"/>
              <a:chExt cx="322673" cy="69752"/>
            </a:xfrm>
            <a:grpFill/>
          </p:grpSpPr>
          <p:sp>
            <p:nvSpPr>
              <p:cNvPr id="1904" name="Vrije vorm: vorm 1903">
                <a:extLst>
                  <a:ext uri="{FF2B5EF4-FFF2-40B4-BE49-F238E27FC236}">
                    <a16:creationId xmlns:a16="http://schemas.microsoft.com/office/drawing/2014/main" id="{DE846730-975A-4B68-B2B1-B1F93ED3C825}"/>
                  </a:ext>
                </a:extLst>
              </p:cNvPr>
              <p:cNvSpPr/>
              <p:nvPr/>
            </p:nvSpPr>
            <p:spPr>
              <a:xfrm>
                <a:off x="3976063" y="3064681"/>
                <a:ext cx="305734" cy="54544"/>
              </a:xfrm>
              <a:custGeom>
                <a:avLst/>
                <a:gdLst>
                  <a:gd name="connsiteX0" fmla="*/ 305735 w 305734"/>
                  <a:gd name="connsiteY0" fmla="*/ 51554 h 54544"/>
                  <a:gd name="connsiteX1" fmla="*/ 305256 w 305734"/>
                  <a:gd name="connsiteY1" fmla="*/ 54544 h 54544"/>
                  <a:gd name="connsiteX2" fmla="*/ 0 w 305734"/>
                  <a:gd name="connsiteY2" fmla="*/ 3050 h 54544"/>
                  <a:gd name="connsiteX3" fmla="*/ 538 w 305734"/>
                  <a:gd name="connsiteY3" fmla="*/ 0 h 54544"/>
                </a:gdLst>
                <a:ahLst/>
                <a:cxnLst>
                  <a:cxn ang="0">
                    <a:pos x="connsiteX0" y="connsiteY0"/>
                  </a:cxn>
                  <a:cxn ang="0">
                    <a:pos x="connsiteX1" y="connsiteY1"/>
                  </a:cxn>
                  <a:cxn ang="0">
                    <a:pos x="connsiteX2" y="connsiteY2"/>
                  </a:cxn>
                  <a:cxn ang="0">
                    <a:pos x="connsiteX3" y="connsiteY3"/>
                  </a:cxn>
                </a:cxnLst>
                <a:rect l="l" t="t" r="r" b="b"/>
                <a:pathLst>
                  <a:path w="305734" h="54544">
                    <a:moveTo>
                      <a:pt x="305735" y="51554"/>
                    </a:moveTo>
                    <a:lnTo>
                      <a:pt x="305256" y="54544"/>
                    </a:lnTo>
                    <a:lnTo>
                      <a:pt x="0" y="3050"/>
                    </a:lnTo>
                    <a:lnTo>
                      <a:pt x="538" y="0"/>
                    </a:lnTo>
                    <a:close/>
                  </a:path>
                </a:pathLst>
              </a:custGeom>
              <a:grpFill/>
              <a:ln w="5978" cap="flat">
                <a:noFill/>
                <a:prstDash val="solid"/>
                <a:miter/>
              </a:ln>
            </p:spPr>
            <p:txBody>
              <a:bodyPr rtlCol="0" anchor="ctr"/>
              <a:lstStyle/>
              <a:p>
                <a:endParaRPr lang="en-GB"/>
              </a:p>
            </p:txBody>
          </p:sp>
          <p:sp>
            <p:nvSpPr>
              <p:cNvPr id="1905" name="Vrije vorm: vorm 1904">
                <a:extLst>
                  <a:ext uri="{FF2B5EF4-FFF2-40B4-BE49-F238E27FC236}">
                    <a16:creationId xmlns:a16="http://schemas.microsoft.com/office/drawing/2014/main" id="{985078EC-F3C3-4C9B-8F6B-6955081F4D44}"/>
                  </a:ext>
                </a:extLst>
              </p:cNvPr>
              <p:cNvSpPr/>
              <p:nvPr/>
            </p:nvSpPr>
            <p:spPr>
              <a:xfrm>
                <a:off x="3967623" y="3057137"/>
                <a:ext cx="18314" cy="18376"/>
              </a:xfrm>
              <a:custGeom>
                <a:avLst/>
                <a:gdLst>
                  <a:gd name="connsiteX0" fmla="*/ 7662 w 18314"/>
                  <a:gd name="connsiteY0" fmla="*/ 18250 h 18376"/>
                  <a:gd name="connsiteX1" fmla="*/ 126 w 18314"/>
                  <a:gd name="connsiteY1" fmla="*/ 7664 h 18376"/>
                  <a:gd name="connsiteX2" fmla="*/ 10653 w 18314"/>
                  <a:gd name="connsiteY2" fmla="*/ 128 h 18376"/>
                  <a:gd name="connsiteX3" fmla="*/ 18188 w 18314"/>
                  <a:gd name="connsiteY3" fmla="*/ 10714 h 18376"/>
                  <a:gd name="connsiteX4" fmla="*/ 7662 w 18314"/>
                  <a:gd name="connsiteY4" fmla="*/ 18250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76">
                    <a:moveTo>
                      <a:pt x="7662" y="18250"/>
                    </a:moveTo>
                    <a:cubicBezTo>
                      <a:pt x="2698" y="17412"/>
                      <a:pt x="-711" y="12628"/>
                      <a:pt x="126" y="7664"/>
                    </a:cubicBezTo>
                    <a:cubicBezTo>
                      <a:pt x="964" y="2640"/>
                      <a:pt x="5629" y="-709"/>
                      <a:pt x="10653" y="128"/>
                    </a:cubicBezTo>
                    <a:cubicBezTo>
                      <a:pt x="15617" y="965"/>
                      <a:pt x="19026" y="5750"/>
                      <a:pt x="18188" y="10714"/>
                    </a:cubicBezTo>
                    <a:cubicBezTo>
                      <a:pt x="17411" y="15678"/>
                      <a:pt x="12686" y="19087"/>
                      <a:pt x="7662" y="18250"/>
                    </a:cubicBezTo>
                    <a:close/>
                  </a:path>
                </a:pathLst>
              </a:custGeom>
              <a:grpFill/>
              <a:ln w="5978" cap="flat">
                <a:noFill/>
                <a:prstDash val="solid"/>
                <a:miter/>
              </a:ln>
            </p:spPr>
            <p:txBody>
              <a:bodyPr rtlCol="0" anchor="ctr"/>
              <a:lstStyle/>
              <a:p>
                <a:endParaRPr lang="en-GB"/>
              </a:p>
            </p:txBody>
          </p:sp>
          <p:sp>
            <p:nvSpPr>
              <p:cNvPr id="1906" name="Vrije vorm: vorm 1905">
                <a:extLst>
                  <a:ext uri="{FF2B5EF4-FFF2-40B4-BE49-F238E27FC236}">
                    <a16:creationId xmlns:a16="http://schemas.microsoft.com/office/drawing/2014/main" id="{01B99765-78A7-4821-830E-063B1254003B}"/>
                  </a:ext>
                </a:extLst>
              </p:cNvPr>
              <p:cNvSpPr/>
              <p:nvPr/>
            </p:nvSpPr>
            <p:spPr>
              <a:xfrm>
                <a:off x="4271981" y="3108511"/>
                <a:ext cx="18316" cy="18378"/>
              </a:xfrm>
              <a:custGeom>
                <a:avLst/>
                <a:gdLst>
                  <a:gd name="connsiteX0" fmla="*/ 7664 w 18316"/>
                  <a:gd name="connsiteY0" fmla="*/ 18250 h 18378"/>
                  <a:gd name="connsiteX1" fmla="*/ 18190 w 18316"/>
                  <a:gd name="connsiteY1" fmla="*/ 10714 h 18378"/>
                  <a:gd name="connsiteX2" fmla="*/ 10654 w 18316"/>
                  <a:gd name="connsiteY2" fmla="*/ 128 h 18378"/>
                  <a:gd name="connsiteX3" fmla="*/ 128 w 18316"/>
                  <a:gd name="connsiteY3" fmla="*/ 7664 h 18378"/>
                  <a:gd name="connsiteX4" fmla="*/ 7664 w 18316"/>
                  <a:gd name="connsiteY4" fmla="*/ 18250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78">
                    <a:moveTo>
                      <a:pt x="7664" y="18250"/>
                    </a:moveTo>
                    <a:cubicBezTo>
                      <a:pt x="12688" y="19087"/>
                      <a:pt x="17353" y="15738"/>
                      <a:pt x="18190" y="10714"/>
                    </a:cubicBezTo>
                    <a:cubicBezTo>
                      <a:pt x="19028" y="5690"/>
                      <a:pt x="15618" y="965"/>
                      <a:pt x="10654" y="128"/>
                    </a:cubicBezTo>
                    <a:cubicBezTo>
                      <a:pt x="5690" y="-709"/>
                      <a:pt x="966" y="2640"/>
                      <a:pt x="128" y="7664"/>
                    </a:cubicBezTo>
                    <a:cubicBezTo>
                      <a:pt x="-709" y="12628"/>
                      <a:pt x="2640" y="17353"/>
                      <a:pt x="7664" y="18250"/>
                    </a:cubicBezTo>
                    <a:close/>
                  </a:path>
                </a:pathLst>
              </a:custGeom>
              <a:grpFill/>
              <a:ln w="5978" cap="flat">
                <a:noFill/>
                <a:prstDash val="solid"/>
                <a:miter/>
              </a:ln>
            </p:spPr>
            <p:txBody>
              <a:bodyPr rtlCol="0" anchor="ctr"/>
              <a:lstStyle/>
              <a:p>
                <a:endParaRPr lang="en-GB"/>
              </a:p>
            </p:txBody>
          </p:sp>
        </p:grpSp>
        <p:grpSp>
          <p:nvGrpSpPr>
            <p:cNvPr id="1167" name="Graphic 3">
              <a:extLst>
                <a:ext uri="{FF2B5EF4-FFF2-40B4-BE49-F238E27FC236}">
                  <a16:creationId xmlns:a16="http://schemas.microsoft.com/office/drawing/2014/main" id="{2230DC31-3305-4A49-8060-7BCA7C6122BE}"/>
                </a:ext>
              </a:extLst>
            </p:cNvPr>
            <p:cNvGrpSpPr/>
            <p:nvPr/>
          </p:nvGrpSpPr>
          <p:grpSpPr>
            <a:xfrm>
              <a:off x="4532373" y="4630142"/>
              <a:ext cx="317251" cy="265787"/>
              <a:chOff x="4532373" y="4630142"/>
              <a:chExt cx="317251" cy="265787"/>
            </a:xfrm>
            <a:grpFill/>
          </p:grpSpPr>
          <p:sp>
            <p:nvSpPr>
              <p:cNvPr id="1901" name="Vrije vorm: vorm 1900">
                <a:extLst>
                  <a:ext uri="{FF2B5EF4-FFF2-40B4-BE49-F238E27FC236}">
                    <a16:creationId xmlns:a16="http://schemas.microsoft.com/office/drawing/2014/main" id="{26B82250-29D5-4D57-BC64-75508F234CFE}"/>
                  </a:ext>
                </a:extLst>
              </p:cNvPr>
              <p:cNvSpPr/>
              <p:nvPr/>
            </p:nvSpPr>
            <p:spPr>
              <a:xfrm>
                <a:off x="4540165" y="4637910"/>
                <a:ext cx="301607" cy="250293"/>
              </a:xfrm>
              <a:custGeom>
                <a:avLst/>
                <a:gdLst>
                  <a:gd name="connsiteX0" fmla="*/ 301608 w 301607"/>
                  <a:gd name="connsiteY0" fmla="*/ 2332 h 250293"/>
                  <a:gd name="connsiteX1" fmla="*/ 1974 w 301607"/>
                  <a:gd name="connsiteY1" fmla="*/ 250293 h 250293"/>
                  <a:gd name="connsiteX2" fmla="*/ 0 w 301607"/>
                  <a:gd name="connsiteY2" fmla="*/ 247901 h 250293"/>
                  <a:gd name="connsiteX3" fmla="*/ 299634 w 301607"/>
                  <a:gd name="connsiteY3" fmla="*/ 0 h 250293"/>
                </a:gdLst>
                <a:ahLst/>
                <a:cxnLst>
                  <a:cxn ang="0">
                    <a:pos x="connsiteX0" y="connsiteY0"/>
                  </a:cxn>
                  <a:cxn ang="0">
                    <a:pos x="connsiteX1" y="connsiteY1"/>
                  </a:cxn>
                  <a:cxn ang="0">
                    <a:pos x="connsiteX2" y="connsiteY2"/>
                  </a:cxn>
                  <a:cxn ang="0">
                    <a:pos x="connsiteX3" y="connsiteY3"/>
                  </a:cxn>
                </a:cxnLst>
                <a:rect l="l" t="t" r="r" b="b"/>
                <a:pathLst>
                  <a:path w="301607" h="250293">
                    <a:moveTo>
                      <a:pt x="301608" y="2332"/>
                    </a:moveTo>
                    <a:lnTo>
                      <a:pt x="1974" y="250293"/>
                    </a:lnTo>
                    <a:lnTo>
                      <a:pt x="0" y="247901"/>
                    </a:lnTo>
                    <a:lnTo>
                      <a:pt x="299634" y="0"/>
                    </a:lnTo>
                    <a:close/>
                  </a:path>
                </a:pathLst>
              </a:custGeom>
              <a:grpFill/>
              <a:ln w="5978" cap="flat">
                <a:noFill/>
                <a:prstDash val="solid"/>
                <a:miter/>
              </a:ln>
            </p:spPr>
            <p:txBody>
              <a:bodyPr rtlCol="0" anchor="ctr"/>
              <a:lstStyle/>
              <a:p>
                <a:endParaRPr lang="en-GB"/>
              </a:p>
            </p:txBody>
          </p:sp>
          <p:sp>
            <p:nvSpPr>
              <p:cNvPr id="1902" name="Vrije vorm: vorm 1901">
                <a:extLst>
                  <a:ext uri="{FF2B5EF4-FFF2-40B4-BE49-F238E27FC236}">
                    <a16:creationId xmlns:a16="http://schemas.microsoft.com/office/drawing/2014/main" id="{5F147587-9C4B-426D-B2EE-966497F762BA}"/>
                  </a:ext>
                </a:extLst>
              </p:cNvPr>
              <p:cNvSpPr/>
              <p:nvPr/>
            </p:nvSpPr>
            <p:spPr>
              <a:xfrm>
                <a:off x="4831289" y="4630142"/>
                <a:ext cx="18335" cy="18406"/>
              </a:xfrm>
              <a:custGeom>
                <a:avLst/>
                <a:gdLst>
                  <a:gd name="connsiteX0" fmla="*/ 3306 w 18335"/>
                  <a:gd name="connsiteY0" fmla="*/ 2086 h 18406"/>
                  <a:gd name="connsiteX1" fmla="*/ 16225 w 18335"/>
                  <a:gd name="connsiteY1" fmla="*/ 3342 h 18406"/>
                  <a:gd name="connsiteX2" fmla="*/ 15029 w 18335"/>
                  <a:gd name="connsiteY2" fmla="*/ 16320 h 18406"/>
                  <a:gd name="connsiteX3" fmla="*/ 2111 w 18335"/>
                  <a:gd name="connsiteY3" fmla="*/ 15064 h 18406"/>
                  <a:gd name="connsiteX4" fmla="*/ 3306 w 18335"/>
                  <a:gd name="connsiteY4" fmla="*/ 208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06">
                    <a:moveTo>
                      <a:pt x="3306" y="2086"/>
                    </a:moveTo>
                    <a:cubicBezTo>
                      <a:pt x="7194" y="-1143"/>
                      <a:pt x="12995" y="-546"/>
                      <a:pt x="16225" y="3342"/>
                    </a:cubicBezTo>
                    <a:cubicBezTo>
                      <a:pt x="19454" y="7289"/>
                      <a:pt x="18916" y="13090"/>
                      <a:pt x="15029" y="16320"/>
                    </a:cubicBezTo>
                    <a:cubicBezTo>
                      <a:pt x="11141" y="19550"/>
                      <a:pt x="5340" y="18952"/>
                      <a:pt x="2111" y="15064"/>
                    </a:cubicBezTo>
                    <a:cubicBezTo>
                      <a:pt x="-1119" y="11117"/>
                      <a:pt x="-581" y="5315"/>
                      <a:pt x="3306" y="2086"/>
                    </a:cubicBezTo>
                    <a:close/>
                  </a:path>
                </a:pathLst>
              </a:custGeom>
              <a:grpFill/>
              <a:ln w="5978" cap="flat">
                <a:noFill/>
                <a:prstDash val="solid"/>
                <a:miter/>
              </a:ln>
            </p:spPr>
            <p:txBody>
              <a:bodyPr rtlCol="0" anchor="ctr"/>
              <a:lstStyle/>
              <a:p>
                <a:endParaRPr lang="en-GB"/>
              </a:p>
            </p:txBody>
          </p:sp>
          <p:sp>
            <p:nvSpPr>
              <p:cNvPr id="1903" name="Vrije vorm: vorm 1902">
                <a:extLst>
                  <a:ext uri="{FF2B5EF4-FFF2-40B4-BE49-F238E27FC236}">
                    <a16:creationId xmlns:a16="http://schemas.microsoft.com/office/drawing/2014/main" id="{52386A68-177E-4AE2-94DF-6F7DFB404368}"/>
                  </a:ext>
                </a:extLst>
              </p:cNvPr>
              <p:cNvSpPr/>
              <p:nvPr/>
            </p:nvSpPr>
            <p:spPr>
              <a:xfrm>
                <a:off x="4532373" y="4877505"/>
                <a:ext cx="18335" cy="18425"/>
              </a:xfrm>
              <a:custGeom>
                <a:avLst/>
                <a:gdLst>
                  <a:gd name="connsiteX0" fmla="*/ 3306 w 18335"/>
                  <a:gd name="connsiteY0" fmla="*/ 2086 h 18425"/>
                  <a:gd name="connsiteX1" fmla="*/ 2110 w 18335"/>
                  <a:gd name="connsiteY1" fmla="*/ 15064 h 18425"/>
                  <a:gd name="connsiteX2" fmla="*/ 15029 w 18335"/>
                  <a:gd name="connsiteY2" fmla="*/ 16320 h 18425"/>
                  <a:gd name="connsiteX3" fmla="*/ 16225 w 18335"/>
                  <a:gd name="connsiteY3" fmla="*/ 3342 h 18425"/>
                  <a:gd name="connsiteX4" fmla="*/ 3306 w 18335"/>
                  <a:gd name="connsiteY4" fmla="*/ 2086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5">
                    <a:moveTo>
                      <a:pt x="3306" y="2086"/>
                    </a:moveTo>
                    <a:cubicBezTo>
                      <a:pt x="-581" y="5316"/>
                      <a:pt x="-1119" y="11117"/>
                      <a:pt x="2110" y="15064"/>
                    </a:cubicBezTo>
                    <a:cubicBezTo>
                      <a:pt x="5340" y="19012"/>
                      <a:pt x="11141" y="19550"/>
                      <a:pt x="15029" y="16320"/>
                    </a:cubicBezTo>
                    <a:cubicBezTo>
                      <a:pt x="18916" y="13091"/>
                      <a:pt x="19454" y="7289"/>
                      <a:pt x="16225" y="3342"/>
                    </a:cubicBezTo>
                    <a:cubicBezTo>
                      <a:pt x="12935" y="-546"/>
                      <a:pt x="7194" y="-1143"/>
                      <a:pt x="3306" y="2086"/>
                    </a:cubicBezTo>
                    <a:close/>
                  </a:path>
                </a:pathLst>
              </a:custGeom>
              <a:grpFill/>
              <a:ln w="5978" cap="flat">
                <a:noFill/>
                <a:prstDash val="solid"/>
                <a:miter/>
              </a:ln>
            </p:spPr>
            <p:txBody>
              <a:bodyPr rtlCol="0" anchor="ctr"/>
              <a:lstStyle/>
              <a:p>
                <a:endParaRPr lang="en-GB"/>
              </a:p>
            </p:txBody>
          </p:sp>
        </p:grpSp>
        <p:grpSp>
          <p:nvGrpSpPr>
            <p:cNvPr id="1168" name="Graphic 3">
              <a:extLst>
                <a:ext uri="{FF2B5EF4-FFF2-40B4-BE49-F238E27FC236}">
                  <a16:creationId xmlns:a16="http://schemas.microsoft.com/office/drawing/2014/main" id="{D2219FBE-3F4C-4C64-8CEB-9AC405BE02CC}"/>
                </a:ext>
              </a:extLst>
            </p:cNvPr>
            <p:cNvGrpSpPr/>
            <p:nvPr/>
          </p:nvGrpSpPr>
          <p:grpSpPr>
            <a:xfrm>
              <a:off x="4524173" y="4607030"/>
              <a:ext cx="302809" cy="242496"/>
              <a:chOff x="4524173" y="4607030"/>
              <a:chExt cx="302809" cy="242496"/>
            </a:xfrm>
            <a:grpFill/>
          </p:grpSpPr>
          <p:sp>
            <p:nvSpPr>
              <p:cNvPr id="1898" name="Vrije vorm: vorm 1897">
                <a:extLst>
                  <a:ext uri="{FF2B5EF4-FFF2-40B4-BE49-F238E27FC236}">
                    <a16:creationId xmlns:a16="http://schemas.microsoft.com/office/drawing/2014/main" id="{7A7CC5FD-A9A1-456B-A3E3-C88EE345FC33}"/>
                  </a:ext>
                </a:extLst>
              </p:cNvPr>
              <p:cNvSpPr/>
              <p:nvPr/>
            </p:nvSpPr>
            <p:spPr>
              <a:xfrm>
                <a:off x="4532091" y="4614765"/>
                <a:ext cx="287074" cy="227027"/>
              </a:xfrm>
              <a:custGeom>
                <a:avLst/>
                <a:gdLst>
                  <a:gd name="connsiteX0" fmla="*/ 287075 w 287074"/>
                  <a:gd name="connsiteY0" fmla="*/ 2392 h 227027"/>
                  <a:gd name="connsiteX1" fmla="*/ 1854 w 287074"/>
                  <a:gd name="connsiteY1" fmla="*/ 227028 h 227027"/>
                  <a:gd name="connsiteX2" fmla="*/ 0 w 287074"/>
                  <a:gd name="connsiteY2" fmla="*/ 224636 h 227027"/>
                  <a:gd name="connsiteX3" fmla="*/ 285161 w 287074"/>
                  <a:gd name="connsiteY3" fmla="*/ 0 h 227027"/>
                </a:gdLst>
                <a:ahLst/>
                <a:cxnLst>
                  <a:cxn ang="0">
                    <a:pos x="connsiteX0" y="connsiteY0"/>
                  </a:cxn>
                  <a:cxn ang="0">
                    <a:pos x="connsiteX1" y="connsiteY1"/>
                  </a:cxn>
                  <a:cxn ang="0">
                    <a:pos x="connsiteX2" y="connsiteY2"/>
                  </a:cxn>
                  <a:cxn ang="0">
                    <a:pos x="connsiteX3" y="connsiteY3"/>
                  </a:cxn>
                </a:cxnLst>
                <a:rect l="l" t="t" r="r" b="b"/>
                <a:pathLst>
                  <a:path w="287074" h="227027">
                    <a:moveTo>
                      <a:pt x="287075" y="2392"/>
                    </a:moveTo>
                    <a:lnTo>
                      <a:pt x="1854" y="227028"/>
                    </a:lnTo>
                    <a:lnTo>
                      <a:pt x="0" y="224636"/>
                    </a:lnTo>
                    <a:lnTo>
                      <a:pt x="285161" y="0"/>
                    </a:lnTo>
                    <a:close/>
                  </a:path>
                </a:pathLst>
              </a:custGeom>
              <a:grpFill/>
              <a:ln w="5978" cap="flat">
                <a:noFill/>
                <a:prstDash val="solid"/>
                <a:miter/>
              </a:ln>
            </p:spPr>
            <p:txBody>
              <a:bodyPr rtlCol="0" anchor="ctr"/>
              <a:lstStyle/>
              <a:p>
                <a:endParaRPr lang="en-GB"/>
              </a:p>
            </p:txBody>
          </p:sp>
          <p:sp>
            <p:nvSpPr>
              <p:cNvPr id="1899" name="Vrije vorm: vorm 1898">
                <a:extLst>
                  <a:ext uri="{FF2B5EF4-FFF2-40B4-BE49-F238E27FC236}">
                    <a16:creationId xmlns:a16="http://schemas.microsoft.com/office/drawing/2014/main" id="{0A026359-FBC6-4540-BA9F-6FDC09102E47}"/>
                  </a:ext>
                </a:extLst>
              </p:cNvPr>
              <p:cNvSpPr/>
              <p:nvPr/>
            </p:nvSpPr>
            <p:spPr>
              <a:xfrm>
                <a:off x="4808676" y="4607030"/>
                <a:ext cx="18306" cy="18398"/>
              </a:xfrm>
              <a:custGeom>
                <a:avLst/>
                <a:gdLst>
                  <a:gd name="connsiteX0" fmla="*/ 3492 w 18306"/>
                  <a:gd name="connsiteY0" fmla="*/ 1933 h 18398"/>
                  <a:gd name="connsiteX1" fmla="*/ 16351 w 18306"/>
                  <a:gd name="connsiteY1" fmla="*/ 3548 h 18398"/>
                  <a:gd name="connsiteX2" fmla="*/ 14796 w 18306"/>
                  <a:gd name="connsiteY2" fmla="*/ 16466 h 18398"/>
                  <a:gd name="connsiteX3" fmla="*/ 1937 w 18306"/>
                  <a:gd name="connsiteY3" fmla="*/ 14851 h 18398"/>
                  <a:gd name="connsiteX4" fmla="*/ 3492 w 18306"/>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 h="18398">
                    <a:moveTo>
                      <a:pt x="3492" y="1933"/>
                    </a:moveTo>
                    <a:cubicBezTo>
                      <a:pt x="7440" y="-1177"/>
                      <a:pt x="13241" y="-459"/>
                      <a:pt x="16351" y="3548"/>
                    </a:cubicBezTo>
                    <a:cubicBezTo>
                      <a:pt x="19461" y="7555"/>
                      <a:pt x="18803" y="13356"/>
                      <a:pt x="14796" y="16466"/>
                    </a:cubicBezTo>
                    <a:cubicBezTo>
                      <a:pt x="10849" y="19576"/>
                      <a:pt x="5047" y="18858"/>
                      <a:pt x="1937" y="14851"/>
                    </a:cubicBezTo>
                    <a:cubicBezTo>
                      <a:pt x="-1173" y="10904"/>
                      <a:pt x="-455" y="5103"/>
                      <a:pt x="3492" y="1933"/>
                    </a:cubicBezTo>
                    <a:close/>
                  </a:path>
                </a:pathLst>
              </a:custGeom>
              <a:grpFill/>
              <a:ln w="5978" cap="flat">
                <a:noFill/>
                <a:prstDash val="solid"/>
                <a:miter/>
              </a:ln>
            </p:spPr>
            <p:txBody>
              <a:bodyPr rtlCol="0" anchor="ctr"/>
              <a:lstStyle/>
              <a:p>
                <a:endParaRPr lang="en-GB"/>
              </a:p>
            </p:txBody>
          </p:sp>
          <p:sp>
            <p:nvSpPr>
              <p:cNvPr id="1900" name="Vrije vorm: vorm 1899">
                <a:extLst>
                  <a:ext uri="{FF2B5EF4-FFF2-40B4-BE49-F238E27FC236}">
                    <a16:creationId xmlns:a16="http://schemas.microsoft.com/office/drawing/2014/main" id="{330F7288-C152-4D98-AC14-4726C6C4D33B}"/>
                  </a:ext>
                </a:extLst>
              </p:cNvPr>
              <p:cNvSpPr/>
              <p:nvPr/>
            </p:nvSpPr>
            <p:spPr>
              <a:xfrm>
                <a:off x="4524173" y="4831128"/>
                <a:ext cx="18288" cy="18398"/>
              </a:xfrm>
              <a:custGeom>
                <a:avLst/>
                <a:gdLst>
                  <a:gd name="connsiteX0" fmla="*/ 3492 w 18288"/>
                  <a:gd name="connsiteY0" fmla="*/ 1933 h 18398"/>
                  <a:gd name="connsiteX1" fmla="*/ 1937 w 18288"/>
                  <a:gd name="connsiteY1" fmla="*/ 14851 h 18398"/>
                  <a:gd name="connsiteX2" fmla="*/ 14796 w 18288"/>
                  <a:gd name="connsiteY2" fmla="*/ 16466 h 18398"/>
                  <a:gd name="connsiteX3" fmla="*/ 16351 w 18288"/>
                  <a:gd name="connsiteY3" fmla="*/ 3548 h 18398"/>
                  <a:gd name="connsiteX4" fmla="*/ 3492 w 18288"/>
                  <a:gd name="connsiteY4" fmla="*/ 1933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98">
                    <a:moveTo>
                      <a:pt x="3492" y="1933"/>
                    </a:moveTo>
                    <a:cubicBezTo>
                      <a:pt x="-455" y="5043"/>
                      <a:pt x="-1173" y="10844"/>
                      <a:pt x="1937" y="14851"/>
                    </a:cubicBezTo>
                    <a:cubicBezTo>
                      <a:pt x="5047" y="18858"/>
                      <a:pt x="10849" y="19576"/>
                      <a:pt x="14796" y="16466"/>
                    </a:cubicBezTo>
                    <a:cubicBezTo>
                      <a:pt x="18743" y="13356"/>
                      <a:pt x="19461" y="7555"/>
                      <a:pt x="16351" y="3548"/>
                    </a:cubicBezTo>
                    <a:cubicBezTo>
                      <a:pt x="13241" y="-459"/>
                      <a:pt x="7499" y="-1177"/>
                      <a:pt x="3492" y="1933"/>
                    </a:cubicBezTo>
                    <a:close/>
                  </a:path>
                </a:pathLst>
              </a:custGeom>
              <a:grpFill/>
              <a:ln w="5978" cap="flat">
                <a:noFill/>
                <a:prstDash val="solid"/>
                <a:miter/>
              </a:ln>
            </p:spPr>
            <p:txBody>
              <a:bodyPr rtlCol="0" anchor="ctr"/>
              <a:lstStyle/>
              <a:p>
                <a:endParaRPr lang="en-GB"/>
              </a:p>
            </p:txBody>
          </p:sp>
        </p:grpSp>
        <p:grpSp>
          <p:nvGrpSpPr>
            <p:cNvPr id="1169" name="Graphic 3">
              <a:extLst>
                <a:ext uri="{FF2B5EF4-FFF2-40B4-BE49-F238E27FC236}">
                  <a16:creationId xmlns:a16="http://schemas.microsoft.com/office/drawing/2014/main" id="{DA159983-E29C-4126-ABBD-0C1B4299D760}"/>
                </a:ext>
              </a:extLst>
            </p:cNvPr>
            <p:cNvGrpSpPr/>
            <p:nvPr/>
          </p:nvGrpSpPr>
          <p:grpSpPr>
            <a:xfrm>
              <a:off x="3856861" y="2551769"/>
              <a:ext cx="213404" cy="94718"/>
              <a:chOff x="3856861" y="2551769"/>
              <a:chExt cx="213404" cy="94718"/>
            </a:xfrm>
            <a:grpFill/>
          </p:grpSpPr>
          <p:sp>
            <p:nvSpPr>
              <p:cNvPr id="1895" name="Vrije vorm: vorm 1894">
                <a:extLst>
                  <a:ext uri="{FF2B5EF4-FFF2-40B4-BE49-F238E27FC236}">
                    <a16:creationId xmlns:a16="http://schemas.microsoft.com/office/drawing/2014/main" id="{1FC118C5-5481-479F-B782-84F6E4B5377A}"/>
                  </a:ext>
                </a:extLst>
              </p:cNvPr>
              <p:cNvSpPr/>
              <p:nvPr/>
            </p:nvSpPr>
            <p:spPr>
              <a:xfrm>
                <a:off x="3865061" y="2559370"/>
                <a:ext cx="197005" cy="79483"/>
              </a:xfrm>
              <a:custGeom>
                <a:avLst/>
                <a:gdLst>
                  <a:gd name="connsiteX0" fmla="*/ 197005 w 197005"/>
                  <a:gd name="connsiteY0" fmla="*/ 76613 h 79483"/>
                  <a:gd name="connsiteX1" fmla="*/ 195929 w 197005"/>
                  <a:gd name="connsiteY1" fmla="*/ 79484 h 79483"/>
                  <a:gd name="connsiteX2" fmla="*/ 0 w 197005"/>
                  <a:gd name="connsiteY2" fmla="*/ 2871 h 79483"/>
                  <a:gd name="connsiteX3" fmla="*/ 1076 w 197005"/>
                  <a:gd name="connsiteY3" fmla="*/ 0 h 79483"/>
                </a:gdLst>
                <a:ahLst/>
                <a:cxnLst>
                  <a:cxn ang="0">
                    <a:pos x="connsiteX0" y="connsiteY0"/>
                  </a:cxn>
                  <a:cxn ang="0">
                    <a:pos x="connsiteX1" y="connsiteY1"/>
                  </a:cxn>
                  <a:cxn ang="0">
                    <a:pos x="connsiteX2" y="connsiteY2"/>
                  </a:cxn>
                  <a:cxn ang="0">
                    <a:pos x="connsiteX3" y="connsiteY3"/>
                  </a:cxn>
                </a:cxnLst>
                <a:rect l="l" t="t" r="r" b="b"/>
                <a:pathLst>
                  <a:path w="197005" h="79483">
                    <a:moveTo>
                      <a:pt x="197005" y="76613"/>
                    </a:moveTo>
                    <a:lnTo>
                      <a:pt x="195929" y="79484"/>
                    </a:lnTo>
                    <a:lnTo>
                      <a:pt x="0" y="2871"/>
                    </a:lnTo>
                    <a:lnTo>
                      <a:pt x="1076" y="0"/>
                    </a:lnTo>
                    <a:close/>
                  </a:path>
                </a:pathLst>
              </a:custGeom>
              <a:grpFill/>
              <a:ln w="5978" cap="flat">
                <a:noFill/>
                <a:prstDash val="solid"/>
                <a:miter/>
              </a:ln>
            </p:spPr>
            <p:txBody>
              <a:bodyPr rtlCol="0" anchor="ctr"/>
              <a:lstStyle/>
              <a:p>
                <a:endParaRPr lang="en-GB"/>
              </a:p>
            </p:txBody>
          </p:sp>
          <p:sp>
            <p:nvSpPr>
              <p:cNvPr id="1896" name="Vrije vorm: vorm 1895">
                <a:extLst>
                  <a:ext uri="{FF2B5EF4-FFF2-40B4-BE49-F238E27FC236}">
                    <a16:creationId xmlns:a16="http://schemas.microsoft.com/office/drawing/2014/main" id="{BE9E3786-2771-4CF7-BCFF-C06360CC39CD}"/>
                  </a:ext>
                </a:extLst>
              </p:cNvPr>
              <p:cNvSpPr/>
              <p:nvPr/>
            </p:nvSpPr>
            <p:spPr>
              <a:xfrm>
                <a:off x="3856861" y="2551769"/>
                <a:ext cx="18313" cy="18404"/>
              </a:xfrm>
              <a:custGeom>
                <a:avLst/>
                <a:gdLst>
                  <a:gd name="connsiteX0" fmla="*/ 5867 w 18313"/>
                  <a:gd name="connsiteY0" fmla="*/ 17769 h 18404"/>
                  <a:gd name="connsiteX1" fmla="*/ 604 w 18313"/>
                  <a:gd name="connsiteY1" fmla="*/ 5867 h 18404"/>
                  <a:gd name="connsiteX2" fmla="*/ 12446 w 18313"/>
                  <a:gd name="connsiteY2" fmla="*/ 604 h 18404"/>
                  <a:gd name="connsiteX3" fmla="*/ 17709 w 18313"/>
                  <a:gd name="connsiteY3" fmla="*/ 12506 h 18404"/>
                  <a:gd name="connsiteX4" fmla="*/ 5867 w 18313"/>
                  <a:gd name="connsiteY4" fmla="*/ 1776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04">
                    <a:moveTo>
                      <a:pt x="5867" y="17769"/>
                    </a:moveTo>
                    <a:cubicBezTo>
                      <a:pt x="1142" y="15915"/>
                      <a:pt x="-1190" y="10592"/>
                      <a:pt x="604" y="5867"/>
                    </a:cubicBezTo>
                    <a:cubicBezTo>
                      <a:pt x="2399" y="1142"/>
                      <a:pt x="7721" y="-1190"/>
                      <a:pt x="12446" y="604"/>
                    </a:cubicBezTo>
                    <a:cubicBezTo>
                      <a:pt x="17171" y="2458"/>
                      <a:pt x="19503" y="7781"/>
                      <a:pt x="17709" y="12506"/>
                    </a:cubicBezTo>
                    <a:cubicBezTo>
                      <a:pt x="15855" y="17290"/>
                      <a:pt x="10592" y="19623"/>
                      <a:pt x="5867" y="17769"/>
                    </a:cubicBezTo>
                    <a:close/>
                  </a:path>
                </a:pathLst>
              </a:custGeom>
              <a:grpFill/>
              <a:ln w="5978" cap="flat">
                <a:noFill/>
                <a:prstDash val="solid"/>
                <a:miter/>
              </a:ln>
            </p:spPr>
            <p:txBody>
              <a:bodyPr rtlCol="0" anchor="ctr"/>
              <a:lstStyle/>
              <a:p>
                <a:endParaRPr lang="en-GB"/>
              </a:p>
            </p:txBody>
          </p:sp>
          <p:sp>
            <p:nvSpPr>
              <p:cNvPr id="1897" name="Vrije vorm: vorm 1896">
                <a:extLst>
                  <a:ext uri="{FF2B5EF4-FFF2-40B4-BE49-F238E27FC236}">
                    <a16:creationId xmlns:a16="http://schemas.microsoft.com/office/drawing/2014/main" id="{285FAEE5-4807-4D5E-AE3D-097BF5A1BED9}"/>
                  </a:ext>
                </a:extLst>
              </p:cNvPr>
              <p:cNvSpPr/>
              <p:nvPr/>
            </p:nvSpPr>
            <p:spPr>
              <a:xfrm>
                <a:off x="4051952" y="2628051"/>
                <a:ext cx="18313" cy="18436"/>
              </a:xfrm>
              <a:custGeom>
                <a:avLst/>
                <a:gdLst>
                  <a:gd name="connsiteX0" fmla="*/ 5867 w 18313"/>
                  <a:gd name="connsiteY0" fmla="*/ 17801 h 18436"/>
                  <a:gd name="connsiteX1" fmla="*/ 17709 w 18313"/>
                  <a:gd name="connsiteY1" fmla="*/ 12538 h 18436"/>
                  <a:gd name="connsiteX2" fmla="*/ 12446 w 18313"/>
                  <a:gd name="connsiteY2" fmla="*/ 636 h 18436"/>
                  <a:gd name="connsiteX3" fmla="*/ 604 w 18313"/>
                  <a:gd name="connsiteY3" fmla="*/ 5899 h 18436"/>
                  <a:gd name="connsiteX4" fmla="*/ 5867 w 18313"/>
                  <a:gd name="connsiteY4" fmla="*/ 1780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36">
                    <a:moveTo>
                      <a:pt x="5867" y="17801"/>
                    </a:moveTo>
                    <a:cubicBezTo>
                      <a:pt x="10592" y="19655"/>
                      <a:pt x="15915" y="17322"/>
                      <a:pt x="17709" y="12538"/>
                    </a:cubicBezTo>
                    <a:cubicBezTo>
                      <a:pt x="19503" y="7813"/>
                      <a:pt x="17171" y="2430"/>
                      <a:pt x="12446" y="636"/>
                    </a:cubicBezTo>
                    <a:cubicBezTo>
                      <a:pt x="7721" y="-1218"/>
                      <a:pt x="2399" y="1114"/>
                      <a:pt x="604" y="5899"/>
                    </a:cubicBezTo>
                    <a:cubicBezTo>
                      <a:pt x="-1190" y="10564"/>
                      <a:pt x="1142" y="15947"/>
                      <a:pt x="5867" y="17801"/>
                    </a:cubicBezTo>
                    <a:close/>
                  </a:path>
                </a:pathLst>
              </a:custGeom>
              <a:grpFill/>
              <a:ln w="5978" cap="flat">
                <a:noFill/>
                <a:prstDash val="solid"/>
                <a:miter/>
              </a:ln>
            </p:spPr>
            <p:txBody>
              <a:bodyPr rtlCol="0" anchor="ctr"/>
              <a:lstStyle/>
              <a:p>
                <a:endParaRPr lang="en-GB"/>
              </a:p>
            </p:txBody>
          </p:sp>
        </p:grpSp>
        <p:grpSp>
          <p:nvGrpSpPr>
            <p:cNvPr id="1170" name="Graphic 3">
              <a:extLst>
                <a:ext uri="{FF2B5EF4-FFF2-40B4-BE49-F238E27FC236}">
                  <a16:creationId xmlns:a16="http://schemas.microsoft.com/office/drawing/2014/main" id="{B618CE63-CD3F-4BE2-BF65-92D24625A79C}"/>
                </a:ext>
              </a:extLst>
            </p:cNvPr>
            <p:cNvGrpSpPr/>
            <p:nvPr/>
          </p:nvGrpSpPr>
          <p:grpSpPr>
            <a:xfrm>
              <a:off x="4417476" y="4140291"/>
              <a:ext cx="136767" cy="75880"/>
              <a:chOff x="4417476" y="4140291"/>
              <a:chExt cx="136767" cy="75880"/>
            </a:xfrm>
            <a:grpFill/>
          </p:grpSpPr>
          <p:sp>
            <p:nvSpPr>
              <p:cNvPr id="1892" name="Vrije vorm: vorm 1891">
                <a:extLst>
                  <a:ext uri="{FF2B5EF4-FFF2-40B4-BE49-F238E27FC236}">
                    <a16:creationId xmlns:a16="http://schemas.microsoft.com/office/drawing/2014/main" id="{7BD59605-7D94-4B06-9A23-F821EC592DE8}"/>
                  </a:ext>
                </a:extLst>
              </p:cNvPr>
              <p:cNvSpPr/>
              <p:nvPr/>
            </p:nvSpPr>
            <p:spPr>
              <a:xfrm>
                <a:off x="4425574" y="4147969"/>
                <a:ext cx="120571" cy="60584"/>
              </a:xfrm>
              <a:custGeom>
                <a:avLst/>
                <a:gdLst>
                  <a:gd name="connsiteX0" fmla="*/ 120571 w 120571"/>
                  <a:gd name="connsiteY0" fmla="*/ 2751 h 60584"/>
                  <a:gd name="connsiteX1" fmla="*/ 1375 w 120571"/>
                  <a:gd name="connsiteY1" fmla="*/ 60585 h 60584"/>
                  <a:gd name="connsiteX2" fmla="*/ 0 w 120571"/>
                  <a:gd name="connsiteY2" fmla="*/ 57834 h 60584"/>
                  <a:gd name="connsiteX3" fmla="*/ 119256 w 120571"/>
                  <a:gd name="connsiteY3" fmla="*/ 0 h 60584"/>
                </a:gdLst>
                <a:ahLst/>
                <a:cxnLst>
                  <a:cxn ang="0">
                    <a:pos x="connsiteX0" y="connsiteY0"/>
                  </a:cxn>
                  <a:cxn ang="0">
                    <a:pos x="connsiteX1" y="connsiteY1"/>
                  </a:cxn>
                  <a:cxn ang="0">
                    <a:pos x="connsiteX2" y="connsiteY2"/>
                  </a:cxn>
                  <a:cxn ang="0">
                    <a:pos x="connsiteX3" y="connsiteY3"/>
                  </a:cxn>
                </a:cxnLst>
                <a:rect l="l" t="t" r="r" b="b"/>
                <a:pathLst>
                  <a:path w="120571" h="60584">
                    <a:moveTo>
                      <a:pt x="120571" y="2751"/>
                    </a:moveTo>
                    <a:lnTo>
                      <a:pt x="1375" y="60585"/>
                    </a:lnTo>
                    <a:lnTo>
                      <a:pt x="0" y="57834"/>
                    </a:lnTo>
                    <a:lnTo>
                      <a:pt x="119256" y="0"/>
                    </a:lnTo>
                    <a:close/>
                  </a:path>
                </a:pathLst>
              </a:custGeom>
              <a:grpFill/>
              <a:ln w="5978" cap="flat">
                <a:noFill/>
                <a:prstDash val="solid"/>
                <a:miter/>
              </a:ln>
            </p:spPr>
            <p:txBody>
              <a:bodyPr rtlCol="0" anchor="ctr"/>
              <a:lstStyle/>
              <a:p>
                <a:endParaRPr lang="en-GB"/>
              </a:p>
            </p:txBody>
          </p:sp>
          <p:sp>
            <p:nvSpPr>
              <p:cNvPr id="1893" name="Vrije vorm: vorm 1892">
                <a:extLst>
                  <a:ext uri="{FF2B5EF4-FFF2-40B4-BE49-F238E27FC236}">
                    <a16:creationId xmlns:a16="http://schemas.microsoft.com/office/drawing/2014/main" id="{F31FBE68-F5D0-4623-91FA-1D77CA36B0D8}"/>
                  </a:ext>
                </a:extLst>
              </p:cNvPr>
              <p:cNvSpPr/>
              <p:nvPr/>
            </p:nvSpPr>
            <p:spPr>
              <a:xfrm>
                <a:off x="4417476" y="4197706"/>
                <a:ext cx="18359" cy="18465"/>
              </a:xfrm>
              <a:custGeom>
                <a:avLst/>
                <a:gdLst>
                  <a:gd name="connsiteX0" fmla="*/ 13181 w 18359"/>
                  <a:gd name="connsiteY0" fmla="*/ 17546 h 18465"/>
                  <a:gd name="connsiteX1" fmla="*/ 921 w 18359"/>
                  <a:gd name="connsiteY1" fmla="*/ 13240 h 18465"/>
                  <a:gd name="connsiteX2" fmla="*/ 5168 w 18359"/>
                  <a:gd name="connsiteY2" fmla="*/ 920 h 18465"/>
                  <a:gd name="connsiteX3" fmla="*/ 17428 w 18359"/>
                  <a:gd name="connsiteY3" fmla="*/ 5226 h 18465"/>
                  <a:gd name="connsiteX4" fmla="*/ 13181 w 18359"/>
                  <a:gd name="connsiteY4" fmla="*/ 17546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65">
                    <a:moveTo>
                      <a:pt x="13181" y="17546"/>
                    </a:moveTo>
                    <a:cubicBezTo>
                      <a:pt x="8636" y="19759"/>
                      <a:pt x="3134" y="17845"/>
                      <a:pt x="921" y="13240"/>
                    </a:cubicBezTo>
                    <a:cubicBezTo>
                      <a:pt x="-1292" y="8635"/>
                      <a:pt x="622" y="3133"/>
                      <a:pt x="5168" y="920"/>
                    </a:cubicBezTo>
                    <a:cubicBezTo>
                      <a:pt x="9713" y="-1293"/>
                      <a:pt x="15215" y="621"/>
                      <a:pt x="17428" y="5226"/>
                    </a:cubicBezTo>
                    <a:cubicBezTo>
                      <a:pt x="19641" y="9831"/>
                      <a:pt x="17787" y="15333"/>
                      <a:pt x="13181" y="17546"/>
                    </a:cubicBezTo>
                    <a:close/>
                  </a:path>
                </a:pathLst>
              </a:custGeom>
              <a:grpFill/>
              <a:ln w="5978" cap="flat">
                <a:noFill/>
                <a:prstDash val="solid"/>
                <a:miter/>
              </a:ln>
            </p:spPr>
            <p:txBody>
              <a:bodyPr rtlCol="0" anchor="ctr"/>
              <a:lstStyle/>
              <a:p>
                <a:endParaRPr lang="en-GB"/>
              </a:p>
            </p:txBody>
          </p:sp>
          <p:sp>
            <p:nvSpPr>
              <p:cNvPr id="1894" name="Vrije vorm: vorm 1893">
                <a:extLst>
                  <a:ext uri="{FF2B5EF4-FFF2-40B4-BE49-F238E27FC236}">
                    <a16:creationId xmlns:a16="http://schemas.microsoft.com/office/drawing/2014/main" id="{C6BBF988-EFB2-4E08-B193-72969FB77686}"/>
                  </a:ext>
                </a:extLst>
              </p:cNvPr>
              <p:cNvSpPr/>
              <p:nvPr/>
            </p:nvSpPr>
            <p:spPr>
              <a:xfrm>
                <a:off x="4535895" y="4140291"/>
                <a:ext cx="18349" cy="18455"/>
              </a:xfrm>
              <a:custGeom>
                <a:avLst/>
                <a:gdLst>
                  <a:gd name="connsiteX0" fmla="*/ 13181 w 18349"/>
                  <a:gd name="connsiteY0" fmla="*/ 17546 h 18455"/>
                  <a:gd name="connsiteX1" fmla="*/ 17428 w 18349"/>
                  <a:gd name="connsiteY1" fmla="*/ 5226 h 18455"/>
                  <a:gd name="connsiteX2" fmla="*/ 5168 w 18349"/>
                  <a:gd name="connsiteY2" fmla="*/ 920 h 18455"/>
                  <a:gd name="connsiteX3" fmla="*/ 921 w 18349"/>
                  <a:gd name="connsiteY3" fmla="*/ 13240 h 18455"/>
                  <a:gd name="connsiteX4" fmla="*/ 13181 w 18349"/>
                  <a:gd name="connsiteY4" fmla="*/ 17546 h 1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55">
                    <a:moveTo>
                      <a:pt x="13181" y="17546"/>
                    </a:moveTo>
                    <a:cubicBezTo>
                      <a:pt x="17727" y="15333"/>
                      <a:pt x="19641" y="9831"/>
                      <a:pt x="17428" y="5226"/>
                    </a:cubicBezTo>
                    <a:cubicBezTo>
                      <a:pt x="15215" y="621"/>
                      <a:pt x="9713" y="-1293"/>
                      <a:pt x="5168" y="920"/>
                    </a:cubicBezTo>
                    <a:cubicBezTo>
                      <a:pt x="622" y="3133"/>
                      <a:pt x="-1292" y="8635"/>
                      <a:pt x="921" y="13240"/>
                    </a:cubicBezTo>
                    <a:cubicBezTo>
                      <a:pt x="3194" y="17785"/>
                      <a:pt x="8636" y="19759"/>
                      <a:pt x="13181" y="17546"/>
                    </a:cubicBezTo>
                    <a:close/>
                  </a:path>
                </a:pathLst>
              </a:custGeom>
              <a:grpFill/>
              <a:ln w="5978" cap="flat">
                <a:noFill/>
                <a:prstDash val="solid"/>
                <a:miter/>
              </a:ln>
            </p:spPr>
            <p:txBody>
              <a:bodyPr rtlCol="0" anchor="ctr"/>
              <a:lstStyle/>
              <a:p>
                <a:endParaRPr lang="en-GB"/>
              </a:p>
            </p:txBody>
          </p:sp>
        </p:grpSp>
        <p:grpSp>
          <p:nvGrpSpPr>
            <p:cNvPr id="1171" name="Graphic 3">
              <a:extLst>
                <a:ext uri="{FF2B5EF4-FFF2-40B4-BE49-F238E27FC236}">
                  <a16:creationId xmlns:a16="http://schemas.microsoft.com/office/drawing/2014/main" id="{0E0466D4-A392-4168-B555-B29E8E67A1EE}"/>
                </a:ext>
              </a:extLst>
            </p:cNvPr>
            <p:cNvGrpSpPr/>
            <p:nvPr/>
          </p:nvGrpSpPr>
          <p:grpSpPr>
            <a:xfrm>
              <a:off x="3795400" y="2762186"/>
              <a:ext cx="498344" cy="156076"/>
              <a:chOff x="3795400" y="2762186"/>
              <a:chExt cx="498344" cy="156076"/>
            </a:xfrm>
            <a:grpFill/>
          </p:grpSpPr>
          <p:sp>
            <p:nvSpPr>
              <p:cNvPr id="1889" name="Vrije vorm: vorm 1888">
                <a:extLst>
                  <a:ext uri="{FF2B5EF4-FFF2-40B4-BE49-F238E27FC236}">
                    <a16:creationId xmlns:a16="http://schemas.microsoft.com/office/drawing/2014/main" id="{1FECD315-29F4-4890-9214-C1418D32640B}"/>
                  </a:ext>
                </a:extLst>
              </p:cNvPr>
              <p:cNvSpPr/>
              <p:nvPr/>
            </p:nvSpPr>
            <p:spPr>
              <a:xfrm>
                <a:off x="3803699" y="2769772"/>
                <a:ext cx="481687" cy="140905"/>
              </a:xfrm>
              <a:custGeom>
                <a:avLst/>
                <a:gdLst>
                  <a:gd name="connsiteX0" fmla="*/ 481688 w 481687"/>
                  <a:gd name="connsiteY0" fmla="*/ 137975 h 140905"/>
                  <a:gd name="connsiteX1" fmla="*/ 480850 w 481687"/>
                  <a:gd name="connsiteY1" fmla="*/ 140906 h 140905"/>
                  <a:gd name="connsiteX2" fmla="*/ 0 w 481687"/>
                  <a:gd name="connsiteY2" fmla="*/ 2930 h 140905"/>
                  <a:gd name="connsiteX3" fmla="*/ 837 w 481687"/>
                  <a:gd name="connsiteY3" fmla="*/ 0 h 140905"/>
                </a:gdLst>
                <a:ahLst/>
                <a:cxnLst>
                  <a:cxn ang="0">
                    <a:pos x="connsiteX0" y="connsiteY0"/>
                  </a:cxn>
                  <a:cxn ang="0">
                    <a:pos x="connsiteX1" y="connsiteY1"/>
                  </a:cxn>
                  <a:cxn ang="0">
                    <a:pos x="connsiteX2" y="connsiteY2"/>
                  </a:cxn>
                  <a:cxn ang="0">
                    <a:pos x="connsiteX3" y="connsiteY3"/>
                  </a:cxn>
                </a:cxnLst>
                <a:rect l="l" t="t" r="r" b="b"/>
                <a:pathLst>
                  <a:path w="481687" h="140905">
                    <a:moveTo>
                      <a:pt x="481688" y="137975"/>
                    </a:moveTo>
                    <a:lnTo>
                      <a:pt x="480850" y="140906"/>
                    </a:lnTo>
                    <a:lnTo>
                      <a:pt x="0" y="2930"/>
                    </a:lnTo>
                    <a:lnTo>
                      <a:pt x="837" y="0"/>
                    </a:lnTo>
                    <a:close/>
                  </a:path>
                </a:pathLst>
              </a:custGeom>
              <a:grpFill/>
              <a:ln w="5978" cap="flat">
                <a:noFill/>
                <a:prstDash val="solid"/>
                <a:miter/>
              </a:ln>
            </p:spPr>
            <p:txBody>
              <a:bodyPr rtlCol="0" anchor="ctr"/>
              <a:lstStyle/>
              <a:p>
                <a:endParaRPr lang="en-GB"/>
              </a:p>
            </p:txBody>
          </p:sp>
          <p:sp>
            <p:nvSpPr>
              <p:cNvPr id="1890" name="Vrije vorm: vorm 1889">
                <a:extLst>
                  <a:ext uri="{FF2B5EF4-FFF2-40B4-BE49-F238E27FC236}">
                    <a16:creationId xmlns:a16="http://schemas.microsoft.com/office/drawing/2014/main" id="{5DFDA528-008D-42A5-B3B7-9D05092537E5}"/>
                  </a:ext>
                </a:extLst>
              </p:cNvPr>
              <p:cNvSpPr/>
              <p:nvPr/>
            </p:nvSpPr>
            <p:spPr>
              <a:xfrm>
                <a:off x="3795400" y="2762186"/>
                <a:ext cx="18332" cy="18400"/>
              </a:xfrm>
              <a:custGeom>
                <a:avLst/>
                <a:gdLst>
                  <a:gd name="connsiteX0" fmla="*/ 6684 w 18332"/>
                  <a:gd name="connsiteY0" fmla="*/ 18052 h 18400"/>
                  <a:gd name="connsiteX1" fmla="*/ 345 w 18332"/>
                  <a:gd name="connsiteY1" fmla="*/ 6688 h 18400"/>
                  <a:gd name="connsiteX2" fmla="*/ 11648 w 18332"/>
                  <a:gd name="connsiteY2" fmla="*/ 349 h 18400"/>
                  <a:gd name="connsiteX3" fmla="*/ 17987 w 18332"/>
                  <a:gd name="connsiteY3" fmla="*/ 11712 h 18400"/>
                  <a:gd name="connsiteX4" fmla="*/ 6684 w 18332"/>
                  <a:gd name="connsiteY4" fmla="*/ 18052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00">
                    <a:moveTo>
                      <a:pt x="6684" y="18052"/>
                    </a:moveTo>
                    <a:cubicBezTo>
                      <a:pt x="1840" y="16676"/>
                      <a:pt x="-1031" y="11533"/>
                      <a:pt x="345" y="6688"/>
                    </a:cubicBezTo>
                    <a:cubicBezTo>
                      <a:pt x="1720" y="1784"/>
                      <a:pt x="6804" y="-1027"/>
                      <a:pt x="11648" y="349"/>
                    </a:cubicBezTo>
                    <a:cubicBezTo>
                      <a:pt x="16492" y="1724"/>
                      <a:pt x="19363" y="6868"/>
                      <a:pt x="17987" y="11712"/>
                    </a:cubicBezTo>
                    <a:cubicBezTo>
                      <a:pt x="16612" y="16616"/>
                      <a:pt x="11529" y="19427"/>
                      <a:pt x="6684" y="18052"/>
                    </a:cubicBezTo>
                    <a:close/>
                  </a:path>
                </a:pathLst>
              </a:custGeom>
              <a:grpFill/>
              <a:ln w="5978" cap="flat">
                <a:noFill/>
                <a:prstDash val="solid"/>
                <a:miter/>
              </a:ln>
            </p:spPr>
            <p:txBody>
              <a:bodyPr rtlCol="0" anchor="ctr"/>
              <a:lstStyle/>
              <a:p>
                <a:endParaRPr lang="en-GB"/>
              </a:p>
            </p:txBody>
          </p:sp>
          <p:sp>
            <p:nvSpPr>
              <p:cNvPr id="1891" name="Vrije vorm: vorm 1890">
                <a:extLst>
                  <a:ext uri="{FF2B5EF4-FFF2-40B4-BE49-F238E27FC236}">
                    <a16:creationId xmlns:a16="http://schemas.microsoft.com/office/drawing/2014/main" id="{4BF65412-CE8A-4651-B54B-A0388D36529B}"/>
                  </a:ext>
                </a:extLst>
              </p:cNvPr>
              <p:cNvSpPr/>
              <p:nvPr/>
            </p:nvSpPr>
            <p:spPr>
              <a:xfrm>
                <a:off x="4275408" y="2899863"/>
                <a:ext cx="18336" cy="18400"/>
              </a:xfrm>
              <a:custGeom>
                <a:avLst/>
                <a:gdLst>
                  <a:gd name="connsiteX0" fmla="*/ 6689 w 18336"/>
                  <a:gd name="connsiteY0" fmla="*/ 18052 h 18400"/>
                  <a:gd name="connsiteX1" fmla="*/ 17992 w 18336"/>
                  <a:gd name="connsiteY1" fmla="*/ 11712 h 18400"/>
                  <a:gd name="connsiteX2" fmla="*/ 11652 w 18336"/>
                  <a:gd name="connsiteY2" fmla="*/ 349 h 18400"/>
                  <a:gd name="connsiteX3" fmla="*/ 349 w 18336"/>
                  <a:gd name="connsiteY3" fmla="*/ 6688 h 18400"/>
                  <a:gd name="connsiteX4" fmla="*/ 6689 w 18336"/>
                  <a:gd name="connsiteY4" fmla="*/ 18052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00">
                    <a:moveTo>
                      <a:pt x="6689" y="18052"/>
                    </a:moveTo>
                    <a:cubicBezTo>
                      <a:pt x="11533" y="19427"/>
                      <a:pt x="16617" y="16616"/>
                      <a:pt x="17992" y="11712"/>
                    </a:cubicBezTo>
                    <a:cubicBezTo>
                      <a:pt x="19368" y="6808"/>
                      <a:pt x="16497" y="1725"/>
                      <a:pt x="11652" y="349"/>
                    </a:cubicBezTo>
                    <a:cubicBezTo>
                      <a:pt x="6808" y="-1027"/>
                      <a:pt x="1725" y="1784"/>
                      <a:pt x="349" y="6688"/>
                    </a:cubicBezTo>
                    <a:cubicBezTo>
                      <a:pt x="-1027" y="11593"/>
                      <a:pt x="1784" y="16676"/>
                      <a:pt x="6689" y="18052"/>
                    </a:cubicBezTo>
                    <a:close/>
                  </a:path>
                </a:pathLst>
              </a:custGeom>
              <a:grpFill/>
              <a:ln w="5978" cap="flat">
                <a:noFill/>
                <a:prstDash val="solid"/>
                <a:miter/>
              </a:ln>
            </p:spPr>
            <p:txBody>
              <a:bodyPr rtlCol="0" anchor="ctr"/>
              <a:lstStyle/>
              <a:p>
                <a:endParaRPr lang="en-GB"/>
              </a:p>
            </p:txBody>
          </p:sp>
        </p:grpSp>
        <p:grpSp>
          <p:nvGrpSpPr>
            <p:cNvPr id="1172" name="Graphic 3">
              <a:extLst>
                <a:ext uri="{FF2B5EF4-FFF2-40B4-BE49-F238E27FC236}">
                  <a16:creationId xmlns:a16="http://schemas.microsoft.com/office/drawing/2014/main" id="{AE76C629-95F4-4F50-8154-FAF86A7D1C84}"/>
                </a:ext>
              </a:extLst>
            </p:cNvPr>
            <p:cNvGrpSpPr/>
            <p:nvPr/>
          </p:nvGrpSpPr>
          <p:grpSpPr>
            <a:xfrm>
              <a:off x="4426927" y="4112637"/>
              <a:ext cx="112218" cy="61763"/>
              <a:chOff x="4426927" y="4112637"/>
              <a:chExt cx="112218" cy="61763"/>
            </a:xfrm>
            <a:grpFill/>
          </p:grpSpPr>
          <p:sp>
            <p:nvSpPr>
              <p:cNvPr id="1886" name="Vrije vorm: vorm 1885">
                <a:extLst>
                  <a:ext uri="{FF2B5EF4-FFF2-40B4-BE49-F238E27FC236}">
                    <a16:creationId xmlns:a16="http://schemas.microsoft.com/office/drawing/2014/main" id="{6BD4C79D-6285-4ABF-9666-7CC9C8888714}"/>
                  </a:ext>
                </a:extLst>
              </p:cNvPr>
              <p:cNvSpPr/>
              <p:nvPr/>
            </p:nvSpPr>
            <p:spPr>
              <a:xfrm>
                <a:off x="4434762" y="4120198"/>
                <a:ext cx="95956" cy="46524"/>
              </a:xfrm>
              <a:custGeom>
                <a:avLst/>
                <a:gdLst>
                  <a:gd name="connsiteX0" fmla="*/ 0 w 95956"/>
                  <a:gd name="connsiteY0" fmla="*/ 43755 h 46524"/>
                  <a:gd name="connsiteX1" fmla="*/ 94677 w 95956"/>
                  <a:gd name="connsiteY1" fmla="*/ 0 h 46524"/>
                  <a:gd name="connsiteX2" fmla="*/ 95956 w 95956"/>
                  <a:gd name="connsiteY2" fmla="*/ 2768 h 46524"/>
                  <a:gd name="connsiteX3" fmla="*/ 1280 w 95956"/>
                  <a:gd name="connsiteY3" fmla="*/ 46524 h 46524"/>
                </a:gdLst>
                <a:ahLst/>
                <a:cxnLst>
                  <a:cxn ang="0">
                    <a:pos x="connsiteX0" y="connsiteY0"/>
                  </a:cxn>
                  <a:cxn ang="0">
                    <a:pos x="connsiteX1" y="connsiteY1"/>
                  </a:cxn>
                  <a:cxn ang="0">
                    <a:pos x="connsiteX2" y="connsiteY2"/>
                  </a:cxn>
                  <a:cxn ang="0">
                    <a:pos x="connsiteX3" y="connsiteY3"/>
                  </a:cxn>
                </a:cxnLst>
                <a:rect l="l" t="t" r="r" b="b"/>
                <a:pathLst>
                  <a:path w="95956" h="46524">
                    <a:moveTo>
                      <a:pt x="0" y="43755"/>
                    </a:moveTo>
                    <a:lnTo>
                      <a:pt x="94677" y="0"/>
                    </a:lnTo>
                    <a:lnTo>
                      <a:pt x="95956" y="2768"/>
                    </a:lnTo>
                    <a:lnTo>
                      <a:pt x="1280" y="46524"/>
                    </a:lnTo>
                    <a:close/>
                  </a:path>
                </a:pathLst>
              </a:custGeom>
              <a:grpFill/>
              <a:ln w="5978" cap="flat">
                <a:noFill/>
                <a:prstDash val="solid"/>
                <a:miter/>
              </a:ln>
            </p:spPr>
            <p:txBody>
              <a:bodyPr rtlCol="0" anchor="ctr"/>
              <a:lstStyle/>
              <a:p>
                <a:endParaRPr lang="en-GB"/>
              </a:p>
            </p:txBody>
          </p:sp>
          <p:sp>
            <p:nvSpPr>
              <p:cNvPr id="1887" name="Vrije vorm: vorm 1886">
                <a:extLst>
                  <a:ext uri="{FF2B5EF4-FFF2-40B4-BE49-F238E27FC236}">
                    <a16:creationId xmlns:a16="http://schemas.microsoft.com/office/drawing/2014/main" id="{EE95DE44-9189-4BE6-B417-DAF49D9FC6AD}"/>
                  </a:ext>
                </a:extLst>
              </p:cNvPr>
              <p:cNvSpPr/>
              <p:nvPr/>
            </p:nvSpPr>
            <p:spPr>
              <a:xfrm>
                <a:off x="4426927" y="4155988"/>
                <a:ext cx="18320" cy="18412"/>
              </a:xfrm>
              <a:custGeom>
                <a:avLst/>
                <a:gdLst>
                  <a:gd name="connsiteX0" fmla="*/ 13001 w 18320"/>
                  <a:gd name="connsiteY0" fmla="*/ 17579 h 18412"/>
                  <a:gd name="connsiteX1" fmla="*/ 860 w 18320"/>
                  <a:gd name="connsiteY1" fmla="*/ 13034 h 18412"/>
                  <a:gd name="connsiteX2" fmla="*/ 5346 w 18320"/>
                  <a:gd name="connsiteY2" fmla="*/ 833 h 18412"/>
                  <a:gd name="connsiteX3" fmla="*/ 17486 w 18320"/>
                  <a:gd name="connsiteY3" fmla="*/ 5379 h 18412"/>
                  <a:gd name="connsiteX4" fmla="*/ 13001 w 18320"/>
                  <a:gd name="connsiteY4" fmla="*/ 17579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2">
                    <a:moveTo>
                      <a:pt x="13001" y="17579"/>
                    </a:moveTo>
                    <a:cubicBezTo>
                      <a:pt x="8396" y="19672"/>
                      <a:pt x="2953" y="17699"/>
                      <a:pt x="860" y="13034"/>
                    </a:cubicBezTo>
                    <a:cubicBezTo>
                      <a:pt x="-1293" y="8429"/>
                      <a:pt x="740" y="2926"/>
                      <a:pt x="5346" y="833"/>
                    </a:cubicBezTo>
                    <a:cubicBezTo>
                      <a:pt x="9951" y="-1260"/>
                      <a:pt x="15393" y="714"/>
                      <a:pt x="17486" y="5379"/>
                    </a:cubicBezTo>
                    <a:cubicBezTo>
                      <a:pt x="19580" y="9984"/>
                      <a:pt x="17606" y="15486"/>
                      <a:pt x="13001" y="17579"/>
                    </a:cubicBezTo>
                    <a:close/>
                  </a:path>
                </a:pathLst>
              </a:custGeom>
              <a:grpFill/>
              <a:ln w="5978" cap="flat">
                <a:noFill/>
                <a:prstDash val="solid"/>
                <a:miter/>
              </a:ln>
            </p:spPr>
            <p:txBody>
              <a:bodyPr rtlCol="0" anchor="ctr"/>
              <a:lstStyle/>
              <a:p>
                <a:endParaRPr lang="en-GB"/>
              </a:p>
            </p:txBody>
          </p:sp>
          <p:sp>
            <p:nvSpPr>
              <p:cNvPr id="1888" name="Vrije vorm: vorm 1887">
                <a:extLst>
                  <a:ext uri="{FF2B5EF4-FFF2-40B4-BE49-F238E27FC236}">
                    <a16:creationId xmlns:a16="http://schemas.microsoft.com/office/drawing/2014/main" id="{7414F832-4EB1-4AA9-9854-EABD2D545285}"/>
                  </a:ext>
                </a:extLst>
              </p:cNvPr>
              <p:cNvSpPr/>
              <p:nvPr/>
            </p:nvSpPr>
            <p:spPr>
              <a:xfrm>
                <a:off x="4520850" y="4112637"/>
                <a:ext cx="18295" cy="18402"/>
              </a:xfrm>
              <a:custGeom>
                <a:avLst/>
                <a:gdLst>
                  <a:gd name="connsiteX0" fmla="*/ 12975 w 18295"/>
                  <a:gd name="connsiteY0" fmla="*/ 17570 h 18402"/>
                  <a:gd name="connsiteX1" fmla="*/ 17461 w 18295"/>
                  <a:gd name="connsiteY1" fmla="*/ 5369 h 18402"/>
                  <a:gd name="connsiteX2" fmla="*/ 5320 w 18295"/>
                  <a:gd name="connsiteY2" fmla="*/ 824 h 18402"/>
                  <a:gd name="connsiteX3" fmla="*/ 834 w 18295"/>
                  <a:gd name="connsiteY3" fmla="*/ 13024 h 18402"/>
                  <a:gd name="connsiteX4" fmla="*/ 12975 w 18295"/>
                  <a:gd name="connsiteY4" fmla="*/ 1757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02">
                    <a:moveTo>
                      <a:pt x="12975" y="17570"/>
                    </a:moveTo>
                    <a:cubicBezTo>
                      <a:pt x="17580" y="15477"/>
                      <a:pt x="19554" y="9974"/>
                      <a:pt x="17461" y="5369"/>
                    </a:cubicBezTo>
                    <a:cubicBezTo>
                      <a:pt x="15308" y="764"/>
                      <a:pt x="9865" y="-1270"/>
                      <a:pt x="5320" y="824"/>
                    </a:cubicBezTo>
                    <a:cubicBezTo>
                      <a:pt x="715" y="2917"/>
                      <a:pt x="-1259" y="8419"/>
                      <a:pt x="834" y="13024"/>
                    </a:cubicBezTo>
                    <a:cubicBezTo>
                      <a:pt x="2928" y="17690"/>
                      <a:pt x="8370" y="19663"/>
                      <a:pt x="12975" y="17570"/>
                    </a:cubicBezTo>
                    <a:close/>
                  </a:path>
                </a:pathLst>
              </a:custGeom>
              <a:grpFill/>
              <a:ln w="5978" cap="flat">
                <a:noFill/>
                <a:prstDash val="solid"/>
                <a:miter/>
              </a:ln>
            </p:spPr>
            <p:txBody>
              <a:bodyPr rtlCol="0" anchor="ctr"/>
              <a:lstStyle/>
              <a:p>
                <a:endParaRPr lang="en-GB"/>
              </a:p>
            </p:txBody>
          </p:sp>
        </p:grpSp>
        <p:grpSp>
          <p:nvGrpSpPr>
            <p:cNvPr id="1173" name="Graphic 3">
              <a:extLst>
                <a:ext uri="{FF2B5EF4-FFF2-40B4-BE49-F238E27FC236}">
                  <a16:creationId xmlns:a16="http://schemas.microsoft.com/office/drawing/2014/main" id="{A7811900-F879-4BBD-9C2F-FA6B7422D785}"/>
                </a:ext>
              </a:extLst>
            </p:cNvPr>
            <p:cNvGrpSpPr/>
            <p:nvPr/>
          </p:nvGrpSpPr>
          <p:grpSpPr>
            <a:xfrm>
              <a:off x="4445127" y="4249041"/>
              <a:ext cx="172492" cy="108062"/>
              <a:chOff x="4445127" y="4249041"/>
              <a:chExt cx="172492" cy="108062"/>
            </a:xfrm>
            <a:grpFill/>
          </p:grpSpPr>
          <p:sp>
            <p:nvSpPr>
              <p:cNvPr id="1883" name="Vrije vorm: vorm 1882">
                <a:extLst>
                  <a:ext uri="{FF2B5EF4-FFF2-40B4-BE49-F238E27FC236}">
                    <a16:creationId xmlns:a16="http://schemas.microsoft.com/office/drawing/2014/main" id="{6C605A47-2764-4545-B213-912936857A15}"/>
                  </a:ext>
                </a:extLst>
              </p:cNvPr>
              <p:cNvSpPr/>
              <p:nvPr/>
            </p:nvSpPr>
            <p:spPr>
              <a:xfrm>
                <a:off x="4453145" y="4256699"/>
                <a:ext cx="156455" cy="92701"/>
              </a:xfrm>
              <a:custGeom>
                <a:avLst/>
                <a:gdLst>
                  <a:gd name="connsiteX0" fmla="*/ 156456 w 156455"/>
                  <a:gd name="connsiteY0" fmla="*/ 2632 h 92701"/>
                  <a:gd name="connsiteX1" fmla="*/ 1555 w 156455"/>
                  <a:gd name="connsiteY1" fmla="*/ 92701 h 92701"/>
                  <a:gd name="connsiteX2" fmla="*/ 0 w 156455"/>
                  <a:gd name="connsiteY2" fmla="*/ 90070 h 92701"/>
                  <a:gd name="connsiteX3" fmla="*/ 154901 w 156455"/>
                  <a:gd name="connsiteY3" fmla="*/ 0 h 92701"/>
                </a:gdLst>
                <a:ahLst/>
                <a:cxnLst>
                  <a:cxn ang="0">
                    <a:pos x="connsiteX0" y="connsiteY0"/>
                  </a:cxn>
                  <a:cxn ang="0">
                    <a:pos x="connsiteX1" y="connsiteY1"/>
                  </a:cxn>
                  <a:cxn ang="0">
                    <a:pos x="connsiteX2" y="connsiteY2"/>
                  </a:cxn>
                  <a:cxn ang="0">
                    <a:pos x="connsiteX3" y="connsiteY3"/>
                  </a:cxn>
                </a:cxnLst>
                <a:rect l="l" t="t" r="r" b="b"/>
                <a:pathLst>
                  <a:path w="156455" h="92701">
                    <a:moveTo>
                      <a:pt x="156456" y="2632"/>
                    </a:moveTo>
                    <a:lnTo>
                      <a:pt x="1555" y="92701"/>
                    </a:lnTo>
                    <a:lnTo>
                      <a:pt x="0" y="90070"/>
                    </a:lnTo>
                    <a:lnTo>
                      <a:pt x="154901" y="0"/>
                    </a:lnTo>
                    <a:close/>
                  </a:path>
                </a:pathLst>
              </a:custGeom>
              <a:grpFill/>
              <a:ln w="5978" cap="flat">
                <a:noFill/>
                <a:prstDash val="solid"/>
                <a:miter/>
              </a:ln>
            </p:spPr>
            <p:txBody>
              <a:bodyPr rtlCol="0" anchor="ctr"/>
              <a:lstStyle/>
              <a:p>
                <a:endParaRPr lang="en-GB"/>
              </a:p>
            </p:txBody>
          </p:sp>
          <p:sp>
            <p:nvSpPr>
              <p:cNvPr id="1884" name="Vrije vorm: vorm 1883">
                <a:extLst>
                  <a:ext uri="{FF2B5EF4-FFF2-40B4-BE49-F238E27FC236}">
                    <a16:creationId xmlns:a16="http://schemas.microsoft.com/office/drawing/2014/main" id="{16440726-BA39-48CE-89BF-EC8D3856D7A1}"/>
                  </a:ext>
                </a:extLst>
              </p:cNvPr>
              <p:cNvSpPr/>
              <p:nvPr/>
            </p:nvSpPr>
            <p:spPr>
              <a:xfrm>
                <a:off x="4445127" y="4338706"/>
                <a:ext cx="18369" cy="18398"/>
              </a:xfrm>
              <a:custGeom>
                <a:avLst/>
                <a:gdLst>
                  <a:gd name="connsiteX0" fmla="*/ 13820 w 18369"/>
                  <a:gd name="connsiteY0" fmla="*/ 17154 h 18398"/>
                  <a:gd name="connsiteX1" fmla="*/ 1260 w 18369"/>
                  <a:gd name="connsiteY1" fmla="*/ 13804 h 18398"/>
                  <a:gd name="connsiteX2" fmla="*/ 4550 w 18369"/>
                  <a:gd name="connsiteY2" fmla="*/ 1245 h 18398"/>
                  <a:gd name="connsiteX3" fmla="*/ 17109 w 18369"/>
                  <a:gd name="connsiteY3" fmla="*/ 4594 h 18398"/>
                  <a:gd name="connsiteX4" fmla="*/ 13820 w 18369"/>
                  <a:gd name="connsiteY4" fmla="*/ 1715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8">
                    <a:moveTo>
                      <a:pt x="13820" y="17154"/>
                    </a:moveTo>
                    <a:cubicBezTo>
                      <a:pt x="9454" y="19725"/>
                      <a:pt x="3832" y="18171"/>
                      <a:pt x="1260" y="13804"/>
                    </a:cubicBezTo>
                    <a:cubicBezTo>
                      <a:pt x="-1311" y="9379"/>
                      <a:pt x="184" y="3757"/>
                      <a:pt x="4550" y="1245"/>
                    </a:cubicBezTo>
                    <a:cubicBezTo>
                      <a:pt x="8916" y="-1327"/>
                      <a:pt x="14537" y="228"/>
                      <a:pt x="17109" y="4594"/>
                    </a:cubicBezTo>
                    <a:cubicBezTo>
                      <a:pt x="19681" y="8960"/>
                      <a:pt x="18186" y="14582"/>
                      <a:pt x="13820" y="17154"/>
                    </a:cubicBezTo>
                    <a:close/>
                  </a:path>
                </a:pathLst>
              </a:custGeom>
              <a:grpFill/>
              <a:ln w="5978" cap="flat">
                <a:noFill/>
                <a:prstDash val="solid"/>
                <a:miter/>
              </a:ln>
            </p:spPr>
            <p:txBody>
              <a:bodyPr rtlCol="0" anchor="ctr"/>
              <a:lstStyle/>
              <a:p>
                <a:endParaRPr lang="en-GB"/>
              </a:p>
            </p:txBody>
          </p:sp>
          <p:sp>
            <p:nvSpPr>
              <p:cNvPr id="1885" name="Vrije vorm: vorm 1884">
                <a:extLst>
                  <a:ext uri="{FF2B5EF4-FFF2-40B4-BE49-F238E27FC236}">
                    <a16:creationId xmlns:a16="http://schemas.microsoft.com/office/drawing/2014/main" id="{7B0DEB89-294D-4E5F-BF7A-D50202BAD171}"/>
                  </a:ext>
                </a:extLst>
              </p:cNvPr>
              <p:cNvSpPr/>
              <p:nvPr/>
            </p:nvSpPr>
            <p:spPr>
              <a:xfrm>
                <a:off x="4599250" y="4249041"/>
                <a:ext cx="18369" cy="18411"/>
              </a:xfrm>
              <a:custGeom>
                <a:avLst/>
                <a:gdLst>
                  <a:gd name="connsiteX0" fmla="*/ 13820 w 18369"/>
                  <a:gd name="connsiteY0" fmla="*/ 17167 h 18411"/>
                  <a:gd name="connsiteX1" fmla="*/ 17109 w 18369"/>
                  <a:gd name="connsiteY1" fmla="*/ 4607 h 18411"/>
                  <a:gd name="connsiteX2" fmla="*/ 4550 w 18369"/>
                  <a:gd name="connsiteY2" fmla="*/ 1258 h 18411"/>
                  <a:gd name="connsiteX3" fmla="*/ 1260 w 18369"/>
                  <a:gd name="connsiteY3" fmla="*/ 13818 h 18411"/>
                  <a:gd name="connsiteX4" fmla="*/ 13820 w 18369"/>
                  <a:gd name="connsiteY4" fmla="*/ 17167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11">
                    <a:moveTo>
                      <a:pt x="13820" y="17167"/>
                    </a:moveTo>
                    <a:cubicBezTo>
                      <a:pt x="18186" y="14595"/>
                      <a:pt x="19681" y="8973"/>
                      <a:pt x="17109" y="4607"/>
                    </a:cubicBezTo>
                    <a:cubicBezTo>
                      <a:pt x="14537" y="182"/>
                      <a:pt x="8975" y="-1313"/>
                      <a:pt x="4550" y="1258"/>
                    </a:cubicBezTo>
                    <a:cubicBezTo>
                      <a:pt x="184" y="3830"/>
                      <a:pt x="-1311" y="9452"/>
                      <a:pt x="1260" y="13818"/>
                    </a:cubicBezTo>
                    <a:cubicBezTo>
                      <a:pt x="3832" y="18183"/>
                      <a:pt x="9454" y="19738"/>
                      <a:pt x="13820" y="17167"/>
                    </a:cubicBezTo>
                    <a:close/>
                  </a:path>
                </a:pathLst>
              </a:custGeom>
              <a:grpFill/>
              <a:ln w="5978" cap="flat">
                <a:noFill/>
                <a:prstDash val="solid"/>
                <a:miter/>
              </a:ln>
            </p:spPr>
            <p:txBody>
              <a:bodyPr rtlCol="0" anchor="ctr"/>
              <a:lstStyle/>
              <a:p>
                <a:endParaRPr lang="en-GB"/>
              </a:p>
            </p:txBody>
          </p:sp>
        </p:grpSp>
        <p:grpSp>
          <p:nvGrpSpPr>
            <p:cNvPr id="1174" name="Graphic 3">
              <a:extLst>
                <a:ext uri="{FF2B5EF4-FFF2-40B4-BE49-F238E27FC236}">
                  <a16:creationId xmlns:a16="http://schemas.microsoft.com/office/drawing/2014/main" id="{D9537A2C-F7ED-4489-83B1-8D842A74A75E}"/>
                </a:ext>
              </a:extLst>
            </p:cNvPr>
            <p:cNvGrpSpPr/>
            <p:nvPr/>
          </p:nvGrpSpPr>
          <p:grpSpPr>
            <a:xfrm>
              <a:off x="4352234" y="3884861"/>
              <a:ext cx="70126" cy="33460"/>
              <a:chOff x="4352234" y="3884861"/>
              <a:chExt cx="70126" cy="33460"/>
            </a:xfrm>
            <a:grpFill/>
          </p:grpSpPr>
          <p:sp>
            <p:nvSpPr>
              <p:cNvPr id="1880" name="Vrije vorm: vorm 1879">
                <a:extLst>
                  <a:ext uri="{FF2B5EF4-FFF2-40B4-BE49-F238E27FC236}">
                    <a16:creationId xmlns:a16="http://schemas.microsoft.com/office/drawing/2014/main" id="{13B39F84-C7C4-43B3-BA5D-279C79D8FDDB}"/>
                  </a:ext>
                </a:extLst>
              </p:cNvPr>
              <p:cNvSpPr/>
              <p:nvPr/>
            </p:nvSpPr>
            <p:spPr>
              <a:xfrm>
                <a:off x="4360504" y="3892473"/>
                <a:ext cx="53527" cy="18241"/>
              </a:xfrm>
              <a:custGeom>
                <a:avLst/>
                <a:gdLst>
                  <a:gd name="connsiteX0" fmla="*/ 52690 w 53527"/>
                  <a:gd name="connsiteY0" fmla="*/ 0 h 18241"/>
                  <a:gd name="connsiteX1" fmla="*/ 53528 w 53527"/>
                  <a:gd name="connsiteY1" fmla="*/ 2930 h 18241"/>
                  <a:gd name="connsiteX2" fmla="*/ 897 w 53527"/>
                  <a:gd name="connsiteY2" fmla="*/ 18241 h 18241"/>
                  <a:gd name="connsiteX3" fmla="*/ 0 w 53527"/>
                  <a:gd name="connsiteY3" fmla="*/ 15311 h 18241"/>
                </a:gdLst>
                <a:ahLst/>
                <a:cxnLst>
                  <a:cxn ang="0">
                    <a:pos x="connsiteX0" y="connsiteY0"/>
                  </a:cxn>
                  <a:cxn ang="0">
                    <a:pos x="connsiteX1" y="connsiteY1"/>
                  </a:cxn>
                  <a:cxn ang="0">
                    <a:pos x="connsiteX2" y="connsiteY2"/>
                  </a:cxn>
                  <a:cxn ang="0">
                    <a:pos x="connsiteX3" y="connsiteY3"/>
                  </a:cxn>
                </a:cxnLst>
                <a:rect l="l" t="t" r="r" b="b"/>
                <a:pathLst>
                  <a:path w="53527" h="18241">
                    <a:moveTo>
                      <a:pt x="52690" y="0"/>
                    </a:moveTo>
                    <a:lnTo>
                      <a:pt x="53528" y="2930"/>
                    </a:lnTo>
                    <a:lnTo>
                      <a:pt x="897" y="18241"/>
                    </a:lnTo>
                    <a:lnTo>
                      <a:pt x="0" y="15311"/>
                    </a:lnTo>
                    <a:close/>
                  </a:path>
                </a:pathLst>
              </a:custGeom>
              <a:grpFill/>
              <a:ln w="5978" cap="flat">
                <a:noFill/>
                <a:prstDash val="solid"/>
                <a:miter/>
              </a:ln>
            </p:spPr>
            <p:txBody>
              <a:bodyPr rtlCol="0" anchor="ctr"/>
              <a:lstStyle/>
              <a:p>
                <a:endParaRPr lang="en-GB"/>
              </a:p>
            </p:txBody>
          </p:sp>
          <p:sp>
            <p:nvSpPr>
              <p:cNvPr id="1881" name="Vrije vorm: vorm 1880">
                <a:extLst>
                  <a:ext uri="{FF2B5EF4-FFF2-40B4-BE49-F238E27FC236}">
                    <a16:creationId xmlns:a16="http://schemas.microsoft.com/office/drawing/2014/main" id="{2AB0054C-5726-4A0D-9536-F11948D710E1}"/>
                  </a:ext>
                </a:extLst>
              </p:cNvPr>
              <p:cNvSpPr/>
              <p:nvPr/>
            </p:nvSpPr>
            <p:spPr>
              <a:xfrm>
                <a:off x="4352234" y="3899877"/>
                <a:ext cx="18334" cy="18443"/>
              </a:xfrm>
              <a:custGeom>
                <a:avLst/>
                <a:gdLst>
                  <a:gd name="connsiteX0" fmla="*/ 11738 w 18334"/>
                  <a:gd name="connsiteY0" fmla="*/ 18073 h 18443"/>
                  <a:gd name="connsiteX1" fmla="*/ 375 w 18334"/>
                  <a:gd name="connsiteY1" fmla="*/ 11794 h 18443"/>
                  <a:gd name="connsiteX2" fmla="*/ 6595 w 18334"/>
                  <a:gd name="connsiteY2" fmla="*/ 370 h 18443"/>
                  <a:gd name="connsiteX3" fmla="*/ 17959 w 18334"/>
                  <a:gd name="connsiteY3" fmla="*/ 6650 h 18443"/>
                  <a:gd name="connsiteX4" fmla="*/ 11738 w 18334"/>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3">
                    <a:moveTo>
                      <a:pt x="11738" y="18073"/>
                    </a:moveTo>
                    <a:cubicBezTo>
                      <a:pt x="6894" y="19509"/>
                      <a:pt x="1811" y="16638"/>
                      <a:pt x="375" y="11794"/>
                    </a:cubicBezTo>
                    <a:cubicBezTo>
                      <a:pt x="-1060" y="6890"/>
                      <a:pt x="1751" y="1806"/>
                      <a:pt x="6595" y="370"/>
                    </a:cubicBezTo>
                    <a:cubicBezTo>
                      <a:pt x="11440" y="-1065"/>
                      <a:pt x="16523" y="1806"/>
                      <a:pt x="17959" y="6650"/>
                    </a:cubicBezTo>
                    <a:cubicBezTo>
                      <a:pt x="19394" y="11554"/>
                      <a:pt x="16583" y="16698"/>
                      <a:pt x="11738" y="18073"/>
                    </a:cubicBezTo>
                    <a:close/>
                  </a:path>
                </a:pathLst>
              </a:custGeom>
              <a:grpFill/>
              <a:ln w="5978" cap="flat">
                <a:noFill/>
                <a:prstDash val="solid"/>
                <a:miter/>
              </a:ln>
            </p:spPr>
            <p:txBody>
              <a:bodyPr rtlCol="0" anchor="ctr"/>
              <a:lstStyle/>
              <a:p>
                <a:endParaRPr lang="en-GB"/>
              </a:p>
            </p:txBody>
          </p:sp>
          <p:sp>
            <p:nvSpPr>
              <p:cNvPr id="1882" name="Vrije vorm: vorm 1881">
                <a:extLst>
                  <a:ext uri="{FF2B5EF4-FFF2-40B4-BE49-F238E27FC236}">
                    <a16:creationId xmlns:a16="http://schemas.microsoft.com/office/drawing/2014/main" id="{3863959C-058C-40AF-BED2-781C866DB920}"/>
                  </a:ext>
                </a:extLst>
              </p:cNvPr>
              <p:cNvSpPr/>
              <p:nvPr/>
            </p:nvSpPr>
            <p:spPr>
              <a:xfrm>
                <a:off x="4404027" y="3884861"/>
                <a:ext cx="18333" cy="18427"/>
              </a:xfrm>
              <a:custGeom>
                <a:avLst/>
                <a:gdLst>
                  <a:gd name="connsiteX0" fmla="*/ 11739 w 18333"/>
                  <a:gd name="connsiteY0" fmla="*/ 18078 h 18427"/>
                  <a:gd name="connsiteX1" fmla="*/ 17959 w 18333"/>
                  <a:gd name="connsiteY1" fmla="*/ 6655 h 18427"/>
                  <a:gd name="connsiteX2" fmla="*/ 6595 w 18333"/>
                  <a:gd name="connsiteY2" fmla="*/ 375 h 18427"/>
                  <a:gd name="connsiteX3" fmla="*/ 375 w 18333"/>
                  <a:gd name="connsiteY3" fmla="*/ 11798 h 18427"/>
                  <a:gd name="connsiteX4" fmla="*/ 11739 w 18333"/>
                  <a:gd name="connsiteY4" fmla="*/ 1807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27">
                    <a:moveTo>
                      <a:pt x="11739" y="18078"/>
                    </a:moveTo>
                    <a:cubicBezTo>
                      <a:pt x="16583" y="16643"/>
                      <a:pt x="19394" y="11559"/>
                      <a:pt x="17959" y="6655"/>
                    </a:cubicBezTo>
                    <a:cubicBezTo>
                      <a:pt x="16523" y="1751"/>
                      <a:pt x="11440" y="-1060"/>
                      <a:pt x="6595" y="375"/>
                    </a:cubicBezTo>
                    <a:cubicBezTo>
                      <a:pt x="1751" y="1810"/>
                      <a:pt x="-1060" y="6894"/>
                      <a:pt x="375" y="11798"/>
                    </a:cubicBezTo>
                    <a:cubicBezTo>
                      <a:pt x="1751" y="16643"/>
                      <a:pt x="6894" y="19453"/>
                      <a:pt x="11739" y="18078"/>
                    </a:cubicBezTo>
                    <a:close/>
                  </a:path>
                </a:pathLst>
              </a:custGeom>
              <a:grpFill/>
              <a:ln w="5978" cap="flat">
                <a:noFill/>
                <a:prstDash val="solid"/>
                <a:miter/>
              </a:ln>
            </p:spPr>
            <p:txBody>
              <a:bodyPr rtlCol="0" anchor="ctr"/>
              <a:lstStyle/>
              <a:p>
                <a:endParaRPr lang="en-GB"/>
              </a:p>
            </p:txBody>
          </p:sp>
        </p:grpSp>
        <p:grpSp>
          <p:nvGrpSpPr>
            <p:cNvPr id="1175" name="Graphic 3">
              <a:extLst>
                <a:ext uri="{FF2B5EF4-FFF2-40B4-BE49-F238E27FC236}">
                  <a16:creationId xmlns:a16="http://schemas.microsoft.com/office/drawing/2014/main" id="{8C24FA87-E4A1-4753-B502-56CBCD942761}"/>
                </a:ext>
              </a:extLst>
            </p:cNvPr>
            <p:cNvGrpSpPr/>
            <p:nvPr/>
          </p:nvGrpSpPr>
          <p:grpSpPr>
            <a:xfrm>
              <a:off x="4546750" y="4416615"/>
              <a:ext cx="48345" cy="39053"/>
              <a:chOff x="4546750" y="4416615"/>
              <a:chExt cx="48345" cy="39053"/>
            </a:xfrm>
            <a:grpFill/>
          </p:grpSpPr>
          <p:sp>
            <p:nvSpPr>
              <p:cNvPr id="1877" name="Vrije vorm: vorm 1876">
                <a:extLst>
                  <a:ext uri="{FF2B5EF4-FFF2-40B4-BE49-F238E27FC236}">
                    <a16:creationId xmlns:a16="http://schemas.microsoft.com/office/drawing/2014/main" id="{B33484DF-AA93-4C78-AC64-A7E99982F3BC}"/>
                  </a:ext>
                </a:extLst>
              </p:cNvPr>
              <p:cNvSpPr/>
              <p:nvPr/>
            </p:nvSpPr>
            <p:spPr>
              <a:xfrm>
                <a:off x="4554698" y="4424279"/>
                <a:ext cx="32475" cy="23683"/>
              </a:xfrm>
              <a:custGeom>
                <a:avLst/>
                <a:gdLst>
                  <a:gd name="connsiteX0" fmla="*/ 32475 w 32475"/>
                  <a:gd name="connsiteY0" fmla="*/ 2572 h 23683"/>
                  <a:gd name="connsiteX1" fmla="*/ 1675 w 32475"/>
                  <a:gd name="connsiteY1" fmla="*/ 23684 h 23683"/>
                  <a:gd name="connsiteX2" fmla="*/ 0 w 32475"/>
                  <a:gd name="connsiteY2" fmla="*/ 21172 h 23683"/>
                  <a:gd name="connsiteX3" fmla="*/ 30741 w 32475"/>
                  <a:gd name="connsiteY3" fmla="*/ 0 h 23683"/>
                </a:gdLst>
                <a:ahLst/>
                <a:cxnLst>
                  <a:cxn ang="0">
                    <a:pos x="connsiteX0" y="connsiteY0"/>
                  </a:cxn>
                  <a:cxn ang="0">
                    <a:pos x="connsiteX1" y="connsiteY1"/>
                  </a:cxn>
                  <a:cxn ang="0">
                    <a:pos x="connsiteX2" y="connsiteY2"/>
                  </a:cxn>
                  <a:cxn ang="0">
                    <a:pos x="connsiteX3" y="connsiteY3"/>
                  </a:cxn>
                </a:cxnLst>
                <a:rect l="l" t="t" r="r" b="b"/>
                <a:pathLst>
                  <a:path w="32475" h="23683">
                    <a:moveTo>
                      <a:pt x="32475" y="2572"/>
                    </a:moveTo>
                    <a:lnTo>
                      <a:pt x="1675" y="23684"/>
                    </a:lnTo>
                    <a:lnTo>
                      <a:pt x="0" y="21172"/>
                    </a:lnTo>
                    <a:lnTo>
                      <a:pt x="30741" y="0"/>
                    </a:lnTo>
                    <a:close/>
                  </a:path>
                </a:pathLst>
              </a:custGeom>
              <a:grpFill/>
              <a:ln w="5978" cap="flat">
                <a:noFill/>
                <a:prstDash val="solid"/>
                <a:miter/>
              </a:ln>
            </p:spPr>
            <p:txBody>
              <a:bodyPr rtlCol="0" anchor="ctr"/>
              <a:lstStyle/>
              <a:p>
                <a:endParaRPr lang="en-GB"/>
              </a:p>
            </p:txBody>
          </p:sp>
          <p:sp>
            <p:nvSpPr>
              <p:cNvPr id="1878" name="Vrije vorm: vorm 1877">
                <a:extLst>
                  <a:ext uri="{FF2B5EF4-FFF2-40B4-BE49-F238E27FC236}">
                    <a16:creationId xmlns:a16="http://schemas.microsoft.com/office/drawing/2014/main" id="{DF0F83BB-22CE-455C-A898-0A3F2460D7B7}"/>
                  </a:ext>
                </a:extLst>
              </p:cNvPr>
              <p:cNvSpPr/>
              <p:nvPr/>
            </p:nvSpPr>
            <p:spPr>
              <a:xfrm>
                <a:off x="4546750" y="4437206"/>
                <a:ext cx="18348" cy="18461"/>
              </a:xfrm>
              <a:custGeom>
                <a:avLst/>
                <a:gdLst>
                  <a:gd name="connsiteX0" fmla="*/ 14348 w 18348"/>
                  <a:gd name="connsiteY0" fmla="*/ 16856 h 18461"/>
                  <a:gd name="connsiteX1" fmla="*/ 1609 w 18348"/>
                  <a:gd name="connsiteY1" fmla="*/ 14404 h 18461"/>
                  <a:gd name="connsiteX2" fmla="*/ 4001 w 18348"/>
                  <a:gd name="connsiteY2" fmla="*/ 1605 h 18461"/>
                  <a:gd name="connsiteX3" fmla="*/ 16740 w 18348"/>
                  <a:gd name="connsiteY3" fmla="*/ 4058 h 18461"/>
                  <a:gd name="connsiteX4" fmla="*/ 14348 w 18348"/>
                  <a:gd name="connsiteY4" fmla="*/ 1685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61">
                    <a:moveTo>
                      <a:pt x="14348" y="16856"/>
                    </a:moveTo>
                    <a:cubicBezTo>
                      <a:pt x="10161" y="19727"/>
                      <a:pt x="4480" y="18651"/>
                      <a:pt x="1609" y="14404"/>
                    </a:cubicBezTo>
                    <a:cubicBezTo>
                      <a:pt x="-1262" y="10218"/>
                      <a:pt x="-186" y="4476"/>
                      <a:pt x="4001" y="1605"/>
                    </a:cubicBezTo>
                    <a:cubicBezTo>
                      <a:pt x="8188" y="-1265"/>
                      <a:pt x="13869" y="-189"/>
                      <a:pt x="16740" y="4058"/>
                    </a:cubicBezTo>
                    <a:cubicBezTo>
                      <a:pt x="19611" y="8244"/>
                      <a:pt x="18534" y="13985"/>
                      <a:pt x="14348" y="16856"/>
                    </a:cubicBezTo>
                    <a:close/>
                  </a:path>
                </a:pathLst>
              </a:custGeom>
              <a:grpFill/>
              <a:ln w="5978" cap="flat">
                <a:noFill/>
                <a:prstDash val="solid"/>
                <a:miter/>
              </a:ln>
            </p:spPr>
            <p:txBody>
              <a:bodyPr rtlCol="0" anchor="ctr"/>
              <a:lstStyle/>
              <a:p>
                <a:endParaRPr lang="en-GB"/>
              </a:p>
            </p:txBody>
          </p:sp>
          <p:sp>
            <p:nvSpPr>
              <p:cNvPr id="1879" name="Vrije vorm: vorm 1878">
                <a:extLst>
                  <a:ext uri="{FF2B5EF4-FFF2-40B4-BE49-F238E27FC236}">
                    <a16:creationId xmlns:a16="http://schemas.microsoft.com/office/drawing/2014/main" id="{2B8EE90E-E1ED-45EC-AB03-656EA8187DEA}"/>
                  </a:ext>
                </a:extLst>
              </p:cNvPr>
              <p:cNvSpPr/>
              <p:nvPr/>
            </p:nvSpPr>
            <p:spPr>
              <a:xfrm>
                <a:off x="4576813" y="4416615"/>
                <a:ext cx="18281" cy="18419"/>
              </a:xfrm>
              <a:custGeom>
                <a:avLst/>
                <a:gdLst>
                  <a:gd name="connsiteX0" fmla="*/ 14307 w 18281"/>
                  <a:gd name="connsiteY0" fmla="*/ 16814 h 18419"/>
                  <a:gd name="connsiteX1" fmla="*/ 16699 w 18281"/>
                  <a:gd name="connsiteY1" fmla="*/ 4015 h 18419"/>
                  <a:gd name="connsiteX2" fmla="*/ 3960 w 18281"/>
                  <a:gd name="connsiteY2" fmla="*/ 1563 h 18419"/>
                  <a:gd name="connsiteX3" fmla="*/ 1628 w 18281"/>
                  <a:gd name="connsiteY3" fmla="*/ 14362 h 18419"/>
                  <a:gd name="connsiteX4" fmla="*/ 14307 w 18281"/>
                  <a:gd name="connsiteY4" fmla="*/ 1681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1" h="18419">
                    <a:moveTo>
                      <a:pt x="14307" y="16814"/>
                    </a:moveTo>
                    <a:cubicBezTo>
                      <a:pt x="18494" y="13943"/>
                      <a:pt x="19510" y="8202"/>
                      <a:pt x="16699" y="4015"/>
                    </a:cubicBezTo>
                    <a:cubicBezTo>
                      <a:pt x="13829" y="-171"/>
                      <a:pt x="8147" y="-1248"/>
                      <a:pt x="3960" y="1563"/>
                    </a:cubicBezTo>
                    <a:cubicBezTo>
                      <a:pt x="-226" y="4434"/>
                      <a:pt x="-1243" y="10176"/>
                      <a:pt x="1628" y="14362"/>
                    </a:cubicBezTo>
                    <a:cubicBezTo>
                      <a:pt x="4439" y="18608"/>
                      <a:pt x="10121" y="19685"/>
                      <a:pt x="14307" y="16814"/>
                    </a:cubicBezTo>
                    <a:close/>
                  </a:path>
                </a:pathLst>
              </a:custGeom>
              <a:grpFill/>
              <a:ln w="5978" cap="flat">
                <a:noFill/>
                <a:prstDash val="solid"/>
                <a:miter/>
              </a:ln>
            </p:spPr>
            <p:txBody>
              <a:bodyPr rtlCol="0" anchor="ctr"/>
              <a:lstStyle/>
              <a:p>
                <a:endParaRPr lang="en-GB"/>
              </a:p>
            </p:txBody>
          </p:sp>
        </p:grpSp>
        <p:grpSp>
          <p:nvGrpSpPr>
            <p:cNvPr id="1176" name="Graphic 3">
              <a:extLst>
                <a:ext uri="{FF2B5EF4-FFF2-40B4-BE49-F238E27FC236}">
                  <a16:creationId xmlns:a16="http://schemas.microsoft.com/office/drawing/2014/main" id="{9EB95F6A-953B-4D54-BDEA-44D3299D27D4}"/>
                </a:ext>
              </a:extLst>
            </p:cNvPr>
            <p:cNvGrpSpPr/>
            <p:nvPr/>
          </p:nvGrpSpPr>
          <p:grpSpPr>
            <a:xfrm>
              <a:off x="4424354" y="4222779"/>
              <a:ext cx="175940" cy="106117"/>
              <a:chOff x="4424354" y="4222779"/>
              <a:chExt cx="175940" cy="106117"/>
            </a:xfrm>
            <a:grpFill/>
          </p:grpSpPr>
          <p:sp>
            <p:nvSpPr>
              <p:cNvPr id="1874" name="Vrije vorm: vorm 1873">
                <a:extLst>
                  <a:ext uri="{FF2B5EF4-FFF2-40B4-BE49-F238E27FC236}">
                    <a16:creationId xmlns:a16="http://schemas.microsoft.com/office/drawing/2014/main" id="{D9A3D267-3D29-4C37-9BD4-19BEABBBD69D}"/>
                  </a:ext>
                </a:extLst>
              </p:cNvPr>
              <p:cNvSpPr/>
              <p:nvPr/>
            </p:nvSpPr>
            <p:spPr>
              <a:xfrm>
                <a:off x="4432392" y="4230384"/>
                <a:ext cx="159924" cy="90847"/>
              </a:xfrm>
              <a:custGeom>
                <a:avLst/>
                <a:gdLst>
                  <a:gd name="connsiteX0" fmla="*/ 159925 w 159924"/>
                  <a:gd name="connsiteY0" fmla="*/ 2691 h 90847"/>
                  <a:gd name="connsiteX1" fmla="*/ 1436 w 159924"/>
                  <a:gd name="connsiteY1" fmla="*/ 90847 h 90847"/>
                  <a:gd name="connsiteX2" fmla="*/ 0 w 159924"/>
                  <a:gd name="connsiteY2" fmla="*/ 88216 h 90847"/>
                  <a:gd name="connsiteX3" fmla="*/ 158430 w 159924"/>
                  <a:gd name="connsiteY3" fmla="*/ 0 h 90847"/>
                </a:gdLst>
                <a:ahLst/>
                <a:cxnLst>
                  <a:cxn ang="0">
                    <a:pos x="connsiteX0" y="connsiteY0"/>
                  </a:cxn>
                  <a:cxn ang="0">
                    <a:pos x="connsiteX1" y="connsiteY1"/>
                  </a:cxn>
                  <a:cxn ang="0">
                    <a:pos x="connsiteX2" y="connsiteY2"/>
                  </a:cxn>
                  <a:cxn ang="0">
                    <a:pos x="connsiteX3" y="connsiteY3"/>
                  </a:cxn>
                </a:cxnLst>
                <a:rect l="l" t="t" r="r" b="b"/>
                <a:pathLst>
                  <a:path w="159924" h="90847">
                    <a:moveTo>
                      <a:pt x="159925" y="2691"/>
                    </a:moveTo>
                    <a:lnTo>
                      <a:pt x="1436" y="90847"/>
                    </a:lnTo>
                    <a:lnTo>
                      <a:pt x="0" y="88216"/>
                    </a:lnTo>
                    <a:lnTo>
                      <a:pt x="158430" y="0"/>
                    </a:lnTo>
                    <a:close/>
                  </a:path>
                </a:pathLst>
              </a:custGeom>
              <a:grpFill/>
              <a:ln w="5978" cap="flat">
                <a:noFill/>
                <a:prstDash val="solid"/>
                <a:miter/>
              </a:ln>
            </p:spPr>
            <p:txBody>
              <a:bodyPr rtlCol="0" anchor="ctr"/>
              <a:lstStyle/>
              <a:p>
                <a:endParaRPr lang="en-GB"/>
              </a:p>
            </p:txBody>
          </p:sp>
          <p:sp>
            <p:nvSpPr>
              <p:cNvPr id="1875" name="Vrije vorm: vorm 1874">
                <a:extLst>
                  <a:ext uri="{FF2B5EF4-FFF2-40B4-BE49-F238E27FC236}">
                    <a16:creationId xmlns:a16="http://schemas.microsoft.com/office/drawing/2014/main" id="{68D5BF48-DE08-4D95-AA8D-B43A799598E6}"/>
                  </a:ext>
                </a:extLst>
              </p:cNvPr>
              <p:cNvSpPr/>
              <p:nvPr/>
            </p:nvSpPr>
            <p:spPr>
              <a:xfrm>
                <a:off x="4424354" y="4310516"/>
                <a:ext cx="18315" cy="18379"/>
              </a:xfrm>
              <a:custGeom>
                <a:avLst/>
                <a:gdLst>
                  <a:gd name="connsiteX0" fmla="*/ 13600 w 18315"/>
                  <a:gd name="connsiteY0" fmla="*/ 17234 h 18379"/>
                  <a:gd name="connsiteX1" fmla="*/ 1160 w 18315"/>
                  <a:gd name="connsiteY1" fmla="*/ 13646 h 18379"/>
                  <a:gd name="connsiteX2" fmla="*/ 4689 w 18315"/>
                  <a:gd name="connsiteY2" fmla="*/ 1146 h 18379"/>
                  <a:gd name="connsiteX3" fmla="*/ 17129 w 18315"/>
                  <a:gd name="connsiteY3" fmla="*/ 4734 h 18379"/>
                  <a:gd name="connsiteX4" fmla="*/ 13600 w 18315"/>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79">
                    <a:moveTo>
                      <a:pt x="13600" y="17234"/>
                    </a:moveTo>
                    <a:cubicBezTo>
                      <a:pt x="9174" y="19686"/>
                      <a:pt x="3612" y="18071"/>
                      <a:pt x="1160" y="13646"/>
                    </a:cubicBezTo>
                    <a:cubicBezTo>
                      <a:pt x="-1292" y="9220"/>
                      <a:pt x="263" y="3598"/>
                      <a:pt x="4689" y="1146"/>
                    </a:cubicBezTo>
                    <a:cubicBezTo>
                      <a:pt x="9115" y="-1306"/>
                      <a:pt x="14677" y="309"/>
                      <a:pt x="17129" y="4734"/>
                    </a:cubicBezTo>
                    <a:cubicBezTo>
                      <a:pt x="19641" y="9160"/>
                      <a:pt x="18026" y="14782"/>
                      <a:pt x="13600" y="17234"/>
                    </a:cubicBezTo>
                    <a:close/>
                  </a:path>
                </a:pathLst>
              </a:custGeom>
              <a:grpFill/>
              <a:ln w="5978" cap="flat">
                <a:noFill/>
                <a:prstDash val="solid"/>
                <a:miter/>
              </a:ln>
            </p:spPr>
            <p:txBody>
              <a:bodyPr rtlCol="0" anchor="ctr"/>
              <a:lstStyle/>
              <a:p>
                <a:endParaRPr lang="en-GB"/>
              </a:p>
            </p:txBody>
          </p:sp>
          <p:sp>
            <p:nvSpPr>
              <p:cNvPr id="1876" name="Vrije vorm: vorm 1875">
                <a:extLst>
                  <a:ext uri="{FF2B5EF4-FFF2-40B4-BE49-F238E27FC236}">
                    <a16:creationId xmlns:a16="http://schemas.microsoft.com/office/drawing/2014/main" id="{EF4D2239-084F-4E74-AE75-366B5644FF16}"/>
                  </a:ext>
                </a:extLst>
              </p:cNvPr>
              <p:cNvSpPr/>
              <p:nvPr/>
            </p:nvSpPr>
            <p:spPr>
              <a:xfrm>
                <a:off x="4582006" y="4222779"/>
                <a:ext cx="18289" cy="18380"/>
              </a:xfrm>
              <a:custGeom>
                <a:avLst/>
                <a:gdLst>
                  <a:gd name="connsiteX0" fmla="*/ 13600 w 18289"/>
                  <a:gd name="connsiteY0" fmla="*/ 17234 h 18380"/>
                  <a:gd name="connsiteX1" fmla="*/ 17129 w 18289"/>
                  <a:gd name="connsiteY1" fmla="*/ 4735 h 18380"/>
                  <a:gd name="connsiteX2" fmla="*/ 4689 w 18289"/>
                  <a:gd name="connsiteY2" fmla="*/ 1146 h 18380"/>
                  <a:gd name="connsiteX3" fmla="*/ 1160 w 18289"/>
                  <a:gd name="connsiteY3" fmla="*/ 13646 h 18380"/>
                  <a:gd name="connsiteX4" fmla="*/ 13600 w 18289"/>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80">
                    <a:moveTo>
                      <a:pt x="13600" y="17234"/>
                    </a:moveTo>
                    <a:cubicBezTo>
                      <a:pt x="18026" y="14782"/>
                      <a:pt x="19581" y="9160"/>
                      <a:pt x="17129" y="4735"/>
                    </a:cubicBezTo>
                    <a:cubicBezTo>
                      <a:pt x="14677" y="308"/>
                      <a:pt x="9055" y="-1306"/>
                      <a:pt x="4689" y="1146"/>
                    </a:cubicBezTo>
                    <a:cubicBezTo>
                      <a:pt x="263" y="3598"/>
                      <a:pt x="-1292" y="9220"/>
                      <a:pt x="1160" y="13646"/>
                    </a:cubicBezTo>
                    <a:cubicBezTo>
                      <a:pt x="3613" y="18071"/>
                      <a:pt x="9175" y="19686"/>
                      <a:pt x="13600" y="17234"/>
                    </a:cubicBezTo>
                    <a:close/>
                  </a:path>
                </a:pathLst>
              </a:custGeom>
              <a:grpFill/>
              <a:ln w="5978" cap="flat">
                <a:noFill/>
                <a:prstDash val="solid"/>
                <a:miter/>
              </a:ln>
            </p:spPr>
            <p:txBody>
              <a:bodyPr rtlCol="0" anchor="ctr"/>
              <a:lstStyle/>
              <a:p>
                <a:endParaRPr lang="en-GB"/>
              </a:p>
            </p:txBody>
          </p:sp>
        </p:grpSp>
        <p:grpSp>
          <p:nvGrpSpPr>
            <p:cNvPr id="1177" name="Graphic 3">
              <a:extLst>
                <a:ext uri="{FF2B5EF4-FFF2-40B4-BE49-F238E27FC236}">
                  <a16:creationId xmlns:a16="http://schemas.microsoft.com/office/drawing/2014/main" id="{732B34A1-837D-4614-9CCD-9A25BA486074}"/>
                </a:ext>
              </a:extLst>
            </p:cNvPr>
            <p:cNvGrpSpPr/>
            <p:nvPr/>
          </p:nvGrpSpPr>
          <p:grpSpPr>
            <a:xfrm>
              <a:off x="4153082" y="3474116"/>
              <a:ext cx="206351" cy="25728"/>
              <a:chOff x="4153082" y="3474116"/>
              <a:chExt cx="206351" cy="25728"/>
            </a:xfrm>
            <a:grpFill/>
          </p:grpSpPr>
          <p:sp>
            <p:nvSpPr>
              <p:cNvPr id="1871" name="Vrije vorm: vorm 1870">
                <a:extLst>
                  <a:ext uri="{FF2B5EF4-FFF2-40B4-BE49-F238E27FC236}">
                    <a16:creationId xmlns:a16="http://schemas.microsoft.com/office/drawing/2014/main" id="{95280375-FBF8-4EB9-A5E1-11CF4099FD2D}"/>
                  </a:ext>
                </a:extLst>
              </p:cNvPr>
              <p:cNvSpPr/>
              <p:nvPr/>
            </p:nvSpPr>
            <p:spPr>
              <a:xfrm>
                <a:off x="4161764" y="3481777"/>
                <a:ext cx="188991" cy="10406"/>
              </a:xfrm>
              <a:custGeom>
                <a:avLst/>
                <a:gdLst>
                  <a:gd name="connsiteX0" fmla="*/ 188871 w 188991"/>
                  <a:gd name="connsiteY0" fmla="*/ 0 h 10406"/>
                  <a:gd name="connsiteX1" fmla="*/ 188991 w 188991"/>
                  <a:gd name="connsiteY1" fmla="*/ 3050 h 10406"/>
                  <a:gd name="connsiteX2" fmla="*/ 120 w 188991"/>
                  <a:gd name="connsiteY2" fmla="*/ 10407 h 10406"/>
                  <a:gd name="connsiteX3" fmla="*/ 0 w 188991"/>
                  <a:gd name="connsiteY3" fmla="*/ 7356 h 10406"/>
                </a:gdLst>
                <a:ahLst/>
                <a:cxnLst>
                  <a:cxn ang="0">
                    <a:pos x="connsiteX0" y="connsiteY0"/>
                  </a:cxn>
                  <a:cxn ang="0">
                    <a:pos x="connsiteX1" y="connsiteY1"/>
                  </a:cxn>
                  <a:cxn ang="0">
                    <a:pos x="connsiteX2" y="connsiteY2"/>
                  </a:cxn>
                  <a:cxn ang="0">
                    <a:pos x="connsiteX3" y="connsiteY3"/>
                  </a:cxn>
                </a:cxnLst>
                <a:rect l="l" t="t" r="r" b="b"/>
                <a:pathLst>
                  <a:path w="188991" h="10406">
                    <a:moveTo>
                      <a:pt x="188871" y="0"/>
                    </a:moveTo>
                    <a:lnTo>
                      <a:pt x="188991" y="3050"/>
                    </a:lnTo>
                    <a:lnTo>
                      <a:pt x="120" y="10407"/>
                    </a:lnTo>
                    <a:lnTo>
                      <a:pt x="0" y="7356"/>
                    </a:lnTo>
                    <a:close/>
                  </a:path>
                </a:pathLst>
              </a:custGeom>
              <a:grpFill/>
              <a:ln w="5978" cap="flat">
                <a:noFill/>
                <a:prstDash val="solid"/>
                <a:miter/>
              </a:ln>
            </p:spPr>
            <p:txBody>
              <a:bodyPr rtlCol="0" anchor="ctr"/>
              <a:lstStyle/>
              <a:p>
                <a:endParaRPr lang="en-GB"/>
              </a:p>
            </p:txBody>
          </p:sp>
          <p:sp>
            <p:nvSpPr>
              <p:cNvPr id="1872" name="Vrije vorm: vorm 1871">
                <a:extLst>
                  <a:ext uri="{FF2B5EF4-FFF2-40B4-BE49-F238E27FC236}">
                    <a16:creationId xmlns:a16="http://schemas.microsoft.com/office/drawing/2014/main" id="{3474663A-73EB-4B83-A0BF-67B157DD4055}"/>
                  </a:ext>
                </a:extLst>
              </p:cNvPr>
              <p:cNvSpPr/>
              <p:nvPr/>
            </p:nvSpPr>
            <p:spPr>
              <a:xfrm>
                <a:off x="4153082" y="3481412"/>
                <a:ext cx="18377" cy="18432"/>
              </a:xfrm>
              <a:custGeom>
                <a:avLst/>
                <a:gdLst>
                  <a:gd name="connsiteX0" fmla="*/ 9579 w 18377"/>
                  <a:gd name="connsiteY0" fmla="*/ 18427 h 18432"/>
                  <a:gd name="connsiteX1" fmla="*/ 10 w 18377"/>
                  <a:gd name="connsiteY1" fmla="*/ 9575 h 18432"/>
                  <a:gd name="connsiteX2" fmla="*/ 8802 w 18377"/>
                  <a:gd name="connsiteY2" fmla="*/ 6 h 18432"/>
                  <a:gd name="connsiteX3" fmla="*/ 18371 w 18377"/>
                  <a:gd name="connsiteY3" fmla="*/ 8857 h 18432"/>
                  <a:gd name="connsiteX4" fmla="*/ 9579 w 18377"/>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32">
                    <a:moveTo>
                      <a:pt x="9579" y="18427"/>
                    </a:moveTo>
                    <a:cubicBezTo>
                      <a:pt x="4496" y="18606"/>
                      <a:pt x="249" y="14659"/>
                      <a:pt x="10" y="9575"/>
                    </a:cubicBezTo>
                    <a:cubicBezTo>
                      <a:pt x="-229" y="4491"/>
                      <a:pt x="3718" y="185"/>
                      <a:pt x="8802" y="6"/>
                    </a:cubicBezTo>
                    <a:cubicBezTo>
                      <a:pt x="13886" y="-174"/>
                      <a:pt x="18132" y="3774"/>
                      <a:pt x="18371" y="8857"/>
                    </a:cubicBezTo>
                    <a:cubicBezTo>
                      <a:pt x="18550" y="13941"/>
                      <a:pt x="14603" y="18247"/>
                      <a:pt x="9579" y="18427"/>
                    </a:cubicBezTo>
                    <a:close/>
                  </a:path>
                </a:pathLst>
              </a:custGeom>
              <a:grpFill/>
              <a:ln w="5978" cap="flat">
                <a:noFill/>
                <a:prstDash val="solid"/>
                <a:miter/>
              </a:ln>
            </p:spPr>
            <p:txBody>
              <a:bodyPr rtlCol="0" anchor="ctr"/>
              <a:lstStyle/>
              <a:p>
                <a:endParaRPr lang="en-GB"/>
              </a:p>
            </p:txBody>
          </p:sp>
          <p:sp>
            <p:nvSpPr>
              <p:cNvPr id="1873" name="Vrije vorm: vorm 1872">
                <a:extLst>
                  <a:ext uri="{FF2B5EF4-FFF2-40B4-BE49-F238E27FC236}">
                    <a16:creationId xmlns:a16="http://schemas.microsoft.com/office/drawing/2014/main" id="{1E3E9BBF-F263-4FC1-A547-E58D41AF0644}"/>
                  </a:ext>
                </a:extLst>
              </p:cNvPr>
              <p:cNvSpPr/>
              <p:nvPr/>
            </p:nvSpPr>
            <p:spPr>
              <a:xfrm>
                <a:off x="4341061" y="3474116"/>
                <a:ext cx="18372" cy="18432"/>
              </a:xfrm>
              <a:custGeom>
                <a:avLst/>
                <a:gdLst>
                  <a:gd name="connsiteX0" fmla="*/ 9575 w 18372"/>
                  <a:gd name="connsiteY0" fmla="*/ 18427 h 18432"/>
                  <a:gd name="connsiteX1" fmla="*/ 18367 w 18372"/>
                  <a:gd name="connsiteY1" fmla="*/ 8857 h 18432"/>
                  <a:gd name="connsiteX2" fmla="*/ 8797 w 18372"/>
                  <a:gd name="connsiteY2" fmla="*/ 6 h 18432"/>
                  <a:gd name="connsiteX3" fmla="*/ 6 w 18372"/>
                  <a:gd name="connsiteY3" fmla="*/ 9575 h 18432"/>
                  <a:gd name="connsiteX4" fmla="*/ 9575 w 1837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9575" y="18427"/>
                    </a:moveTo>
                    <a:cubicBezTo>
                      <a:pt x="14659" y="18247"/>
                      <a:pt x="18546" y="13941"/>
                      <a:pt x="18367" y="8857"/>
                    </a:cubicBezTo>
                    <a:cubicBezTo>
                      <a:pt x="18127" y="3774"/>
                      <a:pt x="13881" y="-174"/>
                      <a:pt x="8797" y="6"/>
                    </a:cubicBezTo>
                    <a:cubicBezTo>
                      <a:pt x="3714" y="185"/>
                      <a:pt x="-174" y="4491"/>
                      <a:pt x="6" y="9575"/>
                    </a:cubicBezTo>
                    <a:cubicBezTo>
                      <a:pt x="245" y="14659"/>
                      <a:pt x="4492" y="18606"/>
                      <a:pt x="9575" y="18427"/>
                    </a:cubicBezTo>
                    <a:close/>
                  </a:path>
                </a:pathLst>
              </a:custGeom>
              <a:grpFill/>
              <a:ln w="5978" cap="flat">
                <a:noFill/>
                <a:prstDash val="solid"/>
                <a:miter/>
              </a:ln>
            </p:spPr>
            <p:txBody>
              <a:bodyPr rtlCol="0" anchor="ctr"/>
              <a:lstStyle/>
              <a:p>
                <a:endParaRPr lang="en-GB"/>
              </a:p>
            </p:txBody>
          </p:sp>
        </p:grpSp>
        <p:grpSp>
          <p:nvGrpSpPr>
            <p:cNvPr id="1178" name="Graphic 3">
              <a:extLst>
                <a:ext uri="{FF2B5EF4-FFF2-40B4-BE49-F238E27FC236}">
                  <a16:creationId xmlns:a16="http://schemas.microsoft.com/office/drawing/2014/main" id="{2841D07F-A681-4A33-B66E-982D94D00045}"/>
                </a:ext>
              </a:extLst>
            </p:cNvPr>
            <p:cNvGrpSpPr/>
            <p:nvPr/>
          </p:nvGrpSpPr>
          <p:grpSpPr>
            <a:xfrm>
              <a:off x="4107340" y="3410188"/>
              <a:ext cx="236896" cy="18719"/>
              <a:chOff x="4107340" y="3410188"/>
              <a:chExt cx="236896" cy="18719"/>
            </a:xfrm>
            <a:grpFill/>
          </p:grpSpPr>
          <p:sp>
            <p:nvSpPr>
              <p:cNvPr id="1868" name="Vrije vorm: vorm 1867">
                <a:extLst>
                  <a:ext uri="{FF2B5EF4-FFF2-40B4-BE49-F238E27FC236}">
                    <a16:creationId xmlns:a16="http://schemas.microsoft.com/office/drawing/2014/main" id="{95A0391A-88BB-45A5-A59F-7153C17E1A6A}"/>
                  </a:ext>
                </a:extLst>
              </p:cNvPr>
              <p:cNvSpPr/>
              <p:nvPr/>
            </p:nvSpPr>
            <p:spPr>
              <a:xfrm>
                <a:off x="4116012" y="3417843"/>
                <a:ext cx="219552" cy="3409"/>
              </a:xfrm>
              <a:custGeom>
                <a:avLst/>
                <a:gdLst>
                  <a:gd name="connsiteX0" fmla="*/ 219493 w 219552"/>
                  <a:gd name="connsiteY0" fmla="*/ 0 h 3409"/>
                  <a:gd name="connsiteX1" fmla="*/ 219552 w 219552"/>
                  <a:gd name="connsiteY1" fmla="*/ 3110 h 3409"/>
                  <a:gd name="connsiteX2" fmla="*/ 60 w 219552"/>
                  <a:gd name="connsiteY2" fmla="*/ 3409 h 3409"/>
                  <a:gd name="connsiteX3" fmla="*/ 0 w 219552"/>
                  <a:gd name="connsiteY3" fmla="*/ 299 h 3409"/>
                </a:gdLst>
                <a:ahLst/>
                <a:cxnLst>
                  <a:cxn ang="0">
                    <a:pos x="connsiteX0" y="connsiteY0"/>
                  </a:cxn>
                  <a:cxn ang="0">
                    <a:pos x="connsiteX1" y="connsiteY1"/>
                  </a:cxn>
                  <a:cxn ang="0">
                    <a:pos x="connsiteX2" y="connsiteY2"/>
                  </a:cxn>
                  <a:cxn ang="0">
                    <a:pos x="connsiteX3" y="connsiteY3"/>
                  </a:cxn>
                </a:cxnLst>
                <a:rect l="l" t="t" r="r" b="b"/>
                <a:pathLst>
                  <a:path w="219552" h="3409">
                    <a:moveTo>
                      <a:pt x="219493" y="0"/>
                    </a:moveTo>
                    <a:lnTo>
                      <a:pt x="219552" y="3110"/>
                    </a:lnTo>
                    <a:lnTo>
                      <a:pt x="60" y="3409"/>
                    </a:lnTo>
                    <a:lnTo>
                      <a:pt x="0" y="299"/>
                    </a:lnTo>
                    <a:close/>
                  </a:path>
                </a:pathLst>
              </a:custGeom>
              <a:grpFill/>
              <a:ln w="5978" cap="flat">
                <a:noFill/>
                <a:prstDash val="solid"/>
                <a:miter/>
              </a:ln>
            </p:spPr>
            <p:txBody>
              <a:bodyPr rtlCol="0" anchor="ctr"/>
              <a:lstStyle/>
              <a:p>
                <a:endParaRPr lang="en-GB"/>
              </a:p>
            </p:txBody>
          </p:sp>
          <p:sp>
            <p:nvSpPr>
              <p:cNvPr id="1869" name="Vrije vorm: vorm 1868">
                <a:extLst>
                  <a:ext uri="{FF2B5EF4-FFF2-40B4-BE49-F238E27FC236}">
                    <a16:creationId xmlns:a16="http://schemas.microsoft.com/office/drawing/2014/main" id="{ED17A29A-F508-4520-9B92-38BE4BE2F863}"/>
                  </a:ext>
                </a:extLst>
              </p:cNvPr>
              <p:cNvSpPr/>
              <p:nvPr/>
            </p:nvSpPr>
            <p:spPr>
              <a:xfrm>
                <a:off x="4107340" y="3410487"/>
                <a:ext cx="18301" cy="18420"/>
              </a:xfrm>
              <a:custGeom>
                <a:avLst/>
                <a:gdLst>
                  <a:gd name="connsiteX0" fmla="*/ 9210 w 18301"/>
                  <a:gd name="connsiteY0" fmla="*/ 18421 h 18420"/>
                  <a:gd name="connsiteX1" fmla="*/ 0 w 18301"/>
                  <a:gd name="connsiteY1" fmla="*/ 9210 h 18420"/>
                  <a:gd name="connsiteX2" fmla="*/ 9091 w 18301"/>
                  <a:gd name="connsiteY2" fmla="*/ 0 h 18420"/>
                  <a:gd name="connsiteX3" fmla="*/ 18301 w 18301"/>
                  <a:gd name="connsiteY3" fmla="*/ 9210 h 18420"/>
                  <a:gd name="connsiteX4" fmla="*/ 9210 w 18301"/>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0">
                    <a:moveTo>
                      <a:pt x="9210" y="18421"/>
                    </a:moveTo>
                    <a:cubicBezTo>
                      <a:pt x="4127" y="18421"/>
                      <a:pt x="0" y="14294"/>
                      <a:pt x="0" y="9210"/>
                    </a:cubicBezTo>
                    <a:cubicBezTo>
                      <a:pt x="0" y="4127"/>
                      <a:pt x="4067" y="0"/>
                      <a:pt x="9091" y="0"/>
                    </a:cubicBezTo>
                    <a:cubicBezTo>
                      <a:pt x="14174" y="0"/>
                      <a:pt x="18301" y="4127"/>
                      <a:pt x="18301" y="9210"/>
                    </a:cubicBezTo>
                    <a:cubicBezTo>
                      <a:pt x="18361" y="14294"/>
                      <a:pt x="14294" y="18421"/>
                      <a:pt x="9210" y="18421"/>
                    </a:cubicBezTo>
                    <a:close/>
                  </a:path>
                </a:pathLst>
              </a:custGeom>
              <a:grpFill/>
              <a:ln w="5978" cap="flat">
                <a:noFill/>
                <a:prstDash val="solid"/>
                <a:miter/>
              </a:ln>
            </p:spPr>
            <p:txBody>
              <a:bodyPr rtlCol="0" anchor="ctr"/>
              <a:lstStyle/>
              <a:p>
                <a:endParaRPr lang="en-GB"/>
              </a:p>
            </p:txBody>
          </p:sp>
          <p:sp>
            <p:nvSpPr>
              <p:cNvPr id="1870" name="Vrije vorm: vorm 1869">
                <a:extLst>
                  <a:ext uri="{FF2B5EF4-FFF2-40B4-BE49-F238E27FC236}">
                    <a16:creationId xmlns:a16="http://schemas.microsoft.com/office/drawing/2014/main" id="{3382DEA4-84F5-446C-ACB0-733823C2B7B3}"/>
                  </a:ext>
                </a:extLst>
              </p:cNvPr>
              <p:cNvSpPr/>
              <p:nvPr/>
            </p:nvSpPr>
            <p:spPr>
              <a:xfrm>
                <a:off x="4325935" y="3410188"/>
                <a:ext cx="18302" cy="18420"/>
              </a:xfrm>
              <a:custGeom>
                <a:avLst/>
                <a:gdLst>
                  <a:gd name="connsiteX0" fmla="*/ 9211 w 18302"/>
                  <a:gd name="connsiteY0" fmla="*/ 18421 h 18420"/>
                  <a:gd name="connsiteX1" fmla="*/ 18302 w 18302"/>
                  <a:gd name="connsiteY1" fmla="*/ 9210 h 18420"/>
                  <a:gd name="connsiteX2" fmla="*/ 9091 w 18302"/>
                  <a:gd name="connsiteY2" fmla="*/ 0 h 18420"/>
                  <a:gd name="connsiteX3" fmla="*/ 1 w 18302"/>
                  <a:gd name="connsiteY3" fmla="*/ 9210 h 18420"/>
                  <a:gd name="connsiteX4" fmla="*/ 9211 w 18302"/>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211" y="18421"/>
                    </a:moveTo>
                    <a:cubicBezTo>
                      <a:pt x="14295" y="18421"/>
                      <a:pt x="18362" y="14294"/>
                      <a:pt x="18302" y="9210"/>
                    </a:cubicBezTo>
                    <a:cubicBezTo>
                      <a:pt x="18302" y="4127"/>
                      <a:pt x="14175" y="0"/>
                      <a:pt x="9091" y="0"/>
                    </a:cubicBezTo>
                    <a:cubicBezTo>
                      <a:pt x="4008" y="0"/>
                      <a:pt x="-59" y="4127"/>
                      <a:pt x="1" y="9210"/>
                    </a:cubicBezTo>
                    <a:cubicBezTo>
                      <a:pt x="1" y="14294"/>
                      <a:pt x="4127" y="18421"/>
                      <a:pt x="9211" y="18421"/>
                    </a:cubicBezTo>
                    <a:close/>
                  </a:path>
                </a:pathLst>
              </a:custGeom>
              <a:grpFill/>
              <a:ln w="5978" cap="flat">
                <a:noFill/>
                <a:prstDash val="solid"/>
                <a:miter/>
              </a:ln>
            </p:spPr>
            <p:txBody>
              <a:bodyPr rtlCol="0" anchor="ctr"/>
              <a:lstStyle/>
              <a:p>
                <a:endParaRPr lang="en-GB"/>
              </a:p>
            </p:txBody>
          </p:sp>
        </p:grpSp>
        <p:grpSp>
          <p:nvGrpSpPr>
            <p:cNvPr id="1179" name="Graphic 3">
              <a:extLst>
                <a:ext uri="{FF2B5EF4-FFF2-40B4-BE49-F238E27FC236}">
                  <a16:creationId xmlns:a16="http://schemas.microsoft.com/office/drawing/2014/main" id="{A5528184-7306-41E3-B838-1A58093089EB}"/>
                </a:ext>
              </a:extLst>
            </p:cNvPr>
            <p:cNvGrpSpPr/>
            <p:nvPr/>
          </p:nvGrpSpPr>
          <p:grpSpPr>
            <a:xfrm>
              <a:off x="4773200" y="5108691"/>
              <a:ext cx="45401" cy="55363"/>
              <a:chOff x="4773200" y="5108691"/>
              <a:chExt cx="45401" cy="55363"/>
            </a:xfrm>
            <a:grpFill/>
          </p:grpSpPr>
          <p:sp>
            <p:nvSpPr>
              <p:cNvPr id="1865" name="Vrije vorm: vorm 1864">
                <a:extLst>
                  <a:ext uri="{FF2B5EF4-FFF2-40B4-BE49-F238E27FC236}">
                    <a16:creationId xmlns:a16="http://schemas.microsoft.com/office/drawing/2014/main" id="{A896A170-356A-4CA9-B43A-C89DC7520F1A}"/>
                  </a:ext>
                </a:extLst>
              </p:cNvPr>
              <p:cNvSpPr/>
              <p:nvPr/>
            </p:nvSpPr>
            <p:spPr>
              <a:xfrm>
                <a:off x="4780889" y="5116607"/>
                <a:ext cx="30083" cy="39532"/>
              </a:xfrm>
              <a:custGeom>
                <a:avLst/>
                <a:gdLst>
                  <a:gd name="connsiteX0" fmla="*/ 30083 w 30083"/>
                  <a:gd name="connsiteY0" fmla="*/ 1854 h 39532"/>
                  <a:gd name="connsiteX1" fmla="*/ 2452 w 30083"/>
                  <a:gd name="connsiteY1" fmla="*/ 39532 h 39532"/>
                  <a:gd name="connsiteX2" fmla="*/ 0 w 30083"/>
                  <a:gd name="connsiteY2" fmla="*/ 37738 h 39532"/>
                  <a:gd name="connsiteX3" fmla="*/ 27631 w 30083"/>
                  <a:gd name="connsiteY3" fmla="*/ 0 h 39532"/>
                </a:gdLst>
                <a:ahLst/>
                <a:cxnLst>
                  <a:cxn ang="0">
                    <a:pos x="connsiteX0" y="connsiteY0"/>
                  </a:cxn>
                  <a:cxn ang="0">
                    <a:pos x="connsiteX1" y="connsiteY1"/>
                  </a:cxn>
                  <a:cxn ang="0">
                    <a:pos x="connsiteX2" y="connsiteY2"/>
                  </a:cxn>
                  <a:cxn ang="0">
                    <a:pos x="connsiteX3" y="connsiteY3"/>
                  </a:cxn>
                </a:cxnLst>
                <a:rect l="l" t="t" r="r" b="b"/>
                <a:pathLst>
                  <a:path w="30083" h="39532">
                    <a:moveTo>
                      <a:pt x="30083" y="1854"/>
                    </a:moveTo>
                    <a:lnTo>
                      <a:pt x="2452" y="39532"/>
                    </a:lnTo>
                    <a:lnTo>
                      <a:pt x="0" y="37738"/>
                    </a:lnTo>
                    <a:lnTo>
                      <a:pt x="27631" y="0"/>
                    </a:lnTo>
                    <a:close/>
                  </a:path>
                </a:pathLst>
              </a:custGeom>
              <a:grpFill/>
              <a:ln w="5978" cap="flat">
                <a:noFill/>
                <a:prstDash val="solid"/>
                <a:miter/>
              </a:ln>
            </p:spPr>
            <p:txBody>
              <a:bodyPr rtlCol="0" anchor="ctr"/>
              <a:lstStyle/>
              <a:p>
                <a:endParaRPr lang="en-GB"/>
              </a:p>
            </p:txBody>
          </p:sp>
          <p:sp>
            <p:nvSpPr>
              <p:cNvPr id="1866" name="Vrije vorm: vorm 1865">
                <a:extLst>
                  <a:ext uri="{FF2B5EF4-FFF2-40B4-BE49-F238E27FC236}">
                    <a16:creationId xmlns:a16="http://schemas.microsoft.com/office/drawing/2014/main" id="{75206C8E-E477-4CF2-9267-7FB08BDF0E1D}"/>
                  </a:ext>
                </a:extLst>
              </p:cNvPr>
              <p:cNvSpPr/>
              <p:nvPr/>
            </p:nvSpPr>
            <p:spPr>
              <a:xfrm>
                <a:off x="4800292" y="5108691"/>
                <a:ext cx="18309" cy="18403"/>
              </a:xfrm>
              <a:custGeom>
                <a:avLst/>
                <a:gdLst>
                  <a:gd name="connsiteX0" fmla="*/ 1768 w 18309"/>
                  <a:gd name="connsiteY0" fmla="*/ 3729 h 18403"/>
                  <a:gd name="connsiteX1" fmla="*/ 14567 w 18309"/>
                  <a:gd name="connsiteY1" fmla="*/ 1815 h 18403"/>
                  <a:gd name="connsiteX2" fmla="*/ 16541 w 18309"/>
                  <a:gd name="connsiteY2" fmla="*/ 14674 h 18403"/>
                  <a:gd name="connsiteX3" fmla="*/ 3742 w 18309"/>
                  <a:gd name="connsiteY3" fmla="*/ 16588 h 18403"/>
                  <a:gd name="connsiteX4" fmla="*/ 1768 w 18309"/>
                  <a:gd name="connsiteY4" fmla="*/ 3729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3">
                    <a:moveTo>
                      <a:pt x="1768" y="3729"/>
                    </a:moveTo>
                    <a:cubicBezTo>
                      <a:pt x="4759" y="-338"/>
                      <a:pt x="10500" y="-1235"/>
                      <a:pt x="14567" y="1815"/>
                    </a:cubicBezTo>
                    <a:cubicBezTo>
                      <a:pt x="18634" y="4865"/>
                      <a:pt x="19531" y="10607"/>
                      <a:pt x="16541" y="14674"/>
                    </a:cubicBezTo>
                    <a:cubicBezTo>
                      <a:pt x="13551" y="18741"/>
                      <a:pt x="7809" y="19638"/>
                      <a:pt x="3742" y="16588"/>
                    </a:cubicBezTo>
                    <a:cubicBezTo>
                      <a:pt x="-325" y="13597"/>
                      <a:pt x="-1222" y="7796"/>
                      <a:pt x="1768" y="3729"/>
                    </a:cubicBezTo>
                    <a:close/>
                  </a:path>
                </a:pathLst>
              </a:custGeom>
              <a:grpFill/>
              <a:ln w="5978" cap="flat">
                <a:noFill/>
                <a:prstDash val="solid"/>
                <a:miter/>
              </a:ln>
            </p:spPr>
            <p:txBody>
              <a:bodyPr rtlCol="0" anchor="ctr"/>
              <a:lstStyle/>
              <a:p>
                <a:endParaRPr lang="en-GB"/>
              </a:p>
            </p:txBody>
          </p:sp>
          <p:sp>
            <p:nvSpPr>
              <p:cNvPr id="1867" name="Vrije vorm: vorm 1866">
                <a:extLst>
                  <a:ext uri="{FF2B5EF4-FFF2-40B4-BE49-F238E27FC236}">
                    <a16:creationId xmlns:a16="http://schemas.microsoft.com/office/drawing/2014/main" id="{E02ABD53-829F-4D81-A176-9BF23E291B03}"/>
                  </a:ext>
                </a:extLst>
              </p:cNvPr>
              <p:cNvSpPr/>
              <p:nvPr/>
            </p:nvSpPr>
            <p:spPr>
              <a:xfrm>
                <a:off x="4773200" y="5145652"/>
                <a:ext cx="18309" cy="18402"/>
              </a:xfrm>
              <a:custGeom>
                <a:avLst/>
                <a:gdLst>
                  <a:gd name="connsiteX0" fmla="*/ 1768 w 18309"/>
                  <a:gd name="connsiteY0" fmla="*/ 3729 h 18402"/>
                  <a:gd name="connsiteX1" fmla="*/ 3742 w 18309"/>
                  <a:gd name="connsiteY1" fmla="*/ 16588 h 18402"/>
                  <a:gd name="connsiteX2" fmla="*/ 16541 w 18309"/>
                  <a:gd name="connsiteY2" fmla="*/ 14674 h 18402"/>
                  <a:gd name="connsiteX3" fmla="*/ 14567 w 18309"/>
                  <a:gd name="connsiteY3" fmla="*/ 1815 h 18402"/>
                  <a:gd name="connsiteX4" fmla="*/ 1768 w 18309"/>
                  <a:gd name="connsiteY4" fmla="*/ 3729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02">
                    <a:moveTo>
                      <a:pt x="1768" y="3729"/>
                    </a:moveTo>
                    <a:cubicBezTo>
                      <a:pt x="-1222" y="7796"/>
                      <a:pt x="-325" y="13597"/>
                      <a:pt x="3742" y="16588"/>
                    </a:cubicBezTo>
                    <a:cubicBezTo>
                      <a:pt x="7809" y="19638"/>
                      <a:pt x="13550" y="18741"/>
                      <a:pt x="16541" y="14674"/>
                    </a:cubicBezTo>
                    <a:cubicBezTo>
                      <a:pt x="19531" y="10607"/>
                      <a:pt x="18634" y="4806"/>
                      <a:pt x="14567" y="1815"/>
                    </a:cubicBezTo>
                    <a:cubicBezTo>
                      <a:pt x="10500" y="-1235"/>
                      <a:pt x="4759" y="-338"/>
                      <a:pt x="1768" y="3729"/>
                    </a:cubicBezTo>
                    <a:close/>
                  </a:path>
                </a:pathLst>
              </a:custGeom>
              <a:grpFill/>
              <a:ln w="5978" cap="flat">
                <a:noFill/>
                <a:prstDash val="solid"/>
                <a:miter/>
              </a:ln>
            </p:spPr>
            <p:txBody>
              <a:bodyPr rtlCol="0" anchor="ctr"/>
              <a:lstStyle/>
              <a:p>
                <a:endParaRPr lang="en-GB"/>
              </a:p>
            </p:txBody>
          </p:sp>
        </p:grpSp>
        <p:grpSp>
          <p:nvGrpSpPr>
            <p:cNvPr id="1180" name="Graphic 3">
              <a:extLst>
                <a:ext uri="{FF2B5EF4-FFF2-40B4-BE49-F238E27FC236}">
                  <a16:creationId xmlns:a16="http://schemas.microsoft.com/office/drawing/2014/main" id="{D8005A5B-34FE-483B-AE74-67C43AABB644}"/>
                </a:ext>
              </a:extLst>
            </p:cNvPr>
            <p:cNvGrpSpPr/>
            <p:nvPr/>
          </p:nvGrpSpPr>
          <p:grpSpPr>
            <a:xfrm>
              <a:off x="4201426" y="3660312"/>
              <a:ext cx="208230" cy="47345"/>
              <a:chOff x="4201426" y="3660312"/>
              <a:chExt cx="208230" cy="47345"/>
            </a:xfrm>
            <a:grpFill/>
          </p:grpSpPr>
          <p:sp>
            <p:nvSpPr>
              <p:cNvPr id="1862" name="Vrije vorm: vorm 1861">
                <a:extLst>
                  <a:ext uri="{FF2B5EF4-FFF2-40B4-BE49-F238E27FC236}">
                    <a16:creationId xmlns:a16="http://schemas.microsoft.com/office/drawing/2014/main" id="{0AB75996-E48B-4B11-8065-AE303C2AAEAE}"/>
                  </a:ext>
                </a:extLst>
              </p:cNvPr>
              <p:cNvSpPr/>
              <p:nvPr/>
            </p:nvSpPr>
            <p:spPr>
              <a:xfrm>
                <a:off x="4209909" y="3667897"/>
                <a:ext cx="191203" cy="32116"/>
              </a:xfrm>
              <a:custGeom>
                <a:avLst/>
                <a:gdLst>
                  <a:gd name="connsiteX0" fmla="*/ 190785 w 191203"/>
                  <a:gd name="connsiteY0" fmla="*/ 0 h 32116"/>
                  <a:gd name="connsiteX1" fmla="*/ 191204 w 191203"/>
                  <a:gd name="connsiteY1" fmla="*/ 2990 h 32116"/>
                  <a:gd name="connsiteX2" fmla="*/ 478 w 191203"/>
                  <a:gd name="connsiteY2" fmla="*/ 32116 h 32116"/>
                  <a:gd name="connsiteX3" fmla="*/ 0 w 191203"/>
                  <a:gd name="connsiteY3" fmla="*/ 29066 h 32116"/>
                </a:gdLst>
                <a:ahLst/>
                <a:cxnLst>
                  <a:cxn ang="0">
                    <a:pos x="connsiteX0" y="connsiteY0"/>
                  </a:cxn>
                  <a:cxn ang="0">
                    <a:pos x="connsiteX1" y="connsiteY1"/>
                  </a:cxn>
                  <a:cxn ang="0">
                    <a:pos x="connsiteX2" y="connsiteY2"/>
                  </a:cxn>
                  <a:cxn ang="0">
                    <a:pos x="connsiteX3" y="connsiteY3"/>
                  </a:cxn>
                </a:cxnLst>
                <a:rect l="l" t="t" r="r" b="b"/>
                <a:pathLst>
                  <a:path w="191203" h="32116">
                    <a:moveTo>
                      <a:pt x="190785" y="0"/>
                    </a:moveTo>
                    <a:lnTo>
                      <a:pt x="191204" y="2990"/>
                    </a:lnTo>
                    <a:lnTo>
                      <a:pt x="478" y="32116"/>
                    </a:lnTo>
                    <a:lnTo>
                      <a:pt x="0" y="29066"/>
                    </a:lnTo>
                    <a:close/>
                  </a:path>
                </a:pathLst>
              </a:custGeom>
              <a:grpFill/>
              <a:ln w="5978" cap="flat">
                <a:noFill/>
                <a:prstDash val="solid"/>
                <a:miter/>
              </a:ln>
            </p:spPr>
            <p:txBody>
              <a:bodyPr rtlCol="0" anchor="ctr"/>
              <a:lstStyle/>
              <a:p>
                <a:endParaRPr lang="en-GB"/>
              </a:p>
            </p:txBody>
          </p:sp>
          <p:sp>
            <p:nvSpPr>
              <p:cNvPr id="1863" name="Vrije vorm: vorm 1862">
                <a:extLst>
                  <a:ext uri="{FF2B5EF4-FFF2-40B4-BE49-F238E27FC236}">
                    <a16:creationId xmlns:a16="http://schemas.microsoft.com/office/drawing/2014/main" id="{B0DFC1F0-8E8D-41D6-B0B5-CD21AF3FD0EF}"/>
                  </a:ext>
                </a:extLst>
              </p:cNvPr>
              <p:cNvSpPr/>
              <p:nvPr/>
            </p:nvSpPr>
            <p:spPr>
              <a:xfrm>
                <a:off x="4201426" y="3689259"/>
                <a:ext cx="18342" cy="18399"/>
              </a:xfrm>
              <a:custGeom>
                <a:avLst/>
                <a:gdLst>
                  <a:gd name="connsiteX0" fmla="*/ 10577 w 18342"/>
                  <a:gd name="connsiteY0" fmla="*/ 18290 h 18399"/>
                  <a:gd name="connsiteX1" fmla="*/ 110 w 18342"/>
                  <a:gd name="connsiteY1" fmla="*/ 10575 h 18399"/>
                  <a:gd name="connsiteX2" fmla="*/ 7766 w 18342"/>
                  <a:gd name="connsiteY2" fmla="*/ 109 h 18399"/>
                  <a:gd name="connsiteX3" fmla="*/ 18232 w 18342"/>
                  <a:gd name="connsiteY3" fmla="*/ 7824 h 18399"/>
                  <a:gd name="connsiteX4" fmla="*/ 10577 w 18342"/>
                  <a:gd name="connsiteY4" fmla="*/ 1829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9">
                    <a:moveTo>
                      <a:pt x="10577" y="18290"/>
                    </a:moveTo>
                    <a:cubicBezTo>
                      <a:pt x="5553" y="19068"/>
                      <a:pt x="888" y="15599"/>
                      <a:pt x="110" y="10575"/>
                    </a:cubicBezTo>
                    <a:cubicBezTo>
                      <a:pt x="-667" y="5551"/>
                      <a:pt x="2742" y="827"/>
                      <a:pt x="7766" y="109"/>
                    </a:cubicBezTo>
                    <a:cubicBezTo>
                      <a:pt x="12790" y="-669"/>
                      <a:pt x="17455" y="2800"/>
                      <a:pt x="18232" y="7824"/>
                    </a:cubicBezTo>
                    <a:cubicBezTo>
                      <a:pt x="19009" y="12848"/>
                      <a:pt x="15601" y="17513"/>
                      <a:pt x="10577" y="18290"/>
                    </a:cubicBezTo>
                    <a:close/>
                  </a:path>
                </a:pathLst>
              </a:custGeom>
              <a:grpFill/>
              <a:ln w="5978" cap="flat">
                <a:noFill/>
                <a:prstDash val="solid"/>
                <a:miter/>
              </a:ln>
            </p:spPr>
            <p:txBody>
              <a:bodyPr rtlCol="0" anchor="ctr"/>
              <a:lstStyle/>
              <a:p>
                <a:endParaRPr lang="en-GB"/>
              </a:p>
            </p:txBody>
          </p:sp>
          <p:sp>
            <p:nvSpPr>
              <p:cNvPr id="1864" name="Vrije vorm: vorm 1863">
                <a:extLst>
                  <a:ext uri="{FF2B5EF4-FFF2-40B4-BE49-F238E27FC236}">
                    <a16:creationId xmlns:a16="http://schemas.microsoft.com/office/drawing/2014/main" id="{A191AA21-BB49-4088-99BC-73D4206F1100}"/>
                  </a:ext>
                </a:extLst>
              </p:cNvPr>
              <p:cNvSpPr/>
              <p:nvPr/>
            </p:nvSpPr>
            <p:spPr>
              <a:xfrm>
                <a:off x="4391314" y="3660312"/>
                <a:ext cx="18342" cy="18384"/>
              </a:xfrm>
              <a:custGeom>
                <a:avLst/>
                <a:gdLst>
                  <a:gd name="connsiteX0" fmla="*/ 10577 w 18342"/>
                  <a:gd name="connsiteY0" fmla="*/ 18290 h 18384"/>
                  <a:gd name="connsiteX1" fmla="*/ 18232 w 18342"/>
                  <a:gd name="connsiteY1" fmla="*/ 7824 h 18384"/>
                  <a:gd name="connsiteX2" fmla="*/ 7766 w 18342"/>
                  <a:gd name="connsiteY2" fmla="*/ 109 h 18384"/>
                  <a:gd name="connsiteX3" fmla="*/ 110 w 18342"/>
                  <a:gd name="connsiteY3" fmla="*/ 10575 h 18384"/>
                  <a:gd name="connsiteX4" fmla="*/ 10577 w 18342"/>
                  <a:gd name="connsiteY4" fmla="*/ 18290 h 18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84">
                    <a:moveTo>
                      <a:pt x="10577" y="18290"/>
                    </a:moveTo>
                    <a:cubicBezTo>
                      <a:pt x="15601" y="17513"/>
                      <a:pt x="19009" y="12848"/>
                      <a:pt x="18232" y="7824"/>
                    </a:cubicBezTo>
                    <a:cubicBezTo>
                      <a:pt x="17455" y="2800"/>
                      <a:pt x="12790" y="-669"/>
                      <a:pt x="7766" y="109"/>
                    </a:cubicBezTo>
                    <a:cubicBezTo>
                      <a:pt x="2742" y="886"/>
                      <a:pt x="-667" y="5551"/>
                      <a:pt x="110" y="10575"/>
                    </a:cubicBezTo>
                    <a:cubicBezTo>
                      <a:pt x="888" y="15539"/>
                      <a:pt x="5553" y="19008"/>
                      <a:pt x="10577" y="18290"/>
                    </a:cubicBezTo>
                    <a:close/>
                  </a:path>
                </a:pathLst>
              </a:custGeom>
              <a:grpFill/>
              <a:ln w="5978" cap="flat">
                <a:noFill/>
                <a:prstDash val="solid"/>
                <a:miter/>
              </a:ln>
            </p:spPr>
            <p:txBody>
              <a:bodyPr rtlCol="0" anchor="ctr"/>
              <a:lstStyle/>
              <a:p>
                <a:endParaRPr lang="en-GB"/>
              </a:p>
            </p:txBody>
          </p:sp>
        </p:grpSp>
        <p:grpSp>
          <p:nvGrpSpPr>
            <p:cNvPr id="1181" name="Graphic 3">
              <a:extLst>
                <a:ext uri="{FF2B5EF4-FFF2-40B4-BE49-F238E27FC236}">
                  <a16:creationId xmlns:a16="http://schemas.microsoft.com/office/drawing/2014/main" id="{05EDE7E0-0EAE-4433-A287-7B8A03349C75}"/>
                </a:ext>
              </a:extLst>
            </p:cNvPr>
            <p:cNvGrpSpPr/>
            <p:nvPr/>
          </p:nvGrpSpPr>
          <p:grpSpPr>
            <a:xfrm>
              <a:off x="4356928" y="3968125"/>
              <a:ext cx="118572" cy="53751"/>
              <a:chOff x="4356928" y="3968125"/>
              <a:chExt cx="118572" cy="53751"/>
            </a:xfrm>
            <a:grpFill/>
          </p:grpSpPr>
          <p:sp>
            <p:nvSpPr>
              <p:cNvPr id="1859" name="Vrije vorm: vorm 1858">
                <a:extLst>
                  <a:ext uri="{FF2B5EF4-FFF2-40B4-BE49-F238E27FC236}">
                    <a16:creationId xmlns:a16="http://schemas.microsoft.com/office/drawing/2014/main" id="{636F3E64-491B-4AE2-8BE3-CB41827FFF09}"/>
                  </a:ext>
                </a:extLst>
              </p:cNvPr>
              <p:cNvSpPr/>
              <p:nvPr/>
            </p:nvSpPr>
            <p:spPr>
              <a:xfrm>
                <a:off x="4365401" y="3975647"/>
                <a:ext cx="102090" cy="38522"/>
              </a:xfrm>
              <a:custGeom>
                <a:avLst/>
                <a:gdLst>
                  <a:gd name="connsiteX0" fmla="*/ 0 w 102090"/>
                  <a:gd name="connsiteY0" fmla="*/ 35646 h 38522"/>
                  <a:gd name="connsiteX1" fmla="*/ 101076 w 102090"/>
                  <a:gd name="connsiteY1" fmla="*/ 0 h 38522"/>
                  <a:gd name="connsiteX2" fmla="*/ 102091 w 102090"/>
                  <a:gd name="connsiteY2" fmla="*/ 2877 h 38522"/>
                  <a:gd name="connsiteX3" fmla="*/ 1015 w 102090"/>
                  <a:gd name="connsiteY3" fmla="*/ 38523 h 38522"/>
                </a:gdLst>
                <a:ahLst/>
                <a:cxnLst>
                  <a:cxn ang="0">
                    <a:pos x="connsiteX0" y="connsiteY0"/>
                  </a:cxn>
                  <a:cxn ang="0">
                    <a:pos x="connsiteX1" y="connsiteY1"/>
                  </a:cxn>
                  <a:cxn ang="0">
                    <a:pos x="connsiteX2" y="connsiteY2"/>
                  </a:cxn>
                  <a:cxn ang="0">
                    <a:pos x="connsiteX3" y="connsiteY3"/>
                  </a:cxn>
                </a:cxnLst>
                <a:rect l="l" t="t" r="r" b="b"/>
                <a:pathLst>
                  <a:path w="102090" h="38522">
                    <a:moveTo>
                      <a:pt x="0" y="35646"/>
                    </a:moveTo>
                    <a:lnTo>
                      <a:pt x="101076" y="0"/>
                    </a:lnTo>
                    <a:lnTo>
                      <a:pt x="102091" y="2877"/>
                    </a:lnTo>
                    <a:lnTo>
                      <a:pt x="1015" y="38523"/>
                    </a:lnTo>
                    <a:close/>
                  </a:path>
                </a:pathLst>
              </a:custGeom>
              <a:grpFill/>
              <a:ln w="5978" cap="flat">
                <a:noFill/>
                <a:prstDash val="solid"/>
                <a:miter/>
              </a:ln>
            </p:spPr>
            <p:txBody>
              <a:bodyPr rtlCol="0" anchor="ctr"/>
              <a:lstStyle/>
              <a:p>
                <a:endParaRPr lang="en-GB"/>
              </a:p>
            </p:txBody>
          </p:sp>
          <p:sp>
            <p:nvSpPr>
              <p:cNvPr id="1860" name="Vrije vorm: vorm 1859">
                <a:extLst>
                  <a:ext uri="{FF2B5EF4-FFF2-40B4-BE49-F238E27FC236}">
                    <a16:creationId xmlns:a16="http://schemas.microsoft.com/office/drawing/2014/main" id="{7E4B323C-DFAE-4101-9C69-5D827BBCF32C}"/>
                  </a:ext>
                </a:extLst>
              </p:cNvPr>
              <p:cNvSpPr/>
              <p:nvPr/>
            </p:nvSpPr>
            <p:spPr>
              <a:xfrm>
                <a:off x="4356928" y="4003495"/>
                <a:ext cx="18359" cy="18381"/>
              </a:xfrm>
              <a:custGeom>
                <a:avLst/>
                <a:gdLst>
                  <a:gd name="connsiteX0" fmla="*/ 12248 w 18359"/>
                  <a:gd name="connsiteY0" fmla="*/ 17863 h 18381"/>
                  <a:gd name="connsiteX1" fmla="*/ 526 w 18359"/>
                  <a:gd name="connsiteY1" fmla="*/ 12241 h 18381"/>
                  <a:gd name="connsiteX2" fmla="*/ 6088 w 18359"/>
                  <a:gd name="connsiteY2" fmla="*/ 519 h 18381"/>
                  <a:gd name="connsiteX3" fmla="*/ 17810 w 18359"/>
                  <a:gd name="connsiteY3" fmla="*/ 6141 h 18381"/>
                  <a:gd name="connsiteX4" fmla="*/ 12248 w 18359"/>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381">
                    <a:moveTo>
                      <a:pt x="12248" y="17863"/>
                    </a:moveTo>
                    <a:cubicBezTo>
                      <a:pt x="7463" y="19538"/>
                      <a:pt x="2260" y="17025"/>
                      <a:pt x="526" y="12241"/>
                    </a:cubicBezTo>
                    <a:cubicBezTo>
                      <a:pt x="-1149" y="7456"/>
                      <a:pt x="1303" y="2193"/>
                      <a:pt x="6088" y="519"/>
                    </a:cubicBezTo>
                    <a:cubicBezTo>
                      <a:pt x="10872" y="-1156"/>
                      <a:pt x="16076" y="1356"/>
                      <a:pt x="17810" y="6141"/>
                    </a:cubicBezTo>
                    <a:cubicBezTo>
                      <a:pt x="19544" y="10925"/>
                      <a:pt x="17033" y="16188"/>
                      <a:pt x="12248" y="17863"/>
                    </a:cubicBezTo>
                    <a:close/>
                  </a:path>
                </a:pathLst>
              </a:custGeom>
              <a:grpFill/>
              <a:ln w="5978" cap="flat">
                <a:noFill/>
                <a:prstDash val="solid"/>
                <a:miter/>
              </a:ln>
            </p:spPr>
            <p:txBody>
              <a:bodyPr rtlCol="0" anchor="ctr"/>
              <a:lstStyle/>
              <a:p>
                <a:endParaRPr lang="en-GB"/>
              </a:p>
            </p:txBody>
          </p:sp>
          <p:sp>
            <p:nvSpPr>
              <p:cNvPr id="1861" name="Vrije vorm: vorm 1860">
                <a:extLst>
                  <a:ext uri="{FF2B5EF4-FFF2-40B4-BE49-F238E27FC236}">
                    <a16:creationId xmlns:a16="http://schemas.microsoft.com/office/drawing/2014/main" id="{60F3601B-3299-4F0A-AC18-65D271C10D4A}"/>
                  </a:ext>
                </a:extLst>
              </p:cNvPr>
              <p:cNvSpPr/>
              <p:nvPr/>
            </p:nvSpPr>
            <p:spPr>
              <a:xfrm>
                <a:off x="4457165" y="3968125"/>
                <a:ext cx="18335" cy="18428"/>
              </a:xfrm>
              <a:custGeom>
                <a:avLst/>
                <a:gdLst>
                  <a:gd name="connsiteX0" fmla="*/ 12248 w 18335"/>
                  <a:gd name="connsiteY0" fmla="*/ 17887 h 18428"/>
                  <a:gd name="connsiteX1" fmla="*/ 17810 w 18335"/>
                  <a:gd name="connsiteY1" fmla="*/ 6164 h 18428"/>
                  <a:gd name="connsiteX2" fmla="*/ 6088 w 18335"/>
                  <a:gd name="connsiteY2" fmla="*/ 542 h 18428"/>
                  <a:gd name="connsiteX3" fmla="*/ 526 w 18335"/>
                  <a:gd name="connsiteY3" fmla="*/ 12265 h 18428"/>
                  <a:gd name="connsiteX4" fmla="*/ 12248 w 18335"/>
                  <a:gd name="connsiteY4" fmla="*/ 1788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8">
                    <a:moveTo>
                      <a:pt x="12248" y="17887"/>
                    </a:moveTo>
                    <a:cubicBezTo>
                      <a:pt x="17033" y="16212"/>
                      <a:pt x="19485" y="10949"/>
                      <a:pt x="17810" y="6164"/>
                    </a:cubicBezTo>
                    <a:cubicBezTo>
                      <a:pt x="16135" y="1380"/>
                      <a:pt x="10872" y="-1192"/>
                      <a:pt x="6088" y="542"/>
                    </a:cubicBezTo>
                    <a:cubicBezTo>
                      <a:pt x="1303" y="2217"/>
                      <a:pt x="-1149" y="7480"/>
                      <a:pt x="526" y="12265"/>
                    </a:cubicBezTo>
                    <a:cubicBezTo>
                      <a:pt x="2260" y="17049"/>
                      <a:pt x="7463" y="19621"/>
                      <a:pt x="12248" y="17887"/>
                    </a:cubicBezTo>
                    <a:close/>
                  </a:path>
                </a:pathLst>
              </a:custGeom>
              <a:grpFill/>
              <a:ln w="5978" cap="flat">
                <a:noFill/>
                <a:prstDash val="solid"/>
                <a:miter/>
              </a:ln>
            </p:spPr>
            <p:txBody>
              <a:bodyPr rtlCol="0" anchor="ctr"/>
              <a:lstStyle/>
              <a:p>
                <a:endParaRPr lang="en-GB"/>
              </a:p>
            </p:txBody>
          </p:sp>
        </p:grpSp>
        <p:grpSp>
          <p:nvGrpSpPr>
            <p:cNvPr id="1182" name="Graphic 3">
              <a:extLst>
                <a:ext uri="{FF2B5EF4-FFF2-40B4-BE49-F238E27FC236}">
                  <a16:creationId xmlns:a16="http://schemas.microsoft.com/office/drawing/2014/main" id="{8FC5A48B-3AEF-47E4-B53D-F92181DC5D6F}"/>
                </a:ext>
              </a:extLst>
            </p:cNvPr>
            <p:cNvGrpSpPr/>
            <p:nvPr/>
          </p:nvGrpSpPr>
          <p:grpSpPr>
            <a:xfrm>
              <a:off x="4771815" y="5163588"/>
              <a:ext cx="151936" cy="224093"/>
              <a:chOff x="4771815" y="5163588"/>
              <a:chExt cx="151936" cy="224093"/>
            </a:xfrm>
            <a:grpFill/>
          </p:grpSpPr>
          <p:sp>
            <p:nvSpPr>
              <p:cNvPr id="1856" name="Vrije vorm: vorm 1855">
                <a:extLst>
                  <a:ext uri="{FF2B5EF4-FFF2-40B4-BE49-F238E27FC236}">
                    <a16:creationId xmlns:a16="http://schemas.microsoft.com/office/drawing/2014/main" id="{4303DCD2-013E-4815-9300-2D4CE95B10E7}"/>
                  </a:ext>
                </a:extLst>
              </p:cNvPr>
              <p:cNvSpPr/>
              <p:nvPr/>
            </p:nvSpPr>
            <p:spPr>
              <a:xfrm>
                <a:off x="4779454" y="5171570"/>
                <a:ext cx="136659" cy="208129"/>
              </a:xfrm>
              <a:custGeom>
                <a:avLst/>
                <a:gdLst>
                  <a:gd name="connsiteX0" fmla="*/ 136659 w 136659"/>
                  <a:gd name="connsiteY0" fmla="*/ 1675 h 208129"/>
                  <a:gd name="connsiteX1" fmla="*/ 2572 w 136659"/>
                  <a:gd name="connsiteY1" fmla="*/ 208129 h 208129"/>
                  <a:gd name="connsiteX2" fmla="*/ 0 w 136659"/>
                  <a:gd name="connsiteY2" fmla="*/ 206455 h 208129"/>
                  <a:gd name="connsiteX3" fmla="*/ 134148 w 136659"/>
                  <a:gd name="connsiteY3" fmla="*/ 0 h 208129"/>
                </a:gdLst>
                <a:ahLst/>
                <a:cxnLst>
                  <a:cxn ang="0">
                    <a:pos x="connsiteX0" y="connsiteY0"/>
                  </a:cxn>
                  <a:cxn ang="0">
                    <a:pos x="connsiteX1" y="connsiteY1"/>
                  </a:cxn>
                  <a:cxn ang="0">
                    <a:pos x="connsiteX2" y="connsiteY2"/>
                  </a:cxn>
                  <a:cxn ang="0">
                    <a:pos x="connsiteX3" y="connsiteY3"/>
                  </a:cxn>
                </a:cxnLst>
                <a:rect l="l" t="t" r="r" b="b"/>
                <a:pathLst>
                  <a:path w="136659" h="208129">
                    <a:moveTo>
                      <a:pt x="136659" y="1675"/>
                    </a:moveTo>
                    <a:lnTo>
                      <a:pt x="2572" y="208129"/>
                    </a:lnTo>
                    <a:lnTo>
                      <a:pt x="0" y="206455"/>
                    </a:lnTo>
                    <a:lnTo>
                      <a:pt x="134148" y="0"/>
                    </a:lnTo>
                    <a:close/>
                  </a:path>
                </a:pathLst>
              </a:custGeom>
              <a:grpFill/>
              <a:ln w="5978" cap="flat">
                <a:noFill/>
                <a:prstDash val="solid"/>
                <a:miter/>
              </a:ln>
            </p:spPr>
            <p:txBody>
              <a:bodyPr rtlCol="0" anchor="ctr"/>
              <a:lstStyle/>
              <a:p>
                <a:endParaRPr lang="en-GB"/>
              </a:p>
            </p:txBody>
          </p:sp>
          <p:sp>
            <p:nvSpPr>
              <p:cNvPr id="1857" name="Vrije vorm: vorm 1856">
                <a:extLst>
                  <a:ext uri="{FF2B5EF4-FFF2-40B4-BE49-F238E27FC236}">
                    <a16:creationId xmlns:a16="http://schemas.microsoft.com/office/drawing/2014/main" id="{E546A011-F945-4F16-9BA3-ED755B156911}"/>
                  </a:ext>
                </a:extLst>
              </p:cNvPr>
              <p:cNvSpPr/>
              <p:nvPr/>
            </p:nvSpPr>
            <p:spPr>
              <a:xfrm>
                <a:off x="4771815" y="5369265"/>
                <a:ext cx="18327" cy="18416"/>
              </a:xfrm>
              <a:custGeom>
                <a:avLst/>
                <a:gdLst>
                  <a:gd name="connsiteX0" fmla="*/ 16849 w 18327"/>
                  <a:gd name="connsiteY0" fmla="*/ 14262 h 18416"/>
                  <a:gd name="connsiteX1" fmla="*/ 4170 w 18327"/>
                  <a:gd name="connsiteY1" fmla="*/ 16893 h 18416"/>
                  <a:gd name="connsiteX2" fmla="*/ 1478 w 18327"/>
                  <a:gd name="connsiteY2" fmla="*/ 4154 h 18416"/>
                  <a:gd name="connsiteX3" fmla="*/ 14158 w 18327"/>
                  <a:gd name="connsiteY3" fmla="*/ 152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4098" y="18508"/>
                      <a:pt x="8416" y="19704"/>
                      <a:pt x="4170" y="16893"/>
                    </a:cubicBezTo>
                    <a:cubicBezTo>
                      <a:pt x="-76" y="14082"/>
                      <a:pt x="-1273" y="8401"/>
                      <a:pt x="1478" y="4154"/>
                    </a:cubicBezTo>
                    <a:cubicBezTo>
                      <a:pt x="4230" y="-92"/>
                      <a:pt x="9911" y="-1288"/>
                      <a:pt x="14158" y="1523"/>
                    </a:cubicBezTo>
                    <a:cubicBezTo>
                      <a:pt x="18404" y="4274"/>
                      <a:pt x="19600" y="10015"/>
                      <a:pt x="16849" y="14262"/>
                    </a:cubicBezTo>
                    <a:close/>
                  </a:path>
                </a:pathLst>
              </a:custGeom>
              <a:grpFill/>
              <a:ln w="5978" cap="flat">
                <a:noFill/>
                <a:prstDash val="solid"/>
                <a:miter/>
              </a:ln>
            </p:spPr>
            <p:txBody>
              <a:bodyPr rtlCol="0" anchor="ctr"/>
              <a:lstStyle/>
              <a:p>
                <a:endParaRPr lang="en-GB"/>
              </a:p>
            </p:txBody>
          </p:sp>
          <p:sp>
            <p:nvSpPr>
              <p:cNvPr id="1858" name="Vrije vorm: vorm 1857">
                <a:extLst>
                  <a:ext uri="{FF2B5EF4-FFF2-40B4-BE49-F238E27FC236}">
                    <a16:creationId xmlns:a16="http://schemas.microsoft.com/office/drawing/2014/main" id="{AFDD858E-1049-4D88-B4F6-BBCCAD82C54D}"/>
                  </a:ext>
                </a:extLst>
              </p:cNvPr>
              <p:cNvSpPr/>
              <p:nvPr/>
            </p:nvSpPr>
            <p:spPr>
              <a:xfrm>
                <a:off x="4905424" y="5163588"/>
                <a:ext cx="18327" cy="18416"/>
              </a:xfrm>
              <a:custGeom>
                <a:avLst/>
                <a:gdLst>
                  <a:gd name="connsiteX0" fmla="*/ 16849 w 18327"/>
                  <a:gd name="connsiteY0" fmla="*/ 14262 h 18416"/>
                  <a:gd name="connsiteX1" fmla="*/ 14158 w 18327"/>
                  <a:gd name="connsiteY1" fmla="*/ 1523 h 18416"/>
                  <a:gd name="connsiteX2" fmla="*/ 1479 w 18327"/>
                  <a:gd name="connsiteY2" fmla="*/ 4154 h 18416"/>
                  <a:gd name="connsiteX3" fmla="*/ 4170 w 18327"/>
                  <a:gd name="connsiteY3" fmla="*/ 16893 h 18416"/>
                  <a:gd name="connsiteX4" fmla="*/ 16849 w 18327"/>
                  <a:gd name="connsiteY4" fmla="*/ 14262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16">
                    <a:moveTo>
                      <a:pt x="16849" y="14262"/>
                    </a:moveTo>
                    <a:cubicBezTo>
                      <a:pt x="19600" y="10016"/>
                      <a:pt x="18404" y="4274"/>
                      <a:pt x="14158" y="1523"/>
                    </a:cubicBezTo>
                    <a:cubicBezTo>
                      <a:pt x="9911" y="-1288"/>
                      <a:pt x="4230" y="-92"/>
                      <a:pt x="1479" y="4154"/>
                    </a:cubicBezTo>
                    <a:cubicBezTo>
                      <a:pt x="-1273" y="8401"/>
                      <a:pt x="-76" y="14142"/>
                      <a:pt x="4170" y="16893"/>
                    </a:cubicBezTo>
                    <a:cubicBezTo>
                      <a:pt x="8416" y="19705"/>
                      <a:pt x="14098" y="18508"/>
                      <a:pt x="16849" y="14262"/>
                    </a:cubicBezTo>
                    <a:close/>
                  </a:path>
                </a:pathLst>
              </a:custGeom>
              <a:grpFill/>
              <a:ln w="5978" cap="flat">
                <a:noFill/>
                <a:prstDash val="solid"/>
                <a:miter/>
              </a:ln>
            </p:spPr>
            <p:txBody>
              <a:bodyPr rtlCol="0" anchor="ctr"/>
              <a:lstStyle/>
              <a:p>
                <a:endParaRPr lang="en-GB"/>
              </a:p>
            </p:txBody>
          </p:sp>
        </p:grpSp>
        <p:grpSp>
          <p:nvGrpSpPr>
            <p:cNvPr id="1183" name="Graphic 3">
              <a:extLst>
                <a:ext uri="{FF2B5EF4-FFF2-40B4-BE49-F238E27FC236}">
                  <a16:creationId xmlns:a16="http://schemas.microsoft.com/office/drawing/2014/main" id="{4EAF7C25-1D86-45E9-86FE-EB591FEA876C}"/>
                </a:ext>
              </a:extLst>
            </p:cNvPr>
            <p:cNvGrpSpPr/>
            <p:nvPr/>
          </p:nvGrpSpPr>
          <p:grpSpPr>
            <a:xfrm>
              <a:off x="4399949" y="4167739"/>
              <a:ext cx="169908" cy="95445"/>
              <a:chOff x="4399949" y="4167739"/>
              <a:chExt cx="169908" cy="95445"/>
            </a:xfrm>
            <a:grpFill/>
          </p:grpSpPr>
          <p:sp>
            <p:nvSpPr>
              <p:cNvPr id="1853" name="Vrije vorm: vorm 1852">
                <a:extLst>
                  <a:ext uri="{FF2B5EF4-FFF2-40B4-BE49-F238E27FC236}">
                    <a16:creationId xmlns:a16="http://schemas.microsoft.com/office/drawing/2014/main" id="{2B17E944-59E3-44AC-8DE4-A6D5AE898AC3}"/>
                  </a:ext>
                </a:extLst>
              </p:cNvPr>
              <p:cNvSpPr/>
              <p:nvPr/>
            </p:nvSpPr>
            <p:spPr>
              <a:xfrm>
                <a:off x="4407991" y="4175361"/>
                <a:ext cx="153824" cy="80201"/>
              </a:xfrm>
              <a:custGeom>
                <a:avLst/>
                <a:gdLst>
                  <a:gd name="connsiteX0" fmla="*/ 153824 w 153824"/>
                  <a:gd name="connsiteY0" fmla="*/ 2751 h 80201"/>
                  <a:gd name="connsiteX1" fmla="*/ 1375 w 153824"/>
                  <a:gd name="connsiteY1" fmla="*/ 80202 h 80201"/>
                  <a:gd name="connsiteX2" fmla="*/ 0 w 153824"/>
                  <a:gd name="connsiteY2" fmla="*/ 77450 h 80201"/>
                  <a:gd name="connsiteX3" fmla="*/ 152389 w 153824"/>
                  <a:gd name="connsiteY3" fmla="*/ 0 h 80201"/>
                </a:gdLst>
                <a:ahLst/>
                <a:cxnLst>
                  <a:cxn ang="0">
                    <a:pos x="connsiteX0" y="connsiteY0"/>
                  </a:cxn>
                  <a:cxn ang="0">
                    <a:pos x="connsiteX1" y="connsiteY1"/>
                  </a:cxn>
                  <a:cxn ang="0">
                    <a:pos x="connsiteX2" y="connsiteY2"/>
                  </a:cxn>
                  <a:cxn ang="0">
                    <a:pos x="connsiteX3" y="connsiteY3"/>
                  </a:cxn>
                </a:cxnLst>
                <a:rect l="l" t="t" r="r" b="b"/>
                <a:pathLst>
                  <a:path w="153824" h="80201">
                    <a:moveTo>
                      <a:pt x="153824" y="2751"/>
                    </a:moveTo>
                    <a:lnTo>
                      <a:pt x="1375" y="80202"/>
                    </a:lnTo>
                    <a:lnTo>
                      <a:pt x="0" y="77450"/>
                    </a:lnTo>
                    <a:lnTo>
                      <a:pt x="152389" y="0"/>
                    </a:lnTo>
                    <a:close/>
                  </a:path>
                </a:pathLst>
              </a:custGeom>
              <a:grpFill/>
              <a:ln w="5978" cap="flat">
                <a:noFill/>
                <a:prstDash val="solid"/>
                <a:miter/>
              </a:ln>
            </p:spPr>
            <p:txBody>
              <a:bodyPr rtlCol="0" anchor="ctr"/>
              <a:lstStyle/>
              <a:p>
                <a:endParaRPr lang="en-GB"/>
              </a:p>
            </p:txBody>
          </p:sp>
          <p:sp>
            <p:nvSpPr>
              <p:cNvPr id="1854" name="Vrije vorm: vorm 1853">
                <a:extLst>
                  <a:ext uri="{FF2B5EF4-FFF2-40B4-BE49-F238E27FC236}">
                    <a16:creationId xmlns:a16="http://schemas.microsoft.com/office/drawing/2014/main" id="{FB1FEDAD-C105-4457-B6CC-A9840DED8501}"/>
                  </a:ext>
                </a:extLst>
              </p:cNvPr>
              <p:cNvSpPr/>
              <p:nvPr/>
            </p:nvSpPr>
            <p:spPr>
              <a:xfrm>
                <a:off x="4399949" y="4244771"/>
                <a:ext cx="18297" cy="18413"/>
              </a:xfrm>
              <a:custGeom>
                <a:avLst/>
                <a:gdLst>
                  <a:gd name="connsiteX0" fmla="*/ 13305 w 18297"/>
                  <a:gd name="connsiteY0" fmla="*/ 17430 h 18413"/>
                  <a:gd name="connsiteX1" fmla="*/ 985 w 18297"/>
                  <a:gd name="connsiteY1" fmla="*/ 13364 h 18413"/>
                  <a:gd name="connsiteX2" fmla="*/ 4992 w 18297"/>
                  <a:gd name="connsiteY2" fmla="*/ 983 h 18413"/>
                  <a:gd name="connsiteX3" fmla="*/ 17312 w 18297"/>
                  <a:gd name="connsiteY3" fmla="*/ 5050 h 18413"/>
                  <a:gd name="connsiteX4" fmla="*/ 13305 w 18297"/>
                  <a:gd name="connsiteY4" fmla="*/ 17430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3305" y="17430"/>
                    </a:moveTo>
                    <a:cubicBezTo>
                      <a:pt x="8820" y="19703"/>
                      <a:pt x="3258" y="17909"/>
                      <a:pt x="985" y="13364"/>
                    </a:cubicBezTo>
                    <a:cubicBezTo>
                      <a:pt x="-1288" y="8818"/>
                      <a:pt x="506" y="3256"/>
                      <a:pt x="4992" y="983"/>
                    </a:cubicBezTo>
                    <a:cubicBezTo>
                      <a:pt x="9477" y="-1289"/>
                      <a:pt x="15039" y="505"/>
                      <a:pt x="17312" y="5050"/>
                    </a:cubicBezTo>
                    <a:cubicBezTo>
                      <a:pt x="19585" y="9596"/>
                      <a:pt x="17791" y="15158"/>
                      <a:pt x="13305" y="17430"/>
                    </a:cubicBezTo>
                    <a:close/>
                  </a:path>
                </a:pathLst>
              </a:custGeom>
              <a:grpFill/>
              <a:ln w="5978" cap="flat">
                <a:noFill/>
                <a:prstDash val="solid"/>
                <a:miter/>
              </a:ln>
            </p:spPr>
            <p:txBody>
              <a:bodyPr rtlCol="0" anchor="ctr"/>
              <a:lstStyle/>
              <a:p>
                <a:endParaRPr lang="en-GB"/>
              </a:p>
            </p:txBody>
          </p:sp>
          <p:sp>
            <p:nvSpPr>
              <p:cNvPr id="1855" name="Vrije vorm: vorm 1854">
                <a:extLst>
                  <a:ext uri="{FF2B5EF4-FFF2-40B4-BE49-F238E27FC236}">
                    <a16:creationId xmlns:a16="http://schemas.microsoft.com/office/drawing/2014/main" id="{A9ADFC09-2A96-4430-8673-EDBFEBA78D09}"/>
                  </a:ext>
                </a:extLst>
              </p:cNvPr>
              <p:cNvSpPr/>
              <p:nvPr/>
            </p:nvSpPr>
            <p:spPr>
              <a:xfrm>
                <a:off x="4551560" y="4167739"/>
                <a:ext cx="18297" cy="18402"/>
              </a:xfrm>
              <a:custGeom>
                <a:avLst/>
                <a:gdLst>
                  <a:gd name="connsiteX0" fmla="*/ 13305 w 18297"/>
                  <a:gd name="connsiteY0" fmla="*/ 17430 h 18402"/>
                  <a:gd name="connsiteX1" fmla="*/ 17312 w 18297"/>
                  <a:gd name="connsiteY1" fmla="*/ 5050 h 18402"/>
                  <a:gd name="connsiteX2" fmla="*/ 4992 w 18297"/>
                  <a:gd name="connsiteY2" fmla="*/ 983 h 18402"/>
                  <a:gd name="connsiteX3" fmla="*/ 985 w 18297"/>
                  <a:gd name="connsiteY3" fmla="*/ 13364 h 18402"/>
                  <a:gd name="connsiteX4" fmla="*/ 13305 w 18297"/>
                  <a:gd name="connsiteY4" fmla="*/ 17430 h 1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02">
                    <a:moveTo>
                      <a:pt x="13305" y="17430"/>
                    </a:moveTo>
                    <a:cubicBezTo>
                      <a:pt x="17791" y="15158"/>
                      <a:pt x="19585" y="9596"/>
                      <a:pt x="17312" y="5050"/>
                    </a:cubicBezTo>
                    <a:cubicBezTo>
                      <a:pt x="15039" y="505"/>
                      <a:pt x="9477" y="-1289"/>
                      <a:pt x="4992" y="983"/>
                    </a:cubicBezTo>
                    <a:cubicBezTo>
                      <a:pt x="506" y="3256"/>
                      <a:pt x="-1288" y="8818"/>
                      <a:pt x="985" y="13364"/>
                    </a:cubicBezTo>
                    <a:cubicBezTo>
                      <a:pt x="3258" y="17849"/>
                      <a:pt x="8760" y="19703"/>
                      <a:pt x="13305" y="17430"/>
                    </a:cubicBezTo>
                    <a:close/>
                  </a:path>
                </a:pathLst>
              </a:custGeom>
              <a:grpFill/>
              <a:ln w="5978" cap="flat">
                <a:noFill/>
                <a:prstDash val="solid"/>
                <a:miter/>
              </a:ln>
            </p:spPr>
            <p:txBody>
              <a:bodyPr rtlCol="0" anchor="ctr"/>
              <a:lstStyle/>
              <a:p>
                <a:endParaRPr lang="en-GB"/>
              </a:p>
            </p:txBody>
          </p:sp>
        </p:grpSp>
        <p:grpSp>
          <p:nvGrpSpPr>
            <p:cNvPr id="1184" name="Graphic 3">
              <a:extLst>
                <a:ext uri="{FF2B5EF4-FFF2-40B4-BE49-F238E27FC236}">
                  <a16:creationId xmlns:a16="http://schemas.microsoft.com/office/drawing/2014/main" id="{6B9245F0-3734-44B2-8391-20690223722F}"/>
                </a:ext>
              </a:extLst>
            </p:cNvPr>
            <p:cNvGrpSpPr/>
            <p:nvPr/>
          </p:nvGrpSpPr>
          <p:grpSpPr>
            <a:xfrm>
              <a:off x="3876253" y="2829025"/>
              <a:ext cx="318994" cy="98653"/>
              <a:chOff x="3876253" y="2829025"/>
              <a:chExt cx="318994" cy="98653"/>
            </a:xfrm>
            <a:grpFill/>
          </p:grpSpPr>
          <p:sp>
            <p:nvSpPr>
              <p:cNvPr id="1850" name="Vrije vorm: vorm 1849">
                <a:extLst>
                  <a:ext uri="{FF2B5EF4-FFF2-40B4-BE49-F238E27FC236}">
                    <a16:creationId xmlns:a16="http://schemas.microsoft.com/office/drawing/2014/main" id="{883B58AD-D953-426D-B645-7224ACFE91B6}"/>
                  </a:ext>
                </a:extLst>
              </p:cNvPr>
              <p:cNvSpPr/>
              <p:nvPr/>
            </p:nvSpPr>
            <p:spPr>
              <a:xfrm>
                <a:off x="3884618" y="2836636"/>
                <a:ext cx="302325" cy="83371"/>
              </a:xfrm>
              <a:custGeom>
                <a:avLst/>
                <a:gdLst>
                  <a:gd name="connsiteX0" fmla="*/ 302325 w 302325"/>
                  <a:gd name="connsiteY0" fmla="*/ 80441 h 83371"/>
                  <a:gd name="connsiteX1" fmla="*/ 301548 w 302325"/>
                  <a:gd name="connsiteY1" fmla="*/ 83371 h 83371"/>
                  <a:gd name="connsiteX2" fmla="*/ 0 w 302325"/>
                  <a:gd name="connsiteY2" fmla="*/ 2931 h 83371"/>
                  <a:gd name="connsiteX3" fmla="*/ 718 w 302325"/>
                  <a:gd name="connsiteY3" fmla="*/ 0 h 83371"/>
                </a:gdLst>
                <a:ahLst/>
                <a:cxnLst>
                  <a:cxn ang="0">
                    <a:pos x="connsiteX0" y="connsiteY0"/>
                  </a:cxn>
                  <a:cxn ang="0">
                    <a:pos x="connsiteX1" y="connsiteY1"/>
                  </a:cxn>
                  <a:cxn ang="0">
                    <a:pos x="connsiteX2" y="connsiteY2"/>
                  </a:cxn>
                  <a:cxn ang="0">
                    <a:pos x="connsiteX3" y="connsiteY3"/>
                  </a:cxn>
                </a:cxnLst>
                <a:rect l="l" t="t" r="r" b="b"/>
                <a:pathLst>
                  <a:path w="302325" h="83371">
                    <a:moveTo>
                      <a:pt x="302325" y="80441"/>
                    </a:moveTo>
                    <a:lnTo>
                      <a:pt x="301548" y="83371"/>
                    </a:lnTo>
                    <a:lnTo>
                      <a:pt x="0" y="2931"/>
                    </a:lnTo>
                    <a:lnTo>
                      <a:pt x="718" y="0"/>
                    </a:lnTo>
                    <a:close/>
                  </a:path>
                </a:pathLst>
              </a:custGeom>
              <a:grpFill/>
              <a:ln w="5978" cap="flat">
                <a:noFill/>
                <a:prstDash val="solid"/>
                <a:miter/>
              </a:ln>
            </p:spPr>
            <p:txBody>
              <a:bodyPr rtlCol="0" anchor="ctr"/>
              <a:lstStyle/>
              <a:p>
                <a:endParaRPr lang="en-GB"/>
              </a:p>
            </p:txBody>
          </p:sp>
          <p:sp>
            <p:nvSpPr>
              <p:cNvPr id="1851" name="Vrije vorm: vorm 1850">
                <a:extLst>
                  <a:ext uri="{FF2B5EF4-FFF2-40B4-BE49-F238E27FC236}">
                    <a16:creationId xmlns:a16="http://schemas.microsoft.com/office/drawing/2014/main" id="{73479935-BE10-47F5-8EFE-4D3AF416CE3A}"/>
                  </a:ext>
                </a:extLst>
              </p:cNvPr>
              <p:cNvSpPr/>
              <p:nvPr/>
            </p:nvSpPr>
            <p:spPr>
              <a:xfrm>
                <a:off x="3876253" y="2829025"/>
                <a:ext cx="18343" cy="18392"/>
              </a:xfrm>
              <a:custGeom>
                <a:avLst/>
                <a:gdLst>
                  <a:gd name="connsiteX0" fmla="*/ 6869 w 18343"/>
                  <a:gd name="connsiteY0" fmla="*/ 18078 h 18392"/>
                  <a:gd name="connsiteX1" fmla="*/ 290 w 18343"/>
                  <a:gd name="connsiteY1" fmla="*/ 6834 h 18392"/>
                  <a:gd name="connsiteX2" fmla="*/ 11475 w 18343"/>
                  <a:gd name="connsiteY2" fmla="*/ 315 h 18392"/>
                  <a:gd name="connsiteX3" fmla="*/ 18053 w 18343"/>
                  <a:gd name="connsiteY3" fmla="*/ 11559 h 18392"/>
                  <a:gd name="connsiteX4" fmla="*/ 6869 w 18343"/>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6869" y="18078"/>
                    </a:moveTo>
                    <a:cubicBezTo>
                      <a:pt x="1965" y="16762"/>
                      <a:pt x="-965" y="11738"/>
                      <a:pt x="290" y="6834"/>
                    </a:cubicBezTo>
                    <a:cubicBezTo>
                      <a:pt x="1547" y="1930"/>
                      <a:pt x="6571" y="-1001"/>
                      <a:pt x="11475" y="315"/>
                    </a:cubicBezTo>
                    <a:cubicBezTo>
                      <a:pt x="16379" y="1631"/>
                      <a:pt x="19309" y="6654"/>
                      <a:pt x="18053" y="11559"/>
                    </a:cubicBezTo>
                    <a:cubicBezTo>
                      <a:pt x="16737" y="16463"/>
                      <a:pt x="11774" y="19393"/>
                      <a:pt x="6869" y="18078"/>
                    </a:cubicBezTo>
                    <a:close/>
                  </a:path>
                </a:pathLst>
              </a:custGeom>
              <a:grpFill/>
              <a:ln w="5978" cap="flat">
                <a:noFill/>
                <a:prstDash val="solid"/>
                <a:miter/>
              </a:ln>
            </p:spPr>
            <p:txBody>
              <a:bodyPr rtlCol="0" anchor="ctr"/>
              <a:lstStyle/>
              <a:p>
                <a:endParaRPr lang="en-GB"/>
              </a:p>
            </p:txBody>
          </p:sp>
          <p:sp>
            <p:nvSpPr>
              <p:cNvPr id="1852" name="Vrije vorm: vorm 1851">
                <a:extLst>
                  <a:ext uri="{FF2B5EF4-FFF2-40B4-BE49-F238E27FC236}">
                    <a16:creationId xmlns:a16="http://schemas.microsoft.com/office/drawing/2014/main" id="{64A94667-A336-4A61-8FD4-8FA989B082A0}"/>
                  </a:ext>
                </a:extLst>
              </p:cNvPr>
              <p:cNvSpPr/>
              <p:nvPr/>
            </p:nvSpPr>
            <p:spPr>
              <a:xfrm>
                <a:off x="4176904" y="2909287"/>
                <a:ext cx="18343" cy="18392"/>
              </a:xfrm>
              <a:custGeom>
                <a:avLst/>
                <a:gdLst>
                  <a:gd name="connsiteX0" fmla="*/ 6869 w 18343"/>
                  <a:gd name="connsiteY0" fmla="*/ 18078 h 18392"/>
                  <a:gd name="connsiteX1" fmla="*/ 18053 w 18343"/>
                  <a:gd name="connsiteY1" fmla="*/ 11559 h 18392"/>
                  <a:gd name="connsiteX2" fmla="*/ 11474 w 18343"/>
                  <a:gd name="connsiteY2" fmla="*/ 315 h 18392"/>
                  <a:gd name="connsiteX3" fmla="*/ 290 w 18343"/>
                  <a:gd name="connsiteY3" fmla="*/ 6834 h 18392"/>
                  <a:gd name="connsiteX4" fmla="*/ 6869 w 18343"/>
                  <a:gd name="connsiteY4" fmla="*/ 18078 h 1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2">
                    <a:moveTo>
                      <a:pt x="6869" y="18078"/>
                    </a:moveTo>
                    <a:cubicBezTo>
                      <a:pt x="11773" y="19393"/>
                      <a:pt x="16797" y="16463"/>
                      <a:pt x="18053" y="11559"/>
                    </a:cubicBezTo>
                    <a:cubicBezTo>
                      <a:pt x="19309" y="6654"/>
                      <a:pt x="16379" y="1571"/>
                      <a:pt x="11474" y="315"/>
                    </a:cubicBezTo>
                    <a:cubicBezTo>
                      <a:pt x="6570" y="-1001"/>
                      <a:pt x="1547" y="1930"/>
                      <a:pt x="290" y="6834"/>
                    </a:cubicBezTo>
                    <a:cubicBezTo>
                      <a:pt x="-965" y="11678"/>
                      <a:pt x="1965" y="16762"/>
                      <a:pt x="6869" y="18078"/>
                    </a:cubicBezTo>
                    <a:close/>
                  </a:path>
                </a:pathLst>
              </a:custGeom>
              <a:grpFill/>
              <a:ln w="5978" cap="flat">
                <a:noFill/>
                <a:prstDash val="solid"/>
                <a:miter/>
              </a:ln>
            </p:spPr>
            <p:txBody>
              <a:bodyPr rtlCol="0" anchor="ctr"/>
              <a:lstStyle/>
              <a:p>
                <a:endParaRPr lang="en-GB"/>
              </a:p>
            </p:txBody>
          </p:sp>
        </p:grpSp>
        <p:grpSp>
          <p:nvGrpSpPr>
            <p:cNvPr id="1185" name="Graphic 3">
              <a:extLst>
                <a:ext uri="{FF2B5EF4-FFF2-40B4-BE49-F238E27FC236}">
                  <a16:creationId xmlns:a16="http://schemas.microsoft.com/office/drawing/2014/main" id="{969F94E6-FA2C-41C8-BC91-14930E2FF257}"/>
                </a:ext>
              </a:extLst>
            </p:cNvPr>
            <p:cNvGrpSpPr/>
            <p:nvPr/>
          </p:nvGrpSpPr>
          <p:grpSpPr>
            <a:xfrm>
              <a:off x="4167381" y="3599604"/>
              <a:ext cx="219921" cy="41504"/>
              <a:chOff x="4167381" y="3599604"/>
              <a:chExt cx="219921" cy="41504"/>
            </a:xfrm>
            <a:grpFill/>
          </p:grpSpPr>
          <p:sp>
            <p:nvSpPr>
              <p:cNvPr id="1847" name="Vrije vorm: vorm 1846">
                <a:extLst>
                  <a:ext uri="{FF2B5EF4-FFF2-40B4-BE49-F238E27FC236}">
                    <a16:creationId xmlns:a16="http://schemas.microsoft.com/office/drawing/2014/main" id="{DD50133B-4A89-4B0E-99DF-7DC50EE2CDE2}"/>
                  </a:ext>
                </a:extLst>
              </p:cNvPr>
              <p:cNvSpPr/>
              <p:nvPr/>
            </p:nvSpPr>
            <p:spPr>
              <a:xfrm>
                <a:off x="4175879" y="3607252"/>
                <a:ext cx="202925" cy="26195"/>
              </a:xfrm>
              <a:custGeom>
                <a:avLst/>
                <a:gdLst>
                  <a:gd name="connsiteX0" fmla="*/ 202567 w 202925"/>
                  <a:gd name="connsiteY0" fmla="*/ 0 h 26195"/>
                  <a:gd name="connsiteX1" fmla="*/ 202926 w 202925"/>
                  <a:gd name="connsiteY1" fmla="*/ 3050 h 26195"/>
                  <a:gd name="connsiteX2" fmla="*/ 359 w 202925"/>
                  <a:gd name="connsiteY2" fmla="*/ 26196 h 26195"/>
                  <a:gd name="connsiteX3" fmla="*/ 0 w 202925"/>
                  <a:gd name="connsiteY3" fmla="*/ 23145 h 26195"/>
                </a:gdLst>
                <a:ahLst/>
                <a:cxnLst>
                  <a:cxn ang="0">
                    <a:pos x="connsiteX0" y="connsiteY0"/>
                  </a:cxn>
                  <a:cxn ang="0">
                    <a:pos x="connsiteX1" y="connsiteY1"/>
                  </a:cxn>
                  <a:cxn ang="0">
                    <a:pos x="connsiteX2" y="connsiteY2"/>
                  </a:cxn>
                  <a:cxn ang="0">
                    <a:pos x="connsiteX3" y="connsiteY3"/>
                  </a:cxn>
                </a:cxnLst>
                <a:rect l="l" t="t" r="r" b="b"/>
                <a:pathLst>
                  <a:path w="202925" h="26195">
                    <a:moveTo>
                      <a:pt x="202567" y="0"/>
                    </a:moveTo>
                    <a:lnTo>
                      <a:pt x="202926" y="3050"/>
                    </a:lnTo>
                    <a:lnTo>
                      <a:pt x="359" y="26196"/>
                    </a:lnTo>
                    <a:lnTo>
                      <a:pt x="0" y="23145"/>
                    </a:lnTo>
                    <a:close/>
                  </a:path>
                </a:pathLst>
              </a:custGeom>
              <a:grpFill/>
              <a:ln w="5978" cap="flat">
                <a:noFill/>
                <a:prstDash val="solid"/>
                <a:miter/>
              </a:ln>
            </p:spPr>
            <p:txBody>
              <a:bodyPr rtlCol="0" anchor="ctr"/>
              <a:lstStyle/>
              <a:p>
                <a:endParaRPr lang="en-GB"/>
              </a:p>
            </p:txBody>
          </p:sp>
          <p:sp>
            <p:nvSpPr>
              <p:cNvPr id="1848" name="Vrije vorm: vorm 1847">
                <a:extLst>
                  <a:ext uri="{FF2B5EF4-FFF2-40B4-BE49-F238E27FC236}">
                    <a16:creationId xmlns:a16="http://schemas.microsoft.com/office/drawing/2014/main" id="{849AE9E5-B024-4465-8D9B-A476F9201D9A}"/>
                  </a:ext>
                </a:extLst>
              </p:cNvPr>
              <p:cNvSpPr/>
              <p:nvPr/>
            </p:nvSpPr>
            <p:spPr>
              <a:xfrm>
                <a:off x="4167381" y="3622678"/>
                <a:ext cx="18311" cy="18429"/>
              </a:xfrm>
              <a:custGeom>
                <a:avLst/>
                <a:gdLst>
                  <a:gd name="connsiteX0" fmla="*/ 10232 w 18311"/>
                  <a:gd name="connsiteY0" fmla="*/ 18365 h 18429"/>
                  <a:gd name="connsiteX1" fmla="*/ 65 w 18311"/>
                  <a:gd name="connsiteY1" fmla="*/ 10231 h 18429"/>
                  <a:gd name="connsiteX2" fmla="*/ 8079 w 18311"/>
                  <a:gd name="connsiteY2" fmla="*/ 64 h 18429"/>
                  <a:gd name="connsiteX3" fmla="*/ 18247 w 18311"/>
                  <a:gd name="connsiteY3" fmla="*/ 8198 h 18429"/>
                  <a:gd name="connsiteX4" fmla="*/ 10232 w 18311"/>
                  <a:gd name="connsiteY4" fmla="*/ 1836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9">
                    <a:moveTo>
                      <a:pt x="10232" y="18365"/>
                    </a:moveTo>
                    <a:cubicBezTo>
                      <a:pt x="5208" y="18963"/>
                      <a:pt x="663" y="15315"/>
                      <a:pt x="65" y="10231"/>
                    </a:cubicBezTo>
                    <a:cubicBezTo>
                      <a:pt x="-533" y="5148"/>
                      <a:pt x="3055" y="602"/>
                      <a:pt x="8079" y="64"/>
                    </a:cubicBezTo>
                    <a:cubicBezTo>
                      <a:pt x="13103" y="-534"/>
                      <a:pt x="17648" y="3114"/>
                      <a:pt x="18247" y="8198"/>
                    </a:cubicBezTo>
                    <a:cubicBezTo>
                      <a:pt x="18845" y="13222"/>
                      <a:pt x="15256" y="17767"/>
                      <a:pt x="10232" y="18365"/>
                    </a:cubicBezTo>
                    <a:close/>
                  </a:path>
                </a:pathLst>
              </a:custGeom>
              <a:grpFill/>
              <a:ln w="5978" cap="flat">
                <a:noFill/>
                <a:prstDash val="solid"/>
                <a:miter/>
              </a:ln>
            </p:spPr>
            <p:txBody>
              <a:bodyPr rtlCol="0" anchor="ctr"/>
              <a:lstStyle/>
              <a:p>
                <a:endParaRPr lang="en-GB"/>
              </a:p>
            </p:txBody>
          </p:sp>
          <p:sp>
            <p:nvSpPr>
              <p:cNvPr id="1849" name="Vrije vorm: vorm 1848">
                <a:extLst>
                  <a:ext uri="{FF2B5EF4-FFF2-40B4-BE49-F238E27FC236}">
                    <a16:creationId xmlns:a16="http://schemas.microsoft.com/office/drawing/2014/main" id="{3D58D110-2C08-4C82-A877-BC932C9EC613}"/>
                  </a:ext>
                </a:extLst>
              </p:cNvPr>
              <p:cNvSpPr/>
              <p:nvPr/>
            </p:nvSpPr>
            <p:spPr>
              <a:xfrm>
                <a:off x="4368991" y="3599604"/>
                <a:ext cx="18311" cy="18418"/>
              </a:xfrm>
              <a:custGeom>
                <a:avLst/>
                <a:gdLst>
                  <a:gd name="connsiteX0" fmla="*/ 10232 w 18311"/>
                  <a:gd name="connsiteY0" fmla="*/ 18354 h 18418"/>
                  <a:gd name="connsiteX1" fmla="*/ 18246 w 18311"/>
                  <a:gd name="connsiteY1" fmla="*/ 8187 h 18418"/>
                  <a:gd name="connsiteX2" fmla="*/ 8079 w 18311"/>
                  <a:gd name="connsiteY2" fmla="*/ 53 h 18418"/>
                  <a:gd name="connsiteX3" fmla="*/ 65 w 18311"/>
                  <a:gd name="connsiteY3" fmla="*/ 10221 h 18418"/>
                  <a:gd name="connsiteX4" fmla="*/ 10232 w 18311"/>
                  <a:gd name="connsiteY4" fmla="*/ 18354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0232" y="18354"/>
                    </a:moveTo>
                    <a:cubicBezTo>
                      <a:pt x="15256" y="17756"/>
                      <a:pt x="18845" y="13211"/>
                      <a:pt x="18246" y="8187"/>
                    </a:cubicBezTo>
                    <a:cubicBezTo>
                      <a:pt x="17648" y="3103"/>
                      <a:pt x="13103" y="-485"/>
                      <a:pt x="8079" y="53"/>
                    </a:cubicBezTo>
                    <a:cubicBezTo>
                      <a:pt x="3056" y="651"/>
                      <a:pt x="-533" y="5197"/>
                      <a:pt x="65" y="10221"/>
                    </a:cubicBezTo>
                    <a:cubicBezTo>
                      <a:pt x="663" y="15304"/>
                      <a:pt x="5208" y="18953"/>
                      <a:pt x="10232" y="18354"/>
                    </a:cubicBezTo>
                    <a:close/>
                  </a:path>
                </a:pathLst>
              </a:custGeom>
              <a:grpFill/>
              <a:ln w="5978" cap="flat">
                <a:noFill/>
                <a:prstDash val="solid"/>
                <a:miter/>
              </a:ln>
            </p:spPr>
            <p:txBody>
              <a:bodyPr rtlCol="0" anchor="ctr"/>
              <a:lstStyle/>
              <a:p>
                <a:endParaRPr lang="en-GB"/>
              </a:p>
            </p:txBody>
          </p:sp>
        </p:grpSp>
        <p:grpSp>
          <p:nvGrpSpPr>
            <p:cNvPr id="1186" name="Graphic 3">
              <a:extLst>
                <a:ext uri="{FF2B5EF4-FFF2-40B4-BE49-F238E27FC236}">
                  <a16:creationId xmlns:a16="http://schemas.microsoft.com/office/drawing/2014/main" id="{AF136CC4-42DE-42D5-82EB-A3A848D8AF85}"/>
                </a:ext>
              </a:extLst>
            </p:cNvPr>
            <p:cNvGrpSpPr/>
            <p:nvPr/>
          </p:nvGrpSpPr>
          <p:grpSpPr>
            <a:xfrm>
              <a:off x="4013976" y="3335231"/>
              <a:ext cx="351916" cy="60548"/>
              <a:chOff x="4013976" y="3335231"/>
              <a:chExt cx="351916" cy="60548"/>
            </a:xfrm>
            <a:grpFill/>
          </p:grpSpPr>
          <p:sp>
            <p:nvSpPr>
              <p:cNvPr id="1844" name="Vrije vorm: vorm 1843">
                <a:extLst>
                  <a:ext uri="{FF2B5EF4-FFF2-40B4-BE49-F238E27FC236}">
                    <a16:creationId xmlns:a16="http://schemas.microsoft.com/office/drawing/2014/main" id="{48D12B2C-1C9A-47C6-98B4-C66A39F96EF0}"/>
                  </a:ext>
                </a:extLst>
              </p:cNvPr>
              <p:cNvSpPr/>
              <p:nvPr/>
            </p:nvSpPr>
            <p:spPr>
              <a:xfrm>
                <a:off x="4022533" y="3342845"/>
                <a:ext cx="334800" cy="45273"/>
              </a:xfrm>
              <a:custGeom>
                <a:avLst/>
                <a:gdLst>
                  <a:gd name="connsiteX0" fmla="*/ 334801 w 334800"/>
                  <a:gd name="connsiteY0" fmla="*/ 42224 h 45273"/>
                  <a:gd name="connsiteX1" fmla="*/ 334442 w 334800"/>
                  <a:gd name="connsiteY1" fmla="*/ 45274 h 45273"/>
                  <a:gd name="connsiteX2" fmla="*/ 0 w 334800"/>
                  <a:gd name="connsiteY2" fmla="*/ 3050 h 45273"/>
                  <a:gd name="connsiteX3" fmla="*/ 359 w 334800"/>
                  <a:gd name="connsiteY3" fmla="*/ 0 h 45273"/>
                </a:gdLst>
                <a:ahLst/>
                <a:cxnLst>
                  <a:cxn ang="0">
                    <a:pos x="connsiteX0" y="connsiteY0"/>
                  </a:cxn>
                  <a:cxn ang="0">
                    <a:pos x="connsiteX1" y="connsiteY1"/>
                  </a:cxn>
                  <a:cxn ang="0">
                    <a:pos x="connsiteX2" y="connsiteY2"/>
                  </a:cxn>
                  <a:cxn ang="0">
                    <a:pos x="connsiteX3" y="connsiteY3"/>
                  </a:cxn>
                </a:cxnLst>
                <a:rect l="l" t="t" r="r" b="b"/>
                <a:pathLst>
                  <a:path w="334800" h="45273">
                    <a:moveTo>
                      <a:pt x="334801" y="42224"/>
                    </a:moveTo>
                    <a:lnTo>
                      <a:pt x="334442" y="45274"/>
                    </a:lnTo>
                    <a:lnTo>
                      <a:pt x="0" y="3050"/>
                    </a:lnTo>
                    <a:lnTo>
                      <a:pt x="359" y="0"/>
                    </a:lnTo>
                    <a:close/>
                  </a:path>
                </a:pathLst>
              </a:custGeom>
              <a:grpFill/>
              <a:ln w="5978" cap="flat">
                <a:noFill/>
                <a:prstDash val="solid"/>
                <a:miter/>
              </a:ln>
            </p:spPr>
            <p:txBody>
              <a:bodyPr rtlCol="0" anchor="ctr"/>
              <a:lstStyle/>
              <a:p>
                <a:endParaRPr lang="en-GB"/>
              </a:p>
            </p:txBody>
          </p:sp>
          <p:sp>
            <p:nvSpPr>
              <p:cNvPr id="1845" name="Vrije vorm: vorm 1844">
                <a:extLst>
                  <a:ext uri="{FF2B5EF4-FFF2-40B4-BE49-F238E27FC236}">
                    <a16:creationId xmlns:a16="http://schemas.microsoft.com/office/drawing/2014/main" id="{04AAF20C-04DE-404A-915F-D37BE8366129}"/>
                  </a:ext>
                </a:extLst>
              </p:cNvPr>
              <p:cNvSpPr/>
              <p:nvPr/>
            </p:nvSpPr>
            <p:spPr>
              <a:xfrm>
                <a:off x="4347520" y="3377336"/>
                <a:ext cx="18371" cy="18443"/>
              </a:xfrm>
              <a:custGeom>
                <a:avLst/>
                <a:gdLst>
                  <a:gd name="connsiteX0" fmla="*/ 10292 w 18371"/>
                  <a:gd name="connsiteY0" fmla="*/ 78 h 18443"/>
                  <a:gd name="connsiteX1" fmla="*/ 18307 w 18371"/>
                  <a:gd name="connsiteY1" fmla="*/ 10365 h 18443"/>
                  <a:gd name="connsiteX2" fmla="*/ 8079 w 18371"/>
                  <a:gd name="connsiteY2" fmla="*/ 18379 h 18443"/>
                  <a:gd name="connsiteX3" fmla="*/ 65 w 18371"/>
                  <a:gd name="connsiteY3" fmla="*/ 8092 h 18443"/>
                  <a:gd name="connsiteX4" fmla="*/ 10292 w 18371"/>
                  <a:gd name="connsiteY4" fmla="*/ 78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43">
                    <a:moveTo>
                      <a:pt x="10292" y="78"/>
                    </a:moveTo>
                    <a:cubicBezTo>
                      <a:pt x="15316" y="736"/>
                      <a:pt x="18905" y="5341"/>
                      <a:pt x="18307" y="10365"/>
                    </a:cubicBezTo>
                    <a:cubicBezTo>
                      <a:pt x="17708" y="15388"/>
                      <a:pt x="13103" y="18977"/>
                      <a:pt x="8079" y="18379"/>
                    </a:cubicBezTo>
                    <a:cubicBezTo>
                      <a:pt x="3055" y="17721"/>
                      <a:pt x="-533" y="13116"/>
                      <a:pt x="65" y="8092"/>
                    </a:cubicBezTo>
                    <a:cubicBezTo>
                      <a:pt x="723" y="3008"/>
                      <a:pt x="5268" y="-580"/>
                      <a:pt x="10292" y="78"/>
                    </a:cubicBezTo>
                    <a:close/>
                  </a:path>
                </a:pathLst>
              </a:custGeom>
              <a:grpFill/>
              <a:ln w="5978" cap="flat">
                <a:noFill/>
                <a:prstDash val="solid"/>
                <a:miter/>
              </a:ln>
            </p:spPr>
            <p:txBody>
              <a:bodyPr rtlCol="0" anchor="ctr"/>
              <a:lstStyle/>
              <a:p>
                <a:endParaRPr lang="en-GB"/>
              </a:p>
            </p:txBody>
          </p:sp>
          <p:sp>
            <p:nvSpPr>
              <p:cNvPr id="1846" name="Vrije vorm: vorm 1845">
                <a:extLst>
                  <a:ext uri="{FF2B5EF4-FFF2-40B4-BE49-F238E27FC236}">
                    <a16:creationId xmlns:a16="http://schemas.microsoft.com/office/drawing/2014/main" id="{B5840756-0F59-44BA-A6AC-4DC9A1A35CA9}"/>
                  </a:ext>
                </a:extLst>
              </p:cNvPr>
              <p:cNvSpPr/>
              <p:nvPr/>
            </p:nvSpPr>
            <p:spPr>
              <a:xfrm>
                <a:off x="4013976" y="3335231"/>
                <a:ext cx="18371" cy="18456"/>
              </a:xfrm>
              <a:custGeom>
                <a:avLst/>
                <a:gdLst>
                  <a:gd name="connsiteX0" fmla="*/ 10292 w 18371"/>
                  <a:gd name="connsiteY0" fmla="*/ 78 h 18456"/>
                  <a:gd name="connsiteX1" fmla="*/ 65 w 18371"/>
                  <a:gd name="connsiteY1" fmla="*/ 8092 h 18456"/>
                  <a:gd name="connsiteX2" fmla="*/ 8079 w 18371"/>
                  <a:gd name="connsiteY2" fmla="*/ 18379 h 18456"/>
                  <a:gd name="connsiteX3" fmla="*/ 18306 w 18371"/>
                  <a:gd name="connsiteY3" fmla="*/ 10365 h 18456"/>
                  <a:gd name="connsiteX4" fmla="*/ 10292 w 18371"/>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1" h="18456">
                    <a:moveTo>
                      <a:pt x="10292" y="78"/>
                    </a:moveTo>
                    <a:cubicBezTo>
                      <a:pt x="5268" y="-580"/>
                      <a:pt x="723" y="3008"/>
                      <a:pt x="65" y="8092"/>
                    </a:cubicBezTo>
                    <a:cubicBezTo>
                      <a:pt x="-533" y="13116"/>
                      <a:pt x="3056" y="17721"/>
                      <a:pt x="8079" y="18379"/>
                    </a:cubicBezTo>
                    <a:cubicBezTo>
                      <a:pt x="13103" y="19037"/>
                      <a:pt x="17648" y="15448"/>
                      <a:pt x="18306" y="10365"/>
                    </a:cubicBezTo>
                    <a:cubicBezTo>
                      <a:pt x="18904" y="5341"/>
                      <a:pt x="15316" y="736"/>
                      <a:pt x="10292" y="78"/>
                    </a:cubicBezTo>
                    <a:close/>
                  </a:path>
                </a:pathLst>
              </a:custGeom>
              <a:grpFill/>
              <a:ln w="5978" cap="flat">
                <a:noFill/>
                <a:prstDash val="solid"/>
                <a:miter/>
              </a:ln>
            </p:spPr>
            <p:txBody>
              <a:bodyPr rtlCol="0" anchor="ctr"/>
              <a:lstStyle/>
              <a:p>
                <a:endParaRPr lang="en-GB"/>
              </a:p>
            </p:txBody>
          </p:sp>
        </p:grpSp>
        <p:grpSp>
          <p:nvGrpSpPr>
            <p:cNvPr id="1187" name="Graphic 3">
              <a:extLst>
                <a:ext uri="{FF2B5EF4-FFF2-40B4-BE49-F238E27FC236}">
                  <a16:creationId xmlns:a16="http://schemas.microsoft.com/office/drawing/2014/main" id="{B5446334-5F98-4CB3-8F88-1C0DD7FB7F6C}"/>
                </a:ext>
              </a:extLst>
            </p:cNvPr>
            <p:cNvGrpSpPr/>
            <p:nvPr/>
          </p:nvGrpSpPr>
          <p:grpSpPr>
            <a:xfrm>
              <a:off x="4158451" y="3553634"/>
              <a:ext cx="204416" cy="33315"/>
              <a:chOff x="4158451" y="3553634"/>
              <a:chExt cx="204416" cy="33315"/>
            </a:xfrm>
            <a:grpFill/>
          </p:grpSpPr>
          <p:sp>
            <p:nvSpPr>
              <p:cNvPr id="1841" name="Vrije vorm: vorm 1840">
                <a:extLst>
                  <a:ext uri="{FF2B5EF4-FFF2-40B4-BE49-F238E27FC236}">
                    <a16:creationId xmlns:a16="http://schemas.microsoft.com/office/drawing/2014/main" id="{8DEB3D24-4415-4B6C-9B91-F20909C595A1}"/>
                  </a:ext>
                </a:extLst>
              </p:cNvPr>
              <p:cNvSpPr/>
              <p:nvPr/>
            </p:nvSpPr>
            <p:spPr>
              <a:xfrm>
                <a:off x="4167027" y="3561321"/>
                <a:ext cx="187256" cy="18001"/>
              </a:xfrm>
              <a:custGeom>
                <a:avLst/>
                <a:gdLst>
                  <a:gd name="connsiteX0" fmla="*/ 187256 w 187256"/>
                  <a:gd name="connsiteY0" fmla="*/ 14952 h 18001"/>
                  <a:gd name="connsiteX1" fmla="*/ 187077 w 187256"/>
                  <a:gd name="connsiteY1" fmla="*/ 18002 h 18001"/>
                  <a:gd name="connsiteX2" fmla="*/ 0 w 187256"/>
                  <a:gd name="connsiteY2" fmla="*/ 3050 h 18001"/>
                  <a:gd name="connsiteX3" fmla="*/ 239 w 187256"/>
                  <a:gd name="connsiteY3" fmla="*/ 0 h 18001"/>
                </a:gdLst>
                <a:ahLst/>
                <a:cxnLst>
                  <a:cxn ang="0">
                    <a:pos x="connsiteX0" y="connsiteY0"/>
                  </a:cxn>
                  <a:cxn ang="0">
                    <a:pos x="connsiteX1" y="connsiteY1"/>
                  </a:cxn>
                  <a:cxn ang="0">
                    <a:pos x="connsiteX2" y="connsiteY2"/>
                  </a:cxn>
                  <a:cxn ang="0">
                    <a:pos x="connsiteX3" y="connsiteY3"/>
                  </a:cxn>
                </a:cxnLst>
                <a:rect l="l" t="t" r="r" b="b"/>
                <a:pathLst>
                  <a:path w="187256" h="18001">
                    <a:moveTo>
                      <a:pt x="187256" y="14952"/>
                    </a:moveTo>
                    <a:lnTo>
                      <a:pt x="187077" y="18002"/>
                    </a:lnTo>
                    <a:lnTo>
                      <a:pt x="0" y="3050"/>
                    </a:lnTo>
                    <a:lnTo>
                      <a:pt x="239" y="0"/>
                    </a:lnTo>
                    <a:close/>
                  </a:path>
                </a:pathLst>
              </a:custGeom>
              <a:grpFill/>
              <a:ln w="5978" cap="flat">
                <a:noFill/>
                <a:prstDash val="solid"/>
                <a:miter/>
              </a:ln>
            </p:spPr>
            <p:txBody>
              <a:bodyPr rtlCol="0" anchor="ctr"/>
              <a:lstStyle/>
              <a:p>
                <a:endParaRPr lang="en-GB"/>
              </a:p>
            </p:txBody>
          </p:sp>
          <p:sp>
            <p:nvSpPr>
              <p:cNvPr id="1842" name="Vrije vorm: vorm 1841">
                <a:extLst>
                  <a:ext uri="{FF2B5EF4-FFF2-40B4-BE49-F238E27FC236}">
                    <a16:creationId xmlns:a16="http://schemas.microsoft.com/office/drawing/2014/main" id="{03307F03-D522-4B53-BE43-87536C0E02F5}"/>
                  </a:ext>
                </a:extLst>
              </p:cNvPr>
              <p:cNvSpPr/>
              <p:nvPr/>
            </p:nvSpPr>
            <p:spPr>
              <a:xfrm>
                <a:off x="4344564" y="3568526"/>
                <a:ext cx="18304" cy="18423"/>
              </a:xfrm>
              <a:custGeom>
                <a:avLst/>
                <a:gdLst>
                  <a:gd name="connsiteX0" fmla="*/ 9840 w 18304"/>
                  <a:gd name="connsiteY0" fmla="*/ 31 h 18423"/>
                  <a:gd name="connsiteX1" fmla="*/ 18273 w 18304"/>
                  <a:gd name="connsiteY1" fmla="*/ 9959 h 18423"/>
                  <a:gd name="connsiteX2" fmla="*/ 8464 w 18304"/>
                  <a:gd name="connsiteY2" fmla="*/ 18392 h 18423"/>
                  <a:gd name="connsiteX3" fmla="*/ 31 w 18304"/>
                  <a:gd name="connsiteY3" fmla="*/ 8464 h 18423"/>
                  <a:gd name="connsiteX4" fmla="*/ 9840 w 18304"/>
                  <a:gd name="connsiteY4" fmla="*/ 3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23">
                    <a:moveTo>
                      <a:pt x="9840" y="31"/>
                    </a:moveTo>
                    <a:cubicBezTo>
                      <a:pt x="14864" y="450"/>
                      <a:pt x="18691" y="4876"/>
                      <a:pt x="18273" y="9959"/>
                    </a:cubicBezTo>
                    <a:cubicBezTo>
                      <a:pt x="17914" y="15043"/>
                      <a:pt x="13488" y="18811"/>
                      <a:pt x="8464" y="18392"/>
                    </a:cubicBezTo>
                    <a:cubicBezTo>
                      <a:pt x="3440" y="17974"/>
                      <a:pt x="-387" y="13548"/>
                      <a:pt x="31" y="8464"/>
                    </a:cubicBezTo>
                    <a:cubicBezTo>
                      <a:pt x="390" y="3440"/>
                      <a:pt x="4816" y="-387"/>
                      <a:pt x="9840" y="31"/>
                    </a:cubicBezTo>
                    <a:close/>
                  </a:path>
                </a:pathLst>
              </a:custGeom>
              <a:grpFill/>
              <a:ln w="5978" cap="flat">
                <a:noFill/>
                <a:prstDash val="solid"/>
                <a:miter/>
              </a:ln>
            </p:spPr>
            <p:txBody>
              <a:bodyPr rtlCol="0" anchor="ctr"/>
              <a:lstStyle/>
              <a:p>
                <a:endParaRPr lang="en-GB"/>
              </a:p>
            </p:txBody>
          </p:sp>
          <p:sp>
            <p:nvSpPr>
              <p:cNvPr id="1843" name="Vrije vorm: vorm 1842">
                <a:extLst>
                  <a:ext uri="{FF2B5EF4-FFF2-40B4-BE49-F238E27FC236}">
                    <a16:creationId xmlns:a16="http://schemas.microsoft.com/office/drawing/2014/main" id="{EE35F93E-6710-4D7B-A629-5898823705BA}"/>
                  </a:ext>
                </a:extLst>
              </p:cNvPr>
              <p:cNvSpPr/>
              <p:nvPr/>
            </p:nvSpPr>
            <p:spPr>
              <a:xfrm>
                <a:off x="4158451" y="3553634"/>
                <a:ext cx="18296" cy="18423"/>
              </a:xfrm>
              <a:custGeom>
                <a:avLst/>
                <a:gdLst>
                  <a:gd name="connsiteX0" fmla="*/ 9832 w 18296"/>
                  <a:gd name="connsiteY0" fmla="*/ 31 h 18423"/>
                  <a:gd name="connsiteX1" fmla="*/ 24 w 18296"/>
                  <a:gd name="connsiteY1" fmla="*/ 8464 h 18423"/>
                  <a:gd name="connsiteX2" fmla="*/ 8457 w 18296"/>
                  <a:gd name="connsiteY2" fmla="*/ 18392 h 18423"/>
                  <a:gd name="connsiteX3" fmla="*/ 18265 w 18296"/>
                  <a:gd name="connsiteY3" fmla="*/ 9959 h 18423"/>
                  <a:gd name="connsiteX4" fmla="*/ 9832 w 18296"/>
                  <a:gd name="connsiteY4" fmla="*/ 3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23">
                    <a:moveTo>
                      <a:pt x="9832" y="31"/>
                    </a:moveTo>
                    <a:cubicBezTo>
                      <a:pt x="4808" y="-387"/>
                      <a:pt x="382" y="3440"/>
                      <a:pt x="24" y="8464"/>
                    </a:cubicBezTo>
                    <a:cubicBezTo>
                      <a:pt x="-335" y="13548"/>
                      <a:pt x="3433" y="17974"/>
                      <a:pt x="8457" y="18392"/>
                    </a:cubicBezTo>
                    <a:cubicBezTo>
                      <a:pt x="13480" y="18811"/>
                      <a:pt x="17906" y="14983"/>
                      <a:pt x="18265" y="9959"/>
                    </a:cubicBezTo>
                    <a:cubicBezTo>
                      <a:pt x="18683" y="4876"/>
                      <a:pt x="14916" y="450"/>
                      <a:pt x="9832" y="31"/>
                    </a:cubicBezTo>
                    <a:close/>
                  </a:path>
                </a:pathLst>
              </a:custGeom>
              <a:grpFill/>
              <a:ln w="5978" cap="flat">
                <a:noFill/>
                <a:prstDash val="solid"/>
                <a:miter/>
              </a:ln>
            </p:spPr>
            <p:txBody>
              <a:bodyPr rtlCol="0" anchor="ctr"/>
              <a:lstStyle/>
              <a:p>
                <a:endParaRPr lang="en-GB"/>
              </a:p>
            </p:txBody>
          </p:sp>
        </p:grpSp>
        <p:grpSp>
          <p:nvGrpSpPr>
            <p:cNvPr id="1188" name="Graphic 3">
              <a:extLst>
                <a:ext uri="{FF2B5EF4-FFF2-40B4-BE49-F238E27FC236}">
                  <a16:creationId xmlns:a16="http://schemas.microsoft.com/office/drawing/2014/main" id="{1DCAEE36-D3AD-41ED-9E3D-313A9229EEE4}"/>
                </a:ext>
              </a:extLst>
            </p:cNvPr>
            <p:cNvGrpSpPr/>
            <p:nvPr/>
          </p:nvGrpSpPr>
          <p:grpSpPr>
            <a:xfrm>
              <a:off x="4607679" y="4639358"/>
              <a:ext cx="35765" cy="33541"/>
              <a:chOff x="4607679" y="4639358"/>
              <a:chExt cx="35765" cy="33541"/>
            </a:xfrm>
            <a:grpFill/>
          </p:grpSpPr>
          <p:sp>
            <p:nvSpPr>
              <p:cNvPr id="1838" name="Vrije vorm: vorm 1837">
                <a:extLst>
                  <a:ext uri="{FF2B5EF4-FFF2-40B4-BE49-F238E27FC236}">
                    <a16:creationId xmlns:a16="http://schemas.microsoft.com/office/drawing/2014/main" id="{785E5D79-ED65-41D9-8E3A-51CD05A30666}"/>
                  </a:ext>
                </a:extLst>
              </p:cNvPr>
              <p:cNvSpPr/>
              <p:nvPr/>
            </p:nvSpPr>
            <p:spPr>
              <a:xfrm>
                <a:off x="4615462" y="4647120"/>
                <a:ext cx="20155" cy="18061"/>
              </a:xfrm>
              <a:custGeom>
                <a:avLst/>
                <a:gdLst>
                  <a:gd name="connsiteX0" fmla="*/ 20155 w 20155"/>
                  <a:gd name="connsiteY0" fmla="*/ 2333 h 18061"/>
                  <a:gd name="connsiteX1" fmla="*/ 2033 w 20155"/>
                  <a:gd name="connsiteY1" fmla="*/ 18062 h 18061"/>
                  <a:gd name="connsiteX2" fmla="*/ 0 w 20155"/>
                  <a:gd name="connsiteY2" fmla="*/ 15729 h 18061"/>
                  <a:gd name="connsiteX3" fmla="*/ 18181 w 20155"/>
                  <a:gd name="connsiteY3" fmla="*/ 0 h 18061"/>
                </a:gdLst>
                <a:ahLst/>
                <a:cxnLst>
                  <a:cxn ang="0">
                    <a:pos x="connsiteX0" y="connsiteY0"/>
                  </a:cxn>
                  <a:cxn ang="0">
                    <a:pos x="connsiteX1" y="connsiteY1"/>
                  </a:cxn>
                  <a:cxn ang="0">
                    <a:pos x="connsiteX2" y="connsiteY2"/>
                  </a:cxn>
                  <a:cxn ang="0">
                    <a:pos x="connsiteX3" y="connsiteY3"/>
                  </a:cxn>
                </a:cxnLst>
                <a:rect l="l" t="t" r="r" b="b"/>
                <a:pathLst>
                  <a:path w="20155" h="18061">
                    <a:moveTo>
                      <a:pt x="20155" y="2333"/>
                    </a:moveTo>
                    <a:lnTo>
                      <a:pt x="2033" y="18062"/>
                    </a:lnTo>
                    <a:lnTo>
                      <a:pt x="0" y="15729"/>
                    </a:lnTo>
                    <a:lnTo>
                      <a:pt x="18181" y="0"/>
                    </a:lnTo>
                    <a:close/>
                  </a:path>
                </a:pathLst>
              </a:custGeom>
              <a:grpFill/>
              <a:ln w="5978" cap="flat">
                <a:noFill/>
                <a:prstDash val="solid"/>
                <a:miter/>
              </a:ln>
            </p:spPr>
            <p:txBody>
              <a:bodyPr rtlCol="0" anchor="ctr"/>
              <a:lstStyle/>
              <a:p>
                <a:endParaRPr lang="en-GB"/>
              </a:p>
            </p:txBody>
          </p:sp>
          <p:sp>
            <p:nvSpPr>
              <p:cNvPr id="1839" name="Vrije vorm: vorm 1838">
                <a:extLst>
                  <a:ext uri="{FF2B5EF4-FFF2-40B4-BE49-F238E27FC236}">
                    <a16:creationId xmlns:a16="http://schemas.microsoft.com/office/drawing/2014/main" id="{7E7ABA5D-16C7-4AD2-832F-AB78A2227239}"/>
                  </a:ext>
                </a:extLst>
              </p:cNvPr>
              <p:cNvSpPr/>
              <p:nvPr/>
            </p:nvSpPr>
            <p:spPr>
              <a:xfrm>
                <a:off x="4607679" y="4654534"/>
                <a:ext cx="18301" cy="18365"/>
              </a:xfrm>
              <a:custGeom>
                <a:avLst/>
                <a:gdLst>
                  <a:gd name="connsiteX0" fmla="*/ 15139 w 18301"/>
                  <a:gd name="connsiteY0" fmla="*/ 16150 h 18365"/>
                  <a:gd name="connsiteX1" fmla="*/ 2221 w 18301"/>
                  <a:gd name="connsiteY1" fmla="*/ 15194 h 18365"/>
                  <a:gd name="connsiteX2" fmla="*/ 3118 w 18301"/>
                  <a:gd name="connsiteY2" fmla="*/ 2215 h 18365"/>
                  <a:gd name="connsiteX3" fmla="*/ 16037 w 18301"/>
                  <a:gd name="connsiteY3" fmla="*/ 3172 h 18365"/>
                  <a:gd name="connsiteX4" fmla="*/ 15139 w 18301"/>
                  <a:gd name="connsiteY4" fmla="*/ 1615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365">
                    <a:moveTo>
                      <a:pt x="15139" y="16150"/>
                    </a:moveTo>
                    <a:cubicBezTo>
                      <a:pt x="11312" y="19440"/>
                      <a:pt x="5510" y="19021"/>
                      <a:pt x="2221" y="15194"/>
                    </a:cubicBezTo>
                    <a:cubicBezTo>
                      <a:pt x="-1069" y="11306"/>
                      <a:pt x="-650" y="5505"/>
                      <a:pt x="3118" y="2215"/>
                    </a:cubicBezTo>
                    <a:cubicBezTo>
                      <a:pt x="6946" y="-1074"/>
                      <a:pt x="12747" y="-655"/>
                      <a:pt x="16037" y="3172"/>
                    </a:cubicBezTo>
                    <a:cubicBezTo>
                      <a:pt x="19386" y="7000"/>
                      <a:pt x="18967" y="12861"/>
                      <a:pt x="15139" y="16150"/>
                    </a:cubicBezTo>
                    <a:close/>
                  </a:path>
                </a:pathLst>
              </a:custGeom>
              <a:grpFill/>
              <a:ln w="5978" cap="flat">
                <a:noFill/>
                <a:prstDash val="solid"/>
                <a:miter/>
              </a:ln>
            </p:spPr>
            <p:txBody>
              <a:bodyPr rtlCol="0" anchor="ctr"/>
              <a:lstStyle/>
              <a:p>
                <a:endParaRPr lang="en-GB"/>
              </a:p>
            </p:txBody>
          </p:sp>
          <p:sp>
            <p:nvSpPr>
              <p:cNvPr id="1840" name="Vrije vorm: vorm 1839">
                <a:extLst>
                  <a:ext uri="{FF2B5EF4-FFF2-40B4-BE49-F238E27FC236}">
                    <a16:creationId xmlns:a16="http://schemas.microsoft.com/office/drawing/2014/main" id="{30E00CB7-64D8-4831-8F8A-6376B12669FC}"/>
                  </a:ext>
                </a:extLst>
              </p:cNvPr>
              <p:cNvSpPr/>
              <p:nvPr/>
            </p:nvSpPr>
            <p:spPr>
              <a:xfrm>
                <a:off x="4625098" y="4639358"/>
                <a:ext cx="18346" cy="18434"/>
              </a:xfrm>
              <a:custGeom>
                <a:avLst/>
                <a:gdLst>
                  <a:gd name="connsiteX0" fmla="*/ 15184 w 18346"/>
                  <a:gd name="connsiteY0" fmla="*/ 16195 h 18434"/>
                  <a:gd name="connsiteX1" fmla="*/ 16081 w 18346"/>
                  <a:gd name="connsiteY1" fmla="*/ 3217 h 18434"/>
                  <a:gd name="connsiteX2" fmla="*/ 3162 w 18346"/>
                  <a:gd name="connsiteY2" fmla="*/ 2260 h 18434"/>
                  <a:gd name="connsiteX3" fmla="*/ 2265 w 18346"/>
                  <a:gd name="connsiteY3" fmla="*/ 15238 h 18434"/>
                  <a:gd name="connsiteX4" fmla="*/ 15184 w 18346"/>
                  <a:gd name="connsiteY4" fmla="*/ 1619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34">
                    <a:moveTo>
                      <a:pt x="15184" y="16195"/>
                    </a:moveTo>
                    <a:cubicBezTo>
                      <a:pt x="19011" y="12905"/>
                      <a:pt x="19430" y="7044"/>
                      <a:pt x="16081" y="3217"/>
                    </a:cubicBezTo>
                    <a:cubicBezTo>
                      <a:pt x="12791" y="-671"/>
                      <a:pt x="6990" y="-1089"/>
                      <a:pt x="3162" y="2260"/>
                    </a:cubicBezTo>
                    <a:cubicBezTo>
                      <a:pt x="-665" y="5549"/>
                      <a:pt x="-1084" y="11410"/>
                      <a:pt x="2265" y="15238"/>
                    </a:cubicBezTo>
                    <a:cubicBezTo>
                      <a:pt x="5555" y="19066"/>
                      <a:pt x="11356" y="19544"/>
                      <a:pt x="15184" y="16195"/>
                    </a:cubicBezTo>
                    <a:close/>
                  </a:path>
                </a:pathLst>
              </a:custGeom>
              <a:grpFill/>
              <a:ln w="5978" cap="flat">
                <a:noFill/>
                <a:prstDash val="solid"/>
                <a:miter/>
              </a:ln>
            </p:spPr>
            <p:txBody>
              <a:bodyPr rtlCol="0" anchor="ctr"/>
              <a:lstStyle/>
              <a:p>
                <a:endParaRPr lang="en-GB"/>
              </a:p>
            </p:txBody>
          </p:sp>
        </p:grpSp>
        <p:grpSp>
          <p:nvGrpSpPr>
            <p:cNvPr id="1189" name="Graphic 3">
              <a:extLst>
                <a:ext uri="{FF2B5EF4-FFF2-40B4-BE49-F238E27FC236}">
                  <a16:creationId xmlns:a16="http://schemas.microsoft.com/office/drawing/2014/main" id="{BD0711AA-8466-4DCD-8688-43FA278E5564}"/>
                </a:ext>
              </a:extLst>
            </p:cNvPr>
            <p:cNvGrpSpPr/>
            <p:nvPr/>
          </p:nvGrpSpPr>
          <p:grpSpPr>
            <a:xfrm>
              <a:off x="4175939" y="3658567"/>
              <a:ext cx="233606" cy="18719"/>
              <a:chOff x="4175939" y="3658567"/>
              <a:chExt cx="233606" cy="18719"/>
            </a:xfrm>
            <a:grpFill/>
          </p:grpSpPr>
          <p:sp>
            <p:nvSpPr>
              <p:cNvPr id="1835" name="Vrije vorm: vorm 1834">
                <a:extLst>
                  <a:ext uri="{FF2B5EF4-FFF2-40B4-BE49-F238E27FC236}">
                    <a16:creationId xmlns:a16="http://schemas.microsoft.com/office/drawing/2014/main" id="{11A7E815-91A4-4F8E-92E9-5815E85E7592}"/>
                  </a:ext>
                </a:extLst>
              </p:cNvPr>
              <p:cNvSpPr/>
              <p:nvPr/>
            </p:nvSpPr>
            <p:spPr>
              <a:xfrm>
                <a:off x="4184671" y="3666222"/>
                <a:ext cx="216143" cy="3409"/>
              </a:xfrm>
              <a:custGeom>
                <a:avLst/>
                <a:gdLst>
                  <a:gd name="connsiteX0" fmla="*/ 216143 w 216143"/>
                  <a:gd name="connsiteY0" fmla="*/ 299 h 3409"/>
                  <a:gd name="connsiteX1" fmla="*/ 216143 w 216143"/>
                  <a:gd name="connsiteY1" fmla="*/ 3409 h 3409"/>
                  <a:gd name="connsiteX2" fmla="*/ 0 w 216143"/>
                  <a:gd name="connsiteY2" fmla="*/ 3050 h 3409"/>
                  <a:gd name="connsiteX3" fmla="*/ 0 w 216143"/>
                  <a:gd name="connsiteY3" fmla="*/ 0 h 3409"/>
                </a:gdLst>
                <a:ahLst/>
                <a:cxnLst>
                  <a:cxn ang="0">
                    <a:pos x="connsiteX0" y="connsiteY0"/>
                  </a:cxn>
                  <a:cxn ang="0">
                    <a:pos x="connsiteX1" y="connsiteY1"/>
                  </a:cxn>
                  <a:cxn ang="0">
                    <a:pos x="connsiteX2" y="connsiteY2"/>
                  </a:cxn>
                  <a:cxn ang="0">
                    <a:pos x="connsiteX3" y="connsiteY3"/>
                  </a:cxn>
                </a:cxnLst>
                <a:rect l="l" t="t" r="r" b="b"/>
                <a:pathLst>
                  <a:path w="216143" h="3409">
                    <a:moveTo>
                      <a:pt x="216143" y="299"/>
                    </a:moveTo>
                    <a:lnTo>
                      <a:pt x="216143" y="3409"/>
                    </a:lnTo>
                    <a:lnTo>
                      <a:pt x="0" y="3050"/>
                    </a:lnTo>
                    <a:lnTo>
                      <a:pt x="0" y="0"/>
                    </a:lnTo>
                    <a:close/>
                  </a:path>
                </a:pathLst>
              </a:custGeom>
              <a:grpFill/>
              <a:ln w="5978" cap="flat">
                <a:noFill/>
                <a:prstDash val="solid"/>
                <a:miter/>
              </a:ln>
            </p:spPr>
            <p:txBody>
              <a:bodyPr rtlCol="0" anchor="ctr"/>
              <a:lstStyle/>
              <a:p>
                <a:endParaRPr lang="en-GB"/>
              </a:p>
            </p:txBody>
          </p:sp>
          <p:sp>
            <p:nvSpPr>
              <p:cNvPr id="1836" name="Vrije vorm: vorm 1835">
                <a:extLst>
                  <a:ext uri="{FF2B5EF4-FFF2-40B4-BE49-F238E27FC236}">
                    <a16:creationId xmlns:a16="http://schemas.microsoft.com/office/drawing/2014/main" id="{442C0B65-BAC5-43C1-A67B-9918D254190A}"/>
                  </a:ext>
                </a:extLst>
              </p:cNvPr>
              <p:cNvSpPr/>
              <p:nvPr/>
            </p:nvSpPr>
            <p:spPr>
              <a:xfrm>
                <a:off x="4391185" y="3658866"/>
                <a:ext cx="18360" cy="18420"/>
              </a:xfrm>
              <a:custGeom>
                <a:avLst/>
                <a:gdLst>
                  <a:gd name="connsiteX0" fmla="*/ 9150 w 18360"/>
                  <a:gd name="connsiteY0" fmla="*/ 0 h 18420"/>
                  <a:gd name="connsiteX1" fmla="*/ 18361 w 18360"/>
                  <a:gd name="connsiteY1" fmla="*/ 9210 h 18420"/>
                  <a:gd name="connsiteX2" fmla="*/ 9210 w 18360"/>
                  <a:gd name="connsiteY2" fmla="*/ 18421 h 18420"/>
                  <a:gd name="connsiteX3" fmla="*/ 0 w 18360"/>
                  <a:gd name="connsiteY3" fmla="*/ 9210 h 18420"/>
                  <a:gd name="connsiteX4" fmla="*/ 9150 w 18360"/>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9150" y="0"/>
                    </a:moveTo>
                    <a:cubicBezTo>
                      <a:pt x="14234" y="0"/>
                      <a:pt x="18301" y="4127"/>
                      <a:pt x="18361" y="9210"/>
                    </a:cubicBezTo>
                    <a:cubicBezTo>
                      <a:pt x="18361" y="14294"/>
                      <a:pt x="14294" y="18421"/>
                      <a:pt x="9210" y="18421"/>
                    </a:cubicBezTo>
                    <a:cubicBezTo>
                      <a:pt x="4127" y="18421"/>
                      <a:pt x="60" y="14294"/>
                      <a:pt x="0" y="9210"/>
                    </a:cubicBezTo>
                    <a:cubicBezTo>
                      <a:pt x="0" y="4127"/>
                      <a:pt x="4067" y="0"/>
                      <a:pt x="9150" y="0"/>
                    </a:cubicBezTo>
                    <a:close/>
                  </a:path>
                </a:pathLst>
              </a:custGeom>
              <a:grpFill/>
              <a:ln w="5978" cap="flat">
                <a:noFill/>
                <a:prstDash val="solid"/>
                <a:miter/>
              </a:ln>
            </p:spPr>
            <p:txBody>
              <a:bodyPr rtlCol="0" anchor="ctr"/>
              <a:lstStyle/>
              <a:p>
                <a:endParaRPr lang="en-GB"/>
              </a:p>
            </p:txBody>
          </p:sp>
          <p:sp>
            <p:nvSpPr>
              <p:cNvPr id="1837" name="Vrije vorm: vorm 1836">
                <a:extLst>
                  <a:ext uri="{FF2B5EF4-FFF2-40B4-BE49-F238E27FC236}">
                    <a16:creationId xmlns:a16="http://schemas.microsoft.com/office/drawing/2014/main" id="{D398AF19-92E7-4CD2-AB10-7058B8866547}"/>
                  </a:ext>
                </a:extLst>
              </p:cNvPr>
              <p:cNvSpPr/>
              <p:nvPr/>
            </p:nvSpPr>
            <p:spPr>
              <a:xfrm>
                <a:off x="4175939" y="3658567"/>
                <a:ext cx="18360" cy="18420"/>
              </a:xfrm>
              <a:custGeom>
                <a:avLst/>
                <a:gdLst>
                  <a:gd name="connsiteX0" fmla="*/ 9150 w 18360"/>
                  <a:gd name="connsiteY0" fmla="*/ 0 h 18420"/>
                  <a:gd name="connsiteX1" fmla="*/ 0 w 18360"/>
                  <a:gd name="connsiteY1" fmla="*/ 9210 h 18420"/>
                  <a:gd name="connsiteX2" fmla="*/ 9210 w 18360"/>
                  <a:gd name="connsiteY2" fmla="*/ 18421 h 18420"/>
                  <a:gd name="connsiteX3" fmla="*/ 18360 w 18360"/>
                  <a:gd name="connsiteY3" fmla="*/ 9210 h 18420"/>
                  <a:gd name="connsiteX4" fmla="*/ 9150 w 18360"/>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 h="18420">
                    <a:moveTo>
                      <a:pt x="9150" y="0"/>
                    </a:moveTo>
                    <a:cubicBezTo>
                      <a:pt x="4067" y="0"/>
                      <a:pt x="0" y="4127"/>
                      <a:pt x="0" y="9210"/>
                    </a:cubicBezTo>
                    <a:cubicBezTo>
                      <a:pt x="0" y="14294"/>
                      <a:pt x="4126" y="18421"/>
                      <a:pt x="9210" y="18421"/>
                    </a:cubicBezTo>
                    <a:cubicBezTo>
                      <a:pt x="14294" y="18421"/>
                      <a:pt x="18360" y="14294"/>
                      <a:pt x="18360" y="9210"/>
                    </a:cubicBezTo>
                    <a:cubicBezTo>
                      <a:pt x="18301" y="4127"/>
                      <a:pt x="14234" y="0"/>
                      <a:pt x="9150" y="0"/>
                    </a:cubicBezTo>
                    <a:close/>
                  </a:path>
                </a:pathLst>
              </a:custGeom>
              <a:grpFill/>
              <a:ln w="5978" cap="flat">
                <a:noFill/>
                <a:prstDash val="solid"/>
                <a:miter/>
              </a:ln>
            </p:spPr>
            <p:txBody>
              <a:bodyPr rtlCol="0" anchor="ctr"/>
              <a:lstStyle/>
              <a:p>
                <a:endParaRPr lang="en-GB"/>
              </a:p>
            </p:txBody>
          </p:sp>
        </p:grpSp>
        <p:grpSp>
          <p:nvGrpSpPr>
            <p:cNvPr id="1190" name="Graphic 3">
              <a:extLst>
                <a:ext uri="{FF2B5EF4-FFF2-40B4-BE49-F238E27FC236}">
                  <a16:creationId xmlns:a16="http://schemas.microsoft.com/office/drawing/2014/main" id="{1A8A0745-C058-48B3-89CE-1F2DF16986EA}"/>
                </a:ext>
              </a:extLst>
            </p:cNvPr>
            <p:cNvGrpSpPr/>
            <p:nvPr/>
          </p:nvGrpSpPr>
          <p:grpSpPr>
            <a:xfrm>
              <a:off x="4208329" y="3690974"/>
              <a:ext cx="207924" cy="50973"/>
              <a:chOff x="4208329" y="3690974"/>
              <a:chExt cx="207924" cy="50973"/>
            </a:xfrm>
            <a:grpFill/>
          </p:grpSpPr>
          <p:sp>
            <p:nvSpPr>
              <p:cNvPr id="1832" name="Vrije vorm: vorm 1831">
                <a:extLst>
                  <a:ext uri="{FF2B5EF4-FFF2-40B4-BE49-F238E27FC236}">
                    <a16:creationId xmlns:a16="http://schemas.microsoft.com/office/drawing/2014/main" id="{A3615EF9-81C7-4E7B-BE07-0A16E67AA76B}"/>
                  </a:ext>
                </a:extLst>
              </p:cNvPr>
              <p:cNvSpPr/>
              <p:nvPr/>
            </p:nvSpPr>
            <p:spPr>
              <a:xfrm>
                <a:off x="4216787" y="3698578"/>
                <a:ext cx="191024" cy="35764"/>
              </a:xfrm>
              <a:custGeom>
                <a:avLst/>
                <a:gdLst>
                  <a:gd name="connsiteX0" fmla="*/ 190486 w 191024"/>
                  <a:gd name="connsiteY0" fmla="*/ 0 h 35764"/>
                  <a:gd name="connsiteX1" fmla="*/ 191024 w 191024"/>
                  <a:gd name="connsiteY1" fmla="*/ 3050 h 35764"/>
                  <a:gd name="connsiteX2" fmla="*/ 538 w 191024"/>
                  <a:gd name="connsiteY2" fmla="*/ 35765 h 35764"/>
                  <a:gd name="connsiteX3" fmla="*/ 0 w 191024"/>
                  <a:gd name="connsiteY3" fmla="*/ 32774 h 35764"/>
                </a:gdLst>
                <a:ahLst/>
                <a:cxnLst>
                  <a:cxn ang="0">
                    <a:pos x="connsiteX0" y="connsiteY0"/>
                  </a:cxn>
                  <a:cxn ang="0">
                    <a:pos x="connsiteX1" y="connsiteY1"/>
                  </a:cxn>
                  <a:cxn ang="0">
                    <a:pos x="connsiteX2" y="connsiteY2"/>
                  </a:cxn>
                  <a:cxn ang="0">
                    <a:pos x="connsiteX3" y="connsiteY3"/>
                  </a:cxn>
                </a:cxnLst>
                <a:rect l="l" t="t" r="r" b="b"/>
                <a:pathLst>
                  <a:path w="191024" h="35764">
                    <a:moveTo>
                      <a:pt x="190486" y="0"/>
                    </a:moveTo>
                    <a:lnTo>
                      <a:pt x="191024" y="3050"/>
                    </a:lnTo>
                    <a:lnTo>
                      <a:pt x="538" y="35765"/>
                    </a:lnTo>
                    <a:lnTo>
                      <a:pt x="0" y="32774"/>
                    </a:lnTo>
                    <a:close/>
                  </a:path>
                </a:pathLst>
              </a:custGeom>
              <a:grpFill/>
              <a:ln w="5978" cap="flat">
                <a:noFill/>
                <a:prstDash val="solid"/>
                <a:miter/>
              </a:ln>
            </p:spPr>
            <p:txBody>
              <a:bodyPr rtlCol="0" anchor="ctr"/>
              <a:lstStyle/>
              <a:p>
                <a:endParaRPr lang="en-GB"/>
              </a:p>
            </p:txBody>
          </p:sp>
          <p:sp>
            <p:nvSpPr>
              <p:cNvPr id="1833" name="Vrije vorm: vorm 1832">
                <a:extLst>
                  <a:ext uri="{FF2B5EF4-FFF2-40B4-BE49-F238E27FC236}">
                    <a16:creationId xmlns:a16="http://schemas.microsoft.com/office/drawing/2014/main" id="{8E5073F4-0B0C-47F0-ADA6-94F6494B6F78}"/>
                  </a:ext>
                </a:extLst>
              </p:cNvPr>
              <p:cNvSpPr/>
              <p:nvPr/>
            </p:nvSpPr>
            <p:spPr>
              <a:xfrm>
                <a:off x="4208329" y="3723509"/>
                <a:ext cx="18352" cy="18437"/>
              </a:xfrm>
              <a:custGeom>
                <a:avLst/>
                <a:gdLst>
                  <a:gd name="connsiteX0" fmla="*/ 10731 w 18352"/>
                  <a:gd name="connsiteY0" fmla="*/ 18310 h 18437"/>
                  <a:gd name="connsiteX1" fmla="*/ 145 w 18352"/>
                  <a:gd name="connsiteY1" fmla="*/ 10774 h 18437"/>
                  <a:gd name="connsiteX2" fmla="*/ 7621 w 18352"/>
                  <a:gd name="connsiteY2" fmla="*/ 128 h 18437"/>
                  <a:gd name="connsiteX3" fmla="*/ 18207 w 18352"/>
                  <a:gd name="connsiteY3" fmla="*/ 7664 h 18437"/>
                  <a:gd name="connsiteX4" fmla="*/ 10731 w 18352"/>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37">
                    <a:moveTo>
                      <a:pt x="10731" y="18310"/>
                    </a:moveTo>
                    <a:cubicBezTo>
                      <a:pt x="5767" y="19147"/>
                      <a:pt x="983" y="15798"/>
                      <a:pt x="145" y="10774"/>
                    </a:cubicBezTo>
                    <a:cubicBezTo>
                      <a:pt x="-752" y="5750"/>
                      <a:pt x="2598" y="1025"/>
                      <a:pt x="7621" y="128"/>
                    </a:cubicBezTo>
                    <a:cubicBezTo>
                      <a:pt x="12585" y="-709"/>
                      <a:pt x="17370" y="2640"/>
                      <a:pt x="18207" y="7664"/>
                    </a:cubicBezTo>
                    <a:cubicBezTo>
                      <a:pt x="19104" y="12748"/>
                      <a:pt x="15755" y="17472"/>
                      <a:pt x="10731" y="18310"/>
                    </a:cubicBezTo>
                    <a:close/>
                  </a:path>
                </a:pathLst>
              </a:custGeom>
              <a:grpFill/>
              <a:ln w="5978" cap="flat">
                <a:noFill/>
                <a:prstDash val="solid"/>
                <a:miter/>
              </a:ln>
            </p:spPr>
            <p:txBody>
              <a:bodyPr rtlCol="0" anchor="ctr"/>
              <a:lstStyle/>
              <a:p>
                <a:endParaRPr lang="en-GB"/>
              </a:p>
            </p:txBody>
          </p:sp>
          <p:sp>
            <p:nvSpPr>
              <p:cNvPr id="1834" name="Vrije vorm: vorm 1833">
                <a:extLst>
                  <a:ext uri="{FF2B5EF4-FFF2-40B4-BE49-F238E27FC236}">
                    <a16:creationId xmlns:a16="http://schemas.microsoft.com/office/drawing/2014/main" id="{C6AEA108-C1CB-426A-8B69-E387005983E9}"/>
                  </a:ext>
                </a:extLst>
              </p:cNvPr>
              <p:cNvSpPr/>
              <p:nvPr/>
            </p:nvSpPr>
            <p:spPr>
              <a:xfrm>
                <a:off x="4397935" y="3690974"/>
                <a:ext cx="18318" cy="18437"/>
              </a:xfrm>
              <a:custGeom>
                <a:avLst/>
                <a:gdLst>
                  <a:gd name="connsiteX0" fmla="*/ 10714 w 18318"/>
                  <a:gd name="connsiteY0" fmla="*/ 18310 h 18437"/>
                  <a:gd name="connsiteX1" fmla="*/ 18190 w 18318"/>
                  <a:gd name="connsiteY1" fmla="*/ 7664 h 18437"/>
                  <a:gd name="connsiteX2" fmla="*/ 7604 w 18318"/>
                  <a:gd name="connsiteY2" fmla="*/ 128 h 18437"/>
                  <a:gd name="connsiteX3" fmla="*/ 128 w 18318"/>
                  <a:gd name="connsiteY3" fmla="*/ 10774 h 18437"/>
                  <a:gd name="connsiteX4" fmla="*/ 10714 w 18318"/>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7">
                    <a:moveTo>
                      <a:pt x="10714" y="18310"/>
                    </a:moveTo>
                    <a:cubicBezTo>
                      <a:pt x="15678" y="17472"/>
                      <a:pt x="19028" y="12688"/>
                      <a:pt x="18190" y="7664"/>
                    </a:cubicBezTo>
                    <a:cubicBezTo>
                      <a:pt x="17293" y="2640"/>
                      <a:pt x="12568" y="-709"/>
                      <a:pt x="7604" y="128"/>
                    </a:cubicBezTo>
                    <a:cubicBezTo>
                      <a:pt x="2640" y="966"/>
                      <a:pt x="-709" y="5750"/>
                      <a:pt x="128" y="10774"/>
                    </a:cubicBezTo>
                    <a:cubicBezTo>
                      <a:pt x="1025" y="15798"/>
                      <a:pt x="5750" y="19147"/>
                      <a:pt x="10714" y="18310"/>
                    </a:cubicBezTo>
                    <a:close/>
                  </a:path>
                </a:pathLst>
              </a:custGeom>
              <a:grpFill/>
              <a:ln w="5978" cap="flat">
                <a:noFill/>
                <a:prstDash val="solid"/>
                <a:miter/>
              </a:ln>
            </p:spPr>
            <p:txBody>
              <a:bodyPr rtlCol="0" anchor="ctr"/>
              <a:lstStyle/>
              <a:p>
                <a:endParaRPr lang="en-GB"/>
              </a:p>
            </p:txBody>
          </p:sp>
        </p:grpSp>
        <p:grpSp>
          <p:nvGrpSpPr>
            <p:cNvPr id="1191" name="Graphic 3">
              <a:extLst>
                <a:ext uri="{FF2B5EF4-FFF2-40B4-BE49-F238E27FC236}">
                  <a16:creationId xmlns:a16="http://schemas.microsoft.com/office/drawing/2014/main" id="{4A641080-A9C3-4708-A3AE-F99C684C71B8}"/>
                </a:ext>
              </a:extLst>
            </p:cNvPr>
            <p:cNvGrpSpPr/>
            <p:nvPr/>
          </p:nvGrpSpPr>
          <p:grpSpPr>
            <a:xfrm>
              <a:off x="4403791" y="4195397"/>
              <a:ext cx="181003" cy="105020"/>
              <a:chOff x="4403791" y="4195397"/>
              <a:chExt cx="181003" cy="105020"/>
            </a:xfrm>
            <a:grpFill/>
          </p:grpSpPr>
          <p:sp>
            <p:nvSpPr>
              <p:cNvPr id="1829" name="Vrije vorm: vorm 1828">
                <a:extLst>
                  <a:ext uri="{FF2B5EF4-FFF2-40B4-BE49-F238E27FC236}">
                    <a16:creationId xmlns:a16="http://schemas.microsoft.com/office/drawing/2014/main" id="{586D5651-3767-4836-B915-3A9BE55F58A4}"/>
                  </a:ext>
                </a:extLst>
              </p:cNvPr>
              <p:cNvSpPr/>
              <p:nvPr/>
            </p:nvSpPr>
            <p:spPr>
              <a:xfrm>
                <a:off x="4411818" y="4203052"/>
                <a:ext cx="164948" cy="89710"/>
              </a:xfrm>
              <a:custGeom>
                <a:avLst/>
                <a:gdLst>
                  <a:gd name="connsiteX0" fmla="*/ 164948 w 164948"/>
                  <a:gd name="connsiteY0" fmla="*/ 2691 h 89710"/>
                  <a:gd name="connsiteX1" fmla="*/ 1436 w 164948"/>
                  <a:gd name="connsiteY1" fmla="*/ 89711 h 89710"/>
                  <a:gd name="connsiteX2" fmla="*/ 0 w 164948"/>
                  <a:gd name="connsiteY2" fmla="*/ 87019 h 89710"/>
                  <a:gd name="connsiteX3" fmla="*/ 163513 w 164948"/>
                  <a:gd name="connsiteY3" fmla="*/ 0 h 89710"/>
                </a:gdLst>
                <a:ahLst/>
                <a:cxnLst>
                  <a:cxn ang="0">
                    <a:pos x="connsiteX0" y="connsiteY0"/>
                  </a:cxn>
                  <a:cxn ang="0">
                    <a:pos x="connsiteX1" y="connsiteY1"/>
                  </a:cxn>
                  <a:cxn ang="0">
                    <a:pos x="connsiteX2" y="connsiteY2"/>
                  </a:cxn>
                  <a:cxn ang="0">
                    <a:pos x="connsiteX3" y="connsiteY3"/>
                  </a:cxn>
                </a:cxnLst>
                <a:rect l="l" t="t" r="r" b="b"/>
                <a:pathLst>
                  <a:path w="164948" h="89710">
                    <a:moveTo>
                      <a:pt x="164948" y="2691"/>
                    </a:moveTo>
                    <a:lnTo>
                      <a:pt x="1436" y="89711"/>
                    </a:lnTo>
                    <a:lnTo>
                      <a:pt x="0" y="87019"/>
                    </a:lnTo>
                    <a:lnTo>
                      <a:pt x="163513" y="0"/>
                    </a:lnTo>
                    <a:close/>
                  </a:path>
                </a:pathLst>
              </a:custGeom>
              <a:grpFill/>
              <a:ln w="5978" cap="flat">
                <a:noFill/>
                <a:prstDash val="solid"/>
                <a:miter/>
              </a:ln>
            </p:spPr>
            <p:txBody>
              <a:bodyPr rtlCol="0" anchor="ctr"/>
              <a:lstStyle/>
              <a:p>
                <a:endParaRPr lang="en-GB"/>
              </a:p>
            </p:txBody>
          </p:sp>
          <p:sp>
            <p:nvSpPr>
              <p:cNvPr id="1830" name="Vrije vorm: vorm 1829">
                <a:extLst>
                  <a:ext uri="{FF2B5EF4-FFF2-40B4-BE49-F238E27FC236}">
                    <a16:creationId xmlns:a16="http://schemas.microsoft.com/office/drawing/2014/main" id="{4681B98F-7C1D-4128-AE0B-C0710C643563}"/>
                  </a:ext>
                </a:extLst>
              </p:cNvPr>
              <p:cNvSpPr/>
              <p:nvPr/>
            </p:nvSpPr>
            <p:spPr>
              <a:xfrm>
                <a:off x="4403791" y="4281998"/>
                <a:ext cx="18315" cy="18420"/>
              </a:xfrm>
              <a:custGeom>
                <a:avLst/>
                <a:gdLst>
                  <a:gd name="connsiteX0" fmla="*/ 13470 w 18315"/>
                  <a:gd name="connsiteY0" fmla="*/ 17344 h 18420"/>
                  <a:gd name="connsiteX1" fmla="*/ 1090 w 18315"/>
                  <a:gd name="connsiteY1" fmla="*/ 13516 h 18420"/>
                  <a:gd name="connsiteX2" fmla="*/ 4858 w 18315"/>
                  <a:gd name="connsiteY2" fmla="*/ 1076 h 18420"/>
                  <a:gd name="connsiteX3" fmla="*/ 17238 w 18315"/>
                  <a:gd name="connsiteY3" fmla="*/ 4904 h 18420"/>
                  <a:gd name="connsiteX4" fmla="*/ 13470 w 18315"/>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420">
                    <a:moveTo>
                      <a:pt x="13470" y="17344"/>
                    </a:moveTo>
                    <a:cubicBezTo>
                      <a:pt x="8984" y="19736"/>
                      <a:pt x="3422" y="18002"/>
                      <a:pt x="1090" y="13516"/>
                    </a:cubicBezTo>
                    <a:cubicBezTo>
                      <a:pt x="-1303" y="9031"/>
                      <a:pt x="372" y="3469"/>
                      <a:pt x="4858" y="1076"/>
                    </a:cubicBezTo>
                    <a:cubicBezTo>
                      <a:pt x="9343" y="-1316"/>
                      <a:pt x="14845" y="419"/>
                      <a:pt x="17238" y="4904"/>
                    </a:cubicBezTo>
                    <a:cubicBezTo>
                      <a:pt x="19630" y="9390"/>
                      <a:pt x="17896" y="14952"/>
                      <a:pt x="13470" y="17344"/>
                    </a:cubicBezTo>
                    <a:close/>
                  </a:path>
                </a:pathLst>
              </a:custGeom>
              <a:grpFill/>
              <a:ln w="5978" cap="flat">
                <a:noFill/>
                <a:prstDash val="solid"/>
                <a:miter/>
              </a:ln>
            </p:spPr>
            <p:txBody>
              <a:bodyPr rtlCol="0" anchor="ctr"/>
              <a:lstStyle/>
              <a:p>
                <a:endParaRPr lang="en-GB"/>
              </a:p>
            </p:txBody>
          </p:sp>
          <p:sp>
            <p:nvSpPr>
              <p:cNvPr id="1831" name="Vrije vorm: vorm 1830">
                <a:extLst>
                  <a:ext uri="{FF2B5EF4-FFF2-40B4-BE49-F238E27FC236}">
                    <a16:creationId xmlns:a16="http://schemas.microsoft.com/office/drawing/2014/main" id="{46DA8BC1-BBA9-4ABF-844D-154C566844F5}"/>
                  </a:ext>
                </a:extLst>
              </p:cNvPr>
              <p:cNvSpPr/>
              <p:nvPr/>
            </p:nvSpPr>
            <p:spPr>
              <a:xfrm>
                <a:off x="4566467" y="4195397"/>
                <a:ext cx="18327" cy="18420"/>
              </a:xfrm>
              <a:custGeom>
                <a:avLst/>
                <a:gdLst>
                  <a:gd name="connsiteX0" fmla="*/ 13470 w 18327"/>
                  <a:gd name="connsiteY0" fmla="*/ 17344 h 18420"/>
                  <a:gd name="connsiteX1" fmla="*/ 17238 w 18327"/>
                  <a:gd name="connsiteY1" fmla="*/ 4904 h 18420"/>
                  <a:gd name="connsiteX2" fmla="*/ 4858 w 18327"/>
                  <a:gd name="connsiteY2" fmla="*/ 1076 h 18420"/>
                  <a:gd name="connsiteX3" fmla="*/ 1090 w 18327"/>
                  <a:gd name="connsiteY3" fmla="*/ 13516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17956" y="14952"/>
                      <a:pt x="19630" y="9389"/>
                      <a:pt x="17238" y="4904"/>
                    </a:cubicBezTo>
                    <a:cubicBezTo>
                      <a:pt x="14845" y="418"/>
                      <a:pt x="9283" y="-1316"/>
                      <a:pt x="4858" y="1076"/>
                    </a:cubicBezTo>
                    <a:cubicBezTo>
                      <a:pt x="372" y="3469"/>
                      <a:pt x="-1303" y="9031"/>
                      <a:pt x="1090" y="13516"/>
                    </a:cubicBezTo>
                    <a:cubicBezTo>
                      <a:pt x="3482" y="18002"/>
                      <a:pt x="9044" y="19736"/>
                      <a:pt x="13470" y="17344"/>
                    </a:cubicBezTo>
                    <a:close/>
                  </a:path>
                </a:pathLst>
              </a:custGeom>
              <a:grpFill/>
              <a:ln w="5978" cap="flat">
                <a:noFill/>
                <a:prstDash val="solid"/>
                <a:miter/>
              </a:ln>
            </p:spPr>
            <p:txBody>
              <a:bodyPr rtlCol="0" anchor="ctr"/>
              <a:lstStyle/>
              <a:p>
                <a:endParaRPr lang="en-GB"/>
              </a:p>
            </p:txBody>
          </p:sp>
        </p:grpSp>
        <p:grpSp>
          <p:nvGrpSpPr>
            <p:cNvPr id="1192" name="Graphic 3">
              <a:extLst>
                <a:ext uri="{FF2B5EF4-FFF2-40B4-BE49-F238E27FC236}">
                  <a16:creationId xmlns:a16="http://schemas.microsoft.com/office/drawing/2014/main" id="{6FBA8911-1D1D-459C-AF52-45F385654F01}"/>
                </a:ext>
              </a:extLst>
            </p:cNvPr>
            <p:cNvGrpSpPr/>
            <p:nvPr/>
          </p:nvGrpSpPr>
          <p:grpSpPr>
            <a:xfrm>
              <a:off x="4149462" y="3570130"/>
              <a:ext cx="213426" cy="37044"/>
              <a:chOff x="4149462" y="3570130"/>
              <a:chExt cx="213426" cy="37044"/>
            </a:xfrm>
            <a:grpFill/>
          </p:grpSpPr>
          <p:sp>
            <p:nvSpPr>
              <p:cNvPr id="1826" name="Vrije vorm: vorm 1825">
                <a:extLst>
                  <a:ext uri="{FF2B5EF4-FFF2-40B4-BE49-F238E27FC236}">
                    <a16:creationId xmlns:a16="http://schemas.microsoft.com/office/drawing/2014/main" id="{8068E21F-0276-4130-9355-3D4D54C15C71}"/>
                  </a:ext>
                </a:extLst>
              </p:cNvPr>
              <p:cNvSpPr/>
              <p:nvPr/>
            </p:nvSpPr>
            <p:spPr>
              <a:xfrm>
                <a:off x="4158056" y="3577767"/>
                <a:ext cx="196287" cy="21769"/>
              </a:xfrm>
              <a:custGeom>
                <a:avLst/>
                <a:gdLst>
                  <a:gd name="connsiteX0" fmla="*/ 195988 w 196287"/>
                  <a:gd name="connsiteY0" fmla="*/ 0 h 21769"/>
                  <a:gd name="connsiteX1" fmla="*/ 196287 w 196287"/>
                  <a:gd name="connsiteY1" fmla="*/ 3050 h 21769"/>
                  <a:gd name="connsiteX2" fmla="*/ 299 w 196287"/>
                  <a:gd name="connsiteY2" fmla="*/ 21770 h 21769"/>
                  <a:gd name="connsiteX3" fmla="*/ 0 w 196287"/>
                  <a:gd name="connsiteY3" fmla="*/ 18720 h 21769"/>
                </a:gdLst>
                <a:ahLst/>
                <a:cxnLst>
                  <a:cxn ang="0">
                    <a:pos x="connsiteX0" y="connsiteY0"/>
                  </a:cxn>
                  <a:cxn ang="0">
                    <a:pos x="connsiteX1" y="connsiteY1"/>
                  </a:cxn>
                  <a:cxn ang="0">
                    <a:pos x="connsiteX2" y="connsiteY2"/>
                  </a:cxn>
                  <a:cxn ang="0">
                    <a:pos x="connsiteX3" y="connsiteY3"/>
                  </a:cxn>
                </a:cxnLst>
                <a:rect l="l" t="t" r="r" b="b"/>
                <a:pathLst>
                  <a:path w="196287" h="21769">
                    <a:moveTo>
                      <a:pt x="195988" y="0"/>
                    </a:moveTo>
                    <a:lnTo>
                      <a:pt x="196287" y="3050"/>
                    </a:lnTo>
                    <a:lnTo>
                      <a:pt x="299" y="21770"/>
                    </a:lnTo>
                    <a:lnTo>
                      <a:pt x="0" y="18720"/>
                    </a:lnTo>
                    <a:close/>
                  </a:path>
                </a:pathLst>
              </a:custGeom>
              <a:grpFill/>
              <a:ln w="5978" cap="flat">
                <a:noFill/>
                <a:prstDash val="solid"/>
                <a:miter/>
              </a:ln>
            </p:spPr>
            <p:txBody>
              <a:bodyPr rtlCol="0" anchor="ctr"/>
              <a:lstStyle/>
              <a:p>
                <a:endParaRPr lang="en-GB"/>
              </a:p>
            </p:txBody>
          </p:sp>
          <p:sp>
            <p:nvSpPr>
              <p:cNvPr id="1827" name="Vrije vorm: vorm 1826">
                <a:extLst>
                  <a:ext uri="{FF2B5EF4-FFF2-40B4-BE49-F238E27FC236}">
                    <a16:creationId xmlns:a16="http://schemas.microsoft.com/office/drawing/2014/main" id="{7E2F6212-DB23-4C46-B453-F78E64F1DFBA}"/>
                  </a:ext>
                </a:extLst>
              </p:cNvPr>
              <p:cNvSpPr/>
              <p:nvPr/>
            </p:nvSpPr>
            <p:spPr>
              <a:xfrm>
                <a:off x="4149462" y="3588730"/>
                <a:ext cx="18335" cy="18443"/>
              </a:xfrm>
              <a:custGeom>
                <a:avLst/>
                <a:gdLst>
                  <a:gd name="connsiteX0" fmla="*/ 10090 w 18335"/>
                  <a:gd name="connsiteY0" fmla="*/ 18402 h 18443"/>
                  <a:gd name="connsiteX1" fmla="*/ 42 w 18335"/>
                  <a:gd name="connsiteY1" fmla="*/ 10089 h 18443"/>
                  <a:gd name="connsiteX2" fmla="*/ 8236 w 18335"/>
                  <a:gd name="connsiteY2" fmla="*/ 42 h 18443"/>
                  <a:gd name="connsiteX3" fmla="*/ 18283 w 18335"/>
                  <a:gd name="connsiteY3" fmla="*/ 8355 h 18443"/>
                  <a:gd name="connsiteX4" fmla="*/ 10090 w 1833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3">
                    <a:moveTo>
                      <a:pt x="10090" y="18402"/>
                    </a:moveTo>
                    <a:cubicBezTo>
                      <a:pt x="5066" y="18881"/>
                      <a:pt x="581" y="15173"/>
                      <a:pt x="42" y="10089"/>
                    </a:cubicBezTo>
                    <a:cubicBezTo>
                      <a:pt x="-436" y="5005"/>
                      <a:pt x="3212" y="520"/>
                      <a:pt x="8236" y="42"/>
                    </a:cubicBezTo>
                    <a:cubicBezTo>
                      <a:pt x="13260" y="-437"/>
                      <a:pt x="17745" y="3271"/>
                      <a:pt x="18283" y="8355"/>
                    </a:cubicBezTo>
                    <a:cubicBezTo>
                      <a:pt x="18822" y="13438"/>
                      <a:pt x="15114" y="17924"/>
                      <a:pt x="10090" y="18402"/>
                    </a:cubicBezTo>
                    <a:close/>
                  </a:path>
                </a:pathLst>
              </a:custGeom>
              <a:grpFill/>
              <a:ln w="5978" cap="flat">
                <a:noFill/>
                <a:prstDash val="solid"/>
                <a:miter/>
              </a:ln>
            </p:spPr>
            <p:txBody>
              <a:bodyPr rtlCol="0" anchor="ctr"/>
              <a:lstStyle/>
              <a:p>
                <a:endParaRPr lang="en-GB"/>
              </a:p>
            </p:txBody>
          </p:sp>
          <p:sp>
            <p:nvSpPr>
              <p:cNvPr id="1828" name="Vrije vorm: vorm 1827">
                <a:extLst>
                  <a:ext uri="{FF2B5EF4-FFF2-40B4-BE49-F238E27FC236}">
                    <a16:creationId xmlns:a16="http://schemas.microsoft.com/office/drawing/2014/main" id="{9E5DCCED-F915-4586-AF44-3FC310C9EBA8}"/>
                  </a:ext>
                </a:extLst>
              </p:cNvPr>
              <p:cNvSpPr/>
              <p:nvPr/>
            </p:nvSpPr>
            <p:spPr>
              <a:xfrm>
                <a:off x="4344543" y="3570130"/>
                <a:ext cx="18345" cy="18443"/>
              </a:xfrm>
              <a:custGeom>
                <a:avLst/>
                <a:gdLst>
                  <a:gd name="connsiteX0" fmla="*/ 10099 w 18345"/>
                  <a:gd name="connsiteY0" fmla="*/ 18402 h 18443"/>
                  <a:gd name="connsiteX1" fmla="*/ 18293 w 18345"/>
                  <a:gd name="connsiteY1" fmla="*/ 8355 h 18443"/>
                  <a:gd name="connsiteX2" fmla="*/ 8245 w 18345"/>
                  <a:gd name="connsiteY2" fmla="*/ 42 h 18443"/>
                  <a:gd name="connsiteX3" fmla="*/ 52 w 18345"/>
                  <a:gd name="connsiteY3" fmla="*/ 10089 h 18443"/>
                  <a:gd name="connsiteX4" fmla="*/ 10099 w 1834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3">
                    <a:moveTo>
                      <a:pt x="10099" y="18402"/>
                    </a:moveTo>
                    <a:cubicBezTo>
                      <a:pt x="15123" y="17924"/>
                      <a:pt x="18831" y="13438"/>
                      <a:pt x="18293" y="8355"/>
                    </a:cubicBezTo>
                    <a:cubicBezTo>
                      <a:pt x="17815" y="3271"/>
                      <a:pt x="13329" y="-437"/>
                      <a:pt x="8245" y="42"/>
                    </a:cubicBezTo>
                    <a:cubicBezTo>
                      <a:pt x="3222" y="520"/>
                      <a:pt x="-486" y="5006"/>
                      <a:pt x="52" y="10089"/>
                    </a:cubicBezTo>
                    <a:cubicBezTo>
                      <a:pt x="590" y="15173"/>
                      <a:pt x="5076" y="18881"/>
                      <a:pt x="10099" y="18402"/>
                    </a:cubicBezTo>
                    <a:close/>
                  </a:path>
                </a:pathLst>
              </a:custGeom>
              <a:grpFill/>
              <a:ln w="5978" cap="flat">
                <a:noFill/>
                <a:prstDash val="solid"/>
                <a:miter/>
              </a:ln>
            </p:spPr>
            <p:txBody>
              <a:bodyPr rtlCol="0" anchor="ctr"/>
              <a:lstStyle/>
              <a:p>
                <a:endParaRPr lang="en-GB"/>
              </a:p>
            </p:txBody>
          </p:sp>
        </p:grpSp>
        <p:grpSp>
          <p:nvGrpSpPr>
            <p:cNvPr id="1193" name="Graphic 3">
              <a:extLst>
                <a:ext uri="{FF2B5EF4-FFF2-40B4-BE49-F238E27FC236}">
                  <a16:creationId xmlns:a16="http://schemas.microsoft.com/office/drawing/2014/main" id="{3369F084-9B20-485A-A63C-DCF5266CFB54}"/>
                </a:ext>
              </a:extLst>
            </p:cNvPr>
            <p:cNvGrpSpPr/>
            <p:nvPr/>
          </p:nvGrpSpPr>
          <p:grpSpPr>
            <a:xfrm>
              <a:off x="4176397" y="3630486"/>
              <a:ext cx="219186" cy="45205"/>
              <a:chOff x="4176397" y="3630486"/>
              <a:chExt cx="219186" cy="45205"/>
            </a:xfrm>
            <a:grpFill/>
          </p:grpSpPr>
          <p:sp>
            <p:nvSpPr>
              <p:cNvPr id="1823" name="Vrije vorm: vorm 1822">
                <a:extLst>
                  <a:ext uri="{FF2B5EF4-FFF2-40B4-BE49-F238E27FC236}">
                    <a16:creationId xmlns:a16="http://schemas.microsoft.com/office/drawing/2014/main" id="{8768564B-F646-4721-83DD-407EA7B07843}"/>
                  </a:ext>
                </a:extLst>
              </p:cNvPr>
              <p:cNvSpPr/>
              <p:nvPr/>
            </p:nvSpPr>
            <p:spPr>
              <a:xfrm>
                <a:off x="4184910" y="3638113"/>
                <a:ext cx="202208" cy="29903"/>
              </a:xfrm>
              <a:custGeom>
                <a:avLst/>
                <a:gdLst>
                  <a:gd name="connsiteX0" fmla="*/ 201790 w 202208"/>
                  <a:gd name="connsiteY0" fmla="*/ 0 h 29903"/>
                  <a:gd name="connsiteX1" fmla="*/ 202208 w 202208"/>
                  <a:gd name="connsiteY1" fmla="*/ 2990 h 29903"/>
                  <a:gd name="connsiteX2" fmla="*/ 418 w 202208"/>
                  <a:gd name="connsiteY2" fmla="*/ 29904 h 29903"/>
                  <a:gd name="connsiteX3" fmla="*/ 0 w 202208"/>
                  <a:gd name="connsiteY3" fmla="*/ 26913 h 29903"/>
                </a:gdLst>
                <a:ahLst/>
                <a:cxnLst>
                  <a:cxn ang="0">
                    <a:pos x="connsiteX0" y="connsiteY0"/>
                  </a:cxn>
                  <a:cxn ang="0">
                    <a:pos x="connsiteX1" y="connsiteY1"/>
                  </a:cxn>
                  <a:cxn ang="0">
                    <a:pos x="connsiteX2" y="connsiteY2"/>
                  </a:cxn>
                  <a:cxn ang="0">
                    <a:pos x="connsiteX3" y="connsiteY3"/>
                  </a:cxn>
                </a:cxnLst>
                <a:rect l="l" t="t" r="r" b="b"/>
                <a:pathLst>
                  <a:path w="202208" h="29903">
                    <a:moveTo>
                      <a:pt x="201790" y="0"/>
                    </a:moveTo>
                    <a:lnTo>
                      <a:pt x="202208" y="2990"/>
                    </a:lnTo>
                    <a:lnTo>
                      <a:pt x="418" y="29904"/>
                    </a:lnTo>
                    <a:lnTo>
                      <a:pt x="0" y="26913"/>
                    </a:lnTo>
                    <a:close/>
                  </a:path>
                </a:pathLst>
              </a:custGeom>
              <a:grpFill/>
              <a:ln w="5978" cap="flat">
                <a:noFill/>
                <a:prstDash val="solid"/>
                <a:miter/>
              </a:ln>
            </p:spPr>
            <p:txBody>
              <a:bodyPr rtlCol="0" anchor="ctr"/>
              <a:lstStyle/>
              <a:p>
                <a:endParaRPr lang="en-GB"/>
              </a:p>
            </p:txBody>
          </p:sp>
          <p:sp>
            <p:nvSpPr>
              <p:cNvPr id="1824" name="Vrije vorm: vorm 1823">
                <a:extLst>
                  <a:ext uri="{FF2B5EF4-FFF2-40B4-BE49-F238E27FC236}">
                    <a16:creationId xmlns:a16="http://schemas.microsoft.com/office/drawing/2014/main" id="{BC1F8105-226E-4551-BD4F-A68BA42CF48C}"/>
                  </a:ext>
                </a:extLst>
              </p:cNvPr>
              <p:cNvSpPr/>
              <p:nvPr/>
            </p:nvSpPr>
            <p:spPr>
              <a:xfrm>
                <a:off x="4176397" y="3657292"/>
                <a:ext cx="18340" cy="18398"/>
              </a:xfrm>
              <a:custGeom>
                <a:avLst/>
                <a:gdLst>
                  <a:gd name="connsiteX0" fmla="*/ 10427 w 18340"/>
                  <a:gd name="connsiteY0" fmla="*/ 18320 h 18398"/>
                  <a:gd name="connsiteX1" fmla="*/ 80 w 18340"/>
                  <a:gd name="connsiteY1" fmla="*/ 10425 h 18398"/>
                  <a:gd name="connsiteX2" fmla="*/ 7915 w 18340"/>
                  <a:gd name="connsiteY2" fmla="*/ 79 h 18398"/>
                  <a:gd name="connsiteX3" fmla="*/ 18261 w 18340"/>
                  <a:gd name="connsiteY3" fmla="*/ 7974 h 18398"/>
                  <a:gd name="connsiteX4" fmla="*/ 10427 w 18340"/>
                  <a:gd name="connsiteY4" fmla="*/ 18320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8">
                    <a:moveTo>
                      <a:pt x="10427" y="18320"/>
                    </a:moveTo>
                    <a:cubicBezTo>
                      <a:pt x="5403" y="18978"/>
                      <a:pt x="798" y="15449"/>
                      <a:pt x="80" y="10425"/>
                    </a:cubicBezTo>
                    <a:cubicBezTo>
                      <a:pt x="-578" y="5402"/>
                      <a:pt x="2891" y="737"/>
                      <a:pt x="7915" y="79"/>
                    </a:cubicBezTo>
                    <a:cubicBezTo>
                      <a:pt x="12939" y="-579"/>
                      <a:pt x="17544" y="2950"/>
                      <a:pt x="18261" y="7974"/>
                    </a:cubicBezTo>
                    <a:cubicBezTo>
                      <a:pt x="18919" y="12997"/>
                      <a:pt x="15391" y="17602"/>
                      <a:pt x="10427" y="18320"/>
                    </a:cubicBezTo>
                    <a:close/>
                  </a:path>
                </a:pathLst>
              </a:custGeom>
              <a:grpFill/>
              <a:ln w="5978" cap="flat">
                <a:noFill/>
                <a:prstDash val="solid"/>
                <a:miter/>
              </a:ln>
            </p:spPr>
            <p:txBody>
              <a:bodyPr rtlCol="0" anchor="ctr"/>
              <a:lstStyle/>
              <a:p>
                <a:endParaRPr lang="en-GB"/>
              </a:p>
            </p:txBody>
          </p:sp>
          <p:sp>
            <p:nvSpPr>
              <p:cNvPr id="1825" name="Vrije vorm: vorm 1824">
                <a:extLst>
                  <a:ext uri="{FF2B5EF4-FFF2-40B4-BE49-F238E27FC236}">
                    <a16:creationId xmlns:a16="http://schemas.microsoft.com/office/drawing/2014/main" id="{EC6FE7DB-67EC-4AAF-911E-106E381EABC6}"/>
                  </a:ext>
                </a:extLst>
              </p:cNvPr>
              <p:cNvSpPr/>
              <p:nvPr/>
            </p:nvSpPr>
            <p:spPr>
              <a:xfrm>
                <a:off x="4377217" y="3630486"/>
                <a:ext cx="18366" cy="18411"/>
              </a:xfrm>
              <a:custGeom>
                <a:avLst/>
                <a:gdLst>
                  <a:gd name="connsiteX0" fmla="*/ 10439 w 18366"/>
                  <a:gd name="connsiteY0" fmla="*/ 18333 h 18411"/>
                  <a:gd name="connsiteX1" fmla="*/ 18274 w 18366"/>
                  <a:gd name="connsiteY1" fmla="*/ 7986 h 18411"/>
                  <a:gd name="connsiteX2" fmla="*/ 7927 w 18366"/>
                  <a:gd name="connsiteY2" fmla="*/ 91 h 18411"/>
                  <a:gd name="connsiteX3" fmla="*/ 93 w 18366"/>
                  <a:gd name="connsiteY3" fmla="*/ 10438 h 18411"/>
                  <a:gd name="connsiteX4" fmla="*/ 10439 w 18366"/>
                  <a:gd name="connsiteY4" fmla="*/ 1833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11">
                    <a:moveTo>
                      <a:pt x="10439" y="18333"/>
                    </a:moveTo>
                    <a:cubicBezTo>
                      <a:pt x="15463" y="17675"/>
                      <a:pt x="18992" y="13010"/>
                      <a:pt x="18274" y="7986"/>
                    </a:cubicBezTo>
                    <a:cubicBezTo>
                      <a:pt x="17616" y="2962"/>
                      <a:pt x="12951" y="-626"/>
                      <a:pt x="7927" y="91"/>
                    </a:cubicBezTo>
                    <a:cubicBezTo>
                      <a:pt x="2903" y="749"/>
                      <a:pt x="-625" y="5414"/>
                      <a:pt x="93" y="10438"/>
                    </a:cubicBezTo>
                    <a:cubicBezTo>
                      <a:pt x="810" y="15462"/>
                      <a:pt x="5416" y="18991"/>
                      <a:pt x="10439" y="18333"/>
                    </a:cubicBezTo>
                    <a:close/>
                  </a:path>
                </a:pathLst>
              </a:custGeom>
              <a:grpFill/>
              <a:ln w="5978" cap="flat">
                <a:noFill/>
                <a:prstDash val="solid"/>
                <a:miter/>
              </a:ln>
            </p:spPr>
            <p:txBody>
              <a:bodyPr rtlCol="0" anchor="ctr"/>
              <a:lstStyle/>
              <a:p>
                <a:endParaRPr lang="en-GB"/>
              </a:p>
            </p:txBody>
          </p:sp>
        </p:grpSp>
        <p:grpSp>
          <p:nvGrpSpPr>
            <p:cNvPr id="1194" name="Graphic 3">
              <a:extLst>
                <a:ext uri="{FF2B5EF4-FFF2-40B4-BE49-F238E27FC236}">
                  <a16:creationId xmlns:a16="http://schemas.microsoft.com/office/drawing/2014/main" id="{73A76EDA-A506-4075-B59D-1C543F8C204E}"/>
                </a:ext>
              </a:extLst>
            </p:cNvPr>
            <p:cNvGrpSpPr/>
            <p:nvPr/>
          </p:nvGrpSpPr>
          <p:grpSpPr>
            <a:xfrm>
              <a:off x="4027801" y="2949558"/>
              <a:ext cx="38066" cy="22836"/>
              <a:chOff x="4027801" y="2949558"/>
              <a:chExt cx="38066" cy="22836"/>
            </a:xfrm>
            <a:grpFill/>
          </p:grpSpPr>
          <p:sp>
            <p:nvSpPr>
              <p:cNvPr id="1820" name="Vrije vorm: vorm 1819">
                <a:extLst>
                  <a:ext uri="{FF2B5EF4-FFF2-40B4-BE49-F238E27FC236}">
                    <a16:creationId xmlns:a16="http://schemas.microsoft.com/office/drawing/2014/main" id="{15D29CCB-2BC5-4ED8-B7EF-C68EBD865230}"/>
                  </a:ext>
                </a:extLst>
              </p:cNvPr>
              <p:cNvSpPr/>
              <p:nvPr/>
            </p:nvSpPr>
            <p:spPr>
              <a:xfrm>
                <a:off x="4036169" y="2957148"/>
                <a:ext cx="21291" cy="7655"/>
              </a:xfrm>
              <a:custGeom>
                <a:avLst/>
                <a:gdLst>
                  <a:gd name="connsiteX0" fmla="*/ 21291 w 21291"/>
                  <a:gd name="connsiteY0" fmla="*/ 4665 h 7655"/>
                  <a:gd name="connsiteX1" fmla="*/ 20634 w 21291"/>
                  <a:gd name="connsiteY1" fmla="*/ 7655 h 7655"/>
                  <a:gd name="connsiteX2" fmla="*/ 0 w 21291"/>
                  <a:gd name="connsiteY2" fmla="*/ 2990 h 7655"/>
                  <a:gd name="connsiteX3" fmla="*/ 658 w 21291"/>
                  <a:gd name="connsiteY3" fmla="*/ 0 h 7655"/>
                </a:gdLst>
                <a:ahLst/>
                <a:cxnLst>
                  <a:cxn ang="0">
                    <a:pos x="connsiteX0" y="connsiteY0"/>
                  </a:cxn>
                  <a:cxn ang="0">
                    <a:pos x="connsiteX1" y="connsiteY1"/>
                  </a:cxn>
                  <a:cxn ang="0">
                    <a:pos x="connsiteX2" y="connsiteY2"/>
                  </a:cxn>
                  <a:cxn ang="0">
                    <a:pos x="connsiteX3" y="connsiteY3"/>
                  </a:cxn>
                </a:cxnLst>
                <a:rect l="l" t="t" r="r" b="b"/>
                <a:pathLst>
                  <a:path w="21291" h="7655">
                    <a:moveTo>
                      <a:pt x="21291" y="4665"/>
                    </a:moveTo>
                    <a:lnTo>
                      <a:pt x="20634" y="7655"/>
                    </a:lnTo>
                    <a:lnTo>
                      <a:pt x="0" y="2990"/>
                    </a:lnTo>
                    <a:lnTo>
                      <a:pt x="658" y="0"/>
                    </a:lnTo>
                    <a:close/>
                  </a:path>
                </a:pathLst>
              </a:custGeom>
              <a:grpFill/>
              <a:ln w="5978" cap="flat">
                <a:noFill/>
                <a:prstDash val="solid"/>
                <a:miter/>
              </a:ln>
            </p:spPr>
            <p:txBody>
              <a:bodyPr rtlCol="0" anchor="ctr"/>
              <a:lstStyle/>
              <a:p>
                <a:endParaRPr lang="en-GB"/>
              </a:p>
            </p:txBody>
          </p:sp>
          <p:sp>
            <p:nvSpPr>
              <p:cNvPr id="1821" name="Vrije vorm: vorm 1820">
                <a:extLst>
                  <a:ext uri="{FF2B5EF4-FFF2-40B4-BE49-F238E27FC236}">
                    <a16:creationId xmlns:a16="http://schemas.microsoft.com/office/drawing/2014/main" id="{3D29352A-5E34-4D16-8645-397151082C22}"/>
                  </a:ext>
                </a:extLst>
              </p:cNvPr>
              <p:cNvSpPr/>
              <p:nvPr/>
            </p:nvSpPr>
            <p:spPr>
              <a:xfrm>
                <a:off x="4027801" y="2949558"/>
                <a:ext cx="18350" cy="18389"/>
              </a:xfrm>
              <a:custGeom>
                <a:avLst/>
                <a:gdLst>
                  <a:gd name="connsiteX0" fmla="*/ 7172 w 18350"/>
                  <a:gd name="connsiteY0" fmla="*/ 18176 h 18389"/>
                  <a:gd name="connsiteX1" fmla="*/ 234 w 18350"/>
                  <a:gd name="connsiteY1" fmla="*/ 7172 h 18389"/>
                  <a:gd name="connsiteX2" fmla="*/ 11179 w 18350"/>
                  <a:gd name="connsiteY2" fmla="*/ 234 h 18389"/>
                  <a:gd name="connsiteX3" fmla="*/ 18116 w 18350"/>
                  <a:gd name="connsiteY3" fmla="*/ 11239 h 18389"/>
                  <a:gd name="connsiteX4" fmla="*/ 7172 w 18350"/>
                  <a:gd name="connsiteY4" fmla="*/ 18176 h 18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0" h="18389">
                    <a:moveTo>
                      <a:pt x="7172" y="18176"/>
                    </a:moveTo>
                    <a:cubicBezTo>
                      <a:pt x="2208" y="17040"/>
                      <a:pt x="-902" y="12136"/>
                      <a:pt x="234" y="7172"/>
                    </a:cubicBezTo>
                    <a:cubicBezTo>
                      <a:pt x="1311" y="2208"/>
                      <a:pt x="6215" y="-902"/>
                      <a:pt x="11179" y="234"/>
                    </a:cubicBezTo>
                    <a:cubicBezTo>
                      <a:pt x="16143" y="1371"/>
                      <a:pt x="19253" y="6275"/>
                      <a:pt x="18116" y="11239"/>
                    </a:cubicBezTo>
                    <a:cubicBezTo>
                      <a:pt x="16980" y="16143"/>
                      <a:pt x="12076" y="19253"/>
                      <a:pt x="7172" y="18176"/>
                    </a:cubicBezTo>
                    <a:close/>
                  </a:path>
                </a:pathLst>
              </a:custGeom>
              <a:grpFill/>
              <a:ln w="5978" cap="flat">
                <a:noFill/>
                <a:prstDash val="solid"/>
                <a:miter/>
              </a:ln>
            </p:spPr>
            <p:txBody>
              <a:bodyPr rtlCol="0" anchor="ctr"/>
              <a:lstStyle/>
              <a:p>
                <a:endParaRPr lang="en-GB"/>
              </a:p>
            </p:txBody>
          </p:sp>
          <p:sp>
            <p:nvSpPr>
              <p:cNvPr id="1822" name="Vrije vorm: vorm 1821">
                <a:extLst>
                  <a:ext uri="{FF2B5EF4-FFF2-40B4-BE49-F238E27FC236}">
                    <a16:creationId xmlns:a16="http://schemas.microsoft.com/office/drawing/2014/main" id="{687B750C-D083-47EA-9407-0E26F1186D5F}"/>
                  </a:ext>
                </a:extLst>
              </p:cNvPr>
              <p:cNvSpPr/>
              <p:nvPr/>
            </p:nvSpPr>
            <p:spPr>
              <a:xfrm>
                <a:off x="4047538" y="2953983"/>
                <a:ext cx="18329" cy="18410"/>
              </a:xfrm>
              <a:custGeom>
                <a:avLst/>
                <a:gdLst>
                  <a:gd name="connsiteX0" fmla="*/ 7172 w 18329"/>
                  <a:gd name="connsiteY0" fmla="*/ 18176 h 18410"/>
                  <a:gd name="connsiteX1" fmla="*/ 18117 w 18329"/>
                  <a:gd name="connsiteY1" fmla="*/ 11239 h 18410"/>
                  <a:gd name="connsiteX2" fmla="*/ 11179 w 18329"/>
                  <a:gd name="connsiteY2" fmla="*/ 234 h 18410"/>
                  <a:gd name="connsiteX3" fmla="*/ 234 w 18329"/>
                  <a:gd name="connsiteY3" fmla="*/ 7172 h 18410"/>
                  <a:gd name="connsiteX4" fmla="*/ 7172 w 18329"/>
                  <a:gd name="connsiteY4" fmla="*/ 18176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10">
                    <a:moveTo>
                      <a:pt x="7172" y="18176"/>
                    </a:moveTo>
                    <a:cubicBezTo>
                      <a:pt x="12136" y="19313"/>
                      <a:pt x="16980" y="16203"/>
                      <a:pt x="18117" y="11239"/>
                    </a:cubicBezTo>
                    <a:cubicBezTo>
                      <a:pt x="19193" y="6275"/>
                      <a:pt x="16083" y="1371"/>
                      <a:pt x="11179" y="234"/>
                    </a:cubicBezTo>
                    <a:cubicBezTo>
                      <a:pt x="6215" y="-902"/>
                      <a:pt x="1370" y="2208"/>
                      <a:pt x="234" y="7172"/>
                    </a:cubicBezTo>
                    <a:cubicBezTo>
                      <a:pt x="-902" y="12136"/>
                      <a:pt x="2208" y="17100"/>
                      <a:pt x="7172" y="18176"/>
                    </a:cubicBezTo>
                    <a:close/>
                  </a:path>
                </a:pathLst>
              </a:custGeom>
              <a:grpFill/>
              <a:ln w="5978" cap="flat">
                <a:noFill/>
                <a:prstDash val="solid"/>
                <a:miter/>
              </a:ln>
            </p:spPr>
            <p:txBody>
              <a:bodyPr rtlCol="0" anchor="ctr"/>
              <a:lstStyle/>
              <a:p>
                <a:endParaRPr lang="en-GB"/>
              </a:p>
            </p:txBody>
          </p:sp>
        </p:grpSp>
        <p:grpSp>
          <p:nvGrpSpPr>
            <p:cNvPr id="1195" name="Graphic 3">
              <a:extLst>
                <a:ext uri="{FF2B5EF4-FFF2-40B4-BE49-F238E27FC236}">
                  <a16:creationId xmlns:a16="http://schemas.microsoft.com/office/drawing/2014/main" id="{DC315261-7F83-4F56-9940-CCEB12A8D7B4}"/>
                </a:ext>
              </a:extLst>
            </p:cNvPr>
            <p:cNvGrpSpPr/>
            <p:nvPr/>
          </p:nvGrpSpPr>
          <p:grpSpPr>
            <a:xfrm>
              <a:off x="4612284" y="4726303"/>
              <a:ext cx="93159" cy="91029"/>
              <a:chOff x="4612284" y="4726303"/>
              <a:chExt cx="93159" cy="91029"/>
            </a:xfrm>
            <a:grpFill/>
          </p:grpSpPr>
          <p:sp>
            <p:nvSpPr>
              <p:cNvPr id="1817" name="Vrije vorm: vorm 1816">
                <a:extLst>
                  <a:ext uri="{FF2B5EF4-FFF2-40B4-BE49-F238E27FC236}">
                    <a16:creationId xmlns:a16="http://schemas.microsoft.com/office/drawing/2014/main" id="{5FDF7D8A-A2CC-4E19-AC0C-DB597D13D3DD}"/>
                  </a:ext>
                </a:extLst>
              </p:cNvPr>
              <p:cNvSpPr/>
              <p:nvPr/>
            </p:nvSpPr>
            <p:spPr>
              <a:xfrm>
                <a:off x="4620067" y="4734080"/>
                <a:ext cx="77570" cy="75477"/>
              </a:xfrm>
              <a:custGeom>
                <a:avLst/>
                <a:gdLst>
                  <a:gd name="connsiteX0" fmla="*/ 77570 w 77570"/>
                  <a:gd name="connsiteY0" fmla="*/ 2213 h 75477"/>
                  <a:gd name="connsiteX1" fmla="*/ 2153 w 77570"/>
                  <a:gd name="connsiteY1" fmla="*/ 75477 h 75477"/>
                  <a:gd name="connsiteX2" fmla="*/ 0 w 77570"/>
                  <a:gd name="connsiteY2" fmla="*/ 73264 h 75477"/>
                  <a:gd name="connsiteX3" fmla="*/ 75477 w 77570"/>
                  <a:gd name="connsiteY3" fmla="*/ 0 h 75477"/>
                </a:gdLst>
                <a:ahLst/>
                <a:cxnLst>
                  <a:cxn ang="0">
                    <a:pos x="connsiteX0" y="connsiteY0"/>
                  </a:cxn>
                  <a:cxn ang="0">
                    <a:pos x="connsiteX1" y="connsiteY1"/>
                  </a:cxn>
                  <a:cxn ang="0">
                    <a:pos x="connsiteX2" y="connsiteY2"/>
                  </a:cxn>
                  <a:cxn ang="0">
                    <a:pos x="connsiteX3" y="connsiteY3"/>
                  </a:cxn>
                </a:cxnLst>
                <a:rect l="l" t="t" r="r" b="b"/>
                <a:pathLst>
                  <a:path w="77570" h="75477">
                    <a:moveTo>
                      <a:pt x="77570" y="2213"/>
                    </a:moveTo>
                    <a:lnTo>
                      <a:pt x="2153" y="75477"/>
                    </a:lnTo>
                    <a:lnTo>
                      <a:pt x="0" y="73264"/>
                    </a:lnTo>
                    <a:lnTo>
                      <a:pt x="75477" y="0"/>
                    </a:lnTo>
                    <a:close/>
                  </a:path>
                </a:pathLst>
              </a:custGeom>
              <a:grpFill/>
              <a:ln w="5978" cap="flat">
                <a:noFill/>
                <a:prstDash val="solid"/>
                <a:miter/>
              </a:ln>
            </p:spPr>
            <p:txBody>
              <a:bodyPr rtlCol="0" anchor="ctr"/>
              <a:lstStyle/>
              <a:p>
                <a:endParaRPr lang="en-GB"/>
              </a:p>
            </p:txBody>
          </p:sp>
          <p:sp>
            <p:nvSpPr>
              <p:cNvPr id="1818" name="Vrije vorm: vorm 1817">
                <a:extLst>
                  <a:ext uri="{FF2B5EF4-FFF2-40B4-BE49-F238E27FC236}">
                    <a16:creationId xmlns:a16="http://schemas.microsoft.com/office/drawing/2014/main" id="{9372DF61-541A-4340-8B68-916FF687BCDF}"/>
                  </a:ext>
                </a:extLst>
              </p:cNvPr>
              <p:cNvSpPr/>
              <p:nvPr/>
            </p:nvSpPr>
            <p:spPr>
              <a:xfrm>
                <a:off x="4612284" y="4798909"/>
                <a:ext cx="18363" cy="18423"/>
              </a:xfrm>
              <a:custGeom>
                <a:avLst/>
                <a:gdLst>
                  <a:gd name="connsiteX0" fmla="*/ 15559 w 18363"/>
                  <a:gd name="connsiteY0" fmla="*/ 15851 h 18423"/>
                  <a:gd name="connsiteX1" fmla="*/ 2580 w 18363"/>
                  <a:gd name="connsiteY1" fmla="*/ 15611 h 18423"/>
                  <a:gd name="connsiteX2" fmla="*/ 2760 w 18363"/>
                  <a:gd name="connsiteY2" fmla="*/ 2573 h 18423"/>
                  <a:gd name="connsiteX3" fmla="*/ 15738 w 18363"/>
                  <a:gd name="connsiteY3" fmla="*/ 2812 h 18423"/>
                  <a:gd name="connsiteX4" fmla="*/ 15559 w 18363"/>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3">
                    <a:moveTo>
                      <a:pt x="15559" y="15851"/>
                    </a:moveTo>
                    <a:cubicBezTo>
                      <a:pt x="11910" y="19379"/>
                      <a:pt x="6109" y="19259"/>
                      <a:pt x="2580" y="15611"/>
                    </a:cubicBezTo>
                    <a:cubicBezTo>
                      <a:pt x="-948" y="11963"/>
                      <a:pt x="-829" y="6102"/>
                      <a:pt x="2760" y="2573"/>
                    </a:cubicBezTo>
                    <a:cubicBezTo>
                      <a:pt x="6408" y="-955"/>
                      <a:pt x="12210" y="-836"/>
                      <a:pt x="15738" y="2812"/>
                    </a:cubicBezTo>
                    <a:cubicBezTo>
                      <a:pt x="19326" y="6461"/>
                      <a:pt x="19207" y="12322"/>
                      <a:pt x="15559" y="15851"/>
                    </a:cubicBezTo>
                    <a:close/>
                  </a:path>
                </a:pathLst>
              </a:custGeom>
              <a:grpFill/>
              <a:ln w="5978" cap="flat">
                <a:noFill/>
                <a:prstDash val="solid"/>
                <a:miter/>
              </a:ln>
            </p:spPr>
            <p:txBody>
              <a:bodyPr rtlCol="0" anchor="ctr"/>
              <a:lstStyle/>
              <a:p>
                <a:endParaRPr lang="en-GB"/>
              </a:p>
            </p:txBody>
          </p:sp>
          <p:sp>
            <p:nvSpPr>
              <p:cNvPr id="1819" name="Vrije vorm: vorm 1818">
                <a:extLst>
                  <a:ext uri="{FF2B5EF4-FFF2-40B4-BE49-F238E27FC236}">
                    <a16:creationId xmlns:a16="http://schemas.microsoft.com/office/drawing/2014/main" id="{E6C764B1-91FA-4651-B81A-77A4D3337FD9}"/>
                  </a:ext>
                </a:extLst>
              </p:cNvPr>
              <p:cNvSpPr/>
              <p:nvPr/>
            </p:nvSpPr>
            <p:spPr>
              <a:xfrm>
                <a:off x="4687081" y="4726303"/>
                <a:ext cx="18362" cy="18423"/>
              </a:xfrm>
              <a:custGeom>
                <a:avLst/>
                <a:gdLst>
                  <a:gd name="connsiteX0" fmla="*/ 15580 w 18362"/>
                  <a:gd name="connsiteY0" fmla="*/ 15851 h 18423"/>
                  <a:gd name="connsiteX1" fmla="*/ 15760 w 18362"/>
                  <a:gd name="connsiteY1" fmla="*/ 2813 h 18423"/>
                  <a:gd name="connsiteX2" fmla="*/ 2782 w 18362"/>
                  <a:gd name="connsiteY2" fmla="*/ 2573 h 18423"/>
                  <a:gd name="connsiteX3" fmla="*/ 2602 w 18362"/>
                  <a:gd name="connsiteY3" fmla="*/ 15611 h 18423"/>
                  <a:gd name="connsiteX4" fmla="*/ 15580 w 18362"/>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3">
                    <a:moveTo>
                      <a:pt x="15580" y="15851"/>
                    </a:moveTo>
                    <a:cubicBezTo>
                      <a:pt x="19229" y="12322"/>
                      <a:pt x="19288" y="6461"/>
                      <a:pt x="15760" y="2813"/>
                    </a:cubicBezTo>
                    <a:cubicBezTo>
                      <a:pt x="12231" y="-836"/>
                      <a:pt x="6430" y="-955"/>
                      <a:pt x="2782" y="2573"/>
                    </a:cubicBezTo>
                    <a:cubicBezTo>
                      <a:pt x="-867" y="6102"/>
                      <a:pt x="-926" y="11903"/>
                      <a:pt x="2602" y="15611"/>
                    </a:cubicBezTo>
                    <a:cubicBezTo>
                      <a:pt x="6131" y="19260"/>
                      <a:pt x="11932" y="19379"/>
                      <a:pt x="15580" y="15851"/>
                    </a:cubicBezTo>
                    <a:close/>
                  </a:path>
                </a:pathLst>
              </a:custGeom>
              <a:grpFill/>
              <a:ln w="5978" cap="flat">
                <a:noFill/>
                <a:prstDash val="solid"/>
                <a:miter/>
              </a:ln>
            </p:spPr>
            <p:txBody>
              <a:bodyPr rtlCol="0" anchor="ctr"/>
              <a:lstStyle/>
              <a:p>
                <a:endParaRPr lang="en-GB"/>
              </a:p>
            </p:txBody>
          </p:sp>
        </p:grpSp>
        <p:grpSp>
          <p:nvGrpSpPr>
            <p:cNvPr id="1196" name="Graphic 3">
              <a:extLst>
                <a:ext uri="{FF2B5EF4-FFF2-40B4-BE49-F238E27FC236}">
                  <a16:creationId xmlns:a16="http://schemas.microsoft.com/office/drawing/2014/main" id="{648FC33F-1FC2-447F-A81A-9FC16543FCB5}"/>
                </a:ext>
              </a:extLst>
            </p:cNvPr>
            <p:cNvGrpSpPr/>
            <p:nvPr/>
          </p:nvGrpSpPr>
          <p:grpSpPr>
            <a:xfrm>
              <a:off x="4070436" y="3442242"/>
              <a:ext cx="282474" cy="23748"/>
              <a:chOff x="4070436" y="3442242"/>
              <a:chExt cx="282474" cy="23748"/>
            </a:xfrm>
            <a:grpFill/>
          </p:grpSpPr>
          <p:sp>
            <p:nvSpPr>
              <p:cNvPr id="1814" name="Vrije vorm: vorm 1813">
                <a:extLst>
                  <a:ext uri="{FF2B5EF4-FFF2-40B4-BE49-F238E27FC236}">
                    <a16:creationId xmlns:a16="http://schemas.microsoft.com/office/drawing/2014/main" id="{392D66F5-063F-4AD9-B519-F60D9B3D94FC}"/>
                  </a:ext>
                </a:extLst>
              </p:cNvPr>
              <p:cNvSpPr/>
              <p:nvPr/>
            </p:nvSpPr>
            <p:spPr>
              <a:xfrm>
                <a:off x="4079111" y="3449960"/>
                <a:ext cx="265125" cy="8372"/>
              </a:xfrm>
              <a:custGeom>
                <a:avLst/>
                <a:gdLst>
                  <a:gd name="connsiteX0" fmla="*/ 265006 w 265125"/>
                  <a:gd name="connsiteY0" fmla="*/ 0 h 8372"/>
                  <a:gd name="connsiteX1" fmla="*/ 265125 w 265125"/>
                  <a:gd name="connsiteY1" fmla="*/ 3050 h 8372"/>
                  <a:gd name="connsiteX2" fmla="*/ 60 w 265125"/>
                  <a:gd name="connsiteY2" fmla="*/ 8373 h 8372"/>
                  <a:gd name="connsiteX3" fmla="*/ 0 w 265125"/>
                  <a:gd name="connsiteY3" fmla="*/ 5323 h 8372"/>
                </a:gdLst>
                <a:ahLst/>
                <a:cxnLst>
                  <a:cxn ang="0">
                    <a:pos x="connsiteX0" y="connsiteY0"/>
                  </a:cxn>
                  <a:cxn ang="0">
                    <a:pos x="connsiteX1" y="connsiteY1"/>
                  </a:cxn>
                  <a:cxn ang="0">
                    <a:pos x="connsiteX2" y="connsiteY2"/>
                  </a:cxn>
                  <a:cxn ang="0">
                    <a:pos x="connsiteX3" y="connsiteY3"/>
                  </a:cxn>
                </a:cxnLst>
                <a:rect l="l" t="t" r="r" b="b"/>
                <a:pathLst>
                  <a:path w="265125" h="8372">
                    <a:moveTo>
                      <a:pt x="265006" y="0"/>
                    </a:moveTo>
                    <a:lnTo>
                      <a:pt x="265125" y="3050"/>
                    </a:lnTo>
                    <a:lnTo>
                      <a:pt x="60" y="8373"/>
                    </a:lnTo>
                    <a:lnTo>
                      <a:pt x="0" y="5323"/>
                    </a:lnTo>
                    <a:close/>
                  </a:path>
                </a:pathLst>
              </a:custGeom>
              <a:grpFill/>
              <a:ln w="5978" cap="flat">
                <a:noFill/>
                <a:prstDash val="solid"/>
                <a:miter/>
              </a:ln>
            </p:spPr>
            <p:txBody>
              <a:bodyPr rtlCol="0" anchor="ctr"/>
              <a:lstStyle/>
              <a:p>
                <a:endParaRPr lang="en-GB"/>
              </a:p>
            </p:txBody>
          </p:sp>
          <p:sp>
            <p:nvSpPr>
              <p:cNvPr id="1815" name="Vrije vorm: vorm 1814">
                <a:extLst>
                  <a:ext uri="{FF2B5EF4-FFF2-40B4-BE49-F238E27FC236}">
                    <a16:creationId xmlns:a16="http://schemas.microsoft.com/office/drawing/2014/main" id="{46EFBA0D-D2AC-4A84-A27D-D7E80159F480}"/>
                  </a:ext>
                </a:extLst>
              </p:cNvPr>
              <p:cNvSpPr/>
              <p:nvPr/>
            </p:nvSpPr>
            <p:spPr>
              <a:xfrm>
                <a:off x="4070436" y="3447565"/>
                <a:ext cx="18364" cy="18425"/>
              </a:xfrm>
              <a:custGeom>
                <a:avLst/>
                <a:gdLst>
                  <a:gd name="connsiteX0" fmla="*/ 9392 w 18364"/>
                  <a:gd name="connsiteY0" fmla="*/ 18423 h 18425"/>
                  <a:gd name="connsiteX1" fmla="*/ 3 w 18364"/>
                  <a:gd name="connsiteY1" fmla="*/ 9392 h 18425"/>
                  <a:gd name="connsiteX2" fmla="*/ 8974 w 18364"/>
                  <a:gd name="connsiteY2" fmla="*/ 3 h 18425"/>
                  <a:gd name="connsiteX3" fmla="*/ 18363 w 18364"/>
                  <a:gd name="connsiteY3" fmla="*/ 9034 h 18425"/>
                  <a:gd name="connsiteX4" fmla="*/ 9392 w 18364"/>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5">
                    <a:moveTo>
                      <a:pt x="9392" y="18423"/>
                    </a:moveTo>
                    <a:cubicBezTo>
                      <a:pt x="4309" y="18543"/>
                      <a:pt x="122" y="14476"/>
                      <a:pt x="3" y="9392"/>
                    </a:cubicBezTo>
                    <a:cubicBezTo>
                      <a:pt x="-117" y="4309"/>
                      <a:pt x="3890" y="122"/>
                      <a:pt x="8974" y="3"/>
                    </a:cubicBezTo>
                    <a:cubicBezTo>
                      <a:pt x="14057" y="-117"/>
                      <a:pt x="18244" y="3950"/>
                      <a:pt x="18363" y="9034"/>
                    </a:cubicBezTo>
                    <a:cubicBezTo>
                      <a:pt x="18423" y="14117"/>
                      <a:pt x="14416" y="18304"/>
                      <a:pt x="9392" y="18423"/>
                    </a:cubicBezTo>
                    <a:close/>
                  </a:path>
                </a:pathLst>
              </a:custGeom>
              <a:grpFill/>
              <a:ln w="5978" cap="flat">
                <a:noFill/>
                <a:prstDash val="solid"/>
                <a:miter/>
              </a:ln>
            </p:spPr>
            <p:txBody>
              <a:bodyPr rtlCol="0" anchor="ctr"/>
              <a:lstStyle/>
              <a:p>
                <a:endParaRPr lang="en-GB"/>
              </a:p>
            </p:txBody>
          </p:sp>
          <p:sp>
            <p:nvSpPr>
              <p:cNvPr id="1816" name="Vrije vorm: vorm 1815">
                <a:extLst>
                  <a:ext uri="{FF2B5EF4-FFF2-40B4-BE49-F238E27FC236}">
                    <a16:creationId xmlns:a16="http://schemas.microsoft.com/office/drawing/2014/main" id="{923802F5-44A5-4D2B-AABE-95C1E0E45DC7}"/>
                  </a:ext>
                </a:extLst>
              </p:cNvPr>
              <p:cNvSpPr/>
              <p:nvPr/>
            </p:nvSpPr>
            <p:spPr>
              <a:xfrm>
                <a:off x="4334545" y="3442242"/>
                <a:ext cx="18366" cy="18425"/>
              </a:xfrm>
              <a:custGeom>
                <a:avLst/>
                <a:gdLst>
                  <a:gd name="connsiteX0" fmla="*/ 9392 w 18366"/>
                  <a:gd name="connsiteY0" fmla="*/ 18423 h 18425"/>
                  <a:gd name="connsiteX1" fmla="*/ 18363 w 18366"/>
                  <a:gd name="connsiteY1" fmla="*/ 9034 h 18425"/>
                  <a:gd name="connsiteX2" fmla="*/ 8974 w 18366"/>
                  <a:gd name="connsiteY2" fmla="*/ 3 h 18425"/>
                  <a:gd name="connsiteX3" fmla="*/ 3 w 18366"/>
                  <a:gd name="connsiteY3" fmla="*/ 9392 h 18425"/>
                  <a:gd name="connsiteX4" fmla="*/ 9392 w 18366"/>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2" y="18423"/>
                    </a:moveTo>
                    <a:cubicBezTo>
                      <a:pt x="14476" y="18304"/>
                      <a:pt x="18483" y="14117"/>
                      <a:pt x="18363" y="9034"/>
                    </a:cubicBezTo>
                    <a:cubicBezTo>
                      <a:pt x="18244" y="3950"/>
                      <a:pt x="14058" y="-117"/>
                      <a:pt x="8974" y="3"/>
                    </a:cubicBezTo>
                    <a:cubicBezTo>
                      <a:pt x="3890" y="122"/>
                      <a:pt x="-117" y="4309"/>
                      <a:pt x="3" y="9392"/>
                    </a:cubicBezTo>
                    <a:cubicBezTo>
                      <a:pt x="122" y="14476"/>
                      <a:pt x="4369" y="18543"/>
                      <a:pt x="9392" y="18423"/>
                    </a:cubicBezTo>
                    <a:close/>
                  </a:path>
                </a:pathLst>
              </a:custGeom>
              <a:grpFill/>
              <a:ln w="5978" cap="flat">
                <a:noFill/>
                <a:prstDash val="solid"/>
                <a:miter/>
              </a:ln>
            </p:spPr>
            <p:txBody>
              <a:bodyPr rtlCol="0" anchor="ctr"/>
              <a:lstStyle/>
              <a:p>
                <a:endParaRPr lang="en-GB"/>
              </a:p>
            </p:txBody>
          </p:sp>
        </p:grpSp>
        <p:grpSp>
          <p:nvGrpSpPr>
            <p:cNvPr id="1197" name="Graphic 3">
              <a:extLst>
                <a:ext uri="{FF2B5EF4-FFF2-40B4-BE49-F238E27FC236}">
                  <a16:creationId xmlns:a16="http://schemas.microsoft.com/office/drawing/2014/main" id="{3A127E9C-AD07-44E9-A04D-DFC16B2ED420}"/>
                </a:ext>
              </a:extLst>
            </p:cNvPr>
            <p:cNvGrpSpPr/>
            <p:nvPr/>
          </p:nvGrpSpPr>
          <p:grpSpPr>
            <a:xfrm>
              <a:off x="4433961" y="4377498"/>
              <a:ext cx="215614" cy="113151"/>
              <a:chOff x="4433961" y="4377498"/>
              <a:chExt cx="215614" cy="113151"/>
            </a:xfrm>
            <a:grpFill/>
          </p:grpSpPr>
          <p:sp>
            <p:nvSpPr>
              <p:cNvPr id="1811" name="Vrije vorm: vorm 1810">
                <a:extLst>
                  <a:ext uri="{FF2B5EF4-FFF2-40B4-BE49-F238E27FC236}">
                    <a16:creationId xmlns:a16="http://schemas.microsoft.com/office/drawing/2014/main" id="{8193CD22-37B0-4D76-AF11-2687A3E7FBA8}"/>
                  </a:ext>
                </a:extLst>
              </p:cNvPr>
              <p:cNvSpPr/>
              <p:nvPr/>
            </p:nvSpPr>
            <p:spPr>
              <a:xfrm>
                <a:off x="4442021" y="4385165"/>
                <a:ext cx="199456" cy="97844"/>
              </a:xfrm>
              <a:custGeom>
                <a:avLst/>
                <a:gdLst>
                  <a:gd name="connsiteX0" fmla="*/ 199457 w 199456"/>
                  <a:gd name="connsiteY0" fmla="*/ 2751 h 97844"/>
                  <a:gd name="connsiteX1" fmla="*/ 1375 w 199456"/>
                  <a:gd name="connsiteY1" fmla="*/ 97845 h 97844"/>
                  <a:gd name="connsiteX2" fmla="*/ 0 w 199456"/>
                  <a:gd name="connsiteY2" fmla="*/ 95093 h 97844"/>
                  <a:gd name="connsiteX3" fmla="*/ 198141 w 199456"/>
                  <a:gd name="connsiteY3" fmla="*/ 0 h 97844"/>
                </a:gdLst>
                <a:ahLst/>
                <a:cxnLst>
                  <a:cxn ang="0">
                    <a:pos x="connsiteX0" y="connsiteY0"/>
                  </a:cxn>
                  <a:cxn ang="0">
                    <a:pos x="connsiteX1" y="connsiteY1"/>
                  </a:cxn>
                  <a:cxn ang="0">
                    <a:pos x="connsiteX2" y="connsiteY2"/>
                  </a:cxn>
                  <a:cxn ang="0">
                    <a:pos x="connsiteX3" y="connsiteY3"/>
                  </a:cxn>
                </a:cxnLst>
                <a:rect l="l" t="t" r="r" b="b"/>
                <a:pathLst>
                  <a:path w="199456" h="97844">
                    <a:moveTo>
                      <a:pt x="199457" y="2751"/>
                    </a:moveTo>
                    <a:lnTo>
                      <a:pt x="1375" y="97845"/>
                    </a:lnTo>
                    <a:lnTo>
                      <a:pt x="0" y="95093"/>
                    </a:lnTo>
                    <a:lnTo>
                      <a:pt x="198141" y="0"/>
                    </a:lnTo>
                    <a:close/>
                  </a:path>
                </a:pathLst>
              </a:custGeom>
              <a:grpFill/>
              <a:ln w="5978" cap="flat">
                <a:noFill/>
                <a:prstDash val="solid"/>
                <a:miter/>
              </a:ln>
            </p:spPr>
            <p:txBody>
              <a:bodyPr rtlCol="0" anchor="ctr"/>
              <a:lstStyle/>
              <a:p>
                <a:endParaRPr lang="en-GB"/>
              </a:p>
            </p:txBody>
          </p:sp>
          <p:sp>
            <p:nvSpPr>
              <p:cNvPr id="1812" name="Vrije vorm: vorm 1811">
                <a:extLst>
                  <a:ext uri="{FF2B5EF4-FFF2-40B4-BE49-F238E27FC236}">
                    <a16:creationId xmlns:a16="http://schemas.microsoft.com/office/drawing/2014/main" id="{B1DF3A1A-6BB4-4890-97BC-BEBF5EADC603}"/>
                  </a:ext>
                </a:extLst>
              </p:cNvPr>
              <p:cNvSpPr/>
              <p:nvPr/>
            </p:nvSpPr>
            <p:spPr>
              <a:xfrm>
                <a:off x="4631205" y="4377498"/>
                <a:ext cx="18369" cy="18442"/>
              </a:xfrm>
              <a:custGeom>
                <a:avLst/>
                <a:gdLst>
                  <a:gd name="connsiteX0" fmla="*/ 5190 w 18369"/>
                  <a:gd name="connsiteY0" fmla="*/ 908 h 18442"/>
                  <a:gd name="connsiteX1" fmla="*/ 17450 w 18369"/>
                  <a:gd name="connsiteY1" fmla="*/ 5274 h 18442"/>
                  <a:gd name="connsiteX2" fmla="*/ 13144 w 18369"/>
                  <a:gd name="connsiteY2" fmla="*/ 17534 h 18442"/>
                  <a:gd name="connsiteX3" fmla="*/ 884 w 18369"/>
                  <a:gd name="connsiteY3" fmla="*/ 13169 h 18442"/>
                  <a:gd name="connsiteX4" fmla="*/ 5190 w 18369"/>
                  <a:gd name="connsiteY4" fmla="*/ 908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2">
                    <a:moveTo>
                      <a:pt x="5190" y="908"/>
                    </a:moveTo>
                    <a:cubicBezTo>
                      <a:pt x="9735" y="-1305"/>
                      <a:pt x="15237" y="669"/>
                      <a:pt x="17450" y="5274"/>
                    </a:cubicBezTo>
                    <a:cubicBezTo>
                      <a:pt x="19663" y="9879"/>
                      <a:pt x="17749" y="15382"/>
                      <a:pt x="13144" y="17534"/>
                    </a:cubicBezTo>
                    <a:cubicBezTo>
                      <a:pt x="8599" y="19748"/>
                      <a:pt x="3096" y="17774"/>
                      <a:pt x="884" y="13169"/>
                    </a:cubicBezTo>
                    <a:cubicBezTo>
                      <a:pt x="-1269" y="8623"/>
                      <a:pt x="644" y="3121"/>
                      <a:pt x="5190" y="908"/>
                    </a:cubicBezTo>
                    <a:close/>
                  </a:path>
                </a:pathLst>
              </a:custGeom>
              <a:grpFill/>
              <a:ln w="5978" cap="flat">
                <a:noFill/>
                <a:prstDash val="solid"/>
                <a:miter/>
              </a:ln>
            </p:spPr>
            <p:txBody>
              <a:bodyPr rtlCol="0" anchor="ctr"/>
              <a:lstStyle/>
              <a:p>
                <a:endParaRPr lang="en-GB"/>
              </a:p>
            </p:txBody>
          </p:sp>
          <p:sp>
            <p:nvSpPr>
              <p:cNvPr id="1813" name="Vrije vorm: vorm 1812">
                <a:extLst>
                  <a:ext uri="{FF2B5EF4-FFF2-40B4-BE49-F238E27FC236}">
                    <a16:creationId xmlns:a16="http://schemas.microsoft.com/office/drawing/2014/main" id="{9DC42BAC-A0A9-4B61-9B1B-44256F8EB311}"/>
                  </a:ext>
                </a:extLst>
              </p:cNvPr>
              <p:cNvSpPr/>
              <p:nvPr/>
            </p:nvSpPr>
            <p:spPr>
              <a:xfrm>
                <a:off x="4433961" y="4472233"/>
                <a:ext cx="18333" cy="18416"/>
              </a:xfrm>
              <a:custGeom>
                <a:avLst/>
                <a:gdLst>
                  <a:gd name="connsiteX0" fmla="*/ 5189 w 18333"/>
                  <a:gd name="connsiteY0" fmla="*/ 908 h 18416"/>
                  <a:gd name="connsiteX1" fmla="*/ 884 w 18333"/>
                  <a:gd name="connsiteY1" fmla="*/ 13169 h 18416"/>
                  <a:gd name="connsiteX2" fmla="*/ 13144 w 18333"/>
                  <a:gd name="connsiteY2" fmla="*/ 17535 h 18416"/>
                  <a:gd name="connsiteX3" fmla="*/ 17450 w 18333"/>
                  <a:gd name="connsiteY3" fmla="*/ 5274 h 18416"/>
                  <a:gd name="connsiteX4" fmla="*/ 5189 w 18333"/>
                  <a:gd name="connsiteY4" fmla="*/ 908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5189" y="908"/>
                    </a:moveTo>
                    <a:cubicBezTo>
                      <a:pt x="644" y="3121"/>
                      <a:pt x="-1269" y="8623"/>
                      <a:pt x="884" y="13169"/>
                    </a:cubicBezTo>
                    <a:cubicBezTo>
                      <a:pt x="3096" y="17774"/>
                      <a:pt x="8539" y="19688"/>
                      <a:pt x="13144" y="17535"/>
                    </a:cubicBezTo>
                    <a:cubicBezTo>
                      <a:pt x="17689" y="15322"/>
                      <a:pt x="19603" y="9820"/>
                      <a:pt x="17450" y="5274"/>
                    </a:cubicBezTo>
                    <a:cubicBezTo>
                      <a:pt x="15237" y="669"/>
                      <a:pt x="9735" y="-1305"/>
                      <a:pt x="5189" y="908"/>
                    </a:cubicBezTo>
                    <a:close/>
                  </a:path>
                </a:pathLst>
              </a:custGeom>
              <a:grpFill/>
              <a:ln w="5978" cap="flat">
                <a:noFill/>
                <a:prstDash val="solid"/>
                <a:miter/>
              </a:ln>
            </p:spPr>
            <p:txBody>
              <a:bodyPr rtlCol="0" anchor="ctr"/>
              <a:lstStyle/>
              <a:p>
                <a:endParaRPr lang="en-GB"/>
              </a:p>
            </p:txBody>
          </p:sp>
        </p:grpSp>
        <p:grpSp>
          <p:nvGrpSpPr>
            <p:cNvPr id="1198" name="Graphic 3">
              <a:extLst>
                <a:ext uri="{FF2B5EF4-FFF2-40B4-BE49-F238E27FC236}">
                  <a16:creationId xmlns:a16="http://schemas.microsoft.com/office/drawing/2014/main" id="{99322741-A17E-43E0-9334-D0E4B7CAD233}"/>
                </a:ext>
              </a:extLst>
            </p:cNvPr>
            <p:cNvGrpSpPr/>
            <p:nvPr/>
          </p:nvGrpSpPr>
          <p:grpSpPr>
            <a:xfrm>
              <a:off x="4665468" y="4915817"/>
              <a:ext cx="158793" cy="189144"/>
              <a:chOff x="4665468" y="4915817"/>
              <a:chExt cx="158793" cy="189144"/>
            </a:xfrm>
            <a:grpFill/>
          </p:grpSpPr>
          <p:sp>
            <p:nvSpPr>
              <p:cNvPr id="1808" name="Vrije vorm: vorm 1807">
                <a:extLst>
                  <a:ext uri="{FF2B5EF4-FFF2-40B4-BE49-F238E27FC236}">
                    <a16:creationId xmlns:a16="http://schemas.microsoft.com/office/drawing/2014/main" id="{AF312BF2-B526-4314-8526-073100E28E5F}"/>
                  </a:ext>
                </a:extLst>
              </p:cNvPr>
              <p:cNvSpPr/>
              <p:nvPr/>
            </p:nvSpPr>
            <p:spPr>
              <a:xfrm>
                <a:off x="4673176" y="4923669"/>
                <a:ext cx="143358" cy="173440"/>
              </a:xfrm>
              <a:custGeom>
                <a:avLst/>
                <a:gdLst>
                  <a:gd name="connsiteX0" fmla="*/ 143358 w 143358"/>
                  <a:gd name="connsiteY0" fmla="*/ 1974 h 173440"/>
                  <a:gd name="connsiteX1" fmla="*/ 2392 w 143358"/>
                  <a:gd name="connsiteY1" fmla="*/ 173441 h 173440"/>
                  <a:gd name="connsiteX2" fmla="*/ 0 w 143358"/>
                  <a:gd name="connsiteY2" fmla="*/ 171468 h 173440"/>
                  <a:gd name="connsiteX3" fmla="*/ 141026 w 143358"/>
                  <a:gd name="connsiteY3" fmla="*/ 0 h 173440"/>
                </a:gdLst>
                <a:ahLst/>
                <a:cxnLst>
                  <a:cxn ang="0">
                    <a:pos x="connsiteX0" y="connsiteY0"/>
                  </a:cxn>
                  <a:cxn ang="0">
                    <a:pos x="connsiteX1" y="connsiteY1"/>
                  </a:cxn>
                  <a:cxn ang="0">
                    <a:pos x="connsiteX2" y="connsiteY2"/>
                  </a:cxn>
                  <a:cxn ang="0">
                    <a:pos x="connsiteX3" y="connsiteY3"/>
                  </a:cxn>
                </a:cxnLst>
                <a:rect l="l" t="t" r="r" b="b"/>
                <a:pathLst>
                  <a:path w="143358" h="173440">
                    <a:moveTo>
                      <a:pt x="143358" y="1974"/>
                    </a:moveTo>
                    <a:lnTo>
                      <a:pt x="2392" y="173441"/>
                    </a:lnTo>
                    <a:lnTo>
                      <a:pt x="0" y="171468"/>
                    </a:lnTo>
                    <a:lnTo>
                      <a:pt x="141026" y="0"/>
                    </a:lnTo>
                    <a:close/>
                  </a:path>
                </a:pathLst>
              </a:custGeom>
              <a:grpFill/>
              <a:ln w="5978" cap="flat">
                <a:noFill/>
                <a:prstDash val="solid"/>
                <a:miter/>
              </a:ln>
            </p:spPr>
            <p:txBody>
              <a:bodyPr rtlCol="0" anchor="ctr"/>
              <a:lstStyle/>
              <a:p>
                <a:endParaRPr lang="en-GB"/>
              </a:p>
            </p:txBody>
          </p:sp>
          <p:sp>
            <p:nvSpPr>
              <p:cNvPr id="1809" name="Vrije vorm: vorm 1808">
                <a:extLst>
                  <a:ext uri="{FF2B5EF4-FFF2-40B4-BE49-F238E27FC236}">
                    <a16:creationId xmlns:a16="http://schemas.microsoft.com/office/drawing/2014/main" id="{7FA8C545-D6F4-4FA7-98B4-474D115F58F8}"/>
                  </a:ext>
                </a:extLst>
              </p:cNvPr>
              <p:cNvSpPr/>
              <p:nvPr/>
            </p:nvSpPr>
            <p:spPr>
              <a:xfrm>
                <a:off x="4665468" y="5086567"/>
                <a:ext cx="18365" cy="18395"/>
              </a:xfrm>
              <a:custGeom>
                <a:avLst/>
                <a:gdLst>
                  <a:gd name="connsiteX0" fmla="*/ 16260 w 18365"/>
                  <a:gd name="connsiteY0" fmla="*/ 15089 h 18395"/>
                  <a:gd name="connsiteX1" fmla="*/ 3342 w 18365"/>
                  <a:gd name="connsiteY1" fmla="*/ 16285 h 18395"/>
                  <a:gd name="connsiteX2" fmla="*/ 2086 w 18365"/>
                  <a:gd name="connsiteY2" fmla="*/ 3307 h 18395"/>
                  <a:gd name="connsiteX3" fmla="*/ 15005 w 18365"/>
                  <a:gd name="connsiteY3" fmla="*/ 2110 h 18395"/>
                  <a:gd name="connsiteX4" fmla="*/ 16260 w 18365"/>
                  <a:gd name="connsiteY4" fmla="*/ 15089 h 18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5">
                    <a:moveTo>
                      <a:pt x="16260" y="15089"/>
                    </a:moveTo>
                    <a:cubicBezTo>
                      <a:pt x="13031" y="18976"/>
                      <a:pt x="7289" y="19514"/>
                      <a:pt x="3342" y="16285"/>
                    </a:cubicBezTo>
                    <a:cubicBezTo>
                      <a:pt x="-546" y="13055"/>
                      <a:pt x="-1143" y="7254"/>
                      <a:pt x="2086" y="3307"/>
                    </a:cubicBezTo>
                    <a:cubicBezTo>
                      <a:pt x="5316" y="-581"/>
                      <a:pt x="11057" y="-1119"/>
                      <a:pt x="15005" y="2110"/>
                    </a:cubicBezTo>
                    <a:cubicBezTo>
                      <a:pt x="18952" y="5340"/>
                      <a:pt x="19490" y="11141"/>
                      <a:pt x="16260" y="15089"/>
                    </a:cubicBezTo>
                    <a:close/>
                  </a:path>
                </a:pathLst>
              </a:custGeom>
              <a:grpFill/>
              <a:ln w="5978" cap="flat">
                <a:noFill/>
                <a:prstDash val="solid"/>
                <a:miter/>
              </a:ln>
            </p:spPr>
            <p:txBody>
              <a:bodyPr rtlCol="0" anchor="ctr"/>
              <a:lstStyle/>
              <a:p>
                <a:endParaRPr lang="en-GB"/>
              </a:p>
            </p:txBody>
          </p:sp>
          <p:sp>
            <p:nvSpPr>
              <p:cNvPr id="1810" name="Vrije vorm: vorm 1809">
                <a:extLst>
                  <a:ext uri="{FF2B5EF4-FFF2-40B4-BE49-F238E27FC236}">
                    <a16:creationId xmlns:a16="http://schemas.microsoft.com/office/drawing/2014/main" id="{59BA733C-81BA-4A13-9B2A-4512ECC36816}"/>
                  </a:ext>
                </a:extLst>
              </p:cNvPr>
              <p:cNvSpPr/>
              <p:nvPr/>
            </p:nvSpPr>
            <p:spPr>
              <a:xfrm>
                <a:off x="4805896" y="4915817"/>
                <a:ext cx="18365" cy="18394"/>
              </a:xfrm>
              <a:custGeom>
                <a:avLst/>
                <a:gdLst>
                  <a:gd name="connsiteX0" fmla="*/ 16260 w 18365"/>
                  <a:gd name="connsiteY0" fmla="*/ 15089 h 18394"/>
                  <a:gd name="connsiteX1" fmla="*/ 15004 w 18365"/>
                  <a:gd name="connsiteY1" fmla="*/ 2111 h 18394"/>
                  <a:gd name="connsiteX2" fmla="*/ 2086 w 18365"/>
                  <a:gd name="connsiteY2" fmla="*/ 3306 h 18394"/>
                  <a:gd name="connsiteX3" fmla="*/ 3342 w 18365"/>
                  <a:gd name="connsiteY3" fmla="*/ 16285 h 18394"/>
                  <a:gd name="connsiteX4" fmla="*/ 16260 w 18365"/>
                  <a:gd name="connsiteY4" fmla="*/ 15089 h 1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394">
                    <a:moveTo>
                      <a:pt x="16260" y="15089"/>
                    </a:moveTo>
                    <a:cubicBezTo>
                      <a:pt x="19490" y="11201"/>
                      <a:pt x="18952" y="5340"/>
                      <a:pt x="15004" y="2111"/>
                    </a:cubicBezTo>
                    <a:cubicBezTo>
                      <a:pt x="11117" y="-1119"/>
                      <a:pt x="5316" y="-581"/>
                      <a:pt x="2086" y="3306"/>
                    </a:cubicBezTo>
                    <a:cubicBezTo>
                      <a:pt x="-1144" y="7194"/>
                      <a:pt x="-545" y="13055"/>
                      <a:pt x="3342" y="16285"/>
                    </a:cubicBezTo>
                    <a:cubicBezTo>
                      <a:pt x="7289" y="19514"/>
                      <a:pt x="13031" y="18976"/>
                      <a:pt x="16260" y="15089"/>
                    </a:cubicBezTo>
                    <a:close/>
                  </a:path>
                </a:pathLst>
              </a:custGeom>
              <a:grpFill/>
              <a:ln w="5978" cap="flat">
                <a:noFill/>
                <a:prstDash val="solid"/>
                <a:miter/>
              </a:ln>
            </p:spPr>
            <p:txBody>
              <a:bodyPr rtlCol="0" anchor="ctr"/>
              <a:lstStyle/>
              <a:p>
                <a:endParaRPr lang="en-GB"/>
              </a:p>
            </p:txBody>
          </p:sp>
        </p:grpSp>
        <p:grpSp>
          <p:nvGrpSpPr>
            <p:cNvPr id="1199" name="Graphic 3">
              <a:extLst>
                <a:ext uri="{FF2B5EF4-FFF2-40B4-BE49-F238E27FC236}">
                  <a16:creationId xmlns:a16="http://schemas.microsoft.com/office/drawing/2014/main" id="{28B26DA7-91A3-4546-99AC-3A9527F5FCA6}"/>
                </a:ext>
              </a:extLst>
            </p:cNvPr>
            <p:cNvGrpSpPr/>
            <p:nvPr/>
          </p:nvGrpSpPr>
          <p:grpSpPr>
            <a:xfrm>
              <a:off x="4066775" y="3299229"/>
              <a:ext cx="177653" cy="27124"/>
              <a:chOff x="4066775" y="3299229"/>
              <a:chExt cx="177653" cy="27124"/>
            </a:xfrm>
            <a:grpFill/>
          </p:grpSpPr>
          <p:sp>
            <p:nvSpPr>
              <p:cNvPr id="1805" name="Vrije vorm: vorm 1804">
                <a:extLst>
                  <a:ext uri="{FF2B5EF4-FFF2-40B4-BE49-F238E27FC236}">
                    <a16:creationId xmlns:a16="http://schemas.microsoft.com/office/drawing/2014/main" id="{961EBB4D-92F2-4C79-A559-C4187447ABBD}"/>
                  </a:ext>
                </a:extLst>
              </p:cNvPr>
              <p:cNvSpPr/>
              <p:nvPr/>
            </p:nvSpPr>
            <p:spPr>
              <a:xfrm>
                <a:off x="4075403" y="3306841"/>
                <a:ext cx="160403" cy="11841"/>
              </a:xfrm>
              <a:custGeom>
                <a:avLst/>
                <a:gdLst>
                  <a:gd name="connsiteX0" fmla="*/ 160403 w 160403"/>
                  <a:gd name="connsiteY0" fmla="*/ 8792 h 11841"/>
                  <a:gd name="connsiteX1" fmla="*/ 160224 w 160403"/>
                  <a:gd name="connsiteY1" fmla="*/ 11842 h 11841"/>
                  <a:gd name="connsiteX2" fmla="*/ 0 w 160403"/>
                  <a:gd name="connsiteY2" fmla="*/ 3050 h 11841"/>
                  <a:gd name="connsiteX3" fmla="*/ 120 w 160403"/>
                  <a:gd name="connsiteY3" fmla="*/ 0 h 11841"/>
                </a:gdLst>
                <a:ahLst/>
                <a:cxnLst>
                  <a:cxn ang="0">
                    <a:pos x="connsiteX0" y="connsiteY0"/>
                  </a:cxn>
                  <a:cxn ang="0">
                    <a:pos x="connsiteX1" y="connsiteY1"/>
                  </a:cxn>
                  <a:cxn ang="0">
                    <a:pos x="connsiteX2" y="connsiteY2"/>
                  </a:cxn>
                  <a:cxn ang="0">
                    <a:pos x="connsiteX3" y="connsiteY3"/>
                  </a:cxn>
                </a:cxnLst>
                <a:rect l="l" t="t" r="r" b="b"/>
                <a:pathLst>
                  <a:path w="160403" h="11841">
                    <a:moveTo>
                      <a:pt x="160403" y="8792"/>
                    </a:moveTo>
                    <a:lnTo>
                      <a:pt x="160224" y="11842"/>
                    </a:lnTo>
                    <a:lnTo>
                      <a:pt x="0" y="3050"/>
                    </a:lnTo>
                    <a:lnTo>
                      <a:pt x="120" y="0"/>
                    </a:lnTo>
                    <a:close/>
                  </a:path>
                </a:pathLst>
              </a:custGeom>
              <a:grpFill/>
              <a:ln w="5978" cap="flat">
                <a:noFill/>
                <a:prstDash val="solid"/>
                <a:miter/>
              </a:ln>
            </p:spPr>
            <p:txBody>
              <a:bodyPr rtlCol="0" anchor="ctr"/>
              <a:lstStyle/>
              <a:p>
                <a:endParaRPr lang="en-GB"/>
              </a:p>
            </p:txBody>
          </p:sp>
          <p:sp>
            <p:nvSpPr>
              <p:cNvPr id="1806" name="Vrije vorm: vorm 1805">
                <a:extLst>
                  <a:ext uri="{FF2B5EF4-FFF2-40B4-BE49-F238E27FC236}">
                    <a16:creationId xmlns:a16="http://schemas.microsoft.com/office/drawing/2014/main" id="{489328FE-3ACC-41CE-B16D-AB1E3D45734E}"/>
                  </a:ext>
                </a:extLst>
              </p:cNvPr>
              <p:cNvSpPr/>
              <p:nvPr/>
            </p:nvSpPr>
            <p:spPr>
              <a:xfrm>
                <a:off x="4066775" y="3299229"/>
                <a:ext cx="18333" cy="18387"/>
              </a:xfrm>
              <a:custGeom>
                <a:avLst/>
                <a:gdLst>
                  <a:gd name="connsiteX0" fmla="*/ 8688 w 18333"/>
                  <a:gd name="connsiteY0" fmla="*/ 18377 h 18387"/>
                  <a:gd name="connsiteX1" fmla="*/ 16 w 18333"/>
                  <a:gd name="connsiteY1" fmla="*/ 8688 h 18387"/>
                  <a:gd name="connsiteX2" fmla="*/ 9645 w 18333"/>
                  <a:gd name="connsiteY2" fmla="*/ 16 h 18387"/>
                  <a:gd name="connsiteX3" fmla="*/ 18317 w 18333"/>
                  <a:gd name="connsiteY3" fmla="*/ 9705 h 18387"/>
                  <a:gd name="connsiteX4" fmla="*/ 8688 w 18333"/>
                  <a:gd name="connsiteY4" fmla="*/ 18377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87">
                    <a:moveTo>
                      <a:pt x="8688" y="18377"/>
                    </a:moveTo>
                    <a:cubicBezTo>
                      <a:pt x="3604" y="18078"/>
                      <a:pt x="-283" y="13772"/>
                      <a:pt x="16" y="8688"/>
                    </a:cubicBezTo>
                    <a:cubicBezTo>
                      <a:pt x="255" y="3605"/>
                      <a:pt x="4561" y="-283"/>
                      <a:pt x="9645" y="16"/>
                    </a:cubicBezTo>
                    <a:cubicBezTo>
                      <a:pt x="14729" y="315"/>
                      <a:pt x="18616" y="4621"/>
                      <a:pt x="18317" y="9705"/>
                    </a:cubicBezTo>
                    <a:cubicBezTo>
                      <a:pt x="18018" y="14789"/>
                      <a:pt x="13772" y="18616"/>
                      <a:pt x="8688" y="18377"/>
                    </a:cubicBezTo>
                    <a:close/>
                  </a:path>
                </a:pathLst>
              </a:custGeom>
              <a:grpFill/>
              <a:ln w="5978" cap="flat">
                <a:noFill/>
                <a:prstDash val="solid"/>
                <a:miter/>
              </a:ln>
            </p:spPr>
            <p:txBody>
              <a:bodyPr rtlCol="0" anchor="ctr"/>
              <a:lstStyle/>
              <a:p>
                <a:endParaRPr lang="en-GB"/>
              </a:p>
            </p:txBody>
          </p:sp>
          <p:sp>
            <p:nvSpPr>
              <p:cNvPr id="1807" name="Vrije vorm: vorm 1806">
                <a:extLst>
                  <a:ext uri="{FF2B5EF4-FFF2-40B4-BE49-F238E27FC236}">
                    <a16:creationId xmlns:a16="http://schemas.microsoft.com/office/drawing/2014/main" id="{196E3297-EA40-47B5-9F9F-20DF1DFF353A}"/>
                  </a:ext>
                </a:extLst>
              </p:cNvPr>
              <p:cNvSpPr/>
              <p:nvPr/>
            </p:nvSpPr>
            <p:spPr>
              <a:xfrm>
                <a:off x="4226101" y="3307961"/>
                <a:ext cx="18327" cy="18393"/>
              </a:xfrm>
              <a:custGeom>
                <a:avLst/>
                <a:gdLst>
                  <a:gd name="connsiteX0" fmla="*/ 8688 w 18327"/>
                  <a:gd name="connsiteY0" fmla="*/ 18377 h 18393"/>
                  <a:gd name="connsiteX1" fmla="*/ 18317 w 18327"/>
                  <a:gd name="connsiteY1" fmla="*/ 9705 h 18393"/>
                  <a:gd name="connsiteX2" fmla="*/ 9645 w 18327"/>
                  <a:gd name="connsiteY2" fmla="*/ 16 h 18393"/>
                  <a:gd name="connsiteX3" fmla="*/ 16 w 18327"/>
                  <a:gd name="connsiteY3" fmla="*/ 8688 h 18393"/>
                  <a:gd name="connsiteX4" fmla="*/ 8688 w 18327"/>
                  <a:gd name="connsiteY4" fmla="*/ 18377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3">
                    <a:moveTo>
                      <a:pt x="8688" y="18377"/>
                    </a:moveTo>
                    <a:cubicBezTo>
                      <a:pt x="13772" y="18676"/>
                      <a:pt x="18078" y="14789"/>
                      <a:pt x="18317" y="9705"/>
                    </a:cubicBezTo>
                    <a:cubicBezTo>
                      <a:pt x="18557" y="4621"/>
                      <a:pt x="14669" y="255"/>
                      <a:pt x="9645" y="16"/>
                    </a:cubicBezTo>
                    <a:cubicBezTo>
                      <a:pt x="4562" y="-283"/>
                      <a:pt x="256" y="3605"/>
                      <a:pt x="16" y="8688"/>
                    </a:cubicBezTo>
                    <a:cubicBezTo>
                      <a:pt x="-283" y="13772"/>
                      <a:pt x="3605" y="18078"/>
                      <a:pt x="8688" y="18377"/>
                    </a:cubicBezTo>
                    <a:close/>
                  </a:path>
                </a:pathLst>
              </a:custGeom>
              <a:grpFill/>
              <a:ln w="5978" cap="flat">
                <a:noFill/>
                <a:prstDash val="solid"/>
                <a:miter/>
              </a:ln>
            </p:spPr>
            <p:txBody>
              <a:bodyPr rtlCol="0" anchor="ctr"/>
              <a:lstStyle/>
              <a:p>
                <a:endParaRPr lang="en-GB"/>
              </a:p>
            </p:txBody>
          </p:sp>
        </p:grpSp>
        <p:grpSp>
          <p:nvGrpSpPr>
            <p:cNvPr id="1200" name="Graphic 3">
              <a:extLst>
                <a:ext uri="{FF2B5EF4-FFF2-40B4-BE49-F238E27FC236}">
                  <a16:creationId xmlns:a16="http://schemas.microsoft.com/office/drawing/2014/main" id="{F449CF72-42AF-47F2-9061-9B0AF90014BA}"/>
                </a:ext>
              </a:extLst>
            </p:cNvPr>
            <p:cNvGrpSpPr/>
            <p:nvPr/>
          </p:nvGrpSpPr>
          <p:grpSpPr>
            <a:xfrm>
              <a:off x="4193295" y="3722770"/>
              <a:ext cx="223655" cy="57670"/>
              <a:chOff x="4193295" y="3722770"/>
              <a:chExt cx="223655" cy="57670"/>
            </a:xfrm>
            <a:grpFill/>
          </p:grpSpPr>
          <p:sp>
            <p:nvSpPr>
              <p:cNvPr id="1802" name="Vrije vorm: vorm 1801">
                <a:extLst>
                  <a:ext uri="{FF2B5EF4-FFF2-40B4-BE49-F238E27FC236}">
                    <a16:creationId xmlns:a16="http://schemas.microsoft.com/office/drawing/2014/main" id="{EE62EF17-EB0B-4D08-86FA-7A891412EE72}"/>
                  </a:ext>
                </a:extLst>
              </p:cNvPr>
              <p:cNvSpPr/>
              <p:nvPr/>
            </p:nvSpPr>
            <p:spPr>
              <a:xfrm>
                <a:off x="4201716" y="3730395"/>
                <a:ext cx="206813" cy="42463"/>
              </a:xfrm>
              <a:custGeom>
                <a:avLst/>
                <a:gdLst>
                  <a:gd name="connsiteX0" fmla="*/ 206215 w 206813"/>
                  <a:gd name="connsiteY0" fmla="*/ 0 h 42463"/>
                  <a:gd name="connsiteX1" fmla="*/ 206813 w 206813"/>
                  <a:gd name="connsiteY1" fmla="*/ 3050 h 42463"/>
                  <a:gd name="connsiteX2" fmla="*/ 598 w 206813"/>
                  <a:gd name="connsiteY2" fmla="*/ 42463 h 42463"/>
                  <a:gd name="connsiteX3" fmla="*/ 0 w 206813"/>
                  <a:gd name="connsiteY3" fmla="*/ 39413 h 42463"/>
                </a:gdLst>
                <a:ahLst/>
                <a:cxnLst>
                  <a:cxn ang="0">
                    <a:pos x="connsiteX0" y="connsiteY0"/>
                  </a:cxn>
                  <a:cxn ang="0">
                    <a:pos x="connsiteX1" y="connsiteY1"/>
                  </a:cxn>
                  <a:cxn ang="0">
                    <a:pos x="connsiteX2" y="connsiteY2"/>
                  </a:cxn>
                  <a:cxn ang="0">
                    <a:pos x="connsiteX3" y="connsiteY3"/>
                  </a:cxn>
                </a:cxnLst>
                <a:rect l="l" t="t" r="r" b="b"/>
                <a:pathLst>
                  <a:path w="206813" h="42463">
                    <a:moveTo>
                      <a:pt x="206215" y="0"/>
                    </a:moveTo>
                    <a:lnTo>
                      <a:pt x="206813" y="3050"/>
                    </a:lnTo>
                    <a:lnTo>
                      <a:pt x="598" y="42463"/>
                    </a:lnTo>
                    <a:lnTo>
                      <a:pt x="0" y="39413"/>
                    </a:lnTo>
                    <a:close/>
                  </a:path>
                </a:pathLst>
              </a:custGeom>
              <a:grpFill/>
              <a:ln w="5978" cap="flat">
                <a:noFill/>
                <a:prstDash val="solid"/>
                <a:miter/>
              </a:ln>
            </p:spPr>
            <p:txBody>
              <a:bodyPr rtlCol="0" anchor="ctr"/>
              <a:lstStyle/>
              <a:p>
                <a:endParaRPr lang="en-GB"/>
              </a:p>
            </p:txBody>
          </p:sp>
          <p:sp>
            <p:nvSpPr>
              <p:cNvPr id="1803" name="Vrije vorm: vorm 1802">
                <a:extLst>
                  <a:ext uri="{FF2B5EF4-FFF2-40B4-BE49-F238E27FC236}">
                    <a16:creationId xmlns:a16="http://schemas.microsoft.com/office/drawing/2014/main" id="{624A7453-5A94-4B8B-AF25-56C1FB431C86}"/>
                  </a:ext>
                </a:extLst>
              </p:cNvPr>
              <p:cNvSpPr/>
              <p:nvPr/>
            </p:nvSpPr>
            <p:spPr>
              <a:xfrm>
                <a:off x="4193295" y="3761988"/>
                <a:ext cx="18337" cy="18452"/>
              </a:xfrm>
              <a:custGeom>
                <a:avLst/>
                <a:gdLst>
                  <a:gd name="connsiteX0" fmla="*/ 10933 w 18337"/>
                  <a:gd name="connsiteY0" fmla="*/ 18287 h 18452"/>
                  <a:gd name="connsiteX1" fmla="*/ 168 w 18337"/>
                  <a:gd name="connsiteY1" fmla="*/ 10931 h 18452"/>
                  <a:gd name="connsiteX2" fmla="*/ 7404 w 18337"/>
                  <a:gd name="connsiteY2" fmla="*/ 166 h 18452"/>
                  <a:gd name="connsiteX3" fmla="*/ 18170 w 18337"/>
                  <a:gd name="connsiteY3" fmla="*/ 7522 h 18452"/>
                  <a:gd name="connsiteX4" fmla="*/ 10933 w 18337"/>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2">
                    <a:moveTo>
                      <a:pt x="10933" y="18287"/>
                    </a:moveTo>
                    <a:cubicBezTo>
                      <a:pt x="5969" y="19244"/>
                      <a:pt x="1125" y="15955"/>
                      <a:pt x="168" y="10931"/>
                    </a:cubicBezTo>
                    <a:cubicBezTo>
                      <a:pt x="-789" y="5907"/>
                      <a:pt x="2441" y="1122"/>
                      <a:pt x="7404" y="166"/>
                    </a:cubicBezTo>
                    <a:cubicBezTo>
                      <a:pt x="12368" y="-791"/>
                      <a:pt x="17213" y="2498"/>
                      <a:pt x="18170" y="7522"/>
                    </a:cubicBezTo>
                    <a:cubicBezTo>
                      <a:pt x="19127" y="12546"/>
                      <a:pt x="15897" y="17330"/>
                      <a:pt x="10933" y="18287"/>
                    </a:cubicBezTo>
                    <a:close/>
                  </a:path>
                </a:pathLst>
              </a:custGeom>
              <a:grpFill/>
              <a:ln w="5978" cap="flat">
                <a:noFill/>
                <a:prstDash val="solid"/>
                <a:miter/>
              </a:ln>
            </p:spPr>
            <p:txBody>
              <a:bodyPr rtlCol="0" anchor="ctr"/>
              <a:lstStyle/>
              <a:p>
                <a:endParaRPr lang="en-GB"/>
              </a:p>
            </p:txBody>
          </p:sp>
          <p:sp>
            <p:nvSpPr>
              <p:cNvPr id="1804" name="Vrije vorm: vorm 1803">
                <a:extLst>
                  <a:ext uri="{FF2B5EF4-FFF2-40B4-BE49-F238E27FC236}">
                    <a16:creationId xmlns:a16="http://schemas.microsoft.com/office/drawing/2014/main" id="{B133E09E-67CF-457E-8EB1-850E0AB705A8}"/>
                  </a:ext>
                </a:extLst>
              </p:cNvPr>
              <p:cNvSpPr/>
              <p:nvPr/>
            </p:nvSpPr>
            <p:spPr>
              <a:xfrm>
                <a:off x="4398613" y="3722770"/>
                <a:ext cx="18337" cy="18436"/>
              </a:xfrm>
              <a:custGeom>
                <a:avLst/>
                <a:gdLst>
                  <a:gd name="connsiteX0" fmla="*/ 10933 w 18337"/>
                  <a:gd name="connsiteY0" fmla="*/ 18271 h 18436"/>
                  <a:gd name="connsiteX1" fmla="*/ 18170 w 18337"/>
                  <a:gd name="connsiteY1" fmla="*/ 7506 h 18436"/>
                  <a:gd name="connsiteX2" fmla="*/ 7405 w 18337"/>
                  <a:gd name="connsiteY2" fmla="*/ 149 h 18436"/>
                  <a:gd name="connsiteX3" fmla="*/ 168 w 18337"/>
                  <a:gd name="connsiteY3" fmla="*/ 10915 h 18436"/>
                  <a:gd name="connsiteX4" fmla="*/ 10933 w 18337"/>
                  <a:gd name="connsiteY4" fmla="*/ 1827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0933" y="18271"/>
                    </a:moveTo>
                    <a:cubicBezTo>
                      <a:pt x="15897" y="17314"/>
                      <a:pt x="19127" y="12470"/>
                      <a:pt x="18170" y="7506"/>
                    </a:cubicBezTo>
                    <a:cubicBezTo>
                      <a:pt x="17213" y="2482"/>
                      <a:pt x="12369" y="-748"/>
                      <a:pt x="7405" y="149"/>
                    </a:cubicBezTo>
                    <a:cubicBezTo>
                      <a:pt x="2441" y="1106"/>
                      <a:pt x="-789" y="5951"/>
                      <a:pt x="168" y="10915"/>
                    </a:cubicBezTo>
                    <a:cubicBezTo>
                      <a:pt x="1125" y="15939"/>
                      <a:pt x="5969" y="19228"/>
                      <a:pt x="10933" y="18271"/>
                    </a:cubicBezTo>
                    <a:close/>
                  </a:path>
                </a:pathLst>
              </a:custGeom>
              <a:grpFill/>
              <a:ln w="5978" cap="flat">
                <a:noFill/>
                <a:prstDash val="solid"/>
                <a:miter/>
              </a:ln>
            </p:spPr>
            <p:txBody>
              <a:bodyPr rtlCol="0" anchor="ctr"/>
              <a:lstStyle/>
              <a:p>
                <a:endParaRPr lang="en-GB"/>
              </a:p>
            </p:txBody>
          </p:sp>
        </p:grpSp>
        <p:grpSp>
          <p:nvGrpSpPr>
            <p:cNvPr id="1201" name="Graphic 3">
              <a:extLst>
                <a:ext uri="{FF2B5EF4-FFF2-40B4-BE49-F238E27FC236}">
                  <a16:creationId xmlns:a16="http://schemas.microsoft.com/office/drawing/2014/main" id="{F8822AE8-220E-4212-AC72-67EB4F86B231}"/>
                </a:ext>
              </a:extLst>
            </p:cNvPr>
            <p:cNvGrpSpPr/>
            <p:nvPr/>
          </p:nvGrpSpPr>
          <p:grpSpPr>
            <a:xfrm>
              <a:off x="4428149" y="4439981"/>
              <a:ext cx="300498" cy="236496"/>
              <a:chOff x="4428149" y="4439981"/>
              <a:chExt cx="300498" cy="236496"/>
            </a:xfrm>
            <a:grpFill/>
          </p:grpSpPr>
          <p:sp>
            <p:nvSpPr>
              <p:cNvPr id="1799" name="Vrije vorm: vorm 1798">
                <a:extLst>
                  <a:ext uri="{FF2B5EF4-FFF2-40B4-BE49-F238E27FC236}">
                    <a16:creationId xmlns:a16="http://schemas.microsoft.com/office/drawing/2014/main" id="{43E193DF-9D72-4031-A306-BD43A61BBD4F}"/>
                  </a:ext>
                </a:extLst>
              </p:cNvPr>
              <p:cNvSpPr/>
              <p:nvPr/>
            </p:nvSpPr>
            <p:spPr>
              <a:xfrm>
                <a:off x="4436041" y="4447723"/>
                <a:ext cx="284742" cy="221047"/>
              </a:xfrm>
              <a:custGeom>
                <a:avLst/>
                <a:gdLst>
                  <a:gd name="connsiteX0" fmla="*/ 284742 w 284742"/>
                  <a:gd name="connsiteY0" fmla="*/ 2452 h 221047"/>
                  <a:gd name="connsiteX1" fmla="*/ 1854 w 284742"/>
                  <a:gd name="connsiteY1" fmla="*/ 221047 h 221047"/>
                  <a:gd name="connsiteX2" fmla="*/ 0 w 284742"/>
                  <a:gd name="connsiteY2" fmla="*/ 218595 h 221047"/>
                  <a:gd name="connsiteX3" fmla="*/ 282888 w 284742"/>
                  <a:gd name="connsiteY3" fmla="*/ 0 h 221047"/>
                </a:gdLst>
                <a:ahLst/>
                <a:cxnLst>
                  <a:cxn ang="0">
                    <a:pos x="connsiteX0" y="connsiteY0"/>
                  </a:cxn>
                  <a:cxn ang="0">
                    <a:pos x="connsiteX1" y="connsiteY1"/>
                  </a:cxn>
                  <a:cxn ang="0">
                    <a:pos x="connsiteX2" y="connsiteY2"/>
                  </a:cxn>
                  <a:cxn ang="0">
                    <a:pos x="connsiteX3" y="connsiteY3"/>
                  </a:cxn>
                </a:cxnLst>
                <a:rect l="l" t="t" r="r" b="b"/>
                <a:pathLst>
                  <a:path w="284742" h="221047">
                    <a:moveTo>
                      <a:pt x="284742" y="2452"/>
                    </a:moveTo>
                    <a:lnTo>
                      <a:pt x="1854" y="221047"/>
                    </a:lnTo>
                    <a:lnTo>
                      <a:pt x="0" y="218595"/>
                    </a:lnTo>
                    <a:lnTo>
                      <a:pt x="282888" y="0"/>
                    </a:lnTo>
                    <a:close/>
                  </a:path>
                </a:pathLst>
              </a:custGeom>
              <a:grpFill/>
              <a:ln w="5978" cap="flat">
                <a:noFill/>
                <a:prstDash val="solid"/>
                <a:miter/>
              </a:ln>
            </p:spPr>
            <p:txBody>
              <a:bodyPr rtlCol="0" anchor="ctr"/>
              <a:lstStyle/>
              <a:p>
                <a:endParaRPr lang="en-GB"/>
              </a:p>
            </p:txBody>
          </p:sp>
          <p:sp>
            <p:nvSpPr>
              <p:cNvPr id="1800" name="Vrije vorm: vorm 1799">
                <a:extLst>
                  <a:ext uri="{FF2B5EF4-FFF2-40B4-BE49-F238E27FC236}">
                    <a16:creationId xmlns:a16="http://schemas.microsoft.com/office/drawing/2014/main" id="{783EEF08-597A-4603-B40A-E54606555096}"/>
                  </a:ext>
                </a:extLst>
              </p:cNvPr>
              <p:cNvSpPr/>
              <p:nvPr/>
            </p:nvSpPr>
            <p:spPr>
              <a:xfrm>
                <a:off x="4428149" y="4658013"/>
                <a:ext cx="18328" cy="18465"/>
              </a:xfrm>
              <a:custGeom>
                <a:avLst/>
                <a:gdLst>
                  <a:gd name="connsiteX0" fmla="*/ 14769 w 18328"/>
                  <a:gd name="connsiteY0" fmla="*/ 16559 h 18465"/>
                  <a:gd name="connsiteX1" fmla="*/ 1910 w 18328"/>
                  <a:gd name="connsiteY1" fmla="*/ 14824 h 18465"/>
                  <a:gd name="connsiteX2" fmla="*/ 3585 w 18328"/>
                  <a:gd name="connsiteY2" fmla="*/ 1906 h 18465"/>
                  <a:gd name="connsiteX3" fmla="*/ 16444 w 18328"/>
                  <a:gd name="connsiteY3" fmla="*/ 3641 h 18465"/>
                  <a:gd name="connsiteX4" fmla="*/ 14769 w 18328"/>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65">
                    <a:moveTo>
                      <a:pt x="14769" y="16559"/>
                    </a:moveTo>
                    <a:cubicBezTo>
                      <a:pt x="10762" y="19669"/>
                      <a:pt x="5020" y="18891"/>
                      <a:pt x="1910" y="14824"/>
                    </a:cubicBezTo>
                    <a:cubicBezTo>
                      <a:pt x="-1200" y="10817"/>
                      <a:pt x="-422" y="5016"/>
                      <a:pt x="3585" y="1906"/>
                    </a:cubicBezTo>
                    <a:cubicBezTo>
                      <a:pt x="7592" y="-1204"/>
                      <a:pt x="13333" y="-426"/>
                      <a:pt x="16444" y="3641"/>
                    </a:cubicBezTo>
                    <a:cubicBezTo>
                      <a:pt x="19494" y="7707"/>
                      <a:pt x="18776" y="13509"/>
                      <a:pt x="14769" y="16559"/>
                    </a:cubicBezTo>
                    <a:close/>
                  </a:path>
                </a:pathLst>
              </a:custGeom>
              <a:grpFill/>
              <a:ln w="5978" cap="flat">
                <a:noFill/>
                <a:prstDash val="solid"/>
                <a:miter/>
              </a:ln>
            </p:spPr>
            <p:txBody>
              <a:bodyPr rtlCol="0" anchor="ctr"/>
              <a:lstStyle/>
              <a:p>
                <a:endParaRPr lang="en-GB"/>
              </a:p>
            </p:txBody>
          </p:sp>
          <p:sp>
            <p:nvSpPr>
              <p:cNvPr id="1801" name="Vrije vorm: vorm 1800">
                <a:extLst>
                  <a:ext uri="{FF2B5EF4-FFF2-40B4-BE49-F238E27FC236}">
                    <a16:creationId xmlns:a16="http://schemas.microsoft.com/office/drawing/2014/main" id="{BD07302A-D7CE-4D16-B509-5DE4807BB9D7}"/>
                  </a:ext>
                </a:extLst>
              </p:cNvPr>
              <p:cNvSpPr/>
              <p:nvPr/>
            </p:nvSpPr>
            <p:spPr>
              <a:xfrm>
                <a:off x="4710345" y="4439981"/>
                <a:ext cx="18303" cy="18439"/>
              </a:xfrm>
              <a:custGeom>
                <a:avLst/>
                <a:gdLst>
                  <a:gd name="connsiteX0" fmla="*/ 14743 w 18303"/>
                  <a:gd name="connsiteY0" fmla="*/ 16534 h 18439"/>
                  <a:gd name="connsiteX1" fmla="*/ 16418 w 18303"/>
                  <a:gd name="connsiteY1" fmla="*/ 3615 h 18439"/>
                  <a:gd name="connsiteX2" fmla="*/ 3559 w 18303"/>
                  <a:gd name="connsiteY2" fmla="*/ 1881 h 18439"/>
                  <a:gd name="connsiteX3" fmla="*/ 1885 w 18303"/>
                  <a:gd name="connsiteY3" fmla="*/ 14799 h 18439"/>
                  <a:gd name="connsiteX4" fmla="*/ 14743 w 18303"/>
                  <a:gd name="connsiteY4" fmla="*/ 165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39">
                    <a:moveTo>
                      <a:pt x="14743" y="16534"/>
                    </a:moveTo>
                    <a:cubicBezTo>
                      <a:pt x="18751" y="13423"/>
                      <a:pt x="19468" y="7682"/>
                      <a:pt x="16418" y="3615"/>
                    </a:cubicBezTo>
                    <a:cubicBezTo>
                      <a:pt x="13308" y="-452"/>
                      <a:pt x="7567" y="-1170"/>
                      <a:pt x="3559" y="1881"/>
                    </a:cubicBezTo>
                    <a:cubicBezTo>
                      <a:pt x="-448" y="4991"/>
                      <a:pt x="-1165" y="10732"/>
                      <a:pt x="1885" y="14799"/>
                    </a:cubicBezTo>
                    <a:cubicBezTo>
                      <a:pt x="4995" y="18866"/>
                      <a:pt x="10736" y="19644"/>
                      <a:pt x="14743" y="16534"/>
                    </a:cubicBezTo>
                    <a:close/>
                  </a:path>
                </a:pathLst>
              </a:custGeom>
              <a:grpFill/>
              <a:ln w="5978" cap="flat">
                <a:noFill/>
                <a:prstDash val="solid"/>
                <a:miter/>
              </a:ln>
            </p:spPr>
            <p:txBody>
              <a:bodyPr rtlCol="0" anchor="ctr"/>
              <a:lstStyle/>
              <a:p>
                <a:endParaRPr lang="en-GB"/>
              </a:p>
            </p:txBody>
          </p:sp>
        </p:grpSp>
        <p:grpSp>
          <p:nvGrpSpPr>
            <p:cNvPr id="1202" name="Graphic 3">
              <a:extLst>
                <a:ext uri="{FF2B5EF4-FFF2-40B4-BE49-F238E27FC236}">
                  <a16:creationId xmlns:a16="http://schemas.microsoft.com/office/drawing/2014/main" id="{9A554C96-2677-40B9-A594-F77CEECF3792}"/>
                </a:ext>
              </a:extLst>
            </p:cNvPr>
            <p:cNvGrpSpPr/>
            <p:nvPr/>
          </p:nvGrpSpPr>
          <p:grpSpPr>
            <a:xfrm>
              <a:off x="4397341" y="4084331"/>
              <a:ext cx="45941" cy="29902"/>
              <a:chOff x="4397341" y="4084331"/>
              <a:chExt cx="45941" cy="29902"/>
            </a:xfrm>
            <a:grpFill/>
          </p:grpSpPr>
          <p:sp>
            <p:nvSpPr>
              <p:cNvPr id="1796" name="Vrije vorm: vorm 1795">
                <a:extLst>
                  <a:ext uri="{FF2B5EF4-FFF2-40B4-BE49-F238E27FC236}">
                    <a16:creationId xmlns:a16="http://schemas.microsoft.com/office/drawing/2014/main" id="{F0914659-599E-44D1-966B-2252F0D14072}"/>
                  </a:ext>
                </a:extLst>
              </p:cNvPr>
              <p:cNvSpPr/>
              <p:nvPr/>
            </p:nvSpPr>
            <p:spPr>
              <a:xfrm>
                <a:off x="4405677" y="4091841"/>
                <a:ext cx="29600" cy="14676"/>
              </a:xfrm>
              <a:custGeom>
                <a:avLst/>
                <a:gdLst>
                  <a:gd name="connsiteX0" fmla="*/ 0 w 29600"/>
                  <a:gd name="connsiteY0" fmla="*/ 11861 h 14676"/>
                  <a:gd name="connsiteX1" fmla="*/ 28426 w 29600"/>
                  <a:gd name="connsiteY1" fmla="*/ 0 h 14676"/>
                  <a:gd name="connsiteX2" fmla="*/ 29601 w 29600"/>
                  <a:gd name="connsiteY2" fmla="*/ 2815 h 14676"/>
                  <a:gd name="connsiteX3" fmla="*/ 1175 w 29600"/>
                  <a:gd name="connsiteY3" fmla="*/ 14676 h 14676"/>
                </a:gdLst>
                <a:ahLst/>
                <a:cxnLst>
                  <a:cxn ang="0">
                    <a:pos x="connsiteX0" y="connsiteY0"/>
                  </a:cxn>
                  <a:cxn ang="0">
                    <a:pos x="connsiteX1" y="connsiteY1"/>
                  </a:cxn>
                  <a:cxn ang="0">
                    <a:pos x="connsiteX2" y="connsiteY2"/>
                  </a:cxn>
                  <a:cxn ang="0">
                    <a:pos x="connsiteX3" y="connsiteY3"/>
                  </a:cxn>
                </a:cxnLst>
                <a:rect l="l" t="t" r="r" b="b"/>
                <a:pathLst>
                  <a:path w="29600" h="14676">
                    <a:moveTo>
                      <a:pt x="0" y="11861"/>
                    </a:moveTo>
                    <a:lnTo>
                      <a:pt x="28426" y="0"/>
                    </a:lnTo>
                    <a:lnTo>
                      <a:pt x="29601" y="2815"/>
                    </a:lnTo>
                    <a:lnTo>
                      <a:pt x="1175" y="14676"/>
                    </a:lnTo>
                    <a:close/>
                  </a:path>
                </a:pathLst>
              </a:custGeom>
              <a:grpFill/>
              <a:ln w="5978" cap="flat">
                <a:noFill/>
                <a:prstDash val="solid"/>
                <a:miter/>
              </a:ln>
            </p:spPr>
            <p:txBody>
              <a:bodyPr rtlCol="0" anchor="ctr"/>
              <a:lstStyle/>
              <a:p>
                <a:endParaRPr lang="en-GB"/>
              </a:p>
            </p:txBody>
          </p:sp>
          <p:sp>
            <p:nvSpPr>
              <p:cNvPr id="1797" name="Vrije vorm: vorm 1796">
                <a:extLst>
                  <a:ext uri="{FF2B5EF4-FFF2-40B4-BE49-F238E27FC236}">
                    <a16:creationId xmlns:a16="http://schemas.microsoft.com/office/drawing/2014/main" id="{FF6E9AFE-1F03-4F6B-9D34-A8E97A75E625}"/>
                  </a:ext>
                </a:extLst>
              </p:cNvPr>
              <p:cNvSpPr/>
              <p:nvPr/>
            </p:nvSpPr>
            <p:spPr>
              <a:xfrm>
                <a:off x="4397341" y="4095822"/>
                <a:ext cx="18370" cy="18411"/>
              </a:xfrm>
              <a:custGeom>
                <a:avLst/>
                <a:gdLst>
                  <a:gd name="connsiteX0" fmla="*/ 12744 w 18370"/>
                  <a:gd name="connsiteY0" fmla="*/ 17699 h 18411"/>
                  <a:gd name="connsiteX1" fmla="*/ 722 w 18370"/>
                  <a:gd name="connsiteY1" fmla="*/ 12735 h 18411"/>
                  <a:gd name="connsiteX2" fmla="*/ 5626 w 18370"/>
                  <a:gd name="connsiteY2" fmla="*/ 713 h 18411"/>
                  <a:gd name="connsiteX3" fmla="*/ 17648 w 18370"/>
                  <a:gd name="connsiteY3" fmla="*/ 5677 h 18411"/>
                  <a:gd name="connsiteX4" fmla="*/ 12744 w 18370"/>
                  <a:gd name="connsiteY4" fmla="*/ 17699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1">
                    <a:moveTo>
                      <a:pt x="12744" y="17699"/>
                    </a:moveTo>
                    <a:cubicBezTo>
                      <a:pt x="8079" y="19672"/>
                      <a:pt x="2696" y="17399"/>
                      <a:pt x="722" y="12735"/>
                    </a:cubicBezTo>
                    <a:cubicBezTo>
                      <a:pt x="-1251" y="8010"/>
                      <a:pt x="962" y="2627"/>
                      <a:pt x="5626" y="713"/>
                    </a:cubicBezTo>
                    <a:cubicBezTo>
                      <a:pt x="10292" y="-1260"/>
                      <a:pt x="15674" y="1012"/>
                      <a:pt x="17648" y="5677"/>
                    </a:cubicBezTo>
                    <a:cubicBezTo>
                      <a:pt x="19622" y="10402"/>
                      <a:pt x="17409" y="15785"/>
                      <a:pt x="12744" y="17699"/>
                    </a:cubicBezTo>
                    <a:close/>
                  </a:path>
                </a:pathLst>
              </a:custGeom>
              <a:grpFill/>
              <a:ln w="5978" cap="flat">
                <a:noFill/>
                <a:prstDash val="solid"/>
                <a:miter/>
              </a:ln>
            </p:spPr>
            <p:txBody>
              <a:bodyPr rtlCol="0" anchor="ctr"/>
              <a:lstStyle/>
              <a:p>
                <a:endParaRPr lang="en-GB"/>
              </a:p>
            </p:txBody>
          </p:sp>
          <p:sp>
            <p:nvSpPr>
              <p:cNvPr id="1798" name="Vrije vorm: vorm 1797">
                <a:extLst>
                  <a:ext uri="{FF2B5EF4-FFF2-40B4-BE49-F238E27FC236}">
                    <a16:creationId xmlns:a16="http://schemas.microsoft.com/office/drawing/2014/main" id="{4C63A9C0-50E4-478F-8E90-E099E0E744E8}"/>
                  </a:ext>
                </a:extLst>
              </p:cNvPr>
              <p:cNvSpPr/>
              <p:nvPr/>
            </p:nvSpPr>
            <p:spPr>
              <a:xfrm>
                <a:off x="4424912" y="4084331"/>
                <a:ext cx="18370" cy="18419"/>
              </a:xfrm>
              <a:custGeom>
                <a:avLst/>
                <a:gdLst>
                  <a:gd name="connsiteX0" fmla="*/ 12743 w 18370"/>
                  <a:gd name="connsiteY0" fmla="*/ 17707 h 18419"/>
                  <a:gd name="connsiteX1" fmla="*/ 17648 w 18370"/>
                  <a:gd name="connsiteY1" fmla="*/ 5685 h 18419"/>
                  <a:gd name="connsiteX2" fmla="*/ 5626 w 18370"/>
                  <a:gd name="connsiteY2" fmla="*/ 722 h 18419"/>
                  <a:gd name="connsiteX3" fmla="*/ 722 w 18370"/>
                  <a:gd name="connsiteY3" fmla="*/ 12743 h 18419"/>
                  <a:gd name="connsiteX4" fmla="*/ 12743 w 18370"/>
                  <a:gd name="connsiteY4" fmla="*/ 17707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9">
                    <a:moveTo>
                      <a:pt x="12743" y="17707"/>
                    </a:moveTo>
                    <a:cubicBezTo>
                      <a:pt x="17409" y="15733"/>
                      <a:pt x="19621" y="10350"/>
                      <a:pt x="17648" y="5685"/>
                    </a:cubicBezTo>
                    <a:cubicBezTo>
                      <a:pt x="15674" y="961"/>
                      <a:pt x="10291" y="-1252"/>
                      <a:pt x="5626" y="722"/>
                    </a:cubicBezTo>
                    <a:cubicBezTo>
                      <a:pt x="962" y="2695"/>
                      <a:pt x="-1251" y="8078"/>
                      <a:pt x="722" y="12743"/>
                    </a:cubicBezTo>
                    <a:cubicBezTo>
                      <a:pt x="2696" y="17408"/>
                      <a:pt x="8079" y="19680"/>
                      <a:pt x="12743" y="17707"/>
                    </a:cubicBezTo>
                    <a:close/>
                  </a:path>
                </a:pathLst>
              </a:custGeom>
              <a:grpFill/>
              <a:ln w="5978" cap="flat">
                <a:noFill/>
                <a:prstDash val="solid"/>
                <a:miter/>
              </a:ln>
            </p:spPr>
            <p:txBody>
              <a:bodyPr rtlCol="0" anchor="ctr"/>
              <a:lstStyle/>
              <a:p>
                <a:endParaRPr lang="en-GB"/>
              </a:p>
            </p:txBody>
          </p:sp>
        </p:grpSp>
        <p:grpSp>
          <p:nvGrpSpPr>
            <p:cNvPr id="1203" name="Graphic 3">
              <a:extLst>
                <a:ext uri="{FF2B5EF4-FFF2-40B4-BE49-F238E27FC236}">
                  <a16:creationId xmlns:a16="http://schemas.microsoft.com/office/drawing/2014/main" id="{33DE314B-CEB5-461E-9DD6-B07B6E788694}"/>
                </a:ext>
              </a:extLst>
            </p:cNvPr>
            <p:cNvGrpSpPr/>
            <p:nvPr/>
          </p:nvGrpSpPr>
          <p:grpSpPr>
            <a:xfrm>
              <a:off x="4432610" y="4417845"/>
              <a:ext cx="272857" cy="207616"/>
              <a:chOff x="4432610" y="4417845"/>
              <a:chExt cx="272857" cy="207616"/>
            </a:xfrm>
            <a:grpFill/>
          </p:grpSpPr>
          <p:sp>
            <p:nvSpPr>
              <p:cNvPr id="1793" name="Vrije vorm: vorm 1792">
                <a:extLst>
                  <a:ext uri="{FF2B5EF4-FFF2-40B4-BE49-F238E27FC236}">
                    <a16:creationId xmlns:a16="http://schemas.microsoft.com/office/drawing/2014/main" id="{935FF8FE-8151-40F1-86BB-1B999C746CF4}"/>
                  </a:ext>
                </a:extLst>
              </p:cNvPr>
              <p:cNvSpPr/>
              <p:nvPr/>
            </p:nvSpPr>
            <p:spPr>
              <a:xfrm>
                <a:off x="4440466" y="4425535"/>
                <a:ext cx="257111" cy="192220"/>
              </a:xfrm>
              <a:custGeom>
                <a:avLst/>
                <a:gdLst>
                  <a:gd name="connsiteX0" fmla="*/ 257111 w 257111"/>
                  <a:gd name="connsiteY0" fmla="*/ 2452 h 192220"/>
                  <a:gd name="connsiteX1" fmla="*/ 1794 w 257111"/>
                  <a:gd name="connsiteY1" fmla="*/ 192220 h 192220"/>
                  <a:gd name="connsiteX2" fmla="*/ 0 w 257111"/>
                  <a:gd name="connsiteY2" fmla="*/ 189768 h 192220"/>
                  <a:gd name="connsiteX3" fmla="*/ 255317 w 257111"/>
                  <a:gd name="connsiteY3" fmla="*/ 0 h 192220"/>
                </a:gdLst>
                <a:ahLst/>
                <a:cxnLst>
                  <a:cxn ang="0">
                    <a:pos x="connsiteX0" y="connsiteY0"/>
                  </a:cxn>
                  <a:cxn ang="0">
                    <a:pos x="connsiteX1" y="connsiteY1"/>
                  </a:cxn>
                  <a:cxn ang="0">
                    <a:pos x="connsiteX2" y="connsiteY2"/>
                  </a:cxn>
                  <a:cxn ang="0">
                    <a:pos x="connsiteX3" y="connsiteY3"/>
                  </a:cxn>
                </a:cxnLst>
                <a:rect l="l" t="t" r="r" b="b"/>
                <a:pathLst>
                  <a:path w="257111" h="192220">
                    <a:moveTo>
                      <a:pt x="257111" y="2452"/>
                    </a:moveTo>
                    <a:lnTo>
                      <a:pt x="1794" y="192220"/>
                    </a:lnTo>
                    <a:lnTo>
                      <a:pt x="0" y="189768"/>
                    </a:lnTo>
                    <a:lnTo>
                      <a:pt x="255317" y="0"/>
                    </a:lnTo>
                    <a:close/>
                  </a:path>
                </a:pathLst>
              </a:custGeom>
              <a:grpFill/>
              <a:ln w="5978" cap="flat">
                <a:noFill/>
                <a:prstDash val="solid"/>
                <a:miter/>
              </a:ln>
            </p:spPr>
            <p:txBody>
              <a:bodyPr rtlCol="0" anchor="ctr"/>
              <a:lstStyle/>
              <a:p>
                <a:endParaRPr lang="en-GB"/>
              </a:p>
            </p:txBody>
          </p:sp>
          <p:sp>
            <p:nvSpPr>
              <p:cNvPr id="1794" name="Vrije vorm: vorm 1793">
                <a:extLst>
                  <a:ext uri="{FF2B5EF4-FFF2-40B4-BE49-F238E27FC236}">
                    <a16:creationId xmlns:a16="http://schemas.microsoft.com/office/drawing/2014/main" id="{DC680C93-34DE-4ED3-AD0B-FD0C663AE3AE}"/>
                  </a:ext>
                </a:extLst>
              </p:cNvPr>
              <p:cNvSpPr/>
              <p:nvPr/>
            </p:nvSpPr>
            <p:spPr>
              <a:xfrm>
                <a:off x="4432610" y="4607058"/>
                <a:ext cx="18300" cy="18403"/>
              </a:xfrm>
              <a:custGeom>
                <a:avLst/>
                <a:gdLst>
                  <a:gd name="connsiteX0" fmla="*/ 14614 w 18300"/>
                  <a:gd name="connsiteY0" fmla="*/ 16618 h 18403"/>
                  <a:gd name="connsiteX1" fmla="*/ 1815 w 18300"/>
                  <a:gd name="connsiteY1" fmla="*/ 14644 h 18403"/>
                  <a:gd name="connsiteX2" fmla="*/ 3729 w 18300"/>
                  <a:gd name="connsiteY2" fmla="*/ 1786 h 18403"/>
                  <a:gd name="connsiteX3" fmla="*/ 16528 w 18300"/>
                  <a:gd name="connsiteY3" fmla="*/ 3759 h 18403"/>
                  <a:gd name="connsiteX4" fmla="*/ 14614 w 18300"/>
                  <a:gd name="connsiteY4" fmla="*/ 16618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03">
                    <a:moveTo>
                      <a:pt x="14614" y="16618"/>
                    </a:moveTo>
                    <a:cubicBezTo>
                      <a:pt x="10547" y="19608"/>
                      <a:pt x="4806" y="18771"/>
                      <a:pt x="1815" y="14644"/>
                    </a:cubicBezTo>
                    <a:cubicBezTo>
                      <a:pt x="-1235" y="10577"/>
                      <a:pt x="-338" y="4776"/>
                      <a:pt x="3729" y="1786"/>
                    </a:cubicBezTo>
                    <a:cubicBezTo>
                      <a:pt x="7796" y="-1205"/>
                      <a:pt x="13538" y="-367"/>
                      <a:pt x="16528" y="3759"/>
                    </a:cubicBezTo>
                    <a:cubicBezTo>
                      <a:pt x="19518" y="7826"/>
                      <a:pt x="18621" y="13568"/>
                      <a:pt x="14614" y="16618"/>
                    </a:cubicBezTo>
                    <a:close/>
                  </a:path>
                </a:pathLst>
              </a:custGeom>
              <a:grpFill/>
              <a:ln w="5978" cap="flat">
                <a:noFill/>
                <a:prstDash val="solid"/>
                <a:miter/>
              </a:ln>
            </p:spPr>
            <p:txBody>
              <a:bodyPr rtlCol="0" anchor="ctr"/>
              <a:lstStyle/>
              <a:p>
                <a:endParaRPr lang="en-GB"/>
              </a:p>
            </p:txBody>
          </p:sp>
          <p:sp>
            <p:nvSpPr>
              <p:cNvPr id="1795" name="Vrije vorm: vorm 1794">
                <a:extLst>
                  <a:ext uri="{FF2B5EF4-FFF2-40B4-BE49-F238E27FC236}">
                    <a16:creationId xmlns:a16="http://schemas.microsoft.com/office/drawing/2014/main" id="{131FDC44-A1FB-43F2-AC03-CC288B1D0CB9}"/>
                  </a:ext>
                </a:extLst>
              </p:cNvPr>
              <p:cNvSpPr/>
              <p:nvPr/>
            </p:nvSpPr>
            <p:spPr>
              <a:xfrm>
                <a:off x="4687176" y="4417845"/>
                <a:ext cx="18291" cy="18386"/>
              </a:xfrm>
              <a:custGeom>
                <a:avLst/>
                <a:gdLst>
                  <a:gd name="connsiteX0" fmla="*/ 14588 w 18291"/>
                  <a:gd name="connsiteY0" fmla="*/ 16601 h 18386"/>
                  <a:gd name="connsiteX1" fmla="*/ 16502 w 18291"/>
                  <a:gd name="connsiteY1" fmla="*/ 3742 h 18386"/>
                  <a:gd name="connsiteX2" fmla="*/ 3703 w 18291"/>
                  <a:gd name="connsiteY2" fmla="*/ 1768 h 18386"/>
                  <a:gd name="connsiteX3" fmla="*/ 1790 w 18291"/>
                  <a:gd name="connsiteY3" fmla="*/ 14627 h 18386"/>
                  <a:gd name="connsiteX4" fmla="*/ 14588 w 18291"/>
                  <a:gd name="connsiteY4" fmla="*/ 16601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386">
                    <a:moveTo>
                      <a:pt x="14588" y="16601"/>
                    </a:moveTo>
                    <a:cubicBezTo>
                      <a:pt x="18655" y="13550"/>
                      <a:pt x="19493" y="7809"/>
                      <a:pt x="16502" y="3742"/>
                    </a:cubicBezTo>
                    <a:cubicBezTo>
                      <a:pt x="13512" y="-325"/>
                      <a:pt x="7710" y="-1222"/>
                      <a:pt x="3703" y="1768"/>
                    </a:cubicBezTo>
                    <a:cubicBezTo>
                      <a:pt x="-363" y="4819"/>
                      <a:pt x="-1201" y="10560"/>
                      <a:pt x="1790" y="14627"/>
                    </a:cubicBezTo>
                    <a:cubicBezTo>
                      <a:pt x="4780" y="18754"/>
                      <a:pt x="10522" y="19591"/>
                      <a:pt x="14588" y="16601"/>
                    </a:cubicBezTo>
                    <a:close/>
                  </a:path>
                </a:pathLst>
              </a:custGeom>
              <a:grpFill/>
              <a:ln w="5978" cap="flat">
                <a:noFill/>
                <a:prstDash val="solid"/>
                <a:miter/>
              </a:ln>
            </p:spPr>
            <p:txBody>
              <a:bodyPr rtlCol="0" anchor="ctr"/>
              <a:lstStyle/>
              <a:p>
                <a:endParaRPr lang="en-GB"/>
              </a:p>
            </p:txBody>
          </p:sp>
        </p:grpSp>
        <p:grpSp>
          <p:nvGrpSpPr>
            <p:cNvPr id="1204" name="Graphic 3">
              <a:extLst>
                <a:ext uri="{FF2B5EF4-FFF2-40B4-BE49-F238E27FC236}">
                  <a16:creationId xmlns:a16="http://schemas.microsoft.com/office/drawing/2014/main" id="{69CC8B86-B7E3-4287-9D54-CA8092DEBAF4}"/>
                </a:ext>
              </a:extLst>
            </p:cNvPr>
            <p:cNvGrpSpPr/>
            <p:nvPr/>
          </p:nvGrpSpPr>
          <p:grpSpPr>
            <a:xfrm>
              <a:off x="4388506" y="4051342"/>
              <a:ext cx="48538" cy="30340"/>
              <a:chOff x="4388506" y="4051342"/>
              <a:chExt cx="48538" cy="30340"/>
            </a:xfrm>
            <a:grpFill/>
          </p:grpSpPr>
          <p:sp>
            <p:nvSpPr>
              <p:cNvPr id="1790" name="Vrije vorm: vorm 1789">
                <a:extLst>
                  <a:ext uri="{FF2B5EF4-FFF2-40B4-BE49-F238E27FC236}">
                    <a16:creationId xmlns:a16="http://schemas.microsoft.com/office/drawing/2014/main" id="{107BAFA0-6F18-4965-B6EC-DE700456382E}"/>
                  </a:ext>
                </a:extLst>
              </p:cNvPr>
              <p:cNvSpPr/>
              <p:nvPr/>
            </p:nvSpPr>
            <p:spPr>
              <a:xfrm>
                <a:off x="4396687" y="4058976"/>
                <a:ext cx="32176" cy="15071"/>
              </a:xfrm>
              <a:custGeom>
                <a:avLst/>
                <a:gdLst>
                  <a:gd name="connsiteX0" fmla="*/ 32176 w 32176"/>
                  <a:gd name="connsiteY0" fmla="*/ 2811 h 15071"/>
                  <a:gd name="connsiteX1" fmla="*/ 1136 w 32176"/>
                  <a:gd name="connsiteY1" fmla="*/ 15071 h 15071"/>
                  <a:gd name="connsiteX2" fmla="*/ 0 w 32176"/>
                  <a:gd name="connsiteY2" fmla="*/ 12201 h 15071"/>
                  <a:gd name="connsiteX3" fmla="*/ 31040 w 32176"/>
                  <a:gd name="connsiteY3" fmla="*/ 0 h 15071"/>
                </a:gdLst>
                <a:ahLst/>
                <a:cxnLst>
                  <a:cxn ang="0">
                    <a:pos x="connsiteX0" y="connsiteY0"/>
                  </a:cxn>
                  <a:cxn ang="0">
                    <a:pos x="connsiteX1" y="connsiteY1"/>
                  </a:cxn>
                  <a:cxn ang="0">
                    <a:pos x="connsiteX2" y="connsiteY2"/>
                  </a:cxn>
                  <a:cxn ang="0">
                    <a:pos x="connsiteX3" y="connsiteY3"/>
                  </a:cxn>
                </a:cxnLst>
                <a:rect l="l" t="t" r="r" b="b"/>
                <a:pathLst>
                  <a:path w="32176" h="15071">
                    <a:moveTo>
                      <a:pt x="32176" y="2811"/>
                    </a:moveTo>
                    <a:lnTo>
                      <a:pt x="1136" y="15071"/>
                    </a:lnTo>
                    <a:lnTo>
                      <a:pt x="0" y="12201"/>
                    </a:lnTo>
                    <a:lnTo>
                      <a:pt x="31040" y="0"/>
                    </a:lnTo>
                    <a:close/>
                  </a:path>
                </a:pathLst>
              </a:custGeom>
              <a:grpFill/>
              <a:ln w="5978" cap="flat">
                <a:noFill/>
                <a:prstDash val="solid"/>
                <a:miter/>
              </a:ln>
            </p:spPr>
            <p:txBody>
              <a:bodyPr rtlCol="0" anchor="ctr"/>
              <a:lstStyle/>
              <a:p>
                <a:endParaRPr lang="en-GB"/>
              </a:p>
            </p:txBody>
          </p:sp>
          <p:sp>
            <p:nvSpPr>
              <p:cNvPr id="1791" name="Vrije vorm: vorm 1790">
                <a:extLst>
                  <a:ext uri="{FF2B5EF4-FFF2-40B4-BE49-F238E27FC236}">
                    <a16:creationId xmlns:a16="http://schemas.microsoft.com/office/drawing/2014/main" id="{5F4AC2C2-169F-4061-BCBC-0A67A8CE915D}"/>
                  </a:ext>
                </a:extLst>
              </p:cNvPr>
              <p:cNvSpPr/>
              <p:nvPr/>
            </p:nvSpPr>
            <p:spPr>
              <a:xfrm>
                <a:off x="4388506" y="4063244"/>
                <a:ext cx="18335" cy="18438"/>
              </a:xfrm>
              <a:custGeom>
                <a:avLst/>
                <a:gdLst>
                  <a:gd name="connsiteX0" fmla="*/ 12547 w 18335"/>
                  <a:gd name="connsiteY0" fmla="*/ 17801 h 18438"/>
                  <a:gd name="connsiteX1" fmla="*/ 645 w 18335"/>
                  <a:gd name="connsiteY1" fmla="*/ 12598 h 18438"/>
                  <a:gd name="connsiteX2" fmla="*/ 5788 w 18335"/>
                  <a:gd name="connsiteY2" fmla="*/ 637 h 18438"/>
                  <a:gd name="connsiteX3" fmla="*/ 17690 w 18335"/>
                  <a:gd name="connsiteY3" fmla="*/ 5840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7822" y="19656"/>
                      <a:pt x="2499" y="17323"/>
                      <a:pt x="645" y="12598"/>
                    </a:cubicBezTo>
                    <a:cubicBezTo>
                      <a:pt x="-1209" y="7874"/>
                      <a:pt x="1064" y="2491"/>
                      <a:pt x="5788" y="637"/>
                    </a:cubicBezTo>
                    <a:cubicBezTo>
                      <a:pt x="10513" y="-1217"/>
                      <a:pt x="15836" y="1115"/>
                      <a:pt x="17690" y="5840"/>
                    </a:cubicBezTo>
                    <a:cubicBezTo>
                      <a:pt x="19544" y="10565"/>
                      <a:pt x="17272" y="15947"/>
                      <a:pt x="12547" y="17801"/>
                    </a:cubicBezTo>
                    <a:close/>
                  </a:path>
                </a:pathLst>
              </a:custGeom>
              <a:grpFill/>
              <a:ln w="5978" cap="flat">
                <a:noFill/>
                <a:prstDash val="solid"/>
                <a:miter/>
              </a:ln>
            </p:spPr>
            <p:txBody>
              <a:bodyPr rtlCol="0" anchor="ctr"/>
              <a:lstStyle/>
              <a:p>
                <a:endParaRPr lang="en-GB"/>
              </a:p>
            </p:txBody>
          </p:sp>
          <p:sp>
            <p:nvSpPr>
              <p:cNvPr id="1792" name="Vrije vorm: vorm 1791">
                <a:extLst>
                  <a:ext uri="{FF2B5EF4-FFF2-40B4-BE49-F238E27FC236}">
                    <a16:creationId xmlns:a16="http://schemas.microsoft.com/office/drawing/2014/main" id="{F52CD520-8DD2-468D-BF9C-63D75F95DFFC}"/>
                  </a:ext>
                </a:extLst>
              </p:cNvPr>
              <p:cNvSpPr/>
              <p:nvPr/>
            </p:nvSpPr>
            <p:spPr>
              <a:xfrm>
                <a:off x="4418709" y="4051342"/>
                <a:ext cx="18335" cy="18438"/>
              </a:xfrm>
              <a:custGeom>
                <a:avLst/>
                <a:gdLst>
                  <a:gd name="connsiteX0" fmla="*/ 12547 w 18335"/>
                  <a:gd name="connsiteY0" fmla="*/ 17801 h 18438"/>
                  <a:gd name="connsiteX1" fmla="*/ 17690 w 18335"/>
                  <a:gd name="connsiteY1" fmla="*/ 5840 h 18438"/>
                  <a:gd name="connsiteX2" fmla="*/ 5789 w 18335"/>
                  <a:gd name="connsiteY2" fmla="*/ 637 h 18438"/>
                  <a:gd name="connsiteX3" fmla="*/ 645 w 18335"/>
                  <a:gd name="connsiteY3" fmla="*/ 12598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17272" y="15947"/>
                      <a:pt x="19544" y="10565"/>
                      <a:pt x="17690" y="5840"/>
                    </a:cubicBezTo>
                    <a:cubicBezTo>
                      <a:pt x="15836" y="1115"/>
                      <a:pt x="10513" y="-1217"/>
                      <a:pt x="5789" y="637"/>
                    </a:cubicBezTo>
                    <a:cubicBezTo>
                      <a:pt x="1064" y="2491"/>
                      <a:pt x="-1209" y="7874"/>
                      <a:pt x="645" y="12598"/>
                    </a:cubicBezTo>
                    <a:cubicBezTo>
                      <a:pt x="2499" y="17323"/>
                      <a:pt x="7822" y="19655"/>
                      <a:pt x="12547" y="17801"/>
                    </a:cubicBezTo>
                    <a:close/>
                  </a:path>
                </a:pathLst>
              </a:custGeom>
              <a:grpFill/>
              <a:ln w="5978" cap="flat">
                <a:noFill/>
                <a:prstDash val="solid"/>
                <a:miter/>
              </a:ln>
            </p:spPr>
            <p:txBody>
              <a:bodyPr rtlCol="0" anchor="ctr"/>
              <a:lstStyle/>
              <a:p>
                <a:endParaRPr lang="en-GB"/>
              </a:p>
            </p:txBody>
          </p:sp>
        </p:grpSp>
        <p:grpSp>
          <p:nvGrpSpPr>
            <p:cNvPr id="1205" name="Graphic 3">
              <a:extLst>
                <a:ext uri="{FF2B5EF4-FFF2-40B4-BE49-F238E27FC236}">
                  <a16:creationId xmlns:a16="http://schemas.microsoft.com/office/drawing/2014/main" id="{3E7D185E-B44B-4C85-8843-08EEE6F58F5A}"/>
                </a:ext>
              </a:extLst>
            </p:cNvPr>
            <p:cNvGrpSpPr/>
            <p:nvPr/>
          </p:nvGrpSpPr>
          <p:grpSpPr>
            <a:xfrm>
              <a:off x="4319063" y="3916467"/>
              <a:ext cx="109583" cy="46811"/>
              <a:chOff x="4319063" y="3916467"/>
              <a:chExt cx="109583" cy="46811"/>
            </a:xfrm>
            <a:grpFill/>
          </p:grpSpPr>
          <p:sp>
            <p:nvSpPr>
              <p:cNvPr id="1787" name="Vrije vorm: vorm 1786">
                <a:extLst>
                  <a:ext uri="{FF2B5EF4-FFF2-40B4-BE49-F238E27FC236}">
                    <a16:creationId xmlns:a16="http://schemas.microsoft.com/office/drawing/2014/main" id="{857DBAB0-CED8-4F7F-A494-CF6B9F167C31}"/>
                  </a:ext>
                </a:extLst>
              </p:cNvPr>
              <p:cNvSpPr/>
              <p:nvPr/>
            </p:nvSpPr>
            <p:spPr>
              <a:xfrm>
                <a:off x="4327282" y="3923983"/>
                <a:ext cx="93006" cy="31611"/>
              </a:xfrm>
              <a:custGeom>
                <a:avLst/>
                <a:gdLst>
                  <a:gd name="connsiteX0" fmla="*/ 0 w 93006"/>
                  <a:gd name="connsiteY0" fmla="*/ 28699 h 31611"/>
                  <a:gd name="connsiteX1" fmla="*/ 92099 w 93006"/>
                  <a:gd name="connsiteY1" fmla="*/ 0 h 31611"/>
                  <a:gd name="connsiteX2" fmla="*/ 93006 w 93006"/>
                  <a:gd name="connsiteY2" fmla="*/ 2912 h 31611"/>
                  <a:gd name="connsiteX3" fmla="*/ 907 w 93006"/>
                  <a:gd name="connsiteY3" fmla="*/ 31612 h 31611"/>
                </a:gdLst>
                <a:ahLst/>
                <a:cxnLst>
                  <a:cxn ang="0">
                    <a:pos x="connsiteX0" y="connsiteY0"/>
                  </a:cxn>
                  <a:cxn ang="0">
                    <a:pos x="connsiteX1" y="connsiteY1"/>
                  </a:cxn>
                  <a:cxn ang="0">
                    <a:pos x="connsiteX2" y="connsiteY2"/>
                  </a:cxn>
                  <a:cxn ang="0">
                    <a:pos x="connsiteX3" y="connsiteY3"/>
                  </a:cxn>
                </a:cxnLst>
                <a:rect l="l" t="t" r="r" b="b"/>
                <a:pathLst>
                  <a:path w="93006" h="31611">
                    <a:moveTo>
                      <a:pt x="0" y="28699"/>
                    </a:moveTo>
                    <a:lnTo>
                      <a:pt x="92099" y="0"/>
                    </a:lnTo>
                    <a:lnTo>
                      <a:pt x="93006" y="2912"/>
                    </a:lnTo>
                    <a:lnTo>
                      <a:pt x="907" y="31612"/>
                    </a:lnTo>
                    <a:close/>
                  </a:path>
                </a:pathLst>
              </a:custGeom>
              <a:grpFill/>
              <a:ln w="5978" cap="flat">
                <a:noFill/>
                <a:prstDash val="solid"/>
                <a:miter/>
              </a:ln>
            </p:spPr>
            <p:txBody>
              <a:bodyPr rtlCol="0" anchor="ctr"/>
              <a:lstStyle/>
              <a:p>
                <a:endParaRPr lang="en-GB"/>
              </a:p>
            </p:txBody>
          </p:sp>
          <p:sp>
            <p:nvSpPr>
              <p:cNvPr id="1788" name="Vrije vorm: vorm 1787">
                <a:extLst>
                  <a:ext uri="{FF2B5EF4-FFF2-40B4-BE49-F238E27FC236}">
                    <a16:creationId xmlns:a16="http://schemas.microsoft.com/office/drawing/2014/main" id="{A05D3D5B-12BF-41DB-9403-2FE106FBEF76}"/>
                  </a:ext>
                </a:extLst>
              </p:cNvPr>
              <p:cNvSpPr/>
              <p:nvPr/>
            </p:nvSpPr>
            <p:spPr>
              <a:xfrm>
                <a:off x="4319063" y="3944811"/>
                <a:ext cx="18317" cy="18468"/>
              </a:xfrm>
              <a:custGeom>
                <a:avLst/>
                <a:gdLst>
                  <a:gd name="connsiteX0" fmla="*/ 11896 w 18317"/>
                  <a:gd name="connsiteY0" fmla="*/ 18056 h 18468"/>
                  <a:gd name="connsiteX1" fmla="*/ 413 w 18317"/>
                  <a:gd name="connsiteY1" fmla="*/ 11955 h 18468"/>
                  <a:gd name="connsiteX2" fmla="*/ 6394 w 18317"/>
                  <a:gd name="connsiteY2" fmla="*/ 413 h 18468"/>
                  <a:gd name="connsiteX3" fmla="*/ 17877 w 18317"/>
                  <a:gd name="connsiteY3" fmla="*/ 6513 h 18468"/>
                  <a:gd name="connsiteX4" fmla="*/ 11896 w 18317"/>
                  <a:gd name="connsiteY4" fmla="*/ 1805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68">
                    <a:moveTo>
                      <a:pt x="11896" y="18056"/>
                    </a:moveTo>
                    <a:cubicBezTo>
                      <a:pt x="7052" y="19551"/>
                      <a:pt x="1908" y="16859"/>
                      <a:pt x="413" y="11955"/>
                    </a:cubicBezTo>
                    <a:cubicBezTo>
                      <a:pt x="-1082" y="7111"/>
                      <a:pt x="1609" y="1908"/>
                      <a:pt x="6394" y="413"/>
                    </a:cubicBezTo>
                    <a:cubicBezTo>
                      <a:pt x="11238" y="-1083"/>
                      <a:pt x="16382" y="1609"/>
                      <a:pt x="17877" y="6513"/>
                    </a:cubicBezTo>
                    <a:cubicBezTo>
                      <a:pt x="19432" y="11417"/>
                      <a:pt x="16741" y="16561"/>
                      <a:pt x="11896" y="18056"/>
                    </a:cubicBezTo>
                    <a:close/>
                  </a:path>
                </a:pathLst>
              </a:custGeom>
              <a:grpFill/>
              <a:ln w="5978" cap="flat">
                <a:noFill/>
                <a:prstDash val="solid"/>
                <a:miter/>
              </a:ln>
            </p:spPr>
            <p:txBody>
              <a:bodyPr rtlCol="0" anchor="ctr"/>
              <a:lstStyle/>
              <a:p>
                <a:endParaRPr lang="en-GB"/>
              </a:p>
            </p:txBody>
          </p:sp>
          <p:sp>
            <p:nvSpPr>
              <p:cNvPr id="1789" name="Vrije vorm: vorm 1788">
                <a:extLst>
                  <a:ext uri="{FF2B5EF4-FFF2-40B4-BE49-F238E27FC236}">
                    <a16:creationId xmlns:a16="http://schemas.microsoft.com/office/drawing/2014/main" id="{D92B3EEA-D905-42AD-A3D9-992AEDA92E31}"/>
                  </a:ext>
                </a:extLst>
              </p:cNvPr>
              <p:cNvSpPr/>
              <p:nvPr/>
            </p:nvSpPr>
            <p:spPr>
              <a:xfrm>
                <a:off x="4410301" y="3916467"/>
                <a:ext cx="18345" cy="18457"/>
              </a:xfrm>
              <a:custGeom>
                <a:avLst/>
                <a:gdLst>
                  <a:gd name="connsiteX0" fmla="*/ 11924 w 18345"/>
                  <a:gd name="connsiteY0" fmla="*/ 18050 h 18457"/>
                  <a:gd name="connsiteX1" fmla="*/ 17905 w 18345"/>
                  <a:gd name="connsiteY1" fmla="*/ 6508 h 18457"/>
                  <a:gd name="connsiteX2" fmla="*/ 6421 w 18345"/>
                  <a:gd name="connsiteY2" fmla="*/ 407 h 18457"/>
                  <a:gd name="connsiteX3" fmla="*/ 441 w 18345"/>
                  <a:gd name="connsiteY3" fmla="*/ 11950 h 18457"/>
                  <a:gd name="connsiteX4" fmla="*/ 11924 w 18345"/>
                  <a:gd name="connsiteY4" fmla="*/ 18050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57">
                    <a:moveTo>
                      <a:pt x="11924" y="18050"/>
                    </a:moveTo>
                    <a:cubicBezTo>
                      <a:pt x="16768" y="16555"/>
                      <a:pt x="19459" y="11412"/>
                      <a:pt x="17905" y="6508"/>
                    </a:cubicBezTo>
                    <a:cubicBezTo>
                      <a:pt x="16410" y="1663"/>
                      <a:pt x="11266" y="-1088"/>
                      <a:pt x="6421" y="407"/>
                    </a:cubicBezTo>
                    <a:cubicBezTo>
                      <a:pt x="1577" y="1903"/>
                      <a:pt x="-1114" y="7046"/>
                      <a:pt x="441" y="11950"/>
                    </a:cubicBezTo>
                    <a:cubicBezTo>
                      <a:pt x="1936" y="16795"/>
                      <a:pt x="7080" y="19546"/>
                      <a:pt x="11924" y="18050"/>
                    </a:cubicBezTo>
                    <a:close/>
                  </a:path>
                </a:pathLst>
              </a:custGeom>
              <a:grpFill/>
              <a:ln w="5978" cap="flat">
                <a:noFill/>
                <a:prstDash val="solid"/>
                <a:miter/>
              </a:ln>
            </p:spPr>
            <p:txBody>
              <a:bodyPr rtlCol="0" anchor="ctr"/>
              <a:lstStyle/>
              <a:p>
                <a:endParaRPr lang="en-GB"/>
              </a:p>
            </p:txBody>
          </p:sp>
        </p:grpSp>
        <p:grpSp>
          <p:nvGrpSpPr>
            <p:cNvPr id="1206" name="Graphic 3">
              <a:extLst>
                <a:ext uri="{FF2B5EF4-FFF2-40B4-BE49-F238E27FC236}">
                  <a16:creationId xmlns:a16="http://schemas.microsoft.com/office/drawing/2014/main" id="{1A8A356D-B983-4D52-90D0-08554E3C19C1}"/>
                </a:ext>
              </a:extLst>
            </p:cNvPr>
            <p:cNvGrpSpPr/>
            <p:nvPr/>
          </p:nvGrpSpPr>
          <p:grpSpPr>
            <a:xfrm>
              <a:off x="3953661" y="3094850"/>
              <a:ext cx="290551" cy="59171"/>
              <a:chOff x="3953661" y="3094850"/>
              <a:chExt cx="290551" cy="59171"/>
            </a:xfrm>
            <a:grpFill/>
          </p:grpSpPr>
          <p:sp>
            <p:nvSpPr>
              <p:cNvPr id="1784" name="Vrije vorm: vorm 1783">
                <a:extLst>
                  <a:ext uri="{FF2B5EF4-FFF2-40B4-BE49-F238E27FC236}">
                    <a16:creationId xmlns:a16="http://schemas.microsoft.com/office/drawing/2014/main" id="{CC7660B3-22C6-4C9E-9B32-4F4762F476B1}"/>
                  </a:ext>
                </a:extLst>
              </p:cNvPr>
              <p:cNvSpPr/>
              <p:nvPr/>
            </p:nvSpPr>
            <p:spPr>
              <a:xfrm>
                <a:off x="3962128" y="3102480"/>
                <a:ext cx="273558" cy="43898"/>
              </a:xfrm>
              <a:custGeom>
                <a:avLst/>
                <a:gdLst>
                  <a:gd name="connsiteX0" fmla="*/ 273558 w 273558"/>
                  <a:gd name="connsiteY0" fmla="*/ 40848 h 43898"/>
                  <a:gd name="connsiteX1" fmla="*/ 273140 w 273558"/>
                  <a:gd name="connsiteY1" fmla="*/ 43898 h 43898"/>
                  <a:gd name="connsiteX2" fmla="*/ 0 w 273558"/>
                  <a:gd name="connsiteY2" fmla="*/ 3050 h 43898"/>
                  <a:gd name="connsiteX3" fmla="*/ 478 w 273558"/>
                  <a:gd name="connsiteY3" fmla="*/ 0 h 43898"/>
                </a:gdLst>
                <a:ahLst/>
                <a:cxnLst>
                  <a:cxn ang="0">
                    <a:pos x="connsiteX0" y="connsiteY0"/>
                  </a:cxn>
                  <a:cxn ang="0">
                    <a:pos x="connsiteX1" y="connsiteY1"/>
                  </a:cxn>
                  <a:cxn ang="0">
                    <a:pos x="connsiteX2" y="connsiteY2"/>
                  </a:cxn>
                  <a:cxn ang="0">
                    <a:pos x="connsiteX3" y="connsiteY3"/>
                  </a:cxn>
                </a:cxnLst>
                <a:rect l="l" t="t" r="r" b="b"/>
                <a:pathLst>
                  <a:path w="273558" h="43898">
                    <a:moveTo>
                      <a:pt x="273558" y="40848"/>
                    </a:moveTo>
                    <a:lnTo>
                      <a:pt x="273140" y="43898"/>
                    </a:lnTo>
                    <a:lnTo>
                      <a:pt x="0" y="3050"/>
                    </a:lnTo>
                    <a:lnTo>
                      <a:pt x="478" y="0"/>
                    </a:lnTo>
                    <a:close/>
                  </a:path>
                </a:pathLst>
              </a:custGeom>
              <a:grpFill/>
              <a:ln w="5978" cap="flat">
                <a:noFill/>
                <a:prstDash val="solid"/>
                <a:miter/>
              </a:ln>
            </p:spPr>
            <p:txBody>
              <a:bodyPr rtlCol="0" anchor="ctr"/>
              <a:lstStyle/>
              <a:p>
                <a:endParaRPr lang="en-GB"/>
              </a:p>
            </p:txBody>
          </p:sp>
          <p:sp>
            <p:nvSpPr>
              <p:cNvPr id="1785" name="Vrije vorm: vorm 1784">
                <a:extLst>
                  <a:ext uri="{FF2B5EF4-FFF2-40B4-BE49-F238E27FC236}">
                    <a16:creationId xmlns:a16="http://schemas.microsoft.com/office/drawing/2014/main" id="{FCC82D01-DB84-4366-9EAB-404FC956791A}"/>
                  </a:ext>
                </a:extLst>
              </p:cNvPr>
              <p:cNvSpPr/>
              <p:nvPr/>
            </p:nvSpPr>
            <p:spPr>
              <a:xfrm>
                <a:off x="3953661" y="3094850"/>
                <a:ext cx="18369" cy="18444"/>
              </a:xfrm>
              <a:custGeom>
                <a:avLst/>
                <a:gdLst>
                  <a:gd name="connsiteX0" fmla="*/ 7869 w 18369"/>
                  <a:gd name="connsiteY0" fmla="*/ 18335 h 18444"/>
                  <a:gd name="connsiteX1" fmla="*/ 94 w 18369"/>
                  <a:gd name="connsiteY1" fmla="*/ 7869 h 18444"/>
                  <a:gd name="connsiteX2" fmla="*/ 10500 w 18369"/>
                  <a:gd name="connsiteY2" fmla="*/ 94 h 18444"/>
                  <a:gd name="connsiteX3" fmla="*/ 18275 w 18369"/>
                  <a:gd name="connsiteY3" fmla="*/ 10560 h 18444"/>
                  <a:gd name="connsiteX4" fmla="*/ 7869 w 18369"/>
                  <a:gd name="connsiteY4" fmla="*/ 18335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44">
                    <a:moveTo>
                      <a:pt x="7869" y="18335"/>
                    </a:moveTo>
                    <a:cubicBezTo>
                      <a:pt x="2845" y="17558"/>
                      <a:pt x="-624" y="12893"/>
                      <a:pt x="94" y="7869"/>
                    </a:cubicBezTo>
                    <a:cubicBezTo>
                      <a:pt x="812" y="2845"/>
                      <a:pt x="5477" y="-624"/>
                      <a:pt x="10500" y="94"/>
                    </a:cubicBezTo>
                    <a:cubicBezTo>
                      <a:pt x="15524" y="872"/>
                      <a:pt x="18993" y="5536"/>
                      <a:pt x="18275" y="10560"/>
                    </a:cubicBezTo>
                    <a:cubicBezTo>
                      <a:pt x="17498" y="15644"/>
                      <a:pt x="12833" y="19113"/>
                      <a:pt x="7869" y="18335"/>
                    </a:cubicBezTo>
                    <a:close/>
                  </a:path>
                </a:pathLst>
              </a:custGeom>
              <a:grpFill/>
              <a:ln w="5978" cap="flat">
                <a:noFill/>
                <a:prstDash val="solid"/>
                <a:miter/>
              </a:ln>
            </p:spPr>
            <p:txBody>
              <a:bodyPr rtlCol="0" anchor="ctr"/>
              <a:lstStyle/>
              <a:p>
                <a:endParaRPr lang="en-GB"/>
              </a:p>
            </p:txBody>
          </p:sp>
          <p:sp>
            <p:nvSpPr>
              <p:cNvPr id="1786" name="Vrije vorm: vorm 1785">
                <a:extLst>
                  <a:ext uri="{FF2B5EF4-FFF2-40B4-BE49-F238E27FC236}">
                    <a16:creationId xmlns:a16="http://schemas.microsoft.com/office/drawing/2014/main" id="{49F99326-FCB8-4E6D-A4E4-E486A572EDC6}"/>
                  </a:ext>
                </a:extLst>
              </p:cNvPr>
              <p:cNvSpPr/>
              <p:nvPr/>
            </p:nvSpPr>
            <p:spPr>
              <a:xfrm>
                <a:off x="4225844" y="3135565"/>
                <a:ext cx="18369" cy="18456"/>
              </a:xfrm>
              <a:custGeom>
                <a:avLst/>
                <a:gdLst>
                  <a:gd name="connsiteX0" fmla="*/ 7869 w 18369"/>
                  <a:gd name="connsiteY0" fmla="*/ 18349 h 18456"/>
                  <a:gd name="connsiteX1" fmla="*/ 18275 w 18369"/>
                  <a:gd name="connsiteY1" fmla="*/ 10574 h 18456"/>
                  <a:gd name="connsiteX2" fmla="*/ 10500 w 18369"/>
                  <a:gd name="connsiteY2" fmla="*/ 107 h 18456"/>
                  <a:gd name="connsiteX3" fmla="*/ 94 w 18369"/>
                  <a:gd name="connsiteY3" fmla="*/ 7883 h 18456"/>
                  <a:gd name="connsiteX4" fmla="*/ 7869 w 18369"/>
                  <a:gd name="connsiteY4" fmla="*/ 1834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56">
                    <a:moveTo>
                      <a:pt x="7869" y="18349"/>
                    </a:moveTo>
                    <a:cubicBezTo>
                      <a:pt x="12893" y="19126"/>
                      <a:pt x="17558" y="15598"/>
                      <a:pt x="18275" y="10574"/>
                    </a:cubicBezTo>
                    <a:cubicBezTo>
                      <a:pt x="18993" y="5550"/>
                      <a:pt x="15524" y="825"/>
                      <a:pt x="10500" y="107"/>
                    </a:cubicBezTo>
                    <a:cubicBezTo>
                      <a:pt x="5476" y="-670"/>
                      <a:pt x="872" y="2859"/>
                      <a:pt x="94" y="7883"/>
                    </a:cubicBezTo>
                    <a:cubicBezTo>
                      <a:pt x="-624" y="12906"/>
                      <a:pt x="2845" y="17571"/>
                      <a:pt x="7869" y="18349"/>
                    </a:cubicBezTo>
                    <a:close/>
                  </a:path>
                </a:pathLst>
              </a:custGeom>
              <a:grpFill/>
              <a:ln w="5978" cap="flat">
                <a:noFill/>
                <a:prstDash val="solid"/>
                <a:miter/>
              </a:ln>
            </p:spPr>
            <p:txBody>
              <a:bodyPr rtlCol="0" anchor="ctr"/>
              <a:lstStyle/>
              <a:p>
                <a:endParaRPr lang="en-GB"/>
              </a:p>
            </p:txBody>
          </p:sp>
        </p:grpSp>
        <p:grpSp>
          <p:nvGrpSpPr>
            <p:cNvPr id="1207" name="Graphic 3">
              <a:extLst>
                <a:ext uri="{FF2B5EF4-FFF2-40B4-BE49-F238E27FC236}">
                  <a16:creationId xmlns:a16="http://schemas.microsoft.com/office/drawing/2014/main" id="{21B2E138-ACCD-4D85-901B-0703ADC073C5}"/>
                </a:ext>
              </a:extLst>
            </p:cNvPr>
            <p:cNvGrpSpPr/>
            <p:nvPr/>
          </p:nvGrpSpPr>
          <p:grpSpPr>
            <a:xfrm>
              <a:off x="4417158" y="4462515"/>
              <a:ext cx="332554" cy="223385"/>
              <a:chOff x="4417158" y="4462515"/>
              <a:chExt cx="332554" cy="223385"/>
            </a:xfrm>
            <a:grpFill/>
          </p:grpSpPr>
          <p:sp>
            <p:nvSpPr>
              <p:cNvPr id="1781" name="Vrije vorm: vorm 1780">
                <a:extLst>
                  <a:ext uri="{FF2B5EF4-FFF2-40B4-BE49-F238E27FC236}">
                    <a16:creationId xmlns:a16="http://schemas.microsoft.com/office/drawing/2014/main" id="{6F2F9481-9605-41EB-B479-40F74B0D8443}"/>
                  </a:ext>
                </a:extLst>
              </p:cNvPr>
              <p:cNvSpPr/>
              <p:nvPr/>
            </p:nvSpPr>
            <p:spPr>
              <a:xfrm>
                <a:off x="4425156" y="4470211"/>
                <a:ext cx="316619" cy="208009"/>
              </a:xfrm>
              <a:custGeom>
                <a:avLst/>
                <a:gdLst>
                  <a:gd name="connsiteX0" fmla="*/ 316619 w 316619"/>
                  <a:gd name="connsiteY0" fmla="*/ 2572 h 208009"/>
                  <a:gd name="connsiteX1" fmla="*/ 1674 w 316619"/>
                  <a:gd name="connsiteY1" fmla="*/ 208010 h 208009"/>
                  <a:gd name="connsiteX2" fmla="*/ 0 w 316619"/>
                  <a:gd name="connsiteY2" fmla="*/ 205438 h 208009"/>
                  <a:gd name="connsiteX3" fmla="*/ 314945 w 316619"/>
                  <a:gd name="connsiteY3" fmla="*/ 0 h 208009"/>
                </a:gdLst>
                <a:ahLst/>
                <a:cxnLst>
                  <a:cxn ang="0">
                    <a:pos x="connsiteX0" y="connsiteY0"/>
                  </a:cxn>
                  <a:cxn ang="0">
                    <a:pos x="connsiteX1" y="connsiteY1"/>
                  </a:cxn>
                  <a:cxn ang="0">
                    <a:pos x="connsiteX2" y="connsiteY2"/>
                  </a:cxn>
                  <a:cxn ang="0">
                    <a:pos x="connsiteX3" y="connsiteY3"/>
                  </a:cxn>
                </a:cxnLst>
                <a:rect l="l" t="t" r="r" b="b"/>
                <a:pathLst>
                  <a:path w="316619" h="208009">
                    <a:moveTo>
                      <a:pt x="316619" y="2572"/>
                    </a:moveTo>
                    <a:lnTo>
                      <a:pt x="1674" y="208010"/>
                    </a:lnTo>
                    <a:lnTo>
                      <a:pt x="0" y="205438"/>
                    </a:lnTo>
                    <a:lnTo>
                      <a:pt x="314945" y="0"/>
                    </a:lnTo>
                    <a:close/>
                  </a:path>
                </a:pathLst>
              </a:custGeom>
              <a:grpFill/>
              <a:ln w="5978" cap="flat">
                <a:noFill/>
                <a:prstDash val="solid"/>
                <a:miter/>
              </a:ln>
            </p:spPr>
            <p:txBody>
              <a:bodyPr rtlCol="0" anchor="ctr"/>
              <a:lstStyle/>
              <a:p>
                <a:endParaRPr lang="en-GB"/>
              </a:p>
            </p:txBody>
          </p:sp>
          <p:sp>
            <p:nvSpPr>
              <p:cNvPr id="1782" name="Vrije vorm: vorm 1781">
                <a:extLst>
                  <a:ext uri="{FF2B5EF4-FFF2-40B4-BE49-F238E27FC236}">
                    <a16:creationId xmlns:a16="http://schemas.microsoft.com/office/drawing/2014/main" id="{2F32F607-65CF-48EF-8E29-92BE27B62BD3}"/>
                  </a:ext>
                </a:extLst>
              </p:cNvPr>
              <p:cNvSpPr/>
              <p:nvPr/>
            </p:nvSpPr>
            <p:spPr>
              <a:xfrm>
                <a:off x="4731385" y="4462515"/>
                <a:ext cx="18327" cy="18441"/>
              </a:xfrm>
              <a:custGeom>
                <a:avLst/>
                <a:gdLst>
                  <a:gd name="connsiteX0" fmla="*/ 4170 w 18327"/>
                  <a:gd name="connsiteY0" fmla="*/ 1476 h 18441"/>
                  <a:gd name="connsiteX1" fmla="*/ 16849 w 18327"/>
                  <a:gd name="connsiteY1" fmla="*/ 4227 h 18441"/>
                  <a:gd name="connsiteX2" fmla="*/ 14158 w 18327"/>
                  <a:gd name="connsiteY2" fmla="*/ 16966 h 18441"/>
                  <a:gd name="connsiteX3" fmla="*/ 1479 w 18327"/>
                  <a:gd name="connsiteY3" fmla="*/ 14215 h 18441"/>
                  <a:gd name="connsiteX4" fmla="*/ 4170 w 18327"/>
                  <a:gd name="connsiteY4" fmla="*/ 1476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41">
                    <a:moveTo>
                      <a:pt x="4170" y="1476"/>
                    </a:moveTo>
                    <a:cubicBezTo>
                      <a:pt x="8416" y="-1276"/>
                      <a:pt x="14098" y="-79"/>
                      <a:pt x="16849" y="4227"/>
                    </a:cubicBezTo>
                    <a:cubicBezTo>
                      <a:pt x="19600" y="8473"/>
                      <a:pt x="18404" y="14215"/>
                      <a:pt x="14158" y="16966"/>
                    </a:cubicBezTo>
                    <a:cubicBezTo>
                      <a:pt x="9911" y="19717"/>
                      <a:pt x="4229" y="18521"/>
                      <a:pt x="1479" y="14215"/>
                    </a:cubicBezTo>
                    <a:cubicBezTo>
                      <a:pt x="-1273" y="9968"/>
                      <a:pt x="-76" y="4227"/>
                      <a:pt x="4170" y="1476"/>
                    </a:cubicBezTo>
                    <a:close/>
                  </a:path>
                </a:pathLst>
              </a:custGeom>
              <a:grpFill/>
              <a:ln w="5978" cap="flat">
                <a:noFill/>
                <a:prstDash val="solid"/>
                <a:miter/>
              </a:ln>
            </p:spPr>
            <p:txBody>
              <a:bodyPr rtlCol="0" anchor="ctr"/>
              <a:lstStyle/>
              <a:p>
                <a:endParaRPr lang="en-GB"/>
              </a:p>
            </p:txBody>
          </p:sp>
          <p:sp>
            <p:nvSpPr>
              <p:cNvPr id="1783" name="Vrije vorm: vorm 1782">
                <a:extLst>
                  <a:ext uri="{FF2B5EF4-FFF2-40B4-BE49-F238E27FC236}">
                    <a16:creationId xmlns:a16="http://schemas.microsoft.com/office/drawing/2014/main" id="{FCECF171-77C5-42F0-AAAD-43AF417DB12A}"/>
                  </a:ext>
                </a:extLst>
              </p:cNvPr>
              <p:cNvSpPr/>
              <p:nvPr/>
            </p:nvSpPr>
            <p:spPr>
              <a:xfrm>
                <a:off x="4417158" y="4667448"/>
                <a:ext cx="18327" cy="18452"/>
              </a:xfrm>
              <a:custGeom>
                <a:avLst/>
                <a:gdLst>
                  <a:gd name="connsiteX0" fmla="*/ 4170 w 18327"/>
                  <a:gd name="connsiteY0" fmla="*/ 1502 h 18452"/>
                  <a:gd name="connsiteX1" fmla="*/ 1478 w 18327"/>
                  <a:gd name="connsiteY1" fmla="*/ 14241 h 18452"/>
                  <a:gd name="connsiteX2" fmla="*/ 14158 w 18327"/>
                  <a:gd name="connsiteY2" fmla="*/ 16992 h 18452"/>
                  <a:gd name="connsiteX3" fmla="*/ 16849 w 18327"/>
                  <a:gd name="connsiteY3" fmla="*/ 4253 h 18452"/>
                  <a:gd name="connsiteX4" fmla="*/ 4170 w 18327"/>
                  <a:gd name="connsiteY4" fmla="*/ 1502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52">
                    <a:moveTo>
                      <a:pt x="4170" y="1502"/>
                    </a:moveTo>
                    <a:cubicBezTo>
                      <a:pt x="-77" y="4253"/>
                      <a:pt x="-1272" y="9995"/>
                      <a:pt x="1478" y="14241"/>
                    </a:cubicBezTo>
                    <a:cubicBezTo>
                      <a:pt x="4230" y="18487"/>
                      <a:pt x="9911" y="19743"/>
                      <a:pt x="14158" y="16992"/>
                    </a:cubicBezTo>
                    <a:cubicBezTo>
                      <a:pt x="18404" y="14241"/>
                      <a:pt x="19600" y="8500"/>
                      <a:pt x="16849" y="4253"/>
                    </a:cubicBezTo>
                    <a:cubicBezTo>
                      <a:pt x="14098" y="-53"/>
                      <a:pt x="8416" y="-1309"/>
                      <a:pt x="4170" y="1502"/>
                    </a:cubicBezTo>
                    <a:close/>
                  </a:path>
                </a:pathLst>
              </a:custGeom>
              <a:grpFill/>
              <a:ln w="5978" cap="flat">
                <a:noFill/>
                <a:prstDash val="solid"/>
                <a:miter/>
              </a:ln>
            </p:spPr>
            <p:txBody>
              <a:bodyPr rtlCol="0" anchor="ctr"/>
              <a:lstStyle/>
              <a:p>
                <a:endParaRPr lang="en-GB"/>
              </a:p>
            </p:txBody>
          </p:sp>
        </p:grpSp>
        <p:grpSp>
          <p:nvGrpSpPr>
            <p:cNvPr id="1208" name="Graphic 3">
              <a:extLst>
                <a:ext uri="{FF2B5EF4-FFF2-40B4-BE49-F238E27FC236}">
                  <a16:creationId xmlns:a16="http://schemas.microsoft.com/office/drawing/2014/main" id="{89A39173-8D32-426B-8798-F71E2136819F}"/>
                </a:ext>
              </a:extLst>
            </p:cNvPr>
            <p:cNvGrpSpPr/>
            <p:nvPr/>
          </p:nvGrpSpPr>
          <p:grpSpPr>
            <a:xfrm>
              <a:off x="4302852" y="3942833"/>
              <a:ext cx="148616" cy="61595"/>
              <a:chOff x="4302852" y="3942833"/>
              <a:chExt cx="148616" cy="61595"/>
            </a:xfrm>
            <a:grpFill/>
          </p:grpSpPr>
          <p:sp>
            <p:nvSpPr>
              <p:cNvPr id="1778" name="Vrije vorm: vorm 1777">
                <a:extLst>
                  <a:ext uri="{FF2B5EF4-FFF2-40B4-BE49-F238E27FC236}">
                    <a16:creationId xmlns:a16="http://schemas.microsoft.com/office/drawing/2014/main" id="{C6856043-9153-4E95-A430-2267C345C7AC}"/>
                  </a:ext>
                </a:extLst>
              </p:cNvPr>
              <p:cNvSpPr/>
              <p:nvPr/>
            </p:nvSpPr>
            <p:spPr>
              <a:xfrm>
                <a:off x="4311235" y="3950260"/>
                <a:ext cx="132057" cy="46495"/>
              </a:xfrm>
              <a:custGeom>
                <a:avLst/>
                <a:gdLst>
                  <a:gd name="connsiteX0" fmla="*/ 0 w 132057"/>
                  <a:gd name="connsiteY0" fmla="*/ 43602 h 46495"/>
                  <a:gd name="connsiteX1" fmla="*/ 131095 w 132057"/>
                  <a:gd name="connsiteY1" fmla="*/ 0 h 46495"/>
                  <a:gd name="connsiteX2" fmla="*/ 132058 w 132057"/>
                  <a:gd name="connsiteY2" fmla="*/ 2894 h 46495"/>
                  <a:gd name="connsiteX3" fmla="*/ 963 w 132057"/>
                  <a:gd name="connsiteY3" fmla="*/ 46496 h 46495"/>
                </a:gdLst>
                <a:ahLst/>
                <a:cxnLst>
                  <a:cxn ang="0">
                    <a:pos x="connsiteX0" y="connsiteY0"/>
                  </a:cxn>
                  <a:cxn ang="0">
                    <a:pos x="connsiteX1" y="connsiteY1"/>
                  </a:cxn>
                  <a:cxn ang="0">
                    <a:pos x="connsiteX2" y="connsiteY2"/>
                  </a:cxn>
                  <a:cxn ang="0">
                    <a:pos x="connsiteX3" y="connsiteY3"/>
                  </a:cxn>
                </a:cxnLst>
                <a:rect l="l" t="t" r="r" b="b"/>
                <a:pathLst>
                  <a:path w="132057" h="46495">
                    <a:moveTo>
                      <a:pt x="0" y="43602"/>
                    </a:moveTo>
                    <a:lnTo>
                      <a:pt x="131095" y="0"/>
                    </a:lnTo>
                    <a:lnTo>
                      <a:pt x="132058" y="2894"/>
                    </a:lnTo>
                    <a:lnTo>
                      <a:pt x="963" y="46496"/>
                    </a:lnTo>
                    <a:close/>
                  </a:path>
                </a:pathLst>
              </a:custGeom>
              <a:grpFill/>
              <a:ln w="5978" cap="flat">
                <a:noFill/>
                <a:prstDash val="solid"/>
                <a:miter/>
              </a:ln>
            </p:spPr>
            <p:txBody>
              <a:bodyPr rtlCol="0" anchor="ctr"/>
              <a:lstStyle/>
              <a:p>
                <a:endParaRPr lang="en-GB"/>
              </a:p>
            </p:txBody>
          </p:sp>
          <p:sp>
            <p:nvSpPr>
              <p:cNvPr id="1779" name="Vrije vorm: vorm 1778">
                <a:extLst>
                  <a:ext uri="{FF2B5EF4-FFF2-40B4-BE49-F238E27FC236}">
                    <a16:creationId xmlns:a16="http://schemas.microsoft.com/office/drawing/2014/main" id="{C5521527-F430-4758-A89C-6F85894D63EC}"/>
                  </a:ext>
                </a:extLst>
              </p:cNvPr>
              <p:cNvSpPr/>
              <p:nvPr/>
            </p:nvSpPr>
            <p:spPr>
              <a:xfrm>
                <a:off x="4302852" y="3986014"/>
                <a:ext cx="18361" cy="18414"/>
              </a:xfrm>
              <a:custGeom>
                <a:avLst/>
                <a:gdLst>
                  <a:gd name="connsiteX0" fmla="*/ 12079 w 18361"/>
                  <a:gd name="connsiteY0" fmla="*/ 17939 h 18414"/>
                  <a:gd name="connsiteX1" fmla="*/ 476 w 18361"/>
                  <a:gd name="connsiteY1" fmla="*/ 12078 h 18414"/>
                  <a:gd name="connsiteX2" fmla="*/ 6277 w 18361"/>
                  <a:gd name="connsiteY2" fmla="*/ 475 h 18414"/>
                  <a:gd name="connsiteX3" fmla="*/ 17880 w 18361"/>
                  <a:gd name="connsiteY3" fmla="*/ 6337 h 18414"/>
                  <a:gd name="connsiteX4" fmla="*/ 12079 w 18361"/>
                  <a:gd name="connsiteY4" fmla="*/ 17939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14">
                    <a:moveTo>
                      <a:pt x="12079" y="17939"/>
                    </a:moveTo>
                    <a:cubicBezTo>
                      <a:pt x="7294" y="19554"/>
                      <a:pt x="2091" y="16922"/>
                      <a:pt x="476" y="12078"/>
                    </a:cubicBezTo>
                    <a:cubicBezTo>
                      <a:pt x="-1139" y="7234"/>
                      <a:pt x="1493" y="2031"/>
                      <a:pt x="6277" y="475"/>
                    </a:cubicBezTo>
                    <a:cubicBezTo>
                      <a:pt x="11062" y="-1139"/>
                      <a:pt x="16265" y="1492"/>
                      <a:pt x="17880" y="6337"/>
                    </a:cubicBezTo>
                    <a:cubicBezTo>
                      <a:pt x="19495" y="11121"/>
                      <a:pt x="16923" y="16325"/>
                      <a:pt x="12079" y="17939"/>
                    </a:cubicBezTo>
                    <a:close/>
                  </a:path>
                </a:pathLst>
              </a:custGeom>
              <a:grpFill/>
              <a:ln w="5978" cap="flat">
                <a:noFill/>
                <a:prstDash val="solid"/>
                <a:miter/>
              </a:ln>
            </p:spPr>
            <p:txBody>
              <a:bodyPr rtlCol="0" anchor="ctr"/>
              <a:lstStyle/>
              <a:p>
                <a:endParaRPr lang="en-GB"/>
              </a:p>
            </p:txBody>
          </p:sp>
          <p:sp>
            <p:nvSpPr>
              <p:cNvPr id="1780" name="Vrije vorm: vorm 1779">
                <a:extLst>
                  <a:ext uri="{FF2B5EF4-FFF2-40B4-BE49-F238E27FC236}">
                    <a16:creationId xmlns:a16="http://schemas.microsoft.com/office/drawing/2014/main" id="{AD1E6434-AADF-41A5-9A1F-49B3299C7A01}"/>
                  </a:ext>
                </a:extLst>
              </p:cNvPr>
              <p:cNvSpPr/>
              <p:nvPr/>
            </p:nvSpPr>
            <p:spPr>
              <a:xfrm>
                <a:off x="4433112" y="3942833"/>
                <a:ext cx="18355" cy="18386"/>
              </a:xfrm>
              <a:custGeom>
                <a:avLst/>
                <a:gdLst>
                  <a:gd name="connsiteX0" fmla="*/ 12079 w 18355"/>
                  <a:gd name="connsiteY0" fmla="*/ 17939 h 18386"/>
                  <a:gd name="connsiteX1" fmla="*/ 17880 w 18355"/>
                  <a:gd name="connsiteY1" fmla="*/ 6337 h 18386"/>
                  <a:gd name="connsiteX2" fmla="*/ 6277 w 18355"/>
                  <a:gd name="connsiteY2" fmla="*/ 476 h 18386"/>
                  <a:gd name="connsiteX3" fmla="*/ 476 w 18355"/>
                  <a:gd name="connsiteY3" fmla="*/ 12138 h 18386"/>
                  <a:gd name="connsiteX4" fmla="*/ 12079 w 18355"/>
                  <a:gd name="connsiteY4" fmla="*/ 17939 h 1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386">
                    <a:moveTo>
                      <a:pt x="12079" y="17939"/>
                    </a:moveTo>
                    <a:cubicBezTo>
                      <a:pt x="16863" y="16325"/>
                      <a:pt x="19495" y="11121"/>
                      <a:pt x="17880" y="6337"/>
                    </a:cubicBezTo>
                    <a:cubicBezTo>
                      <a:pt x="16265" y="1492"/>
                      <a:pt x="11062" y="-1139"/>
                      <a:pt x="6277" y="476"/>
                    </a:cubicBezTo>
                    <a:cubicBezTo>
                      <a:pt x="1493" y="2091"/>
                      <a:pt x="-1139" y="7294"/>
                      <a:pt x="476" y="12138"/>
                    </a:cubicBezTo>
                    <a:cubicBezTo>
                      <a:pt x="2091" y="16863"/>
                      <a:pt x="7294" y="19494"/>
                      <a:pt x="12079" y="17939"/>
                    </a:cubicBezTo>
                    <a:close/>
                  </a:path>
                </a:pathLst>
              </a:custGeom>
              <a:grpFill/>
              <a:ln w="5978" cap="flat">
                <a:noFill/>
                <a:prstDash val="solid"/>
                <a:miter/>
              </a:ln>
            </p:spPr>
            <p:txBody>
              <a:bodyPr rtlCol="0" anchor="ctr"/>
              <a:lstStyle/>
              <a:p>
                <a:endParaRPr lang="en-GB"/>
              </a:p>
            </p:txBody>
          </p:sp>
        </p:grpSp>
        <p:grpSp>
          <p:nvGrpSpPr>
            <p:cNvPr id="1209" name="Graphic 3">
              <a:extLst>
                <a:ext uri="{FF2B5EF4-FFF2-40B4-BE49-F238E27FC236}">
                  <a16:creationId xmlns:a16="http://schemas.microsoft.com/office/drawing/2014/main" id="{8BBCEB52-A47A-4DDE-A9CD-6A2E251EAF96}"/>
                </a:ext>
              </a:extLst>
            </p:cNvPr>
            <p:cNvGrpSpPr/>
            <p:nvPr/>
          </p:nvGrpSpPr>
          <p:grpSpPr>
            <a:xfrm>
              <a:off x="4376774" y="4025459"/>
              <a:ext cx="35669" cy="24895"/>
              <a:chOff x="4376774" y="4025459"/>
              <a:chExt cx="35669" cy="24895"/>
            </a:xfrm>
            <a:grpFill/>
          </p:grpSpPr>
          <p:sp>
            <p:nvSpPr>
              <p:cNvPr id="1775" name="Vrije vorm: vorm 1774">
                <a:extLst>
                  <a:ext uri="{FF2B5EF4-FFF2-40B4-BE49-F238E27FC236}">
                    <a16:creationId xmlns:a16="http://schemas.microsoft.com/office/drawing/2014/main" id="{13A1FE6A-AA2C-4D1F-AE87-92F4691BDEFE}"/>
                  </a:ext>
                </a:extLst>
              </p:cNvPr>
              <p:cNvSpPr/>
              <p:nvPr/>
            </p:nvSpPr>
            <p:spPr>
              <a:xfrm>
                <a:off x="4385127" y="4033009"/>
                <a:ext cx="19275" cy="9664"/>
              </a:xfrm>
              <a:custGeom>
                <a:avLst/>
                <a:gdLst>
                  <a:gd name="connsiteX0" fmla="*/ 0 w 19275"/>
                  <a:gd name="connsiteY0" fmla="*/ 6807 h 9664"/>
                  <a:gd name="connsiteX1" fmla="*/ 18207 w 19275"/>
                  <a:gd name="connsiteY1" fmla="*/ 0 h 9664"/>
                  <a:gd name="connsiteX2" fmla="*/ 19275 w 19275"/>
                  <a:gd name="connsiteY2" fmla="*/ 2857 h 9664"/>
                  <a:gd name="connsiteX3" fmla="*/ 1068 w 19275"/>
                  <a:gd name="connsiteY3" fmla="*/ 9664 h 9664"/>
                </a:gdLst>
                <a:ahLst/>
                <a:cxnLst>
                  <a:cxn ang="0">
                    <a:pos x="connsiteX0" y="connsiteY0"/>
                  </a:cxn>
                  <a:cxn ang="0">
                    <a:pos x="connsiteX1" y="connsiteY1"/>
                  </a:cxn>
                  <a:cxn ang="0">
                    <a:pos x="connsiteX2" y="connsiteY2"/>
                  </a:cxn>
                  <a:cxn ang="0">
                    <a:pos x="connsiteX3" y="connsiteY3"/>
                  </a:cxn>
                </a:cxnLst>
                <a:rect l="l" t="t" r="r" b="b"/>
                <a:pathLst>
                  <a:path w="19275" h="9664">
                    <a:moveTo>
                      <a:pt x="0" y="6807"/>
                    </a:moveTo>
                    <a:lnTo>
                      <a:pt x="18207" y="0"/>
                    </a:lnTo>
                    <a:lnTo>
                      <a:pt x="19275" y="2857"/>
                    </a:lnTo>
                    <a:lnTo>
                      <a:pt x="1068" y="9664"/>
                    </a:lnTo>
                    <a:close/>
                  </a:path>
                </a:pathLst>
              </a:custGeom>
              <a:grpFill/>
              <a:ln w="5978" cap="flat">
                <a:noFill/>
                <a:prstDash val="solid"/>
                <a:miter/>
              </a:ln>
            </p:spPr>
            <p:txBody>
              <a:bodyPr rtlCol="0" anchor="ctr"/>
              <a:lstStyle/>
              <a:p>
                <a:endParaRPr lang="en-GB"/>
              </a:p>
            </p:txBody>
          </p:sp>
          <p:sp>
            <p:nvSpPr>
              <p:cNvPr id="1776" name="Vrije vorm: vorm 1775">
                <a:extLst>
                  <a:ext uri="{FF2B5EF4-FFF2-40B4-BE49-F238E27FC236}">
                    <a16:creationId xmlns:a16="http://schemas.microsoft.com/office/drawing/2014/main" id="{5CFBA3DD-C279-46D3-A49A-134437F20DF2}"/>
                  </a:ext>
                </a:extLst>
              </p:cNvPr>
              <p:cNvSpPr/>
              <p:nvPr/>
            </p:nvSpPr>
            <p:spPr>
              <a:xfrm>
                <a:off x="4376774" y="4031894"/>
                <a:ext cx="18349" cy="18460"/>
              </a:xfrm>
              <a:custGeom>
                <a:avLst/>
                <a:gdLst>
                  <a:gd name="connsiteX0" fmla="*/ 12378 w 18349"/>
                  <a:gd name="connsiteY0" fmla="*/ 17872 h 18460"/>
                  <a:gd name="connsiteX1" fmla="*/ 596 w 18349"/>
                  <a:gd name="connsiteY1" fmla="*/ 12430 h 18460"/>
                  <a:gd name="connsiteX2" fmla="*/ 5978 w 18349"/>
                  <a:gd name="connsiteY2" fmla="*/ 588 h 18460"/>
                  <a:gd name="connsiteX3" fmla="*/ 17760 w 18349"/>
                  <a:gd name="connsiteY3" fmla="*/ 6031 h 18460"/>
                  <a:gd name="connsiteX4" fmla="*/ 12378 w 18349"/>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0">
                    <a:moveTo>
                      <a:pt x="12378" y="17872"/>
                    </a:moveTo>
                    <a:cubicBezTo>
                      <a:pt x="7653" y="19667"/>
                      <a:pt x="2330" y="17215"/>
                      <a:pt x="596" y="12430"/>
                    </a:cubicBezTo>
                    <a:cubicBezTo>
                      <a:pt x="-1199" y="7646"/>
                      <a:pt x="1194" y="2383"/>
                      <a:pt x="5978" y="588"/>
                    </a:cubicBezTo>
                    <a:cubicBezTo>
                      <a:pt x="10703" y="-1206"/>
                      <a:pt x="16026" y="1246"/>
                      <a:pt x="17760" y="6031"/>
                    </a:cubicBezTo>
                    <a:cubicBezTo>
                      <a:pt x="19555" y="10815"/>
                      <a:pt x="17102" y="16138"/>
                      <a:pt x="12378" y="17872"/>
                    </a:cubicBezTo>
                    <a:close/>
                  </a:path>
                </a:pathLst>
              </a:custGeom>
              <a:grpFill/>
              <a:ln w="5978" cap="flat">
                <a:noFill/>
                <a:prstDash val="solid"/>
                <a:miter/>
              </a:ln>
            </p:spPr>
            <p:txBody>
              <a:bodyPr rtlCol="0" anchor="ctr"/>
              <a:lstStyle/>
              <a:p>
                <a:endParaRPr lang="en-GB"/>
              </a:p>
            </p:txBody>
          </p:sp>
          <p:sp>
            <p:nvSpPr>
              <p:cNvPr id="1777" name="Vrije vorm: vorm 1776">
                <a:extLst>
                  <a:ext uri="{FF2B5EF4-FFF2-40B4-BE49-F238E27FC236}">
                    <a16:creationId xmlns:a16="http://schemas.microsoft.com/office/drawing/2014/main" id="{DAD0EF83-61D5-41CA-88A4-D5166FF90820}"/>
                  </a:ext>
                </a:extLst>
              </p:cNvPr>
              <p:cNvSpPr/>
              <p:nvPr/>
            </p:nvSpPr>
            <p:spPr>
              <a:xfrm>
                <a:off x="4394149" y="4025459"/>
                <a:ext cx="18293" cy="18412"/>
              </a:xfrm>
              <a:custGeom>
                <a:avLst/>
                <a:gdLst>
                  <a:gd name="connsiteX0" fmla="*/ 12347 w 18293"/>
                  <a:gd name="connsiteY0" fmla="*/ 17848 h 18412"/>
                  <a:gd name="connsiteX1" fmla="*/ 17729 w 18293"/>
                  <a:gd name="connsiteY1" fmla="*/ 6006 h 18412"/>
                  <a:gd name="connsiteX2" fmla="*/ 5947 w 18293"/>
                  <a:gd name="connsiteY2" fmla="*/ 564 h 18412"/>
                  <a:gd name="connsiteX3" fmla="*/ 565 w 18293"/>
                  <a:gd name="connsiteY3" fmla="*/ 12406 h 18412"/>
                  <a:gd name="connsiteX4" fmla="*/ 12347 w 18293"/>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12">
                    <a:moveTo>
                      <a:pt x="12347" y="17848"/>
                    </a:moveTo>
                    <a:cubicBezTo>
                      <a:pt x="17071" y="16054"/>
                      <a:pt x="19464" y="10791"/>
                      <a:pt x="17729" y="6006"/>
                    </a:cubicBezTo>
                    <a:cubicBezTo>
                      <a:pt x="15935" y="1222"/>
                      <a:pt x="10672" y="-1171"/>
                      <a:pt x="5947" y="564"/>
                    </a:cubicBezTo>
                    <a:cubicBezTo>
                      <a:pt x="1222" y="2298"/>
                      <a:pt x="-1170" y="7621"/>
                      <a:pt x="565" y="12406"/>
                    </a:cubicBezTo>
                    <a:cubicBezTo>
                      <a:pt x="2359" y="17190"/>
                      <a:pt x="7622" y="19583"/>
                      <a:pt x="12347" y="17848"/>
                    </a:cubicBezTo>
                    <a:close/>
                  </a:path>
                </a:pathLst>
              </a:custGeom>
              <a:grpFill/>
              <a:ln w="5978" cap="flat">
                <a:noFill/>
                <a:prstDash val="solid"/>
                <a:miter/>
              </a:ln>
            </p:spPr>
            <p:txBody>
              <a:bodyPr rtlCol="0" anchor="ctr"/>
              <a:lstStyle/>
              <a:p>
                <a:endParaRPr lang="en-GB"/>
              </a:p>
            </p:txBody>
          </p:sp>
        </p:grpSp>
        <p:grpSp>
          <p:nvGrpSpPr>
            <p:cNvPr id="1210" name="Graphic 3">
              <a:extLst>
                <a:ext uri="{FF2B5EF4-FFF2-40B4-BE49-F238E27FC236}">
                  <a16:creationId xmlns:a16="http://schemas.microsoft.com/office/drawing/2014/main" id="{94B5FB70-3E93-4089-88B8-B5D92FFC2F3F}"/>
                </a:ext>
              </a:extLst>
            </p:cNvPr>
            <p:cNvGrpSpPr/>
            <p:nvPr/>
          </p:nvGrpSpPr>
          <p:grpSpPr>
            <a:xfrm>
              <a:off x="3992589" y="3217806"/>
              <a:ext cx="268787" cy="41528"/>
              <a:chOff x="3992589" y="3217806"/>
              <a:chExt cx="268787" cy="41528"/>
            </a:xfrm>
            <a:grpFill/>
          </p:grpSpPr>
          <p:sp>
            <p:nvSpPr>
              <p:cNvPr id="1772" name="Vrije vorm: vorm 1771">
                <a:extLst>
                  <a:ext uri="{FF2B5EF4-FFF2-40B4-BE49-F238E27FC236}">
                    <a16:creationId xmlns:a16="http://schemas.microsoft.com/office/drawing/2014/main" id="{7FF116A1-97A5-4D64-9874-16C005A9EBCB}"/>
                  </a:ext>
                </a:extLst>
              </p:cNvPr>
              <p:cNvSpPr/>
              <p:nvPr/>
            </p:nvSpPr>
            <p:spPr>
              <a:xfrm>
                <a:off x="4001122" y="3225383"/>
                <a:ext cx="251728" cy="26315"/>
              </a:xfrm>
              <a:custGeom>
                <a:avLst/>
                <a:gdLst>
                  <a:gd name="connsiteX0" fmla="*/ 251729 w 251728"/>
                  <a:gd name="connsiteY0" fmla="*/ 23265 h 26315"/>
                  <a:gd name="connsiteX1" fmla="*/ 251430 w 251728"/>
                  <a:gd name="connsiteY1" fmla="*/ 26315 h 26315"/>
                  <a:gd name="connsiteX2" fmla="*/ 0 w 251728"/>
                  <a:gd name="connsiteY2" fmla="*/ 3050 h 26315"/>
                  <a:gd name="connsiteX3" fmla="*/ 299 w 251728"/>
                  <a:gd name="connsiteY3" fmla="*/ 0 h 26315"/>
                </a:gdLst>
                <a:ahLst/>
                <a:cxnLst>
                  <a:cxn ang="0">
                    <a:pos x="connsiteX0" y="connsiteY0"/>
                  </a:cxn>
                  <a:cxn ang="0">
                    <a:pos x="connsiteX1" y="connsiteY1"/>
                  </a:cxn>
                  <a:cxn ang="0">
                    <a:pos x="connsiteX2" y="connsiteY2"/>
                  </a:cxn>
                  <a:cxn ang="0">
                    <a:pos x="connsiteX3" y="connsiteY3"/>
                  </a:cxn>
                </a:cxnLst>
                <a:rect l="l" t="t" r="r" b="b"/>
                <a:pathLst>
                  <a:path w="251728" h="26315">
                    <a:moveTo>
                      <a:pt x="251729" y="23265"/>
                    </a:moveTo>
                    <a:lnTo>
                      <a:pt x="251430" y="26315"/>
                    </a:lnTo>
                    <a:lnTo>
                      <a:pt x="0" y="3050"/>
                    </a:lnTo>
                    <a:lnTo>
                      <a:pt x="299" y="0"/>
                    </a:lnTo>
                    <a:close/>
                  </a:path>
                </a:pathLst>
              </a:custGeom>
              <a:grpFill/>
              <a:ln w="5978" cap="flat">
                <a:noFill/>
                <a:prstDash val="solid"/>
                <a:miter/>
              </a:ln>
            </p:spPr>
            <p:txBody>
              <a:bodyPr rtlCol="0" anchor="ctr"/>
              <a:lstStyle/>
              <a:p>
                <a:endParaRPr lang="en-GB"/>
              </a:p>
            </p:txBody>
          </p:sp>
          <p:sp>
            <p:nvSpPr>
              <p:cNvPr id="1773" name="Vrije vorm: vorm 1772">
                <a:extLst>
                  <a:ext uri="{FF2B5EF4-FFF2-40B4-BE49-F238E27FC236}">
                    <a16:creationId xmlns:a16="http://schemas.microsoft.com/office/drawing/2014/main" id="{206B8ABC-489B-437C-A3FF-B01457A9580B}"/>
                  </a:ext>
                </a:extLst>
              </p:cNvPr>
              <p:cNvSpPr/>
              <p:nvPr/>
            </p:nvSpPr>
            <p:spPr>
              <a:xfrm>
                <a:off x="3992589" y="3217806"/>
                <a:ext cx="18323" cy="18383"/>
              </a:xfrm>
              <a:custGeom>
                <a:avLst/>
                <a:gdLst>
                  <a:gd name="connsiteX0" fmla="*/ 8354 w 18323"/>
                  <a:gd name="connsiteY0" fmla="*/ 18343 h 18383"/>
                  <a:gd name="connsiteX1" fmla="*/ 41 w 18323"/>
                  <a:gd name="connsiteY1" fmla="*/ 8355 h 18383"/>
                  <a:gd name="connsiteX2" fmla="*/ 9969 w 18323"/>
                  <a:gd name="connsiteY2" fmla="*/ 42 h 18383"/>
                  <a:gd name="connsiteX3" fmla="*/ 18282 w 18323"/>
                  <a:gd name="connsiteY3" fmla="*/ 10089 h 18383"/>
                  <a:gd name="connsiteX4" fmla="*/ 8354 w 18323"/>
                  <a:gd name="connsiteY4" fmla="*/ 18343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83">
                    <a:moveTo>
                      <a:pt x="8354" y="18343"/>
                    </a:moveTo>
                    <a:cubicBezTo>
                      <a:pt x="3330" y="17864"/>
                      <a:pt x="-438" y="13378"/>
                      <a:pt x="41" y="8355"/>
                    </a:cubicBezTo>
                    <a:cubicBezTo>
                      <a:pt x="460" y="3271"/>
                      <a:pt x="4945" y="-437"/>
                      <a:pt x="9969" y="42"/>
                    </a:cubicBezTo>
                    <a:cubicBezTo>
                      <a:pt x="14993" y="520"/>
                      <a:pt x="18761" y="5005"/>
                      <a:pt x="18282" y="10089"/>
                    </a:cubicBezTo>
                    <a:cubicBezTo>
                      <a:pt x="17804" y="15053"/>
                      <a:pt x="13378" y="18821"/>
                      <a:pt x="8354" y="18343"/>
                    </a:cubicBezTo>
                    <a:close/>
                  </a:path>
                </a:pathLst>
              </a:custGeom>
              <a:grpFill/>
              <a:ln w="5978" cap="flat">
                <a:noFill/>
                <a:prstDash val="solid"/>
                <a:miter/>
              </a:ln>
            </p:spPr>
            <p:txBody>
              <a:bodyPr rtlCol="0" anchor="ctr"/>
              <a:lstStyle/>
              <a:p>
                <a:endParaRPr lang="en-GB"/>
              </a:p>
            </p:txBody>
          </p:sp>
          <p:sp>
            <p:nvSpPr>
              <p:cNvPr id="1774" name="Vrije vorm: vorm 1773">
                <a:extLst>
                  <a:ext uri="{FF2B5EF4-FFF2-40B4-BE49-F238E27FC236}">
                    <a16:creationId xmlns:a16="http://schemas.microsoft.com/office/drawing/2014/main" id="{8A75CF13-28CE-4D5D-ABD0-D6AB66F7ED0D}"/>
                  </a:ext>
                </a:extLst>
              </p:cNvPr>
              <p:cNvSpPr/>
              <p:nvPr/>
            </p:nvSpPr>
            <p:spPr>
              <a:xfrm>
                <a:off x="4243070" y="3240892"/>
                <a:ext cx="18305" cy="18442"/>
              </a:xfrm>
              <a:custGeom>
                <a:avLst/>
                <a:gdLst>
                  <a:gd name="connsiteX0" fmla="*/ 8346 w 18305"/>
                  <a:gd name="connsiteY0" fmla="*/ 18402 h 18442"/>
                  <a:gd name="connsiteX1" fmla="*/ 18273 w 18305"/>
                  <a:gd name="connsiteY1" fmla="*/ 10089 h 18442"/>
                  <a:gd name="connsiteX2" fmla="*/ 9960 w 18305"/>
                  <a:gd name="connsiteY2" fmla="*/ 41 h 18442"/>
                  <a:gd name="connsiteX3" fmla="*/ 32 w 18305"/>
                  <a:gd name="connsiteY3" fmla="*/ 8354 h 18442"/>
                  <a:gd name="connsiteX4" fmla="*/ 8346 w 18305"/>
                  <a:gd name="connsiteY4" fmla="*/ 18402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442">
                    <a:moveTo>
                      <a:pt x="8346" y="18402"/>
                    </a:moveTo>
                    <a:cubicBezTo>
                      <a:pt x="13369" y="18880"/>
                      <a:pt x="17855" y="15112"/>
                      <a:pt x="18273" y="10089"/>
                    </a:cubicBezTo>
                    <a:cubicBezTo>
                      <a:pt x="18692" y="5005"/>
                      <a:pt x="14984" y="519"/>
                      <a:pt x="9960" y="41"/>
                    </a:cubicBezTo>
                    <a:cubicBezTo>
                      <a:pt x="4936" y="-437"/>
                      <a:pt x="451" y="3330"/>
                      <a:pt x="32" y="8354"/>
                    </a:cubicBezTo>
                    <a:cubicBezTo>
                      <a:pt x="-386" y="13498"/>
                      <a:pt x="3322" y="17983"/>
                      <a:pt x="8346" y="18402"/>
                    </a:cubicBezTo>
                    <a:close/>
                  </a:path>
                </a:pathLst>
              </a:custGeom>
              <a:grpFill/>
              <a:ln w="5978" cap="flat">
                <a:noFill/>
                <a:prstDash val="solid"/>
                <a:miter/>
              </a:ln>
            </p:spPr>
            <p:txBody>
              <a:bodyPr rtlCol="0" anchor="ctr"/>
              <a:lstStyle/>
              <a:p>
                <a:endParaRPr lang="en-GB"/>
              </a:p>
            </p:txBody>
          </p:sp>
        </p:grpSp>
        <p:grpSp>
          <p:nvGrpSpPr>
            <p:cNvPr id="1211" name="Graphic 3">
              <a:extLst>
                <a:ext uri="{FF2B5EF4-FFF2-40B4-BE49-F238E27FC236}">
                  <a16:creationId xmlns:a16="http://schemas.microsoft.com/office/drawing/2014/main" id="{5905F9A5-A746-436C-AA5C-089A0DB807D2}"/>
                </a:ext>
              </a:extLst>
            </p:cNvPr>
            <p:cNvGrpSpPr/>
            <p:nvPr/>
          </p:nvGrpSpPr>
          <p:grpSpPr>
            <a:xfrm>
              <a:off x="3928930" y="3292242"/>
              <a:ext cx="453708" cy="72437"/>
              <a:chOff x="3928930" y="3292242"/>
              <a:chExt cx="453708" cy="72437"/>
            </a:xfrm>
            <a:grpFill/>
          </p:grpSpPr>
          <p:sp>
            <p:nvSpPr>
              <p:cNvPr id="1769" name="Vrije vorm: vorm 1768">
                <a:extLst>
                  <a:ext uri="{FF2B5EF4-FFF2-40B4-BE49-F238E27FC236}">
                    <a16:creationId xmlns:a16="http://schemas.microsoft.com/office/drawing/2014/main" id="{3688DA49-0195-4D3F-94F9-335FA51E4B98}"/>
                  </a:ext>
                </a:extLst>
              </p:cNvPr>
              <p:cNvSpPr/>
              <p:nvPr/>
            </p:nvSpPr>
            <p:spPr>
              <a:xfrm>
                <a:off x="3937428" y="3299843"/>
                <a:ext cx="436652" cy="57235"/>
              </a:xfrm>
              <a:custGeom>
                <a:avLst/>
                <a:gdLst>
                  <a:gd name="connsiteX0" fmla="*/ 436652 w 436652"/>
                  <a:gd name="connsiteY0" fmla="*/ 54185 h 57235"/>
                  <a:gd name="connsiteX1" fmla="*/ 436293 w 436652"/>
                  <a:gd name="connsiteY1" fmla="*/ 57236 h 57235"/>
                  <a:gd name="connsiteX2" fmla="*/ 0 w 436652"/>
                  <a:gd name="connsiteY2" fmla="*/ 3050 h 57235"/>
                  <a:gd name="connsiteX3" fmla="*/ 359 w 436652"/>
                  <a:gd name="connsiteY3" fmla="*/ 0 h 57235"/>
                </a:gdLst>
                <a:ahLst/>
                <a:cxnLst>
                  <a:cxn ang="0">
                    <a:pos x="connsiteX0" y="connsiteY0"/>
                  </a:cxn>
                  <a:cxn ang="0">
                    <a:pos x="connsiteX1" y="connsiteY1"/>
                  </a:cxn>
                  <a:cxn ang="0">
                    <a:pos x="connsiteX2" y="connsiteY2"/>
                  </a:cxn>
                  <a:cxn ang="0">
                    <a:pos x="connsiteX3" y="connsiteY3"/>
                  </a:cxn>
                </a:cxnLst>
                <a:rect l="l" t="t" r="r" b="b"/>
                <a:pathLst>
                  <a:path w="436652" h="57235">
                    <a:moveTo>
                      <a:pt x="436652" y="54185"/>
                    </a:moveTo>
                    <a:lnTo>
                      <a:pt x="436293" y="57236"/>
                    </a:lnTo>
                    <a:lnTo>
                      <a:pt x="0" y="3050"/>
                    </a:lnTo>
                    <a:lnTo>
                      <a:pt x="359" y="0"/>
                    </a:lnTo>
                    <a:close/>
                  </a:path>
                </a:pathLst>
              </a:custGeom>
              <a:grpFill/>
              <a:ln w="5978" cap="flat">
                <a:noFill/>
                <a:prstDash val="solid"/>
                <a:miter/>
              </a:ln>
            </p:spPr>
            <p:txBody>
              <a:bodyPr rtlCol="0" anchor="ctr"/>
              <a:lstStyle/>
              <a:p>
                <a:endParaRPr lang="en-GB"/>
              </a:p>
            </p:txBody>
          </p:sp>
          <p:sp>
            <p:nvSpPr>
              <p:cNvPr id="1770" name="Vrije vorm: vorm 1769">
                <a:extLst>
                  <a:ext uri="{FF2B5EF4-FFF2-40B4-BE49-F238E27FC236}">
                    <a16:creationId xmlns:a16="http://schemas.microsoft.com/office/drawing/2014/main" id="{C1AB665A-9F7F-4DB3-A848-79D0E10DB329}"/>
                  </a:ext>
                </a:extLst>
              </p:cNvPr>
              <p:cNvSpPr/>
              <p:nvPr/>
            </p:nvSpPr>
            <p:spPr>
              <a:xfrm>
                <a:off x="4364326" y="3346248"/>
                <a:ext cx="18311" cy="18431"/>
              </a:xfrm>
              <a:custGeom>
                <a:avLst/>
                <a:gdLst>
                  <a:gd name="connsiteX0" fmla="*/ 10232 w 18311"/>
                  <a:gd name="connsiteY0" fmla="*/ 65 h 18431"/>
                  <a:gd name="connsiteX1" fmla="*/ 18247 w 18311"/>
                  <a:gd name="connsiteY1" fmla="*/ 10352 h 18431"/>
                  <a:gd name="connsiteX2" fmla="*/ 8079 w 18311"/>
                  <a:gd name="connsiteY2" fmla="*/ 18366 h 18431"/>
                  <a:gd name="connsiteX3" fmla="*/ 65 w 18311"/>
                  <a:gd name="connsiteY3" fmla="*/ 8079 h 18431"/>
                  <a:gd name="connsiteX4" fmla="*/ 10232 w 18311"/>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10232" y="65"/>
                    </a:moveTo>
                    <a:cubicBezTo>
                      <a:pt x="15256" y="663"/>
                      <a:pt x="18845" y="5268"/>
                      <a:pt x="18247" y="10352"/>
                    </a:cubicBezTo>
                    <a:cubicBezTo>
                      <a:pt x="17648" y="15376"/>
                      <a:pt x="13103" y="18964"/>
                      <a:pt x="8079" y="18366"/>
                    </a:cubicBezTo>
                    <a:cubicBezTo>
                      <a:pt x="3055" y="17768"/>
                      <a:pt x="-533" y="13163"/>
                      <a:pt x="65" y="8079"/>
                    </a:cubicBezTo>
                    <a:cubicBezTo>
                      <a:pt x="663" y="3055"/>
                      <a:pt x="5209" y="-533"/>
                      <a:pt x="10232" y="65"/>
                    </a:cubicBezTo>
                    <a:close/>
                  </a:path>
                </a:pathLst>
              </a:custGeom>
              <a:grpFill/>
              <a:ln w="5978" cap="flat">
                <a:noFill/>
                <a:prstDash val="solid"/>
                <a:miter/>
              </a:ln>
            </p:spPr>
            <p:txBody>
              <a:bodyPr rtlCol="0" anchor="ctr"/>
              <a:lstStyle/>
              <a:p>
                <a:endParaRPr lang="en-GB"/>
              </a:p>
            </p:txBody>
          </p:sp>
          <p:sp>
            <p:nvSpPr>
              <p:cNvPr id="1771" name="Vrije vorm: vorm 1770">
                <a:extLst>
                  <a:ext uri="{FF2B5EF4-FFF2-40B4-BE49-F238E27FC236}">
                    <a16:creationId xmlns:a16="http://schemas.microsoft.com/office/drawing/2014/main" id="{3E56188E-2402-4104-915B-F37D6410F203}"/>
                  </a:ext>
                </a:extLst>
              </p:cNvPr>
              <p:cNvSpPr/>
              <p:nvPr/>
            </p:nvSpPr>
            <p:spPr>
              <a:xfrm>
                <a:off x="3928930" y="3292242"/>
                <a:ext cx="18311" cy="18431"/>
              </a:xfrm>
              <a:custGeom>
                <a:avLst/>
                <a:gdLst>
                  <a:gd name="connsiteX0" fmla="*/ 10232 w 18311"/>
                  <a:gd name="connsiteY0" fmla="*/ 65 h 18431"/>
                  <a:gd name="connsiteX1" fmla="*/ 65 w 18311"/>
                  <a:gd name="connsiteY1" fmla="*/ 8079 h 18431"/>
                  <a:gd name="connsiteX2" fmla="*/ 8079 w 18311"/>
                  <a:gd name="connsiteY2" fmla="*/ 18366 h 18431"/>
                  <a:gd name="connsiteX3" fmla="*/ 18247 w 18311"/>
                  <a:gd name="connsiteY3" fmla="*/ 10352 h 18431"/>
                  <a:gd name="connsiteX4" fmla="*/ 10232 w 18311"/>
                  <a:gd name="connsiteY4" fmla="*/ 6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31">
                    <a:moveTo>
                      <a:pt x="10232" y="65"/>
                    </a:moveTo>
                    <a:cubicBezTo>
                      <a:pt x="5208" y="-533"/>
                      <a:pt x="663" y="3055"/>
                      <a:pt x="65" y="8079"/>
                    </a:cubicBezTo>
                    <a:cubicBezTo>
                      <a:pt x="-533" y="13103"/>
                      <a:pt x="3055" y="17708"/>
                      <a:pt x="8079" y="18366"/>
                    </a:cubicBezTo>
                    <a:cubicBezTo>
                      <a:pt x="13103" y="18964"/>
                      <a:pt x="17648" y="15376"/>
                      <a:pt x="18247" y="10352"/>
                    </a:cubicBezTo>
                    <a:cubicBezTo>
                      <a:pt x="18845" y="5268"/>
                      <a:pt x="15256" y="663"/>
                      <a:pt x="10232" y="65"/>
                    </a:cubicBezTo>
                    <a:close/>
                  </a:path>
                </a:pathLst>
              </a:custGeom>
              <a:grpFill/>
              <a:ln w="5978" cap="flat">
                <a:noFill/>
                <a:prstDash val="solid"/>
                <a:miter/>
              </a:ln>
            </p:spPr>
            <p:txBody>
              <a:bodyPr rtlCol="0" anchor="ctr"/>
              <a:lstStyle/>
              <a:p>
                <a:endParaRPr lang="en-GB"/>
              </a:p>
            </p:txBody>
          </p:sp>
        </p:grpSp>
        <p:grpSp>
          <p:nvGrpSpPr>
            <p:cNvPr id="1212" name="Graphic 3">
              <a:extLst>
                <a:ext uri="{FF2B5EF4-FFF2-40B4-BE49-F238E27FC236}">
                  <a16:creationId xmlns:a16="http://schemas.microsoft.com/office/drawing/2014/main" id="{C5BDEE7B-6847-423F-B0A4-BC476CF65EEF}"/>
                </a:ext>
              </a:extLst>
            </p:cNvPr>
            <p:cNvGrpSpPr/>
            <p:nvPr/>
          </p:nvGrpSpPr>
          <p:grpSpPr>
            <a:xfrm>
              <a:off x="4556769" y="4601067"/>
              <a:ext cx="77538" cy="67834"/>
              <a:chOff x="4556769" y="4601067"/>
              <a:chExt cx="77538" cy="67834"/>
            </a:xfrm>
            <a:grpFill/>
          </p:grpSpPr>
          <p:sp>
            <p:nvSpPr>
              <p:cNvPr id="1766" name="Vrije vorm: vorm 1765">
                <a:extLst>
                  <a:ext uri="{FF2B5EF4-FFF2-40B4-BE49-F238E27FC236}">
                    <a16:creationId xmlns:a16="http://schemas.microsoft.com/office/drawing/2014/main" id="{D7DEA7D6-ABEA-4274-9876-58E94C16185D}"/>
                  </a:ext>
                </a:extLst>
              </p:cNvPr>
              <p:cNvSpPr/>
              <p:nvPr/>
            </p:nvSpPr>
            <p:spPr>
              <a:xfrm>
                <a:off x="4564626" y="4608844"/>
                <a:ext cx="61840" cy="52331"/>
              </a:xfrm>
              <a:custGeom>
                <a:avLst/>
                <a:gdLst>
                  <a:gd name="connsiteX0" fmla="*/ 61840 w 61840"/>
                  <a:gd name="connsiteY0" fmla="*/ 2333 h 52331"/>
                  <a:gd name="connsiteX1" fmla="*/ 1914 w 61840"/>
                  <a:gd name="connsiteY1" fmla="*/ 52331 h 52331"/>
                  <a:gd name="connsiteX2" fmla="*/ 0 w 61840"/>
                  <a:gd name="connsiteY2" fmla="*/ 49999 h 52331"/>
                  <a:gd name="connsiteX3" fmla="*/ 59867 w 61840"/>
                  <a:gd name="connsiteY3" fmla="*/ 0 h 52331"/>
                </a:gdLst>
                <a:ahLst/>
                <a:cxnLst>
                  <a:cxn ang="0">
                    <a:pos x="connsiteX0" y="connsiteY0"/>
                  </a:cxn>
                  <a:cxn ang="0">
                    <a:pos x="connsiteX1" y="connsiteY1"/>
                  </a:cxn>
                  <a:cxn ang="0">
                    <a:pos x="connsiteX2" y="connsiteY2"/>
                  </a:cxn>
                  <a:cxn ang="0">
                    <a:pos x="connsiteX3" y="connsiteY3"/>
                  </a:cxn>
                </a:cxnLst>
                <a:rect l="l" t="t" r="r" b="b"/>
                <a:pathLst>
                  <a:path w="61840" h="52331">
                    <a:moveTo>
                      <a:pt x="61840" y="2333"/>
                    </a:moveTo>
                    <a:lnTo>
                      <a:pt x="1914" y="52331"/>
                    </a:lnTo>
                    <a:lnTo>
                      <a:pt x="0" y="49999"/>
                    </a:lnTo>
                    <a:lnTo>
                      <a:pt x="59867" y="0"/>
                    </a:lnTo>
                    <a:close/>
                  </a:path>
                </a:pathLst>
              </a:custGeom>
              <a:grpFill/>
              <a:ln w="5978" cap="flat">
                <a:noFill/>
                <a:prstDash val="solid"/>
                <a:miter/>
              </a:ln>
            </p:spPr>
            <p:txBody>
              <a:bodyPr rtlCol="0" anchor="ctr"/>
              <a:lstStyle/>
              <a:p>
                <a:endParaRPr lang="en-GB"/>
              </a:p>
            </p:txBody>
          </p:sp>
          <p:sp>
            <p:nvSpPr>
              <p:cNvPr id="1767" name="Vrije vorm: vorm 1766">
                <a:extLst>
                  <a:ext uri="{FF2B5EF4-FFF2-40B4-BE49-F238E27FC236}">
                    <a16:creationId xmlns:a16="http://schemas.microsoft.com/office/drawing/2014/main" id="{9DD62FD1-FB92-4DD4-9E8E-A6A73B9FE7C8}"/>
                  </a:ext>
                </a:extLst>
              </p:cNvPr>
              <p:cNvSpPr/>
              <p:nvPr/>
            </p:nvSpPr>
            <p:spPr>
              <a:xfrm>
                <a:off x="4556769" y="4650453"/>
                <a:ext cx="18329" cy="18449"/>
              </a:xfrm>
              <a:custGeom>
                <a:avLst/>
                <a:gdLst>
                  <a:gd name="connsiteX0" fmla="*/ 15034 w 18329"/>
                  <a:gd name="connsiteY0" fmla="*/ 16344 h 18449"/>
                  <a:gd name="connsiteX1" fmla="*/ 2115 w 18329"/>
                  <a:gd name="connsiteY1" fmla="*/ 15089 h 18449"/>
                  <a:gd name="connsiteX2" fmla="*/ 3252 w 18329"/>
                  <a:gd name="connsiteY2" fmla="*/ 2111 h 18449"/>
                  <a:gd name="connsiteX3" fmla="*/ 16170 w 18329"/>
                  <a:gd name="connsiteY3" fmla="*/ 3306 h 18449"/>
                  <a:gd name="connsiteX4" fmla="*/ 15034 w 18329"/>
                  <a:gd name="connsiteY4" fmla="*/ 16344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 h="18449">
                    <a:moveTo>
                      <a:pt x="15034" y="16344"/>
                    </a:moveTo>
                    <a:cubicBezTo>
                      <a:pt x="11146" y="19574"/>
                      <a:pt x="5345" y="19036"/>
                      <a:pt x="2115" y="15089"/>
                    </a:cubicBezTo>
                    <a:cubicBezTo>
                      <a:pt x="-1114" y="11141"/>
                      <a:pt x="-576" y="5340"/>
                      <a:pt x="3252" y="2111"/>
                    </a:cubicBezTo>
                    <a:cubicBezTo>
                      <a:pt x="7139" y="-1119"/>
                      <a:pt x="12941" y="-581"/>
                      <a:pt x="16170" y="3306"/>
                    </a:cubicBezTo>
                    <a:cubicBezTo>
                      <a:pt x="19460" y="7314"/>
                      <a:pt x="18921" y="13115"/>
                      <a:pt x="15034" y="16344"/>
                    </a:cubicBezTo>
                    <a:close/>
                  </a:path>
                </a:pathLst>
              </a:custGeom>
              <a:grpFill/>
              <a:ln w="5978" cap="flat">
                <a:noFill/>
                <a:prstDash val="solid"/>
                <a:miter/>
              </a:ln>
            </p:spPr>
            <p:txBody>
              <a:bodyPr rtlCol="0" anchor="ctr"/>
              <a:lstStyle/>
              <a:p>
                <a:endParaRPr lang="en-GB"/>
              </a:p>
            </p:txBody>
          </p:sp>
          <p:sp>
            <p:nvSpPr>
              <p:cNvPr id="1768" name="Vrije vorm: vorm 1767">
                <a:extLst>
                  <a:ext uri="{FF2B5EF4-FFF2-40B4-BE49-F238E27FC236}">
                    <a16:creationId xmlns:a16="http://schemas.microsoft.com/office/drawing/2014/main" id="{31F0AA8F-9625-439D-B52D-44F2251E50E7}"/>
                  </a:ext>
                </a:extLst>
              </p:cNvPr>
              <p:cNvSpPr/>
              <p:nvPr/>
            </p:nvSpPr>
            <p:spPr>
              <a:xfrm>
                <a:off x="4615923" y="4601067"/>
                <a:ext cx="18384" cy="18439"/>
              </a:xfrm>
              <a:custGeom>
                <a:avLst/>
                <a:gdLst>
                  <a:gd name="connsiteX0" fmla="*/ 15089 w 18384"/>
                  <a:gd name="connsiteY0" fmla="*/ 16329 h 18439"/>
                  <a:gd name="connsiteX1" fmla="*/ 16225 w 18384"/>
                  <a:gd name="connsiteY1" fmla="*/ 3351 h 18439"/>
                  <a:gd name="connsiteX2" fmla="*/ 3307 w 18384"/>
                  <a:gd name="connsiteY2" fmla="*/ 2155 h 18439"/>
                  <a:gd name="connsiteX3" fmla="*/ 2110 w 18384"/>
                  <a:gd name="connsiteY3" fmla="*/ 15133 h 18439"/>
                  <a:gd name="connsiteX4" fmla="*/ 15089 w 18384"/>
                  <a:gd name="connsiteY4" fmla="*/ 16329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 h="18439">
                    <a:moveTo>
                      <a:pt x="15089" y="16329"/>
                    </a:moveTo>
                    <a:cubicBezTo>
                      <a:pt x="18976" y="13099"/>
                      <a:pt x="19514" y="7298"/>
                      <a:pt x="16225" y="3351"/>
                    </a:cubicBezTo>
                    <a:cubicBezTo>
                      <a:pt x="12995" y="-597"/>
                      <a:pt x="7194" y="-1135"/>
                      <a:pt x="3307" y="2155"/>
                    </a:cubicBezTo>
                    <a:cubicBezTo>
                      <a:pt x="-581" y="5384"/>
                      <a:pt x="-1119" y="11185"/>
                      <a:pt x="2110" y="15133"/>
                    </a:cubicBezTo>
                    <a:cubicBezTo>
                      <a:pt x="5400" y="19020"/>
                      <a:pt x="11201" y="19558"/>
                      <a:pt x="15089" y="16329"/>
                    </a:cubicBezTo>
                    <a:close/>
                  </a:path>
                </a:pathLst>
              </a:custGeom>
              <a:grpFill/>
              <a:ln w="5978" cap="flat">
                <a:noFill/>
                <a:prstDash val="solid"/>
                <a:miter/>
              </a:ln>
            </p:spPr>
            <p:txBody>
              <a:bodyPr rtlCol="0" anchor="ctr"/>
              <a:lstStyle/>
              <a:p>
                <a:endParaRPr lang="en-GB"/>
              </a:p>
            </p:txBody>
          </p:sp>
        </p:grpSp>
        <p:grpSp>
          <p:nvGrpSpPr>
            <p:cNvPr id="1213" name="Graphic 3">
              <a:extLst>
                <a:ext uri="{FF2B5EF4-FFF2-40B4-BE49-F238E27FC236}">
                  <a16:creationId xmlns:a16="http://schemas.microsoft.com/office/drawing/2014/main" id="{E9D9A757-B5C9-4534-85CD-5BE58E194905}"/>
                </a:ext>
              </a:extLst>
            </p:cNvPr>
            <p:cNvGrpSpPr/>
            <p:nvPr/>
          </p:nvGrpSpPr>
          <p:grpSpPr>
            <a:xfrm>
              <a:off x="4026117" y="3373641"/>
              <a:ext cx="318183" cy="53895"/>
              <a:chOff x="4026117" y="3373641"/>
              <a:chExt cx="318183" cy="53895"/>
            </a:xfrm>
            <a:grpFill/>
          </p:grpSpPr>
          <p:sp>
            <p:nvSpPr>
              <p:cNvPr id="1763" name="Vrije vorm: vorm 1762">
                <a:extLst>
                  <a:ext uri="{FF2B5EF4-FFF2-40B4-BE49-F238E27FC236}">
                    <a16:creationId xmlns:a16="http://schemas.microsoft.com/office/drawing/2014/main" id="{8F630CD5-4687-496E-B7CE-61BDD5A14D40}"/>
                  </a:ext>
                </a:extLst>
              </p:cNvPr>
              <p:cNvSpPr/>
              <p:nvPr/>
            </p:nvSpPr>
            <p:spPr>
              <a:xfrm>
                <a:off x="4034674" y="3381301"/>
                <a:ext cx="301069" cy="38575"/>
              </a:xfrm>
              <a:custGeom>
                <a:avLst/>
                <a:gdLst>
                  <a:gd name="connsiteX0" fmla="*/ 301070 w 301069"/>
                  <a:gd name="connsiteY0" fmla="*/ 35526 h 38575"/>
                  <a:gd name="connsiteX1" fmla="*/ 300771 w 301069"/>
                  <a:gd name="connsiteY1" fmla="*/ 38576 h 38575"/>
                  <a:gd name="connsiteX2" fmla="*/ 0 w 301069"/>
                  <a:gd name="connsiteY2" fmla="*/ 3050 h 38575"/>
                  <a:gd name="connsiteX3" fmla="*/ 359 w 301069"/>
                  <a:gd name="connsiteY3" fmla="*/ 0 h 38575"/>
                </a:gdLst>
                <a:ahLst/>
                <a:cxnLst>
                  <a:cxn ang="0">
                    <a:pos x="connsiteX0" y="connsiteY0"/>
                  </a:cxn>
                  <a:cxn ang="0">
                    <a:pos x="connsiteX1" y="connsiteY1"/>
                  </a:cxn>
                  <a:cxn ang="0">
                    <a:pos x="connsiteX2" y="connsiteY2"/>
                  </a:cxn>
                  <a:cxn ang="0">
                    <a:pos x="connsiteX3" y="connsiteY3"/>
                  </a:cxn>
                </a:cxnLst>
                <a:rect l="l" t="t" r="r" b="b"/>
                <a:pathLst>
                  <a:path w="301069" h="38575">
                    <a:moveTo>
                      <a:pt x="301070" y="35526"/>
                    </a:moveTo>
                    <a:lnTo>
                      <a:pt x="300771" y="38576"/>
                    </a:lnTo>
                    <a:lnTo>
                      <a:pt x="0" y="3050"/>
                    </a:lnTo>
                    <a:lnTo>
                      <a:pt x="359" y="0"/>
                    </a:lnTo>
                    <a:close/>
                  </a:path>
                </a:pathLst>
              </a:custGeom>
              <a:grpFill/>
              <a:ln w="5978" cap="flat">
                <a:noFill/>
                <a:prstDash val="solid"/>
                <a:miter/>
              </a:ln>
            </p:spPr>
            <p:txBody>
              <a:bodyPr rtlCol="0" anchor="ctr"/>
              <a:lstStyle/>
              <a:p>
                <a:endParaRPr lang="en-GB"/>
              </a:p>
            </p:txBody>
          </p:sp>
          <p:sp>
            <p:nvSpPr>
              <p:cNvPr id="1764" name="Vrije vorm: vorm 1763">
                <a:extLst>
                  <a:ext uri="{FF2B5EF4-FFF2-40B4-BE49-F238E27FC236}">
                    <a16:creationId xmlns:a16="http://schemas.microsoft.com/office/drawing/2014/main" id="{C2456EDC-6D83-497E-BAC9-46FAA6024C56}"/>
                  </a:ext>
                </a:extLst>
              </p:cNvPr>
              <p:cNvSpPr/>
              <p:nvPr/>
            </p:nvSpPr>
            <p:spPr>
              <a:xfrm>
                <a:off x="4325931" y="3409106"/>
                <a:ext cx="18369" cy="18430"/>
              </a:xfrm>
              <a:custGeom>
                <a:avLst/>
                <a:gdLst>
                  <a:gd name="connsiteX0" fmla="*/ 10231 w 18369"/>
                  <a:gd name="connsiteY0" fmla="*/ 65 h 18430"/>
                  <a:gd name="connsiteX1" fmla="*/ 18305 w 18369"/>
                  <a:gd name="connsiteY1" fmla="*/ 10292 h 18430"/>
                  <a:gd name="connsiteX2" fmla="*/ 8138 w 18369"/>
                  <a:gd name="connsiteY2" fmla="*/ 18366 h 18430"/>
                  <a:gd name="connsiteX3" fmla="*/ 64 w 18369"/>
                  <a:gd name="connsiteY3" fmla="*/ 8139 h 18430"/>
                  <a:gd name="connsiteX4" fmla="*/ 10231 w 18369"/>
                  <a:gd name="connsiteY4" fmla="*/ 65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30">
                    <a:moveTo>
                      <a:pt x="10231" y="65"/>
                    </a:moveTo>
                    <a:cubicBezTo>
                      <a:pt x="15255" y="663"/>
                      <a:pt x="18904" y="5268"/>
                      <a:pt x="18305" y="10292"/>
                    </a:cubicBezTo>
                    <a:cubicBezTo>
                      <a:pt x="17707" y="15316"/>
                      <a:pt x="13222" y="18964"/>
                      <a:pt x="8138" y="18366"/>
                    </a:cubicBezTo>
                    <a:cubicBezTo>
                      <a:pt x="3114" y="17768"/>
                      <a:pt x="-534" y="13223"/>
                      <a:pt x="64" y="8139"/>
                    </a:cubicBezTo>
                    <a:cubicBezTo>
                      <a:pt x="662" y="3055"/>
                      <a:pt x="5208" y="-533"/>
                      <a:pt x="10231" y="65"/>
                    </a:cubicBezTo>
                    <a:close/>
                  </a:path>
                </a:pathLst>
              </a:custGeom>
              <a:grpFill/>
              <a:ln w="5978" cap="flat">
                <a:noFill/>
                <a:prstDash val="solid"/>
                <a:miter/>
              </a:ln>
            </p:spPr>
            <p:txBody>
              <a:bodyPr rtlCol="0" anchor="ctr"/>
              <a:lstStyle/>
              <a:p>
                <a:endParaRPr lang="en-GB"/>
              </a:p>
            </p:txBody>
          </p:sp>
          <p:sp>
            <p:nvSpPr>
              <p:cNvPr id="1765" name="Vrije vorm: vorm 1764">
                <a:extLst>
                  <a:ext uri="{FF2B5EF4-FFF2-40B4-BE49-F238E27FC236}">
                    <a16:creationId xmlns:a16="http://schemas.microsoft.com/office/drawing/2014/main" id="{A5EFC606-68C6-4522-A3EF-2DA7C81064E2}"/>
                  </a:ext>
                </a:extLst>
              </p:cNvPr>
              <p:cNvSpPr/>
              <p:nvPr/>
            </p:nvSpPr>
            <p:spPr>
              <a:xfrm>
                <a:off x="4026117" y="3373641"/>
                <a:ext cx="18358" cy="18430"/>
              </a:xfrm>
              <a:custGeom>
                <a:avLst/>
                <a:gdLst>
                  <a:gd name="connsiteX0" fmla="*/ 10231 w 18358"/>
                  <a:gd name="connsiteY0" fmla="*/ 64 h 18430"/>
                  <a:gd name="connsiteX1" fmla="*/ 64 w 18358"/>
                  <a:gd name="connsiteY1" fmla="*/ 8138 h 18430"/>
                  <a:gd name="connsiteX2" fmla="*/ 8138 w 18358"/>
                  <a:gd name="connsiteY2" fmla="*/ 18365 h 18430"/>
                  <a:gd name="connsiteX3" fmla="*/ 18305 w 18358"/>
                  <a:gd name="connsiteY3" fmla="*/ 10291 h 18430"/>
                  <a:gd name="connsiteX4" fmla="*/ 10231 w 18358"/>
                  <a:gd name="connsiteY4" fmla="*/ 64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8" h="18430">
                    <a:moveTo>
                      <a:pt x="10231" y="64"/>
                    </a:moveTo>
                    <a:cubicBezTo>
                      <a:pt x="5208" y="-534"/>
                      <a:pt x="662" y="3114"/>
                      <a:pt x="64" y="8138"/>
                    </a:cubicBezTo>
                    <a:cubicBezTo>
                      <a:pt x="-534" y="13162"/>
                      <a:pt x="3114" y="17767"/>
                      <a:pt x="8138" y="18365"/>
                    </a:cubicBezTo>
                    <a:cubicBezTo>
                      <a:pt x="13162" y="18963"/>
                      <a:pt x="17707" y="15375"/>
                      <a:pt x="18305" y="10291"/>
                    </a:cubicBezTo>
                    <a:cubicBezTo>
                      <a:pt x="18844" y="5267"/>
                      <a:pt x="15255" y="662"/>
                      <a:pt x="10231" y="64"/>
                    </a:cubicBezTo>
                    <a:close/>
                  </a:path>
                </a:pathLst>
              </a:custGeom>
              <a:grpFill/>
              <a:ln w="5978" cap="flat">
                <a:noFill/>
                <a:prstDash val="solid"/>
                <a:miter/>
              </a:ln>
            </p:spPr>
            <p:txBody>
              <a:bodyPr rtlCol="0" anchor="ctr"/>
              <a:lstStyle/>
              <a:p>
                <a:endParaRPr lang="en-GB"/>
              </a:p>
            </p:txBody>
          </p:sp>
        </p:grpSp>
        <p:grpSp>
          <p:nvGrpSpPr>
            <p:cNvPr id="1214" name="Graphic 3">
              <a:extLst>
                <a:ext uri="{FF2B5EF4-FFF2-40B4-BE49-F238E27FC236}">
                  <a16:creationId xmlns:a16="http://schemas.microsoft.com/office/drawing/2014/main" id="{725E7F47-1435-41FD-A8DB-C0366E140891}"/>
                </a:ext>
              </a:extLst>
            </p:cNvPr>
            <p:cNvGrpSpPr/>
            <p:nvPr/>
          </p:nvGrpSpPr>
          <p:grpSpPr>
            <a:xfrm>
              <a:off x="4254446" y="3854300"/>
              <a:ext cx="157931" cy="56190"/>
              <a:chOff x="4254446" y="3854300"/>
              <a:chExt cx="157931" cy="56190"/>
            </a:xfrm>
            <a:grpFill/>
          </p:grpSpPr>
          <p:sp>
            <p:nvSpPr>
              <p:cNvPr id="1760" name="Vrije vorm: vorm 1759">
                <a:extLst>
                  <a:ext uri="{FF2B5EF4-FFF2-40B4-BE49-F238E27FC236}">
                    <a16:creationId xmlns:a16="http://schemas.microsoft.com/office/drawing/2014/main" id="{D757D6F0-493D-43D8-BBF1-C79DB31F8241}"/>
                  </a:ext>
                </a:extLst>
              </p:cNvPr>
              <p:cNvSpPr/>
              <p:nvPr/>
            </p:nvSpPr>
            <p:spPr>
              <a:xfrm>
                <a:off x="4263078" y="3861841"/>
                <a:ext cx="141232" cy="41082"/>
              </a:xfrm>
              <a:custGeom>
                <a:avLst/>
                <a:gdLst>
                  <a:gd name="connsiteX0" fmla="*/ 0 w 141232"/>
                  <a:gd name="connsiteY0" fmla="*/ 38138 h 41082"/>
                  <a:gd name="connsiteX1" fmla="*/ 140433 w 141232"/>
                  <a:gd name="connsiteY1" fmla="*/ 0 h 41082"/>
                  <a:gd name="connsiteX2" fmla="*/ 141232 w 141232"/>
                  <a:gd name="connsiteY2" fmla="*/ 2944 h 41082"/>
                  <a:gd name="connsiteX3" fmla="*/ 799 w 141232"/>
                  <a:gd name="connsiteY3" fmla="*/ 41082 h 41082"/>
                </a:gdLst>
                <a:ahLst/>
                <a:cxnLst>
                  <a:cxn ang="0">
                    <a:pos x="connsiteX0" y="connsiteY0"/>
                  </a:cxn>
                  <a:cxn ang="0">
                    <a:pos x="connsiteX1" y="connsiteY1"/>
                  </a:cxn>
                  <a:cxn ang="0">
                    <a:pos x="connsiteX2" y="connsiteY2"/>
                  </a:cxn>
                  <a:cxn ang="0">
                    <a:pos x="connsiteX3" y="connsiteY3"/>
                  </a:cxn>
                </a:cxnLst>
                <a:rect l="l" t="t" r="r" b="b"/>
                <a:pathLst>
                  <a:path w="141232" h="41082">
                    <a:moveTo>
                      <a:pt x="0" y="38138"/>
                    </a:moveTo>
                    <a:lnTo>
                      <a:pt x="140433" y="0"/>
                    </a:lnTo>
                    <a:lnTo>
                      <a:pt x="141232" y="2944"/>
                    </a:lnTo>
                    <a:lnTo>
                      <a:pt x="799" y="41082"/>
                    </a:lnTo>
                    <a:close/>
                  </a:path>
                </a:pathLst>
              </a:custGeom>
              <a:grpFill/>
              <a:ln w="5978" cap="flat">
                <a:noFill/>
                <a:prstDash val="solid"/>
                <a:miter/>
              </a:ln>
            </p:spPr>
            <p:txBody>
              <a:bodyPr rtlCol="0" anchor="ctr"/>
              <a:lstStyle/>
              <a:p>
                <a:endParaRPr lang="en-GB"/>
              </a:p>
            </p:txBody>
          </p:sp>
          <p:sp>
            <p:nvSpPr>
              <p:cNvPr id="1761" name="Vrije vorm: vorm 1760">
                <a:extLst>
                  <a:ext uri="{FF2B5EF4-FFF2-40B4-BE49-F238E27FC236}">
                    <a16:creationId xmlns:a16="http://schemas.microsoft.com/office/drawing/2014/main" id="{BE0606FC-4F91-425C-9BA2-6EB65C8DB0FD}"/>
                  </a:ext>
                </a:extLst>
              </p:cNvPr>
              <p:cNvSpPr/>
              <p:nvPr/>
            </p:nvSpPr>
            <p:spPr>
              <a:xfrm>
                <a:off x="4254446" y="3892039"/>
                <a:ext cx="18336" cy="18452"/>
              </a:xfrm>
              <a:custGeom>
                <a:avLst/>
                <a:gdLst>
                  <a:gd name="connsiteX0" fmla="*/ 11563 w 18336"/>
                  <a:gd name="connsiteY0" fmla="*/ 18138 h 18452"/>
                  <a:gd name="connsiteX1" fmla="*/ 319 w 18336"/>
                  <a:gd name="connsiteY1" fmla="*/ 11618 h 18452"/>
                  <a:gd name="connsiteX2" fmla="*/ 6778 w 18336"/>
                  <a:gd name="connsiteY2" fmla="*/ 315 h 18452"/>
                  <a:gd name="connsiteX3" fmla="*/ 18022 w 18336"/>
                  <a:gd name="connsiteY3" fmla="*/ 6834 h 18452"/>
                  <a:gd name="connsiteX4" fmla="*/ 11563 w 18336"/>
                  <a:gd name="connsiteY4" fmla="*/ 1813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2">
                    <a:moveTo>
                      <a:pt x="11563" y="18138"/>
                    </a:moveTo>
                    <a:cubicBezTo>
                      <a:pt x="6659" y="19453"/>
                      <a:pt x="1635" y="16523"/>
                      <a:pt x="319" y="11618"/>
                    </a:cubicBezTo>
                    <a:cubicBezTo>
                      <a:pt x="-997" y="6714"/>
                      <a:pt x="1874" y="1631"/>
                      <a:pt x="6778" y="315"/>
                    </a:cubicBezTo>
                    <a:cubicBezTo>
                      <a:pt x="11682" y="-1001"/>
                      <a:pt x="16706" y="1930"/>
                      <a:pt x="18022" y="6834"/>
                    </a:cubicBezTo>
                    <a:cubicBezTo>
                      <a:pt x="19338" y="11738"/>
                      <a:pt x="16407" y="16822"/>
                      <a:pt x="11563" y="18138"/>
                    </a:cubicBezTo>
                    <a:close/>
                  </a:path>
                </a:pathLst>
              </a:custGeom>
              <a:grpFill/>
              <a:ln w="5978" cap="flat">
                <a:noFill/>
                <a:prstDash val="solid"/>
                <a:miter/>
              </a:ln>
            </p:spPr>
            <p:txBody>
              <a:bodyPr rtlCol="0" anchor="ctr"/>
              <a:lstStyle/>
              <a:p>
                <a:endParaRPr lang="en-GB"/>
              </a:p>
            </p:txBody>
          </p:sp>
          <p:sp>
            <p:nvSpPr>
              <p:cNvPr id="1762" name="Vrije vorm: vorm 1761">
                <a:extLst>
                  <a:ext uri="{FF2B5EF4-FFF2-40B4-BE49-F238E27FC236}">
                    <a16:creationId xmlns:a16="http://schemas.microsoft.com/office/drawing/2014/main" id="{1036D939-FB55-437C-8504-E0FD031B46BA}"/>
                  </a:ext>
                </a:extLst>
              </p:cNvPr>
              <p:cNvSpPr/>
              <p:nvPr/>
            </p:nvSpPr>
            <p:spPr>
              <a:xfrm>
                <a:off x="4394036" y="3854300"/>
                <a:ext cx="18341" cy="18452"/>
              </a:xfrm>
              <a:custGeom>
                <a:avLst/>
                <a:gdLst>
                  <a:gd name="connsiteX0" fmla="*/ 11563 w 18341"/>
                  <a:gd name="connsiteY0" fmla="*/ 18138 h 18452"/>
                  <a:gd name="connsiteX1" fmla="*/ 18022 w 18341"/>
                  <a:gd name="connsiteY1" fmla="*/ 6834 h 18452"/>
                  <a:gd name="connsiteX2" fmla="*/ 6778 w 18341"/>
                  <a:gd name="connsiteY2" fmla="*/ 315 h 18452"/>
                  <a:gd name="connsiteX3" fmla="*/ 319 w 18341"/>
                  <a:gd name="connsiteY3" fmla="*/ 11618 h 18452"/>
                  <a:gd name="connsiteX4" fmla="*/ 11563 w 18341"/>
                  <a:gd name="connsiteY4" fmla="*/ 18138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2">
                    <a:moveTo>
                      <a:pt x="11563" y="18138"/>
                    </a:moveTo>
                    <a:cubicBezTo>
                      <a:pt x="16467" y="16822"/>
                      <a:pt x="19338" y="11738"/>
                      <a:pt x="18022" y="6834"/>
                    </a:cubicBezTo>
                    <a:cubicBezTo>
                      <a:pt x="16706" y="1930"/>
                      <a:pt x="11623" y="-1001"/>
                      <a:pt x="6778" y="315"/>
                    </a:cubicBezTo>
                    <a:cubicBezTo>
                      <a:pt x="1874" y="1631"/>
                      <a:pt x="-997" y="6714"/>
                      <a:pt x="319" y="11618"/>
                    </a:cubicBezTo>
                    <a:cubicBezTo>
                      <a:pt x="1635" y="16523"/>
                      <a:pt x="6659" y="19453"/>
                      <a:pt x="11563" y="18138"/>
                    </a:cubicBezTo>
                    <a:close/>
                  </a:path>
                </a:pathLst>
              </a:custGeom>
              <a:grpFill/>
              <a:ln w="5978" cap="flat">
                <a:noFill/>
                <a:prstDash val="solid"/>
                <a:miter/>
              </a:ln>
            </p:spPr>
            <p:txBody>
              <a:bodyPr rtlCol="0" anchor="ctr"/>
              <a:lstStyle/>
              <a:p>
                <a:endParaRPr lang="en-GB"/>
              </a:p>
            </p:txBody>
          </p:sp>
        </p:grpSp>
        <p:grpSp>
          <p:nvGrpSpPr>
            <p:cNvPr id="1215" name="Graphic 3">
              <a:extLst>
                <a:ext uri="{FF2B5EF4-FFF2-40B4-BE49-F238E27FC236}">
                  <a16:creationId xmlns:a16="http://schemas.microsoft.com/office/drawing/2014/main" id="{D0880CBB-162B-4F56-A388-92C0BC70828F}"/>
                </a:ext>
              </a:extLst>
            </p:cNvPr>
            <p:cNvGrpSpPr/>
            <p:nvPr/>
          </p:nvGrpSpPr>
          <p:grpSpPr>
            <a:xfrm>
              <a:off x="3993982" y="3256571"/>
              <a:ext cx="272050" cy="37135"/>
              <a:chOff x="3993982" y="3256571"/>
              <a:chExt cx="272050" cy="37135"/>
            </a:xfrm>
            <a:grpFill/>
          </p:grpSpPr>
          <p:sp>
            <p:nvSpPr>
              <p:cNvPr id="1757" name="Vrije vorm: vorm 1756">
                <a:extLst>
                  <a:ext uri="{FF2B5EF4-FFF2-40B4-BE49-F238E27FC236}">
                    <a16:creationId xmlns:a16="http://schemas.microsoft.com/office/drawing/2014/main" id="{68BCA874-560B-4C3D-A5D4-10D2F25E7872}"/>
                  </a:ext>
                </a:extLst>
              </p:cNvPr>
              <p:cNvSpPr/>
              <p:nvPr/>
            </p:nvSpPr>
            <p:spPr>
              <a:xfrm>
                <a:off x="4002617" y="3264198"/>
                <a:ext cx="254838" cy="21829"/>
              </a:xfrm>
              <a:custGeom>
                <a:avLst/>
                <a:gdLst>
                  <a:gd name="connsiteX0" fmla="*/ 254838 w 254838"/>
                  <a:gd name="connsiteY0" fmla="*/ 18779 h 21829"/>
                  <a:gd name="connsiteX1" fmla="*/ 254659 w 254838"/>
                  <a:gd name="connsiteY1" fmla="*/ 21830 h 21829"/>
                  <a:gd name="connsiteX2" fmla="*/ 0 w 254838"/>
                  <a:gd name="connsiteY2" fmla="*/ 3050 h 21829"/>
                  <a:gd name="connsiteX3" fmla="*/ 180 w 254838"/>
                  <a:gd name="connsiteY3" fmla="*/ 0 h 21829"/>
                </a:gdLst>
                <a:ahLst/>
                <a:cxnLst>
                  <a:cxn ang="0">
                    <a:pos x="connsiteX0" y="connsiteY0"/>
                  </a:cxn>
                  <a:cxn ang="0">
                    <a:pos x="connsiteX1" y="connsiteY1"/>
                  </a:cxn>
                  <a:cxn ang="0">
                    <a:pos x="connsiteX2" y="connsiteY2"/>
                  </a:cxn>
                  <a:cxn ang="0">
                    <a:pos x="connsiteX3" y="connsiteY3"/>
                  </a:cxn>
                </a:cxnLst>
                <a:rect l="l" t="t" r="r" b="b"/>
                <a:pathLst>
                  <a:path w="254838" h="21829">
                    <a:moveTo>
                      <a:pt x="254838" y="18779"/>
                    </a:moveTo>
                    <a:lnTo>
                      <a:pt x="254659" y="21830"/>
                    </a:lnTo>
                    <a:lnTo>
                      <a:pt x="0" y="3050"/>
                    </a:lnTo>
                    <a:lnTo>
                      <a:pt x="180" y="0"/>
                    </a:lnTo>
                    <a:close/>
                  </a:path>
                </a:pathLst>
              </a:custGeom>
              <a:grpFill/>
              <a:ln w="5978" cap="flat">
                <a:noFill/>
                <a:prstDash val="solid"/>
                <a:miter/>
              </a:ln>
            </p:spPr>
            <p:txBody>
              <a:bodyPr rtlCol="0" anchor="ctr"/>
              <a:lstStyle/>
              <a:p>
                <a:endParaRPr lang="en-GB"/>
              </a:p>
            </p:txBody>
          </p:sp>
          <p:sp>
            <p:nvSpPr>
              <p:cNvPr id="1758" name="Vrije vorm: vorm 1757">
                <a:extLst>
                  <a:ext uri="{FF2B5EF4-FFF2-40B4-BE49-F238E27FC236}">
                    <a16:creationId xmlns:a16="http://schemas.microsoft.com/office/drawing/2014/main" id="{89EA880E-6B72-49B2-A16E-7F04E3C2587C}"/>
                  </a:ext>
                </a:extLst>
              </p:cNvPr>
              <p:cNvSpPr/>
              <p:nvPr/>
            </p:nvSpPr>
            <p:spPr>
              <a:xfrm>
                <a:off x="3993982" y="3256571"/>
                <a:ext cx="18287" cy="18415"/>
              </a:xfrm>
              <a:custGeom>
                <a:avLst/>
                <a:gdLst>
                  <a:gd name="connsiteX0" fmla="*/ 8516 w 18287"/>
                  <a:gd name="connsiteY0" fmla="*/ 18392 h 18415"/>
                  <a:gd name="connsiteX1" fmla="*/ 23 w 18287"/>
                  <a:gd name="connsiteY1" fmla="*/ 8524 h 18415"/>
                  <a:gd name="connsiteX2" fmla="*/ 9772 w 18287"/>
                  <a:gd name="connsiteY2" fmla="*/ 31 h 18415"/>
                  <a:gd name="connsiteX3" fmla="*/ 18264 w 18287"/>
                  <a:gd name="connsiteY3" fmla="*/ 9899 h 18415"/>
                  <a:gd name="connsiteX4" fmla="*/ 8516 w 18287"/>
                  <a:gd name="connsiteY4" fmla="*/ 18392 h 1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18415">
                    <a:moveTo>
                      <a:pt x="8516" y="18392"/>
                    </a:moveTo>
                    <a:cubicBezTo>
                      <a:pt x="3492" y="18033"/>
                      <a:pt x="-336" y="13608"/>
                      <a:pt x="23" y="8524"/>
                    </a:cubicBezTo>
                    <a:cubicBezTo>
                      <a:pt x="382" y="3440"/>
                      <a:pt x="4748" y="-387"/>
                      <a:pt x="9772" y="31"/>
                    </a:cubicBezTo>
                    <a:cubicBezTo>
                      <a:pt x="14796" y="390"/>
                      <a:pt x="18623" y="4816"/>
                      <a:pt x="18264" y="9899"/>
                    </a:cubicBezTo>
                    <a:cubicBezTo>
                      <a:pt x="17965" y="14983"/>
                      <a:pt x="13600" y="18751"/>
                      <a:pt x="8516" y="18392"/>
                    </a:cubicBezTo>
                    <a:close/>
                  </a:path>
                </a:pathLst>
              </a:custGeom>
              <a:grpFill/>
              <a:ln w="5978" cap="flat">
                <a:noFill/>
                <a:prstDash val="solid"/>
                <a:miter/>
              </a:ln>
            </p:spPr>
            <p:txBody>
              <a:bodyPr rtlCol="0" anchor="ctr"/>
              <a:lstStyle/>
              <a:p>
                <a:endParaRPr lang="en-GB"/>
              </a:p>
            </p:txBody>
          </p:sp>
          <p:sp>
            <p:nvSpPr>
              <p:cNvPr id="1759" name="Vrije vorm: vorm 1758">
                <a:extLst>
                  <a:ext uri="{FF2B5EF4-FFF2-40B4-BE49-F238E27FC236}">
                    <a16:creationId xmlns:a16="http://schemas.microsoft.com/office/drawing/2014/main" id="{BE72037D-8B61-4016-8DD0-28697A72CC9F}"/>
                  </a:ext>
                </a:extLst>
              </p:cNvPr>
              <p:cNvSpPr/>
              <p:nvPr/>
            </p:nvSpPr>
            <p:spPr>
              <a:xfrm>
                <a:off x="4247744" y="3275299"/>
                <a:ext cx="18288" cy="18407"/>
              </a:xfrm>
              <a:custGeom>
                <a:avLst/>
                <a:gdLst>
                  <a:gd name="connsiteX0" fmla="*/ 8516 w 18288"/>
                  <a:gd name="connsiteY0" fmla="*/ 18384 h 18407"/>
                  <a:gd name="connsiteX1" fmla="*/ 18265 w 18288"/>
                  <a:gd name="connsiteY1" fmla="*/ 9891 h 18407"/>
                  <a:gd name="connsiteX2" fmla="*/ 9772 w 18288"/>
                  <a:gd name="connsiteY2" fmla="*/ 23 h 18407"/>
                  <a:gd name="connsiteX3" fmla="*/ 23 w 18288"/>
                  <a:gd name="connsiteY3" fmla="*/ 8516 h 18407"/>
                  <a:gd name="connsiteX4" fmla="*/ 8516 w 18288"/>
                  <a:gd name="connsiteY4" fmla="*/ 1838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07">
                    <a:moveTo>
                      <a:pt x="8516" y="18384"/>
                    </a:moveTo>
                    <a:cubicBezTo>
                      <a:pt x="13540" y="18743"/>
                      <a:pt x="17965" y="14915"/>
                      <a:pt x="18265" y="9891"/>
                    </a:cubicBezTo>
                    <a:cubicBezTo>
                      <a:pt x="18624" y="4808"/>
                      <a:pt x="14796" y="382"/>
                      <a:pt x="9772" y="23"/>
                    </a:cubicBezTo>
                    <a:cubicBezTo>
                      <a:pt x="4748" y="-336"/>
                      <a:pt x="323" y="3492"/>
                      <a:pt x="23" y="8516"/>
                    </a:cubicBezTo>
                    <a:cubicBezTo>
                      <a:pt x="-336" y="13599"/>
                      <a:pt x="3492" y="18025"/>
                      <a:pt x="8516" y="18384"/>
                    </a:cubicBezTo>
                    <a:close/>
                  </a:path>
                </a:pathLst>
              </a:custGeom>
              <a:grpFill/>
              <a:ln w="5978" cap="flat">
                <a:noFill/>
                <a:prstDash val="solid"/>
                <a:miter/>
              </a:ln>
            </p:spPr>
            <p:txBody>
              <a:bodyPr rtlCol="0" anchor="ctr"/>
              <a:lstStyle/>
              <a:p>
                <a:endParaRPr lang="en-GB"/>
              </a:p>
            </p:txBody>
          </p:sp>
        </p:grpSp>
        <p:grpSp>
          <p:nvGrpSpPr>
            <p:cNvPr id="1216" name="Graphic 3">
              <a:extLst>
                <a:ext uri="{FF2B5EF4-FFF2-40B4-BE49-F238E27FC236}">
                  <a16:creationId xmlns:a16="http://schemas.microsoft.com/office/drawing/2014/main" id="{D47A1C72-54CB-4861-A897-809F76E3D440}"/>
                </a:ext>
              </a:extLst>
            </p:cNvPr>
            <p:cNvGrpSpPr/>
            <p:nvPr/>
          </p:nvGrpSpPr>
          <p:grpSpPr>
            <a:xfrm>
              <a:off x="4706241" y="5125824"/>
              <a:ext cx="195851" cy="280842"/>
              <a:chOff x="4706241" y="5125824"/>
              <a:chExt cx="195851" cy="280842"/>
            </a:xfrm>
            <a:grpFill/>
          </p:grpSpPr>
          <p:sp>
            <p:nvSpPr>
              <p:cNvPr id="1754" name="Vrije vorm: vorm 1753">
                <a:extLst>
                  <a:ext uri="{FF2B5EF4-FFF2-40B4-BE49-F238E27FC236}">
                    <a16:creationId xmlns:a16="http://schemas.microsoft.com/office/drawing/2014/main" id="{F48592EC-7914-4932-9BB0-0828B35448BC}"/>
                  </a:ext>
                </a:extLst>
              </p:cNvPr>
              <p:cNvSpPr/>
              <p:nvPr/>
            </p:nvSpPr>
            <p:spPr>
              <a:xfrm>
                <a:off x="4713845" y="5133772"/>
                <a:ext cx="180617" cy="264945"/>
              </a:xfrm>
              <a:custGeom>
                <a:avLst/>
                <a:gdLst>
                  <a:gd name="connsiteX0" fmla="*/ 180618 w 180617"/>
                  <a:gd name="connsiteY0" fmla="*/ 1735 h 264945"/>
                  <a:gd name="connsiteX1" fmla="*/ 2572 w 180617"/>
                  <a:gd name="connsiteY1" fmla="*/ 264946 h 264945"/>
                  <a:gd name="connsiteX2" fmla="*/ 0 w 180617"/>
                  <a:gd name="connsiteY2" fmla="*/ 263212 h 264945"/>
                  <a:gd name="connsiteX3" fmla="*/ 178106 w 180617"/>
                  <a:gd name="connsiteY3" fmla="*/ 0 h 264945"/>
                </a:gdLst>
                <a:ahLst/>
                <a:cxnLst>
                  <a:cxn ang="0">
                    <a:pos x="connsiteX0" y="connsiteY0"/>
                  </a:cxn>
                  <a:cxn ang="0">
                    <a:pos x="connsiteX1" y="connsiteY1"/>
                  </a:cxn>
                  <a:cxn ang="0">
                    <a:pos x="connsiteX2" y="connsiteY2"/>
                  </a:cxn>
                  <a:cxn ang="0">
                    <a:pos x="connsiteX3" y="connsiteY3"/>
                  </a:cxn>
                </a:cxnLst>
                <a:rect l="l" t="t" r="r" b="b"/>
                <a:pathLst>
                  <a:path w="180617" h="264945">
                    <a:moveTo>
                      <a:pt x="180618" y="1735"/>
                    </a:moveTo>
                    <a:lnTo>
                      <a:pt x="2572" y="264946"/>
                    </a:lnTo>
                    <a:lnTo>
                      <a:pt x="0" y="263212"/>
                    </a:lnTo>
                    <a:lnTo>
                      <a:pt x="178106" y="0"/>
                    </a:lnTo>
                    <a:close/>
                  </a:path>
                </a:pathLst>
              </a:custGeom>
              <a:grpFill/>
              <a:ln w="5978" cap="flat">
                <a:noFill/>
                <a:prstDash val="solid"/>
                <a:miter/>
              </a:ln>
            </p:spPr>
            <p:txBody>
              <a:bodyPr rtlCol="0" anchor="ctr"/>
              <a:lstStyle/>
              <a:p>
                <a:endParaRPr lang="en-GB"/>
              </a:p>
            </p:txBody>
          </p:sp>
          <p:sp>
            <p:nvSpPr>
              <p:cNvPr id="1755" name="Vrije vorm: vorm 1754">
                <a:extLst>
                  <a:ext uri="{FF2B5EF4-FFF2-40B4-BE49-F238E27FC236}">
                    <a16:creationId xmlns:a16="http://schemas.microsoft.com/office/drawing/2014/main" id="{94CE0399-63AA-4712-91FD-BB63A105BBBB}"/>
                  </a:ext>
                </a:extLst>
              </p:cNvPr>
              <p:cNvSpPr/>
              <p:nvPr/>
            </p:nvSpPr>
            <p:spPr>
              <a:xfrm>
                <a:off x="4706241" y="5388258"/>
                <a:ext cx="18317" cy="18408"/>
              </a:xfrm>
              <a:custGeom>
                <a:avLst/>
                <a:gdLst>
                  <a:gd name="connsiteX0" fmla="*/ 16754 w 18317"/>
                  <a:gd name="connsiteY0" fmla="*/ 14407 h 18408"/>
                  <a:gd name="connsiteX1" fmla="*/ 4015 w 18317"/>
                  <a:gd name="connsiteY1" fmla="*/ 16799 h 18408"/>
                  <a:gd name="connsiteX2" fmla="*/ 1563 w 18317"/>
                  <a:gd name="connsiteY2" fmla="*/ 4001 h 18408"/>
                  <a:gd name="connsiteX3" fmla="*/ 14302 w 18317"/>
                  <a:gd name="connsiteY3" fmla="*/ 1609 h 18408"/>
                  <a:gd name="connsiteX4" fmla="*/ 16754 w 18317"/>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08">
                    <a:moveTo>
                      <a:pt x="16754" y="14407"/>
                    </a:moveTo>
                    <a:cubicBezTo>
                      <a:pt x="13884" y="18594"/>
                      <a:pt x="8202" y="19670"/>
                      <a:pt x="4015" y="16799"/>
                    </a:cubicBezTo>
                    <a:cubicBezTo>
                      <a:pt x="-171" y="13929"/>
                      <a:pt x="-1248" y="8187"/>
                      <a:pt x="1563" y="4001"/>
                    </a:cubicBezTo>
                    <a:cubicBezTo>
                      <a:pt x="4374" y="-186"/>
                      <a:pt x="10116" y="-1262"/>
                      <a:pt x="14302" y="1609"/>
                    </a:cubicBezTo>
                    <a:cubicBezTo>
                      <a:pt x="18489" y="4479"/>
                      <a:pt x="19565" y="10221"/>
                      <a:pt x="16754" y="14407"/>
                    </a:cubicBezTo>
                    <a:close/>
                  </a:path>
                </a:pathLst>
              </a:custGeom>
              <a:grpFill/>
              <a:ln w="5978" cap="flat">
                <a:noFill/>
                <a:prstDash val="solid"/>
                <a:miter/>
              </a:ln>
            </p:spPr>
            <p:txBody>
              <a:bodyPr rtlCol="0" anchor="ctr"/>
              <a:lstStyle/>
              <a:p>
                <a:endParaRPr lang="en-GB"/>
              </a:p>
            </p:txBody>
          </p:sp>
          <p:sp>
            <p:nvSpPr>
              <p:cNvPr id="1756" name="Vrije vorm: vorm 1755">
                <a:extLst>
                  <a:ext uri="{FF2B5EF4-FFF2-40B4-BE49-F238E27FC236}">
                    <a16:creationId xmlns:a16="http://schemas.microsoft.com/office/drawing/2014/main" id="{904E26BC-E750-4580-A534-18D07FB5C513}"/>
                  </a:ext>
                </a:extLst>
              </p:cNvPr>
              <p:cNvSpPr/>
              <p:nvPr/>
            </p:nvSpPr>
            <p:spPr>
              <a:xfrm>
                <a:off x="4883749" y="5125824"/>
                <a:ext cx="18343" cy="18408"/>
              </a:xfrm>
              <a:custGeom>
                <a:avLst/>
                <a:gdLst>
                  <a:gd name="connsiteX0" fmla="*/ 16754 w 18343"/>
                  <a:gd name="connsiteY0" fmla="*/ 14407 h 18408"/>
                  <a:gd name="connsiteX1" fmla="*/ 14302 w 18343"/>
                  <a:gd name="connsiteY1" fmla="*/ 1609 h 18408"/>
                  <a:gd name="connsiteX2" fmla="*/ 1563 w 18343"/>
                  <a:gd name="connsiteY2" fmla="*/ 4001 h 18408"/>
                  <a:gd name="connsiteX3" fmla="*/ 4015 w 18343"/>
                  <a:gd name="connsiteY3" fmla="*/ 16799 h 18408"/>
                  <a:gd name="connsiteX4" fmla="*/ 16754 w 18343"/>
                  <a:gd name="connsiteY4" fmla="*/ 14407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08">
                    <a:moveTo>
                      <a:pt x="16754" y="14407"/>
                    </a:moveTo>
                    <a:cubicBezTo>
                      <a:pt x="19625" y="10221"/>
                      <a:pt x="18489" y="4479"/>
                      <a:pt x="14302" y="1609"/>
                    </a:cubicBezTo>
                    <a:cubicBezTo>
                      <a:pt x="10116" y="-1262"/>
                      <a:pt x="4434" y="-186"/>
                      <a:pt x="1563" y="4001"/>
                    </a:cubicBezTo>
                    <a:cubicBezTo>
                      <a:pt x="-1248" y="8188"/>
                      <a:pt x="-171" y="13929"/>
                      <a:pt x="4015" y="16799"/>
                    </a:cubicBezTo>
                    <a:cubicBezTo>
                      <a:pt x="8202" y="19670"/>
                      <a:pt x="13944" y="18594"/>
                      <a:pt x="16754" y="14407"/>
                    </a:cubicBezTo>
                    <a:close/>
                  </a:path>
                </a:pathLst>
              </a:custGeom>
              <a:grpFill/>
              <a:ln w="5978" cap="flat">
                <a:noFill/>
                <a:prstDash val="solid"/>
                <a:miter/>
              </a:ln>
            </p:spPr>
            <p:txBody>
              <a:bodyPr rtlCol="0" anchor="ctr"/>
              <a:lstStyle/>
              <a:p>
                <a:endParaRPr lang="en-GB"/>
              </a:p>
            </p:txBody>
          </p:sp>
        </p:grpSp>
        <p:grpSp>
          <p:nvGrpSpPr>
            <p:cNvPr id="1217" name="Graphic 3">
              <a:extLst>
                <a:ext uri="{FF2B5EF4-FFF2-40B4-BE49-F238E27FC236}">
                  <a16:creationId xmlns:a16="http://schemas.microsoft.com/office/drawing/2014/main" id="{A1894874-4F10-4AE1-AF87-33FF2C31563A}"/>
                </a:ext>
              </a:extLst>
            </p:cNvPr>
            <p:cNvGrpSpPr/>
            <p:nvPr/>
          </p:nvGrpSpPr>
          <p:grpSpPr>
            <a:xfrm>
              <a:off x="4403266" y="4121964"/>
              <a:ext cx="36209" cy="26293"/>
              <a:chOff x="4403266" y="4121964"/>
              <a:chExt cx="36209" cy="26293"/>
            </a:xfrm>
            <a:grpFill/>
          </p:grpSpPr>
          <p:sp>
            <p:nvSpPr>
              <p:cNvPr id="1751" name="Vrije vorm: vorm 1750">
                <a:extLst>
                  <a:ext uri="{FF2B5EF4-FFF2-40B4-BE49-F238E27FC236}">
                    <a16:creationId xmlns:a16="http://schemas.microsoft.com/office/drawing/2014/main" id="{7E63281C-F5FD-46F9-BE99-0CE14469AEB3}"/>
                  </a:ext>
                </a:extLst>
              </p:cNvPr>
              <p:cNvSpPr/>
              <p:nvPr/>
            </p:nvSpPr>
            <p:spPr>
              <a:xfrm>
                <a:off x="4411400" y="4129609"/>
                <a:ext cx="19915" cy="11064"/>
              </a:xfrm>
              <a:custGeom>
                <a:avLst/>
                <a:gdLst>
                  <a:gd name="connsiteX0" fmla="*/ 19916 w 19915"/>
                  <a:gd name="connsiteY0" fmla="*/ 2811 h 11064"/>
                  <a:gd name="connsiteX1" fmla="*/ 1196 w 19915"/>
                  <a:gd name="connsiteY1" fmla="*/ 11064 h 11064"/>
                  <a:gd name="connsiteX2" fmla="*/ 0 w 19915"/>
                  <a:gd name="connsiteY2" fmla="*/ 8253 h 11064"/>
                  <a:gd name="connsiteX3" fmla="*/ 18660 w 19915"/>
                  <a:gd name="connsiteY3" fmla="*/ 0 h 11064"/>
                </a:gdLst>
                <a:ahLst/>
                <a:cxnLst>
                  <a:cxn ang="0">
                    <a:pos x="connsiteX0" y="connsiteY0"/>
                  </a:cxn>
                  <a:cxn ang="0">
                    <a:pos x="connsiteX1" y="connsiteY1"/>
                  </a:cxn>
                  <a:cxn ang="0">
                    <a:pos x="connsiteX2" y="connsiteY2"/>
                  </a:cxn>
                  <a:cxn ang="0">
                    <a:pos x="connsiteX3" y="connsiteY3"/>
                  </a:cxn>
                </a:cxnLst>
                <a:rect l="l" t="t" r="r" b="b"/>
                <a:pathLst>
                  <a:path w="19915" h="11064">
                    <a:moveTo>
                      <a:pt x="19916" y="2811"/>
                    </a:moveTo>
                    <a:lnTo>
                      <a:pt x="1196" y="11064"/>
                    </a:lnTo>
                    <a:lnTo>
                      <a:pt x="0" y="8253"/>
                    </a:lnTo>
                    <a:lnTo>
                      <a:pt x="18660" y="0"/>
                    </a:lnTo>
                    <a:close/>
                  </a:path>
                </a:pathLst>
              </a:custGeom>
              <a:grpFill/>
              <a:ln w="5978" cap="flat">
                <a:noFill/>
                <a:prstDash val="solid"/>
                <a:miter/>
              </a:ln>
            </p:spPr>
            <p:txBody>
              <a:bodyPr rtlCol="0" anchor="ctr"/>
              <a:lstStyle/>
              <a:p>
                <a:endParaRPr lang="en-GB"/>
              </a:p>
            </p:txBody>
          </p:sp>
          <p:sp>
            <p:nvSpPr>
              <p:cNvPr id="1752" name="Vrije vorm: vorm 1751">
                <a:extLst>
                  <a:ext uri="{FF2B5EF4-FFF2-40B4-BE49-F238E27FC236}">
                    <a16:creationId xmlns:a16="http://schemas.microsoft.com/office/drawing/2014/main" id="{68106B23-2BC3-4F87-B5A5-3259FECCE2A7}"/>
                  </a:ext>
                </a:extLst>
              </p:cNvPr>
              <p:cNvSpPr/>
              <p:nvPr/>
            </p:nvSpPr>
            <p:spPr>
              <a:xfrm>
                <a:off x="4403266" y="4129799"/>
                <a:ext cx="18301" cy="18458"/>
              </a:xfrm>
              <a:custGeom>
                <a:avLst/>
                <a:gdLst>
                  <a:gd name="connsiteX0" fmla="*/ 12859 w 18301"/>
                  <a:gd name="connsiteY0" fmla="*/ 17692 h 18458"/>
                  <a:gd name="connsiteX1" fmla="*/ 777 w 18301"/>
                  <a:gd name="connsiteY1" fmla="*/ 12908 h 18458"/>
                  <a:gd name="connsiteX2" fmla="*/ 5443 w 18301"/>
                  <a:gd name="connsiteY2" fmla="*/ 767 h 18458"/>
                  <a:gd name="connsiteX3" fmla="*/ 17523 w 18301"/>
                  <a:gd name="connsiteY3" fmla="*/ 5551 h 18458"/>
                  <a:gd name="connsiteX4" fmla="*/ 12859 w 18301"/>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58">
                    <a:moveTo>
                      <a:pt x="12859" y="17692"/>
                    </a:moveTo>
                    <a:cubicBezTo>
                      <a:pt x="8253" y="19726"/>
                      <a:pt x="2811" y="17573"/>
                      <a:pt x="777" y="12908"/>
                    </a:cubicBezTo>
                    <a:cubicBezTo>
                      <a:pt x="-1256" y="8243"/>
                      <a:pt x="837" y="2800"/>
                      <a:pt x="5443" y="767"/>
                    </a:cubicBezTo>
                    <a:cubicBezTo>
                      <a:pt x="10048" y="-1267"/>
                      <a:pt x="15490" y="886"/>
                      <a:pt x="17523" y="5551"/>
                    </a:cubicBezTo>
                    <a:cubicBezTo>
                      <a:pt x="19557" y="10216"/>
                      <a:pt x="17464" y="15659"/>
                      <a:pt x="12859" y="17692"/>
                    </a:cubicBezTo>
                    <a:close/>
                  </a:path>
                </a:pathLst>
              </a:custGeom>
              <a:grpFill/>
              <a:ln w="5978" cap="flat">
                <a:noFill/>
                <a:prstDash val="solid"/>
                <a:miter/>
              </a:ln>
            </p:spPr>
            <p:txBody>
              <a:bodyPr rtlCol="0" anchor="ctr"/>
              <a:lstStyle/>
              <a:p>
                <a:endParaRPr lang="en-GB"/>
              </a:p>
            </p:txBody>
          </p:sp>
          <p:sp>
            <p:nvSpPr>
              <p:cNvPr id="1753" name="Vrije vorm: vorm 1752">
                <a:extLst>
                  <a:ext uri="{FF2B5EF4-FFF2-40B4-BE49-F238E27FC236}">
                    <a16:creationId xmlns:a16="http://schemas.microsoft.com/office/drawing/2014/main" id="{DA03FF34-8DF9-4AFA-BA59-D3C79C5D4696}"/>
                  </a:ext>
                </a:extLst>
              </p:cNvPr>
              <p:cNvSpPr/>
              <p:nvPr/>
            </p:nvSpPr>
            <p:spPr>
              <a:xfrm>
                <a:off x="4421148" y="4121964"/>
                <a:ext cx="18326" cy="18458"/>
              </a:xfrm>
              <a:custGeom>
                <a:avLst/>
                <a:gdLst>
                  <a:gd name="connsiteX0" fmla="*/ 12859 w 18326"/>
                  <a:gd name="connsiteY0" fmla="*/ 17692 h 18458"/>
                  <a:gd name="connsiteX1" fmla="*/ 17524 w 18326"/>
                  <a:gd name="connsiteY1" fmla="*/ 5551 h 18458"/>
                  <a:gd name="connsiteX2" fmla="*/ 5443 w 18326"/>
                  <a:gd name="connsiteY2" fmla="*/ 767 h 18458"/>
                  <a:gd name="connsiteX3" fmla="*/ 777 w 18326"/>
                  <a:gd name="connsiteY3" fmla="*/ 12907 h 18458"/>
                  <a:gd name="connsiteX4" fmla="*/ 12859 w 18326"/>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6" h="18458">
                    <a:moveTo>
                      <a:pt x="12859" y="17692"/>
                    </a:moveTo>
                    <a:cubicBezTo>
                      <a:pt x="17464" y="15659"/>
                      <a:pt x="19617" y="10216"/>
                      <a:pt x="17524" y="5551"/>
                    </a:cubicBezTo>
                    <a:cubicBezTo>
                      <a:pt x="15490" y="886"/>
                      <a:pt x="10048" y="-1267"/>
                      <a:pt x="5443" y="767"/>
                    </a:cubicBezTo>
                    <a:cubicBezTo>
                      <a:pt x="837" y="2800"/>
                      <a:pt x="-1256" y="8243"/>
                      <a:pt x="777" y="12907"/>
                    </a:cubicBezTo>
                    <a:cubicBezTo>
                      <a:pt x="2811" y="17573"/>
                      <a:pt x="8194" y="19726"/>
                      <a:pt x="12859" y="17692"/>
                    </a:cubicBezTo>
                    <a:close/>
                  </a:path>
                </a:pathLst>
              </a:custGeom>
              <a:grpFill/>
              <a:ln w="5978" cap="flat">
                <a:noFill/>
                <a:prstDash val="solid"/>
                <a:miter/>
              </a:ln>
            </p:spPr>
            <p:txBody>
              <a:bodyPr rtlCol="0" anchor="ctr"/>
              <a:lstStyle/>
              <a:p>
                <a:endParaRPr lang="en-GB"/>
              </a:p>
            </p:txBody>
          </p:sp>
        </p:grpSp>
        <p:grpSp>
          <p:nvGrpSpPr>
            <p:cNvPr id="1218" name="Graphic 3">
              <a:extLst>
                <a:ext uri="{FF2B5EF4-FFF2-40B4-BE49-F238E27FC236}">
                  <a16:creationId xmlns:a16="http://schemas.microsoft.com/office/drawing/2014/main" id="{1754E72C-31EA-4763-AAF0-330D81D460CF}"/>
                </a:ext>
              </a:extLst>
            </p:cNvPr>
            <p:cNvGrpSpPr/>
            <p:nvPr/>
          </p:nvGrpSpPr>
          <p:grpSpPr>
            <a:xfrm>
              <a:off x="4094236" y="3337337"/>
              <a:ext cx="97318" cy="21243"/>
              <a:chOff x="4094236" y="3337337"/>
              <a:chExt cx="97318" cy="21243"/>
            </a:xfrm>
            <a:grpFill/>
          </p:grpSpPr>
          <p:sp>
            <p:nvSpPr>
              <p:cNvPr id="1748" name="Vrije vorm: vorm 1747">
                <a:extLst>
                  <a:ext uri="{FF2B5EF4-FFF2-40B4-BE49-F238E27FC236}">
                    <a16:creationId xmlns:a16="http://schemas.microsoft.com/office/drawing/2014/main" id="{162B1966-1625-470B-917F-ECCA0A0D022B}"/>
                  </a:ext>
                </a:extLst>
              </p:cNvPr>
              <p:cNvSpPr/>
              <p:nvPr/>
            </p:nvSpPr>
            <p:spPr>
              <a:xfrm>
                <a:off x="4102854" y="3344998"/>
                <a:ext cx="80081" cy="5921"/>
              </a:xfrm>
              <a:custGeom>
                <a:avLst/>
                <a:gdLst>
                  <a:gd name="connsiteX0" fmla="*/ 80082 w 80081"/>
                  <a:gd name="connsiteY0" fmla="*/ 2871 h 5921"/>
                  <a:gd name="connsiteX1" fmla="*/ 79962 w 80081"/>
                  <a:gd name="connsiteY1" fmla="*/ 5921 h 5921"/>
                  <a:gd name="connsiteX2" fmla="*/ 0 w 80081"/>
                  <a:gd name="connsiteY2" fmla="*/ 3050 h 5921"/>
                  <a:gd name="connsiteX3" fmla="*/ 120 w 80081"/>
                  <a:gd name="connsiteY3" fmla="*/ 0 h 5921"/>
                </a:gdLst>
                <a:ahLst/>
                <a:cxnLst>
                  <a:cxn ang="0">
                    <a:pos x="connsiteX0" y="connsiteY0"/>
                  </a:cxn>
                  <a:cxn ang="0">
                    <a:pos x="connsiteX1" y="connsiteY1"/>
                  </a:cxn>
                  <a:cxn ang="0">
                    <a:pos x="connsiteX2" y="connsiteY2"/>
                  </a:cxn>
                  <a:cxn ang="0">
                    <a:pos x="connsiteX3" y="connsiteY3"/>
                  </a:cxn>
                </a:cxnLst>
                <a:rect l="l" t="t" r="r" b="b"/>
                <a:pathLst>
                  <a:path w="80081" h="5921">
                    <a:moveTo>
                      <a:pt x="80082" y="2871"/>
                    </a:moveTo>
                    <a:lnTo>
                      <a:pt x="79962" y="5921"/>
                    </a:lnTo>
                    <a:lnTo>
                      <a:pt x="0" y="3050"/>
                    </a:lnTo>
                    <a:lnTo>
                      <a:pt x="120" y="0"/>
                    </a:lnTo>
                    <a:close/>
                  </a:path>
                </a:pathLst>
              </a:custGeom>
              <a:grpFill/>
              <a:ln w="5978" cap="flat">
                <a:noFill/>
                <a:prstDash val="solid"/>
                <a:miter/>
              </a:ln>
            </p:spPr>
            <p:txBody>
              <a:bodyPr rtlCol="0" anchor="ctr"/>
              <a:lstStyle/>
              <a:p>
                <a:endParaRPr lang="en-GB"/>
              </a:p>
            </p:txBody>
          </p:sp>
          <p:sp>
            <p:nvSpPr>
              <p:cNvPr id="1749" name="Vrije vorm: vorm 1748">
                <a:extLst>
                  <a:ext uri="{FF2B5EF4-FFF2-40B4-BE49-F238E27FC236}">
                    <a16:creationId xmlns:a16="http://schemas.microsoft.com/office/drawing/2014/main" id="{D617F073-0295-480E-AAAE-1DF9E0638071}"/>
                  </a:ext>
                </a:extLst>
              </p:cNvPr>
              <p:cNvSpPr/>
              <p:nvPr/>
            </p:nvSpPr>
            <p:spPr>
              <a:xfrm>
                <a:off x="4094236" y="3337337"/>
                <a:ext cx="18312" cy="18376"/>
              </a:xfrm>
              <a:custGeom>
                <a:avLst/>
                <a:gdLst>
                  <a:gd name="connsiteX0" fmla="*/ 8857 w 18312"/>
                  <a:gd name="connsiteY0" fmla="*/ 18367 h 18376"/>
                  <a:gd name="connsiteX1" fmla="*/ 6 w 18312"/>
                  <a:gd name="connsiteY1" fmla="*/ 8857 h 18376"/>
                  <a:gd name="connsiteX2" fmla="*/ 9456 w 18312"/>
                  <a:gd name="connsiteY2" fmla="*/ 6 h 18376"/>
                  <a:gd name="connsiteX3" fmla="*/ 18307 w 18312"/>
                  <a:gd name="connsiteY3" fmla="*/ 9515 h 18376"/>
                  <a:gd name="connsiteX4" fmla="*/ 8857 w 18312"/>
                  <a:gd name="connsiteY4" fmla="*/ 18367 h 1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6">
                    <a:moveTo>
                      <a:pt x="8857" y="18367"/>
                    </a:moveTo>
                    <a:cubicBezTo>
                      <a:pt x="3774" y="18187"/>
                      <a:pt x="-173" y="13941"/>
                      <a:pt x="6" y="8857"/>
                    </a:cubicBezTo>
                    <a:cubicBezTo>
                      <a:pt x="185" y="3774"/>
                      <a:pt x="4372" y="-174"/>
                      <a:pt x="9456" y="6"/>
                    </a:cubicBezTo>
                    <a:cubicBezTo>
                      <a:pt x="14539" y="185"/>
                      <a:pt x="18486" y="4432"/>
                      <a:pt x="18307" y="9515"/>
                    </a:cubicBezTo>
                    <a:cubicBezTo>
                      <a:pt x="18128" y="14599"/>
                      <a:pt x="13881" y="18606"/>
                      <a:pt x="8857" y="18367"/>
                    </a:cubicBezTo>
                    <a:close/>
                  </a:path>
                </a:pathLst>
              </a:custGeom>
              <a:grpFill/>
              <a:ln w="5978" cap="flat">
                <a:noFill/>
                <a:prstDash val="solid"/>
                <a:miter/>
              </a:ln>
            </p:spPr>
            <p:txBody>
              <a:bodyPr rtlCol="0" anchor="ctr"/>
              <a:lstStyle/>
              <a:p>
                <a:endParaRPr lang="en-GB"/>
              </a:p>
            </p:txBody>
          </p:sp>
          <p:sp>
            <p:nvSpPr>
              <p:cNvPr id="1750" name="Vrije vorm: vorm 1749">
                <a:extLst>
                  <a:ext uri="{FF2B5EF4-FFF2-40B4-BE49-F238E27FC236}">
                    <a16:creationId xmlns:a16="http://schemas.microsoft.com/office/drawing/2014/main" id="{24F9A9AD-00FF-4A0E-ADF1-CED9237FEA3C}"/>
                  </a:ext>
                </a:extLst>
              </p:cNvPr>
              <p:cNvSpPr/>
              <p:nvPr/>
            </p:nvSpPr>
            <p:spPr>
              <a:xfrm>
                <a:off x="4173242" y="3340207"/>
                <a:ext cx="18312" cy="18372"/>
              </a:xfrm>
              <a:custGeom>
                <a:avLst/>
                <a:gdLst>
                  <a:gd name="connsiteX0" fmla="*/ 8857 w 18312"/>
                  <a:gd name="connsiteY0" fmla="*/ 18367 h 18372"/>
                  <a:gd name="connsiteX1" fmla="*/ 18307 w 18312"/>
                  <a:gd name="connsiteY1" fmla="*/ 9515 h 18372"/>
                  <a:gd name="connsiteX2" fmla="*/ 9455 w 18312"/>
                  <a:gd name="connsiteY2" fmla="*/ 6 h 18372"/>
                  <a:gd name="connsiteX3" fmla="*/ 6 w 18312"/>
                  <a:gd name="connsiteY3" fmla="*/ 8857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13941" y="18546"/>
                      <a:pt x="18127" y="14599"/>
                      <a:pt x="18307" y="9515"/>
                    </a:cubicBezTo>
                    <a:cubicBezTo>
                      <a:pt x="18486" y="4432"/>
                      <a:pt x="14479" y="185"/>
                      <a:pt x="9455" y="6"/>
                    </a:cubicBezTo>
                    <a:cubicBezTo>
                      <a:pt x="4372" y="-174"/>
                      <a:pt x="185" y="3774"/>
                      <a:pt x="6" y="8857"/>
                    </a:cubicBezTo>
                    <a:cubicBezTo>
                      <a:pt x="-174" y="13941"/>
                      <a:pt x="3833" y="18187"/>
                      <a:pt x="8857" y="18367"/>
                    </a:cubicBezTo>
                    <a:close/>
                  </a:path>
                </a:pathLst>
              </a:custGeom>
              <a:grpFill/>
              <a:ln w="5978" cap="flat">
                <a:noFill/>
                <a:prstDash val="solid"/>
                <a:miter/>
              </a:ln>
            </p:spPr>
            <p:txBody>
              <a:bodyPr rtlCol="0" anchor="ctr"/>
              <a:lstStyle/>
              <a:p>
                <a:endParaRPr lang="en-GB"/>
              </a:p>
            </p:txBody>
          </p:sp>
        </p:grpSp>
        <p:grpSp>
          <p:nvGrpSpPr>
            <p:cNvPr id="1219" name="Graphic 3">
              <a:extLst>
                <a:ext uri="{FF2B5EF4-FFF2-40B4-BE49-F238E27FC236}">
                  <a16:creationId xmlns:a16="http://schemas.microsoft.com/office/drawing/2014/main" id="{D438C9B6-6CE7-467E-8C85-617568C71383}"/>
                </a:ext>
              </a:extLst>
            </p:cNvPr>
            <p:cNvGrpSpPr/>
            <p:nvPr/>
          </p:nvGrpSpPr>
          <p:grpSpPr>
            <a:xfrm>
              <a:off x="4185118" y="3755307"/>
              <a:ext cx="230318" cy="63015"/>
              <a:chOff x="4185118" y="3755307"/>
              <a:chExt cx="230318" cy="63015"/>
            </a:xfrm>
            <a:grpFill/>
          </p:grpSpPr>
          <p:sp>
            <p:nvSpPr>
              <p:cNvPr id="1745" name="Vrije vorm: vorm 1744">
                <a:extLst>
                  <a:ext uri="{FF2B5EF4-FFF2-40B4-BE49-F238E27FC236}">
                    <a16:creationId xmlns:a16="http://schemas.microsoft.com/office/drawing/2014/main" id="{C64FE792-F3C0-4E33-B0CE-9DA8BE5CC28A}"/>
                  </a:ext>
                </a:extLst>
              </p:cNvPr>
              <p:cNvSpPr/>
              <p:nvPr/>
            </p:nvSpPr>
            <p:spPr>
              <a:xfrm>
                <a:off x="4193521" y="3762926"/>
                <a:ext cx="213450" cy="47945"/>
              </a:xfrm>
              <a:custGeom>
                <a:avLst/>
                <a:gdLst>
                  <a:gd name="connsiteX0" fmla="*/ 0 w 213450"/>
                  <a:gd name="connsiteY0" fmla="*/ 44961 h 47945"/>
                  <a:gd name="connsiteX1" fmla="*/ 212821 w 213450"/>
                  <a:gd name="connsiteY1" fmla="*/ 0 h 47945"/>
                  <a:gd name="connsiteX2" fmla="*/ 213451 w 213450"/>
                  <a:gd name="connsiteY2" fmla="*/ 2984 h 47945"/>
                  <a:gd name="connsiteX3" fmla="*/ 631 w 213450"/>
                  <a:gd name="connsiteY3" fmla="*/ 47945 h 47945"/>
                </a:gdLst>
                <a:ahLst/>
                <a:cxnLst>
                  <a:cxn ang="0">
                    <a:pos x="connsiteX0" y="connsiteY0"/>
                  </a:cxn>
                  <a:cxn ang="0">
                    <a:pos x="connsiteX1" y="connsiteY1"/>
                  </a:cxn>
                  <a:cxn ang="0">
                    <a:pos x="connsiteX2" y="connsiteY2"/>
                  </a:cxn>
                  <a:cxn ang="0">
                    <a:pos x="connsiteX3" y="connsiteY3"/>
                  </a:cxn>
                </a:cxnLst>
                <a:rect l="l" t="t" r="r" b="b"/>
                <a:pathLst>
                  <a:path w="213450" h="47945">
                    <a:moveTo>
                      <a:pt x="0" y="44961"/>
                    </a:moveTo>
                    <a:lnTo>
                      <a:pt x="212821" y="0"/>
                    </a:lnTo>
                    <a:lnTo>
                      <a:pt x="213451" y="2984"/>
                    </a:lnTo>
                    <a:lnTo>
                      <a:pt x="631" y="47945"/>
                    </a:lnTo>
                    <a:close/>
                  </a:path>
                </a:pathLst>
              </a:custGeom>
              <a:grpFill/>
              <a:ln w="5978" cap="flat">
                <a:noFill/>
                <a:prstDash val="solid"/>
                <a:miter/>
              </a:ln>
            </p:spPr>
            <p:txBody>
              <a:bodyPr rtlCol="0" anchor="ctr"/>
              <a:lstStyle/>
              <a:p>
                <a:endParaRPr lang="en-GB"/>
              </a:p>
            </p:txBody>
          </p:sp>
          <p:sp>
            <p:nvSpPr>
              <p:cNvPr id="1746" name="Vrije vorm: vorm 1745">
                <a:extLst>
                  <a:ext uri="{FF2B5EF4-FFF2-40B4-BE49-F238E27FC236}">
                    <a16:creationId xmlns:a16="http://schemas.microsoft.com/office/drawing/2014/main" id="{553198C2-9477-429B-8F52-6758A5F1D8AF}"/>
                  </a:ext>
                </a:extLst>
              </p:cNvPr>
              <p:cNvSpPr/>
              <p:nvPr/>
            </p:nvSpPr>
            <p:spPr>
              <a:xfrm>
                <a:off x="4185118" y="3799941"/>
                <a:ext cx="18362" cy="18381"/>
              </a:xfrm>
              <a:custGeom>
                <a:avLst/>
                <a:gdLst>
                  <a:gd name="connsiteX0" fmla="*/ 11095 w 18362"/>
                  <a:gd name="connsiteY0" fmla="*/ 18192 h 18381"/>
                  <a:gd name="connsiteX1" fmla="*/ 210 w 18362"/>
                  <a:gd name="connsiteY1" fmla="*/ 11075 h 18381"/>
                  <a:gd name="connsiteX2" fmla="*/ 7268 w 18362"/>
                  <a:gd name="connsiteY2" fmla="*/ 190 h 18381"/>
                  <a:gd name="connsiteX3" fmla="*/ 18152 w 18362"/>
                  <a:gd name="connsiteY3" fmla="*/ 7307 h 18381"/>
                  <a:gd name="connsiteX4" fmla="*/ 11095 w 18362"/>
                  <a:gd name="connsiteY4" fmla="*/ 18192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381">
                    <a:moveTo>
                      <a:pt x="11095" y="18192"/>
                    </a:moveTo>
                    <a:cubicBezTo>
                      <a:pt x="6131" y="19208"/>
                      <a:pt x="1287" y="16039"/>
                      <a:pt x="210" y="11075"/>
                    </a:cubicBezTo>
                    <a:cubicBezTo>
                      <a:pt x="-867" y="6111"/>
                      <a:pt x="2303" y="1206"/>
                      <a:pt x="7268" y="190"/>
                    </a:cubicBezTo>
                    <a:cubicBezTo>
                      <a:pt x="12231" y="-827"/>
                      <a:pt x="17076" y="2343"/>
                      <a:pt x="18152" y="7307"/>
                    </a:cubicBezTo>
                    <a:cubicBezTo>
                      <a:pt x="19229" y="12271"/>
                      <a:pt x="16059" y="17175"/>
                      <a:pt x="11095" y="18192"/>
                    </a:cubicBezTo>
                    <a:close/>
                  </a:path>
                </a:pathLst>
              </a:custGeom>
              <a:grpFill/>
              <a:ln w="5978" cap="flat">
                <a:noFill/>
                <a:prstDash val="solid"/>
                <a:miter/>
              </a:ln>
            </p:spPr>
            <p:txBody>
              <a:bodyPr rtlCol="0" anchor="ctr"/>
              <a:lstStyle/>
              <a:p>
                <a:endParaRPr lang="en-GB"/>
              </a:p>
            </p:txBody>
          </p:sp>
          <p:sp>
            <p:nvSpPr>
              <p:cNvPr id="1747" name="Vrije vorm: vorm 1746">
                <a:extLst>
                  <a:ext uri="{FF2B5EF4-FFF2-40B4-BE49-F238E27FC236}">
                    <a16:creationId xmlns:a16="http://schemas.microsoft.com/office/drawing/2014/main" id="{F365BD54-4BB4-4DB0-9A1C-5B4F79F354C4}"/>
                  </a:ext>
                </a:extLst>
              </p:cNvPr>
              <p:cNvSpPr/>
              <p:nvPr/>
            </p:nvSpPr>
            <p:spPr>
              <a:xfrm>
                <a:off x="4397075" y="3755307"/>
                <a:ext cx="18362" cy="18398"/>
              </a:xfrm>
              <a:custGeom>
                <a:avLst/>
                <a:gdLst>
                  <a:gd name="connsiteX0" fmla="*/ 11095 w 18362"/>
                  <a:gd name="connsiteY0" fmla="*/ 18209 h 18398"/>
                  <a:gd name="connsiteX1" fmla="*/ 18152 w 18362"/>
                  <a:gd name="connsiteY1" fmla="*/ 7324 h 18398"/>
                  <a:gd name="connsiteX2" fmla="*/ 7267 w 18362"/>
                  <a:gd name="connsiteY2" fmla="*/ 207 h 18398"/>
                  <a:gd name="connsiteX3" fmla="*/ 210 w 18362"/>
                  <a:gd name="connsiteY3" fmla="*/ 11092 h 18398"/>
                  <a:gd name="connsiteX4" fmla="*/ 11095 w 18362"/>
                  <a:gd name="connsiteY4" fmla="*/ 1820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398">
                    <a:moveTo>
                      <a:pt x="11095" y="18209"/>
                    </a:moveTo>
                    <a:cubicBezTo>
                      <a:pt x="16059" y="17192"/>
                      <a:pt x="19229" y="12288"/>
                      <a:pt x="18152" y="7324"/>
                    </a:cubicBezTo>
                    <a:cubicBezTo>
                      <a:pt x="17076" y="2360"/>
                      <a:pt x="12231" y="-869"/>
                      <a:pt x="7267" y="207"/>
                    </a:cubicBezTo>
                    <a:cubicBezTo>
                      <a:pt x="2303" y="1224"/>
                      <a:pt x="-867" y="6128"/>
                      <a:pt x="210" y="11092"/>
                    </a:cubicBezTo>
                    <a:cubicBezTo>
                      <a:pt x="1286" y="16056"/>
                      <a:pt x="6131" y="19226"/>
                      <a:pt x="11095" y="18209"/>
                    </a:cubicBezTo>
                    <a:close/>
                  </a:path>
                </a:pathLst>
              </a:custGeom>
              <a:grpFill/>
              <a:ln w="5978" cap="flat">
                <a:noFill/>
                <a:prstDash val="solid"/>
                <a:miter/>
              </a:ln>
            </p:spPr>
            <p:txBody>
              <a:bodyPr rtlCol="0" anchor="ctr"/>
              <a:lstStyle/>
              <a:p>
                <a:endParaRPr lang="en-GB"/>
              </a:p>
            </p:txBody>
          </p:sp>
        </p:grpSp>
        <p:grpSp>
          <p:nvGrpSpPr>
            <p:cNvPr id="1220" name="Graphic 3">
              <a:extLst>
                <a:ext uri="{FF2B5EF4-FFF2-40B4-BE49-F238E27FC236}">
                  <a16:creationId xmlns:a16="http://schemas.microsoft.com/office/drawing/2014/main" id="{A3BF9386-D852-424B-910E-FDD19FE04B20}"/>
                </a:ext>
              </a:extLst>
            </p:cNvPr>
            <p:cNvGrpSpPr/>
            <p:nvPr/>
          </p:nvGrpSpPr>
          <p:grpSpPr>
            <a:xfrm>
              <a:off x="4592634" y="4706195"/>
              <a:ext cx="29269" cy="28199"/>
              <a:chOff x="4592634" y="4706195"/>
              <a:chExt cx="29269" cy="28199"/>
            </a:xfrm>
            <a:grpFill/>
          </p:grpSpPr>
          <p:sp>
            <p:nvSpPr>
              <p:cNvPr id="1742" name="Vrije vorm: vorm 1741">
                <a:extLst>
                  <a:ext uri="{FF2B5EF4-FFF2-40B4-BE49-F238E27FC236}">
                    <a16:creationId xmlns:a16="http://schemas.microsoft.com/office/drawing/2014/main" id="{444C083D-1622-4ACC-95BD-824AB2AD93AB}"/>
                  </a:ext>
                </a:extLst>
              </p:cNvPr>
              <p:cNvSpPr/>
              <p:nvPr/>
            </p:nvSpPr>
            <p:spPr>
              <a:xfrm>
                <a:off x="4600451" y="4713865"/>
                <a:ext cx="13635" cy="12798"/>
              </a:xfrm>
              <a:custGeom>
                <a:avLst/>
                <a:gdLst>
                  <a:gd name="connsiteX0" fmla="*/ 13636 w 13635"/>
                  <a:gd name="connsiteY0" fmla="*/ 2332 h 12798"/>
                  <a:gd name="connsiteX1" fmla="*/ 2033 w 13635"/>
                  <a:gd name="connsiteY1" fmla="*/ 12798 h 12798"/>
                  <a:gd name="connsiteX2" fmla="*/ 0 w 13635"/>
                  <a:gd name="connsiteY2" fmla="*/ 10466 h 12798"/>
                  <a:gd name="connsiteX3" fmla="*/ 11603 w 13635"/>
                  <a:gd name="connsiteY3" fmla="*/ 0 h 12798"/>
                </a:gdLst>
                <a:ahLst/>
                <a:cxnLst>
                  <a:cxn ang="0">
                    <a:pos x="connsiteX0" y="connsiteY0"/>
                  </a:cxn>
                  <a:cxn ang="0">
                    <a:pos x="connsiteX1" y="connsiteY1"/>
                  </a:cxn>
                  <a:cxn ang="0">
                    <a:pos x="connsiteX2" y="connsiteY2"/>
                  </a:cxn>
                  <a:cxn ang="0">
                    <a:pos x="connsiteX3" y="connsiteY3"/>
                  </a:cxn>
                </a:cxnLst>
                <a:rect l="l" t="t" r="r" b="b"/>
                <a:pathLst>
                  <a:path w="13635" h="12798">
                    <a:moveTo>
                      <a:pt x="13636" y="2332"/>
                    </a:moveTo>
                    <a:lnTo>
                      <a:pt x="2033" y="12798"/>
                    </a:lnTo>
                    <a:lnTo>
                      <a:pt x="0" y="10466"/>
                    </a:lnTo>
                    <a:lnTo>
                      <a:pt x="11603" y="0"/>
                    </a:lnTo>
                    <a:close/>
                  </a:path>
                </a:pathLst>
              </a:custGeom>
              <a:grpFill/>
              <a:ln w="5978" cap="flat">
                <a:noFill/>
                <a:prstDash val="solid"/>
                <a:miter/>
              </a:ln>
            </p:spPr>
            <p:txBody>
              <a:bodyPr rtlCol="0" anchor="ctr"/>
              <a:lstStyle/>
              <a:p>
                <a:endParaRPr lang="en-GB"/>
              </a:p>
            </p:txBody>
          </p:sp>
          <p:sp>
            <p:nvSpPr>
              <p:cNvPr id="1743" name="Vrije vorm: vorm 1742">
                <a:extLst>
                  <a:ext uri="{FF2B5EF4-FFF2-40B4-BE49-F238E27FC236}">
                    <a16:creationId xmlns:a16="http://schemas.microsoft.com/office/drawing/2014/main" id="{44AF294D-BE5A-4467-ADF0-43B7B653D27D}"/>
                  </a:ext>
                </a:extLst>
              </p:cNvPr>
              <p:cNvSpPr/>
              <p:nvPr/>
            </p:nvSpPr>
            <p:spPr>
              <a:xfrm>
                <a:off x="4592634" y="4716003"/>
                <a:ext cx="18324" cy="18391"/>
              </a:xfrm>
              <a:custGeom>
                <a:avLst/>
                <a:gdLst>
                  <a:gd name="connsiteX0" fmla="*/ 15293 w 18324"/>
                  <a:gd name="connsiteY0" fmla="*/ 16043 h 18391"/>
                  <a:gd name="connsiteX1" fmla="*/ 2374 w 18324"/>
                  <a:gd name="connsiteY1" fmla="*/ 15326 h 18391"/>
                  <a:gd name="connsiteX2" fmla="*/ 3032 w 18324"/>
                  <a:gd name="connsiteY2" fmla="*/ 2348 h 18391"/>
                  <a:gd name="connsiteX3" fmla="*/ 15950 w 18324"/>
                  <a:gd name="connsiteY3" fmla="*/ 3065 h 18391"/>
                  <a:gd name="connsiteX4" fmla="*/ 15293 w 18324"/>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391">
                    <a:moveTo>
                      <a:pt x="15293" y="16043"/>
                    </a:moveTo>
                    <a:cubicBezTo>
                      <a:pt x="11525" y="19452"/>
                      <a:pt x="5723" y="19094"/>
                      <a:pt x="2374" y="15326"/>
                    </a:cubicBezTo>
                    <a:cubicBezTo>
                      <a:pt x="-1035" y="11558"/>
                      <a:pt x="-736" y="5697"/>
                      <a:pt x="3032" y="2348"/>
                    </a:cubicBezTo>
                    <a:cubicBezTo>
                      <a:pt x="6800" y="-1061"/>
                      <a:pt x="12601" y="-703"/>
                      <a:pt x="15950" y="3065"/>
                    </a:cubicBezTo>
                    <a:cubicBezTo>
                      <a:pt x="19360" y="6833"/>
                      <a:pt x="19061" y="12694"/>
                      <a:pt x="15293" y="16043"/>
                    </a:cubicBezTo>
                    <a:close/>
                  </a:path>
                </a:pathLst>
              </a:custGeom>
              <a:grpFill/>
              <a:ln w="5978" cap="flat">
                <a:noFill/>
                <a:prstDash val="solid"/>
                <a:miter/>
              </a:ln>
            </p:spPr>
            <p:txBody>
              <a:bodyPr rtlCol="0" anchor="ctr"/>
              <a:lstStyle/>
              <a:p>
                <a:endParaRPr lang="en-GB"/>
              </a:p>
            </p:txBody>
          </p:sp>
          <p:sp>
            <p:nvSpPr>
              <p:cNvPr id="1744" name="Vrije vorm: vorm 1743">
                <a:extLst>
                  <a:ext uri="{FF2B5EF4-FFF2-40B4-BE49-F238E27FC236}">
                    <a16:creationId xmlns:a16="http://schemas.microsoft.com/office/drawing/2014/main" id="{C9E77231-D780-4E07-B7D9-55627EFF71B4}"/>
                  </a:ext>
                </a:extLst>
              </p:cNvPr>
              <p:cNvSpPr/>
              <p:nvPr/>
            </p:nvSpPr>
            <p:spPr>
              <a:xfrm>
                <a:off x="4603578" y="4706195"/>
                <a:ext cx="18325" cy="18367"/>
              </a:xfrm>
              <a:custGeom>
                <a:avLst/>
                <a:gdLst>
                  <a:gd name="connsiteX0" fmla="*/ 15293 w 18325"/>
                  <a:gd name="connsiteY0" fmla="*/ 16043 h 18367"/>
                  <a:gd name="connsiteX1" fmla="*/ 15951 w 18325"/>
                  <a:gd name="connsiteY1" fmla="*/ 3065 h 18367"/>
                  <a:gd name="connsiteX2" fmla="*/ 3032 w 18325"/>
                  <a:gd name="connsiteY2" fmla="*/ 2348 h 18367"/>
                  <a:gd name="connsiteX3" fmla="*/ 2374 w 18325"/>
                  <a:gd name="connsiteY3" fmla="*/ 15326 h 18367"/>
                  <a:gd name="connsiteX4" fmla="*/ 15293 w 18325"/>
                  <a:gd name="connsiteY4" fmla="*/ 16043 h 1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367">
                    <a:moveTo>
                      <a:pt x="15293" y="16043"/>
                    </a:moveTo>
                    <a:cubicBezTo>
                      <a:pt x="19060" y="12634"/>
                      <a:pt x="19360" y="6833"/>
                      <a:pt x="15951" y="3065"/>
                    </a:cubicBezTo>
                    <a:cubicBezTo>
                      <a:pt x="12542" y="-703"/>
                      <a:pt x="6800" y="-1061"/>
                      <a:pt x="3032" y="2348"/>
                    </a:cubicBezTo>
                    <a:cubicBezTo>
                      <a:pt x="-736" y="5757"/>
                      <a:pt x="-1035" y="11558"/>
                      <a:pt x="2374" y="15326"/>
                    </a:cubicBezTo>
                    <a:cubicBezTo>
                      <a:pt x="5783" y="19094"/>
                      <a:pt x="11525" y="19393"/>
                      <a:pt x="15293" y="16043"/>
                    </a:cubicBezTo>
                    <a:close/>
                  </a:path>
                </a:pathLst>
              </a:custGeom>
              <a:grpFill/>
              <a:ln w="5978" cap="flat">
                <a:noFill/>
                <a:prstDash val="solid"/>
                <a:miter/>
              </a:ln>
            </p:spPr>
            <p:txBody>
              <a:bodyPr rtlCol="0" anchor="ctr"/>
              <a:lstStyle/>
              <a:p>
                <a:endParaRPr lang="en-GB"/>
              </a:p>
            </p:txBody>
          </p:sp>
        </p:grpSp>
        <p:grpSp>
          <p:nvGrpSpPr>
            <p:cNvPr id="1221" name="Graphic 3">
              <a:extLst>
                <a:ext uri="{FF2B5EF4-FFF2-40B4-BE49-F238E27FC236}">
                  <a16:creationId xmlns:a16="http://schemas.microsoft.com/office/drawing/2014/main" id="{ED4C1E9D-2364-470D-9BDC-8C9124565EB6}"/>
                </a:ext>
              </a:extLst>
            </p:cNvPr>
            <p:cNvGrpSpPr/>
            <p:nvPr/>
          </p:nvGrpSpPr>
          <p:grpSpPr>
            <a:xfrm>
              <a:off x="4255868" y="3991543"/>
              <a:ext cx="243542" cy="67224"/>
              <a:chOff x="4255868" y="3991543"/>
              <a:chExt cx="243542" cy="67224"/>
            </a:xfrm>
            <a:grpFill/>
          </p:grpSpPr>
          <p:sp>
            <p:nvSpPr>
              <p:cNvPr id="1739" name="Vrije vorm: vorm 1738">
                <a:extLst>
                  <a:ext uri="{FF2B5EF4-FFF2-40B4-BE49-F238E27FC236}">
                    <a16:creationId xmlns:a16="http://schemas.microsoft.com/office/drawing/2014/main" id="{8232C7B2-51FB-4731-9787-356B8EB627B0}"/>
                  </a:ext>
                </a:extLst>
              </p:cNvPr>
              <p:cNvSpPr/>
              <p:nvPr/>
            </p:nvSpPr>
            <p:spPr>
              <a:xfrm>
                <a:off x="4264585" y="3999138"/>
                <a:ext cx="226729" cy="52046"/>
              </a:xfrm>
              <a:custGeom>
                <a:avLst/>
                <a:gdLst>
                  <a:gd name="connsiteX0" fmla="*/ 0 w 226729"/>
                  <a:gd name="connsiteY0" fmla="*/ 49066 h 52046"/>
                  <a:gd name="connsiteX1" fmla="*/ 226083 w 226729"/>
                  <a:gd name="connsiteY1" fmla="*/ 0 h 52046"/>
                  <a:gd name="connsiteX2" fmla="*/ 226730 w 226729"/>
                  <a:gd name="connsiteY2" fmla="*/ 2981 h 52046"/>
                  <a:gd name="connsiteX3" fmla="*/ 647 w 226729"/>
                  <a:gd name="connsiteY3" fmla="*/ 52047 h 52046"/>
                </a:gdLst>
                <a:ahLst/>
                <a:cxnLst>
                  <a:cxn ang="0">
                    <a:pos x="connsiteX0" y="connsiteY0"/>
                  </a:cxn>
                  <a:cxn ang="0">
                    <a:pos x="connsiteX1" y="connsiteY1"/>
                  </a:cxn>
                  <a:cxn ang="0">
                    <a:pos x="connsiteX2" y="connsiteY2"/>
                  </a:cxn>
                  <a:cxn ang="0">
                    <a:pos x="connsiteX3" y="connsiteY3"/>
                  </a:cxn>
                </a:cxnLst>
                <a:rect l="l" t="t" r="r" b="b"/>
                <a:pathLst>
                  <a:path w="226729" h="52046">
                    <a:moveTo>
                      <a:pt x="0" y="49066"/>
                    </a:moveTo>
                    <a:lnTo>
                      <a:pt x="226083" y="0"/>
                    </a:lnTo>
                    <a:lnTo>
                      <a:pt x="226730" y="2981"/>
                    </a:lnTo>
                    <a:lnTo>
                      <a:pt x="647" y="52047"/>
                    </a:lnTo>
                    <a:close/>
                  </a:path>
                </a:pathLst>
              </a:custGeom>
              <a:grpFill/>
              <a:ln w="5978" cap="flat">
                <a:noFill/>
                <a:prstDash val="solid"/>
                <a:miter/>
              </a:ln>
            </p:spPr>
            <p:txBody>
              <a:bodyPr rtlCol="0" anchor="ctr"/>
              <a:lstStyle/>
              <a:p>
                <a:endParaRPr lang="en-GB"/>
              </a:p>
            </p:txBody>
          </p:sp>
          <p:sp>
            <p:nvSpPr>
              <p:cNvPr id="1740" name="Vrije vorm: vorm 1739">
                <a:extLst>
                  <a:ext uri="{FF2B5EF4-FFF2-40B4-BE49-F238E27FC236}">
                    <a16:creationId xmlns:a16="http://schemas.microsoft.com/office/drawing/2014/main" id="{A4EBED21-ADCA-4613-B3D0-7F513A7A2920}"/>
                  </a:ext>
                </a:extLst>
              </p:cNvPr>
              <p:cNvSpPr/>
              <p:nvPr/>
            </p:nvSpPr>
            <p:spPr>
              <a:xfrm>
                <a:off x="4481045" y="3991543"/>
                <a:ext cx="18365" cy="18421"/>
              </a:xfrm>
              <a:custGeom>
                <a:avLst/>
                <a:gdLst>
                  <a:gd name="connsiteX0" fmla="*/ 7207 w 18365"/>
                  <a:gd name="connsiteY0" fmla="*/ 210 h 18421"/>
                  <a:gd name="connsiteX1" fmla="*/ 18152 w 18365"/>
                  <a:gd name="connsiteY1" fmla="*/ 7267 h 18421"/>
                  <a:gd name="connsiteX2" fmla="*/ 11155 w 18365"/>
                  <a:gd name="connsiteY2" fmla="*/ 18212 h 18421"/>
                  <a:gd name="connsiteX3" fmla="*/ 210 w 18365"/>
                  <a:gd name="connsiteY3" fmla="*/ 11155 h 18421"/>
                  <a:gd name="connsiteX4" fmla="*/ 7207 w 18365"/>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1">
                    <a:moveTo>
                      <a:pt x="7207" y="210"/>
                    </a:moveTo>
                    <a:cubicBezTo>
                      <a:pt x="12172" y="-867"/>
                      <a:pt x="17016" y="2303"/>
                      <a:pt x="18152" y="7267"/>
                    </a:cubicBezTo>
                    <a:cubicBezTo>
                      <a:pt x="19229" y="12231"/>
                      <a:pt x="16119" y="17136"/>
                      <a:pt x="11155" y="18212"/>
                    </a:cubicBezTo>
                    <a:cubicBezTo>
                      <a:pt x="6191" y="19288"/>
                      <a:pt x="1346" y="16119"/>
                      <a:pt x="210" y="11155"/>
                    </a:cubicBezTo>
                    <a:cubicBezTo>
                      <a:pt x="-866" y="6191"/>
                      <a:pt x="2303" y="1286"/>
                      <a:pt x="7207" y="210"/>
                    </a:cubicBezTo>
                    <a:close/>
                  </a:path>
                </a:pathLst>
              </a:custGeom>
              <a:grpFill/>
              <a:ln w="5978" cap="flat">
                <a:noFill/>
                <a:prstDash val="solid"/>
                <a:miter/>
              </a:ln>
            </p:spPr>
            <p:txBody>
              <a:bodyPr rtlCol="0" anchor="ctr"/>
              <a:lstStyle/>
              <a:p>
                <a:endParaRPr lang="en-GB"/>
              </a:p>
            </p:txBody>
          </p:sp>
          <p:sp>
            <p:nvSpPr>
              <p:cNvPr id="1741" name="Vrije vorm: vorm 1740">
                <a:extLst>
                  <a:ext uri="{FF2B5EF4-FFF2-40B4-BE49-F238E27FC236}">
                    <a16:creationId xmlns:a16="http://schemas.microsoft.com/office/drawing/2014/main" id="{85E3BD56-AA21-4495-98E8-CD126E4A14A6}"/>
                  </a:ext>
                </a:extLst>
              </p:cNvPr>
              <p:cNvSpPr/>
              <p:nvPr/>
            </p:nvSpPr>
            <p:spPr>
              <a:xfrm>
                <a:off x="4255868" y="4040346"/>
                <a:ext cx="18367" cy="18421"/>
              </a:xfrm>
              <a:custGeom>
                <a:avLst/>
                <a:gdLst>
                  <a:gd name="connsiteX0" fmla="*/ 7210 w 18367"/>
                  <a:gd name="connsiteY0" fmla="*/ 210 h 18421"/>
                  <a:gd name="connsiteX1" fmla="*/ 213 w 18367"/>
                  <a:gd name="connsiteY1" fmla="*/ 11155 h 18421"/>
                  <a:gd name="connsiteX2" fmla="*/ 11158 w 18367"/>
                  <a:gd name="connsiteY2" fmla="*/ 18212 h 18421"/>
                  <a:gd name="connsiteX3" fmla="*/ 18155 w 18367"/>
                  <a:gd name="connsiteY3" fmla="*/ 7267 h 18421"/>
                  <a:gd name="connsiteX4" fmla="*/ 7210 w 18367"/>
                  <a:gd name="connsiteY4" fmla="*/ 210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8421">
                    <a:moveTo>
                      <a:pt x="7210" y="210"/>
                    </a:moveTo>
                    <a:cubicBezTo>
                      <a:pt x="2246" y="1286"/>
                      <a:pt x="-864" y="6191"/>
                      <a:pt x="213" y="11155"/>
                    </a:cubicBezTo>
                    <a:cubicBezTo>
                      <a:pt x="1289" y="16119"/>
                      <a:pt x="6194" y="19288"/>
                      <a:pt x="11158" y="18212"/>
                    </a:cubicBezTo>
                    <a:cubicBezTo>
                      <a:pt x="16122" y="17136"/>
                      <a:pt x="19231" y="12231"/>
                      <a:pt x="18155" y="7267"/>
                    </a:cubicBezTo>
                    <a:cubicBezTo>
                      <a:pt x="17079" y="2303"/>
                      <a:pt x="12174" y="-867"/>
                      <a:pt x="7210" y="210"/>
                    </a:cubicBezTo>
                    <a:close/>
                  </a:path>
                </a:pathLst>
              </a:custGeom>
              <a:grpFill/>
              <a:ln w="5978" cap="flat">
                <a:noFill/>
                <a:prstDash val="solid"/>
                <a:miter/>
              </a:ln>
            </p:spPr>
            <p:txBody>
              <a:bodyPr rtlCol="0" anchor="ctr"/>
              <a:lstStyle/>
              <a:p>
                <a:endParaRPr lang="en-GB"/>
              </a:p>
            </p:txBody>
          </p:sp>
        </p:grpSp>
        <p:grpSp>
          <p:nvGrpSpPr>
            <p:cNvPr id="1222" name="Graphic 3">
              <a:extLst>
                <a:ext uri="{FF2B5EF4-FFF2-40B4-BE49-F238E27FC236}">
                  <a16:creationId xmlns:a16="http://schemas.microsoft.com/office/drawing/2014/main" id="{ACF899F5-03AC-42D4-8871-12C6F19502D4}"/>
                </a:ext>
              </a:extLst>
            </p:cNvPr>
            <p:cNvGrpSpPr/>
            <p:nvPr/>
          </p:nvGrpSpPr>
          <p:grpSpPr>
            <a:xfrm>
              <a:off x="4162100" y="3753943"/>
              <a:ext cx="253150" cy="33644"/>
              <a:chOff x="4162100" y="3753943"/>
              <a:chExt cx="253150" cy="33644"/>
            </a:xfrm>
            <a:grpFill/>
          </p:grpSpPr>
          <p:sp>
            <p:nvSpPr>
              <p:cNvPr id="1736" name="Vrije vorm: vorm 1735">
                <a:extLst>
                  <a:ext uri="{FF2B5EF4-FFF2-40B4-BE49-F238E27FC236}">
                    <a16:creationId xmlns:a16="http://schemas.microsoft.com/office/drawing/2014/main" id="{7380596D-1F95-4DD3-B25A-49C262FA56DE}"/>
                  </a:ext>
                </a:extLst>
              </p:cNvPr>
              <p:cNvSpPr/>
              <p:nvPr/>
            </p:nvSpPr>
            <p:spPr>
              <a:xfrm>
                <a:off x="4170676" y="3761615"/>
                <a:ext cx="235939" cy="18300"/>
              </a:xfrm>
              <a:custGeom>
                <a:avLst/>
                <a:gdLst>
                  <a:gd name="connsiteX0" fmla="*/ 235760 w 235939"/>
                  <a:gd name="connsiteY0" fmla="*/ 0 h 18300"/>
                  <a:gd name="connsiteX1" fmla="*/ 235939 w 235939"/>
                  <a:gd name="connsiteY1" fmla="*/ 3050 h 18300"/>
                  <a:gd name="connsiteX2" fmla="*/ 239 w 235939"/>
                  <a:gd name="connsiteY2" fmla="*/ 18301 h 18300"/>
                  <a:gd name="connsiteX3" fmla="*/ 0 w 235939"/>
                  <a:gd name="connsiteY3" fmla="*/ 15251 h 18300"/>
                </a:gdLst>
                <a:ahLst/>
                <a:cxnLst>
                  <a:cxn ang="0">
                    <a:pos x="connsiteX0" y="connsiteY0"/>
                  </a:cxn>
                  <a:cxn ang="0">
                    <a:pos x="connsiteX1" y="connsiteY1"/>
                  </a:cxn>
                  <a:cxn ang="0">
                    <a:pos x="connsiteX2" y="connsiteY2"/>
                  </a:cxn>
                  <a:cxn ang="0">
                    <a:pos x="connsiteX3" y="connsiteY3"/>
                  </a:cxn>
                </a:cxnLst>
                <a:rect l="l" t="t" r="r" b="b"/>
                <a:pathLst>
                  <a:path w="235939" h="18300">
                    <a:moveTo>
                      <a:pt x="235760" y="0"/>
                    </a:moveTo>
                    <a:lnTo>
                      <a:pt x="235939" y="3050"/>
                    </a:lnTo>
                    <a:lnTo>
                      <a:pt x="239" y="18301"/>
                    </a:lnTo>
                    <a:lnTo>
                      <a:pt x="0" y="15251"/>
                    </a:lnTo>
                    <a:close/>
                  </a:path>
                </a:pathLst>
              </a:custGeom>
              <a:grpFill/>
              <a:ln w="5978" cap="flat">
                <a:noFill/>
                <a:prstDash val="solid"/>
                <a:miter/>
              </a:ln>
            </p:spPr>
            <p:txBody>
              <a:bodyPr rtlCol="0" anchor="ctr"/>
              <a:lstStyle/>
              <a:p>
                <a:endParaRPr lang="en-GB"/>
              </a:p>
            </p:txBody>
          </p:sp>
          <p:sp>
            <p:nvSpPr>
              <p:cNvPr id="1737" name="Vrije vorm: vorm 1736">
                <a:extLst>
                  <a:ext uri="{FF2B5EF4-FFF2-40B4-BE49-F238E27FC236}">
                    <a16:creationId xmlns:a16="http://schemas.microsoft.com/office/drawing/2014/main" id="{9E7FA744-5B7F-4C70-9E1C-4B9A92DA17B4}"/>
                  </a:ext>
                </a:extLst>
              </p:cNvPr>
              <p:cNvSpPr/>
              <p:nvPr/>
            </p:nvSpPr>
            <p:spPr>
              <a:xfrm>
                <a:off x="4396955" y="3753943"/>
                <a:ext cx="18295" cy="18453"/>
              </a:xfrm>
              <a:custGeom>
                <a:avLst/>
                <a:gdLst>
                  <a:gd name="connsiteX0" fmla="*/ 8524 w 18295"/>
                  <a:gd name="connsiteY0" fmla="*/ 16 h 18453"/>
                  <a:gd name="connsiteX1" fmla="*/ 18272 w 18295"/>
                  <a:gd name="connsiteY1" fmla="*/ 8629 h 18453"/>
                  <a:gd name="connsiteX2" fmla="*/ 9780 w 18295"/>
                  <a:gd name="connsiteY2" fmla="*/ 18437 h 18453"/>
                  <a:gd name="connsiteX3" fmla="*/ 31 w 18295"/>
                  <a:gd name="connsiteY3" fmla="*/ 9825 h 18453"/>
                  <a:gd name="connsiteX4" fmla="*/ 8524 w 18295"/>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453">
                    <a:moveTo>
                      <a:pt x="8524" y="16"/>
                    </a:moveTo>
                    <a:cubicBezTo>
                      <a:pt x="13548" y="-283"/>
                      <a:pt x="17973" y="3545"/>
                      <a:pt x="18272" y="8629"/>
                    </a:cubicBezTo>
                    <a:cubicBezTo>
                      <a:pt x="18631" y="13712"/>
                      <a:pt x="14804" y="18078"/>
                      <a:pt x="9780" y="18437"/>
                    </a:cubicBezTo>
                    <a:cubicBezTo>
                      <a:pt x="4756" y="18736"/>
                      <a:pt x="330" y="14908"/>
                      <a:pt x="31" y="9825"/>
                    </a:cubicBezTo>
                    <a:cubicBezTo>
                      <a:pt x="-387" y="4741"/>
                      <a:pt x="3440" y="375"/>
                      <a:pt x="8524" y="16"/>
                    </a:cubicBezTo>
                    <a:close/>
                  </a:path>
                </a:pathLst>
              </a:custGeom>
              <a:grpFill/>
              <a:ln w="5978" cap="flat">
                <a:noFill/>
                <a:prstDash val="solid"/>
                <a:miter/>
              </a:ln>
            </p:spPr>
            <p:txBody>
              <a:bodyPr rtlCol="0" anchor="ctr"/>
              <a:lstStyle/>
              <a:p>
                <a:endParaRPr lang="en-GB"/>
              </a:p>
            </p:txBody>
          </p:sp>
          <p:sp>
            <p:nvSpPr>
              <p:cNvPr id="1738" name="Vrije vorm: vorm 1737">
                <a:extLst>
                  <a:ext uri="{FF2B5EF4-FFF2-40B4-BE49-F238E27FC236}">
                    <a16:creationId xmlns:a16="http://schemas.microsoft.com/office/drawing/2014/main" id="{CC4C1A17-57B4-4D78-8E20-FF0E769F9F75}"/>
                  </a:ext>
                </a:extLst>
              </p:cNvPr>
              <p:cNvSpPr/>
              <p:nvPr/>
            </p:nvSpPr>
            <p:spPr>
              <a:xfrm>
                <a:off x="4162100" y="3769134"/>
                <a:ext cx="18288" cy="18453"/>
              </a:xfrm>
              <a:custGeom>
                <a:avLst/>
                <a:gdLst>
                  <a:gd name="connsiteX0" fmla="*/ 8516 w 18288"/>
                  <a:gd name="connsiteY0" fmla="*/ 16 h 18453"/>
                  <a:gd name="connsiteX1" fmla="*/ 23 w 18288"/>
                  <a:gd name="connsiteY1" fmla="*/ 9825 h 18453"/>
                  <a:gd name="connsiteX2" fmla="*/ 9772 w 18288"/>
                  <a:gd name="connsiteY2" fmla="*/ 18437 h 18453"/>
                  <a:gd name="connsiteX3" fmla="*/ 18265 w 18288"/>
                  <a:gd name="connsiteY3" fmla="*/ 8629 h 18453"/>
                  <a:gd name="connsiteX4" fmla="*/ 8516 w 18288"/>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53">
                    <a:moveTo>
                      <a:pt x="8516" y="16"/>
                    </a:moveTo>
                    <a:cubicBezTo>
                      <a:pt x="3492" y="315"/>
                      <a:pt x="-336" y="4741"/>
                      <a:pt x="23" y="9825"/>
                    </a:cubicBezTo>
                    <a:cubicBezTo>
                      <a:pt x="383" y="14908"/>
                      <a:pt x="4748" y="18736"/>
                      <a:pt x="9772" y="18437"/>
                    </a:cubicBezTo>
                    <a:cubicBezTo>
                      <a:pt x="14796" y="18138"/>
                      <a:pt x="18624" y="13712"/>
                      <a:pt x="18265" y="8629"/>
                    </a:cubicBezTo>
                    <a:cubicBezTo>
                      <a:pt x="17965" y="3545"/>
                      <a:pt x="13600" y="-283"/>
                      <a:pt x="8516" y="16"/>
                    </a:cubicBezTo>
                    <a:close/>
                  </a:path>
                </a:pathLst>
              </a:custGeom>
              <a:grpFill/>
              <a:ln w="5978" cap="flat">
                <a:noFill/>
                <a:prstDash val="solid"/>
                <a:miter/>
              </a:ln>
            </p:spPr>
            <p:txBody>
              <a:bodyPr rtlCol="0" anchor="ctr"/>
              <a:lstStyle/>
              <a:p>
                <a:endParaRPr lang="en-GB"/>
              </a:p>
            </p:txBody>
          </p:sp>
        </p:grpSp>
        <p:grpSp>
          <p:nvGrpSpPr>
            <p:cNvPr id="1223" name="Graphic 3">
              <a:extLst>
                <a:ext uri="{FF2B5EF4-FFF2-40B4-BE49-F238E27FC236}">
                  <a16:creationId xmlns:a16="http://schemas.microsoft.com/office/drawing/2014/main" id="{DC2C0E9F-16F1-4204-AA87-75A5A74AC71B}"/>
                </a:ext>
              </a:extLst>
            </p:cNvPr>
            <p:cNvGrpSpPr/>
            <p:nvPr/>
          </p:nvGrpSpPr>
          <p:grpSpPr>
            <a:xfrm>
              <a:off x="4135725" y="3721588"/>
              <a:ext cx="281133" cy="33943"/>
              <a:chOff x="4135725" y="3721588"/>
              <a:chExt cx="281133" cy="33943"/>
            </a:xfrm>
            <a:grpFill/>
          </p:grpSpPr>
          <p:sp>
            <p:nvSpPr>
              <p:cNvPr id="1733" name="Vrije vorm: vorm 1732">
                <a:extLst>
                  <a:ext uri="{FF2B5EF4-FFF2-40B4-BE49-F238E27FC236}">
                    <a16:creationId xmlns:a16="http://schemas.microsoft.com/office/drawing/2014/main" id="{4F3FFE1B-6B4A-4581-A98D-4316F74FE90A}"/>
                  </a:ext>
                </a:extLst>
              </p:cNvPr>
              <p:cNvSpPr/>
              <p:nvPr/>
            </p:nvSpPr>
            <p:spPr>
              <a:xfrm>
                <a:off x="4144301" y="3729259"/>
                <a:ext cx="263869" cy="18600"/>
              </a:xfrm>
              <a:custGeom>
                <a:avLst/>
                <a:gdLst>
                  <a:gd name="connsiteX0" fmla="*/ 263690 w 263869"/>
                  <a:gd name="connsiteY0" fmla="*/ 0 h 18600"/>
                  <a:gd name="connsiteX1" fmla="*/ 263869 w 263869"/>
                  <a:gd name="connsiteY1" fmla="*/ 3050 h 18600"/>
                  <a:gd name="connsiteX2" fmla="*/ 239 w 263869"/>
                  <a:gd name="connsiteY2" fmla="*/ 18600 h 18600"/>
                  <a:gd name="connsiteX3" fmla="*/ 0 w 263869"/>
                  <a:gd name="connsiteY3" fmla="*/ 15490 h 18600"/>
                </a:gdLst>
                <a:ahLst/>
                <a:cxnLst>
                  <a:cxn ang="0">
                    <a:pos x="connsiteX0" y="connsiteY0"/>
                  </a:cxn>
                  <a:cxn ang="0">
                    <a:pos x="connsiteX1" y="connsiteY1"/>
                  </a:cxn>
                  <a:cxn ang="0">
                    <a:pos x="connsiteX2" y="connsiteY2"/>
                  </a:cxn>
                  <a:cxn ang="0">
                    <a:pos x="connsiteX3" y="connsiteY3"/>
                  </a:cxn>
                </a:cxnLst>
                <a:rect l="l" t="t" r="r" b="b"/>
                <a:pathLst>
                  <a:path w="263869" h="18600">
                    <a:moveTo>
                      <a:pt x="263690" y="0"/>
                    </a:moveTo>
                    <a:lnTo>
                      <a:pt x="263869" y="3050"/>
                    </a:lnTo>
                    <a:lnTo>
                      <a:pt x="239" y="18600"/>
                    </a:lnTo>
                    <a:lnTo>
                      <a:pt x="0" y="15490"/>
                    </a:lnTo>
                    <a:close/>
                  </a:path>
                </a:pathLst>
              </a:custGeom>
              <a:grpFill/>
              <a:ln w="5978" cap="flat">
                <a:noFill/>
                <a:prstDash val="solid"/>
                <a:miter/>
              </a:ln>
            </p:spPr>
            <p:txBody>
              <a:bodyPr rtlCol="0" anchor="ctr"/>
              <a:lstStyle/>
              <a:p>
                <a:endParaRPr lang="en-GB"/>
              </a:p>
            </p:txBody>
          </p:sp>
          <p:sp>
            <p:nvSpPr>
              <p:cNvPr id="1734" name="Vrije vorm: vorm 1733">
                <a:extLst>
                  <a:ext uri="{FF2B5EF4-FFF2-40B4-BE49-F238E27FC236}">
                    <a16:creationId xmlns:a16="http://schemas.microsoft.com/office/drawing/2014/main" id="{15DD8F7D-63A4-4E4E-AF87-4BFAE5063975}"/>
                  </a:ext>
                </a:extLst>
              </p:cNvPr>
              <p:cNvSpPr/>
              <p:nvPr/>
            </p:nvSpPr>
            <p:spPr>
              <a:xfrm>
                <a:off x="4398584" y="3721588"/>
                <a:ext cx="18274" cy="18453"/>
              </a:xfrm>
              <a:custGeom>
                <a:avLst/>
                <a:gdLst>
                  <a:gd name="connsiteX0" fmla="*/ 8509 w 18274"/>
                  <a:gd name="connsiteY0" fmla="*/ 16 h 18453"/>
                  <a:gd name="connsiteX1" fmla="*/ 18258 w 18274"/>
                  <a:gd name="connsiteY1" fmla="*/ 8688 h 18453"/>
                  <a:gd name="connsiteX2" fmla="*/ 9706 w 18274"/>
                  <a:gd name="connsiteY2" fmla="*/ 18437 h 18453"/>
                  <a:gd name="connsiteX3" fmla="*/ 17 w 18274"/>
                  <a:gd name="connsiteY3" fmla="*/ 9765 h 18453"/>
                  <a:gd name="connsiteX4" fmla="*/ 8509 w 18274"/>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4" h="18453">
                    <a:moveTo>
                      <a:pt x="8509" y="16"/>
                    </a:moveTo>
                    <a:cubicBezTo>
                      <a:pt x="13533" y="-283"/>
                      <a:pt x="17899" y="3605"/>
                      <a:pt x="18258" y="8688"/>
                    </a:cubicBezTo>
                    <a:cubicBezTo>
                      <a:pt x="18557" y="13772"/>
                      <a:pt x="14729" y="18138"/>
                      <a:pt x="9706" y="18437"/>
                    </a:cubicBezTo>
                    <a:cubicBezTo>
                      <a:pt x="4682" y="18736"/>
                      <a:pt x="316" y="14848"/>
                      <a:pt x="17" y="9765"/>
                    </a:cubicBezTo>
                    <a:cubicBezTo>
                      <a:pt x="-282" y="4681"/>
                      <a:pt x="3426" y="315"/>
                      <a:pt x="8509" y="16"/>
                    </a:cubicBezTo>
                    <a:close/>
                  </a:path>
                </a:pathLst>
              </a:custGeom>
              <a:grpFill/>
              <a:ln w="5978" cap="flat">
                <a:noFill/>
                <a:prstDash val="solid"/>
                <a:miter/>
              </a:ln>
            </p:spPr>
            <p:txBody>
              <a:bodyPr rtlCol="0" anchor="ctr"/>
              <a:lstStyle/>
              <a:p>
                <a:endParaRPr lang="en-GB"/>
              </a:p>
            </p:txBody>
          </p:sp>
          <p:sp>
            <p:nvSpPr>
              <p:cNvPr id="1735" name="Vrije vorm: vorm 1734">
                <a:extLst>
                  <a:ext uri="{FF2B5EF4-FFF2-40B4-BE49-F238E27FC236}">
                    <a16:creationId xmlns:a16="http://schemas.microsoft.com/office/drawing/2014/main" id="{F7D1B80E-9E5B-4102-AB78-906DCD0FB69A}"/>
                  </a:ext>
                </a:extLst>
              </p:cNvPr>
              <p:cNvSpPr/>
              <p:nvPr/>
            </p:nvSpPr>
            <p:spPr>
              <a:xfrm>
                <a:off x="4135725" y="3737078"/>
                <a:ext cx="18346" cy="18453"/>
              </a:xfrm>
              <a:custGeom>
                <a:avLst/>
                <a:gdLst>
                  <a:gd name="connsiteX0" fmla="*/ 8575 w 18346"/>
                  <a:gd name="connsiteY0" fmla="*/ 16 h 18453"/>
                  <a:gd name="connsiteX1" fmla="*/ 23 w 18346"/>
                  <a:gd name="connsiteY1" fmla="*/ 9765 h 18453"/>
                  <a:gd name="connsiteX2" fmla="*/ 9772 w 18346"/>
                  <a:gd name="connsiteY2" fmla="*/ 18437 h 18453"/>
                  <a:gd name="connsiteX3" fmla="*/ 18324 w 18346"/>
                  <a:gd name="connsiteY3" fmla="*/ 8688 h 18453"/>
                  <a:gd name="connsiteX4" fmla="*/ 8575 w 18346"/>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3">
                    <a:moveTo>
                      <a:pt x="8575" y="16"/>
                    </a:moveTo>
                    <a:cubicBezTo>
                      <a:pt x="3552" y="315"/>
                      <a:pt x="-336" y="4681"/>
                      <a:pt x="23" y="9765"/>
                    </a:cubicBezTo>
                    <a:cubicBezTo>
                      <a:pt x="322" y="14848"/>
                      <a:pt x="4688" y="18736"/>
                      <a:pt x="9772" y="18437"/>
                    </a:cubicBezTo>
                    <a:cubicBezTo>
                      <a:pt x="14796" y="18138"/>
                      <a:pt x="18683" y="13772"/>
                      <a:pt x="18324" y="8688"/>
                    </a:cubicBezTo>
                    <a:cubicBezTo>
                      <a:pt x="17965" y="3605"/>
                      <a:pt x="13599" y="-283"/>
                      <a:pt x="8575" y="16"/>
                    </a:cubicBezTo>
                    <a:close/>
                  </a:path>
                </a:pathLst>
              </a:custGeom>
              <a:grpFill/>
              <a:ln w="5978" cap="flat">
                <a:noFill/>
                <a:prstDash val="solid"/>
                <a:miter/>
              </a:ln>
            </p:spPr>
            <p:txBody>
              <a:bodyPr rtlCol="0" anchor="ctr"/>
              <a:lstStyle/>
              <a:p>
                <a:endParaRPr lang="en-GB"/>
              </a:p>
            </p:txBody>
          </p:sp>
        </p:grpSp>
        <p:grpSp>
          <p:nvGrpSpPr>
            <p:cNvPr id="1224" name="Graphic 3">
              <a:extLst>
                <a:ext uri="{FF2B5EF4-FFF2-40B4-BE49-F238E27FC236}">
                  <a16:creationId xmlns:a16="http://schemas.microsoft.com/office/drawing/2014/main" id="{888E2DF5-DBEB-405A-9545-93CB52391F79}"/>
                </a:ext>
              </a:extLst>
            </p:cNvPr>
            <p:cNvGrpSpPr/>
            <p:nvPr/>
          </p:nvGrpSpPr>
          <p:grpSpPr>
            <a:xfrm>
              <a:off x="4196465" y="3818265"/>
              <a:ext cx="227601" cy="70823"/>
              <a:chOff x="4196465" y="3818265"/>
              <a:chExt cx="227601" cy="70823"/>
            </a:xfrm>
            <a:grpFill/>
          </p:grpSpPr>
          <p:sp>
            <p:nvSpPr>
              <p:cNvPr id="1730" name="Vrije vorm: vorm 1729">
                <a:extLst>
                  <a:ext uri="{FF2B5EF4-FFF2-40B4-BE49-F238E27FC236}">
                    <a16:creationId xmlns:a16="http://schemas.microsoft.com/office/drawing/2014/main" id="{CEE81CA6-F631-4C0F-BA7F-272559DC5BAB}"/>
                  </a:ext>
                </a:extLst>
              </p:cNvPr>
              <p:cNvSpPr/>
              <p:nvPr/>
            </p:nvSpPr>
            <p:spPr>
              <a:xfrm>
                <a:off x="4204647" y="3825993"/>
                <a:ext cx="210864" cy="55597"/>
              </a:xfrm>
              <a:custGeom>
                <a:avLst/>
                <a:gdLst>
                  <a:gd name="connsiteX0" fmla="*/ 0 w 210864"/>
                  <a:gd name="connsiteY0" fmla="*/ 52639 h 55597"/>
                  <a:gd name="connsiteX1" fmla="*/ 210123 w 210864"/>
                  <a:gd name="connsiteY1" fmla="*/ 0 h 55597"/>
                  <a:gd name="connsiteX2" fmla="*/ 210864 w 210864"/>
                  <a:gd name="connsiteY2" fmla="*/ 2959 h 55597"/>
                  <a:gd name="connsiteX3" fmla="*/ 741 w 210864"/>
                  <a:gd name="connsiteY3" fmla="*/ 55598 h 55597"/>
                </a:gdLst>
                <a:ahLst/>
                <a:cxnLst>
                  <a:cxn ang="0">
                    <a:pos x="connsiteX0" y="connsiteY0"/>
                  </a:cxn>
                  <a:cxn ang="0">
                    <a:pos x="connsiteX1" y="connsiteY1"/>
                  </a:cxn>
                  <a:cxn ang="0">
                    <a:pos x="connsiteX2" y="connsiteY2"/>
                  </a:cxn>
                  <a:cxn ang="0">
                    <a:pos x="connsiteX3" y="connsiteY3"/>
                  </a:cxn>
                </a:cxnLst>
                <a:rect l="l" t="t" r="r" b="b"/>
                <a:pathLst>
                  <a:path w="210864" h="55597">
                    <a:moveTo>
                      <a:pt x="0" y="52639"/>
                    </a:moveTo>
                    <a:lnTo>
                      <a:pt x="210123" y="0"/>
                    </a:lnTo>
                    <a:lnTo>
                      <a:pt x="210864" y="2959"/>
                    </a:lnTo>
                    <a:lnTo>
                      <a:pt x="741" y="55598"/>
                    </a:lnTo>
                    <a:close/>
                  </a:path>
                </a:pathLst>
              </a:custGeom>
              <a:grpFill/>
              <a:ln w="5978" cap="flat">
                <a:noFill/>
                <a:prstDash val="solid"/>
                <a:miter/>
              </a:ln>
            </p:spPr>
            <p:txBody>
              <a:bodyPr rtlCol="0" anchor="ctr"/>
              <a:lstStyle/>
              <a:p>
                <a:endParaRPr lang="en-GB"/>
              </a:p>
            </p:txBody>
          </p:sp>
          <p:sp>
            <p:nvSpPr>
              <p:cNvPr id="1731" name="Vrije vorm: vorm 1730">
                <a:extLst>
                  <a:ext uri="{FF2B5EF4-FFF2-40B4-BE49-F238E27FC236}">
                    <a16:creationId xmlns:a16="http://schemas.microsoft.com/office/drawing/2014/main" id="{73CF495B-607B-4341-B8E2-84C8D7EE6461}"/>
                  </a:ext>
                </a:extLst>
              </p:cNvPr>
              <p:cNvSpPr/>
              <p:nvPr/>
            </p:nvSpPr>
            <p:spPr>
              <a:xfrm>
                <a:off x="4196465" y="3870660"/>
                <a:ext cx="18335" cy="18428"/>
              </a:xfrm>
              <a:custGeom>
                <a:avLst/>
                <a:gdLst>
                  <a:gd name="connsiteX0" fmla="*/ 11411 w 18335"/>
                  <a:gd name="connsiteY0" fmla="*/ 18165 h 18428"/>
                  <a:gd name="connsiteX1" fmla="*/ 287 w 18335"/>
                  <a:gd name="connsiteY1" fmla="*/ 11467 h 18428"/>
                  <a:gd name="connsiteX2" fmla="*/ 6925 w 18335"/>
                  <a:gd name="connsiteY2" fmla="*/ 283 h 18428"/>
                  <a:gd name="connsiteX3" fmla="*/ 18049 w 18335"/>
                  <a:gd name="connsiteY3" fmla="*/ 6981 h 18428"/>
                  <a:gd name="connsiteX4" fmla="*/ 11411 w 18335"/>
                  <a:gd name="connsiteY4" fmla="*/ 1816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8">
                    <a:moveTo>
                      <a:pt x="11411" y="18165"/>
                    </a:moveTo>
                    <a:cubicBezTo>
                      <a:pt x="6507" y="19361"/>
                      <a:pt x="1542" y="16371"/>
                      <a:pt x="287" y="11467"/>
                    </a:cubicBezTo>
                    <a:cubicBezTo>
                      <a:pt x="-969" y="6563"/>
                      <a:pt x="2021" y="1539"/>
                      <a:pt x="6925" y="283"/>
                    </a:cubicBezTo>
                    <a:cubicBezTo>
                      <a:pt x="11829" y="-973"/>
                      <a:pt x="16794" y="2077"/>
                      <a:pt x="18049" y="6981"/>
                    </a:cubicBezTo>
                    <a:cubicBezTo>
                      <a:pt x="19305" y="11945"/>
                      <a:pt x="16315" y="16909"/>
                      <a:pt x="11411" y="18165"/>
                    </a:cubicBezTo>
                    <a:close/>
                  </a:path>
                </a:pathLst>
              </a:custGeom>
              <a:grpFill/>
              <a:ln w="5978" cap="flat">
                <a:noFill/>
                <a:prstDash val="solid"/>
                <a:miter/>
              </a:ln>
            </p:spPr>
            <p:txBody>
              <a:bodyPr rtlCol="0" anchor="ctr"/>
              <a:lstStyle/>
              <a:p>
                <a:endParaRPr lang="en-GB"/>
              </a:p>
            </p:txBody>
          </p:sp>
          <p:sp>
            <p:nvSpPr>
              <p:cNvPr id="1732" name="Vrije vorm: vorm 1731">
                <a:extLst>
                  <a:ext uri="{FF2B5EF4-FFF2-40B4-BE49-F238E27FC236}">
                    <a16:creationId xmlns:a16="http://schemas.microsoft.com/office/drawing/2014/main" id="{6EB70C18-2C03-43B7-9A77-E749F5013854}"/>
                  </a:ext>
                </a:extLst>
              </p:cNvPr>
              <p:cNvSpPr/>
              <p:nvPr/>
            </p:nvSpPr>
            <p:spPr>
              <a:xfrm>
                <a:off x="4405731" y="3818265"/>
                <a:ext cx="18335" cy="18451"/>
              </a:xfrm>
              <a:custGeom>
                <a:avLst/>
                <a:gdLst>
                  <a:gd name="connsiteX0" fmla="*/ 11411 w 18335"/>
                  <a:gd name="connsiteY0" fmla="*/ 18169 h 18451"/>
                  <a:gd name="connsiteX1" fmla="*/ 18049 w 18335"/>
                  <a:gd name="connsiteY1" fmla="*/ 6985 h 18451"/>
                  <a:gd name="connsiteX2" fmla="*/ 6925 w 18335"/>
                  <a:gd name="connsiteY2" fmla="*/ 286 h 18451"/>
                  <a:gd name="connsiteX3" fmla="*/ 287 w 18335"/>
                  <a:gd name="connsiteY3" fmla="*/ 11470 h 18451"/>
                  <a:gd name="connsiteX4" fmla="*/ 11411 w 18335"/>
                  <a:gd name="connsiteY4" fmla="*/ 18169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1">
                    <a:moveTo>
                      <a:pt x="11411" y="18169"/>
                    </a:moveTo>
                    <a:cubicBezTo>
                      <a:pt x="16315" y="16973"/>
                      <a:pt x="19305" y="11949"/>
                      <a:pt x="18049" y="6985"/>
                    </a:cubicBezTo>
                    <a:cubicBezTo>
                      <a:pt x="16794" y="2021"/>
                      <a:pt x="11829" y="-970"/>
                      <a:pt x="6925" y="286"/>
                    </a:cubicBezTo>
                    <a:cubicBezTo>
                      <a:pt x="2021" y="1483"/>
                      <a:pt x="-969" y="6506"/>
                      <a:pt x="287" y="11470"/>
                    </a:cubicBezTo>
                    <a:cubicBezTo>
                      <a:pt x="1543" y="16375"/>
                      <a:pt x="6507" y="19425"/>
                      <a:pt x="11411" y="18169"/>
                    </a:cubicBezTo>
                    <a:close/>
                  </a:path>
                </a:pathLst>
              </a:custGeom>
              <a:grpFill/>
              <a:ln w="5978" cap="flat">
                <a:noFill/>
                <a:prstDash val="solid"/>
                <a:miter/>
              </a:ln>
            </p:spPr>
            <p:txBody>
              <a:bodyPr rtlCol="0" anchor="ctr"/>
              <a:lstStyle/>
              <a:p>
                <a:endParaRPr lang="en-GB"/>
              </a:p>
            </p:txBody>
          </p:sp>
        </p:grpSp>
        <p:grpSp>
          <p:nvGrpSpPr>
            <p:cNvPr id="1225" name="Graphic 3">
              <a:extLst>
                <a:ext uri="{FF2B5EF4-FFF2-40B4-BE49-F238E27FC236}">
                  <a16:creationId xmlns:a16="http://schemas.microsoft.com/office/drawing/2014/main" id="{D7F1B46C-AD9B-4001-A76B-F99DE0A1EA3D}"/>
                </a:ext>
              </a:extLst>
            </p:cNvPr>
            <p:cNvGrpSpPr/>
            <p:nvPr/>
          </p:nvGrpSpPr>
          <p:grpSpPr>
            <a:xfrm>
              <a:off x="3843213" y="3245939"/>
              <a:ext cx="549892" cy="87892"/>
              <a:chOff x="3843213" y="3245939"/>
              <a:chExt cx="549892" cy="87892"/>
            </a:xfrm>
            <a:grpFill/>
          </p:grpSpPr>
          <p:sp>
            <p:nvSpPr>
              <p:cNvPr id="1727" name="Vrije vorm: vorm 1726">
                <a:extLst>
                  <a:ext uri="{FF2B5EF4-FFF2-40B4-BE49-F238E27FC236}">
                    <a16:creationId xmlns:a16="http://schemas.microsoft.com/office/drawing/2014/main" id="{6E7AE51E-19D4-4D99-A3B9-83444A469C42}"/>
                  </a:ext>
                </a:extLst>
              </p:cNvPr>
              <p:cNvSpPr/>
              <p:nvPr/>
            </p:nvSpPr>
            <p:spPr>
              <a:xfrm>
                <a:off x="3851724" y="3253612"/>
                <a:ext cx="532882" cy="72546"/>
              </a:xfrm>
              <a:custGeom>
                <a:avLst/>
                <a:gdLst>
                  <a:gd name="connsiteX0" fmla="*/ 532882 w 532882"/>
                  <a:gd name="connsiteY0" fmla="*/ 69556 h 72546"/>
                  <a:gd name="connsiteX1" fmla="*/ 532464 w 532882"/>
                  <a:gd name="connsiteY1" fmla="*/ 72546 h 72546"/>
                  <a:gd name="connsiteX2" fmla="*/ 0 w 532882"/>
                  <a:gd name="connsiteY2" fmla="*/ 3050 h 72546"/>
                  <a:gd name="connsiteX3" fmla="*/ 359 w 532882"/>
                  <a:gd name="connsiteY3" fmla="*/ 0 h 72546"/>
                </a:gdLst>
                <a:ahLst/>
                <a:cxnLst>
                  <a:cxn ang="0">
                    <a:pos x="connsiteX0" y="connsiteY0"/>
                  </a:cxn>
                  <a:cxn ang="0">
                    <a:pos x="connsiteX1" y="connsiteY1"/>
                  </a:cxn>
                  <a:cxn ang="0">
                    <a:pos x="connsiteX2" y="connsiteY2"/>
                  </a:cxn>
                  <a:cxn ang="0">
                    <a:pos x="connsiteX3" y="connsiteY3"/>
                  </a:cxn>
                </a:cxnLst>
                <a:rect l="l" t="t" r="r" b="b"/>
                <a:pathLst>
                  <a:path w="532882" h="72546">
                    <a:moveTo>
                      <a:pt x="532882" y="69556"/>
                    </a:moveTo>
                    <a:lnTo>
                      <a:pt x="532464" y="72546"/>
                    </a:lnTo>
                    <a:lnTo>
                      <a:pt x="0" y="3050"/>
                    </a:lnTo>
                    <a:lnTo>
                      <a:pt x="359" y="0"/>
                    </a:lnTo>
                    <a:close/>
                  </a:path>
                </a:pathLst>
              </a:custGeom>
              <a:grpFill/>
              <a:ln w="5978" cap="flat">
                <a:noFill/>
                <a:prstDash val="solid"/>
                <a:miter/>
              </a:ln>
            </p:spPr>
            <p:txBody>
              <a:bodyPr rtlCol="0" anchor="ctr"/>
              <a:lstStyle/>
              <a:p>
                <a:endParaRPr lang="en-GB"/>
              </a:p>
            </p:txBody>
          </p:sp>
          <p:sp>
            <p:nvSpPr>
              <p:cNvPr id="1728" name="Vrije vorm: vorm 1727">
                <a:extLst>
                  <a:ext uri="{FF2B5EF4-FFF2-40B4-BE49-F238E27FC236}">
                    <a16:creationId xmlns:a16="http://schemas.microsoft.com/office/drawing/2014/main" id="{815F8D66-9F33-4F77-87B7-476A861DC7A0}"/>
                  </a:ext>
                </a:extLst>
              </p:cNvPr>
              <p:cNvSpPr/>
              <p:nvPr/>
            </p:nvSpPr>
            <p:spPr>
              <a:xfrm>
                <a:off x="4374792" y="3315375"/>
                <a:ext cx="18313" cy="18456"/>
              </a:xfrm>
              <a:custGeom>
                <a:avLst/>
                <a:gdLst>
                  <a:gd name="connsiteX0" fmla="*/ 10293 w 18313"/>
                  <a:gd name="connsiteY0" fmla="*/ 78 h 18456"/>
                  <a:gd name="connsiteX1" fmla="*/ 18248 w 18313"/>
                  <a:gd name="connsiteY1" fmla="*/ 10424 h 18456"/>
                  <a:gd name="connsiteX2" fmla="*/ 8020 w 18313"/>
                  <a:gd name="connsiteY2" fmla="*/ 18379 h 18456"/>
                  <a:gd name="connsiteX3" fmla="*/ 66 w 18313"/>
                  <a:gd name="connsiteY3" fmla="*/ 8032 h 18456"/>
                  <a:gd name="connsiteX4" fmla="*/ 10293 w 18313"/>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56">
                    <a:moveTo>
                      <a:pt x="10293" y="78"/>
                    </a:moveTo>
                    <a:cubicBezTo>
                      <a:pt x="15317" y="736"/>
                      <a:pt x="18846" y="5341"/>
                      <a:pt x="18248" y="10424"/>
                    </a:cubicBezTo>
                    <a:cubicBezTo>
                      <a:pt x="17589" y="15448"/>
                      <a:pt x="13044" y="19037"/>
                      <a:pt x="8020" y="18379"/>
                    </a:cubicBezTo>
                    <a:cubicBezTo>
                      <a:pt x="2997" y="17721"/>
                      <a:pt x="-532" y="13116"/>
                      <a:pt x="66" y="8032"/>
                    </a:cubicBezTo>
                    <a:cubicBezTo>
                      <a:pt x="664" y="3008"/>
                      <a:pt x="5269" y="-580"/>
                      <a:pt x="10293" y="78"/>
                    </a:cubicBezTo>
                    <a:close/>
                  </a:path>
                </a:pathLst>
              </a:custGeom>
              <a:grpFill/>
              <a:ln w="5978" cap="flat">
                <a:noFill/>
                <a:prstDash val="solid"/>
                <a:miter/>
              </a:ln>
            </p:spPr>
            <p:txBody>
              <a:bodyPr rtlCol="0" anchor="ctr"/>
              <a:lstStyle/>
              <a:p>
                <a:endParaRPr lang="en-GB"/>
              </a:p>
            </p:txBody>
          </p:sp>
          <p:sp>
            <p:nvSpPr>
              <p:cNvPr id="1729" name="Vrije vorm: vorm 1728">
                <a:extLst>
                  <a:ext uri="{FF2B5EF4-FFF2-40B4-BE49-F238E27FC236}">
                    <a16:creationId xmlns:a16="http://schemas.microsoft.com/office/drawing/2014/main" id="{02A7CC4D-E3F2-4961-9E6A-1E41D70D4729}"/>
                  </a:ext>
                </a:extLst>
              </p:cNvPr>
              <p:cNvSpPr/>
              <p:nvPr/>
            </p:nvSpPr>
            <p:spPr>
              <a:xfrm>
                <a:off x="3843213" y="3245939"/>
                <a:ext cx="18325" cy="18456"/>
              </a:xfrm>
              <a:custGeom>
                <a:avLst/>
                <a:gdLst>
                  <a:gd name="connsiteX0" fmla="*/ 10305 w 18325"/>
                  <a:gd name="connsiteY0" fmla="*/ 78 h 18456"/>
                  <a:gd name="connsiteX1" fmla="*/ 78 w 18325"/>
                  <a:gd name="connsiteY1" fmla="*/ 8032 h 18456"/>
                  <a:gd name="connsiteX2" fmla="*/ 8032 w 18325"/>
                  <a:gd name="connsiteY2" fmla="*/ 18379 h 18456"/>
                  <a:gd name="connsiteX3" fmla="*/ 18259 w 18325"/>
                  <a:gd name="connsiteY3" fmla="*/ 10424 h 18456"/>
                  <a:gd name="connsiteX4" fmla="*/ 10305 w 18325"/>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6">
                    <a:moveTo>
                      <a:pt x="10305" y="78"/>
                    </a:moveTo>
                    <a:cubicBezTo>
                      <a:pt x="5281" y="-580"/>
                      <a:pt x="676" y="3008"/>
                      <a:pt x="78" y="8032"/>
                    </a:cubicBezTo>
                    <a:cubicBezTo>
                      <a:pt x="-580" y="13056"/>
                      <a:pt x="3009" y="17721"/>
                      <a:pt x="8032" y="18379"/>
                    </a:cubicBezTo>
                    <a:cubicBezTo>
                      <a:pt x="13056" y="19037"/>
                      <a:pt x="17661" y="15448"/>
                      <a:pt x="18259" y="10424"/>
                    </a:cubicBezTo>
                    <a:cubicBezTo>
                      <a:pt x="18857" y="5401"/>
                      <a:pt x="15329" y="736"/>
                      <a:pt x="10305" y="78"/>
                    </a:cubicBezTo>
                    <a:close/>
                  </a:path>
                </a:pathLst>
              </a:custGeom>
              <a:grpFill/>
              <a:ln w="5978" cap="flat">
                <a:noFill/>
                <a:prstDash val="solid"/>
                <a:miter/>
              </a:ln>
            </p:spPr>
            <p:txBody>
              <a:bodyPr rtlCol="0" anchor="ctr"/>
              <a:lstStyle/>
              <a:p>
                <a:endParaRPr lang="en-GB"/>
              </a:p>
            </p:txBody>
          </p:sp>
        </p:grpSp>
        <p:grpSp>
          <p:nvGrpSpPr>
            <p:cNvPr id="1226" name="Graphic 3">
              <a:extLst>
                <a:ext uri="{FF2B5EF4-FFF2-40B4-BE49-F238E27FC236}">
                  <a16:creationId xmlns:a16="http://schemas.microsoft.com/office/drawing/2014/main" id="{13A1727C-EFDC-44ED-986D-2228F5D4DABA}"/>
                </a:ext>
              </a:extLst>
            </p:cNvPr>
            <p:cNvGrpSpPr/>
            <p:nvPr/>
          </p:nvGrpSpPr>
          <p:grpSpPr>
            <a:xfrm>
              <a:off x="4246166" y="3966770"/>
              <a:ext cx="228974" cy="57803"/>
              <a:chOff x="4246166" y="3966770"/>
              <a:chExt cx="228974" cy="57803"/>
            </a:xfrm>
            <a:grpFill/>
          </p:grpSpPr>
          <p:sp>
            <p:nvSpPr>
              <p:cNvPr id="1724" name="Vrije vorm: vorm 1723">
                <a:extLst>
                  <a:ext uri="{FF2B5EF4-FFF2-40B4-BE49-F238E27FC236}">
                    <a16:creationId xmlns:a16="http://schemas.microsoft.com/office/drawing/2014/main" id="{AB397E65-E556-4572-93EB-018DA65A7357}"/>
                  </a:ext>
                </a:extLst>
              </p:cNvPr>
              <p:cNvSpPr/>
              <p:nvPr/>
            </p:nvSpPr>
            <p:spPr>
              <a:xfrm>
                <a:off x="4254585" y="3974409"/>
                <a:ext cx="212136" cy="42522"/>
              </a:xfrm>
              <a:custGeom>
                <a:avLst/>
                <a:gdLst>
                  <a:gd name="connsiteX0" fmla="*/ 211538 w 212136"/>
                  <a:gd name="connsiteY0" fmla="*/ 0 h 42522"/>
                  <a:gd name="connsiteX1" fmla="*/ 212136 w 212136"/>
                  <a:gd name="connsiteY1" fmla="*/ 2990 h 42522"/>
                  <a:gd name="connsiteX2" fmla="*/ 598 w 212136"/>
                  <a:gd name="connsiteY2" fmla="*/ 42523 h 42522"/>
                  <a:gd name="connsiteX3" fmla="*/ 0 w 212136"/>
                  <a:gd name="connsiteY3" fmla="*/ 39473 h 42522"/>
                </a:gdLst>
                <a:ahLst/>
                <a:cxnLst>
                  <a:cxn ang="0">
                    <a:pos x="connsiteX0" y="connsiteY0"/>
                  </a:cxn>
                  <a:cxn ang="0">
                    <a:pos x="connsiteX1" y="connsiteY1"/>
                  </a:cxn>
                  <a:cxn ang="0">
                    <a:pos x="connsiteX2" y="connsiteY2"/>
                  </a:cxn>
                  <a:cxn ang="0">
                    <a:pos x="connsiteX3" y="connsiteY3"/>
                  </a:cxn>
                </a:cxnLst>
                <a:rect l="l" t="t" r="r" b="b"/>
                <a:pathLst>
                  <a:path w="212136" h="42522">
                    <a:moveTo>
                      <a:pt x="211538" y="0"/>
                    </a:moveTo>
                    <a:lnTo>
                      <a:pt x="212136" y="2990"/>
                    </a:lnTo>
                    <a:lnTo>
                      <a:pt x="598" y="42523"/>
                    </a:lnTo>
                    <a:lnTo>
                      <a:pt x="0" y="39473"/>
                    </a:lnTo>
                    <a:close/>
                  </a:path>
                </a:pathLst>
              </a:custGeom>
              <a:grpFill/>
              <a:ln w="5978" cap="flat">
                <a:noFill/>
                <a:prstDash val="solid"/>
                <a:miter/>
              </a:ln>
            </p:spPr>
            <p:txBody>
              <a:bodyPr rtlCol="0" anchor="ctr"/>
              <a:lstStyle/>
              <a:p>
                <a:endParaRPr lang="en-GB"/>
              </a:p>
            </p:txBody>
          </p:sp>
          <p:sp>
            <p:nvSpPr>
              <p:cNvPr id="1725" name="Vrije vorm: vorm 1724">
                <a:extLst>
                  <a:ext uri="{FF2B5EF4-FFF2-40B4-BE49-F238E27FC236}">
                    <a16:creationId xmlns:a16="http://schemas.microsoft.com/office/drawing/2014/main" id="{E3FC3527-866F-4CDC-BA79-44F98D37FCD4}"/>
                  </a:ext>
                </a:extLst>
              </p:cNvPr>
              <p:cNvSpPr/>
              <p:nvPr/>
            </p:nvSpPr>
            <p:spPr>
              <a:xfrm>
                <a:off x="4456807" y="3966770"/>
                <a:ext cx="18333" cy="18448"/>
              </a:xfrm>
              <a:custGeom>
                <a:avLst/>
                <a:gdLst>
                  <a:gd name="connsiteX0" fmla="*/ 7462 w 18333"/>
                  <a:gd name="connsiteY0" fmla="*/ 163 h 18448"/>
                  <a:gd name="connsiteX1" fmla="*/ 18168 w 18333"/>
                  <a:gd name="connsiteY1" fmla="*/ 7520 h 18448"/>
                  <a:gd name="connsiteX2" fmla="*/ 10871 w 18333"/>
                  <a:gd name="connsiteY2" fmla="*/ 18285 h 18448"/>
                  <a:gd name="connsiteX3" fmla="*/ 166 w 18333"/>
                  <a:gd name="connsiteY3" fmla="*/ 10929 h 18448"/>
                  <a:gd name="connsiteX4" fmla="*/ 7462 w 18333"/>
                  <a:gd name="connsiteY4" fmla="*/ 163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8">
                    <a:moveTo>
                      <a:pt x="7462" y="163"/>
                    </a:moveTo>
                    <a:cubicBezTo>
                      <a:pt x="12426" y="-794"/>
                      <a:pt x="17211" y="2556"/>
                      <a:pt x="18168" y="7520"/>
                    </a:cubicBezTo>
                    <a:cubicBezTo>
                      <a:pt x="19124" y="12544"/>
                      <a:pt x="15835" y="17328"/>
                      <a:pt x="10871" y="18285"/>
                    </a:cubicBezTo>
                    <a:cubicBezTo>
                      <a:pt x="5907" y="19242"/>
                      <a:pt x="1122" y="15893"/>
                      <a:pt x="166" y="10929"/>
                    </a:cubicBezTo>
                    <a:cubicBezTo>
                      <a:pt x="-791" y="5905"/>
                      <a:pt x="2498" y="1060"/>
                      <a:pt x="7462" y="163"/>
                    </a:cubicBezTo>
                    <a:close/>
                  </a:path>
                </a:pathLst>
              </a:custGeom>
              <a:grpFill/>
              <a:ln w="5978" cap="flat">
                <a:noFill/>
                <a:prstDash val="solid"/>
                <a:miter/>
              </a:ln>
            </p:spPr>
            <p:txBody>
              <a:bodyPr rtlCol="0" anchor="ctr"/>
              <a:lstStyle/>
              <a:p>
                <a:endParaRPr lang="en-GB"/>
              </a:p>
            </p:txBody>
          </p:sp>
          <p:sp>
            <p:nvSpPr>
              <p:cNvPr id="1726" name="Vrije vorm: vorm 1725">
                <a:extLst>
                  <a:ext uri="{FF2B5EF4-FFF2-40B4-BE49-F238E27FC236}">
                    <a16:creationId xmlns:a16="http://schemas.microsoft.com/office/drawing/2014/main" id="{0A429D9A-1DA4-4278-B2BA-E04911F22C5B}"/>
                  </a:ext>
                </a:extLst>
              </p:cNvPr>
              <p:cNvSpPr/>
              <p:nvPr/>
            </p:nvSpPr>
            <p:spPr>
              <a:xfrm>
                <a:off x="4246166" y="4006120"/>
                <a:ext cx="18333" cy="18452"/>
              </a:xfrm>
              <a:custGeom>
                <a:avLst/>
                <a:gdLst>
                  <a:gd name="connsiteX0" fmla="*/ 7462 w 18333"/>
                  <a:gd name="connsiteY0" fmla="*/ 165 h 18452"/>
                  <a:gd name="connsiteX1" fmla="*/ 166 w 18333"/>
                  <a:gd name="connsiteY1" fmla="*/ 10931 h 18452"/>
                  <a:gd name="connsiteX2" fmla="*/ 10871 w 18333"/>
                  <a:gd name="connsiteY2" fmla="*/ 18287 h 18452"/>
                  <a:gd name="connsiteX3" fmla="*/ 18168 w 18333"/>
                  <a:gd name="connsiteY3" fmla="*/ 7522 h 18452"/>
                  <a:gd name="connsiteX4" fmla="*/ 7462 w 18333"/>
                  <a:gd name="connsiteY4" fmla="*/ 165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7462" y="165"/>
                    </a:moveTo>
                    <a:cubicBezTo>
                      <a:pt x="2498" y="1123"/>
                      <a:pt x="-791" y="5907"/>
                      <a:pt x="166" y="10931"/>
                    </a:cubicBezTo>
                    <a:cubicBezTo>
                      <a:pt x="1123" y="15955"/>
                      <a:pt x="5907" y="19244"/>
                      <a:pt x="10871" y="18287"/>
                    </a:cubicBezTo>
                    <a:cubicBezTo>
                      <a:pt x="15835" y="17330"/>
                      <a:pt x="19124" y="12546"/>
                      <a:pt x="18168" y="7522"/>
                    </a:cubicBezTo>
                    <a:cubicBezTo>
                      <a:pt x="17211" y="2498"/>
                      <a:pt x="12426" y="-791"/>
                      <a:pt x="7462" y="165"/>
                    </a:cubicBezTo>
                    <a:close/>
                  </a:path>
                </a:pathLst>
              </a:custGeom>
              <a:grpFill/>
              <a:ln w="5978" cap="flat">
                <a:noFill/>
                <a:prstDash val="solid"/>
                <a:miter/>
              </a:ln>
            </p:spPr>
            <p:txBody>
              <a:bodyPr rtlCol="0" anchor="ctr"/>
              <a:lstStyle/>
              <a:p>
                <a:endParaRPr lang="en-GB"/>
              </a:p>
            </p:txBody>
          </p:sp>
        </p:grpSp>
        <p:grpSp>
          <p:nvGrpSpPr>
            <p:cNvPr id="1227" name="Graphic 3">
              <a:extLst>
                <a:ext uri="{FF2B5EF4-FFF2-40B4-BE49-F238E27FC236}">
                  <a16:creationId xmlns:a16="http://schemas.microsoft.com/office/drawing/2014/main" id="{433DE681-0490-4854-9DC3-BCAE4A21B38E}"/>
                </a:ext>
              </a:extLst>
            </p:cNvPr>
            <p:cNvGrpSpPr/>
            <p:nvPr/>
          </p:nvGrpSpPr>
          <p:grpSpPr>
            <a:xfrm>
              <a:off x="4589732" y="4734133"/>
              <a:ext cx="55429" cy="53062"/>
              <a:chOff x="4589732" y="4734133"/>
              <a:chExt cx="55429" cy="53062"/>
            </a:xfrm>
            <a:grpFill/>
          </p:grpSpPr>
          <p:sp>
            <p:nvSpPr>
              <p:cNvPr id="1721" name="Vrije vorm: vorm 1720">
                <a:extLst>
                  <a:ext uri="{FF2B5EF4-FFF2-40B4-BE49-F238E27FC236}">
                    <a16:creationId xmlns:a16="http://schemas.microsoft.com/office/drawing/2014/main" id="{3F50C63B-B6EF-40DB-9E77-38CBF7D0C45C}"/>
                  </a:ext>
                </a:extLst>
              </p:cNvPr>
              <p:cNvSpPr/>
              <p:nvPr/>
            </p:nvSpPr>
            <p:spPr>
              <a:xfrm>
                <a:off x="4597520" y="4741855"/>
                <a:ext cx="39891" cy="37558"/>
              </a:xfrm>
              <a:custGeom>
                <a:avLst/>
                <a:gdLst>
                  <a:gd name="connsiteX0" fmla="*/ 39891 w 39891"/>
                  <a:gd name="connsiteY0" fmla="*/ 2273 h 37558"/>
                  <a:gd name="connsiteX1" fmla="*/ 2093 w 39891"/>
                  <a:gd name="connsiteY1" fmla="*/ 37559 h 37558"/>
                  <a:gd name="connsiteX2" fmla="*/ 0 w 39891"/>
                  <a:gd name="connsiteY2" fmla="*/ 35346 h 37558"/>
                  <a:gd name="connsiteX3" fmla="*/ 37798 w 39891"/>
                  <a:gd name="connsiteY3" fmla="*/ 0 h 37558"/>
                </a:gdLst>
                <a:ahLst/>
                <a:cxnLst>
                  <a:cxn ang="0">
                    <a:pos x="connsiteX0" y="connsiteY0"/>
                  </a:cxn>
                  <a:cxn ang="0">
                    <a:pos x="connsiteX1" y="connsiteY1"/>
                  </a:cxn>
                  <a:cxn ang="0">
                    <a:pos x="connsiteX2" y="connsiteY2"/>
                  </a:cxn>
                  <a:cxn ang="0">
                    <a:pos x="connsiteX3" y="connsiteY3"/>
                  </a:cxn>
                </a:cxnLst>
                <a:rect l="l" t="t" r="r" b="b"/>
                <a:pathLst>
                  <a:path w="39891" h="37558">
                    <a:moveTo>
                      <a:pt x="39891" y="2273"/>
                    </a:moveTo>
                    <a:lnTo>
                      <a:pt x="2093" y="37559"/>
                    </a:lnTo>
                    <a:lnTo>
                      <a:pt x="0" y="35346"/>
                    </a:lnTo>
                    <a:lnTo>
                      <a:pt x="37798" y="0"/>
                    </a:lnTo>
                    <a:close/>
                  </a:path>
                </a:pathLst>
              </a:custGeom>
              <a:grpFill/>
              <a:ln w="5978" cap="flat">
                <a:noFill/>
                <a:prstDash val="solid"/>
                <a:miter/>
              </a:ln>
            </p:spPr>
            <p:txBody>
              <a:bodyPr rtlCol="0" anchor="ctr"/>
              <a:lstStyle/>
              <a:p>
                <a:endParaRPr lang="en-GB"/>
              </a:p>
            </p:txBody>
          </p:sp>
          <p:sp>
            <p:nvSpPr>
              <p:cNvPr id="1722" name="Vrije vorm: vorm 1721">
                <a:extLst>
                  <a:ext uri="{FF2B5EF4-FFF2-40B4-BE49-F238E27FC236}">
                    <a16:creationId xmlns:a16="http://schemas.microsoft.com/office/drawing/2014/main" id="{75CCD27E-BF91-4B60-A7FD-551327E93523}"/>
                  </a:ext>
                </a:extLst>
              </p:cNvPr>
              <p:cNvSpPr/>
              <p:nvPr/>
            </p:nvSpPr>
            <p:spPr>
              <a:xfrm>
                <a:off x="4589732" y="4768762"/>
                <a:ext cx="18348" cy="18434"/>
              </a:xfrm>
              <a:custGeom>
                <a:avLst/>
                <a:gdLst>
                  <a:gd name="connsiteX0" fmla="*/ 15443 w 18348"/>
                  <a:gd name="connsiteY0" fmla="*/ 15975 h 18434"/>
                  <a:gd name="connsiteX1" fmla="*/ 2465 w 18348"/>
                  <a:gd name="connsiteY1" fmla="*/ 15497 h 18434"/>
                  <a:gd name="connsiteX2" fmla="*/ 2884 w 18348"/>
                  <a:gd name="connsiteY2" fmla="*/ 2459 h 18434"/>
                  <a:gd name="connsiteX3" fmla="*/ 15862 w 18348"/>
                  <a:gd name="connsiteY3" fmla="*/ 2937 h 18434"/>
                  <a:gd name="connsiteX4" fmla="*/ 15443 w 18348"/>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4">
                    <a:moveTo>
                      <a:pt x="15443" y="15975"/>
                    </a:moveTo>
                    <a:cubicBezTo>
                      <a:pt x="11735" y="19444"/>
                      <a:pt x="5934" y="19205"/>
                      <a:pt x="2465" y="15497"/>
                    </a:cubicBezTo>
                    <a:cubicBezTo>
                      <a:pt x="-1004" y="11789"/>
                      <a:pt x="-764" y="5928"/>
                      <a:pt x="2884" y="2459"/>
                    </a:cubicBezTo>
                    <a:cubicBezTo>
                      <a:pt x="6592" y="-1010"/>
                      <a:pt x="12393" y="-771"/>
                      <a:pt x="15862" y="2937"/>
                    </a:cubicBezTo>
                    <a:cubicBezTo>
                      <a:pt x="19331" y="6645"/>
                      <a:pt x="19151" y="12566"/>
                      <a:pt x="15443" y="15975"/>
                    </a:cubicBezTo>
                    <a:close/>
                  </a:path>
                </a:pathLst>
              </a:custGeom>
              <a:grpFill/>
              <a:ln w="5978" cap="flat">
                <a:noFill/>
                <a:prstDash val="solid"/>
                <a:miter/>
              </a:ln>
            </p:spPr>
            <p:txBody>
              <a:bodyPr rtlCol="0" anchor="ctr"/>
              <a:lstStyle/>
              <a:p>
                <a:endParaRPr lang="en-GB"/>
              </a:p>
            </p:txBody>
          </p:sp>
          <p:sp>
            <p:nvSpPr>
              <p:cNvPr id="1723" name="Vrije vorm: vorm 1722">
                <a:extLst>
                  <a:ext uri="{FF2B5EF4-FFF2-40B4-BE49-F238E27FC236}">
                    <a16:creationId xmlns:a16="http://schemas.microsoft.com/office/drawing/2014/main" id="{55657A47-3F72-415C-B92C-F6BCEF23F933}"/>
                  </a:ext>
                </a:extLst>
              </p:cNvPr>
              <p:cNvSpPr/>
              <p:nvPr/>
            </p:nvSpPr>
            <p:spPr>
              <a:xfrm>
                <a:off x="4626791" y="4734133"/>
                <a:ext cx="18370" cy="18410"/>
              </a:xfrm>
              <a:custGeom>
                <a:avLst/>
                <a:gdLst>
                  <a:gd name="connsiteX0" fmla="*/ 15465 w 18370"/>
                  <a:gd name="connsiteY0" fmla="*/ 15975 h 18410"/>
                  <a:gd name="connsiteX1" fmla="*/ 15883 w 18370"/>
                  <a:gd name="connsiteY1" fmla="*/ 2937 h 18410"/>
                  <a:gd name="connsiteX2" fmla="*/ 2905 w 18370"/>
                  <a:gd name="connsiteY2" fmla="*/ 2459 h 18410"/>
                  <a:gd name="connsiteX3" fmla="*/ 2487 w 18370"/>
                  <a:gd name="connsiteY3" fmla="*/ 15497 h 18410"/>
                  <a:gd name="connsiteX4" fmla="*/ 15465 w 18370"/>
                  <a:gd name="connsiteY4" fmla="*/ 15975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0">
                    <a:moveTo>
                      <a:pt x="15465" y="15975"/>
                    </a:moveTo>
                    <a:cubicBezTo>
                      <a:pt x="19173" y="12507"/>
                      <a:pt x="19352" y="6705"/>
                      <a:pt x="15883" y="2937"/>
                    </a:cubicBezTo>
                    <a:cubicBezTo>
                      <a:pt x="12415" y="-771"/>
                      <a:pt x="6613" y="-1010"/>
                      <a:pt x="2905" y="2459"/>
                    </a:cubicBezTo>
                    <a:cubicBezTo>
                      <a:pt x="-803" y="5928"/>
                      <a:pt x="-982" y="11729"/>
                      <a:pt x="2487" y="15497"/>
                    </a:cubicBezTo>
                    <a:cubicBezTo>
                      <a:pt x="6015" y="19205"/>
                      <a:pt x="11817" y="19384"/>
                      <a:pt x="15465" y="15975"/>
                    </a:cubicBezTo>
                    <a:close/>
                  </a:path>
                </a:pathLst>
              </a:custGeom>
              <a:grpFill/>
              <a:ln w="5978" cap="flat">
                <a:noFill/>
                <a:prstDash val="solid"/>
                <a:miter/>
              </a:ln>
            </p:spPr>
            <p:txBody>
              <a:bodyPr rtlCol="0" anchor="ctr"/>
              <a:lstStyle/>
              <a:p>
                <a:endParaRPr lang="en-GB"/>
              </a:p>
            </p:txBody>
          </p:sp>
        </p:grpSp>
        <p:grpSp>
          <p:nvGrpSpPr>
            <p:cNvPr id="1228" name="Graphic 3">
              <a:extLst>
                <a:ext uri="{FF2B5EF4-FFF2-40B4-BE49-F238E27FC236}">
                  <a16:creationId xmlns:a16="http://schemas.microsoft.com/office/drawing/2014/main" id="{1407A50F-9CFE-4919-85EA-0B2A44636AA9}"/>
                </a:ext>
              </a:extLst>
            </p:cNvPr>
            <p:cNvGrpSpPr/>
            <p:nvPr/>
          </p:nvGrpSpPr>
          <p:grpSpPr>
            <a:xfrm>
              <a:off x="4121384" y="3689836"/>
              <a:ext cx="294751" cy="31000"/>
              <a:chOff x="4121384" y="3689836"/>
              <a:chExt cx="294751" cy="31000"/>
            </a:xfrm>
            <a:grpFill/>
          </p:grpSpPr>
          <p:sp>
            <p:nvSpPr>
              <p:cNvPr id="1718" name="Vrije vorm: vorm 1717">
                <a:extLst>
                  <a:ext uri="{FF2B5EF4-FFF2-40B4-BE49-F238E27FC236}">
                    <a16:creationId xmlns:a16="http://schemas.microsoft.com/office/drawing/2014/main" id="{E7BE299F-4AD0-4ED9-9496-BDA7754A3721}"/>
                  </a:ext>
                </a:extLst>
              </p:cNvPr>
              <p:cNvSpPr/>
              <p:nvPr/>
            </p:nvSpPr>
            <p:spPr>
              <a:xfrm>
                <a:off x="4130067" y="3697501"/>
                <a:ext cx="277445" cy="15669"/>
              </a:xfrm>
              <a:custGeom>
                <a:avLst/>
                <a:gdLst>
                  <a:gd name="connsiteX0" fmla="*/ 277266 w 277445"/>
                  <a:gd name="connsiteY0" fmla="*/ 0 h 15669"/>
                  <a:gd name="connsiteX1" fmla="*/ 277446 w 277445"/>
                  <a:gd name="connsiteY1" fmla="*/ 3050 h 15669"/>
                  <a:gd name="connsiteX2" fmla="*/ 120 w 277445"/>
                  <a:gd name="connsiteY2" fmla="*/ 15669 h 15669"/>
                  <a:gd name="connsiteX3" fmla="*/ 0 w 277445"/>
                  <a:gd name="connsiteY3" fmla="*/ 12619 h 15669"/>
                </a:gdLst>
                <a:ahLst/>
                <a:cxnLst>
                  <a:cxn ang="0">
                    <a:pos x="connsiteX0" y="connsiteY0"/>
                  </a:cxn>
                  <a:cxn ang="0">
                    <a:pos x="connsiteX1" y="connsiteY1"/>
                  </a:cxn>
                  <a:cxn ang="0">
                    <a:pos x="connsiteX2" y="connsiteY2"/>
                  </a:cxn>
                  <a:cxn ang="0">
                    <a:pos x="connsiteX3" y="connsiteY3"/>
                  </a:cxn>
                </a:cxnLst>
                <a:rect l="l" t="t" r="r" b="b"/>
                <a:pathLst>
                  <a:path w="277445" h="15669">
                    <a:moveTo>
                      <a:pt x="277266" y="0"/>
                    </a:moveTo>
                    <a:lnTo>
                      <a:pt x="277446" y="3050"/>
                    </a:lnTo>
                    <a:lnTo>
                      <a:pt x="120" y="15669"/>
                    </a:lnTo>
                    <a:lnTo>
                      <a:pt x="0" y="12619"/>
                    </a:lnTo>
                    <a:close/>
                  </a:path>
                </a:pathLst>
              </a:custGeom>
              <a:grpFill/>
              <a:ln w="5978" cap="flat">
                <a:noFill/>
                <a:prstDash val="solid"/>
                <a:miter/>
              </a:ln>
            </p:spPr>
            <p:txBody>
              <a:bodyPr rtlCol="0" anchor="ctr"/>
              <a:lstStyle/>
              <a:p>
                <a:endParaRPr lang="en-GB"/>
              </a:p>
            </p:txBody>
          </p:sp>
          <p:sp>
            <p:nvSpPr>
              <p:cNvPr id="1719" name="Vrije vorm: vorm 1718">
                <a:extLst>
                  <a:ext uri="{FF2B5EF4-FFF2-40B4-BE49-F238E27FC236}">
                    <a16:creationId xmlns:a16="http://schemas.microsoft.com/office/drawing/2014/main" id="{C4C54FAA-9937-4BAC-B333-7E0AD5D50C3A}"/>
                  </a:ext>
                </a:extLst>
              </p:cNvPr>
              <p:cNvSpPr/>
              <p:nvPr/>
            </p:nvSpPr>
            <p:spPr>
              <a:xfrm>
                <a:off x="4397758" y="3689836"/>
                <a:ext cx="18377" cy="18441"/>
              </a:xfrm>
              <a:custGeom>
                <a:avLst/>
                <a:gdLst>
                  <a:gd name="connsiteX0" fmla="*/ 8738 w 18377"/>
                  <a:gd name="connsiteY0" fmla="*/ 10 h 18441"/>
                  <a:gd name="connsiteX1" fmla="*/ 18367 w 18377"/>
                  <a:gd name="connsiteY1" fmla="*/ 8802 h 18441"/>
                  <a:gd name="connsiteX2" fmla="*/ 9635 w 18377"/>
                  <a:gd name="connsiteY2" fmla="*/ 18431 h 18441"/>
                  <a:gd name="connsiteX3" fmla="*/ 6 w 18377"/>
                  <a:gd name="connsiteY3" fmla="*/ 9639 h 18441"/>
                  <a:gd name="connsiteX4" fmla="*/ 8738 w 18377"/>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41">
                    <a:moveTo>
                      <a:pt x="8738" y="10"/>
                    </a:moveTo>
                    <a:cubicBezTo>
                      <a:pt x="13821" y="-229"/>
                      <a:pt x="18068" y="3718"/>
                      <a:pt x="18367" y="8802"/>
                    </a:cubicBezTo>
                    <a:cubicBezTo>
                      <a:pt x="18606" y="13886"/>
                      <a:pt x="14719" y="18192"/>
                      <a:pt x="9635" y="18431"/>
                    </a:cubicBezTo>
                    <a:cubicBezTo>
                      <a:pt x="4551" y="18670"/>
                      <a:pt x="305" y="14723"/>
                      <a:pt x="6" y="9639"/>
                    </a:cubicBezTo>
                    <a:cubicBezTo>
                      <a:pt x="-173" y="4556"/>
                      <a:pt x="3714" y="250"/>
                      <a:pt x="8738" y="10"/>
                    </a:cubicBezTo>
                    <a:close/>
                  </a:path>
                </a:pathLst>
              </a:custGeom>
              <a:grpFill/>
              <a:ln w="5978" cap="flat">
                <a:noFill/>
                <a:prstDash val="solid"/>
                <a:miter/>
              </a:ln>
            </p:spPr>
            <p:txBody>
              <a:bodyPr rtlCol="0" anchor="ctr"/>
              <a:lstStyle/>
              <a:p>
                <a:endParaRPr lang="en-GB"/>
              </a:p>
            </p:txBody>
          </p:sp>
          <p:sp>
            <p:nvSpPr>
              <p:cNvPr id="1720" name="Vrije vorm: vorm 1719">
                <a:extLst>
                  <a:ext uri="{FF2B5EF4-FFF2-40B4-BE49-F238E27FC236}">
                    <a16:creationId xmlns:a16="http://schemas.microsoft.com/office/drawing/2014/main" id="{297E44C2-62CA-406B-8C14-47F40FFE943B}"/>
                  </a:ext>
                </a:extLst>
              </p:cNvPr>
              <p:cNvSpPr/>
              <p:nvPr/>
            </p:nvSpPr>
            <p:spPr>
              <a:xfrm>
                <a:off x="4121384" y="3702395"/>
                <a:ext cx="18381" cy="18441"/>
              </a:xfrm>
              <a:custGeom>
                <a:avLst/>
                <a:gdLst>
                  <a:gd name="connsiteX0" fmla="*/ 8742 w 18381"/>
                  <a:gd name="connsiteY0" fmla="*/ 10 h 18441"/>
                  <a:gd name="connsiteX1" fmla="*/ 10 w 18381"/>
                  <a:gd name="connsiteY1" fmla="*/ 9639 h 18441"/>
                  <a:gd name="connsiteX2" fmla="*/ 9640 w 18381"/>
                  <a:gd name="connsiteY2" fmla="*/ 18431 h 18441"/>
                  <a:gd name="connsiteX3" fmla="*/ 18371 w 18381"/>
                  <a:gd name="connsiteY3" fmla="*/ 8802 h 18441"/>
                  <a:gd name="connsiteX4" fmla="*/ 8742 w 1838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41">
                    <a:moveTo>
                      <a:pt x="8742" y="10"/>
                    </a:moveTo>
                    <a:cubicBezTo>
                      <a:pt x="3659" y="250"/>
                      <a:pt x="-229" y="4556"/>
                      <a:pt x="10" y="9639"/>
                    </a:cubicBezTo>
                    <a:cubicBezTo>
                      <a:pt x="250" y="14723"/>
                      <a:pt x="4556" y="18670"/>
                      <a:pt x="9640" y="18431"/>
                    </a:cubicBezTo>
                    <a:cubicBezTo>
                      <a:pt x="14663" y="18192"/>
                      <a:pt x="18611" y="13886"/>
                      <a:pt x="18371" y="8802"/>
                    </a:cubicBezTo>
                    <a:cubicBezTo>
                      <a:pt x="18132" y="3718"/>
                      <a:pt x="13826" y="-229"/>
                      <a:pt x="8742" y="10"/>
                    </a:cubicBezTo>
                    <a:close/>
                  </a:path>
                </a:pathLst>
              </a:custGeom>
              <a:grpFill/>
              <a:ln w="5978" cap="flat">
                <a:noFill/>
                <a:prstDash val="solid"/>
                <a:miter/>
              </a:ln>
            </p:spPr>
            <p:txBody>
              <a:bodyPr rtlCol="0" anchor="ctr"/>
              <a:lstStyle/>
              <a:p>
                <a:endParaRPr lang="en-GB"/>
              </a:p>
            </p:txBody>
          </p:sp>
        </p:grpSp>
        <p:grpSp>
          <p:nvGrpSpPr>
            <p:cNvPr id="1229" name="Graphic 3">
              <a:extLst>
                <a:ext uri="{FF2B5EF4-FFF2-40B4-BE49-F238E27FC236}">
                  <a16:creationId xmlns:a16="http://schemas.microsoft.com/office/drawing/2014/main" id="{C236026F-7780-4A0A-885E-60BB737D276A}"/>
                </a:ext>
              </a:extLst>
            </p:cNvPr>
            <p:cNvGrpSpPr/>
            <p:nvPr/>
          </p:nvGrpSpPr>
          <p:grpSpPr>
            <a:xfrm>
              <a:off x="4348113" y="4003472"/>
              <a:ext cx="27234" cy="21574"/>
              <a:chOff x="4348113" y="4003472"/>
              <a:chExt cx="27234" cy="21574"/>
            </a:xfrm>
            <a:grpFill/>
          </p:grpSpPr>
          <p:sp>
            <p:nvSpPr>
              <p:cNvPr id="1716" name="Vrije vorm: vorm 1715">
                <a:extLst>
                  <a:ext uri="{FF2B5EF4-FFF2-40B4-BE49-F238E27FC236}">
                    <a16:creationId xmlns:a16="http://schemas.microsoft.com/office/drawing/2014/main" id="{949E9F19-5F6E-4408-96BD-0BD91EEBAD58}"/>
                  </a:ext>
                </a:extLst>
              </p:cNvPr>
              <p:cNvSpPr/>
              <p:nvPr/>
            </p:nvSpPr>
            <p:spPr>
              <a:xfrm>
                <a:off x="4348113" y="4006605"/>
                <a:ext cx="18359" cy="18440"/>
              </a:xfrm>
              <a:custGeom>
                <a:avLst/>
                <a:gdLst>
                  <a:gd name="connsiteX0" fmla="*/ 6112 w 18359"/>
                  <a:gd name="connsiteY0" fmla="*/ 518 h 18440"/>
                  <a:gd name="connsiteX1" fmla="*/ 17834 w 18359"/>
                  <a:gd name="connsiteY1" fmla="*/ 6200 h 18440"/>
                  <a:gd name="connsiteX2" fmla="*/ 12272 w 18359"/>
                  <a:gd name="connsiteY2" fmla="*/ 17922 h 18440"/>
                  <a:gd name="connsiteX3" fmla="*/ 549 w 18359"/>
                  <a:gd name="connsiteY3" fmla="*/ 12241 h 18440"/>
                  <a:gd name="connsiteX4" fmla="*/ 6112 w 18359"/>
                  <a:gd name="connsiteY4" fmla="*/ 518 h 1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40">
                    <a:moveTo>
                      <a:pt x="6112" y="518"/>
                    </a:moveTo>
                    <a:cubicBezTo>
                      <a:pt x="10896" y="-1156"/>
                      <a:pt x="16099" y="1356"/>
                      <a:pt x="17834" y="6200"/>
                    </a:cubicBezTo>
                    <a:cubicBezTo>
                      <a:pt x="19509" y="10984"/>
                      <a:pt x="17056" y="16248"/>
                      <a:pt x="12272" y="17922"/>
                    </a:cubicBezTo>
                    <a:cubicBezTo>
                      <a:pt x="7487" y="19597"/>
                      <a:pt x="2284" y="17085"/>
                      <a:pt x="549" y="12241"/>
                    </a:cubicBezTo>
                    <a:cubicBezTo>
                      <a:pt x="-1185" y="7456"/>
                      <a:pt x="1327" y="2193"/>
                      <a:pt x="6112" y="518"/>
                    </a:cubicBezTo>
                    <a:close/>
                  </a:path>
                </a:pathLst>
              </a:custGeom>
              <a:grpFill/>
              <a:ln w="5978" cap="flat">
                <a:noFill/>
                <a:prstDash val="solid"/>
                <a:miter/>
              </a:ln>
            </p:spPr>
            <p:txBody>
              <a:bodyPr rtlCol="0" anchor="ctr"/>
              <a:lstStyle/>
              <a:p>
                <a:endParaRPr lang="en-GB"/>
              </a:p>
            </p:txBody>
          </p:sp>
          <p:sp>
            <p:nvSpPr>
              <p:cNvPr id="1717" name="Vrije vorm: vorm 1716">
                <a:extLst>
                  <a:ext uri="{FF2B5EF4-FFF2-40B4-BE49-F238E27FC236}">
                    <a16:creationId xmlns:a16="http://schemas.microsoft.com/office/drawing/2014/main" id="{E552274C-7E35-4CA4-8492-4FC6D31C7AF1}"/>
                  </a:ext>
                </a:extLst>
              </p:cNvPr>
              <p:cNvSpPr/>
              <p:nvPr/>
            </p:nvSpPr>
            <p:spPr>
              <a:xfrm>
                <a:off x="4356964" y="4003472"/>
                <a:ext cx="18383" cy="18457"/>
              </a:xfrm>
              <a:custGeom>
                <a:avLst/>
                <a:gdLst>
                  <a:gd name="connsiteX0" fmla="*/ 6112 w 18383"/>
                  <a:gd name="connsiteY0" fmla="*/ 542 h 18457"/>
                  <a:gd name="connsiteX1" fmla="*/ 550 w 18383"/>
                  <a:gd name="connsiteY1" fmla="*/ 12264 h 18457"/>
                  <a:gd name="connsiteX2" fmla="*/ 12272 w 18383"/>
                  <a:gd name="connsiteY2" fmla="*/ 17946 h 18457"/>
                  <a:gd name="connsiteX3" fmla="*/ 17834 w 18383"/>
                  <a:gd name="connsiteY3" fmla="*/ 6223 h 18457"/>
                  <a:gd name="connsiteX4" fmla="*/ 6112 w 18383"/>
                  <a:gd name="connsiteY4" fmla="*/ 542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3" h="18457">
                    <a:moveTo>
                      <a:pt x="6112" y="542"/>
                    </a:moveTo>
                    <a:cubicBezTo>
                      <a:pt x="1327" y="2216"/>
                      <a:pt x="-1185" y="7479"/>
                      <a:pt x="550" y="12264"/>
                    </a:cubicBezTo>
                    <a:cubicBezTo>
                      <a:pt x="2224" y="17048"/>
                      <a:pt x="7487" y="19620"/>
                      <a:pt x="12272" y="17946"/>
                    </a:cubicBezTo>
                    <a:cubicBezTo>
                      <a:pt x="17056" y="16271"/>
                      <a:pt x="19568" y="11008"/>
                      <a:pt x="17834" y="6223"/>
                    </a:cubicBezTo>
                    <a:cubicBezTo>
                      <a:pt x="16099" y="1379"/>
                      <a:pt x="10896" y="-1193"/>
                      <a:pt x="6112" y="542"/>
                    </a:cubicBezTo>
                    <a:close/>
                  </a:path>
                </a:pathLst>
              </a:custGeom>
              <a:grpFill/>
              <a:ln w="5978" cap="flat">
                <a:noFill/>
                <a:prstDash val="solid"/>
                <a:miter/>
              </a:ln>
            </p:spPr>
            <p:txBody>
              <a:bodyPr rtlCol="0" anchor="ctr"/>
              <a:lstStyle/>
              <a:p>
                <a:endParaRPr lang="en-GB"/>
              </a:p>
            </p:txBody>
          </p:sp>
        </p:grpSp>
        <p:grpSp>
          <p:nvGrpSpPr>
            <p:cNvPr id="1230" name="Graphic 3">
              <a:extLst>
                <a:ext uri="{FF2B5EF4-FFF2-40B4-BE49-F238E27FC236}">
                  <a16:creationId xmlns:a16="http://schemas.microsoft.com/office/drawing/2014/main" id="{DF38735B-C407-43D4-AB4A-030B83545D11}"/>
                </a:ext>
              </a:extLst>
            </p:cNvPr>
            <p:cNvGrpSpPr/>
            <p:nvPr/>
          </p:nvGrpSpPr>
          <p:grpSpPr>
            <a:xfrm>
              <a:off x="4017021" y="3487568"/>
              <a:ext cx="349175" cy="35606"/>
              <a:chOff x="4017021" y="3487568"/>
              <a:chExt cx="349175" cy="35606"/>
            </a:xfrm>
            <a:grpFill/>
          </p:grpSpPr>
          <p:sp>
            <p:nvSpPr>
              <p:cNvPr id="1713" name="Vrije vorm: vorm 1712">
                <a:extLst>
                  <a:ext uri="{FF2B5EF4-FFF2-40B4-BE49-F238E27FC236}">
                    <a16:creationId xmlns:a16="http://schemas.microsoft.com/office/drawing/2014/main" id="{2CE050F5-FD5B-41B4-A25B-81965ECB637B}"/>
                  </a:ext>
                </a:extLst>
              </p:cNvPr>
              <p:cNvSpPr/>
              <p:nvPr/>
            </p:nvSpPr>
            <p:spPr>
              <a:xfrm>
                <a:off x="4025643" y="3495233"/>
                <a:ext cx="331870" cy="20274"/>
              </a:xfrm>
              <a:custGeom>
                <a:avLst/>
                <a:gdLst>
                  <a:gd name="connsiteX0" fmla="*/ 331870 w 331870"/>
                  <a:gd name="connsiteY0" fmla="*/ 17225 h 20274"/>
                  <a:gd name="connsiteX1" fmla="*/ 331751 w 331870"/>
                  <a:gd name="connsiteY1" fmla="*/ 20275 h 20274"/>
                  <a:gd name="connsiteX2" fmla="*/ 0 w 331870"/>
                  <a:gd name="connsiteY2" fmla="*/ 3050 h 20274"/>
                  <a:gd name="connsiteX3" fmla="*/ 119 w 331870"/>
                  <a:gd name="connsiteY3" fmla="*/ 0 h 20274"/>
                </a:gdLst>
                <a:ahLst/>
                <a:cxnLst>
                  <a:cxn ang="0">
                    <a:pos x="connsiteX0" y="connsiteY0"/>
                  </a:cxn>
                  <a:cxn ang="0">
                    <a:pos x="connsiteX1" y="connsiteY1"/>
                  </a:cxn>
                  <a:cxn ang="0">
                    <a:pos x="connsiteX2" y="connsiteY2"/>
                  </a:cxn>
                  <a:cxn ang="0">
                    <a:pos x="connsiteX3" y="connsiteY3"/>
                  </a:cxn>
                </a:cxnLst>
                <a:rect l="l" t="t" r="r" b="b"/>
                <a:pathLst>
                  <a:path w="331870" h="20274">
                    <a:moveTo>
                      <a:pt x="331870" y="17225"/>
                    </a:moveTo>
                    <a:lnTo>
                      <a:pt x="331751" y="20275"/>
                    </a:lnTo>
                    <a:lnTo>
                      <a:pt x="0" y="3050"/>
                    </a:lnTo>
                    <a:lnTo>
                      <a:pt x="119" y="0"/>
                    </a:lnTo>
                    <a:close/>
                  </a:path>
                </a:pathLst>
              </a:custGeom>
              <a:grpFill/>
              <a:ln w="5978" cap="flat">
                <a:noFill/>
                <a:prstDash val="solid"/>
                <a:miter/>
              </a:ln>
            </p:spPr>
            <p:txBody>
              <a:bodyPr rtlCol="0" anchor="ctr"/>
              <a:lstStyle/>
              <a:p>
                <a:endParaRPr lang="en-GB"/>
              </a:p>
            </p:txBody>
          </p:sp>
          <p:sp>
            <p:nvSpPr>
              <p:cNvPr id="1714" name="Vrije vorm: vorm 1713">
                <a:extLst>
                  <a:ext uri="{FF2B5EF4-FFF2-40B4-BE49-F238E27FC236}">
                    <a16:creationId xmlns:a16="http://schemas.microsoft.com/office/drawing/2014/main" id="{87D3761B-9EBD-4637-9EBB-77E9B2B2334C}"/>
                  </a:ext>
                </a:extLst>
              </p:cNvPr>
              <p:cNvSpPr/>
              <p:nvPr/>
            </p:nvSpPr>
            <p:spPr>
              <a:xfrm>
                <a:off x="4347874" y="3504732"/>
                <a:ext cx="18321" cy="18441"/>
              </a:xfrm>
              <a:custGeom>
                <a:avLst/>
                <a:gdLst>
                  <a:gd name="connsiteX0" fmla="*/ 9580 w 18321"/>
                  <a:gd name="connsiteY0" fmla="*/ 10 h 18441"/>
                  <a:gd name="connsiteX1" fmla="*/ 18311 w 18321"/>
                  <a:gd name="connsiteY1" fmla="*/ 9699 h 18441"/>
                  <a:gd name="connsiteX2" fmla="*/ 8742 w 18321"/>
                  <a:gd name="connsiteY2" fmla="*/ 18431 h 18441"/>
                  <a:gd name="connsiteX3" fmla="*/ 10 w 18321"/>
                  <a:gd name="connsiteY3" fmla="*/ 8742 h 18441"/>
                  <a:gd name="connsiteX4" fmla="*/ 9580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80" y="10"/>
                    </a:moveTo>
                    <a:cubicBezTo>
                      <a:pt x="14603" y="250"/>
                      <a:pt x="18551" y="4616"/>
                      <a:pt x="18311" y="9699"/>
                    </a:cubicBezTo>
                    <a:cubicBezTo>
                      <a:pt x="18072" y="14783"/>
                      <a:pt x="13766" y="18670"/>
                      <a:pt x="8742" y="18431"/>
                    </a:cubicBezTo>
                    <a:cubicBezTo>
                      <a:pt x="3659" y="18192"/>
                      <a:pt x="-229" y="13826"/>
                      <a:pt x="10" y="8742"/>
                    </a:cubicBezTo>
                    <a:cubicBezTo>
                      <a:pt x="250" y="3659"/>
                      <a:pt x="4496" y="-229"/>
                      <a:pt x="9580" y="10"/>
                    </a:cubicBezTo>
                    <a:close/>
                  </a:path>
                </a:pathLst>
              </a:custGeom>
              <a:grpFill/>
              <a:ln w="5978" cap="flat">
                <a:noFill/>
                <a:prstDash val="solid"/>
                <a:miter/>
              </a:ln>
            </p:spPr>
            <p:txBody>
              <a:bodyPr rtlCol="0" anchor="ctr"/>
              <a:lstStyle/>
              <a:p>
                <a:endParaRPr lang="en-GB"/>
              </a:p>
            </p:txBody>
          </p:sp>
          <p:sp>
            <p:nvSpPr>
              <p:cNvPr id="1715" name="Vrije vorm: vorm 1714">
                <a:extLst>
                  <a:ext uri="{FF2B5EF4-FFF2-40B4-BE49-F238E27FC236}">
                    <a16:creationId xmlns:a16="http://schemas.microsoft.com/office/drawing/2014/main" id="{4DCFAE39-CC4F-4DEE-AD7A-C99B536D2D9F}"/>
                  </a:ext>
                </a:extLst>
              </p:cNvPr>
              <p:cNvSpPr/>
              <p:nvPr/>
            </p:nvSpPr>
            <p:spPr>
              <a:xfrm>
                <a:off x="4017021" y="3487568"/>
                <a:ext cx="18321" cy="18441"/>
              </a:xfrm>
              <a:custGeom>
                <a:avLst/>
                <a:gdLst>
                  <a:gd name="connsiteX0" fmla="*/ 9580 w 18321"/>
                  <a:gd name="connsiteY0" fmla="*/ 10 h 18441"/>
                  <a:gd name="connsiteX1" fmla="*/ 10 w 18321"/>
                  <a:gd name="connsiteY1" fmla="*/ 8742 h 18441"/>
                  <a:gd name="connsiteX2" fmla="*/ 8742 w 18321"/>
                  <a:gd name="connsiteY2" fmla="*/ 18431 h 18441"/>
                  <a:gd name="connsiteX3" fmla="*/ 18311 w 18321"/>
                  <a:gd name="connsiteY3" fmla="*/ 9699 h 18441"/>
                  <a:gd name="connsiteX4" fmla="*/ 9580 w 18321"/>
                  <a:gd name="connsiteY4" fmla="*/ 10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41">
                    <a:moveTo>
                      <a:pt x="9580" y="10"/>
                    </a:moveTo>
                    <a:cubicBezTo>
                      <a:pt x="4496" y="-229"/>
                      <a:pt x="250" y="3659"/>
                      <a:pt x="10" y="8742"/>
                    </a:cubicBezTo>
                    <a:cubicBezTo>
                      <a:pt x="-229" y="13826"/>
                      <a:pt x="3659" y="18132"/>
                      <a:pt x="8742" y="18431"/>
                    </a:cubicBezTo>
                    <a:cubicBezTo>
                      <a:pt x="13826" y="18670"/>
                      <a:pt x="18072" y="14783"/>
                      <a:pt x="18311" y="9699"/>
                    </a:cubicBezTo>
                    <a:cubicBezTo>
                      <a:pt x="18551" y="4616"/>
                      <a:pt x="14663" y="250"/>
                      <a:pt x="9580" y="10"/>
                    </a:cubicBezTo>
                    <a:close/>
                  </a:path>
                </a:pathLst>
              </a:custGeom>
              <a:grpFill/>
              <a:ln w="5978" cap="flat">
                <a:noFill/>
                <a:prstDash val="solid"/>
                <a:miter/>
              </a:ln>
            </p:spPr>
            <p:txBody>
              <a:bodyPr rtlCol="0" anchor="ctr"/>
              <a:lstStyle/>
              <a:p>
                <a:endParaRPr lang="en-GB"/>
              </a:p>
            </p:txBody>
          </p:sp>
        </p:grpSp>
        <p:grpSp>
          <p:nvGrpSpPr>
            <p:cNvPr id="1231" name="Graphic 3">
              <a:extLst>
                <a:ext uri="{FF2B5EF4-FFF2-40B4-BE49-F238E27FC236}">
                  <a16:creationId xmlns:a16="http://schemas.microsoft.com/office/drawing/2014/main" id="{D20615E2-A495-4D11-854A-D5CF976B01D6}"/>
                </a:ext>
              </a:extLst>
            </p:cNvPr>
            <p:cNvGrpSpPr/>
            <p:nvPr/>
          </p:nvGrpSpPr>
          <p:grpSpPr>
            <a:xfrm>
              <a:off x="4564564" y="4666511"/>
              <a:ext cx="47551" cy="43768"/>
              <a:chOff x="4564564" y="4666511"/>
              <a:chExt cx="47551" cy="43768"/>
            </a:xfrm>
            <a:grpFill/>
          </p:grpSpPr>
          <p:sp>
            <p:nvSpPr>
              <p:cNvPr id="1710" name="Vrije vorm: vorm 1709">
                <a:extLst>
                  <a:ext uri="{FF2B5EF4-FFF2-40B4-BE49-F238E27FC236}">
                    <a16:creationId xmlns:a16="http://schemas.microsoft.com/office/drawing/2014/main" id="{9588FA08-66EF-48B0-8A37-C0CB8F4CF553}"/>
                  </a:ext>
                </a:extLst>
              </p:cNvPr>
              <p:cNvSpPr/>
              <p:nvPr/>
            </p:nvSpPr>
            <p:spPr>
              <a:xfrm>
                <a:off x="4572341" y="4674273"/>
                <a:ext cx="31996" cy="28289"/>
              </a:xfrm>
              <a:custGeom>
                <a:avLst/>
                <a:gdLst>
                  <a:gd name="connsiteX0" fmla="*/ 31997 w 31996"/>
                  <a:gd name="connsiteY0" fmla="*/ 2273 h 28289"/>
                  <a:gd name="connsiteX1" fmla="*/ 2034 w 31996"/>
                  <a:gd name="connsiteY1" fmla="*/ 28289 h 28289"/>
                  <a:gd name="connsiteX2" fmla="*/ 0 w 31996"/>
                  <a:gd name="connsiteY2" fmla="*/ 25956 h 28289"/>
                  <a:gd name="connsiteX3" fmla="*/ 29963 w 31996"/>
                  <a:gd name="connsiteY3" fmla="*/ 0 h 28289"/>
                </a:gdLst>
                <a:ahLst/>
                <a:cxnLst>
                  <a:cxn ang="0">
                    <a:pos x="connsiteX0" y="connsiteY0"/>
                  </a:cxn>
                  <a:cxn ang="0">
                    <a:pos x="connsiteX1" y="connsiteY1"/>
                  </a:cxn>
                  <a:cxn ang="0">
                    <a:pos x="connsiteX2" y="connsiteY2"/>
                  </a:cxn>
                  <a:cxn ang="0">
                    <a:pos x="connsiteX3" y="connsiteY3"/>
                  </a:cxn>
                </a:cxnLst>
                <a:rect l="l" t="t" r="r" b="b"/>
                <a:pathLst>
                  <a:path w="31996" h="28289">
                    <a:moveTo>
                      <a:pt x="31997" y="2273"/>
                    </a:moveTo>
                    <a:lnTo>
                      <a:pt x="2034" y="28289"/>
                    </a:lnTo>
                    <a:lnTo>
                      <a:pt x="0" y="25956"/>
                    </a:lnTo>
                    <a:lnTo>
                      <a:pt x="29963" y="0"/>
                    </a:lnTo>
                    <a:close/>
                  </a:path>
                </a:pathLst>
              </a:custGeom>
              <a:grpFill/>
              <a:ln w="5978" cap="flat">
                <a:noFill/>
                <a:prstDash val="solid"/>
                <a:miter/>
              </a:ln>
            </p:spPr>
            <p:txBody>
              <a:bodyPr rtlCol="0" anchor="ctr"/>
              <a:lstStyle/>
              <a:p>
                <a:endParaRPr lang="en-GB"/>
              </a:p>
            </p:txBody>
          </p:sp>
          <p:sp>
            <p:nvSpPr>
              <p:cNvPr id="1711" name="Vrije vorm: vorm 1710">
                <a:extLst>
                  <a:ext uri="{FF2B5EF4-FFF2-40B4-BE49-F238E27FC236}">
                    <a16:creationId xmlns:a16="http://schemas.microsoft.com/office/drawing/2014/main" id="{2939480B-D846-4052-B518-0090748A9380}"/>
                  </a:ext>
                </a:extLst>
              </p:cNvPr>
              <p:cNvSpPr/>
              <p:nvPr/>
            </p:nvSpPr>
            <p:spPr>
              <a:xfrm>
                <a:off x="4564564" y="4691914"/>
                <a:ext cx="18305" cy="18365"/>
              </a:xfrm>
              <a:custGeom>
                <a:avLst/>
                <a:gdLst>
                  <a:gd name="connsiteX0" fmla="*/ 15133 w 18305"/>
                  <a:gd name="connsiteY0" fmla="*/ 16150 h 18365"/>
                  <a:gd name="connsiteX1" fmla="*/ 2215 w 18305"/>
                  <a:gd name="connsiteY1" fmla="*/ 15194 h 18365"/>
                  <a:gd name="connsiteX2" fmla="*/ 3172 w 18305"/>
                  <a:gd name="connsiteY2" fmla="*/ 2215 h 18365"/>
                  <a:gd name="connsiteX3" fmla="*/ 16091 w 18305"/>
                  <a:gd name="connsiteY3" fmla="*/ 3172 h 18365"/>
                  <a:gd name="connsiteX4" fmla="*/ 15133 w 18305"/>
                  <a:gd name="connsiteY4" fmla="*/ 1615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5" h="18365">
                    <a:moveTo>
                      <a:pt x="15133" y="16150"/>
                    </a:moveTo>
                    <a:cubicBezTo>
                      <a:pt x="11306" y="19440"/>
                      <a:pt x="5505" y="19021"/>
                      <a:pt x="2215" y="15194"/>
                    </a:cubicBezTo>
                    <a:cubicBezTo>
                      <a:pt x="-1074" y="11306"/>
                      <a:pt x="-655" y="5505"/>
                      <a:pt x="3172" y="2215"/>
                    </a:cubicBezTo>
                    <a:cubicBezTo>
                      <a:pt x="7000" y="-1074"/>
                      <a:pt x="12801" y="-655"/>
                      <a:pt x="16091" y="3172"/>
                    </a:cubicBezTo>
                    <a:cubicBezTo>
                      <a:pt x="19380" y="7000"/>
                      <a:pt x="18961" y="12861"/>
                      <a:pt x="15133" y="16150"/>
                    </a:cubicBezTo>
                    <a:close/>
                  </a:path>
                </a:pathLst>
              </a:custGeom>
              <a:grpFill/>
              <a:ln w="5978" cap="flat">
                <a:noFill/>
                <a:prstDash val="solid"/>
                <a:miter/>
              </a:ln>
            </p:spPr>
            <p:txBody>
              <a:bodyPr rtlCol="0" anchor="ctr"/>
              <a:lstStyle/>
              <a:p>
                <a:endParaRPr lang="en-GB"/>
              </a:p>
            </p:txBody>
          </p:sp>
          <p:sp>
            <p:nvSpPr>
              <p:cNvPr id="1712" name="Vrije vorm: vorm 1711">
                <a:extLst>
                  <a:ext uri="{FF2B5EF4-FFF2-40B4-BE49-F238E27FC236}">
                    <a16:creationId xmlns:a16="http://schemas.microsoft.com/office/drawing/2014/main" id="{18731D44-9F5A-4397-823A-F49DBCB9CC6D}"/>
                  </a:ext>
                </a:extLst>
              </p:cNvPr>
              <p:cNvSpPr/>
              <p:nvPr/>
            </p:nvSpPr>
            <p:spPr>
              <a:xfrm>
                <a:off x="4593819" y="4666511"/>
                <a:ext cx="18296" cy="18410"/>
              </a:xfrm>
              <a:custGeom>
                <a:avLst/>
                <a:gdLst>
                  <a:gd name="connsiteX0" fmla="*/ 15124 w 18296"/>
                  <a:gd name="connsiteY0" fmla="*/ 16195 h 18410"/>
                  <a:gd name="connsiteX1" fmla="*/ 16081 w 18296"/>
                  <a:gd name="connsiteY1" fmla="*/ 3217 h 18410"/>
                  <a:gd name="connsiteX2" fmla="*/ 3163 w 18296"/>
                  <a:gd name="connsiteY2" fmla="*/ 2260 h 18410"/>
                  <a:gd name="connsiteX3" fmla="*/ 2266 w 18296"/>
                  <a:gd name="connsiteY3" fmla="*/ 15238 h 18410"/>
                  <a:gd name="connsiteX4" fmla="*/ 15124 w 18296"/>
                  <a:gd name="connsiteY4" fmla="*/ 16195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0">
                    <a:moveTo>
                      <a:pt x="15124" y="16195"/>
                    </a:moveTo>
                    <a:cubicBezTo>
                      <a:pt x="18952" y="12906"/>
                      <a:pt x="19370" y="7044"/>
                      <a:pt x="16081" y="3217"/>
                    </a:cubicBezTo>
                    <a:cubicBezTo>
                      <a:pt x="12791" y="-671"/>
                      <a:pt x="6990" y="-1089"/>
                      <a:pt x="3163" y="2260"/>
                    </a:cubicBezTo>
                    <a:cubicBezTo>
                      <a:pt x="-665" y="5549"/>
                      <a:pt x="-1084" y="11410"/>
                      <a:pt x="2266" y="15238"/>
                    </a:cubicBezTo>
                    <a:cubicBezTo>
                      <a:pt x="5555" y="19066"/>
                      <a:pt x="11296" y="19484"/>
                      <a:pt x="15124" y="16195"/>
                    </a:cubicBezTo>
                    <a:close/>
                  </a:path>
                </a:pathLst>
              </a:custGeom>
              <a:grpFill/>
              <a:ln w="5978" cap="flat">
                <a:noFill/>
                <a:prstDash val="solid"/>
                <a:miter/>
              </a:ln>
            </p:spPr>
            <p:txBody>
              <a:bodyPr rtlCol="0" anchor="ctr"/>
              <a:lstStyle/>
              <a:p>
                <a:endParaRPr lang="en-GB"/>
              </a:p>
            </p:txBody>
          </p:sp>
        </p:grpSp>
        <p:grpSp>
          <p:nvGrpSpPr>
            <p:cNvPr id="1232" name="Graphic 3">
              <a:extLst>
                <a:ext uri="{FF2B5EF4-FFF2-40B4-BE49-F238E27FC236}">
                  <a16:creationId xmlns:a16="http://schemas.microsoft.com/office/drawing/2014/main" id="{BA6319E4-8967-4001-A039-D8A544EC6727}"/>
                </a:ext>
              </a:extLst>
            </p:cNvPr>
            <p:cNvGrpSpPr/>
            <p:nvPr/>
          </p:nvGrpSpPr>
          <p:grpSpPr>
            <a:xfrm>
              <a:off x="4239287" y="4023487"/>
              <a:ext cx="264781" cy="79412"/>
              <a:chOff x="4239287" y="4023487"/>
              <a:chExt cx="264781" cy="79412"/>
            </a:xfrm>
            <a:grpFill/>
          </p:grpSpPr>
          <p:sp>
            <p:nvSpPr>
              <p:cNvPr id="1707" name="Vrije vorm: vorm 1706">
                <a:extLst>
                  <a:ext uri="{FF2B5EF4-FFF2-40B4-BE49-F238E27FC236}">
                    <a16:creationId xmlns:a16="http://schemas.microsoft.com/office/drawing/2014/main" id="{48D87F57-207D-4FB5-93D3-EA0F887A8735}"/>
                  </a:ext>
                </a:extLst>
              </p:cNvPr>
              <p:cNvSpPr/>
              <p:nvPr/>
            </p:nvSpPr>
            <p:spPr>
              <a:xfrm>
                <a:off x="4247554" y="4030997"/>
                <a:ext cx="247997" cy="64361"/>
              </a:xfrm>
              <a:custGeom>
                <a:avLst/>
                <a:gdLst>
                  <a:gd name="connsiteX0" fmla="*/ 0 w 247997"/>
                  <a:gd name="connsiteY0" fmla="*/ 61402 h 64361"/>
                  <a:gd name="connsiteX1" fmla="*/ 247263 w 247997"/>
                  <a:gd name="connsiteY1" fmla="*/ 0 h 64361"/>
                  <a:gd name="connsiteX2" fmla="*/ 247998 w 247997"/>
                  <a:gd name="connsiteY2" fmla="*/ 2960 h 64361"/>
                  <a:gd name="connsiteX3" fmla="*/ 735 w 247997"/>
                  <a:gd name="connsiteY3" fmla="*/ 64362 h 64361"/>
                </a:gdLst>
                <a:ahLst/>
                <a:cxnLst>
                  <a:cxn ang="0">
                    <a:pos x="connsiteX0" y="connsiteY0"/>
                  </a:cxn>
                  <a:cxn ang="0">
                    <a:pos x="connsiteX1" y="connsiteY1"/>
                  </a:cxn>
                  <a:cxn ang="0">
                    <a:pos x="connsiteX2" y="connsiteY2"/>
                  </a:cxn>
                  <a:cxn ang="0">
                    <a:pos x="connsiteX3" y="connsiteY3"/>
                  </a:cxn>
                </a:cxnLst>
                <a:rect l="l" t="t" r="r" b="b"/>
                <a:pathLst>
                  <a:path w="247997" h="64361">
                    <a:moveTo>
                      <a:pt x="0" y="61402"/>
                    </a:moveTo>
                    <a:lnTo>
                      <a:pt x="247263" y="0"/>
                    </a:lnTo>
                    <a:lnTo>
                      <a:pt x="247998" y="2960"/>
                    </a:lnTo>
                    <a:lnTo>
                      <a:pt x="735" y="64362"/>
                    </a:lnTo>
                    <a:close/>
                  </a:path>
                </a:pathLst>
              </a:custGeom>
              <a:grpFill/>
              <a:ln w="5978" cap="flat">
                <a:noFill/>
                <a:prstDash val="solid"/>
                <a:miter/>
              </a:ln>
            </p:spPr>
            <p:txBody>
              <a:bodyPr rtlCol="0" anchor="ctr"/>
              <a:lstStyle/>
              <a:p>
                <a:endParaRPr lang="en-GB"/>
              </a:p>
            </p:txBody>
          </p:sp>
          <p:sp>
            <p:nvSpPr>
              <p:cNvPr id="1708" name="Vrije vorm: vorm 1707">
                <a:extLst>
                  <a:ext uri="{FF2B5EF4-FFF2-40B4-BE49-F238E27FC236}">
                    <a16:creationId xmlns:a16="http://schemas.microsoft.com/office/drawing/2014/main" id="{C78B5FEB-854A-42E2-8B0A-0766844BDB06}"/>
                  </a:ext>
                </a:extLst>
              </p:cNvPr>
              <p:cNvSpPr/>
              <p:nvPr/>
            </p:nvSpPr>
            <p:spPr>
              <a:xfrm>
                <a:off x="4485753" y="4023487"/>
                <a:ext cx="18316" cy="18408"/>
              </a:xfrm>
              <a:custGeom>
                <a:avLst/>
                <a:gdLst>
                  <a:gd name="connsiteX0" fmla="*/ 6925 w 18316"/>
                  <a:gd name="connsiteY0" fmla="*/ 263 h 18408"/>
                  <a:gd name="connsiteX1" fmla="*/ 18049 w 18316"/>
                  <a:gd name="connsiteY1" fmla="*/ 7021 h 18408"/>
                  <a:gd name="connsiteX2" fmla="*/ 11411 w 18316"/>
                  <a:gd name="connsiteY2" fmla="*/ 18145 h 18408"/>
                  <a:gd name="connsiteX3" fmla="*/ 287 w 18316"/>
                  <a:gd name="connsiteY3" fmla="*/ 11387 h 18408"/>
                  <a:gd name="connsiteX4" fmla="*/ 6925 w 18316"/>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08">
                    <a:moveTo>
                      <a:pt x="6925" y="263"/>
                    </a:moveTo>
                    <a:cubicBezTo>
                      <a:pt x="11829" y="-933"/>
                      <a:pt x="16794" y="2057"/>
                      <a:pt x="18049" y="7021"/>
                    </a:cubicBezTo>
                    <a:cubicBezTo>
                      <a:pt x="19245" y="11985"/>
                      <a:pt x="16315" y="16949"/>
                      <a:pt x="11411" y="18145"/>
                    </a:cubicBezTo>
                    <a:cubicBezTo>
                      <a:pt x="6507" y="19342"/>
                      <a:pt x="1543" y="16351"/>
                      <a:pt x="287" y="11387"/>
                    </a:cubicBezTo>
                    <a:cubicBezTo>
                      <a:pt x="-969" y="6483"/>
                      <a:pt x="2021" y="1519"/>
                      <a:pt x="6925" y="263"/>
                    </a:cubicBezTo>
                    <a:close/>
                  </a:path>
                </a:pathLst>
              </a:custGeom>
              <a:grpFill/>
              <a:ln w="5978" cap="flat">
                <a:noFill/>
                <a:prstDash val="solid"/>
                <a:miter/>
              </a:ln>
            </p:spPr>
            <p:txBody>
              <a:bodyPr rtlCol="0" anchor="ctr"/>
              <a:lstStyle/>
              <a:p>
                <a:endParaRPr lang="en-GB"/>
              </a:p>
            </p:txBody>
          </p:sp>
          <p:sp>
            <p:nvSpPr>
              <p:cNvPr id="1709" name="Vrije vorm: vorm 1708">
                <a:extLst>
                  <a:ext uri="{FF2B5EF4-FFF2-40B4-BE49-F238E27FC236}">
                    <a16:creationId xmlns:a16="http://schemas.microsoft.com/office/drawing/2014/main" id="{45B78C61-9B50-45D7-92E5-6DE05B554616}"/>
                  </a:ext>
                </a:extLst>
              </p:cNvPr>
              <p:cNvSpPr/>
              <p:nvPr/>
            </p:nvSpPr>
            <p:spPr>
              <a:xfrm>
                <a:off x="4239287" y="4084490"/>
                <a:ext cx="18336" cy="18408"/>
              </a:xfrm>
              <a:custGeom>
                <a:avLst/>
                <a:gdLst>
                  <a:gd name="connsiteX0" fmla="*/ 6925 w 18336"/>
                  <a:gd name="connsiteY0" fmla="*/ 263 h 18408"/>
                  <a:gd name="connsiteX1" fmla="*/ 287 w 18336"/>
                  <a:gd name="connsiteY1" fmla="*/ 11387 h 18408"/>
                  <a:gd name="connsiteX2" fmla="*/ 11411 w 18336"/>
                  <a:gd name="connsiteY2" fmla="*/ 18145 h 18408"/>
                  <a:gd name="connsiteX3" fmla="*/ 18049 w 18336"/>
                  <a:gd name="connsiteY3" fmla="*/ 7021 h 18408"/>
                  <a:gd name="connsiteX4" fmla="*/ 6925 w 18336"/>
                  <a:gd name="connsiteY4" fmla="*/ 263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08">
                    <a:moveTo>
                      <a:pt x="6925" y="263"/>
                    </a:moveTo>
                    <a:cubicBezTo>
                      <a:pt x="2021" y="1459"/>
                      <a:pt x="-969" y="6483"/>
                      <a:pt x="287" y="11387"/>
                    </a:cubicBezTo>
                    <a:cubicBezTo>
                      <a:pt x="1543" y="16351"/>
                      <a:pt x="6507" y="19342"/>
                      <a:pt x="11411" y="18145"/>
                    </a:cubicBezTo>
                    <a:cubicBezTo>
                      <a:pt x="16315" y="16949"/>
                      <a:pt x="19305" y="11925"/>
                      <a:pt x="18049" y="7021"/>
                    </a:cubicBezTo>
                    <a:cubicBezTo>
                      <a:pt x="16853" y="2057"/>
                      <a:pt x="11829" y="-933"/>
                      <a:pt x="6925" y="263"/>
                    </a:cubicBezTo>
                    <a:close/>
                  </a:path>
                </a:pathLst>
              </a:custGeom>
              <a:grpFill/>
              <a:ln w="5978" cap="flat">
                <a:noFill/>
                <a:prstDash val="solid"/>
                <a:miter/>
              </a:ln>
            </p:spPr>
            <p:txBody>
              <a:bodyPr rtlCol="0" anchor="ctr"/>
              <a:lstStyle/>
              <a:p>
                <a:endParaRPr lang="en-GB"/>
              </a:p>
            </p:txBody>
          </p:sp>
        </p:grpSp>
        <p:grpSp>
          <p:nvGrpSpPr>
            <p:cNvPr id="1233" name="Graphic 3">
              <a:extLst>
                <a:ext uri="{FF2B5EF4-FFF2-40B4-BE49-F238E27FC236}">
                  <a16:creationId xmlns:a16="http://schemas.microsoft.com/office/drawing/2014/main" id="{AD6671E1-40D6-47D7-AE83-4BC77917F9D4}"/>
                </a:ext>
              </a:extLst>
            </p:cNvPr>
            <p:cNvGrpSpPr/>
            <p:nvPr/>
          </p:nvGrpSpPr>
          <p:grpSpPr>
            <a:xfrm>
              <a:off x="3774195" y="2567992"/>
              <a:ext cx="226586" cy="95408"/>
              <a:chOff x="3774195" y="2567992"/>
              <a:chExt cx="226586" cy="95408"/>
            </a:xfrm>
            <a:grpFill/>
          </p:grpSpPr>
          <p:sp>
            <p:nvSpPr>
              <p:cNvPr id="1704" name="Vrije vorm: vorm 1703">
                <a:extLst>
                  <a:ext uri="{FF2B5EF4-FFF2-40B4-BE49-F238E27FC236}">
                    <a16:creationId xmlns:a16="http://schemas.microsoft.com/office/drawing/2014/main" id="{0ED74BCE-C7A5-4296-8A3E-F7DAB5FC0E2B}"/>
                  </a:ext>
                </a:extLst>
              </p:cNvPr>
              <p:cNvSpPr/>
              <p:nvPr/>
            </p:nvSpPr>
            <p:spPr>
              <a:xfrm>
                <a:off x="3782467" y="2575578"/>
                <a:ext cx="210162" cy="80201"/>
              </a:xfrm>
              <a:custGeom>
                <a:avLst/>
                <a:gdLst>
                  <a:gd name="connsiteX0" fmla="*/ 210163 w 210162"/>
                  <a:gd name="connsiteY0" fmla="*/ 77331 h 80201"/>
                  <a:gd name="connsiteX1" fmla="*/ 209086 w 210162"/>
                  <a:gd name="connsiteY1" fmla="*/ 80201 h 80201"/>
                  <a:gd name="connsiteX2" fmla="*/ 0 w 210162"/>
                  <a:gd name="connsiteY2" fmla="*/ 2871 h 80201"/>
                  <a:gd name="connsiteX3" fmla="*/ 1017 w 210162"/>
                  <a:gd name="connsiteY3" fmla="*/ 0 h 80201"/>
                </a:gdLst>
                <a:ahLst/>
                <a:cxnLst>
                  <a:cxn ang="0">
                    <a:pos x="connsiteX0" y="connsiteY0"/>
                  </a:cxn>
                  <a:cxn ang="0">
                    <a:pos x="connsiteX1" y="connsiteY1"/>
                  </a:cxn>
                  <a:cxn ang="0">
                    <a:pos x="connsiteX2" y="connsiteY2"/>
                  </a:cxn>
                  <a:cxn ang="0">
                    <a:pos x="connsiteX3" y="connsiteY3"/>
                  </a:cxn>
                </a:cxnLst>
                <a:rect l="l" t="t" r="r" b="b"/>
                <a:pathLst>
                  <a:path w="210162" h="80201">
                    <a:moveTo>
                      <a:pt x="210163" y="77331"/>
                    </a:moveTo>
                    <a:lnTo>
                      <a:pt x="209086" y="80201"/>
                    </a:lnTo>
                    <a:lnTo>
                      <a:pt x="0" y="2871"/>
                    </a:lnTo>
                    <a:lnTo>
                      <a:pt x="1017" y="0"/>
                    </a:lnTo>
                    <a:close/>
                  </a:path>
                </a:pathLst>
              </a:custGeom>
              <a:grpFill/>
              <a:ln w="5978" cap="flat">
                <a:noFill/>
                <a:prstDash val="solid"/>
                <a:miter/>
              </a:ln>
            </p:spPr>
            <p:txBody>
              <a:bodyPr rtlCol="0" anchor="ctr"/>
              <a:lstStyle/>
              <a:p>
                <a:endParaRPr lang="en-GB"/>
              </a:p>
            </p:txBody>
          </p:sp>
          <p:sp>
            <p:nvSpPr>
              <p:cNvPr id="1705" name="Vrije vorm: vorm 1704">
                <a:extLst>
                  <a:ext uri="{FF2B5EF4-FFF2-40B4-BE49-F238E27FC236}">
                    <a16:creationId xmlns:a16="http://schemas.microsoft.com/office/drawing/2014/main" id="{BADBDEFA-240E-42E9-B169-2811FCF1E6A4}"/>
                  </a:ext>
                </a:extLst>
              </p:cNvPr>
              <p:cNvSpPr/>
              <p:nvPr/>
            </p:nvSpPr>
            <p:spPr>
              <a:xfrm>
                <a:off x="3774195" y="2567992"/>
                <a:ext cx="18337" cy="18429"/>
              </a:xfrm>
              <a:custGeom>
                <a:avLst/>
                <a:gdLst>
                  <a:gd name="connsiteX0" fmla="*/ 6059 w 18337"/>
                  <a:gd name="connsiteY0" fmla="*/ 17872 h 18429"/>
                  <a:gd name="connsiteX1" fmla="*/ 557 w 18337"/>
                  <a:gd name="connsiteY1" fmla="*/ 6031 h 18429"/>
                  <a:gd name="connsiteX2" fmla="*/ 12279 w 18337"/>
                  <a:gd name="connsiteY2" fmla="*/ 588 h 18429"/>
                  <a:gd name="connsiteX3" fmla="*/ 17781 w 18337"/>
                  <a:gd name="connsiteY3" fmla="*/ 12430 h 18429"/>
                  <a:gd name="connsiteX4" fmla="*/ 6059 w 18337"/>
                  <a:gd name="connsiteY4" fmla="*/ 1787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29">
                    <a:moveTo>
                      <a:pt x="6059" y="17872"/>
                    </a:moveTo>
                    <a:cubicBezTo>
                      <a:pt x="1274" y="16138"/>
                      <a:pt x="-1178" y="10815"/>
                      <a:pt x="557" y="6031"/>
                    </a:cubicBezTo>
                    <a:cubicBezTo>
                      <a:pt x="2291" y="1246"/>
                      <a:pt x="7554" y="-1206"/>
                      <a:pt x="12279" y="588"/>
                    </a:cubicBezTo>
                    <a:cubicBezTo>
                      <a:pt x="17064" y="2322"/>
                      <a:pt x="19516" y="7645"/>
                      <a:pt x="17781" y="12430"/>
                    </a:cubicBezTo>
                    <a:cubicBezTo>
                      <a:pt x="16106" y="17155"/>
                      <a:pt x="10843" y="19607"/>
                      <a:pt x="6059" y="17872"/>
                    </a:cubicBezTo>
                    <a:close/>
                  </a:path>
                </a:pathLst>
              </a:custGeom>
              <a:grpFill/>
              <a:ln w="5978" cap="flat">
                <a:noFill/>
                <a:prstDash val="solid"/>
                <a:miter/>
              </a:ln>
            </p:spPr>
            <p:txBody>
              <a:bodyPr rtlCol="0" anchor="ctr"/>
              <a:lstStyle/>
              <a:p>
                <a:endParaRPr lang="en-GB"/>
              </a:p>
            </p:txBody>
          </p:sp>
          <p:sp>
            <p:nvSpPr>
              <p:cNvPr id="1706" name="Vrije vorm: vorm 1705">
                <a:extLst>
                  <a:ext uri="{FF2B5EF4-FFF2-40B4-BE49-F238E27FC236}">
                    <a16:creationId xmlns:a16="http://schemas.microsoft.com/office/drawing/2014/main" id="{9873F962-6517-4AD3-82A3-0BE49BC56C9B}"/>
                  </a:ext>
                </a:extLst>
              </p:cNvPr>
              <p:cNvSpPr/>
              <p:nvPr/>
            </p:nvSpPr>
            <p:spPr>
              <a:xfrm>
                <a:off x="3982474" y="2644988"/>
                <a:ext cx="18307" cy="18412"/>
              </a:xfrm>
              <a:custGeom>
                <a:avLst/>
                <a:gdLst>
                  <a:gd name="connsiteX0" fmla="*/ 6029 w 18307"/>
                  <a:gd name="connsiteY0" fmla="*/ 17848 h 18412"/>
                  <a:gd name="connsiteX1" fmla="*/ 17751 w 18307"/>
                  <a:gd name="connsiteY1" fmla="*/ 12406 h 18412"/>
                  <a:gd name="connsiteX2" fmla="*/ 12248 w 18307"/>
                  <a:gd name="connsiteY2" fmla="*/ 564 h 18412"/>
                  <a:gd name="connsiteX3" fmla="*/ 526 w 18307"/>
                  <a:gd name="connsiteY3" fmla="*/ 6006 h 18412"/>
                  <a:gd name="connsiteX4" fmla="*/ 6029 w 18307"/>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12">
                    <a:moveTo>
                      <a:pt x="6029" y="17848"/>
                    </a:moveTo>
                    <a:cubicBezTo>
                      <a:pt x="10813" y="19583"/>
                      <a:pt x="16016" y="17190"/>
                      <a:pt x="17751" y="12406"/>
                    </a:cubicBezTo>
                    <a:cubicBezTo>
                      <a:pt x="19485" y="7621"/>
                      <a:pt x="17033" y="2358"/>
                      <a:pt x="12248" y="564"/>
                    </a:cubicBezTo>
                    <a:cubicBezTo>
                      <a:pt x="7464" y="-1170"/>
                      <a:pt x="2261" y="1222"/>
                      <a:pt x="526" y="6006"/>
                    </a:cubicBezTo>
                    <a:cubicBezTo>
                      <a:pt x="-1148" y="10791"/>
                      <a:pt x="1304" y="16114"/>
                      <a:pt x="6029" y="17848"/>
                    </a:cubicBezTo>
                    <a:close/>
                  </a:path>
                </a:pathLst>
              </a:custGeom>
              <a:grpFill/>
              <a:ln w="5978" cap="flat">
                <a:noFill/>
                <a:prstDash val="solid"/>
                <a:miter/>
              </a:ln>
            </p:spPr>
            <p:txBody>
              <a:bodyPr rtlCol="0" anchor="ctr"/>
              <a:lstStyle/>
              <a:p>
                <a:endParaRPr lang="en-GB"/>
              </a:p>
            </p:txBody>
          </p:sp>
        </p:grpSp>
        <p:grpSp>
          <p:nvGrpSpPr>
            <p:cNvPr id="1234" name="Graphic 3">
              <a:extLst>
                <a:ext uri="{FF2B5EF4-FFF2-40B4-BE49-F238E27FC236}">
                  <a16:creationId xmlns:a16="http://schemas.microsoft.com/office/drawing/2014/main" id="{1C157453-3830-4855-94BC-B3C3EE265801}"/>
                </a:ext>
              </a:extLst>
            </p:cNvPr>
            <p:cNvGrpSpPr/>
            <p:nvPr/>
          </p:nvGrpSpPr>
          <p:grpSpPr>
            <a:xfrm>
              <a:off x="4724907" y="5172205"/>
              <a:ext cx="97192" cy="130331"/>
              <a:chOff x="4724907" y="5172205"/>
              <a:chExt cx="97192" cy="130331"/>
            </a:xfrm>
            <a:grpFill/>
          </p:grpSpPr>
          <p:sp>
            <p:nvSpPr>
              <p:cNvPr id="1701" name="Vrije vorm: vorm 1700">
                <a:extLst>
                  <a:ext uri="{FF2B5EF4-FFF2-40B4-BE49-F238E27FC236}">
                    <a16:creationId xmlns:a16="http://schemas.microsoft.com/office/drawing/2014/main" id="{82C7A046-7201-4783-8F68-AD354B04EAFE}"/>
                  </a:ext>
                </a:extLst>
              </p:cNvPr>
              <p:cNvSpPr/>
              <p:nvPr/>
            </p:nvSpPr>
            <p:spPr>
              <a:xfrm>
                <a:off x="4732624" y="5180122"/>
                <a:ext cx="81816" cy="114471"/>
              </a:xfrm>
              <a:custGeom>
                <a:avLst/>
                <a:gdLst>
                  <a:gd name="connsiteX0" fmla="*/ 81816 w 81816"/>
                  <a:gd name="connsiteY0" fmla="*/ 1794 h 114471"/>
                  <a:gd name="connsiteX1" fmla="*/ 2452 w 81816"/>
                  <a:gd name="connsiteY1" fmla="*/ 114471 h 114471"/>
                  <a:gd name="connsiteX2" fmla="*/ 0 w 81816"/>
                  <a:gd name="connsiteY2" fmla="*/ 112677 h 114471"/>
                  <a:gd name="connsiteX3" fmla="*/ 79304 w 81816"/>
                  <a:gd name="connsiteY3" fmla="*/ 0 h 114471"/>
                </a:gdLst>
                <a:ahLst/>
                <a:cxnLst>
                  <a:cxn ang="0">
                    <a:pos x="connsiteX0" y="connsiteY0"/>
                  </a:cxn>
                  <a:cxn ang="0">
                    <a:pos x="connsiteX1" y="connsiteY1"/>
                  </a:cxn>
                  <a:cxn ang="0">
                    <a:pos x="connsiteX2" y="connsiteY2"/>
                  </a:cxn>
                  <a:cxn ang="0">
                    <a:pos x="connsiteX3" y="connsiteY3"/>
                  </a:cxn>
                </a:cxnLst>
                <a:rect l="l" t="t" r="r" b="b"/>
                <a:pathLst>
                  <a:path w="81816" h="114471">
                    <a:moveTo>
                      <a:pt x="81816" y="1794"/>
                    </a:moveTo>
                    <a:lnTo>
                      <a:pt x="2452" y="114471"/>
                    </a:lnTo>
                    <a:lnTo>
                      <a:pt x="0" y="112677"/>
                    </a:lnTo>
                    <a:lnTo>
                      <a:pt x="79304" y="0"/>
                    </a:lnTo>
                    <a:close/>
                  </a:path>
                </a:pathLst>
              </a:custGeom>
              <a:grpFill/>
              <a:ln w="5978" cap="flat">
                <a:noFill/>
                <a:prstDash val="solid"/>
                <a:miter/>
              </a:ln>
            </p:spPr>
            <p:txBody>
              <a:bodyPr rtlCol="0" anchor="ctr"/>
              <a:lstStyle/>
              <a:p>
                <a:endParaRPr lang="en-GB"/>
              </a:p>
            </p:txBody>
          </p:sp>
          <p:sp>
            <p:nvSpPr>
              <p:cNvPr id="1702" name="Vrije vorm: vorm 1701">
                <a:extLst>
                  <a:ext uri="{FF2B5EF4-FFF2-40B4-BE49-F238E27FC236}">
                    <a16:creationId xmlns:a16="http://schemas.microsoft.com/office/drawing/2014/main" id="{987D902E-9F74-4ED8-A039-F535307568F1}"/>
                  </a:ext>
                </a:extLst>
              </p:cNvPr>
              <p:cNvSpPr/>
              <p:nvPr/>
            </p:nvSpPr>
            <p:spPr>
              <a:xfrm>
                <a:off x="4724907" y="5284104"/>
                <a:ext cx="18366" cy="18432"/>
              </a:xfrm>
              <a:custGeom>
                <a:avLst/>
                <a:gdLst>
                  <a:gd name="connsiteX0" fmla="*/ 16689 w 18366"/>
                  <a:gd name="connsiteY0" fmla="*/ 14556 h 18432"/>
                  <a:gd name="connsiteX1" fmla="*/ 3890 w 18366"/>
                  <a:gd name="connsiteY1" fmla="*/ 16709 h 18432"/>
                  <a:gd name="connsiteX2" fmla="*/ 1677 w 18366"/>
                  <a:gd name="connsiteY2" fmla="*/ 3851 h 18432"/>
                  <a:gd name="connsiteX3" fmla="*/ 14476 w 18366"/>
                  <a:gd name="connsiteY3" fmla="*/ 1697 h 18432"/>
                  <a:gd name="connsiteX4" fmla="*/ 16689 w 18366"/>
                  <a:gd name="connsiteY4" fmla="*/ 1455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32">
                    <a:moveTo>
                      <a:pt x="16689" y="14556"/>
                    </a:moveTo>
                    <a:cubicBezTo>
                      <a:pt x="13758" y="18683"/>
                      <a:pt x="8077" y="19699"/>
                      <a:pt x="3890" y="16709"/>
                    </a:cubicBezTo>
                    <a:cubicBezTo>
                      <a:pt x="-236" y="13779"/>
                      <a:pt x="-1253" y="7977"/>
                      <a:pt x="1677" y="3851"/>
                    </a:cubicBezTo>
                    <a:cubicBezTo>
                      <a:pt x="4608" y="-276"/>
                      <a:pt x="10290" y="-1233"/>
                      <a:pt x="14476" y="1697"/>
                    </a:cubicBezTo>
                    <a:cubicBezTo>
                      <a:pt x="18603" y="4688"/>
                      <a:pt x="19619" y="10429"/>
                      <a:pt x="16689" y="14556"/>
                    </a:cubicBezTo>
                    <a:close/>
                  </a:path>
                </a:pathLst>
              </a:custGeom>
              <a:grpFill/>
              <a:ln w="5978" cap="flat">
                <a:noFill/>
                <a:prstDash val="solid"/>
                <a:miter/>
              </a:ln>
            </p:spPr>
            <p:txBody>
              <a:bodyPr rtlCol="0" anchor="ctr"/>
              <a:lstStyle/>
              <a:p>
                <a:endParaRPr lang="en-GB"/>
              </a:p>
            </p:txBody>
          </p:sp>
          <p:sp>
            <p:nvSpPr>
              <p:cNvPr id="1703" name="Vrije vorm: vorm 1702">
                <a:extLst>
                  <a:ext uri="{FF2B5EF4-FFF2-40B4-BE49-F238E27FC236}">
                    <a16:creationId xmlns:a16="http://schemas.microsoft.com/office/drawing/2014/main" id="{7C1A3A6B-A3AC-4126-94EA-37A07A0B97A4}"/>
                  </a:ext>
                </a:extLst>
              </p:cNvPr>
              <p:cNvSpPr/>
              <p:nvPr/>
            </p:nvSpPr>
            <p:spPr>
              <a:xfrm>
                <a:off x="4803733" y="5172205"/>
                <a:ext cx="18366" cy="18406"/>
              </a:xfrm>
              <a:custGeom>
                <a:avLst/>
                <a:gdLst>
                  <a:gd name="connsiteX0" fmla="*/ 16689 w 18366"/>
                  <a:gd name="connsiteY0" fmla="*/ 14556 h 18406"/>
                  <a:gd name="connsiteX1" fmla="*/ 14476 w 18366"/>
                  <a:gd name="connsiteY1" fmla="*/ 1697 h 18406"/>
                  <a:gd name="connsiteX2" fmla="*/ 1678 w 18366"/>
                  <a:gd name="connsiteY2" fmla="*/ 3850 h 18406"/>
                  <a:gd name="connsiteX3" fmla="*/ 3890 w 18366"/>
                  <a:gd name="connsiteY3" fmla="*/ 16709 h 18406"/>
                  <a:gd name="connsiteX4" fmla="*/ 16689 w 18366"/>
                  <a:gd name="connsiteY4" fmla="*/ 14556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06">
                    <a:moveTo>
                      <a:pt x="16689" y="14556"/>
                    </a:moveTo>
                    <a:cubicBezTo>
                      <a:pt x="19620" y="10429"/>
                      <a:pt x="18603" y="4688"/>
                      <a:pt x="14476" y="1697"/>
                    </a:cubicBezTo>
                    <a:cubicBezTo>
                      <a:pt x="10349" y="-1233"/>
                      <a:pt x="4608" y="-276"/>
                      <a:pt x="1678" y="3850"/>
                    </a:cubicBezTo>
                    <a:cubicBezTo>
                      <a:pt x="-1253" y="7977"/>
                      <a:pt x="-236" y="13719"/>
                      <a:pt x="3890" y="16709"/>
                    </a:cubicBezTo>
                    <a:cubicBezTo>
                      <a:pt x="8017" y="19640"/>
                      <a:pt x="13758" y="18683"/>
                      <a:pt x="16689" y="14556"/>
                    </a:cubicBezTo>
                    <a:close/>
                  </a:path>
                </a:pathLst>
              </a:custGeom>
              <a:grpFill/>
              <a:ln w="5978" cap="flat">
                <a:noFill/>
                <a:prstDash val="solid"/>
                <a:miter/>
              </a:ln>
            </p:spPr>
            <p:txBody>
              <a:bodyPr rtlCol="0" anchor="ctr"/>
              <a:lstStyle/>
              <a:p>
                <a:endParaRPr lang="en-GB"/>
              </a:p>
            </p:txBody>
          </p:sp>
        </p:grpSp>
        <p:grpSp>
          <p:nvGrpSpPr>
            <p:cNvPr id="1235" name="Graphic 3">
              <a:extLst>
                <a:ext uri="{FF2B5EF4-FFF2-40B4-BE49-F238E27FC236}">
                  <a16:creationId xmlns:a16="http://schemas.microsoft.com/office/drawing/2014/main" id="{F1CC5B7F-3F92-44D8-8AD7-83D7F19C7AC8}"/>
                </a:ext>
              </a:extLst>
            </p:cNvPr>
            <p:cNvGrpSpPr/>
            <p:nvPr/>
          </p:nvGrpSpPr>
          <p:grpSpPr>
            <a:xfrm>
              <a:off x="3939573" y="2970717"/>
              <a:ext cx="119629" cy="39430"/>
              <a:chOff x="3939573" y="2970717"/>
              <a:chExt cx="119629" cy="39430"/>
            </a:xfrm>
            <a:grpFill/>
          </p:grpSpPr>
          <p:sp>
            <p:nvSpPr>
              <p:cNvPr id="1698" name="Vrije vorm: vorm 1697">
                <a:extLst>
                  <a:ext uri="{FF2B5EF4-FFF2-40B4-BE49-F238E27FC236}">
                    <a16:creationId xmlns:a16="http://schemas.microsoft.com/office/drawing/2014/main" id="{843F556A-ACF7-402D-AC01-468D60A9CCDF}"/>
                  </a:ext>
                </a:extLst>
              </p:cNvPr>
              <p:cNvSpPr/>
              <p:nvPr/>
            </p:nvSpPr>
            <p:spPr>
              <a:xfrm>
                <a:off x="3948013" y="2978380"/>
                <a:ext cx="102748" cy="24162"/>
              </a:xfrm>
              <a:custGeom>
                <a:avLst/>
                <a:gdLst>
                  <a:gd name="connsiteX0" fmla="*/ 102749 w 102748"/>
                  <a:gd name="connsiteY0" fmla="*/ 21172 h 24162"/>
                  <a:gd name="connsiteX1" fmla="*/ 102151 w 102748"/>
                  <a:gd name="connsiteY1" fmla="*/ 24162 h 24162"/>
                  <a:gd name="connsiteX2" fmla="*/ 0 w 102748"/>
                  <a:gd name="connsiteY2" fmla="*/ 2990 h 24162"/>
                  <a:gd name="connsiteX3" fmla="*/ 598 w 102748"/>
                  <a:gd name="connsiteY3" fmla="*/ 0 h 24162"/>
                </a:gdLst>
                <a:ahLst/>
                <a:cxnLst>
                  <a:cxn ang="0">
                    <a:pos x="connsiteX0" y="connsiteY0"/>
                  </a:cxn>
                  <a:cxn ang="0">
                    <a:pos x="connsiteX1" y="connsiteY1"/>
                  </a:cxn>
                  <a:cxn ang="0">
                    <a:pos x="connsiteX2" y="connsiteY2"/>
                  </a:cxn>
                  <a:cxn ang="0">
                    <a:pos x="connsiteX3" y="connsiteY3"/>
                  </a:cxn>
                </a:cxnLst>
                <a:rect l="l" t="t" r="r" b="b"/>
                <a:pathLst>
                  <a:path w="102748" h="24162">
                    <a:moveTo>
                      <a:pt x="102749" y="21172"/>
                    </a:moveTo>
                    <a:lnTo>
                      <a:pt x="102151" y="24162"/>
                    </a:lnTo>
                    <a:lnTo>
                      <a:pt x="0" y="2990"/>
                    </a:lnTo>
                    <a:lnTo>
                      <a:pt x="598" y="0"/>
                    </a:lnTo>
                    <a:close/>
                  </a:path>
                </a:pathLst>
              </a:custGeom>
              <a:grpFill/>
              <a:ln w="5978" cap="flat">
                <a:noFill/>
                <a:prstDash val="solid"/>
                <a:miter/>
              </a:ln>
            </p:spPr>
            <p:txBody>
              <a:bodyPr rtlCol="0" anchor="ctr"/>
              <a:lstStyle/>
              <a:p>
                <a:endParaRPr lang="en-GB"/>
              </a:p>
            </p:txBody>
          </p:sp>
          <p:sp>
            <p:nvSpPr>
              <p:cNvPr id="1699" name="Vrije vorm: vorm 1698">
                <a:extLst>
                  <a:ext uri="{FF2B5EF4-FFF2-40B4-BE49-F238E27FC236}">
                    <a16:creationId xmlns:a16="http://schemas.microsoft.com/office/drawing/2014/main" id="{AC17A862-46E8-4FBB-B238-EA1D7BB7A896}"/>
                  </a:ext>
                </a:extLst>
              </p:cNvPr>
              <p:cNvSpPr/>
              <p:nvPr/>
            </p:nvSpPr>
            <p:spPr>
              <a:xfrm>
                <a:off x="3939573" y="2970717"/>
                <a:ext cx="18376" cy="18438"/>
              </a:xfrm>
              <a:custGeom>
                <a:avLst/>
                <a:gdLst>
                  <a:gd name="connsiteX0" fmla="*/ 7364 w 18376"/>
                  <a:gd name="connsiteY0" fmla="*/ 18249 h 18438"/>
                  <a:gd name="connsiteX1" fmla="*/ 187 w 18376"/>
                  <a:gd name="connsiteY1" fmla="*/ 7364 h 18438"/>
                  <a:gd name="connsiteX2" fmla="*/ 11012 w 18376"/>
                  <a:gd name="connsiteY2" fmla="*/ 187 h 18438"/>
                  <a:gd name="connsiteX3" fmla="*/ 18189 w 18376"/>
                  <a:gd name="connsiteY3" fmla="*/ 11072 h 18438"/>
                  <a:gd name="connsiteX4" fmla="*/ 7364 w 18376"/>
                  <a:gd name="connsiteY4" fmla="*/ 18249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8">
                    <a:moveTo>
                      <a:pt x="7364" y="18249"/>
                    </a:moveTo>
                    <a:cubicBezTo>
                      <a:pt x="2400" y="17232"/>
                      <a:pt x="-830" y="12328"/>
                      <a:pt x="187" y="7364"/>
                    </a:cubicBezTo>
                    <a:cubicBezTo>
                      <a:pt x="1204" y="2400"/>
                      <a:pt x="6048" y="-830"/>
                      <a:pt x="11012" y="187"/>
                    </a:cubicBezTo>
                    <a:cubicBezTo>
                      <a:pt x="15976" y="1204"/>
                      <a:pt x="19206" y="6108"/>
                      <a:pt x="18189" y="11072"/>
                    </a:cubicBezTo>
                    <a:cubicBezTo>
                      <a:pt x="17173" y="16096"/>
                      <a:pt x="12328" y="19266"/>
                      <a:pt x="7364" y="18249"/>
                    </a:cubicBezTo>
                    <a:close/>
                  </a:path>
                </a:pathLst>
              </a:custGeom>
              <a:grpFill/>
              <a:ln w="5978" cap="flat">
                <a:noFill/>
                <a:prstDash val="solid"/>
                <a:miter/>
              </a:ln>
            </p:spPr>
            <p:txBody>
              <a:bodyPr rtlCol="0" anchor="ctr"/>
              <a:lstStyle/>
              <a:p>
                <a:endParaRPr lang="en-GB"/>
              </a:p>
            </p:txBody>
          </p:sp>
          <p:sp>
            <p:nvSpPr>
              <p:cNvPr id="1700" name="Vrije vorm: vorm 1699">
                <a:extLst>
                  <a:ext uri="{FF2B5EF4-FFF2-40B4-BE49-F238E27FC236}">
                    <a16:creationId xmlns:a16="http://schemas.microsoft.com/office/drawing/2014/main" id="{8BC79C66-73E4-4373-8C67-F168A1131D78}"/>
                  </a:ext>
                </a:extLst>
              </p:cNvPr>
              <p:cNvSpPr/>
              <p:nvPr/>
            </p:nvSpPr>
            <p:spPr>
              <a:xfrm>
                <a:off x="4040846" y="2991706"/>
                <a:ext cx="18357" cy="18441"/>
              </a:xfrm>
              <a:custGeom>
                <a:avLst/>
                <a:gdLst>
                  <a:gd name="connsiteX0" fmla="*/ 7345 w 18357"/>
                  <a:gd name="connsiteY0" fmla="*/ 18251 h 18441"/>
                  <a:gd name="connsiteX1" fmla="*/ 18170 w 18357"/>
                  <a:gd name="connsiteY1" fmla="*/ 11075 h 18441"/>
                  <a:gd name="connsiteX2" fmla="*/ 10993 w 18357"/>
                  <a:gd name="connsiteY2" fmla="*/ 190 h 18441"/>
                  <a:gd name="connsiteX3" fmla="*/ 168 w 18357"/>
                  <a:gd name="connsiteY3" fmla="*/ 7366 h 18441"/>
                  <a:gd name="connsiteX4" fmla="*/ 7345 w 18357"/>
                  <a:gd name="connsiteY4" fmla="*/ 18251 h 1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41">
                    <a:moveTo>
                      <a:pt x="7345" y="18251"/>
                    </a:moveTo>
                    <a:cubicBezTo>
                      <a:pt x="12309" y="19268"/>
                      <a:pt x="17153" y="16098"/>
                      <a:pt x="18170" y="11075"/>
                    </a:cubicBezTo>
                    <a:cubicBezTo>
                      <a:pt x="19187" y="6111"/>
                      <a:pt x="15957" y="1206"/>
                      <a:pt x="10993" y="190"/>
                    </a:cubicBezTo>
                    <a:cubicBezTo>
                      <a:pt x="6029" y="-827"/>
                      <a:pt x="1185" y="2343"/>
                      <a:pt x="168" y="7366"/>
                    </a:cubicBezTo>
                    <a:cubicBezTo>
                      <a:pt x="-789" y="12390"/>
                      <a:pt x="2441" y="17235"/>
                      <a:pt x="7345" y="18251"/>
                    </a:cubicBezTo>
                    <a:close/>
                  </a:path>
                </a:pathLst>
              </a:custGeom>
              <a:grpFill/>
              <a:ln w="5978" cap="flat">
                <a:noFill/>
                <a:prstDash val="solid"/>
                <a:miter/>
              </a:ln>
            </p:spPr>
            <p:txBody>
              <a:bodyPr rtlCol="0" anchor="ctr"/>
              <a:lstStyle/>
              <a:p>
                <a:endParaRPr lang="en-GB"/>
              </a:p>
            </p:txBody>
          </p:sp>
        </p:grpSp>
        <p:grpSp>
          <p:nvGrpSpPr>
            <p:cNvPr id="1236" name="Graphic 3">
              <a:extLst>
                <a:ext uri="{FF2B5EF4-FFF2-40B4-BE49-F238E27FC236}">
                  <a16:creationId xmlns:a16="http://schemas.microsoft.com/office/drawing/2014/main" id="{E17517E4-538B-454E-9E77-9397431969A6}"/>
                </a:ext>
              </a:extLst>
            </p:cNvPr>
            <p:cNvGrpSpPr/>
            <p:nvPr/>
          </p:nvGrpSpPr>
          <p:grpSpPr>
            <a:xfrm>
              <a:off x="4527869" y="4590931"/>
              <a:ext cx="63346" cy="54604"/>
              <a:chOff x="4527869" y="4590931"/>
              <a:chExt cx="63346" cy="54604"/>
            </a:xfrm>
            <a:grpFill/>
          </p:grpSpPr>
          <p:sp>
            <p:nvSpPr>
              <p:cNvPr id="1695" name="Vrije vorm: vorm 1694">
                <a:extLst>
                  <a:ext uri="{FF2B5EF4-FFF2-40B4-BE49-F238E27FC236}">
                    <a16:creationId xmlns:a16="http://schemas.microsoft.com/office/drawing/2014/main" id="{D0581C00-723C-48B9-B23A-8984AC0F0494}"/>
                  </a:ext>
                </a:extLst>
              </p:cNvPr>
              <p:cNvSpPr/>
              <p:nvPr/>
            </p:nvSpPr>
            <p:spPr>
              <a:xfrm>
                <a:off x="4535739" y="4598677"/>
                <a:ext cx="47666" cy="39113"/>
              </a:xfrm>
              <a:custGeom>
                <a:avLst/>
                <a:gdLst>
                  <a:gd name="connsiteX0" fmla="*/ 47666 w 47666"/>
                  <a:gd name="connsiteY0" fmla="*/ 2392 h 39113"/>
                  <a:gd name="connsiteX1" fmla="*/ 1854 w 47666"/>
                  <a:gd name="connsiteY1" fmla="*/ 39114 h 39113"/>
                  <a:gd name="connsiteX2" fmla="*/ 0 w 47666"/>
                  <a:gd name="connsiteY2" fmla="*/ 36721 h 39113"/>
                  <a:gd name="connsiteX3" fmla="*/ 45753 w 47666"/>
                  <a:gd name="connsiteY3" fmla="*/ 0 h 39113"/>
                </a:gdLst>
                <a:ahLst/>
                <a:cxnLst>
                  <a:cxn ang="0">
                    <a:pos x="connsiteX0" y="connsiteY0"/>
                  </a:cxn>
                  <a:cxn ang="0">
                    <a:pos x="connsiteX1" y="connsiteY1"/>
                  </a:cxn>
                  <a:cxn ang="0">
                    <a:pos x="connsiteX2" y="connsiteY2"/>
                  </a:cxn>
                  <a:cxn ang="0">
                    <a:pos x="connsiteX3" y="connsiteY3"/>
                  </a:cxn>
                </a:cxnLst>
                <a:rect l="l" t="t" r="r" b="b"/>
                <a:pathLst>
                  <a:path w="47666" h="39113">
                    <a:moveTo>
                      <a:pt x="47666" y="2392"/>
                    </a:moveTo>
                    <a:lnTo>
                      <a:pt x="1854" y="39114"/>
                    </a:lnTo>
                    <a:lnTo>
                      <a:pt x="0" y="36721"/>
                    </a:lnTo>
                    <a:lnTo>
                      <a:pt x="45753" y="0"/>
                    </a:lnTo>
                    <a:close/>
                  </a:path>
                </a:pathLst>
              </a:custGeom>
              <a:grpFill/>
              <a:ln w="5978" cap="flat">
                <a:noFill/>
                <a:prstDash val="solid"/>
                <a:miter/>
              </a:ln>
            </p:spPr>
            <p:txBody>
              <a:bodyPr rtlCol="0" anchor="ctr"/>
              <a:lstStyle/>
              <a:p>
                <a:endParaRPr lang="en-GB"/>
              </a:p>
            </p:txBody>
          </p:sp>
          <p:sp>
            <p:nvSpPr>
              <p:cNvPr id="1696" name="Vrije vorm: vorm 1695">
                <a:extLst>
                  <a:ext uri="{FF2B5EF4-FFF2-40B4-BE49-F238E27FC236}">
                    <a16:creationId xmlns:a16="http://schemas.microsoft.com/office/drawing/2014/main" id="{8831816B-ACD3-441B-9A9E-C2565D855152}"/>
                  </a:ext>
                </a:extLst>
              </p:cNvPr>
              <p:cNvSpPr/>
              <p:nvPr/>
            </p:nvSpPr>
            <p:spPr>
              <a:xfrm>
                <a:off x="4572904" y="4590931"/>
                <a:ext cx="18311" cy="18421"/>
              </a:xfrm>
              <a:custGeom>
                <a:avLst/>
                <a:gdLst>
                  <a:gd name="connsiteX0" fmla="*/ 3444 w 18311"/>
                  <a:gd name="connsiteY0" fmla="*/ 2004 h 18421"/>
                  <a:gd name="connsiteX1" fmla="*/ 16303 w 18311"/>
                  <a:gd name="connsiteY1" fmla="*/ 3499 h 18421"/>
                  <a:gd name="connsiteX2" fmla="*/ 14867 w 18311"/>
                  <a:gd name="connsiteY2" fmla="*/ 16417 h 18421"/>
                  <a:gd name="connsiteX3" fmla="*/ 2009 w 18311"/>
                  <a:gd name="connsiteY3" fmla="*/ 14922 h 18421"/>
                  <a:gd name="connsiteX4" fmla="*/ 3444 w 18311"/>
                  <a:gd name="connsiteY4" fmla="*/ 2004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3444" y="2004"/>
                    </a:moveTo>
                    <a:cubicBezTo>
                      <a:pt x="7391" y="-1166"/>
                      <a:pt x="13133" y="-508"/>
                      <a:pt x="16303" y="3499"/>
                    </a:cubicBezTo>
                    <a:cubicBezTo>
                      <a:pt x="19472" y="7506"/>
                      <a:pt x="18814" y="13248"/>
                      <a:pt x="14867" y="16417"/>
                    </a:cubicBezTo>
                    <a:cubicBezTo>
                      <a:pt x="10920" y="19587"/>
                      <a:pt x="5179" y="18930"/>
                      <a:pt x="2009" y="14922"/>
                    </a:cubicBezTo>
                    <a:cubicBezTo>
                      <a:pt x="-1161" y="10975"/>
                      <a:pt x="-503" y="5174"/>
                      <a:pt x="3444" y="2004"/>
                    </a:cubicBezTo>
                    <a:close/>
                  </a:path>
                </a:pathLst>
              </a:custGeom>
              <a:grpFill/>
              <a:ln w="5978" cap="flat">
                <a:noFill/>
                <a:prstDash val="solid"/>
                <a:miter/>
              </a:ln>
            </p:spPr>
            <p:txBody>
              <a:bodyPr rtlCol="0" anchor="ctr"/>
              <a:lstStyle/>
              <a:p>
                <a:endParaRPr lang="en-GB"/>
              </a:p>
            </p:txBody>
          </p:sp>
          <p:sp>
            <p:nvSpPr>
              <p:cNvPr id="1697" name="Vrije vorm: vorm 1696">
                <a:extLst>
                  <a:ext uri="{FF2B5EF4-FFF2-40B4-BE49-F238E27FC236}">
                    <a16:creationId xmlns:a16="http://schemas.microsoft.com/office/drawing/2014/main" id="{0521785E-405B-4C49-938F-F1C79EFC852E}"/>
                  </a:ext>
                </a:extLst>
              </p:cNvPr>
              <p:cNvSpPr/>
              <p:nvPr/>
            </p:nvSpPr>
            <p:spPr>
              <a:xfrm>
                <a:off x="4527869" y="4627114"/>
                <a:ext cx="18311" cy="18421"/>
              </a:xfrm>
              <a:custGeom>
                <a:avLst/>
                <a:gdLst>
                  <a:gd name="connsiteX0" fmla="*/ 3444 w 18311"/>
                  <a:gd name="connsiteY0" fmla="*/ 2004 h 18421"/>
                  <a:gd name="connsiteX1" fmla="*/ 2009 w 18311"/>
                  <a:gd name="connsiteY1" fmla="*/ 14923 h 18421"/>
                  <a:gd name="connsiteX2" fmla="*/ 14867 w 18311"/>
                  <a:gd name="connsiteY2" fmla="*/ 16418 h 18421"/>
                  <a:gd name="connsiteX3" fmla="*/ 16303 w 18311"/>
                  <a:gd name="connsiteY3" fmla="*/ 3499 h 18421"/>
                  <a:gd name="connsiteX4" fmla="*/ 3444 w 18311"/>
                  <a:gd name="connsiteY4" fmla="*/ 2004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1">
                    <a:moveTo>
                      <a:pt x="3444" y="2004"/>
                    </a:moveTo>
                    <a:cubicBezTo>
                      <a:pt x="-503" y="5174"/>
                      <a:pt x="-1161" y="10975"/>
                      <a:pt x="2009" y="14923"/>
                    </a:cubicBezTo>
                    <a:cubicBezTo>
                      <a:pt x="5178" y="18930"/>
                      <a:pt x="10920" y="19587"/>
                      <a:pt x="14867" y="16418"/>
                    </a:cubicBezTo>
                    <a:cubicBezTo>
                      <a:pt x="18815" y="13248"/>
                      <a:pt x="19472" y="7447"/>
                      <a:pt x="16303" y="3499"/>
                    </a:cubicBezTo>
                    <a:cubicBezTo>
                      <a:pt x="13133" y="-508"/>
                      <a:pt x="7391" y="-1166"/>
                      <a:pt x="3444" y="2004"/>
                    </a:cubicBezTo>
                    <a:close/>
                  </a:path>
                </a:pathLst>
              </a:custGeom>
              <a:grpFill/>
              <a:ln w="5978" cap="flat">
                <a:noFill/>
                <a:prstDash val="solid"/>
                <a:miter/>
              </a:ln>
            </p:spPr>
            <p:txBody>
              <a:bodyPr rtlCol="0" anchor="ctr"/>
              <a:lstStyle/>
              <a:p>
                <a:endParaRPr lang="en-GB"/>
              </a:p>
            </p:txBody>
          </p:sp>
        </p:grpSp>
        <p:grpSp>
          <p:nvGrpSpPr>
            <p:cNvPr id="1237" name="Graphic 3">
              <a:extLst>
                <a:ext uri="{FF2B5EF4-FFF2-40B4-BE49-F238E27FC236}">
                  <a16:creationId xmlns:a16="http://schemas.microsoft.com/office/drawing/2014/main" id="{C04B8E81-FE51-4E6E-B4BE-D3D0CBF85A13}"/>
                </a:ext>
              </a:extLst>
            </p:cNvPr>
            <p:cNvGrpSpPr/>
            <p:nvPr/>
          </p:nvGrpSpPr>
          <p:grpSpPr>
            <a:xfrm>
              <a:off x="4386019" y="4163712"/>
              <a:ext cx="42602" cy="29586"/>
              <a:chOff x="4386019" y="4163712"/>
              <a:chExt cx="42602" cy="29586"/>
            </a:xfrm>
            <a:grpFill/>
          </p:grpSpPr>
          <p:sp>
            <p:nvSpPr>
              <p:cNvPr id="1692" name="Vrije vorm: vorm 1691">
                <a:extLst>
                  <a:ext uri="{FF2B5EF4-FFF2-40B4-BE49-F238E27FC236}">
                    <a16:creationId xmlns:a16="http://schemas.microsoft.com/office/drawing/2014/main" id="{8007E7C7-8BEF-4DEA-8091-C4C472B97247}"/>
                  </a:ext>
                </a:extLst>
              </p:cNvPr>
              <p:cNvSpPr/>
              <p:nvPr/>
            </p:nvSpPr>
            <p:spPr>
              <a:xfrm>
                <a:off x="4394048" y="4171457"/>
                <a:ext cx="26362" cy="14357"/>
              </a:xfrm>
              <a:custGeom>
                <a:avLst/>
                <a:gdLst>
                  <a:gd name="connsiteX0" fmla="*/ 0 w 26362"/>
                  <a:gd name="connsiteY0" fmla="*/ 11588 h 14357"/>
                  <a:gd name="connsiteX1" fmla="*/ 25083 w 26362"/>
                  <a:gd name="connsiteY1" fmla="*/ 0 h 14357"/>
                  <a:gd name="connsiteX2" fmla="*/ 26363 w 26362"/>
                  <a:gd name="connsiteY2" fmla="*/ 2769 h 14357"/>
                  <a:gd name="connsiteX3" fmla="*/ 1279 w 26362"/>
                  <a:gd name="connsiteY3" fmla="*/ 14357 h 14357"/>
                </a:gdLst>
                <a:ahLst/>
                <a:cxnLst>
                  <a:cxn ang="0">
                    <a:pos x="connsiteX0" y="connsiteY0"/>
                  </a:cxn>
                  <a:cxn ang="0">
                    <a:pos x="connsiteX1" y="connsiteY1"/>
                  </a:cxn>
                  <a:cxn ang="0">
                    <a:pos x="connsiteX2" y="connsiteY2"/>
                  </a:cxn>
                  <a:cxn ang="0">
                    <a:pos x="connsiteX3" y="connsiteY3"/>
                  </a:cxn>
                </a:cxnLst>
                <a:rect l="l" t="t" r="r" b="b"/>
                <a:pathLst>
                  <a:path w="26362" h="14357">
                    <a:moveTo>
                      <a:pt x="0" y="11588"/>
                    </a:moveTo>
                    <a:lnTo>
                      <a:pt x="25083" y="0"/>
                    </a:lnTo>
                    <a:lnTo>
                      <a:pt x="26363" y="2769"/>
                    </a:lnTo>
                    <a:lnTo>
                      <a:pt x="1279" y="14357"/>
                    </a:lnTo>
                    <a:close/>
                  </a:path>
                </a:pathLst>
              </a:custGeom>
              <a:grpFill/>
              <a:ln w="5978" cap="flat">
                <a:noFill/>
                <a:prstDash val="solid"/>
                <a:miter/>
              </a:ln>
            </p:spPr>
            <p:txBody>
              <a:bodyPr rtlCol="0" anchor="ctr"/>
              <a:lstStyle/>
              <a:p>
                <a:endParaRPr lang="en-GB"/>
              </a:p>
            </p:txBody>
          </p:sp>
          <p:sp>
            <p:nvSpPr>
              <p:cNvPr id="1693" name="Vrije vorm: vorm 1692">
                <a:extLst>
                  <a:ext uri="{FF2B5EF4-FFF2-40B4-BE49-F238E27FC236}">
                    <a16:creationId xmlns:a16="http://schemas.microsoft.com/office/drawing/2014/main" id="{875DE5E3-9F19-4A2B-AFAF-8CF51460BE7F}"/>
                  </a:ext>
                </a:extLst>
              </p:cNvPr>
              <p:cNvSpPr/>
              <p:nvPr/>
            </p:nvSpPr>
            <p:spPr>
              <a:xfrm>
                <a:off x="4386019" y="4174887"/>
                <a:ext cx="18320" cy="18412"/>
              </a:xfrm>
              <a:custGeom>
                <a:avLst/>
                <a:gdLst>
                  <a:gd name="connsiteX0" fmla="*/ 13001 w 18320"/>
                  <a:gd name="connsiteY0" fmla="*/ 17579 h 18412"/>
                  <a:gd name="connsiteX1" fmla="*/ 860 w 18320"/>
                  <a:gd name="connsiteY1" fmla="*/ 13034 h 18412"/>
                  <a:gd name="connsiteX2" fmla="*/ 5346 w 18320"/>
                  <a:gd name="connsiteY2" fmla="*/ 833 h 18412"/>
                  <a:gd name="connsiteX3" fmla="*/ 17487 w 18320"/>
                  <a:gd name="connsiteY3" fmla="*/ 5378 h 18412"/>
                  <a:gd name="connsiteX4" fmla="*/ 13001 w 18320"/>
                  <a:gd name="connsiteY4" fmla="*/ 17579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2">
                    <a:moveTo>
                      <a:pt x="13001" y="17579"/>
                    </a:moveTo>
                    <a:cubicBezTo>
                      <a:pt x="8396" y="19672"/>
                      <a:pt x="2954" y="17699"/>
                      <a:pt x="860" y="13034"/>
                    </a:cubicBezTo>
                    <a:cubicBezTo>
                      <a:pt x="-1293" y="8429"/>
                      <a:pt x="741" y="2927"/>
                      <a:pt x="5346" y="833"/>
                    </a:cubicBezTo>
                    <a:cubicBezTo>
                      <a:pt x="9951" y="-1260"/>
                      <a:pt x="15393" y="714"/>
                      <a:pt x="17487" y="5378"/>
                    </a:cubicBezTo>
                    <a:cubicBezTo>
                      <a:pt x="19580" y="9984"/>
                      <a:pt x="17606" y="15486"/>
                      <a:pt x="13001" y="17579"/>
                    </a:cubicBezTo>
                    <a:close/>
                  </a:path>
                </a:pathLst>
              </a:custGeom>
              <a:grpFill/>
              <a:ln w="5978" cap="flat">
                <a:noFill/>
                <a:prstDash val="solid"/>
                <a:miter/>
              </a:ln>
            </p:spPr>
            <p:txBody>
              <a:bodyPr rtlCol="0" anchor="ctr"/>
              <a:lstStyle/>
              <a:p>
                <a:endParaRPr lang="en-GB"/>
              </a:p>
            </p:txBody>
          </p:sp>
          <p:sp>
            <p:nvSpPr>
              <p:cNvPr id="1694" name="Vrije vorm: vorm 1693">
                <a:extLst>
                  <a:ext uri="{FF2B5EF4-FFF2-40B4-BE49-F238E27FC236}">
                    <a16:creationId xmlns:a16="http://schemas.microsoft.com/office/drawing/2014/main" id="{0505AA78-C1A1-4792-8C00-9B46DC90814C}"/>
                  </a:ext>
                </a:extLst>
              </p:cNvPr>
              <p:cNvSpPr/>
              <p:nvPr/>
            </p:nvSpPr>
            <p:spPr>
              <a:xfrm>
                <a:off x="4410326" y="4163712"/>
                <a:ext cx="18295" cy="18393"/>
              </a:xfrm>
              <a:custGeom>
                <a:avLst/>
                <a:gdLst>
                  <a:gd name="connsiteX0" fmla="*/ 12975 w 18295"/>
                  <a:gd name="connsiteY0" fmla="*/ 17570 h 18393"/>
                  <a:gd name="connsiteX1" fmla="*/ 17461 w 18295"/>
                  <a:gd name="connsiteY1" fmla="*/ 5369 h 18393"/>
                  <a:gd name="connsiteX2" fmla="*/ 5320 w 18295"/>
                  <a:gd name="connsiteY2" fmla="*/ 824 h 18393"/>
                  <a:gd name="connsiteX3" fmla="*/ 834 w 18295"/>
                  <a:gd name="connsiteY3" fmla="*/ 13024 h 18393"/>
                  <a:gd name="connsiteX4" fmla="*/ 12975 w 18295"/>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393">
                    <a:moveTo>
                      <a:pt x="12975" y="17570"/>
                    </a:moveTo>
                    <a:cubicBezTo>
                      <a:pt x="17580" y="15477"/>
                      <a:pt x="19554" y="9974"/>
                      <a:pt x="17461" y="5369"/>
                    </a:cubicBezTo>
                    <a:cubicBezTo>
                      <a:pt x="15308" y="764"/>
                      <a:pt x="9865" y="-1269"/>
                      <a:pt x="5320" y="824"/>
                    </a:cubicBezTo>
                    <a:cubicBezTo>
                      <a:pt x="715" y="2917"/>
                      <a:pt x="-1259" y="8419"/>
                      <a:pt x="834" y="13024"/>
                    </a:cubicBezTo>
                    <a:cubicBezTo>
                      <a:pt x="2928" y="17629"/>
                      <a:pt x="8370" y="19663"/>
                      <a:pt x="12975" y="17570"/>
                    </a:cubicBezTo>
                    <a:close/>
                  </a:path>
                </a:pathLst>
              </a:custGeom>
              <a:grpFill/>
              <a:ln w="5978" cap="flat">
                <a:noFill/>
                <a:prstDash val="solid"/>
                <a:miter/>
              </a:ln>
            </p:spPr>
            <p:txBody>
              <a:bodyPr rtlCol="0" anchor="ctr"/>
              <a:lstStyle/>
              <a:p>
                <a:endParaRPr lang="en-GB"/>
              </a:p>
            </p:txBody>
          </p:sp>
        </p:grpSp>
        <p:grpSp>
          <p:nvGrpSpPr>
            <p:cNvPr id="1238" name="Graphic 3">
              <a:extLst>
                <a:ext uri="{FF2B5EF4-FFF2-40B4-BE49-F238E27FC236}">
                  <a16:creationId xmlns:a16="http://schemas.microsoft.com/office/drawing/2014/main" id="{4A2C7345-2E5A-4D98-B5C6-DE8EB216786A}"/>
                </a:ext>
              </a:extLst>
            </p:cNvPr>
            <p:cNvGrpSpPr/>
            <p:nvPr/>
          </p:nvGrpSpPr>
          <p:grpSpPr>
            <a:xfrm>
              <a:off x="4207970" y="3941491"/>
              <a:ext cx="243168" cy="57584"/>
              <a:chOff x="4207970" y="3941491"/>
              <a:chExt cx="243168" cy="57584"/>
            </a:xfrm>
            <a:grpFill/>
          </p:grpSpPr>
          <p:sp>
            <p:nvSpPr>
              <p:cNvPr id="1689" name="Vrije vorm: vorm 1688">
                <a:extLst>
                  <a:ext uri="{FF2B5EF4-FFF2-40B4-BE49-F238E27FC236}">
                    <a16:creationId xmlns:a16="http://schemas.microsoft.com/office/drawing/2014/main" id="{7CF5B1CD-0FC9-48BE-8941-B29D100DDAD4}"/>
                  </a:ext>
                </a:extLst>
              </p:cNvPr>
              <p:cNvSpPr/>
              <p:nvPr/>
            </p:nvSpPr>
            <p:spPr>
              <a:xfrm>
                <a:off x="4216368" y="3949110"/>
                <a:ext cx="226310" cy="42343"/>
              </a:xfrm>
              <a:custGeom>
                <a:avLst/>
                <a:gdLst>
                  <a:gd name="connsiteX0" fmla="*/ 225772 w 226310"/>
                  <a:gd name="connsiteY0" fmla="*/ 0 h 42343"/>
                  <a:gd name="connsiteX1" fmla="*/ 226311 w 226310"/>
                  <a:gd name="connsiteY1" fmla="*/ 2990 h 42343"/>
                  <a:gd name="connsiteX2" fmla="*/ 538 w 226310"/>
                  <a:gd name="connsiteY2" fmla="*/ 42344 h 42343"/>
                  <a:gd name="connsiteX3" fmla="*/ 0 w 226310"/>
                  <a:gd name="connsiteY3" fmla="*/ 39353 h 42343"/>
                </a:gdLst>
                <a:ahLst/>
                <a:cxnLst>
                  <a:cxn ang="0">
                    <a:pos x="connsiteX0" y="connsiteY0"/>
                  </a:cxn>
                  <a:cxn ang="0">
                    <a:pos x="connsiteX1" y="connsiteY1"/>
                  </a:cxn>
                  <a:cxn ang="0">
                    <a:pos x="connsiteX2" y="connsiteY2"/>
                  </a:cxn>
                  <a:cxn ang="0">
                    <a:pos x="connsiteX3" y="connsiteY3"/>
                  </a:cxn>
                </a:cxnLst>
                <a:rect l="l" t="t" r="r" b="b"/>
                <a:pathLst>
                  <a:path w="226310" h="42343">
                    <a:moveTo>
                      <a:pt x="225772" y="0"/>
                    </a:moveTo>
                    <a:lnTo>
                      <a:pt x="226311" y="2990"/>
                    </a:lnTo>
                    <a:lnTo>
                      <a:pt x="538" y="42344"/>
                    </a:lnTo>
                    <a:lnTo>
                      <a:pt x="0" y="39353"/>
                    </a:lnTo>
                    <a:close/>
                  </a:path>
                </a:pathLst>
              </a:custGeom>
              <a:grpFill/>
              <a:ln w="5978" cap="flat">
                <a:noFill/>
                <a:prstDash val="solid"/>
                <a:miter/>
              </a:ln>
            </p:spPr>
            <p:txBody>
              <a:bodyPr rtlCol="0" anchor="ctr"/>
              <a:lstStyle/>
              <a:p>
                <a:endParaRPr lang="en-GB"/>
              </a:p>
            </p:txBody>
          </p:sp>
          <p:sp>
            <p:nvSpPr>
              <p:cNvPr id="1690" name="Vrije vorm: vorm 1689">
                <a:extLst>
                  <a:ext uri="{FF2B5EF4-FFF2-40B4-BE49-F238E27FC236}">
                    <a16:creationId xmlns:a16="http://schemas.microsoft.com/office/drawing/2014/main" id="{96C90191-7B79-471A-84C3-E203D05537AC}"/>
                  </a:ext>
                </a:extLst>
              </p:cNvPr>
              <p:cNvSpPr/>
              <p:nvPr/>
            </p:nvSpPr>
            <p:spPr>
              <a:xfrm>
                <a:off x="4432785" y="3941491"/>
                <a:ext cx="18352" cy="18453"/>
              </a:xfrm>
              <a:custGeom>
                <a:avLst/>
                <a:gdLst>
                  <a:gd name="connsiteX0" fmla="*/ 7561 w 18352"/>
                  <a:gd name="connsiteY0" fmla="*/ 143 h 18453"/>
                  <a:gd name="connsiteX1" fmla="*/ 18207 w 18352"/>
                  <a:gd name="connsiteY1" fmla="*/ 7679 h 18453"/>
                  <a:gd name="connsiteX2" fmla="*/ 10791 w 18352"/>
                  <a:gd name="connsiteY2" fmla="*/ 18325 h 18453"/>
                  <a:gd name="connsiteX3" fmla="*/ 145 w 18352"/>
                  <a:gd name="connsiteY3" fmla="*/ 10849 h 18453"/>
                  <a:gd name="connsiteX4" fmla="*/ 7561 w 18352"/>
                  <a:gd name="connsiteY4" fmla="*/ 143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 h="18453">
                    <a:moveTo>
                      <a:pt x="7561" y="143"/>
                    </a:moveTo>
                    <a:cubicBezTo>
                      <a:pt x="12526" y="-754"/>
                      <a:pt x="17310" y="2655"/>
                      <a:pt x="18207" y="7679"/>
                    </a:cubicBezTo>
                    <a:cubicBezTo>
                      <a:pt x="19104" y="12703"/>
                      <a:pt x="15755" y="17488"/>
                      <a:pt x="10791" y="18325"/>
                    </a:cubicBezTo>
                    <a:cubicBezTo>
                      <a:pt x="5827" y="19162"/>
                      <a:pt x="1043" y="15813"/>
                      <a:pt x="145" y="10849"/>
                    </a:cubicBezTo>
                    <a:cubicBezTo>
                      <a:pt x="-752" y="5765"/>
                      <a:pt x="2597" y="981"/>
                      <a:pt x="7561" y="143"/>
                    </a:cubicBezTo>
                    <a:close/>
                  </a:path>
                </a:pathLst>
              </a:custGeom>
              <a:grpFill/>
              <a:ln w="5978" cap="flat">
                <a:noFill/>
                <a:prstDash val="solid"/>
                <a:miter/>
              </a:ln>
            </p:spPr>
            <p:txBody>
              <a:bodyPr rtlCol="0" anchor="ctr"/>
              <a:lstStyle/>
              <a:p>
                <a:endParaRPr lang="en-GB"/>
              </a:p>
            </p:txBody>
          </p:sp>
          <p:sp>
            <p:nvSpPr>
              <p:cNvPr id="1691" name="Vrije vorm: vorm 1690">
                <a:extLst>
                  <a:ext uri="{FF2B5EF4-FFF2-40B4-BE49-F238E27FC236}">
                    <a16:creationId xmlns:a16="http://schemas.microsoft.com/office/drawing/2014/main" id="{B2C50ABD-EB89-48A1-A588-854F6C5317C2}"/>
                  </a:ext>
                </a:extLst>
              </p:cNvPr>
              <p:cNvSpPr/>
              <p:nvPr/>
            </p:nvSpPr>
            <p:spPr>
              <a:xfrm>
                <a:off x="4207970" y="3980665"/>
                <a:ext cx="18354" cy="18410"/>
              </a:xfrm>
              <a:custGeom>
                <a:avLst/>
                <a:gdLst>
                  <a:gd name="connsiteX0" fmla="*/ 7562 w 18354"/>
                  <a:gd name="connsiteY0" fmla="*/ 143 h 18410"/>
                  <a:gd name="connsiteX1" fmla="*/ 145 w 18354"/>
                  <a:gd name="connsiteY1" fmla="*/ 10789 h 18410"/>
                  <a:gd name="connsiteX2" fmla="*/ 10791 w 18354"/>
                  <a:gd name="connsiteY2" fmla="*/ 18265 h 18410"/>
                  <a:gd name="connsiteX3" fmla="*/ 18207 w 18354"/>
                  <a:gd name="connsiteY3" fmla="*/ 7619 h 18410"/>
                  <a:gd name="connsiteX4" fmla="*/ 7562 w 18354"/>
                  <a:gd name="connsiteY4" fmla="*/ 143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18410">
                    <a:moveTo>
                      <a:pt x="7562" y="143"/>
                    </a:moveTo>
                    <a:cubicBezTo>
                      <a:pt x="2598" y="1040"/>
                      <a:pt x="-752" y="5765"/>
                      <a:pt x="145" y="10789"/>
                    </a:cubicBezTo>
                    <a:cubicBezTo>
                      <a:pt x="1043" y="15813"/>
                      <a:pt x="5767" y="19162"/>
                      <a:pt x="10791" y="18265"/>
                    </a:cubicBezTo>
                    <a:cubicBezTo>
                      <a:pt x="15815" y="17368"/>
                      <a:pt x="19105" y="12643"/>
                      <a:pt x="18207" y="7619"/>
                    </a:cubicBezTo>
                    <a:cubicBezTo>
                      <a:pt x="17250" y="2655"/>
                      <a:pt x="12525" y="-754"/>
                      <a:pt x="7562" y="143"/>
                    </a:cubicBezTo>
                    <a:close/>
                  </a:path>
                </a:pathLst>
              </a:custGeom>
              <a:grpFill/>
              <a:ln w="5978" cap="flat">
                <a:noFill/>
                <a:prstDash val="solid"/>
                <a:miter/>
              </a:ln>
            </p:spPr>
            <p:txBody>
              <a:bodyPr rtlCol="0" anchor="ctr"/>
              <a:lstStyle/>
              <a:p>
                <a:endParaRPr lang="en-GB"/>
              </a:p>
            </p:txBody>
          </p:sp>
        </p:grpSp>
        <p:grpSp>
          <p:nvGrpSpPr>
            <p:cNvPr id="1239" name="Graphic 3">
              <a:extLst>
                <a:ext uri="{FF2B5EF4-FFF2-40B4-BE49-F238E27FC236}">
                  <a16:creationId xmlns:a16="http://schemas.microsoft.com/office/drawing/2014/main" id="{3279BD11-AD60-4DBC-9530-7B1C6C7ADBF5}"/>
                </a:ext>
              </a:extLst>
            </p:cNvPr>
            <p:cNvGrpSpPr/>
            <p:nvPr/>
          </p:nvGrpSpPr>
          <p:grpSpPr>
            <a:xfrm>
              <a:off x="4496180" y="4509202"/>
              <a:ext cx="26843" cy="24483"/>
              <a:chOff x="4496180" y="4509202"/>
              <a:chExt cx="26843" cy="24483"/>
            </a:xfrm>
            <a:grpFill/>
          </p:grpSpPr>
          <p:sp>
            <p:nvSpPr>
              <p:cNvPr id="1686" name="Vrije vorm: vorm 1685">
                <a:extLst>
                  <a:ext uri="{FF2B5EF4-FFF2-40B4-BE49-F238E27FC236}">
                    <a16:creationId xmlns:a16="http://schemas.microsoft.com/office/drawing/2014/main" id="{EDB43558-6AB5-49F8-AB7D-C5AAE84EBD6A}"/>
                  </a:ext>
                </a:extLst>
              </p:cNvPr>
              <p:cNvSpPr/>
              <p:nvPr/>
            </p:nvSpPr>
            <p:spPr>
              <a:xfrm>
                <a:off x="4504101" y="4516920"/>
                <a:ext cx="11004" cy="9030"/>
              </a:xfrm>
              <a:custGeom>
                <a:avLst/>
                <a:gdLst>
                  <a:gd name="connsiteX0" fmla="*/ 11004 w 11004"/>
                  <a:gd name="connsiteY0" fmla="*/ 2452 h 9030"/>
                  <a:gd name="connsiteX1" fmla="*/ 1794 w 11004"/>
                  <a:gd name="connsiteY1" fmla="*/ 9031 h 9030"/>
                  <a:gd name="connsiteX2" fmla="*/ 0 w 11004"/>
                  <a:gd name="connsiteY2" fmla="*/ 6579 h 9030"/>
                  <a:gd name="connsiteX3" fmla="*/ 9210 w 11004"/>
                  <a:gd name="connsiteY3" fmla="*/ 0 h 9030"/>
                </a:gdLst>
                <a:ahLst/>
                <a:cxnLst>
                  <a:cxn ang="0">
                    <a:pos x="connsiteX0" y="connsiteY0"/>
                  </a:cxn>
                  <a:cxn ang="0">
                    <a:pos x="connsiteX1" y="connsiteY1"/>
                  </a:cxn>
                  <a:cxn ang="0">
                    <a:pos x="connsiteX2" y="connsiteY2"/>
                  </a:cxn>
                  <a:cxn ang="0">
                    <a:pos x="connsiteX3" y="connsiteY3"/>
                  </a:cxn>
                </a:cxnLst>
                <a:rect l="l" t="t" r="r" b="b"/>
                <a:pathLst>
                  <a:path w="11004" h="9030">
                    <a:moveTo>
                      <a:pt x="11004" y="2452"/>
                    </a:moveTo>
                    <a:lnTo>
                      <a:pt x="1794" y="9031"/>
                    </a:lnTo>
                    <a:lnTo>
                      <a:pt x="0" y="6579"/>
                    </a:lnTo>
                    <a:lnTo>
                      <a:pt x="9210" y="0"/>
                    </a:lnTo>
                    <a:close/>
                  </a:path>
                </a:pathLst>
              </a:custGeom>
              <a:grpFill/>
              <a:ln w="5978" cap="flat">
                <a:noFill/>
                <a:prstDash val="solid"/>
                <a:miter/>
              </a:ln>
            </p:spPr>
            <p:txBody>
              <a:bodyPr rtlCol="0" anchor="ctr"/>
              <a:lstStyle/>
              <a:p>
                <a:endParaRPr lang="en-GB"/>
              </a:p>
            </p:txBody>
          </p:sp>
          <p:sp>
            <p:nvSpPr>
              <p:cNvPr id="1687" name="Vrije vorm: vorm 1686">
                <a:extLst>
                  <a:ext uri="{FF2B5EF4-FFF2-40B4-BE49-F238E27FC236}">
                    <a16:creationId xmlns:a16="http://schemas.microsoft.com/office/drawing/2014/main" id="{47795F2A-8712-4001-9293-11BCC51FCF9F}"/>
                  </a:ext>
                </a:extLst>
              </p:cNvPr>
              <p:cNvSpPr/>
              <p:nvPr/>
            </p:nvSpPr>
            <p:spPr>
              <a:xfrm>
                <a:off x="4496180" y="4515226"/>
                <a:ext cx="18336" cy="18459"/>
              </a:xfrm>
              <a:custGeom>
                <a:avLst/>
                <a:gdLst>
                  <a:gd name="connsiteX0" fmla="*/ 14500 w 18336"/>
                  <a:gd name="connsiteY0" fmla="*/ 16765 h 18459"/>
                  <a:gd name="connsiteX1" fmla="*/ 1701 w 18336"/>
                  <a:gd name="connsiteY1" fmla="*/ 14553 h 18459"/>
                  <a:gd name="connsiteX2" fmla="*/ 3794 w 18336"/>
                  <a:gd name="connsiteY2" fmla="*/ 1694 h 18459"/>
                  <a:gd name="connsiteX3" fmla="*/ 16593 w 18336"/>
                  <a:gd name="connsiteY3" fmla="*/ 3907 h 18459"/>
                  <a:gd name="connsiteX4" fmla="*/ 14500 w 18336"/>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9">
                    <a:moveTo>
                      <a:pt x="14500" y="16765"/>
                    </a:moveTo>
                    <a:cubicBezTo>
                      <a:pt x="10373" y="19696"/>
                      <a:pt x="4631" y="18739"/>
                      <a:pt x="1701" y="14553"/>
                    </a:cubicBezTo>
                    <a:cubicBezTo>
                      <a:pt x="-1230" y="10426"/>
                      <a:pt x="-272" y="4625"/>
                      <a:pt x="3794" y="1694"/>
                    </a:cubicBezTo>
                    <a:cubicBezTo>
                      <a:pt x="7921" y="-1237"/>
                      <a:pt x="13662" y="-280"/>
                      <a:pt x="16593" y="3907"/>
                    </a:cubicBezTo>
                    <a:cubicBezTo>
                      <a:pt x="19583" y="8033"/>
                      <a:pt x="18627" y="13835"/>
                      <a:pt x="14500" y="16765"/>
                    </a:cubicBezTo>
                    <a:close/>
                  </a:path>
                </a:pathLst>
              </a:custGeom>
              <a:grpFill/>
              <a:ln w="5978" cap="flat">
                <a:noFill/>
                <a:prstDash val="solid"/>
                <a:miter/>
              </a:ln>
            </p:spPr>
            <p:txBody>
              <a:bodyPr rtlCol="0" anchor="ctr"/>
              <a:lstStyle/>
              <a:p>
                <a:endParaRPr lang="en-GB"/>
              </a:p>
            </p:txBody>
          </p:sp>
          <p:sp>
            <p:nvSpPr>
              <p:cNvPr id="1688" name="Vrije vorm: vorm 1687">
                <a:extLst>
                  <a:ext uri="{FF2B5EF4-FFF2-40B4-BE49-F238E27FC236}">
                    <a16:creationId xmlns:a16="http://schemas.microsoft.com/office/drawing/2014/main" id="{DE6E6E36-CC12-4587-87D2-E22236EA4F8D}"/>
                  </a:ext>
                </a:extLst>
              </p:cNvPr>
              <p:cNvSpPr/>
              <p:nvPr/>
            </p:nvSpPr>
            <p:spPr>
              <a:xfrm>
                <a:off x="4504676" y="4509202"/>
                <a:ext cx="18346" cy="18426"/>
              </a:xfrm>
              <a:custGeom>
                <a:avLst/>
                <a:gdLst>
                  <a:gd name="connsiteX0" fmla="*/ 14496 w 18346"/>
                  <a:gd name="connsiteY0" fmla="*/ 16749 h 18426"/>
                  <a:gd name="connsiteX1" fmla="*/ 16649 w 18346"/>
                  <a:gd name="connsiteY1" fmla="*/ 3890 h 18426"/>
                  <a:gd name="connsiteX2" fmla="*/ 3851 w 18346"/>
                  <a:gd name="connsiteY2" fmla="*/ 1678 h 18426"/>
                  <a:gd name="connsiteX3" fmla="*/ 1698 w 18346"/>
                  <a:gd name="connsiteY3" fmla="*/ 14536 h 18426"/>
                  <a:gd name="connsiteX4" fmla="*/ 14496 w 18346"/>
                  <a:gd name="connsiteY4" fmla="*/ 16749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26">
                    <a:moveTo>
                      <a:pt x="14496" y="16749"/>
                    </a:moveTo>
                    <a:cubicBezTo>
                      <a:pt x="18623" y="13818"/>
                      <a:pt x="19580" y="8077"/>
                      <a:pt x="16649" y="3890"/>
                    </a:cubicBezTo>
                    <a:cubicBezTo>
                      <a:pt x="13719" y="-236"/>
                      <a:pt x="7977" y="-1253"/>
                      <a:pt x="3851" y="1678"/>
                    </a:cubicBezTo>
                    <a:cubicBezTo>
                      <a:pt x="-276" y="4608"/>
                      <a:pt x="-1233" y="10349"/>
                      <a:pt x="1698" y="14536"/>
                    </a:cubicBezTo>
                    <a:cubicBezTo>
                      <a:pt x="4688" y="18663"/>
                      <a:pt x="10369" y="19679"/>
                      <a:pt x="14496" y="16749"/>
                    </a:cubicBezTo>
                    <a:close/>
                  </a:path>
                </a:pathLst>
              </a:custGeom>
              <a:grpFill/>
              <a:ln w="5978" cap="flat">
                <a:noFill/>
                <a:prstDash val="solid"/>
                <a:miter/>
              </a:ln>
            </p:spPr>
            <p:txBody>
              <a:bodyPr rtlCol="0" anchor="ctr"/>
              <a:lstStyle/>
              <a:p>
                <a:endParaRPr lang="en-GB"/>
              </a:p>
            </p:txBody>
          </p:sp>
        </p:grpSp>
        <p:grpSp>
          <p:nvGrpSpPr>
            <p:cNvPr id="1240" name="Graphic 3">
              <a:extLst>
                <a:ext uri="{FF2B5EF4-FFF2-40B4-BE49-F238E27FC236}">
                  <a16:creationId xmlns:a16="http://schemas.microsoft.com/office/drawing/2014/main" id="{4B6470F3-9083-43DA-B554-DEBD69441E6D}"/>
                </a:ext>
              </a:extLst>
            </p:cNvPr>
            <p:cNvGrpSpPr/>
            <p:nvPr/>
          </p:nvGrpSpPr>
          <p:grpSpPr>
            <a:xfrm>
              <a:off x="3938720" y="3411420"/>
              <a:ext cx="414211" cy="48371"/>
              <a:chOff x="3938720" y="3411420"/>
              <a:chExt cx="414211" cy="48371"/>
            </a:xfrm>
            <a:grpFill/>
          </p:grpSpPr>
          <p:sp>
            <p:nvSpPr>
              <p:cNvPr id="1683" name="Vrije vorm: vorm 1682">
                <a:extLst>
                  <a:ext uri="{FF2B5EF4-FFF2-40B4-BE49-F238E27FC236}">
                    <a16:creationId xmlns:a16="http://schemas.microsoft.com/office/drawing/2014/main" id="{BC80D60C-891A-4C20-89A3-572A277C8040}"/>
                  </a:ext>
                </a:extLst>
              </p:cNvPr>
              <p:cNvSpPr/>
              <p:nvPr/>
            </p:nvSpPr>
            <p:spPr>
              <a:xfrm>
                <a:off x="3947356" y="3419039"/>
                <a:ext cx="396940" cy="33133"/>
              </a:xfrm>
              <a:custGeom>
                <a:avLst/>
                <a:gdLst>
                  <a:gd name="connsiteX0" fmla="*/ 396941 w 396940"/>
                  <a:gd name="connsiteY0" fmla="*/ 30083 h 33133"/>
                  <a:gd name="connsiteX1" fmla="*/ 396761 w 396940"/>
                  <a:gd name="connsiteY1" fmla="*/ 33133 h 33133"/>
                  <a:gd name="connsiteX2" fmla="*/ 0 w 396940"/>
                  <a:gd name="connsiteY2" fmla="*/ 3110 h 33133"/>
                  <a:gd name="connsiteX3" fmla="*/ 180 w 396940"/>
                  <a:gd name="connsiteY3" fmla="*/ 0 h 33133"/>
                </a:gdLst>
                <a:ahLst/>
                <a:cxnLst>
                  <a:cxn ang="0">
                    <a:pos x="connsiteX0" y="connsiteY0"/>
                  </a:cxn>
                  <a:cxn ang="0">
                    <a:pos x="connsiteX1" y="connsiteY1"/>
                  </a:cxn>
                  <a:cxn ang="0">
                    <a:pos x="connsiteX2" y="connsiteY2"/>
                  </a:cxn>
                  <a:cxn ang="0">
                    <a:pos x="connsiteX3" y="connsiteY3"/>
                  </a:cxn>
                </a:cxnLst>
                <a:rect l="l" t="t" r="r" b="b"/>
                <a:pathLst>
                  <a:path w="396940" h="33133">
                    <a:moveTo>
                      <a:pt x="396941" y="30083"/>
                    </a:moveTo>
                    <a:lnTo>
                      <a:pt x="396761" y="33133"/>
                    </a:lnTo>
                    <a:lnTo>
                      <a:pt x="0" y="3110"/>
                    </a:lnTo>
                    <a:lnTo>
                      <a:pt x="180" y="0"/>
                    </a:lnTo>
                    <a:close/>
                  </a:path>
                </a:pathLst>
              </a:custGeom>
              <a:grpFill/>
              <a:ln w="5978" cap="flat">
                <a:noFill/>
                <a:prstDash val="solid"/>
                <a:miter/>
              </a:ln>
            </p:spPr>
            <p:txBody>
              <a:bodyPr rtlCol="0" anchor="ctr"/>
              <a:lstStyle/>
              <a:p>
                <a:endParaRPr lang="en-GB"/>
              </a:p>
            </p:txBody>
          </p:sp>
          <p:sp>
            <p:nvSpPr>
              <p:cNvPr id="1684" name="Vrije vorm: vorm 1683">
                <a:extLst>
                  <a:ext uri="{FF2B5EF4-FFF2-40B4-BE49-F238E27FC236}">
                    <a16:creationId xmlns:a16="http://schemas.microsoft.com/office/drawing/2014/main" id="{FE676BE5-7473-439F-BBA9-699028A8E43D}"/>
                  </a:ext>
                </a:extLst>
              </p:cNvPr>
              <p:cNvSpPr/>
              <p:nvPr/>
            </p:nvSpPr>
            <p:spPr>
              <a:xfrm>
                <a:off x="4334584" y="3441383"/>
                <a:ext cx="18347" cy="18408"/>
              </a:xfrm>
              <a:custGeom>
                <a:avLst/>
                <a:gdLst>
                  <a:gd name="connsiteX0" fmla="*/ 9832 w 18347"/>
                  <a:gd name="connsiteY0" fmla="*/ 24 h 18408"/>
                  <a:gd name="connsiteX1" fmla="*/ 18324 w 18347"/>
                  <a:gd name="connsiteY1" fmla="*/ 9892 h 18408"/>
                  <a:gd name="connsiteX2" fmla="*/ 8516 w 18347"/>
                  <a:gd name="connsiteY2" fmla="*/ 18384 h 18408"/>
                  <a:gd name="connsiteX3" fmla="*/ 23 w 18347"/>
                  <a:gd name="connsiteY3" fmla="*/ 8516 h 18408"/>
                  <a:gd name="connsiteX4" fmla="*/ 9832 w 18347"/>
                  <a:gd name="connsiteY4" fmla="*/ 2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8">
                    <a:moveTo>
                      <a:pt x="9832" y="24"/>
                    </a:moveTo>
                    <a:cubicBezTo>
                      <a:pt x="14855" y="382"/>
                      <a:pt x="18683" y="4808"/>
                      <a:pt x="18324" y="9892"/>
                    </a:cubicBezTo>
                    <a:cubicBezTo>
                      <a:pt x="17965" y="14975"/>
                      <a:pt x="13600" y="18743"/>
                      <a:pt x="8516" y="18384"/>
                    </a:cubicBezTo>
                    <a:cubicBezTo>
                      <a:pt x="3492" y="18026"/>
                      <a:pt x="-336" y="13600"/>
                      <a:pt x="23" y="8516"/>
                    </a:cubicBezTo>
                    <a:cubicBezTo>
                      <a:pt x="382" y="3433"/>
                      <a:pt x="4748" y="-335"/>
                      <a:pt x="9832" y="24"/>
                    </a:cubicBezTo>
                    <a:close/>
                  </a:path>
                </a:pathLst>
              </a:custGeom>
              <a:grpFill/>
              <a:ln w="5978" cap="flat">
                <a:noFill/>
                <a:prstDash val="solid"/>
                <a:miter/>
              </a:ln>
            </p:spPr>
            <p:txBody>
              <a:bodyPr rtlCol="0" anchor="ctr"/>
              <a:lstStyle/>
              <a:p>
                <a:endParaRPr lang="en-GB"/>
              </a:p>
            </p:txBody>
          </p:sp>
          <p:sp>
            <p:nvSpPr>
              <p:cNvPr id="1685" name="Vrije vorm: vorm 1684">
                <a:extLst>
                  <a:ext uri="{FF2B5EF4-FFF2-40B4-BE49-F238E27FC236}">
                    <a16:creationId xmlns:a16="http://schemas.microsoft.com/office/drawing/2014/main" id="{F747A794-52EF-4C32-9A9B-C97C24121438}"/>
                  </a:ext>
                </a:extLst>
              </p:cNvPr>
              <p:cNvSpPr/>
              <p:nvPr/>
            </p:nvSpPr>
            <p:spPr>
              <a:xfrm>
                <a:off x="3938720" y="3411420"/>
                <a:ext cx="18347" cy="18407"/>
              </a:xfrm>
              <a:custGeom>
                <a:avLst/>
                <a:gdLst>
                  <a:gd name="connsiteX0" fmla="*/ 9832 w 18347"/>
                  <a:gd name="connsiteY0" fmla="*/ 24 h 18407"/>
                  <a:gd name="connsiteX1" fmla="*/ 23 w 18347"/>
                  <a:gd name="connsiteY1" fmla="*/ 8516 h 18407"/>
                  <a:gd name="connsiteX2" fmla="*/ 8516 w 18347"/>
                  <a:gd name="connsiteY2" fmla="*/ 18384 h 18407"/>
                  <a:gd name="connsiteX3" fmla="*/ 18324 w 18347"/>
                  <a:gd name="connsiteY3" fmla="*/ 9892 h 18407"/>
                  <a:gd name="connsiteX4" fmla="*/ 9832 w 18347"/>
                  <a:gd name="connsiteY4" fmla="*/ 2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7">
                    <a:moveTo>
                      <a:pt x="9832" y="24"/>
                    </a:moveTo>
                    <a:cubicBezTo>
                      <a:pt x="4808" y="-335"/>
                      <a:pt x="382" y="3433"/>
                      <a:pt x="23" y="8516"/>
                    </a:cubicBezTo>
                    <a:cubicBezTo>
                      <a:pt x="-336" y="13600"/>
                      <a:pt x="3492" y="18025"/>
                      <a:pt x="8516" y="18384"/>
                    </a:cubicBezTo>
                    <a:cubicBezTo>
                      <a:pt x="13540" y="18743"/>
                      <a:pt x="17965" y="14975"/>
                      <a:pt x="18324" y="9892"/>
                    </a:cubicBezTo>
                    <a:cubicBezTo>
                      <a:pt x="18683" y="4808"/>
                      <a:pt x="14915" y="382"/>
                      <a:pt x="9832" y="24"/>
                    </a:cubicBezTo>
                    <a:close/>
                  </a:path>
                </a:pathLst>
              </a:custGeom>
              <a:grpFill/>
              <a:ln w="5978" cap="flat">
                <a:noFill/>
                <a:prstDash val="solid"/>
                <a:miter/>
              </a:ln>
            </p:spPr>
            <p:txBody>
              <a:bodyPr rtlCol="0" anchor="ctr"/>
              <a:lstStyle/>
              <a:p>
                <a:endParaRPr lang="en-GB"/>
              </a:p>
            </p:txBody>
          </p:sp>
        </p:grpSp>
        <p:grpSp>
          <p:nvGrpSpPr>
            <p:cNvPr id="1241" name="Graphic 3">
              <a:extLst>
                <a:ext uri="{FF2B5EF4-FFF2-40B4-BE49-F238E27FC236}">
                  <a16:creationId xmlns:a16="http://schemas.microsoft.com/office/drawing/2014/main" id="{A6C2577A-D742-40F2-9D32-C6D5B7530082}"/>
                </a:ext>
              </a:extLst>
            </p:cNvPr>
            <p:cNvGrpSpPr/>
            <p:nvPr/>
          </p:nvGrpSpPr>
          <p:grpSpPr>
            <a:xfrm>
              <a:off x="4591993" y="4913726"/>
              <a:ext cx="136469" cy="151701"/>
              <a:chOff x="4591993" y="4913726"/>
              <a:chExt cx="136469" cy="151701"/>
            </a:xfrm>
            <a:grpFill/>
          </p:grpSpPr>
          <p:sp>
            <p:nvSpPr>
              <p:cNvPr id="1680" name="Vrije vorm: vorm 1679">
                <a:extLst>
                  <a:ext uri="{FF2B5EF4-FFF2-40B4-BE49-F238E27FC236}">
                    <a16:creationId xmlns:a16="http://schemas.microsoft.com/office/drawing/2014/main" id="{897E57C6-6210-4655-91C3-92BEB92451F2}"/>
                  </a:ext>
                </a:extLst>
              </p:cNvPr>
              <p:cNvSpPr/>
              <p:nvPr/>
            </p:nvSpPr>
            <p:spPr>
              <a:xfrm>
                <a:off x="4599673" y="4921576"/>
                <a:ext cx="121109" cy="136001"/>
              </a:xfrm>
              <a:custGeom>
                <a:avLst/>
                <a:gdLst>
                  <a:gd name="connsiteX0" fmla="*/ 121110 w 121109"/>
                  <a:gd name="connsiteY0" fmla="*/ 2033 h 136001"/>
                  <a:gd name="connsiteX1" fmla="*/ 2273 w 121109"/>
                  <a:gd name="connsiteY1" fmla="*/ 136002 h 136001"/>
                  <a:gd name="connsiteX2" fmla="*/ 0 w 121109"/>
                  <a:gd name="connsiteY2" fmla="*/ 133908 h 136001"/>
                  <a:gd name="connsiteX3" fmla="*/ 118777 w 121109"/>
                  <a:gd name="connsiteY3" fmla="*/ 0 h 136001"/>
                </a:gdLst>
                <a:ahLst/>
                <a:cxnLst>
                  <a:cxn ang="0">
                    <a:pos x="connsiteX0" y="connsiteY0"/>
                  </a:cxn>
                  <a:cxn ang="0">
                    <a:pos x="connsiteX1" y="connsiteY1"/>
                  </a:cxn>
                  <a:cxn ang="0">
                    <a:pos x="connsiteX2" y="connsiteY2"/>
                  </a:cxn>
                  <a:cxn ang="0">
                    <a:pos x="connsiteX3" y="connsiteY3"/>
                  </a:cxn>
                </a:cxnLst>
                <a:rect l="l" t="t" r="r" b="b"/>
                <a:pathLst>
                  <a:path w="121109" h="136001">
                    <a:moveTo>
                      <a:pt x="121110" y="2033"/>
                    </a:moveTo>
                    <a:lnTo>
                      <a:pt x="2273" y="136002"/>
                    </a:lnTo>
                    <a:lnTo>
                      <a:pt x="0" y="133908"/>
                    </a:lnTo>
                    <a:lnTo>
                      <a:pt x="118777" y="0"/>
                    </a:lnTo>
                    <a:close/>
                  </a:path>
                </a:pathLst>
              </a:custGeom>
              <a:grpFill/>
              <a:ln w="5978" cap="flat">
                <a:noFill/>
                <a:prstDash val="solid"/>
                <a:miter/>
              </a:ln>
            </p:spPr>
            <p:txBody>
              <a:bodyPr rtlCol="0" anchor="ctr"/>
              <a:lstStyle/>
              <a:p>
                <a:endParaRPr lang="en-GB"/>
              </a:p>
            </p:txBody>
          </p:sp>
          <p:sp>
            <p:nvSpPr>
              <p:cNvPr id="1681" name="Vrije vorm: vorm 1680">
                <a:extLst>
                  <a:ext uri="{FF2B5EF4-FFF2-40B4-BE49-F238E27FC236}">
                    <a16:creationId xmlns:a16="http://schemas.microsoft.com/office/drawing/2014/main" id="{B6D417DD-344A-4A54-B17B-4AD8D569C584}"/>
                  </a:ext>
                </a:extLst>
              </p:cNvPr>
              <p:cNvSpPr/>
              <p:nvPr/>
            </p:nvSpPr>
            <p:spPr>
              <a:xfrm>
                <a:off x="4591993" y="5046976"/>
                <a:ext cx="18290" cy="18450"/>
              </a:xfrm>
              <a:custGeom>
                <a:avLst/>
                <a:gdLst>
                  <a:gd name="connsiteX0" fmla="*/ 15993 w 18290"/>
                  <a:gd name="connsiteY0" fmla="*/ 15386 h 18450"/>
                  <a:gd name="connsiteX1" fmla="*/ 3075 w 18290"/>
                  <a:gd name="connsiteY1" fmla="*/ 16103 h 18450"/>
                  <a:gd name="connsiteX2" fmla="*/ 2297 w 18290"/>
                  <a:gd name="connsiteY2" fmla="*/ 3065 h 18450"/>
                  <a:gd name="connsiteX3" fmla="*/ 15216 w 18290"/>
                  <a:gd name="connsiteY3" fmla="*/ 2348 h 18450"/>
                  <a:gd name="connsiteX4" fmla="*/ 15993 w 18290"/>
                  <a:gd name="connsiteY4" fmla="*/ 1538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50">
                    <a:moveTo>
                      <a:pt x="15993" y="15386"/>
                    </a:moveTo>
                    <a:cubicBezTo>
                      <a:pt x="12644" y="19153"/>
                      <a:pt x="6843" y="19512"/>
                      <a:pt x="3075" y="16103"/>
                    </a:cubicBezTo>
                    <a:cubicBezTo>
                      <a:pt x="-693" y="12694"/>
                      <a:pt x="-1052" y="6893"/>
                      <a:pt x="2297" y="3065"/>
                    </a:cubicBezTo>
                    <a:cubicBezTo>
                      <a:pt x="5646" y="-703"/>
                      <a:pt x="11448" y="-1061"/>
                      <a:pt x="15216" y="2348"/>
                    </a:cubicBezTo>
                    <a:cubicBezTo>
                      <a:pt x="18984" y="5757"/>
                      <a:pt x="19342" y="11558"/>
                      <a:pt x="15993" y="15386"/>
                    </a:cubicBezTo>
                    <a:close/>
                  </a:path>
                </a:pathLst>
              </a:custGeom>
              <a:grpFill/>
              <a:ln w="5978" cap="flat">
                <a:noFill/>
                <a:prstDash val="solid"/>
                <a:miter/>
              </a:ln>
            </p:spPr>
            <p:txBody>
              <a:bodyPr rtlCol="0" anchor="ctr"/>
              <a:lstStyle/>
              <a:p>
                <a:endParaRPr lang="en-GB"/>
              </a:p>
            </p:txBody>
          </p:sp>
          <p:sp>
            <p:nvSpPr>
              <p:cNvPr id="1682" name="Vrije vorm: vorm 1681">
                <a:extLst>
                  <a:ext uri="{FF2B5EF4-FFF2-40B4-BE49-F238E27FC236}">
                    <a16:creationId xmlns:a16="http://schemas.microsoft.com/office/drawing/2014/main" id="{1197A5E1-1B33-44E6-B065-FB014451578E}"/>
                  </a:ext>
                </a:extLst>
              </p:cNvPr>
              <p:cNvSpPr/>
              <p:nvPr/>
            </p:nvSpPr>
            <p:spPr>
              <a:xfrm>
                <a:off x="4710172" y="4913726"/>
                <a:ext cx="18290" cy="18426"/>
              </a:xfrm>
              <a:custGeom>
                <a:avLst/>
                <a:gdLst>
                  <a:gd name="connsiteX0" fmla="*/ 15993 w 18290"/>
                  <a:gd name="connsiteY0" fmla="*/ 15386 h 18426"/>
                  <a:gd name="connsiteX1" fmla="*/ 15216 w 18290"/>
                  <a:gd name="connsiteY1" fmla="*/ 2348 h 18426"/>
                  <a:gd name="connsiteX2" fmla="*/ 2297 w 18290"/>
                  <a:gd name="connsiteY2" fmla="*/ 3065 h 18426"/>
                  <a:gd name="connsiteX3" fmla="*/ 3075 w 18290"/>
                  <a:gd name="connsiteY3" fmla="*/ 16103 h 18426"/>
                  <a:gd name="connsiteX4" fmla="*/ 15993 w 18290"/>
                  <a:gd name="connsiteY4" fmla="*/ 15386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26">
                    <a:moveTo>
                      <a:pt x="15993" y="15386"/>
                    </a:moveTo>
                    <a:cubicBezTo>
                      <a:pt x="19342" y="11618"/>
                      <a:pt x="18984" y="5756"/>
                      <a:pt x="15216" y="2348"/>
                    </a:cubicBezTo>
                    <a:cubicBezTo>
                      <a:pt x="11448" y="-1061"/>
                      <a:pt x="5646" y="-703"/>
                      <a:pt x="2297" y="3065"/>
                    </a:cubicBezTo>
                    <a:cubicBezTo>
                      <a:pt x="-1052" y="6833"/>
                      <a:pt x="-693" y="12694"/>
                      <a:pt x="3075" y="16103"/>
                    </a:cubicBezTo>
                    <a:cubicBezTo>
                      <a:pt x="6843" y="19452"/>
                      <a:pt x="12644" y="19153"/>
                      <a:pt x="15993" y="15386"/>
                    </a:cubicBezTo>
                    <a:close/>
                  </a:path>
                </a:pathLst>
              </a:custGeom>
              <a:grpFill/>
              <a:ln w="5978" cap="flat">
                <a:noFill/>
                <a:prstDash val="solid"/>
                <a:miter/>
              </a:ln>
            </p:spPr>
            <p:txBody>
              <a:bodyPr rtlCol="0" anchor="ctr"/>
              <a:lstStyle/>
              <a:p>
                <a:endParaRPr lang="en-GB"/>
              </a:p>
            </p:txBody>
          </p:sp>
        </p:grpSp>
        <p:grpSp>
          <p:nvGrpSpPr>
            <p:cNvPr id="1242" name="Graphic 3">
              <a:extLst>
                <a:ext uri="{FF2B5EF4-FFF2-40B4-BE49-F238E27FC236}">
                  <a16:creationId xmlns:a16="http://schemas.microsoft.com/office/drawing/2014/main" id="{EF7BFB51-C122-45CC-A6B9-5887C5E1DA81}"/>
                </a:ext>
              </a:extLst>
            </p:cNvPr>
            <p:cNvGrpSpPr/>
            <p:nvPr/>
          </p:nvGrpSpPr>
          <p:grpSpPr>
            <a:xfrm>
              <a:off x="4302852" y="3976026"/>
              <a:ext cx="48319" cy="28402"/>
              <a:chOff x="4302852" y="3976026"/>
              <a:chExt cx="48319" cy="28402"/>
            </a:xfrm>
            <a:grpFill/>
          </p:grpSpPr>
          <p:sp>
            <p:nvSpPr>
              <p:cNvPr id="1677" name="Vrije vorm: vorm 1676">
                <a:extLst>
                  <a:ext uri="{FF2B5EF4-FFF2-40B4-BE49-F238E27FC236}">
                    <a16:creationId xmlns:a16="http://schemas.microsoft.com/office/drawing/2014/main" id="{22A13521-C374-45EB-9B32-551B71CDADFE}"/>
                  </a:ext>
                </a:extLst>
              </p:cNvPr>
              <p:cNvSpPr/>
              <p:nvPr/>
            </p:nvSpPr>
            <p:spPr>
              <a:xfrm>
                <a:off x="4311271" y="3983852"/>
                <a:ext cx="31781" cy="13137"/>
              </a:xfrm>
              <a:custGeom>
                <a:avLst/>
                <a:gdLst>
                  <a:gd name="connsiteX0" fmla="*/ 0 w 31781"/>
                  <a:gd name="connsiteY0" fmla="*/ 10243 h 13137"/>
                  <a:gd name="connsiteX1" fmla="*/ 30819 w 31781"/>
                  <a:gd name="connsiteY1" fmla="*/ 0 h 13137"/>
                  <a:gd name="connsiteX2" fmla="*/ 31781 w 31781"/>
                  <a:gd name="connsiteY2" fmla="*/ 2895 h 13137"/>
                  <a:gd name="connsiteX3" fmla="*/ 962 w 31781"/>
                  <a:gd name="connsiteY3" fmla="*/ 13138 h 13137"/>
                </a:gdLst>
                <a:ahLst/>
                <a:cxnLst>
                  <a:cxn ang="0">
                    <a:pos x="connsiteX0" y="connsiteY0"/>
                  </a:cxn>
                  <a:cxn ang="0">
                    <a:pos x="connsiteX1" y="connsiteY1"/>
                  </a:cxn>
                  <a:cxn ang="0">
                    <a:pos x="connsiteX2" y="connsiteY2"/>
                  </a:cxn>
                  <a:cxn ang="0">
                    <a:pos x="connsiteX3" y="connsiteY3"/>
                  </a:cxn>
                </a:cxnLst>
                <a:rect l="l" t="t" r="r" b="b"/>
                <a:pathLst>
                  <a:path w="31781" h="13137">
                    <a:moveTo>
                      <a:pt x="0" y="10243"/>
                    </a:moveTo>
                    <a:lnTo>
                      <a:pt x="30819" y="0"/>
                    </a:lnTo>
                    <a:lnTo>
                      <a:pt x="31781" y="2895"/>
                    </a:lnTo>
                    <a:lnTo>
                      <a:pt x="962" y="13138"/>
                    </a:lnTo>
                    <a:close/>
                  </a:path>
                </a:pathLst>
              </a:custGeom>
              <a:grpFill/>
              <a:ln w="5978" cap="flat">
                <a:noFill/>
                <a:prstDash val="solid"/>
                <a:miter/>
              </a:ln>
            </p:spPr>
            <p:txBody>
              <a:bodyPr rtlCol="0" anchor="ctr"/>
              <a:lstStyle/>
              <a:p>
                <a:endParaRPr lang="en-GB"/>
              </a:p>
            </p:txBody>
          </p:sp>
          <p:sp>
            <p:nvSpPr>
              <p:cNvPr id="1678" name="Vrije vorm: vorm 1677">
                <a:extLst>
                  <a:ext uri="{FF2B5EF4-FFF2-40B4-BE49-F238E27FC236}">
                    <a16:creationId xmlns:a16="http://schemas.microsoft.com/office/drawing/2014/main" id="{11FFCE8B-FE31-4545-BC05-952B5A3688F8}"/>
                  </a:ext>
                </a:extLst>
              </p:cNvPr>
              <p:cNvSpPr/>
              <p:nvPr/>
            </p:nvSpPr>
            <p:spPr>
              <a:xfrm>
                <a:off x="4332839" y="3976026"/>
                <a:ext cx="18333" cy="18474"/>
              </a:xfrm>
              <a:custGeom>
                <a:avLst/>
                <a:gdLst>
                  <a:gd name="connsiteX0" fmla="*/ 6254 w 18333"/>
                  <a:gd name="connsiteY0" fmla="*/ 476 h 18474"/>
                  <a:gd name="connsiteX1" fmla="*/ 17857 w 18333"/>
                  <a:gd name="connsiteY1" fmla="*/ 6337 h 18474"/>
                  <a:gd name="connsiteX2" fmla="*/ 12056 w 18333"/>
                  <a:gd name="connsiteY2" fmla="*/ 17999 h 18474"/>
                  <a:gd name="connsiteX3" fmla="*/ 453 w 18333"/>
                  <a:gd name="connsiteY3" fmla="*/ 12138 h 18474"/>
                  <a:gd name="connsiteX4" fmla="*/ 6254 w 18333"/>
                  <a:gd name="connsiteY4" fmla="*/ 476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74">
                    <a:moveTo>
                      <a:pt x="6254" y="476"/>
                    </a:moveTo>
                    <a:cubicBezTo>
                      <a:pt x="11039" y="-1139"/>
                      <a:pt x="16242" y="1492"/>
                      <a:pt x="17857" y="6337"/>
                    </a:cubicBezTo>
                    <a:cubicBezTo>
                      <a:pt x="19472" y="11181"/>
                      <a:pt x="16840" y="16385"/>
                      <a:pt x="12056" y="17999"/>
                    </a:cubicBezTo>
                    <a:cubicBezTo>
                      <a:pt x="7271" y="19614"/>
                      <a:pt x="2068" y="16982"/>
                      <a:pt x="453" y="12138"/>
                    </a:cubicBezTo>
                    <a:cubicBezTo>
                      <a:pt x="-1102" y="7294"/>
                      <a:pt x="1470" y="2091"/>
                      <a:pt x="6254" y="476"/>
                    </a:cubicBezTo>
                    <a:close/>
                  </a:path>
                </a:pathLst>
              </a:custGeom>
              <a:grpFill/>
              <a:ln w="5978" cap="flat">
                <a:noFill/>
                <a:prstDash val="solid"/>
                <a:miter/>
              </a:ln>
            </p:spPr>
            <p:txBody>
              <a:bodyPr rtlCol="0" anchor="ctr"/>
              <a:lstStyle/>
              <a:p>
                <a:endParaRPr lang="en-GB"/>
              </a:p>
            </p:txBody>
          </p:sp>
          <p:sp>
            <p:nvSpPr>
              <p:cNvPr id="1679" name="Vrije vorm: vorm 1678">
                <a:extLst>
                  <a:ext uri="{FF2B5EF4-FFF2-40B4-BE49-F238E27FC236}">
                    <a16:creationId xmlns:a16="http://schemas.microsoft.com/office/drawing/2014/main" id="{6562D332-1BD1-4286-BC93-4AE7AF87C612}"/>
                  </a:ext>
                </a:extLst>
              </p:cNvPr>
              <p:cNvSpPr/>
              <p:nvPr/>
            </p:nvSpPr>
            <p:spPr>
              <a:xfrm>
                <a:off x="4302852" y="3985983"/>
                <a:ext cx="18355" cy="18446"/>
              </a:xfrm>
              <a:custGeom>
                <a:avLst/>
                <a:gdLst>
                  <a:gd name="connsiteX0" fmla="*/ 6277 w 18355"/>
                  <a:gd name="connsiteY0" fmla="*/ 447 h 18446"/>
                  <a:gd name="connsiteX1" fmla="*/ 476 w 18355"/>
                  <a:gd name="connsiteY1" fmla="*/ 12109 h 18446"/>
                  <a:gd name="connsiteX2" fmla="*/ 12079 w 18355"/>
                  <a:gd name="connsiteY2" fmla="*/ 17971 h 18446"/>
                  <a:gd name="connsiteX3" fmla="*/ 17880 w 18355"/>
                  <a:gd name="connsiteY3" fmla="*/ 6308 h 18446"/>
                  <a:gd name="connsiteX4" fmla="*/ 6277 w 18355"/>
                  <a:gd name="connsiteY4" fmla="*/ 447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46">
                    <a:moveTo>
                      <a:pt x="6277" y="447"/>
                    </a:moveTo>
                    <a:cubicBezTo>
                      <a:pt x="1493" y="2062"/>
                      <a:pt x="-1139" y="7265"/>
                      <a:pt x="476" y="12109"/>
                    </a:cubicBezTo>
                    <a:cubicBezTo>
                      <a:pt x="2091" y="16954"/>
                      <a:pt x="7294" y="19585"/>
                      <a:pt x="12079" y="17971"/>
                    </a:cubicBezTo>
                    <a:cubicBezTo>
                      <a:pt x="16863" y="16356"/>
                      <a:pt x="19495" y="11153"/>
                      <a:pt x="17880" y="6308"/>
                    </a:cubicBezTo>
                    <a:cubicBezTo>
                      <a:pt x="16265" y="1524"/>
                      <a:pt x="11062" y="-1108"/>
                      <a:pt x="6277" y="447"/>
                    </a:cubicBezTo>
                    <a:close/>
                  </a:path>
                </a:pathLst>
              </a:custGeom>
              <a:grpFill/>
              <a:ln w="5978" cap="flat">
                <a:noFill/>
                <a:prstDash val="solid"/>
                <a:miter/>
              </a:ln>
            </p:spPr>
            <p:txBody>
              <a:bodyPr rtlCol="0" anchor="ctr"/>
              <a:lstStyle/>
              <a:p>
                <a:endParaRPr lang="en-GB"/>
              </a:p>
            </p:txBody>
          </p:sp>
        </p:grpSp>
        <p:grpSp>
          <p:nvGrpSpPr>
            <p:cNvPr id="1243" name="Graphic 3">
              <a:extLst>
                <a:ext uri="{FF2B5EF4-FFF2-40B4-BE49-F238E27FC236}">
                  <a16:creationId xmlns:a16="http://schemas.microsoft.com/office/drawing/2014/main" id="{3841AF03-3936-4505-88F4-7959F8410DE3}"/>
                </a:ext>
              </a:extLst>
            </p:cNvPr>
            <p:cNvGrpSpPr/>
            <p:nvPr/>
          </p:nvGrpSpPr>
          <p:grpSpPr>
            <a:xfrm>
              <a:off x="4584347" y="4874321"/>
              <a:ext cx="129214" cy="138766"/>
              <a:chOff x="4584347" y="4874321"/>
              <a:chExt cx="129214" cy="138766"/>
            </a:xfrm>
            <a:grpFill/>
          </p:grpSpPr>
          <p:sp>
            <p:nvSpPr>
              <p:cNvPr id="1674" name="Vrije vorm: vorm 1673">
                <a:extLst>
                  <a:ext uri="{FF2B5EF4-FFF2-40B4-BE49-F238E27FC236}">
                    <a16:creationId xmlns:a16="http://schemas.microsoft.com/office/drawing/2014/main" id="{E81416B9-0856-46AC-98B0-67745078BFA2}"/>
                  </a:ext>
                </a:extLst>
              </p:cNvPr>
              <p:cNvSpPr/>
              <p:nvPr/>
            </p:nvSpPr>
            <p:spPr>
              <a:xfrm>
                <a:off x="4592137" y="4882163"/>
                <a:ext cx="113693" cy="123143"/>
              </a:xfrm>
              <a:custGeom>
                <a:avLst/>
                <a:gdLst>
                  <a:gd name="connsiteX0" fmla="*/ 113694 w 113693"/>
                  <a:gd name="connsiteY0" fmla="*/ 2093 h 123143"/>
                  <a:gd name="connsiteX1" fmla="*/ 2213 w 113693"/>
                  <a:gd name="connsiteY1" fmla="*/ 123143 h 123143"/>
                  <a:gd name="connsiteX2" fmla="*/ 0 w 113693"/>
                  <a:gd name="connsiteY2" fmla="*/ 121050 h 123143"/>
                  <a:gd name="connsiteX3" fmla="*/ 111421 w 113693"/>
                  <a:gd name="connsiteY3" fmla="*/ 0 h 123143"/>
                </a:gdLst>
                <a:ahLst/>
                <a:cxnLst>
                  <a:cxn ang="0">
                    <a:pos x="connsiteX0" y="connsiteY0"/>
                  </a:cxn>
                  <a:cxn ang="0">
                    <a:pos x="connsiteX1" y="connsiteY1"/>
                  </a:cxn>
                  <a:cxn ang="0">
                    <a:pos x="connsiteX2" y="connsiteY2"/>
                  </a:cxn>
                  <a:cxn ang="0">
                    <a:pos x="connsiteX3" y="connsiteY3"/>
                  </a:cxn>
                </a:cxnLst>
                <a:rect l="l" t="t" r="r" b="b"/>
                <a:pathLst>
                  <a:path w="113693" h="123143">
                    <a:moveTo>
                      <a:pt x="113694" y="2093"/>
                    </a:moveTo>
                    <a:lnTo>
                      <a:pt x="2213" y="123143"/>
                    </a:lnTo>
                    <a:lnTo>
                      <a:pt x="0" y="121050"/>
                    </a:lnTo>
                    <a:lnTo>
                      <a:pt x="111421" y="0"/>
                    </a:lnTo>
                    <a:close/>
                  </a:path>
                </a:pathLst>
              </a:custGeom>
              <a:grpFill/>
              <a:ln w="5978" cap="flat">
                <a:noFill/>
                <a:prstDash val="solid"/>
                <a:miter/>
              </a:ln>
            </p:spPr>
            <p:txBody>
              <a:bodyPr rtlCol="0" anchor="ctr"/>
              <a:lstStyle/>
              <a:p>
                <a:endParaRPr lang="en-GB"/>
              </a:p>
            </p:txBody>
          </p:sp>
          <p:sp>
            <p:nvSpPr>
              <p:cNvPr id="1675" name="Vrije vorm: vorm 1674">
                <a:extLst>
                  <a:ext uri="{FF2B5EF4-FFF2-40B4-BE49-F238E27FC236}">
                    <a16:creationId xmlns:a16="http://schemas.microsoft.com/office/drawing/2014/main" id="{65C1BAFC-A532-4C9C-A31D-ECC8820A8F87}"/>
                  </a:ext>
                </a:extLst>
              </p:cNvPr>
              <p:cNvSpPr/>
              <p:nvPr/>
            </p:nvSpPr>
            <p:spPr>
              <a:xfrm>
                <a:off x="4584347" y="4994653"/>
                <a:ext cx="18376" cy="18434"/>
              </a:xfrm>
              <a:custGeom>
                <a:avLst/>
                <a:gdLst>
                  <a:gd name="connsiteX0" fmla="*/ 15924 w 18376"/>
                  <a:gd name="connsiteY0" fmla="*/ 15497 h 18434"/>
                  <a:gd name="connsiteX1" fmla="*/ 2946 w 18376"/>
                  <a:gd name="connsiteY1" fmla="*/ 15975 h 18434"/>
                  <a:gd name="connsiteX2" fmla="*/ 2408 w 18376"/>
                  <a:gd name="connsiteY2" fmla="*/ 2937 h 18434"/>
                  <a:gd name="connsiteX3" fmla="*/ 15386 w 18376"/>
                  <a:gd name="connsiteY3" fmla="*/ 2459 h 18434"/>
                  <a:gd name="connsiteX4" fmla="*/ 15924 w 18376"/>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6" h="18434">
                    <a:moveTo>
                      <a:pt x="15924" y="15497"/>
                    </a:moveTo>
                    <a:cubicBezTo>
                      <a:pt x="12515" y="19205"/>
                      <a:pt x="6714" y="19444"/>
                      <a:pt x="2946" y="15975"/>
                    </a:cubicBezTo>
                    <a:cubicBezTo>
                      <a:pt x="-762" y="12507"/>
                      <a:pt x="-1001" y="6705"/>
                      <a:pt x="2408" y="2937"/>
                    </a:cubicBezTo>
                    <a:cubicBezTo>
                      <a:pt x="5817" y="-771"/>
                      <a:pt x="11618" y="-1010"/>
                      <a:pt x="15386" y="2459"/>
                    </a:cubicBezTo>
                    <a:cubicBezTo>
                      <a:pt x="19154" y="5987"/>
                      <a:pt x="19393" y="11789"/>
                      <a:pt x="15924" y="15497"/>
                    </a:cubicBezTo>
                    <a:close/>
                  </a:path>
                </a:pathLst>
              </a:custGeom>
              <a:grpFill/>
              <a:ln w="5978" cap="flat">
                <a:noFill/>
                <a:prstDash val="solid"/>
                <a:miter/>
              </a:ln>
            </p:spPr>
            <p:txBody>
              <a:bodyPr rtlCol="0" anchor="ctr"/>
              <a:lstStyle/>
              <a:p>
                <a:endParaRPr lang="en-GB"/>
              </a:p>
            </p:txBody>
          </p:sp>
          <p:sp>
            <p:nvSpPr>
              <p:cNvPr id="1676" name="Vrije vorm: vorm 1675">
                <a:extLst>
                  <a:ext uri="{FF2B5EF4-FFF2-40B4-BE49-F238E27FC236}">
                    <a16:creationId xmlns:a16="http://schemas.microsoft.com/office/drawing/2014/main" id="{B829B371-F2F6-48F0-9118-63E464E895F9}"/>
                  </a:ext>
                </a:extLst>
              </p:cNvPr>
              <p:cNvSpPr/>
              <p:nvPr/>
            </p:nvSpPr>
            <p:spPr>
              <a:xfrm>
                <a:off x="4695229" y="4874321"/>
                <a:ext cx="18331" cy="18434"/>
              </a:xfrm>
              <a:custGeom>
                <a:avLst/>
                <a:gdLst>
                  <a:gd name="connsiteX0" fmla="*/ 15924 w 18331"/>
                  <a:gd name="connsiteY0" fmla="*/ 15497 h 18434"/>
                  <a:gd name="connsiteX1" fmla="*/ 15386 w 18331"/>
                  <a:gd name="connsiteY1" fmla="*/ 2459 h 18434"/>
                  <a:gd name="connsiteX2" fmla="*/ 2408 w 18331"/>
                  <a:gd name="connsiteY2" fmla="*/ 2937 h 18434"/>
                  <a:gd name="connsiteX3" fmla="*/ 2946 w 18331"/>
                  <a:gd name="connsiteY3" fmla="*/ 15975 h 18434"/>
                  <a:gd name="connsiteX4" fmla="*/ 15924 w 18331"/>
                  <a:gd name="connsiteY4" fmla="*/ 15497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34">
                    <a:moveTo>
                      <a:pt x="15924" y="15497"/>
                    </a:moveTo>
                    <a:cubicBezTo>
                      <a:pt x="19333" y="11789"/>
                      <a:pt x="19094" y="5928"/>
                      <a:pt x="15386" y="2459"/>
                    </a:cubicBezTo>
                    <a:cubicBezTo>
                      <a:pt x="11678" y="-1010"/>
                      <a:pt x="5877" y="-771"/>
                      <a:pt x="2408" y="2937"/>
                    </a:cubicBezTo>
                    <a:cubicBezTo>
                      <a:pt x="-1001" y="6645"/>
                      <a:pt x="-762" y="12507"/>
                      <a:pt x="2946" y="15975"/>
                    </a:cubicBezTo>
                    <a:cubicBezTo>
                      <a:pt x="6654" y="19444"/>
                      <a:pt x="12455" y="19205"/>
                      <a:pt x="15924" y="15497"/>
                    </a:cubicBezTo>
                    <a:close/>
                  </a:path>
                </a:pathLst>
              </a:custGeom>
              <a:grpFill/>
              <a:ln w="5978" cap="flat">
                <a:noFill/>
                <a:prstDash val="solid"/>
                <a:miter/>
              </a:ln>
            </p:spPr>
            <p:txBody>
              <a:bodyPr rtlCol="0" anchor="ctr"/>
              <a:lstStyle/>
              <a:p>
                <a:endParaRPr lang="en-GB"/>
              </a:p>
            </p:txBody>
          </p:sp>
        </p:grpSp>
        <p:grpSp>
          <p:nvGrpSpPr>
            <p:cNvPr id="1244" name="Graphic 3">
              <a:extLst>
                <a:ext uri="{FF2B5EF4-FFF2-40B4-BE49-F238E27FC236}">
                  <a16:creationId xmlns:a16="http://schemas.microsoft.com/office/drawing/2014/main" id="{2CB3753D-FF08-46BE-952B-E600E9B6BF3D}"/>
                </a:ext>
              </a:extLst>
            </p:cNvPr>
            <p:cNvGrpSpPr/>
            <p:nvPr/>
          </p:nvGrpSpPr>
          <p:grpSpPr>
            <a:xfrm>
              <a:off x="3856562" y="3122078"/>
              <a:ext cx="372862" cy="64747"/>
              <a:chOff x="3856562" y="3122078"/>
              <a:chExt cx="372862" cy="64747"/>
            </a:xfrm>
            <a:grpFill/>
          </p:grpSpPr>
          <p:sp>
            <p:nvSpPr>
              <p:cNvPr id="1671" name="Vrije vorm: vorm 1670">
                <a:extLst>
                  <a:ext uri="{FF2B5EF4-FFF2-40B4-BE49-F238E27FC236}">
                    <a16:creationId xmlns:a16="http://schemas.microsoft.com/office/drawing/2014/main" id="{E6CF3742-EACE-45E2-B230-870E9D5CD3A7}"/>
                  </a:ext>
                </a:extLst>
              </p:cNvPr>
              <p:cNvSpPr/>
              <p:nvPr/>
            </p:nvSpPr>
            <p:spPr>
              <a:xfrm>
                <a:off x="3865061" y="3129752"/>
                <a:ext cx="355793" cy="49400"/>
              </a:xfrm>
              <a:custGeom>
                <a:avLst/>
                <a:gdLst>
                  <a:gd name="connsiteX0" fmla="*/ 355793 w 355793"/>
                  <a:gd name="connsiteY0" fmla="*/ 46410 h 49400"/>
                  <a:gd name="connsiteX1" fmla="*/ 355434 w 355793"/>
                  <a:gd name="connsiteY1" fmla="*/ 49401 h 49400"/>
                  <a:gd name="connsiteX2" fmla="*/ 0 w 355793"/>
                  <a:gd name="connsiteY2" fmla="*/ 3050 h 49400"/>
                  <a:gd name="connsiteX3" fmla="*/ 359 w 355793"/>
                  <a:gd name="connsiteY3" fmla="*/ 0 h 49400"/>
                </a:gdLst>
                <a:ahLst/>
                <a:cxnLst>
                  <a:cxn ang="0">
                    <a:pos x="connsiteX0" y="connsiteY0"/>
                  </a:cxn>
                  <a:cxn ang="0">
                    <a:pos x="connsiteX1" y="connsiteY1"/>
                  </a:cxn>
                  <a:cxn ang="0">
                    <a:pos x="connsiteX2" y="connsiteY2"/>
                  </a:cxn>
                  <a:cxn ang="0">
                    <a:pos x="connsiteX3" y="connsiteY3"/>
                  </a:cxn>
                </a:cxnLst>
                <a:rect l="l" t="t" r="r" b="b"/>
                <a:pathLst>
                  <a:path w="355793" h="49400">
                    <a:moveTo>
                      <a:pt x="355793" y="46410"/>
                    </a:moveTo>
                    <a:lnTo>
                      <a:pt x="355434" y="49401"/>
                    </a:lnTo>
                    <a:lnTo>
                      <a:pt x="0" y="3050"/>
                    </a:lnTo>
                    <a:lnTo>
                      <a:pt x="359" y="0"/>
                    </a:lnTo>
                    <a:close/>
                  </a:path>
                </a:pathLst>
              </a:custGeom>
              <a:grpFill/>
              <a:ln w="5978" cap="flat">
                <a:noFill/>
                <a:prstDash val="solid"/>
                <a:miter/>
              </a:ln>
            </p:spPr>
            <p:txBody>
              <a:bodyPr rtlCol="0" anchor="ctr"/>
              <a:lstStyle/>
              <a:p>
                <a:endParaRPr lang="en-GB"/>
              </a:p>
            </p:txBody>
          </p:sp>
          <p:sp>
            <p:nvSpPr>
              <p:cNvPr id="1672" name="Vrije vorm: vorm 1671">
                <a:extLst>
                  <a:ext uri="{FF2B5EF4-FFF2-40B4-BE49-F238E27FC236}">
                    <a16:creationId xmlns:a16="http://schemas.microsoft.com/office/drawing/2014/main" id="{C644C4B1-AAA5-4484-AD4D-89DED1637C35}"/>
                  </a:ext>
                </a:extLst>
              </p:cNvPr>
              <p:cNvSpPr/>
              <p:nvPr/>
            </p:nvSpPr>
            <p:spPr>
              <a:xfrm>
                <a:off x="3856562" y="3122078"/>
                <a:ext cx="18325" cy="18457"/>
              </a:xfrm>
              <a:custGeom>
                <a:avLst/>
                <a:gdLst>
                  <a:gd name="connsiteX0" fmla="*/ 8020 w 18325"/>
                  <a:gd name="connsiteY0" fmla="*/ 18379 h 18457"/>
                  <a:gd name="connsiteX1" fmla="*/ 66 w 18325"/>
                  <a:gd name="connsiteY1" fmla="*/ 8032 h 18457"/>
                  <a:gd name="connsiteX2" fmla="*/ 10293 w 18325"/>
                  <a:gd name="connsiteY2" fmla="*/ 78 h 18457"/>
                  <a:gd name="connsiteX3" fmla="*/ 18247 w 18325"/>
                  <a:gd name="connsiteY3" fmla="*/ 10424 h 18457"/>
                  <a:gd name="connsiteX4" fmla="*/ 8020 w 18325"/>
                  <a:gd name="connsiteY4" fmla="*/ 18379 h 1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7">
                    <a:moveTo>
                      <a:pt x="8020" y="18379"/>
                    </a:moveTo>
                    <a:cubicBezTo>
                      <a:pt x="2997" y="17721"/>
                      <a:pt x="-532" y="13116"/>
                      <a:pt x="66" y="8032"/>
                    </a:cubicBezTo>
                    <a:cubicBezTo>
                      <a:pt x="724" y="3008"/>
                      <a:pt x="5269" y="-580"/>
                      <a:pt x="10293" y="78"/>
                    </a:cubicBezTo>
                    <a:cubicBezTo>
                      <a:pt x="15317" y="736"/>
                      <a:pt x="18905" y="5341"/>
                      <a:pt x="18247" y="10424"/>
                    </a:cubicBezTo>
                    <a:cubicBezTo>
                      <a:pt x="17590" y="15508"/>
                      <a:pt x="13044" y="19037"/>
                      <a:pt x="8020" y="18379"/>
                    </a:cubicBezTo>
                    <a:close/>
                  </a:path>
                </a:pathLst>
              </a:custGeom>
              <a:grpFill/>
              <a:ln w="5978" cap="flat">
                <a:noFill/>
                <a:prstDash val="solid"/>
                <a:miter/>
              </a:ln>
            </p:spPr>
            <p:txBody>
              <a:bodyPr rtlCol="0" anchor="ctr"/>
              <a:lstStyle/>
              <a:p>
                <a:endParaRPr lang="en-GB"/>
              </a:p>
            </p:txBody>
          </p:sp>
          <p:sp>
            <p:nvSpPr>
              <p:cNvPr id="1673" name="Vrije vorm: vorm 1672">
                <a:extLst>
                  <a:ext uri="{FF2B5EF4-FFF2-40B4-BE49-F238E27FC236}">
                    <a16:creationId xmlns:a16="http://schemas.microsoft.com/office/drawing/2014/main" id="{595DEEA8-01BE-4334-9440-D45939C66B8F}"/>
                  </a:ext>
                </a:extLst>
              </p:cNvPr>
              <p:cNvSpPr/>
              <p:nvPr/>
            </p:nvSpPr>
            <p:spPr>
              <a:xfrm>
                <a:off x="4211087" y="3168369"/>
                <a:ext cx="18337" cy="18456"/>
              </a:xfrm>
              <a:custGeom>
                <a:avLst/>
                <a:gdLst>
                  <a:gd name="connsiteX0" fmla="*/ 8032 w 18337"/>
                  <a:gd name="connsiteY0" fmla="*/ 18379 h 18456"/>
                  <a:gd name="connsiteX1" fmla="*/ 18259 w 18337"/>
                  <a:gd name="connsiteY1" fmla="*/ 10424 h 18456"/>
                  <a:gd name="connsiteX2" fmla="*/ 10305 w 18337"/>
                  <a:gd name="connsiteY2" fmla="*/ 78 h 18456"/>
                  <a:gd name="connsiteX3" fmla="*/ 78 w 18337"/>
                  <a:gd name="connsiteY3" fmla="*/ 8032 h 18456"/>
                  <a:gd name="connsiteX4" fmla="*/ 8032 w 18337"/>
                  <a:gd name="connsiteY4" fmla="*/ 18379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6">
                    <a:moveTo>
                      <a:pt x="8032" y="18379"/>
                    </a:moveTo>
                    <a:cubicBezTo>
                      <a:pt x="13056" y="19037"/>
                      <a:pt x="17661" y="15448"/>
                      <a:pt x="18259" y="10424"/>
                    </a:cubicBezTo>
                    <a:cubicBezTo>
                      <a:pt x="18917" y="5401"/>
                      <a:pt x="15329" y="736"/>
                      <a:pt x="10305" y="78"/>
                    </a:cubicBezTo>
                    <a:cubicBezTo>
                      <a:pt x="5281" y="-580"/>
                      <a:pt x="676" y="3008"/>
                      <a:pt x="78" y="8032"/>
                    </a:cubicBezTo>
                    <a:cubicBezTo>
                      <a:pt x="-580" y="13116"/>
                      <a:pt x="3008" y="17721"/>
                      <a:pt x="8032" y="18379"/>
                    </a:cubicBezTo>
                    <a:close/>
                  </a:path>
                </a:pathLst>
              </a:custGeom>
              <a:grpFill/>
              <a:ln w="5978" cap="flat">
                <a:noFill/>
                <a:prstDash val="solid"/>
                <a:miter/>
              </a:ln>
            </p:spPr>
            <p:txBody>
              <a:bodyPr rtlCol="0" anchor="ctr"/>
              <a:lstStyle/>
              <a:p>
                <a:endParaRPr lang="en-GB"/>
              </a:p>
            </p:txBody>
          </p:sp>
        </p:grpSp>
        <p:grpSp>
          <p:nvGrpSpPr>
            <p:cNvPr id="1245" name="Graphic 3">
              <a:extLst>
                <a:ext uri="{FF2B5EF4-FFF2-40B4-BE49-F238E27FC236}">
                  <a16:creationId xmlns:a16="http://schemas.microsoft.com/office/drawing/2014/main" id="{E7536705-852D-4599-9A68-B3CC5C9F7A85}"/>
                </a:ext>
              </a:extLst>
            </p:cNvPr>
            <p:cNvGrpSpPr/>
            <p:nvPr/>
          </p:nvGrpSpPr>
          <p:grpSpPr>
            <a:xfrm>
              <a:off x="4502870" y="4590942"/>
              <a:ext cx="88405" cy="74753"/>
              <a:chOff x="4502870" y="4590942"/>
              <a:chExt cx="88405" cy="74753"/>
            </a:xfrm>
            <a:grpFill/>
          </p:grpSpPr>
          <p:sp>
            <p:nvSpPr>
              <p:cNvPr id="1668" name="Vrije vorm: vorm 1667">
                <a:extLst>
                  <a:ext uri="{FF2B5EF4-FFF2-40B4-BE49-F238E27FC236}">
                    <a16:creationId xmlns:a16="http://schemas.microsoft.com/office/drawing/2014/main" id="{A543670F-F779-4E1D-A6F2-8E269253590C}"/>
                  </a:ext>
                </a:extLst>
              </p:cNvPr>
              <p:cNvSpPr/>
              <p:nvPr/>
            </p:nvSpPr>
            <p:spPr>
              <a:xfrm>
                <a:off x="4510680" y="4598677"/>
                <a:ext cx="72725" cy="59268"/>
              </a:xfrm>
              <a:custGeom>
                <a:avLst/>
                <a:gdLst>
                  <a:gd name="connsiteX0" fmla="*/ 72725 w 72725"/>
                  <a:gd name="connsiteY0" fmla="*/ 2392 h 59268"/>
                  <a:gd name="connsiteX1" fmla="*/ 1914 w 72725"/>
                  <a:gd name="connsiteY1" fmla="*/ 59269 h 59268"/>
                  <a:gd name="connsiteX2" fmla="*/ 0 w 72725"/>
                  <a:gd name="connsiteY2" fmla="*/ 56877 h 59268"/>
                  <a:gd name="connsiteX3" fmla="*/ 70812 w 72725"/>
                  <a:gd name="connsiteY3" fmla="*/ 0 h 59268"/>
                </a:gdLst>
                <a:ahLst/>
                <a:cxnLst>
                  <a:cxn ang="0">
                    <a:pos x="connsiteX0" y="connsiteY0"/>
                  </a:cxn>
                  <a:cxn ang="0">
                    <a:pos x="connsiteX1" y="connsiteY1"/>
                  </a:cxn>
                  <a:cxn ang="0">
                    <a:pos x="connsiteX2" y="connsiteY2"/>
                  </a:cxn>
                  <a:cxn ang="0">
                    <a:pos x="connsiteX3" y="connsiteY3"/>
                  </a:cxn>
                </a:cxnLst>
                <a:rect l="l" t="t" r="r" b="b"/>
                <a:pathLst>
                  <a:path w="72725" h="59268">
                    <a:moveTo>
                      <a:pt x="72725" y="2392"/>
                    </a:moveTo>
                    <a:lnTo>
                      <a:pt x="1914" y="59269"/>
                    </a:lnTo>
                    <a:lnTo>
                      <a:pt x="0" y="56877"/>
                    </a:lnTo>
                    <a:lnTo>
                      <a:pt x="70812" y="0"/>
                    </a:lnTo>
                    <a:close/>
                  </a:path>
                </a:pathLst>
              </a:custGeom>
              <a:grpFill/>
              <a:ln w="5978" cap="flat">
                <a:noFill/>
                <a:prstDash val="solid"/>
                <a:miter/>
              </a:ln>
            </p:spPr>
            <p:txBody>
              <a:bodyPr rtlCol="0" anchor="ctr"/>
              <a:lstStyle/>
              <a:p>
                <a:endParaRPr lang="en-GB"/>
              </a:p>
            </p:txBody>
          </p:sp>
          <p:sp>
            <p:nvSpPr>
              <p:cNvPr id="1669" name="Vrije vorm: vorm 1668">
                <a:extLst>
                  <a:ext uri="{FF2B5EF4-FFF2-40B4-BE49-F238E27FC236}">
                    <a16:creationId xmlns:a16="http://schemas.microsoft.com/office/drawing/2014/main" id="{B7EC524D-D2BA-4464-B293-7346666C7CD1}"/>
                  </a:ext>
                </a:extLst>
              </p:cNvPr>
              <p:cNvSpPr/>
              <p:nvPr/>
            </p:nvSpPr>
            <p:spPr>
              <a:xfrm>
                <a:off x="4502870" y="4647329"/>
                <a:ext cx="18286" cy="18366"/>
              </a:xfrm>
              <a:custGeom>
                <a:avLst/>
                <a:gdLst>
                  <a:gd name="connsiteX0" fmla="*/ 14867 w 18286"/>
                  <a:gd name="connsiteY0" fmla="*/ 16358 h 18366"/>
                  <a:gd name="connsiteX1" fmla="*/ 2009 w 18286"/>
                  <a:gd name="connsiteY1" fmla="*/ 14923 h 18366"/>
                  <a:gd name="connsiteX2" fmla="*/ 3444 w 18286"/>
                  <a:gd name="connsiteY2" fmla="*/ 2004 h 18366"/>
                  <a:gd name="connsiteX3" fmla="*/ 16303 w 18286"/>
                  <a:gd name="connsiteY3" fmla="*/ 3499 h 18366"/>
                  <a:gd name="connsiteX4" fmla="*/ 14867 w 18286"/>
                  <a:gd name="connsiteY4" fmla="*/ 16358 h 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 h="18366">
                    <a:moveTo>
                      <a:pt x="14867" y="16358"/>
                    </a:moveTo>
                    <a:cubicBezTo>
                      <a:pt x="10920" y="19527"/>
                      <a:pt x="5178" y="18870"/>
                      <a:pt x="2009" y="14923"/>
                    </a:cubicBezTo>
                    <a:cubicBezTo>
                      <a:pt x="-1161" y="10915"/>
                      <a:pt x="-503" y="5174"/>
                      <a:pt x="3444" y="2004"/>
                    </a:cubicBezTo>
                    <a:cubicBezTo>
                      <a:pt x="7391" y="-1166"/>
                      <a:pt x="13133" y="-508"/>
                      <a:pt x="16303" y="3499"/>
                    </a:cubicBezTo>
                    <a:cubicBezTo>
                      <a:pt x="19413" y="7387"/>
                      <a:pt x="18815" y="13188"/>
                      <a:pt x="14867" y="16358"/>
                    </a:cubicBezTo>
                    <a:close/>
                  </a:path>
                </a:pathLst>
              </a:custGeom>
              <a:grpFill/>
              <a:ln w="5978" cap="flat">
                <a:noFill/>
                <a:prstDash val="solid"/>
                <a:miter/>
              </a:ln>
            </p:spPr>
            <p:txBody>
              <a:bodyPr rtlCol="0" anchor="ctr"/>
              <a:lstStyle/>
              <a:p>
                <a:endParaRPr lang="en-GB"/>
              </a:p>
            </p:txBody>
          </p:sp>
          <p:sp>
            <p:nvSpPr>
              <p:cNvPr id="1670" name="Vrije vorm: vorm 1669">
                <a:extLst>
                  <a:ext uri="{FF2B5EF4-FFF2-40B4-BE49-F238E27FC236}">
                    <a16:creationId xmlns:a16="http://schemas.microsoft.com/office/drawing/2014/main" id="{B33C6BA6-7336-4A44-9E3C-C3359CA88110}"/>
                  </a:ext>
                </a:extLst>
              </p:cNvPr>
              <p:cNvSpPr/>
              <p:nvPr/>
            </p:nvSpPr>
            <p:spPr>
              <a:xfrm>
                <a:off x="4572964" y="4590942"/>
                <a:ext cx="18311" cy="18414"/>
              </a:xfrm>
              <a:custGeom>
                <a:avLst/>
                <a:gdLst>
                  <a:gd name="connsiteX0" fmla="*/ 14867 w 18311"/>
                  <a:gd name="connsiteY0" fmla="*/ 16406 h 18414"/>
                  <a:gd name="connsiteX1" fmla="*/ 16303 w 18311"/>
                  <a:gd name="connsiteY1" fmla="*/ 3488 h 18414"/>
                  <a:gd name="connsiteX2" fmla="*/ 3444 w 18311"/>
                  <a:gd name="connsiteY2" fmla="*/ 2053 h 18414"/>
                  <a:gd name="connsiteX3" fmla="*/ 2009 w 18311"/>
                  <a:gd name="connsiteY3" fmla="*/ 14971 h 18414"/>
                  <a:gd name="connsiteX4" fmla="*/ 14867 w 18311"/>
                  <a:gd name="connsiteY4" fmla="*/ 16406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4">
                    <a:moveTo>
                      <a:pt x="14867" y="16406"/>
                    </a:moveTo>
                    <a:cubicBezTo>
                      <a:pt x="18815" y="13236"/>
                      <a:pt x="19472" y="7435"/>
                      <a:pt x="16303" y="3488"/>
                    </a:cubicBezTo>
                    <a:cubicBezTo>
                      <a:pt x="13133" y="-519"/>
                      <a:pt x="7392" y="-1177"/>
                      <a:pt x="3444" y="2053"/>
                    </a:cubicBezTo>
                    <a:cubicBezTo>
                      <a:pt x="-503" y="5222"/>
                      <a:pt x="-1161" y="11024"/>
                      <a:pt x="2009" y="14971"/>
                    </a:cubicBezTo>
                    <a:cubicBezTo>
                      <a:pt x="5119" y="18918"/>
                      <a:pt x="10920" y="19576"/>
                      <a:pt x="14867" y="16406"/>
                    </a:cubicBezTo>
                    <a:close/>
                  </a:path>
                </a:pathLst>
              </a:custGeom>
              <a:grpFill/>
              <a:ln w="5978" cap="flat">
                <a:noFill/>
                <a:prstDash val="solid"/>
                <a:miter/>
              </a:ln>
            </p:spPr>
            <p:txBody>
              <a:bodyPr rtlCol="0" anchor="ctr"/>
              <a:lstStyle/>
              <a:p>
                <a:endParaRPr lang="en-GB"/>
              </a:p>
            </p:txBody>
          </p:sp>
        </p:grpSp>
        <p:grpSp>
          <p:nvGrpSpPr>
            <p:cNvPr id="1246" name="Graphic 3">
              <a:extLst>
                <a:ext uri="{FF2B5EF4-FFF2-40B4-BE49-F238E27FC236}">
                  <a16:creationId xmlns:a16="http://schemas.microsoft.com/office/drawing/2014/main" id="{C7165824-3CFD-4A45-B939-287E8A696844}"/>
                </a:ext>
              </a:extLst>
            </p:cNvPr>
            <p:cNvGrpSpPr/>
            <p:nvPr/>
          </p:nvGrpSpPr>
          <p:grpSpPr>
            <a:xfrm>
              <a:off x="4357483" y="4367179"/>
              <a:ext cx="251880" cy="172432"/>
              <a:chOff x="4357483" y="4367179"/>
              <a:chExt cx="251880" cy="172432"/>
            </a:xfrm>
            <a:grpFill/>
          </p:grpSpPr>
          <p:sp>
            <p:nvSpPr>
              <p:cNvPr id="1665" name="Vrije vorm: vorm 1664">
                <a:extLst>
                  <a:ext uri="{FF2B5EF4-FFF2-40B4-BE49-F238E27FC236}">
                    <a16:creationId xmlns:a16="http://schemas.microsoft.com/office/drawing/2014/main" id="{8E2C6405-7EA9-4920-A293-B6536FEAEC46}"/>
                  </a:ext>
                </a:extLst>
              </p:cNvPr>
              <p:cNvSpPr/>
              <p:nvPr/>
            </p:nvSpPr>
            <p:spPr>
              <a:xfrm>
                <a:off x="4365408" y="4374878"/>
                <a:ext cx="235999" cy="157053"/>
              </a:xfrm>
              <a:custGeom>
                <a:avLst/>
                <a:gdLst>
                  <a:gd name="connsiteX0" fmla="*/ 235999 w 235999"/>
                  <a:gd name="connsiteY0" fmla="*/ 2572 h 157053"/>
                  <a:gd name="connsiteX1" fmla="*/ 1674 w 235999"/>
                  <a:gd name="connsiteY1" fmla="*/ 157054 h 157053"/>
                  <a:gd name="connsiteX2" fmla="*/ 0 w 235999"/>
                  <a:gd name="connsiteY2" fmla="*/ 154482 h 157053"/>
                  <a:gd name="connsiteX3" fmla="*/ 234325 w 235999"/>
                  <a:gd name="connsiteY3" fmla="*/ 0 h 157053"/>
                </a:gdLst>
                <a:ahLst/>
                <a:cxnLst>
                  <a:cxn ang="0">
                    <a:pos x="connsiteX0" y="connsiteY0"/>
                  </a:cxn>
                  <a:cxn ang="0">
                    <a:pos x="connsiteX1" y="connsiteY1"/>
                  </a:cxn>
                  <a:cxn ang="0">
                    <a:pos x="connsiteX2" y="connsiteY2"/>
                  </a:cxn>
                  <a:cxn ang="0">
                    <a:pos x="connsiteX3" y="connsiteY3"/>
                  </a:cxn>
                </a:cxnLst>
                <a:rect l="l" t="t" r="r" b="b"/>
                <a:pathLst>
                  <a:path w="235999" h="157053">
                    <a:moveTo>
                      <a:pt x="235999" y="2572"/>
                    </a:moveTo>
                    <a:lnTo>
                      <a:pt x="1674" y="157054"/>
                    </a:lnTo>
                    <a:lnTo>
                      <a:pt x="0" y="154482"/>
                    </a:lnTo>
                    <a:lnTo>
                      <a:pt x="234325" y="0"/>
                    </a:lnTo>
                    <a:close/>
                  </a:path>
                </a:pathLst>
              </a:custGeom>
              <a:grpFill/>
              <a:ln w="5978" cap="flat">
                <a:noFill/>
                <a:prstDash val="solid"/>
                <a:miter/>
              </a:ln>
            </p:spPr>
            <p:txBody>
              <a:bodyPr rtlCol="0" anchor="ctr"/>
              <a:lstStyle/>
              <a:p>
                <a:endParaRPr lang="en-GB"/>
              </a:p>
            </p:txBody>
          </p:sp>
          <p:sp>
            <p:nvSpPr>
              <p:cNvPr id="1666" name="Vrije vorm: vorm 1665">
                <a:extLst>
                  <a:ext uri="{FF2B5EF4-FFF2-40B4-BE49-F238E27FC236}">
                    <a16:creationId xmlns:a16="http://schemas.microsoft.com/office/drawing/2014/main" id="{50178776-3D2C-4408-A878-BDF3533D11BD}"/>
                  </a:ext>
                </a:extLst>
              </p:cNvPr>
              <p:cNvSpPr/>
              <p:nvPr/>
            </p:nvSpPr>
            <p:spPr>
              <a:xfrm>
                <a:off x="4357483" y="4521142"/>
                <a:ext cx="18318" cy="18470"/>
              </a:xfrm>
              <a:custGeom>
                <a:avLst/>
                <a:gdLst>
                  <a:gd name="connsiteX0" fmla="*/ 14205 w 18318"/>
                  <a:gd name="connsiteY0" fmla="*/ 16950 h 18470"/>
                  <a:gd name="connsiteX1" fmla="*/ 1526 w 18318"/>
                  <a:gd name="connsiteY1" fmla="*/ 14259 h 18470"/>
                  <a:gd name="connsiteX2" fmla="*/ 4098 w 18318"/>
                  <a:gd name="connsiteY2" fmla="*/ 1520 h 18470"/>
                  <a:gd name="connsiteX3" fmla="*/ 16777 w 18318"/>
                  <a:gd name="connsiteY3" fmla="*/ 4211 h 18470"/>
                  <a:gd name="connsiteX4" fmla="*/ 14205 w 18318"/>
                  <a:gd name="connsiteY4" fmla="*/ 16950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0">
                    <a:moveTo>
                      <a:pt x="14205" y="16950"/>
                    </a:moveTo>
                    <a:cubicBezTo>
                      <a:pt x="9959" y="19761"/>
                      <a:pt x="4277" y="18565"/>
                      <a:pt x="1526" y="14259"/>
                    </a:cubicBezTo>
                    <a:cubicBezTo>
                      <a:pt x="-1285" y="10013"/>
                      <a:pt x="-89" y="4271"/>
                      <a:pt x="4098" y="1520"/>
                    </a:cubicBezTo>
                    <a:cubicBezTo>
                      <a:pt x="8344" y="-1291"/>
                      <a:pt x="14026" y="-95"/>
                      <a:pt x="16777" y="4211"/>
                    </a:cubicBezTo>
                    <a:cubicBezTo>
                      <a:pt x="19588" y="8458"/>
                      <a:pt x="18451" y="14199"/>
                      <a:pt x="14205" y="16950"/>
                    </a:cubicBezTo>
                    <a:close/>
                  </a:path>
                </a:pathLst>
              </a:custGeom>
              <a:grpFill/>
              <a:ln w="5978" cap="flat">
                <a:noFill/>
                <a:prstDash val="solid"/>
                <a:miter/>
              </a:ln>
            </p:spPr>
            <p:txBody>
              <a:bodyPr rtlCol="0" anchor="ctr"/>
              <a:lstStyle/>
              <a:p>
                <a:endParaRPr lang="en-GB"/>
              </a:p>
            </p:txBody>
          </p:sp>
          <p:sp>
            <p:nvSpPr>
              <p:cNvPr id="1667" name="Vrije vorm: vorm 1666">
                <a:extLst>
                  <a:ext uri="{FF2B5EF4-FFF2-40B4-BE49-F238E27FC236}">
                    <a16:creationId xmlns:a16="http://schemas.microsoft.com/office/drawing/2014/main" id="{8ED0E724-0049-4D69-BD01-D2B9B4C31A3B}"/>
                  </a:ext>
                </a:extLst>
              </p:cNvPr>
              <p:cNvSpPr/>
              <p:nvPr/>
            </p:nvSpPr>
            <p:spPr>
              <a:xfrm>
                <a:off x="4591074" y="4367179"/>
                <a:ext cx="18289" cy="18428"/>
              </a:xfrm>
              <a:custGeom>
                <a:avLst/>
                <a:gdLst>
                  <a:gd name="connsiteX0" fmla="*/ 14161 w 18289"/>
                  <a:gd name="connsiteY0" fmla="*/ 16909 h 18428"/>
                  <a:gd name="connsiteX1" fmla="*/ 16792 w 18289"/>
                  <a:gd name="connsiteY1" fmla="*/ 4170 h 18428"/>
                  <a:gd name="connsiteX2" fmla="*/ 4113 w 18289"/>
                  <a:gd name="connsiteY2" fmla="*/ 1479 h 18428"/>
                  <a:gd name="connsiteX3" fmla="*/ 1542 w 18289"/>
                  <a:gd name="connsiteY3" fmla="*/ 14218 h 18428"/>
                  <a:gd name="connsiteX4" fmla="*/ 14161 w 18289"/>
                  <a:gd name="connsiteY4" fmla="*/ 16909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428">
                    <a:moveTo>
                      <a:pt x="14161" y="16909"/>
                    </a:moveTo>
                    <a:cubicBezTo>
                      <a:pt x="18407" y="14098"/>
                      <a:pt x="19544" y="8416"/>
                      <a:pt x="16792" y="4170"/>
                    </a:cubicBezTo>
                    <a:cubicBezTo>
                      <a:pt x="13982" y="-76"/>
                      <a:pt x="8300" y="-1273"/>
                      <a:pt x="4113" y="1479"/>
                    </a:cubicBezTo>
                    <a:cubicBezTo>
                      <a:pt x="-133" y="4290"/>
                      <a:pt x="-1270" y="9971"/>
                      <a:pt x="1542" y="14218"/>
                    </a:cubicBezTo>
                    <a:cubicBezTo>
                      <a:pt x="4233" y="18523"/>
                      <a:pt x="9974" y="19720"/>
                      <a:pt x="14161" y="16909"/>
                    </a:cubicBezTo>
                    <a:close/>
                  </a:path>
                </a:pathLst>
              </a:custGeom>
              <a:grpFill/>
              <a:ln w="5978" cap="flat">
                <a:noFill/>
                <a:prstDash val="solid"/>
                <a:miter/>
              </a:ln>
            </p:spPr>
            <p:txBody>
              <a:bodyPr rtlCol="0" anchor="ctr"/>
              <a:lstStyle/>
              <a:p>
                <a:endParaRPr lang="en-GB"/>
              </a:p>
            </p:txBody>
          </p:sp>
        </p:grpSp>
        <p:grpSp>
          <p:nvGrpSpPr>
            <p:cNvPr id="1247" name="Graphic 3">
              <a:extLst>
                <a:ext uri="{FF2B5EF4-FFF2-40B4-BE49-F238E27FC236}">
                  <a16:creationId xmlns:a16="http://schemas.microsoft.com/office/drawing/2014/main" id="{76407262-9E00-416D-AEAE-036239C1060A}"/>
                </a:ext>
              </a:extLst>
            </p:cNvPr>
            <p:cNvGrpSpPr/>
            <p:nvPr/>
          </p:nvGrpSpPr>
          <p:grpSpPr>
            <a:xfrm>
              <a:off x="4295759" y="4334390"/>
              <a:ext cx="361687" cy="200252"/>
              <a:chOff x="4295759" y="4334390"/>
              <a:chExt cx="361687" cy="200252"/>
            </a:xfrm>
            <a:grpFill/>
          </p:grpSpPr>
          <p:sp>
            <p:nvSpPr>
              <p:cNvPr id="1662" name="Vrije vorm: vorm 1661">
                <a:extLst>
                  <a:ext uri="{FF2B5EF4-FFF2-40B4-BE49-F238E27FC236}">
                    <a16:creationId xmlns:a16="http://schemas.microsoft.com/office/drawing/2014/main" id="{F1AD7A78-5AE3-4728-B9D5-F36BE6C01AA7}"/>
                  </a:ext>
                </a:extLst>
              </p:cNvPr>
              <p:cNvSpPr/>
              <p:nvPr/>
            </p:nvSpPr>
            <p:spPr>
              <a:xfrm>
                <a:off x="4303807" y="4342104"/>
                <a:ext cx="345566" cy="184864"/>
              </a:xfrm>
              <a:custGeom>
                <a:avLst/>
                <a:gdLst>
                  <a:gd name="connsiteX0" fmla="*/ 345566 w 345566"/>
                  <a:gd name="connsiteY0" fmla="*/ 2691 h 184864"/>
                  <a:gd name="connsiteX1" fmla="*/ 1436 w 345566"/>
                  <a:gd name="connsiteY1" fmla="*/ 184864 h 184864"/>
                  <a:gd name="connsiteX2" fmla="*/ 0 w 345566"/>
                  <a:gd name="connsiteY2" fmla="*/ 182173 h 184864"/>
                  <a:gd name="connsiteX3" fmla="*/ 344131 w 345566"/>
                  <a:gd name="connsiteY3" fmla="*/ 0 h 184864"/>
                </a:gdLst>
                <a:ahLst/>
                <a:cxnLst>
                  <a:cxn ang="0">
                    <a:pos x="connsiteX0" y="connsiteY0"/>
                  </a:cxn>
                  <a:cxn ang="0">
                    <a:pos x="connsiteX1" y="connsiteY1"/>
                  </a:cxn>
                  <a:cxn ang="0">
                    <a:pos x="connsiteX2" y="connsiteY2"/>
                  </a:cxn>
                  <a:cxn ang="0">
                    <a:pos x="connsiteX3" y="connsiteY3"/>
                  </a:cxn>
                </a:cxnLst>
                <a:rect l="l" t="t" r="r" b="b"/>
                <a:pathLst>
                  <a:path w="345566" h="184864">
                    <a:moveTo>
                      <a:pt x="345566" y="2691"/>
                    </a:moveTo>
                    <a:lnTo>
                      <a:pt x="1436" y="184864"/>
                    </a:lnTo>
                    <a:lnTo>
                      <a:pt x="0" y="182173"/>
                    </a:lnTo>
                    <a:lnTo>
                      <a:pt x="344131" y="0"/>
                    </a:lnTo>
                    <a:close/>
                  </a:path>
                </a:pathLst>
              </a:custGeom>
              <a:grpFill/>
              <a:ln w="5978" cap="flat">
                <a:noFill/>
                <a:prstDash val="solid"/>
                <a:miter/>
              </a:ln>
            </p:spPr>
            <p:txBody>
              <a:bodyPr rtlCol="0" anchor="ctr"/>
              <a:lstStyle/>
              <a:p>
                <a:endParaRPr lang="en-GB"/>
              </a:p>
            </p:txBody>
          </p:sp>
          <p:sp>
            <p:nvSpPr>
              <p:cNvPr id="1663" name="Vrije vorm: vorm 1662">
                <a:extLst>
                  <a:ext uri="{FF2B5EF4-FFF2-40B4-BE49-F238E27FC236}">
                    <a16:creationId xmlns:a16="http://schemas.microsoft.com/office/drawing/2014/main" id="{C4FD3455-8B5A-40CA-960B-A920E3FE60D0}"/>
                  </a:ext>
                </a:extLst>
              </p:cNvPr>
              <p:cNvSpPr/>
              <p:nvPr/>
            </p:nvSpPr>
            <p:spPr>
              <a:xfrm>
                <a:off x="4639113" y="4334390"/>
                <a:ext cx="18333" cy="18476"/>
              </a:xfrm>
              <a:custGeom>
                <a:avLst/>
                <a:gdLst>
                  <a:gd name="connsiteX0" fmla="*/ 4877 w 18333"/>
                  <a:gd name="connsiteY0" fmla="*/ 1075 h 18476"/>
                  <a:gd name="connsiteX1" fmla="*/ 17258 w 18333"/>
                  <a:gd name="connsiteY1" fmla="*/ 4962 h 18476"/>
                  <a:gd name="connsiteX2" fmla="*/ 13430 w 18333"/>
                  <a:gd name="connsiteY2" fmla="*/ 17402 h 18476"/>
                  <a:gd name="connsiteX3" fmla="*/ 1050 w 18333"/>
                  <a:gd name="connsiteY3" fmla="*/ 13515 h 18476"/>
                  <a:gd name="connsiteX4" fmla="*/ 4877 w 18333"/>
                  <a:gd name="connsiteY4" fmla="*/ 1075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76">
                    <a:moveTo>
                      <a:pt x="4877" y="1075"/>
                    </a:moveTo>
                    <a:cubicBezTo>
                      <a:pt x="9363" y="-1318"/>
                      <a:pt x="14865" y="417"/>
                      <a:pt x="17258" y="4962"/>
                    </a:cubicBezTo>
                    <a:cubicBezTo>
                      <a:pt x="19650" y="9447"/>
                      <a:pt x="17915" y="15010"/>
                      <a:pt x="13430" y="17402"/>
                    </a:cubicBezTo>
                    <a:cubicBezTo>
                      <a:pt x="8944" y="19794"/>
                      <a:pt x="3382" y="18060"/>
                      <a:pt x="1050" y="13515"/>
                    </a:cubicBezTo>
                    <a:cubicBezTo>
                      <a:pt x="-1283" y="9029"/>
                      <a:pt x="392" y="3467"/>
                      <a:pt x="4877" y="1075"/>
                    </a:cubicBezTo>
                    <a:close/>
                  </a:path>
                </a:pathLst>
              </a:custGeom>
              <a:grpFill/>
              <a:ln w="5978" cap="flat">
                <a:noFill/>
                <a:prstDash val="solid"/>
                <a:miter/>
              </a:ln>
            </p:spPr>
            <p:txBody>
              <a:bodyPr rtlCol="0" anchor="ctr"/>
              <a:lstStyle/>
              <a:p>
                <a:endParaRPr lang="en-GB"/>
              </a:p>
            </p:txBody>
          </p:sp>
          <p:sp>
            <p:nvSpPr>
              <p:cNvPr id="1664" name="Vrije vorm: vorm 1663">
                <a:extLst>
                  <a:ext uri="{FF2B5EF4-FFF2-40B4-BE49-F238E27FC236}">
                    <a16:creationId xmlns:a16="http://schemas.microsoft.com/office/drawing/2014/main" id="{F5AE33DD-B177-4C16-B44D-CC3777218C3F}"/>
                  </a:ext>
                </a:extLst>
              </p:cNvPr>
              <p:cNvSpPr/>
              <p:nvPr/>
            </p:nvSpPr>
            <p:spPr>
              <a:xfrm>
                <a:off x="4295759" y="4516204"/>
                <a:ext cx="18307" cy="18438"/>
              </a:xfrm>
              <a:custGeom>
                <a:avLst/>
                <a:gdLst>
                  <a:gd name="connsiteX0" fmla="*/ 4878 w 18307"/>
                  <a:gd name="connsiteY0" fmla="*/ 1075 h 18438"/>
                  <a:gd name="connsiteX1" fmla="*/ 1050 w 18307"/>
                  <a:gd name="connsiteY1" fmla="*/ 13515 h 18438"/>
                  <a:gd name="connsiteX2" fmla="*/ 13430 w 18307"/>
                  <a:gd name="connsiteY2" fmla="*/ 17402 h 18438"/>
                  <a:gd name="connsiteX3" fmla="*/ 17258 w 18307"/>
                  <a:gd name="connsiteY3" fmla="*/ 4962 h 18438"/>
                  <a:gd name="connsiteX4" fmla="*/ 4878 w 18307"/>
                  <a:gd name="connsiteY4" fmla="*/ 1075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7" h="18438">
                    <a:moveTo>
                      <a:pt x="4878" y="1075"/>
                    </a:moveTo>
                    <a:cubicBezTo>
                      <a:pt x="392" y="3467"/>
                      <a:pt x="-1283" y="9029"/>
                      <a:pt x="1050" y="13515"/>
                    </a:cubicBezTo>
                    <a:cubicBezTo>
                      <a:pt x="3442" y="18000"/>
                      <a:pt x="8944" y="19735"/>
                      <a:pt x="13430" y="17402"/>
                    </a:cubicBezTo>
                    <a:cubicBezTo>
                      <a:pt x="17916" y="15010"/>
                      <a:pt x="19590" y="9448"/>
                      <a:pt x="17258" y="4962"/>
                    </a:cubicBezTo>
                    <a:cubicBezTo>
                      <a:pt x="14925" y="417"/>
                      <a:pt x="9363" y="-1318"/>
                      <a:pt x="4878" y="1075"/>
                    </a:cubicBezTo>
                    <a:close/>
                  </a:path>
                </a:pathLst>
              </a:custGeom>
              <a:grpFill/>
              <a:ln w="5978" cap="flat">
                <a:noFill/>
                <a:prstDash val="solid"/>
                <a:miter/>
              </a:ln>
            </p:spPr>
            <p:txBody>
              <a:bodyPr rtlCol="0" anchor="ctr"/>
              <a:lstStyle/>
              <a:p>
                <a:endParaRPr lang="en-GB"/>
              </a:p>
            </p:txBody>
          </p:sp>
        </p:grpSp>
        <p:grpSp>
          <p:nvGrpSpPr>
            <p:cNvPr id="1248" name="Graphic 3">
              <a:extLst>
                <a:ext uri="{FF2B5EF4-FFF2-40B4-BE49-F238E27FC236}">
                  <a16:creationId xmlns:a16="http://schemas.microsoft.com/office/drawing/2014/main" id="{E05A9B76-9259-4E2A-B03F-3F793E4259D6}"/>
                </a:ext>
              </a:extLst>
            </p:cNvPr>
            <p:cNvGrpSpPr/>
            <p:nvPr/>
          </p:nvGrpSpPr>
          <p:grpSpPr>
            <a:xfrm>
              <a:off x="3940707" y="3450840"/>
              <a:ext cx="418677" cy="40820"/>
              <a:chOff x="3940707" y="3450840"/>
              <a:chExt cx="418677" cy="40820"/>
            </a:xfrm>
            <a:grpFill/>
          </p:grpSpPr>
          <p:sp>
            <p:nvSpPr>
              <p:cNvPr id="1659" name="Vrije vorm: vorm 1658">
                <a:extLst>
                  <a:ext uri="{FF2B5EF4-FFF2-40B4-BE49-F238E27FC236}">
                    <a16:creationId xmlns:a16="http://schemas.microsoft.com/office/drawing/2014/main" id="{EB5E5192-05D0-44F8-A50F-377586798201}"/>
                  </a:ext>
                </a:extLst>
              </p:cNvPr>
              <p:cNvSpPr/>
              <p:nvPr/>
            </p:nvSpPr>
            <p:spPr>
              <a:xfrm>
                <a:off x="3949329" y="3458512"/>
                <a:ext cx="401426" cy="25477"/>
              </a:xfrm>
              <a:custGeom>
                <a:avLst/>
                <a:gdLst>
                  <a:gd name="connsiteX0" fmla="*/ 401426 w 401426"/>
                  <a:gd name="connsiteY0" fmla="*/ 22428 h 25477"/>
                  <a:gd name="connsiteX1" fmla="*/ 401306 w 401426"/>
                  <a:gd name="connsiteY1" fmla="*/ 25478 h 25477"/>
                  <a:gd name="connsiteX2" fmla="*/ 0 w 401426"/>
                  <a:gd name="connsiteY2" fmla="*/ 3050 h 25477"/>
                  <a:gd name="connsiteX3" fmla="*/ 179 w 401426"/>
                  <a:gd name="connsiteY3" fmla="*/ 0 h 25477"/>
                </a:gdLst>
                <a:ahLst/>
                <a:cxnLst>
                  <a:cxn ang="0">
                    <a:pos x="connsiteX0" y="connsiteY0"/>
                  </a:cxn>
                  <a:cxn ang="0">
                    <a:pos x="connsiteX1" y="connsiteY1"/>
                  </a:cxn>
                  <a:cxn ang="0">
                    <a:pos x="connsiteX2" y="connsiteY2"/>
                  </a:cxn>
                  <a:cxn ang="0">
                    <a:pos x="connsiteX3" y="connsiteY3"/>
                  </a:cxn>
                </a:cxnLst>
                <a:rect l="l" t="t" r="r" b="b"/>
                <a:pathLst>
                  <a:path w="401426" h="25477">
                    <a:moveTo>
                      <a:pt x="401426" y="22428"/>
                    </a:moveTo>
                    <a:lnTo>
                      <a:pt x="401306" y="25478"/>
                    </a:lnTo>
                    <a:lnTo>
                      <a:pt x="0" y="3050"/>
                    </a:lnTo>
                    <a:lnTo>
                      <a:pt x="179" y="0"/>
                    </a:lnTo>
                    <a:close/>
                  </a:path>
                </a:pathLst>
              </a:custGeom>
              <a:grpFill/>
              <a:ln w="5978" cap="flat">
                <a:noFill/>
                <a:prstDash val="solid"/>
                <a:miter/>
              </a:ln>
            </p:spPr>
            <p:txBody>
              <a:bodyPr rtlCol="0" anchor="ctr"/>
              <a:lstStyle/>
              <a:p>
                <a:endParaRPr lang="en-GB"/>
              </a:p>
            </p:txBody>
          </p:sp>
          <p:sp>
            <p:nvSpPr>
              <p:cNvPr id="1660" name="Vrije vorm: vorm 1659">
                <a:extLst>
                  <a:ext uri="{FF2B5EF4-FFF2-40B4-BE49-F238E27FC236}">
                    <a16:creationId xmlns:a16="http://schemas.microsoft.com/office/drawing/2014/main" id="{A068B3CF-D847-4EDF-AD83-30B219B7C7BA}"/>
                  </a:ext>
                </a:extLst>
              </p:cNvPr>
              <p:cNvSpPr/>
              <p:nvPr/>
            </p:nvSpPr>
            <p:spPr>
              <a:xfrm>
                <a:off x="4341051" y="3473268"/>
                <a:ext cx="18333" cy="18393"/>
              </a:xfrm>
              <a:custGeom>
                <a:avLst/>
                <a:gdLst>
                  <a:gd name="connsiteX0" fmla="*/ 9645 w 18333"/>
                  <a:gd name="connsiteY0" fmla="*/ 16 h 18393"/>
                  <a:gd name="connsiteX1" fmla="*/ 18317 w 18333"/>
                  <a:gd name="connsiteY1" fmla="*/ 9705 h 18393"/>
                  <a:gd name="connsiteX2" fmla="*/ 8688 w 18333"/>
                  <a:gd name="connsiteY2" fmla="*/ 18377 h 18393"/>
                  <a:gd name="connsiteX3" fmla="*/ 16 w 18333"/>
                  <a:gd name="connsiteY3" fmla="*/ 8688 h 18393"/>
                  <a:gd name="connsiteX4" fmla="*/ 9645 w 18333"/>
                  <a:gd name="connsiteY4" fmla="*/ 16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9645" y="16"/>
                    </a:moveTo>
                    <a:cubicBezTo>
                      <a:pt x="14728" y="315"/>
                      <a:pt x="18616" y="4621"/>
                      <a:pt x="18317" y="9705"/>
                    </a:cubicBezTo>
                    <a:cubicBezTo>
                      <a:pt x="18078" y="14789"/>
                      <a:pt x="13772" y="18676"/>
                      <a:pt x="8688" y="18377"/>
                    </a:cubicBezTo>
                    <a:cubicBezTo>
                      <a:pt x="3604" y="18078"/>
                      <a:pt x="-283" y="13772"/>
                      <a:pt x="16" y="8688"/>
                    </a:cubicBezTo>
                    <a:cubicBezTo>
                      <a:pt x="315" y="3605"/>
                      <a:pt x="4621" y="-283"/>
                      <a:pt x="9645" y="16"/>
                    </a:cubicBezTo>
                    <a:close/>
                  </a:path>
                </a:pathLst>
              </a:custGeom>
              <a:grpFill/>
              <a:ln w="5978" cap="flat">
                <a:noFill/>
                <a:prstDash val="solid"/>
                <a:miter/>
              </a:ln>
            </p:spPr>
            <p:txBody>
              <a:bodyPr rtlCol="0" anchor="ctr"/>
              <a:lstStyle/>
              <a:p>
                <a:endParaRPr lang="en-GB"/>
              </a:p>
            </p:txBody>
          </p:sp>
          <p:sp>
            <p:nvSpPr>
              <p:cNvPr id="1661" name="Vrije vorm: vorm 1660">
                <a:extLst>
                  <a:ext uri="{FF2B5EF4-FFF2-40B4-BE49-F238E27FC236}">
                    <a16:creationId xmlns:a16="http://schemas.microsoft.com/office/drawing/2014/main" id="{11541360-7A3E-4E29-8BFA-B34B4CDEE8E0}"/>
                  </a:ext>
                </a:extLst>
              </p:cNvPr>
              <p:cNvSpPr/>
              <p:nvPr/>
            </p:nvSpPr>
            <p:spPr>
              <a:xfrm>
                <a:off x="3940707" y="3450840"/>
                <a:ext cx="18321" cy="18393"/>
              </a:xfrm>
              <a:custGeom>
                <a:avLst/>
                <a:gdLst>
                  <a:gd name="connsiteX0" fmla="*/ 9639 w 18321"/>
                  <a:gd name="connsiteY0" fmla="*/ 16 h 18393"/>
                  <a:gd name="connsiteX1" fmla="*/ 10 w 18321"/>
                  <a:gd name="connsiteY1" fmla="*/ 8688 h 18393"/>
                  <a:gd name="connsiteX2" fmla="*/ 8683 w 18321"/>
                  <a:gd name="connsiteY2" fmla="*/ 18377 h 18393"/>
                  <a:gd name="connsiteX3" fmla="*/ 18311 w 18321"/>
                  <a:gd name="connsiteY3" fmla="*/ 9705 h 18393"/>
                  <a:gd name="connsiteX4" fmla="*/ 9639 w 18321"/>
                  <a:gd name="connsiteY4" fmla="*/ 16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393">
                    <a:moveTo>
                      <a:pt x="9639" y="16"/>
                    </a:moveTo>
                    <a:cubicBezTo>
                      <a:pt x="4556" y="-283"/>
                      <a:pt x="250" y="3605"/>
                      <a:pt x="10" y="8688"/>
                    </a:cubicBezTo>
                    <a:cubicBezTo>
                      <a:pt x="-229" y="13772"/>
                      <a:pt x="3659" y="18138"/>
                      <a:pt x="8683" y="18377"/>
                    </a:cubicBezTo>
                    <a:cubicBezTo>
                      <a:pt x="13766" y="18676"/>
                      <a:pt x="18072" y="14789"/>
                      <a:pt x="18311" y="9705"/>
                    </a:cubicBezTo>
                    <a:cubicBezTo>
                      <a:pt x="18551" y="4681"/>
                      <a:pt x="14663" y="315"/>
                      <a:pt x="9639" y="16"/>
                    </a:cubicBezTo>
                    <a:close/>
                  </a:path>
                </a:pathLst>
              </a:custGeom>
              <a:grpFill/>
              <a:ln w="5978" cap="flat">
                <a:noFill/>
                <a:prstDash val="solid"/>
                <a:miter/>
              </a:ln>
            </p:spPr>
            <p:txBody>
              <a:bodyPr rtlCol="0" anchor="ctr"/>
              <a:lstStyle/>
              <a:p>
                <a:endParaRPr lang="en-GB"/>
              </a:p>
            </p:txBody>
          </p:sp>
        </p:grpSp>
        <p:grpSp>
          <p:nvGrpSpPr>
            <p:cNvPr id="1249" name="Graphic 3">
              <a:extLst>
                <a:ext uri="{FF2B5EF4-FFF2-40B4-BE49-F238E27FC236}">
                  <a16:creationId xmlns:a16="http://schemas.microsoft.com/office/drawing/2014/main" id="{2AC5FB96-29DA-48FD-807D-EA2327339AA3}"/>
                </a:ext>
              </a:extLst>
            </p:cNvPr>
            <p:cNvGrpSpPr/>
            <p:nvPr/>
          </p:nvGrpSpPr>
          <p:grpSpPr>
            <a:xfrm>
              <a:off x="4300702" y="3950258"/>
              <a:ext cx="19214" cy="18762"/>
              <a:chOff x="4300702" y="3950258"/>
              <a:chExt cx="19214" cy="18762"/>
            </a:xfrm>
            <a:grpFill/>
          </p:grpSpPr>
          <p:sp>
            <p:nvSpPr>
              <p:cNvPr id="1656" name="Vrije vorm: vorm 1655">
                <a:extLst>
                  <a:ext uri="{FF2B5EF4-FFF2-40B4-BE49-F238E27FC236}">
                    <a16:creationId xmlns:a16="http://schemas.microsoft.com/office/drawing/2014/main" id="{3B1DA4ED-D919-4B5B-99AA-16B09DAD1970}"/>
                  </a:ext>
                </a:extLst>
              </p:cNvPr>
              <p:cNvSpPr/>
              <p:nvPr/>
            </p:nvSpPr>
            <p:spPr>
              <a:xfrm>
                <a:off x="4308924" y="3957962"/>
                <a:ext cx="2672" cy="3461"/>
              </a:xfrm>
              <a:custGeom>
                <a:avLst/>
                <a:gdLst>
                  <a:gd name="connsiteX0" fmla="*/ 0 w 2672"/>
                  <a:gd name="connsiteY0" fmla="*/ 547 h 3461"/>
                  <a:gd name="connsiteX1" fmla="*/ 1771 w 2672"/>
                  <a:gd name="connsiteY1" fmla="*/ 0 h 3461"/>
                  <a:gd name="connsiteX2" fmla="*/ 2672 w 2672"/>
                  <a:gd name="connsiteY2" fmla="*/ 2914 h 3461"/>
                  <a:gd name="connsiteX3" fmla="*/ 901 w 2672"/>
                  <a:gd name="connsiteY3" fmla="*/ 3462 h 3461"/>
                </a:gdLst>
                <a:ahLst/>
                <a:cxnLst>
                  <a:cxn ang="0">
                    <a:pos x="connsiteX0" y="connsiteY0"/>
                  </a:cxn>
                  <a:cxn ang="0">
                    <a:pos x="connsiteX1" y="connsiteY1"/>
                  </a:cxn>
                  <a:cxn ang="0">
                    <a:pos x="connsiteX2" y="connsiteY2"/>
                  </a:cxn>
                  <a:cxn ang="0">
                    <a:pos x="connsiteX3" y="connsiteY3"/>
                  </a:cxn>
                </a:cxnLst>
                <a:rect l="l" t="t" r="r" b="b"/>
                <a:pathLst>
                  <a:path w="2672" h="3461">
                    <a:moveTo>
                      <a:pt x="0" y="547"/>
                    </a:moveTo>
                    <a:lnTo>
                      <a:pt x="1771" y="0"/>
                    </a:lnTo>
                    <a:lnTo>
                      <a:pt x="2672" y="2914"/>
                    </a:lnTo>
                    <a:lnTo>
                      <a:pt x="901" y="3462"/>
                    </a:lnTo>
                    <a:close/>
                  </a:path>
                </a:pathLst>
              </a:custGeom>
              <a:grpFill/>
              <a:ln w="5978" cap="flat">
                <a:noFill/>
                <a:prstDash val="solid"/>
                <a:miter/>
              </a:ln>
            </p:spPr>
            <p:txBody>
              <a:bodyPr rtlCol="0" anchor="ctr"/>
              <a:lstStyle/>
              <a:p>
                <a:endParaRPr lang="en-GB"/>
              </a:p>
            </p:txBody>
          </p:sp>
          <p:sp>
            <p:nvSpPr>
              <p:cNvPr id="1657" name="Vrije vorm: vorm 1656">
                <a:extLst>
                  <a:ext uri="{FF2B5EF4-FFF2-40B4-BE49-F238E27FC236}">
                    <a16:creationId xmlns:a16="http://schemas.microsoft.com/office/drawing/2014/main" id="{31888BF5-F2FD-456B-9A5D-A459DD197404}"/>
                  </a:ext>
                </a:extLst>
              </p:cNvPr>
              <p:cNvSpPr/>
              <p:nvPr/>
            </p:nvSpPr>
            <p:spPr>
              <a:xfrm>
                <a:off x="4300702" y="3950552"/>
                <a:ext cx="18290" cy="18468"/>
              </a:xfrm>
              <a:custGeom>
                <a:avLst/>
                <a:gdLst>
                  <a:gd name="connsiteX0" fmla="*/ 11896 w 18290"/>
                  <a:gd name="connsiteY0" fmla="*/ 18056 h 18468"/>
                  <a:gd name="connsiteX1" fmla="*/ 413 w 18290"/>
                  <a:gd name="connsiteY1" fmla="*/ 11956 h 18468"/>
                  <a:gd name="connsiteX2" fmla="*/ 6394 w 18290"/>
                  <a:gd name="connsiteY2" fmla="*/ 413 h 18468"/>
                  <a:gd name="connsiteX3" fmla="*/ 17877 w 18290"/>
                  <a:gd name="connsiteY3" fmla="*/ 6513 h 18468"/>
                  <a:gd name="connsiteX4" fmla="*/ 11896 w 18290"/>
                  <a:gd name="connsiteY4" fmla="*/ 1805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68">
                    <a:moveTo>
                      <a:pt x="11896" y="18056"/>
                    </a:moveTo>
                    <a:cubicBezTo>
                      <a:pt x="7052" y="19551"/>
                      <a:pt x="1908" y="16859"/>
                      <a:pt x="413" y="11956"/>
                    </a:cubicBezTo>
                    <a:cubicBezTo>
                      <a:pt x="-1082" y="7111"/>
                      <a:pt x="1609" y="1908"/>
                      <a:pt x="6394" y="413"/>
                    </a:cubicBezTo>
                    <a:cubicBezTo>
                      <a:pt x="11238" y="-1083"/>
                      <a:pt x="16382" y="1609"/>
                      <a:pt x="17877" y="6513"/>
                    </a:cubicBezTo>
                    <a:cubicBezTo>
                      <a:pt x="19372" y="11417"/>
                      <a:pt x="16681" y="16561"/>
                      <a:pt x="11896" y="18056"/>
                    </a:cubicBezTo>
                    <a:close/>
                  </a:path>
                </a:pathLst>
              </a:custGeom>
              <a:grpFill/>
              <a:ln w="5978" cap="flat">
                <a:noFill/>
                <a:prstDash val="solid"/>
                <a:miter/>
              </a:ln>
            </p:spPr>
            <p:txBody>
              <a:bodyPr rtlCol="0" anchor="ctr"/>
              <a:lstStyle/>
              <a:p>
                <a:endParaRPr lang="en-GB"/>
              </a:p>
            </p:txBody>
          </p:sp>
          <p:sp>
            <p:nvSpPr>
              <p:cNvPr id="1658" name="Vrije vorm: vorm 1657">
                <a:extLst>
                  <a:ext uri="{FF2B5EF4-FFF2-40B4-BE49-F238E27FC236}">
                    <a16:creationId xmlns:a16="http://schemas.microsoft.com/office/drawing/2014/main" id="{DC8B5A73-DF12-46B3-B656-2FC3393B082A}"/>
                  </a:ext>
                </a:extLst>
              </p:cNvPr>
              <p:cNvSpPr/>
              <p:nvPr/>
            </p:nvSpPr>
            <p:spPr>
              <a:xfrm>
                <a:off x="4301571" y="3950258"/>
                <a:ext cx="18345" cy="18463"/>
              </a:xfrm>
              <a:custGeom>
                <a:avLst/>
                <a:gdLst>
                  <a:gd name="connsiteX0" fmla="*/ 11924 w 18345"/>
                  <a:gd name="connsiteY0" fmla="*/ 18051 h 18463"/>
                  <a:gd name="connsiteX1" fmla="*/ 17905 w 18345"/>
                  <a:gd name="connsiteY1" fmla="*/ 6508 h 18463"/>
                  <a:gd name="connsiteX2" fmla="*/ 6422 w 18345"/>
                  <a:gd name="connsiteY2" fmla="*/ 407 h 18463"/>
                  <a:gd name="connsiteX3" fmla="*/ 441 w 18345"/>
                  <a:gd name="connsiteY3" fmla="*/ 11950 h 18463"/>
                  <a:gd name="connsiteX4" fmla="*/ 11924 w 18345"/>
                  <a:gd name="connsiteY4" fmla="*/ 180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3">
                    <a:moveTo>
                      <a:pt x="11924" y="18051"/>
                    </a:moveTo>
                    <a:cubicBezTo>
                      <a:pt x="16769" y="16555"/>
                      <a:pt x="19460" y="11412"/>
                      <a:pt x="17905" y="6508"/>
                    </a:cubicBezTo>
                    <a:cubicBezTo>
                      <a:pt x="16410" y="1664"/>
                      <a:pt x="11266" y="-1088"/>
                      <a:pt x="6422" y="407"/>
                    </a:cubicBezTo>
                    <a:cubicBezTo>
                      <a:pt x="1577" y="1903"/>
                      <a:pt x="-1114" y="7046"/>
                      <a:pt x="441" y="11950"/>
                    </a:cubicBezTo>
                    <a:cubicBezTo>
                      <a:pt x="1936" y="16854"/>
                      <a:pt x="7079" y="19546"/>
                      <a:pt x="11924" y="18051"/>
                    </a:cubicBezTo>
                    <a:close/>
                  </a:path>
                </a:pathLst>
              </a:custGeom>
              <a:grpFill/>
              <a:ln w="5978" cap="flat">
                <a:noFill/>
                <a:prstDash val="solid"/>
                <a:miter/>
              </a:ln>
            </p:spPr>
            <p:txBody>
              <a:bodyPr rtlCol="0" anchor="ctr"/>
              <a:lstStyle/>
              <a:p>
                <a:endParaRPr lang="en-GB"/>
              </a:p>
            </p:txBody>
          </p:sp>
        </p:grpSp>
        <p:grpSp>
          <p:nvGrpSpPr>
            <p:cNvPr id="1250" name="Graphic 3">
              <a:extLst>
                <a:ext uri="{FF2B5EF4-FFF2-40B4-BE49-F238E27FC236}">
                  <a16:creationId xmlns:a16="http://schemas.microsoft.com/office/drawing/2014/main" id="{979D0051-DCC1-4EF5-B3D8-314902AAA8CF}"/>
                </a:ext>
              </a:extLst>
            </p:cNvPr>
            <p:cNvGrpSpPr/>
            <p:nvPr/>
          </p:nvGrpSpPr>
          <p:grpSpPr>
            <a:xfrm>
              <a:off x="4568863" y="4844961"/>
              <a:ext cx="121152" cy="125957"/>
              <a:chOff x="4568863" y="4844961"/>
              <a:chExt cx="121152" cy="125957"/>
            </a:xfrm>
            <a:grpFill/>
          </p:grpSpPr>
          <p:sp>
            <p:nvSpPr>
              <p:cNvPr id="1653" name="Vrije vorm: vorm 1652">
                <a:extLst>
                  <a:ext uri="{FF2B5EF4-FFF2-40B4-BE49-F238E27FC236}">
                    <a16:creationId xmlns:a16="http://schemas.microsoft.com/office/drawing/2014/main" id="{5E751E80-C606-4BAC-9E1B-444D72B98567}"/>
                  </a:ext>
                </a:extLst>
              </p:cNvPr>
              <p:cNvSpPr/>
              <p:nvPr/>
            </p:nvSpPr>
            <p:spPr>
              <a:xfrm>
                <a:off x="4576647" y="4852797"/>
                <a:ext cx="105619" cy="110284"/>
              </a:xfrm>
              <a:custGeom>
                <a:avLst/>
                <a:gdLst>
                  <a:gd name="connsiteX0" fmla="*/ 105619 w 105619"/>
                  <a:gd name="connsiteY0" fmla="*/ 2093 h 110284"/>
                  <a:gd name="connsiteX1" fmla="*/ 2153 w 105619"/>
                  <a:gd name="connsiteY1" fmla="*/ 110285 h 110284"/>
                  <a:gd name="connsiteX2" fmla="*/ 0 w 105619"/>
                  <a:gd name="connsiteY2" fmla="*/ 108191 h 110284"/>
                  <a:gd name="connsiteX3" fmla="*/ 103466 w 105619"/>
                  <a:gd name="connsiteY3" fmla="*/ 0 h 110284"/>
                </a:gdLst>
                <a:ahLst/>
                <a:cxnLst>
                  <a:cxn ang="0">
                    <a:pos x="connsiteX0" y="connsiteY0"/>
                  </a:cxn>
                  <a:cxn ang="0">
                    <a:pos x="connsiteX1" y="connsiteY1"/>
                  </a:cxn>
                  <a:cxn ang="0">
                    <a:pos x="connsiteX2" y="connsiteY2"/>
                  </a:cxn>
                  <a:cxn ang="0">
                    <a:pos x="connsiteX3" y="connsiteY3"/>
                  </a:cxn>
                </a:cxnLst>
                <a:rect l="l" t="t" r="r" b="b"/>
                <a:pathLst>
                  <a:path w="105619" h="110284">
                    <a:moveTo>
                      <a:pt x="105619" y="2093"/>
                    </a:moveTo>
                    <a:lnTo>
                      <a:pt x="2153" y="110285"/>
                    </a:lnTo>
                    <a:lnTo>
                      <a:pt x="0" y="108191"/>
                    </a:lnTo>
                    <a:lnTo>
                      <a:pt x="103466" y="0"/>
                    </a:lnTo>
                    <a:close/>
                  </a:path>
                </a:pathLst>
              </a:custGeom>
              <a:grpFill/>
              <a:ln w="5978" cap="flat">
                <a:noFill/>
                <a:prstDash val="solid"/>
                <a:miter/>
              </a:ln>
            </p:spPr>
            <p:txBody>
              <a:bodyPr rtlCol="0" anchor="ctr"/>
              <a:lstStyle/>
              <a:p>
                <a:endParaRPr lang="en-GB"/>
              </a:p>
            </p:txBody>
          </p:sp>
          <p:sp>
            <p:nvSpPr>
              <p:cNvPr id="1654" name="Vrije vorm: vorm 1653">
                <a:extLst>
                  <a:ext uri="{FF2B5EF4-FFF2-40B4-BE49-F238E27FC236}">
                    <a16:creationId xmlns:a16="http://schemas.microsoft.com/office/drawing/2014/main" id="{B8315E28-5307-44ED-B762-77E003E647EE}"/>
                  </a:ext>
                </a:extLst>
              </p:cNvPr>
              <p:cNvSpPr/>
              <p:nvPr/>
            </p:nvSpPr>
            <p:spPr>
              <a:xfrm>
                <a:off x="4568863" y="4952494"/>
                <a:ext cx="18365" cy="18423"/>
              </a:xfrm>
              <a:custGeom>
                <a:avLst/>
                <a:gdLst>
                  <a:gd name="connsiteX0" fmla="*/ 15799 w 18365"/>
                  <a:gd name="connsiteY0" fmla="*/ 15611 h 18423"/>
                  <a:gd name="connsiteX1" fmla="*/ 2821 w 18365"/>
                  <a:gd name="connsiteY1" fmla="*/ 15851 h 18423"/>
                  <a:gd name="connsiteX2" fmla="*/ 2522 w 18365"/>
                  <a:gd name="connsiteY2" fmla="*/ 2813 h 18423"/>
                  <a:gd name="connsiteX3" fmla="*/ 15500 w 18365"/>
                  <a:gd name="connsiteY3" fmla="*/ 2573 h 18423"/>
                  <a:gd name="connsiteX4" fmla="*/ 15799 w 18365"/>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5" h="18423">
                    <a:moveTo>
                      <a:pt x="15799" y="15611"/>
                    </a:moveTo>
                    <a:cubicBezTo>
                      <a:pt x="12270" y="19260"/>
                      <a:pt x="6469" y="19379"/>
                      <a:pt x="2821" y="15851"/>
                    </a:cubicBezTo>
                    <a:cubicBezTo>
                      <a:pt x="-827" y="12322"/>
                      <a:pt x="-947" y="6461"/>
                      <a:pt x="2522" y="2813"/>
                    </a:cubicBezTo>
                    <a:cubicBezTo>
                      <a:pt x="6050" y="-836"/>
                      <a:pt x="11852" y="-955"/>
                      <a:pt x="15500" y="2573"/>
                    </a:cubicBezTo>
                    <a:cubicBezTo>
                      <a:pt x="19208" y="6102"/>
                      <a:pt x="19328" y="11963"/>
                      <a:pt x="15799" y="15611"/>
                    </a:cubicBezTo>
                    <a:close/>
                  </a:path>
                </a:pathLst>
              </a:custGeom>
              <a:grpFill/>
              <a:ln w="5978" cap="flat">
                <a:noFill/>
                <a:prstDash val="solid"/>
                <a:miter/>
              </a:ln>
            </p:spPr>
            <p:txBody>
              <a:bodyPr rtlCol="0" anchor="ctr"/>
              <a:lstStyle/>
              <a:p>
                <a:endParaRPr lang="en-GB"/>
              </a:p>
            </p:txBody>
          </p:sp>
          <p:sp>
            <p:nvSpPr>
              <p:cNvPr id="1655" name="Vrije vorm: vorm 1654">
                <a:extLst>
                  <a:ext uri="{FF2B5EF4-FFF2-40B4-BE49-F238E27FC236}">
                    <a16:creationId xmlns:a16="http://schemas.microsoft.com/office/drawing/2014/main" id="{4477EA34-7226-47B5-9C9C-6B4D8F421482}"/>
                  </a:ext>
                </a:extLst>
              </p:cNvPr>
              <p:cNvSpPr/>
              <p:nvPr/>
            </p:nvSpPr>
            <p:spPr>
              <a:xfrm>
                <a:off x="4671648" y="4844961"/>
                <a:ext cx="18366" cy="18423"/>
              </a:xfrm>
              <a:custGeom>
                <a:avLst/>
                <a:gdLst>
                  <a:gd name="connsiteX0" fmla="*/ 15822 w 18366"/>
                  <a:gd name="connsiteY0" fmla="*/ 15611 h 18423"/>
                  <a:gd name="connsiteX1" fmla="*/ 15523 w 18366"/>
                  <a:gd name="connsiteY1" fmla="*/ 2573 h 18423"/>
                  <a:gd name="connsiteX2" fmla="*/ 2545 w 18366"/>
                  <a:gd name="connsiteY2" fmla="*/ 2813 h 18423"/>
                  <a:gd name="connsiteX3" fmla="*/ 2844 w 18366"/>
                  <a:gd name="connsiteY3" fmla="*/ 15851 h 18423"/>
                  <a:gd name="connsiteX4" fmla="*/ 15822 w 18366"/>
                  <a:gd name="connsiteY4" fmla="*/ 1561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3">
                    <a:moveTo>
                      <a:pt x="15822" y="15611"/>
                    </a:moveTo>
                    <a:cubicBezTo>
                      <a:pt x="19351" y="11963"/>
                      <a:pt x="19171" y="6102"/>
                      <a:pt x="15523" y="2573"/>
                    </a:cubicBezTo>
                    <a:cubicBezTo>
                      <a:pt x="11875" y="-955"/>
                      <a:pt x="6073" y="-836"/>
                      <a:pt x="2545" y="2813"/>
                    </a:cubicBezTo>
                    <a:cubicBezTo>
                      <a:pt x="-984" y="6461"/>
                      <a:pt x="-804" y="12322"/>
                      <a:pt x="2844" y="15851"/>
                    </a:cubicBezTo>
                    <a:cubicBezTo>
                      <a:pt x="6552" y="19379"/>
                      <a:pt x="12353" y="19260"/>
                      <a:pt x="15822" y="15611"/>
                    </a:cubicBezTo>
                    <a:close/>
                  </a:path>
                </a:pathLst>
              </a:custGeom>
              <a:grpFill/>
              <a:ln w="5978" cap="flat">
                <a:noFill/>
                <a:prstDash val="solid"/>
                <a:miter/>
              </a:ln>
            </p:spPr>
            <p:txBody>
              <a:bodyPr rtlCol="0" anchor="ctr"/>
              <a:lstStyle/>
              <a:p>
                <a:endParaRPr lang="en-GB"/>
              </a:p>
            </p:txBody>
          </p:sp>
        </p:grpSp>
        <p:grpSp>
          <p:nvGrpSpPr>
            <p:cNvPr id="1251" name="Graphic 3">
              <a:extLst>
                <a:ext uri="{FF2B5EF4-FFF2-40B4-BE49-F238E27FC236}">
                  <a16:creationId xmlns:a16="http://schemas.microsoft.com/office/drawing/2014/main" id="{FAAFA211-780C-4416-A407-B89FCD2F51B4}"/>
                </a:ext>
              </a:extLst>
            </p:cNvPr>
            <p:cNvGrpSpPr/>
            <p:nvPr/>
          </p:nvGrpSpPr>
          <p:grpSpPr>
            <a:xfrm>
              <a:off x="4160801" y="3915253"/>
              <a:ext cx="267533" cy="59820"/>
              <a:chOff x="4160801" y="3915253"/>
              <a:chExt cx="267533" cy="59820"/>
            </a:xfrm>
            <a:grpFill/>
          </p:grpSpPr>
          <p:sp>
            <p:nvSpPr>
              <p:cNvPr id="1650" name="Vrije vorm: vorm 1649">
                <a:extLst>
                  <a:ext uri="{FF2B5EF4-FFF2-40B4-BE49-F238E27FC236}">
                    <a16:creationId xmlns:a16="http://schemas.microsoft.com/office/drawing/2014/main" id="{64241DE2-B5AD-452C-BD64-BF5DFD89B449}"/>
                  </a:ext>
                </a:extLst>
              </p:cNvPr>
              <p:cNvSpPr/>
              <p:nvPr/>
            </p:nvSpPr>
            <p:spPr>
              <a:xfrm>
                <a:off x="4169300" y="3922915"/>
                <a:ext cx="250592" cy="44496"/>
              </a:xfrm>
              <a:custGeom>
                <a:avLst/>
                <a:gdLst>
                  <a:gd name="connsiteX0" fmla="*/ 250054 w 250592"/>
                  <a:gd name="connsiteY0" fmla="*/ 0 h 44496"/>
                  <a:gd name="connsiteX1" fmla="*/ 250592 w 250592"/>
                  <a:gd name="connsiteY1" fmla="*/ 2990 h 44496"/>
                  <a:gd name="connsiteX2" fmla="*/ 538 w 250592"/>
                  <a:gd name="connsiteY2" fmla="*/ 44496 h 44496"/>
                  <a:gd name="connsiteX3" fmla="*/ 0 w 250592"/>
                  <a:gd name="connsiteY3" fmla="*/ 41506 h 44496"/>
                </a:gdLst>
                <a:ahLst/>
                <a:cxnLst>
                  <a:cxn ang="0">
                    <a:pos x="connsiteX0" y="connsiteY0"/>
                  </a:cxn>
                  <a:cxn ang="0">
                    <a:pos x="connsiteX1" y="connsiteY1"/>
                  </a:cxn>
                  <a:cxn ang="0">
                    <a:pos x="connsiteX2" y="connsiteY2"/>
                  </a:cxn>
                  <a:cxn ang="0">
                    <a:pos x="connsiteX3" y="connsiteY3"/>
                  </a:cxn>
                </a:cxnLst>
                <a:rect l="l" t="t" r="r" b="b"/>
                <a:pathLst>
                  <a:path w="250592" h="44496">
                    <a:moveTo>
                      <a:pt x="250054" y="0"/>
                    </a:moveTo>
                    <a:lnTo>
                      <a:pt x="250592" y="2990"/>
                    </a:lnTo>
                    <a:lnTo>
                      <a:pt x="538" y="44496"/>
                    </a:lnTo>
                    <a:lnTo>
                      <a:pt x="0" y="41506"/>
                    </a:lnTo>
                    <a:close/>
                  </a:path>
                </a:pathLst>
              </a:custGeom>
              <a:grpFill/>
              <a:ln w="5978" cap="flat">
                <a:noFill/>
                <a:prstDash val="solid"/>
                <a:miter/>
              </a:ln>
            </p:spPr>
            <p:txBody>
              <a:bodyPr rtlCol="0" anchor="ctr"/>
              <a:lstStyle/>
              <a:p>
                <a:endParaRPr lang="en-GB"/>
              </a:p>
            </p:txBody>
          </p:sp>
          <p:sp>
            <p:nvSpPr>
              <p:cNvPr id="1651" name="Vrije vorm: vorm 1650">
                <a:extLst>
                  <a:ext uri="{FF2B5EF4-FFF2-40B4-BE49-F238E27FC236}">
                    <a16:creationId xmlns:a16="http://schemas.microsoft.com/office/drawing/2014/main" id="{E42A4339-63BE-4507-9CE9-084D0A633754}"/>
                  </a:ext>
                </a:extLst>
              </p:cNvPr>
              <p:cNvSpPr/>
              <p:nvPr/>
            </p:nvSpPr>
            <p:spPr>
              <a:xfrm>
                <a:off x="4409972" y="3915253"/>
                <a:ext cx="18361" cy="18434"/>
              </a:xfrm>
              <a:custGeom>
                <a:avLst/>
                <a:gdLst>
                  <a:gd name="connsiteX0" fmla="*/ 7648 w 18361"/>
                  <a:gd name="connsiteY0" fmla="*/ 126 h 18434"/>
                  <a:gd name="connsiteX1" fmla="*/ 18234 w 18361"/>
                  <a:gd name="connsiteY1" fmla="*/ 7722 h 18434"/>
                  <a:gd name="connsiteX2" fmla="*/ 10698 w 18361"/>
                  <a:gd name="connsiteY2" fmla="*/ 18308 h 18434"/>
                  <a:gd name="connsiteX3" fmla="*/ 112 w 18361"/>
                  <a:gd name="connsiteY3" fmla="*/ 10712 h 18434"/>
                  <a:gd name="connsiteX4" fmla="*/ 7648 w 18361"/>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34">
                    <a:moveTo>
                      <a:pt x="7648" y="126"/>
                    </a:moveTo>
                    <a:cubicBezTo>
                      <a:pt x="12612" y="-711"/>
                      <a:pt x="17396" y="2698"/>
                      <a:pt x="18234" y="7722"/>
                    </a:cubicBezTo>
                    <a:cubicBezTo>
                      <a:pt x="19071" y="12746"/>
                      <a:pt x="15722" y="17470"/>
                      <a:pt x="10698" y="18308"/>
                    </a:cubicBezTo>
                    <a:cubicBezTo>
                      <a:pt x="5734" y="19145"/>
                      <a:pt x="949" y="15736"/>
                      <a:pt x="112" y="10712"/>
                    </a:cubicBezTo>
                    <a:cubicBezTo>
                      <a:pt x="-665" y="5689"/>
                      <a:pt x="2684" y="964"/>
                      <a:pt x="7648" y="126"/>
                    </a:cubicBezTo>
                    <a:close/>
                  </a:path>
                </a:pathLst>
              </a:custGeom>
              <a:grpFill/>
              <a:ln w="5978" cap="flat">
                <a:noFill/>
                <a:prstDash val="solid"/>
                <a:miter/>
              </a:ln>
            </p:spPr>
            <p:txBody>
              <a:bodyPr rtlCol="0" anchor="ctr"/>
              <a:lstStyle/>
              <a:p>
                <a:endParaRPr lang="en-GB"/>
              </a:p>
            </p:txBody>
          </p:sp>
          <p:sp>
            <p:nvSpPr>
              <p:cNvPr id="1652" name="Vrije vorm: vorm 1651">
                <a:extLst>
                  <a:ext uri="{FF2B5EF4-FFF2-40B4-BE49-F238E27FC236}">
                    <a16:creationId xmlns:a16="http://schemas.microsoft.com/office/drawing/2014/main" id="{E33C8CA1-E10B-45E6-AC37-D90F45960D55}"/>
                  </a:ext>
                </a:extLst>
              </p:cNvPr>
              <p:cNvSpPr/>
              <p:nvPr/>
            </p:nvSpPr>
            <p:spPr>
              <a:xfrm>
                <a:off x="4160801" y="3956639"/>
                <a:ext cx="18374" cy="18434"/>
              </a:xfrm>
              <a:custGeom>
                <a:avLst/>
                <a:gdLst>
                  <a:gd name="connsiteX0" fmla="*/ 7662 w 18374"/>
                  <a:gd name="connsiteY0" fmla="*/ 126 h 18434"/>
                  <a:gd name="connsiteX1" fmla="*/ 127 w 18374"/>
                  <a:gd name="connsiteY1" fmla="*/ 10712 h 18434"/>
                  <a:gd name="connsiteX2" fmla="*/ 10712 w 18374"/>
                  <a:gd name="connsiteY2" fmla="*/ 18308 h 18434"/>
                  <a:gd name="connsiteX3" fmla="*/ 18248 w 18374"/>
                  <a:gd name="connsiteY3" fmla="*/ 7722 h 18434"/>
                  <a:gd name="connsiteX4" fmla="*/ 7662 w 18374"/>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4" h="18434">
                    <a:moveTo>
                      <a:pt x="7662" y="126"/>
                    </a:moveTo>
                    <a:cubicBezTo>
                      <a:pt x="2698" y="964"/>
                      <a:pt x="-711" y="5689"/>
                      <a:pt x="127" y="10712"/>
                    </a:cubicBezTo>
                    <a:cubicBezTo>
                      <a:pt x="964" y="15736"/>
                      <a:pt x="5689" y="19145"/>
                      <a:pt x="10712" y="18308"/>
                    </a:cubicBezTo>
                    <a:cubicBezTo>
                      <a:pt x="15676" y="17471"/>
                      <a:pt x="19085" y="12746"/>
                      <a:pt x="18248" y="7722"/>
                    </a:cubicBezTo>
                    <a:cubicBezTo>
                      <a:pt x="17411" y="2698"/>
                      <a:pt x="12686" y="-711"/>
                      <a:pt x="7662" y="126"/>
                    </a:cubicBezTo>
                    <a:close/>
                  </a:path>
                </a:pathLst>
              </a:custGeom>
              <a:grpFill/>
              <a:ln w="5978" cap="flat">
                <a:noFill/>
                <a:prstDash val="solid"/>
                <a:miter/>
              </a:ln>
            </p:spPr>
            <p:txBody>
              <a:bodyPr rtlCol="0" anchor="ctr"/>
              <a:lstStyle/>
              <a:p>
                <a:endParaRPr lang="en-GB"/>
              </a:p>
            </p:txBody>
          </p:sp>
        </p:grpSp>
        <p:grpSp>
          <p:nvGrpSpPr>
            <p:cNvPr id="1252" name="Graphic 3">
              <a:extLst>
                <a:ext uri="{FF2B5EF4-FFF2-40B4-BE49-F238E27FC236}">
                  <a16:creationId xmlns:a16="http://schemas.microsoft.com/office/drawing/2014/main" id="{2203FFD1-0F48-476C-9A30-0C0CE6432237}"/>
                </a:ext>
              </a:extLst>
            </p:cNvPr>
            <p:cNvGrpSpPr/>
            <p:nvPr/>
          </p:nvGrpSpPr>
          <p:grpSpPr>
            <a:xfrm>
              <a:off x="4298539" y="4395808"/>
              <a:ext cx="381698" cy="231159"/>
              <a:chOff x="4298539" y="4395808"/>
              <a:chExt cx="381698" cy="231159"/>
            </a:xfrm>
            <a:grpFill/>
          </p:grpSpPr>
          <p:sp>
            <p:nvSpPr>
              <p:cNvPr id="1647" name="Vrije vorm: vorm 1646">
                <a:extLst>
                  <a:ext uri="{FF2B5EF4-FFF2-40B4-BE49-F238E27FC236}">
                    <a16:creationId xmlns:a16="http://schemas.microsoft.com/office/drawing/2014/main" id="{64743BD2-E2DC-466F-A10C-F1A8607594C3}"/>
                  </a:ext>
                </a:extLst>
              </p:cNvPr>
              <p:cNvSpPr/>
              <p:nvPr/>
            </p:nvSpPr>
            <p:spPr>
              <a:xfrm>
                <a:off x="4306558" y="4403466"/>
                <a:ext cx="365661" cy="215784"/>
              </a:xfrm>
              <a:custGeom>
                <a:avLst/>
                <a:gdLst>
                  <a:gd name="connsiteX0" fmla="*/ 365661 w 365661"/>
                  <a:gd name="connsiteY0" fmla="*/ 2632 h 215784"/>
                  <a:gd name="connsiteX1" fmla="*/ 1495 w 365661"/>
                  <a:gd name="connsiteY1" fmla="*/ 215785 h 215784"/>
                  <a:gd name="connsiteX2" fmla="*/ 0 w 365661"/>
                  <a:gd name="connsiteY2" fmla="*/ 213093 h 215784"/>
                  <a:gd name="connsiteX3" fmla="*/ 364166 w 365661"/>
                  <a:gd name="connsiteY3" fmla="*/ 0 h 215784"/>
                </a:gdLst>
                <a:ahLst/>
                <a:cxnLst>
                  <a:cxn ang="0">
                    <a:pos x="connsiteX0" y="connsiteY0"/>
                  </a:cxn>
                  <a:cxn ang="0">
                    <a:pos x="connsiteX1" y="connsiteY1"/>
                  </a:cxn>
                  <a:cxn ang="0">
                    <a:pos x="connsiteX2" y="connsiteY2"/>
                  </a:cxn>
                  <a:cxn ang="0">
                    <a:pos x="connsiteX3" y="connsiteY3"/>
                  </a:cxn>
                </a:cxnLst>
                <a:rect l="l" t="t" r="r" b="b"/>
                <a:pathLst>
                  <a:path w="365661" h="215784">
                    <a:moveTo>
                      <a:pt x="365661" y="2632"/>
                    </a:moveTo>
                    <a:lnTo>
                      <a:pt x="1495" y="215785"/>
                    </a:lnTo>
                    <a:lnTo>
                      <a:pt x="0" y="213093"/>
                    </a:lnTo>
                    <a:lnTo>
                      <a:pt x="364166" y="0"/>
                    </a:lnTo>
                    <a:close/>
                  </a:path>
                </a:pathLst>
              </a:custGeom>
              <a:grpFill/>
              <a:ln w="5978" cap="flat">
                <a:noFill/>
                <a:prstDash val="solid"/>
                <a:miter/>
              </a:ln>
            </p:spPr>
            <p:txBody>
              <a:bodyPr rtlCol="0" anchor="ctr"/>
              <a:lstStyle/>
              <a:p>
                <a:endParaRPr lang="en-GB"/>
              </a:p>
            </p:txBody>
          </p:sp>
          <p:sp>
            <p:nvSpPr>
              <p:cNvPr id="1648" name="Vrije vorm: vorm 1647">
                <a:extLst>
                  <a:ext uri="{FF2B5EF4-FFF2-40B4-BE49-F238E27FC236}">
                    <a16:creationId xmlns:a16="http://schemas.microsoft.com/office/drawing/2014/main" id="{0C9A4F10-8C4A-43A3-8FE1-7B5A903A5625}"/>
                  </a:ext>
                </a:extLst>
              </p:cNvPr>
              <p:cNvSpPr/>
              <p:nvPr/>
            </p:nvSpPr>
            <p:spPr>
              <a:xfrm>
                <a:off x="4661895" y="4395808"/>
                <a:ext cx="18343" cy="18484"/>
              </a:xfrm>
              <a:custGeom>
                <a:avLst/>
                <a:gdLst>
                  <a:gd name="connsiteX0" fmla="*/ 4523 w 18343"/>
                  <a:gd name="connsiteY0" fmla="*/ 1258 h 18484"/>
                  <a:gd name="connsiteX1" fmla="*/ 17083 w 18343"/>
                  <a:gd name="connsiteY1" fmla="*/ 4607 h 18484"/>
                  <a:gd name="connsiteX2" fmla="*/ 13793 w 18343"/>
                  <a:gd name="connsiteY2" fmla="*/ 17227 h 18484"/>
                  <a:gd name="connsiteX3" fmla="*/ 1234 w 18343"/>
                  <a:gd name="connsiteY3" fmla="*/ 13877 h 18484"/>
                  <a:gd name="connsiteX4" fmla="*/ 4523 w 18343"/>
                  <a:gd name="connsiteY4" fmla="*/ 125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4523" y="1258"/>
                    </a:moveTo>
                    <a:cubicBezTo>
                      <a:pt x="8889" y="-1313"/>
                      <a:pt x="14511" y="182"/>
                      <a:pt x="17083" y="4607"/>
                    </a:cubicBezTo>
                    <a:cubicBezTo>
                      <a:pt x="19654" y="9033"/>
                      <a:pt x="18159" y="14655"/>
                      <a:pt x="13793" y="17227"/>
                    </a:cubicBezTo>
                    <a:cubicBezTo>
                      <a:pt x="9427" y="19798"/>
                      <a:pt x="3805" y="18303"/>
                      <a:pt x="1234" y="13877"/>
                    </a:cubicBezTo>
                    <a:cubicBezTo>
                      <a:pt x="-1278" y="9452"/>
                      <a:pt x="157" y="3830"/>
                      <a:pt x="4523" y="1258"/>
                    </a:cubicBezTo>
                    <a:close/>
                  </a:path>
                </a:pathLst>
              </a:custGeom>
              <a:grpFill/>
              <a:ln w="5978" cap="flat">
                <a:noFill/>
                <a:prstDash val="solid"/>
                <a:miter/>
              </a:ln>
            </p:spPr>
            <p:txBody>
              <a:bodyPr rtlCol="0" anchor="ctr"/>
              <a:lstStyle/>
              <a:p>
                <a:endParaRPr lang="en-GB"/>
              </a:p>
            </p:txBody>
          </p:sp>
          <p:sp>
            <p:nvSpPr>
              <p:cNvPr id="1649" name="Vrije vorm: vorm 1648">
                <a:extLst>
                  <a:ext uri="{FF2B5EF4-FFF2-40B4-BE49-F238E27FC236}">
                    <a16:creationId xmlns:a16="http://schemas.microsoft.com/office/drawing/2014/main" id="{D2DFF84A-D034-410F-9C0F-076751B86DDE}"/>
                  </a:ext>
                </a:extLst>
              </p:cNvPr>
              <p:cNvSpPr/>
              <p:nvPr/>
            </p:nvSpPr>
            <p:spPr>
              <a:xfrm>
                <a:off x="4298539" y="4608483"/>
                <a:ext cx="18343" cy="18484"/>
              </a:xfrm>
              <a:custGeom>
                <a:avLst/>
                <a:gdLst>
                  <a:gd name="connsiteX0" fmla="*/ 4550 w 18343"/>
                  <a:gd name="connsiteY0" fmla="*/ 1258 h 18484"/>
                  <a:gd name="connsiteX1" fmla="*/ 1260 w 18343"/>
                  <a:gd name="connsiteY1" fmla="*/ 13877 h 18484"/>
                  <a:gd name="connsiteX2" fmla="*/ 13820 w 18343"/>
                  <a:gd name="connsiteY2" fmla="*/ 17227 h 18484"/>
                  <a:gd name="connsiteX3" fmla="*/ 17109 w 18343"/>
                  <a:gd name="connsiteY3" fmla="*/ 4607 h 18484"/>
                  <a:gd name="connsiteX4" fmla="*/ 4550 w 18343"/>
                  <a:gd name="connsiteY4" fmla="*/ 1258 h 18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84">
                    <a:moveTo>
                      <a:pt x="4550" y="1258"/>
                    </a:moveTo>
                    <a:cubicBezTo>
                      <a:pt x="184" y="3830"/>
                      <a:pt x="-1311" y="9452"/>
                      <a:pt x="1260" y="13877"/>
                    </a:cubicBezTo>
                    <a:cubicBezTo>
                      <a:pt x="3832" y="18303"/>
                      <a:pt x="9454" y="19798"/>
                      <a:pt x="13820" y="17227"/>
                    </a:cubicBezTo>
                    <a:cubicBezTo>
                      <a:pt x="18186" y="14655"/>
                      <a:pt x="19621" y="9033"/>
                      <a:pt x="17109" y="4607"/>
                    </a:cubicBezTo>
                    <a:cubicBezTo>
                      <a:pt x="14538" y="182"/>
                      <a:pt x="8916" y="-1313"/>
                      <a:pt x="4550" y="1258"/>
                    </a:cubicBezTo>
                    <a:close/>
                  </a:path>
                </a:pathLst>
              </a:custGeom>
              <a:grpFill/>
              <a:ln w="5978" cap="flat">
                <a:noFill/>
                <a:prstDash val="solid"/>
                <a:miter/>
              </a:ln>
            </p:spPr>
            <p:txBody>
              <a:bodyPr rtlCol="0" anchor="ctr"/>
              <a:lstStyle/>
              <a:p>
                <a:endParaRPr lang="en-GB"/>
              </a:p>
            </p:txBody>
          </p:sp>
        </p:grpSp>
        <p:grpSp>
          <p:nvGrpSpPr>
            <p:cNvPr id="1253" name="Graphic 3">
              <a:extLst>
                <a:ext uri="{FF2B5EF4-FFF2-40B4-BE49-F238E27FC236}">
                  <a16:creationId xmlns:a16="http://schemas.microsoft.com/office/drawing/2014/main" id="{D16793A5-ACCD-41ED-A7D5-E614E230A0D3}"/>
                </a:ext>
              </a:extLst>
            </p:cNvPr>
            <p:cNvGrpSpPr/>
            <p:nvPr/>
          </p:nvGrpSpPr>
          <p:grpSpPr>
            <a:xfrm>
              <a:off x="4352466" y="4205720"/>
              <a:ext cx="66912" cy="42030"/>
              <a:chOff x="4352466" y="4205720"/>
              <a:chExt cx="66912" cy="42030"/>
            </a:xfrm>
            <a:grpFill/>
          </p:grpSpPr>
          <p:sp>
            <p:nvSpPr>
              <p:cNvPr id="1644" name="Vrije vorm: vorm 1643">
                <a:extLst>
                  <a:ext uri="{FF2B5EF4-FFF2-40B4-BE49-F238E27FC236}">
                    <a16:creationId xmlns:a16="http://schemas.microsoft.com/office/drawing/2014/main" id="{81CFB5CD-36E8-4852-AC94-B5FBBEF3E083}"/>
                  </a:ext>
                </a:extLst>
              </p:cNvPr>
              <p:cNvSpPr/>
              <p:nvPr/>
            </p:nvSpPr>
            <p:spPr>
              <a:xfrm>
                <a:off x="4360564" y="4213398"/>
                <a:ext cx="50716" cy="26674"/>
              </a:xfrm>
              <a:custGeom>
                <a:avLst/>
                <a:gdLst>
                  <a:gd name="connsiteX0" fmla="*/ 50716 w 50716"/>
                  <a:gd name="connsiteY0" fmla="*/ 2751 h 26674"/>
                  <a:gd name="connsiteX1" fmla="*/ 1316 w 50716"/>
                  <a:gd name="connsiteY1" fmla="*/ 26674 h 26674"/>
                  <a:gd name="connsiteX2" fmla="*/ 0 w 50716"/>
                  <a:gd name="connsiteY2" fmla="*/ 23923 h 26674"/>
                  <a:gd name="connsiteX3" fmla="*/ 49400 w 50716"/>
                  <a:gd name="connsiteY3" fmla="*/ 0 h 26674"/>
                </a:gdLst>
                <a:ahLst/>
                <a:cxnLst>
                  <a:cxn ang="0">
                    <a:pos x="connsiteX0" y="connsiteY0"/>
                  </a:cxn>
                  <a:cxn ang="0">
                    <a:pos x="connsiteX1" y="connsiteY1"/>
                  </a:cxn>
                  <a:cxn ang="0">
                    <a:pos x="connsiteX2" y="connsiteY2"/>
                  </a:cxn>
                  <a:cxn ang="0">
                    <a:pos x="connsiteX3" y="connsiteY3"/>
                  </a:cxn>
                </a:cxnLst>
                <a:rect l="l" t="t" r="r" b="b"/>
                <a:pathLst>
                  <a:path w="50716" h="26674">
                    <a:moveTo>
                      <a:pt x="50716" y="2751"/>
                    </a:moveTo>
                    <a:lnTo>
                      <a:pt x="1316" y="26674"/>
                    </a:lnTo>
                    <a:lnTo>
                      <a:pt x="0" y="23923"/>
                    </a:lnTo>
                    <a:lnTo>
                      <a:pt x="49400" y="0"/>
                    </a:lnTo>
                    <a:close/>
                  </a:path>
                </a:pathLst>
              </a:custGeom>
              <a:grpFill/>
              <a:ln w="5978" cap="flat">
                <a:noFill/>
                <a:prstDash val="solid"/>
                <a:miter/>
              </a:ln>
            </p:spPr>
            <p:txBody>
              <a:bodyPr rtlCol="0" anchor="ctr"/>
              <a:lstStyle/>
              <a:p>
                <a:endParaRPr lang="en-GB"/>
              </a:p>
            </p:txBody>
          </p:sp>
          <p:sp>
            <p:nvSpPr>
              <p:cNvPr id="1645" name="Vrije vorm: vorm 1644">
                <a:extLst>
                  <a:ext uri="{FF2B5EF4-FFF2-40B4-BE49-F238E27FC236}">
                    <a16:creationId xmlns:a16="http://schemas.microsoft.com/office/drawing/2014/main" id="{8F9DDD95-7C28-4719-997E-FD17EE464632}"/>
                  </a:ext>
                </a:extLst>
              </p:cNvPr>
              <p:cNvSpPr/>
              <p:nvPr/>
            </p:nvSpPr>
            <p:spPr>
              <a:xfrm>
                <a:off x="4352466" y="4229284"/>
                <a:ext cx="18349" cy="18466"/>
              </a:xfrm>
              <a:custGeom>
                <a:avLst/>
                <a:gdLst>
                  <a:gd name="connsiteX0" fmla="*/ 13181 w 18349"/>
                  <a:gd name="connsiteY0" fmla="*/ 17546 h 18466"/>
                  <a:gd name="connsiteX1" fmla="*/ 921 w 18349"/>
                  <a:gd name="connsiteY1" fmla="*/ 13240 h 18466"/>
                  <a:gd name="connsiteX2" fmla="*/ 5167 w 18349"/>
                  <a:gd name="connsiteY2" fmla="*/ 920 h 18466"/>
                  <a:gd name="connsiteX3" fmla="*/ 17428 w 18349"/>
                  <a:gd name="connsiteY3" fmla="*/ 5226 h 18466"/>
                  <a:gd name="connsiteX4" fmla="*/ 13181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1" y="17546"/>
                    </a:moveTo>
                    <a:cubicBezTo>
                      <a:pt x="8636" y="19759"/>
                      <a:pt x="3134" y="17845"/>
                      <a:pt x="921" y="13240"/>
                    </a:cubicBezTo>
                    <a:cubicBezTo>
                      <a:pt x="-1292" y="8635"/>
                      <a:pt x="622" y="3133"/>
                      <a:pt x="5167" y="920"/>
                    </a:cubicBezTo>
                    <a:cubicBezTo>
                      <a:pt x="9713" y="-1293"/>
                      <a:pt x="15215" y="621"/>
                      <a:pt x="17428" y="5226"/>
                    </a:cubicBezTo>
                    <a:cubicBezTo>
                      <a:pt x="19641" y="9831"/>
                      <a:pt x="17727" y="15333"/>
                      <a:pt x="13181" y="17546"/>
                    </a:cubicBezTo>
                    <a:close/>
                  </a:path>
                </a:pathLst>
              </a:custGeom>
              <a:grpFill/>
              <a:ln w="5978" cap="flat">
                <a:noFill/>
                <a:prstDash val="solid"/>
                <a:miter/>
              </a:ln>
            </p:spPr>
            <p:txBody>
              <a:bodyPr rtlCol="0" anchor="ctr"/>
              <a:lstStyle/>
              <a:p>
                <a:endParaRPr lang="en-GB"/>
              </a:p>
            </p:txBody>
          </p:sp>
          <p:sp>
            <p:nvSpPr>
              <p:cNvPr id="1646" name="Vrije vorm: vorm 1645">
                <a:extLst>
                  <a:ext uri="{FF2B5EF4-FFF2-40B4-BE49-F238E27FC236}">
                    <a16:creationId xmlns:a16="http://schemas.microsoft.com/office/drawing/2014/main" id="{7F8415FC-4181-4F0D-B4FE-EED42BC45AD3}"/>
                  </a:ext>
                </a:extLst>
              </p:cNvPr>
              <p:cNvSpPr/>
              <p:nvPr/>
            </p:nvSpPr>
            <p:spPr>
              <a:xfrm>
                <a:off x="4401029" y="4205720"/>
                <a:ext cx="18349" cy="18466"/>
              </a:xfrm>
              <a:custGeom>
                <a:avLst/>
                <a:gdLst>
                  <a:gd name="connsiteX0" fmla="*/ 13181 w 18349"/>
                  <a:gd name="connsiteY0" fmla="*/ 17546 h 18466"/>
                  <a:gd name="connsiteX1" fmla="*/ 17428 w 18349"/>
                  <a:gd name="connsiteY1" fmla="*/ 5226 h 18466"/>
                  <a:gd name="connsiteX2" fmla="*/ 5168 w 18349"/>
                  <a:gd name="connsiteY2" fmla="*/ 920 h 18466"/>
                  <a:gd name="connsiteX3" fmla="*/ 921 w 18349"/>
                  <a:gd name="connsiteY3" fmla="*/ 13240 h 18466"/>
                  <a:gd name="connsiteX4" fmla="*/ 13181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1" y="17546"/>
                    </a:moveTo>
                    <a:cubicBezTo>
                      <a:pt x="17727" y="15333"/>
                      <a:pt x="19641" y="9831"/>
                      <a:pt x="17428" y="5226"/>
                    </a:cubicBezTo>
                    <a:cubicBezTo>
                      <a:pt x="15215" y="621"/>
                      <a:pt x="9713" y="-1293"/>
                      <a:pt x="5168" y="920"/>
                    </a:cubicBezTo>
                    <a:cubicBezTo>
                      <a:pt x="622" y="3133"/>
                      <a:pt x="-1292" y="8635"/>
                      <a:pt x="921" y="13240"/>
                    </a:cubicBezTo>
                    <a:cubicBezTo>
                      <a:pt x="3134" y="17845"/>
                      <a:pt x="8636" y="19759"/>
                      <a:pt x="13181" y="17546"/>
                    </a:cubicBezTo>
                    <a:close/>
                  </a:path>
                </a:pathLst>
              </a:custGeom>
              <a:grpFill/>
              <a:ln w="5978" cap="flat">
                <a:noFill/>
                <a:prstDash val="solid"/>
                <a:miter/>
              </a:ln>
            </p:spPr>
            <p:txBody>
              <a:bodyPr rtlCol="0" anchor="ctr"/>
              <a:lstStyle/>
              <a:p>
                <a:endParaRPr lang="en-GB"/>
              </a:p>
            </p:txBody>
          </p:sp>
        </p:grpSp>
        <p:grpSp>
          <p:nvGrpSpPr>
            <p:cNvPr id="1254" name="Graphic 3">
              <a:extLst>
                <a:ext uri="{FF2B5EF4-FFF2-40B4-BE49-F238E27FC236}">
                  <a16:creationId xmlns:a16="http://schemas.microsoft.com/office/drawing/2014/main" id="{4C16B91C-43CC-46E3-BF51-F2F05870CDCE}"/>
                </a:ext>
              </a:extLst>
            </p:cNvPr>
            <p:cNvGrpSpPr/>
            <p:nvPr/>
          </p:nvGrpSpPr>
          <p:grpSpPr>
            <a:xfrm>
              <a:off x="4535957" y="4728264"/>
              <a:ext cx="61365" cy="57145"/>
              <a:chOff x="4535957" y="4728264"/>
              <a:chExt cx="61365" cy="57145"/>
            </a:xfrm>
            <a:grpFill/>
          </p:grpSpPr>
          <p:sp>
            <p:nvSpPr>
              <p:cNvPr id="1641" name="Vrije vorm: vorm 1640">
                <a:extLst>
                  <a:ext uri="{FF2B5EF4-FFF2-40B4-BE49-F238E27FC236}">
                    <a16:creationId xmlns:a16="http://schemas.microsoft.com/office/drawing/2014/main" id="{D1454B45-034E-43EB-9493-3ABE3AEA4F95}"/>
                  </a:ext>
                </a:extLst>
              </p:cNvPr>
              <p:cNvSpPr/>
              <p:nvPr/>
            </p:nvSpPr>
            <p:spPr>
              <a:xfrm>
                <a:off x="4543753" y="4735994"/>
                <a:ext cx="45752" cy="41685"/>
              </a:xfrm>
              <a:custGeom>
                <a:avLst/>
                <a:gdLst>
                  <a:gd name="connsiteX0" fmla="*/ 45752 w 45752"/>
                  <a:gd name="connsiteY0" fmla="*/ 2273 h 41685"/>
                  <a:gd name="connsiteX1" fmla="*/ 2033 w 45752"/>
                  <a:gd name="connsiteY1" fmla="*/ 41686 h 41685"/>
                  <a:gd name="connsiteX2" fmla="*/ 0 w 45752"/>
                  <a:gd name="connsiteY2" fmla="*/ 39413 h 41685"/>
                  <a:gd name="connsiteX3" fmla="*/ 43719 w 45752"/>
                  <a:gd name="connsiteY3" fmla="*/ 0 h 41685"/>
                </a:gdLst>
                <a:ahLst/>
                <a:cxnLst>
                  <a:cxn ang="0">
                    <a:pos x="connsiteX0" y="connsiteY0"/>
                  </a:cxn>
                  <a:cxn ang="0">
                    <a:pos x="connsiteX1" y="connsiteY1"/>
                  </a:cxn>
                  <a:cxn ang="0">
                    <a:pos x="connsiteX2" y="connsiteY2"/>
                  </a:cxn>
                  <a:cxn ang="0">
                    <a:pos x="connsiteX3" y="connsiteY3"/>
                  </a:cxn>
                </a:cxnLst>
                <a:rect l="l" t="t" r="r" b="b"/>
                <a:pathLst>
                  <a:path w="45752" h="41685">
                    <a:moveTo>
                      <a:pt x="45752" y="2273"/>
                    </a:moveTo>
                    <a:lnTo>
                      <a:pt x="2033" y="41686"/>
                    </a:lnTo>
                    <a:lnTo>
                      <a:pt x="0" y="39413"/>
                    </a:lnTo>
                    <a:lnTo>
                      <a:pt x="43719" y="0"/>
                    </a:lnTo>
                    <a:close/>
                  </a:path>
                </a:pathLst>
              </a:custGeom>
              <a:grpFill/>
              <a:ln w="5978" cap="flat">
                <a:noFill/>
                <a:prstDash val="solid"/>
                <a:miter/>
              </a:ln>
            </p:spPr>
            <p:txBody>
              <a:bodyPr rtlCol="0" anchor="ctr"/>
              <a:lstStyle/>
              <a:p>
                <a:endParaRPr lang="en-GB"/>
              </a:p>
            </p:txBody>
          </p:sp>
          <p:sp>
            <p:nvSpPr>
              <p:cNvPr id="1642" name="Vrije vorm: vorm 1641">
                <a:extLst>
                  <a:ext uri="{FF2B5EF4-FFF2-40B4-BE49-F238E27FC236}">
                    <a16:creationId xmlns:a16="http://schemas.microsoft.com/office/drawing/2014/main" id="{616BC339-F3E9-4B33-8FAF-86F252511FCE}"/>
                  </a:ext>
                </a:extLst>
              </p:cNvPr>
              <p:cNvSpPr/>
              <p:nvPr/>
            </p:nvSpPr>
            <p:spPr>
              <a:xfrm>
                <a:off x="4535957" y="4767019"/>
                <a:ext cx="18304" cy="18391"/>
              </a:xfrm>
              <a:custGeom>
                <a:avLst/>
                <a:gdLst>
                  <a:gd name="connsiteX0" fmla="*/ 15272 w 18304"/>
                  <a:gd name="connsiteY0" fmla="*/ 16043 h 18391"/>
                  <a:gd name="connsiteX1" fmla="*/ 2354 w 18304"/>
                  <a:gd name="connsiteY1" fmla="*/ 15326 h 18391"/>
                  <a:gd name="connsiteX2" fmla="*/ 3011 w 18304"/>
                  <a:gd name="connsiteY2" fmla="*/ 2348 h 18391"/>
                  <a:gd name="connsiteX3" fmla="*/ 15930 w 18304"/>
                  <a:gd name="connsiteY3" fmla="*/ 3065 h 18391"/>
                  <a:gd name="connsiteX4" fmla="*/ 15272 w 18304"/>
                  <a:gd name="connsiteY4" fmla="*/ 16043 h 1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391">
                    <a:moveTo>
                      <a:pt x="15272" y="16043"/>
                    </a:moveTo>
                    <a:cubicBezTo>
                      <a:pt x="11504" y="19452"/>
                      <a:pt x="5703" y="19094"/>
                      <a:pt x="2354" y="15326"/>
                    </a:cubicBezTo>
                    <a:cubicBezTo>
                      <a:pt x="-1055" y="11558"/>
                      <a:pt x="-697" y="5697"/>
                      <a:pt x="3011" y="2348"/>
                    </a:cubicBezTo>
                    <a:cubicBezTo>
                      <a:pt x="6779" y="-1061"/>
                      <a:pt x="12581" y="-703"/>
                      <a:pt x="15930" y="3065"/>
                    </a:cubicBezTo>
                    <a:cubicBezTo>
                      <a:pt x="19339" y="6833"/>
                      <a:pt x="19040" y="12694"/>
                      <a:pt x="15272" y="16043"/>
                    </a:cubicBezTo>
                    <a:close/>
                  </a:path>
                </a:pathLst>
              </a:custGeom>
              <a:grpFill/>
              <a:ln w="5978" cap="flat">
                <a:noFill/>
                <a:prstDash val="solid"/>
                <a:miter/>
              </a:ln>
            </p:spPr>
            <p:txBody>
              <a:bodyPr rtlCol="0" anchor="ctr"/>
              <a:lstStyle/>
              <a:p>
                <a:endParaRPr lang="en-GB"/>
              </a:p>
            </p:txBody>
          </p:sp>
          <p:sp>
            <p:nvSpPr>
              <p:cNvPr id="1643" name="Vrije vorm: vorm 1642">
                <a:extLst>
                  <a:ext uri="{FF2B5EF4-FFF2-40B4-BE49-F238E27FC236}">
                    <a16:creationId xmlns:a16="http://schemas.microsoft.com/office/drawing/2014/main" id="{AD98C96A-B3E2-4A52-BC7F-E03D8F90DC52}"/>
                  </a:ext>
                </a:extLst>
              </p:cNvPr>
              <p:cNvSpPr/>
              <p:nvPr/>
            </p:nvSpPr>
            <p:spPr>
              <a:xfrm>
                <a:off x="4578998" y="4728264"/>
                <a:ext cx="18324" cy="18411"/>
              </a:xfrm>
              <a:custGeom>
                <a:avLst/>
                <a:gdLst>
                  <a:gd name="connsiteX0" fmla="*/ 15293 w 18324"/>
                  <a:gd name="connsiteY0" fmla="*/ 16043 h 18411"/>
                  <a:gd name="connsiteX1" fmla="*/ 15951 w 18324"/>
                  <a:gd name="connsiteY1" fmla="*/ 3065 h 18411"/>
                  <a:gd name="connsiteX2" fmla="*/ 3032 w 18324"/>
                  <a:gd name="connsiteY2" fmla="*/ 2348 h 18411"/>
                  <a:gd name="connsiteX3" fmla="*/ 2374 w 18324"/>
                  <a:gd name="connsiteY3" fmla="*/ 15326 h 18411"/>
                  <a:gd name="connsiteX4" fmla="*/ 15293 w 18324"/>
                  <a:gd name="connsiteY4" fmla="*/ 1604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4" h="18411">
                    <a:moveTo>
                      <a:pt x="15293" y="16043"/>
                    </a:moveTo>
                    <a:cubicBezTo>
                      <a:pt x="19060" y="12634"/>
                      <a:pt x="19359" y="6833"/>
                      <a:pt x="15951" y="3065"/>
                    </a:cubicBezTo>
                    <a:cubicBezTo>
                      <a:pt x="12542" y="-703"/>
                      <a:pt x="6800" y="-1061"/>
                      <a:pt x="3032" y="2348"/>
                    </a:cubicBezTo>
                    <a:cubicBezTo>
                      <a:pt x="-736" y="5757"/>
                      <a:pt x="-1035" y="11558"/>
                      <a:pt x="2374" y="15326"/>
                    </a:cubicBezTo>
                    <a:cubicBezTo>
                      <a:pt x="5724" y="19153"/>
                      <a:pt x="11525" y="19452"/>
                      <a:pt x="15293" y="16043"/>
                    </a:cubicBezTo>
                    <a:close/>
                  </a:path>
                </a:pathLst>
              </a:custGeom>
              <a:grpFill/>
              <a:ln w="5978" cap="flat">
                <a:noFill/>
                <a:prstDash val="solid"/>
                <a:miter/>
              </a:ln>
            </p:spPr>
            <p:txBody>
              <a:bodyPr rtlCol="0" anchor="ctr"/>
              <a:lstStyle/>
              <a:p>
                <a:endParaRPr lang="en-GB"/>
              </a:p>
            </p:txBody>
          </p:sp>
        </p:grpSp>
        <p:grpSp>
          <p:nvGrpSpPr>
            <p:cNvPr id="1255" name="Graphic 3">
              <a:extLst>
                <a:ext uri="{FF2B5EF4-FFF2-40B4-BE49-F238E27FC236}">
                  <a16:creationId xmlns:a16="http://schemas.microsoft.com/office/drawing/2014/main" id="{505C6B7A-426E-4125-873C-6A1458299C81}"/>
                </a:ext>
              </a:extLst>
            </p:cNvPr>
            <p:cNvGrpSpPr/>
            <p:nvPr/>
          </p:nvGrpSpPr>
          <p:grpSpPr>
            <a:xfrm>
              <a:off x="4093770" y="3786263"/>
              <a:ext cx="323196" cy="52268"/>
              <a:chOff x="4093770" y="3786263"/>
              <a:chExt cx="323196" cy="52268"/>
            </a:xfrm>
            <a:grpFill/>
          </p:grpSpPr>
          <p:sp>
            <p:nvSpPr>
              <p:cNvPr id="1638" name="Vrije vorm: vorm 1637">
                <a:extLst>
                  <a:ext uri="{FF2B5EF4-FFF2-40B4-BE49-F238E27FC236}">
                    <a16:creationId xmlns:a16="http://schemas.microsoft.com/office/drawing/2014/main" id="{C910D9EC-81F6-4B89-AB29-D21992689E5A}"/>
                  </a:ext>
                </a:extLst>
              </p:cNvPr>
              <p:cNvSpPr/>
              <p:nvPr/>
            </p:nvSpPr>
            <p:spPr>
              <a:xfrm>
                <a:off x="4102316" y="3793911"/>
                <a:ext cx="306093" cy="36960"/>
              </a:xfrm>
              <a:custGeom>
                <a:avLst/>
                <a:gdLst>
                  <a:gd name="connsiteX0" fmla="*/ 305735 w 306093"/>
                  <a:gd name="connsiteY0" fmla="*/ 0 h 36960"/>
                  <a:gd name="connsiteX1" fmla="*/ 306094 w 306093"/>
                  <a:gd name="connsiteY1" fmla="*/ 3050 h 36960"/>
                  <a:gd name="connsiteX2" fmla="*/ 359 w 306093"/>
                  <a:gd name="connsiteY2" fmla="*/ 36961 h 36960"/>
                  <a:gd name="connsiteX3" fmla="*/ 0 w 306093"/>
                  <a:gd name="connsiteY3" fmla="*/ 33911 h 36960"/>
                </a:gdLst>
                <a:ahLst/>
                <a:cxnLst>
                  <a:cxn ang="0">
                    <a:pos x="connsiteX0" y="connsiteY0"/>
                  </a:cxn>
                  <a:cxn ang="0">
                    <a:pos x="connsiteX1" y="connsiteY1"/>
                  </a:cxn>
                  <a:cxn ang="0">
                    <a:pos x="connsiteX2" y="connsiteY2"/>
                  </a:cxn>
                  <a:cxn ang="0">
                    <a:pos x="connsiteX3" y="connsiteY3"/>
                  </a:cxn>
                </a:cxnLst>
                <a:rect l="l" t="t" r="r" b="b"/>
                <a:pathLst>
                  <a:path w="306093" h="36960">
                    <a:moveTo>
                      <a:pt x="305735" y="0"/>
                    </a:moveTo>
                    <a:lnTo>
                      <a:pt x="306094" y="3050"/>
                    </a:lnTo>
                    <a:lnTo>
                      <a:pt x="359" y="36961"/>
                    </a:lnTo>
                    <a:lnTo>
                      <a:pt x="0" y="33911"/>
                    </a:lnTo>
                    <a:close/>
                  </a:path>
                </a:pathLst>
              </a:custGeom>
              <a:grpFill/>
              <a:ln w="5978" cap="flat">
                <a:noFill/>
                <a:prstDash val="solid"/>
                <a:miter/>
              </a:ln>
            </p:spPr>
            <p:txBody>
              <a:bodyPr rtlCol="0" anchor="ctr"/>
              <a:lstStyle/>
              <a:p>
                <a:endParaRPr lang="en-GB"/>
              </a:p>
            </p:txBody>
          </p:sp>
          <p:sp>
            <p:nvSpPr>
              <p:cNvPr id="1639" name="Vrije vorm: vorm 1638">
                <a:extLst>
                  <a:ext uri="{FF2B5EF4-FFF2-40B4-BE49-F238E27FC236}">
                    <a16:creationId xmlns:a16="http://schemas.microsoft.com/office/drawing/2014/main" id="{849E695B-0A91-4703-BC51-B9F13D294871}"/>
                  </a:ext>
                </a:extLst>
              </p:cNvPr>
              <p:cNvSpPr/>
              <p:nvPr/>
            </p:nvSpPr>
            <p:spPr>
              <a:xfrm>
                <a:off x="4398597" y="3786263"/>
                <a:ext cx="18369" cy="18406"/>
              </a:xfrm>
              <a:custGeom>
                <a:avLst/>
                <a:gdLst>
                  <a:gd name="connsiteX0" fmla="*/ 8138 w 18369"/>
                  <a:gd name="connsiteY0" fmla="*/ 53 h 18406"/>
                  <a:gd name="connsiteX1" fmla="*/ 18305 w 18369"/>
                  <a:gd name="connsiteY1" fmla="*/ 8186 h 18406"/>
                  <a:gd name="connsiteX2" fmla="*/ 10231 w 18369"/>
                  <a:gd name="connsiteY2" fmla="*/ 18354 h 18406"/>
                  <a:gd name="connsiteX3" fmla="*/ 64 w 18369"/>
                  <a:gd name="connsiteY3" fmla="*/ 10220 h 18406"/>
                  <a:gd name="connsiteX4" fmla="*/ 8138 w 18369"/>
                  <a:gd name="connsiteY4" fmla="*/ 5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06">
                    <a:moveTo>
                      <a:pt x="8138" y="53"/>
                    </a:moveTo>
                    <a:cubicBezTo>
                      <a:pt x="13162" y="-486"/>
                      <a:pt x="17707" y="3163"/>
                      <a:pt x="18305" y="8186"/>
                    </a:cubicBezTo>
                    <a:cubicBezTo>
                      <a:pt x="18903" y="13270"/>
                      <a:pt x="15255" y="17815"/>
                      <a:pt x="10231" y="18354"/>
                    </a:cubicBezTo>
                    <a:cubicBezTo>
                      <a:pt x="5208" y="18892"/>
                      <a:pt x="662" y="15244"/>
                      <a:pt x="64" y="10220"/>
                    </a:cubicBezTo>
                    <a:cubicBezTo>
                      <a:pt x="-534" y="5196"/>
                      <a:pt x="3114" y="651"/>
                      <a:pt x="8138" y="53"/>
                    </a:cubicBezTo>
                    <a:close/>
                  </a:path>
                </a:pathLst>
              </a:custGeom>
              <a:grpFill/>
              <a:ln w="5978" cap="flat">
                <a:noFill/>
                <a:prstDash val="solid"/>
                <a:miter/>
              </a:ln>
            </p:spPr>
            <p:txBody>
              <a:bodyPr rtlCol="0" anchor="ctr"/>
              <a:lstStyle/>
              <a:p>
                <a:endParaRPr lang="en-GB"/>
              </a:p>
            </p:txBody>
          </p:sp>
          <p:sp>
            <p:nvSpPr>
              <p:cNvPr id="1640" name="Vrije vorm: vorm 1639">
                <a:extLst>
                  <a:ext uri="{FF2B5EF4-FFF2-40B4-BE49-F238E27FC236}">
                    <a16:creationId xmlns:a16="http://schemas.microsoft.com/office/drawing/2014/main" id="{11A11B4B-2081-430F-9708-E89A2089FE77}"/>
                  </a:ext>
                </a:extLst>
              </p:cNvPr>
              <p:cNvSpPr/>
              <p:nvPr/>
            </p:nvSpPr>
            <p:spPr>
              <a:xfrm>
                <a:off x="4093770" y="3820102"/>
                <a:ext cx="18347" cy="18429"/>
              </a:xfrm>
              <a:custGeom>
                <a:avLst/>
                <a:gdLst>
                  <a:gd name="connsiteX0" fmla="*/ 8128 w 18347"/>
                  <a:gd name="connsiteY0" fmla="*/ 64 h 18429"/>
                  <a:gd name="connsiteX1" fmla="*/ 53 w 18347"/>
                  <a:gd name="connsiteY1" fmla="*/ 10231 h 18429"/>
                  <a:gd name="connsiteX2" fmla="*/ 10221 w 18347"/>
                  <a:gd name="connsiteY2" fmla="*/ 18365 h 18429"/>
                  <a:gd name="connsiteX3" fmla="*/ 18295 w 18347"/>
                  <a:gd name="connsiteY3" fmla="*/ 8198 h 18429"/>
                  <a:gd name="connsiteX4" fmla="*/ 8128 w 18347"/>
                  <a:gd name="connsiteY4" fmla="*/ 6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29">
                    <a:moveTo>
                      <a:pt x="8128" y="64"/>
                    </a:moveTo>
                    <a:cubicBezTo>
                      <a:pt x="3104" y="603"/>
                      <a:pt x="-485" y="5148"/>
                      <a:pt x="53" y="10231"/>
                    </a:cubicBezTo>
                    <a:cubicBezTo>
                      <a:pt x="592" y="15315"/>
                      <a:pt x="5197" y="18963"/>
                      <a:pt x="10221" y="18365"/>
                    </a:cubicBezTo>
                    <a:cubicBezTo>
                      <a:pt x="15245" y="17827"/>
                      <a:pt x="18833" y="13282"/>
                      <a:pt x="18295" y="8198"/>
                    </a:cubicBezTo>
                    <a:cubicBezTo>
                      <a:pt x="17697" y="3114"/>
                      <a:pt x="13151" y="-534"/>
                      <a:pt x="8128" y="64"/>
                    </a:cubicBezTo>
                    <a:close/>
                  </a:path>
                </a:pathLst>
              </a:custGeom>
              <a:grpFill/>
              <a:ln w="5978" cap="flat">
                <a:noFill/>
                <a:prstDash val="solid"/>
                <a:miter/>
              </a:ln>
            </p:spPr>
            <p:txBody>
              <a:bodyPr rtlCol="0" anchor="ctr"/>
              <a:lstStyle/>
              <a:p>
                <a:endParaRPr lang="en-GB"/>
              </a:p>
            </p:txBody>
          </p:sp>
        </p:grpSp>
        <p:grpSp>
          <p:nvGrpSpPr>
            <p:cNvPr id="1256" name="Graphic 3">
              <a:extLst>
                <a:ext uri="{FF2B5EF4-FFF2-40B4-BE49-F238E27FC236}">
                  <a16:creationId xmlns:a16="http://schemas.microsoft.com/office/drawing/2014/main" id="{54F9396C-B43D-4D33-AEE5-24B4547D8304}"/>
                </a:ext>
              </a:extLst>
            </p:cNvPr>
            <p:cNvGrpSpPr/>
            <p:nvPr/>
          </p:nvGrpSpPr>
          <p:grpSpPr>
            <a:xfrm>
              <a:off x="4594014" y="4954742"/>
              <a:ext cx="148933" cy="171401"/>
              <a:chOff x="4594014" y="4954742"/>
              <a:chExt cx="148933" cy="171401"/>
            </a:xfrm>
            <a:grpFill/>
          </p:grpSpPr>
          <p:sp>
            <p:nvSpPr>
              <p:cNvPr id="1635" name="Vrije vorm: vorm 1634">
                <a:extLst>
                  <a:ext uri="{FF2B5EF4-FFF2-40B4-BE49-F238E27FC236}">
                    <a16:creationId xmlns:a16="http://schemas.microsoft.com/office/drawing/2014/main" id="{D30AE4CA-446C-428E-930E-4A00F2735142}"/>
                  </a:ext>
                </a:extLst>
              </p:cNvPr>
              <p:cNvSpPr/>
              <p:nvPr/>
            </p:nvSpPr>
            <p:spPr>
              <a:xfrm>
                <a:off x="4601706" y="4962603"/>
                <a:ext cx="133549" cy="155678"/>
              </a:xfrm>
              <a:custGeom>
                <a:avLst/>
                <a:gdLst>
                  <a:gd name="connsiteX0" fmla="*/ 133550 w 133549"/>
                  <a:gd name="connsiteY0" fmla="*/ 2034 h 155678"/>
                  <a:gd name="connsiteX1" fmla="*/ 2273 w 133549"/>
                  <a:gd name="connsiteY1" fmla="*/ 155678 h 155678"/>
                  <a:gd name="connsiteX2" fmla="*/ 0 w 133549"/>
                  <a:gd name="connsiteY2" fmla="*/ 153645 h 155678"/>
                  <a:gd name="connsiteX3" fmla="*/ 131217 w 133549"/>
                  <a:gd name="connsiteY3" fmla="*/ 0 h 155678"/>
                </a:gdLst>
                <a:ahLst/>
                <a:cxnLst>
                  <a:cxn ang="0">
                    <a:pos x="connsiteX0" y="connsiteY0"/>
                  </a:cxn>
                  <a:cxn ang="0">
                    <a:pos x="connsiteX1" y="connsiteY1"/>
                  </a:cxn>
                  <a:cxn ang="0">
                    <a:pos x="connsiteX2" y="connsiteY2"/>
                  </a:cxn>
                  <a:cxn ang="0">
                    <a:pos x="connsiteX3" y="connsiteY3"/>
                  </a:cxn>
                </a:cxnLst>
                <a:rect l="l" t="t" r="r" b="b"/>
                <a:pathLst>
                  <a:path w="133549" h="155678">
                    <a:moveTo>
                      <a:pt x="133550" y="2034"/>
                    </a:moveTo>
                    <a:lnTo>
                      <a:pt x="2273" y="155678"/>
                    </a:lnTo>
                    <a:lnTo>
                      <a:pt x="0" y="153645"/>
                    </a:lnTo>
                    <a:lnTo>
                      <a:pt x="131217" y="0"/>
                    </a:lnTo>
                    <a:close/>
                  </a:path>
                </a:pathLst>
              </a:custGeom>
              <a:grpFill/>
              <a:ln w="5978" cap="flat">
                <a:noFill/>
                <a:prstDash val="solid"/>
                <a:miter/>
              </a:ln>
            </p:spPr>
            <p:txBody>
              <a:bodyPr rtlCol="0" anchor="ctr"/>
              <a:lstStyle/>
              <a:p>
                <a:endParaRPr lang="en-GB"/>
              </a:p>
            </p:txBody>
          </p:sp>
          <p:sp>
            <p:nvSpPr>
              <p:cNvPr id="1636" name="Vrije vorm: vorm 1635">
                <a:extLst>
                  <a:ext uri="{FF2B5EF4-FFF2-40B4-BE49-F238E27FC236}">
                    <a16:creationId xmlns:a16="http://schemas.microsoft.com/office/drawing/2014/main" id="{7815637B-02E5-4750-81C0-B3F898F30DF7}"/>
                  </a:ext>
                </a:extLst>
              </p:cNvPr>
              <p:cNvSpPr/>
              <p:nvPr/>
            </p:nvSpPr>
            <p:spPr>
              <a:xfrm>
                <a:off x="4594014" y="5107729"/>
                <a:ext cx="18314" cy="18414"/>
              </a:xfrm>
              <a:custGeom>
                <a:avLst/>
                <a:gdLst>
                  <a:gd name="connsiteX0" fmla="*/ 16125 w 18314"/>
                  <a:gd name="connsiteY0" fmla="*/ 15218 h 18414"/>
                  <a:gd name="connsiteX1" fmla="*/ 3206 w 18314"/>
                  <a:gd name="connsiteY1" fmla="*/ 16175 h 18414"/>
                  <a:gd name="connsiteX2" fmla="*/ 2190 w 18314"/>
                  <a:gd name="connsiteY2" fmla="*/ 3196 h 18414"/>
                  <a:gd name="connsiteX3" fmla="*/ 15108 w 18314"/>
                  <a:gd name="connsiteY3" fmla="*/ 2240 h 18414"/>
                  <a:gd name="connsiteX4" fmla="*/ 16125 w 18314"/>
                  <a:gd name="connsiteY4" fmla="*/ 15218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14">
                    <a:moveTo>
                      <a:pt x="16125" y="15218"/>
                    </a:moveTo>
                    <a:cubicBezTo>
                      <a:pt x="12836" y="19046"/>
                      <a:pt x="7034" y="19524"/>
                      <a:pt x="3206" y="16175"/>
                    </a:cubicBezTo>
                    <a:cubicBezTo>
                      <a:pt x="-621" y="12826"/>
                      <a:pt x="-1099" y="7024"/>
                      <a:pt x="2190" y="3196"/>
                    </a:cubicBezTo>
                    <a:cubicBezTo>
                      <a:pt x="5479" y="-631"/>
                      <a:pt x="11281" y="-1109"/>
                      <a:pt x="15108" y="2240"/>
                    </a:cubicBezTo>
                    <a:cubicBezTo>
                      <a:pt x="18936" y="5529"/>
                      <a:pt x="19414" y="11331"/>
                      <a:pt x="16125" y="15218"/>
                    </a:cubicBezTo>
                    <a:close/>
                  </a:path>
                </a:pathLst>
              </a:custGeom>
              <a:grpFill/>
              <a:ln w="5978" cap="flat">
                <a:noFill/>
                <a:prstDash val="solid"/>
                <a:miter/>
              </a:ln>
            </p:spPr>
            <p:txBody>
              <a:bodyPr rtlCol="0" anchor="ctr"/>
              <a:lstStyle/>
              <a:p>
                <a:endParaRPr lang="en-GB"/>
              </a:p>
            </p:txBody>
          </p:sp>
          <p:sp>
            <p:nvSpPr>
              <p:cNvPr id="1637" name="Vrije vorm: vorm 1636">
                <a:extLst>
                  <a:ext uri="{FF2B5EF4-FFF2-40B4-BE49-F238E27FC236}">
                    <a16:creationId xmlns:a16="http://schemas.microsoft.com/office/drawing/2014/main" id="{46D02758-BC6C-4AA3-B779-344FF3C5793B}"/>
                  </a:ext>
                </a:extLst>
              </p:cNvPr>
              <p:cNvSpPr/>
              <p:nvPr/>
            </p:nvSpPr>
            <p:spPr>
              <a:xfrm>
                <a:off x="4724633" y="4954742"/>
                <a:ext cx="18314" cy="18434"/>
              </a:xfrm>
              <a:custGeom>
                <a:avLst/>
                <a:gdLst>
                  <a:gd name="connsiteX0" fmla="*/ 16125 w 18314"/>
                  <a:gd name="connsiteY0" fmla="*/ 15218 h 18434"/>
                  <a:gd name="connsiteX1" fmla="*/ 15108 w 18314"/>
                  <a:gd name="connsiteY1" fmla="*/ 2240 h 18434"/>
                  <a:gd name="connsiteX2" fmla="*/ 2190 w 18314"/>
                  <a:gd name="connsiteY2" fmla="*/ 3197 h 18434"/>
                  <a:gd name="connsiteX3" fmla="*/ 3207 w 18314"/>
                  <a:gd name="connsiteY3" fmla="*/ 16175 h 18434"/>
                  <a:gd name="connsiteX4" fmla="*/ 16125 w 18314"/>
                  <a:gd name="connsiteY4" fmla="*/ 15218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434">
                    <a:moveTo>
                      <a:pt x="16125" y="15218"/>
                    </a:moveTo>
                    <a:cubicBezTo>
                      <a:pt x="19414" y="11390"/>
                      <a:pt x="18936" y="5529"/>
                      <a:pt x="15108" y="2240"/>
                    </a:cubicBezTo>
                    <a:cubicBezTo>
                      <a:pt x="11280" y="-1110"/>
                      <a:pt x="5479" y="-631"/>
                      <a:pt x="2190" y="3197"/>
                    </a:cubicBezTo>
                    <a:cubicBezTo>
                      <a:pt x="-1099" y="7024"/>
                      <a:pt x="-621" y="12886"/>
                      <a:pt x="3207" y="16175"/>
                    </a:cubicBezTo>
                    <a:cubicBezTo>
                      <a:pt x="7034" y="19524"/>
                      <a:pt x="12835" y="19105"/>
                      <a:pt x="16125" y="15218"/>
                    </a:cubicBezTo>
                    <a:close/>
                  </a:path>
                </a:pathLst>
              </a:custGeom>
              <a:grpFill/>
              <a:ln w="5978" cap="flat">
                <a:noFill/>
                <a:prstDash val="solid"/>
                <a:miter/>
              </a:ln>
            </p:spPr>
            <p:txBody>
              <a:bodyPr rtlCol="0" anchor="ctr"/>
              <a:lstStyle/>
              <a:p>
                <a:endParaRPr lang="en-GB"/>
              </a:p>
            </p:txBody>
          </p:sp>
        </p:grpSp>
        <p:grpSp>
          <p:nvGrpSpPr>
            <p:cNvPr id="1257" name="Graphic 3">
              <a:extLst>
                <a:ext uri="{FF2B5EF4-FFF2-40B4-BE49-F238E27FC236}">
                  <a16:creationId xmlns:a16="http://schemas.microsoft.com/office/drawing/2014/main" id="{2FE260E5-3BBC-4C10-807F-D8679FAE3884}"/>
                </a:ext>
              </a:extLst>
            </p:cNvPr>
            <p:cNvGrpSpPr/>
            <p:nvPr/>
          </p:nvGrpSpPr>
          <p:grpSpPr>
            <a:xfrm>
              <a:off x="4199527" y="3689199"/>
              <a:ext cx="20241" cy="18698"/>
              <a:chOff x="4199527" y="3689199"/>
              <a:chExt cx="20241" cy="18698"/>
            </a:xfrm>
            <a:grpFill/>
          </p:grpSpPr>
          <p:sp>
            <p:nvSpPr>
              <p:cNvPr id="1633" name="Vrije vorm: vorm 1632">
                <a:extLst>
                  <a:ext uri="{FF2B5EF4-FFF2-40B4-BE49-F238E27FC236}">
                    <a16:creationId xmlns:a16="http://schemas.microsoft.com/office/drawing/2014/main" id="{4A20C804-C5BA-4E62-B9DE-7FF00B317B11}"/>
                  </a:ext>
                </a:extLst>
              </p:cNvPr>
              <p:cNvSpPr/>
              <p:nvPr/>
            </p:nvSpPr>
            <p:spPr>
              <a:xfrm>
                <a:off x="4199527" y="3689498"/>
                <a:ext cx="18327" cy="18399"/>
              </a:xfrm>
              <a:custGeom>
                <a:avLst/>
                <a:gdLst>
                  <a:gd name="connsiteX0" fmla="*/ 7751 w 18327"/>
                  <a:gd name="connsiteY0" fmla="*/ 109 h 18399"/>
                  <a:gd name="connsiteX1" fmla="*/ 18217 w 18327"/>
                  <a:gd name="connsiteY1" fmla="*/ 7824 h 18399"/>
                  <a:gd name="connsiteX2" fmla="*/ 10562 w 18327"/>
                  <a:gd name="connsiteY2" fmla="*/ 18290 h 18399"/>
                  <a:gd name="connsiteX3" fmla="*/ 95 w 18327"/>
                  <a:gd name="connsiteY3" fmla="*/ 10575 h 18399"/>
                  <a:gd name="connsiteX4" fmla="*/ 7751 w 18327"/>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9">
                    <a:moveTo>
                      <a:pt x="7751" y="109"/>
                    </a:moveTo>
                    <a:cubicBezTo>
                      <a:pt x="12774" y="-668"/>
                      <a:pt x="17440" y="2800"/>
                      <a:pt x="18217" y="7824"/>
                    </a:cubicBezTo>
                    <a:cubicBezTo>
                      <a:pt x="18995" y="12848"/>
                      <a:pt x="15586" y="17573"/>
                      <a:pt x="10562" y="18290"/>
                    </a:cubicBezTo>
                    <a:cubicBezTo>
                      <a:pt x="5538" y="19068"/>
                      <a:pt x="873" y="15599"/>
                      <a:pt x="95" y="10575"/>
                    </a:cubicBezTo>
                    <a:cubicBezTo>
                      <a:pt x="-622" y="5551"/>
                      <a:pt x="2787" y="886"/>
                      <a:pt x="7751" y="109"/>
                    </a:cubicBezTo>
                    <a:close/>
                  </a:path>
                </a:pathLst>
              </a:custGeom>
              <a:grpFill/>
              <a:ln w="5978" cap="flat">
                <a:noFill/>
                <a:prstDash val="solid"/>
                <a:miter/>
              </a:ln>
            </p:spPr>
            <p:txBody>
              <a:bodyPr rtlCol="0" anchor="ctr"/>
              <a:lstStyle/>
              <a:p>
                <a:endParaRPr lang="en-GB"/>
              </a:p>
            </p:txBody>
          </p:sp>
          <p:sp>
            <p:nvSpPr>
              <p:cNvPr id="1634" name="Vrije vorm: vorm 1633">
                <a:extLst>
                  <a:ext uri="{FF2B5EF4-FFF2-40B4-BE49-F238E27FC236}">
                    <a16:creationId xmlns:a16="http://schemas.microsoft.com/office/drawing/2014/main" id="{A4F4BBC4-5444-48F5-93DD-F99C59352DAA}"/>
                  </a:ext>
                </a:extLst>
              </p:cNvPr>
              <p:cNvSpPr/>
              <p:nvPr/>
            </p:nvSpPr>
            <p:spPr>
              <a:xfrm>
                <a:off x="4201426" y="3689199"/>
                <a:ext cx="18342" cy="18399"/>
              </a:xfrm>
              <a:custGeom>
                <a:avLst/>
                <a:gdLst>
                  <a:gd name="connsiteX0" fmla="*/ 7766 w 18342"/>
                  <a:gd name="connsiteY0" fmla="*/ 109 h 18399"/>
                  <a:gd name="connsiteX1" fmla="*/ 110 w 18342"/>
                  <a:gd name="connsiteY1" fmla="*/ 10575 h 18399"/>
                  <a:gd name="connsiteX2" fmla="*/ 10577 w 18342"/>
                  <a:gd name="connsiteY2" fmla="*/ 18290 h 18399"/>
                  <a:gd name="connsiteX3" fmla="*/ 18232 w 18342"/>
                  <a:gd name="connsiteY3" fmla="*/ 7824 h 18399"/>
                  <a:gd name="connsiteX4" fmla="*/ 7766 w 18342"/>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9">
                    <a:moveTo>
                      <a:pt x="7766" y="109"/>
                    </a:moveTo>
                    <a:cubicBezTo>
                      <a:pt x="2742" y="886"/>
                      <a:pt x="-667" y="5551"/>
                      <a:pt x="110" y="10575"/>
                    </a:cubicBezTo>
                    <a:cubicBezTo>
                      <a:pt x="888" y="15599"/>
                      <a:pt x="5553" y="19068"/>
                      <a:pt x="10577" y="18290"/>
                    </a:cubicBezTo>
                    <a:cubicBezTo>
                      <a:pt x="15601" y="17513"/>
                      <a:pt x="19009" y="12848"/>
                      <a:pt x="18232" y="7824"/>
                    </a:cubicBezTo>
                    <a:cubicBezTo>
                      <a:pt x="17455" y="2800"/>
                      <a:pt x="12790" y="-669"/>
                      <a:pt x="7766" y="109"/>
                    </a:cubicBezTo>
                    <a:close/>
                  </a:path>
                </a:pathLst>
              </a:custGeom>
              <a:grpFill/>
              <a:ln w="5978" cap="flat">
                <a:noFill/>
                <a:prstDash val="solid"/>
                <a:miter/>
              </a:ln>
            </p:spPr>
            <p:txBody>
              <a:bodyPr rtlCol="0" anchor="ctr"/>
              <a:lstStyle/>
              <a:p>
                <a:endParaRPr lang="en-GB"/>
              </a:p>
            </p:txBody>
          </p:sp>
        </p:grpSp>
        <p:grpSp>
          <p:nvGrpSpPr>
            <p:cNvPr id="1258" name="Graphic 3">
              <a:extLst>
                <a:ext uri="{FF2B5EF4-FFF2-40B4-BE49-F238E27FC236}">
                  <a16:creationId xmlns:a16="http://schemas.microsoft.com/office/drawing/2014/main" id="{A6F9701D-F411-4694-9BD5-A1C664B5F709}"/>
                </a:ext>
              </a:extLst>
            </p:cNvPr>
            <p:cNvGrpSpPr/>
            <p:nvPr/>
          </p:nvGrpSpPr>
          <p:grpSpPr>
            <a:xfrm>
              <a:off x="4255555" y="4006641"/>
              <a:ext cx="110857" cy="51000"/>
              <a:chOff x="4255555" y="4006641"/>
              <a:chExt cx="110857" cy="51000"/>
            </a:xfrm>
            <a:grpFill/>
          </p:grpSpPr>
          <p:sp>
            <p:nvSpPr>
              <p:cNvPr id="1630" name="Vrije vorm: vorm 1629">
                <a:extLst>
                  <a:ext uri="{FF2B5EF4-FFF2-40B4-BE49-F238E27FC236}">
                    <a16:creationId xmlns:a16="http://schemas.microsoft.com/office/drawing/2014/main" id="{052CD467-C9D0-43A1-A7CE-E5CA1EA44814}"/>
                  </a:ext>
                </a:extLst>
              </p:cNvPr>
              <p:cNvSpPr/>
              <p:nvPr/>
            </p:nvSpPr>
            <p:spPr>
              <a:xfrm>
                <a:off x="4263908" y="4014229"/>
                <a:ext cx="94419" cy="35817"/>
              </a:xfrm>
              <a:custGeom>
                <a:avLst/>
                <a:gdLst>
                  <a:gd name="connsiteX0" fmla="*/ 0 w 94419"/>
                  <a:gd name="connsiteY0" fmla="*/ 32941 h 35817"/>
                  <a:gd name="connsiteX1" fmla="*/ 93405 w 94419"/>
                  <a:gd name="connsiteY1" fmla="*/ 0 h 35817"/>
                  <a:gd name="connsiteX2" fmla="*/ 94420 w 94419"/>
                  <a:gd name="connsiteY2" fmla="*/ 2877 h 35817"/>
                  <a:gd name="connsiteX3" fmla="*/ 1015 w 94419"/>
                  <a:gd name="connsiteY3" fmla="*/ 35818 h 35817"/>
                </a:gdLst>
                <a:ahLst/>
                <a:cxnLst>
                  <a:cxn ang="0">
                    <a:pos x="connsiteX0" y="connsiteY0"/>
                  </a:cxn>
                  <a:cxn ang="0">
                    <a:pos x="connsiteX1" y="connsiteY1"/>
                  </a:cxn>
                  <a:cxn ang="0">
                    <a:pos x="connsiteX2" y="connsiteY2"/>
                  </a:cxn>
                  <a:cxn ang="0">
                    <a:pos x="connsiteX3" y="connsiteY3"/>
                  </a:cxn>
                </a:cxnLst>
                <a:rect l="l" t="t" r="r" b="b"/>
                <a:pathLst>
                  <a:path w="94419" h="35817">
                    <a:moveTo>
                      <a:pt x="0" y="32941"/>
                    </a:moveTo>
                    <a:lnTo>
                      <a:pt x="93405" y="0"/>
                    </a:lnTo>
                    <a:lnTo>
                      <a:pt x="94420" y="2877"/>
                    </a:lnTo>
                    <a:lnTo>
                      <a:pt x="1015" y="35818"/>
                    </a:lnTo>
                    <a:close/>
                  </a:path>
                </a:pathLst>
              </a:custGeom>
              <a:grpFill/>
              <a:ln w="5978" cap="flat">
                <a:noFill/>
                <a:prstDash val="solid"/>
                <a:miter/>
              </a:ln>
            </p:spPr>
            <p:txBody>
              <a:bodyPr rtlCol="0" anchor="ctr"/>
              <a:lstStyle/>
              <a:p>
                <a:endParaRPr lang="en-GB"/>
              </a:p>
            </p:txBody>
          </p:sp>
          <p:sp>
            <p:nvSpPr>
              <p:cNvPr id="1631" name="Vrije vorm: vorm 1630">
                <a:extLst>
                  <a:ext uri="{FF2B5EF4-FFF2-40B4-BE49-F238E27FC236}">
                    <a16:creationId xmlns:a16="http://schemas.microsoft.com/office/drawing/2014/main" id="{FBACB6B6-9DF7-4DA2-83F0-313A07B58A5F}"/>
                  </a:ext>
                </a:extLst>
              </p:cNvPr>
              <p:cNvSpPr/>
              <p:nvPr/>
            </p:nvSpPr>
            <p:spPr>
              <a:xfrm>
                <a:off x="4255555" y="4039259"/>
                <a:ext cx="18335" cy="18381"/>
              </a:xfrm>
              <a:custGeom>
                <a:avLst/>
                <a:gdLst>
                  <a:gd name="connsiteX0" fmla="*/ 12248 w 18335"/>
                  <a:gd name="connsiteY0" fmla="*/ 17863 h 18381"/>
                  <a:gd name="connsiteX1" fmla="*/ 526 w 18335"/>
                  <a:gd name="connsiteY1" fmla="*/ 12241 h 18381"/>
                  <a:gd name="connsiteX2" fmla="*/ 6088 w 18335"/>
                  <a:gd name="connsiteY2" fmla="*/ 519 h 18381"/>
                  <a:gd name="connsiteX3" fmla="*/ 17810 w 18335"/>
                  <a:gd name="connsiteY3" fmla="*/ 6141 h 18381"/>
                  <a:gd name="connsiteX4" fmla="*/ 12248 w 18335"/>
                  <a:gd name="connsiteY4" fmla="*/ 17863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81">
                    <a:moveTo>
                      <a:pt x="12248" y="17863"/>
                    </a:moveTo>
                    <a:cubicBezTo>
                      <a:pt x="7464" y="19538"/>
                      <a:pt x="2260" y="17026"/>
                      <a:pt x="526" y="12241"/>
                    </a:cubicBezTo>
                    <a:cubicBezTo>
                      <a:pt x="-1149" y="7456"/>
                      <a:pt x="1303" y="2193"/>
                      <a:pt x="6088" y="519"/>
                    </a:cubicBezTo>
                    <a:cubicBezTo>
                      <a:pt x="10872" y="-1156"/>
                      <a:pt x="16076" y="1356"/>
                      <a:pt x="17810" y="6141"/>
                    </a:cubicBezTo>
                    <a:cubicBezTo>
                      <a:pt x="19484" y="10925"/>
                      <a:pt x="17033" y="16188"/>
                      <a:pt x="12248" y="17863"/>
                    </a:cubicBezTo>
                    <a:close/>
                  </a:path>
                </a:pathLst>
              </a:custGeom>
              <a:grpFill/>
              <a:ln w="5978" cap="flat">
                <a:noFill/>
                <a:prstDash val="solid"/>
                <a:miter/>
              </a:ln>
            </p:spPr>
            <p:txBody>
              <a:bodyPr rtlCol="0" anchor="ctr"/>
              <a:lstStyle/>
              <a:p>
                <a:endParaRPr lang="en-GB"/>
              </a:p>
            </p:txBody>
          </p:sp>
          <p:sp>
            <p:nvSpPr>
              <p:cNvPr id="1632" name="Vrije vorm: vorm 1631">
                <a:extLst>
                  <a:ext uri="{FF2B5EF4-FFF2-40B4-BE49-F238E27FC236}">
                    <a16:creationId xmlns:a16="http://schemas.microsoft.com/office/drawing/2014/main" id="{75AFEE8D-551D-4D85-A976-58266C55BC2F}"/>
                  </a:ext>
                </a:extLst>
              </p:cNvPr>
              <p:cNvSpPr/>
              <p:nvPr/>
            </p:nvSpPr>
            <p:spPr>
              <a:xfrm>
                <a:off x="4348077" y="4006641"/>
                <a:ext cx="18335" cy="18399"/>
              </a:xfrm>
              <a:custGeom>
                <a:avLst/>
                <a:gdLst>
                  <a:gd name="connsiteX0" fmla="*/ 12248 w 18335"/>
                  <a:gd name="connsiteY0" fmla="*/ 17887 h 18399"/>
                  <a:gd name="connsiteX1" fmla="*/ 17810 w 18335"/>
                  <a:gd name="connsiteY1" fmla="*/ 6164 h 18399"/>
                  <a:gd name="connsiteX2" fmla="*/ 6088 w 18335"/>
                  <a:gd name="connsiteY2" fmla="*/ 542 h 18399"/>
                  <a:gd name="connsiteX3" fmla="*/ 526 w 18335"/>
                  <a:gd name="connsiteY3" fmla="*/ 12265 h 18399"/>
                  <a:gd name="connsiteX4" fmla="*/ 12248 w 18335"/>
                  <a:gd name="connsiteY4" fmla="*/ 17887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99">
                    <a:moveTo>
                      <a:pt x="12248" y="17887"/>
                    </a:moveTo>
                    <a:cubicBezTo>
                      <a:pt x="17032" y="16212"/>
                      <a:pt x="19485" y="10949"/>
                      <a:pt x="17810" y="6164"/>
                    </a:cubicBezTo>
                    <a:cubicBezTo>
                      <a:pt x="16135" y="1380"/>
                      <a:pt x="10872" y="-1192"/>
                      <a:pt x="6088" y="542"/>
                    </a:cubicBezTo>
                    <a:cubicBezTo>
                      <a:pt x="1303" y="2217"/>
                      <a:pt x="-1149" y="7480"/>
                      <a:pt x="526" y="12265"/>
                    </a:cubicBezTo>
                    <a:cubicBezTo>
                      <a:pt x="2260" y="16989"/>
                      <a:pt x="7463" y="19561"/>
                      <a:pt x="12248" y="17887"/>
                    </a:cubicBezTo>
                    <a:close/>
                  </a:path>
                </a:pathLst>
              </a:custGeom>
              <a:grpFill/>
              <a:ln w="5978" cap="flat">
                <a:noFill/>
                <a:prstDash val="solid"/>
                <a:miter/>
              </a:ln>
            </p:spPr>
            <p:txBody>
              <a:bodyPr rtlCol="0" anchor="ctr"/>
              <a:lstStyle/>
              <a:p>
                <a:endParaRPr lang="en-GB"/>
              </a:p>
            </p:txBody>
          </p:sp>
        </p:grpSp>
        <p:grpSp>
          <p:nvGrpSpPr>
            <p:cNvPr id="1259" name="Graphic 3">
              <a:extLst>
                <a:ext uri="{FF2B5EF4-FFF2-40B4-BE49-F238E27FC236}">
                  <a16:creationId xmlns:a16="http://schemas.microsoft.com/office/drawing/2014/main" id="{302B346F-7761-4721-8B07-BAF62DA5992B}"/>
                </a:ext>
              </a:extLst>
            </p:cNvPr>
            <p:cNvGrpSpPr/>
            <p:nvPr/>
          </p:nvGrpSpPr>
          <p:grpSpPr>
            <a:xfrm>
              <a:off x="4175798" y="4054594"/>
              <a:ext cx="336099" cy="112089"/>
              <a:chOff x="4175798" y="4054594"/>
              <a:chExt cx="336099" cy="112089"/>
            </a:xfrm>
            <a:grpFill/>
          </p:grpSpPr>
          <p:sp>
            <p:nvSpPr>
              <p:cNvPr id="1627" name="Vrije vorm: vorm 1626">
                <a:extLst>
                  <a:ext uri="{FF2B5EF4-FFF2-40B4-BE49-F238E27FC236}">
                    <a16:creationId xmlns:a16="http://schemas.microsoft.com/office/drawing/2014/main" id="{FE817063-6DAE-4FD7-9BF8-CD7399DAE397}"/>
                  </a:ext>
                </a:extLst>
              </p:cNvPr>
              <p:cNvSpPr/>
              <p:nvPr/>
            </p:nvSpPr>
            <p:spPr>
              <a:xfrm>
                <a:off x="4184315" y="4061821"/>
                <a:ext cx="319375" cy="97443"/>
              </a:xfrm>
              <a:custGeom>
                <a:avLst/>
                <a:gdLst>
                  <a:gd name="connsiteX0" fmla="*/ 0 w 319375"/>
                  <a:gd name="connsiteY0" fmla="*/ 94519 h 97443"/>
                  <a:gd name="connsiteX1" fmla="*/ 318508 w 319375"/>
                  <a:gd name="connsiteY1" fmla="*/ 0 h 97443"/>
                  <a:gd name="connsiteX2" fmla="*/ 319376 w 319375"/>
                  <a:gd name="connsiteY2" fmla="*/ 2924 h 97443"/>
                  <a:gd name="connsiteX3" fmla="*/ 868 w 319375"/>
                  <a:gd name="connsiteY3" fmla="*/ 97443 h 97443"/>
                </a:gdLst>
                <a:ahLst/>
                <a:cxnLst>
                  <a:cxn ang="0">
                    <a:pos x="connsiteX0" y="connsiteY0"/>
                  </a:cxn>
                  <a:cxn ang="0">
                    <a:pos x="connsiteX1" y="connsiteY1"/>
                  </a:cxn>
                  <a:cxn ang="0">
                    <a:pos x="connsiteX2" y="connsiteY2"/>
                  </a:cxn>
                  <a:cxn ang="0">
                    <a:pos x="connsiteX3" y="connsiteY3"/>
                  </a:cxn>
                </a:cxnLst>
                <a:rect l="l" t="t" r="r" b="b"/>
                <a:pathLst>
                  <a:path w="319375" h="97443">
                    <a:moveTo>
                      <a:pt x="0" y="94519"/>
                    </a:moveTo>
                    <a:lnTo>
                      <a:pt x="318508" y="0"/>
                    </a:lnTo>
                    <a:lnTo>
                      <a:pt x="319376" y="2924"/>
                    </a:lnTo>
                    <a:lnTo>
                      <a:pt x="868" y="97443"/>
                    </a:lnTo>
                    <a:close/>
                  </a:path>
                </a:pathLst>
              </a:custGeom>
              <a:grpFill/>
              <a:ln w="5978" cap="flat">
                <a:noFill/>
                <a:prstDash val="solid"/>
                <a:miter/>
              </a:ln>
            </p:spPr>
            <p:txBody>
              <a:bodyPr rtlCol="0" anchor="ctr"/>
              <a:lstStyle/>
              <a:p>
                <a:endParaRPr lang="en-GB"/>
              </a:p>
            </p:txBody>
          </p:sp>
          <p:sp>
            <p:nvSpPr>
              <p:cNvPr id="1628" name="Vrije vorm: vorm 1627">
                <a:extLst>
                  <a:ext uri="{FF2B5EF4-FFF2-40B4-BE49-F238E27FC236}">
                    <a16:creationId xmlns:a16="http://schemas.microsoft.com/office/drawing/2014/main" id="{8D5084E2-7D2B-4CE0-89CB-F1403A4AF42F}"/>
                  </a:ext>
                </a:extLst>
              </p:cNvPr>
              <p:cNvSpPr/>
              <p:nvPr/>
            </p:nvSpPr>
            <p:spPr>
              <a:xfrm>
                <a:off x="4493554" y="4054594"/>
                <a:ext cx="18344" cy="18453"/>
              </a:xfrm>
              <a:custGeom>
                <a:avLst/>
                <a:gdLst>
                  <a:gd name="connsiteX0" fmla="*/ 6540 w 18344"/>
                  <a:gd name="connsiteY0" fmla="*/ 375 h 18453"/>
                  <a:gd name="connsiteX1" fmla="*/ 17964 w 18344"/>
                  <a:gd name="connsiteY1" fmla="*/ 6655 h 18453"/>
                  <a:gd name="connsiteX2" fmla="*/ 11803 w 18344"/>
                  <a:gd name="connsiteY2" fmla="*/ 18078 h 18453"/>
                  <a:gd name="connsiteX3" fmla="*/ 380 w 18344"/>
                  <a:gd name="connsiteY3" fmla="*/ 11798 h 18453"/>
                  <a:gd name="connsiteX4" fmla="*/ 6540 w 18344"/>
                  <a:gd name="connsiteY4" fmla="*/ 375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53">
                    <a:moveTo>
                      <a:pt x="6540" y="375"/>
                    </a:moveTo>
                    <a:cubicBezTo>
                      <a:pt x="11385" y="-1060"/>
                      <a:pt x="16469" y="1751"/>
                      <a:pt x="17964" y="6655"/>
                    </a:cubicBezTo>
                    <a:cubicBezTo>
                      <a:pt x="19399" y="11559"/>
                      <a:pt x="16648" y="16643"/>
                      <a:pt x="11803" y="18078"/>
                    </a:cubicBezTo>
                    <a:cubicBezTo>
                      <a:pt x="6959" y="19513"/>
                      <a:pt x="1876" y="16703"/>
                      <a:pt x="380" y="11798"/>
                    </a:cubicBezTo>
                    <a:cubicBezTo>
                      <a:pt x="-1055" y="6894"/>
                      <a:pt x="1696" y="1810"/>
                      <a:pt x="6540" y="375"/>
                    </a:cubicBezTo>
                    <a:close/>
                  </a:path>
                </a:pathLst>
              </a:custGeom>
              <a:grpFill/>
              <a:ln w="5978" cap="flat">
                <a:noFill/>
                <a:prstDash val="solid"/>
                <a:miter/>
              </a:ln>
            </p:spPr>
            <p:txBody>
              <a:bodyPr rtlCol="0" anchor="ctr"/>
              <a:lstStyle/>
              <a:p>
                <a:endParaRPr lang="en-GB"/>
              </a:p>
            </p:txBody>
          </p:sp>
          <p:sp>
            <p:nvSpPr>
              <p:cNvPr id="1629" name="Vrije vorm: vorm 1628">
                <a:extLst>
                  <a:ext uri="{FF2B5EF4-FFF2-40B4-BE49-F238E27FC236}">
                    <a16:creationId xmlns:a16="http://schemas.microsoft.com/office/drawing/2014/main" id="{2348507F-B43C-48A0-97E8-E316811647BE}"/>
                  </a:ext>
                </a:extLst>
              </p:cNvPr>
              <p:cNvSpPr/>
              <p:nvPr/>
            </p:nvSpPr>
            <p:spPr>
              <a:xfrm>
                <a:off x="4175798" y="4148252"/>
                <a:ext cx="18344" cy="18431"/>
              </a:xfrm>
              <a:custGeom>
                <a:avLst/>
                <a:gdLst>
                  <a:gd name="connsiteX0" fmla="*/ 6540 w 18344"/>
                  <a:gd name="connsiteY0" fmla="*/ 375 h 18431"/>
                  <a:gd name="connsiteX1" fmla="*/ 380 w 18344"/>
                  <a:gd name="connsiteY1" fmla="*/ 11798 h 18431"/>
                  <a:gd name="connsiteX2" fmla="*/ 11803 w 18344"/>
                  <a:gd name="connsiteY2" fmla="*/ 18078 h 18431"/>
                  <a:gd name="connsiteX3" fmla="*/ 17964 w 18344"/>
                  <a:gd name="connsiteY3" fmla="*/ 6655 h 18431"/>
                  <a:gd name="connsiteX4" fmla="*/ 6540 w 18344"/>
                  <a:gd name="connsiteY4" fmla="*/ 375 h 18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31">
                    <a:moveTo>
                      <a:pt x="6540" y="375"/>
                    </a:moveTo>
                    <a:cubicBezTo>
                      <a:pt x="1696" y="1810"/>
                      <a:pt x="-1055" y="6894"/>
                      <a:pt x="380" y="11798"/>
                    </a:cubicBezTo>
                    <a:cubicBezTo>
                      <a:pt x="1816" y="16702"/>
                      <a:pt x="6899" y="19454"/>
                      <a:pt x="11803" y="18078"/>
                    </a:cubicBezTo>
                    <a:cubicBezTo>
                      <a:pt x="16648" y="16642"/>
                      <a:pt x="19399" y="11559"/>
                      <a:pt x="17964" y="6655"/>
                    </a:cubicBezTo>
                    <a:cubicBezTo>
                      <a:pt x="16469" y="1750"/>
                      <a:pt x="11385" y="-1060"/>
                      <a:pt x="6540" y="375"/>
                    </a:cubicBezTo>
                    <a:close/>
                  </a:path>
                </a:pathLst>
              </a:custGeom>
              <a:grpFill/>
              <a:ln w="5978" cap="flat">
                <a:noFill/>
                <a:prstDash val="solid"/>
                <a:miter/>
              </a:ln>
            </p:spPr>
            <p:txBody>
              <a:bodyPr rtlCol="0" anchor="ctr"/>
              <a:lstStyle/>
              <a:p>
                <a:endParaRPr lang="en-GB"/>
              </a:p>
            </p:txBody>
          </p:sp>
        </p:grpSp>
        <p:grpSp>
          <p:nvGrpSpPr>
            <p:cNvPr id="1260" name="Graphic 3">
              <a:extLst>
                <a:ext uri="{FF2B5EF4-FFF2-40B4-BE49-F238E27FC236}">
                  <a16:creationId xmlns:a16="http://schemas.microsoft.com/office/drawing/2014/main" id="{A7157620-8FA6-40D0-BF63-7CB1855DD328}"/>
                </a:ext>
              </a:extLst>
            </p:cNvPr>
            <p:cNvGrpSpPr/>
            <p:nvPr/>
          </p:nvGrpSpPr>
          <p:grpSpPr>
            <a:xfrm>
              <a:off x="4212166" y="3905016"/>
              <a:ext cx="140819" cy="53973"/>
              <a:chOff x="4212166" y="3905016"/>
              <a:chExt cx="140819" cy="53973"/>
            </a:xfrm>
            <a:grpFill/>
          </p:grpSpPr>
          <p:sp>
            <p:nvSpPr>
              <p:cNvPr id="1624" name="Vrije vorm: vorm 1623">
                <a:extLst>
                  <a:ext uri="{FF2B5EF4-FFF2-40B4-BE49-F238E27FC236}">
                    <a16:creationId xmlns:a16="http://schemas.microsoft.com/office/drawing/2014/main" id="{9AF5B119-1466-44FF-9ED1-1E7672058150}"/>
                  </a:ext>
                </a:extLst>
              </p:cNvPr>
              <p:cNvSpPr/>
              <p:nvPr/>
            </p:nvSpPr>
            <p:spPr>
              <a:xfrm>
                <a:off x="4220495" y="3912628"/>
                <a:ext cx="124159" cy="38754"/>
              </a:xfrm>
              <a:custGeom>
                <a:avLst/>
                <a:gdLst>
                  <a:gd name="connsiteX0" fmla="*/ 123322 w 124159"/>
                  <a:gd name="connsiteY0" fmla="*/ 0 h 38754"/>
                  <a:gd name="connsiteX1" fmla="*/ 124160 w 124159"/>
                  <a:gd name="connsiteY1" fmla="*/ 2930 h 38754"/>
                  <a:gd name="connsiteX2" fmla="*/ 837 w 124159"/>
                  <a:gd name="connsiteY2" fmla="*/ 38755 h 38754"/>
                  <a:gd name="connsiteX3" fmla="*/ 0 w 124159"/>
                  <a:gd name="connsiteY3" fmla="*/ 35824 h 38754"/>
                </a:gdLst>
                <a:ahLst/>
                <a:cxnLst>
                  <a:cxn ang="0">
                    <a:pos x="connsiteX0" y="connsiteY0"/>
                  </a:cxn>
                  <a:cxn ang="0">
                    <a:pos x="connsiteX1" y="connsiteY1"/>
                  </a:cxn>
                  <a:cxn ang="0">
                    <a:pos x="connsiteX2" y="connsiteY2"/>
                  </a:cxn>
                  <a:cxn ang="0">
                    <a:pos x="connsiteX3" y="connsiteY3"/>
                  </a:cxn>
                </a:cxnLst>
                <a:rect l="l" t="t" r="r" b="b"/>
                <a:pathLst>
                  <a:path w="124159" h="38754">
                    <a:moveTo>
                      <a:pt x="123322" y="0"/>
                    </a:moveTo>
                    <a:lnTo>
                      <a:pt x="124160" y="2930"/>
                    </a:lnTo>
                    <a:lnTo>
                      <a:pt x="837" y="38755"/>
                    </a:lnTo>
                    <a:lnTo>
                      <a:pt x="0" y="35824"/>
                    </a:lnTo>
                    <a:close/>
                  </a:path>
                </a:pathLst>
              </a:custGeom>
              <a:grpFill/>
              <a:ln w="5978" cap="flat">
                <a:noFill/>
                <a:prstDash val="solid"/>
                <a:miter/>
              </a:ln>
            </p:spPr>
            <p:txBody>
              <a:bodyPr rtlCol="0" anchor="ctr"/>
              <a:lstStyle/>
              <a:p>
                <a:endParaRPr lang="en-GB"/>
              </a:p>
            </p:txBody>
          </p:sp>
          <p:sp>
            <p:nvSpPr>
              <p:cNvPr id="1625" name="Vrije vorm: vorm 1624">
                <a:extLst>
                  <a:ext uri="{FF2B5EF4-FFF2-40B4-BE49-F238E27FC236}">
                    <a16:creationId xmlns:a16="http://schemas.microsoft.com/office/drawing/2014/main" id="{40FDCEAE-DB7B-498F-BFF1-24E34E91187B}"/>
                  </a:ext>
                </a:extLst>
              </p:cNvPr>
              <p:cNvSpPr/>
              <p:nvPr/>
            </p:nvSpPr>
            <p:spPr>
              <a:xfrm>
                <a:off x="4212166" y="3940546"/>
                <a:ext cx="18338" cy="18443"/>
              </a:xfrm>
              <a:custGeom>
                <a:avLst/>
                <a:gdLst>
                  <a:gd name="connsiteX0" fmla="*/ 11739 w 18338"/>
                  <a:gd name="connsiteY0" fmla="*/ 18073 h 18443"/>
                  <a:gd name="connsiteX1" fmla="*/ 375 w 18338"/>
                  <a:gd name="connsiteY1" fmla="*/ 11794 h 18443"/>
                  <a:gd name="connsiteX2" fmla="*/ 6595 w 18338"/>
                  <a:gd name="connsiteY2" fmla="*/ 370 h 18443"/>
                  <a:gd name="connsiteX3" fmla="*/ 17959 w 18338"/>
                  <a:gd name="connsiteY3" fmla="*/ 6650 h 18443"/>
                  <a:gd name="connsiteX4" fmla="*/ 11739 w 18338"/>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43">
                    <a:moveTo>
                      <a:pt x="11739" y="18073"/>
                    </a:moveTo>
                    <a:cubicBezTo>
                      <a:pt x="6894" y="19509"/>
                      <a:pt x="1811" y="16638"/>
                      <a:pt x="375" y="11794"/>
                    </a:cubicBezTo>
                    <a:cubicBezTo>
                      <a:pt x="-1060" y="6890"/>
                      <a:pt x="1751" y="1806"/>
                      <a:pt x="6595" y="370"/>
                    </a:cubicBezTo>
                    <a:cubicBezTo>
                      <a:pt x="11440" y="-1065"/>
                      <a:pt x="16523" y="1806"/>
                      <a:pt x="17959" y="6650"/>
                    </a:cubicBezTo>
                    <a:cubicBezTo>
                      <a:pt x="19394" y="11554"/>
                      <a:pt x="16643" y="16698"/>
                      <a:pt x="11739" y="18073"/>
                    </a:cubicBezTo>
                    <a:close/>
                  </a:path>
                </a:pathLst>
              </a:custGeom>
              <a:grpFill/>
              <a:ln w="5978" cap="flat">
                <a:noFill/>
                <a:prstDash val="solid"/>
                <a:miter/>
              </a:ln>
            </p:spPr>
            <p:txBody>
              <a:bodyPr rtlCol="0" anchor="ctr"/>
              <a:lstStyle/>
              <a:p>
                <a:endParaRPr lang="en-GB"/>
              </a:p>
            </p:txBody>
          </p:sp>
          <p:sp>
            <p:nvSpPr>
              <p:cNvPr id="1626" name="Vrije vorm: vorm 1625">
                <a:extLst>
                  <a:ext uri="{FF2B5EF4-FFF2-40B4-BE49-F238E27FC236}">
                    <a16:creationId xmlns:a16="http://schemas.microsoft.com/office/drawing/2014/main" id="{CF7086A3-82DB-44C9-BE37-98C4E5C321DF}"/>
                  </a:ext>
                </a:extLst>
              </p:cNvPr>
              <p:cNvSpPr/>
              <p:nvPr/>
            </p:nvSpPr>
            <p:spPr>
              <a:xfrm>
                <a:off x="4334651" y="3905016"/>
                <a:ext cx="18334" cy="18427"/>
              </a:xfrm>
              <a:custGeom>
                <a:avLst/>
                <a:gdLst>
                  <a:gd name="connsiteX0" fmla="*/ 11739 w 18334"/>
                  <a:gd name="connsiteY0" fmla="*/ 18078 h 18427"/>
                  <a:gd name="connsiteX1" fmla="*/ 17959 w 18334"/>
                  <a:gd name="connsiteY1" fmla="*/ 6655 h 18427"/>
                  <a:gd name="connsiteX2" fmla="*/ 6595 w 18334"/>
                  <a:gd name="connsiteY2" fmla="*/ 375 h 18427"/>
                  <a:gd name="connsiteX3" fmla="*/ 375 w 18334"/>
                  <a:gd name="connsiteY3" fmla="*/ 11798 h 18427"/>
                  <a:gd name="connsiteX4" fmla="*/ 11739 w 18334"/>
                  <a:gd name="connsiteY4" fmla="*/ 18078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27">
                    <a:moveTo>
                      <a:pt x="11739" y="18078"/>
                    </a:moveTo>
                    <a:cubicBezTo>
                      <a:pt x="16583" y="16643"/>
                      <a:pt x="19394" y="11559"/>
                      <a:pt x="17959" y="6655"/>
                    </a:cubicBezTo>
                    <a:cubicBezTo>
                      <a:pt x="16523" y="1751"/>
                      <a:pt x="11440" y="-1060"/>
                      <a:pt x="6595" y="375"/>
                    </a:cubicBezTo>
                    <a:cubicBezTo>
                      <a:pt x="1751" y="1811"/>
                      <a:pt x="-1060" y="6894"/>
                      <a:pt x="375" y="11798"/>
                    </a:cubicBezTo>
                    <a:cubicBezTo>
                      <a:pt x="1811" y="16643"/>
                      <a:pt x="6894" y="19453"/>
                      <a:pt x="11739" y="18078"/>
                    </a:cubicBezTo>
                    <a:close/>
                  </a:path>
                </a:pathLst>
              </a:custGeom>
              <a:grpFill/>
              <a:ln w="5978" cap="flat">
                <a:noFill/>
                <a:prstDash val="solid"/>
                <a:miter/>
              </a:ln>
            </p:spPr>
            <p:txBody>
              <a:bodyPr rtlCol="0" anchor="ctr"/>
              <a:lstStyle/>
              <a:p>
                <a:endParaRPr lang="en-GB"/>
              </a:p>
            </p:txBody>
          </p:sp>
        </p:grpSp>
        <p:grpSp>
          <p:nvGrpSpPr>
            <p:cNvPr id="1261" name="Graphic 3">
              <a:extLst>
                <a:ext uri="{FF2B5EF4-FFF2-40B4-BE49-F238E27FC236}">
                  <a16:creationId xmlns:a16="http://schemas.microsoft.com/office/drawing/2014/main" id="{0F59E4FA-F493-4CFF-BABA-F042D1D10EA4}"/>
                </a:ext>
              </a:extLst>
            </p:cNvPr>
            <p:cNvGrpSpPr/>
            <p:nvPr/>
          </p:nvGrpSpPr>
          <p:grpSpPr>
            <a:xfrm>
              <a:off x="4095201" y="3787277"/>
              <a:ext cx="321897" cy="88384"/>
              <a:chOff x="4095201" y="3787277"/>
              <a:chExt cx="321897" cy="88384"/>
            </a:xfrm>
            <a:grpFill/>
          </p:grpSpPr>
          <p:sp>
            <p:nvSpPr>
              <p:cNvPr id="1621" name="Vrije vorm: vorm 1620">
                <a:extLst>
                  <a:ext uri="{FF2B5EF4-FFF2-40B4-BE49-F238E27FC236}">
                    <a16:creationId xmlns:a16="http://schemas.microsoft.com/office/drawing/2014/main" id="{0C5CC9B4-75A5-4BA6-9AD3-E4364D1AF656}"/>
                  </a:ext>
                </a:extLst>
              </p:cNvPr>
              <p:cNvSpPr/>
              <p:nvPr/>
            </p:nvSpPr>
            <p:spPr>
              <a:xfrm>
                <a:off x="4103572" y="3794927"/>
                <a:ext cx="305136" cy="73144"/>
              </a:xfrm>
              <a:custGeom>
                <a:avLst/>
                <a:gdLst>
                  <a:gd name="connsiteX0" fmla="*/ 304479 w 305136"/>
                  <a:gd name="connsiteY0" fmla="*/ 0 h 73144"/>
                  <a:gd name="connsiteX1" fmla="*/ 305137 w 305136"/>
                  <a:gd name="connsiteY1" fmla="*/ 2990 h 73144"/>
                  <a:gd name="connsiteX2" fmla="*/ 718 w 305136"/>
                  <a:gd name="connsiteY2" fmla="*/ 73144 h 73144"/>
                  <a:gd name="connsiteX3" fmla="*/ 0 w 305136"/>
                  <a:gd name="connsiteY3" fmla="*/ 70154 h 73144"/>
                </a:gdLst>
                <a:ahLst/>
                <a:cxnLst>
                  <a:cxn ang="0">
                    <a:pos x="connsiteX0" y="connsiteY0"/>
                  </a:cxn>
                  <a:cxn ang="0">
                    <a:pos x="connsiteX1" y="connsiteY1"/>
                  </a:cxn>
                  <a:cxn ang="0">
                    <a:pos x="connsiteX2" y="connsiteY2"/>
                  </a:cxn>
                  <a:cxn ang="0">
                    <a:pos x="connsiteX3" y="connsiteY3"/>
                  </a:cxn>
                </a:cxnLst>
                <a:rect l="l" t="t" r="r" b="b"/>
                <a:pathLst>
                  <a:path w="305136" h="73144">
                    <a:moveTo>
                      <a:pt x="304479" y="0"/>
                    </a:moveTo>
                    <a:lnTo>
                      <a:pt x="305137" y="2990"/>
                    </a:lnTo>
                    <a:lnTo>
                      <a:pt x="718" y="73144"/>
                    </a:lnTo>
                    <a:lnTo>
                      <a:pt x="0" y="70154"/>
                    </a:lnTo>
                    <a:close/>
                  </a:path>
                </a:pathLst>
              </a:custGeom>
              <a:grpFill/>
              <a:ln w="5978" cap="flat">
                <a:noFill/>
                <a:prstDash val="solid"/>
                <a:miter/>
              </a:ln>
            </p:spPr>
            <p:txBody>
              <a:bodyPr rtlCol="0" anchor="ctr"/>
              <a:lstStyle/>
              <a:p>
                <a:endParaRPr lang="en-GB"/>
              </a:p>
            </p:txBody>
          </p:sp>
          <p:sp>
            <p:nvSpPr>
              <p:cNvPr id="1622" name="Vrije vorm: vorm 1621">
                <a:extLst>
                  <a:ext uri="{FF2B5EF4-FFF2-40B4-BE49-F238E27FC236}">
                    <a16:creationId xmlns:a16="http://schemas.microsoft.com/office/drawing/2014/main" id="{1301BC63-99A9-45EB-9D96-B66E25CC0D92}"/>
                  </a:ext>
                </a:extLst>
              </p:cNvPr>
              <p:cNvSpPr/>
              <p:nvPr/>
            </p:nvSpPr>
            <p:spPr>
              <a:xfrm>
                <a:off x="4095201" y="3857192"/>
                <a:ext cx="18319" cy="18470"/>
              </a:xfrm>
              <a:custGeom>
                <a:avLst/>
                <a:gdLst>
                  <a:gd name="connsiteX0" fmla="*/ 11242 w 18319"/>
                  <a:gd name="connsiteY0" fmla="*/ 18236 h 18470"/>
                  <a:gd name="connsiteX1" fmla="*/ 238 w 18319"/>
                  <a:gd name="connsiteY1" fmla="*/ 11298 h 18470"/>
                  <a:gd name="connsiteX2" fmla="*/ 7056 w 18319"/>
                  <a:gd name="connsiteY2" fmla="*/ 234 h 18470"/>
                  <a:gd name="connsiteX3" fmla="*/ 18060 w 18319"/>
                  <a:gd name="connsiteY3" fmla="*/ 7172 h 18470"/>
                  <a:gd name="connsiteX4" fmla="*/ 11242 w 18319"/>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1242" y="18236"/>
                    </a:moveTo>
                    <a:cubicBezTo>
                      <a:pt x="6338" y="19373"/>
                      <a:pt x="1374" y="16262"/>
                      <a:pt x="238" y="11298"/>
                    </a:cubicBezTo>
                    <a:cubicBezTo>
                      <a:pt x="-899" y="6334"/>
                      <a:pt x="2151" y="1371"/>
                      <a:pt x="7056" y="234"/>
                    </a:cubicBezTo>
                    <a:cubicBezTo>
                      <a:pt x="11960" y="-902"/>
                      <a:pt x="16924" y="2208"/>
                      <a:pt x="18060" y="7172"/>
                    </a:cubicBezTo>
                    <a:cubicBezTo>
                      <a:pt x="19256" y="12196"/>
                      <a:pt x="16206" y="17159"/>
                      <a:pt x="11242" y="18236"/>
                    </a:cubicBezTo>
                    <a:close/>
                  </a:path>
                </a:pathLst>
              </a:custGeom>
              <a:grpFill/>
              <a:ln w="5978" cap="flat">
                <a:noFill/>
                <a:prstDash val="solid"/>
                <a:miter/>
              </a:ln>
            </p:spPr>
            <p:txBody>
              <a:bodyPr rtlCol="0" anchor="ctr"/>
              <a:lstStyle/>
              <a:p>
                <a:endParaRPr lang="en-GB"/>
              </a:p>
            </p:txBody>
          </p:sp>
          <p:sp>
            <p:nvSpPr>
              <p:cNvPr id="1623" name="Vrije vorm: vorm 1622">
                <a:extLst>
                  <a:ext uri="{FF2B5EF4-FFF2-40B4-BE49-F238E27FC236}">
                    <a16:creationId xmlns:a16="http://schemas.microsoft.com/office/drawing/2014/main" id="{3D129AAE-273C-47A8-A304-E5D1F50CB2EF}"/>
                  </a:ext>
                </a:extLst>
              </p:cNvPr>
              <p:cNvSpPr/>
              <p:nvPr/>
            </p:nvSpPr>
            <p:spPr>
              <a:xfrm>
                <a:off x="4398764" y="3787277"/>
                <a:ext cx="18335" cy="18470"/>
              </a:xfrm>
              <a:custGeom>
                <a:avLst/>
                <a:gdLst>
                  <a:gd name="connsiteX0" fmla="*/ 11261 w 18335"/>
                  <a:gd name="connsiteY0" fmla="*/ 18236 h 18470"/>
                  <a:gd name="connsiteX1" fmla="*/ 18079 w 18335"/>
                  <a:gd name="connsiteY1" fmla="*/ 7172 h 18470"/>
                  <a:gd name="connsiteX2" fmla="*/ 7074 w 18335"/>
                  <a:gd name="connsiteY2" fmla="*/ 234 h 18470"/>
                  <a:gd name="connsiteX3" fmla="*/ 256 w 18335"/>
                  <a:gd name="connsiteY3" fmla="*/ 11298 h 18470"/>
                  <a:gd name="connsiteX4" fmla="*/ 11261 w 18335"/>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70">
                    <a:moveTo>
                      <a:pt x="11261" y="18236"/>
                    </a:moveTo>
                    <a:cubicBezTo>
                      <a:pt x="16165" y="17100"/>
                      <a:pt x="19275" y="12136"/>
                      <a:pt x="18079" y="7172"/>
                    </a:cubicBezTo>
                    <a:cubicBezTo>
                      <a:pt x="16942" y="2208"/>
                      <a:pt x="11978" y="-902"/>
                      <a:pt x="7074" y="234"/>
                    </a:cubicBezTo>
                    <a:cubicBezTo>
                      <a:pt x="2170" y="1370"/>
                      <a:pt x="-940" y="6334"/>
                      <a:pt x="256" y="11298"/>
                    </a:cubicBezTo>
                    <a:cubicBezTo>
                      <a:pt x="1393" y="16262"/>
                      <a:pt x="6297" y="19373"/>
                      <a:pt x="11261" y="18236"/>
                    </a:cubicBezTo>
                    <a:close/>
                  </a:path>
                </a:pathLst>
              </a:custGeom>
              <a:grpFill/>
              <a:ln w="5978" cap="flat">
                <a:noFill/>
                <a:prstDash val="solid"/>
                <a:miter/>
              </a:ln>
            </p:spPr>
            <p:txBody>
              <a:bodyPr rtlCol="0" anchor="ctr"/>
              <a:lstStyle/>
              <a:p>
                <a:endParaRPr lang="en-GB"/>
              </a:p>
            </p:txBody>
          </p:sp>
        </p:grpSp>
        <p:grpSp>
          <p:nvGrpSpPr>
            <p:cNvPr id="1262" name="Graphic 3">
              <a:extLst>
                <a:ext uri="{FF2B5EF4-FFF2-40B4-BE49-F238E27FC236}">
                  <a16:creationId xmlns:a16="http://schemas.microsoft.com/office/drawing/2014/main" id="{CF461B5D-C7C1-4F1C-8CDD-AD3C5C0223FC}"/>
                </a:ext>
              </a:extLst>
            </p:cNvPr>
            <p:cNvGrpSpPr/>
            <p:nvPr/>
          </p:nvGrpSpPr>
          <p:grpSpPr>
            <a:xfrm>
              <a:off x="4539798" y="4820561"/>
              <a:ext cx="122044" cy="122844"/>
              <a:chOff x="4539798" y="4820561"/>
              <a:chExt cx="122044" cy="122844"/>
            </a:xfrm>
            <a:grpFill/>
          </p:grpSpPr>
          <p:sp>
            <p:nvSpPr>
              <p:cNvPr id="1618" name="Vrije vorm: vorm 1617">
                <a:extLst>
                  <a:ext uri="{FF2B5EF4-FFF2-40B4-BE49-F238E27FC236}">
                    <a16:creationId xmlns:a16="http://schemas.microsoft.com/office/drawing/2014/main" id="{651C5AB8-0539-4367-BFF3-E0E98F71E45F}"/>
                  </a:ext>
                </a:extLst>
              </p:cNvPr>
              <p:cNvSpPr/>
              <p:nvPr/>
            </p:nvSpPr>
            <p:spPr>
              <a:xfrm>
                <a:off x="4547581" y="4828336"/>
                <a:ext cx="106516" cy="107234"/>
              </a:xfrm>
              <a:custGeom>
                <a:avLst/>
                <a:gdLst>
                  <a:gd name="connsiteX0" fmla="*/ 106517 w 106516"/>
                  <a:gd name="connsiteY0" fmla="*/ 2153 h 107234"/>
                  <a:gd name="connsiteX1" fmla="*/ 2153 w 106516"/>
                  <a:gd name="connsiteY1" fmla="*/ 107234 h 107234"/>
                  <a:gd name="connsiteX2" fmla="*/ 0 w 106516"/>
                  <a:gd name="connsiteY2" fmla="*/ 105081 h 107234"/>
                  <a:gd name="connsiteX3" fmla="*/ 104364 w 106516"/>
                  <a:gd name="connsiteY3" fmla="*/ 0 h 107234"/>
                </a:gdLst>
                <a:ahLst/>
                <a:cxnLst>
                  <a:cxn ang="0">
                    <a:pos x="connsiteX0" y="connsiteY0"/>
                  </a:cxn>
                  <a:cxn ang="0">
                    <a:pos x="connsiteX1" y="connsiteY1"/>
                  </a:cxn>
                  <a:cxn ang="0">
                    <a:pos x="connsiteX2" y="connsiteY2"/>
                  </a:cxn>
                  <a:cxn ang="0">
                    <a:pos x="connsiteX3" y="connsiteY3"/>
                  </a:cxn>
                </a:cxnLst>
                <a:rect l="l" t="t" r="r" b="b"/>
                <a:pathLst>
                  <a:path w="106516" h="107234">
                    <a:moveTo>
                      <a:pt x="106517" y="2153"/>
                    </a:moveTo>
                    <a:lnTo>
                      <a:pt x="2153" y="107234"/>
                    </a:lnTo>
                    <a:lnTo>
                      <a:pt x="0" y="105081"/>
                    </a:lnTo>
                    <a:lnTo>
                      <a:pt x="104364" y="0"/>
                    </a:lnTo>
                    <a:close/>
                  </a:path>
                </a:pathLst>
              </a:custGeom>
              <a:grpFill/>
              <a:ln w="5978" cap="flat">
                <a:noFill/>
                <a:prstDash val="solid"/>
                <a:miter/>
              </a:ln>
            </p:spPr>
            <p:txBody>
              <a:bodyPr rtlCol="0" anchor="ctr"/>
              <a:lstStyle/>
              <a:p>
                <a:endParaRPr lang="en-GB"/>
              </a:p>
            </p:txBody>
          </p:sp>
          <p:sp>
            <p:nvSpPr>
              <p:cNvPr id="1619" name="Vrije vorm: vorm 1618">
                <a:extLst>
                  <a:ext uri="{FF2B5EF4-FFF2-40B4-BE49-F238E27FC236}">
                    <a16:creationId xmlns:a16="http://schemas.microsoft.com/office/drawing/2014/main" id="{BBA7C3BE-6DB3-4C49-8F40-C66DC761B5CA}"/>
                  </a:ext>
                </a:extLst>
              </p:cNvPr>
              <p:cNvSpPr/>
              <p:nvPr/>
            </p:nvSpPr>
            <p:spPr>
              <a:xfrm>
                <a:off x="4539798" y="4924985"/>
                <a:ext cx="18361" cy="18420"/>
              </a:xfrm>
              <a:custGeom>
                <a:avLst/>
                <a:gdLst>
                  <a:gd name="connsiteX0" fmla="*/ 15677 w 18361"/>
                  <a:gd name="connsiteY0" fmla="*/ 15729 h 18420"/>
                  <a:gd name="connsiteX1" fmla="*/ 2699 w 18361"/>
                  <a:gd name="connsiteY1" fmla="*/ 15729 h 18420"/>
                  <a:gd name="connsiteX2" fmla="*/ 2639 w 18361"/>
                  <a:gd name="connsiteY2" fmla="*/ 2691 h 18420"/>
                  <a:gd name="connsiteX3" fmla="*/ 15617 w 18361"/>
                  <a:gd name="connsiteY3" fmla="*/ 2691 h 18420"/>
                  <a:gd name="connsiteX4" fmla="*/ 15677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677" y="15729"/>
                    </a:moveTo>
                    <a:cubicBezTo>
                      <a:pt x="12089" y="19318"/>
                      <a:pt x="6287" y="19318"/>
                      <a:pt x="2699" y="15729"/>
                    </a:cubicBezTo>
                    <a:cubicBezTo>
                      <a:pt x="-890" y="12141"/>
                      <a:pt x="-890" y="6280"/>
                      <a:pt x="2639" y="2691"/>
                    </a:cubicBezTo>
                    <a:cubicBezTo>
                      <a:pt x="6227" y="-897"/>
                      <a:pt x="12029" y="-897"/>
                      <a:pt x="15617" y="2691"/>
                    </a:cubicBezTo>
                    <a:cubicBezTo>
                      <a:pt x="19266" y="6280"/>
                      <a:pt x="19266" y="12141"/>
                      <a:pt x="15677" y="15729"/>
                    </a:cubicBezTo>
                    <a:close/>
                  </a:path>
                </a:pathLst>
              </a:custGeom>
              <a:grpFill/>
              <a:ln w="5978" cap="flat">
                <a:noFill/>
                <a:prstDash val="solid"/>
                <a:miter/>
              </a:ln>
            </p:spPr>
            <p:txBody>
              <a:bodyPr rtlCol="0" anchor="ctr"/>
              <a:lstStyle/>
              <a:p>
                <a:endParaRPr lang="en-GB"/>
              </a:p>
            </p:txBody>
          </p:sp>
          <p:sp>
            <p:nvSpPr>
              <p:cNvPr id="1620" name="Vrije vorm: vorm 1619">
                <a:extLst>
                  <a:ext uri="{FF2B5EF4-FFF2-40B4-BE49-F238E27FC236}">
                    <a16:creationId xmlns:a16="http://schemas.microsoft.com/office/drawing/2014/main" id="{5FED2E6D-9016-4E21-9874-DE12DE286F8D}"/>
                  </a:ext>
                </a:extLst>
              </p:cNvPr>
              <p:cNvSpPr/>
              <p:nvPr/>
            </p:nvSpPr>
            <p:spPr>
              <a:xfrm>
                <a:off x="4643482" y="4820561"/>
                <a:ext cx="18361" cy="18420"/>
              </a:xfrm>
              <a:custGeom>
                <a:avLst/>
                <a:gdLst>
                  <a:gd name="connsiteX0" fmla="*/ 15700 w 18361"/>
                  <a:gd name="connsiteY0" fmla="*/ 15729 h 18420"/>
                  <a:gd name="connsiteX1" fmla="*/ 15640 w 18361"/>
                  <a:gd name="connsiteY1" fmla="*/ 2691 h 18420"/>
                  <a:gd name="connsiteX2" fmla="*/ 2662 w 18361"/>
                  <a:gd name="connsiteY2" fmla="*/ 2691 h 18420"/>
                  <a:gd name="connsiteX3" fmla="*/ 2721 w 18361"/>
                  <a:gd name="connsiteY3" fmla="*/ 15729 h 18420"/>
                  <a:gd name="connsiteX4" fmla="*/ 15700 w 18361"/>
                  <a:gd name="connsiteY4" fmla="*/ 15729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1" h="18420">
                    <a:moveTo>
                      <a:pt x="15700" y="15729"/>
                    </a:moveTo>
                    <a:cubicBezTo>
                      <a:pt x="19288" y="12141"/>
                      <a:pt x="19228" y="6280"/>
                      <a:pt x="15640" y="2691"/>
                    </a:cubicBezTo>
                    <a:cubicBezTo>
                      <a:pt x="12051" y="-897"/>
                      <a:pt x="6250" y="-897"/>
                      <a:pt x="2662" y="2691"/>
                    </a:cubicBezTo>
                    <a:cubicBezTo>
                      <a:pt x="-927" y="6280"/>
                      <a:pt x="-867" y="12141"/>
                      <a:pt x="2721" y="15729"/>
                    </a:cubicBezTo>
                    <a:cubicBezTo>
                      <a:pt x="6310" y="19318"/>
                      <a:pt x="12111" y="19318"/>
                      <a:pt x="15700" y="15729"/>
                    </a:cubicBezTo>
                    <a:close/>
                  </a:path>
                </a:pathLst>
              </a:custGeom>
              <a:grpFill/>
              <a:ln w="5978" cap="flat">
                <a:noFill/>
                <a:prstDash val="solid"/>
                <a:miter/>
              </a:ln>
            </p:spPr>
            <p:txBody>
              <a:bodyPr rtlCol="0" anchor="ctr"/>
              <a:lstStyle/>
              <a:p>
                <a:endParaRPr lang="en-GB"/>
              </a:p>
            </p:txBody>
          </p:sp>
        </p:grpSp>
        <p:grpSp>
          <p:nvGrpSpPr>
            <p:cNvPr id="1263" name="Graphic 3">
              <a:extLst>
                <a:ext uri="{FF2B5EF4-FFF2-40B4-BE49-F238E27FC236}">
                  <a16:creationId xmlns:a16="http://schemas.microsoft.com/office/drawing/2014/main" id="{D5D8C8D3-B284-4864-9389-BFC9FD7491CC}"/>
                </a:ext>
              </a:extLst>
            </p:cNvPr>
            <p:cNvGrpSpPr/>
            <p:nvPr/>
          </p:nvGrpSpPr>
          <p:grpSpPr>
            <a:xfrm>
              <a:off x="4245856" y="3976026"/>
              <a:ext cx="105375" cy="47301"/>
              <a:chOff x="4245856" y="3976026"/>
              <a:chExt cx="105375" cy="47301"/>
            </a:xfrm>
            <a:grpFill/>
          </p:grpSpPr>
          <p:sp>
            <p:nvSpPr>
              <p:cNvPr id="1615" name="Vrije vorm: vorm 1614">
                <a:extLst>
                  <a:ext uri="{FF2B5EF4-FFF2-40B4-BE49-F238E27FC236}">
                    <a16:creationId xmlns:a16="http://schemas.microsoft.com/office/drawing/2014/main" id="{1CCE38BC-667F-45AA-A0D3-69024FF557A2}"/>
                  </a:ext>
                </a:extLst>
              </p:cNvPr>
              <p:cNvSpPr/>
              <p:nvPr/>
            </p:nvSpPr>
            <p:spPr>
              <a:xfrm>
                <a:off x="4254190" y="3983836"/>
                <a:ext cx="88821" cy="32094"/>
              </a:xfrm>
              <a:custGeom>
                <a:avLst/>
                <a:gdLst>
                  <a:gd name="connsiteX0" fmla="*/ 0 w 88821"/>
                  <a:gd name="connsiteY0" fmla="*/ 29200 h 32094"/>
                  <a:gd name="connsiteX1" fmla="*/ 87860 w 88821"/>
                  <a:gd name="connsiteY1" fmla="*/ 0 h 32094"/>
                  <a:gd name="connsiteX2" fmla="*/ 88822 w 88821"/>
                  <a:gd name="connsiteY2" fmla="*/ 2895 h 32094"/>
                  <a:gd name="connsiteX3" fmla="*/ 962 w 88821"/>
                  <a:gd name="connsiteY3" fmla="*/ 32095 h 32094"/>
                </a:gdLst>
                <a:ahLst/>
                <a:cxnLst>
                  <a:cxn ang="0">
                    <a:pos x="connsiteX0" y="connsiteY0"/>
                  </a:cxn>
                  <a:cxn ang="0">
                    <a:pos x="connsiteX1" y="connsiteY1"/>
                  </a:cxn>
                  <a:cxn ang="0">
                    <a:pos x="connsiteX2" y="connsiteY2"/>
                  </a:cxn>
                  <a:cxn ang="0">
                    <a:pos x="connsiteX3" y="connsiteY3"/>
                  </a:cxn>
                </a:cxnLst>
                <a:rect l="l" t="t" r="r" b="b"/>
                <a:pathLst>
                  <a:path w="88821" h="32094">
                    <a:moveTo>
                      <a:pt x="0" y="29200"/>
                    </a:moveTo>
                    <a:lnTo>
                      <a:pt x="87860" y="0"/>
                    </a:lnTo>
                    <a:lnTo>
                      <a:pt x="88822" y="2895"/>
                    </a:lnTo>
                    <a:lnTo>
                      <a:pt x="962" y="32095"/>
                    </a:lnTo>
                    <a:close/>
                  </a:path>
                </a:pathLst>
              </a:custGeom>
              <a:grpFill/>
              <a:ln w="5978" cap="flat">
                <a:noFill/>
                <a:prstDash val="solid"/>
                <a:miter/>
              </a:ln>
            </p:spPr>
            <p:txBody>
              <a:bodyPr rtlCol="0" anchor="ctr"/>
              <a:lstStyle/>
              <a:p>
                <a:endParaRPr lang="en-GB"/>
              </a:p>
            </p:txBody>
          </p:sp>
          <p:sp>
            <p:nvSpPr>
              <p:cNvPr id="1616" name="Vrije vorm: vorm 1615">
                <a:extLst>
                  <a:ext uri="{FF2B5EF4-FFF2-40B4-BE49-F238E27FC236}">
                    <a16:creationId xmlns:a16="http://schemas.microsoft.com/office/drawing/2014/main" id="{D9A385B5-7847-48B8-A16B-C0F7524DAAA2}"/>
                  </a:ext>
                </a:extLst>
              </p:cNvPr>
              <p:cNvSpPr/>
              <p:nvPr/>
            </p:nvSpPr>
            <p:spPr>
              <a:xfrm>
                <a:off x="4245856" y="4004854"/>
                <a:ext cx="18333" cy="18474"/>
              </a:xfrm>
              <a:custGeom>
                <a:avLst/>
                <a:gdLst>
                  <a:gd name="connsiteX0" fmla="*/ 12079 w 18333"/>
                  <a:gd name="connsiteY0" fmla="*/ 17999 h 18474"/>
                  <a:gd name="connsiteX1" fmla="*/ 476 w 18333"/>
                  <a:gd name="connsiteY1" fmla="*/ 12138 h 18474"/>
                  <a:gd name="connsiteX2" fmla="*/ 6277 w 18333"/>
                  <a:gd name="connsiteY2" fmla="*/ 476 h 18474"/>
                  <a:gd name="connsiteX3" fmla="*/ 17880 w 18333"/>
                  <a:gd name="connsiteY3" fmla="*/ 6337 h 18474"/>
                  <a:gd name="connsiteX4" fmla="*/ 12079 w 18333"/>
                  <a:gd name="connsiteY4" fmla="*/ 17999 h 1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74">
                    <a:moveTo>
                      <a:pt x="12079" y="17999"/>
                    </a:moveTo>
                    <a:cubicBezTo>
                      <a:pt x="7294" y="19614"/>
                      <a:pt x="2091" y="16982"/>
                      <a:pt x="476" y="12138"/>
                    </a:cubicBezTo>
                    <a:cubicBezTo>
                      <a:pt x="-1139" y="7294"/>
                      <a:pt x="1493" y="2091"/>
                      <a:pt x="6277" y="476"/>
                    </a:cubicBezTo>
                    <a:cubicBezTo>
                      <a:pt x="11062" y="-1139"/>
                      <a:pt x="16265" y="1492"/>
                      <a:pt x="17880" y="6337"/>
                    </a:cubicBezTo>
                    <a:cubicBezTo>
                      <a:pt x="19435" y="11241"/>
                      <a:pt x="16863" y="16444"/>
                      <a:pt x="12079" y="17999"/>
                    </a:cubicBezTo>
                    <a:close/>
                  </a:path>
                </a:pathLst>
              </a:custGeom>
              <a:grpFill/>
              <a:ln w="5978" cap="flat">
                <a:noFill/>
                <a:prstDash val="solid"/>
                <a:miter/>
              </a:ln>
            </p:spPr>
            <p:txBody>
              <a:bodyPr rtlCol="0" anchor="ctr"/>
              <a:lstStyle/>
              <a:p>
                <a:endParaRPr lang="en-GB"/>
              </a:p>
            </p:txBody>
          </p:sp>
          <p:sp>
            <p:nvSpPr>
              <p:cNvPr id="1617" name="Vrije vorm: vorm 1616">
                <a:extLst>
                  <a:ext uri="{FF2B5EF4-FFF2-40B4-BE49-F238E27FC236}">
                    <a16:creationId xmlns:a16="http://schemas.microsoft.com/office/drawing/2014/main" id="{A15AAD3B-4A01-4DA5-8201-D15C794AD82B}"/>
                  </a:ext>
                </a:extLst>
              </p:cNvPr>
              <p:cNvSpPr/>
              <p:nvPr/>
            </p:nvSpPr>
            <p:spPr>
              <a:xfrm>
                <a:off x="4332875" y="3976026"/>
                <a:ext cx="18356" cy="18446"/>
              </a:xfrm>
              <a:custGeom>
                <a:avLst/>
                <a:gdLst>
                  <a:gd name="connsiteX0" fmla="*/ 12079 w 18356"/>
                  <a:gd name="connsiteY0" fmla="*/ 17999 h 18446"/>
                  <a:gd name="connsiteX1" fmla="*/ 17880 w 18356"/>
                  <a:gd name="connsiteY1" fmla="*/ 6337 h 18446"/>
                  <a:gd name="connsiteX2" fmla="*/ 6277 w 18356"/>
                  <a:gd name="connsiteY2" fmla="*/ 476 h 18446"/>
                  <a:gd name="connsiteX3" fmla="*/ 476 w 18356"/>
                  <a:gd name="connsiteY3" fmla="*/ 12138 h 18446"/>
                  <a:gd name="connsiteX4" fmla="*/ 12079 w 18356"/>
                  <a:gd name="connsiteY4" fmla="*/ 17999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46">
                    <a:moveTo>
                      <a:pt x="12079" y="17999"/>
                    </a:moveTo>
                    <a:cubicBezTo>
                      <a:pt x="16863" y="16385"/>
                      <a:pt x="19495" y="11181"/>
                      <a:pt x="17880" y="6337"/>
                    </a:cubicBezTo>
                    <a:cubicBezTo>
                      <a:pt x="16265" y="1492"/>
                      <a:pt x="11062" y="-1139"/>
                      <a:pt x="6277" y="476"/>
                    </a:cubicBezTo>
                    <a:cubicBezTo>
                      <a:pt x="1493" y="2091"/>
                      <a:pt x="-1139" y="7294"/>
                      <a:pt x="476" y="12138"/>
                    </a:cubicBezTo>
                    <a:cubicBezTo>
                      <a:pt x="2031" y="16923"/>
                      <a:pt x="7234" y="19554"/>
                      <a:pt x="12079" y="17999"/>
                    </a:cubicBezTo>
                    <a:close/>
                  </a:path>
                </a:pathLst>
              </a:custGeom>
              <a:grpFill/>
              <a:ln w="5978" cap="flat">
                <a:noFill/>
                <a:prstDash val="solid"/>
                <a:miter/>
              </a:ln>
            </p:spPr>
            <p:txBody>
              <a:bodyPr rtlCol="0" anchor="ctr"/>
              <a:lstStyle/>
              <a:p>
                <a:endParaRPr lang="en-GB"/>
              </a:p>
            </p:txBody>
          </p:sp>
        </p:grpSp>
        <p:grpSp>
          <p:nvGrpSpPr>
            <p:cNvPr id="1264" name="Graphic 3">
              <a:extLst>
                <a:ext uri="{FF2B5EF4-FFF2-40B4-BE49-F238E27FC236}">
                  <a16:creationId xmlns:a16="http://schemas.microsoft.com/office/drawing/2014/main" id="{068FCB9E-A8A1-4181-8C01-D4445C94B22E}"/>
                </a:ext>
              </a:extLst>
            </p:cNvPr>
            <p:cNvGrpSpPr/>
            <p:nvPr/>
          </p:nvGrpSpPr>
          <p:grpSpPr>
            <a:xfrm>
              <a:off x="4190284" y="3725004"/>
              <a:ext cx="27827" cy="20067"/>
              <a:chOff x="4190284" y="3725004"/>
              <a:chExt cx="27827" cy="20067"/>
            </a:xfrm>
            <a:grpFill/>
          </p:grpSpPr>
          <p:sp>
            <p:nvSpPr>
              <p:cNvPr id="1613" name="Vrije vorm: vorm 1612">
                <a:extLst>
                  <a:ext uri="{FF2B5EF4-FFF2-40B4-BE49-F238E27FC236}">
                    <a16:creationId xmlns:a16="http://schemas.microsoft.com/office/drawing/2014/main" id="{02CF6068-D33D-47A0-BD8C-A42821A0277F}"/>
                  </a:ext>
                </a:extLst>
              </p:cNvPr>
              <p:cNvSpPr/>
              <p:nvPr/>
            </p:nvSpPr>
            <p:spPr>
              <a:xfrm>
                <a:off x="4199776" y="3725004"/>
                <a:ext cx="18335" cy="18437"/>
              </a:xfrm>
              <a:custGeom>
                <a:avLst/>
                <a:gdLst>
                  <a:gd name="connsiteX0" fmla="*/ 10731 w 18335"/>
                  <a:gd name="connsiteY0" fmla="*/ 18310 h 18437"/>
                  <a:gd name="connsiteX1" fmla="*/ 145 w 18335"/>
                  <a:gd name="connsiteY1" fmla="*/ 10774 h 18437"/>
                  <a:gd name="connsiteX2" fmla="*/ 7621 w 18335"/>
                  <a:gd name="connsiteY2" fmla="*/ 128 h 18437"/>
                  <a:gd name="connsiteX3" fmla="*/ 18207 w 18335"/>
                  <a:gd name="connsiteY3" fmla="*/ 7664 h 18437"/>
                  <a:gd name="connsiteX4" fmla="*/ 10731 w 18335"/>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7">
                    <a:moveTo>
                      <a:pt x="10731" y="18310"/>
                    </a:moveTo>
                    <a:cubicBezTo>
                      <a:pt x="5767" y="19147"/>
                      <a:pt x="983" y="15798"/>
                      <a:pt x="145" y="10774"/>
                    </a:cubicBezTo>
                    <a:cubicBezTo>
                      <a:pt x="-752" y="5750"/>
                      <a:pt x="2598" y="1025"/>
                      <a:pt x="7621" y="128"/>
                    </a:cubicBezTo>
                    <a:cubicBezTo>
                      <a:pt x="12585" y="-709"/>
                      <a:pt x="17370" y="2640"/>
                      <a:pt x="18207" y="7664"/>
                    </a:cubicBezTo>
                    <a:cubicBezTo>
                      <a:pt x="19045" y="12688"/>
                      <a:pt x="15695" y="17472"/>
                      <a:pt x="10731" y="18310"/>
                    </a:cubicBezTo>
                    <a:close/>
                  </a:path>
                </a:pathLst>
              </a:custGeom>
              <a:grpFill/>
              <a:ln w="5978" cap="flat">
                <a:noFill/>
                <a:prstDash val="solid"/>
                <a:miter/>
              </a:ln>
            </p:spPr>
            <p:txBody>
              <a:bodyPr rtlCol="0" anchor="ctr"/>
              <a:lstStyle/>
              <a:p>
                <a:endParaRPr lang="en-GB"/>
              </a:p>
            </p:txBody>
          </p:sp>
          <p:sp>
            <p:nvSpPr>
              <p:cNvPr id="1614" name="Vrije vorm: vorm 1613">
                <a:extLst>
                  <a:ext uri="{FF2B5EF4-FFF2-40B4-BE49-F238E27FC236}">
                    <a16:creationId xmlns:a16="http://schemas.microsoft.com/office/drawing/2014/main" id="{CB3444F0-5B69-480D-83FD-E913F0D99750}"/>
                  </a:ext>
                </a:extLst>
              </p:cNvPr>
              <p:cNvSpPr/>
              <p:nvPr/>
            </p:nvSpPr>
            <p:spPr>
              <a:xfrm>
                <a:off x="4190284" y="3726619"/>
                <a:ext cx="18318" cy="18452"/>
              </a:xfrm>
              <a:custGeom>
                <a:avLst/>
                <a:gdLst>
                  <a:gd name="connsiteX0" fmla="*/ 10714 w 18318"/>
                  <a:gd name="connsiteY0" fmla="*/ 18310 h 18452"/>
                  <a:gd name="connsiteX1" fmla="*/ 18190 w 18318"/>
                  <a:gd name="connsiteY1" fmla="*/ 7664 h 18452"/>
                  <a:gd name="connsiteX2" fmla="*/ 7604 w 18318"/>
                  <a:gd name="connsiteY2" fmla="*/ 128 h 18452"/>
                  <a:gd name="connsiteX3" fmla="*/ 128 w 18318"/>
                  <a:gd name="connsiteY3" fmla="*/ 10774 h 18452"/>
                  <a:gd name="connsiteX4" fmla="*/ 10714 w 18318"/>
                  <a:gd name="connsiteY4" fmla="*/ 18310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52">
                    <a:moveTo>
                      <a:pt x="10714" y="18310"/>
                    </a:moveTo>
                    <a:cubicBezTo>
                      <a:pt x="15678" y="17472"/>
                      <a:pt x="19027" y="12688"/>
                      <a:pt x="18190" y="7664"/>
                    </a:cubicBezTo>
                    <a:cubicBezTo>
                      <a:pt x="17293" y="2640"/>
                      <a:pt x="12568" y="-709"/>
                      <a:pt x="7604" y="128"/>
                    </a:cubicBezTo>
                    <a:cubicBezTo>
                      <a:pt x="2640" y="965"/>
                      <a:pt x="-709" y="5750"/>
                      <a:pt x="128" y="10774"/>
                    </a:cubicBezTo>
                    <a:cubicBezTo>
                      <a:pt x="1025" y="15798"/>
                      <a:pt x="5750" y="19207"/>
                      <a:pt x="10714" y="18310"/>
                    </a:cubicBezTo>
                    <a:close/>
                  </a:path>
                </a:pathLst>
              </a:custGeom>
              <a:grpFill/>
              <a:ln w="5978" cap="flat">
                <a:noFill/>
                <a:prstDash val="solid"/>
                <a:miter/>
              </a:ln>
            </p:spPr>
            <p:txBody>
              <a:bodyPr rtlCol="0" anchor="ctr"/>
              <a:lstStyle/>
              <a:p>
                <a:endParaRPr lang="en-GB"/>
              </a:p>
            </p:txBody>
          </p:sp>
        </p:grpSp>
        <p:grpSp>
          <p:nvGrpSpPr>
            <p:cNvPr id="1265" name="Graphic 3">
              <a:extLst>
                <a:ext uri="{FF2B5EF4-FFF2-40B4-BE49-F238E27FC236}">
                  <a16:creationId xmlns:a16="http://schemas.microsoft.com/office/drawing/2014/main" id="{2C8462DD-63F8-4E33-8B09-83025634CB7F}"/>
                </a:ext>
              </a:extLst>
            </p:cNvPr>
            <p:cNvGrpSpPr/>
            <p:nvPr/>
          </p:nvGrpSpPr>
          <p:grpSpPr>
            <a:xfrm>
              <a:off x="3786601" y="3155954"/>
              <a:ext cx="469891" cy="68764"/>
              <a:chOff x="3786601" y="3155954"/>
              <a:chExt cx="469891" cy="68764"/>
            </a:xfrm>
            <a:grpFill/>
          </p:grpSpPr>
          <p:sp>
            <p:nvSpPr>
              <p:cNvPr id="1610" name="Vrije vorm: vorm 1609">
                <a:extLst>
                  <a:ext uri="{FF2B5EF4-FFF2-40B4-BE49-F238E27FC236}">
                    <a16:creationId xmlns:a16="http://schemas.microsoft.com/office/drawing/2014/main" id="{1D71E5E4-CBB3-4C93-BE4E-FF6A053F5301}"/>
                  </a:ext>
                </a:extLst>
              </p:cNvPr>
              <p:cNvSpPr/>
              <p:nvPr/>
            </p:nvSpPr>
            <p:spPr>
              <a:xfrm>
                <a:off x="3795146" y="3163543"/>
                <a:ext cx="452800" cy="53527"/>
              </a:xfrm>
              <a:custGeom>
                <a:avLst/>
                <a:gdLst>
                  <a:gd name="connsiteX0" fmla="*/ 452801 w 452800"/>
                  <a:gd name="connsiteY0" fmla="*/ 50477 h 53527"/>
                  <a:gd name="connsiteX1" fmla="*/ 452442 w 452800"/>
                  <a:gd name="connsiteY1" fmla="*/ 53528 h 53527"/>
                  <a:gd name="connsiteX2" fmla="*/ 0 w 452800"/>
                  <a:gd name="connsiteY2" fmla="*/ 3050 h 53527"/>
                  <a:gd name="connsiteX3" fmla="*/ 299 w 452800"/>
                  <a:gd name="connsiteY3" fmla="*/ 0 h 53527"/>
                </a:gdLst>
                <a:ahLst/>
                <a:cxnLst>
                  <a:cxn ang="0">
                    <a:pos x="connsiteX0" y="connsiteY0"/>
                  </a:cxn>
                  <a:cxn ang="0">
                    <a:pos x="connsiteX1" y="connsiteY1"/>
                  </a:cxn>
                  <a:cxn ang="0">
                    <a:pos x="connsiteX2" y="connsiteY2"/>
                  </a:cxn>
                  <a:cxn ang="0">
                    <a:pos x="connsiteX3" y="connsiteY3"/>
                  </a:cxn>
                </a:cxnLst>
                <a:rect l="l" t="t" r="r" b="b"/>
                <a:pathLst>
                  <a:path w="452800" h="53527">
                    <a:moveTo>
                      <a:pt x="452801" y="50477"/>
                    </a:moveTo>
                    <a:lnTo>
                      <a:pt x="452442" y="53528"/>
                    </a:lnTo>
                    <a:lnTo>
                      <a:pt x="0" y="3050"/>
                    </a:lnTo>
                    <a:lnTo>
                      <a:pt x="299" y="0"/>
                    </a:lnTo>
                    <a:close/>
                  </a:path>
                </a:pathLst>
              </a:custGeom>
              <a:grpFill/>
              <a:ln w="5978" cap="flat">
                <a:noFill/>
                <a:prstDash val="solid"/>
                <a:miter/>
              </a:ln>
            </p:spPr>
            <p:txBody>
              <a:bodyPr rtlCol="0" anchor="ctr"/>
              <a:lstStyle/>
              <a:p>
                <a:endParaRPr lang="en-GB"/>
              </a:p>
            </p:txBody>
          </p:sp>
          <p:sp>
            <p:nvSpPr>
              <p:cNvPr id="1611" name="Vrije vorm: vorm 1610">
                <a:extLst>
                  <a:ext uri="{FF2B5EF4-FFF2-40B4-BE49-F238E27FC236}">
                    <a16:creationId xmlns:a16="http://schemas.microsoft.com/office/drawing/2014/main" id="{99CEBBF9-647E-4197-A398-9365A6B2DA60}"/>
                  </a:ext>
                </a:extLst>
              </p:cNvPr>
              <p:cNvSpPr/>
              <p:nvPr/>
            </p:nvSpPr>
            <p:spPr>
              <a:xfrm>
                <a:off x="3786601" y="3155954"/>
                <a:ext cx="18346" cy="18407"/>
              </a:xfrm>
              <a:custGeom>
                <a:avLst/>
                <a:gdLst>
                  <a:gd name="connsiteX0" fmla="*/ 8186 w 18346"/>
                  <a:gd name="connsiteY0" fmla="*/ 18354 h 18407"/>
                  <a:gd name="connsiteX1" fmla="*/ 53 w 18346"/>
                  <a:gd name="connsiteY1" fmla="*/ 8187 h 18407"/>
                  <a:gd name="connsiteX2" fmla="*/ 10160 w 18346"/>
                  <a:gd name="connsiteY2" fmla="*/ 53 h 18407"/>
                  <a:gd name="connsiteX3" fmla="*/ 18294 w 18346"/>
                  <a:gd name="connsiteY3" fmla="*/ 10221 h 18407"/>
                  <a:gd name="connsiteX4" fmla="*/ 8186 w 18346"/>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7">
                    <a:moveTo>
                      <a:pt x="8186" y="18354"/>
                    </a:moveTo>
                    <a:cubicBezTo>
                      <a:pt x="3163" y="17816"/>
                      <a:pt x="-486" y="13211"/>
                      <a:pt x="53" y="8187"/>
                    </a:cubicBezTo>
                    <a:cubicBezTo>
                      <a:pt x="591" y="3104"/>
                      <a:pt x="5136" y="-485"/>
                      <a:pt x="10160" y="53"/>
                    </a:cubicBezTo>
                    <a:cubicBezTo>
                      <a:pt x="15184" y="592"/>
                      <a:pt x="18832" y="5197"/>
                      <a:pt x="18294" y="10221"/>
                    </a:cubicBezTo>
                    <a:cubicBezTo>
                      <a:pt x="17696" y="15244"/>
                      <a:pt x="13210" y="18893"/>
                      <a:pt x="8186" y="18354"/>
                    </a:cubicBezTo>
                    <a:close/>
                  </a:path>
                </a:pathLst>
              </a:custGeom>
              <a:grpFill/>
              <a:ln w="5978" cap="flat">
                <a:noFill/>
                <a:prstDash val="solid"/>
                <a:miter/>
              </a:ln>
            </p:spPr>
            <p:txBody>
              <a:bodyPr rtlCol="0" anchor="ctr"/>
              <a:lstStyle/>
              <a:p>
                <a:endParaRPr lang="en-GB"/>
              </a:p>
            </p:txBody>
          </p:sp>
          <p:sp>
            <p:nvSpPr>
              <p:cNvPr id="1612" name="Vrije vorm: vorm 1611">
                <a:extLst>
                  <a:ext uri="{FF2B5EF4-FFF2-40B4-BE49-F238E27FC236}">
                    <a16:creationId xmlns:a16="http://schemas.microsoft.com/office/drawing/2014/main" id="{C7930187-F838-4751-8D5A-4AEA3A634EFF}"/>
                  </a:ext>
                </a:extLst>
              </p:cNvPr>
              <p:cNvSpPr/>
              <p:nvPr/>
            </p:nvSpPr>
            <p:spPr>
              <a:xfrm>
                <a:off x="4238145" y="3206312"/>
                <a:ext cx="18346" cy="18406"/>
              </a:xfrm>
              <a:custGeom>
                <a:avLst/>
                <a:gdLst>
                  <a:gd name="connsiteX0" fmla="*/ 8186 w 18346"/>
                  <a:gd name="connsiteY0" fmla="*/ 18354 h 18406"/>
                  <a:gd name="connsiteX1" fmla="*/ 18294 w 18346"/>
                  <a:gd name="connsiteY1" fmla="*/ 10220 h 18406"/>
                  <a:gd name="connsiteX2" fmla="*/ 10160 w 18346"/>
                  <a:gd name="connsiteY2" fmla="*/ 53 h 18406"/>
                  <a:gd name="connsiteX3" fmla="*/ 53 w 18346"/>
                  <a:gd name="connsiteY3" fmla="*/ 8186 h 18406"/>
                  <a:gd name="connsiteX4" fmla="*/ 8186 w 18346"/>
                  <a:gd name="connsiteY4" fmla="*/ 18354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6">
                    <a:moveTo>
                      <a:pt x="8186" y="18354"/>
                    </a:moveTo>
                    <a:cubicBezTo>
                      <a:pt x="13210" y="18892"/>
                      <a:pt x="17756" y="15244"/>
                      <a:pt x="18294" y="10220"/>
                    </a:cubicBezTo>
                    <a:cubicBezTo>
                      <a:pt x="18832" y="5136"/>
                      <a:pt x="15184" y="591"/>
                      <a:pt x="10160" y="53"/>
                    </a:cubicBezTo>
                    <a:cubicBezTo>
                      <a:pt x="5136" y="-486"/>
                      <a:pt x="591" y="3163"/>
                      <a:pt x="53" y="8186"/>
                    </a:cubicBezTo>
                    <a:cubicBezTo>
                      <a:pt x="-486" y="13210"/>
                      <a:pt x="3163" y="17756"/>
                      <a:pt x="8186" y="18354"/>
                    </a:cubicBezTo>
                    <a:close/>
                  </a:path>
                </a:pathLst>
              </a:custGeom>
              <a:grpFill/>
              <a:ln w="5978" cap="flat">
                <a:noFill/>
                <a:prstDash val="solid"/>
                <a:miter/>
              </a:ln>
            </p:spPr>
            <p:txBody>
              <a:bodyPr rtlCol="0" anchor="ctr"/>
              <a:lstStyle/>
              <a:p>
                <a:endParaRPr lang="en-GB"/>
              </a:p>
            </p:txBody>
          </p:sp>
        </p:grpSp>
        <p:grpSp>
          <p:nvGrpSpPr>
            <p:cNvPr id="1266" name="Graphic 3">
              <a:extLst>
                <a:ext uri="{FF2B5EF4-FFF2-40B4-BE49-F238E27FC236}">
                  <a16:creationId xmlns:a16="http://schemas.microsoft.com/office/drawing/2014/main" id="{A9E5E038-8AA2-4010-BE47-20F8AD54AF00}"/>
                </a:ext>
              </a:extLst>
            </p:cNvPr>
            <p:cNvGrpSpPr/>
            <p:nvPr/>
          </p:nvGrpSpPr>
          <p:grpSpPr>
            <a:xfrm>
              <a:off x="3992538" y="3217747"/>
              <a:ext cx="81770" cy="24244"/>
              <a:chOff x="3992538" y="3217747"/>
              <a:chExt cx="81770" cy="24244"/>
            </a:xfrm>
            <a:grpFill/>
          </p:grpSpPr>
          <p:sp>
            <p:nvSpPr>
              <p:cNvPr id="1607" name="Vrije vorm: vorm 1606">
                <a:extLst>
                  <a:ext uri="{FF2B5EF4-FFF2-40B4-BE49-F238E27FC236}">
                    <a16:creationId xmlns:a16="http://schemas.microsoft.com/office/drawing/2014/main" id="{ED375D7A-D5D0-4D22-B6CE-3E53BAA376FE}"/>
                  </a:ext>
                </a:extLst>
              </p:cNvPr>
              <p:cNvSpPr/>
              <p:nvPr/>
            </p:nvSpPr>
            <p:spPr>
              <a:xfrm>
                <a:off x="4001122" y="3225383"/>
                <a:ext cx="64651" cy="9030"/>
              </a:xfrm>
              <a:custGeom>
                <a:avLst/>
                <a:gdLst>
                  <a:gd name="connsiteX0" fmla="*/ 64652 w 64651"/>
                  <a:gd name="connsiteY0" fmla="*/ 5981 h 9030"/>
                  <a:gd name="connsiteX1" fmla="*/ 64353 w 64651"/>
                  <a:gd name="connsiteY1" fmla="*/ 9031 h 9030"/>
                  <a:gd name="connsiteX2" fmla="*/ 0 w 64651"/>
                  <a:gd name="connsiteY2" fmla="*/ 3050 h 9030"/>
                  <a:gd name="connsiteX3" fmla="*/ 299 w 64651"/>
                  <a:gd name="connsiteY3" fmla="*/ 0 h 9030"/>
                </a:gdLst>
                <a:ahLst/>
                <a:cxnLst>
                  <a:cxn ang="0">
                    <a:pos x="connsiteX0" y="connsiteY0"/>
                  </a:cxn>
                  <a:cxn ang="0">
                    <a:pos x="connsiteX1" y="connsiteY1"/>
                  </a:cxn>
                  <a:cxn ang="0">
                    <a:pos x="connsiteX2" y="connsiteY2"/>
                  </a:cxn>
                  <a:cxn ang="0">
                    <a:pos x="connsiteX3" y="connsiteY3"/>
                  </a:cxn>
                </a:cxnLst>
                <a:rect l="l" t="t" r="r" b="b"/>
                <a:pathLst>
                  <a:path w="64651" h="9030">
                    <a:moveTo>
                      <a:pt x="64652" y="5981"/>
                    </a:moveTo>
                    <a:lnTo>
                      <a:pt x="64353" y="9031"/>
                    </a:lnTo>
                    <a:lnTo>
                      <a:pt x="0" y="3050"/>
                    </a:lnTo>
                    <a:lnTo>
                      <a:pt x="299" y="0"/>
                    </a:lnTo>
                    <a:close/>
                  </a:path>
                </a:pathLst>
              </a:custGeom>
              <a:grpFill/>
              <a:ln w="5978" cap="flat">
                <a:noFill/>
                <a:prstDash val="solid"/>
                <a:miter/>
              </a:ln>
            </p:spPr>
            <p:txBody>
              <a:bodyPr rtlCol="0" anchor="ctr"/>
              <a:lstStyle/>
              <a:p>
                <a:endParaRPr lang="en-GB"/>
              </a:p>
            </p:txBody>
          </p:sp>
          <p:sp>
            <p:nvSpPr>
              <p:cNvPr id="1608" name="Vrije vorm: vorm 1607">
                <a:extLst>
                  <a:ext uri="{FF2B5EF4-FFF2-40B4-BE49-F238E27FC236}">
                    <a16:creationId xmlns:a16="http://schemas.microsoft.com/office/drawing/2014/main" id="{C49E3434-C12B-4C4A-8567-48E3E4E23F5A}"/>
                  </a:ext>
                </a:extLst>
              </p:cNvPr>
              <p:cNvSpPr/>
              <p:nvPr/>
            </p:nvSpPr>
            <p:spPr>
              <a:xfrm>
                <a:off x="4055984" y="3223608"/>
                <a:ext cx="18323" cy="18383"/>
              </a:xfrm>
              <a:custGeom>
                <a:avLst/>
                <a:gdLst>
                  <a:gd name="connsiteX0" fmla="*/ 9969 w 18323"/>
                  <a:gd name="connsiteY0" fmla="*/ 41 h 18383"/>
                  <a:gd name="connsiteX1" fmla="*/ 18282 w 18323"/>
                  <a:gd name="connsiteY1" fmla="*/ 10029 h 18383"/>
                  <a:gd name="connsiteX2" fmla="*/ 8354 w 18323"/>
                  <a:gd name="connsiteY2" fmla="*/ 18342 h 18383"/>
                  <a:gd name="connsiteX3" fmla="*/ 41 w 18323"/>
                  <a:gd name="connsiteY3" fmla="*/ 8354 h 18383"/>
                  <a:gd name="connsiteX4" fmla="*/ 9969 w 18323"/>
                  <a:gd name="connsiteY4" fmla="*/ 41 h 1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383">
                    <a:moveTo>
                      <a:pt x="9969" y="41"/>
                    </a:moveTo>
                    <a:cubicBezTo>
                      <a:pt x="14993" y="520"/>
                      <a:pt x="18761" y="5005"/>
                      <a:pt x="18282" y="10029"/>
                    </a:cubicBezTo>
                    <a:cubicBezTo>
                      <a:pt x="17864" y="15113"/>
                      <a:pt x="13378" y="18821"/>
                      <a:pt x="8354" y="18342"/>
                    </a:cubicBezTo>
                    <a:cubicBezTo>
                      <a:pt x="3331" y="17864"/>
                      <a:pt x="-437" y="13378"/>
                      <a:pt x="41" y="8354"/>
                    </a:cubicBezTo>
                    <a:cubicBezTo>
                      <a:pt x="460" y="3330"/>
                      <a:pt x="4945" y="-437"/>
                      <a:pt x="9969" y="41"/>
                    </a:cubicBezTo>
                    <a:close/>
                  </a:path>
                </a:pathLst>
              </a:custGeom>
              <a:grpFill/>
              <a:ln w="5978" cap="flat">
                <a:noFill/>
                <a:prstDash val="solid"/>
                <a:miter/>
              </a:ln>
            </p:spPr>
            <p:txBody>
              <a:bodyPr rtlCol="0" anchor="ctr"/>
              <a:lstStyle/>
              <a:p>
                <a:endParaRPr lang="en-GB"/>
              </a:p>
            </p:txBody>
          </p:sp>
          <p:sp>
            <p:nvSpPr>
              <p:cNvPr id="1609" name="Vrije vorm: vorm 1608">
                <a:extLst>
                  <a:ext uri="{FF2B5EF4-FFF2-40B4-BE49-F238E27FC236}">
                    <a16:creationId xmlns:a16="http://schemas.microsoft.com/office/drawing/2014/main" id="{7BDB10E1-697B-4730-91EB-787A445AD7B9}"/>
                  </a:ext>
                </a:extLst>
              </p:cNvPr>
              <p:cNvSpPr/>
              <p:nvPr/>
            </p:nvSpPr>
            <p:spPr>
              <a:xfrm>
                <a:off x="3992538" y="3217747"/>
                <a:ext cx="18314" cy="18382"/>
              </a:xfrm>
              <a:custGeom>
                <a:avLst/>
                <a:gdLst>
                  <a:gd name="connsiteX0" fmla="*/ 9960 w 18314"/>
                  <a:gd name="connsiteY0" fmla="*/ 41 h 18382"/>
                  <a:gd name="connsiteX1" fmla="*/ 32 w 18314"/>
                  <a:gd name="connsiteY1" fmla="*/ 8354 h 18382"/>
                  <a:gd name="connsiteX2" fmla="*/ 8346 w 18314"/>
                  <a:gd name="connsiteY2" fmla="*/ 18342 h 18382"/>
                  <a:gd name="connsiteX3" fmla="*/ 18273 w 18314"/>
                  <a:gd name="connsiteY3" fmla="*/ 10029 h 18382"/>
                  <a:gd name="connsiteX4" fmla="*/ 9960 w 18314"/>
                  <a:gd name="connsiteY4" fmla="*/ 41 h 18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4" h="18382">
                    <a:moveTo>
                      <a:pt x="9960" y="41"/>
                    </a:moveTo>
                    <a:cubicBezTo>
                      <a:pt x="4936" y="-438"/>
                      <a:pt x="451" y="3330"/>
                      <a:pt x="32" y="8354"/>
                    </a:cubicBezTo>
                    <a:cubicBezTo>
                      <a:pt x="-386" y="13438"/>
                      <a:pt x="3322" y="17923"/>
                      <a:pt x="8346" y="18342"/>
                    </a:cubicBezTo>
                    <a:cubicBezTo>
                      <a:pt x="13369" y="18820"/>
                      <a:pt x="17855" y="15053"/>
                      <a:pt x="18273" y="10029"/>
                    </a:cubicBezTo>
                    <a:cubicBezTo>
                      <a:pt x="18752" y="5005"/>
                      <a:pt x="15044" y="519"/>
                      <a:pt x="9960" y="41"/>
                    </a:cubicBezTo>
                    <a:close/>
                  </a:path>
                </a:pathLst>
              </a:custGeom>
              <a:grpFill/>
              <a:ln w="5978" cap="flat">
                <a:noFill/>
                <a:prstDash val="solid"/>
                <a:miter/>
              </a:ln>
            </p:spPr>
            <p:txBody>
              <a:bodyPr rtlCol="0" anchor="ctr"/>
              <a:lstStyle/>
              <a:p>
                <a:endParaRPr lang="en-GB"/>
              </a:p>
            </p:txBody>
          </p:sp>
        </p:grpSp>
        <p:grpSp>
          <p:nvGrpSpPr>
            <p:cNvPr id="1267" name="Graphic 3">
              <a:extLst>
                <a:ext uri="{FF2B5EF4-FFF2-40B4-BE49-F238E27FC236}">
                  <a16:creationId xmlns:a16="http://schemas.microsoft.com/office/drawing/2014/main" id="{EB427DFA-20E9-43E2-B254-282C7E74EBA9}"/>
                </a:ext>
              </a:extLst>
            </p:cNvPr>
            <p:cNvGrpSpPr/>
            <p:nvPr/>
          </p:nvGrpSpPr>
          <p:grpSpPr>
            <a:xfrm>
              <a:off x="4238978" y="4038377"/>
              <a:ext cx="138956" cy="63530"/>
              <a:chOff x="4238978" y="4038377"/>
              <a:chExt cx="138956" cy="63530"/>
            </a:xfrm>
            <a:grpFill/>
          </p:grpSpPr>
          <p:sp>
            <p:nvSpPr>
              <p:cNvPr id="1604" name="Vrije vorm: vorm 1603">
                <a:extLst>
                  <a:ext uri="{FF2B5EF4-FFF2-40B4-BE49-F238E27FC236}">
                    <a16:creationId xmlns:a16="http://schemas.microsoft.com/office/drawing/2014/main" id="{90DF5013-A811-46C0-8C43-28BE97EF93B5}"/>
                  </a:ext>
                </a:extLst>
              </p:cNvPr>
              <p:cNvSpPr/>
              <p:nvPr/>
            </p:nvSpPr>
            <p:spPr>
              <a:xfrm>
                <a:off x="4247469" y="4045983"/>
                <a:ext cx="122578" cy="48298"/>
              </a:xfrm>
              <a:custGeom>
                <a:avLst/>
                <a:gdLst>
                  <a:gd name="connsiteX0" fmla="*/ 0 w 122578"/>
                  <a:gd name="connsiteY0" fmla="*/ 45442 h 48298"/>
                  <a:gd name="connsiteX1" fmla="*/ 121511 w 122578"/>
                  <a:gd name="connsiteY1" fmla="*/ 0 h 48298"/>
                  <a:gd name="connsiteX2" fmla="*/ 122579 w 122578"/>
                  <a:gd name="connsiteY2" fmla="*/ 2857 h 48298"/>
                  <a:gd name="connsiteX3" fmla="*/ 1069 w 122578"/>
                  <a:gd name="connsiteY3" fmla="*/ 48299 h 48298"/>
                </a:gdLst>
                <a:ahLst/>
                <a:cxnLst>
                  <a:cxn ang="0">
                    <a:pos x="connsiteX0" y="connsiteY0"/>
                  </a:cxn>
                  <a:cxn ang="0">
                    <a:pos x="connsiteX1" y="connsiteY1"/>
                  </a:cxn>
                  <a:cxn ang="0">
                    <a:pos x="connsiteX2" y="connsiteY2"/>
                  </a:cxn>
                  <a:cxn ang="0">
                    <a:pos x="connsiteX3" y="connsiteY3"/>
                  </a:cxn>
                </a:cxnLst>
                <a:rect l="l" t="t" r="r" b="b"/>
                <a:pathLst>
                  <a:path w="122578" h="48298">
                    <a:moveTo>
                      <a:pt x="0" y="45442"/>
                    </a:moveTo>
                    <a:lnTo>
                      <a:pt x="121511" y="0"/>
                    </a:lnTo>
                    <a:lnTo>
                      <a:pt x="122579" y="2857"/>
                    </a:lnTo>
                    <a:lnTo>
                      <a:pt x="1069" y="48299"/>
                    </a:lnTo>
                    <a:close/>
                  </a:path>
                </a:pathLst>
              </a:custGeom>
              <a:grpFill/>
              <a:ln w="5978" cap="flat">
                <a:noFill/>
                <a:prstDash val="solid"/>
                <a:miter/>
              </a:ln>
            </p:spPr>
            <p:txBody>
              <a:bodyPr rtlCol="0" anchor="ctr"/>
              <a:lstStyle/>
              <a:p>
                <a:endParaRPr lang="en-GB"/>
              </a:p>
            </p:txBody>
          </p:sp>
          <p:sp>
            <p:nvSpPr>
              <p:cNvPr id="1605" name="Vrije vorm: vorm 1604">
                <a:extLst>
                  <a:ext uri="{FF2B5EF4-FFF2-40B4-BE49-F238E27FC236}">
                    <a16:creationId xmlns:a16="http://schemas.microsoft.com/office/drawing/2014/main" id="{CD5923D0-7DBB-4AB7-8195-4A1E7A3E0BAA}"/>
                  </a:ext>
                </a:extLst>
              </p:cNvPr>
              <p:cNvSpPr/>
              <p:nvPr/>
            </p:nvSpPr>
            <p:spPr>
              <a:xfrm>
                <a:off x="4238978" y="4083447"/>
                <a:ext cx="18325" cy="18460"/>
              </a:xfrm>
              <a:custGeom>
                <a:avLst/>
                <a:gdLst>
                  <a:gd name="connsiteX0" fmla="*/ 12378 w 18325"/>
                  <a:gd name="connsiteY0" fmla="*/ 17872 h 18460"/>
                  <a:gd name="connsiteX1" fmla="*/ 596 w 18325"/>
                  <a:gd name="connsiteY1" fmla="*/ 12430 h 18460"/>
                  <a:gd name="connsiteX2" fmla="*/ 5978 w 18325"/>
                  <a:gd name="connsiteY2" fmla="*/ 588 h 18460"/>
                  <a:gd name="connsiteX3" fmla="*/ 17760 w 18325"/>
                  <a:gd name="connsiteY3" fmla="*/ 6031 h 18460"/>
                  <a:gd name="connsiteX4" fmla="*/ 12378 w 18325"/>
                  <a:gd name="connsiteY4" fmla="*/ 17872 h 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60">
                    <a:moveTo>
                      <a:pt x="12378" y="17872"/>
                    </a:moveTo>
                    <a:cubicBezTo>
                      <a:pt x="7653" y="19667"/>
                      <a:pt x="2330" y="17215"/>
                      <a:pt x="596" y="12430"/>
                    </a:cubicBezTo>
                    <a:cubicBezTo>
                      <a:pt x="-1198" y="7646"/>
                      <a:pt x="1194" y="2383"/>
                      <a:pt x="5978" y="588"/>
                    </a:cubicBezTo>
                    <a:cubicBezTo>
                      <a:pt x="10703" y="-1206"/>
                      <a:pt x="16026" y="1246"/>
                      <a:pt x="17760" y="6031"/>
                    </a:cubicBezTo>
                    <a:cubicBezTo>
                      <a:pt x="19495" y="10815"/>
                      <a:pt x="17103" y="16078"/>
                      <a:pt x="12378" y="17872"/>
                    </a:cubicBezTo>
                    <a:close/>
                  </a:path>
                </a:pathLst>
              </a:custGeom>
              <a:grpFill/>
              <a:ln w="5978" cap="flat">
                <a:noFill/>
                <a:prstDash val="solid"/>
                <a:miter/>
              </a:ln>
            </p:spPr>
            <p:txBody>
              <a:bodyPr rtlCol="0" anchor="ctr"/>
              <a:lstStyle/>
              <a:p>
                <a:endParaRPr lang="en-GB"/>
              </a:p>
            </p:txBody>
          </p:sp>
          <p:sp>
            <p:nvSpPr>
              <p:cNvPr id="1606" name="Vrije vorm: vorm 1605">
                <a:extLst>
                  <a:ext uri="{FF2B5EF4-FFF2-40B4-BE49-F238E27FC236}">
                    <a16:creationId xmlns:a16="http://schemas.microsoft.com/office/drawing/2014/main" id="{D42C539E-6C2E-4578-97C5-FD3EB609F07D}"/>
                  </a:ext>
                </a:extLst>
              </p:cNvPr>
              <p:cNvSpPr/>
              <p:nvPr/>
            </p:nvSpPr>
            <p:spPr>
              <a:xfrm>
                <a:off x="4359640" y="4038377"/>
                <a:ext cx="18293" cy="18412"/>
              </a:xfrm>
              <a:custGeom>
                <a:avLst/>
                <a:gdLst>
                  <a:gd name="connsiteX0" fmla="*/ 12347 w 18293"/>
                  <a:gd name="connsiteY0" fmla="*/ 17848 h 18412"/>
                  <a:gd name="connsiteX1" fmla="*/ 17729 w 18293"/>
                  <a:gd name="connsiteY1" fmla="*/ 6007 h 18412"/>
                  <a:gd name="connsiteX2" fmla="*/ 5947 w 18293"/>
                  <a:gd name="connsiteY2" fmla="*/ 564 h 18412"/>
                  <a:gd name="connsiteX3" fmla="*/ 565 w 18293"/>
                  <a:gd name="connsiteY3" fmla="*/ 12406 h 18412"/>
                  <a:gd name="connsiteX4" fmla="*/ 12347 w 18293"/>
                  <a:gd name="connsiteY4" fmla="*/ 17848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3" h="18412">
                    <a:moveTo>
                      <a:pt x="12347" y="17848"/>
                    </a:moveTo>
                    <a:cubicBezTo>
                      <a:pt x="17071" y="16054"/>
                      <a:pt x="19464" y="10791"/>
                      <a:pt x="17729" y="6007"/>
                    </a:cubicBezTo>
                    <a:cubicBezTo>
                      <a:pt x="15935" y="1222"/>
                      <a:pt x="10672" y="-1170"/>
                      <a:pt x="5947" y="564"/>
                    </a:cubicBezTo>
                    <a:cubicBezTo>
                      <a:pt x="1223" y="2358"/>
                      <a:pt x="-1170" y="7621"/>
                      <a:pt x="565" y="12406"/>
                    </a:cubicBezTo>
                    <a:cubicBezTo>
                      <a:pt x="2359" y="17191"/>
                      <a:pt x="7622" y="19583"/>
                      <a:pt x="12347" y="17848"/>
                    </a:cubicBezTo>
                    <a:close/>
                  </a:path>
                </a:pathLst>
              </a:custGeom>
              <a:grpFill/>
              <a:ln w="5978" cap="flat">
                <a:noFill/>
                <a:prstDash val="solid"/>
                <a:miter/>
              </a:ln>
            </p:spPr>
            <p:txBody>
              <a:bodyPr rtlCol="0" anchor="ctr"/>
              <a:lstStyle/>
              <a:p>
                <a:endParaRPr lang="en-GB"/>
              </a:p>
            </p:txBody>
          </p:sp>
        </p:grpSp>
        <p:grpSp>
          <p:nvGrpSpPr>
            <p:cNvPr id="1268" name="Graphic 3">
              <a:extLst>
                <a:ext uri="{FF2B5EF4-FFF2-40B4-BE49-F238E27FC236}">
                  <a16:creationId xmlns:a16="http://schemas.microsoft.com/office/drawing/2014/main" id="{97D4100F-3002-445E-8539-2989062FB7FC}"/>
                </a:ext>
              </a:extLst>
            </p:cNvPr>
            <p:cNvGrpSpPr/>
            <p:nvPr/>
          </p:nvGrpSpPr>
          <p:grpSpPr>
            <a:xfrm>
              <a:off x="4092380" y="3883852"/>
              <a:ext cx="329734" cy="71307"/>
              <a:chOff x="4092380" y="3883852"/>
              <a:chExt cx="329734" cy="71307"/>
            </a:xfrm>
            <a:grpFill/>
          </p:grpSpPr>
          <p:sp>
            <p:nvSpPr>
              <p:cNvPr id="1601" name="Vrije vorm: vorm 1600">
                <a:extLst>
                  <a:ext uri="{FF2B5EF4-FFF2-40B4-BE49-F238E27FC236}">
                    <a16:creationId xmlns:a16="http://schemas.microsoft.com/office/drawing/2014/main" id="{29CE97BB-ECA7-4CDD-816F-FB0CA1E35DE3}"/>
                  </a:ext>
                </a:extLst>
              </p:cNvPr>
              <p:cNvSpPr/>
              <p:nvPr/>
            </p:nvSpPr>
            <p:spPr>
              <a:xfrm>
                <a:off x="4100821" y="3891456"/>
                <a:ext cx="312851" cy="56099"/>
              </a:xfrm>
              <a:custGeom>
                <a:avLst/>
                <a:gdLst>
                  <a:gd name="connsiteX0" fmla="*/ 312314 w 312851"/>
                  <a:gd name="connsiteY0" fmla="*/ 0 h 56099"/>
                  <a:gd name="connsiteX1" fmla="*/ 312852 w 312851"/>
                  <a:gd name="connsiteY1" fmla="*/ 2990 h 56099"/>
                  <a:gd name="connsiteX2" fmla="*/ 538 w 312851"/>
                  <a:gd name="connsiteY2" fmla="*/ 56099 h 56099"/>
                  <a:gd name="connsiteX3" fmla="*/ 0 w 312851"/>
                  <a:gd name="connsiteY3" fmla="*/ 53049 h 56099"/>
                </a:gdLst>
                <a:ahLst/>
                <a:cxnLst>
                  <a:cxn ang="0">
                    <a:pos x="connsiteX0" y="connsiteY0"/>
                  </a:cxn>
                  <a:cxn ang="0">
                    <a:pos x="connsiteX1" y="connsiteY1"/>
                  </a:cxn>
                  <a:cxn ang="0">
                    <a:pos x="connsiteX2" y="connsiteY2"/>
                  </a:cxn>
                  <a:cxn ang="0">
                    <a:pos x="connsiteX3" y="connsiteY3"/>
                  </a:cxn>
                </a:cxnLst>
                <a:rect l="l" t="t" r="r" b="b"/>
                <a:pathLst>
                  <a:path w="312851" h="56099">
                    <a:moveTo>
                      <a:pt x="312314" y="0"/>
                    </a:moveTo>
                    <a:lnTo>
                      <a:pt x="312852" y="2990"/>
                    </a:lnTo>
                    <a:lnTo>
                      <a:pt x="538" y="56099"/>
                    </a:lnTo>
                    <a:lnTo>
                      <a:pt x="0" y="53049"/>
                    </a:lnTo>
                    <a:close/>
                  </a:path>
                </a:pathLst>
              </a:custGeom>
              <a:grpFill/>
              <a:ln w="5978" cap="flat">
                <a:noFill/>
                <a:prstDash val="solid"/>
                <a:miter/>
              </a:ln>
            </p:spPr>
            <p:txBody>
              <a:bodyPr rtlCol="0" anchor="ctr"/>
              <a:lstStyle/>
              <a:p>
                <a:endParaRPr lang="en-GB"/>
              </a:p>
            </p:txBody>
          </p:sp>
          <p:sp>
            <p:nvSpPr>
              <p:cNvPr id="1602" name="Vrije vorm: vorm 1601">
                <a:extLst>
                  <a:ext uri="{FF2B5EF4-FFF2-40B4-BE49-F238E27FC236}">
                    <a16:creationId xmlns:a16="http://schemas.microsoft.com/office/drawing/2014/main" id="{4162D0CE-39C5-4DDB-B616-0A2878DD129C}"/>
                  </a:ext>
                </a:extLst>
              </p:cNvPr>
              <p:cNvSpPr/>
              <p:nvPr/>
            </p:nvSpPr>
            <p:spPr>
              <a:xfrm>
                <a:off x="4403779" y="3883852"/>
                <a:ext cx="18335" cy="18437"/>
              </a:xfrm>
              <a:custGeom>
                <a:avLst/>
                <a:gdLst>
                  <a:gd name="connsiteX0" fmla="*/ 7621 w 18335"/>
                  <a:gd name="connsiteY0" fmla="*/ 128 h 18437"/>
                  <a:gd name="connsiteX1" fmla="*/ 18207 w 18335"/>
                  <a:gd name="connsiteY1" fmla="*/ 7664 h 18437"/>
                  <a:gd name="connsiteX2" fmla="*/ 10731 w 18335"/>
                  <a:gd name="connsiteY2" fmla="*/ 18310 h 18437"/>
                  <a:gd name="connsiteX3" fmla="*/ 145 w 18335"/>
                  <a:gd name="connsiteY3" fmla="*/ 10774 h 18437"/>
                  <a:gd name="connsiteX4" fmla="*/ 7621 w 18335"/>
                  <a:gd name="connsiteY4" fmla="*/ 128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7">
                    <a:moveTo>
                      <a:pt x="7621" y="128"/>
                    </a:moveTo>
                    <a:cubicBezTo>
                      <a:pt x="12585" y="-709"/>
                      <a:pt x="17370" y="2640"/>
                      <a:pt x="18207" y="7664"/>
                    </a:cubicBezTo>
                    <a:cubicBezTo>
                      <a:pt x="19044" y="12688"/>
                      <a:pt x="15695" y="17412"/>
                      <a:pt x="10731" y="18310"/>
                    </a:cubicBezTo>
                    <a:cubicBezTo>
                      <a:pt x="5767" y="19147"/>
                      <a:pt x="982" y="15798"/>
                      <a:pt x="145" y="10774"/>
                    </a:cubicBezTo>
                    <a:cubicBezTo>
                      <a:pt x="-752" y="5690"/>
                      <a:pt x="2597" y="965"/>
                      <a:pt x="7621" y="128"/>
                    </a:cubicBezTo>
                    <a:close/>
                  </a:path>
                </a:pathLst>
              </a:custGeom>
              <a:grpFill/>
              <a:ln w="5978" cap="flat">
                <a:noFill/>
                <a:prstDash val="solid"/>
                <a:miter/>
              </a:ln>
            </p:spPr>
            <p:txBody>
              <a:bodyPr rtlCol="0" anchor="ctr"/>
              <a:lstStyle/>
              <a:p>
                <a:endParaRPr lang="en-GB"/>
              </a:p>
            </p:txBody>
          </p:sp>
          <p:sp>
            <p:nvSpPr>
              <p:cNvPr id="1603" name="Vrije vorm: vorm 1602">
                <a:extLst>
                  <a:ext uri="{FF2B5EF4-FFF2-40B4-BE49-F238E27FC236}">
                    <a16:creationId xmlns:a16="http://schemas.microsoft.com/office/drawing/2014/main" id="{88355621-6DA1-4456-98C3-9F5C4FF04470}"/>
                  </a:ext>
                </a:extLst>
              </p:cNvPr>
              <p:cNvSpPr/>
              <p:nvPr/>
            </p:nvSpPr>
            <p:spPr>
              <a:xfrm>
                <a:off x="4092380" y="3936723"/>
                <a:ext cx="18318" cy="18436"/>
              </a:xfrm>
              <a:custGeom>
                <a:avLst/>
                <a:gdLst>
                  <a:gd name="connsiteX0" fmla="*/ 7604 w 18318"/>
                  <a:gd name="connsiteY0" fmla="*/ 127 h 18436"/>
                  <a:gd name="connsiteX1" fmla="*/ 128 w 18318"/>
                  <a:gd name="connsiteY1" fmla="*/ 10772 h 18436"/>
                  <a:gd name="connsiteX2" fmla="*/ 10714 w 18318"/>
                  <a:gd name="connsiteY2" fmla="*/ 18308 h 18436"/>
                  <a:gd name="connsiteX3" fmla="*/ 18190 w 18318"/>
                  <a:gd name="connsiteY3" fmla="*/ 7662 h 18436"/>
                  <a:gd name="connsiteX4" fmla="*/ 7604 w 18318"/>
                  <a:gd name="connsiteY4" fmla="*/ 127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6">
                    <a:moveTo>
                      <a:pt x="7604" y="127"/>
                    </a:moveTo>
                    <a:cubicBezTo>
                      <a:pt x="2640" y="964"/>
                      <a:pt x="-709" y="5748"/>
                      <a:pt x="128" y="10772"/>
                    </a:cubicBezTo>
                    <a:cubicBezTo>
                      <a:pt x="965" y="15796"/>
                      <a:pt x="5750" y="19145"/>
                      <a:pt x="10714" y="18308"/>
                    </a:cubicBezTo>
                    <a:cubicBezTo>
                      <a:pt x="15678" y="17471"/>
                      <a:pt x="19027" y="12686"/>
                      <a:pt x="18190" y="7662"/>
                    </a:cubicBezTo>
                    <a:cubicBezTo>
                      <a:pt x="17353" y="2698"/>
                      <a:pt x="12628" y="-711"/>
                      <a:pt x="7604" y="127"/>
                    </a:cubicBezTo>
                    <a:close/>
                  </a:path>
                </a:pathLst>
              </a:custGeom>
              <a:grpFill/>
              <a:ln w="5978" cap="flat">
                <a:noFill/>
                <a:prstDash val="solid"/>
                <a:miter/>
              </a:ln>
            </p:spPr>
            <p:txBody>
              <a:bodyPr rtlCol="0" anchor="ctr"/>
              <a:lstStyle/>
              <a:p>
                <a:endParaRPr lang="en-GB"/>
              </a:p>
            </p:txBody>
          </p:sp>
        </p:grpSp>
        <p:grpSp>
          <p:nvGrpSpPr>
            <p:cNvPr id="1269" name="Graphic 3">
              <a:extLst>
                <a:ext uri="{FF2B5EF4-FFF2-40B4-BE49-F238E27FC236}">
                  <a16:creationId xmlns:a16="http://schemas.microsoft.com/office/drawing/2014/main" id="{C562CE92-9C0A-4651-BB7C-D403B0434BC5}"/>
                </a:ext>
              </a:extLst>
            </p:cNvPr>
            <p:cNvGrpSpPr/>
            <p:nvPr/>
          </p:nvGrpSpPr>
          <p:grpSpPr>
            <a:xfrm>
              <a:off x="4247721" y="4439442"/>
              <a:ext cx="480508" cy="324031"/>
              <a:chOff x="4247721" y="4439442"/>
              <a:chExt cx="480508" cy="324031"/>
            </a:xfrm>
            <a:grpFill/>
          </p:grpSpPr>
          <p:sp>
            <p:nvSpPr>
              <p:cNvPr id="1598" name="Vrije vorm: vorm 1597">
                <a:extLst>
                  <a:ext uri="{FF2B5EF4-FFF2-40B4-BE49-F238E27FC236}">
                    <a16:creationId xmlns:a16="http://schemas.microsoft.com/office/drawing/2014/main" id="{D030CE30-1429-49FB-9B73-5C7A3FEDD6D5}"/>
                  </a:ext>
                </a:extLst>
              </p:cNvPr>
              <p:cNvSpPr/>
              <p:nvPr/>
            </p:nvSpPr>
            <p:spPr>
              <a:xfrm>
                <a:off x="4255662" y="4447125"/>
                <a:ext cx="464642" cy="308664"/>
              </a:xfrm>
              <a:custGeom>
                <a:avLst/>
                <a:gdLst>
                  <a:gd name="connsiteX0" fmla="*/ 464642 w 464642"/>
                  <a:gd name="connsiteY0" fmla="*/ 2572 h 308664"/>
                  <a:gd name="connsiteX1" fmla="*/ 1675 w 464642"/>
                  <a:gd name="connsiteY1" fmla="*/ 308665 h 308664"/>
                  <a:gd name="connsiteX2" fmla="*/ 0 w 464642"/>
                  <a:gd name="connsiteY2" fmla="*/ 306093 h 308664"/>
                  <a:gd name="connsiteX3" fmla="*/ 462968 w 464642"/>
                  <a:gd name="connsiteY3" fmla="*/ 0 h 308664"/>
                </a:gdLst>
                <a:ahLst/>
                <a:cxnLst>
                  <a:cxn ang="0">
                    <a:pos x="connsiteX0" y="connsiteY0"/>
                  </a:cxn>
                  <a:cxn ang="0">
                    <a:pos x="connsiteX1" y="connsiteY1"/>
                  </a:cxn>
                  <a:cxn ang="0">
                    <a:pos x="connsiteX2" y="connsiteY2"/>
                  </a:cxn>
                  <a:cxn ang="0">
                    <a:pos x="connsiteX3" y="connsiteY3"/>
                  </a:cxn>
                </a:cxnLst>
                <a:rect l="l" t="t" r="r" b="b"/>
                <a:pathLst>
                  <a:path w="464642" h="308664">
                    <a:moveTo>
                      <a:pt x="464642" y="2572"/>
                    </a:moveTo>
                    <a:lnTo>
                      <a:pt x="1675" y="308665"/>
                    </a:lnTo>
                    <a:lnTo>
                      <a:pt x="0" y="306093"/>
                    </a:lnTo>
                    <a:lnTo>
                      <a:pt x="462968" y="0"/>
                    </a:lnTo>
                    <a:close/>
                  </a:path>
                </a:pathLst>
              </a:custGeom>
              <a:grpFill/>
              <a:ln w="5978" cap="flat">
                <a:noFill/>
                <a:prstDash val="solid"/>
                <a:miter/>
              </a:ln>
            </p:spPr>
            <p:txBody>
              <a:bodyPr rtlCol="0" anchor="ctr"/>
              <a:lstStyle/>
              <a:p>
                <a:endParaRPr lang="en-GB"/>
              </a:p>
            </p:txBody>
          </p:sp>
          <p:sp>
            <p:nvSpPr>
              <p:cNvPr id="1599" name="Vrije vorm: vorm 1598">
                <a:extLst>
                  <a:ext uri="{FF2B5EF4-FFF2-40B4-BE49-F238E27FC236}">
                    <a16:creationId xmlns:a16="http://schemas.microsoft.com/office/drawing/2014/main" id="{59A03612-30C6-467C-81F9-C3C51E438005}"/>
                  </a:ext>
                </a:extLst>
              </p:cNvPr>
              <p:cNvSpPr/>
              <p:nvPr/>
            </p:nvSpPr>
            <p:spPr>
              <a:xfrm>
                <a:off x="4709911" y="4439442"/>
                <a:ext cx="18318" cy="18416"/>
              </a:xfrm>
              <a:custGeom>
                <a:avLst/>
                <a:gdLst>
                  <a:gd name="connsiteX0" fmla="*/ 4113 w 18318"/>
                  <a:gd name="connsiteY0" fmla="*/ 1523 h 18416"/>
                  <a:gd name="connsiteX1" fmla="*/ 16792 w 18318"/>
                  <a:gd name="connsiteY1" fmla="*/ 4155 h 18416"/>
                  <a:gd name="connsiteX2" fmla="*/ 14221 w 18318"/>
                  <a:gd name="connsiteY2" fmla="*/ 16893 h 18416"/>
                  <a:gd name="connsiteX3" fmla="*/ 1542 w 18318"/>
                  <a:gd name="connsiteY3" fmla="*/ 14262 h 18416"/>
                  <a:gd name="connsiteX4" fmla="*/ 4113 w 18318"/>
                  <a:gd name="connsiteY4" fmla="*/ 152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16">
                    <a:moveTo>
                      <a:pt x="4113" y="1523"/>
                    </a:moveTo>
                    <a:cubicBezTo>
                      <a:pt x="8360" y="-1288"/>
                      <a:pt x="14041" y="-92"/>
                      <a:pt x="16792" y="4155"/>
                    </a:cubicBezTo>
                    <a:cubicBezTo>
                      <a:pt x="19603" y="8401"/>
                      <a:pt x="18407" y="14142"/>
                      <a:pt x="14221" y="16893"/>
                    </a:cubicBezTo>
                    <a:cubicBezTo>
                      <a:pt x="9974" y="19704"/>
                      <a:pt x="4293" y="18508"/>
                      <a:pt x="1542" y="14262"/>
                    </a:cubicBezTo>
                    <a:cubicBezTo>
                      <a:pt x="-1270" y="10016"/>
                      <a:pt x="-133" y="4334"/>
                      <a:pt x="4113" y="1523"/>
                    </a:cubicBezTo>
                    <a:close/>
                  </a:path>
                </a:pathLst>
              </a:custGeom>
              <a:grpFill/>
              <a:ln w="5978" cap="flat">
                <a:noFill/>
                <a:prstDash val="solid"/>
                <a:miter/>
              </a:ln>
            </p:spPr>
            <p:txBody>
              <a:bodyPr rtlCol="0" anchor="ctr"/>
              <a:lstStyle/>
              <a:p>
                <a:endParaRPr lang="en-GB"/>
              </a:p>
            </p:txBody>
          </p:sp>
          <p:sp>
            <p:nvSpPr>
              <p:cNvPr id="1600" name="Vrije vorm: vorm 1599">
                <a:extLst>
                  <a:ext uri="{FF2B5EF4-FFF2-40B4-BE49-F238E27FC236}">
                    <a16:creationId xmlns:a16="http://schemas.microsoft.com/office/drawing/2014/main" id="{13CF7CAE-5620-4119-AA4B-B0D2522874E8}"/>
                  </a:ext>
                </a:extLst>
              </p:cNvPr>
              <p:cNvSpPr/>
              <p:nvPr/>
            </p:nvSpPr>
            <p:spPr>
              <a:xfrm>
                <a:off x="4247721" y="4745057"/>
                <a:ext cx="18333" cy="18416"/>
              </a:xfrm>
              <a:custGeom>
                <a:avLst/>
                <a:gdLst>
                  <a:gd name="connsiteX0" fmla="*/ 4113 w 18333"/>
                  <a:gd name="connsiteY0" fmla="*/ 1523 h 18416"/>
                  <a:gd name="connsiteX1" fmla="*/ 1541 w 18333"/>
                  <a:gd name="connsiteY1" fmla="*/ 14262 h 18416"/>
                  <a:gd name="connsiteX2" fmla="*/ 14220 w 18333"/>
                  <a:gd name="connsiteY2" fmla="*/ 16893 h 18416"/>
                  <a:gd name="connsiteX3" fmla="*/ 16792 w 18333"/>
                  <a:gd name="connsiteY3" fmla="*/ 4154 h 18416"/>
                  <a:gd name="connsiteX4" fmla="*/ 4113 w 18333"/>
                  <a:gd name="connsiteY4" fmla="*/ 1523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16">
                    <a:moveTo>
                      <a:pt x="4113" y="1523"/>
                    </a:moveTo>
                    <a:cubicBezTo>
                      <a:pt x="-133" y="4334"/>
                      <a:pt x="-1269" y="10015"/>
                      <a:pt x="1541" y="14262"/>
                    </a:cubicBezTo>
                    <a:cubicBezTo>
                      <a:pt x="4352" y="18508"/>
                      <a:pt x="10034" y="19704"/>
                      <a:pt x="14220" y="16893"/>
                    </a:cubicBezTo>
                    <a:cubicBezTo>
                      <a:pt x="18467" y="14082"/>
                      <a:pt x="19603" y="8401"/>
                      <a:pt x="16792" y="4154"/>
                    </a:cubicBezTo>
                    <a:cubicBezTo>
                      <a:pt x="13981" y="-92"/>
                      <a:pt x="8300" y="-1288"/>
                      <a:pt x="4113" y="1523"/>
                    </a:cubicBezTo>
                    <a:close/>
                  </a:path>
                </a:pathLst>
              </a:custGeom>
              <a:grpFill/>
              <a:ln w="5978" cap="flat">
                <a:noFill/>
                <a:prstDash val="solid"/>
                <a:miter/>
              </a:ln>
            </p:spPr>
            <p:txBody>
              <a:bodyPr rtlCol="0" anchor="ctr"/>
              <a:lstStyle/>
              <a:p>
                <a:endParaRPr lang="en-GB"/>
              </a:p>
            </p:txBody>
          </p:sp>
        </p:grpSp>
        <p:grpSp>
          <p:nvGrpSpPr>
            <p:cNvPr id="1270" name="Graphic 3">
              <a:extLst>
                <a:ext uri="{FF2B5EF4-FFF2-40B4-BE49-F238E27FC236}">
                  <a16:creationId xmlns:a16="http://schemas.microsoft.com/office/drawing/2014/main" id="{24091D4C-5B1F-4424-8F1C-5482B861E38A}"/>
                </a:ext>
              </a:extLst>
            </p:cNvPr>
            <p:cNvGrpSpPr/>
            <p:nvPr/>
          </p:nvGrpSpPr>
          <p:grpSpPr>
            <a:xfrm>
              <a:off x="4523645" y="4781321"/>
              <a:ext cx="71038" cy="67655"/>
              <a:chOff x="4523645" y="4781321"/>
              <a:chExt cx="71038" cy="67655"/>
            </a:xfrm>
            <a:grpFill/>
          </p:grpSpPr>
          <p:sp>
            <p:nvSpPr>
              <p:cNvPr id="1595" name="Vrije vorm: vorm 1594">
                <a:extLst>
                  <a:ext uri="{FF2B5EF4-FFF2-40B4-BE49-F238E27FC236}">
                    <a16:creationId xmlns:a16="http://schemas.microsoft.com/office/drawing/2014/main" id="{E8104690-31BE-4BDC-A5D2-9593E916C8CC}"/>
                  </a:ext>
                </a:extLst>
              </p:cNvPr>
              <p:cNvSpPr/>
              <p:nvPr/>
            </p:nvSpPr>
            <p:spPr>
              <a:xfrm>
                <a:off x="4531493" y="4789103"/>
                <a:ext cx="55381" cy="52092"/>
              </a:xfrm>
              <a:custGeom>
                <a:avLst/>
                <a:gdLst>
                  <a:gd name="connsiteX0" fmla="*/ 55382 w 55381"/>
                  <a:gd name="connsiteY0" fmla="*/ 2213 h 52092"/>
                  <a:gd name="connsiteX1" fmla="*/ 2093 w 55381"/>
                  <a:gd name="connsiteY1" fmla="*/ 52092 h 52092"/>
                  <a:gd name="connsiteX2" fmla="*/ 0 w 55381"/>
                  <a:gd name="connsiteY2" fmla="*/ 49820 h 52092"/>
                  <a:gd name="connsiteX3" fmla="*/ 53348 w 55381"/>
                  <a:gd name="connsiteY3" fmla="*/ 0 h 52092"/>
                </a:gdLst>
                <a:ahLst/>
                <a:cxnLst>
                  <a:cxn ang="0">
                    <a:pos x="connsiteX0" y="connsiteY0"/>
                  </a:cxn>
                  <a:cxn ang="0">
                    <a:pos x="connsiteX1" y="connsiteY1"/>
                  </a:cxn>
                  <a:cxn ang="0">
                    <a:pos x="connsiteX2" y="connsiteY2"/>
                  </a:cxn>
                  <a:cxn ang="0">
                    <a:pos x="connsiteX3" y="connsiteY3"/>
                  </a:cxn>
                </a:cxnLst>
                <a:rect l="l" t="t" r="r" b="b"/>
                <a:pathLst>
                  <a:path w="55381" h="52092">
                    <a:moveTo>
                      <a:pt x="55382" y="2213"/>
                    </a:moveTo>
                    <a:lnTo>
                      <a:pt x="2093" y="52092"/>
                    </a:lnTo>
                    <a:lnTo>
                      <a:pt x="0" y="49820"/>
                    </a:lnTo>
                    <a:lnTo>
                      <a:pt x="53348" y="0"/>
                    </a:lnTo>
                    <a:close/>
                  </a:path>
                </a:pathLst>
              </a:custGeom>
              <a:grpFill/>
              <a:ln w="5978" cap="flat">
                <a:noFill/>
                <a:prstDash val="solid"/>
                <a:miter/>
              </a:ln>
            </p:spPr>
            <p:txBody>
              <a:bodyPr rtlCol="0" anchor="ctr"/>
              <a:lstStyle/>
              <a:p>
                <a:endParaRPr lang="en-GB"/>
              </a:p>
            </p:txBody>
          </p:sp>
          <p:sp>
            <p:nvSpPr>
              <p:cNvPr id="1596" name="Vrije vorm: vorm 1595">
                <a:extLst>
                  <a:ext uri="{FF2B5EF4-FFF2-40B4-BE49-F238E27FC236}">
                    <a16:creationId xmlns:a16="http://schemas.microsoft.com/office/drawing/2014/main" id="{B1BD736B-5E86-4A5E-B2C3-7C39E5712B5E}"/>
                  </a:ext>
                </a:extLst>
              </p:cNvPr>
              <p:cNvSpPr/>
              <p:nvPr/>
            </p:nvSpPr>
            <p:spPr>
              <a:xfrm>
                <a:off x="4523645" y="4830542"/>
                <a:ext cx="18372" cy="18434"/>
              </a:xfrm>
              <a:custGeom>
                <a:avLst/>
                <a:gdLst>
                  <a:gd name="connsiteX0" fmla="*/ 15443 w 18372"/>
                  <a:gd name="connsiteY0" fmla="*/ 15975 h 18434"/>
                  <a:gd name="connsiteX1" fmla="*/ 2465 w 18372"/>
                  <a:gd name="connsiteY1" fmla="*/ 15497 h 18434"/>
                  <a:gd name="connsiteX2" fmla="*/ 2884 w 18372"/>
                  <a:gd name="connsiteY2" fmla="*/ 2459 h 18434"/>
                  <a:gd name="connsiteX3" fmla="*/ 15862 w 18372"/>
                  <a:gd name="connsiteY3" fmla="*/ 2937 h 18434"/>
                  <a:gd name="connsiteX4" fmla="*/ 15443 w 18372"/>
                  <a:gd name="connsiteY4" fmla="*/ 15975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4">
                    <a:moveTo>
                      <a:pt x="15443" y="15975"/>
                    </a:moveTo>
                    <a:cubicBezTo>
                      <a:pt x="11735" y="19444"/>
                      <a:pt x="5934" y="19205"/>
                      <a:pt x="2465" y="15497"/>
                    </a:cubicBezTo>
                    <a:cubicBezTo>
                      <a:pt x="-1004" y="11789"/>
                      <a:pt x="-764" y="5928"/>
                      <a:pt x="2884" y="2459"/>
                    </a:cubicBezTo>
                    <a:cubicBezTo>
                      <a:pt x="6592" y="-1010"/>
                      <a:pt x="12393" y="-771"/>
                      <a:pt x="15862" y="2937"/>
                    </a:cubicBezTo>
                    <a:cubicBezTo>
                      <a:pt x="19391" y="6646"/>
                      <a:pt x="19151" y="12507"/>
                      <a:pt x="15443" y="15975"/>
                    </a:cubicBezTo>
                    <a:close/>
                  </a:path>
                </a:pathLst>
              </a:custGeom>
              <a:grpFill/>
              <a:ln w="5978" cap="flat">
                <a:noFill/>
                <a:prstDash val="solid"/>
                <a:miter/>
              </a:ln>
            </p:spPr>
            <p:txBody>
              <a:bodyPr rtlCol="0" anchor="ctr"/>
              <a:lstStyle/>
              <a:p>
                <a:endParaRPr lang="en-GB"/>
              </a:p>
            </p:txBody>
          </p:sp>
          <p:sp>
            <p:nvSpPr>
              <p:cNvPr id="1597" name="Vrije vorm: vorm 1596">
                <a:extLst>
                  <a:ext uri="{FF2B5EF4-FFF2-40B4-BE49-F238E27FC236}">
                    <a16:creationId xmlns:a16="http://schemas.microsoft.com/office/drawing/2014/main" id="{4B03742C-CB48-43DE-B444-7EC0EDAAC2AB}"/>
                  </a:ext>
                </a:extLst>
              </p:cNvPr>
              <p:cNvSpPr/>
              <p:nvPr/>
            </p:nvSpPr>
            <p:spPr>
              <a:xfrm>
                <a:off x="4576314" y="4781321"/>
                <a:ext cx="18370" cy="18410"/>
              </a:xfrm>
              <a:custGeom>
                <a:avLst/>
                <a:gdLst>
                  <a:gd name="connsiteX0" fmla="*/ 15465 w 18370"/>
                  <a:gd name="connsiteY0" fmla="*/ 15975 h 18410"/>
                  <a:gd name="connsiteX1" fmla="*/ 15883 w 18370"/>
                  <a:gd name="connsiteY1" fmla="*/ 2937 h 18410"/>
                  <a:gd name="connsiteX2" fmla="*/ 2905 w 18370"/>
                  <a:gd name="connsiteY2" fmla="*/ 2459 h 18410"/>
                  <a:gd name="connsiteX3" fmla="*/ 2487 w 18370"/>
                  <a:gd name="connsiteY3" fmla="*/ 15497 h 18410"/>
                  <a:gd name="connsiteX4" fmla="*/ 15465 w 18370"/>
                  <a:gd name="connsiteY4" fmla="*/ 15975 h 18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0">
                    <a:moveTo>
                      <a:pt x="15465" y="15975"/>
                    </a:moveTo>
                    <a:cubicBezTo>
                      <a:pt x="19173" y="12507"/>
                      <a:pt x="19352" y="6705"/>
                      <a:pt x="15883" y="2937"/>
                    </a:cubicBezTo>
                    <a:cubicBezTo>
                      <a:pt x="12415" y="-771"/>
                      <a:pt x="6613" y="-1010"/>
                      <a:pt x="2905" y="2459"/>
                    </a:cubicBezTo>
                    <a:cubicBezTo>
                      <a:pt x="-803" y="5928"/>
                      <a:pt x="-982" y="11729"/>
                      <a:pt x="2487" y="15497"/>
                    </a:cubicBezTo>
                    <a:cubicBezTo>
                      <a:pt x="5955" y="19205"/>
                      <a:pt x="11757" y="19384"/>
                      <a:pt x="15465" y="15975"/>
                    </a:cubicBezTo>
                    <a:close/>
                  </a:path>
                </a:pathLst>
              </a:custGeom>
              <a:grpFill/>
              <a:ln w="5978" cap="flat">
                <a:noFill/>
                <a:prstDash val="solid"/>
                <a:miter/>
              </a:ln>
            </p:spPr>
            <p:txBody>
              <a:bodyPr rtlCol="0" anchor="ctr"/>
              <a:lstStyle/>
              <a:p>
                <a:endParaRPr lang="en-GB"/>
              </a:p>
            </p:txBody>
          </p:sp>
        </p:grpSp>
        <p:grpSp>
          <p:nvGrpSpPr>
            <p:cNvPr id="1271" name="Graphic 3">
              <a:extLst>
                <a:ext uri="{FF2B5EF4-FFF2-40B4-BE49-F238E27FC236}">
                  <a16:creationId xmlns:a16="http://schemas.microsoft.com/office/drawing/2014/main" id="{F0DB174A-2012-4D22-937C-602B2CFCC864}"/>
                </a:ext>
              </a:extLst>
            </p:cNvPr>
            <p:cNvGrpSpPr/>
            <p:nvPr/>
          </p:nvGrpSpPr>
          <p:grpSpPr>
            <a:xfrm>
              <a:off x="4531843" y="4811648"/>
              <a:ext cx="85623" cy="83733"/>
              <a:chOff x="4531843" y="4811648"/>
              <a:chExt cx="85623" cy="83733"/>
            </a:xfrm>
            <a:grpFill/>
          </p:grpSpPr>
          <p:sp>
            <p:nvSpPr>
              <p:cNvPr id="1592" name="Vrije vorm: vorm 1591">
                <a:extLst>
                  <a:ext uri="{FF2B5EF4-FFF2-40B4-BE49-F238E27FC236}">
                    <a16:creationId xmlns:a16="http://schemas.microsoft.com/office/drawing/2014/main" id="{237F41E2-16E6-4051-9D87-ABEB663A10DF}"/>
                  </a:ext>
                </a:extLst>
              </p:cNvPr>
              <p:cNvSpPr/>
              <p:nvPr/>
            </p:nvSpPr>
            <p:spPr>
              <a:xfrm>
                <a:off x="4539627" y="4819425"/>
                <a:ext cx="70093" cy="68180"/>
              </a:xfrm>
              <a:custGeom>
                <a:avLst/>
                <a:gdLst>
                  <a:gd name="connsiteX0" fmla="*/ 70094 w 70093"/>
                  <a:gd name="connsiteY0" fmla="*/ 2213 h 68180"/>
                  <a:gd name="connsiteX1" fmla="*/ 2093 w 70093"/>
                  <a:gd name="connsiteY1" fmla="*/ 68180 h 68180"/>
                  <a:gd name="connsiteX2" fmla="*/ 0 w 70093"/>
                  <a:gd name="connsiteY2" fmla="*/ 65968 h 68180"/>
                  <a:gd name="connsiteX3" fmla="*/ 67941 w 70093"/>
                  <a:gd name="connsiteY3" fmla="*/ 0 h 68180"/>
                </a:gdLst>
                <a:ahLst/>
                <a:cxnLst>
                  <a:cxn ang="0">
                    <a:pos x="connsiteX0" y="connsiteY0"/>
                  </a:cxn>
                  <a:cxn ang="0">
                    <a:pos x="connsiteX1" y="connsiteY1"/>
                  </a:cxn>
                  <a:cxn ang="0">
                    <a:pos x="connsiteX2" y="connsiteY2"/>
                  </a:cxn>
                  <a:cxn ang="0">
                    <a:pos x="connsiteX3" y="connsiteY3"/>
                  </a:cxn>
                </a:cxnLst>
                <a:rect l="l" t="t" r="r" b="b"/>
                <a:pathLst>
                  <a:path w="70093" h="68180">
                    <a:moveTo>
                      <a:pt x="70094" y="2213"/>
                    </a:moveTo>
                    <a:lnTo>
                      <a:pt x="2093" y="68180"/>
                    </a:lnTo>
                    <a:lnTo>
                      <a:pt x="0" y="65968"/>
                    </a:lnTo>
                    <a:lnTo>
                      <a:pt x="67941" y="0"/>
                    </a:lnTo>
                    <a:close/>
                  </a:path>
                </a:pathLst>
              </a:custGeom>
              <a:grpFill/>
              <a:ln w="5978" cap="flat">
                <a:noFill/>
                <a:prstDash val="solid"/>
                <a:miter/>
              </a:ln>
            </p:spPr>
            <p:txBody>
              <a:bodyPr rtlCol="0" anchor="ctr"/>
              <a:lstStyle/>
              <a:p>
                <a:endParaRPr lang="en-GB"/>
              </a:p>
            </p:txBody>
          </p:sp>
          <p:sp>
            <p:nvSpPr>
              <p:cNvPr id="1593" name="Vrije vorm: vorm 1592">
                <a:extLst>
                  <a:ext uri="{FF2B5EF4-FFF2-40B4-BE49-F238E27FC236}">
                    <a16:creationId xmlns:a16="http://schemas.microsoft.com/office/drawing/2014/main" id="{A6E14C4F-F6E7-4557-A678-73CB2F73C13C}"/>
                  </a:ext>
                </a:extLst>
              </p:cNvPr>
              <p:cNvSpPr/>
              <p:nvPr/>
            </p:nvSpPr>
            <p:spPr>
              <a:xfrm>
                <a:off x="4531843" y="4876958"/>
                <a:ext cx="18340" cy="18423"/>
              </a:xfrm>
              <a:custGeom>
                <a:avLst/>
                <a:gdLst>
                  <a:gd name="connsiteX0" fmla="*/ 15559 w 18340"/>
                  <a:gd name="connsiteY0" fmla="*/ 15851 h 18423"/>
                  <a:gd name="connsiteX1" fmla="*/ 2580 w 18340"/>
                  <a:gd name="connsiteY1" fmla="*/ 15611 h 18423"/>
                  <a:gd name="connsiteX2" fmla="*/ 2760 w 18340"/>
                  <a:gd name="connsiteY2" fmla="*/ 2573 h 18423"/>
                  <a:gd name="connsiteX3" fmla="*/ 15738 w 18340"/>
                  <a:gd name="connsiteY3" fmla="*/ 2813 h 18423"/>
                  <a:gd name="connsiteX4" fmla="*/ 15559 w 18340"/>
                  <a:gd name="connsiteY4" fmla="*/ 15851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23">
                    <a:moveTo>
                      <a:pt x="15559" y="15851"/>
                    </a:moveTo>
                    <a:cubicBezTo>
                      <a:pt x="11910" y="19379"/>
                      <a:pt x="6109" y="19260"/>
                      <a:pt x="2580" y="15611"/>
                    </a:cubicBezTo>
                    <a:cubicBezTo>
                      <a:pt x="-948" y="11963"/>
                      <a:pt x="-829" y="6102"/>
                      <a:pt x="2760" y="2573"/>
                    </a:cubicBezTo>
                    <a:cubicBezTo>
                      <a:pt x="6408" y="-955"/>
                      <a:pt x="12209" y="-836"/>
                      <a:pt x="15738" y="2813"/>
                    </a:cubicBezTo>
                    <a:cubicBezTo>
                      <a:pt x="19267" y="6521"/>
                      <a:pt x="19207" y="12322"/>
                      <a:pt x="15559" y="15851"/>
                    </a:cubicBezTo>
                    <a:close/>
                  </a:path>
                </a:pathLst>
              </a:custGeom>
              <a:grpFill/>
              <a:ln w="5978" cap="flat">
                <a:noFill/>
                <a:prstDash val="solid"/>
                <a:miter/>
              </a:ln>
            </p:spPr>
            <p:txBody>
              <a:bodyPr rtlCol="0" anchor="ctr"/>
              <a:lstStyle/>
              <a:p>
                <a:endParaRPr lang="en-GB"/>
              </a:p>
            </p:txBody>
          </p:sp>
          <p:sp>
            <p:nvSpPr>
              <p:cNvPr id="1594" name="Vrije vorm: vorm 1593">
                <a:extLst>
                  <a:ext uri="{FF2B5EF4-FFF2-40B4-BE49-F238E27FC236}">
                    <a16:creationId xmlns:a16="http://schemas.microsoft.com/office/drawing/2014/main" id="{525E4654-BF9E-4052-99AD-6702D3391D67}"/>
                  </a:ext>
                </a:extLst>
              </p:cNvPr>
              <p:cNvSpPr/>
              <p:nvPr/>
            </p:nvSpPr>
            <p:spPr>
              <a:xfrm>
                <a:off x="4599104" y="4811648"/>
                <a:ext cx="18362" cy="18424"/>
              </a:xfrm>
              <a:custGeom>
                <a:avLst/>
                <a:gdLst>
                  <a:gd name="connsiteX0" fmla="*/ 15581 w 18362"/>
                  <a:gd name="connsiteY0" fmla="*/ 15851 h 18424"/>
                  <a:gd name="connsiteX1" fmla="*/ 15760 w 18362"/>
                  <a:gd name="connsiteY1" fmla="*/ 2813 h 18424"/>
                  <a:gd name="connsiteX2" fmla="*/ 2782 w 18362"/>
                  <a:gd name="connsiteY2" fmla="*/ 2573 h 18424"/>
                  <a:gd name="connsiteX3" fmla="*/ 2602 w 18362"/>
                  <a:gd name="connsiteY3" fmla="*/ 15611 h 18424"/>
                  <a:gd name="connsiteX4" fmla="*/ 15581 w 18362"/>
                  <a:gd name="connsiteY4" fmla="*/ 15851 h 18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24">
                    <a:moveTo>
                      <a:pt x="15581" y="15851"/>
                    </a:moveTo>
                    <a:cubicBezTo>
                      <a:pt x="19229" y="12322"/>
                      <a:pt x="19289" y="6461"/>
                      <a:pt x="15760" y="2813"/>
                    </a:cubicBezTo>
                    <a:cubicBezTo>
                      <a:pt x="12231" y="-836"/>
                      <a:pt x="6430" y="-955"/>
                      <a:pt x="2782" y="2573"/>
                    </a:cubicBezTo>
                    <a:cubicBezTo>
                      <a:pt x="-866" y="6102"/>
                      <a:pt x="-926" y="11903"/>
                      <a:pt x="2602" y="15611"/>
                    </a:cubicBezTo>
                    <a:cubicBezTo>
                      <a:pt x="6131" y="19260"/>
                      <a:pt x="11932" y="19379"/>
                      <a:pt x="15581" y="15851"/>
                    </a:cubicBezTo>
                    <a:close/>
                  </a:path>
                </a:pathLst>
              </a:custGeom>
              <a:grpFill/>
              <a:ln w="5978" cap="flat">
                <a:noFill/>
                <a:prstDash val="solid"/>
                <a:miter/>
              </a:ln>
            </p:spPr>
            <p:txBody>
              <a:bodyPr rtlCol="0" anchor="ctr"/>
              <a:lstStyle/>
              <a:p>
                <a:endParaRPr lang="en-GB"/>
              </a:p>
            </p:txBody>
          </p:sp>
        </p:grpSp>
        <p:grpSp>
          <p:nvGrpSpPr>
            <p:cNvPr id="1272" name="Graphic 3">
              <a:extLst>
                <a:ext uri="{FF2B5EF4-FFF2-40B4-BE49-F238E27FC236}">
                  <a16:creationId xmlns:a16="http://schemas.microsoft.com/office/drawing/2014/main" id="{34C74F9A-FFF7-4849-98ED-C103D7F8C97D}"/>
                </a:ext>
              </a:extLst>
            </p:cNvPr>
            <p:cNvGrpSpPr/>
            <p:nvPr/>
          </p:nvGrpSpPr>
          <p:grpSpPr>
            <a:xfrm>
              <a:off x="4014094" y="3334466"/>
              <a:ext cx="80153" cy="20585"/>
              <a:chOff x="4014094" y="3334466"/>
              <a:chExt cx="80153" cy="20585"/>
            </a:xfrm>
            <a:grpFill/>
          </p:grpSpPr>
          <p:sp>
            <p:nvSpPr>
              <p:cNvPr id="1589" name="Vrije vorm: vorm 1588">
                <a:extLst>
                  <a:ext uri="{FF2B5EF4-FFF2-40B4-BE49-F238E27FC236}">
                    <a16:creationId xmlns:a16="http://schemas.microsoft.com/office/drawing/2014/main" id="{090A50CA-EC53-485D-BCFF-35281C8232EE}"/>
                  </a:ext>
                </a:extLst>
              </p:cNvPr>
              <p:cNvSpPr/>
              <p:nvPr/>
            </p:nvSpPr>
            <p:spPr>
              <a:xfrm>
                <a:off x="4022713" y="3342067"/>
                <a:ext cx="62857" cy="5322"/>
              </a:xfrm>
              <a:custGeom>
                <a:avLst/>
                <a:gdLst>
                  <a:gd name="connsiteX0" fmla="*/ 62857 w 62857"/>
                  <a:gd name="connsiteY0" fmla="*/ 2273 h 5322"/>
                  <a:gd name="connsiteX1" fmla="*/ 62738 w 62857"/>
                  <a:gd name="connsiteY1" fmla="*/ 5323 h 5322"/>
                  <a:gd name="connsiteX2" fmla="*/ 0 w 62857"/>
                  <a:gd name="connsiteY2" fmla="*/ 3050 h 5322"/>
                  <a:gd name="connsiteX3" fmla="*/ 120 w 62857"/>
                  <a:gd name="connsiteY3" fmla="*/ 0 h 5322"/>
                </a:gdLst>
                <a:ahLst/>
                <a:cxnLst>
                  <a:cxn ang="0">
                    <a:pos x="connsiteX0" y="connsiteY0"/>
                  </a:cxn>
                  <a:cxn ang="0">
                    <a:pos x="connsiteX1" y="connsiteY1"/>
                  </a:cxn>
                  <a:cxn ang="0">
                    <a:pos x="connsiteX2" y="connsiteY2"/>
                  </a:cxn>
                  <a:cxn ang="0">
                    <a:pos x="connsiteX3" y="connsiteY3"/>
                  </a:cxn>
                </a:cxnLst>
                <a:rect l="l" t="t" r="r" b="b"/>
                <a:pathLst>
                  <a:path w="62857" h="5322">
                    <a:moveTo>
                      <a:pt x="62857" y="2273"/>
                    </a:moveTo>
                    <a:lnTo>
                      <a:pt x="62738" y="5323"/>
                    </a:lnTo>
                    <a:lnTo>
                      <a:pt x="0" y="3050"/>
                    </a:lnTo>
                    <a:lnTo>
                      <a:pt x="120" y="0"/>
                    </a:lnTo>
                    <a:close/>
                  </a:path>
                </a:pathLst>
              </a:custGeom>
              <a:grpFill/>
              <a:ln w="5978" cap="flat">
                <a:noFill/>
                <a:prstDash val="solid"/>
                <a:miter/>
              </a:ln>
            </p:spPr>
            <p:txBody>
              <a:bodyPr rtlCol="0" anchor="ctr"/>
              <a:lstStyle/>
              <a:p>
                <a:endParaRPr lang="en-GB"/>
              </a:p>
            </p:txBody>
          </p:sp>
          <p:sp>
            <p:nvSpPr>
              <p:cNvPr id="1590" name="Vrije vorm: vorm 1589">
                <a:extLst>
                  <a:ext uri="{FF2B5EF4-FFF2-40B4-BE49-F238E27FC236}">
                    <a16:creationId xmlns:a16="http://schemas.microsoft.com/office/drawing/2014/main" id="{4E7FBD1F-3030-45F8-984E-45DDE0F81BB8}"/>
                  </a:ext>
                </a:extLst>
              </p:cNvPr>
              <p:cNvSpPr/>
              <p:nvPr/>
            </p:nvSpPr>
            <p:spPr>
              <a:xfrm>
                <a:off x="4014094" y="3334466"/>
                <a:ext cx="18313" cy="18372"/>
              </a:xfrm>
              <a:custGeom>
                <a:avLst/>
                <a:gdLst>
                  <a:gd name="connsiteX0" fmla="*/ 8858 w 18313"/>
                  <a:gd name="connsiteY0" fmla="*/ 18367 h 18372"/>
                  <a:gd name="connsiteX1" fmla="*/ 6 w 18313"/>
                  <a:gd name="connsiteY1" fmla="*/ 8857 h 18372"/>
                  <a:gd name="connsiteX2" fmla="*/ 9456 w 18313"/>
                  <a:gd name="connsiteY2" fmla="*/ 6 h 18372"/>
                  <a:gd name="connsiteX3" fmla="*/ 18307 w 18313"/>
                  <a:gd name="connsiteY3" fmla="*/ 9515 h 18372"/>
                  <a:gd name="connsiteX4" fmla="*/ 8858 w 18313"/>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372">
                    <a:moveTo>
                      <a:pt x="8858" y="18367"/>
                    </a:moveTo>
                    <a:cubicBezTo>
                      <a:pt x="3774" y="18187"/>
                      <a:pt x="-173" y="13941"/>
                      <a:pt x="6" y="8857"/>
                    </a:cubicBezTo>
                    <a:cubicBezTo>
                      <a:pt x="185" y="3774"/>
                      <a:pt x="4372" y="-174"/>
                      <a:pt x="9456" y="6"/>
                    </a:cubicBezTo>
                    <a:cubicBezTo>
                      <a:pt x="14539" y="185"/>
                      <a:pt x="18486" y="4432"/>
                      <a:pt x="18307" y="9515"/>
                    </a:cubicBezTo>
                    <a:cubicBezTo>
                      <a:pt x="18128" y="14599"/>
                      <a:pt x="13941" y="18546"/>
                      <a:pt x="8858" y="18367"/>
                    </a:cubicBezTo>
                    <a:close/>
                  </a:path>
                </a:pathLst>
              </a:custGeom>
              <a:grpFill/>
              <a:ln w="5978" cap="flat">
                <a:noFill/>
                <a:prstDash val="solid"/>
                <a:miter/>
              </a:ln>
            </p:spPr>
            <p:txBody>
              <a:bodyPr rtlCol="0" anchor="ctr"/>
              <a:lstStyle/>
              <a:p>
                <a:endParaRPr lang="en-GB"/>
              </a:p>
            </p:txBody>
          </p:sp>
          <p:sp>
            <p:nvSpPr>
              <p:cNvPr id="1591" name="Vrije vorm: vorm 1590">
                <a:extLst>
                  <a:ext uri="{FF2B5EF4-FFF2-40B4-BE49-F238E27FC236}">
                    <a16:creationId xmlns:a16="http://schemas.microsoft.com/office/drawing/2014/main" id="{51683B66-AD8D-4609-A713-020D154789E3}"/>
                  </a:ext>
                </a:extLst>
              </p:cNvPr>
              <p:cNvSpPr/>
              <p:nvPr/>
            </p:nvSpPr>
            <p:spPr>
              <a:xfrm>
                <a:off x="4075935" y="3336679"/>
                <a:ext cx="18312" cy="18372"/>
              </a:xfrm>
              <a:custGeom>
                <a:avLst/>
                <a:gdLst>
                  <a:gd name="connsiteX0" fmla="*/ 8857 w 18312"/>
                  <a:gd name="connsiteY0" fmla="*/ 18367 h 18372"/>
                  <a:gd name="connsiteX1" fmla="*/ 18307 w 18312"/>
                  <a:gd name="connsiteY1" fmla="*/ 9515 h 18372"/>
                  <a:gd name="connsiteX2" fmla="*/ 9456 w 18312"/>
                  <a:gd name="connsiteY2" fmla="*/ 6 h 18372"/>
                  <a:gd name="connsiteX3" fmla="*/ 6 w 18312"/>
                  <a:gd name="connsiteY3" fmla="*/ 8857 h 18372"/>
                  <a:gd name="connsiteX4" fmla="*/ 8857 w 18312"/>
                  <a:gd name="connsiteY4" fmla="*/ 18367 h 1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372">
                    <a:moveTo>
                      <a:pt x="8857" y="18367"/>
                    </a:moveTo>
                    <a:cubicBezTo>
                      <a:pt x="13941" y="18546"/>
                      <a:pt x="18128" y="14599"/>
                      <a:pt x="18307" y="9515"/>
                    </a:cubicBezTo>
                    <a:cubicBezTo>
                      <a:pt x="18486" y="4432"/>
                      <a:pt x="14479" y="185"/>
                      <a:pt x="9456" y="6"/>
                    </a:cubicBezTo>
                    <a:cubicBezTo>
                      <a:pt x="4372" y="-174"/>
                      <a:pt x="185" y="3774"/>
                      <a:pt x="6" y="8857"/>
                    </a:cubicBezTo>
                    <a:cubicBezTo>
                      <a:pt x="-173" y="13941"/>
                      <a:pt x="3774" y="18187"/>
                      <a:pt x="8857" y="18367"/>
                    </a:cubicBezTo>
                    <a:close/>
                  </a:path>
                </a:pathLst>
              </a:custGeom>
              <a:grpFill/>
              <a:ln w="5978" cap="flat">
                <a:noFill/>
                <a:prstDash val="solid"/>
                <a:miter/>
              </a:ln>
            </p:spPr>
            <p:txBody>
              <a:bodyPr rtlCol="0" anchor="ctr"/>
              <a:lstStyle/>
              <a:p>
                <a:endParaRPr lang="en-GB"/>
              </a:p>
            </p:txBody>
          </p:sp>
        </p:grpSp>
        <p:grpSp>
          <p:nvGrpSpPr>
            <p:cNvPr id="1273" name="Graphic 3">
              <a:extLst>
                <a:ext uri="{FF2B5EF4-FFF2-40B4-BE49-F238E27FC236}">
                  <a16:creationId xmlns:a16="http://schemas.microsoft.com/office/drawing/2014/main" id="{28F78164-ACC1-4744-905B-9D546D4FB072}"/>
                </a:ext>
              </a:extLst>
            </p:cNvPr>
            <p:cNvGrpSpPr/>
            <p:nvPr/>
          </p:nvGrpSpPr>
          <p:grpSpPr>
            <a:xfrm>
              <a:off x="3879746" y="3000403"/>
              <a:ext cx="129657" cy="39385"/>
              <a:chOff x="3879746" y="3000403"/>
              <a:chExt cx="129657" cy="39385"/>
            </a:xfrm>
            <a:grpFill/>
          </p:grpSpPr>
          <p:sp>
            <p:nvSpPr>
              <p:cNvPr id="1586" name="Vrije vorm: vorm 1585">
                <a:extLst>
                  <a:ext uri="{FF2B5EF4-FFF2-40B4-BE49-F238E27FC236}">
                    <a16:creationId xmlns:a16="http://schemas.microsoft.com/office/drawing/2014/main" id="{52DAF6D9-48B4-4F51-884A-1020E28D9C68}"/>
                  </a:ext>
                </a:extLst>
              </p:cNvPr>
              <p:cNvSpPr/>
              <p:nvPr/>
            </p:nvSpPr>
            <p:spPr>
              <a:xfrm>
                <a:off x="3888206" y="3008044"/>
                <a:ext cx="112796" cy="24102"/>
              </a:xfrm>
              <a:custGeom>
                <a:avLst/>
                <a:gdLst>
                  <a:gd name="connsiteX0" fmla="*/ 112797 w 112796"/>
                  <a:gd name="connsiteY0" fmla="*/ 21112 h 24102"/>
                  <a:gd name="connsiteX1" fmla="*/ 112258 w 112796"/>
                  <a:gd name="connsiteY1" fmla="*/ 24102 h 24102"/>
                  <a:gd name="connsiteX2" fmla="*/ 0 w 112796"/>
                  <a:gd name="connsiteY2" fmla="*/ 2990 h 24102"/>
                  <a:gd name="connsiteX3" fmla="*/ 538 w 112796"/>
                  <a:gd name="connsiteY3" fmla="*/ 0 h 24102"/>
                </a:gdLst>
                <a:ahLst/>
                <a:cxnLst>
                  <a:cxn ang="0">
                    <a:pos x="connsiteX0" y="connsiteY0"/>
                  </a:cxn>
                  <a:cxn ang="0">
                    <a:pos x="connsiteX1" y="connsiteY1"/>
                  </a:cxn>
                  <a:cxn ang="0">
                    <a:pos x="connsiteX2" y="connsiteY2"/>
                  </a:cxn>
                  <a:cxn ang="0">
                    <a:pos x="connsiteX3" y="connsiteY3"/>
                  </a:cxn>
                </a:cxnLst>
                <a:rect l="l" t="t" r="r" b="b"/>
                <a:pathLst>
                  <a:path w="112796" h="24102">
                    <a:moveTo>
                      <a:pt x="112797" y="21112"/>
                    </a:moveTo>
                    <a:lnTo>
                      <a:pt x="112258" y="24102"/>
                    </a:lnTo>
                    <a:lnTo>
                      <a:pt x="0" y="2990"/>
                    </a:lnTo>
                    <a:lnTo>
                      <a:pt x="538" y="0"/>
                    </a:lnTo>
                    <a:close/>
                  </a:path>
                </a:pathLst>
              </a:custGeom>
              <a:grpFill/>
              <a:ln w="5978" cap="flat">
                <a:noFill/>
                <a:prstDash val="solid"/>
                <a:miter/>
              </a:ln>
            </p:spPr>
            <p:txBody>
              <a:bodyPr rtlCol="0" anchor="ctr"/>
              <a:lstStyle/>
              <a:p>
                <a:endParaRPr lang="en-GB"/>
              </a:p>
            </p:txBody>
          </p:sp>
          <p:sp>
            <p:nvSpPr>
              <p:cNvPr id="1587" name="Vrije vorm: vorm 1586">
                <a:extLst>
                  <a:ext uri="{FF2B5EF4-FFF2-40B4-BE49-F238E27FC236}">
                    <a16:creationId xmlns:a16="http://schemas.microsoft.com/office/drawing/2014/main" id="{18C89B5F-FB82-4ADF-BE20-9668DFBC94E5}"/>
                  </a:ext>
                </a:extLst>
              </p:cNvPr>
              <p:cNvSpPr/>
              <p:nvPr/>
            </p:nvSpPr>
            <p:spPr>
              <a:xfrm>
                <a:off x="3879746" y="3000403"/>
                <a:ext cx="18296" cy="18452"/>
              </a:xfrm>
              <a:custGeom>
                <a:avLst/>
                <a:gdLst>
                  <a:gd name="connsiteX0" fmla="*/ 7504 w 18296"/>
                  <a:gd name="connsiteY0" fmla="*/ 18287 h 18452"/>
                  <a:gd name="connsiteX1" fmla="*/ 147 w 18296"/>
                  <a:gd name="connsiteY1" fmla="*/ 7522 h 18452"/>
                  <a:gd name="connsiteX2" fmla="*/ 10793 w 18296"/>
                  <a:gd name="connsiteY2" fmla="*/ 166 h 18452"/>
                  <a:gd name="connsiteX3" fmla="*/ 18149 w 18296"/>
                  <a:gd name="connsiteY3" fmla="*/ 10931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2540" y="17330"/>
                      <a:pt x="-750" y="12546"/>
                      <a:pt x="147" y="7522"/>
                    </a:cubicBezTo>
                    <a:cubicBezTo>
                      <a:pt x="1044" y="2498"/>
                      <a:pt x="5829" y="-791"/>
                      <a:pt x="10793" y="166"/>
                    </a:cubicBezTo>
                    <a:cubicBezTo>
                      <a:pt x="15757" y="1122"/>
                      <a:pt x="19046" y="5907"/>
                      <a:pt x="18149" y="10931"/>
                    </a:cubicBezTo>
                    <a:cubicBezTo>
                      <a:pt x="17252" y="15955"/>
                      <a:pt x="12468" y="19244"/>
                      <a:pt x="7504" y="18287"/>
                    </a:cubicBezTo>
                    <a:close/>
                  </a:path>
                </a:pathLst>
              </a:custGeom>
              <a:grpFill/>
              <a:ln w="5978" cap="flat">
                <a:noFill/>
                <a:prstDash val="solid"/>
                <a:miter/>
              </a:ln>
            </p:spPr>
            <p:txBody>
              <a:bodyPr rtlCol="0" anchor="ctr"/>
              <a:lstStyle/>
              <a:p>
                <a:endParaRPr lang="en-GB"/>
              </a:p>
            </p:txBody>
          </p:sp>
          <p:sp>
            <p:nvSpPr>
              <p:cNvPr id="1588" name="Vrije vorm: vorm 1587">
                <a:extLst>
                  <a:ext uri="{FF2B5EF4-FFF2-40B4-BE49-F238E27FC236}">
                    <a16:creationId xmlns:a16="http://schemas.microsoft.com/office/drawing/2014/main" id="{509A1533-4A44-449F-A9A5-038772B5ED11}"/>
                  </a:ext>
                </a:extLst>
              </p:cNvPr>
              <p:cNvSpPr/>
              <p:nvPr/>
            </p:nvSpPr>
            <p:spPr>
              <a:xfrm>
                <a:off x="3991107" y="3021335"/>
                <a:ext cx="18296" cy="18452"/>
              </a:xfrm>
              <a:custGeom>
                <a:avLst/>
                <a:gdLst>
                  <a:gd name="connsiteX0" fmla="*/ 7504 w 18296"/>
                  <a:gd name="connsiteY0" fmla="*/ 18287 h 18452"/>
                  <a:gd name="connsiteX1" fmla="*/ 18149 w 18296"/>
                  <a:gd name="connsiteY1" fmla="*/ 10931 h 18452"/>
                  <a:gd name="connsiteX2" fmla="*/ 10793 w 18296"/>
                  <a:gd name="connsiteY2" fmla="*/ 166 h 18452"/>
                  <a:gd name="connsiteX3" fmla="*/ 147 w 18296"/>
                  <a:gd name="connsiteY3" fmla="*/ 7522 h 18452"/>
                  <a:gd name="connsiteX4" fmla="*/ 7504 w 18296"/>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52">
                    <a:moveTo>
                      <a:pt x="7504" y="18287"/>
                    </a:moveTo>
                    <a:cubicBezTo>
                      <a:pt x="12468" y="19244"/>
                      <a:pt x="17252" y="15955"/>
                      <a:pt x="18149" y="10931"/>
                    </a:cubicBezTo>
                    <a:cubicBezTo>
                      <a:pt x="19046" y="5907"/>
                      <a:pt x="15757" y="1122"/>
                      <a:pt x="10793" y="166"/>
                    </a:cubicBezTo>
                    <a:cubicBezTo>
                      <a:pt x="5829" y="-791"/>
                      <a:pt x="1044" y="2498"/>
                      <a:pt x="147" y="7522"/>
                    </a:cubicBezTo>
                    <a:cubicBezTo>
                      <a:pt x="-750" y="12546"/>
                      <a:pt x="2540" y="17390"/>
                      <a:pt x="7504" y="18287"/>
                    </a:cubicBezTo>
                    <a:close/>
                  </a:path>
                </a:pathLst>
              </a:custGeom>
              <a:grpFill/>
              <a:ln w="5978" cap="flat">
                <a:noFill/>
                <a:prstDash val="solid"/>
                <a:miter/>
              </a:ln>
            </p:spPr>
            <p:txBody>
              <a:bodyPr rtlCol="0" anchor="ctr"/>
              <a:lstStyle/>
              <a:p>
                <a:endParaRPr lang="en-GB"/>
              </a:p>
            </p:txBody>
          </p:sp>
        </p:grpSp>
        <p:grpSp>
          <p:nvGrpSpPr>
            <p:cNvPr id="1274" name="Graphic 3">
              <a:extLst>
                <a:ext uri="{FF2B5EF4-FFF2-40B4-BE49-F238E27FC236}">
                  <a16:creationId xmlns:a16="http://schemas.microsoft.com/office/drawing/2014/main" id="{38185200-6A79-4F07-9E19-2AD1DD0674B4}"/>
                </a:ext>
              </a:extLst>
            </p:cNvPr>
            <p:cNvGrpSpPr/>
            <p:nvPr/>
          </p:nvGrpSpPr>
          <p:grpSpPr>
            <a:xfrm>
              <a:off x="4183965" y="3762047"/>
              <a:ext cx="27727" cy="20246"/>
              <a:chOff x="4183965" y="3762047"/>
              <a:chExt cx="27727" cy="20246"/>
            </a:xfrm>
            <a:grpFill/>
          </p:grpSpPr>
          <p:sp>
            <p:nvSpPr>
              <p:cNvPr id="1584" name="Vrije vorm: vorm 1583">
                <a:extLst>
                  <a:ext uri="{FF2B5EF4-FFF2-40B4-BE49-F238E27FC236}">
                    <a16:creationId xmlns:a16="http://schemas.microsoft.com/office/drawing/2014/main" id="{4AC23A2E-E691-4CE0-A366-5491F41E5FCF}"/>
                  </a:ext>
                </a:extLst>
              </p:cNvPr>
              <p:cNvSpPr/>
              <p:nvPr/>
            </p:nvSpPr>
            <p:spPr>
              <a:xfrm>
                <a:off x="4183965" y="3763842"/>
                <a:ext cx="18337" cy="18452"/>
              </a:xfrm>
              <a:custGeom>
                <a:avLst/>
                <a:gdLst>
                  <a:gd name="connsiteX0" fmla="*/ 7404 w 18337"/>
                  <a:gd name="connsiteY0" fmla="*/ 166 h 18452"/>
                  <a:gd name="connsiteX1" fmla="*/ 18170 w 18337"/>
                  <a:gd name="connsiteY1" fmla="*/ 7522 h 18452"/>
                  <a:gd name="connsiteX2" fmla="*/ 10933 w 18337"/>
                  <a:gd name="connsiteY2" fmla="*/ 18287 h 18452"/>
                  <a:gd name="connsiteX3" fmla="*/ 168 w 18337"/>
                  <a:gd name="connsiteY3" fmla="*/ 10931 h 18452"/>
                  <a:gd name="connsiteX4" fmla="*/ 7404 w 18337"/>
                  <a:gd name="connsiteY4" fmla="*/ 166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52">
                    <a:moveTo>
                      <a:pt x="7404" y="166"/>
                    </a:moveTo>
                    <a:cubicBezTo>
                      <a:pt x="12368" y="-791"/>
                      <a:pt x="17213" y="2498"/>
                      <a:pt x="18170" y="7522"/>
                    </a:cubicBezTo>
                    <a:cubicBezTo>
                      <a:pt x="19127" y="12546"/>
                      <a:pt x="15897" y="17330"/>
                      <a:pt x="10933" y="18287"/>
                    </a:cubicBezTo>
                    <a:cubicBezTo>
                      <a:pt x="5969" y="19244"/>
                      <a:pt x="1125" y="15955"/>
                      <a:pt x="168" y="10931"/>
                    </a:cubicBezTo>
                    <a:cubicBezTo>
                      <a:pt x="-789" y="5907"/>
                      <a:pt x="2441" y="1063"/>
                      <a:pt x="7404" y="166"/>
                    </a:cubicBezTo>
                    <a:close/>
                  </a:path>
                </a:pathLst>
              </a:custGeom>
              <a:grpFill/>
              <a:ln w="5978" cap="flat">
                <a:noFill/>
                <a:prstDash val="solid"/>
                <a:miter/>
              </a:ln>
            </p:spPr>
            <p:txBody>
              <a:bodyPr rtlCol="0" anchor="ctr"/>
              <a:lstStyle/>
              <a:p>
                <a:endParaRPr lang="en-GB"/>
              </a:p>
            </p:txBody>
          </p:sp>
          <p:sp>
            <p:nvSpPr>
              <p:cNvPr id="1585" name="Vrije vorm: vorm 1584">
                <a:extLst>
                  <a:ext uri="{FF2B5EF4-FFF2-40B4-BE49-F238E27FC236}">
                    <a16:creationId xmlns:a16="http://schemas.microsoft.com/office/drawing/2014/main" id="{DCADD65C-F177-4E20-A7DA-220B91A57293}"/>
                  </a:ext>
                </a:extLst>
              </p:cNvPr>
              <p:cNvSpPr/>
              <p:nvPr/>
            </p:nvSpPr>
            <p:spPr>
              <a:xfrm>
                <a:off x="4193354" y="3762047"/>
                <a:ext cx="18337" cy="18436"/>
              </a:xfrm>
              <a:custGeom>
                <a:avLst/>
                <a:gdLst>
                  <a:gd name="connsiteX0" fmla="*/ 7405 w 18337"/>
                  <a:gd name="connsiteY0" fmla="*/ 166 h 18436"/>
                  <a:gd name="connsiteX1" fmla="*/ 168 w 18337"/>
                  <a:gd name="connsiteY1" fmla="*/ 10931 h 18436"/>
                  <a:gd name="connsiteX2" fmla="*/ 10933 w 18337"/>
                  <a:gd name="connsiteY2" fmla="*/ 18287 h 18436"/>
                  <a:gd name="connsiteX3" fmla="*/ 18170 w 18337"/>
                  <a:gd name="connsiteY3" fmla="*/ 7522 h 18436"/>
                  <a:gd name="connsiteX4" fmla="*/ 7405 w 18337"/>
                  <a:gd name="connsiteY4" fmla="*/ 166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7405" y="166"/>
                    </a:moveTo>
                    <a:cubicBezTo>
                      <a:pt x="2441" y="1122"/>
                      <a:pt x="-789" y="5907"/>
                      <a:pt x="168" y="10931"/>
                    </a:cubicBezTo>
                    <a:cubicBezTo>
                      <a:pt x="1125" y="15955"/>
                      <a:pt x="5969" y="19184"/>
                      <a:pt x="10933" y="18287"/>
                    </a:cubicBezTo>
                    <a:cubicBezTo>
                      <a:pt x="15897" y="17330"/>
                      <a:pt x="19127" y="12486"/>
                      <a:pt x="18170" y="7522"/>
                    </a:cubicBezTo>
                    <a:cubicBezTo>
                      <a:pt x="17153" y="2498"/>
                      <a:pt x="12369" y="-791"/>
                      <a:pt x="7405" y="166"/>
                    </a:cubicBezTo>
                    <a:close/>
                  </a:path>
                </a:pathLst>
              </a:custGeom>
              <a:grpFill/>
              <a:ln w="5978" cap="flat">
                <a:noFill/>
                <a:prstDash val="solid"/>
                <a:miter/>
              </a:ln>
            </p:spPr>
            <p:txBody>
              <a:bodyPr rtlCol="0" anchor="ctr"/>
              <a:lstStyle/>
              <a:p>
                <a:endParaRPr lang="en-GB"/>
              </a:p>
            </p:txBody>
          </p:sp>
        </p:grpSp>
        <p:grpSp>
          <p:nvGrpSpPr>
            <p:cNvPr id="1275" name="Graphic 3">
              <a:extLst>
                <a:ext uri="{FF2B5EF4-FFF2-40B4-BE49-F238E27FC236}">
                  <a16:creationId xmlns:a16="http://schemas.microsoft.com/office/drawing/2014/main" id="{F51CD9D0-09D9-441E-8E08-67C3A3C17EA0}"/>
                </a:ext>
              </a:extLst>
            </p:cNvPr>
            <p:cNvGrpSpPr/>
            <p:nvPr/>
          </p:nvGrpSpPr>
          <p:grpSpPr>
            <a:xfrm>
              <a:off x="4005847" y="3372387"/>
              <a:ext cx="126613" cy="20277"/>
              <a:chOff x="4005847" y="3372387"/>
              <a:chExt cx="126613" cy="20277"/>
            </a:xfrm>
            <a:grpFill/>
          </p:grpSpPr>
          <p:sp>
            <p:nvSpPr>
              <p:cNvPr id="1581" name="Vrije vorm: vorm 1580">
                <a:extLst>
                  <a:ext uri="{FF2B5EF4-FFF2-40B4-BE49-F238E27FC236}">
                    <a16:creationId xmlns:a16="http://schemas.microsoft.com/office/drawing/2014/main" id="{499B61A3-19C1-40AA-89AC-D165CAA1CA22}"/>
                  </a:ext>
                </a:extLst>
              </p:cNvPr>
              <p:cNvSpPr/>
              <p:nvPr/>
            </p:nvSpPr>
            <p:spPr>
              <a:xfrm>
                <a:off x="4014519" y="3380045"/>
                <a:ext cx="109267" cy="4963"/>
              </a:xfrm>
              <a:custGeom>
                <a:avLst/>
                <a:gdLst>
                  <a:gd name="connsiteX0" fmla="*/ 109268 w 109267"/>
                  <a:gd name="connsiteY0" fmla="*/ 1914 h 4963"/>
                  <a:gd name="connsiteX1" fmla="*/ 109208 w 109267"/>
                  <a:gd name="connsiteY1" fmla="*/ 4964 h 4963"/>
                  <a:gd name="connsiteX2" fmla="*/ 0 w 109267"/>
                  <a:gd name="connsiteY2" fmla="*/ 3050 h 4963"/>
                  <a:gd name="connsiteX3" fmla="*/ 60 w 109267"/>
                  <a:gd name="connsiteY3" fmla="*/ 0 h 4963"/>
                </a:gdLst>
                <a:ahLst/>
                <a:cxnLst>
                  <a:cxn ang="0">
                    <a:pos x="connsiteX0" y="connsiteY0"/>
                  </a:cxn>
                  <a:cxn ang="0">
                    <a:pos x="connsiteX1" y="connsiteY1"/>
                  </a:cxn>
                  <a:cxn ang="0">
                    <a:pos x="connsiteX2" y="connsiteY2"/>
                  </a:cxn>
                  <a:cxn ang="0">
                    <a:pos x="connsiteX3" y="connsiteY3"/>
                  </a:cxn>
                </a:cxnLst>
                <a:rect l="l" t="t" r="r" b="b"/>
                <a:pathLst>
                  <a:path w="109267" h="4963">
                    <a:moveTo>
                      <a:pt x="109268" y="1914"/>
                    </a:moveTo>
                    <a:lnTo>
                      <a:pt x="109208" y="4964"/>
                    </a:lnTo>
                    <a:lnTo>
                      <a:pt x="0" y="3050"/>
                    </a:lnTo>
                    <a:lnTo>
                      <a:pt x="60" y="0"/>
                    </a:lnTo>
                    <a:close/>
                  </a:path>
                </a:pathLst>
              </a:custGeom>
              <a:grpFill/>
              <a:ln w="5978" cap="flat">
                <a:noFill/>
                <a:prstDash val="solid"/>
                <a:miter/>
              </a:ln>
            </p:spPr>
            <p:txBody>
              <a:bodyPr rtlCol="0" anchor="ctr"/>
              <a:lstStyle/>
              <a:p>
                <a:endParaRPr lang="en-GB"/>
              </a:p>
            </p:txBody>
          </p:sp>
          <p:sp>
            <p:nvSpPr>
              <p:cNvPr id="1582" name="Vrije vorm: vorm 1581">
                <a:extLst>
                  <a:ext uri="{FF2B5EF4-FFF2-40B4-BE49-F238E27FC236}">
                    <a16:creationId xmlns:a16="http://schemas.microsoft.com/office/drawing/2014/main" id="{C232E198-72C2-401B-BCBC-FC14B00BA024}"/>
                  </a:ext>
                </a:extLst>
              </p:cNvPr>
              <p:cNvSpPr/>
              <p:nvPr/>
            </p:nvSpPr>
            <p:spPr>
              <a:xfrm>
                <a:off x="4005847" y="3372387"/>
                <a:ext cx="18302" cy="18423"/>
              </a:xfrm>
              <a:custGeom>
                <a:avLst/>
                <a:gdLst>
                  <a:gd name="connsiteX0" fmla="*/ 9031 w 18302"/>
                  <a:gd name="connsiteY0" fmla="*/ 18423 h 18423"/>
                  <a:gd name="connsiteX1" fmla="*/ 1 w 18302"/>
                  <a:gd name="connsiteY1" fmla="*/ 9033 h 18423"/>
                  <a:gd name="connsiteX2" fmla="*/ 9271 w 18302"/>
                  <a:gd name="connsiteY2" fmla="*/ 3 h 18423"/>
                  <a:gd name="connsiteX3" fmla="*/ 18302 w 18302"/>
                  <a:gd name="connsiteY3" fmla="*/ 9392 h 18423"/>
                  <a:gd name="connsiteX4" fmla="*/ 9031 w 18302"/>
                  <a:gd name="connsiteY4" fmla="*/ 18423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3">
                    <a:moveTo>
                      <a:pt x="9031" y="18423"/>
                    </a:moveTo>
                    <a:cubicBezTo>
                      <a:pt x="3948" y="18363"/>
                      <a:pt x="-59" y="14117"/>
                      <a:pt x="1" y="9033"/>
                    </a:cubicBezTo>
                    <a:cubicBezTo>
                      <a:pt x="60" y="3950"/>
                      <a:pt x="4247" y="-117"/>
                      <a:pt x="9271" y="3"/>
                    </a:cubicBezTo>
                    <a:cubicBezTo>
                      <a:pt x="14294" y="122"/>
                      <a:pt x="18361" y="4309"/>
                      <a:pt x="18302" y="9392"/>
                    </a:cubicBezTo>
                    <a:cubicBezTo>
                      <a:pt x="18242" y="14476"/>
                      <a:pt x="14115" y="18483"/>
                      <a:pt x="9031" y="18423"/>
                    </a:cubicBezTo>
                    <a:close/>
                  </a:path>
                </a:pathLst>
              </a:custGeom>
              <a:grpFill/>
              <a:ln w="5978" cap="flat">
                <a:noFill/>
                <a:prstDash val="solid"/>
                <a:miter/>
              </a:ln>
            </p:spPr>
            <p:txBody>
              <a:bodyPr rtlCol="0" anchor="ctr"/>
              <a:lstStyle/>
              <a:p>
                <a:endParaRPr lang="en-GB"/>
              </a:p>
            </p:txBody>
          </p:sp>
          <p:sp>
            <p:nvSpPr>
              <p:cNvPr id="1583" name="Vrije vorm: vorm 1582">
                <a:extLst>
                  <a:ext uri="{FF2B5EF4-FFF2-40B4-BE49-F238E27FC236}">
                    <a16:creationId xmlns:a16="http://schemas.microsoft.com/office/drawing/2014/main" id="{63521EBE-7F16-4483-B845-D870F7127523}"/>
                  </a:ext>
                </a:extLst>
              </p:cNvPr>
              <p:cNvSpPr/>
              <p:nvPr/>
            </p:nvSpPr>
            <p:spPr>
              <a:xfrm>
                <a:off x="4114157" y="3374243"/>
                <a:ext cx="18302" cy="18421"/>
              </a:xfrm>
              <a:custGeom>
                <a:avLst/>
                <a:gdLst>
                  <a:gd name="connsiteX0" fmla="*/ 9032 w 18302"/>
                  <a:gd name="connsiteY0" fmla="*/ 18421 h 18421"/>
                  <a:gd name="connsiteX1" fmla="*/ 18302 w 18302"/>
                  <a:gd name="connsiteY1" fmla="*/ 9390 h 18421"/>
                  <a:gd name="connsiteX2" fmla="*/ 9271 w 18302"/>
                  <a:gd name="connsiteY2" fmla="*/ 1 h 18421"/>
                  <a:gd name="connsiteX3" fmla="*/ 1 w 18302"/>
                  <a:gd name="connsiteY3" fmla="*/ 9031 h 18421"/>
                  <a:gd name="connsiteX4" fmla="*/ 9032 w 18302"/>
                  <a:gd name="connsiteY4" fmla="*/ 1842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032" y="18421"/>
                    </a:moveTo>
                    <a:cubicBezTo>
                      <a:pt x="14115" y="18481"/>
                      <a:pt x="18242" y="14474"/>
                      <a:pt x="18302" y="9390"/>
                    </a:cubicBezTo>
                    <a:cubicBezTo>
                      <a:pt x="18362" y="4307"/>
                      <a:pt x="14295" y="120"/>
                      <a:pt x="9271" y="1"/>
                    </a:cubicBezTo>
                    <a:cubicBezTo>
                      <a:pt x="4187" y="-59"/>
                      <a:pt x="61" y="3948"/>
                      <a:pt x="1" y="9031"/>
                    </a:cubicBezTo>
                    <a:cubicBezTo>
                      <a:pt x="-59" y="14175"/>
                      <a:pt x="3948" y="18361"/>
                      <a:pt x="9032" y="18421"/>
                    </a:cubicBezTo>
                    <a:close/>
                  </a:path>
                </a:pathLst>
              </a:custGeom>
              <a:grpFill/>
              <a:ln w="5978" cap="flat">
                <a:noFill/>
                <a:prstDash val="solid"/>
                <a:miter/>
              </a:ln>
            </p:spPr>
            <p:txBody>
              <a:bodyPr rtlCol="0" anchor="ctr"/>
              <a:lstStyle/>
              <a:p>
                <a:endParaRPr lang="en-GB"/>
              </a:p>
            </p:txBody>
          </p:sp>
        </p:grpSp>
        <p:grpSp>
          <p:nvGrpSpPr>
            <p:cNvPr id="1276" name="Graphic 3">
              <a:extLst>
                <a:ext uri="{FF2B5EF4-FFF2-40B4-BE49-F238E27FC236}">
                  <a16:creationId xmlns:a16="http://schemas.microsoft.com/office/drawing/2014/main" id="{786AE312-C725-461F-838E-0DA058F96916}"/>
                </a:ext>
              </a:extLst>
            </p:cNvPr>
            <p:cNvGrpSpPr/>
            <p:nvPr/>
          </p:nvGrpSpPr>
          <p:grpSpPr>
            <a:xfrm>
              <a:off x="4015246" y="3817426"/>
              <a:ext cx="408644" cy="77369"/>
              <a:chOff x="4015246" y="3817426"/>
              <a:chExt cx="408644" cy="77369"/>
            </a:xfrm>
            <a:grpFill/>
          </p:grpSpPr>
          <p:sp>
            <p:nvSpPr>
              <p:cNvPr id="1578" name="Vrije vorm: vorm 1577">
                <a:extLst>
                  <a:ext uri="{FF2B5EF4-FFF2-40B4-BE49-F238E27FC236}">
                    <a16:creationId xmlns:a16="http://schemas.microsoft.com/office/drawing/2014/main" id="{FEA96873-2D76-44DD-A2AD-A9B360E5C23E}"/>
                  </a:ext>
                </a:extLst>
              </p:cNvPr>
              <p:cNvSpPr/>
              <p:nvPr/>
            </p:nvSpPr>
            <p:spPr>
              <a:xfrm>
                <a:off x="4023730" y="3825070"/>
                <a:ext cx="391677" cy="62139"/>
              </a:xfrm>
              <a:custGeom>
                <a:avLst/>
                <a:gdLst>
                  <a:gd name="connsiteX0" fmla="*/ 391199 w 391677"/>
                  <a:gd name="connsiteY0" fmla="*/ 0 h 62139"/>
                  <a:gd name="connsiteX1" fmla="*/ 391677 w 391677"/>
                  <a:gd name="connsiteY1" fmla="*/ 2990 h 62139"/>
                  <a:gd name="connsiteX2" fmla="*/ 478 w 391677"/>
                  <a:gd name="connsiteY2" fmla="*/ 62140 h 62139"/>
                  <a:gd name="connsiteX3" fmla="*/ 0 w 391677"/>
                  <a:gd name="connsiteY3" fmla="*/ 59090 h 62139"/>
                </a:gdLst>
                <a:ahLst/>
                <a:cxnLst>
                  <a:cxn ang="0">
                    <a:pos x="connsiteX0" y="connsiteY0"/>
                  </a:cxn>
                  <a:cxn ang="0">
                    <a:pos x="connsiteX1" y="connsiteY1"/>
                  </a:cxn>
                  <a:cxn ang="0">
                    <a:pos x="connsiteX2" y="connsiteY2"/>
                  </a:cxn>
                  <a:cxn ang="0">
                    <a:pos x="connsiteX3" y="connsiteY3"/>
                  </a:cxn>
                </a:cxnLst>
                <a:rect l="l" t="t" r="r" b="b"/>
                <a:pathLst>
                  <a:path w="391677" h="62139">
                    <a:moveTo>
                      <a:pt x="391199" y="0"/>
                    </a:moveTo>
                    <a:lnTo>
                      <a:pt x="391677" y="2990"/>
                    </a:lnTo>
                    <a:lnTo>
                      <a:pt x="478" y="62140"/>
                    </a:lnTo>
                    <a:lnTo>
                      <a:pt x="0" y="59090"/>
                    </a:lnTo>
                    <a:close/>
                  </a:path>
                </a:pathLst>
              </a:custGeom>
              <a:grpFill/>
              <a:ln w="5978" cap="flat">
                <a:noFill/>
                <a:prstDash val="solid"/>
                <a:miter/>
              </a:ln>
            </p:spPr>
            <p:txBody>
              <a:bodyPr rtlCol="0" anchor="ctr"/>
              <a:lstStyle/>
              <a:p>
                <a:endParaRPr lang="en-GB"/>
              </a:p>
            </p:txBody>
          </p:sp>
          <p:sp>
            <p:nvSpPr>
              <p:cNvPr id="1579" name="Vrije vorm: vorm 1578">
                <a:extLst>
                  <a:ext uri="{FF2B5EF4-FFF2-40B4-BE49-F238E27FC236}">
                    <a16:creationId xmlns:a16="http://schemas.microsoft.com/office/drawing/2014/main" id="{5447B4E3-3475-45F7-8B7C-8138DE9DE767}"/>
                  </a:ext>
                </a:extLst>
              </p:cNvPr>
              <p:cNvSpPr/>
              <p:nvPr/>
            </p:nvSpPr>
            <p:spPr>
              <a:xfrm>
                <a:off x="4405549" y="3817426"/>
                <a:ext cx="18340" cy="18399"/>
              </a:xfrm>
              <a:custGeom>
                <a:avLst/>
                <a:gdLst>
                  <a:gd name="connsiteX0" fmla="*/ 7764 w 18340"/>
                  <a:gd name="connsiteY0" fmla="*/ 109 h 18399"/>
                  <a:gd name="connsiteX1" fmla="*/ 18230 w 18340"/>
                  <a:gd name="connsiteY1" fmla="*/ 7824 h 18399"/>
                  <a:gd name="connsiteX2" fmla="*/ 10575 w 18340"/>
                  <a:gd name="connsiteY2" fmla="*/ 18290 h 18399"/>
                  <a:gd name="connsiteX3" fmla="*/ 109 w 18340"/>
                  <a:gd name="connsiteY3" fmla="*/ 10575 h 18399"/>
                  <a:gd name="connsiteX4" fmla="*/ 7764 w 18340"/>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9">
                    <a:moveTo>
                      <a:pt x="7764" y="109"/>
                    </a:moveTo>
                    <a:cubicBezTo>
                      <a:pt x="12788" y="-668"/>
                      <a:pt x="17453" y="2800"/>
                      <a:pt x="18230" y="7824"/>
                    </a:cubicBezTo>
                    <a:cubicBezTo>
                      <a:pt x="19008" y="12848"/>
                      <a:pt x="15599" y="17573"/>
                      <a:pt x="10575" y="18290"/>
                    </a:cubicBezTo>
                    <a:cubicBezTo>
                      <a:pt x="5551" y="19068"/>
                      <a:pt x="887" y="15599"/>
                      <a:pt x="109" y="10575"/>
                    </a:cubicBezTo>
                    <a:cubicBezTo>
                      <a:pt x="-669" y="5552"/>
                      <a:pt x="2800" y="886"/>
                      <a:pt x="7764" y="109"/>
                    </a:cubicBezTo>
                    <a:close/>
                  </a:path>
                </a:pathLst>
              </a:custGeom>
              <a:grpFill/>
              <a:ln w="5978" cap="flat">
                <a:noFill/>
                <a:prstDash val="solid"/>
                <a:miter/>
              </a:ln>
            </p:spPr>
            <p:txBody>
              <a:bodyPr rtlCol="0" anchor="ctr"/>
              <a:lstStyle/>
              <a:p>
                <a:endParaRPr lang="en-GB"/>
              </a:p>
            </p:txBody>
          </p:sp>
          <p:sp>
            <p:nvSpPr>
              <p:cNvPr id="1580" name="Vrije vorm: vorm 1579">
                <a:extLst>
                  <a:ext uri="{FF2B5EF4-FFF2-40B4-BE49-F238E27FC236}">
                    <a16:creationId xmlns:a16="http://schemas.microsoft.com/office/drawing/2014/main" id="{F35C4A3C-7560-45B9-999E-BDE199C4905F}"/>
                  </a:ext>
                </a:extLst>
              </p:cNvPr>
              <p:cNvSpPr/>
              <p:nvPr/>
            </p:nvSpPr>
            <p:spPr>
              <a:xfrm>
                <a:off x="4015246" y="3876396"/>
                <a:ext cx="18342" cy="18399"/>
              </a:xfrm>
              <a:custGeom>
                <a:avLst/>
                <a:gdLst>
                  <a:gd name="connsiteX0" fmla="*/ 7766 w 18342"/>
                  <a:gd name="connsiteY0" fmla="*/ 109 h 18399"/>
                  <a:gd name="connsiteX1" fmla="*/ 110 w 18342"/>
                  <a:gd name="connsiteY1" fmla="*/ 10575 h 18399"/>
                  <a:gd name="connsiteX2" fmla="*/ 10577 w 18342"/>
                  <a:gd name="connsiteY2" fmla="*/ 18290 h 18399"/>
                  <a:gd name="connsiteX3" fmla="*/ 18232 w 18342"/>
                  <a:gd name="connsiteY3" fmla="*/ 7824 h 18399"/>
                  <a:gd name="connsiteX4" fmla="*/ 7766 w 18342"/>
                  <a:gd name="connsiteY4" fmla="*/ 109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99">
                    <a:moveTo>
                      <a:pt x="7766" y="109"/>
                    </a:moveTo>
                    <a:cubicBezTo>
                      <a:pt x="2742" y="886"/>
                      <a:pt x="-667" y="5551"/>
                      <a:pt x="110" y="10575"/>
                    </a:cubicBezTo>
                    <a:cubicBezTo>
                      <a:pt x="888" y="15599"/>
                      <a:pt x="5553" y="19068"/>
                      <a:pt x="10577" y="18290"/>
                    </a:cubicBezTo>
                    <a:cubicBezTo>
                      <a:pt x="15601" y="17513"/>
                      <a:pt x="19010" y="12848"/>
                      <a:pt x="18232" y="7824"/>
                    </a:cubicBezTo>
                    <a:cubicBezTo>
                      <a:pt x="17455" y="2800"/>
                      <a:pt x="12790" y="-669"/>
                      <a:pt x="7766" y="109"/>
                    </a:cubicBezTo>
                    <a:close/>
                  </a:path>
                </a:pathLst>
              </a:custGeom>
              <a:grpFill/>
              <a:ln w="5978" cap="flat">
                <a:noFill/>
                <a:prstDash val="solid"/>
                <a:miter/>
              </a:ln>
            </p:spPr>
            <p:txBody>
              <a:bodyPr rtlCol="0" anchor="ctr"/>
              <a:lstStyle/>
              <a:p>
                <a:endParaRPr lang="en-GB"/>
              </a:p>
            </p:txBody>
          </p:sp>
        </p:grpSp>
        <p:grpSp>
          <p:nvGrpSpPr>
            <p:cNvPr id="1277" name="Graphic 3">
              <a:extLst>
                <a:ext uri="{FF2B5EF4-FFF2-40B4-BE49-F238E27FC236}">
                  <a16:creationId xmlns:a16="http://schemas.microsoft.com/office/drawing/2014/main" id="{428020DA-694F-4275-ADC6-9B9EC97145E8}"/>
                </a:ext>
              </a:extLst>
            </p:cNvPr>
            <p:cNvGrpSpPr/>
            <p:nvPr/>
          </p:nvGrpSpPr>
          <p:grpSpPr>
            <a:xfrm>
              <a:off x="4121344" y="3689558"/>
              <a:ext cx="96570" cy="30300"/>
              <a:chOff x="4121344" y="3689558"/>
              <a:chExt cx="96570" cy="30300"/>
            </a:xfrm>
            <a:grpFill/>
          </p:grpSpPr>
          <p:sp>
            <p:nvSpPr>
              <p:cNvPr id="1575" name="Vrije vorm: vorm 1574">
                <a:extLst>
                  <a:ext uri="{FF2B5EF4-FFF2-40B4-BE49-F238E27FC236}">
                    <a16:creationId xmlns:a16="http://schemas.microsoft.com/office/drawing/2014/main" id="{61D9492F-3931-4CDF-B66D-7DDCE73CC63A}"/>
                  </a:ext>
                </a:extLst>
              </p:cNvPr>
              <p:cNvSpPr/>
              <p:nvPr/>
            </p:nvSpPr>
            <p:spPr>
              <a:xfrm>
                <a:off x="4129828" y="3697143"/>
                <a:ext cx="79543" cy="15071"/>
              </a:xfrm>
              <a:custGeom>
                <a:avLst/>
                <a:gdLst>
                  <a:gd name="connsiteX0" fmla="*/ 79125 w 79543"/>
                  <a:gd name="connsiteY0" fmla="*/ 0 h 15071"/>
                  <a:gd name="connsiteX1" fmla="*/ 79544 w 79543"/>
                  <a:gd name="connsiteY1" fmla="*/ 3050 h 15071"/>
                  <a:gd name="connsiteX2" fmla="*/ 479 w 79543"/>
                  <a:gd name="connsiteY2" fmla="*/ 15071 h 15071"/>
                  <a:gd name="connsiteX3" fmla="*/ 0 w 79543"/>
                  <a:gd name="connsiteY3" fmla="*/ 12081 h 15071"/>
                </a:gdLst>
                <a:ahLst/>
                <a:cxnLst>
                  <a:cxn ang="0">
                    <a:pos x="connsiteX0" y="connsiteY0"/>
                  </a:cxn>
                  <a:cxn ang="0">
                    <a:pos x="connsiteX1" y="connsiteY1"/>
                  </a:cxn>
                  <a:cxn ang="0">
                    <a:pos x="connsiteX2" y="connsiteY2"/>
                  </a:cxn>
                  <a:cxn ang="0">
                    <a:pos x="connsiteX3" y="connsiteY3"/>
                  </a:cxn>
                </a:cxnLst>
                <a:rect l="l" t="t" r="r" b="b"/>
                <a:pathLst>
                  <a:path w="79543" h="15071">
                    <a:moveTo>
                      <a:pt x="79125" y="0"/>
                    </a:moveTo>
                    <a:lnTo>
                      <a:pt x="79544" y="3050"/>
                    </a:lnTo>
                    <a:lnTo>
                      <a:pt x="479" y="15071"/>
                    </a:lnTo>
                    <a:lnTo>
                      <a:pt x="0" y="12081"/>
                    </a:lnTo>
                    <a:close/>
                  </a:path>
                </a:pathLst>
              </a:custGeom>
              <a:grpFill/>
              <a:ln w="5978" cap="flat">
                <a:noFill/>
                <a:prstDash val="solid"/>
                <a:miter/>
              </a:ln>
            </p:spPr>
            <p:txBody>
              <a:bodyPr rtlCol="0" anchor="ctr"/>
              <a:lstStyle/>
              <a:p>
                <a:endParaRPr lang="en-GB"/>
              </a:p>
            </p:txBody>
          </p:sp>
          <p:sp>
            <p:nvSpPr>
              <p:cNvPr id="1576" name="Vrije vorm: vorm 1575">
                <a:extLst>
                  <a:ext uri="{FF2B5EF4-FFF2-40B4-BE49-F238E27FC236}">
                    <a16:creationId xmlns:a16="http://schemas.microsoft.com/office/drawing/2014/main" id="{243DA4AC-B051-416F-A7E5-9291E7469063}"/>
                  </a:ext>
                </a:extLst>
              </p:cNvPr>
              <p:cNvSpPr/>
              <p:nvPr/>
            </p:nvSpPr>
            <p:spPr>
              <a:xfrm>
                <a:off x="4121344" y="3701459"/>
                <a:ext cx="18341" cy="18399"/>
              </a:xfrm>
              <a:custGeom>
                <a:avLst/>
                <a:gdLst>
                  <a:gd name="connsiteX0" fmla="*/ 10577 w 18341"/>
                  <a:gd name="connsiteY0" fmla="*/ 18290 h 18399"/>
                  <a:gd name="connsiteX1" fmla="*/ 110 w 18341"/>
                  <a:gd name="connsiteY1" fmla="*/ 10575 h 18399"/>
                  <a:gd name="connsiteX2" fmla="*/ 7766 w 18341"/>
                  <a:gd name="connsiteY2" fmla="*/ 109 h 18399"/>
                  <a:gd name="connsiteX3" fmla="*/ 18232 w 18341"/>
                  <a:gd name="connsiteY3" fmla="*/ 7824 h 18399"/>
                  <a:gd name="connsiteX4" fmla="*/ 10577 w 18341"/>
                  <a:gd name="connsiteY4" fmla="*/ 1829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9">
                    <a:moveTo>
                      <a:pt x="10577" y="18290"/>
                    </a:moveTo>
                    <a:cubicBezTo>
                      <a:pt x="5553" y="19068"/>
                      <a:pt x="888" y="15599"/>
                      <a:pt x="110" y="10575"/>
                    </a:cubicBezTo>
                    <a:cubicBezTo>
                      <a:pt x="-667" y="5551"/>
                      <a:pt x="2742" y="827"/>
                      <a:pt x="7766" y="109"/>
                    </a:cubicBezTo>
                    <a:cubicBezTo>
                      <a:pt x="12790" y="-668"/>
                      <a:pt x="17455" y="2800"/>
                      <a:pt x="18232" y="7824"/>
                    </a:cubicBezTo>
                    <a:cubicBezTo>
                      <a:pt x="19010" y="12848"/>
                      <a:pt x="15541" y="17513"/>
                      <a:pt x="10577" y="18290"/>
                    </a:cubicBezTo>
                    <a:close/>
                  </a:path>
                </a:pathLst>
              </a:custGeom>
              <a:grpFill/>
              <a:ln w="5978" cap="flat">
                <a:noFill/>
                <a:prstDash val="solid"/>
                <a:miter/>
              </a:ln>
            </p:spPr>
            <p:txBody>
              <a:bodyPr rtlCol="0" anchor="ctr"/>
              <a:lstStyle/>
              <a:p>
                <a:endParaRPr lang="en-GB"/>
              </a:p>
            </p:txBody>
          </p:sp>
          <p:sp>
            <p:nvSpPr>
              <p:cNvPr id="1577" name="Vrije vorm: vorm 1576">
                <a:extLst>
                  <a:ext uri="{FF2B5EF4-FFF2-40B4-BE49-F238E27FC236}">
                    <a16:creationId xmlns:a16="http://schemas.microsoft.com/office/drawing/2014/main" id="{C9891A63-B4E2-4164-87EB-3000B6056C46}"/>
                  </a:ext>
                </a:extLst>
              </p:cNvPr>
              <p:cNvSpPr/>
              <p:nvPr/>
            </p:nvSpPr>
            <p:spPr>
              <a:xfrm>
                <a:off x="4199572" y="3689558"/>
                <a:ext cx="18342" cy="18385"/>
              </a:xfrm>
              <a:custGeom>
                <a:avLst/>
                <a:gdLst>
                  <a:gd name="connsiteX0" fmla="*/ 10577 w 18342"/>
                  <a:gd name="connsiteY0" fmla="*/ 18290 h 18385"/>
                  <a:gd name="connsiteX1" fmla="*/ 18232 w 18342"/>
                  <a:gd name="connsiteY1" fmla="*/ 7824 h 18385"/>
                  <a:gd name="connsiteX2" fmla="*/ 7766 w 18342"/>
                  <a:gd name="connsiteY2" fmla="*/ 109 h 18385"/>
                  <a:gd name="connsiteX3" fmla="*/ 110 w 18342"/>
                  <a:gd name="connsiteY3" fmla="*/ 10575 h 18385"/>
                  <a:gd name="connsiteX4" fmla="*/ 10577 w 18342"/>
                  <a:gd name="connsiteY4" fmla="*/ 18290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2" h="18385">
                    <a:moveTo>
                      <a:pt x="10577" y="18290"/>
                    </a:moveTo>
                    <a:cubicBezTo>
                      <a:pt x="15601" y="17513"/>
                      <a:pt x="19009" y="12848"/>
                      <a:pt x="18232" y="7824"/>
                    </a:cubicBezTo>
                    <a:cubicBezTo>
                      <a:pt x="17455" y="2800"/>
                      <a:pt x="12790" y="-669"/>
                      <a:pt x="7766" y="109"/>
                    </a:cubicBezTo>
                    <a:cubicBezTo>
                      <a:pt x="2742" y="886"/>
                      <a:pt x="-667" y="5551"/>
                      <a:pt x="110" y="10575"/>
                    </a:cubicBezTo>
                    <a:cubicBezTo>
                      <a:pt x="888" y="15599"/>
                      <a:pt x="5553" y="19008"/>
                      <a:pt x="10577" y="18290"/>
                    </a:cubicBezTo>
                    <a:close/>
                  </a:path>
                </a:pathLst>
              </a:custGeom>
              <a:grpFill/>
              <a:ln w="5978" cap="flat">
                <a:noFill/>
                <a:prstDash val="solid"/>
                <a:miter/>
              </a:ln>
            </p:spPr>
            <p:txBody>
              <a:bodyPr rtlCol="0" anchor="ctr"/>
              <a:lstStyle/>
              <a:p>
                <a:endParaRPr lang="en-GB"/>
              </a:p>
            </p:txBody>
          </p:sp>
        </p:grpSp>
        <p:grpSp>
          <p:nvGrpSpPr>
            <p:cNvPr id="1278" name="Graphic 3">
              <a:extLst>
                <a:ext uri="{FF2B5EF4-FFF2-40B4-BE49-F238E27FC236}">
                  <a16:creationId xmlns:a16="http://schemas.microsoft.com/office/drawing/2014/main" id="{44B74EBE-109A-4B14-99D0-CBD8B444941B}"/>
                </a:ext>
              </a:extLst>
            </p:cNvPr>
            <p:cNvGrpSpPr/>
            <p:nvPr/>
          </p:nvGrpSpPr>
          <p:grpSpPr>
            <a:xfrm>
              <a:off x="3786541" y="3155954"/>
              <a:ext cx="412057" cy="62256"/>
              <a:chOff x="3786541" y="3155954"/>
              <a:chExt cx="412057" cy="62256"/>
            </a:xfrm>
            <a:grpFill/>
          </p:grpSpPr>
          <p:sp>
            <p:nvSpPr>
              <p:cNvPr id="1572" name="Vrije vorm: vorm 1571">
                <a:extLst>
                  <a:ext uri="{FF2B5EF4-FFF2-40B4-BE49-F238E27FC236}">
                    <a16:creationId xmlns:a16="http://schemas.microsoft.com/office/drawing/2014/main" id="{135F63B6-0C67-492C-BA2A-6E663C48A456}"/>
                  </a:ext>
                </a:extLst>
              </p:cNvPr>
              <p:cNvSpPr/>
              <p:nvPr/>
            </p:nvSpPr>
            <p:spPr>
              <a:xfrm>
                <a:off x="3795146" y="3163543"/>
                <a:ext cx="394907" cy="47068"/>
              </a:xfrm>
              <a:custGeom>
                <a:avLst/>
                <a:gdLst>
                  <a:gd name="connsiteX0" fmla="*/ 394907 w 394907"/>
                  <a:gd name="connsiteY0" fmla="*/ 44018 h 47068"/>
                  <a:gd name="connsiteX1" fmla="*/ 394548 w 394907"/>
                  <a:gd name="connsiteY1" fmla="*/ 47068 h 47068"/>
                  <a:gd name="connsiteX2" fmla="*/ 0 w 394907"/>
                  <a:gd name="connsiteY2" fmla="*/ 3050 h 47068"/>
                  <a:gd name="connsiteX3" fmla="*/ 299 w 394907"/>
                  <a:gd name="connsiteY3" fmla="*/ 0 h 47068"/>
                </a:gdLst>
                <a:ahLst/>
                <a:cxnLst>
                  <a:cxn ang="0">
                    <a:pos x="connsiteX0" y="connsiteY0"/>
                  </a:cxn>
                  <a:cxn ang="0">
                    <a:pos x="connsiteX1" y="connsiteY1"/>
                  </a:cxn>
                  <a:cxn ang="0">
                    <a:pos x="connsiteX2" y="connsiteY2"/>
                  </a:cxn>
                  <a:cxn ang="0">
                    <a:pos x="connsiteX3" y="connsiteY3"/>
                  </a:cxn>
                </a:cxnLst>
                <a:rect l="l" t="t" r="r" b="b"/>
                <a:pathLst>
                  <a:path w="394907" h="47068">
                    <a:moveTo>
                      <a:pt x="394907" y="44018"/>
                    </a:moveTo>
                    <a:lnTo>
                      <a:pt x="394548" y="47068"/>
                    </a:lnTo>
                    <a:lnTo>
                      <a:pt x="0" y="3050"/>
                    </a:lnTo>
                    <a:lnTo>
                      <a:pt x="299" y="0"/>
                    </a:lnTo>
                    <a:close/>
                  </a:path>
                </a:pathLst>
              </a:custGeom>
              <a:grpFill/>
              <a:ln w="5978" cap="flat">
                <a:noFill/>
                <a:prstDash val="solid"/>
                <a:miter/>
              </a:ln>
            </p:spPr>
            <p:txBody>
              <a:bodyPr rtlCol="0" anchor="ctr"/>
              <a:lstStyle/>
              <a:p>
                <a:endParaRPr lang="en-GB"/>
              </a:p>
            </p:txBody>
          </p:sp>
          <p:sp>
            <p:nvSpPr>
              <p:cNvPr id="1573" name="Vrije vorm: vorm 1572">
                <a:extLst>
                  <a:ext uri="{FF2B5EF4-FFF2-40B4-BE49-F238E27FC236}">
                    <a16:creationId xmlns:a16="http://schemas.microsoft.com/office/drawing/2014/main" id="{AD09AE65-A7EC-42CA-8377-404697F12E42}"/>
                  </a:ext>
                </a:extLst>
              </p:cNvPr>
              <p:cNvSpPr/>
              <p:nvPr/>
            </p:nvSpPr>
            <p:spPr>
              <a:xfrm>
                <a:off x="4180252" y="3199793"/>
                <a:ext cx="18346" cy="18417"/>
              </a:xfrm>
              <a:custGeom>
                <a:avLst/>
                <a:gdLst>
                  <a:gd name="connsiteX0" fmla="*/ 10160 w 18346"/>
                  <a:gd name="connsiteY0" fmla="*/ 53 h 18417"/>
                  <a:gd name="connsiteX1" fmla="*/ 18294 w 18346"/>
                  <a:gd name="connsiteY1" fmla="*/ 10220 h 18417"/>
                  <a:gd name="connsiteX2" fmla="*/ 8186 w 18346"/>
                  <a:gd name="connsiteY2" fmla="*/ 18354 h 18417"/>
                  <a:gd name="connsiteX3" fmla="*/ 53 w 18346"/>
                  <a:gd name="connsiteY3" fmla="*/ 8186 h 18417"/>
                  <a:gd name="connsiteX4" fmla="*/ 10160 w 18346"/>
                  <a:gd name="connsiteY4" fmla="*/ 53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17">
                    <a:moveTo>
                      <a:pt x="10160" y="53"/>
                    </a:moveTo>
                    <a:cubicBezTo>
                      <a:pt x="15184" y="591"/>
                      <a:pt x="18832" y="5196"/>
                      <a:pt x="18294" y="10220"/>
                    </a:cubicBezTo>
                    <a:cubicBezTo>
                      <a:pt x="17755" y="15303"/>
                      <a:pt x="13210" y="18952"/>
                      <a:pt x="8186" y="18354"/>
                    </a:cubicBezTo>
                    <a:cubicBezTo>
                      <a:pt x="3163" y="17815"/>
                      <a:pt x="-486" y="13210"/>
                      <a:pt x="53" y="8186"/>
                    </a:cubicBezTo>
                    <a:cubicBezTo>
                      <a:pt x="591" y="3163"/>
                      <a:pt x="5136" y="-486"/>
                      <a:pt x="10160" y="53"/>
                    </a:cubicBezTo>
                    <a:close/>
                  </a:path>
                </a:pathLst>
              </a:custGeom>
              <a:grpFill/>
              <a:ln w="5978" cap="flat">
                <a:noFill/>
                <a:prstDash val="solid"/>
                <a:miter/>
              </a:ln>
            </p:spPr>
            <p:txBody>
              <a:bodyPr rtlCol="0" anchor="ctr"/>
              <a:lstStyle/>
              <a:p>
                <a:endParaRPr lang="en-GB"/>
              </a:p>
            </p:txBody>
          </p:sp>
          <p:sp>
            <p:nvSpPr>
              <p:cNvPr id="1574" name="Vrije vorm: vorm 1573">
                <a:extLst>
                  <a:ext uri="{FF2B5EF4-FFF2-40B4-BE49-F238E27FC236}">
                    <a16:creationId xmlns:a16="http://schemas.microsoft.com/office/drawing/2014/main" id="{18D169E5-2104-473C-B3FD-6F3800A9A069}"/>
                  </a:ext>
                </a:extLst>
              </p:cNvPr>
              <p:cNvSpPr/>
              <p:nvPr/>
            </p:nvSpPr>
            <p:spPr>
              <a:xfrm>
                <a:off x="3786541" y="3155954"/>
                <a:ext cx="18346" cy="18406"/>
              </a:xfrm>
              <a:custGeom>
                <a:avLst/>
                <a:gdLst>
                  <a:gd name="connsiteX0" fmla="*/ 10160 w 18346"/>
                  <a:gd name="connsiteY0" fmla="*/ 53 h 18406"/>
                  <a:gd name="connsiteX1" fmla="*/ 53 w 18346"/>
                  <a:gd name="connsiteY1" fmla="*/ 8187 h 18406"/>
                  <a:gd name="connsiteX2" fmla="*/ 8186 w 18346"/>
                  <a:gd name="connsiteY2" fmla="*/ 18354 h 18406"/>
                  <a:gd name="connsiteX3" fmla="*/ 18294 w 18346"/>
                  <a:gd name="connsiteY3" fmla="*/ 10220 h 18406"/>
                  <a:gd name="connsiteX4" fmla="*/ 10160 w 18346"/>
                  <a:gd name="connsiteY4" fmla="*/ 53 h 1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06">
                    <a:moveTo>
                      <a:pt x="10160" y="53"/>
                    </a:moveTo>
                    <a:cubicBezTo>
                      <a:pt x="5136" y="-486"/>
                      <a:pt x="591" y="3163"/>
                      <a:pt x="53" y="8187"/>
                    </a:cubicBezTo>
                    <a:cubicBezTo>
                      <a:pt x="-485" y="13270"/>
                      <a:pt x="3163" y="17815"/>
                      <a:pt x="8186" y="18354"/>
                    </a:cubicBezTo>
                    <a:cubicBezTo>
                      <a:pt x="13210" y="18892"/>
                      <a:pt x="17756" y="15244"/>
                      <a:pt x="18294" y="10220"/>
                    </a:cubicBezTo>
                    <a:cubicBezTo>
                      <a:pt x="18832" y="5136"/>
                      <a:pt x="15184" y="591"/>
                      <a:pt x="10160" y="53"/>
                    </a:cubicBezTo>
                    <a:close/>
                  </a:path>
                </a:pathLst>
              </a:custGeom>
              <a:grpFill/>
              <a:ln w="5978" cap="flat">
                <a:noFill/>
                <a:prstDash val="solid"/>
                <a:miter/>
              </a:ln>
            </p:spPr>
            <p:txBody>
              <a:bodyPr rtlCol="0" anchor="ctr"/>
              <a:lstStyle/>
              <a:p>
                <a:endParaRPr lang="en-GB"/>
              </a:p>
            </p:txBody>
          </p:sp>
        </p:grpSp>
        <p:grpSp>
          <p:nvGrpSpPr>
            <p:cNvPr id="1279" name="Graphic 3">
              <a:extLst>
                <a:ext uri="{FF2B5EF4-FFF2-40B4-BE49-F238E27FC236}">
                  <a16:creationId xmlns:a16="http://schemas.microsoft.com/office/drawing/2014/main" id="{B9435091-6FA4-4A01-9253-B630958003A8}"/>
                </a:ext>
              </a:extLst>
            </p:cNvPr>
            <p:cNvGrpSpPr/>
            <p:nvPr/>
          </p:nvGrpSpPr>
          <p:grpSpPr>
            <a:xfrm>
              <a:off x="4428175" y="4600777"/>
              <a:ext cx="92429" cy="75734"/>
              <a:chOff x="4428175" y="4600777"/>
              <a:chExt cx="92429" cy="75734"/>
            </a:xfrm>
            <a:grpFill/>
          </p:grpSpPr>
          <p:sp>
            <p:nvSpPr>
              <p:cNvPr id="1569" name="Vrije vorm: vorm 1568">
                <a:extLst>
                  <a:ext uri="{FF2B5EF4-FFF2-40B4-BE49-F238E27FC236}">
                    <a16:creationId xmlns:a16="http://schemas.microsoft.com/office/drawing/2014/main" id="{FF02790C-B8B6-4907-B256-9AB55F30DB54}"/>
                  </a:ext>
                </a:extLst>
              </p:cNvPr>
              <p:cNvSpPr/>
              <p:nvPr/>
            </p:nvSpPr>
            <p:spPr>
              <a:xfrm>
                <a:off x="4436041" y="4608545"/>
                <a:ext cx="76672" cy="60225"/>
              </a:xfrm>
              <a:custGeom>
                <a:avLst/>
                <a:gdLst>
                  <a:gd name="connsiteX0" fmla="*/ 76673 w 76672"/>
                  <a:gd name="connsiteY0" fmla="*/ 2392 h 60225"/>
                  <a:gd name="connsiteX1" fmla="*/ 1854 w 76672"/>
                  <a:gd name="connsiteY1" fmla="*/ 60226 h 60225"/>
                  <a:gd name="connsiteX2" fmla="*/ 0 w 76672"/>
                  <a:gd name="connsiteY2" fmla="*/ 57774 h 60225"/>
                  <a:gd name="connsiteX3" fmla="*/ 74819 w 76672"/>
                  <a:gd name="connsiteY3" fmla="*/ 0 h 60225"/>
                </a:gdLst>
                <a:ahLst/>
                <a:cxnLst>
                  <a:cxn ang="0">
                    <a:pos x="connsiteX0" y="connsiteY0"/>
                  </a:cxn>
                  <a:cxn ang="0">
                    <a:pos x="connsiteX1" y="connsiteY1"/>
                  </a:cxn>
                  <a:cxn ang="0">
                    <a:pos x="connsiteX2" y="connsiteY2"/>
                  </a:cxn>
                  <a:cxn ang="0">
                    <a:pos x="connsiteX3" y="connsiteY3"/>
                  </a:cxn>
                </a:cxnLst>
                <a:rect l="l" t="t" r="r" b="b"/>
                <a:pathLst>
                  <a:path w="76672" h="60225">
                    <a:moveTo>
                      <a:pt x="76673" y="2392"/>
                    </a:moveTo>
                    <a:lnTo>
                      <a:pt x="1854" y="60226"/>
                    </a:lnTo>
                    <a:lnTo>
                      <a:pt x="0" y="57774"/>
                    </a:lnTo>
                    <a:lnTo>
                      <a:pt x="74819" y="0"/>
                    </a:lnTo>
                    <a:close/>
                  </a:path>
                </a:pathLst>
              </a:custGeom>
              <a:grpFill/>
              <a:ln w="5978" cap="flat">
                <a:noFill/>
                <a:prstDash val="solid"/>
                <a:miter/>
              </a:ln>
            </p:spPr>
            <p:txBody>
              <a:bodyPr rtlCol="0" anchor="ctr"/>
              <a:lstStyle/>
              <a:p>
                <a:endParaRPr lang="en-GB"/>
              </a:p>
            </p:txBody>
          </p:sp>
          <p:sp>
            <p:nvSpPr>
              <p:cNvPr id="1570" name="Vrije vorm: vorm 1569">
                <a:extLst>
                  <a:ext uri="{FF2B5EF4-FFF2-40B4-BE49-F238E27FC236}">
                    <a16:creationId xmlns:a16="http://schemas.microsoft.com/office/drawing/2014/main" id="{C7CEDB8F-F9FF-40C9-BFC4-51BAD367EBED}"/>
                  </a:ext>
                </a:extLst>
              </p:cNvPr>
              <p:cNvSpPr/>
              <p:nvPr/>
            </p:nvSpPr>
            <p:spPr>
              <a:xfrm>
                <a:off x="4502251" y="4600777"/>
                <a:ext cx="18353" cy="18465"/>
              </a:xfrm>
              <a:custGeom>
                <a:avLst/>
                <a:gdLst>
                  <a:gd name="connsiteX0" fmla="*/ 3585 w 18353"/>
                  <a:gd name="connsiteY0" fmla="*/ 1906 h 18465"/>
                  <a:gd name="connsiteX1" fmla="*/ 16444 w 18353"/>
                  <a:gd name="connsiteY1" fmla="*/ 3641 h 18465"/>
                  <a:gd name="connsiteX2" fmla="*/ 14769 w 18353"/>
                  <a:gd name="connsiteY2" fmla="*/ 16559 h 18465"/>
                  <a:gd name="connsiteX3" fmla="*/ 1910 w 18353"/>
                  <a:gd name="connsiteY3" fmla="*/ 14824 h 18465"/>
                  <a:gd name="connsiteX4" fmla="*/ 3585 w 18353"/>
                  <a:gd name="connsiteY4" fmla="*/ 1906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65">
                    <a:moveTo>
                      <a:pt x="3585" y="1906"/>
                    </a:moveTo>
                    <a:cubicBezTo>
                      <a:pt x="7592" y="-1204"/>
                      <a:pt x="13334" y="-426"/>
                      <a:pt x="16444" y="3641"/>
                    </a:cubicBezTo>
                    <a:cubicBezTo>
                      <a:pt x="19553" y="7648"/>
                      <a:pt x="18776" y="13449"/>
                      <a:pt x="14769" y="16559"/>
                    </a:cubicBezTo>
                    <a:cubicBezTo>
                      <a:pt x="10762" y="19669"/>
                      <a:pt x="5020" y="18892"/>
                      <a:pt x="1910" y="14824"/>
                    </a:cubicBezTo>
                    <a:cubicBezTo>
                      <a:pt x="-1200" y="10817"/>
                      <a:pt x="-422" y="5016"/>
                      <a:pt x="3585" y="1906"/>
                    </a:cubicBezTo>
                    <a:close/>
                  </a:path>
                </a:pathLst>
              </a:custGeom>
              <a:grpFill/>
              <a:ln w="5978" cap="flat">
                <a:noFill/>
                <a:prstDash val="solid"/>
                <a:miter/>
              </a:ln>
            </p:spPr>
            <p:txBody>
              <a:bodyPr rtlCol="0" anchor="ctr"/>
              <a:lstStyle/>
              <a:p>
                <a:endParaRPr lang="en-GB"/>
              </a:p>
            </p:txBody>
          </p:sp>
          <p:sp>
            <p:nvSpPr>
              <p:cNvPr id="1571" name="Vrije vorm: vorm 1570">
                <a:extLst>
                  <a:ext uri="{FF2B5EF4-FFF2-40B4-BE49-F238E27FC236}">
                    <a16:creationId xmlns:a16="http://schemas.microsoft.com/office/drawing/2014/main" id="{0816DC2E-1F00-4C27-BEFA-897C83D13941}"/>
                  </a:ext>
                </a:extLst>
              </p:cNvPr>
              <p:cNvSpPr/>
              <p:nvPr/>
            </p:nvSpPr>
            <p:spPr>
              <a:xfrm>
                <a:off x="4428175" y="4658073"/>
                <a:ext cx="18303" cy="18439"/>
              </a:xfrm>
              <a:custGeom>
                <a:avLst/>
                <a:gdLst>
                  <a:gd name="connsiteX0" fmla="*/ 3559 w 18303"/>
                  <a:gd name="connsiteY0" fmla="*/ 1906 h 18439"/>
                  <a:gd name="connsiteX1" fmla="*/ 1885 w 18303"/>
                  <a:gd name="connsiteY1" fmla="*/ 14824 h 18439"/>
                  <a:gd name="connsiteX2" fmla="*/ 14743 w 18303"/>
                  <a:gd name="connsiteY2" fmla="*/ 16559 h 18439"/>
                  <a:gd name="connsiteX3" fmla="*/ 16418 w 18303"/>
                  <a:gd name="connsiteY3" fmla="*/ 3641 h 18439"/>
                  <a:gd name="connsiteX4" fmla="*/ 3559 w 18303"/>
                  <a:gd name="connsiteY4" fmla="*/ 1906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3" h="18439">
                    <a:moveTo>
                      <a:pt x="3559" y="1906"/>
                    </a:moveTo>
                    <a:cubicBezTo>
                      <a:pt x="-448" y="5016"/>
                      <a:pt x="-1165" y="10758"/>
                      <a:pt x="1885" y="14824"/>
                    </a:cubicBezTo>
                    <a:cubicBezTo>
                      <a:pt x="4995" y="18891"/>
                      <a:pt x="10736" y="19609"/>
                      <a:pt x="14743" y="16559"/>
                    </a:cubicBezTo>
                    <a:cubicBezTo>
                      <a:pt x="18751" y="13449"/>
                      <a:pt x="19468" y="7707"/>
                      <a:pt x="16418" y="3641"/>
                    </a:cubicBezTo>
                    <a:cubicBezTo>
                      <a:pt x="13308" y="-426"/>
                      <a:pt x="7566" y="-1204"/>
                      <a:pt x="3559" y="1906"/>
                    </a:cubicBezTo>
                    <a:close/>
                  </a:path>
                </a:pathLst>
              </a:custGeom>
              <a:grpFill/>
              <a:ln w="5978" cap="flat">
                <a:noFill/>
                <a:prstDash val="solid"/>
                <a:miter/>
              </a:ln>
            </p:spPr>
            <p:txBody>
              <a:bodyPr rtlCol="0" anchor="ctr"/>
              <a:lstStyle/>
              <a:p>
                <a:endParaRPr lang="en-GB"/>
              </a:p>
            </p:txBody>
          </p:sp>
        </p:grpSp>
        <p:grpSp>
          <p:nvGrpSpPr>
            <p:cNvPr id="1280" name="Graphic 3">
              <a:extLst>
                <a:ext uri="{FF2B5EF4-FFF2-40B4-BE49-F238E27FC236}">
                  <a16:creationId xmlns:a16="http://schemas.microsoft.com/office/drawing/2014/main" id="{34E1AA77-154E-40B8-9E68-6690A8CEF9B2}"/>
                </a:ext>
              </a:extLst>
            </p:cNvPr>
            <p:cNvGrpSpPr/>
            <p:nvPr/>
          </p:nvGrpSpPr>
          <p:grpSpPr>
            <a:xfrm>
              <a:off x="4205323" y="4417303"/>
              <a:ext cx="499771" cy="324830"/>
              <a:chOff x="4205323" y="4417303"/>
              <a:chExt cx="499771" cy="324830"/>
            </a:xfrm>
            <a:grpFill/>
          </p:grpSpPr>
          <p:sp>
            <p:nvSpPr>
              <p:cNvPr id="1566" name="Vrije vorm: vorm 1565">
                <a:extLst>
                  <a:ext uri="{FF2B5EF4-FFF2-40B4-BE49-F238E27FC236}">
                    <a16:creationId xmlns:a16="http://schemas.microsoft.com/office/drawing/2014/main" id="{C76FCA43-23DA-4CDB-811D-2595A0BA3E6A}"/>
                  </a:ext>
                </a:extLst>
              </p:cNvPr>
              <p:cNvSpPr/>
              <p:nvPr/>
            </p:nvSpPr>
            <p:spPr>
              <a:xfrm>
                <a:off x="4213259" y="4424936"/>
                <a:ext cx="483900" cy="309562"/>
              </a:xfrm>
              <a:custGeom>
                <a:avLst/>
                <a:gdLst>
                  <a:gd name="connsiteX0" fmla="*/ 483900 w 483900"/>
                  <a:gd name="connsiteY0" fmla="*/ 2572 h 309562"/>
                  <a:gd name="connsiteX1" fmla="*/ 1615 w 483900"/>
                  <a:gd name="connsiteY1" fmla="*/ 309562 h 309562"/>
                  <a:gd name="connsiteX2" fmla="*/ 0 w 483900"/>
                  <a:gd name="connsiteY2" fmla="*/ 306931 h 309562"/>
                  <a:gd name="connsiteX3" fmla="*/ 482226 w 483900"/>
                  <a:gd name="connsiteY3" fmla="*/ 0 h 309562"/>
                </a:gdLst>
                <a:ahLst/>
                <a:cxnLst>
                  <a:cxn ang="0">
                    <a:pos x="connsiteX0" y="connsiteY0"/>
                  </a:cxn>
                  <a:cxn ang="0">
                    <a:pos x="connsiteX1" y="connsiteY1"/>
                  </a:cxn>
                  <a:cxn ang="0">
                    <a:pos x="connsiteX2" y="connsiteY2"/>
                  </a:cxn>
                  <a:cxn ang="0">
                    <a:pos x="connsiteX3" y="connsiteY3"/>
                  </a:cxn>
                </a:cxnLst>
                <a:rect l="l" t="t" r="r" b="b"/>
                <a:pathLst>
                  <a:path w="483900" h="309562">
                    <a:moveTo>
                      <a:pt x="483900" y="2572"/>
                    </a:moveTo>
                    <a:lnTo>
                      <a:pt x="1615" y="309562"/>
                    </a:lnTo>
                    <a:lnTo>
                      <a:pt x="0" y="306931"/>
                    </a:lnTo>
                    <a:lnTo>
                      <a:pt x="482226" y="0"/>
                    </a:lnTo>
                    <a:close/>
                  </a:path>
                </a:pathLst>
              </a:custGeom>
              <a:grpFill/>
              <a:ln w="5978" cap="flat">
                <a:noFill/>
                <a:prstDash val="solid"/>
                <a:miter/>
              </a:ln>
            </p:spPr>
            <p:txBody>
              <a:bodyPr rtlCol="0" anchor="ctr"/>
              <a:lstStyle/>
              <a:p>
                <a:endParaRPr lang="en-GB"/>
              </a:p>
            </p:txBody>
          </p:sp>
          <p:sp>
            <p:nvSpPr>
              <p:cNvPr id="1567" name="Vrije vorm: vorm 1566">
                <a:extLst>
                  <a:ext uri="{FF2B5EF4-FFF2-40B4-BE49-F238E27FC236}">
                    <a16:creationId xmlns:a16="http://schemas.microsoft.com/office/drawing/2014/main" id="{0A38960D-EF72-4F99-BC62-DB8E5CD90189}"/>
                  </a:ext>
                </a:extLst>
              </p:cNvPr>
              <p:cNvSpPr/>
              <p:nvPr/>
            </p:nvSpPr>
            <p:spPr>
              <a:xfrm>
                <a:off x="4686771" y="4417303"/>
                <a:ext cx="18323" cy="18437"/>
              </a:xfrm>
              <a:custGeom>
                <a:avLst/>
                <a:gdLst>
                  <a:gd name="connsiteX0" fmla="*/ 4228 w 18323"/>
                  <a:gd name="connsiteY0" fmla="*/ 1414 h 18437"/>
                  <a:gd name="connsiteX1" fmla="*/ 16907 w 18323"/>
                  <a:gd name="connsiteY1" fmla="*/ 4285 h 18437"/>
                  <a:gd name="connsiteX2" fmla="*/ 14096 w 18323"/>
                  <a:gd name="connsiteY2" fmla="*/ 17024 h 18437"/>
                  <a:gd name="connsiteX3" fmla="*/ 1417 w 18323"/>
                  <a:gd name="connsiteY3" fmla="*/ 14153 h 18437"/>
                  <a:gd name="connsiteX4" fmla="*/ 4228 w 18323"/>
                  <a:gd name="connsiteY4" fmla="*/ 1414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37">
                    <a:moveTo>
                      <a:pt x="4228" y="1414"/>
                    </a:moveTo>
                    <a:cubicBezTo>
                      <a:pt x="8474" y="-1277"/>
                      <a:pt x="14156" y="-21"/>
                      <a:pt x="16907" y="4285"/>
                    </a:cubicBezTo>
                    <a:cubicBezTo>
                      <a:pt x="19598" y="8591"/>
                      <a:pt x="18342" y="14273"/>
                      <a:pt x="14096" y="17024"/>
                    </a:cubicBezTo>
                    <a:cubicBezTo>
                      <a:pt x="9850" y="19715"/>
                      <a:pt x="4168" y="18459"/>
                      <a:pt x="1417" y="14153"/>
                    </a:cubicBezTo>
                    <a:cubicBezTo>
                      <a:pt x="-1275" y="9787"/>
                      <a:pt x="-19" y="4105"/>
                      <a:pt x="4228" y="1414"/>
                    </a:cubicBezTo>
                    <a:close/>
                  </a:path>
                </a:pathLst>
              </a:custGeom>
              <a:grpFill/>
              <a:ln w="5978" cap="flat">
                <a:noFill/>
                <a:prstDash val="solid"/>
                <a:miter/>
              </a:ln>
            </p:spPr>
            <p:txBody>
              <a:bodyPr rtlCol="0" anchor="ctr"/>
              <a:lstStyle/>
              <a:p>
                <a:endParaRPr lang="en-GB"/>
              </a:p>
            </p:txBody>
          </p:sp>
          <p:sp>
            <p:nvSpPr>
              <p:cNvPr id="1568" name="Vrije vorm: vorm 1567">
                <a:extLst>
                  <a:ext uri="{FF2B5EF4-FFF2-40B4-BE49-F238E27FC236}">
                    <a16:creationId xmlns:a16="http://schemas.microsoft.com/office/drawing/2014/main" id="{E344B305-F151-4C47-8959-A7EB35BC70B6}"/>
                  </a:ext>
                </a:extLst>
              </p:cNvPr>
              <p:cNvSpPr/>
              <p:nvPr/>
            </p:nvSpPr>
            <p:spPr>
              <a:xfrm>
                <a:off x="4205323" y="4723726"/>
                <a:ext cx="18323" cy="18407"/>
              </a:xfrm>
              <a:custGeom>
                <a:avLst/>
                <a:gdLst>
                  <a:gd name="connsiteX0" fmla="*/ 4228 w 18323"/>
                  <a:gd name="connsiteY0" fmla="*/ 1443 h 18407"/>
                  <a:gd name="connsiteX1" fmla="*/ 1417 w 18323"/>
                  <a:gd name="connsiteY1" fmla="*/ 14122 h 18407"/>
                  <a:gd name="connsiteX2" fmla="*/ 14096 w 18323"/>
                  <a:gd name="connsiteY2" fmla="*/ 16993 h 18407"/>
                  <a:gd name="connsiteX3" fmla="*/ 16907 w 18323"/>
                  <a:gd name="connsiteY3" fmla="*/ 4254 h 18407"/>
                  <a:gd name="connsiteX4" fmla="*/ 4228 w 18323"/>
                  <a:gd name="connsiteY4" fmla="*/ 144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3" h="18407">
                    <a:moveTo>
                      <a:pt x="4228" y="1443"/>
                    </a:moveTo>
                    <a:cubicBezTo>
                      <a:pt x="-19" y="4134"/>
                      <a:pt x="-1275" y="9876"/>
                      <a:pt x="1417" y="14122"/>
                    </a:cubicBezTo>
                    <a:cubicBezTo>
                      <a:pt x="4108" y="18428"/>
                      <a:pt x="9790" y="19684"/>
                      <a:pt x="14096" y="16993"/>
                    </a:cubicBezTo>
                    <a:cubicBezTo>
                      <a:pt x="18342" y="14302"/>
                      <a:pt x="19598" y="8560"/>
                      <a:pt x="16907" y="4254"/>
                    </a:cubicBezTo>
                    <a:cubicBezTo>
                      <a:pt x="14156" y="8"/>
                      <a:pt x="8474" y="-1308"/>
                      <a:pt x="4228" y="1443"/>
                    </a:cubicBezTo>
                    <a:close/>
                  </a:path>
                </a:pathLst>
              </a:custGeom>
              <a:grpFill/>
              <a:ln w="5978" cap="flat">
                <a:noFill/>
                <a:prstDash val="solid"/>
                <a:miter/>
              </a:ln>
            </p:spPr>
            <p:txBody>
              <a:bodyPr rtlCol="0" anchor="ctr"/>
              <a:lstStyle/>
              <a:p>
                <a:endParaRPr lang="en-GB"/>
              </a:p>
            </p:txBody>
          </p:sp>
        </p:grpSp>
        <p:grpSp>
          <p:nvGrpSpPr>
            <p:cNvPr id="1281" name="Graphic 3">
              <a:extLst>
                <a:ext uri="{FF2B5EF4-FFF2-40B4-BE49-F238E27FC236}">
                  <a16:creationId xmlns:a16="http://schemas.microsoft.com/office/drawing/2014/main" id="{D9EAC009-1DEB-4AD2-86E3-58E140601DCC}"/>
                </a:ext>
              </a:extLst>
            </p:cNvPr>
            <p:cNvGrpSpPr/>
            <p:nvPr/>
          </p:nvGrpSpPr>
          <p:grpSpPr>
            <a:xfrm>
              <a:off x="4416786" y="4600803"/>
              <a:ext cx="103792" cy="84466"/>
              <a:chOff x="4416786" y="4600803"/>
              <a:chExt cx="103792" cy="84466"/>
            </a:xfrm>
            <a:grpFill/>
          </p:grpSpPr>
          <p:sp>
            <p:nvSpPr>
              <p:cNvPr id="1563" name="Vrije vorm: vorm 1562">
                <a:extLst>
                  <a:ext uri="{FF2B5EF4-FFF2-40B4-BE49-F238E27FC236}">
                    <a16:creationId xmlns:a16="http://schemas.microsoft.com/office/drawing/2014/main" id="{CFDCABD1-DA43-4FAC-90AD-0870A9C3FB45}"/>
                  </a:ext>
                </a:extLst>
              </p:cNvPr>
              <p:cNvSpPr/>
              <p:nvPr/>
            </p:nvSpPr>
            <p:spPr>
              <a:xfrm>
                <a:off x="4424677" y="4608545"/>
                <a:ext cx="88036" cy="69017"/>
              </a:xfrm>
              <a:custGeom>
                <a:avLst/>
                <a:gdLst>
                  <a:gd name="connsiteX0" fmla="*/ 88036 w 88036"/>
                  <a:gd name="connsiteY0" fmla="*/ 2392 h 69017"/>
                  <a:gd name="connsiteX1" fmla="*/ 1854 w 88036"/>
                  <a:gd name="connsiteY1" fmla="*/ 69018 h 69017"/>
                  <a:gd name="connsiteX2" fmla="*/ 0 w 88036"/>
                  <a:gd name="connsiteY2" fmla="*/ 66565 h 69017"/>
                  <a:gd name="connsiteX3" fmla="*/ 86182 w 88036"/>
                  <a:gd name="connsiteY3" fmla="*/ 0 h 69017"/>
                </a:gdLst>
                <a:ahLst/>
                <a:cxnLst>
                  <a:cxn ang="0">
                    <a:pos x="connsiteX0" y="connsiteY0"/>
                  </a:cxn>
                  <a:cxn ang="0">
                    <a:pos x="connsiteX1" y="connsiteY1"/>
                  </a:cxn>
                  <a:cxn ang="0">
                    <a:pos x="connsiteX2" y="connsiteY2"/>
                  </a:cxn>
                  <a:cxn ang="0">
                    <a:pos x="connsiteX3" y="connsiteY3"/>
                  </a:cxn>
                </a:cxnLst>
                <a:rect l="l" t="t" r="r" b="b"/>
                <a:pathLst>
                  <a:path w="88036" h="69017">
                    <a:moveTo>
                      <a:pt x="88036" y="2392"/>
                    </a:moveTo>
                    <a:lnTo>
                      <a:pt x="1854" y="69018"/>
                    </a:lnTo>
                    <a:lnTo>
                      <a:pt x="0" y="66565"/>
                    </a:lnTo>
                    <a:lnTo>
                      <a:pt x="86182" y="0"/>
                    </a:lnTo>
                    <a:close/>
                  </a:path>
                </a:pathLst>
              </a:custGeom>
              <a:grpFill/>
              <a:ln w="5978" cap="flat">
                <a:noFill/>
                <a:prstDash val="solid"/>
                <a:miter/>
              </a:ln>
            </p:spPr>
            <p:txBody>
              <a:bodyPr rtlCol="0" anchor="ctr"/>
              <a:lstStyle/>
              <a:p>
                <a:endParaRPr lang="en-GB"/>
              </a:p>
            </p:txBody>
          </p:sp>
          <p:sp>
            <p:nvSpPr>
              <p:cNvPr id="1564" name="Vrije vorm: vorm 1563">
                <a:extLst>
                  <a:ext uri="{FF2B5EF4-FFF2-40B4-BE49-F238E27FC236}">
                    <a16:creationId xmlns:a16="http://schemas.microsoft.com/office/drawing/2014/main" id="{CE887F9F-849E-400B-BA22-28BDA80F7DA4}"/>
                  </a:ext>
                </a:extLst>
              </p:cNvPr>
              <p:cNvSpPr/>
              <p:nvPr/>
            </p:nvSpPr>
            <p:spPr>
              <a:xfrm>
                <a:off x="4416786" y="4666805"/>
                <a:ext cx="18328" cy="18465"/>
              </a:xfrm>
              <a:custGeom>
                <a:avLst/>
                <a:gdLst>
                  <a:gd name="connsiteX0" fmla="*/ 14769 w 18328"/>
                  <a:gd name="connsiteY0" fmla="*/ 16559 h 18465"/>
                  <a:gd name="connsiteX1" fmla="*/ 1910 w 18328"/>
                  <a:gd name="connsiteY1" fmla="*/ 14825 h 18465"/>
                  <a:gd name="connsiteX2" fmla="*/ 3585 w 18328"/>
                  <a:gd name="connsiteY2" fmla="*/ 1906 h 18465"/>
                  <a:gd name="connsiteX3" fmla="*/ 16444 w 18328"/>
                  <a:gd name="connsiteY3" fmla="*/ 3641 h 18465"/>
                  <a:gd name="connsiteX4" fmla="*/ 14769 w 18328"/>
                  <a:gd name="connsiteY4" fmla="*/ 16559 h 1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8" h="18465">
                    <a:moveTo>
                      <a:pt x="14769" y="16559"/>
                    </a:moveTo>
                    <a:cubicBezTo>
                      <a:pt x="10762" y="19669"/>
                      <a:pt x="5021" y="18891"/>
                      <a:pt x="1910" y="14825"/>
                    </a:cubicBezTo>
                    <a:cubicBezTo>
                      <a:pt x="-1200" y="10758"/>
                      <a:pt x="-422" y="5016"/>
                      <a:pt x="3585" y="1906"/>
                    </a:cubicBezTo>
                    <a:cubicBezTo>
                      <a:pt x="7592" y="-1204"/>
                      <a:pt x="13334" y="-426"/>
                      <a:pt x="16444" y="3641"/>
                    </a:cubicBezTo>
                    <a:cubicBezTo>
                      <a:pt x="19494" y="7707"/>
                      <a:pt x="18776" y="13509"/>
                      <a:pt x="14769" y="16559"/>
                    </a:cubicBezTo>
                    <a:close/>
                  </a:path>
                </a:pathLst>
              </a:custGeom>
              <a:grpFill/>
              <a:ln w="5978" cap="flat">
                <a:noFill/>
                <a:prstDash val="solid"/>
                <a:miter/>
              </a:ln>
            </p:spPr>
            <p:txBody>
              <a:bodyPr rtlCol="0" anchor="ctr"/>
              <a:lstStyle/>
              <a:p>
                <a:endParaRPr lang="en-GB"/>
              </a:p>
            </p:txBody>
          </p:sp>
          <p:sp>
            <p:nvSpPr>
              <p:cNvPr id="1565" name="Vrije vorm: vorm 1564">
                <a:extLst>
                  <a:ext uri="{FF2B5EF4-FFF2-40B4-BE49-F238E27FC236}">
                    <a16:creationId xmlns:a16="http://schemas.microsoft.com/office/drawing/2014/main" id="{96D38472-A82C-4F80-BA16-3292CF4690BA}"/>
                  </a:ext>
                </a:extLst>
              </p:cNvPr>
              <p:cNvSpPr/>
              <p:nvPr/>
            </p:nvSpPr>
            <p:spPr>
              <a:xfrm>
                <a:off x="4502276" y="4600803"/>
                <a:ext cx="18302" cy="18439"/>
              </a:xfrm>
              <a:custGeom>
                <a:avLst/>
                <a:gdLst>
                  <a:gd name="connsiteX0" fmla="*/ 14743 w 18302"/>
                  <a:gd name="connsiteY0" fmla="*/ 16534 h 18439"/>
                  <a:gd name="connsiteX1" fmla="*/ 16418 w 18302"/>
                  <a:gd name="connsiteY1" fmla="*/ 3615 h 18439"/>
                  <a:gd name="connsiteX2" fmla="*/ 3559 w 18302"/>
                  <a:gd name="connsiteY2" fmla="*/ 1881 h 18439"/>
                  <a:gd name="connsiteX3" fmla="*/ 1885 w 18302"/>
                  <a:gd name="connsiteY3" fmla="*/ 14799 h 18439"/>
                  <a:gd name="connsiteX4" fmla="*/ 14743 w 18302"/>
                  <a:gd name="connsiteY4" fmla="*/ 16534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39">
                    <a:moveTo>
                      <a:pt x="14743" y="16534"/>
                    </a:moveTo>
                    <a:cubicBezTo>
                      <a:pt x="18750" y="13423"/>
                      <a:pt x="19468" y="7682"/>
                      <a:pt x="16418" y="3615"/>
                    </a:cubicBezTo>
                    <a:cubicBezTo>
                      <a:pt x="13308" y="-452"/>
                      <a:pt x="7566" y="-1170"/>
                      <a:pt x="3559" y="1881"/>
                    </a:cubicBezTo>
                    <a:cubicBezTo>
                      <a:pt x="-448" y="4991"/>
                      <a:pt x="-1165" y="10732"/>
                      <a:pt x="1885" y="14799"/>
                    </a:cubicBezTo>
                    <a:cubicBezTo>
                      <a:pt x="4995" y="18866"/>
                      <a:pt x="10736" y="19643"/>
                      <a:pt x="14743" y="16534"/>
                    </a:cubicBezTo>
                    <a:close/>
                  </a:path>
                </a:pathLst>
              </a:custGeom>
              <a:grpFill/>
              <a:ln w="5978" cap="flat">
                <a:noFill/>
                <a:prstDash val="solid"/>
                <a:miter/>
              </a:ln>
            </p:spPr>
            <p:txBody>
              <a:bodyPr rtlCol="0" anchor="ctr"/>
              <a:lstStyle/>
              <a:p>
                <a:endParaRPr lang="en-GB"/>
              </a:p>
            </p:txBody>
          </p:sp>
        </p:grpSp>
        <p:grpSp>
          <p:nvGrpSpPr>
            <p:cNvPr id="1282" name="Graphic 3">
              <a:extLst>
                <a:ext uri="{FF2B5EF4-FFF2-40B4-BE49-F238E27FC236}">
                  <a16:creationId xmlns:a16="http://schemas.microsoft.com/office/drawing/2014/main" id="{8D88358D-1DD1-4748-945E-FD77ACC471DD}"/>
                </a:ext>
              </a:extLst>
            </p:cNvPr>
            <p:cNvGrpSpPr/>
            <p:nvPr/>
          </p:nvGrpSpPr>
          <p:grpSpPr>
            <a:xfrm>
              <a:off x="4135603" y="3728114"/>
              <a:ext cx="64446" cy="26332"/>
              <a:chOff x="4135603" y="3728114"/>
              <a:chExt cx="64446" cy="26332"/>
            </a:xfrm>
            <a:grpFill/>
          </p:grpSpPr>
          <p:sp>
            <p:nvSpPr>
              <p:cNvPr id="1560" name="Vrije vorm: vorm 1559">
                <a:extLst>
                  <a:ext uri="{FF2B5EF4-FFF2-40B4-BE49-F238E27FC236}">
                    <a16:creationId xmlns:a16="http://schemas.microsoft.com/office/drawing/2014/main" id="{42EB1BC7-A70F-464C-8F0A-36BE12F5EC91}"/>
                  </a:ext>
                </a:extLst>
              </p:cNvPr>
              <p:cNvSpPr/>
              <p:nvPr/>
            </p:nvSpPr>
            <p:spPr>
              <a:xfrm>
                <a:off x="4144062" y="3735778"/>
                <a:ext cx="47486" cy="11064"/>
              </a:xfrm>
              <a:custGeom>
                <a:avLst/>
                <a:gdLst>
                  <a:gd name="connsiteX0" fmla="*/ 46949 w 47486"/>
                  <a:gd name="connsiteY0" fmla="*/ 0 h 11064"/>
                  <a:gd name="connsiteX1" fmla="*/ 47487 w 47486"/>
                  <a:gd name="connsiteY1" fmla="*/ 2990 h 11064"/>
                  <a:gd name="connsiteX2" fmla="*/ 479 w 47486"/>
                  <a:gd name="connsiteY2" fmla="*/ 11064 h 11064"/>
                  <a:gd name="connsiteX3" fmla="*/ 0 w 47486"/>
                  <a:gd name="connsiteY3" fmla="*/ 8074 h 11064"/>
                </a:gdLst>
                <a:ahLst/>
                <a:cxnLst>
                  <a:cxn ang="0">
                    <a:pos x="connsiteX0" y="connsiteY0"/>
                  </a:cxn>
                  <a:cxn ang="0">
                    <a:pos x="connsiteX1" y="connsiteY1"/>
                  </a:cxn>
                  <a:cxn ang="0">
                    <a:pos x="connsiteX2" y="connsiteY2"/>
                  </a:cxn>
                  <a:cxn ang="0">
                    <a:pos x="connsiteX3" y="connsiteY3"/>
                  </a:cxn>
                </a:cxnLst>
                <a:rect l="l" t="t" r="r" b="b"/>
                <a:pathLst>
                  <a:path w="47486" h="11064">
                    <a:moveTo>
                      <a:pt x="46949" y="0"/>
                    </a:moveTo>
                    <a:lnTo>
                      <a:pt x="47487" y="2990"/>
                    </a:lnTo>
                    <a:lnTo>
                      <a:pt x="479" y="11064"/>
                    </a:lnTo>
                    <a:lnTo>
                      <a:pt x="0" y="8074"/>
                    </a:lnTo>
                    <a:close/>
                  </a:path>
                </a:pathLst>
              </a:custGeom>
              <a:grpFill/>
              <a:ln w="5978" cap="flat">
                <a:noFill/>
                <a:prstDash val="solid"/>
                <a:miter/>
              </a:ln>
            </p:spPr>
            <p:txBody>
              <a:bodyPr rtlCol="0" anchor="ctr"/>
              <a:lstStyle/>
              <a:p>
                <a:endParaRPr lang="en-GB"/>
              </a:p>
            </p:txBody>
          </p:sp>
          <p:sp>
            <p:nvSpPr>
              <p:cNvPr id="1561" name="Vrije vorm: vorm 1560">
                <a:extLst>
                  <a:ext uri="{FF2B5EF4-FFF2-40B4-BE49-F238E27FC236}">
                    <a16:creationId xmlns:a16="http://schemas.microsoft.com/office/drawing/2014/main" id="{7D824C09-8A87-43C6-B751-703F5C1C5AB7}"/>
                  </a:ext>
                </a:extLst>
              </p:cNvPr>
              <p:cNvSpPr/>
              <p:nvPr/>
            </p:nvSpPr>
            <p:spPr>
              <a:xfrm>
                <a:off x="4135603" y="3736009"/>
                <a:ext cx="18335" cy="18437"/>
              </a:xfrm>
              <a:custGeom>
                <a:avLst/>
                <a:gdLst>
                  <a:gd name="connsiteX0" fmla="*/ 10731 w 18335"/>
                  <a:gd name="connsiteY0" fmla="*/ 18310 h 18437"/>
                  <a:gd name="connsiteX1" fmla="*/ 145 w 18335"/>
                  <a:gd name="connsiteY1" fmla="*/ 10774 h 18437"/>
                  <a:gd name="connsiteX2" fmla="*/ 7621 w 18335"/>
                  <a:gd name="connsiteY2" fmla="*/ 128 h 18437"/>
                  <a:gd name="connsiteX3" fmla="*/ 18207 w 18335"/>
                  <a:gd name="connsiteY3" fmla="*/ 7664 h 18437"/>
                  <a:gd name="connsiteX4" fmla="*/ 10731 w 18335"/>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7">
                    <a:moveTo>
                      <a:pt x="10731" y="18310"/>
                    </a:moveTo>
                    <a:cubicBezTo>
                      <a:pt x="5767" y="19147"/>
                      <a:pt x="983" y="15798"/>
                      <a:pt x="145" y="10774"/>
                    </a:cubicBezTo>
                    <a:cubicBezTo>
                      <a:pt x="-752" y="5750"/>
                      <a:pt x="2597" y="1025"/>
                      <a:pt x="7621" y="128"/>
                    </a:cubicBezTo>
                    <a:cubicBezTo>
                      <a:pt x="12585" y="-709"/>
                      <a:pt x="17370" y="2640"/>
                      <a:pt x="18207" y="7664"/>
                    </a:cubicBezTo>
                    <a:cubicBezTo>
                      <a:pt x="19044" y="12688"/>
                      <a:pt x="15695" y="17472"/>
                      <a:pt x="10731" y="18310"/>
                    </a:cubicBezTo>
                    <a:close/>
                  </a:path>
                </a:pathLst>
              </a:custGeom>
              <a:grpFill/>
              <a:ln w="5978" cap="flat">
                <a:noFill/>
                <a:prstDash val="solid"/>
                <a:miter/>
              </a:ln>
            </p:spPr>
            <p:txBody>
              <a:bodyPr rtlCol="0" anchor="ctr"/>
              <a:lstStyle/>
              <a:p>
                <a:endParaRPr lang="en-GB"/>
              </a:p>
            </p:txBody>
          </p:sp>
          <p:sp>
            <p:nvSpPr>
              <p:cNvPr id="1562" name="Vrije vorm: vorm 1561">
                <a:extLst>
                  <a:ext uri="{FF2B5EF4-FFF2-40B4-BE49-F238E27FC236}">
                    <a16:creationId xmlns:a16="http://schemas.microsoft.com/office/drawing/2014/main" id="{4B857FE9-861C-486C-9EB9-3424EB68DE65}"/>
                  </a:ext>
                </a:extLst>
              </p:cNvPr>
              <p:cNvSpPr/>
              <p:nvPr/>
            </p:nvSpPr>
            <p:spPr>
              <a:xfrm>
                <a:off x="4181732" y="3728114"/>
                <a:ext cx="18318" cy="18437"/>
              </a:xfrm>
              <a:custGeom>
                <a:avLst/>
                <a:gdLst>
                  <a:gd name="connsiteX0" fmla="*/ 10714 w 18318"/>
                  <a:gd name="connsiteY0" fmla="*/ 18310 h 18437"/>
                  <a:gd name="connsiteX1" fmla="*/ 18190 w 18318"/>
                  <a:gd name="connsiteY1" fmla="*/ 7664 h 18437"/>
                  <a:gd name="connsiteX2" fmla="*/ 7604 w 18318"/>
                  <a:gd name="connsiteY2" fmla="*/ 128 h 18437"/>
                  <a:gd name="connsiteX3" fmla="*/ 128 w 18318"/>
                  <a:gd name="connsiteY3" fmla="*/ 10774 h 18437"/>
                  <a:gd name="connsiteX4" fmla="*/ 10714 w 18318"/>
                  <a:gd name="connsiteY4" fmla="*/ 18310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7">
                    <a:moveTo>
                      <a:pt x="10714" y="18310"/>
                    </a:moveTo>
                    <a:cubicBezTo>
                      <a:pt x="15678" y="17472"/>
                      <a:pt x="19027" y="12688"/>
                      <a:pt x="18190" y="7664"/>
                    </a:cubicBezTo>
                    <a:cubicBezTo>
                      <a:pt x="17293" y="2640"/>
                      <a:pt x="12568" y="-709"/>
                      <a:pt x="7604" y="128"/>
                    </a:cubicBezTo>
                    <a:cubicBezTo>
                      <a:pt x="2640" y="965"/>
                      <a:pt x="-709" y="5750"/>
                      <a:pt x="128" y="10774"/>
                    </a:cubicBezTo>
                    <a:cubicBezTo>
                      <a:pt x="965" y="15798"/>
                      <a:pt x="5690" y="19147"/>
                      <a:pt x="10714" y="18310"/>
                    </a:cubicBezTo>
                    <a:close/>
                  </a:path>
                </a:pathLst>
              </a:custGeom>
              <a:grpFill/>
              <a:ln w="5978" cap="flat">
                <a:noFill/>
                <a:prstDash val="solid"/>
                <a:miter/>
              </a:ln>
            </p:spPr>
            <p:txBody>
              <a:bodyPr rtlCol="0" anchor="ctr"/>
              <a:lstStyle/>
              <a:p>
                <a:endParaRPr lang="en-GB"/>
              </a:p>
            </p:txBody>
          </p:sp>
        </p:grpSp>
        <p:grpSp>
          <p:nvGrpSpPr>
            <p:cNvPr id="1283" name="Graphic 3">
              <a:extLst>
                <a:ext uri="{FF2B5EF4-FFF2-40B4-BE49-F238E27FC236}">
                  <a16:creationId xmlns:a16="http://schemas.microsoft.com/office/drawing/2014/main" id="{0AD31975-8904-466A-958C-25B8C26FE231}"/>
                </a:ext>
              </a:extLst>
            </p:cNvPr>
            <p:cNvGrpSpPr/>
            <p:nvPr/>
          </p:nvGrpSpPr>
          <p:grpSpPr>
            <a:xfrm>
              <a:off x="3906919" y="3046850"/>
              <a:ext cx="60957" cy="25614"/>
              <a:chOff x="3906919" y="3046850"/>
              <a:chExt cx="60957" cy="25614"/>
            </a:xfrm>
            <a:grpFill/>
          </p:grpSpPr>
          <p:sp>
            <p:nvSpPr>
              <p:cNvPr id="1557" name="Vrije vorm: vorm 1556">
                <a:extLst>
                  <a:ext uri="{FF2B5EF4-FFF2-40B4-BE49-F238E27FC236}">
                    <a16:creationId xmlns:a16="http://schemas.microsoft.com/office/drawing/2014/main" id="{29A48236-479C-4376-B43F-CF66B5517478}"/>
                  </a:ext>
                </a:extLst>
              </p:cNvPr>
              <p:cNvSpPr/>
              <p:nvPr/>
            </p:nvSpPr>
            <p:spPr>
              <a:xfrm>
                <a:off x="3915359" y="3054454"/>
                <a:ext cx="44018" cy="10346"/>
              </a:xfrm>
              <a:custGeom>
                <a:avLst/>
                <a:gdLst>
                  <a:gd name="connsiteX0" fmla="*/ 44018 w 44018"/>
                  <a:gd name="connsiteY0" fmla="*/ 7356 h 10346"/>
                  <a:gd name="connsiteX1" fmla="*/ 43539 w 44018"/>
                  <a:gd name="connsiteY1" fmla="*/ 10347 h 10346"/>
                  <a:gd name="connsiteX2" fmla="*/ 0 w 44018"/>
                  <a:gd name="connsiteY2" fmla="*/ 3050 h 10346"/>
                  <a:gd name="connsiteX3" fmla="*/ 478 w 44018"/>
                  <a:gd name="connsiteY3" fmla="*/ 0 h 10346"/>
                </a:gdLst>
                <a:ahLst/>
                <a:cxnLst>
                  <a:cxn ang="0">
                    <a:pos x="connsiteX0" y="connsiteY0"/>
                  </a:cxn>
                  <a:cxn ang="0">
                    <a:pos x="connsiteX1" y="connsiteY1"/>
                  </a:cxn>
                  <a:cxn ang="0">
                    <a:pos x="connsiteX2" y="connsiteY2"/>
                  </a:cxn>
                  <a:cxn ang="0">
                    <a:pos x="connsiteX3" y="connsiteY3"/>
                  </a:cxn>
                </a:cxnLst>
                <a:rect l="l" t="t" r="r" b="b"/>
                <a:pathLst>
                  <a:path w="44018" h="10346">
                    <a:moveTo>
                      <a:pt x="44018" y="7356"/>
                    </a:moveTo>
                    <a:lnTo>
                      <a:pt x="43539" y="10347"/>
                    </a:lnTo>
                    <a:lnTo>
                      <a:pt x="0" y="3050"/>
                    </a:lnTo>
                    <a:lnTo>
                      <a:pt x="478" y="0"/>
                    </a:lnTo>
                    <a:close/>
                  </a:path>
                </a:pathLst>
              </a:custGeom>
              <a:grpFill/>
              <a:ln w="5978" cap="flat">
                <a:noFill/>
                <a:prstDash val="solid"/>
                <a:miter/>
              </a:ln>
            </p:spPr>
            <p:txBody>
              <a:bodyPr rtlCol="0" anchor="ctr"/>
              <a:lstStyle/>
              <a:p>
                <a:endParaRPr lang="en-GB"/>
              </a:p>
            </p:txBody>
          </p:sp>
          <p:sp>
            <p:nvSpPr>
              <p:cNvPr id="1558" name="Vrije vorm: vorm 1557">
                <a:extLst>
                  <a:ext uri="{FF2B5EF4-FFF2-40B4-BE49-F238E27FC236}">
                    <a16:creationId xmlns:a16="http://schemas.microsoft.com/office/drawing/2014/main" id="{E4A9B04D-06EC-4E54-A6F8-048074C466FA}"/>
                  </a:ext>
                </a:extLst>
              </p:cNvPr>
              <p:cNvSpPr/>
              <p:nvPr/>
            </p:nvSpPr>
            <p:spPr>
              <a:xfrm>
                <a:off x="3906919" y="3046850"/>
                <a:ext cx="18316" cy="18393"/>
              </a:xfrm>
              <a:custGeom>
                <a:avLst/>
                <a:gdLst>
                  <a:gd name="connsiteX0" fmla="*/ 7662 w 18316"/>
                  <a:gd name="connsiteY0" fmla="*/ 18250 h 18393"/>
                  <a:gd name="connsiteX1" fmla="*/ 127 w 18316"/>
                  <a:gd name="connsiteY1" fmla="*/ 7664 h 18393"/>
                  <a:gd name="connsiteX2" fmla="*/ 10653 w 18316"/>
                  <a:gd name="connsiteY2" fmla="*/ 128 h 18393"/>
                  <a:gd name="connsiteX3" fmla="*/ 18188 w 18316"/>
                  <a:gd name="connsiteY3" fmla="*/ 10714 h 18393"/>
                  <a:gd name="connsiteX4" fmla="*/ 7662 w 18316"/>
                  <a:gd name="connsiteY4" fmla="*/ 1825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93">
                    <a:moveTo>
                      <a:pt x="7662" y="18250"/>
                    </a:moveTo>
                    <a:cubicBezTo>
                      <a:pt x="2698" y="17412"/>
                      <a:pt x="-711" y="12628"/>
                      <a:pt x="127" y="7664"/>
                    </a:cubicBezTo>
                    <a:cubicBezTo>
                      <a:pt x="964" y="2640"/>
                      <a:pt x="5629" y="-709"/>
                      <a:pt x="10653" y="128"/>
                    </a:cubicBezTo>
                    <a:cubicBezTo>
                      <a:pt x="15676" y="965"/>
                      <a:pt x="19025" y="5750"/>
                      <a:pt x="18188" y="10714"/>
                    </a:cubicBezTo>
                    <a:cubicBezTo>
                      <a:pt x="17351" y="15738"/>
                      <a:pt x="12626" y="19147"/>
                      <a:pt x="7662" y="18250"/>
                    </a:cubicBezTo>
                    <a:close/>
                  </a:path>
                </a:pathLst>
              </a:custGeom>
              <a:grpFill/>
              <a:ln w="5978" cap="flat">
                <a:noFill/>
                <a:prstDash val="solid"/>
                <a:miter/>
              </a:ln>
            </p:spPr>
            <p:txBody>
              <a:bodyPr rtlCol="0" anchor="ctr"/>
              <a:lstStyle/>
              <a:p>
                <a:endParaRPr lang="en-GB"/>
              </a:p>
            </p:txBody>
          </p:sp>
          <p:sp>
            <p:nvSpPr>
              <p:cNvPr id="1559" name="Vrije vorm: vorm 1558">
                <a:extLst>
                  <a:ext uri="{FF2B5EF4-FFF2-40B4-BE49-F238E27FC236}">
                    <a16:creationId xmlns:a16="http://schemas.microsoft.com/office/drawing/2014/main" id="{32220EDA-6EC7-41EA-9CDA-94AD3B7FF325}"/>
                  </a:ext>
                </a:extLst>
              </p:cNvPr>
              <p:cNvSpPr/>
              <p:nvPr/>
            </p:nvSpPr>
            <p:spPr>
              <a:xfrm>
                <a:off x="3949560" y="3054087"/>
                <a:ext cx="18316" cy="18378"/>
              </a:xfrm>
              <a:custGeom>
                <a:avLst/>
                <a:gdLst>
                  <a:gd name="connsiteX0" fmla="*/ 7664 w 18316"/>
                  <a:gd name="connsiteY0" fmla="*/ 18250 h 18378"/>
                  <a:gd name="connsiteX1" fmla="*/ 18190 w 18316"/>
                  <a:gd name="connsiteY1" fmla="*/ 10714 h 18378"/>
                  <a:gd name="connsiteX2" fmla="*/ 10654 w 18316"/>
                  <a:gd name="connsiteY2" fmla="*/ 128 h 18378"/>
                  <a:gd name="connsiteX3" fmla="*/ 128 w 18316"/>
                  <a:gd name="connsiteY3" fmla="*/ 7664 h 18378"/>
                  <a:gd name="connsiteX4" fmla="*/ 7664 w 18316"/>
                  <a:gd name="connsiteY4" fmla="*/ 18250 h 18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378">
                    <a:moveTo>
                      <a:pt x="7664" y="18250"/>
                    </a:moveTo>
                    <a:cubicBezTo>
                      <a:pt x="12688" y="19087"/>
                      <a:pt x="17353" y="15738"/>
                      <a:pt x="18190" y="10714"/>
                    </a:cubicBezTo>
                    <a:cubicBezTo>
                      <a:pt x="19027" y="5690"/>
                      <a:pt x="15618" y="966"/>
                      <a:pt x="10654" y="128"/>
                    </a:cubicBezTo>
                    <a:cubicBezTo>
                      <a:pt x="5690" y="-709"/>
                      <a:pt x="966" y="2640"/>
                      <a:pt x="128" y="7664"/>
                    </a:cubicBezTo>
                    <a:cubicBezTo>
                      <a:pt x="-709" y="12628"/>
                      <a:pt x="2640" y="17413"/>
                      <a:pt x="7664" y="18250"/>
                    </a:cubicBezTo>
                    <a:close/>
                  </a:path>
                </a:pathLst>
              </a:custGeom>
              <a:grpFill/>
              <a:ln w="5978" cap="flat">
                <a:noFill/>
                <a:prstDash val="solid"/>
                <a:miter/>
              </a:ln>
            </p:spPr>
            <p:txBody>
              <a:bodyPr rtlCol="0" anchor="ctr"/>
              <a:lstStyle/>
              <a:p>
                <a:endParaRPr lang="en-GB"/>
              </a:p>
            </p:txBody>
          </p:sp>
        </p:grpSp>
        <p:grpSp>
          <p:nvGrpSpPr>
            <p:cNvPr id="1284" name="Graphic 3">
              <a:extLst>
                <a:ext uri="{FF2B5EF4-FFF2-40B4-BE49-F238E27FC236}">
                  <a16:creationId xmlns:a16="http://schemas.microsoft.com/office/drawing/2014/main" id="{68F48D6B-9820-407F-8A99-F46215C821EA}"/>
                </a:ext>
              </a:extLst>
            </p:cNvPr>
            <p:cNvGrpSpPr/>
            <p:nvPr/>
          </p:nvGrpSpPr>
          <p:grpSpPr>
            <a:xfrm>
              <a:off x="3939427" y="3092757"/>
              <a:ext cx="32589" cy="20522"/>
              <a:chOff x="3939427" y="3092757"/>
              <a:chExt cx="32589" cy="20522"/>
            </a:xfrm>
            <a:grpFill/>
          </p:grpSpPr>
          <p:sp>
            <p:nvSpPr>
              <p:cNvPr id="1555" name="Vrije vorm: vorm 1554">
                <a:extLst>
                  <a:ext uri="{FF2B5EF4-FFF2-40B4-BE49-F238E27FC236}">
                    <a16:creationId xmlns:a16="http://schemas.microsoft.com/office/drawing/2014/main" id="{2D3F5A97-7471-469A-AE22-D3EDCB996C7F}"/>
                  </a:ext>
                </a:extLst>
              </p:cNvPr>
              <p:cNvSpPr/>
              <p:nvPr/>
            </p:nvSpPr>
            <p:spPr>
              <a:xfrm>
                <a:off x="3939427" y="3092757"/>
                <a:ext cx="18309" cy="18429"/>
              </a:xfrm>
              <a:custGeom>
                <a:avLst/>
                <a:gdLst>
                  <a:gd name="connsiteX0" fmla="*/ 10441 w 18309"/>
                  <a:gd name="connsiteY0" fmla="*/ 94 h 18429"/>
                  <a:gd name="connsiteX1" fmla="*/ 18216 w 18309"/>
                  <a:gd name="connsiteY1" fmla="*/ 10560 h 18429"/>
                  <a:gd name="connsiteX2" fmla="*/ 7869 w 18309"/>
                  <a:gd name="connsiteY2" fmla="*/ 18335 h 18429"/>
                  <a:gd name="connsiteX3" fmla="*/ 94 w 18309"/>
                  <a:gd name="connsiteY3" fmla="*/ 7869 h 18429"/>
                  <a:gd name="connsiteX4" fmla="*/ 10441 w 18309"/>
                  <a:gd name="connsiteY4" fmla="*/ 9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9">
                    <a:moveTo>
                      <a:pt x="10441" y="94"/>
                    </a:moveTo>
                    <a:cubicBezTo>
                      <a:pt x="15464" y="812"/>
                      <a:pt x="18933" y="5536"/>
                      <a:pt x="18216" y="10560"/>
                    </a:cubicBezTo>
                    <a:cubicBezTo>
                      <a:pt x="17498" y="15584"/>
                      <a:pt x="12833" y="19053"/>
                      <a:pt x="7869" y="18335"/>
                    </a:cubicBezTo>
                    <a:cubicBezTo>
                      <a:pt x="2845" y="17618"/>
                      <a:pt x="-624" y="12893"/>
                      <a:pt x="94" y="7869"/>
                    </a:cubicBezTo>
                    <a:cubicBezTo>
                      <a:pt x="812" y="2845"/>
                      <a:pt x="5477" y="-624"/>
                      <a:pt x="10441" y="94"/>
                    </a:cubicBezTo>
                    <a:close/>
                  </a:path>
                </a:pathLst>
              </a:custGeom>
              <a:grpFill/>
              <a:ln w="5978" cap="flat">
                <a:noFill/>
                <a:prstDash val="solid"/>
                <a:miter/>
              </a:ln>
            </p:spPr>
            <p:txBody>
              <a:bodyPr rtlCol="0" anchor="ctr"/>
              <a:lstStyle/>
              <a:p>
                <a:endParaRPr lang="en-GB"/>
              </a:p>
            </p:txBody>
          </p:sp>
          <p:sp>
            <p:nvSpPr>
              <p:cNvPr id="1556" name="Vrije vorm: vorm 1555">
                <a:extLst>
                  <a:ext uri="{FF2B5EF4-FFF2-40B4-BE49-F238E27FC236}">
                    <a16:creationId xmlns:a16="http://schemas.microsoft.com/office/drawing/2014/main" id="{8255004E-6D3F-41EF-84B5-DA1DF7A341E1}"/>
                  </a:ext>
                </a:extLst>
              </p:cNvPr>
              <p:cNvSpPr/>
              <p:nvPr/>
            </p:nvSpPr>
            <p:spPr>
              <a:xfrm>
                <a:off x="3953661" y="3094850"/>
                <a:ext cx="18355" cy="18429"/>
              </a:xfrm>
              <a:custGeom>
                <a:avLst/>
                <a:gdLst>
                  <a:gd name="connsiteX0" fmla="*/ 10500 w 18355"/>
                  <a:gd name="connsiteY0" fmla="*/ 94 h 18429"/>
                  <a:gd name="connsiteX1" fmla="*/ 94 w 18355"/>
                  <a:gd name="connsiteY1" fmla="*/ 7869 h 18429"/>
                  <a:gd name="connsiteX2" fmla="*/ 7869 w 18355"/>
                  <a:gd name="connsiteY2" fmla="*/ 18335 h 18429"/>
                  <a:gd name="connsiteX3" fmla="*/ 18275 w 18355"/>
                  <a:gd name="connsiteY3" fmla="*/ 10560 h 18429"/>
                  <a:gd name="connsiteX4" fmla="*/ 10500 w 18355"/>
                  <a:gd name="connsiteY4" fmla="*/ 9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5" h="18429">
                    <a:moveTo>
                      <a:pt x="10500" y="94"/>
                    </a:moveTo>
                    <a:cubicBezTo>
                      <a:pt x="5477" y="-624"/>
                      <a:pt x="872" y="2845"/>
                      <a:pt x="94" y="7869"/>
                    </a:cubicBezTo>
                    <a:cubicBezTo>
                      <a:pt x="-624" y="12893"/>
                      <a:pt x="2845" y="17558"/>
                      <a:pt x="7869" y="18335"/>
                    </a:cubicBezTo>
                    <a:cubicBezTo>
                      <a:pt x="12893" y="19053"/>
                      <a:pt x="17498" y="15584"/>
                      <a:pt x="18275" y="10560"/>
                    </a:cubicBezTo>
                    <a:cubicBezTo>
                      <a:pt x="18933" y="5536"/>
                      <a:pt x="15464" y="872"/>
                      <a:pt x="10500" y="94"/>
                    </a:cubicBezTo>
                    <a:close/>
                  </a:path>
                </a:pathLst>
              </a:custGeom>
              <a:grpFill/>
              <a:ln w="5978" cap="flat">
                <a:noFill/>
                <a:prstDash val="solid"/>
                <a:miter/>
              </a:ln>
            </p:spPr>
            <p:txBody>
              <a:bodyPr rtlCol="0" anchor="ctr"/>
              <a:lstStyle/>
              <a:p>
                <a:endParaRPr lang="en-GB"/>
              </a:p>
            </p:txBody>
          </p:sp>
        </p:grpSp>
        <p:grpSp>
          <p:nvGrpSpPr>
            <p:cNvPr id="1285" name="Graphic 3">
              <a:extLst>
                <a:ext uri="{FF2B5EF4-FFF2-40B4-BE49-F238E27FC236}">
                  <a16:creationId xmlns:a16="http://schemas.microsoft.com/office/drawing/2014/main" id="{A5DFE19C-7B55-41F9-847C-76079CD68526}"/>
                </a:ext>
              </a:extLst>
            </p:cNvPr>
            <p:cNvGrpSpPr/>
            <p:nvPr/>
          </p:nvGrpSpPr>
          <p:grpSpPr>
            <a:xfrm>
              <a:off x="4161896" y="3763798"/>
              <a:ext cx="40406" cy="22682"/>
              <a:chOff x="4161896" y="3763798"/>
              <a:chExt cx="40406" cy="22682"/>
            </a:xfrm>
            <a:grpFill/>
          </p:grpSpPr>
          <p:sp>
            <p:nvSpPr>
              <p:cNvPr id="1552" name="Vrije vorm: vorm 1551">
                <a:extLst>
                  <a:ext uri="{FF2B5EF4-FFF2-40B4-BE49-F238E27FC236}">
                    <a16:creationId xmlns:a16="http://schemas.microsoft.com/office/drawing/2014/main" id="{08C78346-10D5-47E6-B3D3-1A7B37572979}"/>
                  </a:ext>
                </a:extLst>
              </p:cNvPr>
              <p:cNvSpPr/>
              <p:nvPr/>
            </p:nvSpPr>
            <p:spPr>
              <a:xfrm>
                <a:off x="4170377" y="3771423"/>
                <a:ext cx="23504" cy="7416"/>
              </a:xfrm>
              <a:custGeom>
                <a:avLst/>
                <a:gdLst>
                  <a:gd name="connsiteX0" fmla="*/ 22906 w 23504"/>
                  <a:gd name="connsiteY0" fmla="*/ 0 h 7416"/>
                  <a:gd name="connsiteX1" fmla="*/ 23505 w 23504"/>
                  <a:gd name="connsiteY1" fmla="*/ 3050 h 7416"/>
                  <a:gd name="connsiteX2" fmla="*/ 598 w 23504"/>
                  <a:gd name="connsiteY2" fmla="*/ 7416 h 7416"/>
                  <a:gd name="connsiteX3" fmla="*/ 0 w 23504"/>
                  <a:gd name="connsiteY3" fmla="*/ 4426 h 7416"/>
                </a:gdLst>
                <a:ahLst/>
                <a:cxnLst>
                  <a:cxn ang="0">
                    <a:pos x="connsiteX0" y="connsiteY0"/>
                  </a:cxn>
                  <a:cxn ang="0">
                    <a:pos x="connsiteX1" y="connsiteY1"/>
                  </a:cxn>
                  <a:cxn ang="0">
                    <a:pos x="connsiteX2" y="connsiteY2"/>
                  </a:cxn>
                  <a:cxn ang="0">
                    <a:pos x="connsiteX3" y="connsiteY3"/>
                  </a:cxn>
                </a:cxnLst>
                <a:rect l="l" t="t" r="r" b="b"/>
                <a:pathLst>
                  <a:path w="23504" h="7416">
                    <a:moveTo>
                      <a:pt x="22906" y="0"/>
                    </a:moveTo>
                    <a:lnTo>
                      <a:pt x="23505" y="3050"/>
                    </a:lnTo>
                    <a:lnTo>
                      <a:pt x="598" y="7416"/>
                    </a:lnTo>
                    <a:lnTo>
                      <a:pt x="0" y="4426"/>
                    </a:lnTo>
                    <a:close/>
                  </a:path>
                </a:pathLst>
              </a:custGeom>
              <a:grpFill/>
              <a:ln w="5978" cap="flat">
                <a:noFill/>
                <a:prstDash val="solid"/>
                <a:miter/>
              </a:ln>
            </p:spPr>
            <p:txBody>
              <a:bodyPr rtlCol="0" anchor="ctr"/>
              <a:lstStyle/>
              <a:p>
                <a:endParaRPr lang="en-GB"/>
              </a:p>
            </p:txBody>
          </p:sp>
          <p:sp>
            <p:nvSpPr>
              <p:cNvPr id="1553" name="Vrije vorm: vorm 1552">
                <a:extLst>
                  <a:ext uri="{FF2B5EF4-FFF2-40B4-BE49-F238E27FC236}">
                    <a16:creationId xmlns:a16="http://schemas.microsoft.com/office/drawing/2014/main" id="{74BA2835-268D-4551-B8AD-624160B49EF0}"/>
                  </a:ext>
                </a:extLst>
              </p:cNvPr>
              <p:cNvSpPr/>
              <p:nvPr/>
            </p:nvSpPr>
            <p:spPr>
              <a:xfrm>
                <a:off x="4161896" y="3768028"/>
                <a:ext cx="18339" cy="18452"/>
              </a:xfrm>
              <a:custGeom>
                <a:avLst/>
                <a:gdLst>
                  <a:gd name="connsiteX0" fmla="*/ 10933 w 18339"/>
                  <a:gd name="connsiteY0" fmla="*/ 18287 h 18452"/>
                  <a:gd name="connsiteX1" fmla="*/ 168 w 18339"/>
                  <a:gd name="connsiteY1" fmla="*/ 10931 h 18452"/>
                  <a:gd name="connsiteX2" fmla="*/ 7404 w 18339"/>
                  <a:gd name="connsiteY2" fmla="*/ 166 h 18452"/>
                  <a:gd name="connsiteX3" fmla="*/ 18170 w 18339"/>
                  <a:gd name="connsiteY3" fmla="*/ 7522 h 18452"/>
                  <a:gd name="connsiteX4" fmla="*/ 10933 w 18339"/>
                  <a:gd name="connsiteY4" fmla="*/ 1828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9" h="18452">
                    <a:moveTo>
                      <a:pt x="10933" y="18287"/>
                    </a:moveTo>
                    <a:cubicBezTo>
                      <a:pt x="5969" y="19244"/>
                      <a:pt x="1125" y="15955"/>
                      <a:pt x="168" y="10931"/>
                    </a:cubicBezTo>
                    <a:cubicBezTo>
                      <a:pt x="-789" y="5907"/>
                      <a:pt x="2441" y="1122"/>
                      <a:pt x="7404" y="166"/>
                    </a:cubicBezTo>
                    <a:cubicBezTo>
                      <a:pt x="12368" y="-791"/>
                      <a:pt x="17213" y="2498"/>
                      <a:pt x="18170" y="7522"/>
                    </a:cubicBezTo>
                    <a:cubicBezTo>
                      <a:pt x="19127" y="12546"/>
                      <a:pt x="15957" y="17330"/>
                      <a:pt x="10933" y="18287"/>
                    </a:cubicBezTo>
                    <a:close/>
                  </a:path>
                </a:pathLst>
              </a:custGeom>
              <a:grpFill/>
              <a:ln w="5978" cap="flat">
                <a:noFill/>
                <a:prstDash val="solid"/>
                <a:miter/>
              </a:ln>
            </p:spPr>
            <p:txBody>
              <a:bodyPr rtlCol="0" anchor="ctr"/>
              <a:lstStyle/>
              <a:p>
                <a:endParaRPr lang="en-GB"/>
              </a:p>
            </p:txBody>
          </p:sp>
          <p:sp>
            <p:nvSpPr>
              <p:cNvPr id="1554" name="Vrije vorm: vorm 1553">
                <a:extLst>
                  <a:ext uri="{FF2B5EF4-FFF2-40B4-BE49-F238E27FC236}">
                    <a16:creationId xmlns:a16="http://schemas.microsoft.com/office/drawing/2014/main" id="{BAFBE64A-2D45-47A4-AC9A-B0814496D984}"/>
                  </a:ext>
                </a:extLst>
              </p:cNvPr>
              <p:cNvSpPr/>
              <p:nvPr/>
            </p:nvSpPr>
            <p:spPr>
              <a:xfrm>
                <a:off x="4183965" y="3763798"/>
                <a:ext cx="18337" cy="18436"/>
              </a:xfrm>
              <a:custGeom>
                <a:avLst/>
                <a:gdLst>
                  <a:gd name="connsiteX0" fmla="*/ 10933 w 18337"/>
                  <a:gd name="connsiteY0" fmla="*/ 18271 h 18436"/>
                  <a:gd name="connsiteX1" fmla="*/ 18170 w 18337"/>
                  <a:gd name="connsiteY1" fmla="*/ 7506 h 18436"/>
                  <a:gd name="connsiteX2" fmla="*/ 7404 w 18337"/>
                  <a:gd name="connsiteY2" fmla="*/ 149 h 18436"/>
                  <a:gd name="connsiteX3" fmla="*/ 168 w 18337"/>
                  <a:gd name="connsiteY3" fmla="*/ 10915 h 18436"/>
                  <a:gd name="connsiteX4" fmla="*/ 10933 w 18337"/>
                  <a:gd name="connsiteY4" fmla="*/ 18271 h 18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7" h="18436">
                    <a:moveTo>
                      <a:pt x="10933" y="18271"/>
                    </a:moveTo>
                    <a:cubicBezTo>
                      <a:pt x="15897" y="17314"/>
                      <a:pt x="19127" y="12470"/>
                      <a:pt x="18170" y="7506"/>
                    </a:cubicBezTo>
                    <a:cubicBezTo>
                      <a:pt x="17213" y="2482"/>
                      <a:pt x="12368" y="-748"/>
                      <a:pt x="7404" y="149"/>
                    </a:cubicBezTo>
                    <a:cubicBezTo>
                      <a:pt x="2441" y="1106"/>
                      <a:pt x="-789" y="5951"/>
                      <a:pt x="168" y="10915"/>
                    </a:cubicBezTo>
                    <a:cubicBezTo>
                      <a:pt x="1125" y="15938"/>
                      <a:pt x="5969" y="19228"/>
                      <a:pt x="10933" y="18271"/>
                    </a:cubicBezTo>
                    <a:close/>
                  </a:path>
                </a:pathLst>
              </a:custGeom>
              <a:grpFill/>
              <a:ln w="5978" cap="flat">
                <a:noFill/>
                <a:prstDash val="solid"/>
                <a:miter/>
              </a:ln>
            </p:spPr>
            <p:txBody>
              <a:bodyPr rtlCol="0" anchor="ctr"/>
              <a:lstStyle/>
              <a:p>
                <a:endParaRPr lang="en-GB"/>
              </a:p>
            </p:txBody>
          </p:sp>
        </p:grpSp>
        <p:grpSp>
          <p:nvGrpSpPr>
            <p:cNvPr id="1286" name="Graphic 3">
              <a:extLst>
                <a:ext uri="{FF2B5EF4-FFF2-40B4-BE49-F238E27FC236}">
                  <a16:creationId xmlns:a16="http://schemas.microsoft.com/office/drawing/2014/main" id="{9DCA356A-39A8-419C-A3AE-783D18BD6481}"/>
                </a:ext>
              </a:extLst>
            </p:cNvPr>
            <p:cNvGrpSpPr/>
            <p:nvPr/>
          </p:nvGrpSpPr>
          <p:grpSpPr>
            <a:xfrm>
              <a:off x="4185118" y="3799923"/>
              <a:ext cx="18421" cy="18416"/>
              <a:chOff x="4185118" y="3799923"/>
              <a:chExt cx="18421" cy="18416"/>
            </a:xfrm>
            <a:grpFill/>
          </p:grpSpPr>
          <p:sp>
            <p:nvSpPr>
              <p:cNvPr id="1549" name="Vrije vorm: vorm 1548">
                <a:extLst>
                  <a:ext uri="{FF2B5EF4-FFF2-40B4-BE49-F238E27FC236}">
                    <a16:creationId xmlns:a16="http://schemas.microsoft.com/office/drawing/2014/main" id="{9C5518EC-5809-4705-9623-021963F200F4}"/>
                  </a:ext>
                </a:extLst>
              </p:cNvPr>
              <p:cNvSpPr/>
              <p:nvPr/>
            </p:nvSpPr>
            <p:spPr>
              <a:xfrm>
                <a:off x="4193582" y="3807547"/>
                <a:ext cx="1555" cy="3169"/>
              </a:xfrm>
              <a:custGeom>
                <a:avLst/>
                <a:gdLst>
                  <a:gd name="connsiteX0" fmla="*/ 897 w 1555"/>
                  <a:gd name="connsiteY0" fmla="*/ 0 h 3169"/>
                  <a:gd name="connsiteX1" fmla="*/ 1555 w 1555"/>
                  <a:gd name="connsiteY1" fmla="*/ 2990 h 3169"/>
                  <a:gd name="connsiteX2" fmla="*/ 598 w 1555"/>
                  <a:gd name="connsiteY2" fmla="*/ 3170 h 3169"/>
                  <a:gd name="connsiteX3" fmla="*/ 0 w 1555"/>
                  <a:gd name="connsiteY3" fmla="*/ 180 h 3169"/>
                </a:gdLst>
                <a:ahLst/>
                <a:cxnLst>
                  <a:cxn ang="0">
                    <a:pos x="connsiteX0" y="connsiteY0"/>
                  </a:cxn>
                  <a:cxn ang="0">
                    <a:pos x="connsiteX1" y="connsiteY1"/>
                  </a:cxn>
                  <a:cxn ang="0">
                    <a:pos x="connsiteX2" y="connsiteY2"/>
                  </a:cxn>
                  <a:cxn ang="0">
                    <a:pos x="connsiteX3" y="connsiteY3"/>
                  </a:cxn>
                </a:cxnLst>
                <a:rect l="l" t="t" r="r" b="b"/>
                <a:pathLst>
                  <a:path w="1555" h="3169">
                    <a:moveTo>
                      <a:pt x="897" y="0"/>
                    </a:moveTo>
                    <a:lnTo>
                      <a:pt x="1555" y="2990"/>
                    </a:lnTo>
                    <a:lnTo>
                      <a:pt x="598" y="3170"/>
                    </a:lnTo>
                    <a:lnTo>
                      <a:pt x="0" y="180"/>
                    </a:lnTo>
                    <a:close/>
                  </a:path>
                </a:pathLst>
              </a:custGeom>
              <a:grpFill/>
              <a:ln w="5978" cap="flat">
                <a:noFill/>
                <a:prstDash val="solid"/>
                <a:miter/>
              </a:ln>
            </p:spPr>
            <p:txBody>
              <a:bodyPr rtlCol="0" anchor="ctr"/>
              <a:lstStyle/>
              <a:p>
                <a:endParaRPr lang="en-GB"/>
              </a:p>
            </p:txBody>
          </p:sp>
          <p:sp>
            <p:nvSpPr>
              <p:cNvPr id="1550" name="Vrije vorm: vorm 1549">
                <a:extLst>
                  <a:ext uri="{FF2B5EF4-FFF2-40B4-BE49-F238E27FC236}">
                    <a16:creationId xmlns:a16="http://schemas.microsoft.com/office/drawing/2014/main" id="{B53A47B2-0F6E-4046-81CA-623F61A02A40}"/>
                  </a:ext>
                </a:extLst>
              </p:cNvPr>
              <p:cNvSpPr/>
              <p:nvPr/>
            </p:nvSpPr>
            <p:spPr>
              <a:xfrm>
                <a:off x="4185199" y="3799941"/>
                <a:ext cx="18341" cy="18381"/>
              </a:xfrm>
              <a:custGeom>
                <a:avLst/>
                <a:gdLst>
                  <a:gd name="connsiteX0" fmla="*/ 7247 w 18341"/>
                  <a:gd name="connsiteY0" fmla="*/ 190 h 18381"/>
                  <a:gd name="connsiteX1" fmla="*/ 18132 w 18341"/>
                  <a:gd name="connsiteY1" fmla="*/ 7307 h 18381"/>
                  <a:gd name="connsiteX2" fmla="*/ 11075 w 18341"/>
                  <a:gd name="connsiteY2" fmla="*/ 18192 h 18381"/>
                  <a:gd name="connsiteX3" fmla="*/ 190 w 18341"/>
                  <a:gd name="connsiteY3" fmla="*/ 11075 h 18381"/>
                  <a:gd name="connsiteX4" fmla="*/ 7247 w 18341"/>
                  <a:gd name="connsiteY4" fmla="*/ 190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81">
                    <a:moveTo>
                      <a:pt x="7247" y="190"/>
                    </a:moveTo>
                    <a:cubicBezTo>
                      <a:pt x="12211" y="-827"/>
                      <a:pt x="17055" y="2343"/>
                      <a:pt x="18132" y="7307"/>
                    </a:cubicBezTo>
                    <a:cubicBezTo>
                      <a:pt x="19208" y="12271"/>
                      <a:pt x="16039" y="17175"/>
                      <a:pt x="11075" y="18192"/>
                    </a:cubicBezTo>
                    <a:cubicBezTo>
                      <a:pt x="6111" y="19208"/>
                      <a:pt x="1266" y="16039"/>
                      <a:pt x="190" y="11075"/>
                    </a:cubicBezTo>
                    <a:cubicBezTo>
                      <a:pt x="-827" y="6111"/>
                      <a:pt x="2343" y="1206"/>
                      <a:pt x="7247" y="190"/>
                    </a:cubicBezTo>
                    <a:close/>
                  </a:path>
                </a:pathLst>
              </a:custGeom>
              <a:grpFill/>
              <a:ln w="5978" cap="flat">
                <a:noFill/>
                <a:prstDash val="solid"/>
                <a:miter/>
              </a:ln>
            </p:spPr>
            <p:txBody>
              <a:bodyPr rtlCol="0" anchor="ctr"/>
              <a:lstStyle/>
              <a:p>
                <a:endParaRPr lang="en-GB"/>
              </a:p>
            </p:txBody>
          </p:sp>
          <p:sp>
            <p:nvSpPr>
              <p:cNvPr id="1551" name="Vrije vorm: vorm 1550">
                <a:extLst>
                  <a:ext uri="{FF2B5EF4-FFF2-40B4-BE49-F238E27FC236}">
                    <a16:creationId xmlns:a16="http://schemas.microsoft.com/office/drawing/2014/main" id="{D6675653-EF21-4F6F-8529-3A0BEEED5F48}"/>
                  </a:ext>
                </a:extLst>
              </p:cNvPr>
              <p:cNvSpPr/>
              <p:nvPr/>
            </p:nvSpPr>
            <p:spPr>
              <a:xfrm>
                <a:off x="4185118" y="3799923"/>
                <a:ext cx="18362" cy="18416"/>
              </a:xfrm>
              <a:custGeom>
                <a:avLst/>
                <a:gdLst>
                  <a:gd name="connsiteX0" fmla="*/ 7268 w 18362"/>
                  <a:gd name="connsiteY0" fmla="*/ 207 h 18416"/>
                  <a:gd name="connsiteX1" fmla="*/ 210 w 18362"/>
                  <a:gd name="connsiteY1" fmla="*/ 11092 h 18416"/>
                  <a:gd name="connsiteX2" fmla="*/ 11095 w 18362"/>
                  <a:gd name="connsiteY2" fmla="*/ 18209 h 18416"/>
                  <a:gd name="connsiteX3" fmla="*/ 18152 w 18362"/>
                  <a:gd name="connsiteY3" fmla="*/ 7324 h 18416"/>
                  <a:gd name="connsiteX4" fmla="*/ 7268 w 18362"/>
                  <a:gd name="connsiteY4" fmla="*/ 207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16">
                    <a:moveTo>
                      <a:pt x="7268" y="207"/>
                    </a:moveTo>
                    <a:cubicBezTo>
                      <a:pt x="2303" y="1224"/>
                      <a:pt x="-867" y="6128"/>
                      <a:pt x="210" y="11092"/>
                    </a:cubicBezTo>
                    <a:cubicBezTo>
                      <a:pt x="1287" y="16056"/>
                      <a:pt x="6131" y="19286"/>
                      <a:pt x="11095" y="18209"/>
                    </a:cubicBezTo>
                    <a:cubicBezTo>
                      <a:pt x="16059" y="17193"/>
                      <a:pt x="19229" y="12288"/>
                      <a:pt x="18152" y="7324"/>
                    </a:cubicBezTo>
                    <a:cubicBezTo>
                      <a:pt x="17136" y="2360"/>
                      <a:pt x="12231" y="-869"/>
                      <a:pt x="7268" y="207"/>
                    </a:cubicBezTo>
                    <a:close/>
                  </a:path>
                </a:pathLst>
              </a:custGeom>
              <a:grpFill/>
              <a:ln w="5978" cap="flat">
                <a:noFill/>
                <a:prstDash val="solid"/>
                <a:miter/>
              </a:ln>
            </p:spPr>
            <p:txBody>
              <a:bodyPr rtlCol="0" anchor="ctr"/>
              <a:lstStyle/>
              <a:p>
                <a:endParaRPr lang="en-GB"/>
              </a:p>
            </p:txBody>
          </p:sp>
        </p:grpSp>
        <p:grpSp>
          <p:nvGrpSpPr>
            <p:cNvPr id="1287" name="Graphic 3">
              <a:extLst>
                <a:ext uri="{FF2B5EF4-FFF2-40B4-BE49-F238E27FC236}">
                  <a16:creationId xmlns:a16="http://schemas.microsoft.com/office/drawing/2014/main" id="{BB5A302C-6409-4FB9-8C99-2F4DFB5A01BE}"/>
                </a:ext>
              </a:extLst>
            </p:cNvPr>
            <p:cNvGrpSpPr/>
            <p:nvPr/>
          </p:nvGrpSpPr>
          <p:grpSpPr>
            <a:xfrm>
              <a:off x="4023719" y="3482130"/>
              <a:ext cx="129438" cy="22738"/>
              <a:chOff x="4023719" y="3482130"/>
              <a:chExt cx="129438" cy="22738"/>
            </a:xfrm>
            <a:grpFill/>
          </p:grpSpPr>
          <p:sp>
            <p:nvSpPr>
              <p:cNvPr id="1546" name="Vrije vorm: vorm 1545">
                <a:extLst>
                  <a:ext uri="{FF2B5EF4-FFF2-40B4-BE49-F238E27FC236}">
                    <a16:creationId xmlns:a16="http://schemas.microsoft.com/office/drawing/2014/main" id="{3844503F-11A9-4304-91E8-B08F0E75FCC2}"/>
                  </a:ext>
                </a:extLst>
              </p:cNvPr>
              <p:cNvSpPr/>
              <p:nvPr/>
            </p:nvSpPr>
            <p:spPr>
              <a:xfrm>
                <a:off x="4032402" y="3489791"/>
                <a:ext cx="112078" cy="7416"/>
              </a:xfrm>
              <a:custGeom>
                <a:avLst/>
                <a:gdLst>
                  <a:gd name="connsiteX0" fmla="*/ 111959 w 112078"/>
                  <a:gd name="connsiteY0" fmla="*/ 0 h 7416"/>
                  <a:gd name="connsiteX1" fmla="*/ 112079 w 112078"/>
                  <a:gd name="connsiteY1" fmla="*/ 3050 h 7416"/>
                  <a:gd name="connsiteX2" fmla="*/ 119 w 112078"/>
                  <a:gd name="connsiteY2" fmla="*/ 7416 h 7416"/>
                  <a:gd name="connsiteX3" fmla="*/ 0 w 112078"/>
                  <a:gd name="connsiteY3" fmla="*/ 4366 h 7416"/>
                </a:gdLst>
                <a:ahLst/>
                <a:cxnLst>
                  <a:cxn ang="0">
                    <a:pos x="connsiteX0" y="connsiteY0"/>
                  </a:cxn>
                  <a:cxn ang="0">
                    <a:pos x="connsiteX1" y="connsiteY1"/>
                  </a:cxn>
                  <a:cxn ang="0">
                    <a:pos x="connsiteX2" y="connsiteY2"/>
                  </a:cxn>
                  <a:cxn ang="0">
                    <a:pos x="connsiteX3" y="connsiteY3"/>
                  </a:cxn>
                </a:cxnLst>
                <a:rect l="l" t="t" r="r" b="b"/>
                <a:pathLst>
                  <a:path w="112078" h="7416">
                    <a:moveTo>
                      <a:pt x="111959" y="0"/>
                    </a:moveTo>
                    <a:lnTo>
                      <a:pt x="112079" y="3050"/>
                    </a:lnTo>
                    <a:lnTo>
                      <a:pt x="119" y="7416"/>
                    </a:lnTo>
                    <a:lnTo>
                      <a:pt x="0" y="4366"/>
                    </a:lnTo>
                    <a:close/>
                  </a:path>
                </a:pathLst>
              </a:custGeom>
              <a:grpFill/>
              <a:ln w="5978" cap="flat">
                <a:noFill/>
                <a:prstDash val="solid"/>
                <a:miter/>
              </a:ln>
            </p:spPr>
            <p:txBody>
              <a:bodyPr rtlCol="0" anchor="ctr"/>
              <a:lstStyle/>
              <a:p>
                <a:endParaRPr lang="en-GB"/>
              </a:p>
            </p:txBody>
          </p:sp>
          <p:sp>
            <p:nvSpPr>
              <p:cNvPr id="1547" name="Vrije vorm: vorm 1546">
                <a:extLst>
                  <a:ext uri="{FF2B5EF4-FFF2-40B4-BE49-F238E27FC236}">
                    <a16:creationId xmlns:a16="http://schemas.microsoft.com/office/drawing/2014/main" id="{5A1B45D8-92BF-44DD-A199-EDFCDDBDC3E6}"/>
                  </a:ext>
                </a:extLst>
              </p:cNvPr>
              <p:cNvSpPr/>
              <p:nvPr/>
            </p:nvSpPr>
            <p:spPr>
              <a:xfrm>
                <a:off x="4023719" y="3486436"/>
                <a:ext cx="18377" cy="18432"/>
              </a:xfrm>
              <a:custGeom>
                <a:avLst/>
                <a:gdLst>
                  <a:gd name="connsiteX0" fmla="*/ 9579 w 18377"/>
                  <a:gd name="connsiteY0" fmla="*/ 18427 h 18432"/>
                  <a:gd name="connsiteX1" fmla="*/ 10 w 18377"/>
                  <a:gd name="connsiteY1" fmla="*/ 9575 h 18432"/>
                  <a:gd name="connsiteX2" fmla="*/ 8802 w 18377"/>
                  <a:gd name="connsiteY2" fmla="*/ 6 h 18432"/>
                  <a:gd name="connsiteX3" fmla="*/ 18371 w 18377"/>
                  <a:gd name="connsiteY3" fmla="*/ 8857 h 18432"/>
                  <a:gd name="connsiteX4" fmla="*/ 9579 w 18377"/>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7" h="18432">
                    <a:moveTo>
                      <a:pt x="9579" y="18427"/>
                    </a:moveTo>
                    <a:cubicBezTo>
                      <a:pt x="4496" y="18606"/>
                      <a:pt x="249" y="14659"/>
                      <a:pt x="10" y="9575"/>
                    </a:cubicBezTo>
                    <a:cubicBezTo>
                      <a:pt x="-229" y="4491"/>
                      <a:pt x="3718" y="185"/>
                      <a:pt x="8802" y="6"/>
                    </a:cubicBezTo>
                    <a:cubicBezTo>
                      <a:pt x="13886" y="-174"/>
                      <a:pt x="18132" y="3774"/>
                      <a:pt x="18371" y="8857"/>
                    </a:cubicBezTo>
                    <a:cubicBezTo>
                      <a:pt x="18550" y="13941"/>
                      <a:pt x="14663" y="18247"/>
                      <a:pt x="9579" y="18427"/>
                    </a:cubicBezTo>
                    <a:close/>
                  </a:path>
                </a:pathLst>
              </a:custGeom>
              <a:grpFill/>
              <a:ln w="5978" cap="flat">
                <a:noFill/>
                <a:prstDash val="solid"/>
                <a:miter/>
              </a:ln>
            </p:spPr>
            <p:txBody>
              <a:bodyPr rtlCol="0" anchor="ctr"/>
              <a:lstStyle/>
              <a:p>
                <a:endParaRPr lang="en-GB"/>
              </a:p>
            </p:txBody>
          </p:sp>
          <p:sp>
            <p:nvSpPr>
              <p:cNvPr id="1548" name="Vrije vorm: vorm 1547">
                <a:extLst>
                  <a:ext uri="{FF2B5EF4-FFF2-40B4-BE49-F238E27FC236}">
                    <a16:creationId xmlns:a16="http://schemas.microsoft.com/office/drawing/2014/main" id="{41C1B038-0092-4447-B95B-2F754655EB97}"/>
                  </a:ext>
                </a:extLst>
              </p:cNvPr>
              <p:cNvSpPr/>
              <p:nvPr/>
            </p:nvSpPr>
            <p:spPr>
              <a:xfrm>
                <a:off x="4134786" y="3482130"/>
                <a:ext cx="18372" cy="18432"/>
              </a:xfrm>
              <a:custGeom>
                <a:avLst/>
                <a:gdLst>
                  <a:gd name="connsiteX0" fmla="*/ 9575 w 18372"/>
                  <a:gd name="connsiteY0" fmla="*/ 18427 h 18432"/>
                  <a:gd name="connsiteX1" fmla="*/ 18366 w 18372"/>
                  <a:gd name="connsiteY1" fmla="*/ 8857 h 18432"/>
                  <a:gd name="connsiteX2" fmla="*/ 8797 w 18372"/>
                  <a:gd name="connsiteY2" fmla="*/ 6 h 18432"/>
                  <a:gd name="connsiteX3" fmla="*/ 6 w 18372"/>
                  <a:gd name="connsiteY3" fmla="*/ 9575 h 18432"/>
                  <a:gd name="connsiteX4" fmla="*/ 9575 w 18372"/>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9575" y="18427"/>
                    </a:moveTo>
                    <a:cubicBezTo>
                      <a:pt x="14658" y="18247"/>
                      <a:pt x="18546" y="13941"/>
                      <a:pt x="18366" y="8857"/>
                    </a:cubicBezTo>
                    <a:cubicBezTo>
                      <a:pt x="18127" y="3774"/>
                      <a:pt x="13881" y="-174"/>
                      <a:pt x="8797" y="6"/>
                    </a:cubicBezTo>
                    <a:cubicBezTo>
                      <a:pt x="3714" y="185"/>
                      <a:pt x="-174" y="4491"/>
                      <a:pt x="6" y="9575"/>
                    </a:cubicBezTo>
                    <a:cubicBezTo>
                      <a:pt x="245" y="14659"/>
                      <a:pt x="4492" y="18606"/>
                      <a:pt x="9575" y="18427"/>
                    </a:cubicBezTo>
                    <a:close/>
                  </a:path>
                </a:pathLst>
              </a:custGeom>
              <a:grpFill/>
              <a:ln w="5978" cap="flat">
                <a:noFill/>
                <a:prstDash val="solid"/>
                <a:miter/>
              </a:ln>
            </p:spPr>
            <p:txBody>
              <a:bodyPr rtlCol="0" anchor="ctr"/>
              <a:lstStyle/>
              <a:p>
                <a:endParaRPr lang="en-GB"/>
              </a:p>
            </p:txBody>
          </p:sp>
        </p:grpSp>
        <p:grpSp>
          <p:nvGrpSpPr>
            <p:cNvPr id="1288" name="Graphic 3">
              <a:extLst>
                <a:ext uri="{FF2B5EF4-FFF2-40B4-BE49-F238E27FC236}">
                  <a16:creationId xmlns:a16="http://schemas.microsoft.com/office/drawing/2014/main" id="{16374AE6-7BF4-4B73-A4A1-908D2247D5DD}"/>
                </a:ext>
              </a:extLst>
            </p:cNvPr>
            <p:cNvGrpSpPr/>
            <p:nvPr/>
          </p:nvGrpSpPr>
          <p:grpSpPr>
            <a:xfrm>
              <a:off x="4207642" y="3955999"/>
              <a:ext cx="93854" cy="41967"/>
              <a:chOff x="4207642" y="3955999"/>
              <a:chExt cx="93854" cy="41967"/>
            </a:xfrm>
            <a:grpFill/>
          </p:grpSpPr>
          <p:sp>
            <p:nvSpPr>
              <p:cNvPr id="1543" name="Vrije vorm: vorm 1542">
                <a:extLst>
                  <a:ext uri="{FF2B5EF4-FFF2-40B4-BE49-F238E27FC236}">
                    <a16:creationId xmlns:a16="http://schemas.microsoft.com/office/drawing/2014/main" id="{EFA4FD40-105D-4AB5-A482-6272A1708D99}"/>
                  </a:ext>
                </a:extLst>
              </p:cNvPr>
              <p:cNvSpPr/>
              <p:nvPr/>
            </p:nvSpPr>
            <p:spPr>
              <a:xfrm>
                <a:off x="4215900" y="3963403"/>
                <a:ext cx="77304" cy="26718"/>
              </a:xfrm>
              <a:custGeom>
                <a:avLst/>
                <a:gdLst>
                  <a:gd name="connsiteX0" fmla="*/ 0 w 77304"/>
                  <a:gd name="connsiteY0" fmla="*/ 23807 h 26718"/>
                  <a:gd name="connsiteX1" fmla="*/ 76397 w 77304"/>
                  <a:gd name="connsiteY1" fmla="*/ 0 h 26718"/>
                  <a:gd name="connsiteX2" fmla="*/ 77304 w 77304"/>
                  <a:gd name="connsiteY2" fmla="*/ 2912 h 26718"/>
                  <a:gd name="connsiteX3" fmla="*/ 907 w 77304"/>
                  <a:gd name="connsiteY3" fmla="*/ 26719 h 26718"/>
                </a:gdLst>
                <a:ahLst/>
                <a:cxnLst>
                  <a:cxn ang="0">
                    <a:pos x="connsiteX0" y="connsiteY0"/>
                  </a:cxn>
                  <a:cxn ang="0">
                    <a:pos x="connsiteX1" y="connsiteY1"/>
                  </a:cxn>
                  <a:cxn ang="0">
                    <a:pos x="connsiteX2" y="connsiteY2"/>
                  </a:cxn>
                  <a:cxn ang="0">
                    <a:pos x="connsiteX3" y="connsiteY3"/>
                  </a:cxn>
                </a:cxnLst>
                <a:rect l="l" t="t" r="r" b="b"/>
                <a:pathLst>
                  <a:path w="77304" h="26718">
                    <a:moveTo>
                      <a:pt x="0" y="23807"/>
                    </a:moveTo>
                    <a:lnTo>
                      <a:pt x="76397" y="0"/>
                    </a:lnTo>
                    <a:lnTo>
                      <a:pt x="77304" y="2912"/>
                    </a:lnTo>
                    <a:lnTo>
                      <a:pt x="907" y="26719"/>
                    </a:lnTo>
                    <a:close/>
                  </a:path>
                </a:pathLst>
              </a:custGeom>
              <a:grpFill/>
              <a:ln w="5978" cap="flat">
                <a:noFill/>
                <a:prstDash val="solid"/>
                <a:miter/>
              </a:ln>
            </p:spPr>
            <p:txBody>
              <a:bodyPr rtlCol="0" anchor="ctr"/>
              <a:lstStyle/>
              <a:p>
                <a:endParaRPr lang="en-GB"/>
              </a:p>
            </p:txBody>
          </p:sp>
          <p:sp>
            <p:nvSpPr>
              <p:cNvPr id="1544" name="Vrije vorm: vorm 1543">
                <a:extLst>
                  <a:ext uri="{FF2B5EF4-FFF2-40B4-BE49-F238E27FC236}">
                    <a16:creationId xmlns:a16="http://schemas.microsoft.com/office/drawing/2014/main" id="{D8249B15-A15D-40DD-9ABA-853CC450977C}"/>
                  </a:ext>
                </a:extLst>
              </p:cNvPr>
              <p:cNvSpPr/>
              <p:nvPr/>
            </p:nvSpPr>
            <p:spPr>
              <a:xfrm>
                <a:off x="4207642" y="3979499"/>
                <a:ext cx="18317" cy="18468"/>
              </a:xfrm>
              <a:custGeom>
                <a:avLst/>
                <a:gdLst>
                  <a:gd name="connsiteX0" fmla="*/ 11896 w 18317"/>
                  <a:gd name="connsiteY0" fmla="*/ 18056 h 18468"/>
                  <a:gd name="connsiteX1" fmla="*/ 413 w 18317"/>
                  <a:gd name="connsiteY1" fmla="*/ 11955 h 18468"/>
                  <a:gd name="connsiteX2" fmla="*/ 6394 w 18317"/>
                  <a:gd name="connsiteY2" fmla="*/ 413 h 18468"/>
                  <a:gd name="connsiteX3" fmla="*/ 17877 w 18317"/>
                  <a:gd name="connsiteY3" fmla="*/ 6513 h 18468"/>
                  <a:gd name="connsiteX4" fmla="*/ 11896 w 18317"/>
                  <a:gd name="connsiteY4" fmla="*/ 18056 h 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68">
                    <a:moveTo>
                      <a:pt x="11896" y="18056"/>
                    </a:moveTo>
                    <a:cubicBezTo>
                      <a:pt x="7052" y="19551"/>
                      <a:pt x="1908" y="16859"/>
                      <a:pt x="413" y="11955"/>
                    </a:cubicBezTo>
                    <a:cubicBezTo>
                      <a:pt x="-1082" y="7111"/>
                      <a:pt x="1609" y="1908"/>
                      <a:pt x="6394" y="413"/>
                    </a:cubicBezTo>
                    <a:cubicBezTo>
                      <a:pt x="11238" y="-1083"/>
                      <a:pt x="16382" y="1609"/>
                      <a:pt x="17877" y="6513"/>
                    </a:cubicBezTo>
                    <a:cubicBezTo>
                      <a:pt x="19432" y="11357"/>
                      <a:pt x="16741" y="16561"/>
                      <a:pt x="11896" y="18056"/>
                    </a:cubicBezTo>
                    <a:close/>
                  </a:path>
                </a:pathLst>
              </a:custGeom>
              <a:grpFill/>
              <a:ln w="5978" cap="flat">
                <a:noFill/>
                <a:prstDash val="solid"/>
                <a:miter/>
              </a:ln>
            </p:spPr>
            <p:txBody>
              <a:bodyPr rtlCol="0" anchor="ctr"/>
              <a:lstStyle/>
              <a:p>
                <a:endParaRPr lang="en-GB"/>
              </a:p>
            </p:txBody>
          </p:sp>
          <p:sp>
            <p:nvSpPr>
              <p:cNvPr id="1545" name="Vrije vorm: vorm 1544">
                <a:extLst>
                  <a:ext uri="{FF2B5EF4-FFF2-40B4-BE49-F238E27FC236}">
                    <a16:creationId xmlns:a16="http://schemas.microsoft.com/office/drawing/2014/main" id="{F65AF3F6-31A5-41B0-B09B-63BDAA252301}"/>
                  </a:ext>
                </a:extLst>
              </p:cNvPr>
              <p:cNvSpPr/>
              <p:nvPr/>
            </p:nvSpPr>
            <p:spPr>
              <a:xfrm>
                <a:off x="4283151" y="3955999"/>
                <a:ext cx="18345" cy="18463"/>
              </a:xfrm>
              <a:custGeom>
                <a:avLst/>
                <a:gdLst>
                  <a:gd name="connsiteX0" fmla="*/ 11924 w 18345"/>
                  <a:gd name="connsiteY0" fmla="*/ 18051 h 18463"/>
                  <a:gd name="connsiteX1" fmla="*/ 17905 w 18345"/>
                  <a:gd name="connsiteY1" fmla="*/ 6508 h 18463"/>
                  <a:gd name="connsiteX2" fmla="*/ 6422 w 18345"/>
                  <a:gd name="connsiteY2" fmla="*/ 407 h 18463"/>
                  <a:gd name="connsiteX3" fmla="*/ 441 w 18345"/>
                  <a:gd name="connsiteY3" fmla="*/ 11950 h 18463"/>
                  <a:gd name="connsiteX4" fmla="*/ 11924 w 18345"/>
                  <a:gd name="connsiteY4" fmla="*/ 18051 h 18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63">
                    <a:moveTo>
                      <a:pt x="11924" y="18051"/>
                    </a:moveTo>
                    <a:cubicBezTo>
                      <a:pt x="16768" y="16555"/>
                      <a:pt x="19460" y="11412"/>
                      <a:pt x="17905" y="6508"/>
                    </a:cubicBezTo>
                    <a:cubicBezTo>
                      <a:pt x="16409" y="1664"/>
                      <a:pt x="11266" y="-1088"/>
                      <a:pt x="6422" y="407"/>
                    </a:cubicBezTo>
                    <a:cubicBezTo>
                      <a:pt x="1577" y="1903"/>
                      <a:pt x="-1114" y="7046"/>
                      <a:pt x="441" y="11950"/>
                    </a:cubicBezTo>
                    <a:cubicBezTo>
                      <a:pt x="1936" y="16854"/>
                      <a:pt x="7079" y="19546"/>
                      <a:pt x="11924" y="18051"/>
                    </a:cubicBezTo>
                    <a:close/>
                  </a:path>
                </a:pathLst>
              </a:custGeom>
              <a:grpFill/>
              <a:ln w="5978" cap="flat">
                <a:noFill/>
                <a:prstDash val="solid"/>
                <a:miter/>
              </a:ln>
            </p:spPr>
            <p:txBody>
              <a:bodyPr rtlCol="0" anchor="ctr"/>
              <a:lstStyle/>
              <a:p>
                <a:endParaRPr lang="en-GB"/>
              </a:p>
            </p:txBody>
          </p:sp>
        </p:grpSp>
        <p:grpSp>
          <p:nvGrpSpPr>
            <p:cNvPr id="1289" name="Graphic 3">
              <a:extLst>
                <a:ext uri="{FF2B5EF4-FFF2-40B4-BE49-F238E27FC236}">
                  <a16:creationId xmlns:a16="http://schemas.microsoft.com/office/drawing/2014/main" id="{C69DF2E9-64D2-435C-B4E2-3A95BF502565}"/>
                </a:ext>
              </a:extLst>
            </p:cNvPr>
            <p:cNvGrpSpPr/>
            <p:nvPr/>
          </p:nvGrpSpPr>
          <p:grpSpPr>
            <a:xfrm>
              <a:off x="3856550" y="3122138"/>
              <a:ext cx="206897" cy="43037"/>
              <a:chOff x="3856550" y="3122138"/>
              <a:chExt cx="206897" cy="43037"/>
            </a:xfrm>
            <a:grpFill/>
          </p:grpSpPr>
          <p:sp>
            <p:nvSpPr>
              <p:cNvPr id="1540" name="Vrije vorm: vorm 1539">
                <a:extLst>
                  <a:ext uri="{FF2B5EF4-FFF2-40B4-BE49-F238E27FC236}">
                    <a16:creationId xmlns:a16="http://schemas.microsoft.com/office/drawing/2014/main" id="{8BBF30DC-9BA7-4C53-86D4-6FC84AA9FD6D}"/>
                  </a:ext>
                </a:extLst>
              </p:cNvPr>
              <p:cNvSpPr/>
              <p:nvPr/>
            </p:nvSpPr>
            <p:spPr>
              <a:xfrm>
                <a:off x="3865061" y="3129752"/>
                <a:ext cx="189887" cy="27810"/>
              </a:xfrm>
              <a:custGeom>
                <a:avLst/>
                <a:gdLst>
                  <a:gd name="connsiteX0" fmla="*/ 189888 w 189887"/>
                  <a:gd name="connsiteY0" fmla="*/ 24760 h 27810"/>
                  <a:gd name="connsiteX1" fmla="*/ 189529 w 189887"/>
                  <a:gd name="connsiteY1" fmla="*/ 27810 h 27810"/>
                  <a:gd name="connsiteX2" fmla="*/ 0 w 189887"/>
                  <a:gd name="connsiteY2" fmla="*/ 3050 h 27810"/>
                  <a:gd name="connsiteX3" fmla="*/ 359 w 189887"/>
                  <a:gd name="connsiteY3" fmla="*/ 0 h 27810"/>
                </a:gdLst>
                <a:ahLst/>
                <a:cxnLst>
                  <a:cxn ang="0">
                    <a:pos x="connsiteX0" y="connsiteY0"/>
                  </a:cxn>
                  <a:cxn ang="0">
                    <a:pos x="connsiteX1" y="connsiteY1"/>
                  </a:cxn>
                  <a:cxn ang="0">
                    <a:pos x="connsiteX2" y="connsiteY2"/>
                  </a:cxn>
                  <a:cxn ang="0">
                    <a:pos x="connsiteX3" y="connsiteY3"/>
                  </a:cxn>
                </a:cxnLst>
                <a:rect l="l" t="t" r="r" b="b"/>
                <a:pathLst>
                  <a:path w="189887" h="27810">
                    <a:moveTo>
                      <a:pt x="189888" y="24760"/>
                    </a:moveTo>
                    <a:lnTo>
                      <a:pt x="189529" y="27810"/>
                    </a:lnTo>
                    <a:lnTo>
                      <a:pt x="0" y="3050"/>
                    </a:lnTo>
                    <a:lnTo>
                      <a:pt x="359" y="0"/>
                    </a:lnTo>
                    <a:close/>
                  </a:path>
                </a:pathLst>
              </a:custGeom>
              <a:grpFill/>
              <a:ln w="5978" cap="flat">
                <a:noFill/>
                <a:prstDash val="solid"/>
                <a:miter/>
              </a:ln>
            </p:spPr>
            <p:txBody>
              <a:bodyPr rtlCol="0" anchor="ctr"/>
              <a:lstStyle/>
              <a:p>
                <a:endParaRPr lang="en-GB"/>
              </a:p>
            </p:txBody>
          </p:sp>
          <p:sp>
            <p:nvSpPr>
              <p:cNvPr id="1541" name="Vrije vorm: vorm 1540">
                <a:extLst>
                  <a:ext uri="{FF2B5EF4-FFF2-40B4-BE49-F238E27FC236}">
                    <a16:creationId xmlns:a16="http://schemas.microsoft.com/office/drawing/2014/main" id="{AF86B4C4-B7ED-4E80-940D-4B59551F3004}"/>
                  </a:ext>
                </a:extLst>
              </p:cNvPr>
              <p:cNvSpPr/>
              <p:nvPr/>
            </p:nvSpPr>
            <p:spPr>
              <a:xfrm>
                <a:off x="4045134" y="3146719"/>
                <a:ext cx="18313" cy="18456"/>
              </a:xfrm>
              <a:custGeom>
                <a:avLst/>
                <a:gdLst>
                  <a:gd name="connsiteX0" fmla="*/ 10293 w 18313"/>
                  <a:gd name="connsiteY0" fmla="*/ 78 h 18456"/>
                  <a:gd name="connsiteX1" fmla="*/ 18248 w 18313"/>
                  <a:gd name="connsiteY1" fmla="*/ 10424 h 18456"/>
                  <a:gd name="connsiteX2" fmla="*/ 8020 w 18313"/>
                  <a:gd name="connsiteY2" fmla="*/ 18379 h 18456"/>
                  <a:gd name="connsiteX3" fmla="*/ 66 w 18313"/>
                  <a:gd name="connsiteY3" fmla="*/ 8032 h 18456"/>
                  <a:gd name="connsiteX4" fmla="*/ 10293 w 18313"/>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3" h="18456">
                    <a:moveTo>
                      <a:pt x="10293" y="78"/>
                    </a:moveTo>
                    <a:cubicBezTo>
                      <a:pt x="15317" y="736"/>
                      <a:pt x="18846" y="5341"/>
                      <a:pt x="18248" y="10424"/>
                    </a:cubicBezTo>
                    <a:cubicBezTo>
                      <a:pt x="17589" y="15448"/>
                      <a:pt x="13044" y="19037"/>
                      <a:pt x="8020" y="18379"/>
                    </a:cubicBezTo>
                    <a:cubicBezTo>
                      <a:pt x="2997" y="17721"/>
                      <a:pt x="-532" y="13116"/>
                      <a:pt x="66" y="8032"/>
                    </a:cubicBezTo>
                    <a:cubicBezTo>
                      <a:pt x="724" y="3008"/>
                      <a:pt x="5269" y="-580"/>
                      <a:pt x="10293" y="78"/>
                    </a:cubicBezTo>
                    <a:close/>
                  </a:path>
                </a:pathLst>
              </a:custGeom>
              <a:grpFill/>
              <a:ln w="5978" cap="flat">
                <a:noFill/>
                <a:prstDash val="solid"/>
                <a:miter/>
              </a:ln>
            </p:spPr>
            <p:txBody>
              <a:bodyPr rtlCol="0" anchor="ctr"/>
              <a:lstStyle/>
              <a:p>
                <a:endParaRPr lang="en-GB"/>
              </a:p>
            </p:txBody>
          </p:sp>
          <p:sp>
            <p:nvSpPr>
              <p:cNvPr id="1542" name="Vrije vorm: vorm 1541">
                <a:extLst>
                  <a:ext uri="{FF2B5EF4-FFF2-40B4-BE49-F238E27FC236}">
                    <a16:creationId xmlns:a16="http://schemas.microsoft.com/office/drawing/2014/main" id="{D9485F20-7097-4DE4-B366-224EE9FEDC7D}"/>
                  </a:ext>
                </a:extLst>
              </p:cNvPr>
              <p:cNvSpPr/>
              <p:nvPr/>
            </p:nvSpPr>
            <p:spPr>
              <a:xfrm>
                <a:off x="3856550" y="3122138"/>
                <a:ext cx="18325" cy="18456"/>
              </a:xfrm>
              <a:custGeom>
                <a:avLst/>
                <a:gdLst>
                  <a:gd name="connsiteX0" fmla="*/ 10305 w 18325"/>
                  <a:gd name="connsiteY0" fmla="*/ 78 h 18456"/>
                  <a:gd name="connsiteX1" fmla="*/ 78 w 18325"/>
                  <a:gd name="connsiteY1" fmla="*/ 8032 h 18456"/>
                  <a:gd name="connsiteX2" fmla="*/ 8032 w 18325"/>
                  <a:gd name="connsiteY2" fmla="*/ 18379 h 18456"/>
                  <a:gd name="connsiteX3" fmla="*/ 18259 w 18325"/>
                  <a:gd name="connsiteY3" fmla="*/ 10424 h 18456"/>
                  <a:gd name="connsiteX4" fmla="*/ 10305 w 18325"/>
                  <a:gd name="connsiteY4" fmla="*/ 78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5" h="18456">
                    <a:moveTo>
                      <a:pt x="10305" y="78"/>
                    </a:moveTo>
                    <a:cubicBezTo>
                      <a:pt x="5281" y="-580"/>
                      <a:pt x="676" y="3008"/>
                      <a:pt x="78" y="8032"/>
                    </a:cubicBezTo>
                    <a:cubicBezTo>
                      <a:pt x="-580" y="13056"/>
                      <a:pt x="3008" y="17721"/>
                      <a:pt x="8032" y="18379"/>
                    </a:cubicBezTo>
                    <a:cubicBezTo>
                      <a:pt x="13056" y="19037"/>
                      <a:pt x="17661" y="15448"/>
                      <a:pt x="18259" y="10424"/>
                    </a:cubicBezTo>
                    <a:cubicBezTo>
                      <a:pt x="18857" y="5401"/>
                      <a:pt x="15329" y="736"/>
                      <a:pt x="10305" y="78"/>
                    </a:cubicBezTo>
                    <a:close/>
                  </a:path>
                </a:pathLst>
              </a:custGeom>
              <a:grpFill/>
              <a:ln w="5978" cap="flat">
                <a:noFill/>
                <a:prstDash val="solid"/>
                <a:miter/>
              </a:ln>
            </p:spPr>
            <p:txBody>
              <a:bodyPr rtlCol="0" anchor="ctr"/>
              <a:lstStyle/>
              <a:p>
                <a:endParaRPr lang="en-GB"/>
              </a:p>
            </p:txBody>
          </p:sp>
        </p:grpSp>
        <p:grpSp>
          <p:nvGrpSpPr>
            <p:cNvPr id="1290" name="Graphic 3">
              <a:extLst>
                <a:ext uri="{FF2B5EF4-FFF2-40B4-BE49-F238E27FC236}">
                  <a16:creationId xmlns:a16="http://schemas.microsoft.com/office/drawing/2014/main" id="{C993AFD4-AE22-4537-A0B5-9620033DA23B}"/>
                </a:ext>
              </a:extLst>
            </p:cNvPr>
            <p:cNvGrpSpPr/>
            <p:nvPr/>
          </p:nvGrpSpPr>
          <p:grpSpPr>
            <a:xfrm>
              <a:off x="4432576" y="4589030"/>
              <a:ext cx="42539" cy="36414"/>
              <a:chOff x="4432576" y="4589030"/>
              <a:chExt cx="42539" cy="36414"/>
            </a:xfrm>
            <a:grpFill/>
          </p:grpSpPr>
          <p:sp>
            <p:nvSpPr>
              <p:cNvPr id="1537" name="Vrije vorm: vorm 1536">
                <a:extLst>
                  <a:ext uri="{FF2B5EF4-FFF2-40B4-BE49-F238E27FC236}">
                    <a16:creationId xmlns:a16="http://schemas.microsoft.com/office/drawing/2014/main" id="{D5C47392-9555-4A8C-BA55-2ECFF16A273E}"/>
                  </a:ext>
                </a:extLst>
              </p:cNvPr>
              <p:cNvSpPr/>
              <p:nvPr/>
            </p:nvSpPr>
            <p:spPr>
              <a:xfrm>
                <a:off x="4440466" y="4596703"/>
                <a:ext cx="26793" cy="21052"/>
              </a:xfrm>
              <a:custGeom>
                <a:avLst/>
                <a:gdLst>
                  <a:gd name="connsiteX0" fmla="*/ 26794 w 26793"/>
                  <a:gd name="connsiteY0" fmla="*/ 2512 h 21052"/>
                  <a:gd name="connsiteX1" fmla="*/ 1794 w 26793"/>
                  <a:gd name="connsiteY1" fmla="*/ 21052 h 21052"/>
                  <a:gd name="connsiteX2" fmla="*/ 0 w 26793"/>
                  <a:gd name="connsiteY2" fmla="*/ 18600 h 21052"/>
                  <a:gd name="connsiteX3" fmla="*/ 24940 w 26793"/>
                  <a:gd name="connsiteY3" fmla="*/ 0 h 21052"/>
                </a:gdLst>
                <a:ahLst/>
                <a:cxnLst>
                  <a:cxn ang="0">
                    <a:pos x="connsiteX0" y="connsiteY0"/>
                  </a:cxn>
                  <a:cxn ang="0">
                    <a:pos x="connsiteX1" y="connsiteY1"/>
                  </a:cxn>
                  <a:cxn ang="0">
                    <a:pos x="connsiteX2" y="connsiteY2"/>
                  </a:cxn>
                  <a:cxn ang="0">
                    <a:pos x="connsiteX3" y="connsiteY3"/>
                  </a:cxn>
                </a:cxnLst>
                <a:rect l="l" t="t" r="r" b="b"/>
                <a:pathLst>
                  <a:path w="26793" h="21052">
                    <a:moveTo>
                      <a:pt x="26794" y="2512"/>
                    </a:moveTo>
                    <a:lnTo>
                      <a:pt x="1794" y="21052"/>
                    </a:lnTo>
                    <a:lnTo>
                      <a:pt x="0" y="18600"/>
                    </a:lnTo>
                    <a:lnTo>
                      <a:pt x="24940" y="0"/>
                    </a:lnTo>
                    <a:close/>
                  </a:path>
                </a:pathLst>
              </a:custGeom>
              <a:grpFill/>
              <a:ln w="5978" cap="flat">
                <a:noFill/>
                <a:prstDash val="solid"/>
                <a:miter/>
              </a:ln>
            </p:spPr>
            <p:txBody>
              <a:bodyPr rtlCol="0" anchor="ctr"/>
              <a:lstStyle/>
              <a:p>
                <a:endParaRPr lang="en-GB"/>
              </a:p>
            </p:txBody>
          </p:sp>
          <p:sp>
            <p:nvSpPr>
              <p:cNvPr id="1538" name="Vrije vorm: vorm 1537">
                <a:extLst>
                  <a:ext uri="{FF2B5EF4-FFF2-40B4-BE49-F238E27FC236}">
                    <a16:creationId xmlns:a16="http://schemas.microsoft.com/office/drawing/2014/main" id="{DDA65295-F4EA-4795-A3F8-213D74A3AF01}"/>
                  </a:ext>
                </a:extLst>
              </p:cNvPr>
              <p:cNvSpPr/>
              <p:nvPr/>
            </p:nvSpPr>
            <p:spPr>
              <a:xfrm>
                <a:off x="4456798" y="4589030"/>
                <a:ext cx="18317" cy="18429"/>
              </a:xfrm>
              <a:custGeom>
                <a:avLst/>
                <a:gdLst>
                  <a:gd name="connsiteX0" fmla="*/ 3703 w 18317"/>
                  <a:gd name="connsiteY0" fmla="*/ 1812 h 18429"/>
                  <a:gd name="connsiteX1" fmla="*/ 16502 w 18317"/>
                  <a:gd name="connsiteY1" fmla="*/ 3785 h 18429"/>
                  <a:gd name="connsiteX2" fmla="*/ 14588 w 18317"/>
                  <a:gd name="connsiteY2" fmla="*/ 16644 h 18429"/>
                  <a:gd name="connsiteX3" fmla="*/ 1790 w 18317"/>
                  <a:gd name="connsiteY3" fmla="*/ 14670 h 18429"/>
                  <a:gd name="connsiteX4" fmla="*/ 3703 w 18317"/>
                  <a:gd name="connsiteY4" fmla="*/ 1812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7" h="18429">
                    <a:moveTo>
                      <a:pt x="3703" y="1812"/>
                    </a:moveTo>
                    <a:cubicBezTo>
                      <a:pt x="7770" y="-1239"/>
                      <a:pt x="13512" y="-342"/>
                      <a:pt x="16502" y="3785"/>
                    </a:cubicBezTo>
                    <a:cubicBezTo>
                      <a:pt x="19552" y="7852"/>
                      <a:pt x="18655" y="13653"/>
                      <a:pt x="14588" y="16644"/>
                    </a:cubicBezTo>
                    <a:cubicBezTo>
                      <a:pt x="10522" y="19634"/>
                      <a:pt x="4780" y="18797"/>
                      <a:pt x="1790" y="14670"/>
                    </a:cubicBezTo>
                    <a:cubicBezTo>
                      <a:pt x="-1201" y="10543"/>
                      <a:pt x="-363" y="4802"/>
                      <a:pt x="3703" y="1812"/>
                    </a:cubicBezTo>
                    <a:close/>
                  </a:path>
                </a:pathLst>
              </a:custGeom>
              <a:grpFill/>
              <a:ln w="5978" cap="flat">
                <a:noFill/>
                <a:prstDash val="solid"/>
                <a:miter/>
              </a:ln>
            </p:spPr>
            <p:txBody>
              <a:bodyPr rtlCol="0" anchor="ctr"/>
              <a:lstStyle/>
              <a:p>
                <a:endParaRPr lang="en-GB"/>
              </a:p>
            </p:txBody>
          </p:sp>
          <p:sp>
            <p:nvSpPr>
              <p:cNvPr id="1539" name="Vrije vorm: vorm 1538">
                <a:extLst>
                  <a:ext uri="{FF2B5EF4-FFF2-40B4-BE49-F238E27FC236}">
                    <a16:creationId xmlns:a16="http://schemas.microsoft.com/office/drawing/2014/main" id="{BB6AB54D-4977-4999-B689-55D16046D8F8}"/>
                  </a:ext>
                </a:extLst>
              </p:cNvPr>
              <p:cNvSpPr/>
              <p:nvPr/>
            </p:nvSpPr>
            <p:spPr>
              <a:xfrm>
                <a:off x="4432576" y="4607032"/>
                <a:ext cx="18291" cy="18412"/>
              </a:xfrm>
              <a:custGeom>
                <a:avLst/>
                <a:gdLst>
                  <a:gd name="connsiteX0" fmla="*/ 3703 w 18291"/>
                  <a:gd name="connsiteY0" fmla="*/ 1811 h 18412"/>
                  <a:gd name="connsiteX1" fmla="*/ 1790 w 18291"/>
                  <a:gd name="connsiteY1" fmla="*/ 14670 h 18412"/>
                  <a:gd name="connsiteX2" fmla="*/ 14588 w 18291"/>
                  <a:gd name="connsiteY2" fmla="*/ 16644 h 18412"/>
                  <a:gd name="connsiteX3" fmla="*/ 16502 w 18291"/>
                  <a:gd name="connsiteY3" fmla="*/ 3785 h 18412"/>
                  <a:gd name="connsiteX4" fmla="*/ 3703 w 18291"/>
                  <a:gd name="connsiteY4" fmla="*/ 1811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12">
                    <a:moveTo>
                      <a:pt x="3703" y="1811"/>
                    </a:moveTo>
                    <a:cubicBezTo>
                      <a:pt x="-363" y="4802"/>
                      <a:pt x="-1201" y="10603"/>
                      <a:pt x="1790" y="14670"/>
                    </a:cubicBezTo>
                    <a:cubicBezTo>
                      <a:pt x="4780" y="18737"/>
                      <a:pt x="10522" y="19634"/>
                      <a:pt x="14588" y="16644"/>
                    </a:cubicBezTo>
                    <a:cubicBezTo>
                      <a:pt x="18655" y="13593"/>
                      <a:pt x="19493" y="7852"/>
                      <a:pt x="16502" y="3785"/>
                    </a:cubicBezTo>
                    <a:cubicBezTo>
                      <a:pt x="13512" y="-342"/>
                      <a:pt x="7770" y="-1239"/>
                      <a:pt x="3703" y="1811"/>
                    </a:cubicBezTo>
                    <a:close/>
                  </a:path>
                </a:pathLst>
              </a:custGeom>
              <a:grpFill/>
              <a:ln w="5978" cap="flat">
                <a:noFill/>
                <a:prstDash val="solid"/>
                <a:miter/>
              </a:ln>
            </p:spPr>
            <p:txBody>
              <a:bodyPr rtlCol="0" anchor="ctr"/>
              <a:lstStyle/>
              <a:p>
                <a:endParaRPr lang="en-GB"/>
              </a:p>
            </p:txBody>
          </p:sp>
        </p:grpSp>
        <p:grpSp>
          <p:nvGrpSpPr>
            <p:cNvPr id="1291" name="Graphic 3">
              <a:extLst>
                <a:ext uri="{FF2B5EF4-FFF2-40B4-BE49-F238E27FC236}">
                  <a16:creationId xmlns:a16="http://schemas.microsoft.com/office/drawing/2014/main" id="{EC96EA97-5A53-4DC2-A0BB-C2F604B5C7E0}"/>
                </a:ext>
              </a:extLst>
            </p:cNvPr>
            <p:cNvGrpSpPr/>
            <p:nvPr/>
          </p:nvGrpSpPr>
          <p:grpSpPr>
            <a:xfrm>
              <a:off x="4013479" y="3853412"/>
              <a:ext cx="398647" cy="82188"/>
              <a:chOff x="4013479" y="3853412"/>
              <a:chExt cx="398647" cy="82188"/>
            </a:xfrm>
            <a:grpFill/>
          </p:grpSpPr>
          <p:sp>
            <p:nvSpPr>
              <p:cNvPr id="1534" name="Vrije vorm: vorm 1533">
                <a:extLst>
                  <a:ext uri="{FF2B5EF4-FFF2-40B4-BE49-F238E27FC236}">
                    <a16:creationId xmlns:a16="http://schemas.microsoft.com/office/drawing/2014/main" id="{199F89B3-0DFE-4957-831B-E23136306ED8}"/>
                  </a:ext>
                </a:extLst>
              </p:cNvPr>
              <p:cNvSpPr/>
              <p:nvPr/>
            </p:nvSpPr>
            <p:spPr>
              <a:xfrm>
                <a:off x="4021935" y="3861074"/>
                <a:ext cx="381749" cy="66924"/>
              </a:xfrm>
              <a:custGeom>
                <a:avLst/>
                <a:gdLst>
                  <a:gd name="connsiteX0" fmla="*/ 381211 w 381749"/>
                  <a:gd name="connsiteY0" fmla="*/ 0 h 66924"/>
                  <a:gd name="connsiteX1" fmla="*/ 381749 w 381749"/>
                  <a:gd name="connsiteY1" fmla="*/ 2990 h 66924"/>
                  <a:gd name="connsiteX2" fmla="*/ 538 w 381749"/>
                  <a:gd name="connsiteY2" fmla="*/ 66924 h 66924"/>
                  <a:gd name="connsiteX3" fmla="*/ 0 w 381749"/>
                  <a:gd name="connsiteY3" fmla="*/ 63874 h 66924"/>
                </a:gdLst>
                <a:ahLst/>
                <a:cxnLst>
                  <a:cxn ang="0">
                    <a:pos x="connsiteX0" y="connsiteY0"/>
                  </a:cxn>
                  <a:cxn ang="0">
                    <a:pos x="connsiteX1" y="connsiteY1"/>
                  </a:cxn>
                  <a:cxn ang="0">
                    <a:pos x="connsiteX2" y="connsiteY2"/>
                  </a:cxn>
                  <a:cxn ang="0">
                    <a:pos x="connsiteX3" y="connsiteY3"/>
                  </a:cxn>
                </a:cxnLst>
                <a:rect l="l" t="t" r="r" b="b"/>
                <a:pathLst>
                  <a:path w="381749" h="66924">
                    <a:moveTo>
                      <a:pt x="381211" y="0"/>
                    </a:moveTo>
                    <a:lnTo>
                      <a:pt x="381749" y="2990"/>
                    </a:lnTo>
                    <a:lnTo>
                      <a:pt x="538" y="66924"/>
                    </a:lnTo>
                    <a:lnTo>
                      <a:pt x="0" y="63874"/>
                    </a:lnTo>
                    <a:close/>
                  </a:path>
                </a:pathLst>
              </a:custGeom>
              <a:grpFill/>
              <a:ln w="5978" cap="flat">
                <a:noFill/>
                <a:prstDash val="solid"/>
                <a:miter/>
              </a:ln>
            </p:spPr>
            <p:txBody>
              <a:bodyPr rtlCol="0" anchor="ctr"/>
              <a:lstStyle/>
              <a:p>
                <a:endParaRPr lang="en-GB"/>
              </a:p>
            </p:txBody>
          </p:sp>
          <p:sp>
            <p:nvSpPr>
              <p:cNvPr id="1535" name="Vrije vorm: vorm 1534">
                <a:extLst>
                  <a:ext uri="{FF2B5EF4-FFF2-40B4-BE49-F238E27FC236}">
                    <a16:creationId xmlns:a16="http://schemas.microsoft.com/office/drawing/2014/main" id="{0196356C-630C-45C7-9C44-FF06A5CD79D1}"/>
                  </a:ext>
                </a:extLst>
              </p:cNvPr>
              <p:cNvSpPr/>
              <p:nvPr/>
            </p:nvSpPr>
            <p:spPr>
              <a:xfrm>
                <a:off x="4393808" y="3853412"/>
                <a:ext cx="18318" cy="18434"/>
              </a:xfrm>
              <a:custGeom>
                <a:avLst/>
                <a:gdLst>
                  <a:gd name="connsiteX0" fmla="*/ 7604 w 18318"/>
                  <a:gd name="connsiteY0" fmla="*/ 126 h 18434"/>
                  <a:gd name="connsiteX1" fmla="*/ 18190 w 18318"/>
                  <a:gd name="connsiteY1" fmla="*/ 7722 h 18434"/>
                  <a:gd name="connsiteX2" fmla="*/ 10714 w 18318"/>
                  <a:gd name="connsiteY2" fmla="*/ 18308 h 18434"/>
                  <a:gd name="connsiteX3" fmla="*/ 128 w 18318"/>
                  <a:gd name="connsiteY3" fmla="*/ 10712 h 18434"/>
                  <a:gd name="connsiteX4" fmla="*/ 7604 w 18318"/>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34">
                    <a:moveTo>
                      <a:pt x="7604" y="126"/>
                    </a:moveTo>
                    <a:cubicBezTo>
                      <a:pt x="12568" y="-711"/>
                      <a:pt x="17353" y="2698"/>
                      <a:pt x="18190" y="7722"/>
                    </a:cubicBezTo>
                    <a:cubicBezTo>
                      <a:pt x="19028" y="12746"/>
                      <a:pt x="15678" y="17471"/>
                      <a:pt x="10714" y="18308"/>
                    </a:cubicBezTo>
                    <a:cubicBezTo>
                      <a:pt x="5750" y="19145"/>
                      <a:pt x="966" y="15736"/>
                      <a:pt x="128" y="10712"/>
                    </a:cubicBezTo>
                    <a:cubicBezTo>
                      <a:pt x="-709" y="5748"/>
                      <a:pt x="2640" y="964"/>
                      <a:pt x="7604" y="126"/>
                    </a:cubicBezTo>
                    <a:close/>
                  </a:path>
                </a:pathLst>
              </a:custGeom>
              <a:grpFill/>
              <a:ln w="5978" cap="flat">
                <a:noFill/>
                <a:prstDash val="solid"/>
                <a:miter/>
              </a:ln>
            </p:spPr>
            <p:txBody>
              <a:bodyPr rtlCol="0" anchor="ctr"/>
              <a:lstStyle/>
              <a:p>
                <a:endParaRPr lang="en-GB"/>
              </a:p>
            </p:txBody>
          </p:sp>
          <p:sp>
            <p:nvSpPr>
              <p:cNvPr id="1536" name="Vrije vorm: vorm 1535">
                <a:extLst>
                  <a:ext uri="{FF2B5EF4-FFF2-40B4-BE49-F238E27FC236}">
                    <a16:creationId xmlns:a16="http://schemas.microsoft.com/office/drawing/2014/main" id="{D579B832-D438-4DC3-9B32-DA2F191D2046}"/>
                  </a:ext>
                </a:extLst>
              </p:cNvPr>
              <p:cNvSpPr/>
              <p:nvPr/>
            </p:nvSpPr>
            <p:spPr>
              <a:xfrm>
                <a:off x="4013479" y="3917167"/>
                <a:ext cx="18348" cy="18434"/>
              </a:xfrm>
              <a:custGeom>
                <a:avLst/>
                <a:gdLst>
                  <a:gd name="connsiteX0" fmla="*/ 7619 w 18348"/>
                  <a:gd name="connsiteY0" fmla="*/ 126 h 18434"/>
                  <a:gd name="connsiteX1" fmla="*/ 143 w 18348"/>
                  <a:gd name="connsiteY1" fmla="*/ 10712 h 18434"/>
                  <a:gd name="connsiteX2" fmla="*/ 10729 w 18348"/>
                  <a:gd name="connsiteY2" fmla="*/ 18308 h 18434"/>
                  <a:gd name="connsiteX3" fmla="*/ 18205 w 18348"/>
                  <a:gd name="connsiteY3" fmla="*/ 7722 h 18434"/>
                  <a:gd name="connsiteX4" fmla="*/ 7619 w 18348"/>
                  <a:gd name="connsiteY4" fmla="*/ 126 h 1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34">
                    <a:moveTo>
                      <a:pt x="7619" y="126"/>
                    </a:moveTo>
                    <a:cubicBezTo>
                      <a:pt x="2655" y="964"/>
                      <a:pt x="-754" y="5689"/>
                      <a:pt x="143" y="10712"/>
                    </a:cubicBezTo>
                    <a:cubicBezTo>
                      <a:pt x="981" y="15736"/>
                      <a:pt x="5706" y="19145"/>
                      <a:pt x="10729" y="18308"/>
                    </a:cubicBezTo>
                    <a:cubicBezTo>
                      <a:pt x="15693" y="17470"/>
                      <a:pt x="19102" y="12746"/>
                      <a:pt x="18205" y="7722"/>
                    </a:cubicBezTo>
                    <a:cubicBezTo>
                      <a:pt x="17368" y="2698"/>
                      <a:pt x="12583" y="-711"/>
                      <a:pt x="7619" y="126"/>
                    </a:cubicBezTo>
                    <a:close/>
                  </a:path>
                </a:pathLst>
              </a:custGeom>
              <a:grpFill/>
              <a:ln w="5978" cap="flat">
                <a:noFill/>
                <a:prstDash val="solid"/>
                <a:miter/>
              </a:ln>
            </p:spPr>
            <p:txBody>
              <a:bodyPr rtlCol="0" anchor="ctr"/>
              <a:lstStyle/>
              <a:p>
                <a:endParaRPr lang="en-GB"/>
              </a:p>
            </p:txBody>
          </p:sp>
        </p:grpSp>
        <p:grpSp>
          <p:nvGrpSpPr>
            <p:cNvPr id="1292" name="Graphic 3">
              <a:extLst>
                <a:ext uri="{FF2B5EF4-FFF2-40B4-BE49-F238E27FC236}">
                  <a16:creationId xmlns:a16="http://schemas.microsoft.com/office/drawing/2014/main" id="{5219D3DB-F553-40DF-BA59-5636AA858C77}"/>
                </a:ext>
              </a:extLst>
            </p:cNvPr>
            <p:cNvGrpSpPr/>
            <p:nvPr/>
          </p:nvGrpSpPr>
          <p:grpSpPr>
            <a:xfrm>
              <a:off x="3947997" y="3513399"/>
              <a:ext cx="285671" cy="33823"/>
              <a:chOff x="3947997" y="3513399"/>
              <a:chExt cx="285671" cy="33823"/>
            </a:xfrm>
            <a:grpFill/>
          </p:grpSpPr>
          <p:sp>
            <p:nvSpPr>
              <p:cNvPr id="1531" name="Vrije vorm: vorm 1530">
                <a:extLst>
                  <a:ext uri="{FF2B5EF4-FFF2-40B4-BE49-F238E27FC236}">
                    <a16:creationId xmlns:a16="http://schemas.microsoft.com/office/drawing/2014/main" id="{D38BF93C-F741-4EE7-9F2C-51D090972393}"/>
                  </a:ext>
                </a:extLst>
              </p:cNvPr>
              <p:cNvSpPr/>
              <p:nvPr/>
            </p:nvSpPr>
            <p:spPr>
              <a:xfrm>
                <a:off x="3956566" y="3521070"/>
                <a:ext cx="268474" cy="18540"/>
              </a:xfrm>
              <a:custGeom>
                <a:avLst/>
                <a:gdLst>
                  <a:gd name="connsiteX0" fmla="*/ 268295 w 268474"/>
                  <a:gd name="connsiteY0" fmla="*/ 0 h 18540"/>
                  <a:gd name="connsiteX1" fmla="*/ 268475 w 268474"/>
                  <a:gd name="connsiteY1" fmla="*/ 3050 h 18540"/>
                  <a:gd name="connsiteX2" fmla="*/ 180 w 268474"/>
                  <a:gd name="connsiteY2" fmla="*/ 18540 h 18540"/>
                  <a:gd name="connsiteX3" fmla="*/ 0 w 268474"/>
                  <a:gd name="connsiteY3" fmla="*/ 15430 h 18540"/>
                </a:gdLst>
                <a:ahLst/>
                <a:cxnLst>
                  <a:cxn ang="0">
                    <a:pos x="connsiteX0" y="connsiteY0"/>
                  </a:cxn>
                  <a:cxn ang="0">
                    <a:pos x="connsiteX1" y="connsiteY1"/>
                  </a:cxn>
                  <a:cxn ang="0">
                    <a:pos x="connsiteX2" y="connsiteY2"/>
                  </a:cxn>
                  <a:cxn ang="0">
                    <a:pos x="connsiteX3" y="connsiteY3"/>
                  </a:cxn>
                </a:cxnLst>
                <a:rect l="l" t="t" r="r" b="b"/>
                <a:pathLst>
                  <a:path w="268474" h="18540">
                    <a:moveTo>
                      <a:pt x="268295" y="0"/>
                    </a:moveTo>
                    <a:lnTo>
                      <a:pt x="268475" y="3050"/>
                    </a:lnTo>
                    <a:lnTo>
                      <a:pt x="180" y="18540"/>
                    </a:lnTo>
                    <a:lnTo>
                      <a:pt x="0" y="15430"/>
                    </a:lnTo>
                    <a:close/>
                  </a:path>
                </a:pathLst>
              </a:custGeom>
              <a:grpFill/>
              <a:ln w="5978" cap="flat">
                <a:noFill/>
                <a:prstDash val="solid"/>
                <a:miter/>
              </a:ln>
            </p:spPr>
            <p:txBody>
              <a:bodyPr rtlCol="0" anchor="ctr"/>
              <a:lstStyle/>
              <a:p>
                <a:endParaRPr lang="en-GB"/>
              </a:p>
            </p:txBody>
          </p:sp>
          <p:sp>
            <p:nvSpPr>
              <p:cNvPr id="1532" name="Vrije vorm: vorm 1531">
                <a:extLst>
                  <a:ext uri="{FF2B5EF4-FFF2-40B4-BE49-F238E27FC236}">
                    <a16:creationId xmlns:a16="http://schemas.microsoft.com/office/drawing/2014/main" id="{C841B681-B5B2-474E-91F8-8581AEAAD74C}"/>
                  </a:ext>
                </a:extLst>
              </p:cNvPr>
              <p:cNvSpPr/>
              <p:nvPr/>
            </p:nvSpPr>
            <p:spPr>
              <a:xfrm>
                <a:off x="3947997" y="3528769"/>
                <a:ext cx="18333" cy="18452"/>
              </a:xfrm>
              <a:custGeom>
                <a:avLst/>
                <a:gdLst>
                  <a:gd name="connsiteX0" fmla="*/ 9705 w 18333"/>
                  <a:gd name="connsiteY0" fmla="*/ 18437 h 18452"/>
                  <a:gd name="connsiteX1" fmla="*/ 16 w 18333"/>
                  <a:gd name="connsiteY1" fmla="*/ 9765 h 18452"/>
                  <a:gd name="connsiteX2" fmla="*/ 8629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9" y="16"/>
                    </a:cubicBezTo>
                    <a:cubicBezTo>
                      <a:pt x="13653" y="-283"/>
                      <a:pt x="18018" y="3605"/>
                      <a:pt x="18317" y="8688"/>
                    </a:cubicBezTo>
                    <a:cubicBezTo>
                      <a:pt x="18617" y="13832"/>
                      <a:pt x="14729" y="18198"/>
                      <a:pt x="9705" y="18437"/>
                    </a:cubicBezTo>
                    <a:close/>
                  </a:path>
                </a:pathLst>
              </a:custGeom>
              <a:grpFill/>
              <a:ln w="5978" cap="flat">
                <a:noFill/>
                <a:prstDash val="solid"/>
                <a:miter/>
              </a:ln>
            </p:spPr>
            <p:txBody>
              <a:bodyPr rtlCol="0" anchor="ctr"/>
              <a:lstStyle/>
              <a:p>
                <a:endParaRPr lang="en-GB"/>
              </a:p>
            </p:txBody>
          </p:sp>
          <p:sp>
            <p:nvSpPr>
              <p:cNvPr id="1533" name="Vrije vorm: vorm 1532">
                <a:extLst>
                  <a:ext uri="{FF2B5EF4-FFF2-40B4-BE49-F238E27FC236}">
                    <a16:creationId xmlns:a16="http://schemas.microsoft.com/office/drawing/2014/main" id="{175A6E3F-858A-4E69-AC85-99352634CB97}"/>
                  </a:ext>
                </a:extLst>
              </p:cNvPr>
              <p:cNvSpPr/>
              <p:nvPr/>
            </p:nvSpPr>
            <p:spPr>
              <a:xfrm>
                <a:off x="4215336" y="3513399"/>
                <a:ext cx="18333" cy="18453"/>
              </a:xfrm>
              <a:custGeom>
                <a:avLst/>
                <a:gdLst>
                  <a:gd name="connsiteX0" fmla="*/ 9705 w 18333"/>
                  <a:gd name="connsiteY0" fmla="*/ 18437 h 18453"/>
                  <a:gd name="connsiteX1" fmla="*/ 18317 w 18333"/>
                  <a:gd name="connsiteY1" fmla="*/ 8688 h 18453"/>
                  <a:gd name="connsiteX2" fmla="*/ 8628 w 18333"/>
                  <a:gd name="connsiteY2" fmla="*/ 16 h 18453"/>
                  <a:gd name="connsiteX3" fmla="*/ 16 w 18333"/>
                  <a:gd name="connsiteY3" fmla="*/ 9765 h 18453"/>
                  <a:gd name="connsiteX4" fmla="*/ 9705 w 18333"/>
                  <a:gd name="connsiteY4" fmla="*/ 18437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8437"/>
                    </a:moveTo>
                    <a:cubicBezTo>
                      <a:pt x="14729" y="18138"/>
                      <a:pt x="18616" y="13772"/>
                      <a:pt x="18317" y="8688"/>
                    </a:cubicBezTo>
                    <a:cubicBezTo>
                      <a:pt x="18018" y="3605"/>
                      <a:pt x="13652" y="-283"/>
                      <a:pt x="8628" y="16"/>
                    </a:cubicBezTo>
                    <a:cubicBezTo>
                      <a:pt x="3604" y="315"/>
                      <a:pt x="-283"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1293" name="Graphic 3">
              <a:extLst>
                <a:ext uri="{FF2B5EF4-FFF2-40B4-BE49-F238E27FC236}">
                  <a16:creationId xmlns:a16="http://schemas.microsoft.com/office/drawing/2014/main" id="{727BFF1F-BC15-4DD1-97A5-C65BA6568289}"/>
                </a:ext>
              </a:extLst>
            </p:cNvPr>
            <p:cNvGrpSpPr/>
            <p:nvPr/>
          </p:nvGrpSpPr>
          <p:grpSpPr>
            <a:xfrm>
              <a:off x="4090083" y="3659744"/>
              <a:ext cx="85936" cy="27442"/>
              <a:chOff x="4090083" y="3659744"/>
              <a:chExt cx="85936" cy="27442"/>
            </a:xfrm>
            <a:grpFill/>
          </p:grpSpPr>
          <p:sp>
            <p:nvSpPr>
              <p:cNvPr id="1528" name="Vrije vorm: vorm 1527">
                <a:extLst>
                  <a:ext uri="{FF2B5EF4-FFF2-40B4-BE49-F238E27FC236}">
                    <a16:creationId xmlns:a16="http://schemas.microsoft.com/office/drawing/2014/main" id="{3BE62985-66A3-4711-B953-20C542802B70}"/>
                  </a:ext>
                </a:extLst>
              </p:cNvPr>
              <p:cNvSpPr/>
              <p:nvPr/>
            </p:nvSpPr>
            <p:spPr>
              <a:xfrm>
                <a:off x="4098608" y="3667359"/>
                <a:ext cx="68898" cy="12200"/>
              </a:xfrm>
              <a:custGeom>
                <a:avLst/>
                <a:gdLst>
                  <a:gd name="connsiteX0" fmla="*/ 68479 w 68898"/>
                  <a:gd name="connsiteY0" fmla="*/ 0 h 12200"/>
                  <a:gd name="connsiteX1" fmla="*/ 68898 w 68898"/>
                  <a:gd name="connsiteY1" fmla="*/ 3050 h 12200"/>
                  <a:gd name="connsiteX2" fmla="*/ 419 w 68898"/>
                  <a:gd name="connsiteY2" fmla="*/ 12201 h 12200"/>
                  <a:gd name="connsiteX3" fmla="*/ 0 w 68898"/>
                  <a:gd name="connsiteY3" fmla="*/ 9150 h 12200"/>
                </a:gdLst>
                <a:ahLst/>
                <a:cxnLst>
                  <a:cxn ang="0">
                    <a:pos x="connsiteX0" y="connsiteY0"/>
                  </a:cxn>
                  <a:cxn ang="0">
                    <a:pos x="connsiteX1" y="connsiteY1"/>
                  </a:cxn>
                  <a:cxn ang="0">
                    <a:pos x="connsiteX2" y="connsiteY2"/>
                  </a:cxn>
                  <a:cxn ang="0">
                    <a:pos x="connsiteX3" y="connsiteY3"/>
                  </a:cxn>
                </a:cxnLst>
                <a:rect l="l" t="t" r="r" b="b"/>
                <a:pathLst>
                  <a:path w="68898" h="12200">
                    <a:moveTo>
                      <a:pt x="68479" y="0"/>
                    </a:moveTo>
                    <a:lnTo>
                      <a:pt x="68898" y="3050"/>
                    </a:lnTo>
                    <a:lnTo>
                      <a:pt x="419" y="12201"/>
                    </a:lnTo>
                    <a:lnTo>
                      <a:pt x="0" y="9150"/>
                    </a:lnTo>
                    <a:close/>
                  </a:path>
                </a:pathLst>
              </a:custGeom>
              <a:grpFill/>
              <a:ln w="5978" cap="flat">
                <a:noFill/>
                <a:prstDash val="solid"/>
                <a:miter/>
              </a:ln>
            </p:spPr>
            <p:txBody>
              <a:bodyPr rtlCol="0" anchor="ctr"/>
              <a:lstStyle/>
              <a:p>
                <a:endParaRPr lang="en-GB"/>
              </a:p>
            </p:txBody>
          </p:sp>
          <p:sp>
            <p:nvSpPr>
              <p:cNvPr id="1529" name="Vrije vorm: vorm 1528">
                <a:extLst>
                  <a:ext uri="{FF2B5EF4-FFF2-40B4-BE49-F238E27FC236}">
                    <a16:creationId xmlns:a16="http://schemas.microsoft.com/office/drawing/2014/main" id="{DEBB7980-CF62-44EE-9A07-AA491BC8F6A3}"/>
                  </a:ext>
                </a:extLst>
              </p:cNvPr>
              <p:cNvSpPr/>
              <p:nvPr/>
            </p:nvSpPr>
            <p:spPr>
              <a:xfrm>
                <a:off x="4157678" y="3659744"/>
                <a:ext cx="18340" cy="18398"/>
              </a:xfrm>
              <a:custGeom>
                <a:avLst/>
                <a:gdLst>
                  <a:gd name="connsiteX0" fmla="*/ 7914 w 18340"/>
                  <a:gd name="connsiteY0" fmla="*/ 79 h 18398"/>
                  <a:gd name="connsiteX1" fmla="*/ 18261 w 18340"/>
                  <a:gd name="connsiteY1" fmla="*/ 7973 h 18398"/>
                  <a:gd name="connsiteX2" fmla="*/ 10425 w 18340"/>
                  <a:gd name="connsiteY2" fmla="*/ 18320 h 18398"/>
                  <a:gd name="connsiteX3" fmla="*/ 79 w 18340"/>
                  <a:gd name="connsiteY3" fmla="*/ 10425 h 18398"/>
                  <a:gd name="connsiteX4" fmla="*/ 7914 w 18340"/>
                  <a:gd name="connsiteY4" fmla="*/ 79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398">
                    <a:moveTo>
                      <a:pt x="7914" y="79"/>
                    </a:moveTo>
                    <a:cubicBezTo>
                      <a:pt x="12938" y="-579"/>
                      <a:pt x="17543" y="2950"/>
                      <a:pt x="18261" y="7973"/>
                    </a:cubicBezTo>
                    <a:cubicBezTo>
                      <a:pt x="18918" y="12997"/>
                      <a:pt x="15449" y="17662"/>
                      <a:pt x="10425" y="18320"/>
                    </a:cubicBezTo>
                    <a:cubicBezTo>
                      <a:pt x="5402" y="18978"/>
                      <a:pt x="797" y="15449"/>
                      <a:pt x="79" y="10425"/>
                    </a:cubicBezTo>
                    <a:cubicBezTo>
                      <a:pt x="-579" y="5402"/>
                      <a:pt x="2950" y="737"/>
                      <a:pt x="7914" y="79"/>
                    </a:cubicBezTo>
                    <a:close/>
                  </a:path>
                </a:pathLst>
              </a:custGeom>
              <a:grpFill/>
              <a:ln w="5978" cap="flat">
                <a:noFill/>
                <a:prstDash val="solid"/>
                <a:miter/>
              </a:ln>
            </p:spPr>
            <p:txBody>
              <a:bodyPr rtlCol="0" anchor="ctr"/>
              <a:lstStyle/>
              <a:p>
                <a:endParaRPr lang="en-GB"/>
              </a:p>
            </p:txBody>
          </p:sp>
          <p:sp>
            <p:nvSpPr>
              <p:cNvPr id="1530" name="Vrije vorm: vorm 1529">
                <a:extLst>
                  <a:ext uri="{FF2B5EF4-FFF2-40B4-BE49-F238E27FC236}">
                    <a16:creationId xmlns:a16="http://schemas.microsoft.com/office/drawing/2014/main" id="{A4A0C6B4-49B0-48EE-B200-AB3CE67984F5}"/>
                  </a:ext>
                </a:extLst>
              </p:cNvPr>
              <p:cNvSpPr/>
              <p:nvPr/>
            </p:nvSpPr>
            <p:spPr>
              <a:xfrm>
                <a:off x="4090083" y="3668775"/>
                <a:ext cx="18366" cy="18411"/>
              </a:xfrm>
              <a:custGeom>
                <a:avLst/>
                <a:gdLst>
                  <a:gd name="connsiteX0" fmla="*/ 7927 w 18366"/>
                  <a:gd name="connsiteY0" fmla="*/ 79 h 18411"/>
                  <a:gd name="connsiteX1" fmla="*/ 93 w 18366"/>
                  <a:gd name="connsiteY1" fmla="*/ 10426 h 18411"/>
                  <a:gd name="connsiteX2" fmla="*/ 10439 w 18366"/>
                  <a:gd name="connsiteY2" fmla="*/ 18320 h 18411"/>
                  <a:gd name="connsiteX3" fmla="*/ 18274 w 18366"/>
                  <a:gd name="connsiteY3" fmla="*/ 7973 h 18411"/>
                  <a:gd name="connsiteX4" fmla="*/ 7927 w 18366"/>
                  <a:gd name="connsiteY4" fmla="*/ 79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11">
                    <a:moveTo>
                      <a:pt x="7927" y="79"/>
                    </a:moveTo>
                    <a:cubicBezTo>
                      <a:pt x="2903" y="737"/>
                      <a:pt x="-625" y="5402"/>
                      <a:pt x="93" y="10426"/>
                    </a:cubicBezTo>
                    <a:cubicBezTo>
                      <a:pt x="750" y="15449"/>
                      <a:pt x="5416" y="19038"/>
                      <a:pt x="10439" y="18320"/>
                    </a:cubicBezTo>
                    <a:cubicBezTo>
                      <a:pt x="15463" y="17662"/>
                      <a:pt x="18992" y="12997"/>
                      <a:pt x="18274" y="7973"/>
                    </a:cubicBezTo>
                    <a:cubicBezTo>
                      <a:pt x="17556" y="2950"/>
                      <a:pt x="12951" y="-579"/>
                      <a:pt x="7927" y="79"/>
                    </a:cubicBezTo>
                    <a:close/>
                  </a:path>
                </a:pathLst>
              </a:custGeom>
              <a:grpFill/>
              <a:ln w="5978" cap="flat">
                <a:noFill/>
                <a:prstDash val="solid"/>
                <a:miter/>
              </a:ln>
            </p:spPr>
            <p:txBody>
              <a:bodyPr rtlCol="0" anchor="ctr"/>
              <a:lstStyle/>
              <a:p>
                <a:endParaRPr lang="en-GB"/>
              </a:p>
            </p:txBody>
          </p:sp>
        </p:grpSp>
        <p:grpSp>
          <p:nvGrpSpPr>
            <p:cNvPr id="1294" name="Graphic 3">
              <a:extLst>
                <a:ext uri="{FF2B5EF4-FFF2-40B4-BE49-F238E27FC236}">
                  <a16:creationId xmlns:a16="http://schemas.microsoft.com/office/drawing/2014/main" id="{3C132173-BB11-43F9-9DA2-AA6F1120E875}"/>
                </a:ext>
              </a:extLst>
            </p:cNvPr>
            <p:cNvGrpSpPr/>
            <p:nvPr/>
          </p:nvGrpSpPr>
          <p:grpSpPr>
            <a:xfrm>
              <a:off x="4090095" y="3659672"/>
              <a:ext cx="86474" cy="27502"/>
              <a:chOff x="4090095" y="3659672"/>
              <a:chExt cx="86474" cy="27502"/>
            </a:xfrm>
            <a:grpFill/>
          </p:grpSpPr>
          <p:sp>
            <p:nvSpPr>
              <p:cNvPr id="1525" name="Vrije vorm: vorm 1524">
                <a:extLst>
                  <a:ext uri="{FF2B5EF4-FFF2-40B4-BE49-F238E27FC236}">
                    <a16:creationId xmlns:a16="http://schemas.microsoft.com/office/drawing/2014/main" id="{F7ED148A-0700-43E2-8880-7271DD4E1282}"/>
                  </a:ext>
                </a:extLst>
              </p:cNvPr>
              <p:cNvSpPr/>
              <p:nvPr/>
            </p:nvSpPr>
            <p:spPr>
              <a:xfrm>
                <a:off x="4098608" y="3667299"/>
                <a:ext cx="69436" cy="12260"/>
              </a:xfrm>
              <a:custGeom>
                <a:avLst/>
                <a:gdLst>
                  <a:gd name="connsiteX0" fmla="*/ 69018 w 69436"/>
                  <a:gd name="connsiteY0" fmla="*/ 0 h 12260"/>
                  <a:gd name="connsiteX1" fmla="*/ 69436 w 69436"/>
                  <a:gd name="connsiteY1" fmla="*/ 3050 h 12260"/>
                  <a:gd name="connsiteX2" fmla="*/ 419 w 69436"/>
                  <a:gd name="connsiteY2" fmla="*/ 12260 h 12260"/>
                  <a:gd name="connsiteX3" fmla="*/ 0 w 69436"/>
                  <a:gd name="connsiteY3" fmla="*/ 9210 h 12260"/>
                </a:gdLst>
                <a:ahLst/>
                <a:cxnLst>
                  <a:cxn ang="0">
                    <a:pos x="connsiteX0" y="connsiteY0"/>
                  </a:cxn>
                  <a:cxn ang="0">
                    <a:pos x="connsiteX1" y="connsiteY1"/>
                  </a:cxn>
                  <a:cxn ang="0">
                    <a:pos x="connsiteX2" y="connsiteY2"/>
                  </a:cxn>
                  <a:cxn ang="0">
                    <a:pos x="connsiteX3" y="connsiteY3"/>
                  </a:cxn>
                </a:cxnLst>
                <a:rect l="l" t="t" r="r" b="b"/>
                <a:pathLst>
                  <a:path w="69436" h="12260">
                    <a:moveTo>
                      <a:pt x="69018" y="0"/>
                    </a:moveTo>
                    <a:lnTo>
                      <a:pt x="69436" y="3050"/>
                    </a:lnTo>
                    <a:lnTo>
                      <a:pt x="419" y="12260"/>
                    </a:lnTo>
                    <a:lnTo>
                      <a:pt x="0" y="9210"/>
                    </a:lnTo>
                    <a:close/>
                  </a:path>
                </a:pathLst>
              </a:custGeom>
              <a:grpFill/>
              <a:ln w="5978" cap="flat">
                <a:noFill/>
                <a:prstDash val="solid"/>
                <a:miter/>
              </a:ln>
            </p:spPr>
            <p:txBody>
              <a:bodyPr rtlCol="0" anchor="ctr"/>
              <a:lstStyle/>
              <a:p>
                <a:endParaRPr lang="en-GB"/>
              </a:p>
            </p:txBody>
          </p:sp>
          <p:sp>
            <p:nvSpPr>
              <p:cNvPr id="1526" name="Vrije vorm: vorm 1525">
                <a:extLst>
                  <a:ext uri="{FF2B5EF4-FFF2-40B4-BE49-F238E27FC236}">
                    <a16:creationId xmlns:a16="http://schemas.microsoft.com/office/drawing/2014/main" id="{2C4DE275-6946-4B1B-9626-4E7227BE1AD1}"/>
                  </a:ext>
                </a:extLst>
              </p:cNvPr>
              <p:cNvSpPr/>
              <p:nvPr/>
            </p:nvSpPr>
            <p:spPr>
              <a:xfrm>
                <a:off x="4090095" y="3668775"/>
                <a:ext cx="18341" cy="18399"/>
              </a:xfrm>
              <a:custGeom>
                <a:avLst/>
                <a:gdLst>
                  <a:gd name="connsiteX0" fmla="*/ 10427 w 18341"/>
                  <a:gd name="connsiteY0" fmla="*/ 18320 h 18399"/>
                  <a:gd name="connsiteX1" fmla="*/ 80 w 18341"/>
                  <a:gd name="connsiteY1" fmla="*/ 10426 h 18399"/>
                  <a:gd name="connsiteX2" fmla="*/ 7915 w 18341"/>
                  <a:gd name="connsiteY2" fmla="*/ 79 h 18399"/>
                  <a:gd name="connsiteX3" fmla="*/ 18261 w 18341"/>
                  <a:gd name="connsiteY3" fmla="*/ 7973 h 18399"/>
                  <a:gd name="connsiteX4" fmla="*/ 10427 w 18341"/>
                  <a:gd name="connsiteY4" fmla="*/ 18320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399">
                    <a:moveTo>
                      <a:pt x="10427" y="18320"/>
                    </a:moveTo>
                    <a:cubicBezTo>
                      <a:pt x="5403" y="18978"/>
                      <a:pt x="798" y="15449"/>
                      <a:pt x="80" y="10426"/>
                    </a:cubicBezTo>
                    <a:cubicBezTo>
                      <a:pt x="-578" y="5402"/>
                      <a:pt x="2891" y="737"/>
                      <a:pt x="7915" y="79"/>
                    </a:cubicBezTo>
                    <a:cubicBezTo>
                      <a:pt x="12939" y="-579"/>
                      <a:pt x="17544" y="2950"/>
                      <a:pt x="18261" y="7973"/>
                    </a:cubicBezTo>
                    <a:cubicBezTo>
                      <a:pt x="18919" y="13057"/>
                      <a:pt x="15450" y="17662"/>
                      <a:pt x="10427" y="18320"/>
                    </a:cubicBezTo>
                    <a:close/>
                  </a:path>
                </a:pathLst>
              </a:custGeom>
              <a:grpFill/>
              <a:ln w="5978" cap="flat">
                <a:noFill/>
                <a:prstDash val="solid"/>
                <a:miter/>
              </a:ln>
            </p:spPr>
            <p:txBody>
              <a:bodyPr rtlCol="0" anchor="ctr"/>
              <a:lstStyle/>
              <a:p>
                <a:endParaRPr lang="en-GB"/>
              </a:p>
            </p:txBody>
          </p:sp>
          <p:sp>
            <p:nvSpPr>
              <p:cNvPr id="1527" name="Vrije vorm: vorm 1526">
                <a:extLst>
                  <a:ext uri="{FF2B5EF4-FFF2-40B4-BE49-F238E27FC236}">
                    <a16:creationId xmlns:a16="http://schemas.microsoft.com/office/drawing/2014/main" id="{C0175461-EC17-4038-90EF-DC00112861F4}"/>
                  </a:ext>
                </a:extLst>
              </p:cNvPr>
              <p:cNvSpPr/>
              <p:nvPr/>
            </p:nvSpPr>
            <p:spPr>
              <a:xfrm>
                <a:off x="4158203" y="3659672"/>
                <a:ext cx="18366" cy="18411"/>
              </a:xfrm>
              <a:custGeom>
                <a:avLst/>
                <a:gdLst>
                  <a:gd name="connsiteX0" fmla="*/ 10439 w 18366"/>
                  <a:gd name="connsiteY0" fmla="*/ 18333 h 18411"/>
                  <a:gd name="connsiteX1" fmla="*/ 18274 w 18366"/>
                  <a:gd name="connsiteY1" fmla="*/ 7986 h 18411"/>
                  <a:gd name="connsiteX2" fmla="*/ 7927 w 18366"/>
                  <a:gd name="connsiteY2" fmla="*/ 91 h 18411"/>
                  <a:gd name="connsiteX3" fmla="*/ 93 w 18366"/>
                  <a:gd name="connsiteY3" fmla="*/ 10438 h 18411"/>
                  <a:gd name="connsiteX4" fmla="*/ 10439 w 18366"/>
                  <a:gd name="connsiteY4" fmla="*/ 18333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11">
                    <a:moveTo>
                      <a:pt x="10439" y="18333"/>
                    </a:moveTo>
                    <a:cubicBezTo>
                      <a:pt x="15463" y="17675"/>
                      <a:pt x="18992" y="13010"/>
                      <a:pt x="18274" y="7986"/>
                    </a:cubicBezTo>
                    <a:cubicBezTo>
                      <a:pt x="17616" y="2962"/>
                      <a:pt x="12951" y="-626"/>
                      <a:pt x="7927" y="91"/>
                    </a:cubicBezTo>
                    <a:cubicBezTo>
                      <a:pt x="2903" y="749"/>
                      <a:pt x="-625" y="5414"/>
                      <a:pt x="93" y="10438"/>
                    </a:cubicBezTo>
                    <a:cubicBezTo>
                      <a:pt x="810" y="15462"/>
                      <a:pt x="5415" y="18991"/>
                      <a:pt x="10439" y="18333"/>
                    </a:cubicBezTo>
                    <a:close/>
                  </a:path>
                </a:pathLst>
              </a:custGeom>
              <a:grpFill/>
              <a:ln w="5978" cap="flat">
                <a:noFill/>
                <a:prstDash val="solid"/>
                <a:miter/>
              </a:ln>
            </p:spPr>
            <p:txBody>
              <a:bodyPr rtlCol="0" anchor="ctr"/>
              <a:lstStyle/>
              <a:p>
                <a:endParaRPr lang="en-GB"/>
              </a:p>
            </p:txBody>
          </p:sp>
        </p:grpSp>
        <p:grpSp>
          <p:nvGrpSpPr>
            <p:cNvPr id="1295" name="Graphic 3">
              <a:extLst>
                <a:ext uri="{FF2B5EF4-FFF2-40B4-BE49-F238E27FC236}">
                  <a16:creationId xmlns:a16="http://schemas.microsoft.com/office/drawing/2014/main" id="{47330A7F-904B-4B2C-9011-AF4C2474D254}"/>
                </a:ext>
              </a:extLst>
            </p:cNvPr>
            <p:cNvGrpSpPr/>
            <p:nvPr/>
          </p:nvGrpSpPr>
          <p:grpSpPr>
            <a:xfrm>
              <a:off x="4298191" y="4447595"/>
              <a:ext cx="251809" cy="178762"/>
              <a:chOff x="4298191" y="4447595"/>
              <a:chExt cx="251809" cy="178762"/>
            </a:xfrm>
            <a:grpFill/>
          </p:grpSpPr>
          <p:sp>
            <p:nvSpPr>
              <p:cNvPr id="1522" name="Vrije vorm: vorm 1521">
                <a:extLst>
                  <a:ext uri="{FF2B5EF4-FFF2-40B4-BE49-F238E27FC236}">
                    <a16:creationId xmlns:a16="http://schemas.microsoft.com/office/drawing/2014/main" id="{61138B3A-87CD-4FE8-8540-A960D786FE48}"/>
                  </a:ext>
                </a:extLst>
              </p:cNvPr>
              <p:cNvSpPr/>
              <p:nvPr/>
            </p:nvSpPr>
            <p:spPr>
              <a:xfrm>
                <a:off x="4306079" y="4455319"/>
                <a:ext cx="235939" cy="163333"/>
              </a:xfrm>
              <a:custGeom>
                <a:avLst/>
                <a:gdLst>
                  <a:gd name="connsiteX0" fmla="*/ 235940 w 235939"/>
                  <a:gd name="connsiteY0" fmla="*/ 2512 h 163333"/>
                  <a:gd name="connsiteX1" fmla="*/ 1735 w 235939"/>
                  <a:gd name="connsiteY1" fmla="*/ 163333 h 163333"/>
                  <a:gd name="connsiteX2" fmla="*/ 0 w 235939"/>
                  <a:gd name="connsiteY2" fmla="*/ 160822 h 163333"/>
                  <a:gd name="connsiteX3" fmla="*/ 234265 w 235939"/>
                  <a:gd name="connsiteY3" fmla="*/ 0 h 163333"/>
                </a:gdLst>
                <a:ahLst/>
                <a:cxnLst>
                  <a:cxn ang="0">
                    <a:pos x="connsiteX0" y="connsiteY0"/>
                  </a:cxn>
                  <a:cxn ang="0">
                    <a:pos x="connsiteX1" y="connsiteY1"/>
                  </a:cxn>
                  <a:cxn ang="0">
                    <a:pos x="connsiteX2" y="connsiteY2"/>
                  </a:cxn>
                  <a:cxn ang="0">
                    <a:pos x="connsiteX3" y="connsiteY3"/>
                  </a:cxn>
                </a:cxnLst>
                <a:rect l="l" t="t" r="r" b="b"/>
                <a:pathLst>
                  <a:path w="235939" h="163333">
                    <a:moveTo>
                      <a:pt x="235940" y="2512"/>
                    </a:moveTo>
                    <a:lnTo>
                      <a:pt x="1735" y="163333"/>
                    </a:lnTo>
                    <a:lnTo>
                      <a:pt x="0" y="160822"/>
                    </a:lnTo>
                    <a:lnTo>
                      <a:pt x="234265" y="0"/>
                    </a:lnTo>
                    <a:close/>
                  </a:path>
                </a:pathLst>
              </a:custGeom>
              <a:grpFill/>
              <a:ln w="5978" cap="flat">
                <a:noFill/>
                <a:prstDash val="solid"/>
                <a:miter/>
              </a:ln>
            </p:spPr>
            <p:txBody>
              <a:bodyPr rtlCol="0" anchor="ctr"/>
              <a:lstStyle/>
              <a:p>
                <a:endParaRPr lang="en-GB"/>
              </a:p>
            </p:txBody>
          </p:sp>
          <p:sp>
            <p:nvSpPr>
              <p:cNvPr id="1523" name="Vrije vorm: vorm 1522">
                <a:extLst>
                  <a:ext uri="{FF2B5EF4-FFF2-40B4-BE49-F238E27FC236}">
                    <a16:creationId xmlns:a16="http://schemas.microsoft.com/office/drawing/2014/main" id="{91F29781-3B18-40FD-8FF0-C917F32B8D3E}"/>
                  </a:ext>
                </a:extLst>
              </p:cNvPr>
              <p:cNvSpPr/>
              <p:nvPr/>
            </p:nvSpPr>
            <p:spPr>
              <a:xfrm>
                <a:off x="4298191" y="4607896"/>
                <a:ext cx="18322" cy="18461"/>
              </a:xfrm>
              <a:custGeom>
                <a:avLst/>
                <a:gdLst>
                  <a:gd name="connsiteX0" fmla="*/ 14348 w 18322"/>
                  <a:gd name="connsiteY0" fmla="*/ 16856 h 18461"/>
                  <a:gd name="connsiteX1" fmla="*/ 1609 w 18322"/>
                  <a:gd name="connsiteY1" fmla="*/ 14404 h 18461"/>
                  <a:gd name="connsiteX2" fmla="*/ 4001 w 18322"/>
                  <a:gd name="connsiteY2" fmla="*/ 1606 h 18461"/>
                  <a:gd name="connsiteX3" fmla="*/ 16740 w 18322"/>
                  <a:gd name="connsiteY3" fmla="*/ 4057 h 18461"/>
                  <a:gd name="connsiteX4" fmla="*/ 14348 w 18322"/>
                  <a:gd name="connsiteY4" fmla="*/ 16856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61">
                    <a:moveTo>
                      <a:pt x="14348" y="16856"/>
                    </a:moveTo>
                    <a:cubicBezTo>
                      <a:pt x="10161" y="19727"/>
                      <a:pt x="4479" y="18650"/>
                      <a:pt x="1609" y="14404"/>
                    </a:cubicBezTo>
                    <a:cubicBezTo>
                      <a:pt x="-1262" y="10218"/>
                      <a:pt x="-186" y="4476"/>
                      <a:pt x="4001" y="1606"/>
                    </a:cubicBezTo>
                    <a:cubicBezTo>
                      <a:pt x="8188" y="-1265"/>
                      <a:pt x="13869" y="-189"/>
                      <a:pt x="16740" y="4057"/>
                    </a:cubicBezTo>
                    <a:cubicBezTo>
                      <a:pt x="19551" y="8244"/>
                      <a:pt x="18534" y="13986"/>
                      <a:pt x="14348" y="16856"/>
                    </a:cubicBezTo>
                    <a:close/>
                  </a:path>
                </a:pathLst>
              </a:custGeom>
              <a:grpFill/>
              <a:ln w="5978" cap="flat">
                <a:noFill/>
                <a:prstDash val="solid"/>
                <a:miter/>
              </a:ln>
            </p:spPr>
            <p:txBody>
              <a:bodyPr rtlCol="0" anchor="ctr"/>
              <a:lstStyle/>
              <a:p>
                <a:endParaRPr lang="en-GB"/>
              </a:p>
            </p:txBody>
          </p:sp>
          <p:sp>
            <p:nvSpPr>
              <p:cNvPr id="1524" name="Vrije vorm: vorm 1523">
                <a:extLst>
                  <a:ext uri="{FF2B5EF4-FFF2-40B4-BE49-F238E27FC236}">
                    <a16:creationId xmlns:a16="http://schemas.microsoft.com/office/drawing/2014/main" id="{61ABEA2A-CC70-4020-A12B-6BE2E9BC53EE}"/>
                  </a:ext>
                </a:extLst>
              </p:cNvPr>
              <p:cNvSpPr/>
              <p:nvPr/>
            </p:nvSpPr>
            <p:spPr>
              <a:xfrm>
                <a:off x="4531705" y="4447595"/>
                <a:ext cx="18296" cy="18419"/>
              </a:xfrm>
              <a:custGeom>
                <a:avLst/>
                <a:gdLst>
                  <a:gd name="connsiteX0" fmla="*/ 14321 w 18296"/>
                  <a:gd name="connsiteY0" fmla="*/ 16814 h 18419"/>
                  <a:gd name="connsiteX1" fmla="*/ 16714 w 18296"/>
                  <a:gd name="connsiteY1" fmla="*/ 4015 h 18419"/>
                  <a:gd name="connsiteX2" fmla="*/ 3975 w 18296"/>
                  <a:gd name="connsiteY2" fmla="*/ 1563 h 18419"/>
                  <a:gd name="connsiteX3" fmla="*/ 1583 w 18296"/>
                  <a:gd name="connsiteY3" fmla="*/ 14362 h 18419"/>
                  <a:gd name="connsiteX4" fmla="*/ 14321 w 18296"/>
                  <a:gd name="connsiteY4" fmla="*/ 16814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 h="18419">
                    <a:moveTo>
                      <a:pt x="14321" y="16814"/>
                    </a:moveTo>
                    <a:cubicBezTo>
                      <a:pt x="18508" y="13944"/>
                      <a:pt x="19525" y="8202"/>
                      <a:pt x="16714" y="4015"/>
                    </a:cubicBezTo>
                    <a:cubicBezTo>
                      <a:pt x="13843" y="-171"/>
                      <a:pt x="8161" y="-1248"/>
                      <a:pt x="3975" y="1563"/>
                    </a:cubicBezTo>
                    <a:cubicBezTo>
                      <a:pt x="-212" y="4434"/>
                      <a:pt x="-1229" y="10176"/>
                      <a:pt x="1583" y="14362"/>
                    </a:cubicBezTo>
                    <a:cubicBezTo>
                      <a:pt x="4393" y="18608"/>
                      <a:pt x="10135" y="19685"/>
                      <a:pt x="14321" y="16814"/>
                    </a:cubicBezTo>
                    <a:close/>
                  </a:path>
                </a:pathLst>
              </a:custGeom>
              <a:grpFill/>
              <a:ln w="5978" cap="flat">
                <a:noFill/>
                <a:prstDash val="solid"/>
                <a:miter/>
              </a:ln>
            </p:spPr>
            <p:txBody>
              <a:bodyPr rtlCol="0" anchor="ctr"/>
              <a:lstStyle/>
              <a:p>
                <a:endParaRPr lang="en-GB"/>
              </a:p>
            </p:txBody>
          </p:sp>
        </p:grpSp>
        <p:grpSp>
          <p:nvGrpSpPr>
            <p:cNvPr id="1296" name="Graphic 3">
              <a:extLst>
                <a:ext uri="{FF2B5EF4-FFF2-40B4-BE49-F238E27FC236}">
                  <a16:creationId xmlns:a16="http://schemas.microsoft.com/office/drawing/2014/main" id="{693F3083-C028-42E9-9D1D-66C1DF448C07}"/>
                </a:ext>
              </a:extLst>
            </p:cNvPr>
            <p:cNvGrpSpPr/>
            <p:nvPr/>
          </p:nvGrpSpPr>
          <p:grpSpPr>
            <a:xfrm>
              <a:off x="3802263" y="3536979"/>
              <a:ext cx="565178" cy="19198"/>
              <a:chOff x="3802263" y="3536979"/>
              <a:chExt cx="565178" cy="19198"/>
            </a:xfrm>
            <a:grpFill/>
          </p:grpSpPr>
          <p:sp>
            <p:nvSpPr>
              <p:cNvPr id="1519" name="Vrije vorm: vorm 1518">
                <a:extLst>
                  <a:ext uri="{FF2B5EF4-FFF2-40B4-BE49-F238E27FC236}">
                    <a16:creationId xmlns:a16="http://schemas.microsoft.com/office/drawing/2014/main" id="{05436849-A8B2-40AF-9FA8-15B571E8F7B2}"/>
                  </a:ext>
                </a:extLst>
              </p:cNvPr>
              <p:cNvSpPr/>
              <p:nvPr/>
            </p:nvSpPr>
            <p:spPr>
              <a:xfrm>
                <a:off x="3810935" y="3544634"/>
                <a:ext cx="547834" cy="3827"/>
              </a:xfrm>
              <a:custGeom>
                <a:avLst/>
                <a:gdLst>
                  <a:gd name="connsiteX0" fmla="*/ 547775 w 547834"/>
                  <a:gd name="connsiteY0" fmla="*/ 0 h 3827"/>
                  <a:gd name="connsiteX1" fmla="*/ 547834 w 547834"/>
                  <a:gd name="connsiteY1" fmla="*/ 3050 h 3827"/>
                  <a:gd name="connsiteX2" fmla="*/ 60 w 547834"/>
                  <a:gd name="connsiteY2" fmla="*/ 3828 h 3827"/>
                  <a:gd name="connsiteX3" fmla="*/ 0 w 547834"/>
                  <a:gd name="connsiteY3" fmla="*/ 778 h 3827"/>
                </a:gdLst>
                <a:ahLst/>
                <a:cxnLst>
                  <a:cxn ang="0">
                    <a:pos x="connsiteX0" y="connsiteY0"/>
                  </a:cxn>
                  <a:cxn ang="0">
                    <a:pos x="connsiteX1" y="connsiteY1"/>
                  </a:cxn>
                  <a:cxn ang="0">
                    <a:pos x="connsiteX2" y="connsiteY2"/>
                  </a:cxn>
                  <a:cxn ang="0">
                    <a:pos x="connsiteX3" y="connsiteY3"/>
                  </a:cxn>
                </a:cxnLst>
                <a:rect l="l" t="t" r="r" b="b"/>
                <a:pathLst>
                  <a:path w="547834" h="3827">
                    <a:moveTo>
                      <a:pt x="547775" y="0"/>
                    </a:moveTo>
                    <a:lnTo>
                      <a:pt x="547834" y="3050"/>
                    </a:lnTo>
                    <a:lnTo>
                      <a:pt x="60" y="3828"/>
                    </a:lnTo>
                    <a:lnTo>
                      <a:pt x="0" y="778"/>
                    </a:lnTo>
                    <a:close/>
                  </a:path>
                </a:pathLst>
              </a:custGeom>
              <a:grpFill/>
              <a:ln w="5978" cap="flat">
                <a:noFill/>
                <a:prstDash val="solid"/>
                <a:miter/>
              </a:ln>
            </p:spPr>
            <p:txBody>
              <a:bodyPr rtlCol="0" anchor="ctr"/>
              <a:lstStyle/>
              <a:p>
                <a:endParaRPr lang="en-GB"/>
              </a:p>
            </p:txBody>
          </p:sp>
          <p:sp>
            <p:nvSpPr>
              <p:cNvPr id="1520" name="Vrije vorm: vorm 1519">
                <a:extLst>
                  <a:ext uri="{FF2B5EF4-FFF2-40B4-BE49-F238E27FC236}">
                    <a16:creationId xmlns:a16="http://schemas.microsoft.com/office/drawing/2014/main" id="{4E4C3E0A-0E67-4801-BD26-4BB375E6B4F2}"/>
                  </a:ext>
                </a:extLst>
              </p:cNvPr>
              <p:cNvSpPr/>
              <p:nvPr/>
            </p:nvSpPr>
            <p:spPr>
              <a:xfrm>
                <a:off x="4349140" y="3536979"/>
                <a:ext cx="18301" cy="18420"/>
              </a:xfrm>
              <a:custGeom>
                <a:avLst/>
                <a:gdLst>
                  <a:gd name="connsiteX0" fmla="*/ 9091 w 18301"/>
                  <a:gd name="connsiteY0" fmla="*/ 0 h 18420"/>
                  <a:gd name="connsiteX1" fmla="*/ 18302 w 18301"/>
                  <a:gd name="connsiteY1" fmla="*/ 9210 h 18420"/>
                  <a:gd name="connsiteX2" fmla="*/ 9211 w 18301"/>
                  <a:gd name="connsiteY2" fmla="*/ 18421 h 18420"/>
                  <a:gd name="connsiteX3" fmla="*/ 1 w 18301"/>
                  <a:gd name="connsiteY3" fmla="*/ 9210 h 18420"/>
                  <a:gd name="connsiteX4" fmla="*/ 9091 w 18301"/>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0">
                    <a:moveTo>
                      <a:pt x="9091" y="0"/>
                    </a:moveTo>
                    <a:cubicBezTo>
                      <a:pt x="14175" y="0"/>
                      <a:pt x="18302" y="4127"/>
                      <a:pt x="18302" y="9210"/>
                    </a:cubicBezTo>
                    <a:cubicBezTo>
                      <a:pt x="18302" y="14294"/>
                      <a:pt x="14235" y="18421"/>
                      <a:pt x="9211" y="18421"/>
                    </a:cubicBezTo>
                    <a:cubicBezTo>
                      <a:pt x="4127" y="18421"/>
                      <a:pt x="1" y="14294"/>
                      <a:pt x="1" y="9210"/>
                    </a:cubicBezTo>
                    <a:cubicBezTo>
                      <a:pt x="-59" y="4127"/>
                      <a:pt x="4008" y="0"/>
                      <a:pt x="9091" y="0"/>
                    </a:cubicBezTo>
                    <a:close/>
                  </a:path>
                </a:pathLst>
              </a:custGeom>
              <a:grpFill/>
              <a:ln w="5978" cap="flat">
                <a:noFill/>
                <a:prstDash val="solid"/>
                <a:miter/>
              </a:ln>
            </p:spPr>
            <p:txBody>
              <a:bodyPr rtlCol="0" anchor="ctr"/>
              <a:lstStyle/>
              <a:p>
                <a:endParaRPr lang="en-GB"/>
              </a:p>
            </p:txBody>
          </p:sp>
          <p:sp>
            <p:nvSpPr>
              <p:cNvPr id="1521" name="Vrije vorm: vorm 1520">
                <a:extLst>
                  <a:ext uri="{FF2B5EF4-FFF2-40B4-BE49-F238E27FC236}">
                    <a16:creationId xmlns:a16="http://schemas.microsoft.com/office/drawing/2014/main" id="{90AA1CF5-7D1A-4AA2-BF3C-223531DEDA4E}"/>
                  </a:ext>
                </a:extLst>
              </p:cNvPr>
              <p:cNvSpPr/>
              <p:nvPr/>
            </p:nvSpPr>
            <p:spPr>
              <a:xfrm>
                <a:off x="3802263" y="3537756"/>
                <a:ext cx="18302" cy="18420"/>
              </a:xfrm>
              <a:custGeom>
                <a:avLst/>
                <a:gdLst>
                  <a:gd name="connsiteX0" fmla="*/ 9091 w 18302"/>
                  <a:gd name="connsiteY0" fmla="*/ 0 h 18420"/>
                  <a:gd name="connsiteX1" fmla="*/ 1 w 18302"/>
                  <a:gd name="connsiteY1" fmla="*/ 9210 h 18420"/>
                  <a:gd name="connsiteX2" fmla="*/ 9211 w 18302"/>
                  <a:gd name="connsiteY2" fmla="*/ 18421 h 18420"/>
                  <a:gd name="connsiteX3" fmla="*/ 18302 w 18302"/>
                  <a:gd name="connsiteY3" fmla="*/ 9210 h 18420"/>
                  <a:gd name="connsiteX4" fmla="*/ 9091 w 18302"/>
                  <a:gd name="connsiteY4" fmla="*/ 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091" y="0"/>
                    </a:moveTo>
                    <a:cubicBezTo>
                      <a:pt x="4008" y="0"/>
                      <a:pt x="-59" y="4127"/>
                      <a:pt x="1" y="9210"/>
                    </a:cubicBezTo>
                    <a:cubicBezTo>
                      <a:pt x="1" y="14294"/>
                      <a:pt x="4127" y="18421"/>
                      <a:pt x="9211" y="18421"/>
                    </a:cubicBezTo>
                    <a:cubicBezTo>
                      <a:pt x="14295" y="18421"/>
                      <a:pt x="18362" y="14294"/>
                      <a:pt x="18302" y="9210"/>
                    </a:cubicBezTo>
                    <a:cubicBezTo>
                      <a:pt x="18242" y="4127"/>
                      <a:pt x="14175" y="0"/>
                      <a:pt x="9091" y="0"/>
                    </a:cubicBezTo>
                    <a:close/>
                  </a:path>
                </a:pathLst>
              </a:custGeom>
              <a:grpFill/>
              <a:ln w="5978" cap="flat">
                <a:noFill/>
                <a:prstDash val="solid"/>
                <a:miter/>
              </a:ln>
            </p:spPr>
            <p:txBody>
              <a:bodyPr rtlCol="0" anchor="ctr"/>
              <a:lstStyle/>
              <a:p>
                <a:endParaRPr lang="en-GB"/>
              </a:p>
            </p:txBody>
          </p:sp>
        </p:grpSp>
        <p:grpSp>
          <p:nvGrpSpPr>
            <p:cNvPr id="1297" name="Graphic 3">
              <a:extLst>
                <a:ext uri="{FF2B5EF4-FFF2-40B4-BE49-F238E27FC236}">
                  <a16:creationId xmlns:a16="http://schemas.microsoft.com/office/drawing/2014/main" id="{92306D04-303B-43AA-AE46-80282D414C1E}"/>
                </a:ext>
              </a:extLst>
            </p:cNvPr>
            <p:cNvGrpSpPr/>
            <p:nvPr/>
          </p:nvGrpSpPr>
          <p:grpSpPr>
            <a:xfrm>
              <a:off x="4045856" y="3447923"/>
              <a:ext cx="24585" cy="18545"/>
              <a:chOff x="4045856" y="3447923"/>
              <a:chExt cx="24585" cy="18545"/>
            </a:xfrm>
            <a:grpFill/>
          </p:grpSpPr>
          <p:sp>
            <p:nvSpPr>
              <p:cNvPr id="1516" name="Vrije vorm: vorm 1515">
                <a:extLst>
                  <a:ext uri="{FF2B5EF4-FFF2-40B4-BE49-F238E27FC236}">
                    <a16:creationId xmlns:a16="http://schemas.microsoft.com/office/drawing/2014/main" id="{503A2479-4AFB-4B0B-9DE9-6A08B673EBE5}"/>
                  </a:ext>
                </a:extLst>
              </p:cNvPr>
              <p:cNvSpPr/>
              <p:nvPr/>
            </p:nvSpPr>
            <p:spPr>
              <a:xfrm>
                <a:off x="4054530" y="3455581"/>
                <a:ext cx="7236" cy="3229"/>
              </a:xfrm>
              <a:custGeom>
                <a:avLst/>
                <a:gdLst>
                  <a:gd name="connsiteX0" fmla="*/ 7177 w 7236"/>
                  <a:gd name="connsiteY0" fmla="*/ 0 h 3229"/>
                  <a:gd name="connsiteX1" fmla="*/ 7237 w 7236"/>
                  <a:gd name="connsiteY1" fmla="*/ 3110 h 3229"/>
                  <a:gd name="connsiteX2" fmla="*/ 60 w 7236"/>
                  <a:gd name="connsiteY2" fmla="*/ 3229 h 3229"/>
                  <a:gd name="connsiteX3" fmla="*/ 0 w 7236"/>
                  <a:gd name="connsiteY3" fmla="*/ 179 h 3229"/>
                </a:gdLst>
                <a:ahLst/>
                <a:cxnLst>
                  <a:cxn ang="0">
                    <a:pos x="connsiteX0" y="connsiteY0"/>
                  </a:cxn>
                  <a:cxn ang="0">
                    <a:pos x="connsiteX1" y="connsiteY1"/>
                  </a:cxn>
                  <a:cxn ang="0">
                    <a:pos x="connsiteX2" y="connsiteY2"/>
                  </a:cxn>
                  <a:cxn ang="0">
                    <a:pos x="connsiteX3" y="connsiteY3"/>
                  </a:cxn>
                </a:cxnLst>
                <a:rect l="l" t="t" r="r" b="b"/>
                <a:pathLst>
                  <a:path w="7236" h="3229">
                    <a:moveTo>
                      <a:pt x="7177" y="0"/>
                    </a:moveTo>
                    <a:lnTo>
                      <a:pt x="7237" y="3110"/>
                    </a:lnTo>
                    <a:lnTo>
                      <a:pt x="60" y="3229"/>
                    </a:lnTo>
                    <a:lnTo>
                      <a:pt x="0" y="179"/>
                    </a:lnTo>
                    <a:close/>
                  </a:path>
                </a:pathLst>
              </a:custGeom>
              <a:grpFill/>
              <a:ln w="5978" cap="flat">
                <a:noFill/>
                <a:prstDash val="solid"/>
                <a:miter/>
              </a:ln>
            </p:spPr>
            <p:txBody>
              <a:bodyPr rtlCol="0" anchor="ctr"/>
              <a:lstStyle/>
              <a:p>
                <a:endParaRPr lang="en-GB"/>
              </a:p>
            </p:txBody>
          </p:sp>
          <p:sp>
            <p:nvSpPr>
              <p:cNvPr id="1517" name="Vrije vorm: vorm 1516">
                <a:extLst>
                  <a:ext uri="{FF2B5EF4-FFF2-40B4-BE49-F238E27FC236}">
                    <a16:creationId xmlns:a16="http://schemas.microsoft.com/office/drawing/2014/main" id="{F3FA59FD-F12D-462C-86C5-135F639BAC3F}"/>
                  </a:ext>
                </a:extLst>
              </p:cNvPr>
              <p:cNvSpPr/>
              <p:nvPr/>
            </p:nvSpPr>
            <p:spPr>
              <a:xfrm>
                <a:off x="4045856" y="3448043"/>
                <a:ext cx="18363" cy="18425"/>
              </a:xfrm>
              <a:custGeom>
                <a:avLst/>
                <a:gdLst>
                  <a:gd name="connsiteX0" fmla="*/ 9392 w 18363"/>
                  <a:gd name="connsiteY0" fmla="*/ 18423 h 18425"/>
                  <a:gd name="connsiteX1" fmla="*/ 3 w 18363"/>
                  <a:gd name="connsiteY1" fmla="*/ 9392 h 18425"/>
                  <a:gd name="connsiteX2" fmla="*/ 8974 w 18363"/>
                  <a:gd name="connsiteY2" fmla="*/ 3 h 18425"/>
                  <a:gd name="connsiteX3" fmla="*/ 18363 w 18363"/>
                  <a:gd name="connsiteY3" fmla="*/ 9034 h 18425"/>
                  <a:gd name="connsiteX4" fmla="*/ 9392 w 18363"/>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3" h="18425">
                    <a:moveTo>
                      <a:pt x="9392" y="18423"/>
                    </a:moveTo>
                    <a:cubicBezTo>
                      <a:pt x="4309" y="18543"/>
                      <a:pt x="122" y="14476"/>
                      <a:pt x="3" y="9392"/>
                    </a:cubicBezTo>
                    <a:cubicBezTo>
                      <a:pt x="-117" y="4309"/>
                      <a:pt x="3890" y="122"/>
                      <a:pt x="8974" y="3"/>
                    </a:cubicBezTo>
                    <a:cubicBezTo>
                      <a:pt x="14057" y="-117"/>
                      <a:pt x="18244" y="3950"/>
                      <a:pt x="18363" y="9034"/>
                    </a:cubicBezTo>
                    <a:cubicBezTo>
                      <a:pt x="18423" y="14117"/>
                      <a:pt x="14416" y="18363"/>
                      <a:pt x="9392" y="18423"/>
                    </a:cubicBezTo>
                    <a:close/>
                  </a:path>
                </a:pathLst>
              </a:custGeom>
              <a:grpFill/>
              <a:ln w="5978" cap="flat">
                <a:noFill/>
                <a:prstDash val="solid"/>
                <a:miter/>
              </a:ln>
            </p:spPr>
            <p:txBody>
              <a:bodyPr rtlCol="0" anchor="ctr"/>
              <a:lstStyle/>
              <a:p>
                <a:endParaRPr lang="en-GB"/>
              </a:p>
            </p:txBody>
          </p:sp>
          <p:sp>
            <p:nvSpPr>
              <p:cNvPr id="1518" name="Vrije vorm: vorm 1517">
                <a:extLst>
                  <a:ext uri="{FF2B5EF4-FFF2-40B4-BE49-F238E27FC236}">
                    <a16:creationId xmlns:a16="http://schemas.microsoft.com/office/drawing/2014/main" id="{335F0E3B-7A24-45DD-8006-2C5620E616F8}"/>
                  </a:ext>
                </a:extLst>
              </p:cNvPr>
              <p:cNvSpPr/>
              <p:nvPr/>
            </p:nvSpPr>
            <p:spPr>
              <a:xfrm>
                <a:off x="4052076" y="3447923"/>
                <a:ext cx="18366" cy="18425"/>
              </a:xfrm>
              <a:custGeom>
                <a:avLst/>
                <a:gdLst>
                  <a:gd name="connsiteX0" fmla="*/ 9392 w 18366"/>
                  <a:gd name="connsiteY0" fmla="*/ 18423 h 18425"/>
                  <a:gd name="connsiteX1" fmla="*/ 18363 w 18366"/>
                  <a:gd name="connsiteY1" fmla="*/ 9034 h 18425"/>
                  <a:gd name="connsiteX2" fmla="*/ 8974 w 18366"/>
                  <a:gd name="connsiteY2" fmla="*/ 3 h 18425"/>
                  <a:gd name="connsiteX3" fmla="*/ 3 w 18366"/>
                  <a:gd name="connsiteY3" fmla="*/ 9392 h 18425"/>
                  <a:gd name="connsiteX4" fmla="*/ 9392 w 18366"/>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6" h="18425">
                    <a:moveTo>
                      <a:pt x="9392" y="18423"/>
                    </a:moveTo>
                    <a:cubicBezTo>
                      <a:pt x="14476" y="18304"/>
                      <a:pt x="18483" y="14117"/>
                      <a:pt x="18363" y="9034"/>
                    </a:cubicBezTo>
                    <a:cubicBezTo>
                      <a:pt x="18244" y="3950"/>
                      <a:pt x="14057" y="-117"/>
                      <a:pt x="8974" y="3"/>
                    </a:cubicBezTo>
                    <a:cubicBezTo>
                      <a:pt x="3890" y="122"/>
                      <a:pt x="-117" y="4309"/>
                      <a:pt x="3" y="9392"/>
                    </a:cubicBezTo>
                    <a:cubicBezTo>
                      <a:pt x="182" y="14476"/>
                      <a:pt x="4368" y="18543"/>
                      <a:pt x="9392" y="18423"/>
                    </a:cubicBezTo>
                    <a:close/>
                  </a:path>
                </a:pathLst>
              </a:custGeom>
              <a:grpFill/>
              <a:ln w="5978" cap="flat">
                <a:noFill/>
                <a:prstDash val="solid"/>
                <a:miter/>
              </a:ln>
            </p:spPr>
            <p:txBody>
              <a:bodyPr rtlCol="0" anchor="ctr"/>
              <a:lstStyle/>
              <a:p>
                <a:endParaRPr lang="en-GB"/>
              </a:p>
            </p:txBody>
          </p:sp>
        </p:grpSp>
        <p:grpSp>
          <p:nvGrpSpPr>
            <p:cNvPr id="1298" name="Graphic 3">
              <a:extLst>
                <a:ext uri="{FF2B5EF4-FFF2-40B4-BE49-F238E27FC236}">
                  <a16:creationId xmlns:a16="http://schemas.microsoft.com/office/drawing/2014/main" id="{70387BE4-6EEE-4E4F-AEC9-201086C88AC4}"/>
                </a:ext>
              </a:extLst>
            </p:cNvPr>
            <p:cNvGrpSpPr/>
            <p:nvPr/>
          </p:nvGrpSpPr>
          <p:grpSpPr>
            <a:xfrm>
              <a:off x="3680886" y="2632546"/>
              <a:ext cx="229895" cy="87793"/>
              <a:chOff x="3680886" y="2632546"/>
              <a:chExt cx="229895" cy="87793"/>
            </a:xfrm>
            <a:grpFill/>
          </p:grpSpPr>
          <p:sp>
            <p:nvSpPr>
              <p:cNvPr id="1513" name="Vrije vorm: vorm 1512">
                <a:extLst>
                  <a:ext uri="{FF2B5EF4-FFF2-40B4-BE49-F238E27FC236}">
                    <a16:creationId xmlns:a16="http://schemas.microsoft.com/office/drawing/2014/main" id="{FFAC0CCD-6C68-4541-86CB-5A18B868B600}"/>
                  </a:ext>
                </a:extLst>
              </p:cNvPr>
              <p:cNvSpPr/>
              <p:nvPr/>
            </p:nvSpPr>
            <p:spPr>
              <a:xfrm>
                <a:off x="3689168" y="2640170"/>
                <a:ext cx="213332" cy="72546"/>
              </a:xfrm>
              <a:custGeom>
                <a:avLst/>
                <a:gdLst>
                  <a:gd name="connsiteX0" fmla="*/ 213332 w 213332"/>
                  <a:gd name="connsiteY0" fmla="*/ 69616 h 72546"/>
                  <a:gd name="connsiteX1" fmla="*/ 212376 w 213332"/>
                  <a:gd name="connsiteY1" fmla="*/ 72546 h 72546"/>
                  <a:gd name="connsiteX2" fmla="*/ 0 w 213332"/>
                  <a:gd name="connsiteY2" fmla="*/ 2931 h 72546"/>
                  <a:gd name="connsiteX3" fmla="*/ 897 w 213332"/>
                  <a:gd name="connsiteY3" fmla="*/ 0 h 72546"/>
                </a:gdLst>
                <a:ahLst/>
                <a:cxnLst>
                  <a:cxn ang="0">
                    <a:pos x="connsiteX0" y="connsiteY0"/>
                  </a:cxn>
                  <a:cxn ang="0">
                    <a:pos x="connsiteX1" y="connsiteY1"/>
                  </a:cxn>
                  <a:cxn ang="0">
                    <a:pos x="connsiteX2" y="connsiteY2"/>
                  </a:cxn>
                  <a:cxn ang="0">
                    <a:pos x="connsiteX3" y="connsiteY3"/>
                  </a:cxn>
                </a:cxnLst>
                <a:rect l="l" t="t" r="r" b="b"/>
                <a:pathLst>
                  <a:path w="213332" h="72546">
                    <a:moveTo>
                      <a:pt x="213332" y="69616"/>
                    </a:moveTo>
                    <a:lnTo>
                      <a:pt x="212376" y="72546"/>
                    </a:lnTo>
                    <a:lnTo>
                      <a:pt x="0" y="2931"/>
                    </a:lnTo>
                    <a:lnTo>
                      <a:pt x="897" y="0"/>
                    </a:lnTo>
                    <a:close/>
                  </a:path>
                </a:pathLst>
              </a:custGeom>
              <a:grpFill/>
              <a:ln w="5978" cap="flat">
                <a:noFill/>
                <a:prstDash val="solid"/>
                <a:miter/>
              </a:ln>
            </p:spPr>
            <p:txBody>
              <a:bodyPr rtlCol="0" anchor="ctr"/>
              <a:lstStyle/>
              <a:p>
                <a:endParaRPr lang="en-GB"/>
              </a:p>
            </p:txBody>
          </p:sp>
          <p:sp>
            <p:nvSpPr>
              <p:cNvPr id="1514" name="Vrije vorm: vorm 1513">
                <a:extLst>
                  <a:ext uri="{FF2B5EF4-FFF2-40B4-BE49-F238E27FC236}">
                    <a16:creationId xmlns:a16="http://schemas.microsoft.com/office/drawing/2014/main" id="{D0804835-6A3D-4A5A-A3E2-7DEA86C5A89A}"/>
                  </a:ext>
                </a:extLst>
              </p:cNvPr>
              <p:cNvSpPr/>
              <p:nvPr/>
            </p:nvSpPr>
            <p:spPr>
              <a:xfrm>
                <a:off x="3680886" y="2632546"/>
                <a:ext cx="18357" cy="18439"/>
              </a:xfrm>
              <a:custGeom>
                <a:avLst/>
                <a:gdLst>
                  <a:gd name="connsiteX0" fmla="*/ 6368 w 18357"/>
                  <a:gd name="connsiteY0" fmla="*/ 17970 h 18439"/>
                  <a:gd name="connsiteX1" fmla="*/ 447 w 18357"/>
                  <a:gd name="connsiteY1" fmla="*/ 6368 h 18439"/>
                  <a:gd name="connsiteX2" fmla="*/ 11990 w 18357"/>
                  <a:gd name="connsiteY2" fmla="*/ 447 h 18439"/>
                  <a:gd name="connsiteX3" fmla="*/ 17910 w 18357"/>
                  <a:gd name="connsiteY3" fmla="*/ 12049 h 18439"/>
                  <a:gd name="connsiteX4" fmla="*/ 6368 w 18357"/>
                  <a:gd name="connsiteY4" fmla="*/ 1797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39">
                    <a:moveTo>
                      <a:pt x="6368" y="17970"/>
                    </a:moveTo>
                    <a:cubicBezTo>
                      <a:pt x="1523" y="16415"/>
                      <a:pt x="-1108" y="11212"/>
                      <a:pt x="447" y="6368"/>
                    </a:cubicBezTo>
                    <a:cubicBezTo>
                      <a:pt x="2002" y="1523"/>
                      <a:pt x="7145" y="-1108"/>
                      <a:pt x="11990" y="447"/>
                    </a:cubicBezTo>
                    <a:cubicBezTo>
                      <a:pt x="16834" y="2002"/>
                      <a:pt x="19466" y="7205"/>
                      <a:pt x="17910" y="12049"/>
                    </a:cubicBezTo>
                    <a:cubicBezTo>
                      <a:pt x="16355" y="16894"/>
                      <a:pt x="11152" y="19585"/>
                      <a:pt x="6368" y="17970"/>
                    </a:cubicBezTo>
                    <a:close/>
                  </a:path>
                </a:pathLst>
              </a:custGeom>
              <a:grpFill/>
              <a:ln w="5978" cap="flat">
                <a:noFill/>
                <a:prstDash val="solid"/>
                <a:miter/>
              </a:ln>
            </p:spPr>
            <p:txBody>
              <a:bodyPr rtlCol="0" anchor="ctr"/>
              <a:lstStyle/>
              <a:p>
                <a:endParaRPr lang="en-GB"/>
              </a:p>
            </p:txBody>
          </p:sp>
          <p:sp>
            <p:nvSpPr>
              <p:cNvPr id="1515" name="Vrije vorm: vorm 1514">
                <a:extLst>
                  <a:ext uri="{FF2B5EF4-FFF2-40B4-BE49-F238E27FC236}">
                    <a16:creationId xmlns:a16="http://schemas.microsoft.com/office/drawing/2014/main" id="{34F133A9-5717-4F27-BB50-F77285B6BC21}"/>
                  </a:ext>
                </a:extLst>
              </p:cNvPr>
              <p:cNvSpPr/>
              <p:nvPr/>
            </p:nvSpPr>
            <p:spPr>
              <a:xfrm>
                <a:off x="3892425" y="2701923"/>
                <a:ext cx="18357" cy="18416"/>
              </a:xfrm>
              <a:custGeom>
                <a:avLst/>
                <a:gdLst>
                  <a:gd name="connsiteX0" fmla="*/ 6368 w 18357"/>
                  <a:gd name="connsiteY0" fmla="*/ 17970 h 18416"/>
                  <a:gd name="connsiteX1" fmla="*/ 17910 w 18357"/>
                  <a:gd name="connsiteY1" fmla="*/ 12049 h 18416"/>
                  <a:gd name="connsiteX2" fmla="*/ 11990 w 18357"/>
                  <a:gd name="connsiteY2" fmla="*/ 447 h 18416"/>
                  <a:gd name="connsiteX3" fmla="*/ 447 w 18357"/>
                  <a:gd name="connsiteY3" fmla="*/ 6368 h 18416"/>
                  <a:gd name="connsiteX4" fmla="*/ 6368 w 18357"/>
                  <a:gd name="connsiteY4" fmla="*/ 17970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6">
                    <a:moveTo>
                      <a:pt x="6368" y="17970"/>
                    </a:moveTo>
                    <a:cubicBezTo>
                      <a:pt x="11212" y="19525"/>
                      <a:pt x="16355" y="16894"/>
                      <a:pt x="17910" y="12049"/>
                    </a:cubicBezTo>
                    <a:cubicBezTo>
                      <a:pt x="19465" y="7205"/>
                      <a:pt x="16834" y="2002"/>
                      <a:pt x="11990" y="447"/>
                    </a:cubicBezTo>
                    <a:cubicBezTo>
                      <a:pt x="7145" y="-1108"/>
                      <a:pt x="2002" y="1523"/>
                      <a:pt x="447" y="6368"/>
                    </a:cubicBezTo>
                    <a:cubicBezTo>
                      <a:pt x="-1108" y="11152"/>
                      <a:pt x="1523" y="16355"/>
                      <a:pt x="6368" y="17970"/>
                    </a:cubicBezTo>
                    <a:close/>
                  </a:path>
                </a:pathLst>
              </a:custGeom>
              <a:grpFill/>
              <a:ln w="5978" cap="flat">
                <a:noFill/>
                <a:prstDash val="solid"/>
                <a:miter/>
              </a:ln>
            </p:spPr>
            <p:txBody>
              <a:bodyPr rtlCol="0" anchor="ctr"/>
              <a:lstStyle/>
              <a:p>
                <a:endParaRPr lang="en-GB"/>
              </a:p>
            </p:txBody>
          </p:sp>
        </p:grpSp>
        <p:grpSp>
          <p:nvGrpSpPr>
            <p:cNvPr id="1299" name="Graphic 3">
              <a:extLst>
                <a:ext uri="{FF2B5EF4-FFF2-40B4-BE49-F238E27FC236}">
                  <a16:creationId xmlns:a16="http://schemas.microsoft.com/office/drawing/2014/main" id="{971B954A-1F45-44D5-971C-AFF1387CD046}"/>
                </a:ext>
              </a:extLst>
            </p:cNvPr>
            <p:cNvGrpSpPr/>
            <p:nvPr/>
          </p:nvGrpSpPr>
          <p:grpSpPr>
            <a:xfrm>
              <a:off x="4175533" y="4070002"/>
              <a:ext cx="214323" cy="95888"/>
              <a:chOff x="4175533" y="4070002"/>
              <a:chExt cx="214323" cy="95888"/>
            </a:xfrm>
            <a:grpFill/>
          </p:grpSpPr>
          <p:sp>
            <p:nvSpPr>
              <p:cNvPr id="1510" name="Vrije vorm: vorm 1509">
                <a:extLst>
                  <a:ext uri="{FF2B5EF4-FFF2-40B4-BE49-F238E27FC236}">
                    <a16:creationId xmlns:a16="http://schemas.microsoft.com/office/drawing/2014/main" id="{22DEDEAD-A223-4321-8EE6-7E51FCDF9EA1}"/>
                  </a:ext>
                </a:extLst>
              </p:cNvPr>
              <p:cNvSpPr/>
              <p:nvPr/>
            </p:nvSpPr>
            <p:spPr>
              <a:xfrm>
                <a:off x="4183728" y="4077402"/>
                <a:ext cx="197942" cy="80684"/>
              </a:xfrm>
              <a:custGeom>
                <a:avLst/>
                <a:gdLst>
                  <a:gd name="connsiteX0" fmla="*/ 0 w 197942"/>
                  <a:gd name="connsiteY0" fmla="*/ 77848 h 80684"/>
                  <a:gd name="connsiteX1" fmla="*/ 196821 w 197942"/>
                  <a:gd name="connsiteY1" fmla="*/ 0 h 80684"/>
                  <a:gd name="connsiteX2" fmla="*/ 197942 w 197942"/>
                  <a:gd name="connsiteY2" fmla="*/ 2836 h 80684"/>
                  <a:gd name="connsiteX3" fmla="*/ 1122 w 197942"/>
                  <a:gd name="connsiteY3" fmla="*/ 80684 h 80684"/>
                </a:gdLst>
                <a:ahLst/>
                <a:cxnLst>
                  <a:cxn ang="0">
                    <a:pos x="connsiteX0" y="connsiteY0"/>
                  </a:cxn>
                  <a:cxn ang="0">
                    <a:pos x="connsiteX1" y="connsiteY1"/>
                  </a:cxn>
                  <a:cxn ang="0">
                    <a:pos x="connsiteX2" y="connsiteY2"/>
                  </a:cxn>
                  <a:cxn ang="0">
                    <a:pos x="connsiteX3" y="connsiteY3"/>
                  </a:cxn>
                </a:cxnLst>
                <a:rect l="l" t="t" r="r" b="b"/>
                <a:pathLst>
                  <a:path w="197942" h="80684">
                    <a:moveTo>
                      <a:pt x="0" y="77848"/>
                    </a:moveTo>
                    <a:lnTo>
                      <a:pt x="196821" y="0"/>
                    </a:lnTo>
                    <a:lnTo>
                      <a:pt x="197942" y="2836"/>
                    </a:lnTo>
                    <a:lnTo>
                      <a:pt x="1122" y="80684"/>
                    </a:lnTo>
                    <a:close/>
                  </a:path>
                </a:pathLst>
              </a:custGeom>
              <a:grpFill/>
              <a:ln w="5978" cap="flat">
                <a:noFill/>
                <a:prstDash val="solid"/>
                <a:miter/>
              </a:ln>
            </p:spPr>
            <p:txBody>
              <a:bodyPr rtlCol="0" anchor="ctr"/>
              <a:lstStyle/>
              <a:p>
                <a:endParaRPr lang="en-GB"/>
              </a:p>
            </p:txBody>
          </p:sp>
          <p:sp>
            <p:nvSpPr>
              <p:cNvPr id="1511" name="Vrije vorm: vorm 1510">
                <a:extLst>
                  <a:ext uri="{FF2B5EF4-FFF2-40B4-BE49-F238E27FC236}">
                    <a16:creationId xmlns:a16="http://schemas.microsoft.com/office/drawing/2014/main" id="{47BA97DC-4142-4AE3-8DA8-A885465B04B0}"/>
                  </a:ext>
                </a:extLst>
              </p:cNvPr>
              <p:cNvSpPr/>
              <p:nvPr/>
            </p:nvSpPr>
            <p:spPr>
              <a:xfrm>
                <a:off x="4175533" y="4147452"/>
                <a:ext cx="18327" cy="18438"/>
              </a:xfrm>
              <a:custGeom>
                <a:avLst/>
                <a:gdLst>
                  <a:gd name="connsiteX0" fmla="*/ 12547 w 18327"/>
                  <a:gd name="connsiteY0" fmla="*/ 17801 h 18438"/>
                  <a:gd name="connsiteX1" fmla="*/ 645 w 18327"/>
                  <a:gd name="connsiteY1" fmla="*/ 12598 h 18438"/>
                  <a:gd name="connsiteX2" fmla="*/ 5788 w 18327"/>
                  <a:gd name="connsiteY2" fmla="*/ 637 h 18438"/>
                  <a:gd name="connsiteX3" fmla="*/ 17690 w 18327"/>
                  <a:gd name="connsiteY3" fmla="*/ 5840 h 18438"/>
                  <a:gd name="connsiteX4" fmla="*/ 12547 w 18327"/>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38">
                    <a:moveTo>
                      <a:pt x="12547" y="17801"/>
                    </a:moveTo>
                    <a:cubicBezTo>
                      <a:pt x="7822" y="19655"/>
                      <a:pt x="2499" y="17323"/>
                      <a:pt x="645" y="12598"/>
                    </a:cubicBezTo>
                    <a:cubicBezTo>
                      <a:pt x="-1209" y="7874"/>
                      <a:pt x="1064" y="2491"/>
                      <a:pt x="5788" y="637"/>
                    </a:cubicBezTo>
                    <a:cubicBezTo>
                      <a:pt x="10513" y="-1217"/>
                      <a:pt x="15836" y="1115"/>
                      <a:pt x="17690" y="5840"/>
                    </a:cubicBezTo>
                    <a:cubicBezTo>
                      <a:pt x="19544" y="10624"/>
                      <a:pt x="17212" y="15947"/>
                      <a:pt x="12547" y="17801"/>
                    </a:cubicBezTo>
                    <a:close/>
                  </a:path>
                </a:pathLst>
              </a:custGeom>
              <a:grpFill/>
              <a:ln w="5978" cap="flat">
                <a:noFill/>
                <a:prstDash val="solid"/>
                <a:miter/>
              </a:ln>
            </p:spPr>
            <p:txBody>
              <a:bodyPr rtlCol="0" anchor="ctr"/>
              <a:lstStyle/>
              <a:p>
                <a:endParaRPr lang="en-GB"/>
              </a:p>
            </p:txBody>
          </p:sp>
          <p:sp>
            <p:nvSpPr>
              <p:cNvPr id="1512" name="Vrije vorm: vorm 1511">
                <a:extLst>
                  <a:ext uri="{FF2B5EF4-FFF2-40B4-BE49-F238E27FC236}">
                    <a16:creationId xmlns:a16="http://schemas.microsoft.com/office/drawing/2014/main" id="{2FAC80EC-5B47-4CEA-A03B-80F0BDFEA412}"/>
                  </a:ext>
                </a:extLst>
              </p:cNvPr>
              <p:cNvSpPr/>
              <p:nvPr/>
            </p:nvSpPr>
            <p:spPr>
              <a:xfrm>
                <a:off x="4371521" y="4070002"/>
                <a:ext cx="18335" cy="18438"/>
              </a:xfrm>
              <a:custGeom>
                <a:avLst/>
                <a:gdLst>
                  <a:gd name="connsiteX0" fmla="*/ 12547 w 18335"/>
                  <a:gd name="connsiteY0" fmla="*/ 17801 h 18438"/>
                  <a:gd name="connsiteX1" fmla="*/ 17690 w 18335"/>
                  <a:gd name="connsiteY1" fmla="*/ 5840 h 18438"/>
                  <a:gd name="connsiteX2" fmla="*/ 5789 w 18335"/>
                  <a:gd name="connsiteY2" fmla="*/ 637 h 18438"/>
                  <a:gd name="connsiteX3" fmla="*/ 645 w 18335"/>
                  <a:gd name="connsiteY3" fmla="*/ 12598 h 18438"/>
                  <a:gd name="connsiteX4" fmla="*/ 12547 w 18335"/>
                  <a:gd name="connsiteY4" fmla="*/ 1780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8">
                    <a:moveTo>
                      <a:pt x="12547" y="17801"/>
                    </a:moveTo>
                    <a:cubicBezTo>
                      <a:pt x="17271" y="15947"/>
                      <a:pt x="19544" y="10565"/>
                      <a:pt x="17690" y="5840"/>
                    </a:cubicBezTo>
                    <a:cubicBezTo>
                      <a:pt x="15836" y="1115"/>
                      <a:pt x="10513" y="-1217"/>
                      <a:pt x="5789" y="637"/>
                    </a:cubicBezTo>
                    <a:cubicBezTo>
                      <a:pt x="1064" y="2491"/>
                      <a:pt x="-1209" y="7874"/>
                      <a:pt x="645" y="12598"/>
                    </a:cubicBezTo>
                    <a:cubicBezTo>
                      <a:pt x="2499" y="17323"/>
                      <a:pt x="7822" y="19655"/>
                      <a:pt x="12547" y="17801"/>
                    </a:cubicBezTo>
                    <a:close/>
                  </a:path>
                </a:pathLst>
              </a:custGeom>
              <a:grpFill/>
              <a:ln w="5978" cap="flat">
                <a:noFill/>
                <a:prstDash val="solid"/>
                <a:miter/>
              </a:ln>
            </p:spPr>
            <p:txBody>
              <a:bodyPr rtlCol="0" anchor="ctr"/>
              <a:lstStyle/>
              <a:p>
                <a:endParaRPr lang="en-GB"/>
              </a:p>
            </p:txBody>
          </p:sp>
        </p:grpSp>
        <p:grpSp>
          <p:nvGrpSpPr>
            <p:cNvPr id="1300" name="Graphic 3">
              <a:extLst>
                <a:ext uri="{FF2B5EF4-FFF2-40B4-BE49-F238E27FC236}">
                  <a16:creationId xmlns:a16="http://schemas.microsoft.com/office/drawing/2014/main" id="{7AF626E9-223A-4737-AA4D-3E0F26028776}"/>
                </a:ext>
              </a:extLst>
            </p:cNvPr>
            <p:cNvGrpSpPr/>
            <p:nvPr/>
          </p:nvGrpSpPr>
          <p:grpSpPr>
            <a:xfrm>
              <a:off x="4154209" y="3896763"/>
              <a:ext cx="100840" cy="40820"/>
              <a:chOff x="4154209" y="3896763"/>
              <a:chExt cx="100840" cy="40820"/>
            </a:xfrm>
            <a:grpFill/>
          </p:grpSpPr>
          <p:sp>
            <p:nvSpPr>
              <p:cNvPr id="1507" name="Vrije vorm: vorm 1506">
                <a:extLst>
                  <a:ext uri="{FF2B5EF4-FFF2-40B4-BE49-F238E27FC236}">
                    <a16:creationId xmlns:a16="http://schemas.microsoft.com/office/drawing/2014/main" id="{3391C583-119D-4CC8-B9D8-159FC995258D}"/>
                  </a:ext>
                </a:extLst>
              </p:cNvPr>
              <p:cNvSpPr/>
              <p:nvPr/>
            </p:nvSpPr>
            <p:spPr>
              <a:xfrm>
                <a:off x="4162596" y="3904438"/>
                <a:ext cx="84219" cy="25517"/>
              </a:xfrm>
              <a:custGeom>
                <a:avLst/>
                <a:gdLst>
                  <a:gd name="connsiteX0" fmla="*/ 0 w 84219"/>
                  <a:gd name="connsiteY0" fmla="*/ 22573 h 25517"/>
                  <a:gd name="connsiteX1" fmla="*/ 83423 w 84219"/>
                  <a:gd name="connsiteY1" fmla="*/ 0 h 25517"/>
                  <a:gd name="connsiteX2" fmla="*/ 84219 w 84219"/>
                  <a:gd name="connsiteY2" fmla="*/ 2944 h 25517"/>
                  <a:gd name="connsiteX3" fmla="*/ 797 w 84219"/>
                  <a:gd name="connsiteY3" fmla="*/ 25518 h 25517"/>
                </a:gdLst>
                <a:ahLst/>
                <a:cxnLst>
                  <a:cxn ang="0">
                    <a:pos x="connsiteX0" y="connsiteY0"/>
                  </a:cxn>
                  <a:cxn ang="0">
                    <a:pos x="connsiteX1" y="connsiteY1"/>
                  </a:cxn>
                  <a:cxn ang="0">
                    <a:pos x="connsiteX2" y="connsiteY2"/>
                  </a:cxn>
                  <a:cxn ang="0">
                    <a:pos x="connsiteX3" y="connsiteY3"/>
                  </a:cxn>
                </a:cxnLst>
                <a:rect l="l" t="t" r="r" b="b"/>
                <a:pathLst>
                  <a:path w="84219" h="25517">
                    <a:moveTo>
                      <a:pt x="0" y="22573"/>
                    </a:moveTo>
                    <a:lnTo>
                      <a:pt x="83423" y="0"/>
                    </a:lnTo>
                    <a:lnTo>
                      <a:pt x="84219" y="2944"/>
                    </a:lnTo>
                    <a:lnTo>
                      <a:pt x="797" y="25518"/>
                    </a:lnTo>
                    <a:close/>
                  </a:path>
                </a:pathLst>
              </a:custGeom>
              <a:grpFill/>
              <a:ln w="5978" cap="flat">
                <a:noFill/>
                <a:prstDash val="solid"/>
                <a:miter/>
              </a:ln>
            </p:spPr>
            <p:txBody>
              <a:bodyPr rtlCol="0" anchor="ctr"/>
              <a:lstStyle/>
              <a:p>
                <a:endParaRPr lang="en-GB"/>
              </a:p>
            </p:txBody>
          </p:sp>
          <p:sp>
            <p:nvSpPr>
              <p:cNvPr id="1508" name="Vrije vorm: vorm 1507">
                <a:extLst>
                  <a:ext uri="{FF2B5EF4-FFF2-40B4-BE49-F238E27FC236}">
                    <a16:creationId xmlns:a16="http://schemas.microsoft.com/office/drawing/2014/main" id="{3126E5A4-1940-4017-BAB7-E62E2D00AB86}"/>
                  </a:ext>
                </a:extLst>
              </p:cNvPr>
              <p:cNvSpPr/>
              <p:nvPr/>
            </p:nvSpPr>
            <p:spPr>
              <a:xfrm>
                <a:off x="4154209" y="3919131"/>
                <a:ext cx="18340" cy="18452"/>
              </a:xfrm>
              <a:custGeom>
                <a:avLst/>
                <a:gdLst>
                  <a:gd name="connsiteX0" fmla="*/ 11563 w 18340"/>
                  <a:gd name="connsiteY0" fmla="*/ 18137 h 18452"/>
                  <a:gd name="connsiteX1" fmla="*/ 319 w 18340"/>
                  <a:gd name="connsiteY1" fmla="*/ 11619 h 18452"/>
                  <a:gd name="connsiteX2" fmla="*/ 6778 w 18340"/>
                  <a:gd name="connsiteY2" fmla="*/ 315 h 18452"/>
                  <a:gd name="connsiteX3" fmla="*/ 18022 w 18340"/>
                  <a:gd name="connsiteY3" fmla="*/ 6834 h 18452"/>
                  <a:gd name="connsiteX4" fmla="*/ 11563 w 18340"/>
                  <a:gd name="connsiteY4" fmla="*/ 181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52">
                    <a:moveTo>
                      <a:pt x="11563" y="18137"/>
                    </a:moveTo>
                    <a:cubicBezTo>
                      <a:pt x="6659" y="19453"/>
                      <a:pt x="1635" y="16522"/>
                      <a:pt x="319" y="11619"/>
                    </a:cubicBezTo>
                    <a:cubicBezTo>
                      <a:pt x="-997" y="6714"/>
                      <a:pt x="1874" y="1630"/>
                      <a:pt x="6778" y="315"/>
                    </a:cubicBezTo>
                    <a:cubicBezTo>
                      <a:pt x="11682" y="-1001"/>
                      <a:pt x="16706" y="1929"/>
                      <a:pt x="18022" y="6834"/>
                    </a:cubicBezTo>
                    <a:cubicBezTo>
                      <a:pt x="19338" y="11738"/>
                      <a:pt x="16467" y="16762"/>
                      <a:pt x="11563" y="18137"/>
                    </a:cubicBezTo>
                    <a:close/>
                  </a:path>
                </a:pathLst>
              </a:custGeom>
              <a:grpFill/>
              <a:ln w="5978" cap="flat">
                <a:noFill/>
                <a:prstDash val="solid"/>
                <a:miter/>
              </a:ln>
            </p:spPr>
            <p:txBody>
              <a:bodyPr rtlCol="0" anchor="ctr"/>
              <a:lstStyle/>
              <a:p>
                <a:endParaRPr lang="en-GB"/>
              </a:p>
            </p:txBody>
          </p:sp>
          <p:sp>
            <p:nvSpPr>
              <p:cNvPr id="1509" name="Vrije vorm: vorm 1508">
                <a:extLst>
                  <a:ext uri="{FF2B5EF4-FFF2-40B4-BE49-F238E27FC236}">
                    <a16:creationId xmlns:a16="http://schemas.microsoft.com/office/drawing/2014/main" id="{A296BE71-873B-49C4-97A0-8923B37B6B65}"/>
                  </a:ext>
                </a:extLst>
              </p:cNvPr>
              <p:cNvSpPr/>
              <p:nvPr/>
            </p:nvSpPr>
            <p:spPr>
              <a:xfrm>
                <a:off x="4236718" y="3896763"/>
                <a:ext cx="18331" cy="18476"/>
              </a:xfrm>
              <a:custGeom>
                <a:avLst/>
                <a:gdLst>
                  <a:gd name="connsiteX0" fmla="*/ 11588 w 18331"/>
                  <a:gd name="connsiteY0" fmla="*/ 18137 h 18476"/>
                  <a:gd name="connsiteX1" fmla="*/ 17987 w 18331"/>
                  <a:gd name="connsiteY1" fmla="*/ 6834 h 18476"/>
                  <a:gd name="connsiteX2" fmla="*/ 6744 w 18331"/>
                  <a:gd name="connsiteY2" fmla="*/ 315 h 18476"/>
                  <a:gd name="connsiteX3" fmla="*/ 344 w 18331"/>
                  <a:gd name="connsiteY3" fmla="*/ 11618 h 18476"/>
                  <a:gd name="connsiteX4" fmla="*/ 11588 w 18331"/>
                  <a:gd name="connsiteY4" fmla="*/ 18137 h 1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76">
                    <a:moveTo>
                      <a:pt x="11588" y="18137"/>
                    </a:moveTo>
                    <a:cubicBezTo>
                      <a:pt x="16492" y="16821"/>
                      <a:pt x="19363" y="11738"/>
                      <a:pt x="17987" y="6834"/>
                    </a:cubicBezTo>
                    <a:cubicBezTo>
                      <a:pt x="16671" y="1929"/>
                      <a:pt x="11588" y="-1001"/>
                      <a:pt x="6744" y="315"/>
                    </a:cubicBezTo>
                    <a:cubicBezTo>
                      <a:pt x="1839" y="1630"/>
                      <a:pt x="-1031" y="6714"/>
                      <a:pt x="344" y="11618"/>
                    </a:cubicBezTo>
                    <a:cubicBezTo>
                      <a:pt x="1660" y="16582"/>
                      <a:pt x="6744" y="19513"/>
                      <a:pt x="11588" y="18137"/>
                    </a:cubicBezTo>
                    <a:close/>
                  </a:path>
                </a:pathLst>
              </a:custGeom>
              <a:grpFill/>
              <a:ln w="5978" cap="flat">
                <a:noFill/>
                <a:prstDash val="solid"/>
                <a:miter/>
              </a:ln>
            </p:spPr>
            <p:txBody>
              <a:bodyPr rtlCol="0" anchor="ctr"/>
              <a:lstStyle/>
              <a:p>
                <a:endParaRPr lang="en-GB"/>
              </a:p>
            </p:txBody>
          </p:sp>
        </p:grpSp>
        <p:grpSp>
          <p:nvGrpSpPr>
            <p:cNvPr id="1301" name="Graphic 3">
              <a:extLst>
                <a:ext uri="{FF2B5EF4-FFF2-40B4-BE49-F238E27FC236}">
                  <a16:creationId xmlns:a16="http://schemas.microsoft.com/office/drawing/2014/main" id="{6D3FB10D-D9E3-4EF8-95B3-B939FA409220}"/>
                </a:ext>
              </a:extLst>
            </p:cNvPr>
            <p:cNvGrpSpPr/>
            <p:nvPr/>
          </p:nvGrpSpPr>
          <p:grpSpPr>
            <a:xfrm>
              <a:off x="3928979" y="3291634"/>
              <a:ext cx="137822" cy="24971"/>
              <a:chOff x="3928979" y="3291634"/>
              <a:chExt cx="137822" cy="24971"/>
            </a:xfrm>
            <a:grpFill/>
          </p:grpSpPr>
          <p:sp>
            <p:nvSpPr>
              <p:cNvPr id="1504" name="Vrije vorm: vorm 1503">
                <a:extLst>
                  <a:ext uri="{FF2B5EF4-FFF2-40B4-BE49-F238E27FC236}">
                    <a16:creationId xmlns:a16="http://schemas.microsoft.com/office/drawing/2014/main" id="{B4F9145E-0238-47B5-A1B6-4B4D6DA4DC0B}"/>
                  </a:ext>
                </a:extLst>
              </p:cNvPr>
              <p:cNvSpPr/>
              <p:nvPr/>
            </p:nvSpPr>
            <p:spPr>
              <a:xfrm>
                <a:off x="3937607" y="3299245"/>
                <a:ext cx="120571" cy="9688"/>
              </a:xfrm>
              <a:custGeom>
                <a:avLst/>
                <a:gdLst>
                  <a:gd name="connsiteX0" fmla="*/ 120572 w 120571"/>
                  <a:gd name="connsiteY0" fmla="*/ 6639 h 9688"/>
                  <a:gd name="connsiteX1" fmla="*/ 120392 w 120571"/>
                  <a:gd name="connsiteY1" fmla="*/ 9689 h 9688"/>
                  <a:gd name="connsiteX2" fmla="*/ 0 w 120571"/>
                  <a:gd name="connsiteY2" fmla="*/ 3050 h 9688"/>
                  <a:gd name="connsiteX3" fmla="*/ 120 w 120571"/>
                  <a:gd name="connsiteY3" fmla="*/ 0 h 9688"/>
                </a:gdLst>
                <a:ahLst/>
                <a:cxnLst>
                  <a:cxn ang="0">
                    <a:pos x="connsiteX0" y="connsiteY0"/>
                  </a:cxn>
                  <a:cxn ang="0">
                    <a:pos x="connsiteX1" y="connsiteY1"/>
                  </a:cxn>
                  <a:cxn ang="0">
                    <a:pos x="connsiteX2" y="connsiteY2"/>
                  </a:cxn>
                  <a:cxn ang="0">
                    <a:pos x="connsiteX3" y="connsiteY3"/>
                  </a:cxn>
                </a:cxnLst>
                <a:rect l="l" t="t" r="r" b="b"/>
                <a:pathLst>
                  <a:path w="120571" h="9688">
                    <a:moveTo>
                      <a:pt x="120572" y="6639"/>
                    </a:moveTo>
                    <a:lnTo>
                      <a:pt x="120392" y="9689"/>
                    </a:lnTo>
                    <a:lnTo>
                      <a:pt x="0" y="3050"/>
                    </a:lnTo>
                    <a:lnTo>
                      <a:pt x="120" y="0"/>
                    </a:lnTo>
                    <a:close/>
                  </a:path>
                </a:pathLst>
              </a:custGeom>
              <a:grpFill/>
              <a:ln w="5978" cap="flat">
                <a:noFill/>
                <a:prstDash val="solid"/>
                <a:miter/>
              </a:ln>
            </p:spPr>
            <p:txBody>
              <a:bodyPr rtlCol="0" anchor="ctr"/>
              <a:lstStyle/>
              <a:p>
                <a:endParaRPr lang="en-GB"/>
              </a:p>
            </p:txBody>
          </p:sp>
          <p:sp>
            <p:nvSpPr>
              <p:cNvPr id="1505" name="Vrije vorm: vorm 1504">
                <a:extLst>
                  <a:ext uri="{FF2B5EF4-FFF2-40B4-BE49-F238E27FC236}">
                    <a16:creationId xmlns:a16="http://schemas.microsoft.com/office/drawing/2014/main" id="{F429AFCD-0D3D-4193-988C-54431F6DC8A3}"/>
                  </a:ext>
                </a:extLst>
              </p:cNvPr>
              <p:cNvSpPr/>
              <p:nvPr/>
            </p:nvSpPr>
            <p:spPr>
              <a:xfrm>
                <a:off x="3928979" y="3291634"/>
                <a:ext cx="18333" cy="18393"/>
              </a:xfrm>
              <a:custGeom>
                <a:avLst/>
                <a:gdLst>
                  <a:gd name="connsiteX0" fmla="*/ 8688 w 18333"/>
                  <a:gd name="connsiteY0" fmla="*/ 18377 h 18393"/>
                  <a:gd name="connsiteX1" fmla="*/ 16 w 18333"/>
                  <a:gd name="connsiteY1" fmla="*/ 8688 h 18393"/>
                  <a:gd name="connsiteX2" fmla="*/ 9645 w 18333"/>
                  <a:gd name="connsiteY2" fmla="*/ 16 h 18393"/>
                  <a:gd name="connsiteX3" fmla="*/ 18317 w 18333"/>
                  <a:gd name="connsiteY3" fmla="*/ 9705 h 18393"/>
                  <a:gd name="connsiteX4" fmla="*/ 8688 w 18333"/>
                  <a:gd name="connsiteY4" fmla="*/ 18377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393">
                    <a:moveTo>
                      <a:pt x="8688" y="18377"/>
                    </a:moveTo>
                    <a:cubicBezTo>
                      <a:pt x="3605" y="18078"/>
                      <a:pt x="-283" y="13772"/>
                      <a:pt x="16" y="8688"/>
                    </a:cubicBezTo>
                    <a:cubicBezTo>
                      <a:pt x="256" y="3604"/>
                      <a:pt x="4562" y="-283"/>
                      <a:pt x="9645" y="16"/>
                    </a:cubicBezTo>
                    <a:cubicBezTo>
                      <a:pt x="14729" y="315"/>
                      <a:pt x="18616" y="4621"/>
                      <a:pt x="18317" y="9705"/>
                    </a:cubicBezTo>
                    <a:cubicBezTo>
                      <a:pt x="18078" y="14789"/>
                      <a:pt x="13772" y="18676"/>
                      <a:pt x="8688" y="18377"/>
                    </a:cubicBezTo>
                    <a:close/>
                  </a:path>
                </a:pathLst>
              </a:custGeom>
              <a:grpFill/>
              <a:ln w="5978" cap="flat">
                <a:noFill/>
                <a:prstDash val="solid"/>
                <a:miter/>
              </a:ln>
            </p:spPr>
            <p:txBody>
              <a:bodyPr rtlCol="0" anchor="ctr"/>
              <a:lstStyle/>
              <a:p>
                <a:endParaRPr lang="en-GB"/>
              </a:p>
            </p:txBody>
          </p:sp>
          <p:sp>
            <p:nvSpPr>
              <p:cNvPr id="1506" name="Vrije vorm: vorm 1505">
                <a:extLst>
                  <a:ext uri="{FF2B5EF4-FFF2-40B4-BE49-F238E27FC236}">
                    <a16:creationId xmlns:a16="http://schemas.microsoft.com/office/drawing/2014/main" id="{17ACCFA0-DE99-4500-AC97-1B6663E661A7}"/>
                  </a:ext>
                </a:extLst>
              </p:cNvPr>
              <p:cNvSpPr/>
              <p:nvPr/>
            </p:nvSpPr>
            <p:spPr>
              <a:xfrm>
                <a:off x="4048473" y="3298212"/>
                <a:ext cx="18327" cy="18393"/>
              </a:xfrm>
              <a:custGeom>
                <a:avLst/>
                <a:gdLst>
                  <a:gd name="connsiteX0" fmla="*/ 8688 w 18327"/>
                  <a:gd name="connsiteY0" fmla="*/ 18377 h 18393"/>
                  <a:gd name="connsiteX1" fmla="*/ 18318 w 18327"/>
                  <a:gd name="connsiteY1" fmla="*/ 9705 h 18393"/>
                  <a:gd name="connsiteX2" fmla="*/ 9645 w 18327"/>
                  <a:gd name="connsiteY2" fmla="*/ 16 h 18393"/>
                  <a:gd name="connsiteX3" fmla="*/ 16 w 18327"/>
                  <a:gd name="connsiteY3" fmla="*/ 8688 h 18393"/>
                  <a:gd name="connsiteX4" fmla="*/ 8688 w 18327"/>
                  <a:gd name="connsiteY4" fmla="*/ 18377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393">
                    <a:moveTo>
                      <a:pt x="8688" y="18377"/>
                    </a:moveTo>
                    <a:cubicBezTo>
                      <a:pt x="13772" y="18676"/>
                      <a:pt x="18078" y="14789"/>
                      <a:pt x="18318" y="9705"/>
                    </a:cubicBezTo>
                    <a:cubicBezTo>
                      <a:pt x="18557" y="4621"/>
                      <a:pt x="14669" y="255"/>
                      <a:pt x="9645" y="16"/>
                    </a:cubicBezTo>
                    <a:cubicBezTo>
                      <a:pt x="4562" y="-283"/>
                      <a:pt x="256" y="3605"/>
                      <a:pt x="16" y="8688"/>
                    </a:cubicBezTo>
                    <a:cubicBezTo>
                      <a:pt x="-283" y="13772"/>
                      <a:pt x="3605" y="18078"/>
                      <a:pt x="8688" y="18377"/>
                    </a:cubicBezTo>
                    <a:close/>
                  </a:path>
                </a:pathLst>
              </a:custGeom>
              <a:grpFill/>
              <a:ln w="5978" cap="flat">
                <a:noFill/>
                <a:prstDash val="solid"/>
                <a:miter/>
              </a:ln>
            </p:spPr>
            <p:txBody>
              <a:bodyPr rtlCol="0" anchor="ctr"/>
              <a:lstStyle/>
              <a:p>
                <a:endParaRPr lang="en-GB"/>
              </a:p>
            </p:txBody>
          </p:sp>
        </p:grpSp>
        <p:grpSp>
          <p:nvGrpSpPr>
            <p:cNvPr id="1302" name="Graphic 3">
              <a:extLst>
                <a:ext uri="{FF2B5EF4-FFF2-40B4-BE49-F238E27FC236}">
                  <a16:creationId xmlns:a16="http://schemas.microsoft.com/office/drawing/2014/main" id="{B3FB0EB8-930B-49D9-BB5E-894D295CA47A}"/>
                </a:ext>
              </a:extLst>
            </p:cNvPr>
            <p:cNvGrpSpPr/>
            <p:nvPr/>
          </p:nvGrpSpPr>
          <p:grpSpPr>
            <a:xfrm>
              <a:off x="3632736" y="2566573"/>
              <a:ext cx="251652" cy="99706"/>
              <a:chOff x="3632736" y="2566573"/>
              <a:chExt cx="251652" cy="99706"/>
            </a:xfrm>
            <a:grpFill/>
          </p:grpSpPr>
          <p:sp>
            <p:nvSpPr>
              <p:cNvPr id="1501" name="Vrije vorm: vorm 1500">
                <a:extLst>
                  <a:ext uri="{FF2B5EF4-FFF2-40B4-BE49-F238E27FC236}">
                    <a16:creationId xmlns:a16="http://schemas.microsoft.com/office/drawing/2014/main" id="{8EE2E0B2-5CC4-429A-A511-D5908D4E83CA}"/>
                  </a:ext>
                </a:extLst>
              </p:cNvPr>
              <p:cNvSpPr/>
              <p:nvPr/>
            </p:nvSpPr>
            <p:spPr>
              <a:xfrm>
                <a:off x="3641023" y="2574143"/>
                <a:ext cx="235102" cy="84567"/>
              </a:xfrm>
              <a:custGeom>
                <a:avLst/>
                <a:gdLst>
                  <a:gd name="connsiteX0" fmla="*/ 235102 w 235102"/>
                  <a:gd name="connsiteY0" fmla="*/ 81637 h 84567"/>
                  <a:gd name="connsiteX1" fmla="*/ 234145 w 235102"/>
                  <a:gd name="connsiteY1" fmla="*/ 84567 h 84567"/>
                  <a:gd name="connsiteX2" fmla="*/ 0 w 235102"/>
                  <a:gd name="connsiteY2" fmla="*/ 2930 h 84567"/>
                  <a:gd name="connsiteX3" fmla="*/ 957 w 235102"/>
                  <a:gd name="connsiteY3" fmla="*/ 0 h 84567"/>
                </a:gdLst>
                <a:ahLst/>
                <a:cxnLst>
                  <a:cxn ang="0">
                    <a:pos x="connsiteX0" y="connsiteY0"/>
                  </a:cxn>
                  <a:cxn ang="0">
                    <a:pos x="connsiteX1" y="connsiteY1"/>
                  </a:cxn>
                  <a:cxn ang="0">
                    <a:pos x="connsiteX2" y="connsiteY2"/>
                  </a:cxn>
                  <a:cxn ang="0">
                    <a:pos x="connsiteX3" y="connsiteY3"/>
                  </a:cxn>
                </a:cxnLst>
                <a:rect l="l" t="t" r="r" b="b"/>
                <a:pathLst>
                  <a:path w="235102" h="84567">
                    <a:moveTo>
                      <a:pt x="235102" y="81637"/>
                    </a:moveTo>
                    <a:lnTo>
                      <a:pt x="234145" y="84567"/>
                    </a:lnTo>
                    <a:lnTo>
                      <a:pt x="0" y="2930"/>
                    </a:lnTo>
                    <a:lnTo>
                      <a:pt x="957" y="0"/>
                    </a:lnTo>
                    <a:close/>
                  </a:path>
                </a:pathLst>
              </a:custGeom>
              <a:grpFill/>
              <a:ln w="5978" cap="flat">
                <a:noFill/>
                <a:prstDash val="solid"/>
                <a:miter/>
              </a:ln>
            </p:spPr>
            <p:txBody>
              <a:bodyPr rtlCol="0" anchor="ctr"/>
              <a:lstStyle/>
              <a:p>
                <a:endParaRPr lang="en-GB"/>
              </a:p>
            </p:txBody>
          </p:sp>
          <p:sp>
            <p:nvSpPr>
              <p:cNvPr id="1502" name="Vrije vorm: vorm 1501">
                <a:extLst>
                  <a:ext uri="{FF2B5EF4-FFF2-40B4-BE49-F238E27FC236}">
                    <a16:creationId xmlns:a16="http://schemas.microsoft.com/office/drawing/2014/main" id="{C2AECA2C-E8E2-485C-B8EC-604043425025}"/>
                  </a:ext>
                </a:extLst>
              </p:cNvPr>
              <p:cNvSpPr/>
              <p:nvPr/>
            </p:nvSpPr>
            <p:spPr>
              <a:xfrm>
                <a:off x="3632736" y="2566573"/>
                <a:ext cx="18368" cy="18428"/>
              </a:xfrm>
              <a:custGeom>
                <a:avLst/>
                <a:gdLst>
                  <a:gd name="connsiteX0" fmla="*/ 6194 w 18368"/>
                  <a:gd name="connsiteY0" fmla="*/ 17916 h 18428"/>
                  <a:gd name="connsiteX1" fmla="*/ 512 w 18368"/>
                  <a:gd name="connsiteY1" fmla="*/ 6194 h 18428"/>
                  <a:gd name="connsiteX2" fmla="*/ 12174 w 18368"/>
                  <a:gd name="connsiteY2" fmla="*/ 512 h 18428"/>
                  <a:gd name="connsiteX3" fmla="*/ 17856 w 18368"/>
                  <a:gd name="connsiteY3" fmla="*/ 12234 h 18428"/>
                  <a:gd name="connsiteX4" fmla="*/ 6194 w 18368"/>
                  <a:gd name="connsiteY4" fmla="*/ 17916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8" h="18428">
                    <a:moveTo>
                      <a:pt x="6194" y="17916"/>
                    </a:moveTo>
                    <a:cubicBezTo>
                      <a:pt x="1409" y="16241"/>
                      <a:pt x="-1162" y="10978"/>
                      <a:pt x="512" y="6194"/>
                    </a:cubicBezTo>
                    <a:cubicBezTo>
                      <a:pt x="2127" y="1409"/>
                      <a:pt x="7390" y="-1162"/>
                      <a:pt x="12174" y="512"/>
                    </a:cubicBezTo>
                    <a:cubicBezTo>
                      <a:pt x="16959" y="2187"/>
                      <a:pt x="19531" y="7450"/>
                      <a:pt x="17856" y="12234"/>
                    </a:cubicBezTo>
                    <a:cubicBezTo>
                      <a:pt x="16241" y="17019"/>
                      <a:pt x="11038" y="19591"/>
                      <a:pt x="6194" y="17916"/>
                    </a:cubicBezTo>
                    <a:close/>
                  </a:path>
                </a:pathLst>
              </a:custGeom>
              <a:grpFill/>
              <a:ln w="5978" cap="flat">
                <a:noFill/>
                <a:prstDash val="solid"/>
                <a:miter/>
              </a:ln>
            </p:spPr>
            <p:txBody>
              <a:bodyPr rtlCol="0" anchor="ctr"/>
              <a:lstStyle/>
              <a:p>
                <a:endParaRPr lang="en-GB"/>
              </a:p>
            </p:txBody>
          </p:sp>
          <p:sp>
            <p:nvSpPr>
              <p:cNvPr id="1503" name="Vrije vorm: vorm 1502">
                <a:extLst>
                  <a:ext uri="{FF2B5EF4-FFF2-40B4-BE49-F238E27FC236}">
                    <a16:creationId xmlns:a16="http://schemas.microsoft.com/office/drawing/2014/main" id="{D08BB6E4-0DAF-4EFC-8295-B73170E8E353}"/>
                  </a:ext>
                </a:extLst>
              </p:cNvPr>
              <p:cNvSpPr/>
              <p:nvPr/>
            </p:nvSpPr>
            <p:spPr>
              <a:xfrm>
                <a:off x="3866044" y="2647851"/>
                <a:ext cx="18344" cy="18427"/>
              </a:xfrm>
              <a:custGeom>
                <a:avLst/>
                <a:gdLst>
                  <a:gd name="connsiteX0" fmla="*/ 6194 w 18344"/>
                  <a:gd name="connsiteY0" fmla="*/ 17916 h 18427"/>
                  <a:gd name="connsiteX1" fmla="*/ 17856 w 18344"/>
                  <a:gd name="connsiteY1" fmla="*/ 12234 h 18427"/>
                  <a:gd name="connsiteX2" fmla="*/ 12175 w 18344"/>
                  <a:gd name="connsiteY2" fmla="*/ 512 h 18427"/>
                  <a:gd name="connsiteX3" fmla="*/ 512 w 18344"/>
                  <a:gd name="connsiteY3" fmla="*/ 6194 h 18427"/>
                  <a:gd name="connsiteX4" fmla="*/ 6194 w 18344"/>
                  <a:gd name="connsiteY4" fmla="*/ 17916 h 1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27">
                    <a:moveTo>
                      <a:pt x="6194" y="17916"/>
                    </a:moveTo>
                    <a:cubicBezTo>
                      <a:pt x="10978" y="19590"/>
                      <a:pt x="16181" y="17019"/>
                      <a:pt x="17856" y="12234"/>
                    </a:cubicBezTo>
                    <a:cubicBezTo>
                      <a:pt x="19471" y="7450"/>
                      <a:pt x="16959" y="2187"/>
                      <a:pt x="12175" y="512"/>
                    </a:cubicBezTo>
                    <a:cubicBezTo>
                      <a:pt x="7390" y="-1162"/>
                      <a:pt x="2187" y="1409"/>
                      <a:pt x="512" y="6194"/>
                    </a:cubicBezTo>
                    <a:cubicBezTo>
                      <a:pt x="-1162" y="11038"/>
                      <a:pt x="1409" y="16301"/>
                      <a:pt x="6194" y="17916"/>
                    </a:cubicBezTo>
                    <a:close/>
                  </a:path>
                </a:pathLst>
              </a:custGeom>
              <a:grpFill/>
              <a:ln w="5978" cap="flat">
                <a:noFill/>
                <a:prstDash val="solid"/>
                <a:miter/>
              </a:ln>
            </p:spPr>
            <p:txBody>
              <a:bodyPr rtlCol="0" anchor="ctr"/>
              <a:lstStyle/>
              <a:p>
                <a:endParaRPr lang="en-GB"/>
              </a:p>
            </p:txBody>
          </p:sp>
        </p:grpSp>
        <p:grpSp>
          <p:nvGrpSpPr>
            <p:cNvPr id="1303" name="Graphic 3">
              <a:extLst>
                <a:ext uri="{FF2B5EF4-FFF2-40B4-BE49-F238E27FC236}">
                  <a16:creationId xmlns:a16="http://schemas.microsoft.com/office/drawing/2014/main" id="{75DC20AF-8304-4502-9B87-9A433F9C2386}"/>
                </a:ext>
              </a:extLst>
            </p:cNvPr>
            <p:cNvGrpSpPr/>
            <p:nvPr/>
          </p:nvGrpSpPr>
          <p:grpSpPr>
            <a:xfrm>
              <a:off x="4038761" y="4083763"/>
              <a:ext cx="485835" cy="180685"/>
              <a:chOff x="4038761" y="4083763"/>
              <a:chExt cx="485835" cy="180685"/>
            </a:xfrm>
            <a:grpFill/>
          </p:grpSpPr>
          <p:sp>
            <p:nvSpPr>
              <p:cNvPr id="1498" name="Vrije vorm: vorm 1497">
                <a:extLst>
                  <a:ext uri="{FF2B5EF4-FFF2-40B4-BE49-F238E27FC236}">
                    <a16:creationId xmlns:a16="http://schemas.microsoft.com/office/drawing/2014/main" id="{73CB06AB-F5EC-438A-8E98-DBC487737497}"/>
                  </a:ext>
                </a:extLst>
              </p:cNvPr>
              <p:cNvSpPr/>
              <p:nvPr/>
            </p:nvSpPr>
            <p:spPr>
              <a:xfrm>
                <a:off x="4046858" y="4091558"/>
                <a:ext cx="469384" cy="165454"/>
              </a:xfrm>
              <a:custGeom>
                <a:avLst/>
                <a:gdLst>
                  <a:gd name="connsiteX0" fmla="*/ 0 w 469384"/>
                  <a:gd name="connsiteY0" fmla="*/ 162574 h 165454"/>
                  <a:gd name="connsiteX1" fmla="*/ 468384 w 469384"/>
                  <a:gd name="connsiteY1" fmla="*/ 0 h 165454"/>
                  <a:gd name="connsiteX2" fmla="*/ 469384 w 469384"/>
                  <a:gd name="connsiteY2" fmla="*/ 2882 h 165454"/>
                  <a:gd name="connsiteX3" fmla="*/ 1000 w 469384"/>
                  <a:gd name="connsiteY3" fmla="*/ 165455 h 165454"/>
                </a:gdLst>
                <a:ahLst/>
                <a:cxnLst>
                  <a:cxn ang="0">
                    <a:pos x="connsiteX0" y="connsiteY0"/>
                  </a:cxn>
                  <a:cxn ang="0">
                    <a:pos x="connsiteX1" y="connsiteY1"/>
                  </a:cxn>
                  <a:cxn ang="0">
                    <a:pos x="connsiteX2" y="connsiteY2"/>
                  </a:cxn>
                  <a:cxn ang="0">
                    <a:pos x="connsiteX3" y="connsiteY3"/>
                  </a:cxn>
                </a:cxnLst>
                <a:rect l="l" t="t" r="r" b="b"/>
                <a:pathLst>
                  <a:path w="469384" h="165454">
                    <a:moveTo>
                      <a:pt x="0" y="162574"/>
                    </a:moveTo>
                    <a:lnTo>
                      <a:pt x="468384" y="0"/>
                    </a:lnTo>
                    <a:lnTo>
                      <a:pt x="469384" y="2882"/>
                    </a:lnTo>
                    <a:lnTo>
                      <a:pt x="1000" y="165455"/>
                    </a:lnTo>
                    <a:close/>
                  </a:path>
                </a:pathLst>
              </a:custGeom>
              <a:grpFill/>
              <a:ln w="5978" cap="flat">
                <a:noFill/>
                <a:prstDash val="solid"/>
                <a:miter/>
              </a:ln>
            </p:spPr>
            <p:txBody>
              <a:bodyPr rtlCol="0" anchor="ctr"/>
              <a:lstStyle/>
              <a:p>
                <a:endParaRPr lang="en-GB"/>
              </a:p>
            </p:txBody>
          </p:sp>
          <p:sp>
            <p:nvSpPr>
              <p:cNvPr id="1499" name="Vrije vorm: vorm 1498">
                <a:extLst>
                  <a:ext uri="{FF2B5EF4-FFF2-40B4-BE49-F238E27FC236}">
                    <a16:creationId xmlns:a16="http://schemas.microsoft.com/office/drawing/2014/main" id="{78D1E19C-9C60-4746-8708-688EA32AA183}"/>
                  </a:ext>
                </a:extLst>
              </p:cNvPr>
              <p:cNvSpPr/>
              <p:nvPr/>
            </p:nvSpPr>
            <p:spPr>
              <a:xfrm>
                <a:off x="4506274" y="4083763"/>
                <a:ext cx="18322" cy="18428"/>
              </a:xfrm>
              <a:custGeom>
                <a:avLst/>
                <a:gdLst>
                  <a:gd name="connsiteX0" fmla="*/ 6141 w 18322"/>
                  <a:gd name="connsiteY0" fmla="*/ 512 h 18428"/>
                  <a:gd name="connsiteX1" fmla="*/ 17803 w 18322"/>
                  <a:gd name="connsiteY1" fmla="*/ 6194 h 18428"/>
                  <a:gd name="connsiteX2" fmla="*/ 12181 w 18322"/>
                  <a:gd name="connsiteY2" fmla="*/ 17916 h 18428"/>
                  <a:gd name="connsiteX3" fmla="*/ 519 w 18322"/>
                  <a:gd name="connsiteY3" fmla="*/ 12234 h 18428"/>
                  <a:gd name="connsiteX4" fmla="*/ 6141 w 18322"/>
                  <a:gd name="connsiteY4" fmla="*/ 512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2" h="18428">
                    <a:moveTo>
                      <a:pt x="6141" y="512"/>
                    </a:moveTo>
                    <a:cubicBezTo>
                      <a:pt x="10926" y="-1163"/>
                      <a:pt x="16129" y="1409"/>
                      <a:pt x="17803" y="6194"/>
                    </a:cubicBezTo>
                    <a:cubicBezTo>
                      <a:pt x="19478" y="10978"/>
                      <a:pt x="16966" y="16242"/>
                      <a:pt x="12181" y="17916"/>
                    </a:cubicBezTo>
                    <a:cubicBezTo>
                      <a:pt x="7397" y="19591"/>
                      <a:pt x="2194" y="17019"/>
                      <a:pt x="519" y="12234"/>
                    </a:cubicBezTo>
                    <a:cubicBezTo>
                      <a:pt x="-1156" y="7390"/>
                      <a:pt x="1356" y="2187"/>
                      <a:pt x="6141" y="512"/>
                    </a:cubicBezTo>
                    <a:close/>
                  </a:path>
                </a:pathLst>
              </a:custGeom>
              <a:grpFill/>
              <a:ln w="5978" cap="flat">
                <a:noFill/>
                <a:prstDash val="solid"/>
                <a:miter/>
              </a:ln>
            </p:spPr>
            <p:txBody>
              <a:bodyPr rtlCol="0" anchor="ctr"/>
              <a:lstStyle/>
              <a:p>
                <a:endParaRPr lang="en-GB"/>
              </a:p>
            </p:txBody>
          </p:sp>
          <p:sp>
            <p:nvSpPr>
              <p:cNvPr id="1500" name="Vrije vorm: vorm 1499">
                <a:extLst>
                  <a:ext uri="{FF2B5EF4-FFF2-40B4-BE49-F238E27FC236}">
                    <a16:creationId xmlns:a16="http://schemas.microsoft.com/office/drawing/2014/main" id="{42875B5A-17B1-48DF-82E1-8A33CFBBB03D}"/>
                  </a:ext>
                </a:extLst>
              </p:cNvPr>
              <p:cNvSpPr/>
              <p:nvPr/>
            </p:nvSpPr>
            <p:spPr>
              <a:xfrm>
                <a:off x="4038761" y="4246043"/>
                <a:ext cx="18321" cy="18404"/>
              </a:xfrm>
              <a:custGeom>
                <a:avLst/>
                <a:gdLst>
                  <a:gd name="connsiteX0" fmla="*/ 6141 w 18321"/>
                  <a:gd name="connsiteY0" fmla="*/ 489 h 18404"/>
                  <a:gd name="connsiteX1" fmla="*/ 519 w 18321"/>
                  <a:gd name="connsiteY1" fmla="*/ 12211 h 18404"/>
                  <a:gd name="connsiteX2" fmla="*/ 12181 w 18321"/>
                  <a:gd name="connsiteY2" fmla="*/ 17893 h 18404"/>
                  <a:gd name="connsiteX3" fmla="*/ 17803 w 18321"/>
                  <a:gd name="connsiteY3" fmla="*/ 6171 h 18404"/>
                  <a:gd name="connsiteX4" fmla="*/ 6141 w 18321"/>
                  <a:gd name="connsiteY4" fmla="*/ 489 h 1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404">
                    <a:moveTo>
                      <a:pt x="6141" y="489"/>
                    </a:moveTo>
                    <a:cubicBezTo>
                      <a:pt x="1356" y="2163"/>
                      <a:pt x="-1156" y="7366"/>
                      <a:pt x="519" y="12211"/>
                    </a:cubicBezTo>
                    <a:cubicBezTo>
                      <a:pt x="2194" y="16996"/>
                      <a:pt x="7397" y="19567"/>
                      <a:pt x="12181" y="17893"/>
                    </a:cubicBezTo>
                    <a:cubicBezTo>
                      <a:pt x="16966" y="16218"/>
                      <a:pt x="19478" y="11015"/>
                      <a:pt x="17803" y="6171"/>
                    </a:cubicBezTo>
                    <a:cubicBezTo>
                      <a:pt x="16188" y="1386"/>
                      <a:pt x="10925" y="-1126"/>
                      <a:pt x="6141" y="489"/>
                    </a:cubicBezTo>
                    <a:close/>
                  </a:path>
                </a:pathLst>
              </a:custGeom>
              <a:grpFill/>
              <a:ln w="5978" cap="flat">
                <a:noFill/>
                <a:prstDash val="solid"/>
                <a:miter/>
              </a:ln>
            </p:spPr>
            <p:txBody>
              <a:bodyPr rtlCol="0" anchor="ctr"/>
              <a:lstStyle/>
              <a:p>
                <a:endParaRPr lang="en-GB"/>
              </a:p>
            </p:txBody>
          </p:sp>
        </p:grpSp>
        <p:grpSp>
          <p:nvGrpSpPr>
            <p:cNvPr id="1304" name="Graphic 3">
              <a:extLst>
                <a:ext uri="{FF2B5EF4-FFF2-40B4-BE49-F238E27FC236}">
                  <a16:creationId xmlns:a16="http://schemas.microsoft.com/office/drawing/2014/main" id="{F6C9A389-CCE9-42A8-BD18-F1CDCF098645}"/>
                </a:ext>
              </a:extLst>
            </p:cNvPr>
            <p:cNvGrpSpPr/>
            <p:nvPr/>
          </p:nvGrpSpPr>
          <p:grpSpPr>
            <a:xfrm>
              <a:off x="4249175" y="4253084"/>
              <a:ext cx="152743" cy="86773"/>
              <a:chOff x="4249175" y="4253084"/>
              <a:chExt cx="152743" cy="86773"/>
            </a:xfrm>
            <a:grpFill/>
          </p:grpSpPr>
          <p:sp>
            <p:nvSpPr>
              <p:cNvPr id="1495" name="Vrije vorm: vorm 1494">
                <a:extLst>
                  <a:ext uri="{FF2B5EF4-FFF2-40B4-BE49-F238E27FC236}">
                    <a16:creationId xmlns:a16="http://schemas.microsoft.com/office/drawing/2014/main" id="{6FD1E801-A606-454F-B031-FF5920FCB536}"/>
                  </a:ext>
                </a:extLst>
              </p:cNvPr>
              <p:cNvSpPr/>
              <p:nvPr/>
            </p:nvSpPr>
            <p:spPr>
              <a:xfrm>
                <a:off x="4257217" y="4260706"/>
                <a:ext cx="136659" cy="71529"/>
              </a:xfrm>
              <a:custGeom>
                <a:avLst/>
                <a:gdLst>
                  <a:gd name="connsiteX0" fmla="*/ 136659 w 136659"/>
                  <a:gd name="connsiteY0" fmla="*/ 2751 h 71529"/>
                  <a:gd name="connsiteX1" fmla="*/ 1375 w 136659"/>
                  <a:gd name="connsiteY1" fmla="*/ 71529 h 71529"/>
                  <a:gd name="connsiteX2" fmla="*/ 0 w 136659"/>
                  <a:gd name="connsiteY2" fmla="*/ 68838 h 71529"/>
                  <a:gd name="connsiteX3" fmla="*/ 135284 w 136659"/>
                  <a:gd name="connsiteY3" fmla="*/ 0 h 71529"/>
                </a:gdLst>
                <a:ahLst/>
                <a:cxnLst>
                  <a:cxn ang="0">
                    <a:pos x="connsiteX0" y="connsiteY0"/>
                  </a:cxn>
                  <a:cxn ang="0">
                    <a:pos x="connsiteX1" y="connsiteY1"/>
                  </a:cxn>
                  <a:cxn ang="0">
                    <a:pos x="connsiteX2" y="connsiteY2"/>
                  </a:cxn>
                  <a:cxn ang="0">
                    <a:pos x="connsiteX3" y="connsiteY3"/>
                  </a:cxn>
                </a:cxnLst>
                <a:rect l="l" t="t" r="r" b="b"/>
                <a:pathLst>
                  <a:path w="136659" h="71529">
                    <a:moveTo>
                      <a:pt x="136659" y="2751"/>
                    </a:moveTo>
                    <a:lnTo>
                      <a:pt x="1375" y="71529"/>
                    </a:lnTo>
                    <a:lnTo>
                      <a:pt x="0" y="68838"/>
                    </a:lnTo>
                    <a:lnTo>
                      <a:pt x="135284" y="0"/>
                    </a:lnTo>
                    <a:close/>
                  </a:path>
                </a:pathLst>
              </a:custGeom>
              <a:grpFill/>
              <a:ln w="5978" cap="flat">
                <a:noFill/>
                <a:prstDash val="solid"/>
                <a:miter/>
              </a:ln>
            </p:spPr>
            <p:txBody>
              <a:bodyPr rtlCol="0" anchor="ctr"/>
              <a:lstStyle/>
              <a:p>
                <a:endParaRPr lang="en-GB"/>
              </a:p>
            </p:txBody>
          </p:sp>
          <p:sp>
            <p:nvSpPr>
              <p:cNvPr id="1496" name="Vrije vorm: vorm 1495">
                <a:extLst>
                  <a:ext uri="{FF2B5EF4-FFF2-40B4-BE49-F238E27FC236}">
                    <a16:creationId xmlns:a16="http://schemas.microsoft.com/office/drawing/2014/main" id="{7654FBA4-FB1C-4B51-B214-DA4056F98150}"/>
                  </a:ext>
                </a:extLst>
              </p:cNvPr>
              <p:cNvSpPr/>
              <p:nvPr/>
            </p:nvSpPr>
            <p:spPr>
              <a:xfrm>
                <a:off x="4249175" y="4321444"/>
                <a:ext cx="18297" cy="18413"/>
              </a:xfrm>
              <a:custGeom>
                <a:avLst/>
                <a:gdLst>
                  <a:gd name="connsiteX0" fmla="*/ 13305 w 18297"/>
                  <a:gd name="connsiteY0" fmla="*/ 17430 h 18413"/>
                  <a:gd name="connsiteX1" fmla="*/ 985 w 18297"/>
                  <a:gd name="connsiteY1" fmla="*/ 13364 h 18413"/>
                  <a:gd name="connsiteX2" fmla="*/ 4992 w 18297"/>
                  <a:gd name="connsiteY2" fmla="*/ 983 h 18413"/>
                  <a:gd name="connsiteX3" fmla="*/ 17312 w 18297"/>
                  <a:gd name="connsiteY3" fmla="*/ 5050 h 18413"/>
                  <a:gd name="connsiteX4" fmla="*/ 13305 w 18297"/>
                  <a:gd name="connsiteY4" fmla="*/ 17430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3305" y="17430"/>
                    </a:moveTo>
                    <a:cubicBezTo>
                      <a:pt x="8820" y="19703"/>
                      <a:pt x="3258" y="17909"/>
                      <a:pt x="985" y="13364"/>
                    </a:cubicBezTo>
                    <a:cubicBezTo>
                      <a:pt x="-1288" y="8818"/>
                      <a:pt x="506" y="3256"/>
                      <a:pt x="4992" y="983"/>
                    </a:cubicBezTo>
                    <a:cubicBezTo>
                      <a:pt x="9477" y="-1289"/>
                      <a:pt x="15039" y="505"/>
                      <a:pt x="17312" y="5050"/>
                    </a:cubicBezTo>
                    <a:cubicBezTo>
                      <a:pt x="19585" y="9596"/>
                      <a:pt x="17791" y="15158"/>
                      <a:pt x="13305" y="17430"/>
                    </a:cubicBezTo>
                    <a:close/>
                  </a:path>
                </a:pathLst>
              </a:custGeom>
              <a:grpFill/>
              <a:ln w="5978" cap="flat">
                <a:noFill/>
                <a:prstDash val="solid"/>
                <a:miter/>
              </a:ln>
            </p:spPr>
            <p:txBody>
              <a:bodyPr rtlCol="0" anchor="ctr"/>
              <a:lstStyle/>
              <a:p>
                <a:endParaRPr lang="en-GB"/>
              </a:p>
            </p:txBody>
          </p:sp>
          <p:sp>
            <p:nvSpPr>
              <p:cNvPr id="1497" name="Vrije vorm: vorm 1496">
                <a:extLst>
                  <a:ext uri="{FF2B5EF4-FFF2-40B4-BE49-F238E27FC236}">
                    <a16:creationId xmlns:a16="http://schemas.microsoft.com/office/drawing/2014/main" id="{B69ED71B-E1B7-4F00-821D-C7074C5E044E}"/>
                  </a:ext>
                </a:extLst>
              </p:cNvPr>
              <p:cNvSpPr/>
              <p:nvPr/>
            </p:nvSpPr>
            <p:spPr>
              <a:xfrm>
                <a:off x="4383621" y="4253084"/>
                <a:ext cx="18297" cy="18439"/>
              </a:xfrm>
              <a:custGeom>
                <a:avLst/>
                <a:gdLst>
                  <a:gd name="connsiteX0" fmla="*/ 13305 w 18297"/>
                  <a:gd name="connsiteY0" fmla="*/ 17430 h 18439"/>
                  <a:gd name="connsiteX1" fmla="*/ 17312 w 18297"/>
                  <a:gd name="connsiteY1" fmla="*/ 5050 h 18439"/>
                  <a:gd name="connsiteX2" fmla="*/ 4992 w 18297"/>
                  <a:gd name="connsiteY2" fmla="*/ 983 h 18439"/>
                  <a:gd name="connsiteX3" fmla="*/ 985 w 18297"/>
                  <a:gd name="connsiteY3" fmla="*/ 13363 h 18439"/>
                  <a:gd name="connsiteX4" fmla="*/ 13305 w 18297"/>
                  <a:gd name="connsiteY4" fmla="*/ 1743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9">
                    <a:moveTo>
                      <a:pt x="13305" y="17430"/>
                    </a:moveTo>
                    <a:cubicBezTo>
                      <a:pt x="17791" y="15158"/>
                      <a:pt x="19585" y="9596"/>
                      <a:pt x="17312" y="5050"/>
                    </a:cubicBezTo>
                    <a:cubicBezTo>
                      <a:pt x="15040" y="505"/>
                      <a:pt x="9478" y="-1289"/>
                      <a:pt x="4992" y="983"/>
                    </a:cubicBezTo>
                    <a:cubicBezTo>
                      <a:pt x="507" y="3256"/>
                      <a:pt x="-1288" y="8818"/>
                      <a:pt x="985" y="13363"/>
                    </a:cubicBezTo>
                    <a:cubicBezTo>
                      <a:pt x="3258" y="17909"/>
                      <a:pt x="8820" y="19763"/>
                      <a:pt x="13305" y="17430"/>
                    </a:cubicBezTo>
                    <a:close/>
                  </a:path>
                </a:pathLst>
              </a:custGeom>
              <a:grpFill/>
              <a:ln w="5978" cap="flat">
                <a:noFill/>
                <a:prstDash val="solid"/>
                <a:miter/>
              </a:ln>
            </p:spPr>
            <p:txBody>
              <a:bodyPr rtlCol="0" anchor="ctr"/>
              <a:lstStyle/>
              <a:p>
                <a:endParaRPr lang="en-GB"/>
              </a:p>
            </p:txBody>
          </p:sp>
        </p:grpSp>
        <p:grpSp>
          <p:nvGrpSpPr>
            <p:cNvPr id="1305" name="Graphic 3">
              <a:extLst>
                <a:ext uri="{FF2B5EF4-FFF2-40B4-BE49-F238E27FC236}">
                  <a16:creationId xmlns:a16="http://schemas.microsoft.com/office/drawing/2014/main" id="{27418BFD-AD7F-466B-AA13-837AB376A9B8}"/>
                </a:ext>
              </a:extLst>
            </p:cNvPr>
            <p:cNvGrpSpPr/>
            <p:nvPr/>
          </p:nvGrpSpPr>
          <p:grpSpPr>
            <a:xfrm>
              <a:off x="4357467" y="4481250"/>
              <a:ext cx="78902" cy="58380"/>
              <a:chOff x="4357467" y="4481250"/>
              <a:chExt cx="78902" cy="58380"/>
            </a:xfrm>
            <a:grpFill/>
          </p:grpSpPr>
          <p:sp>
            <p:nvSpPr>
              <p:cNvPr id="1492" name="Vrije vorm: vorm 1491">
                <a:extLst>
                  <a:ext uri="{FF2B5EF4-FFF2-40B4-BE49-F238E27FC236}">
                    <a16:creationId xmlns:a16="http://schemas.microsoft.com/office/drawing/2014/main" id="{05D586B8-CCC3-4BB3-8281-07DC4EF7C7A4}"/>
                  </a:ext>
                </a:extLst>
              </p:cNvPr>
              <p:cNvSpPr/>
              <p:nvPr/>
            </p:nvSpPr>
            <p:spPr>
              <a:xfrm>
                <a:off x="4365408" y="4488930"/>
                <a:ext cx="63036" cy="43001"/>
              </a:xfrm>
              <a:custGeom>
                <a:avLst/>
                <a:gdLst>
                  <a:gd name="connsiteX0" fmla="*/ 63037 w 63036"/>
                  <a:gd name="connsiteY0" fmla="*/ 2572 h 43001"/>
                  <a:gd name="connsiteX1" fmla="*/ 1674 w 63036"/>
                  <a:gd name="connsiteY1" fmla="*/ 43001 h 43001"/>
                  <a:gd name="connsiteX2" fmla="*/ 0 w 63036"/>
                  <a:gd name="connsiteY2" fmla="*/ 40430 h 43001"/>
                  <a:gd name="connsiteX3" fmla="*/ 61362 w 63036"/>
                  <a:gd name="connsiteY3" fmla="*/ 0 h 43001"/>
                </a:gdLst>
                <a:ahLst/>
                <a:cxnLst>
                  <a:cxn ang="0">
                    <a:pos x="connsiteX0" y="connsiteY0"/>
                  </a:cxn>
                  <a:cxn ang="0">
                    <a:pos x="connsiteX1" y="connsiteY1"/>
                  </a:cxn>
                  <a:cxn ang="0">
                    <a:pos x="connsiteX2" y="connsiteY2"/>
                  </a:cxn>
                  <a:cxn ang="0">
                    <a:pos x="connsiteX3" y="connsiteY3"/>
                  </a:cxn>
                </a:cxnLst>
                <a:rect l="l" t="t" r="r" b="b"/>
                <a:pathLst>
                  <a:path w="63036" h="43001">
                    <a:moveTo>
                      <a:pt x="63037" y="2572"/>
                    </a:moveTo>
                    <a:lnTo>
                      <a:pt x="1674" y="43001"/>
                    </a:lnTo>
                    <a:lnTo>
                      <a:pt x="0" y="40430"/>
                    </a:lnTo>
                    <a:lnTo>
                      <a:pt x="61362" y="0"/>
                    </a:lnTo>
                    <a:close/>
                  </a:path>
                </a:pathLst>
              </a:custGeom>
              <a:grpFill/>
              <a:ln w="5978" cap="flat">
                <a:noFill/>
                <a:prstDash val="solid"/>
                <a:miter/>
              </a:ln>
            </p:spPr>
            <p:txBody>
              <a:bodyPr rtlCol="0" anchor="ctr"/>
              <a:lstStyle/>
              <a:p>
                <a:endParaRPr lang="en-GB"/>
              </a:p>
            </p:txBody>
          </p:sp>
          <p:sp>
            <p:nvSpPr>
              <p:cNvPr id="1493" name="Vrije vorm: vorm 1492">
                <a:extLst>
                  <a:ext uri="{FF2B5EF4-FFF2-40B4-BE49-F238E27FC236}">
                    <a16:creationId xmlns:a16="http://schemas.microsoft.com/office/drawing/2014/main" id="{1D0120BA-FD6C-49A7-86B2-205866C53B88}"/>
                  </a:ext>
                </a:extLst>
              </p:cNvPr>
              <p:cNvSpPr/>
              <p:nvPr/>
            </p:nvSpPr>
            <p:spPr>
              <a:xfrm>
                <a:off x="4418052" y="4481250"/>
                <a:ext cx="18318" cy="18470"/>
              </a:xfrm>
              <a:custGeom>
                <a:avLst/>
                <a:gdLst>
                  <a:gd name="connsiteX0" fmla="*/ 4113 w 18318"/>
                  <a:gd name="connsiteY0" fmla="*/ 1520 h 18470"/>
                  <a:gd name="connsiteX1" fmla="*/ 16792 w 18318"/>
                  <a:gd name="connsiteY1" fmla="*/ 4212 h 18470"/>
                  <a:gd name="connsiteX2" fmla="*/ 14221 w 18318"/>
                  <a:gd name="connsiteY2" fmla="*/ 16950 h 18470"/>
                  <a:gd name="connsiteX3" fmla="*/ 1542 w 18318"/>
                  <a:gd name="connsiteY3" fmla="*/ 14259 h 18470"/>
                  <a:gd name="connsiteX4" fmla="*/ 4113 w 18318"/>
                  <a:gd name="connsiteY4" fmla="*/ 1520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8" h="18470">
                    <a:moveTo>
                      <a:pt x="4113" y="1520"/>
                    </a:moveTo>
                    <a:cubicBezTo>
                      <a:pt x="8359" y="-1291"/>
                      <a:pt x="14041" y="-95"/>
                      <a:pt x="16792" y="4212"/>
                    </a:cubicBezTo>
                    <a:cubicBezTo>
                      <a:pt x="19603" y="8458"/>
                      <a:pt x="18407" y="14199"/>
                      <a:pt x="14221" y="16950"/>
                    </a:cubicBezTo>
                    <a:cubicBezTo>
                      <a:pt x="9974" y="19761"/>
                      <a:pt x="4292" y="18565"/>
                      <a:pt x="1542" y="14259"/>
                    </a:cubicBezTo>
                    <a:cubicBezTo>
                      <a:pt x="-1270" y="10013"/>
                      <a:pt x="-133" y="4271"/>
                      <a:pt x="4113" y="1520"/>
                    </a:cubicBezTo>
                    <a:close/>
                  </a:path>
                </a:pathLst>
              </a:custGeom>
              <a:grpFill/>
              <a:ln w="5978" cap="flat">
                <a:noFill/>
                <a:prstDash val="solid"/>
                <a:miter/>
              </a:ln>
            </p:spPr>
            <p:txBody>
              <a:bodyPr rtlCol="0" anchor="ctr"/>
              <a:lstStyle/>
              <a:p>
                <a:endParaRPr lang="en-GB"/>
              </a:p>
            </p:txBody>
          </p:sp>
          <p:sp>
            <p:nvSpPr>
              <p:cNvPr id="1494" name="Vrije vorm: vorm 1493">
                <a:extLst>
                  <a:ext uri="{FF2B5EF4-FFF2-40B4-BE49-F238E27FC236}">
                    <a16:creationId xmlns:a16="http://schemas.microsoft.com/office/drawing/2014/main" id="{979957E5-5F75-4508-995B-3118BBA349DA}"/>
                  </a:ext>
                </a:extLst>
              </p:cNvPr>
              <p:cNvSpPr/>
              <p:nvPr/>
            </p:nvSpPr>
            <p:spPr>
              <a:xfrm>
                <a:off x="4357467" y="4521201"/>
                <a:ext cx="18348" cy="18428"/>
              </a:xfrm>
              <a:custGeom>
                <a:avLst/>
                <a:gdLst>
                  <a:gd name="connsiteX0" fmla="*/ 4113 w 18348"/>
                  <a:gd name="connsiteY0" fmla="*/ 1520 h 18428"/>
                  <a:gd name="connsiteX1" fmla="*/ 1542 w 18348"/>
                  <a:gd name="connsiteY1" fmla="*/ 14259 h 18428"/>
                  <a:gd name="connsiteX2" fmla="*/ 14221 w 18348"/>
                  <a:gd name="connsiteY2" fmla="*/ 16951 h 18428"/>
                  <a:gd name="connsiteX3" fmla="*/ 16852 w 18348"/>
                  <a:gd name="connsiteY3" fmla="*/ 4212 h 18428"/>
                  <a:gd name="connsiteX4" fmla="*/ 4113 w 18348"/>
                  <a:gd name="connsiteY4" fmla="*/ 1520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8" h="18428">
                    <a:moveTo>
                      <a:pt x="4113" y="1520"/>
                    </a:moveTo>
                    <a:cubicBezTo>
                      <a:pt x="-133" y="4331"/>
                      <a:pt x="-1270" y="10013"/>
                      <a:pt x="1542" y="14259"/>
                    </a:cubicBezTo>
                    <a:cubicBezTo>
                      <a:pt x="4352" y="18505"/>
                      <a:pt x="10034" y="19701"/>
                      <a:pt x="14221" y="16951"/>
                    </a:cubicBezTo>
                    <a:cubicBezTo>
                      <a:pt x="18467" y="14139"/>
                      <a:pt x="19603" y="8458"/>
                      <a:pt x="16852" y="4212"/>
                    </a:cubicBezTo>
                    <a:cubicBezTo>
                      <a:pt x="14041" y="-95"/>
                      <a:pt x="8360" y="-1291"/>
                      <a:pt x="4113" y="1520"/>
                    </a:cubicBezTo>
                    <a:close/>
                  </a:path>
                </a:pathLst>
              </a:custGeom>
              <a:grpFill/>
              <a:ln w="5978" cap="flat">
                <a:noFill/>
                <a:prstDash val="solid"/>
                <a:miter/>
              </a:ln>
            </p:spPr>
            <p:txBody>
              <a:bodyPr rtlCol="0" anchor="ctr"/>
              <a:lstStyle/>
              <a:p>
                <a:endParaRPr lang="en-GB"/>
              </a:p>
            </p:txBody>
          </p:sp>
        </p:grpSp>
        <p:grpSp>
          <p:nvGrpSpPr>
            <p:cNvPr id="1306" name="Graphic 3">
              <a:extLst>
                <a:ext uri="{FF2B5EF4-FFF2-40B4-BE49-F238E27FC236}">
                  <a16:creationId xmlns:a16="http://schemas.microsoft.com/office/drawing/2014/main" id="{DF31E1B4-8A04-4767-9E05-0EBC8A8AFB1F}"/>
                </a:ext>
              </a:extLst>
            </p:cNvPr>
            <p:cNvGrpSpPr/>
            <p:nvPr/>
          </p:nvGrpSpPr>
          <p:grpSpPr>
            <a:xfrm>
              <a:off x="3949688" y="3410487"/>
              <a:ext cx="157652" cy="18659"/>
              <a:chOff x="3949688" y="3410487"/>
              <a:chExt cx="157652" cy="18659"/>
            </a:xfrm>
            <a:grpFill/>
          </p:grpSpPr>
          <p:sp>
            <p:nvSpPr>
              <p:cNvPr id="1489" name="Vrije vorm: vorm 1488">
                <a:extLst>
                  <a:ext uri="{FF2B5EF4-FFF2-40B4-BE49-F238E27FC236}">
                    <a16:creationId xmlns:a16="http://schemas.microsoft.com/office/drawing/2014/main" id="{A11CBD49-AE32-4B7B-8854-0A98FFFF0B32}"/>
                  </a:ext>
                </a:extLst>
              </p:cNvPr>
              <p:cNvSpPr/>
              <p:nvPr/>
            </p:nvSpPr>
            <p:spPr>
              <a:xfrm>
                <a:off x="3958420" y="3418202"/>
                <a:ext cx="140248" cy="3229"/>
              </a:xfrm>
              <a:custGeom>
                <a:avLst/>
                <a:gdLst>
                  <a:gd name="connsiteX0" fmla="*/ 140188 w 140248"/>
                  <a:gd name="connsiteY0" fmla="*/ 0 h 3229"/>
                  <a:gd name="connsiteX1" fmla="*/ 140248 w 140248"/>
                  <a:gd name="connsiteY1" fmla="*/ 3050 h 3229"/>
                  <a:gd name="connsiteX2" fmla="*/ 0 w 140248"/>
                  <a:gd name="connsiteY2" fmla="*/ 3229 h 3229"/>
                  <a:gd name="connsiteX3" fmla="*/ 0 w 140248"/>
                  <a:gd name="connsiteY3" fmla="*/ 179 h 3229"/>
                </a:gdLst>
                <a:ahLst/>
                <a:cxnLst>
                  <a:cxn ang="0">
                    <a:pos x="connsiteX0" y="connsiteY0"/>
                  </a:cxn>
                  <a:cxn ang="0">
                    <a:pos x="connsiteX1" y="connsiteY1"/>
                  </a:cxn>
                  <a:cxn ang="0">
                    <a:pos x="connsiteX2" y="connsiteY2"/>
                  </a:cxn>
                  <a:cxn ang="0">
                    <a:pos x="connsiteX3" y="connsiteY3"/>
                  </a:cxn>
                </a:cxnLst>
                <a:rect l="l" t="t" r="r" b="b"/>
                <a:pathLst>
                  <a:path w="140248" h="3229">
                    <a:moveTo>
                      <a:pt x="140188" y="0"/>
                    </a:moveTo>
                    <a:lnTo>
                      <a:pt x="140248" y="3050"/>
                    </a:lnTo>
                    <a:lnTo>
                      <a:pt x="0" y="3229"/>
                    </a:lnTo>
                    <a:lnTo>
                      <a:pt x="0" y="179"/>
                    </a:lnTo>
                    <a:close/>
                  </a:path>
                </a:pathLst>
              </a:custGeom>
              <a:grpFill/>
              <a:ln w="5978" cap="flat">
                <a:noFill/>
                <a:prstDash val="solid"/>
                <a:miter/>
              </a:ln>
            </p:spPr>
            <p:txBody>
              <a:bodyPr rtlCol="0" anchor="ctr"/>
              <a:lstStyle/>
              <a:p>
                <a:endParaRPr lang="en-GB"/>
              </a:p>
            </p:txBody>
          </p:sp>
          <p:sp>
            <p:nvSpPr>
              <p:cNvPr id="1490" name="Vrije vorm: vorm 1489">
                <a:extLst>
                  <a:ext uri="{FF2B5EF4-FFF2-40B4-BE49-F238E27FC236}">
                    <a16:creationId xmlns:a16="http://schemas.microsoft.com/office/drawing/2014/main" id="{BA87ACFD-A40E-4DF4-9A61-47BE124717B4}"/>
                  </a:ext>
                </a:extLst>
              </p:cNvPr>
              <p:cNvSpPr/>
              <p:nvPr/>
            </p:nvSpPr>
            <p:spPr>
              <a:xfrm>
                <a:off x="3949688" y="3410726"/>
                <a:ext cx="18300" cy="18420"/>
              </a:xfrm>
              <a:custGeom>
                <a:avLst/>
                <a:gdLst>
                  <a:gd name="connsiteX0" fmla="*/ 9210 w 18300"/>
                  <a:gd name="connsiteY0" fmla="*/ 18421 h 18420"/>
                  <a:gd name="connsiteX1" fmla="*/ 0 w 18300"/>
                  <a:gd name="connsiteY1" fmla="*/ 9210 h 18420"/>
                  <a:gd name="connsiteX2" fmla="*/ 9090 w 18300"/>
                  <a:gd name="connsiteY2" fmla="*/ 0 h 18420"/>
                  <a:gd name="connsiteX3" fmla="*/ 18301 w 18300"/>
                  <a:gd name="connsiteY3" fmla="*/ 9210 h 18420"/>
                  <a:gd name="connsiteX4" fmla="*/ 9210 w 18300"/>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0" h="18420">
                    <a:moveTo>
                      <a:pt x="9210" y="18421"/>
                    </a:moveTo>
                    <a:cubicBezTo>
                      <a:pt x="4127" y="18421"/>
                      <a:pt x="0" y="14294"/>
                      <a:pt x="0" y="9210"/>
                    </a:cubicBezTo>
                    <a:cubicBezTo>
                      <a:pt x="0" y="4127"/>
                      <a:pt x="4067" y="0"/>
                      <a:pt x="9090" y="0"/>
                    </a:cubicBezTo>
                    <a:cubicBezTo>
                      <a:pt x="14174" y="0"/>
                      <a:pt x="18301" y="4127"/>
                      <a:pt x="18301" y="9210"/>
                    </a:cubicBezTo>
                    <a:cubicBezTo>
                      <a:pt x="18301" y="14294"/>
                      <a:pt x="14294" y="18421"/>
                      <a:pt x="9210" y="18421"/>
                    </a:cubicBezTo>
                    <a:close/>
                  </a:path>
                </a:pathLst>
              </a:custGeom>
              <a:grpFill/>
              <a:ln w="5978" cap="flat">
                <a:noFill/>
                <a:prstDash val="solid"/>
                <a:miter/>
              </a:ln>
            </p:spPr>
            <p:txBody>
              <a:bodyPr rtlCol="0" anchor="ctr"/>
              <a:lstStyle/>
              <a:p>
                <a:endParaRPr lang="en-GB"/>
              </a:p>
            </p:txBody>
          </p:sp>
          <p:sp>
            <p:nvSpPr>
              <p:cNvPr id="1491" name="Vrije vorm: vorm 1490">
                <a:extLst>
                  <a:ext uri="{FF2B5EF4-FFF2-40B4-BE49-F238E27FC236}">
                    <a16:creationId xmlns:a16="http://schemas.microsoft.com/office/drawing/2014/main" id="{F6BF7325-E4B0-4DE9-B2E5-4345055FF338}"/>
                  </a:ext>
                </a:extLst>
              </p:cNvPr>
              <p:cNvSpPr/>
              <p:nvPr/>
            </p:nvSpPr>
            <p:spPr>
              <a:xfrm>
                <a:off x="4089038" y="3410487"/>
                <a:ext cx="18302" cy="18420"/>
              </a:xfrm>
              <a:custGeom>
                <a:avLst/>
                <a:gdLst>
                  <a:gd name="connsiteX0" fmla="*/ 9211 w 18302"/>
                  <a:gd name="connsiteY0" fmla="*/ 18421 h 18420"/>
                  <a:gd name="connsiteX1" fmla="*/ 18302 w 18302"/>
                  <a:gd name="connsiteY1" fmla="*/ 9210 h 18420"/>
                  <a:gd name="connsiteX2" fmla="*/ 9091 w 18302"/>
                  <a:gd name="connsiteY2" fmla="*/ 0 h 18420"/>
                  <a:gd name="connsiteX3" fmla="*/ 1 w 18302"/>
                  <a:gd name="connsiteY3" fmla="*/ 9210 h 18420"/>
                  <a:gd name="connsiteX4" fmla="*/ 9211 w 18302"/>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211" y="18421"/>
                    </a:moveTo>
                    <a:cubicBezTo>
                      <a:pt x="14295" y="18421"/>
                      <a:pt x="18362" y="14294"/>
                      <a:pt x="18302" y="9210"/>
                    </a:cubicBezTo>
                    <a:cubicBezTo>
                      <a:pt x="18302" y="4127"/>
                      <a:pt x="14175" y="0"/>
                      <a:pt x="9091" y="0"/>
                    </a:cubicBezTo>
                    <a:cubicBezTo>
                      <a:pt x="4008" y="0"/>
                      <a:pt x="-59" y="4127"/>
                      <a:pt x="1" y="9210"/>
                    </a:cubicBezTo>
                    <a:cubicBezTo>
                      <a:pt x="1" y="14354"/>
                      <a:pt x="4127" y="18421"/>
                      <a:pt x="9211" y="18421"/>
                    </a:cubicBezTo>
                    <a:close/>
                  </a:path>
                </a:pathLst>
              </a:custGeom>
              <a:grpFill/>
              <a:ln w="5978" cap="flat">
                <a:noFill/>
                <a:prstDash val="solid"/>
                <a:miter/>
              </a:ln>
            </p:spPr>
            <p:txBody>
              <a:bodyPr rtlCol="0" anchor="ctr"/>
              <a:lstStyle/>
              <a:p>
                <a:endParaRPr lang="en-GB"/>
              </a:p>
            </p:txBody>
          </p:sp>
        </p:grpSp>
        <p:grpSp>
          <p:nvGrpSpPr>
            <p:cNvPr id="1307" name="Graphic 3">
              <a:extLst>
                <a:ext uri="{FF2B5EF4-FFF2-40B4-BE49-F238E27FC236}">
                  <a16:creationId xmlns:a16="http://schemas.microsoft.com/office/drawing/2014/main" id="{421C8D6A-A86D-4E72-96DA-64FC68F21ED6}"/>
                </a:ext>
              </a:extLst>
            </p:cNvPr>
            <p:cNvGrpSpPr/>
            <p:nvPr/>
          </p:nvGrpSpPr>
          <p:grpSpPr>
            <a:xfrm>
              <a:off x="4156633" y="3875082"/>
              <a:ext cx="40404" cy="23953"/>
              <a:chOff x="4156633" y="3875082"/>
              <a:chExt cx="40404" cy="23953"/>
            </a:xfrm>
            <a:grpFill/>
          </p:grpSpPr>
          <p:sp>
            <p:nvSpPr>
              <p:cNvPr id="1486" name="Vrije vorm: vorm 1485">
                <a:extLst>
                  <a:ext uri="{FF2B5EF4-FFF2-40B4-BE49-F238E27FC236}">
                    <a16:creationId xmlns:a16="http://schemas.microsoft.com/office/drawing/2014/main" id="{34C6333D-03E2-4E78-B151-50DEE1B84739}"/>
                  </a:ext>
                </a:extLst>
              </p:cNvPr>
              <p:cNvSpPr/>
              <p:nvPr/>
            </p:nvSpPr>
            <p:spPr>
              <a:xfrm>
                <a:off x="4164994" y="3882724"/>
                <a:ext cx="23683" cy="8731"/>
              </a:xfrm>
              <a:custGeom>
                <a:avLst/>
                <a:gdLst>
                  <a:gd name="connsiteX0" fmla="*/ 22906 w 23683"/>
                  <a:gd name="connsiteY0" fmla="*/ 0 h 8731"/>
                  <a:gd name="connsiteX1" fmla="*/ 23683 w 23683"/>
                  <a:gd name="connsiteY1" fmla="*/ 2930 h 8731"/>
                  <a:gd name="connsiteX2" fmla="*/ 718 w 23683"/>
                  <a:gd name="connsiteY2" fmla="*/ 8732 h 8731"/>
                  <a:gd name="connsiteX3" fmla="*/ 0 w 23683"/>
                  <a:gd name="connsiteY3" fmla="*/ 5742 h 8731"/>
                </a:gdLst>
                <a:ahLst/>
                <a:cxnLst>
                  <a:cxn ang="0">
                    <a:pos x="connsiteX0" y="connsiteY0"/>
                  </a:cxn>
                  <a:cxn ang="0">
                    <a:pos x="connsiteX1" y="connsiteY1"/>
                  </a:cxn>
                  <a:cxn ang="0">
                    <a:pos x="connsiteX2" y="connsiteY2"/>
                  </a:cxn>
                  <a:cxn ang="0">
                    <a:pos x="connsiteX3" y="connsiteY3"/>
                  </a:cxn>
                </a:cxnLst>
                <a:rect l="l" t="t" r="r" b="b"/>
                <a:pathLst>
                  <a:path w="23683" h="8731">
                    <a:moveTo>
                      <a:pt x="22906" y="0"/>
                    </a:moveTo>
                    <a:lnTo>
                      <a:pt x="23683" y="2930"/>
                    </a:lnTo>
                    <a:lnTo>
                      <a:pt x="718" y="8732"/>
                    </a:lnTo>
                    <a:lnTo>
                      <a:pt x="0" y="5742"/>
                    </a:lnTo>
                    <a:close/>
                  </a:path>
                </a:pathLst>
              </a:custGeom>
              <a:grpFill/>
              <a:ln w="5978" cap="flat">
                <a:noFill/>
                <a:prstDash val="solid"/>
                <a:miter/>
              </a:ln>
            </p:spPr>
            <p:txBody>
              <a:bodyPr rtlCol="0" anchor="ctr"/>
              <a:lstStyle/>
              <a:p>
                <a:endParaRPr lang="en-GB"/>
              </a:p>
            </p:txBody>
          </p:sp>
          <p:sp>
            <p:nvSpPr>
              <p:cNvPr id="1487" name="Vrije vorm: vorm 1486">
                <a:extLst>
                  <a:ext uri="{FF2B5EF4-FFF2-40B4-BE49-F238E27FC236}">
                    <a16:creationId xmlns:a16="http://schemas.microsoft.com/office/drawing/2014/main" id="{56FC74ED-5675-4E1B-AF60-43C0519A027A}"/>
                  </a:ext>
                </a:extLst>
              </p:cNvPr>
              <p:cNvSpPr/>
              <p:nvPr/>
            </p:nvSpPr>
            <p:spPr>
              <a:xfrm>
                <a:off x="4156633" y="3880587"/>
                <a:ext cx="18336" cy="18448"/>
              </a:xfrm>
              <a:custGeom>
                <a:avLst/>
                <a:gdLst>
                  <a:gd name="connsiteX0" fmla="*/ 11411 w 18336"/>
                  <a:gd name="connsiteY0" fmla="*/ 18165 h 18448"/>
                  <a:gd name="connsiteX1" fmla="*/ 287 w 18336"/>
                  <a:gd name="connsiteY1" fmla="*/ 11467 h 18448"/>
                  <a:gd name="connsiteX2" fmla="*/ 6925 w 18336"/>
                  <a:gd name="connsiteY2" fmla="*/ 283 h 18448"/>
                  <a:gd name="connsiteX3" fmla="*/ 18049 w 18336"/>
                  <a:gd name="connsiteY3" fmla="*/ 6981 h 18448"/>
                  <a:gd name="connsiteX4" fmla="*/ 11411 w 18336"/>
                  <a:gd name="connsiteY4" fmla="*/ 18165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48">
                    <a:moveTo>
                      <a:pt x="11411" y="18165"/>
                    </a:moveTo>
                    <a:cubicBezTo>
                      <a:pt x="6507" y="19421"/>
                      <a:pt x="1543" y="16371"/>
                      <a:pt x="287" y="11467"/>
                    </a:cubicBezTo>
                    <a:cubicBezTo>
                      <a:pt x="-969" y="6503"/>
                      <a:pt x="2021" y="1539"/>
                      <a:pt x="6925" y="283"/>
                    </a:cubicBezTo>
                    <a:cubicBezTo>
                      <a:pt x="11830" y="-973"/>
                      <a:pt x="16793" y="2077"/>
                      <a:pt x="18049" y="6981"/>
                    </a:cubicBezTo>
                    <a:cubicBezTo>
                      <a:pt x="19306" y="11945"/>
                      <a:pt x="16315" y="16969"/>
                      <a:pt x="11411" y="18165"/>
                    </a:cubicBezTo>
                    <a:close/>
                  </a:path>
                </a:pathLst>
              </a:custGeom>
              <a:grpFill/>
              <a:ln w="5978" cap="flat">
                <a:noFill/>
                <a:prstDash val="solid"/>
                <a:miter/>
              </a:ln>
            </p:spPr>
            <p:txBody>
              <a:bodyPr rtlCol="0" anchor="ctr"/>
              <a:lstStyle/>
              <a:p>
                <a:endParaRPr lang="en-GB"/>
              </a:p>
            </p:txBody>
          </p:sp>
          <p:sp>
            <p:nvSpPr>
              <p:cNvPr id="1488" name="Vrije vorm: vorm 1487">
                <a:extLst>
                  <a:ext uri="{FF2B5EF4-FFF2-40B4-BE49-F238E27FC236}">
                    <a16:creationId xmlns:a16="http://schemas.microsoft.com/office/drawing/2014/main" id="{2B284193-6FE5-4E54-AADF-171CDBBEE53F}"/>
                  </a:ext>
                </a:extLst>
              </p:cNvPr>
              <p:cNvSpPr/>
              <p:nvPr/>
            </p:nvSpPr>
            <p:spPr>
              <a:xfrm>
                <a:off x="4178702" y="3875082"/>
                <a:ext cx="18336" cy="18451"/>
              </a:xfrm>
              <a:custGeom>
                <a:avLst/>
                <a:gdLst>
                  <a:gd name="connsiteX0" fmla="*/ 11411 w 18336"/>
                  <a:gd name="connsiteY0" fmla="*/ 18169 h 18451"/>
                  <a:gd name="connsiteX1" fmla="*/ 18049 w 18336"/>
                  <a:gd name="connsiteY1" fmla="*/ 6985 h 18451"/>
                  <a:gd name="connsiteX2" fmla="*/ 6925 w 18336"/>
                  <a:gd name="connsiteY2" fmla="*/ 286 h 18451"/>
                  <a:gd name="connsiteX3" fmla="*/ 287 w 18336"/>
                  <a:gd name="connsiteY3" fmla="*/ 11470 h 18451"/>
                  <a:gd name="connsiteX4" fmla="*/ 11411 w 18336"/>
                  <a:gd name="connsiteY4" fmla="*/ 18169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6" h="18451">
                    <a:moveTo>
                      <a:pt x="11411" y="18169"/>
                    </a:moveTo>
                    <a:cubicBezTo>
                      <a:pt x="16315" y="16913"/>
                      <a:pt x="19305" y="11949"/>
                      <a:pt x="18049" y="6985"/>
                    </a:cubicBezTo>
                    <a:cubicBezTo>
                      <a:pt x="16793" y="2021"/>
                      <a:pt x="11829" y="-970"/>
                      <a:pt x="6925" y="286"/>
                    </a:cubicBezTo>
                    <a:cubicBezTo>
                      <a:pt x="2021" y="1542"/>
                      <a:pt x="-969" y="6506"/>
                      <a:pt x="287" y="11470"/>
                    </a:cubicBezTo>
                    <a:cubicBezTo>
                      <a:pt x="1483" y="16375"/>
                      <a:pt x="6507" y="19425"/>
                      <a:pt x="11411" y="18169"/>
                    </a:cubicBezTo>
                    <a:close/>
                  </a:path>
                </a:pathLst>
              </a:custGeom>
              <a:grpFill/>
              <a:ln w="5978" cap="flat">
                <a:noFill/>
                <a:prstDash val="solid"/>
                <a:miter/>
              </a:ln>
            </p:spPr>
            <p:txBody>
              <a:bodyPr rtlCol="0" anchor="ctr"/>
              <a:lstStyle/>
              <a:p>
                <a:endParaRPr lang="en-GB"/>
              </a:p>
            </p:txBody>
          </p:sp>
        </p:grpSp>
        <p:grpSp>
          <p:nvGrpSpPr>
            <p:cNvPr id="1308" name="Graphic 3">
              <a:extLst>
                <a:ext uri="{FF2B5EF4-FFF2-40B4-BE49-F238E27FC236}">
                  <a16:creationId xmlns:a16="http://schemas.microsoft.com/office/drawing/2014/main" id="{452FADEA-73DB-4190-964C-1941D0623698}"/>
                </a:ext>
              </a:extLst>
            </p:cNvPr>
            <p:cNvGrpSpPr/>
            <p:nvPr/>
          </p:nvGrpSpPr>
          <p:grpSpPr>
            <a:xfrm>
              <a:off x="4005847" y="3372389"/>
              <a:ext cx="20335" cy="18483"/>
              <a:chOff x="4005847" y="3372389"/>
              <a:chExt cx="20335" cy="18483"/>
            </a:xfrm>
            <a:grpFill/>
          </p:grpSpPr>
          <p:sp>
            <p:nvSpPr>
              <p:cNvPr id="1483" name="Vrije vorm: vorm 1482">
                <a:extLst>
                  <a:ext uri="{FF2B5EF4-FFF2-40B4-BE49-F238E27FC236}">
                    <a16:creationId xmlns:a16="http://schemas.microsoft.com/office/drawing/2014/main" id="{CCC56544-544C-4125-84B5-223FC70DCBE2}"/>
                  </a:ext>
                </a:extLst>
              </p:cNvPr>
              <p:cNvSpPr/>
              <p:nvPr/>
            </p:nvSpPr>
            <p:spPr>
              <a:xfrm>
                <a:off x="4014519" y="3380045"/>
                <a:ext cx="2990" cy="3109"/>
              </a:xfrm>
              <a:custGeom>
                <a:avLst/>
                <a:gdLst>
                  <a:gd name="connsiteX0" fmla="*/ 2990 w 2990"/>
                  <a:gd name="connsiteY0" fmla="*/ 60 h 3109"/>
                  <a:gd name="connsiteX1" fmla="*/ 2931 w 2990"/>
                  <a:gd name="connsiteY1" fmla="*/ 3110 h 3109"/>
                  <a:gd name="connsiteX2" fmla="*/ 0 w 2990"/>
                  <a:gd name="connsiteY2" fmla="*/ 3050 h 3109"/>
                  <a:gd name="connsiteX3" fmla="*/ 60 w 2990"/>
                  <a:gd name="connsiteY3" fmla="*/ 0 h 3109"/>
                </a:gdLst>
                <a:ahLst/>
                <a:cxnLst>
                  <a:cxn ang="0">
                    <a:pos x="connsiteX0" y="connsiteY0"/>
                  </a:cxn>
                  <a:cxn ang="0">
                    <a:pos x="connsiteX1" y="connsiteY1"/>
                  </a:cxn>
                  <a:cxn ang="0">
                    <a:pos x="connsiteX2" y="connsiteY2"/>
                  </a:cxn>
                  <a:cxn ang="0">
                    <a:pos x="connsiteX3" y="connsiteY3"/>
                  </a:cxn>
                </a:cxnLst>
                <a:rect l="l" t="t" r="r" b="b"/>
                <a:pathLst>
                  <a:path w="2990" h="3109">
                    <a:moveTo>
                      <a:pt x="2990" y="60"/>
                    </a:moveTo>
                    <a:lnTo>
                      <a:pt x="2931" y="3110"/>
                    </a:lnTo>
                    <a:lnTo>
                      <a:pt x="0" y="3050"/>
                    </a:lnTo>
                    <a:lnTo>
                      <a:pt x="60" y="0"/>
                    </a:lnTo>
                    <a:close/>
                  </a:path>
                </a:pathLst>
              </a:custGeom>
              <a:grpFill/>
              <a:ln w="5978" cap="flat">
                <a:noFill/>
                <a:prstDash val="solid"/>
                <a:miter/>
              </a:ln>
            </p:spPr>
            <p:txBody>
              <a:bodyPr rtlCol="0" anchor="ctr"/>
              <a:lstStyle/>
              <a:p>
                <a:endParaRPr lang="en-GB"/>
              </a:p>
            </p:txBody>
          </p:sp>
          <p:sp>
            <p:nvSpPr>
              <p:cNvPr id="1484" name="Vrije vorm: vorm 1483">
                <a:extLst>
                  <a:ext uri="{FF2B5EF4-FFF2-40B4-BE49-F238E27FC236}">
                    <a16:creationId xmlns:a16="http://schemas.microsoft.com/office/drawing/2014/main" id="{9C75D19E-986E-4739-9F27-2858529FA48C}"/>
                  </a:ext>
                </a:extLst>
              </p:cNvPr>
              <p:cNvSpPr/>
              <p:nvPr/>
            </p:nvSpPr>
            <p:spPr>
              <a:xfrm>
                <a:off x="4007880" y="3372447"/>
                <a:ext cx="18302" cy="18425"/>
              </a:xfrm>
              <a:custGeom>
                <a:avLst/>
                <a:gdLst>
                  <a:gd name="connsiteX0" fmla="*/ 9271 w 18302"/>
                  <a:gd name="connsiteY0" fmla="*/ 3 h 18425"/>
                  <a:gd name="connsiteX1" fmla="*/ 18302 w 18302"/>
                  <a:gd name="connsiteY1" fmla="*/ 9392 h 18425"/>
                  <a:gd name="connsiteX2" fmla="*/ 9032 w 18302"/>
                  <a:gd name="connsiteY2" fmla="*/ 18423 h 18425"/>
                  <a:gd name="connsiteX3" fmla="*/ 1 w 18302"/>
                  <a:gd name="connsiteY3" fmla="*/ 9034 h 18425"/>
                  <a:gd name="connsiteX4" fmla="*/ 9271 w 18302"/>
                  <a:gd name="connsiteY4" fmla="*/ 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5">
                    <a:moveTo>
                      <a:pt x="9271" y="3"/>
                    </a:moveTo>
                    <a:cubicBezTo>
                      <a:pt x="14355" y="62"/>
                      <a:pt x="18362" y="4309"/>
                      <a:pt x="18302" y="9392"/>
                    </a:cubicBezTo>
                    <a:cubicBezTo>
                      <a:pt x="18242" y="14476"/>
                      <a:pt x="14056" y="18543"/>
                      <a:pt x="9032" y="18423"/>
                    </a:cubicBezTo>
                    <a:cubicBezTo>
                      <a:pt x="3948" y="18363"/>
                      <a:pt x="-59" y="14117"/>
                      <a:pt x="1" y="9034"/>
                    </a:cubicBezTo>
                    <a:cubicBezTo>
                      <a:pt x="61" y="3950"/>
                      <a:pt x="4187" y="-117"/>
                      <a:pt x="9271" y="3"/>
                    </a:cubicBezTo>
                    <a:close/>
                  </a:path>
                </a:pathLst>
              </a:custGeom>
              <a:grpFill/>
              <a:ln w="5978" cap="flat">
                <a:noFill/>
                <a:prstDash val="solid"/>
                <a:miter/>
              </a:ln>
            </p:spPr>
            <p:txBody>
              <a:bodyPr rtlCol="0" anchor="ctr"/>
              <a:lstStyle/>
              <a:p>
                <a:endParaRPr lang="en-GB"/>
              </a:p>
            </p:txBody>
          </p:sp>
          <p:sp>
            <p:nvSpPr>
              <p:cNvPr id="1485" name="Vrije vorm: vorm 1484">
                <a:extLst>
                  <a:ext uri="{FF2B5EF4-FFF2-40B4-BE49-F238E27FC236}">
                    <a16:creationId xmlns:a16="http://schemas.microsoft.com/office/drawing/2014/main" id="{51DFD4B0-D7BE-4654-85BF-57BAC84BD3D5}"/>
                  </a:ext>
                </a:extLst>
              </p:cNvPr>
              <p:cNvSpPr/>
              <p:nvPr/>
            </p:nvSpPr>
            <p:spPr>
              <a:xfrm>
                <a:off x="4005847" y="3372389"/>
                <a:ext cx="18302" cy="18421"/>
              </a:xfrm>
              <a:custGeom>
                <a:avLst/>
                <a:gdLst>
                  <a:gd name="connsiteX0" fmla="*/ 9271 w 18302"/>
                  <a:gd name="connsiteY0" fmla="*/ 1 h 18421"/>
                  <a:gd name="connsiteX1" fmla="*/ 1 w 18302"/>
                  <a:gd name="connsiteY1" fmla="*/ 9031 h 18421"/>
                  <a:gd name="connsiteX2" fmla="*/ 9031 w 18302"/>
                  <a:gd name="connsiteY2" fmla="*/ 18421 h 18421"/>
                  <a:gd name="connsiteX3" fmla="*/ 18302 w 18302"/>
                  <a:gd name="connsiteY3" fmla="*/ 9390 h 18421"/>
                  <a:gd name="connsiteX4" fmla="*/ 9271 w 18302"/>
                  <a:gd name="connsiteY4" fmla="*/ 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1">
                    <a:moveTo>
                      <a:pt x="9271" y="1"/>
                    </a:moveTo>
                    <a:cubicBezTo>
                      <a:pt x="4187" y="-59"/>
                      <a:pt x="60" y="3948"/>
                      <a:pt x="1" y="9031"/>
                    </a:cubicBezTo>
                    <a:cubicBezTo>
                      <a:pt x="-59" y="14115"/>
                      <a:pt x="4008" y="18302"/>
                      <a:pt x="9031" y="18421"/>
                    </a:cubicBezTo>
                    <a:cubicBezTo>
                      <a:pt x="14115" y="18481"/>
                      <a:pt x="18242" y="14474"/>
                      <a:pt x="18302" y="9390"/>
                    </a:cubicBezTo>
                    <a:cubicBezTo>
                      <a:pt x="18361" y="4307"/>
                      <a:pt x="14354" y="60"/>
                      <a:pt x="9271" y="1"/>
                    </a:cubicBezTo>
                    <a:close/>
                  </a:path>
                </a:pathLst>
              </a:custGeom>
              <a:grpFill/>
              <a:ln w="5978" cap="flat">
                <a:noFill/>
                <a:prstDash val="solid"/>
                <a:miter/>
              </a:ln>
            </p:spPr>
            <p:txBody>
              <a:bodyPr rtlCol="0" anchor="ctr"/>
              <a:lstStyle/>
              <a:p>
                <a:endParaRPr lang="en-GB"/>
              </a:p>
            </p:txBody>
          </p:sp>
        </p:grpSp>
        <p:grpSp>
          <p:nvGrpSpPr>
            <p:cNvPr id="1309" name="Graphic 3">
              <a:extLst>
                <a:ext uri="{FF2B5EF4-FFF2-40B4-BE49-F238E27FC236}">
                  <a16:creationId xmlns:a16="http://schemas.microsoft.com/office/drawing/2014/main" id="{15A4646F-C2C7-446E-8353-2FEC1D663D85}"/>
                </a:ext>
              </a:extLst>
            </p:cNvPr>
            <p:cNvGrpSpPr/>
            <p:nvPr/>
          </p:nvGrpSpPr>
          <p:grpSpPr>
            <a:xfrm>
              <a:off x="4218421" y="4375096"/>
              <a:ext cx="317341" cy="207647"/>
              <a:chOff x="4218421" y="4375096"/>
              <a:chExt cx="317341" cy="207647"/>
            </a:xfrm>
            <a:grpFill/>
          </p:grpSpPr>
          <p:sp>
            <p:nvSpPr>
              <p:cNvPr id="1480" name="Vrije vorm: vorm 1479">
                <a:extLst>
                  <a:ext uri="{FF2B5EF4-FFF2-40B4-BE49-F238E27FC236}">
                    <a16:creationId xmlns:a16="http://schemas.microsoft.com/office/drawing/2014/main" id="{FC90113C-CAD5-4418-86EC-1B5C5341BFC5}"/>
                  </a:ext>
                </a:extLst>
              </p:cNvPr>
              <p:cNvSpPr/>
              <p:nvPr/>
            </p:nvSpPr>
            <p:spPr>
              <a:xfrm>
                <a:off x="4226356" y="4382772"/>
                <a:ext cx="301488" cy="192340"/>
              </a:xfrm>
              <a:custGeom>
                <a:avLst/>
                <a:gdLst>
                  <a:gd name="connsiteX0" fmla="*/ 301488 w 301488"/>
                  <a:gd name="connsiteY0" fmla="*/ 2572 h 192340"/>
                  <a:gd name="connsiteX1" fmla="*/ 1615 w 301488"/>
                  <a:gd name="connsiteY1" fmla="*/ 192340 h 192340"/>
                  <a:gd name="connsiteX2" fmla="*/ 0 w 301488"/>
                  <a:gd name="connsiteY2" fmla="*/ 189709 h 192340"/>
                  <a:gd name="connsiteX3" fmla="*/ 299814 w 301488"/>
                  <a:gd name="connsiteY3" fmla="*/ 0 h 192340"/>
                </a:gdLst>
                <a:ahLst/>
                <a:cxnLst>
                  <a:cxn ang="0">
                    <a:pos x="connsiteX0" y="connsiteY0"/>
                  </a:cxn>
                  <a:cxn ang="0">
                    <a:pos x="connsiteX1" y="connsiteY1"/>
                  </a:cxn>
                  <a:cxn ang="0">
                    <a:pos x="connsiteX2" y="connsiteY2"/>
                  </a:cxn>
                  <a:cxn ang="0">
                    <a:pos x="connsiteX3" y="connsiteY3"/>
                  </a:cxn>
                </a:cxnLst>
                <a:rect l="l" t="t" r="r" b="b"/>
                <a:pathLst>
                  <a:path w="301488" h="192340">
                    <a:moveTo>
                      <a:pt x="301488" y="2572"/>
                    </a:moveTo>
                    <a:lnTo>
                      <a:pt x="1615" y="192340"/>
                    </a:lnTo>
                    <a:lnTo>
                      <a:pt x="0" y="189709"/>
                    </a:lnTo>
                    <a:lnTo>
                      <a:pt x="299814" y="0"/>
                    </a:lnTo>
                    <a:close/>
                  </a:path>
                </a:pathLst>
              </a:custGeom>
              <a:grpFill/>
              <a:ln w="5978" cap="flat">
                <a:noFill/>
                <a:prstDash val="solid"/>
                <a:miter/>
              </a:ln>
            </p:spPr>
            <p:txBody>
              <a:bodyPr rtlCol="0" anchor="ctr"/>
              <a:lstStyle/>
              <a:p>
                <a:endParaRPr lang="en-GB"/>
              </a:p>
            </p:txBody>
          </p:sp>
          <p:sp>
            <p:nvSpPr>
              <p:cNvPr id="1481" name="Vrije vorm: vorm 1480">
                <a:extLst>
                  <a:ext uri="{FF2B5EF4-FFF2-40B4-BE49-F238E27FC236}">
                    <a16:creationId xmlns:a16="http://schemas.microsoft.com/office/drawing/2014/main" id="{0D80D6D0-1ECE-4A86-B4B8-E8C565A6D227}"/>
                  </a:ext>
                </a:extLst>
              </p:cNvPr>
              <p:cNvSpPr/>
              <p:nvPr/>
            </p:nvSpPr>
            <p:spPr>
              <a:xfrm>
                <a:off x="4218421" y="4564326"/>
                <a:ext cx="18263" cy="18417"/>
              </a:xfrm>
              <a:custGeom>
                <a:avLst/>
                <a:gdLst>
                  <a:gd name="connsiteX0" fmla="*/ 14036 w 18263"/>
                  <a:gd name="connsiteY0" fmla="*/ 17007 h 18417"/>
                  <a:gd name="connsiteX1" fmla="*/ 1417 w 18263"/>
                  <a:gd name="connsiteY1" fmla="*/ 14076 h 18417"/>
                  <a:gd name="connsiteX2" fmla="*/ 4228 w 18263"/>
                  <a:gd name="connsiteY2" fmla="*/ 1397 h 18417"/>
                  <a:gd name="connsiteX3" fmla="*/ 16847 w 18263"/>
                  <a:gd name="connsiteY3" fmla="*/ 4327 h 18417"/>
                  <a:gd name="connsiteX4" fmla="*/ 14036 w 18263"/>
                  <a:gd name="connsiteY4" fmla="*/ 1700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3" h="18417">
                    <a:moveTo>
                      <a:pt x="14036" y="17007"/>
                    </a:moveTo>
                    <a:cubicBezTo>
                      <a:pt x="9730" y="19698"/>
                      <a:pt x="4108" y="18442"/>
                      <a:pt x="1417" y="14076"/>
                    </a:cubicBezTo>
                    <a:cubicBezTo>
                      <a:pt x="-1275" y="9770"/>
                      <a:pt x="-19" y="4088"/>
                      <a:pt x="4228" y="1397"/>
                    </a:cubicBezTo>
                    <a:cubicBezTo>
                      <a:pt x="8474" y="-1294"/>
                      <a:pt x="14156" y="21"/>
                      <a:pt x="16847" y="4327"/>
                    </a:cubicBezTo>
                    <a:cubicBezTo>
                      <a:pt x="19538" y="8633"/>
                      <a:pt x="18282" y="14315"/>
                      <a:pt x="14036" y="17007"/>
                    </a:cubicBezTo>
                    <a:close/>
                  </a:path>
                </a:pathLst>
              </a:custGeom>
              <a:grpFill/>
              <a:ln w="5978" cap="flat">
                <a:noFill/>
                <a:prstDash val="solid"/>
                <a:miter/>
              </a:ln>
            </p:spPr>
            <p:txBody>
              <a:bodyPr rtlCol="0" anchor="ctr"/>
              <a:lstStyle/>
              <a:p>
                <a:endParaRPr lang="en-GB"/>
              </a:p>
            </p:txBody>
          </p:sp>
          <p:sp>
            <p:nvSpPr>
              <p:cNvPr id="1482" name="Vrije vorm: vorm 1481">
                <a:extLst>
                  <a:ext uri="{FF2B5EF4-FFF2-40B4-BE49-F238E27FC236}">
                    <a16:creationId xmlns:a16="http://schemas.microsoft.com/office/drawing/2014/main" id="{5473AF7A-92AC-4C28-B542-53E003A45421}"/>
                  </a:ext>
                </a:extLst>
              </p:cNvPr>
              <p:cNvSpPr/>
              <p:nvPr/>
            </p:nvSpPr>
            <p:spPr>
              <a:xfrm>
                <a:off x="4517430" y="4375096"/>
                <a:ext cx="18331" cy="18403"/>
              </a:xfrm>
              <a:custGeom>
                <a:avLst/>
                <a:gdLst>
                  <a:gd name="connsiteX0" fmla="*/ 14062 w 18331"/>
                  <a:gd name="connsiteY0" fmla="*/ 17007 h 18403"/>
                  <a:gd name="connsiteX1" fmla="*/ 16874 w 18331"/>
                  <a:gd name="connsiteY1" fmla="*/ 4327 h 18403"/>
                  <a:gd name="connsiteX2" fmla="*/ 4254 w 18331"/>
                  <a:gd name="connsiteY2" fmla="*/ 1397 h 18403"/>
                  <a:gd name="connsiteX3" fmla="*/ 1443 w 18331"/>
                  <a:gd name="connsiteY3" fmla="*/ 14076 h 18403"/>
                  <a:gd name="connsiteX4" fmla="*/ 14062 w 18331"/>
                  <a:gd name="connsiteY4" fmla="*/ 17007 h 1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1" h="18403">
                    <a:moveTo>
                      <a:pt x="14062" y="17007"/>
                    </a:moveTo>
                    <a:cubicBezTo>
                      <a:pt x="18369" y="14315"/>
                      <a:pt x="19625" y="8634"/>
                      <a:pt x="16874" y="4327"/>
                    </a:cubicBezTo>
                    <a:cubicBezTo>
                      <a:pt x="14182" y="21"/>
                      <a:pt x="8500" y="-1294"/>
                      <a:pt x="4254" y="1397"/>
                    </a:cubicBezTo>
                    <a:cubicBezTo>
                      <a:pt x="8" y="4088"/>
                      <a:pt x="-1308" y="9770"/>
                      <a:pt x="1443" y="14076"/>
                    </a:cubicBezTo>
                    <a:cubicBezTo>
                      <a:pt x="4135" y="18382"/>
                      <a:pt x="9816" y="19698"/>
                      <a:pt x="14062" y="17007"/>
                    </a:cubicBezTo>
                    <a:close/>
                  </a:path>
                </a:pathLst>
              </a:custGeom>
              <a:grpFill/>
              <a:ln w="5978" cap="flat">
                <a:noFill/>
                <a:prstDash val="solid"/>
                <a:miter/>
              </a:ln>
            </p:spPr>
            <p:txBody>
              <a:bodyPr rtlCol="0" anchor="ctr"/>
              <a:lstStyle/>
              <a:p>
                <a:endParaRPr lang="en-GB"/>
              </a:p>
            </p:txBody>
          </p:sp>
        </p:grpSp>
        <p:grpSp>
          <p:nvGrpSpPr>
            <p:cNvPr id="1310" name="Graphic 3">
              <a:extLst>
                <a:ext uri="{FF2B5EF4-FFF2-40B4-BE49-F238E27FC236}">
                  <a16:creationId xmlns:a16="http://schemas.microsoft.com/office/drawing/2014/main" id="{3E8E41D2-9976-499A-B935-EDAF075CD36F}"/>
                </a:ext>
              </a:extLst>
            </p:cNvPr>
            <p:cNvGrpSpPr/>
            <p:nvPr/>
          </p:nvGrpSpPr>
          <p:grpSpPr>
            <a:xfrm>
              <a:off x="4093614" y="3799923"/>
              <a:ext cx="109926" cy="37716"/>
              <a:chOff x="4093614" y="3799923"/>
              <a:chExt cx="109926" cy="37716"/>
            </a:xfrm>
            <a:grpFill/>
          </p:grpSpPr>
          <p:sp>
            <p:nvSpPr>
              <p:cNvPr id="1477" name="Vrije vorm: vorm 1476">
                <a:extLst>
                  <a:ext uri="{FF2B5EF4-FFF2-40B4-BE49-F238E27FC236}">
                    <a16:creationId xmlns:a16="http://schemas.microsoft.com/office/drawing/2014/main" id="{DF3970DE-0554-4A6E-AA61-9B733EBAA6C6}"/>
                  </a:ext>
                </a:extLst>
              </p:cNvPr>
              <p:cNvSpPr/>
              <p:nvPr/>
            </p:nvSpPr>
            <p:spPr>
              <a:xfrm>
                <a:off x="4102077" y="3807547"/>
                <a:ext cx="93060" cy="22487"/>
              </a:xfrm>
              <a:custGeom>
                <a:avLst/>
                <a:gdLst>
                  <a:gd name="connsiteX0" fmla="*/ 92402 w 93060"/>
                  <a:gd name="connsiteY0" fmla="*/ 0 h 22487"/>
                  <a:gd name="connsiteX1" fmla="*/ 93060 w 93060"/>
                  <a:gd name="connsiteY1" fmla="*/ 2990 h 22487"/>
                  <a:gd name="connsiteX2" fmla="*/ 598 w 93060"/>
                  <a:gd name="connsiteY2" fmla="*/ 22488 h 22487"/>
                  <a:gd name="connsiteX3" fmla="*/ 0 w 93060"/>
                  <a:gd name="connsiteY3" fmla="*/ 19497 h 22487"/>
                </a:gdLst>
                <a:ahLst/>
                <a:cxnLst>
                  <a:cxn ang="0">
                    <a:pos x="connsiteX0" y="connsiteY0"/>
                  </a:cxn>
                  <a:cxn ang="0">
                    <a:pos x="connsiteX1" y="connsiteY1"/>
                  </a:cxn>
                  <a:cxn ang="0">
                    <a:pos x="connsiteX2" y="connsiteY2"/>
                  </a:cxn>
                  <a:cxn ang="0">
                    <a:pos x="connsiteX3" y="connsiteY3"/>
                  </a:cxn>
                </a:cxnLst>
                <a:rect l="l" t="t" r="r" b="b"/>
                <a:pathLst>
                  <a:path w="93060" h="22487">
                    <a:moveTo>
                      <a:pt x="92402" y="0"/>
                    </a:moveTo>
                    <a:lnTo>
                      <a:pt x="93060" y="2990"/>
                    </a:lnTo>
                    <a:lnTo>
                      <a:pt x="598" y="22488"/>
                    </a:lnTo>
                    <a:lnTo>
                      <a:pt x="0" y="19497"/>
                    </a:lnTo>
                    <a:close/>
                  </a:path>
                </a:pathLst>
              </a:custGeom>
              <a:grpFill/>
              <a:ln w="5978" cap="flat">
                <a:noFill/>
                <a:prstDash val="solid"/>
                <a:miter/>
              </a:ln>
            </p:spPr>
            <p:txBody>
              <a:bodyPr rtlCol="0" anchor="ctr"/>
              <a:lstStyle/>
              <a:p>
                <a:endParaRPr lang="en-GB"/>
              </a:p>
            </p:txBody>
          </p:sp>
          <p:sp>
            <p:nvSpPr>
              <p:cNvPr id="1478" name="Vrije vorm: vorm 1477">
                <a:extLst>
                  <a:ext uri="{FF2B5EF4-FFF2-40B4-BE49-F238E27FC236}">
                    <a16:creationId xmlns:a16="http://schemas.microsoft.com/office/drawing/2014/main" id="{8DBA7A79-77AC-4701-8D64-5D8C89012D4A}"/>
                  </a:ext>
                </a:extLst>
              </p:cNvPr>
              <p:cNvSpPr/>
              <p:nvPr/>
            </p:nvSpPr>
            <p:spPr>
              <a:xfrm>
                <a:off x="4093614" y="3819259"/>
                <a:ext cx="18362" cy="18381"/>
              </a:xfrm>
              <a:custGeom>
                <a:avLst/>
                <a:gdLst>
                  <a:gd name="connsiteX0" fmla="*/ 11095 w 18362"/>
                  <a:gd name="connsiteY0" fmla="*/ 18192 h 18381"/>
                  <a:gd name="connsiteX1" fmla="*/ 210 w 18362"/>
                  <a:gd name="connsiteY1" fmla="*/ 11075 h 18381"/>
                  <a:gd name="connsiteX2" fmla="*/ 7267 w 18362"/>
                  <a:gd name="connsiteY2" fmla="*/ 190 h 18381"/>
                  <a:gd name="connsiteX3" fmla="*/ 18152 w 18362"/>
                  <a:gd name="connsiteY3" fmla="*/ 7307 h 18381"/>
                  <a:gd name="connsiteX4" fmla="*/ 11095 w 18362"/>
                  <a:gd name="connsiteY4" fmla="*/ 18192 h 18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381">
                    <a:moveTo>
                      <a:pt x="11095" y="18192"/>
                    </a:moveTo>
                    <a:cubicBezTo>
                      <a:pt x="6131" y="19208"/>
                      <a:pt x="1286" y="16039"/>
                      <a:pt x="210" y="11075"/>
                    </a:cubicBezTo>
                    <a:cubicBezTo>
                      <a:pt x="-867" y="6111"/>
                      <a:pt x="2303" y="1207"/>
                      <a:pt x="7267" y="190"/>
                    </a:cubicBezTo>
                    <a:cubicBezTo>
                      <a:pt x="12231" y="-827"/>
                      <a:pt x="17076" y="2343"/>
                      <a:pt x="18152" y="7307"/>
                    </a:cubicBezTo>
                    <a:cubicBezTo>
                      <a:pt x="19229" y="12271"/>
                      <a:pt x="16059" y="17115"/>
                      <a:pt x="11095" y="18192"/>
                    </a:cubicBezTo>
                    <a:close/>
                  </a:path>
                </a:pathLst>
              </a:custGeom>
              <a:grpFill/>
              <a:ln w="5978" cap="flat">
                <a:noFill/>
                <a:prstDash val="solid"/>
                <a:miter/>
              </a:ln>
            </p:spPr>
            <p:txBody>
              <a:bodyPr rtlCol="0" anchor="ctr"/>
              <a:lstStyle/>
              <a:p>
                <a:endParaRPr lang="en-GB"/>
              </a:p>
            </p:txBody>
          </p:sp>
          <p:sp>
            <p:nvSpPr>
              <p:cNvPr id="1479" name="Vrije vorm: vorm 1478">
                <a:extLst>
                  <a:ext uri="{FF2B5EF4-FFF2-40B4-BE49-F238E27FC236}">
                    <a16:creationId xmlns:a16="http://schemas.microsoft.com/office/drawing/2014/main" id="{B78E4061-16EF-49B6-8A21-2FB337BF3380}"/>
                  </a:ext>
                </a:extLst>
              </p:cNvPr>
              <p:cNvSpPr/>
              <p:nvPr/>
            </p:nvSpPr>
            <p:spPr>
              <a:xfrm>
                <a:off x="4185178" y="3799923"/>
                <a:ext cx="18362" cy="18416"/>
              </a:xfrm>
              <a:custGeom>
                <a:avLst/>
                <a:gdLst>
                  <a:gd name="connsiteX0" fmla="*/ 11095 w 18362"/>
                  <a:gd name="connsiteY0" fmla="*/ 18209 h 18416"/>
                  <a:gd name="connsiteX1" fmla="*/ 18152 w 18362"/>
                  <a:gd name="connsiteY1" fmla="*/ 7324 h 18416"/>
                  <a:gd name="connsiteX2" fmla="*/ 7267 w 18362"/>
                  <a:gd name="connsiteY2" fmla="*/ 207 h 18416"/>
                  <a:gd name="connsiteX3" fmla="*/ 210 w 18362"/>
                  <a:gd name="connsiteY3" fmla="*/ 11092 h 18416"/>
                  <a:gd name="connsiteX4" fmla="*/ 11095 w 18362"/>
                  <a:gd name="connsiteY4" fmla="*/ 18209 h 18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2" h="18416">
                    <a:moveTo>
                      <a:pt x="11095" y="18209"/>
                    </a:moveTo>
                    <a:cubicBezTo>
                      <a:pt x="16059" y="17193"/>
                      <a:pt x="19229" y="12288"/>
                      <a:pt x="18152" y="7324"/>
                    </a:cubicBezTo>
                    <a:cubicBezTo>
                      <a:pt x="17076" y="2360"/>
                      <a:pt x="12231" y="-869"/>
                      <a:pt x="7267" y="207"/>
                    </a:cubicBezTo>
                    <a:cubicBezTo>
                      <a:pt x="2303" y="1224"/>
                      <a:pt x="-867" y="6128"/>
                      <a:pt x="210" y="11092"/>
                    </a:cubicBezTo>
                    <a:cubicBezTo>
                      <a:pt x="1286" y="16056"/>
                      <a:pt x="6191" y="19286"/>
                      <a:pt x="11095" y="18209"/>
                    </a:cubicBezTo>
                    <a:close/>
                  </a:path>
                </a:pathLst>
              </a:custGeom>
              <a:grpFill/>
              <a:ln w="5978" cap="flat">
                <a:noFill/>
                <a:prstDash val="solid"/>
                <a:miter/>
              </a:ln>
            </p:spPr>
            <p:txBody>
              <a:bodyPr rtlCol="0" anchor="ctr"/>
              <a:lstStyle/>
              <a:p>
                <a:endParaRPr lang="en-GB"/>
              </a:p>
            </p:txBody>
          </p:sp>
        </p:grpSp>
        <p:grpSp>
          <p:nvGrpSpPr>
            <p:cNvPr id="1311" name="Graphic 3">
              <a:extLst>
                <a:ext uri="{FF2B5EF4-FFF2-40B4-BE49-F238E27FC236}">
                  <a16:creationId xmlns:a16="http://schemas.microsoft.com/office/drawing/2014/main" id="{C4373846-0ADC-4228-BC71-A6AA92E4FE26}"/>
                </a:ext>
              </a:extLst>
            </p:cNvPr>
            <p:cNvGrpSpPr/>
            <p:nvPr/>
          </p:nvGrpSpPr>
          <p:grpSpPr>
            <a:xfrm>
              <a:off x="4160612" y="3945685"/>
              <a:ext cx="52304" cy="28316"/>
              <a:chOff x="4160612" y="3945685"/>
              <a:chExt cx="52304" cy="28316"/>
            </a:xfrm>
            <a:grpFill/>
          </p:grpSpPr>
          <p:sp>
            <p:nvSpPr>
              <p:cNvPr id="1474" name="Vrije vorm: vorm 1473">
                <a:extLst>
                  <a:ext uri="{FF2B5EF4-FFF2-40B4-BE49-F238E27FC236}">
                    <a16:creationId xmlns:a16="http://schemas.microsoft.com/office/drawing/2014/main" id="{F04B6AA3-C65F-4DAB-A2A7-54640702D21B}"/>
                  </a:ext>
                </a:extLst>
              </p:cNvPr>
              <p:cNvSpPr/>
              <p:nvPr/>
            </p:nvSpPr>
            <p:spPr>
              <a:xfrm>
                <a:off x="4168881" y="3953297"/>
                <a:ext cx="35764" cy="13097"/>
              </a:xfrm>
              <a:custGeom>
                <a:avLst/>
                <a:gdLst>
                  <a:gd name="connsiteX0" fmla="*/ 34868 w 35764"/>
                  <a:gd name="connsiteY0" fmla="*/ 0 h 13097"/>
                  <a:gd name="connsiteX1" fmla="*/ 35765 w 35764"/>
                  <a:gd name="connsiteY1" fmla="*/ 2930 h 13097"/>
                  <a:gd name="connsiteX2" fmla="*/ 897 w 35764"/>
                  <a:gd name="connsiteY2" fmla="*/ 13098 h 13097"/>
                  <a:gd name="connsiteX3" fmla="*/ 0 w 35764"/>
                  <a:gd name="connsiteY3" fmla="*/ 10107 h 13097"/>
                </a:gdLst>
                <a:ahLst/>
                <a:cxnLst>
                  <a:cxn ang="0">
                    <a:pos x="connsiteX0" y="connsiteY0"/>
                  </a:cxn>
                  <a:cxn ang="0">
                    <a:pos x="connsiteX1" y="connsiteY1"/>
                  </a:cxn>
                  <a:cxn ang="0">
                    <a:pos x="connsiteX2" y="connsiteY2"/>
                  </a:cxn>
                  <a:cxn ang="0">
                    <a:pos x="connsiteX3" y="connsiteY3"/>
                  </a:cxn>
                </a:cxnLst>
                <a:rect l="l" t="t" r="r" b="b"/>
                <a:pathLst>
                  <a:path w="35764" h="13097">
                    <a:moveTo>
                      <a:pt x="34868" y="0"/>
                    </a:moveTo>
                    <a:lnTo>
                      <a:pt x="35765" y="2930"/>
                    </a:lnTo>
                    <a:lnTo>
                      <a:pt x="897" y="13098"/>
                    </a:lnTo>
                    <a:lnTo>
                      <a:pt x="0" y="10107"/>
                    </a:lnTo>
                    <a:close/>
                  </a:path>
                </a:pathLst>
              </a:custGeom>
              <a:grpFill/>
              <a:ln w="5978" cap="flat">
                <a:noFill/>
                <a:prstDash val="solid"/>
                <a:miter/>
              </a:ln>
            </p:spPr>
            <p:txBody>
              <a:bodyPr rtlCol="0" anchor="ctr"/>
              <a:lstStyle/>
              <a:p>
                <a:endParaRPr lang="en-GB"/>
              </a:p>
            </p:txBody>
          </p:sp>
          <p:sp>
            <p:nvSpPr>
              <p:cNvPr id="1475" name="Vrije vorm: vorm 1474">
                <a:extLst>
                  <a:ext uri="{FF2B5EF4-FFF2-40B4-BE49-F238E27FC236}">
                    <a16:creationId xmlns:a16="http://schemas.microsoft.com/office/drawing/2014/main" id="{56A75A8D-3FFD-4D71-9F85-D7F432669329}"/>
                  </a:ext>
                </a:extLst>
              </p:cNvPr>
              <p:cNvSpPr/>
              <p:nvPr/>
            </p:nvSpPr>
            <p:spPr>
              <a:xfrm>
                <a:off x="4160612" y="3955558"/>
                <a:ext cx="18333" cy="18443"/>
              </a:xfrm>
              <a:custGeom>
                <a:avLst/>
                <a:gdLst>
                  <a:gd name="connsiteX0" fmla="*/ 11739 w 18333"/>
                  <a:gd name="connsiteY0" fmla="*/ 18073 h 18443"/>
                  <a:gd name="connsiteX1" fmla="*/ 375 w 18333"/>
                  <a:gd name="connsiteY1" fmla="*/ 11794 h 18443"/>
                  <a:gd name="connsiteX2" fmla="*/ 6595 w 18333"/>
                  <a:gd name="connsiteY2" fmla="*/ 370 h 18443"/>
                  <a:gd name="connsiteX3" fmla="*/ 17958 w 18333"/>
                  <a:gd name="connsiteY3" fmla="*/ 6650 h 18443"/>
                  <a:gd name="connsiteX4" fmla="*/ 11739 w 18333"/>
                  <a:gd name="connsiteY4" fmla="*/ 18073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43">
                    <a:moveTo>
                      <a:pt x="11739" y="18073"/>
                    </a:moveTo>
                    <a:cubicBezTo>
                      <a:pt x="6894" y="19509"/>
                      <a:pt x="1811" y="16638"/>
                      <a:pt x="375" y="11794"/>
                    </a:cubicBezTo>
                    <a:cubicBezTo>
                      <a:pt x="-1060" y="6890"/>
                      <a:pt x="1751" y="1806"/>
                      <a:pt x="6595" y="370"/>
                    </a:cubicBezTo>
                    <a:cubicBezTo>
                      <a:pt x="11440" y="-1065"/>
                      <a:pt x="16523" y="1806"/>
                      <a:pt x="17958" y="6650"/>
                    </a:cubicBezTo>
                    <a:cubicBezTo>
                      <a:pt x="19394" y="11554"/>
                      <a:pt x="16583" y="16638"/>
                      <a:pt x="11739" y="18073"/>
                    </a:cubicBezTo>
                    <a:close/>
                  </a:path>
                </a:pathLst>
              </a:custGeom>
              <a:grpFill/>
              <a:ln w="5978" cap="flat">
                <a:noFill/>
                <a:prstDash val="solid"/>
                <a:miter/>
              </a:ln>
            </p:spPr>
            <p:txBody>
              <a:bodyPr rtlCol="0" anchor="ctr"/>
              <a:lstStyle/>
              <a:p>
                <a:endParaRPr lang="en-GB"/>
              </a:p>
            </p:txBody>
          </p:sp>
          <p:sp>
            <p:nvSpPr>
              <p:cNvPr id="1476" name="Vrije vorm: vorm 1475">
                <a:extLst>
                  <a:ext uri="{FF2B5EF4-FFF2-40B4-BE49-F238E27FC236}">
                    <a16:creationId xmlns:a16="http://schemas.microsoft.com/office/drawing/2014/main" id="{4C79DC66-382B-4B55-91D1-0FCD5A091512}"/>
                  </a:ext>
                </a:extLst>
              </p:cNvPr>
              <p:cNvSpPr/>
              <p:nvPr/>
            </p:nvSpPr>
            <p:spPr>
              <a:xfrm>
                <a:off x="4194582" y="3945685"/>
                <a:ext cx="18334" cy="18448"/>
              </a:xfrm>
              <a:custGeom>
                <a:avLst/>
                <a:gdLst>
                  <a:gd name="connsiteX0" fmla="*/ 11739 w 18334"/>
                  <a:gd name="connsiteY0" fmla="*/ 18078 h 18448"/>
                  <a:gd name="connsiteX1" fmla="*/ 17959 w 18334"/>
                  <a:gd name="connsiteY1" fmla="*/ 6655 h 18448"/>
                  <a:gd name="connsiteX2" fmla="*/ 6595 w 18334"/>
                  <a:gd name="connsiteY2" fmla="*/ 375 h 18448"/>
                  <a:gd name="connsiteX3" fmla="*/ 375 w 18334"/>
                  <a:gd name="connsiteY3" fmla="*/ 11798 h 18448"/>
                  <a:gd name="connsiteX4" fmla="*/ 11739 w 18334"/>
                  <a:gd name="connsiteY4" fmla="*/ 18078 h 18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4" h="18448">
                    <a:moveTo>
                      <a:pt x="11739" y="18078"/>
                    </a:moveTo>
                    <a:cubicBezTo>
                      <a:pt x="16583" y="16643"/>
                      <a:pt x="19394" y="11559"/>
                      <a:pt x="17959" y="6655"/>
                    </a:cubicBezTo>
                    <a:cubicBezTo>
                      <a:pt x="16523" y="1751"/>
                      <a:pt x="11440" y="-1061"/>
                      <a:pt x="6595" y="375"/>
                    </a:cubicBezTo>
                    <a:cubicBezTo>
                      <a:pt x="1751" y="1810"/>
                      <a:pt x="-1060" y="6894"/>
                      <a:pt x="375" y="11798"/>
                    </a:cubicBezTo>
                    <a:cubicBezTo>
                      <a:pt x="1811" y="16643"/>
                      <a:pt x="6894" y="19513"/>
                      <a:pt x="11739" y="18078"/>
                    </a:cubicBezTo>
                    <a:close/>
                  </a:path>
                </a:pathLst>
              </a:custGeom>
              <a:grpFill/>
              <a:ln w="5978" cap="flat">
                <a:noFill/>
                <a:prstDash val="solid"/>
                <a:miter/>
              </a:ln>
            </p:spPr>
            <p:txBody>
              <a:bodyPr rtlCol="0" anchor="ctr"/>
              <a:lstStyle/>
              <a:p>
                <a:endParaRPr lang="en-GB"/>
              </a:p>
            </p:txBody>
          </p:sp>
        </p:grpSp>
        <p:grpSp>
          <p:nvGrpSpPr>
            <p:cNvPr id="1312" name="Graphic 3">
              <a:extLst>
                <a:ext uri="{FF2B5EF4-FFF2-40B4-BE49-F238E27FC236}">
                  <a16:creationId xmlns:a16="http://schemas.microsoft.com/office/drawing/2014/main" id="{EE5686FE-0AF0-4865-B000-B175D5C4193E}"/>
                </a:ext>
              </a:extLst>
            </p:cNvPr>
            <p:cNvGrpSpPr/>
            <p:nvPr/>
          </p:nvGrpSpPr>
          <p:grpSpPr>
            <a:xfrm>
              <a:off x="4005423" y="3486675"/>
              <a:ext cx="29919" cy="18910"/>
              <a:chOff x="4005423" y="3486675"/>
              <a:chExt cx="29919" cy="18910"/>
            </a:xfrm>
            <a:grpFill/>
          </p:grpSpPr>
          <p:sp>
            <p:nvSpPr>
              <p:cNvPr id="1472" name="Vrije vorm: vorm 1471">
                <a:extLst>
                  <a:ext uri="{FF2B5EF4-FFF2-40B4-BE49-F238E27FC236}">
                    <a16:creationId xmlns:a16="http://schemas.microsoft.com/office/drawing/2014/main" id="{3866A140-6ECE-497D-A430-C71F6D05E05C}"/>
                  </a:ext>
                </a:extLst>
              </p:cNvPr>
              <p:cNvSpPr/>
              <p:nvPr/>
            </p:nvSpPr>
            <p:spPr>
              <a:xfrm>
                <a:off x="4016961" y="3486675"/>
                <a:ext cx="18381" cy="18432"/>
              </a:xfrm>
              <a:custGeom>
                <a:avLst/>
                <a:gdLst>
                  <a:gd name="connsiteX0" fmla="*/ 9579 w 18381"/>
                  <a:gd name="connsiteY0" fmla="*/ 18427 h 18432"/>
                  <a:gd name="connsiteX1" fmla="*/ 10 w 18381"/>
                  <a:gd name="connsiteY1" fmla="*/ 9575 h 18432"/>
                  <a:gd name="connsiteX2" fmla="*/ 8802 w 18381"/>
                  <a:gd name="connsiteY2" fmla="*/ 6 h 18432"/>
                  <a:gd name="connsiteX3" fmla="*/ 18371 w 18381"/>
                  <a:gd name="connsiteY3" fmla="*/ 8857 h 18432"/>
                  <a:gd name="connsiteX4" fmla="*/ 9579 w 18381"/>
                  <a:gd name="connsiteY4" fmla="*/ 18427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1" h="18432">
                    <a:moveTo>
                      <a:pt x="9579" y="18427"/>
                    </a:moveTo>
                    <a:cubicBezTo>
                      <a:pt x="4496" y="18606"/>
                      <a:pt x="249" y="14659"/>
                      <a:pt x="10" y="9575"/>
                    </a:cubicBezTo>
                    <a:cubicBezTo>
                      <a:pt x="-229" y="4491"/>
                      <a:pt x="3718" y="185"/>
                      <a:pt x="8802" y="6"/>
                    </a:cubicBezTo>
                    <a:cubicBezTo>
                      <a:pt x="13886" y="-174"/>
                      <a:pt x="18132" y="3774"/>
                      <a:pt x="18371" y="8857"/>
                    </a:cubicBezTo>
                    <a:cubicBezTo>
                      <a:pt x="18610" y="14001"/>
                      <a:pt x="14663" y="18247"/>
                      <a:pt x="9579" y="18427"/>
                    </a:cubicBezTo>
                    <a:close/>
                  </a:path>
                </a:pathLst>
              </a:custGeom>
              <a:grpFill/>
              <a:ln w="5978" cap="flat">
                <a:noFill/>
                <a:prstDash val="solid"/>
                <a:miter/>
              </a:ln>
            </p:spPr>
            <p:txBody>
              <a:bodyPr rtlCol="0" anchor="ctr"/>
              <a:lstStyle/>
              <a:p>
                <a:endParaRPr lang="en-GB"/>
              </a:p>
            </p:txBody>
          </p:sp>
          <p:sp>
            <p:nvSpPr>
              <p:cNvPr id="1473" name="Vrije vorm: vorm 1472">
                <a:extLst>
                  <a:ext uri="{FF2B5EF4-FFF2-40B4-BE49-F238E27FC236}">
                    <a16:creationId xmlns:a16="http://schemas.microsoft.com/office/drawing/2014/main" id="{876E8388-B244-4F18-BF84-FC2B2D452C31}"/>
                  </a:ext>
                </a:extLst>
              </p:cNvPr>
              <p:cNvSpPr/>
              <p:nvPr/>
            </p:nvSpPr>
            <p:spPr>
              <a:xfrm>
                <a:off x="4005423" y="3487154"/>
                <a:ext cx="18372" cy="18432"/>
              </a:xfrm>
              <a:custGeom>
                <a:avLst/>
                <a:gdLst>
                  <a:gd name="connsiteX0" fmla="*/ 9575 w 18372"/>
                  <a:gd name="connsiteY0" fmla="*/ 18426 h 18432"/>
                  <a:gd name="connsiteX1" fmla="*/ 18367 w 18372"/>
                  <a:gd name="connsiteY1" fmla="*/ 8857 h 18432"/>
                  <a:gd name="connsiteX2" fmla="*/ 8797 w 18372"/>
                  <a:gd name="connsiteY2" fmla="*/ 6 h 18432"/>
                  <a:gd name="connsiteX3" fmla="*/ 6 w 18372"/>
                  <a:gd name="connsiteY3" fmla="*/ 9575 h 18432"/>
                  <a:gd name="connsiteX4" fmla="*/ 9575 w 18372"/>
                  <a:gd name="connsiteY4" fmla="*/ 1842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2" h="18432">
                    <a:moveTo>
                      <a:pt x="9575" y="18426"/>
                    </a:moveTo>
                    <a:cubicBezTo>
                      <a:pt x="14658" y="18247"/>
                      <a:pt x="18546" y="13941"/>
                      <a:pt x="18367" y="8857"/>
                    </a:cubicBezTo>
                    <a:cubicBezTo>
                      <a:pt x="18127" y="3774"/>
                      <a:pt x="13881" y="-174"/>
                      <a:pt x="8797" y="6"/>
                    </a:cubicBezTo>
                    <a:cubicBezTo>
                      <a:pt x="3714" y="185"/>
                      <a:pt x="-174" y="4491"/>
                      <a:pt x="6" y="9575"/>
                    </a:cubicBezTo>
                    <a:cubicBezTo>
                      <a:pt x="245" y="14659"/>
                      <a:pt x="4551" y="18606"/>
                      <a:pt x="9575" y="18426"/>
                    </a:cubicBezTo>
                    <a:close/>
                  </a:path>
                </a:pathLst>
              </a:custGeom>
              <a:grpFill/>
              <a:ln w="5978" cap="flat">
                <a:noFill/>
                <a:prstDash val="solid"/>
                <a:miter/>
              </a:ln>
            </p:spPr>
            <p:txBody>
              <a:bodyPr rtlCol="0" anchor="ctr"/>
              <a:lstStyle/>
              <a:p>
                <a:endParaRPr lang="en-GB"/>
              </a:p>
            </p:txBody>
          </p:sp>
        </p:grpSp>
        <p:grpSp>
          <p:nvGrpSpPr>
            <p:cNvPr id="1313" name="Graphic 3">
              <a:extLst>
                <a:ext uri="{FF2B5EF4-FFF2-40B4-BE49-F238E27FC236}">
                  <a16:creationId xmlns:a16="http://schemas.microsoft.com/office/drawing/2014/main" id="{0C20A418-C41F-4BEB-A00A-2A3A96D8610C}"/>
                </a:ext>
              </a:extLst>
            </p:cNvPr>
            <p:cNvGrpSpPr/>
            <p:nvPr/>
          </p:nvGrpSpPr>
          <p:grpSpPr>
            <a:xfrm>
              <a:off x="4095242" y="3842539"/>
              <a:ext cx="82070" cy="33182"/>
              <a:chOff x="4095242" y="3842539"/>
              <a:chExt cx="82070" cy="33182"/>
            </a:xfrm>
            <a:grpFill/>
          </p:grpSpPr>
          <p:sp>
            <p:nvSpPr>
              <p:cNvPr id="1469" name="Vrije vorm: vorm 1468">
                <a:extLst>
                  <a:ext uri="{FF2B5EF4-FFF2-40B4-BE49-F238E27FC236}">
                    <a16:creationId xmlns:a16="http://schemas.microsoft.com/office/drawing/2014/main" id="{F130233D-011A-4B94-AAC1-BD2D0062FABF}"/>
                  </a:ext>
                </a:extLst>
              </p:cNvPr>
              <p:cNvSpPr/>
              <p:nvPr/>
            </p:nvSpPr>
            <p:spPr>
              <a:xfrm>
                <a:off x="4103572" y="3850189"/>
                <a:ext cx="65369" cy="17882"/>
              </a:xfrm>
              <a:custGeom>
                <a:avLst/>
                <a:gdLst>
                  <a:gd name="connsiteX0" fmla="*/ 64711 w 65369"/>
                  <a:gd name="connsiteY0" fmla="*/ 0 h 17882"/>
                  <a:gd name="connsiteX1" fmla="*/ 65369 w 65369"/>
                  <a:gd name="connsiteY1" fmla="*/ 2990 h 17882"/>
                  <a:gd name="connsiteX2" fmla="*/ 718 w 65369"/>
                  <a:gd name="connsiteY2" fmla="*/ 17882 h 17882"/>
                  <a:gd name="connsiteX3" fmla="*/ 0 w 65369"/>
                  <a:gd name="connsiteY3" fmla="*/ 14892 h 17882"/>
                </a:gdLst>
                <a:ahLst/>
                <a:cxnLst>
                  <a:cxn ang="0">
                    <a:pos x="connsiteX0" y="connsiteY0"/>
                  </a:cxn>
                  <a:cxn ang="0">
                    <a:pos x="connsiteX1" y="connsiteY1"/>
                  </a:cxn>
                  <a:cxn ang="0">
                    <a:pos x="connsiteX2" y="connsiteY2"/>
                  </a:cxn>
                  <a:cxn ang="0">
                    <a:pos x="connsiteX3" y="connsiteY3"/>
                  </a:cxn>
                </a:cxnLst>
                <a:rect l="l" t="t" r="r" b="b"/>
                <a:pathLst>
                  <a:path w="65369" h="17882">
                    <a:moveTo>
                      <a:pt x="64711" y="0"/>
                    </a:moveTo>
                    <a:lnTo>
                      <a:pt x="65369" y="2990"/>
                    </a:lnTo>
                    <a:lnTo>
                      <a:pt x="718" y="17882"/>
                    </a:lnTo>
                    <a:lnTo>
                      <a:pt x="0" y="14892"/>
                    </a:lnTo>
                    <a:close/>
                  </a:path>
                </a:pathLst>
              </a:custGeom>
              <a:grpFill/>
              <a:ln w="5978" cap="flat">
                <a:noFill/>
                <a:prstDash val="solid"/>
                <a:miter/>
              </a:ln>
            </p:spPr>
            <p:txBody>
              <a:bodyPr rtlCol="0" anchor="ctr"/>
              <a:lstStyle/>
              <a:p>
                <a:endParaRPr lang="en-GB"/>
              </a:p>
            </p:txBody>
          </p:sp>
          <p:sp>
            <p:nvSpPr>
              <p:cNvPr id="1470" name="Vrije vorm: vorm 1469">
                <a:extLst>
                  <a:ext uri="{FF2B5EF4-FFF2-40B4-BE49-F238E27FC236}">
                    <a16:creationId xmlns:a16="http://schemas.microsoft.com/office/drawing/2014/main" id="{6E3A6566-0706-4163-BED4-8847A1DF7447}"/>
                  </a:ext>
                </a:extLst>
              </p:cNvPr>
              <p:cNvSpPr/>
              <p:nvPr/>
            </p:nvSpPr>
            <p:spPr>
              <a:xfrm>
                <a:off x="4159015" y="3842539"/>
                <a:ext cx="18297" cy="18470"/>
              </a:xfrm>
              <a:custGeom>
                <a:avLst/>
                <a:gdLst>
                  <a:gd name="connsiteX0" fmla="*/ 7056 w 18297"/>
                  <a:gd name="connsiteY0" fmla="*/ 234 h 18470"/>
                  <a:gd name="connsiteX1" fmla="*/ 18060 w 18297"/>
                  <a:gd name="connsiteY1" fmla="*/ 7172 h 18470"/>
                  <a:gd name="connsiteX2" fmla="*/ 11242 w 18297"/>
                  <a:gd name="connsiteY2" fmla="*/ 18236 h 18470"/>
                  <a:gd name="connsiteX3" fmla="*/ 238 w 18297"/>
                  <a:gd name="connsiteY3" fmla="*/ 11298 h 18470"/>
                  <a:gd name="connsiteX4" fmla="*/ 7056 w 18297"/>
                  <a:gd name="connsiteY4" fmla="*/ 234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70">
                    <a:moveTo>
                      <a:pt x="7056" y="234"/>
                    </a:moveTo>
                    <a:cubicBezTo>
                      <a:pt x="11960" y="-902"/>
                      <a:pt x="16924" y="2208"/>
                      <a:pt x="18060" y="7172"/>
                    </a:cubicBezTo>
                    <a:cubicBezTo>
                      <a:pt x="19196" y="12136"/>
                      <a:pt x="16146" y="17100"/>
                      <a:pt x="11242" y="18236"/>
                    </a:cubicBezTo>
                    <a:cubicBezTo>
                      <a:pt x="6338" y="19373"/>
                      <a:pt x="1374" y="16262"/>
                      <a:pt x="238" y="11298"/>
                    </a:cubicBezTo>
                    <a:cubicBezTo>
                      <a:pt x="-899" y="6335"/>
                      <a:pt x="2151" y="1371"/>
                      <a:pt x="7056" y="234"/>
                    </a:cubicBezTo>
                    <a:close/>
                  </a:path>
                </a:pathLst>
              </a:custGeom>
              <a:grpFill/>
              <a:ln w="5978" cap="flat">
                <a:noFill/>
                <a:prstDash val="solid"/>
                <a:miter/>
              </a:ln>
            </p:spPr>
            <p:txBody>
              <a:bodyPr rtlCol="0" anchor="ctr"/>
              <a:lstStyle/>
              <a:p>
                <a:endParaRPr lang="en-GB"/>
              </a:p>
            </p:txBody>
          </p:sp>
          <p:sp>
            <p:nvSpPr>
              <p:cNvPr id="1471" name="Vrije vorm: vorm 1470">
                <a:extLst>
                  <a:ext uri="{FF2B5EF4-FFF2-40B4-BE49-F238E27FC236}">
                    <a16:creationId xmlns:a16="http://schemas.microsoft.com/office/drawing/2014/main" id="{476B8A61-0CED-4C3B-81E5-21418F917989}"/>
                  </a:ext>
                </a:extLst>
              </p:cNvPr>
              <p:cNvSpPr/>
              <p:nvPr/>
            </p:nvSpPr>
            <p:spPr>
              <a:xfrm>
                <a:off x="4095242" y="3857252"/>
                <a:ext cx="18335" cy="18469"/>
              </a:xfrm>
              <a:custGeom>
                <a:avLst/>
                <a:gdLst>
                  <a:gd name="connsiteX0" fmla="*/ 7074 w 18335"/>
                  <a:gd name="connsiteY0" fmla="*/ 234 h 18469"/>
                  <a:gd name="connsiteX1" fmla="*/ 256 w 18335"/>
                  <a:gd name="connsiteY1" fmla="*/ 11298 h 18469"/>
                  <a:gd name="connsiteX2" fmla="*/ 11261 w 18335"/>
                  <a:gd name="connsiteY2" fmla="*/ 18236 h 18469"/>
                  <a:gd name="connsiteX3" fmla="*/ 18079 w 18335"/>
                  <a:gd name="connsiteY3" fmla="*/ 7172 h 18469"/>
                  <a:gd name="connsiteX4" fmla="*/ 7074 w 18335"/>
                  <a:gd name="connsiteY4" fmla="*/ 234 h 1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69">
                    <a:moveTo>
                      <a:pt x="7074" y="234"/>
                    </a:moveTo>
                    <a:cubicBezTo>
                      <a:pt x="2170" y="1371"/>
                      <a:pt x="-940" y="6334"/>
                      <a:pt x="256" y="11298"/>
                    </a:cubicBezTo>
                    <a:cubicBezTo>
                      <a:pt x="1393" y="16262"/>
                      <a:pt x="6356" y="19372"/>
                      <a:pt x="11261" y="18236"/>
                    </a:cubicBezTo>
                    <a:cubicBezTo>
                      <a:pt x="16165" y="17099"/>
                      <a:pt x="19275" y="12136"/>
                      <a:pt x="18079" y="7172"/>
                    </a:cubicBezTo>
                    <a:cubicBezTo>
                      <a:pt x="16883" y="2208"/>
                      <a:pt x="11978" y="-902"/>
                      <a:pt x="7074" y="234"/>
                    </a:cubicBezTo>
                    <a:close/>
                  </a:path>
                </a:pathLst>
              </a:custGeom>
              <a:grpFill/>
              <a:ln w="5978" cap="flat">
                <a:noFill/>
                <a:prstDash val="solid"/>
                <a:miter/>
              </a:ln>
            </p:spPr>
            <p:txBody>
              <a:bodyPr rtlCol="0" anchor="ctr"/>
              <a:lstStyle/>
              <a:p>
                <a:endParaRPr lang="en-GB"/>
              </a:p>
            </p:txBody>
          </p:sp>
        </p:grpSp>
        <p:grpSp>
          <p:nvGrpSpPr>
            <p:cNvPr id="1314" name="Graphic 3">
              <a:extLst>
                <a:ext uri="{FF2B5EF4-FFF2-40B4-BE49-F238E27FC236}">
                  <a16:creationId xmlns:a16="http://schemas.microsoft.com/office/drawing/2014/main" id="{35AC99EE-F3E6-4993-B64F-E56D3F05EFC8}"/>
                </a:ext>
              </a:extLst>
            </p:cNvPr>
            <p:cNvGrpSpPr/>
            <p:nvPr/>
          </p:nvGrpSpPr>
          <p:grpSpPr>
            <a:xfrm>
              <a:off x="3940715" y="3448402"/>
              <a:ext cx="105146" cy="20220"/>
              <a:chOff x="3940715" y="3448402"/>
              <a:chExt cx="105146" cy="20220"/>
            </a:xfrm>
            <a:grpFill/>
          </p:grpSpPr>
          <p:sp>
            <p:nvSpPr>
              <p:cNvPr id="1466" name="Vrije vorm: vorm 1465">
                <a:extLst>
                  <a:ext uri="{FF2B5EF4-FFF2-40B4-BE49-F238E27FC236}">
                    <a16:creationId xmlns:a16="http://schemas.microsoft.com/office/drawing/2014/main" id="{1C750F34-712C-4921-A6A8-AE50979E0228}"/>
                  </a:ext>
                </a:extLst>
              </p:cNvPr>
              <p:cNvSpPr/>
              <p:nvPr/>
            </p:nvSpPr>
            <p:spPr>
              <a:xfrm>
                <a:off x="3949389" y="3456120"/>
                <a:ext cx="87796" cy="4784"/>
              </a:xfrm>
              <a:custGeom>
                <a:avLst/>
                <a:gdLst>
                  <a:gd name="connsiteX0" fmla="*/ 87737 w 87796"/>
                  <a:gd name="connsiteY0" fmla="*/ 0 h 4784"/>
                  <a:gd name="connsiteX1" fmla="*/ 87797 w 87796"/>
                  <a:gd name="connsiteY1" fmla="*/ 3050 h 4784"/>
                  <a:gd name="connsiteX2" fmla="*/ 60 w 87796"/>
                  <a:gd name="connsiteY2" fmla="*/ 4785 h 4784"/>
                  <a:gd name="connsiteX3" fmla="*/ 0 w 87796"/>
                  <a:gd name="connsiteY3" fmla="*/ 1734 h 4784"/>
                </a:gdLst>
                <a:ahLst/>
                <a:cxnLst>
                  <a:cxn ang="0">
                    <a:pos x="connsiteX0" y="connsiteY0"/>
                  </a:cxn>
                  <a:cxn ang="0">
                    <a:pos x="connsiteX1" y="connsiteY1"/>
                  </a:cxn>
                  <a:cxn ang="0">
                    <a:pos x="connsiteX2" y="connsiteY2"/>
                  </a:cxn>
                  <a:cxn ang="0">
                    <a:pos x="connsiteX3" y="connsiteY3"/>
                  </a:cxn>
                </a:cxnLst>
                <a:rect l="l" t="t" r="r" b="b"/>
                <a:pathLst>
                  <a:path w="87796" h="4784">
                    <a:moveTo>
                      <a:pt x="87737" y="0"/>
                    </a:moveTo>
                    <a:lnTo>
                      <a:pt x="87797" y="3050"/>
                    </a:lnTo>
                    <a:lnTo>
                      <a:pt x="60" y="4785"/>
                    </a:lnTo>
                    <a:lnTo>
                      <a:pt x="0" y="1734"/>
                    </a:lnTo>
                    <a:close/>
                  </a:path>
                </a:pathLst>
              </a:custGeom>
              <a:grpFill/>
              <a:ln w="5978" cap="flat">
                <a:noFill/>
                <a:prstDash val="solid"/>
                <a:miter/>
              </a:ln>
            </p:spPr>
            <p:txBody>
              <a:bodyPr rtlCol="0" anchor="ctr"/>
              <a:lstStyle/>
              <a:p>
                <a:endParaRPr lang="en-GB"/>
              </a:p>
            </p:txBody>
          </p:sp>
          <p:sp>
            <p:nvSpPr>
              <p:cNvPr id="1467" name="Vrije vorm: vorm 1466">
                <a:extLst>
                  <a:ext uri="{FF2B5EF4-FFF2-40B4-BE49-F238E27FC236}">
                    <a16:creationId xmlns:a16="http://schemas.microsoft.com/office/drawing/2014/main" id="{09A87711-F834-4178-A08F-0CAAAACD7E89}"/>
                  </a:ext>
                </a:extLst>
              </p:cNvPr>
              <p:cNvSpPr/>
              <p:nvPr/>
            </p:nvSpPr>
            <p:spPr>
              <a:xfrm>
                <a:off x="3940715" y="3450196"/>
                <a:ext cx="18364" cy="18425"/>
              </a:xfrm>
              <a:custGeom>
                <a:avLst/>
                <a:gdLst>
                  <a:gd name="connsiteX0" fmla="*/ 9392 w 18364"/>
                  <a:gd name="connsiteY0" fmla="*/ 18423 h 18425"/>
                  <a:gd name="connsiteX1" fmla="*/ 3 w 18364"/>
                  <a:gd name="connsiteY1" fmla="*/ 9392 h 18425"/>
                  <a:gd name="connsiteX2" fmla="*/ 8974 w 18364"/>
                  <a:gd name="connsiteY2" fmla="*/ 3 h 18425"/>
                  <a:gd name="connsiteX3" fmla="*/ 18363 w 18364"/>
                  <a:gd name="connsiteY3" fmla="*/ 9034 h 18425"/>
                  <a:gd name="connsiteX4" fmla="*/ 9392 w 18364"/>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4" h="18425">
                    <a:moveTo>
                      <a:pt x="9392" y="18423"/>
                    </a:moveTo>
                    <a:cubicBezTo>
                      <a:pt x="4309" y="18543"/>
                      <a:pt x="122" y="14476"/>
                      <a:pt x="3" y="9392"/>
                    </a:cubicBezTo>
                    <a:cubicBezTo>
                      <a:pt x="-117" y="4309"/>
                      <a:pt x="3890" y="122"/>
                      <a:pt x="8974" y="3"/>
                    </a:cubicBezTo>
                    <a:cubicBezTo>
                      <a:pt x="14057" y="-117"/>
                      <a:pt x="18244" y="3950"/>
                      <a:pt x="18363" y="9034"/>
                    </a:cubicBezTo>
                    <a:cubicBezTo>
                      <a:pt x="18423" y="14117"/>
                      <a:pt x="14416" y="18304"/>
                      <a:pt x="9392" y="18423"/>
                    </a:cubicBezTo>
                    <a:close/>
                  </a:path>
                </a:pathLst>
              </a:custGeom>
              <a:grpFill/>
              <a:ln w="5978" cap="flat">
                <a:noFill/>
                <a:prstDash val="solid"/>
                <a:miter/>
              </a:ln>
            </p:spPr>
            <p:txBody>
              <a:bodyPr rtlCol="0" anchor="ctr"/>
              <a:lstStyle/>
              <a:p>
                <a:endParaRPr lang="en-GB"/>
              </a:p>
            </p:txBody>
          </p:sp>
          <p:sp>
            <p:nvSpPr>
              <p:cNvPr id="1468" name="Vrije vorm: vorm 1467">
                <a:extLst>
                  <a:ext uri="{FF2B5EF4-FFF2-40B4-BE49-F238E27FC236}">
                    <a16:creationId xmlns:a16="http://schemas.microsoft.com/office/drawing/2014/main" id="{FF069F0C-EFAD-4103-A015-17B5CC9DD1FB}"/>
                  </a:ext>
                </a:extLst>
              </p:cNvPr>
              <p:cNvSpPr/>
              <p:nvPr/>
            </p:nvSpPr>
            <p:spPr>
              <a:xfrm>
                <a:off x="4027551" y="3448402"/>
                <a:ext cx="18309" cy="18425"/>
              </a:xfrm>
              <a:custGeom>
                <a:avLst/>
                <a:gdLst>
                  <a:gd name="connsiteX0" fmla="*/ 9336 w 18309"/>
                  <a:gd name="connsiteY0" fmla="*/ 18423 h 18425"/>
                  <a:gd name="connsiteX1" fmla="*/ 18307 w 18309"/>
                  <a:gd name="connsiteY1" fmla="*/ 9034 h 18425"/>
                  <a:gd name="connsiteX2" fmla="*/ 8917 w 18309"/>
                  <a:gd name="connsiteY2" fmla="*/ 3 h 18425"/>
                  <a:gd name="connsiteX3" fmla="*/ 6 w 18309"/>
                  <a:gd name="connsiteY3" fmla="*/ 9392 h 18425"/>
                  <a:gd name="connsiteX4" fmla="*/ 9336 w 18309"/>
                  <a:gd name="connsiteY4" fmla="*/ 18423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9" h="18425">
                    <a:moveTo>
                      <a:pt x="9336" y="18423"/>
                    </a:moveTo>
                    <a:cubicBezTo>
                      <a:pt x="14420" y="18304"/>
                      <a:pt x="18427" y="14117"/>
                      <a:pt x="18307" y="9034"/>
                    </a:cubicBezTo>
                    <a:cubicBezTo>
                      <a:pt x="18187" y="3950"/>
                      <a:pt x="14001" y="-117"/>
                      <a:pt x="8917" y="3"/>
                    </a:cubicBezTo>
                    <a:cubicBezTo>
                      <a:pt x="3834" y="122"/>
                      <a:pt x="-173" y="4309"/>
                      <a:pt x="6" y="9392"/>
                    </a:cubicBezTo>
                    <a:cubicBezTo>
                      <a:pt x="126" y="14536"/>
                      <a:pt x="4312" y="18543"/>
                      <a:pt x="9336" y="18423"/>
                    </a:cubicBezTo>
                    <a:close/>
                  </a:path>
                </a:pathLst>
              </a:custGeom>
              <a:grpFill/>
              <a:ln w="5978" cap="flat">
                <a:noFill/>
                <a:prstDash val="solid"/>
                <a:miter/>
              </a:ln>
            </p:spPr>
            <p:txBody>
              <a:bodyPr rtlCol="0" anchor="ctr"/>
              <a:lstStyle/>
              <a:p>
                <a:endParaRPr lang="en-GB"/>
              </a:p>
            </p:txBody>
          </p:sp>
        </p:grpSp>
        <p:grpSp>
          <p:nvGrpSpPr>
            <p:cNvPr id="1315" name="Graphic 3">
              <a:extLst>
                <a:ext uri="{FF2B5EF4-FFF2-40B4-BE49-F238E27FC236}">
                  <a16:creationId xmlns:a16="http://schemas.microsoft.com/office/drawing/2014/main" id="{C452F1B5-6EEF-4B4E-B917-8189676B77BF}"/>
                </a:ext>
              </a:extLst>
            </p:cNvPr>
            <p:cNvGrpSpPr/>
            <p:nvPr/>
          </p:nvGrpSpPr>
          <p:grpSpPr>
            <a:xfrm>
              <a:off x="3843268" y="3245447"/>
              <a:ext cx="153379" cy="30683"/>
              <a:chOff x="3843268" y="3245447"/>
              <a:chExt cx="153379" cy="30683"/>
            </a:xfrm>
            <a:grpFill/>
          </p:grpSpPr>
          <p:sp>
            <p:nvSpPr>
              <p:cNvPr id="1463" name="Vrije vorm: vorm 1462">
                <a:extLst>
                  <a:ext uri="{FF2B5EF4-FFF2-40B4-BE49-F238E27FC236}">
                    <a16:creationId xmlns:a16="http://schemas.microsoft.com/office/drawing/2014/main" id="{3C36FC84-4180-41B8-9030-C5FFCFED4A3D}"/>
                  </a:ext>
                </a:extLst>
              </p:cNvPr>
              <p:cNvSpPr/>
              <p:nvPr/>
            </p:nvSpPr>
            <p:spPr>
              <a:xfrm>
                <a:off x="3851844" y="3253134"/>
                <a:ext cx="133609" cy="12858"/>
              </a:xfrm>
              <a:custGeom>
                <a:avLst/>
                <a:gdLst>
                  <a:gd name="connsiteX0" fmla="*/ 133609 w 133609"/>
                  <a:gd name="connsiteY0" fmla="*/ 9808 h 12858"/>
                  <a:gd name="connsiteX1" fmla="*/ 133370 w 133609"/>
                  <a:gd name="connsiteY1" fmla="*/ 12859 h 12858"/>
                  <a:gd name="connsiteX2" fmla="*/ 0 w 133609"/>
                  <a:gd name="connsiteY2" fmla="*/ 3050 h 12858"/>
                  <a:gd name="connsiteX3" fmla="*/ 239 w 133609"/>
                  <a:gd name="connsiteY3" fmla="*/ 0 h 12858"/>
                </a:gdLst>
                <a:ahLst/>
                <a:cxnLst>
                  <a:cxn ang="0">
                    <a:pos x="connsiteX0" y="connsiteY0"/>
                  </a:cxn>
                  <a:cxn ang="0">
                    <a:pos x="connsiteX1" y="connsiteY1"/>
                  </a:cxn>
                  <a:cxn ang="0">
                    <a:pos x="connsiteX2" y="connsiteY2"/>
                  </a:cxn>
                  <a:cxn ang="0">
                    <a:pos x="connsiteX3" y="connsiteY3"/>
                  </a:cxn>
                </a:cxnLst>
                <a:rect l="l" t="t" r="r" b="b"/>
                <a:pathLst>
                  <a:path w="133609" h="12858">
                    <a:moveTo>
                      <a:pt x="133609" y="9808"/>
                    </a:moveTo>
                    <a:lnTo>
                      <a:pt x="133370" y="12859"/>
                    </a:lnTo>
                    <a:lnTo>
                      <a:pt x="0" y="3050"/>
                    </a:lnTo>
                    <a:lnTo>
                      <a:pt x="239" y="0"/>
                    </a:lnTo>
                    <a:close/>
                  </a:path>
                </a:pathLst>
              </a:custGeom>
              <a:grpFill/>
              <a:ln w="5978" cap="flat">
                <a:noFill/>
                <a:prstDash val="solid"/>
                <a:miter/>
              </a:ln>
            </p:spPr>
            <p:txBody>
              <a:bodyPr rtlCol="0" anchor="ctr"/>
              <a:lstStyle/>
              <a:p>
                <a:endParaRPr lang="en-GB"/>
              </a:p>
            </p:txBody>
          </p:sp>
          <p:sp>
            <p:nvSpPr>
              <p:cNvPr id="1464" name="Vrije vorm: vorm 1463">
                <a:extLst>
                  <a:ext uri="{FF2B5EF4-FFF2-40B4-BE49-F238E27FC236}">
                    <a16:creationId xmlns:a16="http://schemas.microsoft.com/office/drawing/2014/main" id="{2F2FD6B3-F1F0-4FDE-90EE-5E0247462CDC}"/>
                  </a:ext>
                </a:extLst>
              </p:cNvPr>
              <p:cNvSpPr/>
              <p:nvPr/>
            </p:nvSpPr>
            <p:spPr>
              <a:xfrm>
                <a:off x="3843268" y="3245447"/>
                <a:ext cx="18288" cy="18423"/>
              </a:xfrm>
              <a:custGeom>
                <a:avLst/>
                <a:gdLst>
                  <a:gd name="connsiteX0" fmla="*/ 8516 w 18288"/>
                  <a:gd name="connsiteY0" fmla="*/ 18392 h 18423"/>
                  <a:gd name="connsiteX1" fmla="*/ 23 w 18288"/>
                  <a:gd name="connsiteY1" fmla="*/ 8524 h 18423"/>
                  <a:gd name="connsiteX2" fmla="*/ 9772 w 18288"/>
                  <a:gd name="connsiteY2" fmla="*/ 31 h 18423"/>
                  <a:gd name="connsiteX3" fmla="*/ 18265 w 18288"/>
                  <a:gd name="connsiteY3" fmla="*/ 9899 h 18423"/>
                  <a:gd name="connsiteX4" fmla="*/ 8516 w 18288"/>
                  <a:gd name="connsiteY4" fmla="*/ 18392 h 1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423">
                    <a:moveTo>
                      <a:pt x="8516" y="18392"/>
                    </a:moveTo>
                    <a:cubicBezTo>
                      <a:pt x="3492" y="18033"/>
                      <a:pt x="-336" y="13608"/>
                      <a:pt x="23" y="8524"/>
                    </a:cubicBezTo>
                    <a:cubicBezTo>
                      <a:pt x="382" y="3440"/>
                      <a:pt x="4748" y="-387"/>
                      <a:pt x="9772" y="31"/>
                    </a:cubicBezTo>
                    <a:cubicBezTo>
                      <a:pt x="14796" y="390"/>
                      <a:pt x="18624" y="4816"/>
                      <a:pt x="18265" y="9899"/>
                    </a:cubicBezTo>
                    <a:cubicBezTo>
                      <a:pt x="17965" y="14983"/>
                      <a:pt x="13540" y="18811"/>
                      <a:pt x="8516" y="18392"/>
                    </a:cubicBezTo>
                    <a:close/>
                  </a:path>
                </a:pathLst>
              </a:custGeom>
              <a:grpFill/>
              <a:ln w="5978" cap="flat">
                <a:noFill/>
                <a:prstDash val="solid"/>
                <a:miter/>
              </a:ln>
            </p:spPr>
            <p:txBody>
              <a:bodyPr rtlCol="0" anchor="ctr"/>
              <a:lstStyle/>
              <a:p>
                <a:endParaRPr lang="en-GB"/>
              </a:p>
            </p:txBody>
          </p:sp>
          <p:sp>
            <p:nvSpPr>
              <p:cNvPr id="1465" name="Vrije vorm: vorm 1464">
                <a:extLst>
                  <a:ext uri="{FF2B5EF4-FFF2-40B4-BE49-F238E27FC236}">
                    <a16:creationId xmlns:a16="http://schemas.microsoft.com/office/drawing/2014/main" id="{7A957181-BE76-4E20-BB77-3336C02E7978}"/>
                  </a:ext>
                </a:extLst>
              </p:cNvPr>
              <p:cNvSpPr/>
              <p:nvPr/>
            </p:nvSpPr>
            <p:spPr>
              <a:xfrm>
                <a:off x="3973422" y="3252830"/>
                <a:ext cx="23225" cy="23300"/>
              </a:xfrm>
              <a:custGeom>
                <a:avLst/>
                <a:gdLst>
                  <a:gd name="connsiteX0" fmla="*/ 20285 w 23225"/>
                  <a:gd name="connsiteY0" fmla="*/ 8729 h 23300"/>
                  <a:gd name="connsiteX1" fmla="*/ 14553 w 23225"/>
                  <a:gd name="connsiteY1" fmla="*/ 20379 h 23300"/>
                  <a:gd name="connsiteX2" fmla="*/ 2940 w 23225"/>
                  <a:gd name="connsiteY2" fmla="*/ 14572 h 23300"/>
                  <a:gd name="connsiteX3" fmla="*/ 8672 w 23225"/>
                  <a:gd name="connsiteY3" fmla="*/ 2922 h 23300"/>
                  <a:gd name="connsiteX4" fmla="*/ 20285 w 23225"/>
                  <a:gd name="connsiteY4" fmla="*/ 8729 h 2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25" h="23300">
                    <a:moveTo>
                      <a:pt x="20285" y="8729"/>
                    </a:moveTo>
                    <a:cubicBezTo>
                      <a:pt x="21909" y="13549"/>
                      <a:pt x="19343" y="18765"/>
                      <a:pt x="14553" y="20379"/>
                    </a:cubicBezTo>
                    <a:cubicBezTo>
                      <a:pt x="9764" y="21993"/>
                      <a:pt x="4565" y="19393"/>
                      <a:pt x="2940" y="14572"/>
                    </a:cubicBezTo>
                    <a:cubicBezTo>
                      <a:pt x="1316" y="9752"/>
                      <a:pt x="3882" y="4535"/>
                      <a:pt x="8672" y="2922"/>
                    </a:cubicBezTo>
                    <a:cubicBezTo>
                      <a:pt x="13461" y="1308"/>
                      <a:pt x="18660" y="3908"/>
                      <a:pt x="20285" y="8729"/>
                    </a:cubicBezTo>
                    <a:close/>
                  </a:path>
                </a:pathLst>
              </a:custGeom>
              <a:grpFill/>
              <a:ln w="5978" cap="flat">
                <a:noFill/>
                <a:prstDash val="solid"/>
                <a:miter/>
              </a:ln>
            </p:spPr>
            <p:txBody>
              <a:bodyPr rtlCol="0" anchor="ctr"/>
              <a:lstStyle/>
              <a:p>
                <a:endParaRPr lang="en-GB"/>
              </a:p>
            </p:txBody>
          </p:sp>
        </p:grpSp>
        <p:grpSp>
          <p:nvGrpSpPr>
            <p:cNvPr id="1316" name="Graphic 3">
              <a:extLst>
                <a:ext uri="{FF2B5EF4-FFF2-40B4-BE49-F238E27FC236}">
                  <a16:creationId xmlns:a16="http://schemas.microsoft.com/office/drawing/2014/main" id="{1E753BA2-A2E4-44C3-A82F-7B3B27107E58}"/>
                </a:ext>
              </a:extLst>
            </p:cNvPr>
            <p:cNvGrpSpPr/>
            <p:nvPr/>
          </p:nvGrpSpPr>
          <p:grpSpPr>
            <a:xfrm>
              <a:off x="3722748" y="3541022"/>
              <a:ext cx="601066" cy="62964"/>
              <a:chOff x="3722748" y="3541022"/>
              <a:chExt cx="601066" cy="62964"/>
            </a:xfrm>
            <a:grpFill/>
          </p:grpSpPr>
          <p:sp>
            <p:nvSpPr>
              <p:cNvPr id="1460" name="Vrije vorm: vorm 1459">
                <a:extLst>
                  <a:ext uri="{FF2B5EF4-FFF2-40B4-BE49-F238E27FC236}">
                    <a16:creationId xmlns:a16="http://schemas.microsoft.com/office/drawing/2014/main" id="{26E0A25E-46D8-424B-BB3E-9F5CC24A9498}"/>
                  </a:ext>
                </a:extLst>
              </p:cNvPr>
              <p:cNvSpPr/>
              <p:nvPr/>
            </p:nvSpPr>
            <p:spPr>
              <a:xfrm>
                <a:off x="3731332" y="3548641"/>
                <a:ext cx="583957" cy="47726"/>
              </a:xfrm>
              <a:custGeom>
                <a:avLst/>
                <a:gdLst>
                  <a:gd name="connsiteX0" fmla="*/ 583659 w 583957"/>
                  <a:gd name="connsiteY0" fmla="*/ 0 h 47726"/>
                  <a:gd name="connsiteX1" fmla="*/ 583958 w 583957"/>
                  <a:gd name="connsiteY1" fmla="*/ 3050 h 47726"/>
                  <a:gd name="connsiteX2" fmla="*/ 239 w 583957"/>
                  <a:gd name="connsiteY2" fmla="*/ 47726 h 47726"/>
                  <a:gd name="connsiteX3" fmla="*/ 0 w 583957"/>
                  <a:gd name="connsiteY3" fmla="*/ 44676 h 47726"/>
                </a:gdLst>
                <a:ahLst/>
                <a:cxnLst>
                  <a:cxn ang="0">
                    <a:pos x="connsiteX0" y="connsiteY0"/>
                  </a:cxn>
                  <a:cxn ang="0">
                    <a:pos x="connsiteX1" y="connsiteY1"/>
                  </a:cxn>
                  <a:cxn ang="0">
                    <a:pos x="connsiteX2" y="connsiteY2"/>
                  </a:cxn>
                  <a:cxn ang="0">
                    <a:pos x="connsiteX3" y="connsiteY3"/>
                  </a:cxn>
                </a:cxnLst>
                <a:rect l="l" t="t" r="r" b="b"/>
                <a:pathLst>
                  <a:path w="583957" h="47726">
                    <a:moveTo>
                      <a:pt x="583659" y="0"/>
                    </a:moveTo>
                    <a:lnTo>
                      <a:pt x="583958" y="3050"/>
                    </a:lnTo>
                    <a:lnTo>
                      <a:pt x="239" y="47726"/>
                    </a:lnTo>
                    <a:lnTo>
                      <a:pt x="0" y="44676"/>
                    </a:lnTo>
                    <a:close/>
                  </a:path>
                </a:pathLst>
              </a:custGeom>
              <a:grpFill/>
              <a:ln w="5978" cap="flat">
                <a:noFill/>
                <a:prstDash val="solid"/>
                <a:miter/>
              </a:ln>
            </p:spPr>
            <p:txBody>
              <a:bodyPr rtlCol="0" anchor="ctr"/>
              <a:lstStyle/>
              <a:p>
                <a:endParaRPr lang="en-GB"/>
              </a:p>
            </p:txBody>
          </p:sp>
          <p:sp>
            <p:nvSpPr>
              <p:cNvPr id="1461" name="Vrije vorm: vorm 1460">
                <a:extLst>
                  <a:ext uri="{FF2B5EF4-FFF2-40B4-BE49-F238E27FC236}">
                    <a16:creationId xmlns:a16="http://schemas.microsoft.com/office/drawing/2014/main" id="{08D90C8D-3093-4564-AC2F-24ABCEB30AD9}"/>
                  </a:ext>
                </a:extLst>
              </p:cNvPr>
              <p:cNvSpPr/>
              <p:nvPr/>
            </p:nvSpPr>
            <p:spPr>
              <a:xfrm>
                <a:off x="3722748" y="3585579"/>
                <a:ext cx="18304" cy="18408"/>
              </a:xfrm>
              <a:custGeom>
                <a:avLst/>
                <a:gdLst>
                  <a:gd name="connsiteX0" fmla="*/ 9900 w 18304"/>
                  <a:gd name="connsiteY0" fmla="*/ 18384 h 18408"/>
                  <a:gd name="connsiteX1" fmla="*/ 32 w 18304"/>
                  <a:gd name="connsiteY1" fmla="*/ 9892 h 18408"/>
                  <a:gd name="connsiteX2" fmla="*/ 8405 w 18304"/>
                  <a:gd name="connsiteY2" fmla="*/ 24 h 18408"/>
                  <a:gd name="connsiteX3" fmla="*/ 18273 w 18304"/>
                  <a:gd name="connsiteY3" fmla="*/ 8516 h 18408"/>
                  <a:gd name="connsiteX4" fmla="*/ 9900 w 18304"/>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08">
                    <a:moveTo>
                      <a:pt x="9900" y="18384"/>
                    </a:moveTo>
                    <a:cubicBezTo>
                      <a:pt x="4876" y="18743"/>
                      <a:pt x="450" y="14975"/>
                      <a:pt x="32" y="9892"/>
                    </a:cubicBezTo>
                    <a:cubicBezTo>
                      <a:pt x="-387" y="4808"/>
                      <a:pt x="3381" y="382"/>
                      <a:pt x="8405" y="24"/>
                    </a:cubicBezTo>
                    <a:cubicBezTo>
                      <a:pt x="13429" y="-335"/>
                      <a:pt x="17854" y="3433"/>
                      <a:pt x="18273" y="8516"/>
                    </a:cubicBezTo>
                    <a:cubicBezTo>
                      <a:pt x="18692" y="13600"/>
                      <a:pt x="14924" y="18026"/>
                      <a:pt x="9900" y="18384"/>
                    </a:cubicBezTo>
                    <a:close/>
                  </a:path>
                </a:pathLst>
              </a:custGeom>
              <a:grpFill/>
              <a:ln w="5978" cap="flat">
                <a:noFill/>
                <a:prstDash val="solid"/>
                <a:miter/>
              </a:ln>
            </p:spPr>
            <p:txBody>
              <a:bodyPr rtlCol="0" anchor="ctr"/>
              <a:lstStyle/>
              <a:p>
                <a:endParaRPr lang="en-GB"/>
              </a:p>
            </p:txBody>
          </p:sp>
          <p:sp>
            <p:nvSpPr>
              <p:cNvPr id="1462" name="Vrije vorm: vorm 1461">
                <a:extLst>
                  <a:ext uri="{FF2B5EF4-FFF2-40B4-BE49-F238E27FC236}">
                    <a16:creationId xmlns:a16="http://schemas.microsoft.com/office/drawing/2014/main" id="{D950EAFD-09F0-4F9A-A91C-E01FAC83E552}"/>
                  </a:ext>
                </a:extLst>
              </p:cNvPr>
              <p:cNvSpPr/>
              <p:nvPr/>
            </p:nvSpPr>
            <p:spPr>
              <a:xfrm>
                <a:off x="4305509" y="3541022"/>
                <a:ext cx="18304" cy="18408"/>
              </a:xfrm>
              <a:custGeom>
                <a:avLst/>
                <a:gdLst>
                  <a:gd name="connsiteX0" fmla="*/ 9900 w 18304"/>
                  <a:gd name="connsiteY0" fmla="*/ 18384 h 18408"/>
                  <a:gd name="connsiteX1" fmla="*/ 18273 w 18304"/>
                  <a:gd name="connsiteY1" fmla="*/ 8516 h 18408"/>
                  <a:gd name="connsiteX2" fmla="*/ 8405 w 18304"/>
                  <a:gd name="connsiteY2" fmla="*/ 24 h 18408"/>
                  <a:gd name="connsiteX3" fmla="*/ 32 w 18304"/>
                  <a:gd name="connsiteY3" fmla="*/ 9892 h 18408"/>
                  <a:gd name="connsiteX4" fmla="*/ 9900 w 18304"/>
                  <a:gd name="connsiteY4" fmla="*/ 1838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08">
                    <a:moveTo>
                      <a:pt x="9900" y="18384"/>
                    </a:moveTo>
                    <a:cubicBezTo>
                      <a:pt x="14924" y="18026"/>
                      <a:pt x="18692" y="13600"/>
                      <a:pt x="18273" y="8516"/>
                    </a:cubicBezTo>
                    <a:cubicBezTo>
                      <a:pt x="17854" y="3433"/>
                      <a:pt x="13429" y="-335"/>
                      <a:pt x="8405" y="24"/>
                    </a:cubicBezTo>
                    <a:cubicBezTo>
                      <a:pt x="3381" y="382"/>
                      <a:pt x="-387" y="4808"/>
                      <a:pt x="32" y="9892"/>
                    </a:cubicBezTo>
                    <a:cubicBezTo>
                      <a:pt x="450" y="14975"/>
                      <a:pt x="4876" y="18743"/>
                      <a:pt x="9900" y="18384"/>
                    </a:cubicBezTo>
                    <a:close/>
                  </a:path>
                </a:pathLst>
              </a:custGeom>
              <a:grpFill/>
              <a:ln w="5978" cap="flat">
                <a:noFill/>
                <a:prstDash val="solid"/>
                <a:miter/>
              </a:ln>
            </p:spPr>
            <p:txBody>
              <a:bodyPr rtlCol="0" anchor="ctr"/>
              <a:lstStyle/>
              <a:p>
                <a:endParaRPr lang="en-GB"/>
              </a:p>
            </p:txBody>
          </p:sp>
        </p:grpSp>
        <p:grpSp>
          <p:nvGrpSpPr>
            <p:cNvPr id="1317" name="Graphic 3">
              <a:extLst>
                <a:ext uri="{FF2B5EF4-FFF2-40B4-BE49-F238E27FC236}">
                  <a16:creationId xmlns:a16="http://schemas.microsoft.com/office/drawing/2014/main" id="{012069B6-7AE0-4403-9916-0AA7173E2F7B}"/>
                </a:ext>
              </a:extLst>
            </p:cNvPr>
            <p:cNvGrpSpPr/>
            <p:nvPr/>
          </p:nvGrpSpPr>
          <p:grpSpPr>
            <a:xfrm>
              <a:off x="4013373" y="4302338"/>
              <a:ext cx="636308" cy="357847"/>
              <a:chOff x="4013373" y="4302338"/>
              <a:chExt cx="636308" cy="357847"/>
            </a:xfrm>
            <a:grpFill/>
          </p:grpSpPr>
          <p:sp>
            <p:nvSpPr>
              <p:cNvPr id="1457" name="Vrije vorm: vorm 1456">
                <a:extLst>
                  <a:ext uri="{FF2B5EF4-FFF2-40B4-BE49-F238E27FC236}">
                    <a16:creationId xmlns:a16="http://schemas.microsoft.com/office/drawing/2014/main" id="{F60F5101-FF6A-420D-9832-29B52BD02D28}"/>
                  </a:ext>
                </a:extLst>
              </p:cNvPr>
              <p:cNvSpPr/>
              <p:nvPr/>
            </p:nvSpPr>
            <p:spPr>
              <a:xfrm>
                <a:off x="4021397" y="4309987"/>
                <a:ext cx="620260" cy="342575"/>
              </a:xfrm>
              <a:custGeom>
                <a:avLst/>
                <a:gdLst>
                  <a:gd name="connsiteX0" fmla="*/ 620261 w 620260"/>
                  <a:gd name="connsiteY0" fmla="*/ 2691 h 342575"/>
                  <a:gd name="connsiteX1" fmla="*/ 1435 w 620260"/>
                  <a:gd name="connsiteY1" fmla="*/ 342576 h 342575"/>
                  <a:gd name="connsiteX2" fmla="*/ 0 w 620260"/>
                  <a:gd name="connsiteY2" fmla="*/ 339885 h 342575"/>
                  <a:gd name="connsiteX3" fmla="*/ 618825 w 620260"/>
                  <a:gd name="connsiteY3" fmla="*/ 0 h 342575"/>
                </a:gdLst>
                <a:ahLst/>
                <a:cxnLst>
                  <a:cxn ang="0">
                    <a:pos x="connsiteX0" y="connsiteY0"/>
                  </a:cxn>
                  <a:cxn ang="0">
                    <a:pos x="connsiteX1" y="connsiteY1"/>
                  </a:cxn>
                  <a:cxn ang="0">
                    <a:pos x="connsiteX2" y="connsiteY2"/>
                  </a:cxn>
                  <a:cxn ang="0">
                    <a:pos x="connsiteX3" y="connsiteY3"/>
                  </a:cxn>
                </a:cxnLst>
                <a:rect l="l" t="t" r="r" b="b"/>
                <a:pathLst>
                  <a:path w="620260" h="342575">
                    <a:moveTo>
                      <a:pt x="620261" y="2691"/>
                    </a:moveTo>
                    <a:lnTo>
                      <a:pt x="1435" y="342576"/>
                    </a:lnTo>
                    <a:lnTo>
                      <a:pt x="0" y="339885"/>
                    </a:lnTo>
                    <a:lnTo>
                      <a:pt x="618825" y="0"/>
                    </a:lnTo>
                    <a:close/>
                  </a:path>
                </a:pathLst>
              </a:custGeom>
              <a:grpFill/>
              <a:ln w="5978" cap="flat">
                <a:noFill/>
                <a:prstDash val="solid"/>
                <a:miter/>
              </a:ln>
            </p:spPr>
            <p:txBody>
              <a:bodyPr rtlCol="0" anchor="ctr"/>
              <a:lstStyle/>
              <a:p>
                <a:endParaRPr lang="en-GB"/>
              </a:p>
            </p:txBody>
          </p:sp>
          <p:sp>
            <p:nvSpPr>
              <p:cNvPr id="1458" name="Vrije vorm: vorm 1457">
                <a:extLst>
                  <a:ext uri="{FF2B5EF4-FFF2-40B4-BE49-F238E27FC236}">
                    <a16:creationId xmlns:a16="http://schemas.microsoft.com/office/drawing/2014/main" id="{31113E1F-03A4-4DE3-AAEE-78BE59B5C0B7}"/>
                  </a:ext>
                </a:extLst>
              </p:cNvPr>
              <p:cNvSpPr/>
              <p:nvPr/>
            </p:nvSpPr>
            <p:spPr>
              <a:xfrm>
                <a:off x="4631361" y="4302338"/>
                <a:ext cx="18320" cy="18467"/>
              </a:xfrm>
              <a:custGeom>
                <a:avLst/>
                <a:gdLst>
                  <a:gd name="connsiteX0" fmla="*/ 4734 w 18320"/>
                  <a:gd name="connsiteY0" fmla="*/ 1130 h 18467"/>
                  <a:gd name="connsiteX1" fmla="*/ 17174 w 18320"/>
                  <a:gd name="connsiteY1" fmla="*/ 4838 h 18467"/>
                  <a:gd name="connsiteX2" fmla="*/ 13586 w 18320"/>
                  <a:gd name="connsiteY2" fmla="*/ 17338 h 18467"/>
                  <a:gd name="connsiteX3" fmla="*/ 1146 w 18320"/>
                  <a:gd name="connsiteY3" fmla="*/ 13630 h 18467"/>
                  <a:gd name="connsiteX4" fmla="*/ 4734 w 18320"/>
                  <a:gd name="connsiteY4" fmla="*/ 1130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67">
                    <a:moveTo>
                      <a:pt x="4734" y="1130"/>
                    </a:moveTo>
                    <a:cubicBezTo>
                      <a:pt x="9160" y="-1322"/>
                      <a:pt x="14722" y="353"/>
                      <a:pt x="17174" y="4838"/>
                    </a:cubicBezTo>
                    <a:cubicBezTo>
                      <a:pt x="19626" y="9324"/>
                      <a:pt x="18012" y="14886"/>
                      <a:pt x="13586" y="17338"/>
                    </a:cubicBezTo>
                    <a:cubicBezTo>
                      <a:pt x="9160" y="19790"/>
                      <a:pt x="3598" y="18115"/>
                      <a:pt x="1146" y="13630"/>
                    </a:cubicBezTo>
                    <a:cubicBezTo>
                      <a:pt x="-1306" y="9144"/>
                      <a:pt x="308" y="3522"/>
                      <a:pt x="4734" y="1130"/>
                    </a:cubicBezTo>
                    <a:close/>
                  </a:path>
                </a:pathLst>
              </a:custGeom>
              <a:grpFill/>
              <a:ln w="5978" cap="flat">
                <a:noFill/>
                <a:prstDash val="solid"/>
                <a:miter/>
              </a:ln>
            </p:spPr>
            <p:txBody>
              <a:bodyPr rtlCol="0" anchor="ctr"/>
              <a:lstStyle/>
              <a:p>
                <a:endParaRPr lang="en-GB"/>
              </a:p>
            </p:txBody>
          </p:sp>
          <p:sp>
            <p:nvSpPr>
              <p:cNvPr id="1459" name="Vrije vorm: vorm 1458">
                <a:extLst>
                  <a:ext uri="{FF2B5EF4-FFF2-40B4-BE49-F238E27FC236}">
                    <a16:creationId xmlns:a16="http://schemas.microsoft.com/office/drawing/2014/main" id="{A2BFFC9E-CEEB-499C-A22E-B4A42ABBDC47}"/>
                  </a:ext>
                </a:extLst>
              </p:cNvPr>
              <p:cNvSpPr/>
              <p:nvPr/>
            </p:nvSpPr>
            <p:spPr>
              <a:xfrm>
                <a:off x="4013373" y="4641771"/>
                <a:ext cx="18320" cy="18414"/>
              </a:xfrm>
              <a:custGeom>
                <a:avLst/>
                <a:gdLst>
                  <a:gd name="connsiteX0" fmla="*/ 4734 w 18320"/>
                  <a:gd name="connsiteY0" fmla="*/ 1103 h 18414"/>
                  <a:gd name="connsiteX1" fmla="*/ 1146 w 18320"/>
                  <a:gd name="connsiteY1" fmla="*/ 13603 h 18414"/>
                  <a:gd name="connsiteX2" fmla="*/ 13586 w 18320"/>
                  <a:gd name="connsiteY2" fmla="*/ 17311 h 18414"/>
                  <a:gd name="connsiteX3" fmla="*/ 17174 w 18320"/>
                  <a:gd name="connsiteY3" fmla="*/ 4812 h 18414"/>
                  <a:gd name="connsiteX4" fmla="*/ 4734 w 18320"/>
                  <a:gd name="connsiteY4" fmla="*/ 1103 h 1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14">
                    <a:moveTo>
                      <a:pt x="4734" y="1103"/>
                    </a:moveTo>
                    <a:cubicBezTo>
                      <a:pt x="309" y="3556"/>
                      <a:pt x="-1306" y="9118"/>
                      <a:pt x="1146" y="13603"/>
                    </a:cubicBezTo>
                    <a:cubicBezTo>
                      <a:pt x="3598" y="18089"/>
                      <a:pt x="9160" y="19704"/>
                      <a:pt x="13586" y="17311"/>
                    </a:cubicBezTo>
                    <a:cubicBezTo>
                      <a:pt x="18011" y="14859"/>
                      <a:pt x="19626" y="9297"/>
                      <a:pt x="17174" y="4812"/>
                    </a:cubicBezTo>
                    <a:cubicBezTo>
                      <a:pt x="14722" y="326"/>
                      <a:pt x="9160" y="-1289"/>
                      <a:pt x="4734" y="1103"/>
                    </a:cubicBezTo>
                    <a:close/>
                  </a:path>
                </a:pathLst>
              </a:custGeom>
              <a:grpFill/>
              <a:ln w="5978" cap="flat">
                <a:noFill/>
                <a:prstDash val="solid"/>
                <a:miter/>
              </a:ln>
            </p:spPr>
            <p:txBody>
              <a:bodyPr rtlCol="0" anchor="ctr"/>
              <a:lstStyle/>
              <a:p>
                <a:endParaRPr lang="en-GB"/>
              </a:p>
            </p:txBody>
          </p:sp>
        </p:grpSp>
        <p:grpSp>
          <p:nvGrpSpPr>
            <p:cNvPr id="1318" name="Graphic 3">
              <a:extLst>
                <a:ext uri="{FF2B5EF4-FFF2-40B4-BE49-F238E27FC236}">
                  <a16:creationId xmlns:a16="http://schemas.microsoft.com/office/drawing/2014/main" id="{C55BADDB-9643-436E-BBDB-8B2402BE478A}"/>
                </a:ext>
              </a:extLst>
            </p:cNvPr>
            <p:cNvGrpSpPr/>
            <p:nvPr/>
          </p:nvGrpSpPr>
          <p:grpSpPr>
            <a:xfrm>
              <a:off x="3972640" y="4167154"/>
              <a:ext cx="596905" cy="265322"/>
              <a:chOff x="3972640" y="4167154"/>
              <a:chExt cx="596905" cy="265322"/>
            </a:xfrm>
            <a:grpFill/>
          </p:grpSpPr>
          <p:sp>
            <p:nvSpPr>
              <p:cNvPr id="1454" name="Vrije vorm: vorm 1453">
                <a:extLst>
                  <a:ext uri="{FF2B5EF4-FFF2-40B4-BE49-F238E27FC236}">
                    <a16:creationId xmlns:a16="http://schemas.microsoft.com/office/drawing/2014/main" id="{8C55C603-30A5-4093-BC4F-5FD07D521E46}"/>
                  </a:ext>
                </a:extLst>
              </p:cNvPr>
              <p:cNvSpPr/>
              <p:nvPr/>
            </p:nvSpPr>
            <p:spPr>
              <a:xfrm>
                <a:off x="3981008" y="4174703"/>
                <a:ext cx="580679" cy="250084"/>
              </a:xfrm>
              <a:custGeom>
                <a:avLst/>
                <a:gdLst>
                  <a:gd name="connsiteX0" fmla="*/ 0 w 580679"/>
                  <a:gd name="connsiteY0" fmla="*/ 247278 h 250084"/>
                  <a:gd name="connsiteX1" fmla="*/ 579483 w 580679"/>
                  <a:gd name="connsiteY1" fmla="*/ 0 h 250084"/>
                  <a:gd name="connsiteX2" fmla="*/ 580680 w 580679"/>
                  <a:gd name="connsiteY2" fmla="*/ 2805 h 250084"/>
                  <a:gd name="connsiteX3" fmla="*/ 1197 w 580679"/>
                  <a:gd name="connsiteY3" fmla="*/ 250084 h 250084"/>
                </a:gdLst>
                <a:ahLst/>
                <a:cxnLst>
                  <a:cxn ang="0">
                    <a:pos x="connsiteX0" y="connsiteY0"/>
                  </a:cxn>
                  <a:cxn ang="0">
                    <a:pos x="connsiteX1" y="connsiteY1"/>
                  </a:cxn>
                  <a:cxn ang="0">
                    <a:pos x="connsiteX2" y="connsiteY2"/>
                  </a:cxn>
                  <a:cxn ang="0">
                    <a:pos x="connsiteX3" y="connsiteY3"/>
                  </a:cxn>
                </a:cxnLst>
                <a:rect l="l" t="t" r="r" b="b"/>
                <a:pathLst>
                  <a:path w="580679" h="250084">
                    <a:moveTo>
                      <a:pt x="0" y="247278"/>
                    </a:moveTo>
                    <a:lnTo>
                      <a:pt x="579483" y="0"/>
                    </a:lnTo>
                    <a:lnTo>
                      <a:pt x="580680" y="2805"/>
                    </a:lnTo>
                    <a:lnTo>
                      <a:pt x="1197" y="250084"/>
                    </a:lnTo>
                    <a:close/>
                  </a:path>
                </a:pathLst>
              </a:custGeom>
              <a:grpFill/>
              <a:ln w="5978" cap="flat">
                <a:noFill/>
                <a:prstDash val="solid"/>
                <a:miter/>
              </a:ln>
            </p:spPr>
            <p:txBody>
              <a:bodyPr rtlCol="0" anchor="ctr"/>
              <a:lstStyle/>
              <a:p>
                <a:endParaRPr lang="en-GB"/>
              </a:p>
            </p:txBody>
          </p:sp>
          <p:sp>
            <p:nvSpPr>
              <p:cNvPr id="1455" name="Vrije vorm: vorm 1454">
                <a:extLst>
                  <a:ext uri="{FF2B5EF4-FFF2-40B4-BE49-F238E27FC236}">
                    <a16:creationId xmlns:a16="http://schemas.microsoft.com/office/drawing/2014/main" id="{EBDFD1F9-134B-4E6E-94D3-C678FC83F2F0}"/>
                  </a:ext>
                </a:extLst>
              </p:cNvPr>
              <p:cNvSpPr/>
              <p:nvPr/>
            </p:nvSpPr>
            <p:spPr>
              <a:xfrm>
                <a:off x="4551274" y="4167154"/>
                <a:ext cx="18271" cy="18446"/>
              </a:xfrm>
              <a:custGeom>
                <a:avLst/>
                <a:gdLst>
                  <a:gd name="connsiteX0" fmla="*/ 5517 w 18271"/>
                  <a:gd name="connsiteY0" fmla="*/ 731 h 18446"/>
                  <a:gd name="connsiteX1" fmla="*/ 17538 w 18271"/>
                  <a:gd name="connsiteY1" fmla="*/ 5635 h 18446"/>
                  <a:gd name="connsiteX2" fmla="*/ 12754 w 18271"/>
                  <a:gd name="connsiteY2" fmla="*/ 17716 h 18446"/>
                  <a:gd name="connsiteX3" fmla="*/ 733 w 18271"/>
                  <a:gd name="connsiteY3" fmla="*/ 12812 h 18446"/>
                  <a:gd name="connsiteX4" fmla="*/ 5517 w 18271"/>
                  <a:gd name="connsiteY4" fmla="*/ 731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1" h="18446">
                    <a:moveTo>
                      <a:pt x="5517" y="731"/>
                    </a:moveTo>
                    <a:cubicBezTo>
                      <a:pt x="10182" y="-1243"/>
                      <a:pt x="15565" y="910"/>
                      <a:pt x="17538" y="5635"/>
                    </a:cubicBezTo>
                    <a:cubicBezTo>
                      <a:pt x="19512" y="10300"/>
                      <a:pt x="17359" y="15742"/>
                      <a:pt x="12754" y="17716"/>
                    </a:cubicBezTo>
                    <a:cubicBezTo>
                      <a:pt x="8149" y="19690"/>
                      <a:pt x="2706" y="17537"/>
                      <a:pt x="733" y="12812"/>
                    </a:cubicBezTo>
                    <a:cubicBezTo>
                      <a:pt x="-1241" y="8147"/>
                      <a:pt x="912" y="2705"/>
                      <a:pt x="5517" y="731"/>
                    </a:cubicBezTo>
                    <a:close/>
                  </a:path>
                </a:pathLst>
              </a:custGeom>
              <a:grpFill/>
              <a:ln w="5978" cap="flat">
                <a:noFill/>
                <a:prstDash val="solid"/>
                <a:miter/>
              </a:ln>
            </p:spPr>
            <p:txBody>
              <a:bodyPr rtlCol="0" anchor="ctr"/>
              <a:lstStyle/>
              <a:p>
                <a:endParaRPr lang="en-GB"/>
              </a:p>
            </p:txBody>
          </p:sp>
          <p:sp>
            <p:nvSpPr>
              <p:cNvPr id="1456" name="Vrije vorm: vorm 1455">
                <a:extLst>
                  <a:ext uri="{FF2B5EF4-FFF2-40B4-BE49-F238E27FC236}">
                    <a16:creationId xmlns:a16="http://schemas.microsoft.com/office/drawing/2014/main" id="{8918BBCF-0EB4-430C-A0A1-0D12DA9117D2}"/>
                  </a:ext>
                </a:extLst>
              </p:cNvPr>
              <p:cNvSpPr/>
              <p:nvPr/>
            </p:nvSpPr>
            <p:spPr>
              <a:xfrm>
                <a:off x="3972640" y="4414039"/>
                <a:ext cx="18304" cy="18438"/>
              </a:xfrm>
              <a:custGeom>
                <a:avLst/>
                <a:gdLst>
                  <a:gd name="connsiteX0" fmla="*/ 5576 w 18304"/>
                  <a:gd name="connsiteY0" fmla="*/ 731 h 18438"/>
                  <a:gd name="connsiteX1" fmla="*/ 732 w 18304"/>
                  <a:gd name="connsiteY1" fmla="*/ 12812 h 18438"/>
                  <a:gd name="connsiteX2" fmla="*/ 12753 w 18304"/>
                  <a:gd name="connsiteY2" fmla="*/ 17716 h 18438"/>
                  <a:gd name="connsiteX3" fmla="*/ 17537 w 18304"/>
                  <a:gd name="connsiteY3" fmla="*/ 5635 h 18438"/>
                  <a:gd name="connsiteX4" fmla="*/ 5576 w 18304"/>
                  <a:gd name="connsiteY4" fmla="*/ 731 h 1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38">
                    <a:moveTo>
                      <a:pt x="5576" y="731"/>
                    </a:moveTo>
                    <a:cubicBezTo>
                      <a:pt x="911" y="2704"/>
                      <a:pt x="-1242" y="8147"/>
                      <a:pt x="732" y="12812"/>
                    </a:cubicBezTo>
                    <a:cubicBezTo>
                      <a:pt x="2705" y="17477"/>
                      <a:pt x="8088" y="19690"/>
                      <a:pt x="12753" y="17716"/>
                    </a:cubicBezTo>
                    <a:cubicBezTo>
                      <a:pt x="17418" y="15743"/>
                      <a:pt x="19571" y="10300"/>
                      <a:pt x="17537" y="5635"/>
                    </a:cubicBezTo>
                    <a:cubicBezTo>
                      <a:pt x="15624" y="910"/>
                      <a:pt x="10181" y="-1243"/>
                      <a:pt x="5576" y="731"/>
                    </a:cubicBezTo>
                    <a:close/>
                  </a:path>
                </a:pathLst>
              </a:custGeom>
              <a:grpFill/>
              <a:ln w="5978" cap="flat">
                <a:noFill/>
                <a:prstDash val="solid"/>
                <a:miter/>
              </a:ln>
            </p:spPr>
            <p:txBody>
              <a:bodyPr rtlCol="0" anchor="ctr"/>
              <a:lstStyle/>
              <a:p>
                <a:endParaRPr lang="en-GB"/>
              </a:p>
            </p:txBody>
          </p:sp>
        </p:grpSp>
        <p:grpSp>
          <p:nvGrpSpPr>
            <p:cNvPr id="1319" name="Graphic 3">
              <a:extLst>
                <a:ext uri="{FF2B5EF4-FFF2-40B4-BE49-F238E27FC236}">
                  <a16:creationId xmlns:a16="http://schemas.microsoft.com/office/drawing/2014/main" id="{2184640F-D89A-41C6-A157-DFB4DFBF75FC}"/>
                </a:ext>
              </a:extLst>
            </p:cNvPr>
            <p:cNvGrpSpPr/>
            <p:nvPr/>
          </p:nvGrpSpPr>
          <p:grpSpPr>
            <a:xfrm>
              <a:off x="3996610" y="4248493"/>
              <a:ext cx="620721" cy="318940"/>
              <a:chOff x="3996610" y="4248493"/>
              <a:chExt cx="620721" cy="318940"/>
            </a:xfrm>
            <a:grpFill/>
          </p:grpSpPr>
          <p:sp>
            <p:nvSpPr>
              <p:cNvPr id="1451" name="Vrije vorm: vorm 1450">
                <a:extLst>
                  <a:ext uri="{FF2B5EF4-FFF2-40B4-BE49-F238E27FC236}">
                    <a16:creationId xmlns:a16="http://schemas.microsoft.com/office/drawing/2014/main" id="{52D89957-8826-4E4B-A211-380CB807C19A}"/>
                  </a:ext>
                </a:extLst>
              </p:cNvPr>
              <p:cNvSpPr/>
              <p:nvPr/>
            </p:nvSpPr>
            <p:spPr>
              <a:xfrm>
                <a:off x="4004711" y="4256161"/>
                <a:ext cx="604531" cy="303641"/>
              </a:xfrm>
              <a:custGeom>
                <a:avLst/>
                <a:gdLst>
                  <a:gd name="connsiteX0" fmla="*/ 604531 w 604531"/>
                  <a:gd name="connsiteY0" fmla="*/ 2751 h 303641"/>
                  <a:gd name="connsiteX1" fmla="*/ 1316 w 604531"/>
                  <a:gd name="connsiteY1" fmla="*/ 303641 h 303641"/>
                  <a:gd name="connsiteX2" fmla="*/ 0 w 604531"/>
                  <a:gd name="connsiteY2" fmla="*/ 300890 h 303641"/>
                  <a:gd name="connsiteX3" fmla="*/ 603216 w 604531"/>
                  <a:gd name="connsiteY3" fmla="*/ 0 h 303641"/>
                </a:gdLst>
                <a:ahLst/>
                <a:cxnLst>
                  <a:cxn ang="0">
                    <a:pos x="connsiteX0" y="connsiteY0"/>
                  </a:cxn>
                  <a:cxn ang="0">
                    <a:pos x="connsiteX1" y="connsiteY1"/>
                  </a:cxn>
                  <a:cxn ang="0">
                    <a:pos x="connsiteX2" y="connsiteY2"/>
                  </a:cxn>
                  <a:cxn ang="0">
                    <a:pos x="connsiteX3" y="connsiteY3"/>
                  </a:cxn>
                </a:cxnLst>
                <a:rect l="l" t="t" r="r" b="b"/>
                <a:pathLst>
                  <a:path w="604531" h="303641">
                    <a:moveTo>
                      <a:pt x="604531" y="2751"/>
                    </a:moveTo>
                    <a:lnTo>
                      <a:pt x="1316" y="303641"/>
                    </a:lnTo>
                    <a:lnTo>
                      <a:pt x="0" y="300890"/>
                    </a:lnTo>
                    <a:lnTo>
                      <a:pt x="603216" y="0"/>
                    </a:lnTo>
                    <a:close/>
                  </a:path>
                </a:pathLst>
              </a:custGeom>
              <a:grpFill/>
              <a:ln w="5978" cap="flat">
                <a:noFill/>
                <a:prstDash val="solid"/>
                <a:miter/>
              </a:ln>
            </p:spPr>
            <p:txBody>
              <a:bodyPr rtlCol="0" anchor="ctr"/>
              <a:lstStyle/>
              <a:p>
                <a:endParaRPr lang="en-GB"/>
              </a:p>
            </p:txBody>
          </p:sp>
          <p:sp>
            <p:nvSpPr>
              <p:cNvPr id="1452" name="Vrije vorm: vorm 1451">
                <a:extLst>
                  <a:ext uri="{FF2B5EF4-FFF2-40B4-BE49-F238E27FC236}">
                    <a16:creationId xmlns:a16="http://schemas.microsoft.com/office/drawing/2014/main" id="{09630746-6F32-4A53-B44A-9F16DBB4E4DE}"/>
                  </a:ext>
                </a:extLst>
              </p:cNvPr>
              <p:cNvSpPr/>
              <p:nvPr/>
            </p:nvSpPr>
            <p:spPr>
              <a:xfrm>
                <a:off x="4598999" y="4248493"/>
                <a:ext cx="18332" cy="18446"/>
              </a:xfrm>
              <a:custGeom>
                <a:avLst/>
                <a:gdLst>
                  <a:gd name="connsiteX0" fmla="*/ 5039 w 18332"/>
                  <a:gd name="connsiteY0" fmla="*/ 970 h 18446"/>
                  <a:gd name="connsiteX1" fmla="*/ 17360 w 18332"/>
                  <a:gd name="connsiteY1" fmla="*/ 5156 h 18446"/>
                  <a:gd name="connsiteX2" fmla="*/ 13293 w 18332"/>
                  <a:gd name="connsiteY2" fmla="*/ 17476 h 18446"/>
                  <a:gd name="connsiteX3" fmla="*/ 973 w 18332"/>
                  <a:gd name="connsiteY3" fmla="*/ 13290 h 18446"/>
                  <a:gd name="connsiteX4" fmla="*/ 5039 w 18332"/>
                  <a:gd name="connsiteY4" fmla="*/ 970 h 1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 h="18446">
                    <a:moveTo>
                      <a:pt x="5039" y="970"/>
                    </a:moveTo>
                    <a:cubicBezTo>
                      <a:pt x="9585" y="-1303"/>
                      <a:pt x="15087" y="551"/>
                      <a:pt x="17360" y="5156"/>
                    </a:cubicBezTo>
                    <a:cubicBezTo>
                      <a:pt x="19632" y="9702"/>
                      <a:pt x="17778" y="15264"/>
                      <a:pt x="13293" y="17476"/>
                    </a:cubicBezTo>
                    <a:cubicBezTo>
                      <a:pt x="8747" y="19749"/>
                      <a:pt x="3245" y="17895"/>
                      <a:pt x="973" y="13290"/>
                    </a:cubicBezTo>
                    <a:cubicBezTo>
                      <a:pt x="-1300" y="8744"/>
                      <a:pt x="554" y="3242"/>
                      <a:pt x="5039" y="970"/>
                    </a:cubicBezTo>
                    <a:close/>
                  </a:path>
                </a:pathLst>
              </a:custGeom>
              <a:grpFill/>
              <a:ln w="5978" cap="flat">
                <a:noFill/>
                <a:prstDash val="solid"/>
                <a:miter/>
              </a:ln>
            </p:spPr>
            <p:txBody>
              <a:bodyPr rtlCol="0" anchor="ctr"/>
              <a:lstStyle/>
              <a:p>
                <a:endParaRPr lang="en-GB"/>
              </a:p>
            </p:txBody>
          </p:sp>
          <p:sp>
            <p:nvSpPr>
              <p:cNvPr id="1453" name="Vrije vorm: vorm 1452">
                <a:extLst>
                  <a:ext uri="{FF2B5EF4-FFF2-40B4-BE49-F238E27FC236}">
                    <a16:creationId xmlns:a16="http://schemas.microsoft.com/office/drawing/2014/main" id="{EC57D074-5728-4C2A-B9CD-7A51307FEA60}"/>
                  </a:ext>
                </a:extLst>
              </p:cNvPr>
              <p:cNvSpPr/>
              <p:nvPr/>
            </p:nvSpPr>
            <p:spPr>
              <a:xfrm>
                <a:off x="3996610" y="4549024"/>
                <a:ext cx="18353" cy="18409"/>
              </a:xfrm>
              <a:custGeom>
                <a:avLst/>
                <a:gdLst>
                  <a:gd name="connsiteX0" fmla="*/ 5050 w 18353"/>
                  <a:gd name="connsiteY0" fmla="*/ 970 h 18409"/>
                  <a:gd name="connsiteX1" fmla="*/ 983 w 18353"/>
                  <a:gd name="connsiteY1" fmla="*/ 13290 h 18409"/>
                  <a:gd name="connsiteX2" fmla="*/ 13304 w 18353"/>
                  <a:gd name="connsiteY2" fmla="*/ 17476 h 18409"/>
                  <a:gd name="connsiteX3" fmla="*/ 17371 w 18353"/>
                  <a:gd name="connsiteY3" fmla="*/ 5156 h 18409"/>
                  <a:gd name="connsiteX4" fmla="*/ 5050 w 18353"/>
                  <a:gd name="connsiteY4" fmla="*/ 970 h 1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3" h="18409">
                    <a:moveTo>
                      <a:pt x="5050" y="970"/>
                    </a:moveTo>
                    <a:cubicBezTo>
                      <a:pt x="505" y="3242"/>
                      <a:pt x="-1289" y="8744"/>
                      <a:pt x="983" y="13290"/>
                    </a:cubicBezTo>
                    <a:cubicBezTo>
                      <a:pt x="3256" y="17835"/>
                      <a:pt x="8758" y="19689"/>
                      <a:pt x="13304" y="17476"/>
                    </a:cubicBezTo>
                    <a:cubicBezTo>
                      <a:pt x="17849" y="15204"/>
                      <a:pt x="19643" y="9702"/>
                      <a:pt x="17371" y="5156"/>
                    </a:cubicBezTo>
                    <a:cubicBezTo>
                      <a:pt x="15098" y="551"/>
                      <a:pt x="9596" y="-1303"/>
                      <a:pt x="5050" y="970"/>
                    </a:cubicBezTo>
                    <a:close/>
                  </a:path>
                </a:pathLst>
              </a:custGeom>
              <a:grpFill/>
              <a:ln w="5978" cap="flat">
                <a:noFill/>
                <a:prstDash val="solid"/>
                <a:miter/>
              </a:ln>
            </p:spPr>
            <p:txBody>
              <a:bodyPr rtlCol="0" anchor="ctr"/>
              <a:lstStyle/>
              <a:p>
                <a:endParaRPr lang="en-GB"/>
              </a:p>
            </p:txBody>
          </p:sp>
        </p:grpSp>
        <p:grpSp>
          <p:nvGrpSpPr>
            <p:cNvPr id="1320" name="Graphic 3">
              <a:extLst>
                <a:ext uri="{FF2B5EF4-FFF2-40B4-BE49-F238E27FC236}">
                  <a16:creationId xmlns:a16="http://schemas.microsoft.com/office/drawing/2014/main" id="{496B980F-744D-403F-9236-3F6727BD5FE1}"/>
                </a:ext>
              </a:extLst>
            </p:cNvPr>
            <p:cNvGrpSpPr/>
            <p:nvPr/>
          </p:nvGrpSpPr>
          <p:grpSpPr>
            <a:xfrm>
              <a:off x="4158940" y="4290610"/>
              <a:ext cx="246970" cy="140127"/>
              <a:chOff x="4158940" y="4290610"/>
              <a:chExt cx="246970" cy="140127"/>
            </a:xfrm>
            <a:grpFill/>
          </p:grpSpPr>
          <p:sp>
            <p:nvSpPr>
              <p:cNvPr id="1448" name="Vrije vorm: vorm 1447">
                <a:extLst>
                  <a:ext uri="{FF2B5EF4-FFF2-40B4-BE49-F238E27FC236}">
                    <a16:creationId xmlns:a16="http://schemas.microsoft.com/office/drawing/2014/main" id="{B29D2809-A228-4A18-86BF-815A73E1B347}"/>
                  </a:ext>
                </a:extLst>
              </p:cNvPr>
              <p:cNvSpPr/>
              <p:nvPr/>
            </p:nvSpPr>
            <p:spPr>
              <a:xfrm>
                <a:off x="4166968" y="4298205"/>
                <a:ext cx="230915" cy="124877"/>
              </a:xfrm>
              <a:custGeom>
                <a:avLst/>
                <a:gdLst>
                  <a:gd name="connsiteX0" fmla="*/ 230916 w 230915"/>
                  <a:gd name="connsiteY0" fmla="*/ 2751 h 124877"/>
                  <a:gd name="connsiteX1" fmla="*/ 1435 w 230915"/>
                  <a:gd name="connsiteY1" fmla="*/ 124877 h 124877"/>
                  <a:gd name="connsiteX2" fmla="*/ 0 w 230915"/>
                  <a:gd name="connsiteY2" fmla="*/ 122186 h 124877"/>
                  <a:gd name="connsiteX3" fmla="*/ 229480 w 230915"/>
                  <a:gd name="connsiteY3" fmla="*/ 0 h 124877"/>
                </a:gdLst>
                <a:ahLst/>
                <a:cxnLst>
                  <a:cxn ang="0">
                    <a:pos x="connsiteX0" y="connsiteY0"/>
                  </a:cxn>
                  <a:cxn ang="0">
                    <a:pos x="connsiteX1" y="connsiteY1"/>
                  </a:cxn>
                  <a:cxn ang="0">
                    <a:pos x="connsiteX2" y="connsiteY2"/>
                  </a:cxn>
                  <a:cxn ang="0">
                    <a:pos x="connsiteX3" y="connsiteY3"/>
                  </a:cxn>
                </a:cxnLst>
                <a:rect l="l" t="t" r="r" b="b"/>
                <a:pathLst>
                  <a:path w="230915" h="124877">
                    <a:moveTo>
                      <a:pt x="230916" y="2751"/>
                    </a:moveTo>
                    <a:lnTo>
                      <a:pt x="1435" y="124877"/>
                    </a:lnTo>
                    <a:lnTo>
                      <a:pt x="0" y="122186"/>
                    </a:lnTo>
                    <a:lnTo>
                      <a:pt x="229480" y="0"/>
                    </a:lnTo>
                    <a:close/>
                  </a:path>
                </a:pathLst>
              </a:custGeom>
              <a:grpFill/>
              <a:ln w="5978" cap="flat">
                <a:noFill/>
                <a:prstDash val="solid"/>
                <a:miter/>
              </a:ln>
            </p:spPr>
            <p:txBody>
              <a:bodyPr rtlCol="0" anchor="ctr"/>
              <a:lstStyle/>
              <a:p>
                <a:endParaRPr lang="en-GB"/>
              </a:p>
            </p:txBody>
          </p:sp>
          <p:sp>
            <p:nvSpPr>
              <p:cNvPr id="1449" name="Vrije vorm: vorm 1448">
                <a:extLst>
                  <a:ext uri="{FF2B5EF4-FFF2-40B4-BE49-F238E27FC236}">
                    <a16:creationId xmlns:a16="http://schemas.microsoft.com/office/drawing/2014/main" id="{8C23D171-7FE0-4942-B30E-CD034081E026}"/>
                  </a:ext>
                </a:extLst>
              </p:cNvPr>
              <p:cNvSpPr/>
              <p:nvPr/>
            </p:nvSpPr>
            <p:spPr>
              <a:xfrm>
                <a:off x="4158940" y="4412317"/>
                <a:ext cx="18327" cy="18420"/>
              </a:xfrm>
              <a:custGeom>
                <a:avLst/>
                <a:gdLst>
                  <a:gd name="connsiteX0" fmla="*/ 13470 w 18327"/>
                  <a:gd name="connsiteY0" fmla="*/ 17344 h 18420"/>
                  <a:gd name="connsiteX1" fmla="*/ 1090 w 18327"/>
                  <a:gd name="connsiteY1" fmla="*/ 13516 h 18420"/>
                  <a:gd name="connsiteX2" fmla="*/ 4858 w 18327"/>
                  <a:gd name="connsiteY2" fmla="*/ 1076 h 18420"/>
                  <a:gd name="connsiteX3" fmla="*/ 17238 w 18327"/>
                  <a:gd name="connsiteY3" fmla="*/ 4904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8984" y="19736"/>
                      <a:pt x="3482" y="18002"/>
                      <a:pt x="1090" y="13516"/>
                    </a:cubicBezTo>
                    <a:cubicBezTo>
                      <a:pt x="-1303" y="9031"/>
                      <a:pt x="372" y="3469"/>
                      <a:pt x="4858" y="1076"/>
                    </a:cubicBezTo>
                    <a:cubicBezTo>
                      <a:pt x="9343" y="-1316"/>
                      <a:pt x="14845" y="418"/>
                      <a:pt x="17238" y="4904"/>
                    </a:cubicBezTo>
                    <a:cubicBezTo>
                      <a:pt x="19630" y="9389"/>
                      <a:pt x="17956" y="15011"/>
                      <a:pt x="13470" y="17344"/>
                    </a:cubicBezTo>
                    <a:close/>
                  </a:path>
                </a:pathLst>
              </a:custGeom>
              <a:grpFill/>
              <a:ln w="5978" cap="flat">
                <a:noFill/>
                <a:prstDash val="solid"/>
                <a:miter/>
              </a:ln>
            </p:spPr>
            <p:txBody>
              <a:bodyPr rtlCol="0" anchor="ctr"/>
              <a:lstStyle/>
              <a:p>
                <a:endParaRPr lang="en-GB"/>
              </a:p>
            </p:txBody>
          </p:sp>
          <p:sp>
            <p:nvSpPr>
              <p:cNvPr id="1450" name="Vrije vorm: vorm 1449">
                <a:extLst>
                  <a:ext uri="{FF2B5EF4-FFF2-40B4-BE49-F238E27FC236}">
                    <a16:creationId xmlns:a16="http://schemas.microsoft.com/office/drawing/2014/main" id="{74D1CCA4-CB57-4916-A1E4-6E02D8E0A64A}"/>
                  </a:ext>
                </a:extLst>
              </p:cNvPr>
              <p:cNvSpPr/>
              <p:nvPr/>
            </p:nvSpPr>
            <p:spPr>
              <a:xfrm>
                <a:off x="4387583" y="4290610"/>
                <a:ext cx="18327" cy="18420"/>
              </a:xfrm>
              <a:custGeom>
                <a:avLst/>
                <a:gdLst>
                  <a:gd name="connsiteX0" fmla="*/ 13470 w 18327"/>
                  <a:gd name="connsiteY0" fmla="*/ 17344 h 18420"/>
                  <a:gd name="connsiteX1" fmla="*/ 17238 w 18327"/>
                  <a:gd name="connsiteY1" fmla="*/ 4904 h 18420"/>
                  <a:gd name="connsiteX2" fmla="*/ 4858 w 18327"/>
                  <a:gd name="connsiteY2" fmla="*/ 1076 h 18420"/>
                  <a:gd name="connsiteX3" fmla="*/ 1090 w 18327"/>
                  <a:gd name="connsiteY3" fmla="*/ 13516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17955" y="14952"/>
                      <a:pt x="19630" y="9390"/>
                      <a:pt x="17238" y="4904"/>
                    </a:cubicBezTo>
                    <a:cubicBezTo>
                      <a:pt x="14846" y="419"/>
                      <a:pt x="9283" y="-1316"/>
                      <a:pt x="4858" y="1076"/>
                    </a:cubicBezTo>
                    <a:cubicBezTo>
                      <a:pt x="372" y="3469"/>
                      <a:pt x="-1302" y="9031"/>
                      <a:pt x="1090" y="13516"/>
                    </a:cubicBezTo>
                    <a:cubicBezTo>
                      <a:pt x="3482" y="18002"/>
                      <a:pt x="9044" y="19736"/>
                      <a:pt x="13470" y="17344"/>
                    </a:cubicBezTo>
                    <a:close/>
                  </a:path>
                </a:pathLst>
              </a:custGeom>
              <a:grpFill/>
              <a:ln w="5978" cap="flat">
                <a:noFill/>
                <a:prstDash val="solid"/>
                <a:miter/>
              </a:ln>
            </p:spPr>
            <p:txBody>
              <a:bodyPr rtlCol="0" anchor="ctr"/>
              <a:lstStyle/>
              <a:p>
                <a:endParaRPr lang="en-GB"/>
              </a:p>
            </p:txBody>
          </p:sp>
        </p:grpSp>
        <p:grpSp>
          <p:nvGrpSpPr>
            <p:cNvPr id="1321" name="Graphic 3">
              <a:extLst>
                <a:ext uri="{FF2B5EF4-FFF2-40B4-BE49-F238E27FC236}">
                  <a16:creationId xmlns:a16="http://schemas.microsoft.com/office/drawing/2014/main" id="{F2523EA7-3E05-49DE-B67A-03047038546B}"/>
                </a:ext>
              </a:extLst>
            </p:cNvPr>
            <p:cNvGrpSpPr/>
            <p:nvPr/>
          </p:nvGrpSpPr>
          <p:grpSpPr>
            <a:xfrm>
              <a:off x="4038557" y="4102871"/>
              <a:ext cx="360228" cy="161120"/>
              <a:chOff x="4038557" y="4102871"/>
              <a:chExt cx="360228" cy="161120"/>
            </a:xfrm>
            <a:grpFill/>
          </p:grpSpPr>
          <p:sp>
            <p:nvSpPr>
              <p:cNvPr id="1445" name="Vrije vorm: vorm 1444">
                <a:extLst>
                  <a:ext uri="{FF2B5EF4-FFF2-40B4-BE49-F238E27FC236}">
                    <a16:creationId xmlns:a16="http://schemas.microsoft.com/office/drawing/2014/main" id="{D6B4AFA6-8CED-47F4-9D07-2D11801D2577}"/>
                  </a:ext>
                </a:extLst>
              </p:cNvPr>
              <p:cNvSpPr/>
              <p:nvPr/>
            </p:nvSpPr>
            <p:spPr>
              <a:xfrm>
                <a:off x="4046811" y="4110593"/>
                <a:ext cx="343887" cy="145819"/>
              </a:xfrm>
              <a:custGeom>
                <a:avLst/>
                <a:gdLst>
                  <a:gd name="connsiteX0" fmla="*/ 0 w 343887"/>
                  <a:gd name="connsiteY0" fmla="*/ 143004 h 145819"/>
                  <a:gd name="connsiteX1" fmla="*/ 342713 w 343887"/>
                  <a:gd name="connsiteY1" fmla="*/ 0 h 145819"/>
                  <a:gd name="connsiteX2" fmla="*/ 343887 w 343887"/>
                  <a:gd name="connsiteY2" fmla="*/ 2815 h 145819"/>
                  <a:gd name="connsiteX3" fmla="*/ 1175 w 343887"/>
                  <a:gd name="connsiteY3" fmla="*/ 145819 h 145819"/>
                </a:gdLst>
                <a:ahLst/>
                <a:cxnLst>
                  <a:cxn ang="0">
                    <a:pos x="connsiteX0" y="connsiteY0"/>
                  </a:cxn>
                  <a:cxn ang="0">
                    <a:pos x="connsiteX1" y="connsiteY1"/>
                  </a:cxn>
                  <a:cxn ang="0">
                    <a:pos x="connsiteX2" y="connsiteY2"/>
                  </a:cxn>
                  <a:cxn ang="0">
                    <a:pos x="connsiteX3" y="connsiteY3"/>
                  </a:cxn>
                </a:cxnLst>
                <a:rect l="l" t="t" r="r" b="b"/>
                <a:pathLst>
                  <a:path w="343887" h="145819">
                    <a:moveTo>
                      <a:pt x="0" y="143004"/>
                    </a:moveTo>
                    <a:lnTo>
                      <a:pt x="342713" y="0"/>
                    </a:lnTo>
                    <a:lnTo>
                      <a:pt x="343887" y="2815"/>
                    </a:lnTo>
                    <a:lnTo>
                      <a:pt x="1175" y="145819"/>
                    </a:lnTo>
                    <a:close/>
                  </a:path>
                </a:pathLst>
              </a:custGeom>
              <a:grpFill/>
              <a:ln w="5978" cap="flat">
                <a:noFill/>
                <a:prstDash val="solid"/>
                <a:miter/>
              </a:ln>
            </p:spPr>
            <p:txBody>
              <a:bodyPr rtlCol="0" anchor="ctr"/>
              <a:lstStyle/>
              <a:p>
                <a:endParaRPr lang="en-GB"/>
              </a:p>
            </p:txBody>
          </p:sp>
          <p:sp>
            <p:nvSpPr>
              <p:cNvPr id="1446" name="Vrije vorm: vorm 1445">
                <a:extLst>
                  <a:ext uri="{FF2B5EF4-FFF2-40B4-BE49-F238E27FC236}">
                    <a16:creationId xmlns:a16="http://schemas.microsoft.com/office/drawing/2014/main" id="{E8DF26DF-4EEE-498A-B4C7-704CC3F7F6BF}"/>
                  </a:ext>
                </a:extLst>
              </p:cNvPr>
              <p:cNvSpPr/>
              <p:nvPr/>
            </p:nvSpPr>
            <p:spPr>
              <a:xfrm>
                <a:off x="4038557" y="4245579"/>
                <a:ext cx="18370" cy="18411"/>
              </a:xfrm>
              <a:custGeom>
                <a:avLst/>
                <a:gdLst>
                  <a:gd name="connsiteX0" fmla="*/ 12744 w 18370"/>
                  <a:gd name="connsiteY0" fmla="*/ 17698 h 18411"/>
                  <a:gd name="connsiteX1" fmla="*/ 722 w 18370"/>
                  <a:gd name="connsiteY1" fmla="*/ 12734 h 18411"/>
                  <a:gd name="connsiteX2" fmla="*/ 5627 w 18370"/>
                  <a:gd name="connsiteY2" fmla="*/ 713 h 18411"/>
                  <a:gd name="connsiteX3" fmla="*/ 17648 w 18370"/>
                  <a:gd name="connsiteY3" fmla="*/ 5677 h 18411"/>
                  <a:gd name="connsiteX4" fmla="*/ 12744 w 18370"/>
                  <a:gd name="connsiteY4" fmla="*/ 17698 h 18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11">
                    <a:moveTo>
                      <a:pt x="12744" y="17698"/>
                    </a:moveTo>
                    <a:cubicBezTo>
                      <a:pt x="8079" y="19672"/>
                      <a:pt x="2696" y="17400"/>
                      <a:pt x="722" y="12734"/>
                    </a:cubicBezTo>
                    <a:cubicBezTo>
                      <a:pt x="-1251" y="8010"/>
                      <a:pt x="962" y="2627"/>
                      <a:pt x="5627" y="713"/>
                    </a:cubicBezTo>
                    <a:cubicBezTo>
                      <a:pt x="10292" y="-1260"/>
                      <a:pt x="15674" y="1012"/>
                      <a:pt x="17648" y="5677"/>
                    </a:cubicBezTo>
                    <a:cubicBezTo>
                      <a:pt x="19622" y="10342"/>
                      <a:pt x="17409" y="15725"/>
                      <a:pt x="12744" y="17698"/>
                    </a:cubicBezTo>
                    <a:close/>
                  </a:path>
                </a:pathLst>
              </a:custGeom>
              <a:grpFill/>
              <a:ln w="5978" cap="flat">
                <a:noFill/>
                <a:prstDash val="solid"/>
                <a:miter/>
              </a:ln>
            </p:spPr>
            <p:txBody>
              <a:bodyPr rtlCol="0" anchor="ctr"/>
              <a:lstStyle/>
              <a:p>
                <a:endParaRPr lang="en-GB"/>
              </a:p>
            </p:txBody>
          </p:sp>
          <p:sp>
            <p:nvSpPr>
              <p:cNvPr id="1447" name="Vrije vorm: vorm 1446">
                <a:extLst>
                  <a:ext uri="{FF2B5EF4-FFF2-40B4-BE49-F238E27FC236}">
                    <a16:creationId xmlns:a16="http://schemas.microsoft.com/office/drawing/2014/main" id="{BDCFE8E9-8661-4818-A1F5-9021D2BDC73B}"/>
                  </a:ext>
                </a:extLst>
              </p:cNvPr>
              <p:cNvSpPr/>
              <p:nvPr/>
            </p:nvSpPr>
            <p:spPr>
              <a:xfrm>
                <a:off x="4380415" y="4102871"/>
                <a:ext cx="18370" cy="18428"/>
              </a:xfrm>
              <a:custGeom>
                <a:avLst/>
                <a:gdLst>
                  <a:gd name="connsiteX0" fmla="*/ 12743 w 18370"/>
                  <a:gd name="connsiteY0" fmla="*/ 17707 h 18428"/>
                  <a:gd name="connsiteX1" fmla="*/ 17648 w 18370"/>
                  <a:gd name="connsiteY1" fmla="*/ 5686 h 18428"/>
                  <a:gd name="connsiteX2" fmla="*/ 5626 w 18370"/>
                  <a:gd name="connsiteY2" fmla="*/ 721 h 18428"/>
                  <a:gd name="connsiteX3" fmla="*/ 722 w 18370"/>
                  <a:gd name="connsiteY3" fmla="*/ 12743 h 18428"/>
                  <a:gd name="connsiteX4" fmla="*/ 12743 w 18370"/>
                  <a:gd name="connsiteY4" fmla="*/ 17707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0" h="18428">
                    <a:moveTo>
                      <a:pt x="12743" y="17707"/>
                    </a:moveTo>
                    <a:cubicBezTo>
                      <a:pt x="17409" y="15733"/>
                      <a:pt x="19621" y="10350"/>
                      <a:pt x="17648" y="5686"/>
                    </a:cubicBezTo>
                    <a:cubicBezTo>
                      <a:pt x="15674" y="961"/>
                      <a:pt x="10291" y="-1252"/>
                      <a:pt x="5626" y="721"/>
                    </a:cubicBezTo>
                    <a:cubicBezTo>
                      <a:pt x="962" y="2695"/>
                      <a:pt x="-1251" y="8078"/>
                      <a:pt x="722" y="12743"/>
                    </a:cubicBezTo>
                    <a:cubicBezTo>
                      <a:pt x="2696" y="17467"/>
                      <a:pt x="8079" y="19680"/>
                      <a:pt x="12743" y="17707"/>
                    </a:cubicBezTo>
                    <a:close/>
                  </a:path>
                </a:pathLst>
              </a:custGeom>
              <a:grpFill/>
              <a:ln w="5978" cap="flat">
                <a:noFill/>
                <a:prstDash val="solid"/>
                <a:miter/>
              </a:ln>
            </p:spPr>
            <p:txBody>
              <a:bodyPr rtlCol="0" anchor="ctr"/>
              <a:lstStyle/>
              <a:p>
                <a:endParaRPr lang="en-GB"/>
              </a:p>
            </p:txBody>
          </p:sp>
        </p:grpSp>
        <p:grpSp>
          <p:nvGrpSpPr>
            <p:cNvPr id="1322" name="Graphic 3">
              <a:extLst>
                <a:ext uri="{FF2B5EF4-FFF2-40B4-BE49-F238E27FC236}">
                  <a16:creationId xmlns:a16="http://schemas.microsoft.com/office/drawing/2014/main" id="{009D2A1E-01EB-437A-8033-668C8E031E67}"/>
                </a:ext>
              </a:extLst>
            </p:cNvPr>
            <p:cNvGrpSpPr/>
            <p:nvPr/>
          </p:nvGrpSpPr>
          <p:grpSpPr>
            <a:xfrm>
              <a:off x="3966448" y="4194824"/>
              <a:ext cx="618080" cy="289331"/>
              <a:chOff x="3966448" y="4194824"/>
              <a:chExt cx="618080" cy="289331"/>
            </a:xfrm>
            <a:grpFill/>
          </p:grpSpPr>
          <p:sp>
            <p:nvSpPr>
              <p:cNvPr id="1442" name="Vrije vorm: vorm 1441">
                <a:extLst>
                  <a:ext uri="{FF2B5EF4-FFF2-40B4-BE49-F238E27FC236}">
                    <a16:creationId xmlns:a16="http://schemas.microsoft.com/office/drawing/2014/main" id="{05E4DDDB-B86F-47E1-8176-78BCE92C96CD}"/>
                  </a:ext>
                </a:extLst>
              </p:cNvPr>
              <p:cNvSpPr/>
              <p:nvPr/>
            </p:nvSpPr>
            <p:spPr>
              <a:xfrm>
                <a:off x="3974568" y="4202454"/>
                <a:ext cx="601840" cy="274036"/>
              </a:xfrm>
              <a:custGeom>
                <a:avLst/>
                <a:gdLst>
                  <a:gd name="connsiteX0" fmla="*/ 601840 w 601840"/>
                  <a:gd name="connsiteY0" fmla="*/ 2811 h 274036"/>
                  <a:gd name="connsiteX1" fmla="*/ 1256 w 601840"/>
                  <a:gd name="connsiteY1" fmla="*/ 274037 h 274036"/>
                  <a:gd name="connsiteX2" fmla="*/ 0 w 601840"/>
                  <a:gd name="connsiteY2" fmla="*/ 271226 h 274036"/>
                  <a:gd name="connsiteX3" fmla="*/ 600584 w 601840"/>
                  <a:gd name="connsiteY3" fmla="*/ 0 h 274036"/>
                </a:gdLst>
                <a:ahLst/>
                <a:cxnLst>
                  <a:cxn ang="0">
                    <a:pos x="connsiteX0" y="connsiteY0"/>
                  </a:cxn>
                  <a:cxn ang="0">
                    <a:pos x="connsiteX1" y="connsiteY1"/>
                  </a:cxn>
                  <a:cxn ang="0">
                    <a:pos x="connsiteX2" y="connsiteY2"/>
                  </a:cxn>
                  <a:cxn ang="0">
                    <a:pos x="connsiteX3" y="connsiteY3"/>
                  </a:cxn>
                </a:cxnLst>
                <a:rect l="l" t="t" r="r" b="b"/>
                <a:pathLst>
                  <a:path w="601840" h="274036">
                    <a:moveTo>
                      <a:pt x="601840" y="2811"/>
                    </a:moveTo>
                    <a:lnTo>
                      <a:pt x="1256" y="274037"/>
                    </a:lnTo>
                    <a:lnTo>
                      <a:pt x="0" y="271226"/>
                    </a:lnTo>
                    <a:lnTo>
                      <a:pt x="600584" y="0"/>
                    </a:lnTo>
                    <a:close/>
                  </a:path>
                </a:pathLst>
              </a:custGeom>
              <a:grpFill/>
              <a:ln w="5978" cap="flat">
                <a:noFill/>
                <a:prstDash val="solid"/>
                <a:miter/>
              </a:ln>
            </p:spPr>
            <p:txBody>
              <a:bodyPr rtlCol="0" anchor="ctr"/>
              <a:lstStyle/>
              <a:p>
                <a:endParaRPr lang="en-GB"/>
              </a:p>
            </p:txBody>
          </p:sp>
          <p:sp>
            <p:nvSpPr>
              <p:cNvPr id="1443" name="Vrije vorm: vorm 1442">
                <a:extLst>
                  <a:ext uri="{FF2B5EF4-FFF2-40B4-BE49-F238E27FC236}">
                    <a16:creationId xmlns:a16="http://schemas.microsoft.com/office/drawing/2014/main" id="{C02A9334-6319-4208-9F9F-D2FCFFC4DEC6}"/>
                  </a:ext>
                </a:extLst>
              </p:cNvPr>
              <p:cNvSpPr/>
              <p:nvPr/>
            </p:nvSpPr>
            <p:spPr>
              <a:xfrm>
                <a:off x="4566195" y="4194824"/>
                <a:ext cx="18333" cy="18490"/>
              </a:xfrm>
              <a:custGeom>
                <a:avLst/>
                <a:gdLst>
                  <a:gd name="connsiteX0" fmla="*/ 5369 w 18333"/>
                  <a:gd name="connsiteY0" fmla="*/ 812 h 18490"/>
                  <a:gd name="connsiteX1" fmla="*/ 17510 w 18333"/>
                  <a:gd name="connsiteY1" fmla="*/ 5477 h 18490"/>
                  <a:gd name="connsiteX2" fmla="*/ 12965 w 18333"/>
                  <a:gd name="connsiteY2" fmla="*/ 17678 h 18490"/>
                  <a:gd name="connsiteX3" fmla="*/ 824 w 18333"/>
                  <a:gd name="connsiteY3" fmla="*/ 13013 h 18490"/>
                  <a:gd name="connsiteX4" fmla="*/ 5369 w 18333"/>
                  <a:gd name="connsiteY4" fmla="*/ 812 h 1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90">
                    <a:moveTo>
                      <a:pt x="5369" y="812"/>
                    </a:moveTo>
                    <a:cubicBezTo>
                      <a:pt x="9974" y="-1281"/>
                      <a:pt x="15417" y="812"/>
                      <a:pt x="17510" y="5477"/>
                    </a:cubicBezTo>
                    <a:cubicBezTo>
                      <a:pt x="19603" y="10142"/>
                      <a:pt x="17570" y="15584"/>
                      <a:pt x="12965" y="17678"/>
                    </a:cubicBezTo>
                    <a:cubicBezTo>
                      <a:pt x="8359" y="19771"/>
                      <a:pt x="2917" y="17678"/>
                      <a:pt x="824" y="13013"/>
                    </a:cubicBezTo>
                    <a:cubicBezTo>
                      <a:pt x="-1269" y="8348"/>
                      <a:pt x="764" y="2905"/>
                      <a:pt x="5369" y="812"/>
                    </a:cubicBezTo>
                    <a:close/>
                  </a:path>
                </a:pathLst>
              </a:custGeom>
              <a:grpFill/>
              <a:ln w="5978" cap="flat">
                <a:noFill/>
                <a:prstDash val="solid"/>
                <a:miter/>
              </a:ln>
            </p:spPr>
            <p:txBody>
              <a:bodyPr rtlCol="0" anchor="ctr"/>
              <a:lstStyle/>
              <a:p>
                <a:endParaRPr lang="en-GB"/>
              </a:p>
            </p:txBody>
          </p:sp>
          <p:sp>
            <p:nvSpPr>
              <p:cNvPr id="1444" name="Vrije vorm: vorm 1443">
                <a:extLst>
                  <a:ext uri="{FF2B5EF4-FFF2-40B4-BE49-F238E27FC236}">
                    <a16:creationId xmlns:a16="http://schemas.microsoft.com/office/drawing/2014/main" id="{CA05B747-1AA8-465C-818D-1003721315C6}"/>
                  </a:ext>
                </a:extLst>
              </p:cNvPr>
              <p:cNvSpPr/>
              <p:nvPr/>
            </p:nvSpPr>
            <p:spPr>
              <a:xfrm>
                <a:off x="3966448" y="4465690"/>
                <a:ext cx="18333" cy="18464"/>
              </a:xfrm>
              <a:custGeom>
                <a:avLst/>
                <a:gdLst>
                  <a:gd name="connsiteX0" fmla="*/ 5369 w 18333"/>
                  <a:gd name="connsiteY0" fmla="*/ 812 h 18464"/>
                  <a:gd name="connsiteX1" fmla="*/ 824 w 18333"/>
                  <a:gd name="connsiteY1" fmla="*/ 13013 h 18464"/>
                  <a:gd name="connsiteX2" fmla="*/ 12965 w 18333"/>
                  <a:gd name="connsiteY2" fmla="*/ 17678 h 18464"/>
                  <a:gd name="connsiteX3" fmla="*/ 17510 w 18333"/>
                  <a:gd name="connsiteY3" fmla="*/ 5477 h 18464"/>
                  <a:gd name="connsiteX4" fmla="*/ 5369 w 18333"/>
                  <a:gd name="connsiteY4" fmla="*/ 812 h 18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64">
                    <a:moveTo>
                      <a:pt x="5369" y="812"/>
                    </a:moveTo>
                    <a:cubicBezTo>
                      <a:pt x="764" y="2906"/>
                      <a:pt x="-1270" y="8348"/>
                      <a:pt x="824" y="13013"/>
                    </a:cubicBezTo>
                    <a:cubicBezTo>
                      <a:pt x="2917" y="17678"/>
                      <a:pt x="8360" y="19711"/>
                      <a:pt x="12965" y="17678"/>
                    </a:cubicBezTo>
                    <a:cubicBezTo>
                      <a:pt x="17570" y="15585"/>
                      <a:pt x="19603" y="10142"/>
                      <a:pt x="17510" y="5477"/>
                    </a:cubicBezTo>
                    <a:cubicBezTo>
                      <a:pt x="15417" y="812"/>
                      <a:pt x="9974" y="-1281"/>
                      <a:pt x="5369" y="812"/>
                    </a:cubicBezTo>
                    <a:close/>
                  </a:path>
                </a:pathLst>
              </a:custGeom>
              <a:grpFill/>
              <a:ln w="5978" cap="flat">
                <a:noFill/>
                <a:prstDash val="solid"/>
                <a:miter/>
              </a:ln>
            </p:spPr>
            <p:txBody>
              <a:bodyPr rtlCol="0" anchor="ctr"/>
              <a:lstStyle/>
              <a:p>
                <a:endParaRPr lang="en-GB"/>
              </a:p>
            </p:txBody>
          </p:sp>
        </p:grpSp>
        <p:grpSp>
          <p:nvGrpSpPr>
            <p:cNvPr id="1323" name="Graphic 3">
              <a:extLst>
                <a:ext uri="{FF2B5EF4-FFF2-40B4-BE49-F238E27FC236}">
                  <a16:creationId xmlns:a16="http://schemas.microsoft.com/office/drawing/2014/main" id="{2A29B141-4D16-4BF4-8DBB-B41598EC3080}"/>
                </a:ext>
              </a:extLst>
            </p:cNvPr>
            <p:cNvGrpSpPr/>
            <p:nvPr/>
          </p:nvGrpSpPr>
          <p:grpSpPr>
            <a:xfrm>
              <a:off x="3698654" y="3629896"/>
              <a:ext cx="696860" cy="65176"/>
              <a:chOff x="3698654" y="3629896"/>
              <a:chExt cx="696860" cy="65176"/>
            </a:xfrm>
            <a:grpFill/>
          </p:grpSpPr>
          <p:sp>
            <p:nvSpPr>
              <p:cNvPr id="1439" name="Vrije vorm: vorm 1438">
                <a:extLst>
                  <a:ext uri="{FF2B5EF4-FFF2-40B4-BE49-F238E27FC236}">
                    <a16:creationId xmlns:a16="http://schemas.microsoft.com/office/drawing/2014/main" id="{88A156FF-8196-4AB6-B459-3DD766E33EE1}"/>
                  </a:ext>
                </a:extLst>
              </p:cNvPr>
              <p:cNvSpPr/>
              <p:nvPr/>
            </p:nvSpPr>
            <p:spPr>
              <a:xfrm>
                <a:off x="3707290" y="3637515"/>
                <a:ext cx="679649" cy="49939"/>
              </a:xfrm>
              <a:custGeom>
                <a:avLst/>
                <a:gdLst>
                  <a:gd name="connsiteX0" fmla="*/ 679410 w 679649"/>
                  <a:gd name="connsiteY0" fmla="*/ 0 h 49939"/>
                  <a:gd name="connsiteX1" fmla="*/ 679649 w 679649"/>
                  <a:gd name="connsiteY1" fmla="*/ 3050 h 49939"/>
                  <a:gd name="connsiteX2" fmla="*/ 179 w 679649"/>
                  <a:gd name="connsiteY2" fmla="*/ 49939 h 49939"/>
                  <a:gd name="connsiteX3" fmla="*/ 0 w 679649"/>
                  <a:gd name="connsiteY3" fmla="*/ 46889 h 49939"/>
                </a:gdLst>
                <a:ahLst/>
                <a:cxnLst>
                  <a:cxn ang="0">
                    <a:pos x="connsiteX0" y="connsiteY0"/>
                  </a:cxn>
                  <a:cxn ang="0">
                    <a:pos x="connsiteX1" y="connsiteY1"/>
                  </a:cxn>
                  <a:cxn ang="0">
                    <a:pos x="connsiteX2" y="connsiteY2"/>
                  </a:cxn>
                  <a:cxn ang="0">
                    <a:pos x="connsiteX3" y="connsiteY3"/>
                  </a:cxn>
                </a:cxnLst>
                <a:rect l="l" t="t" r="r" b="b"/>
                <a:pathLst>
                  <a:path w="679649" h="49939">
                    <a:moveTo>
                      <a:pt x="679410" y="0"/>
                    </a:moveTo>
                    <a:lnTo>
                      <a:pt x="679649" y="3050"/>
                    </a:lnTo>
                    <a:lnTo>
                      <a:pt x="179" y="49939"/>
                    </a:lnTo>
                    <a:lnTo>
                      <a:pt x="0" y="46889"/>
                    </a:lnTo>
                    <a:close/>
                  </a:path>
                </a:pathLst>
              </a:custGeom>
              <a:grpFill/>
              <a:ln w="5978" cap="flat">
                <a:noFill/>
                <a:prstDash val="solid"/>
                <a:miter/>
              </a:ln>
            </p:spPr>
            <p:txBody>
              <a:bodyPr rtlCol="0" anchor="ctr"/>
              <a:lstStyle/>
              <a:p>
                <a:endParaRPr lang="en-GB"/>
              </a:p>
            </p:txBody>
          </p:sp>
          <p:sp>
            <p:nvSpPr>
              <p:cNvPr id="1440" name="Vrije vorm: vorm 1439">
                <a:extLst>
                  <a:ext uri="{FF2B5EF4-FFF2-40B4-BE49-F238E27FC236}">
                    <a16:creationId xmlns:a16="http://schemas.microsoft.com/office/drawing/2014/main" id="{B28741F1-B2A6-42D2-89BD-0EE2441FB3D9}"/>
                  </a:ext>
                </a:extLst>
              </p:cNvPr>
              <p:cNvSpPr/>
              <p:nvPr/>
            </p:nvSpPr>
            <p:spPr>
              <a:xfrm>
                <a:off x="4377173" y="3629896"/>
                <a:ext cx="18341" cy="18407"/>
              </a:xfrm>
              <a:custGeom>
                <a:avLst/>
                <a:gdLst>
                  <a:gd name="connsiteX0" fmla="*/ 8509 w 18341"/>
                  <a:gd name="connsiteY0" fmla="*/ 23 h 18407"/>
                  <a:gd name="connsiteX1" fmla="*/ 18318 w 18341"/>
                  <a:gd name="connsiteY1" fmla="*/ 8576 h 18407"/>
                  <a:gd name="connsiteX2" fmla="*/ 9825 w 18341"/>
                  <a:gd name="connsiteY2" fmla="*/ 18384 h 18407"/>
                  <a:gd name="connsiteX3" fmla="*/ 17 w 18341"/>
                  <a:gd name="connsiteY3" fmla="*/ 9832 h 18407"/>
                  <a:gd name="connsiteX4" fmla="*/ 8509 w 18341"/>
                  <a:gd name="connsiteY4" fmla="*/ 23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07">
                    <a:moveTo>
                      <a:pt x="8509" y="23"/>
                    </a:moveTo>
                    <a:cubicBezTo>
                      <a:pt x="13533" y="-336"/>
                      <a:pt x="17959" y="3492"/>
                      <a:pt x="18318" y="8576"/>
                    </a:cubicBezTo>
                    <a:cubicBezTo>
                      <a:pt x="18676" y="13659"/>
                      <a:pt x="14909" y="18025"/>
                      <a:pt x="9825" y="18384"/>
                    </a:cubicBezTo>
                    <a:cubicBezTo>
                      <a:pt x="4801" y="18743"/>
                      <a:pt x="375" y="14915"/>
                      <a:pt x="17" y="9832"/>
                    </a:cubicBezTo>
                    <a:cubicBezTo>
                      <a:pt x="-282" y="4748"/>
                      <a:pt x="3486" y="322"/>
                      <a:pt x="8509" y="23"/>
                    </a:cubicBezTo>
                    <a:close/>
                  </a:path>
                </a:pathLst>
              </a:custGeom>
              <a:grpFill/>
              <a:ln w="5978" cap="flat">
                <a:noFill/>
                <a:prstDash val="solid"/>
                <a:miter/>
              </a:ln>
            </p:spPr>
            <p:txBody>
              <a:bodyPr rtlCol="0" anchor="ctr"/>
              <a:lstStyle/>
              <a:p>
                <a:endParaRPr lang="en-GB"/>
              </a:p>
            </p:txBody>
          </p:sp>
          <p:sp>
            <p:nvSpPr>
              <p:cNvPr id="1441" name="Vrije vorm: vorm 1440">
                <a:extLst>
                  <a:ext uri="{FF2B5EF4-FFF2-40B4-BE49-F238E27FC236}">
                    <a16:creationId xmlns:a16="http://schemas.microsoft.com/office/drawing/2014/main" id="{8758B337-F34C-48EB-A1B7-B49816DF0C3B}"/>
                  </a:ext>
                </a:extLst>
              </p:cNvPr>
              <p:cNvSpPr/>
              <p:nvPr/>
            </p:nvSpPr>
            <p:spPr>
              <a:xfrm>
                <a:off x="3698654" y="3676672"/>
                <a:ext cx="18347" cy="18400"/>
              </a:xfrm>
              <a:custGeom>
                <a:avLst/>
                <a:gdLst>
                  <a:gd name="connsiteX0" fmla="*/ 8516 w 18347"/>
                  <a:gd name="connsiteY0" fmla="*/ 16 h 18400"/>
                  <a:gd name="connsiteX1" fmla="*/ 23 w 18347"/>
                  <a:gd name="connsiteY1" fmla="*/ 9825 h 18400"/>
                  <a:gd name="connsiteX2" fmla="*/ 9832 w 18347"/>
                  <a:gd name="connsiteY2" fmla="*/ 18377 h 18400"/>
                  <a:gd name="connsiteX3" fmla="*/ 18324 w 18347"/>
                  <a:gd name="connsiteY3" fmla="*/ 8569 h 18400"/>
                  <a:gd name="connsiteX4" fmla="*/ 8516 w 18347"/>
                  <a:gd name="connsiteY4" fmla="*/ 16 h 1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7" h="18400">
                    <a:moveTo>
                      <a:pt x="8516" y="16"/>
                    </a:moveTo>
                    <a:cubicBezTo>
                      <a:pt x="3492" y="375"/>
                      <a:pt x="-336" y="4741"/>
                      <a:pt x="23" y="9825"/>
                    </a:cubicBezTo>
                    <a:cubicBezTo>
                      <a:pt x="382" y="14909"/>
                      <a:pt x="4808" y="18736"/>
                      <a:pt x="9832" y="18377"/>
                    </a:cubicBezTo>
                    <a:cubicBezTo>
                      <a:pt x="14855" y="18018"/>
                      <a:pt x="18683" y="13653"/>
                      <a:pt x="18324" y="8569"/>
                    </a:cubicBezTo>
                    <a:cubicBezTo>
                      <a:pt x="17965" y="3545"/>
                      <a:pt x="13599" y="-283"/>
                      <a:pt x="8516" y="16"/>
                    </a:cubicBezTo>
                    <a:close/>
                  </a:path>
                </a:pathLst>
              </a:custGeom>
              <a:grpFill/>
              <a:ln w="5978" cap="flat">
                <a:noFill/>
                <a:prstDash val="solid"/>
                <a:miter/>
              </a:ln>
            </p:spPr>
            <p:txBody>
              <a:bodyPr rtlCol="0" anchor="ctr"/>
              <a:lstStyle/>
              <a:p>
                <a:endParaRPr lang="en-GB"/>
              </a:p>
            </p:txBody>
          </p:sp>
        </p:grpSp>
        <p:grpSp>
          <p:nvGrpSpPr>
            <p:cNvPr id="1324" name="Graphic 3">
              <a:extLst>
                <a:ext uri="{FF2B5EF4-FFF2-40B4-BE49-F238E27FC236}">
                  <a16:creationId xmlns:a16="http://schemas.microsoft.com/office/drawing/2014/main" id="{F44EC259-7399-4C4C-BC37-FEF0A217FA73}"/>
                </a:ext>
              </a:extLst>
            </p:cNvPr>
            <p:cNvGrpSpPr/>
            <p:nvPr/>
          </p:nvGrpSpPr>
          <p:grpSpPr>
            <a:xfrm>
              <a:off x="4147985" y="4319427"/>
              <a:ext cx="278689" cy="163292"/>
              <a:chOff x="4147985" y="4319427"/>
              <a:chExt cx="278689" cy="163292"/>
            </a:xfrm>
            <a:grpFill/>
          </p:grpSpPr>
          <p:sp>
            <p:nvSpPr>
              <p:cNvPr id="1436" name="Vrije vorm: vorm 1435">
                <a:extLst>
                  <a:ext uri="{FF2B5EF4-FFF2-40B4-BE49-F238E27FC236}">
                    <a16:creationId xmlns:a16="http://schemas.microsoft.com/office/drawing/2014/main" id="{79DF14A5-24EE-4345-964D-AD0321C4A68B}"/>
                  </a:ext>
                </a:extLst>
              </p:cNvPr>
              <p:cNvSpPr/>
              <p:nvPr/>
            </p:nvSpPr>
            <p:spPr>
              <a:xfrm>
                <a:off x="4156023" y="4327032"/>
                <a:ext cx="262613" cy="148082"/>
              </a:xfrm>
              <a:custGeom>
                <a:avLst/>
                <a:gdLst>
                  <a:gd name="connsiteX0" fmla="*/ 262613 w 262613"/>
                  <a:gd name="connsiteY0" fmla="*/ 2691 h 148082"/>
                  <a:gd name="connsiteX1" fmla="*/ 1435 w 262613"/>
                  <a:gd name="connsiteY1" fmla="*/ 148083 h 148082"/>
                  <a:gd name="connsiteX2" fmla="*/ 0 w 262613"/>
                  <a:gd name="connsiteY2" fmla="*/ 145391 h 148082"/>
                  <a:gd name="connsiteX3" fmla="*/ 261118 w 262613"/>
                  <a:gd name="connsiteY3" fmla="*/ 0 h 148082"/>
                </a:gdLst>
                <a:ahLst/>
                <a:cxnLst>
                  <a:cxn ang="0">
                    <a:pos x="connsiteX0" y="connsiteY0"/>
                  </a:cxn>
                  <a:cxn ang="0">
                    <a:pos x="connsiteX1" y="connsiteY1"/>
                  </a:cxn>
                  <a:cxn ang="0">
                    <a:pos x="connsiteX2" y="connsiteY2"/>
                  </a:cxn>
                  <a:cxn ang="0">
                    <a:pos x="connsiteX3" y="connsiteY3"/>
                  </a:cxn>
                </a:cxnLst>
                <a:rect l="l" t="t" r="r" b="b"/>
                <a:pathLst>
                  <a:path w="262613" h="148082">
                    <a:moveTo>
                      <a:pt x="262613" y="2691"/>
                    </a:moveTo>
                    <a:lnTo>
                      <a:pt x="1435" y="148083"/>
                    </a:lnTo>
                    <a:lnTo>
                      <a:pt x="0" y="145391"/>
                    </a:lnTo>
                    <a:lnTo>
                      <a:pt x="261118" y="0"/>
                    </a:lnTo>
                    <a:close/>
                  </a:path>
                </a:pathLst>
              </a:custGeom>
              <a:grpFill/>
              <a:ln w="5978" cap="flat">
                <a:noFill/>
                <a:prstDash val="solid"/>
                <a:miter/>
              </a:ln>
            </p:spPr>
            <p:txBody>
              <a:bodyPr rtlCol="0" anchor="ctr"/>
              <a:lstStyle/>
              <a:p>
                <a:endParaRPr lang="en-GB"/>
              </a:p>
            </p:txBody>
          </p:sp>
          <p:sp>
            <p:nvSpPr>
              <p:cNvPr id="1437" name="Vrije vorm: vorm 1436">
                <a:extLst>
                  <a:ext uri="{FF2B5EF4-FFF2-40B4-BE49-F238E27FC236}">
                    <a16:creationId xmlns:a16="http://schemas.microsoft.com/office/drawing/2014/main" id="{CB53A5C8-FC14-4201-A5CA-9D6ABEC1EE32}"/>
                  </a:ext>
                </a:extLst>
              </p:cNvPr>
              <p:cNvSpPr/>
              <p:nvPr/>
            </p:nvSpPr>
            <p:spPr>
              <a:xfrm>
                <a:off x="4147985" y="4464340"/>
                <a:ext cx="18315" cy="18379"/>
              </a:xfrm>
              <a:custGeom>
                <a:avLst/>
                <a:gdLst>
                  <a:gd name="connsiteX0" fmla="*/ 13600 w 18315"/>
                  <a:gd name="connsiteY0" fmla="*/ 17234 h 18379"/>
                  <a:gd name="connsiteX1" fmla="*/ 1160 w 18315"/>
                  <a:gd name="connsiteY1" fmla="*/ 13646 h 18379"/>
                  <a:gd name="connsiteX2" fmla="*/ 4689 w 18315"/>
                  <a:gd name="connsiteY2" fmla="*/ 1146 h 18379"/>
                  <a:gd name="connsiteX3" fmla="*/ 17129 w 18315"/>
                  <a:gd name="connsiteY3" fmla="*/ 4734 h 18379"/>
                  <a:gd name="connsiteX4" fmla="*/ 13600 w 18315"/>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79">
                    <a:moveTo>
                      <a:pt x="13600" y="17234"/>
                    </a:moveTo>
                    <a:cubicBezTo>
                      <a:pt x="9174" y="19686"/>
                      <a:pt x="3612" y="18071"/>
                      <a:pt x="1160" y="13646"/>
                    </a:cubicBezTo>
                    <a:cubicBezTo>
                      <a:pt x="-1292" y="9220"/>
                      <a:pt x="263" y="3598"/>
                      <a:pt x="4689" y="1146"/>
                    </a:cubicBezTo>
                    <a:cubicBezTo>
                      <a:pt x="9115" y="-1306"/>
                      <a:pt x="14677" y="308"/>
                      <a:pt x="17129" y="4734"/>
                    </a:cubicBezTo>
                    <a:cubicBezTo>
                      <a:pt x="19641" y="9160"/>
                      <a:pt x="18026" y="14782"/>
                      <a:pt x="13600" y="17234"/>
                    </a:cubicBezTo>
                    <a:close/>
                  </a:path>
                </a:pathLst>
              </a:custGeom>
              <a:grpFill/>
              <a:ln w="5978" cap="flat">
                <a:noFill/>
                <a:prstDash val="solid"/>
                <a:miter/>
              </a:ln>
            </p:spPr>
            <p:txBody>
              <a:bodyPr rtlCol="0" anchor="ctr"/>
              <a:lstStyle/>
              <a:p>
                <a:endParaRPr lang="en-GB"/>
              </a:p>
            </p:txBody>
          </p:sp>
          <p:sp>
            <p:nvSpPr>
              <p:cNvPr id="1438" name="Vrije vorm: vorm 1437">
                <a:extLst>
                  <a:ext uri="{FF2B5EF4-FFF2-40B4-BE49-F238E27FC236}">
                    <a16:creationId xmlns:a16="http://schemas.microsoft.com/office/drawing/2014/main" id="{F1FE1F89-B15A-4A43-8919-3DCF4395F1BB}"/>
                  </a:ext>
                </a:extLst>
              </p:cNvPr>
              <p:cNvSpPr/>
              <p:nvPr/>
            </p:nvSpPr>
            <p:spPr>
              <a:xfrm>
                <a:off x="4408386" y="4319427"/>
                <a:ext cx="18288" cy="18379"/>
              </a:xfrm>
              <a:custGeom>
                <a:avLst/>
                <a:gdLst>
                  <a:gd name="connsiteX0" fmla="*/ 13600 w 18288"/>
                  <a:gd name="connsiteY0" fmla="*/ 17234 h 18379"/>
                  <a:gd name="connsiteX1" fmla="*/ 17129 w 18288"/>
                  <a:gd name="connsiteY1" fmla="*/ 4734 h 18379"/>
                  <a:gd name="connsiteX2" fmla="*/ 4689 w 18288"/>
                  <a:gd name="connsiteY2" fmla="*/ 1146 h 18379"/>
                  <a:gd name="connsiteX3" fmla="*/ 1160 w 18288"/>
                  <a:gd name="connsiteY3" fmla="*/ 13646 h 18379"/>
                  <a:gd name="connsiteX4" fmla="*/ 13600 w 18288"/>
                  <a:gd name="connsiteY4" fmla="*/ 17234 h 18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 h="18379">
                    <a:moveTo>
                      <a:pt x="13600" y="17234"/>
                    </a:moveTo>
                    <a:cubicBezTo>
                      <a:pt x="18026" y="14782"/>
                      <a:pt x="19581" y="9160"/>
                      <a:pt x="17129" y="4734"/>
                    </a:cubicBezTo>
                    <a:cubicBezTo>
                      <a:pt x="14677" y="309"/>
                      <a:pt x="9055" y="-1306"/>
                      <a:pt x="4689" y="1146"/>
                    </a:cubicBezTo>
                    <a:cubicBezTo>
                      <a:pt x="263" y="3598"/>
                      <a:pt x="-1292" y="9220"/>
                      <a:pt x="1160" y="13646"/>
                    </a:cubicBezTo>
                    <a:cubicBezTo>
                      <a:pt x="3552" y="18071"/>
                      <a:pt x="9174" y="19686"/>
                      <a:pt x="13600" y="17234"/>
                    </a:cubicBezTo>
                    <a:close/>
                  </a:path>
                </a:pathLst>
              </a:custGeom>
              <a:grpFill/>
              <a:ln w="5978" cap="flat">
                <a:noFill/>
                <a:prstDash val="solid"/>
                <a:miter/>
              </a:ln>
            </p:spPr>
            <p:txBody>
              <a:bodyPr rtlCol="0" anchor="ctr"/>
              <a:lstStyle/>
              <a:p>
                <a:endParaRPr lang="en-GB"/>
              </a:p>
            </p:txBody>
          </p:sp>
        </p:grpSp>
        <p:grpSp>
          <p:nvGrpSpPr>
            <p:cNvPr id="1325" name="Graphic 3">
              <a:extLst>
                <a:ext uri="{FF2B5EF4-FFF2-40B4-BE49-F238E27FC236}">
                  <a16:creationId xmlns:a16="http://schemas.microsoft.com/office/drawing/2014/main" id="{47442E73-B5BE-4A14-878F-DB0A389A28AA}"/>
                </a:ext>
              </a:extLst>
            </p:cNvPr>
            <p:cNvGrpSpPr/>
            <p:nvPr/>
          </p:nvGrpSpPr>
          <p:grpSpPr>
            <a:xfrm>
              <a:off x="4092189" y="3923856"/>
              <a:ext cx="62658" cy="30473"/>
              <a:chOff x="4092189" y="3923856"/>
              <a:chExt cx="62658" cy="30473"/>
            </a:xfrm>
            <a:grpFill/>
          </p:grpSpPr>
          <p:sp>
            <p:nvSpPr>
              <p:cNvPr id="1433" name="Vrije vorm: vorm 1432">
                <a:extLst>
                  <a:ext uri="{FF2B5EF4-FFF2-40B4-BE49-F238E27FC236}">
                    <a16:creationId xmlns:a16="http://schemas.microsoft.com/office/drawing/2014/main" id="{3904DC68-C3C9-4EA0-988F-EBA953D8F108}"/>
                  </a:ext>
                </a:extLst>
              </p:cNvPr>
              <p:cNvSpPr/>
              <p:nvPr/>
            </p:nvSpPr>
            <p:spPr>
              <a:xfrm>
                <a:off x="4100499" y="3931314"/>
                <a:ext cx="45993" cy="15203"/>
              </a:xfrm>
              <a:custGeom>
                <a:avLst/>
                <a:gdLst>
                  <a:gd name="connsiteX0" fmla="*/ 0 w 45993"/>
                  <a:gd name="connsiteY0" fmla="*/ 12260 h 15203"/>
                  <a:gd name="connsiteX1" fmla="*/ 45195 w 45993"/>
                  <a:gd name="connsiteY1" fmla="*/ 0 h 15203"/>
                  <a:gd name="connsiteX2" fmla="*/ 45993 w 45993"/>
                  <a:gd name="connsiteY2" fmla="*/ 2944 h 15203"/>
                  <a:gd name="connsiteX3" fmla="*/ 798 w 45993"/>
                  <a:gd name="connsiteY3" fmla="*/ 15204 h 15203"/>
                </a:gdLst>
                <a:ahLst/>
                <a:cxnLst>
                  <a:cxn ang="0">
                    <a:pos x="connsiteX0" y="connsiteY0"/>
                  </a:cxn>
                  <a:cxn ang="0">
                    <a:pos x="connsiteX1" y="connsiteY1"/>
                  </a:cxn>
                  <a:cxn ang="0">
                    <a:pos x="connsiteX2" y="connsiteY2"/>
                  </a:cxn>
                  <a:cxn ang="0">
                    <a:pos x="connsiteX3" y="connsiteY3"/>
                  </a:cxn>
                </a:cxnLst>
                <a:rect l="l" t="t" r="r" b="b"/>
                <a:pathLst>
                  <a:path w="45993" h="15203">
                    <a:moveTo>
                      <a:pt x="0" y="12260"/>
                    </a:moveTo>
                    <a:lnTo>
                      <a:pt x="45195" y="0"/>
                    </a:lnTo>
                    <a:lnTo>
                      <a:pt x="45993" y="2944"/>
                    </a:lnTo>
                    <a:lnTo>
                      <a:pt x="798" y="15204"/>
                    </a:lnTo>
                    <a:close/>
                  </a:path>
                </a:pathLst>
              </a:custGeom>
              <a:grpFill/>
              <a:ln w="5978" cap="flat">
                <a:noFill/>
                <a:prstDash val="solid"/>
                <a:miter/>
              </a:ln>
            </p:spPr>
            <p:txBody>
              <a:bodyPr rtlCol="0" anchor="ctr"/>
              <a:lstStyle/>
              <a:p>
                <a:endParaRPr lang="en-GB"/>
              </a:p>
            </p:txBody>
          </p:sp>
          <p:sp>
            <p:nvSpPr>
              <p:cNvPr id="1434" name="Vrije vorm: vorm 1433">
                <a:extLst>
                  <a:ext uri="{FF2B5EF4-FFF2-40B4-BE49-F238E27FC236}">
                    <a16:creationId xmlns:a16="http://schemas.microsoft.com/office/drawing/2014/main" id="{3125C934-0C72-433D-8FB1-9A1873792BF9}"/>
                  </a:ext>
                </a:extLst>
              </p:cNvPr>
              <p:cNvSpPr/>
              <p:nvPr/>
            </p:nvSpPr>
            <p:spPr>
              <a:xfrm>
                <a:off x="4092189" y="3935877"/>
                <a:ext cx="18340" cy="18452"/>
              </a:xfrm>
              <a:custGeom>
                <a:avLst/>
                <a:gdLst>
                  <a:gd name="connsiteX0" fmla="*/ 11563 w 18340"/>
                  <a:gd name="connsiteY0" fmla="*/ 18137 h 18452"/>
                  <a:gd name="connsiteX1" fmla="*/ 319 w 18340"/>
                  <a:gd name="connsiteY1" fmla="*/ 11618 h 18452"/>
                  <a:gd name="connsiteX2" fmla="*/ 6778 w 18340"/>
                  <a:gd name="connsiteY2" fmla="*/ 315 h 18452"/>
                  <a:gd name="connsiteX3" fmla="*/ 18022 w 18340"/>
                  <a:gd name="connsiteY3" fmla="*/ 6834 h 18452"/>
                  <a:gd name="connsiteX4" fmla="*/ 11563 w 18340"/>
                  <a:gd name="connsiteY4" fmla="*/ 181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 h="18452">
                    <a:moveTo>
                      <a:pt x="11563" y="18137"/>
                    </a:moveTo>
                    <a:cubicBezTo>
                      <a:pt x="6659" y="19453"/>
                      <a:pt x="1635" y="16523"/>
                      <a:pt x="319" y="11618"/>
                    </a:cubicBezTo>
                    <a:cubicBezTo>
                      <a:pt x="-997" y="6714"/>
                      <a:pt x="1874" y="1630"/>
                      <a:pt x="6778" y="315"/>
                    </a:cubicBezTo>
                    <a:cubicBezTo>
                      <a:pt x="11682" y="-1001"/>
                      <a:pt x="16706" y="1930"/>
                      <a:pt x="18022" y="6834"/>
                    </a:cubicBezTo>
                    <a:cubicBezTo>
                      <a:pt x="19338" y="11738"/>
                      <a:pt x="16467" y="16822"/>
                      <a:pt x="11563" y="18137"/>
                    </a:cubicBezTo>
                    <a:close/>
                  </a:path>
                </a:pathLst>
              </a:custGeom>
              <a:grpFill/>
              <a:ln w="5978" cap="flat">
                <a:noFill/>
                <a:prstDash val="solid"/>
                <a:miter/>
              </a:ln>
            </p:spPr>
            <p:txBody>
              <a:bodyPr rtlCol="0" anchor="ctr"/>
              <a:lstStyle/>
              <a:p>
                <a:endParaRPr lang="en-GB"/>
              </a:p>
            </p:txBody>
          </p:sp>
          <p:sp>
            <p:nvSpPr>
              <p:cNvPr id="1435" name="Vrije vorm: vorm 1434">
                <a:extLst>
                  <a:ext uri="{FF2B5EF4-FFF2-40B4-BE49-F238E27FC236}">
                    <a16:creationId xmlns:a16="http://schemas.microsoft.com/office/drawing/2014/main" id="{E6A06F5D-52CF-40BA-AE83-31804B036319}"/>
                  </a:ext>
                </a:extLst>
              </p:cNvPr>
              <p:cNvSpPr/>
              <p:nvPr/>
            </p:nvSpPr>
            <p:spPr>
              <a:xfrm>
                <a:off x="4136506" y="3923856"/>
                <a:ext cx="18341" cy="18456"/>
              </a:xfrm>
              <a:custGeom>
                <a:avLst/>
                <a:gdLst>
                  <a:gd name="connsiteX0" fmla="*/ 11563 w 18341"/>
                  <a:gd name="connsiteY0" fmla="*/ 18137 h 18456"/>
                  <a:gd name="connsiteX1" fmla="*/ 18022 w 18341"/>
                  <a:gd name="connsiteY1" fmla="*/ 6834 h 18456"/>
                  <a:gd name="connsiteX2" fmla="*/ 6778 w 18341"/>
                  <a:gd name="connsiteY2" fmla="*/ 315 h 18456"/>
                  <a:gd name="connsiteX3" fmla="*/ 319 w 18341"/>
                  <a:gd name="connsiteY3" fmla="*/ 11618 h 18456"/>
                  <a:gd name="connsiteX4" fmla="*/ 11563 w 18341"/>
                  <a:gd name="connsiteY4" fmla="*/ 18137 h 1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56">
                    <a:moveTo>
                      <a:pt x="11563" y="18137"/>
                    </a:moveTo>
                    <a:cubicBezTo>
                      <a:pt x="16467" y="16822"/>
                      <a:pt x="19338" y="11738"/>
                      <a:pt x="18022" y="6834"/>
                    </a:cubicBezTo>
                    <a:cubicBezTo>
                      <a:pt x="16706" y="1930"/>
                      <a:pt x="11623" y="-1001"/>
                      <a:pt x="6778" y="315"/>
                    </a:cubicBezTo>
                    <a:cubicBezTo>
                      <a:pt x="1874" y="1631"/>
                      <a:pt x="-997" y="6714"/>
                      <a:pt x="319" y="11618"/>
                    </a:cubicBezTo>
                    <a:cubicBezTo>
                      <a:pt x="1694" y="16582"/>
                      <a:pt x="6718" y="19453"/>
                      <a:pt x="11563" y="18137"/>
                    </a:cubicBezTo>
                    <a:close/>
                  </a:path>
                </a:pathLst>
              </a:custGeom>
              <a:grpFill/>
              <a:ln w="5978" cap="flat">
                <a:noFill/>
                <a:prstDash val="solid"/>
                <a:miter/>
              </a:ln>
            </p:spPr>
            <p:txBody>
              <a:bodyPr rtlCol="0" anchor="ctr"/>
              <a:lstStyle/>
              <a:p>
                <a:endParaRPr lang="en-GB"/>
              </a:p>
            </p:txBody>
          </p:sp>
        </p:grpSp>
        <p:grpSp>
          <p:nvGrpSpPr>
            <p:cNvPr id="1326" name="Graphic 3">
              <a:extLst>
                <a:ext uri="{FF2B5EF4-FFF2-40B4-BE49-F238E27FC236}">
                  <a16:creationId xmlns:a16="http://schemas.microsoft.com/office/drawing/2014/main" id="{E068733F-1236-4560-9ACB-307F2F86ACA2}"/>
                </a:ext>
              </a:extLst>
            </p:cNvPr>
            <p:cNvGrpSpPr/>
            <p:nvPr/>
          </p:nvGrpSpPr>
          <p:grpSpPr>
            <a:xfrm>
              <a:off x="3931387" y="3410726"/>
              <a:ext cx="25658" cy="18420"/>
              <a:chOff x="3931387" y="3410726"/>
              <a:chExt cx="25658" cy="18420"/>
            </a:xfrm>
            <a:grpFill/>
          </p:grpSpPr>
          <p:sp>
            <p:nvSpPr>
              <p:cNvPr id="1431" name="Vrije vorm: vorm 1430">
                <a:extLst>
                  <a:ext uri="{FF2B5EF4-FFF2-40B4-BE49-F238E27FC236}">
                    <a16:creationId xmlns:a16="http://schemas.microsoft.com/office/drawing/2014/main" id="{3416D82D-F919-46A3-B904-B7AE70DA5519}"/>
                  </a:ext>
                </a:extLst>
              </p:cNvPr>
              <p:cNvSpPr/>
              <p:nvPr/>
            </p:nvSpPr>
            <p:spPr>
              <a:xfrm>
                <a:off x="3938743" y="3410726"/>
                <a:ext cx="18301" cy="18420"/>
              </a:xfrm>
              <a:custGeom>
                <a:avLst/>
                <a:gdLst>
                  <a:gd name="connsiteX0" fmla="*/ 9210 w 18301"/>
                  <a:gd name="connsiteY0" fmla="*/ 18421 h 18420"/>
                  <a:gd name="connsiteX1" fmla="*/ 0 w 18301"/>
                  <a:gd name="connsiteY1" fmla="*/ 9210 h 18420"/>
                  <a:gd name="connsiteX2" fmla="*/ 9091 w 18301"/>
                  <a:gd name="connsiteY2" fmla="*/ 0 h 18420"/>
                  <a:gd name="connsiteX3" fmla="*/ 18301 w 18301"/>
                  <a:gd name="connsiteY3" fmla="*/ 9210 h 18420"/>
                  <a:gd name="connsiteX4" fmla="*/ 9210 w 18301"/>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20">
                    <a:moveTo>
                      <a:pt x="9210" y="18421"/>
                    </a:moveTo>
                    <a:cubicBezTo>
                      <a:pt x="4127" y="18421"/>
                      <a:pt x="0" y="14294"/>
                      <a:pt x="0" y="9210"/>
                    </a:cubicBezTo>
                    <a:cubicBezTo>
                      <a:pt x="0" y="4127"/>
                      <a:pt x="4067" y="0"/>
                      <a:pt x="9091" y="0"/>
                    </a:cubicBezTo>
                    <a:cubicBezTo>
                      <a:pt x="14174" y="0"/>
                      <a:pt x="18301" y="4127"/>
                      <a:pt x="18301" y="9210"/>
                    </a:cubicBezTo>
                    <a:cubicBezTo>
                      <a:pt x="18361" y="14294"/>
                      <a:pt x="14294" y="18421"/>
                      <a:pt x="9210" y="18421"/>
                    </a:cubicBezTo>
                    <a:close/>
                  </a:path>
                </a:pathLst>
              </a:custGeom>
              <a:grpFill/>
              <a:ln w="5978" cap="flat">
                <a:noFill/>
                <a:prstDash val="solid"/>
                <a:miter/>
              </a:ln>
            </p:spPr>
            <p:txBody>
              <a:bodyPr rtlCol="0" anchor="ctr"/>
              <a:lstStyle/>
              <a:p>
                <a:endParaRPr lang="en-GB"/>
              </a:p>
            </p:txBody>
          </p:sp>
          <p:sp>
            <p:nvSpPr>
              <p:cNvPr id="1432" name="Vrije vorm: vorm 1431">
                <a:extLst>
                  <a:ext uri="{FF2B5EF4-FFF2-40B4-BE49-F238E27FC236}">
                    <a16:creationId xmlns:a16="http://schemas.microsoft.com/office/drawing/2014/main" id="{6C4C577E-1766-4335-8D00-5FECBFFBF314}"/>
                  </a:ext>
                </a:extLst>
              </p:cNvPr>
              <p:cNvSpPr/>
              <p:nvPr/>
            </p:nvSpPr>
            <p:spPr>
              <a:xfrm>
                <a:off x="3931387" y="3410726"/>
                <a:ext cx="18302" cy="18420"/>
              </a:xfrm>
              <a:custGeom>
                <a:avLst/>
                <a:gdLst>
                  <a:gd name="connsiteX0" fmla="*/ 9211 w 18302"/>
                  <a:gd name="connsiteY0" fmla="*/ 18421 h 18420"/>
                  <a:gd name="connsiteX1" fmla="*/ 18302 w 18302"/>
                  <a:gd name="connsiteY1" fmla="*/ 9210 h 18420"/>
                  <a:gd name="connsiteX2" fmla="*/ 9091 w 18302"/>
                  <a:gd name="connsiteY2" fmla="*/ 0 h 18420"/>
                  <a:gd name="connsiteX3" fmla="*/ 1 w 18302"/>
                  <a:gd name="connsiteY3" fmla="*/ 9210 h 18420"/>
                  <a:gd name="connsiteX4" fmla="*/ 9211 w 18302"/>
                  <a:gd name="connsiteY4" fmla="*/ 1842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2" h="18420">
                    <a:moveTo>
                      <a:pt x="9211" y="18421"/>
                    </a:moveTo>
                    <a:cubicBezTo>
                      <a:pt x="14295" y="18421"/>
                      <a:pt x="18362" y="14294"/>
                      <a:pt x="18302" y="9210"/>
                    </a:cubicBezTo>
                    <a:cubicBezTo>
                      <a:pt x="18302" y="4127"/>
                      <a:pt x="14175" y="0"/>
                      <a:pt x="9091" y="0"/>
                    </a:cubicBezTo>
                    <a:cubicBezTo>
                      <a:pt x="4008" y="0"/>
                      <a:pt x="-59" y="4127"/>
                      <a:pt x="1" y="9210"/>
                    </a:cubicBezTo>
                    <a:cubicBezTo>
                      <a:pt x="1" y="14294"/>
                      <a:pt x="4127" y="18421"/>
                      <a:pt x="9211" y="18421"/>
                    </a:cubicBezTo>
                    <a:close/>
                  </a:path>
                </a:pathLst>
              </a:custGeom>
              <a:grpFill/>
              <a:ln w="5978" cap="flat">
                <a:noFill/>
                <a:prstDash val="solid"/>
                <a:miter/>
              </a:ln>
            </p:spPr>
            <p:txBody>
              <a:bodyPr rtlCol="0" anchor="ctr"/>
              <a:lstStyle/>
              <a:p>
                <a:endParaRPr lang="en-GB"/>
              </a:p>
            </p:txBody>
          </p:sp>
        </p:grpSp>
        <p:grpSp>
          <p:nvGrpSpPr>
            <p:cNvPr id="1327" name="Graphic 3">
              <a:extLst>
                <a:ext uri="{FF2B5EF4-FFF2-40B4-BE49-F238E27FC236}">
                  <a16:creationId xmlns:a16="http://schemas.microsoft.com/office/drawing/2014/main" id="{BE6D8FAE-64D5-4732-B8EC-70A426B7F558}"/>
                </a:ext>
              </a:extLst>
            </p:cNvPr>
            <p:cNvGrpSpPr/>
            <p:nvPr/>
          </p:nvGrpSpPr>
          <p:grpSpPr>
            <a:xfrm>
              <a:off x="4205042" y="4525888"/>
              <a:ext cx="294596" cy="215866"/>
              <a:chOff x="4205042" y="4525888"/>
              <a:chExt cx="294596" cy="215866"/>
            </a:xfrm>
            <a:grpFill/>
          </p:grpSpPr>
          <p:sp>
            <p:nvSpPr>
              <p:cNvPr id="1428" name="Vrije vorm: vorm 1427">
                <a:extLst>
                  <a:ext uri="{FF2B5EF4-FFF2-40B4-BE49-F238E27FC236}">
                    <a16:creationId xmlns:a16="http://schemas.microsoft.com/office/drawing/2014/main" id="{055867D4-21CA-41B9-927B-B81D45A7D433}"/>
                  </a:ext>
                </a:extLst>
              </p:cNvPr>
              <p:cNvSpPr/>
              <p:nvPr/>
            </p:nvSpPr>
            <p:spPr>
              <a:xfrm>
                <a:off x="4212959" y="4533606"/>
                <a:ext cx="278761" cy="200473"/>
              </a:xfrm>
              <a:custGeom>
                <a:avLst/>
                <a:gdLst>
                  <a:gd name="connsiteX0" fmla="*/ 278762 w 278761"/>
                  <a:gd name="connsiteY0" fmla="*/ 2512 h 200473"/>
                  <a:gd name="connsiteX1" fmla="*/ 1735 w 278761"/>
                  <a:gd name="connsiteY1" fmla="*/ 200474 h 200473"/>
                  <a:gd name="connsiteX2" fmla="*/ 0 w 278761"/>
                  <a:gd name="connsiteY2" fmla="*/ 197962 h 200473"/>
                  <a:gd name="connsiteX3" fmla="*/ 276968 w 278761"/>
                  <a:gd name="connsiteY3" fmla="*/ 0 h 200473"/>
                </a:gdLst>
                <a:ahLst/>
                <a:cxnLst>
                  <a:cxn ang="0">
                    <a:pos x="connsiteX0" y="connsiteY0"/>
                  </a:cxn>
                  <a:cxn ang="0">
                    <a:pos x="connsiteX1" y="connsiteY1"/>
                  </a:cxn>
                  <a:cxn ang="0">
                    <a:pos x="connsiteX2" y="connsiteY2"/>
                  </a:cxn>
                  <a:cxn ang="0">
                    <a:pos x="connsiteX3" y="connsiteY3"/>
                  </a:cxn>
                </a:cxnLst>
                <a:rect l="l" t="t" r="r" b="b"/>
                <a:pathLst>
                  <a:path w="278761" h="200473">
                    <a:moveTo>
                      <a:pt x="278762" y="2512"/>
                    </a:moveTo>
                    <a:lnTo>
                      <a:pt x="1735" y="200474"/>
                    </a:lnTo>
                    <a:lnTo>
                      <a:pt x="0" y="197962"/>
                    </a:lnTo>
                    <a:lnTo>
                      <a:pt x="276968" y="0"/>
                    </a:lnTo>
                    <a:close/>
                  </a:path>
                </a:pathLst>
              </a:custGeom>
              <a:grpFill/>
              <a:ln w="5978" cap="flat">
                <a:noFill/>
                <a:prstDash val="solid"/>
                <a:miter/>
              </a:ln>
            </p:spPr>
            <p:txBody>
              <a:bodyPr rtlCol="0" anchor="ctr"/>
              <a:lstStyle/>
              <a:p>
                <a:endParaRPr lang="en-GB"/>
              </a:p>
            </p:txBody>
          </p:sp>
          <p:sp>
            <p:nvSpPr>
              <p:cNvPr id="1429" name="Vrije vorm: vorm 1428">
                <a:extLst>
                  <a:ext uri="{FF2B5EF4-FFF2-40B4-BE49-F238E27FC236}">
                    <a16:creationId xmlns:a16="http://schemas.microsoft.com/office/drawing/2014/main" id="{DCF0931C-AA03-4471-AC96-2C7A88978FF7}"/>
                  </a:ext>
                </a:extLst>
              </p:cNvPr>
              <p:cNvSpPr/>
              <p:nvPr/>
            </p:nvSpPr>
            <p:spPr>
              <a:xfrm>
                <a:off x="4205042" y="4723296"/>
                <a:ext cx="18320" cy="18459"/>
              </a:xfrm>
              <a:custGeom>
                <a:avLst/>
                <a:gdLst>
                  <a:gd name="connsiteX0" fmla="*/ 14496 w 18320"/>
                  <a:gd name="connsiteY0" fmla="*/ 16765 h 18459"/>
                  <a:gd name="connsiteX1" fmla="*/ 1697 w 18320"/>
                  <a:gd name="connsiteY1" fmla="*/ 14552 h 18459"/>
                  <a:gd name="connsiteX2" fmla="*/ 3850 w 18320"/>
                  <a:gd name="connsiteY2" fmla="*/ 1694 h 18459"/>
                  <a:gd name="connsiteX3" fmla="*/ 16649 w 18320"/>
                  <a:gd name="connsiteY3" fmla="*/ 3907 h 18459"/>
                  <a:gd name="connsiteX4" fmla="*/ 14496 w 18320"/>
                  <a:gd name="connsiteY4" fmla="*/ 16765 h 1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59">
                    <a:moveTo>
                      <a:pt x="14496" y="16765"/>
                    </a:moveTo>
                    <a:cubicBezTo>
                      <a:pt x="10370" y="19696"/>
                      <a:pt x="4628" y="18739"/>
                      <a:pt x="1697" y="14552"/>
                    </a:cubicBezTo>
                    <a:cubicBezTo>
                      <a:pt x="-1233" y="10426"/>
                      <a:pt x="-276" y="4624"/>
                      <a:pt x="3850" y="1694"/>
                    </a:cubicBezTo>
                    <a:cubicBezTo>
                      <a:pt x="7977" y="-1237"/>
                      <a:pt x="13719" y="-280"/>
                      <a:pt x="16649" y="3907"/>
                    </a:cubicBezTo>
                    <a:cubicBezTo>
                      <a:pt x="19520" y="8093"/>
                      <a:pt x="18623" y="13835"/>
                      <a:pt x="14496" y="16765"/>
                    </a:cubicBezTo>
                    <a:close/>
                  </a:path>
                </a:pathLst>
              </a:custGeom>
              <a:grpFill/>
              <a:ln w="5978" cap="flat">
                <a:noFill/>
                <a:prstDash val="solid"/>
                <a:miter/>
              </a:ln>
            </p:spPr>
            <p:txBody>
              <a:bodyPr rtlCol="0" anchor="ctr"/>
              <a:lstStyle/>
              <a:p>
                <a:endParaRPr lang="en-GB"/>
              </a:p>
            </p:txBody>
          </p:sp>
          <p:sp>
            <p:nvSpPr>
              <p:cNvPr id="1430" name="Vrije vorm: vorm 1429">
                <a:extLst>
                  <a:ext uri="{FF2B5EF4-FFF2-40B4-BE49-F238E27FC236}">
                    <a16:creationId xmlns:a16="http://schemas.microsoft.com/office/drawing/2014/main" id="{CBC9F85D-09B0-40D4-B798-AF12D0D9B1F5}"/>
                  </a:ext>
                </a:extLst>
              </p:cNvPr>
              <p:cNvSpPr/>
              <p:nvPr/>
            </p:nvSpPr>
            <p:spPr>
              <a:xfrm>
                <a:off x="4481292" y="4525888"/>
                <a:ext cx="18346" cy="18442"/>
              </a:xfrm>
              <a:custGeom>
                <a:avLst/>
                <a:gdLst>
                  <a:gd name="connsiteX0" fmla="*/ 14496 w 18346"/>
                  <a:gd name="connsiteY0" fmla="*/ 16749 h 18442"/>
                  <a:gd name="connsiteX1" fmla="*/ 16649 w 18346"/>
                  <a:gd name="connsiteY1" fmla="*/ 3890 h 18442"/>
                  <a:gd name="connsiteX2" fmla="*/ 3850 w 18346"/>
                  <a:gd name="connsiteY2" fmla="*/ 1677 h 18442"/>
                  <a:gd name="connsiteX3" fmla="*/ 1697 w 18346"/>
                  <a:gd name="connsiteY3" fmla="*/ 14536 h 18442"/>
                  <a:gd name="connsiteX4" fmla="*/ 14496 w 18346"/>
                  <a:gd name="connsiteY4" fmla="*/ 16749 h 1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42">
                    <a:moveTo>
                      <a:pt x="14496" y="16749"/>
                    </a:moveTo>
                    <a:cubicBezTo>
                      <a:pt x="18623" y="13818"/>
                      <a:pt x="19580" y="8077"/>
                      <a:pt x="16649" y="3890"/>
                    </a:cubicBezTo>
                    <a:cubicBezTo>
                      <a:pt x="13719" y="-237"/>
                      <a:pt x="7977" y="-1253"/>
                      <a:pt x="3850" y="1677"/>
                    </a:cubicBezTo>
                    <a:cubicBezTo>
                      <a:pt x="-276" y="4608"/>
                      <a:pt x="-1233" y="10349"/>
                      <a:pt x="1697" y="14536"/>
                    </a:cubicBezTo>
                    <a:cubicBezTo>
                      <a:pt x="4688" y="18722"/>
                      <a:pt x="10370" y="19679"/>
                      <a:pt x="14496" y="16749"/>
                    </a:cubicBezTo>
                    <a:close/>
                  </a:path>
                </a:pathLst>
              </a:custGeom>
              <a:grpFill/>
              <a:ln w="5978" cap="flat">
                <a:noFill/>
                <a:prstDash val="solid"/>
                <a:miter/>
              </a:ln>
            </p:spPr>
            <p:txBody>
              <a:bodyPr rtlCol="0" anchor="ctr"/>
              <a:lstStyle/>
              <a:p>
                <a:endParaRPr lang="en-GB"/>
              </a:p>
            </p:txBody>
          </p:sp>
        </p:grpSp>
        <p:grpSp>
          <p:nvGrpSpPr>
            <p:cNvPr id="1328" name="Graphic 3">
              <a:extLst>
                <a:ext uri="{FF2B5EF4-FFF2-40B4-BE49-F238E27FC236}">
                  <a16:creationId xmlns:a16="http://schemas.microsoft.com/office/drawing/2014/main" id="{73F89389-D074-4896-8658-ACFA1630BD48}"/>
                </a:ext>
              </a:extLst>
            </p:cNvPr>
            <p:cNvGrpSpPr/>
            <p:nvPr/>
          </p:nvGrpSpPr>
          <p:grpSpPr>
            <a:xfrm>
              <a:off x="3907742" y="4139755"/>
              <a:ext cx="646268" cy="275034"/>
              <a:chOff x="3907742" y="4139755"/>
              <a:chExt cx="646268" cy="275034"/>
            </a:xfrm>
            <a:grpFill/>
          </p:grpSpPr>
          <p:sp>
            <p:nvSpPr>
              <p:cNvPr id="1425" name="Vrije vorm: vorm 1424">
                <a:extLst>
                  <a:ext uri="{FF2B5EF4-FFF2-40B4-BE49-F238E27FC236}">
                    <a16:creationId xmlns:a16="http://schemas.microsoft.com/office/drawing/2014/main" id="{CCEEF305-AB2A-415C-810D-1CC99536DA51}"/>
                  </a:ext>
                </a:extLst>
              </p:cNvPr>
              <p:cNvSpPr/>
              <p:nvPr/>
            </p:nvSpPr>
            <p:spPr>
              <a:xfrm>
                <a:off x="3915738" y="4147508"/>
                <a:ext cx="629917" cy="259708"/>
              </a:xfrm>
              <a:custGeom>
                <a:avLst/>
                <a:gdLst>
                  <a:gd name="connsiteX0" fmla="*/ 0 w 629917"/>
                  <a:gd name="connsiteY0" fmla="*/ 256885 h 259708"/>
                  <a:gd name="connsiteX1" fmla="*/ 628764 w 629917"/>
                  <a:gd name="connsiteY1" fmla="*/ 0 h 259708"/>
                  <a:gd name="connsiteX2" fmla="*/ 629917 w 629917"/>
                  <a:gd name="connsiteY2" fmla="*/ 2824 h 259708"/>
                  <a:gd name="connsiteX3" fmla="*/ 1154 w 629917"/>
                  <a:gd name="connsiteY3" fmla="*/ 259709 h 259708"/>
                </a:gdLst>
                <a:ahLst/>
                <a:cxnLst>
                  <a:cxn ang="0">
                    <a:pos x="connsiteX0" y="connsiteY0"/>
                  </a:cxn>
                  <a:cxn ang="0">
                    <a:pos x="connsiteX1" y="connsiteY1"/>
                  </a:cxn>
                  <a:cxn ang="0">
                    <a:pos x="connsiteX2" y="connsiteY2"/>
                  </a:cxn>
                  <a:cxn ang="0">
                    <a:pos x="connsiteX3" y="connsiteY3"/>
                  </a:cxn>
                </a:cxnLst>
                <a:rect l="l" t="t" r="r" b="b"/>
                <a:pathLst>
                  <a:path w="629917" h="259708">
                    <a:moveTo>
                      <a:pt x="0" y="256885"/>
                    </a:moveTo>
                    <a:lnTo>
                      <a:pt x="628764" y="0"/>
                    </a:lnTo>
                    <a:lnTo>
                      <a:pt x="629917" y="2824"/>
                    </a:lnTo>
                    <a:lnTo>
                      <a:pt x="1154" y="259709"/>
                    </a:lnTo>
                    <a:close/>
                  </a:path>
                </a:pathLst>
              </a:custGeom>
              <a:grpFill/>
              <a:ln w="5978" cap="flat">
                <a:noFill/>
                <a:prstDash val="solid"/>
                <a:miter/>
              </a:ln>
            </p:spPr>
            <p:txBody>
              <a:bodyPr rtlCol="0" anchor="ctr"/>
              <a:lstStyle/>
              <a:p>
                <a:endParaRPr lang="en-GB"/>
              </a:p>
            </p:txBody>
          </p:sp>
          <p:sp>
            <p:nvSpPr>
              <p:cNvPr id="1426" name="Vrije vorm: vorm 1425">
                <a:extLst>
                  <a:ext uri="{FF2B5EF4-FFF2-40B4-BE49-F238E27FC236}">
                    <a16:creationId xmlns:a16="http://schemas.microsoft.com/office/drawing/2014/main" id="{054BBF11-BAA3-453A-A28C-8545EB05B7C6}"/>
                  </a:ext>
                </a:extLst>
              </p:cNvPr>
              <p:cNvSpPr/>
              <p:nvPr/>
            </p:nvSpPr>
            <p:spPr>
              <a:xfrm>
                <a:off x="4535683" y="4139755"/>
                <a:ext cx="18327" cy="18461"/>
              </a:xfrm>
              <a:custGeom>
                <a:avLst/>
                <a:gdLst>
                  <a:gd name="connsiteX0" fmla="*/ 5678 w 18327"/>
                  <a:gd name="connsiteY0" fmla="*/ 679 h 18461"/>
                  <a:gd name="connsiteX1" fmla="*/ 17640 w 18327"/>
                  <a:gd name="connsiteY1" fmla="*/ 5762 h 18461"/>
                  <a:gd name="connsiteX2" fmla="*/ 12616 w 18327"/>
                  <a:gd name="connsiteY2" fmla="*/ 17783 h 18461"/>
                  <a:gd name="connsiteX3" fmla="*/ 654 w 18327"/>
                  <a:gd name="connsiteY3" fmla="*/ 12699 h 18461"/>
                  <a:gd name="connsiteX4" fmla="*/ 5678 w 18327"/>
                  <a:gd name="connsiteY4" fmla="*/ 679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61">
                    <a:moveTo>
                      <a:pt x="5678" y="679"/>
                    </a:moveTo>
                    <a:cubicBezTo>
                      <a:pt x="10343" y="-1235"/>
                      <a:pt x="15726" y="1037"/>
                      <a:pt x="17640" y="5762"/>
                    </a:cubicBezTo>
                    <a:cubicBezTo>
                      <a:pt x="19554" y="10487"/>
                      <a:pt x="17341" y="15869"/>
                      <a:pt x="12616" y="17783"/>
                    </a:cubicBezTo>
                    <a:cubicBezTo>
                      <a:pt x="7951" y="19697"/>
                      <a:pt x="2568" y="17424"/>
                      <a:pt x="654" y="12699"/>
                    </a:cubicBezTo>
                    <a:cubicBezTo>
                      <a:pt x="-1200" y="7975"/>
                      <a:pt x="1013" y="2592"/>
                      <a:pt x="5678" y="679"/>
                    </a:cubicBezTo>
                    <a:close/>
                  </a:path>
                </a:pathLst>
              </a:custGeom>
              <a:grpFill/>
              <a:ln w="5978" cap="flat">
                <a:noFill/>
                <a:prstDash val="solid"/>
                <a:miter/>
              </a:ln>
            </p:spPr>
            <p:txBody>
              <a:bodyPr rtlCol="0" anchor="ctr"/>
              <a:lstStyle/>
              <a:p>
                <a:endParaRPr lang="en-GB"/>
              </a:p>
            </p:txBody>
          </p:sp>
          <p:sp>
            <p:nvSpPr>
              <p:cNvPr id="1427" name="Vrije vorm: vorm 1426">
                <a:extLst>
                  <a:ext uri="{FF2B5EF4-FFF2-40B4-BE49-F238E27FC236}">
                    <a16:creationId xmlns:a16="http://schemas.microsoft.com/office/drawing/2014/main" id="{69822D34-0FBD-4C36-B246-AEFAFFBE78A9}"/>
                  </a:ext>
                </a:extLst>
              </p:cNvPr>
              <p:cNvSpPr/>
              <p:nvPr/>
            </p:nvSpPr>
            <p:spPr>
              <a:xfrm>
                <a:off x="3907742" y="4396328"/>
                <a:ext cx="18344" cy="18461"/>
              </a:xfrm>
              <a:custGeom>
                <a:avLst/>
                <a:gdLst>
                  <a:gd name="connsiteX0" fmla="*/ 5703 w 18344"/>
                  <a:gd name="connsiteY0" fmla="*/ 679 h 18461"/>
                  <a:gd name="connsiteX1" fmla="*/ 679 w 18344"/>
                  <a:gd name="connsiteY1" fmla="*/ 12700 h 18461"/>
                  <a:gd name="connsiteX2" fmla="*/ 12641 w 18344"/>
                  <a:gd name="connsiteY2" fmla="*/ 17783 h 18461"/>
                  <a:gd name="connsiteX3" fmla="*/ 17665 w 18344"/>
                  <a:gd name="connsiteY3" fmla="*/ 5762 h 18461"/>
                  <a:gd name="connsiteX4" fmla="*/ 5703 w 18344"/>
                  <a:gd name="connsiteY4" fmla="*/ 679 h 1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4" h="18461">
                    <a:moveTo>
                      <a:pt x="5703" y="679"/>
                    </a:moveTo>
                    <a:cubicBezTo>
                      <a:pt x="1038" y="2592"/>
                      <a:pt x="-1235" y="7975"/>
                      <a:pt x="679" y="12700"/>
                    </a:cubicBezTo>
                    <a:cubicBezTo>
                      <a:pt x="2593" y="17424"/>
                      <a:pt x="7976" y="19697"/>
                      <a:pt x="12641" y="17783"/>
                    </a:cubicBezTo>
                    <a:cubicBezTo>
                      <a:pt x="17306" y="15870"/>
                      <a:pt x="19579" y="10487"/>
                      <a:pt x="17665" y="5762"/>
                    </a:cubicBezTo>
                    <a:cubicBezTo>
                      <a:pt x="15751" y="1037"/>
                      <a:pt x="10368" y="-1235"/>
                      <a:pt x="5703" y="679"/>
                    </a:cubicBezTo>
                    <a:close/>
                  </a:path>
                </a:pathLst>
              </a:custGeom>
              <a:grpFill/>
              <a:ln w="5978" cap="flat">
                <a:noFill/>
                <a:prstDash val="solid"/>
                <a:miter/>
              </a:ln>
            </p:spPr>
            <p:txBody>
              <a:bodyPr rtlCol="0" anchor="ctr"/>
              <a:lstStyle/>
              <a:p>
                <a:endParaRPr lang="en-GB"/>
              </a:p>
            </p:txBody>
          </p:sp>
        </p:grpSp>
        <p:grpSp>
          <p:nvGrpSpPr>
            <p:cNvPr id="1329" name="Graphic 3">
              <a:extLst>
                <a:ext uri="{FF2B5EF4-FFF2-40B4-BE49-F238E27FC236}">
                  <a16:creationId xmlns:a16="http://schemas.microsoft.com/office/drawing/2014/main" id="{B855CA34-AC8D-4CDA-93E6-101040A0721B}"/>
                </a:ext>
              </a:extLst>
            </p:cNvPr>
            <p:cNvGrpSpPr/>
            <p:nvPr/>
          </p:nvGrpSpPr>
          <p:grpSpPr>
            <a:xfrm>
              <a:off x="4015119" y="3842539"/>
              <a:ext cx="162212" cy="51603"/>
              <a:chOff x="4015119" y="3842539"/>
              <a:chExt cx="162212" cy="51603"/>
            </a:xfrm>
            <a:grpFill/>
          </p:grpSpPr>
          <p:sp>
            <p:nvSpPr>
              <p:cNvPr id="1422" name="Vrije vorm: vorm 1421">
                <a:extLst>
                  <a:ext uri="{FF2B5EF4-FFF2-40B4-BE49-F238E27FC236}">
                    <a16:creationId xmlns:a16="http://schemas.microsoft.com/office/drawing/2014/main" id="{84B8EBC6-B320-4960-A4DE-06633C668B44}"/>
                  </a:ext>
                </a:extLst>
              </p:cNvPr>
              <p:cNvSpPr/>
              <p:nvPr/>
            </p:nvSpPr>
            <p:spPr>
              <a:xfrm>
                <a:off x="4023532" y="3849874"/>
                <a:ext cx="145416" cy="36486"/>
              </a:xfrm>
              <a:custGeom>
                <a:avLst/>
                <a:gdLst>
                  <a:gd name="connsiteX0" fmla="*/ 0 w 145416"/>
                  <a:gd name="connsiteY0" fmla="*/ 33515 h 36486"/>
                  <a:gd name="connsiteX1" fmla="*/ 144729 w 145416"/>
                  <a:gd name="connsiteY1" fmla="*/ 0 h 36486"/>
                  <a:gd name="connsiteX2" fmla="*/ 145417 w 145416"/>
                  <a:gd name="connsiteY2" fmla="*/ 2972 h 36486"/>
                  <a:gd name="connsiteX3" fmla="*/ 688 w 145416"/>
                  <a:gd name="connsiteY3" fmla="*/ 36487 h 36486"/>
                </a:gdLst>
                <a:ahLst/>
                <a:cxnLst>
                  <a:cxn ang="0">
                    <a:pos x="connsiteX0" y="connsiteY0"/>
                  </a:cxn>
                  <a:cxn ang="0">
                    <a:pos x="connsiteX1" y="connsiteY1"/>
                  </a:cxn>
                  <a:cxn ang="0">
                    <a:pos x="connsiteX2" y="connsiteY2"/>
                  </a:cxn>
                  <a:cxn ang="0">
                    <a:pos x="connsiteX3" y="connsiteY3"/>
                  </a:cxn>
                </a:cxnLst>
                <a:rect l="l" t="t" r="r" b="b"/>
                <a:pathLst>
                  <a:path w="145416" h="36486">
                    <a:moveTo>
                      <a:pt x="0" y="33515"/>
                    </a:moveTo>
                    <a:lnTo>
                      <a:pt x="144729" y="0"/>
                    </a:lnTo>
                    <a:lnTo>
                      <a:pt x="145417" y="2972"/>
                    </a:lnTo>
                    <a:lnTo>
                      <a:pt x="688" y="36487"/>
                    </a:lnTo>
                    <a:close/>
                  </a:path>
                </a:pathLst>
              </a:custGeom>
              <a:grpFill/>
              <a:ln w="5978" cap="flat">
                <a:noFill/>
                <a:prstDash val="solid"/>
                <a:miter/>
              </a:ln>
            </p:spPr>
            <p:txBody>
              <a:bodyPr rtlCol="0" anchor="ctr"/>
              <a:lstStyle/>
              <a:p>
                <a:endParaRPr lang="en-GB"/>
              </a:p>
            </p:txBody>
          </p:sp>
          <p:sp>
            <p:nvSpPr>
              <p:cNvPr id="1423" name="Vrije vorm: vorm 1422">
                <a:extLst>
                  <a:ext uri="{FF2B5EF4-FFF2-40B4-BE49-F238E27FC236}">
                    <a16:creationId xmlns:a16="http://schemas.microsoft.com/office/drawing/2014/main" id="{CEC32515-888C-4EAE-8A52-DABAF7744502}"/>
                  </a:ext>
                </a:extLst>
              </p:cNvPr>
              <p:cNvSpPr/>
              <p:nvPr/>
            </p:nvSpPr>
            <p:spPr>
              <a:xfrm>
                <a:off x="4015119" y="3875672"/>
                <a:ext cx="18319" cy="18470"/>
              </a:xfrm>
              <a:custGeom>
                <a:avLst/>
                <a:gdLst>
                  <a:gd name="connsiteX0" fmla="*/ 11242 w 18319"/>
                  <a:gd name="connsiteY0" fmla="*/ 18236 h 18470"/>
                  <a:gd name="connsiteX1" fmla="*/ 238 w 18319"/>
                  <a:gd name="connsiteY1" fmla="*/ 11299 h 18470"/>
                  <a:gd name="connsiteX2" fmla="*/ 7056 w 18319"/>
                  <a:gd name="connsiteY2" fmla="*/ 234 h 18470"/>
                  <a:gd name="connsiteX3" fmla="*/ 18060 w 18319"/>
                  <a:gd name="connsiteY3" fmla="*/ 7172 h 18470"/>
                  <a:gd name="connsiteX4" fmla="*/ 11242 w 18319"/>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9" h="18470">
                    <a:moveTo>
                      <a:pt x="11242" y="18236"/>
                    </a:moveTo>
                    <a:cubicBezTo>
                      <a:pt x="6338" y="19373"/>
                      <a:pt x="1374" y="16262"/>
                      <a:pt x="238" y="11299"/>
                    </a:cubicBezTo>
                    <a:cubicBezTo>
                      <a:pt x="-899" y="6335"/>
                      <a:pt x="2151" y="1370"/>
                      <a:pt x="7056" y="234"/>
                    </a:cubicBezTo>
                    <a:cubicBezTo>
                      <a:pt x="11960" y="-902"/>
                      <a:pt x="16924" y="2208"/>
                      <a:pt x="18060" y="7172"/>
                    </a:cubicBezTo>
                    <a:cubicBezTo>
                      <a:pt x="19256" y="12136"/>
                      <a:pt x="16206" y="17100"/>
                      <a:pt x="11242" y="18236"/>
                    </a:cubicBezTo>
                    <a:close/>
                  </a:path>
                </a:pathLst>
              </a:custGeom>
              <a:grpFill/>
              <a:ln w="5978" cap="flat">
                <a:noFill/>
                <a:prstDash val="solid"/>
                <a:miter/>
              </a:ln>
            </p:spPr>
            <p:txBody>
              <a:bodyPr rtlCol="0" anchor="ctr"/>
              <a:lstStyle/>
              <a:p>
                <a:endParaRPr lang="en-GB"/>
              </a:p>
            </p:txBody>
          </p:sp>
          <p:sp>
            <p:nvSpPr>
              <p:cNvPr id="1424" name="Vrije vorm: vorm 1423">
                <a:extLst>
                  <a:ext uri="{FF2B5EF4-FFF2-40B4-BE49-F238E27FC236}">
                    <a16:creationId xmlns:a16="http://schemas.microsoft.com/office/drawing/2014/main" id="{1C66B30F-1FA2-41B7-95B7-A05BCE5C3276}"/>
                  </a:ext>
                </a:extLst>
              </p:cNvPr>
              <p:cNvSpPr/>
              <p:nvPr/>
            </p:nvSpPr>
            <p:spPr>
              <a:xfrm>
                <a:off x="4158996" y="3842539"/>
                <a:ext cx="18335" cy="18470"/>
              </a:xfrm>
              <a:custGeom>
                <a:avLst/>
                <a:gdLst>
                  <a:gd name="connsiteX0" fmla="*/ 11261 w 18335"/>
                  <a:gd name="connsiteY0" fmla="*/ 18236 h 18470"/>
                  <a:gd name="connsiteX1" fmla="*/ 18079 w 18335"/>
                  <a:gd name="connsiteY1" fmla="*/ 7172 h 18470"/>
                  <a:gd name="connsiteX2" fmla="*/ 7075 w 18335"/>
                  <a:gd name="connsiteY2" fmla="*/ 234 h 18470"/>
                  <a:gd name="connsiteX3" fmla="*/ 256 w 18335"/>
                  <a:gd name="connsiteY3" fmla="*/ 11298 h 18470"/>
                  <a:gd name="connsiteX4" fmla="*/ 11261 w 18335"/>
                  <a:gd name="connsiteY4" fmla="*/ 18236 h 1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70">
                    <a:moveTo>
                      <a:pt x="11261" y="18236"/>
                    </a:moveTo>
                    <a:cubicBezTo>
                      <a:pt x="16165" y="17100"/>
                      <a:pt x="19275" y="12136"/>
                      <a:pt x="18079" y="7172"/>
                    </a:cubicBezTo>
                    <a:cubicBezTo>
                      <a:pt x="16943" y="2208"/>
                      <a:pt x="11979" y="-902"/>
                      <a:pt x="7075" y="234"/>
                    </a:cubicBezTo>
                    <a:cubicBezTo>
                      <a:pt x="2170" y="1371"/>
                      <a:pt x="-940" y="6335"/>
                      <a:pt x="256" y="11298"/>
                    </a:cubicBezTo>
                    <a:cubicBezTo>
                      <a:pt x="1393" y="16262"/>
                      <a:pt x="6357" y="19373"/>
                      <a:pt x="11261" y="18236"/>
                    </a:cubicBezTo>
                    <a:close/>
                  </a:path>
                </a:pathLst>
              </a:custGeom>
              <a:grpFill/>
              <a:ln w="5978" cap="flat">
                <a:noFill/>
                <a:prstDash val="solid"/>
                <a:miter/>
              </a:ln>
            </p:spPr>
            <p:txBody>
              <a:bodyPr rtlCol="0" anchor="ctr"/>
              <a:lstStyle/>
              <a:p>
                <a:endParaRPr lang="en-GB"/>
              </a:p>
            </p:txBody>
          </p:sp>
        </p:grpSp>
        <p:grpSp>
          <p:nvGrpSpPr>
            <p:cNvPr id="1330" name="Graphic 3">
              <a:extLst>
                <a:ext uri="{FF2B5EF4-FFF2-40B4-BE49-F238E27FC236}">
                  <a16:creationId xmlns:a16="http://schemas.microsoft.com/office/drawing/2014/main" id="{A083868B-3E7C-4F77-B936-3D746FA94128}"/>
                </a:ext>
              </a:extLst>
            </p:cNvPr>
            <p:cNvGrpSpPr/>
            <p:nvPr/>
          </p:nvGrpSpPr>
          <p:grpSpPr>
            <a:xfrm>
              <a:off x="4247473" y="4589073"/>
              <a:ext cx="227676" cy="174004"/>
              <a:chOff x="4247473" y="4589073"/>
              <a:chExt cx="227676" cy="174004"/>
            </a:xfrm>
            <a:grpFill/>
          </p:grpSpPr>
          <p:sp>
            <p:nvSpPr>
              <p:cNvPr id="1419" name="Vrije vorm: vorm 1418">
                <a:extLst>
                  <a:ext uri="{FF2B5EF4-FFF2-40B4-BE49-F238E27FC236}">
                    <a16:creationId xmlns:a16="http://schemas.microsoft.com/office/drawing/2014/main" id="{A6424927-6EB0-4021-81A3-566CA4A61FEC}"/>
                  </a:ext>
                </a:extLst>
              </p:cNvPr>
              <p:cNvSpPr/>
              <p:nvPr/>
            </p:nvSpPr>
            <p:spPr>
              <a:xfrm>
                <a:off x="4255303" y="4596703"/>
                <a:ext cx="211956" cy="158668"/>
              </a:xfrm>
              <a:custGeom>
                <a:avLst/>
                <a:gdLst>
                  <a:gd name="connsiteX0" fmla="*/ 211957 w 211956"/>
                  <a:gd name="connsiteY0" fmla="*/ 2512 h 158668"/>
                  <a:gd name="connsiteX1" fmla="*/ 1794 w 211956"/>
                  <a:gd name="connsiteY1" fmla="*/ 158668 h 158668"/>
                  <a:gd name="connsiteX2" fmla="*/ 0 w 211956"/>
                  <a:gd name="connsiteY2" fmla="*/ 156216 h 158668"/>
                  <a:gd name="connsiteX3" fmla="*/ 210103 w 211956"/>
                  <a:gd name="connsiteY3" fmla="*/ 0 h 158668"/>
                </a:gdLst>
                <a:ahLst/>
                <a:cxnLst>
                  <a:cxn ang="0">
                    <a:pos x="connsiteX0" y="connsiteY0"/>
                  </a:cxn>
                  <a:cxn ang="0">
                    <a:pos x="connsiteX1" y="connsiteY1"/>
                  </a:cxn>
                  <a:cxn ang="0">
                    <a:pos x="connsiteX2" y="connsiteY2"/>
                  </a:cxn>
                  <a:cxn ang="0">
                    <a:pos x="connsiteX3" y="connsiteY3"/>
                  </a:cxn>
                </a:cxnLst>
                <a:rect l="l" t="t" r="r" b="b"/>
                <a:pathLst>
                  <a:path w="211956" h="158668">
                    <a:moveTo>
                      <a:pt x="211957" y="2512"/>
                    </a:moveTo>
                    <a:lnTo>
                      <a:pt x="1794" y="158668"/>
                    </a:lnTo>
                    <a:lnTo>
                      <a:pt x="0" y="156216"/>
                    </a:lnTo>
                    <a:lnTo>
                      <a:pt x="210103" y="0"/>
                    </a:lnTo>
                    <a:close/>
                  </a:path>
                </a:pathLst>
              </a:custGeom>
              <a:grpFill/>
              <a:ln w="5978" cap="flat">
                <a:noFill/>
                <a:prstDash val="solid"/>
                <a:miter/>
              </a:ln>
            </p:spPr>
            <p:txBody>
              <a:bodyPr rtlCol="0" anchor="ctr"/>
              <a:lstStyle/>
              <a:p>
                <a:endParaRPr lang="en-GB"/>
              </a:p>
            </p:txBody>
          </p:sp>
          <p:sp>
            <p:nvSpPr>
              <p:cNvPr id="1420" name="Vrije vorm: vorm 1419">
                <a:extLst>
                  <a:ext uri="{FF2B5EF4-FFF2-40B4-BE49-F238E27FC236}">
                    <a16:creationId xmlns:a16="http://schemas.microsoft.com/office/drawing/2014/main" id="{3E8A19E7-386C-46FB-97FE-0E60A6225DC1}"/>
                  </a:ext>
                </a:extLst>
              </p:cNvPr>
              <p:cNvSpPr/>
              <p:nvPr/>
            </p:nvSpPr>
            <p:spPr>
              <a:xfrm>
                <a:off x="4247473" y="4744649"/>
                <a:ext cx="18291" cy="18429"/>
              </a:xfrm>
              <a:custGeom>
                <a:avLst/>
                <a:gdLst>
                  <a:gd name="connsiteX0" fmla="*/ 14588 w 18291"/>
                  <a:gd name="connsiteY0" fmla="*/ 16644 h 18429"/>
                  <a:gd name="connsiteX1" fmla="*/ 1790 w 18291"/>
                  <a:gd name="connsiteY1" fmla="*/ 14670 h 18429"/>
                  <a:gd name="connsiteX2" fmla="*/ 3703 w 18291"/>
                  <a:gd name="connsiteY2" fmla="*/ 1811 h 18429"/>
                  <a:gd name="connsiteX3" fmla="*/ 16502 w 18291"/>
                  <a:gd name="connsiteY3" fmla="*/ 3785 h 18429"/>
                  <a:gd name="connsiteX4" fmla="*/ 14588 w 18291"/>
                  <a:gd name="connsiteY4" fmla="*/ 16644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429">
                    <a:moveTo>
                      <a:pt x="14588" y="16644"/>
                    </a:moveTo>
                    <a:cubicBezTo>
                      <a:pt x="10522" y="19634"/>
                      <a:pt x="4780" y="18797"/>
                      <a:pt x="1790" y="14670"/>
                    </a:cubicBezTo>
                    <a:cubicBezTo>
                      <a:pt x="-1201" y="10603"/>
                      <a:pt x="-363" y="4802"/>
                      <a:pt x="3703" y="1811"/>
                    </a:cubicBezTo>
                    <a:cubicBezTo>
                      <a:pt x="7770" y="-1239"/>
                      <a:pt x="13512" y="-342"/>
                      <a:pt x="16502" y="3785"/>
                    </a:cubicBezTo>
                    <a:cubicBezTo>
                      <a:pt x="19493" y="7852"/>
                      <a:pt x="18655" y="13594"/>
                      <a:pt x="14588" y="16644"/>
                    </a:cubicBezTo>
                    <a:close/>
                  </a:path>
                </a:pathLst>
              </a:custGeom>
              <a:grpFill/>
              <a:ln w="5978" cap="flat">
                <a:noFill/>
                <a:prstDash val="solid"/>
                <a:miter/>
              </a:ln>
            </p:spPr>
            <p:txBody>
              <a:bodyPr rtlCol="0" anchor="ctr"/>
              <a:lstStyle/>
              <a:p>
                <a:endParaRPr lang="en-GB"/>
              </a:p>
            </p:txBody>
          </p:sp>
          <p:sp>
            <p:nvSpPr>
              <p:cNvPr id="1421" name="Vrije vorm: vorm 1420">
                <a:extLst>
                  <a:ext uri="{FF2B5EF4-FFF2-40B4-BE49-F238E27FC236}">
                    <a16:creationId xmlns:a16="http://schemas.microsoft.com/office/drawing/2014/main" id="{B2B617D0-49B7-4304-A7EF-B4860E2B6E2C}"/>
                  </a:ext>
                </a:extLst>
              </p:cNvPr>
              <p:cNvSpPr/>
              <p:nvPr/>
            </p:nvSpPr>
            <p:spPr>
              <a:xfrm>
                <a:off x="4456858" y="4589073"/>
                <a:ext cx="18291" cy="18368"/>
              </a:xfrm>
              <a:custGeom>
                <a:avLst/>
                <a:gdLst>
                  <a:gd name="connsiteX0" fmla="*/ 14588 w 18291"/>
                  <a:gd name="connsiteY0" fmla="*/ 16601 h 18368"/>
                  <a:gd name="connsiteX1" fmla="*/ 16502 w 18291"/>
                  <a:gd name="connsiteY1" fmla="*/ 3742 h 18368"/>
                  <a:gd name="connsiteX2" fmla="*/ 3703 w 18291"/>
                  <a:gd name="connsiteY2" fmla="*/ 1768 h 18368"/>
                  <a:gd name="connsiteX3" fmla="*/ 1790 w 18291"/>
                  <a:gd name="connsiteY3" fmla="*/ 14627 h 18368"/>
                  <a:gd name="connsiteX4" fmla="*/ 14588 w 18291"/>
                  <a:gd name="connsiteY4" fmla="*/ 16601 h 1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1" h="18368">
                    <a:moveTo>
                      <a:pt x="14588" y="16601"/>
                    </a:moveTo>
                    <a:cubicBezTo>
                      <a:pt x="18655" y="13610"/>
                      <a:pt x="19493" y="7809"/>
                      <a:pt x="16502" y="3742"/>
                    </a:cubicBezTo>
                    <a:cubicBezTo>
                      <a:pt x="13512" y="-325"/>
                      <a:pt x="7770" y="-1222"/>
                      <a:pt x="3703" y="1768"/>
                    </a:cubicBezTo>
                    <a:cubicBezTo>
                      <a:pt x="-363" y="4759"/>
                      <a:pt x="-1201" y="10560"/>
                      <a:pt x="1790" y="14627"/>
                    </a:cubicBezTo>
                    <a:cubicBezTo>
                      <a:pt x="4780" y="18694"/>
                      <a:pt x="10522" y="19591"/>
                      <a:pt x="14588" y="16601"/>
                    </a:cubicBezTo>
                    <a:close/>
                  </a:path>
                </a:pathLst>
              </a:custGeom>
              <a:grpFill/>
              <a:ln w="5978" cap="flat">
                <a:noFill/>
                <a:prstDash val="solid"/>
                <a:miter/>
              </a:ln>
            </p:spPr>
            <p:txBody>
              <a:bodyPr rtlCol="0" anchor="ctr"/>
              <a:lstStyle/>
              <a:p>
                <a:endParaRPr lang="en-GB"/>
              </a:p>
            </p:txBody>
          </p:sp>
        </p:grpSp>
        <p:grpSp>
          <p:nvGrpSpPr>
            <p:cNvPr id="1331" name="Graphic 3">
              <a:extLst>
                <a:ext uri="{FF2B5EF4-FFF2-40B4-BE49-F238E27FC236}">
                  <a16:creationId xmlns:a16="http://schemas.microsoft.com/office/drawing/2014/main" id="{A93A166C-9CF4-45DC-8E07-7A8CFE4E09F0}"/>
                </a:ext>
              </a:extLst>
            </p:cNvPr>
            <p:cNvGrpSpPr/>
            <p:nvPr/>
          </p:nvGrpSpPr>
          <p:grpSpPr>
            <a:xfrm>
              <a:off x="4118460" y="4347903"/>
              <a:ext cx="329187" cy="199089"/>
              <a:chOff x="4118460" y="4347903"/>
              <a:chExt cx="329187" cy="199089"/>
            </a:xfrm>
            <a:grpFill/>
          </p:grpSpPr>
          <p:sp>
            <p:nvSpPr>
              <p:cNvPr id="1416" name="Vrije vorm: vorm 1415">
                <a:extLst>
                  <a:ext uri="{FF2B5EF4-FFF2-40B4-BE49-F238E27FC236}">
                    <a16:creationId xmlns:a16="http://schemas.microsoft.com/office/drawing/2014/main" id="{BCDD27BF-5927-45E1-B414-C8892250BAB8}"/>
                  </a:ext>
                </a:extLst>
              </p:cNvPr>
              <p:cNvSpPr/>
              <p:nvPr/>
            </p:nvSpPr>
            <p:spPr>
              <a:xfrm>
                <a:off x="4126538" y="4355500"/>
                <a:ext cx="313090" cy="183847"/>
              </a:xfrm>
              <a:custGeom>
                <a:avLst/>
                <a:gdLst>
                  <a:gd name="connsiteX0" fmla="*/ 313091 w 313090"/>
                  <a:gd name="connsiteY0" fmla="*/ 2691 h 183847"/>
                  <a:gd name="connsiteX1" fmla="*/ 1495 w 313090"/>
                  <a:gd name="connsiteY1" fmla="*/ 183847 h 183847"/>
                  <a:gd name="connsiteX2" fmla="*/ 0 w 313090"/>
                  <a:gd name="connsiteY2" fmla="*/ 181216 h 183847"/>
                  <a:gd name="connsiteX3" fmla="*/ 311596 w 313090"/>
                  <a:gd name="connsiteY3" fmla="*/ 0 h 183847"/>
                </a:gdLst>
                <a:ahLst/>
                <a:cxnLst>
                  <a:cxn ang="0">
                    <a:pos x="connsiteX0" y="connsiteY0"/>
                  </a:cxn>
                  <a:cxn ang="0">
                    <a:pos x="connsiteX1" y="connsiteY1"/>
                  </a:cxn>
                  <a:cxn ang="0">
                    <a:pos x="connsiteX2" y="connsiteY2"/>
                  </a:cxn>
                  <a:cxn ang="0">
                    <a:pos x="connsiteX3" y="connsiteY3"/>
                  </a:cxn>
                </a:cxnLst>
                <a:rect l="l" t="t" r="r" b="b"/>
                <a:pathLst>
                  <a:path w="313090" h="183847">
                    <a:moveTo>
                      <a:pt x="313091" y="2691"/>
                    </a:moveTo>
                    <a:lnTo>
                      <a:pt x="1495" y="183847"/>
                    </a:lnTo>
                    <a:lnTo>
                      <a:pt x="0" y="181216"/>
                    </a:lnTo>
                    <a:lnTo>
                      <a:pt x="311596" y="0"/>
                    </a:lnTo>
                    <a:close/>
                  </a:path>
                </a:pathLst>
              </a:custGeom>
              <a:grpFill/>
              <a:ln w="5978" cap="flat">
                <a:noFill/>
                <a:prstDash val="solid"/>
                <a:miter/>
              </a:ln>
            </p:spPr>
            <p:txBody>
              <a:bodyPr rtlCol="0" anchor="ctr"/>
              <a:lstStyle/>
              <a:p>
                <a:endParaRPr lang="en-GB"/>
              </a:p>
            </p:txBody>
          </p:sp>
          <p:sp>
            <p:nvSpPr>
              <p:cNvPr id="1417" name="Vrije vorm: vorm 1416">
                <a:extLst>
                  <a:ext uri="{FF2B5EF4-FFF2-40B4-BE49-F238E27FC236}">
                    <a16:creationId xmlns:a16="http://schemas.microsoft.com/office/drawing/2014/main" id="{36567516-5905-4776-A751-1197838BE4FB}"/>
                  </a:ext>
                </a:extLst>
              </p:cNvPr>
              <p:cNvSpPr/>
              <p:nvPr/>
            </p:nvSpPr>
            <p:spPr>
              <a:xfrm>
                <a:off x="4118460" y="4528593"/>
                <a:ext cx="18369" cy="18398"/>
              </a:xfrm>
              <a:custGeom>
                <a:avLst/>
                <a:gdLst>
                  <a:gd name="connsiteX0" fmla="*/ 13820 w 18369"/>
                  <a:gd name="connsiteY0" fmla="*/ 17154 h 18398"/>
                  <a:gd name="connsiteX1" fmla="*/ 1260 w 18369"/>
                  <a:gd name="connsiteY1" fmla="*/ 13804 h 18398"/>
                  <a:gd name="connsiteX2" fmla="*/ 4550 w 18369"/>
                  <a:gd name="connsiteY2" fmla="*/ 1245 h 18398"/>
                  <a:gd name="connsiteX3" fmla="*/ 17109 w 18369"/>
                  <a:gd name="connsiteY3" fmla="*/ 4594 h 18398"/>
                  <a:gd name="connsiteX4" fmla="*/ 13820 w 18369"/>
                  <a:gd name="connsiteY4" fmla="*/ 1715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8">
                    <a:moveTo>
                      <a:pt x="13820" y="17154"/>
                    </a:moveTo>
                    <a:cubicBezTo>
                      <a:pt x="9454" y="19725"/>
                      <a:pt x="3832" y="18171"/>
                      <a:pt x="1260" y="13804"/>
                    </a:cubicBezTo>
                    <a:cubicBezTo>
                      <a:pt x="-1311" y="9379"/>
                      <a:pt x="184" y="3757"/>
                      <a:pt x="4550" y="1245"/>
                    </a:cubicBezTo>
                    <a:cubicBezTo>
                      <a:pt x="8915" y="-1327"/>
                      <a:pt x="14537" y="228"/>
                      <a:pt x="17109" y="4594"/>
                    </a:cubicBezTo>
                    <a:cubicBezTo>
                      <a:pt x="19681" y="9020"/>
                      <a:pt x="18186" y="14642"/>
                      <a:pt x="13820" y="17154"/>
                    </a:cubicBezTo>
                    <a:close/>
                  </a:path>
                </a:pathLst>
              </a:custGeom>
              <a:grpFill/>
              <a:ln w="5978" cap="flat">
                <a:noFill/>
                <a:prstDash val="solid"/>
                <a:miter/>
              </a:ln>
            </p:spPr>
            <p:txBody>
              <a:bodyPr rtlCol="0" anchor="ctr"/>
              <a:lstStyle/>
              <a:p>
                <a:endParaRPr lang="en-GB"/>
              </a:p>
            </p:txBody>
          </p:sp>
          <p:sp>
            <p:nvSpPr>
              <p:cNvPr id="1418" name="Vrije vorm: vorm 1417">
                <a:extLst>
                  <a:ext uri="{FF2B5EF4-FFF2-40B4-BE49-F238E27FC236}">
                    <a16:creationId xmlns:a16="http://schemas.microsoft.com/office/drawing/2014/main" id="{507542BB-9495-4576-8726-A4F9D8E0AAD3}"/>
                  </a:ext>
                </a:extLst>
              </p:cNvPr>
              <p:cNvSpPr/>
              <p:nvPr/>
            </p:nvSpPr>
            <p:spPr>
              <a:xfrm>
                <a:off x="4429278" y="4347903"/>
                <a:ext cx="18369" cy="18385"/>
              </a:xfrm>
              <a:custGeom>
                <a:avLst/>
                <a:gdLst>
                  <a:gd name="connsiteX0" fmla="*/ 13820 w 18369"/>
                  <a:gd name="connsiteY0" fmla="*/ 17167 h 18385"/>
                  <a:gd name="connsiteX1" fmla="*/ 17109 w 18369"/>
                  <a:gd name="connsiteY1" fmla="*/ 4607 h 18385"/>
                  <a:gd name="connsiteX2" fmla="*/ 4550 w 18369"/>
                  <a:gd name="connsiteY2" fmla="*/ 1258 h 18385"/>
                  <a:gd name="connsiteX3" fmla="*/ 1260 w 18369"/>
                  <a:gd name="connsiteY3" fmla="*/ 13818 h 18385"/>
                  <a:gd name="connsiteX4" fmla="*/ 13820 w 18369"/>
                  <a:gd name="connsiteY4" fmla="*/ 17167 h 18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85">
                    <a:moveTo>
                      <a:pt x="13820" y="17167"/>
                    </a:moveTo>
                    <a:cubicBezTo>
                      <a:pt x="18186" y="14595"/>
                      <a:pt x="19681" y="8974"/>
                      <a:pt x="17109" y="4607"/>
                    </a:cubicBezTo>
                    <a:cubicBezTo>
                      <a:pt x="14538" y="182"/>
                      <a:pt x="8976" y="-1313"/>
                      <a:pt x="4550" y="1258"/>
                    </a:cubicBezTo>
                    <a:cubicBezTo>
                      <a:pt x="184" y="3830"/>
                      <a:pt x="-1311" y="9452"/>
                      <a:pt x="1260" y="13818"/>
                    </a:cubicBezTo>
                    <a:cubicBezTo>
                      <a:pt x="3832" y="18184"/>
                      <a:pt x="9454" y="19679"/>
                      <a:pt x="13820" y="17167"/>
                    </a:cubicBezTo>
                    <a:close/>
                  </a:path>
                </a:pathLst>
              </a:custGeom>
              <a:grpFill/>
              <a:ln w="5978" cap="flat">
                <a:noFill/>
                <a:prstDash val="solid"/>
                <a:miter/>
              </a:ln>
            </p:spPr>
            <p:txBody>
              <a:bodyPr rtlCol="0" anchor="ctr"/>
              <a:lstStyle/>
              <a:p>
                <a:endParaRPr lang="en-GB"/>
              </a:p>
            </p:txBody>
          </p:sp>
        </p:grpSp>
        <p:grpSp>
          <p:nvGrpSpPr>
            <p:cNvPr id="1332" name="Graphic 3">
              <a:extLst>
                <a:ext uri="{FF2B5EF4-FFF2-40B4-BE49-F238E27FC236}">
                  <a16:creationId xmlns:a16="http://schemas.microsoft.com/office/drawing/2014/main" id="{B4FA2658-1D98-4E30-B06B-49A7C260F9F1}"/>
                </a:ext>
              </a:extLst>
            </p:cNvPr>
            <p:cNvGrpSpPr/>
            <p:nvPr/>
          </p:nvGrpSpPr>
          <p:grpSpPr>
            <a:xfrm>
              <a:off x="4013335" y="3885069"/>
              <a:ext cx="143871" cy="49830"/>
              <a:chOff x="4013335" y="3885069"/>
              <a:chExt cx="143871" cy="49830"/>
            </a:xfrm>
            <a:grpFill/>
          </p:grpSpPr>
          <p:sp>
            <p:nvSpPr>
              <p:cNvPr id="1413" name="Vrije vorm: vorm 1412">
                <a:extLst>
                  <a:ext uri="{FF2B5EF4-FFF2-40B4-BE49-F238E27FC236}">
                    <a16:creationId xmlns:a16="http://schemas.microsoft.com/office/drawing/2014/main" id="{8A605970-396D-42DD-87CB-23671E5F6FF1}"/>
                  </a:ext>
                </a:extLst>
              </p:cNvPr>
              <p:cNvSpPr/>
              <p:nvPr/>
            </p:nvSpPr>
            <p:spPr>
              <a:xfrm>
                <a:off x="4021714" y="3892769"/>
                <a:ext cx="127152" cy="34652"/>
              </a:xfrm>
              <a:custGeom>
                <a:avLst/>
                <a:gdLst>
                  <a:gd name="connsiteX0" fmla="*/ 0 w 127152"/>
                  <a:gd name="connsiteY0" fmla="*/ 31694 h 34652"/>
                  <a:gd name="connsiteX1" fmla="*/ 126410 w 127152"/>
                  <a:gd name="connsiteY1" fmla="*/ 0 h 34652"/>
                  <a:gd name="connsiteX2" fmla="*/ 127152 w 127152"/>
                  <a:gd name="connsiteY2" fmla="*/ 2959 h 34652"/>
                  <a:gd name="connsiteX3" fmla="*/ 742 w 127152"/>
                  <a:gd name="connsiteY3" fmla="*/ 34652 h 34652"/>
                </a:gdLst>
                <a:ahLst/>
                <a:cxnLst>
                  <a:cxn ang="0">
                    <a:pos x="connsiteX0" y="connsiteY0"/>
                  </a:cxn>
                  <a:cxn ang="0">
                    <a:pos x="connsiteX1" y="connsiteY1"/>
                  </a:cxn>
                  <a:cxn ang="0">
                    <a:pos x="connsiteX2" y="connsiteY2"/>
                  </a:cxn>
                  <a:cxn ang="0">
                    <a:pos x="connsiteX3" y="connsiteY3"/>
                  </a:cxn>
                </a:cxnLst>
                <a:rect l="l" t="t" r="r" b="b"/>
                <a:pathLst>
                  <a:path w="127152" h="34652">
                    <a:moveTo>
                      <a:pt x="0" y="31694"/>
                    </a:moveTo>
                    <a:lnTo>
                      <a:pt x="126410" y="0"/>
                    </a:lnTo>
                    <a:lnTo>
                      <a:pt x="127152" y="2959"/>
                    </a:lnTo>
                    <a:lnTo>
                      <a:pt x="742" y="34652"/>
                    </a:lnTo>
                    <a:close/>
                  </a:path>
                </a:pathLst>
              </a:custGeom>
              <a:grpFill/>
              <a:ln w="5978" cap="flat">
                <a:noFill/>
                <a:prstDash val="solid"/>
                <a:miter/>
              </a:ln>
            </p:spPr>
            <p:txBody>
              <a:bodyPr rtlCol="0" anchor="ctr"/>
              <a:lstStyle/>
              <a:p>
                <a:endParaRPr lang="en-GB"/>
              </a:p>
            </p:txBody>
          </p:sp>
          <p:sp>
            <p:nvSpPr>
              <p:cNvPr id="1414" name="Vrije vorm: vorm 1413">
                <a:extLst>
                  <a:ext uri="{FF2B5EF4-FFF2-40B4-BE49-F238E27FC236}">
                    <a16:creationId xmlns:a16="http://schemas.microsoft.com/office/drawing/2014/main" id="{6206A9C7-CB30-4A7B-80D1-2F619486BD42}"/>
                  </a:ext>
                </a:extLst>
              </p:cNvPr>
              <p:cNvSpPr/>
              <p:nvPr/>
            </p:nvSpPr>
            <p:spPr>
              <a:xfrm>
                <a:off x="4013335" y="3916472"/>
                <a:ext cx="18335" cy="18428"/>
              </a:xfrm>
              <a:custGeom>
                <a:avLst/>
                <a:gdLst>
                  <a:gd name="connsiteX0" fmla="*/ 11411 w 18335"/>
                  <a:gd name="connsiteY0" fmla="*/ 18165 h 18428"/>
                  <a:gd name="connsiteX1" fmla="*/ 287 w 18335"/>
                  <a:gd name="connsiteY1" fmla="*/ 11467 h 18428"/>
                  <a:gd name="connsiteX2" fmla="*/ 6925 w 18335"/>
                  <a:gd name="connsiteY2" fmla="*/ 283 h 18428"/>
                  <a:gd name="connsiteX3" fmla="*/ 18049 w 18335"/>
                  <a:gd name="connsiteY3" fmla="*/ 6981 h 18428"/>
                  <a:gd name="connsiteX4" fmla="*/ 11411 w 18335"/>
                  <a:gd name="connsiteY4" fmla="*/ 18165 h 18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28">
                    <a:moveTo>
                      <a:pt x="11411" y="18165"/>
                    </a:moveTo>
                    <a:cubicBezTo>
                      <a:pt x="6507" y="19361"/>
                      <a:pt x="1542" y="16371"/>
                      <a:pt x="287" y="11467"/>
                    </a:cubicBezTo>
                    <a:cubicBezTo>
                      <a:pt x="-969" y="6503"/>
                      <a:pt x="2021" y="1539"/>
                      <a:pt x="6925" y="283"/>
                    </a:cubicBezTo>
                    <a:cubicBezTo>
                      <a:pt x="11829" y="-973"/>
                      <a:pt x="16794" y="2077"/>
                      <a:pt x="18049" y="6981"/>
                    </a:cubicBezTo>
                    <a:cubicBezTo>
                      <a:pt x="19305" y="11945"/>
                      <a:pt x="16315" y="16909"/>
                      <a:pt x="11411" y="18165"/>
                    </a:cubicBezTo>
                    <a:close/>
                  </a:path>
                </a:pathLst>
              </a:custGeom>
              <a:grpFill/>
              <a:ln w="5978" cap="flat">
                <a:noFill/>
                <a:prstDash val="solid"/>
                <a:miter/>
              </a:ln>
            </p:spPr>
            <p:txBody>
              <a:bodyPr rtlCol="0" anchor="ctr"/>
              <a:lstStyle/>
              <a:p>
                <a:endParaRPr lang="en-GB"/>
              </a:p>
            </p:txBody>
          </p:sp>
          <p:sp>
            <p:nvSpPr>
              <p:cNvPr id="1415" name="Vrije vorm: vorm 1414">
                <a:extLst>
                  <a:ext uri="{FF2B5EF4-FFF2-40B4-BE49-F238E27FC236}">
                    <a16:creationId xmlns:a16="http://schemas.microsoft.com/office/drawing/2014/main" id="{2E24C2B1-A391-40C8-95AE-A828EBF5FD6A}"/>
                  </a:ext>
                </a:extLst>
              </p:cNvPr>
              <p:cNvSpPr/>
              <p:nvPr/>
            </p:nvSpPr>
            <p:spPr>
              <a:xfrm>
                <a:off x="4138871" y="3885069"/>
                <a:ext cx="18335" cy="18432"/>
              </a:xfrm>
              <a:custGeom>
                <a:avLst/>
                <a:gdLst>
                  <a:gd name="connsiteX0" fmla="*/ 11411 w 18335"/>
                  <a:gd name="connsiteY0" fmla="*/ 18169 h 18432"/>
                  <a:gd name="connsiteX1" fmla="*/ 18049 w 18335"/>
                  <a:gd name="connsiteY1" fmla="*/ 6985 h 18432"/>
                  <a:gd name="connsiteX2" fmla="*/ 6925 w 18335"/>
                  <a:gd name="connsiteY2" fmla="*/ 286 h 18432"/>
                  <a:gd name="connsiteX3" fmla="*/ 287 w 18335"/>
                  <a:gd name="connsiteY3" fmla="*/ 11470 h 18432"/>
                  <a:gd name="connsiteX4" fmla="*/ 11411 w 18335"/>
                  <a:gd name="connsiteY4" fmla="*/ 18169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32">
                    <a:moveTo>
                      <a:pt x="11411" y="18169"/>
                    </a:moveTo>
                    <a:cubicBezTo>
                      <a:pt x="16315" y="16973"/>
                      <a:pt x="19305" y="11949"/>
                      <a:pt x="18049" y="6985"/>
                    </a:cubicBezTo>
                    <a:cubicBezTo>
                      <a:pt x="16794" y="2021"/>
                      <a:pt x="11829" y="-970"/>
                      <a:pt x="6925" y="286"/>
                    </a:cubicBezTo>
                    <a:cubicBezTo>
                      <a:pt x="2021" y="1483"/>
                      <a:pt x="-969" y="6506"/>
                      <a:pt x="287" y="11470"/>
                    </a:cubicBezTo>
                    <a:cubicBezTo>
                      <a:pt x="1483" y="16375"/>
                      <a:pt x="6507" y="19365"/>
                      <a:pt x="11411" y="18169"/>
                    </a:cubicBezTo>
                    <a:close/>
                  </a:path>
                </a:pathLst>
              </a:custGeom>
              <a:grpFill/>
              <a:ln w="5978" cap="flat">
                <a:noFill/>
                <a:prstDash val="solid"/>
                <a:miter/>
              </a:ln>
            </p:spPr>
            <p:txBody>
              <a:bodyPr rtlCol="0" anchor="ctr"/>
              <a:lstStyle/>
              <a:p>
                <a:endParaRPr lang="en-GB"/>
              </a:p>
            </p:txBody>
          </p:sp>
        </p:grpSp>
        <p:grpSp>
          <p:nvGrpSpPr>
            <p:cNvPr id="1333" name="Graphic 3">
              <a:extLst>
                <a:ext uri="{FF2B5EF4-FFF2-40B4-BE49-F238E27FC236}">
                  <a16:creationId xmlns:a16="http://schemas.microsoft.com/office/drawing/2014/main" id="{6E8AA8F8-5FB9-4F44-9980-574C442F239A}"/>
                </a:ext>
              </a:extLst>
            </p:cNvPr>
            <p:cNvGrpSpPr/>
            <p:nvPr/>
          </p:nvGrpSpPr>
          <p:grpSpPr>
            <a:xfrm>
              <a:off x="4061387" y="4362838"/>
              <a:ext cx="429219" cy="267718"/>
              <a:chOff x="4061387" y="4362838"/>
              <a:chExt cx="429219" cy="267718"/>
            </a:xfrm>
            <a:grpFill/>
          </p:grpSpPr>
          <p:sp>
            <p:nvSpPr>
              <p:cNvPr id="1410" name="Vrije vorm: vorm 1409">
                <a:extLst>
                  <a:ext uri="{FF2B5EF4-FFF2-40B4-BE49-F238E27FC236}">
                    <a16:creationId xmlns:a16="http://schemas.microsoft.com/office/drawing/2014/main" id="{AD78B29D-14BA-49F0-8701-3842E7A68581}"/>
                  </a:ext>
                </a:extLst>
              </p:cNvPr>
              <p:cNvSpPr/>
              <p:nvPr/>
            </p:nvSpPr>
            <p:spPr>
              <a:xfrm>
                <a:off x="4069363" y="4370452"/>
                <a:ext cx="413267" cy="252446"/>
              </a:xfrm>
              <a:custGeom>
                <a:avLst/>
                <a:gdLst>
                  <a:gd name="connsiteX0" fmla="*/ 413268 w 413267"/>
                  <a:gd name="connsiteY0" fmla="*/ 2632 h 252446"/>
                  <a:gd name="connsiteX1" fmla="*/ 1615 w 413267"/>
                  <a:gd name="connsiteY1" fmla="*/ 252446 h 252446"/>
                  <a:gd name="connsiteX2" fmla="*/ 0 w 413267"/>
                  <a:gd name="connsiteY2" fmla="*/ 249815 h 252446"/>
                  <a:gd name="connsiteX3" fmla="*/ 411653 w 413267"/>
                  <a:gd name="connsiteY3" fmla="*/ 0 h 252446"/>
                </a:gdLst>
                <a:ahLst/>
                <a:cxnLst>
                  <a:cxn ang="0">
                    <a:pos x="connsiteX0" y="connsiteY0"/>
                  </a:cxn>
                  <a:cxn ang="0">
                    <a:pos x="connsiteX1" y="connsiteY1"/>
                  </a:cxn>
                  <a:cxn ang="0">
                    <a:pos x="connsiteX2" y="connsiteY2"/>
                  </a:cxn>
                  <a:cxn ang="0">
                    <a:pos x="connsiteX3" y="connsiteY3"/>
                  </a:cxn>
                </a:cxnLst>
                <a:rect l="l" t="t" r="r" b="b"/>
                <a:pathLst>
                  <a:path w="413267" h="252446">
                    <a:moveTo>
                      <a:pt x="413268" y="2632"/>
                    </a:moveTo>
                    <a:lnTo>
                      <a:pt x="1615" y="252446"/>
                    </a:lnTo>
                    <a:lnTo>
                      <a:pt x="0" y="249815"/>
                    </a:lnTo>
                    <a:lnTo>
                      <a:pt x="411653" y="0"/>
                    </a:lnTo>
                    <a:close/>
                  </a:path>
                </a:pathLst>
              </a:custGeom>
              <a:grpFill/>
              <a:ln w="5978" cap="flat">
                <a:noFill/>
                <a:prstDash val="solid"/>
                <a:miter/>
              </a:ln>
            </p:spPr>
            <p:txBody>
              <a:bodyPr rtlCol="0" anchor="ctr"/>
              <a:lstStyle/>
              <a:p>
                <a:endParaRPr lang="en-GB"/>
              </a:p>
            </p:txBody>
          </p:sp>
          <p:sp>
            <p:nvSpPr>
              <p:cNvPr id="1411" name="Vrije vorm: vorm 1410">
                <a:extLst>
                  <a:ext uri="{FF2B5EF4-FFF2-40B4-BE49-F238E27FC236}">
                    <a16:creationId xmlns:a16="http://schemas.microsoft.com/office/drawing/2014/main" id="{C555A7FF-7798-456E-90F8-2B9FEC1B3C04}"/>
                  </a:ext>
                </a:extLst>
              </p:cNvPr>
              <p:cNvSpPr/>
              <p:nvPr/>
            </p:nvSpPr>
            <p:spPr>
              <a:xfrm>
                <a:off x="4061387" y="4612130"/>
                <a:ext cx="18343" cy="18426"/>
              </a:xfrm>
              <a:custGeom>
                <a:avLst/>
                <a:gdLst>
                  <a:gd name="connsiteX0" fmla="*/ 13957 w 18343"/>
                  <a:gd name="connsiteY0" fmla="*/ 17108 h 18426"/>
                  <a:gd name="connsiteX1" fmla="*/ 1337 w 18343"/>
                  <a:gd name="connsiteY1" fmla="*/ 13938 h 18426"/>
                  <a:gd name="connsiteX2" fmla="*/ 4387 w 18343"/>
                  <a:gd name="connsiteY2" fmla="*/ 1318 h 18426"/>
                  <a:gd name="connsiteX3" fmla="*/ 17006 w 18343"/>
                  <a:gd name="connsiteY3" fmla="*/ 4488 h 18426"/>
                  <a:gd name="connsiteX4" fmla="*/ 13957 w 18343"/>
                  <a:gd name="connsiteY4" fmla="*/ 17108 h 1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426">
                    <a:moveTo>
                      <a:pt x="13957" y="17108"/>
                    </a:moveTo>
                    <a:cubicBezTo>
                      <a:pt x="9650" y="19739"/>
                      <a:pt x="3968" y="18304"/>
                      <a:pt x="1337" y="13938"/>
                    </a:cubicBezTo>
                    <a:cubicBezTo>
                      <a:pt x="-1295" y="9572"/>
                      <a:pt x="81" y="3890"/>
                      <a:pt x="4387" y="1318"/>
                    </a:cubicBezTo>
                    <a:cubicBezTo>
                      <a:pt x="8693" y="-1313"/>
                      <a:pt x="14375" y="122"/>
                      <a:pt x="17006" y="4488"/>
                    </a:cubicBezTo>
                    <a:cubicBezTo>
                      <a:pt x="19638" y="8854"/>
                      <a:pt x="18263" y="14476"/>
                      <a:pt x="13957" y="17108"/>
                    </a:cubicBezTo>
                    <a:close/>
                  </a:path>
                </a:pathLst>
              </a:custGeom>
              <a:grpFill/>
              <a:ln w="5978" cap="flat">
                <a:noFill/>
                <a:prstDash val="solid"/>
                <a:miter/>
              </a:ln>
            </p:spPr>
            <p:txBody>
              <a:bodyPr rtlCol="0" anchor="ctr"/>
              <a:lstStyle/>
              <a:p>
                <a:endParaRPr lang="en-GB"/>
              </a:p>
            </p:txBody>
          </p:sp>
          <p:sp>
            <p:nvSpPr>
              <p:cNvPr id="1412" name="Vrije vorm: vorm 1411">
                <a:extLst>
                  <a:ext uri="{FF2B5EF4-FFF2-40B4-BE49-F238E27FC236}">
                    <a16:creationId xmlns:a16="http://schemas.microsoft.com/office/drawing/2014/main" id="{63A60CDD-424B-4859-87C7-67A38DBEBDE6}"/>
                  </a:ext>
                </a:extLst>
              </p:cNvPr>
              <p:cNvSpPr/>
              <p:nvPr/>
            </p:nvSpPr>
            <p:spPr>
              <a:xfrm>
                <a:off x="4472262" y="4362838"/>
                <a:ext cx="18343" cy="18398"/>
              </a:xfrm>
              <a:custGeom>
                <a:avLst/>
                <a:gdLst>
                  <a:gd name="connsiteX0" fmla="*/ 13956 w 18343"/>
                  <a:gd name="connsiteY0" fmla="*/ 17064 h 18398"/>
                  <a:gd name="connsiteX1" fmla="*/ 17006 w 18343"/>
                  <a:gd name="connsiteY1" fmla="*/ 4445 h 18398"/>
                  <a:gd name="connsiteX2" fmla="*/ 4387 w 18343"/>
                  <a:gd name="connsiteY2" fmla="*/ 1335 h 18398"/>
                  <a:gd name="connsiteX3" fmla="*/ 1337 w 18343"/>
                  <a:gd name="connsiteY3" fmla="*/ 13954 h 18398"/>
                  <a:gd name="connsiteX4" fmla="*/ 13956 w 18343"/>
                  <a:gd name="connsiteY4" fmla="*/ 1706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8">
                    <a:moveTo>
                      <a:pt x="13956" y="17064"/>
                    </a:moveTo>
                    <a:cubicBezTo>
                      <a:pt x="18263" y="14432"/>
                      <a:pt x="19638" y="8751"/>
                      <a:pt x="17006" y="4445"/>
                    </a:cubicBezTo>
                    <a:cubicBezTo>
                      <a:pt x="14375" y="79"/>
                      <a:pt x="8753" y="-1297"/>
                      <a:pt x="4387" y="1335"/>
                    </a:cubicBezTo>
                    <a:cubicBezTo>
                      <a:pt x="81" y="3966"/>
                      <a:pt x="-1295" y="9648"/>
                      <a:pt x="1337" y="13954"/>
                    </a:cubicBezTo>
                    <a:cubicBezTo>
                      <a:pt x="3968" y="18320"/>
                      <a:pt x="9590" y="19695"/>
                      <a:pt x="13956" y="17064"/>
                    </a:cubicBezTo>
                    <a:close/>
                  </a:path>
                </a:pathLst>
              </a:custGeom>
              <a:grpFill/>
              <a:ln w="5978" cap="flat">
                <a:noFill/>
                <a:prstDash val="solid"/>
                <a:miter/>
              </a:ln>
            </p:spPr>
            <p:txBody>
              <a:bodyPr rtlCol="0" anchor="ctr"/>
              <a:lstStyle/>
              <a:p>
                <a:endParaRPr lang="en-GB"/>
              </a:p>
            </p:txBody>
          </p:sp>
        </p:grpSp>
        <p:grpSp>
          <p:nvGrpSpPr>
            <p:cNvPr id="1334" name="Graphic 3">
              <a:extLst>
                <a:ext uri="{FF2B5EF4-FFF2-40B4-BE49-F238E27FC236}">
                  <a16:creationId xmlns:a16="http://schemas.microsoft.com/office/drawing/2014/main" id="{93053662-723F-4BF2-AF63-F01DF5B9B018}"/>
                </a:ext>
              </a:extLst>
            </p:cNvPr>
            <p:cNvGrpSpPr/>
            <p:nvPr/>
          </p:nvGrpSpPr>
          <p:grpSpPr>
            <a:xfrm>
              <a:off x="3803233" y="4112106"/>
              <a:ext cx="735655" cy="300217"/>
              <a:chOff x="3803233" y="4112106"/>
              <a:chExt cx="735655" cy="300217"/>
            </a:xfrm>
            <a:grpFill/>
          </p:grpSpPr>
          <p:sp>
            <p:nvSpPr>
              <p:cNvPr id="1407" name="Vrije vorm: vorm 1406">
                <a:extLst>
                  <a:ext uri="{FF2B5EF4-FFF2-40B4-BE49-F238E27FC236}">
                    <a16:creationId xmlns:a16="http://schemas.microsoft.com/office/drawing/2014/main" id="{006E5FF0-71E7-4777-AB57-22085E971574}"/>
                  </a:ext>
                </a:extLst>
              </p:cNvPr>
              <p:cNvSpPr/>
              <p:nvPr/>
            </p:nvSpPr>
            <p:spPr>
              <a:xfrm>
                <a:off x="3811414" y="4119740"/>
                <a:ext cx="719301" cy="285041"/>
              </a:xfrm>
              <a:custGeom>
                <a:avLst/>
                <a:gdLst>
                  <a:gd name="connsiteX0" fmla="*/ 719301 w 719301"/>
                  <a:gd name="connsiteY0" fmla="*/ 2871 h 285041"/>
                  <a:gd name="connsiteX1" fmla="*/ 1136 w 719301"/>
                  <a:gd name="connsiteY1" fmla="*/ 285041 h 285041"/>
                  <a:gd name="connsiteX2" fmla="*/ 0 w 719301"/>
                  <a:gd name="connsiteY2" fmla="*/ 282170 h 285041"/>
                  <a:gd name="connsiteX3" fmla="*/ 718165 w 719301"/>
                  <a:gd name="connsiteY3" fmla="*/ 0 h 285041"/>
                </a:gdLst>
                <a:ahLst/>
                <a:cxnLst>
                  <a:cxn ang="0">
                    <a:pos x="connsiteX0" y="connsiteY0"/>
                  </a:cxn>
                  <a:cxn ang="0">
                    <a:pos x="connsiteX1" y="connsiteY1"/>
                  </a:cxn>
                  <a:cxn ang="0">
                    <a:pos x="connsiteX2" y="connsiteY2"/>
                  </a:cxn>
                  <a:cxn ang="0">
                    <a:pos x="connsiteX3" y="connsiteY3"/>
                  </a:cxn>
                </a:cxnLst>
                <a:rect l="l" t="t" r="r" b="b"/>
                <a:pathLst>
                  <a:path w="719301" h="285041">
                    <a:moveTo>
                      <a:pt x="719301" y="2871"/>
                    </a:moveTo>
                    <a:lnTo>
                      <a:pt x="1136" y="285041"/>
                    </a:lnTo>
                    <a:lnTo>
                      <a:pt x="0" y="282170"/>
                    </a:lnTo>
                    <a:lnTo>
                      <a:pt x="718165" y="0"/>
                    </a:lnTo>
                    <a:close/>
                  </a:path>
                </a:pathLst>
              </a:custGeom>
              <a:grpFill/>
              <a:ln w="5978" cap="flat">
                <a:noFill/>
                <a:prstDash val="solid"/>
                <a:miter/>
              </a:ln>
            </p:spPr>
            <p:txBody>
              <a:bodyPr rtlCol="0" anchor="ctr"/>
              <a:lstStyle/>
              <a:p>
                <a:endParaRPr lang="en-GB"/>
              </a:p>
            </p:txBody>
          </p:sp>
          <p:sp>
            <p:nvSpPr>
              <p:cNvPr id="1408" name="Vrije vorm: vorm 1407">
                <a:extLst>
                  <a:ext uri="{FF2B5EF4-FFF2-40B4-BE49-F238E27FC236}">
                    <a16:creationId xmlns:a16="http://schemas.microsoft.com/office/drawing/2014/main" id="{049B8434-E486-446E-B99B-0B44D238C69D}"/>
                  </a:ext>
                </a:extLst>
              </p:cNvPr>
              <p:cNvSpPr/>
              <p:nvPr/>
            </p:nvSpPr>
            <p:spPr>
              <a:xfrm>
                <a:off x="4520568" y="4112106"/>
                <a:ext cx="18320" cy="18437"/>
              </a:xfrm>
              <a:custGeom>
                <a:avLst/>
                <a:gdLst>
                  <a:gd name="connsiteX0" fmla="*/ 5781 w 18320"/>
                  <a:gd name="connsiteY0" fmla="*/ 637 h 18437"/>
                  <a:gd name="connsiteX1" fmla="*/ 17682 w 18320"/>
                  <a:gd name="connsiteY1" fmla="*/ 5840 h 18437"/>
                  <a:gd name="connsiteX2" fmla="*/ 12539 w 18320"/>
                  <a:gd name="connsiteY2" fmla="*/ 17801 h 18437"/>
                  <a:gd name="connsiteX3" fmla="*/ 638 w 18320"/>
                  <a:gd name="connsiteY3" fmla="*/ 12538 h 18437"/>
                  <a:gd name="connsiteX4" fmla="*/ 5781 w 18320"/>
                  <a:gd name="connsiteY4" fmla="*/ 637 h 1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0" h="18437">
                    <a:moveTo>
                      <a:pt x="5781" y="637"/>
                    </a:moveTo>
                    <a:cubicBezTo>
                      <a:pt x="10506" y="-1217"/>
                      <a:pt x="15828" y="1115"/>
                      <a:pt x="17682" y="5840"/>
                    </a:cubicBezTo>
                    <a:cubicBezTo>
                      <a:pt x="19536" y="10565"/>
                      <a:pt x="17204" y="15947"/>
                      <a:pt x="12539" y="17801"/>
                    </a:cubicBezTo>
                    <a:cubicBezTo>
                      <a:pt x="7814" y="19655"/>
                      <a:pt x="2492" y="17323"/>
                      <a:pt x="638" y="12538"/>
                    </a:cubicBezTo>
                    <a:cubicBezTo>
                      <a:pt x="-1216" y="7813"/>
                      <a:pt x="1116" y="2491"/>
                      <a:pt x="5781" y="637"/>
                    </a:cubicBezTo>
                    <a:close/>
                  </a:path>
                </a:pathLst>
              </a:custGeom>
              <a:grpFill/>
              <a:ln w="5978" cap="flat">
                <a:noFill/>
                <a:prstDash val="solid"/>
                <a:miter/>
              </a:ln>
            </p:spPr>
            <p:txBody>
              <a:bodyPr rtlCol="0" anchor="ctr"/>
              <a:lstStyle/>
              <a:p>
                <a:endParaRPr lang="en-GB"/>
              </a:p>
            </p:txBody>
          </p:sp>
          <p:sp>
            <p:nvSpPr>
              <p:cNvPr id="1409" name="Vrije vorm: vorm 1408">
                <a:extLst>
                  <a:ext uri="{FF2B5EF4-FFF2-40B4-BE49-F238E27FC236}">
                    <a16:creationId xmlns:a16="http://schemas.microsoft.com/office/drawing/2014/main" id="{D7AEE0FB-B42D-4C0A-965F-BA3B69924430}"/>
                  </a:ext>
                </a:extLst>
              </p:cNvPr>
              <p:cNvSpPr/>
              <p:nvPr/>
            </p:nvSpPr>
            <p:spPr>
              <a:xfrm>
                <a:off x="3803233" y="4393950"/>
                <a:ext cx="18335" cy="18373"/>
              </a:xfrm>
              <a:custGeom>
                <a:avLst/>
                <a:gdLst>
                  <a:gd name="connsiteX0" fmla="*/ 5788 w 18335"/>
                  <a:gd name="connsiteY0" fmla="*/ 605 h 18373"/>
                  <a:gd name="connsiteX1" fmla="*/ 645 w 18335"/>
                  <a:gd name="connsiteY1" fmla="*/ 12507 h 18373"/>
                  <a:gd name="connsiteX2" fmla="*/ 12547 w 18335"/>
                  <a:gd name="connsiteY2" fmla="*/ 17770 h 18373"/>
                  <a:gd name="connsiteX3" fmla="*/ 17690 w 18335"/>
                  <a:gd name="connsiteY3" fmla="*/ 5808 h 18373"/>
                  <a:gd name="connsiteX4" fmla="*/ 5788 w 18335"/>
                  <a:gd name="connsiteY4" fmla="*/ 605 h 18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373">
                    <a:moveTo>
                      <a:pt x="5788" y="605"/>
                    </a:moveTo>
                    <a:cubicBezTo>
                      <a:pt x="1064" y="2459"/>
                      <a:pt x="-1209" y="7782"/>
                      <a:pt x="645" y="12507"/>
                    </a:cubicBezTo>
                    <a:cubicBezTo>
                      <a:pt x="2499" y="17231"/>
                      <a:pt x="7822" y="19564"/>
                      <a:pt x="12547" y="17770"/>
                    </a:cubicBezTo>
                    <a:cubicBezTo>
                      <a:pt x="17271" y="15916"/>
                      <a:pt x="19544" y="10593"/>
                      <a:pt x="17690" y="5808"/>
                    </a:cubicBezTo>
                    <a:cubicBezTo>
                      <a:pt x="15836" y="1143"/>
                      <a:pt x="10513" y="-1189"/>
                      <a:pt x="5788" y="605"/>
                    </a:cubicBezTo>
                    <a:close/>
                  </a:path>
                </a:pathLst>
              </a:custGeom>
              <a:grpFill/>
              <a:ln w="5978" cap="flat">
                <a:noFill/>
                <a:prstDash val="solid"/>
                <a:miter/>
              </a:ln>
            </p:spPr>
            <p:txBody>
              <a:bodyPr rtlCol="0" anchor="ctr"/>
              <a:lstStyle/>
              <a:p>
                <a:endParaRPr lang="en-GB"/>
              </a:p>
            </p:txBody>
          </p:sp>
        </p:grpSp>
        <p:grpSp>
          <p:nvGrpSpPr>
            <p:cNvPr id="1335" name="Graphic 3">
              <a:extLst>
                <a:ext uri="{FF2B5EF4-FFF2-40B4-BE49-F238E27FC236}">
                  <a16:creationId xmlns:a16="http://schemas.microsoft.com/office/drawing/2014/main" id="{02DE9764-9CE3-497F-98E6-F7327F19433D}"/>
                </a:ext>
              </a:extLst>
            </p:cNvPr>
            <p:cNvGrpSpPr/>
            <p:nvPr/>
          </p:nvGrpSpPr>
          <p:grpSpPr>
            <a:xfrm>
              <a:off x="3775943" y="3624782"/>
              <a:ext cx="391508" cy="61061"/>
              <a:chOff x="3775943" y="3624782"/>
              <a:chExt cx="391508" cy="61061"/>
            </a:xfrm>
            <a:grpFill/>
          </p:grpSpPr>
          <p:sp>
            <p:nvSpPr>
              <p:cNvPr id="1404" name="Vrije vorm: vorm 1403">
                <a:extLst>
                  <a:ext uri="{FF2B5EF4-FFF2-40B4-BE49-F238E27FC236}">
                    <a16:creationId xmlns:a16="http://schemas.microsoft.com/office/drawing/2014/main" id="{A827C2A6-2CD2-4177-9B8C-7E15DA5B4D63}"/>
                  </a:ext>
                </a:extLst>
              </p:cNvPr>
              <p:cNvSpPr/>
              <p:nvPr/>
            </p:nvSpPr>
            <p:spPr>
              <a:xfrm>
                <a:off x="3784441" y="3632372"/>
                <a:ext cx="374512" cy="45872"/>
              </a:xfrm>
              <a:custGeom>
                <a:avLst/>
                <a:gdLst>
                  <a:gd name="connsiteX0" fmla="*/ 374154 w 374512"/>
                  <a:gd name="connsiteY0" fmla="*/ 0 h 45872"/>
                  <a:gd name="connsiteX1" fmla="*/ 374513 w 374512"/>
                  <a:gd name="connsiteY1" fmla="*/ 3050 h 45872"/>
                  <a:gd name="connsiteX2" fmla="*/ 359 w 374512"/>
                  <a:gd name="connsiteY2" fmla="*/ 45872 h 45872"/>
                  <a:gd name="connsiteX3" fmla="*/ 0 w 374512"/>
                  <a:gd name="connsiteY3" fmla="*/ 42822 h 45872"/>
                </a:gdLst>
                <a:ahLst/>
                <a:cxnLst>
                  <a:cxn ang="0">
                    <a:pos x="connsiteX0" y="connsiteY0"/>
                  </a:cxn>
                  <a:cxn ang="0">
                    <a:pos x="connsiteX1" y="connsiteY1"/>
                  </a:cxn>
                  <a:cxn ang="0">
                    <a:pos x="connsiteX2" y="connsiteY2"/>
                  </a:cxn>
                  <a:cxn ang="0">
                    <a:pos x="connsiteX3" y="connsiteY3"/>
                  </a:cxn>
                </a:cxnLst>
                <a:rect l="l" t="t" r="r" b="b"/>
                <a:pathLst>
                  <a:path w="374512" h="45872">
                    <a:moveTo>
                      <a:pt x="374154" y="0"/>
                    </a:moveTo>
                    <a:lnTo>
                      <a:pt x="374513" y="3050"/>
                    </a:lnTo>
                    <a:lnTo>
                      <a:pt x="359" y="45872"/>
                    </a:lnTo>
                    <a:lnTo>
                      <a:pt x="0" y="42822"/>
                    </a:lnTo>
                    <a:close/>
                  </a:path>
                </a:pathLst>
              </a:custGeom>
              <a:grpFill/>
              <a:ln w="5978" cap="flat">
                <a:noFill/>
                <a:prstDash val="solid"/>
                <a:miter/>
              </a:ln>
            </p:spPr>
            <p:txBody>
              <a:bodyPr rtlCol="0" anchor="ctr"/>
              <a:lstStyle/>
              <a:p>
                <a:endParaRPr lang="en-GB"/>
              </a:p>
            </p:txBody>
          </p:sp>
          <p:sp>
            <p:nvSpPr>
              <p:cNvPr id="1405" name="Vrije vorm: vorm 1404">
                <a:extLst>
                  <a:ext uri="{FF2B5EF4-FFF2-40B4-BE49-F238E27FC236}">
                    <a16:creationId xmlns:a16="http://schemas.microsoft.com/office/drawing/2014/main" id="{89FE28E6-5824-4ED6-B925-A115DFAE4E2D}"/>
                  </a:ext>
                </a:extLst>
              </p:cNvPr>
              <p:cNvSpPr/>
              <p:nvPr/>
            </p:nvSpPr>
            <p:spPr>
              <a:xfrm>
                <a:off x="3775943" y="3667414"/>
                <a:ext cx="18311" cy="18429"/>
              </a:xfrm>
              <a:custGeom>
                <a:avLst/>
                <a:gdLst>
                  <a:gd name="connsiteX0" fmla="*/ 10232 w 18311"/>
                  <a:gd name="connsiteY0" fmla="*/ 18365 h 18429"/>
                  <a:gd name="connsiteX1" fmla="*/ 65 w 18311"/>
                  <a:gd name="connsiteY1" fmla="*/ 10231 h 18429"/>
                  <a:gd name="connsiteX2" fmla="*/ 8079 w 18311"/>
                  <a:gd name="connsiteY2" fmla="*/ 64 h 18429"/>
                  <a:gd name="connsiteX3" fmla="*/ 18247 w 18311"/>
                  <a:gd name="connsiteY3" fmla="*/ 8198 h 18429"/>
                  <a:gd name="connsiteX4" fmla="*/ 10232 w 18311"/>
                  <a:gd name="connsiteY4" fmla="*/ 1836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9">
                    <a:moveTo>
                      <a:pt x="10232" y="18365"/>
                    </a:moveTo>
                    <a:cubicBezTo>
                      <a:pt x="5209" y="18963"/>
                      <a:pt x="663" y="15315"/>
                      <a:pt x="65" y="10231"/>
                    </a:cubicBezTo>
                    <a:cubicBezTo>
                      <a:pt x="-533" y="5148"/>
                      <a:pt x="3055" y="602"/>
                      <a:pt x="8079" y="64"/>
                    </a:cubicBezTo>
                    <a:cubicBezTo>
                      <a:pt x="13103" y="-534"/>
                      <a:pt x="17648" y="3114"/>
                      <a:pt x="18247" y="8198"/>
                    </a:cubicBezTo>
                    <a:cubicBezTo>
                      <a:pt x="18845" y="13222"/>
                      <a:pt x="15256" y="17827"/>
                      <a:pt x="10232" y="18365"/>
                    </a:cubicBezTo>
                    <a:close/>
                  </a:path>
                </a:pathLst>
              </a:custGeom>
              <a:grpFill/>
              <a:ln w="5978" cap="flat">
                <a:noFill/>
                <a:prstDash val="solid"/>
                <a:miter/>
              </a:ln>
            </p:spPr>
            <p:txBody>
              <a:bodyPr rtlCol="0" anchor="ctr"/>
              <a:lstStyle/>
              <a:p>
                <a:endParaRPr lang="en-GB"/>
              </a:p>
            </p:txBody>
          </p:sp>
          <p:sp>
            <p:nvSpPr>
              <p:cNvPr id="1406" name="Vrije vorm: vorm 1405">
                <a:extLst>
                  <a:ext uri="{FF2B5EF4-FFF2-40B4-BE49-F238E27FC236}">
                    <a16:creationId xmlns:a16="http://schemas.microsoft.com/office/drawing/2014/main" id="{8D8ECC94-00FF-42A9-8C8D-D3875D6CC93C}"/>
                  </a:ext>
                </a:extLst>
              </p:cNvPr>
              <p:cNvSpPr/>
              <p:nvPr/>
            </p:nvSpPr>
            <p:spPr>
              <a:xfrm>
                <a:off x="4149140" y="3624782"/>
                <a:ext cx="18311" cy="18407"/>
              </a:xfrm>
              <a:custGeom>
                <a:avLst/>
                <a:gdLst>
                  <a:gd name="connsiteX0" fmla="*/ 10232 w 18311"/>
                  <a:gd name="connsiteY0" fmla="*/ 18354 h 18407"/>
                  <a:gd name="connsiteX1" fmla="*/ 18246 w 18311"/>
                  <a:gd name="connsiteY1" fmla="*/ 8187 h 18407"/>
                  <a:gd name="connsiteX2" fmla="*/ 8079 w 18311"/>
                  <a:gd name="connsiteY2" fmla="*/ 53 h 18407"/>
                  <a:gd name="connsiteX3" fmla="*/ 65 w 18311"/>
                  <a:gd name="connsiteY3" fmla="*/ 10221 h 18407"/>
                  <a:gd name="connsiteX4" fmla="*/ 10232 w 18311"/>
                  <a:gd name="connsiteY4" fmla="*/ 1835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07">
                    <a:moveTo>
                      <a:pt x="10232" y="18354"/>
                    </a:moveTo>
                    <a:cubicBezTo>
                      <a:pt x="15256" y="17756"/>
                      <a:pt x="18845" y="13211"/>
                      <a:pt x="18246" y="8187"/>
                    </a:cubicBezTo>
                    <a:cubicBezTo>
                      <a:pt x="17648" y="3104"/>
                      <a:pt x="13103" y="-485"/>
                      <a:pt x="8079" y="53"/>
                    </a:cubicBezTo>
                    <a:cubicBezTo>
                      <a:pt x="3055" y="652"/>
                      <a:pt x="-533" y="5197"/>
                      <a:pt x="65" y="10221"/>
                    </a:cubicBezTo>
                    <a:cubicBezTo>
                      <a:pt x="663" y="15304"/>
                      <a:pt x="5208" y="18893"/>
                      <a:pt x="10232" y="18354"/>
                    </a:cubicBezTo>
                    <a:close/>
                  </a:path>
                </a:pathLst>
              </a:custGeom>
              <a:grpFill/>
              <a:ln w="5978" cap="flat">
                <a:noFill/>
                <a:prstDash val="solid"/>
                <a:miter/>
              </a:ln>
            </p:spPr>
            <p:txBody>
              <a:bodyPr rtlCol="0" anchor="ctr"/>
              <a:lstStyle/>
              <a:p>
                <a:endParaRPr lang="en-GB"/>
              </a:p>
            </p:txBody>
          </p:sp>
        </p:grpSp>
        <p:grpSp>
          <p:nvGrpSpPr>
            <p:cNvPr id="1336" name="Graphic 3">
              <a:extLst>
                <a:ext uri="{FF2B5EF4-FFF2-40B4-BE49-F238E27FC236}">
                  <a16:creationId xmlns:a16="http://schemas.microsoft.com/office/drawing/2014/main" id="{BAEEA806-F062-4A8E-BC3E-F873E844E0B8}"/>
                </a:ext>
              </a:extLst>
            </p:cNvPr>
            <p:cNvGrpSpPr/>
            <p:nvPr/>
          </p:nvGrpSpPr>
          <p:grpSpPr>
            <a:xfrm>
              <a:off x="3722748" y="3553642"/>
              <a:ext cx="435759" cy="50345"/>
              <a:chOff x="3722748" y="3553642"/>
              <a:chExt cx="435759" cy="50345"/>
            </a:xfrm>
            <a:grpFill/>
          </p:grpSpPr>
          <p:sp>
            <p:nvSpPr>
              <p:cNvPr id="1401" name="Vrije vorm: vorm 1400">
                <a:extLst>
                  <a:ext uri="{FF2B5EF4-FFF2-40B4-BE49-F238E27FC236}">
                    <a16:creationId xmlns:a16="http://schemas.microsoft.com/office/drawing/2014/main" id="{371F48E5-8E49-43FB-8CBD-B2197A811214}"/>
                  </a:ext>
                </a:extLst>
              </p:cNvPr>
              <p:cNvSpPr/>
              <p:nvPr/>
            </p:nvSpPr>
            <p:spPr>
              <a:xfrm>
                <a:off x="3731332" y="3561261"/>
                <a:ext cx="418590" cy="35106"/>
              </a:xfrm>
              <a:custGeom>
                <a:avLst/>
                <a:gdLst>
                  <a:gd name="connsiteX0" fmla="*/ 418352 w 418590"/>
                  <a:gd name="connsiteY0" fmla="*/ 0 h 35106"/>
                  <a:gd name="connsiteX1" fmla="*/ 418591 w 418590"/>
                  <a:gd name="connsiteY1" fmla="*/ 3050 h 35106"/>
                  <a:gd name="connsiteX2" fmla="*/ 239 w 418590"/>
                  <a:gd name="connsiteY2" fmla="*/ 35107 h 35106"/>
                  <a:gd name="connsiteX3" fmla="*/ 0 w 418590"/>
                  <a:gd name="connsiteY3" fmla="*/ 32057 h 35106"/>
                </a:gdLst>
                <a:ahLst/>
                <a:cxnLst>
                  <a:cxn ang="0">
                    <a:pos x="connsiteX0" y="connsiteY0"/>
                  </a:cxn>
                  <a:cxn ang="0">
                    <a:pos x="connsiteX1" y="connsiteY1"/>
                  </a:cxn>
                  <a:cxn ang="0">
                    <a:pos x="connsiteX2" y="connsiteY2"/>
                  </a:cxn>
                  <a:cxn ang="0">
                    <a:pos x="connsiteX3" y="connsiteY3"/>
                  </a:cxn>
                </a:cxnLst>
                <a:rect l="l" t="t" r="r" b="b"/>
                <a:pathLst>
                  <a:path w="418590" h="35106">
                    <a:moveTo>
                      <a:pt x="418352" y="0"/>
                    </a:moveTo>
                    <a:lnTo>
                      <a:pt x="418591" y="3050"/>
                    </a:lnTo>
                    <a:lnTo>
                      <a:pt x="239" y="35107"/>
                    </a:lnTo>
                    <a:lnTo>
                      <a:pt x="0" y="32057"/>
                    </a:lnTo>
                    <a:close/>
                  </a:path>
                </a:pathLst>
              </a:custGeom>
              <a:grpFill/>
              <a:ln w="5978" cap="flat">
                <a:noFill/>
                <a:prstDash val="solid"/>
                <a:miter/>
              </a:ln>
            </p:spPr>
            <p:txBody>
              <a:bodyPr rtlCol="0" anchor="ctr"/>
              <a:lstStyle/>
              <a:p>
                <a:endParaRPr lang="en-GB"/>
              </a:p>
            </p:txBody>
          </p:sp>
          <p:sp>
            <p:nvSpPr>
              <p:cNvPr id="1402" name="Vrije vorm: vorm 1401">
                <a:extLst>
                  <a:ext uri="{FF2B5EF4-FFF2-40B4-BE49-F238E27FC236}">
                    <a16:creationId xmlns:a16="http://schemas.microsoft.com/office/drawing/2014/main" id="{4FBD069C-D54F-47DD-95A5-35D7FB8C6869}"/>
                  </a:ext>
                </a:extLst>
              </p:cNvPr>
              <p:cNvSpPr/>
              <p:nvPr/>
            </p:nvSpPr>
            <p:spPr>
              <a:xfrm>
                <a:off x="4140202" y="3553642"/>
                <a:ext cx="18304" cy="18407"/>
              </a:xfrm>
              <a:custGeom>
                <a:avLst/>
                <a:gdLst>
                  <a:gd name="connsiteX0" fmla="*/ 8405 w 18304"/>
                  <a:gd name="connsiteY0" fmla="*/ 24 h 18407"/>
                  <a:gd name="connsiteX1" fmla="*/ 18273 w 18304"/>
                  <a:gd name="connsiteY1" fmla="*/ 8516 h 18407"/>
                  <a:gd name="connsiteX2" fmla="*/ 9900 w 18304"/>
                  <a:gd name="connsiteY2" fmla="*/ 18384 h 18407"/>
                  <a:gd name="connsiteX3" fmla="*/ 32 w 18304"/>
                  <a:gd name="connsiteY3" fmla="*/ 9892 h 18407"/>
                  <a:gd name="connsiteX4" fmla="*/ 8405 w 18304"/>
                  <a:gd name="connsiteY4" fmla="*/ 24 h 1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4" h="18407">
                    <a:moveTo>
                      <a:pt x="8405" y="24"/>
                    </a:moveTo>
                    <a:cubicBezTo>
                      <a:pt x="13429" y="-335"/>
                      <a:pt x="17854" y="3433"/>
                      <a:pt x="18273" y="8516"/>
                    </a:cubicBezTo>
                    <a:cubicBezTo>
                      <a:pt x="18692" y="13600"/>
                      <a:pt x="14924" y="18025"/>
                      <a:pt x="9900" y="18384"/>
                    </a:cubicBezTo>
                    <a:cubicBezTo>
                      <a:pt x="4876" y="18743"/>
                      <a:pt x="450" y="14975"/>
                      <a:pt x="32" y="9892"/>
                    </a:cubicBezTo>
                    <a:cubicBezTo>
                      <a:pt x="-387" y="4808"/>
                      <a:pt x="3381" y="382"/>
                      <a:pt x="8405" y="24"/>
                    </a:cubicBezTo>
                    <a:close/>
                  </a:path>
                </a:pathLst>
              </a:custGeom>
              <a:grpFill/>
              <a:ln w="5978" cap="flat">
                <a:noFill/>
                <a:prstDash val="solid"/>
                <a:miter/>
              </a:ln>
            </p:spPr>
            <p:txBody>
              <a:bodyPr rtlCol="0" anchor="ctr"/>
              <a:lstStyle/>
              <a:p>
                <a:endParaRPr lang="en-GB"/>
              </a:p>
            </p:txBody>
          </p:sp>
          <p:sp>
            <p:nvSpPr>
              <p:cNvPr id="1403" name="Vrije vorm: vorm 1402">
                <a:extLst>
                  <a:ext uri="{FF2B5EF4-FFF2-40B4-BE49-F238E27FC236}">
                    <a16:creationId xmlns:a16="http://schemas.microsoft.com/office/drawing/2014/main" id="{64475095-3EF4-4737-9BC2-59C68579D9CB}"/>
                  </a:ext>
                </a:extLst>
              </p:cNvPr>
              <p:cNvSpPr/>
              <p:nvPr/>
            </p:nvSpPr>
            <p:spPr>
              <a:xfrm>
                <a:off x="3722748" y="3585579"/>
                <a:ext cx="18356" cy="18408"/>
              </a:xfrm>
              <a:custGeom>
                <a:avLst/>
                <a:gdLst>
                  <a:gd name="connsiteX0" fmla="*/ 8405 w 18356"/>
                  <a:gd name="connsiteY0" fmla="*/ 24 h 18408"/>
                  <a:gd name="connsiteX1" fmla="*/ 32 w 18356"/>
                  <a:gd name="connsiteY1" fmla="*/ 9892 h 18408"/>
                  <a:gd name="connsiteX2" fmla="*/ 9900 w 18356"/>
                  <a:gd name="connsiteY2" fmla="*/ 18384 h 18408"/>
                  <a:gd name="connsiteX3" fmla="*/ 18333 w 18356"/>
                  <a:gd name="connsiteY3" fmla="*/ 8516 h 18408"/>
                  <a:gd name="connsiteX4" fmla="*/ 8405 w 18356"/>
                  <a:gd name="connsiteY4" fmla="*/ 24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6" h="18408">
                    <a:moveTo>
                      <a:pt x="8405" y="24"/>
                    </a:moveTo>
                    <a:cubicBezTo>
                      <a:pt x="3381" y="382"/>
                      <a:pt x="-387" y="4808"/>
                      <a:pt x="32" y="9892"/>
                    </a:cubicBezTo>
                    <a:cubicBezTo>
                      <a:pt x="450" y="14975"/>
                      <a:pt x="4876" y="18743"/>
                      <a:pt x="9900" y="18384"/>
                    </a:cubicBezTo>
                    <a:cubicBezTo>
                      <a:pt x="14924" y="18026"/>
                      <a:pt x="18692" y="13600"/>
                      <a:pt x="18333" y="8516"/>
                    </a:cubicBezTo>
                    <a:cubicBezTo>
                      <a:pt x="17854" y="3433"/>
                      <a:pt x="13429" y="-335"/>
                      <a:pt x="8405" y="24"/>
                    </a:cubicBezTo>
                    <a:close/>
                  </a:path>
                </a:pathLst>
              </a:custGeom>
              <a:grpFill/>
              <a:ln w="5978" cap="flat">
                <a:noFill/>
                <a:prstDash val="solid"/>
                <a:miter/>
              </a:ln>
            </p:spPr>
            <p:txBody>
              <a:bodyPr rtlCol="0" anchor="ctr"/>
              <a:lstStyle/>
              <a:p>
                <a:endParaRPr lang="en-GB"/>
              </a:p>
            </p:txBody>
          </p:sp>
        </p:grpSp>
        <p:grpSp>
          <p:nvGrpSpPr>
            <p:cNvPr id="1337" name="Graphic 3">
              <a:extLst>
                <a:ext uri="{FF2B5EF4-FFF2-40B4-BE49-F238E27FC236}">
                  <a16:creationId xmlns:a16="http://schemas.microsoft.com/office/drawing/2014/main" id="{2F6F7F82-5784-41DE-B7D3-726ABC1F8EE4}"/>
                </a:ext>
              </a:extLst>
            </p:cNvPr>
            <p:cNvGrpSpPr/>
            <p:nvPr/>
          </p:nvGrpSpPr>
          <p:grpSpPr>
            <a:xfrm>
              <a:off x="3517139" y="3599103"/>
              <a:ext cx="870174" cy="68750"/>
              <a:chOff x="3517139" y="3599103"/>
              <a:chExt cx="870174" cy="68750"/>
            </a:xfrm>
            <a:grpFill/>
          </p:grpSpPr>
          <p:sp>
            <p:nvSpPr>
              <p:cNvPr id="1398" name="Vrije vorm: vorm 1397">
                <a:extLst>
                  <a:ext uri="{FF2B5EF4-FFF2-40B4-BE49-F238E27FC236}">
                    <a16:creationId xmlns:a16="http://schemas.microsoft.com/office/drawing/2014/main" id="{1C0DE8A2-0529-44B7-AF39-95CF4E674F8B}"/>
                  </a:ext>
                </a:extLst>
              </p:cNvPr>
              <p:cNvSpPr/>
              <p:nvPr/>
            </p:nvSpPr>
            <p:spPr>
              <a:xfrm>
                <a:off x="3525775" y="3606774"/>
                <a:ext cx="852910" cy="53407"/>
              </a:xfrm>
              <a:custGeom>
                <a:avLst/>
                <a:gdLst>
                  <a:gd name="connsiteX0" fmla="*/ 852732 w 852910"/>
                  <a:gd name="connsiteY0" fmla="*/ 0 h 53407"/>
                  <a:gd name="connsiteX1" fmla="*/ 852911 w 852910"/>
                  <a:gd name="connsiteY1" fmla="*/ 3050 h 53407"/>
                  <a:gd name="connsiteX2" fmla="*/ 179 w 852910"/>
                  <a:gd name="connsiteY2" fmla="*/ 53408 h 53407"/>
                  <a:gd name="connsiteX3" fmla="*/ 0 w 852910"/>
                  <a:gd name="connsiteY3" fmla="*/ 50358 h 53407"/>
                </a:gdLst>
                <a:ahLst/>
                <a:cxnLst>
                  <a:cxn ang="0">
                    <a:pos x="connsiteX0" y="connsiteY0"/>
                  </a:cxn>
                  <a:cxn ang="0">
                    <a:pos x="connsiteX1" y="connsiteY1"/>
                  </a:cxn>
                  <a:cxn ang="0">
                    <a:pos x="connsiteX2" y="connsiteY2"/>
                  </a:cxn>
                  <a:cxn ang="0">
                    <a:pos x="connsiteX3" y="connsiteY3"/>
                  </a:cxn>
                </a:cxnLst>
                <a:rect l="l" t="t" r="r" b="b"/>
                <a:pathLst>
                  <a:path w="852910" h="53407">
                    <a:moveTo>
                      <a:pt x="852732" y="0"/>
                    </a:moveTo>
                    <a:lnTo>
                      <a:pt x="852911" y="3050"/>
                    </a:lnTo>
                    <a:lnTo>
                      <a:pt x="179" y="53408"/>
                    </a:lnTo>
                    <a:lnTo>
                      <a:pt x="0" y="50358"/>
                    </a:lnTo>
                    <a:close/>
                  </a:path>
                </a:pathLst>
              </a:custGeom>
              <a:grpFill/>
              <a:ln w="5978" cap="flat">
                <a:noFill/>
                <a:prstDash val="solid"/>
                <a:miter/>
              </a:ln>
            </p:spPr>
            <p:txBody>
              <a:bodyPr rtlCol="0" anchor="ctr"/>
              <a:lstStyle/>
              <a:p>
                <a:endParaRPr lang="en-GB"/>
              </a:p>
            </p:txBody>
          </p:sp>
          <p:sp>
            <p:nvSpPr>
              <p:cNvPr id="1399" name="Vrije vorm: vorm 1398">
                <a:extLst>
                  <a:ext uri="{FF2B5EF4-FFF2-40B4-BE49-F238E27FC236}">
                    <a16:creationId xmlns:a16="http://schemas.microsoft.com/office/drawing/2014/main" id="{0D24D3CA-535B-4259-9A5B-FC02883068F4}"/>
                  </a:ext>
                </a:extLst>
              </p:cNvPr>
              <p:cNvSpPr/>
              <p:nvPr/>
            </p:nvSpPr>
            <p:spPr>
              <a:xfrm>
                <a:off x="4368980" y="3599103"/>
                <a:ext cx="18333" cy="18452"/>
              </a:xfrm>
              <a:custGeom>
                <a:avLst/>
                <a:gdLst>
                  <a:gd name="connsiteX0" fmla="*/ 8569 w 18333"/>
                  <a:gd name="connsiteY0" fmla="*/ 16 h 18452"/>
                  <a:gd name="connsiteX1" fmla="*/ 18317 w 18333"/>
                  <a:gd name="connsiteY1" fmla="*/ 8688 h 18452"/>
                  <a:gd name="connsiteX2" fmla="*/ 9765 w 18333"/>
                  <a:gd name="connsiteY2" fmla="*/ 18437 h 18452"/>
                  <a:gd name="connsiteX3" fmla="*/ 16 w 18333"/>
                  <a:gd name="connsiteY3" fmla="*/ 9765 h 18452"/>
                  <a:gd name="connsiteX4" fmla="*/ 8569 w 18333"/>
                  <a:gd name="connsiteY4" fmla="*/ 16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8569" y="16"/>
                    </a:moveTo>
                    <a:cubicBezTo>
                      <a:pt x="13593" y="-283"/>
                      <a:pt x="17959" y="3604"/>
                      <a:pt x="18317" y="8688"/>
                    </a:cubicBezTo>
                    <a:cubicBezTo>
                      <a:pt x="18616" y="13772"/>
                      <a:pt x="14789" y="18138"/>
                      <a:pt x="9765" y="18437"/>
                    </a:cubicBezTo>
                    <a:cubicBezTo>
                      <a:pt x="4741" y="18736"/>
                      <a:pt x="375" y="14848"/>
                      <a:pt x="16" y="9765"/>
                    </a:cubicBezTo>
                    <a:cubicBezTo>
                      <a:pt x="-283" y="4681"/>
                      <a:pt x="3545" y="315"/>
                      <a:pt x="8569" y="16"/>
                    </a:cubicBezTo>
                    <a:close/>
                  </a:path>
                </a:pathLst>
              </a:custGeom>
              <a:grpFill/>
              <a:ln w="5978" cap="flat">
                <a:noFill/>
                <a:prstDash val="solid"/>
                <a:miter/>
              </a:ln>
            </p:spPr>
            <p:txBody>
              <a:bodyPr rtlCol="0" anchor="ctr"/>
              <a:lstStyle/>
              <a:p>
                <a:endParaRPr lang="en-GB"/>
              </a:p>
            </p:txBody>
          </p:sp>
          <p:sp>
            <p:nvSpPr>
              <p:cNvPr id="1400" name="Vrije vorm: vorm 1399">
                <a:extLst>
                  <a:ext uri="{FF2B5EF4-FFF2-40B4-BE49-F238E27FC236}">
                    <a16:creationId xmlns:a16="http://schemas.microsoft.com/office/drawing/2014/main" id="{18648CB7-C416-4A30-96EE-B7C69F358292}"/>
                  </a:ext>
                </a:extLst>
              </p:cNvPr>
              <p:cNvSpPr/>
              <p:nvPr/>
            </p:nvSpPr>
            <p:spPr>
              <a:xfrm>
                <a:off x="3517139" y="3649400"/>
                <a:ext cx="18346" cy="18453"/>
              </a:xfrm>
              <a:custGeom>
                <a:avLst/>
                <a:gdLst>
                  <a:gd name="connsiteX0" fmla="*/ 8575 w 18346"/>
                  <a:gd name="connsiteY0" fmla="*/ 16 h 18453"/>
                  <a:gd name="connsiteX1" fmla="*/ 23 w 18346"/>
                  <a:gd name="connsiteY1" fmla="*/ 9765 h 18453"/>
                  <a:gd name="connsiteX2" fmla="*/ 9772 w 18346"/>
                  <a:gd name="connsiteY2" fmla="*/ 18437 h 18453"/>
                  <a:gd name="connsiteX3" fmla="*/ 18324 w 18346"/>
                  <a:gd name="connsiteY3" fmla="*/ 8688 h 18453"/>
                  <a:gd name="connsiteX4" fmla="*/ 8575 w 18346"/>
                  <a:gd name="connsiteY4" fmla="*/ 16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6" h="18453">
                    <a:moveTo>
                      <a:pt x="8575" y="16"/>
                    </a:moveTo>
                    <a:cubicBezTo>
                      <a:pt x="3552" y="315"/>
                      <a:pt x="-336" y="4681"/>
                      <a:pt x="23" y="9765"/>
                    </a:cubicBezTo>
                    <a:cubicBezTo>
                      <a:pt x="322" y="14848"/>
                      <a:pt x="4688" y="18736"/>
                      <a:pt x="9772" y="18437"/>
                    </a:cubicBezTo>
                    <a:cubicBezTo>
                      <a:pt x="14795" y="18138"/>
                      <a:pt x="18683" y="13772"/>
                      <a:pt x="18324" y="8688"/>
                    </a:cubicBezTo>
                    <a:cubicBezTo>
                      <a:pt x="17965" y="3605"/>
                      <a:pt x="13659" y="-283"/>
                      <a:pt x="8575" y="16"/>
                    </a:cubicBezTo>
                    <a:close/>
                  </a:path>
                </a:pathLst>
              </a:custGeom>
              <a:grpFill/>
              <a:ln w="5978" cap="flat">
                <a:noFill/>
                <a:prstDash val="solid"/>
                <a:miter/>
              </a:ln>
            </p:spPr>
            <p:txBody>
              <a:bodyPr rtlCol="0" anchor="ctr"/>
              <a:lstStyle/>
              <a:p>
                <a:endParaRPr lang="en-GB"/>
              </a:p>
            </p:txBody>
          </p:sp>
        </p:grpSp>
        <p:grpSp>
          <p:nvGrpSpPr>
            <p:cNvPr id="1338" name="Graphic 3">
              <a:extLst>
                <a:ext uri="{FF2B5EF4-FFF2-40B4-BE49-F238E27FC236}">
                  <a16:creationId xmlns:a16="http://schemas.microsoft.com/office/drawing/2014/main" id="{B08372E1-3003-4BBE-8D42-8B8112C7C1A6}"/>
                </a:ext>
              </a:extLst>
            </p:cNvPr>
            <p:cNvGrpSpPr/>
            <p:nvPr/>
          </p:nvGrpSpPr>
          <p:grpSpPr>
            <a:xfrm>
              <a:off x="4218394" y="4525391"/>
              <a:ext cx="79831" cy="57397"/>
              <a:chOff x="4218394" y="4525391"/>
              <a:chExt cx="79831" cy="57397"/>
            </a:xfrm>
            <a:grpFill/>
          </p:grpSpPr>
          <p:sp>
            <p:nvSpPr>
              <p:cNvPr id="1395" name="Vrije vorm: vorm 1394">
                <a:extLst>
                  <a:ext uri="{FF2B5EF4-FFF2-40B4-BE49-F238E27FC236}">
                    <a16:creationId xmlns:a16="http://schemas.microsoft.com/office/drawing/2014/main" id="{0CBAF84C-8FCD-4287-AF3E-FE198CA07E1E}"/>
                  </a:ext>
                </a:extLst>
              </p:cNvPr>
              <p:cNvSpPr/>
              <p:nvPr/>
            </p:nvSpPr>
            <p:spPr>
              <a:xfrm>
                <a:off x="4226356" y="4533068"/>
                <a:ext cx="63933" cy="42044"/>
              </a:xfrm>
              <a:custGeom>
                <a:avLst/>
                <a:gdLst>
                  <a:gd name="connsiteX0" fmla="*/ 63934 w 63933"/>
                  <a:gd name="connsiteY0" fmla="*/ 2572 h 42044"/>
                  <a:gd name="connsiteX1" fmla="*/ 1615 w 63933"/>
                  <a:gd name="connsiteY1" fmla="*/ 42045 h 42044"/>
                  <a:gd name="connsiteX2" fmla="*/ 0 w 63933"/>
                  <a:gd name="connsiteY2" fmla="*/ 39413 h 42044"/>
                  <a:gd name="connsiteX3" fmla="*/ 62319 w 63933"/>
                  <a:gd name="connsiteY3" fmla="*/ 0 h 42044"/>
                </a:gdLst>
                <a:ahLst/>
                <a:cxnLst>
                  <a:cxn ang="0">
                    <a:pos x="connsiteX0" y="connsiteY0"/>
                  </a:cxn>
                  <a:cxn ang="0">
                    <a:pos x="connsiteX1" y="connsiteY1"/>
                  </a:cxn>
                  <a:cxn ang="0">
                    <a:pos x="connsiteX2" y="connsiteY2"/>
                  </a:cxn>
                  <a:cxn ang="0">
                    <a:pos x="connsiteX3" y="connsiteY3"/>
                  </a:cxn>
                </a:cxnLst>
                <a:rect l="l" t="t" r="r" b="b"/>
                <a:pathLst>
                  <a:path w="63933" h="42044">
                    <a:moveTo>
                      <a:pt x="63934" y="2572"/>
                    </a:moveTo>
                    <a:lnTo>
                      <a:pt x="1615" y="42045"/>
                    </a:lnTo>
                    <a:lnTo>
                      <a:pt x="0" y="39413"/>
                    </a:lnTo>
                    <a:lnTo>
                      <a:pt x="62319" y="0"/>
                    </a:lnTo>
                    <a:close/>
                  </a:path>
                </a:pathLst>
              </a:custGeom>
              <a:grpFill/>
              <a:ln w="5978" cap="flat">
                <a:noFill/>
                <a:prstDash val="solid"/>
                <a:miter/>
              </a:ln>
            </p:spPr>
            <p:txBody>
              <a:bodyPr rtlCol="0" anchor="ctr"/>
              <a:lstStyle/>
              <a:p>
                <a:endParaRPr lang="en-GB"/>
              </a:p>
            </p:txBody>
          </p:sp>
          <p:sp>
            <p:nvSpPr>
              <p:cNvPr id="1396" name="Vrije vorm: vorm 1395">
                <a:extLst>
                  <a:ext uri="{FF2B5EF4-FFF2-40B4-BE49-F238E27FC236}">
                    <a16:creationId xmlns:a16="http://schemas.microsoft.com/office/drawing/2014/main" id="{89FDDFC6-997B-48D7-94A0-40FA5413C056}"/>
                  </a:ext>
                </a:extLst>
              </p:cNvPr>
              <p:cNvSpPr/>
              <p:nvPr/>
            </p:nvSpPr>
            <p:spPr>
              <a:xfrm>
                <a:off x="4279936" y="4525391"/>
                <a:ext cx="18290" cy="18417"/>
              </a:xfrm>
              <a:custGeom>
                <a:avLst/>
                <a:gdLst>
                  <a:gd name="connsiteX0" fmla="*/ 4254 w 18290"/>
                  <a:gd name="connsiteY0" fmla="*/ 1397 h 18417"/>
                  <a:gd name="connsiteX1" fmla="*/ 16873 w 18290"/>
                  <a:gd name="connsiteY1" fmla="*/ 4327 h 18417"/>
                  <a:gd name="connsiteX2" fmla="*/ 14063 w 18290"/>
                  <a:gd name="connsiteY2" fmla="*/ 17007 h 18417"/>
                  <a:gd name="connsiteX3" fmla="*/ 1443 w 18290"/>
                  <a:gd name="connsiteY3" fmla="*/ 14076 h 18417"/>
                  <a:gd name="connsiteX4" fmla="*/ 4254 w 18290"/>
                  <a:gd name="connsiteY4" fmla="*/ 1397 h 18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0" h="18417">
                    <a:moveTo>
                      <a:pt x="4254" y="1397"/>
                    </a:moveTo>
                    <a:cubicBezTo>
                      <a:pt x="8501" y="-1294"/>
                      <a:pt x="14182" y="21"/>
                      <a:pt x="16873" y="4327"/>
                    </a:cubicBezTo>
                    <a:cubicBezTo>
                      <a:pt x="19565" y="8634"/>
                      <a:pt x="18309" y="14315"/>
                      <a:pt x="14063" y="17007"/>
                    </a:cubicBezTo>
                    <a:cubicBezTo>
                      <a:pt x="9816" y="19698"/>
                      <a:pt x="4134" y="18442"/>
                      <a:pt x="1443" y="14076"/>
                    </a:cubicBezTo>
                    <a:cubicBezTo>
                      <a:pt x="-1308" y="9770"/>
                      <a:pt x="8" y="4088"/>
                      <a:pt x="4254" y="1397"/>
                    </a:cubicBezTo>
                    <a:close/>
                  </a:path>
                </a:pathLst>
              </a:custGeom>
              <a:grpFill/>
              <a:ln w="5978" cap="flat">
                <a:noFill/>
                <a:prstDash val="solid"/>
                <a:miter/>
              </a:ln>
            </p:spPr>
            <p:txBody>
              <a:bodyPr rtlCol="0" anchor="ctr"/>
              <a:lstStyle/>
              <a:p>
                <a:endParaRPr lang="en-GB"/>
              </a:p>
            </p:txBody>
          </p:sp>
          <p:sp>
            <p:nvSpPr>
              <p:cNvPr id="1397" name="Vrije vorm: vorm 1396">
                <a:extLst>
                  <a:ext uri="{FF2B5EF4-FFF2-40B4-BE49-F238E27FC236}">
                    <a16:creationId xmlns:a16="http://schemas.microsoft.com/office/drawing/2014/main" id="{B5305C9E-0E9E-436B-BCBE-63472A2EA1E5}"/>
                  </a:ext>
                </a:extLst>
              </p:cNvPr>
              <p:cNvSpPr/>
              <p:nvPr/>
            </p:nvSpPr>
            <p:spPr>
              <a:xfrm>
                <a:off x="4218394" y="4564345"/>
                <a:ext cx="18316" cy="18444"/>
              </a:xfrm>
              <a:custGeom>
                <a:avLst/>
                <a:gdLst>
                  <a:gd name="connsiteX0" fmla="*/ 4254 w 18316"/>
                  <a:gd name="connsiteY0" fmla="*/ 1438 h 18444"/>
                  <a:gd name="connsiteX1" fmla="*/ 1443 w 18316"/>
                  <a:gd name="connsiteY1" fmla="*/ 14117 h 18444"/>
                  <a:gd name="connsiteX2" fmla="*/ 14062 w 18316"/>
                  <a:gd name="connsiteY2" fmla="*/ 17048 h 18444"/>
                  <a:gd name="connsiteX3" fmla="*/ 16874 w 18316"/>
                  <a:gd name="connsiteY3" fmla="*/ 4368 h 18444"/>
                  <a:gd name="connsiteX4" fmla="*/ 4254 w 18316"/>
                  <a:gd name="connsiteY4" fmla="*/ 1438 h 1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6" h="18444">
                    <a:moveTo>
                      <a:pt x="4254" y="1438"/>
                    </a:moveTo>
                    <a:cubicBezTo>
                      <a:pt x="8" y="4129"/>
                      <a:pt x="-1308" y="9811"/>
                      <a:pt x="1443" y="14117"/>
                    </a:cubicBezTo>
                    <a:cubicBezTo>
                      <a:pt x="4135" y="18423"/>
                      <a:pt x="9816" y="19739"/>
                      <a:pt x="14062" y="17048"/>
                    </a:cubicBezTo>
                    <a:cubicBezTo>
                      <a:pt x="18309" y="14356"/>
                      <a:pt x="19625" y="8674"/>
                      <a:pt x="16874" y="4368"/>
                    </a:cubicBezTo>
                    <a:cubicBezTo>
                      <a:pt x="14182" y="3"/>
                      <a:pt x="8500" y="-1313"/>
                      <a:pt x="4254" y="1438"/>
                    </a:cubicBezTo>
                    <a:close/>
                  </a:path>
                </a:pathLst>
              </a:custGeom>
              <a:grpFill/>
              <a:ln w="5978" cap="flat">
                <a:noFill/>
                <a:prstDash val="solid"/>
                <a:miter/>
              </a:ln>
            </p:spPr>
            <p:txBody>
              <a:bodyPr rtlCol="0" anchor="ctr"/>
              <a:lstStyle/>
              <a:p>
                <a:endParaRPr lang="en-GB"/>
              </a:p>
            </p:txBody>
          </p:sp>
        </p:grpSp>
        <p:grpSp>
          <p:nvGrpSpPr>
            <p:cNvPr id="1339" name="Graphic 3">
              <a:extLst>
                <a:ext uri="{FF2B5EF4-FFF2-40B4-BE49-F238E27FC236}">
                  <a16:creationId xmlns:a16="http://schemas.microsoft.com/office/drawing/2014/main" id="{1724166D-BDEA-411B-886D-0913A1DC00D0}"/>
                </a:ext>
              </a:extLst>
            </p:cNvPr>
            <p:cNvGrpSpPr/>
            <p:nvPr/>
          </p:nvGrpSpPr>
          <p:grpSpPr>
            <a:xfrm>
              <a:off x="3812463" y="4274269"/>
              <a:ext cx="823168" cy="451032"/>
              <a:chOff x="3812463" y="4274269"/>
              <a:chExt cx="823168" cy="451032"/>
            </a:xfrm>
            <a:grpFill/>
          </p:grpSpPr>
          <p:sp>
            <p:nvSpPr>
              <p:cNvPr id="1392" name="Vrije vorm: vorm 1391">
                <a:extLst>
                  <a:ext uri="{FF2B5EF4-FFF2-40B4-BE49-F238E27FC236}">
                    <a16:creationId xmlns:a16="http://schemas.microsoft.com/office/drawing/2014/main" id="{D5ED55B8-57DA-4DA9-9FC8-D1485FA16296}"/>
                  </a:ext>
                </a:extLst>
              </p:cNvPr>
              <p:cNvSpPr/>
              <p:nvPr/>
            </p:nvSpPr>
            <p:spPr>
              <a:xfrm>
                <a:off x="3820445" y="4281878"/>
                <a:ext cx="807098" cy="435815"/>
              </a:xfrm>
              <a:custGeom>
                <a:avLst/>
                <a:gdLst>
                  <a:gd name="connsiteX0" fmla="*/ 807098 w 807098"/>
                  <a:gd name="connsiteY0" fmla="*/ 2751 h 435815"/>
                  <a:gd name="connsiteX1" fmla="*/ 1495 w 807098"/>
                  <a:gd name="connsiteY1" fmla="*/ 435815 h 435815"/>
                  <a:gd name="connsiteX2" fmla="*/ 0 w 807098"/>
                  <a:gd name="connsiteY2" fmla="*/ 433124 h 435815"/>
                  <a:gd name="connsiteX3" fmla="*/ 805663 w 807098"/>
                  <a:gd name="connsiteY3" fmla="*/ 0 h 435815"/>
                </a:gdLst>
                <a:ahLst/>
                <a:cxnLst>
                  <a:cxn ang="0">
                    <a:pos x="connsiteX0" y="connsiteY0"/>
                  </a:cxn>
                  <a:cxn ang="0">
                    <a:pos x="connsiteX1" y="connsiteY1"/>
                  </a:cxn>
                  <a:cxn ang="0">
                    <a:pos x="connsiteX2" y="connsiteY2"/>
                  </a:cxn>
                  <a:cxn ang="0">
                    <a:pos x="connsiteX3" y="connsiteY3"/>
                  </a:cxn>
                </a:cxnLst>
                <a:rect l="l" t="t" r="r" b="b"/>
                <a:pathLst>
                  <a:path w="807098" h="435815">
                    <a:moveTo>
                      <a:pt x="807098" y="2751"/>
                    </a:moveTo>
                    <a:lnTo>
                      <a:pt x="1495" y="435815"/>
                    </a:lnTo>
                    <a:lnTo>
                      <a:pt x="0" y="433124"/>
                    </a:lnTo>
                    <a:lnTo>
                      <a:pt x="805663" y="0"/>
                    </a:lnTo>
                    <a:close/>
                  </a:path>
                </a:pathLst>
              </a:custGeom>
              <a:grpFill/>
              <a:ln w="5978" cap="flat">
                <a:noFill/>
                <a:prstDash val="solid"/>
                <a:miter/>
              </a:ln>
            </p:spPr>
            <p:txBody>
              <a:bodyPr rtlCol="0" anchor="ctr"/>
              <a:lstStyle/>
              <a:p>
                <a:endParaRPr lang="en-GB"/>
              </a:p>
            </p:txBody>
          </p:sp>
          <p:sp>
            <p:nvSpPr>
              <p:cNvPr id="1393" name="Vrije vorm: vorm 1392">
                <a:extLst>
                  <a:ext uri="{FF2B5EF4-FFF2-40B4-BE49-F238E27FC236}">
                    <a16:creationId xmlns:a16="http://schemas.microsoft.com/office/drawing/2014/main" id="{2AF3B805-0662-457F-A912-BF451C8A6741}"/>
                  </a:ext>
                </a:extLst>
              </p:cNvPr>
              <p:cNvSpPr/>
              <p:nvPr/>
            </p:nvSpPr>
            <p:spPr>
              <a:xfrm>
                <a:off x="4617263" y="4274269"/>
                <a:ext cx="18369" cy="18387"/>
              </a:xfrm>
              <a:custGeom>
                <a:avLst/>
                <a:gdLst>
                  <a:gd name="connsiteX0" fmla="*/ 4838 w 18369"/>
                  <a:gd name="connsiteY0" fmla="*/ 1090 h 18387"/>
                  <a:gd name="connsiteX1" fmla="*/ 17278 w 18369"/>
                  <a:gd name="connsiteY1" fmla="*/ 4858 h 18387"/>
                  <a:gd name="connsiteX2" fmla="*/ 13570 w 18369"/>
                  <a:gd name="connsiteY2" fmla="*/ 17297 h 18387"/>
                  <a:gd name="connsiteX3" fmla="*/ 1130 w 18369"/>
                  <a:gd name="connsiteY3" fmla="*/ 13529 h 18387"/>
                  <a:gd name="connsiteX4" fmla="*/ 4838 w 18369"/>
                  <a:gd name="connsiteY4" fmla="*/ 109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87">
                    <a:moveTo>
                      <a:pt x="4838" y="1090"/>
                    </a:moveTo>
                    <a:cubicBezTo>
                      <a:pt x="9264" y="-1303"/>
                      <a:pt x="14826" y="372"/>
                      <a:pt x="17278" y="4858"/>
                    </a:cubicBezTo>
                    <a:cubicBezTo>
                      <a:pt x="19670" y="9343"/>
                      <a:pt x="17996" y="14905"/>
                      <a:pt x="13570" y="17297"/>
                    </a:cubicBezTo>
                    <a:cubicBezTo>
                      <a:pt x="9144" y="19690"/>
                      <a:pt x="3582" y="18015"/>
                      <a:pt x="1130" y="13529"/>
                    </a:cubicBezTo>
                    <a:cubicBezTo>
                      <a:pt x="-1322" y="9044"/>
                      <a:pt x="353" y="3482"/>
                      <a:pt x="4838" y="1090"/>
                    </a:cubicBezTo>
                    <a:close/>
                  </a:path>
                </a:pathLst>
              </a:custGeom>
              <a:grpFill/>
              <a:ln w="5978" cap="flat">
                <a:noFill/>
                <a:prstDash val="solid"/>
                <a:miter/>
              </a:ln>
            </p:spPr>
            <p:txBody>
              <a:bodyPr rtlCol="0" anchor="ctr"/>
              <a:lstStyle/>
              <a:p>
                <a:endParaRPr lang="en-GB"/>
              </a:p>
            </p:txBody>
          </p:sp>
          <p:sp>
            <p:nvSpPr>
              <p:cNvPr id="1394" name="Vrije vorm: vorm 1393">
                <a:extLst>
                  <a:ext uri="{FF2B5EF4-FFF2-40B4-BE49-F238E27FC236}">
                    <a16:creationId xmlns:a16="http://schemas.microsoft.com/office/drawing/2014/main" id="{53EA235D-E4BC-496C-91EC-33C5C01B5FFE}"/>
                  </a:ext>
                </a:extLst>
              </p:cNvPr>
              <p:cNvSpPr/>
              <p:nvPr/>
            </p:nvSpPr>
            <p:spPr>
              <a:xfrm>
                <a:off x="3812463" y="4706914"/>
                <a:ext cx="18343" cy="18387"/>
              </a:xfrm>
              <a:custGeom>
                <a:avLst/>
                <a:gdLst>
                  <a:gd name="connsiteX0" fmla="*/ 4812 w 18343"/>
                  <a:gd name="connsiteY0" fmla="*/ 1090 h 18387"/>
                  <a:gd name="connsiteX1" fmla="*/ 1104 w 18343"/>
                  <a:gd name="connsiteY1" fmla="*/ 13530 h 18387"/>
                  <a:gd name="connsiteX2" fmla="*/ 13544 w 18343"/>
                  <a:gd name="connsiteY2" fmla="*/ 17298 h 18387"/>
                  <a:gd name="connsiteX3" fmla="*/ 17252 w 18343"/>
                  <a:gd name="connsiteY3" fmla="*/ 4858 h 18387"/>
                  <a:gd name="connsiteX4" fmla="*/ 4812 w 18343"/>
                  <a:gd name="connsiteY4" fmla="*/ 1090 h 1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87">
                    <a:moveTo>
                      <a:pt x="4812" y="1090"/>
                    </a:moveTo>
                    <a:cubicBezTo>
                      <a:pt x="326" y="3482"/>
                      <a:pt x="-1289" y="9044"/>
                      <a:pt x="1104" y="13530"/>
                    </a:cubicBezTo>
                    <a:cubicBezTo>
                      <a:pt x="3496" y="18015"/>
                      <a:pt x="9058" y="19690"/>
                      <a:pt x="13544" y="17298"/>
                    </a:cubicBezTo>
                    <a:cubicBezTo>
                      <a:pt x="17969" y="14905"/>
                      <a:pt x="19644" y="9343"/>
                      <a:pt x="17252" y="4858"/>
                    </a:cubicBezTo>
                    <a:cubicBezTo>
                      <a:pt x="14799" y="372"/>
                      <a:pt x="9237" y="-1302"/>
                      <a:pt x="4812" y="1090"/>
                    </a:cubicBezTo>
                    <a:close/>
                  </a:path>
                </a:pathLst>
              </a:custGeom>
              <a:grpFill/>
              <a:ln w="5978" cap="flat">
                <a:noFill/>
                <a:prstDash val="solid"/>
                <a:miter/>
              </a:ln>
            </p:spPr>
            <p:txBody>
              <a:bodyPr rtlCol="0" anchor="ctr"/>
              <a:lstStyle/>
              <a:p>
                <a:endParaRPr lang="en-GB"/>
              </a:p>
            </p:txBody>
          </p:sp>
        </p:grpSp>
        <p:grpSp>
          <p:nvGrpSpPr>
            <p:cNvPr id="1340" name="Graphic 3">
              <a:extLst>
                <a:ext uri="{FF2B5EF4-FFF2-40B4-BE49-F238E27FC236}">
                  <a16:creationId xmlns:a16="http://schemas.microsoft.com/office/drawing/2014/main" id="{264951FD-3156-49A6-9C89-3670DDA3BF12}"/>
                </a:ext>
              </a:extLst>
            </p:cNvPr>
            <p:cNvGrpSpPr/>
            <p:nvPr/>
          </p:nvGrpSpPr>
          <p:grpSpPr>
            <a:xfrm>
              <a:off x="3799656" y="4222286"/>
              <a:ext cx="800471" cy="400075"/>
              <a:chOff x="3799656" y="4222286"/>
              <a:chExt cx="800471" cy="400075"/>
            </a:xfrm>
            <a:grpFill/>
          </p:grpSpPr>
          <p:sp>
            <p:nvSpPr>
              <p:cNvPr id="1389" name="Vrije vorm: vorm 1388">
                <a:extLst>
                  <a:ext uri="{FF2B5EF4-FFF2-40B4-BE49-F238E27FC236}">
                    <a16:creationId xmlns:a16="http://schemas.microsoft.com/office/drawing/2014/main" id="{704B461C-3AA2-435C-AB16-D31B66F1C425}"/>
                  </a:ext>
                </a:extLst>
              </p:cNvPr>
              <p:cNvSpPr/>
              <p:nvPr/>
            </p:nvSpPr>
            <p:spPr>
              <a:xfrm>
                <a:off x="3807765" y="4229905"/>
                <a:ext cx="784252" cy="384799"/>
              </a:xfrm>
              <a:custGeom>
                <a:avLst/>
                <a:gdLst>
                  <a:gd name="connsiteX0" fmla="*/ 784252 w 784252"/>
                  <a:gd name="connsiteY0" fmla="*/ 2751 h 384799"/>
                  <a:gd name="connsiteX1" fmla="*/ 1316 w 784252"/>
                  <a:gd name="connsiteY1" fmla="*/ 384800 h 384799"/>
                  <a:gd name="connsiteX2" fmla="*/ 0 w 784252"/>
                  <a:gd name="connsiteY2" fmla="*/ 382049 h 384799"/>
                  <a:gd name="connsiteX3" fmla="*/ 782937 w 784252"/>
                  <a:gd name="connsiteY3" fmla="*/ 0 h 384799"/>
                </a:gdLst>
                <a:ahLst/>
                <a:cxnLst>
                  <a:cxn ang="0">
                    <a:pos x="connsiteX0" y="connsiteY0"/>
                  </a:cxn>
                  <a:cxn ang="0">
                    <a:pos x="connsiteX1" y="connsiteY1"/>
                  </a:cxn>
                  <a:cxn ang="0">
                    <a:pos x="connsiteX2" y="connsiteY2"/>
                  </a:cxn>
                  <a:cxn ang="0">
                    <a:pos x="connsiteX3" y="connsiteY3"/>
                  </a:cxn>
                </a:cxnLst>
                <a:rect l="l" t="t" r="r" b="b"/>
                <a:pathLst>
                  <a:path w="784252" h="384799">
                    <a:moveTo>
                      <a:pt x="784252" y="2751"/>
                    </a:moveTo>
                    <a:lnTo>
                      <a:pt x="1316" y="384800"/>
                    </a:lnTo>
                    <a:lnTo>
                      <a:pt x="0" y="382049"/>
                    </a:lnTo>
                    <a:lnTo>
                      <a:pt x="782937" y="0"/>
                    </a:lnTo>
                    <a:close/>
                  </a:path>
                </a:pathLst>
              </a:custGeom>
              <a:grpFill/>
              <a:ln w="5978" cap="flat">
                <a:noFill/>
                <a:prstDash val="solid"/>
                <a:miter/>
              </a:ln>
            </p:spPr>
            <p:txBody>
              <a:bodyPr rtlCol="0" anchor="ctr"/>
              <a:lstStyle/>
              <a:p>
                <a:endParaRPr lang="en-GB"/>
              </a:p>
            </p:txBody>
          </p:sp>
          <p:sp>
            <p:nvSpPr>
              <p:cNvPr id="1390" name="Vrije vorm: vorm 1389">
                <a:extLst>
                  <a:ext uri="{FF2B5EF4-FFF2-40B4-BE49-F238E27FC236}">
                    <a16:creationId xmlns:a16="http://schemas.microsoft.com/office/drawing/2014/main" id="{0A679FF3-EAB2-4378-B2BC-104E9540194F}"/>
                  </a:ext>
                </a:extLst>
              </p:cNvPr>
              <p:cNvSpPr/>
              <p:nvPr/>
            </p:nvSpPr>
            <p:spPr>
              <a:xfrm>
                <a:off x="4581788" y="4222286"/>
                <a:ext cx="18338" cy="18408"/>
              </a:xfrm>
              <a:custGeom>
                <a:avLst/>
                <a:gdLst>
                  <a:gd name="connsiteX0" fmla="*/ 5146 w 18338"/>
                  <a:gd name="connsiteY0" fmla="*/ 921 h 18408"/>
                  <a:gd name="connsiteX1" fmla="*/ 17406 w 18338"/>
                  <a:gd name="connsiteY1" fmla="*/ 5168 h 18408"/>
                  <a:gd name="connsiteX2" fmla="*/ 13219 w 18338"/>
                  <a:gd name="connsiteY2" fmla="*/ 17488 h 18408"/>
                  <a:gd name="connsiteX3" fmla="*/ 959 w 18338"/>
                  <a:gd name="connsiteY3" fmla="*/ 13241 h 18408"/>
                  <a:gd name="connsiteX4" fmla="*/ 5146 w 18338"/>
                  <a:gd name="connsiteY4" fmla="*/ 921 h 1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8" h="18408">
                    <a:moveTo>
                      <a:pt x="5146" y="921"/>
                    </a:moveTo>
                    <a:cubicBezTo>
                      <a:pt x="9691" y="-1292"/>
                      <a:pt x="15193" y="622"/>
                      <a:pt x="17406" y="5168"/>
                    </a:cubicBezTo>
                    <a:cubicBezTo>
                      <a:pt x="19619" y="9772"/>
                      <a:pt x="17765" y="15275"/>
                      <a:pt x="13219" y="17488"/>
                    </a:cubicBezTo>
                    <a:cubicBezTo>
                      <a:pt x="8674" y="19701"/>
                      <a:pt x="3172" y="17787"/>
                      <a:pt x="959" y="13241"/>
                    </a:cubicBezTo>
                    <a:cubicBezTo>
                      <a:pt x="-1314" y="8636"/>
                      <a:pt x="600" y="3134"/>
                      <a:pt x="5146" y="921"/>
                    </a:cubicBezTo>
                    <a:close/>
                  </a:path>
                </a:pathLst>
              </a:custGeom>
              <a:grpFill/>
              <a:ln w="5978" cap="flat">
                <a:noFill/>
                <a:prstDash val="solid"/>
                <a:miter/>
              </a:ln>
            </p:spPr>
            <p:txBody>
              <a:bodyPr rtlCol="0" anchor="ctr"/>
              <a:lstStyle/>
              <a:p>
                <a:endParaRPr lang="en-GB"/>
              </a:p>
            </p:txBody>
          </p:sp>
          <p:sp>
            <p:nvSpPr>
              <p:cNvPr id="1391" name="Vrije vorm: vorm 1390">
                <a:extLst>
                  <a:ext uri="{FF2B5EF4-FFF2-40B4-BE49-F238E27FC236}">
                    <a16:creationId xmlns:a16="http://schemas.microsoft.com/office/drawing/2014/main" id="{9E4D0CE1-5918-4AD0-984B-7C742A23DA69}"/>
                  </a:ext>
                </a:extLst>
              </p:cNvPr>
              <p:cNvSpPr/>
              <p:nvPr/>
            </p:nvSpPr>
            <p:spPr>
              <a:xfrm>
                <a:off x="3799656" y="4603916"/>
                <a:ext cx="18312" cy="18445"/>
              </a:xfrm>
              <a:custGeom>
                <a:avLst/>
                <a:gdLst>
                  <a:gd name="connsiteX0" fmla="*/ 5119 w 18312"/>
                  <a:gd name="connsiteY0" fmla="*/ 921 h 18445"/>
                  <a:gd name="connsiteX1" fmla="*/ 933 w 18312"/>
                  <a:gd name="connsiteY1" fmla="*/ 13241 h 18445"/>
                  <a:gd name="connsiteX2" fmla="*/ 13193 w 18312"/>
                  <a:gd name="connsiteY2" fmla="*/ 17488 h 18445"/>
                  <a:gd name="connsiteX3" fmla="*/ 17380 w 18312"/>
                  <a:gd name="connsiteY3" fmla="*/ 5168 h 18445"/>
                  <a:gd name="connsiteX4" fmla="*/ 5119 w 18312"/>
                  <a:gd name="connsiteY4" fmla="*/ 921 h 18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2" h="18445">
                    <a:moveTo>
                      <a:pt x="5119" y="921"/>
                    </a:moveTo>
                    <a:cubicBezTo>
                      <a:pt x="574" y="3134"/>
                      <a:pt x="-1280" y="8636"/>
                      <a:pt x="933" y="13241"/>
                    </a:cubicBezTo>
                    <a:cubicBezTo>
                      <a:pt x="3146" y="17847"/>
                      <a:pt x="8648" y="19760"/>
                      <a:pt x="13193" y="17488"/>
                    </a:cubicBezTo>
                    <a:cubicBezTo>
                      <a:pt x="17739" y="15275"/>
                      <a:pt x="19593" y="9773"/>
                      <a:pt x="17380" y="5168"/>
                    </a:cubicBezTo>
                    <a:cubicBezTo>
                      <a:pt x="15167" y="622"/>
                      <a:pt x="9664" y="-1292"/>
                      <a:pt x="5119" y="921"/>
                    </a:cubicBezTo>
                    <a:close/>
                  </a:path>
                </a:pathLst>
              </a:custGeom>
              <a:grpFill/>
              <a:ln w="5978" cap="flat">
                <a:noFill/>
                <a:prstDash val="solid"/>
                <a:miter/>
              </a:ln>
            </p:spPr>
            <p:txBody>
              <a:bodyPr rtlCol="0" anchor="ctr"/>
              <a:lstStyle/>
              <a:p>
                <a:endParaRPr lang="en-GB"/>
              </a:p>
            </p:txBody>
          </p:sp>
        </p:grpSp>
        <p:grpSp>
          <p:nvGrpSpPr>
            <p:cNvPr id="1341" name="Graphic 3">
              <a:extLst>
                <a:ext uri="{FF2B5EF4-FFF2-40B4-BE49-F238E27FC236}">
                  <a16:creationId xmlns:a16="http://schemas.microsoft.com/office/drawing/2014/main" id="{5F4567C8-994B-4F2D-8112-0D6D873DEF51}"/>
                </a:ext>
              </a:extLst>
            </p:cNvPr>
            <p:cNvGrpSpPr/>
            <p:nvPr/>
          </p:nvGrpSpPr>
          <p:grpSpPr>
            <a:xfrm>
              <a:off x="3693551" y="3590465"/>
              <a:ext cx="456004" cy="60189"/>
              <a:chOff x="3693551" y="3590465"/>
              <a:chExt cx="456004" cy="60189"/>
            </a:xfrm>
            <a:grpFill/>
          </p:grpSpPr>
          <p:sp>
            <p:nvSpPr>
              <p:cNvPr id="1386" name="Vrije vorm: vorm 1385">
                <a:extLst>
                  <a:ext uri="{FF2B5EF4-FFF2-40B4-BE49-F238E27FC236}">
                    <a16:creationId xmlns:a16="http://schemas.microsoft.com/office/drawing/2014/main" id="{9D1F968E-0FDA-416E-A8C7-27F540D30D57}"/>
                  </a:ext>
                </a:extLst>
              </p:cNvPr>
              <p:cNvSpPr/>
              <p:nvPr/>
            </p:nvSpPr>
            <p:spPr>
              <a:xfrm>
                <a:off x="3702146" y="3598162"/>
                <a:ext cx="438865" cy="44855"/>
              </a:xfrm>
              <a:custGeom>
                <a:avLst/>
                <a:gdLst>
                  <a:gd name="connsiteX0" fmla="*/ 438566 w 438865"/>
                  <a:gd name="connsiteY0" fmla="*/ 0 h 44855"/>
                  <a:gd name="connsiteX1" fmla="*/ 438865 w 438865"/>
                  <a:gd name="connsiteY1" fmla="*/ 3050 h 44855"/>
                  <a:gd name="connsiteX2" fmla="*/ 299 w 438865"/>
                  <a:gd name="connsiteY2" fmla="*/ 44855 h 44855"/>
                  <a:gd name="connsiteX3" fmla="*/ 0 w 438865"/>
                  <a:gd name="connsiteY3" fmla="*/ 41805 h 44855"/>
                </a:gdLst>
                <a:ahLst/>
                <a:cxnLst>
                  <a:cxn ang="0">
                    <a:pos x="connsiteX0" y="connsiteY0"/>
                  </a:cxn>
                  <a:cxn ang="0">
                    <a:pos x="connsiteX1" y="connsiteY1"/>
                  </a:cxn>
                  <a:cxn ang="0">
                    <a:pos x="connsiteX2" y="connsiteY2"/>
                  </a:cxn>
                  <a:cxn ang="0">
                    <a:pos x="connsiteX3" y="connsiteY3"/>
                  </a:cxn>
                </a:cxnLst>
                <a:rect l="l" t="t" r="r" b="b"/>
                <a:pathLst>
                  <a:path w="438865" h="44855">
                    <a:moveTo>
                      <a:pt x="438566" y="0"/>
                    </a:moveTo>
                    <a:lnTo>
                      <a:pt x="438865" y="3050"/>
                    </a:lnTo>
                    <a:lnTo>
                      <a:pt x="299" y="44855"/>
                    </a:lnTo>
                    <a:lnTo>
                      <a:pt x="0" y="41805"/>
                    </a:lnTo>
                    <a:close/>
                  </a:path>
                </a:pathLst>
              </a:custGeom>
              <a:grpFill/>
              <a:ln w="5978" cap="flat">
                <a:noFill/>
                <a:prstDash val="solid"/>
                <a:miter/>
              </a:ln>
            </p:spPr>
            <p:txBody>
              <a:bodyPr rtlCol="0" anchor="ctr"/>
              <a:lstStyle/>
              <a:p>
                <a:endParaRPr lang="en-GB"/>
              </a:p>
            </p:txBody>
          </p:sp>
          <p:sp>
            <p:nvSpPr>
              <p:cNvPr id="1387" name="Vrije vorm: vorm 1386">
                <a:extLst>
                  <a:ext uri="{FF2B5EF4-FFF2-40B4-BE49-F238E27FC236}">
                    <a16:creationId xmlns:a16="http://schemas.microsoft.com/office/drawing/2014/main" id="{0FF98A0C-5F3C-4800-AD72-AFA13DBD276F}"/>
                  </a:ext>
                </a:extLst>
              </p:cNvPr>
              <p:cNvSpPr/>
              <p:nvPr/>
            </p:nvSpPr>
            <p:spPr>
              <a:xfrm>
                <a:off x="3693551" y="3632210"/>
                <a:ext cx="18335" cy="18443"/>
              </a:xfrm>
              <a:custGeom>
                <a:avLst/>
                <a:gdLst>
                  <a:gd name="connsiteX0" fmla="*/ 10090 w 18335"/>
                  <a:gd name="connsiteY0" fmla="*/ 18402 h 18443"/>
                  <a:gd name="connsiteX1" fmla="*/ 42 w 18335"/>
                  <a:gd name="connsiteY1" fmla="*/ 10089 h 18443"/>
                  <a:gd name="connsiteX2" fmla="*/ 8236 w 18335"/>
                  <a:gd name="connsiteY2" fmla="*/ 42 h 18443"/>
                  <a:gd name="connsiteX3" fmla="*/ 18283 w 18335"/>
                  <a:gd name="connsiteY3" fmla="*/ 8355 h 18443"/>
                  <a:gd name="connsiteX4" fmla="*/ 10090 w 1833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43">
                    <a:moveTo>
                      <a:pt x="10090" y="18402"/>
                    </a:moveTo>
                    <a:cubicBezTo>
                      <a:pt x="5066" y="18881"/>
                      <a:pt x="580" y="15173"/>
                      <a:pt x="42" y="10089"/>
                    </a:cubicBezTo>
                    <a:cubicBezTo>
                      <a:pt x="-436" y="5006"/>
                      <a:pt x="3212" y="520"/>
                      <a:pt x="8236" y="42"/>
                    </a:cubicBezTo>
                    <a:cubicBezTo>
                      <a:pt x="13260" y="-437"/>
                      <a:pt x="17745" y="3271"/>
                      <a:pt x="18283" y="8355"/>
                    </a:cubicBezTo>
                    <a:cubicBezTo>
                      <a:pt x="18822" y="13438"/>
                      <a:pt x="15173" y="17924"/>
                      <a:pt x="10090" y="18402"/>
                    </a:cubicBezTo>
                    <a:close/>
                  </a:path>
                </a:pathLst>
              </a:custGeom>
              <a:grpFill/>
              <a:ln w="5978" cap="flat">
                <a:noFill/>
                <a:prstDash val="solid"/>
                <a:miter/>
              </a:ln>
            </p:spPr>
            <p:txBody>
              <a:bodyPr rtlCol="0" anchor="ctr"/>
              <a:lstStyle/>
              <a:p>
                <a:endParaRPr lang="en-GB"/>
              </a:p>
            </p:txBody>
          </p:sp>
          <p:sp>
            <p:nvSpPr>
              <p:cNvPr id="1388" name="Vrije vorm: vorm 1387">
                <a:extLst>
                  <a:ext uri="{FF2B5EF4-FFF2-40B4-BE49-F238E27FC236}">
                    <a16:creationId xmlns:a16="http://schemas.microsoft.com/office/drawing/2014/main" id="{F689D623-664B-49B9-8922-DAAC1BB88E16}"/>
                  </a:ext>
                </a:extLst>
              </p:cNvPr>
              <p:cNvSpPr/>
              <p:nvPr/>
            </p:nvSpPr>
            <p:spPr>
              <a:xfrm>
                <a:off x="4131211" y="3590465"/>
                <a:ext cx="18345" cy="18443"/>
              </a:xfrm>
              <a:custGeom>
                <a:avLst/>
                <a:gdLst>
                  <a:gd name="connsiteX0" fmla="*/ 10100 w 18345"/>
                  <a:gd name="connsiteY0" fmla="*/ 18402 h 18443"/>
                  <a:gd name="connsiteX1" fmla="*/ 18293 w 18345"/>
                  <a:gd name="connsiteY1" fmla="*/ 8355 h 18443"/>
                  <a:gd name="connsiteX2" fmla="*/ 8246 w 18345"/>
                  <a:gd name="connsiteY2" fmla="*/ 42 h 18443"/>
                  <a:gd name="connsiteX3" fmla="*/ 52 w 18345"/>
                  <a:gd name="connsiteY3" fmla="*/ 10089 h 18443"/>
                  <a:gd name="connsiteX4" fmla="*/ 10100 w 18345"/>
                  <a:gd name="connsiteY4" fmla="*/ 18402 h 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5" h="18443">
                    <a:moveTo>
                      <a:pt x="10100" y="18402"/>
                    </a:moveTo>
                    <a:cubicBezTo>
                      <a:pt x="15124" y="17924"/>
                      <a:pt x="18832" y="13438"/>
                      <a:pt x="18293" y="8355"/>
                    </a:cubicBezTo>
                    <a:cubicBezTo>
                      <a:pt x="17815" y="3271"/>
                      <a:pt x="13329" y="-437"/>
                      <a:pt x="8246" y="42"/>
                    </a:cubicBezTo>
                    <a:cubicBezTo>
                      <a:pt x="3222" y="520"/>
                      <a:pt x="-486" y="5005"/>
                      <a:pt x="52" y="10089"/>
                    </a:cubicBezTo>
                    <a:cubicBezTo>
                      <a:pt x="590" y="15173"/>
                      <a:pt x="5076" y="18881"/>
                      <a:pt x="10100" y="18402"/>
                    </a:cubicBezTo>
                    <a:close/>
                  </a:path>
                </a:pathLst>
              </a:custGeom>
              <a:grpFill/>
              <a:ln w="5978" cap="flat">
                <a:noFill/>
                <a:prstDash val="solid"/>
                <a:miter/>
              </a:ln>
            </p:spPr>
            <p:txBody>
              <a:bodyPr rtlCol="0" anchor="ctr"/>
              <a:lstStyle/>
              <a:p>
                <a:endParaRPr lang="en-GB"/>
              </a:p>
            </p:txBody>
          </p:sp>
        </p:grpSp>
        <p:grpSp>
          <p:nvGrpSpPr>
            <p:cNvPr id="1342" name="Graphic 3">
              <a:extLst>
                <a:ext uri="{FF2B5EF4-FFF2-40B4-BE49-F238E27FC236}">
                  <a16:creationId xmlns:a16="http://schemas.microsoft.com/office/drawing/2014/main" id="{BFA9B9F8-4415-40CB-BC90-6AAE6D5F42C1}"/>
                </a:ext>
              </a:extLst>
            </p:cNvPr>
            <p:cNvGrpSpPr/>
            <p:nvPr/>
          </p:nvGrpSpPr>
          <p:grpSpPr>
            <a:xfrm>
              <a:off x="3972451" y="4237239"/>
              <a:ext cx="381857" cy="194837"/>
              <a:chOff x="3972451" y="4237239"/>
              <a:chExt cx="381857" cy="194837"/>
            </a:xfrm>
            <a:grpFill/>
          </p:grpSpPr>
          <p:sp>
            <p:nvSpPr>
              <p:cNvPr id="1383" name="Vrije vorm: vorm 1382">
                <a:extLst>
                  <a:ext uri="{FF2B5EF4-FFF2-40B4-BE49-F238E27FC236}">
                    <a16:creationId xmlns:a16="http://schemas.microsoft.com/office/drawing/2014/main" id="{27AE7227-71EA-4EF6-94E3-B36EE4C81F5C}"/>
                  </a:ext>
                </a:extLst>
              </p:cNvPr>
              <p:cNvSpPr/>
              <p:nvPr/>
            </p:nvSpPr>
            <p:spPr>
              <a:xfrm>
                <a:off x="3980549" y="4244917"/>
                <a:ext cx="365661" cy="179541"/>
              </a:xfrm>
              <a:custGeom>
                <a:avLst/>
                <a:gdLst>
                  <a:gd name="connsiteX0" fmla="*/ 365661 w 365661"/>
                  <a:gd name="connsiteY0" fmla="*/ 2751 h 179541"/>
                  <a:gd name="connsiteX1" fmla="*/ 1316 w 365661"/>
                  <a:gd name="connsiteY1" fmla="*/ 179541 h 179541"/>
                  <a:gd name="connsiteX2" fmla="*/ 0 w 365661"/>
                  <a:gd name="connsiteY2" fmla="*/ 176730 h 179541"/>
                  <a:gd name="connsiteX3" fmla="*/ 364346 w 365661"/>
                  <a:gd name="connsiteY3" fmla="*/ 0 h 179541"/>
                </a:gdLst>
                <a:ahLst/>
                <a:cxnLst>
                  <a:cxn ang="0">
                    <a:pos x="connsiteX0" y="connsiteY0"/>
                  </a:cxn>
                  <a:cxn ang="0">
                    <a:pos x="connsiteX1" y="connsiteY1"/>
                  </a:cxn>
                  <a:cxn ang="0">
                    <a:pos x="connsiteX2" y="connsiteY2"/>
                  </a:cxn>
                  <a:cxn ang="0">
                    <a:pos x="connsiteX3" y="connsiteY3"/>
                  </a:cxn>
                </a:cxnLst>
                <a:rect l="l" t="t" r="r" b="b"/>
                <a:pathLst>
                  <a:path w="365661" h="179541">
                    <a:moveTo>
                      <a:pt x="365661" y="2751"/>
                    </a:moveTo>
                    <a:lnTo>
                      <a:pt x="1316" y="179541"/>
                    </a:lnTo>
                    <a:lnTo>
                      <a:pt x="0" y="176730"/>
                    </a:lnTo>
                    <a:lnTo>
                      <a:pt x="364346" y="0"/>
                    </a:lnTo>
                    <a:close/>
                  </a:path>
                </a:pathLst>
              </a:custGeom>
              <a:grpFill/>
              <a:ln w="5978" cap="flat">
                <a:noFill/>
                <a:prstDash val="solid"/>
                <a:miter/>
              </a:ln>
            </p:spPr>
            <p:txBody>
              <a:bodyPr rtlCol="0" anchor="ctr"/>
              <a:lstStyle/>
              <a:p>
                <a:endParaRPr lang="en-GB"/>
              </a:p>
            </p:txBody>
          </p:sp>
          <p:sp>
            <p:nvSpPr>
              <p:cNvPr id="1384" name="Vrije vorm: vorm 1383">
                <a:extLst>
                  <a:ext uri="{FF2B5EF4-FFF2-40B4-BE49-F238E27FC236}">
                    <a16:creationId xmlns:a16="http://schemas.microsoft.com/office/drawing/2014/main" id="{F637925F-4B73-482A-AFB3-9433DA57262E}"/>
                  </a:ext>
                </a:extLst>
              </p:cNvPr>
              <p:cNvSpPr/>
              <p:nvPr/>
            </p:nvSpPr>
            <p:spPr>
              <a:xfrm>
                <a:off x="3972451" y="4413610"/>
                <a:ext cx="18349" cy="18466"/>
              </a:xfrm>
              <a:custGeom>
                <a:avLst/>
                <a:gdLst>
                  <a:gd name="connsiteX0" fmla="*/ 13182 w 18349"/>
                  <a:gd name="connsiteY0" fmla="*/ 17546 h 18466"/>
                  <a:gd name="connsiteX1" fmla="*/ 921 w 18349"/>
                  <a:gd name="connsiteY1" fmla="*/ 13240 h 18466"/>
                  <a:gd name="connsiteX2" fmla="*/ 5168 w 18349"/>
                  <a:gd name="connsiteY2" fmla="*/ 920 h 18466"/>
                  <a:gd name="connsiteX3" fmla="*/ 17428 w 18349"/>
                  <a:gd name="connsiteY3" fmla="*/ 5226 h 18466"/>
                  <a:gd name="connsiteX4" fmla="*/ 13182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2" y="17546"/>
                    </a:moveTo>
                    <a:cubicBezTo>
                      <a:pt x="8636" y="19759"/>
                      <a:pt x="3134" y="17845"/>
                      <a:pt x="921" y="13240"/>
                    </a:cubicBezTo>
                    <a:cubicBezTo>
                      <a:pt x="-1292" y="8635"/>
                      <a:pt x="622" y="3133"/>
                      <a:pt x="5168" y="920"/>
                    </a:cubicBezTo>
                    <a:cubicBezTo>
                      <a:pt x="9713" y="-1293"/>
                      <a:pt x="15215" y="621"/>
                      <a:pt x="17428" y="5226"/>
                    </a:cubicBezTo>
                    <a:cubicBezTo>
                      <a:pt x="19641" y="9831"/>
                      <a:pt x="17727" y="15333"/>
                      <a:pt x="13182" y="17546"/>
                    </a:cubicBezTo>
                    <a:close/>
                  </a:path>
                </a:pathLst>
              </a:custGeom>
              <a:grpFill/>
              <a:ln w="5978" cap="flat">
                <a:noFill/>
                <a:prstDash val="solid"/>
                <a:miter/>
              </a:ln>
            </p:spPr>
            <p:txBody>
              <a:bodyPr rtlCol="0" anchor="ctr"/>
              <a:lstStyle/>
              <a:p>
                <a:endParaRPr lang="en-GB"/>
              </a:p>
            </p:txBody>
          </p:sp>
          <p:sp>
            <p:nvSpPr>
              <p:cNvPr id="1385" name="Vrije vorm: vorm 1384">
                <a:extLst>
                  <a:ext uri="{FF2B5EF4-FFF2-40B4-BE49-F238E27FC236}">
                    <a16:creationId xmlns:a16="http://schemas.microsoft.com/office/drawing/2014/main" id="{4877F76D-1C2B-4011-B704-9E9C69398F2E}"/>
                  </a:ext>
                </a:extLst>
              </p:cNvPr>
              <p:cNvSpPr/>
              <p:nvPr/>
            </p:nvSpPr>
            <p:spPr>
              <a:xfrm>
                <a:off x="4335959" y="4237239"/>
                <a:ext cx="18349" cy="18466"/>
              </a:xfrm>
              <a:custGeom>
                <a:avLst/>
                <a:gdLst>
                  <a:gd name="connsiteX0" fmla="*/ 13181 w 18349"/>
                  <a:gd name="connsiteY0" fmla="*/ 17546 h 18466"/>
                  <a:gd name="connsiteX1" fmla="*/ 17428 w 18349"/>
                  <a:gd name="connsiteY1" fmla="*/ 5226 h 18466"/>
                  <a:gd name="connsiteX2" fmla="*/ 5168 w 18349"/>
                  <a:gd name="connsiteY2" fmla="*/ 920 h 18466"/>
                  <a:gd name="connsiteX3" fmla="*/ 921 w 18349"/>
                  <a:gd name="connsiteY3" fmla="*/ 13240 h 18466"/>
                  <a:gd name="connsiteX4" fmla="*/ 13181 w 18349"/>
                  <a:gd name="connsiteY4" fmla="*/ 17546 h 1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9" h="18466">
                    <a:moveTo>
                      <a:pt x="13181" y="17546"/>
                    </a:moveTo>
                    <a:cubicBezTo>
                      <a:pt x="17727" y="15333"/>
                      <a:pt x="19641" y="9831"/>
                      <a:pt x="17428" y="5226"/>
                    </a:cubicBezTo>
                    <a:cubicBezTo>
                      <a:pt x="15215" y="621"/>
                      <a:pt x="9713" y="-1293"/>
                      <a:pt x="5168" y="920"/>
                    </a:cubicBezTo>
                    <a:cubicBezTo>
                      <a:pt x="622" y="3133"/>
                      <a:pt x="-1292" y="8635"/>
                      <a:pt x="921" y="13240"/>
                    </a:cubicBezTo>
                    <a:cubicBezTo>
                      <a:pt x="3194" y="17845"/>
                      <a:pt x="8636" y="19759"/>
                      <a:pt x="13181" y="17546"/>
                    </a:cubicBezTo>
                    <a:close/>
                  </a:path>
                </a:pathLst>
              </a:custGeom>
              <a:grpFill/>
              <a:ln w="5978" cap="flat">
                <a:noFill/>
                <a:prstDash val="solid"/>
                <a:miter/>
              </a:ln>
            </p:spPr>
            <p:txBody>
              <a:bodyPr rtlCol="0" anchor="ctr"/>
              <a:lstStyle/>
              <a:p>
                <a:endParaRPr lang="en-GB"/>
              </a:p>
            </p:txBody>
          </p:sp>
        </p:grpSp>
        <p:grpSp>
          <p:nvGrpSpPr>
            <p:cNvPr id="1343" name="Graphic 3">
              <a:extLst>
                <a:ext uri="{FF2B5EF4-FFF2-40B4-BE49-F238E27FC236}">
                  <a16:creationId xmlns:a16="http://schemas.microsoft.com/office/drawing/2014/main" id="{1033401F-0577-4C33-9456-23E7BA879CE5}"/>
                </a:ext>
              </a:extLst>
            </p:cNvPr>
            <p:cNvGrpSpPr/>
            <p:nvPr/>
          </p:nvGrpSpPr>
          <p:grpSpPr>
            <a:xfrm>
              <a:off x="3907561" y="4182611"/>
              <a:ext cx="480152" cy="231795"/>
              <a:chOff x="3907561" y="4182611"/>
              <a:chExt cx="480152" cy="231795"/>
            </a:xfrm>
            <a:grpFill/>
          </p:grpSpPr>
          <p:sp>
            <p:nvSpPr>
              <p:cNvPr id="1380" name="Vrije vorm: vorm 1379">
                <a:extLst>
                  <a:ext uri="{FF2B5EF4-FFF2-40B4-BE49-F238E27FC236}">
                    <a16:creationId xmlns:a16="http://schemas.microsoft.com/office/drawing/2014/main" id="{A99E467C-4D16-43C8-B028-F3E3644182BD}"/>
                  </a:ext>
                </a:extLst>
              </p:cNvPr>
              <p:cNvSpPr/>
              <p:nvPr/>
            </p:nvSpPr>
            <p:spPr>
              <a:xfrm>
                <a:off x="3915931" y="4190201"/>
                <a:ext cx="463910" cy="216553"/>
              </a:xfrm>
              <a:custGeom>
                <a:avLst/>
                <a:gdLst>
                  <a:gd name="connsiteX0" fmla="*/ 0 w 463910"/>
                  <a:gd name="connsiteY0" fmla="*/ 213784 h 216553"/>
                  <a:gd name="connsiteX1" fmla="*/ 462631 w 463910"/>
                  <a:gd name="connsiteY1" fmla="*/ 0 h 216553"/>
                  <a:gd name="connsiteX2" fmla="*/ 463910 w 463910"/>
                  <a:gd name="connsiteY2" fmla="*/ 2769 h 216553"/>
                  <a:gd name="connsiteX3" fmla="*/ 1280 w 463910"/>
                  <a:gd name="connsiteY3" fmla="*/ 216553 h 216553"/>
                </a:gdLst>
                <a:ahLst/>
                <a:cxnLst>
                  <a:cxn ang="0">
                    <a:pos x="connsiteX0" y="connsiteY0"/>
                  </a:cxn>
                  <a:cxn ang="0">
                    <a:pos x="connsiteX1" y="connsiteY1"/>
                  </a:cxn>
                  <a:cxn ang="0">
                    <a:pos x="connsiteX2" y="connsiteY2"/>
                  </a:cxn>
                  <a:cxn ang="0">
                    <a:pos x="connsiteX3" y="connsiteY3"/>
                  </a:cxn>
                </a:cxnLst>
                <a:rect l="l" t="t" r="r" b="b"/>
                <a:pathLst>
                  <a:path w="463910" h="216553">
                    <a:moveTo>
                      <a:pt x="0" y="213784"/>
                    </a:moveTo>
                    <a:lnTo>
                      <a:pt x="462631" y="0"/>
                    </a:lnTo>
                    <a:lnTo>
                      <a:pt x="463910" y="2769"/>
                    </a:lnTo>
                    <a:lnTo>
                      <a:pt x="1280" y="216553"/>
                    </a:lnTo>
                    <a:close/>
                  </a:path>
                </a:pathLst>
              </a:custGeom>
              <a:grpFill/>
              <a:ln w="5978" cap="flat">
                <a:noFill/>
                <a:prstDash val="solid"/>
                <a:miter/>
              </a:ln>
            </p:spPr>
            <p:txBody>
              <a:bodyPr rtlCol="0" anchor="ctr"/>
              <a:lstStyle/>
              <a:p>
                <a:endParaRPr lang="en-GB"/>
              </a:p>
            </p:txBody>
          </p:sp>
          <p:sp>
            <p:nvSpPr>
              <p:cNvPr id="1381" name="Vrije vorm: vorm 1380">
                <a:extLst>
                  <a:ext uri="{FF2B5EF4-FFF2-40B4-BE49-F238E27FC236}">
                    <a16:creationId xmlns:a16="http://schemas.microsoft.com/office/drawing/2014/main" id="{F156B81F-A3A4-4B04-8EFB-612C6CB5CB58}"/>
                  </a:ext>
                </a:extLst>
              </p:cNvPr>
              <p:cNvSpPr/>
              <p:nvPr/>
            </p:nvSpPr>
            <p:spPr>
              <a:xfrm>
                <a:off x="3907561" y="4395994"/>
                <a:ext cx="18357" cy="18412"/>
              </a:xfrm>
              <a:custGeom>
                <a:avLst/>
                <a:gdLst>
                  <a:gd name="connsiteX0" fmla="*/ 13061 w 18357"/>
                  <a:gd name="connsiteY0" fmla="*/ 17579 h 18412"/>
                  <a:gd name="connsiteX1" fmla="*/ 860 w 18357"/>
                  <a:gd name="connsiteY1" fmla="*/ 13034 h 18412"/>
                  <a:gd name="connsiteX2" fmla="*/ 5346 w 18357"/>
                  <a:gd name="connsiteY2" fmla="*/ 833 h 18412"/>
                  <a:gd name="connsiteX3" fmla="*/ 17487 w 18357"/>
                  <a:gd name="connsiteY3" fmla="*/ 5379 h 18412"/>
                  <a:gd name="connsiteX4" fmla="*/ 13061 w 18357"/>
                  <a:gd name="connsiteY4" fmla="*/ 17579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7" h="18412">
                    <a:moveTo>
                      <a:pt x="13061" y="17579"/>
                    </a:moveTo>
                    <a:cubicBezTo>
                      <a:pt x="8456" y="19672"/>
                      <a:pt x="3013" y="17699"/>
                      <a:pt x="860" y="13034"/>
                    </a:cubicBezTo>
                    <a:cubicBezTo>
                      <a:pt x="-1293" y="8429"/>
                      <a:pt x="741" y="2926"/>
                      <a:pt x="5346" y="833"/>
                    </a:cubicBezTo>
                    <a:cubicBezTo>
                      <a:pt x="9951" y="-1260"/>
                      <a:pt x="15393" y="714"/>
                      <a:pt x="17487" y="5379"/>
                    </a:cubicBezTo>
                    <a:cubicBezTo>
                      <a:pt x="19640" y="9984"/>
                      <a:pt x="17666" y="15426"/>
                      <a:pt x="13061" y="17579"/>
                    </a:cubicBezTo>
                    <a:close/>
                  </a:path>
                </a:pathLst>
              </a:custGeom>
              <a:grpFill/>
              <a:ln w="5978" cap="flat">
                <a:noFill/>
                <a:prstDash val="solid"/>
                <a:miter/>
              </a:ln>
            </p:spPr>
            <p:txBody>
              <a:bodyPr rtlCol="0" anchor="ctr"/>
              <a:lstStyle/>
              <a:p>
                <a:endParaRPr lang="en-GB"/>
              </a:p>
            </p:txBody>
          </p:sp>
          <p:sp>
            <p:nvSpPr>
              <p:cNvPr id="1382" name="Vrije vorm: vorm 1381">
                <a:extLst>
                  <a:ext uri="{FF2B5EF4-FFF2-40B4-BE49-F238E27FC236}">
                    <a16:creationId xmlns:a16="http://schemas.microsoft.com/office/drawing/2014/main" id="{31CBF3A8-B7FF-4BD6-B5D8-704D6C47640E}"/>
                  </a:ext>
                </a:extLst>
              </p:cNvPr>
              <p:cNvSpPr/>
              <p:nvPr/>
            </p:nvSpPr>
            <p:spPr>
              <a:xfrm>
                <a:off x="4369418" y="4182611"/>
                <a:ext cx="18295" cy="18393"/>
              </a:xfrm>
              <a:custGeom>
                <a:avLst/>
                <a:gdLst>
                  <a:gd name="connsiteX0" fmla="*/ 12975 w 18295"/>
                  <a:gd name="connsiteY0" fmla="*/ 17570 h 18393"/>
                  <a:gd name="connsiteX1" fmla="*/ 17461 w 18295"/>
                  <a:gd name="connsiteY1" fmla="*/ 5369 h 18393"/>
                  <a:gd name="connsiteX2" fmla="*/ 5320 w 18295"/>
                  <a:gd name="connsiteY2" fmla="*/ 824 h 18393"/>
                  <a:gd name="connsiteX3" fmla="*/ 834 w 18295"/>
                  <a:gd name="connsiteY3" fmla="*/ 13024 h 18393"/>
                  <a:gd name="connsiteX4" fmla="*/ 12975 w 18295"/>
                  <a:gd name="connsiteY4" fmla="*/ 17570 h 1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5" h="18393">
                    <a:moveTo>
                      <a:pt x="12975" y="17570"/>
                    </a:moveTo>
                    <a:cubicBezTo>
                      <a:pt x="17580" y="15476"/>
                      <a:pt x="19554" y="9974"/>
                      <a:pt x="17461" y="5369"/>
                    </a:cubicBezTo>
                    <a:cubicBezTo>
                      <a:pt x="15308" y="764"/>
                      <a:pt x="9865" y="-1270"/>
                      <a:pt x="5320" y="824"/>
                    </a:cubicBezTo>
                    <a:cubicBezTo>
                      <a:pt x="715" y="2917"/>
                      <a:pt x="-1259" y="8419"/>
                      <a:pt x="834" y="13024"/>
                    </a:cubicBezTo>
                    <a:cubicBezTo>
                      <a:pt x="2928" y="17630"/>
                      <a:pt x="8370" y="19663"/>
                      <a:pt x="12975" y="17570"/>
                    </a:cubicBezTo>
                    <a:close/>
                  </a:path>
                </a:pathLst>
              </a:custGeom>
              <a:grpFill/>
              <a:ln w="5978" cap="flat">
                <a:noFill/>
                <a:prstDash val="solid"/>
                <a:miter/>
              </a:ln>
            </p:spPr>
            <p:txBody>
              <a:bodyPr rtlCol="0" anchor="ctr"/>
              <a:lstStyle/>
              <a:p>
                <a:endParaRPr lang="en-GB"/>
              </a:p>
            </p:txBody>
          </p:sp>
        </p:grpSp>
        <p:grpSp>
          <p:nvGrpSpPr>
            <p:cNvPr id="1344" name="Graphic 3">
              <a:extLst>
                <a:ext uri="{FF2B5EF4-FFF2-40B4-BE49-F238E27FC236}">
                  <a16:creationId xmlns:a16="http://schemas.microsoft.com/office/drawing/2014/main" id="{EAF699AD-CC0A-46E6-8812-A6D84B623AE3}"/>
                </a:ext>
              </a:extLst>
            </p:cNvPr>
            <p:cNvGrpSpPr/>
            <p:nvPr/>
          </p:nvGrpSpPr>
          <p:grpSpPr>
            <a:xfrm>
              <a:off x="3802247" y="3529846"/>
              <a:ext cx="145782" cy="25809"/>
              <a:chOff x="3802247" y="3529846"/>
              <a:chExt cx="145782" cy="25809"/>
            </a:xfrm>
            <a:grpFill/>
          </p:grpSpPr>
          <p:sp>
            <p:nvSpPr>
              <p:cNvPr id="1377" name="Vrije vorm: vorm 1376">
                <a:extLst>
                  <a:ext uri="{FF2B5EF4-FFF2-40B4-BE49-F238E27FC236}">
                    <a16:creationId xmlns:a16="http://schemas.microsoft.com/office/drawing/2014/main" id="{CB6B4B94-3DD8-4180-8FBC-F0513EEA977B}"/>
                  </a:ext>
                </a:extLst>
              </p:cNvPr>
              <p:cNvSpPr/>
              <p:nvPr/>
            </p:nvSpPr>
            <p:spPr>
              <a:xfrm>
                <a:off x="3810876" y="3537517"/>
                <a:ext cx="128525" cy="10466"/>
              </a:xfrm>
              <a:custGeom>
                <a:avLst/>
                <a:gdLst>
                  <a:gd name="connsiteX0" fmla="*/ 128346 w 128525"/>
                  <a:gd name="connsiteY0" fmla="*/ 0 h 10466"/>
                  <a:gd name="connsiteX1" fmla="*/ 128526 w 128525"/>
                  <a:gd name="connsiteY1" fmla="*/ 3050 h 10466"/>
                  <a:gd name="connsiteX2" fmla="*/ 180 w 128525"/>
                  <a:gd name="connsiteY2" fmla="*/ 10466 h 10466"/>
                  <a:gd name="connsiteX3" fmla="*/ 0 w 128525"/>
                  <a:gd name="connsiteY3" fmla="*/ 7416 h 10466"/>
                </a:gdLst>
                <a:ahLst/>
                <a:cxnLst>
                  <a:cxn ang="0">
                    <a:pos x="connsiteX0" y="connsiteY0"/>
                  </a:cxn>
                  <a:cxn ang="0">
                    <a:pos x="connsiteX1" y="connsiteY1"/>
                  </a:cxn>
                  <a:cxn ang="0">
                    <a:pos x="connsiteX2" y="connsiteY2"/>
                  </a:cxn>
                  <a:cxn ang="0">
                    <a:pos x="connsiteX3" y="connsiteY3"/>
                  </a:cxn>
                </a:cxnLst>
                <a:rect l="l" t="t" r="r" b="b"/>
                <a:pathLst>
                  <a:path w="128525" h="10466">
                    <a:moveTo>
                      <a:pt x="128346" y="0"/>
                    </a:moveTo>
                    <a:lnTo>
                      <a:pt x="128526" y="3050"/>
                    </a:lnTo>
                    <a:lnTo>
                      <a:pt x="180" y="10466"/>
                    </a:lnTo>
                    <a:lnTo>
                      <a:pt x="0" y="7416"/>
                    </a:lnTo>
                    <a:close/>
                  </a:path>
                </a:pathLst>
              </a:custGeom>
              <a:grpFill/>
              <a:ln w="5978" cap="flat">
                <a:noFill/>
                <a:prstDash val="solid"/>
                <a:miter/>
              </a:ln>
            </p:spPr>
            <p:txBody>
              <a:bodyPr rtlCol="0" anchor="ctr"/>
              <a:lstStyle/>
              <a:p>
                <a:endParaRPr lang="en-GB"/>
              </a:p>
            </p:txBody>
          </p:sp>
          <p:sp>
            <p:nvSpPr>
              <p:cNvPr id="1378" name="Vrije vorm: vorm 1377">
                <a:extLst>
                  <a:ext uri="{FF2B5EF4-FFF2-40B4-BE49-F238E27FC236}">
                    <a16:creationId xmlns:a16="http://schemas.microsoft.com/office/drawing/2014/main" id="{BB929F01-6CD3-48EA-9E88-B6F6A74370C0}"/>
                  </a:ext>
                </a:extLst>
              </p:cNvPr>
              <p:cNvSpPr/>
              <p:nvPr/>
            </p:nvSpPr>
            <p:spPr>
              <a:xfrm>
                <a:off x="3802247" y="3537202"/>
                <a:ext cx="18333" cy="18452"/>
              </a:xfrm>
              <a:custGeom>
                <a:avLst/>
                <a:gdLst>
                  <a:gd name="connsiteX0" fmla="*/ 9705 w 18333"/>
                  <a:gd name="connsiteY0" fmla="*/ 18437 h 18452"/>
                  <a:gd name="connsiteX1" fmla="*/ 16 w 18333"/>
                  <a:gd name="connsiteY1" fmla="*/ 9765 h 18452"/>
                  <a:gd name="connsiteX2" fmla="*/ 8629 w 18333"/>
                  <a:gd name="connsiteY2" fmla="*/ 16 h 18452"/>
                  <a:gd name="connsiteX3" fmla="*/ 18317 w 18333"/>
                  <a:gd name="connsiteY3" fmla="*/ 8688 h 18452"/>
                  <a:gd name="connsiteX4" fmla="*/ 9705 w 18333"/>
                  <a:gd name="connsiteY4" fmla="*/ 18437 h 1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2">
                    <a:moveTo>
                      <a:pt x="9705" y="18437"/>
                    </a:moveTo>
                    <a:cubicBezTo>
                      <a:pt x="4682" y="18736"/>
                      <a:pt x="315" y="14848"/>
                      <a:pt x="16" y="9765"/>
                    </a:cubicBezTo>
                    <a:cubicBezTo>
                      <a:pt x="-283" y="4681"/>
                      <a:pt x="3545" y="315"/>
                      <a:pt x="8629" y="16"/>
                    </a:cubicBezTo>
                    <a:cubicBezTo>
                      <a:pt x="13653" y="-283"/>
                      <a:pt x="18018" y="3605"/>
                      <a:pt x="18317" y="8688"/>
                    </a:cubicBezTo>
                    <a:cubicBezTo>
                      <a:pt x="18616" y="13772"/>
                      <a:pt x="14789" y="18138"/>
                      <a:pt x="9705" y="18437"/>
                    </a:cubicBezTo>
                    <a:close/>
                  </a:path>
                </a:pathLst>
              </a:custGeom>
              <a:grpFill/>
              <a:ln w="5978" cap="flat">
                <a:noFill/>
                <a:prstDash val="solid"/>
                <a:miter/>
              </a:ln>
            </p:spPr>
            <p:txBody>
              <a:bodyPr rtlCol="0" anchor="ctr"/>
              <a:lstStyle/>
              <a:p>
                <a:endParaRPr lang="en-GB"/>
              </a:p>
            </p:txBody>
          </p:sp>
          <p:sp>
            <p:nvSpPr>
              <p:cNvPr id="1379" name="Vrije vorm: vorm 1378">
                <a:extLst>
                  <a:ext uri="{FF2B5EF4-FFF2-40B4-BE49-F238E27FC236}">
                    <a16:creationId xmlns:a16="http://schemas.microsoft.com/office/drawing/2014/main" id="{BAD8892C-A1BD-4935-AB5D-4F9EB51003B5}"/>
                  </a:ext>
                </a:extLst>
              </p:cNvPr>
              <p:cNvSpPr/>
              <p:nvPr/>
            </p:nvSpPr>
            <p:spPr>
              <a:xfrm>
                <a:off x="3929696" y="3529846"/>
                <a:ext cx="18333" cy="18453"/>
              </a:xfrm>
              <a:custGeom>
                <a:avLst/>
                <a:gdLst>
                  <a:gd name="connsiteX0" fmla="*/ 9705 w 18333"/>
                  <a:gd name="connsiteY0" fmla="*/ 18437 h 18453"/>
                  <a:gd name="connsiteX1" fmla="*/ 18317 w 18333"/>
                  <a:gd name="connsiteY1" fmla="*/ 8688 h 18453"/>
                  <a:gd name="connsiteX2" fmla="*/ 8628 w 18333"/>
                  <a:gd name="connsiteY2" fmla="*/ 16 h 18453"/>
                  <a:gd name="connsiteX3" fmla="*/ 16 w 18333"/>
                  <a:gd name="connsiteY3" fmla="*/ 9765 h 18453"/>
                  <a:gd name="connsiteX4" fmla="*/ 9705 w 18333"/>
                  <a:gd name="connsiteY4" fmla="*/ 18437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3" h="18453">
                    <a:moveTo>
                      <a:pt x="9705" y="18437"/>
                    </a:moveTo>
                    <a:cubicBezTo>
                      <a:pt x="14729" y="18138"/>
                      <a:pt x="18616" y="13772"/>
                      <a:pt x="18317" y="8688"/>
                    </a:cubicBezTo>
                    <a:cubicBezTo>
                      <a:pt x="18018" y="3605"/>
                      <a:pt x="13652" y="-283"/>
                      <a:pt x="8628" y="16"/>
                    </a:cubicBezTo>
                    <a:cubicBezTo>
                      <a:pt x="3605" y="315"/>
                      <a:pt x="-283" y="4681"/>
                      <a:pt x="16" y="9765"/>
                    </a:cubicBezTo>
                    <a:cubicBezTo>
                      <a:pt x="315" y="14848"/>
                      <a:pt x="4681" y="18736"/>
                      <a:pt x="9705" y="18437"/>
                    </a:cubicBezTo>
                    <a:close/>
                  </a:path>
                </a:pathLst>
              </a:custGeom>
              <a:grpFill/>
              <a:ln w="5978" cap="flat">
                <a:noFill/>
                <a:prstDash val="solid"/>
                <a:miter/>
              </a:ln>
            </p:spPr>
            <p:txBody>
              <a:bodyPr rtlCol="0" anchor="ctr"/>
              <a:lstStyle/>
              <a:p>
                <a:endParaRPr lang="en-GB"/>
              </a:p>
            </p:txBody>
          </p:sp>
        </p:grpSp>
        <p:grpSp>
          <p:nvGrpSpPr>
            <p:cNvPr id="1345" name="Graphic 3">
              <a:extLst>
                <a:ext uri="{FF2B5EF4-FFF2-40B4-BE49-F238E27FC236}">
                  <a16:creationId xmlns:a16="http://schemas.microsoft.com/office/drawing/2014/main" id="{C6BE8850-4553-4139-8B9D-76FA97CE559F}"/>
                </a:ext>
              </a:extLst>
            </p:cNvPr>
            <p:cNvGrpSpPr/>
            <p:nvPr/>
          </p:nvGrpSpPr>
          <p:grpSpPr>
            <a:xfrm>
              <a:off x="3803101" y="4137155"/>
              <a:ext cx="601660" cy="274852"/>
              <a:chOff x="3803101" y="4137155"/>
              <a:chExt cx="601660" cy="274852"/>
            </a:xfrm>
            <a:grpFill/>
          </p:grpSpPr>
          <p:sp>
            <p:nvSpPr>
              <p:cNvPr id="1374" name="Vrije vorm: vorm 1373">
                <a:extLst>
                  <a:ext uri="{FF2B5EF4-FFF2-40B4-BE49-F238E27FC236}">
                    <a16:creationId xmlns:a16="http://schemas.microsoft.com/office/drawing/2014/main" id="{5FEF0A7D-2137-4DE9-99E7-EE6E086CB7B2}"/>
                  </a:ext>
                </a:extLst>
              </p:cNvPr>
              <p:cNvSpPr/>
              <p:nvPr/>
            </p:nvSpPr>
            <p:spPr>
              <a:xfrm>
                <a:off x="3811234" y="4144860"/>
                <a:ext cx="585452" cy="259563"/>
              </a:xfrm>
              <a:custGeom>
                <a:avLst/>
                <a:gdLst>
                  <a:gd name="connsiteX0" fmla="*/ 585453 w 585452"/>
                  <a:gd name="connsiteY0" fmla="*/ 2811 h 259563"/>
                  <a:gd name="connsiteX1" fmla="*/ 1256 w 585452"/>
                  <a:gd name="connsiteY1" fmla="*/ 259563 h 259563"/>
                  <a:gd name="connsiteX2" fmla="*/ 0 w 585452"/>
                  <a:gd name="connsiteY2" fmla="*/ 256752 h 259563"/>
                  <a:gd name="connsiteX3" fmla="*/ 584197 w 585452"/>
                  <a:gd name="connsiteY3" fmla="*/ 0 h 259563"/>
                </a:gdLst>
                <a:ahLst/>
                <a:cxnLst>
                  <a:cxn ang="0">
                    <a:pos x="connsiteX0" y="connsiteY0"/>
                  </a:cxn>
                  <a:cxn ang="0">
                    <a:pos x="connsiteX1" y="connsiteY1"/>
                  </a:cxn>
                  <a:cxn ang="0">
                    <a:pos x="connsiteX2" y="connsiteY2"/>
                  </a:cxn>
                  <a:cxn ang="0">
                    <a:pos x="connsiteX3" y="connsiteY3"/>
                  </a:cxn>
                </a:cxnLst>
                <a:rect l="l" t="t" r="r" b="b"/>
                <a:pathLst>
                  <a:path w="585452" h="259563">
                    <a:moveTo>
                      <a:pt x="585453" y="2811"/>
                    </a:moveTo>
                    <a:lnTo>
                      <a:pt x="1256" y="259563"/>
                    </a:lnTo>
                    <a:lnTo>
                      <a:pt x="0" y="256752"/>
                    </a:lnTo>
                    <a:lnTo>
                      <a:pt x="584197" y="0"/>
                    </a:lnTo>
                    <a:close/>
                  </a:path>
                </a:pathLst>
              </a:custGeom>
              <a:grpFill/>
              <a:ln w="5978" cap="flat">
                <a:noFill/>
                <a:prstDash val="solid"/>
                <a:miter/>
              </a:ln>
            </p:spPr>
            <p:txBody>
              <a:bodyPr rtlCol="0" anchor="ctr"/>
              <a:lstStyle/>
              <a:p>
                <a:endParaRPr lang="en-GB"/>
              </a:p>
            </p:txBody>
          </p:sp>
          <p:sp>
            <p:nvSpPr>
              <p:cNvPr id="1375" name="Vrije vorm: vorm 1374">
                <a:extLst>
                  <a:ext uri="{FF2B5EF4-FFF2-40B4-BE49-F238E27FC236}">
                    <a16:creationId xmlns:a16="http://schemas.microsoft.com/office/drawing/2014/main" id="{94A501AF-0189-45B5-9045-54DB0AE18E6D}"/>
                  </a:ext>
                </a:extLst>
              </p:cNvPr>
              <p:cNvSpPr/>
              <p:nvPr/>
            </p:nvSpPr>
            <p:spPr>
              <a:xfrm>
                <a:off x="3803101" y="4393549"/>
                <a:ext cx="18335" cy="18458"/>
              </a:xfrm>
              <a:custGeom>
                <a:avLst/>
                <a:gdLst>
                  <a:gd name="connsiteX0" fmla="*/ 12859 w 18335"/>
                  <a:gd name="connsiteY0" fmla="*/ 17692 h 18458"/>
                  <a:gd name="connsiteX1" fmla="*/ 778 w 18335"/>
                  <a:gd name="connsiteY1" fmla="*/ 12908 h 18458"/>
                  <a:gd name="connsiteX2" fmla="*/ 5442 w 18335"/>
                  <a:gd name="connsiteY2" fmla="*/ 767 h 18458"/>
                  <a:gd name="connsiteX3" fmla="*/ 17524 w 18335"/>
                  <a:gd name="connsiteY3" fmla="*/ 5551 h 18458"/>
                  <a:gd name="connsiteX4" fmla="*/ 12859 w 18335"/>
                  <a:gd name="connsiteY4" fmla="*/ 17692 h 18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 h="18458">
                    <a:moveTo>
                      <a:pt x="12859" y="17692"/>
                    </a:moveTo>
                    <a:cubicBezTo>
                      <a:pt x="8254" y="19726"/>
                      <a:pt x="2811" y="17572"/>
                      <a:pt x="778" y="12908"/>
                    </a:cubicBezTo>
                    <a:cubicBezTo>
                      <a:pt x="-1256" y="8242"/>
                      <a:pt x="838" y="2800"/>
                      <a:pt x="5442" y="767"/>
                    </a:cubicBezTo>
                    <a:cubicBezTo>
                      <a:pt x="10048" y="-1267"/>
                      <a:pt x="15490" y="886"/>
                      <a:pt x="17524" y="5551"/>
                    </a:cubicBezTo>
                    <a:cubicBezTo>
                      <a:pt x="19617" y="10276"/>
                      <a:pt x="17524" y="15718"/>
                      <a:pt x="12859" y="17692"/>
                    </a:cubicBezTo>
                    <a:close/>
                  </a:path>
                </a:pathLst>
              </a:custGeom>
              <a:grpFill/>
              <a:ln w="5978" cap="flat">
                <a:noFill/>
                <a:prstDash val="solid"/>
                <a:miter/>
              </a:ln>
            </p:spPr>
            <p:txBody>
              <a:bodyPr rtlCol="0" anchor="ctr"/>
              <a:lstStyle/>
              <a:p>
                <a:endParaRPr lang="en-GB"/>
              </a:p>
            </p:txBody>
          </p:sp>
          <p:sp>
            <p:nvSpPr>
              <p:cNvPr id="1376" name="Vrije vorm: vorm 1375">
                <a:extLst>
                  <a:ext uri="{FF2B5EF4-FFF2-40B4-BE49-F238E27FC236}">
                    <a16:creationId xmlns:a16="http://schemas.microsoft.com/office/drawing/2014/main" id="{609E7264-93D7-4BCC-8E9C-13D95F38B791}"/>
                  </a:ext>
                </a:extLst>
              </p:cNvPr>
              <p:cNvSpPr/>
              <p:nvPr/>
            </p:nvSpPr>
            <p:spPr>
              <a:xfrm>
                <a:off x="4386460" y="4137155"/>
                <a:ext cx="18301" cy="18467"/>
              </a:xfrm>
              <a:custGeom>
                <a:avLst/>
                <a:gdLst>
                  <a:gd name="connsiteX0" fmla="*/ 12859 w 18301"/>
                  <a:gd name="connsiteY0" fmla="*/ 17692 h 18467"/>
                  <a:gd name="connsiteX1" fmla="*/ 17523 w 18301"/>
                  <a:gd name="connsiteY1" fmla="*/ 5551 h 18467"/>
                  <a:gd name="connsiteX2" fmla="*/ 5443 w 18301"/>
                  <a:gd name="connsiteY2" fmla="*/ 767 h 18467"/>
                  <a:gd name="connsiteX3" fmla="*/ 777 w 18301"/>
                  <a:gd name="connsiteY3" fmla="*/ 12908 h 18467"/>
                  <a:gd name="connsiteX4" fmla="*/ 12859 w 18301"/>
                  <a:gd name="connsiteY4" fmla="*/ 17692 h 1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8467">
                    <a:moveTo>
                      <a:pt x="12859" y="17692"/>
                    </a:moveTo>
                    <a:cubicBezTo>
                      <a:pt x="17464" y="15659"/>
                      <a:pt x="19557" y="10216"/>
                      <a:pt x="17523" y="5551"/>
                    </a:cubicBezTo>
                    <a:cubicBezTo>
                      <a:pt x="15490" y="886"/>
                      <a:pt x="10048" y="-1267"/>
                      <a:pt x="5443" y="767"/>
                    </a:cubicBezTo>
                    <a:cubicBezTo>
                      <a:pt x="837" y="2800"/>
                      <a:pt x="-1256" y="8242"/>
                      <a:pt x="777" y="12908"/>
                    </a:cubicBezTo>
                    <a:cubicBezTo>
                      <a:pt x="2871" y="17632"/>
                      <a:pt x="8253" y="19726"/>
                      <a:pt x="12859" y="17692"/>
                    </a:cubicBezTo>
                    <a:close/>
                  </a:path>
                </a:pathLst>
              </a:custGeom>
              <a:grpFill/>
              <a:ln w="5978" cap="flat">
                <a:noFill/>
                <a:prstDash val="solid"/>
                <a:miter/>
              </a:ln>
            </p:spPr>
            <p:txBody>
              <a:bodyPr rtlCol="0" anchor="ctr"/>
              <a:lstStyle/>
              <a:p>
                <a:endParaRPr lang="en-GB"/>
              </a:p>
            </p:txBody>
          </p:sp>
        </p:grpSp>
        <p:grpSp>
          <p:nvGrpSpPr>
            <p:cNvPr id="1346" name="Graphic 3">
              <a:extLst>
                <a:ext uri="{FF2B5EF4-FFF2-40B4-BE49-F238E27FC236}">
                  <a16:creationId xmlns:a16="http://schemas.microsoft.com/office/drawing/2014/main" id="{9A5119B6-2528-4EBD-ADB5-3C8734496086}"/>
                </a:ext>
              </a:extLst>
            </p:cNvPr>
            <p:cNvGrpSpPr/>
            <p:nvPr/>
          </p:nvGrpSpPr>
          <p:grpSpPr>
            <a:xfrm>
              <a:off x="3966287" y="4329757"/>
              <a:ext cx="284857" cy="153936"/>
              <a:chOff x="3966287" y="4329757"/>
              <a:chExt cx="284857" cy="153936"/>
            </a:xfrm>
            <a:grpFill/>
          </p:grpSpPr>
          <p:sp>
            <p:nvSpPr>
              <p:cNvPr id="1371" name="Vrije vorm: vorm 1370">
                <a:extLst>
                  <a:ext uri="{FF2B5EF4-FFF2-40B4-BE49-F238E27FC236}">
                    <a16:creationId xmlns:a16="http://schemas.microsoft.com/office/drawing/2014/main" id="{D738350A-6941-4CF7-A223-735F667C10E9}"/>
                  </a:ext>
                </a:extLst>
              </p:cNvPr>
              <p:cNvSpPr/>
              <p:nvPr/>
            </p:nvSpPr>
            <p:spPr>
              <a:xfrm>
                <a:off x="3974329" y="4337379"/>
                <a:ext cx="268713" cy="138692"/>
              </a:xfrm>
              <a:custGeom>
                <a:avLst/>
                <a:gdLst>
                  <a:gd name="connsiteX0" fmla="*/ 268714 w 268713"/>
                  <a:gd name="connsiteY0" fmla="*/ 2751 h 138692"/>
                  <a:gd name="connsiteX1" fmla="*/ 1375 w 268713"/>
                  <a:gd name="connsiteY1" fmla="*/ 138693 h 138692"/>
                  <a:gd name="connsiteX2" fmla="*/ 0 w 268713"/>
                  <a:gd name="connsiteY2" fmla="*/ 135942 h 138692"/>
                  <a:gd name="connsiteX3" fmla="*/ 267338 w 268713"/>
                  <a:gd name="connsiteY3" fmla="*/ 0 h 138692"/>
                </a:gdLst>
                <a:ahLst/>
                <a:cxnLst>
                  <a:cxn ang="0">
                    <a:pos x="connsiteX0" y="connsiteY0"/>
                  </a:cxn>
                  <a:cxn ang="0">
                    <a:pos x="connsiteX1" y="connsiteY1"/>
                  </a:cxn>
                  <a:cxn ang="0">
                    <a:pos x="connsiteX2" y="connsiteY2"/>
                  </a:cxn>
                  <a:cxn ang="0">
                    <a:pos x="connsiteX3" y="connsiteY3"/>
                  </a:cxn>
                </a:cxnLst>
                <a:rect l="l" t="t" r="r" b="b"/>
                <a:pathLst>
                  <a:path w="268713" h="138692">
                    <a:moveTo>
                      <a:pt x="268714" y="2751"/>
                    </a:moveTo>
                    <a:lnTo>
                      <a:pt x="1375" y="138693"/>
                    </a:lnTo>
                    <a:lnTo>
                      <a:pt x="0" y="135942"/>
                    </a:lnTo>
                    <a:lnTo>
                      <a:pt x="267338" y="0"/>
                    </a:lnTo>
                    <a:close/>
                  </a:path>
                </a:pathLst>
              </a:custGeom>
              <a:grpFill/>
              <a:ln w="5978" cap="flat">
                <a:noFill/>
                <a:prstDash val="solid"/>
                <a:miter/>
              </a:ln>
            </p:spPr>
            <p:txBody>
              <a:bodyPr rtlCol="0" anchor="ctr"/>
              <a:lstStyle/>
              <a:p>
                <a:endParaRPr lang="en-GB"/>
              </a:p>
            </p:txBody>
          </p:sp>
          <p:sp>
            <p:nvSpPr>
              <p:cNvPr id="1372" name="Vrije vorm: vorm 1371">
                <a:extLst>
                  <a:ext uri="{FF2B5EF4-FFF2-40B4-BE49-F238E27FC236}">
                    <a16:creationId xmlns:a16="http://schemas.microsoft.com/office/drawing/2014/main" id="{FC495A61-3BA3-441F-8341-C096987E66E3}"/>
                  </a:ext>
                </a:extLst>
              </p:cNvPr>
              <p:cNvSpPr/>
              <p:nvPr/>
            </p:nvSpPr>
            <p:spPr>
              <a:xfrm>
                <a:off x="3966287" y="4465280"/>
                <a:ext cx="18297" cy="18413"/>
              </a:xfrm>
              <a:custGeom>
                <a:avLst/>
                <a:gdLst>
                  <a:gd name="connsiteX0" fmla="*/ 13305 w 18297"/>
                  <a:gd name="connsiteY0" fmla="*/ 17430 h 18413"/>
                  <a:gd name="connsiteX1" fmla="*/ 985 w 18297"/>
                  <a:gd name="connsiteY1" fmla="*/ 13364 h 18413"/>
                  <a:gd name="connsiteX2" fmla="*/ 4992 w 18297"/>
                  <a:gd name="connsiteY2" fmla="*/ 983 h 18413"/>
                  <a:gd name="connsiteX3" fmla="*/ 17312 w 18297"/>
                  <a:gd name="connsiteY3" fmla="*/ 5050 h 18413"/>
                  <a:gd name="connsiteX4" fmla="*/ 13305 w 18297"/>
                  <a:gd name="connsiteY4" fmla="*/ 17430 h 18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13">
                    <a:moveTo>
                      <a:pt x="13305" y="17430"/>
                    </a:moveTo>
                    <a:cubicBezTo>
                      <a:pt x="8820" y="19703"/>
                      <a:pt x="3258" y="17909"/>
                      <a:pt x="985" y="13364"/>
                    </a:cubicBezTo>
                    <a:cubicBezTo>
                      <a:pt x="-1288" y="8818"/>
                      <a:pt x="506" y="3256"/>
                      <a:pt x="4992" y="983"/>
                    </a:cubicBezTo>
                    <a:cubicBezTo>
                      <a:pt x="9477" y="-1289"/>
                      <a:pt x="15039" y="505"/>
                      <a:pt x="17312" y="5050"/>
                    </a:cubicBezTo>
                    <a:cubicBezTo>
                      <a:pt x="19585" y="9596"/>
                      <a:pt x="17791" y="15158"/>
                      <a:pt x="13305" y="17430"/>
                    </a:cubicBezTo>
                    <a:close/>
                  </a:path>
                </a:pathLst>
              </a:custGeom>
              <a:grpFill/>
              <a:ln w="5978" cap="flat">
                <a:noFill/>
                <a:prstDash val="solid"/>
                <a:miter/>
              </a:ln>
            </p:spPr>
            <p:txBody>
              <a:bodyPr rtlCol="0" anchor="ctr"/>
              <a:lstStyle/>
              <a:p>
                <a:endParaRPr lang="en-GB"/>
              </a:p>
            </p:txBody>
          </p:sp>
          <p:sp>
            <p:nvSpPr>
              <p:cNvPr id="1373" name="Vrije vorm: vorm 1372">
                <a:extLst>
                  <a:ext uri="{FF2B5EF4-FFF2-40B4-BE49-F238E27FC236}">
                    <a16:creationId xmlns:a16="http://schemas.microsoft.com/office/drawing/2014/main" id="{14B90EE0-341E-4553-B5A6-A84ED87879A1}"/>
                  </a:ext>
                </a:extLst>
              </p:cNvPr>
              <p:cNvSpPr/>
              <p:nvPr/>
            </p:nvSpPr>
            <p:spPr>
              <a:xfrm>
                <a:off x="4232847" y="4329757"/>
                <a:ext cx="18297" cy="18439"/>
              </a:xfrm>
              <a:custGeom>
                <a:avLst/>
                <a:gdLst>
                  <a:gd name="connsiteX0" fmla="*/ 13305 w 18297"/>
                  <a:gd name="connsiteY0" fmla="*/ 17430 h 18439"/>
                  <a:gd name="connsiteX1" fmla="*/ 17312 w 18297"/>
                  <a:gd name="connsiteY1" fmla="*/ 5050 h 18439"/>
                  <a:gd name="connsiteX2" fmla="*/ 4992 w 18297"/>
                  <a:gd name="connsiteY2" fmla="*/ 983 h 18439"/>
                  <a:gd name="connsiteX3" fmla="*/ 985 w 18297"/>
                  <a:gd name="connsiteY3" fmla="*/ 13363 h 18439"/>
                  <a:gd name="connsiteX4" fmla="*/ 13305 w 18297"/>
                  <a:gd name="connsiteY4" fmla="*/ 17430 h 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 h="18439">
                    <a:moveTo>
                      <a:pt x="13305" y="17430"/>
                    </a:moveTo>
                    <a:cubicBezTo>
                      <a:pt x="17791" y="15158"/>
                      <a:pt x="19585" y="9595"/>
                      <a:pt x="17312" y="5050"/>
                    </a:cubicBezTo>
                    <a:cubicBezTo>
                      <a:pt x="15039" y="505"/>
                      <a:pt x="9477" y="-1289"/>
                      <a:pt x="4992" y="983"/>
                    </a:cubicBezTo>
                    <a:cubicBezTo>
                      <a:pt x="506" y="3256"/>
                      <a:pt x="-1288" y="8818"/>
                      <a:pt x="985" y="13363"/>
                    </a:cubicBezTo>
                    <a:cubicBezTo>
                      <a:pt x="3258" y="17909"/>
                      <a:pt x="8760" y="19763"/>
                      <a:pt x="13305" y="17430"/>
                    </a:cubicBezTo>
                    <a:close/>
                  </a:path>
                </a:pathLst>
              </a:custGeom>
              <a:grpFill/>
              <a:ln w="5978" cap="flat">
                <a:noFill/>
                <a:prstDash val="solid"/>
                <a:miter/>
              </a:ln>
            </p:spPr>
            <p:txBody>
              <a:bodyPr rtlCol="0" anchor="ctr"/>
              <a:lstStyle/>
              <a:p>
                <a:endParaRPr lang="en-GB"/>
              </a:p>
            </p:txBody>
          </p:sp>
        </p:grpSp>
        <p:grpSp>
          <p:nvGrpSpPr>
            <p:cNvPr id="1347" name="Graphic 3">
              <a:extLst>
                <a:ext uri="{FF2B5EF4-FFF2-40B4-BE49-F238E27FC236}">
                  <a16:creationId xmlns:a16="http://schemas.microsoft.com/office/drawing/2014/main" id="{53302D82-434B-4001-A819-9ACE8C476591}"/>
                </a:ext>
              </a:extLst>
            </p:cNvPr>
            <p:cNvGrpSpPr/>
            <p:nvPr/>
          </p:nvGrpSpPr>
          <p:grpSpPr>
            <a:xfrm>
              <a:off x="3996433" y="4473251"/>
              <a:ext cx="153872" cy="93856"/>
              <a:chOff x="3996433" y="4473251"/>
              <a:chExt cx="153872" cy="93856"/>
            </a:xfrm>
            <a:grpFill/>
          </p:grpSpPr>
          <p:sp>
            <p:nvSpPr>
              <p:cNvPr id="1368" name="Vrije vorm: vorm 1367">
                <a:extLst>
                  <a:ext uri="{FF2B5EF4-FFF2-40B4-BE49-F238E27FC236}">
                    <a16:creationId xmlns:a16="http://schemas.microsoft.com/office/drawing/2014/main" id="{7C871CE8-BEAF-492B-9D09-106CA4657976}"/>
                  </a:ext>
                </a:extLst>
              </p:cNvPr>
              <p:cNvSpPr/>
              <p:nvPr/>
            </p:nvSpPr>
            <p:spPr>
              <a:xfrm>
                <a:off x="4004471" y="4480856"/>
                <a:ext cx="137796" cy="78586"/>
              </a:xfrm>
              <a:custGeom>
                <a:avLst/>
                <a:gdLst>
                  <a:gd name="connsiteX0" fmla="*/ 137796 w 137796"/>
                  <a:gd name="connsiteY0" fmla="*/ 2691 h 78586"/>
                  <a:gd name="connsiteX1" fmla="*/ 1435 w 137796"/>
                  <a:gd name="connsiteY1" fmla="*/ 78587 h 78586"/>
                  <a:gd name="connsiteX2" fmla="*/ 0 w 137796"/>
                  <a:gd name="connsiteY2" fmla="*/ 75895 h 78586"/>
                  <a:gd name="connsiteX3" fmla="*/ 136301 w 137796"/>
                  <a:gd name="connsiteY3" fmla="*/ 0 h 78586"/>
                </a:gdLst>
                <a:ahLst/>
                <a:cxnLst>
                  <a:cxn ang="0">
                    <a:pos x="connsiteX0" y="connsiteY0"/>
                  </a:cxn>
                  <a:cxn ang="0">
                    <a:pos x="connsiteX1" y="connsiteY1"/>
                  </a:cxn>
                  <a:cxn ang="0">
                    <a:pos x="connsiteX2" y="connsiteY2"/>
                  </a:cxn>
                  <a:cxn ang="0">
                    <a:pos x="connsiteX3" y="connsiteY3"/>
                  </a:cxn>
                </a:cxnLst>
                <a:rect l="l" t="t" r="r" b="b"/>
                <a:pathLst>
                  <a:path w="137796" h="78586">
                    <a:moveTo>
                      <a:pt x="137796" y="2691"/>
                    </a:moveTo>
                    <a:lnTo>
                      <a:pt x="1435" y="78587"/>
                    </a:lnTo>
                    <a:lnTo>
                      <a:pt x="0" y="75895"/>
                    </a:lnTo>
                    <a:lnTo>
                      <a:pt x="136301" y="0"/>
                    </a:lnTo>
                    <a:close/>
                  </a:path>
                </a:pathLst>
              </a:custGeom>
              <a:grpFill/>
              <a:ln w="5978" cap="flat">
                <a:noFill/>
                <a:prstDash val="solid"/>
                <a:miter/>
              </a:ln>
            </p:spPr>
            <p:txBody>
              <a:bodyPr rtlCol="0" anchor="ctr"/>
              <a:lstStyle/>
              <a:p>
                <a:endParaRPr lang="en-GB"/>
              </a:p>
            </p:txBody>
          </p:sp>
          <p:sp>
            <p:nvSpPr>
              <p:cNvPr id="1369" name="Vrije vorm: vorm 1368">
                <a:extLst>
                  <a:ext uri="{FF2B5EF4-FFF2-40B4-BE49-F238E27FC236}">
                    <a16:creationId xmlns:a16="http://schemas.microsoft.com/office/drawing/2014/main" id="{2AB11EB0-E706-477A-8713-F63A37794557}"/>
                  </a:ext>
                </a:extLst>
              </p:cNvPr>
              <p:cNvSpPr/>
              <p:nvPr/>
            </p:nvSpPr>
            <p:spPr>
              <a:xfrm>
                <a:off x="3996433" y="4548728"/>
                <a:ext cx="18315" cy="18380"/>
              </a:xfrm>
              <a:custGeom>
                <a:avLst/>
                <a:gdLst>
                  <a:gd name="connsiteX0" fmla="*/ 13600 w 18315"/>
                  <a:gd name="connsiteY0" fmla="*/ 17234 h 18380"/>
                  <a:gd name="connsiteX1" fmla="*/ 1160 w 18315"/>
                  <a:gd name="connsiteY1" fmla="*/ 13646 h 18380"/>
                  <a:gd name="connsiteX2" fmla="*/ 4689 w 18315"/>
                  <a:gd name="connsiteY2" fmla="*/ 1146 h 18380"/>
                  <a:gd name="connsiteX3" fmla="*/ 17129 w 18315"/>
                  <a:gd name="connsiteY3" fmla="*/ 4735 h 18380"/>
                  <a:gd name="connsiteX4" fmla="*/ 13600 w 18315"/>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5" h="18380">
                    <a:moveTo>
                      <a:pt x="13600" y="17234"/>
                    </a:moveTo>
                    <a:cubicBezTo>
                      <a:pt x="9174" y="19686"/>
                      <a:pt x="3612" y="18071"/>
                      <a:pt x="1160" y="13646"/>
                    </a:cubicBezTo>
                    <a:cubicBezTo>
                      <a:pt x="-1292" y="9220"/>
                      <a:pt x="263" y="3598"/>
                      <a:pt x="4689" y="1146"/>
                    </a:cubicBezTo>
                    <a:cubicBezTo>
                      <a:pt x="9115" y="-1306"/>
                      <a:pt x="14677" y="308"/>
                      <a:pt x="17129" y="4735"/>
                    </a:cubicBezTo>
                    <a:cubicBezTo>
                      <a:pt x="19641" y="9160"/>
                      <a:pt x="18026" y="14782"/>
                      <a:pt x="13600" y="17234"/>
                    </a:cubicBezTo>
                    <a:close/>
                  </a:path>
                </a:pathLst>
              </a:custGeom>
              <a:grpFill/>
              <a:ln w="5978" cap="flat">
                <a:noFill/>
                <a:prstDash val="solid"/>
                <a:miter/>
              </a:ln>
            </p:spPr>
            <p:txBody>
              <a:bodyPr rtlCol="0" anchor="ctr"/>
              <a:lstStyle/>
              <a:p>
                <a:endParaRPr lang="en-GB"/>
              </a:p>
            </p:txBody>
          </p:sp>
          <p:sp>
            <p:nvSpPr>
              <p:cNvPr id="1370" name="Vrije vorm: vorm 1369">
                <a:extLst>
                  <a:ext uri="{FF2B5EF4-FFF2-40B4-BE49-F238E27FC236}">
                    <a16:creationId xmlns:a16="http://schemas.microsoft.com/office/drawing/2014/main" id="{3703446C-9E7B-49CF-9D8A-4D83F294268E}"/>
                  </a:ext>
                </a:extLst>
              </p:cNvPr>
              <p:cNvSpPr/>
              <p:nvPr/>
            </p:nvSpPr>
            <p:spPr>
              <a:xfrm>
                <a:off x="4132016" y="4473251"/>
                <a:ext cx="18289" cy="18380"/>
              </a:xfrm>
              <a:custGeom>
                <a:avLst/>
                <a:gdLst>
                  <a:gd name="connsiteX0" fmla="*/ 13600 w 18289"/>
                  <a:gd name="connsiteY0" fmla="*/ 17234 h 18380"/>
                  <a:gd name="connsiteX1" fmla="*/ 17129 w 18289"/>
                  <a:gd name="connsiteY1" fmla="*/ 4735 h 18380"/>
                  <a:gd name="connsiteX2" fmla="*/ 4689 w 18289"/>
                  <a:gd name="connsiteY2" fmla="*/ 1146 h 18380"/>
                  <a:gd name="connsiteX3" fmla="*/ 1160 w 18289"/>
                  <a:gd name="connsiteY3" fmla="*/ 13646 h 18380"/>
                  <a:gd name="connsiteX4" fmla="*/ 13600 w 18289"/>
                  <a:gd name="connsiteY4" fmla="*/ 17234 h 18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9" h="18380">
                    <a:moveTo>
                      <a:pt x="13600" y="17234"/>
                    </a:moveTo>
                    <a:cubicBezTo>
                      <a:pt x="18026" y="14782"/>
                      <a:pt x="19581" y="9160"/>
                      <a:pt x="17129" y="4735"/>
                    </a:cubicBezTo>
                    <a:cubicBezTo>
                      <a:pt x="14677" y="308"/>
                      <a:pt x="9055" y="-1306"/>
                      <a:pt x="4689" y="1146"/>
                    </a:cubicBezTo>
                    <a:cubicBezTo>
                      <a:pt x="263" y="3598"/>
                      <a:pt x="-1292" y="9220"/>
                      <a:pt x="1160" y="13646"/>
                    </a:cubicBezTo>
                    <a:cubicBezTo>
                      <a:pt x="3553" y="18071"/>
                      <a:pt x="9174" y="19686"/>
                      <a:pt x="13600" y="17234"/>
                    </a:cubicBezTo>
                    <a:close/>
                  </a:path>
                </a:pathLst>
              </a:custGeom>
              <a:grpFill/>
              <a:ln w="5978" cap="flat">
                <a:noFill/>
                <a:prstDash val="solid"/>
                <a:miter/>
              </a:ln>
            </p:spPr>
            <p:txBody>
              <a:bodyPr rtlCol="0" anchor="ctr"/>
              <a:lstStyle/>
              <a:p>
                <a:endParaRPr lang="en-GB"/>
              </a:p>
            </p:txBody>
          </p:sp>
        </p:grpSp>
        <p:grpSp>
          <p:nvGrpSpPr>
            <p:cNvPr id="1348" name="Graphic 3">
              <a:extLst>
                <a:ext uri="{FF2B5EF4-FFF2-40B4-BE49-F238E27FC236}">
                  <a16:creationId xmlns:a16="http://schemas.microsoft.com/office/drawing/2014/main" id="{00A9C155-BEC0-4F63-8F3F-D4B70772D99B}"/>
                </a:ext>
              </a:extLst>
            </p:cNvPr>
            <p:cNvGrpSpPr/>
            <p:nvPr/>
          </p:nvGrpSpPr>
          <p:grpSpPr>
            <a:xfrm>
              <a:off x="3698672" y="3669518"/>
              <a:ext cx="77341" cy="25176"/>
              <a:chOff x="3698672" y="3669518"/>
              <a:chExt cx="77341" cy="25176"/>
            </a:xfrm>
            <a:grpFill/>
          </p:grpSpPr>
          <p:sp>
            <p:nvSpPr>
              <p:cNvPr id="1365" name="Vrije vorm: vorm 1364">
                <a:extLst>
                  <a:ext uri="{FF2B5EF4-FFF2-40B4-BE49-F238E27FC236}">
                    <a16:creationId xmlns:a16="http://schemas.microsoft.com/office/drawing/2014/main" id="{62976C33-13E0-4697-9998-83311C39B9C6}"/>
                  </a:ext>
                </a:extLst>
              </p:cNvPr>
              <p:cNvSpPr/>
              <p:nvPr/>
            </p:nvSpPr>
            <p:spPr>
              <a:xfrm>
                <a:off x="3707170" y="3677167"/>
                <a:ext cx="60345" cy="9868"/>
              </a:xfrm>
              <a:custGeom>
                <a:avLst/>
                <a:gdLst>
                  <a:gd name="connsiteX0" fmla="*/ 59987 w 60345"/>
                  <a:gd name="connsiteY0" fmla="*/ 0 h 9868"/>
                  <a:gd name="connsiteX1" fmla="*/ 60345 w 60345"/>
                  <a:gd name="connsiteY1" fmla="*/ 3050 h 9868"/>
                  <a:gd name="connsiteX2" fmla="*/ 359 w 60345"/>
                  <a:gd name="connsiteY2" fmla="*/ 9868 h 9868"/>
                  <a:gd name="connsiteX3" fmla="*/ 0 w 60345"/>
                  <a:gd name="connsiteY3" fmla="*/ 6878 h 9868"/>
                </a:gdLst>
                <a:ahLst/>
                <a:cxnLst>
                  <a:cxn ang="0">
                    <a:pos x="connsiteX0" y="connsiteY0"/>
                  </a:cxn>
                  <a:cxn ang="0">
                    <a:pos x="connsiteX1" y="connsiteY1"/>
                  </a:cxn>
                  <a:cxn ang="0">
                    <a:pos x="connsiteX2" y="connsiteY2"/>
                  </a:cxn>
                  <a:cxn ang="0">
                    <a:pos x="connsiteX3" y="connsiteY3"/>
                  </a:cxn>
                </a:cxnLst>
                <a:rect l="l" t="t" r="r" b="b"/>
                <a:pathLst>
                  <a:path w="60345" h="9868">
                    <a:moveTo>
                      <a:pt x="59987" y="0"/>
                    </a:moveTo>
                    <a:lnTo>
                      <a:pt x="60345" y="3050"/>
                    </a:lnTo>
                    <a:lnTo>
                      <a:pt x="359" y="9868"/>
                    </a:lnTo>
                    <a:lnTo>
                      <a:pt x="0" y="6878"/>
                    </a:lnTo>
                    <a:close/>
                  </a:path>
                </a:pathLst>
              </a:custGeom>
              <a:grpFill/>
              <a:ln w="5978" cap="flat">
                <a:noFill/>
                <a:prstDash val="solid"/>
                <a:miter/>
              </a:ln>
            </p:spPr>
            <p:txBody>
              <a:bodyPr rtlCol="0" anchor="ctr"/>
              <a:lstStyle/>
              <a:p>
                <a:endParaRPr lang="en-GB"/>
              </a:p>
            </p:txBody>
          </p:sp>
          <p:sp>
            <p:nvSpPr>
              <p:cNvPr id="1366" name="Vrije vorm: vorm 1365">
                <a:extLst>
                  <a:ext uri="{FF2B5EF4-FFF2-40B4-BE49-F238E27FC236}">
                    <a16:creationId xmlns:a16="http://schemas.microsoft.com/office/drawing/2014/main" id="{6C1C9C6A-E05A-4FE2-80DF-5DE4F366F788}"/>
                  </a:ext>
                </a:extLst>
              </p:cNvPr>
              <p:cNvSpPr/>
              <p:nvPr/>
            </p:nvSpPr>
            <p:spPr>
              <a:xfrm>
                <a:off x="3698672" y="3676265"/>
                <a:ext cx="18311" cy="18429"/>
              </a:xfrm>
              <a:custGeom>
                <a:avLst/>
                <a:gdLst>
                  <a:gd name="connsiteX0" fmla="*/ 10232 w 18311"/>
                  <a:gd name="connsiteY0" fmla="*/ 18365 h 18429"/>
                  <a:gd name="connsiteX1" fmla="*/ 65 w 18311"/>
                  <a:gd name="connsiteY1" fmla="*/ 10231 h 18429"/>
                  <a:gd name="connsiteX2" fmla="*/ 8079 w 18311"/>
                  <a:gd name="connsiteY2" fmla="*/ 64 h 18429"/>
                  <a:gd name="connsiteX3" fmla="*/ 18247 w 18311"/>
                  <a:gd name="connsiteY3" fmla="*/ 8198 h 18429"/>
                  <a:gd name="connsiteX4" fmla="*/ 10232 w 18311"/>
                  <a:gd name="connsiteY4" fmla="*/ 18365 h 1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29">
                    <a:moveTo>
                      <a:pt x="10232" y="18365"/>
                    </a:moveTo>
                    <a:cubicBezTo>
                      <a:pt x="5209" y="18963"/>
                      <a:pt x="663" y="15315"/>
                      <a:pt x="65" y="10231"/>
                    </a:cubicBezTo>
                    <a:cubicBezTo>
                      <a:pt x="-533" y="5148"/>
                      <a:pt x="3055" y="603"/>
                      <a:pt x="8079" y="64"/>
                    </a:cubicBezTo>
                    <a:cubicBezTo>
                      <a:pt x="13103" y="-534"/>
                      <a:pt x="17648" y="3114"/>
                      <a:pt x="18247" y="8198"/>
                    </a:cubicBezTo>
                    <a:cubicBezTo>
                      <a:pt x="18845" y="13222"/>
                      <a:pt x="15256" y="17827"/>
                      <a:pt x="10232" y="18365"/>
                    </a:cubicBezTo>
                    <a:close/>
                  </a:path>
                </a:pathLst>
              </a:custGeom>
              <a:grpFill/>
              <a:ln w="5978" cap="flat">
                <a:noFill/>
                <a:prstDash val="solid"/>
                <a:miter/>
              </a:ln>
            </p:spPr>
            <p:txBody>
              <a:bodyPr rtlCol="0" anchor="ctr"/>
              <a:lstStyle/>
              <a:p>
                <a:endParaRPr lang="en-GB"/>
              </a:p>
            </p:txBody>
          </p:sp>
          <p:sp>
            <p:nvSpPr>
              <p:cNvPr id="1367" name="Vrije vorm: vorm 1366">
                <a:extLst>
                  <a:ext uri="{FF2B5EF4-FFF2-40B4-BE49-F238E27FC236}">
                    <a16:creationId xmlns:a16="http://schemas.microsoft.com/office/drawing/2014/main" id="{62A6DE1B-13ED-47AE-AB29-56AA602FD032}"/>
                  </a:ext>
                </a:extLst>
              </p:cNvPr>
              <p:cNvSpPr/>
              <p:nvPr/>
            </p:nvSpPr>
            <p:spPr>
              <a:xfrm>
                <a:off x="3757702" y="3669518"/>
                <a:ext cx="18311" cy="18418"/>
              </a:xfrm>
              <a:custGeom>
                <a:avLst/>
                <a:gdLst>
                  <a:gd name="connsiteX0" fmla="*/ 10232 w 18311"/>
                  <a:gd name="connsiteY0" fmla="*/ 18354 h 18418"/>
                  <a:gd name="connsiteX1" fmla="*/ 18247 w 18311"/>
                  <a:gd name="connsiteY1" fmla="*/ 8187 h 18418"/>
                  <a:gd name="connsiteX2" fmla="*/ 8079 w 18311"/>
                  <a:gd name="connsiteY2" fmla="*/ 53 h 18418"/>
                  <a:gd name="connsiteX3" fmla="*/ 65 w 18311"/>
                  <a:gd name="connsiteY3" fmla="*/ 10221 h 18418"/>
                  <a:gd name="connsiteX4" fmla="*/ 10232 w 18311"/>
                  <a:gd name="connsiteY4" fmla="*/ 18354 h 1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11" h="18418">
                    <a:moveTo>
                      <a:pt x="10232" y="18354"/>
                    </a:moveTo>
                    <a:cubicBezTo>
                      <a:pt x="15256" y="17756"/>
                      <a:pt x="18845" y="13211"/>
                      <a:pt x="18247" y="8187"/>
                    </a:cubicBezTo>
                    <a:cubicBezTo>
                      <a:pt x="17648" y="3103"/>
                      <a:pt x="13103" y="-485"/>
                      <a:pt x="8079" y="53"/>
                    </a:cubicBezTo>
                    <a:cubicBezTo>
                      <a:pt x="3055" y="651"/>
                      <a:pt x="-533" y="5197"/>
                      <a:pt x="65" y="10221"/>
                    </a:cubicBezTo>
                    <a:cubicBezTo>
                      <a:pt x="663" y="15304"/>
                      <a:pt x="5209" y="18952"/>
                      <a:pt x="10232" y="18354"/>
                    </a:cubicBezTo>
                    <a:close/>
                  </a:path>
                </a:pathLst>
              </a:custGeom>
              <a:grpFill/>
              <a:ln w="5978" cap="flat">
                <a:noFill/>
                <a:prstDash val="solid"/>
                <a:miter/>
              </a:ln>
            </p:spPr>
            <p:txBody>
              <a:bodyPr rtlCol="0" anchor="ctr"/>
              <a:lstStyle/>
              <a:p>
                <a:endParaRPr lang="en-GB"/>
              </a:p>
            </p:txBody>
          </p:sp>
        </p:grpSp>
        <p:grpSp>
          <p:nvGrpSpPr>
            <p:cNvPr id="1349" name="Graphic 3">
              <a:extLst>
                <a:ext uri="{FF2B5EF4-FFF2-40B4-BE49-F238E27FC236}">
                  <a16:creationId xmlns:a16="http://schemas.microsoft.com/office/drawing/2014/main" id="{1994B3CF-48F0-4452-8030-67ECEA2C88DC}"/>
                </a:ext>
              </a:extLst>
            </p:cNvPr>
            <p:cNvGrpSpPr/>
            <p:nvPr/>
          </p:nvGrpSpPr>
          <p:grpSpPr>
            <a:xfrm>
              <a:off x="4013122" y="4621684"/>
              <a:ext cx="50938" cy="38180"/>
              <a:chOff x="4013122" y="4621684"/>
              <a:chExt cx="50938" cy="38180"/>
            </a:xfrm>
            <a:grpFill/>
          </p:grpSpPr>
          <p:sp>
            <p:nvSpPr>
              <p:cNvPr id="1362" name="Vrije vorm: vorm 1361">
                <a:extLst>
                  <a:ext uri="{FF2B5EF4-FFF2-40B4-BE49-F238E27FC236}">
                    <a16:creationId xmlns:a16="http://schemas.microsoft.com/office/drawing/2014/main" id="{3C16F43C-577C-4010-8CBA-73BB0B5F9043}"/>
                  </a:ext>
                </a:extLst>
              </p:cNvPr>
              <p:cNvSpPr/>
              <p:nvPr/>
            </p:nvSpPr>
            <p:spPr>
              <a:xfrm>
                <a:off x="4021098" y="4629298"/>
                <a:ext cx="34987" cy="22905"/>
              </a:xfrm>
              <a:custGeom>
                <a:avLst/>
                <a:gdLst>
                  <a:gd name="connsiteX0" fmla="*/ 34987 w 34987"/>
                  <a:gd name="connsiteY0" fmla="*/ 2632 h 22905"/>
                  <a:gd name="connsiteX1" fmla="*/ 1615 w 34987"/>
                  <a:gd name="connsiteY1" fmla="*/ 22906 h 22905"/>
                  <a:gd name="connsiteX2" fmla="*/ 0 w 34987"/>
                  <a:gd name="connsiteY2" fmla="*/ 20275 h 22905"/>
                  <a:gd name="connsiteX3" fmla="*/ 33432 w 34987"/>
                  <a:gd name="connsiteY3" fmla="*/ 0 h 22905"/>
                </a:gdLst>
                <a:ahLst/>
                <a:cxnLst>
                  <a:cxn ang="0">
                    <a:pos x="connsiteX0" y="connsiteY0"/>
                  </a:cxn>
                  <a:cxn ang="0">
                    <a:pos x="connsiteX1" y="connsiteY1"/>
                  </a:cxn>
                  <a:cxn ang="0">
                    <a:pos x="connsiteX2" y="connsiteY2"/>
                  </a:cxn>
                  <a:cxn ang="0">
                    <a:pos x="connsiteX3" y="connsiteY3"/>
                  </a:cxn>
                </a:cxnLst>
                <a:rect l="l" t="t" r="r" b="b"/>
                <a:pathLst>
                  <a:path w="34987" h="22905">
                    <a:moveTo>
                      <a:pt x="34987" y="2632"/>
                    </a:moveTo>
                    <a:lnTo>
                      <a:pt x="1615" y="22906"/>
                    </a:lnTo>
                    <a:lnTo>
                      <a:pt x="0" y="20275"/>
                    </a:lnTo>
                    <a:lnTo>
                      <a:pt x="33432" y="0"/>
                    </a:lnTo>
                    <a:close/>
                  </a:path>
                </a:pathLst>
              </a:custGeom>
              <a:grpFill/>
              <a:ln w="5978" cap="flat">
                <a:noFill/>
                <a:prstDash val="solid"/>
                <a:miter/>
              </a:ln>
            </p:spPr>
            <p:txBody>
              <a:bodyPr rtlCol="0" anchor="ctr"/>
              <a:lstStyle/>
              <a:p>
                <a:endParaRPr lang="en-GB"/>
              </a:p>
            </p:txBody>
          </p:sp>
          <p:sp>
            <p:nvSpPr>
              <p:cNvPr id="1363" name="Vrije vorm: vorm 1362">
                <a:extLst>
                  <a:ext uri="{FF2B5EF4-FFF2-40B4-BE49-F238E27FC236}">
                    <a16:creationId xmlns:a16="http://schemas.microsoft.com/office/drawing/2014/main" id="{4570256D-5C9F-4689-9A44-BAA43F774893}"/>
                  </a:ext>
                </a:extLst>
              </p:cNvPr>
              <p:cNvSpPr/>
              <p:nvPr/>
            </p:nvSpPr>
            <p:spPr>
              <a:xfrm>
                <a:off x="4013122" y="4641494"/>
                <a:ext cx="18343" cy="18370"/>
              </a:xfrm>
              <a:custGeom>
                <a:avLst/>
                <a:gdLst>
                  <a:gd name="connsiteX0" fmla="*/ 13956 w 18343"/>
                  <a:gd name="connsiteY0" fmla="*/ 17050 h 18370"/>
                  <a:gd name="connsiteX1" fmla="*/ 1337 w 18343"/>
                  <a:gd name="connsiteY1" fmla="*/ 13940 h 18370"/>
                  <a:gd name="connsiteX2" fmla="*/ 4387 w 18343"/>
                  <a:gd name="connsiteY2" fmla="*/ 1321 h 18370"/>
                  <a:gd name="connsiteX3" fmla="*/ 17007 w 18343"/>
                  <a:gd name="connsiteY3" fmla="*/ 4431 h 18370"/>
                  <a:gd name="connsiteX4" fmla="*/ 13956 w 18343"/>
                  <a:gd name="connsiteY4" fmla="*/ 17050 h 18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70">
                    <a:moveTo>
                      <a:pt x="13956" y="17050"/>
                    </a:moveTo>
                    <a:cubicBezTo>
                      <a:pt x="9650" y="19681"/>
                      <a:pt x="3968" y="18246"/>
                      <a:pt x="1337" y="13940"/>
                    </a:cubicBezTo>
                    <a:cubicBezTo>
                      <a:pt x="-1294" y="9574"/>
                      <a:pt x="81" y="3892"/>
                      <a:pt x="4387" y="1321"/>
                    </a:cubicBezTo>
                    <a:cubicBezTo>
                      <a:pt x="8693" y="-1311"/>
                      <a:pt x="14375" y="125"/>
                      <a:pt x="17007" y="4431"/>
                    </a:cubicBezTo>
                    <a:cubicBezTo>
                      <a:pt x="19638" y="8737"/>
                      <a:pt x="18262" y="14419"/>
                      <a:pt x="13956" y="17050"/>
                    </a:cubicBezTo>
                    <a:close/>
                  </a:path>
                </a:pathLst>
              </a:custGeom>
              <a:grpFill/>
              <a:ln w="5978" cap="flat">
                <a:noFill/>
                <a:prstDash val="solid"/>
                <a:miter/>
              </a:ln>
            </p:spPr>
            <p:txBody>
              <a:bodyPr rtlCol="0" anchor="ctr"/>
              <a:lstStyle/>
              <a:p>
                <a:endParaRPr lang="en-GB"/>
              </a:p>
            </p:txBody>
          </p:sp>
          <p:sp>
            <p:nvSpPr>
              <p:cNvPr id="1364" name="Vrije vorm: vorm 1363">
                <a:extLst>
                  <a:ext uri="{FF2B5EF4-FFF2-40B4-BE49-F238E27FC236}">
                    <a16:creationId xmlns:a16="http://schemas.microsoft.com/office/drawing/2014/main" id="{DB23CB57-C27B-46CA-B15C-47FA75563A7F}"/>
                  </a:ext>
                </a:extLst>
              </p:cNvPr>
              <p:cNvSpPr/>
              <p:nvPr/>
            </p:nvSpPr>
            <p:spPr>
              <a:xfrm>
                <a:off x="4045717" y="4621684"/>
                <a:ext cx="18343" cy="18398"/>
              </a:xfrm>
              <a:custGeom>
                <a:avLst/>
                <a:gdLst>
                  <a:gd name="connsiteX0" fmla="*/ 13957 w 18343"/>
                  <a:gd name="connsiteY0" fmla="*/ 17064 h 18398"/>
                  <a:gd name="connsiteX1" fmla="*/ 17006 w 18343"/>
                  <a:gd name="connsiteY1" fmla="*/ 4444 h 18398"/>
                  <a:gd name="connsiteX2" fmla="*/ 4387 w 18343"/>
                  <a:gd name="connsiteY2" fmla="*/ 1335 h 18398"/>
                  <a:gd name="connsiteX3" fmla="*/ 1337 w 18343"/>
                  <a:gd name="connsiteY3" fmla="*/ 13954 h 18398"/>
                  <a:gd name="connsiteX4" fmla="*/ 13957 w 18343"/>
                  <a:gd name="connsiteY4" fmla="*/ 17064 h 18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 h="18398">
                    <a:moveTo>
                      <a:pt x="13957" y="17064"/>
                    </a:moveTo>
                    <a:cubicBezTo>
                      <a:pt x="18263" y="14432"/>
                      <a:pt x="19638" y="8751"/>
                      <a:pt x="17006" y="4444"/>
                    </a:cubicBezTo>
                    <a:cubicBezTo>
                      <a:pt x="14375" y="79"/>
                      <a:pt x="8753" y="-1297"/>
                      <a:pt x="4387" y="1335"/>
                    </a:cubicBezTo>
                    <a:cubicBezTo>
                      <a:pt x="81" y="3966"/>
                      <a:pt x="-1295" y="9648"/>
                      <a:pt x="1337" y="13954"/>
                    </a:cubicBezTo>
                    <a:cubicBezTo>
                      <a:pt x="3968" y="18320"/>
                      <a:pt x="9590" y="19695"/>
                      <a:pt x="13957" y="17064"/>
                    </a:cubicBezTo>
                    <a:close/>
                  </a:path>
                </a:pathLst>
              </a:custGeom>
              <a:grpFill/>
              <a:ln w="5978" cap="flat">
                <a:noFill/>
                <a:prstDash val="solid"/>
                <a:miter/>
              </a:ln>
            </p:spPr>
            <p:txBody>
              <a:bodyPr rtlCol="0" anchor="ctr"/>
              <a:lstStyle/>
              <a:p>
                <a:endParaRPr lang="en-GB"/>
              </a:p>
            </p:txBody>
          </p:sp>
        </p:grpSp>
        <p:grpSp>
          <p:nvGrpSpPr>
            <p:cNvPr id="1350" name="Graphic 3">
              <a:extLst>
                <a:ext uri="{FF2B5EF4-FFF2-40B4-BE49-F238E27FC236}">
                  <a16:creationId xmlns:a16="http://schemas.microsoft.com/office/drawing/2014/main" id="{B9589922-1AC8-4323-B3A0-4B6C8B204136}"/>
                </a:ext>
              </a:extLst>
            </p:cNvPr>
            <p:cNvGrpSpPr/>
            <p:nvPr/>
          </p:nvGrpSpPr>
          <p:grpSpPr>
            <a:xfrm>
              <a:off x="3799499" y="4420930"/>
              <a:ext cx="361620" cy="201131"/>
              <a:chOff x="3799499" y="4420930"/>
              <a:chExt cx="361620" cy="201131"/>
            </a:xfrm>
            <a:grpFill/>
          </p:grpSpPr>
          <p:sp>
            <p:nvSpPr>
              <p:cNvPr id="1359" name="Vrije vorm: vorm 1358">
                <a:extLst>
                  <a:ext uri="{FF2B5EF4-FFF2-40B4-BE49-F238E27FC236}">
                    <a16:creationId xmlns:a16="http://schemas.microsoft.com/office/drawing/2014/main" id="{2F9C95F6-821A-42E0-96A8-2D69685E4F80}"/>
                  </a:ext>
                </a:extLst>
              </p:cNvPr>
              <p:cNvSpPr/>
              <p:nvPr/>
            </p:nvSpPr>
            <p:spPr>
              <a:xfrm>
                <a:off x="3807586" y="4428585"/>
                <a:ext cx="345446" cy="185821"/>
              </a:xfrm>
              <a:custGeom>
                <a:avLst/>
                <a:gdLst>
                  <a:gd name="connsiteX0" fmla="*/ 345447 w 345446"/>
                  <a:gd name="connsiteY0" fmla="*/ 2691 h 185821"/>
                  <a:gd name="connsiteX1" fmla="*/ 1435 w 345446"/>
                  <a:gd name="connsiteY1" fmla="*/ 185821 h 185821"/>
                  <a:gd name="connsiteX2" fmla="*/ 0 w 345446"/>
                  <a:gd name="connsiteY2" fmla="*/ 183130 h 185821"/>
                  <a:gd name="connsiteX3" fmla="*/ 344011 w 345446"/>
                  <a:gd name="connsiteY3" fmla="*/ 0 h 185821"/>
                </a:gdLst>
                <a:ahLst/>
                <a:cxnLst>
                  <a:cxn ang="0">
                    <a:pos x="connsiteX0" y="connsiteY0"/>
                  </a:cxn>
                  <a:cxn ang="0">
                    <a:pos x="connsiteX1" y="connsiteY1"/>
                  </a:cxn>
                  <a:cxn ang="0">
                    <a:pos x="connsiteX2" y="connsiteY2"/>
                  </a:cxn>
                  <a:cxn ang="0">
                    <a:pos x="connsiteX3" y="connsiteY3"/>
                  </a:cxn>
                </a:cxnLst>
                <a:rect l="l" t="t" r="r" b="b"/>
                <a:pathLst>
                  <a:path w="345446" h="185821">
                    <a:moveTo>
                      <a:pt x="345447" y="2691"/>
                    </a:moveTo>
                    <a:lnTo>
                      <a:pt x="1435" y="185821"/>
                    </a:lnTo>
                    <a:lnTo>
                      <a:pt x="0" y="183130"/>
                    </a:lnTo>
                    <a:lnTo>
                      <a:pt x="344011" y="0"/>
                    </a:lnTo>
                    <a:close/>
                  </a:path>
                </a:pathLst>
              </a:custGeom>
              <a:grpFill/>
              <a:ln w="5978" cap="flat">
                <a:noFill/>
                <a:prstDash val="solid"/>
                <a:miter/>
              </a:ln>
            </p:spPr>
            <p:txBody>
              <a:bodyPr rtlCol="0" anchor="ctr"/>
              <a:lstStyle/>
              <a:p>
                <a:endParaRPr lang="en-GB"/>
              </a:p>
            </p:txBody>
          </p:sp>
          <p:sp>
            <p:nvSpPr>
              <p:cNvPr id="1360" name="Vrije vorm: vorm 1359">
                <a:extLst>
                  <a:ext uri="{FF2B5EF4-FFF2-40B4-BE49-F238E27FC236}">
                    <a16:creationId xmlns:a16="http://schemas.microsoft.com/office/drawing/2014/main" id="{497D01A8-4441-40A3-8D81-849479D77826}"/>
                  </a:ext>
                </a:extLst>
              </p:cNvPr>
              <p:cNvSpPr/>
              <p:nvPr/>
            </p:nvSpPr>
            <p:spPr>
              <a:xfrm>
                <a:off x="3799499" y="4603641"/>
                <a:ext cx="18327" cy="18420"/>
              </a:xfrm>
              <a:custGeom>
                <a:avLst/>
                <a:gdLst>
                  <a:gd name="connsiteX0" fmla="*/ 13470 w 18327"/>
                  <a:gd name="connsiteY0" fmla="*/ 17344 h 18420"/>
                  <a:gd name="connsiteX1" fmla="*/ 1090 w 18327"/>
                  <a:gd name="connsiteY1" fmla="*/ 13516 h 18420"/>
                  <a:gd name="connsiteX2" fmla="*/ 4858 w 18327"/>
                  <a:gd name="connsiteY2" fmla="*/ 1076 h 18420"/>
                  <a:gd name="connsiteX3" fmla="*/ 17237 w 18327"/>
                  <a:gd name="connsiteY3" fmla="*/ 4904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8984" y="19736"/>
                      <a:pt x="3482" y="18002"/>
                      <a:pt x="1090" y="13516"/>
                    </a:cubicBezTo>
                    <a:cubicBezTo>
                      <a:pt x="-1303" y="9031"/>
                      <a:pt x="372" y="3469"/>
                      <a:pt x="4858" y="1076"/>
                    </a:cubicBezTo>
                    <a:cubicBezTo>
                      <a:pt x="9343" y="-1316"/>
                      <a:pt x="14845" y="418"/>
                      <a:pt x="17237" y="4904"/>
                    </a:cubicBezTo>
                    <a:cubicBezTo>
                      <a:pt x="19630" y="9389"/>
                      <a:pt x="17956" y="14951"/>
                      <a:pt x="13470" y="17344"/>
                    </a:cubicBezTo>
                    <a:close/>
                  </a:path>
                </a:pathLst>
              </a:custGeom>
              <a:grpFill/>
              <a:ln w="5978" cap="flat">
                <a:noFill/>
                <a:prstDash val="solid"/>
                <a:miter/>
              </a:ln>
            </p:spPr>
            <p:txBody>
              <a:bodyPr rtlCol="0" anchor="ctr"/>
              <a:lstStyle/>
              <a:p>
                <a:endParaRPr lang="en-GB"/>
              </a:p>
            </p:txBody>
          </p:sp>
          <p:sp>
            <p:nvSpPr>
              <p:cNvPr id="1361" name="Vrije vorm: vorm 1360">
                <a:extLst>
                  <a:ext uri="{FF2B5EF4-FFF2-40B4-BE49-F238E27FC236}">
                    <a16:creationId xmlns:a16="http://schemas.microsoft.com/office/drawing/2014/main" id="{77698F67-9583-4F86-8EAD-EABCF8DC7128}"/>
                  </a:ext>
                </a:extLst>
              </p:cNvPr>
              <p:cNvSpPr/>
              <p:nvPr/>
            </p:nvSpPr>
            <p:spPr>
              <a:xfrm>
                <a:off x="4142792" y="4420930"/>
                <a:ext cx="18327" cy="18420"/>
              </a:xfrm>
              <a:custGeom>
                <a:avLst/>
                <a:gdLst>
                  <a:gd name="connsiteX0" fmla="*/ 13470 w 18327"/>
                  <a:gd name="connsiteY0" fmla="*/ 17344 h 18420"/>
                  <a:gd name="connsiteX1" fmla="*/ 17238 w 18327"/>
                  <a:gd name="connsiteY1" fmla="*/ 4904 h 18420"/>
                  <a:gd name="connsiteX2" fmla="*/ 4858 w 18327"/>
                  <a:gd name="connsiteY2" fmla="*/ 1076 h 18420"/>
                  <a:gd name="connsiteX3" fmla="*/ 1090 w 18327"/>
                  <a:gd name="connsiteY3" fmla="*/ 13516 h 18420"/>
                  <a:gd name="connsiteX4" fmla="*/ 13470 w 18327"/>
                  <a:gd name="connsiteY4" fmla="*/ 17344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7" h="18420">
                    <a:moveTo>
                      <a:pt x="13470" y="17344"/>
                    </a:moveTo>
                    <a:cubicBezTo>
                      <a:pt x="17955" y="14952"/>
                      <a:pt x="19630" y="9389"/>
                      <a:pt x="17238" y="4904"/>
                    </a:cubicBezTo>
                    <a:cubicBezTo>
                      <a:pt x="14845" y="418"/>
                      <a:pt x="9283" y="-1316"/>
                      <a:pt x="4858" y="1076"/>
                    </a:cubicBezTo>
                    <a:cubicBezTo>
                      <a:pt x="372" y="3469"/>
                      <a:pt x="-1302" y="9031"/>
                      <a:pt x="1090" y="13516"/>
                    </a:cubicBezTo>
                    <a:cubicBezTo>
                      <a:pt x="3422" y="18002"/>
                      <a:pt x="8984" y="19736"/>
                      <a:pt x="13470" y="17344"/>
                    </a:cubicBezTo>
                    <a:close/>
                  </a:path>
                </a:pathLst>
              </a:custGeom>
              <a:grpFill/>
              <a:ln w="5978" cap="flat">
                <a:noFill/>
                <a:prstDash val="solid"/>
                <a:miter/>
              </a:ln>
            </p:spPr>
            <p:txBody>
              <a:bodyPr rtlCol="0" anchor="ctr"/>
              <a:lstStyle/>
              <a:p>
                <a:endParaRPr lang="en-GB"/>
              </a:p>
            </p:txBody>
          </p:sp>
        </p:grpSp>
        <p:grpSp>
          <p:nvGrpSpPr>
            <p:cNvPr id="1351" name="Graphic 3">
              <a:extLst>
                <a:ext uri="{FF2B5EF4-FFF2-40B4-BE49-F238E27FC236}">
                  <a16:creationId xmlns:a16="http://schemas.microsoft.com/office/drawing/2014/main" id="{418FF9DF-766D-447B-A0FF-CA831B9E1A9F}"/>
                </a:ext>
              </a:extLst>
            </p:cNvPr>
            <p:cNvGrpSpPr/>
            <p:nvPr/>
          </p:nvGrpSpPr>
          <p:grpSpPr>
            <a:xfrm>
              <a:off x="3812247" y="4537791"/>
              <a:ext cx="308793" cy="187307"/>
              <a:chOff x="3812247" y="4537791"/>
              <a:chExt cx="308793" cy="187307"/>
            </a:xfrm>
            <a:grpFill/>
          </p:grpSpPr>
          <p:sp>
            <p:nvSpPr>
              <p:cNvPr id="1356" name="Vrije vorm: vorm 1355">
                <a:extLst>
                  <a:ext uri="{FF2B5EF4-FFF2-40B4-BE49-F238E27FC236}">
                    <a16:creationId xmlns:a16="http://schemas.microsoft.com/office/drawing/2014/main" id="{A33ECDAB-2984-451D-9435-10F7CE77C1CA}"/>
                  </a:ext>
                </a:extLst>
              </p:cNvPr>
              <p:cNvSpPr/>
              <p:nvPr/>
            </p:nvSpPr>
            <p:spPr>
              <a:xfrm>
                <a:off x="3820265" y="4545448"/>
                <a:ext cx="292756" cy="171945"/>
              </a:xfrm>
              <a:custGeom>
                <a:avLst/>
                <a:gdLst>
                  <a:gd name="connsiteX0" fmla="*/ 292756 w 292756"/>
                  <a:gd name="connsiteY0" fmla="*/ 2632 h 171945"/>
                  <a:gd name="connsiteX1" fmla="*/ 1555 w 292756"/>
                  <a:gd name="connsiteY1" fmla="*/ 171946 h 171945"/>
                  <a:gd name="connsiteX2" fmla="*/ 0 w 292756"/>
                  <a:gd name="connsiteY2" fmla="*/ 169314 h 171945"/>
                  <a:gd name="connsiteX3" fmla="*/ 291201 w 292756"/>
                  <a:gd name="connsiteY3" fmla="*/ 0 h 171945"/>
                </a:gdLst>
                <a:ahLst/>
                <a:cxnLst>
                  <a:cxn ang="0">
                    <a:pos x="connsiteX0" y="connsiteY0"/>
                  </a:cxn>
                  <a:cxn ang="0">
                    <a:pos x="connsiteX1" y="connsiteY1"/>
                  </a:cxn>
                  <a:cxn ang="0">
                    <a:pos x="connsiteX2" y="connsiteY2"/>
                  </a:cxn>
                  <a:cxn ang="0">
                    <a:pos x="connsiteX3" y="connsiteY3"/>
                  </a:cxn>
                </a:cxnLst>
                <a:rect l="l" t="t" r="r" b="b"/>
                <a:pathLst>
                  <a:path w="292756" h="171945">
                    <a:moveTo>
                      <a:pt x="292756" y="2632"/>
                    </a:moveTo>
                    <a:lnTo>
                      <a:pt x="1555" y="171946"/>
                    </a:lnTo>
                    <a:lnTo>
                      <a:pt x="0" y="169314"/>
                    </a:lnTo>
                    <a:lnTo>
                      <a:pt x="291201" y="0"/>
                    </a:lnTo>
                    <a:close/>
                  </a:path>
                </a:pathLst>
              </a:custGeom>
              <a:grpFill/>
              <a:ln w="5978" cap="flat">
                <a:noFill/>
                <a:prstDash val="solid"/>
                <a:miter/>
              </a:ln>
            </p:spPr>
            <p:txBody>
              <a:bodyPr rtlCol="0" anchor="ctr"/>
              <a:lstStyle/>
              <a:p>
                <a:endParaRPr lang="en-GB"/>
              </a:p>
            </p:txBody>
          </p:sp>
          <p:sp>
            <p:nvSpPr>
              <p:cNvPr id="1357" name="Vrije vorm: vorm 1356">
                <a:extLst>
                  <a:ext uri="{FF2B5EF4-FFF2-40B4-BE49-F238E27FC236}">
                    <a16:creationId xmlns:a16="http://schemas.microsoft.com/office/drawing/2014/main" id="{E526379D-1999-4683-8DAE-FC8F2802BEC8}"/>
                  </a:ext>
                </a:extLst>
              </p:cNvPr>
              <p:cNvSpPr/>
              <p:nvPr/>
            </p:nvSpPr>
            <p:spPr>
              <a:xfrm>
                <a:off x="3812247" y="4706699"/>
                <a:ext cx="18369" cy="18399"/>
              </a:xfrm>
              <a:custGeom>
                <a:avLst/>
                <a:gdLst>
                  <a:gd name="connsiteX0" fmla="*/ 13820 w 18369"/>
                  <a:gd name="connsiteY0" fmla="*/ 17154 h 18399"/>
                  <a:gd name="connsiteX1" fmla="*/ 1260 w 18369"/>
                  <a:gd name="connsiteY1" fmla="*/ 13805 h 18399"/>
                  <a:gd name="connsiteX2" fmla="*/ 4550 w 18369"/>
                  <a:gd name="connsiteY2" fmla="*/ 1245 h 18399"/>
                  <a:gd name="connsiteX3" fmla="*/ 17109 w 18369"/>
                  <a:gd name="connsiteY3" fmla="*/ 4594 h 18399"/>
                  <a:gd name="connsiteX4" fmla="*/ 13820 w 18369"/>
                  <a:gd name="connsiteY4" fmla="*/ 17154 h 18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399">
                    <a:moveTo>
                      <a:pt x="13820" y="17154"/>
                    </a:moveTo>
                    <a:cubicBezTo>
                      <a:pt x="9454" y="19726"/>
                      <a:pt x="3832" y="18171"/>
                      <a:pt x="1260" y="13805"/>
                    </a:cubicBezTo>
                    <a:cubicBezTo>
                      <a:pt x="-1311" y="9379"/>
                      <a:pt x="184" y="3757"/>
                      <a:pt x="4550" y="1245"/>
                    </a:cubicBezTo>
                    <a:cubicBezTo>
                      <a:pt x="8916" y="-1327"/>
                      <a:pt x="14538" y="228"/>
                      <a:pt x="17109" y="4594"/>
                    </a:cubicBezTo>
                    <a:cubicBezTo>
                      <a:pt x="19681" y="8960"/>
                      <a:pt x="18186" y="14582"/>
                      <a:pt x="13820" y="17154"/>
                    </a:cubicBezTo>
                    <a:close/>
                  </a:path>
                </a:pathLst>
              </a:custGeom>
              <a:grpFill/>
              <a:ln w="5978" cap="flat">
                <a:noFill/>
                <a:prstDash val="solid"/>
                <a:miter/>
              </a:ln>
            </p:spPr>
            <p:txBody>
              <a:bodyPr rtlCol="0" anchor="ctr"/>
              <a:lstStyle/>
              <a:p>
                <a:endParaRPr lang="en-GB"/>
              </a:p>
            </p:txBody>
          </p:sp>
          <p:sp>
            <p:nvSpPr>
              <p:cNvPr id="1358" name="Vrije vorm: vorm 1357">
                <a:extLst>
                  <a:ext uri="{FF2B5EF4-FFF2-40B4-BE49-F238E27FC236}">
                    <a16:creationId xmlns:a16="http://schemas.microsoft.com/office/drawing/2014/main" id="{202CDAE2-BC45-4446-B580-F0F110ECEED8}"/>
                  </a:ext>
                </a:extLst>
              </p:cNvPr>
              <p:cNvSpPr/>
              <p:nvPr/>
            </p:nvSpPr>
            <p:spPr>
              <a:xfrm>
                <a:off x="4102671" y="4537791"/>
                <a:ext cx="18369" cy="18425"/>
              </a:xfrm>
              <a:custGeom>
                <a:avLst/>
                <a:gdLst>
                  <a:gd name="connsiteX0" fmla="*/ 13820 w 18369"/>
                  <a:gd name="connsiteY0" fmla="*/ 17167 h 18425"/>
                  <a:gd name="connsiteX1" fmla="*/ 17109 w 18369"/>
                  <a:gd name="connsiteY1" fmla="*/ 4607 h 18425"/>
                  <a:gd name="connsiteX2" fmla="*/ 4550 w 18369"/>
                  <a:gd name="connsiteY2" fmla="*/ 1258 h 18425"/>
                  <a:gd name="connsiteX3" fmla="*/ 1260 w 18369"/>
                  <a:gd name="connsiteY3" fmla="*/ 13818 h 18425"/>
                  <a:gd name="connsiteX4" fmla="*/ 13820 w 18369"/>
                  <a:gd name="connsiteY4" fmla="*/ 17167 h 1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8425">
                    <a:moveTo>
                      <a:pt x="13820" y="17167"/>
                    </a:moveTo>
                    <a:cubicBezTo>
                      <a:pt x="18186" y="14595"/>
                      <a:pt x="19681" y="8974"/>
                      <a:pt x="17109" y="4607"/>
                    </a:cubicBezTo>
                    <a:cubicBezTo>
                      <a:pt x="14538" y="182"/>
                      <a:pt x="8976" y="-1313"/>
                      <a:pt x="4550" y="1258"/>
                    </a:cubicBezTo>
                    <a:cubicBezTo>
                      <a:pt x="184" y="3830"/>
                      <a:pt x="-1311" y="9452"/>
                      <a:pt x="1260" y="13818"/>
                    </a:cubicBezTo>
                    <a:cubicBezTo>
                      <a:pt x="3832" y="18244"/>
                      <a:pt x="9394" y="19739"/>
                      <a:pt x="13820" y="17167"/>
                    </a:cubicBezTo>
                    <a:close/>
                  </a:path>
                </a:pathLst>
              </a:custGeom>
              <a:grpFill/>
              <a:ln w="5978" cap="flat">
                <a:noFill/>
                <a:prstDash val="solid"/>
                <a:miter/>
              </a:ln>
            </p:spPr>
            <p:txBody>
              <a:bodyPr rtlCol="0" anchor="ctr"/>
              <a:lstStyle/>
              <a:p>
                <a:endParaRPr lang="en-GB"/>
              </a:p>
            </p:txBody>
          </p:sp>
        </p:grpSp>
        <p:grpSp>
          <p:nvGrpSpPr>
            <p:cNvPr id="1352" name="Graphic 3">
              <a:extLst>
                <a:ext uri="{FF2B5EF4-FFF2-40B4-BE49-F238E27FC236}">
                  <a16:creationId xmlns:a16="http://schemas.microsoft.com/office/drawing/2014/main" id="{03F47FAE-EBD5-4F49-88EB-473A9B0BE779}"/>
                </a:ext>
              </a:extLst>
            </p:cNvPr>
            <p:cNvGrpSpPr/>
            <p:nvPr/>
          </p:nvGrpSpPr>
          <p:grpSpPr>
            <a:xfrm>
              <a:off x="8047141" y="4300144"/>
              <a:ext cx="174028" cy="87866"/>
              <a:chOff x="8047141" y="4300144"/>
              <a:chExt cx="174028" cy="87866"/>
            </a:xfrm>
            <a:grpFill/>
          </p:grpSpPr>
          <p:sp>
            <p:nvSpPr>
              <p:cNvPr id="1353" name="Vrije vorm: vorm 1352">
                <a:extLst>
                  <a:ext uri="{FF2B5EF4-FFF2-40B4-BE49-F238E27FC236}">
                    <a16:creationId xmlns:a16="http://schemas.microsoft.com/office/drawing/2014/main" id="{64E1B8EA-F1CE-4D26-B19B-903BA50A73B7}"/>
                  </a:ext>
                </a:extLst>
              </p:cNvPr>
              <p:cNvSpPr/>
              <p:nvPr/>
            </p:nvSpPr>
            <p:spPr>
              <a:xfrm>
                <a:off x="8055275" y="4307774"/>
                <a:ext cx="157711" cy="72606"/>
              </a:xfrm>
              <a:custGeom>
                <a:avLst/>
                <a:gdLst>
                  <a:gd name="connsiteX0" fmla="*/ 157712 w 157711"/>
                  <a:gd name="connsiteY0" fmla="*/ 69795 h 72606"/>
                  <a:gd name="connsiteX1" fmla="*/ 156515 w 157711"/>
                  <a:gd name="connsiteY1" fmla="*/ 72606 h 72606"/>
                  <a:gd name="connsiteX2" fmla="*/ 0 w 157711"/>
                  <a:gd name="connsiteY2" fmla="*/ 2811 h 72606"/>
                  <a:gd name="connsiteX3" fmla="*/ 1256 w 157711"/>
                  <a:gd name="connsiteY3" fmla="*/ 0 h 72606"/>
                </a:gdLst>
                <a:ahLst/>
                <a:cxnLst>
                  <a:cxn ang="0">
                    <a:pos x="connsiteX0" y="connsiteY0"/>
                  </a:cxn>
                  <a:cxn ang="0">
                    <a:pos x="connsiteX1" y="connsiteY1"/>
                  </a:cxn>
                  <a:cxn ang="0">
                    <a:pos x="connsiteX2" y="connsiteY2"/>
                  </a:cxn>
                  <a:cxn ang="0">
                    <a:pos x="connsiteX3" y="connsiteY3"/>
                  </a:cxn>
                </a:cxnLst>
                <a:rect l="l" t="t" r="r" b="b"/>
                <a:pathLst>
                  <a:path w="157711" h="72606">
                    <a:moveTo>
                      <a:pt x="157712" y="69795"/>
                    </a:moveTo>
                    <a:lnTo>
                      <a:pt x="156515" y="72606"/>
                    </a:lnTo>
                    <a:lnTo>
                      <a:pt x="0" y="2811"/>
                    </a:lnTo>
                    <a:lnTo>
                      <a:pt x="1256" y="0"/>
                    </a:lnTo>
                    <a:close/>
                  </a:path>
                </a:pathLst>
              </a:custGeom>
              <a:grpFill/>
              <a:ln w="5978" cap="flat">
                <a:noFill/>
                <a:prstDash val="solid"/>
                <a:miter/>
              </a:ln>
            </p:spPr>
            <p:txBody>
              <a:bodyPr rtlCol="0" anchor="ctr"/>
              <a:lstStyle/>
              <a:p>
                <a:endParaRPr lang="en-GB"/>
              </a:p>
            </p:txBody>
          </p:sp>
          <p:sp>
            <p:nvSpPr>
              <p:cNvPr id="1354" name="Vrije vorm: vorm 1353">
                <a:extLst>
                  <a:ext uri="{FF2B5EF4-FFF2-40B4-BE49-F238E27FC236}">
                    <a16:creationId xmlns:a16="http://schemas.microsoft.com/office/drawing/2014/main" id="{E08D1816-CD38-4449-9973-F9DED0DC9C56}"/>
                  </a:ext>
                </a:extLst>
              </p:cNvPr>
              <p:cNvSpPr/>
              <p:nvPr/>
            </p:nvSpPr>
            <p:spPr>
              <a:xfrm>
                <a:off x="8202829" y="4369580"/>
                <a:ext cx="18341" cy="18430"/>
              </a:xfrm>
              <a:custGeom>
                <a:avLst/>
                <a:gdLst>
                  <a:gd name="connsiteX0" fmla="*/ 12849 w 18341"/>
                  <a:gd name="connsiteY0" fmla="*/ 812 h 18430"/>
                  <a:gd name="connsiteX1" fmla="*/ 17574 w 18341"/>
                  <a:gd name="connsiteY1" fmla="*/ 12953 h 18430"/>
                  <a:gd name="connsiteX2" fmla="*/ 5493 w 18341"/>
                  <a:gd name="connsiteY2" fmla="*/ 17618 h 18430"/>
                  <a:gd name="connsiteX3" fmla="*/ 768 w 18341"/>
                  <a:gd name="connsiteY3" fmla="*/ 5477 h 18430"/>
                  <a:gd name="connsiteX4" fmla="*/ 12849 w 18341"/>
                  <a:gd name="connsiteY4" fmla="*/ 812 h 1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 h="18430">
                    <a:moveTo>
                      <a:pt x="12849" y="812"/>
                    </a:moveTo>
                    <a:cubicBezTo>
                      <a:pt x="17454" y="2906"/>
                      <a:pt x="19607" y="8348"/>
                      <a:pt x="17574" y="12953"/>
                    </a:cubicBezTo>
                    <a:cubicBezTo>
                      <a:pt x="15540" y="17618"/>
                      <a:pt x="10158" y="19711"/>
                      <a:pt x="5493" y="17618"/>
                    </a:cubicBezTo>
                    <a:cubicBezTo>
                      <a:pt x="887" y="15525"/>
                      <a:pt x="-1266" y="10083"/>
                      <a:pt x="768" y="5477"/>
                    </a:cubicBezTo>
                    <a:cubicBezTo>
                      <a:pt x="2802" y="812"/>
                      <a:pt x="8184" y="-1281"/>
                      <a:pt x="12849" y="812"/>
                    </a:cubicBezTo>
                    <a:close/>
                  </a:path>
                </a:pathLst>
              </a:custGeom>
              <a:grpFill/>
              <a:ln w="5978" cap="flat">
                <a:noFill/>
                <a:prstDash val="solid"/>
                <a:miter/>
              </a:ln>
            </p:spPr>
            <p:txBody>
              <a:bodyPr rtlCol="0" anchor="ctr"/>
              <a:lstStyle/>
              <a:p>
                <a:endParaRPr lang="en-GB"/>
              </a:p>
            </p:txBody>
          </p:sp>
          <p:sp>
            <p:nvSpPr>
              <p:cNvPr id="1355" name="Vrije vorm: vorm 1354">
                <a:extLst>
                  <a:ext uri="{FF2B5EF4-FFF2-40B4-BE49-F238E27FC236}">
                    <a16:creationId xmlns:a16="http://schemas.microsoft.com/office/drawing/2014/main" id="{B7F5F39E-FA40-4E2D-8A75-742697ABE0C3}"/>
                  </a:ext>
                </a:extLst>
              </p:cNvPr>
              <p:cNvSpPr/>
              <p:nvPr/>
            </p:nvSpPr>
            <p:spPr>
              <a:xfrm>
                <a:off x="8047141" y="4300144"/>
                <a:ext cx="18359" cy="18421"/>
              </a:xfrm>
              <a:custGeom>
                <a:avLst/>
                <a:gdLst>
                  <a:gd name="connsiteX0" fmla="*/ 12858 w 18359"/>
                  <a:gd name="connsiteY0" fmla="*/ 812 h 18421"/>
                  <a:gd name="connsiteX1" fmla="*/ 776 w 18359"/>
                  <a:gd name="connsiteY1" fmla="*/ 5477 h 18421"/>
                  <a:gd name="connsiteX2" fmla="*/ 5501 w 18359"/>
                  <a:gd name="connsiteY2" fmla="*/ 17618 h 18421"/>
                  <a:gd name="connsiteX3" fmla="*/ 17583 w 18359"/>
                  <a:gd name="connsiteY3" fmla="*/ 12953 h 18421"/>
                  <a:gd name="connsiteX4" fmla="*/ 12858 w 18359"/>
                  <a:gd name="connsiteY4" fmla="*/ 812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 h="18421">
                    <a:moveTo>
                      <a:pt x="12858" y="812"/>
                    </a:moveTo>
                    <a:cubicBezTo>
                      <a:pt x="8252" y="-1281"/>
                      <a:pt x="2810" y="812"/>
                      <a:pt x="776" y="5477"/>
                    </a:cubicBezTo>
                    <a:cubicBezTo>
                      <a:pt x="-1257" y="10142"/>
                      <a:pt x="836" y="15585"/>
                      <a:pt x="5501" y="17618"/>
                    </a:cubicBezTo>
                    <a:cubicBezTo>
                      <a:pt x="10107" y="19711"/>
                      <a:pt x="15549" y="17558"/>
                      <a:pt x="17583" y="12953"/>
                    </a:cubicBezTo>
                    <a:cubicBezTo>
                      <a:pt x="19616" y="8348"/>
                      <a:pt x="17523" y="2906"/>
                      <a:pt x="12858" y="812"/>
                    </a:cubicBezTo>
                    <a:close/>
                  </a:path>
                </a:pathLst>
              </a:custGeom>
              <a:grpFill/>
              <a:ln w="5978" cap="flat">
                <a:noFill/>
                <a:prstDash val="solid"/>
                <a:miter/>
              </a:ln>
            </p:spPr>
            <p:txBody>
              <a:bodyPr rtlCol="0" anchor="ctr"/>
              <a:lstStyle/>
              <a:p>
                <a:endParaRPr lang="en-GB"/>
              </a:p>
            </p:txBody>
          </p:sp>
        </p:grpSp>
      </p:grpSp>
      <p:grpSp>
        <p:nvGrpSpPr>
          <p:cNvPr id="5354" name="WERELD_1">
            <a:extLst>
              <a:ext uri="{FF2B5EF4-FFF2-40B4-BE49-F238E27FC236}">
                <a16:creationId xmlns:a16="http://schemas.microsoft.com/office/drawing/2014/main" id="{2697D545-C4AE-4528-AB98-B936005C5598}"/>
              </a:ext>
            </a:extLst>
          </p:cNvPr>
          <p:cNvGrpSpPr/>
          <p:nvPr userDrawn="1"/>
        </p:nvGrpSpPr>
        <p:grpSpPr>
          <a:xfrm>
            <a:off x="6399728" y="1548181"/>
            <a:ext cx="1497513" cy="1711622"/>
            <a:chOff x="6367634" y="1364661"/>
            <a:chExt cx="1497513" cy="1711622"/>
          </a:xfrm>
          <a:effectLst>
            <a:glow rad="127000">
              <a:srgbClr val="00B0F0">
                <a:alpha val="40000"/>
              </a:srgbClr>
            </a:glow>
          </a:effectLst>
        </p:grpSpPr>
        <p:sp>
          <p:nvSpPr>
            <p:cNvPr id="5355" name="Vrije vorm: vorm 5354">
              <a:extLst>
                <a:ext uri="{FF2B5EF4-FFF2-40B4-BE49-F238E27FC236}">
                  <a16:creationId xmlns:a16="http://schemas.microsoft.com/office/drawing/2014/main" id="{3C409A05-7BA6-4EAA-BD10-C88104548D86}"/>
                </a:ext>
              </a:extLst>
            </p:cNvPr>
            <p:cNvSpPr/>
            <p:nvPr/>
          </p:nvSpPr>
          <p:spPr>
            <a:xfrm>
              <a:off x="6998361" y="1364661"/>
              <a:ext cx="614938" cy="716071"/>
            </a:xfrm>
            <a:custGeom>
              <a:avLst/>
              <a:gdLst>
                <a:gd name="connsiteX0" fmla="*/ 523912 w 614938"/>
                <a:gd name="connsiteY0" fmla="*/ 436772 h 716071"/>
                <a:gd name="connsiteX1" fmla="*/ 523912 w 614938"/>
                <a:gd name="connsiteY1" fmla="*/ 436772 h 716071"/>
                <a:gd name="connsiteX2" fmla="*/ 523912 w 614938"/>
                <a:gd name="connsiteY2" fmla="*/ 436772 h 716071"/>
                <a:gd name="connsiteX3" fmla="*/ 523972 w 614938"/>
                <a:gd name="connsiteY3" fmla="*/ 436712 h 716071"/>
                <a:gd name="connsiteX4" fmla="*/ 523972 w 614938"/>
                <a:gd name="connsiteY4" fmla="*/ 436712 h 716071"/>
                <a:gd name="connsiteX5" fmla="*/ 523972 w 614938"/>
                <a:gd name="connsiteY5" fmla="*/ 436652 h 716071"/>
                <a:gd name="connsiteX6" fmla="*/ 523972 w 614938"/>
                <a:gd name="connsiteY6" fmla="*/ 436652 h 716071"/>
                <a:gd name="connsiteX7" fmla="*/ 518888 w 614938"/>
                <a:gd name="connsiteY7" fmla="*/ 420385 h 716071"/>
                <a:gd name="connsiteX8" fmla="*/ 513744 w 614938"/>
                <a:gd name="connsiteY8" fmla="*/ 403878 h 716071"/>
                <a:gd name="connsiteX9" fmla="*/ 508541 w 614938"/>
                <a:gd name="connsiteY9" fmla="*/ 387192 h 716071"/>
                <a:gd name="connsiteX10" fmla="*/ 508541 w 614938"/>
                <a:gd name="connsiteY10" fmla="*/ 387192 h 716071"/>
                <a:gd name="connsiteX11" fmla="*/ 508541 w 614938"/>
                <a:gd name="connsiteY11" fmla="*/ 387192 h 716071"/>
                <a:gd name="connsiteX12" fmla="*/ 508541 w 614938"/>
                <a:gd name="connsiteY12" fmla="*/ 387192 h 716071"/>
                <a:gd name="connsiteX13" fmla="*/ 503278 w 614938"/>
                <a:gd name="connsiteY13" fmla="*/ 370266 h 716071"/>
                <a:gd name="connsiteX14" fmla="*/ 497895 w 614938"/>
                <a:gd name="connsiteY14" fmla="*/ 353042 h 716071"/>
                <a:gd name="connsiteX15" fmla="*/ 492453 w 614938"/>
                <a:gd name="connsiteY15" fmla="*/ 335578 h 716071"/>
                <a:gd name="connsiteX16" fmla="*/ 486951 w 614938"/>
                <a:gd name="connsiteY16" fmla="*/ 317875 h 716071"/>
                <a:gd name="connsiteX17" fmla="*/ 481329 w 614938"/>
                <a:gd name="connsiteY17" fmla="*/ 299933 h 716071"/>
                <a:gd name="connsiteX18" fmla="*/ 475647 w 614938"/>
                <a:gd name="connsiteY18" fmla="*/ 281752 h 716071"/>
                <a:gd name="connsiteX19" fmla="*/ 469906 w 614938"/>
                <a:gd name="connsiteY19" fmla="*/ 263271 h 716071"/>
                <a:gd name="connsiteX20" fmla="*/ 464045 w 614938"/>
                <a:gd name="connsiteY20" fmla="*/ 244492 h 716071"/>
                <a:gd name="connsiteX21" fmla="*/ 464045 w 614938"/>
                <a:gd name="connsiteY21" fmla="*/ 244492 h 716071"/>
                <a:gd name="connsiteX22" fmla="*/ 464045 w 614938"/>
                <a:gd name="connsiteY22" fmla="*/ 244492 h 716071"/>
                <a:gd name="connsiteX23" fmla="*/ 464045 w 614938"/>
                <a:gd name="connsiteY23" fmla="*/ 244492 h 716071"/>
                <a:gd name="connsiteX24" fmla="*/ 464045 w 614938"/>
                <a:gd name="connsiteY24" fmla="*/ 244492 h 716071"/>
                <a:gd name="connsiteX25" fmla="*/ 464045 w 614938"/>
                <a:gd name="connsiteY25" fmla="*/ 244492 h 716071"/>
                <a:gd name="connsiteX26" fmla="*/ 464045 w 614938"/>
                <a:gd name="connsiteY26" fmla="*/ 244492 h 716071"/>
                <a:gd name="connsiteX27" fmla="*/ 463566 w 614938"/>
                <a:gd name="connsiteY27" fmla="*/ 243954 h 716071"/>
                <a:gd name="connsiteX28" fmla="*/ 463566 w 614938"/>
                <a:gd name="connsiteY28" fmla="*/ 243954 h 716071"/>
                <a:gd name="connsiteX29" fmla="*/ 463566 w 614938"/>
                <a:gd name="connsiteY29" fmla="*/ 243954 h 716071"/>
                <a:gd name="connsiteX30" fmla="*/ 463506 w 614938"/>
                <a:gd name="connsiteY30" fmla="*/ 243954 h 716071"/>
                <a:gd name="connsiteX31" fmla="*/ 463506 w 614938"/>
                <a:gd name="connsiteY31" fmla="*/ 243954 h 716071"/>
                <a:gd name="connsiteX32" fmla="*/ 449033 w 614938"/>
                <a:gd name="connsiteY32" fmla="*/ 238033 h 716071"/>
                <a:gd name="connsiteX33" fmla="*/ 447478 w 614938"/>
                <a:gd name="connsiteY33" fmla="*/ 233846 h 716071"/>
                <a:gd name="connsiteX34" fmla="*/ 450827 w 614938"/>
                <a:gd name="connsiteY34" fmla="*/ 231035 h 716071"/>
                <a:gd name="connsiteX35" fmla="*/ 450827 w 614938"/>
                <a:gd name="connsiteY35" fmla="*/ 231035 h 716071"/>
                <a:gd name="connsiteX36" fmla="*/ 450827 w 614938"/>
                <a:gd name="connsiteY36" fmla="*/ 231035 h 716071"/>
                <a:gd name="connsiteX37" fmla="*/ 450827 w 614938"/>
                <a:gd name="connsiteY37" fmla="*/ 231035 h 716071"/>
                <a:gd name="connsiteX38" fmla="*/ 450827 w 614938"/>
                <a:gd name="connsiteY38" fmla="*/ 231035 h 716071"/>
                <a:gd name="connsiteX39" fmla="*/ 452921 w 614938"/>
                <a:gd name="connsiteY39" fmla="*/ 227148 h 716071"/>
                <a:gd name="connsiteX40" fmla="*/ 452921 w 614938"/>
                <a:gd name="connsiteY40" fmla="*/ 227148 h 716071"/>
                <a:gd name="connsiteX41" fmla="*/ 452921 w 614938"/>
                <a:gd name="connsiteY41" fmla="*/ 227148 h 716071"/>
                <a:gd name="connsiteX42" fmla="*/ 452921 w 614938"/>
                <a:gd name="connsiteY42" fmla="*/ 227148 h 716071"/>
                <a:gd name="connsiteX43" fmla="*/ 452921 w 614938"/>
                <a:gd name="connsiteY43" fmla="*/ 227148 h 716071"/>
                <a:gd name="connsiteX44" fmla="*/ 452921 w 614938"/>
                <a:gd name="connsiteY44" fmla="*/ 227148 h 716071"/>
                <a:gd name="connsiteX45" fmla="*/ 452921 w 614938"/>
                <a:gd name="connsiteY45" fmla="*/ 227148 h 716071"/>
                <a:gd name="connsiteX46" fmla="*/ 452921 w 614938"/>
                <a:gd name="connsiteY46" fmla="*/ 227148 h 716071"/>
                <a:gd name="connsiteX47" fmla="*/ 453279 w 614938"/>
                <a:gd name="connsiteY47" fmla="*/ 224935 h 716071"/>
                <a:gd name="connsiteX48" fmla="*/ 453279 w 614938"/>
                <a:gd name="connsiteY48" fmla="*/ 224935 h 716071"/>
                <a:gd name="connsiteX49" fmla="*/ 453279 w 614938"/>
                <a:gd name="connsiteY49" fmla="*/ 224935 h 716071"/>
                <a:gd name="connsiteX50" fmla="*/ 453579 w 614938"/>
                <a:gd name="connsiteY50" fmla="*/ 222543 h 716071"/>
                <a:gd name="connsiteX51" fmla="*/ 460037 w 614938"/>
                <a:gd name="connsiteY51" fmla="*/ 213153 h 716071"/>
                <a:gd name="connsiteX52" fmla="*/ 460037 w 614938"/>
                <a:gd name="connsiteY52" fmla="*/ 213153 h 716071"/>
                <a:gd name="connsiteX53" fmla="*/ 460037 w 614938"/>
                <a:gd name="connsiteY53" fmla="*/ 213153 h 716071"/>
                <a:gd name="connsiteX54" fmla="*/ 460037 w 614938"/>
                <a:gd name="connsiteY54" fmla="*/ 213153 h 716071"/>
                <a:gd name="connsiteX55" fmla="*/ 460037 w 614938"/>
                <a:gd name="connsiteY55" fmla="*/ 213153 h 716071"/>
                <a:gd name="connsiteX56" fmla="*/ 460337 w 614938"/>
                <a:gd name="connsiteY56" fmla="*/ 212615 h 716071"/>
                <a:gd name="connsiteX57" fmla="*/ 460337 w 614938"/>
                <a:gd name="connsiteY57" fmla="*/ 212615 h 716071"/>
                <a:gd name="connsiteX58" fmla="*/ 460337 w 614938"/>
                <a:gd name="connsiteY58" fmla="*/ 212615 h 716071"/>
                <a:gd name="connsiteX59" fmla="*/ 460456 w 614938"/>
                <a:gd name="connsiteY59" fmla="*/ 212196 h 716071"/>
                <a:gd name="connsiteX60" fmla="*/ 460456 w 614938"/>
                <a:gd name="connsiteY60" fmla="*/ 212196 h 716071"/>
                <a:gd name="connsiteX61" fmla="*/ 460456 w 614938"/>
                <a:gd name="connsiteY61" fmla="*/ 212196 h 716071"/>
                <a:gd name="connsiteX62" fmla="*/ 460397 w 614938"/>
                <a:gd name="connsiteY62" fmla="*/ 211359 h 716071"/>
                <a:gd name="connsiteX63" fmla="*/ 460397 w 614938"/>
                <a:gd name="connsiteY63" fmla="*/ 211359 h 716071"/>
                <a:gd name="connsiteX64" fmla="*/ 460397 w 614938"/>
                <a:gd name="connsiteY64" fmla="*/ 211359 h 716071"/>
                <a:gd name="connsiteX65" fmla="*/ 460397 w 614938"/>
                <a:gd name="connsiteY65" fmla="*/ 211359 h 716071"/>
                <a:gd name="connsiteX66" fmla="*/ 460397 w 614938"/>
                <a:gd name="connsiteY66" fmla="*/ 211359 h 716071"/>
                <a:gd name="connsiteX67" fmla="*/ 460217 w 614938"/>
                <a:gd name="connsiteY67" fmla="*/ 210880 h 716071"/>
                <a:gd name="connsiteX68" fmla="*/ 460217 w 614938"/>
                <a:gd name="connsiteY68" fmla="*/ 210880 h 716071"/>
                <a:gd name="connsiteX69" fmla="*/ 460217 w 614938"/>
                <a:gd name="connsiteY69" fmla="*/ 210880 h 716071"/>
                <a:gd name="connsiteX70" fmla="*/ 459499 w 614938"/>
                <a:gd name="connsiteY70" fmla="*/ 209983 h 716071"/>
                <a:gd name="connsiteX71" fmla="*/ 459499 w 614938"/>
                <a:gd name="connsiteY71" fmla="*/ 209983 h 716071"/>
                <a:gd name="connsiteX72" fmla="*/ 459499 w 614938"/>
                <a:gd name="connsiteY72" fmla="*/ 209983 h 716071"/>
                <a:gd name="connsiteX73" fmla="*/ 459499 w 614938"/>
                <a:gd name="connsiteY73" fmla="*/ 209983 h 716071"/>
                <a:gd name="connsiteX74" fmla="*/ 455014 w 614938"/>
                <a:gd name="connsiteY74" fmla="*/ 205438 h 716071"/>
                <a:gd name="connsiteX75" fmla="*/ 458124 w 614938"/>
                <a:gd name="connsiteY75" fmla="*/ 207352 h 716071"/>
                <a:gd name="connsiteX76" fmla="*/ 458124 w 614938"/>
                <a:gd name="connsiteY76" fmla="*/ 207352 h 716071"/>
                <a:gd name="connsiteX77" fmla="*/ 458184 w 614938"/>
                <a:gd name="connsiteY77" fmla="*/ 207352 h 716071"/>
                <a:gd name="connsiteX78" fmla="*/ 458184 w 614938"/>
                <a:gd name="connsiteY78" fmla="*/ 207352 h 716071"/>
                <a:gd name="connsiteX79" fmla="*/ 458184 w 614938"/>
                <a:gd name="connsiteY79" fmla="*/ 207352 h 716071"/>
                <a:gd name="connsiteX80" fmla="*/ 458243 w 614938"/>
                <a:gd name="connsiteY80" fmla="*/ 207352 h 716071"/>
                <a:gd name="connsiteX81" fmla="*/ 458243 w 614938"/>
                <a:gd name="connsiteY81" fmla="*/ 207352 h 716071"/>
                <a:gd name="connsiteX82" fmla="*/ 458243 w 614938"/>
                <a:gd name="connsiteY82" fmla="*/ 207352 h 716071"/>
                <a:gd name="connsiteX83" fmla="*/ 458243 w 614938"/>
                <a:gd name="connsiteY83" fmla="*/ 207352 h 716071"/>
                <a:gd name="connsiteX84" fmla="*/ 458243 w 614938"/>
                <a:gd name="connsiteY84" fmla="*/ 207352 h 716071"/>
                <a:gd name="connsiteX85" fmla="*/ 458243 w 614938"/>
                <a:gd name="connsiteY85" fmla="*/ 207352 h 716071"/>
                <a:gd name="connsiteX86" fmla="*/ 458243 w 614938"/>
                <a:gd name="connsiteY86" fmla="*/ 207352 h 716071"/>
                <a:gd name="connsiteX87" fmla="*/ 458243 w 614938"/>
                <a:gd name="connsiteY87" fmla="*/ 207352 h 716071"/>
                <a:gd name="connsiteX88" fmla="*/ 471999 w 614938"/>
                <a:gd name="connsiteY88" fmla="*/ 189768 h 716071"/>
                <a:gd name="connsiteX89" fmla="*/ 485815 w 614938"/>
                <a:gd name="connsiteY89" fmla="*/ 172006 h 716071"/>
                <a:gd name="connsiteX90" fmla="*/ 499750 w 614938"/>
                <a:gd name="connsiteY90" fmla="*/ 154123 h 716071"/>
                <a:gd name="connsiteX91" fmla="*/ 513804 w 614938"/>
                <a:gd name="connsiteY91" fmla="*/ 136121 h 716071"/>
                <a:gd name="connsiteX92" fmla="*/ 527919 w 614938"/>
                <a:gd name="connsiteY92" fmla="*/ 118000 h 716071"/>
                <a:gd name="connsiteX93" fmla="*/ 542153 w 614938"/>
                <a:gd name="connsiteY93" fmla="*/ 99758 h 716071"/>
                <a:gd name="connsiteX94" fmla="*/ 542153 w 614938"/>
                <a:gd name="connsiteY94" fmla="*/ 99758 h 716071"/>
                <a:gd name="connsiteX95" fmla="*/ 542153 w 614938"/>
                <a:gd name="connsiteY95" fmla="*/ 99758 h 716071"/>
                <a:gd name="connsiteX96" fmla="*/ 556507 w 614938"/>
                <a:gd name="connsiteY96" fmla="*/ 81398 h 716071"/>
                <a:gd name="connsiteX97" fmla="*/ 556507 w 614938"/>
                <a:gd name="connsiteY97" fmla="*/ 81398 h 716071"/>
                <a:gd name="connsiteX98" fmla="*/ 556507 w 614938"/>
                <a:gd name="connsiteY98" fmla="*/ 81398 h 716071"/>
                <a:gd name="connsiteX99" fmla="*/ 570980 w 614938"/>
                <a:gd name="connsiteY99" fmla="*/ 62857 h 716071"/>
                <a:gd name="connsiteX100" fmla="*/ 585513 w 614938"/>
                <a:gd name="connsiteY100" fmla="*/ 44198 h 716071"/>
                <a:gd name="connsiteX101" fmla="*/ 600166 w 614938"/>
                <a:gd name="connsiteY101" fmla="*/ 25418 h 716071"/>
                <a:gd name="connsiteX102" fmla="*/ 614938 w 614938"/>
                <a:gd name="connsiteY102" fmla="*/ 6459 h 716071"/>
                <a:gd name="connsiteX103" fmla="*/ 614938 w 614938"/>
                <a:gd name="connsiteY103" fmla="*/ 6459 h 716071"/>
                <a:gd name="connsiteX104" fmla="*/ 614938 w 614938"/>
                <a:gd name="connsiteY104" fmla="*/ 6399 h 716071"/>
                <a:gd name="connsiteX105" fmla="*/ 614938 w 614938"/>
                <a:gd name="connsiteY105" fmla="*/ 6340 h 716071"/>
                <a:gd name="connsiteX106" fmla="*/ 614938 w 614938"/>
                <a:gd name="connsiteY106" fmla="*/ 6340 h 716071"/>
                <a:gd name="connsiteX107" fmla="*/ 614938 w 614938"/>
                <a:gd name="connsiteY107" fmla="*/ 6280 h 716071"/>
                <a:gd name="connsiteX108" fmla="*/ 614938 w 614938"/>
                <a:gd name="connsiteY108" fmla="*/ 6280 h 716071"/>
                <a:gd name="connsiteX109" fmla="*/ 614938 w 614938"/>
                <a:gd name="connsiteY109" fmla="*/ 6220 h 716071"/>
                <a:gd name="connsiteX110" fmla="*/ 614938 w 614938"/>
                <a:gd name="connsiteY110" fmla="*/ 6220 h 716071"/>
                <a:gd name="connsiteX111" fmla="*/ 608060 w 614938"/>
                <a:gd name="connsiteY111" fmla="*/ 359 h 716071"/>
                <a:gd name="connsiteX112" fmla="*/ 608060 w 614938"/>
                <a:gd name="connsiteY112" fmla="*/ 359 h 716071"/>
                <a:gd name="connsiteX113" fmla="*/ 608060 w 614938"/>
                <a:gd name="connsiteY113" fmla="*/ 359 h 716071"/>
                <a:gd name="connsiteX114" fmla="*/ 608000 w 614938"/>
                <a:gd name="connsiteY114" fmla="*/ 299 h 716071"/>
                <a:gd name="connsiteX115" fmla="*/ 607462 w 614938"/>
                <a:gd name="connsiteY115" fmla="*/ 60 h 716071"/>
                <a:gd name="connsiteX116" fmla="*/ 607403 w 614938"/>
                <a:gd name="connsiteY116" fmla="*/ 60 h 716071"/>
                <a:gd name="connsiteX117" fmla="*/ 607283 w 614938"/>
                <a:gd name="connsiteY117" fmla="*/ 120 h 716071"/>
                <a:gd name="connsiteX118" fmla="*/ 607283 w 614938"/>
                <a:gd name="connsiteY118" fmla="*/ 120 h 716071"/>
                <a:gd name="connsiteX119" fmla="*/ 592271 w 614938"/>
                <a:gd name="connsiteY119" fmla="*/ 17105 h 716071"/>
                <a:gd name="connsiteX120" fmla="*/ 577379 w 614938"/>
                <a:gd name="connsiteY120" fmla="*/ 33971 h 716071"/>
                <a:gd name="connsiteX121" fmla="*/ 562547 w 614938"/>
                <a:gd name="connsiteY121" fmla="*/ 50717 h 716071"/>
                <a:gd name="connsiteX122" fmla="*/ 547835 w 614938"/>
                <a:gd name="connsiteY122" fmla="*/ 67403 h 716071"/>
                <a:gd name="connsiteX123" fmla="*/ 533182 w 614938"/>
                <a:gd name="connsiteY123" fmla="*/ 83969 h 716071"/>
                <a:gd name="connsiteX124" fmla="*/ 518649 w 614938"/>
                <a:gd name="connsiteY124" fmla="*/ 100416 h 716071"/>
                <a:gd name="connsiteX125" fmla="*/ 504175 w 614938"/>
                <a:gd name="connsiteY125" fmla="*/ 116803 h 716071"/>
                <a:gd name="connsiteX126" fmla="*/ 489761 w 614938"/>
                <a:gd name="connsiteY126" fmla="*/ 133071 h 716071"/>
                <a:gd name="connsiteX127" fmla="*/ 475467 w 614938"/>
                <a:gd name="connsiteY127" fmla="*/ 149279 h 716071"/>
                <a:gd name="connsiteX128" fmla="*/ 461233 w 614938"/>
                <a:gd name="connsiteY128" fmla="*/ 165367 h 716071"/>
                <a:gd name="connsiteX129" fmla="*/ 447119 w 614938"/>
                <a:gd name="connsiteY129" fmla="*/ 181336 h 716071"/>
                <a:gd name="connsiteX130" fmla="*/ 447119 w 614938"/>
                <a:gd name="connsiteY130" fmla="*/ 181336 h 716071"/>
                <a:gd name="connsiteX131" fmla="*/ 447119 w 614938"/>
                <a:gd name="connsiteY131" fmla="*/ 181395 h 716071"/>
                <a:gd name="connsiteX132" fmla="*/ 447119 w 614938"/>
                <a:gd name="connsiteY132" fmla="*/ 181395 h 716071"/>
                <a:gd name="connsiteX133" fmla="*/ 447119 w 614938"/>
                <a:gd name="connsiteY133" fmla="*/ 181395 h 716071"/>
                <a:gd name="connsiteX134" fmla="*/ 447119 w 614938"/>
                <a:gd name="connsiteY134" fmla="*/ 181455 h 716071"/>
                <a:gd name="connsiteX135" fmla="*/ 447119 w 614938"/>
                <a:gd name="connsiteY135" fmla="*/ 181515 h 716071"/>
                <a:gd name="connsiteX136" fmla="*/ 447119 w 614938"/>
                <a:gd name="connsiteY136" fmla="*/ 181515 h 716071"/>
                <a:gd name="connsiteX137" fmla="*/ 447119 w 614938"/>
                <a:gd name="connsiteY137" fmla="*/ 181515 h 716071"/>
                <a:gd name="connsiteX138" fmla="*/ 448614 w 614938"/>
                <a:gd name="connsiteY138" fmla="*/ 198022 h 716071"/>
                <a:gd name="connsiteX139" fmla="*/ 448196 w 614938"/>
                <a:gd name="connsiteY139" fmla="*/ 198560 h 716071"/>
                <a:gd name="connsiteX140" fmla="*/ 440301 w 614938"/>
                <a:gd name="connsiteY140" fmla="*/ 190606 h 716071"/>
                <a:gd name="connsiteX141" fmla="*/ 440301 w 614938"/>
                <a:gd name="connsiteY141" fmla="*/ 190606 h 716071"/>
                <a:gd name="connsiteX142" fmla="*/ 440301 w 614938"/>
                <a:gd name="connsiteY142" fmla="*/ 190606 h 716071"/>
                <a:gd name="connsiteX143" fmla="*/ 419668 w 614938"/>
                <a:gd name="connsiteY143" fmla="*/ 173860 h 716071"/>
                <a:gd name="connsiteX144" fmla="*/ 419668 w 614938"/>
                <a:gd name="connsiteY144" fmla="*/ 173860 h 716071"/>
                <a:gd name="connsiteX145" fmla="*/ 419668 w 614938"/>
                <a:gd name="connsiteY145" fmla="*/ 173860 h 716071"/>
                <a:gd name="connsiteX146" fmla="*/ 419668 w 614938"/>
                <a:gd name="connsiteY146" fmla="*/ 173860 h 716071"/>
                <a:gd name="connsiteX147" fmla="*/ 419668 w 614938"/>
                <a:gd name="connsiteY147" fmla="*/ 173860 h 716071"/>
                <a:gd name="connsiteX148" fmla="*/ 418651 w 614938"/>
                <a:gd name="connsiteY148" fmla="*/ 173381 h 716071"/>
                <a:gd name="connsiteX149" fmla="*/ 418651 w 614938"/>
                <a:gd name="connsiteY149" fmla="*/ 173381 h 716071"/>
                <a:gd name="connsiteX150" fmla="*/ 418651 w 614938"/>
                <a:gd name="connsiteY150" fmla="*/ 173381 h 716071"/>
                <a:gd name="connsiteX151" fmla="*/ 418651 w 614938"/>
                <a:gd name="connsiteY151" fmla="*/ 173381 h 716071"/>
                <a:gd name="connsiteX152" fmla="*/ 418651 w 614938"/>
                <a:gd name="connsiteY152" fmla="*/ 173381 h 716071"/>
                <a:gd name="connsiteX153" fmla="*/ 418292 w 614938"/>
                <a:gd name="connsiteY153" fmla="*/ 173262 h 716071"/>
                <a:gd name="connsiteX154" fmla="*/ 418232 w 614938"/>
                <a:gd name="connsiteY154" fmla="*/ 173262 h 716071"/>
                <a:gd name="connsiteX155" fmla="*/ 418172 w 614938"/>
                <a:gd name="connsiteY155" fmla="*/ 173262 h 716071"/>
                <a:gd name="connsiteX156" fmla="*/ 417275 w 614938"/>
                <a:gd name="connsiteY156" fmla="*/ 173262 h 716071"/>
                <a:gd name="connsiteX157" fmla="*/ 417275 w 614938"/>
                <a:gd name="connsiteY157" fmla="*/ 173262 h 716071"/>
                <a:gd name="connsiteX158" fmla="*/ 417275 w 614938"/>
                <a:gd name="connsiteY158" fmla="*/ 173262 h 716071"/>
                <a:gd name="connsiteX159" fmla="*/ 417215 w 614938"/>
                <a:gd name="connsiteY159" fmla="*/ 173262 h 716071"/>
                <a:gd name="connsiteX160" fmla="*/ 417215 w 614938"/>
                <a:gd name="connsiteY160" fmla="*/ 173262 h 716071"/>
                <a:gd name="connsiteX161" fmla="*/ 417215 w 614938"/>
                <a:gd name="connsiteY161" fmla="*/ 173262 h 716071"/>
                <a:gd name="connsiteX162" fmla="*/ 416319 w 614938"/>
                <a:gd name="connsiteY162" fmla="*/ 173680 h 716071"/>
                <a:gd name="connsiteX163" fmla="*/ 416319 w 614938"/>
                <a:gd name="connsiteY163" fmla="*/ 173680 h 716071"/>
                <a:gd name="connsiteX164" fmla="*/ 416319 w 614938"/>
                <a:gd name="connsiteY164" fmla="*/ 173680 h 716071"/>
                <a:gd name="connsiteX165" fmla="*/ 416319 w 614938"/>
                <a:gd name="connsiteY165" fmla="*/ 173680 h 716071"/>
                <a:gd name="connsiteX166" fmla="*/ 416319 w 614938"/>
                <a:gd name="connsiteY166" fmla="*/ 173680 h 716071"/>
                <a:gd name="connsiteX167" fmla="*/ 387671 w 614938"/>
                <a:gd name="connsiteY167" fmla="*/ 194553 h 716071"/>
                <a:gd name="connsiteX168" fmla="*/ 387671 w 614938"/>
                <a:gd name="connsiteY168" fmla="*/ 194553 h 716071"/>
                <a:gd name="connsiteX169" fmla="*/ 387671 w 614938"/>
                <a:gd name="connsiteY169" fmla="*/ 194553 h 716071"/>
                <a:gd name="connsiteX170" fmla="*/ 387013 w 614938"/>
                <a:gd name="connsiteY170" fmla="*/ 195211 h 716071"/>
                <a:gd name="connsiteX171" fmla="*/ 387013 w 614938"/>
                <a:gd name="connsiteY171" fmla="*/ 195211 h 716071"/>
                <a:gd name="connsiteX172" fmla="*/ 387013 w 614938"/>
                <a:gd name="connsiteY172" fmla="*/ 195211 h 716071"/>
                <a:gd name="connsiteX173" fmla="*/ 387013 w 614938"/>
                <a:gd name="connsiteY173" fmla="*/ 195211 h 716071"/>
                <a:gd name="connsiteX174" fmla="*/ 387013 w 614938"/>
                <a:gd name="connsiteY174" fmla="*/ 195211 h 716071"/>
                <a:gd name="connsiteX175" fmla="*/ 387013 w 614938"/>
                <a:gd name="connsiteY175" fmla="*/ 195211 h 716071"/>
                <a:gd name="connsiteX176" fmla="*/ 387013 w 614938"/>
                <a:gd name="connsiteY176" fmla="*/ 195211 h 716071"/>
                <a:gd name="connsiteX177" fmla="*/ 386953 w 614938"/>
                <a:gd name="connsiteY177" fmla="*/ 195869 h 716071"/>
                <a:gd name="connsiteX178" fmla="*/ 386953 w 614938"/>
                <a:gd name="connsiteY178" fmla="*/ 195869 h 716071"/>
                <a:gd name="connsiteX179" fmla="*/ 386953 w 614938"/>
                <a:gd name="connsiteY179" fmla="*/ 195869 h 716071"/>
                <a:gd name="connsiteX180" fmla="*/ 386953 w 614938"/>
                <a:gd name="connsiteY180" fmla="*/ 196168 h 716071"/>
                <a:gd name="connsiteX181" fmla="*/ 386953 w 614938"/>
                <a:gd name="connsiteY181" fmla="*/ 196168 h 716071"/>
                <a:gd name="connsiteX182" fmla="*/ 386953 w 614938"/>
                <a:gd name="connsiteY182" fmla="*/ 196168 h 716071"/>
                <a:gd name="connsiteX183" fmla="*/ 386953 w 614938"/>
                <a:gd name="connsiteY183" fmla="*/ 196168 h 716071"/>
                <a:gd name="connsiteX184" fmla="*/ 386953 w 614938"/>
                <a:gd name="connsiteY184" fmla="*/ 196168 h 716071"/>
                <a:gd name="connsiteX185" fmla="*/ 386953 w 614938"/>
                <a:gd name="connsiteY185" fmla="*/ 196168 h 716071"/>
                <a:gd name="connsiteX186" fmla="*/ 386953 w 614938"/>
                <a:gd name="connsiteY186" fmla="*/ 196168 h 716071"/>
                <a:gd name="connsiteX187" fmla="*/ 386953 w 614938"/>
                <a:gd name="connsiteY187" fmla="*/ 196168 h 716071"/>
                <a:gd name="connsiteX188" fmla="*/ 386953 w 614938"/>
                <a:gd name="connsiteY188" fmla="*/ 196168 h 716071"/>
                <a:gd name="connsiteX189" fmla="*/ 386953 w 614938"/>
                <a:gd name="connsiteY189" fmla="*/ 196168 h 716071"/>
                <a:gd name="connsiteX190" fmla="*/ 387611 w 614938"/>
                <a:gd name="connsiteY190" fmla="*/ 196945 h 716071"/>
                <a:gd name="connsiteX191" fmla="*/ 387611 w 614938"/>
                <a:gd name="connsiteY191" fmla="*/ 196945 h 716071"/>
                <a:gd name="connsiteX192" fmla="*/ 387611 w 614938"/>
                <a:gd name="connsiteY192" fmla="*/ 196945 h 716071"/>
                <a:gd name="connsiteX193" fmla="*/ 394249 w 614938"/>
                <a:gd name="connsiteY193" fmla="*/ 204840 h 716071"/>
                <a:gd name="connsiteX194" fmla="*/ 394010 w 614938"/>
                <a:gd name="connsiteY194" fmla="*/ 204840 h 716071"/>
                <a:gd name="connsiteX195" fmla="*/ 394010 w 614938"/>
                <a:gd name="connsiteY195" fmla="*/ 204840 h 716071"/>
                <a:gd name="connsiteX196" fmla="*/ 372061 w 614938"/>
                <a:gd name="connsiteY196" fmla="*/ 202328 h 716071"/>
                <a:gd name="connsiteX197" fmla="*/ 372061 w 614938"/>
                <a:gd name="connsiteY197" fmla="*/ 202328 h 716071"/>
                <a:gd name="connsiteX198" fmla="*/ 372061 w 614938"/>
                <a:gd name="connsiteY198" fmla="*/ 202328 h 716071"/>
                <a:gd name="connsiteX199" fmla="*/ 349932 w 614938"/>
                <a:gd name="connsiteY199" fmla="*/ 199816 h 716071"/>
                <a:gd name="connsiteX200" fmla="*/ 349932 w 614938"/>
                <a:gd name="connsiteY200" fmla="*/ 199816 h 716071"/>
                <a:gd name="connsiteX201" fmla="*/ 327564 w 614938"/>
                <a:gd name="connsiteY201" fmla="*/ 197304 h 716071"/>
                <a:gd name="connsiteX202" fmla="*/ 327564 w 614938"/>
                <a:gd name="connsiteY202" fmla="*/ 197304 h 716071"/>
                <a:gd name="connsiteX203" fmla="*/ 305017 w 614938"/>
                <a:gd name="connsiteY203" fmla="*/ 194732 h 716071"/>
                <a:gd name="connsiteX204" fmla="*/ 305017 w 614938"/>
                <a:gd name="connsiteY204" fmla="*/ 194732 h 716071"/>
                <a:gd name="connsiteX205" fmla="*/ 282291 w 614938"/>
                <a:gd name="connsiteY205" fmla="*/ 192161 h 716071"/>
                <a:gd name="connsiteX206" fmla="*/ 282291 w 614938"/>
                <a:gd name="connsiteY206" fmla="*/ 192161 h 716071"/>
                <a:gd name="connsiteX207" fmla="*/ 259325 w 614938"/>
                <a:gd name="connsiteY207" fmla="*/ 189529 h 716071"/>
                <a:gd name="connsiteX208" fmla="*/ 236179 w 614938"/>
                <a:gd name="connsiteY208" fmla="*/ 186898 h 716071"/>
                <a:gd name="connsiteX209" fmla="*/ 236179 w 614938"/>
                <a:gd name="connsiteY209" fmla="*/ 186898 h 716071"/>
                <a:gd name="connsiteX210" fmla="*/ 212795 w 614938"/>
                <a:gd name="connsiteY210" fmla="*/ 184266 h 716071"/>
                <a:gd name="connsiteX211" fmla="*/ 212795 w 614938"/>
                <a:gd name="connsiteY211" fmla="*/ 184266 h 716071"/>
                <a:gd name="connsiteX212" fmla="*/ 189170 w 614938"/>
                <a:gd name="connsiteY212" fmla="*/ 181575 h 716071"/>
                <a:gd name="connsiteX213" fmla="*/ 189170 w 614938"/>
                <a:gd name="connsiteY213" fmla="*/ 181575 h 716071"/>
                <a:gd name="connsiteX214" fmla="*/ 189170 w 614938"/>
                <a:gd name="connsiteY214" fmla="*/ 181575 h 716071"/>
                <a:gd name="connsiteX215" fmla="*/ 165367 w 614938"/>
                <a:gd name="connsiteY215" fmla="*/ 178883 h 716071"/>
                <a:gd name="connsiteX216" fmla="*/ 165367 w 614938"/>
                <a:gd name="connsiteY216" fmla="*/ 178883 h 716071"/>
                <a:gd name="connsiteX217" fmla="*/ 165367 w 614938"/>
                <a:gd name="connsiteY217" fmla="*/ 178883 h 716071"/>
                <a:gd name="connsiteX218" fmla="*/ 165367 w 614938"/>
                <a:gd name="connsiteY218" fmla="*/ 178883 h 716071"/>
                <a:gd name="connsiteX219" fmla="*/ 165367 w 614938"/>
                <a:gd name="connsiteY219" fmla="*/ 178883 h 716071"/>
                <a:gd name="connsiteX220" fmla="*/ 165307 w 614938"/>
                <a:gd name="connsiteY220" fmla="*/ 178883 h 716071"/>
                <a:gd name="connsiteX221" fmla="*/ 165247 w 614938"/>
                <a:gd name="connsiteY221" fmla="*/ 178883 h 716071"/>
                <a:gd name="connsiteX222" fmla="*/ 165247 w 614938"/>
                <a:gd name="connsiteY222" fmla="*/ 178883 h 716071"/>
                <a:gd name="connsiteX223" fmla="*/ 165247 w 614938"/>
                <a:gd name="connsiteY223" fmla="*/ 178883 h 716071"/>
                <a:gd name="connsiteX224" fmla="*/ 165247 w 614938"/>
                <a:gd name="connsiteY224" fmla="*/ 178883 h 716071"/>
                <a:gd name="connsiteX225" fmla="*/ 165247 w 614938"/>
                <a:gd name="connsiteY225" fmla="*/ 178883 h 716071"/>
                <a:gd name="connsiteX226" fmla="*/ 165247 w 614938"/>
                <a:gd name="connsiteY226" fmla="*/ 178883 h 716071"/>
                <a:gd name="connsiteX227" fmla="*/ 165247 w 614938"/>
                <a:gd name="connsiteY227" fmla="*/ 178883 h 716071"/>
                <a:gd name="connsiteX228" fmla="*/ 165247 w 614938"/>
                <a:gd name="connsiteY228" fmla="*/ 178883 h 716071"/>
                <a:gd name="connsiteX229" fmla="*/ 165247 w 614938"/>
                <a:gd name="connsiteY229" fmla="*/ 178883 h 716071"/>
                <a:gd name="connsiteX230" fmla="*/ 165247 w 614938"/>
                <a:gd name="connsiteY230" fmla="*/ 178883 h 716071"/>
                <a:gd name="connsiteX231" fmla="*/ 165247 w 614938"/>
                <a:gd name="connsiteY231" fmla="*/ 178883 h 716071"/>
                <a:gd name="connsiteX232" fmla="*/ 165247 w 614938"/>
                <a:gd name="connsiteY232" fmla="*/ 178883 h 716071"/>
                <a:gd name="connsiteX233" fmla="*/ 165247 w 614938"/>
                <a:gd name="connsiteY233" fmla="*/ 178943 h 716071"/>
                <a:gd name="connsiteX234" fmla="*/ 165247 w 614938"/>
                <a:gd name="connsiteY234" fmla="*/ 178943 h 716071"/>
                <a:gd name="connsiteX235" fmla="*/ 165247 w 614938"/>
                <a:gd name="connsiteY235" fmla="*/ 178943 h 716071"/>
                <a:gd name="connsiteX236" fmla="*/ 165247 w 614938"/>
                <a:gd name="connsiteY236" fmla="*/ 178943 h 716071"/>
                <a:gd name="connsiteX237" fmla="*/ 164769 w 614938"/>
                <a:gd name="connsiteY237" fmla="*/ 187854 h 716071"/>
                <a:gd name="connsiteX238" fmla="*/ 164769 w 614938"/>
                <a:gd name="connsiteY238" fmla="*/ 187854 h 716071"/>
                <a:gd name="connsiteX239" fmla="*/ 164769 w 614938"/>
                <a:gd name="connsiteY239" fmla="*/ 187914 h 716071"/>
                <a:gd name="connsiteX240" fmla="*/ 164889 w 614938"/>
                <a:gd name="connsiteY240" fmla="*/ 188333 h 716071"/>
                <a:gd name="connsiteX241" fmla="*/ 164889 w 614938"/>
                <a:gd name="connsiteY241" fmla="*/ 188333 h 716071"/>
                <a:gd name="connsiteX242" fmla="*/ 164889 w 614938"/>
                <a:gd name="connsiteY242" fmla="*/ 188333 h 716071"/>
                <a:gd name="connsiteX243" fmla="*/ 164949 w 614938"/>
                <a:gd name="connsiteY243" fmla="*/ 188393 h 716071"/>
                <a:gd name="connsiteX244" fmla="*/ 164949 w 614938"/>
                <a:gd name="connsiteY244" fmla="*/ 188393 h 716071"/>
                <a:gd name="connsiteX245" fmla="*/ 164949 w 614938"/>
                <a:gd name="connsiteY245" fmla="*/ 188393 h 716071"/>
                <a:gd name="connsiteX246" fmla="*/ 164949 w 614938"/>
                <a:gd name="connsiteY246" fmla="*/ 188393 h 716071"/>
                <a:gd name="connsiteX247" fmla="*/ 164949 w 614938"/>
                <a:gd name="connsiteY247" fmla="*/ 188393 h 716071"/>
                <a:gd name="connsiteX248" fmla="*/ 165009 w 614938"/>
                <a:gd name="connsiteY248" fmla="*/ 188453 h 716071"/>
                <a:gd name="connsiteX249" fmla="*/ 165009 w 614938"/>
                <a:gd name="connsiteY249" fmla="*/ 188453 h 716071"/>
                <a:gd name="connsiteX250" fmla="*/ 165009 w 614938"/>
                <a:gd name="connsiteY250" fmla="*/ 188453 h 716071"/>
                <a:gd name="connsiteX251" fmla="*/ 165009 w 614938"/>
                <a:gd name="connsiteY251" fmla="*/ 188453 h 716071"/>
                <a:gd name="connsiteX252" fmla="*/ 187496 w 614938"/>
                <a:gd name="connsiteY252" fmla="*/ 192460 h 716071"/>
                <a:gd name="connsiteX253" fmla="*/ 209744 w 614938"/>
                <a:gd name="connsiteY253" fmla="*/ 196407 h 716071"/>
                <a:gd name="connsiteX254" fmla="*/ 231753 w 614938"/>
                <a:gd name="connsiteY254" fmla="*/ 200294 h 716071"/>
                <a:gd name="connsiteX255" fmla="*/ 253583 w 614938"/>
                <a:gd name="connsiteY255" fmla="*/ 204182 h 716071"/>
                <a:gd name="connsiteX256" fmla="*/ 275173 w 614938"/>
                <a:gd name="connsiteY256" fmla="*/ 208009 h 716071"/>
                <a:gd name="connsiteX257" fmla="*/ 296585 w 614938"/>
                <a:gd name="connsiteY257" fmla="*/ 211837 h 716071"/>
                <a:gd name="connsiteX258" fmla="*/ 296585 w 614938"/>
                <a:gd name="connsiteY258" fmla="*/ 211837 h 716071"/>
                <a:gd name="connsiteX259" fmla="*/ 317816 w 614938"/>
                <a:gd name="connsiteY259" fmla="*/ 215605 h 716071"/>
                <a:gd name="connsiteX260" fmla="*/ 317816 w 614938"/>
                <a:gd name="connsiteY260" fmla="*/ 215605 h 716071"/>
                <a:gd name="connsiteX261" fmla="*/ 338808 w 614938"/>
                <a:gd name="connsiteY261" fmla="*/ 219313 h 716071"/>
                <a:gd name="connsiteX262" fmla="*/ 359621 w 614938"/>
                <a:gd name="connsiteY262" fmla="*/ 223021 h 716071"/>
                <a:gd name="connsiteX263" fmla="*/ 380255 w 614938"/>
                <a:gd name="connsiteY263" fmla="*/ 226669 h 716071"/>
                <a:gd name="connsiteX264" fmla="*/ 380255 w 614938"/>
                <a:gd name="connsiteY264" fmla="*/ 226669 h 716071"/>
                <a:gd name="connsiteX265" fmla="*/ 388389 w 614938"/>
                <a:gd name="connsiteY265" fmla="*/ 228105 h 716071"/>
                <a:gd name="connsiteX266" fmla="*/ 373855 w 614938"/>
                <a:gd name="connsiteY266" fmla="*/ 245568 h 716071"/>
                <a:gd name="connsiteX267" fmla="*/ 373855 w 614938"/>
                <a:gd name="connsiteY267" fmla="*/ 245568 h 716071"/>
                <a:gd name="connsiteX268" fmla="*/ 373855 w 614938"/>
                <a:gd name="connsiteY268" fmla="*/ 245568 h 716071"/>
                <a:gd name="connsiteX269" fmla="*/ 345686 w 614938"/>
                <a:gd name="connsiteY269" fmla="*/ 279419 h 716071"/>
                <a:gd name="connsiteX270" fmla="*/ 317876 w 614938"/>
                <a:gd name="connsiteY270" fmla="*/ 312852 h 716071"/>
                <a:gd name="connsiteX271" fmla="*/ 290424 w 614938"/>
                <a:gd name="connsiteY271" fmla="*/ 345805 h 716071"/>
                <a:gd name="connsiteX272" fmla="*/ 263331 w 614938"/>
                <a:gd name="connsiteY272" fmla="*/ 378340 h 716071"/>
                <a:gd name="connsiteX273" fmla="*/ 263331 w 614938"/>
                <a:gd name="connsiteY273" fmla="*/ 378340 h 716071"/>
                <a:gd name="connsiteX274" fmla="*/ 263331 w 614938"/>
                <a:gd name="connsiteY274" fmla="*/ 378340 h 716071"/>
                <a:gd name="connsiteX275" fmla="*/ 236598 w 614938"/>
                <a:gd name="connsiteY275" fmla="*/ 410457 h 716071"/>
                <a:gd name="connsiteX276" fmla="*/ 210223 w 614938"/>
                <a:gd name="connsiteY276" fmla="*/ 442155 h 716071"/>
                <a:gd name="connsiteX277" fmla="*/ 184207 w 614938"/>
                <a:gd name="connsiteY277" fmla="*/ 473434 h 716071"/>
                <a:gd name="connsiteX278" fmla="*/ 158489 w 614938"/>
                <a:gd name="connsiteY278" fmla="*/ 504354 h 716071"/>
                <a:gd name="connsiteX279" fmla="*/ 133131 w 614938"/>
                <a:gd name="connsiteY279" fmla="*/ 534856 h 716071"/>
                <a:gd name="connsiteX280" fmla="*/ 108072 w 614938"/>
                <a:gd name="connsiteY280" fmla="*/ 564999 h 716071"/>
                <a:gd name="connsiteX281" fmla="*/ 83312 w 614938"/>
                <a:gd name="connsiteY281" fmla="*/ 594723 h 716071"/>
                <a:gd name="connsiteX282" fmla="*/ 58851 w 614938"/>
                <a:gd name="connsiteY282" fmla="*/ 624088 h 716071"/>
                <a:gd name="connsiteX283" fmla="*/ 34688 w 614938"/>
                <a:gd name="connsiteY283" fmla="*/ 653095 h 716071"/>
                <a:gd name="connsiteX284" fmla="*/ 21770 w 614938"/>
                <a:gd name="connsiteY284" fmla="*/ 664697 h 716071"/>
                <a:gd name="connsiteX285" fmla="*/ 16148 w 614938"/>
                <a:gd name="connsiteY285" fmla="*/ 662604 h 716071"/>
                <a:gd name="connsiteX286" fmla="*/ 16148 w 614938"/>
                <a:gd name="connsiteY286" fmla="*/ 662604 h 716071"/>
                <a:gd name="connsiteX287" fmla="*/ 16148 w 614938"/>
                <a:gd name="connsiteY287" fmla="*/ 662604 h 716071"/>
                <a:gd name="connsiteX288" fmla="*/ 15191 w 614938"/>
                <a:gd name="connsiteY288" fmla="*/ 662425 h 716071"/>
                <a:gd name="connsiteX289" fmla="*/ 15191 w 614938"/>
                <a:gd name="connsiteY289" fmla="*/ 662425 h 716071"/>
                <a:gd name="connsiteX290" fmla="*/ 15191 w 614938"/>
                <a:gd name="connsiteY290" fmla="*/ 662425 h 716071"/>
                <a:gd name="connsiteX291" fmla="*/ 9151 w 614938"/>
                <a:gd name="connsiteY291" fmla="*/ 661348 h 716071"/>
                <a:gd name="connsiteX292" fmla="*/ 9151 w 614938"/>
                <a:gd name="connsiteY292" fmla="*/ 661348 h 716071"/>
                <a:gd name="connsiteX293" fmla="*/ 9151 w 614938"/>
                <a:gd name="connsiteY293" fmla="*/ 661348 h 716071"/>
                <a:gd name="connsiteX294" fmla="*/ 9151 w 614938"/>
                <a:gd name="connsiteY294" fmla="*/ 661348 h 716071"/>
                <a:gd name="connsiteX295" fmla="*/ 9151 w 614938"/>
                <a:gd name="connsiteY295" fmla="*/ 661348 h 716071"/>
                <a:gd name="connsiteX296" fmla="*/ 9151 w 614938"/>
                <a:gd name="connsiteY296" fmla="*/ 661348 h 716071"/>
                <a:gd name="connsiteX297" fmla="*/ 9091 w 614938"/>
                <a:gd name="connsiteY297" fmla="*/ 661348 h 716071"/>
                <a:gd name="connsiteX298" fmla="*/ 4605 w 614938"/>
                <a:gd name="connsiteY298" fmla="*/ 662066 h 716071"/>
                <a:gd name="connsiteX299" fmla="*/ 4605 w 614938"/>
                <a:gd name="connsiteY299" fmla="*/ 662066 h 716071"/>
                <a:gd name="connsiteX300" fmla="*/ 4605 w 614938"/>
                <a:gd name="connsiteY300" fmla="*/ 662066 h 716071"/>
                <a:gd name="connsiteX301" fmla="*/ 4605 w 614938"/>
                <a:gd name="connsiteY301" fmla="*/ 662066 h 716071"/>
                <a:gd name="connsiteX302" fmla="*/ 4605 w 614938"/>
                <a:gd name="connsiteY302" fmla="*/ 662066 h 716071"/>
                <a:gd name="connsiteX303" fmla="*/ 4605 w 614938"/>
                <a:gd name="connsiteY303" fmla="*/ 662066 h 716071"/>
                <a:gd name="connsiteX304" fmla="*/ 2034 w 614938"/>
                <a:gd name="connsiteY304" fmla="*/ 664518 h 716071"/>
                <a:gd name="connsiteX305" fmla="*/ 2034 w 614938"/>
                <a:gd name="connsiteY305" fmla="*/ 664518 h 716071"/>
                <a:gd name="connsiteX306" fmla="*/ 2034 w 614938"/>
                <a:gd name="connsiteY306" fmla="*/ 664518 h 716071"/>
                <a:gd name="connsiteX307" fmla="*/ 2034 w 614938"/>
                <a:gd name="connsiteY307" fmla="*/ 664518 h 716071"/>
                <a:gd name="connsiteX308" fmla="*/ 479 w 614938"/>
                <a:gd name="connsiteY308" fmla="*/ 666492 h 716071"/>
                <a:gd name="connsiteX309" fmla="*/ 479 w 614938"/>
                <a:gd name="connsiteY309" fmla="*/ 666551 h 716071"/>
                <a:gd name="connsiteX310" fmla="*/ 479 w 614938"/>
                <a:gd name="connsiteY310" fmla="*/ 666551 h 716071"/>
                <a:gd name="connsiteX311" fmla="*/ 479 w 614938"/>
                <a:gd name="connsiteY311" fmla="*/ 666551 h 716071"/>
                <a:gd name="connsiteX312" fmla="*/ 479 w 614938"/>
                <a:gd name="connsiteY312" fmla="*/ 666551 h 716071"/>
                <a:gd name="connsiteX313" fmla="*/ 0 w 614938"/>
                <a:gd name="connsiteY313" fmla="*/ 670618 h 716071"/>
                <a:gd name="connsiteX314" fmla="*/ 0 w 614938"/>
                <a:gd name="connsiteY314" fmla="*/ 670618 h 716071"/>
                <a:gd name="connsiteX315" fmla="*/ 0 w 614938"/>
                <a:gd name="connsiteY315" fmla="*/ 670618 h 716071"/>
                <a:gd name="connsiteX316" fmla="*/ 0 w 614938"/>
                <a:gd name="connsiteY316" fmla="*/ 670618 h 716071"/>
                <a:gd name="connsiteX317" fmla="*/ 0 w 614938"/>
                <a:gd name="connsiteY317" fmla="*/ 670678 h 716071"/>
                <a:gd name="connsiteX318" fmla="*/ 0 w 614938"/>
                <a:gd name="connsiteY318" fmla="*/ 670678 h 716071"/>
                <a:gd name="connsiteX319" fmla="*/ 1735 w 614938"/>
                <a:gd name="connsiteY319" fmla="*/ 676121 h 716071"/>
                <a:gd name="connsiteX320" fmla="*/ 1735 w 614938"/>
                <a:gd name="connsiteY320" fmla="*/ 676121 h 716071"/>
                <a:gd name="connsiteX321" fmla="*/ 1735 w 614938"/>
                <a:gd name="connsiteY321" fmla="*/ 676121 h 716071"/>
                <a:gd name="connsiteX322" fmla="*/ 5562 w 614938"/>
                <a:gd name="connsiteY322" fmla="*/ 682520 h 716071"/>
                <a:gd name="connsiteX323" fmla="*/ 5562 w 614938"/>
                <a:gd name="connsiteY323" fmla="*/ 682520 h 716071"/>
                <a:gd name="connsiteX324" fmla="*/ 5562 w 614938"/>
                <a:gd name="connsiteY324" fmla="*/ 682520 h 716071"/>
                <a:gd name="connsiteX325" fmla="*/ 5562 w 614938"/>
                <a:gd name="connsiteY325" fmla="*/ 682520 h 716071"/>
                <a:gd name="connsiteX326" fmla="*/ 11244 w 614938"/>
                <a:gd name="connsiteY326" fmla="*/ 689458 h 716071"/>
                <a:gd name="connsiteX327" fmla="*/ 11244 w 614938"/>
                <a:gd name="connsiteY327" fmla="*/ 689458 h 716071"/>
                <a:gd name="connsiteX328" fmla="*/ 11244 w 614938"/>
                <a:gd name="connsiteY328" fmla="*/ 689458 h 716071"/>
                <a:gd name="connsiteX329" fmla="*/ 18421 w 614938"/>
                <a:gd name="connsiteY329" fmla="*/ 696455 h 716071"/>
                <a:gd name="connsiteX330" fmla="*/ 18421 w 614938"/>
                <a:gd name="connsiteY330" fmla="*/ 696455 h 716071"/>
                <a:gd name="connsiteX331" fmla="*/ 18421 w 614938"/>
                <a:gd name="connsiteY331" fmla="*/ 696455 h 716071"/>
                <a:gd name="connsiteX332" fmla="*/ 18421 w 614938"/>
                <a:gd name="connsiteY332" fmla="*/ 696455 h 716071"/>
                <a:gd name="connsiteX333" fmla="*/ 18421 w 614938"/>
                <a:gd name="connsiteY333" fmla="*/ 696455 h 716071"/>
                <a:gd name="connsiteX334" fmla="*/ 18421 w 614938"/>
                <a:gd name="connsiteY334" fmla="*/ 696455 h 716071"/>
                <a:gd name="connsiteX335" fmla="*/ 18421 w 614938"/>
                <a:gd name="connsiteY335" fmla="*/ 696455 h 716071"/>
                <a:gd name="connsiteX336" fmla="*/ 18421 w 614938"/>
                <a:gd name="connsiteY336" fmla="*/ 696455 h 716071"/>
                <a:gd name="connsiteX337" fmla="*/ 26495 w 614938"/>
                <a:gd name="connsiteY337" fmla="*/ 702974 h 716071"/>
                <a:gd name="connsiteX338" fmla="*/ 26495 w 614938"/>
                <a:gd name="connsiteY338" fmla="*/ 702974 h 716071"/>
                <a:gd name="connsiteX339" fmla="*/ 26495 w 614938"/>
                <a:gd name="connsiteY339" fmla="*/ 702974 h 716071"/>
                <a:gd name="connsiteX340" fmla="*/ 26495 w 614938"/>
                <a:gd name="connsiteY340" fmla="*/ 702974 h 716071"/>
                <a:gd name="connsiteX341" fmla="*/ 26495 w 614938"/>
                <a:gd name="connsiteY341" fmla="*/ 702974 h 716071"/>
                <a:gd name="connsiteX342" fmla="*/ 26495 w 614938"/>
                <a:gd name="connsiteY342" fmla="*/ 702974 h 716071"/>
                <a:gd name="connsiteX343" fmla="*/ 34928 w 614938"/>
                <a:gd name="connsiteY343" fmla="*/ 708536 h 716071"/>
                <a:gd name="connsiteX344" fmla="*/ 34928 w 614938"/>
                <a:gd name="connsiteY344" fmla="*/ 708536 h 716071"/>
                <a:gd name="connsiteX345" fmla="*/ 34928 w 614938"/>
                <a:gd name="connsiteY345" fmla="*/ 708536 h 716071"/>
                <a:gd name="connsiteX346" fmla="*/ 43122 w 614938"/>
                <a:gd name="connsiteY346" fmla="*/ 712723 h 716071"/>
                <a:gd name="connsiteX347" fmla="*/ 43122 w 614938"/>
                <a:gd name="connsiteY347" fmla="*/ 712723 h 716071"/>
                <a:gd name="connsiteX348" fmla="*/ 43122 w 614938"/>
                <a:gd name="connsiteY348" fmla="*/ 712723 h 716071"/>
                <a:gd name="connsiteX349" fmla="*/ 43122 w 614938"/>
                <a:gd name="connsiteY349" fmla="*/ 712723 h 716071"/>
                <a:gd name="connsiteX350" fmla="*/ 50478 w 614938"/>
                <a:gd name="connsiteY350" fmla="*/ 715294 h 716071"/>
                <a:gd name="connsiteX351" fmla="*/ 50478 w 614938"/>
                <a:gd name="connsiteY351" fmla="*/ 715294 h 716071"/>
                <a:gd name="connsiteX352" fmla="*/ 50478 w 614938"/>
                <a:gd name="connsiteY352" fmla="*/ 715294 h 716071"/>
                <a:gd name="connsiteX353" fmla="*/ 56458 w 614938"/>
                <a:gd name="connsiteY353" fmla="*/ 716072 h 716071"/>
                <a:gd name="connsiteX354" fmla="*/ 56458 w 614938"/>
                <a:gd name="connsiteY354" fmla="*/ 716072 h 716071"/>
                <a:gd name="connsiteX355" fmla="*/ 56518 w 614938"/>
                <a:gd name="connsiteY355" fmla="*/ 716072 h 716071"/>
                <a:gd name="connsiteX356" fmla="*/ 56518 w 614938"/>
                <a:gd name="connsiteY356" fmla="*/ 716072 h 716071"/>
                <a:gd name="connsiteX357" fmla="*/ 56518 w 614938"/>
                <a:gd name="connsiteY357" fmla="*/ 716072 h 716071"/>
                <a:gd name="connsiteX358" fmla="*/ 60704 w 614938"/>
                <a:gd name="connsiteY358" fmla="*/ 714995 h 716071"/>
                <a:gd name="connsiteX359" fmla="*/ 60704 w 614938"/>
                <a:gd name="connsiteY359" fmla="*/ 714995 h 716071"/>
                <a:gd name="connsiteX360" fmla="*/ 60704 w 614938"/>
                <a:gd name="connsiteY360" fmla="*/ 714995 h 716071"/>
                <a:gd name="connsiteX361" fmla="*/ 60704 w 614938"/>
                <a:gd name="connsiteY361" fmla="*/ 714995 h 716071"/>
                <a:gd name="connsiteX362" fmla="*/ 60704 w 614938"/>
                <a:gd name="connsiteY362" fmla="*/ 714995 h 716071"/>
                <a:gd name="connsiteX363" fmla="*/ 62260 w 614938"/>
                <a:gd name="connsiteY363" fmla="*/ 713081 h 716071"/>
                <a:gd name="connsiteX364" fmla="*/ 62260 w 614938"/>
                <a:gd name="connsiteY364" fmla="*/ 713081 h 716071"/>
                <a:gd name="connsiteX365" fmla="*/ 62260 w 614938"/>
                <a:gd name="connsiteY365" fmla="*/ 713081 h 716071"/>
                <a:gd name="connsiteX366" fmla="*/ 64472 w 614938"/>
                <a:gd name="connsiteY366" fmla="*/ 710330 h 716071"/>
                <a:gd name="connsiteX367" fmla="*/ 64472 w 614938"/>
                <a:gd name="connsiteY367" fmla="*/ 710330 h 716071"/>
                <a:gd name="connsiteX368" fmla="*/ 64472 w 614938"/>
                <a:gd name="connsiteY368" fmla="*/ 710330 h 716071"/>
                <a:gd name="connsiteX369" fmla="*/ 64472 w 614938"/>
                <a:gd name="connsiteY369" fmla="*/ 710270 h 716071"/>
                <a:gd name="connsiteX370" fmla="*/ 64472 w 614938"/>
                <a:gd name="connsiteY370" fmla="*/ 710270 h 716071"/>
                <a:gd name="connsiteX371" fmla="*/ 64472 w 614938"/>
                <a:gd name="connsiteY371" fmla="*/ 710270 h 716071"/>
                <a:gd name="connsiteX372" fmla="*/ 64472 w 614938"/>
                <a:gd name="connsiteY372" fmla="*/ 710270 h 716071"/>
                <a:gd name="connsiteX373" fmla="*/ 64532 w 614938"/>
                <a:gd name="connsiteY373" fmla="*/ 706024 h 716071"/>
                <a:gd name="connsiteX374" fmla="*/ 64532 w 614938"/>
                <a:gd name="connsiteY374" fmla="*/ 706024 h 716071"/>
                <a:gd name="connsiteX375" fmla="*/ 64532 w 614938"/>
                <a:gd name="connsiteY375" fmla="*/ 706024 h 716071"/>
                <a:gd name="connsiteX376" fmla="*/ 64532 w 614938"/>
                <a:gd name="connsiteY376" fmla="*/ 706024 h 716071"/>
                <a:gd name="connsiteX377" fmla="*/ 64532 w 614938"/>
                <a:gd name="connsiteY377" fmla="*/ 705964 h 716071"/>
                <a:gd name="connsiteX378" fmla="*/ 64532 w 614938"/>
                <a:gd name="connsiteY378" fmla="*/ 705964 h 716071"/>
                <a:gd name="connsiteX379" fmla="*/ 62499 w 614938"/>
                <a:gd name="connsiteY379" fmla="*/ 700522 h 716071"/>
                <a:gd name="connsiteX380" fmla="*/ 62499 w 614938"/>
                <a:gd name="connsiteY380" fmla="*/ 700522 h 716071"/>
                <a:gd name="connsiteX381" fmla="*/ 62499 w 614938"/>
                <a:gd name="connsiteY381" fmla="*/ 700522 h 716071"/>
                <a:gd name="connsiteX382" fmla="*/ 62080 w 614938"/>
                <a:gd name="connsiteY382" fmla="*/ 699565 h 716071"/>
                <a:gd name="connsiteX383" fmla="*/ 62080 w 614938"/>
                <a:gd name="connsiteY383" fmla="*/ 699565 h 716071"/>
                <a:gd name="connsiteX384" fmla="*/ 62080 w 614938"/>
                <a:gd name="connsiteY384" fmla="*/ 699565 h 716071"/>
                <a:gd name="connsiteX385" fmla="*/ 58252 w 614938"/>
                <a:gd name="connsiteY385" fmla="*/ 693465 h 716071"/>
                <a:gd name="connsiteX386" fmla="*/ 58252 w 614938"/>
                <a:gd name="connsiteY386" fmla="*/ 693465 h 716071"/>
                <a:gd name="connsiteX387" fmla="*/ 58252 w 614938"/>
                <a:gd name="connsiteY387" fmla="*/ 693465 h 716071"/>
                <a:gd name="connsiteX388" fmla="*/ 67463 w 614938"/>
                <a:gd name="connsiteY388" fmla="*/ 675881 h 716071"/>
                <a:gd name="connsiteX389" fmla="*/ 90608 w 614938"/>
                <a:gd name="connsiteY389" fmla="*/ 646456 h 716071"/>
                <a:gd name="connsiteX390" fmla="*/ 114053 w 614938"/>
                <a:gd name="connsiteY390" fmla="*/ 616672 h 716071"/>
                <a:gd name="connsiteX391" fmla="*/ 137796 w 614938"/>
                <a:gd name="connsiteY391" fmla="*/ 586470 h 716071"/>
                <a:gd name="connsiteX392" fmla="*/ 161899 w 614938"/>
                <a:gd name="connsiteY392" fmla="*/ 555908 h 716071"/>
                <a:gd name="connsiteX393" fmla="*/ 186300 w 614938"/>
                <a:gd name="connsiteY393" fmla="*/ 524928 h 716071"/>
                <a:gd name="connsiteX394" fmla="*/ 211000 w 614938"/>
                <a:gd name="connsiteY394" fmla="*/ 493529 h 716071"/>
                <a:gd name="connsiteX395" fmla="*/ 236060 w 614938"/>
                <a:gd name="connsiteY395" fmla="*/ 461712 h 716071"/>
                <a:gd name="connsiteX396" fmla="*/ 261418 w 614938"/>
                <a:gd name="connsiteY396" fmla="*/ 429476 h 716071"/>
                <a:gd name="connsiteX397" fmla="*/ 287135 w 614938"/>
                <a:gd name="connsiteY397" fmla="*/ 396821 h 716071"/>
                <a:gd name="connsiteX398" fmla="*/ 313210 w 614938"/>
                <a:gd name="connsiteY398" fmla="*/ 363748 h 716071"/>
                <a:gd name="connsiteX399" fmla="*/ 339645 w 614938"/>
                <a:gd name="connsiteY399" fmla="*/ 330196 h 716071"/>
                <a:gd name="connsiteX400" fmla="*/ 366439 w 614938"/>
                <a:gd name="connsiteY400" fmla="*/ 296165 h 716071"/>
                <a:gd name="connsiteX401" fmla="*/ 393592 w 614938"/>
                <a:gd name="connsiteY401" fmla="*/ 261716 h 716071"/>
                <a:gd name="connsiteX402" fmla="*/ 418532 w 614938"/>
                <a:gd name="connsiteY402" fmla="*/ 230019 h 716071"/>
                <a:gd name="connsiteX403" fmla="*/ 435935 w 614938"/>
                <a:gd name="connsiteY403" fmla="*/ 243655 h 716071"/>
                <a:gd name="connsiteX404" fmla="*/ 435935 w 614938"/>
                <a:gd name="connsiteY404" fmla="*/ 243655 h 716071"/>
                <a:gd name="connsiteX405" fmla="*/ 435935 w 614938"/>
                <a:gd name="connsiteY405" fmla="*/ 243655 h 716071"/>
                <a:gd name="connsiteX406" fmla="*/ 437012 w 614938"/>
                <a:gd name="connsiteY406" fmla="*/ 244253 h 716071"/>
                <a:gd name="connsiteX407" fmla="*/ 437012 w 614938"/>
                <a:gd name="connsiteY407" fmla="*/ 244253 h 716071"/>
                <a:gd name="connsiteX408" fmla="*/ 437072 w 614938"/>
                <a:gd name="connsiteY408" fmla="*/ 244253 h 716071"/>
                <a:gd name="connsiteX409" fmla="*/ 437072 w 614938"/>
                <a:gd name="connsiteY409" fmla="*/ 244253 h 716071"/>
                <a:gd name="connsiteX410" fmla="*/ 437072 w 614938"/>
                <a:gd name="connsiteY410" fmla="*/ 244253 h 716071"/>
                <a:gd name="connsiteX411" fmla="*/ 437072 w 614938"/>
                <a:gd name="connsiteY411" fmla="*/ 244253 h 716071"/>
                <a:gd name="connsiteX412" fmla="*/ 437909 w 614938"/>
                <a:gd name="connsiteY412" fmla="*/ 244193 h 716071"/>
                <a:gd name="connsiteX413" fmla="*/ 444248 w 614938"/>
                <a:gd name="connsiteY413" fmla="*/ 259922 h 716071"/>
                <a:gd name="connsiteX414" fmla="*/ 451904 w 614938"/>
                <a:gd name="connsiteY414" fmla="*/ 278941 h 716071"/>
                <a:gd name="connsiteX415" fmla="*/ 459440 w 614938"/>
                <a:gd name="connsiteY415" fmla="*/ 297661 h 716071"/>
                <a:gd name="connsiteX416" fmla="*/ 466856 w 614938"/>
                <a:gd name="connsiteY416" fmla="*/ 316081 h 716071"/>
                <a:gd name="connsiteX417" fmla="*/ 474152 w 614938"/>
                <a:gd name="connsiteY417" fmla="*/ 334263 h 716071"/>
                <a:gd name="connsiteX418" fmla="*/ 474152 w 614938"/>
                <a:gd name="connsiteY418" fmla="*/ 334263 h 716071"/>
                <a:gd name="connsiteX419" fmla="*/ 481329 w 614938"/>
                <a:gd name="connsiteY419" fmla="*/ 352145 h 716071"/>
                <a:gd name="connsiteX420" fmla="*/ 481329 w 614938"/>
                <a:gd name="connsiteY420" fmla="*/ 352145 h 716071"/>
                <a:gd name="connsiteX421" fmla="*/ 488386 w 614938"/>
                <a:gd name="connsiteY421" fmla="*/ 369728 h 716071"/>
                <a:gd name="connsiteX422" fmla="*/ 488386 w 614938"/>
                <a:gd name="connsiteY422" fmla="*/ 369728 h 716071"/>
                <a:gd name="connsiteX423" fmla="*/ 495384 w 614938"/>
                <a:gd name="connsiteY423" fmla="*/ 387072 h 716071"/>
                <a:gd name="connsiteX424" fmla="*/ 495384 w 614938"/>
                <a:gd name="connsiteY424" fmla="*/ 387072 h 716071"/>
                <a:gd name="connsiteX425" fmla="*/ 502262 w 614938"/>
                <a:gd name="connsiteY425" fmla="*/ 404177 h 716071"/>
                <a:gd name="connsiteX426" fmla="*/ 502262 w 614938"/>
                <a:gd name="connsiteY426" fmla="*/ 404177 h 716071"/>
                <a:gd name="connsiteX427" fmla="*/ 509020 w 614938"/>
                <a:gd name="connsiteY427" fmla="*/ 421043 h 716071"/>
                <a:gd name="connsiteX428" fmla="*/ 509020 w 614938"/>
                <a:gd name="connsiteY428" fmla="*/ 421043 h 716071"/>
                <a:gd name="connsiteX429" fmla="*/ 515658 w 614938"/>
                <a:gd name="connsiteY429" fmla="*/ 437669 h 716071"/>
                <a:gd name="connsiteX430" fmla="*/ 515658 w 614938"/>
                <a:gd name="connsiteY430" fmla="*/ 437669 h 716071"/>
                <a:gd name="connsiteX431" fmla="*/ 515658 w 614938"/>
                <a:gd name="connsiteY431" fmla="*/ 437669 h 716071"/>
                <a:gd name="connsiteX432" fmla="*/ 517931 w 614938"/>
                <a:gd name="connsiteY432" fmla="*/ 440779 h 716071"/>
                <a:gd name="connsiteX433" fmla="*/ 517931 w 614938"/>
                <a:gd name="connsiteY433" fmla="*/ 440779 h 716071"/>
                <a:gd name="connsiteX434" fmla="*/ 517931 w 614938"/>
                <a:gd name="connsiteY434" fmla="*/ 440779 h 716071"/>
                <a:gd name="connsiteX435" fmla="*/ 517991 w 614938"/>
                <a:gd name="connsiteY435" fmla="*/ 440839 h 716071"/>
                <a:gd name="connsiteX436" fmla="*/ 517991 w 614938"/>
                <a:gd name="connsiteY436" fmla="*/ 440839 h 716071"/>
                <a:gd name="connsiteX437" fmla="*/ 517991 w 614938"/>
                <a:gd name="connsiteY437" fmla="*/ 440839 h 716071"/>
                <a:gd name="connsiteX438" fmla="*/ 517991 w 614938"/>
                <a:gd name="connsiteY438" fmla="*/ 440839 h 716071"/>
                <a:gd name="connsiteX439" fmla="*/ 518050 w 614938"/>
                <a:gd name="connsiteY439" fmla="*/ 440899 h 716071"/>
                <a:gd name="connsiteX440" fmla="*/ 518050 w 614938"/>
                <a:gd name="connsiteY440" fmla="*/ 440899 h 716071"/>
                <a:gd name="connsiteX441" fmla="*/ 518050 w 614938"/>
                <a:gd name="connsiteY441" fmla="*/ 440899 h 716071"/>
                <a:gd name="connsiteX442" fmla="*/ 518050 w 614938"/>
                <a:gd name="connsiteY442" fmla="*/ 440899 h 716071"/>
                <a:gd name="connsiteX443" fmla="*/ 518110 w 614938"/>
                <a:gd name="connsiteY443" fmla="*/ 440899 h 716071"/>
                <a:gd name="connsiteX444" fmla="*/ 518110 w 614938"/>
                <a:gd name="connsiteY444" fmla="*/ 440899 h 716071"/>
                <a:gd name="connsiteX445" fmla="*/ 518110 w 614938"/>
                <a:gd name="connsiteY445" fmla="*/ 440899 h 716071"/>
                <a:gd name="connsiteX446" fmla="*/ 518110 w 614938"/>
                <a:gd name="connsiteY446" fmla="*/ 440899 h 716071"/>
                <a:gd name="connsiteX447" fmla="*/ 518110 w 614938"/>
                <a:gd name="connsiteY447" fmla="*/ 440899 h 716071"/>
                <a:gd name="connsiteX448" fmla="*/ 518110 w 614938"/>
                <a:gd name="connsiteY448" fmla="*/ 440899 h 716071"/>
                <a:gd name="connsiteX449" fmla="*/ 518110 w 614938"/>
                <a:gd name="connsiteY449" fmla="*/ 440899 h 716071"/>
                <a:gd name="connsiteX450" fmla="*/ 523912 w 614938"/>
                <a:gd name="connsiteY450" fmla="*/ 436772 h 716071"/>
                <a:gd name="connsiteX451" fmla="*/ 523912 w 614938"/>
                <a:gd name="connsiteY451" fmla="*/ 436772 h 716071"/>
                <a:gd name="connsiteX452" fmla="*/ 523912 w 614938"/>
                <a:gd name="connsiteY452" fmla="*/ 436772 h 716071"/>
                <a:gd name="connsiteX453" fmla="*/ 516137 w 614938"/>
                <a:gd name="connsiteY453" fmla="*/ 437430 h 716071"/>
                <a:gd name="connsiteX454" fmla="*/ 509976 w 614938"/>
                <a:gd name="connsiteY454" fmla="*/ 422179 h 716071"/>
                <a:gd name="connsiteX455" fmla="*/ 511412 w 614938"/>
                <a:gd name="connsiteY455" fmla="*/ 424093 h 716071"/>
                <a:gd name="connsiteX456" fmla="*/ 517572 w 614938"/>
                <a:gd name="connsiteY456" fmla="*/ 439404 h 716071"/>
                <a:gd name="connsiteX457" fmla="*/ 516137 w 614938"/>
                <a:gd name="connsiteY457" fmla="*/ 437430 h 716071"/>
                <a:gd name="connsiteX458" fmla="*/ 380375 w 614938"/>
                <a:gd name="connsiteY458" fmla="*/ 226191 h 716071"/>
                <a:gd name="connsiteX459" fmla="*/ 395805 w 614938"/>
                <a:gd name="connsiteY459" fmla="*/ 207172 h 716071"/>
                <a:gd name="connsiteX460" fmla="*/ 417215 w 614938"/>
                <a:gd name="connsiteY460" fmla="*/ 209624 h 716071"/>
                <a:gd name="connsiteX461" fmla="*/ 400350 w 614938"/>
                <a:gd name="connsiteY461" fmla="*/ 229779 h 716071"/>
                <a:gd name="connsiteX462" fmla="*/ 380375 w 614938"/>
                <a:gd name="connsiteY462" fmla="*/ 226191 h 716071"/>
                <a:gd name="connsiteX463" fmla="*/ 419309 w 614938"/>
                <a:gd name="connsiteY463" fmla="*/ 173620 h 716071"/>
                <a:gd name="connsiteX464" fmla="*/ 436892 w 614938"/>
                <a:gd name="connsiteY464" fmla="*/ 191682 h 716071"/>
                <a:gd name="connsiteX465" fmla="*/ 436892 w 614938"/>
                <a:gd name="connsiteY465" fmla="*/ 191682 h 716071"/>
                <a:gd name="connsiteX466" fmla="*/ 419249 w 614938"/>
                <a:gd name="connsiteY466" fmla="*/ 173620 h 716071"/>
                <a:gd name="connsiteX467" fmla="*/ 419309 w 614938"/>
                <a:gd name="connsiteY467" fmla="*/ 173620 h 716071"/>
                <a:gd name="connsiteX468" fmla="*/ 448794 w 614938"/>
                <a:gd name="connsiteY468" fmla="*/ 238571 h 716071"/>
                <a:gd name="connsiteX469" fmla="*/ 442035 w 614938"/>
                <a:gd name="connsiteY469" fmla="*/ 239648 h 716071"/>
                <a:gd name="connsiteX470" fmla="*/ 440420 w 614938"/>
                <a:gd name="connsiteY470" fmla="*/ 235401 h 716071"/>
                <a:gd name="connsiteX471" fmla="*/ 440480 w 614938"/>
                <a:gd name="connsiteY471" fmla="*/ 235401 h 716071"/>
                <a:gd name="connsiteX472" fmla="*/ 440480 w 614938"/>
                <a:gd name="connsiteY472" fmla="*/ 235401 h 716071"/>
                <a:gd name="connsiteX473" fmla="*/ 440480 w 614938"/>
                <a:gd name="connsiteY473" fmla="*/ 235401 h 716071"/>
                <a:gd name="connsiteX474" fmla="*/ 442993 w 614938"/>
                <a:gd name="connsiteY474" fmla="*/ 235222 h 716071"/>
                <a:gd name="connsiteX475" fmla="*/ 442993 w 614938"/>
                <a:gd name="connsiteY475" fmla="*/ 235222 h 716071"/>
                <a:gd name="connsiteX476" fmla="*/ 442993 w 614938"/>
                <a:gd name="connsiteY476" fmla="*/ 235222 h 716071"/>
                <a:gd name="connsiteX477" fmla="*/ 442993 w 614938"/>
                <a:gd name="connsiteY477" fmla="*/ 235222 h 716071"/>
                <a:gd name="connsiteX478" fmla="*/ 446940 w 614938"/>
                <a:gd name="connsiteY478" fmla="*/ 233906 h 716071"/>
                <a:gd name="connsiteX479" fmla="*/ 448794 w 614938"/>
                <a:gd name="connsiteY479" fmla="*/ 238571 h 716071"/>
                <a:gd name="connsiteX480" fmla="*/ 511651 w 614938"/>
                <a:gd name="connsiteY480" fmla="*/ 423674 h 716071"/>
                <a:gd name="connsiteX481" fmla="*/ 505013 w 614938"/>
                <a:gd name="connsiteY481" fmla="*/ 407108 h 716071"/>
                <a:gd name="connsiteX482" fmla="*/ 513446 w 614938"/>
                <a:gd name="connsiteY482" fmla="*/ 404117 h 716071"/>
                <a:gd name="connsiteX483" fmla="*/ 518469 w 614938"/>
                <a:gd name="connsiteY483" fmla="*/ 420265 h 716071"/>
                <a:gd name="connsiteX484" fmla="*/ 511651 w 614938"/>
                <a:gd name="connsiteY484" fmla="*/ 423674 h 716071"/>
                <a:gd name="connsiteX485" fmla="*/ 504893 w 614938"/>
                <a:gd name="connsiteY485" fmla="*/ 406809 h 716071"/>
                <a:gd name="connsiteX486" fmla="*/ 498135 w 614938"/>
                <a:gd name="connsiteY486" fmla="*/ 390003 h 716071"/>
                <a:gd name="connsiteX487" fmla="*/ 508242 w 614938"/>
                <a:gd name="connsiteY487" fmla="*/ 387431 h 716071"/>
                <a:gd name="connsiteX488" fmla="*/ 513326 w 614938"/>
                <a:gd name="connsiteY488" fmla="*/ 403818 h 716071"/>
                <a:gd name="connsiteX489" fmla="*/ 504893 w 614938"/>
                <a:gd name="connsiteY489" fmla="*/ 406809 h 716071"/>
                <a:gd name="connsiteX490" fmla="*/ 498015 w 614938"/>
                <a:gd name="connsiteY490" fmla="*/ 389644 h 716071"/>
                <a:gd name="connsiteX491" fmla="*/ 491197 w 614938"/>
                <a:gd name="connsiteY491" fmla="*/ 372599 h 716071"/>
                <a:gd name="connsiteX492" fmla="*/ 502979 w 614938"/>
                <a:gd name="connsiteY492" fmla="*/ 370446 h 716071"/>
                <a:gd name="connsiteX493" fmla="*/ 508183 w 614938"/>
                <a:gd name="connsiteY493" fmla="*/ 387072 h 716071"/>
                <a:gd name="connsiteX494" fmla="*/ 498015 w 614938"/>
                <a:gd name="connsiteY494" fmla="*/ 389644 h 716071"/>
                <a:gd name="connsiteX495" fmla="*/ 491018 w 614938"/>
                <a:gd name="connsiteY495" fmla="*/ 372240 h 716071"/>
                <a:gd name="connsiteX496" fmla="*/ 484080 w 614938"/>
                <a:gd name="connsiteY496" fmla="*/ 354896 h 716071"/>
                <a:gd name="connsiteX497" fmla="*/ 497597 w 614938"/>
                <a:gd name="connsiteY497" fmla="*/ 353221 h 716071"/>
                <a:gd name="connsiteX498" fmla="*/ 502860 w 614938"/>
                <a:gd name="connsiteY498" fmla="*/ 370087 h 716071"/>
                <a:gd name="connsiteX499" fmla="*/ 491018 w 614938"/>
                <a:gd name="connsiteY499" fmla="*/ 372240 h 716071"/>
                <a:gd name="connsiteX500" fmla="*/ 483900 w 614938"/>
                <a:gd name="connsiteY500" fmla="*/ 354597 h 716071"/>
                <a:gd name="connsiteX501" fmla="*/ 476844 w 614938"/>
                <a:gd name="connsiteY501" fmla="*/ 337014 h 716071"/>
                <a:gd name="connsiteX502" fmla="*/ 492094 w 614938"/>
                <a:gd name="connsiteY502" fmla="*/ 335817 h 716071"/>
                <a:gd name="connsiteX503" fmla="*/ 497417 w 614938"/>
                <a:gd name="connsiteY503" fmla="*/ 352922 h 716071"/>
                <a:gd name="connsiteX504" fmla="*/ 483900 w 614938"/>
                <a:gd name="connsiteY504" fmla="*/ 354597 h 716071"/>
                <a:gd name="connsiteX505" fmla="*/ 476724 w 614938"/>
                <a:gd name="connsiteY505" fmla="*/ 336655 h 716071"/>
                <a:gd name="connsiteX506" fmla="*/ 469547 w 614938"/>
                <a:gd name="connsiteY506" fmla="*/ 318772 h 716071"/>
                <a:gd name="connsiteX507" fmla="*/ 486592 w 614938"/>
                <a:gd name="connsiteY507" fmla="*/ 318115 h 716071"/>
                <a:gd name="connsiteX508" fmla="*/ 491974 w 614938"/>
                <a:gd name="connsiteY508" fmla="*/ 335459 h 716071"/>
                <a:gd name="connsiteX509" fmla="*/ 476724 w 614938"/>
                <a:gd name="connsiteY509" fmla="*/ 336655 h 716071"/>
                <a:gd name="connsiteX510" fmla="*/ 469427 w 614938"/>
                <a:gd name="connsiteY510" fmla="*/ 318414 h 716071"/>
                <a:gd name="connsiteX511" fmla="*/ 462131 w 614938"/>
                <a:gd name="connsiteY511" fmla="*/ 300292 h 716071"/>
                <a:gd name="connsiteX512" fmla="*/ 480970 w 614938"/>
                <a:gd name="connsiteY512" fmla="*/ 300172 h 716071"/>
                <a:gd name="connsiteX513" fmla="*/ 486472 w 614938"/>
                <a:gd name="connsiteY513" fmla="*/ 317756 h 716071"/>
                <a:gd name="connsiteX514" fmla="*/ 469427 w 614938"/>
                <a:gd name="connsiteY514" fmla="*/ 318414 h 716071"/>
                <a:gd name="connsiteX515" fmla="*/ 462011 w 614938"/>
                <a:gd name="connsiteY515" fmla="*/ 299933 h 716071"/>
                <a:gd name="connsiteX516" fmla="*/ 454595 w 614938"/>
                <a:gd name="connsiteY516" fmla="*/ 281513 h 716071"/>
                <a:gd name="connsiteX517" fmla="*/ 475289 w 614938"/>
                <a:gd name="connsiteY517" fmla="*/ 281931 h 716071"/>
                <a:gd name="connsiteX518" fmla="*/ 480850 w 614938"/>
                <a:gd name="connsiteY518" fmla="*/ 299814 h 716071"/>
                <a:gd name="connsiteX519" fmla="*/ 462011 w 614938"/>
                <a:gd name="connsiteY519" fmla="*/ 299933 h 716071"/>
                <a:gd name="connsiteX520" fmla="*/ 454475 w 614938"/>
                <a:gd name="connsiteY520" fmla="*/ 281154 h 716071"/>
                <a:gd name="connsiteX521" fmla="*/ 446940 w 614938"/>
                <a:gd name="connsiteY521" fmla="*/ 262434 h 716071"/>
                <a:gd name="connsiteX522" fmla="*/ 469547 w 614938"/>
                <a:gd name="connsiteY522" fmla="*/ 263451 h 716071"/>
                <a:gd name="connsiteX523" fmla="*/ 475229 w 614938"/>
                <a:gd name="connsiteY523" fmla="*/ 281572 h 716071"/>
                <a:gd name="connsiteX524" fmla="*/ 454475 w 614938"/>
                <a:gd name="connsiteY524" fmla="*/ 281154 h 716071"/>
                <a:gd name="connsiteX525" fmla="*/ 446820 w 614938"/>
                <a:gd name="connsiteY525" fmla="*/ 262075 h 716071"/>
                <a:gd name="connsiteX526" fmla="*/ 439165 w 614938"/>
                <a:gd name="connsiteY526" fmla="*/ 243057 h 716071"/>
                <a:gd name="connsiteX527" fmla="*/ 463686 w 614938"/>
                <a:gd name="connsiteY527" fmla="*/ 244731 h 716071"/>
                <a:gd name="connsiteX528" fmla="*/ 469427 w 614938"/>
                <a:gd name="connsiteY528" fmla="*/ 263092 h 716071"/>
                <a:gd name="connsiteX529" fmla="*/ 446820 w 614938"/>
                <a:gd name="connsiteY529" fmla="*/ 262075 h 716071"/>
                <a:gd name="connsiteX530" fmla="*/ 436952 w 614938"/>
                <a:gd name="connsiteY530" fmla="*/ 243595 h 716071"/>
                <a:gd name="connsiteX531" fmla="*/ 437191 w 614938"/>
                <a:gd name="connsiteY531" fmla="*/ 243415 h 716071"/>
                <a:gd name="connsiteX532" fmla="*/ 437490 w 614938"/>
                <a:gd name="connsiteY532" fmla="*/ 243655 h 716071"/>
                <a:gd name="connsiteX533" fmla="*/ 437132 w 614938"/>
                <a:gd name="connsiteY533" fmla="*/ 243714 h 716071"/>
                <a:gd name="connsiteX534" fmla="*/ 436952 w 614938"/>
                <a:gd name="connsiteY534" fmla="*/ 243595 h 716071"/>
                <a:gd name="connsiteX535" fmla="*/ 437430 w 614938"/>
                <a:gd name="connsiteY535" fmla="*/ 243176 h 716071"/>
                <a:gd name="connsiteX536" fmla="*/ 437610 w 614938"/>
                <a:gd name="connsiteY536" fmla="*/ 242937 h 716071"/>
                <a:gd name="connsiteX537" fmla="*/ 437849 w 614938"/>
                <a:gd name="connsiteY537" fmla="*/ 243475 h 716071"/>
                <a:gd name="connsiteX538" fmla="*/ 437430 w 614938"/>
                <a:gd name="connsiteY538" fmla="*/ 243176 h 716071"/>
                <a:gd name="connsiteX539" fmla="*/ 436593 w 614938"/>
                <a:gd name="connsiteY539" fmla="*/ 243356 h 716071"/>
                <a:gd name="connsiteX540" fmla="*/ 410457 w 614938"/>
                <a:gd name="connsiteY540" fmla="*/ 222842 h 716071"/>
                <a:gd name="connsiteX541" fmla="*/ 410696 w 614938"/>
                <a:gd name="connsiteY541" fmla="*/ 222662 h 716071"/>
                <a:gd name="connsiteX542" fmla="*/ 436832 w 614938"/>
                <a:gd name="connsiteY542" fmla="*/ 243236 h 716071"/>
                <a:gd name="connsiteX543" fmla="*/ 436593 w 614938"/>
                <a:gd name="connsiteY543" fmla="*/ 243356 h 716071"/>
                <a:gd name="connsiteX544" fmla="*/ 392994 w 614938"/>
                <a:gd name="connsiteY544" fmla="*/ 261776 h 716071"/>
                <a:gd name="connsiteX545" fmla="*/ 366021 w 614938"/>
                <a:gd name="connsiteY545" fmla="*/ 296046 h 716071"/>
                <a:gd name="connsiteX546" fmla="*/ 365423 w 614938"/>
                <a:gd name="connsiteY546" fmla="*/ 295866 h 716071"/>
                <a:gd name="connsiteX547" fmla="*/ 392515 w 614938"/>
                <a:gd name="connsiteY547" fmla="*/ 261537 h 716071"/>
                <a:gd name="connsiteX548" fmla="*/ 392994 w 614938"/>
                <a:gd name="connsiteY548" fmla="*/ 261776 h 716071"/>
                <a:gd name="connsiteX549" fmla="*/ 56757 w 614938"/>
                <a:gd name="connsiteY549" fmla="*/ 701359 h 716071"/>
                <a:gd name="connsiteX550" fmla="*/ 56638 w 614938"/>
                <a:gd name="connsiteY550" fmla="*/ 701000 h 716071"/>
                <a:gd name="connsiteX551" fmla="*/ 56698 w 614938"/>
                <a:gd name="connsiteY551" fmla="*/ 698847 h 716071"/>
                <a:gd name="connsiteX552" fmla="*/ 56817 w 614938"/>
                <a:gd name="connsiteY552" fmla="*/ 699146 h 716071"/>
                <a:gd name="connsiteX553" fmla="*/ 56757 w 614938"/>
                <a:gd name="connsiteY553" fmla="*/ 701359 h 716071"/>
                <a:gd name="connsiteX554" fmla="*/ 13158 w 614938"/>
                <a:gd name="connsiteY554" fmla="*/ 668645 h 716071"/>
                <a:gd name="connsiteX555" fmla="*/ 13158 w 614938"/>
                <a:gd name="connsiteY555" fmla="*/ 668645 h 716071"/>
                <a:gd name="connsiteX556" fmla="*/ 13158 w 614938"/>
                <a:gd name="connsiteY556" fmla="*/ 668645 h 716071"/>
                <a:gd name="connsiteX557" fmla="*/ 13995 w 614938"/>
                <a:gd name="connsiteY557" fmla="*/ 667807 h 716071"/>
                <a:gd name="connsiteX558" fmla="*/ 14773 w 614938"/>
                <a:gd name="connsiteY558" fmla="*/ 667927 h 716071"/>
                <a:gd name="connsiteX559" fmla="*/ 13338 w 614938"/>
                <a:gd name="connsiteY559" fmla="*/ 669362 h 716071"/>
                <a:gd name="connsiteX560" fmla="*/ 12500 w 614938"/>
                <a:gd name="connsiteY560" fmla="*/ 669303 h 716071"/>
                <a:gd name="connsiteX561" fmla="*/ 13158 w 614938"/>
                <a:gd name="connsiteY561" fmla="*/ 668645 h 716071"/>
                <a:gd name="connsiteX562" fmla="*/ 18959 w 614938"/>
                <a:gd name="connsiteY562" fmla="*/ 667867 h 716071"/>
                <a:gd name="connsiteX563" fmla="*/ 18660 w 614938"/>
                <a:gd name="connsiteY563" fmla="*/ 667568 h 716071"/>
                <a:gd name="connsiteX564" fmla="*/ 19139 w 614938"/>
                <a:gd name="connsiteY564" fmla="*/ 667628 h 716071"/>
                <a:gd name="connsiteX565" fmla="*/ 18959 w 614938"/>
                <a:gd name="connsiteY565" fmla="*/ 667867 h 716071"/>
                <a:gd name="connsiteX566" fmla="*/ 18780 w 614938"/>
                <a:gd name="connsiteY566" fmla="*/ 668047 h 716071"/>
                <a:gd name="connsiteX567" fmla="*/ 17464 w 614938"/>
                <a:gd name="connsiteY567" fmla="*/ 669602 h 716071"/>
                <a:gd name="connsiteX568" fmla="*/ 15550 w 614938"/>
                <a:gd name="connsiteY568" fmla="*/ 667927 h 716071"/>
                <a:gd name="connsiteX569" fmla="*/ 18241 w 614938"/>
                <a:gd name="connsiteY569" fmla="*/ 667449 h 716071"/>
                <a:gd name="connsiteX570" fmla="*/ 18780 w 614938"/>
                <a:gd name="connsiteY570" fmla="*/ 668047 h 716071"/>
                <a:gd name="connsiteX571" fmla="*/ 13098 w 614938"/>
                <a:gd name="connsiteY571" fmla="*/ 672532 h 716071"/>
                <a:gd name="connsiteX572" fmla="*/ 14234 w 614938"/>
                <a:gd name="connsiteY572" fmla="*/ 675941 h 716071"/>
                <a:gd name="connsiteX573" fmla="*/ 13218 w 614938"/>
                <a:gd name="connsiteY573" fmla="*/ 676061 h 716071"/>
                <a:gd name="connsiteX574" fmla="*/ 12081 w 614938"/>
                <a:gd name="connsiteY574" fmla="*/ 672532 h 716071"/>
                <a:gd name="connsiteX575" fmla="*/ 13098 w 614938"/>
                <a:gd name="connsiteY575" fmla="*/ 672532 h 716071"/>
                <a:gd name="connsiteX576" fmla="*/ 392156 w 614938"/>
                <a:gd name="connsiteY576" fmla="*/ 261417 h 716071"/>
                <a:gd name="connsiteX577" fmla="*/ 365064 w 614938"/>
                <a:gd name="connsiteY577" fmla="*/ 295807 h 716071"/>
                <a:gd name="connsiteX578" fmla="*/ 363748 w 614938"/>
                <a:gd name="connsiteY578" fmla="*/ 295149 h 716071"/>
                <a:gd name="connsiteX579" fmla="*/ 390960 w 614938"/>
                <a:gd name="connsiteY579" fmla="*/ 260759 h 716071"/>
                <a:gd name="connsiteX580" fmla="*/ 392156 w 614938"/>
                <a:gd name="connsiteY580" fmla="*/ 261417 h 716071"/>
                <a:gd name="connsiteX581" fmla="*/ 49700 w 614938"/>
                <a:gd name="connsiteY581" fmla="*/ 701120 h 716071"/>
                <a:gd name="connsiteX582" fmla="*/ 49700 w 614938"/>
                <a:gd name="connsiteY582" fmla="*/ 701120 h 716071"/>
                <a:gd name="connsiteX583" fmla="*/ 49700 w 614938"/>
                <a:gd name="connsiteY583" fmla="*/ 701120 h 716071"/>
                <a:gd name="connsiteX584" fmla="*/ 49700 w 614938"/>
                <a:gd name="connsiteY584" fmla="*/ 701180 h 716071"/>
                <a:gd name="connsiteX585" fmla="*/ 49700 w 614938"/>
                <a:gd name="connsiteY585" fmla="*/ 701240 h 716071"/>
                <a:gd name="connsiteX586" fmla="*/ 49700 w 614938"/>
                <a:gd name="connsiteY586" fmla="*/ 701299 h 716071"/>
                <a:gd name="connsiteX587" fmla="*/ 49700 w 614938"/>
                <a:gd name="connsiteY587" fmla="*/ 701359 h 716071"/>
                <a:gd name="connsiteX588" fmla="*/ 49700 w 614938"/>
                <a:gd name="connsiteY588" fmla="*/ 701359 h 716071"/>
                <a:gd name="connsiteX589" fmla="*/ 51554 w 614938"/>
                <a:gd name="connsiteY589" fmla="*/ 703333 h 716071"/>
                <a:gd name="connsiteX590" fmla="*/ 47906 w 614938"/>
                <a:gd name="connsiteY590" fmla="*/ 702795 h 716071"/>
                <a:gd name="connsiteX591" fmla="*/ 46470 w 614938"/>
                <a:gd name="connsiteY591" fmla="*/ 700761 h 716071"/>
                <a:gd name="connsiteX592" fmla="*/ 59867 w 614938"/>
                <a:gd name="connsiteY592" fmla="*/ 678752 h 716071"/>
                <a:gd name="connsiteX593" fmla="*/ 62857 w 614938"/>
                <a:gd name="connsiteY593" fmla="*/ 678692 h 716071"/>
                <a:gd name="connsiteX594" fmla="*/ 49700 w 614938"/>
                <a:gd name="connsiteY594" fmla="*/ 701120 h 716071"/>
                <a:gd name="connsiteX595" fmla="*/ 49700 w 614938"/>
                <a:gd name="connsiteY595" fmla="*/ 701120 h 716071"/>
                <a:gd name="connsiteX596" fmla="*/ 11244 w 614938"/>
                <a:gd name="connsiteY596" fmla="*/ 673429 h 716071"/>
                <a:gd name="connsiteX597" fmla="*/ 11783 w 614938"/>
                <a:gd name="connsiteY597" fmla="*/ 672771 h 716071"/>
                <a:gd name="connsiteX598" fmla="*/ 12919 w 614938"/>
                <a:gd name="connsiteY598" fmla="*/ 676180 h 716071"/>
                <a:gd name="connsiteX599" fmla="*/ 12381 w 614938"/>
                <a:gd name="connsiteY599" fmla="*/ 676838 h 716071"/>
                <a:gd name="connsiteX600" fmla="*/ 11244 w 614938"/>
                <a:gd name="connsiteY600" fmla="*/ 673429 h 716071"/>
                <a:gd name="connsiteX601" fmla="*/ 14414 w 614938"/>
                <a:gd name="connsiteY601" fmla="*/ 676240 h 716071"/>
                <a:gd name="connsiteX602" fmla="*/ 16866 w 614938"/>
                <a:gd name="connsiteY602" fmla="*/ 680307 h 716071"/>
                <a:gd name="connsiteX603" fmla="*/ 15909 w 614938"/>
                <a:gd name="connsiteY603" fmla="*/ 680546 h 716071"/>
                <a:gd name="connsiteX604" fmla="*/ 13338 w 614938"/>
                <a:gd name="connsiteY604" fmla="*/ 676360 h 716071"/>
                <a:gd name="connsiteX605" fmla="*/ 14414 w 614938"/>
                <a:gd name="connsiteY605" fmla="*/ 676240 h 716071"/>
                <a:gd name="connsiteX606" fmla="*/ 390661 w 614938"/>
                <a:gd name="connsiteY606" fmla="*/ 260520 h 716071"/>
                <a:gd name="connsiteX607" fmla="*/ 363389 w 614938"/>
                <a:gd name="connsiteY607" fmla="*/ 294909 h 716071"/>
                <a:gd name="connsiteX608" fmla="*/ 361535 w 614938"/>
                <a:gd name="connsiteY608" fmla="*/ 293773 h 716071"/>
                <a:gd name="connsiteX609" fmla="*/ 388927 w 614938"/>
                <a:gd name="connsiteY609" fmla="*/ 259384 h 716071"/>
                <a:gd name="connsiteX610" fmla="*/ 390661 w 614938"/>
                <a:gd name="connsiteY610" fmla="*/ 260520 h 716071"/>
                <a:gd name="connsiteX611" fmla="*/ 46052 w 614938"/>
                <a:gd name="connsiteY611" fmla="*/ 700582 h 716071"/>
                <a:gd name="connsiteX612" fmla="*/ 46052 w 614938"/>
                <a:gd name="connsiteY612" fmla="*/ 700582 h 716071"/>
                <a:gd name="connsiteX613" fmla="*/ 46052 w 614938"/>
                <a:gd name="connsiteY613" fmla="*/ 700582 h 716071"/>
                <a:gd name="connsiteX614" fmla="*/ 46052 w 614938"/>
                <a:gd name="connsiteY614" fmla="*/ 700641 h 716071"/>
                <a:gd name="connsiteX615" fmla="*/ 46052 w 614938"/>
                <a:gd name="connsiteY615" fmla="*/ 700641 h 716071"/>
                <a:gd name="connsiteX616" fmla="*/ 46052 w 614938"/>
                <a:gd name="connsiteY616" fmla="*/ 700701 h 716071"/>
                <a:gd name="connsiteX617" fmla="*/ 46052 w 614938"/>
                <a:gd name="connsiteY617" fmla="*/ 700701 h 716071"/>
                <a:gd name="connsiteX618" fmla="*/ 47427 w 614938"/>
                <a:gd name="connsiteY618" fmla="*/ 702555 h 716071"/>
                <a:gd name="connsiteX619" fmla="*/ 42942 w 614938"/>
                <a:gd name="connsiteY619" fmla="*/ 700941 h 716071"/>
                <a:gd name="connsiteX620" fmla="*/ 42045 w 614938"/>
                <a:gd name="connsiteY620" fmla="*/ 699146 h 716071"/>
                <a:gd name="connsiteX621" fmla="*/ 55741 w 614938"/>
                <a:gd name="connsiteY621" fmla="*/ 677795 h 716071"/>
                <a:gd name="connsiteX622" fmla="*/ 59389 w 614938"/>
                <a:gd name="connsiteY622" fmla="*/ 678632 h 716071"/>
                <a:gd name="connsiteX623" fmla="*/ 46052 w 614938"/>
                <a:gd name="connsiteY623" fmla="*/ 700582 h 716071"/>
                <a:gd name="connsiteX624" fmla="*/ 46052 w 614938"/>
                <a:gd name="connsiteY624" fmla="*/ 700582 h 716071"/>
                <a:gd name="connsiteX625" fmla="*/ 46052 w 614938"/>
                <a:gd name="connsiteY625" fmla="*/ 700582 h 716071"/>
                <a:gd name="connsiteX626" fmla="*/ 52093 w 614938"/>
                <a:gd name="connsiteY626" fmla="*/ 704649 h 716071"/>
                <a:gd name="connsiteX627" fmla="*/ 48205 w 614938"/>
                <a:gd name="connsiteY627" fmla="*/ 704110 h 716071"/>
                <a:gd name="connsiteX628" fmla="*/ 48085 w 614938"/>
                <a:gd name="connsiteY628" fmla="*/ 703094 h 716071"/>
                <a:gd name="connsiteX629" fmla="*/ 51853 w 614938"/>
                <a:gd name="connsiteY629" fmla="*/ 703632 h 716071"/>
                <a:gd name="connsiteX630" fmla="*/ 52093 w 614938"/>
                <a:gd name="connsiteY630" fmla="*/ 704649 h 716071"/>
                <a:gd name="connsiteX631" fmla="*/ 38576 w 614938"/>
                <a:gd name="connsiteY631" fmla="*/ 703213 h 716071"/>
                <a:gd name="connsiteX632" fmla="*/ 37559 w 614938"/>
                <a:gd name="connsiteY632" fmla="*/ 702496 h 716071"/>
                <a:gd name="connsiteX633" fmla="*/ 37619 w 614938"/>
                <a:gd name="connsiteY633" fmla="*/ 702077 h 716071"/>
                <a:gd name="connsiteX634" fmla="*/ 38576 w 614938"/>
                <a:gd name="connsiteY634" fmla="*/ 702974 h 716071"/>
                <a:gd name="connsiteX635" fmla="*/ 38576 w 614938"/>
                <a:gd name="connsiteY635" fmla="*/ 703213 h 716071"/>
                <a:gd name="connsiteX636" fmla="*/ 15909 w 614938"/>
                <a:gd name="connsiteY636" fmla="*/ 684793 h 716071"/>
                <a:gd name="connsiteX637" fmla="*/ 16926 w 614938"/>
                <a:gd name="connsiteY637" fmla="*/ 685510 h 716071"/>
                <a:gd name="connsiteX638" fmla="*/ 16507 w 614938"/>
                <a:gd name="connsiteY638" fmla="*/ 685690 h 716071"/>
                <a:gd name="connsiteX639" fmla="*/ 15669 w 614938"/>
                <a:gd name="connsiteY639" fmla="*/ 684912 h 716071"/>
                <a:gd name="connsiteX640" fmla="*/ 15909 w 614938"/>
                <a:gd name="connsiteY640" fmla="*/ 684793 h 716071"/>
                <a:gd name="connsiteX641" fmla="*/ 18839 w 614938"/>
                <a:gd name="connsiteY641" fmla="*/ 686826 h 716071"/>
                <a:gd name="connsiteX642" fmla="*/ 18241 w 614938"/>
                <a:gd name="connsiteY642" fmla="*/ 685750 h 716071"/>
                <a:gd name="connsiteX643" fmla="*/ 18301 w 614938"/>
                <a:gd name="connsiteY643" fmla="*/ 685750 h 716071"/>
                <a:gd name="connsiteX644" fmla="*/ 18839 w 614938"/>
                <a:gd name="connsiteY644" fmla="*/ 686826 h 716071"/>
                <a:gd name="connsiteX645" fmla="*/ 18660 w 614938"/>
                <a:gd name="connsiteY645" fmla="*/ 687125 h 716071"/>
                <a:gd name="connsiteX646" fmla="*/ 18481 w 614938"/>
                <a:gd name="connsiteY646" fmla="*/ 687125 h 716071"/>
                <a:gd name="connsiteX647" fmla="*/ 17524 w 614938"/>
                <a:gd name="connsiteY647" fmla="*/ 685750 h 716071"/>
                <a:gd name="connsiteX648" fmla="*/ 17823 w 614938"/>
                <a:gd name="connsiteY648" fmla="*/ 685690 h 716071"/>
                <a:gd name="connsiteX649" fmla="*/ 18660 w 614938"/>
                <a:gd name="connsiteY649" fmla="*/ 687125 h 716071"/>
                <a:gd name="connsiteX650" fmla="*/ 18660 w 614938"/>
                <a:gd name="connsiteY650" fmla="*/ 687484 h 716071"/>
                <a:gd name="connsiteX651" fmla="*/ 18660 w 614938"/>
                <a:gd name="connsiteY651" fmla="*/ 687604 h 716071"/>
                <a:gd name="connsiteX652" fmla="*/ 18660 w 614938"/>
                <a:gd name="connsiteY652" fmla="*/ 687484 h 716071"/>
                <a:gd name="connsiteX653" fmla="*/ 18660 w 614938"/>
                <a:gd name="connsiteY653" fmla="*/ 687484 h 716071"/>
                <a:gd name="connsiteX654" fmla="*/ 17284 w 614938"/>
                <a:gd name="connsiteY654" fmla="*/ 685809 h 716071"/>
                <a:gd name="connsiteX655" fmla="*/ 18241 w 614938"/>
                <a:gd name="connsiteY655" fmla="*/ 687245 h 716071"/>
                <a:gd name="connsiteX656" fmla="*/ 18002 w 614938"/>
                <a:gd name="connsiteY656" fmla="*/ 687364 h 716071"/>
                <a:gd name="connsiteX657" fmla="*/ 16926 w 614938"/>
                <a:gd name="connsiteY657" fmla="*/ 686049 h 716071"/>
                <a:gd name="connsiteX658" fmla="*/ 17284 w 614938"/>
                <a:gd name="connsiteY658" fmla="*/ 685809 h 716071"/>
                <a:gd name="connsiteX659" fmla="*/ 18301 w 614938"/>
                <a:gd name="connsiteY659" fmla="*/ 687604 h 716071"/>
                <a:gd name="connsiteX660" fmla="*/ 18361 w 614938"/>
                <a:gd name="connsiteY660" fmla="*/ 687962 h 716071"/>
                <a:gd name="connsiteX661" fmla="*/ 18182 w 614938"/>
                <a:gd name="connsiteY661" fmla="*/ 687663 h 716071"/>
                <a:gd name="connsiteX662" fmla="*/ 18301 w 614938"/>
                <a:gd name="connsiteY662" fmla="*/ 687604 h 716071"/>
                <a:gd name="connsiteX663" fmla="*/ 17106 w 614938"/>
                <a:gd name="connsiteY663" fmla="*/ 680666 h 716071"/>
                <a:gd name="connsiteX664" fmla="*/ 20754 w 614938"/>
                <a:gd name="connsiteY664" fmla="*/ 685092 h 716071"/>
                <a:gd name="connsiteX665" fmla="*/ 19916 w 614938"/>
                <a:gd name="connsiteY665" fmla="*/ 685510 h 716071"/>
                <a:gd name="connsiteX666" fmla="*/ 16089 w 614938"/>
                <a:gd name="connsiteY666" fmla="*/ 680905 h 716071"/>
                <a:gd name="connsiteX667" fmla="*/ 17106 w 614938"/>
                <a:gd name="connsiteY667" fmla="*/ 680666 h 716071"/>
                <a:gd name="connsiteX668" fmla="*/ 22907 w 614938"/>
                <a:gd name="connsiteY668" fmla="*/ 685391 h 716071"/>
                <a:gd name="connsiteX669" fmla="*/ 22907 w 614938"/>
                <a:gd name="connsiteY669" fmla="*/ 685391 h 716071"/>
                <a:gd name="connsiteX670" fmla="*/ 22907 w 614938"/>
                <a:gd name="connsiteY670" fmla="*/ 685391 h 716071"/>
                <a:gd name="connsiteX671" fmla="*/ 22907 w 614938"/>
                <a:gd name="connsiteY671" fmla="*/ 685391 h 716071"/>
                <a:gd name="connsiteX672" fmla="*/ 22967 w 614938"/>
                <a:gd name="connsiteY672" fmla="*/ 685391 h 716071"/>
                <a:gd name="connsiteX673" fmla="*/ 22967 w 614938"/>
                <a:gd name="connsiteY673" fmla="*/ 685391 h 716071"/>
                <a:gd name="connsiteX674" fmla="*/ 22967 w 614938"/>
                <a:gd name="connsiteY674" fmla="*/ 685391 h 716071"/>
                <a:gd name="connsiteX675" fmla="*/ 39174 w 614938"/>
                <a:gd name="connsiteY675" fmla="*/ 666492 h 716071"/>
                <a:gd name="connsiteX676" fmla="*/ 42464 w 614938"/>
                <a:gd name="connsiteY676" fmla="*/ 669901 h 716071"/>
                <a:gd name="connsiteX677" fmla="*/ 26973 w 614938"/>
                <a:gd name="connsiteY677" fmla="*/ 689278 h 716071"/>
                <a:gd name="connsiteX678" fmla="*/ 25957 w 614938"/>
                <a:gd name="connsiteY678" fmla="*/ 689816 h 716071"/>
                <a:gd name="connsiteX679" fmla="*/ 21471 w 614938"/>
                <a:gd name="connsiteY679" fmla="*/ 685450 h 716071"/>
                <a:gd name="connsiteX680" fmla="*/ 22907 w 614938"/>
                <a:gd name="connsiteY680" fmla="*/ 685391 h 716071"/>
                <a:gd name="connsiteX681" fmla="*/ 388628 w 614938"/>
                <a:gd name="connsiteY681" fmla="*/ 259145 h 716071"/>
                <a:gd name="connsiteX682" fmla="*/ 361236 w 614938"/>
                <a:gd name="connsiteY682" fmla="*/ 293534 h 716071"/>
                <a:gd name="connsiteX683" fmla="*/ 359023 w 614938"/>
                <a:gd name="connsiteY683" fmla="*/ 291979 h 716071"/>
                <a:gd name="connsiteX684" fmla="*/ 386534 w 614938"/>
                <a:gd name="connsiteY684" fmla="*/ 257590 h 716071"/>
                <a:gd name="connsiteX685" fmla="*/ 388628 w 614938"/>
                <a:gd name="connsiteY685" fmla="*/ 259145 h 716071"/>
                <a:gd name="connsiteX686" fmla="*/ 41686 w 614938"/>
                <a:gd name="connsiteY686" fmla="*/ 699027 h 716071"/>
                <a:gd name="connsiteX687" fmla="*/ 41686 w 614938"/>
                <a:gd name="connsiteY687" fmla="*/ 699027 h 716071"/>
                <a:gd name="connsiteX688" fmla="*/ 41686 w 614938"/>
                <a:gd name="connsiteY688" fmla="*/ 699027 h 716071"/>
                <a:gd name="connsiteX689" fmla="*/ 41686 w 614938"/>
                <a:gd name="connsiteY689" fmla="*/ 699087 h 716071"/>
                <a:gd name="connsiteX690" fmla="*/ 41686 w 614938"/>
                <a:gd name="connsiteY690" fmla="*/ 699146 h 716071"/>
                <a:gd name="connsiteX691" fmla="*/ 41686 w 614938"/>
                <a:gd name="connsiteY691" fmla="*/ 699146 h 716071"/>
                <a:gd name="connsiteX692" fmla="*/ 42524 w 614938"/>
                <a:gd name="connsiteY692" fmla="*/ 700761 h 716071"/>
                <a:gd name="connsiteX693" fmla="*/ 37439 w 614938"/>
                <a:gd name="connsiteY693" fmla="*/ 698130 h 716071"/>
                <a:gd name="connsiteX694" fmla="*/ 37201 w 614938"/>
                <a:gd name="connsiteY694" fmla="*/ 696694 h 716071"/>
                <a:gd name="connsiteX695" fmla="*/ 51375 w 614938"/>
                <a:gd name="connsiteY695" fmla="*/ 676001 h 716071"/>
                <a:gd name="connsiteX696" fmla="*/ 55441 w 614938"/>
                <a:gd name="connsiteY696" fmla="*/ 677735 h 716071"/>
                <a:gd name="connsiteX697" fmla="*/ 41686 w 614938"/>
                <a:gd name="connsiteY697" fmla="*/ 699027 h 716071"/>
                <a:gd name="connsiteX698" fmla="*/ 41686 w 614938"/>
                <a:gd name="connsiteY698" fmla="*/ 699027 h 716071"/>
                <a:gd name="connsiteX699" fmla="*/ 27272 w 614938"/>
                <a:gd name="connsiteY699" fmla="*/ 689517 h 716071"/>
                <a:gd name="connsiteX700" fmla="*/ 27272 w 614938"/>
                <a:gd name="connsiteY700" fmla="*/ 689517 h 716071"/>
                <a:gd name="connsiteX701" fmla="*/ 27272 w 614938"/>
                <a:gd name="connsiteY701" fmla="*/ 689517 h 716071"/>
                <a:gd name="connsiteX702" fmla="*/ 42762 w 614938"/>
                <a:gd name="connsiteY702" fmla="*/ 670080 h 716071"/>
                <a:gd name="connsiteX703" fmla="*/ 46590 w 614938"/>
                <a:gd name="connsiteY703" fmla="*/ 673130 h 716071"/>
                <a:gd name="connsiteX704" fmla="*/ 31758 w 614938"/>
                <a:gd name="connsiteY704" fmla="*/ 693106 h 716071"/>
                <a:gd name="connsiteX705" fmla="*/ 31758 w 614938"/>
                <a:gd name="connsiteY705" fmla="*/ 693106 h 716071"/>
                <a:gd name="connsiteX706" fmla="*/ 31758 w 614938"/>
                <a:gd name="connsiteY706" fmla="*/ 693106 h 716071"/>
                <a:gd name="connsiteX707" fmla="*/ 31399 w 614938"/>
                <a:gd name="connsiteY707" fmla="*/ 694123 h 716071"/>
                <a:gd name="connsiteX708" fmla="*/ 26315 w 614938"/>
                <a:gd name="connsiteY708" fmla="*/ 689996 h 716071"/>
                <a:gd name="connsiteX709" fmla="*/ 27272 w 614938"/>
                <a:gd name="connsiteY709" fmla="*/ 689517 h 716071"/>
                <a:gd name="connsiteX710" fmla="*/ 331093 w 614938"/>
                <a:gd name="connsiteY710" fmla="*/ 326248 h 716071"/>
                <a:gd name="connsiteX711" fmla="*/ 304239 w 614938"/>
                <a:gd name="connsiteY711" fmla="*/ 359740 h 716071"/>
                <a:gd name="connsiteX712" fmla="*/ 301548 w 614938"/>
                <a:gd name="connsiteY712" fmla="*/ 357767 h 716071"/>
                <a:gd name="connsiteX713" fmla="*/ 328521 w 614938"/>
                <a:gd name="connsiteY713" fmla="*/ 324335 h 716071"/>
                <a:gd name="connsiteX714" fmla="*/ 331093 w 614938"/>
                <a:gd name="connsiteY714" fmla="*/ 326248 h 716071"/>
                <a:gd name="connsiteX715" fmla="*/ 47128 w 614938"/>
                <a:gd name="connsiteY715" fmla="*/ 673070 h 716071"/>
                <a:gd name="connsiteX716" fmla="*/ 70991 w 614938"/>
                <a:gd name="connsiteY716" fmla="*/ 643526 h 716071"/>
                <a:gd name="connsiteX717" fmla="*/ 74939 w 614938"/>
                <a:gd name="connsiteY717" fmla="*/ 645978 h 716071"/>
                <a:gd name="connsiteX718" fmla="*/ 51195 w 614938"/>
                <a:gd name="connsiteY718" fmla="*/ 675582 h 716071"/>
                <a:gd name="connsiteX719" fmla="*/ 47128 w 614938"/>
                <a:gd name="connsiteY719" fmla="*/ 673070 h 716071"/>
                <a:gd name="connsiteX720" fmla="*/ 71231 w 614938"/>
                <a:gd name="connsiteY720" fmla="*/ 643227 h 716071"/>
                <a:gd name="connsiteX721" fmla="*/ 95393 w 614938"/>
                <a:gd name="connsiteY721" fmla="*/ 613323 h 716071"/>
                <a:gd name="connsiteX722" fmla="*/ 99221 w 614938"/>
                <a:gd name="connsiteY722" fmla="*/ 615715 h 716071"/>
                <a:gd name="connsiteX723" fmla="*/ 75238 w 614938"/>
                <a:gd name="connsiteY723" fmla="*/ 645679 h 716071"/>
                <a:gd name="connsiteX724" fmla="*/ 71231 w 614938"/>
                <a:gd name="connsiteY724" fmla="*/ 643227 h 716071"/>
                <a:gd name="connsiteX725" fmla="*/ 95573 w 614938"/>
                <a:gd name="connsiteY725" fmla="*/ 613024 h 716071"/>
                <a:gd name="connsiteX726" fmla="*/ 120034 w 614938"/>
                <a:gd name="connsiteY726" fmla="*/ 582762 h 716071"/>
                <a:gd name="connsiteX727" fmla="*/ 123742 w 614938"/>
                <a:gd name="connsiteY727" fmla="*/ 585094 h 716071"/>
                <a:gd name="connsiteX728" fmla="*/ 99459 w 614938"/>
                <a:gd name="connsiteY728" fmla="*/ 615416 h 716071"/>
                <a:gd name="connsiteX729" fmla="*/ 95573 w 614938"/>
                <a:gd name="connsiteY729" fmla="*/ 613024 h 716071"/>
                <a:gd name="connsiteX730" fmla="*/ 120273 w 614938"/>
                <a:gd name="connsiteY730" fmla="*/ 582462 h 716071"/>
                <a:gd name="connsiteX731" fmla="*/ 145033 w 614938"/>
                <a:gd name="connsiteY731" fmla="*/ 551781 h 716071"/>
                <a:gd name="connsiteX732" fmla="*/ 148562 w 614938"/>
                <a:gd name="connsiteY732" fmla="*/ 554114 h 716071"/>
                <a:gd name="connsiteX733" fmla="*/ 123981 w 614938"/>
                <a:gd name="connsiteY733" fmla="*/ 584795 h 716071"/>
                <a:gd name="connsiteX734" fmla="*/ 120273 w 614938"/>
                <a:gd name="connsiteY734" fmla="*/ 582462 h 716071"/>
                <a:gd name="connsiteX735" fmla="*/ 145212 w 614938"/>
                <a:gd name="connsiteY735" fmla="*/ 551542 h 716071"/>
                <a:gd name="connsiteX736" fmla="*/ 170272 w 614938"/>
                <a:gd name="connsiteY736" fmla="*/ 520502 h 716071"/>
                <a:gd name="connsiteX737" fmla="*/ 173680 w 614938"/>
                <a:gd name="connsiteY737" fmla="*/ 522775 h 716071"/>
                <a:gd name="connsiteX738" fmla="*/ 148800 w 614938"/>
                <a:gd name="connsiteY738" fmla="*/ 553875 h 716071"/>
                <a:gd name="connsiteX739" fmla="*/ 145212 w 614938"/>
                <a:gd name="connsiteY739" fmla="*/ 551542 h 716071"/>
                <a:gd name="connsiteX740" fmla="*/ 170510 w 614938"/>
                <a:gd name="connsiteY740" fmla="*/ 520203 h 716071"/>
                <a:gd name="connsiteX741" fmla="*/ 195869 w 614938"/>
                <a:gd name="connsiteY741" fmla="*/ 488804 h 716071"/>
                <a:gd name="connsiteX742" fmla="*/ 199158 w 614938"/>
                <a:gd name="connsiteY742" fmla="*/ 491017 h 716071"/>
                <a:gd name="connsiteX743" fmla="*/ 173920 w 614938"/>
                <a:gd name="connsiteY743" fmla="*/ 522476 h 716071"/>
                <a:gd name="connsiteX744" fmla="*/ 170510 w 614938"/>
                <a:gd name="connsiteY744" fmla="*/ 520203 h 716071"/>
                <a:gd name="connsiteX745" fmla="*/ 196048 w 614938"/>
                <a:gd name="connsiteY745" fmla="*/ 488505 h 716071"/>
                <a:gd name="connsiteX746" fmla="*/ 221706 w 614938"/>
                <a:gd name="connsiteY746" fmla="*/ 456688 h 716071"/>
                <a:gd name="connsiteX747" fmla="*/ 224816 w 614938"/>
                <a:gd name="connsiteY747" fmla="*/ 458841 h 716071"/>
                <a:gd name="connsiteX748" fmla="*/ 199278 w 614938"/>
                <a:gd name="connsiteY748" fmla="*/ 490718 h 716071"/>
                <a:gd name="connsiteX749" fmla="*/ 196048 w 614938"/>
                <a:gd name="connsiteY749" fmla="*/ 488505 h 716071"/>
                <a:gd name="connsiteX750" fmla="*/ 221945 w 614938"/>
                <a:gd name="connsiteY750" fmla="*/ 456449 h 716071"/>
                <a:gd name="connsiteX751" fmla="*/ 247901 w 614938"/>
                <a:gd name="connsiteY751" fmla="*/ 424272 h 716071"/>
                <a:gd name="connsiteX752" fmla="*/ 250892 w 614938"/>
                <a:gd name="connsiteY752" fmla="*/ 426366 h 716071"/>
                <a:gd name="connsiteX753" fmla="*/ 225055 w 614938"/>
                <a:gd name="connsiteY753" fmla="*/ 458602 h 716071"/>
                <a:gd name="connsiteX754" fmla="*/ 221945 w 614938"/>
                <a:gd name="connsiteY754" fmla="*/ 456449 h 716071"/>
                <a:gd name="connsiteX755" fmla="*/ 248200 w 614938"/>
                <a:gd name="connsiteY755" fmla="*/ 423973 h 716071"/>
                <a:gd name="connsiteX756" fmla="*/ 274515 w 614938"/>
                <a:gd name="connsiteY756" fmla="*/ 391378 h 716071"/>
                <a:gd name="connsiteX757" fmla="*/ 277326 w 614938"/>
                <a:gd name="connsiteY757" fmla="*/ 393412 h 716071"/>
                <a:gd name="connsiteX758" fmla="*/ 251130 w 614938"/>
                <a:gd name="connsiteY758" fmla="*/ 426067 h 716071"/>
                <a:gd name="connsiteX759" fmla="*/ 248200 w 614938"/>
                <a:gd name="connsiteY759" fmla="*/ 423973 h 716071"/>
                <a:gd name="connsiteX760" fmla="*/ 274695 w 614938"/>
                <a:gd name="connsiteY760" fmla="*/ 391079 h 716071"/>
                <a:gd name="connsiteX761" fmla="*/ 301309 w 614938"/>
                <a:gd name="connsiteY761" fmla="*/ 358066 h 716071"/>
                <a:gd name="connsiteX762" fmla="*/ 304001 w 614938"/>
                <a:gd name="connsiteY762" fmla="*/ 360039 h 716071"/>
                <a:gd name="connsiteX763" fmla="*/ 277506 w 614938"/>
                <a:gd name="connsiteY763" fmla="*/ 393113 h 716071"/>
                <a:gd name="connsiteX764" fmla="*/ 274695 w 614938"/>
                <a:gd name="connsiteY764" fmla="*/ 391079 h 716071"/>
                <a:gd name="connsiteX765" fmla="*/ 301070 w 614938"/>
                <a:gd name="connsiteY765" fmla="*/ 357827 h 716071"/>
                <a:gd name="connsiteX766" fmla="*/ 274396 w 614938"/>
                <a:gd name="connsiteY766" fmla="*/ 390840 h 716071"/>
                <a:gd name="connsiteX767" fmla="*/ 271585 w 614938"/>
                <a:gd name="connsiteY767" fmla="*/ 388567 h 716071"/>
                <a:gd name="connsiteX768" fmla="*/ 298378 w 614938"/>
                <a:gd name="connsiteY768" fmla="*/ 355614 h 716071"/>
                <a:gd name="connsiteX769" fmla="*/ 301070 w 614938"/>
                <a:gd name="connsiteY769" fmla="*/ 357827 h 716071"/>
                <a:gd name="connsiteX770" fmla="*/ 274157 w 614938"/>
                <a:gd name="connsiteY770" fmla="*/ 391139 h 716071"/>
                <a:gd name="connsiteX771" fmla="*/ 247842 w 614938"/>
                <a:gd name="connsiteY771" fmla="*/ 423734 h 716071"/>
                <a:gd name="connsiteX772" fmla="*/ 244911 w 614938"/>
                <a:gd name="connsiteY772" fmla="*/ 421342 h 716071"/>
                <a:gd name="connsiteX773" fmla="*/ 271345 w 614938"/>
                <a:gd name="connsiteY773" fmla="*/ 388807 h 716071"/>
                <a:gd name="connsiteX774" fmla="*/ 274157 w 614938"/>
                <a:gd name="connsiteY774" fmla="*/ 391139 h 716071"/>
                <a:gd name="connsiteX775" fmla="*/ 247662 w 614938"/>
                <a:gd name="connsiteY775" fmla="*/ 424033 h 716071"/>
                <a:gd name="connsiteX776" fmla="*/ 221646 w 614938"/>
                <a:gd name="connsiteY776" fmla="*/ 456209 h 716071"/>
                <a:gd name="connsiteX777" fmla="*/ 218596 w 614938"/>
                <a:gd name="connsiteY777" fmla="*/ 453757 h 716071"/>
                <a:gd name="connsiteX778" fmla="*/ 244731 w 614938"/>
                <a:gd name="connsiteY778" fmla="*/ 421641 h 716071"/>
                <a:gd name="connsiteX779" fmla="*/ 247662 w 614938"/>
                <a:gd name="connsiteY779" fmla="*/ 424033 h 716071"/>
                <a:gd name="connsiteX780" fmla="*/ 221466 w 614938"/>
                <a:gd name="connsiteY780" fmla="*/ 456508 h 716071"/>
                <a:gd name="connsiteX781" fmla="*/ 195809 w 614938"/>
                <a:gd name="connsiteY781" fmla="*/ 488326 h 716071"/>
                <a:gd name="connsiteX782" fmla="*/ 192640 w 614938"/>
                <a:gd name="connsiteY782" fmla="*/ 485754 h 716071"/>
                <a:gd name="connsiteX783" fmla="*/ 218416 w 614938"/>
                <a:gd name="connsiteY783" fmla="*/ 454056 h 716071"/>
                <a:gd name="connsiteX784" fmla="*/ 221466 w 614938"/>
                <a:gd name="connsiteY784" fmla="*/ 456508 h 716071"/>
                <a:gd name="connsiteX785" fmla="*/ 195570 w 614938"/>
                <a:gd name="connsiteY785" fmla="*/ 488565 h 716071"/>
                <a:gd name="connsiteX786" fmla="*/ 170212 w 614938"/>
                <a:gd name="connsiteY786" fmla="*/ 519964 h 716071"/>
                <a:gd name="connsiteX787" fmla="*/ 166922 w 614938"/>
                <a:gd name="connsiteY787" fmla="*/ 517332 h 716071"/>
                <a:gd name="connsiteX788" fmla="*/ 192400 w 614938"/>
                <a:gd name="connsiteY788" fmla="*/ 485993 h 716071"/>
                <a:gd name="connsiteX789" fmla="*/ 195570 w 614938"/>
                <a:gd name="connsiteY789" fmla="*/ 488565 h 716071"/>
                <a:gd name="connsiteX790" fmla="*/ 169972 w 614938"/>
                <a:gd name="connsiteY790" fmla="*/ 520263 h 716071"/>
                <a:gd name="connsiteX791" fmla="*/ 144914 w 614938"/>
                <a:gd name="connsiteY791" fmla="*/ 551303 h 716071"/>
                <a:gd name="connsiteX792" fmla="*/ 141504 w 614938"/>
                <a:gd name="connsiteY792" fmla="*/ 548612 h 716071"/>
                <a:gd name="connsiteX793" fmla="*/ 166683 w 614938"/>
                <a:gd name="connsiteY793" fmla="*/ 517631 h 716071"/>
                <a:gd name="connsiteX794" fmla="*/ 169972 w 614938"/>
                <a:gd name="connsiteY794" fmla="*/ 520263 h 716071"/>
                <a:gd name="connsiteX795" fmla="*/ 144674 w 614938"/>
                <a:gd name="connsiteY795" fmla="*/ 551602 h 716071"/>
                <a:gd name="connsiteX796" fmla="*/ 119914 w 614938"/>
                <a:gd name="connsiteY796" fmla="*/ 582283 h 716071"/>
                <a:gd name="connsiteX797" fmla="*/ 116385 w 614938"/>
                <a:gd name="connsiteY797" fmla="*/ 579472 h 716071"/>
                <a:gd name="connsiteX798" fmla="*/ 141265 w 614938"/>
                <a:gd name="connsiteY798" fmla="*/ 548911 h 716071"/>
                <a:gd name="connsiteX799" fmla="*/ 144674 w 614938"/>
                <a:gd name="connsiteY799" fmla="*/ 551602 h 716071"/>
                <a:gd name="connsiteX800" fmla="*/ 119734 w 614938"/>
                <a:gd name="connsiteY800" fmla="*/ 582522 h 716071"/>
                <a:gd name="connsiteX801" fmla="*/ 95273 w 614938"/>
                <a:gd name="connsiteY801" fmla="*/ 612785 h 716071"/>
                <a:gd name="connsiteX802" fmla="*/ 91625 w 614938"/>
                <a:gd name="connsiteY802" fmla="*/ 609914 h 716071"/>
                <a:gd name="connsiteX803" fmla="*/ 116206 w 614938"/>
                <a:gd name="connsiteY803" fmla="*/ 579711 h 716071"/>
                <a:gd name="connsiteX804" fmla="*/ 119734 w 614938"/>
                <a:gd name="connsiteY804" fmla="*/ 582522 h 716071"/>
                <a:gd name="connsiteX805" fmla="*/ 95094 w 614938"/>
                <a:gd name="connsiteY805" fmla="*/ 613084 h 716071"/>
                <a:gd name="connsiteX806" fmla="*/ 70932 w 614938"/>
                <a:gd name="connsiteY806" fmla="*/ 642987 h 716071"/>
                <a:gd name="connsiteX807" fmla="*/ 67223 w 614938"/>
                <a:gd name="connsiteY807" fmla="*/ 639997 h 716071"/>
                <a:gd name="connsiteX808" fmla="*/ 91505 w 614938"/>
                <a:gd name="connsiteY808" fmla="*/ 610153 h 716071"/>
                <a:gd name="connsiteX809" fmla="*/ 95094 w 614938"/>
                <a:gd name="connsiteY809" fmla="*/ 613084 h 716071"/>
                <a:gd name="connsiteX810" fmla="*/ 70693 w 614938"/>
                <a:gd name="connsiteY810" fmla="*/ 643286 h 716071"/>
                <a:gd name="connsiteX811" fmla="*/ 46830 w 614938"/>
                <a:gd name="connsiteY811" fmla="*/ 672891 h 716071"/>
                <a:gd name="connsiteX812" fmla="*/ 43002 w 614938"/>
                <a:gd name="connsiteY812" fmla="*/ 669841 h 716071"/>
                <a:gd name="connsiteX813" fmla="*/ 66985 w 614938"/>
                <a:gd name="connsiteY813" fmla="*/ 640356 h 716071"/>
                <a:gd name="connsiteX814" fmla="*/ 70693 w 614938"/>
                <a:gd name="connsiteY814" fmla="*/ 643286 h 716071"/>
                <a:gd name="connsiteX815" fmla="*/ 31698 w 614938"/>
                <a:gd name="connsiteY815" fmla="*/ 694422 h 716071"/>
                <a:gd name="connsiteX816" fmla="*/ 32116 w 614938"/>
                <a:gd name="connsiteY816" fmla="*/ 693405 h 716071"/>
                <a:gd name="connsiteX817" fmla="*/ 46889 w 614938"/>
                <a:gd name="connsiteY817" fmla="*/ 673369 h 716071"/>
                <a:gd name="connsiteX818" fmla="*/ 51016 w 614938"/>
                <a:gd name="connsiteY818" fmla="*/ 675822 h 716071"/>
                <a:gd name="connsiteX819" fmla="*/ 36782 w 614938"/>
                <a:gd name="connsiteY819" fmla="*/ 696455 h 716071"/>
                <a:gd name="connsiteX820" fmla="*/ 36782 w 614938"/>
                <a:gd name="connsiteY820" fmla="*/ 696455 h 716071"/>
                <a:gd name="connsiteX821" fmla="*/ 36782 w 614938"/>
                <a:gd name="connsiteY821" fmla="*/ 696455 h 716071"/>
                <a:gd name="connsiteX822" fmla="*/ 36782 w 614938"/>
                <a:gd name="connsiteY822" fmla="*/ 696515 h 716071"/>
                <a:gd name="connsiteX823" fmla="*/ 36782 w 614938"/>
                <a:gd name="connsiteY823" fmla="*/ 696515 h 716071"/>
                <a:gd name="connsiteX824" fmla="*/ 37021 w 614938"/>
                <a:gd name="connsiteY824" fmla="*/ 697890 h 716071"/>
                <a:gd name="connsiteX825" fmla="*/ 31698 w 614938"/>
                <a:gd name="connsiteY825" fmla="*/ 694422 h 716071"/>
                <a:gd name="connsiteX826" fmla="*/ 51614 w 614938"/>
                <a:gd name="connsiteY826" fmla="*/ 675702 h 716071"/>
                <a:gd name="connsiteX827" fmla="*/ 75298 w 614938"/>
                <a:gd name="connsiteY827" fmla="*/ 646097 h 716071"/>
                <a:gd name="connsiteX828" fmla="*/ 79185 w 614938"/>
                <a:gd name="connsiteY828" fmla="*/ 647832 h 716071"/>
                <a:gd name="connsiteX829" fmla="*/ 55621 w 614938"/>
                <a:gd name="connsiteY829" fmla="*/ 677436 h 716071"/>
                <a:gd name="connsiteX830" fmla="*/ 51614 w 614938"/>
                <a:gd name="connsiteY830" fmla="*/ 675702 h 716071"/>
                <a:gd name="connsiteX831" fmla="*/ 75537 w 614938"/>
                <a:gd name="connsiteY831" fmla="*/ 645858 h 716071"/>
                <a:gd name="connsiteX832" fmla="*/ 99519 w 614938"/>
                <a:gd name="connsiteY832" fmla="*/ 615895 h 716071"/>
                <a:gd name="connsiteX833" fmla="*/ 103287 w 614938"/>
                <a:gd name="connsiteY833" fmla="*/ 617629 h 716071"/>
                <a:gd name="connsiteX834" fmla="*/ 79424 w 614938"/>
                <a:gd name="connsiteY834" fmla="*/ 647593 h 716071"/>
                <a:gd name="connsiteX835" fmla="*/ 75537 w 614938"/>
                <a:gd name="connsiteY835" fmla="*/ 645858 h 716071"/>
                <a:gd name="connsiteX836" fmla="*/ 99759 w 614938"/>
                <a:gd name="connsiteY836" fmla="*/ 615596 h 716071"/>
                <a:gd name="connsiteX837" fmla="*/ 124040 w 614938"/>
                <a:gd name="connsiteY837" fmla="*/ 585273 h 716071"/>
                <a:gd name="connsiteX838" fmla="*/ 127629 w 614938"/>
                <a:gd name="connsiteY838" fmla="*/ 587008 h 716071"/>
                <a:gd name="connsiteX839" fmla="*/ 103467 w 614938"/>
                <a:gd name="connsiteY839" fmla="*/ 617330 h 716071"/>
                <a:gd name="connsiteX840" fmla="*/ 99759 w 614938"/>
                <a:gd name="connsiteY840" fmla="*/ 615596 h 716071"/>
                <a:gd name="connsiteX841" fmla="*/ 124280 w 614938"/>
                <a:gd name="connsiteY841" fmla="*/ 584974 h 716071"/>
                <a:gd name="connsiteX842" fmla="*/ 148860 w 614938"/>
                <a:gd name="connsiteY842" fmla="*/ 554293 h 716071"/>
                <a:gd name="connsiteX843" fmla="*/ 152270 w 614938"/>
                <a:gd name="connsiteY843" fmla="*/ 556028 h 716071"/>
                <a:gd name="connsiteX844" fmla="*/ 127808 w 614938"/>
                <a:gd name="connsiteY844" fmla="*/ 586709 h 716071"/>
                <a:gd name="connsiteX845" fmla="*/ 124280 w 614938"/>
                <a:gd name="connsiteY845" fmla="*/ 584974 h 716071"/>
                <a:gd name="connsiteX846" fmla="*/ 149100 w 614938"/>
                <a:gd name="connsiteY846" fmla="*/ 553994 h 716071"/>
                <a:gd name="connsiteX847" fmla="*/ 173980 w 614938"/>
                <a:gd name="connsiteY847" fmla="*/ 522954 h 716071"/>
                <a:gd name="connsiteX848" fmla="*/ 177269 w 614938"/>
                <a:gd name="connsiteY848" fmla="*/ 524689 h 716071"/>
                <a:gd name="connsiteX849" fmla="*/ 152508 w 614938"/>
                <a:gd name="connsiteY849" fmla="*/ 555789 h 716071"/>
                <a:gd name="connsiteX850" fmla="*/ 149100 w 614938"/>
                <a:gd name="connsiteY850" fmla="*/ 553994 h 716071"/>
                <a:gd name="connsiteX851" fmla="*/ 174218 w 614938"/>
                <a:gd name="connsiteY851" fmla="*/ 522655 h 716071"/>
                <a:gd name="connsiteX852" fmla="*/ 199398 w 614938"/>
                <a:gd name="connsiteY852" fmla="*/ 491197 h 716071"/>
                <a:gd name="connsiteX853" fmla="*/ 202508 w 614938"/>
                <a:gd name="connsiteY853" fmla="*/ 492931 h 716071"/>
                <a:gd name="connsiteX854" fmla="*/ 177448 w 614938"/>
                <a:gd name="connsiteY854" fmla="*/ 524390 h 716071"/>
                <a:gd name="connsiteX855" fmla="*/ 174218 w 614938"/>
                <a:gd name="connsiteY855" fmla="*/ 522655 h 716071"/>
                <a:gd name="connsiteX856" fmla="*/ 199637 w 614938"/>
                <a:gd name="connsiteY856" fmla="*/ 490898 h 716071"/>
                <a:gd name="connsiteX857" fmla="*/ 225174 w 614938"/>
                <a:gd name="connsiteY857" fmla="*/ 459020 h 716071"/>
                <a:gd name="connsiteX858" fmla="*/ 228165 w 614938"/>
                <a:gd name="connsiteY858" fmla="*/ 460695 h 716071"/>
                <a:gd name="connsiteX859" fmla="*/ 202807 w 614938"/>
                <a:gd name="connsiteY859" fmla="*/ 492572 h 716071"/>
                <a:gd name="connsiteX860" fmla="*/ 199637 w 614938"/>
                <a:gd name="connsiteY860" fmla="*/ 490898 h 716071"/>
                <a:gd name="connsiteX861" fmla="*/ 225414 w 614938"/>
                <a:gd name="connsiteY861" fmla="*/ 458781 h 716071"/>
                <a:gd name="connsiteX862" fmla="*/ 251250 w 614938"/>
                <a:gd name="connsiteY862" fmla="*/ 426545 h 716071"/>
                <a:gd name="connsiteX863" fmla="*/ 254062 w 614938"/>
                <a:gd name="connsiteY863" fmla="*/ 428220 h 716071"/>
                <a:gd name="connsiteX864" fmla="*/ 228404 w 614938"/>
                <a:gd name="connsiteY864" fmla="*/ 460456 h 716071"/>
                <a:gd name="connsiteX865" fmla="*/ 225414 w 614938"/>
                <a:gd name="connsiteY865" fmla="*/ 458781 h 716071"/>
                <a:gd name="connsiteX866" fmla="*/ 251490 w 614938"/>
                <a:gd name="connsiteY866" fmla="*/ 426246 h 716071"/>
                <a:gd name="connsiteX867" fmla="*/ 277625 w 614938"/>
                <a:gd name="connsiteY867" fmla="*/ 393591 h 716071"/>
                <a:gd name="connsiteX868" fmla="*/ 280257 w 614938"/>
                <a:gd name="connsiteY868" fmla="*/ 395266 h 716071"/>
                <a:gd name="connsiteX869" fmla="*/ 254241 w 614938"/>
                <a:gd name="connsiteY869" fmla="*/ 427921 h 716071"/>
                <a:gd name="connsiteX870" fmla="*/ 251490 w 614938"/>
                <a:gd name="connsiteY870" fmla="*/ 426246 h 716071"/>
                <a:gd name="connsiteX871" fmla="*/ 277865 w 614938"/>
                <a:gd name="connsiteY871" fmla="*/ 393352 h 716071"/>
                <a:gd name="connsiteX872" fmla="*/ 304359 w 614938"/>
                <a:gd name="connsiteY872" fmla="*/ 360279 h 716071"/>
                <a:gd name="connsiteX873" fmla="*/ 306871 w 614938"/>
                <a:gd name="connsiteY873" fmla="*/ 361893 h 716071"/>
                <a:gd name="connsiteX874" fmla="*/ 280496 w 614938"/>
                <a:gd name="connsiteY874" fmla="*/ 394967 h 716071"/>
                <a:gd name="connsiteX875" fmla="*/ 277865 w 614938"/>
                <a:gd name="connsiteY875" fmla="*/ 393352 h 716071"/>
                <a:gd name="connsiteX876" fmla="*/ 304599 w 614938"/>
                <a:gd name="connsiteY876" fmla="*/ 359980 h 716071"/>
                <a:gd name="connsiteX877" fmla="*/ 331452 w 614938"/>
                <a:gd name="connsiteY877" fmla="*/ 326488 h 716071"/>
                <a:gd name="connsiteX878" fmla="*/ 333784 w 614938"/>
                <a:gd name="connsiteY878" fmla="*/ 328102 h 716071"/>
                <a:gd name="connsiteX879" fmla="*/ 307111 w 614938"/>
                <a:gd name="connsiteY879" fmla="*/ 361654 h 716071"/>
                <a:gd name="connsiteX880" fmla="*/ 304599 w 614938"/>
                <a:gd name="connsiteY880" fmla="*/ 359980 h 716071"/>
                <a:gd name="connsiteX881" fmla="*/ 331632 w 614938"/>
                <a:gd name="connsiteY881" fmla="*/ 326189 h 716071"/>
                <a:gd name="connsiteX882" fmla="*/ 358843 w 614938"/>
                <a:gd name="connsiteY882" fmla="*/ 292278 h 716071"/>
                <a:gd name="connsiteX883" fmla="*/ 361056 w 614938"/>
                <a:gd name="connsiteY883" fmla="*/ 293833 h 716071"/>
                <a:gd name="connsiteX884" fmla="*/ 334024 w 614938"/>
                <a:gd name="connsiteY884" fmla="*/ 327803 h 716071"/>
                <a:gd name="connsiteX885" fmla="*/ 331632 w 614938"/>
                <a:gd name="connsiteY885" fmla="*/ 326189 h 716071"/>
                <a:gd name="connsiteX886" fmla="*/ 358545 w 614938"/>
                <a:gd name="connsiteY886" fmla="*/ 292039 h 716071"/>
                <a:gd name="connsiteX887" fmla="*/ 331332 w 614938"/>
                <a:gd name="connsiteY887" fmla="*/ 325949 h 716071"/>
                <a:gd name="connsiteX888" fmla="*/ 328761 w 614938"/>
                <a:gd name="connsiteY888" fmla="*/ 324036 h 716071"/>
                <a:gd name="connsiteX889" fmla="*/ 356092 w 614938"/>
                <a:gd name="connsiteY889" fmla="*/ 290185 h 716071"/>
                <a:gd name="connsiteX890" fmla="*/ 358545 w 614938"/>
                <a:gd name="connsiteY890" fmla="*/ 292039 h 716071"/>
                <a:gd name="connsiteX891" fmla="*/ 328282 w 614938"/>
                <a:gd name="connsiteY891" fmla="*/ 324095 h 716071"/>
                <a:gd name="connsiteX892" fmla="*/ 301309 w 614938"/>
                <a:gd name="connsiteY892" fmla="*/ 357528 h 716071"/>
                <a:gd name="connsiteX893" fmla="*/ 298618 w 614938"/>
                <a:gd name="connsiteY893" fmla="*/ 355315 h 716071"/>
                <a:gd name="connsiteX894" fmla="*/ 325711 w 614938"/>
                <a:gd name="connsiteY894" fmla="*/ 321942 h 716071"/>
                <a:gd name="connsiteX895" fmla="*/ 328282 w 614938"/>
                <a:gd name="connsiteY895" fmla="*/ 324095 h 716071"/>
                <a:gd name="connsiteX896" fmla="*/ 325411 w 614938"/>
                <a:gd name="connsiteY896" fmla="*/ 321763 h 716071"/>
                <a:gd name="connsiteX897" fmla="*/ 298318 w 614938"/>
                <a:gd name="connsiteY897" fmla="*/ 355135 h 716071"/>
                <a:gd name="connsiteX898" fmla="*/ 295867 w 614938"/>
                <a:gd name="connsiteY898" fmla="*/ 352922 h 716071"/>
                <a:gd name="connsiteX899" fmla="*/ 323079 w 614938"/>
                <a:gd name="connsiteY899" fmla="*/ 319670 h 716071"/>
                <a:gd name="connsiteX900" fmla="*/ 325411 w 614938"/>
                <a:gd name="connsiteY900" fmla="*/ 321763 h 716071"/>
                <a:gd name="connsiteX901" fmla="*/ 298080 w 614938"/>
                <a:gd name="connsiteY901" fmla="*/ 355374 h 716071"/>
                <a:gd name="connsiteX902" fmla="*/ 271286 w 614938"/>
                <a:gd name="connsiteY902" fmla="*/ 388328 h 716071"/>
                <a:gd name="connsiteX903" fmla="*/ 268774 w 614938"/>
                <a:gd name="connsiteY903" fmla="*/ 385996 h 716071"/>
                <a:gd name="connsiteX904" fmla="*/ 295627 w 614938"/>
                <a:gd name="connsiteY904" fmla="*/ 353162 h 716071"/>
                <a:gd name="connsiteX905" fmla="*/ 298080 w 614938"/>
                <a:gd name="connsiteY905" fmla="*/ 355374 h 716071"/>
                <a:gd name="connsiteX906" fmla="*/ 271107 w 614938"/>
                <a:gd name="connsiteY906" fmla="*/ 388567 h 716071"/>
                <a:gd name="connsiteX907" fmla="*/ 244672 w 614938"/>
                <a:gd name="connsiteY907" fmla="*/ 421103 h 716071"/>
                <a:gd name="connsiteX908" fmla="*/ 242040 w 614938"/>
                <a:gd name="connsiteY908" fmla="*/ 418651 h 716071"/>
                <a:gd name="connsiteX909" fmla="*/ 268535 w 614938"/>
                <a:gd name="connsiteY909" fmla="*/ 386235 h 716071"/>
                <a:gd name="connsiteX910" fmla="*/ 271107 w 614938"/>
                <a:gd name="connsiteY910" fmla="*/ 388567 h 716071"/>
                <a:gd name="connsiteX911" fmla="*/ 244432 w 614938"/>
                <a:gd name="connsiteY911" fmla="*/ 421402 h 716071"/>
                <a:gd name="connsiteX912" fmla="*/ 218356 w 614938"/>
                <a:gd name="connsiteY912" fmla="*/ 453518 h 716071"/>
                <a:gd name="connsiteX913" fmla="*/ 215605 w 614938"/>
                <a:gd name="connsiteY913" fmla="*/ 450946 h 716071"/>
                <a:gd name="connsiteX914" fmla="*/ 241801 w 614938"/>
                <a:gd name="connsiteY914" fmla="*/ 418950 h 716071"/>
                <a:gd name="connsiteX915" fmla="*/ 244432 w 614938"/>
                <a:gd name="connsiteY915" fmla="*/ 421402 h 716071"/>
                <a:gd name="connsiteX916" fmla="*/ 218118 w 614938"/>
                <a:gd name="connsiteY916" fmla="*/ 453757 h 716071"/>
                <a:gd name="connsiteX917" fmla="*/ 192340 w 614938"/>
                <a:gd name="connsiteY917" fmla="*/ 485455 h 716071"/>
                <a:gd name="connsiteX918" fmla="*/ 189529 w 614938"/>
                <a:gd name="connsiteY918" fmla="*/ 482764 h 716071"/>
                <a:gd name="connsiteX919" fmla="*/ 215426 w 614938"/>
                <a:gd name="connsiteY919" fmla="*/ 451186 h 716071"/>
                <a:gd name="connsiteX920" fmla="*/ 218118 w 614938"/>
                <a:gd name="connsiteY920" fmla="*/ 453757 h 716071"/>
                <a:gd name="connsiteX921" fmla="*/ 192101 w 614938"/>
                <a:gd name="connsiteY921" fmla="*/ 485754 h 716071"/>
                <a:gd name="connsiteX922" fmla="*/ 166624 w 614938"/>
                <a:gd name="connsiteY922" fmla="*/ 517093 h 716071"/>
                <a:gd name="connsiteX923" fmla="*/ 163752 w 614938"/>
                <a:gd name="connsiteY923" fmla="*/ 514282 h 716071"/>
                <a:gd name="connsiteX924" fmla="*/ 189290 w 614938"/>
                <a:gd name="connsiteY924" fmla="*/ 483063 h 716071"/>
                <a:gd name="connsiteX925" fmla="*/ 192101 w 614938"/>
                <a:gd name="connsiteY925" fmla="*/ 485754 h 716071"/>
                <a:gd name="connsiteX926" fmla="*/ 166444 w 614938"/>
                <a:gd name="connsiteY926" fmla="*/ 517392 h 716071"/>
                <a:gd name="connsiteX927" fmla="*/ 141265 w 614938"/>
                <a:gd name="connsiteY927" fmla="*/ 548372 h 716071"/>
                <a:gd name="connsiteX928" fmla="*/ 138274 w 614938"/>
                <a:gd name="connsiteY928" fmla="*/ 545442 h 716071"/>
                <a:gd name="connsiteX929" fmla="*/ 163513 w 614938"/>
                <a:gd name="connsiteY929" fmla="*/ 514581 h 716071"/>
                <a:gd name="connsiteX930" fmla="*/ 166444 w 614938"/>
                <a:gd name="connsiteY930" fmla="*/ 517392 h 716071"/>
                <a:gd name="connsiteX931" fmla="*/ 141026 w 614938"/>
                <a:gd name="connsiteY931" fmla="*/ 548612 h 716071"/>
                <a:gd name="connsiteX932" fmla="*/ 116146 w 614938"/>
                <a:gd name="connsiteY932" fmla="*/ 579173 h 716071"/>
                <a:gd name="connsiteX933" fmla="*/ 113096 w 614938"/>
                <a:gd name="connsiteY933" fmla="*/ 576123 h 716071"/>
                <a:gd name="connsiteX934" fmla="*/ 138036 w 614938"/>
                <a:gd name="connsiteY934" fmla="*/ 545681 h 716071"/>
                <a:gd name="connsiteX935" fmla="*/ 141026 w 614938"/>
                <a:gd name="connsiteY935" fmla="*/ 548612 h 716071"/>
                <a:gd name="connsiteX936" fmla="*/ 115966 w 614938"/>
                <a:gd name="connsiteY936" fmla="*/ 579472 h 716071"/>
                <a:gd name="connsiteX937" fmla="*/ 91386 w 614938"/>
                <a:gd name="connsiteY937" fmla="*/ 609675 h 716071"/>
                <a:gd name="connsiteX938" fmla="*/ 88276 w 614938"/>
                <a:gd name="connsiteY938" fmla="*/ 606505 h 716071"/>
                <a:gd name="connsiteX939" fmla="*/ 112916 w 614938"/>
                <a:gd name="connsiteY939" fmla="*/ 576422 h 716071"/>
                <a:gd name="connsiteX940" fmla="*/ 115966 w 614938"/>
                <a:gd name="connsiteY940" fmla="*/ 579472 h 716071"/>
                <a:gd name="connsiteX941" fmla="*/ 91146 w 614938"/>
                <a:gd name="connsiteY941" fmla="*/ 609974 h 716071"/>
                <a:gd name="connsiteX942" fmla="*/ 66865 w 614938"/>
                <a:gd name="connsiteY942" fmla="*/ 639818 h 716071"/>
                <a:gd name="connsiteX943" fmla="*/ 63635 w 614938"/>
                <a:gd name="connsiteY943" fmla="*/ 636528 h 716071"/>
                <a:gd name="connsiteX944" fmla="*/ 87977 w 614938"/>
                <a:gd name="connsiteY944" fmla="*/ 606804 h 716071"/>
                <a:gd name="connsiteX945" fmla="*/ 91146 w 614938"/>
                <a:gd name="connsiteY945" fmla="*/ 609974 h 716071"/>
                <a:gd name="connsiteX946" fmla="*/ 66685 w 614938"/>
                <a:gd name="connsiteY946" fmla="*/ 640117 h 716071"/>
                <a:gd name="connsiteX947" fmla="*/ 42702 w 614938"/>
                <a:gd name="connsiteY947" fmla="*/ 669602 h 716071"/>
                <a:gd name="connsiteX948" fmla="*/ 39413 w 614938"/>
                <a:gd name="connsiteY948" fmla="*/ 666252 h 716071"/>
                <a:gd name="connsiteX949" fmla="*/ 63456 w 614938"/>
                <a:gd name="connsiteY949" fmla="*/ 636887 h 716071"/>
                <a:gd name="connsiteX950" fmla="*/ 66685 w 614938"/>
                <a:gd name="connsiteY950" fmla="*/ 640117 h 716071"/>
                <a:gd name="connsiteX951" fmla="*/ 21052 w 614938"/>
                <a:gd name="connsiteY951" fmla="*/ 685450 h 716071"/>
                <a:gd name="connsiteX952" fmla="*/ 25658 w 614938"/>
                <a:gd name="connsiteY952" fmla="*/ 689936 h 716071"/>
                <a:gd name="connsiteX953" fmla="*/ 25000 w 614938"/>
                <a:gd name="connsiteY953" fmla="*/ 690534 h 716071"/>
                <a:gd name="connsiteX954" fmla="*/ 20215 w 614938"/>
                <a:gd name="connsiteY954" fmla="*/ 685869 h 716071"/>
                <a:gd name="connsiteX955" fmla="*/ 21052 w 614938"/>
                <a:gd name="connsiteY955" fmla="*/ 685450 h 716071"/>
                <a:gd name="connsiteX956" fmla="*/ 26017 w 614938"/>
                <a:gd name="connsiteY956" fmla="*/ 690235 h 716071"/>
                <a:gd name="connsiteX957" fmla="*/ 31220 w 614938"/>
                <a:gd name="connsiteY957" fmla="*/ 694422 h 716071"/>
                <a:gd name="connsiteX958" fmla="*/ 30741 w 614938"/>
                <a:gd name="connsiteY958" fmla="*/ 695139 h 716071"/>
                <a:gd name="connsiteX959" fmla="*/ 25299 w 614938"/>
                <a:gd name="connsiteY959" fmla="*/ 690773 h 716071"/>
                <a:gd name="connsiteX960" fmla="*/ 26017 w 614938"/>
                <a:gd name="connsiteY960" fmla="*/ 690235 h 716071"/>
                <a:gd name="connsiteX961" fmla="*/ 31160 w 614938"/>
                <a:gd name="connsiteY961" fmla="*/ 695379 h 716071"/>
                <a:gd name="connsiteX962" fmla="*/ 31638 w 614938"/>
                <a:gd name="connsiteY962" fmla="*/ 694661 h 716071"/>
                <a:gd name="connsiteX963" fmla="*/ 37081 w 614938"/>
                <a:gd name="connsiteY963" fmla="*/ 698249 h 716071"/>
                <a:gd name="connsiteX964" fmla="*/ 36841 w 614938"/>
                <a:gd name="connsiteY964" fmla="*/ 699087 h 716071"/>
                <a:gd name="connsiteX965" fmla="*/ 31160 w 614938"/>
                <a:gd name="connsiteY965" fmla="*/ 695379 h 716071"/>
                <a:gd name="connsiteX966" fmla="*/ 35705 w 614938"/>
                <a:gd name="connsiteY966" fmla="*/ 700941 h 716071"/>
                <a:gd name="connsiteX967" fmla="*/ 35705 w 614938"/>
                <a:gd name="connsiteY967" fmla="*/ 700821 h 716071"/>
                <a:gd name="connsiteX968" fmla="*/ 37320 w 614938"/>
                <a:gd name="connsiteY968" fmla="*/ 701299 h 716071"/>
                <a:gd name="connsiteX969" fmla="*/ 37320 w 614938"/>
                <a:gd name="connsiteY969" fmla="*/ 701598 h 716071"/>
                <a:gd name="connsiteX970" fmla="*/ 35705 w 614938"/>
                <a:gd name="connsiteY970" fmla="*/ 700941 h 716071"/>
                <a:gd name="connsiteX971" fmla="*/ 36423 w 614938"/>
                <a:gd name="connsiteY971" fmla="*/ 700701 h 716071"/>
                <a:gd name="connsiteX972" fmla="*/ 37201 w 614938"/>
                <a:gd name="connsiteY972" fmla="*/ 700881 h 716071"/>
                <a:gd name="connsiteX973" fmla="*/ 37201 w 614938"/>
                <a:gd name="connsiteY973" fmla="*/ 700941 h 716071"/>
                <a:gd name="connsiteX974" fmla="*/ 36423 w 614938"/>
                <a:gd name="connsiteY974" fmla="*/ 700701 h 716071"/>
                <a:gd name="connsiteX975" fmla="*/ 35286 w 614938"/>
                <a:gd name="connsiteY975" fmla="*/ 701240 h 716071"/>
                <a:gd name="connsiteX976" fmla="*/ 35286 w 614938"/>
                <a:gd name="connsiteY976" fmla="*/ 701359 h 716071"/>
                <a:gd name="connsiteX977" fmla="*/ 34988 w 614938"/>
                <a:gd name="connsiteY977" fmla="*/ 701240 h 716071"/>
                <a:gd name="connsiteX978" fmla="*/ 35286 w 614938"/>
                <a:gd name="connsiteY978" fmla="*/ 701240 h 716071"/>
                <a:gd name="connsiteX979" fmla="*/ 35646 w 614938"/>
                <a:gd name="connsiteY979" fmla="*/ 701539 h 716071"/>
                <a:gd name="connsiteX980" fmla="*/ 35705 w 614938"/>
                <a:gd name="connsiteY980" fmla="*/ 701299 h 716071"/>
                <a:gd name="connsiteX981" fmla="*/ 37320 w 614938"/>
                <a:gd name="connsiteY981" fmla="*/ 701897 h 716071"/>
                <a:gd name="connsiteX982" fmla="*/ 37201 w 614938"/>
                <a:gd name="connsiteY982" fmla="*/ 702316 h 716071"/>
                <a:gd name="connsiteX983" fmla="*/ 35646 w 614938"/>
                <a:gd name="connsiteY983" fmla="*/ 701539 h 716071"/>
                <a:gd name="connsiteX984" fmla="*/ 37141 w 614938"/>
                <a:gd name="connsiteY984" fmla="*/ 699326 h 716071"/>
                <a:gd name="connsiteX985" fmla="*/ 37380 w 614938"/>
                <a:gd name="connsiteY985" fmla="*/ 698489 h 716071"/>
                <a:gd name="connsiteX986" fmla="*/ 42643 w 614938"/>
                <a:gd name="connsiteY986" fmla="*/ 701240 h 716071"/>
                <a:gd name="connsiteX987" fmla="*/ 42583 w 614938"/>
                <a:gd name="connsiteY987" fmla="*/ 702197 h 716071"/>
                <a:gd name="connsiteX988" fmla="*/ 37141 w 614938"/>
                <a:gd name="connsiteY988" fmla="*/ 699326 h 716071"/>
                <a:gd name="connsiteX989" fmla="*/ 42942 w 614938"/>
                <a:gd name="connsiteY989" fmla="*/ 702316 h 716071"/>
                <a:gd name="connsiteX990" fmla="*/ 43002 w 614938"/>
                <a:gd name="connsiteY990" fmla="*/ 701359 h 716071"/>
                <a:gd name="connsiteX991" fmla="*/ 47667 w 614938"/>
                <a:gd name="connsiteY991" fmla="*/ 703034 h 716071"/>
                <a:gd name="connsiteX992" fmla="*/ 47786 w 614938"/>
                <a:gd name="connsiteY992" fmla="*/ 704051 h 716071"/>
                <a:gd name="connsiteX993" fmla="*/ 42942 w 614938"/>
                <a:gd name="connsiteY993" fmla="*/ 702316 h 716071"/>
                <a:gd name="connsiteX994" fmla="*/ 56039 w 614938"/>
                <a:gd name="connsiteY994" fmla="*/ 677556 h 716071"/>
                <a:gd name="connsiteX995" fmla="*/ 79544 w 614938"/>
                <a:gd name="connsiteY995" fmla="*/ 648011 h 716071"/>
                <a:gd name="connsiteX996" fmla="*/ 83072 w 614938"/>
                <a:gd name="connsiteY996" fmla="*/ 648908 h 716071"/>
                <a:gd name="connsiteX997" fmla="*/ 59688 w 614938"/>
                <a:gd name="connsiteY997" fmla="*/ 678393 h 716071"/>
                <a:gd name="connsiteX998" fmla="*/ 56039 w 614938"/>
                <a:gd name="connsiteY998" fmla="*/ 677556 h 716071"/>
                <a:gd name="connsiteX999" fmla="*/ 79783 w 614938"/>
                <a:gd name="connsiteY999" fmla="*/ 647652 h 716071"/>
                <a:gd name="connsiteX1000" fmla="*/ 103587 w 614938"/>
                <a:gd name="connsiteY1000" fmla="*/ 617749 h 716071"/>
                <a:gd name="connsiteX1001" fmla="*/ 106935 w 614938"/>
                <a:gd name="connsiteY1001" fmla="*/ 618706 h 716071"/>
                <a:gd name="connsiteX1002" fmla="*/ 83252 w 614938"/>
                <a:gd name="connsiteY1002" fmla="*/ 648609 h 716071"/>
                <a:gd name="connsiteX1003" fmla="*/ 79783 w 614938"/>
                <a:gd name="connsiteY1003" fmla="*/ 647652 h 716071"/>
                <a:gd name="connsiteX1004" fmla="*/ 103885 w 614938"/>
                <a:gd name="connsiteY1004" fmla="*/ 617450 h 716071"/>
                <a:gd name="connsiteX1005" fmla="*/ 127988 w 614938"/>
                <a:gd name="connsiteY1005" fmla="*/ 587127 h 716071"/>
                <a:gd name="connsiteX1006" fmla="*/ 131158 w 614938"/>
                <a:gd name="connsiteY1006" fmla="*/ 588084 h 716071"/>
                <a:gd name="connsiteX1007" fmla="*/ 107175 w 614938"/>
                <a:gd name="connsiteY1007" fmla="*/ 618347 h 716071"/>
                <a:gd name="connsiteX1008" fmla="*/ 103885 w 614938"/>
                <a:gd name="connsiteY1008" fmla="*/ 617450 h 716071"/>
                <a:gd name="connsiteX1009" fmla="*/ 128227 w 614938"/>
                <a:gd name="connsiteY1009" fmla="*/ 586828 h 716071"/>
                <a:gd name="connsiteX1010" fmla="*/ 152628 w 614938"/>
                <a:gd name="connsiteY1010" fmla="*/ 556147 h 716071"/>
                <a:gd name="connsiteX1011" fmla="*/ 155678 w 614938"/>
                <a:gd name="connsiteY1011" fmla="*/ 557164 h 716071"/>
                <a:gd name="connsiteX1012" fmla="*/ 131397 w 614938"/>
                <a:gd name="connsiteY1012" fmla="*/ 587785 h 716071"/>
                <a:gd name="connsiteX1013" fmla="*/ 128227 w 614938"/>
                <a:gd name="connsiteY1013" fmla="*/ 586828 h 716071"/>
                <a:gd name="connsiteX1014" fmla="*/ 152868 w 614938"/>
                <a:gd name="connsiteY1014" fmla="*/ 555908 h 716071"/>
                <a:gd name="connsiteX1015" fmla="*/ 177568 w 614938"/>
                <a:gd name="connsiteY1015" fmla="*/ 524868 h 716071"/>
                <a:gd name="connsiteX1016" fmla="*/ 180439 w 614938"/>
                <a:gd name="connsiteY1016" fmla="*/ 525945 h 716071"/>
                <a:gd name="connsiteX1017" fmla="*/ 155858 w 614938"/>
                <a:gd name="connsiteY1017" fmla="*/ 556985 h 716071"/>
                <a:gd name="connsiteX1018" fmla="*/ 152868 w 614938"/>
                <a:gd name="connsiteY1018" fmla="*/ 555908 h 716071"/>
                <a:gd name="connsiteX1019" fmla="*/ 177867 w 614938"/>
                <a:gd name="connsiteY1019" fmla="*/ 524509 h 716071"/>
                <a:gd name="connsiteX1020" fmla="*/ 202926 w 614938"/>
                <a:gd name="connsiteY1020" fmla="*/ 493051 h 716071"/>
                <a:gd name="connsiteX1021" fmla="*/ 205617 w 614938"/>
                <a:gd name="connsiteY1021" fmla="*/ 494127 h 716071"/>
                <a:gd name="connsiteX1022" fmla="*/ 180738 w 614938"/>
                <a:gd name="connsiteY1022" fmla="*/ 525526 h 716071"/>
                <a:gd name="connsiteX1023" fmla="*/ 177867 w 614938"/>
                <a:gd name="connsiteY1023" fmla="*/ 524509 h 716071"/>
                <a:gd name="connsiteX1024" fmla="*/ 203106 w 614938"/>
                <a:gd name="connsiteY1024" fmla="*/ 492811 h 716071"/>
                <a:gd name="connsiteX1025" fmla="*/ 228464 w 614938"/>
                <a:gd name="connsiteY1025" fmla="*/ 460994 h 716071"/>
                <a:gd name="connsiteX1026" fmla="*/ 231035 w 614938"/>
                <a:gd name="connsiteY1026" fmla="*/ 462130 h 716071"/>
                <a:gd name="connsiteX1027" fmla="*/ 205857 w 614938"/>
                <a:gd name="connsiteY1027" fmla="*/ 493948 h 716071"/>
                <a:gd name="connsiteX1028" fmla="*/ 203106 w 614938"/>
                <a:gd name="connsiteY1028" fmla="*/ 492811 h 716071"/>
                <a:gd name="connsiteX1029" fmla="*/ 228703 w 614938"/>
                <a:gd name="connsiteY1029" fmla="*/ 460635 h 716071"/>
                <a:gd name="connsiteX1030" fmla="*/ 254360 w 614938"/>
                <a:gd name="connsiteY1030" fmla="*/ 428399 h 716071"/>
                <a:gd name="connsiteX1031" fmla="*/ 256753 w 614938"/>
                <a:gd name="connsiteY1031" fmla="*/ 429535 h 716071"/>
                <a:gd name="connsiteX1032" fmla="*/ 231215 w 614938"/>
                <a:gd name="connsiteY1032" fmla="*/ 461772 h 716071"/>
                <a:gd name="connsiteX1033" fmla="*/ 228703 w 614938"/>
                <a:gd name="connsiteY1033" fmla="*/ 460635 h 716071"/>
                <a:gd name="connsiteX1034" fmla="*/ 254600 w 614938"/>
                <a:gd name="connsiteY1034" fmla="*/ 428100 h 716071"/>
                <a:gd name="connsiteX1035" fmla="*/ 280616 w 614938"/>
                <a:gd name="connsiteY1035" fmla="*/ 395445 h 716071"/>
                <a:gd name="connsiteX1036" fmla="*/ 282888 w 614938"/>
                <a:gd name="connsiteY1036" fmla="*/ 396582 h 716071"/>
                <a:gd name="connsiteX1037" fmla="*/ 257052 w 614938"/>
                <a:gd name="connsiteY1037" fmla="*/ 429236 h 716071"/>
                <a:gd name="connsiteX1038" fmla="*/ 254600 w 614938"/>
                <a:gd name="connsiteY1038" fmla="*/ 428100 h 716071"/>
                <a:gd name="connsiteX1039" fmla="*/ 280855 w 614938"/>
                <a:gd name="connsiteY1039" fmla="*/ 395146 h 716071"/>
                <a:gd name="connsiteX1040" fmla="*/ 307171 w 614938"/>
                <a:gd name="connsiteY1040" fmla="*/ 362073 h 716071"/>
                <a:gd name="connsiteX1041" fmla="*/ 309264 w 614938"/>
                <a:gd name="connsiteY1041" fmla="*/ 363209 h 716071"/>
                <a:gd name="connsiteX1042" fmla="*/ 283068 w 614938"/>
                <a:gd name="connsiteY1042" fmla="*/ 396283 h 716071"/>
                <a:gd name="connsiteX1043" fmla="*/ 280855 w 614938"/>
                <a:gd name="connsiteY1043" fmla="*/ 395146 h 716071"/>
                <a:gd name="connsiteX1044" fmla="*/ 307409 w 614938"/>
                <a:gd name="connsiteY1044" fmla="*/ 361774 h 716071"/>
                <a:gd name="connsiteX1045" fmla="*/ 334084 w 614938"/>
                <a:gd name="connsiteY1045" fmla="*/ 328282 h 716071"/>
                <a:gd name="connsiteX1046" fmla="*/ 336057 w 614938"/>
                <a:gd name="connsiteY1046" fmla="*/ 329418 h 716071"/>
                <a:gd name="connsiteX1047" fmla="*/ 309502 w 614938"/>
                <a:gd name="connsiteY1047" fmla="*/ 362910 h 716071"/>
                <a:gd name="connsiteX1048" fmla="*/ 307409 w 614938"/>
                <a:gd name="connsiteY1048" fmla="*/ 361774 h 716071"/>
                <a:gd name="connsiteX1049" fmla="*/ 334323 w 614938"/>
                <a:gd name="connsiteY1049" fmla="*/ 327983 h 716071"/>
                <a:gd name="connsiteX1050" fmla="*/ 361356 w 614938"/>
                <a:gd name="connsiteY1050" fmla="*/ 294012 h 716071"/>
                <a:gd name="connsiteX1051" fmla="*/ 363210 w 614938"/>
                <a:gd name="connsiteY1051" fmla="*/ 295149 h 716071"/>
                <a:gd name="connsiteX1052" fmla="*/ 336297 w 614938"/>
                <a:gd name="connsiteY1052" fmla="*/ 329119 h 716071"/>
                <a:gd name="connsiteX1053" fmla="*/ 334323 w 614938"/>
                <a:gd name="connsiteY1053" fmla="*/ 327983 h 716071"/>
                <a:gd name="connsiteX1054" fmla="*/ 386774 w 614938"/>
                <a:gd name="connsiteY1054" fmla="*/ 257350 h 716071"/>
                <a:gd name="connsiteX1055" fmla="*/ 412610 w 614938"/>
                <a:gd name="connsiteY1055" fmla="*/ 225114 h 716071"/>
                <a:gd name="connsiteX1056" fmla="*/ 414524 w 614938"/>
                <a:gd name="connsiteY1056" fmla="*/ 226610 h 716071"/>
                <a:gd name="connsiteX1057" fmla="*/ 388867 w 614938"/>
                <a:gd name="connsiteY1057" fmla="*/ 258846 h 716071"/>
                <a:gd name="connsiteX1058" fmla="*/ 386774 w 614938"/>
                <a:gd name="connsiteY1058" fmla="*/ 257350 h 716071"/>
                <a:gd name="connsiteX1059" fmla="*/ 386295 w 614938"/>
                <a:gd name="connsiteY1059" fmla="*/ 257410 h 716071"/>
                <a:gd name="connsiteX1060" fmla="*/ 358783 w 614938"/>
                <a:gd name="connsiteY1060" fmla="*/ 291799 h 716071"/>
                <a:gd name="connsiteX1061" fmla="*/ 356392 w 614938"/>
                <a:gd name="connsiteY1061" fmla="*/ 289945 h 716071"/>
                <a:gd name="connsiteX1062" fmla="*/ 384083 w 614938"/>
                <a:gd name="connsiteY1062" fmla="*/ 255676 h 716071"/>
                <a:gd name="connsiteX1063" fmla="*/ 386295 w 614938"/>
                <a:gd name="connsiteY1063" fmla="*/ 257410 h 716071"/>
                <a:gd name="connsiteX1064" fmla="*/ 355793 w 614938"/>
                <a:gd name="connsiteY1064" fmla="*/ 289945 h 716071"/>
                <a:gd name="connsiteX1065" fmla="*/ 328462 w 614938"/>
                <a:gd name="connsiteY1065" fmla="*/ 323796 h 716071"/>
                <a:gd name="connsiteX1066" fmla="*/ 325890 w 614938"/>
                <a:gd name="connsiteY1066" fmla="*/ 321703 h 716071"/>
                <a:gd name="connsiteX1067" fmla="*/ 353342 w 614938"/>
                <a:gd name="connsiteY1067" fmla="*/ 287912 h 716071"/>
                <a:gd name="connsiteX1068" fmla="*/ 355793 w 614938"/>
                <a:gd name="connsiteY1068" fmla="*/ 289945 h 716071"/>
                <a:gd name="connsiteX1069" fmla="*/ 353102 w 614938"/>
                <a:gd name="connsiteY1069" fmla="*/ 287733 h 716071"/>
                <a:gd name="connsiteX1070" fmla="*/ 325651 w 614938"/>
                <a:gd name="connsiteY1070" fmla="*/ 321524 h 716071"/>
                <a:gd name="connsiteX1071" fmla="*/ 323318 w 614938"/>
                <a:gd name="connsiteY1071" fmla="*/ 319430 h 716071"/>
                <a:gd name="connsiteX1072" fmla="*/ 350889 w 614938"/>
                <a:gd name="connsiteY1072" fmla="*/ 285759 h 716071"/>
                <a:gd name="connsiteX1073" fmla="*/ 353102 w 614938"/>
                <a:gd name="connsiteY1073" fmla="*/ 287733 h 716071"/>
                <a:gd name="connsiteX1074" fmla="*/ 350590 w 614938"/>
                <a:gd name="connsiteY1074" fmla="*/ 285460 h 716071"/>
                <a:gd name="connsiteX1075" fmla="*/ 323019 w 614938"/>
                <a:gd name="connsiteY1075" fmla="*/ 319131 h 716071"/>
                <a:gd name="connsiteX1076" fmla="*/ 321046 w 614938"/>
                <a:gd name="connsiteY1076" fmla="*/ 317158 h 716071"/>
                <a:gd name="connsiteX1077" fmla="*/ 348676 w 614938"/>
                <a:gd name="connsiteY1077" fmla="*/ 283606 h 716071"/>
                <a:gd name="connsiteX1078" fmla="*/ 350590 w 614938"/>
                <a:gd name="connsiteY1078" fmla="*/ 285460 h 716071"/>
                <a:gd name="connsiteX1079" fmla="*/ 322780 w 614938"/>
                <a:gd name="connsiteY1079" fmla="*/ 319430 h 716071"/>
                <a:gd name="connsiteX1080" fmla="*/ 295568 w 614938"/>
                <a:gd name="connsiteY1080" fmla="*/ 352683 h 716071"/>
                <a:gd name="connsiteX1081" fmla="*/ 293534 w 614938"/>
                <a:gd name="connsiteY1081" fmla="*/ 350590 h 716071"/>
                <a:gd name="connsiteX1082" fmla="*/ 320806 w 614938"/>
                <a:gd name="connsiteY1082" fmla="*/ 317516 h 716071"/>
                <a:gd name="connsiteX1083" fmla="*/ 322780 w 614938"/>
                <a:gd name="connsiteY1083" fmla="*/ 319430 h 716071"/>
                <a:gd name="connsiteX1084" fmla="*/ 295388 w 614938"/>
                <a:gd name="connsiteY1084" fmla="*/ 352922 h 716071"/>
                <a:gd name="connsiteX1085" fmla="*/ 268535 w 614938"/>
                <a:gd name="connsiteY1085" fmla="*/ 385757 h 716071"/>
                <a:gd name="connsiteX1086" fmla="*/ 266441 w 614938"/>
                <a:gd name="connsiteY1086" fmla="*/ 383544 h 716071"/>
                <a:gd name="connsiteX1087" fmla="*/ 293355 w 614938"/>
                <a:gd name="connsiteY1087" fmla="*/ 350889 h 716071"/>
                <a:gd name="connsiteX1088" fmla="*/ 295388 w 614938"/>
                <a:gd name="connsiteY1088" fmla="*/ 352922 h 716071"/>
                <a:gd name="connsiteX1089" fmla="*/ 268296 w 614938"/>
                <a:gd name="connsiteY1089" fmla="*/ 385996 h 716071"/>
                <a:gd name="connsiteX1090" fmla="*/ 241801 w 614938"/>
                <a:gd name="connsiteY1090" fmla="*/ 418411 h 716071"/>
                <a:gd name="connsiteX1091" fmla="*/ 239648 w 614938"/>
                <a:gd name="connsiteY1091" fmla="*/ 416079 h 716071"/>
                <a:gd name="connsiteX1092" fmla="*/ 266202 w 614938"/>
                <a:gd name="connsiteY1092" fmla="*/ 383843 h 716071"/>
                <a:gd name="connsiteX1093" fmla="*/ 268296 w 614938"/>
                <a:gd name="connsiteY1093" fmla="*/ 385996 h 716071"/>
                <a:gd name="connsiteX1094" fmla="*/ 241561 w 614938"/>
                <a:gd name="connsiteY1094" fmla="*/ 418651 h 716071"/>
                <a:gd name="connsiteX1095" fmla="*/ 215366 w 614938"/>
                <a:gd name="connsiteY1095" fmla="*/ 450647 h 716071"/>
                <a:gd name="connsiteX1096" fmla="*/ 213153 w 614938"/>
                <a:gd name="connsiteY1096" fmla="*/ 448195 h 716071"/>
                <a:gd name="connsiteX1097" fmla="*/ 239408 w 614938"/>
                <a:gd name="connsiteY1097" fmla="*/ 416318 h 716071"/>
                <a:gd name="connsiteX1098" fmla="*/ 241561 w 614938"/>
                <a:gd name="connsiteY1098" fmla="*/ 418651 h 716071"/>
                <a:gd name="connsiteX1099" fmla="*/ 215127 w 614938"/>
                <a:gd name="connsiteY1099" fmla="*/ 450946 h 716071"/>
                <a:gd name="connsiteX1100" fmla="*/ 189290 w 614938"/>
                <a:gd name="connsiteY1100" fmla="*/ 482525 h 716071"/>
                <a:gd name="connsiteX1101" fmla="*/ 187017 w 614938"/>
                <a:gd name="connsiteY1101" fmla="*/ 479893 h 716071"/>
                <a:gd name="connsiteX1102" fmla="*/ 212914 w 614938"/>
                <a:gd name="connsiteY1102" fmla="*/ 448434 h 716071"/>
                <a:gd name="connsiteX1103" fmla="*/ 215127 w 614938"/>
                <a:gd name="connsiteY1103" fmla="*/ 450946 h 716071"/>
                <a:gd name="connsiteX1104" fmla="*/ 189051 w 614938"/>
                <a:gd name="connsiteY1104" fmla="*/ 482824 h 716071"/>
                <a:gd name="connsiteX1105" fmla="*/ 163513 w 614938"/>
                <a:gd name="connsiteY1105" fmla="*/ 514043 h 716071"/>
                <a:gd name="connsiteX1106" fmla="*/ 161241 w 614938"/>
                <a:gd name="connsiteY1106" fmla="*/ 511292 h 716071"/>
                <a:gd name="connsiteX1107" fmla="*/ 186838 w 614938"/>
                <a:gd name="connsiteY1107" fmla="*/ 480192 h 716071"/>
                <a:gd name="connsiteX1108" fmla="*/ 189051 w 614938"/>
                <a:gd name="connsiteY1108" fmla="*/ 482824 h 716071"/>
                <a:gd name="connsiteX1109" fmla="*/ 163274 w 614938"/>
                <a:gd name="connsiteY1109" fmla="*/ 514282 h 716071"/>
                <a:gd name="connsiteX1110" fmla="*/ 138036 w 614938"/>
                <a:gd name="connsiteY1110" fmla="*/ 545083 h 716071"/>
                <a:gd name="connsiteX1111" fmla="*/ 135703 w 614938"/>
                <a:gd name="connsiteY1111" fmla="*/ 542212 h 716071"/>
                <a:gd name="connsiteX1112" fmla="*/ 161001 w 614938"/>
                <a:gd name="connsiteY1112" fmla="*/ 511531 h 716071"/>
                <a:gd name="connsiteX1113" fmla="*/ 163274 w 614938"/>
                <a:gd name="connsiteY1113" fmla="*/ 514282 h 716071"/>
                <a:gd name="connsiteX1114" fmla="*/ 137796 w 614938"/>
                <a:gd name="connsiteY1114" fmla="*/ 545442 h 716071"/>
                <a:gd name="connsiteX1115" fmla="*/ 112856 w 614938"/>
                <a:gd name="connsiteY1115" fmla="*/ 575884 h 716071"/>
                <a:gd name="connsiteX1116" fmla="*/ 110464 w 614938"/>
                <a:gd name="connsiteY1116" fmla="*/ 572834 h 716071"/>
                <a:gd name="connsiteX1117" fmla="*/ 135464 w 614938"/>
                <a:gd name="connsiteY1117" fmla="*/ 542511 h 716071"/>
                <a:gd name="connsiteX1118" fmla="*/ 137796 w 614938"/>
                <a:gd name="connsiteY1118" fmla="*/ 545442 h 716071"/>
                <a:gd name="connsiteX1119" fmla="*/ 112617 w 614938"/>
                <a:gd name="connsiteY1119" fmla="*/ 576183 h 716071"/>
                <a:gd name="connsiteX1120" fmla="*/ 87977 w 614938"/>
                <a:gd name="connsiteY1120" fmla="*/ 606266 h 716071"/>
                <a:gd name="connsiteX1121" fmla="*/ 85584 w 614938"/>
                <a:gd name="connsiteY1121" fmla="*/ 603096 h 716071"/>
                <a:gd name="connsiteX1122" fmla="*/ 110225 w 614938"/>
                <a:gd name="connsiteY1122" fmla="*/ 573133 h 716071"/>
                <a:gd name="connsiteX1123" fmla="*/ 112617 w 614938"/>
                <a:gd name="connsiteY1123" fmla="*/ 576183 h 716071"/>
                <a:gd name="connsiteX1124" fmla="*/ 87797 w 614938"/>
                <a:gd name="connsiteY1124" fmla="*/ 606505 h 716071"/>
                <a:gd name="connsiteX1125" fmla="*/ 63456 w 614938"/>
                <a:gd name="connsiteY1125" fmla="*/ 636229 h 716071"/>
                <a:gd name="connsiteX1126" fmla="*/ 61004 w 614938"/>
                <a:gd name="connsiteY1126" fmla="*/ 632940 h 716071"/>
                <a:gd name="connsiteX1127" fmla="*/ 85345 w 614938"/>
                <a:gd name="connsiteY1127" fmla="*/ 603335 h 716071"/>
                <a:gd name="connsiteX1128" fmla="*/ 87797 w 614938"/>
                <a:gd name="connsiteY1128" fmla="*/ 606505 h 716071"/>
                <a:gd name="connsiteX1129" fmla="*/ 63217 w 614938"/>
                <a:gd name="connsiteY1129" fmla="*/ 636528 h 716071"/>
                <a:gd name="connsiteX1130" fmla="*/ 39174 w 614938"/>
                <a:gd name="connsiteY1130" fmla="*/ 665894 h 716071"/>
                <a:gd name="connsiteX1131" fmla="*/ 36662 w 614938"/>
                <a:gd name="connsiteY1131" fmla="*/ 662425 h 716071"/>
                <a:gd name="connsiteX1132" fmla="*/ 60764 w 614938"/>
                <a:gd name="connsiteY1132" fmla="*/ 633179 h 716071"/>
                <a:gd name="connsiteX1133" fmla="*/ 63217 w 614938"/>
                <a:gd name="connsiteY1133" fmla="*/ 636528 h 716071"/>
                <a:gd name="connsiteX1134" fmla="*/ 19437 w 614938"/>
                <a:gd name="connsiteY1134" fmla="*/ 681264 h 716071"/>
                <a:gd name="connsiteX1135" fmla="*/ 19437 w 614938"/>
                <a:gd name="connsiteY1135" fmla="*/ 681264 h 716071"/>
                <a:gd name="connsiteX1136" fmla="*/ 19437 w 614938"/>
                <a:gd name="connsiteY1136" fmla="*/ 681264 h 716071"/>
                <a:gd name="connsiteX1137" fmla="*/ 19497 w 614938"/>
                <a:gd name="connsiteY1137" fmla="*/ 681264 h 716071"/>
                <a:gd name="connsiteX1138" fmla="*/ 19497 w 614938"/>
                <a:gd name="connsiteY1138" fmla="*/ 681264 h 716071"/>
                <a:gd name="connsiteX1139" fmla="*/ 19497 w 614938"/>
                <a:gd name="connsiteY1139" fmla="*/ 681264 h 716071"/>
                <a:gd name="connsiteX1140" fmla="*/ 19497 w 614938"/>
                <a:gd name="connsiteY1140" fmla="*/ 681264 h 716071"/>
                <a:gd name="connsiteX1141" fmla="*/ 36363 w 614938"/>
                <a:gd name="connsiteY1141" fmla="*/ 662784 h 716071"/>
                <a:gd name="connsiteX1142" fmla="*/ 38875 w 614938"/>
                <a:gd name="connsiteY1142" fmla="*/ 666252 h 716071"/>
                <a:gd name="connsiteX1143" fmla="*/ 22667 w 614938"/>
                <a:gd name="connsiteY1143" fmla="*/ 685092 h 716071"/>
                <a:gd name="connsiteX1144" fmla="*/ 21052 w 614938"/>
                <a:gd name="connsiteY1144" fmla="*/ 685092 h 716071"/>
                <a:gd name="connsiteX1145" fmla="*/ 17524 w 614938"/>
                <a:gd name="connsiteY1145" fmla="*/ 680786 h 716071"/>
                <a:gd name="connsiteX1146" fmla="*/ 19437 w 614938"/>
                <a:gd name="connsiteY1146" fmla="*/ 681264 h 716071"/>
                <a:gd name="connsiteX1147" fmla="*/ 12560 w 614938"/>
                <a:gd name="connsiteY1147" fmla="*/ 677317 h 716071"/>
                <a:gd name="connsiteX1148" fmla="*/ 13158 w 614938"/>
                <a:gd name="connsiteY1148" fmla="*/ 676599 h 716071"/>
                <a:gd name="connsiteX1149" fmla="*/ 15729 w 614938"/>
                <a:gd name="connsiteY1149" fmla="*/ 680786 h 716071"/>
                <a:gd name="connsiteX1150" fmla="*/ 15131 w 614938"/>
                <a:gd name="connsiteY1150" fmla="*/ 681503 h 716071"/>
                <a:gd name="connsiteX1151" fmla="*/ 12560 w 614938"/>
                <a:gd name="connsiteY1151" fmla="*/ 677317 h 716071"/>
                <a:gd name="connsiteX1152" fmla="*/ 15311 w 614938"/>
                <a:gd name="connsiteY1152" fmla="*/ 681862 h 716071"/>
                <a:gd name="connsiteX1153" fmla="*/ 15909 w 614938"/>
                <a:gd name="connsiteY1153" fmla="*/ 681085 h 716071"/>
                <a:gd name="connsiteX1154" fmla="*/ 19737 w 614938"/>
                <a:gd name="connsiteY1154" fmla="*/ 685690 h 716071"/>
                <a:gd name="connsiteX1155" fmla="*/ 19139 w 614938"/>
                <a:gd name="connsiteY1155" fmla="*/ 686467 h 716071"/>
                <a:gd name="connsiteX1156" fmla="*/ 19139 w 614938"/>
                <a:gd name="connsiteY1156" fmla="*/ 686467 h 716071"/>
                <a:gd name="connsiteX1157" fmla="*/ 18899 w 614938"/>
                <a:gd name="connsiteY1157" fmla="*/ 685929 h 716071"/>
                <a:gd name="connsiteX1158" fmla="*/ 18899 w 614938"/>
                <a:gd name="connsiteY1158" fmla="*/ 685929 h 716071"/>
                <a:gd name="connsiteX1159" fmla="*/ 18899 w 614938"/>
                <a:gd name="connsiteY1159" fmla="*/ 685929 h 716071"/>
                <a:gd name="connsiteX1160" fmla="*/ 18899 w 614938"/>
                <a:gd name="connsiteY1160" fmla="*/ 685929 h 716071"/>
                <a:gd name="connsiteX1161" fmla="*/ 18899 w 614938"/>
                <a:gd name="connsiteY1161" fmla="*/ 685869 h 716071"/>
                <a:gd name="connsiteX1162" fmla="*/ 18660 w 614938"/>
                <a:gd name="connsiteY1162" fmla="*/ 685570 h 716071"/>
                <a:gd name="connsiteX1163" fmla="*/ 18660 w 614938"/>
                <a:gd name="connsiteY1163" fmla="*/ 685570 h 716071"/>
                <a:gd name="connsiteX1164" fmla="*/ 18660 w 614938"/>
                <a:gd name="connsiteY1164" fmla="*/ 685570 h 716071"/>
                <a:gd name="connsiteX1165" fmla="*/ 18660 w 614938"/>
                <a:gd name="connsiteY1165" fmla="*/ 685570 h 716071"/>
                <a:gd name="connsiteX1166" fmla="*/ 18660 w 614938"/>
                <a:gd name="connsiteY1166" fmla="*/ 685570 h 716071"/>
                <a:gd name="connsiteX1167" fmla="*/ 18660 w 614938"/>
                <a:gd name="connsiteY1167" fmla="*/ 685570 h 716071"/>
                <a:gd name="connsiteX1168" fmla="*/ 18660 w 614938"/>
                <a:gd name="connsiteY1168" fmla="*/ 685570 h 716071"/>
                <a:gd name="connsiteX1169" fmla="*/ 18660 w 614938"/>
                <a:gd name="connsiteY1169" fmla="*/ 685570 h 716071"/>
                <a:gd name="connsiteX1170" fmla="*/ 18660 w 614938"/>
                <a:gd name="connsiteY1170" fmla="*/ 685570 h 716071"/>
                <a:gd name="connsiteX1171" fmla="*/ 18301 w 614938"/>
                <a:gd name="connsiteY1171" fmla="*/ 685331 h 716071"/>
                <a:gd name="connsiteX1172" fmla="*/ 15311 w 614938"/>
                <a:gd name="connsiteY1172" fmla="*/ 681862 h 716071"/>
                <a:gd name="connsiteX1173" fmla="*/ 16387 w 614938"/>
                <a:gd name="connsiteY1173" fmla="*/ 684673 h 716071"/>
                <a:gd name="connsiteX1174" fmla="*/ 17464 w 614938"/>
                <a:gd name="connsiteY1174" fmla="*/ 685331 h 716071"/>
                <a:gd name="connsiteX1175" fmla="*/ 17284 w 614938"/>
                <a:gd name="connsiteY1175" fmla="*/ 685391 h 716071"/>
                <a:gd name="connsiteX1176" fmla="*/ 16328 w 614938"/>
                <a:gd name="connsiteY1176" fmla="*/ 684673 h 716071"/>
                <a:gd name="connsiteX1177" fmla="*/ 16387 w 614938"/>
                <a:gd name="connsiteY1177" fmla="*/ 684673 h 716071"/>
                <a:gd name="connsiteX1178" fmla="*/ 15431 w 614938"/>
                <a:gd name="connsiteY1178" fmla="*/ 685032 h 716071"/>
                <a:gd name="connsiteX1179" fmla="*/ 16328 w 614938"/>
                <a:gd name="connsiteY1179" fmla="*/ 685809 h 716071"/>
                <a:gd name="connsiteX1180" fmla="*/ 15909 w 614938"/>
                <a:gd name="connsiteY1180" fmla="*/ 686049 h 716071"/>
                <a:gd name="connsiteX1181" fmla="*/ 15191 w 614938"/>
                <a:gd name="connsiteY1181" fmla="*/ 685151 h 716071"/>
                <a:gd name="connsiteX1182" fmla="*/ 15431 w 614938"/>
                <a:gd name="connsiteY1182" fmla="*/ 685032 h 716071"/>
                <a:gd name="connsiteX1183" fmla="*/ 16567 w 614938"/>
                <a:gd name="connsiteY1183" fmla="*/ 686108 h 716071"/>
                <a:gd name="connsiteX1184" fmla="*/ 17644 w 614938"/>
                <a:gd name="connsiteY1184" fmla="*/ 687424 h 716071"/>
                <a:gd name="connsiteX1185" fmla="*/ 17404 w 614938"/>
                <a:gd name="connsiteY1185" fmla="*/ 687604 h 716071"/>
                <a:gd name="connsiteX1186" fmla="*/ 16148 w 614938"/>
                <a:gd name="connsiteY1186" fmla="*/ 686348 h 716071"/>
                <a:gd name="connsiteX1187" fmla="*/ 16567 w 614938"/>
                <a:gd name="connsiteY1187" fmla="*/ 686108 h 716071"/>
                <a:gd name="connsiteX1188" fmla="*/ 17882 w 614938"/>
                <a:gd name="connsiteY1188" fmla="*/ 687783 h 716071"/>
                <a:gd name="connsiteX1189" fmla="*/ 18122 w 614938"/>
                <a:gd name="connsiteY1189" fmla="*/ 688202 h 716071"/>
                <a:gd name="connsiteX1190" fmla="*/ 17703 w 614938"/>
                <a:gd name="connsiteY1190" fmla="*/ 687903 h 716071"/>
                <a:gd name="connsiteX1191" fmla="*/ 17882 w 614938"/>
                <a:gd name="connsiteY1191" fmla="*/ 687783 h 716071"/>
                <a:gd name="connsiteX1192" fmla="*/ 19437 w 614938"/>
                <a:gd name="connsiteY1192" fmla="*/ 686826 h 716071"/>
                <a:gd name="connsiteX1193" fmla="*/ 20036 w 614938"/>
                <a:gd name="connsiteY1193" fmla="*/ 686049 h 716071"/>
                <a:gd name="connsiteX1194" fmla="*/ 24820 w 614938"/>
                <a:gd name="connsiteY1194" fmla="*/ 690714 h 716071"/>
                <a:gd name="connsiteX1195" fmla="*/ 24222 w 614938"/>
                <a:gd name="connsiteY1195" fmla="*/ 691491 h 716071"/>
                <a:gd name="connsiteX1196" fmla="*/ 19437 w 614938"/>
                <a:gd name="connsiteY1196" fmla="*/ 686826 h 716071"/>
                <a:gd name="connsiteX1197" fmla="*/ 24581 w 614938"/>
                <a:gd name="connsiteY1197" fmla="*/ 691790 h 716071"/>
                <a:gd name="connsiteX1198" fmla="*/ 25179 w 614938"/>
                <a:gd name="connsiteY1198" fmla="*/ 691013 h 716071"/>
                <a:gd name="connsiteX1199" fmla="*/ 30621 w 614938"/>
                <a:gd name="connsiteY1199" fmla="*/ 695379 h 716071"/>
                <a:gd name="connsiteX1200" fmla="*/ 30023 w 614938"/>
                <a:gd name="connsiteY1200" fmla="*/ 696156 h 716071"/>
                <a:gd name="connsiteX1201" fmla="*/ 24581 w 614938"/>
                <a:gd name="connsiteY1201" fmla="*/ 691790 h 716071"/>
                <a:gd name="connsiteX1202" fmla="*/ 30980 w 614938"/>
                <a:gd name="connsiteY1202" fmla="*/ 695618 h 716071"/>
                <a:gd name="connsiteX1203" fmla="*/ 36662 w 614938"/>
                <a:gd name="connsiteY1203" fmla="*/ 699386 h 716071"/>
                <a:gd name="connsiteX1204" fmla="*/ 36064 w 614938"/>
                <a:gd name="connsiteY1204" fmla="*/ 700163 h 716071"/>
                <a:gd name="connsiteX1205" fmla="*/ 30383 w 614938"/>
                <a:gd name="connsiteY1205" fmla="*/ 696455 h 716071"/>
                <a:gd name="connsiteX1206" fmla="*/ 30980 w 614938"/>
                <a:gd name="connsiteY1206" fmla="*/ 695618 h 716071"/>
                <a:gd name="connsiteX1207" fmla="*/ 35167 w 614938"/>
                <a:gd name="connsiteY1207" fmla="*/ 701658 h 716071"/>
                <a:gd name="connsiteX1208" fmla="*/ 35107 w 614938"/>
                <a:gd name="connsiteY1208" fmla="*/ 701838 h 716071"/>
                <a:gd name="connsiteX1209" fmla="*/ 34748 w 614938"/>
                <a:gd name="connsiteY1209" fmla="*/ 701539 h 716071"/>
                <a:gd name="connsiteX1210" fmla="*/ 35167 w 614938"/>
                <a:gd name="connsiteY1210" fmla="*/ 701658 h 716071"/>
                <a:gd name="connsiteX1211" fmla="*/ 35406 w 614938"/>
                <a:gd name="connsiteY1211" fmla="*/ 702077 h 716071"/>
                <a:gd name="connsiteX1212" fmla="*/ 35526 w 614938"/>
                <a:gd name="connsiteY1212" fmla="*/ 701778 h 716071"/>
                <a:gd name="connsiteX1213" fmla="*/ 37081 w 614938"/>
                <a:gd name="connsiteY1213" fmla="*/ 702555 h 716071"/>
                <a:gd name="connsiteX1214" fmla="*/ 36901 w 614938"/>
                <a:gd name="connsiteY1214" fmla="*/ 703034 h 716071"/>
                <a:gd name="connsiteX1215" fmla="*/ 35406 w 614938"/>
                <a:gd name="connsiteY1215" fmla="*/ 702077 h 716071"/>
                <a:gd name="connsiteX1216" fmla="*/ 37261 w 614938"/>
                <a:gd name="connsiteY1216" fmla="*/ 703273 h 716071"/>
                <a:gd name="connsiteX1217" fmla="*/ 37439 w 614938"/>
                <a:gd name="connsiteY1217" fmla="*/ 702854 h 716071"/>
                <a:gd name="connsiteX1218" fmla="*/ 38456 w 614938"/>
                <a:gd name="connsiteY1218" fmla="*/ 703572 h 716071"/>
                <a:gd name="connsiteX1219" fmla="*/ 38337 w 614938"/>
                <a:gd name="connsiteY1219" fmla="*/ 703871 h 716071"/>
                <a:gd name="connsiteX1220" fmla="*/ 37261 w 614938"/>
                <a:gd name="connsiteY1220" fmla="*/ 703273 h 716071"/>
                <a:gd name="connsiteX1221" fmla="*/ 37679 w 614938"/>
                <a:gd name="connsiteY1221" fmla="*/ 701778 h 716071"/>
                <a:gd name="connsiteX1222" fmla="*/ 37679 w 614938"/>
                <a:gd name="connsiteY1222" fmla="*/ 701598 h 716071"/>
                <a:gd name="connsiteX1223" fmla="*/ 38636 w 614938"/>
                <a:gd name="connsiteY1223" fmla="*/ 702555 h 716071"/>
                <a:gd name="connsiteX1224" fmla="*/ 38636 w 614938"/>
                <a:gd name="connsiteY1224" fmla="*/ 702615 h 716071"/>
                <a:gd name="connsiteX1225" fmla="*/ 37679 w 614938"/>
                <a:gd name="connsiteY1225" fmla="*/ 701778 h 716071"/>
                <a:gd name="connsiteX1226" fmla="*/ 37439 w 614938"/>
                <a:gd name="connsiteY1226" fmla="*/ 700641 h 716071"/>
                <a:gd name="connsiteX1227" fmla="*/ 37439 w 614938"/>
                <a:gd name="connsiteY1227" fmla="*/ 700641 h 716071"/>
                <a:gd name="connsiteX1228" fmla="*/ 37439 w 614938"/>
                <a:gd name="connsiteY1228" fmla="*/ 700641 h 716071"/>
                <a:gd name="connsiteX1229" fmla="*/ 37439 w 614938"/>
                <a:gd name="connsiteY1229" fmla="*/ 700641 h 716071"/>
                <a:gd name="connsiteX1230" fmla="*/ 37439 w 614938"/>
                <a:gd name="connsiteY1230" fmla="*/ 700641 h 716071"/>
                <a:gd name="connsiteX1231" fmla="*/ 37380 w 614938"/>
                <a:gd name="connsiteY1231" fmla="*/ 700582 h 716071"/>
                <a:gd name="connsiteX1232" fmla="*/ 37380 w 614938"/>
                <a:gd name="connsiteY1232" fmla="*/ 700582 h 716071"/>
                <a:gd name="connsiteX1233" fmla="*/ 37380 w 614938"/>
                <a:gd name="connsiteY1233" fmla="*/ 700582 h 716071"/>
                <a:gd name="connsiteX1234" fmla="*/ 37081 w 614938"/>
                <a:gd name="connsiteY1234" fmla="*/ 700402 h 716071"/>
                <a:gd name="connsiteX1235" fmla="*/ 37021 w 614938"/>
                <a:gd name="connsiteY1235" fmla="*/ 700402 h 716071"/>
                <a:gd name="connsiteX1236" fmla="*/ 36961 w 614938"/>
                <a:gd name="connsiteY1236" fmla="*/ 700402 h 716071"/>
                <a:gd name="connsiteX1237" fmla="*/ 36423 w 614938"/>
                <a:gd name="connsiteY1237" fmla="*/ 700283 h 716071"/>
                <a:gd name="connsiteX1238" fmla="*/ 37021 w 614938"/>
                <a:gd name="connsiteY1238" fmla="*/ 699565 h 716071"/>
                <a:gd name="connsiteX1239" fmla="*/ 42464 w 614938"/>
                <a:gd name="connsiteY1239" fmla="*/ 702376 h 716071"/>
                <a:gd name="connsiteX1240" fmla="*/ 41865 w 614938"/>
                <a:gd name="connsiteY1240" fmla="*/ 703153 h 716071"/>
                <a:gd name="connsiteX1241" fmla="*/ 37799 w 614938"/>
                <a:gd name="connsiteY1241" fmla="*/ 701060 h 716071"/>
                <a:gd name="connsiteX1242" fmla="*/ 37439 w 614938"/>
                <a:gd name="connsiteY1242" fmla="*/ 700641 h 716071"/>
                <a:gd name="connsiteX1243" fmla="*/ 42882 w 614938"/>
                <a:gd name="connsiteY1243" fmla="*/ 702615 h 716071"/>
                <a:gd name="connsiteX1244" fmla="*/ 47727 w 614938"/>
                <a:gd name="connsiteY1244" fmla="*/ 704350 h 716071"/>
                <a:gd name="connsiteX1245" fmla="*/ 47128 w 614938"/>
                <a:gd name="connsiteY1245" fmla="*/ 705067 h 716071"/>
                <a:gd name="connsiteX1246" fmla="*/ 42284 w 614938"/>
                <a:gd name="connsiteY1246" fmla="*/ 703333 h 716071"/>
                <a:gd name="connsiteX1247" fmla="*/ 42882 w 614938"/>
                <a:gd name="connsiteY1247" fmla="*/ 702615 h 716071"/>
                <a:gd name="connsiteX1248" fmla="*/ 48145 w 614938"/>
                <a:gd name="connsiteY1248" fmla="*/ 704469 h 716071"/>
                <a:gd name="connsiteX1249" fmla="*/ 51913 w 614938"/>
                <a:gd name="connsiteY1249" fmla="*/ 705007 h 716071"/>
                <a:gd name="connsiteX1250" fmla="*/ 51375 w 614938"/>
                <a:gd name="connsiteY1250" fmla="*/ 705665 h 716071"/>
                <a:gd name="connsiteX1251" fmla="*/ 47607 w 614938"/>
                <a:gd name="connsiteY1251" fmla="*/ 705127 h 716071"/>
                <a:gd name="connsiteX1252" fmla="*/ 48145 w 614938"/>
                <a:gd name="connsiteY1252" fmla="*/ 704469 h 716071"/>
                <a:gd name="connsiteX1253" fmla="*/ 52451 w 614938"/>
                <a:gd name="connsiteY1253" fmla="*/ 705007 h 716071"/>
                <a:gd name="connsiteX1254" fmla="*/ 54843 w 614938"/>
                <a:gd name="connsiteY1254" fmla="*/ 704469 h 716071"/>
                <a:gd name="connsiteX1255" fmla="*/ 54425 w 614938"/>
                <a:gd name="connsiteY1255" fmla="*/ 704948 h 716071"/>
                <a:gd name="connsiteX1256" fmla="*/ 52033 w 614938"/>
                <a:gd name="connsiteY1256" fmla="*/ 705486 h 716071"/>
                <a:gd name="connsiteX1257" fmla="*/ 52451 w 614938"/>
                <a:gd name="connsiteY1257" fmla="*/ 705007 h 716071"/>
                <a:gd name="connsiteX1258" fmla="*/ 55382 w 614938"/>
                <a:gd name="connsiteY1258" fmla="*/ 703751 h 716071"/>
                <a:gd name="connsiteX1259" fmla="*/ 55083 w 614938"/>
                <a:gd name="connsiteY1259" fmla="*/ 702914 h 716071"/>
                <a:gd name="connsiteX1260" fmla="*/ 56399 w 614938"/>
                <a:gd name="connsiteY1260" fmla="*/ 701359 h 716071"/>
                <a:gd name="connsiteX1261" fmla="*/ 56698 w 614938"/>
                <a:gd name="connsiteY1261" fmla="*/ 702137 h 716071"/>
                <a:gd name="connsiteX1262" fmla="*/ 55382 w 614938"/>
                <a:gd name="connsiteY1262" fmla="*/ 703751 h 716071"/>
                <a:gd name="connsiteX1263" fmla="*/ 54066 w 614938"/>
                <a:gd name="connsiteY1263" fmla="*/ 699027 h 716071"/>
                <a:gd name="connsiteX1264" fmla="*/ 55262 w 614938"/>
                <a:gd name="connsiteY1264" fmla="*/ 697472 h 716071"/>
                <a:gd name="connsiteX1265" fmla="*/ 56399 w 614938"/>
                <a:gd name="connsiteY1265" fmla="*/ 698130 h 716071"/>
                <a:gd name="connsiteX1266" fmla="*/ 56339 w 614938"/>
                <a:gd name="connsiteY1266" fmla="*/ 700641 h 716071"/>
                <a:gd name="connsiteX1267" fmla="*/ 54066 w 614938"/>
                <a:gd name="connsiteY1267" fmla="*/ 699027 h 716071"/>
                <a:gd name="connsiteX1268" fmla="*/ 55382 w 614938"/>
                <a:gd name="connsiteY1268" fmla="*/ 697233 h 716071"/>
                <a:gd name="connsiteX1269" fmla="*/ 55801 w 614938"/>
                <a:gd name="connsiteY1269" fmla="*/ 696634 h 716071"/>
                <a:gd name="connsiteX1270" fmla="*/ 56159 w 614938"/>
                <a:gd name="connsiteY1270" fmla="*/ 697711 h 716071"/>
                <a:gd name="connsiteX1271" fmla="*/ 55382 w 614938"/>
                <a:gd name="connsiteY1271" fmla="*/ 697233 h 716071"/>
                <a:gd name="connsiteX1272" fmla="*/ 52691 w 614938"/>
                <a:gd name="connsiteY1272" fmla="*/ 700641 h 716071"/>
                <a:gd name="connsiteX1273" fmla="*/ 53827 w 614938"/>
                <a:gd name="connsiteY1273" fmla="*/ 699206 h 716071"/>
                <a:gd name="connsiteX1274" fmla="*/ 56219 w 614938"/>
                <a:gd name="connsiteY1274" fmla="*/ 700941 h 716071"/>
                <a:gd name="connsiteX1275" fmla="*/ 54843 w 614938"/>
                <a:gd name="connsiteY1275" fmla="*/ 702555 h 716071"/>
                <a:gd name="connsiteX1276" fmla="*/ 52691 w 614938"/>
                <a:gd name="connsiteY1276" fmla="*/ 700641 h 716071"/>
                <a:gd name="connsiteX1277" fmla="*/ 55143 w 614938"/>
                <a:gd name="connsiteY1277" fmla="*/ 703991 h 716071"/>
                <a:gd name="connsiteX1278" fmla="*/ 52451 w 614938"/>
                <a:gd name="connsiteY1278" fmla="*/ 704589 h 716071"/>
                <a:gd name="connsiteX1279" fmla="*/ 52212 w 614938"/>
                <a:gd name="connsiteY1279" fmla="*/ 703572 h 716071"/>
                <a:gd name="connsiteX1280" fmla="*/ 54843 w 614938"/>
                <a:gd name="connsiteY1280" fmla="*/ 702974 h 716071"/>
                <a:gd name="connsiteX1281" fmla="*/ 55143 w 614938"/>
                <a:gd name="connsiteY1281" fmla="*/ 703991 h 716071"/>
                <a:gd name="connsiteX1282" fmla="*/ 60166 w 614938"/>
                <a:gd name="connsiteY1282" fmla="*/ 678393 h 716071"/>
                <a:gd name="connsiteX1283" fmla="*/ 83491 w 614938"/>
                <a:gd name="connsiteY1283" fmla="*/ 648968 h 716071"/>
                <a:gd name="connsiteX1284" fmla="*/ 86302 w 614938"/>
                <a:gd name="connsiteY1284" fmla="*/ 649028 h 716071"/>
                <a:gd name="connsiteX1285" fmla="*/ 63157 w 614938"/>
                <a:gd name="connsiteY1285" fmla="*/ 678393 h 716071"/>
                <a:gd name="connsiteX1286" fmla="*/ 60166 w 614938"/>
                <a:gd name="connsiteY1286" fmla="*/ 678393 h 716071"/>
                <a:gd name="connsiteX1287" fmla="*/ 83790 w 614938"/>
                <a:gd name="connsiteY1287" fmla="*/ 648609 h 716071"/>
                <a:gd name="connsiteX1288" fmla="*/ 107414 w 614938"/>
                <a:gd name="connsiteY1288" fmla="*/ 618765 h 716071"/>
                <a:gd name="connsiteX1289" fmla="*/ 110105 w 614938"/>
                <a:gd name="connsiteY1289" fmla="*/ 618885 h 716071"/>
                <a:gd name="connsiteX1290" fmla="*/ 86661 w 614938"/>
                <a:gd name="connsiteY1290" fmla="*/ 648609 h 716071"/>
                <a:gd name="connsiteX1291" fmla="*/ 83790 w 614938"/>
                <a:gd name="connsiteY1291" fmla="*/ 648609 h 716071"/>
                <a:gd name="connsiteX1292" fmla="*/ 107653 w 614938"/>
                <a:gd name="connsiteY1292" fmla="*/ 618466 h 716071"/>
                <a:gd name="connsiteX1293" fmla="*/ 131576 w 614938"/>
                <a:gd name="connsiteY1293" fmla="*/ 588264 h 716071"/>
                <a:gd name="connsiteX1294" fmla="*/ 134088 w 614938"/>
                <a:gd name="connsiteY1294" fmla="*/ 588443 h 716071"/>
                <a:gd name="connsiteX1295" fmla="*/ 110345 w 614938"/>
                <a:gd name="connsiteY1295" fmla="*/ 618586 h 716071"/>
                <a:gd name="connsiteX1296" fmla="*/ 107653 w 614938"/>
                <a:gd name="connsiteY1296" fmla="*/ 618466 h 716071"/>
                <a:gd name="connsiteX1297" fmla="*/ 131875 w 614938"/>
                <a:gd name="connsiteY1297" fmla="*/ 587905 h 716071"/>
                <a:gd name="connsiteX1298" fmla="*/ 156097 w 614938"/>
                <a:gd name="connsiteY1298" fmla="*/ 557343 h 716071"/>
                <a:gd name="connsiteX1299" fmla="*/ 158489 w 614938"/>
                <a:gd name="connsiteY1299" fmla="*/ 557643 h 716071"/>
                <a:gd name="connsiteX1300" fmla="*/ 134387 w 614938"/>
                <a:gd name="connsiteY1300" fmla="*/ 588144 h 716071"/>
                <a:gd name="connsiteX1301" fmla="*/ 131875 w 614938"/>
                <a:gd name="connsiteY1301" fmla="*/ 587905 h 716071"/>
                <a:gd name="connsiteX1302" fmla="*/ 156336 w 614938"/>
                <a:gd name="connsiteY1302" fmla="*/ 556985 h 716071"/>
                <a:gd name="connsiteX1303" fmla="*/ 180857 w 614938"/>
                <a:gd name="connsiteY1303" fmla="*/ 526004 h 716071"/>
                <a:gd name="connsiteX1304" fmla="*/ 183071 w 614938"/>
                <a:gd name="connsiteY1304" fmla="*/ 526363 h 716071"/>
                <a:gd name="connsiteX1305" fmla="*/ 158669 w 614938"/>
                <a:gd name="connsiteY1305" fmla="*/ 557284 h 716071"/>
                <a:gd name="connsiteX1306" fmla="*/ 156336 w 614938"/>
                <a:gd name="connsiteY1306" fmla="*/ 556985 h 716071"/>
                <a:gd name="connsiteX1307" fmla="*/ 181156 w 614938"/>
                <a:gd name="connsiteY1307" fmla="*/ 525646 h 716071"/>
                <a:gd name="connsiteX1308" fmla="*/ 206036 w 614938"/>
                <a:gd name="connsiteY1308" fmla="*/ 494247 h 716071"/>
                <a:gd name="connsiteX1309" fmla="*/ 208129 w 614938"/>
                <a:gd name="connsiteY1309" fmla="*/ 494666 h 716071"/>
                <a:gd name="connsiteX1310" fmla="*/ 183429 w 614938"/>
                <a:gd name="connsiteY1310" fmla="*/ 526004 h 716071"/>
                <a:gd name="connsiteX1311" fmla="*/ 181156 w 614938"/>
                <a:gd name="connsiteY1311" fmla="*/ 525646 h 716071"/>
                <a:gd name="connsiteX1312" fmla="*/ 206216 w 614938"/>
                <a:gd name="connsiteY1312" fmla="*/ 493948 h 716071"/>
                <a:gd name="connsiteX1313" fmla="*/ 231395 w 614938"/>
                <a:gd name="connsiteY1313" fmla="*/ 462190 h 716071"/>
                <a:gd name="connsiteX1314" fmla="*/ 233368 w 614938"/>
                <a:gd name="connsiteY1314" fmla="*/ 462669 h 716071"/>
                <a:gd name="connsiteX1315" fmla="*/ 208309 w 614938"/>
                <a:gd name="connsiteY1315" fmla="*/ 494426 h 716071"/>
                <a:gd name="connsiteX1316" fmla="*/ 206216 w 614938"/>
                <a:gd name="connsiteY1316" fmla="*/ 493948 h 716071"/>
                <a:gd name="connsiteX1317" fmla="*/ 231634 w 614938"/>
                <a:gd name="connsiteY1317" fmla="*/ 461891 h 716071"/>
                <a:gd name="connsiteX1318" fmla="*/ 257111 w 614938"/>
                <a:gd name="connsiteY1318" fmla="*/ 429715 h 716071"/>
                <a:gd name="connsiteX1319" fmla="*/ 258906 w 614938"/>
                <a:gd name="connsiteY1319" fmla="*/ 430253 h 716071"/>
                <a:gd name="connsiteX1320" fmla="*/ 233548 w 614938"/>
                <a:gd name="connsiteY1320" fmla="*/ 462429 h 716071"/>
                <a:gd name="connsiteX1321" fmla="*/ 231634 w 614938"/>
                <a:gd name="connsiteY1321" fmla="*/ 461891 h 716071"/>
                <a:gd name="connsiteX1322" fmla="*/ 257411 w 614938"/>
                <a:gd name="connsiteY1322" fmla="*/ 429356 h 716071"/>
                <a:gd name="connsiteX1323" fmla="*/ 283248 w 614938"/>
                <a:gd name="connsiteY1323" fmla="*/ 396761 h 716071"/>
                <a:gd name="connsiteX1324" fmla="*/ 284922 w 614938"/>
                <a:gd name="connsiteY1324" fmla="*/ 397299 h 716071"/>
                <a:gd name="connsiteX1325" fmla="*/ 259205 w 614938"/>
                <a:gd name="connsiteY1325" fmla="*/ 429894 h 716071"/>
                <a:gd name="connsiteX1326" fmla="*/ 257411 w 614938"/>
                <a:gd name="connsiteY1326" fmla="*/ 429356 h 716071"/>
                <a:gd name="connsiteX1327" fmla="*/ 283486 w 614938"/>
                <a:gd name="connsiteY1327" fmla="*/ 396462 h 716071"/>
                <a:gd name="connsiteX1328" fmla="*/ 309682 w 614938"/>
                <a:gd name="connsiteY1328" fmla="*/ 363389 h 716071"/>
                <a:gd name="connsiteX1329" fmla="*/ 311237 w 614938"/>
                <a:gd name="connsiteY1329" fmla="*/ 363987 h 716071"/>
                <a:gd name="connsiteX1330" fmla="*/ 285221 w 614938"/>
                <a:gd name="connsiteY1330" fmla="*/ 397000 h 716071"/>
                <a:gd name="connsiteX1331" fmla="*/ 283486 w 614938"/>
                <a:gd name="connsiteY1331" fmla="*/ 396462 h 716071"/>
                <a:gd name="connsiteX1332" fmla="*/ 309862 w 614938"/>
                <a:gd name="connsiteY1332" fmla="*/ 363090 h 716071"/>
                <a:gd name="connsiteX1333" fmla="*/ 336356 w 614938"/>
                <a:gd name="connsiteY1333" fmla="*/ 329598 h 716071"/>
                <a:gd name="connsiteX1334" fmla="*/ 337792 w 614938"/>
                <a:gd name="connsiteY1334" fmla="*/ 330255 h 716071"/>
                <a:gd name="connsiteX1335" fmla="*/ 311417 w 614938"/>
                <a:gd name="connsiteY1335" fmla="*/ 363688 h 716071"/>
                <a:gd name="connsiteX1336" fmla="*/ 309862 w 614938"/>
                <a:gd name="connsiteY1336" fmla="*/ 363090 h 716071"/>
                <a:gd name="connsiteX1337" fmla="*/ 336655 w 614938"/>
                <a:gd name="connsiteY1337" fmla="*/ 329299 h 716071"/>
                <a:gd name="connsiteX1338" fmla="*/ 363508 w 614938"/>
                <a:gd name="connsiteY1338" fmla="*/ 295388 h 716071"/>
                <a:gd name="connsiteX1339" fmla="*/ 364824 w 614938"/>
                <a:gd name="connsiteY1339" fmla="*/ 296046 h 716071"/>
                <a:gd name="connsiteX1340" fmla="*/ 338090 w 614938"/>
                <a:gd name="connsiteY1340" fmla="*/ 329956 h 716071"/>
                <a:gd name="connsiteX1341" fmla="*/ 336655 w 614938"/>
                <a:gd name="connsiteY1341" fmla="*/ 329299 h 716071"/>
                <a:gd name="connsiteX1342" fmla="*/ 389166 w 614938"/>
                <a:gd name="connsiteY1342" fmla="*/ 259085 h 716071"/>
                <a:gd name="connsiteX1343" fmla="*/ 414824 w 614938"/>
                <a:gd name="connsiteY1343" fmla="*/ 226849 h 716071"/>
                <a:gd name="connsiteX1344" fmla="*/ 416319 w 614938"/>
                <a:gd name="connsiteY1344" fmla="*/ 228045 h 716071"/>
                <a:gd name="connsiteX1345" fmla="*/ 390841 w 614938"/>
                <a:gd name="connsiteY1345" fmla="*/ 260221 h 716071"/>
                <a:gd name="connsiteX1346" fmla="*/ 389166 w 614938"/>
                <a:gd name="connsiteY1346" fmla="*/ 259085 h 716071"/>
                <a:gd name="connsiteX1347" fmla="*/ 412311 w 614938"/>
                <a:gd name="connsiteY1347" fmla="*/ 224875 h 716071"/>
                <a:gd name="connsiteX1348" fmla="*/ 386474 w 614938"/>
                <a:gd name="connsiteY1348" fmla="*/ 257111 h 716071"/>
                <a:gd name="connsiteX1349" fmla="*/ 384202 w 614938"/>
                <a:gd name="connsiteY1349" fmla="*/ 255317 h 716071"/>
                <a:gd name="connsiteX1350" fmla="*/ 410158 w 614938"/>
                <a:gd name="connsiteY1350" fmla="*/ 223201 h 716071"/>
                <a:gd name="connsiteX1351" fmla="*/ 412311 w 614938"/>
                <a:gd name="connsiteY1351" fmla="*/ 224875 h 716071"/>
                <a:gd name="connsiteX1352" fmla="*/ 383723 w 614938"/>
                <a:gd name="connsiteY1352" fmla="*/ 255377 h 716071"/>
                <a:gd name="connsiteX1353" fmla="*/ 356033 w 614938"/>
                <a:gd name="connsiteY1353" fmla="*/ 289706 h 716071"/>
                <a:gd name="connsiteX1354" fmla="*/ 353580 w 614938"/>
                <a:gd name="connsiteY1354" fmla="*/ 287733 h 716071"/>
                <a:gd name="connsiteX1355" fmla="*/ 381391 w 614938"/>
                <a:gd name="connsiteY1355" fmla="*/ 253523 h 716071"/>
                <a:gd name="connsiteX1356" fmla="*/ 383723 w 614938"/>
                <a:gd name="connsiteY1356" fmla="*/ 255377 h 716071"/>
                <a:gd name="connsiteX1357" fmla="*/ 381152 w 614938"/>
                <a:gd name="connsiteY1357" fmla="*/ 253224 h 716071"/>
                <a:gd name="connsiteX1358" fmla="*/ 353342 w 614938"/>
                <a:gd name="connsiteY1358" fmla="*/ 287433 h 716071"/>
                <a:gd name="connsiteX1359" fmla="*/ 351069 w 614938"/>
                <a:gd name="connsiteY1359" fmla="*/ 285460 h 716071"/>
                <a:gd name="connsiteX1360" fmla="*/ 378998 w 614938"/>
                <a:gd name="connsiteY1360" fmla="*/ 251370 h 716071"/>
                <a:gd name="connsiteX1361" fmla="*/ 381152 w 614938"/>
                <a:gd name="connsiteY1361" fmla="*/ 253224 h 716071"/>
                <a:gd name="connsiteX1362" fmla="*/ 378700 w 614938"/>
                <a:gd name="connsiteY1362" fmla="*/ 251131 h 716071"/>
                <a:gd name="connsiteX1363" fmla="*/ 350770 w 614938"/>
                <a:gd name="connsiteY1363" fmla="*/ 285221 h 716071"/>
                <a:gd name="connsiteX1364" fmla="*/ 348856 w 614938"/>
                <a:gd name="connsiteY1364" fmla="*/ 283367 h 716071"/>
                <a:gd name="connsiteX1365" fmla="*/ 376845 w 614938"/>
                <a:gd name="connsiteY1365" fmla="*/ 249396 h 716071"/>
                <a:gd name="connsiteX1366" fmla="*/ 378700 w 614938"/>
                <a:gd name="connsiteY1366" fmla="*/ 251131 h 716071"/>
                <a:gd name="connsiteX1367" fmla="*/ 376607 w 614938"/>
                <a:gd name="connsiteY1367" fmla="*/ 249157 h 716071"/>
                <a:gd name="connsiteX1368" fmla="*/ 348617 w 614938"/>
                <a:gd name="connsiteY1368" fmla="*/ 283127 h 716071"/>
                <a:gd name="connsiteX1369" fmla="*/ 347241 w 614938"/>
                <a:gd name="connsiteY1369" fmla="*/ 281632 h 716071"/>
                <a:gd name="connsiteX1370" fmla="*/ 375230 w 614938"/>
                <a:gd name="connsiteY1370" fmla="*/ 247781 h 716071"/>
                <a:gd name="connsiteX1371" fmla="*/ 376607 w 614938"/>
                <a:gd name="connsiteY1371" fmla="*/ 249157 h 716071"/>
                <a:gd name="connsiteX1372" fmla="*/ 348437 w 614938"/>
                <a:gd name="connsiteY1372" fmla="*/ 283367 h 716071"/>
                <a:gd name="connsiteX1373" fmla="*/ 320806 w 614938"/>
                <a:gd name="connsiteY1373" fmla="*/ 316859 h 716071"/>
                <a:gd name="connsiteX1374" fmla="*/ 319371 w 614938"/>
                <a:gd name="connsiteY1374" fmla="*/ 315244 h 716071"/>
                <a:gd name="connsiteX1375" fmla="*/ 347002 w 614938"/>
                <a:gd name="connsiteY1375" fmla="*/ 281871 h 716071"/>
                <a:gd name="connsiteX1376" fmla="*/ 348437 w 614938"/>
                <a:gd name="connsiteY1376" fmla="*/ 283367 h 716071"/>
                <a:gd name="connsiteX1377" fmla="*/ 320567 w 614938"/>
                <a:gd name="connsiteY1377" fmla="*/ 317158 h 716071"/>
                <a:gd name="connsiteX1378" fmla="*/ 293295 w 614938"/>
                <a:gd name="connsiteY1378" fmla="*/ 350231 h 716071"/>
                <a:gd name="connsiteX1379" fmla="*/ 291860 w 614938"/>
                <a:gd name="connsiteY1379" fmla="*/ 348437 h 716071"/>
                <a:gd name="connsiteX1380" fmla="*/ 319132 w 614938"/>
                <a:gd name="connsiteY1380" fmla="*/ 315483 h 716071"/>
                <a:gd name="connsiteX1381" fmla="*/ 320567 w 614938"/>
                <a:gd name="connsiteY1381" fmla="*/ 317158 h 716071"/>
                <a:gd name="connsiteX1382" fmla="*/ 293115 w 614938"/>
                <a:gd name="connsiteY1382" fmla="*/ 350530 h 716071"/>
                <a:gd name="connsiteX1383" fmla="*/ 266202 w 614938"/>
                <a:gd name="connsiteY1383" fmla="*/ 383185 h 716071"/>
                <a:gd name="connsiteX1384" fmla="*/ 264707 w 614938"/>
                <a:gd name="connsiteY1384" fmla="*/ 381271 h 716071"/>
                <a:gd name="connsiteX1385" fmla="*/ 291620 w 614938"/>
                <a:gd name="connsiteY1385" fmla="*/ 348736 h 716071"/>
                <a:gd name="connsiteX1386" fmla="*/ 293115 w 614938"/>
                <a:gd name="connsiteY1386" fmla="*/ 350530 h 716071"/>
                <a:gd name="connsiteX1387" fmla="*/ 265963 w 614938"/>
                <a:gd name="connsiteY1387" fmla="*/ 383484 h 716071"/>
                <a:gd name="connsiteX1388" fmla="*/ 239408 w 614938"/>
                <a:gd name="connsiteY1388" fmla="*/ 415720 h 716071"/>
                <a:gd name="connsiteX1389" fmla="*/ 237913 w 614938"/>
                <a:gd name="connsiteY1389" fmla="*/ 413686 h 716071"/>
                <a:gd name="connsiteX1390" fmla="*/ 264468 w 614938"/>
                <a:gd name="connsiteY1390" fmla="*/ 381570 h 716071"/>
                <a:gd name="connsiteX1391" fmla="*/ 265963 w 614938"/>
                <a:gd name="connsiteY1391" fmla="*/ 383484 h 716071"/>
                <a:gd name="connsiteX1392" fmla="*/ 239169 w 614938"/>
                <a:gd name="connsiteY1392" fmla="*/ 416019 h 716071"/>
                <a:gd name="connsiteX1393" fmla="*/ 212914 w 614938"/>
                <a:gd name="connsiteY1393" fmla="*/ 447836 h 716071"/>
                <a:gd name="connsiteX1394" fmla="*/ 211419 w 614938"/>
                <a:gd name="connsiteY1394" fmla="*/ 445624 h 716071"/>
                <a:gd name="connsiteX1395" fmla="*/ 237674 w 614938"/>
                <a:gd name="connsiteY1395" fmla="*/ 413926 h 716071"/>
                <a:gd name="connsiteX1396" fmla="*/ 239169 w 614938"/>
                <a:gd name="connsiteY1396" fmla="*/ 416019 h 716071"/>
                <a:gd name="connsiteX1397" fmla="*/ 212675 w 614938"/>
                <a:gd name="connsiteY1397" fmla="*/ 448136 h 716071"/>
                <a:gd name="connsiteX1398" fmla="*/ 186779 w 614938"/>
                <a:gd name="connsiteY1398" fmla="*/ 479594 h 716071"/>
                <a:gd name="connsiteX1399" fmla="*/ 185283 w 614938"/>
                <a:gd name="connsiteY1399" fmla="*/ 477262 h 716071"/>
                <a:gd name="connsiteX1400" fmla="*/ 211180 w 614938"/>
                <a:gd name="connsiteY1400" fmla="*/ 445982 h 716071"/>
                <a:gd name="connsiteX1401" fmla="*/ 212675 w 614938"/>
                <a:gd name="connsiteY1401" fmla="*/ 448136 h 716071"/>
                <a:gd name="connsiteX1402" fmla="*/ 186539 w 614938"/>
                <a:gd name="connsiteY1402" fmla="*/ 479893 h 716071"/>
                <a:gd name="connsiteX1403" fmla="*/ 160941 w 614938"/>
                <a:gd name="connsiteY1403" fmla="*/ 510933 h 716071"/>
                <a:gd name="connsiteX1404" fmla="*/ 159386 w 614938"/>
                <a:gd name="connsiteY1404" fmla="*/ 508481 h 716071"/>
                <a:gd name="connsiteX1405" fmla="*/ 184984 w 614938"/>
                <a:gd name="connsiteY1405" fmla="*/ 477561 h 716071"/>
                <a:gd name="connsiteX1406" fmla="*/ 186539 w 614938"/>
                <a:gd name="connsiteY1406" fmla="*/ 479893 h 716071"/>
                <a:gd name="connsiteX1407" fmla="*/ 160762 w 614938"/>
                <a:gd name="connsiteY1407" fmla="*/ 511232 h 716071"/>
                <a:gd name="connsiteX1408" fmla="*/ 135523 w 614938"/>
                <a:gd name="connsiteY1408" fmla="*/ 541913 h 716071"/>
                <a:gd name="connsiteX1409" fmla="*/ 133968 w 614938"/>
                <a:gd name="connsiteY1409" fmla="*/ 539282 h 716071"/>
                <a:gd name="connsiteX1410" fmla="*/ 159207 w 614938"/>
                <a:gd name="connsiteY1410" fmla="*/ 508780 h 716071"/>
                <a:gd name="connsiteX1411" fmla="*/ 160762 w 614938"/>
                <a:gd name="connsiteY1411" fmla="*/ 511232 h 716071"/>
                <a:gd name="connsiteX1412" fmla="*/ 135225 w 614938"/>
                <a:gd name="connsiteY1412" fmla="*/ 542212 h 716071"/>
                <a:gd name="connsiteX1413" fmla="*/ 110285 w 614938"/>
                <a:gd name="connsiteY1413" fmla="*/ 572534 h 716071"/>
                <a:gd name="connsiteX1414" fmla="*/ 108730 w 614938"/>
                <a:gd name="connsiteY1414" fmla="*/ 569783 h 716071"/>
                <a:gd name="connsiteX1415" fmla="*/ 133670 w 614938"/>
                <a:gd name="connsiteY1415" fmla="*/ 539640 h 716071"/>
                <a:gd name="connsiteX1416" fmla="*/ 135225 w 614938"/>
                <a:gd name="connsiteY1416" fmla="*/ 542212 h 716071"/>
                <a:gd name="connsiteX1417" fmla="*/ 110045 w 614938"/>
                <a:gd name="connsiteY1417" fmla="*/ 572834 h 716071"/>
                <a:gd name="connsiteX1418" fmla="*/ 85405 w 614938"/>
                <a:gd name="connsiteY1418" fmla="*/ 602737 h 716071"/>
                <a:gd name="connsiteX1419" fmla="*/ 83850 w 614938"/>
                <a:gd name="connsiteY1419" fmla="*/ 599807 h 716071"/>
                <a:gd name="connsiteX1420" fmla="*/ 108490 w 614938"/>
                <a:gd name="connsiteY1420" fmla="*/ 570023 h 716071"/>
                <a:gd name="connsiteX1421" fmla="*/ 110045 w 614938"/>
                <a:gd name="connsiteY1421" fmla="*/ 572834 h 716071"/>
                <a:gd name="connsiteX1422" fmla="*/ 85106 w 614938"/>
                <a:gd name="connsiteY1422" fmla="*/ 603036 h 716071"/>
                <a:gd name="connsiteX1423" fmla="*/ 60764 w 614938"/>
                <a:gd name="connsiteY1423" fmla="*/ 632581 h 716071"/>
                <a:gd name="connsiteX1424" fmla="*/ 59209 w 614938"/>
                <a:gd name="connsiteY1424" fmla="*/ 629471 h 716071"/>
                <a:gd name="connsiteX1425" fmla="*/ 83551 w 614938"/>
                <a:gd name="connsiteY1425" fmla="*/ 600046 h 716071"/>
                <a:gd name="connsiteX1426" fmla="*/ 85106 w 614938"/>
                <a:gd name="connsiteY1426" fmla="*/ 603036 h 716071"/>
                <a:gd name="connsiteX1427" fmla="*/ 60525 w 614938"/>
                <a:gd name="connsiteY1427" fmla="*/ 632880 h 716071"/>
                <a:gd name="connsiteX1428" fmla="*/ 36483 w 614938"/>
                <a:gd name="connsiteY1428" fmla="*/ 662066 h 716071"/>
                <a:gd name="connsiteX1429" fmla="*/ 34988 w 614938"/>
                <a:gd name="connsiteY1429" fmla="*/ 658836 h 716071"/>
                <a:gd name="connsiteX1430" fmla="*/ 59030 w 614938"/>
                <a:gd name="connsiteY1430" fmla="*/ 629770 h 716071"/>
                <a:gd name="connsiteX1431" fmla="*/ 60525 w 614938"/>
                <a:gd name="connsiteY1431" fmla="*/ 632880 h 716071"/>
                <a:gd name="connsiteX1432" fmla="*/ 17046 w 614938"/>
                <a:gd name="connsiteY1432" fmla="*/ 677376 h 716071"/>
                <a:gd name="connsiteX1433" fmla="*/ 17046 w 614938"/>
                <a:gd name="connsiteY1433" fmla="*/ 677376 h 716071"/>
                <a:gd name="connsiteX1434" fmla="*/ 17106 w 614938"/>
                <a:gd name="connsiteY1434" fmla="*/ 677376 h 716071"/>
                <a:gd name="connsiteX1435" fmla="*/ 17165 w 614938"/>
                <a:gd name="connsiteY1435" fmla="*/ 677376 h 716071"/>
                <a:gd name="connsiteX1436" fmla="*/ 17165 w 614938"/>
                <a:gd name="connsiteY1436" fmla="*/ 677376 h 716071"/>
                <a:gd name="connsiteX1437" fmla="*/ 17225 w 614938"/>
                <a:gd name="connsiteY1437" fmla="*/ 677317 h 716071"/>
                <a:gd name="connsiteX1438" fmla="*/ 17225 w 614938"/>
                <a:gd name="connsiteY1438" fmla="*/ 677317 h 716071"/>
                <a:gd name="connsiteX1439" fmla="*/ 34688 w 614938"/>
                <a:gd name="connsiteY1439" fmla="*/ 659075 h 716071"/>
                <a:gd name="connsiteX1440" fmla="*/ 36184 w 614938"/>
                <a:gd name="connsiteY1440" fmla="*/ 662305 h 716071"/>
                <a:gd name="connsiteX1441" fmla="*/ 19258 w 614938"/>
                <a:gd name="connsiteY1441" fmla="*/ 680786 h 716071"/>
                <a:gd name="connsiteX1442" fmla="*/ 17225 w 614938"/>
                <a:gd name="connsiteY1442" fmla="*/ 680247 h 716071"/>
                <a:gd name="connsiteX1443" fmla="*/ 14833 w 614938"/>
                <a:gd name="connsiteY1443" fmla="*/ 676360 h 716071"/>
                <a:gd name="connsiteX1444" fmla="*/ 17046 w 614938"/>
                <a:gd name="connsiteY1444" fmla="*/ 677376 h 716071"/>
                <a:gd name="connsiteX1445" fmla="*/ 11603 w 614938"/>
                <a:gd name="connsiteY1445" fmla="*/ 672233 h 716071"/>
                <a:gd name="connsiteX1446" fmla="*/ 11244 w 614938"/>
                <a:gd name="connsiteY1446" fmla="*/ 672652 h 716071"/>
                <a:gd name="connsiteX1447" fmla="*/ 11423 w 614938"/>
                <a:gd name="connsiteY1447" fmla="*/ 670499 h 716071"/>
                <a:gd name="connsiteX1448" fmla="*/ 11783 w 614938"/>
                <a:gd name="connsiteY1448" fmla="*/ 670080 h 716071"/>
                <a:gd name="connsiteX1449" fmla="*/ 11603 w 614938"/>
                <a:gd name="connsiteY1449" fmla="*/ 672233 h 716071"/>
                <a:gd name="connsiteX1450" fmla="*/ 11125 w 614938"/>
                <a:gd name="connsiteY1450" fmla="*/ 670439 h 716071"/>
                <a:gd name="connsiteX1451" fmla="*/ 10885 w 614938"/>
                <a:gd name="connsiteY1451" fmla="*/ 673070 h 716071"/>
                <a:gd name="connsiteX1452" fmla="*/ 10108 w 614938"/>
                <a:gd name="connsiteY1452" fmla="*/ 672592 h 716071"/>
                <a:gd name="connsiteX1453" fmla="*/ 10228 w 614938"/>
                <a:gd name="connsiteY1453" fmla="*/ 672233 h 716071"/>
                <a:gd name="connsiteX1454" fmla="*/ 10228 w 614938"/>
                <a:gd name="connsiteY1454" fmla="*/ 672233 h 716071"/>
                <a:gd name="connsiteX1455" fmla="*/ 10228 w 614938"/>
                <a:gd name="connsiteY1455" fmla="*/ 672233 h 716071"/>
                <a:gd name="connsiteX1456" fmla="*/ 10228 w 614938"/>
                <a:gd name="connsiteY1456" fmla="*/ 672233 h 716071"/>
                <a:gd name="connsiteX1457" fmla="*/ 10228 w 614938"/>
                <a:gd name="connsiteY1457" fmla="*/ 672233 h 716071"/>
                <a:gd name="connsiteX1458" fmla="*/ 10228 w 614938"/>
                <a:gd name="connsiteY1458" fmla="*/ 672233 h 716071"/>
                <a:gd name="connsiteX1459" fmla="*/ 10048 w 614938"/>
                <a:gd name="connsiteY1459" fmla="*/ 671515 h 716071"/>
                <a:gd name="connsiteX1460" fmla="*/ 10048 w 614938"/>
                <a:gd name="connsiteY1460" fmla="*/ 671515 h 716071"/>
                <a:gd name="connsiteX1461" fmla="*/ 10048 w 614938"/>
                <a:gd name="connsiteY1461" fmla="*/ 671515 h 716071"/>
                <a:gd name="connsiteX1462" fmla="*/ 10048 w 614938"/>
                <a:gd name="connsiteY1462" fmla="*/ 671456 h 716071"/>
                <a:gd name="connsiteX1463" fmla="*/ 10048 w 614938"/>
                <a:gd name="connsiteY1463" fmla="*/ 671456 h 716071"/>
                <a:gd name="connsiteX1464" fmla="*/ 10048 w 614938"/>
                <a:gd name="connsiteY1464" fmla="*/ 671456 h 716071"/>
                <a:gd name="connsiteX1465" fmla="*/ 9510 w 614938"/>
                <a:gd name="connsiteY1465" fmla="*/ 670738 h 716071"/>
                <a:gd name="connsiteX1466" fmla="*/ 9510 w 614938"/>
                <a:gd name="connsiteY1466" fmla="*/ 670738 h 716071"/>
                <a:gd name="connsiteX1467" fmla="*/ 9510 w 614938"/>
                <a:gd name="connsiteY1467" fmla="*/ 670738 h 716071"/>
                <a:gd name="connsiteX1468" fmla="*/ 9510 w 614938"/>
                <a:gd name="connsiteY1468" fmla="*/ 670738 h 716071"/>
                <a:gd name="connsiteX1469" fmla="*/ 9510 w 614938"/>
                <a:gd name="connsiteY1469" fmla="*/ 670738 h 716071"/>
                <a:gd name="connsiteX1470" fmla="*/ 9510 w 614938"/>
                <a:gd name="connsiteY1470" fmla="*/ 670738 h 716071"/>
                <a:gd name="connsiteX1471" fmla="*/ 8852 w 614938"/>
                <a:gd name="connsiteY1471" fmla="*/ 670020 h 716071"/>
                <a:gd name="connsiteX1472" fmla="*/ 8852 w 614938"/>
                <a:gd name="connsiteY1472" fmla="*/ 670020 h 716071"/>
                <a:gd name="connsiteX1473" fmla="*/ 8852 w 614938"/>
                <a:gd name="connsiteY1473" fmla="*/ 670020 h 716071"/>
                <a:gd name="connsiteX1474" fmla="*/ 8253 w 614938"/>
                <a:gd name="connsiteY1474" fmla="*/ 669602 h 716071"/>
                <a:gd name="connsiteX1475" fmla="*/ 8253 w 614938"/>
                <a:gd name="connsiteY1475" fmla="*/ 669602 h 716071"/>
                <a:gd name="connsiteX1476" fmla="*/ 8194 w 614938"/>
                <a:gd name="connsiteY1476" fmla="*/ 669602 h 716071"/>
                <a:gd name="connsiteX1477" fmla="*/ 8194 w 614938"/>
                <a:gd name="connsiteY1477" fmla="*/ 669602 h 716071"/>
                <a:gd name="connsiteX1478" fmla="*/ 7536 w 614938"/>
                <a:gd name="connsiteY1478" fmla="*/ 669303 h 716071"/>
                <a:gd name="connsiteX1479" fmla="*/ 7536 w 614938"/>
                <a:gd name="connsiteY1479" fmla="*/ 669303 h 716071"/>
                <a:gd name="connsiteX1480" fmla="*/ 7476 w 614938"/>
                <a:gd name="connsiteY1480" fmla="*/ 669303 h 716071"/>
                <a:gd name="connsiteX1481" fmla="*/ 7476 w 614938"/>
                <a:gd name="connsiteY1481" fmla="*/ 669303 h 716071"/>
                <a:gd name="connsiteX1482" fmla="*/ 6758 w 614938"/>
                <a:gd name="connsiteY1482" fmla="*/ 669183 h 716071"/>
                <a:gd name="connsiteX1483" fmla="*/ 6758 w 614938"/>
                <a:gd name="connsiteY1483" fmla="*/ 669183 h 716071"/>
                <a:gd name="connsiteX1484" fmla="*/ 6698 w 614938"/>
                <a:gd name="connsiteY1484" fmla="*/ 669183 h 716071"/>
                <a:gd name="connsiteX1485" fmla="*/ 6698 w 614938"/>
                <a:gd name="connsiteY1485" fmla="*/ 669183 h 716071"/>
                <a:gd name="connsiteX1486" fmla="*/ 6100 w 614938"/>
                <a:gd name="connsiteY1486" fmla="*/ 669303 h 716071"/>
                <a:gd name="connsiteX1487" fmla="*/ 6100 w 614938"/>
                <a:gd name="connsiteY1487" fmla="*/ 669303 h 716071"/>
                <a:gd name="connsiteX1488" fmla="*/ 6100 w 614938"/>
                <a:gd name="connsiteY1488" fmla="*/ 669303 h 716071"/>
                <a:gd name="connsiteX1489" fmla="*/ 6100 w 614938"/>
                <a:gd name="connsiteY1489" fmla="*/ 669303 h 716071"/>
                <a:gd name="connsiteX1490" fmla="*/ 5802 w 614938"/>
                <a:gd name="connsiteY1490" fmla="*/ 669542 h 716071"/>
                <a:gd name="connsiteX1491" fmla="*/ 5802 w 614938"/>
                <a:gd name="connsiteY1491" fmla="*/ 669661 h 716071"/>
                <a:gd name="connsiteX1492" fmla="*/ 5742 w 614938"/>
                <a:gd name="connsiteY1492" fmla="*/ 669721 h 716071"/>
                <a:gd name="connsiteX1493" fmla="*/ 5323 w 614938"/>
                <a:gd name="connsiteY1493" fmla="*/ 670020 h 716071"/>
                <a:gd name="connsiteX1494" fmla="*/ 3290 w 614938"/>
                <a:gd name="connsiteY1494" fmla="*/ 668824 h 716071"/>
                <a:gd name="connsiteX1495" fmla="*/ 3708 w 614938"/>
                <a:gd name="connsiteY1495" fmla="*/ 665236 h 716071"/>
                <a:gd name="connsiteX1496" fmla="*/ 11125 w 614938"/>
                <a:gd name="connsiteY1496" fmla="*/ 670439 h 716071"/>
                <a:gd name="connsiteX1497" fmla="*/ 8493 w 614938"/>
                <a:gd name="connsiteY1497" fmla="*/ 671635 h 716071"/>
                <a:gd name="connsiteX1498" fmla="*/ 8672 w 614938"/>
                <a:gd name="connsiteY1498" fmla="*/ 671755 h 716071"/>
                <a:gd name="connsiteX1499" fmla="*/ 8253 w 614938"/>
                <a:gd name="connsiteY1499" fmla="*/ 672054 h 716071"/>
                <a:gd name="connsiteX1500" fmla="*/ 8493 w 614938"/>
                <a:gd name="connsiteY1500" fmla="*/ 671635 h 716071"/>
                <a:gd name="connsiteX1501" fmla="*/ 7895 w 614938"/>
                <a:gd name="connsiteY1501" fmla="*/ 671874 h 716071"/>
                <a:gd name="connsiteX1502" fmla="*/ 7895 w 614938"/>
                <a:gd name="connsiteY1502" fmla="*/ 671276 h 716071"/>
                <a:gd name="connsiteX1503" fmla="*/ 8134 w 614938"/>
                <a:gd name="connsiteY1503" fmla="*/ 671396 h 716071"/>
                <a:gd name="connsiteX1504" fmla="*/ 7895 w 614938"/>
                <a:gd name="connsiteY1504" fmla="*/ 671874 h 716071"/>
                <a:gd name="connsiteX1505" fmla="*/ 8613 w 614938"/>
                <a:gd name="connsiteY1505" fmla="*/ 671336 h 716071"/>
                <a:gd name="connsiteX1506" fmla="*/ 8732 w 614938"/>
                <a:gd name="connsiteY1506" fmla="*/ 670319 h 716071"/>
                <a:gd name="connsiteX1507" fmla="*/ 9151 w 614938"/>
                <a:gd name="connsiteY1507" fmla="*/ 670678 h 716071"/>
                <a:gd name="connsiteX1508" fmla="*/ 8852 w 614938"/>
                <a:gd name="connsiteY1508" fmla="*/ 671575 h 716071"/>
                <a:gd name="connsiteX1509" fmla="*/ 8613 w 614938"/>
                <a:gd name="connsiteY1509" fmla="*/ 671336 h 716071"/>
                <a:gd name="connsiteX1510" fmla="*/ 8194 w 614938"/>
                <a:gd name="connsiteY1510" fmla="*/ 671097 h 716071"/>
                <a:gd name="connsiteX1511" fmla="*/ 7835 w 614938"/>
                <a:gd name="connsiteY1511" fmla="*/ 670917 h 716071"/>
                <a:gd name="connsiteX1512" fmla="*/ 7775 w 614938"/>
                <a:gd name="connsiteY1512" fmla="*/ 669781 h 716071"/>
                <a:gd name="connsiteX1513" fmla="*/ 8313 w 614938"/>
                <a:gd name="connsiteY1513" fmla="*/ 670020 h 716071"/>
                <a:gd name="connsiteX1514" fmla="*/ 8194 w 614938"/>
                <a:gd name="connsiteY1514" fmla="*/ 671097 h 716071"/>
                <a:gd name="connsiteX1515" fmla="*/ 7476 w 614938"/>
                <a:gd name="connsiteY1515" fmla="*/ 670858 h 716071"/>
                <a:gd name="connsiteX1516" fmla="*/ 7117 w 614938"/>
                <a:gd name="connsiteY1516" fmla="*/ 670798 h 716071"/>
                <a:gd name="connsiteX1517" fmla="*/ 6818 w 614938"/>
                <a:gd name="connsiteY1517" fmla="*/ 669661 h 716071"/>
                <a:gd name="connsiteX1518" fmla="*/ 7416 w 614938"/>
                <a:gd name="connsiteY1518" fmla="*/ 669781 h 716071"/>
                <a:gd name="connsiteX1519" fmla="*/ 7476 w 614938"/>
                <a:gd name="connsiteY1519" fmla="*/ 670858 h 716071"/>
                <a:gd name="connsiteX1520" fmla="*/ 7476 w 614938"/>
                <a:gd name="connsiteY1520" fmla="*/ 671216 h 716071"/>
                <a:gd name="connsiteX1521" fmla="*/ 7476 w 614938"/>
                <a:gd name="connsiteY1521" fmla="*/ 671814 h 716071"/>
                <a:gd name="connsiteX1522" fmla="*/ 7237 w 614938"/>
                <a:gd name="connsiteY1522" fmla="*/ 671157 h 716071"/>
                <a:gd name="connsiteX1523" fmla="*/ 7476 w 614938"/>
                <a:gd name="connsiteY1523" fmla="*/ 671216 h 716071"/>
                <a:gd name="connsiteX1524" fmla="*/ 8971 w 614938"/>
                <a:gd name="connsiteY1524" fmla="*/ 672054 h 716071"/>
                <a:gd name="connsiteX1525" fmla="*/ 9091 w 614938"/>
                <a:gd name="connsiteY1525" fmla="*/ 672173 h 716071"/>
                <a:gd name="connsiteX1526" fmla="*/ 8672 w 614938"/>
                <a:gd name="connsiteY1526" fmla="*/ 672293 h 716071"/>
                <a:gd name="connsiteX1527" fmla="*/ 8971 w 614938"/>
                <a:gd name="connsiteY1527" fmla="*/ 672054 h 716071"/>
                <a:gd name="connsiteX1528" fmla="*/ 9510 w 614938"/>
                <a:gd name="connsiteY1528" fmla="*/ 672413 h 716071"/>
                <a:gd name="connsiteX1529" fmla="*/ 9510 w 614938"/>
                <a:gd name="connsiteY1529" fmla="*/ 672413 h 716071"/>
                <a:gd name="connsiteX1530" fmla="*/ 9808 w 614938"/>
                <a:gd name="connsiteY1530" fmla="*/ 671874 h 716071"/>
                <a:gd name="connsiteX1531" fmla="*/ 9808 w 614938"/>
                <a:gd name="connsiteY1531" fmla="*/ 671994 h 716071"/>
                <a:gd name="connsiteX1532" fmla="*/ 9510 w 614938"/>
                <a:gd name="connsiteY1532" fmla="*/ 672413 h 716071"/>
                <a:gd name="connsiteX1533" fmla="*/ 9689 w 614938"/>
                <a:gd name="connsiteY1533" fmla="*/ 671336 h 716071"/>
                <a:gd name="connsiteX1534" fmla="*/ 9270 w 614938"/>
                <a:gd name="connsiteY1534" fmla="*/ 671994 h 716071"/>
                <a:gd name="connsiteX1535" fmla="*/ 9151 w 614938"/>
                <a:gd name="connsiteY1535" fmla="*/ 671814 h 716071"/>
                <a:gd name="connsiteX1536" fmla="*/ 9450 w 614938"/>
                <a:gd name="connsiteY1536" fmla="*/ 670977 h 716071"/>
                <a:gd name="connsiteX1537" fmla="*/ 9689 w 614938"/>
                <a:gd name="connsiteY1537" fmla="*/ 671336 h 716071"/>
                <a:gd name="connsiteX1538" fmla="*/ 8015 w 614938"/>
                <a:gd name="connsiteY1538" fmla="*/ 669602 h 716071"/>
                <a:gd name="connsiteX1539" fmla="*/ 8015 w 614938"/>
                <a:gd name="connsiteY1539" fmla="*/ 669602 h 716071"/>
                <a:gd name="connsiteX1540" fmla="*/ 7715 w 614938"/>
                <a:gd name="connsiteY1540" fmla="*/ 669482 h 716071"/>
                <a:gd name="connsiteX1541" fmla="*/ 7715 w 614938"/>
                <a:gd name="connsiteY1541" fmla="*/ 669482 h 716071"/>
                <a:gd name="connsiteX1542" fmla="*/ 8015 w 614938"/>
                <a:gd name="connsiteY1542" fmla="*/ 669602 h 716071"/>
                <a:gd name="connsiteX1543" fmla="*/ 7297 w 614938"/>
                <a:gd name="connsiteY1543" fmla="*/ 669303 h 716071"/>
                <a:gd name="connsiteX1544" fmla="*/ 7297 w 614938"/>
                <a:gd name="connsiteY1544" fmla="*/ 669362 h 716071"/>
                <a:gd name="connsiteX1545" fmla="*/ 6818 w 614938"/>
                <a:gd name="connsiteY1545" fmla="*/ 669303 h 716071"/>
                <a:gd name="connsiteX1546" fmla="*/ 6818 w 614938"/>
                <a:gd name="connsiteY1546" fmla="*/ 669243 h 716071"/>
                <a:gd name="connsiteX1547" fmla="*/ 7297 w 614938"/>
                <a:gd name="connsiteY1547" fmla="*/ 669303 h 716071"/>
                <a:gd name="connsiteX1548" fmla="*/ 6460 w 614938"/>
                <a:gd name="connsiteY1548" fmla="*/ 669661 h 716071"/>
                <a:gd name="connsiteX1549" fmla="*/ 6758 w 614938"/>
                <a:gd name="connsiteY1549" fmla="*/ 670798 h 716071"/>
                <a:gd name="connsiteX1550" fmla="*/ 6460 w 614938"/>
                <a:gd name="connsiteY1550" fmla="*/ 670858 h 716071"/>
                <a:gd name="connsiteX1551" fmla="*/ 5981 w 614938"/>
                <a:gd name="connsiteY1551" fmla="*/ 669721 h 716071"/>
                <a:gd name="connsiteX1552" fmla="*/ 6460 w 614938"/>
                <a:gd name="connsiteY1552" fmla="*/ 669661 h 716071"/>
                <a:gd name="connsiteX1553" fmla="*/ 6878 w 614938"/>
                <a:gd name="connsiteY1553" fmla="*/ 671157 h 716071"/>
                <a:gd name="connsiteX1554" fmla="*/ 7117 w 614938"/>
                <a:gd name="connsiteY1554" fmla="*/ 671755 h 716071"/>
                <a:gd name="connsiteX1555" fmla="*/ 6639 w 614938"/>
                <a:gd name="connsiteY1555" fmla="*/ 671157 h 716071"/>
                <a:gd name="connsiteX1556" fmla="*/ 6878 w 614938"/>
                <a:gd name="connsiteY1556" fmla="*/ 671157 h 716071"/>
                <a:gd name="connsiteX1557" fmla="*/ 9211 w 614938"/>
                <a:gd name="connsiteY1557" fmla="*/ 672532 h 716071"/>
                <a:gd name="connsiteX1558" fmla="*/ 9211 w 614938"/>
                <a:gd name="connsiteY1558" fmla="*/ 672652 h 716071"/>
                <a:gd name="connsiteX1559" fmla="*/ 8852 w 614938"/>
                <a:gd name="connsiteY1559" fmla="*/ 672592 h 716071"/>
                <a:gd name="connsiteX1560" fmla="*/ 9211 w 614938"/>
                <a:gd name="connsiteY1560" fmla="*/ 672532 h 716071"/>
                <a:gd name="connsiteX1561" fmla="*/ 5203 w 614938"/>
                <a:gd name="connsiteY1561" fmla="*/ 670080 h 716071"/>
                <a:gd name="connsiteX1562" fmla="*/ 5203 w 614938"/>
                <a:gd name="connsiteY1562" fmla="*/ 670080 h 716071"/>
                <a:gd name="connsiteX1563" fmla="*/ 5203 w 614938"/>
                <a:gd name="connsiteY1563" fmla="*/ 670080 h 716071"/>
                <a:gd name="connsiteX1564" fmla="*/ 5263 w 614938"/>
                <a:gd name="connsiteY1564" fmla="*/ 670140 h 716071"/>
                <a:gd name="connsiteX1565" fmla="*/ 5323 w 614938"/>
                <a:gd name="connsiteY1565" fmla="*/ 670140 h 716071"/>
                <a:gd name="connsiteX1566" fmla="*/ 5323 w 614938"/>
                <a:gd name="connsiteY1566" fmla="*/ 670140 h 716071"/>
                <a:gd name="connsiteX1567" fmla="*/ 5383 w 614938"/>
                <a:gd name="connsiteY1567" fmla="*/ 670140 h 716071"/>
                <a:gd name="connsiteX1568" fmla="*/ 5383 w 614938"/>
                <a:gd name="connsiteY1568" fmla="*/ 670140 h 716071"/>
                <a:gd name="connsiteX1569" fmla="*/ 5383 w 614938"/>
                <a:gd name="connsiteY1569" fmla="*/ 670140 h 716071"/>
                <a:gd name="connsiteX1570" fmla="*/ 5682 w 614938"/>
                <a:gd name="connsiteY1570" fmla="*/ 669960 h 716071"/>
                <a:gd name="connsiteX1571" fmla="*/ 6160 w 614938"/>
                <a:gd name="connsiteY1571" fmla="*/ 671037 h 716071"/>
                <a:gd name="connsiteX1572" fmla="*/ 5921 w 614938"/>
                <a:gd name="connsiteY1572" fmla="*/ 671216 h 716071"/>
                <a:gd name="connsiteX1573" fmla="*/ 5921 w 614938"/>
                <a:gd name="connsiteY1573" fmla="*/ 671456 h 716071"/>
                <a:gd name="connsiteX1574" fmla="*/ 5921 w 614938"/>
                <a:gd name="connsiteY1574" fmla="*/ 671456 h 716071"/>
                <a:gd name="connsiteX1575" fmla="*/ 6160 w 614938"/>
                <a:gd name="connsiteY1575" fmla="*/ 671515 h 716071"/>
                <a:gd name="connsiteX1576" fmla="*/ 6340 w 614938"/>
                <a:gd name="connsiteY1576" fmla="*/ 671396 h 716071"/>
                <a:gd name="connsiteX1577" fmla="*/ 7177 w 614938"/>
                <a:gd name="connsiteY1577" fmla="*/ 672413 h 716071"/>
                <a:gd name="connsiteX1578" fmla="*/ 7237 w 614938"/>
                <a:gd name="connsiteY1578" fmla="*/ 672472 h 716071"/>
                <a:gd name="connsiteX1579" fmla="*/ 7357 w 614938"/>
                <a:gd name="connsiteY1579" fmla="*/ 672532 h 716071"/>
                <a:gd name="connsiteX1580" fmla="*/ 7357 w 614938"/>
                <a:gd name="connsiteY1580" fmla="*/ 672532 h 716071"/>
                <a:gd name="connsiteX1581" fmla="*/ 7416 w 614938"/>
                <a:gd name="connsiteY1581" fmla="*/ 672652 h 716071"/>
                <a:gd name="connsiteX1582" fmla="*/ 7476 w 614938"/>
                <a:gd name="connsiteY1582" fmla="*/ 672712 h 716071"/>
                <a:gd name="connsiteX1583" fmla="*/ 7476 w 614938"/>
                <a:gd name="connsiteY1583" fmla="*/ 672712 h 716071"/>
                <a:gd name="connsiteX1584" fmla="*/ 7536 w 614938"/>
                <a:gd name="connsiteY1584" fmla="*/ 672771 h 716071"/>
                <a:gd name="connsiteX1585" fmla="*/ 7536 w 614938"/>
                <a:gd name="connsiteY1585" fmla="*/ 672771 h 716071"/>
                <a:gd name="connsiteX1586" fmla="*/ 7536 w 614938"/>
                <a:gd name="connsiteY1586" fmla="*/ 672771 h 716071"/>
                <a:gd name="connsiteX1587" fmla="*/ 7596 w 614938"/>
                <a:gd name="connsiteY1587" fmla="*/ 672831 h 716071"/>
                <a:gd name="connsiteX1588" fmla="*/ 7715 w 614938"/>
                <a:gd name="connsiteY1588" fmla="*/ 672891 h 716071"/>
                <a:gd name="connsiteX1589" fmla="*/ 7895 w 614938"/>
                <a:gd name="connsiteY1589" fmla="*/ 672951 h 716071"/>
                <a:gd name="connsiteX1590" fmla="*/ 7895 w 614938"/>
                <a:gd name="connsiteY1590" fmla="*/ 672951 h 716071"/>
                <a:gd name="connsiteX1591" fmla="*/ 7895 w 614938"/>
                <a:gd name="connsiteY1591" fmla="*/ 672951 h 716071"/>
                <a:gd name="connsiteX1592" fmla="*/ 8015 w 614938"/>
                <a:gd name="connsiteY1592" fmla="*/ 673011 h 716071"/>
                <a:gd name="connsiteX1593" fmla="*/ 8971 w 614938"/>
                <a:gd name="connsiteY1593" fmla="*/ 673070 h 716071"/>
                <a:gd name="connsiteX1594" fmla="*/ 8971 w 614938"/>
                <a:gd name="connsiteY1594" fmla="*/ 673130 h 716071"/>
                <a:gd name="connsiteX1595" fmla="*/ 9031 w 614938"/>
                <a:gd name="connsiteY1595" fmla="*/ 673369 h 716071"/>
                <a:gd name="connsiteX1596" fmla="*/ 9091 w 614938"/>
                <a:gd name="connsiteY1596" fmla="*/ 673369 h 716071"/>
                <a:gd name="connsiteX1597" fmla="*/ 9330 w 614938"/>
                <a:gd name="connsiteY1597" fmla="*/ 673369 h 716071"/>
                <a:gd name="connsiteX1598" fmla="*/ 9450 w 614938"/>
                <a:gd name="connsiteY1598" fmla="*/ 673070 h 716071"/>
                <a:gd name="connsiteX1599" fmla="*/ 9630 w 614938"/>
                <a:gd name="connsiteY1599" fmla="*/ 672831 h 716071"/>
                <a:gd name="connsiteX1600" fmla="*/ 9630 w 614938"/>
                <a:gd name="connsiteY1600" fmla="*/ 672831 h 716071"/>
                <a:gd name="connsiteX1601" fmla="*/ 9630 w 614938"/>
                <a:gd name="connsiteY1601" fmla="*/ 672831 h 716071"/>
                <a:gd name="connsiteX1602" fmla="*/ 9630 w 614938"/>
                <a:gd name="connsiteY1602" fmla="*/ 672831 h 716071"/>
                <a:gd name="connsiteX1603" fmla="*/ 10706 w 614938"/>
                <a:gd name="connsiteY1603" fmla="*/ 673489 h 716071"/>
                <a:gd name="connsiteX1604" fmla="*/ 11842 w 614938"/>
                <a:gd name="connsiteY1604" fmla="*/ 677018 h 716071"/>
                <a:gd name="connsiteX1605" fmla="*/ 4605 w 614938"/>
                <a:gd name="connsiteY1605" fmla="*/ 673788 h 716071"/>
                <a:gd name="connsiteX1606" fmla="*/ 3050 w 614938"/>
                <a:gd name="connsiteY1606" fmla="*/ 668944 h 716071"/>
                <a:gd name="connsiteX1607" fmla="*/ 5203 w 614938"/>
                <a:gd name="connsiteY1607" fmla="*/ 670080 h 716071"/>
                <a:gd name="connsiteX1608" fmla="*/ 12201 w 614938"/>
                <a:gd name="connsiteY1608" fmla="*/ 677317 h 716071"/>
                <a:gd name="connsiteX1609" fmla="*/ 14773 w 614938"/>
                <a:gd name="connsiteY1609" fmla="*/ 681563 h 716071"/>
                <a:gd name="connsiteX1610" fmla="*/ 8493 w 614938"/>
                <a:gd name="connsiteY1610" fmla="*/ 679888 h 716071"/>
                <a:gd name="connsiteX1611" fmla="*/ 5024 w 614938"/>
                <a:gd name="connsiteY1611" fmla="*/ 674147 h 716071"/>
                <a:gd name="connsiteX1612" fmla="*/ 12201 w 614938"/>
                <a:gd name="connsiteY1612" fmla="*/ 677317 h 716071"/>
                <a:gd name="connsiteX1613" fmla="*/ 15012 w 614938"/>
                <a:gd name="connsiteY1613" fmla="*/ 681982 h 716071"/>
                <a:gd name="connsiteX1614" fmla="*/ 17404 w 614938"/>
                <a:gd name="connsiteY1614" fmla="*/ 684852 h 716071"/>
                <a:gd name="connsiteX1615" fmla="*/ 16746 w 614938"/>
                <a:gd name="connsiteY1615" fmla="*/ 684494 h 716071"/>
                <a:gd name="connsiteX1616" fmla="*/ 16746 w 614938"/>
                <a:gd name="connsiteY1616" fmla="*/ 684494 h 716071"/>
                <a:gd name="connsiteX1617" fmla="*/ 16686 w 614938"/>
                <a:gd name="connsiteY1617" fmla="*/ 684494 h 716071"/>
                <a:gd name="connsiteX1618" fmla="*/ 16627 w 614938"/>
                <a:gd name="connsiteY1618" fmla="*/ 684494 h 716071"/>
                <a:gd name="connsiteX1619" fmla="*/ 16627 w 614938"/>
                <a:gd name="connsiteY1619" fmla="*/ 684494 h 716071"/>
                <a:gd name="connsiteX1620" fmla="*/ 16268 w 614938"/>
                <a:gd name="connsiteY1620" fmla="*/ 684434 h 716071"/>
                <a:gd name="connsiteX1621" fmla="*/ 16268 w 614938"/>
                <a:gd name="connsiteY1621" fmla="*/ 684434 h 716071"/>
                <a:gd name="connsiteX1622" fmla="*/ 16208 w 614938"/>
                <a:gd name="connsiteY1622" fmla="*/ 684434 h 716071"/>
                <a:gd name="connsiteX1623" fmla="*/ 16208 w 614938"/>
                <a:gd name="connsiteY1623" fmla="*/ 684434 h 716071"/>
                <a:gd name="connsiteX1624" fmla="*/ 16208 w 614938"/>
                <a:gd name="connsiteY1624" fmla="*/ 684434 h 716071"/>
                <a:gd name="connsiteX1625" fmla="*/ 16208 w 614938"/>
                <a:gd name="connsiteY1625" fmla="*/ 684434 h 716071"/>
                <a:gd name="connsiteX1626" fmla="*/ 15729 w 614938"/>
                <a:gd name="connsiteY1626" fmla="*/ 684494 h 716071"/>
                <a:gd name="connsiteX1627" fmla="*/ 15729 w 614938"/>
                <a:gd name="connsiteY1627" fmla="*/ 684494 h 716071"/>
                <a:gd name="connsiteX1628" fmla="*/ 15729 w 614938"/>
                <a:gd name="connsiteY1628" fmla="*/ 684494 h 716071"/>
                <a:gd name="connsiteX1629" fmla="*/ 15012 w 614938"/>
                <a:gd name="connsiteY1629" fmla="*/ 684793 h 716071"/>
                <a:gd name="connsiteX1630" fmla="*/ 15012 w 614938"/>
                <a:gd name="connsiteY1630" fmla="*/ 684793 h 716071"/>
                <a:gd name="connsiteX1631" fmla="*/ 14952 w 614938"/>
                <a:gd name="connsiteY1631" fmla="*/ 684793 h 716071"/>
                <a:gd name="connsiteX1632" fmla="*/ 14892 w 614938"/>
                <a:gd name="connsiteY1632" fmla="*/ 684852 h 716071"/>
                <a:gd name="connsiteX1633" fmla="*/ 14833 w 614938"/>
                <a:gd name="connsiteY1633" fmla="*/ 684912 h 716071"/>
                <a:gd name="connsiteX1634" fmla="*/ 14713 w 614938"/>
                <a:gd name="connsiteY1634" fmla="*/ 685032 h 716071"/>
                <a:gd name="connsiteX1635" fmla="*/ 14414 w 614938"/>
                <a:gd name="connsiteY1635" fmla="*/ 685331 h 716071"/>
                <a:gd name="connsiteX1636" fmla="*/ 14474 w 614938"/>
                <a:gd name="connsiteY1636" fmla="*/ 685570 h 716071"/>
                <a:gd name="connsiteX1637" fmla="*/ 14474 w 614938"/>
                <a:gd name="connsiteY1637" fmla="*/ 685570 h 716071"/>
                <a:gd name="connsiteX1638" fmla="*/ 14713 w 614938"/>
                <a:gd name="connsiteY1638" fmla="*/ 685630 h 716071"/>
                <a:gd name="connsiteX1639" fmla="*/ 14833 w 614938"/>
                <a:gd name="connsiteY1639" fmla="*/ 685510 h 716071"/>
                <a:gd name="connsiteX1640" fmla="*/ 15550 w 614938"/>
                <a:gd name="connsiteY1640" fmla="*/ 686407 h 716071"/>
                <a:gd name="connsiteX1641" fmla="*/ 15251 w 614938"/>
                <a:gd name="connsiteY1641" fmla="*/ 686706 h 716071"/>
                <a:gd name="connsiteX1642" fmla="*/ 13936 w 614938"/>
                <a:gd name="connsiteY1642" fmla="*/ 686706 h 716071"/>
                <a:gd name="connsiteX1643" fmla="*/ 8792 w 614938"/>
                <a:gd name="connsiteY1643" fmla="*/ 680427 h 716071"/>
                <a:gd name="connsiteX1644" fmla="*/ 15012 w 614938"/>
                <a:gd name="connsiteY1644" fmla="*/ 681982 h 716071"/>
                <a:gd name="connsiteX1645" fmla="*/ 15550 w 614938"/>
                <a:gd name="connsiteY1645" fmla="*/ 686946 h 716071"/>
                <a:gd name="connsiteX1646" fmla="*/ 15550 w 614938"/>
                <a:gd name="connsiteY1646" fmla="*/ 686946 h 716071"/>
                <a:gd name="connsiteX1647" fmla="*/ 15550 w 614938"/>
                <a:gd name="connsiteY1647" fmla="*/ 686946 h 716071"/>
                <a:gd name="connsiteX1648" fmla="*/ 15610 w 614938"/>
                <a:gd name="connsiteY1648" fmla="*/ 686946 h 716071"/>
                <a:gd name="connsiteX1649" fmla="*/ 15610 w 614938"/>
                <a:gd name="connsiteY1649" fmla="*/ 686946 h 716071"/>
                <a:gd name="connsiteX1650" fmla="*/ 15909 w 614938"/>
                <a:gd name="connsiteY1650" fmla="*/ 686647 h 716071"/>
                <a:gd name="connsiteX1651" fmla="*/ 17165 w 614938"/>
                <a:gd name="connsiteY1651" fmla="*/ 687903 h 716071"/>
                <a:gd name="connsiteX1652" fmla="*/ 16986 w 614938"/>
                <a:gd name="connsiteY1652" fmla="*/ 688082 h 716071"/>
                <a:gd name="connsiteX1653" fmla="*/ 17046 w 614938"/>
                <a:gd name="connsiteY1653" fmla="*/ 688321 h 716071"/>
                <a:gd name="connsiteX1654" fmla="*/ 17046 w 614938"/>
                <a:gd name="connsiteY1654" fmla="*/ 688321 h 716071"/>
                <a:gd name="connsiteX1655" fmla="*/ 17284 w 614938"/>
                <a:gd name="connsiteY1655" fmla="*/ 688381 h 716071"/>
                <a:gd name="connsiteX1656" fmla="*/ 17464 w 614938"/>
                <a:gd name="connsiteY1656" fmla="*/ 688202 h 716071"/>
                <a:gd name="connsiteX1657" fmla="*/ 18241 w 614938"/>
                <a:gd name="connsiteY1657" fmla="*/ 688800 h 716071"/>
                <a:gd name="connsiteX1658" fmla="*/ 18421 w 614938"/>
                <a:gd name="connsiteY1658" fmla="*/ 688860 h 716071"/>
                <a:gd name="connsiteX1659" fmla="*/ 18421 w 614938"/>
                <a:gd name="connsiteY1659" fmla="*/ 688860 h 716071"/>
                <a:gd name="connsiteX1660" fmla="*/ 18601 w 614938"/>
                <a:gd name="connsiteY1660" fmla="*/ 688919 h 716071"/>
                <a:gd name="connsiteX1661" fmla="*/ 18660 w 614938"/>
                <a:gd name="connsiteY1661" fmla="*/ 688919 h 716071"/>
                <a:gd name="connsiteX1662" fmla="*/ 18720 w 614938"/>
                <a:gd name="connsiteY1662" fmla="*/ 688919 h 716071"/>
                <a:gd name="connsiteX1663" fmla="*/ 18780 w 614938"/>
                <a:gd name="connsiteY1663" fmla="*/ 688919 h 716071"/>
                <a:gd name="connsiteX1664" fmla="*/ 18839 w 614938"/>
                <a:gd name="connsiteY1664" fmla="*/ 688919 h 716071"/>
                <a:gd name="connsiteX1665" fmla="*/ 18899 w 614938"/>
                <a:gd name="connsiteY1665" fmla="*/ 688860 h 716071"/>
                <a:gd name="connsiteX1666" fmla="*/ 18899 w 614938"/>
                <a:gd name="connsiteY1666" fmla="*/ 688860 h 716071"/>
                <a:gd name="connsiteX1667" fmla="*/ 18959 w 614938"/>
                <a:gd name="connsiteY1667" fmla="*/ 688800 h 716071"/>
                <a:gd name="connsiteX1668" fmla="*/ 19258 w 614938"/>
                <a:gd name="connsiteY1668" fmla="*/ 688441 h 716071"/>
                <a:gd name="connsiteX1669" fmla="*/ 19377 w 614938"/>
                <a:gd name="connsiteY1669" fmla="*/ 688381 h 716071"/>
                <a:gd name="connsiteX1670" fmla="*/ 19557 w 614938"/>
                <a:gd name="connsiteY1670" fmla="*/ 688082 h 716071"/>
                <a:gd name="connsiteX1671" fmla="*/ 19557 w 614938"/>
                <a:gd name="connsiteY1671" fmla="*/ 688082 h 716071"/>
                <a:gd name="connsiteX1672" fmla="*/ 19557 w 614938"/>
                <a:gd name="connsiteY1672" fmla="*/ 688022 h 716071"/>
                <a:gd name="connsiteX1673" fmla="*/ 19557 w 614938"/>
                <a:gd name="connsiteY1673" fmla="*/ 687723 h 716071"/>
                <a:gd name="connsiteX1674" fmla="*/ 19557 w 614938"/>
                <a:gd name="connsiteY1674" fmla="*/ 687723 h 716071"/>
                <a:gd name="connsiteX1675" fmla="*/ 19557 w 614938"/>
                <a:gd name="connsiteY1675" fmla="*/ 687723 h 716071"/>
                <a:gd name="connsiteX1676" fmla="*/ 19557 w 614938"/>
                <a:gd name="connsiteY1676" fmla="*/ 687723 h 716071"/>
                <a:gd name="connsiteX1677" fmla="*/ 19557 w 614938"/>
                <a:gd name="connsiteY1677" fmla="*/ 687663 h 716071"/>
                <a:gd name="connsiteX1678" fmla="*/ 19557 w 614938"/>
                <a:gd name="connsiteY1678" fmla="*/ 687663 h 716071"/>
                <a:gd name="connsiteX1679" fmla="*/ 19557 w 614938"/>
                <a:gd name="connsiteY1679" fmla="*/ 687663 h 716071"/>
                <a:gd name="connsiteX1680" fmla="*/ 19557 w 614938"/>
                <a:gd name="connsiteY1680" fmla="*/ 687663 h 716071"/>
                <a:gd name="connsiteX1681" fmla="*/ 19557 w 614938"/>
                <a:gd name="connsiteY1681" fmla="*/ 687663 h 716071"/>
                <a:gd name="connsiteX1682" fmla="*/ 19557 w 614938"/>
                <a:gd name="connsiteY1682" fmla="*/ 687663 h 716071"/>
                <a:gd name="connsiteX1683" fmla="*/ 19437 w 614938"/>
                <a:gd name="connsiteY1683" fmla="*/ 687364 h 716071"/>
                <a:gd name="connsiteX1684" fmla="*/ 23983 w 614938"/>
                <a:gd name="connsiteY1684" fmla="*/ 691790 h 716071"/>
                <a:gd name="connsiteX1685" fmla="*/ 20814 w 614938"/>
                <a:gd name="connsiteY1685" fmla="*/ 693405 h 716071"/>
                <a:gd name="connsiteX1686" fmla="*/ 14294 w 614938"/>
                <a:gd name="connsiteY1686" fmla="*/ 687065 h 716071"/>
                <a:gd name="connsiteX1687" fmla="*/ 15550 w 614938"/>
                <a:gd name="connsiteY1687" fmla="*/ 686946 h 716071"/>
                <a:gd name="connsiteX1688" fmla="*/ 24342 w 614938"/>
                <a:gd name="connsiteY1688" fmla="*/ 691969 h 716071"/>
                <a:gd name="connsiteX1689" fmla="*/ 29844 w 614938"/>
                <a:gd name="connsiteY1689" fmla="*/ 696395 h 716071"/>
                <a:gd name="connsiteX1690" fmla="*/ 28588 w 614938"/>
                <a:gd name="connsiteY1690" fmla="*/ 699565 h 716071"/>
                <a:gd name="connsiteX1691" fmla="*/ 21172 w 614938"/>
                <a:gd name="connsiteY1691" fmla="*/ 693584 h 716071"/>
                <a:gd name="connsiteX1692" fmla="*/ 24342 w 614938"/>
                <a:gd name="connsiteY1692" fmla="*/ 691969 h 716071"/>
                <a:gd name="connsiteX1693" fmla="*/ 29007 w 614938"/>
                <a:gd name="connsiteY1693" fmla="*/ 699804 h 716071"/>
                <a:gd name="connsiteX1694" fmla="*/ 30263 w 614938"/>
                <a:gd name="connsiteY1694" fmla="*/ 696634 h 716071"/>
                <a:gd name="connsiteX1695" fmla="*/ 35466 w 614938"/>
                <a:gd name="connsiteY1695" fmla="*/ 700103 h 716071"/>
                <a:gd name="connsiteX1696" fmla="*/ 35167 w 614938"/>
                <a:gd name="connsiteY1696" fmla="*/ 700043 h 716071"/>
                <a:gd name="connsiteX1697" fmla="*/ 35167 w 614938"/>
                <a:gd name="connsiteY1697" fmla="*/ 700043 h 716071"/>
                <a:gd name="connsiteX1698" fmla="*/ 35167 w 614938"/>
                <a:gd name="connsiteY1698" fmla="*/ 700043 h 716071"/>
                <a:gd name="connsiteX1699" fmla="*/ 35167 w 614938"/>
                <a:gd name="connsiteY1699" fmla="*/ 700043 h 716071"/>
                <a:gd name="connsiteX1700" fmla="*/ 35167 w 614938"/>
                <a:gd name="connsiteY1700" fmla="*/ 700043 h 716071"/>
                <a:gd name="connsiteX1701" fmla="*/ 35107 w 614938"/>
                <a:gd name="connsiteY1701" fmla="*/ 700043 h 716071"/>
                <a:gd name="connsiteX1702" fmla="*/ 35107 w 614938"/>
                <a:gd name="connsiteY1702" fmla="*/ 700043 h 716071"/>
                <a:gd name="connsiteX1703" fmla="*/ 35107 w 614938"/>
                <a:gd name="connsiteY1703" fmla="*/ 700043 h 716071"/>
                <a:gd name="connsiteX1704" fmla="*/ 34808 w 614938"/>
                <a:gd name="connsiteY1704" fmla="*/ 700163 h 716071"/>
                <a:gd name="connsiteX1705" fmla="*/ 34808 w 614938"/>
                <a:gd name="connsiteY1705" fmla="*/ 700163 h 716071"/>
                <a:gd name="connsiteX1706" fmla="*/ 34808 w 614938"/>
                <a:gd name="connsiteY1706" fmla="*/ 700163 h 716071"/>
                <a:gd name="connsiteX1707" fmla="*/ 34569 w 614938"/>
                <a:gd name="connsiteY1707" fmla="*/ 700402 h 716071"/>
                <a:gd name="connsiteX1708" fmla="*/ 34569 w 614938"/>
                <a:gd name="connsiteY1708" fmla="*/ 700462 h 716071"/>
                <a:gd name="connsiteX1709" fmla="*/ 34210 w 614938"/>
                <a:gd name="connsiteY1709" fmla="*/ 700821 h 716071"/>
                <a:gd name="connsiteX1710" fmla="*/ 34210 w 614938"/>
                <a:gd name="connsiteY1710" fmla="*/ 700881 h 716071"/>
                <a:gd name="connsiteX1711" fmla="*/ 34210 w 614938"/>
                <a:gd name="connsiteY1711" fmla="*/ 700881 h 716071"/>
                <a:gd name="connsiteX1712" fmla="*/ 34150 w 614938"/>
                <a:gd name="connsiteY1712" fmla="*/ 700941 h 716071"/>
                <a:gd name="connsiteX1713" fmla="*/ 34150 w 614938"/>
                <a:gd name="connsiteY1713" fmla="*/ 701000 h 716071"/>
                <a:gd name="connsiteX1714" fmla="*/ 34150 w 614938"/>
                <a:gd name="connsiteY1714" fmla="*/ 701060 h 716071"/>
                <a:gd name="connsiteX1715" fmla="*/ 34150 w 614938"/>
                <a:gd name="connsiteY1715" fmla="*/ 701120 h 716071"/>
                <a:gd name="connsiteX1716" fmla="*/ 34150 w 614938"/>
                <a:gd name="connsiteY1716" fmla="*/ 701120 h 716071"/>
                <a:gd name="connsiteX1717" fmla="*/ 34210 w 614938"/>
                <a:gd name="connsiteY1717" fmla="*/ 701240 h 716071"/>
                <a:gd name="connsiteX1718" fmla="*/ 34210 w 614938"/>
                <a:gd name="connsiteY1718" fmla="*/ 701240 h 716071"/>
                <a:gd name="connsiteX1719" fmla="*/ 34329 w 614938"/>
                <a:gd name="connsiteY1719" fmla="*/ 701419 h 716071"/>
                <a:gd name="connsiteX1720" fmla="*/ 34329 w 614938"/>
                <a:gd name="connsiteY1720" fmla="*/ 701419 h 716071"/>
                <a:gd name="connsiteX1721" fmla="*/ 34988 w 614938"/>
                <a:gd name="connsiteY1721" fmla="*/ 702017 h 716071"/>
                <a:gd name="connsiteX1722" fmla="*/ 34868 w 614938"/>
                <a:gd name="connsiteY1722" fmla="*/ 702256 h 716071"/>
                <a:gd name="connsiteX1723" fmla="*/ 34928 w 614938"/>
                <a:gd name="connsiteY1723" fmla="*/ 702496 h 716071"/>
                <a:gd name="connsiteX1724" fmla="*/ 34928 w 614938"/>
                <a:gd name="connsiteY1724" fmla="*/ 702496 h 716071"/>
                <a:gd name="connsiteX1725" fmla="*/ 35167 w 614938"/>
                <a:gd name="connsiteY1725" fmla="*/ 702496 h 716071"/>
                <a:gd name="connsiteX1726" fmla="*/ 35286 w 614938"/>
                <a:gd name="connsiteY1726" fmla="*/ 702256 h 716071"/>
                <a:gd name="connsiteX1727" fmla="*/ 36782 w 614938"/>
                <a:gd name="connsiteY1727" fmla="*/ 703213 h 716071"/>
                <a:gd name="connsiteX1728" fmla="*/ 36543 w 614938"/>
                <a:gd name="connsiteY1728" fmla="*/ 703572 h 716071"/>
                <a:gd name="connsiteX1729" fmla="*/ 36543 w 614938"/>
                <a:gd name="connsiteY1729" fmla="*/ 703572 h 716071"/>
                <a:gd name="connsiteX1730" fmla="*/ 36543 w 614938"/>
                <a:gd name="connsiteY1730" fmla="*/ 703572 h 716071"/>
                <a:gd name="connsiteX1731" fmla="*/ 36543 w 614938"/>
                <a:gd name="connsiteY1731" fmla="*/ 703632 h 716071"/>
                <a:gd name="connsiteX1732" fmla="*/ 36543 w 614938"/>
                <a:gd name="connsiteY1732" fmla="*/ 703632 h 716071"/>
                <a:gd name="connsiteX1733" fmla="*/ 36722 w 614938"/>
                <a:gd name="connsiteY1733" fmla="*/ 704708 h 716071"/>
                <a:gd name="connsiteX1734" fmla="*/ 29007 w 614938"/>
                <a:gd name="connsiteY1734" fmla="*/ 699804 h 716071"/>
                <a:gd name="connsiteX1735" fmla="*/ 37081 w 614938"/>
                <a:gd name="connsiteY1735" fmla="*/ 705127 h 716071"/>
                <a:gd name="connsiteX1736" fmla="*/ 36901 w 614938"/>
                <a:gd name="connsiteY1736" fmla="*/ 703931 h 716071"/>
                <a:gd name="connsiteX1737" fmla="*/ 37141 w 614938"/>
                <a:gd name="connsiteY1737" fmla="*/ 703572 h 716071"/>
                <a:gd name="connsiteX1738" fmla="*/ 38217 w 614938"/>
                <a:gd name="connsiteY1738" fmla="*/ 704110 h 716071"/>
                <a:gd name="connsiteX1739" fmla="*/ 38097 w 614938"/>
                <a:gd name="connsiteY1739" fmla="*/ 704290 h 716071"/>
                <a:gd name="connsiteX1740" fmla="*/ 38157 w 614938"/>
                <a:gd name="connsiteY1740" fmla="*/ 704529 h 716071"/>
                <a:gd name="connsiteX1741" fmla="*/ 38157 w 614938"/>
                <a:gd name="connsiteY1741" fmla="*/ 704529 h 716071"/>
                <a:gd name="connsiteX1742" fmla="*/ 38397 w 614938"/>
                <a:gd name="connsiteY1742" fmla="*/ 704529 h 716071"/>
                <a:gd name="connsiteX1743" fmla="*/ 38576 w 614938"/>
                <a:gd name="connsiteY1743" fmla="*/ 704230 h 716071"/>
                <a:gd name="connsiteX1744" fmla="*/ 38756 w 614938"/>
                <a:gd name="connsiteY1744" fmla="*/ 704110 h 716071"/>
                <a:gd name="connsiteX1745" fmla="*/ 38815 w 614938"/>
                <a:gd name="connsiteY1745" fmla="*/ 704051 h 716071"/>
                <a:gd name="connsiteX1746" fmla="*/ 38875 w 614938"/>
                <a:gd name="connsiteY1746" fmla="*/ 703931 h 716071"/>
                <a:gd name="connsiteX1747" fmla="*/ 38875 w 614938"/>
                <a:gd name="connsiteY1747" fmla="*/ 703871 h 716071"/>
                <a:gd name="connsiteX1748" fmla="*/ 38935 w 614938"/>
                <a:gd name="connsiteY1748" fmla="*/ 703034 h 716071"/>
                <a:gd name="connsiteX1749" fmla="*/ 38935 w 614938"/>
                <a:gd name="connsiteY1749" fmla="*/ 703034 h 716071"/>
                <a:gd name="connsiteX1750" fmla="*/ 38935 w 614938"/>
                <a:gd name="connsiteY1750" fmla="*/ 703034 h 716071"/>
                <a:gd name="connsiteX1751" fmla="*/ 38935 w 614938"/>
                <a:gd name="connsiteY1751" fmla="*/ 702555 h 716071"/>
                <a:gd name="connsiteX1752" fmla="*/ 38935 w 614938"/>
                <a:gd name="connsiteY1752" fmla="*/ 702555 h 716071"/>
                <a:gd name="connsiteX1753" fmla="*/ 38935 w 614938"/>
                <a:gd name="connsiteY1753" fmla="*/ 702496 h 716071"/>
                <a:gd name="connsiteX1754" fmla="*/ 38935 w 614938"/>
                <a:gd name="connsiteY1754" fmla="*/ 702496 h 716071"/>
                <a:gd name="connsiteX1755" fmla="*/ 38935 w 614938"/>
                <a:gd name="connsiteY1755" fmla="*/ 702496 h 716071"/>
                <a:gd name="connsiteX1756" fmla="*/ 38935 w 614938"/>
                <a:gd name="connsiteY1756" fmla="*/ 702496 h 716071"/>
                <a:gd name="connsiteX1757" fmla="*/ 38815 w 614938"/>
                <a:gd name="connsiteY1757" fmla="*/ 702197 h 716071"/>
                <a:gd name="connsiteX1758" fmla="*/ 38815 w 614938"/>
                <a:gd name="connsiteY1758" fmla="*/ 702197 h 716071"/>
                <a:gd name="connsiteX1759" fmla="*/ 38815 w 614938"/>
                <a:gd name="connsiteY1759" fmla="*/ 702137 h 716071"/>
                <a:gd name="connsiteX1760" fmla="*/ 38815 w 614938"/>
                <a:gd name="connsiteY1760" fmla="*/ 702077 h 716071"/>
                <a:gd name="connsiteX1761" fmla="*/ 38815 w 614938"/>
                <a:gd name="connsiteY1761" fmla="*/ 702077 h 716071"/>
                <a:gd name="connsiteX1762" fmla="*/ 38397 w 614938"/>
                <a:gd name="connsiteY1762" fmla="*/ 701598 h 716071"/>
                <a:gd name="connsiteX1763" fmla="*/ 41865 w 614938"/>
                <a:gd name="connsiteY1763" fmla="*/ 703393 h 716071"/>
                <a:gd name="connsiteX1764" fmla="*/ 44557 w 614938"/>
                <a:gd name="connsiteY1764" fmla="*/ 708835 h 716071"/>
                <a:gd name="connsiteX1765" fmla="*/ 37081 w 614938"/>
                <a:gd name="connsiteY1765" fmla="*/ 705127 h 716071"/>
                <a:gd name="connsiteX1766" fmla="*/ 44975 w 614938"/>
                <a:gd name="connsiteY1766" fmla="*/ 709134 h 716071"/>
                <a:gd name="connsiteX1767" fmla="*/ 42284 w 614938"/>
                <a:gd name="connsiteY1767" fmla="*/ 703632 h 716071"/>
                <a:gd name="connsiteX1768" fmla="*/ 47128 w 614938"/>
                <a:gd name="connsiteY1768" fmla="*/ 705366 h 716071"/>
                <a:gd name="connsiteX1769" fmla="*/ 51554 w 614938"/>
                <a:gd name="connsiteY1769" fmla="*/ 711467 h 716071"/>
                <a:gd name="connsiteX1770" fmla="*/ 44975 w 614938"/>
                <a:gd name="connsiteY1770" fmla="*/ 709134 h 716071"/>
                <a:gd name="connsiteX1771" fmla="*/ 52033 w 614938"/>
                <a:gd name="connsiteY1771" fmla="*/ 711646 h 716071"/>
                <a:gd name="connsiteX1772" fmla="*/ 47547 w 614938"/>
                <a:gd name="connsiteY1772" fmla="*/ 705486 h 716071"/>
                <a:gd name="connsiteX1773" fmla="*/ 51435 w 614938"/>
                <a:gd name="connsiteY1773" fmla="*/ 706024 h 716071"/>
                <a:gd name="connsiteX1774" fmla="*/ 52212 w 614938"/>
                <a:gd name="connsiteY1774" fmla="*/ 706861 h 716071"/>
                <a:gd name="connsiteX1775" fmla="*/ 52033 w 614938"/>
                <a:gd name="connsiteY1775" fmla="*/ 707041 h 716071"/>
                <a:gd name="connsiteX1776" fmla="*/ 51733 w 614938"/>
                <a:gd name="connsiteY1776" fmla="*/ 707220 h 716071"/>
                <a:gd name="connsiteX1777" fmla="*/ 51733 w 614938"/>
                <a:gd name="connsiteY1777" fmla="*/ 707460 h 716071"/>
                <a:gd name="connsiteX1778" fmla="*/ 51793 w 614938"/>
                <a:gd name="connsiteY1778" fmla="*/ 707460 h 716071"/>
                <a:gd name="connsiteX1779" fmla="*/ 52033 w 614938"/>
                <a:gd name="connsiteY1779" fmla="*/ 707519 h 716071"/>
                <a:gd name="connsiteX1780" fmla="*/ 52093 w 614938"/>
                <a:gd name="connsiteY1780" fmla="*/ 707460 h 716071"/>
                <a:gd name="connsiteX1781" fmla="*/ 52331 w 614938"/>
                <a:gd name="connsiteY1781" fmla="*/ 708357 h 716071"/>
                <a:gd name="connsiteX1782" fmla="*/ 52451 w 614938"/>
                <a:gd name="connsiteY1782" fmla="*/ 708476 h 716071"/>
                <a:gd name="connsiteX1783" fmla="*/ 52511 w 614938"/>
                <a:gd name="connsiteY1783" fmla="*/ 708476 h 716071"/>
                <a:gd name="connsiteX1784" fmla="*/ 52571 w 614938"/>
                <a:gd name="connsiteY1784" fmla="*/ 708656 h 716071"/>
                <a:gd name="connsiteX1785" fmla="*/ 52631 w 614938"/>
                <a:gd name="connsiteY1785" fmla="*/ 708775 h 716071"/>
                <a:gd name="connsiteX1786" fmla="*/ 52631 w 614938"/>
                <a:gd name="connsiteY1786" fmla="*/ 708835 h 716071"/>
                <a:gd name="connsiteX1787" fmla="*/ 52631 w 614938"/>
                <a:gd name="connsiteY1787" fmla="*/ 708835 h 716071"/>
                <a:gd name="connsiteX1788" fmla="*/ 52631 w 614938"/>
                <a:gd name="connsiteY1788" fmla="*/ 708835 h 716071"/>
                <a:gd name="connsiteX1789" fmla="*/ 52691 w 614938"/>
                <a:gd name="connsiteY1789" fmla="*/ 708895 h 716071"/>
                <a:gd name="connsiteX1790" fmla="*/ 52750 w 614938"/>
                <a:gd name="connsiteY1790" fmla="*/ 708895 h 716071"/>
                <a:gd name="connsiteX1791" fmla="*/ 52810 w 614938"/>
                <a:gd name="connsiteY1791" fmla="*/ 708955 h 716071"/>
                <a:gd name="connsiteX1792" fmla="*/ 52930 w 614938"/>
                <a:gd name="connsiteY1792" fmla="*/ 709015 h 716071"/>
                <a:gd name="connsiteX1793" fmla="*/ 52930 w 614938"/>
                <a:gd name="connsiteY1793" fmla="*/ 709015 h 716071"/>
                <a:gd name="connsiteX1794" fmla="*/ 52990 w 614938"/>
                <a:gd name="connsiteY1794" fmla="*/ 709134 h 716071"/>
                <a:gd name="connsiteX1795" fmla="*/ 53049 w 614938"/>
                <a:gd name="connsiteY1795" fmla="*/ 709194 h 716071"/>
                <a:gd name="connsiteX1796" fmla="*/ 54246 w 614938"/>
                <a:gd name="connsiteY1796" fmla="*/ 709732 h 716071"/>
                <a:gd name="connsiteX1797" fmla="*/ 54186 w 614938"/>
                <a:gd name="connsiteY1797" fmla="*/ 709912 h 716071"/>
                <a:gd name="connsiteX1798" fmla="*/ 54246 w 614938"/>
                <a:gd name="connsiteY1798" fmla="*/ 710151 h 716071"/>
                <a:gd name="connsiteX1799" fmla="*/ 54305 w 614938"/>
                <a:gd name="connsiteY1799" fmla="*/ 710151 h 716071"/>
                <a:gd name="connsiteX1800" fmla="*/ 54544 w 614938"/>
                <a:gd name="connsiteY1800" fmla="*/ 710151 h 716071"/>
                <a:gd name="connsiteX1801" fmla="*/ 54664 w 614938"/>
                <a:gd name="connsiteY1801" fmla="*/ 709912 h 716071"/>
                <a:gd name="connsiteX1802" fmla="*/ 55860 w 614938"/>
                <a:gd name="connsiteY1802" fmla="*/ 710151 h 716071"/>
                <a:gd name="connsiteX1803" fmla="*/ 55741 w 614938"/>
                <a:gd name="connsiteY1803" fmla="*/ 710450 h 716071"/>
                <a:gd name="connsiteX1804" fmla="*/ 55741 w 614938"/>
                <a:gd name="connsiteY1804" fmla="*/ 710450 h 716071"/>
                <a:gd name="connsiteX1805" fmla="*/ 55741 w 614938"/>
                <a:gd name="connsiteY1805" fmla="*/ 710450 h 716071"/>
                <a:gd name="connsiteX1806" fmla="*/ 55741 w 614938"/>
                <a:gd name="connsiteY1806" fmla="*/ 710510 h 716071"/>
                <a:gd name="connsiteX1807" fmla="*/ 55741 w 614938"/>
                <a:gd name="connsiteY1807" fmla="*/ 710510 h 716071"/>
                <a:gd name="connsiteX1808" fmla="*/ 55741 w 614938"/>
                <a:gd name="connsiteY1808" fmla="*/ 710570 h 716071"/>
                <a:gd name="connsiteX1809" fmla="*/ 55741 w 614938"/>
                <a:gd name="connsiteY1809" fmla="*/ 710570 h 716071"/>
                <a:gd name="connsiteX1810" fmla="*/ 55741 w 614938"/>
                <a:gd name="connsiteY1810" fmla="*/ 710629 h 716071"/>
                <a:gd name="connsiteX1811" fmla="*/ 55741 w 614938"/>
                <a:gd name="connsiteY1811" fmla="*/ 710629 h 716071"/>
                <a:gd name="connsiteX1812" fmla="*/ 57236 w 614938"/>
                <a:gd name="connsiteY1812" fmla="*/ 712244 h 716071"/>
                <a:gd name="connsiteX1813" fmla="*/ 52033 w 614938"/>
                <a:gd name="connsiteY1813" fmla="*/ 711646 h 716071"/>
                <a:gd name="connsiteX1814" fmla="*/ 56399 w 614938"/>
                <a:gd name="connsiteY1814" fmla="*/ 709613 h 716071"/>
                <a:gd name="connsiteX1815" fmla="*/ 56399 w 614938"/>
                <a:gd name="connsiteY1815" fmla="*/ 709613 h 716071"/>
                <a:gd name="connsiteX1816" fmla="*/ 56339 w 614938"/>
                <a:gd name="connsiteY1816" fmla="*/ 709433 h 716071"/>
                <a:gd name="connsiteX1817" fmla="*/ 56399 w 614938"/>
                <a:gd name="connsiteY1817" fmla="*/ 709433 h 716071"/>
                <a:gd name="connsiteX1818" fmla="*/ 56399 w 614938"/>
                <a:gd name="connsiteY1818" fmla="*/ 709613 h 716071"/>
                <a:gd name="connsiteX1819" fmla="*/ 53229 w 614938"/>
                <a:gd name="connsiteY1819" fmla="*/ 708117 h 716071"/>
                <a:gd name="connsiteX1820" fmla="*/ 53408 w 614938"/>
                <a:gd name="connsiteY1820" fmla="*/ 707699 h 716071"/>
                <a:gd name="connsiteX1821" fmla="*/ 53588 w 614938"/>
                <a:gd name="connsiteY1821" fmla="*/ 707818 h 716071"/>
                <a:gd name="connsiteX1822" fmla="*/ 53229 w 614938"/>
                <a:gd name="connsiteY1822" fmla="*/ 708117 h 716071"/>
                <a:gd name="connsiteX1823" fmla="*/ 53886 w 614938"/>
                <a:gd name="connsiteY1823" fmla="*/ 708177 h 716071"/>
                <a:gd name="connsiteX1824" fmla="*/ 54006 w 614938"/>
                <a:gd name="connsiteY1824" fmla="*/ 708357 h 716071"/>
                <a:gd name="connsiteX1825" fmla="*/ 53468 w 614938"/>
                <a:gd name="connsiteY1825" fmla="*/ 708476 h 716071"/>
                <a:gd name="connsiteX1826" fmla="*/ 53886 w 614938"/>
                <a:gd name="connsiteY1826" fmla="*/ 708177 h 716071"/>
                <a:gd name="connsiteX1827" fmla="*/ 54186 w 614938"/>
                <a:gd name="connsiteY1827" fmla="*/ 708715 h 716071"/>
                <a:gd name="connsiteX1828" fmla="*/ 54246 w 614938"/>
                <a:gd name="connsiteY1828" fmla="*/ 708955 h 716071"/>
                <a:gd name="connsiteX1829" fmla="*/ 53588 w 614938"/>
                <a:gd name="connsiteY1829" fmla="*/ 708835 h 716071"/>
                <a:gd name="connsiteX1830" fmla="*/ 54186 w 614938"/>
                <a:gd name="connsiteY1830" fmla="*/ 708715 h 716071"/>
                <a:gd name="connsiteX1831" fmla="*/ 54664 w 614938"/>
                <a:gd name="connsiteY1831" fmla="*/ 708955 h 716071"/>
                <a:gd name="connsiteX1832" fmla="*/ 54544 w 614938"/>
                <a:gd name="connsiteY1832" fmla="*/ 708656 h 716071"/>
                <a:gd name="connsiteX1833" fmla="*/ 55741 w 614938"/>
                <a:gd name="connsiteY1833" fmla="*/ 708536 h 716071"/>
                <a:gd name="connsiteX1834" fmla="*/ 55920 w 614938"/>
                <a:gd name="connsiteY1834" fmla="*/ 709074 h 716071"/>
                <a:gd name="connsiteX1835" fmla="*/ 54664 w 614938"/>
                <a:gd name="connsiteY1835" fmla="*/ 708955 h 716071"/>
                <a:gd name="connsiteX1836" fmla="*/ 54365 w 614938"/>
                <a:gd name="connsiteY1836" fmla="*/ 708297 h 716071"/>
                <a:gd name="connsiteX1837" fmla="*/ 54186 w 614938"/>
                <a:gd name="connsiteY1837" fmla="*/ 707998 h 716071"/>
                <a:gd name="connsiteX1838" fmla="*/ 55203 w 614938"/>
                <a:gd name="connsiteY1838" fmla="*/ 707699 h 716071"/>
                <a:gd name="connsiteX1839" fmla="*/ 55561 w 614938"/>
                <a:gd name="connsiteY1839" fmla="*/ 708177 h 716071"/>
                <a:gd name="connsiteX1840" fmla="*/ 54365 w 614938"/>
                <a:gd name="connsiteY1840" fmla="*/ 708297 h 716071"/>
                <a:gd name="connsiteX1841" fmla="*/ 54843 w 614938"/>
                <a:gd name="connsiteY1841" fmla="*/ 707400 h 716071"/>
                <a:gd name="connsiteX1842" fmla="*/ 53827 w 614938"/>
                <a:gd name="connsiteY1842" fmla="*/ 707699 h 716071"/>
                <a:gd name="connsiteX1843" fmla="*/ 53588 w 614938"/>
                <a:gd name="connsiteY1843" fmla="*/ 707519 h 716071"/>
                <a:gd name="connsiteX1844" fmla="*/ 54425 w 614938"/>
                <a:gd name="connsiteY1844" fmla="*/ 707041 h 716071"/>
                <a:gd name="connsiteX1845" fmla="*/ 54843 w 614938"/>
                <a:gd name="connsiteY1845" fmla="*/ 707400 h 716071"/>
                <a:gd name="connsiteX1846" fmla="*/ 53049 w 614938"/>
                <a:gd name="connsiteY1846" fmla="*/ 707519 h 716071"/>
                <a:gd name="connsiteX1847" fmla="*/ 52870 w 614938"/>
                <a:gd name="connsiteY1847" fmla="*/ 707878 h 716071"/>
                <a:gd name="connsiteX1848" fmla="*/ 52870 w 614938"/>
                <a:gd name="connsiteY1848" fmla="*/ 707460 h 716071"/>
                <a:gd name="connsiteX1849" fmla="*/ 53049 w 614938"/>
                <a:gd name="connsiteY1849" fmla="*/ 707519 h 716071"/>
                <a:gd name="connsiteX1850" fmla="*/ 52511 w 614938"/>
                <a:gd name="connsiteY1850" fmla="*/ 707400 h 716071"/>
                <a:gd name="connsiteX1851" fmla="*/ 52511 w 614938"/>
                <a:gd name="connsiteY1851" fmla="*/ 707699 h 716071"/>
                <a:gd name="connsiteX1852" fmla="*/ 52391 w 614938"/>
                <a:gd name="connsiteY1852" fmla="*/ 707400 h 716071"/>
                <a:gd name="connsiteX1853" fmla="*/ 52511 w 614938"/>
                <a:gd name="connsiteY1853" fmla="*/ 707400 h 716071"/>
                <a:gd name="connsiteX1854" fmla="*/ 54365 w 614938"/>
                <a:gd name="connsiteY1854" fmla="*/ 709254 h 716071"/>
                <a:gd name="connsiteX1855" fmla="*/ 54365 w 614938"/>
                <a:gd name="connsiteY1855" fmla="*/ 709433 h 716071"/>
                <a:gd name="connsiteX1856" fmla="*/ 53708 w 614938"/>
                <a:gd name="connsiteY1856" fmla="*/ 709134 h 716071"/>
                <a:gd name="connsiteX1857" fmla="*/ 54365 w 614938"/>
                <a:gd name="connsiteY1857" fmla="*/ 709254 h 716071"/>
                <a:gd name="connsiteX1858" fmla="*/ 54724 w 614938"/>
                <a:gd name="connsiteY1858" fmla="*/ 709613 h 716071"/>
                <a:gd name="connsiteX1859" fmla="*/ 54724 w 614938"/>
                <a:gd name="connsiteY1859" fmla="*/ 709314 h 716071"/>
                <a:gd name="connsiteX1860" fmla="*/ 55980 w 614938"/>
                <a:gd name="connsiteY1860" fmla="*/ 709373 h 716071"/>
                <a:gd name="connsiteX1861" fmla="*/ 55980 w 614938"/>
                <a:gd name="connsiteY1861" fmla="*/ 709852 h 716071"/>
                <a:gd name="connsiteX1862" fmla="*/ 54724 w 614938"/>
                <a:gd name="connsiteY1862" fmla="*/ 709613 h 716071"/>
                <a:gd name="connsiteX1863" fmla="*/ 56219 w 614938"/>
                <a:gd name="connsiteY1863" fmla="*/ 709015 h 716071"/>
                <a:gd name="connsiteX1864" fmla="*/ 56039 w 614938"/>
                <a:gd name="connsiteY1864" fmla="*/ 708536 h 716071"/>
                <a:gd name="connsiteX1865" fmla="*/ 56159 w 614938"/>
                <a:gd name="connsiteY1865" fmla="*/ 708596 h 716071"/>
                <a:gd name="connsiteX1866" fmla="*/ 56279 w 614938"/>
                <a:gd name="connsiteY1866" fmla="*/ 708955 h 716071"/>
                <a:gd name="connsiteX1867" fmla="*/ 56219 w 614938"/>
                <a:gd name="connsiteY1867" fmla="*/ 709015 h 716071"/>
                <a:gd name="connsiteX1868" fmla="*/ 55860 w 614938"/>
                <a:gd name="connsiteY1868" fmla="*/ 708177 h 716071"/>
                <a:gd name="connsiteX1869" fmla="*/ 55681 w 614938"/>
                <a:gd name="connsiteY1869" fmla="*/ 707938 h 716071"/>
                <a:gd name="connsiteX1870" fmla="*/ 55801 w 614938"/>
                <a:gd name="connsiteY1870" fmla="*/ 707998 h 716071"/>
                <a:gd name="connsiteX1871" fmla="*/ 55980 w 614938"/>
                <a:gd name="connsiteY1871" fmla="*/ 708237 h 716071"/>
                <a:gd name="connsiteX1872" fmla="*/ 55860 w 614938"/>
                <a:gd name="connsiteY1872" fmla="*/ 708177 h 716071"/>
                <a:gd name="connsiteX1873" fmla="*/ 53229 w 614938"/>
                <a:gd name="connsiteY1873" fmla="*/ 707220 h 716071"/>
                <a:gd name="connsiteX1874" fmla="*/ 53109 w 614938"/>
                <a:gd name="connsiteY1874" fmla="*/ 707161 h 716071"/>
                <a:gd name="connsiteX1875" fmla="*/ 53708 w 614938"/>
                <a:gd name="connsiteY1875" fmla="*/ 706682 h 716071"/>
                <a:gd name="connsiteX1876" fmla="*/ 54006 w 614938"/>
                <a:gd name="connsiteY1876" fmla="*/ 706802 h 716071"/>
                <a:gd name="connsiteX1877" fmla="*/ 53229 w 614938"/>
                <a:gd name="connsiteY1877" fmla="*/ 707220 h 716071"/>
                <a:gd name="connsiteX1878" fmla="*/ 52870 w 614938"/>
                <a:gd name="connsiteY1878" fmla="*/ 706802 h 716071"/>
                <a:gd name="connsiteX1879" fmla="*/ 52990 w 614938"/>
                <a:gd name="connsiteY1879" fmla="*/ 706682 h 716071"/>
                <a:gd name="connsiteX1880" fmla="*/ 53049 w 614938"/>
                <a:gd name="connsiteY1880" fmla="*/ 706682 h 716071"/>
                <a:gd name="connsiteX1881" fmla="*/ 52870 w 614938"/>
                <a:gd name="connsiteY1881" fmla="*/ 706802 h 716071"/>
                <a:gd name="connsiteX1882" fmla="*/ 57774 w 614938"/>
                <a:gd name="connsiteY1882" fmla="*/ 712364 h 716071"/>
                <a:gd name="connsiteX1883" fmla="*/ 56219 w 614938"/>
                <a:gd name="connsiteY1883" fmla="*/ 710689 h 716071"/>
                <a:gd name="connsiteX1884" fmla="*/ 56399 w 614938"/>
                <a:gd name="connsiteY1884" fmla="*/ 710270 h 716071"/>
                <a:gd name="connsiteX1885" fmla="*/ 56458 w 614938"/>
                <a:gd name="connsiteY1885" fmla="*/ 710211 h 716071"/>
                <a:gd name="connsiteX1886" fmla="*/ 56698 w 614938"/>
                <a:gd name="connsiteY1886" fmla="*/ 710211 h 716071"/>
                <a:gd name="connsiteX1887" fmla="*/ 56817 w 614938"/>
                <a:gd name="connsiteY1887" fmla="*/ 709852 h 716071"/>
                <a:gd name="connsiteX1888" fmla="*/ 56817 w 614938"/>
                <a:gd name="connsiteY1888" fmla="*/ 709852 h 716071"/>
                <a:gd name="connsiteX1889" fmla="*/ 56817 w 614938"/>
                <a:gd name="connsiteY1889" fmla="*/ 709852 h 716071"/>
                <a:gd name="connsiteX1890" fmla="*/ 56817 w 614938"/>
                <a:gd name="connsiteY1890" fmla="*/ 709852 h 716071"/>
                <a:gd name="connsiteX1891" fmla="*/ 56757 w 614938"/>
                <a:gd name="connsiteY1891" fmla="*/ 709254 h 716071"/>
                <a:gd name="connsiteX1892" fmla="*/ 56757 w 614938"/>
                <a:gd name="connsiteY1892" fmla="*/ 709254 h 716071"/>
                <a:gd name="connsiteX1893" fmla="*/ 56757 w 614938"/>
                <a:gd name="connsiteY1893" fmla="*/ 709254 h 716071"/>
                <a:gd name="connsiteX1894" fmla="*/ 56757 w 614938"/>
                <a:gd name="connsiteY1894" fmla="*/ 709254 h 716071"/>
                <a:gd name="connsiteX1895" fmla="*/ 56518 w 614938"/>
                <a:gd name="connsiteY1895" fmla="*/ 708596 h 716071"/>
                <a:gd name="connsiteX1896" fmla="*/ 56518 w 614938"/>
                <a:gd name="connsiteY1896" fmla="*/ 708596 h 716071"/>
                <a:gd name="connsiteX1897" fmla="*/ 56518 w 614938"/>
                <a:gd name="connsiteY1897" fmla="*/ 708596 h 716071"/>
                <a:gd name="connsiteX1898" fmla="*/ 56518 w 614938"/>
                <a:gd name="connsiteY1898" fmla="*/ 708596 h 716071"/>
                <a:gd name="connsiteX1899" fmla="*/ 56099 w 614938"/>
                <a:gd name="connsiteY1899" fmla="*/ 707998 h 716071"/>
                <a:gd name="connsiteX1900" fmla="*/ 56099 w 614938"/>
                <a:gd name="connsiteY1900" fmla="*/ 707998 h 716071"/>
                <a:gd name="connsiteX1901" fmla="*/ 56039 w 614938"/>
                <a:gd name="connsiteY1901" fmla="*/ 707938 h 716071"/>
                <a:gd name="connsiteX1902" fmla="*/ 56039 w 614938"/>
                <a:gd name="connsiteY1902" fmla="*/ 707938 h 716071"/>
                <a:gd name="connsiteX1903" fmla="*/ 55501 w 614938"/>
                <a:gd name="connsiteY1903" fmla="*/ 707460 h 716071"/>
                <a:gd name="connsiteX1904" fmla="*/ 55501 w 614938"/>
                <a:gd name="connsiteY1904" fmla="*/ 707460 h 716071"/>
                <a:gd name="connsiteX1905" fmla="*/ 55501 w 614938"/>
                <a:gd name="connsiteY1905" fmla="*/ 707460 h 716071"/>
                <a:gd name="connsiteX1906" fmla="*/ 54604 w 614938"/>
                <a:gd name="connsiteY1906" fmla="*/ 706921 h 716071"/>
                <a:gd name="connsiteX1907" fmla="*/ 54604 w 614938"/>
                <a:gd name="connsiteY1907" fmla="*/ 706921 h 716071"/>
                <a:gd name="connsiteX1908" fmla="*/ 54604 w 614938"/>
                <a:gd name="connsiteY1908" fmla="*/ 706921 h 716071"/>
                <a:gd name="connsiteX1909" fmla="*/ 54604 w 614938"/>
                <a:gd name="connsiteY1909" fmla="*/ 706921 h 716071"/>
                <a:gd name="connsiteX1910" fmla="*/ 53767 w 614938"/>
                <a:gd name="connsiteY1910" fmla="*/ 706562 h 716071"/>
                <a:gd name="connsiteX1911" fmla="*/ 53767 w 614938"/>
                <a:gd name="connsiteY1911" fmla="*/ 706562 h 716071"/>
                <a:gd name="connsiteX1912" fmla="*/ 53767 w 614938"/>
                <a:gd name="connsiteY1912" fmla="*/ 706562 h 716071"/>
                <a:gd name="connsiteX1913" fmla="*/ 53708 w 614938"/>
                <a:gd name="connsiteY1913" fmla="*/ 706562 h 716071"/>
                <a:gd name="connsiteX1914" fmla="*/ 53708 w 614938"/>
                <a:gd name="connsiteY1914" fmla="*/ 706562 h 716071"/>
                <a:gd name="connsiteX1915" fmla="*/ 53708 w 614938"/>
                <a:gd name="connsiteY1915" fmla="*/ 706562 h 716071"/>
                <a:gd name="connsiteX1916" fmla="*/ 52990 w 614938"/>
                <a:gd name="connsiteY1916" fmla="*/ 706562 h 716071"/>
                <a:gd name="connsiteX1917" fmla="*/ 52990 w 614938"/>
                <a:gd name="connsiteY1917" fmla="*/ 706562 h 716071"/>
                <a:gd name="connsiteX1918" fmla="*/ 52990 w 614938"/>
                <a:gd name="connsiteY1918" fmla="*/ 706562 h 716071"/>
                <a:gd name="connsiteX1919" fmla="*/ 52990 w 614938"/>
                <a:gd name="connsiteY1919" fmla="*/ 706562 h 716071"/>
                <a:gd name="connsiteX1920" fmla="*/ 52990 w 614938"/>
                <a:gd name="connsiteY1920" fmla="*/ 706562 h 716071"/>
                <a:gd name="connsiteX1921" fmla="*/ 52990 w 614938"/>
                <a:gd name="connsiteY1921" fmla="*/ 706562 h 716071"/>
                <a:gd name="connsiteX1922" fmla="*/ 52691 w 614938"/>
                <a:gd name="connsiteY1922" fmla="*/ 706802 h 716071"/>
                <a:gd name="connsiteX1923" fmla="*/ 52093 w 614938"/>
                <a:gd name="connsiteY1923" fmla="*/ 706204 h 716071"/>
                <a:gd name="connsiteX1924" fmla="*/ 54843 w 614938"/>
                <a:gd name="connsiteY1924" fmla="*/ 705546 h 716071"/>
                <a:gd name="connsiteX1925" fmla="*/ 61781 w 614938"/>
                <a:gd name="connsiteY1925" fmla="*/ 711646 h 716071"/>
                <a:gd name="connsiteX1926" fmla="*/ 57774 w 614938"/>
                <a:gd name="connsiteY1926" fmla="*/ 712364 h 716071"/>
                <a:gd name="connsiteX1927" fmla="*/ 54784 w 614938"/>
                <a:gd name="connsiteY1927" fmla="*/ 705187 h 716071"/>
                <a:gd name="connsiteX1928" fmla="*/ 56219 w 614938"/>
                <a:gd name="connsiteY1928" fmla="*/ 703452 h 716071"/>
                <a:gd name="connsiteX1929" fmla="*/ 63695 w 614938"/>
                <a:gd name="connsiteY1929" fmla="*/ 708895 h 716071"/>
                <a:gd name="connsiteX1930" fmla="*/ 61781 w 614938"/>
                <a:gd name="connsiteY1930" fmla="*/ 711347 h 716071"/>
                <a:gd name="connsiteX1931" fmla="*/ 54784 w 614938"/>
                <a:gd name="connsiteY1931" fmla="*/ 705187 h 716071"/>
                <a:gd name="connsiteX1932" fmla="*/ 52271 w 614938"/>
                <a:gd name="connsiteY1932" fmla="*/ 700522 h 716071"/>
                <a:gd name="connsiteX1933" fmla="*/ 52271 w 614938"/>
                <a:gd name="connsiteY1933" fmla="*/ 700522 h 716071"/>
                <a:gd name="connsiteX1934" fmla="*/ 52271 w 614938"/>
                <a:gd name="connsiteY1934" fmla="*/ 700522 h 716071"/>
                <a:gd name="connsiteX1935" fmla="*/ 52271 w 614938"/>
                <a:gd name="connsiteY1935" fmla="*/ 700582 h 716071"/>
                <a:gd name="connsiteX1936" fmla="*/ 52271 w 614938"/>
                <a:gd name="connsiteY1936" fmla="*/ 700641 h 716071"/>
                <a:gd name="connsiteX1937" fmla="*/ 52271 w 614938"/>
                <a:gd name="connsiteY1937" fmla="*/ 700701 h 716071"/>
                <a:gd name="connsiteX1938" fmla="*/ 52331 w 614938"/>
                <a:gd name="connsiteY1938" fmla="*/ 700761 h 716071"/>
                <a:gd name="connsiteX1939" fmla="*/ 52331 w 614938"/>
                <a:gd name="connsiteY1939" fmla="*/ 700761 h 716071"/>
                <a:gd name="connsiteX1940" fmla="*/ 54544 w 614938"/>
                <a:gd name="connsiteY1940" fmla="*/ 702735 h 716071"/>
                <a:gd name="connsiteX1941" fmla="*/ 51973 w 614938"/>
                <a:gd name="connsiteY1941" fmla="*/ 703333 h 716071"/>
                <a:gd name="connsiteX1942" fmla="*/ 50059 w 614938"/>
                <a:gd name="connsiteY1942" fmla="*/ 701299 h 716071"/>
                <a:gd name="connsiteX1943" fmla="*/ 63336 w 614938"/>
                <a:gd name="connsiteY1943" fmla="*/ 678752 h 716071"/>
                <a:gd name="connsiteX1944" fmla="*/ 65250 w 614938"/>
                <a:gd name="connsiteY1944" fmla="*/ 678034 h 716071"/>
                <a:gd name="connsiteX1945" fmla="*/ 52271 w 614938"/>
                <a:gd name="connsiteY1945" fmla="*/ 700522 h 716071"/>
                <a:gd name="connsiteX1946" fmla="*/ 52271 w 614938"/>
                <a:gd name="connsiteY1946" fmla="*/ 700522 h 716071"/>
                <a:gd name="connsiteX1947" fmla="*/ 63815 w 614938"/>
                <a:gd name="connsiteY1947" fmla="*/ 678154 h 716071"/>
                <a:gd name="connsiteX1948" fmla="*/ 86780 w 614938"/>
                <a:gd name="connsiteY1948" fmla="*/ 649028 h 716071"/>
                <a:gd name="connsiteX1949" fmla="*/ 88575 w 614938"/>
                <a:gd name="connsiteY1949" fmla="*/ 648370 h 716071"/>
                <a:gd name="connsiteX1950" fmla="*/ 65728 w 614938"/>
                <a:gd name="connsiteY1950" fmla="*/ 677436 h 716071"/>
                <a:gd name="connsiteX1951" fmla="*/ 63815 w 614938"/>
                <a:gd name="connsiteY1951" fmla="*/ 678154 h 716071"/>
                <a:gd name="connsiteX1952" fmla="*/ 87259 w 614938"/>
                <a:gd name="connsiteY1952" fmla="*/ 648430 h 716071"/>
                <a:gd name="connsiteX1953" fmla="*/ 110584 w 614938"/>
                <a:gd name="connsiteY1953" fmla="*/ 618885 h 716071"/>
                <a:gd name="connsiteX1954" fmla="*/ 112258 w 614938"/>
                <a:gd name="connsiteY1954" fmla="*/ 618347 h 716071"/>
                <a:gd name="connsiteX1955" fmla="*/ 89053 w 614938"/>
                <a:gd name="connsiteY1955" fmla="*/ 647772 h 716071"/>
                <a:gd name="connsiteX1956" fmla="*/ 87259 w 614938"/>
                <a:gd name="connsiteY1956" fmla="*/ 648430 h 716071"/>
                <a:gd name="connsiteX1957" fmla="*/ 110943 w 614938"/>
                <a:gd name="connsiteY1957" fmla="*/ 618407 h 716071"/>
                <a:gd name="connsiteX1958" fmla="*/ 134566 w 614938"/>
                <a:gd name="connsiteY1958" fmla="*/ 588443 h 716071"/>
                <a:gd name="connsiteX1959" fmla="*/ 136121 w 614938"/>
                <a:gd name="connsiteY1959" fmla="*/ 588025 h 716071"/>
                <a:gd name="connsiteX1960" fmla="*/ 112617 w 614938"/>
                <a:gd name="connsiteY1960" fmla="*/ 617868 h 716071"/>
                <a:gd name="connsiteX1961" fmla="*/ 110943 w 614938"/>
                <a:gd name="connsiteY1961" fmla="*/ 618407 h 716071"/>
                <a:gd name="connsiteX1962" fmla="*/ 134985 w 614938"/>
                <a:gd name="connsiteY1962" fmla="*/ 587965 h 716071"/>
                <a:gd name="connsiteX1963" fmla="*/ 158908 w 614938"/>
                <a:gd name="connsiteY1963" fmla="*/ 557643 h 716071"/>
                <a:gd name="connsiteX1964" fmla="*/ 160344 w 614938"/>
                <a:gd name="connsiteY1964" fmla="*/ 557284 h 716071"/>
                <a:gd name="connsiteX1965" fmla="*/ 136540 w 614938"/>
                <a:gd name="connsiteY1965" fmla="*/ 587546 h 716071"/>
                <a:gd name="connsiteX1966" fmla="*/ 134985 w 614938"/>
                <a:gd name="connsiteY1966" fmla="*/ 587965 h 716071"/>
                <a:gd name="connsiteX1967" fmla="*/ 159267 w 614938"/>
                <a:gd name="connsiteY1967" fmla="*/ 557164 h 716071"/>
                <a:gd name="connsiteX1968" fmla="*/ 183549 w 614938"/>
                <a:gd name="connsiteY1968" fmla="*/ 526423 h 716071"/>
                <a:gd name="connsiteX1969" fmla="*/ 184864 w 614938"/>
                <a:gd name="connsiteY1969" fmla="*/ 526124 h 716071"/>
                <a:gd name="connsiteX1970" fmla="*/ 160702 w 614938"/>
                <a:gd name="connsiteY1970" fmla="*/ 556805 h 716071"/>
                <a:gd name="connsiteX1971" fmla="*/ 159267 w 614938"/>
                <a:gd name="connsiteY1971" fmla="*/ 557164 h 716071"/>
                <a:gd name="connsiteX1972" fmla="*/ 183907 w 614938"/>
                <a:gd name="connsiteY1972" fmla="*/ 525945 h 716071"/>
                <a:gd name="connsiteX1973" fmla="*/ 208489 w 614938"/>
                <a:gd name="connsiteY1973" fmla="*/ 494785 h 716071"/>
                <a:gd name="connsiteX1974" fmla="*/ 209684 w 614938"/>
                <a:gd name="connsiteY1974" fmla="*/ 494606 h 716071"/>
                <a:gd name="connsiteX1975" fmla="*/ 185224 w 614938"/>
                <a:gd name="connsiteY1975" fmla="*/ 525705 h 716071"/>
                <a:gd name="connsiteX1976" fmla="*/ 183907 w 614938"/>
                <a:gd name="connsiteY1976" fmla="*/ 525945 h 716071"/>
                <a:gd name="connsiteX1977" fmla="*/ 208847 w 614938"/>
                <a:gd name="connsiteY1977" fmla="*/ 494307 h 716071"/>
                <a:gd name="connsiteX1978" fmla="*/ 233787 w 614938"/>
                <a:gd name="connsiteY1978" fmla="*/ 462669 h 716071"/>
                <a:gd name="connsiteX1979" fmla="*/ 234863 w 614938"/>
                <a:gd name="connsiteY1979" fmla="*/ 462549 h 716071"/>
                <a:gd name="connsiteX1980" fmla="*/ 210043 w 614938"/>
                <a:gd name="connsiteY1980" fmla="*/ 494067 h 716071"/>
                <a:gd name="connsiteX1981" fmla="*/ 208847 w 614938"/>
                <a:gd name="connsiteY1981" fmla="*/ 494307 h 716071"/>
                <a:gd name="connsiteX1982" fmla="*/ 234086 w 614938"/>
                <a:gd name="connsiteY1982" fmla="*/ 462310 h 716071"/>
                <a:gd name="connsiteX1983" fmla="*/ 259384 w 614938"/>
                <a:gd name="connsiteY1983" fmla="*/ 430253 h 716071"/>
                <a:gd name="connsiteX1984" fmla="*/ 260401 w 614938"/>
                <a:gd name="connsiteY1984" fmla="*/ 430193 h 716071"/>
                <a:gd name="connsiteX1985" fmla="*/ 235222 w 614938"/>
                <a:gd name="connsiteY1985" fmla="*/ 462190 h 716071"/>
                <a:gd name="connsiteX1986" fmla="*/ 234086 w 614938"/>
                <a:gd name="connsiteY1986" fmla="*/ 462310 h 716071"/>
                <a:gd name="connsiteX1987" fmla="*/ 259683 w 614938"/>
                <a:gd name="connsiteY1987" fmla="*/ 429894 h 716071"/>
                <a:gd name="connsiteX1988" fmla="*/ 285341 w 614938"/>
                <a:gd name="connsiteY1988" fmla="*/ 397419 h 716071"/>
                <a:gd name="connsiteX1989" fmla="*/ 286238 w 614938"/>
                <a:gd name="connsiteY1989" fmla="*/ 397419 h 716071"/>
                <a:gd name="connsiteX1990" fmla="*/ 260700 w 614938"/>
                <a:gd name="connsiteY1990" fmla="*/ 429834 h 716071"/>
                <a:gd name="connsiteX1991" fmla="*/ 259683 w 614938"/>
                <a:gd name="connsiteY1991" fmla="*/ 429894 h 716071"/>
                <a:gd name="connsiteX1992" fmla="*/ 285580 w 614938"/>
                <a:gd name="connsiteY1992" fmla="*/ 397060 h 716071"/>
                <a:gd name="connsiteX1993" fmla="*/ 311536 w 614938"/>
                <a:gd name="connsiteY1993" fmla="*/ 364106 h 716071"/>
                <a:gd name="connsiteX1994" fmla="*/ 312314 w 614938"/>
                <a:gd name="connsiteY1994" fmla="*/ 364166 h 716071"/>
                <a:gd name="connsiteX1995" fmla="*/ 286417 w 614938"/>
                <a:gd name="connsiteY1995" fmla="*/ 397060 h 716071"/>
                <a:gd name="connsiteX1996" fmla="*/ 285580 w 614938"/>
                <a:gd name="connsiteY1996" fmla="*/ 397060 h 716071"/>
                <a:gd name="connsiteX1997" fmla="*/ 311835 w 614938"/>
                <a:gd name="connsiteY1997" fmla="*/ 363748 h 716071"/>
                <a:gd name="connsiteX1998" fmla="*/ 338150 w 614938"/>
                <a:gd name="connsiteY1998" fmla="*/ 330375 h 716071"/>
                <a:gd name="connsiteX1999" fmla="*/ 338868 w 614938"/>
                <a:gd name="connsiteY1999" fmla="*/ 330495 h 716071"/>
                <a:gd name="connsiteX2000" fmla="*/ 312612 w 614938"/>
                <a:gd name="connsiteY2000" fmla="*/ 363807 h 716071"/>
                <a:gd name="connsiteX2001" fmla="*/ 311835 w 614938"/>
                <a:gd name="connsiteY2001" fmla="*/ 363748 h 716071"/>
                <a:gd name="connsiteX2002" fmla="*/ 338450 w 614938"/>
                <a:gd name="connsiteY2002" fmla="*/ 330076 h 716071"/>
                <a:gd name="connsiteX2003" fmla="*/ 365183 w 614938"/>
                <a:gd name="connsiteY2003" fmla="*/ 296225 h 716071"/>
                <a:gd name="connsiteX2004" fmla="*/ 365781 w 614938"/>
                <a:gd name="connsiteY2004" fmla="*/ 296405 h 716071"/>
                <a:gd name="connsiteX2005" fmla="*/ 339167 w 614938"/>
                <a:gd name="connsiteY2005" fmla="*/ 330196 h 716071"/>
                <a:gd name="connsiteX2006" fmla="*/ 338450 w 614938"/>
                <a:gd name="connsiteY2006" fmla="*/ 330076 h 716071"/>
                <a:gd name="connsiteX2007" fmla="*/ 391199 w 614938"/>
                <a:gd name="connsiteY2007" fmla="*/ 260460 h 716071"/>
                <a:gd name="connsiteX2008" fmla="*/ 416677 w 614938"/>
                <a:gd name="connsiteY2008" fmla="*/ 228284 h 716071"/>
                <a:gd name="connsiteX2009" fmla="*/ 417694 w 614938"/>
                <a:gd name="connsiteY2009" fmla="*/ 229062 h 716071"/>
                <a:gd name="connsiteX2010" fmla="*/ 392396 w 614938"/>
                <a:gd name="connsiteY2010" fmla="*/ 261118 h 716071"/>
                <a:gd name="connsiteX2011" fmla="*/ 391199 w 614938"/>
                <a:gd name="connsiteY2011" fmla="*/ 260460 h 716071"/>
                <a:gd name="connsiteX2012" fmla="*/ 409321 w 614938"/>
                <a:gd name="connsiteY2012" fmla="*/ 223619 h 716071"/>
                <a:gd name="connsiteX2013" fmla="*/ 383903 w 614938"/>
                <a:gd name="connsiteY2013" fmla="*/ 255078 h 716071"/>
                <a:gd name="connsiteX2014" fmla="*/ 381630 w 614938"/>
                <a:gd name="connsiteY2014" fmla="*/ 253164 h 716071"/>
                <a:gd name="connsiteX2015" fmla="*/ 400410 w 614938"/>
                <a:gd name="connsiteY2015" fmla="*/ 230078 h 716071"/>
                <a:gd name="connsiteX2016" fmla="*/ 400470 w 614938"/>
                <a:gd name="connsiteY2016" fmla="*/ 230078 h 716071"/>
                <a:gd name="connsiteX2017" fmla="*/ 400470 w 614938"/>
                <a:gd name="connsiteY2017" fmla="*/ 230078 h 716071"/>
                <a:gd name="connsiteX2018" fmla="*/ 400470 w 614938"/>
                <a:gd name="connsiteY2018" fmla="*/ 230078 h 716071"/>
                <a:gd name="connsiteX2019" fmla="*/ 400470 w 614938"/>
                <a:gd name="connsiteY2019" fmla="*/ 230078 h 716071"/>
                <a:gd name="connsiteX2020" fmla="*/ 400470 w 614938"/>
                <a:gd name="connsiteY2020" fmla="*/ 230078 h 716071"/>
                <a:gd name="connsiteX2021" fmla="*/ 400470 w 614938"/>
                <a:gd name="connsiteY2021" fmla="*/ 230078 h 716071"/>
                <a:gd name="connsiteX2022" fmla="*/ 400470 w 614938"/>
                <a:gd name="connsiteY2022" fmla="*/ 230078 h 716071"/>
                <a:gd name="connsiteX2023" fmla="*/ 400470 w 614938"/>
                <a:gd name="connsiteY2023" fmla="*/ 230078 h 716071"/>
                <a:gd name="connsiteX2024" fmla="*/ 400470 w 614938"/>
                <a:gd name="connsiteY2024" fmla="*/ 230078 h 716071"/>
                <a:gd name="connsiteX2025" fmla="*/ 400470 w 614938"/>
                <a:gd name="connsiteY2025" fmla="*/ 230078 h 716071"/>
                <a:gd name="connsiteX2026" fmla="*/ 409321 w 614938"/>
                <a:gd name="connsiteY2026" fmla="*/ 223619 h 716071"/>
                <a:gd name="connsiteX2027" fmla="*/ 399991 w 614938"/>
                <a:gd name="connsiteY2027" fmla="*/ 230078 h 716071"/>
                <a:gd name="connsiteX2028" fmla="*/ 381391 w 614938"/>
                <a:gd name="connsiteY2028" fmla="*/ 252985 h 716071"/>
                <a:gd name="connsiteX2029" fmla="*/ 379238 w 614938"/>
                <a:gd name="connsiteY2029" fmla="*/ 251131 h 716071"/>
                <a:gd name="connsiteX2030" fmla="*/ 396881 w 614938"/>
                <a:gd name="connsiteY2030" fmla="*/ 229540 h 716071"/>
                <a:gd name="connsiteX2031" fmla="*/ 399991 w 614938"/>
                <a:gd name="connsiteY2031" fmla="*/ 230078 h 716071"/>
                <a:gd name="connsiteX2032" fmla="*/ 396462 w 614938"/>
                <a:gd name="connsiteY2032" fmla="*/ 229420 h 716071"/>
                <a:gd name="connsiteX2033" fmla="*/ 378939 w 614938"/>
                <a:gd name="connsiteY2033" fmla="*/ 250831 h 716071"/>
                <a:gd name="connsiteX2034" fmla="*/ 377145 w 614938"/>
                <a:gd name="connsiteY2034" fmla="*/ 249157 h 716071"/>
                <a:gd name="connsiteX2035" fmla="*/ 393771 w 614938"/>
                <a:gd name="connsiteY2035" fmla="*/ 229002 h 716071"/>
                <a:gd name="connsiteX2036" fmla="*/ 396462 w 614938"/>
                <a:gd name="connsiteY2036" fmla="*/ 229420 h 716071"/>
                <a:gd name="connsiteX2037" fmla="*/ 393292 w 614938"/>
                <a:gd name="connsiteY2037" fmla="*/ 228882 h 716071"/>
                <a:gd name="connsiteX2038" fmla="*/ 376845 w 614938"/>
                <a:gd name="connsiteY2038" fmla="*/ 248858 h 716071"/>
                <a:gd name="connsiteX2039" fmla="*/ 375470 w 614938"/>
                <a:gd name="connsiteY2039" fmla="*/ 247482 h 716071"/>
                <a:gd name="connsiteX2040" fmla="*/ 391199 w 614938"/>
                <a:gd name="connsiteY2040" fmla="*/ 228523 h 716071"/>
                <a:gd name="connsiteX2041" fmla="*/ 393292 w 614938"/>
                <a:gd name="connsiteY2041" fmla="*/ 228882 h 716071"/>
                <a:gd name="connsiteX2042" fmla="*/ 374992 w 614938"/>
                <a:gd name="connsiteY2042" fmla="*/ 247482 h 716071"/>
                <a:gd name="connsiteX2043" fmla="*/ 347002 w 614938"/>
                <a:gd name="connsiteY2043" fmla="*/ 281273 h 716071"/>
                <a:gd name="connsiteX2044" fmla="*/ 346224 w 614938"/>
                <a:gd name="connsiteY2044" fmla="*/ 280197 h 716071"/>
                <a:gd name="connsiteX2045" fmla="*/ 374214 w 614938"/>
                <a:gd name="connsiteY2045" fmla="*/ 246525 h 716071"/>
                <a:gd name="connsiteX2046" fmla="*/ 374992 w 614938"/>
                <a:gd name="connsiteY2046" fmla="*/ 247482 h 716071"/>
                <a:gd name="connsiteX2047" fmla="*/ 346763 w 614938"/>
                <a:gd name="connsiteY2047" fmla="*/ 281572 h 716071"/>
                <a:gd name="connsiteX2048" fmla="*/ 319132 w 614938"/>
                <a:gd name="connsiteY2048" fmla="*/ 314945 h 716071"/>
                <a:gd name="connsiteX2049" fmla="*/ 318354 w 614938"/>
                <a:gd name="connsiteY2049" fmla="*/ 313749 h 716071"/>
                <a:gd name="connsiteX2050" fmla="*/ 345985 w 614938"/>
                <a:gd name="connsiteY2050" fmla="*/ 280496 h 716071"/>
                <a:gd name="connsiteX2051" fmla="*/ 346763 w 614938"/>
                <a:gd name="connsiteY2051" fmla="*/ 281572 h 716071"/>
                <a:gd name="connsiteX2052" fmla="*/ 318893 w 614938"/>
                <a:gd name="connsiteY2052" fmla="*/ 315244 h 716071"/>
                <a:gd name="connsiteX2053" fmla="*/ 291620 w 614938"/>
                <a:gd name="connsiteY2053" fmla="*/ 348198 h 716071"/>
                <a:gd name="connsiteX2054" fmla="*/ 290843 w 614938"/>
                <a:gd name="connsiteY2054" fmla="*/ 346882 h 716071"/>
                <a:gd name="connsiteX2055" fmla="*/ 318115 w 614938"/>
                <a:gd name="connsiteY2055" fmla="*/ 314048 h 716071"/>
                <a:gd name="connsiteX2056" fmla="*/ 318893 w 614938"/>
                <a:gd name="connsiteY2056" fmla="*/ 315244 h 716071"/>
                <a:gd name="connsiteX2057" fmla="*/ 291441 w 614938"/>
                <a:gd name="connsiteY2057" fmla="*/ 348437 h 716071"/>
                <a:gd name="connsiteX2058" fmla="*/ 264528 w 614938"/>
                <a:gd name="connsiteY2058" fmla="*/ 380972 h 716071"/>
                <a:gd name="connsiteX2059" fmla="*/ 263750 w 614938"/>
                <a:gd name="connsiteY2059" fmla="*/ 379537 h 716071"/>
                <a:gd name="connsiteX2060" fmla="*/ 290664 w 614938"/>
                <a:gd name="connsiteY2060" fmla="*/ 347181 h 716071"/>
                <a:gd name="connsiteX2061" fmla="*/ 291441 w 614938"/>
                <a:gd name="connsiteY2061" fmla="*/ 348437 h 716071"/>
                <a:gd name="connsiteX2062" fmla="*/ 264289 w 614938"/>
                <a:gd name="connsiteY2062" fmla="*/ 381271 h 716071"/>
                <a:gd name="connsiteX2063" fmla="*/ 237734 w 614938"/>
                <a:gd name="connsiteY2063" fmla="*/ 413328 h 716071"/>
                <a:gd name="connsiteX2064" fmla="*/ 236956 w 614938"/>
                <a:gd name="connsiteY2064" fmla="*/ 411773 h 716071"/>
                <a:gd name="connsiteX2065" fmla="*/ 263511 w 614938"/>
                <a:gd name="connsiteY2065" fmla="*/ 379836 h 716071"/>
                <a:gd name="connsiteX2066" fmla="*/ 264289 w 614938"/>
                <a:gd name="connsiteY2066" fmla="*/ 381271 h 716071"/>
                <a:gd name="connsiteX2067" fmla="*/ 237435 w 614938"/>
                <a:gd name="connsiteY2067" fmla="*/ 413627 h 716071"/>
                <a:gd name="connsiteX2068" fmla="*/ 211240 w 614938"/>
                <a:gd name="connsiteY2068" fmla="*/ 445325 h 716071"/>
                <a:gd name="connsiteX2069" fmla="*/ 210522 w 614938"/>
                <a:gd name="connsiteY2069" fmla="*/ 443650 h 716071"/>
                <a:gd name="connsiteX2070" fmla="*/ 236717 w 614938"/>
                <a:gd name="connsiteY2070" fmla="*/ 412132 h 716071"/>
                <a:gd name="connsiteX2071" fmla="*/ 237435 w 614938"/>
                <a:gd name="connsiteY2071" fmla="*/ 413627 h 716071"/>
                <a:gd name="connsiteX2072" fmla="*/ 211000 w 614938"/>
                <a:gd name="connsiteY2072" fmla="*/ 445624 h 716071"/>
                <a:gd name="connsiteX2073" fmla="*/ 185104 w 614938"/>
                <a:gd name="connsiteY2073" fmla="*/ 476903 h 716071"/>
                <a:gd name="connsiteX2074" fmla="*/ 184386 w 614938"/>
                <a:gd name="connsiteY2074" fmla="*/ 475049 h 716071"/>
                <a:gd name="connsiteX2075" fmla="*/ 210223 w 614938"/>
                <a:gd name="connsiteY2075" fmla="*/ 443949 h 716071"/>
                <a:gd name="connsiteX2076" fmla="*/ 211000 w 614938"/>
                <a:gd name="connsiteY2076" fmla="*/ 445624 h 716071"/>
                <a:gd name="connsiteX2077" fmla="*/ 184864 w 614938"/>
                <a:gd name="connsiteY2077" fmla="*/ 477202 h 716071"/>
                <a:gd name="connsiteX2078" fmla="*/ 159327 w 614938"/>
                <a:gd name="connsiteY2078" fmla="*/ 508062 h 716071"/>
                <a:gd name="connsiteX2079" fmla="*/ 158669 w 614938"/>
                <a:gd name="connsiteY2079" fmla="*/ 506089 h 716071"/>
                <a:gd name="connsiteX2080" fmla="*/ 184207 w 614938"/>
                <a:gd name="connsiteY2080" fmla="*/ 475348 h 716071"/>
                <a:gd name="connsiteX2081" fmla="*/ 184864 w 614938"/>
                <a:gd name="connsiteY2081" fmla="*/ 477202 h 716071"/>
                <a:gd name="connsiteX2082" fmla="*/ 159028 w 614938"/>
                <a:gd name="connsiteY2082" fmla="*/ 508421 h 716071"/>
                <a:gd name="connsiteX2083" fmla="*/ 133789 w 614938"/>
                <a:gd name="connsiteY2083" fmla="*/ 538923 h 716071"/>
                <a:gd name="connsiteX2084" fmla="*/ 133131 w 614938"/>
                <a:gd name="connsiteY2084" fmla="*/ 536830 h 716071"/>
                <a:gd name="connsiteX2085" fmla="*/ 158310 w 614938"/>
                <a:gd name="connsiteY2085" fmla="*/ 506507 h 716071"/>
                <a:gd name="connsiteX2086" fmla="*/ 159028 w 614938"/>
                <a:gd name="connsiteY2086" fmla="*/ 508421 h 716071"/>
                <a:gd name="connsiteX2087" fmla="*/ 133490 w 614938"/>
                <a:gd name="connsiteY2087" fmla="*/ 539222 h 716071"/>
                <a:gd name="connsiteX2088" fmla="*/ 108610 w 614938"/>
                <a:gd name="connsiteY2088" fmla="*/ 569305 h 716071"/>
                <a:gd name="connsiteX2089" fmla="*/ 108012 w 614938"/>
                <a:gd name="connsiteY2089" fmla="*/ 567032 h 716071"/>
                <a:gd name="connsiteX2090" fmla="*/ 132892 w 614938"/>
                <a:gd name="connsiteY2090" fmla="*/ 537069 h 716071"/>
                <a:gd name="connsiteX2091" fmla="*/ 133490 w 614938"/>
                <a:gd name="connsiteY2091" fmla="*/ 539222 h 716071"/>
                <a:gd name="connsiteX2092" fmla="*/ 108312 w 614938"/>
                <a:gd name="connsiteY2092" fmla="*/ 569664 h 716071"/>
                <a:gd name="connsiteX2093" fmla="*/ 83730 w 614938"/>
                <a:gd name="connsiteY2093" fmla="*/ 599388 h 716071"/>
                <a:gd name="connsiteX2094" fmla="*/ 83192 w 614938"/>
                <a:gd name="connsiteY2094" fmla="*/ 596996 h 716071"/>
                <a:gd name="connsiteX2095" fmla="*/ 107773 w 614938"/>
                <a:gd name="connsiteY2095" fmla="*/ 567451 h 716071"/>
                <a:gd name="connsiteX2096" fmla="*/ 108312 w 614938"/>
                <a:gd name="connsiteY2096" fmla="*/ 569664 h 716071"/>
                <a:gd name="connsiteX2097" fmla="*/ 83432 w 614938"/>
                <a:gd name="connsiteY2097" fmla="*/ 599747 h 716071"/>
                <a:gd name="connsiteX2098" fmla="*/ 59149 w 614938"/>
                <a:gd name="connsiteY2098" fmla="*/ 629112 h 716071"/>
                <a:gd name="connsiteX2099" fmla="*/ 58611 w 614938"/>
                <a:gd name="connsiteY2099" fmla="*/ 626540 h 716071"/>
                <a:gd name="connsiteX2100" fmla="*/ 82834 w 614938"/>
                <a:gd name="connsiteY2100" fmla="*/ 597354 h 716071"/>
                <a:gd name="connsiteX2101" fmla="*/ 83432 w 614938"/>
                <a:gd name="connsiteY2101" fmla="*/ 599747 h 716071"/>
                <a:gd name="connsiteX2102" fmla="*/ 58851 w 614938"/>
                <a:gd name="connsiteY2102" fmla="*/ 629411 h 716071"/>
                <a:gd name="connsiteX2103" fmla="*/ 34868 w 614938"/>
                <a:gd name="connsiteY2103" fmla="*/ 658358 h 716071"/>
                <a:gd name="connsiteX2104" fmla="*/ 34389 w 614938"/>
                <a:gd name="connsiteY2104" fmla="*/ 655607 h 716071"/>
                <a:gd name="connsiteX2105" fmla="*/ 58312 w 614938"/>
                <a:gd name="connsiteY2105" fmla="*/ 626780 h 716071"/>
                <a:gd name="connsiteX2106" fmla="*/ 58851 w 614938"/>
                <a:gd name="connsiteY2106" fmla="*/ 629411 h 716071"/>
                <a:gd name="connsiteX2107" fmla="*/ 15909 w 614938"/>
                <a:gd name="connsiteY2107" fmla="*/ 674147 h 716071"/>
                <a:gd name="connsiteX2108" fmla="*/ 15909 w 614938"/>
                <a:gd name="connsiteY2108" fmla="*/ 674147 h 716071"/>
                <a:gd name="connsiteX2109" fmla="*/ 15909 w 614938"/>
                <a:gd name="connsiteY2109" fmla="*/ 674147 h 716071"/>
                <a:gd name="connsiteX2110" fmla="*/ 15969 w 614938"/>
                <a:gd name="connsiteY2110" fmla="*/ 674207 h 716071"/>
                <a:gd name="connsiteX2111" fmla="*/ 16029 w 614938"/>
                <a:gd name="connsiteY2111" fmla="*/ 674207 h 716071"/>
                <a:gd name="connsiteX2112" fmla="*/ 16089 w 614938"/>
                <a:gd name="connsiteY2112" fmla="*/ 674207 h 716071"/>
                <a:gd name="connsiteX2113" fmla="*/ 16089 w 614938"/>
                <a:gd name="connsiteY2113" fmla="*/ 674207 h 716071"/>
                <a:gd name="connsiteX2114" fmla="*/ 16089 w 614938"/>
                <a:gd name="connsiteY2114" fmla="*/ 674207 h 716071"/>
                <a:gd name="connsiteX2115" fmla="*/ 16089 w 614938"/>
                <a:gd name="connsiteY2115" fmla="*/ 674207 h 716071"/>
                <a:gd name="connsiteX2116" fmla="*/ 34031 w 614938"/>
                <a:gd name="connsiteY2116" fmla="*/ 656085 h 716071"/>
                <a:gd name="connsiteX2117" fmla="*/ 34509 w 614938"/>
                <a:gd name="connsiteY2117" fmla="*/ 658836 h 716071"/>
                <a:gd name="connsiteX2118" fmla="*/ 16926 w 614938"/>
                <a:gd name="connsiteY2118" fmla="*/ 677078 h 716071"/>
                <a:gd name="connsiteX2119" fmla="*/ 14593 w 614938"/>
                <a:gd name="connsiteY2119" fmla="*/ 676001 h 716071"/>
                <a:gd name="connsiteX2120" fmla="*/ 13516 w 614938"/>
                <a:gd name="connsiteY2120" fmla="*/ 672712 h 716071"/>
                <a:gd name="connsiteX2121" fmla="*/ 15909 w 614938"/>
                <a:gd name="connsiteY2121" fmla="*/ 674147 h 716071"/>
                <a:gd name="connsiteX2122" fmla="*/ 12021 w 614938"/>
                <a:gd name="connsiteY2122" fmla="*/ 672173 h 716071"/>
                <a:gd name="connsiteX2123" fmla="*/ 12261 w 614938"/>
                <a:gd name="connsiteY2123" fmla="*/ 669602 h 716071"/>
                <a:gd name="connsiteX2124" fmla="*/ 13278 w 614938"/>
                <a:gd name="connsiteY2124" fmla="*/ 669721 h 716071"/>
                <a:gd name="connsiteX2125" fmla="*/ 13038 w 614938"/>
                <a:gd name="connsiteY2125" fmla="*/ 672233 h 716071"/>
                <a:gd name="connsiteX2126" fmla="*/ 12021 w 614938"/>
                <a:gd name="connsiteY2126" fmla="*/ 672173 h 716071"/>
                <a:gd name="connsiteX2127" fmla="*/ 15251 w 614938"/>
                <a:gd name="connsiteY2127" fmla="*/ 668047 h 716071"/>
                <a:gd name="connsiteX2128" fmla="*/ 17284 w 614938"/>
                <a:gd name="connsiteY2128" fmla="*/ 669841 h 716071"/>
                <a:gd name="connsiteX2129" fmla="*/ 16089 w 614938"/>
                <a:gd name="connsiteY2129" fmla="*/ 671276 h 716071"/>
                <a:gd name="connsiteX2130" fmla="*/ 13756 w 614938"/>
                <a:gd name="connsiteY2130" fmla="*/ 669542 h 716071"/>
                <a:gd name="connsiteX2131" fmla="*/ 15251 w 614938"/>
                <a:gd name="connsiteY2131" fmla="*/ 668047 h 716071"/>
                <a:gd name="connsiteX2132" fmla="*/ 17165 w 614938"/>
                <a:gd name="connsiteY2132" fmla="*/ 667269 h 716071"/>
                <a:gd name="connsiteX2133" fmla="*/ 17284 w 614938"/>
                <a:gd name="connsiteY2133" fmla="*/ 667269 h 716071"/>
                <a:gd name="connsiteX2134" fmla="*/ 15131 w 614938"/>
                <a:gd name="connsiteY2134" fmla="*/ 667628 h 716071"/>
                <a:gd name="connsiteX2135" fmla="*/ 15012 w 614938"/>
                <a:gd name="connsiteY2135" fmla="*/ 667628 h 716071"/>
                <a:gd name="connsiteX2136" fmla="*/ 15729 w 614938"/>
                <a:gd name="connsiteY2136" fmla="*/ 667508 h 716071"/>
                <a:gd name="connsiteX2137" fmla="*/ 15729 w 614938"/>
                <a:gd name="connsiteY2137" fmla="*/ 667508 h 716071"/>
                <a:gd name="connsiteX2138" fmla="*/ 17165 w 614938"/>
                <a:gd name="connsiteY2138" fmla="*/ 667269 h 716071"/>
                <a:gd name="connsiteX2139" fmla="*/ 15909 w 614938"/>
                <a:gd name="connsiteY2139" fmla="*/ 666133 h 716071"/>
                <a:gd name="connsiteX2140" fmla="*/ 15789 w 614938"/>
                <a:gd name="connsiteY2140" fmla="*/ 666193 h 716071"/>
                <a:gd name="connsiteX2141" fmla="*/ 15789 w 614938"/>
                <a:gd name="connsiteY2141" fmla="*/ 665894 h 716071"/>
                <a:gd name="connsiteX2142" fmla="*/ 15909 w 614938"/>
                <a:gd name="connsiteY2142" fmla="*/ 665894 h 716071"/>
                <a:gd name="connsiteX2143" fmla="*/ 15909 w 614938"/>
                <a:gd name="connsiteY2143" fmla="*/ 666133 h 716071"/>
                <a:gd name="connsiteX2144" fmla="*/ 12739 w 614938"/>
                <a:gd name="connsiteY2144" fmla="*/ 664578 h 716071"/>
                <a:gd name="connsiteX2145" fmla="*/ 12919 w 614938"/>
                <a:gd name="connsiteY2145" fmla="*/ 664219 h 716071"/>
                <a:gd name="connsiteX2146" fmla="*/ 13038 w 614938"/>
                <a:gd name="connsiteY2146" fmla="*/ 664339 h 716071"/>
                <a:gd name="connsiteX2147" fmla="*/ 12739 w 614938"/>
                <a:gd name="connsiteY2147" fmla="*/ 664578 h 716071"/>
                <a:gd name="connsiteX2148" fmla="*/ 13338 w 614938"/>
                <a:gd name="connsiteY2148" fmla="*/ 664638 h 716071"/>
                <a:gd name="connsiteX2149" fmla="*/ 13457 w 614938"/>
                <a:gd name="connsiteY2149" fmla="*/ 664817 h 716071"/>
                <a:gd name="connsiteX2150" fmla="*/ 12978 w 614938"/>
                <a:gd name="connsiteY2150" fmla="*/ 664937 h 716071"/>
                <a:gd name="connsiteX2151" fmla="*/ 13338 w 614938"/>
                <a:gd name="connsiteY2151" fmla="*/ 664638 h 716071"/>
                <a:gd name="connsiteX2152" fmla="*/ 13636 w 614938"/>
                <a:gd name="connsiteY2152" fmla="*/ 665176 h 716071"/>
                <a:gd name="connsiteX2153" fmla="*/ 13696 w 614938"/>
                <a:gd name="connsiteY2153" fmla="*/ 665415 h 716071"/>
                <a:gd name="connsiteX2154" fmla="*/ 13098 w 614938"/>
                <a:gd name="connsiteY2154" fmla="*/ 665295 h 716071"/>
                <a:gd name="connsiteX2155" fmla="*/ 13636 w 614938"/>
                <a:gd name="connsiteY2155" fmla="*/ 665176 h 716071"/>
                <a:gd name="connsiteX2156" fmla="*/ 14115 w 614938"/>
                <a:gd name="connsiteY2156" fmla="*/ 665415 h 716071"/>
                <a:gd name="connsiteX2157" fmla="*/ 13995 w 614938"/>
                <a:gd name="connsiteY2157" fmla="*/ 665116 h 716071"/>
                <a:gd name="connsiteX2158" fmla="*/ 15191 w 614938"/>
                <a:gd name="connsiteY2158" fmla="*/ 664996 h 716071"/>
                <a:gd name="connsiteX2159" fmla="*/ 15371 w 614938"/>
                <a:gd name="connsiteY2159" fmla="*/ 665535 h 716071"/>
                <a:gd name="connsiteX2160" fmla="*/ 14115 w 614938"/>
                <a:gd name="connsiteY2160" fmla="*/ 665415 h 716071"/>
                <a:gd name="connsiteX2161" fmla="*/ 13816 w 614938"/>
                <a:gd name="connsiteY2161" fmla="*/ 664757 h 716071"/>
                <a:gd name="connsiteX2162" fmla="*/ 13636 w 614938"/>
                <a:gd name="connsiteY2162" fmla="*/ 664458 h 716071"/>
                <a:gd name="connsiteX2163" fmla="*/ 14713 w 614938"/>
                <a:gd name="connsiteY2163" fmla="*/ 664159 h 716071"/>
                <a:gd name="connsiteX2164" fmla="*/ 15012 w 614938"/>
                <a:gd name="connsiteY2164" fmla="*/ 664638 h 716071"/>
                <a:gd name="connsiteX2165" fmla="*/ 13816 w 614938"/>
                <a:gd name="connsiteY2165" fmla="*/ 664757 h 716071"/>
                <a:gd name="connsiteX2166" fmla="*/ 14354 w 614938"/>
                <a:gd name="connsiteY2166" fmla="*/ 663920 h 716071"/>
                <a:gd name="connsiteX2167" fmla="*/ 13338 w 614938"/>
                <a:gd name="connsiteY2167" fmla="*/ 664219 h 716071"/>
                <a:gd name="connsiteX2168" fmla="*/ 13158 w 614938"/>
                <a:gd name="connsiteY2168" fmla="*/ 664039 h 716071"/>
                <a:gd name="connsiteX2169" fmla="*/ 13995 w 614938"/>
                <a:gd name="connsiteY2169" fmla="*/ 663621 h 716071"/>
                <a:gd name="connsiteX2170" fmla="*/ 14354 w 614938"/>
                <a:gd name="connsiteY2170" fmla="*/ 663920 h 716071"/>
                <a:gd name="connsiteX2171" fmla="*/ 12560 w 614938"/>
                <a:gd name="connsiteY2171" fmla="*/ 663980 h 716071"/>
                <a:gd name="connsiteX2172" fmla="*/ 12440 w 614938"/>
                <a:gd name="connsiteY2172" fmla="*/ 664279 h 716071"/>
                <a:gd name="connsiteX2173" fmla="*/ 12440 w 614938"/>
                <a:gd name="connsiteY2173" fmla="*/ 663920 h 716071"/>
                <a:gd name="connsiteX2174" fmla="*/ 12560 w 614938"/>
                <a:gd name="connsiteY2174" fmla="*/ 663980 h 716071"/>
                <a:gd name="connsiteX2175" fmla="*/ 12021 w 614938"/>
                <a:gd name="connsiteY2175" fmla="*/ 663860 h 716071"/>
                <a:gd name="connsiteX2176" fmla="*/ 12021 w 614938"/>
                <a:gd name="connsiteY2176" fmla="*/ 664159 h 716071"/>
                <a:gd name="connsiteX2177" fmla="*/ 11961 w 614938"/>
                <a:gd name="connsiteY2177" fmla="*/ 663860 h 716071"/>
                <a:gd name="connsiteX2178" fmla="*/ 12021 w 614938"/>
                <a:gd name="connsiteY2178" fmla="*/ 663860 h 716071"/>
                <a:gd name="connsiteX2179" fmla="*/ 13816 w 614938"/>
                <a:gd name="connsiteY2179" fmla="*/ 665714 h 716071"/>
                <a:gd name="connsiteX2180" fmla="*/ 13816 w 614938"/>
                <a:gd name="connsiteY2180" fmla="*/ 665894 h 716071"/>
                <a:gd name="connsiteX2181" fmla="*/ 13218 w 614938"/>
                <a:gd name="connsiteY2181" fmla="*/ 665595 h 716071"/>
                <a:gd name="connsiteX2182" fmla="*/ 13816 w 614938"/>
                <a:gd name="connsiteY2182" fmla="*/ 665714 h 716071"/>
                <a:gd name="connsiteX2183" fmla="*/ 14174 w 614938"/>
                <a:gd name="connsiteY2183" fmla="*/ 666073 h 716071"/>
                <a:gd name="connsiteX2184" fmla="*/ 14174 w 614938"/>
                <a:gd name="connsiteY2184" fmla="*/ 665774 h 716071"/>
                <a:gd name="connsiteX2185" fmla="*/ 15431 w 614938"/>
                <a:gd name="connsiteY2185" fmla="*/ 665894 h 716071"/>
                <a:gd name="connsiteX2186" fmla="*/ 15431 w 614938"/>
                <a:gd name="connsiteY2186" fmla="*/ 666372 h 716071"/>
                <a:gd name="connsiteX2187" fmla="*/ 14174 w 614938"/>
                <a:gd name="connsiteY2187" fmla="*/ 666073 h 716071"/>
                <a:gd name="connsiteX2188" fmla="*/ 15729 w 614938"/>
                <a:gd name="connsiteY2188" fmla="*/ 665535 h 716071"/>
                <a:gd name="connsiteX2189" fmla="*/ 15550 w 614938"/>
                <a:gd name="connsiteY2189" fmla="*/ 665116 h 716071"/>
                <a:gd name="connsiteX2190" fmla="*/ 15729 w 614938"/>
                <a:gd name="connsiteY2190" fmla="*/ 665176 h 716071"/>
                <a:gd name="connsiteX2191" fmla="*/ 15849 w 614938"/>
                <a:gd name="connsiteY2191" fmla="*/ 665535 h 716071"/>
                <a:gd name="connsiteX2192" fmla="*/ 15729 w 614938"/>
                <a:gd name="connsiteY2192" fmla="*/ 665535 h 716071"/>
                <a:gd name="connsiteX2193" fmla="*/ 15371 w 614938"/>
                <a:gd name="connsiteY2193" fmla="*/ 664697 h 716071"/>
                <a:gd name="connsiteX2194" fmla="*/ 15191 w 614938"/>
                <a:gd name="connsiteY2194" fmla="*/ 664458 h 716071"/>
                <a:gd name="connsiteX2195" fmla="*/ 15311 w 614938"/>
                <a:gd name="connsiteY2195" fmla="*/ 664518 h 716071"/>
                <a:gd name="connsiteX2196" fmla="*/ 15431 w 614938"/>
                <a:gd name="connsiteY2196" fmla="*/ 664697 h 716071"/>
                <a:gd name="connsiteX2197" fmla="*/ 15371 w 614938"/>
                <a:gd name="connsiteY2197" fmla="*/ 664697 h 716071"/>
                <a:gd name="connsiteX2198" fmla="*/ 12739 w 614938"/>
                <a:gd name="connsiteY2198" fmla="*/ 663740 h 716071"/>
                <a:gd name="connsiteX2199" fmla="*/ 12620 w 614938"/>
                <a:gd name="connsiteY2199" fmla="*/ 663681 h 716071"/>
                <a:gd name="connsiteX2200" fmla="*/ 13218 w 614938"/>
                <a:gd name="connsiteY2200" fmla="*/ 663262 h 716071"/>
                <a:gd name="connsiteX2201" fmla="*/ 13516 w 614938"/>
                <a:gd name="connsiteY2201" fmla="*/ 663382 h 716071"/>
                <a:gd name="connsiteX2202" fmla="*/ 12739 w 614938"/>
                <a:gd name="connsiteY2202" fmla="*/ 663740 h 716071"/>
                <a:gd name="connsiteX2203" fmla="*/ 11783 w 614938"/>
                <a:gd name="connsiteY2203" fmla="*/ 663382 h 716071"/>
                <a:gd name="connsiteX2204" fmla="*/ 11603 w 614938"/>
                <a:gd name="connsiteY2204" fmla="*/ 663561 h 716071"/>
                <a:gd name="connsiteX2205" fmla="*/ 11304 w 614938"/>
                <a:gd name="connsiteY2205" fmla="*/ 663740 h 716071"/>
                <a:gd name="connsiteX2206" fmla="*/ 11304 w 614938"/>
                <a:gd name="connsiteY2206" fmla="*/ 663980 h 716071"/>
                <a:gd name="connsiteX2207" fmla="*/ 11304 w 614938"/>
                <a:gd name="connsiteY2207" fmla="*/ 663980 h 716071"/>
                <a:gd name="connsiteX2208" fmla="*/ 11543 w 614938"/>
                <a:gd name="connsiteY2208" fmla="*/ 664039 h 716071"/>
                <a:gd name="connsiteX2209" fmla="*/ 11603 w 614938"/>
                <a:gd name="connsiteY2209" fmla="*/ 663980 h 716071"/>
                <a:gd name="connsiteX2210" fmla="*/ 11842 w 614938"/>
                <a:gd name="connsiteY2210" fmla="*/ 664817 h 716071"/>
                <a:gd name="connsiteX2211" fmla="*/ 11961 w 614938"/>
                <a:gd name="connsiteY2211" fmla="*/ 664937 h 716071"/>
                <a:gd name="connsiteX2212" fmla="*/ 12021 w 614938"/>
                <a:gd name="connsiteY2212" fmla="*/ 664937 h 716071"/>
                <a:gd name="connsiteX2213" fmla="*/ 12081 w 614938"/>
                <a:gd name="connsiteY2213" fmla="*/ 665056 h 716071"/>
                <a:gd name="connsiteX2214" fmla="*/ 12141 w 614938"/>
                <a:gd name="connsiteY2214" fmla="*/ 665176 h 716071"/>
                <a:gd name="connsiteX2215" fmla="*/ 12141 w 614938"/>
                <a:gd name="connsiteY2215" fmla="*/ 665176 h 716071"/>
                <a:gd name="connsiteX2216" fmla="*/ 12141 w 614938"/>
                <a:gd name="connsiteY2216" fmla="*/ 665236 h 716071"/>
                <a:gd name="connsiteX2217" fmla="*/ 12141 w 614938"/>
                <a:gd name="connsiteY2217" fmla="*/ 665236 h 716071"/>
                <a:gd name="connsiteX2218" fmla="*/ 12141 w 614938"/>
                <a:gd name="connsiteY2218" fmla="*/ 665236 h 716071"/>
                <a:gd name="connsiteX2219" fmla="*/ 12201 w 614938"/>
                <a:gd name="connsiteY2219" fmla="*/ 665295 h 716071"/>
                <a:gd name="connsiteX2220" fmla="*/ 12261 w 614938"/>
                <a:gd name="connsiteY2220" fmla="*/ 665295 h 716071"/>
                <a:gd name="connsiteX2221" fmla="*/ 12321 w 614938"/>
                <a:gd name="connsiteY2221" fmla="*/ 665355 h 716071"/>
                <a:gd name="connsiteX2222" fmla="*/ 12440 w 614938"/>
                <a:gd name="connsiteY2222" fmla="*/ 665415 h 716071"/>
                <a:gd name="connsiteX2223" fmla="*/ 12440 w 614938"/>
                <a:gd name="connsiteY2223" fmla="*/ 665415 h 716071"/>
                <a:gd name="connsiteX2224" fmla="*/ 12500 w 614938"/>
                <a:gd name="connsiteY2224" fmla="*/ 665535 h 716071"/>
                <a:gd name="connsiteX2225" fmla="*/ 12560 w 614938"/>
                <a:gd name="connsiteY2225" fmla="*/ 665595 h 716071"/>
                <a:gd name="connsiteX2226" fmla="*/ 13696 w 614938"/>
                <a:gd name="connsiteY2226" fmla="*/ 666133 h 716071"/>
                <a:gd name="connsiteX2227" fmla="*/ 13636 w 614938"/>
                <a:gd name="connsiteY2227" fmla="*/ 666312 h 716071"/>
                <a:gd name="connsiteX2228" fmla="*/ 13696 w 614938"/>
                <a:gd name="connsiteY2228" fmla="*/ 666551 h 716071"/>
                <a:gd name="connsiteX2229" fmla="*/ 13756 w 614938"/>
                <a:gd name="connsiteY2229" fmla="*/ 666551 h 716071"/>
                <a:gd name="connsiteX2230" fmla="*/ 13995 w 614938"/>
                <a:gd name="connsiteY2230" fmla="*/ 666551 h 716071"/>
                <a:gd name="connsiteX2231" fmla="*/ 14115 w 614938"/>
                <a:gd name="connsiteY2231" fmla="*/ 666312 h 716071"/>
                <a:gd name="connsiteX2232" fmla="*/ 15371 w 614938"/>
                <a:gd name="connsiteY2232" fmla="*/ 666611 h 716071"/>
                <a:gd name="connsiteX2233" fmla="*/ 15251 w 614938"/>
                <a:gd name="connsiteY2233" fmla="*/ 666910 h 716071"/>
                <a:gd name="connsiteX2234" fmla="*/ 15251 w 614938"/>
                <a:gd name="connsiteY2234" fmla="*/ 666910 h 716071"/>
                <a:gd name="connsiteX2235" fmla="*/ 15251 w 614938"/>
                <a:gd name="connsiteY2235" fmla="*/ 666910 h 716071"/>
                <a:gd name="connsiteX2236" fmla="*/ 15251 w 614938"/>
                <a:gd name="connsiteY2236" fmla="*/ 666970 h 716071"/>
                <a:gd name="connsiteX2237" fmla="*/ 15251 w 614938"/>
                <a:gd name="connsiteY2237" fmla="*/ 666970 h 716071"/>
                <a:gd name="connsiteX2238" fmla="*/ 15251 w 614938"/>
                <a:gd name="connsiteY2238" fmla="*/ 667030 h 716071"/>
                <a:gd name="connsiteX2239" fmla="*/ 15251 w 614938"/>
                <a:gd name="connsiteY2239" fmla="*/ 667030 h 716071"/>
                <a:gd name="connsiteX2240" fmla="*/ 15251 w 614938"/>
                <a:gd name="connsiteY2240" fmla="*/ 667090 h 716071"/>
                <a:gd name="connsiteX2241" fmla="*/ 15251 w 614938"/>
                <a:gd name="connsiteY2241" fmla="*/ 667090 h 716071"/>
                <a:gd name="connsiteX2242" fmla="*/ 15251 w 614938"/>
                <a:gd name="connsiteY2242" fmla="*/ 667090 h 716071"/>
                <a:gd name="connsiteX2243" fmla="*/ 13756 w 614938"/>
                <a:gd name="connsiteY2243" fmla="*/ 667329 h 716071"/>
                <a:gd name="connsiteX2244" fmla="*/ 13756 w 614938"/>
                <a:gd name="connsiteY2244" fmla="*/ 667329 h 716071"/>
                <a:gd name="connsiteX2245" fmla="*/ 13756 w 614938"/>
                <a:gd name="connsiteY2245" fmla="*/ 667329 h 716071"/>
                <a:gd name="connsiteX2246" fmla="*/ 13756 w 614938"/>
                <a:gd name="connsiteY2246" fmla="*/ 667329 h 716071"/>
                <a:gd name="connsiteX2247" fmla="*/ 13756 w 614938"/>
                <a:gd name="connsiteY2247" fmla="*/ 667329 h 716071"/>
                <a:gd name="connsiteX2248" fmla="*/ 13756 w 614938"/>
                <a:gd name="connsiteY2248" fmla="*/ 667329 h 716071"/>
                <a:gd name="connsiteX2249" fmla="*/ 12978 w 614938"/>
                <a:gd name="connsiteY2249" fmla="*/ 668106 h 716071"/>
                <a:gd name="connsiteX2250" fmla="*/ 6280 w 614938"/>
                <a:gd name="connsiteY2250" fmla="*/ 662185 h 716071"/>
                <a:gd name="connsiteX2251" fmla="*/ 10228 w 614938"/>
                <a:gd name="connsiteY2251" fmla="*/ 661587 h 716071"/>
                <a:gd name="connsiteX2252" fmla="*/ 11783 w 614938"/>
                <a:gd name="connsiteY2252" fmla="*/ 663382 h 716071"/>
                <a:gd name="connsiteX2253" fmla="*/ 12739 w 614938"/>
                <a:gd name="connsiteY2253" fmla="*/ 668465 h 716071"/>
                <a:gd name="connsiteX2254" fmla="*/ 11902 w 614938"/>
                <a:gd name="connsiteY2254" fmla="*/ 669243 h 716071"/>
                <a:gd name="connsiteX2255" fmla="*/ 11902 w 614938"/>
                <a:gd name="connsiteY2255" fmla="*/ 669243 h 716071"/>
                <a:gd name="connsiteX2256" fmla="*/ 11902 w 614938"/>
                <a:gd name="connsiteY2256" fmla="*/ 669243 h 716071"/>
                <a:gd name="connsiteX2257" fmla="*/ 11902 w 614938"/>
                <a:gd name="connsiteY2257" fmla="*/ 669243 h 716071"/>
                <a:gd name="connsiteX2258" fmla="*/ 11184 w 614938"/>
                <a:gd name="connsiteY2258" fmla="*/ 670140 h 716071"/>
                <a:gd name="connsiteX2259" fmla="*/ 3649 w 614938"/>
                <a:gd name="connsiteY2259" fmla="*/ 664638 h 716071"/>
                <a:gd name="connsiteX2260" fmla="*/ 5921 w 614938"/>
                <a:gd name="connsiteY2260" fmla="*/ 662485 h 716071"/>
                <a:gd name="connsiteX2261" fmla="*/ 12739 w 614938"/>
                <a:gd name="connsiteY2261" fmla="*/ 668465 h 716071"/>
                <a:gd name="connsiteX2262" fmla="*/ 3170 w 614938"/>
                <a:gd name="connsiteY2262" fmla="*/ 664757 h 716071"/>
                <a:gd name="connsiteX2263" fmla="*/ 2752 w 614938"/>
                <a:gd name="connsiteY2263" fmla="*/ 668346 h 716071"/>
                <a:gd name="connsiteX2264" fmla="*/ 1735 w 614938"/>
                <a:gd name="connsiteY2264" fmla="*/ 668346 h 716071"/>
                <a:gd name="connsiteX2265" fmla="*/ 2154 w 614938"/>
                <a:gd name="connsiteY2265" fmla="*/ 664638 h 716071"/>
                <a:gd name="connsiteX2266" fmla="*/ 3170 w 614938"/>
                <a:gd name="connsiteY2266" fmla="*/ 664757 h 716071"/>
                <a:gd name="connsiteX2267" fmla="*/ 2871 w 614938"/>
                <a:gd name="connsiteY2267" fmla="*/ 668704 h 716071"/>
                <a:gd name="connsiteX2268" fmla="*/ 4486 w 614938"/>
                <a:gd name="connsiteY2268" fmla="*/ 673609 h 716071"/>
                <a:gd name="connsiteX2269" fmla="*/ 3469 w 614938"/>
                <a:gd name="connsiteY2269" fmla="*/ 673728 h 716071"/>
                <a:gd name="connsiteX2270" fmla="*/ 1854 w 614938"/>
                <a:gd name="connsiteY2270" fmla="*/ 668704 h 716071"/>
                <a:gd name="connsiteX2271" fmla="*/ 2871 w 614938"/>
                <a:gd name="connsiteY2271" fmla="*/ 668704 h 716071"/>
                <a:gd name="connsiteX2272" fmla="*/ 4605 w 614938"/>
                <a:gd name="connsiteY2272" fmla="*/ 673968 h 716071"/>
                <a:gd name="connsiteX2273" fmla="*/ 8134 w 614938"/>
                <a:gd name="connsiteY2273" fmla="*/ 679829 h 716071"/>
                <a:gd name="connsiteX2274" fmla="*/ 7177 w 614938"/>
                <a:gd name="connsiteY2274" fmla="*/ 680068 h 716071"/>
                <a:gd name="connsiteX2275" fmla="*/ 3529 w 614938"/>
                <a:gd name="connsiteY2275" fmla="*/ 674027 h 716071"/>
                <a:gd name="connsiteX2276" fmla="*/ 4605 w 614938"/>
                <a:gd name="connsiteY2276" fmla="*/ 673968 h 716071"/>
                <a:gd name="connsiteX2277" fmla="*/ 8373 w 614938"/>
                <a:gd name="connsiteY2277" fmla="*/ 680187 h 716071"/>
                <a:gd name="connsiteX2278" fmla="*/ 13636 w 614938"/>
                <a:gd name="connsiteY2278" fmla="*/ 686587 h 716071"/>
                <a:gd name="connsiteX2279" fmla="*/ 12799 w 614938"/>
                <a:gd name="connsiteY2279" fmla="*/ 687005 h 716071"/>
                <a:gd name="connsiteX2280" fmla="*/ 7357 w 614938"/>
                <a:gd name="connsiteY2280" fmla="*/ 680427 h 716071"/>
                <a:gd name="connsiteX2281" fmla="*/ 8373 w 614938"/>
                <a:gd name="connsiteY2281" fmla="*/ 680187 h 716071"/>
                <a:gd name="connsiteX2282" fmla="*/ 13995 w 614938"/>
                <a:gd name="connsiteY2282" fmla="*/ 686946 h 716071"/>
                <a:gd name="connsiteX2283" fmla="*/ 20634 w 614938"/>
                <a:gd name="connsiteY2283" fmla="*/ 693465 h 716071"/>
                <a:gd name="connsiteX2284" fmla="*/ 19976 w 614938"/>
                <a:gd name="connsiteY2284" fmla="*/ 694063 h 716071"/>
                <a:gd name="connsiteX2285" fmla="*/ 13158 w 614938"/>
                <a:gd name="connsiteY2285" fmla="*/ 687424 h 716071"/>
                <a:gd name="connsiteX2286" fmla="*/ 13995 w 614938"/>
                <a:gd name="connsiteY2286" fmla="*/ 686946 h 716071"/>
                <a:gd name="connsiteX2287" fmla="*/ 20933 w 614938"/>
                <a:gd name="connsiteY2287" fmla="*/ 693704 h 716071"/>
                <a:gd name="connsiteX2288" fmla="*/ 28468 w 614938"/>
                <a:gd name="connsiteY2288" fmla="*/ 699744 h 716071"/>
                <a:gd name="connsiteX2289" fmla="*/ 27990 w 614938"/>
                <a:gd name="connsiteY2289" fmla="*/ 700462 h 716071"/>
                <a:gd name="connsiteX2290" fmla="*/ 20275 w 614938"/>
                <a:gd name="connsiteY2290" fmla="*/ 694242 h 716071"/>
                <a:gd name="connsiteX2291" fmla="*/ 20933 w 614938"/>
                <a:gd name="connsiteY2291" fmla="*/ 693704 h 716071"/>
                <a:gd name="connsiteX2292" fmla="*/ 28408 w 614938"/>
                <a:gd name="connsiteY2292" fmla="*/ 700761 h 716071"/>
                <a:gd name="connsiteX2293" fmla="*/ 28887 w 614938"/>
                <a:gd name="connsiteY2293" fmla="*/ 700043 h 716071"/>
                <a:gd name="connsiteX2294" fmla="*/ 36782 w 614938"/>
                <a:gd name="connsiteY2294" fmla="*/ 705247 h 716071"/>
                <a:gd name="connsiteX2295" fmla="*/ 36543 w 614938"/>
                <a:gd name="connsiteY2295" fmla="*/ 706084 h 716071"/>
                <a:gd name="connsiteX2296" fmla="*/ 28408 w 614938"/>
                <a:gd name="connsiteY2296" fmla="*/ 700761 h 716071"/>
                <a:gd name="connsiteX2297" fmla="*/ 36841 w 614938"/>
                <a:gd name="connsiteY2297" fmla="*/ 706323 h 716071"/>
                <a:gd name="connsiteX2298" fmla="*/ 37081 w 614938"/>
                <a:gd name="connsiteY2298" fmla="*/ 705486 h 716071"/>
                <a:gd name="connsiteX2299" fmla="*/ 44677 w 614938"/>
                <a:gd name="connsiteY2299" fmla="*/ 709373 h 716071"/>
                <a:gd name="connsiteX2300" fmla="*/ 44617 w 614938"/>
                <a:gd name="connsiteY2300" fmla="*/ 710330 h 716071"/>
                <a:gd name="connsiteX2301" fmla="*/ 36841 w 614938"/>
                <a:gd name="connsiteY2301" fmla="*/ 706323 h 716071"/>
                <a:gd name="connsiteX2302" fmla="*/ 44975 w 614938"/>
                <a:gd name="connsiteY2302" fmla="*/ 710450 h 716071"/>
                <a:gd name="connsiteX2303" fmla="*/ 45035 w 614938"/>
                <a:gd name="connsiteY2303" fmla="*/ 709493 h 716071"/>
                <a:gd name="connsiteX2304" fmla="*/ 51793 w 614938"/>
                <a:gd name="connsiteY2304" fmla="*/ 711885 h 716071"/>
                <a:gd name="connsiteX2305" fmla="*/ 51913 w 614938"/>
                <a:gd name="connsiteY2305" fmla="*/ 712902 h 716071"/>
                <a:gd name="connsiteX2306" fmla="*/ 44975 w 614938"/>
                <a:gd name="connsiteY2306" fmla="*/ 710450 h 716071"/>
                <a:gd name="connsiteX2307" fmla="*/ 52271 w 614938"/>
                <a:gd name="connsiteY2307" fmla="*/ 712962 h 716071"/>
                <a:gd name="connsiteX2308" fmla="*/ 52152 w 614938"/>
                <a:gd name="connsiteY2308" fmla="*/ 711945 h 716071"/>
                <a:gd name="connsiteX2309" fmla="*/ 57594 w 614938"/>
                <a:gd name="connsiteY2309" fmla="*/ 712663 h 716071"/>
                <a:gd name="connsiteX2310" fmla="*/ 57834 w 614938"/>
                <a:gd name="connsiteY2310" fmla="*/ 713680 h 716071"/>
                <a:gd name="connsiteX2311" fmla="*/ 52271 w 614938"/>
                <a:gd name="connsiteY2311" fmla="*/ 712962 h 716071"/>
                <a:gd name="connsiteX2312" fmla="*/ 58193 w 614938"/>
                <a:gd name="connsiteY2312" fmla="*/ 713680 h 716071"/>
                <a:gd name="connsiteX2313" fmla="*/ 57954 w 614938"/>
                <a:gd name="connsiteY2313" fmla="*/ 712663 h 716071"/>
                <a:gd name="connsiteX2314" fmla="*/ 61721 w 614938"/>
                <a:gd name="connsiteY2314" fmla="*/ 711766 h 716071"/>
                <a:gd name="connsiteX2315" fmla="*/ 62020 w 614938"/>
                <a:gd name="connsiteY2315" fmla="*/ 712723 h 716071"/>
                <a:gd name="connsiteX2316" fmla="*/ 58193 w 614938"/>
                <a:gd name="connsiteY2316" fmla="*/ 713680 h 716071"/>
                <a:gd name="connsiteX2317" fmla="*/ 56399 w 614938"/>
                <a:gd name="connsiteY2317" fmla="*/ 703213 h 716071"/>
                <a:gd name="connsiteX2318" fmla="*/ 57056 w 614938"/>
                <a:gd name="connsiteY2318" fmla="*/ 702376 h 716071"/>
                <a:gd name="connsiteX2319" fmla="*/ 57056 w 614938"/>
                <a:gd name="connsiteY2319" fmla="*/ 702376 h 716071"/>
                <a:gd name="connsiteX2320" fmla="*/ 57056 w 614938"/>
                <a:gd name="connsiteY2320" fmla="*/ 702376 h 716071"/>
                <a:gd name="connsiteX2321" fmla="*/ 57056 w 614938"/>
                <a:gd name="connsiteY2321" fmla="*/ 702376 h 716071"/>
                <a:gd name="connsiteX2322" fmla="*/ 57056 w 614938"/>
                <a:gd name="connsiteY2322" fmla="*/ 702376 h 716071"/>
                <a:gd name="connsiteX2323" fmla="*/ 57056 w 614938"/>
                <a:gd name="connsiteY2323" fmla="*/ 702376 h 716071"/>
                <a:gd name="connsiteX2324" fmla="*/ 57056 w 614938"/>
                <a:gd name="connsiteY2324" fmla="*/ 702376 h 716071"/>
                <a:gd name="connsiteX2325" fmla="*/ 57056 w 614938"/>
                <a:gd name="connsiteY2325" fmla="*/ 702376 h 716071"/>
                <a:gd name="connsiteX2326" fmla="*/ 57056 w 614938"/>
                <a:gd name="connsiteY2326" fmla="*/ 702376 h 716071"/>
                <a:gd name="connsiteX2327" fmla="*/ 57116 w 614938"/>
                <a:gd name="connsiteY2327" fmla="*/ 700941 h 716071"/>
                <a:gd name="connsiteX2328" fmla="*/ 57296 w 614938"/>
                <a:gd name="connsiteY2328" fmla="*/ 701060 h 716071"/>
                <a:gd name="connsiteX2329" fmla="*/ 57296 w 614938"/>
                <a:gd name="connsiteY2329" fmla="*/ 701060 h 716071"/>
                <a:gd name="connsiteX2330" fmla="*/ 57356 w 614938"/>
                <a:gd name="connsiteY2330" fmla="*/ 701060 h 716071"/>
                <a:gd name="connsiteX2331" fmla="*/ 57356 w 614938"/>
                <a:gd name="connsiteY2331" fmla="*/ 701060 h 716071"/>
                <a:gd name="connsiteX2332" fmla="*/ 57416 w 614938"/>
                <a:gd name="connsiteY2332" fmla="*/ 701060 h 716071"/>
                <a:gd name="connsiteX2333" fmla="*/ 57416 w 614938"/>
                <a:gd name="connsiteY2333" fmla="*/ 701060 h 716071"/>
                <a:gd name="connsiteX2334" fmla="*/ 57475 w 614938"/>
                <a:gd name="connsiteY2334" fmla="*/ 701060 h 716071"/>
                <a:gd name="connsiteX2335" fmla="*/ 57774 w 614938"/>
                <a:gd name="connsiteY2335" fmla="*/ 700881 h 716071"/>
                <a:gd name="connsiteX2336" fmla="*/ 58252 w 614938"/>
                <a:gd name="connsiteY2336" fmla="*/ 701957 h 716071"/>
                <a:gd name="connsiteX2337" fmla="*/ 58013 w 614938"/>
                <a:gd name="connsiteY2337" fmla="*/ 702137 h 716071"/>
                <a:gd name="connsiteX2338" fmla="*/ 58013 w 614938"/>
                <a:gd name="connsiteY2338" fmla="*/ 702376 h 716071"/>
                <a:gd name="connsiteX2339" fmla="*/ 58013 w 614938"/>
                <a:gd name="connsiteY2339" fmla="*/ 702376 h 716071"/>
                <a:gd name="connsiteX2340" fmla="*/ 58252 w 614938"/>
                <a:gd name="connsiteY2340" fmla="*/ 702436 h 716071"/>
                <a:gd name="connsiteX2341" fmla="*/ 58432 w 614938"/>
                <a:gd name="connsiteY2341" fmla="*/ 702316 h 716071"/>
                <a:gd name="connsiteX2342" fmla="*/ 59209 w 614938"/>
                <a:gd name="connsiteY2342" fmla="*/ 703333 h 716071"/>
                <a:gd name="connsiteX2343" fmla="*/ 59269 w 614938"/>
                <a:gd name="connsiteY2343" fmla="*/ 703393 h 716071"/>
                <a:gd name="connsiteX2344" fmla="*/ 59389 w 614938"/>
                <a:gd name="connsiteY2344" fmla="*/ 703452 h 716071"/>
                <a:gd name="connsiteX2345" fmla="*/ 59389 w 614938"/>
                <a:gd name="connsiteY2345" fmla="*/ 703452 h 716071"/>
                <a:gd name="connsiteX2346" fmla="*/ 59449 w 614938"/>
                <a:gd name="connsiteY2346" fmla="*/ 703572 h 716071"/>
                <a:gd name="connsiteX2347" fmla="*/ 59509 w 614938"/>
                <a:gd name="connsiteY2347" fmla="*/ 703632 h 716071"/>
                <a:gd name="connsiteX2348" fmla="*/ 59509 w 614938"/>
                <a:gd name="connsiteY2348" fmla="*/ 703632 h 716071"/>
                <a:gd name="connsiteX2349" fmla="*/ 59568 w 614938"/>
                <a:gd name="connsiteY2349" fmla="*/ 703692 h 716071"/>
                <a:gd name="connsiteX2350" fmla="*/ 59568 w 614938"/>
                <a:gd name="connsiteY2350" fmla="*/ 703692 h 716071"/>
                <a:gd name="connsiteX2351" fmla="*/ 59568 w 614938"/>
                <a:gd name="connsiteY2351" fmla="*/ 703692 h 716071"/>
                <a:gd name="connsiteX2352" fmla="*/ 59628 w 614938"/>
                <a:gd name="connsiteY2352" fmla="*/ 703692 h 716071"/>
                <a:gd name="connsiteX2353" fmla="*/ 59747 w 614938"/>
                <a:gd name="connsiteY2353" fmla="*/ 703751 h 716071"/>
                <a:gd name="connsiteX2354" fmla="*/ 59927 w 614938"/>
                <a:gd name="connsiteY2354" fmla="*/ 703811 h 716071"/>
                <a:gd name="connsiteX2355" fmla="*/ 59927 w 614938"/>
                <a:gd name="connsiteY2355" fmla="*/ 703811 h 716071"/>
                <a:gd name="connsiteX2356" fmla="*/ 60107 w 614938"/>
                <a:gd name="connsiteY2356" fmla="*/ 703871 h 716071"/>
                <a:gd name="connsiteX2357" fmla="*/ 61004 w 614938"/>
                <a:gd name="connsiteY2357" fmla="*/ 703931 h 716071"/>
                <a:gd name="connsiteX2358" fmla="*/ 61004 w 614938"/>
                <a:gd name="connsiteY2358" fmla="*/ 703991 h 716071"/>
                <a:gd name="connsiteX2359" fmla="*/ 61064 w 614938"/>
                <a:gd name="connsiteY2359" fmla="*/ 704230 h 716071"/>
                <a:gd name="connsiteX2360" fmla="*/ 61124 w 614938"/>
                <a:gd name="connsiteY2360" fmla="*/ 704230 h 716071"/>
                <a:gd name="connsiteX2361" fmla="*/ 61362 w 614938"/>
                <a:gd name="connsiteY2361" fmla="*/ 704230 h 716071"/>
                <a:gd name="connsiteX2362" fmla="*/ 61482 w 614938"/>
                <a:gd name="connsiteY2362" fmla="*/ 703931 h 716071"/>
                <a:gd name="connsiteX2363" fmla="*/ 61662 w 614938"/>
                <a:gd name="connsiteY2363" fmla="*/ 703692 h 716071"/>
                <a:gd name="connsiteX2364" fmla="*/ 63695 w 614938"/>
                <a:gd name="connsiteY2364" fmla="*/ 704888 h 716071"/>
                <a:gd name="connsiteX2365" fmla="*/ 63635 w 614938"/>
                <a:gd name="connsiteY2365" fmla="*/ 708656 h 716071"/>
                <a:gd name="connsiteX2366" fmla="*/ 56399 w 614938"/>
                <a:gd name="connsiteY2366" fmla="*/ 703213 h 716071"/>
                <a:gd name="connsiteX2367" fmla="*/ 59987 w 614938"/>
                <a:gd name="connsiteY2367" fmla="*/ 702735 h 716071"/>
                <a:gd name="connsiteX2368" fmla="*/ 59987 w 614938"/>
                <a:gd name="connsiteY2368" fmla="*/ 702197 h 716071"/>
                <a:gd name="connsiteX2369" fmla="*/ 60226 w 614938"/>
                <a:gd name="connsiteY2369" fmla="*/ 702316 h 716071"/>
                <a:gd name="connsiteX2370" fmla="*/ 59987 w 614938"/>
                <a:gd name="connsiteY2370" fmla="*/ 702735 h 716071"/>
                <a:gd name="connsiteX2371" fmla="*/ 60585 w 614938"/>
                <a:gd name="connsiteY2371" fmla="*/ 702496 h 716071"/>
                <a:gd name="connsiteX2372" fmla="*/ 60764 w 614938"/>
                <a:gd name="connsiteY2372" fmla="*/ 702615 h 716071"/>
                <a:gd name="connsiteX2373" fmla="*/ 60406 w 614938"/>
                <a:gd name="connsiteY2373" fmla="*/ 702854 h 716071"/>
                <a:gd name="connsiteX2374" fmla="*/ 60585 w 614938"/>
                <a:gd name="connsiteY2374" fmla="*/ 702496 h 716071"/>
                <a:gd name="connsiteX2375" fmla="*/ 59628 w 614938"/>
                <a:gd name="connsiteY2375" fmla="*/ 702675 h 716071"/>
                <a:gd name="connsiteX2376" fmla="*/ 59389 w 614938"/>
                <a:gd name="connsiteY2376" fmla="*/ 702077 h 716071"/>
                <a:gd name="connsiteX2377" fmla="*/ 59628 w 614938"/>
                <a:gd name="connsiteY2377" fmla="*/ 702137 h 716071"/>
                <a:gd name="connsiteX2378" fmla="*/ 59628 w 614938"/>
                <a:gd name="connsiteY2378" fmla="*/ 702675 h 716071"/>
                <a:gd name="connsiteX2379" fmla="*/ 61004 w 614938"/>
                <a:gd name="connsiteY2379" fmla="*/ 702974 h 716071"/>
                <a:gd name="connsiteX2380" fmla="*/ 61064 w 614938"/>
                <a:gd name="connsiteY2380" fmla="*/ 703094 h 716071"/>
                <a:gd name="connsiteX2381" fmla="*/ 60704 w 614938"/>
                <a:gd name="connsiteY2381" fmla="*/ 703153 h 716071"/>
                <a:gd name="connsiteX2382" fmla="*/ 61004 w 614938"/>
                <a:gd name="connsiteY2382" fmla="*/ 702974 h 716071"/>
                <a:gd name="connsiteX2383" fmla="*/ 60645 w 614938"/>
                <a:gd name="connsiteY2383" fmla="*/ 702256 h 716071"/>
                <a:gd name="connsiteX2384" fmla="*/ 60764 w 614938"/>
                <a:gd name="connsiteY2384" fmla="*/ 701240 h 716071"/>
                <a:gd name="connsiteX2385" fmla="*/ 61183 w 614938"/>
                <a:gd name="connsiteY2385" fmla="*/ 701539 h 716071"/>
                <a:gd name="connsiteX2386" fmla="*/ 60944 w 614938"/>
                <a:gd name="connsiteY2386" fmla="*/ 702436 h 716071"/>
                <a:gd name="connsiteX2387" fmla="*/ 60645 w 614938"/>
                <a:gd name="connsiteY2387" fmla="*/ 702256 h 716071"/>
                <a:gd name="connsiteX2388" fmla="*/ 60286 w 614938"/>
                <a:gd name="connsiteY2388" fmla="*/ 702017 h 716071"/>
                <a:gd name="connsiteX2389" fmla="*/ 59987 w 614938"/>
                <a:gd name="connsiteY2389" fmla="*/ 701897 h 716071"/>
                <a:gd name="connsiteX2390" fmla="*/ 59867 w 614938"/>
                <a:gd name="connsiteY2390" fmla="*/ 700761 h 716071"/>
                <a:gd name="connsiteX2391" fmla="*/ 60406 w 614938"/>
                <a:gd name="connsiteY2391" fmla="*/ 701000 h 716071"/>
                <a:gd name="connsiteX2392" fmla="*/ 60286 w 614938"/>
                <a:gd name="connsiteY2392" fmla="*/ 702017 h 716071"/>
                <a:gd name="connsiteX2393" fmla="*/ 59628 w 614938"/>
                <a:gd name="connsiteY2393" fmla="*/ 701778 h 716071"/>
                <a:gd name="connsiteX2394" fmla="*/ 59269 w 614938"/>
                <a:gd name="connsiteY2394" fmla="*/ 701718 h 716071"/>
                <a:gd name="connsiteX2395" fmla="*/ 58911 w 614938"/>
                <a:gd name="connsiteY2395" fmla="*/ 700582 h 716071"/>
                <a:gd name="connsiteX2396" fmla="*/ 59449 w 614938"/>
                <a:gd name="connsiteY2396" fmla="*/ 700641 h 716071"/>
                <a:gd name="connsiteX2397" fmla="*/ 59628 w 614938"/>
                <a:gd name="connsiteY2397" fmla="*/ 701778 h 716071"/>
                <a:gd name="connsiteX2398" fmla="*/ 58492 w 614938"/>
                <a:gd name="connsiteY2398" fmla="*/ 700223 h 716071"/>
                <a:gd name="connsiteX2399" fmla="*/ 58252 w 614938"/>
                <a:gd name="connsiteY2399" fmla="*/ 700283 h 716071"/>
                <a:gd name="connsiteX2400" fmla="*/ 58252 w 614938"/>
                <a:gd name="connsiteY2400" fmla="*/ 700283 h 716071"/>
                <a:gd name="connsiteX2401" fmla="*/ 58492 w 614938"/>
                <a:gd name="connsiteY2401" fmla="*/ 700223 h 716071"/>
                <a:gd name="connsiteX2402" fmla="*/ 58492 w 614938"/>
                <a:gd name="connsiteY2402" fmla="*/ 700223 h 716071"/>
                <a:gd name="connsiteX2403" fmla="*/ 58552 w 614938"/>
                <a:gd name="connsiteY2403" fmla="*/ 700582 h 716071"/>
                <a:gd name="connsiteX2404" fmla="*/ 58911 w 614938"/>
                <a:gd name="connsiteY2404" fmla="*/ 701718 h 716071"/>
                <a:gd name="connsiteX2405" fmla="*/ 58611 w 614938"/>
                <a:gd name="connsiteY2405" fmla="*/ 701778 h 716071"/>
                <a:gd name="connsiteX2406" fmla="*/ 58073 w 614938"/>
                <a:gd name="connsiteY2406" fmla="*/ 700641 h 716071"/>
                <a:gd name="connsiteX2407" fmla="*/ 58552 w 614938"/>
                <a:gd name="connsiteY2407" fmla="*/ 700582 h 716071"/>
                <a:gd name="connsiteX2408" fmla="*/ 59030 w 614938"/>
                <a:gd name="connsiteY2408" fmla="*/ 702077 h 716071"/>
                <a:gd name="connsiteX2409" fmla="*/ 59269 w 614938"/>
                <a:gd name="connsiteY2409" fmla="*/ 702675 h 716071"/>
                <a:gd name="connsiteX2410" fmla="*/ 58851 w 614938"/>
                <a:gd name="connsiteY2410" fmla="*/ 702137 h 716071"/>
                <a:gd name="connsiteX2411" fmla="*/ 59030 w 614938"/>
                <a:gd name="connsiteY2411" fmla="*/ 702077 h 716071"/>
                <a:gd name="connsiteX2412" fmla="*/ 61243 w 614938"/>
                <a:gd name="connsiteY2412" fmla="*/ 703452 h 716071"/>
                <a:gd name="connsiteX2413" fmla="*/ 61243 w 614938"/>
                <a:gd name="connsiteY2413" fmla="*/ 703572 h 716071"/>
                <a:gd name="connsiteX2414" fmla="*/ 60944 w 614938"/>
                <a:gd name="connsiteY2414" fmla="*/ 703572 h 716071"/>
                <a:gd name="connsiteX2415" fmla="*/ 61243 w 614938"/>
                <a:gd name="connsiteY2415" fmla="*/ 703452 h 716071"/>
                <a:gd name="connsiteX2416" fmla="*/ 61841 w 614938"/>
                <a:gd name="connsiteY2416" fmla="*/ 702854 h 716071"/>
                <a:gd name="connsiteX2417" fmla="*/ 61721 w 614938"/>
                <a:gd name="connsiteY2417" fmla="*/ 702974 h 716071"/>
                <a:gd name="connsiteX2418" fmla="*/ 61841 w 614938"/>
                <a:gd name="connsiteY2418" fmla="*/ 702854 h 716071"/>
                <a:gd name="connsiteX2419" fmla="*/ 61841 w 614938"/>
                <a:gd name="connsiteY2419" fmla="*/ 702854 h 716071"/>
                <a:gd name="connsiteX2420" fmla="*/ 61662 w 614938"/>
                <a:gd name="connsiteY2420" fmla="*/ 702197 h 716071"/>
                <a:gd name="connsiteX2421" fmla="*/ 61302 w 614938"/>
                <a:gd name="connsiteY2421" fmla="*/ 702854 h 716071"/>
                <a:gd name="connsiteX2422" fmla="*/ 61183 w 614938"/>
                <a:gd name="connsiteY2422" fmla="*/ 702735 h 716071"/>
                <a:gd name="connsiteX2423" fmla="*/ 61422 w 614938"/>
                <a:gd name="connsiteY2423" fmla="*/ 701957 h 716071"/>
                <a:gd name="connsiteX2424" fmla="*/ 61662 w 614938"/>
                <a:gd name="connsiteY2424" fmla="*/ 702197 h 716071"/>
                <a:gd name="connsiteX2425" fmla="*/ 59987 w 614938"/>
                <a:gd name="connsiteY2425" fmla="*/ 700462 h 716071"/>
                <a:gd name="connsiteX2426" fmla="*/ 59987 w 614938"/>
                <a:gd name="connsiteY2426" fmla="*/ 700462 h 716071"/>
                <a:gd name="connsiteX2427" fmla="*/ 59747 w 614938"/>
                <a:gd name="connsiteY2427" fmla="*/ 700402 h 716071"/>
                <a:gd name="connsiteX2428" fmla="*/ 59747 w 614938"/>
                <a:gd name="connsiteY2428" fmla="*/ 700343 h 716071"/>
                <a:gd name="connsiteX2429" fmla="*/ 59987 w 614938"/>
                <a:gd name="connsiteY2429" fmla="*/ 700462 h 716071"/>
                <a:gd name="connsiteX2430" fmla="*/ 59329 w 614938"/>
                <a:gd name="connsiteY2430" fmla="*/ 700223 h 716071"/>
                <a:gd name="connsiteX2431" fmla="*/ 59389 w 614938"/>
                <a:gd name="connsiteY2431" fmla="*/ 700343 h 716071"/>
                <a:gd name="connsiteX2432" fmla="*/ 58911 w 614938"/>
                <a:gd name="connsiteY2432" fmla="*/ 700283 h 716071"/>
                <a:gd name="connsiteX2433" fmla="*/ 58911 w 614938"/>
                <a:gd name="connsiteY2433" fmla="*/ 700223 h 716071"/>
                <a:gd name="connsiteX2434" fmla="*/ 59329 w 614938"/>
                <a:gd name="connsiteY2434" fmla="*/ 700223 h 716071"/>
                <a:gd name="connsiteX2435" fmla="*/ 63755 w 614938"/>
                <a:gd name="connsiteY2435" fmla="*/ 704409 h 716071"/>
                <a:gd name="connsiteX2436" fmla="*/ 62080 w 614938"/>
                <a:gd name="connsiteY2436" fmla="*/ 703393 h 716071"/>
                <a:gd name="connsiteX2437" fmla="*/ 62200 w 614938"/>
                <a:gd name="connsiteY2437" fmla="*/ 703034 h 716071"/>
                <a:gd name="connsiteX2438" fmla="*/ 62200 w 614938"/>
                <a:gd name="connsiteY2438" fmla="*/ 703034 h 716071"/>
                <a:gd name="connsiteX2439" fmla="*/ 62200 w 614938"/>
                <a:gd name="connsiteY2439" fmla="*/ 703034 h 716071"/>
                <a:gd name="connsiteX2440" fmla="*/ 62200 w 614938"/>
                <a:gd name="connsiteY2440" fmla="*/ 703034 h 716071"/>
                <a:gd name="connsiteX2441" fmla="*/ 62200 w 614938"/>
                <a:gd name="connsiteY2441" fmla="*/ 703034 h 716071"/>
                <a:gd name="connsiteX2442" fmla="*/ 62200 w 614938"/>
                <a:gd name="connsiteY2442" fmla="*/ 703034 h 716071"/>
                <a:gd name="connsiteX2443" fmla="*/ 62080 w 614938"/>
                <a:gd name="connsiteY2443" fmla="*/ 702316 h 716071"/>
                <a:gd name="connsiteX2444" fmla="*/ 62080 w 614938"/>
                <a:gd name="connsiteY2444" fmla="*/ 702316 h 716071"/>
                <a:gd name="connsiteX2445" fmla="*/ 62080 w 614938"/>
                <a:gd name="connsiteY2445" fmla="*/ 702316 h 716071"/>
                <a:gd name="connsiteX2446" fmla="*/ 62080 w 614938"/>
                <a:gd name="connsiteY2446" fmla="*/ 702316 h 716071"/>
                <a:gd name="connsiteX2447" fmla="*/ 62080 w 614938"/>
                <a:gd name="connsiteY2447" fmla="*/ 702316 h 716071"/>
                <a:gd name="connsiteX2448" fmla="*/ 62080 w 614938"/>
                <a:gd name="connsiteY2448" fmla="*/ 702316 h 716071"/>
                <a:gd name="connsiteX2449" fmla="*/ 61602 w 614938"/>
                <a:gd name="connsiteY2449" fmla="*/ 701598 h 716071"/>
                <a:gd name="connsiteX2450" fmla="*/ 61602 w 614938"/>
                <a:gd name="connsiteY2450" fmla="*/ 701598 h 716071"/>
                <a:gd name="connsiteX2451" fmla="*/ 61602 w 614938"/>
                <a:gd name="connsiteY2451" fmla="*/ 701598 h 716071"/>
                <a:gd name="connsiteX2452" fmla="*/ 61602 w 614938"/>
                <a:gd name="connsiteY2452" fmla="*/ 701598 h 716071"/>
                <a:gd name="connsiteX2453" fmla="*/ 60884 w 614938"/>
                <a:gd name="connsiteY2453" fmla="*/ 700821 h 716071"/>
                <a:gd name="connsiteX2454" fmla="*/ 60884 w 614938"/>
                <a:gd name="connsiteY2454" fmla="*/ 700821 h 716071"/>
                <a:gd name="connsiteX2455" fmla="*/ 60884 w 614938"/>
                <a:gd name="connsiteY2455" fmla="*/ 700821 h 716071"/>
                <a:gd name="connsiteX2456" fmla="*/ 60346 w 614938"/>
                <a:gd name="connsiteY2456" fmla="*/ 700402 h 716071"/>
                <a:gd name="connsiteX2457" fmla="*/ 60346 w 614938"/>
                <a:gd name="connsiteY2457" fmla="*/ 700402 h 716071"/>
                <a:gd name="connsiteX2458" fmla="*/ 60346 w 614938"/>
                <a:gd name="connsiteY2458" fmla="*/ 700402 h 716071"/>
                <a:gd name="connsiteX2459" fmla="*/ 60346 w 614938"/>
                <a:gd name="connsiteY2459" fmla="*/ 700402 h 716071"/>
                <a:gd name="connsiteX2460" fmla="*/ 60286 w 614938"/>
                <a:gd name="connsiteY2460" fmla="*/ 700402 h 716071"/>
                <a:gd name="connsiteX2461" fmla="*/ 60286 w 614938"/>
                <a:gd name="connsiteY2461" fmla="*/ 700402 h 716071"/>
                <a:gd name="connsiteX2462" fmla="*/ 59628 w 614938"/>
                <a:gd name="connsiteY2462" fmla="*/ 700103 h 716071"/>
                <a:gd name="connsiteX2463" fmla="*/ 59628 w 614938"/>
                <a:gd name="connsiteY2463" fmla="*/ 700103 h 716071"/>
                <a:gd name="connsiteX2464" fmla="*/ 59628 w 614938"/>
                <a:gd name="connsiteY2464" fmla="*/ 700103 h 716071"/>
                <a:gd name="connsiteX2465" fmla="*/ 59628 w 614938"/>
                <a:gd name="connsiteY2465" fmla="*/ 700103 h 716071"/>
                <a:gd name="connsiteX2466" fmla="*/ 58971 w 614938"/>
                <a:gd name="connsiteY2466" fmla="*/ 699984 h 716071"/>
                <a:gd name="connsiteX2467" fmla="*/ 58971 w 614938"/>
                <a:gd name="connsiteY2467" fmla="*/ 699984 h 716071"/>
                <a:gd name="connsiteX2468" fmla="*/ 58971 w 614938"/>
                <a:gd name="connsiteY2468" fmla="*/ 699984 h 716071"/>
                <a:gd name="connsiteX2469" fmla="*/ 58971 w 614938"/>
                <a:gd name="connsiteY2469" fmla="*/ 699984 h 716071"/>
                <a:gd name="connsiteX2470" fmla="*/ 58372 w 614938"/>
                <a:gd name="connsiteY2470" fmla="*/ 700103 h 716071"/>
                <a:gd name="connsiteX2471" fmla="*/ 58372 w 614938"/>
                <a:gd name="connsiteY2471" fmla="*/ 700103 h 716071"/>
                <a:gd name="connsiteX2472" fmla="*/ 58372 w 614938"/>
                <a:gd name="connsiteY2472" fmla="*/ 700103 h 716071"/>
                <a:gd name="connsiteX2473" fmla="*/ 58372 w 614938"/>
                <a:gd name="connsiteY2473" fmla="*/ 700103 h 716071"/>
                <a:gd name="connsiteX2474" fmla="*/ 58073 w 614938"/>
                <a:gd name="connsiteY2474" fmla="*/ 700343 h 716071"/>
                <a:gd name="connsiteX2475" fmla="*/ 58073 w 614938"/>
                <a:gd name="connsiteY2475" fmla="*/ 700582 h 716071"/>
                <a:gd name="connsiteX2476" fmla="*/ 58073 w 614938"/>
                <a:gd name="connsiteY2476" fmla="*/ 700641 h 716071"/>
                <a:gd name="connsiteX2477" fmla="*/ 57714 w 614938"/>
                <a:gd name="connsiteY2477" fmla="*/ 700881 h 716071"/>
                <a:gd name="connsiteX2478" fmla="*/ 57594 w 614938"/>
                <a:gd name="connsiteY2478" fmla="*/ 700821 h 716071"/>
                <a:gd name="connsiteX2479" fmla="*/ 57654 w 614938"/>
                <a:gd name="connsiteY2479" fmla="*/ 699565 h 716071"/>
                <a:gd name="connsiteX2480" fmla="*/ 57654 w 614938"/>
                <a:gd name="connsiteY2480" fmla="*/ 699565 h 716071"/>
                <a:gd name="connsiteX2481" fmla="*/ 57654 w 614938"/>
                <a:gd name="connsiteY2481" fmla="*/ 699505 h 716071"/>
                <a:gd name="connsiteX2482" fmla="*/ 57654 w 614938"/>
                <a:gd name="connsiteY2482" fmla="*/ 699505 h 716071"/>
                <a:gd name="connsiteX2483" fmla="*/ 57654 w 614938"/>
                <a:gd name="connsiteY2483" fmla="*/ 699505 h 716071"/>
                <a:gd name="connsiteX2484" fmla="*/ 57654 w 614938"/>
                <a:gd name="connsiteY2484" fmla="*/ 699505 h 716071"/>
                <a:gd name="connsiteX2485" fmla="*/ 56877 w 614938"/>
                <a:gd name="connsiteY2485" fmla="*/ 697472 h 716071"/>
                <a:gd name="connsiteX2486" fmla="*/ 62379 w 614938"/>
                <a:gd name="connsiteY2486" fmla="*/ 699924 h 716071"/>
                <a:gd name="connsiteX2487" fmla="*/ 63755 w 614938"/>
                <a:gd name="connsiteY2487" fmla="*/ 704409 h 716071"/>
                <a:gd name="connsiteX2488" fmla="*/ 392694 w 614938"/>
                <a:gd name="connsiteY2488" fmla="*/ 261298 h 716071"/>
                <a:gd name="connsiteX2489" fmla="*/ 417933 w 614938"/>
                <a:gd name="connsiteY2489" fmla="*/ 229301 h 716071"/>
                <a:gd name="connsiteX2490" fmla="*/ 418352 w 614938"/>
                <a:gd name="connsiteY2490" fmla="*/ 229600 h 716071"/>
                <a:gd name="connsiteX2491" fmla="*/ 393292 w 614938"/>
                <a:gd name="connsiteY2491" fmla="*/ 261477 h 716071"/>
                <a:gd name="connsiteX2492" fmla="*/ 392694 w 614938"/>
                <a:gd name="connsiteY2492" fmla="*/ 261298 h 716071"/>
                <a:gd name="connsiteX2493" fmla="*/ 401606 w 614938"/>
                <a:gd name="connsiteY2493" fmla="*/ 228882 h 716071"/>
                <a:gd name="connsiteX2494" fmla="*/ 417275 w 614938"/>
                <a:gd name="connsiteY2494" fmla="*/ 210103 h 716071"/>
                <a:gd name="connsiteX2495" fmla="*/ 416797 w 614938"/>
                <a:gd name="connsiteY2495" fmla="*/ 213033 h 716071"/>
                <a:gd name="connsiteX2496" fmla="*/ 413986 w 614938"/>
                <a:gd name="connsiteY2496" fmla="*/ 219732 h 716071"/>
                <a:gd name="connsiteX2497" fmla="*/ 401606 w 614938"/>
                <a:gd name="connsiteY2497" fmla="*/ 228882 h 716071"/>
                <a:gd name="connsiteX2498" fmla="*/ 415720 w 614938"/>
                <a:gd name="connsiteY2498" fmla="*/ 207112 h 716071"/>
                <a:gd name="connsiteX2499" fmla="*/ 415720 w 614938"/>
                <a:gd name="connsiteY2499" fmla="*/ 207112 h 716071"/>
                <a:gd name="connsiteX2500" fmla="*/ 415720 w 614938"/>
                <a:gd name="connsiteY2500" fmla="*/ 207112 h 716071"/>
                <a:gd name="connsiteX2501" fmla="*/ 415600 w 614938"/>
                <a:gd name="connsiteY2501" fmla="*/ 207053 h 716071"/>
                <a:gd name="connsiteX2502" fmla="*/ 415600 w 614938"/>
                <a:gd name="connsiteY2502" fmla="*/ 207053 h 716071"/>
                <a:gd name="connsiteX2503" fmla="*/ 396881 w 614938"/>
                <a:gd name="connsiteY2503" fmla="*/ 204959 h 716071"/>
                <a:gd name="connsiteX2504" fmla="*/ 387910 w 614938"/>
                <a:gd name="connsiteY2504" fmla="*/ 194433 h 716071"/>
                <a:gd name="connsiteX2505" fmla="*/ 416259 w 614938"/>
                <a:gd name="connsiteY2505" fmla="*/ 173800 h 716071"/>
                <a:gd name="connsiteX2506" fmla="*/ 434500 w 614938"/>
                <a:gd name="connsiteY2506" fmla="*/ 192639 h 716071"/>
                <a:gd name="connsiteX2507" fmla="*/ 417634 w 614938"/>
                <a:gd name="connsiteY2507" fmla="*/ 210222 h 716071"/>
                <a:gd name="connsiteX2508" fmla="*/ 417754 w 614938"/>
                <a:gd name="connsiteY2508" fmla="*/ 209565 h 716071"/>
                <a:gd name="connsiteX2509" fmla="*/ 417754 w 614938"/>
                <a:gd name="connsiteY2509" fmla="*/ 209565 h 716071"/>
                <a:gd name="connsiteX2510" fmla="*/ 417754 w 614938"/>
                <a:gd name="connsiteY2510" fmla="*/ 209565 h 716071"/>
                <a:gd name="connsiteX2511" fmla="*/ 417754 w 614938"/>
                <a:gd name="connsiteY2511" fmla="*/ 209565 h 716071"/>
                <a:gd name="connsiteX2512" fmla="*/ 417754 w 614938"/>
                <a:gd name="connsiteY2512" fmla="*/ 209565 h 716071"/>
                <a:gd name="connsiteX2513" fmla="*/ 417754 w 614938"/>
                <a:gd name="connsiteY2513" fmla="*/ 209565 h 716071"/>
                <a:gd name="connsiteX2514" fmla="*/ 417754 w 614938"/>
                <a:gd name="connsiteY2514" fmla="*/ 209565 h 716071"/>
                <a:gd name="connsiteX2515" fmla="*/ 417754 w 614938"/>
                <a:gd name="connsiteY2515" fmla="*/ 209565 h 716071"/>
                <a:gd name="connsiteX2516" fmla="*/ 417754 w 614938"/>
                <a:gd name="connsiteY2516" fmla="*/ 209565 h 716071"/>
                <a:gd name="connsiteX2517" fmla="*/ 417754 w 614938"/>
                <a:gd name="connsiteY2517" fmla="*/ 209565 h 716071"/>
                <a:gd name="connsiteX2518" fmla="*/ 417754 w 614938"/>
                <a:gd name="connsiteY2518" fmla="*/ 209565 h 716071"/>
                <a:gd name="connsiteX2519" fmla="*/ 417754 w 614938"/>
                <a:gd name="connsiteY2519" fmla="*/ 209565 h 716071"/>
                <a:gd name="connsiteX2520" fmla="*/ 417754 w 614938"/>
                <a:gd name="connsiteY2520" fmla="*/ 209565 h 716071"/>
                <a:gd name="connsiteX2521" fmla="*/ 415720 w 614938"/>
                <a:gd name="connsiteY2521" fmla="*/ 207112 h 716071"/>
                <a:gd name="connsiteX2522" fmla="*/ 394609 w 614938"/>
                <a:gd name="connsiteY2522" fmla="*/ 204660 h 716071"/>
                <a:gd name="connsiteX2523" fmla="*/ 387073 w 614938"/>
                <a:gd name="connsiteY2523" fmla="*/ 195749 h 716071"/>
                <a:gd name="connsiteX2524" fmla="*/ 387073 w 614938"/>
                <a:gd name="connsiteY2524" fmla="*/ 195510 h 716071"/>
                <a:gd name="connsiteX2525" fmla="*/ 394788 w 614938"/>
                <a:gd name="connsiteY2525" fmla="*/ 204660 h 716071"/>
                <a:gd name="connsiteX2526" fmla="*/ 394609 w 614938"/>
                <a:gd name="connsiteY2526" fmla="*/ 204660 h 716071"/>
                <a:gd name="connsiteX2527" fmla="*/ 422778 w 614938"/>
                <a:gd name="connsiteY2527" fmla="*/ 220928 h 716071"/>
                <a:gd name="connsiteX2528" fmla="*/ 422718 w 614938"/>
                <a:gd name="connsiteY2528" fmla="*/ 220808 h 716071"/>
                <a:gd name="connsiteX2529" fmla="*/ 423376 w 614938"/>
                <a:gd name="connsiteY2529" fmla="*/ 215485 h 716071"/>
                <a:gd name="connsiteX2530" fmla="*/ 425230 w 614938"/>
                <a:gd name="connsiteY2530" fmla="*/ 217100 h 716071"/>
                <a:gd name="connsiteX2531" fmla="*/ 424691 w 614938"/>
                <a:gd name="connsiteY2531" fmla="*/ 222363 h 716071"/>
                <a:gd name="connsiteX2532" fmla="*/ 422778 w 614938"/>
                <a:gd name="connsiteY2532" fmla="*/ 220928 h 716071"/>
                <a:gd name="connsiteX2533" fmla="*/ 428998 w 614938"/>
                <a:gd name="connsiteY2533" fmla="*/ 204301 h 716071"/>
                <a:gd name="connsiteX2534" fmla="*/ 432287 w 614938"/>
                <a:gd name="connsiteY2534" fmla="*/ 208249 h 716071"/>
                <a:gd name="connsiteX2535" fmla="*/ 428101 w 614938"/>
                <a:gd name="connsiteY2535" fmla="*/ 211777 h 716071"/>
                <a:gd name="connsiteX2536" fmla="*/ 424393 w 614938"/>
                <a:gd name="connsiteY2536" fmla="*/ 207950 h 716071"/>
                <a:gd name="connsiteX2537" fmla="*/ 424333 w 614938"/>
                <a:gd name="connsiteY2537" fmla="*/ 207950 h 716071"/>
                <a:gd name="connsiteX2538" fmla="*/ 428998 w 614938"/>
                <a:gd name="connsiteY2538" fmla="*/ 204301 h 716071"/>
                <a:gd name="connsiteX2539" fmla="*/ 440780 w 614938"/>
                <a:gd name="connsiteY2539" fmla="*/ 202687 h 716071"/>
                <a:gd name="connsiteX2540" fmla="*/ 443291 w 614938"/>
                <a:gd name="connsiteY2540" fmla="*/ 206634 h 716071"/>
                <a:gd name="connsiteX2541" fmla="*/ 438088 w 614938"/>
                <a:gd name="connsiteY2541" fmla="*/ 206275 h 716071"/>
                <a:gd name="connsiteX2542" fmla="*/ 435217 w 614938"/>
                <a:gd name="connsiteY2542" fmla="*/ 202328 h 716071"/>
                <a:gd name="connsiteX2543" fmla="*/ 440780 w 614938"/>
                <a:gd name="connsiteY2543" fmla="*/ 202687 h 716071"/>
                <a:gd name="connsiteX2544" fmla="*/ 449213 w 614938"/>
                <a:gd name="connsiteY2544" fmla="*/ 209505 h 716071"/>
                <a:gd name="connsiteX2545" fmla="*/ 449272 w 614938"/>
                <a:gd name="connsiteY2545" fmla="*/ 209744 h 716071"/>
                <a:gd name="connsiteX2546" fmla="*/ 449272 w 614938"/>
                <a:gd name="connsiteY2546" fmla="*/ 209744 h 716071"/>
                <a:gd name="connsiteX2547" fmla="*/ 449511 w 614938"/>
                <a:gd name="connsiteY2547" fmla="*/ 209744 h 716071"/>
                <a:gd name="connsiteX2548" fmla="*/ 449571 w 614938"/>
                <a:gd name="connsiteY2548" fmla="*/ 209684 h 716071"/>
                <a:gd name="connsiteX2549" fmla="*/ 449871 w 614938"/>
                <a:gd name="connsiteY2549" fmla="*/ 209983 h 716071"/>
                <a:gd name="connsiteX2550" fmla="*/ 451006 w 614938"/>
                <a:gd name="connsiteY2550" fmla="*/ 212017 h 716071"/>
                <a:gd name="connsiteX2551" fmla="*/ 448794 w 614938"/>
                <a:gd name="connsiteY2551" fmla="*/ 209325 h 716071"/>
                <a:gd name="connsiteX2552" fmla="*/ 448196 w 614938"/>
                <a:gd name="connsiteY2552" fmla="*/ 208309 h 716071"/>
                <a:gd name="connsiteX2553" fmla="*/ 449272 w 614938"/>
                <a:gd name="connsiteY2553" fmla="*/ 209385 h 716071"/>
                <a:gd name="connsiteX2554" fmla="*/ 449213 w 614938"/>
                <a:gd name="connsiteY2554" fmla="*/ 209505 h 716071"/>
                <a:gd name="connsiteX2555" fmla="*/ 453519 w 614938"/>
                <a:gd name="connsiteY2555" fmla="*/ 219074 h 716071"/>
                <a:gd name="connsiteX2556" fmla="*/ 453159 w 614938"/>
                <a:gd name="connsiteY2556" fmla="*/ 221705 h 716071"/>
                <a:gd name="connsiteX2557" fmla="*/ 452203 w 614938"/>
                <a:gd name="connsiteY2557" fmla="*/ 218416 h 716071"/>
                <a:gd name="connsiteX2558" fmla="*/ 452322 w 614938"/>
                <a:gd name="connsiteY2558" fmla="*/ 214887 h 716071"/>
                <a:gd name="connsiteX2559" fmla="*/ 453519 w 614938"/>
                <a:gd name="connsiteY2559" fmla="*/ 219074 h 716071"/>
                <a:gd name="connsiteX2560" fmla="*/ 439225 w 614938"/>
                <a:gd name="connsiteY2560" fmla="*/ 234564 h 716071"/>
                <a:gd name="connsiteX2561" fmla="*/ 442275 w 614938"/>
                <a:gd name="connsiteY2561" fmla="*/ 232112 h 716071"/>
                <a:gd name="connsiteX2562" fmla="*/ 444248 w 614938"/>
                <a:gd name="connsiteY2562" fmla="*/ 232231 h 716071"/>
                <a:gd name="connsiteX2563" fmla="*/ 442933 w 614938"/>
                <a:gd name="connsiteY2563" fmla="*/ 234803 h 716071"/>
                <a:gd name="connsiteX2564" fmla="*/ 439225 w 614938"/>
                <a:gd name="connsiteY2564" fmla="*/ 234564 h 716071"/>
                <a:gd name="connsiteX2565" fmla="*/ 442454 w 614938"/>
                <a:gd name="connsiteY2565" fmla="*/ 231753 h 716071"/>
                <a:gd name="connsiteX2566" fmla="*/ 444488 w 614938"/>
                <a:gd name="connsiteY2566" fmla="*/ 227626 h 716071"/>
                <a:gd name="connsiteX2567" fmla="*/ 444368 w 614938"/>
                <a:gd name="connsiteY2567" fmla="*/ 231873 h 716071"/>
                <a:gd name="connsiteX2568" fmla="*/ 442454 w 614938"/>
                <a:gd name="connsiteY2568" fmla="*/ 231753 h 716071"/>
                <a:gd name="connsiteX2569" fmla="*/ 444308 w 614938"/>
                <a:gd name="connsiteY2569" fmla="*/ 225832 h 716071"/>
                <a:gd name="connsiteX2570" fmla="*/ 441437 w 614938"/>
                <a:gd name="connsiteY2570" fmla="*/ 220928 h 716071"/>
                <a:gd name="connsiteX2571" fmla="*/ 443291 w 614938"/>
                <a:gd name="connsiteY2571" fmla="*/ 220330 h 716071"/>
                <a:gd name="connsiteX2572" fmla="*/ 444308 w 614938"/>
                <a:gd name="connsiteY2572" fmla="*/ 225832 h 716071"/>
                <a:gd name="connsiteX2573" fmla="*/ 443710 w 614938"/>
                <a:gd name="connsiteY2573" fmla="*/ 220210 h 716071"/>
                <a:gd name="connsiteX2574" fmla="*/ 445624 w 614938"/>
                <a:gd name="connsiteY2574" fmla="*/ 220330 h 716071"/>
                <a:gd name="connsiteX2575" fmla="*/ 444667 w 614938"/>
                <a:gd name="connsiteY2575" fmla="*/ 225712 h 716071"/>
                <a:gd name="connsiteX2576" fmla="*/ 443710 w 614938"/>
                <a:gd name="connsiteY2576" fmla="*/ 220210 h 716071"/>
                <a:gd name="connsiteX2577" fmla="*/ 444009 w 614938"/>
                <a:gd name="connsiteY2577" fmla="*/ 226012 h 716071"/>
                <a:gd name="connsiteX2578" fmla="*/ 439583 w 614938"/>
                <a:gd name="connsiteY2578" fmla="*/ 222363 h 716071"/>
                <a:gd name="connsiteX2579" fmla="*/ 441138 w 614938"/>
                <a:gd name="connsiteY2579" fmla="*/ 221048 h 716071"/>
                <a:gd name="connsiteX2580" fmla="*/ 444009 w 614938"/>
                <a:gd name="connsiteY2580" fmla="*/ 226012 h 716071"/>
                <a:gd name="connsiteX2581" fmla="*/ 443770 w 614938"/>
                <a:gd name="connsiteY2581" fmla="*/ 226310 h 716071"/>
                <a:gd name="connsiteX2582" fmla="*/ 438447 w 614938"/>
                <a:gd name="connsiteY2582" fmla="*/ 224397 h 716071"/>
                <a:gd name="connsiteX2583" fmla="*/ 439404 w 614938"/>
                <a:gd name="connsiteY2583" fmla="*/ 222662 h 716071"/>
                <a:gd name="connsiteX2584" fmla="*/ 443770 w 614938"/>
                <a:gd name="connsiteY2584" fmla="*/ 226310 h 716071"/>
                <a:gd name="connsiteX2585" fmla="*/ 443650 w 614938"/>
                <a:gd name="connsiteY2585" fmla="*/ 226610 h 716071"/>
                <a:gd name="connsiteX2586" fmla="*/ 438148 w 614938"/>
                <a:gd name="connsiteY2586" fmla="*/ 226669 h 716071"/>
                <a:gd name="connsiteX2587" fmla="*/ 438387 w 614938"/>
                <a:gd name="connsiteY2587" fmla="*/ 224756 h 716071"/>
                <a:gd name="connsiteX2588" fmla="*/ 443650 w 614938"/>
                <a:gd name="connsiteY2588" fmla="*/ 226610 h 716071"/>
                <a:gd name="connsiteX2589" fmla="*/ 445026 w 614938"/>
                <a:gd name="connsiteY2589" fmla="*/ 225832 h 716071"/>
                <a:gd name="connsiteX2590" fmla="*/ 445983 w 614938"/>
                <a:gd name="connsiteY2590" fmla="*/ 220509 h 716071"/>
                <a:gd name="connsiteX2591" fmla="*/ 447658 w 614938"/>
                <a:gd name="connsiteY2591" fmla="*/ 221346 h 716071"/>
                <a:gd name="connsiteX2592" fmla="*/ 445026 w 614938"/>
                <a:gd name="connsiteY2592" fmla="*/ 225832 h 716071"/>
                <a:gd name="connsiteX2593" fmla="*/ 447956 w 614938"/>
                <a:gd name="connsiteY2593" fmla="*/ 221586 h 716071"/>
                <a:gd name="connsiteX2594" fmla="*/ 449153 w 614938"/>
                <a:gd name="connsiteY2594" fmla="*/ 223021 h 716071"/>
                <a:gd name="connsiteX2595" fmla="*/ 445325 w 614938"/>
                <a:gd name="connsiteY2595" fmla="*/ 226071 h 716071"/>
                <a:gd name="connsiteX2596" fmla="*/ 447956 w 614938"/>
                <a:gd name="connsiteY2596" fmla="*/ 221586 h 716071"/>
                <a:gd name="connsiteX2597" fmla="*/ 443650 w 614938"/>
                <a:gd name="connsiteY2597" fmla="*/ 219851 h 716071"/>
                <a:gd name="connsiteX2598" fmla="*/ 441437 w 614938"/>
                <a:gd name="connsiteY2598" fmla="*/ 213033 h 716071"/>
                <a:gd name="connsiteX2599" fmla="*/ 445385 w 614938"/>
                <a:gd name="connsiteY2599" fmla="*/ 213332 h 716071"/>
                <a:gd name="connsiteX2600" fmla="*/ 445743 w 614938"/>
                <a:gd name="connsiteY2600" fmla="*/ 220031 h 716071"/>
                <a:gd name="connsiteX2601" fmla="*/ 443650 w 614938"/>
                <a:gd name="connsiteY2601" fmla="*/ 219851 h 716071"/>
                <a:gd name="connsiteX2602" fmla="*/ 443291 w 614938"/>
                <a:gd name="connsiteY2602" fmla="*/ 219911 h 716071"/>
                <a:gd name="connsiteX2603" fmla="*/ 441318 w 614938"/>
                <a:gd name="connsiteY2603" fmla="*/ 220569 h 716071"/>
                <a:gd name="connsiteX2604" fmla="*/ 437251 w 614938"/>
                <a:gd name="connsiteY2604" fmla="*/ 214349 h 716071"/>
                <a:gd name="connsiteX2605" fmla="*/ 441078 w 614938"/>
                <a:gd name="connsiteY2605" fmla="*/ 213093 h 716071"/>
                <a:gd name="connsiteX2606" fmla="*/ 443291 w 614938"/>
                <a:gd name="connsiteY2606" fmla="*/ 219911 h 716071"/>
                <a:gd name="connsiteX2607" fmla="*/ 440959 w 614938"/>
                <a:gd name="connsiteY2607" fmla="*/ 220748 h 716071"/>
                <a:gd name="connsiteX2608" fmla="*/ 439344 w 614938"/>
                <a:gd name="connsiteY2608" fmla="*/ 222124 h 716071"/>
                <a:gd name="connsiteX2609" fmla="*/ 433782 w 614938"/>
                <a:gd name="connsiteY2609" fmla="*/ 217160 h 716071"/>
                <a:gd name="connsiteX2610" fmla="*/ 436892 w 614938"/>
                <a:gd name="connsiteY2610" fmla="*/ 214528 h 716071"/>
                <a:gd name="connsiteX2611" fmla="*/ 440959 w 614938"/>
                <a:gd name="connsiteY2611" fmla="*/ 220748 h 716071"/>
                <a:gd name="connsiteX2612" fmla="*/ 439105 w 614938"/>
                <a:gd name="connsiteY2612" fmla="*/ 222423 h 716071"/>
                <a:gd name="connsiteX2613" fmla="*/ 438088 w 614938"/>
                <a:gd name="connsiteY2613" fmla="*/ 224277 h 716071"/>
                <a:gd name="connsiteX2614" fmla="*/ 431629 w 614938"/>
                <a:gd name="connsiteY2614" fmla="*/ 220988 h 716071"/>
                <a:gd name="connsiteX2615" fmla="*/ 433543 w 614938"/>
                <a:gd name="connsiteY2615" fmla="*/ 217459 h 716071"/>
                <a:gd name="connsiteX2616" fmla="*/ 439105 w 614938"/>
                <a:gd name="connsiteY2616" fmla="*/ 222423 h 716071"/>
                <a:gd name="connsiteX2617" fmla="*/ 438028 w 614938"/>
                <a:gd name="connsiteY2617" fmla="*/ 224576 h 716071"/>
                <a:gd name="connsiteX2618" fmla="*/ 437789 w 614938"/>
                <a:gd name="connsiteY2618" fmla="*/ 226610 h 716071"/>
                <a:gd name="connsiteX2619" fmla="*/ 431151 w 614938"/>
                <a:gd name="connsiteY2619" fmla="*/ 225234 h 716071"/>
                <a:gd name="connsiteX2620" fmla="*/ 431569 w 614938"/>
                <a:gd name="connsiteY2620" fmla="*/ 221287 h 716071"/>
                <a:gd name="connsiteX2621" fmla="*/ 438028 w 614938"/>
                <a:gd name="connsiteY2621" fmla="*/ 224576 h 716071"/>
                <a:gd name="connsiteX2622" fmla="*/ 443650 w 614938"/>
                <a:gd name="connsiteY2622" fmla="*/ 227028 h 716071"/>
                <a:gd name="connsiteX2623" fmla="*/ 438687 w 614938"/>
                <a:gd name="connsiteY2623" fmla="*/ 228882 h 716071"/>
                <a:gd name="connsiteX2624" fmla="*/ 438148 w 614938"/>
                <a:gd name="connsiteY2624" fmla="*/ 227088 h 716071"/>
                <a:gd name="connsiteX2625" fmla="*/ 443650 w 614938"/>
                <a:gd name="connsiteY2625" fmla="*/ 227028 h 716071"/>
                <a:gd name="connsiteX2626" fmla="*/ 443830 w 614938"/>
                <a:gd name="connsiteY2626" fmla="*/ 227327 h 716071"/>
                <a:gd name="connsiteX2627" fmla="*/ 440122 w 614938"/>
                <a:gd name="connsiteY2627" fmla="*/ 230617 h 716071"/>
                <a:gd name="connsiteX2628" fmla="*/ 438925 w 614938"/>
                <a:gd name="connsiteY2628" fmla="*/ 229181 h 716071"/>
                <a:gd name="connsiteX2629" fmla="*/ 443830 w 614938"/>
                <a:gd name="connsiteY2629" fmla="*/ 227327 h 716071"/>
                <a:gd name="connsiteX2630" fmla="*/ 449332 w 614938"/>
                <a:gd name="connsiteY2630" fmla="*/ 223380 h 716071"/>
                <a:gd name="connsiteX2631" fmla="*/ 449871 w 614938"/>
                <a:gd name="connsiteY2631" fmla="*/ 225174 h 716071"/>
                <a:gd name="connsiteX2632" fmla="*/ 445564 w 614938"/>
                <a:gd name="connsiteY2632" fmla="*/ 226370 h 716071"/>
                <a:gd name="connsiteX2633" fmla="*/ 449332 w 614938"/>
                <a:gd name="connsiteY2633" fmla="*/ 223380 h 716071"/>
                <a:gd name="connsiteX2634" fmla="*/ 448136 w 614938"/>
                <a:gd name="connsiteY2634" fmla="*/ 221227 h 716071"/>
                <a:gd name="connsiteX2635" fmla="*/ 449451 w 614938"/>
                <a:gd name="connsiteY2635" fmla="*/ 215545 h 716071"/>
                <a:gd name="connsiteX2636" fmla="*/ 451844 w 614938"/>
                <a:gd name="connsiteY2636" fmla="*/ 218476 h 716071"/>
                <a:gd name="connsiteX2637" fmla="*/ 449392 w 614938"/>
                <a:gd name="connsiteY2637" fmla="*/ 222782 h 716071"/>
                <a:gd name="connsiteX2638" fmla="*/ 448136 w 614938"/>
                <a:gd name="connsiteY2638" fmla="*/ 221227 h 716071"/>
                <a:gd name="connsiteX2639" fmla="*/ 449511 w 614938"/>
                <a:gd name="connsiteY2639" fmla="*/ 215067 h 716071"/>
                <a:gd name="connsiteX2640" fmla="*/ 448913 w 614938"/>
                <a:gd name="connsiteY2640" fmla="*/ 209983 h 716071"/>
                <a:gd name="connsiteX2641" fmla="*/ 452023 w 614938"/>
                <a:gd name="connsiteY2641" fmla="*/ 213751 h 716071"/>
                <a:gd name="connsiteX2642" fmla="*/ 451904 w 614938"/>
                <a:gd name="connsiteY2642" fmla="*/ 217938 h 716071"/>
                <a:gd name="connsiteX2643" fmla="*/ 449511 w 614938"/>
                <a:gd name="connsiteY2643" fmla="*/ 215067 h 716071"/>
                <a:gd name="connsiteX2644" fmla="*/ 447837 w 614938"/>
                <a:gd name="connsiteY2644" fmla="*/ 220988 h 716071"/>
                <a:gd name="connsiteX2645" fmla="*/ 446043 w 614938"/>
                <a:gd name="connsiteY2645" fmla="*/ 220091 h 716071"/>
                <a:gd name="connsiteX2646" fmla="*/ 445684 w 614938"/>
                <a:gd name="connsiteY2646" fmla="*/ 213452 h 716071"/>
                <a:gd name="connsiteX2647" fmla="*/ 449093 w 614938"/>
                <a:gd name="connsiteY2647" fmla="*/ 215186 h 716071"/>
                <a:gd name="connsiteX2648" fmla="*/ 447837 w 614938"/>
                <a:gd name="connsiteY2648" fmla="*/ 220988 h 716071"/>
                <a:gd name="connsiteX2649" fmla="*/ 441258 w 614938"/>
                <a:gd name="connsiteY2649" fmla="*/ 212674 h 716071"/>
                <a:gd name="connsiteX2650" fmla="*/ 438327 w 614938"/>
                <a:gd name="connsiteY2650" fmla="*/ 206634 h 716071"/>
                <a:gd name="connsiteX2651" fmla="*/ 443531 w 614938"/>
                <a:gd name="connsiteY2651" fmla="*/ 206993 h 716071"/>
                <a:gd name="connsiteX2652" fmla="*/ 445265 w 614938"/>
                <a:gd name="connsiteY2652" fmla="*/ 212973 h 716071"/>
                <a:gd name="connsiteX2653" fmla="*/ 441258 w 614938"/>
                <a:gd name="connsiteY2653" fmla="*/ 212674 h 716071"/>
                <a:gd name="connsiteX2654" fmla="*/ 440899 w 614938"/>
                <a:gd name="connsiteY2654" fmla="*/ 212734 h 716071"/>
                <a:gd name="connsiteX2655" fmla="*/ 437012 w 614938"/>
                <a:gd name="connsiteY2655" fmla="*/ 214050 h 716071"/>
                <a:gd name="connsiteX2656" fmla="*/ 432825 w 614938"/>
                <a:gd name="connsiteY2656" fmla="*/ 208368 h 716071"/>
                <a:gd name="connsiteX2657" fmla="*/ 437909 w 614938"/>
                <a:gd name="connsiteY2657" fmla="*/ 206694 h 716071"/>
                <a:gd name="connsiteX2658" fmla="*/ 440899 w 614938"/>
                <a:gd name="connsiteY2658" fmla="*/ 212734 h 716071"/>
                <a:gd name="connsiteX2659" fmla="*/ 436653 w 614938"/>
                <a:gd name="connsiteY2659" fmla="*/ 214229 h 716071"/>
                <a:gd name="connsiteX2660" fmla="*/ 433483 w 614938"/>
                <a:gd name="connsiteY2660" fmla="*/ 216921 h 716071"/>
                <a:gd name="connsiteX2661" fmla="*/ 428339 w 614938"/>
                <a:gd name="connsiteY2661" fmla="*/ 212017 h 716071"/>
                <a:gd name="connsiteX2662" fmla="*/ 432466 w 614938"/>
                <a:gd name="connsiteY2662" fmla="*/ 208548 h 716071"/>
                <a:gd name="connsiteX2663" fmla="*/ 436653 w 614938"/>
                <a:gd name="connsiteY2663" fmla="*/ 214229 h 716071"/>
                <a:gd name="connsiteX2664" fmla="*/ 433244 w 614938"/>
                <a:gd name="connsiteY2664" fmla="*/ 217160 h 716071"/>
                <a:gd name="connsiteX2665" fmla="*/ 431271 w 614938"/>
                <a:gd name="connsiteY2665" fmla="*/ 220808 h 716071"/>
                <a:gd name="connsiteX2666" fmla="*/ 425529 w 614938"/>
                <a:gd name="connsiteY2666" fmla="*/ 217040 h 716071"/>
                <a:gd name="connsiteX2667" fmla="*/ 428041 w 614938"/>
                <a:gd name="connsiteY2667" fmla="*/ 212316 h 716071"/>
                <a:gd name="connsiteX2668" fmla="*/ 433244 w 614938"/>
                <a:gd name="connsiteY2668" fmla="*/ 217160 h 716071"/>
                <a:gd name="connsiteX2669" fmla="*/ 431211 w 614938"/>
                <a:gd name="connsiteY2669" fmla="*/ 221167 h 716071"/>
                <a:gd name="connsiteX2670" fmla="*/ 430792 w 614938"/>
                <a:gd name="connsiteY2670" fmla="*/ 225174 h 716071"/>
                <a:gd name="connsiteX2671" fmla="*/ 424990 w 614938"/>
                <a:gd name="connsiteY2671" fmla="*/ 222662 h 716071"/>
                <a:gd name="connsiteX2672" fmla="*/ 425529 w 614938"/>
                <a:gd name="connsiteY2672" fmla="*/ 217399 h 716071"/>
                <a:gd name="connsiteX2673" fmla="*/ 431211 w 614938"/>
                <a:gd name="connsiteY2673" fmla="*/ 221167 h 716071"/>
                <a:gd name="connsiteX2674" fmla="*/ 437789 w 614938"/>
                <a:gd name="connsiteY2674" fmla="*/ 227028 h 716071"/>
                <a:gd name="connsiteX2675" fmla="*/ 438387 w 614938"/>
                <a:gd name="connsiteY2675" fmla="*/ 228942 h 716071"/>
                <a:gd name="connsiteX2676" fmla="*/ 432287 w 614938"/>
                <a:gd name="connsiteY2676" fmla="*/ 229361 h 716071"/>
                <a:gd name="connsiteX2677" fmla="*/ 431211 w 614938"/>
                <a:gd name="connsiteY2677" fmla="*/ 225653 h 716071"/>
                <a:gd name="connsiteX2678" fmla="*/ 437789 w 614938"/>
                <a:gd name="connsiteY2678" fmla="*/ 227028 h 716071"/>
                <a:gd name="connsiteX2679" fmla="*/ 438507 w 614938"/>
                <a:gd name="connsiteY2679" fmla="*/ 229301 h 716071"/>
                <a:gd name="connsiteX2680" fmla="*/ 439763 w 614938"/>
                <a:gd name="connsiteY2680" fmla="*/ 230796 h 716071"/>
                <a:gd name="connsiteX2681" fmla="*/ 434919 w 614938"/>
                <a:gd name="connsiteY2681" fmla="*/ 232590 h 716071"/>
                <a:gd name="connsiteX2682" fmla="*/ 432466 w 614938"/>
                <a:gd name="connsiteY2682" fmla="*/ 229720 h 716071"/>
                <a:gd name="connsiteX2683" fmla="*/ 438507 w 614938"/>
                <a:gd name="connsiteY2683" fmla="*/ 229301 h 716071"/>
                <a:gd name="connsiteX2684" fmla="*/ 444129 w 614938"/>
                <a:gd name="connsiteY2684" fmla="*/ 227566 h 716071"/>
                <a:gd name="connsiteX2685" fmla="*/ 442095 w 614938"/>
                <a:gd name="connsiteY2685" fmla="*/ 231693 h 716071"/>
                <a:gd name="connsiteX2686" fmla="*/ 440420 w 614938"/>
                <a:gd name="connsiteY2686" fmla="*/ 230856 h 716071"/>
                <a:gd name="connsiteX2687" fmla="*/ 444129 w 614938"/>
                <a:gd name="connsiteY2687" fmla="*/ 227566 h 716071"/>
                <a:gd name="connsiteX2688" fmla="*/ 444727 w 614938"/>
                <a:gd name="connsiteY2688" fmla="*/ 231813 h 716071"/>
                <a:gd name="connsiteX2689" fmla="*/ 444846 w 614938"/>
                <a:gd name="connsiteY2689" fmla="*/ 227566 h 716071"/>
                <a:gd name="connsiteX2690" fmla="*/ 446581 w 614938"/>
                <a:gd name="connsiteY2690" fmla="*/ 231215 h 716071"/>
                <a:gd name="connsiteX2691" fmla="*/ 444727 w 614938"/>
                <a:gd name="connsiteY2691" fmla="*/ 231813 h 716071"/>
                <a:gd name="connsiteX2692" fmla="*/ 449871 w 614938"/>
                <a:gd name="connsiteY2692" fmla="*/ 225533 h 716071"/>
                <a:gd name="connsiteX2693" fmla="*/ 449631 w 614938"/>
                <a:gd name="connsiteY2693" fmla="*/ 227447 h 716071"/>
                <a:gd name="connsiteX2694" fmla="*/ 445504 w 614938"/>
                <a:gd name="connsiteY2694" fmla="*/ 226789 h 716071"/>
                <a:gd name="connsiteX2695" fmla="*/ 449871 w 614938"/>
                <a:gd name="connsiteY2695" fmla="*/ 225533 h 716071"/>
                <a:gd name="connsiteX2696" fmla="*/ 450169 w 614938"/>
                <a:gd name="connsiteY2696" fmla="*/ 224995 h 716071"/>
                <a:gd name="connsiteX2697" fmla="*/ 449631 w 614938"/>
                <a:gd name="connsiteY2697" fmla="*/ 223081 h 716071"/>
                <a:gd name="connsiteX2698" fmla="*/ 452023 w 614938"/>
                <a:gd name="connsiteY2698" fmla="*/ 218894 h 716071"/>
                <a:gd name="connsiteX2699" fmla="*/ 453040 w 614938"/>
                <a:gd name="connsiteY2699" fmla="*/ 222483 h 716071"/>
                <a:gd name="connsiteX2700" fmla="*/ 450169 w 614938"/>
                <a:gd name="connsiteY2700" fmla="*/ 224995 h 716071"/>
                <a:gd name="connsiteX2701" fmla="*/ 449093 w 614938"/>
                <a:gd name="connsiteY2701" fmla="*/ 214828 h 716071"/>
                <a:gd name="connsiteX2702" fmla="*/ 445624 w 614938"/>
                <a:gd name="connsiteY2702" fmla="*/ 213093 h 716071"/>
                <a:gd name="connsiteX2703" fmla="*/ 443950 w 614938"/>
                <a:gd name="connsiteY2703" fmla="*/ 207232 h 716071"/>
                <a:gd name="connsiteX2704" fmla="*/ 448494 w 614938"/>
                <a:gd name="connsiteY2704" fmla="*/ 209565 h 716071"/>
                <a:gd name="connsiteX2705" fmla="*/ 449093 w 614938"/>
                <a:gd name="connsiteY2705" fmla="*/ 214828 h 716071"/>
                <a:gd name="connsiteX2706" fmla="*/ 434799 w 614938"/>
                <a:gd name="connsiteY2706" fmla="*/ 202328 h 716071"/>
                <a:gd name="connsiteX2707" fmla="*/ 437729 w 614938"/>
                <a:gd name="connsiteY2707" fmla="*/ 206335 h 716071"/>
                <a:gd name="connsiteX2708" fmla="*/ 432586 w 614938"/>
                <a:gd name="connsiteY2708" fmla="*/ 208009 h 716071"/>
                <a:gd name="connsiteX2709" fmla="*/ 429296 w 614938"/>
                <a:gd name="connsiteY2709" fmla="*/ 204062 h 716071"/>
                <a:gd name="connsiteX2710" fmla="*/ 434799 w 614938"/>
                <a:gd name="connsiteY2710" fmla="*/ 202328 h 716071"/>
                <a:gd name="connsiteX2711" fmla="*/ 423795 w 614938"/>
                <a:gd name="connsiteY2711" fmla="*/ 208309 h 716071"/>
                <a:gd name="connsiteX2712" fmla="*/ 423256 w 614938"/>
                <a:gd name="connsiteY2712" fmla="*/ 212973 h 716071"/>
                <a:gd name="connsiteX2713" fmla="*/ 419787 w 614938"/>
                <a:gd name="connsiteY2713" fmla="*/ 212495 h 716071"/>
                <a:gd name="connsiteX2714" fmla="*/ 423795 w 614938"/>
                <a:gd name="connsiteY2714" fmla="*/ 208309 h 716071"/>
                <a:gd name="connsiteX2715" fmla="*/ 419309 w 614938"/>
                <a:gd name="connsiteY2715" fmla="*/ 212435 h 716071"/>
                <a:gd name="connsiteX2716" fmla="*/ 418292 w 614938"/>
                <a:gd name="connsiteY2716" fmla="*/ 212316 h 716071"/>
                <a:gd name="connsiteX2717" fmla="*/ 435995 w 614938"/>
                <a:gd name="connsiteY2717" fmla="*/ 193895 h 716071"/>
                <a:gd name="connsiteX2718" fmla="*/ 436653 w 614938"/>
                <a:gd name="connsiteY2718" fmla="*/ 194433 h 716071"/>
                <a:gd name="connsiteX2719" fmla="*/ 419309 w 614938"/>
                <a:gd name="connsiteY2719" fmla="*/ 212435 h 716071"/>
                <a:gd name="connsiteX2720" fmla="*/ 417395 w 614938"/>
                <a:gd name="connsiteY2720" fmla="*/ 211897 h 716071"/>
                <a:gd name="connsiteX2721" fmla="*/ 435337 w 614938"/>
                <a:gd name="connsiteY2721" fmla="*/ 193237 h 716071"/>
                <a:gd name="connsiteX2722" fmla="*/ 435756 w 614938"/>
                <a:gd name="connsiteY2722" fmla="*/ 193596 h 716071"/>
                <a:gd name="connsiteX2723" fmla="*/ 417873 w 614938"/>
                <a:gd name="connsiteY2723" fmla="*/ 212196 h 716071"/>
                <a:gd name="connsiteX2724" fmla="*/ 417395 w 614938"/>
                <a:gd name="connsiteY2724" fmla="*/ 212136 h 716071"/>
                <a:gd name="connsiteX2725" fmla="*/ 417395 w 614938"/>
                <a:gd name="connsiteY2725" fmla="*/ 211897 h 716071"/>
                <a:gd name="connsiteX2726" fmla="*/ 436234 w 614938"/>
                <a:gd name="connsiteY2726" fmla="*/ 192519 h 716071"/>
                <a:gd name="connsiteX2727" fmla="*/ 436593 w 614938"/>
                <a:gd name="connsiteY2727" fmla="*/ 192818 h 716071"/>
                <a:gd name="connsiteX2728" fmla="*/ 435995 w 614938"/>
                <a:gd name="connsiteY2728" fmla="*/ 193357 h 716071"/>
                <a:gd name="connsiteX2729" fmla="*/ 435576 w 614938"/>
                <a:gd name="connsiteY2729" fmla="*/ 192998 h 716071"/>
                <a:gd name="connsiteX2730" fmla="*/ 436234 w 614938"/>
                <a:gd name="connsiteY2730" fmla="*/ 192519 h 716071"/>
                <a:gd name="connsiteX2731" fmla="*/ 437430 w 614938"/>
                <a:gd name="connsiteY2731" fmla="*/ 192639 h 716071"/>
                <a:gd name="connsiteX2732" fmla="*/ 437729 w 614938"/>
                <a:gd name="connsiteY2732" fmla="*/ 192878 h 716071"/>
                <a:gd name="connsiteX2733" fmla="*/ 437550 w 614938"/>
                <a:gd name="connsiteY2733" fmla="*/ 193237 h 716071"/>
                <a:gd name="connsiteX2734" fmla="*/ 437072 w 614938"/>
                <a:gd name="connsiteY2734" fmla="*/ 192878 h 716071"/>
                <a:gd name="connsiteX2735" fmla="*/ 437430 w 614938"/>
                <a:gd name="connsiteY2735" fmla="*/ 192639 h 716071"/>
                <a:gd name="connsiteX2736" fmla="*/ 436832 w 614938"/>
                <a:gd name="connsiteY2736" fmla="*/ 193058 h 716071"/>
                <a:gd name="connsiteX2737" fmla="*/ 437370 w 614938"/>
                <a:gd name="connsiteY2737" fmla="*/ 193536 h 716071"/>
                <a:gd name="connsiteX2738" fmla="*/ 436832 w 614938"/>
                <a:gd name="connsiteY2738" fmla="*/ 194134 h 716071"/>
                <a:gd name="connsiteX2739" fmla="*/ 436234 w 614938"/>
                <a:gd name="connsiteY2739" fmla="*/ 193596 h 716071"/>
                <a:gd name="connsiteX2740" fmla="*/ 436832 w 614938"/>
                <a:gd name="connsiteY2740" fmla="*/ 193058 h 716071"/>
                <a:gd name="connsiteX2741" fmla="*/ 437012 w 614938"/>
                <a:gd name="connsiteY2741" fmla="*/ 192280 h 716071"/>
                <a:gd name="connsiteX2742" fmla="*/ 437132 w 614938"/>
                <a:gd name="connsiteY2742" fmla="*/ 192400 h 716071"/>
                <a:gd name="connsiteX2743" fmla="*/ 436832 w 614938"/>
                <a:gd name="connsiteY2743" fmla="*/ 192639 h 716071"/>
                <a:gd name="connsiteX2744" fmla="*/ 436593 w 614938"/>
                <a:gd name="connsiteY2744" fmla="*/ 192400 h 716071"/>
                <a:gd name="connsiteX2745" fmla="*/ 437012 w 614938"/>
                <a:gd name="connsiteY2745" fmla="*/ 192280 h 716071"/>
                <a:gd name="connsiteX2746" fmla="*/ 435756 w 614938"/>
                <a:gd name="connsiteY2746" fmla="*/ 192101 h 716071"/>
                <a:gd name="connsiteX2747" fmla="*/ 435935 w 614938"/>
                <a:gd name="connsiteY2747" fmla="*/ 192280 h 716071"/>
                <a:gd name="connsiteX2748" fmla="*/ 435277 w 614938"/>
                <a:gd name="connsiteY2748" fmla="*/ 192818 h 716071"/>
                <a:gd name="connsiteX2749" fmla="*/ 435098 w 614938"/>
                <a:gd name="connsiteY2749" fmla="*/ 192639 h 716071"/>
                <a:gd name="connsiteX2750" fmla="*/ 435756 w 614938"/>
                <a:gd name="connsiteY2750" fmla="*/ 192101 h 716071"/>
                <a:gd name="connsiteX2751" fmla="*/ 437191 w 614938"/>
                <a:gd name="connsiteY2751" fmla="*/ 194373 h 716071"/>
                <a:gd name="connsiteX2752" fmla="*/ 437729 w 614938"/>
                <a:gd name="connsiteY2752" fmla="*/ 193775 h 716071"/>
                <a:gd name="connsiteX2753" fmla="*/ 446103 w 614938"/>
                <a:gd name="connsiteY2753" fmla="*/ 200534 h 716071"/>
                <a:gd name="connsiteX2754" fmla="*/ 445564 w 614938"/>
                <a:gd name="connsiteY2754" fmla="*/ 201132 h 716071"/>
                <a:gd name="connsiteX2755" fmla="*/ 437191 w 614938"/>
                <a:gd name="connsiteY2755" fmla="*/ 194373 h 716071"/>
                <a:gd name="connsiteX2756" fmla="*/ 446281 w 614938"/>
                <a:gd name="connsiteY2756" fmla="*/ 200235 h 716071"/>
                <a:gd name="connsiteX2757" fmla="*/ 437849 w 614938"/>
                <a:gd name="connsiteY2757" fmla="*/ 193417 h 716071"/>
                <a:gd name="connsiteX2758" fmla="*/ 438028 w 614938"/>
                <a:gd name="connsiteY2758" fmla="*/ 193058 h 716071"/>
                <a:gd name="connsiteX2759" fmla="*/ 446521 w 614938"/>
                <a:gd name="connsiteY2759" fmla="*/ 199936 h 716071"/>
                <a:gd name="connsiteX2760" fmla="*/ 446281 w 614938"/>
                <a:gd name="connsiteY2760" fmla="*/ 200235 h 716071"/>
                <a:gd name="connsiteX2761" fmla="*/ 436234 w 614938"/>
                <a:gd name="connsiteY2761" fmla="*/ 192101 h 716071"/>
                <a:gd name="connsiteX2762" fmla="*/ 436234 w 614938"/>
                <a:gd name="connsiteY2762" fmla="*/ 192101 h 716071"/>
                <a:gd name="connsiteX2763" fmla="*/ 436533 w 614938"/>
                <a:gd name="connsiteY2763" fmla="*/ 192041 h 716071"/>
                <a:gd name="connsiteX2764" fmla="*/ 436234 w 614938"/>
                <a:gd name="connsiteY2764" fmla="*/ 192101 h 716071"/>
                <a:gd name="connsiteX2765" fmla="*/ 434859 w 614938"/>
                <a:gd name="connsiteY2765" fmla="*/ 192340 h 716071"/>
                <a:gd name="connsiteX2766" fmla="*/ 416677 w 614938"/>
                <a:gd name="connsiteY2766" fmla="*/ 173561 h 716071"/>
                <a:gd name="connsiteX2767" fmla="*/ 417395 w 614938"/>
                <a:gd name="connsiteY2767" fmla="*/ 173202 h 716071"/>
                <a:gd name="connsiteX2768" fmla="*/ 435576 w 614938"/>
                <a:gd name="connsiteY2768" fmla="*/ 191802 h 716071"/>
                <a:gd name="connsiteX2769" fmla="*/ 434859 w 614938"/>
                <a:gd name="connsiteY2769" fmla="*/ 192340 h 716071"/>
                <a:gd name="connsiteX2770" fmla="*/ 434799 w 614938"/>
                <a:gd name="connsiteY2770" fmla="*/ 192818 h 716071"/>
                <a:gd name="connsiteX2771" fmla="*/ 434979 w 614938"/>
                <a:gd name="connsiteY2771" fmla="*/ 192998 h 716071"/>
                <a:gd name="connsiteX2772" fmla="*/ 417455 w 614938"/>
                <a:gd name="connsiteY2772" fmla="*/ 211239 h 716071"/>
                <a:gd name="connsiteX2773" fmla="*/ 417515 w 614938"/>
                <a:gd name="connsiteY2773" fmla="*/ 210761 h 716071"/>
                <a:gd name="connsiteX2774" fmla="*/ 434799 w 614938"/>
                <a:gd name="connsiteY2774" fmla="*/ 192818 h 716071"/>
                <a:gd name="connsiteX2775" fmla="*/ 417215 w 614938"/>
                <a:gd name="connsiteY2775" fmla="*/ 212914 h 716071"/>
                <a:gd name="connsiteX2776" fmla="*/ 417275 w 614938"/>
                <a:gd name="connsiteY2776" fmla="*/ 212495 h 716071"/>
                <a:gd name="connsiteX2777" fmla="*/ 423196 w 614938"/>
                <a:gd name="connsiteY2777" fmla="*/ 213273 h 716071"/>
                <a:gd name="connsiteX2778" fmla="*/ 423136 w 614938"/>
                <a:gd name="connsiteY2778" fmla="*/ 213691 h 716071"/>
                <a:gd name="connsiteX2779" fmla="*/ 417215 w 614938"/>
                <a:gd name="connsiteY2779" fmla="*/ 212914 h 716071"/>
                <a:gd name="connsiteX2780" fmla="*/ 423615 w 614938"/>
                <a:gd name="connsiteY2780" fmla="*/ 213213 h 716071"/>
                <a:gd name="connsiteX2781" fmla="*/ 423615 w 614938"/>
                <a:gd name="connsiteY2781" fmla="*/ 213213 h 716071"/>
                <a:gd name="connsiteX2782" fmla="*/ 423615 w 614938"/>
                <a:gd name="connsiteY2782" fmla="*/ 213213 h 716071"/>
                <a:gd name="connsiteX2783" fmla="*/ 424213 w 614938"/>
                <a:gd name="connsiteY2783" fmla="*/ 208249 h 716071"/>
                <a:gd name="connsiteX2784" fmla="*/ 427861 w 614938"/>
                <a:gd name="connsiteY2784" fmla="*/ 212017 h 716071"/>
                <a:gd name="connsiteX2785" fmla="*/ 425290 w 614938"/>
                <a:gd name="connsiteY2785" fmla="*/ 216801 h 716071"/>
                <a:gd name="connsiteX2786" fmla="*/ 423376 w 614938"/>
                <a:gd name="connsiteY2786" fmla="*/ 215067 h 716071"/>
                <a:gd name="connsiteX2787" fmla="*/ 423615 w 614938"/>
                <a:gd name="connsiteY2787" fmla="*/ 213213 h 716071"/>
                <a:gd name="connsiteX2788" fmla="*/ 430792 w 614938"/>
                <a:gd name="connsiteY2788" fmla="*/ 225533 h 716071"/>
                <a:gd name="connsiteX2789" fmla="*/ 431928 w 614938"/>
                <a:gd name="connsiteY2789" fmla="*/ 229301 h 716071"/>
                <a:gd name="connsiteX2790" fmla="*/ 426546 w 614938"/>
                <a:gd name="connsiteY2790" fmla="*/ 227985 h 716071"/>
                <a:gd name="connsiteX2791" fmla="*/ 425050 w 614938"/>
                <a:gd name="connsiteY2791" fmla="*/ 223081 h 716071"/>
                <a:gd name="connsiteX2792" fmla="*/ 430792 w 614938"/>
                <a:gd name="connsiteY2792" fmla="*/ 225533 h 716071"/>
                <a:gd name="connsiteX2793" fmla="*/ 432047 w 614938"/>
                <a:gd name="connsiteY2793" fmla="*/ 229720 h 716071"/>
                <a:gd name="connsiteX2794" fmla="*/ 434440 w 614938"/>
                <a:gd name="connsiteY2794" fmla="*/ 232590 h 716071"/>
                <a:gd name="connsiteX2795" fmla="*/ 430014 w 614938"/>
                <a:gd name="connsiteY2795" fmla="*/ 232172 h 716071"/>
                <a:gd name="connsiteX2796" fmla="*/ 426844 w 614938"/>
                <a:gd name="connsiteY2796" fmla="*/ 228404 h 716071"/>
                <a:gd name="connsiteX2797" fmla="*/ 432047 w 614938"/>
                <a:gd name="connsiteY2797" fmla="*/ 229720 h 716071"/>
                <a:gd name="connsiteX2798" fmla="*/ 440062 w 614938"/>
                <a:gd name="connsiteY2798" fmla="*/ 231095 h 716071"/>
                <a:gd name="connsiteX2799" fmla="*/ 441796 w 614938"/>
                <a:gd name="connsiteY2799" fmla="*/ 231992 h 716071"/>
                <a:gd name="connsiteX2800" fmla="*/ 438627 w 614938"/>
                <a:gd name="connsiteY2800" fmla="*/ 234564 h 716071"/>
                <a:gd name="connsiteX2801" fmla="*/ 435277 w 614938"/>
                <a:gd name="connsiteY2801" fmla="*/ 232889 h 716071"/>
                <a:gd name="connsiteX2802" fmla="*/ 440062 w 614938"/>
                <a:gd name="connsiteY2802" fmla="*/ 231095 h 716071"/>
                <a:gd name="connsiteX2803" fmla="*/ 443411 w 614938"/>
                <a:gd name="connsiteY2803" fmla="*/ 234684 h 716071"/>
                <a:gd name="connsiteX2804" fmla="*/ 444667 w 614938"/>
                <a:gd name="connsiteY2804" fmla="*/ 232231 h 716071"/>
                <a:gd name="connsiteX2805" fmla="*/ 446641 w 614938"/>
                <a:gd name="connsiteY2805" fmla="*/ 231574 h 716071"/>
                <a:gd name="connsiteX2806" fmla="*/ 446999 w 614938"/>
                <a:gd name="connsiteY2806" fmla="*/ 233487 h 716071"/>
                <a:gd name="connsiteX2807" fmla="*/ 443411 w 614938"/>
                <a:gd name="connsiteY2807" fmla="*/ 234684 h 716071"/>
                <a:gd name="connsiteX2808" fmla="*/ 446880 w 614938"/>
                <a:gd name="connsiteY2808" fmla="*/ 231035 h 716071"/>
                <a:gd name="connsiteX2809" fmla="*/ 445145 w 614938"/>
                <a:gd name="connsiteY2809" fmla="*/ 227387 h 716071"/>
                <a:gd name="connsiteX2810" fmla="*/ 448375 w 614938"/>
                <a:gd name="connsiteY2810" fmla="*/ 229779 h 716071"/>
                <a:gd name="connsiteX2811" fmla="*/ 446880 w 614938"/>
                <a:gd name="connsiteY2811" fmla="*/ 231035 h 716071"/>
                <a:gd name="connsiteX2812" fmla="*/ 445385 w 614938"/>
                <a:gd name="connsiteY2812" fmla="*/ 227088 h 716071"/>
                <a:gd name="connsiteX2813" fmla="*/ 449511 w 614938"/>
                <a:gd name="connsiteY2813" fmla="*/ 227746 h 716071"/>
                <a:gd name="connsiteX2814" fmla="*/ 448554 w 614938"/>
                <a:gd name="connsiteY2814" fmla="*/ 229480 h 716071"/>
                <a:gd name="connsiteX2815" fmla="*/ 445385 w 614938"/>
                <a:gd name="connsiteY2815" fmla="*/ 227088 h 716071"/>
                <a:gd name="connsiteX2816" fmla="*/ 450049 w 614938"/>
                <a:gd name="connsiteY2816" fmla="*/ 227387 h 716071"/>
                <a:gd name="connsiteX2817" fmla="*/ 450289 w 614938"/>
                <a:gd name="connsiteY2817" fmla="*/ 225354 h 716071"/>
                <a:gd name="connsiteX2818" fmla="*/ 453040 w 614938"/>
                <a:gd name="connsiteY2818" fmla="*/ 222961 h 716071"/>
                <a:gd name="connsiteX2819" fmla="*/ 452861 w 614938"/>
                <a:gd name="connsiteY2819" fmla="*/ 224756 h 716071"/>
                <a:gd name="connsiteX2820" fmla="*/ 452861 w 614938"/>
                <a:gd name="connsiteY2820" fmla="*/ 224756 h 716071"/>
                <a:gd name="connsiteX2821" fmla="*/ 452621 w 614938"/>
                <a:gd name="connsiteY2821" fmla="*/ 226669 h 716071"/>
                <a:gd name="connsiteX2822" fmla="*/ 450049 w 614938"/>
                <a:gd name="connsiteY2822" fmla="*/ 227387 h 716071"/>
                <a:gd name="connsiteX2823" fmla="*/ 452322 w 614938"/>
                <a:gd name="connsiteY2823" fmla="*/ 213631 h 716071"/>
                <a:gd name="connsiteX2824" fmla="*/ 452322 w 614938"/>
                <a:gd name="connsiteY2824" fmla="*/ 213631 h 716071"/>
                <a:gd name="connsiteX2825" fmla="*/ 452322 w 614938"/>
                <a:gd name="connsiteY2825" fmla="*/ 213631 h 716071"/>
                <a:gd name="connsiteX2826" fmla="*/ 452322 w 614938"/>
                <a:gd name="connsiteY2826" fmla="*/ 213631 h 716071"/>
                <a:gd name="connsiteX2827" fmla="*/ 452322 w 614938"/>
                <a:gd name="connsiteY2827" fmla="*/ 213631 h 716071"/>
                <a:gd name="connsiteX2828" fmla="*/ 450109 w 614938"/>
                <a:gd name="connsiteY2828" fmla="*/ 209744 h 716071"/>
                <a:gd name="connsiteX2829" fmla="*/ 450049 w 614938"/>
                <a:gd name="connsiteY2829" fmla="*/ 209684 h 716071"/>
                <a:gd name="connsiteX2830" fmla="*/ 449691 w 614938"/>
                <a:gd name="connsiteY2830" fmla="*/ 209325 h 716071"/>
                <a:gd name="connsiteX2831" fmla="*/ 451844 w 614938"/>
                <a:gd name="connsiteY2831" fmla="*/ 206694 h 716071"/>
                <a:gd name="connsiteX2832" fmla="*/ 458363 w 614938"/>
                <a:gd name="connsiteY2832" fmla="*/ 211957 h 716071"/>
                <a:gd name="connsiteX2833" fmla="*/ 453757 w 614938"/>
                <a:gd name="connsiteY2833" fmla="*/ 218715 h 716071"/>
                <a:gd name="connsiteX2834" fmla="*/ 452322 w 614938"/>
                <a:gd name="connsiteY2834" fmla="*/ 213631 h 716071"/>
                <a:gd name="connsiteX2835" fmla="*/ 453100 w 614938"/>
                <a:gd name="connsiteY2835" fmla="*/ 205258 h 716071"/>
                <a:gd name="connsiteX2836" fmla="*/ 459260 w 614938"/>
                <a:gd name="connsiteY2836" fmla="*/ 210222 h 716071"/>
                <a:gd name="connsiteX2837" fmla="*/ 459140 w 614938"/>
                <a:gd name="connsiteY2837" fmla="*/ 210581 h 716071"/>
                <a:gd name="connsiteX2838" fmla="*/ 452861 w 614938"/>
                <a:gd name="connsiteY2838" fmla="*/ 205498 h 716071"/>
                <a:gd name="connsiteX2839" fmla="*/ 453100 w 614938"/>
                <a:gd name="connsiteY2839" fmla="*/ 205258 h 716071"/>
                <a:gd name="connsiteX2840" fmla="*/ 452681 w 614938"/>
                <a:gd name="connsiteY2840" fmla="*/ 205856 h 716071"/>
                <a:gd name="connsiteX2841" fmla="*/ 459080 w 614938"/>
                <a:gd name="connsiteY2841" fmla="*/ 211000 h 716071"/>
                <a:gd name="connsiteX2842" fmla="*/ 458662 w 614938"/>
                <a:gd name="connsiteY2842" fmla="*/ 211718 h 716071"/>
                <a:gd name="connsiteX2843" fmla="*/ 452143 w 614938"/>
                <a:gd name="connsiteY2843" fmla="*/ 206455 h 716071"/>
                <a:gd name="connsiteX2844" fmla="*/ 452681 w 614938"/>
                <a:gd name="connsiteY2844" fmla="*/ 205856 h 716071"/>
                <a:gd name="connsiteX2845" fmla="*/ 459499 w 614938"/>
                <a:gd name="connsiteY2845" fmla="*/ 210940 h 716071"/>
                <a:gd name="connsiteX2846" fmla="*/ 459559 w 614938"/>
                <a:gd name="connsiteY2846" fmla="*/ 210581 h 716071"/>
                <a:gd name="connsiteX2847" fmla="*/ 459978 w 614938"/>
                <a:gd name="connsiteY2847" fmla="*/ 211060 h 716071"/>
                <a:gd name="connsiteX2848" fmla="*/ 459918 w 614938"/>
                <a:gd name="connsiteY2848" fmla="*/ 211359 h 716071"/>
                <a:gd name="connsiteX2849" fmla="*/ 459499 w 614938"/>
                <a:gd name="connsiteY2849" fmla="*/ 210940 h 716071"/>
                <a:gd name="connsiteX2850" fmla="*/ 458961 w 614938"/>
                <a:gd name="connsiteY2850" fmla="*/ 211957 h 716071"/>
                <a:gd name="connsiteX2851" fmla="*/ 459380 w 614938"/>
                <a:gd name="connsiteY2851" fmla="*/ 211299 h 716071"/>
                <a:gd name="connsiteX2852" fmla="*/ 459858 w 614938"/>
                <a:gd name="connsiteY2852" fmla="*/ 211777 h 716071"/>
                <a:gd name="connsiteX2853" fmla="*/ 459499 w 614938"/>
                <a:gd name="connsiteY2853" fmla="*/ 212375 h 716071"/>
                <a:gd name="connsiteX2854" fmla="*/ 458961 w 614938"/>
                <a:gd name="connsiteY2854" fmla="*/ 211957 h 716071"/>
                <a:gd name="connsiteX2855" fmla="*/ 453579 w 614938"/>
                <a:gd name="connsiteY2855" fmla="*/ 204122 h 716071"/>
                <a:gd name="connsiteX2856" fmla="*/ 452442 w 614938"/>
                <a:gd name="connsiteY2856" fmla="*/ 205498 h 716071"/>
                <a:gd name="connsiteX2857" fmla="*/ 452442 w 614938"/>
                <a:gd name="connsiteY2857" fmla="*/ 205498 h 716071"/>
                <a:gd name="connsiteX2858" fmla="*/ 452442 w 614938"/>
                <a:gd name="connsiteY2858" fmla="*/ 205498 h 716071"/>
                <a:gd name="connsiteX2859" fmla="*/ 449451 w 614938"/>
                <a:gd name="connsiteY2859" fmla="*/ 209146 h 716071"/>
                <a:gd name="connsiteX2860" fmla="*/ 447418 w 614938"/>
                <a:gd name="connsiteY2860" fmla="*/ 207112 h 716071"/>
                <a:gd name="connsiteX2861" fmla="*/ 447358 w 614938"/>
                <a:gd name="connsiteY2861" fmla="*/ 207053 h 716071"/>
                <a:gd name="connsiteX2862" fmla="*/ 447298 w 614938"/>
                <a:gd name="connsiteY2862" fmla="*/ 206993 h 716071"/>
                <a:gd name="connsiteX2863" fmla="*/ 444488 w 614938"/>
                <a:gd name="connsiteY2863" fmla="*/ 204959 h 716071"/>
                <a:gd name="connsiteX2864" fmla="*/ 449511 w 614938"/>
                <a:gd name="connsiteY2864" fmla="*/ 198799 h 716071"/>
                <a:gd name="connsiteX2865" fmla="*/ 453579 w 614938"/>
                <a:gd name="connsiteY2865" fmla="*/ 204122 h 716071"/>
                <a:gd name="connsiteX2866" fmla="*/ 447179 w 614938"/>
                <a:gd name="connsiteY2866" fmla="*/ 207232 h 716071"/>
                <a:gd name="connsiteX2867" fmla="*/ 447179 w 614938"/>
                <a:gd name="connsiteY2867" fmla="*/ 207232 h 716071"/>
                <a:gd name="connsiteX2868" fmla="*/ 447179 w 614938"/>
                <a:gd name="connsiteY2868" fmla="*/ 207232 h 716071"/>
                <a:gd name="connsiteX2869" fmla="*/ 448196 w 614938"/>
                <a:gd name="connsiteY2869" fmla="*/ 208966 h 716071"/>
                <a:gd name="connsiteX2870" fmla="*/ 443830 w 614938"/>
                <a:gd name="connsiteY2870" fmla="*/ 206694 h 716071"/>
                <a:gd name="connsiteX2871" fmla="*/ 441617 w 614938"/>
                <a:gd name="connsiteY2871" fmla="*/ 203225 h 716071"/>
                <a:gd name="connsiteX2872" fmla="*/ 447179 w 614938"/>
                <a:gd name="connsiteY2872" fmla="*/ 207232 h 716071"/>
                <a:gd name="connsiteX2873" fmla="*/ 441018 w 614938"/>
                <a:gd name="connsiteY2873" fmla="*/ 202388 h 716071"/>
                <a:gd name="connsiteX2874" fmla="*/ 441018 w 614938"/>
                <a:gd name="connsiteY2874" fmla="*/ 202388 h 716071"/>
                <a:gd name="connsiteX2875" fmla="*/ 441018 w 614938"/>
                <a:gd name="connsiteY2875" fmla="*/ 202388 h 716071"/>
                <a:gd name="connsiteX2876" fmla="*/ 440959 w 614938"/>
                <a:gd name="connsiteY2876" fmla="*/ 202328 h 716071"/>
                <a:gd name="connsiteX2877" fmla="*/ 440959 w 614938"/>
                <a:gd name="connsiteY2877" fmla="*/ 202328 h 716071"/>
                <a:gd name="connsiteX2878" fmla="*/ 434919 w 614938"/>
                <a:gd name="connsiteY2878" fmla="*/ 201909 h 716071"/>
                <a:gd name="connsiteX2879" fmla="*/ 434859 w 614938"/>
                <a:gd name="connsiteY2879" fmla="*/ 201909 h 716071"/>
                <a:gd name="connsiteX2880" fmla="*/ 434859 w 614938"/>
                <a:gd name="connsiteY2880" fmla="*/ 201909 h 716071"/>
                <a:gd name="connsiteX2881" fmla="*/ 434859 w 614938"/>
                <a:gd name="connsiteY2881" fmla="*/ 201909 h 716071"/>
                <a:gd name="connsiteX2882" fmla="*/ 434859 w 614938"/>
                <a:gd name="connsiteY2882" fmla="*/ 201909 h 716071"/>
                <a:gd name="connsiteX2883" fmla="*/ 428998 w 614938"/>
                <a:gd name="connsiteY2883" fmla="*/ 203823 h 716071"/>
                <a:gd name="connsiteX2884" fmla="*/ 428998 w 614938"/>
                <a:gd name="connsiteY2884" fmla="*/ 203823 h 716071"/>
                <a:gd name="connsiteX2885" fmla="*/ 428938 w 614938"/>
                <a:gd name="connsiteY2885" fmla="*/ 203823 h 716071"/>
                <a:gd name="connsiteX2886" fmla="*/ 425768 w 614938"/>
                <a:gd name="connsiteY2886" fmla="*/ 206275 h 716071"/>
                <a:gd name="connsiteX2887" fmla="*/ 436952 w 614938"/>
                <a:gd name="connsiteY2887" fmla="*/ 194613 h 716071"/>
                <a:gd name="connsiteX2888" fmla="*/ 445325 w 614938"/>
                <a:gd name="connsiteY2888" fmla="*/ 201371 h 716071"/>
                <a:gd name="connsiteX2889" fmla="*/ 443232 w 614938"/>
                <a:gd name="connsiteY2889" fmla="*/ 203943 h 716071"/>
                <a:gd name="connsiteX2890" fmla="*/ 441018 w 614938"/>
                <a:gd name="connsiteY2890" fmla="*/ 202388 h 716071"/>
                <a:gd name="connsiteX2891" fmla="*/ 435875 w 614938"/>
                <a:gd name="connsiteY2891" fmla="*/ 191682 h 716071"/>
                <a:gd name="connsiteX2892" fmla="*/ 417814 w 614938"/>
                <a:gd name="connsiteY2892" fmla="*/ 173202 h 716071"/>
                <a:gd name="connsiteX2893" fmla="*/ 418352 w 614938"/>
                <a:gd name="connsiteY2893" fmla="*/ 173202 h 716071"/>
                <a:gd name="connsiteX2894" fmla="*/ 436414 w 614938"/>
                <a:gd name="connsiteY2894" fmla="*/ 191682 h 716071"/>
                <a:gd name="connsiteX2895" fmla="*/ 435875 w 614938"/>
                <a:gd name="connsiteY2895" fmla="*/ 191682 h 716071"/>
                <a:gd name="connsiteX2896" fmla="*/ 395386 w 614938"/>
                <a:gd name="connsiteY2896" fmla="*/ 204780 h 716071"/>
                <a:gd name="connsiteX2897" fmla="*/ 387192 w 614938"/>
                <a:gd name="connsiteY2897" fmla="*/ 195091 h 716071"/>
                <a:gd name="connsiteX2898" fmla="*/ 387671 w 614938"/>
                <a:gd name="connsiteY2898" fmla="*/ 194613 h 716071"/>
                <a:gd name="connsiteX2899" fmla="*/ 396402 w 614938"/>
                <a:gd name="connsiteY2899" fmla="*/ 204899 h 716071"/>
                <a:gd name="connsiteX2900" fmla="*/ 395386 w 614938"/>
                <a:gd name="connsiteY2900" fmla="*/ 204780 h 716071"/>
                <a:gd name="connsiteX2901" fmla="*/ 414404 w 614938"/>
                <a:gd name="connsiteY2901" fmla="*/ 219672 h 716071"/>
                <a:gd name="connsiteX2902" fmla="*/ 417096 w 614938"/>
                <a:gd name="connsiteY2902" fmla="*/ 213273 h 716071"/>
                <a:gd name="connsiteX2903" fmla="*/ 423076 w 614938"/>
                <a:gd name="connsiteY2903" fmla="*/ 214110 h 716071"/>
                <a:gd name="connsiteX2904" fmla="*/ 422957 w 614938"/>
                <a:gd name="connsiteY2904" fmla="*/ 215127 h 716071"/>
                <a:gd name="connsiteX2905" fmla="*/ 422957 w 614938"/>
                <a:gd name="connsiteY2905" fmla="*/ 215127 h 716071"/>
                <a:gd name="connsiteX2906" fmla="*/ 422299 w 614938"/>
                <a:gd name="connsiteY2906" fmla="*/ 220748 h 716071"/>
                <a:gd name="connsiteX2907" fmla="*/ 414404 w 614938"/>
                <a:gd name="connsiteY2907" fmla="*/ 219672 h 716071"/>
                <a:gd name="connsiteX2908" fmla="*/ 424571 w 614938"/>
                <a:gd name="connsiteY2908" fmla="*/ 222842 h 716071"/>
                <a:gd name="connsiteX2909" fmla="*/ 426007 w 614938"/>
                <a:gd name="connsiteY2909" fmla="*/ 227626 h 716071"/>
                <a:gd name="connsiteX2910" fmla="*/ 422598 w 614938"/>
                <a:gd name="connsiteY2910" fmla="*/ 225174 h 716071"/>
                <a:gd name="connsiteX2911" fmla="*/ 422658 w 614938"/>
                <a:gd name="connsiteY2911" fmla="*/ 221346 h 716071"/>
                <a:gd name="connsiteX2912" fmla="*/ 424571 w 614938"/>
                <a:gd name="connsiteY2912" fmla="*/ 222842 h 716071"/>
                <a:gd name="connsiteX2913" fmla="*/ 426246 w 614938"/>
                <a:gd name="connsiteY2913" fmla="*/ 228224 h 716071"/>
                <a:gd name="connsiteX2914" fmla="*/ 428938 w 614938"/>
                <a:gd name="connsiteY2914" fmla="*/ 231454 h 716071"/>
                <a:gd name="connsiteX2915" fmla="*/ 426366 w 614938"/>
                <a:gd name="connsiteY2915" fmla="*/ 229660 h 716071"/>
                <a:gd name="connsiteX2916" fmla="*/ 423495 w 614938"/>
                <a:gd name="connsiteY2916" fmla="*/ 226251 h 716071"/>
                <a:gd name="connsiteX2917" fmla="*/ 426246 w 614938"/>
                <a:gd name="connsiteY2917" fmla="*/ 228224 h 716071"/>
                <a:gd name="connsiteX2918" fmla="*/ 434859 w 614938"/>
                <a:gd name="connsiteY2918" fmla="*/ 233009 h 716071"/>
                <a:gd name="connsiteX2919" fmla="*/ 438028 w 614938"/>
                <a:gd name="connsiteY2919" fmla="*/ 234564 h 716071"/>
                <a:gd name="connsiteX2920" fmla="*/ 434979 w 614938"/>
                <a:gd name="connsiteY2920" fmla="*/ 234624 h 716071"/>
                <a:gd name="connsiteX2921" fmla="*/ 430911 w 614938"/>
                <a:gd name="connsiteY2921" fmla="*/ 232590 h 716071"/>
                <a:gd name="connsiteX2922" fmla="*/ 434859 w 614938"/>
                <a:gd name="connsiteY2922" fmla="*/ 233009 h 716071"/>
                <a:gd name="connsiteX2923" fmla="*/ 440062 w 614938"/>
                <a:gd name="connsiteY2923" fmla="*/ 235341 h 716071"/>
                <a:gd name="connsiteX2924" fmla="*/ 441437 w 614938"/>
                <a:gd name="connsiteY2924" fmla="*/ 238990 h 716071"/>
                <a:gd name="connsiteX2925" fmla="*/ 441258 w 614938"/>
                <a:gd name="connsiteY2925" fmla="*/ 238810 h 716071"/>
                <a:gd name="connsiteX2926" fmla="*/ 439942 w 614938"/>
                <a:gd name="connsiteY2926" fmla="*/ 235341 h 716071"/>
                <a:gd name="connsiteX2927" fmla="*/ 440062 w 614938"/>
                <a:gd name="connsiteY2927" fmla="*/ 235341 h 716071"/>
                <a:gd name="connsiteX2928" fmla="*/ 440899 w 614938"/>
                <a:gd name="connsiteY2928" fmla="*/ 238810 h 716071"/>
                <a:gd name="connsiteX2929" fmla="*/ 440420 w 614938"/>
                <a:gd name="connsiteY2929" fmla="*/ 238990 h 716071"/>
                <a:gd name="connsiteX2930" fmla="*/ 440780 w 614938"/>
                <a:gd name="connsiteY2930" fmla="*/ 238511 h 716071"/>
                <a:gd name="connsiteX2931" fmla="*/ 440899 w 614938"/>
                <a:gd name="connsiteY2931" fmla="*/ 238810 h 716071"/>
                <a:gd name="connsiteX2932" fmla="*/ 441078 w 614938"/>
                <a:gd name="connsiteY2932" fmla="*/ 239109 h 716071"/>
                <a:gd name="connsiteX2933" fmla="*/ 441677 w 614938"/>
                <a:gd name="connsiteY2933" fmla="*/ 239827 h 716071"/>
                <a:gd name="connsiteX2934" fmla="*/ 438865 w 614938"/>
                <a:gd name="connsiteY2934" fmla="*/ 242578 h 716071"/>
                <a:gd name="connsiteX2935" fmla="*/ 437132 w 614938"/>
                <a:gd name="connsiteY2935" fmla="*/ 240545 h 716071"/>
                <a:gd name="connsiteX2936" fmla="*/ 441078 w 614938"/>
                <a:gd name="connsiteY2936" fmla="*/ 239109 h 716071"/>
                <a:gd name="connsiteX2937" fmla="*/ 439285 w 614938"/>
                <a:gd name="connsiteY2937" fmla="*/ 242698 h 716071"/>
                <a:gd name="connsiteX2938" fmla="*/ 441976 w 614938"/>
                <a:gd name="connsiteY2938" fmla="*/ 240066 h 716071"/>
                <a:gd name="connsiteX2939" fmla="*/ 448973 w 614938"/>
                <a:gd name="connsiteY2939" fmla="*/ 238990 h 716071"/>
                <a:gd name="connsiteX2940" fmla="*/ 462609 w 614938"/>
                <a:gd name="connsiteY2940" fmla="*/ 244313 h 716071"/>
                <a:gd name="connsiteX2941" fmla="*/ 439285 w 614938"/>
                <a:gd name="connsiteY2941" fmla="*/ 242698 h 716071"/>
                <a:gd name="connsiteX2942" fmla="*/ 447358 w 614938"/>
                <a:gd name="connsiteY2942" fmla="*/ 233308 h 716071"/>
                <a:gd name="connsiteX2943" fmla="*/ 446999 w 614938"/>
                <a:gd name="connsiteY2943" fmla="*/ 231454 h 716071"/>
                <a:gd name="connsiteX2944" fmla="*/ 448674 w 614938"/>
                <a:gd name="connsiteY2944" fmla="*/ 230019 h 716071"/>
                <a:gd name="connsiteX2945" fmla="*/ 450289 w 614938"/>
                <a:gd name="connsiteY2945" fmla="*/ 230856 h 716071"/>
                <a:gd name="connsiteX2946" fmla="*/ 447358 w 614938"/>
                <a:gd name="connsiteY2946" fmla="*/ 233308 h 716071"/>
                <a:gd name="connsiteX2947" fmla="*/ 448913 w 614938"/>
                <a:gd name="connsiteY2947" fmla="*/ 229720 h 716071"/>
                <a:gd name="connsiteX2948" fmla="*/ 449930 w 614938"/>
                <a:gd name="connsiteY2948" fmla="*/ 227806 h 716071"/>
                <a:gd name="connsiteX2949" fmla="*/ 452382 w 614938"/>
                <a:gd name="connsiteY2949" fmla="*/ 227148 h 716071"/>
                <a:gd name="connsiteX2950" fmla="*/ 450528 w 614938"/>
                <a:gd name="connsiteY2950" fmla="*/ 230497 h 716071"/>
                <a:gd name="connsiteX2951" fmla="*/ 448913 w 614938"/>
                <a:gd name="connsiteY2951" fmla="*/ 229720 h 716071"/>
                <a:gd name="connsiteX2952" fmla="*/ 453877 w 614938"/>
                <a:gd name="connsiteY2952" fmla="*/ 219313 h 716071"/>
                <a:gd name="connsiteX2953" fmla="*/ 458722 w 614938"/>
                <a:gd name="connsiteY2953" fmla="*/ 212196 h 716071"/>
                <a:gd name="connsiteX2954" fmla="*/ 459200 w 614938"/>
                <a:gd name="connsiteY2954" fmla="*/ 212615 h 716071"/>
                <a:gd name="connsiteX2955" fmla="*/ 453698 w 614938"/>
                <a:gd name="connsiteY2955" fmla="*/ 220689 h 716071"/>
                <a:gd name="connsiteX2956" fmla="*/ 453877 w 614938"/>
                <a:gd name="connsiteY2956" fmla="*/ 219313 h 716071"/>
                <a:gd name="connsiteX2957" fmla="*/ 459738 w 614938"/>
                <a:gd name="connsiteY2957" fmla="*/ 212555 h 716071"/>
                <a:gd name="connsiteX2958" fmla="*/ 459918 w 614938"/>
                <a:gd name="connsiteY2958" fmla="*/ 212196 h 716071"/>
                <a:gd name="connsiteX2959" fmla="*/ 459918 w 614938"/>
                <a:gd name="connsiteY2959" fmla="*/ 212196 h 716071"/>
                <a:gd name="connsiteX2960" fmla="*/ 459738 w 614938"/>
                <a:gd name="connsiteY2960" fmla="*/ 212555 h 716071"/>
                <a:gd name="connsiteX2961" fmla="*/ 459738 w 614938"/>
                <a:gd name="connsiteY2961" fmla="*/ 212555 h 716071"/>
                <a:gd name="connsiteX2962" fmla="*/ 453519 w 614938"/>
                <a:gd name="connsiteY2962" fmla="*/ 204780 h 716071"/>
                <a:gd name="connsiteX2963" fmla="*/ 453817 w 614938"/>
                <a:gd name="connsiteY2963" fmla="*/ 204421 h 716071"/>
                <a:gd name="connsiteX2964" fmla="*/ 456927 w 614938"/>
                <a:gd name="connsiteY2964" fmla="*/ 207591 h 716071"/>
                <a:gd name="connsiteX2965" fmla="*/ 453519 w 614938"/>
                <a:gd name="connsiteY2965" fmla="*/ 204780 h 716071"/>
                <a:gd name="connsiteX2966" fmla="*/ 453937 w 614938"/>
                <a:gd name="connsiteY2966" fmla="*/ 204002 h 716071"/>
                <a:gd name="connsiteX2967" fmla="*/ 449751 w 614938"/>
                <a:gd name="connsiteY2967" fmla="*/ 198381 h 716071"/>
                <a:gd name="connsiteX2968" fmla="*/ 448016 w 614938"/>
                <a:gd name="connsiteY2968" fmla="*/ 182711 h 716071"/>
                <a:gd name="connsiteX2969" fmla="*/ 457825 w 614938"/>
                <a:gd name="connsiteY2969" fmla="*/ 206335 h 716071"/>
                <a:gd name="connsiteX2970" fmla="*/ 453937 w 614938"/>
                <a:gd name="connsiteY2970" fmla="*/ 204002 h 716071"/>
                <a:gd name="connsiteX2971" fmla="*/ 447538 w 614938"/>
                <a:gd name="connsiteY2971" fmla="*/ 181575 h 716071"/>
                <a:gd name="connsiteX2972" fmla="*/ 449332 w 614938"/>
                <a:gd name="connsiteY2972" fmla="*/ 197962 h 716071"/>
                <a:gd name="connsiteX2973" fmla="*/ 448913 w 614938"/>
                <a:gd name="connsiteY2973" fmla="*/ 197543 h 716071"/>
                <a:gd name="connsiteX2974" fmla="*/ 447478 w 614938"/>
                <a:gd name="connsiteY2974" fmla="*/ 181515 h 716071"/>
                <a:gd name="connsiteX2975" fmla="*/ 447538 w 614938"/>
                <a:gd name="connsiteY2975" fmla="*/ 181575 h 716071"/>
                <a:gd name="connsiteX2976" fmla="*/ 449332 w 614938"/>
                <a:gd name="connsiteY2976" fmla="*/ 198440 h 716071"/>
                <a:gd name="connsiteX2977" fmla="*/ 444248 w 614938"/>
                <a:gd name="connsiteY2977" fmla="*/ 204660 h 716071"/>
                <a:gd name="connsiteX2978" fmla="*/ 443590 w 614938"/>
                <a:gd name="connsiteY2978" fmla="*/ 204182 h 716071"/>
                <a:gd name="connsiteX2979" fmla="*/ 445803 w 614938"/>
                <a:gd name="connsiteY2979" fmla="*/ 201491 h 716071"/>
                <a:gd name="connsiteX2980" fmla="*/ 445803 w 614938"/>
                <a:gd name="connsiteY2980" fmla="*/ 201491 h 716071"/>
                <a:gd name="connsiteX2981" fmla="*/ 445803 w 614938"/>
                <a:gd name="connsiteY2981" fmla="*/ 201491 h 716071"/>
                <a:gd name="connsiteX2982" fmla="*/ 446521 w 614938"/>
                <a:gd name="connsiteY2982" fmla="*/ 200593 h 716071"/>
                <a:gd name="connsiteX2983" fmla="*/ 446521 w 614938"/>
                <a:gd name="connsiteY2983" fmla="*/ 200593 h 716071"/>
                <a:gd name="connsiteX2984" fmla="*/ 446521 w 614938"/>
                <a:gd name="connsiteY2984" fmla="*/ 200593 h 716071"/>
                <a:gd name="connsiteX2985" fmla="*/ 447179 w 614938"/>
                <a:gd name="connsiteY2985" fmla="*/ 199816 h 716071"/>
                <a:gd name="connsiteX2986" fmla="*/ 447179 w 614938"/>
                <a:gd name="connsiteY2986" fmla="*/ 199816 h 716071"/>
                <a:gd name="connsiteX2987" fmla="*/ 447179 w 614938"/>
                <a:gd name="connsiteY2987" fmla="*/ 199816 h 716071"/>
                <a:gd name="connsiteX2988" fmla="*/ 448794 w 614938"/>
                <a:gd name="connsiteY2988" fmla="*/ 197842 h 716071"/>
                <a:gd name="connsiteX2989" fmla="*/ 449332 w 614938"/>
                <a:gd name="connsiteY2989" fmla="*/ 198440 h 716071"/>
                <a:gd name="connsiteX2990" fmla="*/ 415541 w 614938"/>
                <a:gd name="connsiteY2990" fmla="*/ 207411 h 716071"/>
                <a:gd name="connsiteX2991" fmla="*/ 417155 w 614938"/>
                <a:gd name="connsiteY2991" fmla="*/ 209265 h 716071"/>
                <a:gd name="connsiteX2992" fmla="*/ 395805 w 614938"/>
                <a:gd name="connsiteY2992" fmla="*/ 206873 h 716071"/>
                <a:gd name="connsiteX2993" fmla="*/ 394249 w 614938"/>
                <a:gd name="connsiteY2993" fmla="*/ 205019 h 716071"/>
                <a:gd name="connsiteX2994" fmla="*/ 415541 w 614938"/>
                <a:gd name="connsiteY2994" fmla="*/ 207411 h 716071"/>
                <a:gd name="connsiteX2995" fmla="*/ 393771 w 614938"/>
                <a:gd name="connsiteY2995" fmla="*/ 204959 h 716071"/>
                <a:gd name="connsiteX2996" fmla="*/ 395326 w 614938"/>
                <a:gd name="connsiteY2996" fmla="*/ 206813 h 716071"/>
                <a:gd name="connsiteX2997" fmla="*/ 373795 w 614938"/>
                <a:gd name="connsiteY2997" fmla="*/ 204361 h 716071"/>
                <a:gd name="connsiteX2998" fmla="*/ 372360 w 614938"/>
                <a:gd name="connsiteY2998" fmla="*/ 202567 h 716071"/>
                <a:gd name="connsiteX2999" fmla="*/ 393771 w 614938"/>
                <a:gd name="connsiteY2999" fmla="*/ 204959 h 716071"/>
                <a:gd name="connsiteX3000" fmla="*/ 371822 w 614938"/>
                <a:gd name="connsiteY3000" fmla="*/ 202447 h 716071"/>
                <a:gd name="connsiteX3001" fmla="*/ 373257 w 614938"/>
                <a:gd name="connsiteY3001" fmla="*/ 204301 h 716071"/>
                <a:gd name="connsiteX3002" fmla="*/ 351487 w 614938"/>
                <a:gd name="connsiteY3002" fmla="*/ 201849 h 716071"/>
                <a:gd name="connsiteX3003" fmla="*/ 350112 w 614938"/>
                <a:gd name="connsiteY3003" fmla="*/ 199995 h 716071"/>
                <a:gd name="connsiteX3004" fmla="*/ 371822 w 614938"/>
                <a:gd name="connsiteY3004" fmla="*/ 202447 h 716071"/>
                <a:gd name="connsiteX3005" fmla="*/ 349693 w 614938"/>
                <a:gd name="connsiteY3005" fmla="*/ 199936 h 716071"/>
                <a:gd name="connsiteX3006" fmla="*/ 351069 w 614938"/>
                <a:gd name="connsiteY3006" fmla="*/ 201790 h 716071"/>
                <a:gd name="connsiteX3007" fmla="*/ 329119 w 614938"/>
                <a:gd name="connsiteY3007" fmla="*/ 199278 h 716071"/>
                <a:gd name="connsiteX3008" fmla="*/ 327864 w 614938"/>
                <a:gd name="connsiteY3008" fmla="*/ 197483 h 716071"/>
                <a:gd name="connsiteX3009" fmla="*/ 349693 w 614938"/>
                <a:gd name="connsiteY3009" fmla="*/ 199936 h 716071"/>
                <a:gd name="connsiteX3010" fmla="*/ 327326 w 614938"/>
                <a:gd name="connsiteY3010" fmla="*/ 197424 h 716071"/>
                <a:gd name="connsiteX3011" fmla="*/ 328581 w 614938"/>
                <a:gd name="connsiteY3011" fmla="*/ 199218 h 716071"/>
                <a:gd name="connsiteX3012" fmla="*/ 306393 w 614938"/>
                <a:gd name="connsiteY3012" fmla="*/ 196706 h 716071"/>
                <a:gd name="connsiteX3013" fmla="*/ 305196 w 614938"/>
                <a:gd name="connsiteY3013" fmla="*/ 194912 h 716071"/>
                <a:gd name="connsiteX3014" fmla="*/ 327326 w 614938"/>
                <a:gd name="connsiteY3014" fmla="*/ 197424 h 716071"/>
                <a:gd name="connsiteX3015" fmla="*/ 304778 w 614938"/>
                <a:gd name="connsiteY3015" fmla="*/ 194852 h 716071"/>
                <a:gd name="connsiteX3016" fmla="*/ 305974 w 614938"/>
                <a:gd name="connsiteY3016" fmla="*/ 196646 h 716071"/>
                <a:gd name="connsiteX3017" fmla="*/ 283546 w 614938"/>
                <a:gd name="connsiteY3017" fmla="*/ 194134 h 716071"/>
                <a:gd name="connsiteX3018" fmla="*/ 282470 w 614938"/>
                <a:gd name="connsiteY3018" fmla="*/ 192340 h 716071"/>
                <a:gd name="connsiteX3019" fmla="*/ 304778 w 614938"/>
                <a:gd name="connsiteY3019" fmla="*/ 194852 h 716071"/>
                <a:gd name="connsiteX3020" fmla="*/ 282051 w 614938"/>
                <a:gd name="connsiteY3020" fmla="*/ 192280 h 716071"/>
                <a:gd name="connsiteX3021" fmla="*/ 283128 w 614938"/>
                <a:gd name="connsiteY3021" fmla="*/ 194074 h 716071"/>
                <a:gd name="connsiteX3022" fmla="*/ 260521 w 614938"/>
                <a:gd name="connsiteY3022" fmla="*/ 191503 h 716071"/>
                <a:gd name="connsiteX3023" fmla="*/ 259564 w 614938"/>
                <a:gd name="connsiteY3023" fmla="*/ 189708 h 716071"/>
                <a:gd name="connsiteX3024" fmla="*/ 282051 w 614938"/>
                <a:gd name="connsiteY3024" fmla="*/ 192280 h 716071"/>
                <a:gd name="connsiteX3025" fmla="*/ 259085 w 614938"/>
                <a:gd name="connsiteY3025" fmla="*/ 189649 h 716071"/>
                <a:gd name="connsiteX3026" fmla="*/ 260042 w 614938"/>
                <a:gd name="connsiteY3026" fmla="*/ 191443 h 716071"/>
                <a:gd name="connsiteX3027" fmla="*/ 237196 w 614938"/>
                <a:gd name="connsiteY3027" fmla="*/ 188871 h 716071"/>
                <a:gd name="connsiteX3028" fmla="*/ 236298 w 614938"/>
                <a:gd name="connsiteY3028" fmla="*/ 187077 h 716071"/>
                <a:gd name="connsiteX3029" fmla="*/ 259085 w 614938"/>
                <a:gd name="connsiteY3029" fmla="*/ 189649 h 716071"/>
                <a:gd name="connsiteX3030" fmla="*/ 235880 w 614938"/>
                <a:gd name="connsiteY3030" fmla="*/ 187017 h 716071"/>
                <a:gd name="connsiteX3031" fmla="*/ 236777 w 614938"/>
                <a:gd name="connsiteY3031" fmla="*/ 188811 h 716071"/>
                <a:gd name="connsiteX3032" fmla="*/ 213692 w 614938"/>
                <a:gd name="connsiteY3032" fmla="*/ 186180 h 716071"/>
                <a:gd name="connsiteX3033" fmla="*/ 212914 w 614938"/>
                <a:gd name="connsiteY3033" fmla="*/ 184386 h 716071"/>
                <a:gd name="connsiteX3034" fmla="*/ 235880 w 614938"/>
                <a:gd name="connsiteY3034" fmla="*/ 187017 h 716071"/>
                <a:gd name="connsiteX3035" fmla="*/ 212495 w 614938"/>
                <a:gd name="connsiteY3035" fmla="*/ 184386 h 716071"/>
                <a:gd name="connsiteX3036" fmla="*/ 213273 w 614938"/>
                <a:gd name="connsiteY3036" fmla="*/ 186180 h 716071"/>
                <a:gd name="connsiteX3037" fmla="*/ 189948 w 614938"/>
                <a:gd name="connsiteY3037" fmla="*/ 183548 h 716071"/>
                <a:gd name="connsiteX3038" fmla="*/ 189290 w 614938"/>
                <a:gd name="connsiteY3038" fmla="*/ 181754 h 716071"/>
                <a:gd name="connsiteX3039" fmla="*/ 212495 w 614938"/>
                <a:gd name="connsiteY3039" fmla="*/ 184386 h 716071"/>
                <a:gd name="connsiteX3040" fmla="*/ 188872 w 614938"/>
                <a:gd name="connsiteY3040" fmla="*/ 181694 h 716071"/>
                <a:gd name="connsiteX3041" fmla="*/ 189529 w 614938"/>
                <a:gd name="connsiteY3041" fmla="*/ 183489 h 716071"/>
                <a:gd name="connsiteX3042" fmla="*/ 165965 w 614938"/>
                <a:gd name="connsiteY3042" fmla="*/ 180797 h 716071"/>
                <a:gd name="connsiteX3043" fmla="*/ 165427 w 614938"/>
                <a:gd name="connsiteY3043" fmla="*/ 179003 h 716071"/>
                <a:gd name="connsiteX3044" fmla="*/ 188872 w 614938"/>
                <a:gd name="connsiteY3044" fmla="*/ 181694 h 716071"/>
                <a:gd name="connsiteX3045" fmla="*/ 165666 w 614938"/>
                <a:gd name="connsiteY3045" fmla="*/ 181036 h 716071"/>
                <a:gd name="connsiteX3046" fmla="*/ 165009 w 614938"/>
                <a:gd name="connsiteY3046" fmla="*/ 185701 h 716071"/>
                <a:gd name="connsiteX3047" fmla="*/ 165307 w 614938"/>
                <a:gd name="connsiteY3047" fmla="*/ 179840 h 716071"/>
                <a:gd name="connsiteX3048" fmla="*/ 165666 w 614938"/>
                <a:gd name="connsiteY3048" fmla="*/ 181036 h 716071"/>
                <a:gd name="connsiteX3049" fmla="*/ 165069 w 614938"/>
                <a:gd name="connsiteY3049" fmla="*/ 187974 h 716071"/>
                <a:gd name="connsiteX3050" fmla="*/ 166025 w 614938"/>
                <a:gd name="connsiteY3050" fmla="*/ 181216 h 716071"/>
                <a:gd name="connsiteX3051" fmla="*/ 189589 w 614938"/>
                <a:gd name="connsiteY3051" fmla="*/ 183907 h 716071"/>
                <a:gd name="connsiteX3052" fmla="*/ 187197 w 614938"/>
                <a:gd name="connsiteY3052" fmla="*/ 191921 h 716071"/>
                <a:gd name="connsiteX3053" fmla="*/ 165069 w 614938"/>
                <a:gd name="connsiteY3053" fmla="*/ 187974 h 716071"/>
                <a:gd name="connsiteX3054" fmla="*/ 187556 w 614938"/>
                <a:gd name="connsiteY3054" fmla="*/ 191981 h 716071"/>
                <a:gd name="connsiteX3055" fmla="*/ 189948 w 614938"/>
                <a:gd name="connsiteY3055" fmla="*/ 183907 h 716071"/>
                <a:gd name="connsiteX3056" fmla="*/ 213273 w 614938"/>
                <a:gd name="connsiteY3056" fmla="*/ 186539 h 716071"/>
                <a:gd name="connsiteX3057" fmla="*/ 209445 w 614938"/>
                <a:gd name="connsiteY3057" fmla="*/ 195869 h 716071"/>
                <a:gd name="connsiteX3058" fmla="*/ 187556 w 614938"/>
                <a:gd name="connsiteY3058" fmla="*/ 191981 h 716071"/>
                <a:gd name="connsiteX3059" fmla="*/ 209804 w 614938"/>
                <a:gd name="connsiteY3059" fmla="*/ 195928 h 716071"/>
                <a:gd name="connsiteX3060" fmla="*/ 213692 w 614938"/>
                <a:gd name="connsiteY3060" fmla="*/ 186598 h 716071"/>
                <a:gd name="connsiteX3061" fmla="*/ 236777 w 614938"/>
                <a:gd name="connsiteY3061" fmla="*/ 189230 h 716071"/>
                <a:gd name="connsiteX3062" fmla="*/ 231454 w 614938"/>
                <a:gd name="connsiteY3062" fmla="*/ 199816 h 716071"/>
                <a:gd name="connsiteX3063" fmla="*/ 209804 w 614938"/>
                <a:gd name="connsiteY3063" fmla="*/ 195928 h 716071"/>
                <a:gd name="connsiteX3064" fmla="*/ 231873 w 614938"/>
                <a:gd name="connsiteY3064" fmla="*/ 199816 h 716071"/>
                <a:gd name="connsiteX3065" fmla="*/ 237196 w 614938"/>
                <a:gd name="connsiteY3065" fmla="*/ 189230 h 716071"/>
                <a:gd name="connsiteX3066" fmla="*/ 260102 w 614938"/>
                <a:gd name="connsiteY3066" fmla="*/ 191802 h 716071"/>
                <a:gd name="connsiteX3067" fmla="*/ 253344 w 614938"/>
                <a:gd name="connsiteY3067" fmla="*/ 203584 h 716071"/>
                <a:gd name="connsiteX3068" fmla="*/ 231873 w 614938"/>
                <a:gd name="connsiteY3068" fmla="*/ 199816 h 716071"/>
                <a:gd name="connsiteX3069" fmla="*/ 253703 w 614938"/>
                <a:gd name="connsiteY3069" fmla="*/ 203703 h 716071"/>
                <a:gd name="connsiteX3070" fmla="*/ 260461 w 614938"/>
                <a:gd name="connsiteY3070" fmla="*/ 191862 h 716071"/>
                <a:gd name="connsiteX3071" fmla="*/ 283128 w 614938"/>
                <a:gd name="connsiteY3071" fmla="*/ 194433 h 716071"/>
                <a:gd name="connsiteX3072" fmla="*/ 274934 w 614938"/>
                <a:gd name="connsiteY3072" fmla="*/ 207471 h 716071"/>
                <a:gd name="connsiteX3073" fmla="*/ 253703 w 614938"/>
                <a:gd name="connsiteY3073" fmla="*/ 203703 h 716071"/>
                <a:gd name="connsiteX3074" fmla="*/ 275293 w 614938"/>
                <a:gd name="connsiteY3074" fmla="*/ 207531 h 716071"/>
                <a:gd name="connsiteX3075" fmla="*/ 283546 w 614938"/>
                <a:gd name="connsiteY3075" fmla="*/ 194493 h 716071"/>
                <a:gd name="connsiteX3076" fmla="*/ 305974 w 614938"/>
                <a:gd name="connsiteY3076" fmla="*/ 197005 h 716071"/>
                <a:gd name="connsiteX3077" fmla="*/ 296285 w 614938"/>
                <a:gd name="connsiteY3077" fmla="*/ 211239 h 716071"/>
                <a:gd name="connsiteX3078" fmla="*/ 275293 w 614938"/>
                <a:gd name="connsiteY3078" fmla="*/ 207531 h 716071"/>
                <a:gd name="connsiteX3079" fmla="*/ 306393 w 614938"/>
                <a:gd name="connsiteY3079" fmla="*/ 197065 h 716071"/>
                <a:gd name="connsiteX3080" fmla="*/ 328641 w 614938"/>
                <a:gd name="connsiteY3080" fmla="*/ 199577 h 716071"/>
                <a:gd name="connsiteX3081" fmla="*/ 317517 w 614938"/>
                <a:gd name="connsiteY3081" fmla="*/ 215007 h 716071"/>
                <a:gd name="connsiteX3082" fmla="*/ 296704 w 614938"/>
                <a:gd name="connsiteY3082" fmla="*/ 211299 h 716071"/>
                <a:gd name="connsiteX3083" fmla="*/ 306393 w 614938"/>
                <a:gd name="connsiteY3083" fmla="*/ 197065 h 716071"/>
                <a:gd name="connsiteX3084" fmla="*/ 329059 w 614938"/>
                <a:gd name="connsiteY3084" fmla="*/ 199637 h 716071"/>
                <a:gd name="connsiteX3085" fmla="*/ 351069 w 614938"/>
                <a:gd name="connsiteY3085" fmla="*/ 202148 h 716071"/>
                <a:gd name="connsiteX3086" fmla="*/ 338509 w 614938"/>
                <a:gd name="connsiteY3086" fmla="*/ 218775 h 716071"/>
                <a:gd name="connsiteX3087" fmla="*/ 317935 w 614938"/>
                <a:gd name="connsiteY3087" fmla="*/ 215127 h 716071"/>
                <a:gd name="connsiteX3088" fmla="*/ 329059 w 614938"/>
                <a:gd name="connsiteY3088" fmla="*/ 199637 h 716071"/>
                <a:gd name="connsiteX3089" fmla="*/ 351547 w 614938"/>
                <a:gd name="connsiteY3089" fmla="*/ 202208 h 716071"/>
                <a:gd name="connsiteX3090" fmla="*/ 373377 w 614938"/>
                <a:gd name="connsiteY3090" fmla="*/ 204660 h 716071"/>
                <a:gd name="connsiteX3091" fmla="*/ 359382 w 614938"/>
                <a:gd name="connsiteY3091" fmla="*/ 222483 h 716071"/>
                <a:gd name="connsiteX3092" fmla="*/ 338988 w 614938"/>
                <a:gd name="connsiteY3092" fmla="*/ 218835 h 716071"/>
                <a:gd name="connsiteX3093" fmla="*/ 351547 w 614938"/>
                <a:gd name="connsiteY3093" fmla="*/ 202208 h 716071"/>
                <a:gd name="connsiteX3094" fmla="*/ 373795 w 614938"/>
                <a:gd name="connsiteY3094" fmla="*/ 204720 h 716071"/>
                <a:gd name="connsiteX3095" fmla="*/ 395386 w 614938"/>
                <a:gd name="connsiteY3095" fmla="*/ 207172 h 716071"/>
                <a:gd name="connsiteX3096" fmla="*/ 379955 w 614938"/>
                <a:gd name="connsiteY3096" fmla="*/ 226191 h 716071"/>
                <a:gd name="connsiteX3097" fmla="*/ 359741 w 614938"/>
                <a:gd name="connsiteY3097" fmla="*/ 222602 h 716071"/>
                <a:gd name="connsiteX3098" fmla="*/ 373795 w 614938"/>
                <a:gd name="connsiteY3098" fmla="*/ 204720 h 716071"/>
                <a:gd name="connsiteX3099" fmla="*/ 390781 w 614938"/>
                <a:gd name="connsiteY3099" fmla="*/ 228404 h 716071"/>
                <a:gd name="connsiteX3100" fmla="*/ 375230 w 614938"/>
                <a:gd name="connsiteY3100" fmla="*/ 247183 h 716071"/>
                <a:gd name="connsiteX3101" fmla="*/ 374454 w 614938"/>
                <a:gd name="connsiteY3101" fmla="*/ 246226 h 716071"/>
                <a:gd name="connsiteX3102" fmla="*/ 389465 w 614938"/>
                <a:gd name="connsiteY3102" fmla="*/ 228164 h 716071"/>
                <a:gd name="connsiteX3103" fmla="*/ 390781 w 614938"/>
                <a:gd name="connsiteY3103" fmla="*/ 228404 h 716071"/>
                <a:gd name="connsiteX3104" fmla="*/ 373975 w 614938"/>
                <a:gd name="connsiteY3104" fmla="*/ 246226 h 716071"/>
                <a:gd name="connsiteX3105" fmla="*/ 346045 w 614938"/>
                <a:gd name="connsiteY3105" fmla="*/ 279898 h 716071"/>
                <a:gd name="connsiteX3106" fmla="*/ 345866 w 614938"/>
                <a:gd name="connsiteY3106" fmla="*/ 279419 h 716071"/>
                <a:gd name="connsiteX3107" fmla="*/ 373795 w 614938"/>
                <a:gd name="connsiteY3107" fmla="*/ 245867 h 716071"/>
                <a:gd name="connsiteX3108" fmla="*/ 373975 w 614938"/>
                <a:gd name="connsiteY3108" fmla="*/ 246226 h 716071"/>
                <a:gd name="connsiteX3109" fmla="*/ 345806 w 614938"/>
                <a:gd name="connsiteY3109" fmla="*/ 280197 h 716071"/>
                <a:gd name="connsiteX3110" fmla="*/ 318235 w 614938"/>
                <a:gd name="connsiteY3110" fmla="*/ 313390 h 716071"/>
                <a:gd name="connsiteX3111" fmla="*/ 318055 w 614938"/>
                <a:gd name="connsiteY3111" fmla="*/ 312852 h 716071"/>
                <a:gd name="connsiteX3112" fmla="*/ 345566 w 614938"/>
                <a:gd name="connsiteY3112" fmla="*/ 279778 h 716071"/>
                <a:gd name="connsiteX3113" fmla="*/ 345806 w 614938"/>
                <a:gd name="connsiteY3113" fmla="*/ 280197 h 716071"/>
                <a:gd name="connsiteX3114" fmla="*/ 317935 w 614938"/>
                <a:gd name="connsiteY3114" fmla="*/ 313689 h 716071"/>
                <a:gd name="connsiteX3115" fmla="*/ 290724 w 614938"/>
                <a:gd name="connsiteY3115" fmla="*/ 346403 h 716071"/>
                <a:gd name="connsiteX3116" fmla="*/ 290604 w 614938"/>
                <a:gd name="connsiteY3116" fmla="*/ 345805 h 716071"/>
                <a:gd name="connsiteX3117" fmla="*/ 317756 w 614938"/>
                <a:gd name="connsiteY3117" fmla="*/ 313151 h 716071"/>
                <a:gd name="connsiteX3118" fmla="*/ 317935 w 614938"/>
                <a:gd name="connsiteY3118" fmla="*/ 313689 h 716071"/>
                <a:gd name="connsiteX3119" fmla="*/ 290484 w 614938"/>
                <a:gd name="connsiteY3119" fmla="*/ 346822 h 716071"/>
                <a:gd name="connsiteX3120" fmla="*/ 263691 w 614938"/>
                <a:gd name="connsiteY3120" fmla="*/ 379118 h 716071"/>
                <a:gd name="connsiteX3121" fmla="*/ 263571 w 614938"/>
                <a:gd name="connsiteY3121" fmla="*/ 378400 h 716071"/>
                <a:gd name="connsiteX3122" fmla="*/ 290364 w 614938"/>
                <a:gd name="connsiteY3122" fmla="*/ 346224 h 716071"/>
                <a:gd name="connsiteX3123" fmla="*/ 290484 w 614938"/>
                <a:gd name="connsiteY3123" fmla="*/ 346822 h 716071"/>
                <a:gd name="connsiteX3124" fmla="*/ 263331 w 614938"/>
                <a:gd name="connsiteY3124" fmla="*/ 379477 h 716071"/>
                <a:gd name="connsiteX3125" fmla="*/ 236897 w 614938"/>
                <a:gd name="connsiteY3125" fmla="*/ 411294 h 716071"/>
                <a:gd name="connsiteX3126" fmla="*/ 236837 w 614938"/>
                <a:gd name="connsiteY3126" fmla="*/ 410457 h 716071"/>
                <a:gd name="connsiteX3127" fmla="*/ 263212 w 614938"/>
                <a:gd name="connsiteY3127" fmla="*/ 378699 h 716071"/>
                <a:gd name="connsiteX3128" fmla="*/ 263331 w 614938"/>
                <a:gd name="connsiteY3128" fmla="*/ 379477 h 716071"/>
                <a:gd name="connsiteX3129" fmla="*/ 236538 w 614938"/>
                <a:gd name="connsiteY3129" fmla="*/ 411713 h 716071"/>
                <a:gd name="connsiteX3130" fmla="*/ 210462 w 614938"/>
                <a:gd name="connsiteY3130" fmla="*/ 443112 h 716071"/>
                <a:gd name="connsiteX3131" fmla="*/ 210462 w 614938"/>
                <a:gd name="connsiteY3131" fmla="*/ 442215 h 716071"/>
                <a:gd name="connsiteX3132" fmla="*/ 236478 w 614938"/>
                <a:gd name="connsiteY3132" fmla="*/ 410935 h 716071"/>
                <a:gd name="connsiteX3133" fmla="*/ 236538 w 614938"/>
                <a:gd name="connsiteY3133" fmla="*/ 411713 h 716071"/>
                <a:gd name="connsiteX3134" fmla="*/ 210103 w 614938"/>
                <a:gd name="connsiteY3134" fmla="*/ 443530 h 716071"/>
                <a:gd name="connsiteX3135" fmla="*/ 184386 w 614938"/>
                <a:gd name="connsiteY3135" fmla="*/ 474510 h 716071"/>
                <a:gd name="connsiteX3136" fmla="*/ 184446 w 614938"/>
                <a:gd name="connsiteY3136" fmla="*/ 473494 h 716071"/>
                <a:gd name="connsiteX3137" fmla="*/ 210103 w 614938"/>
                <a:gd name="connsiteY3137" fmla="*/ 442633 h 716071"/>
                <a:gd name="connsiteX3138" fmla="*/ 210103 w 614938"/>
                <a:gd name="connsiteY3138" fmla="*/ 443530 h 716071"/>
                <a:gd name="connsiteX3139" fmla="*/ 184027 w 614938"/>
                <a:gd name="connsiteY3139" fmla="*/ 474989 h 716071"/>
                <a:gd name="connsiteX3140" fmla="*/ 158669 w 614938"/>
                <a:gd name="connsiteY3140" fmla="*/ 505550 h 716071"/>
                <a:gd name="connsiteX3141" fmla="*/ 158788 w 614938"/>
                <a:gd name="connsiteY3141" fmla="*/ 504414 h 716071"/>
                <a:gd name="connsiteX3142" fmla="*/ 184087 w 614938"/>
                <a:gd name="connsiteY3142" fmla="*/ 473972 h 716071"/>
                <a:gd name="connsiteX3143" fmla="*/ 184027 w 614938"/>
                <a:gd name="connsiteY3143" fmla="*/ 474989 h 716071"/>
                <a:gd name="connsiteX3144" fmla="*/ 158250 w 614938"/>
                <a:gd name="connsiteY3144" fmla="*/ 505969 h 716071"/>
                <a:gd name="connsiteX3145" fmla="*/ 133251 w 614938"/>
                <a:gd name="connsiteY3145" fmla="*/ 536112 h 716071"/>
                <a:gd name="connsiteX3146" fmla="*/ 133430 w 614938"/>
                <a:gd name="connsiteY3146" fmla="*/ 534856 h 716071"/>
                <a:gd name="connsiteX3147" fmla="*/ 158370 w 614938"/>
                <a:gd name="connsiteY3147" fmla="*/ 504833 h 716071"/>
                <a:gd name="connsiteX3148" fmla="*/ 158250 w 614938"/>
                <a:gd name="connsiteY3148" fmla="*/ 505969 h 716071"/>
                <a:gd name="connsiteX3149" fmla="*/ 132772 w 614938"/>
                <a:gd name="connsiteY3149" fmla="*/ 536650 h 716071"/>
                <a:gd name="connsiteX3150" fmla="*/ 108072 w 614938"/>
                <a:gd name="connsiteY3150" fmla="*/ 566374 h 716071"/>
                <a:gd name="connsiteX3151" fmla="*/ 108312 w 614938"/>
                <a:gd name="connsiteY3151" fmla="*/ 564999 h 716071"/>
                <a:gd name="connsiteX3152" fmla="*/ 132952 w 614938"/>
                <a:gd name="connsiteY3152" fmla="*/ 535394 h 716071"/>
                <a:gd name="connsiteX3153" fmla="*/ 132772 w 614938"/>
                <a:gd name="connsiteY3153" fmla="*/ 536650 h 716071"/>
                <a:gd name="connsiteX3154" fmla="*/ 107593 w 614938"/>
                <a:gd name="connsiteY3154" fmla="*/ 566913 h 716071"/>
                <a:gd name="connsiteX3155" fmla="*/ 83252 w 614938"/>
                <a:gd name="connsiteY3155" fmla="*/ 596218 h 716071"/>
                <a:gd name="connsiteX3156" fmla="*/ 83551 w 614938"/>
                <a:gd name="connsiteY3156" fmla="*/ 594723 h 716071"/>
                <a:gd name="connsiteX3157" fmla="*/ 107833 w 614938"/>
                <a:gd name="connsiteY3157" fmla="*/ 565537 h 716071"/>
                <a:gd name="connsiteX3158" fmla="*/ 107593 w 614938"/>
                <a:gd name="connsiteY3158" fmla="*/ 566913 h 716071"/>
                <a:gd name="connsiteX3159" fmla="*/ 82774 w 614938"/>
                <a:gd name="connsiteY3159" fmla="*/ 596816 h 716071"/>
                <a:gd name="connsiteX3160" fmla="*/ 58731 w 614938"/>
                <a:gd name="connsiteY3160" fmla="*/ 625763 h 716071"/>
                <a:gd name="connsiteX3161" fmla="*/ 59090 w 614938"/>
                <a:gd name="connsiteY3161" fmla="*/ 624088 h 716071"/>
                <a:gd name="connsiteX3162" fmla="*/ 83072 w 614938"/>
                <a:gd name="connsiteY3162" fmla="*/ 595321 h 716071"/>
                <a:gd name="connsiteX3163" fmla="*/ 82774 w 614938"/>
                <a:gd name="connsiteY3163" fmla="*/ 596816 h 716071"/>
                <a:gd name="connsiteX3164" fmla="*/ 58252 w 614938"/>
                <a:gd name="connsiteY3164" fmla="*/ 626361 h 716071"/>
                <a:gd name="connsiteX3165" fmla="*/ 34569 w 614938"/>
                <a:gd name="connsiteY3165" fmla="*/ 654889 h 716071"/>
                <a:gd name="connsiteX3166" fmla="*/ 34988 w 614938"/>
                <a:gd name="connsiteY3166" fmla="*/ 653095 h 716071"/>
                <a:gd name="connsiteX3167" fmla="*/ 58611 w 614938"/>
                <a:gd name="connsiteY3167" fmla="*/ 624686 h 716071"/>
                <a:gd name="connsiteX3168" fmla="*/ 58252 w 614938"/>
                <a:gd name="connsiteY3168" fmla="*/ 626361 h 716071"/>
                <a:gd name="connsiteX3169" fmla="*/ 34031 w 614938"/>
                <a:gd name="connsiteY3169" fmla="*/ 655487 h 716071"/>
                <a:gd name="connsiteX3170" fmla="*/ 15909 w 614938"/>
                <a:gd name="connsiteY3170" fmla="*/ 673728 h 716071"/>
                <a:gd name="connsiteX3171" fmla="*/ 13457 w 614938"/>
                <a:gd name="connsiteY3171" fmla="*/ 672293 h 716071"/>
                <a:gd name="connsiteX3172" fmla="*/ 13696 w 614938"/>
                <a:gd name="connsiteY3172" fmla="*/ 669841 h 716071"/>
                <a:gd name="connsiteX3173" fmla="*/ 16148 w 614938"/>
                <a:gd name="connsiteY3173" fmla="*/ 671635 h 716071"/>
                <a:gd name="connsiteX3174" fmla="*/ 16148 w 614938"/>
                <a:gd name="connsiteY3174" fmla="*/ 671635 h 716071"/>
                <a:gd name="connsiteX3175" fmla="*/ 16208 w 614938"/>
                <a:gd name="connsiteY3175" fmla="*/ 671635 h 716071"/>
                <a:gd name="connsiteX3176" fmla="*/ 16268 w 614938"/>
                <a:gd name="connsiteY3176" fmla="*/ 671635 h 716071"/>
                <a:gd name="connsiteX3177" fmla="*/ 16328 w 614938"/>
                <a:gd name="connsiteY3177" fmla="*/ 671635 h 716071"/>
                <a:gd name="connsiteX3178" fmla="*/ 16387 w 614938"/>
                <a:gd name="connsiteY3178" fmla="*/ 671635 h 716071"/>
                <a:gd name="connsiteX3179" fmla="*/ 16387 w 614938"/>
                <a:gd name="connsiteY3179" fmla="*/ 671635 h 716071"/>
                <a:gd name="connsiteX3180" fmla="*/ 16387 w 614938"/>
                <a:gd name="connsiteY3180" fmla="*/ 671635 h 716071"/>
                <a:gd name="connsiteX3181" fmla="*/ 16387 w 614938"/>
                <a:gd name="connsiteY3181" fmla="*/ 671635 h 716071"/>
                <a:gd name="connsiteX3182" fmla="*/ 19737 w 614938"/>
                <a:gd name="connsiteY3182" fmla="*/ 667628 h 716071"/>
                <a:gd name="connsiteX3183" fmla="*/ 19737 w 614938"/>
                <a:gd name="connsiteY3183" fmla="*/ 667628 h 716071"/>
                <a:gd name="connsiteX3184" fmla="*/ 34509 w 614938"/>
                <a:gd name="connsiteY3184" fmla="*/ 653693 h 716071"/>
                <a:gd name="connsiteX3185" fmla="*/ 34031 w 614938"/>
                <a:gd name="connsiteY3185" fmla="*/ 655487 h 716071"/>
                <a:gd name="connsiteX3186" fmla="*/ 19377 w 614938"/>
                <a:gd name="connsiteY3186" fmla="*/ 667329 h 716071"/>
                <a:gd name="connsiteX3187" fmla="*/ 17046 w 614938"/>
                <a:gd name="connsiteY3187" fmla="*/ 666910 h 716071"/>
                <a:gd name="connsiteX3188" fmla="*/ 17046 w 614938"/>
                <a:gd name="connsiteY3188" fmla="*/ 666910 h 716071"/>
                <a:gd name="connsiteX3189" fmla="*/ 17046 w 614938"/>
                <a:gd name="connsiteY3189" fmla="*/ 666910 h 716071"/>
                <a:gd name="connsiteX3190" fmla="*/ 15729 w 614938"/>
                <a:gd name="connsiteY3190" fmla="*/ 667149 h 716071"/>
                <a:gd name="connsiteX3191" fmla="*/ 15729 w 614938"/>
                <a:gd name="connsiteY3191" fmla="*/ 667149 h 716071"/>
                <a:gd name="connsiteX3192" fmla="*/ 15909 w 614938"/>
                <a:gd name="connsiteY3192" fmla="*/ 666731 h 716071"/>
                <a:gd name="connsiteX3193" fmla="*/ 15969 w 614938"/>
                <a:gd name="connsiteY3193" fmla="*/ 666731 h 716071"/>
                <a:gd name="connsiteX3194" fmla="*/ 15969 w 614938"/>
                <a:gd name="connsiteY3194" fmla="*/ 666731 h 716071"/>
                <a:gd name="connsiteX3195" fmla="*/ 16029 w 614938"/>
                <a:gd name="connsiteY3195" fmla="*/ 666731 h 716071"/>
                <a:gd name="connsiteX3196" fmla="*/ 16268 w 614938"/>
                <a:gd name="connsiteY3196" fmla="*/ 666731 h 716071"/>
                <a:gd name="connsiteX3197" fmla="*/ 16387 w 614938"/>
                <a:gd name="connsiteY3197" fmla="*/ 666372 h 716071"/>
                <a:gd name="connsiteX3198" fmla="*/ 16387 w 614938"/>
                <a:gd name="connsiteY3198" fmla="*/ 666372 h 716071"/>
                <a:gd name="connsiteX3199" fmla="*/ 16387 w 614938"/>
                <a:gd name="connsiteY3199" fmla="*/ 666372 h 716071"/>
                <a:gd name="connsiteX3200" fmla="*/ 16387 w 614938"/>
                <a:gd name="connsiteY3200" fmla="*/ 666372 h 716071"/>
                <a:gd name="connsiteX3201" fmla="*/ 16387 w 614938"/>
                <a:gd name="connsiteY3201" fmla="*/ 665774 h 716071"/>
                <a:gd name="connsiteX3202" fmla="*/ 16387 w 614938"/>
                <a:gd name="connsiteY3202" fmla="*/ 665774 h 716071"/>
                <a:gd name="connsiteX3203" fmla="*/ 16387 w 614938"/>
                <a:gd name="connsiteY3203" fmla="*/ 665774 h 716071"/>
                <a:gd name="connsiteX3204" fmla="*/ 16387 w 614938"/>
                <a:gd name="connsiteY3204" fmla="*/ 665774 h 716071"/>
                <a:gd name="connsiteX3205" fmla="*/ 16148 w 614938"/>
                <a:gd name="connsiteY3205" fmla="*/ 665116 h 716071"/>
                <a:gd name="connsiteX3206" fmla="*/ 16148 w 614938"/>
                <a:gd name="connsiteY3206" fmla="*/ 665116 h 716071"/>
                <a:gd name="connsiteX3207" fmla="*/ 16148 w 614938"/>
                <a:gd name="connsiteY3207" fmla="*/ 665056 h 716071"/>
                <a:gd name="connsiteX3208" fmla="*/ 16148 w 614938"/>
                <a:gd name="connsiteY3208" fmla="*/ 665056 h 716071"/>
                <a:gd name="connsiteX3209" fmla="*/ 15729 w 614938"/>
                <a:gd name="connsiteY3209" fmla="*/ 664458 h 716071"/>
                <a:gd name="connsiteX3210" fmla="*/ 15729 w 614938"/>
                <a:gd name="connsiteY3210" fmla="*/ 664458 h 716071"/>
                <a:gd name="connsiteX3211" fmla="*/ 15669 w 614938"/>
                <a:gd name="connsiteY3211" fmla="*/ 664398 h 716071"/>
                <a:gd name="connsiteX3212" fmla="*/ 15669 w 614938"/>
                <a:gd name="connsiteY3212" fmla="*/ 664398 h 716071"/>
                <a:gd name="connsiteX3213" fmla="*/ 15131 w 614938"/>
                <a:gd name="connsiteY3213" fmla="*/ 663980 h 716071"/>
                <a:gd name="connsiteX3214" fmla="*/ 15131 w 614938"/>
                <a:gd name="connsiteY3214" fmla="*/ 663980 h 716071"/>
                <a:gd name="connsiteX3215" fmla="*/ 15131 w 614938"/>
                <a:gd name="connsiteY3215" fmla="*/ 663980 h 716071"/>
                <a:gd name="connsiteX3216" fmla="*/ 14174 w 614938"/>
                <a:gd name="connsiteY3216" fmla="*/ 663382 h 716071"/>
                <a:gd name="connsiteX3217" fmla="*/ 14174 w 614938"/>
                <a:gd name="connsiteY3217" fmla="*/ 663382 h 716071"/>
                <a:gd name="connsiteX3218" fmla="*/ 14174 w 614938"/>
                <a:gd name="connsiteY3218" fmla="*/ 663382 h 716071"/>
                <a:gd name="connsiteX3219" fmla="*/ 14174 w 614938"/>
                <a:gd name="connsiteY3219" fmla="*/ 663382 h 716071"/>
                <a:gd name="connsiteX3220" fmla="*/ 13397 w 614938"/>
                <a:gd name="connsiteY3220" fmla="*/ 663083 h 716071"/>
                <a:gd name="connsiteX3221" fmla="*/ 13397 w 614938"/>
                <a:gd name="connsiteY3221" fmla="*/ 663083 h 716071"/>
                <a:gd name="connsiteX3222" fmla="*/ 13397 w 614938"/>
                <a:gd name="connsiteY3222" fmla="*/ 663083 h 716071"/>
                <a:gd name="connsiteX3223" fmla="*/ 13338 w 614938"/>
                <a:gd name="connsiteY3223" fmla="*/ 663083 h 716071"/>
                <a:gd name="connsiteX3224" fmla="*/ 13338 w 614938"/>
                <a:gd name="connsiteY3224" fmla="*/ 663083 h 716071"/>
                <a:gd name="connsiteX3225" fmla="*/ 13338 w 614938"/>
                <a:gd name="connsiteY3225" fmla="*/ 663083 h 716071"/>
                <a:gd name="connsiteX3226" fmla="*/ 12620 w 614938"/>
                <a:gd name="connsiteY3226" fmla="*/ 663083 h 716071"/>
                <a:gd name="connsiteX3227" fmla="*/ 12620 w 614938"/>
                <a:gd name="connsiteY3227" fmla="*/ 663083 h 716071"/>
                <a:gd name="connsiteX3228" fmla="*/ 12620 w 614938"/>
                <a:gd name="connsiteY3228" fmla="*/ 663083 h 716071"/>
                <a:gd name="connsiteX3229" fmla="*/ 12620 w 614938"/>
                <a:gd name="connsiteY3229" fmla="*/ 663083 h 716071"/>
                <a:gd name="connsiteX3230" fmla="*/ 12620 w 614938"/>
                <a:gd name="connsiteY3230" fmla="*/ 663083 h 716071"/>
                <a:gd name="connsiteX3231" fmla="*/ 12620 w 614938"/>
                <a:gd name="connsiteY3231" fmla="*/ 663083 h 716071"/>
                <a:gd name="connsiteX3232" fmla="*/ 12321 w 614938"/>
                <a:gd name="connsiteY3232" fmla="*/ 663322 h 716071"/>
                <a:gd name="connsiteX3233" fmla="*/ 11005 w 614938"/>
                <a:gd name="connsiteY3233" fmla="*/ 661946 h 716071"/>
                <a:gd name="connsiteX3234" fmla="*/ 16387 w 614938"/>
                <a:gd name="connsiteY3234" fmla="*/ 662903 h 716071"/>
                <a:gd name="connsiteX3235" fmla="*/ 19377 w 614938"/>
                <a:gd name="connsiteY3235" fmla="*/ 667329 h 716071"/>
                <a:gd name="connsiteX3236" fmla="*/ 19377 w 614938"/>
                <a:gd name="connsiteY3236" fmla="*/ 667329 h 716071"/>
                <a:gd name="connsiteX3237" fmla="*/ 9151 w 614938"/>
                <a:gd name="connsiteY3237" fmla="*/ 661468 h 716071"/>
                <a:gd name="connsiteX3238" fmla="*/ 9270 w 614938"/>
                <a:gd name="connsiteY3238" fmla="*/ 661468 h 716071"/>
                <a:gd name="connsiteX3239" fmla="*/ 5862 w 614938"/>
                <a:gd name="connsiteY3239" fmla="*/ 662006 h 716071"/>
                <a:gd name="connsiteX3240" fmla="*/ 5742 w 614938"/>
                <a:gd name="connsiteY3240" fmla="*/ 662006 h 716071"/>
                <a:gd name="connsiteX3241" fmla="*/ 9151 w 614938"/>
                <a:gd name="connsiteY3241" fmla="*/ 661468 h 716071"/>
                <a:gd name="connsiteX3242" fmla="*/ 4725 w 614938"/>
                <a:gd name="connsiteY3242" fmla="*/ 662185 h 716071"/>
                <a:gd name="connsiteX3243" fmla="*/ 5503 w 614938"/>
                <a:gd name="connsiteY3243" fmla="*/ 662305 h 716071"/>
                <a:gd name="connsiteX3244" fmla="*/ 3290 w 614938"/>
                <a:gd name="connsiteY3244" fmla="*/ 664398 h 716071"/>
                <a:gd name="connsiteX3245" fmla="*/ 2452 w 614938"/>
                <a:gd name="connsiteY3245" fmla="*/ 664339 h 716071"/>
                <a:gd name="connsiteX3246" fmla="*/ 4725 w 614938"/>
                <a:gd name="connsiteY3246" fmla="*/ 662185 h 716071"/>
                <a:gd name="connsiteX3247" fmla="*/ 1735 w 614938"/>
                <a:gd name="connsiteY3247" fmla="*/ 665176 h 716071"/>
                <a:gd name="connsiteX3248" fmla="*/ 1376 w 614938"/>
                <a:gd name="connsiteY3248" fmla="*/ 668405 h 716071"/>
                <a:gd name="connsiteX3249" fmla="*/ 299 w 614938"/>
                <a:gd name="connsiteY3249" fmla="*/ 669781 h 716071"/>
                <a:gd name="connsiteX3250" fmla="*/ 659 w 614938"/>
                <a:gd name="connsiteY3250" fmla="*/ 666492 h 716071"/>
                <a:gd name="connsiteX3251" fmla="*/ 1735 w 614938"/>
                <a:gd name="connsiteY3251" fmla="*/ 665176 h 716071"/>
                <a:gd name="connsiteX3252" fmla="*/ 1495 w 614938"/>
                <a:gd name="connsiteY3252" fmla="*/ 668944 h 716071"/>
                <a:gd name="connsiteX3253" fmla="*/ 3110 w 614938"/>
                <a:gd name="connsiteY3253" fmla="*/ 673848 h 716071"/>
                <a:gd name="connsiteX3254" fmla="*/ 1795 w 614938"/>
                <a:gd name="connsiteY3254" fmla="*/ 675522 h 716071"/>
                <a:gd name="connsiteX3255" fmla="*/ 239 w 614938"/>
                <a:gd name="connsiteY3255" fmla="*/ 670618 h 716071"/>
                <a:gd name="connsiteX3256" fmla="*/ 1495 w 614938"/>
                <a:gd name="connsiteY3256" fmla="*/ 668944 h 716071"/>
                <a:gd name="connsiteX3257" fmla="*/ 3290 w 614938"/>
                <a:gd name="connsiteY3257" fmla="*/ 674267 h 716071"/>
                <a:gd name="connsiteX3258" fmla="*/ 6938 w 614938"/>
                <a:gd name="connsiteY3258" fmla="*/ 680307 h 716071"/>
                <a:gd name="connsiteX3259" fmla="*/ 5562 w 614938"/>
                <a:gd name="connsiteY3259" fmla="*/ 682042 h 716071"/>
                <a:gd name="connsiteX3260" fmla="*/ 1974 w 614938"/>
                <a:gd name="connsiteY3260" fmla="*/ 676001 h 716071"/>
                <a:gd name="connsiteX3261" fmla="*/ 3290 w 614938"/>
                <a:gd name="connsiteY3261" fmla="*/ 674267 h 716071"/>
                <a:gd name="connsiteX3262" fmla="*/ 7177 w 614938"/>
                <a:gd name="connsiteY3262" fmla="*/ 680666 h 716071"/>
                <a:gd name="connsiteX3263" fmla="*/ 12620 w 614938"/>
                <a:gd name="connsiteY3263" fmla="*/ 687245 h 716071"/>
                <a:gd name="connsiteX3264" fmla="*/ 11244 w 614938"/>
                <a:gd name="connsiteY3264" fmla="*/ 688979 h 716071"/>
                <a:gd name="connsiteX3265" fmla="*/ 5802 w 614938"/>
                <a:gd name="connsiteY3265" fmla="*/ 682400 h 716071"/>
                <a:gd name="connsiteX3266" fmla="*/ 7177 w 614938"/>
                <a:gd name="connsiteY3266" fmla="*/ 680666 h 716071"/>
                <a:gd name="connsiteX3267" fmla="*/ 12919 w 614938"/>
                <a:gd name="connsiteY3267" fmla="*/ 687544 h 716071"/>
                <a:gd name="connsiteX3268" fmla="*/ 19797 w 614938"/>
                <a:gd name="connsiteY3268" fmla="*/ 694242 h 716071"/>
                <a:gd name="connsiteX3269" fmla="*/ 18421 w 614938"/>
                <a:gd name="connsiteY3269" fmla="*/ 695977 h 716071"/>
                <a:gd name="connsiteX3270" fmla="*/ 11543 w 614938"/>
                <a:gd name="connsiteY3270" fmla="*/ 689278 h 716071"/>
                <a:gd name="connsiteX3271" fmla="*/ 12919 w 614938"/>
                <a:gd name="connsiteY3271" fmla="*/ 687544 h 716071"/>
                <a:gd name="connsiteX3272" fmla="*/ 20096 w 614938"/>
                <a:gd name="connsiteY3272" fmla="*/ 694541 h 716071"/>
                <a:gd name="connsiteX3273" fmla="*/ 27870 w 614938"/>
                <a:gd name="connsiteY3273" fmla="*/ 700761 h 716071"/>
                <a:gd name="connsiteX3274" fmla="*/ 26495 w 614938"/>
                <a:gd name="connsiteY3274" fmla="*/ 702496 h 716071"/>
                <a:gd name="connsiteX3275" fmla="*/ 18720 w 614938"/>
                <a:gd name="connsiteY3275" fmla="*/ 696276 h 716071"/>
                <a:gd name="connsiteX3276" fmla="*/ 20096 w 614938"/>
                <a:gd name="connsiteY3276" fmla="*/ 694541 h 716071"/>
                <a:gd name="connsiteX3277" fmla="*/ 28230 w 614938"/>
                <a:gd name="connsiteY3277" fmla="*/ 701000 h 716071"/>
                <a:gd name="connsiteX3278" fmla="*/ 36303 w 614938"/>
                <a:gd name="connsiteY3278" fmla="*/ 706323 h 716071"/>
                <a:gd name="connsiteX3279" fmla="*/ 34928 w 614938"/>
                <a:gd name="connsiteY3279" fmla="*/ 708058 h 716071"/>
                <a:gd name="connsiteX3280" fmla="*/ 26853 w 614938"/>
                <a:gd name="connsiteY3280" fmla="*/ 702735 h 716071"/>
                <a:gd name="connsiteX3281" fmla="*/ 28230 w 614938"/>
                <a:gd name="connsiteY3281" fmla="*/ 701000 h 716071"/>
                <a:gd name="connsiteX3282" fmla="*/ 36662 w 614938"/>
                <a:gd name="connsiteY3282" fmla="*/ 706562 h 716071"/>
                <a:gd name="connsiteX3283" fmla="*/ 44437 w 614938"/>
                <a:gd name="connsiteY3283" fmla="*/ 710570 h 716071"/>
                <a:gd name="connsiteX3284" fmla="*/ 43062 w 614938"/>
                <a:gd name="connsiteY3284" fmla="*/ 712304 h 716071"/>
                <a:gd name="connsiteX3285" fmla="*/ 35286 w 614938"/>
                <a:gd name="connsiteY3285" fmla="*/ 708297 h 716071"/>
                <a:gd name="connsiteX3286" fmla="*/ 36662 w 614938"/>
                <a:gd name="connsiteY3286" fmla="*/ 706562 h 716071"/>
                <a:gd name="connsiteX3287" fmla="*/ 44855 w 614938"/>
                <a:gd name="connsiteY3287" fmla="*/ 710749 h 716071"/>
                <a:gd name="connsiteX3288" fmla="*/ 51733 w 614938"/>
                <a:gd name="connsiteY3288" fmla="*/ 713201 h 716071"/>
                <a:gd name="connsiteX3289" fmla="*/ 50358 w 614938"/>
                <a:gd name="connsiteY3289" fmla="*/ 714876 h 716071"/>
                <a:gd name="connsiteX3290" fmla="*/ 43480 w 614938"/>
                <a:gd name="connsiteY3290" fmla="*/ 712483 h 716071"/>
                <a:gd name="connsiteX3291" fmla="*/ 44855 w 614938"/>
                <a:gd name="connsiteY3291" fmla="*/ 710749 h 716071"/>
                <a:gd name="connsiteX3292" fmla="*/ 52212 w 614938"/>
                <a:gd name="connsiteY3292" fmla="*/ 713321 h 716071"/>
                <a:gd name="connsiteX3293" fmla="*/ 57654 w 614938"/>
                <a:gd name="connsiteY3293" fmla="*/ 714038 h 716071"/>
                <a:gd name="connsiteX3294" fmla="*/ 56339 w 614938"/>
                <a:gd name="connsiteY3294" fmla="*/ 715653 h 716071"/>
                <a:gd name="connsiteX3295" fmla="*/ 50896 w 614938"/>
                <a:gd name="connsiteY3295" fmla="*/ 714935 h 716071"/>
                <a:gd name="connsiteX3296" fmla="*/ 52212 w 614938"/>
                <a:gd name="connsiteY3296" fmla="*/ 713321 h 716071"/>
                <a:gd name="connsiteX3297" fmla="*/ 58193 w 614938"/>
                <a:gd name="connsiteY3297" fmla="*/ 714098 h 716071"/>
                <a:gd name="connsiteX3298" fmla="*/ 61721 w 614938"/>
                <a:gd name="connsiteY3298" fmla="*/ 713261 h 716071"/>
                <a:gd name="connsiteX3299" fmla="*/ 60585 w 614938"/>
                <a:gd name="connsiteY3299" fmla="*/ 714696 h 716071"/>
                <a:gd name="connsiteX3300" fmla="*/ 57056 w 614938"/>
                <a:gd name="connsiteY3300" fmla="*/ 715593 h 716071"/>
                <a:gd name="connsiteX3301" fmla="*/ 58193 w 614938"/>
                <a:gd name="connsiteY3301" fmla="*/ 714098 h 716071"/>
                <a:gd name="connsiteX3302" fmla="*/ 62020 w 614938"/>
                <a:gd name="connsiteY3302" fmla="*/ 711646 h 716071"/>
                <a:gd name="connsiteX3303" fmla="*/ 63934 w 614938"/>
                <a:gd name="connsiteY3303" fmla="*/ 709254 h 716071"/>
                <a:gd name="connsiteX3304" fmla="*/ 64233 w 614938"/>
                <a:gd name="connsiteY3304" fmla="*/ 710031 h 716071"/>
                <a:gd name="connsiteX3305" fmla="*/ 62319 w 614938"/>
                <a:gd name="connsiteY3305" fmla="*/ 712483 h 716071"/>
                <a:gd name="connsiteX3306" fmla="*/ 62020 w 614938"/>
                <a:gd name="connsiteY3306" fmla="*/ 711646 h 716071"/>
                <a:gd name="connsiteX3307" fmla="*/ 64174 w 614938"/>
                <a:gd name="connsiteY3307" fmla="*/ 708955 h 716071"/>
                <a:gd name="connsiteX3308" fmla="*/ 64233 w 614938"/>
                <a:gd name="connsiteY3308" fmla="*/ 705605 h 716071"/>
                <a:gd name="connsiteX3309" fmla="*/ 64353 w 614938"/>
                <a:gd name="connsiteY3309" fmla="*/ 705905 h 716071"/>
                <a:gd name="connsiteX3310" fmla="*/ 64293 w 614938"/>
                <a:gd name="connsiteY3310" fmla="*/ 709314 h 716071"/>
                <a:gd name="connsiteX3311" fmla="*/ 64174 w 614938"/>
                <a:gd name="connsiteY3311" fmla="*/ 708955 h 716071"/>
                <a:gd name="connsiteX3312" fmla="*/ 56339 w 614938"/>
                <a:gd name="connsiteY3312" fmla="*/ 696754 h 716071"/>
                <a:gd name="connsiteX3313" fmla="*/ 56159 w 614938"/>
                <a:gd name="connsiteY3313" fmla="*/ 696276 h 716071"/>
                <a:gd name="connsiteX3314" fmla="*/ 58193 w 614938"/>
                <a:gd name="connsiteY3314" fmla="*/ 693584 h 716071"/>
                <a:gd name="connsiteX3315" fmla="*/ 61662 w 614938"/>
                <a:gd name="connsiteY3315" fmla="*/ 699146 h 716071"/>
                <a:gd name="connsiteX3316" fmla="*/ 56339 w 614938"/>
                <a:gd name="connsiteY3316" fmla="*/ 696754 h 716071"/>
                <a:gd name="connsiteX3317" fmla="*/ 438387 w 614938"/>
                <a:gd name="connsiteY3317" fmla="*/ 243834 h 716071"/>
                <a:gd name="connsiteX3318" fmla="*/ 438387 w 614938"/>
                <a:gd name="connsiteY3318" fmla="*/ 243834 h 716071"/>
                <a:gd name="connsiteX3319" fmla="*/ 438268 w 614938"/>
                <a:gd name="connsiteY3319" fmla="*/ 243475 h 716071"/>
                <a:gd name="connsiteX3320" fmla="*/ 438268 w 614938"/>
                <a:gd name="connsiteY3320" fmla="*/ 243475 h 716071"/>
                <a:gd name="connsiteX3321" fmla="*/ 437969 w 614938"/>
                <a:gd name="connsiteY3321" fmla="*/ 242698 h 716071"/>
                <a:gd name="connsiteX3322" fmla="*/ 437909 w 614938"/>
                <a:gd name="connsiteY3322" fmla="*/ 242638 h 716071"/>
                <a:gd name="connsiteX3323" fmla="*/ 437849 w 614938"/>
                <a:gd name="connsiteY3323" fmla="*/ 242458 h 716071"/>
                <a:gd name="connsiteX3324" fmla="*/ 437610 w 614938"/>
                <a:gd name="connsiteY3324" fmla="*/ 242458 h 716071"/>
                <a:gd name="connsiteX3325" fmla="*/ 437191 w 614938"/>
                <a:gd name="connsiteY3325" fmla="*/ 242937 h 716071"/>
                <a:gd name="connsiteX3326" fmla="*/ 411056 w 614938"/>
                <a:gd name="connsiteY3326" fmla="*/ 222423 h 716071"/>
                <a:gd name="connsiteX3327" fmla="*/ 411713 w 614938"/>
                <a:gd name="connsiteY3327" fmla="*/ 221945 h 716071"/>
                <a:gd name="connsiteX3328" fmla="*/ 437430 w 614938"/>
                <a:gd name="connsiteY3328" fmla="*/ 242159 h 716071"/>
                <a:gd name="connsiteX3329" fmla="*/ 437670 w 614938"/>
                <a:gd name="connsiteY3329" fmla="*/ 242159 h 716071"/>
                <a:gd name="connsiteX3330" fmla="*/ 437610 w 614938"/>
                <a:gd name="connsiteY3330" fmla="*/ 241920 h 716071"/>
                <a:gd name="connsiteX3331" fmla="*/ 411952 w 614938"/>
                <a:gd name="connsiteY3331" fmla="*/ 221765 h 716071"/>
                <a:gd name="connsiteX3332" fmla="*/ 414225 w 614938"/>
                <a:gd name="connsiteY3332" fmla="*/ 220091 h 716071"/>
                <a:gd name="connsiteX3333" fmla="*/ 422299 w 614938"/>
                <a:gd name="connsiteY3333" fmla="*/ 221167 h 716071"/>
                <a:gd name="connsiteX3334" fmla="*/ 422240 w 614938"/>
                <a:gd name="connsiteY3334" fmla="*/ 225294 h 716071"/>
                <a:gd name="connsiteX3335" fmla="*/ 422240 w 614938"/>
                <a:gd name="connsiteY3335" fmla="*/ 225294 h 716071"/>
                <a:gd name="connsiteX3336" fmla="*/ 422240 w 614938"/>
                <a:gd name="connsiteY3336" fmla="*/ 225354 h 716071"/>
                <a:gd name="connsiteX3337" fmla="*/ 422240 w 614938"/>
                <a:gd name="connsiteY3337" fmla="*/ 225354 h 716071"/>
                <a:gd name="connsiteX3338" fmla="*/ 422240 w 614938"/>
                <a:gd name="connsiteY3338" fmla="*/ 225354 h 716071"/>
                <a:gd name="connsiteX3339" fmla="*/ 426067 w 614938"/>
                <a:gd name="connsiteY3339" fmla="*/ 229899 h 716071"/>
                <a:gd name="connsiteX3340" fmla="*/ 426067 w 614938"/>
                <a:gd name="connsiteY3340" fmla="*/ 229899 h 716071"/>
                <a:gd name="connsiteX3341" fmla="*/ 426067 w 614938"/>
                <a:gd name="connsiteY3341" fmla="*/ 229899 h 716071"/>
                <a:gd name="connsiteX3342" fmla="*/ 429775 w 614938"/>
                <a:gd name="connsiteY3342" fmla="*/ 232471 h 716071"/>
                <a:gd name="connsiteX3343" fmla="*/ 429775 w 614938"/>
                <a:gd name="connsiteY3343" fmla="*/ 232471 h 716071"/>
                <a:gd name="connsiteX3344" fmla="*/ 429775 w 614938"/>
                <a:gd name="connsiteY3344" fmla="*/ 232471 h 716071"/>
                <a:gd name="connsiteX3345" fmla="*/ 434739 w 614938"/>
                <a:gd name="connsiteY3345" fmla="*/ 234983 h 716071"/>
                <a:gd name="connsiteX3346" fmla="*/ 434739 w 614938"/>
                <a:gd name="connsiteY3346" fmla="*/ 234983 h 716071"/>
                <a:gd name="connsiteX3347" fmla="*/ 434799 w 614938"/>
                <a:gd name="connsiteY3347" fmla="*/ 234983 h 716071"/>
                <a:gd name="connsiteX3348" fmla="*/ 434799 w 614938"/>
                <a:gd name="connsiteY3348" fmla="*/ 234983 h 716071"/>
                <a:gd name="connsiteX3349" fmla="*/ 434799 w 614938"/>
                <a:gd name="connsiteY3349" fmla="*/ 234983 h 716071"/>
                <a:gd name="connsiteX3350" fmla="*/ 439464 w 614938"/>
                <a:gd name="connsiteY3350" fmla="*/ 235282 h 716071"/>
                <a:gd name="connsiteX3351" fmla="*/ 440480 w 614938"/>
                <a:gd name="connsiteY3351" fmla="*/ 238033 h 716071"/>
                <a:gd name="connsiteX3352" fmla="*/ 439703 w 614938"/>
                <a:gd name="connsiteY3352" fmla="*/ 239169 h 716071"/>
                <a:gd name="connsiteX3353" fmla="*/ 436892 w 614938"/>
                <a:gd name="connsiteY3353" fmla="*/ 240186 h 716071"/>
                <a:gd name="connsiteX3354" fmla="*/ 436772 w 614938"/>
                <a:gd name="connsiteY3354" fmla="*/ 240305 h 716071"/>
                <a:gd name="connsiteX3355" fmla="*/ 436653 w 614938"/>
                <a:gd name="connsiteY3355" fmla="*/ 240365 h 716071"/>
                <a:gd name="connsiteX3356" fmla="*/ 436653 w 614938"/>
                <a:gd name="connsiteY3356" fmla="*/ 240604 h 716071"/>
                <a:gd name="connsiteX3357" fmla="*/ 438687 w 614938"/>
                <a:gd name="connsiteY3357" fmla="*/ 242937 h 716071"/>
                <a:gd name="connsiteX3358" fmla="*/ 446043 w 614938"/>
                <a:gd name="connsiteY3358" fmla="*/ 261298 h 716071"/>
                <a:gd name="connsiteX3359" fmla="*/ 444667 w 614938"/>
                <a:gd name="connsiteY3359" fmla="*/ 259683 h 716071"/>
                <a:gd name="connsiteX3360" fmla="*/ 438387 w 614938"/>
                <a:gd name="connsiteY3360" fmla="*/ 243834 h 716071"/>
                <a:gd name="connsiteX3361" fmla="*/ 446521 w 614938"/>
                <a:gd name="connsiteY3361" fmla="*/ 262314 h 716071"/>
                <a:gd name="connsiteX3362" fmla="*/ 453757 w 614938"/>
                <a:gd name="connsiteY3362" fmla="*/ 280316 h 716071"/>
                <a:gd name="connsiteX3363" fmla="*/ 452382 w 614938"/>
                <a:gd name="connsiteY3363" fmla="*/ 278702 h 716071"/>
                <a:gd name="connsiteX3364" fmla="*/ 445145 w 614938"/>
                <a:gd name="connsiteY3364" fmla="*/ 260759 h 716071"/>
                <a:gd name="connsiteX3365" fmla="*/ 446521 w 614938"/>
                <a:gd name="connsiteY3365" fmla="*/ 262314 h 716071"/>
                <a:gd name="connsiteX3366" fmla="*/ 454176 w 614938"/>
                <a:gd name="connsiteY3366" fmla="*/ 281393 h 716071"/>
                <a:gd name="connsiteX3367" fmla="*/ 461293 w 614938"/>
                <a:gd name="connsiteY3367" fmla="*/ 299096 h 716071"/>
                <a:gd name="connsiteX3368" fmla="*/ 459918 w 614938"/>
                <a:gd name="connsiteY3368" fmla="*/ 297421 h 716071"/>
                <a:gd name="connsiteX3369" fmla="*/ 452861 w 614938"/>
                <a:gd name="connsiteY3369" fmla="*/ 279778 h 716071"/>
                <a:gd name="connsiteX3370" fmla="*/ 454176 w 614938"/>
                <a:gd name="connsiteY3370" fmla="*/ 281393 h 716071"/>
                <a:gd name="connsiteX3371" fmla="*/ 461712 w 614938"/>
                <a:gd name="connsiteY3371" fmla="*/ 300172 h 716071"/>
                <a:gd name="connsiteX3372" fmla="*/ 468650 w 614938"/>
                <a:gd name="connsiteY3372" fmla="*/ 317516 h 716071"/>
                <a:gd name="connsiteX3373" fmla="*/ 467274 w 614938"/>
                <a:gd name="connsiteY3373" fmla="*/ 315782 h 716071"/>
                <a:gd name="connsiteX3374" fmla="*/ 460337 w 614938"/>
                <a:gd name="connsiteY3374" fmla="*/ 298438 h 716071"/>
                <a:gd name="connsiteX3375" fmla="*/ 461712 w 614938"/>
                <a:gd name="connsiteY3375" fmla="*/ 300172 h 716071"/>
                <a:gd name="connsiteX3376" fmla="*/ 469128 w 614938"/>
                <a:gd name="connsiteY3376" fmla="*/ 318713 h 716071"/>
                <a:gd name="connsiteX3377" fmla="*/ 475946 w 614938"/>
                <a:gd name="connsiteY3377" fmla="*/ 335758 h 716071"/>
                <a:gd name="connsiteX3378" fmla="*/ 474571 w 614938"/>
                <a:gd name="connsiteY3378" fmla="*/ 334023 h 716071"/>
                <a:gd name="connsiteX3379" fmla="*/ 467753 w 614938"/>
                <a:gd name="connsiteY3379" fmla="*/ 317038 h 716071"/>
                <a:gd name="connsiteX3380" fmla="*/ 469128 w 614938"/>
                <a:gd name="connsiteY3380" fmla="*/ 318713 h 716071"/>
                <a:gd name="connsiteX3381" fmla="*/ 476425 w 614938"/>
                <a:gd name="connsiteY3381" fmla="*/ 336954 h 716071"/>
                <a:gd name="connsiteX3382" fmla="*/ 483123 w 614938"/>
                <a:gd name="connsiteY3382" fmla="*/ 353700 h 716071"/>
                <a:gd name="connsiteX3383" fmla="*/ 481747 w 614938"/>
                <a:gd name="connsiteY3383" fmla="*/ 351906 h 716071"/>
                <a:gd name="connsiteX3384" fmla="*/ 475049 w 614938"/>
                <a:gd name="connsiteY3384" fmla="*/ 335219 h 716071"/>
                <a:gd name="connsiteX3385" fmla="*/ 476425 w 614938"/>
                <a:gd name="connsiteY3385" fmla="*/ 336954 h 716071"/>
                <a:gd name="connsiteX3386" fmla="*/ 483661 w 614938"/>
                <a:gd name="connsiteY3386" fmla="*/ 354896 h 716071"/>
                <a:gd name="connsiteX3387" fmla="*/ 490240 w 614938"/>
                <a:gd name="connsiteY3387" fmla="*/ 371343 h 716071"/>
                <a:gd name="connsiteX3388" fmla="*/ 488864 w 614938"/>
                <a:gd name="connsiteY3388" fmla="*/ 369489 h 716071"/>
                <a:gd name="connsiteX3389" fmla="*/ 482286 w 614938"/>
                <a:gd name="connsiteY3389" fmla="*/ 353102 h 716071"/>
                <a:gd name="connsiteX3390" fmla="*/ 483661 w 614938"/>
                <a:gd name="connsiteY3390" fmla="*/ 354896 h 716071"/>
                <a:gd name="connsiteX3391" fmla="*/ 490719 w 614938"/>
                <a:gd name="connsiteY3391" fmla="*/ 372539 h 716071"/>
                <a:gd name="connsiteX3392" fmla="*/ 497177 w 614938"/>
                <a:gd name="connsiteY3392" fmla="*/ 388687 h 716071"/>
                <a:gd name="connsiteX3393" fmla="*/ 495802 w 614938"/>
                <a:gd name="connsiteY3393" fmla="*/ 386833 h 716071"/>
                <a:gd name="connsiteX3394" fmla="*/ 489343 w 614938"/>
                <a:gd name="connsiteY3394" fmla="*/ 370745 h 716071"/>
                <a:gd name="connsiteX3395" fmla="*/ 490719 w 614938"/>
                <a:gd name="connsiteY3395" fmla="*/ 372539 h 716071"/>
                <a:gd name="connsiteX3396" fmla="*/ 497716 w 614938"/>
                <a:gd name="connsiteY3396" fmla="*/ 390003 h 716071"/>
                <a:gd name="connsiteX3397" fmla="*/ 504055 w 614938"/>
                <a:gd name="connsiteY3397" fmla="*/ 405852 h 716071"/>
                <a:gd name="connsiteX3398" fmla="*/ 502620 w 614938"/>
                <a:gd name="connsiteY3398" fmla="*/ 403938 h 716071"/>
                <a:gd name="connsiteX3399" fmla="*/ 496281 w 614938"/>
                <a:gd name="connsiteY3399" fmla="*/ 388089 h 716071"/>
                <a:gd name="connsiteX3400" fmla="*/ 497716 w 614938"/>
                <a:gd name="connsiteY3400" fmla="*/ 390003 h 716071"/>
                <a:gd name="connsiteX3401" fmla="*/ 504594 w 614938"/>
                <a:gd name="connsiteY3401" fmla="*/ 407108 h 716071"/>
                <a:gd name="connsiteX3402" fmla="*/ 510874 w 614938"/>
                <a:gd name="connsiteY3402" fmla="*/ 422717 h 716071"/>
                <a:gd name="connsiteX3403" fmla="*/ 509438 w 614938"/>
                <a:gd name="connsiteY3403" fmla="*/ 420804 h 716071"/>
                <a:gd name="connsiteX3404" fmla="*/ 503218 w 614938"/>
                <a:gd name="connsiteY3404" fmla="*/ 405254 h 716071"/>
                <a:gd name="connsiteX3405" fmla="*/ 504594 w 614938"/>
                <a:gd name="connsiteY3405" fmla="*/ 407108 h 716071"/>
                <a:gd name="connsiteX3406" fmla="*/ 518290 w 614938"/>
                <a:gd name="connsiteY3406" fmla="*/ 440361 h 716071"/>
                <a:gd name="connsiteX3407" fmla="*/ 511771 w 614938"/>
                <a:gd name="connsiteY3407" fmla="*/ 424093 h 716071"/>
                <a:gd name="connsiteX3408" fmla="*/ 518589 w 614938"/>
                <a:gd name="connsiteY3408" fmla="*/ 420744 h 716071"/>
                <a:gd name="connsiteX3409" fmla="*/ 523553 w 614938"/>
                <a:gd name="connsiteY3409" fmla="*/ 436652 h 716071"/>
                <a:gd name="connsiteX3410" fmla="*/ 518290 w 614938"/>
                <a:gd name="connsiteY3410" fmla="*/ 440361 h 716071"/>
                <a:gd name="connsiteX3411" fmla="*/ 460217 w 614938"/>
                <a:gd name="connsiteY3411" fmla="*/ 242937 h 716071"/>
                <a:gd name="connsiteX3412" fmla="*/ 449213 w 614938"/>
                <a:gd name="connsiteY3412" fmla="*/ 238631 h 716071"/>
                <a:gd name="connsiteX3413" fmla="*/ 449153 w 614938"/>
                <a:gd name="connsiteY3413" fmla="*/ 238392 h 716071"/>
                <a:gd name="connsiteX3414" fmla="*/ 460217 w 614938"/>
                <a:gd name="connsiteY3414" fmla="*/ 242937 h 716071"/>
                <a:gd name="connsiteX3415" fmla="*/ 453638 w 614938"/>
                <a:gd name="connsiteY3415" fmla="*/ 221526 h 716071"/>
                <a:gd name="connsiteX3416" fmla="*/ 453638 w 614938"/>
                <a:gd name="connsiteY3416" fmla="*/ 221526 h 716071"/>
                <a:gd name="connsiteX3417" fmla="*/ 459559 w 614938"/>
                <a:gd name="connsiteY3417" fmla="*/ 212854 h 716071"/>
                <a:gd name="connsiteX3418" fmla="*/ 459559 w 614938"/>
                <a:gd name="connsiteY3418" fmla="*/ 212854 h 716071"/>
                <a:gd name="connsiteX3419" fmla="*/ 453638 w 614938"/>
                <a:gd name="connsiteY3419" fmla="*/ 221526 h 716071"/>
                <a:gd name="connsiteX3420" fmla="*/ 458243 w 614938"/>
                <a:gd name="connsiteY3420" fmla="*/ 206455 h 716071"/>
                <a:gd name="connsiteX3421" fmla="*/ 447956 w 614938"/>
                <a:gd name="connsiteY3421" fmla="*/ 181575 h 716071"/>
                <a:gd name="connsiteX3422" fmla="*/ 461832 w 614938"/>
                <a:gd name="connsiteY3422" fmla="*/ 165845 h 716071"/>
                <a:gd name="connsiteX3423" fmla="*/ 471759 w 614938"/>
                <a:gd name="connsiteY3423" fmla="*/ 189170 h 716071"/>
                <a:gd name="connsiteX3424" fmla="*/ 458243 w 614938"/>
                <a:gd name="connsiteY3424" fmla="*/ 206455 h 716071"/>
                <a:gd name="connsiteX3425" fmla="*/ 475587 w 614938"/>
                <a:gd name="connsiteY3425" fmla="*/ 149219 h 716071"/>
                <a:gd name="connsiteX3426" fmla="*/ 475767 w 614938"/>
                <a:gd name="connsiteY3426" fmla="*/ 149398 h 716071"/>
                <a:gd name="connsiteX3427" fmla="*/ 461772 w 614938"/>
                <a:gd name="connsiteY3427" fmla="*/ 165247 h 716071"/>
                <a:gd name="connsiteX3428" fmla="*/ 461592 w 614938"/>
                <a:gd name="connsiteY3428" fmla="*/ 165068 h 716071"/>
                <a:gd name="connsiteX3429" fmla="*/ 475587 w 614938"/>
                <a:gd name="connsiteY3429" fmla="*/ 149219 h 716071"/>
                <a:gd name="connsiteX3430" fmla="*/ 471939 w 614938"/>
                <a:gd name="connsiteY3430" fmla="*/ 188811 h 716071"/>
                <a:gd name="connsiteX3431" fmla="*/ 462011 w 614938"/>
                <a:gd name="connsiteY3431" fmla="*/ 165487 h 716071"/>
                <a:gd name="connsiteX3432" fmla="*/ 476006 w 614938"/>
                <a:gd name="connsiteY3432" fmla="*/ 149697 h 716071"/>
                <a:gd name="connsiteX3433" fmla="*/ 485515 w 614938"/>
                <a:gd name="connsiteY3433" fmla="*/ 171407 h 716071"/>
                <a:gd name="connsiteX3434" fmla="*/ 471939 w 614938"/>
                <a:gd name="connsiteY3434" fmla="*/ 188811 h 716071"/>
                <a:gd name="connsiteX3435" fmla="*/ 485815 w 614938"/>
                <a:gd name="connsiteY3435" fmla="*/ 171108 h 716071"/>
                <a:gd name="connsiteX3436" fmla="*/ 476305 w 614938"/>
                <a:gd name="connsiteY3436" fmla="*/ 149398 h 716071"/>
                <a:gd name="connsiteX3437" fmla="*/ 490359 w 614938"/>
                <a:gd name="connsiteY3437" fmla="*/ 133490 h 716071"/>
                <a:gd name="connsiteX3438" fmla="*/ 499510 w 614938"/>
                <a:gd name="connsiteY3438" fmla="*/ 153525 h 716071"/>
                <a:gd name="connsiteX3439" fmla="*/ 485815 w 614938"/>
                <a:gd name="connsiteY3439" fmla="*/ 171108 h 716071"/>
                <a:gd name="connsiteX3440" fmla="*/ 541914 w 614938"/>
                <a:gd name="connsiteY3440" fmla="*/ 99160 h 716071"/>
                <a:gd name="connsiteX3441" fmla="*/ 527919 w 614938"/>
                <a:gd name="connsiteY3441" fmla="*/ 117103 h 716071"/>
                <a:gd name="connsiteX3442" fmla="*/ 519545 w 614938"/>
                <a:gd name="connsiteY3442" fmla="*/ 100476 h 716071"/>
                <a:gd name="connsiteX3443" fmla="*/ 533839 w 614938"/>
                <a:gd name="connsiteY3443" fmla="*/ 84268 h 716071"/>
                <a:gd name="connsiteX3444" fmla="*/ 541914 w 614938"/>
                <a:gd name="connsiteY3444" fmla="*/ 99160 h 716071"/>
                <a:gd name="connsiteX3445" fmla="*/ 527680 w 614938"/>
                <a:gd name="connsiteY3445" fmla="*/ 117402 h 716071"/>
                <a:gd name="connsiteX3446" fmla="*/ 513804 w 614938"/>
                <a:gd name="connsiteY3446" fmla="*/ 135224 h 716071"/>
                <a:gd name="connsiteX3447" fmla="*/ 505072 w 614938"/>
                <a:gd name="connsiteY3447" fmla="*/ 116863 h 716071"/>
                <a:gd name="connsiteX3448" fmla="*/ 519307 w 614938"/>
                <a:gd name="connsiteY3448" fmla="*/ 100775 h 716071"/>
                <a:gd name="connsiteX3449" fmla="*/ 527680 w 614938"/>
                <a:gd name="connsiteY3449" fmla="*/ 117402 h 716071"/>
                <a:gd name="connsiteX3450" fmla="*/ 513505 w 614938"/>
                <a:gd name="connsiteY3450" fmla="*/ 135523 h 716071"/>
                <a:gd name="connsiteX3451" fmla="*/ 499690 w 614938"/>
                <a:gd name="connsiteY3451" fmla="*/ 153166 h 716071"/>
                <a:gd name="connsiteX3452" fmla="*/ 490539 w 614938"/>
                <a:gd name="connsiteY3452" fmla="*/ 133131 h 716071"/>
                <a:gd name="connsiteX3453" fmla="*/ 504713 w 614938"/>
                <a:gd name="connsiteY3453" fmla="*/ 117103 h 716071"/>
                <a:gd name="connsiteX3454" fmla="*/ 513505 w 614938"/>
                <a:gd name="connsiteY3454" fmla="*/ 135523 h 716071"/>
                <a:gd name="connsiteX3455" fmla="*/ 542153 w 614938"/>
                <a:gd name="connsiteY3455" fmla="*/ 98861 h 716071"/>
                <a:gd name="connsiteX3456" fmla="*/ 534079 w 614938"/>
                <a:gd name="connsiteY3456" fmla="*/ 83969 h 716071"/>
                <a:gd name="connsiteX3457" fmla="*/ 548493 w 614938"/>
                <a:gd name="connsiteY3457" fmla="*/ 67642 h 716071"/>
                <a:gd name="connsiteX3458" fmla="*/ 556267 w 614938"/>
                <a:gd name="connsiteY3458" fmla="*/ 80740 h 716071"/>
                <a:gd name="connsiteX3459" fmla="*/ 542153 w 614938"/>
                <a:gd name="connsiteY3459" fmla="*/ 98861 h 716071"/>
                <a:gd name="connsiteX3460" fmla="*/ 556507 w 614938"/>
                <a:gd name="connsiteY3460" fmla="*/ 80501 h 716071"/>
                <a:gd name="connsiteX3461" fmla="*/ 548791 w 614938"/>
                <a:gd name="connsiteY3461" fmla="*/ 67403 h 716071"/>
                <a:gd name="connsiteX3462" fmla="*/ 563325 w 614938"/>
                <a:gd name="connsiteY3462" fmla="*/ 51016 h 716071"/>
                <a:gd name="connsiteX3463" fmla="*/ 570741 w 614938"/>
                <a:gd name="connsiteY3463" fmla="*/ 62319 h 716071"/>
                <a:gd name="connsiteX3464" fmla="*/ 556507 w 614938"/>
                <a:gd name="connsiteY3464" fmla="*/ 80501 h 716071"/>
                <a:gd name="connsiteX3465" fmla="*/ 570920 w 614938"/>
                <a:gd name="connsiteY3465" fmla="*/ 61960 h 716071"/>
                <a:gd name="connsiteX3466" fmla="*/ 563504 w 614938"/>
                <a:gd name="connsiteY3466" fmla="*/ 50717 h 716071"/>
                <a:gd name="connsiteX3467" fmla="*/ 578097 w 614938"/>
                <a:gd name="connsiteY3467" fmla="*/ 34210 h 716071"/>
                <a:gd name="connsiteX3468" fmla="*/ 585274 w 614938"/>
                <a:gd name="connsiteY3468" fmla="*/ 43659 h 716071"/>
                <a:gd name="connsiteX3469" fmla="*/ 570920 w 614938"/>
                <a:gd name="connsiteY3469" fmla="*/ 61960 h 716071"/>
                <a:gd name="connsiteX3470" fmla="*/ 585453 w 614938"/>
                <a:gd name="connsiteY3470" fmla="*/ 43360 h 716071"/>
                <a:gd name="connsiteX3471" fmla="*/ 578336 w 614938"/>
                <a:gd name="connsiteY3471" fmla="*/ 33971 h 716071"/>
                <a:gd name="connsiteX3472" fmla="*/ 593049 w 614938"/>
                <a:gd name="connsiteY3472" fmla="*/ 17344 h 716071"/>
                <a:gd name="connsiteX3473" fmla="*/ 599927 w 614938"/>
                <a:gd name="connsiteY3473" fmla="*/ 24880 h 716071"/>
                <a:gd name="connsiteX3474" fmla="*/ 585453 w 614938"/>
                <a:gd name="connsiteY3474" fmla="*/ 43360 h 716071"/>
                <a:gd name="connsiteX3475" fmla="*/ 600106 w 614938"/>
                <a:gd name="connsiteY3475" fmla="*/ 24581 h 716071"/>
                <a:gd name="connsiteX3476" fmla="*/ 593228 w 614938"/>
                <a:gd name="connsiteY3476" fmla="*/ 17045 h 716071"/>
                <a:gd name="connsiteX3477" fmla="*/ 608000 w 614938"/>
                <a:gd name="connsiteY3477" fmla="*/ 299 h 716071"/>
                <a:gd name="connsiteX3478" fmla="*/ 614579 w 614938"/>
                <a:gd name="connsiteY3478" fmla="*/ 5921 h 716071"/>
                <a:gd name="connsiteX3479" fmla="*/ 600106 w 614938"/>
                <a:gd name="connsiteY3479" fmla="*/ 24581 h 716071"/>
                <a:gd name="connsiteX3480" fmla="*/ 607522 w 614938"/>
                <a:gd name="connsiteY3480" fmla="*/ 0 h 716071"/>
                <a:gd name="connsiteX3481" fmla="*/ 607761 w 614938"/>
                <a:gd name="connsiteY3481" fmla="*/ 60 h 716071"/>
                <a:gd name="connsiteX3482" fmla="*/ 592989 w 614938"/>
                <a:gd name="connsiteY3482" fmla="*/ 16746 h 716071"/>
                <a:gd name="connsiteX3483" fmla="*/ 592750 w 614938"/>
                <a:gd name="connsiteY3483" fmla="*/ 16686 h 716071"/>
                <a:gd name="connsiteX3484" fmla="*/ 607522 w 614938"/>
                <a:gd name="connsiteY3484" fmla="*/ 0 h 716071"/>
                <a:gd name="connsiteX3485" fmla="*/ 592511 w 614938"/>
                <a:gd name="connsiteY3485" fmla="*/ 16985 h 716071"/>
                <a:gd name="connsiteX3486" fmla="*/ 592750 w 614938"/>
                <a:gd name="connsiteY3486" fmla="*/ 17045 h 716071"/>
                <a:gd name="connsiteX3487" fmla="*/ 578097 w 614938"/>
                <a:gd name="connsiteY3487" fmla="*/ 33671 h 716071"/>
                <a:gd name="connsiteX3488" fmla="*/ 577857 w 614938"/>
                <a:gd name="connsiteY3488" fmla="*/ 33552 h 716071"/>
                <a:gd name="connsiteX3489" fmla="*/ 592511 w 614938"/>
                <a:gd name="connsiteY3489" fmla="*/ 16985 h 716071"/>
                <a:gd name="connsiteX3490" fmla="*/ 577559 w 614938"/>
                <a:gd name="connsiteY3490" fmla="*/ 33851 h 716071"/>
                <a:gd name="connsiteX3491" fmla="*/ 577798 w 614938"/>
                <a:gd name="connsiteY3491" fmla="*/ 33971 h 716071"/>
                <a:gd name="connsiteX3492" fmla="*/ 563205 w 614938"/>
                <a:gd name="connsiteY3492" fmla="*/ 50477 h 716071"/>
                <a:gd name="connsiteX3493" fmla="*/ 562965 w 614938"/>
                <a:gd name="connsiteY3493" fmla="*/ 50358 h 716071"/>
                <a:gd name="connsiteX3494" fmla="*/ 577559 w 614938"/>
                <a:gd name="connsiteY3494" fmla="*/ 33851 h 716071"/>
                <a:gd name="connsiteX3495" fmla="*/ 562727 w 614938"/>
                <a:gd name="connsiteY3495" fmla="*/ 50657 h 716071"/>
                <a:gd name="connsiteX3496" fmla="*/ 562965 w 614938"/>
                <a:gd name="connsiteY3496" fmla="*/ 50776 h 716071"/>
                <a:gd name="connsiteX3497" fmla="*/ 548493 w 614938"/>
                <a:gd name="connsiteY3497" fmla="*/ 67164 h 716071"/>
                <a:gd name="connsiteX3498" fmla="*/ 548253 w 614938"/>
                <a:gd name="connsiteY3498" fmla="*/ 67044 h 716071"/>
                <a:gd name="connsiteX3499" fmla="*/ 562727 w 614938"/>
                <a:gd name="connsiteY3499" fmla="*/ 50657 h 716071"/>
                <a:gd name="connsiteX3500" fmla="*/ 548014 w 614938"/>
                <a:gd name="connsiteY3500" fmla="*/ 67283 h 716071"/>
                <a:gd name="connsiteX3501" fmla="*/ 548253 w 614938"/>
                <a:gd name="connsiteY3501" fmla="*/ 67403 h 716071"/>
                <a:gd name="connsiteX3502" fmla="*/ 533839 w 614938"/>
                <a:gd name="connsiteY3502" fmla="*/ 83730 h 716071"/>
                <a:gd name="connsiteX3503" fmla="*/ 533601 w 614938"/>
                <a:gd name="connsiteY3503" fmla="*/ 83611 h 716071"/>
                <a:gd name="connsiteX3504" fmla="*/ 548014 w 614938"/>
                <a:gd name="connsiteY3504" fmla="*/ 67283 h 716071"/>
                <a:gd name="connsiteX3505" fmla="*/ 533361 w 614938"/>
                <a:gd name="connsiteY3505" fmla="*/ 83910 h 716071"/>
                <a:gd name="connsiteX3506" fmla="*/ 533601 w 614938"/>
                <a:gd name="connsiteY3506" fmla="*/ 84029 h 716071"/>
                <a:gd name="connsiteX3507" fmla="*/ 519247 w 614938"/>
                <a:gd name="connsiteY3507" fmla="*/ 100237 h 716071"/>
                <a:gd name="connsiteX3508" fmla="*/ 519067 w 614938"/>
                <a:gd name="connsiteY3508" fmla="*/ 100117 h 716071"/>
                <a:gd name="connsiteX3509" fmla="*/ 533361 w 614938"/>
                <a:gd name="connsiteY3509" fmla="*/ 83910 h 716071"/>
                <a:gd name="connsiteX3510" fmla="*/ 518768 w 614938"/>
                <a:gd name="connsiteY3510" fmla="*/ 100356 h 716071"/>
                <a:gd name="connsiteX3511" fmla="*/ 518947 w 614938"/>
                <a:gd name="connsiteY3511" fmla="*/ 100476 h 716071"/>
                <a:gd name="connsiteX3512" fmla="*/ 504713 w 614938"/>
                <a:gd name="connsiteY3512" fmla="*/ 116564 h 716071"/>
                <a:gd name="connsiteX3513" fmla="*/ 504534 w 614938"/>
                <a:gd name="connsiteY3513" fmla="*/ 116445 h 716071"/>
                <a:gd name="connsiteX3514" fmla="*/ 518768 w 614938"/>
                <a:gd name="connsiteY3514" fmla="*/ 100356 h 716071"/>
                <a:gd name="connsiteX3515" fmla="*/ 504295 w 614938"/>
                <a:gd name="connsiteY3515" fmla="*/ 116744 h 716071"/>
                <a:gd name="connsiteX3516" fmla="*/ 504475 w 614938"/>
                <a:gd name="connsiteY3516" fmla="*/ 116863 h 716071"/>
                <a:gd name="connsiteX3517" fmla="*/ 490300 w 614938"/>
                <a:gd name="connsiteY3517" fmla="*/ 132892 h 716071"/>
                <a:gd name="connsiteX3518" fmla="*/ 490121 w 614938"/>
                <a:gd name="connsiteY3518" fmla="*/ 132712 h 716071"/>
                <a:gd name="connsiteX3519" fmla="*/ 504295 w 614938"/>
                <a:gd name="connsiteY3519" fmla="*/ 116744 h 716071"/>
                <a:gd name="connsiteX3520" fmla="*/ 489941 w 614938"/>
                <a:gd name="connsiteY3520" fmla="*/ 133011 h 716071"/>
                <a:gd name="connsiteX3521" fmla="*/ 490121 w 614938"/>
                <a:gd name="connsiteY3521" fmla="*/ 133191 h 716071"/>
                <a:gd name="connsiteX3522" fmla="*/ 476066 w 614938"/>
                <a:gd name="connsiteY3522" fmla="*/ 149099 h 716071"/>
                <a:gd name="connsiteX3523" fmla="*/ 475886 w 614938"/>
                <a:gd name="connsiteY3523" fmla="*/ 148920 h 716071"/>
                <a:gd name="connsiteX3524" fmla="*/ 489941 w 614938"/>
                <a:gd name="connsiteY3524" fmla="*/ 133011 h 716071"/>
                <a:gd name="connsiteX3525" fmla="*/ 461413 w 614938"/>
                <a:gd name="connsiteY3525" fmla="*/ 165307 h 716071"/>
                <a:gd name="connsiteX3526" fmla="*/ 461592 w 614938"/>
                <a:gd name="connsiteY3526" fmla="*/ 165487 h 716071"/>
                <a:gd name="connsiteX3527" fmla="*/ 447658 w 614938"/>
                <a:gd name="connsiteY3527" fmla="*/ 181216 h 716071"/>
                <a:gd name="connsiteX3528" fmla="*/ 447478 w 614938"/>
                <a:gd name="connsiteY3528" fmla="*/ 181036 h 716071"/>
                <a:gd name="connsiteX3529" fmla="*/ 461413 w 614938"/>
                <a:gd name="connsiteY3529" fmla="*/ 165307 h 716071"/>
                <a:gd name="connsiteX3530" fmla="*/ 446940 w 614938"/>
                <a:gd name="connsiteY3530" fmla="*/ 199457 h 716071"/>
                <a:gd name="connsiteX3531" fmla="*/ 437969 w 614938"/>
                <a:gd name="connsiteY3531" fmla="*/ 192161 h 716071"/>
                <a:gd name="connsiteX3532" fmla="*/ 421701 w 614938"/>
                <a:gd name="connsiteY3532" fmla="*/ 175474 h 716071"/>
                <a:gd name="connsiteX3533" fmla="*/ 440002 w 614938"/>
                <a:gd name="connsiteY3533" fmla="*/ 190247 h 716071"/>
                <a:gd name="connsiteX3534" fmla="*/ 447896 w 614938"/>
                <a:gd name="connsiteY3534" fmla="*/ 198261 h 716071"/>
                <a:gd name="connsiteX3535" fmla="*/ 446940 w 614938"/>
                <a:gd name="connsiteY3535" fmla="*/ 199457 h 716071"/>
                <a:gd name="connsiteX3536" fmla="*/ 389046 w 614938"/>
                <a:gd name="connsiteY3536" fmla="*/ 228105 h 716071"/>
                <a:gd name="connsiteX3537" fmla="*/ 374274 w 614938"/>
                <a:gd name="connsiteY3537" fmla="*/ 245927 h 716071"/>
                <a:gd name="connsiteX3538" fmla="*/ 374094 w 614938"/>
                <a:gd name="connsiteY3538" fmla="*/ 245568 h 716071"/>
                <a:gd name="connsiteX3539" fmla="*/ 388687 w 614938"/>
                <a:gd name="connsiteY3539" fmla="*/ 228045 h 716071"/>
                <a:gd name="connsiteX3540" fmla="*/ 389046 w 614938"/>
                <a:gd name="connsiteY3540" fmla="*/ 228105 h 716071"/>
                <a:gd name="connsiteX3541" fmla="*/ 19617 w 614938"/>
                <a:gd name="connsiteY3541" fmla="*/ 667090 h 716071"/>
                <a:gd name="connsiteX3542" fmla="*/ 16567 w 614938"/>
                <a:gd name="connsiteY3542" fmla="*/ 662903 h 716071"/>
                <a:gd name="connsiteX3543" fmla="*/ 21531 w 614938"/>
                <a:gd name="connsiteY3543" fmla="*/ 664757 h 716071"/>
                <a:gd name="connsiteX3544" fmla="*/ 19617 w 614938"/>
                <a:gd name="connsiteY3544" fmla="*/ 667090 h 716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Lst>
              <a:rect l="l" t="t" r="r" b="b"/>
              <a:pathLst>
                <a:path w="614938" h="716071">
                  <a:moveTo>
                    <a:pt x="523912" y="436772"/>
                  </a:moveTo>
                  <a:cubicBezTo>
                    <a:pt x="523912" y="436772"/>
                    <a:pt x="523972" y="436772"/>
                    <a:pt x="523912" y="436772"/>
                  </a:cubicBezTo>
                  <a:cubicBezTo>
                    <a:pt x="523972" y="436772"/>
                    <a:pt x="523972" y="436772"/>
                    <a:pt x="523912" y="436772"/>
                  </a:cubicBezTo>
                  <a:cubicBezTo>
                    <a:pt x="523972" y="436712"/>
                    <a:pt x="523972" y="436712"/>
                    <a:pt x="523972" y="436712"/>
                  </a:cubicBezTo>
                  <a:cubicBezTo>
                    <a:pt x="523972" y="436712"/>
                    <a:pt x="523972" y="436712"/>
                    <a:pt x="523972" y="436712"/>
                  </a:cubicBezTo>
                  <a:cubicBezTo>
                    <a:pt x="523972" y="436712"/>
                    <a:pt x="523972" y="436712"/>
                    <a:pt x="523972" y="436652"/>
                  </a:cubicBezTo>
                  <a:cubicBezTo>
                    <a:pt x="523972" y="436652"/>
                    <a:pt x="523972" y="436652"/>
                    <a:pt x="523972" y="436652"/>
                  </a:cubicBezTo>
                  <a:lnTo>
                    <a:pt x="518888" y="420385"/>
                  </a:lnTo>
                  <a:lnTo>
                    <a:pt x="513744" y="403878"/>
                  </a:lnTo>
                  <a:lnTo>
                    <a:pt x="508541" y="387192"/>
                  </a:lnTo>
                  <a:lnTo>
                    <a:pt x="508541" y="387192"/>
                  </a:lnTo>
                  <a:cubicBezTo>
                    <a:pt x="508541" y="387192"/>
                    <a:pt x="508541" y="387192"/>
                    <a:pt x="508541" y="387192"/>
                  </a:cubicBezTo>
                  <a:lnTo>
                    <a:pt x="508541" y="387192"/>
                  </a:lnTo>
                  <a:lnTo>
                    <a:pt x="503278" y="370266"/>
                  </a:lnTo>
                  <a:lnTo>
                    <a:pt x="497895" y="353042"/>
                  </a:lnTo>
                  <a:lnTo>
                    <a:pt x="492453" y="335578"/>
                  </a:lnTo>
                  <a:lnTo>
                    <a:pt x="486951" y="317875"/>
                  </a:lnTo>
                  <a:lnTo>
                    <a:pt x="481329" y="299933"/>
                  </a:lnTo>
                  <a:lnTo>
                    <a:pt x="475647" y="281752"/>
                  </a:lnTo>
                  <a:lnTo>
                    <a:pt x="469906" y="263271"/>
                  </a:lnTo>
                  <a:lnTo>
                    <a:pt x="464045" y="244492"/>
                  </a:lnTo>
                  <a:cubicBezTo>
                    <a:pt x="464045" y="244492"/>
                    <a:pt x="464045" y="244492"/>
                    <a:pt x="464045" y="244492"/>
                  </a:cubicBezTo>
                  <a:cubicBezTo>
                    <a:pt x="464045" y="244492"/>
                    <a:pt x="464045" y="244492"/>
                    <a:pt x="464045" y="244492"/>
                  </a:cubicBezTo>
                  <a:cubicBezTo>
                    <a:pt x="464045" y="244492"/>
                    <a:pt x="464045" y="244492"/>
                    <a:pt x="464045" y="244492"/>
                  </a:cubicBezTo>
                  <a:cubicBezTo>
                    <a:pt x="464045" y="244492"/>
                    <a:pt x="464045" y="244492"/>
                    <a:pt x="464045" y="244492"/>
                  </a:cubicBezTo>
                  <a:cubicBezTo>
                    <a:pt x="464045" y="244492"/>
                    <a:pt x="464045" y="244492"/>
                    <a:pt x="464045" y="244492"/>
                  </a:cubicBezTo>
                  <a:cubicBezTo>
                    <a:pt x="464045" y="244492"/>
                    <a:pt x="464045" y="244492"/>
                    <a:pt x="464045" y="244492"/>
                  </a:cubicBezTo>
                  <a:lnTo>
                    <a:pt x="463566" y="243954"/>
                  </a:lnTo>
                  <a:cubicBezTo>
                    <a:pt x="463566" y="243954"/>
                    <a:pt x="463566" y="243954"/>
                    <a:pt x="463566" y="243954"/>
                  </a:cubicBezTo>
                  <a:cubicBezTo>
                    <a:pt x="463566" y="243954"/>
                    <a:pt x="463566" y="243954"/>
                    <a:pt x="463566" y="243954"/>
                  </a:cubicBezTo>
                  <a:cubicBezTo>
                    <a:pt x="463566" y="243954"/>
                    <a:pt x="463566" y="243954"/>
                    <a:pt x="463506" y="243954"/>
                  </a:cubicBezTo>
                  <a:cubicBezTo>
                    <a:pt x="463506" y="243954"/>
                    <a:pt x="463506" y="243954"/>
                    <a:pt x="463506" y="243954"/>
                  </a:cubicBezTo>
                  <a:lnTo>
                    <a:pt x="449033" y="238033"/>
                  </a:lnTo>
                  <a:lnTo>
                    <a:pt x="447478" y="233846"/>
                  </a:lnTo>
                  <a:lnTo>
                    <a:pt x="450827" y="231035"/>
                  </a:lnTo>
                  <a:cubicBezTo>
                    <a:pt x="450827" y="231035"/>
                    <a:pt x="450827" y="231035"/>
                    <a:pt x="450827" y="231035"/>
                  </a:cubicBezTo>
                  <a:cubicBezTo>
                    <a:pt x="450827" y="231035"/>
                    <a:pt x="450827" y="231035"/>
                    <a:pt x="450827" y="231035"/>
                  </a:cubicBezTo>
                  <a:cubicBezTo>
                    <a:pt x="450827" y="231035"/>
                    <a:pt x="450827" y="231035"/>
                    <a:pt x="450827" y="231035"/>
                  </a:cubicBezTo>
                  <a:cubicBezTo>
                    <a:pt x="450827" y="231035"/>
                    <a:pt x="450827" y="231035"/>
                    <a:pt x="450827" y="231035"/>
                  </a:cubicBezTo>
                  <a:lnTo>
                    <a:pt x="452921" y="227148"/>
                  </a:lnTo>
                  <a:cubicBezTo>
                    <a:pt x="452921" y="227148"/>
                    <a:pt x="452921" y="227148"/>
                    <a:pt x="452921" y="227148"/>
                  </a:cubicBezTo>
                  <a:lnTo>
                    <a:pt x="452921" y="227148"/>
                  </a:lnTo>
                  <a:lnTo>
                    <a:pt x="452921" y="227148"/>
                  </a:lnTo>
                  <a:lnTo>
                    <a:pt x="452921" y="227148"/>
                  </a:lnTo>
                  <a:cubicBezTo>
                    <a:pt x="452921" y="227148"/>
                    <a:pt x="452921" y="227148"/>
                    <a:pt x="452921" y="227148"/>
                  </a:cubicBezTo>
                  <a:cubicBezTo>
                    <a:pt x="452921" y="227148"/>
                    <a:pt x="452921" y="227148"/>
                    <a:pt x="452921" y="227148"/>
                  </a:cubicBezTo>
                  <a:cubicBezTo>
                    <a:pt x="452921" y="227148"/>
                    <a:pt x="452921" y="227148"/>
                    <a:pt x="452921" y="227148"/>
                  </a:cubicBezTo>
                  <a:lnTo>
                    <a:pt x="453279" y="224935"/>
                  </a:lnTo>
                  <a:cubicBezTo>
                    <a:pt x="453279" y="224935"/>
                    <a:pt x="453279" y="224935"/>
                    <a:pt x="453279" y="224935"/>
                  </a:cubicBezTo>
                  <a:cubicBezTo>
                    <a:pt x="453279" y="224935"/>
                    <a:pt x="453279" y="224935"/>
                    <a:pt x="453279" y="224935"/>
                  </a:cubicBezTo>
                  <a:lnTo>
                    <a:pt x="453579" y="222543"/>
                  </a:lnTo>
                  <a:lnTo>
                    <a:pt x="460037" y="213153"/>
                  </a:lnTo>
                  <a:cubicBezTo>
                    <a:pt x="460037" y="213153"/>
                    <a:pt x="460037" y="213153"/>
                    <a:pt x="460037" y="213153"/>
                  </a:cubicBezTo>
                  <a:cubicBezTo>
                    <a:pt x="460037" y="213153"/>
                    <a:pt x="460037" y="213153"/>
                    <a:pt x="460037" y="213153"/>
                  </a:cubicBezTo>
                  <a:cubicBezTo>
                    <a:pt x="460037" y="213153"/>
                    <a:pt x="460037" y="213153"/>
                    <a:pt x="460037" y="213153"/>
                  </a:cubicBezTo>
                  <a:cubicBezTo>
                    <a:pt x="460037" y="213153"/>
                    <a:pt x="460037" y="213153"/>
                    <a:pt x="460037" y="213153"/>
                  </a:cubicBezTo>
                  <a:lnTo>
                    <a:pt x="460337" y="212615"/>
                  </a:lnTo>
                  <a:cubicBezTo>
                    <a:pt x="460337" y="212615"/>
                    <a:pt x="460337" y="212615"/>
                    <a:pt x="460337" y="212615"/>
                  </a:cubicBezTo>
                  <a:cubicBezTo>
                    <a:pt x="460337" y="212615"/>
                    <a:pt x="460337" y="212615"/>
                    <a:pt x="460337" y="212615"/>
                  </a:cubicBezTo>
                  <a:lnTo>
                    <a:pt x="460456" y="212196"/>
                  </a:lnTo>
                  <a:cubicBezTo>
                    <a:pt x="460456" y="212196"/>
                    <a:pt x="460456" y="212196"/>
                    <a:pt x="460456" y="212196"/>
                  </a:cubicBezTo>
                  <a:cubicBezTo>
                    <a:pt x="460456" y="212196"/>
                    <a:pt x="460456" y="212196"/>
                    <a:pt x="460456" y="212196"/>
                  </a:cubicBezTo>
                  <a:lnTo>
                    <a:pt x="460397" y="211359"/>
                  </a:lnTo>
                  <a:cubicBezTo>
                    <a:pt x="460397" y="211359"/>
                    <a:pt x="460397" y="211359"/>
                    <a:pt x="460397" y="211359"/>
                  </a:cubicBezTo>
                  <a:cubicBezTo>
                    <a:pt x="460397" y="211359"/>
                    <a:pt x="460397" y="211359"/>
                    <a:pt x="460397" y="211359"/>
                  </a:cubicBezTo>
                  <a:cubicBezTo>
                    <a:pt x="460397" y="211359"/>
                    <a:pt x="460397" y="211359"/>
                    <a:pt x="460397" y="211359"/>
                  </a:cubicBezTo>
                  <a:cubicBezTo>
                    <a:pt x="460397" y="211359"/>
                    <a:pt x="460397" y="211359"/>
                    <a:pt x="460397" y="211359"/>
                  </a:cubicBezTo>
                  <a:lnTo>
                    <a:pt x="460217" y="210880"/>
                  </a:lnTo>
                  <a:cubicBezTo>
                    <a:pt x="460217" y="210880"/>
                    <a:pt x="460217" y="210880"/>
                    <a:pt x="460217" y="210880"/>
                  </a:cubicBezTo>
                  <a:cubicBezTo>
                    <a:pt x="460217" y="210880"/>
                    <a:pt x="460217" y="210880"/>
                    <a:pt x="460217" y="210880"/>
                  </a:cubicBezTo>
                  <a:lnTo>
                    <a:pt x="459499" y="209983"/>
                  </a:lnTo>
                  <a:cubicBezTo>
                    <a:pt x="459499" y="209983"/>
                    <a:pt x="459499" y="209983"/>
                    <a:pt x="459499" y="209983"/>
                  </a:cubicBezTo>
                  <a:cubicBezTo>
                    <a:pt x="459499" y="209983"/>
                    <a:pt x="459499" y="209983"/>
                    <a:pt x="459499" y="209983"/>
                  </a:cubicBezTo>
                  <a:cubicBezTo>
                    <a:pt x="459499" y="209983"/>
                    <a:pt x="459499" y="209983"/>
                    <a:pt x="459499" y="209983"/>
                  </a:cubicBezTo>
                  <a:lnTo>
                    <a:pt x="455014" y="205438"/>
                  </a:lnTo>
                  <a:lnTo>
                    <a:pt x="458124" y="207352"/>
                  </a:lnTo>
                  <a:cubicBezTo>
                    <a:pt x="458124" y="207352"/>
                    <a:pt x="458124" y="207352"/>
                    <a:pt x="458124" y="207352"/>
                  </a:cubicBezTo>
                  <a:cubicBezTo>
                    <a:pt x="458124" y="207352"/>
                    <a:pt x="458124" y="207352"/>
                    <a:pt x="458184" y="207352"/>
                  </a:cubicBezTo>
                  <a:cubicBezTo>
                    <a:pt x="458184" y="207352"/>
                    <a:pt x="458184" y="207352"/>
                    <a:pt x="458184" y="207352"/>
                  </a:cubicBezTo>
                  <a:cubicBezTo>
                    <a:pt x="458184" y="207352"/>
                    <a:pt x="458184" y="207352"/>
                    <a:pt x="458184" y="207352"/>
                  </a:cubicBezTo>
                  <a:cubicBezTo>
                    <a:pt x="458184" y="207352"/>
                    <a:pt x="458184" y="207352"/>
                    <a:pt x="458243" y="207352"/>
                  </a:cubicBezTo>
                  <a:cubicBezTo>
                    <a:pt x="458243" y="207352"/>
                    <a:pt x="458243" y="207352"/>
                    <a:pt x="458243" y="207352"/>
                  </a:cubicBezTo>
                  <a:cubicBezTo>
                    <a:pt x="458243" y="207352"/>
                    <a:pt x="458243" y="207352"/>
                    <a:pt x="458243" y="207352"/>
                  </a:cubicBezTo>
                  <a:cubicBezTo>
                    <a:pt x="458243" y="207352"/>
                    <a:pt x="458243" y="207352"/>
                    <a:pt x="458243" y="207352"/>
                  </a:cubicBezTo>
                  <a:cubicBezTo>
                    <a:pt x="458243" y="207352"/>
                    <a:pt x="458243" y="207352"/>
                    <a:pt x="458243" y="207352"/>
                  </a:cubicBezTo>
                  <a:cubicBezTo>
                    <a:pt x="458243" y="207352"/>
                    <a:pt x="458243" y="207352"/>
                    <a:pt x="458243" y="207352"/>
                  </a:cubicBezTo>
                  <a:cubicBezTo>
                    <a:pt x="458243" y="207352"/>
                    <a:pt x="458243" y="207352"/>
                    <a:pt x="458243" y="207352"/>
                  </a:cubicBezTo>
                  <a:cubicBezTo>
                    <a:pt x="458243" y="207352"/>
                    <a:pt x="458243" y="207352"/>
                    <a:pt x="458243" y="207352"/>
                  </a:cubicBezTo>
                  <a:lnTo>
                    <a:pt x="471999" y="189768"/>
                  </a:lnTo>
                  <a:lnTo>
                    <a:pt x="485815" y="172006"/>
                  </a:lnTo>
                  <a:lnTo>
                    <a:pt x="499750" y="154123"/>
                  </a:lnTo>
                  <a:lnTo>
                    <a:pt x="513804" y="136121"/>
                  </a:lnTo>
                  <a:lnTo>
                    <a:pt x="527919" y="118000"/>
                  </a:lnTo>
                  <a:lnTo>
                    <a:pt x="542153" y="99758"/>
                  </a:lnTo>
                  <a:cubicBezTo>
                    <a:pt x="542153" y="99758"/>
                    <a:pt x="542153" y="99758"/>
                    <a:pt x="542153" y="99758"/>
                  </a:cubicBezTo>
                  <a:lnTo>
                    <a:pt x="542153" y="99758"/>
                  </a:lnTo>
                  <a:lnTo>
                    <a:pt x="556507" y="81398"/>
                  </a:lnTo>
                  <a:lnTo>
                    <a:pt x="556507" y="81398"/>
                  </a:lnTo>
                  <a:lnTo>
                    <a:pt x="556507" y="81398"/>
                  </a:lnTo>
                  <a:lnTo>
                    <a:pt x="570980" y="62857"/>
                  </a:lnTo>
                  <a:lnTo>
                    <a:pt x="585513" y="44198"/>
                  </a:lnTo>
                  <a:lnTo>
                    <a:pt x="600166" y="25418"/>
                  </a:lnTo>
                  <a:lnTo>
                    <a:pt x="614938" y="6459"/>
                  </a:lnTo>
                  <a:cubicBezTo>
                    <a:pt x="614938" y="6459"/>
                    <a:pt x="614938" y="6459"/>
                    <a:pt x="614938" y="6459"/>
                  </a:cubicBezTo>
                  <a:cubicBezTo>
                    <a:pt x="614938" y="6459"/>
                    <a:pt x="614938" y="6459"/>
                    <a:pt x="614938" y="6399"/>
                  </a:cubicBezTo>
                  <a:cubicBezTo>
                    <a:pt x="614938" y="6399"/>
                    <a:pt x="614938" y="6399"/>
                    <a:pt x="614938" y="6340"/>
                  </a:cubicBezTo>
                  <a:cubicBezTo>
                    <a:pt x="614938" y="6340"/>
                    <a:pt x="614938" y="6340"/>
                    <a:pt x="614938" y="6340"/>
                  </a:cubicBezTo>
                  <a:cubicBezTo>
                    <a:pt x="614938" y="6340"/>
                    <a:pt x="614938" y="6280"/>
                    <a:pt x="614938" y="6280"/>
                  </a:cubicBezTo>
                  <a:cubicBezTo>
                    <a:pt x="614938" y="6280"/>
                    <a:pt x="614938" y="6280"/>
                    <a:pt x="614938" y="6280"/>
                  </a:cubicBezTo>
                  <a:cubicBezTo>
                    <a:pt x="614938" y="6280"/>
                    <a:pt x="614938" y="6280"/>
                    <a:pt x="614938" y="6220"/>
                  </a:cubicBezTo>
                  <a:cubicBezTo>
                    <a:pt x="614938" y="6220"/>
                    <a:pt x="614938" y="6220"/>
                    <a:pt x="614938" y="6220"/>
                  </a:cubicBezTo>
                  <a:lnTo>
                    <a:pt x="608060" y="359"/>
                  </a:lnTo>
                  <a:cubicBezTo>
                    <a:pt x="608060" y="359"/>
                    <a:pt x="608060" y="359"/>
                    <a:pt x="608060" y="359"/>
                  </a:cubicBezTo>
                  <a:cubicBezTo>
                    <a:pt x="608060" y="359"/>
                    <a:pt x="608060" y="359"/>
                    <a:pt x="608060" y="359"/>
                  </a:cubicBezTo>
                  <a:cubicBezTo>
                    <a:pt x="608060" y="359"/>
                    <a:pt x="608000" y="359"/>
                    <a:pt x="608000" y="299"/>
                  </a:cubicBezTo>
                  <a:lnTo>
                    <a:pt x="607462" y="60"/>
                  </a:lnTo>
                  <a:cubicBezTo>
                    <a:pt x="607462" y="60"/>
                    <a:pt x="607403" y="60"/>
                    <a:pt x="607403" y="60"/>
                  </a:cubicBezTo>
                  <a:cubicBezTo>
                    <a:pt x="607343" y="60"/>
                    <a:pt x="607283" y="60"/>
                    <a:pt x="607283" y="120"/>
                  </a:cubicBezTo>
                  <a:cubicBezTo>
                    <a:pt x="607283" y="120"/>
                    <a:pt x="607283" y="120"/>
                    <a:pt x="607283" y="120"/>
                  </a:cubicBezTo>
                  <a:lnTo>
                    <a:pt x="592271" y="17105"/>
                  </a:lnTo>
                  <a:lnTo>
                    <a:pt x="577379" y="33971"/>
                  </a:lnTo>
                  <a:lnTo>
                    <a:pt x="562547" y="50717"/>
                  </a:lnTo>
                  <a:lnTo>
                    <a:pt x="547835" y="67403"/>
                  </a:lnTo>
                  <a:lnTo>
                    <a:pt x="533182" y="83969"/>
                  </a:lnTo>
                  <a:lnTo>
                    <a:pt x="518649" y="100416"/>
                  </a:lnTo>
                  <a:lnTo>
                    <a:pt x="504175" y="116803"/>
                  </a:lnTo>
                  <a:lnTo>
                    <a:pt x="489761" y="133071"/>
                  </a:lnTo>
                  <a:lnTo>
                    <a:pt x="475467" y="149279"/>
                  </a:lnTo>
                  <a:lnTo>
                    <a:pt x="461233" y="165367"/>
                  </a:lnTo>
                  <a:lnTo>
                    <a:pt x="447119" y="181336"/>
                  </a:lnTo>
                  <a:cubicBezTo>
                    <a:pt x="447119" y="181336"/>
                    <a:pt x="447119" y="181336"/>
                    <a:pt x="447119" y="181336"/>
                  </a:cubicBezTo>
                  <a:cubicBezTo>
                    <a:pt x="447119" y="181336"/>
                    <a:pt x="447119" y="181336"/>
                    <a:pt x="447119" y="181395"/>
                  </a:cubicBezTo>
                  <a:cubicBezTo>
                    <a:pt x="447119" y="181395"/>
                    <a:pt x="447119" y="181395"/>
                    <a:pt x="447119" y="181395"/>
                  </a:cubicBezTo>
                  <a:cubicBezTo>
                    <a:pt x="447119" y="181395"/>
                    <a:pt x="447119" y="181395"/>
                    <a:pt x="447119" y="181395"/>
                  </a:cubicBezTo>
                  <a:cubicBezTo>
                    <a:pt x="447119" y="181395"/>
                    <a:pt x="447119" y="181395"/>
                    <a:pt x="447119" y="181455"/>
                  </a:cubicBezTo>
                  <a:cubicBezTo>
                    <a:pt x="447119" y="181455"/>
                    <a:pt x="447119" y="181455"/>
                    <a:pt x="447119" y="181515"/>
                  </a:cubicBezTo>
                  <a:cubicBezTo>
                    <a:pt x="447119" y="181515"/>
                    <a:pt x="447119" y="181515"/>
                    <a:pt x="447119" y="181515"/>
                  </a:cubicBezTo>
                  <a:cubicBezTo>
                    <a:pt x="447119" y="181515"/>
                    <a:pt x="447119" y="181515"/>
                    <a:pt x="447119" y="181515"/>
                  </a:cubicBezTo>
                  <a:lnTo>
                    <a:pt x="448614" y="198022"/>
                  </a:lnTo>
                  <a:lnTo>
                    <a:pt x="448196" y="198560"/>
                  </a:lnTo>
                  <a:lnTo>
                    <a:pt x="440301" y="190606"/>
                  </a:lnTo>
                  <a:cubicBezTo>
                    <a:pt x="440301" y="190606"/>
                    <a:pt x="440301" y="190606"/>
                    <a:pt x="440301" y="190606"/>
                  </a:cubicBezTo>
                  <a:cubicBezTo>
                    <a:pt x="440301" y="190606"/>
                    <a:pt x="440301" y="190606"/>
                    <a:pt x="440301" y="190606"/>
                  </a:cubicBezTo>
                  <a:lnTo>
                    <a:pt x="419668" y="173860"/>
                  </a:lnTo>
                  <a:cubicBezTo>
                    <a:pt x="419668" y="173860"/>
                    <a:pt x="419668" y="173860"/>
                    <a:pt x="419668" y="173860"/>
                  </a:cubicBezTo>
                  <a:cubicBezTo>
                    <a:pt x="419668" y="173860"/>
                    <a:pt x="419668" y="173860"/>
                    <a:pt x="419668" y="173860"/>
                  </a:cubicBezTo>
                  <a:lnTo>
                    <a:pt x="419668" y="173860"/>
                  </a:lnTo>
                  <a:cubicBezTo>
                    <a:pt x="419668" y="173860"/>
                    <a:pt x="419668" y="173860"/>
                    <a:pt x="419668" y="173860"/>
                  </a:cubicBezTo>
                  <a:lnTo>
                    <a:pt x="418651" y="173381"/>
                  </a:lnTo>
                  <a:cubicBezTo>
                    <a:pt x="418651" y="173381"/>
                    <a:pt x="418651" y="173381"/>
                    <a:pt x="418651" y="173381"/>
                  </a:cubicBezTo>
                  <a:cubicBezTo>
                    <a:pt x="418651" y="173381"/>
                    <a:pt x="418651" y="173381"/>
                    <a:pt x="418651" y="173381"/>
                  </a:cubicBezTo>
                  <a:cubicBezTo>
                    <a:pt x="418651" y="173381"/>
                    <a:pt x="418651" y="173381"/>
                    <a:pt x="418651" y="173381"/>
                  </a:cubicBezTo>
                  <a:lnTo>
                    <a:pt x="418651" y="173381"/>
                  </a:lnTo>
                  <a:lnTo>
                    <a:pt x="418292" y="173262"/>
                  </a:lnTo>
                  <a:cubicBezTo>
                    <a:pt x="418292" y="173262"/>
                    <a:pt x="418292" y="173262"/>
                    <a:pt x="418232" y="173262"/>
                  </a:cubicBezTo>
                  <a:cubicBezTo>
                    <a:pt x="418232" y="173262"/>
                    <a:pt x="418232" y="173262"/>
                    <a:pt x="418172" y="173262"/>
                  </a:cubicBezTo>
                  <a:lnTo>
                    <a:pt x="417275" y="173262"/>
                  </a:lnTo>
                  <a:cubicBezTo>
                    <a:pt x="417275" y="173262"/>
                    <a:pt x="417275" y="173262"/>
                    <a:pt x="417275" y="173262"/>
                  </a:cubicBezTo>
                  <a:cubicBezTo>
                    <a:pt x="417275" y="173262"/>
                    <a:pt x="417275" y="173262"/>
                    <a:pt x="417275" y="173262"/>
                  </a:cubicBezTo>
                  <a:cubicBezTo>
                    <a:pt x="417275" y="173262"/>
                    <a:pt x="417275" y="173262"/>
                    <a:pt x="417215" y="173262"/>
                  </a:cubicBezTo>
                  <a:cubicBezTo>
                    <a:pt x="417215" y="173262"/>
                    <a:pt x="417215" y="173262"/>
                    <a:pt x="417215" y="173262"/>
                  </a:cubicBezTo>
                  <a:cubicBezTo>
                    <a:pt x="417215" y="173262"/>
                    <a:pt x="417215" y="173262"/>
                    <a:pt x="417215" y="173262"/>
                  </a:cubicBezTo>
                  <a:lnTo>
                    <a:pt x="416319" y="173680"/>
                  </a:lnTo>
                  <a:cubicBezTo>
                    <a:pt x="416319" y="173680"/>
                    <a:pt x="416319" y="173680"/>
                    <a:pt x="416319" y="173680"/>
                  </a:cubicBezTo>
                  <a:cubicBezTo>
                    <a:pt x="416319" y="173680"/>
                    <a:pt x="416319" y="173680"/>
                    <a:pt x="416319" y="173680"/>
                  </a:cubicBezTo>
                  <a:cubicBezTo>
                    <a:pt x="416319" y="173680"/>
                    <a:pt x="416319" y="173680"/>
                    <a:pt x="416319" y="173680"/>
                  </a:cubicBezTo>
                  <a:cubicBezTo>
                    <a:pt x="416319" y="173680"/>
                    <a:pt x="416319" y="173680"/>
                    <a:pt x="416319" y="173680"/>
                  </a:cubicBezTo>
                  <a:lnTo>
                    <a:pt x="387671" y="194553"/>
                  </a:lnTo>
                  <a:cubicBezTo>
                    <a:pt x="387671" y="194553"/>
                    <a:pt x="387671" y="194553"/>
                    <a:pt x="387671" y="194553"/>
                  </a:cubicBezTo>
                  <a:cubicBezTo>
                    <a:pt x="387671" y="194553"/>
                    <a:pt x="387671" y="194553"/>
                    <a:pt x="387671" y="194553"/>
                  </a:cubicBezTo>
                  <a:lnTo>
                    <a:pt x="387013" y="195211"/>
                  </a:lnTo>
                  <a:cubicBezTo>
                    <a:pt x="387013" y="195211"/>
                    <a:pt x="387013" y="195211"/>
                    <a:pt x="387013" y="195211"/>
                  </a:cubicBezTo>
                  <a:cubicBezTo>
                    <a:pt x="387013" y="195211"/>
                    <a:pt x="387013" y="195211"/>
                    <a:pt x="387013" y="195211"/>
                  </a:cubicBezTo>
                  <a:cubicBezTo>
                    <a:pt x="387013" y="195211"/>
                    <a:pt x="387013" y="195211"/>
                    <a:pt x="387013" y="195211"/>
                  </a:cubicBezTo>
                  <a:cubicBezTo>
                    <a:pt x="387013" y="195211"/>
                    <a:pt x="387013" y="195211"/>
                    <a:pt x="387013" y="195211"/>
                  </a:cubicBezTo>
                  <a:cubicBezTo>
                    <a:pt x="387013" y="195211"/>
                    <a:pt x="387013" y="195211"/>
                    <a:pt x="387013" y="195211"/>
                  </a:cubicBezTo>
                  <a:cubicBezTo>
                    <a:pt x="387013" y="195211"/>
                    <a:pt x="387013" y="195211"/>
                    <a:pt x="387013" y="195211"/>
                  </a:cubicBezTo>
                  <a:lnTo>
                    <a:pt x="386953" y="195869"/>
                  </a:lnTo>
                  <a:cubicBezTo>
                    <a:pt x="386953" y="195869"/>
                    <a:pt x="386953" y="195869"/>
                    <a:pt x="386953" y="195869"/>
                  </a:cubicBezTo>
                  <a:cubicBezTo>
                    <a:pt x="386953" y="195869"/>
                    <a:pt x="386953" y="195869"/>
                    <a:pt x="386953" y="195869"/>
                  </a:cubicBezTo>
                  <a:lnTo>
                    <a:pt x="386953" y="196168"/>
                  </a:lnTo>
                  <a:cubicBezTo>
                    <a:pt x="386953" y="196168"/>
                    <a:pt x="386953" y="196168"/>
                    <a:pt x="386953" y="196168"/>
                  </a:cubicBezTo>
                  <a:cubicBezTo>
                    <a:pt x="386953" y="196168"/>
                    <a:pt x="386953" y="196168"/>
                    <a:pt x="386953" y="196168"/>
                  </a:cubicBezTo>
                  <a:cubicBezTo>
                    <a:pt x="386953" y="196168"/>
                    <a:pt x="386953" y="196168"/>
                    <a:pt x="386953" y="196168"/>
                  </a:cubicBezTo>
                  <a:cubicBezTo>
                    <a:pt x="386953" y="196168"/>
                    <a:pt x="386953" y="196168"/>
                    <a:pt x="386953" y="196168"/>
                  </a:cubicBezTo>
                  <a:cubicBezTo>
                    <a:pt x="386953" y="196168"/>
                    <a:pt x="386953" y="196168"/>
                    <a:pt x="386953" y="196168"/>
                  </a:cubicBezTo>
                  <a:cubicBezTo>
                    <a:pt x="386953" y="196168"/>
                    <a:pt x="386953" y="196168"/>
                    <a:pt x="386953" y="196168"/>
                  </a:cubicBezTo>
                  <a:lnTo>
                    <a:pt x="386953" y="196168"/>
                  </a:lnTo>
                  <a:lnTo>
                    <a:pt x="386953" y="196168"/>
                  </a:lnTo>
                  <a:lnTo>
                    <a:pt x="386953" y="196168"/>
                  </a:lnTo>
                  <a:lnTo>
                    <a:pt x="387611" y="196945"/>
                  </a:lnTo>
                  <a:lnTo>
                    <a:pt x="387611" y="196945"/>
                  </a:lnTo>
                  <a:lnTo>
                    <a:pt x="387611" y="196945"/>
                  </a:lnTo>
                  <a:lnTo>
                    <a:pt x="394249" y="204840"/>
                  </a:lnTo>
                  <a:lnTo>
                    <a:pt x="394010" y="204840"/>
                  </a:lnTo>
                  <a:lnTo>
                    <a:pt x="394010" y="204840"/>
                  </a:lnTo>
                  <a:lnTo>
                    <a:pt x="372061" y="202328"/>
                  </a:lnTo>
                  <a:lnTo>
                    <a:pt x="372061" y="202328"/>
                  </a:lnTo>
                  <a:lnTo>
                    <a:pt x="372061" y="202328"/>
                  </a:lnTo>
                  <a:lnTo>
                    <a:pt x="349932" y="199816"/>
                  </a:lnTo>
                  <a:lnTo>
                    <a:pt x="349932" y="199816"/>
                  </a:lnTo>
                  <a:lnTo>
                    <a:pt x="327564" y="197304"/>
                  </a:lnTo>
                  <a:lnTo>
                    <a:pt x="327564" y="197304"/>
                  </a:lnTo>
                  <a:lnTo>
                    <a:pt x="305017" y="194732"/>
                  </a:lnTo>
                  <a:lnTo>
                    <a:pt x="305017" y="194732"/>
                  </a:lnTo>
                  <a:lnTo>
                    <a:pt x="282291" y="192161"/>
                  </a:lnTo>
                  <a:lnTo>
                    <a:pt x="282291" y="192161"/>
                  </a:lnTo>
                  <a:lnTo>
                    <a:pt x="259325" y="189529"/>
                  </a:lnTo>
                  <a:lnTo>
                    <a:pt x="236179" y="186898"/>
                  </a:lnTo>
                  <a:lnTo>
                    <a:pt x="236179" y="186898"/>
                  </a:lnTo>
                  <a:lnTo>
                    <a:pt x="212795" y="184266"/>
                  </a:lnTo>
                  <a:lnTo>
                    <a:pt x="212795" y="184266"/>
                  </a:lnTo>
                  <a:lnTo>
                    <a:pt x="189170" y="181575"/>
                  </a:lnTo>
                  <a:lnTo>
                    <a:pt x="189170" y="181575"/>
                  </a:lnTo>
                  <a:cubicBezTo>
                    <a:pt x="189170" y="181575"/>
                    <a:pt x="189170" y="181575"/>
                    <a:pt x="189170" y="181575"/>
                  </a:cubicBezTo>
                  <a:lnTo>
                    <a:pt x="165367" y="178883"/>
                  </a:lnTo>
                  <a:cubicBezTo>
                    <a:pt x="165367" y="178883"/>
                    <a:pt x="165367" y="178883"/>
                    <a:pt x="165367" y="178883"/>
                  </a:cubicBezTo>
                  <a:lnTo>
                    <a:pt x="165367" y="178883"/>
                  </a:lnTo>
                  <a:cubicBezTo>
                    <a:pt x="165367" y="178883"/>
                    <a:pt x="165367" y="178883"/>
                    <a:pt x="165367" y="178883"/>
                  </a:cubicBezTo>
                  <a:cubicBezTo>
                    <a:pt x="165367" y="178883"/>
                    <a:pt x="165367" y="178883"/>
                    <a:pt x="165367" y="178883"/>
                  </a:cubicBezTo>
                  <a:cubicBezTo>
                    <a:pt x="165367" y="178883"/>
                    <a:pt x="165367" y="178883"/>
                    <a:pt x="165307" y="178883"/>
                  </a:cubicBezTo>
                  <a:cubicBezTo>
                    <a:pt x="165307" y="178883"/>
                    <a:pt x="165307" y="178883"/>
                    <a:pt x="165247" y="178883"/>
                  </a:cubicBezTo>
                  <a:cubicBezTo>
                    <a:pt x="165247" y="178883"/>
                    <a:pt x="165247" y="178883"/>
                    <a:pt x="165247" y="178883"/>
                  </a:cubicBezTo>
                  <a:cubicBezTo>
                    <a:pt x="165247" y="178883"/>
                    <a:pt x="165247" y="178883"/>
                    <a:pt x="165247" y="178883"/>
                  </a:cubicBezTo>
                  <a:cubicBezTo>
                    <a:pt x="165247" y="178883"/>
                    <a:pt x="165247" y="178883"/>
                    <a:pt x="165247" y="178883"/>
                  </a:cubicBezTo>
                  <a:cubicBezTo>
                    <a:pt x="165247" y="178883"/>
                    <a:pt x="165247" y="178883"/>
                    <a:pt x="165247" y="178883"/>
                  </a:cubicBezTo>
                  <a:cubicBezTo>
                    <a:pt x="165247" y="178883"/>
                    <a:pt x="165247" y="178883"/>
                    <a:pt x="165247" y="178883"/>
                  </a:cubicBezTo>
                  <a:cubicBezTo>
                    <a:pt x="165247" y="178883"/>
                    <a:pt x="165247" y="178883"/>
                    <a:pt x="165247" y="178883"/>
                  </a:cubicBezTo>
                  <a:cubicBezTo>
                    <a:pt x="165247" y="178883"/>
                    <a:pt x="165247" y="178883"/>
                    <a:pt x="165247" y="178883"/>
                  </a:cubicBezTo>
                  <a:lnTo>
                    <a:pt x="165247" y="178883"/>
                  </a:lnTo>
                  <a:cubicBezTo>
                    <a:pt x="165247" y="178883"/>
                    <a:pt x="165247" y="178883"/>
                    <a:pt x="165247" y="178883"/>
                  </a:cubicBezTo>
                  <a:cubicBezTo>
                    <a:pt x="165247" y="178883"/>
                    <a:pt x="165247" y="178883"/>
                    <a:pt x="165247" y="178883"/>
                  </a:cubicBezTo>
                  <a:cubicBezTo>
                    <a:pt x="165247" y="178883"/>
                    <a:pt x="165247" y="178883"/>
                    <a:pt x="165247" y="178883"/>
                  </a:cubicBezTo>
                  <a:cubicBezTo>
                    <a:pt x="165247" y="178883"/>
                    <a:pt x="165247" y="178883"/>
                    <a:pt x="165247" y="178943"/>
                  </a:cubicBezTo>
                  <a:cubicBezTo>
                    <a:pt x="165247" y="178943"/>
                    <a:pt x="165247" y="178943"/>
                    <a:pt x="165247" y="178943"/>
                  </a:cubicBezTo>
                  <a:cubicBezTo>
                    <a:pt x="165247" y="178943"/>
                    <a:pt x="165247" y="178943"/>
                    <a:pt x="165247" y="178943"/>
                  </a:cubicBezTo>
                  <a:cubicBezTo>
                    <a:pt x="165247" y="178943"/>
                    <a:pt x="165247" y="178943"/>
                    <a:pt x="165247" y="178943"/>
                  </a:cubicBezTo>
                  <a:lnTo>
                    <a:pt x="164769" y="187854"/>
                  </a:lnTo>
                  <a:cubicBezTo>
                    <a:pt x="164769" y="187854"/>
                    <a:pt x="164769" y="187854"/>
                    <a:pt x="164769" y="187854"/>
                  </a:cubicBezTo>
                  <a:cubicBezTo>
                    <a:pt x="164769" y="187854"/>
                    <a:pt x="164769" y="187914"/>
                    <a:pt x="164769" y="187914"/>
                  </a:cubicBezTo>
                  <a:lnTo>
                    <a:pt x="164889" y="188333"/>
                  </a:lnTo>
                  <a:cubicBezTo>
                    <a:pt x="164889" y="188333"/>
                    <a:pt x="164889" y="188333"/>
                    <a:pt x="164889" y="188333"/>
                  </a:cubicBezTo>
                  <a:cubicBezTo>
                    <a:pt x="164889" y="188333"/>
                    <a:pt x="164889" y="188333"/>
                    <a:pt x="164889" y="188333"/>
                  </a:cubicBezTo>
                  <a:cubicBezTo>
                    <a:pt x="164889" y="188333"/>
                    <a:pt x="164949" y="188393"/>
                    <a:pt x="164949" y="188393"/>
                  </a:cubicBezTo>
                  <a:cubicBezTo>
                    <a:pt x="164949" y="188393"/>
                    <a:pt x="164949" y="188393"/>
                    <a:pt x="164949" y="188393"/>
                  </a:cubicBezTo>
                  <a:lnTo>
                    <a:pt x="164949" y="188393"/>
                  </a:lnTo>
                  <a:lnTo>
                    <a:pt x="164949" y="188393"/>
                  </a:lnTo>
                  <a:cubicBezTo>
                    <a:pt x="164949" y="188393"/>
                    <a:pt x="164949" y="188393"/>
                    <a:pt x="164949" y="188393"/>
                  </a:cubicBezTo>
                  <a:cubicBezTo>
                    <a:pt x="164949" y="188393"/>
                    <a:pt x="165009" y="188453"/>
                    <a:pt x="165009" y="188453"/>
                  </a:cubicBezTo>
                  <a:cubicBezTo>
                    <a:pt x="165009" y="188453"/>
                    <a:pt x="165009" y="188453"/>
                    <a:pt x="165009" y="188453"/>
                  </a:cubicBezTo>
                  <a:lnTo>
                    <a:pt x="165009" y="188453"/>
                  </a:lnTo>
                  <a:lnTo>
                    <a:pt x="165009" y="188453"/>
                  </a:lnTo>
                  <a:lnTo>
                    <a:pt x="187496" y="192460"/>
                  </a:lnTo>
                  <a:lnTo>
                    <a:pt x="209744" y="196407"/>
                  </a:lnTo>
                  <a:lnTo>
                    <a:pt x="231753" y="200294"/>
                  </a:lnTo>
                  <a:lnTo>
                    <a:pt x="253583" y="204182"/>
                  </a:lnTo>
                  <a:lnTo>
                    <a:pt x="275173" y="208009"/>
                  </a:lnTo>
                  <a:lnTo>
                    <a:pt x="296585" y="211837"/>
                  </a:lnTo>
                  <a:lnTo>
                    <a:pt x="296585" y="211837"/>
                  </a:lnTo>
                  <a:lnTo>
                    <a:pt x="317816" y="215605"/>
                  </a:lnTo>
                  <a:lnTo>
                    <a:pt x="317816" y="215605"/>
                  </a:lnTo>
                  <a:lnTo>
                    <a:pt x="338808" y="219313"/>
                  </a:lnTo>
                  <a:lnTo>
                    <a:pt x="359621" y="223021"/>
                  </a:lnTo>
                  <a:lnTo>
                    <a:pt x="380255" y="226669"/>
                  </a:lnTo>
                  <a:cubicBezTo>
                    <a:pt x="380255" y="226669"/>
                    <a:pt x="380255" y="226669"/>
                    <a:pt x="380255" y="226669"/>
                  </a:cubicBezTo>
                  <a:lnTo>
                    <a:pt x="388389" y="228105"/>
                  </a:lnTo>
                  <a:lnTo>
                    <a:pt x="373855" y="245568"/>
                  </a:lnTo>
                  <a:lnTo>
                    <a:pt x="373855" y="245568"/>
                  </a:lnTo>
                  <a:lnTo>
                    <a:pt x="373855" y="245568"/>
                  </a:lnTo>
                  <a:lnTo>
                    <a:pt x="345686" y="279419"/>
                  </a:lnTo>
                  <a:lnTo>
                    <a:pt x="317876" y="312852"/>
                  </a:lnTo>
                  <a:lnTo>
                    <a:pt x="290424" y="345805"/>
                  </a:lnTo>
                  <a:lnTo>
                    <a:pt x="263331" y="378340"/>
                  </a:lnTo>
                  <a:lnTo>
                    <a:pt x="263331" y="378340"/>
                  </a:lnTo>
                  <a:lnTo>
                    <a:pt x="263331" y="378340"/>
                  </a:lnTo>
                  <a:lnTo>
                    <a:pt x="236598" y="410457"/>
                  </a:lnTo>
                  <a:lnTo>
                    <a:pt x="210223" y="442155"/>
                  </a:lnTo>
                  <a:lnTo>
                    <a:pt x="184207" y="473434"/>
                  </a:lnTo>
                  <a:lnTo>
                    <a:pt x="158489" y="504354"/>
                  </a:lnTo>
                  <a:lnTo>
                    <a:pt x="133131" y="534856"/>
                  </a:lnTo>
                  <a:lnTo>
                    <a:pt x="108072" y="564999"/>
                  </a:lnTo>
                  <a:lnTo>
                    <a:pt x="83312" y="594723"/>
                  </a:lnTo>
                  <a:lnTo>
                    <a:pt x="58851" y="624088"/>
                  </a:lnTo>
                  <a:lnTo>
                    <a:pt x="34688" y="653095"/>
                  </a:lnTo>
                  <a:lnTo>
                    <a:pt x="21770" y="664697"/>
                  </a:lnTo>
                  <a:lnTo>
                    <a:pt x="16148" y="662604"/>
                  </a:lnTo>
                  <a:cubicBezTo>
                    <a:pt x="16148" y="662604"/>
                    <a:pt x="16148" y="662604"/>
                    <a:pt x="16148" y="662604"/>
                  </a:cubicBezTo>
                  <a:cubicBezTo>
                    <a:pt x="16148" y="662604"/>
                    <a:pt x="16148" y="662604"/>
                    <a:pt x="16148" y="662604"/>
                  </a:cubicBezTo>
                  <a:lnTo>
                    <a:pt x="15191" y="662425"/>
                  </a:lnTo>
                  <a:cubicBezTo>
                    <a:pt x="15191" y="662425"/>
                    <a:pt x="15191" y="662425"/>
                    <a:pt x="15191" y="662425"/>
                  </a:cubicBezTo>
                  <a:cubicBezTo>
                    <a:pt x="15191" y="662425"/>
                    <a:pt x="15191" y="662425"/>
                    <a:pt x="15191" y="662425"/>
                  </a:cubicBezTo>
                  <a:lnTo>
                    <a:pt x="9151" y="661348"/>
                  </a:lnTo>
                  <a:lnTo>
                    <a:pt x="9151" y="661348"/>
                  </a:lnTo>
                  <a:cubicBezTo>
                    <a:pt x="9151" y="661348"/>
                    <a:pt x="9151" y="661348"/>
                    <a:pt x="9151" y="661348"/>
                  </a:cubicBezTo>
                  <a:lnTo>
                    <a:pt x="9151" y="661348"/>
                  </a:lnTo>
                  <a:cubicBezTo>
                    <a:pt x="9151" y="661348"/>
                    <a:pt x="9151" y="661348"/>
                    <a:pt x="9151" y="661348"/>
                  </a:cubicBezTo>
                  <a:lnTo>
                    <a:pt x="9151" y="661348"/>
                  </a:lnTo>
                  <a:cubicBezTo>
                    <a:pt x="9151" y="661348"/>
                    <a:pt x="9151" y="661348"/>
                    <a:pt x="9091" y="661348"/>
                  </a:cubicBezTo>
                  <a:lnTo>
                    <a:pt x="4605" y="662066"/>
                  </a:lnTo>
                  <a:cubicBezTo>
                    <a:pt x="4605" y="662066"/>
                    <a:pt x="4605" y="662066"/>
                    <a:pt x="4605" y="662066"/>
                  </a:cubicBezTo>
                  <a:cubicBezTo>
                    <a:pt x="4605" y="662066"/>
                    <a:pt x="4605" y="662066"/>
                    <a:pt x="4605" y="662066"/>
                  </a:cubicBezTo>
                  <a:cubicBezTo>
                    <a:pt x="4605" y="662066"/>
                    <a:pt x="4605" y="662066"/>
                    <a:pt x="4605" y="662066"/>
                  </a:cubicBezTo>
                  <a:cubicBezTo>
                    <a:pt x="4605" y="662066"/>
                    <a:pt x="4605" y="662066"/>
                    <a:pt x="4605" y="662066"/>
                  </a:cubicBezTo>
                  <a:cubicBezTo>
                    <a:pt x="4605" y="662066"/>
                    <a:pt x="4605" y="662066"/>
                    <a:pt x="4605" y="662066"/>
                  </a:cubicBezTo>
                  <a:lnTo>
                    <a:pt x="2034" y="664518"/>
                  </a:lnTo>
                  <a:cubicBezTo>
                    <a:pt x="2034" y="664518"/>
                    <a:pt x="2034" y="664518"/>
                    <a:pt x="2034" y="664518"/>
                  </a:cubicBezTo>
                  <a:cubicBezTo>
                    <a:pt x="2034" y="664518"/>
                    <a:pt x="2034" y="664518"/>
                    <a:pt x="2034" y="664518"/>
                  </a:cubicBezTo>
                  <a:cubicBezTo>
                    <a:pt x="2034" y="664518"/>
                    <a:pt x="2034" y="664518"/>
                    <a:pt x="2034" y="664518"/>
                  </a:cubicBezTo>
                  <a:lnTo>
                    <a:pt x="479" y="666492"/>
                  </a:lnTo>
                  <a:cubicBezTo>
                    <a:pt x="479" y="666492"/>
                    <a:pt x="479" y="666551"/>
                    <a:pt x="479" y="666551"/>
                  </a:cubicBezTo>
                  <a:cubicBezTo>
                    <a:pt x="479" y="666551"/>
                    <a:pt x="479" y="666551"/>
                    <a:pt x="479" y="666551"/>
                  </a:cubicBezTo>
                  <a:lnTo>
                    <a:pt x="479" y="666551"/>
                  </a:lnTo>
                  <a:cubicBezTo>
                    <a:pt x="479" y="666551"/>
                    <a:pt x="479" y="666551"/>
                    <a:pt x="479" y="666551"/>
                  </a:cubicBezTo>
                  <a:lnTo>
                    <a:pt x="0" y="670618"/>
                  </a:lnTo>
                  <a:cubicBezTo>
                    <a:pt x="0" y="670618"/>
                    <a:pt x="0" y="670618"/>
                    <a:pt x="0" y="670618"/>
                  </a:cubicBezTo>
                  <a:lnTo>
                    <a:pt x="0" y="670618"/>
                  </a:lnTo>
                  <a:lnTo>
                    <a:pt x="0" y="670618"/>
                  </a:lnTo>
                  <a:cubicBezTo>
                    <a:pt x="0" y="670618"/>
                    <a:pt x="0" y="670678"/>
                    <a:pt x="0" y="670678"/>
                  </a:cubicBezTo>
                  <a:cubicBezTo>
                    <a:pt x="0" y="670678"/>
                    <a:pt x="0" y="670678"/>
                    <a:pt x="0" y="670678"/>
                  </a:cubicBezTo>
                  <a:lnTo>
                    <a:pt x="1735" y="676121"/>
                  </a:lnTo>
                  <a:cubicBezTo>
                    <a:pt x="1735" y="676121"/>
                    <a:pt x="1735" y="676121"/>
                    <a:pt x="1735" y="676121"/>
                  </a:cubicBezTo>
                  <a:cubicBezTo>
                    <a:pt x="1735" y="676121"/>
                    <a:pt x="1735" y="676121"/>
                    <a:pt x="1735" y="676121"/>
                  </a:cubicBezTo>
                  <a:lnTo>
                    <a:pt x="5562" y="682520"/>
                  </a:lnTo>
                  <a:cubicBezTo>
                    <a:pt x="5562" y="682520"/>
                    <a:pt x="5562" y="682520"/>
                    <a:pt x="5562" y="682520"/>
                  </a:cubicBezTo>
                  <a:cubicBezTo>
                    <a:pt x="5562" y="682520"/>
                    <a:pt x="5562" y="682520"/>
                    <a:pt x="5562" y="682520"/>
                  </a:cubicBezTo>
                  <a:cubicBezTo>
                    <a:pt x="5562" y="682520"/>
                    <a:pt x="5562" y="682520"/>
                    <a:pt x="5562" y="682520"/>
                  </a:cubicBezTo>
                  <a:lnTo>
                    <a:pt x="11244" y="689458"/>
                  </a:lnTo>
                  <a:cubicBezTo>
                    <a:pt x="11244" y="689458"/>
                    <a:pt x="11244" y="689458"/>
                    <a:pt x="11244" y="689458"/>
                  </a:cubicBezTo>
                  <a:cubicBezTo>
                    <a:pt x="11244" y="689458"/>
                    <a:pt x="11244" y="689458"/>
                    <a:pt x="11244" y="689458"/>
                  </a:cubicBezTo>
                  <a:lnTo>
                    <a:pt x="18421" y="696455"/>
                  </a:lnTo>
                  <a:cubicBezTo>
                    <a:pt x="18421" y="696455"/>
                    <a:pt x="18421" y="696455"/>
                    <a:pt x="18421" y="696455"/>
                  </a:cubicBezTo>
                  <a:lnTo>
                    <a:pt x="18421" y="696455"/>
                  </a:lnTo>
                  <a:lnTo>
                    <a:pt x="18421" y="696455"/>
                  </a:lnTo>
                  <a:lnTo>
                    <a:pt x="18421" y="696455"/>
                  </a:lnTo>
                  <a:lnTo>
                    <a:pt x="18421" y="696455"/>
                  </a:lnTo>
                  <a:lnTo>
                    <a:pt x="18421" y="696455"/>
                  </a:lnTo>
                  <a:lnTo>
                    <a:pt x="18421" y="696455"/>
                  </a:lnTo>
                  <a:lnTo>
                    <a:pt x="26495" y="702974"/>
                  </a:lnTo>
                  <a:cubicBezTo>
                    <a:pt x="26495" y="702974"/>
                    <a:pt x="26495" y="702974"/>
                    <a:pt x="26495" y="702974"/>
                  </a:cubicBezTo>
                  <a:lnTo>
                    <a:pt x="26495" y="702974"/>
                  </a:lnTo>
                  <a:lnTo>
                    <a:pt x="26495" y="702974"/>
                  </a:lnTo>
                  <a:lnTo>
                    <a:pt x="26495" y="702974"/>
                  </a:lnTo>
                  <a:cubicBezTo>
                    <a:pt x="26495" y="702974"/>
                    <a:pt x="26495" y="702974"/>
                    <a:pt x="26495" y="702974"/>
                  </a:cubicBezTo>
                  <a:lnTo>
                    <a:pt x="34928" y="708536"/>
                  </a:lnTo>
                  <a:cubicBezTo>
                    <a:pt x="34928" y="708536"/>
                    <a:pt x="34928" y="708536"/>
                    <a:pt x="34928" y="708536"/>
                  </a:cubicBezTo>
                  <a:cubicBezTo>
                    <a:pt x="34928" y="708536"/>
                    <a:pt x="34928" y="708536"/>
                    <a:pt x="34928" y="708536"/>
                  </a:cubicBezTo>
                  <a:lnTo>
                    <a:pt x="43122" y="712723"/>
                  </a:lnTo>
                  <a:cubicBezTo>
                    <a:pt x="43122" y="712723"/>
                    <a:pt x="43122" y="712723"/>
                    <a:pt x="43122" y="712723"/>
                  </a:cubicBezTo>
                  <a:cubicBezTo>
                    <a:pt x="43122" y="712723"/>
                    <a:pt x="43122" y="712723"/>
                    <a:pt x="43122" y="712723"/>
                  </a:cubicBezTo>
                  <a:cubicBezTo>
                    <a:pt x="43122" y="712723"/>
                    <a:pt x="43122" y="712723"/>
                    <a:pt x="43122" y="712723"/>
                  </a:cubicBezTo>
                  <a:lnTo>
                    <a:pt x="50478" y="715294"/>
                  </a:lnTo>
                  <a:cubicBezTo>
                    <a:pt x="50478" y="715294"/>
                    <a:pt x="50478" y="715294"/>
                    <a:pt x="50478" y="715294"/>
                  </a:cubicBezTo>
                  <a:cubicBezTo>
                    <a:pt x="50478" y="715294"/>
                    <a:pt x="50478" y="715294"/>
                    <a:pt x="50478" y="715294"/>
                  </a:cubicBezTo>
                  <a:lnTo>
                    <a:pt x="56458" y="716072"/>
                  </a:lnTo>
                  <a:cubicBezTo>
                    <a:pt x="56458" y="716072"/>
                    <a:pt x="56458" y="716072"/>
                    <a:pt x="56458" y="716072"/>
                  </a:cubicBezTo>
                  <a:cubicBezTo>
                    <a:pt x="56458" y="716072"/>
                    <a:pt x="56518" y="716072"/>
                    <a:pt x="56518" y="716072"/>
                  </a:cubicBezTo>
                  <a:cubicBezTo>
                    <a:pt x="56518" y="716072"/>
                    <a:pt x="56518" y="716072"/>
                    <a:pt x="56518" y="716072"/>
                  </a:cubicBezTo>
                  <a:cubicBezTo>
                    <a:pt x="56518" y="716072"/>
                    <a:pt x="56518" y="716072"/>
                    <a:pt x="56518" y="716072"/>
                  </a:cubicBezTo>
                  <a:lnTo>
                    <a:pt x="60704" y="714995"/>
                  </a:lnTo>
                  <a:cubicBezTo>
                    <a:pt x="60704" y="714995"/>
                    <a:pt x="60704" y="714995"/>
                    <a:pt x="60704" y="714995"/>
                  </a:cubicBezTo>
                  <a:cubicBezTo>
                    <a:pt x="60704" y="714995"/>
                    <a:pt x="60704" y="714995"/>
                    <a:pt x="60704" y="714995"/>
                  </a:cubicBezTo>
                  <a:cubicBezTo>
                    <a:pt x="60704" y="714995"/>
                    <a:pt x="60704" y="714995"/>
                    <a:pt x="60704" y="714995"/>
                  </a:cubicBezTo>
                  <a:cubicBezTo>
                    <a:pt x="60704" y="714995"/>
                    <a:pt x="60704" y="714995"/>
                    <a:pt x="60704" y="714995"/>
                  </a:cubicBezTo>
                  <a:lnTo>
                    <a:pt x="62260" y="713081"/>
                  </a:lnTo>
                  <a:cubicBezTo>
                    <a:pt x="62260" y="713081"/>
                    <a:pt x="62260" y="713081"/>
                    <a:pt x="62260" y="713081"/>
                  </a:cubicBezTo>
                  <a:lnTo>
                    <a:pt x="62260" y="713081"/>
                  </a:lnTo>
                  <a:lnTo>
                    <a:pt x="64472" y="710330"/>
                  </a:lnTo>
                  <a:cubicBezTo>
                    <a:pt x="64472" y="710330"/>
                    <a:pt x="64472" y="710330"/>
                    <a:pt x="64472" y="710330"/>
                  </a:cubicBezTo>
                  <a:cubicBezTo>
                    <a:pt x="64472" y="710330"/>
                    <a:pt x="64472" y="710330"/>
                    <a:pt x="64472" y="710330"/>
                  </a:cubicBezTo>
                  <a:cubicBezTo>
                    <a:pt x="64472" y="710330"/>
                    <a:pt x="64472" y="710330"/>
                    <a:pt x="64472" y="710270"/>
                  </a:cubicBezTo>
                  <a:cubicBezTo>
                    <a:pt x="64472" y="710270"/>
                    <a:pt x="64472" y="710270"/>
                    <a:pt x="64472" y="710270"/>
                  </a:cubicBezTo>
                  <a:cubicBezTo>
                    <a:pt x="64472" y="710270"/>
                    <a:pt x="64472" y="710270"/>
                    <a:pt x="64472" y="710270"/>
                  </a:cubicBezTo>
                  <a:lnTo>
                    <a:pt x="64472" y="710270"/>
                  </a:lnTo>
                  <a:lnTo>
                    <a:pt x="64532" y="706024"/>
                  </a:lnTo>
                  <a:cubicBezTo>
                    <a:pt x="64532" y="706024"/>
                    <a:pt x="64532" y="706024"/>
                    <a:pt x="64532" y="706024"/>
                  </a:cubicBezTo>
                  <a:lnTo>
                    <a:pt x="64532" y="706024"/>
                  </a:lnTo>
                  <a:cubicBezTo>
                    <a:pt x="64532" y="706024"/>
                    <a:pt x="64532" y="706024"/>
                    <a:pt x="64532" y="706024"/>
                  </a:cubicBezTo>
                  <a:cubicBezTo>
                    <a:pt x="64532" y="706024"/>
                    <a:pt x="64532" y="706024"/>
                    <a:pt x="64532" y="705964"/>
                  </a:cubicBezTo>
                  <a:cubicBezTo>
                    <a:pt x="64532" y="705964"/>
                    <a:pt x="64532" y="705964"/>
                    <a:pt x="64532" y="705964"/>
                  </a:cubicBezTo>
                  <a:lnTo>
                    <a:pt x="62499" y="700522"/>
                  </a:lnTo>
                  <a:cubicBezTo>
                    <a:pt x="62499" y="700522"/>
                    <a:pt x="62499" y="700522"/>
                    <a:pt x="62499" y="700522"/>
                  </a:cubicBezTo>
                  <a:cubicBezTo>
                    <a:pt x="62499" y="700522"/>
                    <a:pt x="62499" y="700522"/>
                    <a:pt x="62499" y="700522"/>
                  </a:cubicBezTo>
                  <a:lnTo>
                    <a:pt x="62080" y="699565"/>
                  </a:lnTo>
                  <a:cubicBezTo>
                    <a:pt x="62080" y="699565"/>
                    <a:pt x="62080" y="699565"/>
                    <a:pt x="62080" y="699565"/>
                  </a:cubicBezTo>
                  <a:cubicBezTo>
                    <a:pt x="62080" y="699565"/>
                    <a:pt x="62080" y="699565"/>
                    <a:pt x="62080" y="699565"/>
                  </a:cubicBezTo>
                  <a:lnTo>
                    <a:pt x="58252" y="693465"/>
                  </a:lnTo>
                  <a:cubicBezTo>
                    <a:pt x="58252" y="693465"/>
                    <a:pt x="58252" y="693465"/>
                    <a:pt x="58252" y="693465"/>
                  </a:cubicBezTo>
                  <a:cubicBezTo>
                    <a:pt x="58252" y="693465"/>
                    <a:pt x="58252" y="693465"/>
                    <a:pt x="58252" y="693465"/>
                  </a:cubicBezTo>
                  <a:lnTo>
                    <a:pt x="67463" y="675881"/>
                  </a:lnTo>
                  <a:lnTo>
                    <a:pt x="90608" y="646456"/>
                  </a:lnTo>
                  <a:lnTo>
                    <a:pt x="114053" y="616672"/>
                  </a:lnTo>
                  <a:lnTo>
                    <a:pt x="137796" y="586470"/>
                  </a:lnTo>
                  <a:lnTo>
                    <a:pt x="161899" y="555908"/>
                  </a:lnTo>
                  <a:lnTo>
                    <a:pt x="186300" y="524928"/>
                  </a:lnTo>
                  <a:lnTo>
                    <a:pt x="211000" y="493529"/>
                  </a:lnTo>
                  <a:lnTo>
                    <a:pt x="236060" y="461712"/>
                  </a:lnTo>
                  <a:lnTo>
                    <a:pt x="261418" y="429476"/>
                  </a:lnTo>
                  <a:lnTo>
                    <a:pt x="287135" y="396821"/>
                  </a:lnTo>
                  <a:lnTo>
                    <a:pt x="313210" y="363748"/>
                  </a:lnTo>
                  <a:lnTo>
                    <a:pt x="339645" y="330196"/>
                  </a:lnTo>
                  <a:lnTo>
                    <a:pt x="366439" y="296165"/>
                  </a:lnTo>
                  <a:lnTo>
                    <a:pt x="393592" y="261716"/>
                  </a:lnTo>
                  <a:lnTo>
                    <a:pt x="418532" y="230019"/>
                  </a:lnTo>
                  <a:lnTo>
                    <a:pt x="435935" y="243655"/>
                  </a:lnTo>
                  <a:cubicBezTo>
                    <a:pt x="435935" y="243655"/>
                    <a:pt x="435935" y="243655"/>
                    <a:pt x="435935" y="243655"/>
                  </a:cubicBezTo>
                  <a:cubicBezTo>
                    <a:pt x="435935" y="243655"/>
                    <a:pt x="435935" y="243655"/>
                    <a:pt x="435935" y="243655"/>
                  </a:cubicBezTo>
                  <a:lnTo>
                    <a:pt x="437012" y="244253"/>
                  </a:lnTo>
                  <a:cubicBezTo>
                    <a:pt x="437012" y="244253"/>
                    <a:pt x="437012" y="244253"/>
                    <a:pt x="437012" y="244253"/>
                  </a:cubicBezTo>
                  <a:cubicBezTo>
                    <a:pt x="437012" y="244253"/>
                    <a:pt x="437012" y="244253"/>
                    <a:pt x="437072" y="244253"/>
                  </a:cubicBezTo>
                  <a:cubicBezTo>
                    <a:pt x="437072" y="244253"/>
                    <a:pt x="437072" y="244253"/>
                    <a:pt x="437072" y="244253"/>
                  </a:cubicBezTo>
                  <a:cubicBezTo>
                    <a:pt x="437072" y="244253"/>
                    <a:pt x="437072" y="244253"/>
                    <a:pt x="437072" y="244253"/>
                  </a:cubicBezTo>
                  <a:cubicBezTo>
                    <a:pt x="437072" y="244253"/>
                    <a:pt x="437072" y="244253"/>
                    <a:pt x="437072" y="244253"/>
                  </a:cubicBezTo>
                  <a:lnTo>
                    <a:pt x="437909" y="244193"/>
                  </a:lnTo>
                  <a:lnTo>
                    <a:pt x="444248" y="259922"/>
                  </a:lnTo>
                  <a:lnTo>
                    <a:pt x="451904" y="278941"/>
                  </a:lnTo>
                  <a:lnTo>
                    <a:pt x="459440" y="297661"/>
                  </a:lnTo>
                  <a:lnTo>
                    <a:pt x="466856" y="316081"/>
                  </a:lnTo>
                  <a:lnTo>
                    <a:pt x="474152" y="334263"/>
                  </a:lnTo>
                  <a:lnTo>
                    <a:pt x="474152" y="334263"/>
                  </a:lnTo>
                  <a:lnTo>
                    <a:pt x="481329" y="352145"/>
                  </a:lnTo>
                  <a:cubicBezTo>
                    <a:pt x="481329" y="352145"/>
                    <a:pt x="481329" y="352145"/>
                    <a:pt x="481329" y="352145"/>
                  </a:cubicBezTo>
                  <a:lnTo>
                    <a:pt x="488386" y="369728"/>
                  </a:lnTo>
                  <a:lnTo>
                    <a:pt x="488386" y="369728"/>
                  </a:lnTo>
                  <a:lnTo>
                    <a:pt x="495384" y="387072"/>
                  </a:lnTo>
                  <a:lnTo>
                    <a:pt x="495384" y="387072"/>
                  </a:lnTo>
                  <a:lnTo>
                    <a:pt x="502262" y="404177"/>
                  </a:lnTo>
                  <a:lnTo>
                    <a:pt x="502262" y="404177"/>
                  </a:lnTo>
                  <a:lnTo>
                    <a:pt x="509020" y="421043"/>
                  </a:lnTo>
                  <a:cubicBezTo>
                    <a:pt x="509020" y="421043"/>
                    <a:pt x="509020" y="421043"/>
                    <a:pt x="509020" y="421043"/>
                  </a:cubicBezTo>
                  <a:lnTo>
                    <a:pt x="515658" y="437669"/>
                  </a:lnTo>
                  <a:cubicBezTo>
                    <a:pt x="515658" y="437669"/>
                    <a:pt x="515658" y="437669"/>
                    <a:pt x="515658" y="437669"/>
                  </a:cubicBezTo>
                  <a:cubicBezTo>
                    <a:pt x="515658" y="437669"/>
                    <a:pt x="515658" y="437669"/>
                    <a:pt x="515658" y="437669"/>
                  </a:cubicBezTo>
                  <a:lnTo>
                    <a:pt x="517931" y="440779"/>
                  </a:lnTo>
                  <a:lnTo>
                    <a:pt x="517931" y="440779"/>
                  </a:lnTo>
                  <a:lnTo>
                    <a:pt x="517931" y="440779"/>
                  </a:lnTo>
                  <a:cubicBezTo>
                    <a:pt x="517931" y="440779"/>
                    <a:pt x="517931" y="440779"/>
                    <a:pt x="517991" y="440839"/>
                  </a:cubicBezTo>
                  <a:lnTo>
                    <a:pt x="517991" y="440839"/>
                  </a:lnTo>
                  <a:lnTo>
                    <a:pt x="517991" y="440839"/>
                  </a:lnTo>
                  <a:lnTo>
                    <a:pt x="517991" y="440839"/>
                  </a:lnTo>
                  <a:cubicBezTo>
                    <a:pt x="517991" y="440839"/>
                    <a:pt x="518050" y="440839"/>
                    <a:pt x="518050" y="440899"/>
                  </a:cubicBezTo>
                  <a:cubicBezTo>
                    <a:pt x="518050" y="440899"/>
                    <a:pt x="518050" y="440899"/>
                    <a:pt x="518050" y="440899"/>
                  </a:cubicBezTo>
                  <a:cubicBezTo>
                    <a:pt x="518050" y="440899"/>
                    <a:pt x="518050" y="440899"/>
                    <a:pt x="518050" y="440899"/>
                  </a:cubicBezTo>
                  <a:cubicBezTo>
                    <a:pt x="518050" y="440899"/>
                    <a:pt x="518050" y="440899"/>
                    <a:pt x="518050" y="440899"/>
                  </a:cubicBezTo>
                  <a:cubicBezTo>
                    <a:pt x="518050" y="440899"/>
                    <a:pt x="518110" y="440899"/>
                    <a:pt x="518110" y="440899"/>
                  </a:cubicBezTo>
                  <a:cubicBezTo>
                    <a:pt x="518110" y="440899"/>
                    <a:pt x="518110" y="440899"/>
                    <a:pt x="518110" y="440899"/>
                  </a:cubicBezTo>
                  <a:cubicBezTo>
                    <a:pt x="518110" y="440899"/>
                    <a:pt x="518110" y="440899"/>
                    <a:pt x="518110" y="440899"/>
                  </a:cubicBezTo>
                  <a:cubicBezTo>
                    <a:pt x="518110" y="440899"/>
                    <a:pt x="518110" y="440899"/>
                    <a:pt x="518110" y="440899"/>
                  </a:cubicBezTo>
                  <a:lnTo>
                    <a:pt x="518110" y="440899"/>
                  </a:lnTo>
                  <a:cubicBezTo>
                    <a:pt x="518110" y="440899"/>
                    <a:pt x="518110" y="440899"/>
                    <a:pt x="518110" y="440899"/>
                  </a:cubicBezTo>
                  <a:cubicBezTo>
                    <a:pt x="518110" y="440899"/>
                    <a:pt x="518110" y="440899"/>
                    <a:pt x="518110" y="440899"/>
                  </a:cubicBezTo>
                  <a:lnTo>
                    <a:pt x="523912" y="436772"/>
                  </a:lnTo>
                  <a:cubicBezTo>
                    <a:pt x="523912" y="436832"/>
                    <a:pt x="523912" y="436832"/>
                    <a:pt x="523912" y="436772"/>
                  </a:cubicBezTo>
                  <a:cubicBezTo>
                    <a:pt x="523912" y="436832"/>
                    <a:pt x="523912" y="436772"/>
                    <a:pt x="523912" y="436772"/>
                  </a:cubicBezTo>
                  <a:close/>
                  <a:moveTo>
                    <a:pt x="516137" y="437430"/>
                  </a:moveTo>
                  <a:lnTo>
                    <a:pt x="509976" y="422179"/>
                  </a:lnTo>
                  <a:lnTo>
                    <a:pt x="511412" y="424093"/>
                  </a:lnTo>
                  <a:lnTo>
                    <a:pt x="517572" y="439404"/>
                  </a:lnTo>
                  <a:lnTo>
                    <a:pt x="516137" y="437430"/>
                  </a:lnTo>
                  <a:close/>
                  <a:moveTo>
                    <a:pt x="380375" y="226191"/>
                  </a:moveTo>
                  <a:lnTo>
                    <a:pt x="395805" y="207172"/>
                  </a:lnTo>
                  <a:lnTo>
                    <a:pt x="417215" y="209624"/>
                  </a:lnTo>
                  <a:lnTo>
                    <a:pt x="400350" y="229779"/>
                  </a:lnTo>
                  <a:lnTo>
                    <a:pt x="380375" y="226191"/>
                  </a:lnTo>
                  <a:close/>
                  <a:moveTo>
                    <a:pt x="419309" y="173620"/>
                  </a:moveTo>
                  <a:lnTo>
                    <a:pt x="436892" y="191682"/>
                  </a:lnTo>
                  <a:lnTo>
                    <a:pt x="436892" y="191682"/>
                  </a:lnTo>
                  <a:lnTo>
                    <a:pt x="419249" y="173620"/>
                  </a:lnTo>
                  <a:lnTo>
                    <a:pt x="419309" y="173620"/>
                  </a:lnTo>
                  <a:close/>
                  <a:moveTo>
                    <a:pt x="448794" y="238571"/>
                  </a:moveTo>
                  <a:lnTo>
                    <a:pt x="442035" y="239648"/>
                  </a:lnTo>
                  <a:lnTo>
                    <a:pt x="440420" y="235401"/>
                  </a:lnTo>
                  <a:lnTo>
                    <a:pt x="440480" y="235401"/>
                  </a:lnTo>
                  <a:cubicBezTo>
                    <a:pt x="440480" y="235401"/>
                    <a:pt x="440480" y="235401"/>
                    <a:pt x="440480" y="235401"/>
                  </a:cubicBezTo>
                  <a:cubicBezTo>
                    <a:pt x="440480" y="235401"/>
                    <a:pt x="440480" y="235401"/>
                    <a:pt x="440480" y="235401"/>
                  </a:cubicBezTo>
                  <a:lnTo>
                    <a:pt x="442993" y="235222"/>
                  </a:lnTo>
                  <a:cubicBezTo>
                    <a:pt x="442993" y="235222"/>
                    <a:pt x="442993" y="235222"/>
                    <a:pt x="442993" y="235222"/>
                  </a:cubicBezTo>
                  <a:cubicBezTo>
                    <a:pt x="442993" y="235222"/>
                    <a:pt x="442993" y="235222"/>
                    <a:pt x="442993" y="235222"/>
                  </a:cubicBezTo>
                  <a:cubicBezTo>
                    <a:pt x="442993" y="235222"/>
                    <a:pt x="442993" y="235222"/>
                    <a:pt x="442993" y="235222"/>
                  </a:cubicBezTo>
                  <a:lnTo>
                    <a:pt x="446940" y="233906"/>
                  </a:lnTo>
                  <a:lnTo>
                    <a:pt x="448794" y="238571"/>
                  </a:lnTo>
                  <a:close/>
                  <a:moveTo>
                    <a:pt x="511651" y="423674"/>
                  </a:moveTo>
                  <a:lnTo>
                    <a:pt x="505013" y="407108"/>
                  </a:lnTo>
                  <a:lnTo>
                    <a:pt x="513446" y="404117"/>
                  </a:lnTo>
                  <a:lnTo>
                    <a:pt x="518469" y="420265"/>
                  </a:lnTo>
                  <a:lnTo>
                    <a:pt x="511651" y="423674"/>
                  </a:lnTo>
                  <a:close/>
                  <a:moveTo>
                    <a:pt x="504893" y="406809"/>
                  </a:moveTo>
                  <a:lnTo>
                    <a:pt x="498135" y="390003"/>
                  </a:lnTo>
                  <a:lnTo>
                    <a:pt x="508242" y="387431"/>
                  </a:lnTo>
                  <a:lnTo>
                    <a:pt x="513326" y="403818"/>
                  </a:lnTo>
                  <a:lnTo>
                    <a:pt x="504893" y="406809"/>
                  </a:lnTo>
                  <a:close/>
                  <a:moveTo>
                    <a:pt x="498015" y="389644"/>
                  </a:moveTo>
                  <a:lnTo>
                    <a:pt x="491197" y="372599"/>
                  </a:lnTo>
                  <a:lnTo>
                    <a:pt x="502979" y="370446"/>
                  </a:lnTo>
                  <a:lnTo>
                    <a:pt x="508183" y="387072"/>
                  </a:lnTo>
                  <a:lnTo>
                    <a:pt x="498015" y="389644"/>
                  </a:lnTo>
                  <a:close/>
                  <a:moveTo>
                    <a:pt x="491018" y="372240"/>
                  </a:moveTo>
                  <a:lnTo>
                    <a:pt x="484080" y="354896"/>
                  </a:lnTo>
                  <a:lnTo>
                    <a:pt x="497597" y="353221"/>
                  </a:lnTo>
                  <a:lnTo>
                    <a:pt x="502860" y="370087"/>
                  </a:lnTo>
                  <a:lnTo>
                    <a:pt x="491018" y="372240"/>
                  </a:lnTo>
                  <a:close/>
                  <a:moveTo>
                    <a:pt x="483900" y="354597"/>
                  </a:moveTo>
                  <a:lnTo>
                    <a:pt x="476844" y="337014"/>
                  </a:lnTo>
                  <a:lnTo>
                    <a:pt x="492094" y="335817"/>
                  </a:lnTo>
                  <a:lnTo>
                    <a:pt x="497417" y="352922"/>
                  </a:lnTo>
                  <a:lnTo>
                    <a:pt x="483900" y="354597"/>
                  </a:lnTo>
                  <a:close/>
                  <a:moveTo>
                    <a:pt x="476724" y="336655"/>
                  </a:moveTo>
                  <a:lnTo>
                    <a:pt x="469547" y="318772"/>
                  </a:lnTo>
                  <a:lnTo>
                    <a:pt x="486592" y="318115"/>
                  </a:lnTo>
                  <a:lnTo>
                    <a:pt x="491974" y="335459"/>
                  </a:lnTo>
                  <a:lnTo>
                    <a:pt x="476724" y="336655"/>
                  </a:lnTo>
                  <a:close/>
                  <a:moveTo>
                    <a:pt x="469427" y="318414"/>
                  </a:moveTo>
                  <a:lnTo>
                    <a:pt x="462131" y="300292"/>
                  </a:lnTo>
                  <a:lnTo>
                    <a:pt x="480970" y="300172"/>
                  </a:lnTo>
                  <a:lnTo>
                    <a:pt x="486472" y="317756"/>
                  </a:lnTo>
                  <a:lnTo>
                    <a:pt x="469427" y="318414"/>
                  </a:lnTo>
                  <a:close/>
                  <a:moveTo>
                    <a:pt x="462011" y="299933"/>
                  </a:moveTo>
                  <a:lnTo>
                    <a:pt x="454595" y="281513"/>
                  </a:lnTo>
                  <a:lnTo>
                    <a:pt x="475289" y="281931"/>
                  </a:lnTo>
                  <a:lnTo>
                    <a:pt x="480850" y="299814"/>
                  </a:lnTo>
                  <a:lnTo>
                    <a:pt x="462011" y="299933"/>
                  </a:lnTo>
                  <a:close/>
                  <a:moveTo>
                    <a:pt x="454475" y="281154"/>
                  </a:moveTo>
                  <a:lnTo>
                    <a:pt x="446940" y="262434"/>
                  </a:lnTo>
                  <a:lnTo>
                    <a:pt x="469547" y="263451"/>
                  </a:lnTo>
                  <a:lnTo>
                    <a:pt x="475229" y="281572"/>
                  </a:lnTo>
                  <a:lnTo>
                    <a:pt x="454475" y="281154"/>
                  </a:lnTo>
                  <a:close/>
                  <a:moveTo>
                    <a:pt x="446820" y="262075"/>
                  </a:moveTo>
                  <a:lnTo>
                    <a:pt x="439165" y="243057"/>
                  </a:lnTo>
                  <a:lnTo>
                    <a:pt x="463686" y="244731"/>
                  </a:lnTo>
                  <a:lnTo>
                    <a:pt x="469427" y="263092"/>
                  </a:lnTo>
                  <a:lnTo>
                    <a:pt x="446820" y="262075"/>
                  </a:lnTo>
                  <a:close/>
                  <a:moveTo>
                    <a:pt x="436952" y="243595"/>
                  </a:moveTo>
                  <a:lnTo>
                    <a:pt x="437191" y="243415"/>
                  </a:lnTo>
                  <a:lnTo>
                    <a:pt x="437490" y="243655"/>
                  </a:lnTo>
                  <a:lnTo>
                    <a:pt x="437132" y="243714"/>
                  </a:lnTo>
                  <a:lnTo>
                    <a:pt x="436952" y="243595"/>
                  </a:lnTo>
                  <a:close/>
                  <a:moveTo>
                    <a:pt x="437430" y="243176"/>
                  </a:moveTo>
                  <a:lnTo>
                    <a:pt x="437610" y="242937"/>
                  </a:lnTo>
                  <a:lnTo>
                    <a:pt x="437849" y="243475"/>
                  </a:lnTo>
                  <a:lnTo>
                    <a:pt x="437430" y="243176"/>
                  </a:lnTo>
                  <a:close/>
                  <a:moveTo>
                    <a:pt x="436593" y="243356"/>
                  </a:moveTo>
                  <a:lnTo>
                    <a:pt x="410457" y="222842"/>
                  </a:lnTo>
                  <a:lnTo>
                    <a:pt x="410696" y="222662"/>
                  </a:lnTo>
                  <a:lnTo>
                    <a:pt x="436832" y="243236"/>
                  </a:lnTo>
                  <a:lnTo>
                    <a:pt x="436593" y="243356"/>
                  </a:lnTo>
                  <a:close/>
                  <a:moveTo>
                    <a:pt x="392994" y="261776"/>
                  </a:moveTo>
                  <a:lnTo>
                    <a:pt x="366021" y="296046"/>
                  </a:lnTo>
                  <a:lnTo>
                    <a:pt x="365423" y="295866"/>
                  </a:lnTo>
                  <a:lnTo>
                    <a:pt x="392515" y="261537"/>
                  </a:lnTo>
                  <a:lnTo>
                    <a:pt x="392994" y="261776"/>
                  </a:lnTo>
                  <a:close/>
                  <a:moveTo>
                    <a:pt x="56757" y="701359"/>
                  </a:moveTo>
                  <a:lnTo>
                    <a:pt x="56638" y="701000"/>
                  </a:lnTo>
                  <a:lnTo>
                    <a:pt x="56698" y="698847"/>
                  </a:lnTo>
                  <a:lnTo>
                    <a:pt x="56817" y="699146"/>
                  </a:lnTo>
                  <a:lnTo>
                    <a:pt x="56757" y="701359"/>
                  </a:lnTo>
                  <a:close/>
                  <a:moveTo>
                    <a:pt x="13158" y="668645"/>
                  </a:moveTo>
                  <a:cubicBezTo>
                    <a:pt x="13158" y="668645"/>
                    <a:pt x="13158" y="668645"/>
                    <a:pt x="13158" y="668645"/>
                  </a:cubicBezTo>
                  <a:cubicBezTo>
                    <a:pt x="13158" y="668645"/>
                    <a:pt x="13158" y="668645"/>
                    <a:pt x="13158" y="668645"/>
                  </a:cubicBezTo>
                  <a:lnTo>
                    <a:pt x="13995" y="667807"/>
                  </a:lnTo>
                  <a:lnTo>
                    <a:pt x="14773" y="667927"/>
                  </a:lnTo>
                  <a:lnTo>
                    <a:pt x="13338" y="669362"/>
                  </a:lnTo>
                  <a:lnTo>
                    <a:pt x="12500" y="669303"/>
                  </a:lnTo>
                  <a:lnTo>
                    <a:pt x="13158" y="668645"/>
                  </a:lnTo>
                  <a:close/>
                  <a:moveTo>
                    <a:pt x="18959" y="667867"/>
                  </a:moveTo>
                  <a:lnTo>
                    <a:pt x="18660" y="667568"/>
                  </a:lnTo>
                  <a:lnTo>
                    <a:pt x="19139" y="667628"/>
                  </a:lnTo>
                  <a:lnTo>
                    <a:pt x="18959" y="667867"/>
                  </a:lnTo>
                  <a:close/>
                  <a:moveTo>
                    <a:pt x="18780" y="668047"/>
                  </a:moveTo>
                  <a:lnTo>
                    <a:pt x="17464" y="669602"/>
                  </a:lnTo>
                  <a:lnTo>
                    <a:pt x="15550" y="667927"/>
                  </a:lnTo>
                  <a:lnTo>
                    <a:pt x="18241" y="667449"/>
                  </a:lnTo>
                  <a:lnTo>
                    <a:pt x="18780" y="668047"/>
                  </a:lnTo>
                  <a:close/>
                  <a:moveTo>
                    <a:pt x="13098" y="672532"/>
                  </a:moveTo>
                  <a:lnTo>
                    <a:pt x="14234" y="675941"/>
                  </a:lnTo>
                  <a:lnTo>
                    <a:pt x="13218" y="676061"/>
                  </a:lnTo>
                  <a:lnTo>
                    <a:pt x="12081" y="672532"/>
                  </a:lnTo>
                  <a:lnTo>
                    <a:pt x="13098" y="672532"/>
                  </a:lnTo>
                  <a:close/>
                  <a:moveTo>
                    <a:pt x="392156" y="261417"/>
                  </a:moveTo>
                  <a:lnTo>
                    <a:pt x="365064" y="295807"/>
                  </a:lnTo>
                  <a:lnTo>
                    <a:pt x="363748" y="295149"/>
                  </a:lnTo>
                  <a:lnTo>
                    <a:pt x="390960" y="260759"/>
                  </a:lnTo>
                  <a:lnTo>
                    <a:pt x="392156" y="261417"/>
                  </a:lnTo>
                  <a:close/>
                  <a:moveTo>
                    <a:pt x="49700" y="701120"/>
                  </a:moveTo>
                  <a:cubicBezTo>
                    <a:pt x="49700" y="701120"/>
                    <a:pt x="49700" y="701120"/>
                    <a:pt x="49700" y="701120"/>
                  </a:cubicBezTo>
                  <a:cubicBezTo>
                    <a:pt x="49700" y="701120"/>
                    <a:pt x="49700" y="701120"/>
                    <a:pt x="49700" y="701120"/>
                  </a:cubicBezTo>
                  <a:cubicBezTo>
                    <a:pt x="49700" y="701180"/>
                    <a:pt x="49700" y="701180"/>
                    <a:pt x="49700" y="701180"/>
                  </a:cubicBezTo>
                  <a:cubicBezTo>
                    <a:pt x="49700" y="701180"/>
                    <a:pt x="49700" y="701180"/>
                    <a:pt x="49700" y="701240"/>
                  </a:cubicBezTo>
                  <a:cubicBezTo>
                    <a:pt x="49700" y="701240"/>
                    <a:pt x="49700" y="701240"/>
                    <a:pt x="49700" y="701299"/>
                  </a:cubicBezTo>
                  <a:cubicBezTo>
                    <a:pt x="49700" y="701299"/>
                    <a:pt x="49700" y="701299"/>
                    <a:pt x="49700" y="701359"/>
                  </a:cubicBezTo>
                  <a:cubicBezTo>
                    <a:pt x="49700" y="701359"/>
                    <a:pt x="49700" y="701359"/>
                    <a:pt x="49700" y="701359"/>
                  </a:cubicBezTo>
                  <a:lnTo>
                    <a:pt x="51554" y="703333"/>
                  </a:lnTo>
                  <a:lnTo>
                    <a:pt x="47906" y="702795"/>
                  </a:lnTo>
                  <a:lnTo>
                    <a:pt x="46470" y="700761"/>
                  </a:lnTo>
                  <a:lnTo>
                    <a:pt x="59867" y="678752"/>
                  </a:lnTo>
                  <a:lnTo>
                    <a:pt x="62857" y="678692"/>
                  </a:lnTo>
                  <a:lnTo>
                    <a:pt x="49700" y="701120"/>
                  </a:lnTo>
                  <a:cubicBezTo>
                    <a:pt x="49700" y="701060"/>
                    <a:pt x="49700" y="701060"/>
                    <a:pt x="49700" y="701120"/>
                  </a:cubicBezTo>
                  <a:close/>
                  <a:moveTo>
                    <a:pt x="11244" y="673429"/>
                  </a:moveTo>
                  <a:lnTo>
                    <a:pt x="11783" y="672771"/>
                  </a:lnTo>
                  <a:lnTo>
                    <a:pt x="12919" y="676180"/>
                  </a:lnTo>
                  <a:lnTo>
                    <a:pt x="12381" y="676838"/>
                  </a:lnTo>
                  <a:lnTo>
                    <a:pt x="11244" y="673429"/>
                  </a:lnTo>
                  <a:close/>
                  <a:moveTo>
                    <a:pt x="14414" y="676240"/>
                  </a:moveTo>
                  <a:lnTo>
                    <a:pt x="16866" y="680307"/>
                  </a:lnTo>
                  <a:lnTo>
                    <a:pt x="15909" y="680546"/>
                  </a:lnTo>
                  <a:lnTo>
                    <a:pt x="13338" y="676360"/>
                  </a:lnTo>
                  <a:lnTo>
                    <a:pt x="14414" y="676240"/>
                  </a:lnTo>
                  <a:close/>
                  <a:moveTo>
                    <a:pt x="390661" y="260520"/>
                  </a:moveTo>
                  <a:lnTo>
                    <a:pt x="363389" y="294909"/>
                  </a:lnTo>
                  <a:lnTo>
                    <a:pt x="361535" y="293773"/>
                  </a:lnTo>
                  <a:lnTo>
                    <a:pt x="388927" y="259384"/>
                  </a:lnTo>
                  <a:lnTo>
                    <a:pt x="390661" y="260520"/>
                  </a:lnTo>
                  <a:close/>
                  <a:moveTo>
                    <a:pt x="46052" y="700582"/>
                  </a:moveTo>
                  <a:cubicBezTo>
                    <a:pt x="46052" y="700582"/>
                    <a:pt x="46052" y="700641"/>
                    <a:pt x="46052" y="700582"/>
                  </a:cubicBezTo>
                  <a:cubicBezTo>
                    <a:pt x="46052" y="700641"/>
                    <a:pt x="46052" y="700641"/>
                    <a:pt x="46052" y="700582"/>
                  </a:cubicBezTo>
                  <a:cubicBezTo>
                    <a:pt x="46052" y="700641"/>
                    <a:pt x="46052" y="700641"/>
                    <a:pt x="46052" y="700641"/>
                  </a:cubicBezTo>
                  <a:cubicBezTo>
                    <a:pt x="46052" y="700641"/>
                    <a:pt x="46052" y="700641"/>
                    <a:pt x="46052" y="700641"/>
                  </a:cubicBezTo>
                  <a:cubicBezTo>
                    <a:pt x="46052" y="700641"/>
                    <a:pt x="46052" y="700701"/>
                    <a:pt x="46052" y="700701"/>
                  </a:cubicBezTo>
                  <a:cubicBezTo>
                    <a:pt x="46052" y="700701"/>
                    <a:pt x="46052" y="700701"/>
                    <a:pt x="46052" y="700701"/>
                  </a:cubicBezTo>
                  <a:lnTo>
                    <a:pt x="47427" y="702555"/>
                  </a:lnTo>
                  <a:lnTo>
                    <a:pt x="42942" y="700941"/>
                  </a:lnTo>
                  <a:lnTo>
                    <a:pt x="42045" y="699146"/>
                  </a:lnTo>
                  <a:lnTo>
                    <a:pt x="55741" y="677795"/>
                  </a:lnTo>
                  <a:lnTo>
                    <a:pt x="59389" y="678632"/>
                  </a:lnTo>
                  <a:lnTo>
                    <a:pt x="46052" y="700582"/>
                  </a:lnTo>
                  <a:cubicBezTo>
                    <a:pt x="46112" y="700582"/>
                    <a:pt x="46112" y="700582"/>
                    <a:pt x="46052" y="700582"/>
                  </a:cubicBezTo>
                  <a:cubicBezTo>
                    <a:pt x="46112" y="700582"/>
                    <a:pt x="46112" y="700582"/>
                    <a:pt x="46052" y="700582"/>
                  </a:cubicBezTo>
                  <a:close/>
                  <a:moveTo>
                    <a:pt x="52093" y="704649"/>
                  </a:moveTo>
                  <a:lnTo>
                    <a:pt x="48205" y="704110"/>
                  </a:lnTo>
                  <a:lnTo>
                    <a:pt x="48085" y="703094"/>
                  </a:lnTo>
                  <a:lnTo>
                    <a:pt x="51853" y="703632"/>
                  </a:lnTo>
                  <a:lnTo>
                    <a:pt x="52093" y="704649"/>
                  </a:lnTo>
                  <a:close/>
                  <a:moveTo>
                    <a:pt x="38576" y="703213"/>
                  </a:moveTo>
                  <a:lnTo>
                    <a:pt x="37559" y="702496"/>
                  </a:lnTo>
                  <a:lnTo>
                    <a:pt x="37619" y="702077"/>
                  </a:lnTo>
                  <a:lnTo>
                    <a:pt x="38576" y="702974"/>
                  </a:lnTo>
                  <a:lnTo>
                    <a:pt x="38576" y="703213"/>
                  </a:lnTo>
                  <a:close/>
                  <a:moveTo>
                    <a:pt x="15909" y="684793"/>
                  </a:moveTo>
                  <a:lnTo>
                    <a:pt x="16926" y="685510"/>
                  </a:lnTo>
                  <a:lnTo>
                    <a:pt x="16507" y="685690"/>
                  </a:lnTo>
                  <a:lnTo>
                    <a:pt x="15669" y="684912"/>
                  </a:lnTo>
                  <a:lnTo>
                    <a:pt x="15909" y="684793"/>
                  </a:lnTo>
                  <a:close/>
                  <a:moveTo>
                    <a:pt x="18839" y="686826"/>
                  </a:moveTo>
                  <a:lnTo>
                    <a:pt x="18241" y="685750"/>
                  </a:lnTo>
                  <a:lnTo>
                    <a:pt x="18301" y="685750"/>
                  </a:lnTo>
                  <a:lnTo>
                    <a:pt x="18839" y="686826"/>
                  </a:lnTo>
                  <a:close/>
                  <a:moveTo>
                    <a:pt x="18660" y="687125"/>
                  </a:moveTo>
                  <a:lnTo>
                    <a:pt x="18481" y="687125"/>
                  </a:lnTo>
                  <a:lnTo>
                    <a:pt x="17524" y="685750"/>
                  </a:lnTo>
                  <a:lnTo>
                    <a:pt x="17823" y="685690"/>
                  </a:lnTo>
                  <a:lnTo>
                    <a:pt x="18660" y="687125"/>
                  </a:lnTo>
                  <a:close/>
                  <a:moveTo>
                    <a:pt x="18660" y="687484"/>
                  </a:moveTo>
                  <a:lnTo>
                    <a:pt x="18660" y="687604"/>
                  </a:lnTo>
                  <a:lnTo>
                    <a:pt x="18660" y="687484"/>
                  </a:lnTo>
                  <a:lnTo>
                    <a:pt x="18660" y="687484"/>
                  </a:lnTo>
                  <a:close/>
                  <a:moveTo>
                    <a:pt x="17284" y="685809"/>
                  </a:moveTo>
                  <a:lnTo>
                    <a:pt x="18241" y="687245"/>
                  </a:lnTo>
                  <a:lnTo>
                    <a:pt x="18002" y="687364"/>
                  </a:lnTo>
                  <a:lnTo>
                    <a:pt x="16926" y="686049"/>
                  </a:lnTo>
                  <a:lnTo>
                    <a:pt x="17284" y="685809"/>
                  </a:lnTo>
                  <a:close/>
                  <a:moveTo>
                    <a:pt x="18301" y="687604"/>
                  </a:moveTo>
                  <a:lnTo>
                    <a:pt x="18361" y="687962"/>
                  </a:lnTo>
                  <a:lnTo>
                    <a:pt x="18182" y="687663"/>
                  </a:lnTo>
                  <a:lnTo>
                    <a:pt x="18301" y="687604"/>
                  </a:lnTo>
                  <a:close/>
                  <a:moveTo>
                    <a:pt x="17106" y="680666"/>
                  </a:moveTo>
                  <a:lnTo>
                    <a:pt x="20754" y="685092"/>
                  </a:lnTo>
                  <a:lnTo>
                    <a:pt x="19916" y="685510"/>
                  </a:lnTo>
                  <a:lnTo>
                    <a:pt x="16089" y="680905"/>
                  </a:lnTo>
                  <a:lnTo>
                    <a:pt x="17106" y="680666"/>
                  </a:lnTo>
                  <a:close/>
                  <a:moveTo>
                    <a:pt x="22907" y="685391"/>
                  </a:moveTo>
                  <a:cubicBezTo>
                    <a:pt x="22907" y="685391"/>
                    <a:pt x="22907" y="685391"/>
                    <a:pt x="22907" y="685391"/>
                  </a:cubicBezTo>
                  <a:lnTo>
                    <a:pt x="22907" y="685391"/>
                  </a:lnTo>
                  <a:cubicBezTo>
                    <a:pt x="22907" y="685391"/>
                    <a:pt x="22907" y="685391"/>
                    <a:pt x="22907" y="685391"/>
                  </a:cubicBezTo>
                  <a:cubicBezTo>
                    <a:pt x="22967" y="685391"/>
                    <a:pt x="22967" y="685391"/>
                    <a:pt x="22967" y="685391"/>
                  </a:cubicBezTo>
                  <a:cubicBezTo>
                    <a:pt x="22967" y="685391"/>
                    <a:pt x="22967" y="685391"/>
                    <a:pt x="22967" y="685391"/>
                  </a:cubicBezTo>
                  <a:cubicBezTo>
                    <a:pt x="22967" y="685391"/>
                    <a:pt x="22967" y="685391"/>
                    <a:pt x="22967" y="685391"/>
                  </a:cubicBezTo>
                  <a:lnTo>
                    <a:pt x="39174" y="666492"/>
                  </a:lnTo>
                  <a:lnTo>
                    <a:pt x="42464" y="669901"/>
                  </a:lnTo>
                  <a:lnTo>
                    <a:pt x="26973" y="689278"/>
                  </a:lnTo>
                  <a:lnTo>
                    <a:pt x="25957" y="689816"/>
                  </a:lnTo>
                  <a:lnTo>
                    <a:pt x="21471" y="685450"/>
                  </a:lnTo>
                  <a:lnTo>
                    <a:pt x="22907" y="685391"/>
                  </a:lnTo>
                  <a:close/>
                  <a:moveTo>
                    <a:pt x="388628" y="259145"/>
                  </a:moveTo>
                  <a:lnTo>
                    <a:pt x="361236" y="293534"/>
                  </a:lnTo>
                  <a:lnTo>
                    <a:pt x="359023" y="291979"/>
                  </a:lnTo>
                  <a:lnTo>
                    <a:pt x="386534" y="257590"/>
                  </a:lnTo>
                  <a:lnTo>
                    <a:pt x="388628" y="259145"/>
                  </a:lnTo>
                  <a:close/>
                  <a:moveTo>
                    <a:pt x="41686" y="699027"/>
                  </a:moveTo>
                  <a:cubicBezTo>
                    <a:pt x="41686" y="699027"/>
                    <a:pt x="41686" y="699027"/>
                    <a:pt x="41686" y="699027"/>
                  </a:cubicBezTo>
                  <a:cubicBezTo>
                    <a:pt x="41686" y="699027"/>
                    <a:pt x="41686" y="699027"/>
                    <a:pt x="41686" y="699027"/>
                  </a:cubicBezTo>
                  <a:cubicBezTo>
                    <a:pt x="41686" y="699087"/>
                    <a:pt x="41686" y="699087"/>
                    <a:pt x="41686" y="699087"/>
                  </a:cubicBezTo>
                  <a:cubicBezTo>
                    <a:pt x="41686" y="699087"/>
                    <a:pt x="41686" y="699087"/>
                    <a:pt x="41686" y="699146"/>
                  </a:cubicBezTo>
                  <a:cubicBezTo>
                    <a:pt x="41686" y="699146"/>
                    <a:pt x="41686" y="699146"/>
                    <a:pt x="41686" y="699146"/>
                  </a:cubicBezTo>
                  <a:lnTo>
                    <a:pt x="42524" y="700761"/>
                  </a:lnTo>
                  <a:lnTo>
                    <a:pt x="37439" y="698130"/>
                  </a:lnTo>
                  <a:lnTo>
                    <a:pt x="37201" y="696694"/>
                  </a:lnTo>
                  <a:lnTo>
                    <a:pt x="51375" y="676001"/>
                  </a:lnTo>
                  <a:lnTo>
                    <a:pt x="55441" y="677735"/>
                  </a:lnTo>
                  <a:lnTo>
                    <a:pt x="41686" y="699027"/>
                  </a:lnTo>
                  <a:cubicBezTo>
                    <a:pt x="41686" y="698967"/>
                    <a:pt x="41686" y="699027"/>
                    <a:pt x="41686" y="699027"/>
                  </a:cubicBezTo>
                  <a:close/>
                  <a:moveTo>
                    <a:pt x="27272" y="689517"/>
                  </a:moveTo>
                  <a:cubicBezTo>
                    <a:pt x="27272" y="689517"/>
                    <a:pt x="27272" y="689517"/>
                    <a:pt x="27272" y="689517"/>
                  </a:cubicBezTo>
                  <a:cubicBezTo>
                    <a:pt x="27272" y="689517"/>
                    <a:pt x="27272" y="689517"/>
                    <a:pt x="27272" y="689517"/>
                  </a:cubicBezTo>
                  <a:lnTo>
                    <a:pt x="42762" y="670080"/>
                  </a:lnTo>
                  <a:lnTo>
                    <a:pt x="46590" y="673130"/>
                  </a:lnTo>
                  <a:lnTo>
                    <a:pt x="31758" y="693106"/>
                  </a:lnTo>
                  <a:cubicBezTo>
                    <a:pt x="31758" y="693106"/>
                    <a:pt x="31758" y="693106"/>
                    <a:pt x="31758" y="693106"/>
                  </a:cubicBezTo>
                  <a:cubicBezTo>
                    <a:pt x="31758" y="693106"/>
                    <a:pt x="31758" y="693106"/>
                    <a:pt x="31758" y="693106"/>
                  </a:cubicBezTo>
                  <a:lnTo>
                    <a:pt x="31399" y="694123"/>
                  </a:lnTo>
                  <a:lnTo>
                    <a:pt x="26315" y="689996"/>
                  </a:lnTo>
                  <a:lnTo>
                    <a:pt x="27272" y="689517"/>
                  </a:lnTo>
                  <a:close/>
                  <a:moveTo>
                    <a:pt x="331093" y="326248"/>
                  </a:moveTo>
                  <a:lnTo>
                    <a:pt x="304239" y="359740"/>
                  </a:lnTo>
                  <a:lnTo>
                    <a:pt x="301548" y="357767"/>
                  </a:lnTo>
                  <a:lnTo>
                    <a:pt x="328521" y="324335"/>
                  </a:lnTo>
                  <a:lnTo>
                    <a:pt x="331093" y="326248"/>
                  </a:lnTo>
                  <a:close/>
                  <a:moveTo>
                    <a:pt x="47128" y="673070"/>
                  </a:moveTo>
                  <a:lnTo>
                    <a:pt x="70991" y="643526"/>
                  </a:lnTo>
                  <a:lnTo>
                    <a:pt x="74939" y="645978"/>
                  </a:lnTo>
                  <a:lnTo>
                    <a:pt x="51195" y="675582"/>
                  </a:lnTo>
                  <a:lnTo>
                    <a:pt x="47128" y="673070"/>
                  </a:lnTo>
                  <a:close/>
                  <a:moveTo>
                    <a:pt x="71231" y="643227"/>
                  </a:moveTo>
                  <a:lnTo>
                    <a:pt x="95393" y="613323"/>
                  </a:lnTo>
                  <a:lnTo>
                    <a:pt x="99221" y="615715"/>
                  </a:lnTo>
                  <a:lnTo>
                    <a:pt x="75238" y="645679"/>
                  </a:lnTo>
                  <a:lnTo>
                    <a:pt x="71231" y="643227"/>
                  </a:lnTo>
                  <a:close/>
                  <a:moveTo>
                    <a:pt x="95573" y="613024"/>
                  </a:moveTo>
                  <a:lnTo>
                    <a:pt x="120034" y="582762"/>
                  </a:lnTo>
                  <a:lnTo>
                    <a:pt x="123742" y="585094"/>
                  </a:lnTo>
                  <a:lnTo>
                    <a:pt x="99459" y="615416"/>
                  </a:lnTo>
                  <a:lnTo>
                    <a:pt x="95573" y="613024"/>
                  </a:lnTo>
                  <a:close/>
                  <a:moveTo>
                    <a:pt x="120273" y="582462"/>
                  </a:moveTo>
                  <a:lnTo>
                    <a:pt x="145033" y="551781"/>
                  </a:lnTo>
                  <a:lnTo>
                    <a:pt x="148562" y="554114"/>
                  </a:lnTo>
                  <a:lnTo>
                    <a:pt x="123981" y="584795"/>
                  </a:lnTo>
                  <a:lnTo>
                    <a:pt x="120273" y="582462"/>
                  </a:lnTo>
                  <a:close/>
                  <a:moveTo>
                    <a:pt x="145212" y="551542"/>
                  </a:moveTo>
                  <a:lnTo>
                    <a:pt x="170272" y="520502"/>
                  </a:lnTo>
                  <a:lnTo>
                    <a:pt x="173680" y="522775"/>
                  </a:lnTo>
                  <a:lnTo>
                    <a:pt x="148800" y="553875"/>
                  </a:lnTo>
                  <a:lnTo>
                    <a:pt x="145212" y="551542"/>
                  </a:lnTo>
                  <a:close/>
                  <a:moveTo>
                    <a:pt x="170510" y="520203"/>
                  </a:moveTo>
                  <a:lnTo>
                    <a:pt x="195869" y="488804"/>
                  </a:lnTo>
                  <a:lnTo>
                    <a:pt x="199158" y="491017"/>
                  </a:lnTo>
                  <a:lnTo>
                    <a:pt x="173920" y="522476"/>
                  </a:lnTo>
                  <a:lnTo>
                    <a:pt x="170510" y="520203"/>
                  </a:lnTo>
                  <a:close/>
                  <a:moveTo>
                    <a:pt x="196048" y="488505"/>
                  </a:moveTo>
                  <a:lnTo>
                    <a:pt x="221706" y="456688"/>
                  </a:lnTo>
                  <a:lnTo>
                    <a:pt x="224816" y="458841"/>
                  </a:lnTo>
                  <a:lnTo>
                    <a:pt x="199278" y="490718"/>
                  </a:lnTo>
                  <a:lnTo>
                    <a:pt x="196048" y="488505"/>
                  </a:lnTo>
                  <a:close/>
                  <a:moveTo>
                    <a:pt x="221945" y="456449"/>
                  </a:moveTo>
                  <a:lnTo>
                    <a:pt x="247901" y="424272"/>
                  </a:lnTo>
                  <a:lnTo>
                    <a:pt x="250892" y="426366"/>
                  </a:lnTo>
                  <a:lnTo>
                    <a:pt x="225055" y="458602"/>
                  </a:lnTo>
                  <a:lnTo>
                    <a:pt x="221945" y="456449"/>
                  </a:lnTo>
                  <a:close/>
                  <a:moveTo>
                    <a:pt x="248200" y="423973"/>
                  </a:moveTo>
                  <a:lnTo>
                    <a:pt x="274515" y="391378"/>
                  </a:lnTo>
                  <a:lnTo>
                    <a:pt x="277326" y="393412"/>
                  </a:lnTo>
                  <a:lnTo>
                    <a:pt x="251130" y="426067"/>
                  </a:lnTo>
                  <a:lnTo>
                    <a:pt x="248200" y="423973"/>
                  </a:lnTo>
                  <a:close/>
                  <a:moveTo>
                    <a:pt x="274695" y="391079"/>
                  </a:moveTo>
                  <a:lnTo>
                    <a:pt x="301309" y="358066"/>
                  </a:lnTo>
                  <a:lnTo>
                    <a:pt x="304001" y="360039"/>
                  </a:lnTo>
                  <a:lnTo>
                    <a:pt x="277506" y="393113"/>
                  </a:lnTo>
                  <a:lnTo>
                    <a:pt x="274695" y="391079"/>
                  </a:lnTo>
                  <a:close/>
                  <a:moveTo>
                    <a:pt x="301070" y="357827"/>
                  </a:moveTo>
                  <a:lnTo>
                    <a:pt x="274396" y="390840"/>
                  </a:lnTo>
                  <a:lnTo>
                    <a:pt x="271585" y="388567"/>
                  </a:lnTo>
                  <a:lnTo>
                    <a:pt x="298378" y="355614"/>
                  </a:lnTo>
                  <a:lnTo>
                    <a:pt x="301070" y="357827"/>
                  </a:lnTo>
                  <a:close/>
                  <a:moveTo>
                    <a:pt x="274157" y="391139"/>
                  </a:moveTo>
                  <a:lnTo>
                    <a:pt x="247842" y="423734"/>
                  </a:lnTo>
                  <a:lnTo>
                    <a:pt x="244911" y="421342"/>
                  </a:lnTo>
                  <a:lnTo>
                    <a:pt x="271345" y="388807"/>
                  </a:lnTo>
                  <a:lnTo>
                    <a:pt x="274157" y="391139"/>
                  </a:lnTo>
                  <a:close/>
                  <a:moveTo>
                    <a:pt x="247662" y="424033"/>
                  </a:moveTo>
                  <a:lnTo>
                    <a:pt x="221646" y="456209"/>
                  </a:lnTo>
                  <a:lnTo>
                    <a:pt x="218596" y="453757"/>
                  </a:lnTo>
                  <a:lnTo>
                    <a:pt x="244731" y="421641"/>
                  </a:lnTo>
                  <a:lnTo>
                    <a:pt x="247662" y="424033"/>
                  </a:lnTo>
                  <a:close/>
                  <a:moveTo>
                    <a:pt x="221466" y="456508"/>
                  </a:moveTo>
                  <a:lnTo>
                    <a:pt x="195809" y="488326"/>
                  </a:lnTo>
                  <a:lnTo>
                    <a:pt x="192640" y="485754"/>
                  </a:lnTo>
                  <a:lnTo>
                    <a:pt x="218416" y="454056"/>
                  </a:lnTo>
                  <a:lnTo>
                    <a:pt x="221466" y="456508"/>
                  </a:lnTo>
                  <a:close/>
                  <a:moveTo>
                    <a:pt x="195570" y="488565"/>
                  </a:moveTo>
                  <a:lnTo>
                    <a:pt x="170212" y="519964"/>
                  </a:lnTo>
                  <a:lnTo>
                    <a:pt x="166922" y="517332"/>
                  </a:lnTo>
                  <a:lnTo>
                    <a:pt x="192400" y="485993"/>
                  </a:lnTo>
                  <a:lnTo>
                    <a:pt x="195570" y="488565"/>
                  </a:lnTo>
                  <a:close/>
                  <a:moveTo>
                    <a:pt x="169972" y="520263"/>
                  </a:moveTo>
                  <a:lnTo>
                    <a:pt x="144914" y="551303"/>
                  </a:lnTo>
                  <a:lnTo>
                    <a:pt x="141504" y="548612"/>
                  </a:lnTo>
                  <a:lnTo>
                    <a:pt x="166683" y="517631"/>
                  </a:lnTo>
                  <a:lnTo>
                    <a:pt x="169972" y="520263"/>
                  </a:lnTo>
                  <a:close/>
                  <a:moveTo>
                    <a:pt x="144674" y="551602"/>
                  </a:moveTo>
                  <a:lnTo>
                    <a:pt x="119914" y="582283"/>
                  </a:lnTo>
                  <a:lnTo>
                    <a:pt x="116385" y="579472"/>
                  </a:lnTo>
                  <a:lnTo>
                    <a:pt x="141265" y="548911"/>
                  </a:lnTo>
                  <a:lnTo>
                    <a:pt x="144674" y="551602"/>
                  </a:lnTo>
                  <a:close/>
                  <a:moveTo>
                    <a:pt x="119734" y="582522"/>
                  </a:moveTo>
                  <a:lnTo>
                    <a:pt x="95273" y="612785"/>
                  </a:lnTo>
                  <a:lnTo>
                    <a:pt x="91625" y="609914"/>
                  </a:lnTo>
                  <a:lnTo>
                    <a:pt x="116206" y="579711"/>
                  </a:lnTo>
                  <a:lnTo>
                    <a:pt x="119734" y="582522"/>
                  </a:lnTo>
                  <a:close/>
                  <a:moveTo>
                    <a:pt x="95094" y="613084"/>
                  </a:moveTo>
                  <a:lnTo>
                    <a:pt x="70932" y="642987"/>
                  </a:lnTo>
                  <a:lnTo>
                    <a:pt x="67223" y="639997"/>
                  </a:lnTo>
                  <a:lnTo>
                    <a:pt x="91505" y="610153"/>
                  </a:lnTo>
                  <a:lnTo>
                    <a:pt x="95094" y="613084"/>
                  </a:lnTo>
                  <a:close/>
                  <a:moveTo>
                    <a:pt x="70693" y="643286"/>
                  </a:moveTo>
                  <a:lnTo>
                    <a:pt x="46830" y="672891"/>
                  </a:lnTo>
                  <a:lnTo>
                    <a:pt x="43002" y="669841"/>
                  </a:lnTo>
                  <a:lnTo>
                    <a:pt x="66985" y="640356"/>
                  </a:lnTo>
                  <a:lnTo>
                    <a:pt x="70693" y="643286"/>
                  </a:lnTo>
                  <a:close/>
                  <a:moveTo>
                    <a:pt x="31698" y="694422"/>
                  </a:moveTo>
                  <a:lnTo>
                    <a:pt x="32116" y="693405"/>
                  </a:lnTo>
                  <a:lnTo>
                    <a:pt x="46889" y="673369"/>
                  </a:lnTo>
                  <a:lnTo>
                    <a:pt x="51016" y="675822"/>
                  </a:lnTo>
                  <a:lnTo>
                    <a:pt x="36782" y="696455"/>
                  </a:lnTo>
                  <a:cubicBezTo>
                    <a:pt x="36782" y="696455"/>
                    <a:pt x="36782" y="696455"/>
                    <a:pt x="36782" y="696455"/>
                  </a:cubicBezTo>
                  <a:cubicBezTo>
                    <a:pt x="36782" y="696455"/>
                    <a:pt x="36782" y="696455"/>
                    <a:pt x="36782" y="696455"/>
                  </a:cubicBezTo>
                  <a:cubicBezTo>
                    <a:pt x="36782" y="696455"/>
                    <a:pt x="36782" y="696455"/>
                    <a:pt x="36782" y="696515"/>
                  </a:cubicBezTo>
                  <a:cubicBezTo>
                    <a:pt x="36782" y="696515"/>
                    <a:pt x="36782" y="696515"/>
                    <a:pt x="36782" y="696515"/>
                  </a:cubicBezTo>
                  <a:lnTo>
                    <a:pt x="37021" y="697890"/>
                  </a:lnTo>
                  <a:lnTo>
                    <a:pt x="31698" y="694422"/>
                  </a:lnTo>
                  <a:close/>
                  <a:moveTo>
                    <a:pt x="51614" y="675702"/>
                  </a:moveTo>
                  <a:lnTo>
                    <a:pt x="75298" y="646097"/>
                  </a:lnTo>
                  <a:lnTo>
                    <a:pt x="79185" y="647832"/>
                  </a:lnTo>
                  <a:lnTo>
                    <a:pt x="55621" y="677436"/>
                  </a:lnTo>
                  <a:lnTo>
                    <a:pt x="51614" y="675702"/>
                  </a:lnTo>
                  <a:close/>
                  <a:moveTo>
                    <a:pt x="75537" y="645858"/>
                  </a:moveTo>
                  <a:lnTo>
                    <a:pt x="99519" y="615895"/>
                  </a:lnTo>
                  <a:lnTo>
                    <a:pt x="103287" y="617629"/>
                  </a:lnTo>
                  <a:lnTo>
                    <a:pt x="79424" y="647593"/>
                  </a:lnTo>
                  <a:lnTo>
                    <a:pt x="75537" y="645858"/>
                  </a:lnTo>
                  <a:close/>
                  <a:moveTo>
                    <a:pt x="99759" y="615596"/>
                  </a:moveTo>
                  <a:lnTo>
                    <a:pt x="124040" y="585273"/>
                  </a:lnTo>
                  <a:lnTo>
                    <a:pt x="127629" y="587008"/>
                  </a:lnTo>
                  <a:lnTo>
                    <a:pt x="103467" y="617330"/>
                  </a:lnTo>
                  <a:lnTo>
                    <a:pt x="99759" y="615596"/>
                  </a:lnTo>
                  <a:close/>
                  <a:moveTo>
                    <a:pt x="124280" y="584974"/>
                  </a:moveTo>
                  <a:lnTo>
                    <a:pt x="148860" y="554293"/>
                  </a:lnTo>
                  <a:lnTo>
                    <a:pt x="152270" y="556028"/>
                  </a:lnTo>
                  <a:lnTo>
                    <a:pt x="127808" y="586709"/>
                  </a:lnTo>
                  <a:lnTo>
                    <a:pt x="124280" y="584974"/>
                  </a:lnTo>
                  <a:close/>
                  <a:moveTo>
                    <a:pt x="149100" y="553994"/>
                  </a:moveTo>
                  <a:lnTo>
                    <a:pt x="173980" y="522954"/>
                  </a:lnTo>
                  <a:lnTo>
                    <a:pt x="177269" y="524689"/>
                  </a:lnTo>
                  <a:lnTo>
                    <a:pt x="152508" y="555789"/>
                  </a:lnTo>
                  <a:lnTo>
                    <a:pt x="149100" y="553994"/>
                  </a:lnTo>
                  <a:close/>
                  <a:moveTo>
                    <a:pt x="174218" y="522655"/>
                  </a:moveTo>
                  <a:lnTo>
                    <a:pt x="199398" y="491197"/>
                  </a:lnTo>
                  <a:lnTo>
                    <a:pt x="202508" y="492931"/>
                  </a:lnTo>
                  <a:lnTo>
                    <a:pt x="177448" y="524390"/>
                  </a:lnTo>
                  <a:lnTo>
                    <a:pt x="174218" y="522655"/>
                  </a:lnTo>
                  <a:close/>
                  <a:moveTo>
                    <a:pt x="199637" y="490898"/>
                  </a:moveTo>
                  <a:lnTo>
                    <a:pt x="225174" y="459020"/>
                  </a:lnTo>
                  <a:lnTo>
                    <a:pt x="228165" y="460695"/>
                  </a:lnTo>
                  <a:lnTo>
                    <a:pt x="202807" y="492572"/>
                  </a:lnTo>
                  <a:lnTo>
                    <a:pt x="199637" y="490898"/>
                  </a:lnTo>
                  <a:close/>
                  <a:moveTo>
                    <a:pt x="225414" y="458781"/>
                  </a:moveTo>
                  <a:lnTo>
                    <a:pt x="251250" y="426545"/>
                  </a:lnTo>
                  <a:lnTo>
                    <a:pt x="254062" y="428220"/>
                  </a:lnTo>
                  <a:lnTo>
                    <a:pt x="228404" y="460456"/>
                  </a:lnTo>
                  <a:lnTo>
                    <a:pt x="225414" y="458781"/>
                  </a:lnTo>
                  <a:close/>
                  <a:moveTo>
                    <a:pt x="251490" y="426246"/>
                  </a:moveTo>
                  <a:lnTo>
                    <a:pt x="277625" y="393591"/>
                  </a:lnTo>
                  <a:lnTo>
                    <a:pt x="280257" y="395266"/>
                  </a:lnTo>
                  <a:lnTo>
                    <a:pt x="254241" y="427921"/>
                  </a:lnTo>
                  <a:lnTo>
                    <a:pt x="251490" y="426246"/>
                  </a:lnTo>
                  <a:close/>
                  <a:moveTo>
                    <a:pt x="277865" y="393352"/>
                  </a:moveTo>
                  <a:lnTo>
                    <a:pt x="304359" y="360279"/>
                  </a:lnTo>
                  <a:lnTo>
                    <a:pt x="306871" y="361893"/>
                  </a:lnTo>
                  <a:lnTo>
                    <a:pt x="280496" y="394967"/>
                  </a:lnTo>
                  <a:lnTo>
                    <a:pt x="277865" y="393352"/>
                  </a:lnTo>
                  <a:close/>
                  <a:moveTo>
                    <a:pt x="304599" y="359980"/>
                  </a:moveTo>
                  <a:lnTo>
                    <a:pt x="331452" y="326488"/>
                  </a:lnTo>
                  <a:lnTo>
                    <a:pt x="333784" y="328102"/>
                  </a:lnTo>
                  <a:lnTo>
                    <a:pt x="307111" y="361654"/>
                  </a:lnTo>
                  <a:lnTo>
                    <a:pt x="304599" y="359980"/>
                  </a:lnTo>
                  <a:close/>
                  <a:moveTo>
                    <a:pt x="331632" y="326189"/>
                  </a:moveTo>
                  <a:lnTo>
                    <a:pt x="358843" y="292278"/>
                  </a:lnTo>
                  <a:lnTo>
                    <a:pt x="361056" y="293833"/>
                  </a:lnTo>
                  <a:lnTo>
                    <a:pt x="334024" y="327803"/>
                  </a:lnTo>
                  <a:lnTo>
                    <a:pt x="331632" y="326189"/>
                  </a:lnTo>
                  <a:close/>
                  <a:moveTo>
                    <a:pt x="358545" y="292039"/>
                  </a:moveTo>
                  <a:lnTo>
                    <a:pt x="331332" y="325949"/>
                  </a:lnTo>
                  <a:lnTo>
                    <a:pt x="328761" y="324036"/>
                  </a:lnTo>
                  <a:lnTo>
                    <a:pt x="356092" y="290185"/>
                  </a:lnTo>
                  <a:lnTo>
                    <a:pt x="358545" y="292039"/>
                  </a:lnTo>
                  <a:close/>
                  <a:moveTo>
                    <a:pt x="328282" y="324095"/>
                  </a:moveTo>
                  <a:lnTo>
                    <a:pt x="301309" y="357528"/>
                  </a:lnTo>
                  <a:lnTo>
                    <a:pt x="298618" y="355315"/>
                  </a:lnTo>
                  <a:lnTo>
                    <a:pt x="325711" y="321942"/>
                  </a:lnTo>
                  <a:lnTo>
                    <a:pt x="328282" y="324095"/>
                  </a:lnTo>
                  <a:close/>
                  <a:moveTo>
                    <a:pt x="325411" y="321763"/>
                  </a:moveTo>
                  <a:lnTo>
                    <a:pt x="298318" y="355135"/>
                  </a:lnTo>
                  <a:lnTo>
                    <a:pt x="295867" y="352922"/>
                  </a:lnTo>
                  <a:lnTo>
                    <a:pt x="323079" y="319670"/>
                  </a:lnTo>
                  <a:lnTo>
                    <a:pt x="325411" y="321763"/>
                  </a:lnTo>
                  <a:close/>
                  <a:moveTo>
                    <a:pt x="298080" y="355374"/>
                  </a:moveTo>
                  <a:lnTo>
                    <a:pt x="271286" y="388328"/>
                  </a:lnTo>
                  <a:lnTo>
                    <a:pt x="268774" y="385996"/>
                  </a:lnTo>
                  <a:lnTo>
                    <a:pt x="295627" y="353162"/>
                  </a:lnTo>
                  <a:lnTo>
                    <a:pt x="298080" y="355374"/>
                  </a:lnTo>
                  <a:close/>
                  <a:moveTo>
                    <a:pt x="271107" y="388567"/>
                  </a:moveTo>
                  <a:lnTo>
                    <a:pt x="244672" y="421103"/>
                  </a:lnTo>
                  <a:lnTo>
                    <a:pt x="242040" y="418651"/>
                  </a:lnTo>
                  <a:lnTo>
                    <a:pt x="268535" y="386235"/>
                  </a:lnTo>
                  <a:lnTo>
                    <a:pt x="271107" y="388567"/>
                  </a:lnTo>
                  <a:close/>
                  <a:moveTo>
                    <a:pt x="244432" y="421402"/>
                  </a:moveTo>
                  <a:lnTo>
                    <a:pt x="218356" y="453518"/>
                  </a:lnTo>
                  <a:lnTo>
                    <a:pt x="215605" y="450946"/>
                  </a:lnTo>
                  <a:lnTo>
                    <a:pt x="241801" y="418950"/>
                  </a:lnTo>
                  <a:lnTo>
                    <a:pt x="244432" y="421402"/>
                  </a:lnTo>
                  <a:close/>
                  <a:moveTo>
                    <a:pt x="218118" y="453757"/>
                  </a:moveTo>
                  <a:lnTo>
                    <a:pt x="192340" y="485455"/>
                  </a:lnTo>
                  <a:lnTo>
                    <a:pt x="189529" y="482764"/>
                  </a:lnTo>
                  <a:lnTo>
                    <a:pt x="215426" y="451186"/>
                  </a:lnTo>
                  <a:lnTo>
                    <a:pt x="218118" y="453757"/>
                  </a:lnTo>
                  <a:close/>
                  <a:moveTo>
                    <a:pt x="192101" y="485754"/>
                  </a:moveTo>
                  <a:lnTo>
                    <a:pt x="166624" y="517093"/>
                  </a:lnTo>
                  <a:lnTo>
                    <a:pt x="163752" y="514282"/>
                  </a:lnTo>
                  <a:lnTo>
                    <a:pt x="189290" y="483063"/>
                  </a:lnTo>
                  <a:lnTo>
                    <a:pt x="192101" y="485754"/>
                  </a:lnTo>
                  <a:close/>
                  <a:moveTo>
                    <a:pt x="166444" y="517392"/>
                  </a:moveTo>
                  <a:lnTo>
                    <a:pt x="141265" y="548372"/>
                  </a:lnTo>
                  <a:lnTo>
                    <a:pt x="138274" y="545442"/>
                  </a:lnTo>
                  <a:lnTo>
                    <a:pt x="163513" y="514581"/>
                  </a:lnTo>
                  <a:lnTo>
                    <a:pt x="166444" y="517392"/>
                  </a:lnTo>
                  <a:close/>
                  <a:moveTo>
                    <a:pt x="141026" y="548612"/>
                  </a:moveTo>
                  <a:lnTo>
                    <a:pt x="116146" y="579173"/>
                  </a:lnTo>
                  <a:lnTo>
                    <a:pt x="113096" y="576123"/>
                  </a:lnTo>
                  <a:lnTo>
                    <a:pt x="138036" y="545681"/>
                  </a:lnTo>
                  <a:lnTo>
                    <a:pt x="141026" y="548612"/>
                  </a:lnTo>
                  <a:close/>
                  <a:moveTo>
                    <a:pt x="115966" y="579472"/>
                  </a:moveTo>
                  <a:lnTo>
                    <a:pt x="91386" y="609675"/>
                  </a:lnTo>
                  <a:lnTo>
                    <a:pt x="88276" y="606505"/>
                  </a:lnTo>
                  <a:lnTo>
                    <a:pt x="112916" y="576422"/>
                  </a:lnTo>
                  <a:lnTo>
                    <a:pt x="115966" y="579472"/>
                  </a:lnTo>
                  <a:close/>
                  <a:moveTo>
                    <a:pt x="91146" y="609974"/>
                  </a:moveTo>
                  <a:lnTo>
                    <a:pt x="66865" y="639818"/>
                  </a:lnTo>
                  <a:lnTo>
                    <a:pt x="63635" y="636528"/>
                  </a:lnTo>
                  <a:lnTo>
                    <a:pt x="87977" y="606804"/>
                  </a:lnTo>
                  <a:lnTo>
                    <a:pt x="91146" y="609974"/>
                  </a:lnTo>
                  <a:close/>
                  <a:moveTo>
                    <a:pt x="66685" y="640117"/>
                  </a:moveTo>
                  <a:lnTo>
                    <a:pt x="42702" y="669602"/>
                  </a:lnTo>
                  <a:lnTo>
                    <a:pt x="39413" y="666252"/>
                  </a:lnTo>
                  <a:lnTo>
                    <a:pt x="63456" y="636887"/>
                  </a:lnTo>
                  <a:lnTo>
                    <a:pt x="66685" y="640117"/>
                  </a:lnTo>
                  <a:close/>
                  <a:moveTo>
                    <a:pt x="21052" y="685450"/>
                  </a:moveTo>
                  <a:lnTo>
                    <a:pt x="25658" y="689936"/>
                  </a:lnTo>
                  <a:lnTo>
                    <a:pt x="25000" y="690534"/>
                  </a:lnTo>
                  <a:lnTo>
                    <a:pt x="20215" y="685869"/>
                  </a:lnTo>
                  <a:lnTo>
                    <a:pt x="21052" y="685450"/>
                  </a:lnTo>
                  <a:close/>
                  <a:moveTo>
                    <a:pt x="26017" y="690235"/>
                  </a:moveTo>
                  <a:lnTo>
                    <a:pt x="31220" y="694422"/>
                  </a:lnTo>
                  <a:lnTo>
                    <a:pt x="30741" y="695139"/>
                  </a:lnTo>
                  <a:lnTo>
                    <a:pt x="25299" y="690773"/>
                  </a:lnTo>
                  <a:lnTo>
                    <a:pt x="26017" y="690235"/>
                  </a:lnTo>
                  <a:close/>
                  <a:moveTo>
                    <a:pt x="31160" y="695379"/>
                  </a:moveTo>
                  <a:lnTo>
                    <a:pt x="31638" y="694661"/>
                  </a:lnTo>
                  <a:lnTo>
                    <a:pt x="37081" y="698249"/>
                  </a:lnTo>
                  <a:lnTo>
                    <a:pt x="36841" y="699087"/>
                  </a:lnTo>
                  <a:lnTo>
                    <a:pt x="31160" y="695379"/>
                  </a:lnTo>
                  <a:close/>
                  <a:moveTo>
                    <a:pt x="35705" y="700941"/>
                  </a:moveTo>
                  <a:lnTo>
                    <a:pt x="35705" y="700821"/>
                  </a:lnTo>
                  <a:lnTo>
                    <a:pt x="37320" y="701299"/>
                  </a:lnTo>
                  <a:lnTo>
                    <a:pt x="37320" y="701598"/>
                  </a:lnTo>
                  <a:lnTo>
                    <a:pt x="35705" y="700941"/>
                  </a:lnTo>
                  <a:close/>
                  <a:moveTo>
                    <a:pt x="36423" y="700701"/>
                  </a:moveTo>
                  <a:lnTo>
                    <a:pt x="37201" y="700881"/>
                  </a:lnTo>
                  <a:lnTo>
                    <a:pt x="37201" y="700941"/>
                  </a:lnTo>
                  <a:lnTo>
                    <a:pt x="36423" y="700701"/>
                  </a:lnTo>
                  <a:close/>
                  <a:moveTo>
                    <a:pt x="35286" y="701240"/>
                  </a:moveTo>
                  <a:lnTo>
                    <a:pt x="35286" y="701359"/>
                  </a:lnTo>
                  <a:lnTo>
                    <a:pt x="34988" y="701240"/>
                  </a:lnTo>
                  <a:lnTo>
                    <a:pt x="35286" y="701240"/>
                  </a:lnTo>
                  <a:close/>
                  <a:moveTo>
                    <a:pt x="35646" y="701539"/>
                  </a:moveTo>
                  <a:lnTo>
                    <a:pt x="35705" y="701299"/>
                  </a:lnTo>
                  <a:lnTo>
                    <a:pt x="37320" y="701897"/>
                  </a:lnTo>
                  <a:lnTo>
                    <a:pt x="37201" y="702316"/>
                  </a:lnTo>
                  <a:lnTo>
                    <a:pt x="35646" y="701539"/>
                  </a:lnTo>
                  <a:close/>
                  <a:moveTo>
                    <a:pt x="37141" y="699326"/>
                  </a:moveTo>
                  <a:lnTo>
                    <a:pt x="37380" y="698489"/>
                  </a:lnTo>
                  <a:lnTo>
                    <a:pt x="42643" y="701240"/>
                  </a:lnTo>
                  <a:lnTo>
                    <a:pt x="42583" y="702197"/>
                  </a:lnTo>
                  <a:lnTo>
                    <a:pt x="37141" y="699326"/>
                  </a:lnTo>
                  <a:close/>
                  <a:moveTo>
                    <a:pt x="42942" y="702316"/>
                  </a:moveTo>
                  <a:lnTo>
                    <a:pt x="43002" y="701359"/>
                  </a:lnTo>
                  <a:lnTo>
                    <a:pt x="47667" y="703034"/>
                  </a:lnTo>
                  <a:lnTo>
                    <a:pt x="47786" y="704051"/>
                  </a:lnTo>
                  <a:lnTo>
                    <a:pt x="42942" y="702316"/>
                  </a:lnTo>
                  <a:close/>
                  <a:moveTo>
                    <a:pt x="56039" y="677556"/>
                  </a:moveTo>
                  <a:lnTo>
                    <a:pt x="79544" y="648011"/>
                  </a:lnTo>
                  <a:lnTo>
                    <a:pt x="83072" y="648908"/>
                  </a:lnTo>
                  <a:lnTo>
                    <a:pt x="59688" y="678393"/>
                  </a:lnTo>
                  <a:lnTo>
                    <a:pt x="56039" y="677556"/>
                  </a:lnTo>
                  <a:close/>
                  <a:moveTo>
                    <a:pt x="79783" y="647652"/>
                  </a:moveTo>
                  <a:lnTo>
                    <a:pt x="103587" y="617749"/>
                  </a:lnTo>
                  <a:lnTo>
                    <a:pt x="106935" y="618706"/>
                  </a:lnTo>
                  <a:lnTo>
                    <a:pt x="83252" y="648609"/>
                  </a:lnTo>
                  <a:lnTo>
                    <a:pt x="79783" y="647652"/>
                  </a:lnTo>
                  <a:close/>
                  <a:moveTo>
                    <a:pt x="103885" y="617450"/>
                  </a:moveTo>
                  <a:lnTo>
                    <a:pt x="127988" y="587127"/>
                  </a:lnTo>
                  <a:lnTo>
                    <a:pt x="131158" y="588084"/>
                  </a:lnTo>
                  <a:lnTo>
                    <a:pt x="107175" y="618347"/>
                  </a:lnTo>
                  <a:lnTo>
                    <a:pt x="103885" y="617450"/>
                  </a:lnTo>
                  <a:close/>
                  <a:moveTo>
                    <a:pt x="128227" y="586828"/>
                  </a:moveTo>
                  <a:lnTo>
                    <a:pt x="152628" y="556147"/>
                  </a:lnTo>
                  <a:lnTo>
                    <a:pt x="155678" y="557164"/>
                  </a:lnTo>
                  <a:lnTo>
                    <a:pt x="131397" y="587785"/>
                  </a:lnTo>
                  <a:lnTo>
                    <a:pt x="128227" y="586828"/>
                  </a:lnTo>
                  <a:close/>
                  <a:moveTo>
                    <a:pt x="152868" y="555908"/>
                  </a:moveTo>
                  <a:lnTo>
                    <a:pt x="177568" y="524868"/>
                  </a:lnTo>
                  <a:lnTo>
                    <a:pt x="180439" y="525945"/>
                  </a:lnTo>
                  <a:lnTo>
                    <a:pt x="155858" y="556985"/>
                  </a:lnTo>
                  <a:lnTo>
                    <a:pt x="152868" y="555908"/>
                  </a:lnTo>
                  <a:close/>
                  <a:moveTo>
                    <a:pt x="177867" y="524509"/>
                  </a:moveTo>
                  <a:lnTo>
                    <a:pt x="202926" y="493051"/>
                  </a:lnTo>
                  <a:lnTo>
                    <a:pt x="205617" y="494127"/>
                  </a:lnTo>
                  <a:lnTo>
                    <a:pt x="180738" y="525526"/>
                  </a:lnTo>
                  <a:lnTo>
                    <a:pt x="177867" y="524509"/>
                  </a:lnTo>
                  <a:close/>
                  <a:moveTo>
                    <a:pt x="203106" y="492811"/>
                  </a:moveTo>
                  <a:lnTo>
                    <a:pt x="228464" y="460994"/>
                  </a:lnTo>
                  <a:lnTo>
                    <a:pt x="231035" y="462130"/>
                  </a:lnTo>
                  <a:lnTo>
                    <a:pt x="205857" y="493948"/>
                  </a:lnTo>
                  <a:lnTo>
                    <a:pt x="203106" y="492811"/>
                  </a:lnTo>
                  <a:close/>
                  <a:moveTo>
                    <a:pt x="228703" y="460635"/>
                  </a:moveTo>
                  <a:lnTo>
                    <a:pt x="254360" y="428399"/>
                  </a:lnTo>
                  <a:lnTo>
                    <a:pt x="256753" y="429535"/>
                  </a:lnTo>
                  <a:lnTo>
                    <a:pt x="231215" y="461772"/>
                  </a:lnTo>
                  <a:lnTo>
                    <a:pt x="228703" y="460635"/>
                  </a:lnTo>
                  <a:close/>
                  <a:moveTo>
                    <a:pt x="254600" y="428100"/>
                  </a:moveTo>
                  <a:lnTo>
                    <a:pt x="280616" y="395445"/>
                  </a:lnTo>
                  <a:lnTo>
                    <a:pt x="282888" y="396582"/>
                  </a:lnTo>
                  <a:lnTo>
                    <a:pt x="257052" y="429236"/>
                  </a:lnTo>
                  <a:lnTo>
                    <a:pt x="254600" y="428100"/>
                  </a:lnTo>
                  <a:close/>
                  <a:moveTo>
                    <a:pt x="280855" y="395146"/>
                  </a:moveTo>
                  <a:lnTo>
                    <a:pt x="307171" y="362073"/>
                  </a:lnTo>
                  <a:lnTo>
                    <a:pt x="309264" y="363209"/>
                  </a:lnTo>
                  <a:lnTo>
                    <a:pt x="283068" y="396283"/>
                  </a:lnTo>
                  <a:lnTo>
                    <a:pt x="280855" y="395146"/>
                  </a:lnTo>
                  <a:close/>
                  <a:moveTo>
                    <a:pt x="307409" y="361774"/>
                  </a:moveTo>
                  <a:lnTo>
                    <a:pt x="334084" y="328282"/>
                  </a:lnTo>
                  <a:lnTo>
                    <a:pt x="336057" y="329418"/>
                  </a:lnTo>
                  <a:lnTo>
                    <a:pt x="309502" y="362910"/>
                  </a:lnTo>
                  <a:lnTo>
                    <a:pt x="307409" y="361774"/>
                  </a:lnTo>
                  <a:close/>
                  <a:moveTo>
                    <a:pt x="334323" y="327983"/>
                  </a:moveTo>
                  <a:lnTo>
                    <a:pt x="361356" y="294012"/>
                  </a:lnTo>
                  <a:lnTo>
                    <a:pt x="363210" y="295149"/>
                  </a:lnTo>
                  <a:lnTo>
                    <a:pt x="336297" y="329119"/>
                  </a:lnTo>
                  <a:lnTo>
                    <a:pt x="334323" y="327983"/>
                  </a:lnTo>
                  <a:close/>
                  <a:moveTo>
                    <a:pt x="386774" y="257350"/>
                  </a:moveTo>
                  <a:lnTo>
                    <a:pt x="412610" y="225114"/>
                  </a:lnTo>
                  <a:lnTo>
                    <a:pt x="414524" y="226610"/>
                  </a:lnTo>
                  <a:lnTo>
                    <a:pt x="388867" y="258846"/>
                  </a:lnTo>
                  <a:lnTo>
                    <a:pt x="386774" y="257350"/>
                  </a:lnTo>
                  <a:close/>
                  <a:moveTo>
                    <a:pt x="386295" y="257410"/>
                  </a:moveTo>
                  <a:lnTo>
                    <a:pt x="358783" y="291799"/>
                  </a:lnTo>
                  <a:lnTo>
                    <a:pt x="356392" y="289945"/>
                  </a:lnTo>
                  <a:lnTo>
                    <a:pt x="384083" y="255676"/>
                  </a:lnTo>
                  <a:lnTo>
                    <a:pt x="386295" y="257410"/>
                  </a:lnTo>
                  <a:close/>
                  <a:moveTo>
                    <a:pt x="355793" y="289945"/>
                  </a:moveTo>
                  <a:lnTo>
                    <a:pt x="328462" y="323796"/>
                  </a:lnTo>
                  <a:lnTo>
                    <a:pt x="325890" y="321703"/>
                  </a:lnTo>
                  <a:lnTo>
                    <a:pt x="353342" y="287912"/>
                  </a:lnTo>
                  <a:lnTo>
                    <a:pt x="355793" y="289945"/>
                  </a:lnTo>
                  <a:close/>
                  <a:moveTo>
                    <a:pt x="353102" y="287733"/>
                  </a:moveTo>
                  <a:lnTo>
                    <a:pt x="325651" y="321524"/>
                  </a:lnTo>
                  <a:lnTo>
                    <a:pt x="323318" y="319430"/>
                  </a:lnTo>
                  <a:lnTo>
                    <a:pt x="350889" y="285759"/>
                  </a:lnTo>
                  <a:lnTo>
                    <a:pt x="353102" y="287733"/>
                  </a:lnTo>
                  <a:close/>
                  <a:moveTo>
                    <a:pt x="350590" y="285460"/>
                  </a:moveTo>
                  <a:lnTo>
                    <a:pt x="323019" y="319131"/>
                  </a:lnTo>
                  <a:lnTo>
                    <a:pt x="321046" y="317158"/>
                  </a:lnTo>
                  <a:lnTo>
                    <a:pt x="348676" y="283606"/>
                  </a:lnTo>
                  <a:lnTo>
                    <a:pt x="350590" y="285460"/>
                  </a:lnTo>
                  <a:close/>
                  <a:moveTo>
                    <a:pt x="322780" y="319430"/>
                  </a:moveTo>
                  <a:lnTo>
                    <a:pt x="295568" y="352683"/>
                  </a:lnTo>
                  <a:lnTo>
                    <a:pt x="293534" y="350590"/>
                  </a:lnTo>
                  <a:lnTo>
                    <a:pt x="320806" y="317516"/>
                  </a:lnTo>
                  <a:lnTo>
                    <a:pt x="322780" y="319430"/>
                  </a:lnTo>
                  <a:close/>
                  <a:moveTo>
                    <a:pt x="295388" y="352922"/>
                  </a:moveTo>
                  <a:lnTo>
                    <a:pt x="268535" y="385757"/>
                  </a:lnTo>
                  <a:lnTo>
                    <a:pt x="266441" y="383544"/>
                  </a:lnTo>
                  <a:lnTo>
                    <a:pt x="293355" y="350889"/>
                  </a:lnTo>
                  <a:lnTo>
                    <a:pt x="295388" y="352922"/>
                  </a:lnTo>
                  <a:close/>
                  <a:moveTo>
                    <a:pt x="268296" y="385996"/>
                  </a:moveTo>
                  <a:lnTo>
                    <a:pt x="241801" y="418411"/>
                  </a:lnTo>
                  <a:lnTo>
                    <a:pt x="239648" y="416079"/>
                  </a:lnTo>
                  <a:lnTo>
                    <a:pt x="266202" y="383843"/>
                  </a:lnTo>
                  <a:lnTo>
                    <a:pt x="268296" y="385996"/>
                  </a:lnTo>
                  <a:close/>
                  <a:moveTo>
                    <a:pt x="241561" y="418651"/>
                  </a:moveTo>
                  <a:lnTo>
                    <a:pt x="215366" y="450647"/>
                  </a:lnTo>
                  <a:lnTo>
                    <a:pt x="213153" y="448195"/>
                  </a:lnTo>
                  <a:lnTo>
                    <a:pt x="239408" y="416318"/>
                  </a:lnTo>
                  <a:lnTo>
                    <a:pt x="241561" y="418651"/>
                  </a:lnTo>
                  <a:close/>
                  <a:moveTo>
                    <a:pt x="215127" y="450946"/>
                  </a:moveTo>
                  <a:lnTo>
                    <a:pt x="189290" y="482525"/>
                  </a:lnTo>
                  <a:lnTo>
                    <a:pt x="187017" y="479893"/>
                  </a:lnTo>
                  <a:lnTo>
                    <a:pt x="212914" y="448434"/>
                  </a:lnTo>
                  <a:lnTo>
                    <a:pt x="215127" y="450946"/>
                  </a:lnTo>
                  <a:close/>
                  <a:moveTo>
                    <a:pt x="189051" y="482824"/>
                  </a:moveTo>
                  <a:lnTo>
                    <a:pt x="163513" y="514043"/>
                  </a:lnTo>
                  <a:lnTo>
                    <a:pt x="161241" y="511292"/>
                  </a:lnTo>
                  <a:lnTo>
                    <a:pt x="186838" y="480192"/>
                  </a:lnTo>
                  <a:lnTo>
                    <a:pt x="189051" y="482824"/>
                  </a:lnTo>
                  <a:close/>
                  <a:moveTo>
                    <a:pt x="163274" y="514282"/>
                  </a:moveTo>
                  <a:lnTo>
                    <a:pt x="138036" y="545083"/>
                  </a:lnTo>
                  <a:lnTo>
                    <a:pt x="135703" y="542212"/>
                  </a:lnTo>
                  <a:lnTo>
                    <a:pt x="161001" y="511531"/>
                  </a:lnTo>
                  <a:lnTo>
                    <a:pt x="163274" y="514282"/>
                  </a:lnTo>
                  <a:close/>
                  <a:moveTo>
                    <a:pt x="137796" y="545442"/>
                  </a:moveTo>
                  <a:lnTo>
                    <a:pt x="112856" y="575884"/>
                  </a:lnTo>
                  <a:lnTo>
                    <a:pt x="110464" y="572834"/>
                  </a:lnTo>
                  <a:lnTo>
                    <a:pt x="135464" y="542511"/>
                  </a:lnTo>
                  <a:lnTo>
                    <a:pt x="137796" y="545442"/>
                  </a:lnTo>
                  <a:close/>
                  <a:moveTo>
                    <a:pt x="112617" y="576183"/>
                  </a:moveTo>
                  <a:lnTo>
                    <a:pt x="87977" y="606266"/>
                  </a:lnTo>
                  <a:lnTo>
                    <a:pt x="85584" y="603096"/>
                  </a:lnTo>
                  <a:lnTo>
                    <a:pt x="110225" y="573133"/>
                  </a:lnTo>
                  <a:lnTo>
                    <a:pt x="112617" y="576183"/>
                  </a:lnTo>
                  <a:close/>
                  <a:moveTo>
                    <a:pt x="87797" y="606505"/>
                  </a:moveTo>
                  <a:lnTo>
                    <a:pt x="63456" y="636229"/>
                  </a:lnTo>
                  <a:lnTo>
                    <a:pt x="61004" y="632940"/>
                  </a:lnTo>
                  <a:lnTo>
                    <a:pt x="85345" y="603335"/>
                  </a:lnTo>
                  <a:lnTo>
                    <a:pt x="87797" y="606505"/>
                  </a:lnTo>
                  <a:close/>
                  <a:moveTo>
                    <a:pt x="63217" y="636528"/>
                  </a:moveTo>
                  <a:lnTo>
                    <a:pt x="39174" y="665894"/>
                  </a:lnTo>
                  <a:lnTo>
                    <a:pt x="36662" y="662425"/>
                  </a:lnTo>
                  <a:lnTo>
                    <a:pt x="60764" y="633179"/>
                  </a:lnTo>
                  <a:lnTo>
                    <a:pt x="63217" y="636528"/>
                  </a:lnTo>
                  <a:close/>
                  <a:moveTo>
                    <a:pt x="19437" y="681264"/>
                  </a:moveTo>
                  <a:cubicBezTo>
                    <a:pt x="19437" y="681264"/>
                    <a:pt x="19437" y="681264"/>
                    <a:pt x="19437" y="681264"/>
                  </a:cubicBezTo>
                  <a:cubicBezTo>
                    <a:pt x="19437" y="681264"/>
                    <a:pt x="19437" y="681264"/>
                    <a:pt x="19437" y="681264"/>
                  </a:cubicBezTo>
                  <a:cubicBezTo>
                    <a:pt x="19497" y="681264"/>
                    <a:pt x="19497" y="681264"/>
                    <a:pt x="19497" y="681264"/>
                  </a:cubicBezTo>
                  <a:cubicBezTo>
                    <a:pt x="19497" y="681264"/>
                    <a:pt x="19497" y="681264"/>
                    <a:pt x="19497" y="681264"/>
                  </a:cubicBezTo>
                  <a:cubicBezTo>
                    <a:pt x="19497" y="681264"/>
                    <a:pt x="19497" y="681264"/>
                    <a:pt x="19497" y="681264"/>
                  </a:cubicBezTo>
                  <a:cubicBezTo>
                    <a:pt x="19497" y="681264"/>
                    <a:pt x="19497" y="681264"/>
                    <a:pt x="19497" y="681264"/>
                  </a:cubicBezTo>
                  <a:lnTo>
                    <a:pt x="36363" y="662784"/>
                  </a:lnTo>
                  <a:lnTo>
                    <a:pt x="38875" y="666252"/>
                  </a:lnTo>
                  <a:lnTo>
                    <a:pt x="22667" y="685092"/>
                  </a:lnTo>
                  <a:lnTo>
                    <a:pt x="21052" y="685092"/>
                  </a:lnTo>
                  <a:lnTo>
                    <a:pt x="17524" y="680786"/>
                  </a:lnTo>
                  <a:lnTo>
                    <a:pt x="19437" y="681264"/>
                  </a:lnTo>
                  <a:close/>
                  <a:moveTo>
                    <a:pt x="12560" y="677317"/>
                  </a:moveTo>
                  <a:lnTo>
                    <a:pt x="13158" y="676599"/>
                  </a:lnTo>
                  <a:lnTo>
                    <a:pt x="15729" y="680786"/>
                  </a:lnTo>
                  <a:lnTo>
                    <a:pt x="15131" y="681503"/>
                  </a:lnTo>
                  <a:lnTo>
                    <a:pt x="12560" y="677317"/>
                  </a:lnTo>
                  <a:close/>
                  <a:moveTo>
                    <a:pt x="15311" y="681862"/>
                  </a:moveTo>
                  <a:lnTo>
                    <a:pt x="15909" y="681085"/>
                  </a:lnTo>
                  <a:lnTo>
                    <a:pt x="19737" y="685690"/>
                  </a:lnTo>
                  <a:lnTo>
                    <a:pt x="19139" y="686467"/>
                  </a:lnTo>
                  <a:lnTo>
                    <a:pt x="19139" y="686467"/>
                  </a:lnTo>
                  <a:lnTo>
                    <a:pt x="18899" y="685929"/>
                  </a:lnTo>
                  <a:cubicBezTo>
                    <a:pt x="18899" y="685929"/>
                    <a:pt x="18899" y="685929"/>
                    <a:pt x="18899" y="685929"/>
                  </a:cubicBezTo>
                  <a:lnTo>
                    <a:pt x="18899" y="685929"/>
                  </a:lnTo>
                  <a:cubicBezTo>
                    <a:pt x="18899" y="685929"/>
                    <a:pt x="18899" y="685929"/>
                    <a:pt x="18899" y="685929"/>
                  </a:cubicBezTo>
                  <a:cubicBezTo>
                    <a:pt x="18899" y="685929"/>
                    <a:pt x="18899" y="685929"/>
                    <a:pt x="18899" y="685869"/>
                  </a:cubicBezTo>
                  <a:lnTo>
                    <a:pt x="18660" y="685570"/>
                  </a:lnTo>
                  <a:cubicBezTo>
                    <a:pt x="18660" y="685570"/>
                    <a:pt x="18660" y="685570"/>
                    <a:pt x="18660" y="685570"/>
                  </a:cubicBezTo>
                  <a:cubicBezTo>
                    <a:pt x="18660" y="685570"/>
                    <a:pt x="18660" y="685570"/>
                    <a:pt x="18660" y="685570"/>
                  </a:cubicBezTo>
                  <a:cubicBezTo>
                    <a:pt x="18660" y="685570"/>
                    <a:pt x="18660" y="685570"/>
                    <a:pt x="18660" y="685570"/>
                  </a:cubicBezTo>
                  <a:cubicBezTo>
                    <a:pt x="18660" y="685570"/>
                    <a:pt x="18660" y="685570"/>
                    <a:pt x="18660" y="685570"/>
                  </a:cubicBezTo>
                  <a:lnTo>
                    <a:pt x="18660" y="685570"/>
                  </a:lnTo>
                  <a:cubicBezTo>
                    <a:pt x="18660" y="685570"/>
                    <a:pt x="18660" y="685570"/>
                    <a:pt x="18660" y="685570"/>
                  </a:cubicBezTo>
                  <a:cubicBezTo>
                    <a:pt x="18660" y="685570"/>
                    <a:pt x="18660" y="685570"/>
                    <a:pt x="18660" y="685570"/>
                  </a:cubicBezTo>
                  <a:cubicBezTo>
                    <a:pt x="18660" y="685570"/>
                    <a:pt x="18660" y="685570"/>
                    <a:pt x="18660" y="685570"/>
                  </a:cubicBezTo>
                  <a:lnTo>
                    <a:pt x="18301" y="685331"/>
                  </a:lnTo>
                  <a:lnTo>
                    <a:pt x="15311" y="681862"/>
                  </a:lnTo>
                  <a:close/>
                  <a:moveTo>
                    <a:pt x="16387" y="684673"/>
                  </a:moveTo>
                  <a:lnTo>
                    <a:pt x="17464" y="685331"/>
                  </a:lnTo>
                  <a:lnTo>
                    <a:pt x="17284" y="685391"/>
                  </a:lnTo>
                  <a:lnTo>
                    <a:pt x="16328" y="684673"/>
                  </a:lnTo>
                  <a:lnTo>
                    <a:pt x="16387" y="684673"/>
                  </a:lnTo>
                  <a:close/>
                  <a:moveTo>
                    <a:pt x="15431" y="685032"/>
                  </a:moveTo>
                  <a:lnTo>
                    <a:pt x="16328" y="685809"/>
                  </a:lnTo>
                  <a:lnTo>
                    <a:pt x="15909" y="686049"/>
                  </a:lnTo>
                  <a:lnTo>
                    <a:pt x="15191" y="685151"/>
                  </a:lnTo>
                  <a:lnTo>
                    <a:pt x="15431" y="685032"/>
                  </a:lnTo>
                  <a:close/>
                  <a:moveTo>
                    <a:pt x="16567" y="686108"/>
                  </a:moveTo>
                  <a:lnTo>
                    <a:pt x="17644" y="687424"/>
                  </a:lnTo>
                  <a:lnTo>
                    <a:pt x="17404" y="687604"/>
                  </a:lnTo>
                  <a:lnTo>
                    <a:pt x="16148" y="686348"/>
                  </a:lnTo>
                  <a:lnTo>
                    <a:pt x="16567" y="686108"/>
                  </a:lnTo>
                  <a:close/>
                  <a:moveTo>
                    <a:pt x="17882" y="687783"/>
                  </a:moveTo>
                  <a:lnTo>
                    <a:pt x="18122" y="688202"/>
                  </a:lnTo>
                  <a:lnTo>
                    <a:pt x="17703" y="687903"/>
                  </a:lnTo>
                  <a:lnTo>
                    <a:pt x="17882" y="687783"/>
                  </a:lnTo>
                  <a:close/>
                  <a:moveTo>
                    <a:pt x="19437" y="686826"/>
                  </a:moveTo>
                  <a:lnTo>
                    <a:pt x="20036" y="686049"/>
                  </a:lnTo>
                  <a:lnTo>
                    <a:pt x="24820" y="690714"/>
                  </a:lnTo>
                  <a:lnTo>
                    <a:pt x="24222" y="691491"/>
                  </a:lnTo>
                  <a:lnTo>
                    <a:pt x="19437" y="686826"/>
                  </a:lnTo>
                  <a:close/>
                  <a:moveTo>
                    <a:pt x="24581" y="691790"/>
                  </a:moveTo>
                  <a:lnTo>
                    <a:pt x="25179" y="691013"/>
                  </a:lnTo>
                  <a:lnTo>
                    <a:pt x="30621" y="695379"/>
                  </a:lnTo>
                  <a:lnTo>
                    <a:pt x="30023" y="696156"/>
                  </a:lnTo>
                  <a:lnTo>
                    <a:pt x="24581" y="691790"/>
                  </a:lnTo>
                  <a:close/>
                  <a:moveTo>
                    <a:pt x="30980" y="695618"/>
                  </a:moveTo>
                  <a:lnTo>
                    <a:pt x="36662" y="699386"/>
                  </a:lnTo>
                  <a:lnTo>
                    <a:pt x="36064" y="700163"/>
                  </a:lnTo>
                  <a:lnTo>
                    <a:pt x="30383" y="696455"/>
                  </a:lnTo>
                  <a:lnTo>
                    <a:pt x="30980" y="695618"/>
                  </a:lnTo>
                  <a:close/>
                  <a:moveTo>
                    <a:pt x="35167" y="701658"/>
                  </a:moveTo>
                  <a:lnTo>
                    <a:pt x="35107" y="701838"/>
                  </a:lnTo>
                  <a:lnTo>
                    <a:pt x="34748" y="701539"/>
                  </a:lnTo>
                  <a:lnTo>
                    <a:pt x="35167" y="701658"/>
                  </a:lnTo>
                  <a:close/>
                  <a:moveTo>
                    <a:pt x="35406" y="702077"/>
                  </a:moveTo>
                  <a:lnTo>
                    <a:pt x="35526" y="701778"/>
                  </a:lnTo>
                  <a:lnTo>
                    <a:pt x="37081" y="702555"/>
                  </a:lnTo>
                  <a:lnTo>
                    <a:pt x="36901" y="703034"/>
                  </a:lnTo>
                  <a:lnTo>
                    <a:pt x="35406" y="702077"/>
                  </a:lnTo>
                  <a:close/>
                  <a:moveTo>
                    <a:pt x="37261" y="703273"/>
                  </a:moveTo>
                  <a:lnTo>
                    <a:pt x="37439" y="702854"/>
                  </a:lnTo>
                  <a:lnTo>
                    <a:pt x="38456" y="703572"/>
                  </a:lnTo>
                  <a:lnTo>
                    <a:pt x="38337" y="703871"/>
                  </a:lnTo>
                  <a:lnTo>
                    <a:pt x="37261" y="703273"/>
                  </a:lnTo>
                  <a:close/>
                  <a:moveTo>
                    <a:pt x="37679" y="701778"/>
                  </a:moveTo>
                  <a:lnTo>
                    <a:pt x="37679" y="701598"/>
                  </a:lnTo>
                  <a:lnTo>
                    <a:pt x="38636" y="702555"/>
                  </a:lnTo>
                  <a:lnTo>
                    <a:pt x="38636" y="702615"/>
                  </a:lnTo>
                  <a:lnTo>
                    <a:pt x="37679" y="701778"/>
                  </a:lnTo>
                  <a:close/>
                  <a:moveTo>
                    <a:pt x="37439" y="700641"/>
                  </a:moveTo>
                  <a:cubicBezTo>
                    <a:pt x="37439" y="700641"/>
                    <a:pt x="37439" y="700641"/>
                    <a:pt x="37439" y="700641"/>
                  </a:cubicBezTo>
                  <a:cubicBezTo>
                    <a:pt x="37439" y="700641"/>
                    <a:pt x="37439" y="700641"/>
                    <a:pt x="37439" y="700641"/>
                  </a:cubicBezTo>
                  <a:cubicBezTo>
                    <a:pt x="37380" y="700641"/>
                    <a:pt x="37380" y="700641"/>
                    <a:pt x="37439" y="700641"/>
                  </a:cubicBezTo>
                  <a:cubicBezTo>
                    <a:pt x="37380" y="700641"/>
                    <a:pt x="37380" y="700641"/>
                    <a:pt x="37439" y="700641"/>
                  </a:cubicBezTo>
                  <a:cubicBezTo>
                    <a:pt x="37380" y="700582"/>
                    <a:pt x="37380" y="700582"/>
                    <a:pt x="37380" y="700582"/>
                  </a:cubicBezTo>
                  <a:cubicBezTo>
                    <a:pt x="37380" y="700582"/>
                    <a:pt x="37380" y="700582"/>
                    <a:pt x="37380" y="700582"/>
                  </a:cubicBezTo>
                  <a:cubicBezTo>
                    <a:pt x="37380" y="700582"/>
                    <a:pt x="37380" y="700582"/>
                    <a:pt x="37380" y="700582"/>
                  </a:cubicBezTo>
                  <a:lnTo>
                    <a:pt x="37081" y="700402"/>
                  </a:lnTo>
                  <a:cubicBezTo>
                    <a:pt x="37081" y="700402"/>
                    <a:pt x="37081" y="700402"/>
                    <a:pt x="37021" y="700402"/>
                  </a:cubicBezTo>
                  <a:cubicBezTo>
                    <a:pt x="36961" y="700402"/>
                    <a:pt x="37021" y="700402"/>
                    <a:pt x="36961" y="700402"/>
                  </a:cubicBezTo>
                  <a:lnTo>
                    <a:pt x="36423" y="700283"/>
                  </a:lnTo>
                  <a:lnTo>
                    <a:pt x="37021" y="699565"/>
                  </a:lnTo>
                  <a:lnTo>
                    <a:pt x="42464" y="702376"/>
                  </a:lnTo>
                  <a:lnTo>
                    <a:pt x="41865" y="703153"/>
                  </a:lnTo>
                  <a:lnTo>
                    <a:pt x="37799" y="701060"/>
                  </a:lnTo>
                  <a:lnTo>
                    <a:pt x="37439" y="700641"/>
                  </a:lnTo>
                  <a:close/>
                  <a:moveTo>
                    <a:pt x="42882" y="702615"/>
                  </a:moveTo>
                  <a:lnTo>
                    <a:pt x="47727" y="704350"/>
                  </a:lnTo>
                  <a:lnTo>
                    <a:pt x="47128" y="705067"/>
                  </a:lnTo>
                  <a:lnTo>
                    <a:pt x="42284" y="703333"/>
                  </a:lnTo>
                  <a:lnTo>
                    <a:pt x="42882" y="702615"/>
                  </a:lnTo>
                  <a:close/>
                  <a:moveTo>
                    <a:pt x="48145" y="704469"/>
                  </a:moveTo>
                  <a:lnTo>
                    <a:pt x="51913" y="705007"/>
                  </a:lnTo>
                  <a:lnTo>
                    <a:pt x="51375" y="705665"/>
                  </a:lnTo>
                  <a:lnTo>
                    <a:pt x="47607" y="705127"/>
                  </a:lnTo>
                  <a:lnTo>
                    <a:pt x="48145" y="704469"/>
                  </a:lnTo>
                  <a:close/>
                  <a:moveTo>
                    <a:pt x="52451" y="705007"/>
                  </a:moveTo>
                  <a:lnTo>
                    <a:pt x="54843" y="704469"/>
                  </a:lnTo>
                  <a:lnTo>
                    <a:pt x="54425" y="704948"/>
                  </a:lnTo>
                  <a:lnTo>
                    <a:pt x="52033" y="705486"/>
                  </a:lnTo>
                  <a:lnTo>
                    <a:pt x="52451" y="705007"/>
                  </a:lnTo>
                  <a:close/>
                  <a:moveTo>
                    <a:pt x="55382" y="703751"/>
                  </a:moveTo>
                  <a:lnTo>
                    <a:pt x="55083" y="702914"/>
                  </a:lnTo>
                  <a:lnTo>
                    <a:pt x="56399" y="701359"/>
                  </a:lnTo>
                  <a:lnTo>
                    <a:pt x="56698" y="702137"/>
                  </a:lnTo>
                  <a:lnTo>
                    <a:pt x="55382" y="703751"/>
                  </a:lnTo>
                  <a:close/>
                  <a:moveTo>
                    <a:pt x="54066" y="699027"/>
                  </a:moveTo>
                  <a:lnTo>
                    <a:pt x="55262" y="697472"/>
                  </a:lnTo>
                  <a:lnTo>
                    <a:pt x="56399" y="698130"/>
                  </a:lnTo>
                  <a:lnTo>
                    <a:pt x="56339" y="700641"/>
                  </a:lnTo>
                  <a:lnTo>
                    <a:pt x="54066" y="699027"/>
                  </a:lnTo>
                  <a:close/>
                  <a:moveTo>
                    <a:pt x="55382" y="697233"/>
                  </a:moveTo>
                  <a:lnTo>
                    <a:pt x="55801" y="696634"/>
                  </a:lnTo>
                  <a:lnTo>
                    <a:pt x="56159" y="697711"/>
                  </a:lnTo>
                  <a:lnTo>
                    <a:pt x="55382" y="697233"/>
                  </a:lnTo>
                  <a:close/>
                  <a:moveTo>
                    <a:pt x="52691" y="700641"/>
                  </a:moveTo>
                  <a:lnTo>
                    <a:pt x="53827" y="699206"/>
                  </a:lnTo>
                  <a:lnTo>
                    <a:pt x="56219" y="700941"/>
                  </a:lnTo>
                  <a:lnTo>
                    <a:pt x="54843" y="702555"/>
                  </a:lnTo>
                  <a:lnTo>
                    <a:pt x="52691" y="700641"/>
                  </a:lnTo>
                  <a:close/>
                  <a:moveTo>
                    <a:pt x="55143" y="703991"/>
                  </a:moveTo>
                  <a:lnTo>
                    <a:pt x="52451" y="704589"/>
                  </a:lnTo>
                  <a:lnTo>
                    <a:pt x="52212" y="703572"/>
                  </a:lnTo>
                  <a:lnTo>
                    <a:pt x="54843" y="702974"/>
                  </a:lnTo>
                  <a:lnTo>
                    <a:pt x="55143" y="703991"/>
                  </a:lnTo>
                  <a:close/>
                  <a:moveTo>
                    <a:pt x="60166" y="678393"/>
                  </a:moveTo>
                  <a:lnTo>
                    <a:pt x="83491" y="648968"/>
                  </a:lnTo>
                  <a:lnTo>
                    <a:pt x="86302" y="649028"/>
                  </a:lnTo>
                  <a:lnTo>
                    <a:pt x="63157" y="678393"/>
                  </a:lnTo>
                  <a:lnTo>
                    <a:pt x="60166" y="678393"/>
                  </a:lnTo>
                  <a:close/>
                  <a:moveTo>
                    <a:pt x="83790" y="648609"/>
                  </a:moveTo>
                  <a:lnTo>
                    <a:pt x="107414" y="618765"/>
                  </a:lnTo>
                  <a:lnTo>
                    <a:pt x="110105" y="618885"/>
                  </a:lnTo>
                  <a:lnTo>
                    <a:pt x="86661" y="648609"/>
                  </a:lnTo>
                  <a:lnTo>
                    <a:pt x="83790" y="648609"/>
                  </a:lnTo>
                  <a:close/>
                  <a:moveTo>
                    <a:pt x="107653" y="618466"/>
                  </a:moveTo>
                  <a:lnTo>
                    <a:pt x="131576" y="588264"/>
                  </a:lnTo>
                  <a:lnTo>
                    <a:pt x="134088" y="588443"/>
                  </a:lnTo>
                  <a:lnTo>
                    <a:pt x="110345" y="618586"/>
                  </a:lnTo>
                  <a:lnTo>
                    <a:pt x="107653" y="618466"/>
                  </a:lnTo>
                  <a:close/>
                  <a:moveTo>
                    <a:pt x="131875" y="587905"/>
                  </a:moveTo>
                  <a:lnTo>
                    <a:pt x="156097" y="557343"/>
                  </a:lnTo>
                  <a:lnTo>
                    <a:pt x="158489" y="557643"/>
                  </a:lnTo>
                  <a:lnTo>
                    <a:pt x="134387" y="588144"/>
                  </a:lnTo>
                  <a:lnTo>
                    <a:pt x="131875" y="587905"/>
                  </a:lnTo>
                  <a:close/>
                  <a:moveTo>
                    <a:pt x="156336" y="556985"/>
                  </a:moveTo>
                  <a:lnTo>
                    <a:pt x="180857" y="526004"/>
                  </a:lnTo>
                  <a:lnTo>
                    <a:pt x="183071" y="526363"/>
                  </a:lnTo>
                  <a:lnTo>
                    <a:pt x="158669" y="557284"/>
                  </a:lnTo>
                  <a:lnTo>
                    <a:pt x="156336" y="556985"/>
                  </a:lnTo>
                  <a:close/>
                  <a:moveTo>
                    <a:pt x="181156" y="525646"/>
                  </a:moveTo>
                  <a:lnTo>
                    <a:pt x="206036" y="494247"/>
                  </a:lnTo>
                  <a:lnTo>
                    <a:pt x="208129" y="494666"/>
                  </a:lnTo>
                  <a:lnTo>
                    <a:pt x="183429" y="526004"/>
                  </a:lnTo>
                  <a:lnTo>
                    <a:pt x="181156" y="525646"/>
                  </a:lnTo>
                  <a:close/>
                  <a:moveTo>
                    <a:pt x="206216" y="493948"/>
                  </a:moveTo>
                  <a:lnTo>
                    <a:pt x="231395" y="462190"/>
                  </a:lnTo>
                  <a:lnTo>
                    <a:pt x="233368" y="462669"/>
                  </a:lnTo>
                  <a:lnTo>
                    <a:pt x="208309" y="494426"/>
                  </a:lnTo>
                  <a:lnTo>
                    <a:pt x="206216" y="493948"/>
                  </a:lnTo>
                  <a:close/>
                  <a:moveTo>
                    <a:pt x="231634" y="461891"/>
                  </a:moveTo>
                  <a:lnTo>
                    <a:pt x="257111" y="429715"/>
                  </a:lnTo>
                  <a:lnTo>
                    <a:pt x="258906" y="430253"/>
                  </a:lnTo>
                  <a:lnTo>
                    <a:pt x="233548" y="462429"/>
                  </a:lnTo>
                  <a:lnTo>
                    <a:pt x="231634" y="461891"/>
                  </a:lnTo>
                  <a:close/>
                  <a:moveTo>
                    <a:pt x="257411" y="429356"/>
                  </a:moveTo>
                  <a:lnTo>
                    <a:pt x="283248" y="396761"/>
                  </a:lnTo>
                  <a:lnTo>
                    <a:pt x="284922" y="397299"/>
                  </a:lnTo>
                  <a:lnTo>
                    <a:pt x="259205" y="429894"/>
                  </a:lnTo>
                  <a:lnTo>
                    <a:pt x="257411" y="429356"/>
                  </a:lnTo>
                  <a:close/>
                  <a:moveTo>
                    <a:pt x="283486" y="396462"/>
                  </a:moveTo>
                  <a:lnTo>
                    <a:pt x="309682" y="363389"/>
                  </a:lnTo>
                  <a:lnTo>
                    <a:pt x="311237" y="363987"/>
                  </a:lnTo>
                  <a:lnTo>
                    <a:pt x="285221" y="397000"/>
                  </a:lnTo>
                  <a:lnTo>
                    <a:pt x="283486" y="396462"/>
                  </a:lnTo>
                  <a:close/>
                  <a:moveTo>
                    <a:pt x="309862" y="363090"/>
                  </a:moveTo>
                  <a:lnTo>
                    <a:pt x="336356" y="329598"/>
                  </a:lnTo>
                  <a:lnTo>
                    <a:pt x="337792" y="330255"/>
                  </a:lnTo>
                  <a:lnTo>
                    <a:pt x="311417" y="363688"/>
                  </a:lnTo>
                  <a:lnTo>
                    <a:pt x="309862" y="363090"/>
                  </a:lnTo>
                  <a:close/>
                  <a:moveTo>
                    <a:pt x="336655" y="329299"/>
                  </a:moveTo>
                  <a:lnTo>
                    <a:pt x="363508" y="295388"/>
                  </a:lnTo>
                  <a:lnTo>
                    <a:pt x="364824" y="296046"/>
                  </a:lnTo>
                  <a:lnTo>
                    <a:pt x="338090" y="329956"/>
                  </a:lnTo>
                  <a:lnTo>
                    <a:pt x="336655" y="329299"/>
                  </a:lnTo>
                  <a:close/>
                  <a:moveTo>
                    <a:pt x="389166" y="259085"/>
                  </a:moveTo>
                  <a:lnTo>
                    <a:pt x="414824" y="226849"/>
                  </a:lnTo>
                  <a:lnTo>
                    <a:pt x="416319" y="228045"/>
                  </a:lnTo>
                  <a:lnTo>
                    <a:pt x="390841" y="260221"/>
                  </a:lnTo>
                  <a:lnTo>
                    <a:pt x="389166" y="259085"/>
                  </a:lnTo>
                  <a:close/>
                  <a:moveTo>
                    <a:pt x="412311" y="224875"/>
                  </a:moveTo>
                  <a:lnTo>
                    <a:pt x="386474" y="257111"/>
                  </a:lnTo>
                  <a:lnTo>
                    <a:pt x="384202" y="255317"/>
                  </a:lnTo>
                  <a:lnTo>
                    <a:pt x="410158" y="223201"/>
                  </a:lnTo>
                  <a:lnTo>
                    <a:pt x="412311" y="224875"/>
                  </a:lnTo>
                  <a:close/>
                  <a:moveTo>
                    <a:pt x="383723" y="255377"/>
                  </a:moveTo>
                  <a:lnTo>
                    <a:pt x="356033" y="289706"/>
                  </a:lnTo>
                  <a:lnTo>
                    <a:pt x="353580" y="287733"/>
                  </a:lnTo>
                  <a:lnTo>
                    <a:pt x="381391" y="253523"/>
                  </a:lnTo>
                  <a:lnTo>
                    <a:pt x="383723" y="255377"/>
                  </a:lnTo>
                  <a:close/>
                  <a:moveTo>
                    <a:pt x="381152" y="253224"/>
                  </a:moveTo>
                  <a:lnTo>
                    <a:pt x="353342" y="287433"/>
                  </a:lnTo>
                  <a:lnTo>
                    <a:pt x="351069" y="285460"/>
                  </a:lnTo>
                  <a:lnTo>
                    <a:pt x="378998" y="251370"/>
                  </a:lnTo>
                  <a:lnTo>
                    <a:pt x="381152" y="253224"/>
                  </a:lnTo>
                  <a:close/>
                  <a:moveTo>
                    <a:pt x="378700" y="251131"/>
                  </a:moveTo>
                  <a:lnTo>
                    <a:pt x="350770" y="285221"/>
                  </a:lnTo>
                  <a:lnTo>
                    <a:pt x="348856" y="283367"/>
                  </a:lnTo>
                  <a:lnTo>
                    <a:pt x="376845" y="249396"/>
                  </a:lnTo>
                  <a:lnTo>
                    <a:pt x="378700" y="251131"/>
                  </a:lnTo>
                  <a:close/>
                  <a:moveTo>
                    <a:pt x="376607" y="249157"/>
                  </a:moveTo>
                  <a:lnTo>
                    <a:pt x="348617" y="283127"/>
                  </a:lnTo>
                  <a:lnTo>
                    <a:pt x="347241" y="281632"/>
                  </a:lnTo>
                  <a:lnTo>
                    <a:pt x="375230" y="247781"/>
                  </a:lnTo>
                  <a:lnTo>
                    <a:pt x="376607" y="249157"/>
                  </a:lnTo>
                  <a:close/>
                  <a:moveTo>
                    <a:pt x="348437" y="283367"/>
                  </a:moveTo>
                  <a:lnTo>
                    <a:pt x="320806" y="316859"/>
                  </a:lnTo>
                  <a:lnTo>
                    <a:pt x="319371" y="315244"/>
                  </a:lnTo>
                  <a:lnTo>
                    <a:pt x="347002" y="281871"/>
                  </a:lnTo>
                  <a:lnTo>
                    <a:pt x="348437" y="283367"/>
                  </a:lnTo>
                  <a:close/>
                  <a:moveTo>
                    <a:pt x="320567" y="317158"/>
                  </a:moveTo>
                  <a:lnTo>
                    <a:pt x="293295" y="350231"/>
                  </a:lnTo>
                  <a:lnTo>
                    <a:pt x="291860" y="348437"/>
                  </a:lnTo>
                  <a:lnTo>
                    <a:pt x="319132" y="315483"/>
                  </a:lnTo>
                  <a:lnTo>
                    <a:pt x="320567" y="317158"/>
                  </a:lnTo>
                  <a:close/>
                  <a:moveTo>
                    <a:pt x="293115" y="350530"/>
                  </a:moveTo>
                  <a:lnTo>
                    <a:pt x="266202" y="383185"/>
                  </a:lnTo>
                  <a:lnTo>
                    <a:pt x="264707" y="381271"/>
                  </a:lnTo>
                  <a:lnTo>
                    <a:pt x="291620" y="348736"/>
                  </a:lnTo>
                  <a:lnTo>
                    <a:pt x="293115" y="350530"/>
                  </a:lnTo>
                  <a:close/>
                  <a:moveTo>
                    <a:pt x="265963" y="383484"/>
                  </a:moveTo>
                  <a:lnTo>
                    <a:pt x="239408" y="415720"/>
                  </a:lnTo>
                  <a:lnTo>
                    <a:pt x="237913" y="413686"/>
                  </a:lnTo>
                  <a:lnTo>
                    <a:pt x="264468" y="381570"/>
                  </a:lnTo>
                  <a:lnTo>
                    <a:pt x="265963" y="383484"/>
                  </a:lnTo>
                  <a:close/>
                  <a:moveTo>
                    <a:pt x="239169" y="416019"/>
                  </a:moveTo>
                  <a:lnTo>
                    <a:pt x="212914" y="447836"/>
                  </a:lnTo>
                  <a:lnTo>
                    <a:pt x="211419" y="445624"/>
                  </a:lnTo>
                  <a:lnTo>
                    <a:pt x="237674" y="413926"/>
                  </a:lnTo>
                  <a:lnTo>
                    <a:pt x="239169" y="416019"/>
                  </a:lnTo>
                  <a:close/>
                  <a:moveTo>
                    <a:pt x="212675" y="448136"/>
                  </a:moveTo>
                  <a:lnTo>
                    <a:pt x="186779" y="479594"/>
                  </a:lnTo>
                  <a:lnTo>
                    <a:pt x="185283" y="477262"/>
                  </a:lnTo>
                  <a:lnTo>
                    <a:pt x="211180" y="445982"/>
                  </a:lnTo>
                  <a:lnTo>
                    <a:pt x="212675" y="448136"/>
                  </a:lnTo>
                  <a:close/>
                  <a:moveTo>
                    <a:pt x="186539" y="479893"/>
                  </a:moveTo>
                  <a:lnTo>
                    <a:pt x="160941" y="510933"/>
                  </a:lnTo>
                  <a:lnTo>
                    <a:pt x="159386" y="508481"/>
                  </a:lnTo>
                  <a:lnTo>
                    <a:pt x="184984" y="477561"/>
                  </a:lnTo>
                  <a:lnTo>
                    <a:pt x="186539" y="479893"/>
                  </a:lnTo>
                  <a:close/>
                  <a:moveTo>
                    <a:pt x="160762" y="511232"/>
                  </a:moveTo>
                  <a:lnTo>
                    <a:pt x="135523" y="541913"/>
                  </a:lnTo>
                  <a:lnTo>
                    <a:pt x="133968" y="539282"/>
                  </a:lnTo>
                  <a:lnTo>
                    <a:pt x="159207" y="508780"/>
                  </a:lnTo>
                  <a:lnTo>
                    <a:pt x="160762" y="511232"/>
                  </a:lnTo>
                  <a:close/>
                  <a:moveTo>
                    <a:pt x="135225" y="542212"/>
                  </a:moveTo>
                  <a:lnTo>
                    <a:pt x="110285" y="572534"/>
                  </a:lnTo>
                  <a:lnTo>
                    <a:pt x="108730" y="569783"/>
                  </a:lnTo>
                  <a:lnTo>
                    <a:pt x="133670" y="539640"/>
                  </a:lnTo>
                  <a:lnTo>
                    <a:pt x="135225" y="542212"/>
                  </a:lnTo>
                  <a:close/>
                  <a:moveTo>
                    <a:pt x="110045" y="572834"/>
                  </a:moveTo>
                  <a:lnTo>
                    <a:pt x="85405" y="602737"/>
                  </a:lnTo>
                  <a:lnTo>
                    <a:pt x="83850" y="599807"/>
                  </a:lnTo>
                  <a:lnTo>
                    <a:pt x="108490" y="570023"/>
                  </a:lnTo>
                  <a:lnTo>
                    <a:pt x="110045" y="572834"/>
                  </a:lnTo>
                  <a:close/>
                  <a:moveTo>
                    <a:pt x="85106" y="603036"/>
                  </a:moveTo>
                  <a:lnTo>
                    <a:pt x="60764" y="632581"/>
                  </a:lnTo>
                  <a:lnTo>
                    <a:pt x="59209" y="629471"/>
                  </a:lnTo>
                  <a:lnTo>
                    <a:pt x="83551" y="600046"/>
                  </a:lnTo>
                  <a:lnTo>
                    <a:pt x="85106" y="603036"/>
                  </a:lnTo>
                  <a:close/>
                  <a:moveTo>
                    <a:pt x="60525" y="632880"/>
                  </a:moveTo>
                  <a:lnTo>
                    <a:pt x="36483" y="662066"/>
                  </a:lnTo>
                  <a:lnTo>
                    <a:pt x="34988" y="658836"/>
                  </a:lnTo>
                  <a:lnTo>
                    <a:pt x="59030" y="629770"/>
                  </a:lnTo>
                  <a:lnTo>
                    <a:pt x="60525" y="632880"/>
                  </a:lnTo>
                  <a:close/>
                  <a:moveTo>
                    <a:pt x="17046" y="677376"/>
                  </a:moveTo>
                  <a:cubicBezTo>
                    <a:pt x="17046" y="677376"/>
                    <a:pt x="17046" y="677376"/>
                    <a:pt x="17046" y="677376"/>
                  </a:cubicBezTo>
                  <a:cubicBezTo>
                    <a:pt x="17046" y="677376"/>
                    <a:pt x="17106" y="677376"/>
                    <a:pt x="17106" y="677376"/>
                  </a:cubicBezTo>
                  <a:cubicBezTo>
                    <a:pt x="17106" y="677376"/>
                    <a:pt x="17106" y="677376"/>
                    <a:pt x="17165" y="677376"/>
                  </a:cubicBezTo>
                  <a:cubicBezTo>
                    <a:pt x="17165" y="677376"/>
                    <a:pt x="17165" y="677376"/>
                    <a:pt x="17165" y="677376"/>
                  </a:cubicBezTo>
                  <a:cubicBezTo>
                    <a:pt x="17165" y="677376"/>
                    <a:pt x="17225" y="677376"/>
                    <a:pt x="17225" y="677317"/>
                  </a:cubicBezTo>
                  <a:lnTo>
                    <a:pt x="17225" y="677317"/>
                  </a:lnTo>
                  <a:lnTo>
                    <a:pt x="34688" y="659075"/>
                  </a:lnTo>
                  <a:lnTo>
                    <a:pt x="36184" y="662305"/>
                  </a:lnTo>
                  <a:lnTo>
                    <a:pt x="19258" y="680786"/>
                  </a:lnTo>
                  <a:lnTo>
                    <a:pt x="17225" y="680247"/>
                  </a:lnTo>
                  <a:lnTo>
                    <a:pt x="14833" y="676360"/>
                  </a:lnTo>
                  <a:lnTo>
                    <a:pt x="17046" y="677376"/>
                  </a:lnTo>
                  <a:close/>
                  <a:moveTo>
                    <a:pt x="11603" y="672233"/>
                  </a:moveTo>
                  <a:lnTo>
                    <a:pt x="11244" y="672652"/>
                  </a:lnTo>
                  <a:lnTo>
                    <a:pt x="11423" y="670499"/>
                  </a:lnTo>
                  <a:lnTo>
                    <a:pt x="11783" y="670080"/>
                  </a:lnTo>
                  <a:lnTo>
                    <a:pt x="11603" y="672233"/>
                  </a:lnTo>
                  <a:close/>
                  <a:moveTo>
                    <a:pt x="11125" y="670439"/>
                  </a:moveTo>
                  <a:lnTo>
                    <a:pt x="10885" y="673070"/>
                  </a:lnTo>
                  <a:lnTo>
                    <a:pt x="10108" y="672592"/>
                  </a:lnTo>
                  <a:lnTo>
                    <a:pt x="10228" y="672233"/>
                  </a:lnTo>
                  <a:cubicBezTo>
                    <a:pt x="10228" y="672233"/>
                    <a:pt x="10228" y="672233"/>
                    <a:pt x="10228" y="672233"/>
                  </a:cubicBezTo>
                  <a:cubicBezTo>
                    <a:pt x="10228" y="672233"/>
                    <a:pt x="10228" y="672233"/>
                    <a:pt x="10228" y="672233"/>
                  </a:cubicBezTo>
                  <a:cubicBezTo>
                    <a:pt x="10228" y="672233"/>
                    <a:pt x="10228" y="672233"/>
                    <a:pt x="10228" y="672233"/>
                  </a:cubicBezTo>
                  <a:cubicBezTo>
                    <a:pt x="10228" y="672233"/>
                    <a:pt x="10228" y="672233"/>
                    <a:pt x="10228" y="672233"/>
                  </a:cubicBezTo>
                  <a:cubicBezTo>
                    <a:pt x="10228" y="672233"/>
                    <a:pt x="10228" y="672233"/>
                    <a:pt x="10228" y="672233"/>
                  </a:cubicBezTo>
                  <a:lnTo>
                    <a:pt x="10048" y="671515"/>
                  </a:lnTo>
                  <a:cubicBezTo>
                    <a:pt x="10048" y="671515"/>
                    <a:pt x="10048" y="671515"/>
                    <a:pt x="10048" y="671515"/>
                  </a:cubicBezTo>
                  <a:cubicBezTo>
                    <a:pt x="10048" y="671515"/>
                    <a:pt x="10048" y="671515"/>
                    <a:pt x="10048" y="671515"/>
                  </a:cubicBezTo>
                  <a:cubicBezTo>
                    <a:pt x="10048" y="671515"/>
                    <a:pt x="10048" y="671515"/>
                    <a:pt x="10048" y="671456"/>
                  </a:cubicBezTo>
                  <a:cubicBezTo>
                    <a:pt x="10048" y="671456"/>
                    <a:pt x="10048" y="671456"/>
                    <a:pt x="10048" y="671456"/>
                  </a:cubicBezTo>
                  <a:cubicBezTo>
                    <a:pt x="10048" y="671456"/>
                    <a:pt x="10048" y="671456"/>
                    <a:pt x="10048" y="671456"/>
                  </a:cubicBezTo>
                  <a:lnTo>
                    <a:pt x="9510" y="670738"/>
                  </a:lnTo>
                  <a:cubicBezTo>
                    <a:pt x="9510" y="670738"/>
                    <a:pt x="9510" y="670738"/>
                    <a:pt x="9510" y="670738"/>
                  </a:cubicBezTo>
                  <a:cubicBezTo>
                    <a:pt x="9510" y="670738"/>
                    <a:pt x="9510" y="670738"/>
                    <a:pt x="9510" y="670738"/>
                  </a:cubicBezTo>
                  <a:cubicBezTo>
                    <a:pt x="9510" y="670738"/>
                    <a:pt x="9510" y="670738"/>
                    <a:pt x="9510" y="670738"/>
                  </a:cubicBezTo>
                  <a:lnTo>
                    <a:pt x="9510" y="670738"/>
                  </a:lnTo>
                  <a:lnTo>
                    <a:pt x="9510" y="670738"/>
                  </a:lnTo>
                  <a:lnTo>
                    <a:pt x="8852" y="670020"/>
                  </a:lnTo>
                  <a:cubicBezTo>
                    <a:pt x="8852" y="670020"/>
                    <a:pt x="8852" y="670020"/>
                    <a:pt x="8852" y="670020"/>
                  </a:cubicBezTo>
                  <a:cubicBezTo>
                    <a:pt x="8852" y="670020"/>
                    <a:pt x="8852" y="670020"/>
                    <a:pt x="8852" y="670020"/>
                  </a:cubicBezTo>
                  <a:lnTo>
                    <a:pt x="8253" y="669602"/>
                  </a:lnTo>
                  <a:cubicBezTo>
                    <a:pt x="8253" y="669602"/>
                    <a:pt x="8253" y="669602"/>
                    <a:pt x="8253" y="669602"/>
                  </a:cubicBezTo>
                  <a:cubicBezTo>
                    <a:pt x="8253" y="669602"/>
                    <a:pt x="8253" y="669602"/>
                    <a:pt x="8194" y="669602"/>
                  </a:cubicBezTo>
                  <a:cubicBezTo>
                    <a:pt x="8194" y="669602"/>
                    <a:pt x="8194" y="669602"/>
                    <a:pt x="8194" y="669602"/>
                  </a:cubicBezTo>
                  <a:lnTo>
                    <a:pt x="7536" y="669303"/>
                  </a:lnTo>
                  <a:cubicBezTo>
                    <a:pt x="7536" y="669303"/>
                    <a:pt x="7536" y="669303"/>
                    <a:pt x="7536" y="669303"/>
                  </a:cubicBezTo>
                  <a:cubicBezTo>
                    <a:pt x="7536" y="669303"/>
                    <a:pt x="7536" y="669303"/>
                    <a:pt x="7476" y="669303"/>
                  </a:cubicBezTo>
                  <a:cubicBezTo>
                    <a:pt x="7476" y="669303"/>
                    <a:pt x="7476" y="669303"/>
                    <a:pt x="7476" y="669303"/>
                  </a:cubicBezTo>
                  <a:lnTo>
                    <a:pt x="6758" y="669183"/>
                  </a:lnTo>
                  <a:cubicBezTo>
                    <a:pt x="6758" y="669183"/>
                    <a:pt x="6758" y="669183"/>
                    <a:pt x="6758" y="669183"/>
                  </a:cubicBezTo>
                  <a:cubicBezTo>
                    <a:pt x="6758" y="669183"/>
                    <a:pt x="6758" y="669183"/>
                    <a:pt x="6698" y="669183"/>
                  </a:cubicBezTo>
                  <a:cubicBezTo>
                    <a:pt x="6698" y="669183"/>
                    <a:pt x="6698" y="669183"/>
                    <a:pt x="6698" y="669183"/>
                  </a:cubicBezTo>
                  <a:lnTo>
                    <a:pt x="6100" y="669303"/>
                  </a:lnTo>
                  <a:cubicBezTo>
                    <a:pt x="6100" y="669303"/>
                    <a:pt x="6100" y="669303"/>
                    <a:pt x="6100" y="669303"/>
                  </a:cubicBezTo>
                  <a:cubicBezTo>
                    <a:pt x="6100" y="669303"/>
                    <a:pt x="6100" y="669303"/>
                    <a:pt x="6100" y="669303"/>
                  </a:cubicBezTo>
                  <a:cubicBezTo>
                    <a:pt x="6100" y="669303"/>
                    <a:pt x="6100" y="669303"/>
                    <a:pt x="6100" y="669303"/>
                  </a:cubicBezTo>
                  <a:lnTo>
                    <a:pt x="5802" y="669542"/>
                  </a:lnTo>
                  <a:cubicBezTo>
                    <a:pt x="5742" y="669602"/>
                    <a:pt x="5742" y="669602"/>
                    <a:pt x="5802" y="669661"/>
                  </a:cubicBezTo>
                  <a:lnTo>
                    <a:pt x="5742" y="669721"/>
                  </a:lnTo>
                  <a:lnTo>
                    <a:pt x="5323" y="670020"/>
                  </a:lnTo>
                  <a:lnTo>
                    <a:pt x="3290" y="668824"/>
                  </a:lnTo>
                  <a:lnTo>
                    <a:pt x="3708" y="665236"/>
                  </a:lnTo>
                  <a:lnTo>
                    <a:pt x="11125" y="670439"/>
                  </a:lnTo>
                  <a:close/>
                  <a:moveTo>
                    <a:pt x="8493" y="671635"/>
                  </a:moveTo>
                  <a:lnTo>
                    <a:pt x="8672" y="671755"/>
                  </a:lnTo>
                  <a:lnTo>
                    <a:pt x="8253" y="672054"/>
                  </a:lnTo>
                  <a:lnTo>
                    <a:pt x="8493" y="671635"/>
                  </a:lnTo>
                  <a:close/>
                  <a:moveTo>
                    <a:pt x="7895" y="671874"/>
                  </a:moveTo>
                  <a:lnTo>
                    <a:pt x="7895" y="671276"/>
                  </a:lnTo>
                  <a:lnTo>
                    <a:pt x="8134" y="671396"/>
                  </a:lnTo>
                  <a:lnTo>
                    <a:pt x="7895" y="671874"/>
                  </a:lnTo>
                  <a:close/>
                  <a:moveTo>
                    <a:pt x="8613" y="671336"/>
                  </a:moveTo>
                  <a:lnTo>
                    <a:pt x="8732" y="670319"/>
                  </a:lnTo>
                  <a:lnTo>
                    <a:pt x="9151" y="670678"/>
                  </a:lnTo>
                  <a:lnTo>
                    <a:pt x="8852" y="671575"/>
                  </a:lnTo>
                  <a:lnTo>
                    <a:pt x="8613" y="671336"/>
                  </a:lnTo>
                  <a:close/>
                  <a:moveTo>
                    <a:pt x="8194" y="671097"/>
                  </a:moveTo>
                  <a:lnTo>
                    <a:pt x="7835" y="670917"/>
                  </a:lnTo>
                  <a:lnTo>
                    <a:pt x="7775" y="669781"/>
                  </a:lnTo>
                  <a:lnTo>
                    <a:pt x="8313" y="670020"/>
                  </a:lnTo>
                  <a:lnTo>
                    <a:pt x="8194" y="671097"/>
                  </a:lnTo>
                  <a:close/>
                  <a:moveTo>
                    <a:pt x="7476" y="670858"/>
                  </a:moveTo>
                  <a:lnTo>
                    <a:pt x="7117" y="670798"/>
                  </a:lnTo>
                  <a:lnTo>
                    <a:pt x="6818" y="669661"/>
                  </a:lnTo>
                  <a:lnTo>
                    <a:pt x="7416" y="669781"/>
                  </a:lnTo>
                  <a:lnTo>
                    <a:pt x="7476" y="670858"/>
                  </a:lnTo>
                  <a:close/>
                  <a:moveTo>
                    <a:pt x="7476" y="671216"/>
                  </a:moveTo>
                  <a:lnTo>
                    <a:pt x="7476" y="671814"/>
                  </a:lnTo>
                  <a:lnTo>
                    <a:pt x="7237" y="671157"/>
                  </a:lnTo>
                  <a:lnTo>
                    <a:pt x="7476" y="671216"/>
                  </a:lnTo>
                  <a:close/>
                  <a:moveTo>
                    <a:pt x="8971" y="672054"/>
                  </a:moveTo>
                  <a:lnTo>
                    <a:pt x="9091" y="672173"/>
                  </a:lnTo>
                  <a:lnTo>
                    <a:pt x="8672" y="672293"/>
                  </a:lnTo>
                  <a:lnTo>
                    <a:pt x="8971" y="672054"/>
                  </a:lnTo>
                  <a:close/>
                  <a:moveTo>
                    <a:pt x="9510" y="672413"/>
                  </a:moveTo>
                  <a:lnTo>
                    <a:pt x="9510" y="672413"/>
                  </a:lnTo>
                  <a:lnTo>
                    <a:pt x="9808" y="671874"/>
                  </a:lnTo>
                  <a:lnTo>
                    <a:pt x="9808" y="671994"/>
                  </a:lnTo>
                  <a:lnTo>
                    <a:pt x="9510" y="672413"/>
                  </a:lnTo>
                  <a:close/>
                  <a:moveTo>
                    <a:pt x="9689" y="671336"/>
                  </a:moveTo>
                  <a:lnTo>
                    <a:pt x="9270" y="671994"/>
                  </a:lnTo>
                  <a:lnTo>
                    <a:pt x="9151" y="671814"/>
                  </a:lnTo>
                  <a:lnTo>
                    <a:pt x="9450" y="670977"/>
                  </a:lnTo>
                  <a:lnTo>
                    <a:pt x="9689" y="671336"/>
                  </a:lnTo>
                  <a:close/>
                  <a:moveTo>
                    <a:pt x="8015" y="669602"/>
                  </a:moveTo>
                  <a:lnTo>
                    <a:pt x="8015" y="669602"/>
                  </a:lnTo>
                  <a:lnTo>
                    <a:pt x="7715" y="669482"/>
                  </a:lnTo>
                  <a:lnTo>
                    <a:pt x="7715" y="669482"/>
                  </a:lnTo>
                  <a:lnTo>
                    <a:pt x="8015" y="669602"/>
                  </a:lnTo>
                  <a:close/>
                  <a:moveTo>
                    <a:pt x="7297" y="669303"/>
                  </a:moveTo>
                  <a:lnTo>
                    <a:pt x="7297" y="669362"/>
                  </a:lnTo>
                  <a:lnTo>
                    <a:pt x="6818" y="669303"/>
                  </a:lnTo>
                  <a:lnTo>
                    <a:pt x="6818" y="669243"/>
                  </a:lnTo>
                  <a:lnTo>
                    <a:pt x="7297" y="669303"/>
                  </a:lnTo>
                  <a:close/>
                  <a:moveTo>
                    <a:pt x="6460" y="669661"/>
                  </a:moveTo>
                  <a:lnTo>
                    <a:pt x="6758" y="670798"/>
                  </a:lnTo>
                  <a:lnTo>
                    <a:pt x="6460" y="670858"/>
                  </a:lnTo>
                  <a:lnTo>
                    <a:pt x="5981" y="669721"/>
                  </a:lnTo>
                  <a:lnTo>
                    <a:pt x="6460" y="669661"/>
                  </a:lnTo>
                  <a:close/>
                  <a:moveTo>
                    <a:pt x="6878" y="671157"/>
                  </a:moveTo>
                  <a:lnTo>
                    <a:pt x="7117" y="671755"/>
                  </a:lnTo>
                  <a:lnTo>
                    <a:pt x="6639" y="671157"/>
                  </a:lnTo>
                  <a:lnTo>
                    <a:pt x="6878" y="671157"/>
                  </a:lnTo>
                  <a:close/>
                  <a:moveTo>
                    <a:pt x="9211" y="672532"/>
                  </a:moveTo>
                  <a:lnTo>
                    <a:pt x="9211" y="672652"/>
                  </a:lnTo>
                  <a:lnTo>
                    <a:pt x="8852" y="672592"/>
                  </a:lnTo>
                  <a:lnTo>
                    <a:pt x="9211" y="672532"/>
                  </a:lnTo>
                  <a:close/>
                  <a:moveTo>
                    <a:pt x="5203" y="670080"/>
                  </a:moveTo>
                  <a:cubicBezTo>
                    <a:pt x="5203" y="670080"/>
                    <a:pt x="5203" y="670080"/>
                    <a:pt x="5203" y="670080"/>
                  </a:cubicBezTo>
                  <a:cubicBezTo>
                    <a:pt x="5263" y="670080"/>
                    <a:pt x="5263" y="670080"/>
                    <a:pt x="5203" y="670080"/>
                  </a:cubicBezTo>
                  <a:cubicBezTo>
                    <a:pt x="5263" y="670080"/>
                    <a:pt x="5263" y="670080"/>
                    <a:pt x="5263" y="670140"/>
                  </a:cubicBezTo>
                  <a:cubicBezTo>
                    <a:pt x="5263" y="670140"/>
                    <a:pt x="5323" y="670140"/>
                    <a:pt x="5323" y="670140"/>
                  </a:cubicBezTo>
                  <a:cubicBezTo>
                    <a:pt x="5323" y="670140"/>
                    <a:pt x="5323" y="670140"/>
                    <a:pt x="5323" y="670140"/>
                  </a:cubicBezTo>
                  <a:cubicBezTo>
                    <a:pt x="5323" y="670140"/>
                    <a:pt x="5383" y="670140"/>
                    <a:pt x="5383" y="670140"/>
                  </a:cubicBezTo>
                  <a:lnTo>
                    <a:pt x="5383" y="670140"/>
                  </a:lnTo>
                  <a:lnTo>
                    <a:pt x="5383" y="670140"/>
                  </a:lnTo>
                  <a:lnTo>
                    <a:pt x="5682" y="669960"/>
                  </a:lnTo>
                  <a:lnTo>
                    <a:pt x="6160" y="671037"/>
                  </a:lnTo>
                  <a:lnTo>
                    <a:pt x="5921" y="671216"/>
                  </a:lnTo>
                  <a:cubicBezTo>
                    <a:pt x="5862" y="671276"/>
                    <a:pt x="5862" y="671396"/>
                    <a:pt x="5921" y="671456"/>
                  </a:cubicBezTo>
                  <a:cubicBezTo>
                    <a:pt x="5921" y="671456"/>
                    <a:pt x="5921" y="671456"/>
                    <a:pt x="5921" y="671456"/>
                  </a:cubicBezTo>
                  <a:cubicBezTo>
                    <a:pt x="5981" y="671515"/>
                    <a:pt x="6100" y="671515"/>
                    <a:pt x="6160" y="671515"/>
                  </a:cubicBezTo>
                  <a:lnTo>
                    <a:pt x="6340" y="671396"/>
                  </a:lnTo>
                  <a:lnTo>
                    <a:pt x="7177" y="672413"/>
                  </a:lnTo>
                  <a:cubicBezTo>
                    <a:pt x="7177" y="672413"/>
                    <a:pt x="7237" y="672472"/>
                    <a:pt x="7237" y="672472"/>
                  </a:cubicBezTo>
                  <a:cubicBezTo>
                    <a:pt x="7297" y="672532"/>
                    <a:pt x="7357" y="672532"/>
                    <a:pt x="7357" y="672532"/>
                  </a:cubicBezTo>
                  <a:lnTo>
                    <a:pt x="7357" y="672532"/>
                  </a:lnTo>
                  <a:cubicBezTo>
                    <a:pt x="7357" y="672592"/>
                    <a:pt x="7416" y="672592"/>
                    <a:pt x="7416" y="672652"/>
                  </a:cubicBezTo>
                  <a:cubicBezTo>
                    <a:pt x="7416" y="672652"/>
                    <a:pt x="7476" y="672712"/>
                    <a:pt x="7476" y="672712"/>
                  </a:cubicBezTo>
                  <a:cubicBezTo>
                    <a:pt x="7476" y="672712"/>
                    <a:pt x="7476" y="672712"/>
                    <a:pt x="7476" y="672712"/>
                  </a:cubicBezTo>
                  <a:cubicBezTo>
                    <a:pt x="7476" y="672712"/>
                    <a:pt x="7536" y="672712"/>
                    <a:pt x="7536" y="672771"/>
                  </a:cubicBezTo>
                  <a:cubicBezTo>
                    <a:pt x="7536" y="672771"/>
                    <a:pt x="7536" y="672771"/>
                    <a:pt x="7536" y="672771"/>
                  </a:cubicBezTo>
                  <a:cubicBezTo>
                    <a:pt x="7536" y="672771"/>
                    <a:pt x="7536" y="672771"/>
                    <a:pt x="7536" y="672771"/>
                  </a:cubicBezTo>
                  <a:cubicBezTo>
                    <a:pt x="7536" y="672771"/>
                    <a:pt x="7596" y="672771"/>
                    <a:pt x="7596" y="672831"/>
                  </a:cubicBezTo>
                  <a:cubicBezTo>
                    <a:pt x="7656" y="672831"/>
                    <a:pt x="7656" y="672891"/>
                    <a:pt x="7715" y="672891"/>
                  </a:cubicBezTo>
                  <a:cubicBezTo>
                    <a:pt x="7775" y="672951"/>
                    <a:pt x="7835" y="672951"/>
                    <a:pt x="7895" y="672951"/>
                  </a:cubicBezTo>
                  <a:lnTo>
                    <a:pt x="7895" y="672951"/>
                  </a:lnTo>
                  <a:cubicBezTo>
                    <a:pt x="7895" y="672951"/>
                    <a:pt x="7895" y="672951"/>
                    <a:pt x="7895" y="672951"/>
                  </a:cubicBezTo>
                  <a:cubicBezTo>
                    <a:pt x="7955" y="673011"/>
                    <a:pt x="8015" y="673011"/>
                    <a:pt x="8015" y="673011"/>
                  </a:cubicBezTo>
                  <a:lnTo>
                    <a:pt x="8971" y="673070"/>
                  </a:lnTo>
                  <a:lnTo>
                    <a:pt x="8971" y="673130"/>
                  </a:lnTo>
                  <a:cubicBezTo>
                    <a:pt x="8971" y="673190"/>
                    <a:pt x="8971" y="673310"/>
                    <a:pt x="9031" y="673369"/>
                  </a:cubicBezTo>
                  <a:cubicBezTo>
                    <a:pt x="9031" y="673369"/>
                    <a:pt x="9031" y="673369"/>
                    <a:pt x="9091" y="673369"/>
                  </a:cubicBezTo>
                  <a:cubicBezTo>
                    <a:pt x="9211" y="673429"/>
                    <a:pt x="9270" y="673429"/>
                    <a:pt x="9330" y="673369"/>
                  </a:cubicBezTo>
                  <a:lnTo>
                    <a:pt x="9450" y="673070"/>
                  </a:lnTo>
                  <a:lnTo>
                    <a:pt x="9630" y="672831"/>
                  </a:lnTo>
                  <a:cubicBezTo>
                    <a:pt x="9630" y="672831"/>
                    <a:pt x="9630" y="672831"/>
                    <a:pt x="9630" y="672831"/>
                  </a:cubicBezTo>
                  <a:cubicBezTo>
                    <a:pt x="9630" y="672831"/>
                    <a:pt x="9630" y="672831"/>
                    <a:pt x="9630" y="672831"/>
                  </a:cubicBezTo>
                  <a:lnTo>
                    <a:pt x="9630" y="672831"/>
                  </a:lnTo>
                  <a:lnTo>
                    <a:pt x="10706" y="673489"/>
                  </a:lnTo>
                  <a:lnTo>
                    <a:pt x="11842" y="677018"/>
                  </a:lnTo>
                  <a:lnTo>
                    <a:pt x="4605" y="673788"/>
                  </a:lnTo>
                  <a:lnTo>
                    <a:pt x="3050" y="668944"/>
                  </a:lnTo>
                  <a:lnTo>
                    <a:pt x="5203" y="670080"/>
                  </a:lnTo>
                  <a:close/>
                  <a:moveTo>
                    <a:pt x="12201" y="677317"/>
                  </a:moveTo>
                  <a:lnTo>
                    <a:pt x="14773" y="681563"/>
                  </a:lnTo>
                  <a:lnTo>
                    <a:pt x="8493" y="679888"/>
                  </a:lnTo>
                  <a:lnTo>
                    <a:pt x="5024" y="674147"/>
                  </a:lnTo>
                  <a:lnTo>
                    <a:pt x="12201" y="677317"/>
                  </a:lnTo>
                  <a:close/>
                  <a:moveTo>
                    <a:pt x="15012" y="681982"/>
                  </a:moveTo>
                  <a:lnTo>
                    <a:pt x="17404" y="684852"/>
                  </a:lnTo>
                  <a:lnTo>
                    <a:pt x="16746" y="684494"/>
                  </a:lnTo>
                  <a:cubicBezTo>
                    <a:pt x="16746" y="684494"/>
                    <a:pt x="16746" y="684494"/>
                    <a:pt x="16746" y="684494"/>
                  </a:cubicBezTo>
                  <a:cubicBezTo>
                    <a:pt x="16746" y="684494"/>
                    <a:pt x="16746" y="684494"/>
                    <a:pt x="16686" y="684494"/>
                  </a:cubicBezTo>
                  <a:cubicBezTo>
                    <a:pt x="16686" y="684494"/>
                    <a:pt x="16686" y="684494"/>
                    <a:pt x="16627" y="684494"/>
                  </a:cubicBezTo>
                  <a:cubicBezTo>
                    <a:pt x="16627" y="684494"/>
                    <a:pt x="16627" y="684494"/>
                    <a:pt x="16627" y="684494"/>
                  </a:cubicBezTo>
                  <a:lnTo>
                    <a:pt x="16268" y="684434"/>
                  </a:lnTo>
                  <a:cubicBezTo>
                    <a:pt x="16268" y="684434"/>
                    <a:pt x="16268" y="684434"/>
                    <a:pt x="16268" y="684434"/>
                  </a:cubicBezTo>
                  <a:cubicBezTo>
                    <a:pt x="16268" y="684434"/>
                    <a:pt x="16268" y="684434"/>
                    <a:pt x="16208" y="684434"/>
                  </a:cubicBezTo>
                  <a:cubicBezTo>
                    <a:pt x="16208" y="684434"/>
                    <a:pt x="16208" y="684434"/>
                    <a:pt x="16208" y="684434"/>
                  </a:cubicBezTo>
                  <a:lnTo>
                    <a:pt x="16208" y="684434"/>
                  </a:lnTo>
                  <a:cubicBezTo>
                    <a:pt x="16208" y="684434"/>
                    <a:pt x="16208" y="684434"/>
                    <a:pt x="16208" y="684434"/>
                  </a:cubicBezTo>
                  <a:lnTo>
                    <a:pt x="15729" y="684494"/>
                  </a:lnTo>
                  <a:cubicBezTo>
                    <a:pt x="15729" y="684494"/>
                    <a:pt x="15729" y="684494"/>
                    <a:pt x="15729" y="684494"/>
                  </a:cubicBezTo>
                  <a:cubicBezTo>
                    <a:pt x="15729" y="684494"/>
                    <a:pt x="15729" y="684494"/>
                    <a:pt x="15729" y="684494"/>
                  </a:cubicBezTo>
                  <a:lnTo>
                    <a:pt x="15012" y="684793"/>
                  </a:lnTo>
                  <a:cubicBezTo>
                    <a:pt x="15012" y="684793"/>
                    <a:pt x="15012" y="684793"/>
                    <a:pt x="15012" y="684793"/>
                  </a:cubicBezTo>
                  <a:lnTo>
                    <a:pt x="14952" y="684793"/>
                  </a:lnTo>
                  <a:cubicBezTo>
                    <a:pt x="14892" y="684793"/>
                    <a:pt x="14892" y="684852"/>
                    <a:pt x="14892" y="684852"/>
                  </a:cubicBezTo>
                  <a:cubicBezTo>
                    <a:pt x="14892" y="684852"/>
                    <a:pt x="14833" y="684852"/>
                    <a:pt x="14833" y="684912"/>
                  </a:cubicBezTo>
                  <a:lnTo>
                    <a:pt x="14713" y="685032"/>
                  </a:lnTo>
                  <a:lnTo>
                    <a:pt x="14414" y="685331"/>
                  </a:lnTo>
                  <a:cubicBezTo>
                    <a:pt x="14354" y="685391"/>
                    <a:pt x="14354" y="685510"/>
                    <a:pt x="14474" y="685570"/>
                  </a:cubicBezTo>
                  <a:cubicBezTo>
                    <a:pt x="14474" y="685570"/>
                    <a:pt x="14474" y="685570"/>
                    <a:pt x="14474" y="685570"/>
                  </a:cubicBezTo>
                  <a:cubicBezTo>
                    <a:pt x="14533" y="685630"/>
                    <a:pt x="14653" y="685630"/>
                    <a:pt x="14713" y="685630"/>
                  </a:cubicBezTo>
                  <a:lnTo>
                    <a:pt x="14833" y="685510"/>
                  </a:lnTo>
                  <a:lnTo>
                    <a:pt x="15550" y="686407"/>
                  </a:lnTo>
                  <a:lnTo>
                    <a:pt x="15251" y="686706"/>
                  </a:lnTo>
                  <a:lnTo>
                    <a:pt x="13936" y="686706"/>
                  </a:lnTo>
                  <a:lnTo>
                    <a:pt x="8792" y="680427"/>
                  </a:lnTo>
                  <a:lnTo>
                    <a:pt x="15012" y="681982"/>
                  </a:lnTo>
                  <a:close/>
                  <a:moveTo>
                    <a:pt x="15550" y="686946"/>
                  </a:moveTo>
                  <a:cubicBezTo>
                    <a:pt x="15550" y="686946"/>
                    <a:pt x="15550" y="686946"/>
                    <a:pt x="15550" y="686946"/>
                  </a:cubicBezTo>
                  <a:cubicBezTo>
                    <a:pt x="15550" y="686886"/>
                    <a:pt x="15550" y="686886"/>
                    <a:pt x="15550" y="686946"/>
                  </a:cubicBezTo>
                  <a:cubicBezTo>
                    <a:pt x="15610" y="686946"/>
                    <a:pt x="15610" y="686946"/>
                    <a:pt x="15610" y="686946"/>
                  </a:cubicBezTo>
                  <a:cubicBezTo>
                    <a:pt x="15610" y="686946"/>
                    <a:pt x="15610" y="686946"/>
                    <a:pt x="15610" y="686946"/>
                  </a:cubicBezTo>
                  <a:lnTo>
                    <a:pt x="15909" y="686647"/>
                  </a:lnTo>
                  <a:lnTo>
                    <a:pt x="17165" y="687903"/>
                  </a:lnTo>
                  <a:lnTo>
                    <a:pt x="16986" y="688082"/>
                  </a:lnTo>
                  <a:cubicBezTo>
                    <a:pt x="16926" y="688142"/>
                    <a:pt x="16926" y="688261"/>
                    <a:pt x="17046" y="688321"/>
                  </a:cubicBezTo>
                  <a:cubicBezTo>
                    <a:pt x="17046" y="688321"/>
                    <a:pt x="17046" y="688321"/>
                    <a:pt x="17046" y="688321"/>
                  </a:cubicBezTo>
                  <a:cubicBezTo>
                    <a:pt x="17106" y="688381"/>
                    <a:pt x="17225" y="688381"/>
                    <a:pt x="17284" y="688381"/>
                  </a:cubicBezTo>
                  <a:lnTo>
                    <a:pt x="17464" y="688202"/>
                  </a:lnTo>
                  <a:lnTo>
                    <a:pt x="18241" y="688800"/>
                  </a:lnTo>
                  <a:cubicBezTo>
                    <a:pt x="18301" y="688860"/>
                    <a:pt x="18361" y="688860"/>
                    <a:pt x="18421" y="688860"/>
                  </a:cubicBezTo>
                  <a:lnTo>
                    <a:pt x="18421" y="688860"/>
                  </a:lnTo>
                  <a:cubicBezTo>
                    <a:pt x="18481" y="688919"/>
                    <a:pt x="18541" y="688919"/>
                    <a:pt x="18601" y="688919"/>
                  </a:cubicBezTo>
                  <a:cubicBezTo>
                    <a:pt x="18601" y="688919"/>
                    <a:pt x="18601" y="688919"/>
                    <a:pt x="18660" y="688919"/>
                  </a:cubicBezTo>
                  <a:cubicBezTo>
                    <a:pt x="18660" y="688919"/>
                    <a:pt x="18720" y="688919"/>
                    <a:pt x="18720" y="688919"/>
                  </a:cubicBezTo>
                  <a:cubicBezTo>
                    <a:pt x="18780" y="688919"/>
                    <a:pt x="18780" y="688919"/>
                    <a:pt x="18780" y="688919"/>
                  </a:cubicBezTo>
                  <a:cubicBezTo>
                    <a:pt x="18780" y="688919"/>
                    <a:pt x="18839" y="688919"/>
                    <a:pt x="18839" y="688919"/>
                  </a:cubicBezTo>
                  <a:cubicBezTo>
                    <a:pt x="18839" y="688919"/>
                    <a:pt x="18899" y="688919"/>
                    <a:pt x="18899" y="688860"/>
                  </a:cubicBezTo>
                  <a:lnTo>
                    <a:pt x="18899" y="688860"/>
                  </a:lnTo>
                  <a:cubicBezTo>
                    <a:pt x="18899" y="688860"/>
                    <a:pt x="18959" y="688860"/>
                    <a:pt x="18959" y="688800"/>
                  </a:cubicBezTo>
                  <a:lnTo>
                    <a:pt x="19258" y="688441"/>
                  </a:lnTo>
                  <a:cubicBezTo>
                    <a:pt x="19318" y="688441"/>
                    <a:pt x="19318" y="688441"/>
                    <a:pt x="19377" y="688381"/>
                  </a:cubicBezTo>
                  <a:lnTo>
                    <a:pt x="19557" y="688082"/>
                  </a:lnTo>
                  <a:cubicBezTo>
                    <a:pt x="19557" y="688082"/>
                    <a:pt x="19557" y="688082"/>
                    <a:pt x="19557" y="688082"/>
                  </a:cubicBezTo>
                  <a:cubicBezTo>
                    <a:pt x="19557" y="688082"/>
                    <a:pt x="19557" y="688082"/>
                    <a:pt x="19557" y="688022"/>
                  </a:cubicBezTo>
                  <a:lnTo>
                    <a:pt x="19557" y="687723"/>
                  </a:lnTo>
                  <a:cubicBezTo>
                    <a:pt x="19557" y="687723"/>
                    <a:pt x="19557" y="687723"/>
                    <a:pt x="19557" y="687723"/>
                  </a:cubicBezTo>
                  <a:cubicBezTo>
                    <a:pt x="19557" y="687723"/>
                    <a:pt x="19557" y="687723"/>
                    <a:pt x="19557" y="687723"/>
                  </a:cubicBezTo>
                  <a:cubicBezTo>
                    <a:pt x="19557" y="687723"/>
                    <a:pt x="19557" y="687723"/>
                    <a:pt x="19557" y="687723"/>
                  </a:cubicBezTo>
                  <a:cubicBezTo>
                    <a:pt x="19557" y="687723"/>
                    <a:pt x="19557" y="687723"/>
                    <a:pt x="19557" y="687663"/>
                  </a:cubicBezTo>
                  <a:cubicBezTo>
                    <a:pt x="19557" y="687663"/>
                    <a:pt x="19557" y="687663"/>
                    <a:pt x="19557" y="687663"/>
                  </a:cubicBezTo>
                  <a:cubicBezTo>
                    <a:pt x="19557" y="687663"/>
                    <a:pt x="19557" y="687663"/>
                    <a:pt x="19557" y="687663"/>
                  </a:cubicBezTo>
                  <a:cubicBezTo>
                    <a:pt x="19557" y="687663"/>
                    <a:pt x="19557" y="687663"/>
                    <a:pt x="19557" y="687663"/>
                  </a:cubicBezTo>
                  <a:cubicBezTo>
                    <a:pt x="19557" y="687663"/>
                    <a:pt x="19557" y="687663"/>
                    <a:pt x="19557" y="687663"/>
                  </a:cubicBezTo>
                  <a:lnTo>
                    <a:pt x="19557" y="687663"/>
                  </a:lnTo>
                  <a:lnTo>
                    <a:pt x="19437" y="687364"/>
                  </a:lnTo>
                  <a:lnTo>
                    <a:pt x="23983" y="691790"/>
                  </a:lnTo>
                  <a:lnTo>
                    <a:pt x="20814" y="693405"/>
                  </a:lnTo>
                  <a:lnTo>
                    <a:pt x="14294" y="687065"/>
                  </a:lnTo>
                  <a:lnTo>
                    <a:pt x="15550" y="686946"/>
                  </a:lnTo>
                  <a:close/>
                  <a:moveTo>
                    <a:pt x="24342" y="691969"/>
                  </a:moveTo>
                  <a:lnTo>
                    <a:pt x="29844" y="696395"/>
                  </a:lnTo>
                  <a:lnTo>
                    <a:pt x="28588" y="699565"/>
                  </a:lnTo>
                  <a:lnTo>
                    <a:pt x="21172" y="693584"/>
                  </a:lnTo>
                  <a:lnTo>
                    <a:pt x="24342" y="691969"/>
                  </a:lnTo>
                  <a:close/>
                  <a:moveTo>
                    <a:pt x="29007" y="699804"/>
                  </a:moveTo>
                  <a:lnTo>
                    <a:pt x="30263" y="696634"/>
                  </a:lnTo>
                  <a:lnTo>
                    <a:pt x="35466" y="700103"/>
                  </a:lnTo>
                  <a:lnTo>
                    <a:pt x="35167" y="700043"/>
                  </a:lnTo>
                  <a:cubicBezTo>
                    <a:pt x="35167" y="700043"/>
                    <a:pt x="35167" y="700043"/>
                    <a:pt x="35167" y="700043"/>
                  </a:cubicBezTo>
                  <a:cubicBezTo>
                    <a:pt x="35167" y="700043"/>
                    <a:pt x="35167" y="700043"/>
                    <a:pt x="35167" y="700043"/>
                  </a:cubicBezTo>
                  <a:cubicBezTo>
                    <a:pt x="35167" y="700043"/>
                    <a:pt x="35167" y="700043"/>
                    <a:pt x="35167" y="700043"/>
                  </a:cubicBezTo>
                  <a:cubicBezTo>
                    <a:pt x="35167" y="700043"/>
                    <a:pt x="35167" y="700043"/>
                    <a:pt x="35167" y="700043"/>
                  </a:cubicBezTo>
                  <a:cubicBezTo>
                    <a:pt x="35167" y="700043"/>
                    <a:pt x="35167" y="700043"/>
                    <a:pt x="35107" y="700043"/>
                  </a:cubicBezTo>
                  <a:cubicBezTo>
                    <a:pt x="35107" y="700043"/>
                    <a:pt x="35107" y="700043"/>
                    <a:pt x="35107" y="700043"/>
                  </a:cubicBezTo>
                  <a:cubicBezTo>
                    <a:pt x="35107" y="700043"/>
                    <a:pt x="35107" y="700043"/>
                    <a:pt x="35107" y="700043"/>
                  </a:cubicBezTo>
                  <a:lnTo>
                    <a:pt x="34808" y="700163"/>
                  </a:lnTo>
                  <a:cubicBezTo>
                    <a:pt x="34808" y="700163"/>
                    <a:pt x="34808" y="700163"/>
                    <a:pt x="34808" y="700163"/>
                  </a:cubicBezTo>
                  <a:cubicBezTo>
                    <a:pt x="34808" y="700163"/>
                    <a:pt x="34808" y="700163"/>
                    <a:pt x="34808" y="700163"/>
                  </a:cubicBezTo>
                  <a:lnTo>
                    <a:pt x="34569" y="700402"/>
                  </a:lnTo>
                  <a:cubicBezTo>
                    <a:pt x="34569" y="700402"/>
                    <a:pt x="34569" y="700462"/>
                    <a:pt x="34569" y="700462"/>
                  </a:cubicBezTo>
                  <a:lnTo>
                    <a:pt x="34210" y="700821"/>
                  </a:lnTo>
                  <a:cubicBezTo>
                    <a:pt x="34210" y="700821"/>
                    <a:pt x="34210" y="700881"/>
                    <a:pt x="34210" y="700881"/>
                  </a:cubicBezTo>
                  <a:lnTo>
                    <a:pt x="34210" y="700881"/>
                  </a:lnTo>
                  <a:cubicBezTo>
                    <a:pt x="34210" y="700881"/>
                    <a:pt x="34210" y="700941"/>
                    <a:pt x="34150" y="700941"/>
                  </a:cubicBezTo>
                  <a:cubicBezTo>
                    <a:pt x="34150" y="700941"/>
                    <a:pt x="34150" y="701000"/>
                    <a:pt x="34150" y="701000"/>
                  </a:cubicBezTo>
                  <a:cubicBezTo>
                    <a:pt x="34150" y="701000"/>
                    <a:pt x="34150" y="701060"/>
                    <a:pt x="34150" y="701060"/>
                  </a:cubicBezTo>
                  <a:cubicBezTo>
                    <a:pt x="34150" y="701060"/>
                    <a:pt x="34150" y="701120"/>
                    <a:pt x="34150" y="701120"/>
                  </a:cubicBezTo>
                  <a:cubicBezTo>
                    <a:pt x="34150" y="701120"/>
                    <a:pt x="34150" y="701120"/>
                    <a:pt x="34150" y="701120"/>
                  </a:cubicBezTo>
                  <a:cubicBezTo>
                    <a:pt x="34150" y="701180"/>
                    <a:pt x="34210" y="701240"/>
                    <a:pt x="34210" y="701240"/>
                  </a:cubicBezTo>
                  <a:cubicBezTo>
                    <a:pt x="34210" y="701240"/>
                    <a:pt x="34210" y="701240"/>
                    <a:pt x="34210" y="701240"/>
                  </a:cubicBezTo>
                  <a:cubicBezTo>
                    <a:pt x="34210" y="701299"/>
                    <a:pt x="34270" y="701359"/>
                    <a:pt x="34329" y="701419"/>
                  </a:cubicBezTo>
                  <a:lnTo>
                    <a:pt x="34329" y="701419"/>
                  </a:lnTo>
                  <a:lnTo>
                    <a:pt x="34988" y="702017"/>
                  </a:lnTo>
                  <a:lnTo>
                    <a:pt x="34868" y="702256"/>
                  </a:lnTo>
                  <a:cubicBezTo>
                    <a:pt x="34808" y="702316"/>
                    <a:pt x="34868" y="702436"/>
                    <a:pt x="34928" y="702496"/>
                  </a:cubicBezTo>
                  <a:cubicBezTo>
                    <a:pt x="34928" y="702496"/>
                    <a:pt x="34928" y="702496"/>
                    <a:pt x="34928" y="702496"/>
                  </a:cubicBezTo>
                  <a:cubicBezTo>
                    <a:pt x="35048" y="702555"/>
                    <a:pt x="35107" y="702555"/>
                    <a:pt x="35167" y="702496"/>
                  </a:cubicBezTo>
                  <a:lnTo>
                    <a:pt x="35286" y="702256"/>
                  </a:lnTo>
                  <a:lnTo>
                    <a:pt x="36782" y="703213"/>
                  </a:lnTo>
                  <a:lnTo>
                    <a:pt x="36543" y="703572"/>
                  </a:lnTo>
                  <a:cubicBezTo>
                    <a:pt x="36543" y="703572"/>
                    <a:pt x="36543" y="703572"/>
                    <a:pt x="36543" y="703572"/>
                  </a:cubicBezTo>
                  <a:cubicBezTo>
                    <a:pt x="36543" y="703572"/>
                    <a:pt x="36543" y="703572"/>
                    <a:pt x="36543" y="703572"/>
                  </a:cubicBezTo>
                  <a:cubicBezTo>
                    <a:pt x="36543" y="703572"/>
                    <a:pt x="36543" y="703572"/>
                    <a:pt x="36543" y="703632"/>
                  </a:cubicBezTo>
                  <a:cubicBezTo>
                    <a:pt x="36543" y="703632"/>
                    <a:pt x="36543" y="703632"/>
                    <a:pt x="36543" y="703632"/>
                  </a:cubicBezTo>
                  <a:lnTo>
                    <a:pt x="36722" y="704708"/>
                  </a:lnTo>
                  <a:lnTo>
                    <a:pt x="29007" y="699804"/>
                  </a:lnTo>
                  <a:close/>
                  <a:moveTo>
                    <a:pt x="37081" y="705127"/>
                  </a:moveTo>
                  <a:lnTo>
                    <a:pt x="36901" y="703931"/>
                  </a:lnTo>
                  <a:lnTo>
                    <a:pt x="37141" y="703572"/>
                  </a:lnTo>
                  <a:lnTo>
                    <a:pt x="38217" y="704110"/>
                  </a:lnTo>
                  <a:lnTo>
                    <a:pt x="38097" y="704290"/>
                  </a:lnTo>
                  <a:cubicBezTo>
                    <a:pt x="38038" y="704350"/>
                    <a:pt x="38097" y="704469"/>
                    <a:pt x="38157" y="704529"/>
                  </a:cubicBezTo>
                  <a:cubicBezTo>
                    <a:pt x="38157" y="704529"/>
                    <a:pt x="38157" y="704529"/>
                    <a:pt x="38157" y="704529"/>
                  </a:cubicBezTo>
                  <a:cubicBezTo>
                    <a:pt x="38277" y="704589"/>
                    <a:pt x="38337" y="704589"/>
                    <a:pt x="38397" y="704529"/>
                  </a:cubicBezTo>
                  <a:lnTo>
                    <a:pt x="38576" y="704230"/>
                  </a:lnTo>
                  <a:lnTo>
                    <a:pt x="38756" y="704110"/>
                  </a:lnTo>
                  <a:cubicBezTo>
                    <a:pt x="38815" y="704110"/>
                    <a:pt x="38815" y="704051"/>
                    <a:pt x="38815" y="704051"/>
                  </a:cubicBezTo>
                  <a:cubicBezTo>
                    <a:pt x="38875" y="704051"/>
                    <a:pt x="38875" y="703991"/>
                    <a:pt x="38875" y="703931"/>
                  </a:cubicBezTo>
                  <a:cubicBezTo>
                    <a:pt x="38875" y="703931"/>
                    <a:pt x="38875" y="703931"/>
                    <a:pt x="38875" y="703871"/>
                  </a:cubicBezTo>
                  <a:lnTo>
                    <a:pt x="38935" y="703034"/>
                  </a:lnTo>
                  <a:cubicBezTo>
                    <a:pt x="38935" y="703034"/>
                    <a:pt x="38935" y="703034"/>
                    <a:pt x="38935" y="703034"/>
                  </a:cubicBezTo>
                  <a:cubicBezTo>
                    <a:pt x="38935" y="703034"/>
                    <a:pt x="38935" y="703034"/>
                    <a:pt x="38935" y="703034"/>
                  </a:cubicBezTo>
                  <a:lnTo>
                    <a:pt x="38935" y="702555"/>
                  </a:lnTo>
                  <a:cubicBezTo>
                    <a:pt x="38935" y="702555"/>
                    <a:pt x="38935" y="702555"/>
                    <a:pt x="38935" y="702555"/>
                  </a:cubicBezTo>
                  <a:cubicBezTo>
                    <a:pt x="38935" y="702555"/>
                    <a:pt x="38935" y="702555"/>
                    <a:pt x="38935" y="702496"/>
                  </a:cubicBezTo>
                  <a:cubicBezTo>
                    <a:pt x="38935" y="702496"/>
                    <a:pt x="38935" y="702496"/>
                    <a:pt x="38935" y="702496"/>
                  </a:cubicBezTo>
                  <a:lnTo>
                    <a:pt x="38935" y="702496"/>
                  </a:lnTo>
                  <a:cubicBezTo>
                    <a:pt x="38935" y="702496"/>
                    <a:pt x="38935" y="702496"/>
                    <a:pt x="38935" y="702496"/>
                  </a:cubicBezTo>
                  <a:lnTo>
                    <a:pt x="38815" y="702197"/>
                  </a:lnTo>
                  <a:cubicBezTo>
                    <a:pt x="38815" y="702197"/>
                    <a:pt x="38815" y="702197"/>
                    <a:pt x="38815" y="702197"/>
                  </a:cubicBezTo>
                  <a:cubicBezTo>
                    <a:pt x="38815" y="702197"/>
                    <a:pt x="38815" y="702197"/>
                    <a:pt x="38815" y="702137"/>
                  </a:cubicBezTo>
                  <a:cubicBezTo>
                    <a:pt x="38815" y="702137"/>
                    <a:pt x="38815" y="702137"/>
                    <a:pt x="38815" y="702077"/>
                  </a:cubicBezTo>
                  <a:cubicBezTo>
                    <a:pt x="38815" y="702077"/>
                    <a:pt x="38815" y="702077"/>
                    <a:pt x="38815" y="702077"/>
                  </a:cubicBezTo>
                  <a:lnTo>
                    <a:pt x="38397" y="701598"/>
                  </a:lnTo>
                  <a:lnTo>
                    <a:pt x="41865" y="703393"/>
                  </a:lnTo>
                  <a:lnTo>
                    <a:pt x="44557" y="708835"/>
                  </a:lnTo>
                  <a:lnTo>
                    <a:pt x="37081" y="705127"/>
                  </a:lnTo>
                  <a:close/>
                  <a:moveTo>
                    <a:pt x="44975" y="709134"/>
                  </a:moveTo>
                  <a:lnTo>
                    <a:pt x="42284" y="703632"/>
                  </a:lnTo>
                  <a:lnTo>
                    <a:pt x="47128" y="705366"/>
                  </a:lnTo>
                  <a:lnTo>
                    <a:pt x="51554" y="711467"/>
                  </a:lnTo>
                  <a:lnTo>
                    <a:pt x="44975" y="709134"/>
                  </a:lnTo>
                  <a:close/>
                  <a:moveTo>
                    <a:pt x="52033" y="711646"/>
                  </a:moveTo>
                  <a:lnTo>
                    <a:pt x="47547" y="705486"/>
                  </a:lnTo>
                  <a:lnTo>
                    <a:pt x="51435" y="706024"/>
                  </a:lnTo>
                  <a:lnTo>
                    <a:pt x="52212" y="706861"/>
                  </a:lnTo>
                  <a:lnTo>
                    <a:pt x="52033" y="707041"/>
                  </a:lnTo>
                  <a:lnTo>
                    <a:pt x="51733" y="707220"/>
                  </a:lnTo>
                  <a:cubicBezTo>
                    <a:pt x="51674" y="707280"/>
                    <a:pt x="51674" y="707400"/>
                    <a:pt x="51733" y="707460"/>
                  </a:cubicBezTo>
                  <a:cubicBezTo>
                    <a:pt x="51733" y="707460"/>
                    <a:pt x="51733" y="707460"/>
                    <a:pt x="51793" y="707460"/>
                  </a:cubicBezTo>
                  <a:cubicBezTo>
                    <a:pt x="51853" y="707519"/>
                    <a:pt x="51973" y="707519"/>
                    <a:pt x="52033" y="707519"/>
                  </a:cubicBezTo>
                  <a:lnTo>
                    <a:pt x="52093" y="707460"/>
                  </a:lnTo>
                  <a:lnTo>
                    <a:pt x="52331" y="708357"/>
                  </a:lnTo>
                  <a:cubicBezTo>
                    <a:pt x="52331" y="708416"/>
                    <a:pt x="52391" y="708476"/>
                    <a:pt x="52451" y="708476"/>
                  </a:cubicBezTo>
                  <a:cubicBezTo>
                    <a:pt x="52451" y="708476"/>
                    <a:pt x="52451" y="708476"/>
                    <a:pt x="52511" y="708476"/>
                  </a:cubicBezTo>
                  <a:cubicBezTo>
                    <a:pt x="52511" y="708536"/>
                    <a:pt x="52571" y="708596"/>
                    <a:pt x="52571" y="708656"/>
                  </a:cubicBezTo>
                  <a:cubicBezTo>
                    <a:pt x="52571" y="708715"/>
                    <a:pt x="52631" y="708715"/>
                    <a:pt x="52631" y="708775"/>
                  </a:cubicBezTo>
                  <a:cubicBezTo>
                    <a:pt x="52631" y="708775"/>
                    <a:pt x="52631" y="708775"/>
                    <a:pt x="52631" y="708835"/>
                  </a:cubicBezTo>
                  <a:cubicBezTo>
                    <a:pt x="52631" y="708835"/>
                    <a:pt x="52631" y="708835"/>
                    <a:pt x="52631" y="708835"/>
                  </a:cubicBezTo>
                  <a:cubicBezTo>
                    <a:pt x="52631" y="708835"/>
                    <a:pt x="52631" y="708835"/>
                    <a:pt x="52631" y="708835"/>
                  </a:cubicBezTo>
                  <a:cubicBezTo>
                    <a:pt x="52631" y="708835"/>
                    <a:pt x="52631" y="708895"/>
                    <a:pt x="52691" y="708895"/>
                  </a:cubicBezTo>
                  <a:cubicBezTo>
                    <a:pt x="52691" y="708895"/>
                    <a:pt x="52691" y="708895"/>
                    <a:pt x="52750" y="708895"/>
                  </a:cubicBezTo>
                  <a:cubicBezTo>
                    <a:pt x="52750" y="708895"/>
                    <a:pt x="52810" y="708955"/>
                    <a:pt x="52810" y="708955"/>
                  </a:cubicBezTo>
                  <a:cubicBezTo>
                    <a:pt x="52870" y="709015"/>
                    <a:pt x="52870" y="709015"/>
                    <a:pt x="52930" y="709015"/>
                  </a:cubicBezTo>
                  <a:lnTo>
                    <a:pt x="52930" y="709015"/>
                  </a:lnTo>
                  <a:cubicBezTo>
                    <a:pt x="52930" y="709074"/>
                    <a:pt x="52990" y="709074"/>
                    <a:pt x="52990" y="709134"/>
                  </a:cubicBezTo>
                  <a:cubicBezTo>
                    <a:pt x="52990" y="709134"/>
                    <a:pt x="53049" y="709194"/>
                    <a:pt x="53049" y="709194"/>
                  </a:cubicBezTo>
                  <a:lnTo>
                    <a:pt x="54246" y="709732"/>
                  </a:lnTo>
                  <a:lnTo>
                    <a:pt x="54186" y="709912"/>
                  </a:lnTo>
                  <a:cubicBezTo>
                    <a:pt x="54186" y="709971"/>
                    <a:pt x="54186" y="710091"/>
                    <a:pt x="54246" y="710151"/>
                  </a:cubicBezTo>
                  <a:cubicBezTo>
                    <a:pt x="54246" y="710151"/>
                    <a:pt x="54246" y="710151"/>
                    <a:pt x="54305" y="710151"/>
                  </a:cubicBezTo>
                  <a:cubicBezTo>
                    <a:pt x="54425" y="710211"/>
                    <a:pt x="54485" y="710211"/>
                    <a:pt x="54544" y="710151"/>
                  </a:cubicBezTo>
                  <a:lnTo>
                    <a:pt x="54664" y="709912"/>
                  </a:lnTo>
                  <a:lnTo>
                    <a:pt x="55860" y="710151"/>
                  </a:lnTo>
                  <a:lnTo>
                    <a:pt x="55741" y="710450"/>
                  </a:lnTo>
                  <a:cubicBezTo>
                    <a:pt x="55741" y="710450"/>
                    <a:pt x="55741" y="710450"/>
                    <a:pt x="55741" y="710450"/>
                  </a:cubicBezTo>
                  <a:cubicBezTo>
                    <a:pt x="55741" y="710450"/>
                    <a:pt x="55741" y="710450"/>
                    <a:pt x="55741" y="710450"/>
                  </a:cubicBezTo>
                  <a:cubicBezTo>
                    <a:pt x="55741" y="710450"/>
                    <a:pt x="55741" y="710450"/>
                    <a:pt x="55741" y="710510"/>
                  </a:cubicBezTo>
                  <a:cubicBezTo>
                    <a:pt x="55741" y="710510"/>
                    <a:pt x="55741" y="710510"/>
                    <a:pt x="55741" y="710510"/>
                  </a:cubicBezTo>
                  <a:cubicBezTo>
                    <a:pt x="55741" y="710510"/>
                    <a:pt x="55741" y="710510"/>
                    <a:pt x="55741" y="710570"/>
                  </a:cubicBezTo>
                  <a:cubicBezTo>
                    <a:pt x="55741" y="710570"/>
                    <a:pt x="55741" y="710570"/>
                    <a:pt x="55741" y="710570"/>
                  </a:cubicBezTo>
                  <a:cubicBezTo>
                    <a:pt x="55741" y="710570"/>
                    <a:pt x="55741" y="710570"/>
                    <a:pt x="55741" y="710629"/>
                  </a:cubicBezTo>
                  <a:cubicBezTo>
                    <a:pt x="55741" y="710629"/>
                    <a:pt x="55741" y="710629"/>
                    <a:pt x="55741" y="710629"/>
                  </a:cubicBezTo>
                  <a:lnTo>
                    <a:pt x="57236" y="712244"/>
                  </a:lnTo>
                  <a:lnTo>
                    <a:pt x="52033" y="711646"/>
                  </a:lnTo>
                  <a:close/>
                  <a:moveTo>
                    <a:pt x="56399" y="709613"/>
                  </a:moveTo>
                  <a:lnTo>
                    <a:pt x="56399" y="709613"/>
                  </a:lnTo>
                  <a:lnTo>
                    <a:pt x="56339" y="709433"/>
                  </a:lnTo>
                  <a:lnTo>
                    <a:pt x="56399" y="709433"/>
                  </a:lnTo>
                  <a:lnTo>
                    <a:pt x="56399" y="709613"/>
                  </a:lnTo>
                  <a:close/>
                  <a:moveTo>
                    <a:pt x="53229" y="708117"/>
                  </a:moveTo>
                  <a:lnTo>
                    <a:pt x="53408" y="707699"/>
                  </a:lnTo>
                  <a:lnTo>
                    <a:pt x="53588" y="707818"/>
                  </a:lnTo>
                  <a:lnTo>
                    <a:pt x="53229" y="708117"/>
                  </a:lnTo>
                  <a:close/>
                  <a:moveTo>
                    <a:pt x="53886" y="708177"/>
                  </a:moveTo>
                  <a:lnTo>
                    <a:pt x="54006" y="708357"/>
                  </a:lnTo>
                  <a:lnTo>
                    <a:pt x="53468" y="708476"/>
                  </a:lnTo>
                  <a:lnTo>
                    <a:pt x="53886" y="708177"/>
                  </a:lnTo>
                  <a:close/>
                  <a:moveTo>
                    <a:pt x="54186" y="708715"/>
                  </a:moveTo>
                  <a:lnTo>
                    <a:pt x="54246" y="708955"/>
                  </a:lnTo>
                  <a:lnTo>
                    <a:pt x="53588" y="708835"/>
                  </a:lnTo>
                  <a:lnTo>
                    <a:pt x="54186" y="708715"/>
                  </a:lnTo>
                  <a:close/>
                  <a:moveTo>
                    <a:pt x="54664" y="708955"/>
                  </a:moveTo>
                  <a:lnTo>
                    <a:pt x="54544" y="708656"/>
                  </a:lnTo>
                  <a:lnTo>
                    <a:pt x="55741" y="708536"/>
                  </a:lnTo>
                  <a:lnTo>
                    <a:pt x="55920" y="709074"/>
                  </a:lnTo>
                  <a:lnTo>
                    <a:pt x="54664" y="708955"/>
                  </a:lnTo>
                  <a:close/>
                  <a:moveTo>
                    <a:pt x="54365" y="708297"/>
                  </a:moveTo>
                  <a:lnTo>
                    <a:pt x="54186" y="707998"/>
                  </a:lnTo>
                  <a:lnTo>
                    <a:pt x="55203" y="707699"/>
                  </a:lnTo>
                  <a:lnTo>
                    <a:pt x="55561" y="708177"/>
                  </a:lnTo>
                  <a:lnTo>
                    <a:pt x="54365" y="708297"/>
                  </a:lnTo>
                  <a:close/>
                  <a:moveTo>
                    <a:pt x="54843" y="707400"/>
                  </a:moveTo>
                  <a:lnTo>
                    <a:pt x="53827" y="707699"/>
                  </a:lnTo>
                  <a:lnTo>
                    <a:pt x="53588" y="707519"/>
                  </a:lnTo>
                  <a:lnTo>
                    <a:pt x="54425" y="707041"/>
                  </a:lnTo>
                  <a:lnTo>
                    <a:pt x="54843" y="707400"/>
                  </a:lnTo>
                  <a:close/>
                  <a:moveTo>
                    <a:pt x="53049" y="707519"/>
                  </a:moveTo>
                  <a:lnTo>
                    <a:pt x="52870" y="707878"/>
                  </a:lnTo>
                  <a:lnTo>
                    <a:pt x="52870" y="707460"/>
                  </a:lnTo>
                  <a:lnTo>
                    <a:pt x="53049" y="707519"/>
                  </a:lnTo>
                  <a:close/>
                  <a:moveTo>
                    <a:pt x="52511" y="707400"/>
                  </a:moveTo>
                  <a:lnTo>
                    <a:pt x="52511" y="707699"/>
                  </a:lnTo>
                  <a:lnTo>
                    <a:pt x="52391" y="707400"/>
                  </a:lnTo>
                  <a:lnTo>
                    <a:pt x="52511" y="707400"/>
                  </a:lnTo>
                  <a:close/>
                  <a:moveTo>
                    <a:pt x="54365" y="709254"/>
                  </a:moveTo>
                  <a:lnTo>
                    <a:pt x="54365" y="709433"/>
                  </a:lnTo>
                  <a:lnTo>
                    <a:pt x="53708" y="709134"/>
                  </a:lnTo>
                  <a:lnTo>
                    <a:pt x="54365" y="709254"/>
                  </a:lnTo>
                  <a:close/>
                  <a:moveTo>
                    <a:pt x="54724" y="709613"/>
                  </a:moveTo>
                  <a:lnTo>
                    <a:pt x="54724" y="709314"/>
                  </a:lnTo>
                  <a:lnTo>
                    <a:pt x="55980" y="709373"/>
                  </a:lnTo>
                  <a:lnTo>
                    <a:pt x="55980" y="709852"/>
                  </a:lnTo>
                  <a:lnTo>
                    <a:pt x="54724" y="709613"/>
                  </a:lnTo>
                  <a:close/>
                  <a:moveTo>
                    <a:pt x="56219" y="709015"/>
                  </a:moveTo>
                  <a:lnTo>
                    <a:pt x="56039" y="708536"/>
                  </a:lnTo>
                  <a:lnTo>
                    <a:pt x="56159" y="708596"/>
                  </a:lnTo>
                  <a:lnTo>
                    <a:pt x="56279" y="708955"/>
                  </a:lnTo>
                  <a:lnTo>
                    <a:pt x="56219" y="709015"/>
                  </a:lnTo>
                  <a:close/>
                  <a:moveTo>
                    <a:pt x="55860" y="708177"/>
                  </a:moveTo>
                  <a:lnTo>
                    <a:pt x="55681" y="707938"/>
                  </a:lnTo>
                  <a:lnTo>
                    <a:pt x="55801" y="707998"/>
                  </a:lnTo>
                  <a:lnTo>
                    <a:pt x="55980" y="708237"/>
                  </a:lnTo>
                  <a:lnTo>
                    <a:pt x="55860" y="708177"/>
                  </a:lnTo>
                  <a:close/>
                  <a:moveTo>
                    <a:pt x="53229" y="707220"/>
                  </a:moveTo>
                  <a:lnTo>
                    <a:pt x="53109" y="707161"/>
                  </a:lnTo>
                  <a:lnTo>
                    <a:pt x="53708" y="706682"/>
                  </a:lnTo>
                  <a:lnTo>
                    <a:pt x="54006" y="706802"/>
                  </a:lnTo>
                  <a:lnTo>
                    <a:pt x="53229" y="707220"/>
                  </a:lnTo>
                  <a:close/>
                  <a:moveTo>
                    <a:pt x="52870" y="706802"/>
                  </a:moveTo>
                  <a:lnTo>
                    <a:pt x="52990" y="706682"/>
                  </a:lnTo>
                  <a:lnTo>
                    <a:pt x="53049" y="706682"/>
                  </a:lnTo>
                  <a:lnTo>
                    <a:pt x="52870" y="706802"/>
                  </a:lnTo>
                  <a:close/>
                  <a:moveTo>
                    <a:pt x="57774" y="712364"/>
                  </a:moveTo>
                  <a:lnTo>
                    <a:pt x="56219" y="710689"/>
                  </a:lnTo>
                  <a:lnTo>
                    <a:pt x="56399" y="710270"/>
                  </a:lnTo>
                  <a:lnTo>
                    <a:pt x="56458" y="710211"/>
                  </a:lnTo>
                  <a:cubicBezTo>
                    <a:pt x="56578" y="710270"/>
                    <a:pt x="56638" y="710270"/>
                    <a:pt x="56698" y="710211"/>
                  </a:cubicBezTo>
                  <a:lnTo>
                    <a:pt x="56817" y="709852"/>
                  </a:lnTo>
                  <a:cubicBezTo>
                    <a:pt x="56817" y="709852"/>
                    <a:pt x="56817" y="709852"/>
                    <a:pt x="56817" y="709852"/>
                  </a:cubicBezTo>
                  <a:cubicBezTo>
                    <a:pt x="56817" y="709852"/>
                    <a:pt x="56817" y="709852"/>
                    <a:pt x="56817" y="709852"/>
                  </a:cubicBezTo>
                  <a:cubicBezTo>
                    <a:pt x="56817" y="709852"/>
                    <a:pt x="56817" y="709852"/>
                    <a:pt x="56817" y="709852"/>
                  </a:cubicBezTo>
                  <a:lnTo>
                    <a:pt x="56757" y="709254"/>
                  </a:lnTo>
                  <a:cubicBezTo>
                    <a:pt x="56757" y="709254"/>
                    <a:pt x="56757" y="709254"/>
                    <a:pt x="56757" y="709254"/>
                  </a:cubicBezTo>
                  <a:cubicBezTo>
                    <a:pt x="56757" y="709254"/>
                    <a:pt x="56757" y="709254"/>
                    <a:pt x="56757" y="709254"/>
                  </a:cubicBezTo>
                  <a:cubicBezTo>
                    <a:pt x="56757" y="709254"/>
                    <a:pt x="56757" y="709254"/>
                    <a:pt x="56757" y="709254"/>
                  </a:cubicBezTo>
                  <a:lnTo>
                    <a:pt x="56518" y="708596"/>
                  </a:lnTo>
                  <a:cubicBezTo>
                    <a:pt x="56518" y="708596"/>
                    <a:pt x="56518" y="708596"/>
                    <a:pt x="56518" y="708596"/>
                  </a:cubicBezTo>
                  <a:cubicBezTo>
                    <a:pt x="56518" y="708596"/>
                    <a:pt x="56518" y="708596"/>
                    <a:pt x="56518" y="708596"/>
                  </a:cubicBezTo>
                  <a:cubicBezTo>
                    <a:pt x="56518" y="708596"/>
                    <a:pt x="56518" y="708596"/>
                    <a:pt x="56518" y="708596"/>
                  </a:cubicBezTo>
                  <a:lnTo>
                    <a:pt x="56099" y="707998"/>
                  </a:lnTo>
                  <a:cubicBezTo>
                    <a:pt x="56099" y="707998"/>
                    <a:pt x="56099" y="707998"/>
                    <a:pt x="56099" y="707998"/>
                  </a:cubicBezTo>
                  <a:cubicBezTo>
                    <a:pt x="56099" y="707998"/>
                    <a:pt x="56099" y="707998"/>
                    <a:pt x="56039" y="707938"/>
                  </a:cubicBezTo>
                  <a:cubicBezTo>
                    <a:pt x="56039" y="707938"/>
                    <a:pt x="56039" y="707938"/>
                    <a:pt x="56039" y="707938"/>
                  </a:cubicBezTo>
                  <a:lnTo>
                    <a:pt x="55501" y="707460"/>
                  </a:lnTo>
                  <a:cubicBezTo>
                    <a:pt x="55501" y="707460"/>
                    <a:pt x="55501" y="707460"/>
                    <a:pt x="55501" y="707460"/>
                  </a:cubicBezTo>
                  <a:cubicBezTo>
                    <a:pt x="55501" y="707460"/>
                    <a:pt x="55501" y="707460"/>
                    <a:pt x="55501" y="707460"/>
                  </a:cubicBezTo>
                  <a:lnTo>
                    <a:pt x="54604" y="706921"/>
                  </a:lnTo>
                  <a:cubicBezTo>
                    <a:pt x="54604" y="706921"/>
                    <a:pt x="54604" y="706921"/>
                    <a:pt x="54604" y="706921"/>
                  </a:cubicBezTo>
                  <a:cubicBezTo>
                    <a:pt x="54604" y="706921"/>
                    <a:pt x="54604" y="706921"/>
                    <a:pt x="54604" y="706921"/>
                  </a:cubicBezTo>
                  <a:cubicBezTo>
                    <a:pt x="54604" y="706921"/>
                    <a:pt x="54604" y="706921"/>
                    <a:pt x="54604" y="706921"/>
                  </a:cubicBezTo>
                  <a:lnTo>
                    <a:pt x="53767" y="706562"/>
                  </a:lnTo>
                  <a:cubicBezTo>
                    <a:pt x="53767" y="706562"/>
                    <a:pt x="53767" y="706562"/>
                    <a:pt x="53767" y="706562"/>
                  </a:cubicBezTo>
                  <a:cubicBezTo>
                    <a:pt x="53767" y="706562"/>
                    <a:pt x="53767" y="706562"/>
                    <a:pt x="53767" y="706562"/>
                  </a:cubicBezTo>
                  <a:cubicBezTo>
                    <a:pt x="53767" y="706562"/>
                    <a:pt x="53767" y="706562"/>
                    <a:pt x="53708" y="706562"/>
                  </a:cubicBezTo>
                  <a:cubicBezTo>
                    <a:pt x="53708" y="706562"/>
                    <a:pt x="53708" y="706562"/>
                    <a:pt x="53708" y="706562"/>
                  </a:cubicBezTo>
                  <a:cubicBezTo>
                    <a:pt x="53708" y="706562"/>
                    <a:pt x="53708" y="706562"/>
                    <a:pt x="53708" y="706562"/>
                  </a:cubicBezTo>
                  <a:lnTo>
                    <a:pt x="52990" y="706562"/>
                  </a:lnTo>
                  <a:cubicBezTo>
                    <a:pt x="52990" y="706562"/>
                    <a:pt x="52990" y="706562"/>
                    <a:pt x="52990" y="706562"/>
                  </a:cubicBezTo>
                  <a:cubicBezTo>
                    <a:pt x="52990" y="706562"/>
                    <a:pt x="52990" y="706562"/>
                    <a:pt x="52990" y="706562"/>
                  </a:cubicBezTo>
                  <a:cubicBezTo>
                    <a:pt x="52990" y="706562"/>
                    <a:pt x="52990" y="706562"/>
                    <a:pt x="52990" y="706562"/>
                  </a:cubicBezTo>
                  <a:cubicBezTo>
                    <a:pt x="52990" y="706562"/>
                    <a:pt x="52990" y="706562"/>
                    <a:pt x="52990" y="706562"/>
                  </a:cubicBezTo>
                  <a:cubicBezTo>
                    <a:pt x="52990" y="706562"/>
                    <a:pt x="52990" y="706562"/>
                    <a:pt x="52990" y="706562"/>
                  </a:cubicBezTo>
                  <a:lnTo>
                    <a:pt x="52691" y="706802"/>
                  </a:lnTo>
                  <a:lnTo>
                    <a:pt x="52093" y="706204"/>
                  </a:lnTo>
                  <a:lnTo>
                    <a:pt x="54843" y="705546"/>
                  </a:lnTo>
                  <a:lnTo>
                    <a:pt x="61781" y="711646"/>
                  </a:lnTo>
                  <a:lnTo>
                    <a:pt x="57774" y="712364"/>
                  </a:lnTo>
                  <a:close/>
                  <a:moveTo>
                    <a:pt x="54784" y="705187"/>
                  </a:moveTo>
                  <a:lnTo>
                    <a:pt x="56219" y="703452"/>
                  </a:lnTo>
                  <a:lnTo>
                    <a:pt x="63695" y="708895"/>
                  </a:lnTo>
                  <a:lnTo>
                    <a:pt x="61781" y="711347"/>
                  </a:lnTo>
                  <a:lnTo>
                    <a:pt x="54784" y="705187"/>
                  </a:lnTo>
                  <a:close/>
                  <a:moveTo>
                    <a:pt x="52271" y="700522"/>
                  </a:moveTo>
                  <a:cubicBezTo>
                    <a:pt x="52212" y="700522"/>
                    <a:pt x="52212" y="700522"/>
                    <a:pt x="52271" y="700522"/>
                  </a:cubicBezTo>
                  <a:cubicBezTo>
                    <a:pt x="52212" y="700582"/>
                    <a:pt x="52212" y="700582"/>
                    <a:pt x="52271" y="700522"/>
                  </a:cubicBezTo>
                  <a:cubicBezTo>
                    <a:pt x="52271" y="700582"/>
                    <a:pt x="52271" y="700582"/>
                    <a:pt x="52271" y="700582"/>
                  </a:cubicBezTo>
                  <a:cubicBezTo>
                    <a:pt x="52271" y="700582"/>
                    <a:pt x="52271" y="700582"/>
                    <a:pt x="52271" y="700641"/>
                  </a:cubicBezTo>
                  <a:cubicBezTo>
                    <a:pt x="52271" y="700641"/>
                    <a:pt x="52271" y="700641"/>
                    <a:pt x="52271" y="700701"/>
                  </a:cubicBezTo>
                  <a:cubicBezTo>
                    <a:pt x="52271" y="700701"/>
                    <a:pt x="52271" y="700701"/>
                    <a:pt x="52331" y="700761"/>
                  </a:cubicBezTo>
                  <a:cubicBezTo>
                    <a:pt x="52331" y="700761"/>
                    <a:pt x="52331" y="700761"/>
                    <a:pt x="52331" y="700761"/>
                  </a:cubicBezTo>
                  <a:lnTo>
                    <a:pt x="54544" y="702735"/>
                  </a:lnTo>
                  <a:lnTo>
                    <a:pt x="51973" y="703333"/>
                  </a:lnTo>
                  <a:lnTo>
                    <a:pt x="50059" y="701299"/>
                  </a:lnTo>
                  <a:lnTo>
                    <a:pt x="63336" y="678752"/>
                  </a:lnTo>
                  <a:lnTo>
                    <a:pt x="65250" y="678034"/>
                  </a:lnTo>
                  <a:lnTo>
                    <a:pt x="52271" y="700522"/>
                  </a:lnTo>
                  <a:cubicBezTo>
                    <a:pt x="52271" y="700522"/>
                    <a:pt x="52271" y="700522"/>
                    <a:pt x="52271" y="700522"/>
                  </a:cubicBezTo>
                  <a:close/>
                  <a:moveTo>
                    <a:pt x="63815" y="678154"/>
                  </a:moveTo>
                  <a:lnTo>
                    <a:pt x="86780" y="649028"/>
                  </a:lnTo>
                  <a:lnTo>
                    <a:pt x="88575" y="648370"/>
                  </a:lnTo>
                  <a:lnTo>
                    <a:pt x="65728" y="677436"/>
                  </a:lnTo>
                  <a:lnTo>
                    <a:pt x="63815" y="678154"/>
                  </a:lnTo>
                  <a:close/>
                  <a:moveTo>
                    <a:pt x="87259" y="648430"/>
                  </a:moveTo>
                  <a:lnTo>
                    <a:pt x="110584" y="618885"/>
                  </a:lnTo>
                  <a:lnTo>
                    <a:pt x="112258" y="618347"/>
                  </a:lnTo>
                  <a:lnTo>
                    <a:pt x="89053" y="647772"/>
                  </a:lnTo>
                  <a:lnTo>
                    <a:pt x="87259" y="648430"/>
                  </a:lnTo>
                  <a:close/>
                  <a:moveTo>
                    <a:pt x="110943" y="618407"/>
                  </a:moveTo>
                  <a:lnTo>
                    <a:pt x="134566" y="588443"/>
                  </a:lnTo>
                  <a:lnTo>
                    <a:pt x="136121" y="588025"/>
                  </a:lnTo>
                  <a:lnTo>
                    <a:pt x="112617" y="617868"/>
                  </a:lnTo>
                  <a:lnTo>
                    <a:pt x="110943" y="618407"/>
                  </a:lnTo>
                  <a:close/>
                  <a:moveTo>
                    <a:pt x="134985" y="587965"/>
                  </a:moveTo>
                  <a:lnTo>
                    <a:pt x="158908" y="557643"/>
                  </a:lnTo>
                  <a:lnTo>
                    <a:pt x="160344" y="557284"/>
                  </a:lnTo>
                  <a:lnTo>
                    <a:pt x="136540" y="587546"/>
                  </a:lnTo>
                  <a:lnTo>
                    <a:pt x="134985" y="587965"/>
                  </a:lnTo>
                  <a:close/>
                  <a:moveTo>
                    <a:pt x="159267" y="557164"/>
                  </a:moveTo>
                  <a:lnTo>
                    <a:pt x="183549" y="526423"/>
                  </a:lnTo>
                  <a:lnTo>
                    <a:pt x="184864" y="526124"/>
                  </a:lnTo>
                  <a:lnTo>
                    <a:pt x="160702" y="556805"/>
                  </a:lnTo>
                  <a:lnTo>
                    <a:pt x="159267" y="557164"/>
                  </a:lnTo>
                  <a:close/>
                  <a:moveTo>
                    <a:pt x="183907" y="525945"/>
                  </a:moveTo>
                  <a:lnTo>
                    <a:pt x="208489" y="494785"/>
                  </a:lnTo>
                  <a:lnTo>
                    <a:pt x="209684" y="494606"/>
                  </a:lnTo>
                  <a:lnTo>
                    <a:pt x="185224" y="525705"/>
                  </a:lnTo>
                  <a:lnTo>
                    <a:pt x="183907" y="525945"/>
                  </a:lnTo>
                  <a:close/>
                  <a:moveTo>
                    <a:pt x="208847" y="494307"/>
                  </a:moveTo>
                  <a:lnTo>
                    <a:pt x="233787" y="462669"/>
                  </a:lnTo>
                  <a:lnTo>
                    <a:pt x="234863" y="462549"/>
                  </a:lnTo>
                  <a:lnTo>
                    <a:pt x="210043" y="494067"/>
                  </a:lnTo>
                  <a:lnTo>
                    <a:pt x="208847" y="494307"/>
                  </a:lnTo>
                  <a:close/>
                  <a:moveTo>
                    <a:pt x="234086" y="462310"/>
                  </a:moveTo>
                  <a:lnTo>
                    <a:pt x="259384" y="430253"/>
                  </a:lnTo>
                  <a:lnTo>
                    <a:pt x="260401" y="430193"/>
                  </a:lnTo>
                  <a:lnTo>
                    <a:pt x="235222" y="462190"/>
                  </a:lnTo>
                  <a:lnTo>
                    <a:pt x="234086" y="462310"/>
                  </a:lnTo>
                  <a:close/>
                  <a:moveTo>
                    <a:pt x="259683" y="429894"/>
                  </a:moveTo>
                  <a:lnTo>
                    <a:pt x="285341" y="397419"/>
                  </a:lnTo>
                  <a:lnTo>
                    <a:pt x="286238" y="397419"/>
                  </a:lnTo>
                  <a:lnTo>
                    <a:pt x="260700" y="429834"/>
                  </a:lnTo>
                  <a:lnTo>
                    <a:pt x="259683" y="429894"/>
                  </a:lnTo>
                  <a:close/>
                  <a:moveTo>
                    <a:pt x="285580" y="397060"/>
                  </a:moveTo>
                  <a:lnTo>
                    <a:pt x="311536" y="364106"/>
                  </a:lnTo>
                  <a:lnTo>
                    <a:pt x="312314" y="364166"/>
                  </a:lnTo>
                  <a:lnTo>
                    <a:pt x="286417" y="397060"/>
                  </a:lnTo>
                  <a:lnTo>
                    <a:pt x="285580" y="397060"/>
                  </a:lnTo>
                  <a:close/>
                  <a:moveTo>
                    <a:pt x="311835" y="363748"/>
                  </a:moveTo>
                  <a:lnTo>
                    <a:pt x="338150" y="330375"/>
                  </a:lnTo>
                  <a:lnTo>
                    <a:pt x="338868" y="330495"/>
                  </a:lnTo>
                  <a:lnTo>
                    <a:pt x="312612" y="363807"/>
                  </a:lnTo>
                  <a:lnTo>
                    <a:pt x="311835" y="363748"/>
                  </a:lnTo>
                  <a:close/>
                  <a:moveTo>
                    <a:pt x="338450" y="330076"/>
                  </a:moveTo>
                  <a:lnTo>
                    <a:pt x="365183" y="296225"/>
                  </a:lnTo>
                  <a:lnTo>
                    <a:pt x="365781" y="296405"/>
                  </a:lnTo>
                  <a:lnTo>
                    <a:pt x="339167" y="330196"/>
                  </a:lnTo>
                  <a:lnTo>
                    <a:pt x="338450" y="330076"/>
                  </a:lnTo>
                  <a:close/>
                  <a:moveTo>
                    <a:pt x="391199" y="260460"/>
                  </a:moveTo>
                  <a:lnTo>
                    <a:pt x="416677" y="228284"/>
                  </a:lnTo>
                  <a:lnTo>
                    <a:pt x="417694" y="229062"/>
                  </a:lnTo>
                  <a:lnTo>
                    <a:pt x="392396" y="261118"/>
                  </a:lnTo>
                  <a:lnTo>
                    <a:pt x="391199" y="260460"/>
                  </a:lnTo>
                  <a:close/>
                  <a:moveTo>
                    <a:pt x="409321" y="223619"/>
                  </a:moveTo>
                  <a:lnTo>
                    <a:pt x="383903" y="255078"/>
                  </a:lnTo>
                  <a:lnTo>
                    <a:pt x="381630" y="253164"/>
                  </a:lnTo>
                  <a:lnTo>
                    <a:pt x="400410" y="230078"/>
                  </a:lnTo>
                  <a:lnTo>
                    <a:pt x="400470" y="230078"/>
                  </a:lnTo>
                  <a:cubicBezTo>
                    <a:pt x="400470" y="230078"/>
                    <a:pt x="400470" y="230078"/>
                    <a:pt x="400470" y="230078"/>
                  </a:cubicBezTo>
                  <a:cubicBezTo>
                    <a:pt x="400470" y="230078"/>
                    <a:pt x="400470" y="230078"/>
                    <a:pt x="400470" y="230078"/>
                  </a:cubicBezTo>
                  <a:cubicBezTo>
                    <a:pt x="400470" y="230078"/>
                    <a:pt x="400470" y="230078"/>
                    <a:pt x="400470" y="230078"/>
                  </a:cubicBezTo>
                  <a:cubicBezTo>
                    <a:pt x="400470" y="230078"/>
                    <a:pt x="400470" y="230078"/>
                    <a:pt x="400470" y="230078"/>
                  </a:cubicBezTo>
                  <a:cubicBezTo>
                    <a:pt x="400470" y="230078"/>
                    <a:pt x="400470" y="230078"/>
                    <a:pt x="400470" y="230078"/>
                  </a:cubicBezTo>
                  <a:cubicBezTo>
                    <a:pt x="400470" y="230078"/>
                    <a:pt x="400470" y="230078"/>
                    <a:pt x="400470" y="230078"/>
                  </a:cubicBezTo>
                  <a:lnTo>
                    <a:pt x="400470" y="230078"/>
                  </a:lnTo>
                  <a:cubicBezTo>
                    <a:pt x="400470" y="230078"/>
                    <a:pt x="400470" y="230078"/>
                    <a:pt x="400470" y="230078"/>
                  </a:cubicBezTo>
                  <a:cubicBezTo>
                    <a:pt x="400470" y="230078"/>
                    <a:pt x="400470" y="230078"/>
                    <a:pt x="400470" y="230078"/>
                  </a:cubicBezTo>
                  <a:lnTo>
                    <a:pt x="409321" y="223619"/>
                  </a:lnTo>
                  <a:close/>
                  <a:moveTo>
                    <a:pt x="399991" y="230078"/>
                  </a:moveTo>
                  <a:lnTo>
                    <a:pt x="381391" y="252985"/>
                  </a:lnTo>
                  <a:lnTo>
                    <a:pt x="379238" y="251131"/>
                  </a:lnTo>
                  <a:lnTo>
                    <a:pt x="396881" y="229540"/>
                  </a:lnTo>
                  <a:lnTo>
                    <a:pt x="399991" y="230078"/>
                  </a:lnTo>
                  <a:close/>
                  <a:moveTo>
                    <a:pt x="396462" y="229420"/>
                  </a:moveTo>
                  <a:lnTo>
                    <a:pt x="378939" y="250831"/>
                  </a:lnTo>
                  <a:lnTo>
                    <a:pt x="377145" y="249157"/>
                  </a:lnTo>
                  <a:lnTo>
                    <a:pt x="393771" y="229002"/>
                  </a:lnTo>
                  <a:lnTo>
                    <a:pt x="396462" y="229420"/>
                  </a:lnTo>
                  <a:close/>
                  <a:moveTo>
                    <a:pt x="393292" y="228882"/>
                  </a:moveTo>
                  <a:lnTo>
                    <a:pt x="376845" y="248858"/>
                  </a:lnTo>
                  <a:lnTo>
                    <a:pt x="375470" y="247482"/>
                  </a:lnTo>
                  <a:lnTo>
                    <a:pt x="391199" y="228523"/>
                  </a:lnTo>
                  <a:lnTo>
                    <a:pt x="393292" y="228882"/>
                  </a:lnTo>
                  <a:close/>
                  <a:moveTo>
                    <a:pt x="374992" y="247482"/>
                  </a:moveTo>
                  <a:lnTo>
                    <a:pt x="347002" y="281273"/>
                  </a:lnTo>
                  <a:lnTo>
                    <a:pt x="346224" y="280197"/>
                  </a:lnTo>
                  <a:lnTo>
                    <a:pt x="374214" y="246525"/>
                  </a:lnTo>
                  <a:lnTo>
                    <a:pt x="374992" y="247482"/>
                  </a:lnTo>
                  <a:close/>
                  <a:moveTo>
                    <a:pt x="346763" y="281572"/>
                  </a:moveTo>
                  <a:lnTo>
                    <a:pt x="319132" y="314945"/>
                  </a:lnTo>
                  <a:lnTo>
                    <a:pt x="318354" y="313749"/>
                  </a:lnTo>
                  <a:lnTo>
                    <a:pt x="345985" y="280496"/>
                  </a:lnTo>
                  <a:lnTo>
                    <a:pt x="346763" y="281572"/>
                  </a:lnTo>
                  <a:close/>
                  <a:moveTo>
                    <a:pt x="318893" y="315244"/>
                  </a:moveTo>
                  <a:lnTo>
                    <a:pt x="291620" y="348198"/>
                  </a:lnTo>
                  <a:lnTo>
                    <a:pt x="290843" y="346882"/>
                  </a:lnTo>
                  <a:lnTo>
                    <a:pt x="318115" y="314048"/>
                  </a:lnTo>
                  <a:lnTo>
                    <a:pt x="318893" y="315244"/>
                  </a:lnTo>
                  <a:close/>
                  <a:moveTo>
                    <a:pt x="291441" y="348437"/>
                  </a:moveTo>
                  <a:lnTo>
                    <a:pt x="264528" y="380972"/>
                  </a:lnTo>
                  <a:lnTo>
                    <a:pt x="263750" y="379537"/>
                  </a:lnTo>
                  <a:lnTo>
                    <a:pt x="290664" y="347181"/>
                  </a:lnTo>
                  <a:lnTo>
                    <a:pt x="291441" y="348437"/>
                  </a:lnTo>
                  <a:close/>
                  <a:moveTo>
                    <a:pt x="264289" y="381271"/>
                  </a:moveTo>
                  <a:lnTo>
                    <a:pt x="237734" y="413328"/>
                  </a:lnTo>
                  <a:lnTo>
                    <a:pt x="236956" y="411773"/>
                  </a:lnTo>
                  <a:lnTo>
                    <a:pt x="263511" y="379836"/>
                  </a:lnTo>
                  <a:lnTo>
                    <a:pt x="264289" y="381271"/>
                  </a:lnTo>
                  <a:close/>
                  <a:moveTo>
                    <a:pt x="237435" y="413627"/>
                  </a:moveTo>
                  <a:lnTo>
                    <a:pt x="211240" y="445325"/>
                  </a:lnTo>
                  <a:lnTo>
                    <a:pt x="210522" y="443650"/>
                  </a:lnTo>
                  <a:lnTo>
                    <a:pt x="236717" y="412132"/>
                  </a:lnTo>
                  <a:lnTo>
                    <a:pt x="237435" y="413627"/>
                  </a:lnTo>
                  <a:close/>
                  <a:moveTo>
                    <a:pt x="211000" y="445624"/>
                  </a:moveTo>
                  <a:lnTo>
                    <a:pt x="185104" y="476903"/>
                  </a:lnTo>
                  <a:lnTo>
                    <a:pt x="184386" y="475049"/>
                  </a:lnTo>
                  <a:lnTo>
                    <a:pt x="210223" y="443949"/>
                  </a:lnTo>
                  <a:lnTo>
                    <a:pt x="211000" y="445624"/>
                  </a:lnTo>
                  <a:close/>
                  <a:moveTo>
                    <a:pt x="184864" y="477202"/>
                  </a:moveTo>
                  <a:lnTo>
                    <a:pt x="159327" y="508062"/>
                  </a:lnTo>
                  <a:lnTo>
                    <a:pt x="158669" y="506089"/>
                  </a:lnTo>
                  <a:lnTo>
                    <a:pt x="184207" y="475348"/>
                  </a:lnTo>
                  <a:lnTo>
                    <a:pt x="184864" y="477202"/>
                  </a:lnTo>
                  <a:close/>
                  <a:moveTo>
                    <a:pt x="159028" y="508421"/>
                  </a:moveTo>
                  <a:lnTo>
                    <a:pt x="133789" y="538923"/>
                  </a:lnTo>
                  <a:lnTo>
                    <a:pt x="133131" y="536830"/>
                  </a:lnTo>
                  <a:lnTo>
                    <a:pt x="158310" y="506507"/>
                  </a:lnTo>
                  <a:lnTo>
                    <a:pt x="159028" y="508421"/>
                  </a:lnTo>
                  <a:close/>
                  <a:moveTo>
                    <a:pt x="133490" y="539222"/>
                  </a:moveTo>
                  <a:lnTo>
                    <a:pt x="108610" y="569305"/>
                  </a:lnTo>
                  <a:lnTo>
                    <a:pt x="108012" y="567032"/>
                  </a:lnTo>
                  <a:lnTo>
                    <a:pt x="132892" y="537069"/>
                  </a:lnTo>
                  <a:lnTo>
                    <a:pt x="133490" y="539222"/>
                  </a:lnTo>
                  <a:close/>
                  <a:moveTo>
                    <a:pt x="108312" y="569664"/>
                  </a:moveTo>
                  <a:lnTo>
                    <a:pt x="83730" y="599388"/>
                  </a:lnTo>
                  <a:lnTo>
                    <a:pt x="83192" y="596996"/>
                  </a:lnTo>
                  <a:lnTo>
                    <a:pt x="107773" y="567451"/>
                  </a:lnTo>
                  <a:lnTo>
                    <a:pt x="108312" y="569664"/>
                  </a:lnTo>
                  <a:close/>
                  <a:moveTo>
                    <a:pt x="83432" y="599747"/>
                  </a:moveTo>
                  <a:lnTo>
                    <a:pt x="59149" y="629112"/>
                  </a:lnTo>
                  <a:lnTo>
                    <a:pt x="58611" y="626540"/>
                  </a:lnTo>
                  <a:lnTo>
                    <a:pt x="82834" y="597354"/>
                  </a:lnTo>
                  <a:lnTo>
                    <a:pt x="83432" y="599747"/>
                  </a:lnTo>
                  <a:close/>
                  <a:moveTo>
                    <a:pt x="58851" y="629411"/>
                  </a:moveTo>
                  <a:lnTo>
                    <a:pt x="34868" y="658358"/>
                  </a:lnTo>
                  <a:lnTo>
                    <a:pt x="34389" y="655607"/>
                  </a:lnTo>
                  <a:lnTo>
                    <a:pt x="58312" y="626780"/>
                  </a:lnTo>
                  <a:lnTo>
                    <a:pt x="58851" y="629411"/>
                  </a:lnTo>
                  <a:close/>
                  <a:moveTo>
                    <a:pt x="15909" y="674147"/>
                  </a:moveTo>
                  <a:cubicBezTo>
                    <a:pt x="15909" y="674147"/>
                    <a:pt x="15909" y="674147"/>
                    <a:pt x="15909" y="674147"/>
                  </a:cubicBezTo>
                  <a:cubicBezTo>
                    <a:pt x="15969" y="674147"/>
                    <a:pt x="15969" y="674147"/>
                    <a:pt x="15909" y="674147"/>
                  </a:cubicBezTo>
                  <a:cubicBezTo>
                    <a:pt x="15969" y="674147"/>
                    <a:pt x="15969" y="674207"/>
                    <a:pt x="15969" y="674207"/>
                  </a:cubicBezTo>
                  <a:cubicBezTo>
                    <a:pt x="15969" y="674207"/>
                    <a:pt x="15969" y="674207"/>
                    <a:pt x="16029" y="674207"/>
                  </a:cubicBezTo>
                  <a:cubicBezTo>
                    <a:pt x="16089" y="674207"/>
                    <a:pt x="16029" y="674207"/>
                    <a:pt x="16089" y="674207"/>
                  </a:cubicBezTo>
                  <a:cubicBezTo>
                    <a:pt x="16089" y="674207"/>
                    <a:pt x="16089" y="674207"/>
                    <a:pt x="16089" y="674207"/>
                  </a:cubicBezTo>
                  <a:cubicBezTo>
                    <a:pt x="16089" y="674207"/>
                    <a:pt x="16089" y="674207"/>
                    <a:pt x="16089" y="674207"/>
                  </a:cubicBezTo>
                  <a:cubicBezTo>
                    <a:pt x="16089" y="674207"/>
                    <a:pt x="16089" y="674207"/>
                    <a:pt x="16089" y="674207"/>
                  </a:cubicBezTo>
                  <a:lnTo>
                    <a:pt x="34031" y="656085"/>
                  </a:lnTo>
                  <a:lnTo>
                    <a:pt x="34509" y="658836"/>
                  </a:lnTo>
                  <a:lnTo>
                    <a:pt x="16926" y="677078"/>
                  </a:lnTo>
                  <a:lnTo>
                    <a:pt x="14593" y="676001"/>
                  </a:lnTo>
                  <a:lnTo>
                    <a:pt x="13516" y="672712"/>
                  </a:lnTo>
                  <a:lnTo>
                    <a:pt x="15909" y="674147"/>
                  </a:lnTo>
                  <a:close/>
                  <a:moveTo>
                    <a:pt x="12021" y="672173"/>
                  </a:moveTo>
                  <a:lnTo>
                    <a:pt x="12261" y="669602"/>
                  </a:lnTo>
                  <a:lnTo>
                    <a:pt x="13278" y="669721"/>
                  </a:lnTo>
                  <a:lnTo>
                    <a:pt x="13038" y="672233"/>
                  </a:lnTo>
                  <a:lnTo>
                    <a:pt x="12021" y="672173"/>
                  </a:lnTo>
                  <a:close/>
                  <a:moveTo>
                    <a:pt x="15251" y="668047"/>
                  </a:moveTo>
                  <a:lnTo>
                    <a:pt x="17284" y="669841"/>
                  </a:lnTo>
                  <a:lnTo>
                    <a:pt x="16089" y="671276"/>
                  </a:lnTo>
                  <a:lnTo>
                    <a:pt x="13756" y="669542"/>
                  </a:lnTo>
                  <a:lnTo>
                    <a:pt x="15251" y="668047"/>
                  </a:lnTo>
                  <a:close/>
                  <a:moveTo>
                    <a:pt x="17165" y="667269"/>
                  </a:moveTo>
                  <a:lnTo>
                    <a:pt x="17284" y="667269"/>
                  </a:lnTo>
                  <a:lnTo>
                    <a:pt x="15131" y="667628"/>
                  </a:lnTo>
                  <a:lnTo>
                    <a:pt x="15012" y="667628"/>
                  </a:lnTo>
                  <a:lnTo>
                    <a:pt x="15729" y="667508"/>
                  </a:lnTo>
                  <a:cubicBezTo>
                    <a:pt x="15729" y="667508"/>
                    <a:pt x="15729" y="667508"/>
                    <a:pt x="15729" y="667508"/>
                  </a:cubicBezTo>
                  <a:lnTo>
                    <a:pt x="17165" y="667269"/>
                  </a:lnTo>
                  <a:close/>
                  <a:moveTo>
                    <a:pt x="15909" y="666133"/>
                  </a:moveTo>
                  <a:lnTo>
                    <a:pt x="15789" y="666193"/>
                  </a:lnTo>
                  <a:lnTo>
                    <a:pt x="15789" y="665894"/>
                  </a:lnTo>
                  <a:lnTo>
                    <a:pt x="15909" y="665894"/>
                  </a:lnTo>
                  <a:lnTo>
                    <a:pt x="15909" y="666133"/>
                  </a:lnTo>
                  <a:close/>
                  <a:moveTo>
                    <a:pt x="12739" y="664578"/>
                  </a:moveTo>
                  <a:lnTo>
                    <a:pt x="12919" y="664219"/>
                  </a:lnTo>
                  <a:lnTo>
                    <a:pt x="13038" y="664339"/>
                  </a:lnTo>
                  <a:lnTo>
                    <a:pt x="12739" y="664578"/>
                  </a:lnTo>
                  <a:close/>
                  <a:moveTo>
                    <a:pt x="13338" y="664638"/>
                  </a:moveTo>
                  <a:lnTo>
                    <a:pt x="13457" y="664817"/>
                  </a:lnTo>
                  <a:lnTo>
                    <a:pt x="12978" y="664937"/>
                  </a:lnTo>
                  <a:lnTo>
                    <a:pt x="13338" y="664638"/>
                  </a:lnTo>
                  <a:close/>
                  <a:moveTo>
                    <a:pt x="13636" y="665176"/>
                  </a:moveTo>
                  <a:lnTo>
                    <a:pt x="13696" y="665415"/>
                  </a:lnTo>
                  <a:lnTo>
                    <a:pt x="13098" y="665295"/>
                  </a:lnTo>
                  <a:lnTo>
                    <a:pt x="13636" y="665176"/>
                  </a:lnTo>
                  <a:close/>
                  <a:moveTo>
                    <a:pt x="14115" y="665415"/>
                  </a:moveTo>
                  <a:lnTo>
                    <a:pt x="13995" y="665116"/>
                  </a:lnTo>
                  <a:lnTo>
                    <a:pt x="15191" y="664996"/>
                  </a:lnTo>
                  <a:lnTo>
                    <a:pt x="15371" y="665535"/>
                  </a:lnTo>
                  <a:lnTo>
                    <a:pt x="14115" y="665415"/>
                  </a:lnTo>
                  <a:close/>
                  <a:moveTo>
                    <a:pt x="13816" y="664757"/>
                  </a:moveTo>
                  <a:lnTo>
                    <a:pt x="13636" y="664458"/>
                  </a:lnTo>
                  <a:lnTo>
                    <a:pt x="14713" y="664159"/>
                  </a:lnTo>
                  <a:lnTo>
                    <a:pt x="15012" y="664638"/>
                  </a:lnTo>
                  <a:lnTo>
                    <a:pt x="13816" y="664757"/>
                  </a:lnTo>
                  <a:close/>
                  <a:moveTo>
                    <a:pt x="14354" y="663920"/>
                  </a:moveTo>
                  <a:lnTo>
                    <a:pt x="13338" y="664219"/>
                  </a:lnTo>
                  <a:lnTo>
                    <a:pt x="13158" y="664039"/>
                  </a:lnTo>
                  <a:lnTo>
                    <a:pt x="13995" y="663621"/>
                  </a:lnTo>
                  <a:lnTo>
                    <a:pt x="14354" y="663920"/>
                  </a:lnTo>
                  <a:close/>
                  <a:moveTo>
                    <a:pt x="12560" y="663980"/>
                  </a:moveTo>
                  <a:lnTo>
                    <a:pt x="12440" y="664279"/>
                  </a:lnTo>
                  <a:lnTo>
                    <a:pt x="12440" y="663920"/>
                  </a:lnTo>
                  <a:lnTo>
                    <a:pt x="12560" y="663980"/>
                  </a:lnTo>
                  <a:close/>
                  <a:moveTo>
                    <a:pt x="12021" y="663860"/>
                  </a:moveTo>
                  <a:lnTo>
                    <a:pt x="12021" y="664159"/>
                  </a:lnTo>
                  <a:lnTo>
                    <a:pt x="11961" y="663860"/>
                  </a:lnTo>
                  <a:lnTo>
                    <a:pt x="12021" y="663860"/>
                  </a:lnTo>
                  <a:close/>
                  <a:moveTo>
                    <a:pt x="13816" y="665714"/>
                  </a:moveTo>
                  <a:lnTo>
                    <a:pt x="13816" y="665894"/>
                  </a:lnTo>
                  <a:lnTo>
                    <a:pt x="13218" y="665595"/>
                  </a:lnTo>
                  <a:lnTo>
                    <a:pt x="13816" y="665714"/>
                  </a:lnTo>
                  <a:close/>
                  <a:moveTo>
                    <a:pt x="14174" y="666073"/>
                  </a:moveTo>
                  <a:lnTo>
                    <a:pt x="14174" y="665774"/>
                  </a:lnTo>
                  <a:lnTo>
                    <a:pt x="15431" y="665894"/>
                  </a:lnTo>
                  <a:lnTo>
                    <a:pt x="15431" y="666372"/>
                  </a:lnTo>
                  <a:lnTo>
                    <a:pt x="14174" y="666073"/>
                  </a:lnTo>
                  <a:close/>
                  <a:moveTo>
                    <a:pt x="15729" y="665535"/>
                  </a:moveTo>
                  <a:lnTo>
                    <a:pt x="15550" y="665116"/>
                  </a:lnTo>
                  <a:lnTo>
                    <a:pt x="15729" y="665176"/>
                  </a:lnTo>
                  <a:lnTo>
                    <a:pt x="15849" y="665535"/>
                  </a:lnTo>
                  <a:lnTo>
                    <a:pt x="15729" y="665535"/>
                  </a:lnTo>
                  <a:close/>
                  <a:moveTo>
                    <a:pt x="15371" y="664697"/>
                  </a:moveTo>
                  <a:lnTo>
                    <a:pt x="15191" y="664458"/>
                  </a:lnTo>
                  <a:lnTo>
                    <a:pt x="15311" y="664518"/>
                  </a:lnTo>
                  <a:lnTo>
                    <a:pt x="15431" y="664697"/>
                  </a:lnTo>
                  <a:lnTo>
                    <a:pt x="15371" y="664697"/>
                  </a:lnTo>
                  <a:close/>
                  <a:moveTo>
                    <a:pt x="12739" y="663740"/>
                  </a:moveTo>
                  <a:lnTo>
                    <a:pt x="12620" y="663681"/>
                  </a:lnTo>
                  <a:lnTo>
                    <a:pt x="13218" y="663262"/>
                  </a:lnTo>
                  <a:lnTo>
                    <a:pt x="13516" y="663382"/>
                  </a:lnTo>
                  <a:lnTo>
                    <a:pt x="12739" y="663740"/>
                  </a:lnTo>
                  <a:close/>
                  <a:moveTo>
                    <a:pt x="11783" y="663382"/>
                  </a:moveTo>
                  <a:lnTo>
                    <a:pt x="11603" y="663561"/>
                  </a:lnTo>
                  <a:lnTo>
                    <a:pt x="11304" y="663740"/>
                  </a:lnTo>
                  <a:cubicBezTo>
                    <a:pt x="11244" y="663800"/>
                    <a:pt x="11244" y="663920"/>
                    <a:pt x="11304" y="663980"/>
                  </a:cubicBezTo>
                  <a:cubicBezTo>
                    <a:pt x="11304" y="663980"/>
                    <a:pt x="11304" y="663980"/>
                    <a:pt x="11304" y="663980"/>
                  </a:cubicBezTo>
                  <a:cubicBezTo>
                    <a:pt x="11364" y="664039"/>
                    <a:pt x="11483" y="664039"/>
                    <a:pt x="11543" y="664039"/>
                  </a:cubicBezTo>
                  <a:lnTo>
                    <a:pt x="11603" y="663980"/>
                  </a:lnTo>
                  <a:lnTo>
                    <a:pt x="11842" y="664817"/>
                  </a:lnTo>
                  <a:cubicBezTo>
                    <a:pt x="11842" y="664877"/>
                    <a:pt x="11902" y="664937"/>
                    <a:pt x="11961" y="664937"/>
                  </a:cubicBezTo>
                  <a:cubicBezTo>
                    <a:pt x="11961" y="664937"/>
                    <a:pt x="11961" y="664937"/>
                    <a:pt x="12021" y="664937"/>
                  </a:cubicBezTo>
                  <a:cubicBezTo>
                    <a:pt x="12021" y="664996"/>
                    <a:pt x="12081" y="665056"/>
                    <a:pt x="12081" y="665056"/>
                  </a:cubicBezTo>
                  <a:cubicBezTo>
                    <a:pt x="12081" y="665116"/>
                    <a:pt x="12141" y="665116"/>
                    <a:pt x="12141" y="665176"/>
                  </a:cubicBezTo>
                  <a:lnTo>
                    <a:pt x="12141" y="665176"/>
                  </a:lnTo>
                  <a:cubicBezTo>
                    <a:pt x="12141" y="665176"/>
                    <a:pt x="12141" y="665176"/>
                    <a:pt x="12141" y="665236"/>
                  </a:cubicBezTo>
                  <a:cubicBezTo>
                    <a:pt x="12141" y="665236"/>
                    <a:pt x="12141" y="665236"/>
                    <a:pt x="12141" y="665236"/>
                  </a:cubicBezTo>
                  <a:cubicBezTo>
                    <a:pt x="12141" y="665236"/>
                    <a:pt x="12141" y="665236"/>
                    <a:pt x="12141" y="665236"/>
                  </a:cubicBezTo>
                  <a:cubicBezTo>
                    <a:pt x="12141" y="665236"/>
                    <a:pt x="12141" y="665295"/>
                    <a:pt x="12201" y="665295"/>
                  </a:cubicBezTo>
                  <a:cubicBezTo>
                    <a:pt x="12201" y="665295"/>
                    <a:pt x="12201" y="665295"/>
                    <a:pt x="12261" y="665295"/>
                  </a:cubicBezTo>
                  <a:cubicBezTo>
                    <a:pt x="12261" y="665295"/>
                    <a:pt x="12321" y="665355"/>
                    <a:pt x="12321" y="665355"/>
                  </a:cubicBezTo>
                  <a:cubicBezTo>
                    <a:pt x="12381" y="665415"/>
                    <a:pt x="12381" y="665415"/>
                    <a:pt x="12440" y="665415"/>
                  </a:cubicBezTo>
                  <a:lnTo>
                    <a:pt x="12440" y="665415"/>
                  </a:lnTo>
                  <a:cubicBezTo>
                    <a:pt x="12440" y="665475"/>
                    <a:pt x="12500" y="665475"/>
                    <a:pt x="12500" y="665535"/>
                  </a:cubicBezTo>
                  <a:cubicBezTo>
                    <a:pt x="12500" y="665535"/>
                    <a:pt x="12560" y="665595"/>
                    <a:pt x="12560" y="665595"/>
                  </a:cubicBezTo>
                  <a:lnTo>
                    <a:pt x="13696" y="666133"/>
                  </a:lnTo>
                  <a:lnTo>
                    <a:pt x="13636" y="666312"/>
                  </a:lnTo>
                  <a:cubicBezTo>
                    <a:pt x="13636" y="666372"/>
                    <a:pt x="13636" y="666492"/>
                    <a:pt x="13696" y="666551"/>
                  </a:cubicBezTo>
                  <a:cubicBezTo>
                    <a:pt x="13696" y="666551"/>
                    <a:pt x="13696" y="666551"/>
                    <a:pt x="13756" y="666551"/>
                  </a:cubicBezTo>
                  <a:cubicBezTo>
                    <a:pt x="13876" y="666611"/>
                    <a:pt x="13936" y="666611"/>
                    <a:pt x="13995" y="666551"/>
                  </a:cubicBezTo>
                  <a:lnTo>
                    <a:pt x="14115" y="666312"/>
                  </a:lnTo>
                  <a:lnTo>
                    <a:pt x="15371" y="666611"/>
                  </a:lnTo>
                  <a:lnTo>
                    <a:pt x="15251" y="666910"/>
                  </a:lnTo>
                  <a:cubicBezTo>
                    <a:pt x="15251" y="666910"/>
                    <a:pt x="15251" y="666910"/>
                    <a:pt x="15251" y="666910"/>
                  </a:cubicBezTo>
                  <a:cubicBezTo>
                    <a:pt x="15251" y="666910"/>
                    <a:pt x="15251" y="666910"/>
                    <a:pt x="15251" y="666910"/>
                  </a:cubicBezTo>
                  <a:cubicBezTo>
                    <a:pt x="15251" y="666910"/>
                    <a:pt x="15251" y="666970"/>
                    <a:pt x="15251" y="666970"/>
                  </a:cubicBezTo>
                  <a:cubicBezTo>
                    <a:pt x="15251" y="666970"/>
                    <a:pt x="15251" y="666970"/>
                    <a:pt x="15251" y="666970"/>
                  </a:cubicBezTo>
                  <a:cubicBezTo>
                    <a:pt x="15251" y="666970"/>
                    <a:pt x="15251" y="666970"/>
                    <a:pt x="15251" y="667030"/>
                  </a:cubicBezTo>
                  <a:cubicBezTo>
                    <a:pt x="15251" y="667030"/>
                    <a:pt x="15251" y="667030"/>
                    <a:pt x="15251" y="667030"/>
                  </a:cubicBezTo>
                  <a:cubicBezTo>
                    <a:pt x="15251" y="667030"/>
                    <a:pt x="15251" y="667030"/>
                    <a:pt x="15251" y="667090"/>
                  </a:cubicBezTo>
                  <a:cubicBezTo>
                    <a:pt x="15251" y="667090"/>
                    <a:pt x="15251" y="667090"/>
                    <a:pt x="15251" y="667090"/>
                  </a:cubicBezTo>
                  <a:lnTo>
                    <a:pt x="15251" y="667090"/>
                  </a:lnTo>
                  <a:lnTo>
                    <a:pt x="13756" y="667329"/>
                  </a:lnTo>
                  <a:cubicBezTo>
                    <a:pt x="13756" y="667329"/>
                    <a:pt x="13756" y="667329"/>
                    <a:pt x="13756" y="667329"/>
                  </a:cubicBezTo>
                  <a:cubicBezTo>
                    <a:pt x="13756" y="667329"/>
                    <a:pt x="13756" y="667329"/>
                    <a:pt x="13756" y="667329"/>
                  </a:cubicBezTo>
                  <a:cubicBezTo>
                    <a:pt x="13756" y="667329"/>
                    <a:pt x="13756" y="667329"/>
                    <a:pt x="13756" y="667329"/>
                  </a:cubicBezTo>
                  <a:cubicBezTo>
                    <a:pt x="13756" y="667329"/>
                    <a:pt x="13756" y="667329"/>
                    <a:pt x="13756" y="667329"/>
                  </a:cubicBezTo>
                  <a:cubicBezTo>
                    <a:pt x="13756" y="667329"/>
                    <a:pt x="13756" y="667329"/>
                    <a:pt x="13756" y="667329"/>
                  </a:cubicBezTo>
                  <a:lnTo>
                    <a:pt x="12978" y="668106"/>
                  </a:lnTo>
                  <a:lnTo>
                    <a:pt x="6280" y="662185"/>
                  </a:lnTo>
                  <a:lnTo>
                    <a:pt x="10228" y="661587"/>
                  </a:lnTo>
                  <a:lnTo>
                    <a:pt x="11783" y="663382"/>
                  </a:lnTo>
                  <a:close/>
                  <a:moveTo>
                    <a:pt x="12739" y="668465"/>
                  </a:moveTo>
                  <a:lnTo>
                    <a:pt x="11902" y="669243"/>
                  </a:lnTo>
                  <a:cubicBezTo>
                    <a:pt x="11902" y="669243"/>
                    <a:pt x="11902" y="669243"/>
                    <a:pt x="11902" y="669243"/>
                  </a:cubicBezTo>
                  <a:cubicBezTo>
                    <a:pt x="11902" y="669243"/>
                    <a:pt x="11902" y="669243"/>
                    <a:pt x="11902" y="669243"/>
                  </a:cubicBezTo>
                  <a:cubicBezTo>
                    <a:pt x="11902" y="669243"/>
                    <a:pt x="11902" y="669243"/>
                    <a:pt x="11902" y="669243"/>
                  </a:cubicBezTo>
                  <a:lnTo>
                    <a:pt x="11184" y="670140"/>
                  </a:lnTo>
                  <a:lnTo>
                    <a:pt x="3649" y="664638"/>
                  </a:lnTo>
                  <a:lnTo>
                    <a:pt x="5921" y="662485"/>
                  </a:lnTo>
                  <a:lnTo>
                    <a:pt x="12739" y="668465"/>
                  </a:lnTo>
                  <a:close/>
                  <a:moveTo>
                    <a:pt x="3170" y="664757"/>
                  </a:moveTo>
                  <a:lnTo>
                    <a:pt x="2752" y="668346"/>
                  </a:lnTo>
                  <a:lnTo>
                    <a:pt x="1735" y="668346"/>
                  </a:lnTo>
                  <a:lnTo>
                    <a:pt x="2154" y="664638"/>
                  </a:lnTo>
                  <a:lnTo>
                    <a:pt x="3170" y="664757"/>
                  </a:lnTo>
                  <a:close/>
                  <a:moveTo>
                    <a:pt x="2871" y="668704"/>
                  </a:moveTo>
                  <a:lnTo>
                    <a:pt x="4486" y="673609"/>
                  </a:lnTo>
                  <a:lnTo>
                    <a:pt x="3469" y="673728"/>
                  </a:lnTo>
                  <a:lnTo>
                    <a:pt x="1854" y="668704"/>
                  </a:lnTo>
                  <a:lnTo>
                    <a:pt x="2871" y="668704"/>
                  </a:lnTo>
                  <a:close/>
                  <a:moveTo>
                    <a:pt x="4605" y="673968"/>
                  </a:moveTo>
                  <a:lnTo>
                    <a:pt x="8134" y="679829"/>
                  </a:lnTo>
                  <a:lnTo>
                    <a:pt x="7177" y="680068"/>
                  </a:lnTo>
                  <a:lnTo>
                    <a:pt x="3529" y="674027"/>
                  </a:lnTo>
                  <a:lnTo>
                    <a:pt x="4605" y="673968"/>
                  </a:lnTo>
                  <a:close/>
                  <a:moveTo>
                    <a:pt x="8373" y="680187"/>
                  </a:moveTo>
                  <a:lnTo>
                    <a:pt x="13636" y="686587"/>
                  </a:lnTo>
                  <a:lnTo>
                    <a:pt x="12799" y="687005"/>
                  </a:lnTo>
                  <a:lnTo>
                    <a:pt x="7357" y="680427"/>
                  </a:lnTo>
                  <a:lnTo>
                    <a:pt x="8373" y="680187"/>
                  </a:lnTo>
                  <a:close/>
                  <a:moveTo>
                    <a:pt x="13995" y="686946"/>
                  </a:moveTo>
                  <a:lnTo>
                    <a:pt x="20634" y="693465"/>
                  </a:lnTo>
                  <a:lnTo>
                    <a:pt x="19976" y="694063"/>
                  </a:lnTo>
                  <a:lnTo>
                    <a:pt x="13158" y="687424"/>
                  </a:lnTo>
                  <a:lnTo>
                    <a:pt x="13995" y="686946"/>
                  </a:lnTo>
                  <a:close/>
                  <a:moveTo>
                    <a:pt x="20933" y="693704"/>
                  </a:moveTo>
                  <a:lnTo>
                    <a:pt x="28468" y="699744"/>
                  </a:lnTo>
                  <a:lnTo>
                    <a:pt x="27990" y="700462"/>
                  </a:lnTo>
                  <a:lnTo>
                    <a:pt x="20275" y="694242"/>
                  </a:lnTo>
                  <a:lnTo>
                    <a:pt x="20933" y="693704"/>
                  </a:lnTo>
                  <a:close/>
                  <a:moveTo>
                    <a:pt x="28408" y="700761"/>
                  </a:moveTo>
                  <a:lnTo>
                    <a:pt x="28887" y="700043"/>
                  </a:lnTo>
                  <a:lnTo>
                    <a:pt x="36782" y="705247"/>
                  </a:lnTo>
                  <a:lnTo>
                    <a:pt x="36543" y="706084"/>
                  </a:lnTo>
                  <a:lnTo>
                    <a:pt x="28408" y="700761"/>
                  </a:lnTo>
                  <a:close/>
                  <a:moveTo>
                    <a:pt x="36841" y="706323"/>
                  </a:moveTo>
                  <a:lnTo>
                    <a:pt x="37081" y="705486"/>
                  </a:lnTo>
                  <a:lnTo>
                    <a:pt x="44677" y="709373"/>
                  </a:lnTo>
                  <a:lnTo>
                    <a:pt x="44617" y="710330"/>
                  </a:lnTo>
                  <a:lnTo>
                    <a:pt x="36841" y="706323"/>
                  </a:lnTo>
                  <a:close/>
                  <a:moveTo>
                    <a:pt x="44975" y="710450"/>
                  </a:moveTo>
                  <a:lnTo>
                    <a:pt x="45035" y="709493"/>
                  </a:lnTo>
                  <a:lnTo>
                    <a:pt x="51793" y="711885"/>
                  </a:lnTo>
                  <a:lnTo>
                    <a:pt x="51913" y="712902"/>
                  </a:lnTo>
                  <a:lnTo>
                    <a:pt x="44975" y="710450"/>
                  </a:lnTo>
                  <a:close/>
                  <a:moveTo>
                    <a:pt x="52271" y="712962"/>
                  </a:moveTo>
                  <a:lnTo>
                    <a:pt x="52152" y="711945"/>
                  </a:lnTo>
                  <a:lnTo>
                    <a:pt x="57594" y="712663"/>
                  </a:lnTo>
                  <a:lnTo>
                    <a:pt x="57834" y="713680"/>
                  </a:lnTo>
                  <a:lnTo>
                    <a:pt x="52271" y="712962"/>
                  </a:lnTo>
                  <a:close/>
                  <a:moveTo>
                    <a:pt x="58193" y="713680"/>
                  </a:moveTo>
                  <a:lnTo>
                    <a:pt x="57954" y="712663"/>
                  </a:lnTo>
                  <a:lnTo>
                    <a:pt x="61721" y="711766"/>
                  </a:lnTo>
                  <a:lnTo>
                    <a:pt x="62020" y="712723"/>
                  </a:lnTo>
                  <a:lnTo>
                    <a:pt x="58193" y="713680"/>
                  </a:lnTo>
                  <a:close/>
                  <a:moveTo>
                    <a:pt x="56399" y="703213"/>
                  </a:moveTo>
                  <a:lnTo>
                    <a:pt x="57056" y="702376"/>
                  </a:lnTo>
                  <a:cubicBezTo>
                    <a:pt x="57056" y="702376"/>
                    <a:pt x="57056" y="702376"/>
                    <a:pt x="57056" y="702376"/>
                  </a:cubicBezTo>
                  <a:cubicBezTo>
                    <a:pt x="57056" y="702376"/>
                    <a:pt x="57056" y="702376"/>
                    <a:pt x="57056" y="702376"/>
                  </a:cubicBezTo>
                  <a:cubicBezTo>
                    <a:pt x="57056" y="702376"/>
                    <a:pt x="57056" y="702376"/>
                    <a:pt x="57056" y="702376"/>
                  </a:cubicBezTo>
                  <a:cubicBezTo>
                    <a:pt x="57056" y="702376"/>
                    <a:pt x="57056" y="702376"/>
                    <a:pt x="57056" y="702376"/>
                  </a:cubicBezTo>
                  <a:cubicBezTo>
                    <a:pt x="57056" y="702376"/>
                    <a:pt x="57056" y="702376"/>
                    <a:pt x="57056" y="702376"/>
                  </a:cubicBezTo>
                  <a:cubicBezTo>
                    <a:pt x="57056" y="702376"/>
                    <a:pt x="57056" y="702376"/>
                    <a:pt x="57056" y="702376"/>
                  </a:cubicBezTo>
                  <a:lnTo>
                    <a:pt x="57056" y="702376"/>
                  </a:lnTo>
                  <a:cubicBezTo>
                    <a:pt x="57056" y="702376"/>
                    <a:pt x="57056" y="702376"/>
                    <a:pt x="57056" y="702376"/>
                  </a:cubicBezTo>
                  <a:lnTo>
                    <a:pt x="57116" y="700941"/>
                  </a:lnTo>
                  <a:lnTo>
                    <a:pt x="57296" y="701060"/>
                  </a:lnTo>
                  <a:cubicBezTo>
                    <a:pt x="57296" y="701060"/>
                    <a:pt x="57296" y="701060"/>
                    <a:pt x="57296" y="701060"/>
                  </a:cubicBezTo>
                  <a:cubicBezTo>
                    <a:pt x="57296" y="701060"/>
                    <a:pt x="57356" y="701060"/>
                    <a:pt x="57356" y="701060"/>
                  </a:cubicBezTo>
                  <a:cubicBezTo>
                    <a:pt x="57356" y="701060"/>
                    <a:pt x="57356" y="701060"/>
                    <a:pt x="57356" y="701060"/>
                  </a:cubicBezTo>
                  <a:cubicBezTo>
                    <a:pt x="57356" y="701060"/>
                    <a:pt x="57416" y="701060"/>
                    <a:pt x="57416" y="701060"/>
                  </a:cubicBezTo>
                  <a:cubicBezTo>
                    <a:pt x="57416" y="701060"/>
                    <a:pt x="57416" y="701060"/>
                    <a:pt x="57416" y="701060"/>
                  </a:cubicBezTo>
                  <a:cubicBezTo>
                    <a:pt x="57416" y="701060"/>
                    <a:pt x="57475" y="701060"/>
                    <a:pt x="57475" y="701060"/>
                  </a:cubicBezTo>
                  <a:lnTo>
                    <a:pt x="57774" y="700881"/>
                  </a:lnTo>
                  <a:lnTo>
                    <a:pt x="58252" y="701957"/>
                  </a:lnTo>
                  <a:lnTo>
                    <a:pt x="58013" y="702137"/>
                  </a:lnTo>
                  <a:cubicBezTo>
                    <a:pt x="57954" y="702197"/>
                    <a:pt x="57954" y="702316"/>
                    <a:pt x="58013" y="702376"/>
                  </a:cubicBezTo>
                  <a:cubicBezTo>
                    <a:pt x="58013" y="702376"/>
                    <a:pt x="58013" y="702376"/>
                    <a:pt x="58013" y="702376"/>
                  </a:cubicBezTo>
                  <a:cubicBezTo>
                    <a:pt x="58073" y="702436"/>
                    <a:pt x="58193" y="702436"/>
                    <a:pt x="58252" y="702436"/>
                  </a:cubicBezTo>
                  <a:lnTo>
                    <a:pt x="58432" y="702316"/>
                  </a:lnTo>
                  <a:lnTo>
                    <a:pt x="59209" y="703333"/>
                  </a:lnTo>
                  <a:cubicBezTo>
                    <a:pt x="59209" y="703333"/>
                    <a:pt x="59209" y="703393"/>
                    <a:pt x="59269" y="703393"/>
                  </a:cubicBezTo>
                  <a:cubicBezTo>
                    <a:pt x="59329" y="703452"/>
                    <a:pt x="59389" y="703452"/>
                    <a:pt x="59389" y="703452"/>
                  </a:cubicBezTo>
                  <a:lnTo>
                    <a:pt x="59389" y="703452"/>
                  </a:lnTo>
                  <a:cubicBezTo>
                    <a:pt x="59389" y="703512"/>
                    <a:pt x="59449" y="703512"/>
                    <a:pt x="59449" y="703572"/>
                  </a:cubicBezTo>
                  <a:cubicBezTo>
                    <a:pt x="59449" y="703572"/>
                    <a:pt x="59509" y="703632"/>
                    <a:pt x="59509" y="703632"/>
                  </a:cubicBezTo>
                  <a:cubicBezTo>
                    <a:pt x="59509" y="703632"/>
                    <a:pt x="59509" y="703632"/>
                    <a:pt x="59509" y="703632"/>
                  </a:cubicBezTo>
                  <a:cubicBezTo>
                    <a:pt x="59509" y="703632"/>
                    <a:pt x="59568" y="703632"/>
                    <a:pt x="59568" y="703692"/>
                  </a:cubicBezTo>
                  <a:lnTo>
                    <a:pt x="59568" y="703692"/>
                  </a:lnTo>
                  <a:cubicBezTo>
                    <a:pt x="59568" y="703692"/>
                    <a:pt x="59568" y="703692"/>
                    <a:pt x="59568" y="703692"/>
                  </a:cubicBezTo>
                  <a:cubicBezTo>
                    <a:pt x="59568" y="703692"/>
                    <a:pt x="59628" y="703692"/>
                    <a:pt x="59628" y="703692"/>
                  </a:cubicBezTo>
                  <a:cubicBezTo>
                    <a:pt x="59688" y="703692"/>
                    <a:pt x="59688" y="703751"/>
                    <a:pt x="59747" y="703751"/>
                  </a:cubicBezTo>
                  <a:cubicBezTo>
                    <a:pt x="59807" y="703811"/>
                    <a:pt x="59867" y="703811"/>
                    <a:pt x="59927" y="703811"/>
                  </a:cubicBezTo>
                  <a:cubicBezTo>
                    <a:pt x="59927" y="703811"/>
                    <a:pt x="59927" y="703811"/>
                    <a:pt x="59927" y="703811"/>
                  </a:cubicBezTo>
                  <a:cubicBezTo>
                    <a:pt x="59987" y="703871"/>
                    <a:pt x="60047" y="703871"/>
                    <a:pt x="60107" y="703871"/>
                  </a:cubicBezTo>
                  <a:lnTo>
                    <a:pt x="61004" y="703931"/>
                  </a:lnTo>
                  <a:lnTo>
                    <a:pt x="61004" y="703991"/>
                  </a:lnTo>
                  <a:cubicBezTo>
                    <a:pt x="61004" y="704051"/>
                    <a:pt x="61004" y="704170"/>
                    <a:pt x="61064" y="704230"/>
                  </a:cubicBezTo>
                  <a:cubicBezTo>
                    <a:pt x="61064" y="704230"/>
                    <a:pt x="61064" y="704230"/>
                    <a:pt x="61124" y="704230"/>
                  </a:cubicBezTo>
                  <a:cubicBezTo>
                    <a:pt x="61243" y="704290"/>
                    <a:pt x="61302" y="704290"/>
                    <a:pt x="61362" y="704230"/>
                  </a:cubicBezTo>
                  <a:lnTo>
                    <a:pt x="61482" y="703931"/>
                  </a:lnTo>
                  <a:lnTo>
                    <a:pt x="61662" y="703692"/>
                  </a:lnTo>
                  <a:lnTo>
                    <a:pt x="63695" y="704888"/>
                  </a:lnTo>
                  <a:lnTo>
                    <a:pt x="63635" y="708656"/>
                  </a:lnTo>
                  <a:lnTo>
                    <a:pt x="56399" y="703213"/>
                  </a:lnTo>
                  <a:close/>
                  <a:moveTo>
                    <a:pt x="59987" y="702735"/>
                  </a:moveTo>
                  <a:lnTo>
                    <a:pt x="59987" y="702197"/>
                  </a:lnTo>
                  <a:lnTo>
                    <a:pt x="60226" y="702316"/>
                  </a:lnTo>
                  <a:lnTo>
                    <a:pt x="59987" y="702735"/>
                  </a:lnTo>
                  <a:close/>
                  <a:moveTo>
                    <a:pt x="60585" y="702496"/>
                  </a:moveTo>
                  <a:lnTo>
                    <a:pt x="60764" y="702615"/>
                  </a:lnTo>
                  <a:lnTo>
                    <a:pt x="60406" y="702854"/>
                  </a:lnTo>
                  <a:lnTo>
                    <a:pt x="60585" y="702496"/>
                  </a:lnTo>
                  <a:close/>
                  <a:moveTo>
                    <a:pt x="59628" y="702675"/>
                  </a:moveTo>
                  <a:lnTo>
                    <a:pt x="59389" y="702077"/>
                  </a:lnTo>
                  <a:lnTo>
                    <a:pt x="59628" y="702137"/>
                  </a:lnTo>
                  <a:lnTo>
                    <a:pt x="59628" y="702675"/>
                  </a:lnTo>
                  <a:close/>
                  <a:moveTo>
                    <a:pt x="61004" y="702974"/>
                  </a:moveTo>
                  <a:lnTo>
                    <a:pt x="61064" y="703094"/>
                  </a:lnTo>
                  <a:lnTo>
                    <a:pt x="60704" y="703153"/>
                  </a:lnTo>
                  <a:lnTo>
                    <a:pt x="61004" y="702974"/>
                  </a:lnTo>
                  <a:close/>
                  <a:moveTo>
                    <a:pt x="60645" y="702256"/>
                  </a:moveTo>
                  <a:lnTo>
                    <a:pt x="60764" y="701240"/>
                  </a:lnTo>
                  <a:lnTo>
                    <a:pt x="61183" y="701539"/>
                  </a:lnTo>
                  <a:lnTo>
                    <a:pt x="60944" y="702436"/>
                  </a:lnTo>
                  <a:lnTo>
                    <a:pt x="60645" y="702256"/>
                  </a:lnTo>
                  <a:close/>
                  <a:moveTo>
                    <a:pt x="60286" y="702017"/>
                  </a:moveTo>
                  <a:lnTo>
                    <a:pt x="59987" y="701897"/>
                  </a:lnTo>
                  <a:lnTo>
                    <a:pt x="59867" y="700761"/>
                  </a:lnTo>
                  <a:lnTo>
                    <a:pt x="60406" y="701000"/>
                  </a:lnTo>
                  <a:lnTo>
                    <a:pt x="60286" y="702017"/>
                  </a:lnTo>
                  <a:close/>
                  <a:moveTo>
                    <a:pt x="59628" y="701778"/>
                  </a:moveTo>
                  <a:lnTo>
                    <a:pt x="59269" y="701718"/>
                  </a:lnTo>
                  <a:lnTo>
                    <a:pt x="58911" y="700582"/>
                  </a:lnTo>
                  <a:lnTo>
                    <a:pt x="59449" y="700641"/>
                  </a:lnTo>
                  <a:lnTo>
                    <a:pt x="59628" y="701778"/>
                  </a:lnTo>
                  <a:close/>
                  <a:moveTo>
                    <a:pt x="58492" y="700223"/>
                  </a:moveTo>
                  <a:lnTo>
                    <a:pt x="58252" y="700283"/>
                  </a:lnTo>
                  <a:lnTo>
                    <a:pt x="58252" y="700283"/>
                  </a:lnTo>
                  <a:lnTo>
                    <a:pt x="58492" y="700223"/>
                  </a:lnTo>
                  <a:lnTo>
                    <a:pt x="58492" y="700223"/>
                  </a:lnTo>
                  <a:close/>
                  <a:moveTo>
                    <a:pt x="58552" y="700582"/>
                  </a:moveTo>
                  <a:lnTo>
                    <a:pt x="58911" y="701718"/>
                  </a:lnTo>
                  <a:lnTo>
                    <a:pt x="58611" y="701778"/>
                  </a:lnTo>
                  <a:lnTo>
                    <a:pt x="58073" y="700641"/>
                  </a:lnTo>
                  <a:lnTo>
                    <a:pt x="58552" y="700582"/>
                  </a:lnTo>
                  <a:close/>
                  <a:moveTo>
                    <a:pt x="59030" y="702077"/>
                  </a:moveTo>
                  <a:lnTo>
                    <a:pt x="59269" y="702675"/>
                  </a:lnTo>
                  <a:lnTo>
                    <a:pt x="58851" y="702137"/>
                  </a:lnTo>
                  <a:lnTo>
                    <a:pt x="59030" y="702077"/>
                  </a:lnTo>
                  <a:close/>
                  <a:moveTo>
                    <a:pt x="61243" y="703452"/>
                  </a:moveTo>
                  <a:lnTo>
                    <a:pt x="61243" y="703572"/>
                  </a:lnTo>
                  <a:lnTo>
                    <a:pt x="60944" y="703572"/>
                  </a:lnTo>
                  <a:lnTo>
                    <a:pt x="61243" y="703452"/>
                  </a:lnTo>
                  <a:close/>
                  <a:moveTo>
                    <a:pt x="61841" y="702854"/>
                  </a:moveTo>
                  <a:lnTo>
                    <a:pt x="61721" y="702974"/>
                  </a:lnTo>
                  <a:lnTo>
                    <a:pt x="61841" y="702854"/>
                  </a:lnTo>
                  <a:lnTo>
                    <a:pt x="61841" y="702854"/>
                  </a:lnTo>
                  <a:close/>
                  <a:moveTo>
                    <a:pt x="61662" y="702197"/>
                  </a:moveTo>
                  <a:lnTo>
                    <a:pt x="61302" y="702854"/>
                  </a:lnTo>
                  <a:lnTo>
                    <a:pt x="61183" y="702735"/>
                  </a:lnTo>
                  <a:lnTo>
                    <a:pt x="61422" y="701957"/>
                  </a:lnTo>
                  <a:lnTo>
                    <a:pt x="61662" y="702197"/>
                  </a:lnTo>
                  <a:close/>
                  <a:moveTo>
                    <a:pt x="59987" y="700462"/>
                  </a:moveTo>
                  <a:lnTo>
                    <a:pt x="59987" y="700462"/>
                  </a:lnTo>
                  <a:lnTo>
                    <a:pt x="59747" y="700402"/>
                  </a:lnTo>
                  <a:lnTo>
                    <a:pt x="59747" y="700343"/>
                  </a:lnTo>
                  <a:lnTo>
                    <a:pt x="59987" y="700462"/>
                  </a:lnTo>
                  <a:close/>
                  <a:moveTo>
                    <a:pt x="59329" y="700223"/>
                  </a:moveTo>
                  <a:lnTo>
                    <a:pt x="59389" y="700343"/>
                  </a:lnTo>
                  <a:lnTo>
                    <a:pt x="58911" y="700283"/>
                  </a:lnTo>
                  <a:lnTo>
                    <a:pt x="58911" y="700223"/>
                  </a:lnTo>
                  <a:lnTo>
                    <a:pt x="59329" y="700223"/>
                  </a:lnTo>
                  <a:close/>
                  <a:moveTo>
                    <a:pt x="63755" y="704409"/>
                  </a:moveTo>
                  <a:lnTo>
                    <a:pt x="62080" y="703393"/>
                  </a:lnTo>
                  <a:lnTo>
                    <a:pt x="62200" y="703034"/>
                  </a:lnTo>
                  <a:cubicBezTo>
                    <a:pt x="62200" y="703034"/>
                    <a:pt x="62200" y="703034"/>
                    <a:pt x="62200" y="703034"/>
                  </a:cubicBezTo>
                  <a:cubicBezTo>
                    <a:pt x="62200" y="703034"/>
                    <a:pt x="62200" y="703034"/>
                    <a:pt x="62200" y="703034"/>
                  </a:cubicBezTo>
                  <a:cubicBezTo>
                    <a:pt x="62200" y="703034"/>
                    <a:pt x="62200" y="703034"/>
                    <a:pt x="62200" y="703034"/>
                  </a:cubicBezTo>
                  <a:cubicBezTo>
                    <a:pt x="62200" y="703034"/>
                    <a:pt x="62200" y="703034"/>
                    <a:pt x="62200" y="703034"/>
                  </a:cubicBezTo>
                  <a:cubicBezTo>
                    <a:pt x="62200" y="703034"/>
                    <a:pt x="62200" y="703034"/>
                    <a:pt x="62200" y="703034"/>
                  </a:cubicBezTo>
                  <a:lnTo>
                    <a:pt x="62080" y="702316"/>
                  </a:lnTo>
                  <a:cubicBezTo>
                    <a:pt x="62080" y="702316"/>
                    <a:pt x="62080" y="702316"/>
                    <a:pt x="62080" y="702316"/>
                  </a:cubicBezTo>
                  <a:cubicBezTo>
                    <a:pt x="62080" y="702316"/>
                    <a:pt x="62080" y="702316"/>
                    <a:pt x="62080" y="702316"/>
                  </a:cubicBezTo>
                  <a:cubicBezTo>
                    <a:pt x="62080" y="702316"/>
                    <a:pt x="62080" y="702316"/>
                    <a:pt x="62080" y="702316"/>
                  </a:cubicBezTo>
                  <a:cubicBezTo>
                    <a:pt x="62080" y="702316"/>
                    <a:pt x="62080" y="702316"/>
                    <a:pt x="62080" y="702316"/>
                  </a:cubicBezTo>
                  <a:cubicBezTo>
                    <a:pt x="62080" y="702316"/>
                    <a:pt x="62080" y="702316"/>
                    <a:pt x="62080" y="702316"/>
                  </a:cubicBezTo>
                  <a:lnTo>
                    <a:pt x="61602" y="701598"/>
                  </a:lnTo>
                  <a:cubicBezTo>
                    <a:pt x="61602" y="701598"/>
                    <a:pt x="61602" y="701598"/>
                    <a:pt x="61602" y="701598"/>
                  </a:cubicBezTo>
                  <a:cubicBezTo>
                    <a:pt x="61602" y="701598"/>
                    <a:pt x="61602" y="701598"/>
                    <a:pt x="61602" y="701598"/>
                  </a:cubicBezTo>
                  <a:cubicBezTo>
                    <a:pt x="61602" y="701598"/>
                    <a:pt x="61602" y="701598"/>
                    <a:pt x="61602" y="701598"/>
                  </a:cubicBezTo>
                  <a:lnTo>
                    <a:pt x="60884" y="700821"/>
                  </a:lnTo>
                  <a:cubicBezTo>
                    <a:pt x="60884" y="700821"/>
                    <a:pt x="60884" y="700821"/>
                    <a:pt x="60884" y="700821"/>
                  </a:cubicBezTo>
                  <a:cubicBezTo>
                    <a:pt x="60884" y="700821"/>
                    <a:pt x="60884" y="700821"/>
                    <a:pt x="60884" y="700821"/>
                  </a:cubicBezTo>
                  <a:lnTo>
                    <a:pt x="60346" y="700402"/>
                  </a:lnTo>
                  <a:lnTo>
                    <a:pt x="60346" y="700402"/>
                  </a:lnTo>
                  <a:lnTo>
                    <a:pt x="60346" y="700402"/>
                  </a:lnTo>
                  <a:cubicBezTo>
                    <a:pt x="60346" y="700402"/>
                    <a:pt x="60346" y="700402"/>
                    <a:pt x="60346" y="700402"/>
                  </a:cubicBezTo>
                  <a:cubicBezTo>
                    <a:pt x="60346" y="700402"/>
                    <a:pt x="60346" y="700402"/>
                    <a:pt x="60286" y="700402"/>
                  </a:cubicBezTo>
                  <a:cubicBezTo>
                    <a:pt x="60286" y="700402"/>
                    <a:pt x="60286" y="700402"/>
                    <a:pt x="60286" y="700402"/>
                  </a:cubicBezTo>
                  <a:lnTo>
                    <a:pt x="59628" y="700103"/>
                  </a:lnTo>
                  <a:cubicBezTo>
                    <a:pt x="59628" y="700103"/>
                    <a:pt x="59628" y="700103"/>
                    <a:pt x="59628" y="700103"/>
                  </a:cubicBezTo>
                  <a:cubicBezTo>
                    <a:pt x="59628" y="700103"/>
                    <a:pt x="59628" y="700103"/>
                    <a:pt x="59628" y="700103"/>
                  </a:cubicBezTo>
                  <a:cubicBezTo>
                    <a:pt x="59628" y="700103"/>
                    <a:pt x="59628" y="700103"/>
                    <a:pt x="59628" y="700103"/>
                  </a:cubicBezTo>
                  <a:lnTo>
                    <a:pt x="58971" y="699984"/>
                  </a:lnTo>
                  <a:cubicBezTo>
                    <a:pt x="58971" y="699984"/>
                    <a:pt x="58971" y="699984"/>
                    <a:pt x="58971" y="699984"/>
                  </a:cubicBezTo>
                  <a:cubicBezTo>
                    <a:pt x="58971" y="699984"/>
                    <a:pt x="58971" y="699984"/>
                    <a:pt x="58971" y="699984"/>
                  </a:cubicBezTo>
                  <a:cubicBezTo>
                    <a:pt x="58971" y="699984"/>
                    <a:pt x="58971" y="699984"/>
                    <a:pt x="58971" y="699984"/>
                  </a:cubicBezTo>
                  <a:lnTo>
                    <a:pt x="58372" y="700103"/>
                  </a:lnTo>
                  <a:cubicBezTo>
                    <a:pt x="58372" y="700103"/>
                    <a:pt x="58372" y="700103"/>
                    <a:pt x="58372" y="700103"/>
                  </a:cubicBezTo>
                  <a:cubicBezTo>
                    <a:pt x="58372" y="700103"/>
                    <a:pt x="58372" y="700103"/>
                    <a:pt x="58372" y="700103"/>
                  </a:cubicBezTo>
                  <a:cubicBezTo>
                    <a:pt x="58372" y="700103"/>
                    <a:pt x="58372" y="700103"/>
                    <a:pt x="58372" y="700103"/>
                  </a:cubicBezTo>
                  <a:lnTo>
                    <a:pt x="58073" y="700343"/>
                  </a:lnTo>
                  <a:cubicBezTo>
                    <a:pt x="58013" y="700402"/>
                    <a:pt x="58013" y="700462"/>
                    <a:pt x="58073" y="700582"/>
                  </a:cubicBezTo>
                  <a:lnTo>
                    <a:pt x="58073" y="700641"/>
                  </a:lnTo>
                  <a:lnTo>
                    <a:pt x="57714" y="700881"/>
                  </a:lnTo>
                  <a:lnTo>
                    <a:pt x="57594" y="700821"/>
                  </a:lnTo>
                  <a:lnTo>
                    <a:pt x="57654" y="699565"/>
                  </a:lnTo>
                  <a:cubicBezTo>
                    <a:pt x="57654" y="699565"/>
                    <a:pt x="57654" y="699565"/>
                    <a:pt x="57654" y="699565"/>
                  </a:cubicBezTo>
                  <a:cubicBezTo>
                    <a:pt x="57654" y="699565"/>
                    <a:pt x="57654" y="699565"/>
                    <a:pt x="57654" y="699505"/>
                  </a:cubicBezTo>
                  <a:cubicBezTo>
                    <a:pt x="57654" y="699505"/>
                    <a:pt x="57654" y="699505"/>
                    <a:pt x="57654" y="699505"/>
                  </a:cubicBezTo>
                  <a:lnTo>
                    <a:pt x="57654" y="699505"/>
                  </a:lnTo>
                  <a:lnTo>
                    <a:pt x="57654" y="699505"/>
                  </a:lnTo>
                  <a:lnTo>
                    <a:pt x="56877" y="697472"/>
                  </a:lnTo>
                  <a:lnTo>
                    <a:pt x="62379" y="699924"/>
                  </a:lnTo>
                  <a:lnTo>
                    <a:pt x="63755" y="704409"/>
                  </a:lnTo>
                  <a:close/>
                  <a:moveTo>
                    <a:pt x="392694" y="261298"/>
                  </a:moveTo>
                  <a:lnTo>
                    <a:pt x="417933" y="229301"/>
                  </a:lnTo>
                  <a:lnTo>
                    <a:pt x="418352" y="229600"/>
                  </a:lnTo>
                  <a:lnTo>
                    <a:pt x="393292" y="261477"/>
                  </a:lnTo>
                  <a:lnTo>
                    <a:pt x="392694" y="261298"/>
                  </a:lnTo>
                  <a:close/>
                  <a:moveTo>
                    <a:pt x="401606" y="228882"/>
                  </a:moveTo>
                  <a:lnTo>
                    <a:pt x="417275" y="210103"/>
                  </a:lnTo>
                  <a:lnTo>
                    <a:pt x="416797" y="213033"/>
                  </a:lnTo>
                  <a:lnTo>
                    <a:pt x="413986" y="219732"/>
                  </a:lnTo>
                  <a:lnTo>
                    <a:pt x="401606" y="228882"/>
                  </a:lnTo>
                  <a:close/>
                  <a:moveTo>
                    <a:pt x="415720" y="207112"/>
                  </a:moveTo>
                  <a:cubicBezTo>
                    <a:pt x="415720" y="207112"/>
                    <a:pt x="415720" y="207112"/>
                    <a:pt x="415720" y="207112"/>
                  </a:cubicBezTo>
                  <a:cubicBezTo>
                    <a:pt x="415720" y="207112"/>
                    <a:pt x="415720" y="207112"/>
                    <a:pt x="415720" y="207112"/>
                  </a:cubicBezTo>
                  <a:cubicBezTo>
                    <a:pt x="415660" y="207053"/>
                    <a:pt x="415660" y="207053"/>
                    <a:pt x="415600" y="207053"/>
                  </a:cubicBezTo>
                  <a:cubicBezTo>
                    <a:pt x="415600" y="207053"/>
                    <a:pt x="415600" y="207053"/>
                    <a:pt x="415600" y="207053"/>
                  </a:cubicBezTo>
                  <a:lnTo>
                    <a:pt x="396881" y="204959"/>
                  </a:lnTo>
                  <a:lnTo>
                    <a:pt x="387910" y="194433"/>
                  </a:lnTo>
                  <a:lnTo>
                    <a:pt x="416259" y="173800"/>
                  </a:lnTo>
                  <a:lnTo>
                    <a:pt x="434500" y="192639"/>
                  </a:lnTo>
                  <a:lnTo>
                    <a:pt x="417634" y="210222"/>
                  </a:lnTo>
                  <a:lnTo>
                    <a:pt x="417754" y="209565"/>
                  </a:ln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cubicBezTo>
                    <a:pt x="417754" y="209565"/>
                    <a:pt x="417754" y="209565"/>
                    <a:pt x="417754" y="209565"/>
                  </a:cubicBezTo>
                  <a:lnTo>
                    <a:pt x="417754" y="209565"/>
                  </a:lnTo>
                  <a:lnTo>
                    <a:pt x="415720" y="207112"/>
                  </a:lnTo>
                  <a:close/>
                  <a:moveTo>
                    <a:pt x="394609" y="204660"/>
                  </a:moveTo>
                  <a:lnTo>
                    <a:pt x="387073" y="195749"/>
                  </a:lnTo>
                  <a:lnTo>
                    <a:pt x="387073" y="195510"/>
                  </a:lnTo>
                  <a:lnTo>
                    <a:pt x="394788" y="204660"/>
                  </a:lnTo>
                  <a:lnTo>
                    <a:pt x="394609" y="204660"/>
                  </a:lnTo>
                  <a:close/>
                  <a:moveTo>
                    <a:pt x="422778" y="220928"/>
                  </a:moveTo>
                  <a:cubicBezTo>
                    <a:pt x="422778" y="220868"/>
                    <a:pt x="422778" y="220868"/>
                    <a:pt x="422718" y="220808"/>
                  </a:cubicBezTo>
                  <a:lnTo>
                    <a:pt x="423376" y="215485"/>
                  </a:lnTo>
                  <a:lnTo>
                    <a:pt x="425230" y="217100"/>
                  </a:lnTo>
                  <a:lnTo>
                    <a:pt x="424691" y="222363"/>
                  </a:lnTo>
                  <a:lnTo>
                    <a:pt x="422778" y="220928"/>
                  </a:lnTo>
                  <a:close/>
                  <a:moveTo>
                    <a:pt x="428998" y="204301"/>
                  </a:moveTo>
                  <a:lnTo>
                    <a:pt x="432287" y="208249"/>
                  </a:lnTo>
                  <a:lnTo>
                    <a:pt x="428101" y="211777"/>
                  </a:lnTo>
                  <a:lnTo>
                    <a:pt x="424393" y="207950"/>
                  </a:lnTo>
                  <a:cubicBezTo>
                    <a:pt x="424393" y="207950"/>
                    <a:pt x="424393" y="207950"/>
                    <a:pt x="424333" y="207950"/>
                  </a:cubicBezTo>
                  <a:lnTo>
                    <a:pt x="428998" y="204301"/>
                  </a:lnTo>
                  <a:close/>
                  <a:moveTo>
                    <a:pt x="440780" y="202687"/>
                  </a:moveTo>
                  <a:lnTo>
                    <a:pt x="443291" y="206634"/>
                  </a:lnTo>
                  <a:lnTo>
                    <a:pt x="438088" y="206275"/>
                  </a:lnTo>
                  <a:lnTo>
                    <a:pt x="435217" y="202328"/>
                  </a:lnTo>
                  <a:lnTo>
                    <a:pt x="440780" y="202687"/>
                  </a:lnTo>
                  <a:close/>
                  <a:moveTo>
                    <a:pt x="449213" y="209505"/>
                  </a:moveTo>
                  <a:cubicBezTo>
                    <a:pt x="449153" y="209565"/>
                    <a:pt x="449153" y="209684"/>
                    <a:pt x="449272" y="209744"/>
                  </a:cubicBezTo>
                  <a:cubicBezTo>
                    <a:pt x="449272" y="209744"/>
                    <a:pt x="449272" y="209744"/>
                    <a:pt x="449272" y="209744"/>
                  </a:cubicBezTo>
                  <a:cubicBezTo>
                    <a:pt x="449332" y="209804"/>
                    <a:pt x="449451" y="209804"/>
                    <a:pt x="449511" y="209744"/>
                  </a:cubicBezTo>
                  <a:lnTo>
                    <a:pt x="449571" y="209684"/>
                  </a:lnTo>
                  <a:lnTo>
                    <a:pt x="449871" y="209983"/>
                  </a:lnTo>
                  <a:lnTo>
                    <a:pt x="451006" y="212017"/>
                  </a:lnTo>
                  <a:lnTo>
                    <a:pt x="448794" y="209325"/>
                  </a:lnTo>
                  <a:lnTo>
                    <a:pt x="448196" y="208309"/>
                  </a:lnTo>
                  <a:lnTo>
                    <a:pt x="449272" y="209385"/>
                  </a:lnTo>
                  <a:lnTo>
                    <a:pt x="449213" y="209505"/>
                  </a:lnTo>
                  <a:close/>
                  <a:moveTo>
                    <a:pt x="453519" y="219074"/>
                  </a:moveTo>
                  <a:lnTo>
                    <a:pt x="453159" y="221705"/>
                  </a:lnTo>
                  <a:lnTo>
                    <a:pt x="452203" y="218416"/>
                  </a:lnTo>
                  <a:lnTo>
                    <a:pt x="452322" y="214887"/>
                  </a:lnTo>
                  <a:lnTo>
                    <a:pt x="453519" y="219074"/>
                  </a:lnTo>
                  <a:close/>
                  <a:moveTo>
                    <a:pt x="439225" y="234564"/>
                  </a:moveTo>
                  <a:lnTo>
                    <a:pt x="442275" y="232112"/>
                  </a:lnTo>
                  <a:lnTo>
                    <a:pt x="444248" y="232231"/>
                  </a:lnTo>
                  <a:lnTo>
                    <a:pt x="442933" y="234803"/>
                  </a:lnTo>
                  <a:lnTo>
                    <a:pt x="439225" y="234564"/>
                  </a:lnTo>
                  <a:close/>
                  <a:moveTo>
                    <a:pt x="442454" y="231753"/>
                  </a:moveTo>
                  <a:lnTo>
                    <a:pt x="444488" y="227626"/>
                  </a:lnTo>
                  <a:lnTo>
                    <a:pt x="444368" y="231873"/>
                  </a:lnTo>
                  <a:lnTo>
                    <a:pt x="442454" y="231753"/>
                  </a:lnTo>
                  <a:close/>
                  <a:moveTo>
                    <a:pt x="444308" y="225832"/>
                  </a:moveTo>
                  <a:lnTo>
                    <a:pt x="441437" y="220928"/>
                  </a:lnTo>
                  <a:lnTo>
                    <a:pt x="443291" y="220330"/>
                  </a:lnTo>
                  <a:lnTo>
                    <a:pt x="444308" y="225832"/>
                  </a:lnTo>
                  <a:close/>
                  <a:moveTo>
                    <a:pt x="443710" y="220210"/>
                  </a:moveTo>
                  <a:lnTo>
                    <a:pt x="445624" y="220330"/>
                  </a:lnTo>
                  <a:lnTo>
                    <a:pt x="444667" y="225712"/>
                  </a:lnTo>
                  <a:lnTo>
                    <a:pt x="443710" y="220210"/>
                  </a:lnTo>
                  <a:close/>
                  <a:moveTo>
                    <a:pt x="444009" y="226012"/>
                  </a:moveTo>
                  <a:lnTo>
                    <a:pt x="439583" y="222363"/>
                  </a:lnTo>
                  <a:lnTo>
                    <a:pt x="441138" y="221048"/>
                  </a:lnTo>
                  <a:lnTo>
                    <a:pt x="444009" y="226012"/>
                  </a:lnTo>
                  <a:close/>
                  <a:moveTo>
                    <a:pt x="443770" y="226310"/>
                  </a:moveTo>
                  <a:lnTo>
                    <a:pt x="438447" y="224397"/>
                  </a:lnTo>
                  <a:lnTo>
                    <a:pt x="439404" y="222662"/>
                  </a:lnTo>
                  <a:lnTo>
                    <a:pt x="443770" y="226310"/>
                  </a:lnTo>
                  <a:close/>
                  <a:moveTo>
                    <a:pt x="443650" y="226610"/>
                  </a:moveTo>
                  <a:lnTo>
                    <a:pt x="438148" y="226669"/>
                  </a:lnTo>
                  <a:lnTo>
                    <a:pt x="438387" y="224756"/>
                  </a:lnTo>
                  <a:lnTo>
                    <a:pt x="443650" y="226610"/>
                  </a:lnTo>
                  <a:close/>
                  <a:moveTo>
                    <a:pt x="445026" y="225832"/>
                  </a:moveTo>
                  <a:lnTo>
                    <a:pt x="445983" y="220509"/>
                  </a:lnTo>
                  <a:lnTo>
                    <a:pt x="447658" y="221346"/>
                  </a:lnTo>
                  <a:lnTo>
                    <a:pt x="445026" y="225832"/>
                  </a:lnTo>
                  <a:close/>
                  <a:moveTo>
                    <a:pt x="447956" y="221586"/>
                  </a:moveTo>
                  <a:lnTo>
                    <a:pt x="449153" y="223021"/>
                  </a:lnTo>
                  <a:lnTo>
                    <a:pt x="445325" y="226071"/>
                  </a:lnTo>
                  <a:lnTo>
                    <a:pt x="447956" y="221586"/>
                  </a:lnTo>
                  <a:close/>
                  <a:moveTo>
                    <a:pt x="443650" y="219851"/>
                  </a:moveTo>
                  <a:lnTo>
                    <a:pt x="441437" y="213033"/>
                  </a:lnTo>
                  <a:lnTo>
                    <a:pt x="445385" y="213332"/>
                  </a:lnTo>
                  <a:lnTo>
                    <a:pt x="445743" y="220031"/>
                  </a:lnTo>
                  <a:lnTo>
                    <a:pt x="443650" y="219851"/>
                  </a:lnTo>
                  <a:close/>
                  <a:moveTo>
                    <a:pt x="443291" y="219911"/>
                  </a:moveTo>
                  <a:lnTo>
                    <a:pt x="441318" y="220569"/>
                  </a:lnTo>
                  <a:lnTo>
                    <a:pt x="437251" y="214349"/>
                  </a:lnTo>
                  <a:lnTo>
                    <a:pt x="441078" y="213093"/>
                  </a:lnTo>
                  <a:lnTo>
                    <a:pt x="443291" y="219911"/>
                  </a:lnTo>
                  <a:close/>
                  <a:moveTo>
                    <a:pt x="440959" y="220748"/>
                  </a:moveTo>
                  <a:lnTo>
                    <a:pt x="439344" y="222124"/>
                  </a:lnTo>
                  <a:lnTo>
                    <a:pt x="433782" y="217160"/>
                  </a:lnTo>
                  <a:lnTo>
                    <a:pt x="436892" y="214528"/>
                  </a:lnTo>
                  <a:lnTo>
                    <a:pt x="440959" y="220748"/>
                  </a:lnTo>
                  <a:close/>
                  <a:moveTo>
                    <a:pt x="439105" y="222423"/>
                  </a:moveTo>
                  <a:lnTo>
                    <a:pt x="438088" y="224277"/>
                  </a:lnTo>
                  <a:lnTo>
                    <a:pt x="431629" y="220988"/>
                  </a:lnTo>
                  <a:lnTo>
                    <a:pt x="433543" y="217459"/>
                  </a:lnTo>
                  <a:lnTo>
                    <a:pt x="439105" y="222423"/>
                  </a:lnTo>
                  <a:close/>
                  <a:moveTo>
                    <a:pt x="438028" y="224576"/>
                  </a:moveTo>
                  <a:lnTo>
                    <a:pt x="437789" y="226610"/>
                  </a:lnTo>
                  <a:lnTo>
                    <a:pt x="431151" y="225234"/>
                  </a:lnTo>
                  <a:lnTo>
                    <a:pt x="431569" y="221287"/>
                  </a:lnTo>
                  <a:lnTo>
                    <a:pt x="438028" y="224576"/>
                  </a:lnTo>
                  <a:close/>
                  <a:moveTo>
                    <a:pt x="443650" y="227028"/>
                  </a:moveTo>
                  <a:lnTo>
                    <a:pt x="438687" y="228882"/>
                  </a:lnTo>
                  <a:lnTo>
                    <a:pt x="438148" y="227088"/>
                  </a:lnTo>
                  <a:lnTo>
                    <a:pt x="443650" y="227028"/>
                  </a:lnTo>
                  <a:close/>
                  <a:moveTo>
                    <a:pt x="443830" y="227327"/>
                  </a:moveTo>
                  <a:lnTo>
                    <a:pt x="440122" y="230617"/>
                  </a:lnTo>
                  <a:lnTo>
                    <a:pt x="438925" y="229181"/>
                  </a:lnTo>
                  <a:lnTo>
                    <a:pt x="443830" y="227327"/>
                  </a:lnTo>
                  <a:close/>
                  <a:moveTo>
                    <a:pt x="449332" y="223380"/>
                  </a:moveTo>
                  <a:lnTo>
                    <a:pt x="449871" y="225174"/>
                  </a:lnTo>
                  <a:lnTo>
                    <a:pt x="445564" y="226370"/>
                  </a:lnTo>
                  <a:lnTo>
                    <a:pt x="449332" y="223380"/>
                  </a:lnTo>
                  <a:close/>
                  <a:moveTo>
                    <a:pt x="448136" y="221227"/>
                  </a:moveTo>
                  <a:lnTo>
                    <a:pt x="449451" y="215545"/>
                  </a:lnTo>
                  <a:lnTo>
                    <a:pt x="451844" y="218476"/>
                  </a:lnTo>
                  <a:lnTo>
                    <a:pt x="449392" y="222782"/>
                  </a:lnTo>
                  <a:lnTo>
                    <a:pt x="448136" y="221227"/>
                  </a:lnTo>
                  <a:close/>
                  <a:moveTo>
                    <a:pt x="449511" y="215067"/>
                  </a:moveTo>
                  <a:lnTo>
                    <a:pt x="448913" y="209983"/>
                  </a:lnTo>
                  <a:lnTo>
                    <a:pt x="452023" y="213751"/>
                  </a:lnTo>
                  <a:lnTo>
                    <a:pt x="451904" y="217938"/>
                  </a:lnTo>
                  <a:lnTo>
                    <a:pt x="449511" y="215067"/>
                  </a:lnTo>
                  <a:close/>
                  <a:moveTo>
                    <a:pt x="447837" y="220988"/>
                  </a:moveTo>
                  <a:lnTo>
                    <a:pt x="446043" y="220091"/>
                  </a:lnTo>
                  <a:lnTo>
                    <a:pt x="445684" y="213452"/>
                  </a:lnTo>
                  <a:lnTo>
                    <a:pt x="449093" y="215186"/>
                  </a:lnTo>
                  <a:lnTo>
                    <a:pt x="447837" y="220988"/>
                  </a:lnTo>
                  <a:close/>
                  <a:moveTo>
                    <a:pt x="441258" y="212674"/>
                  </a:moveTo>
                  <a:lnTo>
                    <a:pt x="438327" y="206634"/>
                  </a:lnTo>
                  <a:lnTo>
                    <a:pt x="443531" y="206993"/>
                  </a:lnTo>
                  <a:lnTo>
                    <a:pt x="445265" y="212973"/>
                  </a:lnTo>
                  <a:lnTo>
                    <a:pt x="441258" y="212674"/>
                  </a:lnTo>
                  <a:close/>
                  <a:moveTo>
                    <a:pt x="440899" y="212734"/>
                  </a:moveTo>
                  <a:lnTo>
                    <a:pt x="437012" y="214050"/>
                  </a:lnTo>
                  <a:lnTo>
                    <a:pt x="432825" y="208368"/>
                  </a:lnTo>
                  <a:lnTo>
                    <a:pt x="437909" y="206694"/>
                  </a:lnTo>
                  <a:lnTo>
                    <a:pt x="440899" y="212734"/>
                  </a:lnTo>
                  <a:close/>
                  <a:moveTo>
                    <a:pt x="436653" y="214229"/>
                  </a:moveTo>
                  <a:lnTo>
                    <a:pt x="433483" y="216921"/>
                  </a:lnTo>
                  <a:lnTo>
                    <a:pt x="428339" y="212017"/>
                  </a:lnTo>
                  <a:lnTo>
                    <a:pt x="432466" y="208548"/>
                  </a:lnTo>
                  <a:lnTo>
                    <a:pt x="436653" y="214229"/>
                  </a:lnTo>
                  <a:close/>
                  <a:moveTo>
                    <a:pt x="433244" y="217160"/>
                  </a:moveTo>
                  <a:lnTo>
                    <a:pt x="431271" y="220808"/>
                  </a:lnTo>
                  <a:lnTo>
                    <a:pt x="425529" y="217040"/>
                  </a:lnTo>
                  <a:lnTo>
                    <a:pt x="428041" y="212316"/>
                  </a:lnTo>
                  <a:lnTo>
                    <a:pt x="433244" y="217160"/>
                  </a:lnTo>
                  <a:close/>
                  <a:moveTo>
                    <a:pt x="431211" y="221167"/>
                  </a:moveTo>
                  <a:lnTo>
                    <a:pt x="430792" y="225174"/>
                  </a:lnTo>
                  <a:lnTo>
                    <a:pt x="424990" y="222662"/>
                  </a:lnTo>
                  <a:lnTo>
                    <a:pt x="425529" y="217399"/>
                  </a:lnTo>
                  <a:lnTo>
                    <a:pt x="431211" y="221167"/>
                  </a:lnTo>
                  <a:close/>
                  <a:moveTo>
                    <a:pt x="437789" y="227028"/>
                  </a:moveTo>
                  <a:lnTo>
                    <a:pt x="438387" y="228942"/>
                  </a:lnTo>
                  <a:lnTo>
                    <a:pt x="432287" y="229361"/>
                  </a:lnTo>
                  <a:lnTo>
                    <a:pt x="431211" y="225653"/>
                  </a:lnTo>
                  <a:lnTo>
                    <a:pt x="437789" y="227028"/>
                  </a:lnTo>
                  <a:close/>
                  <a:moveTo>
                    <a:pt x="438507" y="229301"/>
                  </a:moveTo>
                  <a:lnTo>
                    <a:pt x="439763" y="230796"/>
                  </a:lnTo>
                  <a:lnTo>
                    <a:pt x="434919" y="232590"/>
                  </a:lnTo>
                  <a:lnTo>
                    <a:pt x="432466" y="229720"/>
                  </a:lnTo>
                  <a:lnTo>
                    <a:pt x="438507" y="229301"/>
                  </a:lnTo>
                  <a:close/>
                  <a:moveTo>
                    <a:pt x="444129" y="227566"/>
                  </a:moveTo>
                  <a:lnTo>
                    <a:pt x="442095" y="231693"/>
                  </a:lnTo>
                  <a:lnTo>
                    <a:pt x="440420" y="230856"/>
                  </a:lnTo>
                  <a:lnTo>
                    <a:pt x="444129" y="227566"/>
                  </a:lnTo>
                  <a:close/>
                  <a:moveTo>
                    <a:pt x="444727" y="231813"/>
                  </a:moveTo>
                  <a:lnTo>
                    <a:pt x="444846" y="227566"/>
                  </a:lnTo>
                  <a:lnTo>
                    <a:pt x="446581" y="231215"/>
                  </a:lnTo>
                  <a:lnTo>
                    <a:pt x="444727" y="231813"/>
                  </a:lnTo>
                  <a:close/>
                  <a:moveTo>
                    <a:pt x="449871" y="225533"/>
                  </a:moveTo>
                  <a:lnTo>
                    <a:pt x="449631" y="227447"/>
                  </a:lnTo>
                  <a:lnTo>
                    <a:pt x="445504" y="226789"/>
                  </a:lnTo>
                  <a:lnTo>
                    <a:pt x="449871" y="225533"/>
                  </a:lnTo>
                  <a:close/>
                  <a:moveTo>
                    <a:pt x="450169" y="224995"/>
                  </a:moveTo>
                  <a:lnTo>
                    <a:pt x="449631" y="223081"/>
                  </a:lnTo>
                  <a:lnTo>
                    <a:pt x="452023" y="218894"/>
                  </a:lnTo>
                  <a:lnTo>
                    <a:pt x="453040" y="222483"/>
                  </a:lnTo>
                  <a:lnTo>
                    <a:pt x="450169" y="224995"/>
                  </a:lnTo>
                  <a:close/>
                  <a:moveTo>
                    <a:pt x="449093" y="214828"/>
                  </a:moveTo>
                  <a:lnTo>
                    <a:pt x="445624" y="213093"/>
                  </a:lnTo>
                  <a:lnTo>
                    <a:pt x="443950" y="207232"/>
                  </a:lnTo>
                  <a:lnTo>
                    <a:pt x="448494" y="209565"/>
                  </a:lnTo>
                  <a:lnTo>
                    <a:pt x="449093" y="214828"/>
                  </a:lnTo>
                  <a:close/>
                  <a:moveTo>
                    <a:pt x="434799" y="202328"/>
                  </a:moveTo>
                  <a:lnTo>
                    <a:pt x="437729" y="206335"/>
                  </a:lnTo>
                  <a:lnTo>
                    <a:pt x="432586" y="208009"/>
                  </a:lnTo>
                  <a:lnTo>
                    <a:pt x="429296" y="204062"/>
                  </a:lnTo>
                  <a:lnTo>
                    <a:pt x="434799" y="202328"/>
                  </a:lnTo>
                  <a:close/>
                  <a:moveTo>
                    <a:pt x="423795" y="208309"/>
                  </a:moveTo>
                  <a:lnTo>
                    <a:pt x="423256" y="212973"/>
                  </a:lnTo>
                  <a:lnTo>
                    <a:pt x="419787" y="212495"/>
                  </a:lnTo>
                  <a:lnTo>
                    <a:pt x="423795" y="208309"/>
                  </a:lnTo>
                  <a:close/>
                  <a:moveTo>
                    <a:pt x="419309" y="212435"/>
                  </a:moveTo>
                  <a:lnTo>
                    <a:pt x="418292" y="212316"/>
                  </a:lnTo>
                  <a:lnTo>
                    <a:pt x="435995" y="193895"/>
                  </a:lnTo>
                  <a:lnTo>
                    <a:pt x="436653" y="194433"/>
                  </a:lnTo>
                  <a:lnTo>
                    <a:pt x="419309" y="212435"/>
                  </a:lnTo>
                  <a:close/>
                  <a:moveTo>
                    <a:pt x="417395" y="211897"/>
                  </a:moveTo>
                  <a:lnTo>
                    <a:pt x="435337" y="193237"/>
                  </a:lnTo>
                  <a:lnTo>
                    <a:pt x="435756" y="193596"/>
                  </a:lnTo>
                  <a:lnTo>
                    <a:pt x="417873" y="212196"/>
                  </a:lnTo>
                  <a:lnTo>
                    <a:pt x="417395" y="212136"/>
                  </a:lnTo>
                  <a:lnTo>
                    <a:pt x="417395" y="211897"/>
                  </a:lnTo>
                  <a:close/>
                  <a:moveTo>
                    <a:pt x="436234" y="192519"/>
                  </a:moveTo>
                  <a:lnTo>
                    <a:pt x="436593" y="192818"/>
                  </a:lnTo>
                  <a:lnTo>
                    <a:pt x="435995" y="193357"/>
                  </a:lnTo>
                  <a:lnTo>
                    <a:pt x="435576" y="192998"/>
                  </a:lnTo>
                  <a:lnTo>
                    <a:pt x="436234" y="192519"/>
                  </a:lnTo>
                  <a:close/>
                  <a:moveTo>
                    <a:pt x="437430" y="192639"/>
                  </a:moveTo>
                  <a:lnTo>
                    <a:pt x="437729" y="192878"/>
                  </a:lnTo>
                  <a:lnTo>
                    <a:pt x="437550" y="193237"/>
                  </a:lnTo>
                  <a:lnTo>
                    <a:pt x="437072" y="192878"/>
                  </a:lnTo>
                  <a:lnTo>
                    <a:pt x="437430" y="192639"/>
                  </a:lnTo>
                  <a:close/>
                  <a:moveTo>
                    <a:pt x="436832" y="193058"/>
                  </a:moveTo>
                  <a:lnTo>
                    <a:pt x="437370" y="193536"/>
                  </a:lnTo>
                  <a:lnTo>
                    <a:pt x="436832" y="194134"/>
                  </a:lnTo>
                  <a:lnTo>
                    <a:pt x="436234" y="193596"/>
                  </a:lnTo>
                  <a:lnTo>
                    <a:pt x="436832" y="193058"/>
                  </a:lnTo>
                  <a:close/>
                  <a:moveTo>
                    <a:pt x="437012" y="192280"/>
                  </a:moveTo>
                  <a:lnTo>
                    <a:pt x="437132" y="192400"/>
                  </a:lnTo>
                  <a:lnTo>
                    <a:pt x="436832" y="192639"/>
                  </a:lnTo>
                  <a:lnTo>
                    <a:pt x="436593" y="192400"/>
                  </a:lnTo>
                  <a:lnTo>
                    <a:pt x="437012" y="192280"/>
                  </a:lnTo>
                  <a:close/>
                  <a:moveTo>
                    <a:pt x="435756" y="192101"/>
                  </a:moveTo>
                  <a:lnTo>
                    <a:pt x="435935" y="192280"/>
                  </a:lnTo>
                  <a:lnTo>
                    <a:pt x="435277" y="192818"/>
                  </a:lnTo>
                  <a:lnTo>
                    <a:pt x="435098" y="192639"/>
                  </a:lnTo>
                  <a:lnTo>
                    <a:pt x="435756" y="192101"/>
                  </a:lnTo>
                  <a:close/>
                  <a:moveTo>
                    <a:pt x="437191" y="194373"/>
                  </a:moveTo>
                  <a:lnTo>
                    <a:pt x="437729" y="193775"/>
                  </a:lnTo>
                  <a:lnTo>
                    <a:pt x="446103" y="200534"/>
                  </a:lnTo>
                  <a:lnTo>
                    <a:pt x="445564" y="201132"/>
                  </a:lnTo>
                  <a:lnTo>
                    <a:pt x="437191" y="194373"/>
                  </a:lnTo>
                  <a:close/>
                  <a:moveTo>
                    <a:pt x="446281" y="200235"/>
                  </a:moveTo>
                  <a:lnTo>
                    <a:pt x="437849" y="193417"/>
                  </a:lnTo>
                  <a:lnTo>
                    <a:pt x="438028" y="193058"/>
                  </a:lnTo>
                  <a:lnTo>
                    <a:pt x="446521" y="199936"/>
                  </a:lnTo>
                  <a:lnTo>
                    <a:pt x="446281" y="200235"/>
                  </a:lnTo>
                  <a:close/>
                  <a:moveTo>
                    <a:pt x="436234" y="192101"/>
                  </a:moveTo>
                  <a:lnTo>
                    <a:pt x="436234" y="192101"/>
                  </a:lnTo>
                  <a:lnTo>
                    <a:pt x="436533" y="192041"/>
                  </a:lnTo>
                  <a:lnTo>
                    <a:pt x="436234" y="192101"/>
                  </a:lnTo>
                  <a:close/>
                  <a:moveTo>
                    <a:pt x="434859" y="192340"/>
                  </a:moveTo>
                  <a:lnTo>
                    <a:pt x="416677" y="173561"/>
                  </a:lnTo>
                  <a:lnTo>
                    <a:pt x="417395" y="173202"/>
                  </a:lnTo>
                  <a:lnTo>
                    <a:pt x="435576" y="191802"/>
                  </a:lnTo>
                  <a:lnTo>
                    <a:pt x="434859" y="192340"/>
                  </a:lnTo>
                  <a:close/>
                  <a:moveTo>
                    <a:pt x="434799" y="192818"/>
                  </a:moveTo>
                  <a:lnTo>
                    <a:pt x="434979" y="192998"/>
                  </a:lnTo>
                  <a:lnTo>
                    <a:pt x="417455" y="211239"/>
                  </a:lnTo>
                  <a:lnTo>
                    <a:pt x="417515" y="210761"/>
                  </a:lnTo>
                  <a:lnTo>
                    <a:pt x="434799" y="192818"/>
                  </a:lnTo>
                  <a:close/>
                  <a:moveTo>
                    <a:pt x="417215" y="212914"/>
                  </a:moveTo>
                  <a:lnTo>
                    <a:pt x="417275" y="212495"/>
                  </a:lnTo>
                  <a:lnTo>
                    <a:pt x="423196" y="213273"/>
                  </a:lnTo>
                  <a:lnTo>
                    <a:pt x="423136" y="213691"/>
                  </a:lnTo>
                  <a:lnTo>
                    <a:pt x="417215" y="212914"/>
                  </a:lnTo>
                  <a:close/>
                  <a:moveTo>
                    <a:pt x="423615" y="213213"/>
                  </a:moveTo>
                  <a:lnTo>
                    <a:pt x="423615" y="213213"/>
                  </a:lnTo>
                  <a:lnTo>
                    <a:pt x="423615" y="213213"/>
                  </a:lnTo>
                  <a:lnTo>
                    <a:pt x="424213" y="208249"/>
                  </a:lnTo>
                  <a:lnTo>
                    <a:pt x="427861" y="212017"/>
                  </a:lnTo>
                  <a:lnTo>
                    <a:pt x="425290" y="216801"/>
                  </a:lnTo>
                  <a:lnTo>
                    <a:pt x="423376" y="215067"/>
                  </a:lnTo>
                  <a:lnTo>
                    <a:pt x="423615" y="213213"/>
                  </a:lnTo>
                  <a:close/>
                  <a:moveTo>
                    <a:pt x="430792" y="225533"/>
                  </a:moveTo>
                  <a:lnTo>
                    <a:pt x="431928" y="229301"/>
                  </a:lnTo>
                  <a:lnTo>
                    <a:pt x="426546" y="227985"/>
                  </a:lnTo>
                  <a:lnTo>
                    <a:pt x="425050" y="223081"/>
                  </a:lnTo>
                  <a:lnTo>
                    <a:pt x="430792" y="225533"/>
                  </a:lnTo>
                  <a:close/>
                  <a:moveTo>
                    <a:pt x="432047" y="229720"/>
                  </a:moveTo>
                  <a:lnTo>
                    <a:pt x="434440" y="232590"/>
                  </a:lnTo>
                  <a:lnTo>
                    <a:pt x="430014" y="232172"/>
                  </a:lnTo>
                  <a:lnTo>
                    <a:pt x="426844" y="228404"/>
                  </a:lnTo>
                  <a:lnTo>
                    <a:pt x="432047" y="229720"/>
                  </a:lnTo>
                  <a:close/>
                  <a:moveTo>
                    <a:pt x="440062" y="231095"/>
                  </a:moveTo>
                  <a:lnTo>
                    <a:pt x="441796" y="231992"/>
                  </a:lnTo>
                  <a:lnTo>
                    <a:pt x="438627" y="234564"/>
                  </a:lnTo>
                  <a:lnTo>
                    <a:pt x="435277" y="232889"/>
                  </a:lnTo>
                  <a:lnTo>
                    <a:pt x="440062" y="231095"/>
                  </a:lnTo>
                  <a:close/>
                  <a:moveTo>
                    <a:pt x="443411" y="234684"/>
                  </a:moveTo>
                  <a:lnTo>
                    <a:pt x="444667" y="232231"/>
                  </a:lnTo>
                  <a:lnTo>
                    <a:pt x="446641" y="231574"/>
                  </a:lnTo>
                  <a:lnTo>
                    <a:pt x="446999" y="233487"/>
                  </a:lnTo>
                  <a:lnTo>
                    <a:pt x="443411" y="234684"/>
                  </a:lnTo>
                  <a:close/>
                  <a:moveTo>
                    <a:pt x="446880" y="231035"/>
                  </a:moveTo>
                  <a:lnTo>
                    <a:pt x="445145" y="227387"/>
                  </a:lnTo>
                  <a:lnTo>
                    <a:pt x="448375" y="229779"/>
                  </a:lnTo>
                  <a:lnTo>
                    <a:pt x="446880" y="231035"/>
                  </a:lnTo>
                  <a:close/>
                  <a:moveTo>
                    <a:pt x="445385" y="227088"/>
                  </a:moveTo>
                  <a:lnTo>
                    <a:pt x="449511" y="227746"/>
                  </a:lnTo>
                  <a:lnTo>
                    <a:pt x="448554" y="229480"/>
                  </a:lnTo>
                  <a:lnTo>
                    <a:pt x="445385" y="227088"/>
                  </a:lnTo>
                  <a:close/>
                  <a:moveTo>
                    <a:pt x="450049" y="227387"/>
                  </a:moveTo>
                  <a:lnTo>
                    <a:pt x="450289" y="225354"/>
                  </a:lnTo>
                  <a:lnTo>
                    <a:pt x="453040" y="222961"/>
                  </a:lnTo>
                  <a:lnTo>
                    <a:pt x="452861" y="224756"/>
                  </a:lnTo>
                  <a:cubicBezTo>
                    <a:pt x="452861" y="224756"/>
                    <a:pt x="452861" y="224756"/>
                    <a:pt x="452861" y="224756"/>
                  </a:cubicBezTo>
                  <a:lnTo>
                    <a:pt x="452621" y="226669"/>
                  </a:lnTo>
                  <a:lnTo>
                    <a:pt x="450049" y="227387"/>
                  </a:lnTo>
                  <a:close/>
                  <a:moveTo>
                    <a:pt x="452322" y="213631"/>
                  </a:moveTo>
                  <a:cubicBezTo>
                    <a:pt x="452322" y="213631"/>
                    <a:pt x="452322" y="213631"/>
                    <a:pt x="452322" y="213631"/>
                  </a:cubicBezTo>
                  <a:cubicBezTo>
                    <a:pt x="452322" y="213631"/>
                    <a:pt x="452322" y="213631"/>
                    <a:pt x="452322" y="213631"/>
                  </a:cubicBezTo>
                  <a:cubicBezTo>
                    <a:pt x="452322" y="213631"/>
                    <a:pt x="452322" y="213631"/>
                    <a:pt x="452322" y="213631"/>
                  </a:cubicBezTo>
                  <a:cubicBezTo>
                    <a:pt x="452322" y="213572"/>
                    <a:pt x="452322" y="213572"/>
                    <a:pt x="452322" y="213631"/>
                  </a:cubicBezTo>
                  <a:lnTo>
                    <a:pt x="450109" y="209744"/>
                  </a:lnTo>
                  <a:cubicBezTo>
                    <a:pt x="450109" y="209744"/>
                    <a:pt x="450109" y="209744"/>
                    <a:pt x="450049" y="209684"/>
                  </a:cubicBezTo>
                  <a:lnTo>
                    <a:pt x="449691" y="209325"/>
                  </a:lnTo>
                  <a:lnTo>
                    <a:pt x="451844" y="206694"/>
                  </a:lnTo>
                  <a:lnTo>
                    <a:pt x="458363" y="211957"/>
                  </a:lnTo>
                  <a:lnTo>
                    <a:pt x="453757" y="218715"/>
                  </a:lnTo>
                  <a:lnTo>
                    <a:pt x="452322" y="213631"/>
                  </a:lnTo>
                  <a:close/>
                  <a:moveTo>
                    <a:pt x="453100" y="205258"/>
                  </a:moveTo>
                  <a:lnTo>
                    <a:pt x="459260" y="210222"/>
                  </a:lnTo>
                  <a:lnTo>
                    <a:pt x="459140" y="210581"/>
                  </a:lnTo>
                  <a:lnTo>
                    <a:pt x="452861" y="205498"/>
                  </a:lnTo>
                  <a:lnTo>
                    <a:pt x="453100" y="205258"/>
                  </a:lnTo>
                  <a:close/>
                  <a:moveTo>
                    <a:pt x="452681" y="205856"/>
                  </a:moveTo>
                  <a:lnTo>
                    <a:pt x="459080" y="211000"/>
                  </a:lnTo>
                  <a:lnTo>
                    <a:pt x="458662" y="211718"/>
                  </a:lnTo>
                  <a:lnTo>
                    <a:pt x="452143" y="206455"/>
                  </a:lnTo>
                  <a:lnTo>
                    <a:pt x="452681" y="205856"/>
                  </a:lnTo>
                  <a:close/>
                  <a:moveTo>
                    <a:pt x="459499" y="210940"/>
                  </a:moveTo>
                  <a:lnTo>
                    <a:pt x="459559" y="210581"/>
                  </a:lnTo>
                  <a:lnTo>
                    <a:pt x="459978" y="211060"/>
                  </a:lnTo>
                  <a:lnTo>
                    <a:pt x="459918" y="211359"/>
                  </a:lnTo>
                  <a:lnTo>
                    <a:pt x="459499" y="210940"/>
                  </a:lnTo>
                  <a:close/>
                  <a:moveTo>
                    <a:pt x="458961" y="211957"/>
                  </a:moveTo>
                  <a:lnTo>
                    <a:pt x="459380" y="211299"/>
                  </a:lnTo>
                  <a:lnTo>
                    <a:pt x="459858" y="211777"/>
                  </a:lnTo>
                  <a:lnTo>
                    <a:pt x="459499" y="212375"/>
                  </a:lnTo>
                  <a:lnTo>
                    <a:pt x="458961" y="211957"/>
                  </a:lnTo>
                  <a:close/>
                  <a:moveTo>
                    <a:pt x="453579" y="204122"/>
                  </a:moveTo>
                  <a:lnTo>
                    <a:pt x="452442" y="205498"/>
                  </a:lnTo>
                  <a:lnTo>
                    <a:pt x="452442" y="205498"/>
                  </a:lnTo>
                  <a:cubicBezTo>
                    <a:pt x="452442" y="205498"/>
                    <a:pt x="452442" y="205498"/>
                    <a:pt x="452442" y="205498"/>
                  </a:cubicBezTo>
                  <a:lnTo>
                    <a:pt x="449451" y="209146"/>
                  </a:lnTo>
                  <a:lnTo>
                    <a:pt x="447418" y="207112"/>
                  </a:lnTo>
                  <a:cubicBezTo>
                    <a:pt x="447418" y="207112"/>
                    <a:pt x="447358" y="207053"/>
                    <a:pt x="447358" y="207053"/>
                  </a:cubicBezTo>
                  <a:cubicBezTo>
                    <a:pt x="447358" y="207053"/>
                    <a:pt x="447298" y="206993"/>
                    <a:pt x="447298" y="206993"/>
                  </a:cubicBezTo>
                  <a:lnTo>
                    <a:pt x="444488" y="204959"/>
                  </a:lnTo>
                  <a:lnTo>
                    <a:pt x="449511" y="198799"/>
                  </a:lnTo>
                  <a:lnTo>
                    <a:pt x="453579" y="204122"/>
                  </a:lnTo>
                  <a:close/>
                  <a:moveTo>
                    <a:pt x="447179" y="207232"/>
                  </a:moveTo>
                  <a:cubicBezTo>
                    <a:pt x="447179" y="207232"/>
                    <a:pt x="447179" y="207232"/>
                    <a:pt x="447179" y="207232"/>
                  </a:cubicBezTo>
                  <a:lnTo>
                    <a:pt x="447179" y="207232"/>
                  </a:lnTo>
                  <a:lnTo>
                    <a:pt x="448196" y="208966"/>
                  </a:lnTo>
                  <a:lnTo>
                    <a:pt x="443830" y="206694"/>
                  </a:lnTo>
                  <a:lnTo>
                    <a:pt x="441617" y="203225"/>
                  </a:lnTo>
                  <a:lnTo>
                    <a:pt x="447179" y="207232"/>
                  </a:lnTo>
                  <a:close/>
                  <a:moveTo>
                    <a:pt x="441018" y="202388"/>
                  </a:moveTo>
                  <a:cubicBezTo>
                    <a:pt x="441018" y="202388"/>
                    <a:pt x="441018" y="202388"/>
                    <a:pt x="441018" y="202388"/>
                  </a:cubicBezTo>
                  <a:cubicBezTo>
                    <a:pt x="441018" y="202388"/>
                    <a:pt x="440959" y="202388"/>
                    <a:pt x="441018" y="202388"/>
                  </a:cubicBezTo>
                  <a:cubicBezTo>
                    <a:pt x="440959" y="202388"/>
                    <a:pt x="440959" y="202388"/>
                    <a:pt x="440959" y="202328"/>
                  </a:cubicBezTo>
                  <a:cubicBezTo>
                    <a:pt x="440959" y="202328"/>
                    <a:pt x="440959" y="202328"/>
                    <a:pt x="440959" y="202328"/>
                  </a:cubicBezTo>
                  <a:lnTo>
                    <a:pt x="434919" y="201909"/>
                  </a:lnTo>
                  <a:cubicBezTo>
                    <a:pt x="434919" y="201909"/>
                    <a:pt x="434859" y="201909"/>
                    <a:pt x="434859" y="201909"/>
                  </a:cubicBezTo>
                  <a:cubicBezTo>
                    <a:pt x="434859" y="201909"/>
                    <a:pt x="434859" y="201909"/>
                    <a:pt x="434859" y="201909"/>
                  </a:cubicBezTo>
                  <a:lnTo>
                    <a:pt x="434859" y="201909"/>
                  </a:lnTo>
                  <a:lnTo>
                    <a:pt x="434859" y="201909"/>
                  </a:lnTo>
                  <a:lnTo>
                    <a:pt x="428998" y="203823"/>
                  </a:lnTo>
                  <a:cubicBezTo>
                    <a:pt x="428998" y="203823"/>
                    <a:pt x="428998" y="203823"/>
                    <a:pt x="428998" y="203823"/>
                  </a:cubicBezTo>
                  <a:cubicBezTo>
                    <a:pt x="428998" y="203823"/>
                    <a:pt x="428998" y="203823"/>
                    <a:pt x="428938" y="203823"/>
                  </a:cubicBezTo>
                  <a:lnTo>
                    <a:pt x="425768" y="206275"/>
                  </a:lnTo>
                  <a:lnTo>
                    <a:pt x="436952" y="194613"/>
                  </a:lnTo>
                  <a:lnTo>
                    <a:pt x="445325" y="201371"/>
                  </a:lnTo>
                  <a:lnTo>
                    <a:pt x="443232" y="203943"/>
                  </a:lnTo>
                  <a:lnTo>
                    <a:pt x="441018" y="202388"/>
                  </a:lnTo>
                  <a:close/>
                  <a:moveTo>
                    <a:pt x="435875" y="191682"/>
                  </a:moveTo>
                  <a:lnTo>
                    <a:pt x="417814" y="173202"/>
                  </a:lnTo>
                  <a:lnTo>
                    <a:pt x="418352" y="173202"/>
                  </a:lnTo>
                  <a:lnTo>
                    <a:pt x="436414" y="191682"/>
                  </a:lnTo>
                  <a:lnTo>
                    <a:pt x="435875" y="191682"/>
                  </a:lnTo>
                  <a:close/>
                  <a:moveTo>
                    <a:pt x="395386" y="204780"/>
                  </a:moveTo>
                  <a:lnTo>
                    <a:pt x="387192" y="195091"/>
                  </a:lnTo>
                  <a:lnTo>
                    <a:pt x="387671" y="194613"/>
                  </a:lnTo>
                  <a:lnTo>
                    <a:pt x="396402" y="204899"/>
                  </a:lnTo>
                  <a:lnTo>
                    <a:pt x="395386" y="204780"/>
                  </a:lnTo>
                  <a:close/>
                  <a:moveTo>
                    <a:pt x="414404" y="219672"/>
                  </a:moveTo>
                  <a:lnTo>
                    <a:pt x="417096" y="213273"/>
                  </a:lnTo>
                  <a:lnTo>
                    <a:pt x="423076" y="214110"/>
                  </a:lnTo>
                  <a:lnTo>
                    <a:pt x="422957" y="215127"/>
                  </a:lnTo>
                  <a:lnTo>
                    <a:pt x="422957" y="215127"/>
                  </a:lnTo>
                  <a:lnTo>
                    <a:pt x="422299" y="220748"/>
                  </a:lnTo>
                  <a:lnTo>
                    <a:pt x="414404" y="219672"/>
                  </a:lnTo>
                  <a:close/>
                  <a:moveTo>
                    <a:pt x="424571" y="222842"/>
                  </a:moveTo>
                  <a:lnTo>
                    <a:pt x="426007" y="227626"/>
                  </a:lnTo>
                  <a:lnTo>
                    <a:pt x="422598" y="225174"/>
                  </a:lnTo>
                  <a:lnTo>
                    <a:pt x="422658" y="221346"/>
                  </a:lnTo>
                  <a:lnTo>
                    <a:pt x="424571" y="222842"/>
                  </a:lnTo>
                  <a:close/>
                  <a:moveTo>
                    <a:pt x="426246" y="228224"/>
                  </a:moveTo>
                  <a:lnTo>
                    <a:pt x="428938" y="231454"/>
                  </a:lnTo>
                  <a:lnTo>
                    <a:pt x="426366" y="229660"/>
                  </a:lnTo>
                  <a:lnTo>
                    <a:pt x="423495" y="226251"/>
                  </a:lnTo>
                  <a:lnTo>
                    <a:pt x="426246" y="228224"/>
                  </a:lnTo>
                  <a:close/>
                  <a:moveTo>
                    <a:pt x="434859" y="233009"/>
                  </a:moveTo>
                  <a:lnTo>
                    <a:pt x="438028" y="234564"/>
                  </a:lnTo>
                  <a:lnTo>
                    <a:pt x="434979" y="234624"/>
                  </a:lnTo>
                  <a:lnTo>
                    <a:pt x="430911" y="232590"/>
                  </a:lnTo>
                  <a:lnTo>
                    <a:pt x="434859" y="233009"/>
                  </a:lnTo>
                  <a:close/>
                  <a:moveTo>
                    <a:pt x="440062" y="235341"/>
                  </a:moveTo>
                  <a:lnTo>
                    <a:pt x="441437" y="238990"/>
                  </a:lnTo>
                  <a:lnTo>
                    <a:pt x="441258" y="238810"/>
                  </a:lnTo>
                  <a:lnTo>
                    <a:pt x="439942" y="235341"/>
                  </a:lnTo>
                  <a:lnTo>
                    <a:pt x="440062" y="235341"/>
                  </a:lnTo>
                  <a:close/>
                  <a:moveTo>
                    <a:pt x="440899" y="238810"/>
                  </a:moveTo>
                  <a:lnTo>
                    <a:pt x="440420" y="238990"/>
                  </a:lnTo>
                  <a:lnTo>
                    <a:pt x="440780" y="238511"/>
                  </a:lnTo>
                  <a:lnTo>
                    <a:pt x="440899" y="238810"/>
                  </a:lnTo>
                  <a:close/>
                  <a:moveTo>
                    <a:pt x="441078" y="239109"/>
                  </a:moveTo>
                  <a:lnTo>
                    <a:pt x="441677" y="239827"/>
                  </a:lnTo>
                  <a:lnTo>
                    <a:pt x="438865" y="242578"/>
                  </a:lnTo>
                  <a:lnTo>
                    <a:pt x="437132" y="240545"/>
                  </a:lnTo>
                  <a:lnTo>
                    <a:pt x="441078" y="239109"/>
                  </a:lnTo>
                  <a:close/>
                  <a:moveTo>
                    <a:pt x="439285" y="242698"/>
                  </a:moveTo>
                  <a:lnTo>
                    <a:pt x="441976" y="240066"/>
                  </a:lnTo>
                  <a:lnTo>
                    <a:pt x="448973" y="238990"/>
                  </a:lnTo>
                  <a:lnTo>
                    <a:pt x="462609" y="244313"/>
                  </a:lnTo>
                  <a:lnTo>
                    <a:pt x="439285" y="242698"/>
                  </a:lnTo>
                  <a:close/>
                  <a:moveTo>
                    <a:pt x="447358" y="233308"/>
                  </a:moveTo>
                  <a:lnTo>
                    <a:pt x="446999" y="231454"/>
                  </a:lnTo>
                  <a:lnTo>
                    <a:pt x="448674" y="230019"/>
                  </a:lnTo>
                  <a:lnTo>
                    <a:pt x="450289" y="230856"/>
                  </a:lnTo>
                  <a:lnTo>
                    <a:pt x="447358" y="233308"/>
                  </a:lnTo>
                  <a:close/>
                  <a:moveTo>
                    <a:pt x="448913" y="229720"/>
                  </a:moveTo>
                  <a:lnTo>
                    <a:pt x="449930" y="227806"/>
                  </a:lnTo>
                  <a:lnTo>
                    <a:pt x="452382" y="227148"/>
                  </a:lnTo>
                  <a:lnTo>
                    <a:pt x="450528" y="230497"/>
                  </a:lnTo>
                  <a:lnTo>
                    <a:pt x="448913" y="229720"/>
                  </a:lnTo>
                  <a:close/>
                  <a:moveTo>
                    <a:pt x="453877" y="219313"/>
                  </a:moveTo>
                  <a:lnTo>
                    <a:pt x="458722" y="212196"/>
                  </a:lnTo>
                  <a:lnTo>
                    <a:pt x="459200" y="212615"/>
                  </a:lnTo>
                  <a:lnTo>
                    <a:pt x="453698" y="220689"/>
                  </a:lnTo>
                  <a:lnTo>
                    <a:pt x="453877" y="219313"/>
                  </a:lnTo>
                  <a:close/>
                  <a:moveTo>
                    <a:pt x="459738" y="212555"/>
                  </a:moveTo>
                  <a:lnTo>
                    <a:pt x="459918" y="212196"/>
                  </a:lnTo>
                  <a:lnTo>
                    <a:pt x="459918" y="212196"/>
                  </a:lnTo>
                  <a:lnTo>
                    <a:pt x="459738" y="212555"/>
                  </a:lnTo>
                  <a:lnTo>
                    <a:pt x="459738" y="212555"/>
                  </a:lnTo>
                  <a:close/>
                  <a:moveTo>
                    <a:pt x="453519" y="204780"/>
                  </a:moveTo>
                  <a:lnTo>
                    <a:pt x="453817" y="204421"/>
                  </a:lnTo>
                  <a:lnTo>
                    <a:pt x="456927" y="207591"/>
                  </a:lnTo>
                  <a:lnTo>
                    <a:pt x="453519" y="204780"/>
                  </a:lnTo>
                  <a:close/>
                  <a:moveTo>
                    <a:pt x="453937" y="204002"/>
                  </a:moveTo>
                  <a:lnTo>
                    <a:pt x="449751" y="198381"/>
                  </a:lnTo>
                  <a:lnTo>
                    <a:pt x="448016" y="182711"/>
                  </a:lnTo>
                  <a:lnTo>
                    <a:pt x="457825" y="206335"/>
                  </a:lnTo>
                  <a:lnTo>
                    <a:pt x="453937" y="204002"/>
                  </a:lnTo>
                  <a:close/>
                  <a:moveTo>
                    <a:pt x="447538" y="181575"/>
                  </a:moveTo>
                  <a:lnTo>
                    <a:pt x="449332" y="197962"/>
                  </a:lnTo>
                  <a:lnTo>
                    <a:pt x="448913" y="197543"/>
                  </a:lnTo>
                  <a:lnTo>
                    <a:pt x="447478" y="181515"/>
                  </a:lnTo>
                  <a:lnTo>
                    <a:pt x="447538" y="181575"/>
                  </a:lnTo>
                  <a:close/>
                  <a:moveTo>
                    <a:pt x="449332" y="198440"/>
                  </a:moveTo>
                  <a:lnTo>
                    <a:pt x="444248" y="204660"/>
                  </a:lnTo>
                  <a:lnTo>
                    <a:pt x="443590" y="204182"/>
                  </a:lnTo>
                  <a:lnTo>
                    <a:pt x="445803" y="201491"/>
                  </a:lnTo>
                  <a:cubicBezTo>
                    <a:pt x="445803" y="201491"/>
                    <a:pt x="445803" y="201491"/>
                    <a:pt x="445803" y="201491"/>
                  </a:cubicBezTo>
                  <a:cubicBezTo>
                    <a:pt x="445803" y="201491"/>
                    <a:pt x="445803" y="201491"/>
                    <a:pt x="445803" y="201491"/>
                  </a:cubicBezTo>
                  <a:lnTo>
                    <a:pt x="446521" y="200593"/>
                  </a:lnTo>
                  <a:cubicBezTo>
                    <a:pt x="446521" y="200593"/>
                    <a:pt x="446521" y="200593"/>
                    <a:pt x="446521" y="200593"/>
                  </a:cubicBezTo>
                  <a:cubicBezTo>
                    <a:pt x="446521" y="200593"/>
                    <a:pt x="446521" y="200593"/>
                    <a:pt x="446521" y="200593"/>
                  </a:cubicBezTo>
                  <a:lnTo>
                    <a:pt x="447179" y="199816"/>
                  </a:lnTo>
                  <a:cubicBezTo>
                    <a:pt x="447179" y="199816"/>
                    <a:pt x="447179" y="199816"/>
                    <a:pt x="447179" y="199816"/>
                  </a:cubicBezTo>
                  <a:cubicBezTo>
                    <a:pt x="447179" y="199816"/>
                    <a:pt x="447179" y="199816"/>
                    <a:pt x="447179" y="199816"/>
                  </a:cubicBezTo>
                  <a:lnTo>
                    <a:pt x="448794" y="197842"/>
                  </a:lnTo>
                  <a:lnTo>
                    <a:pt x="449332" y="198440"/>
                  </a:lnTo>
                  <a:close/>
                  <a:moveTo>
                    <a:pt x="415541" y="207411"/>
                  </a:moveTo>
                  <a:lnTo>
                    <a:pt x="417155" y="209265"/>
                  </a:lnTo>
                  <a:lnTo>
                    <a:pt x="395805" y="206873"/>
                  </a:lnTo>
                  <a:lnTo>
                    <a:pt x="394249" y="205019"/>
                  </a:lnTo>
                  <a:lnTo>
                    <a:pt x="415541" y="207411"/>
                  </a:lnTo>
                  <a:close/>
                  <a:moveTo>
                    <a:pt x="393771" y="204959"/>
                  </a:moveTo>
                  <a:lnTo>
                    <a:pt x="395326" y="206813"/>
                  </a:lnTo>
                  <a:lnTo>
                    <a:pt x="373795" y="204361"/>
                  </a:lnTo>
                  <a:lnTo>
                    <a:pt x="372360" y="202567"/>
                  </a:lnTo>
                  <a:lnTo>
                    <a:pt x="393771" y="204959"/>
                  </a:lnTo>
                  <a:close/>
                  <a:moveTo>
                    <a:pt x="371822" y="202447"/>
                  </a:moveTo>
                  <a:lnTo>
                    <a:pt x="373257" y="204301"/>
                  </a:lnTo>
                  <a:lnTo>
                    <a:pt x="351487" y="201849"/>
                  </a:lnTo>
                  <a:lnTo>
                    <a:pt x="350112" y="199995"/>
                  </a:lnTo>
                  <a:lnTo>
                    <a:pt x="371822" y="202447"/>
                  </a:lnTo>
                  <a:close/>
                  <a:moveTo>
                    <a:pt x="349693" y="199936"/>
                  </a:moveTo>
                  <a:lnTo>
                    <a:pt x="351069" y="201790"/>
                  </a:lnTo>
                  <a:lnTo>
                    <a:pt x="329119" y="199278"/>
                  </a:lnTo>
                  <a:lnTo>
                    <a:pt x="327864" y="197483"/>
                  </a:lnTo>
                  <a:lnTo>
                    <a:pt x="349693" y="199936"/>
                  </a:lnTo>
                  <a:close/>
                  <a:moveTo>
                    <a:pt x="327326" y="197424"/>
                  </a:moveTo>
                  <a:lnTo>
                    <a:pt x="328581" y="199218"/>
                  </a:lnTo>
                  <a:lnTo>
                    <a:pt x="306393" y="196706"/>
                  </a:lnTo>
                  <a:lnTo>
                    <a:pt x="305196" y="194912"/>
                  </a:lnTo>
                  <a:lnTo>
                    <a:pt x="327326" y="197424"/>
                  </a:lnTo>
                  <a:close/>
                  <a:moveTo>
                    <a:pt x="304778" y="194852"/>
                  </a:moveTo>
                  <a:lnTo>
                    <a:pt x="305974" y="196646"/>
                  </a:lnTo>
                  <a:lnTo>
                    <a:pt x="283546" y="194134"/>
                  </a:lnTo>
                  <a:lnTo>
                    <a:pt x="282470" y="192340"/>
                  </a:lnTo>
                  <a:lnTo>
                    <a:pt x="304778" y="194852"/>
                  </a:lnTo>
                  <a:close/>
                  <a:moveTo>
                    <a:pt x="282051" y="192280"/>
                  </a:moveTo>
                  <a:lnTo>
                    <a:pt x="283128" y="194074"/>
                  </a:lnTo>
                  <a:lnTo>
                    <a:pt x="260521" y="191503"/>
                  </a:lnTo>
                  <a:lnTo>
                    <a:pt x="259564" y="189708"/>
                  </a:lnTo>
                  <a:lnTo>
                    <a:pt x="282051" y="192280"/>
                  </a:lnTo>
                  <a:close/>
                  <a:moveTo>
                    <a:pt x="259085" y="189649"/>
                  </a:moveTo>
                  <a:lnTo>
                    <a:pt x="260042" y="191443"/>
                  </a:lnTo>
                  <a:lnTo>
                    <a:pt x="237196" y="188871"/>
                  </a:lnTo>
                  <a:lnTo>
                    <a:pt x="236298" y="187077"/>
                  </a:lnTo>
                  <a:lnTo>
                    <a:pt x="259085" y="189649"/>
                  </a:lnTo>
                  <a:close/>
                  <a:moveTo>
                    <a:pt x="235880" y="187017"/>
                  </a:moveTo>
                  <a:lnTo>
                    <a:pt x="236777" y="188811"/>
                  </a:lnTo>
                  <a:lnTo>
                    <a:pt x="213692" y="186180"/>
                  </a:lnTo>
                  <a:lnTo>
                    <a:pt x="212914" y="184386"/>
                  </a:lnTo>
                  <a:lnTo>
                    <a:pt x="235880" y="187017"/>
                  </a:lnTo>
                  <a:close/>
                  <a:moveTo>
                    <a:pt x="212495" y="184386"/>
                  </a:moveTo>
                  <a:lnTo>
                    <a:pt x="213273" y="186180"/>
                  </a:lnTo>
                  <a:lnTo>
                    <a:pt x="189948" y="183548"/>
                  </a:lnTo>
                  <a:lnTo>
                    <a:pt x="189290" y="181754"/>
                  </a:lnTo>
                  <a:lnTo>
                    <a:pt x="212495" y="184386"/>
                  </a:lnTo>
                  <a:close/>
                  <a:moveTo>
                    <a:pt x="188872" y="181694"/>
                  </a:moveTo>
                  <a:lnTo>
                    <a:pt x="189529" y="183489"/>
                  </a:lnTo>
                  <a:lnTo>
                    <a:pt x="165965" y="180797"/>
                  </a:lnTo>
                  <a:lnTo>
                    <a:pt x="165427" y="179003"/>
                  </a:lnTo>
                  <a:lnTo>
                    <a:pt x="188872" y="181694"/>
                  </a:lnTo>
                  <a:close/>
                  <a:moveTo>
                    <a:pt x="165666" y="181036"/>
                  </a:moveTo>
                  <a:lnTo>
                    <a:pt x="165009" y="185701"/>
                  </a:lnTo>
                  <a:lnTo>
                    <a:pt x="165307" y="179840"/>
                  </a:lnTo>
                  <a:lnTo>
                    <a:pt x="165666" y="181036"/>
                  </a:lnTo>
                  <a:close/>
                  <a:moveTo>
                    <a:pt x="165069" y="187974"/>
                  </a:moveTo>
                  <a:lnTo>
                    <a:pt x="166025" y="181216"/>
                  </a:lnTo>
                  <a:lnTo>
                    <a:pt x="189589" y="183907"/>
                  </a:lnTo>
                  <a:lnTo>
                    <a:pt x="187197" y="191921"/>
                  </a:lnTo>
                  <a:lnTo>
                    <a:pt x="165069" y="187974"/>
                  </a:lnTo>
                  <a:close/>
                  <a:moveTo>
                    <a:pt x="187556" y="191981"/>
                  </a:moveTo>
                  <a:lnTo>
                    <a:pt x="189948" y="183907"/>
                  </a:lnTo>
                  <a:lnTo>
                    <a:pt x="213273" y="186539"/>
                  </a:lnTo>
                  <a:lnTo>
                    <a:pt x="209445" y="195869"/>
                  </a:lnTo>
                  <a:lnTo>
                    <a:pt x="187556" y="191981"/>
                  </a:lnTo>
                  <a:close/>
                  <a:moveTo>
                    <a:pt x="209804" y="195928"/>
                  </a:moveTo>
                  <a:lnTo>
                    <a:pt x="213692" y="186598"/>
                  </a:lnTo>
                  <a:lnTo>
                    <a:pt x="236777" y="189230"/>
                  </a:lnTo>
                  <a:lnTo>
                    <a:pt x="231454" y="199816"/>
                  </a:lnTo>
                  <a:lnTo>
                    <a:pt x="209804" y="195928"/>
                  </a:lnTo>
                  <a:close/>
                  <a:moveTo>
                    <a:pt x="231873" y="199816"/>
                  </a:moveTo>
                  <a:lnTo>
                    <a:pt x="237196" y="189230"/>
                  </a:lnTo>
                  <a:lnTo>
                    <a:pt x="260102" y="191802"/>
                  </a:lnTo>
                  <a:lnTo>
                    <a:pt x="253344" y="203584"/>
                  </a:lnTo>
                  <a:lnTo>
                    <a:pt x="231873" y="199816"/>
                  </a:lnTo>
                  <a:close/>
                  <a:moveTo>
                    <a:pt x="253703" y="203703"/>
                  </a:moveTo>
                  <a:lnTo>
                    <a:pt x="260461" y="191862"/>
                  </a:lnTo>
                  <a:lnTo>
                    <a:pt x="283128" y="194433"/>
                  </a:lnTo>
                  <a:lnTo>
                    <a:pt x="274934" y="207471"/>
                  </a:lnTo>
                  <a:lnTo>
                    <a:pt x="253703" y="203703"/>
                  </a:lnTo>
                  <a:close/>
                  <a:moveTo>
                    <a:pt x="275293" y="207531"/>
                  </a:moveTo>
                  <a:lnTo>
                    <a:pt x="283546" y="194493"/>
                  </a:lnTo>
                  <a:lnTo>
                    <a:pt x="305974" y="197005"/>
                  </a:lnTo>
                  <a:lnTo>
                    <a:pt x="296285" y="211239"/>
                  </a:lnTo>
                  <a:lnTo>
                    <a:pt x="275293" y="207531"/>
                  </a:lnTo>
                  <a:close/>
                  <a:moveTo>
                    <a:pt x="306393" y="197065"/>
                  </a:moveTo>
                  <a:lnTo>
                    <a:pt x="328641" y="199577"/>
                  </a:lnTo>
                  <a:lnTo>
                    <a:pt x="317517" y="215007"/>
                  </a:lnTo>
                  <a:lnTo>
                    <a:pt x="296704" y="211299"/>
                  </a:lnTo>
                  <a:lnTo>
                    <a:pt x="306393" y="197065"/>
                  </a:lnTo>
                  <a:close/>
                  <a:moveTo>
                    <a:pt x="329059" y="199637"/>
                  </a:moveTo>
                  <a:lnTo>
                    <a:pt x="351069" y="202148"/>
                  </a:lnTo>
                  <a:lnTo>
                    <a:pt x="338509" y="218775"/>
                  </a:lnTo>
                  <a:lnTo>
                    <a:pt x="317935" y="215127"/>
                  </a:lnTo>
                  <a:lnTo>
                    <a:pt x="329059" y="199637"/>
                  </a:lnTo>
                  <a:close/>
                  <a:moveTo>
                    <a:pt x="351547" y="202208"/>
                  </a:moveTo>
                  <a:lnTo>
                    <a:pt x="373377" y="204660"/>
                  </a:lnTo>
                  <a:lnTo>
                    <a:pt x="359382" y="222483"/>
                  </a:lnTo>
                  <a:lnTo>
                    <a:pt x="338988" y="218835"/>
                  </a:lnTo>
                  <a:lnTo>
                    <a:pt x="351547" y="202208"/>
                  </a:lnTo>
                  <a:close/>
                  <a:moveTo>
                    <a:pt x="373795" y="204720"/>
                  </a:moveTo>
                  <a:lnTo>
                    <a:pt x="395386" y="207172"/>
                  </a:lnTo>
                  <a:lnTo>
                    <a:pt x="379955" y="226191"/>
                  </a:lnTo>
                  <a:lnTo>
                    <a:pt x="359741" y="222602"/>
                  </a:lnTo>
                  <a:lnTo>
                    <a:pt x="373795" y="204720"/>
                  </a:lnTo>
                  <a:close/>
                  <a:moveTo>
                    <a:pt x="390781" y="228404"/>
                  </a:moveTo>
                  <a:lnTo>
                    <a:pt x="375230" y="247183"/>
                  </a:lnTo>
                  <a:lnTo>
                    <a:pt x="374454" y="246226"/>
                  </a:lnTo>
                  <a:lnTo>
                    <a:pt x="389465" y="228164"/>
                  </a:lnTo>
                  <a:lnTo>
                    <a:pt x="390781" y="228404"/>
                  </a:lnTo>
                  <a:close/>
                  <a:moveTo>
                    <a:pt x="373975" y="246226"/>
                  </a:moveTo>
                  <a:lnTo>
                    <a:pt x="346045" y="279898"/>
                  </a:lnTo>
                  <a:lnTo>
                    <a:pt x="345866" y="279419"/>
                  </a:lnTo>
                  <a:lnTo>
                    <a:pt x="373795" y="245867"/>
                  </a:lnTo>
                  <a:lnTo>
                    <a:pt x="373975" y="246226"/>
                  </a:lnTo>
                  <a:close/>
                  <a:moveTo>
                    <a:pt x="345806" y="280197"/>
                  </a:moveTo>
                  <a:lnTo>
                    <a:pt x="318235" y="313390"/>
                  </a:lnTo>
                  <a:lnTo>
                    <a:pt x="318055" y="312852"/>
                  </a:lnTo>
                  <a:lnTo>
                    <a:pt x="345566" y="279778"/>
                  </a:lnTo>
                  <a:lnTo>
                    <a:pt x="345806" y="280197"/>
                  </a:lnTo>
                  <a:close/>
                  <a:moveTo>
                    <a:pt x="317935" y="313689"/>
                  </a:moveTo>
                  <a:lnTo>
                    <a:pt x="290724" y="346403"/>
                  </a:lnTo>
                  <a:lnTo>
                    <a:pt x="290604" y="345805"/>
                  </a:lnTo>
                  <a:lnTo>
                    <a:pt x="317756" y="313151"/>
                  </a:lnTo>
                  <a:lnTo>
                    <a:pt x="317935" y="313689"/>
                  </a:lnTo>
                  <a:close/>
                  <a:moveTo>
                    <a:pt x="290484" y="346822"/>
                  </a:moveTo>
                  <a:lnTo>
                    <a:pt x="263691" y="379118"/>
                  </a:lnTo>
                  <a:lnTo>
                    <a:pt x="263571" y="378400"/>
                  </a:lnTo>
                  <a:lnTo>
                    <a:pt x="290364" y="346224"/>
                  </a:lnTo>
                  <a:lnTo>
                    <a:pt x="290484" y="346822"/>
                  </a:lnTo>
                  <a:close/>
                  <a:moveTo>
                    <a:pt x="263331" y="379477"/>
                  </a:moveTo>
                  <a:lnTo>
                    <a:pt x="236897" y="411294"/>
                  </a:lnTo>
                  <a:lnTo>
                    <a:pt x="236837" y="410457"/>
                  </a:lnTo>
                  <a:lnTo>
                    <a:pt x="263212" y="378699"/>
                  </a:lnTo>
                  <a:lnTo>
                    <a:pt x="263331" y="379477"/>
                  </a:lnTo>
                  <a:close/>
                  <a:moveTo>
                    <a:pt x="236538" y="411713"/>
                  </a:moveTo>
                  <a:lnTo>
                    <a:pt x="210462" y="443112"/>
                  </a:lnTo>
                  <a:lnTo>
                    <a:pt x="210462" y="442215"/>
                  </a:lnTo>
                  <a:lnTo>
                    <a:pt x="236478" y="410935"/>
                  </a:lnTo>
                  <a:lnTo>
                    <a:pt x="236538" y="411713"/>
                  </a:lnTo>
                  <a:close/>
                  <a:moveTo>
                    <a:pt x="210103" y="443530"/>
                  </a:moveTo>
                  <a:lnTo>
                    <a:pt x="184386" y="474510"/>
                  </a:lnTo>
                  <a:lnTo>
                    <a:pt x="184446" y="473494"/>
                  </a:lnTo>
                  <a:lnTo>
                    <a:pt x="210103" y="442633"/>
                  </a:lnTo>
                  <a:lnTo>
                    <a:pt x="210103" y="443530"/>
                  </a:lnTo>
                  <a:close/>
                  <a:moveTo>
                    <a:pt x="184027" y="474989"/>
                  </a:moveTo>
                  <a:lnTo>
                    <a:pt x="158669" y="505550"/>
                  </a:lnTo>
                  <a:lnTo>
                    <a:pt x="158788" y="504414"/>
                  </a:lnTo>
                  <a:lnTo>
                    <a:pt x="184087" y="473972"/>
                  </a:lnTo>
                  <a:lnTo>
                    <a:pt x="184027" y="474989"/>
                  </a:lnTo>
                  <a:close/>
                  <a:moveTo>
                    <a:pt x="158250" y="505969"/>
                  </a:moveTo>
                  <a:lnTo>
                    <a:pt x="133251" y="536112"/>
                  </a:lnTo>
                  <a:lnTo>
                    <a:pt x="133430" y="534856"/>
                  </a:lnTo>
                  <a:lnTo>
                    <a:pt x="158370" y="504833"/>
                  </a:lnTo>
                  <a:lnTo>
                    <a:pt x="158250" y="505969"/>
                  </a:lnTo>
                  <a:close/>
                  <a:moveTo>
                    <a:pt x="132772" y="536650"/>
                  </a:moveTo>
                  <a:lnTo>
                    <a:pt x="108072" y="566374"/>
                  </a:lnTo>
                  <a:lnTo>
                    <a:pt x="108312" y="564999"/>
                  </a:lnTo>
                  <a:lnTo>
                    <a:pt x="132952" y="535394"/>
                  </a:lnTo>
                  <a:lnTo>
                    <a:pt x="132772" y="536650"/>
                  </a:lnTo>
                  <a:close/>
                  <a:moveTo>
                    <a:pt x="107593" y="566913"/>
                  </a:moveTo>
                  <a:lnTo>
                    <a:pt x="83252" y="596218"/>
                  </a:lnTo>
                  <a:lnTo>
                    <a:pt x="83551" y="594723"/>
                  </a:lnTo>
                  <a:lnTo>
                    <a:pt x="107833" y="565537"/>
                  </a:lnTo>
                  <a:lnTo>
                    <a:pt x="107593" y="566913"/>
                  </a:lnTo>
                  <a:close/>
                  <a:moveTo>
                    <a:pt x="82774" y="596816"/>
                  </a:moveTo>
                  <a:lnTo>
                    <a:pt x="58731" y="625763"/>
                  </a:lnTo>
                  <a:lnTo>
                    <a:pt x="59090" y="624088"/>
                  </a:lnTo>
                  <a:lnTo>
                    <a:pt x="83072" y="595321"/>
                  </a:lnTo>
                  <a:lnTo>
                    <a:pt x="82774" y="596816"/>
                  </a:lnTo>
                  <a:close/>
                  <a:moveTo>
                    <a:pt x="58252" y="626361"/>
                  </a:moveTo>
                  <a:lnTo>
                    <a:pt x="34569" y="654889"/>
                  </a:lnTo>
                  <a:lnTo>
                    <a:pt x="34988" y="653095"/>
                  </a:lnTo>
                  <a:lnTo>
                    <a:pt x="58611" y="624686"/>
                  </a:lnTo>
                  <a:lnTo>
                    <a:pt x="58252" y="626361"/>
                  </a:lnTo>
                  <a:close/>
                  <a:moveTo>
                    <a:pt x="34031" y="655487"/>
                  </a:moveTo>
                  <a:lnTo>
                    <a:pt x="15909" y="673728"/>
                  </a:lnTo>
                  <a:lnTo>
                    <a:pt x="13457" y="672293"/>
                  </a:lnTo>
                  <a:lnTo>
                    <a:pt x="13696" y="669841"/>
                  </a:lnTo>
                  <a:lnTo>
                    <a:pt x="16148" y="671635"/>
                  </a:lnTo>
                  <a:cubicBezTo>
                    <a:pt x="16148" y="671635"/>
                    <a:pt x="16148" y="671635"/>
                    <a:pt x="16148" y="671635"/>
                  </a:cubicBezTo>
                  <a:cubicBezTo>
                    <a:pt x="16148" y="671635"/>
                    <a:pt x="16148" y="671635"/>
                    <a:pt x="16208" y="671635"/>
                  </a:cubicBezTo>
                  <a:cubicBezTo>
                    <a:pt x="16208" y="671635"/>
                    <a:pt x="16208" y="671635"/>
                    <a:pt x="16268" y="671635"/>
                  </a:cubicBezTo>
                  <a:cubicBezTo>
                    <a:pt x="16268" y="671635"/>
                    <a:pt x="16268" y="671635"/>
                    <a:pt x="16328" y="671635"/>
                  </a:cubicBezTo>
                  <a:cubicBezTo>
                    <a:pt x="16387" y="671635"/>
                    <a:pt x="16328" y="671635"/>
                    <a:pt x="16387" y="671635"/>
                  </a:cubicBezTo>
                  <a:cubicBezTo>
                    <a:pt x="16387" y="671635"/>
                    <a:pt x="16387" y="671635"/>
                    <a:pt x="16387" y="671635"/>
                  </a:cubicBezTo>
                  <a:cubicBezTo>
                    <a:pt x="16387" y="671635"/>
                    <a:pt x="16387" y="671635"/>
                    <a:pt x="16387" y="671635"/>
                  </a:cubicBezTo>
                  <a:cubicBezTo>
                    <a:pt x="16387" y="671635"/>
                    <a:pt x="16387" y="671635"/>
                    <a:pt x="16387" y="671635"/>
                  </a:cubicBezTo>
                  <a:lnTo>
                    <a:pt x="19737" y="667628"/>
                  </a:lnTo>
                  <a:cubicBezTo>
                    <a:pt x="19737" y="667628"/>
                    <a:pt x="19737" y="667628"/>
                    <a:pt x="19737" y="667628"/>
                  </a:cubicBezTo>
                  <a:lnTo>
                    <a:pt x="34509" y="653693"/>
                  </a:lnTo>
                  <a:lnTo>
                    <a:pt x="34031" y="655487"/>
                  </a:lnTo>
                  <a:close/>
                  <a:moveTo>
                    <a:pt x="19377" y="667329"/>
                  </a:moveTo>
                  <a:lnTo>
                    <a:pt x="17046" y="666910"/>
                  </a:lnTo>
                  <a:cubicBezTo>
                    <a:pt x="17046" y="666910"/>
                    <a:pt x="17046" y="666910"/>
                    <a:pt x="17046" y="666910"/>
                  </a:cubicBezTo>
                  <a:cubicBezTo>
                    <a:pt x="17046" y="666910"/>
                    <a:pt x="17046" y="666910"/>
                    <a:pt x="17046" y="666910"/>
                  </a:cubicBezTo>
                  <a:lnTo>
                    <a:pt x="15729" y="667149"/>
                  </a:lnTo>
                  <a:lnTo>
                    <a:pt x="15729" y="667149"/>
                  </a:lnTo>
                  <a:lnTo>
                    <a:pt x="15909" y="666731"/>
                  </a:lnTo>
                  <a:lnTo>
                    <a:pt x="15969" y="666731"/>
                  </a:lnTo>
                  <a:cubicBezTo>
                    <a:pt x="15969" y="666731"/>
                    <a:pt x="15969" y="666731"/>
                    <a:pt x="15969" y="666731"/>
                  </a:cubicBezTo>
                  <a:cubicBezTo>
                    <a:pt x="15969" y="666731"/>
                    <a:pt x="15969" y="666731"/>
                    <a:pt x="16029" y="666731"/>
                  </a:cubicBezTo>
                  <a:cubicBezTo>
                    <a:pt x="16148" y="666791"/>
                    <a:pt x="16208" y="666791"/>
                    <a:pt x="16268" y="666731"/>
                  </a:cubicBezTo>
                  <a:lnTo>
                    <a:pt x="16387" y="666372"/>
                  </a:lnTo>
                  <a:cubicBezTo>
                    <a:pt x="16387" y="666372"/>
                    <a:pt x="16387" y="666372"/>
                    <a:pt x="16387" y="666372"/>
                  </a:cubicBezTo>
                  <a:cubicBezTo>
                    <a:pt x="16387" y="666372"/>
                    <a:pt x="16387" y="666372"/>
                    <a:pt x="16387" y="666372"/>
                  </a:cubicBezTo>
                  <a:cubicBezTo>
                    <a:pt x="16387" y="666372"/>
                    <a:pt x="16387" y="666372"/>
                    <a:pt x="16387" y="666372"/>
                  </a:cubicBezTo>
                  <a:lnTo>
                    <a:pt x="16387" y="665774"/>
                  </a:lnTo>
                  <a:cubicBezTo>
                    <a:pt x="16387" y="665774"/>
                    <a:pt x="16387" y="665774"/>
                    <a:pt x="16387" y="665774"/>
                  </a:cubicBezTo>
                  <a:cubicBezTo>
                    <a:pt x="16387" y="665774"/>
                    <a:pt x="16387" y="665774"/>
                    <a:pt x="16387" y="665774"/>
                  </a:cubicBezTo>
                  <a:cubicBezTo>
                    <a:pt x="16387" y="665774"/>
                    <a:pt x="16387" y="665774"/>
                    <a:pt x="16387" y="665774"/>
                  </a:cubicBezTo>
                  <a:lnTo>
                    <a:pt x="16148" y="665116"/>
                  </a:lnTo>
                  <a:cubicBezTo>
                    <a:pt x="16148" y="665116"/>
                    <a:pt x="16148" y="665116"/>
                    <a:pt x="16148" y="665116"/>
                  </a:cubicBezTo>
                  <a:cubicBezTo>
                    <a:pt x="16148" y="665116"/>
                    <a:pt x="16148" y="665116"/>
                    <a:pt x="16148" y="665056"/>
                  </a:cubicBezTo>
                  <a:cubicBezTo>
                    <a:pt x="16148" y="665056"/>
                    <a:pt x="16148" y="665056"/>
                    <a:pt x="16148" y="665056"/>
                  </a:cubicBezTo>
                  <a:lnTo>
                    <a:pt x="15729" y="664458"/>
                  </a:lnTo>
                  <a:cubicBezTo>
                    <a:pt x="15729" y="664458"/>
                    <a:pt x="15729" y="664458"/>
                    <a:pt x="15729" y="664458"/>
                  </a:cubicBezTo>
                  <a:cubicBezTo>
                    <a:pt x="15729" y="664458"/>
                    <a:pt x="15729" y="664458"/>
                    <a:pt x="15669" y="664398"/>
                  </a:cubicBezTo>
                  <a:cubicBezTo>
                    <a:pt x="15669" y="664398"/>
                    <a:pt x="15669" y="664398"/>
                    <a:pt x="15669" y="664398"/>
                  </a:cubicBezTo>
                  <a:lnTo>
                    <a:pt x="15131" y="663980"/>
                  </a:lnTo>
                  <a:cubicBezTo>
                    <a:pt x="15131" y="663980"/>
                    <a:pt x="15131" y="663980"/>
                    <a:pt x="15131" y="663980"/>
                  </a:cubicBezTo>
                  <a:cubicBezTo>
                    <a:pt x="15131" y="663980"/>
                    <a:pt x="15131" y="663980"/>
                    <a:pt x="15131" y="663980"/>
                  </a:cubicBezTo>
                  <a:lnTo>
                    <a:pt x="14174" y="663382"/>
                  </a:lnTo>
                  <a:cubicBezTo>
                    <a:pt x="14174" y="663382"/>
                    <a:pt x="14174" y="663382"/>
                    <a:pt x="14174" y="663382"/>
                  </a:cubicBezTo>
                  <a:cubicBezTo>
                    <a:pt x="14174" y="663382"/>
                    <a:pt x="14174" y="663382"/>
                    <a:pt x="14174" y="663382"/>
                  </a:cubicBezTo>
                  <a:cubicBezTo>
                    <a:pt x="14174" y="663382"/>
                    <a:pt x="14174" y="663382"/>
                    <a:pt x="14174" y="663382"/>
                  </a:cubicBezTo>
                  <a:lnTo>
                    <a:pt x="13397" y="663083"/>
                  </a:lnTo>
                  <a:cubicBezTo>
                    <a:pt x="13397" y="663083"/>
                    <a:pt x="13397" y="663083"/>
                    <a:pt x="13397" y="663083"/>
                  </a:cubicBezTo>
                  <a:cubicBezTo>
                    <a:pt x="13397" y="663083"/>
                    <a:pt x="13397" y="663083"/>
                    <a:pt x="13397" y="663083"/>
                  </a:cubicBezTo>
                  <a:cubicBezTo>
                    <a:pt x="13397" y="663083"/>
                    <a:pt x="13397" y="663083"/>
                    <a:pt x="13338" y="663083"/>
                  </a:cubicBezTo>
                  <a:cubicBezTo>
                    <a:pt x="13338" y="663083"/>
                    <a:pt x="13338" y="663083"/>
                    <a:pt x="13338" y="663083"/>
                  </a:cubicBezTo>
                  <a:cubicBezTo>
                    <a:pt x="13338" y="663083"/>
                    <a:pt x="13338" y="663083"/>
                    <a:pt x="13338" y="663083"/>
                  </a:cubicBezTo>
                  <a:lnTo>
                    <a:pt x="12620" y="663083"/>
                  </a:lnTo>
                  <a:cubicBezTo>
                    <a:pt x="12620" y="663083"/>
                    <a:pt x="12620" y="663083"/>
                    <a:pt x="12620" y="663083"/>
                  </a:cubicBezTo>
                  <a:cubicBezTo>
                    <a:pt x="12620" y="663083"/>
                    <a:pt x="12620" y="663083"/>
                    <a:pt x="12620" y="663083"/>
                  </a:cubicBezTo>
                  <a:cubicBezTo>
                    <a:pt x="12620" y="663083"/>
                    <a:pt x="12620" y="663083"/>
                    <a:pt x="12620" y="663083"/>
                  </a:cubicBezTo>
                  <a:cubicBezTo>
                    <a:pt x="12620" y="663083"/>
                    <a:pt x="12620" y="663083"/>
                    <a:pt x="12620" y="663083"/>
                  </a:cubicBezTo>
                  <a:cubicBezTo>
                    <a:pt x="12620" y="663083"/>
                    <a:pt x="12620" y="663083"/>
                    <a:pt x="12620" y="663083"/>
                  </a:cubicBezTo>
                  <a:lnTo>
                    <a:pt x="12321" y="663322"/>
                  </a:lnTo>
                  <a:lnTo>
                    <a:pt x="11005" y="661946"/>
                  </a:lnTo>
                  <a:lnTo>
                    <a:pt x="16387" y="662903"/>
                  </a:lnTo>
                  <a:lnTo>
                    <a:pt x="19377" y="667329"/>
                  </a:lnTo>
                  <a:lnTo>
                    <a:pt x="19377" y="667329"/>
                  </a:lnTo>
                  <a:close/>
                  <a:moveTo>
                    <a:pt x="9151" y="661468"/>
                  </a:moveTo>
                  <a:lnTo>
                    <a:pt x="9270" y="661468"/>
                  </a:lnTo>
                  <a:lnTo>
                    <a:pt x="5862" y="662006"/>
                  </a:lnTo>
                  <a:lnTo>
                    <a:pt x="5742" y="662006"/>
                  </a:lnTo>
                  <a:lnTo>
                    <a:pt x="9151" y="661468"/>
                  </a:lnTo>
                  <a:close/>
                  <a:moveTo>
                    <a:pt x="4725" y="662185"/>
                  </a:moveTo>
                  <a:lnTo>
                    <a:pt x="5503" y="662305"/>
                  </a:lnTo>
                  <a:lnTo>
                    <a:pt x="3290" y="664398"/>
                  </a:lnTo>
                  <a:lnTo>
                    <a:pt x="2452" y="664339"/>
                  </a:lnTo>
                  <a:lnTo>
                    <a:pt x="4725" y="662185"/>
                  </a:lnTo>
                  <a:close/>
                  <a:moveTo>
                    <a:pt x="1735" y="665176"/>
                  </a:moveTo>
                  <a:lnTo>
                    <a:pt x="1376" y="668405"/>
                  </a:lnTo>
                  <a:lnTo>
                    <a:pt x="299" y="669781"/>
                  </a:lnTo>
                  <a:lnTo>
                    <a:pt x="659" y="666492"/>
                  </a:lnTo>
                  <a:lnTo>
                    <a:pt x="1735" y="665176"/>
                  </a:lnTo>
                  <a:close/>
                  <a:moveTo>
                    <a:pt x="1495" y="668944"/>
                  </a:moveTo>
                  <a:lnTo>
                    <a:pt x="3110" y="673848"/>
                  </a:lnTo>
                  <a:lnTo>
                    <a:pt x="1795" y="675522"/>
                  </a:lnTo>
                  <a:lnTo>
                    <a:pt x="239" y="670618"/>
                  </a:lnTo>
                  <a:lnTo>
                    <a:pt x="1495" y="668944"/>
                  </a:lnTo>
                  <a:close/>
                  <a:moveTo>
                    <a:pt x="3290" y="674267"/>
                  </a:moveTo>
                  <a:lnTo>
                    <a:pt x="6938" y="680307"/>
                  </a:lnTo>
                  <a:lnTo>
                    <a:pt x="5562" y="682042"/>
                  </a:lnTo>
                  <a:lnTo>
                    <a:pt x="1974" y="676001"/>
                  </a:lnTo>
                  <a:lnTo>
                    <a:pt x="3290" y="674267"/>
                  </a:lnTo>
                  <a:close/>
                  <a:moveTo>
                    <a:pt x="7177" y="680666"/>
                  </a:moveTo>
                  <a:lnTo>
                    <a:pt x="12620" y="687245"/>
                  </a:lnTo>
                  <a:lnTo>
                    <a:pt x="11244" y="688979"/>
                  </a:lnTo>
                  <a:lnTo>
                    <a:pt x="5802" y="682400"/>
                  </a:lnTo>
                  <a:lnTo>
                    <a:pt x="7177" y="680666"/>
                  </a:lnTo>
                  <a:close/>
                  <a:moveTo>
                    <a:pt x="12919" y="687544"/>
                  </a:moveTo>
                  <a:lnTo>
                    <a:pt x="19797" y="694242"/>
                  </a:lnTo>
                  <a:lnTo>
                    <a:pt x="18421" y="695977"/>
                  </a:lnTo>
                  <a:lnTo>
                    <a:pt x="11543" y="689278"/>
                  </a:lnTo>
                  <a:lnTo>
                    <a:pt x="12919" y="687544"/>
                  </a:lnTo>
                  <a:close/>
                  <a:moveTo>
                    <a:pt x="20096" y="694541"/>
                  </a:moveTo>
                  <a:lnTo>
                    <a:pt x="27870" y="700761"/>
                  </a:lnTo>
                  <a:lnTo>
                    <a:pt x="26495" y="702496"/>
                  </a:lnTo>
                  <a:lnTo>
                    <a:pt x="18720" y="696276"/>
                  </a:lnTo>
                  <a:lnTo>
                    <a:pt x="20096" y="694541"/>
                  </a:lnTo>
                  <a:close/>
                  <a:moveTo>
                    <a:pt x="28230" y="701000"/>
                  </a:moveTo>
                  <a:lnTo>
                    <a:pt x="36303" y="706323"/>
                  </a:lnTo>
                  <a:lnTo>
                    <a:pt x="34928" y="708058"/>
                  </a:lnTo>
                  <a:lnTo>
                    <a:pt x="26853" y="702735"/>
                  </a:lnTo>
                  <a:lnTo>
                    <a:pt x="28230" y="701000"/>
                  </a:lnTo>
                  <a:close/>
                  <a:moveTo>
                    <a:pt x="36662" y="706562"/>
                  </a:moveTo>
                  <a:lnTo>
                    <a:pt x="44437" y="710570"/>
                  </a:lnTo>
                  <a:lnTo>
                    <a:pt x="43062" y="712304"/>
                  </a:lnTo>
                  <a:lnTo>
                    <a:pt x="35286" y="708297"/>
                  </a:lnTo>
                  <a:lnTo>
                    <a:pt x="36662" y="706562"/>
                  </a:lnTo>
                  <a:close/>
                  <a:moveTo>
                    <a:pt x="44855" y="710749"/>
                  </a:moveTo>
                  <a:lnTo>
                    <a:pt x="51733" y="713201"/>
                  </a:lnTo>
                  <a:lnTo>
                    <a:pt x="50358" y="714876"/>
                  </a:lnTo>
                  <a:lnTo>
                    <a:pt x="43480" y="712483"/>
                  </a:lnTo>
                  <a:lnTo>
                    <a:pt x="44855" y="710749"/>
                  </a:lnTo>
                  <a:close/>
                  <a:moveTo>
                    <a:pt x="52212" y="713321"/>
                  </a:moveTo>
                  <a:lnTo>
                    <a:pt x="57654" y="714038"/>
                  </a:lnTo>
                  <a:lnTo>
                    <a:pt x="56339" y="715653"/>
                  </a:lnTo>
                  <a:lnTo>
                    <a:pt x="50896" y="714935"/>
                  </a:lnTo>
                  <a:lnTo>
                    <a:pt x="52212" y="713321"/>
                  </a:lnTo>
                  <a:close/>
                  <a:moveTo>
                    <a:pt x="58193" y="714098"/>
                  </a:moveTo>
                  <a:lnTo>
                    <a:pt x="61721" y="713261"/>
                  </a:lnTo>
                  <a:lnTo>
                    <a:pt x="60585" y="714696"/>
                  </a:lnTo>
                  <a:lnTo>
                    <a:pt x="57056" y="715593"/>
                  </a:lnTo>
                  <a:lnTo>
                    <a:pt x="58193" y="714098"/>
                  </a:lnTo>
                  <a:close/>
                  <a:moveTo>
                    <a:pt x="62020" y="711646"/>
                  </a:moveTo>
                  <a:lnTo>
                    <a:pt x="63934" y="709254"/>
                  </a:lnTo>
                  <a:lnTo>
                    <a:pt x="64233" y="710031"/>
                  </a:lnTo>
                  <a:lnTo>
                    <a:pt x="62319" y="712483"/>
                  </a:lnTo>
                  <a:lnTo>
                    <a:pt x="62020" y="711646"/>
                  </a:lnTo>
                  <a:close/>
                  <a:moveTo>
                    <a:pt x="64174" y="708955"/>
                  </a:moveTo>
                  <a:lnTo>
                    <a:pt x="64233" y="705605"/>
                  </a:lnTo>
                  <a:lnTo>
                    <a:pt x="64353" y="705905"/>
                  </a:lnTo>
                  <a:lnTo>
                    <a:pt x="64293" y="709314"/>
                  </a:lnTo>
                  <a:lnTo>
                    <a:pt x="64174" y="708955"/>
                  </a:lnTo>
                  <a:close/>
                  <a:moveTo>
                    <a:pt x="56339" y="696754"/>
                  </a:moveTo>
                  <a:lnTo>
                    <a:pt x="56159" y="696276"/>
                  </a:lnTo>
                  <a:lnTo>
                    <a:pt x="58193" y="693584"/>
                  </a:lnTo>
                  <a:lnTo>
                    <a:pt x="61662" y="699146"/>
                  </a:lnTo>
                  <a:lnTo>
                    <a:pt x="56339" y="696754"/>
                  </a:lnTo>
                  <a:close/>
                  <a:moveTo>
                    <a:pt x="438387" y="243834"/>
                  </a:moveTo>
                  <a:lnTo>
                    <a:pt x="438387" y="243834"/>
                  </a:lnTo>
                  <a:lnTo>
                    <a:pt x="438268" y="243475"/>
                  </a:lnTo>
                  <a:cubicBezTo>
                    <a:pt x="438268" y="243475"/>
                    <a:pt x="438268" y="243475"/>
                    <a:pt x="438268" y="243475"/>
                  </a:cubicBezTo>
                  <a:lnTo>
                    <a:pt x="437969" y="242698"/>
                  </a:lnTo>
                  <a:cubicBezTo>
                    <a:pt x="437969" y="242638"/>
                    <a:pt x="437909" y="242638"/>
                    <a:pt x="437909" y="242638"/>
                  </a:cubicBezTo>
                  <a:cubicBezTo>
                    <a:pt x="437909" y="242578"/>
                    <a:pt x="437909" y="242518"/>
                    <a:pt x="437849" y="242458"/>
                  </a:cubicBezTo>
                  <a:cubicBezTo>
                    <a:pt x="437789" y="242399"/>
                    <a:pt x="437670" y="242399"/>
                    <a:pt x="437610" y="242458"/>
                  </a:cubicBezTo>
                  <a:lnTo>
                    <a:pt x="437191" y="242937"/>
                  </a:lnTo>
                  <a:lnTo>
                    <a:pt x="411056" y="222423"/>
                  </a:lnTo>
                  <a:lnTo>
                    <a:pt x="411713" y="221945"/>
                  </a:lnTo>
                  <a:lnTo>
                    <a:pt x="437430" y="242159"/>
                  </a:lnTo>
                  <a:cubicBezTo>
                    <a:pt x="437490" y="242219"/>
                    <a:pt x="437610" y="242219"/>
                    <a:pt x="437670" y="242159"/>
                  </a:cubicBezTo>
                  <a:cubicBezTo>
                    <a:pt x="437729" y="242100"/>
                    <a:pt x="437729" y="241980"/>
                    <a:pt x="437610" y="241920"/>
                  </a:cubicBezTo>
                  <a:lnTo>
                    <a:pt x="411952" y="221765"/>
                  </a:lnTo>
                  <a:lnTo>
                    <a:pt x="414225" y="220091"/>
                  </a:lnTo>
                  <a:lnTo>
                    <a:pt x="422299" y="221167"/>
                  </a:lnTo>
                  <a:lnTo>
                    <a:pt x="422240" y="225294"/>
                  </a:lnTo>
                  <a:cubicBezTo>
                    <a:pt x="422240" y="225294"/>
                    <a:pt x="422240" y="225294"/>
                    <a:pt x="422240" y="225294"/>
                  </a:cubicBezTo>
                  <a:cubicBezTo>
                    <a:pt x="422240" y="225294"/>
                    <a:pt x="422240" y="225354"/>
                    <a:pt x="422240" y="225354"/>
                  </a:cubicBezTo>
                  <a:cubicBezTo>
                    <a:pt x="422240" y="225354"/>
                    <a:pt x="422240" y="225354"/>
                    <a:pt x="422240" y="225354"/>
                  </a:cubicBezTo>
                  <a:cubicBezTo>
                    <a:pt x="422240" y="225354"/>
                    <a:pt x="422240" y="225354"/>
                    <a:pt x="422240" y="225354"/>
                  </a:cubicBezTo>
                  <a:lnTo>
                    <a:pt x="426067" y="229899"/>
                  </a:lnTo>
                  <a:cubicBezTo>
                    <a:pt x="426067" y="229899"/>
                    <a:pt x="426067" y="229899"/>
                    <a:pt x="426067" y="229899"/>
                  </a:cubicBezTo>
                  <a:cubicBezTo>
                    <a:pt x="426067" y="229899"/>
                    <a:pt x="426067" y="229899"/>
                    <a:pt x="426067" y="229899"/>
                  </a:cubicBezTo>
                  <a:lnTo>
                    <a:pt x="429775" y="232471"/>
                  </a:lnTo>
                  <a:cubicBezTo>
                    <a:pt x="429775" y="232471"/>
                    <a:pt x="429775" y="232471"/>
                    <a:pt x="429775" y="232471"/>
                  </a:cubicBezTo>
                  <a:cubicBezTo>
                    <a:pt x="429775" y="232471"/>
                    <a:pt x="429775" y="232471"/>
                    <a:pt x="429775" y="232471"/>
                  </a:cubicBezTo>
                  <a:lnTo>
                    <a:pt x="434739" y="234983"/>
                  </a:lnTo>
                  <a:cubicBezTo>
                    <a:pt x="434739" y="234983"/>
                    <a:pt x="434739" y="234983"/>
                    <a:pt x="434739" y="234983"/>
                  </a:cubicBezTo>
                  <a:cubicBezTo>
                    <a:pt x="434739" y="234983"/>
                    <a:pt x="434739" y="234983"/>
                    <a:pt x="434799" y="234983"/>
                  </a:cubicBezTo>
                  <a:cubicBezTo>
                    <a:pt x="434799" y="234983"/>
                    <a:pt x="434799" y="234983"/>
                    <a:pt x="434799" y="234983"/>
                  </a:cubicBezTo>
                  <a:lnTo>
                    <a:pt x="434799" y="234983"/>
                  </a:lnTo>
                  <a:lnTo>
                    <a:pt x="439464" y="235282"/>
                  </a:lnTo>
                  <a:lnTo>
                    <a:pt x="440480" y="238033"/>
                  </a:lnTo>
                  <a:lnTo>
                    <a:pt x="439703" y="239169"/>
                  </a:lnTo>
                  <a:lnTo>
                    <a:pt x="436892" y="240186"/>
                  </a:lnTo>
                  <a:cubicBezTo>
                    <a:pt x="436832" y="240186"/>
                    <a:pt x="436832" y="240246"/>
                    <a:pt x="436772" y="240305"/>
                  </a:cubicBezTo>
                  <a:cubicBezTo>
                    <a:pt x="436712" y="240305"/>
                    <a:pt x="436653" y="240305"/>
                    <a:pt x="436653" y="240365"/>
                  </a:cubicBezTo>
                  <a:cubicBezTo>
                    <a:pt x="436593" y="240425"/>
                    <a:pt x="436593" y="240545"/>
                    <a:pt x="436653" y="240604"/>
                  </a:cubicBezTo>
                  <a:lnTo>
                    <a:pt x="438687" y="242937"/>
                  </a:lnTo>
                  <a:lnTo>
                    <a:pt x="446043" y="261298"/>
                  </a:lnTo>
                  <a:lnTo>
                    <a:pt x="444667" y="259683"/>
                  </a:lnTo>
                  <a:lnTo>
                    <a:pt x="438387" y="243834"/>
                  </a:lnTo>
                  <a:close/>
                  <a:moveTo>
                    <a:pt x="446521" y="262314"/>
                  </a:moveTo>
                  <a:lnTo>
                    <a:pt x="453757" y="280316"/>
                  </a:lnTo>
                  <a:lnTo>
                    <a:pt x="452382" y="278702"/>
                  </a:lnTo>
                  <a:lnTo>
                    <a:pt x="445145" y="260759"/>
                  </a:lnTo>
                  <a:lnTo>
                    <a:pt x="446521" y="262314"/>
                  </a:lnTo>
                  <a:close/>
                  <a:moveTo>
                    <a:pt x="454176" y="281393"/>
                  </a:moveTo>
                  <a:lnTo>
                    <a:pt x="461293" y="299096"/>
                  </a:lnTo>
                  <a:lnTo>
                    <a:pt x="459918" y="297421"/>
                  </a:lnTo>
                  <a:lnTo>
                    <a:pt x="452861" y="279778"/>
                  </a:lnTo>
                  <a:lnTo>
                    <a:pt x="454176" y="281393"/>
                  </a:lnTo>
                  <a:close/>
                  <a:moveTo>
                    <a:pt x="461712" y="300172"/>
                  </a:moveTo>
                  <a:lnTo>
                    <a:pt x="468650" y="317516"/>
                  </a:lnTo>
                  <a:lnTo>
                    <a:pt x="467274" y="315782"/>
                  </a:lnTo>
                  <a:lnTo>
                    <a:pt x="460337" y="298438"/>
                  </a:lnTo>
                  <a:lnTo>
                    <a:pt x="461712" y="300172"/>
                  </a:lnTo>
                  <a:close/>
                  <a:moveTo>
                    <a:pt x="469128" y="318713"/>
                  </a:moveTo>
                  <a:lnTo>
                    <a:pt x="475946" y="335758"/>
                  </a:lnTo>
                  <a:lnTo>
                    <a:pt x="474571" y="334023"/>
                  </a:lnTo>
                  <a:lnTo>
                    <a:pt x="467753" y="317038"/>
                  </a:lnTo>
                  <a:lnTo>
                    <a:pt x="469128" y="318713"/>
                  </a:lnTo>
                  <a:close/>
                  <a:moveTo>
                    <a:pt x="476425" y="336954"/>
                  </a:moveTo>
                  <a:lnTo>
                    <a:pt x="483123" y="353700"/>
                  </a:lnTo>
                  <a:lnTo>
                    <a:pt x="481747" y="351906"/>
                  </a:lnTo>
                  <a:lnTo>
                    <a:pt x="475049" y="335219"/>
                  </a:lnTo>
                  <a:lnTo>
                    <a:pt x="476425" y="336954"/>
                  </a:lnTo>
                  <a:close/>
                  <a:moveTo>
                    <a:pt x="483661" y="354896"/>
                  </a:moveTo>
                  <a:lnTo>
                    <a:pt x="490240" y="371343"/>
                  </a:lnTo>
                  <a:lnTo>
                    <a:pt x="488864" y="369489"/>
                  </a:lnTo>
                  <a:lnTo>
                    <a:pt x="482286" y="353102"/>
                  </a:lnTo>
                  <a:lnTo>
                    <a:pt x="483661" y="354896"/>
                  </a:lnTo>
                  <a:close/>
                  <a:moveTo>
                    <a:pt x="490719" y="372539"/>
                  </a:moveTo>
                  <a:lnTo>
                    <a:pt x="497177" y="388687"/>
                  </a:lnTo>
                  <a:lnTo>
                    <a:pt x="495802" y="386833"/>
                  </a:lnTo>
                  <a:lnTo>
                    <a:pt x="489343" y="370745"/>
                  </a:lnTo>
                  <a:lnTo>
                    <a:pt x="490719" y="372539"/>
                  </a:lnTo>
                  <a:close/>
                  <a:moveTo>
                    <a:pt x="497716" y="390003"/>
                  </a:moveTo>
                  <a:lnTo>
                    <a:pt x="504055" y="405852"/>
                  </a:lnTo>
                  <a:lnTo>
                    <a:pt x="502620" y="403938"/>
                  </a:lnTo>
                  <a:lnTo>
                    <a:pt x="496281" y="388089"/>
                  </a:lnTo>
                  <a:lnTo>
                    <a:pt x="497716" y="390003"/>
                  </a:lnTo>
                  <a:close/>
                  <a:moveTo>
                    <a:pt x="504594" y="407108"/>
                  </a:moveTo>
                  <a:lnTo>
                    <a:pt x="510874" y="422717"/>
                  </a:lnTo>
                  <a:lnTo>
                    <a:pt x="509438" y="420804"/>
                  </a:lnTo>
                  <a:lnTo>
                    <a:pt x="503218" y="405254"/>
                  </a:lnTo>
                  <a:lnTo>
                    <a:pt x="504594" y="407108"/>
                  </a:lnTo>
                  <a:close/>
                  <a:moveTo>
                    <a:pt x="518290" y="440361"/>
                  </a:moveTo>
                  <a:lnTo>
                    <a:pt x="511771" y="424093"/>
                  </a:lnTo>
                  <a:lnTo>
                    <a:pt x="518589" y="420744"/>
                  </a:lnTo>
                  <a:lnTo>
                    <a:pt x="523553" y="436652"/>
                  </a:lnTo>
                  <a:lnTo>
                    <a:pt x="518290" y="440361"/>
                  </a:lnTo>
                  <a:close/>
                  <a:moveTo>
                    <a:pt x="460217" y="242937"/>
                  </a:moveTo>
                  <a:lnTo>
                    <a:pt x="449213" y="238631"/>
                  </a:lnTo>
                  <a:lnTo>
                    <a:pt x="449153" y="238392"/>
                  </a:lnTo>
                  <a:lnTo>
                    <a:pt x="460217" y="242937"/>
                  </a:lnTo>
                  <a:close/>
                  <a:moveTo>
                    <a:pt x="453638" y="221526"/>
                  </a:moveTo>
                  <a:lnTo>
                    <a:pt x="453638" y="221526"/>
                  </a:lnTo>
                  <a:lnTo>
                    <a:pt x="459559" y="212854"/>
                  </a:lnTo>
                  <a:lnTo>
                    <a:pt x="459559" y="212854"/>
                  </a:lnTo>
                  <a:lnTo>
                    <a:pt x="453638" y="221526"/>
                  </a:lnTo>
                  <a:close/>
                  <a:moveTo>
                    <a:pt x="458243" y="206455"/>
                  </a:moveTo>
                  <a:lnTo>
                    <a:pt x="447956" y="181575"/>
                  </a:lnTo>
                  <a:lnTo>
                    <a:pt x="461832" y="165845"/>
                  </a:lnTo>
                  <a:lnTo>
                    <a:pt x="471759" y="189170"/>
                  </a:lnTo>
                  <a:lnTo>
                    <a:pt x="458243" y="206455"/>
                  </a:lnTo>
                  <a:close/>
                  <a:moveTo>
                    <a:pt x="475587" y="149219"/>
                  </a:moveTo>
                  <a:lnTo>
                    <a:pt x="475767" y="149398"/>
                  </a:lnTo>
                  <a:lnTo>
                    <a:pt x="461772" y="165247"/>
                  </a:lnTo>
                  <a:lnTo>
                    <a:pt x="461592" y="165068"/>
                  </a:lnTo>
                  <a:lnTo>
                    <a:pt x="475587" y="149219"/>
                  </a:lnTo>
                  <a:close/>
                  <a:moveTo>
                    <a:pt x="471939" y="188811"/>
                  </a:moveTo>
                  <a:lnTo>
                    <a:pt x="462011" y="165487"/>
                  </a:lnTo>
                  <a:lnTo>
                    <a:pt x="476006" y="149697"/>
                  </a:lnTo>
                  <a:lnTo>
                    <a:pt x="485515" y="171407"/>
                  </a:lnTo>
                  <a:lnTo>
                    <a:pt x="471939" y="188811"/>
                  </a:lnTo>
                  <a:close/>
                  <a:moveTo>
                    <a:pt x="485815" y="171108"/>
                  </a:moveTo>
                  <a:lnTo>
                    <a:pt x="476305" y="149398"/>
                  </a:lnTo>
                  <a:lnTo>
                    <a:pt x="490359" y="133490"/>
                  </a:lnTo>
                  <a:lnTo>
                    <a:pt x="499510" y="153525"/>
                  </a:lnTo>
                  <a:lnTo>
                    <a:pt x="485815" y="171108"/>
                  </a:lnTo>
                  <a:close/>
                  <a:moveTo>
                    <a:pt x="541914" y="99160"/>
                  </a:moveTo>
                  <a:lnTo>
                    <a:pt x="527919" y="117103"/>
                  </a:lnTo>
                  <a:lnTo>
                    <a:pt x="519545" y="100476"/>
                  </a:lnTo>
                  <a:lnTo>
                    <a:pt x="533839" y="84268"/>
                  </a:lnTo>
                  <a:lnTo>
                    <a:pt x="541914" y="99160"/>
                  </a:lnTo>
                  <a:close/>
                  <a:moveTo>
                    <a:pt x="527680" y="117402"/>
                  </a:moveTo>
                  <a:lnTo>
                    <a:pt x="513804" y="135224"/>
                  </a:lnTo>
                  <a:lnTo>
                    <a:pt x="505072" y="116863"/>
                  </a:lnTo>
                  <a:lnTo>
                    <a:pt x="519307" y="100775"/>
                  </a:lnTo>
                  <a:lnTo>
                    <a:pt x="527680" y="117402"/>
                  </a:lnTo>
                  <a:close/>
                  <a:moveTo>
                    <a:pt x="513505" y="135523"/>
                  </a:moveTo>
                  <a:lnTo>
                    <a:pt x="499690" y="153166"/>
                  </a:lnTo>
                  <a:lnTo>
                    <a:pt x="490539" y="133131"/>
                  </a:lnTo>
                  <a:lnTo>
                    <a:pt x="504713" y="117103"/>
                  </a:lnTo>
                  <a:lnTo>
                    <a:pt x="513505" y="135523"/>
                  </a:lnTo>
                  <a:close/>
                  <a:moveTo>
                    <a:pt x="542153" y="98861"/>
                  </a:moveTo>
                  <a:lnTo>
                    <a:pt x="534079" y="83969"/>
                  </a:lnTo>
                  <a:lnTo>
                    <a:pt x="548493" y="67642"/>
                  </a:lnTo>
                  <a:lnTo>
                    <a:pt x="556267" y="80740"/>
                  </a:lnTo>
                  <a:lnTo>
                    <a:pt x="542153" y="98861"/>
                  </a:lnTo>
                  <a:close/>
                  <a:moveTo>
                    <a:pt x="556507" y="80501"/>
                  </a:moveTo>
                  <a:lnTo>
                    <a:pt x="548791" y="67403"/>
                  </a:lnTo>
                  <a:lnTo>
                    <a:pt x="563325" y="51016"/>
                  </a:lnTo>
                  <a:lnTo>
                    <a:pt x="570741" y="62319"/>
                  </a:lnTo>
                  <a:lnTo>
                    <a:pt x="556507" y="80501"/>
                  </a:lnTo>
                  <a:close/>
                  <a:moveTo>
                    <a:pt x="570920" y="61960"/>
                  </a:moveTo>
                  <a:lnTo>
                    <a:pt x="563504" y="50717"/>
                  </a:lnTo>
                  <a:lnTo>
                    <a:pt x="578097" y="34210"/>
                  </a:lnTo>
                  <a:lnTo>
                    <a:pt x="585274" y="43659"/>
                  </a:lnTo>
                  <a:lnTo>
                    <a:pt x="570920" y="61960"/>
                  </a:lnTo>
                  <a:close/>
                  <a:moveTo>
                    <a:pt x="585453" y="43360"/>
                  </a:moveTo>
                  <a:lnTo>
                    <a:pt x="578336" y="33971"/>
                  </a:lnTo>
                  <a:lnTo>
                    <a:pt x="593049" y="17344"/>
                  </a:lnTo>
                  <a:lnTo>
                    <a:pt x="599927" y="24880"/>
                  </a:lnTo>
                  <a:lnTo>
                    <a:pt x="585453" y="43360"/>
                  </a:lnTo>
                  <a:close/>
                  <a:moveTo>
                    <a:pt x="600106" y="24581"/>
                  </a:moveTo>
                  <a:lnTo>
                    <a:pt x="593228" y="17045"/>
                  </a:lnTo>
                  <a:lnTo>
                    <a:pt x="608000" y="299"/>
                  </a:lnTo>
                  <a:lnTo>
                    <a:pt x="614579" y="5921"/>
                  </a:lnTo>
                  <a:lnTo>
                    <a:pt x="600106" y="24581"/>
                  </a:lnTo>
                  <a:close/>
                  <a:moveTo>
                    <a:pt x="607522" y="0"/>
                  </a:moveTo>
                  <a:lnTo>
                    <a:pt x="607761" y="60"/>
                  </a:lnTo>
                  <a:lnTo>
                    <a:pt x="592989" y="16746"/>
                  </a:lnTo>
                  <a:lnTo>
                    <a:pt x="592750" y="16686"/>
                  </a:lnTo>
                  <a:lnTo>
                    <a:pt x="607522" y="0"/>
                  </a:lnTo>
                  <a:close/>
                  <a:moveTo>
                    <a:pt x="592511" y="16985"/>
                  </a:moveTo>
                  <a:lnTo>
                    <a:pt x="592750" y="17045"/>
                  </a:lnTo>
                  <a:lnTo>
                    <a:pt x="578097" y="33671"/>
                  </a:lnTo>
                  <a:lnTo>
                    <a:pt x="577857" y="33552"/>
                  </a:lnTo>
                  <a:lnTo>
                    <a:pt x="592511" y="16985"/>
                  </a:lnTo>
                  <a:close/>
                  <a:moveTo>
                    <a:pt x="577559" y="33851"/>
                  </a:moveTo>
                  <a:lnTo>
                    <a:pt x="577798" y="33971"/>
                  </a:lnTo>
                  <a:lnTo>
                    <a:pt x="563205" y="50477"/>
                  </a:lnTo>
                  <a:lnTo>
                    <a:pt x="562965" y="50358"/>
                  </a:lnTo>
                  <a:lnTo>
                    <a:pt x="577559" y="33851"/>
                  </a:lnTo>
                  <a:close/>
                  <a:moveTo>
                    <a:pt x="562727" y="50657"/>
                  </a:moveTo>
                  <a:lnTo>
                    <a:pt x="562965" y="50776"/>
                  </a:lnTo>
                  <a:lnTo>
                    <a:pt x="548493" y="67164"/>
                  </a:lnTo>
                  <a:lnTo>
                    <a:pt x="548253" y="67044"/>
                  </a:lnTo>
                  <a:lnTo>
                    <a:pt x="562727" y="50657"/>
                  </a:lnTo>
                  <a:close/>
                  <a:moveTo>
                    <a:pt x="548014" y="67283"/>
                  </a:moveTo>
                  <a:lnTo>
                    <a:pt x="548253" y="67403"/>
                  </a:lnTo>
                  <a:lnTo>
                    <a:pt x="533839" y="83730"/>
                  </a:lnTo>
                  <a:lnTo>
                    <a:pt x="533601" y="83611"/>
                  </a:lnTo>
                  <a:lnTo>
                    <a:pt x="548014" y="67283"/>
                  </a:lnTo>
                  <a:close/>
                  <a:moveTo>
                    <a:pt x="533361" y="83910"/>
                  </a:moveTo>
                  <a:lnTo>
                    <a:pt x="533601" y="84029"/>
                  </a:lnTo>
                  <a:lnTo>
                    <a:pt x="519247" y="100237"/>
                  </a:lnTo>
                  <a:lnTo>
                    <a:pt x="519067" y="100117"/>
                  </a:lnTo>
                  <a:lnTo>
                    <a:pt x="533361" y="83910"/>
                  </a:lnTo>
                  <a:close/>
                  <a:moveTo>
                    <a:pt x="518768" y="100356"/>
                  </a:moveTo>
                  <a:lnTo>
                    <a:pt x="518947" y="100476"/>
                  </a:lnTo>
                  <a:lnTo>
                    <a:pt x="504713" y="116564"/>
                  </a:lnTo>
                  <a:lnTo>
                    <a:pt x="504534" y="116445"/>
                  </a:lnTo>
                  <a:lnTo>
                    <a:pt x="518768" y="100356"/>
                  </a:lnTo>
                  <a:close/>
                  <a:moveTo>
                    <a:pt x="504295" y="116744"/>
                  </a:moveTo>
                  <a:lnTo>
                    <a:pt x="504475" y="116863"/>
                  </a:lnTo>
                  <a:lnTo>
                    <a:pt x="490300" y="132892"/>
                  </a:lnTo>
                  <a:lnTo>
                    <a:pt x="490121" y="132712"/>
                  </a:lnTo>
                  <a:lnTo>
                    <a:pt x="504295" y="116744"/>
                  </a:lnTo>
                  <a:close/>
                  <a:moveTo>
                    <a:pt x="489941" y="133011"/>
                  </a:moveTo>
                  <a:lnTo>
                    <a:pt x="490121" y="133191"/>
                  </a:lnTo>
                  <a:lnTo>
                    <a:pt x="476066" y="149099"/>
                  </a:lnTo>
                  <a:lnTo>
                    <a:pt x="475886" y="148920"/>
                  </a:lnTo>
                  <a:lnTo>
                    <a:pt x="489941" y="133011"/>
                  </a:lnTo>
                  <a:close/>
                  <a:moveTo>
                    <a:pt x="461413" y="165307"/>
                  </a:moveTo>
                  <a:lnTo>
                    <a:pt x="461592" y="165487"/>
                  </a:lnTo>
                  <a:lnTo>
                    <a:pt x="447658" y="181216"/>
                  </a:lnTo>
                  <a:lnTo>
                    <a:pt x="447478" y="181036"/>
                  </a:lnTo>
                  <a:lnTo>
                    <a:pt x="461413" y="165307"/>
                  </a:lnTo>
                  <a:close/>
                  <a:moveTo>
                    <a:pt x="446940" y="199457"/>
                  </a:moveTo>
                  <a:lnTo>
                    <a:pt x="437969" y="192161"/>
                  </a:lnTo>
                  <a:lnTo>
                    <a:pt x="421701" y="175474"/>
                  </a:lnTo>
                  <a:lnTo>
                    <a:pt x="440002" y="190247"/>
                  </a:lnTo>
                  <a:lnTo>
                    <a:pt x="447896" y="198261"/>
                  </a:lnTo>
                  <a:lnTo>
                    <a:pt x="446940" y="199457"/>
                  </a:lnTo>
                  <a:close/>
                  <a:moveTo>
                    <a:pt x="389046" y="228105"/>
                  </a:moveTo>
                  <a:lnTo>
                    <a:pt x="374274" y="245927"/>
                  </a:lnTo>
                  <a:lnTo>
                    <a:pt x="374094" y="245568"/>
                  </a:lnTo>
                  <a:lnTo>
                    <a:pt x="388687" y="228045"/>
                  </a:lnTo>
                  <a:lnTo>
                    <a:pt x="389046" y="228105"/>
                  </a:lnTo>
                  <a:close/>
                  <a:moveTo>
                    <a:pt x="19617" y="667090"/>
                  </a:moveTo>
                  <a:lnTo>
                    <a:pt x="16567" y="662903"/>
                  </a:lnTo>
                  <a:lnTo>
                    <a:pt x="21531" y="664757"/>
                  </a:lnTo>
                  <a:lnTo>
                    <a:pt x="19617" y="667090"/>
                  </a:lnTo>
                  <a:close/>
                </a:path>
              </a:pathLst>
            </a:custGeom>
            <a:noFill/>
            <a:ln w="6350" cap="flat">
              <a:solidFill>
                <a:schemeClr val="bg1">
                  <a:alpha val="80000"/>
                </a:schemeClr>
              </a:solidFill>
              <a:prstDash val="solid"/>
              <a:miter/>
            </a:ln>
          </p:spPr>
          <p:txBody>
            <a:bodyPr rtlCol="0" anchor="ctr"/>
            <a:lstStyle/>
            <a:p>
              <a:endParaRPr lang="en-GB"/>
            </a:p>
          </p:txBody>
        </p:sp>
        <p:grpSp>
          <p:nvGrpSpPr>
            <p:cNvPr id="5356" name="Graphic 3">
              <a:extLst>
                <a:ext uri="{FF2B5EF4-FFF2-40B4-BE49-F238E27FC236}">
                  <a16:creationId xmlns:a16="http://schemas.microsoft.com/office/drawing/2014/main" id="{CEB82CF5-962A-4423-A88A-B1BDAEE7B73B}"/>
                </a:ext>
              </a:extLst>
            </p:cNvPr>
            <p:cNvGrpSpPr/>
            <p:nvPr/>
          </p:nvGrpSpPr>
          <p:grpSpPr>
            <a:xfrm>
              <a:off x="7039449" y="1868657"/>
              <a:ext cx="650045" cy="652915"/>
              <a:chOff x="7039449" y="1868657"/>
              <a:chExt cx="650045" cy="652915"/>
            </a:xfrm>
            <a:noFill/>
          </p:grpSpPr>
          <p:sp>
            <p:nvSpPr>
              <p:cNvPr id="7121" name="Vrije vorm: vorm 7120">
                <a:extLst>
                  <a:ext uri="{FF2B5EF4-FFF2-40B4-BE49-F238E27FC236}">
                    <a16:creationId xmlns:a16="http://schemas.microsoft.com/office/drawing/2014/main" id="{B04870C7-6061-4CBC-8939-3AF11F7A2C8C}"/>
                  </a:ext>
                </a:extLst>
              </p:cNvPr>
              <p:cNvSpPr/>
              <p:nvPr/>
            </p:nvSpPr>
            <p:spPr>
              <a:xfrm>
                <a:off x="7039449" y="1890606"/>
                <a:ext cx="399632" cy="423674"/>
              </a:xfrm>
              <a:custGeom>
                <a:avLst/>
                <a:gdLst>
                  <a:gd name="connsiteX0" fmla="*/ 110883 w 399632"/>
                  <a:gd name="connsiteY0" fmla="*/ 0 h 423674"/>
                  <a:gd name="connsiteX1" fmla="*/ 399632 w 399632"/>
                  <a:gd name="connsiteY1" fmla="*/ 276130 h 423674"/>
                  <a:gd name="connsiteX2" fmla="*/ 258547 w 399632"/>
                  <a:gd name="connsiteY2" fmla="*/ 423674 h 423674"/>
                  <a:gd name="connsiteX3" fmla="*/ 0 w 399632"/>
                  <a:gd name="connsiteY3" fmla="*/ 115966 h 423674"/>
                </a:gdLst>
                <a:ahLst/>
                <a:cxnLst>
                  <a:cxn ang="0">
                    <a:pos x="connsiteX0" y="connsiteY0"/>
                  </a:cxn>
                  <a:cxn ang="0">
                    <a:pos x="connsiteX1" y="connsiteY1"/>
                  </a:cxn>
                  <a:cxn ang="0">
                    <a:pos x="connsiteX2" y="connsiteY2"/>
                  </a:cxn>
                  <a:cxn ang="0">
                    <a:pos x="connsiteX3" y="connsiteY3"/>
                  </a:cxn>
                </a:cxnLst>
                <a:rect l="l" t="t" r="r" b="b"/>
                <a:pathLst>
                  <a:path w="399632" h="423674">
                    <a:moveTo>
                      <a:pt x="110883" y="0"/>
                    </a:moveTo>
                    <a:lnTo>
                      <a:pt x="399632" y="276130"/>
                    </a:lnTo>
                    <a:lnTo>
                      <a:pt x="258547" y="423674"/>
                    </a:lnTo>
                    <a:lnTo>
                      <a:pt x="0" y="115966"/>
                    </a:lnTo>
                    <a:close/>
                  </a:path>
                </a:pathLst>
              </a:custGeom>
              <a:noFill/>
              <a:ln w="6350" cap="flat">
                <a:solidFill>
                  <a:schemeClr val="bg1">
                    <a:alpha val="80000"/>
                  </a:schemeClr>
                </a:solidFill>
                <a:prstDash val="solid"/>
                <a:miter/>
              </a:ln>
            </p:spPr>
            <p:txBody>
              <a:bodyPr rtlCol="0" anchor="ctr"/>
              <a:lstStyle/>
              <a:p>
                <a:endParaRPr lang="en-GB"/>
              </a:p>
            </p:txBody>
          </p:sp>
          <p:sp>
            <p:nvSpPr>
              <p:cNvPr id="7122" name="Vrije vorm: vorm 7121">
                <a:extLst>
                  <a:ext uri="{FF2B5EF4-FFF2-40B4-BE49-F238E27FC236}">
                    <a16:creationId xmlns:a16="http://schemas.microsoft.com/office/drawing/2014/main" id="{97AE1507-E56C-4BD7-9466-C4BF0EF54095}"/>
                  </a:ext>
                </a:extLst>
              </p:cNvPr>
              <p:cNvSpPr/>
              <p:nvPr/>
            </p:nvSpPr>
            <p:spPr>
              <a:xfrm>
                <a:off x="7297996" y="2166736"/>
                <a:ext cx="374093" cy="354836"/>
              </a:xfrm>
              <a:custGeom>
                <a:avLst/>
                <a:gdLst>
                  <a:gd name="connsiteX0" fmla="*/ 374094 w 374093"/>
                  <a:gd name="connsiteY0" fmla="*/ 222782 h 354836"/>
                  <a:gd name="connsiteX1" fmla="*/ 141085 w 374093"/>
                  <a:gd name="connsiteY1" fmla="*/ 0 h 354836"/>
                  <a:gd name="connsiteX2" fmla="*/ 0 w 374093"/>
                  <a:gd name="connsiteY2" fmla="*/ 147544 h 354836"/>
                  <a:gd name="connsiteX3" fmla="*/ 247841 w 374093"/>
                  <a:gd name="connsiteY3" fmla="*/ 354836 h 354836"/>
                </a:gdLst>
                <a:ahLst/>
                <a:cxnLst>
                  <a:cxn ang="0">
                    <a:pos x="connsiteX0" y="connsiteY0"/>
                  </a:cxn>
                  <a:cxn ang="0">
                    <a:pos x="connsiteX1" y="connsiteY1"/>
                  </a:cxn>
                  <a:cxn ang="0">
                    <a:pos x="connsiteX2" y="connsiteY2"/>
                  </a:cxn>
                  <a:cxn ang="0">
                    <a:pos x="connsiteX3" y="connsiteY3"/>
                  </a:cxn>
                </a:cxnLst>
                <a:rect l="l" t="t" r="r" b="b"/>
                <a:pathLst>
                  <a:path w="374093" h="354836">
                    <a:moveTo>
                      <a:pt x="374094" y="222782"/>
                    </a:moveTo>
                    <a:lnTo>
                      <a:pt x="141085" y="0"/>
                    </a:lnTo>
                    <a:lnTo>
                      <a:pt x="0" y="147544"/>
                    </a:lnTo>
                    <a:lnTo>
                      <a:pt x="247841" y="354836"/>
                    </a:lnTo>
                    <a:close/>
                  </a:path>
                </a:pathLst>
              </a:custGeom>
              <a:noFill/>
              <a:ln w="6350" cap="flat">
                <a:solidFill>
                  <a:schemeClr val="bg1">
                    <a:alpha val="80000"/>
                  </a:schemeClr>
                </a:solidFill>
                <a:prstDash val="solid"/>
                <a:miter/>
              </a:ln>
            </p:spPr>
            <p:txBody>
              <a:bodyPr rtlCol="0" anchor="ctr"/>
              <a:lstStyle/>
              <a:p>
                <a:endParaRPr lang="en-GB"/>
              </a:p>
            </p:txBody>
          </p:sp>
          <p:grpSp>
            <p:nvGrpSpPr>
              <p:cNvPr id="7123" name="Graphic 3">
                <a:extLst>
                  <a:ext uri="{FF2B5EF4-FFF2-40B4-BE49-F238E27FC236}">
                    <a16:creationId xmlns:a16="http://schemas.microsoft.com/office/drawing/2014/main" id="{719068DE-9B11-4795-98E7-3DBC9E4B84D9}"/>
                  </a:ext>
                </a:extLst>
              </p:cNvPr>
              <p:cNvGrpSpPr/>
              <p:nvPr/>
            </p:nvGrpSpPr>
            <p:grpSpPr>
              <a:xfrm>
                <a:off x="7072702" y="1942878"/>
                <a:ext cx="147245" cy="155618"/>
                <a:chOff x="7072702" y="1942878"/>
                <a:chExt cx="147245" cy="155618"/>
              </a:xfrm>
              <a:noFill/>
            </p:grpSpPr>
            <p:sp>
              <p:nvSpPr>
                <p:cNvPr id="7142" name="Vrije vorm: vorm 7141">
                  <a:extLst>
                    <a:ext uri="{FF2B5EF4-FFF2-40B4-BE49-F238E27FC236}">
                      <a16:creationId xmlns:a16="http://schemas.microsoft.com/office/drawing/2014/main" id="{8AB074DF-6497-4D68-8D37-43C919A50C94}"/>
                    </a:ext>
                  </a:extLst>
                </p:cNvPr>
                <p:cNvSpPr/>
                <p:nvPr/>
              </p:nvSpPr>
              <p:spPr>
                <a:xfrm>
                  <a:off x="7072702" y="1942878"/>
                  <a:ext cx="147245" cy="155618"/>
                </a:xfrm>
                <a:custGeom>
                  <a:avLst/>
                  <a:gdLst>
                    <a:gd name="connsiteX0" fmla="*/ 44616 w 147245"/>
                    <a:gd name="connsiteY0" fmla="*/ 155618 h 155618"/>
                    <a:gd name="connsiteX1" fmla="*/ 0 w 147245"/>
                    <a:gd name="connsiteY1" fmla="*/ 103765 h 155618"/>
                    <a:gd name="connsiteX2" fmla="*/ 99100 w 147245"/>
                    <a:gd name="connsiteY2" fmla="*/ 0 h 155618"/>
                    <a:gd name="connsiteX3" fmla="*/ 147245 w 147245"/>
                    <a:gd name="connsiteY3" fmla="*/ 46590 h 155618"/>
                  </a:gdLst>
                  <a:ahLst/>
                  <a:cxnLst>
                    <a:cxn ang="0">
                      <a:pos x="connsiteX0" y="connsiteY0"/>
                    </a:cxn>
                    <a:cxn ang="0">
                      <a:pos x="connsiteX1" y="connsiteY1"/>
                    </a:cxn>
                    <a:cxn ang="0">
                      <a:pos x="connsiteX2" y="connsiteY2"/>
                    </a:cxn>
                    <a:cxn ang="0">
                      <a:pos x="connsiteX3" y="connsiteY3"/>
                    </a:cxn>
                  </a:cxnLst>
                  <a:rect l="l" t="t" r="r" b="b"/>
                  <a:pathLst>
                    <a:path w="147245" h="155618">
                      <a:moveTo>
                        <a:pt x="44616" y="155618"/>
                      </a:moveTo>
                      <a:lnTo>
                        <a:pt x="0" y="103765"/>
                      </a:lnTo>
                      <a:lnTo>
                        <a:pt x="99100" y="0"/>
                      </a:lnTo>
                      <a:lnTo>
                        <a:pt x="147245" y="46590"/>
                      </a:lnTo>
                      <a:close/>
                    </a:path>
                  </a:pathLst>
                </a:custGeom>
                <a:noFill/>
                <a:ln w="6350" cap="flat">
                  <a:solidFill>
                    <a:schemeClr val="bg1">
                      <a:alpha val="80000"/>
                    </a:schemeClr>
                  </a:solidFill>
                  <a:prstDash val="solid"/>
                  <a:miter/>
                </a:ln>
              </p:spPr>
              <p:txBody>
                <a:bodyPr rtlCol="0" anchor="ctr"/>
                <a:lstStyle/>
                <a:p>
                  <a:endParaRPr lang="en-GB"/>
                </a:p>
              </p:txBody>
            </p:sp>
            <p:sp>
              <p:nvSpPr>
                <p:cNvPr id="7143" name="Vrije vorm: vorm 7142">
                  <a:extLst>
                    <a:ext uri="{FF2B5EF4-FFF2-40B4-BE49-F238E27FC236}">
                      <a16:creationId xmlns:a16="http://schemas.microsoft.com/office/drawing/2014/main" id="{EA038D05-12FE-4496-8216-0F491138E86A}"/>
                    </a:ext>
                  </a:extLst>
                </p:cNvPr>
                <p:cNvSpPr/>
                <p:nvPr/>
              </p:nvSpPr>
              <p:spPr>
                <a:xfrm>
                  <a:off x="7074855" y="1944971"/>
                  <a:ext cx="145092" cy="153525"/>
                </a:xfrm>
                <a:custGeom>
                  <a:avLst/>
                  <a:gdLst>
                    <a:gd name="connsiteX0" fmla="*/ 42463 w 145092"/>
                    <a:gd name="connsiteY0" fmla="*/ 153525 h 153525"/>
                    <a:gd name="connsiteX1" fmla="*/ 0 w 145092"/>
                    <a:gd name="connsiteY1" fmla="*/ 103766 h 153525"/>
                    <a:gd name="connsiteX2" fmla="*/ 99160 w 145092"/>
                    <a:gd name="connsiteY2" fmla="*/ 0 h 153525"/>
                    <a:gd name="connsiteX3" fmla="*/ 145092 w 145092"/>
                    <a:gd name="connsiteY3" fmla="*/ 44497 h 153525"/>
                  </a:gdLst>
                  <a:ahLst/>
                  <a:cxnLst>
                    <a:cxn ang="0">
                      <a:pos x="connsiteX0" y="connsiteY0"/>
                    </a:cxn>
                    <a:cxn ang="0">
                      <a:pos x="connsiteX1" y="connsiteY1"/>
                    </a:cxn>
                    <a:cxn ang="0">
                      <a:pos x="connsiteX2" y="connsiteY2"/>
                    </a:cxn>
                    <a:cxn ang="0">
                      <a:pos x="connsiteX3" y="connsiteY3"/>
                    </a:cxn>
                  </a:cxnLst>
                  <a:rect l="l" t="t" r="r" b="b"/>
                  <a:pathLst>
                    <a:path w="145092" h="153525">
                      <a:moveTo>
                        <a:pt x="42463" y="153525"/>
                      </a:moveTo>
                      <a:lnTo>
                        <a:pt x="0" y="103766"/>
                      </a:lnTo>
                      <a:lnTo>
                        <a:pt x="99160" y="0"/>
                      </a:lnTo>
                      <a:lnTo>
                        <a:pt x="145092" y="44497"/>
                      </a:lnTo>
                      <a:close/>
                    </a:path>
                  </a:pathLst>
                </a:custGeom>
                <a:noFill/>
                <a:ln w="6350" cap="flat">
                  <a:solidFill>
                    <a:schemeClr val="bg1">
                      <a:alpha val="80000"/>
                    </a:schemeClr>
                  </a:solidFill>
                  <a:prstDash val="solid"/>
                  <a:miter/>
                </a:ln>
              </p:spPr>
              <p:txBody>
                <a:bodyPr rtlCol="0" anchor="ctr"/>
                <a:lstStyle/>
                <a:p>
                  <a:endParaRPr lang="en-GB"/>
                </a:p>
              </p:txBody>
            </p:sp>
          </p:grpSp>
          <p:grpSp>
            <p:nvGrpSpPr>
              <p:cNvPr id="7124" name="Graphic 3">
                <a:extLst>
                  <a:ext uri="{FF2B5EF4-FFF2-40B4-BE49-F238E27FC236}">
                    <a16:creationId xmlns:a16="http://schemas.microsoft.com/office/drawing/2014/main" id="{63FB6216-A6D0-4790-9E9F-DAE680F5063F}"/>
                  </a:ext>
                </a:extLst>
              </p:cNvPr>
              <p:cNvGrpSpPr/>
              <p:nvPr/>
            </p:nvGrpSpPr>
            <p:grpSpPr>
              <a:xfrm>
                <a:off x="7223117" y="2040184"/>
                <a:ext cx="75656" cy="77569"/>
                <a:chOff x="7223117" y="2040184"/>
                <a:chExt cx="75656" cy="77569"/>
              </a:xfrm>
              <a:noFill/>
            </p:grpSpPr>
            <p:sp>
              <p:nvSpPr>
                <p:cNvPr id="7137" name="Vrije vorm: vorm 7136">
                  <a:extLst>
                    <a:ext uri="{FF2B5EF4-FFF2-40B4-BE49-F238E27FC236}">
                      <a16:creationId xmlns:a16="http://schemas.microsoft.com/office/drawing/2014/main" id="{88F37788-4786-458A-A655-14DE0772C165}"/>
                    </a:ext>
                  </a:extLst>
                </p:cNvPr>
                <p:cNvSpPr/>
                <p:nvPr/>
              </p:nvSpPr>
              <p:spPr>
                <a:xfrm>
                  <a:off x="7223117" y="2040184"/>
                  <a:ext cx="75656" cy="77569"/>
                </a:xfrm>
                <a:custGeom>
                  <a:avLst/>
                  <a:gdLst>
                    <a:gd name="connsiteX0" fmla="*/ 50118 w 75656"/>
                    <a:gd name="connsiteY0" fmla="*/ 0 h 77569"/>
                    <a:gd name="connsiteX1" fmla="*/ 75656 w 75656"/>
                    <a:gd name="connsiteY1" fmla="*/ 24760 h 77569"/>
                    <a:gd name="connsiteX2" fmla="*/ 25059 w 75656"/>
                    <a:gd name="connsiteY2" fmla="*/ 77570 h 77569"/>
                    <a:gd name="connsiteX3" fmla="*/ 0 w 75656"/>
                    <a:gd name="connsiteY3" fmla="*/ 52451 h 77569"/>
                  </a:gdLst>
                  <a:ahLst/>
                  <a:cxnLst>
                    <a:cxn ang="0">
                      <a:pos x="connsiteX0" y="connsiteY0"/>
                    </a:cxn>
                    <a:cxn ang="0">
                      <a:pos x="connsiteX1" y="connsiteY1"/>
                    </a:cxn>
                    <a:cxn ang="0">
                      <a:pos x="connsiteX2" y="connsiteY2"/>
                    </a:cxn>
                    <a:cxn ang="0">
                      <a:pos x="connsiteX3" y="connsiteY3"/>
                    </a:cxn>
                  </a:cxnLst>
                  <a:rect l="l" t="t" r="r" b="b"/>
                  <a:pathLst>
                    <a:path w="75656" h="77569">
                      <a:moveTo>
                        <a:pt x="50118" y="0"/>
                      </a:moveTo>
                      <a:lnTo>
                        <a:pt x="75656" y="24760"/>
                      </a:lnTo>
                      <a:lnTo>
                        <a:pt x="25059" y="77570"/>
                      </a:lnTo>
                      <a:lnTo>
                        <a:pt x="0" y="52451"/>
                      </a:lnTo>
                      <a:close/>
                    </a:path>
                  </a:pathLst>
                </a:custGeom>
                <a:noFill/>
                <a:ln w="6350" cap="flat">
                  <a:solidFill>
                    <a:schemeClr val="bg1">
                      <a:alpha val="80000"/>
                    </a:schemeClr>
                  </a:solidFill>
                  <a:prstDash val="solid"/>
                  <a:miter/>
                </a:ln>
              </p:spPr>
              <p:txBody>
                <a:bodyPr rtlCol="0" anchor="ctr"/>
                <a:lstStyle/>
                <a:p>
                  <a:endParaRPr lang="en-GB"/>
                </a:p>
              </p:txBody>
            </p:sp>
            <p:sp>
              <p:nvSpPr>
                <p:cNvPr id="7138" name="Vrije vorm: vorm 7137">
                  <a:extLst>
                    <a:ext uri="{FF2B5EF4-FFF2-40B4-BE49-F238E27FC236}">
                      <a16:creationId xmlns:a16="http://schemas.microsoft.com/office/drawing/2014/main" id="{8D7A0DB9-C7BE-44FB-8F09-EEFAE6CF1334}"/>
                    </a:ext>
                  </a:extLst>
                </p:cNvPr>
                <p:cNvSpPr/>
                <p:nvPr/>
              </p:nvSpPr>
              <p:spPr>
                <a:xfrm>
                  <a:off x="7249970" y="2043354"/>
                  <a:ext cx="34628" cy="35465"/>
                </a:xfrm>
                <a:custGeom>
                  <a:avLst/>
                  <a:gdLst>
                    <a:gd name="connsiteX0" fmla="*/ 34629 w 34628"/>
                    <a:gd name="connsiteY0" fmla="*/ 10526 h 35465"/>
                    <a:gd name="connsiteX1" fmla="*/ 23803 w 34628"/>
                    <a:gd name="connsiteY1" fmla="*/ 0 h 35465"/>
                    <a:gd name="connsiteX2" fmla="*/ 0 w 34628"/>
                    <a:gd name="connsiteY2" fmla="*/ 24880 h 35465"/>
                    <a:gd name="connsiteX3" fmla="*/ 10825 w 34628"/>
                    <a:gd name="connsiteY3" fmla="*/ 35466 h 35465"/>
                  </a:gdLst>
                  <a:ahLst/>
                  <a:cxnLst>
                    <a:cxn ang="0">
                      <a:pos x="connsiteX0" y="connsiteY0"/>
                    </a:cxn>
                    <a:cxn ang="0">
                      <a:pos x="connsiteX1" y="connsiteY1"/>
                    </a:cxn>
                    <a:cxn ang="0">
                      <a:pos x="connsiteX2" y="connsiteY2"/>
                    </a:cxn>
                    <a:cxn ang="0">
                      <a:pos x="connsiteX3" y="connsiteY3"/>
                    </a:cxn>
                  </a:cxnLst>
                  <a:rect l="l" t="t" r="r" b="b"/>
                  <a:pathLst>
                    <a:path w="34628" h="35465">
                      <a:moveTo>
                        <a:pt x="34629" y="10526"/>
                      </a:moveTo>
                      <a:lnTo>
                        <a:pt x="23803" y="0"/>
                      </a:lnTo>
                      <a:lnTo>
                        <a:pt x="0" y="24880"/>
                      </a:lnTo>
                      <a:lnTo>
                        <a:pt x="10825" y="35466"/>
                      </a:lnTo>
                      <a:close/>
                    </a:path>
                  </a:pathLst>
                </a:custGeom>
                <a:noFill/>
                <a:ln w="6350" cap="flat">
                  <a:solidFill>
                    <a:schemeClr val="bg1">
                      <a:alpha val="80000"/>
                    </a:schemeClr>
                  </a:solidFill>
                  <a:prstDash val="solid"/>
                  <a:miter/>
                </a:ln>
              </p:spPr>
              <p:txBody>
                <a:bodyPr rtlCol="0" anchor="ctr"/>
                <a:lstStyle/>
                <a:p>
                  <a:endParaRPr lang="en-GB"/>
                </a:p>
              </p:txBody>
            </p:sp>
            <p:sp>
              <p:nvSpPr>
                <p:cNvPr id="7139" name="Vrije vorm: vorm 7138">
                  <a:extLst>
                    <a:ext uri="{FF2B5EF4-FFF2-40B4-BE49-F238E27FC236}">
                      <a16:creationId xmlns:a16="http://schemas.microsoft.com/office/drawing/2014/main" id="{C8C7DBCD-6564-413D-A48B-9D1C515A9E7B}"/>
                    </a:ext>
                  </a:extLst>
                </p:cNvPr>
                <p:cNvSpPr/>
                <p:nvPr/>
              </p:nvSpPr>
              <p:spPr>
                <a:xfrm>
                  <a:off x="7262470" y="2055554"/>
                  <a:ext cx="34269" cy="35106"/>
                </a:xfrm>
                <a:custGeom>
                  <a:avLst/>
                  <a:gdLst>
                    <a:gd name="connsiteX0" fmla="*/ 23863 w 34269"/>
                    <a:gd name="connsiteY0" fmla="*/ 0 h 35106"/>
                    <a:gd name="connsiteX1" fmla="*/ 0 w 34269"/>
                    <a:gd name="connsiteY1" fmla="*/ 24940 h 35106"/>
                    <a:gd name="connsiteX2" fmla="*/ 10347 w 34269"/>
                    <a:gd name="connsiteY2" fmla="*/ 35107 h 35106"/>
                    <a:gd name="connsiteX3" fmla="*/ 34269 w 34269"/>
                    <a:gd name="connsiteY3" fmla="*/ 10107 h 35106"/>
                  </a:gdLst>
                  <a:ahLst/>
                  <a:cxnLst>
                    <a:cxn ang="0">
                      <a:pos x="connsiteX0" y="connsiteY0"/>
                    </a:cxn>
                    <a:cxn ang="0">
                      <a:pos x="connsiteX1" y="connsiteY1"/>
                    </a:cxn>
                    <a:cxn ang="0">
                      <a:pos x="connsiteX2" y="connsiteY2"/>
                    </a:cxn>
                    <a:cxn ang="0">
                      <a:pos x="connsiteX3" y="connsiteY3"/>
                    </a:cxn>
                  </a:cxnLst>
                  <a:rect l="l" t="t" r="r" b="b"/>
                  <a:pathLst>
                    <a:path w="34269" h="35106">
                      <a:moveTo>
                        <a:pt x="23863" y="0"/>
                      </a:moveTo>
                      <a:lnTo>
                        <a:pt x="0" y="24940"/>
                      </a:lnTo>
                      <a:lnTo>
                        <a:pt x="10347" y="35107"/>
                      </a:lnTo>
                      <a:lnTo>
                        <a:pt x="34269" y="10107"/>
                      </a:lnTo>
                      <a:close/>
                    </a:path>
                  </a:pathLst>
                </a:custGeom>
                <a:noFill/>
                <a:ln w="6350" cap="flat">
                  <a:solidFill>
                    <a:schemeClr val="bg1">
                      <a:alpha val="80000"/>
                    </a:schemeClr>
                  </a:solidFill>
                  <a:prstDash val="solid"/>
                  <a:miter/>
                </a:ln>
              </p:spPr>
              <p:txBody>
                <a:bodyPr rtlCol="0" anchor="ctr"/>
                <a:lstStyle/>
                <a:p>
                  <a:endParaRPr lang="en-GB"/>
                </a:p>
              </p:txBody>
            </p:sp>
            <p:sp>
              <p:nvSpPr>
                <p:cNvPr id="7140" name="Vrije vorm: vorm 7139">
                  <a:extLst>
                    <a:ext uri="{FF2B5EF4-FFF2-40B4-BE49-F238E27FC236}">
                      <a16:creationId xmlns:a16="http://schemas.microsoft.com/office/drawing/2014/main" id="{BF700176-EC75-462D-AAF1-39C77E3EDC57}"/>
                    </a:ext>
                  </a:extLst>
                </p:cNvPr>
                <p:cNvSpPr/>
                <p:nvPr/>
              </p:nvSpPr>
              <p:spPr>
                <a:xfrm>
                  <a:off x="7226227" y="2069848"/>
                  <a:ext cx="32953" cy="33910"/>
                </a:xfrm>
                <a:custGeom>
                  <a:avLst/>
                  <a:gdLst>
                    <a:gd name="connsiteX0" fmla="*/ 32954 w 32953"/>
                    <a:gd name="connsiteY0" fmla="*/ 10646 h 33910"/>
                    <a:gd name="connsiteX1" fmla="*/ 22188 w 32953"/>
                    <a:gd name="connsiteY1" fmla="*/ 0 h 33910"/>
                    <a:gd name="connsiteX2" fmla="*/ 0 w 32953"/>
                    <a:gd name="connsiteY2" fmla="*/ 23205 h 33910"/>
                    <a:gd name="connsiteX3" fmla="*/ 10705 w 32953"/>
                    <a:gd name="connsiteY3" fmla="*/ 33911 h 33910"/>
                  </a:gdLst>
                  <a:ahLst/>
                  <a:cxnLst>
                    <a:cxn ang="0">
                      <a:pos x="connsiteX0" y="connsiteY0"/>
                    </a:cxn>
                    <a:cxn ang="0">
                      <a:pos x="connsiteX1" y="connsiteY1"/>
                    </a:cxn>
                    <a:cxn ang="0">
                      <a:pos x="connsiteX2" y="connsiteY2"/>
                    </a:cxn>
                    <a:cxn ang="0">
                      <a:pos x="connsiteX3" y="connsiteY3"/>
                    </a:cxn>
                  </a:cxnLst>
                  <a:rect l="l" t="t" r="r" b="b"/>
                  <a:pathLst>
                    <a:path w="32953" h="33910">
                      <a:moveTo>
                        <a:pt x="32954" y="10646"/>
                      </a:moveTo>
                      <a:lnTo>
                        <a:pt x="22188" y="0"/>
                      </a:lnTo>
                      <a:lnTo>
                        <a:pt x="0" y="23205"/>
                      </a:lnTo>
                      <a:lnTo>
                        <a:pt x="10705" y="33911"/>
                      </a:lnTo>
                      <a:close/>
                    </a:path>
                  </a:pathLst>
                </a:custGeom>
                <a:noFill/>
                <a:ln w="6350" cap="flat">
                  <a:solidFill>
                    <a:schemeClr val="bg1">
                      <a:alpha val="80000"/>
                    </a:schemeClr>
                  </a:solidFill>
                  <a:prstDash val="solid"/>
                  <a:miter/>
                </a:ln>
              </p:spPr>
              <p:txBody>
                <a:bodyPr rtlCol="0" anchor="ctr"/>
                <a:lstStyle/>
                <a:p>
                  <a:endParaRPr lang="en-GB"/>
                </a:p>
              </p:txBody>
            </p:sp>
            <p:sp>
              <p:nvSpPr>
                <p:cNvPr id="7141" name="Vrije vorm: vorm 7140">
                  <a:extLst>
                    <a:ext uri="{FF2B5EF4-FFF2-40B4-BE49-F238E27FC236}">
                      <a16:creationId xmlns:a16="http://schemas.microsoft.com/office/drawing/2014/main" id="{6211748C-07F5-4E5F-AD0C-D6E1EE887A1C}"/>
                    </a:ext>
                  </a:extLst>
                </p:cNvPr>
                <p:cNvSpPr/>
                <p:nvPr/>
              </p:nvSpPr>
              <p:spPr>
                <a:xfrm>
                  <a:off x="7238607" y="2082168"/>
                  <a:ext cx="32654" cy="33611"/>
                </a:xfrm>
                <a:custGeom>
                  <a:avLst/>
                  <a:gdLst>
                    <a:gd name="connsiteX0" fmla="*/ 22308 w 32654"/>
                    <a:gd name="connsiteY0" fmla="*/ 0 h 33611"/>
                    <a:gd name="connsiteX1" fmla="*/ 0 w 32654"/>
                    <a:gd name="connsiteY1" fmla="*/ 23265 h 33611"/>
                    <a:gd name="connsiteX2" fmla="*/ 10227 w 32654"/>
                    <a:gd name="connsiteY2" fmla="*/ 33612 h 33611"/>
                    <a:gd name="connsiteX3" fmla="*/ 32655 w 32654"/>
                    <a:gd name="connsiteY3" fmla="*/ 10167 h 33611"/>
                  </a:gdLst>
                  <a:ahLst/>
                  <a:cxnLst>
                    <a:cxn ang="0">
                      <a:pos x="connsiteX0" y="connsiteY0"/>
                    </a:cxn>
                    <a:cxn ang="0">
                      <a:pos x="connsiteX1" y="connsiteY1"/>
                    </a:cxn>
                    <a:cxn ang="0">
                      <a:pos x="connsiteX2" y="connsiteY2"/>
                    </a:cxn>
                    <a:cxn ang="0">
                      <a:pos x="connsiteX3" y="connsiteY3"/>
                    </a:cxn>
                  </a:cxnLst>
                  <a:rect l="l" t="t" r="r" b="b"/>
                  <a:pathLst>
                    <a:path w="32654" h="33611">
                      <a:moveTo>
                        <a:pt x="22308" y="0"/>
                      </a:moveTo>
                      <a:lnTo>
                        <a:pt x="0" y="23265"/>
                      </a:lnTo>
                      <a:lnTo>
                        <a:pt x="10227" y="33612"/>
                      </a:lnTo>
                      <a:lnTo>
                        <a:pt x="32655" y="10167"/>
                      </a:lnTo>
                      <a:close/>
                    </a:path>
                  </a:pathLst>
                </a:custGeom>
                <a:noFill/>
                <a:ln w="6350" cap="flat">
                  <a:solidFill>
                    <a:schemeClr val="bg1">
                      <a:alpha val="80000"/>
                    </a:schemeClr>
                  </a:solidFill>
                  <a:prstDash val="solid"/>
                  <a:miter/>
                </a:ln>
              </p:spPr>
              <p:txBody>
                <a:bodyPr rtlCol="0" anchor="ctr"/>
                <a:lstStyle/>
                <a:p>
                  <a:endParaRPr lang="en-GB"/>
                </a:p>
              </p:txBody>
            </p:sp>
          </p:grpSp>
          <p:grpSp>
            <p:nvGrpSpPr>
              <p:cNvPr id="7125" name="Graphic 3">
                <a:extLst>
                  <a:ext uri="{FF2B5EF4-FFF2-40B4-BE49-F238E27FC236}">
                    <a16:creationId xmlns:a16="http://schemas.microsoft.com/office/drawing/2014/main" id="{3928C5AC-8B4C-4EAF-B281-2EEAE75B360F}"/>
                  </a:ext>
                </a:extLst>
              </p:cNvPr>
              <p:cNvGrpSpPr/>
              <p:nvPr/>
            </p:nvGrpSpPr>
            <p:grpSpPr>
              <a:xfrm>
                <a:off x="7270903" y="2087133"/>
                <a:ext cx="77569" cy="79543"/>
                <a:chOff x="7270903" y="2087133"/>
                <a:chExt cx="77569" cy="79543"/>
              </a:xfrm>
              <a:noFill/>
            </p:grpSpPr>
            <p:sp>
              <p:nvSpPr>
                <p:cNvPr id="7132" name="Vrije vorm: vorm 7131">
                  <a:extLst>
                    <a:ext uri="{FF2B5EF4-FFF2-40B4-BE49-F238E27FC236}">
                      <a16:creationId xmlns:a16="http://schemas.microsoft.com/office/drawing/2014/main" id="{706D9CB9-3EFD-4FF8-8FA5-3256DB604BDD}"/>
                    </a:ext>
                  </a:extLst>
                </p:cNvPr>
                <p:cNvSpPr/>
                <p:nvPr/>
              </p:nvSpPr>
              <p:spPr>
                <a:xfrm>
                  <a:off x="7270903" y="2087133"/>
                  <a:ext cx="77569" cy="79543"/>
                </a:xfrm>
                <a:custGeom>
                  <a:avLst/>
                  <a:gdLst>
                    <a:gd name="connsiteX0" fmla="*/ 51374 w 77569"/>
                    <a:gd name="connsiteY0" fmla="*/ 0 h 79543"/>
                    <a:gd name="connsiteX1" fmla="*/ 77570 w 77569"/>
                    <a:gd name="connsiteY1" fmla="*/ 25298 h 79543"/>
                    <a:gd name="connsiteX2" fmla="*/ 25717 w 77569"/>
                    <a:gd name="connsiteY2" fmla="*/ 79544 h 79543"/>
                    <a:gd name="connsiteX3" fmla="*/ 0 w 77569"/>
                    <a:gd name="connsiteY3" fmla="*/ 53707 h 79543"/>
                  </a:gdLst>
                  <a:ahLst/>
                  <a:cxnLst>
                    <a:cxn ang="0">
                      <a:pos x="connsiteX0" y="connsiteY0"/>
                    </a:cxn>
                    <a:cxn ang="0">
                      <a:pos x="connsiteX1" y="connsiteY1"/>
                    </a:cxn>
                    <a:cxn ang="0">
                      <a:pos x="connsiteX2" y="connsiteY2"/>
                    </a:cxn>
                    <a:cxn ang="0">
                      <a:pos x="connsiteX3" y="connsiteY3"/>
                    </a:cxn>
                  </a:cxnLst>
                  <a:rect l="l" t="t" r="r" b="b"/>
                  <a:pathLst>
                    <a:path w="77569" h="79543">
                      <a:moveTo>
                        <a:pt x="51374" y="0"/>
                      </a:moveTo>
                      <a:lnTo>
                        <a:pt x="77570" y="25298"/>
                      </a:lnTo>
                      <a:lnTo>
                        <a:pt x="25717" y="79544"/>
                      </a:lnTo>
                      <a:lnTo>
                        <a:pt x="0" y="53707"/>
                      </a:lnTo>
                      <a:close/>
                    </a:path>
                  </a:pathLst>
                </a:custGeom>
                <a:noFill/>
                <a:ln w="6350" cap="flat">
                  <a:solidFill>
                    <a:schemeClr val="bg1">
                      <a:alpha val="80000"/>
                    </a:schemeClr>
                  </a:solidFill>
                  <a:prstDash val="solid"/>
                  <a:miter/>
                </a:ln>
              </p:spPr>
              <p:txBody>
                <a:bodyPr rtlCol="0" anchor="ctr"/>
                <a:lstStyle/>
                <a:p>
                  <a:endParaRPr lang="en-GB"/>
                </a:p>
              </p:txBody>
            </p:sp>
            <p:sp>
              <p:nvSpPr>
                <p:cNvPr id="7133" name="Vrije vorm: vorm 7132">
                  <a:extLst>
                    <a:ext uri="{FF2B5EF4-FFF2-40B4-BE49-F238E27FC236}">
                      <a16:creationId xmlns:a16="http://schemas.microsoft.com/office/drawing/2014/main" id="{7CA1295B-FB6C-4D2E-B401-FAD98D6E77F0}"/>
                    </a:ext>
                  </a:extLst>
                </p:cNvPr>
                <p:cNvSpPr/>
                <p:nvPr/>
              </p:nvSpPr>
              <p:spPr>
                <a:xfrm>
                  <a:off x="7298474" y="2090362"/>
                  <a:ext cx="35466" cy="36362"/>
                </a:xfrm>
                <a:custGeom>
                  <a:avLst/>
                  <a:gdLst>
                    <a:gd name="connsiteX0" fmla="*/ 35466 w 35466"/>
                    <a:gd name="connsiteY0" fmla="*/ 10825 h 36362"/>
                    <a:gd name="connsiteX1" fmla="*/ 24341 w 35466"/>
                    <a:gd name="connsiteY1" fmla="*/ 0 h 36362"/>
                    <a:gd name="connsiteX2" fmla="*/ 0 w 35466"/>
                    <a:gd name="connsiteY2" fmla="*/ 25478 h 36362"/>
                    <a:gd name="connsiteX3" fmla="*/ 11064 w 35466"/>
                    <a:gd name="connsiteY3" fmla="*/ 36363 h 36362"/>
                  </a:gdLst>
                  <a:ahLst/>
                  <a:cxnLst>
                    <a:cxn ang="0">
                      <a:pos x="connsiteX0" y="connsiteY0"/>
                    </a:cxn>
                    <a:cxn ang="0">
                      <a:pos x="connsiteX1" y="connsiteY1"/>
                    </a:cxn>
                    <a:cxn ang="0">
                      <a:pos x="connsiteX2" y="connsiteY2"/>
                    </a:cxn>
                    <a:cxn ang="0">
                      <a:pos x="connsiteX3" y="connsiteY3"/>
                    </a:cxn>
                  </a:cxnLst>
                  <a:rect l="l" t="t" r="r" b="b"/>
                  <a:pathLst>
                    <a:path w="35466" h="36362">
                      <a:moveTo>
                        <a:pt x="35466" y="10825"/>
                      </a:moveTo>
                      <a:lnTo>
                        <a:pt x="24341" y="0"/>
                      </a:lnTo>
                      <a:lnTo>
                        <a:pt x="0" y="25478"/>
                      </a:lnTo>
                      <a:lnTo>
                        <a:pt x="11064" y="36363"/>
                      </a:lnTo>
                      <a:close/>
                    </a:path>
                  </a:pathLst>
                </a:custGeom>
                <a:noFill/>
                <a:ln w="6350" cap="flat">
                  <a:solidFill>
                    <a:schemeClr val="bg1">
                      <a:alpha val="80000"/>
                    </a:schemeClr>
                  </a:solidFill>
                  <a:prstDash val="solid"/>
                  <a:miter/>
                </a:ln>
              </p:spPr>
              <p:txBody>
                <a:bodyPr rtlCol="0" anchor="ctr"/>
                <a:lstStyle/>
                <a:p>
                  <a:endParaRPr lang="en-GB"/>
                </a:p>
              </p:txBody>
            </p:sp>
            <p:sp>
              <p:nvSpPr>
                <p:cNvPr id="7134" name="Vrije vorm: vorm 7133">
                  <a:extLst>
                    <a:ext uri="{FF2B5EF4-FFF2-40B4-BE49-F238E27FC236}">
                      <a16:creationId xmlns:a16="http://schemas.microsoft.com/office/drawing/2014/main" id="{DC751823-0FA2-49FE-8E50-B10F6108AE90}"/>
                    </a:ext>
                  </a:extLst>
                </p:cNvPr>
                <p:cNvSpPr/>
                <p:nvPr/>
              </p:nvSpPr>
              <p:spPr>
                <a:xfrm>
                  <a:off x="7311273" y="2102862"/>
                  <a:ext cx="35166" cy="36003"/>
                </a:xfrm>
                <a:custGeom>
                  <a:avLst/>
                  <a:gdLst>
                    <a:gd name="connsiteX0" fmla="*/ 24461 w 35166"/>
                    <a:gd name="connsiteY0" fmla="*/ 0 h 36003"/>
                    <a:gd name="connsiteX1" fmla="*/ 0 w 35166"/>
                    <a:gd name="connsiteY1" fmla="*/ 25597 h 36003"/>
                    <a:gd name="connsiteX2" fmla="*/ 10586 w 35166"/>
                    <a:gd name="connsiteY2" fmla="*/ 36004 h 36003"/>
                    <a:gd name="connsiteX3" fmla="*/ 35167 w 35166"/>
                    <a:gd name="connsiteY3" fmla="*/ 10347 h 36003"/>
                  </a:gdLst>
                  <a:ahLst/>
                  <a:cxnLst>
                    <a:cxn ang="0">
                      <a:pos x="connsiteX0" y="connsiteY0"/>
                    </a:cxn>
                    <a:cxn ang="0">
                      <a:pos x="connsiteX1" y="connsiteY1"/>
                    </a:cxn>
                    <a:cxn ang="0">
                      <a:pos x="connsiteX2" y="connsiteY2"/>
                    </a:cxn>
                    <a:cxn ang="0">
                      <a:pos x="connsiteX3" y="connsiteY3"/>
                    </a:cxn>
                  </a:cxnLst>
                  <a:rect l="l" t="t" r="r" b="b"/>
                  <a:pathLst>
                    <a:path w="35166" h="36003">
                      <a:moveTo>
                        <a:pt x="24461" y="0"/>
                      </a:moveTo>
                      <a:lnTo>
                        <a:pt x="0" y="25597"/>
                      </a:lnTo>
                      <a:lnTo>
                        <a:pt x="10586" y="36004"/>
                      </a:lnTo>
                      <a:lnTo>
                        <a:pt x="35167" y="10347"/>
                      </a:lnTo>
                      <a:close/>
                    </a:path>
                  </a:pathLst>
                </a:custGeom>
                <a:noFill/>
                <a:ln w="6350" cap="flat">
                  <a:solidFill>
                    <a:schemeClr val="bg1">
                      <a:alpha val="80000"/>
                    </a:schemeClr>
                  </a:solidFill>
                  <a:prstDash val="solid"/>
                  <a:miter/>
                </a:ln>
              </p:spPr>
              <p:txBody>
                <a:bodyPr rtlCol="0" anchor="ctr"/>
                <a:lstStyle/>
                <a:p>
                  <a:endParaRPr lang="en-GB"/>
                </a:p>
              </p:txBody>
            </p:sp>
            <p:sp>
              <p:nvSpPr>
                <p:cNvPr id="7135" name="Vrije vorm: vorm 7134">
                  <a:extLst>
                    <a:ext uri="{FF2B5EF4-FFF2-40B4-BE49-F238E27FC236}">
                      <a16:creationId xmlns:a16="http://schemas.microsoft.com/office/drawing/2014/main" id="{84D8FEE6-9911-45BC-A4A2-AA7D52B12C9A}"/>
                    </a:ext>
                  </a:extLst>
                </p:cNvPr>
                <p:cNvSpPr/>
                <p:nvPr/>
              </p:nvSpPr>
              <p:spPr>
                <a:xfrm>
                  <a:off x="7274133" y="2117515"/>
                  <a:ext cx="33790" cy="34807"/>
                </a:xfrm>
                <a:custGeom>
                  <a:avLst/>
                  <a:gdLst>
                    <a:gd name="connsiteX0" fmla="*/ 33790 w 33790"/>
                    <a:gd name="connsiteY0" fmla="*/ 10885 h 34807"/>
                    <a:gd name="connsiteX1" fmla="*/ 22726 w 33790"/>
                    <a:gd name="connsiteY1" fmla="*/ 0 h 34807"/>
                    <a:gd name="connsiteX2" fmla="*/ 0 w 33790"/>
                    <a:gd name="connsiteY2" fmla="*/ 23803 h 34807"/>
                    <a:gd name="connsiteX3" fmla="*/ 10944 w 33790"/>
                    <a:gd name="connsiteY3" fmla="*/ 34808 h 34807"/>
                  </a:gdLst>
                  <a:ahLst/>
                  <a:cxnLst>
                    <a:cxn ang="0">
                      <a:pos x="connsiteX0" y="connsiteY0"/>
                    </a:cxn>
                    <a:cxn ang="0">
                      <a:pos x="connsiteX1" y="connsiteY1"/>
                    </a:cxn>
                    <a:cxn ang="0">
                      <a:pos x="connsiteX2" y="connsiteY2"/>
                    </a:cxn>
                    <a:cxn ang="0">
                      <a:pos x="connsiteX3" y="connsiteY3"/>
                    </a:cxn>
                  </a:cxnLst>
                  <a:rect l="l" t="t" r="r" b="b"/>
                  <a:pathLst>
                    <a:path w="33790" h="34807">
                      <a:moveTo>
                        <a:pt x="33790" y="10885"/>
                      </a:moveTo>
                      <a:lnTo>
                        <a:pt x="22726" y="0"/>
                      </a:lnTo>
                      <a:lnTo>
                        <a:pt x="0" y="23803"/>
                      </a:lnTo>
                      <a:lnTo>
                        <a:pt x="10944" y="34808"/>
                      </a:lnTo>
                      <a:close/>
                    </a:path>
                  </a:pathLst>
                </a:custGeom>
                <a:noFill/>
                <a:ln w="6350" cap="flat">
                  <a:solidFill>
                    <a:schemeClr val="bg1">
                      <a:alpha val="80000"/>
                    </a:schemeClr>
                  </a:solidFill>
                  <a:prstDash val="solid"/>
                  <a:miter/>
                </a:ln>
              </p:spPr>
              <p:txBody>
                <a:bodyPr rtlCol="0" anchor="ctr"/>
                <a:lstStyle/>
                <a:p>
                  <a:endParaRPr lang="en-GB"/>
                </a:p>
              </p:txBody>
            </p:sp>
            <p:sp>
              <p:nvSpPr>
                <p:cNvPr id="7136" name="Vrije vorm: vorm 7135">
                  <a:extLst>
                    <a:ext uri="{FF2B5EF4-FFF2-40B4-BE49-F238E27FC236}">
                      <a16:creationId xmlns:a16="http://schemas.microsoft.com/office/drawing/2014/main" id="{BB874B48-1B90-4051-9BB1-5C3E55C1974D}"/>
                    </a:ext>
                  </a:extLst>
                </p:cNvPr>
                <p:cNvSpPr/>
                <p:nvPr/>
              </p:nvSpPr>
              <p:spPr>
                <a:xfrm>
                  <a:off x="7286812" y="2130134"/>
                  <a:ext cx="33432" cy="34448"/>
                </a:xfrm>
                <a:custGeom>
                  <a:avLst/>
                  <a:gdLst>
                    <a:gd name="connsiteX0" fmla="*/ 22846 w 33432"/>
                    <a:gd name="connsiteY0" fmla="*/ 0 h 34448"/>
                    <a:gd name="connsiteX1" fmla="*/ 0 w 33432"/>
                    <a:gd name="connsiteY1" fmla="*/ 23923 h 34448"/>
                    <a:gd name="connsiteX2" fmla="*/ 10466 w 33432"/>
                    <a:gd name="connsiteY2" fmla="*/ 34449 h 34448"/>
                    <a:gd name="connsiteX3" fmla="*/ 33432 w 33432"/>
                    <a:gd name="connsiteY3" fmla="*/ 10466 h 34448"/>
                  </a:gdLst>
                  <a:ahLst/>
                  <a:cxnLst>
                    <a:cxn ang="0">
                      <a:pos x="connsiteX0" y="connsiteY0"/>
                    </a:cxn>
                    <a:cxn ang="0">
                      <a:pos x="connsiteX1" y="connsiteY1"/>
                    </a:cxn>
                    <a:cxn ang="0">
                      <a:pos x="connsiteX2" y="connsiteY2"/>
                    </a:cxn>
                    <a:cxn ang="0">
                      <a:pos x="connsiteX3" y="connsiteY3"/>
                    </a:cxn>
                  </a:cxnLst>
                  <a:rect l="l" t="t" r="r" b="b"/>
                  <a:pathLst>
                    <a:path w="33432" h="34448">
                      <a:moveTo>
                        <a:pt x="22846" y="0"/>
                      </a:moveTo>
                      <a:lnTo>
                        <a:pt x="0" y="23923"/>
                      </a:lnTo>
                      <a:lnTo>
                        <a:pt x="10466" y="34449"/>
                      </a:lnTo>
                      <a:lnTo>
                        <a:pt x="33432" y="10466"/>
                      </a:lnTo>
                      <a:close/>
                    </a:path>
                  </a:pathLst>
                </a:custGeom>
                <a:noFill/>
                <a:ln w="6350" cap="flat">
                  <a:solidFill>
                    <a:schemeClr val="bg1">
                      <a:alpha val="80000"/>
                    </a:schemeClr>
                  </a:solidFill>
                  <a:prstDash val="solid"/>
                  <a:miter/>
                </a:ln>
              </p:spPr>
              <p:txBody>
                <a:bodyPr rtlCol="0" anchor="ctr"/>
                <a:lstStyle/>
                <a:p>
                  <a:endParaRPr lang="en-GB"/>
                </a:p>
              </p:txBody>
            </p:sp>
          </p:grpSp>
          <p:grpSp>
            <p:nvGrpSpPr>
              <p:cNvPr id="7126" name="Graphic 3">
                <a:extLst>
                  <a:ext uri="{FF2B5EF4-FFF2-40B4-BE49-F238E27FC236}">
                    <a16:creationId xmlns:a16="http://schemas.microsoft.com/office/drawing/2014/main" id="{893641B7-5ACA-4065-B205-F0A14B31AB7F}"/>
                  </a:ext>
                </a:extLst>
              </p:cNvPr>
              <p:cNvGrpSpPr/>
              <p:nvPr/>
            </p:nvGrpSpPr>
            <p:grpSpPr>
              <a:xfrm>
                <a:off x="7409835" y="2281745"/>
                <a:ext cx="165367" cy="164469"/>
                <a:chOff x="7409835" y="2281745"/>
                <a:chExt cx="165367" cy="164469"/>
              </a:xfrm>
              <a:noFill/>
            </p:grpSpPr>
            <p:sp>
              <p:nvSpPr>
                <p:cNvPr id="7130" name="Vrije vorm: vorm 7129">
                  <a:extLst>
                    <a:ext uri="{FF2B5EF4-FFF2-40B4-BE49-F238E27FC236}">
                      <a16:creationId xmlns:a16="http://schemas.microsoft.com/office/drawing/2014/main" id="{4E15E0FD-EF2E-452F-9116-2B8C5E46E19B}"/>
                    </a:ext>
                  </a:extLst>
                </p:cNvPr>
                <p:cNvSpPr/>
                <p:nvPr/>
              </p:nvSpPr>
              <p:spPr>
                <a:xfrm>
                  <a:off x="7409835" y="2281745"/>
                  <a:ext cx="165367" cy="164469"/>
                </a:xfrm>
                <a:custGeom>
                  <a:avLst/>
                  <a:gdLst>
                    <a:gd name="connsiteX0" fmla="*/ 0 w 165367"/>
                    <a:gd name="connsiteY0" fmla="*/ 120272 h 164469"/>
                    <a:gd name="connsiteX1" fmla="*/ 51972 w 165367"/>
                    <a:gd name="connsiteY1" fmla="*/ 164470 h 164469"/>
                    <a:gd name="connsiteX2" fmla="*/ 165367 w 165367"/>
                    <a:gd name="connsiteY2" fmla="*/ 45992 h 164469"/>
                    <a:gd name="connsiteX3" fmla="*/ 116624 w 165367"/>
                    <a:gd name="connsiteY3" fmla="*/ 0 h 164469"/>
                  </a:gdLst>
                  <a:ahLst/>
                  <a:cxnLst>
                    <a:cxn ang="0">
                      <a:pos x="connsiteX0" y="connsiteY0"/>
                    </a:cxn>
                    <a:cxn ang="0">
                      <a:pos x="connsiteX1" y="connsiteY1"/>
                    </a:cxn>
                    <a:cxn ang="0">
                      <a:pos x="connsiteX2" y="connsiteY2"/>
                    </a:cxn>
                    <a:cxn ang="0">
                      <a:pos x="connsiteX3" y="connsiteY3"/>
                    </a:cxn>
                  </a:cxnLst>
                  <a:rect l="l" t="t" r="r" b="b"/>
                  <a:pathLst>
                    <a:path w="165367" h="164469">
                      <a:moveTo>
                        <a:pt x="0" y="120272"/>
                      </a:moveTo>
                      <a:lnTo>
                        <a:pt x="51972" y="164470"/>
                      </a:lnTo>
                      <a:lnTo>
                        <a:pt x="165367" y="45992"/>
                      </a:lnTo>
                      <a:lnTo>
                        <a:pt x="116624" y="0"/>
                      </a:lnTo>
                      <a:close/>
                    </a:path>
                  </a:pathLst>
                </a:custGeom>
                <a:noFill/>
                <a:ln w="6350" cap="flat">
                  <a:solidFill>
                    <a:schemeClr val="bg1">
                      <a:alpha val="80000"/>
                    </a:schemeClr>
                  </a:solidFill>
                  <a:prstDash val="solid"/>
                  <a:miter/>
                </a:ln>
              </p:spPr>
              <p:txBody>
                <a:bodyPr rtlCol="0" anchor="ctr"/>
                <a:lstStyle/>
                <a:p>
                  <a:endParaRPr lang="en-GB"/>
                </a:p>
              </p:txBody>
            </p:sp>
            <p:sp>
              <p:nvSpPr>
                <p:cNvPr id="7131" name="Vrije vorm: vorm 7130">
                  <a:extLst>
                    <a:ext uri="{FF2B5EF4-FFF2-40B4-BE49-F238E27FC236}">
                      <a16:creationId xmlns:a16="http://schemas.microsoft.com/office/drawing/2014/main" id="{3DBA940C-FB7A-4301-8A7A-A0B24BF1ACD3}"/>
                    </a:ext>
                  </a:extLst>
                </p:cNvPr>
                <p:cNvSpPr/>
                <p:nvPr/>
              </p:nvSpPr>
              <p:spPr>
                <a:xfrm>
                  <a:off x="7411749" y="2281745"/>
                  <a:ext cx="161180" cy="160462"/>
                </a:xfrm>
                <a:custGeom>
                  <a:avLst/>
                  <a:gdLst>
                    <a:gd name="connsiteX0" fmla="*/ 0 w 161180"/>
                    <a:gd name="connsiteY0" fmla="*/ 118299 h 160462"/>
                    <a:gd name="connsiteX1" fmla="*/ 49700 w 161180"/>
                    <a:gd name="connsiteY1" fmla="*/ 160463 h 160462"/>
                    <a:gd name="connsiteX2" fmla="*/ 161181 w 161180"/>
                    <a:gd name="connsiteY2" fmla="*/ 43898 h 160462"/>
                    <a:gd name="connsiteX3" fmla="*/ 114711 w 161180"/>
                    <a:gd name="connsiteY3" fmla="*/ 0 h 160462"/>
                  </a:gdLst>
                  <a:ahLst/>
                  <a:cxnLst>
                    <a:cxn ang="0">
                      <a:pos x="connsiteX0" y="connsiteY0"/>
                    </a:cxn>
                    <a:cxn ang="0">
                      <a:pos x="connsiteX1" y="connsiteY1"/>
                    </a:cxn>
                    <a:cxn ang="0">
                      <a:pos x="connsiteX2" y="connsiteY2"/>
                    </a:cxn>
                    <a:cxn ang="0">
                      <a:pos x="connsiteX3" y="connsiteY3"/>
                    </a:cxn>
                  </a:cxnLst>
                  <a:rect l="l" t="t" r="r" b="b"/>
                  <a:pathLst>
                    <a:path w="161180" h="160462">
                      <a:moveTo>
                        <a:pt x="0" y="118299"/>
                      </a:moveTo>
                      <a:lnTo>
                        <a:pt x="49700" y="160463"/>
                      </a:lnTo>
                      <a:lnTo>
                        <a:pt x="161181" y="43898"/>
                      </a:lnTo>
                      <a:lnTo>
                        <a:pt x="114711" y="0"/>
                      </a:lnTo>
                      <a:close/>
                    </a:path>
                  </a:pathLst>
                </a:custGeom>
                <a:noFill/>
                <a:ln w="6350" cap="flat">
                  <a:solidFill>
                    <a:schemeClr val="bg1">
                      <a:alpha val="80000"/>
                    </a:schemeClr>
                  </a:solidFill>
                  <a:prstDash val="solid"/>
                  <a:miter/>
                </a:ln>
              </p:spPr>
              <p:txBody>
                <a:bodyPr rtlCol="0" anchor="ctr"/>
                <a:lstStyle/>
                <a:p>
                  <a:endParaRPr lang="en-GB"/>
                </a:p>
              </p:txBody>
            </p:sp>
          </p:grpSp>
          <p:sp>
            <p:nvSpPr>
              <p:cNvPr id="7127" name="Vrije vorm: vorm 7126">
                <a:extLst>
                  <a:ext uri="{FF2B5EF4-FFF2-40B4-BE49-F238E27FC236}">
                    <a16:creationId xmlns:a16="http://schemas.microsoft.com/office/drawing/2014/main" id="{11641771-6A0E-4BD7-945C-16A79842E052}"/>
                  </a:ext>
                </a:extLst>
              </p:cNvPr>
              <p:cNvSpPr/>
              <p:nvPr/>
            </p:nvSpPr>
            <p:spPr>
              <a:xfrm>
                <a:off x="7439081" y="2166736"/>
                <a:ext cx="233008" cy="222781"/>
              </a:xfrm>
              <a:custGeom>
                <a:avLst/>
                <a:gdLst>
                  <a:gd name="connsiteX0" fmla="*/ 0 w 233008"/>
                  <a:gd name="connsiteY0" fmla="*/ 0 h 222781"/>
                  <a:gd name="connsiteX1" fmla="*/ 233009 w 233008"/>
                  <a:gd name="connsiteY1" fmla="*/ 222782 h 222781"/>
                  <a:gd name="connsiteX2" fmla="*/ 201192 w 233008"/>
                  <a:gd name="connsiteY2" fmla="*/ 33552 h 222781"/>
                </a:gdLst>
                <a:ahLst/>
                <a:cxnLst>
                  <a:cxn ang="0">
                    <a:pos x="connsiteX0" y="connsiteY0"/>
                  </a:cxn>
                  <a:cxn ang="0">
                    <a:pos x="connsiteX1" y="connsiteY1"/>
                  </a:cxn>
                  <a:cxn ang="0">
                    <a:pos x="connsiteX2" y="connsiteY2"/>
                  </a:cxn>
                </a:cxnLst>
                <a:rect l="l" t="t" r="r" b="b"/>
                <a:pathLst>
                  <a:path w="233008" h="222781">
                    <a:moveTo>
                      <a:pt x="0" y="0"/>
                    </a:moveTo>
                    <a:lnTo>
                      <a:pt x="233009" y="222782"/>
                    </a:lnTo>
                    <a:lnTo>
                      <a:pt x="201192" y="33552"/>
                    </a:lnTo>
                    <a:close/>
                  </a:path>
                </a:pathLst>
              </a:custGeom>
              <a:noFill/>
              <a:ln w="6350" cap="flat">
                <a:solidFill>
                  <a:schemeClr val="bg1">
                    <a:alpha val="80000"/>
                  </a:schemeClr>
                </a:solidFill>
                <a:prstDash val="solid"/>
                <a:miter/>
              </a:ln>
            </p:spPr>
            <p:txBody>
              <a:bodyPr rtlCol="0" anchor="ctr"/>
              <a:lstStyle/>
              <a:p>
                <a:endParaRPr lang="en-GB"/>
              </a:p>
            </p:txBody>
          </p:sp>
          <p:sp>
            <p:nvSpPr>
              <p:cNvPr id="7128" name="Vrije vorm: vorm 7127">
                <a:extLst>
                  <a:ext uri="{FF2B5EF4-FFF2-40B4-BE49-F238E27FC236}">
                    <a16:creationId xmlns:a16="http://schemas.microsoft.com/office/drawing/2014/main" id="{22CB63F5-8052-4F50-926B-91B6156A9168}"/>
                  </a:ext>
                </a:extLst>
              </p:cNvPr>
              <p:cNvSpPr/>
              <p:nvPr/>
            </p:nvSpPr>
            <p:spPr>
              <a:xfrm>
                <a:off x="7404034" y="2145145"/>
                <a:ext cx="285459" cy="261178"/>
              </a:xfrm>
              <a:custGeom>
                <a:avLst/>
                <a:gdLst>
                  <a:gd name="connsiteX0" fmla="*/ 0 w 285459"/>
                  <a:gd name="connsiteY0" fmla="*/ 0 h 261178"/>
                  <a:gd name="connsiteX1" fmla="*/ 19856 w 285459"/>
                  <a:gd name="connsiteY1" fmla="*/ 19079 h 261178"/>
                  <a:gd name="connsiteX2" fmla="*/ 35107 w 285459"/>
                  <a:gd name="connsiteY2" fmla="*/ 21590 h 261178"/>
                  <a:gd name="connsiteX3" fmla="*/ 236239 w 285459"/>
                  <a:gd name="connsiteY3" fmla="*/ 55142 h 261178"/>
                  <a:gd name="connsiteX4" fmla="*/ 268056 w 285459"/>
                  <a:gd name="connsiteY4" fmla="*/ 244372 h 261178"/>
                  <a:gd name="connsiteX5" fmla="*/ 285460 w 285459"/>
                  <a:gd name="connsiteY5" fmla="*/ 261178 h 261178"/>
                  <a:gd name="connsiteX6" fmla="*/ 246645 w 285459"/>
                  <a:gd name="connsiteY6" fmla="*/ 43360 h 261178"/>
                  <a:gd name="connsiteX7" fmla="*/ 0 w 285459"/>
                  <a:gd name="connsiteY7" fmla="*/ 0 h 26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459" h="261178">
                    <a:moveTo>
                      <a:pt x="0" y="0"/>
                    </a:moveTo>
                    <a:cubicBezTo>
                      <a:pt x="6519" y="6280"/>
                      <a:pt x="13337" y="12799"/>
                      <a:pt x="19856" y="19079"/>
                    </a:cubicBezTo>
                    <a:cubicBezTo>
                      <a:pt x="24820" y="20035"/>
                      <a:pt x="29724" y="20753"/>
                      <a:pt x="35107" y="21590"/>
                    </a:cubicBezTo>
                    <a:cubicBezTo>
                      <a:pt x="102150" y="32774"/>
                      <a:pt x="169194" y="43958"/>
                      <a:pt x="236239" y="55142"/>
                    </a:cubicBezTo>
                    <a:cubicBezTo>
                      <a:pt x="246825" y="118239"/>
                      <a:pt x="257470" y="181276"/>
                      <a:pt x="268056" y="244372"/>
                    </a:cubicBezTo>
                    <a:lnTo>
                      <a:pt x="285460" y="261178"/>
                    </a:lnTo>
                    <a:lnTo>
                      <a:pt x="246645" y="43360"/>
                    </a:lnTo>
                    <a:lnTo>
                      <a:pt x="0" y="0"/>
                    </a:lnTo>
                    <a:close/>
                  </a:path>
                </a:pathLst>
              </a:custGeom>
              <a:noFill/>
              <a:ln w="6350" cap="flat">
                <a:solidFill>
                  <a:schemeClr val="bg1">
                    <a:alpha val="80000"/>
                  </a:schemeClr>
                </a:solidFill>
                <a:prstDash val="solid"/>
                <a:miter/>
              </a:ln>
            </p:spPr>
            <p:txBody>
              <a:bodyPr rtlCol="0" anchor="ctr"/>
              <a:lstStyle/>
              <a:p>
                <a:endParaRPr lang="en-GB"/>
              </a:p>
            </p:txBody>
          </p:sp>
          <p:sp>
            <p:nvSpPr>
              <p:cNvPr id="7129" name="Vrije vorm: vorm 7128">
                <a:extLst>
                  <a:ext uri="{FF2B5EF4-FFF2-40B4-BE49-F238E27FC236}">
                    <a16:creationId xmlns:a16="http://schemas.microsoft.com/office/drawing/2014/main" id="{0EC99283-43E6-4D53-954F-2BF29D7EAC43}"/>
                  </a:ext>
                </a:extLst>
              </p:cNvPr>
              <p:cNvSpPr/>
              <p:nvPr/>
            </p:nvSpPr>
            <p:spPr>
              <a:xfrm>
                <a:off x="7116062" y="1868657"/>
                <a:ext cx="534616" cy="319848"/>
              </a:xfrm>
              <a:custGeom>
                <a:avLst/>
                <a:gdLst>
                  <a:gd name="connsiteX0" fmla="*/ 303222 w 534616"/>
                  <a:gd name="connsiteY0" fmla="*/ 279120 h 319848"/>
                  <a:gd name="connsiteX1" fmla="*/ 308307 w 534616"/>
                  <a:gd name="connsiteY1" fmla="*/ 280077 h 319848"/>
                  <a:gd name="connsiteX2" fmla="*/ 308307 w 534616"/>
                  <a:gd name="connsiteY2" fmla="*/ 280077 h 319848"/>
                  <a:gd name="connsiteX3" fmla="*/ 534617 w 534616"/>
                  <a:gd name="connsiteY3" fmla="*/ 319849 h 319848"/>
                  <a:gd name="connsiteX4" fmla="*/ 222842 w 534616"/>
                  <a:gd name="connsiteY4" fmla="*/ 47248 h 319848"/>
                  <a:gd name="connsiteX5" fmla="*/ 0 w 534616"/>
                  <a:gd name="connsiteY5" fmla="*/ 0 h 319848"/>
                  <a:gd name="connsiteX6" fmla="*/ 28887 w 534616"/>
                  <a:gd name="connsiteY6" fmla="*/ 27571 h 319848"/>
                  <a:gd name="connsiteX7" fmla="*/ 287972 w 534616"/>
                  <a:gd name="connsiteY7" fmla="*/ 276489 h 31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616" h="319848">
                    <a:moveTo>
                      <a:pt x="303222" y="279120"/>
                    </a:moveTo>
                    <a:lnTo>
                      <a:pt x="308307" y="280077"/>
                    </a:lnTo>
                    <a:lnTo>
                      <a:pt x="308307" y="280077"/>
                    </a:lnTo>
                    <a:lnTo>
                      <a:pt x="534617" y="319849"/>
                    </a:lnTo>
                    <a:lnTo>
                      <a:pt x="222842" y="47248"/>
                    </a:lnTo>
                    <a:lnTo>
                      <a:pt x="0" y="0"/>
                    </a:lnTo>
                    <a:lnTo>
                      <a:pt x="28887" y="27571"/>
                    </a:lnTo>
                    <a:lnTo>
                      <a:pt x="287972" y="276489"/>
                    </a:lnTo>
                    <a:close/>
                  </a:path>
                </a:pathLst>
              </a:custGeom>
              <a:noFill/>
              <a:ln w="6350" cap="flat">
                <a:solidFill>
                  <a:schemeClr val="bg1">
                    <a:alpha val="80000"/>
                  </a:schemeClr>
                </a:solidFill>
                <a:prstDash val="solid"/>
                <a:miter/>
              </a:ln>
            </p:spPr>
            <p:txBody>
              <a:bodyPr rtlCol="0" anchor="ctr"/>
              <a:lstStyle/>
              <a:p>
                <a:endParaRPr lang="en-GB"/>
              </a:p>
            </p:txBody>
          </p:sp>
        </p:grpSp>
        <p:grpSp>
          <p:nvGrpSpPr>
            <p:cNvPr id="5357" name="Graphic 3">
              <a:extLst>
                <a:ext uri="{FF2B5EF4-FFF2-40B4-BE49-F238E27FC236}">
                  <a16:creationId xmlns:a16="http://schemas.microsoft.com/office/drawing/2014/main" id="{3D7A33B6-C361-466E-A814-B01A270017AD}"/>
                </a:ext>
              </a:extLst>
            </p:cNvPr>
            <p:cNvGrpSpPr/>
            <p:nvPr/>
          </p:nvGrpSpPr>
          <p:grpSpPr>
            <a:xfrm>
              <a:off x="7518026" y="2407101"/>
              <a:ext cx="222901" cy="245867"/>
              <a:chOff x="7518026" y="2407101"/>
              <a:chExt cx="222901" cy="245867"/>
            </a:xfrm>
            <a:noFill/>
          </p:grpSpPr>
          <p:grpSp>
            <p:nvGrpSpPr>
              <p:cNvPr id="7060" name="Graphic 3">
                <a:extLst>
                  <a:ext uri="{FF2B5EF4-FFF2-40B4-BE49-F238E27FC236}">
                    <a16:creationId xmlns:a16="http://schemas.microsoft.com/office/drawing/2014/main" id="{7AE5DB12-CC88-4C5C-81EE-5ADCF279BC78}"/>
                  </a:ext>
                </a:extLst>
              </p:cNvPr>
              <p:cNvGrpSpPr/>
              <p:nvPr/>
            </p:nvGrpSpPr>
            <p:grpSpPr>
              <a:xfrm>
                <a:off x="7591589" y="2479767"/>
                <a:ext cx="149338" cy="173201"/>
                <a:chOff x="7591589" y="2479767"/>
                <a:chExt cx="149338" cy="173201"/>
              </a:xfrm>
              <a:noFill/>
            </p:grpSpPr>
            <p:sp>
              <p:nvSpPr>
                <p:cNvPr id="7099" name="Vrije vorm: vorm 7098">
                  <a:extLst>
                    <a:ext uri="{FF2B5EF4-FFF2-40B4-BE49-F238E27FC236}">
                      <a16:creationId xmlns:a16="http://schemas.microsoft.com/office/drawing/2014/main" id="{6390608D-950F-4FDA-B9E7-04C9B158EF81}"/>
                    </a:ext>
                  </a:extLst>
                </p:cNvPr>
                <p:cNvSpPr/>
                <p:nvPr/>
              </p:nvSpPr>
              <p:spPr>
                <a:xfrm>
                  <a:off x="7591589" y="2479767"/>
                  <a:ext cx="149338" cy="172723"/>
                </a:xfrm>
                <a:custGeom>
                  <a:avLst/>
                  <a:gdLst>
                    <a:gd name="connsiteX0" fmla="*/ 40011 w 149338"/>
                    <a:gd name="connsiteY0" fmla="*/ 34269 h 172723"/>
                    <a:gd name="connsiteX1" fmla="*/ 45573 w 149338"/>
                    <a:gd name="connsiteY1" fmla="*/ 29186 h 172723"/>
                    <a:gd name="connsiteX2" fmla="*/ 26794 w 149338"/>
                    <a:gd name="connsiteY2" fmla="*/ 6579 h 172723"/>
                    <a:gd name="connsiteX3" fmla="*/ 21411 w 149338"/>
                    <a:gd name="connsiteY3" fmla="*/ 11543 h 172723"/>
                    <a:gd name="connsiteX4" fmla="*/ 40011 w 149338"/>
                    <a:gd name="connsiteY4" fmla="*/ 34269 h 172723"/>
                    <a:gd name="connsiteX5" fmla="*/ 40011 w 149338"/>
                    <a:gd name="connsiteY5" fmla="*/ 34269 h 172723"/>
                    <a:gd name="connsiteX6" fmla="*/ 30202 w 149338"/>
                    <a:gd name="connsiteY6" fmla="*/ 43240 h 172723"/>
                    <a:gd name="connsiteX7" fmla="*/ 35765 w 149338"/>
                    <a:gd name="connsiteY7" fmla="*/ 38157 h 172723"/>
                    <a:gd name="connsiteX8" fmla="*/ 17284 w 149338"/>
                    <a:gd name="connsiteY8" fmla="*/ 15311 h 172723"/>
                    <a:gd name="connsiteX9" fmla="*/ 11902 w 149338"/>
                    <a:gd name="connsiteY9" fmla="*/ 20275 h 172723"/>
                    <a:gd name="connsiteX10" fmla="*/ 30202 w 149338"/>
                    <a:gd name="connsiteY10" fmla="*/ 43240 h 172723"/>
                    <a:gd name="connsiteX11" fmla="*/ 30202 w 149338"/>
                    <a:gd name="connsiteY11" fmla="*/ 43240 h 172723"/>
                    <a:gd name="connsiteX12" fmla="*/ 19557 w 149338"/>
                    <a:gd name="connsiteY12" fmla="*/ 52989 h 172723"/>
                    <a:gd name="connsiteX13" fmla="*/ 25896 w 149338"/>
                    <a:gd name="connsiteY13" fmla="*/ 47188 h 172723"/>
                    <a:gd name="connsiteX14" fmla="*/ 7715 w 149338"/>
                    <a:gd name="connsiteY14" fmla="*/ 24102 h 172723"/>
                    <a:gd name="connsiteX15" fmla="*/ 2392 w 149338"/>
                    <a:gd name="connsiteY15" fmla="*/ 29006 h 172723"/>
                    <a:gd name="connsiteX16" fmla="*/ 1136 w 149338"/>
                    <a:gd name="connsiteY16" fmla="*/ 29246 h 172723"/>
                    <a:gd name="connsiteX17" fmla="*/ 0 w 149338"/>
                    <a:gd name="connsiteY17" fmla="*/ 27750 h 172723"/>
                    <a:gd name="connsiteX18" fmla="*/ 14952 w 149338"/>
                    <a:gd name="connsiteY18" fmla="*/ 13995 h 172723"/>
                    <a:gd name="connsiteX19" fmla="*/ 29904 w 149338"/>
                    <a:gd name="connsiteY19" fmla="*/ 239 h 172723"/>
                    <a:gd name="connsiteX20" fmla="*/ 31159 w 149338"/>
                    <a:gd name="connsiteY20" fmla="*/ 0 h 172723"/>
                    <a:gd name="connsiteX21" fmla="*/ 32416 w 149338"/>
                    <a:gd name="connsiteY21" fmla="*/ 1435 h 172723"/>
                    <a:gd name="connsiteX22" fmla="*/ 30801 w 149338"/>
                    <a:gd name="connsiteY22" fmla="*/ 2930 h 172723"/>
                    <a:gd name="connsiteX23" fmla="*/ 49281 w 149338"/>
                    <a:gd name="connsiteY23" fmla="*/ 24880 h 172723"/>
                    <a:gd name="connsiteX24" fmla="*/ 50059 w 149338"/>
                    <a:gd name="connsiteY24" fmla="*/ 24162 h 172723"/>
                    <a:gd name="connsiteX25" fmla="*/ 51314 w 149338"/>
                    <a:gd name="connsiteY25" fmla="*/ 23923 h 172723"/>
                    <a:gd name="connsiteX26" fmla="*/ 52630 w 149338"/>
                    <a:gd name="connsiteY26" fmla="*/ 25478 h 172723"/>
                    <a:gd name="connsiteX27" fmla="*/ 50956 w 149338"/>
                    <a:gd name="connsiteY27" fmla="*/ 26973 h 172723"/>
                    <a:gd name="connsiteX28" fmla="*/ 70812 w 149338"/>
                    <a:gd name="connsiteY28" fmla="*/ 50537 h 172723"/>
                    <a:gd name="connsiteX29" fmla="*/ 71709 w 149338"/>
                    <a:gd name="connsiteY29" fmla="*/ 49700 h 172723"/>
                    <a:gd name="connsiteX30" fmla="*/ 72965 w 149338"/>
                    <a:gd name="connsiteY30" fmla="*/ 49461 h 172723"/>
                    <a:gd name="connsiteX31" fmla="*/ 74340 w 149338"/>
                    <a:gd name="connsiteY31" fmla="*/ 51135 h 172723"/>
                    <a:gd name="connsiteX32" fmla="*/ 72666 w 149338"/>
                    <a:gd name="connsiteY32" fmla="*/ 52690 h 172723"/>
                    <a:gd name="connsiteX33" fmla="*/ 94017 w 149338"/>
                    <a:gd name="connsiteY33" fmla="*/ 77988 h 172723"/>
                    <a:gd name="connsiteX34" fmla="*/ 94974 w 149338"/>
                    <a:gd name="connsiteY34" fmla="*/ 77091 h 172723"/>
                    <a:gd name="connsiteX35" fmla="*/ 96170 w 149338"/>
                    <a:gd name="connsiteY35" fmla="*/ 76852 h 172723"/>
                    <a:gd name="connsiteX36" fmla="*/ 97665 w 149338"/>
                    <a:gd name="connsiteY36" fmla="*/ 78646 h 172723"/>
                    <a:gd name="connsiteX37" fmla="*/ 95931 w 149338"/>
                    <a:gd name="connsiteY37" fmla="*/ 80261 h 172723"/>
                    <a:gd name="connsiteX38" fmla="*/ 118897 w 149338"/>
                    <a:gd name="connsiteY38" fmla="*/ 107533 h 172723"/>
                    <a:gd name="connsiteX39" fmla="*/ 119913 w 149338"/>
                    <a:gd name="connsiteY39" fmla="*/ 106576 h 172723"/>
                    <a:gd name="connsiteX40" fmla="*/ 121110 w 149338"/>
                    <a:gd name="connsiteY40" fmla="*/ 106337 h 172723"/>
                    <a:gd name="connsiteX41" fmla="*/ 122725 w 149338"/>
                    <a:gd name="connsiteY41" fmla="*/ 108251 h 172723"/>
                    <a:gd name="connsiteX42" fmla="*/ 120870 w 149338"/>
                    <a:gd name="connsiteY42" fmla="*/ 109926 h 172723"/>
                    <a:gd name="connsiteX43" fmla="*/ 145690 w 149338"/>
                    <a:gd name="connsiteY43" fmla="*/ 139351 h 172723"/>
                    <a:gd name="connsiteX44" fmla="*/ 146767 w 149338"/>
                    <a:gd name="connsiteY44" fmla="*/ 138334 h 172723"/>
                    <a:gd name="connsiteX45" fmla="*/ 147963 w 149338"/>
                    <a:gd name="connsiteY45" fmla="*/ 138095 h 172723"/>
                    <a:gd name="connsiteX46" fmla="*/ 149338 w 149338"/>
                    <a:gd name="connsiteY46" fmla="*/ 139710 h 172723"/>
                    <a:gd name="connsiteX47" fmla="*/ 131396 w 149338"/>
                    <a:gd name="connsiteY47" fmla="*/ 156216 h 172723"/>
                    <a:gd name="connsiteX48" fmla="*/ 113454 w 149338"/>
                    <a:gd name="connsiteY48" fmla="*/ 172723 h 172723"/>
                    <a:gd name="connsiteX49" fmla="*/ 112139 w 149338"/>
                    <a:gd name="connsiteY49" fmla="*/ 171048 h 172723"/>
                    <a:gd name="connsiteX50" fmla="*/ 118478 w 149338"/>
                    <a:gd name="connsiteY50" fmla="*/ 165187 h 172723"/>
                    <a:gd name="connsiteX51" fmla="*/ 94256 w 149338"/>
                    <a:gd name="connsiteY51" fmla="*/ 134387 h 172723"/>
                    <a:gd name="connsiteX52" fmla="*/ 88096 w 149338"/>
                    <a:gd name="connsiteY52" fmla="*/ 140009 h 172723"/>
                    <a:gd name="connsiteX53" fmla="*/ 86900 w 149338"/>
                    <a:gd name="connsiteY53" fmla="*/ 140248 h 172723"/>
                    <a:gd name="connsiteX54" fmla="*/ 85763 w 149338"/>
                    <a:gd name="connsiteY54" fmla="*/ 138753 h 172723"/>
                    <a:gd name="connsiteX55" fmla="*/ 92701 w 149338"/>
                    <a:gd name="connsiteY55" fmla="*/ 132353 h 172723"/>
                    <a:gd name="connsiteX56" fmla="*/ 70214 w 149338"/>
                    <a:gd name="connsiteY56" fmla="*/ 103825 h 172723"/>
                    <a:gd name="connsiteX57" fmla="*/ 64293 w 149338"/>
                    <a:gd name="connsiteY57" fmla="*/ 109268 h 172723"/>
                    <a:gd name="connsiteX58" fmla="*/ 63037 w 149338"/>
                    <a:gd name="connsiteY58" fmla="*/ 109507 h 172723"/>
                    <a:gd name="connsiteX59" fmla="*/ 62020 w 149338"/>
                    <a:gd name="connsiteY59" fmla="*/ 108191 h 172723"/>
                    <a:gd name="connsiteX60" fmla="*/ 68778 w 149338"/>
                    <a:gd name="connsiteY60" fmla="*/ 101971 h 172723"/>
                    <a:gd name="connsiteX61" fmla="*/ 47846 w 149338"/>
                    <a:gd name="connsiteY61" fmla="*/ 75417 h 172723"/>
                    <a:gd name="connsiteX62" fmla="*/ 42164 w 149338"/>
                    <a:gd name="connsiteY62" fmla="*/ 80680 h 172723"/>
                    <a:gd name="connsiteX63" fmla="*/ 40908 w 149338"/>
                    <a:gd name="connsiteY63" fmla="*/ 80919 h 172723"/>
                    <a:gd name="connsiteX64" fmla="*/ 40011 w 149338"/>
                    <a:gd name="connsiteY64" fmla="*/ 79723 h 172723"/>
                    <a:gd name="connsiteX65" fmla="*/ 46530 w 149338"/>
                    <a:gd name="connsiteY65" fmla="*/ 73682 h 172723"/>
                    <a:gd name="connsiteX66" fmla="*/ 27033 w 149338"/>
                    <a:gd name="connsiteY66" fmla="*/ 48922 h 172723"/>
                    <a:gd name="connsiteX67" fmla="*/ 21530 w 149338"/>
                    <a:gd name="connsiteY67" fmla="*/ 54006 h 172723"/>
                    <a:gd name="connsiteX68" fmla="*/ 20275 w 149338"/>
                    <a:gd name="connsiteY68" fmla="*/ 54245 h 172723"/>
                    <a:gd name="connsiteX69" fmla="*/ 19557 w 149338"/>
                    <a:gd name="connsiteY69" fmla="*/ 52989 h 172723"/>
                    <a:gd name="connsiteX70" fmla="*/ 19557 w 149338"/>
                    <a:gd name="connsiteY70" fmla="*/ 52989 h 172723"/>
                    <a:gd name="connsiteX71" fmla="*/ 123562 w 149338"/>
                    <a:gd name="connsiteY71" fmla="*/ 160463 h 172723"/>
                    <a:gd name="connsiteX72" fmla="*/ 129961 w 149338"/>
                    <a:gd name="connsiteY72" fmla="*/ 154542 h 172723"/>
                    <a:gd name="connsiteX73" fmla="*/ 105320 w 149338"/>
                    <a:gd name="connsiteY73" fmla="*/ 124100 h 172723"/>
                    <a:gd name="connsiteX74" fmla="*/ 99160 w 149338"/>
                    <a:gd name="connsiteY74" fmla="*/ 129782 h 172723"/>
                    <a:gd name="connsiteX75" fmla="*/ 123562 w 149338"/>
                    <a:gd name="connsiteY75" fmla="*/ 160463 h 172723"/>
                    <a:gd name="connsiteX76" fmla="*/ 123562 w 149338"/>
                    <a:gd name="connsiteY76" fmla="*/ 160463 h 172723"/>
                    <a:gd name="connsiteX77" fmla="*/ 97545 w 149338"/>
                    <a:gd name="connsiteY77" fmla="*/ 127868 h 172723"/>
                    <a:gd name="connsiteX78" fmla="*/ 103706 w 149338"/>
                    <a:gd name="connsiteY78" fmla="*/ 122186 h 172723"/>
                    <a:gd name="connsiteX79" fmla="*/ 80859 w 149338"/>
                    <a:gd name="connsiteY79" fmla="*/ 93957 h 172723"/>
                    <a:gd name="connsiteX80" fmla="*/ 74879 w 149338"/>
                    <a:gd name="connsiteY80" fmla="*/ 99459 h 172723"/>
                    <a:gd name="connsiteX81" fmla="*/ 97545 w 149338"/>
                    <a:gd name="connsiteY81" fmla="*/ 127868 h 172723"/>
                    <a:gd name="connsiteX82" fmla="*/ 97545 w 149338"/>
                    <a:gd name="connsiteY82" fmla="*/ 127868 h 172723"/>
                    <a:gd name="connsiteX83" fmla="*/ 73503 w 149338"/>
                    <a:gd name="connsiteY83" fmla="*/ 97605 h 172723"/>
                    <a:gd name="connsiteX84" fmla="*/ 79424 w 149338"/>
                    <a:gd name="connsiteY84" fmla="*/ 92103 h 172723"/>
                    <a:gd name="connsiteX85" fmla="*/ 58192 w 149338"/>
                    <a:gd name="connsiteY85" fmla="*/ 65848 h 172723"/>
                    <a:gd name="connsiteX86" fmla="*/ 52451 w 149338"/>
                    <a:gd name="connsiteY86" fmla="*/ 71111 h 172723"/>
                    <a:gd name="connsiteX87" fmla="*/ 73503 w 149338"/>
                    <a:gd name="connsiteY87" fmla="*/ 97605 h 172723"/>
                    <a:gd name="connsiteX88" fmla="*/ 73503 w 149338"/>
                    <a:gd name="connsiteY88" fmla="*/ 97605 h 172723"/>
                    <a:gd name="connsiteX89" fmla="*/ 51076 w 149338"/>
                    <a:gd name="connsiteY89" fmla="*/ 69496 h 172723"/>
                    <a:gd name="connsiteX90" fmla="*/ 56817 w 149338"/>
                    <a:gd name="connsiteY90" fmla="*/ 64233 h 172723"/>
                    <a:gd name="connsiteX91" fmla="*/ 37020 w 149338"/>
                    <a:gd name="connsiteY91" fmla="*/ 39772 h 172723"/>
                    <a:gd name="connsiteX92" fmla="*/ 31459 w 149338"/>
                    <a:gd name="connsiteY92" fmla="*/ 44855 h 172723"/>
                    <a:gd name="connsiteX93" fmla="*/ 51076 w 149338"/>
                    <a:gd name="connsiteY93" fmla="*/ 69496 h 172723"/>
                    <a:gd name="connsiteX94" fmla="*/ 51076 w 149338"/>
                    <a:gd name="connsiteY94" fmla="*/ 69496 h 172723"/>
                    <a:gd name="connsiteX95" fmla="*/ 134865 w 149338"/>
                    <a:gd name="connsiteY95" fmla="*/ 150056 h 172723"/>
                    <a:gd name="connsiteX96" fmla="*/ 141265 w 149338"/>
                    <a:gd name="connsiteY96" fmla="*/ 144135 h 172723"/>
                    <a:gd name="connsiteX97" fmla="*/ 116205 w 149338"/>
                    <a:gd name="connsiteY97" fmla="*/ 114052 h 172723"/>
                    <a:gd name="connsiteX98" fmla="*/ 110045 w 149338"/>
                    <a:gd name="connsiteY98" fmla="*/ 119734 h 172723"/>
                    <a:gd name="connsiteX99" fmla="*/ 134865 w 149338"/>
                    <a:gd name="connsiteY99" fmla="*/ 150056 h 172723"/>
                    <a:gd name="connsiteX100" fmla="*/ 134865 w 149338"/>
                    <a:gd name="connsiteY100" fmla="*/ 150056 h 172723"/>
                    <a:gd name="connsiteX101" fmla="*/ 108431 w 149338"/>
                    <a:gd name="connsiteY101" fmla="*/ 117820 h 172723"/>
                    <a:gd name="connsiteX102" fmla="*/ 114591 w 149338"/>
                    <a:gd name="connsiteY102" fmla="*/ 112139 h 172723"/>
                    <a:gd name="connsiteX103" fmla="*/ 91386 w 149338"/>
                    <a:gd name="connsiteY103" fmla="*/ 84268 h 172723"/>
                    <a:gd name="connsiteX104" fmla="*/ 85405 w 149338"/>
                    <a:gd name="connsiteY104" fmla="*/ 89771 h 172723"/>
                    <a:gd name="connsiteX105" fmla="*/ 108431 w 149338"/>
                    <a:gd name="connsiteY105" fmla="*/ 117820 h 172723"/>
                    <a:gd name="connsiteX106" fmla="*/ 108431 w 149338"/>
                    <a:gd name="connsiteY106" fmla="*/ 117820 h 172723"/>
                    <a:gd name="connsiteX107" fmla="*/ 83970 w 149338"/>
                    <a:gd name="connsiteY107" fmla="*/ 87976 h 172723"/>
                    <a:gd name="connsiteX108" fmla="*/ 89890 w 149338"/>
                    <a:gd name="connsiteY108" fmla="*/ 82534 h 172723"/>
                    <a:gd name="connsiteX109" fmla="*/ 68300 w 149338"/>
                    <a:gd name="connsiteY109" fmla="*/ 56578 h 172723"/>
                    <a:gd name="connsiteX110" fmla="*/ 62558 w 149338"/>
                    <a:gd name="connsiteY110" fmla="*/ 61841 h 172723"/>
                    <a:gd name="connsiteX111" fmla="*/ 83970 w 149338"/>
                    <a:gd name="connsiteY111" fmla="*/ 87976 h 172723"/>
                    <a:gd name="connsiteX112" fmla="*/ 83970 w 149338"/>
                    <a:gd name="connsiteY112" fmla="*/ 87976 h 172723"/>
                    <a:gd name="connsiteX113" fmla="*/ 61183 w 149338"/>
                    <a:gd name="connsiteY113" fmla="*/ 60166 h 172723"/>
                    <a:gd name="connsiteX114" fmla="*/ 66924 w 149338"/>
                    <a:gd name="connsiteY114" fmla="*/ 54903 h 172723"/>
                    <a:gd name="connsiteX115" fmla="*/ 46829 w 149338"/>
                    <a:gd name="connsiteY115" fmla="*/ 30741 h 172723"/>
                    <a:gd name="connsiteX116" fmla="*/ 41267 w 149338"/>
                    <a:gd name="connsiteY116" fmla="*/ 35884 h 172723"/>
                    <a:gd name="connsiteX117" fmla="*/ 61183 w 149338"/>
                    <a:gd name="connsiteY117" fmla="*/ 60166 h 17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49338" h="172723">
                      <a:moveTo>
                        <a:pt x="40011" y="34269"/>
                      </a:moveTo>
                      <a:cubicBezTo>
                        <a:pt x="41865" y="32595"/>
                        <a:pt x="43719" y="30861"/>
                        <a:pt x="45573" y="29186"/>
                      </a:cubicBezTo>
                      <a:cubicBezTo>
                        <a:pt x="39173" y="21530"/>
                        <a:pt x="32894" y="13935"/>
                        <a:pt x="26794" y="6579"/>
                      </a:cubicBezTo>
                      <a:cubicBezTo>
                        <a:pt x="24999" y="8253"/>
                        <a:pt x="23205" y="9868"/>
                        <a:pt x="21411" y="11543"/>
                      </a:cubicBezTo>
                      <a:cubicBezTo>
                        <a:pt x="27391" y="18959"/>
                        <a:pt x="33671" y="26554"/>
                        <a:pt x="40011" y="34269"/>
                      </a:cubicBezTo>
                      <a:lnTo>
                        <a:pt x="40011" y="34269"/>
                      </a:lnTo>
                      <a:close/>
                      <a:moveTo>
                        <a:pt x="30202" y="43240"/>
                      </a:moveTo>
                      <a:cubicBezTo>
                        <a:pt x="32057" y="41566"/>
                        <a:pt x="33911" y="39832"/>
                        <a:pt x="35765" y="38157"/>
                      </a:cubicBezTo>
                      <a:cubicBezTo>
                        <a:pt x="29604" y="30561"/>
                        <a:pt x="23445" y="22966"/>
                        <a:pt x="17284" y="15311"/>
                      </a:cubicBezTo>
                      <a:cubicBezTo>
                        <a:pt x="15490" y="16985"/>
                        <a:pt x="13696" y="18600"/>
                        <a:pt x="11902" y="20275"/>
                      </a:cubicBezTo>
                      <a:cubicBezTo>
                        <a:pt x="17822" y="27750"/>
                        <a:pt x="23983" y="35466"/>
                        <a:pt x="30202" y="43240"/>
                      </a:cubicBezTo>
                      <a:lnTo>
                        <a:pt x="30202" y="43240"/>
                      </a:lnTo>
                      <a:close/>
                      <a:moveTo>
                        <a:pt x="19557" y="52989"/>
                      </a:moveTo>
                      <a:cubicBezTo>
                        <a:pt x="21650" y="51016"/>
                        <a:pt x="23803" y="49102"/>
                        <a:pt x="25896" y="47188"/>
                      </a:cubicBezTo>
                      <a:cubicBezTo>
                        <a:pt x="19677" y="39293"/>
                        <a:pt x="13636" y="31638"/>
                        <a:pt x="7715" y="24102"/>
                      </a:cubicBezTo>
                      <a:cubicBezTo>
                        <a:pt x="5921" y="25717"/>
                        <a:pt x="4186" y="27392"/>
                        <a:pt x="2392" y="29006"/>
                      </a:cubicBezTo>
                      <a:cubicBezTo>
                        <a:pt x="1973" y="29066"/>
                        <a:pt x="1555" y="29186"/>
                        <a:pt x="1136" y="29246"/>
                      </a:cubicBezTo>
                      <a:cubicBezTo>
                        <a:pt x="778" y="28767"/>
                        <a:pt x="358" y="28229"/>
                        <a:pt x="0" y="27750"/>
                      </a:cubicBezTo>
                      <a:cubicBezTo>
                        <a:pt x="4964" y="23145"/>
                        <a:pt x="9988" y="18540"/>
                        <a:pt x="14952" y="13995"/>
                      </a:cubicBezTo>
                      <a:cubicBezTo>
                        <a:pt x="19916" y="9390"/>
                        <a:pt x="24940" y="4785"/>
                        <a:pt x="29904" y="239"/>
                      </a:cubicBezTo>
                      <a:cubicBezTo>
                        <a:pt x="30322" y="120"/>
                        <a:pt x="30741" y="60"/>
                        <a:pt x="31159" y="0"/>
                      </a:cubicBezTo>
                      <a:cubicBezTo>
                        <a:pt x="31578" y="478"/>
                        <a:pt x="31997" y="957"/>
                        <a:pt x="32416" y="1435"/>
                      </a:cubicBezTo>
                      <a:cubicBezTo>
                        <a:pt x="31877" y="1914"/>
                        <a:pt x="31339" y="2392"/>
                        <a:pt x="30801" y="2930"/>
                      </a:cubicBezTo>
                      <a:cubicBezTo>
                        <a:pt x="37020" y="10287"/>
                        <a:pt x="43181" y="17583"/>
                        <a:pt x="49281" y="24880"/>
                      </a:cubicBezTo>
                      <a:cubicBezTo>
                        <a:pt x="49521" y="24641"/>
                        <a:pt x="49819" y="24401"/>
                        <a:pt x="50059" y="24162"/>
                      </a:cubicBezTo>
                      <a:cubicBezTo>
                        <a:pt x="50477" y="24102"/>
                        <a:pt x="50896" y="23983"/>
                        <a:pt x="51314" y="23923"/>
                      </a:cubicBezTo>
                      <a:cubicBezTo>
                        <a:pt x="51733" y="24401"/>
                        <a:pt x="52212" y="24940"/>
                        <a:pt x="52630" y="25478"/>
                      </a:cubicBezTo>
                      <a:cubicBezTo>
                        <a:pt x="52092" y="25956"/>
                        <a:pt x="51554" y="26495"/>
                        <a:pt x="50956" y="26973"/>
                      </a:cubicBezTo>
                      <a:cubicBezTo>
                        <a:pt x="57535" y="34808"/>
                        <a:pt x="64293" y="42882"/>
                        <a:pt x="70812" y="50537"/>
                      </a:cubicBezTo>
                      <a:cubicBezTo>
                        <a:pt x="71111" y="50238"/>
                        <a:pt x="71409" y="49999"/>
                        <a:pt x="71709" y="49700"/>
                      </a:cubicBezTo>
                      <a:cubicBezTo>
                        <a:pt x="72127" y="49580"/>
                        <a:pt x="72546" y="49520"/>
                        <a:pt x="72965" y="49461"/>
                      </a:cubicBezTo>
                      <a:cubicBezTo>
                        <a:pt x="73443" y="49999"/>
                        <a:pt x="73922" y="50597"/>
                        <a:pt x="74340" y="51135"/>
                      </a:cubicBezTo>
                      <a:cubicBezTo>
                        <a:pt x="73742" y="51673"/>
                        <a:pt x="73204" y="52212"/>
                        <a:pt x="72666" y="52690"/>
                      </a:cubicBezTo>
                      <a:cubicBezTo>
                        <a:pt x="79723" y="61063"/>
                        <a:pt x="87019" y="69735"/>
                        <a:pt x="94017" y="77988"/>
                      </a:cubicBezTo>
                      <a:cubicBezTo>
                        <a:pt x="94316" y="77690"/>
                        <a:pt x="94675" y="77391"/>
                        <a:pt x="94974" y="77091"/>
                      </a:cubicBezTo>
                      <a:cubicBezTo>
                        <a:pt x="95392" y="76972"/>
                        <a:pt x="95811" y="76912"/>
                        <a:pt x="96170" y="76852"/>
                      </a:cubicBezTo>
                      <a:cubicBezTo>
                        <a:pt x="96649" y="77450"/>
                        <a:pt x="97187" y="78048"/>
                        <a:pt x="97665" y="78646"/>
                      </a:cubicBezTo>
                      <a:cubicBezTo>
                        <a:pt x="97067" y="79185"/>
                        <a:pt x="96469" y="79723"/>
                        <a:pt x="95931" y="80261"/>
                      </a:cubicBezTo>
                      <a:cubicBezTo>
                        <a:pt x="103526" y="89292"/>
                        <a:pt x="111421" y="98622"/>
                        <a:pt x="118897" y="107533"/>
                      </a:cubicBezTo>
                      <a:cubicBezTo>
                        <a:pt x="119255" y="107234"/>
                        <a:pt x="119555" y="106875"/>
                        <a:pt x="119913" y="106576"/>
                      </a:cubicBezTo>
                      <a:cubicBezTo>
                        <a:pt x="120272" y="106457"/>
                        <a:pt x="120691" y="106397"/>
                        <a:pt x="121110" y="106337"/>
                      </a:cubicBezTo>
                      <a:cubicBezTo>
                        <a:pt x="121648" y="106995"/>
                        <a:pt x="122246" y="107653"/>
                        <a:pt x="122725" y="108251"/>
                      </a:cubicBezTo>
                      <a:cubicBezTo>
                        <a:pt x="122127" y="108789"/>
                        <a:pt x="121528" y="109387"/>
                        <a:pt x="120870" y="109926"/>
                      </a:cubicBezTo>
                      <a:cubicBezTo>
                        <a:pt x="129124" y="119734"/>
                        <a:pt x="137616" y="129841"/>
                        <a:pt x="145690" y="139351"/>
                      </a:cubicBezTo>
                      <a:cubicBezTo>
                        <a:pt x="146050" y="138992"/>
                        <a:pt x="146408" y="138693"/>
                        <a:pt x="146767" y="138334"/>
                      </a:cubicBezTo>
                      <a:cubicBezTo>
                        <a:pt x="147185" y="138274"/>
                        <a:pt x="147545" y="138155"/>
                        <a:pt x="147963" y="138095"/>
                      </a:cubicBezTo>
                      <a:cubicBezTo>
                        <a:pt x="148441" y="138633"/>
                        <a:pt x="148860" y="139171"/>
                        <a:pt x="149338" y="139710"/>
                      </a:cubicBezTo>
                      <a:cubicBezTo>
                        <a:pt x="143358" y="145212"/>
                        <a:pt x="137377" y="150714"/>
                        <a:pt x="131396" y="156216"/>
                      </a:cubicBezTo>
                      <a:cubicBezTo>
                        <a:pt x="125416" y="161719"/>
                        <a:pt x="119435" y="167221"/>
                        <a:pt x="113454" y="172723"/>
                      </a:cubicBezTo>
                      <a:cubicBezTo>
                        <a:pt x="112976" y="172125"/>
                        <a:pt x="112557" y="171587"/>
                        <a:pt x="112139" y="171048"/>
                      </a:cubicBezTo>
                      <a:cubicBezTo>
                        <a:pt x="114232" y="169075"/>
                        <a:pt x="116385" y="167161"/>
                        <a:pt x="118478" y="165187"/>
                      </a:cubicBezTo>
                      <a:cubicBezTo>
                        <a:pt x="110224" y="154661"/>
                        <a:pt x="102150" y="144375"/>
                        <a:pt x="94256" y="134387"/>
                      </a:cubicBezTo>
                      <a:cubicBezTo>
                        <a:pt x="92223" y="136241"/>
                        <a:pt x="90189" y="138155"/>
                        <a:pt x="88096" y="140009"/>
                      </a:cubicBezTo>
                      <a:cubicBezTo>
                        <a:pt x="87678" y="140128"/>
                        <a:pt x="87259" y="140188"/>
                        <a:pt x="86900" y="140248"/>
                      </a:cubicBezTo>
                      <a:cubicBezTo>
                        <a:pt x="86481" y="139769"/>
                        <a:pt x="86123" y="139231"/>
                        <a:pt x="85763" y="138753"/>
                      </a:cubicBezTo>
                      <a:cubicBezTo>
                        <a:pt x="88096" y="136600"/>
                        <a:pt x="90369" y="134506"/>
                        <a:pt x="92701" y="132353"/>
                      </a:cubicBezTo>
                      <a:cubicBezTo>
                        <a:pt x="85046" y="122605"/>
                        <a:pt x="77570" y="113095"/>
                        <a:pt x="70214" y="103825"/>
                      </a:cubicBezTo>
                      <a:cubicBezTo>
                        <a:pt x="68240" y="105620"/>
                        <a:pt x="66266" y="107474"/>
                        <a:pt x="64293" y="109268"/>
                      </a:cubicBezTo>
                      <a:cubicBezTo>
                        <a:pt x="63874" y="109328"/>
                        <a:pt x="63455" y="109447"/>
                        <a:pt x="63037" y="109507"/>
                      </a:cubicBezTo>
                      <a:cubicBezTo>
                        <a:pt x="62678" y="109028"/>
                        <a:pt x="62319" y="108610"/>
                        <a:pt x="62020" y="108191"/>
                      </a:cubicBezTo>
                      <a:cubicBezTo>
                        <a:pt x="64293" y="106098"/>
                        <a:pt x="66506" y="104065"/>
                        <a:pt x="68778" y="101971"/>
                      </a:cubicBezTo>
                      <a:cubicBezTo>
                        <a:pt x="61661" y="92881"/>
                        <a:pt x="54664" y="84089"/>
                        <a:pt x="47846" y="75417"/>
                      </a:cubicBezTo>
                      <a:cubicBezTo>
                        <a:pt x="45932" y="77151"/>
                        <a:pt x="44018" y="78945"/>
                        <a:pt x="42164" y="80680"/>
                      </a:cubicBezTo>
                      <a:cubicBezTo>
                        <a:pt x="41745" y="80740"/>
                        <a:pt x="41327" y="80859"/>
                        <a:pt x="40908" y="80919"/>
                      </a:cubicBezTo>
                      <a:cubicBezTo>
                        <a:pt x="40609" y="80500"/>
                        <a:pt x="40310" y="80142"/>
                        <a:pt x="40011" y="79723"/>
                      </a:cubicBezTo>
                      <a:cubicBezTo>
                        <a:pt x="42164" y="77749"/>
                        <a:pt x="44377" y="75716"/>
                        <a:pt x="46530" y="73682"/>
                      </a:cubicBezTo>
                      <a:cubicBezTo>
                        <a:pt x="39892" y="65250"/>
                        <a:pt x="33372" y="56996"/>
                        <a:pt x="27033" y="48922"/>
                      </a:cubicBezTo>
                      <a:cubicBezTo>
                        <a:pt x="25179" y="50597"/>
                        <a:pt x="23385" y="52331"/>
                        <a:pt x="21530" y="54006"/>
                      </a:cubicBezTo>
                      <a:cubicBezTo>
                        <a:pt x="21112" y="54066"/>
                        <a:pt x="20693" y="54185"/>
                        <a:pt x="20275" y="54245"/>
                      </a:cubicBezTo>
                      <a:cubicBezTo>
                        <a:pt x="20155" y="53707"/>
                        <a:pt x="19856" y="53348"/>
                        <a:pt x="19557" y="52989"/>
                      </a:cubicBezTo>
                      <a:lnTo>
                        <a:pt x="19557" y="52989"/>
                      </a:lnTo>
                      <a:close/>
                      <a:moveTo>
                        <a:pt x="123562" y="160463"/>
                      </a:moveTo>
                      <a:cubicBezTo>
                        <a:pt x="125715" y="158489"/>
                        <a:pt x="127808" y="156515"/>
                        <a:pt x="129961" y="154542"/>
                      </a:cubicBezTo>
                      <a:cubicBezTo>
                        <a:pt x="121528" y="144135"/>
                        <a:pt x="113334" y="134028"/>
                        <a:pt x="105320" y="124100"/>
                      </a:cubicBezTo>
                      <a:cubicBezTo>
                        <a:pt x="103287" y="126014"/>
                        <a:pt x="101194" y="127868"/>
                        <a:pt x="99160" y="129782"/>
                      </a:cubicBezTo>
                      <a:cubicBezTo>
                        <a:pt x="107055" y="139769"/>
                        <a:pt x="115189" y="149996"/>
                        <a:pt x="123562" y="160463"/>
                      </a:cubicBezTo>
                      <a:lnTo>
                        <a:pt x="123562" y="160463"/>
                      </a:lnTo>
                      <a:close/>
                      <a:moveTo>
                        <a:pt x="97545" y="127868"/>
                      </a:moveTo>
                      <a:cubicBezTo>
                        <a:pt x="99579" y="125954"/>
                        <a:pt x="101672" y="124100"/>
                        <a:pt x="103706" y="122186"/>
                      </a:cubicBezTo>
                      <a:cubicBezTo>
                        <a:pt x="95931" y="112557"/>
                        <a:pt x="88276" y="103167"/>
                        <a:pt x="80859" y="93957"/>
                      </a:cubicBezTo>
                      <a:cubicBezTo>
                        <a:pt x="78885" y="95811"/>
                        <a:pt x="76912" y="97605"/>
                        <a:pt x="74879" y="99459"/>
                      </a:cubicBezTo>
                      <a:cubicBezTo>
                        <a:pt x="82295" y="108670"/>
                        <a:pt x="89831" y="118119"/>
                        <a:pt x="97545" y="127868"/>
                      </a:cubicBezTo>
                      <a:lnTo>
                        <a:pt x="97545" y="127868"/>
                      </a:lnTo>
                      <a:close/>
                      <a:moveTo>
                        <a:pt x="73503" y="97605"/>
                      </a:moveTo>
                      <a:cubicBezTo>
                        <a:pt x="75477" y="95811"/>
                        <a:pt x="77450" y="93957"/>
                        <a:pt x="79424" y="92103"/>
                      </a:cubicBezTo>
                      <a:cubicBezTo>
                        <a:pt x="72187" y="83132"/>
                        <a:pt x="65070" y="74400"/>
                        <a:pt x="58192" y="65848"/>
                      </a:cubicBezTo>
                      <a:cubicBezTo>
                        <a:pt x="56279" y="67642"/>
                        <a:pt x="54365" y="69376"/>
                        <a:pt x="52451" y="71111"/>
                      </a:cubicBezTo>
                      <a:cubicBezTo>
                        <a:pt x="59269" y="79783"/>
                        <a:pt x="66266" y="88574"/>
                        <a:pt x="73503" y="97605"/>
                      </a:cubicBezTo>
                      <a:lnTo>
                        <a:pt x="73503" y="97605"/>
                      </a:lnTo>
                      <a:close/>
                      <a:moveTo>
                        <a:pt x="51076" y="69496"/>
                      </a:moveTo>
                      <a:cubicBezTo>
                        <a:pt x="52989" y="67761"/>
                        <a:pt x="54903" y="65967"/>
                        <a:pt x="56817" y="64233"/>
                      </a:cubicBezTo>
                      <a:cubicBezTo>
                        <a:pt x="50059" y="55920"/>
                        <a:pt x="43480" y="47726"/>
                        <a:pt x="37020" y="39772"/>
                      </a:cubicBezTo>
                      <a:cubicBezTo>
                        <a:pt x="35167" y="41506"/>
                        <a:pt x="33312" y="43181"/>
                        <a:pt x="31459" y="44855"/>
                      </a:cubicBezTo>
                      <a:cubicBezTo>
                        <a:pt x="37858" y="52870"/>
                        <a:pt x="44377" y="61123"/>
                        <a:pt x="51076" y="69496"/>
                      </a:cubicBezTo>
                      <a:lnTo>
                        <a:pt x="51076" y="69496"/>
                      </a:lnTo>
                      <a:close/>
                      <a:moveTo>
                        <a:pt x="134865" y="150056"/>
                      </a:moveTo>
                      <a:cubicBezTo>
                        <a:pt x="137019" y="148083"/>
                        <a:pt x="139112" y="146109"/>
                        <a:pt x="141265" y="144135"/>
                      </a:cubicBezTo>
                      <a:cubicBezTo>
                        <a:pt x="132712" y="133848"/>
                        <a:pt x="124399" y="123861"/>
                        <a:pt x="116205" y="114052"/>
                      </a:cubicBezTo>
                      <a:cubicBezTo>
                        <a:pt x="114172" y="115966"/>
                        <a:pt x="112079" y="117820"/>
                        <a:pt x="110045" y="119734"/>
                      </a:cubicBezTo>
                      <a:cubicBezTo>
                        <a:pt x="118119" y="129602"/>
                        <a:pt x="126373" y="139710"/>
                        <a:pt x="134865" y="150056"/>
                      </a:cubicBezTo>
                      <a:lnTo>
                        <a:pt x="134865" y="150056"/>
                      </a:lnTo>
                      <a:close/>
                      <a:moveTo>
                        <a:pt x="108431" y="117820"/>
                      </a:moveTo>
                      <a:cubicBezTo>
                        <a:pt x="110464" y="115906"/>
                        <a:pt x="112557" y="114052"/>
                        <a:pt x="114591" y="112139"/>
                      </a:cubicBezTo>
                      <a:cubicBezTo>
                        <a:pt x="106696" y="102629"/>
                        <a:pt x="98921" y="93359"/>
                        <a:pt x="91386" y="84268"/>
                      </a:cubicBezTo>
                      <a:cubicBezTo>
                        <a:pt x="89412" y="86122"/>
                        <a:pt x="87438" y="87916"/>
                        <a:pt x="85405" y="89771"/>
                      </a:cubicBezTo>
                      <a:cubicBezTo>
                        <a:pt x="92941" y="98861"/>
                        <a:pt x="100595" y="108251"/>
                        <a:pt x="108431" y="117820"/>
                      </a:cubicBezTo>
                      <a:lnTo>
                        <a:pt x="108431" y="117820"/>
                      </a:lnTo>
                      <a:close/>
                      <a:moveTo>
                        <a:pt x="83970" y="87976"/>
                      </a:moveTo>
                      <a:cubicBezTo>
                        <a:pt x="85943" y="86182"/>
                        <a:pt x="87916" y="84328"/>
                        <a:pt x="89890" y="82534"/>
                      </a:cubicBezTo>
                      <a:cubicBezTo>
                        <a:pt x="82534" y="73682"/>
                        <a:pt x="75357" y="65070"/>
                        <a:pt x="68300" y="56578"/>
                      </a:cubicBezTo>
                      <a:cubicBezTo>
                        <a:pt x="66386" y="58372"/>
                        <a:pt x="64472" y="60106"/>
                        <a:pt x="62558" y="61841"/>
                      </a:cubicBezTo>
                      <a:cubicBezTo>
                        <a:pt x="69556" y="70333"/>
                        <a:pt x="76673" y="79065"/>
                        <a:pt x="83970" y="87976"/>
                      </a:cubicBezTo>
                      <a:lnTo>
                        <a:pt x="83970" y="87976"/>
                      </a:lnTo>
                      <a:close/>
                      <a:moveTo>
                        <a:pt x="61183" y="60166"/>
                      </a:moveTo>
                      <a:cubicBezTo>
                        <a:pt x="63096" y="58432"/>
                        <a:pt x="65010" y="56637"/>
                        <a:pt x="66924" y="54903"/>
                      </a:cubicBezTo>
                      <a:cubicBezTo>
                        <a:pt x="60047" y="46650"/>
                        <a:pt x="53348" y="38635"/>
                        <a:pt x="46829" y="30741"/>
                      </a:cubicBezTo>
                      <a:cubicBezTo>
                        <a:pt x="44975" y="32475"/>
                        <a:pt x="43121" y="34150"/>
                        <a:pt x="41267" y="35884"/>
                      </a:cubicBezTo>
                      <a:cubicBezTo>
                        <a:pt x="47726" y="43779"/>
                        <a:pt x="54424" y="51853"/>
                        <a:pt x="61183" y="60166"/>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00" name="Vrije vorm: vorm 7099">
                  <a:extLst>
                    <a:ext uri="{FF2B5EF4-FFF2-40B4-BE49-F238E27FC236}">
                      <a16:creationId xmlns:a16="http://schemas.microsoft.com/office/drawing/2014/main" id="{91167233-858C-420D-A922-D2EB0132886B}"/>
                    </a:ext>
                  </a:extLst>
                </p:cNvPr>
                <p:cNvSpPr/>
                <p:nvPr/>
              </p:nvSpPr>
              <p:spPr>
                <a:xfrm>
                  <a:off x="7591589" y="2479946"/>
                  <a:ext cx="148620" cy="173022"/>
                </a:xfrm>
                <a:custGeom>
                  <a:avLst/>
                  <a:gdLst>
                    <a:gd name="connsiteX0" fmla="*/ 10586 w 148620"/>
                    <a:gd name="connsiteY0" fmla="*/ 20334 h 173022"/>
                    <a:gd name="connsiteX1" fmla="*/ 28946 w 148620"/>
                    <a:gd name="connsiteY1" fmla="*/ 43360 h 173022"/>
                    <a:gd name="connsiteX2" fmla="*/ 34509 w 148620"/>
                    <a:gd name="connsiteY2" fmla="*/ 38277 h 173022"/>
                    <a:gd name="connsiteX3" fmla="*/ 15969 w 148620"/>
                    <a:gd name="connsiteY3" fmla="*/ 15430 h 173022"/>
                    <a:gd name="connsiteX4" fmla="*/ 10586 w 148620"/>
                    <a:gd name="connsiteY4" fmla="*/ 20334 h 173022"/>
                    <a:gd name="connsiteX5" fmla="*/ 10586 w 148620"/>
                    <a:gd name="connsiteY5" fmla="*/ 20334 h 173022"/>
                    <a:gd name="connsiteX6" fmla="*/ 48504 w 148620"/>
                    <a:gd name="connsiteY6" fmla="*/ 25298 h 173022"/>
                    <a:gd name="connsiteX7" fmla="*/ 50118 w 148620"/>
                    <a:gd name="connsiteY7" fmla="*/ 23803 h 173022"/>
                    <a:gd name="connsiteX8" fmla="*/ 51434 w 148620"/>
                    <a:gd name="connsiteY8" fmla="*/ 25358 h 173022"/>
                    <a:gd name="connsiteX9" fmla="*/ 49759 w 148620"/>
                    <a:gd name="connsiteY9" fmla="*/ 26853 h 173022"/>
                    <a:gd name="connsiteX10" fmla="*/ 70034 w 148620"/>
                    <a:gd name="connsiteY10" fmla="*/ 50896 h 173022"/>
                    <a:gd name="connsiteX11" fmla="*/ 71709 w 148620"/>
                    <a:gd name="connsiteY11" fmla="*/ 49341 h 173022"/>
                    <a:gd name="connsiteX12" fmla="*/ 73084 w 148620"/>
                    <a:gd name="connsiteY12" fmla="*/ 50956 h 173022"/>
                    <a:gd name="connsiteX13" fmla="*/ 71409 w 148620"/>
                    <a:gd name="connsiteY13" fmla="*/ 52511 h 173022"/>
                    <a:gd name="connsiteX14" fmla="*/ 93179 w 148620"/>
                    <a:gd name="connsiteY14" fmla="*/ 78288 h 173022"/>
                    <a:gd name="connsiteX15" fmla="*/ 94974 w 148620"/>
                    <a:gd name="connsiteY15" fmla="*/ 76673 h 173022"/>
                    <a:gd name="connsiteX16" fmla="*/ 96469 w 148620"/>
                    <a:gd name="connsiteY16" fmla="*/ 78467 h 173022"/>
                    <a:gd name="connsiteX17" fmla="*/ 94675 w 148620"/>
                    <a:gd name="connsiteY17" fmla="*/ 80082 h 173022"/>
                    <a:gd name="connsiteX18" fmla="*/ 118059 w 148620"/>
                    <a:gd name="connsiteY18" fmla="*/ 107832 h 173022"/>
                    <a:gd name="connsiteX19" fmla="*/ 119913 w 148620"/>
                    <a:gd name="connsiteY19" fmla="*/ 106158 h 173022"/>
                    <a:gd name="connsiteX20" fmla="*/ 121528 w 148620"/>
                    <a:gd name="connsiteY20" fmla="*/ 108071 h 173022"/>
                    <a:gd name="connsiteX21" fmla="*/ 119674 w 148620"/>
                    <a:gd name="connsiteY21" fmla="*/ 109746 h 173022"/>
                    <a:gd name="connsiteX22" fmla="*/ 144913 w 148620"/>
                    <a:gd name="connsiteY22" fmla="*/ 139650 h 173022"/>
                    <a:gd name="connsiteX23" fmla="*/ 146826 w 148620"/>
                    <a:gd name="connsiteY23" fmla="*/ 137915 h 173022"/>
                    <a:gd name="connsiteX24" fmla="*/ 148621 w 148620"/>
                    <a:gd name="connsiteY24" fmla="*/ 140009 h 173022"/>
                    <a:gd name="connsiteX25" fmla="*/ 139650 w 148620"/>
                    <a:gd name="connsiteY25" fmla="*/ 148262 h 173022"/>
                    <a:gd name="connsiteX26" fmla="*/ 130679 w 148620"/>
                    <a:gd name="connsiteY26" fmla="*/ 156515 h 173022"/>
                    <a:gd name="connsiteX27" fmla="*/ 121708 w 148620"/>
                    <a:gd name="connsiteY27" fmla="*/ 164769 h 173022"/>
                    <a:gd name="connsiteX28" fmla="*/ 112736 w 148620"/>
                    <a:gd name="connsiteY28" fmla="*/ 173022 h 173022"/>
                    <a:gd name="connsiteX29" fmla="*/ 111062 w 148620"/>
                    <a:gd name="connsiteY29" fmla="*/ 170869 h 173022"/>
                    <a:gd name="connsiteX30" fmla="*/ 117402 w 148620"/>
                    <a:gd name="connsiteY30" fmla="*/ 165008 h 173022"/>
                    <a:gd name="connsiteX31" fmla="*/ 93179 w 148620"/>
                    <a:gd name="connsiteY31" fmla="*/ 134207 h 173022"/>
                    <a:gd name="connsiteX32" fmla="*/ 87019 w 148620"/>
                    <a:gd name="connsiteY32" fmla="*/ 139829 h 173022"/>
                    <a:gd name="connsiteX33" fmla="*/ 85465 w 148620"/>
                    <a:gd name="connsiteY33" fmla="*/ 137856 h 173022"/>
                    <a:gd name="connsiteX34" fmla="*/ 91564 w 148620"/>
                    <a:gd name="connsiteY34" fmla="*/ 132234 h 173022"/>
                    <a:gd name="connsiteX35" fmla="*/ 69077 w 148620"/>
                    <a:gd name="connsiteY35" fmla="*/ 103706 h 173022"/>
                    <a:gd name="connsiteX36" fmla="*/ 63156 w 148620"/>
                    <a:gd name="connsiteY36" fmla="*/ 109148 h 173022"/>
                    <a:gd name="connsiteX37" fmla="*/ 61721 w 148620"/>
                    <a:gd name="connsiteY37" fmla="*/ 107294 h 173022"/>
                    <a:gd name="connsiteX38" fmla="*/ 67642 w 148620"/>
                    <a:gd name="connsiteY38" fmla="*/ 101852 h 173022"/>
                    <a:gd name="connsiteX39" fmla="*/ 46709 w 148620"/>
                    <a:gd name="connsiteY39" fmla="*/ 75297 h 173022"/>
                    <a:gd name="connsiteX40" fmla="*/ 41028 w 148620"/>
                    <a:gd name="connsiteY40" fmla="*/ 80560 h 173022"/>
                    <a:gd name="connsiteX41" fmla="*/ 39712 w 148620"/>
                    <a:gd name="connsiteY41" fmla="*/ 78886 h 173022"/>
                    <a:gd name="connsiteX42" fmla="*/ 45393 w 148620"/>
                    <a:gd name="connsiteY42" fmla="*/ 73623 h 173022"/>
                    <a:gd name="connsiteX43" fmla="*/ 25896 w 148620"/>
                    <a:gd name="connsiteY43" fmla="*/ 48862 h 173022"/>
                    <a:gd name="connsiteX44" fmla="*/ 20394 w 148620"/>
                    <a:gd name="connsiteY44" fmla="*/ 53946 h 173022"/>
                    <a:gd name="connsiteX45" fmla="*/ 19138 w 148620"/>
                    <a:gd name="connsiteY45" fmla="*/ 52331 h 173022"/>
                    <a:gd name="connsiteX46" fmla="*/ 24641 w 148620"/>
                    <a:gd name="connsiteY46" fmla="*/ 47248 h 173022"/>
                    <a:gd name="connsiteX47" fmla="*/ 6459 w 148620"/>
                    <a:gd name="connsiteY47" fmla="*/ 24102 h 173022"/>
                    <a:gd name="connsiteX48" fmla="*/ 1136 w 148620"/>
                    <a:gd name="connsiteY48" fmla="*/ 29006 h 173022"/>
                    <a:gd name="connsiteX49" fmla="*/ 0 w 148620"/>
                    <a:gd name="connsiteY49" fmla="*/ 27511 h 173022"/>
                    <a:gd name="connsiteX50" fmla="*/ 14952 w 148620"/>
                    <a:gd name="connsiteY50" fmla="*/ 13756 h 173022"/>
                    <a:gd name="connsiteX51" fmla="*/ 29904 w 148620"/>
                    <a:gd name="connsiteY51" fmla="*/ 0 h 173022"/>
                    <a:gd name="connsiteX52" fmla="*/ 31099 w 148620"/>
                    <a:gd name="connsiteY52" fmla="*/ 1435 h 173022"/>
                    <a:gd name="connsiteX53" fmla="*/ 29485 w 148620"/>
                    <a:gd name="connsiteY53" fmla="*/ 2930 h 173022"/>
                    <a:gd name="connsiteX54" fmla="*/ 48504 w 148620"/>
                    <a:gd name="connsiteY54" fmla="*/ 25298 h 173022"/>
                    <a:gd name="connsiteX55" fmla="*/ 48504 w 148620"/>
                    <a:gd name="connsiteY55" fmla="*/ 25298 h 173022"/>
                    <a:gd name="connsiteX56" fmla="*/ 38695 w 148620"/>
                    <a:gd name="connsiteY56" fmla="*/ 34329 h 173022"/>
                    <a:gd name="connsiteX57" fmla="*/ 44257 w 148620"/>
                    <a:gd name="connsiteY57" fmla="*/ 29246 h 173022"/>
                    <a:gd name="connsiteX58" fmla="*/ 25418 w 148620"/>
                    <a:gd name="connsiteY58" fmla="*/ 6639 h 173022"/>
                    <a:gd name="connsiteX59" fmla="*/ 20035 w 148620"/>
                    <a:gd name="connsiteY59" fmla="*/ 11603 h 173022"/>
                    <a:gd name="connsiteX60" fmla="*/ 38695 w 148620"/>
                    <a:gd name="connsiteY60" fmla="*/ 34329 h 173022"/>
                    <a:gd name="connsiteX61" fmla="*/ 38695 w 148620"/>
                    <a:gd name="connsiteY61" fmla="*/ 34329 h 173022"/>
                    <a:gd name="connsiteX62" fmla="*/ 122365 w 148620"/>
                    <a:gd name="connsiteY62" fmla="*/ 160523 h 173022"/>
                    <a:gd name="connsiteX63" fmla="*/ 128765 w 148620"/>
                    <a:gd name="connsiteY63" fmla="*/ 154602 h 173022"/>
                    <a:gd name="connsiteX64" fmla="*/ 104125 w 148620"/>
                    <a:gd name="connsiteY64" fmla="*/ 124160 h 173022"/>
                    <a:gd name="connsiteX65" fmla="*/ 97964 w 148620"/>
                    <a:gd name="connsiteY65" fmla="*/ 129841 h 173022"/>
                    <a:gd name="connsiteX66" fmla="*/ 122365 w 148620"/>
                    <a:gd name="connsiteY66" fmla="*/ 160523 h 173022"/>
                    <a:gd name="connsiteX67" fmla="*/ 122365 w 148620"/>
                    <a:gd name="connsiteY67" fmla="*/ 160523 h 173022"/>
                    <a:gd name="connsiteX68" fmla="*/ 96349 w 148620"/>
                    <a:gd name="connsiteY68" fmla="*/ 127928 h 173022"/>
                    <a:gd name="connsiteX69" fmla="*/ 102510 w 148620"/>
                    <a:gd name="connsiteY69" fmla="*/ 122246 h 173022"/>
                    <a:gd name="connsiteX70" fmla="*/ 79663 w 148620"/>
                    <a:gd name="connsiteY70" fmla="*/ 94017 h 173022"/>
                    <a:gd name="connsiteX71" fmla="*/ 73682 w 148620"/>
                    <a:gd name="connsiteY71" fmla="*/ 99519 h 173022"/>
                    <a:gd name="connsiteX72" fmla="*/ 96349 w 148620"/>
                    <a:gd name="connsiteY72" fmla="*/ 127928 h 173022"/>
                    <a:gd name="connsiteX73" fmla="*/ 96349 w 148620"/>
                    <a:gd name="connsiteY73" fmla="*/ 127928 h 173022"/>
                    <a:gd name="connsiteX74" fmla="*/ 72247 w 148620"/>
                    <a:gd name="connsiteY74" fmla="*/ 97665 h 173022"/>
                    <a:gd name="connsiteX75" fmla="*/ 78168 w 148620"/>
                    <a:gd name="connsiteY75" fmla="*/ 92223 h 173022"/>
                    <a:gd name="connsiteX76" fmla="*/ 56877 w 148620"/>
                    <a:gd name="connsiteY76" fmla="*/ 65967 h 173022"/>
                    <a:gd name="connsiteX77" fmla="*/ 51135 w 148620"/>
                    <a:gd name="connsiteY77" fmla="*/ 71230 h 173022"/>
                    <a:gd name="connsiteX78" fmla="*/ 72247 w 148620"/>
                    <a:gd name="connsiteY78" fmla="*/ 97665 h 173022"/>
                    <a:gd name="connsiteX79" fmla="*/ 72247 w 148620"/>
                    <a:gd name="connsiteY79" fmla="*/ 97665 h 173022"/>
                    <a:gd name="connsiteX80" fmla="*/ 49819 w 148620"/>
                    <a:gd name="connsiteY80" fmla="*/ 69556 h 173022"/>
                    <a:gd name="connsiteX81" fmla="*/ 55561 w 148620"/>
                    <a:gd name="connsiteY81" fmla="*/ 64293 h 173022"/>
                    <a:gd name="connsiteX82" fmla="*/ 35765 w 148620"/>
                    <a:gd name="connsiteY82" fmla="*/ 39832 h 173022"/>
                    <a:gd name="connsiteX83" fmla="*/ 30202 w 148620"/>
                    <a:gd name="connsiteY83" fmla="*/ 44915 h 173022"/>
                    <a:gd name="connsiteX84" fmla="*/ 49819 w 148620"/>
                    <a:gd name="connsiteY84" fmla="*/ 69556 h 173022"/>
                    <a:gd name="connsiteX85" fmla="*/ 49819 w 148620"/>
                    <a:gd name="connsiteY85" fmla="*/ 69556 h 173022"/>
                    <a:gd name="connsiteX86" fmla="*/ 133669 w 148620"/>
                    <a:gd name="connsiteY86" fmla="*/ 150116 h 173022"/>
                    <a:gd name="connsiteX87" fmla="*/ 140069 w 148620"/>
                    <a:gd name="connsiteY87" fmla="*/ 144195 h 173022"/>
                    <a:gd name="connsiteX88" fmla="*/ 115009 w 148620"/>
                    <a:gd name="connsiteY88" fmla="*/ 114112 h 173022"/>
                    <a:gd name="connsiteX89" fmla="*/ 108849 w 148620"/>
                    <a:gd name="connsiteY89" fmla="*/ 119794 h 173022"/>
                    <a:gd name="connsiteX90" fmla="*/ 133669 w 148620"/>
                    <a:gd name="connsiteY90" fmla="*/ 150116 h 173022"/>
                    <a:gd name="connsiteX91" fmla="*/ 133669 w 148620"/>
                    <a:gd name="connsiteY91" fmla="*/ 150116 h 173022"/>
                    <a:gd name="connsiteX92" fmla="*/ 107234 w 148620"/>
                    <a:gd name="connsiteY92" fmla="*/ 117880 h 173022"/>
                    <a:gd name="connsiteX93" fmla="*/ 113394 w 148620"/>
                    <a:gd name="connsiteY93" fmla="*/ 112198 h 173022"/>
                    <a:gd name="connsiteX94" fmla="*/ 90189 w 148620"/>
                    <a:gd name="connsiteY94" fmla="*/ 84328 h 173022"/>
                    <a:gd name="connsiteX95" fmla="*/ 84208 w 148620"/>
                    <a:gd name="connsiteY95" fmla="*/ 89830 h 173022"/>
                    <a:gd name="connsiteX96" fmla="*/ 107234 w 148620"/>
                    <a:gd name="connsiteY96" fmla="*/ 117880 h 173022"/>
                    <a:gd name="connsiteX97" fmla="*/ 107234 w 148620"/>
                    <a:gd name="connsiteY97" fmla="*/ 117880 h 173022"/>
                    <a:gd name="connsiteX98" fmla="*/ 82713 w 148620"/>
                    <a:gd name="connsiteY98" fmla="*/ 88036 h 173022"/>
                    <a:gd name="connsiteX99" fmla="*/ 88634 w 148620"/>
                    <a:gd name="connsiteY99" fmla="*/ 82594 h 173022"/>
                    <a:gd name="connsiteX100" fmla="*/ 67044 w 148620"/>
                    <a:gd name="connsiteY100" fmla="*/ 56637 h 173022"/>
                    <a:gd name="connsiteX101" fmla="*/ 61302 w 148620"/>
                    <a:gd name="connsiteY101" fmla="*/ 61900 h 173022"/>
                    <a:gd name="connsiteX102" fmla="*/ 82713 w 148620"/>
                    <a:gd name="connsiteY102" fmla="*/ 88036 h 173022"/>
                    <a:gd name="connsiteX103" fmla="*/ 82713 w 148620"/>
                    <a:gd name="connsiteY103" fmla="*/ 88036 h 173022"/>
                    <a:gd name="connsiteX104" fmla="*/ 59987 w 148620"/>
                    <a:gd name="connsiteY104" fmla="*/ 60226 h 173022"/>
                    <a:gd name="connsiteX105" fmla="*/ 65728 w 148620"/>
                    <a:gd name="connsiteY105" fmla="*/ 54963 h 173022"/>
                    <a:gd name="connsiteX106" fmla="*/ 45573 w 148620"/>
                    <a:gd name="connsiteY106" fmla="*/ 30801 h 173022"/>
                    <a:gd name="connsiteX107" fmla="*/ 40011 w 148620"/>
                    <a:gd name="connsiteY107" fmla="*/ 35884 h 173022"/>
                    <a:gd name="connsiteX108" fmla="*/ 59987 w 148620"/>
                    <a:gd name="connsiteY108" fmla="*/ 60226 h 17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48620" h="173022">
                      <a:moveTo>
                        <a:pt x="10586" y="20334"/>
                      </a:moveTo>
                      <a:cubicBezTo>
                        <a:pt x="16686" y="28050"/>
                        <a:pt x="22846" y="35705"/>
                        <a:pt x="28946" y="43360"/>
                      </a:cubicBezTo>
                      <a:cubicBezTo>
                        <a:pt x="30801" y="41686"/>
                        <a:pt x="32655" y="39951"/>
                        <a:pt x="34509" y="38277"/>
                      </a:cubicBezTo>
                      <a:cubicBezTo>
                        <a:pt x="28349" y="30681"/>
                        <a:pt x="22188" y="23085"/>
                        <a:pt x="15969" y="15430"/>
                      </a:cubicBezTo>
                      <a:cubicBezTo>
                        <a:pt x="14174" y="17045"/>
                        <a:pt x="12380" y="18660"/>
                        <a:pt x="10586" y="20334"/>
                      </a:cubicBezTo>
                      <a:lnTo>
                        <a:pt x="10586" y="20334"/>
                      </a:lnTo>
                      <a:close/>
                      <a:moveTo>
                        <a:pt x="48504" y="25298"/>
                      </a:moveTo>
                      <a:cubicBezTo>
                        <a:pt x="49042" y="24820"/>
                        <a:pt x="49580" y="24282"/>
                        <a:pt x="50118" y="23803"/>
                      </a:cubicBezTo>
                      <a:cubicBezTo>
                        <a:pt x="50537" y="24341"/>
                        <a:pt x="51016" y="24880"/>
                        <a:pt x="51434" y="25358"/>
                      </a:cubicBezTo>
                      <a:cubicBezTo>
                        <a:pt x="50896" y="25837"/>
                        <a:pt x="50358" y="26375"/>
                        <a:pt x="49759" y="26853"/>
                      </a:cubicBezTo>
                      <a:cubicBezTo>
                        <a:pt x="56339" y="34688"/>
                        <a:pt x="63156" y="42702"/>
                        <a:pt x="70034" y="50896"/>
                      </a:cubicBezTo>
                      <a:cubicBezTo>
                        <a:pt x="70572" y="50358"/>
                        <a:pt x="71171" y="49879"/>
                        <a:pt x="71709" y="49341"/>
                      </a:cubicBezTo>
                      <a:cubicBezTo>
                        <a:pt x="72127" y="49879"/>
                        <a:pt x="72666" y="50477"/>
                        <a:pt x="73084" y="50956"/>
                      </a:cubicBezTo>
                      <a:cubicBezTo>
                        <a:pt x="72546" y="51494"/>
                        <a:pt x="71948" y="51972"/>
                        <a:pt x="71409" y="52511"/>
                      </a:cubicBezTo>
                      <a:cubicBezTo>
                        <a:pt x="78527" y="60944"/>
                        <a:pt x="85763" y="69496"/>
                        <a:pt x="93179" y="78288"/>
                      </a:cubicBezTo>
                      <a:cubicBezTo>
                        <a:pt x="93777" y="77749"/>
                        <a:pt x="94376" y="77211"/>
                        <a:pt x="94974" y="76673"/>
                      </a:cubicBezTo>
                      <a:cubicBezTo>
                        <a:pt x="95452" y="77271"/>
                        <a:pt x="95990" y="77869"/>
                        <a:pt x="96469" y="78467"/>
                      </a:cubicBezTo>
                      <a:cubicBezTo>
                        <a:pt x="95871" y="79005"/>
                        <a:pt x="95273" y="79544"/>
                        <a:pt x="94675" y="80082"/>
                      </a:cubicBezTo>
                      <a:cubicBezTo>
                        <a:pt x="102270" y="89113"/>
                        <a:pt x="110105" y="98323"/>
                        <a:pt x="118059" y="107832"/>
                      </a:cubicBezTo>
                      <a:cubicBezTo>
                        <a:pt x="118657" y="107294"/>
                        <a:pt x="119255" y="106696"/>
                        <a:pt x="119913" y="106158"/>
                      </a:cubicBezTo>
                      <a:cubicBezTo>
                        <a:pt x="120452" y="106816"/>
                        <a:pt x="120990" y="107414"/>
                        <a:pt x="121528" y="108071"/>
                      </a:cubicBezTo>
                      <a:cubicBezTo>
                        <a:pt x="120930" y="108610"/>
                        <a:pt x="120332" y="109208"/>
                        <a:pt x="119674" y="109746"/>
                      </a:cubicBezTo>
                      <a:cubicBezTo>
                        <a:pt x="127868" y="119435"/>
                        <a:pt x="136301" y="129423"/>
                        <a:pt x="144913" y="139650"/>
                      </a:cubicBezTo>
                      <a:cubicBezTo>
                        <a:pt x="145571" y="139052"/>
                        <a:pt x="146169" y="138514"/>
                        <a:pt x="146826" y="137915"/>
                      </a:cubicBezTo>
                      <a:cubicBezTo>
                        <a:pt x="147425" y="138633"/>
                        <a:pt x="148023" y="139291"/>
                        <a:pt x="148621" y="140009"/>
                      </a:cubicBezTo>
                      <a:cubicBezTo>
                        <a:pt x="145630" y="142760"/>
                        <a:pt x="142640" y="145511"/>
                        <a:pt x="139650" y="148262"/>
                      </a:cubicBezTo>
                      <a:cubicBezTo>
                        <a:pt x="136659" y="151013"/>
                        <a:pt x="133669" y="153764"/>
                        <a:pt x="130679" y="156515"/>
                      </a:cubicBezTo>
                      <a:cubicBezTo>
                        <a:pt x="127688" y="159267"/>
                        <a:pt x="124698" y="162018"/>
                        <a:pt x="121708" y="164769"/>
                      </a:cubicBezTo>
                      <a:cubicBezTo>
                        <a:pt x="118717" y="167520"/>
                        <a:pt x="115727" y="170271"/>
                        <a:pt x="112736" y="173022"/>
                      </a:cubicBezTo>
                      <a:cubicBezTo>
                        <a:pt x="112139" y="172305"/>
                        <a:pt x="111600" y="171587"/>
                        <a:pt x="111062" y="170869"/>
                      </a:cubicBezTo>
                      <a:cubicBezTo>
                        <a:pt x="113156" y="168896"/>
                        <a:pt x="115309" y="166982"/>
                        <a:pt x="117402" y="165008"/>
                      </a:cubicBezTo>
                      <a:cubicBezTo>
                        <a:pt x="109088" y="154482"/>
                        <a:pt x="101014" y="144195"/>
                        <a:pt x="93179" y="134207"/>
                      </a:cubicBezTo>
                      <a:cubicBezTo>
                        <a:pt x="91146" y="136061"/>
                        <a:pt x="89113" y="137975"/>
                        <a:pt x="87019" y="139829"/>
                      </a:cubicBezTo>
                      <a:cubicBezTo>
                        <a:pt x="86481" y="139171"/>
                        <a:pt x="86003" y="138514"/>
                        <a:pt x="85465" y="137856"/>
                      </a:cubicBezTo>
                      <a:cubicBezTo>
                        <a:pt x="87498" y="136002"/>
                        <a:pt x="89531" y="134088"/>
                        <a:pt x="91564" y="132234"/>
                      </a:cubicBezTo>
                      <a:cubicBezTo>
                        <a:pt x="83910" y="122485"/>
                        <a:pt x="76374" y="112976"/>
                        <a:pt x="69077" y="103706"/>
                      </a:cubicBezTo>
                      <a:cubicBezTo>
                        <a:pt x="67104" y="105500"/>
                        <a:pt x="65130" y="107354"/>
                        <a:pt x="63156" y="109148"/>
                      </a:cubicBezTo>
                      <a:cubicBezTo>
                        <a:pt x="62678" y="108550"/>
                        <a:pt x="62200" y="107892"/>
                        <a:pt x="61721" y="107294"/>
                      </a:cubicBezTo>
                      <a:cubicBezTo>
                        <a:pt x="63695" y="105500"/>
                        <a:pt x="65668" y="103706"/>
                        <a:pt x="67642" y="101852"/>
                      </a:cubicBezTo>
                      <a:cubicBezTo>
                        <a:pt x="60525" y="92761"/>
                        <a:pt x="53527" y="83969"/>
                        <a:pt x="46709" y="75297"/>
                      </a:cubicBezTo>
                      <a:cubicBezTo>
                        <a:pt x="44796" y="77032"/>
                        <a:pt x="42882" y="78826"/>
                        <a:pt x="41028" y="80560"/>
                      </a:cubicBezTo>
                      <a:cubicBezTo>
                        <a:pt x="40609" y="80022"/>
                        <a:pt x="40130" y="79424"/>
                        <a:pt x="39712" y="78886"/>
                      </a:cubicBezTo>
                      <a:cubicBezTo>
                        <a:pt x="41626" y="77151"/>
                        <a:pt x="43480" y="75417"/>
                        <a:pt x="45393" y="73623"/>
                      </a:cubicBezTo>
                      <a:cubicBezTo>
                        <a:pt x="38755" y="65190"/>
                        <a:pt x="32236" y="56936"/>
                        <a:pt x="25896" y="48862"/>
                      </a:cubicBezTo>
                      <a:cubicBezTo>
                        <a:pt x="24043" y="50537"/>
                        <a:pt x="22248" y="52271"/>
                        <a:pt x="20394" y="53946"/>
                      </a:cubicBezTo>
                      <a:cubicBezTo>
                        <a:pt x="19975" y="53408"/>
                        <a:pt x="19557" y="52870"/>
                        <a:pt x="19138" y="52331"/>
                      </a:cubicBezTo>
                      <a:cubicBezTo>
                        <a:pt x="20992" y="50657"/>
                        <a:pt x="22786" y="48982"/>
                        <a:pt x="24641" y="47248"/>
                      </a:cubicBezTo>
                      <a:cubicBezTo>
                        <a:pt x="18420" y="39353"/>
                        <a:pt x="12380" y="31698"/>
                        <a:pt x="6459" y="24102"/>
                      </a:cubicBezTo>
                      <a:cubicBezTo>
                        <a:pt x="4665" y="25717"/>
                        <a:pt x="2930" y="27392"/>
                        <a:pt x="1136" y="29006"/>
                      </a:cubicBezTo>
                      <a:cubicBezTo>
                        <a:pt x="778" y="28528"/>
                        <a:pt x="358" y="27990"/>
                        <a:pt x="0" y="27511"/>
                      </a:cubicBezTo>
                      <a:cubicBezTo>
                        <a:pt x="4964" y="22906"/>
                        <a:pt x="9988" y="18301"/>
                        <a:pt x="14952" y="13756"/>
                      </a:cubicBezTo>
                      <a:cubicBezTo>
                        <a:pt x="19916" y="9150"/>
                        <a:pt x="24940" y="4545"/>
                        <a:pt x="29904" y="0"/>
                      </a:cubicBezTo>
                      <a:cubicBezTo>
                        <a:pt x="30262" y="478"/>
                        <a:pt x="30741" y="957"/>
                        <a:pt x="31099" y="1435"/>
                      </a:cubicBezTo>
                      <a:cubicBezTo>
                        <a:pt x="30561" y="1914"/>
                        <a:pt x="30023" y="2392"/>
                        <a:pt x="29485" y="2930"/>
                      </a:cubicBezTo>
                      <a:cubicBezTo>
                        <a:pt x="35705" y="10167"/>
                        <a:pt x="42045" y="17703"/>
                        <a:pt x="48504" y="25298"/>
                      </a:cubicBezTo>
                      <a:lnTo>
                        <a:pt x="48504" y="25298"/>
                      </a:lnTo>
                      <a:close/>
                      <a:moveTo>
                        <a:pt x="38695" y="34329"/>
                      </a:moveTo>
                      <a:cubicBezTo>
                        <a:pt x="40549" y="32655"/>
                        <a:pt x="42403" y="30920"/>
                        <a:pt x="44257" y="29246"/>
                      </a:cubicBezTo>
                      <a:cubicBezTo>
                        <a:pt x="37858" y="21590"/>
                        <a:pt x="31578" y="14055"/>
                        <a:pt x="25418" y="6639"/>
                      </a:cubicBezTo>
                      <a:cubicBezTo>
                        <a:pt x="23624" y="8313"/>
                        <a:pt x="21830" y="9928"/>
                        <a:pt x="20035" y="11603"/>
                      </a:cubicBezTo>
                      <a:cubicBezTo>
                        <a:pt x="26136" y="19019"/>
                        <a:pt x="32356" y="26614"/>
                        <a:pt x="38695" y="34329"/>
                      </a:cubicBezTo>
                      <a:lnTo>
                        <a:pt x="38695" y="34329"/>
                      </a:lnTo>
                      <a:close/>
                      <a:moveTo>
                        <a:pt x="122365" y="160523"/>
                      </a:moveTo>
                      <a:cubicBezTo>
                        <a:pt x="124518" y="158549"/>
                        <a:pt x="126612" y="156575"/>
                        <a:pt x="128765" y="154602"/>
                      </a:cubicBezTo>
                      <a:cubicBezTo>
                        <a:pt x="120332" y="144195"/>
                        <a:pt x="112139" y="134088"/>
                        <a:pt x="104125" y="124160"/>
                      </a:cubicBezTo>
                      <a:cubicBezTo>
                        <a:pt x="102031" y="126074"/>
                        <a:pt x="99998" y="127928"/>
                        <a:pt x="97964" y="129841"/>
                      </a:cubicBezTo>
                      <a:cubicBezTo>
                        <a:pt x="105858" y="139829"/>
                        <a:pt x="113992" y="150056"/>
                        <a:pt x="122365" y="160523"/>
                      </a:cubicBezTo>
                      <a:lnTo>
                        <a:pt x="122365" y="160523"/>
                      </a:lnTo>
                      <a:close/>
                      <a:moveTo>
                        <a:pt x="96349" y="127928"/>
                      </a:moveTo>
                      <a:cubicBezTo>
                        <a:pt x="98383" y="126014"/>
                        <a:pt x="100476" y="124160"/>
                        <a:pt x="102510" y="122246"/>
                      </a:cubicBezTo>
                      <a:cubicBezTo>
                        <a:pt x="94734" y="112617"/>
                        <a:pt x="87079" y="103227"/>
                        <a:pt x="79663" y="94017"/>
                      </a:cubicBezTo>
                      <a:cubicBezTo>
                        <a:pt x="77690" y="95871"/>
                        <a:pt x="75716" y="97665"/>
                        <a:pt x="73682" y="99519"/>
                      </a:cubicBezTo>
                      <a:cubicBezTo>
                        <a:pt x="81098" y="108789"/>
                        <a:pt x="88634" y="118239"/>
                        <a:pt x="96349" y="127928"/>
                      </a:cubicBezTo>
                      <a:lnTo>
                        <a:pt x="96349" y="127928"/>
                      </a:lnTo>
                      <a:close/>
                      <a:moveTo>
                        <a:pt x="72247" y="97665"/>
                      </a:moveTo>
                      <a:cubicBezTo>
                        <a:pt x="74221" y="95871"/>
                        <a:pt x="76194" y="94017"/>
                        <a:pt x="78168" y="92223"/>
                      </a:cubicBezTo>
                      <a:cubicBezTo>
                        <a:pt x="70931" y="83252"/>
                        <a:pt x="63815" y="74520"/>
                        <a:pt x="56877" y="65967"/>
                      </a:cubicBezTo>
                      <a:cubicBezTo>
                        <a:pt x="54962" y="67761"/>
                        <a:pt x="53049" y="69496"/>
                        <a:pt x="51135" y="71230"/>
                      </a:cubicBezTo>
                      <a:cubicBezTo>
                        <a:pt x="58073" y="79902"/>
                        <a:pt x="65070" y="88694"/>
                        <a:pt x="72247" y="97665"/>
                      </a:cubicBezTo>
                      <a:lnTo>
                        <a:pt x="72247" y="97665"/>
                      </a:lnTo>
                      <a:close/>
                      <a:moveTo>
                        <a:pt x="49819" y="69556"/>
                      </a:moveTo>
                      <a:cubicBezTo>
                        <a:pt x="51733" y="67821"/>
                        <a:pt x="53647" y="66027"/>
                        <a:pt x="55561" y="64293"/>
                      </a:cubicBezTo>
                      <a:cubicBezTo>
                        <a:pt x="48803" y="55979"/>
                        <a:pt x="42224" y="47786"/>
                        <a:pt x="35765" y="39832"/>
                      </a:cubicBezTo>
                      <a:cubicBezTo>
                        <a:pt x="33911" y="41566"/>
                        <a:pt x="32057" y="43240"/>
                        <a:pt x="30202" y="44915"/>
                      </a:cubicBezTo>
                      <a:cubicBezTo>
                        <a:pt x="36602" y="52929"/>
                        <a:pt x="43121" y="61183"/>
                        <a:pt x="49819" y="69556"/>
                      </a:cubicBezTo>
                      <a:lnTo>
                        <a:pt x="49819" y="69556"/>
                      </a:lnTo>
                      <a:close/>
                      <a:moveTo>
                        <a:pt x="133669" y="150116"/>
                      </a:moveTo>
                      <a:cubicBezTo>
                        <a:pt x="135822" y="148142"/>
                        <a:pt x="137915" y="146169"/>
                        <a:pt x="140069" y="144195"/>
                      </a:cubicBezTo>
                      <a:cubicBezTo>
                        <a:pt x="131516" y="133908"/>
                        <a:pt x="123143" y="123921"/>
                        <a:pt x="115009" y="114112"/>
                      </a:cubicBezTo>
                      <a:cubicBezTo>
                        <a:pt x="112976" y="116026"/>
                        <a:pt x="110883" y="117880"/>
                        <a:pt x="108849" y="119794"/>
                      </a:cubicBezTo>
                      <a:cubicBezTo>
                        <a:pt x="116923" y="129662"/>
                        <a:pt x="125176" y="139769"/>
                        <a:pt x="133669" y="150116"/>
                      </a:cubicBezTo>
                      <a:lnTo>
                        <a:pt x="133669" y="150116"/>
                      </a:lnTo>
                      <a:close/>
                      <a:moveTo>
                        <a:pt x="107234" y="117880"/>
                      </a:moveTo>
                      <a:cubicBezTo>
                        <a:pt x="109268" y="115966"/>
                        <a:pt x="111361" y="114112"/>
                        <a:pt x="113394" y="112198"/>
                      </a:cubicBezTo>
                      <a:cubicBezTo>
                        <a:pt x="105440" y="102689"/>
                        <a:pt x="97725" y="93419"/>
                        <a:pt x="90189" y="84328"/>
                      </a:cubicBezTo>
                      <a:cubicBezTo>
                        <a:pt x="88216" y="86182"/>
                        <a:pt x="86242" y="87976"/>
                        <a:pt x="84208" y="89830"/>
                      </a:cubicBezTo>
                      <a:cubicBezTo>
                        <a:pt x="91684" y="98981"/>
                        <a:pt x="99400" y="108311"/>
                        <a:pt x="107234" y="117880"/>
                      </a:cubicBezTo>
                      <a:lnTo>
                        <a:pt x="107234" y="117880"/>
                      </a:lnTo>
                      <a:close/>
                      <a:moveTo>
                        <a:pt x="82713" y="88036"/>
                      </a:moveTo>
                      <a:cubicBezTo>
                        <a:pt x="84687" y="86242"/>
                        <a:pt x="86661" y="84388"/>
                        <a:pt x="88634" y="82594"/>
                      </a:cubicBezTo>
                      <a:cubicBezTo>
                        <a:pt x="81278" y="73742"/>
                        <a:pt x="74101" y="65130"/>
                        <a:pt x="67044" y="56637"/>
                      </a:cubicBezTo>
                      <a:cubicBezTo>
                        <a:pt x="65130" y="58432"/>
                        <a:pt x="63216" y="60166"/>
                        <a:pt x="61302" y="61900"/>
                      </a:cubicBezTo>
                      <a:cubicBezTo>
                        <a:pt x="68300" y="70453"/>
                        <a:pt x="75417" y="79125"/>
                        <a:pt x="82713" y="88036"/>
                      </a:cubicBezTo>
                      <a:lnTo>
                        <a:pt x="82713" y="88036"/>
                      </a:lnTo>
                      <a:close/>
                      <a:moveTo>
                        <a:pt x="59987" y="60226"/>
                      </a:moveTo>
                      <a:cubicBezTo>
                        <a:pt x="61900" y="58491"/>
                        <a:pt x="63815" y="56697"/>
                        <a:pt x="65728" y="54963"/>
                      </a:cubicBezTo>
                      <a:cubicBezTo>
                        <a:pt x="58850" y="46709"/>
                        <a:pt x="52152" y="38635"/>
                        <a:pt x="45573" y="30801"/>
                      </a:cubicBezTo>
                      <a:cubicBezTo>
                        <a:pt x="43719" y="32535"/>
                        <a:pt x="41865" y="34210"/>
                        <a:pt x="40011" y="35884"/>
                      </a:cubicBezTo>
                      <a:cubicBezTo>
                        <a:pt x="46470" y="43839"/>
                        <a:pt x="53169" y="51972"/>
                        <a:pt x="59987" y="60226"/>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01" name="Vrije vorm: vorm 7100">
                  <a:extLst>
                    <a:ext uri="{FF2B5EF4-FFF2-40B4-BE49-F238E27FC236}">
                      <a16:creationId xmlns:a16="http://schemas.microsoft.com/office/drawing/2014/main" id="{A1D91610-4989-4962-B2B0-9F30F7BBDB31}"/>
                    </a:ext>
                  </a:extLst>
                </p:cNvPr>
                <p:cNvSpPr/>
                <p:nvPr/>
              </p:nvSpPr>
              <p:spPr>
                <a:xfrm>
                  <a:off x="7700438" y="2594118"/>
                  <a:ext cx="6578" cy="5681"/>
                </a:xfrm>
                <a:custGeom>
                  <a:avLst/>
                  <a:gdLst>
                    <a:gd name="connsiteX0" fmla="*/ 6579 w 6578"/>
                    <a:gd name="connsiteY0" fmla="*/ 478 h 5681"/>
                    <a:gd name="connsiteX1" fmla="*/ 6160 w 6578"/>
                    <a:gd name="connsiteY1" fmla="*/ 0 h 5681"/>
                    <a:gd name="connsiteX2" fmla="*/ 0 w 6578"/>
                    <a:gd name="connsiteY2" fmla="*/ 5682 h 5681"/>
                    <a:gd name="connsiteX3" fmla="*/ 1197 w 6578"/>
                    <a:gd name="connsiteY3" fmla="*/ 5442 h 5681"/>
                    <a:gd name="connsiteX4" fmla="*/ 6579 w 6578"/>
                    <a:gd name="connsiteY4" fmla="*/ 478 h 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8" h="5681">
                      <a:moveTo>
                        <a:pt x="6579" y="478"/>
                      </a:moveTo>
                      <a:cubicBezTo>
                        <a:pt x="6460" y="299"/>
                        <a:pt x="6280" y="179"/>
                        <a:pt x="6160" y="0"/>
                      </a:cubicBezTo>
                      <a:cubicBezTo>
                        <a:pt x="4127" y="1914"/>
                        <a:pt x="2034" y="3768"/>
                        <a:pt x="0" y="5682"/>
                      </a:cubicBezTo>
                      <a:cubicBezTo>
                        <a:pt x="419" y="5562"/>
                        <a:pt x="837" y="5502"/>
                        <a:pt x="1197" y="5442"/>
                      </a:cubicBezTo>
                      <a:cubicBezTo>
                        <a:pt x="2990" y="3768"/>
                        <a:pt x="4785" y="2153"/>
                        <a:pt x="6579" y="47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02" name="Vrije vorm: vorm 7101">
                  <a:extLst>
                    <a:ext uri="{FF2B5EF4-FFF2-40B4-BE49-F238E27FC236}">
                      <a16:creationId xmlns:a16="http://schemas.microsoft.com/office/drawing/2014/main" id="{8E41F12D-703F-436E-A8CF-4CD35D9715BD}"/>
                    </a:ext>
                  </a:extLst>
                </p:cNvPr>
                <p:cNvSpPr/>
                <p:nvPr/>
              </p:nvSpPr>
              <p:spPr>
                <a:xfrm>
                  <a:off x="7689434" y="2604166"/>
                  <a:ext cx="6638" cy="5681"/>
                </a:xfrm>
                <a:custGeom>
                  <a:avLst/>
                  <a:gdLst>
                    <a:gd name="connsiteX0" fmla="*/ 6639 w 6638"/>
                    <a:gd name="connsiteY0" fmla="*/ 478 h 5681"/>
                    <a:gd name="connsiteX1" fmla="*/ 6220 w 6638"/>
                    <a:gd name="connsiteY1" fmla="*/ 0 h 5681"/>
                    <a:gd name="connsiteX2" fmla="*/ 3050 w 6638"/>
                    <a:gd name="connsiteY2" fmla="*/ 2930 h 5681"/>
                    <a:gd name="connsiteX3" fmla="*/ 0 w 6638"/>
                    <a:gd name="connsiteY3" fmla="*/ 5682 h 5681"/>
                    <a:gd name="connsiteX4" fmla="*/ 1196 w 6638"/>
                    <a:gd name="connsiteY4" fmla="*/ 5442 h 5681"/>
                    <a:gd name="connsiteX5" fmla="*/ 3469 w 6638"/>
                    <a:gd name="connsiteY5" fmla="*/ 3349 h 5681"/>
                    <a:gd name="connsiteX6" fmla="*/ 6639 w 6638"/>
                    <a:gd name="connsiteY6" fmla="*/ 478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38" h="5681">
                      <a:moveTo>
                        <a:pt x="6639" y="478"/>
                      </a:moveTo>
                      <a:cubicBezTo>
                        <a:pt x="6519" y="299"/>
                        <a:pt x="6399" y="120"/>
                        <a:pt x="6220" y="0"/>
                      </a:cubicBezTo>
                      <a:cubicBezTo>
                        <a:pt x="5143" y="957"/>
                        <a:pt x="4126" y="1914"/>
                        <a:pt x="3050" y="2930"/>
                      </a:cubicBezTo>
                      <a:cubicBezTo>
                        <a:pt x="2033" y="3887"/>
                        <a:pt x="1017" y="4785"/>
                        <a:pt x="0" y="5682"/>
                      </a:cubicBezTo>
                      <a:cubicBezTo>
                        <a:pt x="418" y="5622"/>
                        <a:pt x="837" y="5502"/>
                        <a:pt x="1196" y="5442"/>
                      </a:cubicBezTo>
                      <a:cubicBezTo>
                        <a:pt x="1973" y="4785"/>
                        <a:pt x="2691" y="4067"/>
                        <a:pt x="3469" y="3349"/>
                      </a:cubicBezTo>
                      <a:cubicBezTo>
                        <a:pt x="4545" y="2392"/>
                        <a:pt x="5622" y="1435"/>
                        <a:pt x="6639" y="47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03" name="Vrije vorm: vorm 7102">
                  <a:extLst>
                    <a:ext uri="{FF2B5EF4-FFF2-40B4-BE49-F238E27FC236}">
                      <a16:creationId xmlns:a16="http://schemas.microsoft.com/office/drawing/2014/main" id="{FA9072E2-33CF-4CA5-AC2E-097D4887C8EF}"/>
                    </a:ext>
                  </a:extLst>
                </p:cNvPr>
                <p:cNvSpPr/>
                <p:nvPr/>
              </p:nvSpPr>
              <p:spPr>
                <a:xfrm>
                  <a:off x="7678668" y="2614213"/>
                  <a:ext cx="6519" cy="5621"/>
                </a:xfrm>
                <a:custGeom>
                  <a:avLst/>
                  <a:gdLst>
                    <a:gd name="connsiteX0" fmla="*/ 6520 w 6519"/>
                    <a:gd name="connsiteY0" fmla="*/ 479 h 5621"/>
                    <a:gd name="connsiteX1" fmla="*/ 6160 w 6519"/>
                    <a:gd name="connsiteY1" fmla="*/ 0 h 5621"/>
                    <a:gd name="connsiteX2" fmla="*/ 0 w 6519"/>
                    <a:gd name="connsiteY2" fmla="*/ 5622 h 5621"/>
                    <a:gd name="connsiteX3" fmla="*/ 1197 w 6519"/>
                    <a:gd name="connsiteY3" fmla="*/ 5383 h 5621"/>
                    <a:gd name="connsiteX4" fmla="*/ 6520 w 6519"/>
                    <a:gd name="connsiteY4" fmla="*/ 479 h 5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9" h="5621">
                      <a:moveTo>
                        <a:pt x="6520" y="479"/>
                      </a:moveTo>
                      <a:cubicBezTo>
                        <a:pt x="6400" y="299"/>
                        <a:pt x="6280" y="120"/>
                        <a:pt x="6160" y="0"/>
                      </a:cubicBezTo>
                      <a:cubicBezTo>
                        <a:pt x="4127" y="1854"/>
                        <a:pt x="2094" y="3768"/>
                        <a:pt x="0" y="5622"/>
                      </a:cubicBezTo>
                      <a:cubicBezTo>
                        <a:pt x="419" y="5562"/>
                        <a:pt x="837" y="5442"/>
                        <a:pt x="1197" y="5383"/>
                      </a:cubicBezTo>
                      <a:cubicBezTo>
                        <a:pt x="2930" y="3708"/>
                        <a:pt x="4725" y="2093"/>
                        <a:pt x="6520" y="479"/>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04" name="Vrije vorm: vorm 7103">
                  <a:extLst>
                    <a:ext uri="{FF2B5EF4-FFF2-40B4-BE49-F238E27FC236}">
                      <a16:creationId xmlns:a16="http://schemas.microsoft.com/office/drawing/2014/main" id="{FCEA8182-BABB-4DAB-98D9-9B54F515FD2F}"/>
                    </a:ext>
                  </a:extLst>
                </p:cNvPr>
                <p:cNvSpPr/>
                <p:nvPr/>
              </p:nvSpPr>
              <p:spPr>
                <a:xfrm>
                  <a:off x="7711323" y="2587838"/>
                  <a:ext cx="3050" cy="1913"/>
                </a:xfrm>
                <a:custGeom>
                  <a:avLst/>
                  <a:gdLst>
                    <a:gd name="connsiteX0" fmla="*/ 0 w 3050"/>
                    <a:gd name="connsiteY0" fmla="*/ 1914 h 1913"/>
                    <a:gd name="connsiteX1" fmla="*/ 1196 w 3050"/>
                    <a:gd name="connsiteY1" fmla="*/ 1675 h 1913"/>
                    <a:gd name="connsiteX2" fmla="*/ 3050 w 3050"/>
                    <a:gd name="connsiteY2" fmla="*/ 0 h 1913"/>
                    <a:gd name="connsiteX3" fmla="*/ 1854 w 3050"/>
                    <a:gd name="connsiteY3" fmla="*/ 239 h 1913"/>
                    <a:gd name="connsiteX4" fmla="*/ 0 w 3050"/>
                    <a:gd name="connsiteY4" fmla="*/ 1914 h 1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0" h="1913">
                      <a:moveTo>
                        <a:pt x="0" y="1914"/>
                      </a:moveTo>
                      <a:cubicBezTo>
                        <a:pt x="418" y="1794"/>
                        <a:pt x="837" y="1734"/>
                        <a:pt x="1196" y="1675"/>
                      </a:cubicBezTo>
                      <a:cubicBezTo>
                        <a:pt x="1794" y="1136"/>
                        <a:pt x="2392" y="538"/>
                        <a:pt x="3050" y="0"/>
                      </a:cubicBezTo>
                      <a:cubicBezTo>
                        <a:pt x="2631" y="120"/>
                        <a:pt x="2213" y="179"/>
                        <a:pt x="1854" y="239"/>
                      </a:cubicBezTo>
                      <a:cubicBezTo>
                        <a:pt x="1256" y="778"/>
                        <a:pt x="598" y="1376"/>
                        <a:pt x="0" y="1914"/>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05" name="Vrije vorm: vorm 7104">
                  <a:extLst>
                    <a:ext uri="{FF2B5EF4-FFF2-40B4-BE49-F238E27FC236}">
                      <a16:creationId xmlns:a16="http://schemas.microsoft.com/office/drawing/2014/main" id="{2522BFBC-F961-4A29-80BD-ADCCA6AF4670}"/>
                    </a:ext>
                  </a:extLst>
                </p:cNvPr>
                <p:cNvSpPr/>
                <p:nvPr/>
              </p:nvSpPr>
              <p:spPr>
                <a:xfrm>
                  <a:off x="7686324" y="2558234"/>
                  <a:ext cx="2990" cy="1854"/>
                </a:xfrm>
                <a:custGeom>
                  <a:avLst/>
                  <a:gdLst>
                    <a:gd name="connsiteX0" fmla="*/ 0 w 2990"/>
                    <a:gd name="connsiteY0" fmla="*/ 1854 h 1854"/>
                    <a:gd name="connsiteX1" fmla="*/ 1256 w 2990"/>
                    <a:gd name="connsiteY1" fmla="*/ 1615 h 1854"/>
                    <a:gd name="connsiteX2" fmla="*/ 2990 w 2990"/>
                    <a:gd name="connsiteY2" fmla="*/ 0 h 1854"/>
                    <a:gd name="connsiteX3" fmla="*/ 1795 w 2990"/>
                    <a:gd name="connsiteY3" fmla="*/ 239 h 1854"/>
                    <a:gd name="connsiteX4" fmla="*/ 0 w 2990"/>
                    <a:gd name="connsiteY4" fmla="*/ 1854 h 1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0" h="1854">
                      <a:moveTo>
                        <a:pt x="0" y="1854"/>
                      </a:moveTo>
                      <a:cubicBezTo>
                        <a:pt x="419" y="1734"/>
                        <a:pt x="837" y="1675"/>
                        <a:pt x="1256" y="1615"/>
                      </a:cubicBezTo>
                      <a:cubicBezTo>
                        <a:pt x="1854" y="1076"/>
                        <a:pt x="2452" y="538"/>
                        <a:pt x="2990" y="0"/>
                      </a:cubicBezTo>
                      <a:cubicBezTo>
                        <a:pt x="2572" y="60"/>
                        <a:pt x="2153" y="179"/>
                        <a:pt x="1795" y="239"/>
                      </a:cubicBezTo>
                      <a:cubicBezTo>
                        <a:pt x="1197" y="778"/>
                        <a:pt x="598" y="1316"/>
                        <a:pt x="0" y="1854"/>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06" name="Vrije vorm: vorm 7105">
                  <a:extLst>
                    <a:ext uri="{FF2B5EF4-FFF2-40B4-BE49-F238E27FC236}">
                      <a16:creationId xmlns:a16="http://schemas.microsoft.com/office/drawing/2014/main" id="{22766E20-F579-4518-A6B5-6F18A80EAFB3}"/>
                    </a:ext>
                  </a:extLst>
                </p:cNvPr>
                <p:cNvSpPr/>
                <p:nvPr/>
              </p:nvSpPr>
              <p:spPr>
                <a:xfrm>
                  <a:off x="7675798" y="2564334"/>
                  <a:ext cx="6399" cy="5502"/>
                </a:xfrm>
                <a:custGeom>
                  <a:avLst/>
                  <a:gdLst>
                    <a:gd name="connsiteX0" fmla="*/ 6400 w 6399"/>
                    <a:gd name="connsiteY0" fmla="*/ 479 h 5502"/>
                    <a:gd name="connsiteX1" fmla="*/ 5981 w 6399"/>
                    <a:gd name="connsiteY1" fmla="*/ 0 h 5502"/>
                    <a:gd name="connsiteX2" fmla="*/ 0 w 6399"/>
                    <a:gd name="connsiteY2" fmla="*/ 5502 h 5502"/>
                    <a:gd name="connsiteX3" fmla="*/ 1197 w 6399"/>
                    <a:gd name="connsiteY3" fmla="*/ 5263 h 5502"/>
                    <a:gd name="connsiteX4" fmla="*/ 6400 w 6399"/>
                    <a:gd name="connsiteY4" fmla="*/ 479 h 5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9" h="5502">
                      <a:moveTo>
                        <a:pt x="6400" y="479"/>
                      </a:moveTo>
                      <a:cubicBezTo>
                        <a:pt x="6280" y="299"/>
                        <a:pt x="6100" y="120"/>
                        <a:pt x="5981" y="0"/>
                      </a:cubicBezTo>
                      <a:cubicBezTo>
                        <a:pt x="4007" y="1854"/>
                        <a:pt x="2034" y="3648"/>
                        <a:pt x="0" y="5502"/>
                      </a:cubicBezTo>
                      <a:cubicBezTo>
                        <a:pt x="419" y="5383"/>
                        <a:pt x="837" y="5323"/>
                        <a:pt x="1197" y="5263"/>
                      </a:cubicBezTo>
                      <a:cubicBezTo>
                        <a:pt x="2930" y="3648"/>
                        <a:pt x="4665" y="2033"/>
                        <a:pt x="6400" y="479"/>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07" name="Vrije vorm: vorm 7106">
                  <a:extLst>
                    <a:ext uri="{FF2B5EF4-FFF2-40B4-BE49-F238E27FC236}">
                      <a16:creationId xmlns:a16="http://schemas.microsoft.com/office/drawing/2014/main" id="{A98D6E59-44DE-4BB8-8E9B-1FA98259655F}"/>
                    </a:ext>
                  </a:extLst>
                </p:cNvPr>
                <p:cNvSpPr/>
                <p:nvPr/>
              </p:nvSpPr>
              <p:spPr>
                <a:xfrm>
                  <a:off x="7665331" y="2574023"/>
                  <a:ext cx="6339" cy="5502"/>
                </a:xfrm>
                <a:custGeom>
                  <a:avLst/>
                  <a:gdLst>
                    <a:gd name="connsiteX0" fmla="*/ 6340 w 6339"/>
                    <a:gd name="connsiteY0" fmla="*/ 479 h 5502"/>
                    <a:gd name="connsiteX1" fmla="*/ 5921 w 6339"/>
                    <a:gd name="connsiteY1" fmla="*/ 0 h 5502"/>
                    <a:gd name="connsiteX2" fmla="*/ 359 w 6339"/>
                    <a:gd name="connsiteY2" fmla="*/ 5144 h 5502"/>
                    <a:gd name="connsiteX3" fmla="*/ 0 w 6339"/>
                    <a:gd name="connsiteY3" fmla="*/ 5502 h 5502"/>
                    <a:gd name="connsiteX4" fmla="*/ 598 w 6339"/>
                    <a:gd name="connsiteY4" fmla="*/ 5383 h 5502"/>
                    <a:gd name="connsiteX5" fmla="*/ 1256 w 6339"/>
                    <a:gd name="connsiteY5" fmla="*/ 5263 h 5502"/>
                    <a:gd name="connsiteX6" fmla="*/ 6340 w 6339"/>
                    <a:gd name="connsiteY6" fmla="*/ 479 h 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39" h="5502">
                      <a:moveTo>
                        <a:pt x="6340" y="479"/>
                      </a:moveTo>
                      <a:cubicBezTo>
                        <a:pt x="6220" y="299"/>
                        <a:pt x="6041" y="120"/>
                        <a:pt x="5921" y="0"/>
                      </a:cubicBezTo>
                      <a:cubicBezTo>
                        <a:pt x="4067" y="1734"/>
                        <a:pt x="2213" y="3409"/>
                        <a:pt x="359" y="5144"/>
                      </a:cubicBezTo>
                      <a:cubicBezTo>
                        <a:pt x="239" y="5263"/>
                        <a:pt x="120" y="5383"/>
                        <a:pt x="0" y="5502"/>
                      </a:cubicBezTo>
                      <a:cubicBezTo>
                        <a:pt x="180" y="5442"/>
                        <a:pt x="359" y="5442"/>
                        <a:pt x="598" y="5383"/>
                      </a:cubicBezTo>
                      <a:cubicBezTo>
                        <a:pt x="837" y="5323"/>
                        <a:pt x="1017" y="5263"/>
                        <a:pt x="1256" y="5263"/>
                      </a:cubicBezTo>
                      <a:cubicBezTo>
                        <a:pt x="2871" y="3588"/>
                        <a:pt x="4605" y="2033"/>
                        <a:pt x="6340" y="479"/>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08" name="Vrije vorm: vorm 7107">
                  <a:extLst>
                    <a:ext uri="{FF2B5EF4-FFF2-40B4-BE49-F238E27FC236}">
                      <a16:creationId xmlns:a16="http://schemas.microsoft.com/office/drawing/2014/main" id="{E27BB053-824F-4EEE-9FF8-C2BAB9AFDC12}"/>
                    </a:ext>
                  </a:extLst>
                </p:cNvPr>
                <p:cNvSpPr/>
                <p:nvPr/>
              </p:nvSpPr>
              <p:spPr>
                <a:xfrm>
                  <a:off x="7654805" y="2583712"/>
                  <a:ext cx="6339" cy="5442"/>
                </a:xfrm>
                <a:custGeom>
                  <a:avLst/>
                  <a:gdLst>
                    <a:gd name="connsiteX0" fmla="*/ 6340 w 6339"/>
                    <a:gd name="connsiteY0" fmla="*/ 479 h 5442"/>
                    <a:gd name="connsiteX1" fmla="*/ 5921 w 6339"/>
                    <a:gd name="connsiteY1" fmla="*/ 0 h 5442"/>
                    <a:gd name="connsiteX2" fmla="*/ 0 w 6339"/>
                    <a:gd name="connsiteY2" fmla="*/ 5442 h 5442"/>
                    <a:gd name="connsiteX3" fmla="*/ 1256 w 6339"/>
                    <a:gd name="connsiteY3" fmla="*/ 5203 h 5442"/>
                    <a:gd name="connsiteX4" fmla="*/ 6340 w 6339"/>
                    <a:gd name="connsiteY4" fmla="*/ 479 h 5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9" h="5442">
                      <a:moveTo>
                        <a:pt x="6340" y="479"/>
                      </a:moveTo>
                      <a:cubicBezTo>
                        <a:pt x="6220" y="299"/>
                        <a:pt x="6041" y="120"/>
                        <a:pt x="5921" y="0"/>
                      </a:cubicBezTo>
                      <a:cubicBezTo>
                        <a:pt x="3947" y="1794"/>
                        <a:pt x="1974" y="3648"/>
                        <a:pt x="0" y="5442"/>
                      </a:cubicBezTo>
                      <a:cubicBezTo>
                        <a:pt x="419" y="5323"/>
                        <a:pt x="837" y="5263"/>
                        <a:pt x="1256" y="5203"/>
                      </a:cubicBezTo>
                      <a:cubicBezTo>
                        <a:pt x="2930" y="3588"/>
                        <a:pt x="4665" y="2034"/>
                        <a:pt x="6340" y="479"/>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09" name="Vrije vorm: vorm 7108">
                  <a:extLst>
                    <a:ext uri="{FF2B5EF4-FFF2-40B4-BE49-F238E27FC236}">
                      <a16:creationId xmlns:a16="http://schemas.microsoft.com/office/drawing/2014/main" id="{946FE16E-9436-4CE0-88E0-4A2E74A01CF9}"/>
                    </a:ext>
                  </a:extLst>
                </p:cNvPr>
                <p:cNvSpPr/>
                <p:nvPr/>
              </p:nvSpPr>
              <p:spPr>
                <a:xfrm>
                  <a:off x="7663059" y="2530723"/>
                  <a:ext cx="2930" cy="1794"/>
                </a:xfrm>
                <a:custGeom>
                  <a:avLst/>
                  <a:gdLst>
                    <a:gd name="connsiteX0" fmla="*/ 0 w 2930"/>
                    <a:gd name="connsiteY0" fmla="*/ 1794 h 1794"/>
                    <a:gd name="connsiteX1" fmla="*/ 1256 w 2930"/>
                    <a:gd name="connsiteY1" fmla="*/ 1555 h 1794"/>
                    <a:gd name="connsiteX2" fmla="*/ 2930 w 2930"/>
                    <a:gd name="connsiteY2" fmla="*/ 0 h 1794"/>
                    <a:gd name="connsiteX3" fmla="*/ 1675 w 2930"/>
                    <a:gd name="connsiteY3" fmla="*/ 239 h 1794"/>
                    <a:gd name="connsiteX4" fmla="*/ 0 w 2930"/>
                    <a:gd name="connsiteY4" fmla="*/ 1794 h 1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0" h="1794">
                      <a:moveTo>
                        <a:pt x="0" y="1794"/>
                      </a:moveTo>
                      <a:cubicBezTo>
                        <a:pt x="419" y="1734"/>
                        <a:pt x="837" y="1615"/>
                        <a:pt x="1256" y="1555"/>
                      </a:cubicBezTo>
                      <a:cubicBezTo>
                        <a:pt x="1795" y="1017"/>
                        <a:pt x="2392" y="538"/>
                        <a:pt x="2930" y="0"/>
                      </a:cubicBezTo>
                      <a:cubicBezTo>
                        <a:pt x="2512" y="60"/>
                        <a:pt x="2093" y="179"/>
                        <a:pt x="1675" y="239"/>
                      </a:cubicBezTo>
                      <a:cubicBezTo>
                        <a:pt x="1137" y="778"/>
                        <a:pt x="539" y="1256"/>
                        <a:pt x="0" y="1794"/>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10" name="Vrije vorm: vorm 7109">
                  <a:extLst>
                    <a:ext uri="{FF2B5EF4-FFF2-40B4-BE49-F238E27FC236}">
                      <a16:creationId xmlns:a16="http://schemas.microsoft.com/office/drawing/2014/main" id="{D45383DC-00A1-432B-A9AB-B2915126A25D}"/>
                    </a:ext>
                  </a:extLst>
                </p:cNvPr>
                <p:cNvSpPr/>
                <p:nvPr/>
              </p:nvSpPr>
              <p:spPr>
                <a:xfrm>
                  <a:off x="7652892" y="2536524"/>
                  <a:ext cx="6160" cy="5263"/>
                </a:xfrm>
                <a:custGeom>
                  <a:avLst/>
                  <a:gdLst>
                    <a:gd name="connsiteX0" fmla="*/ 6160 w 6160"/>
                    <a:gd name="connsiteY0" fmla="*/ 538 h 5263"/>
                    <a:gd name="connsiteX1" fmla="*/ 5741 w 6160"/>
                    <a:gd name="connsiteY1" fmla="*/ 0 h 5263"/>
                    <a:gd name="connsiteX2" fmla="*/ 0 w 6160"/>
                    <a:gd name="connsiteY2" fmla="*/ 5263 h 5263"/>
                    <a:gd name="connsiteX3" fmla="*/ 1256 w 6160"/>
                    <a:gd name="connsiteY3" fmla="*/ 5024 h 5263"/>
                    <a:gd name="connsiteX4" fmla="*/ 6160 w 6160"/>
                    <a:gd name="connsiteY4" fmla="*/ 538 h 5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0" h="5263">
                      <a:moveTo>
                        <a:pt x="6160" y="538"/>
                      </a:moveTo>
                      <a:cubicBezTo>
                        <a:pt x="6041" y="359"/>
                        <a:pt x="5861" y="179"/>
                        <a:pt x="5741" y="0"/>
                      </a:cubicBezTo>
                      <a:cubicBezTo>
                        <a:pt x="3828" y="1794"/>
                        <a:pt x="1914" y="3529"/>
                        <a:pt x="0" y="5263"/>
                      </a:cubicBezTo>
                      <a:cubicBezTo>
                        <a:pt x="418" y="5203"/>
                        <a:pt x="837" y="5084"/>
                        <a:pt x="1256" y="5024"/>
                      </a:cubicBezTo>
                      <a:cubicBezTo>
                        <a:pt x="2930" y="3588"/>
                        <a:pt x="4545" y="2093"/>
                        <a:pt x="6160" y="53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11" name="Vrije vorm: vorm 7110">
                  <a:extLst>
                    <a:ext uri="{FF2B5EF4-FFF2-40B4-BE49-F238E27FC236}">
                      <a16:creationId xmlns:a16="http://schemas.microsoft.com/office/drawing/2014/main" id="{30872CAD-FA0C-4F7C-8461-67864CF4F6E5}"/>
                    </a:ext>
                  </a:extLst>
                </p:cNvPr>
                <p:cNvSpPr/>
                <p:nvPr/>
              </p:nvSpPr>
              <p:spPr>
                <a:xfrm>
                  <a:off x="7642784" y="2545854"/>
                  <a:ext cx="6160" cy="5263"/>
                </a:xfrm>
                <a:custGeom>
                  <a:avLst/>
                  <a:gdLst>
                    <a:gd name="connsiteX0" fmla="*/ 6160 w 6160"/>
                    <a:gd name="connsiteY0" fmla="*/ 538 h 5263"/>
                    <a:gd name="connsiteX1" fmla="*/ 5742 w 6160"/>
                    <a:gd name="connsiteY1" fmla="*/ 0 h 5263"/>
                    <a:gd name="connsiteX2" fmla="*/ 0 w 6160"/>
                    <a:gd name="connsiteY2" fmla="*/ 5263 h 5263"/>
                    <a:gd name="connsiteX3" fmla="*/ 1256 w 6160"/>
                    <a:gd name="connsiteY3" fmla="*/ 5024 h 5263"/>
                    <a:gd name="connsiteX4" fmla="*/ 6160 w 6160"/>
                    <a:gd name="connsiteY4" fmla="*/ 538 h 5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0" h="5263">
                      <a:moveTo>
                        <a:pt x="6160" y="538"/>
                      </a:moveTo>
                      <a:cubicBezTo>
                        <a:pt x="6041" y="359"/>
                        <a:pt x="5862" y="179"/>
                        <a:pt x="5742" y="0"/>
                      </a:cubicBezTo>
                      <a:cubicBezTo>
                        <a:pt x="3828" y="1794"/>
                        <a:pt x="1914" y="3529"/>
                        <a:pt x="0" y="5263"/>
                      </a:cubicBezTo>
                      <a:cubicBezTo>
                        <a:pt x="419" y="5203"/>
                        <a:pt x="837" y="5084"/>
                        <a:pt x="1256" y="5024"/>
                      </a:cubicBezTo>
                      <a:cubicBezTo>
                        <a:pt x="2871" y="3588"/>
                        <a:pt x="4486" y="2093"/>
                        <a:pt x="6160" y="53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12" name="Vrije vorm: vorm 7111">
                  <a:extLst>
                    <a:ext uri="{FF2B5EF4-FFF2-40B4-BE49-F238E27FC236}">
                      <a16:creationId xmlns:a16="http://schemas.microsoft.com/office/drawing/2014/main" id="{4EF4940D-416D-4162-8FBB-8BF1A062C2DF}"/>
                    </a:ext>
                  </a:extLst>
                </p:cNvPr>
                <p:cNvSpPr/>
                <p:nvPr/>
              </p:nvSpPr>
              <p:spPr>
                <a:xfrm>
                  <a:off x="7632617" y="2555244"/>
                  <a:ext cx="6160" cy="5263"/>
                </a:xfrm>
                <a:custGeom>
                  <a:avLst/>
                  <a:gdLst>
                    <a:gd name="connsiteX0" fmla="*/ 6160 w 6160"/>
                    <a:gd name="connsiteY0" fmla="*/ 538 h 5263"/>
                    <a:gd name="connsiteX1" fmla="*/ 5741 w 6160"/>
                    <a:gd name="connsiteY1" fmla="*/ 0 h 5263"/>
                    <a:gd name="connsiteX2" fmla="*/ 0 w 6160"/>
                    <a:gd name="connsiteY2" fmla="*/ 5263 h 5263"/>
                    <a:gd name="connsiteX3" fmla="*/ 1256 w 6160"/>
                    <a:gd name="connsiteY3" fmla="*/ 5024 h 5263"/>
                    <a:gd name="connsiteX4" fmla="*/ 6160 w 6160"/>
                    <a:gd name="connsiteY4" fmla="*/ 538 h 5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0" h="5263">
                      <a:moveTo>
                        <a:pt x="6160" y="538"/>
                      </a:moveTo>
                      <a:cubicBezTo>
                        <a:pt x="6041" y="359"/>
                        <a:pt x="5861" y="179"/>
                        <a:pt x="5741" y="0"/>
                      </a:cubicBezTo>
                      <a:cubicBezTo>
                        <a:pt x="3828" y="1734"/>
                        <a:pt x="1914" y="3469"/>
                        <a:pt x="0" y="5263"/>
                      </a:cubicBezTo>
                      <a:cubicBezTo>
                        <a:pt x="418" y="5203"/>
                        <a:pt x="837" y="5084"/>
                        <a:pt x="1256" y="5024"/>
                      </a:cubicBezTo>
                      <a:cubicBezTo>
                        <a:pt x="2930" y="3529"/>
                        <a:pt x="4545" y="2033"/>
                        <a:pt x="6160" y="53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13" name="Vrije vorm: vorm 7112">
                  <a:extLst>
                    <a:ext uri="{FF2B5EF4-FFF2-40B4-BE49-F238E27FC236}">
                      <a16:creationId xmlns:a16="http://schemas.microsoft.com/office/drawing/2014/main" id="{8FBE2F09-4859-480D-B607-FAC14B5DDE59}"/>
                    </a:ext>
                  </a:extLst>
                </p:cNvPr>
                <p:cNvSpPr/>
                <p:nvPr/>
              </p:nvSpPr>
              <p:spPr>
                <a:xfrm>
                  <a:off x="7641408" y="2505125"/>
                  <a:ext cx="2930" cy="1734"/>
                </a:xfrm>
                <a:custGeom>
                  <a:avLst/>
                  <a:gdLst>
                    <a:gd name="connsiteX0" fmla="*/ 0 w 2930"/>
                    <a:gd name="connsiteY0" fmla="*/ 1734 h 1734"/>
                    <a:gd name="connsiteX1" fmla="*/ 1256 w 2930"/>
                    <a:gd name="connsiteY1" fmla="*/ 1495 h 1734"/>
                    <a:gd name="connsiteX2" fmla="*/ 2930 w 2930"/>
                    <a:gd name="connsiteY2" fmla="*/ 0 h 1734"/>
                    <a:gd name="connsiteX3" fmla="*/ 1675 w 2930"/>
                    <a:gd name="connsiteY3" fmla="*/ 239 h 1734"/>
                    <a:gd name="connsiteX4" fmla="*/ 0 w 2930"/>
                    <a:gd name="connsiteY4" fmla="*/ 1734 h 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0" h="1734">
                      <a:moveTo>
                        <a:pt x="0" y="1734"/>
                      </a:moveTo>
                      <a:cubicBezTo>
                        <a:pt x="419" y="1615"/>
                        <a:pt x="837" y="1555"/>
                        <a:pt x="1256" y="1495"/>
                      </a:cubicBezTo>
                      <a:cubicBezTo>
                        <a:pt x="1795" y="1017"/>
                        <a:pt x="2333" y="478"/>
                        <a:pt x="2930" y="0"/>
                      </a:cubicBezTo>
                      <a:cubicBezTo>
                        <a:pt x="2512" y="60"/>
                        <a:pt x="2093" y="179"/>
                        <a:pt x="1675" y="239"/>
                      </a:cubicBezTo>
                      <a:cubicBezTo>
                        <a:pt x="1077" y="718"/>
                        <a:pt x="539" y="1196"/>
                        <a:pt x="0" y="1734"/>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14" name="Vrije vorm: vorm 7113">
                  <a:extLst>
                    <a:ext uri="{FF2B5EF4-FFF2-40B4-BE49-F238E27FC236}">
                      <a16:creationId xmlns:a16="http://schemas.microsoft.com/office/drawing/2014/main" id="{521293B6-9A1F-4092-BD27-C81D2F461FF0}"/>
                    </a:ext>
                  </a:extLst>
                </p:cNvPr>
                <p:cNvSpPr/>
                <p:nvPr/>
              </p:nvSpPr>
              <p:spPr>
                <a:xfrm>
                  <a:off x="7631600" y="2510747"/>
                  <a:ext cx="5980" cy="5083"/>
                </a:xfrm>
                <a:custGeom>
                  <a:avLst/>
                  <a:gdLst>
                    <a:gd name="connsiteX0" fmla="*/ 5981 w 5980"/>
                    <a:gd name="connsiteY0" fmla="*/ 478 h 5083"/>
                    <a:gd name="connsiteX1" fmla="*/ 5562 w 5980"/>
                    <a:gd name="connsiteY1" fmla="*/ 0 h 5083"/>
                    <a:gd name="connsiteX2" fmla="*/ 0 w 5980"/>
                    <a:gd name="connsiteY2" fmla="*/ 5084 h 5083"/>
                    <a:gd name="connsiteX3" fmla="*/ 1256 w 5980"/>
                    <a:gd name="connsiteY3" fmla="*/ 4844 h 5083"/>
                    <a:gd name="connsiteX4" fmla="*/ 5981 w 5980"/>
                    <a:gd name="connsiteY4" fmla="*/ 478 h 5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0" h="5083">
                      <a:moveTo>
                        <a:pt x="5981" y="478"/>
                      </a:moveTo>
                      <a:cubicBezTo>
                        <a:pt x="5862" y="299"/>
                        <a:pt x="5682" y="120"/>
                        <a:pt x="5562" y="0"/>
                      </a:cubicBezTo>
                      <a:cubicBezTo>
                        <a:pt x="3708" y="1734"/>
                        <a:pt x="1854" y="3409"/>
                        <a:pt x="0" y="5084"/>
                      </a:cubicBezTo>
                      <a:cubicBezTo>
                        <a:pt x="419" y="4964"/>
                        <a:pt x="837" y="4904"/>
                        <a:pt x="1256" y="4844"/>
                      </a:cubicBezTo>
                      <a:cubicBezTo>
                        <a:pt x="2811" y="3409"/>
                        <a:pt x="4367" y="1974"/>
                        <a:pt x="5981" y="47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15" name="Vrije vorm: vorm 7114">
                  <a:extLst>
                    <a:ext uri="{FF2B5EF4-FFF2-40B4-BE49-F238E27FC236}">
                      <a16:creationId xmlns:a16="http://schemas.microsoft.com/office/drawing/2014/main" id="{A1ECC609-787C-4E69-B60F-AC0EBE075E30}"/>
                    </a:ext>
                  </a:extLst>
                </p:cNvPr>
                <p:cNvSpPr/>
                <p:nvPr/>
              </p:nvSpPr>
              <p:spPr>
                <a:xfrm>
                  <a:off x="7621791" y="2519718"/>
                  <a:ext cx="5980" cy="5083"/>
                </a:xfrm>
                <a:custGeom>
                  <a:avLst/>
                  <a:gdLst>
                    <a:gd name="connsiteX0" fmla="*/ 5981 w 5980"/>
                    <a:gd name="connsiteY0" fmla="*/ 538 h 5083"/>
                    <a:gd name="connsiteX1" fmla="*/ 5562 w 5980"/>
                    <a:gd name="connsiteY1" fmla="*/ 0 h 5083"/>
                    <a:gd name="connsiteX2" fmla="*/ 0 w 5980"/>
                    <a:gd name="connsiteY2" fmla="*/ 5084 h 5083"/>
                    <a:gd name="connsiteX3" fmla="*/ 1256 w 5980"/>
                    <a:gd name="connsiteY3" fmla="*/ 4844 h 5083"/>
                    <a:gd name="connsiteX4" fmla="*/ 5981 w 5980"/>
                    <a:gd name="connsiteY4" fmla="*/ 538 h 5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0" h="5083">
                      <a:moveTo>
                        <a:pt x="5981" y="538"/>
                      </a:moveTo>
                      <a:cubicBezTo>
                        <a:pt x="5862" y="359"/>
                        <a:pt x="5682" y="179"/>
                        <a:pt x="5562" y="0"/>
                      </a:cubicBezTo>
                      <a:cubicBezTo>
                        <a:pt x="3709" y="1734"/>
                        <a:pt x="1854" y="3409"/>
                        <a:pt x="0" y="5084"/>
                      </a:cubicBezTo>
                      <a:cubicBezTo>
                        <a:pt x="419" y="4964"/>
                        <a:pt x="837" y="4904"/>
                        <a:pt x="1256" y="4844"/>
                      </a:cubicBezTo>
                      <a:cubicBezTo>
                        <a:pt x="2811" y="3469"/>
                        <a:pt x="4367" y="2033"/>
                        <a:pt x="5981" y="53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16" name="Vrije vorm: vorm 7115">
                  <a:extLst>
                    <a:ext uri="{FF2B5EF4-FFF2-40B4-BE49-F238E27FC236}">
                      <a16:creationId xmlns:a16="http://schemas.microsoft.com/office/drawing/2014/main" id="{115AC22A-7CD4-4E20-A2F0-C53EE78563AA}"/>
                    </a:ext>
                  </a:extLst>
                </p:cNvPr>
                <p:cNvSpPr/>
                <p:nvPr/>
              </p:nvSpPr>
              <p:spPr>
                <a:xfrm>
                  <a:off x="7612044" y="2528749"/>
                  <a:ext cx="5920" cy="5083"/>
                </a:xfrm>
                <a:custGeom>
                  <a:avLst/>
                  <a:gdLst>
                    <a:gd name="connsiteX0" fmla="*/ 5921 w 5920"/>
                    <a:gd name="connsiteY0" fmla="*/ 538 h 5083"/>
                    <a:gd name="connsiteX1" fmla="*/ 5502 w 5920"/>
                    <a:gd name="connsiteY1" fmla="*/ 0 h 5083"/>
                    <a:gd name="connsiteX2" fmla="*/ 5382 w 5920"/>
                    <a:gd name="connsiteY2" fmla="*/ 120 h 5083"/>
                    <a:gd name="connsiteX3" fmla="*/ 0 w 5920"/>
                    <a:gd name="connsiteY3" fmla="*/ 5083 h 5083"/>
                    <a:gd name="connsiteX4" fmla="*/ 1256 w 5920"/>
                    <a:gd name="connsiteY4" fmla="*/ 4844 h 5083"/>
                    <a:gd name="connsiteX5" fmla="*/ 5801 w 5920"/>
                    <a:gd name="connsiteY5" fmla="*/ 658 h 5083"/>
                    <a:gd name="connsiteX6" fmla="*/ 5921 w 5920"/>
                    <a:gd name="connsiteY6" fmla="*/ 538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0" h="5083">
                      <a:moveTo>
                        <a:pt x="5921" y="538"/>
                      </a:moveTo>
                      <a:cubicBezTo>
                        <a:pt x="5741" y="359"/>
                        <a:pt x="5622" y="179"/>
                        <a:pt x="5502" y="0"/>
                      </a:cubicBezTo>
                      <a:cubicBezTo>
                        <a:pt x="5442" y="60"/>
                        <a:pt x="5382" y="120"/>
                        <a:pt x="5382" y="120"/>
                      </a:cubicBezTo>
                      <a:cubicBezTo>
                        <a:pt x="3588" y="1794"/>
                        <a:pt x="1794" y="3409"/>
                        <a:pt x="0" y="5083"/>
                      </a:cubicBezTo>
                      <a:cubicBezTo>
                        <a:pt x="418" y="4964"/>
                        <a:pt x="837" y="4904"/>
                        <a:pt x="1256" y="4844"/>
                      </a:cubicBezTo>
                      <a:cubicBezTo>
                        <a:pt x="2751" y="3469"/>
                        <a:pt x="4306" y="2033"/>
                        <a:pt x="5801" y="658"/>
                      </a:cubicBezTo>
                      <a:cubicBezTo>
                        <a:pt x="5861" y="598"/>
                        <a:pt x="5861" y="598"/>
                        <a:pt x="5921" y="53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17" name="Vrije vorm: vorm 7116">
                  <a:extLst>
                    <a:ext uri="{FF2B5EF4-FFF2-40B4-BE49-F238E27FC236}">
                      <a16:creationId xmlns:a16="http://schemas.microsoft.com/office/drawing/2014/main" id="{5171DF37-C3F8-4D51-BA7E-20AD3774F67B}"/>
                    </a:ext>
                  </a:extLst>
                </p:cNvPr>
                <p:cNvSpPr/>
                <p:nvPr/>
              </p:nvSpPr>
              <p:spPr>
                <a:xfrm>
                  <a:off x="7621134" y="2481142"/>
                  <a:ext cx="2871" cy="1674"/>
                </a:xfrm>
                <a:custGeom>
                  <a:avLst/>
                  <a:gdLst>
                    <a:gd name="connsiteX0" fmla="*/ 0 w 2871"/>
                    <a:gd name="connsiteY0" fmla="*/ 1675 h 1674"/>
                    <a:gd name="connsiteX1" fmla="*/ 1256 w 2871"/>
                    <a:gd name="connsiteY1" fmla="*/ 1435 h 1674"/>
                    <a:gd name="connsiteX2" fmla="*/ 2452 w 2871"/>
                    <a:gd name="connsiteY2" fmla="*/ 359 h 1674"/>
                    <a:gd name="connsiteX3" fmla="*/ 2871 w 2871"/>
                    <a:gd name="connsiteY3" fmla="*/ 0 h 1674"/>
                    <a:gd name="connsiteX4" fmla="*/ 2213 w 2871"/>
                    <a:gd name="connsiteY4" fmla="*/ 120 h 1674"/>
                    <a:gd name="connsiteX5" fmla="*/ 1555 w 2871"/>
                    <a:gd name="connsiteY5" fmla="*/ 239 h 1674"/>
                    <a:gd name="connsiteX6" fmla="*/ 0 w 2871"/>
                    <a:gd name="connsiteY6" fmla="*/ 1675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1" h="1674">
                      <a:moveTo>
                        <a:pt x="0" y="1675"/>
                      </a:moveTo>
                      <a:cubicBezTo>
                        <a:pt x="419" y="1615"/>
                        <a:pt x="837" y="1495"/>
                        <a:pt x="1256" y="1435"/>
                      </a:cubicBezTo>
                      <a:cubicBezTo>
                        <a:pt x="1675" y="1077"/>
                        <a:pt x="2034" y="718"/>
                        <a:pt x="2452" y="359"/>
                      </a:cubicBezTo>
                      <a:cubicBezTo>
                        <a:pt x="2572" y="239"/>
                        <a:pt x="2692" y="120"/>
                        <a:pt x="2871" y="0"/>
                      </a:cubicBezTo>
                      <a:cubicBezTo>
                        <a:pt x="2632" y="60"/>
                        <a:pt x="2452" y="60"/>
                        <a:pt x="2213" y="120"/>
                      </a:cubicBezTo>
                      <a:cubicBezTo>
                        <a:pt x="1974" y="120"/>
                        <a:pt x="1795" y="179"/>
                        <a:pt x="1555" y="239"/>
                      </a:cubicBezTo>
                      <a:cubicBezTo>
                        <a:pt x="1077" y="718"/>
                        <a:pt x="539" y="1196"/>
                        <a:pt x="0" y="1675"/>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18" name="Vrije vorm: vorm 7117">
                  <a:extLst>
                    <a:ext uri="{FF2B5EF4-FFF2-40B4-BE49-F238E27FC236}">
                      <a16:creationId xmlns:a16="http://schemas.microsoft.com/office/drawing/2014/main" id="{681FF708-120C-46DC-A221-1D430F60694C}"/>
                    </a:ext>
                  </a:extLst>
                </p:cNvPr>
                <p:cNvSpPr/>
                <p:nvPr/>
              </p:nvSpPr>
              <p:spPr>
                <a:xfrm>
                  <a:off x="7611684" y="2486585"/>
                  <a:ext cx="5801" cy="4964"/>
                </a:xfrm>
                <a:custGeom>
                  <a:avLst/>
                  <a:gdLst>
                    <a:gd name="connsiteX0" fmla="*/ 5801 w 5801"/>
                    <a:gd name="connsiteY0" fmla="*/ 538 h 4964"/>
                    <a:gd name="connsiteX1" fmla="*/ 5383 w 5801"/>
                    <a:gd name="connsiteY1" fmla="*/ 0 h 4964"/>
                    <a:gd name="connsiteX2" fmla="*/ 0 w 5801"/>
                    <a:gd name="connsiteY2" fmla="*/ 4964 h 4964"/>
                    <a:gd name="connsiteX3" fmla="*/ 1256 w 5801"/>
                    <a:gd name="connsiteY3" fmla="*/ 4725 h 4964"/>
                    <a:gd name="connsiteX4" fmla="*/ 5801 w 5801"/>
                    <a:gd name="connsiteY4" fmla="*/ 538 h 4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1" h="4964">
                      <a:moveTo>
                        <a:pt x="5801" y="538"/>
                      </a:moveTo>
                      <a:cubicBezTo>
                        <a:pt x="5622" y="359"/>
                        <a:pt x="5503" y="179"/>
                        <a:pt x="5383" y="0"/>
                      </a:cubicBezTo>
                      <a:cubicBezTo>
                        <a:pt x="3588" y="1675"/>
                        <a:pt x="1795" y="3290"/>
                        <a:pt x="0" y="4964"/>
                      </a:cubicBezTo>
                      <a:cubicBezTo>
                        <a:pt x="418" y="4904"/>
                        <a:pt x="837" y="4785"/>
                        <a:pt x="1256" y="4725"/>
                      </a:cubicBezTo>
                      <a:cubicBezTo>
                        <a:pt x="2751" y="3349"/>
                        <a:pt x="4246" y="1914"/>
                        <a:pt x="5801" y="53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19" name="Vrije vorm: vorm 7118">
                  <a:extLst>
                    <a:ext uri="{FF2B5EF4-FFF2-40B4-BE49-F238E27FC236}">
                      <a16:creationId xmlns:a16="http://schemas.microsoft.com/office/drawing/2014/main" id="{5E45C678-B255-4965-941C-6F5B3988F422}"/>
                    </a:ext>
                  </a:extLst>
                </p:cNvPr>
                <p:cNvSpPr/>
                <p:nvPr/>
              </p:nvSpPr>
              <p:spPr>
                <a:xfrm>
                  <a:off x="7602175" y="2495317"/>
                  <a:ext cx="5801" cy="4964"/>
                </a:xfrm>
                <a:custGeom>
                  <a:avLst/>
                  <a:gdLst>
                    <a:gd name="connsiteX0" fmla="*/ 5801 w 5801"/>
                    <a:gd name="connsiteY0" fmla="*/ 538 h 4964"/>
                    <a:gd name="connsiteX1" fmla="*/ 5383 w 5801"/>
                    <a:gd name="connsiteY1" fmla="*/ 0 h 4964"/>
                    <a:gd name="connsiteX2" fmla="*/ 0 w 5801"/>
                    <a:gd name="connsiteY2" fmla="*/ 4964 h 4964"/>
                    <a:gd name="connsiteX3" fmla="*/ 1256 w 5801"/>
                    <a:gd name="connsiteY3" fmla="*/ 4725 h 4964"/>
                    <a:gd name="connsiteX4" fmla="*/ 5801 w 5801"/>
                    <a:gd name="connsiteY4" fmla="*/ 538 h 4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1" h="4964">
                      <a:moveTo>
                        <a:pt x="5801" y="538"/>
                      </a:moveTo>
                      <a:cubicBezTo>
                        <a:pt x="5622" y="359"/>
                        <a:pt x="5502" y="179"/>
                        <a:pt x="5383" y="0"/>
                      </a:cubicBezTo>
                      <a:cubicBezTo>
                        <a:pt x="3588" y="1675"/>
                        <a:pt x="1794" y="3290"/>
                        <a:pt x="0" y="4964"/>
                      </a:cubicBezTo>
                      <a:cubicBezTo>
                        <a:pt x="418" y="4904"/>
                        <a:pt x="837" y="4785"/>
                        <a:pt x="1256" y="4725"/>
                      </a:cubicBezTo>
                      <a:cubicBezTo>
                        <a:pt x="2751" y="3349"/>
                        <a:pt x="4306" y="1914"/>
                        <a:pt x="5801" y="53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120" name="Vrije vorm: vorm 7119">
                  <a:extLst>
                    <a:ext uri="{FF2B5EF4-FFF2-40B4-BE49-F238E27FC236}">
                      <a16:creationId xmlns:a16="http://schemas.microsoft.com/office/drawing/2014/main" id="{CC715179-1DDF-407B-B6E9-E6C9BBCEFA11}"/>
                    </a:ext>
                  </a:extLst>
                </p:cNvPr>
                <p:cNvSpPr/>
                <p:nvPr/>
              </p:nvSpPr>
              <p:spPr>
                <a:xfrm>
                  <a:off x="7592725" y="2504049"/>
                  <a:ext cx="5741" cy="4844"/>
                </a:xfrm>
                <a:custGeom>
                  <a:avLst/>
                  <a:gdLst>
                    <a:gd name="connsiteX0" fmla="*/ 5742 w 5741"/>
                    <a:gd name="connsiteY0" fmla="*/ 538 h 4844"/>
                    <a:gd name="connsiteX1" fmla="*/ 5323 w 5741"/>
                    <a:gd name="connsiteY1" fmla="*/ 0 h 4844"/>
                    <a:gd name="connsiteX2" fmla="*/ 2871 w 5741"/>
                    <a:gd name="connsiteY2" fmla="*/ 2213 h 4844"/>
                    <a:gd name="connsiteX3" fmla="*/ 0 w 5741"/>
                    <a:gd name="connsiteY3" fmla="*/ 4844 h 4844"/>
                    <a:gd name="connsiteX4" fmla="*/ 1256 w 5741"/>
                    <a:gd name="connsiteY4" fmla="*/ 4605 h 4844"/>
                    <a:gd name="connsiteX5" fmla="*/ 3350 w 5741"/>
                    <a:gd name="connsiteY5" fmla="*/ 2691 h 4844"/>
                    <a:gd name="connsiteX6" fmla="*/ 5742 w 5741"/>
                    <a:gd name="connsiteY6" fmla="*/ 538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1" h="4844">
                      <a:moveTo>
                        <a:pt x="5742" y="538"/>
                      </a:moveTo>
                      <a:cubicBezTo>
                        <a:pt x="5562" y="359"/>
                        <a:pt x="5443" y="179"/>
                        <a:pt x="5323" y="0"/>
                      </a:cubicBezTo>
                      <a:cubicBezTo>
                        <a:pt x="4486" y="778"/>
                        <a:pt x="3708" y="1495"/>
                        <a:pt x="2871" y="2213"/>
                      </a:cubicBezTo>
                      <a:cubicBezTo>
                        <a:pt x="1914" y="3110"/>
                        <a:pt x="957" y="4007"/>
                        <a:pt x="0" y="4844"/>
                      </a:cubicBezTo>
                      <a:cubicBezTo>
                        <a:pt x="419" y="4785"/>
                        <a:pt x="837" y="4665"/>
                        <a:pt x="1256" y="4605"/>
                      </a:cubicBezTo>
                      <a:cubicBezTo>
                        <a:pt x="1974" y="3947"/>
                        <a:pt x="2632" y="3349"/>
                        <a:pt x="3350" y="2691"/>
                      </a:cubicBezTo>
                      <a:cubicBezTo>
                        <a:pt x="4187" y="2033"/>
                        <a:pt x="4964" y="1256"/>
                        <a:pt x="5742" y="538"/>
                      </a:cubicBezTo>
                      <a:close/>
                    </a:path>
                  </a:pathLst>
                </a:custGeom>
                <a:noFill/>
                <a:ln w="6350" cap="flat">
                  <a:solidFill>
                    <a:schemeClr val="bg1">
                      <a:alpha val="80000"/>
                    </a:schemeClr>
                  </a:solidFill>
                  <a:prstDash val="solid"/>
                  <a:miter/>
                </a:ln>
              </p:spPr>
              <p:txBody>
                <a:bodyPr rtlCol="0" anchor="ctr"/>
                <a:lstStyle/>
                <a:p>
                  <a:endParaRPr lang="en-GB"/>
                </a:p>
              </p:txBody>
            </p:sp>
          </p:grpSp>
          <p:grpSp>
            <p:nvGrpSpPr>
              <p:cNvPr id="7061" name="Graphic 3">
                <a:extLst>
                  <a:ext uri="{FF2B5EF4-FFF2-40B4-BE49-F238E27FC236}">
                    <a16:creationId xmlns:a16="http://schemas.microsoft.com/office/drawing/2014/main" id="{7FFB4159-5919-47F1-960E-F788337E5CF4}"/>
                  </a:ext>
                </a:extLst>
              </p:cNvPr>
              <p:cNvGrpSpPr/>
              <p:nvPr/>
            </p:nvGrpSpPr>
            <p:grpSpPr>
              <a:xfrm>
                <a:off x="7518146" y="2407161"/>
                <a:ext cx="105081" cy="101732"/>
                <a:chOff x="7518146" y="2407161"/>
                <a:chExt cx="105081" cy="101732"/>
              </a:xfrm>
              <a:noFill/>
            </p:grpSpPr>
            <p:sp>
              <p:nvSpPr>
                <p:cNvPr id="7085" name="Vrije vorm: vorm 7084">
                  <a:extLst>
                    <a:ext uri="{FF2B5EF4-FFF2-40B4-BE49-F238E27FC236}">
                      <a16:creationId xmlns:a16="http://schemas.microsoft.com/office/drawing/2014/main" id="{A69E3CE4-0046-427D-A4CD-4C2A5A78719B}"/>
                    </a:ext>
                  </a:extLst>
                </p:cNvPr>
                <p:cNvSpPr/>
                <p:nvPr/>
              </p:nvSpPr>
              <p:spPr>
                <a:xfrm>
                  <a:off x="7518206" y="2407161"/>
                  <a:ext cx="105021" cy="101732"/>
                </a:xfrm>
                <a:custGeom>
                  <a:avLst/>
                  <a:gdLst>
                    <a:gd name="connsiteX0" fmla="*/ 46410 w 105021"/>
                    <a:gd name="connsiteY0" fmla="*/ 35645 h 101732"/>
                    <a:gd name="connsiteX1" fmla="*/ 51973 w 105021"/>
                    <a:gd name="connsiteY1" fmla="*/ 30502 h 101732"/>
                    <a:gd name="connsiteX2" fmla="*/ 40549 w 105021"/>
                    <a:gd name="connsiteY2" fmla="*/ 18959 h 101732"/>
                    <a:gd name="connsiteX3" fmla="*/ 28768 w 105021"/>
                    <a:gd name="connsiteY3" fmla="*/ 7057 h 101732"/>
                    <a:gd name="connsiteX4" fmla="*/ 23086 w 105021"/>
                    <a:gd name="connsiteY4" fmla="*/ 12261 h 101732"/>
                    <a:gd name="connsiteX5" fmla="*/ 34927 w 105021"/>
                    <a:gd name="connsiteY5" fmla="*/ 24102 h 101732"/>
                    <a:gd name="connsiteX6" fmla="*/ 46410 w 105021"/>
                    <a:gd name="connsiteY6" fmla="*/ 35645 h 101732"/>
                    <a:gd name="connsiteX7" fmla="*/ 46410 w 105021"/>
                    <a:gd name="connsiteY7" fmla="*/ 35645 h 101732"/>
                    <a:gd name="connsiteX8" fmla="*/ 36542 w 105021"/>
                    <a:gd name="connsiteY8" fmla="*/ 44676 h 101732"/>
                    <a:gd name="connsiteX9" fmla="*/ 42105 w 105021"/>
                    <a:gd name="connsiteY9" fmla="*/ 39533 h 101732"/>
                    <a:gd name="connsiteX10" fmla="*/ 30741 w 105021"/>
                    <a:gd name="connsiteY10" fmla="*/ 28229 h 101732"/>
                    <a:gd name="connsiteX11" fmla="*/ 18720 w 105021"/>
                    <a:gd name="connsiteY11" fmla="*/ 16268 h 101732"/>
                    <a:gd name="connsiteX12" fmla="*/ 13038 w 105021"/>
                    <a:gd name="connsiteY12" fmla="*/ 21471 h 101732"/>
                    <a:gd name="connsiteX13" fmla="*/ 24940 w 105021"/>
                    <a:gd name="connsiteY13" fmla="*/ 33193 h 101732"/>
                    <a:gd name="connsiteX14" fmla="*/ 36542 w 105021"/>
                    <a:gd name="connsiteY14" fmla="*/ 44676 h 101732"/>
                    <a:gd name="connsiteX15" fmla="*/ 36542 w 105021"/>
                    <a:gd name="connsiteY15" fmla="*/ 44676 h 101732"/>
                    <a:gd name="connsiteX16" fmla="*/ 25896 w 105021"/>
                    <a:gd name="connsiteY16" fmla="*/ 54425 h 101732"/>
                    <a:gd name="connsiteX17" fmla="*/ 32296 w 105021"/>
                    <a:gd name="connsiteY17" fmla="*/ 48563 h 101732"/>
                    <a:gd name="connsiteX18" fmla="*/ 20693 w 105021"/>
                    <a:gd name="connsiteY18" fmla="*/ 37200 h 101732"/>
                    <a:gd name="connsiteX19" fmla="*/ 8732 w 105021"/>
                    <a:gd name="connsiteY19" fmla="*/ 25478 h 101732"/>
                    <a:gd name="connsiteX20" fmla="*/ 3110 w 105021"/>
                    <a:gd name="connsiteY20" fmla="*/ 30681 h 101732"/>
                    <a:gd name="connsiteX21" fmla="*/ 1615 w 105021"/>
                    <a:gd name="connsiteY21" fmla="*/ 30980 h 101732"/>
                    <a:gd name="connsiteX22" fmla="*/ 0 w 105021"/>
                    <a:gd name="connsiteY22" fmla="*/ 29425 h 101732"/>
                    <a:gd name="connsiteX23" fmla="*/ 15849 w 105021"/>
                    <a:gd name="connsiteY23" fmla="*/ 14832 h 101732"/>
                    <a:gd name="connsiteX24" fmla="*/ 31758 w 105021"/>
                    <a:gd name="connsiteY24" fmla="*/ 239 h 101732"/>
                    <a:gd name="connsiteX25" fmla="*/ 33193 w 105021"/>
                    <a:gd name="connsiteY25" fmla="*/ 0 h 101732"/>
                    <a:gd name="connsiteX26" fmla="*/ 34748 w 105021"/>
                    <a:gd name="connsiteY26" fmla="*/ 1615 h 101732"/>
                    <a:gd name="connsiteX27" fmla="*/ 33074 w 105021"/>
                    <a:gd name="connsiteY27" fmla="*/ 3170 h 101732"/>
                    <a:gd name="connsiteX28" fmla="*/ 44676 w 105021"/>
                    <a:gd name="connsiteY28" fmla="*/ 15012 h 101732"/>
                    <a:gd name="connsiteX29" fmla="*/ 55681 w 105021"/>
                    <a:gd name="connsiteY29" fmla="*/ 26136 h 101732"/>
                    <a:gd name="connsiteX30" fmla="*/ 56458 w 105021"/>
                    <a:gd name="connsiteY30" fmla="*/ 25418 h 101732"/>
                    <a:gd name="connsiteX31" fmla="*/ 57774 w 105021"/>
                    <a:gd name="connsiteY31" fmla="*/ 25179 h 101732"/>
                    <a:gd name="connsiteX32" fmla="*/ 59269 w 105021"/>
                    <a:gd name="connsiteY32" fmla="*/ 26734 h 101732"/>
                    <a:gd name="connsiteX33" fmla="*/ 57594 w 105021"/>
                    <a:gd name="connsiteY33" fmla="*/ 28229 h 101732"/>
                    <a:gd name="connsiteX34" fmla="*/ 68778 w 105021"/>
                    <a:gd name="connsiteY34" fmla="*/ 39652 h 101732"/>
                    <a:gd name="connsiteX35" fmla="*/ 79304 w 105021"/>
                    <a:gd name="connsiteY35" fmla="*/ 50358 h 101732"/>
                    <a:gd name="connsiteX36" fmla="*/ 80142 w 105021"/>
                    <a:gd name="connsiteY36" fmla="*/ 49580 h 101732"/>
                    <a:gd name="connsiteX37" fmla="*/ 81338 w 105021"/>
                    <a:gd name="connsiteY37" fmla="*/ 49341 h 101732"/>
                    <a:gd name="connsiteX38" fmla="*/ 82773 w 105021"/>
                    <a:gd name="connsiteY38" fmla="*/ 50836 h 101732"/>
                    <a:gd name="connsiteX39" fmla="*/ 81158 w 105021"/>
                    <a:gd name="connsiteY39" fmla="*/ 52331 h 101732"/>
                    <a:gd name="connsiteX40" fmla="*/ 91924 w 105021"/>
                    <a:gd name="connsiteY40" fmla="*/ 63336 h 101732"/>
                    <a:gd name="connsiteX41" fmla="*/ 102150 w 105021"/>
                    <a:gd name="connsiteY41" fmla="*/ 73742 h 101732"/>
                    <a:gd name="connsiteX42" fmla="*/ 102988 w 105021"/>
                    <a:gd name="connsiteY42" fmla="*/ 72965 h 101732"/>
                    <a:gd name="connsiteX43" fmla="*/ 104304 w 105021"/>
                    <a:gd name="connsiteY43" fmla="*/ 72666 h 101732"/>
                    <a:gd name="connsiteX44" fmla="*/ 105022 w 105021"/>
                    <a:gd name="connsiteY44" fmla="*/ 73623 h 101732"/>
                    <a:gd name="connsiteX45" fmla="*/ 89711 w 105021"/>
                    <a:gd name="connsiteY45" fmla="*/ 87677 h 101732"/>
                    <a:gd name="connsiteX46" fmla="*/ 74401 w 105021"/>
                    <a:gd name="connsiteY46" fmla="*/ 101732 h 101732"/>
                    <a:gd name="connsiteX47" fmla="*/ 73384 w 105021"/>
                    <a:gd name="connsiteY47" fmla="*/ 100715 h 101732"/>
                    <a:gd name="connsiteX48" fmla="*/ 79424 w 105021"/>
                    <a:gd name="connsiteY48" fmla="*/ 95153 h 101732"/>
                    <a:gd name="connsiteX49" fmla="*/ 68718 w 105021"/>
                    <a:gd name="connsiteY49" fmla="*/ 84687 h 101732"/>
                    <a:gd name="connsiteX50" fmla="*/ 57654 w 105021"/>
                    <a:gd name="connsiteY50" fmla="*/ 73862 h 101732"/>
                    <a:gd name="connsiteX51" fmla="*/ 52271 w 105021"/>
                    <a:gd name="connsiteY51" fmla="*/ 78826 h 101732"/>
                    <a:gd name="connsiteX52" fmla="*/ 51016 w 105021"/>
                    <a:gd name="connsiteY52" fmla="*/ 79125 h 101732"/>
                    <a:gd name="connsiteX53" fmla="*/ 49999 w 105021"/>
                    <a:gd name="connsiteY53" fmla="*/ 78108 h 101732"/>
                    <a:gd name="connsiteX54" fmla="*/ 56219 w 105021"/>
                    <a:gd name="connsiteY54" fmla="*/ 72367 h 101732"/>
                    <a:gd name="connsiteX55" fmla="*/ 45095 w 105021"/>
                    <a:gd name="connsiteY55" fmla="*/ 61482 h 101732"/>
                    <a:gd name="connsiteX56" fmla="*/ 33612 w 105021"/>
                    <a:gd name="connsiteY56" fmla="*/ 50238 h 101732"/>
                    <a:gd name="connsiteX57" fmla="*/ 28109 w 105021"/>
                    <a:gd name="connsiteY57" fmla="*/ 55322 h 101732"/>
                    <a:gd name="connsiteX58" fmla="*/ 26734 w 105021"/>
                    <a:gd name="connsiteY58" fmla="*/ 55621 h 101732"/>
                    <a:gd name="connsiteX59" fmla="*/ 25896 w 105021"/>
                    <a:gd name="connsiteY59" fmla="*/ 54425 h 101732"/>
                    <a:gd name="connsiteX60" fmla="*/ 25896 w 105021"/>
                    <a:gd name="connsiteY60" fmla="*/ 54425 h 101732"/>
                    <a:gd name="connsiteX61" fmla="*/ 83850 w 105021"/>
                    <a:gd name="connsiteY61" fmla="*/ 91266 h 101732"/>
                    <a:gd name="connsiteX62" fmla="*/ 89233 w 105021"/>
                    <a:gd name="connsiteY62" fmla="*/ 86362 h 101732"/>
                    <a:gd name="connsiteX63" fmla="*/ 78587 w 105021"/>
                    <a:gd name="connsiteY63" fmla="*/ 75776 h 101732"/>
                    <a:gd name="connsiteX64" fmla="*/ 67642 w 105021"/>
                    <a:gd name="connsiteY64" fmla="*/ 64891 h 101732"/>
                    <a:gd name="connsiteX65" fmla="*/ 62200 w 105021"/>
                    <a:gd name="connsiteY65" fmla="*/ 69915 h 101732"/>
                    <a:gd name="connsiteX66" fmla="*/ 73204 w 105021"/>
                    <a:gd name="connsiteY66" fmla="*/ 80800 h 101732"/>
                    <a:gd name="connsiteX67" fmla="*/ 83850 w 105021"/>
                    <a:gd name="connsiteY67" fmla="*/ 91266 h 101732"/>
                    <a:gd name="connsiteX68" fmla="*/ 83850 w 105021"/>
                    <a:gd name="connsiteY68" fmla="*/ 91266 h 101732"/>
                    <a:gd name="connsiteX69" fmla="*/ 60645 w 105021"/>
                    <a:gd name="connsiteY69" fmla="*/ 68419 h 101732"/>
                    <a:gd name="connsiteX70" fmla="*/ 66087 w 105021"/>
                    <a:gd name="connsiteY70" fmla="*/ 63396 h 101732"/>
                    <a:gd name="connsiteX71" fmla="*/ 55022 w 105021"/>
                    <a:gd name="connsiteY71" fmla="*/ 52391 h 101732"/>
                    <a:gd name="connsiteX72" fmla="*/ 43600 w 105021"/>
                    <a:gd name="connsiteY72" fmla="*/ 41028 h 101732"/>
                    <a:gd name="connsiteX73" fmla="*/ 38037 w 105021"/>
                    <a:gd name="connsiteY73" fmla="*/ 46171 h 101732"/>
                    <a:gd name="connsiteX74" fmla="*/ 49521 w 105021"/>
                    <a:gd name="connsiteY74" fmla="*/ 57475 h 101732"/>
                    <a:gd name="connsiteX75" fmla="*/ 60645 w 105021"/>
                    <a:gd name="connsiteY75" fmla="*/ 68419 h 101732"/>
                    <a:gd name="connsiteX76" fmla="*/ 60645 w 105021"/>
                    <a:gd name="connsiteY76" fmla="*/ 68419 h 101732"/>
                    <a:gd name="connsiteX77" fmla="*/ 93299 w 105021"/>
                    <a:gd name="connsiteY77" fmla="*/ 82594 h 101732"/>
                    <a:gd name="connsiteX78" fmla="*/ 98622 w 105021"/>
                    <a:gd name="connsiteY78" fmla="*/ 77690 h 101732"/>
                    <a:gd name="connsiteX79" fmla="*/ 88096 w 105021"/>
                    <a:gd name="connsiteY79" fmla="*/ 67044 h 101732"/>
                    <a:gd name="connsiteX80" fmla="*/ 77211 w 105021"/>
                    <a:gd name="connsiteY80" fmla="*/ 56039 h 101732"/>
                    <a:gd name="connsiteX81" fmla="*/ 71769 w 105021"/>
                    <a:gd name="connsiteY81" fmla="*/ 61063 h 101732"/>
                    <a:gd name="connsiteX82" fmla="*/ 82713 w 105021"/>
                    <a:gd name="connsiteY82" fmla="*/ 72008 h 101732"/>
                    <a:gd name="connsiteX83" fmla="*/ 93299 w 105021"/>
                    <a:gd name="connsiteY83" fmla="*/ 82594 h 101732"/>
                    <a:gd name="connsiteX84" fmla="*/ 93299 w 105021"/>
                    <a:gd name="connsiteY84" fmla="*/ 82594 h 101732"/>
                    <a:gd name="connsiteX85" fmla="*/ 70273 w 105021"/>
                    <a:gd name="connsiteY85" fmla="*/ 59568 h 101732"/>
                    <a:gd name="connsiteX86" fmla="*/ 75716 w 105021"/>
                    <a:gd name="connsiteY86" fmla="*/ 54544 h 101732"/>
                    <a:gd name="connsiteX87" fmla="*/ 64771 w 105021"/>
                    <a:gd name="connsiteY87" fmla="*/ 43480 h 101732"/>
                    <a:gd name="connsiteX88" fmla="*/ 53468 w 105021"/>
                    <a:gd name="connsiteY88" fmla="*/ 32057 h 101732"/>
                    <a:gd name="connsiteX89" fmla="*/ 47906 w 105021"/>
                    <a:gd name="connsiteY89" fmla="*/ 37200 h 101732"/>
                    <a:gd name="connsiteX90" fmla="*/ 59269 w 105021"/>
                    <a:gd name="connsiteY90" fmla="*/ 48563 h 101732"/>
                    <a:gd name="connsiteX91" fmla="*/ 70273 w 105021"/>
                    <a:gd name="connsiteY91" fmla="*/ 59568 h 10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5021" h="101732">
                      <a:moveTo>
                        <a:pt x="46410" y="35645"/>
                      </a:moveTo>
                      <a:cubicBezTo>
                        <a:pt x="48264" y="33911"/>
                        <a:pt x="50118" y="32236"/>
                        <a:pt x="51973" y="30502"/>
                      </a:cubicBezTo>
                      <a:cubicBezTo>
                        <a:pt x="48205" y="26674"/>
                        <a:pt x="44377" y="22846"/>
                        <a:pt x="40549" y="18959"/>
                      </a:cubicBezTo>
                      <a:cubicBezTo>
                        <a:pt x="36662" y="15012"/>
                        <a:pt x="32714" y="11064"/>
                        <a:pt x="28768" y="7057"/>
                      </a:cubicBezTo>
                      <a:cubicBezTo>
                        <a:pt x="26853" y="8792"/>
                        <a:pt x="25000" y="10526"/>
                        <a:pt x="23086" y="12261"/>
                      </a:cubicBezTo>
                      <a:cubicBezTo>
                        <a:pt x="27033" y="16208"/>
                        <a:pt x="30980" y="20155"/>
                        <a:pt x="34927" y="24102"/>
                      </a:cubicBezTo>
                      <a:cubicBezTo>
                        <a:pt x="38755" y="27990"/>
                        <a:pt x="42583" y="31817"/>
                        <a:pt x="46410" y="35645"/>
                      </a:cubicBezTo>
                      <a:lnTo>
                        <a:pt x="46410" y="35645"/>
                      </a:lnTo>
                      <a:close/>
                      <a:moveTo>
                        <a:pt x="36542" y="44676"/>
                      </a:moveTo>
                      <a:cubicBezTo>
                        <a:pt x="38397" y="42942"/>
                        <a:pt x="40250" y="41267"/>
                        <a:pt x="42105" y="39533"/>
                      </a:cubicBezTo>
                      <a:cubicBezTo>
                        <a:pt x="38397" y="35824"/>
                        <a:pt x="34629" y="32057"/>
                        <a:pt x="30741" y="28229"/>
                      </a:cubicBezTo>
                      <a:cubicBezTo>
                        <a:pt x="26794" y="24342"/>
                        <a:pt x="22787" y="20334"/>
                        <a:pt x="18720" y="16268"/>
                      </a:cubicBezTo>
                      <a:cubicBezTo>
                        <a:pt x="16806" y="18002"/>
                        <a:pt x="14952" y="19736"/>
                        <a:pt x="13038" y="21471"/>
                      </a:cubicBezTo>
                      <a:cubicBezTo>
                        <a:pt x="17045" y="25418"/>
                        <a:pt x="20992" y="29305"/>
                        <a:pt x="24940" y="33193"/>
                      </a:cubicBezTo>
                      <a:cubicBezTo>
                        <a:pt x="28887" y="37081"/>
                        <a:pt x="32714" y="40908"/>
                        <a:pt x="36542" y="44676"/>
                      </a:cubicBezTo>
                      <a:lnTo>
                        <a:pt x="36542" y="44676"/>
                      </a:lnTo>
                      <a:close/>
                      <a:moveTo>
                        <a:pt x="25896" y="54425"/>
                      </a:moveTo>
                      <a:cubicBezTo>
                        <a:pt x="28050" y="52451"/>
                        <a:pt x="30143" y="50537"/>
                        <a:pt x="32296" y="48563"/>
                      </a:cubicBezTo>
                      <a:cubicBezTo>
                        <a:pt x="28468" y="44796"/>
                        <a:pt x="24581" y="41028"/>
                        <a:pt x="20693" y="37200"/>
                      </a:cubicBezTo>
                      <a:cubicBezTo>
                        <a:pt x="16746" y="33313"/>
                        <a:pt x="12739" y="29425"/>
                        <a:pt x="8732" y="25478"/>
                      </a:cubicBezTo>
                      <a:cubicBezTo>
                        <a:pt x="6878" y="27212"/>
                        <a:pt x="4964" y="28947"/>
                        <a:pt x="3110" y="30681"/>
                      </a:cubicBezTo>
                      <a:cubicBezTo>
                        <a:pt x="2632" y="30801"/>
                        <a:pt x="2093" y="30861"/>
                        <a:pt x="1615" y="30980"/>
                      </a:cubicBezTo>
                      <a:cubicBezTo>
                        <a:pt x="1077" y="30442"/>
                        <a:pt x="538" y="29963"/>
                        <a:pt x="0" y="29425"/>
                      </a:cubicBezTo>
                      <a:cubicBezTo>
                        <a:pt x="5323" y="24581"/>
                        <a:pt x="10586" y="19677"/>
                        <a:pt x="15849" y="14832"/>
                      </a:cubicBezTo>
                      <a:cubicBezTo>
                        <a:pt x="21112" y="9988"/>
                        <a:pt x="26435" y="5084"/>
                        <a:pt x="31758" y="239"/>
                      </a:cubicBezTo>
                      <a:cubicBezTo>
                        <a:pt x="32236" y="179"/>
                        <a:pt x="32714" y="60"/>
                        <a:pt x="33193" y="0"/>
                      </a:cubicBezTo>
                      <a:cubicBezTo>
                        <a:pt x="33671" y="538"/>
                        <a:pt x="34210" y="1076"/>
                        <a:pt x="34748" y="1615"/>
                      </a:cubicBezTo>
                      <a:cubicBezTo>
                        <a:pt x="34210" y="2153"/>
                        <a:pt x="33612" y="2632"/>
                        <a:pt x="33074" y="3170"/>
                      </a:cubicBezTo>
                      <a:cubicBezTo>
                        <a:pt x="37021" y="7177"/>
                        <a:pt x="40908" y="11124"/>
                        <a:pt x="44676" y="15012"/>
                      </a:cubicBezTo>
                      <a:cubicBezTo>
                        <a:pt x="48384" y="18780"/>
                        <a:pt x="52092" y="22547"/>
                        <a:pt x="55681" y="26136"/>
                      </a:cubicBezTo>
                      <a:cubicBezTo>
                        <a:pt x="55920" y="25897"/>
                        <a:pt x="56219" y="25657"/>
                        <a:pt x="56458" y="25418"/>
                      </a:cubicBezTo>
                      <a:cubicBezTo>
                        <a:pt x="56877" y="25358"/>
                        <a:pt x="57355" y="25239"/>
                        <a:pt x="57774" y="25179"/>
                      </a:cubicBezTo>
                      <a:cubicBezTo>
                        <a:pt x="58252" y="25657"/>
                        <a:pt x="58790" y="26196"/>
                        <a:pt x="59269" y="26734"/>
                      </a:cubicBezTo>
                      <a:cubicBezTo>
                        <a:pt x="58730" y="27212"/>
                        <a:pt x="58192" y="27751"/>
                        <a:pt x="57594" y="28229"/>
                      </a:cubicBezTo>
                      <a:cubicBezTo>
                        <a:pt x="61362" y="32057"/>
                        <a:pt x="65130" y="35884"/>
                        <a:pt x="68778" y="39652"/>
                      </a:cubicBezTo>
                      <a:cubicBezTo>
                        <a:pt x="72367" y="43300"/>
                        <a:pt x="75896" y="46889"/>
                        <a:pt x="79304" y="50358"/>
                      </a:cubicBezTo>
                      <a:cubicBezTo>
                        <a:pt x="79604" y="50118"/>
                        <a:pt x="79843" y="49820"/>
                        <a:pt x="80142" y="49580"/>
                      </a:cubicBezTo>
                      <a:cubicBezTo>
                        <a:pt x="80560" y="49520"/>
                        <a:pt x="80979" y="49401"/>
                        <a:pt x="81338" y="49341"/>
                      </a:cubicBezTo>
                      <a:cubicBezTo>
                        <a:pt x="81817" y="49820"/>
                        <a:pt x="82295" y="50358"/>
                        <a:pt x="82773" y="50836"/>
                      </a:cubicBezTo>
                      <a:cubicBezTo>
                        <a:pt x="82235" y="51315"/>
                        <a:pt x="81697" y="51853"/>
                        <a:pt x="81158" y="52331"/>
                      </a:cubicBezTo>
                      <a:cubicBezTo>
                        <a:pt x="84807" y="56039"/>
                        <a:pt x="88395" y="59688"/>
                        <a:pt x="91924" y="63336"/>
                      </a:cubicBezTo>
                      <a:cubicBezTo>
                        <a:pt x="95392" y="66864"/>
                        <a:pt x="98921" y="70453"/>
                        <a:pt x="102150" y="73742"/>
                      </a:cubicBezTo>
                      <a:cubicBezTo>
                        <a:pt x="102450" y="73503"/>
                        <a:pt x="102749" y="73204"/>
                        <a:pt x="102988" y="72965"/>
                      </a:cubicBezTo>
                      <a:cubicBezTo>
                        <a:pt x="103347" y="72905"/>
                        <a:pt x="103885" y="72785"/>
                        <a:pt x="104304" y="72666"/>
                      </a:cubicBezTo>
                      <a:cubicBezTo>
                        <a:pt x="104663" y="73025"/>
                        <a:pt x="104723" y="73264"/>
                        <a:pt x="105022" y="73623"/>
                      </a:cubicBezTo>
                      <a:cubicBezTo>
                        <a:pt x="99938" y="78288"/>
                        <a:pt x="94794" y="83012"/>
                        <a:pt x="89711" y="87677"/>
                      </a:cubicBezTo>
                      <a:cubicBezTo>
                        <a:pt x="84627" y="92342"/>
                        <a:pt x="79484" y="97067"/>
                        <a:pt x="74401" y="101732"/>
                      </a:cubicBezTo>
                      <a:cubicBezTo>
                        <a:pt x="74041" y="101373"/>
                        <a:pt x="73682" y="101074"/>
                        <a:pt x="73384" y="100715"/>
                      </a:cubicBezTo>
                      <a:cubicBezTo>
                        <a:pt x="75417" y="98861"/>
                        <a:pt x="77450" y="97007"/>
                        <a:pt x="79424" y="95153"/>
                      </a:cubicBezTo>
                      <a:cubicBezTo>
                        <a:pt x="75896" y="91685"/>
                        <a:pt x="72307" y="88216"/>
                        <a:pt x="68718" y="84687"/>
                      </a:cubicBezTo>
                      <a:cubicBezTo>
                        <a:pt x="65070" y="81099"/>
                        <a:pt x="61362" y="77510"/>
                        <a:pt x="57654" y="73862"/>
                      </a:cubicBezTo>
                      <a:cubicBezTo>
                        <a:pt x="55860" y="75537"/>
                        <a:pt x="54066" y="77151"/>
                        <a:pt x="52271" y="78826"/>
                      </a:cubicBezTo>
                      <a:cubicBezTo>
                        <a:pt x="51853" y="78946"/>
                        <a:pt x="51434" y="79005"/>
                        <a:pt x="51016" y="79125"/>
                      </a:cubicBezTo>
                      <a:cubicBezTo>
                        <a:pt x="50657" y="78766"/>
                        <a:pt x="50298" y="78467"/>
                        <a:pt x="49999" y="78108"/>
                      </a:cubicBezTo>
                      <a:cubicBezTo>
                        <a:pt x="52092" y="76194"/>
                        <a:pt x="54126" y="74281"/>
                        <a:pt x="56219" y="72367"/>
                      </a:cubicBezTo>
                      <a:cubicBezTo>
                        <a:pt x="52511" y="68778"/>
                        <a:pt x="48803" y="65130"/>
                        <a:pt x="45095" y="61482"/>
                      </a:cubicBezTo>
                      <a:cubicBezTo>
                        <a:pt x="41267" y="57774"/>
                        <a:pt x="37439" y="54006"/>
                        <a:pt x="33612" y="50238"/>
                      </a:cubicBezTo>
                      <a:cubicBezTo>
                        <a:pt x="31758" y="51913"/>
                        <a:pt x="29963" y="53647"/>
                        <a:pt x="28109" y="55322"/>
                      </a:cubicBezTo>
                      <a:cubicBezTo>
                        <a:pt x="27631" y="55441"/>
                        <a:pt x="27213" y="55501"/>
                        <a:pt x="26734" y="55621"/>
                      </a:cubicBezTo>
                      <a:cubicBezTo>
                        <a:pt x="26614" y="55142"/>
                        <a:pt x="26255" y="54783"/>
                        <a:pt x="25896" y="54425"/>
                      </a:cubicBezTo>
                      <a:lnTo>
                        <a:pt x="25896" y="54425"/>
                      </a:lnTo>
                      <a:close/>
                      <a:moveTo>
                        <a:pt x="83850" y="91266"/>
                      </a:moveTo>
                      <a:cubicBezTo>
                        <a:pt x="85644" y="89651"/>
                        <a:pt x="87438" y="87976"/>
                        <a:pt x="89233" y="86362"/>
                      </a:cubicBezTo>
                      <a:cubicBezTo>
                        <a:pt x="85703" y="82893"/>
                        <a:pt x="82175" y="79364"/>
                        <a:pt x="78587" y="75776"/>
                      </a:cubicBezTo>
                      <a:cubicBezTo>
                        <a:pt x="74939" y="72187"/>
                        <a:pt x="71290" y="68539"/>
                        <a:pt x="67642" y="64891"/>
                      </a:cubicBezTo>
                      <a:cubicBezTo>
                        <a:pt x="65848" y="66565"/>
                        <a:pt x="63993" y="68240"/>
                        <a:pt x="62200" y="69915"/>
                      </a:cubicBezTo>
                      <a:cubicBezTo>
                        <a:pt x="65908" y="73563"/>
                        <a:pt x="69556" y="77151"/>
                        <a:pt x="73204" y="80800"/>
                      </a:cubicBezTo>
                      <a:cubicBezTo>
                        <a:pt x="76732" y="84268"/>
                        <a:pt x="80321" y="87797"/>
                        <a:pt x="83850" y="91266"/>
                      </a:cubicBezTo>
                      <a:lnTo>
                        <a:pt x="83850" y="91266"/>
                      </a:lnTo>
                      <a:close/>
                      <a:moveTo>
                        <a:pt x="60645" y="68419"/>
                      </a:moveTo>
                      <a:cubicBezTo>
                        <a:pt x="62439" y="66745"/>
                        <a:pt x="64293" y="65070"/>
                        <a:pt x="66087" y="63396"/>
                      </a:cubicBezTo>
                      <a:cubicBezTo>
                        <a:pt x="62439" y="59747"/>
                        <a:pt x="58730" y="56099"/>
                        <a:pt x="55022" y="52391"/>
                      </a:cubicBezTo>
                      <a:cubicBezTo>
                        <a:pt x="51254" y="48623"/>
                        <a:pt x="47427" y="44855"/>
                        <a:pt x="43600" y="41028"/>
                      </a:cubicBezTo>
                      <a:cubicBezTo>
                        <a:pt x="41745" y="42762"/>
                        <a:pt x="39892" y="44437"/>
                        <a:pt x="38037" y="46171"/>
                      </a:cubicBezTo>
                      <a:cubicBezTo>
                        <a:pt x="41865" y="49939"/>
                        <a:pt x="45693" y="53707"/>
                        <a:pt x="49521" y="57475"/>
                      </a:cubicBezTo>
                      <a:cubicBezTo>
                        <a:pt x="53288" y="61183"/>
                        <a:pt x="56996" y="64831"/>
                        <a:pt x="60645" y="68419"/>
                      </a:cubicBezTo>
                      <a:lnTo>
                        <a:pt x="60645" y="68419"/>
                      </a:lnTo>
                      <a:close/>
                      <a:moveTo>
                        <a:pt x="93299" y="82594"/>
                      </a:moveTo>
                      <a:cubicBezTo>
                        <a:pt x="95094" y="80979"/>
                        <a:pt x="96887" y="79304"/>
                        <a:pt x="98622" y="77690"/>
                      </a:cubicBezTo>
                      <a:cubicBezTo>
                        <a:pt x="95154" y="74161"/>
                        <a:pt x="91624" y="70632"/>
                        <a:pt x="88096" y="67044"/>
                      </a:cubicBezTo>
                      <a:cubicBezTo>
                        <a:pt x="84508" y="63396"/>
                        <a:pt x="80859" y="59747"/>
                        <a:pt x="77211" y="56039"/>
                      </a:cubicBezTo>
                      <a:cubicBezTo>
                        <a:pt x="75417" y="57714"/>
                        <a:pt x="73563" y="59389"/>
                        <a:pt x="71769" y="61063"/>
                      </a:cubicBezTo>
                      <a:cubicBezTo>
                        <a:pt x="75417" y="64711"/>
                        <a:pt x="79065" y="68360"/>
                        <a:pt x="82713" y="72008"/>
                      </a:cubicBezTo>
                      <a:cubicBezTo>
                        <a:pt x="86242" y="75537"/>
                        <a:pt x="89771" y="79065"/>
                        <a:pt x="93299" y="82594"/>
                      </a:cubicBezTo>
                      <a:lnTo>
                        <a:pt x="93299" y="82594"/>
                      </a:lnTo>
                      <a:close/>
                      <a:moveTo>
                        <a:pt x="70273" y="59568"/>
                      </a:moveTo>
                      <a:cubicBezTo>
                        <a:pt x="72068" y="57893"/>
                        <a:pt x="73922" y="56219"/>
                        <a:pt x="75716" y="54544"/>
                      </a:cubicBezTo>
                      <a:cubicBezTo>
                        <a:pt x="72068" y="50896"/>
                        <a:pt x="68420" y="47188"/>
                        <a:pt x="64771" y="43480"/>
                      </a:cubicBezTo>
                      <a:cubicBezTo>
                        <a:pt x="61003" y="39712"/>
                        <a:pt x="57235" y="35884"/>
                        <a:pt x="53468" y="32057"/>
                      </a:cubicBezTo>
                      <a:cubicBezTo>
                        <a:pt x="51614" y="33791"/>
                        <a:pt x="49759" y="35466"/>
                        <a:pt x="47906" y="37200"/>
                      </a:cubicBezTo>
                      <a:cubicBezTo>
                        <a:pt x="51733" y="41028"/>
                        <a:pt x="55501" y="44796"/>
                        <a:pt x="59269" y="48563"/>
                      </a:cubicBezTo>
                      <a:cubicBezTo>
                        <a:pt x="62977" y="52212"/>
                        <a:pt x="66625" y="55920"/>
                        <a:pt x="70273" y="5956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86" name="Vrije vorm: vorm 7085">
                  <a:extLst>
                    <a:ext uri="{FF2B5EF4-FFF2-40B4-BE49-F238E27FC236}">
                      <a16:creationId xmlns:a16="http://schemas.microsoft.com/office/drawing/2014/main" id="{AFCC7D02-AE19-426D-8D04-E973B250740A}"/>
                    </a:ext>
                  </a:extLst>
                </p:cNvPr>
                <p:cNvSpPr/>
                <p:nvPr/>
              </p:nvSpPr>
              <p:spPr>
                <a:xfrm>
                  <a:off x="7518146" y="2407520"/>
                  <a:ext cx="104542" cy="101313"/>
                </a:xfrm>
                <a:custGeom>
                  <a:avLst/>
                  <a:gdLst>
                    <a:gd name="connsiteX0" fmla="*/ 11663 w 104542"/>
                    <a:gd name="connsiteY0" fmla="*/ 21411 h 101313"/>
                    <a:gd name="connsiteX1" fmla="*/ 23803 w 104542"/>
                    <a:gd name="connsiteY1" fmla="*/ 33313 h 101313"/>
                    <a:gd name="connsiteX2" fmla="*/ 35286 w 104542"/>
                    <a:gd name="connsiteY2" fmla="*/ 44556 h 101313"/>
                    <a:gd name="connsiteX3" fmla="*/ 40848 w 104542"/>
                    <a:gd name="connsiteY3" fmla="*/ 39413 h 101313"/>
                    <a:gd name="connsiteX4" fmla="*/ 29425 w 104542"/>
                    <a:gd name="connsiteY4" fmla="*/ 28109 h 101313"/>
                    <a:gd name="connsiteX5" fmla="*/ 17344 w 104542"/>
                    <a:gd name="connsiteY5" fmla="*/ 16148 h 101313"/>
                    <a:gd name="connsiteX6" fmla="*/ 11663 w 104542"/>
                    <a:gd name="connsiteY6" fmla="*/ 21411 h 101313"/>
                    <a:gd name="connsiteX7" fmla="*/ 11663 w 104542"/>
                    <a:gd name="connsiteY7" fmla="*/ 21411 h 101313"/>
                    <a:gd name="connsiteX8" fmla="*/ 54903 w 104542"/>
                    <a:gd name="connsiteY8" fmla="*/ 26495 h 101313"/>
                    <a:gd name="connsiteX9" fmla="*/ 56577 w 104542"/>
                    <a:gd name="connsiteY9" fmla="*/ 24940 h 101313"/>
                    <a:gd name="connsiteX10" fmla="*/ 58073 w 104542"/>
                    <a:gd name="connsiteY10" fmla="*/ 26495 h 101313"/>
                    <a:gd name="connsiteX11" fmla="*/ 56399 w 104542"/>
                    <a:gd name="connsiteY11" fmla="*/ 27990 h 101313"/>
                    <a:gd name="connsiteX12" fmla="*/ 67702 w 104542"/>
                    <a:gd name="connsiteY12" fmla="*/ 39473 h 101313"/>
                    <a:gd name="connsiteX13" fmla="*/ 78707 w 104542"/>
                    <a:gd name="connsiteY13" fmla="*/ 50597 h 101313"/>
                    <a:gd name="connsiteX14" fmla="*/ 80321 w 104542"/>
                    <a:gd name="connsiteY14" fmla="*/ 49102 h 101313"/>
                    <a:gd name="connsiteX15" fmla="*/ 81757 w 104542"/>
                    <a:gd name="connsiteY15" fmla="*/ 50597 h 101313"/>
                    <a:gd name="connsiteX16" fmla="*/ 80142 w 104542"/>
                    <a:gd name="connsiteY16" fmla="*/ 52092 h 101313"/>
                    <a:gd name="connsiteX17" fmla="*/ 91026 w 104542"/>
                    <a:gd name="connsiteY17" fmla="*/ 63156 h 101313"/>
                    <a:gd name="connsiteX18" fmla="*/ 101672 w 104542"/>
                    <a:gd name="connsiteY18" fmla="*/ 73922 h 101313"/>
                    <a:gd name="connsiteX19" fmla="*/ 103287 w 104542"/>
                    <a:gd name="connsiteY19" fmla="*/ 72486 h 101313"/>
                    <a:gd name="connsiteX20" fmla="*/ 104543 w 104542"/>
                    <a:gd name="connsiteY20" fmla="*/ 73862 h 101313"/>
                    <a:gd name="connsiteX21" fmla="*/ 89651 w 104542"/>
                    <a:gd name="connsiteY21" fmla="*/ 87558 h 101313"/>
                    <a:gd name="connsiteX22" fmla="*/ 74699 w 104542"/>
                    <a:gd name="connsiteY22" fmla="*/ 101313 h 101313"/>
                    <a:gd name="connsiteX23" fmla="*/ 73324 w 104542"/>
                    <a:gd name="connsiteY23" fmla="*/ 99998 h 101313"/>
                    <a:gd name="connsiteX24" fmla="*/ 78647 w 104542"/>
                    <a:gd name="connsiteY24" fmla="*/ 95093 h 101313"/>
                    <a:gd name="connsiteX25" fmla="*/ 67821 w 104542"/>
                    <a:gd name="connsiteY25" fmla="*/ 84508 h 101313"/>
                    <a:gd name="connsiteX26" fmla="*/ 56697 w 104542"/>
                    <a:gd name="connsiteY26" fmla="*/ 73683 h 101313"/>
                    <a:gd name="connsiteX27" fmla="*/ 51255 w 104542"/>
                    <a:gd name="connsiteY27" fmla="*/ 78646 h 101313"/>
                    <a:gd name="connsiteX28" fmla="*/ 49760 w 104542"/>
                    <a:gd name="connsiteY28" fmla="*/ 77211 h 101313"/>
                    <a:gd name="connsiteX29" fmla="*/ 55202 w 104542"/>
                    <a:gd name="connsiteY29" fmla="*/ 72247 h 101313"/>
                    <a:gd name="connsiteX30" fmla="*/ 44018 w 104542"/>
                    <a:gd name="connsiteY30" fmla="*/ 61362 h 101313"/>
                    <a:gd name="connsiteX31" fmla="*/ 32476 w 104542"/>
                    <a:gd name="connsiteY31" fmla="*/ 50118 h 101313"/>
                    <a:gd name="connsiteX32" fmla="*/ 26973 w 104542"/>
                    <a:gd name="connsiteY32" fmla="*/ 55202 h 101313"/>
                    <a:gd name="connsiteX33" fmla="*/ 25418 w 104542"/>
                    <a:gd name="connsiteY33" fmla="*/ 53707 h 101313"/>
                    <a:gd name="connsiteX34" fmla="*/ 30921 w 104542"/>
                    <a:gd name="connsiteY34" fmla="*/ 48623 h 101313"/>
                    <a:gd name="connsiteX35" fmla="*/ 19258 w 104542"/>
                    <a:gd name="connsiteY35" fmla="*/ 37260 h 101313"/>
                    <a:gd name="connsiteX36" fmla="*/ 7236 w 104542"/>
                    <a:gd name="connsiteY36" fmla="*/ 25538 h 101313"/>
                    <a:gd name="connsiteX37" fmla="*/ 1615 w 104542"/>
                    <a:gd name="connsiteY37" fmla="*/ 30741 h 101313"/>
                    <a:gd name="connsiteX38" fmla="*/ 0 w 104542"/>
                    <a:gd name="connsiteY38" fmla="*/ 29186 h 101313"/>
                    <a:gd name="connsiteX39" fmla="*/ 15909 w 104542"/>
                    <a:gd name="connsiteY39" fmla="*/ 14593 h 101313"/>
                    <a:gd name="connsiteX40" fmla="*/ 31818 w 104542"/>
                    <a:gd name="connsiteY40" fmla="*/ 0 h 101313"/>
                    <a:gd name="connsiteX41" fmla="*/ 33372 w 104542"/>
                    <a:gd name="connsiteY41" fmla="*/ 1615 h 101313"/>
                    <a:gd name="connsiteX42" fmla="*/ 31698 w 104542"/>
                    <a:gd name="connsiteY42" fmla="*/ 3170 h 101313"/>
                    <a:gd name="connsiteX43" fmla="*/ 43480 w 104542"/>
                    <a:gd name="connsiteY43" fmla="*/ 15131 h 101313"/>
                    <a:gd name="connsiteX44" fmla="*/ 54903 w 104542"/>
                    <a:gd name="connsiteY44" fmla="*/ 26495 h 101313"/>
                    <a:gd name="connsiteX45" fmla="*/ 54903 w 104542"/>
                    <a:gd name="connsiteY45" fmla="*/ 26495 h 101313"/>
                    <a:gd name="connsiteX46" fmla="*/ 45095 w 104542"/>
                    <a:gd name="connsiteY46" fmla="*/ 35526 h 101313"/>
                    <a:gd name="connsiteX47" fmla="*/ 50657 w 104542"/>
                    <a:gd name="connsiteY47" fmla="*/ 30382 h 101313"/>
                    <a:gd name="connsiteX48" fmla="*/ 39174 w 104542"/>
                    <a:gd name="connsiteY48" fmla="*/ 18839 h 101313"/>
                    <a:gd name="connsiteX49" fmla="*/ 27332 w 104542"/>
                    <a:gd name="connsiteY49" fmla="*/ 6938 h 101313"/>
                    <a:gd name="connsiteX50" fmla="*/ 21650 w 104542"/>
                    <a:gd name="connsiteY50" fmla="*/ 12141 h 101313"/>
                    <a:gd name="connsiteX51" fmla="*/ 33552 w 104542"/>
                    <a:gd name="connsiteY51" fmla="*/ 23983 h 101313"/>
                    <a:gd name="connsiteX52" fmla="*/ 45095 w 104542"/>
                    <a:gd name="connsiteY52" fmla="*/ 35526 h 101313"/>
                    <a:gd name="connsiteX53" fmla="*/ 45095 w 104542"/>
                    <a:gd name="connsiteY53" fmla="*/ 35526 h 101313"/>
                    <a:gd name="connsiteX54" fmla="*/ 82833 w 104542"/>
                    <a:gd name="connsiteY54" fmla="*/ 91266 h 101313"/>
                    <a:gd name="connsiteX55" fmla="*/ 88216 w 104542"/>
                    <a:gd name="connsiteY55" fmla="*/ 86302 h 101313"/>
                    <a:gd name="connsiteX56" fmla="*/ 77451 w 104542"/>
                    <a:gd name="connsiteY56" fmla="*/ 75656 h 101313"/>
                    <a:gd name="connsiteX57" fmla="*/ 66446 w 104542"/>
                    <a:gd name="connsiteY57" fmla="*/ 64711 h 101313"/>
                    <a:gd name="connsiteX58" fmla="*/ 61004 w 104542"/>
                    <a:gd name="connsiteY58" fmla="*/ 69735 h 101313"/>
                    <a:gd name="connsiteX59" fmla="*/ 72068 w 104542"/>
                    <a:gd name="connsiteY59" fmla="*/ 80620 h 101313"/>
                    <a:gd name="connsiteX60" fmla="*/ 82833 w 104542"/>
                    <a:gd name="connsiteY60" fmla="*/ 91266 h 101313"/>
                    <a:gd name="connsiteX61" fmla="*/ 82833 w 104542"/>
                    <a:gd name="connsiteY61" fmla="*/ 91266 h 101313"/>
                    <a:gd name="connsiteX62" fmla="*/ 59449 w 104542"/>
                    <a:gd name="connsiteY62" fmla="*/ 68360 h 101313"/>
                    <a:gd name="connsiteX63" fmla="*/ 64891 w 104542"/>
                    <a:gd name="connsiteY63" fmla="*/ 63336 h 101313"/>
                    <a:gd name="connsiteX64" fmla="*/ 53767 w 104542"/>
                    <a:gd name="connsiteY64" fmla="*/ 52331 h 101313"/>
                    <a:gd name="connsiteX65" fmla="*/ 42284 w 104542"/>
                    <a:gd name="connsiteY65" fmla="*/ 40968 h 101313"/>
                    <a:gd name="connsiteX66" fmla="*/ 36722 w 104542"/>
                    <a:gd name="connsiteY66" fmla="*/ 46111 h 101313"/>
                    <a:gd name="connsiteX67" fmla="*/ 48265 w 104542"/>
                    <a:gd name="connsiteY67" fmla="*/ 57415 h 101313"/>
                    <a:gd name="connsiteX68" fmla="*/ 59449 w 104542"/>
                    <a:gd name="connsiteY68" fmla="*/ 68360 h 101313"/>
                    <a:gd name="connsiteX69" fmla="*/ 59449 w 104542"/>
                    <a:gd name="connsiteY69" fmla="*/ 68360 h 101313"/>
                    <a:gd name="connsiteX70" fmla="*/ 92283 w 104542"/>
                    <a:gd name="connsiteY70" fmla="*/ 82594 h 101313"/>
                    <a:gd name="connsiteX71" fmla="*/ 97665 w 104542"/>
                    <a:gd name="connsiteY71" fmla="*/ 77690 h 101313"/>
                    <a:gd name="connsiteX72" fmla="*/ 86960 w 104542"/>
                    <a:gd name="connsiteY72" fmla="*/ 66924 h 101313"/>
                    <a:gd name="connsiteX73" fmla="*/ 76015 w 104542"/>
                    <a:gd name="connsiteY73" fmla="*/ 55920 h 101313"/>
                    <a:gd name="connsiteX74" fmla="*/ 70573 w 104542"/>
                    <a:gd name="connsiteY74" fmla="*/ 60944 h 101313"/>
                    <a:gd name="connsiteX75" fmla="*/ 81577 w 104542"/>
                    <a:gd name="connsiteY75" fmla="*/ 71888 h 101313"/>
                    <a:gd name="connsiteX76" fmla="*/ 92283 w 104542"/>
                    <a:gd name="connsiteY76" fmla="*/ 82594 h 101313"/>
                    <a:gd name="connsiteX77" fmla="*/ 92283 w 104542"/>
                    <a:gd name="connsiteY77" fmla="*/ 82594 h 101313"/>
                    <a:gd name="connsiteX78" fmla="*/ 69138 w 104542"/>
                    <a:gd name="connsiteY78" fmla="*/ 59508 h 101313"/>
                    <a:gd name="connsiteX79" fmla="*/ 74579 w 104542"/>
                    <a:gd name="connsiteY79" fmla="*/ 54484 h 101313"/>
                    <a:gd name="connsiteX80" fmla="*/ 63575 w 104542"/>
                    <a:gd name="connsiteY80" fmla="*/ 43420 h 101313"/>
                    <a:gd name="connsiteX81" fmla="*/ 52212 w 104542"/>
                    <a:gd name="connsiteY81" fmla="*/ 31997 h 101313"/>
                    <a:gd name="connsiteX82" fmla="*/ 46650 w 104542"/>
                    <a:gd name="connsiteY82" fmla="*/ 37140 h 101313"/>
                    <a:gd name="connsiteX83" fmla="*/ 58073 w 104542"/>
                    <a:gd name="connsiteY83" fmla="*/ 48504 h 101313"/>
                    <a:gd name="connsiteX84" fmla="*/ 69138 w 104542"/>
                    <a:gd name="connsiteY84" fmla="*/ 59508 h 101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04542" h="101313">
                      <a:moveTo>
                        <a:pt x="11663" y="21411"/>
                      </a:moveTo>
                      <a:cubicBezTo>
                        <a:pt x="15789" y="25478"/>
                        <a:pt x="19856" y="29425"/>
                        <a:pt x="23803" y="33313"/>
                      </a:cubicBezTo>
                      <a:cubicBezTo>
                        <a:pt x="27691" y="37140"/>
                        <a:pt x="31519" y="40908"/>
                        <a:pt x="35286" y="44556"/>
                      </a:cubicBezTo>
                      <a:cubicBezTo>
                        <a:pt x="37140" y="42822"/>
                        <a:pt x="38994" y="41147"/>
                        <a:pt x="40848" y="39413"/>
                      </a:cubicBezTo>
                      <a:cubicBezTo>
                        <a:pt x="37140" y="35705"/>
                        <a:pt x="33313" y="31937"/>
                        <a:pt x="29425" y="28109"/>
                      </a:cubicBezTo>
                      <a:cubicBezTo>
                        <a:pt x="25478" y="24222"/>
                        <a:pt x="21471" y="20215"/>
                        <a:pt x="17344" y="16148"/>
                      </a:cubicBezTo>
                      <a:cubicBezTo>
                        <a:pt x="15430" y="17942"/>
                        <a:pt x="13516" y="19677"/>
                        <a:pt x="11663" y="21411"/>
                      </a:cubicBezTo>
                      <a:lnTo>
                        <a:pt x="11663" y="21411"/>
                      </a:lnTo>
                      <a:close/>
                      <a:moveTo>
                        <a:pt x="54903" y="26495"/>
                      </a:moveTo>
                      <a:cubicBezTo>
                        <a:pt x="55441" y="25956"/>
                        <a:pt x="55979" y="25478"/>
                        <a:pt x="56577" y="24940"/>
                      </a:cubicBezTo>
                      <a:cubicBezTo>
                        <a:pt x="57056" y="25478"/>
                        <a:pt x="57594" y="26016"/>
                        <a:pt x="58073" y="26495"/>
                      </a:cubicBezTo>
                      <a:cubicBezTo>
                        <a:pt x="57535" y="26973"/>
                        <a:pt x="56996" y="27511"/>
                        <a:pt x="56399" y="27990"/>
                      </a:cubicBezTo>
                      <a:cubicBezTo>
                        <a:pt x="60166" y="31817"/>
                        <a:pt x="63994" y="35645"/>
                        <a:pt x="67702" y="39473"/>
                      </a:cubicBezTo>
                      <a:cubicBezTo>
                        <a:pt x="71350" y="43181"/>
                        <a:pt x="75058" y="46889"/>
                        <a:pt x="78707" y="50597"/>
                      </a:cubicBezTo>
                      <a:cubicBezTo>
                        <a:pt x="79245" y="50118"/>
                        <a:pt x="79783" y="49580"/>
                        <a:pt x="80321" y="49102"/>
                      </a:cubicBezTo>
                      <a:cubicBezTo>
                        <a:pt x="80800" y="49580"/>
                        <a:pt x="81278" y="50118"/>
                        <a:pt x="81757" y="50597"/>
                      </a:cubicBezTo>
                      <a:cubicBezTo>
                        <a:pt x="81218" y="51075"/>
                        <a:pt x="80680" y="51614"/>
                        <a:pt x="80142" y="52092"/>
                      </a:cubicBezTo>
                      <a:cubicBezTo>
                        <a:pt x="83790" y="55800"/>
                        <a:pt x="87438" y="59508"/>
                        <a:pt x="91026" y="63156"/>
                      </a:cubicBezTo>
                      <a:cubicBezTo>
                        <a:pt x="94556" y="66745"/>
                        <a:pt x="98204" y="70393"/>
                        <a:pt x="101672" y="73922"/>
                      </a:cubicBezTo>
                      <a:cubicBezTo>
                        <a:pt x="102210" y="73443"/>
                        <a:pt x="102749" y="72965"/>
                        <a:pt x="103287" y="72486"/>
                      </a:cubicBezTo>
                      <a:cubicBezTo>
                        <a:pt x="103765" y="72965"/>
                        <a:pt x="104065" y="73384"/>
                        <a:pt x="104543" y="73862"/>
                      </a:cubicBezTo>
                      <a:cubicBezTo>
                        <a:pt x="99579" y="78467"/>
                        <a:pt x="94675" y="82953"/>
                        <a:pt x="89651" y="87558"/>
                      </a:cubicBezTo>
                      <a:cubicBezTo>
                        <a:pt x="84687" y="92163"/>
                        <a:pt x="79723" y="96708"/>
                        <a:pt x="74699" y="101313"/>
                      </a:cubicBezTo>
                      <a:cubicBezTo>
                        <a:pt x="74221" y="100835"/>
                        <a:pt x="73802" y="100476"/>
                        <a:pt x="73324" y="99998"/>
                      </a:cubicBezTo>
                      <a:cubicBezTo>
                        <a:pt x="75118" y="98383"/>
                        <a:pt x="76852" y="96768"/>
                        <a:pt x="78647" y="95093"/>
                      </a:cubicBezTo>
                      <a:cubicBezTo>
                        <a:pt x="75058" y="91625"/>
                        <a:pt x="71410" y="88036"/>
                        <a:pt x="67821" y="84508"/>
                      </a:cubicBezTo>
                      <a:cubicBezTo>
                        <a:pt x="64113" y="80919"/>
                        <a:pt x="60465" y="77331"/>
                        <a:pt x="56697" y="73683"/>
                      </a:cubicBezTo>
                      <a:cubicBezTo>
                        <a:pt x="54903" y="75357"/>
                        <a:pt x="53109" y="77032"/>
                        <a:pt x="51255" y="78646"/>
                      </a:cubicBezTo>
                      <a:cubicBezTo>
                        <a:pt x="50776" y="78168"/>
                        <a:pt x="50238" y="77690"/>
                        <a:pt x="49760" y="77211"/>
                      </a:cubicBezTo>
                      <a:cubicBezTo>
                        <a:pt x="51554" y="75537"/>
                        <a:pt x="53348" y="73862"/>
                        <a:pt x="55202" y="72247"/>
                      </a:cubicBezTo>
                      <a:cubicBezTo>
                        <a:pt x="51494" y="68599"/>
                        <a:pt x="47786" y="65010"/>
                        <a:pt x="44018" y="61362"/>
                      </a:cubicBezTo>
                      <a:cubicBezTo>
                        <a:pt x="40190" y="57594"/>
                        <a:pt x="36303" y="53886"/>
                        <a:pt x="32476" y="50118"/>
                      </a:cubicBezTo>
                      <a:cubicBezTo>
                        <a:pt x="30621" y="51793"/>
                        <a:pt x="28768" y="53528"/>
                        <a:pt x="26973" y="55202"/>
                      </a:cubicBezTo>
                      <a:cubicBezTo>
                        <a:pt x="26435" y="54724"/>
                        <a:pt x="25956" y="54185"/>
                        <a:pt x="25418" y="53707"/>
                      </a:cubicBezTo>
                      <a:cubicBezTo>
                        <a:pt x="27272" y="52032"/>
                        <a:pt x="29126" y="50298"/>
                        <a:pt x="30921" y="48623"/>
                      </a:cubicBezTo>
                      <a:cubicBezTo>
                        <a:pt x="27033" y="44855"/>
                        <a:pt x="23145" y="41088"/>
                        <a:pt x="19258" y="37260"/>
                      </a:cubicBezTo>
                      <a:cubicBezTo>
                        <a:pt x="15251" y="33373"/>
                        <a:pt x="11244" y="29485"/>
                        <a:pt x="7236" y="25538"/>
                      </a:cubicBezTo>
                      <a:cubicBezTo>
                        <a:pt x="5383" y="27272"/>
                        <a:pt x="3469" y="29007"/>
                        <a:pt x="1615" y="30741"/>
                      </a:cubicBezTo>
                      <a:cubicBezTo>
                        <a:pt x="1077" y="30203"/>
                        <a:pt x="538" y="29664"/>
                        <a:pt x="0" y="29186"/>
                      </a:cubicBezTo>
                      <a:cubicBezTo>
                        <a:pt x="5323" y="24342"/>
                        <a:pt x="10586" y="19437"/>
                        <a:pt x="15909" y="14593"/>
                      </a:cubicBezTo>
                      <a:cubicBezTo>
                        <a:pt x="21232" y="9749"/>
                        <a:pt x="26495" y="4844"/>
                        <a:pt x="31818" y="0"/>
                      </a:cubicBezTo>
                      <a:cubicBezTo>
                        <a:pt x="32296" y="538"/>
                        <a:pt x="32894" y="1076"/>
                        <a:pt x="33372" y="1615"/>
                      </a:cubicBezTo>
                      <a:cubicBezTo>
                        <a:pt x="32834" y="2153"/>
                        <a:pt x="32236" y="2632"/>
                        <a:pt x="31698" y="3170"/>
                      </a:cubicBezTo>
                      <a:cubicBezTo>
                        <a:pt x="35645" y="7177"/>
                        <a:pt x="39592" y="11184"/>
                        <a:pt x="43480" y="15131"/>
                      </a:cubicBezTo>
                      <a:cubicBezTo>
                        <a:pt x="47308" y="18780"/>
                        <a:pt x="51135" y="22667"/>
                        <a:pt x="54903" y="26495"/>
                      </a:cubicBezTo>
                      <a:lnTo>
                        <a:pt x="54903" y="26495"/>
                      </a:lnTo>
                      <a:close/>
                      <a:moveTo>
                        <a:pt x="45095" y="35526"/>
                      </a:moveTo>
                      <a:cubicBezTo>
                        <a:pt x="46949" y="33791"/>
                        <a:pt x="48803" y="32116"/>
                        <a:pt x="50657" y="30382"/>
                      </a:cubicBezTo>
                      <a:cubicBezTo>
                        <a:pt x="46889" y="26554"/>
                        <a:pt x="43062" y="22727"/>
                        <a:pt x="39174" y="18839"/>
                      </a:cubicBezTo>
                      <a:cubicBezTo>
                        <a:pt x="35227" y="14892"/>
                        <a:pt x="31279" y="10945"/>
                        <a:pt x="27332" y="6938"/>
                      </a:cubicBezTo>
                      <a:cubicBezTo>
                        <a:pt x="25418" y="8672"/>
                        <a:pt x="23564" y="10407"/>
                        <a:pt x="21650" y="12141"/>
                      </a:cubicBezTo>
                      <a:cubicBezTo>
                        <a:pt x="25658" y="16088"/>
                        <a:pt x="29605" y="20095"/>
                        <a:pt x="33552" y="23983"/>
                      </a:cubicBezTo>
                      <a:cubicBezTo>
                        <a:pt x="37439" y="27870"/>
                        <a:pt x="41267" y="31758"/>
                        <a:pt x="45095" y="35526"/>
                      </a:cubicBezTo>
                      <a:lnTo>
                        <a:pt x="45095" y="35526"/>
                      </a:lnTo>
                      <a:close/>
                      <a:moveTo>
                        <a:pt x="82833" y="91266"/>
                      </a:moveTo>
                      <a:cubicBezTo>
                        <a:pt x="84627" y="89651"/>
                        <a:pt x="86422" y="87976"/>
                        <a:pt x="88216" y="86302"/>
                      </a:cubicBezTo>
                      <a:cubicBezTo>
                        <a:pt x="84687" y="82833"/>
                        <a:pt x="81039" y="79185"/>
                        <a:pt x="77451" y="75656"/>
                      </a:cubicBezTo>
                      <a:cubicBezTo>
                        <a:pt x="73802" y="72068"/>
                        <a:pt x="70154" y="68419"/>
                        <a:pt x="66446" y="64711"/>
                      </a:cubicBezTo>
                      <a:cubicBezTo>
                        <a:pt x="64652" y="66386"/>
                        <a:pt x="62798" y="68061"/>
                        <a:pt x="61004" y="69735"/>
                      </a:cubicBezTo>
                      <a:cubicBezTo>
                        <a:pt x="64712" y="73384"/>
                        <a:pt x="68420" y="77032"/>
                        <a:pt x="72068" y="80620"/>
                      </a:cubicBezTo>
                      <a:cubicBezTo>
                        <a:pt x="75596" y="84209"/>
                        <a:pt x="79304" y="87797"/>
                        <a:pt x="82833" y="91266"/>
                      </a:cubicBezTo>
                      <a:lnTo>
                        <a:pt x="82833" y="91266"/>
                      </a:lnTo>
                      <a:close/>
                      <a:moveTo>
                        <a:pt x="59449" y="68360"/>
                      </a:moveTo>
                      <a:cubicBezTo>
                        <a:pt x="61243" y="66685"/>
                        <a:pt x="63097" y="65010"/>
                        <a:pt x="64891" y="63336"/>
                      </a:cubicBezTo>
                      <a:cubicBezTo>
                        <a:pt x="61183" y="59688"/>
                        <a:pt x="57475" y="56039"/>
                        <a:pt x="53767" y="52331"/>
                      </a:cubicBezTo>
                      <a:cubicBezTo>
                        <a:pt x="49939" y="48563"/>
                        <a:pt x="46111" y="44796"/>
                        <a:pt x="42284" y="40968"/>
                      </a:cubicBezTo>
                      <a:cubicBezTo>
                        <a:pt x="40430" y="42702"/>
                        <a:pt x="38576" y="44377"/>
                        <a:pt x="36722" y="46111"/>
                      </a:cubicBezTo>
                      <a:cubicBezTo>
                        <a:pt x="40549" y="49879"/>
                        <a:pt x="44437" y="53647"/>
                        <a:pt x="48265" y="57415"/>
                      </a:cubicBezTo>
                      <a:cubicBezTo>
                        <a:pt x="52033" y="61063"/>
                        <a:pt x="55741" y="64711"/>
                        <a:pt x="59449" y="68360"/>
                      </a:cubicBezTo>
                      <a:lnTo>
                        <a:pt x="59449" y="68360"/>
                      </a:lnTo>
                      <a:close/>
                      <a:moveTo>
                        <a:pt x="92283" y="82594"/>
                      </a:moveTo>
                      <a:cubicBezTo>
                        <a:pt x="94077" y="80979"/>
                        <a:pt x="95871" y="79304"/>
                        <a:pt x="97665" y="77690"/>
                      </a:cubicBezTo>
                      <a:cubicBezTo>
                        <a:pt x="94137" y="74161"/>
                        <a:pt x="90548" y="70513"/>
                        <a:pt x="86960" y="66924"/>
                      </a:cubicBezTo>
                      <a:cubicBezTo>
                        <a:pt x="83312" y="63276"/>
                        <a:pt x="79664" y="59628"/>
                        <a:pt x="76015" y="55920"/>
                      </a:cubicBezTo>
                      <a:cubicBezTo>
                        <a:pt x="74221" y="57594"/>
                        <a:pt x="72367" y="59269"/>
                        <a:pt x="70573" y="60944"/>
                      </a:cubicBezTo>
                      <a:cubicBezTo>
                        <a:pt x="74281" y="64652"/>
                        <a:pt x="77929" y="68300"/>
                        <a:pt x="81577" y="71888"/>
                      </a:cubicBezTo>
                      <a:cubicBezTo>
                        <a:pt x="85106" y="75417"/>
                        <a:pt x="88754" y="79065"/>
                        <a:pt x="92283" y="82594"/>
                      </a:cubicBezTo>
                      <a:lnTo>
                        <a:pt x="92283" y="82594"/>
                      </a:lnTo>
                      <a:close/>
                      <a:moveTo>
                        <a:pt x="69138" y="59508"/>
                      </a:moveTo>
                      <a:cubicBezTo>
                        <a:pt x="70931" y="57834"/>
                        <a:pt x="72786" y="56159"/>
                        <a:pt x="74579" y="54484"/>
                      </a:cubicBezTo>
                      <a:cubicBezTo>
                        <a:pt x="70931" y="50836"/>
                        <a:pt x="67223" y="47128"/>
                        <a:pt x="63575" y="43420"/>
                      </a:cubicBezTo>
                      <a:cubicBezTo>
                        <a:pt x="59807" y="39652"/>
                        <a:pt x="56039" y="35825"/>
                        <a:pt x="52212" y="31997"/>
                      </a:cubicBezTo>
                      <a:cubicBezTo>
                        <a:pt x="50358" y="33731"/>
                        <a:pt x="48504" y="35406"/>
                        <a:pt x="46650" y="37140"/>
                      </a:cubicBezTo>
                      <a:cubicBezTo>
                        <a:pt x="50478" y="40968"/>
                        <a:pt x="54305" y="44736"/>
                        <a:pt x="58073" y="48504"/>
                      </a:cubicBezTo>
                      <a:cubicBezTo>
                        <a:pt x="61721" y="52152"/>
                        <a:pt x="65429" y="55800"/>
                        <a:pt x="69138" y="5950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87" name="Vrije vorm: vorm 7086">
                  <a:extLst>
                    <a:ext uri="{FF2B5EF4-FFF2-40B4-BE49-F238E27FC236}">
                      <a16:creationId xmlns:a16="http://schemas.microsoft.com/office/drawing/2014/main" id="{5B5A3C18-DB84-4DD0-95B7-A41A30A158A5}"/>
                    </a:ext>
                  </a:extLst>
                </p:cNvPr>
                <p:cNvSpPr/>
                <p:nvPr/>
              </p:nvSpPr>
              <p:spPr>
                <a:xfrm>
                  <a:off x="7598348" y="2457877"/>
                  <a:ext cx="2870" cy="1734"/>
                </a:xfrm>
                <a:custGeom>
                  <a:avLst/>
                  <a:gdLst>
                    <a:gd name="connsiteX0" fmla="*/ 0 w 2870"/>
                    <a:gd name="connsiteY0" fmla="*/ 1734 h 1734"/>
                    <a:gd name="connsiteX1" fmla="*/ 1256 w 2870"/>
                    <a:gd name="connsiteY1" fmla="*/ 1495 h 1734"/>
                    <a:gd name="connsiteX2" fmla="*/ 2871 w 2870"/>
                    <a:gd name="connsiteY2" fmla="*/ 0 h 1734"/>
                    <a:gd name="connsiteX3" fmla="*/ 1615 w 2870"/>
                    <a:gd name="connsiteY3" fmla="*/ 239 h 1734"/>
                    <a:gd name="connsiteX4" fmla="*/ 0 w 2870"/>
                    <a:gd name="connsiteY4" fmla="*/ 1734 h 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 h="1734">
                      <a:moveTo>
                        <a:pt x="0" y="1734"/>
                      </a:moveTo>
                      <a:cubicBezTo>
                        <a:pt x="418" y="1675"/>
                        <a:pt x="837" y="1555"/>
                        <a:pt x="1256" y="1495"/>
                      </a:cubicBezTo>
                      <a:cubicBezTo>
                        <a:pt x="1794" y="1017"/>
                        <a:pt x="2333" y="478"/>
                        <a:pt x="2871" y="0"/>
                      </a:cubicBezTo>
                      <a:cubicBezTo>
                        <a:pt x="2452" y="60"/>
                        <a:pt x="2033" y="179"/>
                        <a:pt x="1615" y="239"/>
                      </a:cubicBezTo>
                      <a:cubicBezTo>
                        <a:pt x="1076" y="718"/>
                        <a:pt x="538" y="1196"/>
                        <a:pt x="0" y="1734"/>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88" name="Vrije vorm: vorm 7087">
                  <a:extLst>
                    <a:ext uri="{FF2B5EF4-FFF2-40B4-BE49-F238E27FC236}">
                      <a16:creationId xmlns:a16="http://schemas.microsoft.com/office/drawing/2014/main" id="{72FB28A9-3DCA-4995-9C96-E214D427C792}"/>
                    </a:ext>
                  </a:extLst>
                </p:cNvPr>
                <p:cNvSpPr/>
                <p:nvPr/>
              </p:nvSpPr>
              <p:spPr>
                <a:xfrm>
                  <a:off x="7588719" y="2463439"/>
                  <a:ext cx="5920" cy="5023"/>
                </a:xfrm>
                <a:custGeom>
                  <a:avLst/>
                  <a:gdLst>
                    <a:gd name="connsiteX0" fmla="*/ 5921 w 5920"/>
                    <a:gd name="connsiteY0" fmla="*/ 478 h 5023"/>
                    <a:gd name="connsiteX1" fmla="*/ 5442 w 5920"/>
                    <a:gd name="connsiteY1" fmla="*/ 0 h 5023"/>
                    <a:gd name="connsiteX2" fmla="*/ 0 w 5920"/>
                    <a:gd name="connsiteY2" fmla="*/ 5024 h 5023"/>
                    <a:gd name="connsiteX3" fmla="*/ 1256 w 5920"/>
                    <a:gd name="connsiteY3" fmla="*/ 4785 h 5023"/>
                    <a:gd name="connsiteX4" fmla="*/ 5921 w 5920"/>
                    <a:gd name="connsiteY4" fmla="*/ 478 h 5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0" h="5023">
                      <a:moveTo>
                        <a:pt x="5921" y="478"/>
                      </a:moveTo>
                      <a:cubicBezTo>
                        <a:pt x="5741" y="299"/>
                        <a:pt x="5622" y="179"/>
                        <a:pt x="5442" y="0"/>
                      </a:cubicBezTo>
                      <a:cubicBezTo>
                        <a:pt x="3648" y="1675"/>
                        <a:pt x="1794" y="3349"/>
                        <a:pt x="0" y="5024"/>
                      </a:cubicBezTo>
                      <a:cubicBezTo>
                        <a:pt x="418" y="4964"/>
                        <a:pt x="837" y="4844"/>
                        <a:pt x="1256" y="4785"/>
                      </a:cubicBezTo>
                      <a:cubicBezTo>
                        <a:pt x="2811" y="3349"/>
                        <a:pt x="4366" y="1914"/>
                        <a:pt x="5921" y="47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89" name="Vrije vorm: vorm 7088">
                  <a:extLst>
                    <a:ext uri="{FF2B5EF4-FFF2-40B4-BE49-F238E27FC236}">
                      <a16:creationId xmlns:a16="http://schemas.microsoft.com/office/drawing/2014/main" id="{0EDFE0F3-4199-44D1-9A31-258A173F42DC}"/>
                    </a:ext>
                  </a:extLst>
                </p:cNvPr>
                <p:cNvSpPr/>
                <p:nvPr/>
              </p:nvSpPr>
              <p:spPr>
                <a:xfrm>
                  <a:off x="7579090" y="2472291"/>
                  <a:ext cx="5920" cy="5023"/>
                </a:xfrm>
                <a:custGeom>
                  <a:avLst/>
                  <a:gdLst>
                    <a:gd name="connsiteX0" fmla="*/ 5921 w 5920"/>
                    <a:gd name="connsiteY0" fmla="*/ 478 h 5023"/>
                    <a:gd name="connsiteX1" fmla="*/ 5442 w 5920"/>
                    <a:gd name="connsiteY1" fmla="*/ 0 h 5023"/>
                    <a:gd name="connsiteX2" fmla="*/ 0 w 5920"/>
                    <a:gd name="connsiteY2" fmla="*/ 5024 h 5023"/>
                    <a:gd name="connsiteX3" fmla="*/ 1256 w 5920"/>
                    <a:gd name="connsiteY3" fmla="*/ 4725 h 5023"/>
                    <a:gd name="connsiteX4" fmla="*/ 5921 w 5920"/>
                    <a:gd name="connsiteY4" fmla="*/ 478 h 5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0" h="5023">
                      <a:moveTo>
                        <a:pt x="5921" y="478"/>
                      </a:moveTo>
                      <a:cubicBezTo>
                        <a:pt x="5741" y="299"/>
                        <a:pt x="5622" y="179"/>
                        <a:pt x="5442" y="0"/>
                      </a:cubicBezTo>
                      <a:cubicBezTo>
                        <a:pt x="3648" y="1675"/>
                        <a:pt x="1794" y="3349"/>
                        <a:pt x="0" y="5024"/>
                      </a:cubicBezTo>
                      <a:cubicBezTo>
                        <a:pt x="418" y="4964"/>
                        <a:pt x="837" y="4844"/>
                        <a:pt x="1256" y="4725"/>
                      </a:cubicBezTo>
                      <a:cubicBezTo>
                        <a:pt x="2811" y="3349"/>
                        <a:pt x="4366" y="1914"/>
                        <a:pt x="5921" y="47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90" name="Vrije vorm: vorm 7089">
                  <a:extLst>
                    <a:ext uri="{FF2B5EF4-FFF2-40B4-BE49-F238E27FC236}">
                      <a16:creationId xmlns:a16="http://schemas.microsoft.com/office/drawing/2014/main" id="{BE8850E0-FC0D-4358-BCCF-57D105930980}"/>
                    </a:ext>
                  </a:extLst>
                </p:cNvPr>
                <p:cNvSpPr/>
                <p:nvPr/>
              </p:nvSpPr>
              <p:spPr>
                <a:xfrm>
                  <a:off x="7569460" y="2481142"/>
                  <a:ext cx="5921" cy="4964"/>
                </a:xfrm>
                <a:custGeom>
                  <a:avLst/>
                  <a:gdLst>
                    <a:gd name="connsiteX0" fmla="*/ 5922 w 5921"/>
                    <a:gd name="connsiteY0" fmla="*/ 479 h 4964"/>
                    <a:gd name="connsiteX1" fmla="*/ 5443 w 5921"/>
                    <a:gd name="connsiteY1" fmla="*/ 0 h 4964"/>
                    <a:gd name="connsiteX2" fmla="*/ 0 w 5921"/>
                    <a:gd name="connsiteY2" fmla="*/ 4964 h 4964"/>
                    <a:gd name="connsiteX3" fmla="*/ 1256 w 5921"/>
                    <a:gd name="connsiteY3" fmla="*/ 4665 h 4964"/>
                    <a:gd name="connsiteX4" fmla="*/ 5922 w 5921"/>
                    <a:gd name="connsiteY4" fmla="*/ 479 h 4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1" h="4964">
                      <a:moveTo>
                        <a:pt x="5922" y="479"/>
                      </a:moveTo>
                      <a:cubicBezTo>
                        <a:pt x="5742" y="299"/>
                        <a:pt x="5622" y="179"/>
                        <a:pt x="5443" y="0"/>
                      </a:cubicBezTo>
                      <a:cubicBezTo>
                        <a:pt x="3649" y="1675"/>
                        <a:pt x="1854" y="3349"/>
                        <a:pt x="0" y="4964"/>
                      </a:cubicBezTo>
                      <a:cubicBezTo>
                        <a:pt x="419" y="4844"/>
                        <a:pt x="837" y="4785"/>
                        <a:pt x="1256" y="4665"/>
                      </a:cubicBezTo>
                      <a:cubicBezTo>
                        <a:pt x="2811" y="3290"/>
                        <a:pt x="4367" y="1914"/>
                        <a:pt x="5922" y="479"/>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91" name="Vrije vorm: vorm 7090">
                  <a:extLst>
                    <a:ext uri="{FF2B5EF4-FFF2-40B4-BE49-F238E27FC236}">
                      <a16:creationId xmlns:a16="http://schemas.microsoft.com/office/drawing/2014/main" id="{1932C66C-C29D-4DCF-8287-C7BA09A632D8}"/>
                    </a:ext>
                  </a:extLst>
                </p:cNvPr>
                <p:cNvSpPr/>
                <p:nvPr/>
              </p:nvSpPr>
              <p:spPr>
                <a:xfrm>
                  <a:off x="7574604" y="2433775"/>
                  <a:ext cx="2990" cy="1734"/>
                </a:xfrm>
                <a:custGeom>
                  <a:avLst/>
                  <a:gdLst>
                    <a:gd name="connsiteX0" fmla="*/ 0 w 2990"/>
                    <a:gd name="connsiteY0" fmla="*/ 1734 h 1734"/>
                    <a:gd name="connsiteX1" fmla="*/ 1316 w 2990"/>
                    <a:gd name="connsiteY1" fmla="*/ 1495 h 1734"/>
                    <a:gd name="connsiteX2" fmla="*/ 2990 w 2990"/>
                    <a:gd name="connsiteY2" fmla="*/ 0 h 1734"/>
                    <a:gd name="connsiteX3" fmla="*/ 1674 w 2990"/>
                    <a:gd name="connsiteY3" fmla="*/ 239 h 1734"/>
                    <a:gd name="connsiteX4" fmla="*/ 0 w 2990"/>
                    <a:gd name="connsiteY4" fmla="*/ 1734 h 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0" h="1734">
                      <a:moveTo>
                        <a:pt x="0" y="1734"/>
                      </a:moveTo>
                      <a:cubicBezTo>
                        <a:pt x="418" y="1675"/>
                        <a:pt x="897" y="1555"/>
                        <a:pt x="1316" y="1495"/>
                      </a:cubicBezTo>
                      <a:cubicBezTo>
                        <a:pt x="1854" y="1017"/>
                        <a:pt x="2392" y="478"/>
                        <a:pt x="2990" y="0"/>
                      </a:cubicBezTo>
                      <a:cubicBezTo>
                        <a:pt x="2571" y="60"/>
                        <a:pt x="2093" y="179"/>
                        <a:pt x="1674" y="239"/>
                      </a:cubicBezTo>
                      <a:cubicBezTo>
                        <a:pt x="1076" y="778"/>
                        <a:pt x="538" y="1256"/>
                        <a:pt x="0" y="1734"/>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92" name="Vrije vorm: vorm 7091">
                  <a:extLst>
                    <a:ext uri="{FF2B5EF4-FFF2-40B4-BE49-F238E27FC236}">
                      <a16:creationId xmlns:a16="http://schemas.microsoft.com/office/drawing/2014/main" id="{7BB0E8FB-20A7-4C96-BC50-8CE7A261AD90}"/>
                    </a:ext>
                  </a:extLst>
                </p:cNvPr>
                <p:cNvSpPr/>
                <p:nvPr/>
              </p:nvSpPr>
              <p:spPr>
                <a:xfrm>
                  <a:off x="7564796" y="2439397"/>
                  <a:ext cx="6040" cy="5143"/>
                </a:xfrm>
                <a:custGeom>
                  <a:avLst/>
                  <a:gdLst>
                    <a:gd name="connsiteX0" fmla="*/ 6041 w 6040"/>
                    <a:gd name="connsiteY0" fmla="*/ 538 h 5143"/>
                    <a:gd name="connsiteX1" fmla="*/ 5562 w 6040"/>
                    <a:gd name="connsiteY1" fmla="*/ 0 h 5143"/>
                    <a:gd name="connsiteX2" fmla="*/ 0 w 6040"/>
                    <a:gd name="connsiteY2" fmla="*/ 5143 h 5143"/>
                    <a:gd name="connsiteX3" fmla="*/ 1316 w 6040"/>
                    <a:gd name="connsiteY3" fmla="*/ 4904 h 5143"/>
                    <a:gd name="connsiteX4" fmla="*/ 6041 w 6040"/>
                    <a:gd name="connsiteY4" fmla="*/ 538 h 5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0" h="5143">
                      <a:moveTo>
                        <a:pt x="6041" y="538"/>
                      </a:moveTo>
                      <a:cubicBezTo>
                        <a:pt x="5861" y="359"/>
                        <a:pt x="5681" y="179"/>
                        <a:pt x="5562" y="0"/>
                      </a:cubicBezTo>
                      <a:cubicBezTo>
                        <a:pt x="3708" y="1734"/>
                        <a:pt x="1854" y="3409"/>
                        <a:pt x="0" y="5143"/>
                      </a:cubicBezTo>
                      <a:cubicBezTo>
                        <a:pt x="418" y="5083"/>
                        <a:pt x="897" y="4964"/>
                        <a:pt x="1316" y="4904"/>
                      </a:cubicBezTo>
                      <a:cubicBezTo>
                        <a:pt x="2871" y="3469"/>
                        <a:pt x="4486" y="2033"/>
                        <a:pt x="6041" y="53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93" name="Vrije vorm: vorm 7092">
                  <a:extLst>
                    <a:ext uri="{FF2B5EF4-FFF2-40B4-BE49-F238E27FC236}">
                      <a16:creationId xmlns:a16="http://schemas.microsoft.com/office/drawing/2014/main" id="{505D9132-2328-4A35-B177-B3227E561CA4}"/>
                    </a:ext>
                  </a:extLst>
                </p:cNvPr>
                <p:cNvSpPr/>
                <p:nvPr/>
              </p:nvSpPr>
              <p:spPr>
                <a:xfrm>
                  <a:off x="7554927" y="2448548"/>
                  <a:ext cx="6100" cy="5143"/>
                </a:xfrm>
                <a:custGeom>
                  <a:avLst/>
                  <a:gdLst>
                    <a:gd name="connsiteX0" fmla="*/ 6100 w 6100"/>
                    <a:gd name="connsiteY0" fmla="*/ 478 h 5143"/>
                    <a:gd name="connsiteX1" fmla="*/ 5562 w 6100"/>
                    <a:gd name="connsiteY1" fmla="*/ 0 h 5143"/>
                    <a:gd name="connsiteX2" fmla="*/ 0 w 6100"/>
                    <a:gd name="connsiteY2" fmla="*/ 5143 h 5143"/>
                    <a:gd name="connsiteX3" fmla="*/ 1375 w 6100"/>
                    <a:gd name="connsiteY3" fmla="*/ 4844 h 5143"/>
                    <a:gd name="connsiteX4" fmla="*/ 6100 w 6100"/>
                    <a:gd name="connsiteY4" fmla="*/ 478 h 5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00" h="5143">
                      <a:moveTo>
                        <a:pt x="6100" y="478"/>
                      </a:moveTo>
                      <a:cubicBezTo>
                        <a:pt x="5921" y="299"/>
                        <a:pt x="5741" y="120"/>
                        <a:pt x="5562" y="0"/>
                      </a:cubicBezTo>
                      <a:cubicBezTo>
                        <a:pt x="3708" y="1734"/>
                        <a:pt x="1854" y="3409"/>
                        <a:pt x="0" y="5143"/>
                      </a:cubicBezTo>
                      <a:cubicBezTo>
                        <a:pt x="478" y="5083"/>
                        <a:pt x="897" y="4964"/>
                        <a:pt x="1375" y="4844"/>
                      </a:cubicBezTo>
                      <a:cubicBezTo>
                        <a:pt x="2930" y="3349"/>
                        <a:pt x="4486" y="1914"/>
                        <a:pt x="6100" y="47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94" name="Vrije vorm: vorm 7093">
                  <a:extLst>
                    <a:ext uri="{FF2B5EF4-FFF2-40B4-BE49-F238E27FC236}">
                      <a16:creationId xmlns:a16="http://schemas.microsoft.com/office/drawing/2014/main" id="{7177ADAE-85C7-4DB4-BDD4-2D17198AD49C}"/>
                    </a:ext>
                  </a:extLst>
                </p:cNvPr>
                <p:cNvSpPr/>
                <p:nvPr/>
              </p:nvSpPr>
              <p:spPr>
                <a:xfrm>
                  <a:off x="7545119" y="2457578"/>
                  <a:ext cx="6100" cy="5083"/>
                </a:xfrm>
                <a:custGeom>
                  <a:avLst/>
                  <a:gdLst>
                    <a:gd name="connsiteX0" fmla="*/ 6100 w 6100"/>
                    <a:gd name="connsiteY0" fmla="*/ 479 h 5083"/>
                    <a:gd name="connsiteX1" fmla="*/ 5562 w 6100"/>
                    <a:gd name="connsiteY1" fmla="*/ 0 h 5083"/>
                    <a:gd name="connsiteX2" fmla="*/ 5383 w 6100"/>
                    <a:gd name="connsiteY2" fmla="*/ 120 h 5083"/>
                    <a:gd name="connsiteX3" fmla="*/ 0 w 6100"/>
                    <a:gd name="connsiteY3" fmla="*/ 5084 h 5083"/>
                    <a:gd name="connsiteX4" fmla="*/ 1375 w 6100"/>
                    <a:gd name="connsiteY4" fmla="*/ 4785 h 5083"/>
                    <a:gd name="connsiteX5" fmla="*/ 5921 w 6100"/>
                    <a:gd name="connsiteY5" fmla="*/ 598 h 5083"/>
                    <a:gd name="connsiteX6" fmla="*/ 6100 w 6100"/>
                    <a:gd name="connsiteY6" fmla="*/ 479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0" h="5083">
                      <a:moveTo>
                        <a:pt x="6100" y="479"/>
                      </a:moveTo>
                      <a:cubicBezTo>
                        <a:pt x="5921" y="299"/>
                        <a:pt x="5741" y="120"/>
                        <a:pt x="5562" y="0"/>
                      </a:cubicBezTo>
                      <a:cubicBezTo>
                        <a:pt x="5503" y="60"/>
                        <a:pt x="5443" y="120"/>
                        <a:pt x="5383" y="120"/>
                      </a:cubicBezTo>
                      <a:cubicBezTo>
                        <a:pt x="3588" y="1794"/>
                        <a:pt x="1795" y="3409"/>
                        <a:pt x="0" y="5084"/>
                      </a:cubicBezTo>
                      <a:cubicBezTo>
                        <a:pt x="478" y="4964"/>
                        <a:pt x="897" y="4904"/>
                        <a:pt x="1375" y="4785"/>
                      </a:cubicBezTo>
                      <a:cubicBezTo>
                        <a:pt x="2871" y="3409"/>
                        <a:pt x="4426" y="1974"/>
                        <a:pt x="5921" y="598"/>
                      </a:cubicBezTo>
                      <a:cubicBezTo>
                        <a:pt x="5981" y="538"/>
                        <a:pt x="6041" y="479"/>
                        <a:pt x="6100" y="479"/>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95" name="Vrije vorm: vorm 7094">
                  <a:extLst>
                    <a:ext uri="{FF2B5EF4-FFF2-40B4-BE49-F238E27FC236}">
                      <a16:creationId xmlns:a16="http://schemas.microsoft.com/office/drawing/2014/main" id="{64C35093-154F-4885-AF29-B2D792861BE5}"/>
                    </a:ext>
                  </a:extLst>
                </p:cNvPr>
                <p:cNvSpPr/>
                <p:nvPr/>
              </p:nvSpPr>
              <p:spPr>
                <a:xfrm>
                  <a:off x="7549844" y="2408716"/>
                  <a:ext cx="3110" cy="1794"/>
                </a:xfrm>
                <a:custGeom>
                  <a:avLst/>
                  <a:gdLst>
                    <a:gd name="connsiteX0" fmla="*/ 0 w 3110"/>
                    <a:gd name="connsiteY0" fmla="*/ 1794 h 1794"/>
                    <a:gd name="connsiteX1" fmla="*/ 1435 w 3110"/>
                    <a:gd name="connsiteY1" fmla="*/ 1555 h 1794"/>
                    <a:gd name="connsiteX2" fmla="*/ 2691 w 3110"/>
                    <a:gd name="connsiteY2" fmla="*/ 419 h 1794"/>
                    <a:gd name="connsiteX3" fmla="*/ 3110 w 3110"/>
                    <a:gd name="connsiteY3" fmla="*/ 0 h 1794"/>
                    <a:gd name="connsiteX4" fmla="*/ 2392 w 3110"/>
                    <a:gd name="connsiteY4" fmla="*/ 120 h 1794"/>
                    <a:gd name="connsiteX5" fmla="*/ 1674 w 3110"/>
                    <a:gd name="connsiteY5" fmla="*/ 239 h 1794"/>
                    <a:gd name="connsiteX6" fmla="*/ 0 w 3110"/>
                    <a:gd name="connsiteY6" fmla="*/ 1794 h 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0" h="1794">
                      <a:moveTo>
                        <a:pt x="0" y="1794"/>
                      </a:moveTo>
                      <a:cubicBezTo>
                        <a:pt x="478" y="1734"/>
                        <a:pt x="956" y="1615"/>
                        <a:pt x="1435" y="1555"/>
                      </a:cubicBezTo>
                      <a:cubicBezTo>
                        <a:pt x="1854" y="1196"/>
                        <a:pt x="2273" y="778"/>
                        <a:pt x="2691" y="419"/>
                      </a:cubicBezTo>
                      <a:cubicBezTo>
                        <a:pt x="2811" y="299"/>
                        <a:pt x="2990" y="179"/>
                        <a:pt x="3110" y="0"/>
                      </a:cubicBezTo>
                      <a:cubicBezTo>
                        <a:pt x="2871" y="60"/>
                        <a:pt x="2631" y="60"/>
                        <a:pt x="2392" y="120"/>
                      </a:cubicBezTo>
                      <a:cubicBezTo>
                        <a:pt x="2153" y="179"/>
                        <a:pt x="1914" y="179"/>
                        <a:pt x="1674" y="239"/>
                      </a:cubicBezTo>
                      <a:cubicBezTo>
                        <a:pt x="1136" y="718"/>
                        <a:pt x="598" y="1256"/>
                        <a:pt x="0" y="1794"/>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96" name="Vrije vorm: vorm 7095">
                  <a:extLst>
                    <a:ext uri="{FF2B5EF4-FFF2-40B4-BE49-F238E27FC236}">
                      <a16:creationId xmlns:a16="http://schemas.microsoft.com/office/drawing/2014/main" id="{4AABC2F6-72C5-4A49-80CE-1089C4E68CDF}"/>
                    </a:ext>
                  </a:extLst>
                </p:cNvPr>
                <p:cNvSpPr/>
                <p:nvPr/>
              </p:nvSpPr>
              <p:spPr>
                <a:xfrm>
                  <a:off x="7539796" y="2414457"/>
                  <a:ext cx="6280" cy="5203"/>
                </a:xfrm>
                <a:custGeom>
                  <a:avLst/>
                  <a:gdLst>
                    <a:gd name="connsiteX0" fmla="*/ 6280 w 6280"/>
                    <a:gd name="connsiteY0" fmla="*/ 598 h 5203"/>
                    <a:gd name="connsiteX1" fmla="*/ 5682 w 6280"/>
                    <a:gd name="connsiteY1" fmla="*/ 0 h 5203"/>
                    <a:gd name="connsiteX2" fmla="*/ 0 w 6280"/>
                    <a:gd name="connsiteY2" fmla="*/ 5203 h 5203"/>
                    <a:gd name="connsiteX3" fmla="*/ 1435 w 6280"/>
                    <a:gd name="connsiteY3" fmla="*/ 4964 h 5203"/>
                    <a:gd name="connsiteX4" fmla="*/ 6280 w 6280"/>
                    <a:gd name="connsiteY4" fmla="*/ 598 h 5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0" h="5203">
                      <a:moveTo>
                        <a:pt x="6280" y="598"/>
                      </a:moveTo>
                      <a:cubicBezTo>
                        <a:pt x="6100" y="419"/>
                        <a:pt x="5921" y="179"/>
                        <a:pt x="5682" y="0"/>
                      </a:cubicBezTo>
                      <a:cubicBezTo>
                        <a:pt x="3768" y="1734"/>
                        <a:pt x="1914" y="3469"/>
                        <a:pt x="0" y="5203"/>
                      </a:cubicBezTo>
                      <a:cubicBezTo>
                        <a:pt x="479" y="5084"/>
                        <a:pt x="957" y="5024"/>
                        <a:pt x="1435" y="4964"/>
                      </a:cubicBezTo>
                      <a:cubicBezTo>
                        <a:pt x="3110" y="3529"/>
                        <a:pt x="4665" y="2093"/>
                        <a:pt x="6280" y="59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97" name="Vrije vorm: vorm 7096">
                  <a:extLst>
                    <a:ext uri="{FF2B5EF4-FFF2-40B4-BE49-F238E27FC236}">
                      <a16:creationId xmlns:a16="http://schemas.microsoft.com/office/drawing/2014/main" id="{61C147B9-3AC2-4E34-9A55-CEB1DE21AF4C}"/>
                    </a:ext>
                  </a:extLst>
                </p:cNvPr>
                <p:cNvSpPr/>
                <p:nvPr/>
              </p:nvSpPr>
              <p:spPr>
                <a:xfrm>
                  <a:off x="7529749" y="2423668"/>
                  <a:ext cx="6279" cy="5203"/>
                </a:xfrm>
                <a:custGeom>
                  <a:avLst/>
                  <a:gdLst>
                    <a:gd name="connsiteX0" fmla="*/ 6279 w 6279"/>
                    <a:gd name="connsiteY0" fmla="*/ 598 h 5203"/>
                    <a:gd name="connsiteX1" fmla="*/ 5681 w 6279"/>
                    <a:gd name="connsiteY1" fmla="*/ 0 h 5203"/>
                    <a:gd name="connsiteX2" fmla="*/ 0 w 6279"/>
                    <a:gd name="connsiteY2" fmla="*/ 5203 h 5203"/>
                    <a:gd name="connsiteX3" fmla="*/ 1495 w 6279"/>
                    <a:gd name="connsiteY3" fmla="*/ 4964 h 5203"/>
                    <a:gd name="connsiteX4" fmla="*/ 6279 w 6279"/>
                    <a:gd name="connsiteY4" fmla="*/ 598 h 5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5203">
                      <a:moveTo>
                        <a:pt x="6279" y="598"/>
                      </a:moveTo>
                      <a:cubicBezTo>
                        <a:pt x="6100" y="419"/>
                        <a:pt x="5861" y="239"/>
                        <a:pt x="5681" y="0"/>
                      </a:cubicBezTo>
                      <a:cubicBezTo>
                        <a:pt x="3768" y="1734"/>
                        <a:pt x="1914" y="3469"/>
                        <a:pt x="0" y="5203"/>
                      </a:cubicBezTo>
                      <a:cubicBezTo>
                        <a:pt x="478" y="5084"/>
                        <a:pt x="956" y="5024"/>
                        <a:pt x="1495" y="4964"/>
                      </a:cubicBezTo>
                      <a:cubicBezTo>
                        <a:pt x="3109" y="3529"/>
                        <a:pt x="4724" y="2093"/>
                        <a:pt x="6279" y="598"/>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98" name="Vrije vorm: vorm 7097">
                  <a:extLst>
                    <a:ext uri="{FF2B5EF4-FFF2-40B4-BE49-F238E27FC236}">
                      <a16:creationId xmlns:a16="http://schemas.microsoft.com/office/drawing/2014/main" id="{F8F5159F-06EB-4FB0-AE25-325AD53A2D91}"/>
                    </a:ext>
                  </a:extLst>
                </p:cNvPr>
                <p:cNvSpPr/>
                <p:nvPr/>
              </p:nvSpPr>
              <p:spPr>
                <a:xfrm>
                  <a:off x="7519821" y="2432938"/>
                  <a:ext cx="6220" cy="5203"/>
                </a:xfrm>
                <a:custGeom>
                  <a:avLst/>
                  <a:gdLst>
                    <a:gd name="connsiteX0" fmla="*/ 6220 w 6220"/>
                    <a:gd name="connsiteY0" fmla="*/ 538 h 5203"/>
                    <a:gd name="connsiteX1" fmla="*/ 5622 w 6220"/>
                    <a:gd name="connsiteY1" fmla="*/ 0 h 5203"/>
                    <a:gd name="connsiteX2" fmla="*/ 3050 w 6220"/>
                    <a:gd name="connsiteY2" fmla="*/ 2392 h 5203"/>
                    <a:gd name="connsiteX3" fmla="*/ 0 w 6220"/>
                    <a:gd name="connsiteY3" fmla="*/ 5203 h 5203"/>
                    <a:gd name="connsiteX4" fmla="*/ 1495 w 6220"/>
                    <a:gd name="connsiteY4" fmla="*/ 4904 h 5203"/>
                    <a:gd name="connsiteX5" fmla="*/ 3708 w 6220"/>
                    <a:gd name="connsiteY5" fmla="*/ 2871 h 5203"/>
                    <a:gd name="connsiteX6" fmla="*/ 6220 w 6220"/>
                    <a:gd name="connsiteY6" fmla="*/ 538 h 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20" h="5203">
                      <a:moveTo>
                        <a:pt x="6220" y="538"/>
                      </a:moveTo>
                      <a:cubicBezTo>
                        <a:pt x="6041" y="359"/>
                        <a:pt x="5801" y="179"/>
                        <a:pt x="5622" y="0"/>
                      </a:cubicBezTo>
                      <a:cubicBezTo>
                        <a:pt x="4784" y="778"/>
                        <a:pt x="3888" y="1615"/>
                        <a:pt x="3050" y="2392"/>
                      </a:cubicBezTo>
                      <a:cubicBezTo>
                        <a:pt x="2033" y="3349"/>
                        <a:pt x="1017" y="4246"/>
                        <a:pt x="0" y="5203"/>
                      </a:cubicBezTo>
                      <a:cubicBezTo>
                        <a:pt x="478" y="5084"/>
                        <a:pt x="1017" y="5024"/>
                        <a:pt x="1495" y="4904"/>
                      </a:cubicBezTo>
                      <a:cubicBezTo>
                        <a:pt x="2213" y="4246"/>
                        <a:pt x="2990" y="3529"/>
                        <a:pt x="3708" y="2871"/>
                      </a:cubicBezTo>
                      <a:cubicBezTo>
                        <a:pt x="4545" y="2093"/>
                        <a:pt x="5383" y="1316"/>
                        <a:pt x="6220" y="538"/>
                      </a:cubicBezTo>
                      <a:close/>
                    </a:path>
                  </a:pathLst>
                </a:custGeom>
                <a:noFill/>
                <a:ln w="6350" cap="flat">
                  <a:solidFill>
                    <a:schemeClr val="bg1">
                      <a:alpha val="80000"/>
                    </a:schemeClr>
                  </a:solidFill>
                  <a:prstDash val="solid"/>
                  <a:miter/>
                </a:ln>
              </p:spPr>
              <p:txBody>
                <a:bodyPr rtlCol="0" anchor="ctr"/>
                <a:lstStyle/>
                <a:p>
                  <a:endParaRPr lang="en-GB"/>
                </a:p>
              </p:txBody>
            </p:sp>
          </p:grpSp>
          <p:grpSp>
            <p:nvGrpSpPr>
              <p:cNvPr id="7062" name="Graphic 3">
                <a:extLst>
                  <a:ext uri="{FF2B5EF4-FFF2-40B4-BE49-F238E27FC236}">
                    <a16:creationId xmlns:a16="http://schemas.microsoft.com/office/drawing/2014/main" id="{0FC36C45-6DBB-4FDD-A12C-A16D4AFDDCEE}"/>
                  </a:ext>
                </a:extLst>
              </p:cNvPr>
              <p:cNvGrpSpPr/>
              <p:nvPr/>
            </p:nvGrpSpPr>
            <p:grpSpPr>
              <a:xfrm>
                <a:off x="7518026" y="2407101"/>
                <a:ext cx="164111" cy="193715"/>
                <a:chOff x="7518026" y="2407101"/>
                <a:chExt cx="164111" cy="193715"/>
              </a:xfrm>
              <a:noFill/>
            </p:grpSpPr>
            <p:sp>
              <p:nvSpPr>
                <p:cNvPr id="7063" name="Vrije vorm: vorm 7062">
                  <a:extLst>
                    <a:ext uri="{FF2B5EF4-FFF2-40B4-BE49-F238E27FC236}">
                      <a16:creationId xmlns:a16="http://schemas.microsoft.com/office/drawing/2014/main" id="{5CCCCB94-7231-4292-900A-4BB512224026}"/>
                    </a:ext>
                  </a:extLst>
                </p:cNvPr>
                <p:cNvSpPr/>
                <p:nvPr/>
              </p:nvSpPr>
              <p:spPr>
                <a:xfrm>
                  <a:off x="7518206" y="2407101"/>
                  <a:ext cx="163931" cy="192878"/>
                </a:xfrm>
                <a:custGeom>
                  <a:avLst/>
                  <a:gdLst>
                    <a:gd name="connsiteX0" fmla="*/ 42403 w 163931"/>
                    <a:gd name="connsiteY0" fmla="*/ 36901 h 192878"/>
                    <a:gd name="connsiteX1" fmla="*/ 48324 w 163931"/>
                    <a:gd name="connsiteY1" fmla="*/ 31459 h 192878"/>
                    <a:gd name="connsiteX2" fmla="*/ 28349 w 163931"/>
                    <a:gd name="connsiteY2" fmla="*/ 7117 h 192878"/>
                    <a:gd name="connsiteX3" fmla="*/ 22667 w 163931"/>
                    <a:gd name="connsiteY3" fmla="*/ 12380 h 192878"/>
                    <a:gd name="connsiteX4" fmla="*/ 42403 w 163931"/>
                    <a:gd name="connsiteY4" fmla="*/ 36901 h 192878"/>
                    <a:gd name="connsiteX5" fmla="*/ 42403 w 163931"/>
                    <a:gd name="connsiteY5" fmla="*/ 36901 h 192878"/>
                    <a:gd name="connsiteX6" fmla="*/ 31937 w 163931"/>
                    <a:gd name="connsiteY6" fmla="*/ 46530 h 192878"/>
                    <a:gd name="connsiteX7" fmla="*/ 37858 w 163931"/>
                    <a:gd name="connsiteY7" fmla="*/ 41088 h 192878"/>
                    <a:gd name="connsiteX8" fmla="*/ 18301 w 163931"/>
                    <a:gd name="connsiteY8" fmla="*/ 16387 h 192878"/>
                    <a:gd name="connsiteX9" fmla="*/ 12619 w 163931"/>
                    <a:gd name="connsiteY9" fmla="*/ 21650 h 192878"/>
                    <a:gd name="connsiteX10" fmla="*/ 31937 w 163931"/>
                    <a:gd name="connsiteY10" fmla="*/ 46530 h 192878"/>
                    <a:gd name="connsiteX11" fmla="*/ 31937 w 163931"/>
                    <a:gd name="connsiteY11" fmla="*/ 46530 h 192878"/>
                    <a:gd name="connsiteX12" fmla="*/ 20574 w 163931"/>
                    <a:gd name="connsiteY12" fmla="*/ 56937 h 192878"/>
                    <a:gd name="connsiteX13" fmla="*/ 27391 w 163931"/>
                    <a:gd name="connsiteY13" fmla="*/ 50717 h 192878"/>
                    <a:gd name="connsiteX14" fmla="*/ 8253 w 163931"/>
                    <a:gd name="connsiteY14" fmla="*/ 25657 h 192878"/>
                    <a:gd name="connsiteX15" fmla="*/ 2572 w 163931"/>
                    <a:gd name="connsiteY15" fmla="*/ 30861 h 192878"/>
                    <a:gd name="connsiteX16" fmla="*/ 1196 w 163931"/>
                    <a:gd name="connsiteY16" fmla="*/ 31100 h 192878"/>
                    <a:gd name="connsiteX17" fmla="*/ 0 w 163931"/>
                    <a:gd name="connsiteY17" fmla="*/ 29485 h 192878"/>
                    <a:gd name="connsiteX18" fmla="*/ 31758 w 163931"/>
                    <a:gd name="connsiteY18" fmla="*/ 239 h 192878"/>
                    <a:gd name="connsiteX19" fmla="*/ 33133 w 163931"/>
                    <a:gd name="connsiteY19" fmla="*/ 0 h 192878"/>
                    <a:gd name="connsiteX20" fmla="*/ 34449 w 163931"/>
                    <a:gd name="connsiteY20" fmla="*/ 1555 h 192878"/>
                    <a:gd name="connsiteX21" fmla="*/ 32774 w 163931"/>
                    <a:gd name="connsiteY21" fmla="*/ 3110 h 192878"/>
                    <a:gd name="connsiteX22" fmla="*/ 52451 w 163931"/>
                    <a:gd name="connsiteY22" fmla="*/ 26674 h 192878"/>
                    <a:gd name="connsiteX23" fmla="*/ 53288 w 163931"/>
                    <a:gd name="connsiteY23" fmla="*/ 25897 h 192878"/>
                    <a:gd name="connsiteX24" fmla="*/ 54664 w 163931"/>
                    <a:gd name="connsiteY24" fmla="*/ 25657 h 192878"/>
                    <a:gd name="connsiteX25" fmla="*/ 56039 w 163931"/>
                    <a:gd name="connsiteY25" fmla="*/ 27332 h 192878"/>
                    <a:gd name="connsiteX26" fmla="*/ 54305 w 163931"/>
                    <a:gd name="connsiteY26" fmla="*/ 28947 h 192878"/>
                    <a:gd name="connsiteX27" fmla="*/ 75716 w 163931"/>
                    <a:gd name="connsiteY27" fmla="*/ 54664 h 192878"/>
                    <a:gd name="connsiteX28" fmla="*/ 76673 w 163931"/>
                    <a:gd name="connsiteY28" fmla="*/ 53767 h 192878"/>
                    <a:gd name="connsiteX29" fmla="*/ 78049 w 163931"/>
                    <a:gd name="connsiteY29" fmla="*/ 53528 h 192878"/>
                    <a:gd name="connsiteX30" fmla="*/ 79544 w 163931"/>
                    <a:gd name="connsiteY30" fmla="*/ 55322 h 192878"/>
                    <a:gd name="connsiteX31" fmla="*/ 77690 w 163931"/>
                    <a:gd name="connsiteY31" fmla="*/ 56996 h 192878"/>
                    <a:gd name="connsiteX32" fmla="*/ 101134 w 163931"/>
                    <a:gd name="connsiteY32" fmla="*/ 85166 h 192878"/>
                    <a:gd name="connsiteX33" fmla="*/ 102150 w 163931"/>
                    <a:gd name="connsiteY33" fmla="*/ 84209 h 192878"/>
                    <a:gd name="connsiteX34" fmla="*/ 103527 w 163931"/>
                    <a:gd name="connsiteY34" fmla="*/ 83969 h 192878"/>
                    <a:gd name="connsiteX35" fmla="*/ 105201 w 163931"/>
                    <a:gd name="connsiteY35" fmla="*/ 86003 h 192878"/>
                    <a:gd name="connsiteX36" fmla="*/ 103287 w 163931"/>
                    <a:gd name="connsiteY36" fmla="*/ 87797 h 192878"/>
                    <a:gd name="connsiteX37" fmla="*/ 129004 w 163931"/>
                    <a:gd name="connsiteY37" fmla="*/ 118717 h 192878"/>
                    <a:gd name="connsiteX38" fmla="*/ 130141 w 163931"/>
                    <a:gd name="connsiteY38" fmla="*/ 117701 h 192878"/>
                    <a:gd name="connsiteX39" fmla="*/ 131516 w 163931"/>
                    <a:gd name="connsiteY39" fmla="*/ 117461 h 192878"/>
                    <a:gd name="connsiteX40" fmla="*/ 133370 w 163931"/>
                    <a:gd name="connsiteY40" fmla="*/ 119674 h 192878"/>
                    <a:gd name="connsiteX41" fmla="*/ 131336 w 163931"/>
                    <a:gd name="connsiteY41" fmla="*/ 121528 h 192878"/>
                    <a:gd name="connsiteX42" fmla="*/ 159745 w 163931"/>
                    <a:gd name="connsiteY42" fmla="*/ 155678 h 192878"/>
                    <a:gd name="connsiteX43" fmla="*/ 161001 w 163931"/>
                    <a:gd name="connsiteY43" fmla="*/ 154542 h 192878"/>
                    <a:gd name="connsiteX44" fmla="*/ 162377 w 163931"/>
                    <a:gd name="connsiteY44" fmla="*/ 154303 h 192878"/>
                    <a:gd name="connsiteX45" fmla="*/ 163932 w 163931"/>
                    <a:gd name="connsiteY45" fmla="*/ 156157 h 192878"/>
                    <a:gd name="connsiteX46" fmla="*/ 124040 w 163931"/>
                    <a:gd name="connsiteY46" fmla="*/ 192878 h 192878"/>
                    <a:gd name="connsiteX47" fmla="*/ 122545 w 163931"/>
                    <a:gd name="connsiteY47" fmla="*/ 190905 h 192878"/>
                    <a:gd name="connsiteX48" fmla="*/ 129603 w 163931"/>
                    <a:gd name="connsiteY48" fmla="*/ 184386 h 192878"/>
                    <a:gd name="connsiteX49" fmla="*/ 102091 w 163931"/>
                    <a:gd name="connsiteY49" fmla="*/ 148442 h 192878"/>
                    <a:gd name="connsiteX50" fmla="*/ 95333 w 163931"/>
                    <a:gd name="connsiteY50" fmla="*/ 154662 h 192878"/>
                    <a:gd name="connsiteX51" fmla="*/ 93957 w 163931"/>
                    <a:gd name="connsiteY51" fmla="*/ 154901 h 192878"/>
                    <a:gd name="connsiteX52" fmla="*/ 92641 w 163931"/>
                    <a:gd name="connsiteY52" fmla="*/ 153166 h 192878"/>
                    <a:gd name="connsiteX53" fmla="*/ 100297 w 163931"/>
                    <a:gd name="connsiteY53" fmla="*/ 146109 h 192878"/>
                    <a:gd name="connsiteX54" fmla="*/ 75357 w 163931"/>
                    <a:gd name="connsiteY54" fmla="*/ 113454 h 192878"/>
                    <a:gd name="connsiteX55" fmla="*/ 68898 w 163931"/>
                    <a:gd name="connsiteY55" fmla="*/ 119375 h 192878"/>
                    <a:gd name="connsiteX56" fmla="*/ 67523 w 163931"/>
                    <a:gd name="connsiteY56" fmla="*/ 119614 h 192878"/>
                    <a:gd name="connsiteX57" fmla="*/ 66386 w 163931"/>
                    <a:gd name="connsiteY57" fmla="*/ 118119 h 192878"/>
                    <a:gd name="connsiteX58" fmla="*/ 73742 w 163931"/>
                    <a:gd name="connsiteY58" fmla="*/ 111361 h 192878"/>
                    <a:gd name="connsiteX59" fmla="*/ 50956 w 163931"/>
                    <a:gd name="connsiteY59" fmla="*/ 81577 h 192878"/>
                    <a:gd name="connsiteX60" fmla="*/ 44796 w 163931"/>
                    <a:gd name="connsiteY60" fmla="*/ 87259 h 192878"/>
                    <a:gd name="connsiteX61" fmla="*/ 43420 w 163931"/>
                    <a:gd name="connsiteY61" fmla="*/ 87498 h 192878"/>
                    <a:gd name="connsiteX62" fmla="*/ 42463 w 163931"/>
                    <a:gd name="connsiteY62" fmla="*/ 86182 h 192878"/>
                    <a:gd name="connsiteX63" fmla="*/ 49521 w 163931"/>
                    <a:gd name="connsiteY63" fmla="*/ 79723 h 192878"/>
                    <a:gd name="connsiteX64" fmla="*/ 28648 w 163931"/>
                    <a:gd name="connsiteY64" fmla="*/ 52451 h 192878"/>
                    <a:gd name="connsiteX65" fmla="*/ 22727 w 163931"/>
                    <a:gd name="connsiteY65" fmla="*/ 57894 h 192878"/>
                    <a:gd name="connsiteX66" fmla="*/ 21351 w 163931"/>
                    <a:gd name="connsiteY66" fmla="*/ 58133 h 192878"/>
                    <a:gd name="connsiteX67" fmla="*/ 20574 w 163931"/>
                    <a:gd name="connsiteY67" fmla="*/ 56937 h 192878"/>
                    <a:gd name="connsiteX68" fmla="*/ 20574 w 163931"/>
                    <a:gd name="connsiteY68" fmla="*/ 56937 h 192878"/>
                    <a:gd name="connsiteX69" fmla="*/ 135044 w 163931"/>
                    <a:gd name="connsiteY69" fmla="*/ 179362 h 192878"/>
                    <a:gd name="connsiteX70" fmla="*/ 142162 w 163931"/>
                    <a:gd name="connsiteY70" fmla="*/ 172783 h 192878"/>
                    <a:gd name="connsiteX71" fmla="*/ 114112 w 163931"/>
                    <a:gd name="connsiteY71" fmla="*/ 137317 h 192878"/>
                    <a:gd name="connsiteX72" fmla="*/ 107295 w 163931"/>
                    <a:gd name="connsiteY72" fmla="*/ 143597 h 192878"/>
                    <a:gd name="connsiteX73" fmla="*/ 135044 w 163931"/>
                    <a:gd name="connsiteY73" fmla="*/ 179362 h 192878"/>
                    <a:gd name="connsiteX74" fmla="*/ 135044 w 163931"/>
                    <a:gd name="connsiteY74" fmla="*/ 179362 h 192878"/>
                    <a:gd name="connsiteX75" fmla="*/ 105500 w 163931"/>
                    <a:gd name="connsiteY75" fmla="*/ 141384 h 192878"/>
                    <a:gd name="connsiteX76" fmla="*/ 112258 w 163931"/>
                    <a:gd name="connsiteY76" fmla="*/ 135164 h 192878"/>
                    <a:gd name="connsiteX77" fmla="*/ 86780 w 163931"/>
                    <a:gd name="connsiteY77" fmla="*/ 102988 h 192878"/>
                    <a:gd name="connsiteX78" fmla="*/ 80262 w 163931"/>
                    <a:gd name="connsiteY78" fmla="*/ 108969 h 192878"/>
                    <a:gd name="connsiteX79" fmla="*/ 105500 w 163931"/>
                    <a:gd name="connsiteY79" fmla="*/ 141384 h 192878"/>
                    <a:gd name="connsiteX80" fmla="*/ 105500 w 163931"/>
                    <a:gd name="connsiteY80" fmla="*/ 141384 h 192878"/>
                    <a:gd name="connsiteX81" fmla="*/ 78766 w 163931"/>
                    <a:gd name="connsiteY81" fmla="*/ 106816 h 192878"/>
                    <a:gd name="connsiteX82" fmla="*/ 85225 w 163931"/>
                    <a:gd name="connsiteY82" fmla="*/ 100835 h 192878"/>
                    <a:gd name="connsiteX83" fmla="*/ 61960 w 163931"/>
                    <a:gd name="connsiteY83" fmla="*/ 71470 h 192878"/>
                    <a:gd name="connsiteX84" fmla="*/ 55740 w 163931"/>
                    <a:gd name="connsiteY84" fmla="*/ 77211 h 192878"/>
                    <a:gd name="connsiteX85" fmla="*/ 78766 w 163931"/>
                    <a:gd name="connsiteY85" fmla="*/ 106816 h 192878"/>
                    <a:gd name="connsiteX86" fmla="*/ 78766 w 163931"/>
                    <a:gd name="connsiteY86" fmla="*/ 106816 h 192878"/>
                    <a:gd name="connsiteX87" fmla="*/ 54305 w 163931"/>
                    <a:gd name="connsiteY87" fmla="*/ 75357 h 192878"/>
                    <a:gd name="connsiteX88" fmla="*/ 60525 w 163931"/>
                    <a:gd name="connsiteY88" fmla="*/ 69676 h 192878"/>
                    <a:gd name="connsiteX89" fmla="*/ 39234 w 163931"/>
                    <a:gd name="connsiteY89" fmla="*/ 42822 h 192878"/>
                    <a:gd name="connsiteX90" fmla="*/ 33312 w 163931"/>
                    <a:gd name="connsiteY90" fmla="*/ 48264 h 192878"/>
                    <a:gd name="connsiteX91" fmla="*/ 54305 w 163931"/>
                    <a:gd name="connsiteY91" fmla="*/ 75357 h 192878"/>
                    <a:gd name="connsiteX92" fmla="*/ 54305 w 163931"/>
                    <a:gd name="connsiteY92" fmla="*/ 75357 h 192878"/>
                    <a:gd name="connsiteX93" fmla="*/ 147605 w 163931"/>
                    <a:gd name="connsiteY93" fmla="*/ 167819 h 192878"/>
                    <a:gd name="connsiteX94" fmla="*/ 154721 w 163931"/>
                    <a:gd name="connsiteY94" fmla="*/ 161240 h 192878"/>
                    <a:gd name="connsiteX95" fmla="*/ 126073 w 163931"/>
                    <a:gd name="connsiteY95" fmla="*/ 126313 h 192878"/>
                    <a:gd name="connsiteX96" fmla="*/ 119256 w 163931"/>
                    <a:gd name="connsiteY96" fmla="*/ 132593 h 192878"/>
                    <a:gd name="connsiteX97" fmla="*/ 147605 w 163931"/>
                    <a:gd name="connsiteY97" fmla="*/ 167819 h 192878"/>
                    <a:gd name="connsiteX98" fmla="*/ 147605 w 163931"/>
                    <a:gd name="connsiteY98" fmla="*/ 167819 h 192878"/>
                    <a:gd name="connsiteX99" fmla="*/ 117521 w 163931"/>
                    <a:gd name="connsiteY99" fmla="*/ 130320 h 192878"/>
                    <a:gd name="connsiteX100" fmla="*/ 124280 w 163931"/>
                    <a:gd name="connsiteY100" fmla="*/ 124100 h 192878"/>
                    <a:gd name="connsiteX101" fmla="*/ 98264 w 163931"/>
                    <a:gd name="connsiteY101" fmla="*/ 92402 h 192878"/>
                    <a:gd name="connsiteX102" fmla="*/ 91744 w 163931"/>
                    <a:gd name="connsiteY102" fmla="*/ 98383 h 192878"/>
                    <a:gd name="connsiteX103" fmla="*/ 117521 w 163931"/>
                    <a:gd name="connsiteY103" fmla="*/ 130320 h 192878"/>
                    <a:gd name="connsiteX104" fmla="*/ 117521 w 163931"/>
                    <a:gd name="connsiteY104" fmla="*/ 130320 h 192878"/>
                    <a:gd name="connsiteX105" fmla="*/ 90189 w 163931"/>
                    <a:gd name="connsiteY105" fmla="*/ 96350 h 192878"/>
                    <a:gd name="connsiteX106" fmla="*/ 96649 w 163931"/>
                    <a:gd name="connsiteY106" fmla="*/ 90369 h 192878"/>
                    <a:gd name="connsiteX107" fmla="*/ 72905 w 163931"/>
                    <a:gd name="connsiteY107" fmla="*/ 61422 h 192878"/>
                    <a:gd name="connsiteX108" fmla="*/ 66685 w 163931"/>
                    <a:gd name="connsiteY108" fmla="*/ 67104 h 192878"/>
                    <a:gd name="connsiteX109" fmla="*/ 90189 w 163931"/>
                    <a:gd name="connsiteY109" fmla="*/ 96350 h 192878"/>
                    <a:gd name="connsiteX110" fmla="*/ 90189 w 163931"/>
                    <a:gd name="connsiteY110" fmla="*/ 96350 h 192878"/>
                    <a:gd name="connsiteX111" fmla="*/ 65250 w 163931"/>
                    <a:gd name="connsiteY111" fmla="*/ 65310 h 192878"/>
                    <a:gd name="connsiteX112" fmla="*/ 71410 w 163931"/>
                    <a:gd name="connsiteY112" fmla="*/ 59628 h 192878"/>
                    <a:gd name="connsiteX113" fmla="*/ 49700 w 163931"/>
                    <a:gd name="connsiteY113" fmla="*/ 33133 h 192878"/>
                    <a:gd name="connsiteX114" fmla="*/ 43779 w 163931"/>
                    <a:gd name="connsiteY114" fmla="*/ 38576 h 192878"/>
                    <a:gd name="connsiteX115" fmla="*/ 65250 w 163931"/>
                    <a:gd name="connsiteY115" fmla="*/ 65310 h 19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63931" h="192878">
                      <a:moveTo>
                        <a:pt x="42403" y="36901"/>
                      </a:moveTo>
                      <a:lnTo>
                        <a:pt x="48324" y="31459"/>
                      </a:lnTo>
                      <a:cubicBezTo>
                        <a:pt x="41507" y="23146"/>
                        <a:pt x="34867" y="15012"/>
                        <a:pt x="28349" y="7117"/>
                      </a:cubicBezTo>
                      <a:lnTo>
                        <a:pt x="22667" y="12380"/>
                      </a:lnTo>
                      <a:cubicBezTo>
                        <a:pt x="29066" y="20335"/>
                        <a:pt x="35645" y="28528"/>
                        <a:pt x="42403" y="36901"/>
                      </a:cubicBezTo>
                      <a:lnTo>
                        <a:pt x="42403" y="36901"/>
                      </a:lnTo>
                      <a:close/>
                      <a:moveTo>
                        <a:pt x="31937" y="46530"/>
                      </a:moveTo>
                      <a:lnTo>
                        <a:pt x="37858" y="41088"/>
                      </a:lnTo>
                      <a:lnTo>
                        <a:pt x="18301" y="16387"/>
                      </a:lnTo>
                      <a:lnTo>
                        <a:pt x="12619" y="21650"/>
                      </a:lnTo>
                      <a:cubicBezTo>
                        <a:pt x="18839" y="29724"/>
                        <a:pt x="25298" y="38037"/>
                        <a:pt x="31937" y="46530"/>
                      </a:cubicBezTo>
                      <a:lnTo>
                        <a:pt x="31937" y="46530"/>
                      </a:lnTo>
                      <a:close/>
                      <a:moveTo>
                        <a:pt x="20574" y="56937"/>
                      </a:moveTo>
                      <a:lnTo>
                        <a:pt x="27391" y="50717"/>
                      </a:lnTo>
                      <a:cubicBezTo>
                        <a:pt x="20813" y="42164"/>
                        <a:pt x="14474" y="33791"/>
                        <a:pt x="8253" y="25657"/>
                      </a:cubicBezTo>
                      <a:lnTo>
                        <a:pt x="2572" y="30861"/>
                      </a:lnTo>
                      <a:lnTo>
                        <a:pt x="1196" y="31100"/>
                      </a:lnTo>
                      <a:lnTo>
                        <a:pt x="0" y="29485"/>
                      </a:lnTo>
                      <a:lnTo>
                        <a:pt x="31758" y="239"/>
                      </a:lnTo>
                      <a:lnTo>
                        <a:pt x="33133" y="0"/>
                      </a:lnTo>
                      <a:cubicBezTo>
                        <a:pt x="33552" y="479"/>
                        <a:pt x="34031" y="1017"/>
                        <a:pt x="34449" y="1555"/>
                      </a:cubicBezTo>
                      <a:lnTo>
                        <a:pt x="32774" y="3110"/>
                      </a:lnTo>
                      <a:cubicBezTo>
                        <a:pt x="39353" y="11005"/>
                        <a:pt x="45872" y="18839"/>
                        <a:pt x="52451" y="26674"/>
                      </a:cubicBezTo>
                      <a:lnTo>
                        <a:pt x="53288" y="25897"/>
                      </a:lnTo>
                      <a:lnTo>
                        <a:pt x="54664" y="25657"/>
                      </a:lnTo>
                      <a:cubicBezTo>
                        <a:pt x="55142" y="26196"/>
                        <a:pt x="55621" y="26794"/>
                        <a:pt x="56039" y="27332"/>
                      </a:cubicBezTo>
                      <a:lnTo>
                        <a:pt x="54305" y="28947"/>
                      </a:lnTo>
                      <a:cubicBezTo>
                        <a:pt x="61362" y="37439"/>
                        <a:pt x="68659" y="46291"/>
                        <a:pt x="75716" y="54664"/>
                      </a:cubicBezTo>
                      <a:lnTo>
                        <a:pt x="76673" y="53767"/>
                      </a:lnTo>
                      <a:lnTo>
                        <a:pt x="78049" y="53528"/>
                      </a:lnTo>
                      <a:cubicBezTo>
                        <a:pt x="78527" y="54126"/>
                        <a:pt x="79065" y="54724"/>
                        <a:pt x="79544" y="55322"/>
                      </a:cubicBezTo>
                      <a:lnTo>
                        <a:pt x="77690" y="56996"/>
                      </a:lnTo>
                      <a:cubicBezTo>
                        <a:pt x="85405" y="66266"/>
                        <a:pt x="93419" y="75895"/>
                        <a:pt x="101134" y="85166"/>
                      </a:cubicBezTo>
                      <a:lnTo>
                        <a:pt x="102150" y="84209"/>
                      </a:lnTo>
                      <a:lnTo>
                        <a:pt x="103527" y="83969"/>
                      </a:lnTo>
                      <a:cubicBezTo>
                        <a:pt x="104065" y="84627"/>
                        <a:pt x="104663" y="85345"/>
                        <a:pt x="105201" y="86003"/>
                      </a:cubicBezTo>
                      <a:lnTo>
                        <a:pt x="103287" y="87797"/>
                      </a:lnTo>
                      <a:cubicBezTo>
                        <a:pt x="111780" y="97964"/>
                        <a:pt x="120631" y="108610"/>
                        <a:pt x="129004" y="118717"/>
                      </a:cubicBezTo>
                      <a:lnTo>
                        <a:pt x="130141" y="117701"/>
                      </a:lnTo>
                      <a:lnTo>
                        <a:pt x="131516" y="117461"/>
                      </a:lnTo>
                      <a:cubicBezTo>
                        <a:pt x="132114" y="118179"/>
                        <a:pt x="132772" y="118957"/>
                        <a:pt x="133370" y="119674"/>
                      </a:cubicBezTo>
                      <a:lnTo>
                        <a:pt x="131336" y="121528"/>
                      </a:lnTo>
                      <a:cubicBezTo>
                        <a:pt x="140727" y="132772"/>
                        <a:pt x="150475" y="144494"/>
                        <a:pt x="159745" y="155678"/>
                      </a:cubicBezTo>
                      <a:lnTo>
                        <a:pt x="161001" y="154542"/>
                      </a:lnTo>
                      <a:lnTo>
                        <a:pt x="162377" y="154303"/>
                      </a:lnTo>
                      <a:lnTo>
                        <a:pt x="163932" y="156157"/>
                      </a:lnTo>
                      <a:lnTo>
                        <a:pt x="124040" y="192878"/>
                      </a:lnTo>
                      <a:lnTo>
                        <a:pt x="122545" y="190905"/>
                      </a:lnTo>
                      <a:lnTo>
                        <a:pt x="129603" y="184386"/>
                      </a:lnTo>
                      <a:cubicBezTo>
                        <a:pt x="120153" y="172006"/>
                        <a:pt x="111003" y="160044"/>
                        <a:pt x="102091" y="148442"/>
                      </a:cubicBezTo>
                      <a:lnTo>
                        <a:pt x="95333" y="154662"/>
                      </a:lnTo>
                      <a:lnTo>
                        <a:pt x="93957" y="154901"/>
                      </a:lnTo>
                      <a:cubicBezTo>
                        <a:pt x="93539" y="154303"/>
                        <a:pt x="93060" y="153764"/>
                        <a:pt x="92641" y="153166"/>
                      </a:cubicBezTo>
                      <a:lnTo>
                        <a:pt x="100297" y="146109"/>
                      </a:lnTo>
                      <a:cubicBezTo>
                        <a:pt x="91744" y="134925"/>
                        <a:pt x="83431" y="124040"/>
                        <a:pt x="75357" y="113454"/>
                      </a:cubicBezTo>
                      <a:lnTo>
                        <a:pt x="68898" y="119375"/>
                      </a:lnTo>
                      <a:lnTo>
                        <a:pt x="67523" y="119614"/>
                      </a:lnTo>
                      <a:lnTo>
                        <a:pt x="66386" y="118119"/>
                      </a:lnTo>
                      <a:lnTo>
                        <a:pt x="73742" y="111361"/>
                      </a:lnTo>
                      <a:cubicBezTo>
                        <a:pt x="65908" y="101134"/>
                        <a:pt x="58372" y="91206"/>
                        <a:pt x="50956" y="81577"/>
                      </a:cubicBezTo>
                      <a:lnTo>
                        <a:pt x="44796" y="87259"/>
                      </a:lnTo>
                      <a:lnTo>
                        <a:pt x="43420" y="87498"/>
                      </a:lnTo>
                      <a:lnTo>
                        <a:pt x="42463" y="86182"/>
                      </a:lnTo>
                      <a:lnTo>
                        <a:pt x="49521" y="79723"/>
                      </a:lnTo>
                      <a:cubicBezTo>
                        <a:pt x="42403" y="70393"/>
                        <a:pt x="35406" y="61302"/>
                        <a:pt x="28648" y="52451"/>
                      </a:cubicBezTo>
                      <a:lnTo>
                        <a:pt x="22727" y="57894"/>
                      </a:lnTo>
                      <a:lnTo>
                        <a:pt x="21351" y="58133"/>
                      </a:lnTo>
                      <a:lnTo>
                        <a:pt x="20574" y="56937"/>
                      </a:lnTo>
                      <a:lnTo>
                        <a:pt x="20574" y="56937"/>
                      </a:lnTo>
                      <a:close/>
                      <a:moveTo>
                        <a:pt x="135044" y="179362"/>
                      </a:moveTo>
                      <a:lnTo>
                        <a:pt x="142162" y="172783"/>
                      </a:lnTo>
                      <a:cubicBezTo>
                        <a:pt x="132473" y="160582"/>
                        <a:pt x="123143" y="148800"/>
                        <a:pt x="114112" y="137317"/>
                      </a:cubicBezTo>
                      <a:lnTo>
                        <a:pt x="107295" y="143597"/>
                      </a:lnTo>
                      <a:cubicBezTo>
                        <a:pt x="116266" y="155200"/>
                        <a:pt x="125475" y="167101"/>
                        <a:pt x="135044" y="179362"/>
                      </a:cubicBezTo>
                      <a:lnTo>
                        <a:pt x="135044" y="179362"/>
                      </a:lnTo>
                      <a:close/>
                      <a:moveTo>
                        <a:pt x="105500" y="141384"/>
                      </a:moveTo>
                      <a:lnTo>
                        <a:pt x="112258" y="135164"/>
                      </a:lnTo>
                      <a:cubicBezTo>
                        <a:pt x="103527" y="124100"/>
                        <a:pt x="95034" y="113395"/>
                        <a:pt x="86780" y="102988"/>
                      </a:cubicBezTo>
                      <a:lnTo>
                        <a:pt x="80262" y="108969"/>
                      </a:lnTo>
                      <a:cubicBezTo>
                        <a:pt x="88515" y="119435"/>
                        <a:pt x="96887" y="130200"/>
                        <a:pt x="105500" y="141384"/>
                      </a:cubicBezTo>
                      <a:lnTo>
                        <a:pt x="105500" y="141384"/>
                      </a:lnTo>
                      <a:close/>
                      <a:moveTo>
                        <a:pt x="78766" y="106816"/>
                      </a:moveTo>
                      <a:lnTo>
                        <a:pt x="85225" y="100835"/>
                      </a:lnTo>
                      <a:cubicBezTo>
                        <a:pt x="77271" y="90787"/>
                        <a:pt x="69496" y="80979"/>
                        <a:pt x="61960" y="71470"/>
                      </a:cubicBezTo>
                      <a:lnTo>
                        <a:pt x="55740" y="77211"/>
                      </a:lnTo>
                      <a:cubicBezTo>
                        <a:pt x="63216" y="86840"/>
                        <a:pt x="70871" y="96708"/>
                        <a:pt x="78766" y="106816"/>
                      </a:cubicBezTo>
                      <a:lnTo>
                        <a:pt x="78766" y="106816"/>
                      </a:lnTo>
                      <a:close/>
                      <a:moveTo>
                        <a:pt x="54305" y="75357"/>
                      </a:moveTo>
                      <a:lnTo>
                        <a:pt x="60525" y="69676"/>
                      </a:lnTo>
                      <a:cubicBezTo>
                        <a:pt x="53229" y="60465"/>
                        <a:pt x="46171" y="51494"/>
                        <a:pt x="39234" y="42822"/>
                      </a:cubicBezTo>
                      <a:lnTo>
                        <a:pt x="33312" y="48264"/>
                      </a:lnTo>
                      <a:cubicBezTo>
                        <a:pt x="40071" y="57056"/>
                        <a:pt x="47068" y="66087"/>
                        <a:pt x="54305" y="75357"/>
                      </a:cubicBezTo>
                      <a:lnTo>
                        <a:pt x="54305" y="75357"/>
                      </a:lnTo>
                      <a:close/>
                      <a:moveTo>
                        <a:pt x="147605" y="167819"/>
                      </a:moveTo>
                      <a:lnTo>
                        <a:pt x="154721" y="161240"/>
                      </a:lnTo>
                      <a:cubicBezTo>
                        <a:pt x="144853" y="149219"/>
                        <a:pt x="135344" y="137616"/>
                        <a:pt x="126073" y="126313"/>
                      </a:cubicBezTo>
                      <a:lnTo>
                        <a:pt x="119256" y="132593"/>
                      </a:lnTo>
                      <a:cubicBezTo>
                        <a:pt x="128466" y="143956"/>
                        <a:pt x="137856" y="155678"/>
                        <a:pt x="147605" y="167819"/>
                      </a:cubicBezTo>
                      <a:lnTo>
                        <a:pt x="147605" y="167819"/>
                      </a:lnTo>
                      <a:close/>
                      <a:moveTo>
                        <a:pt x="117521" y="130320"/>
                      </a:moveTo>
                      <a:lnTo>
                        <a:pt x="124280" y="124100"/>
                      </a:lnTo>
                      <a:cubicBezTo>
                        <a:pt x="115368" y="113215"/>
                        <a:pt x="106696" y="102629"/>
                        <a:pt x="98264" y="92402"/>
                      </a:cubicBezTo>
                      <a:lnTo>
                        <a:pt x="91744" y="98383"/>
                      </a:lnTo>
                      <a:cubicBezTo>
                        <a:pt x="100117" y="108730"/>
                        <a:pt x="108670" y="119375"/>
                        <a:pt x="117521" y="130320"/>
                      </a:cubicBezTo>
                      <a:lnTo>
                        <a:pt x="117521" y="130320"/>
                      </a:lnTo>
                      <a:close/>
                      <a:moveTo>
                        <a:pt x="90189" y="96350"/>
                      </a:moveTo>
                      <a:lnTo>
                        <a:pt x="96649" y="90369"/>
                      </a:lnTo>
                      <a:cubicBezTo>
                        <a:pt x="88515" y="80441"/>
                        <a:pt x="80620" y="70812"/>
                        <a:pt x="72905" y="61422"/>
                      </a:cubicBezTo>
                      <a:lnTo>
                        <a:pt x="66685" y="67104"/>
                      </a:lnTo>
                      <a:cubicBezTo>
                        <a:pt x="74341" y="76613"/>
                        <a:pt x="82115" y="86302"/>
                        <a:pt x="90189" y="96350"/>
                      </a:cubicBezTo>
                      <a:lnTo>
                        <a:pt x="90189" y="96350"/>
                      </a:lnTo>
                      <a:close/>
                      <a:moveTo>
                        <a:pt x="65250" y="65310"/>
                      </a:moveTo>
                      <a:lnTo>
                        <a:pt x="71410" y="59628"/>
                      </a:lnTo>
                      <a:cubicBezTo>
                        <a:pt x="63993" y="50537"/>
                        <a:pt x="56757" y="41746"/>
                        <a:pt x="49700" y="33133"/>
                      </a:cubicBezTo>
                      <a:lnTo>
                        <a:pt x="43779" y="38576"/>
                      </a:lnTo>
                      <a:cubicBezTo>
                        <a:pt x="50716" y="47248"/>
                        <a:pt x="57894" y="56159"/>
                        <a:pt x="65250" y="65310"/>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64" name="Vrije vorm: vorm 7063">
                  <a:extLst>
                    <a:ext uri="{FF2B5EF4-FFF2-40B4-BE49-F238E27FC236}">
                      <a16:creationId xmlns:a16="http://schemas.microsoft.com/office/drawing/2014/main" id="{581B637C-25CC-483E-BA00-BBDD8330E82D}"/>
                    </a:ext>
                  </a:extLst>
                </p:cNvPr>
                <p:cNvSpPr/>
                <p:nvPr/>
              </p:nvSpPr>
              <p:spPr>
                <a:xfrm>
                  <a:off x="7518026" y="2407340"/>
                  <a:ext cx="163094" cy="193476"/>
                </a:xfrm>
                <a:custGeom>
                  <a:avLst/>
                  <a:gdLst>
                    <a:gd name="connsiteX0" fmla="*/ 11423 w 163094"/>
                    <a:gd name="connsiteY0" fmla="*/ 21650 h 193476"/>
                    <a:gd name="connsiteX1" fmla="*/ 30741 w 163094"/>
                    <a:gd name="connsiteY1" fmla="*/ 46530 h 193476"/>
                    <a:gd name="connsiteX2" fmla="*/ 36662 w 163094"/>
                    <a:gd name="connsiteY2" fmla="*/ 41088 h 193476"/>
                    <a:gd name="connsiteX3" fmla="*/ 17105 w 163094"/>
                    <a:gd name="connsiteY3" fmla="*/ 16387 h 193476"/>
                    <a:gd name="connsiteX4" fmla="*/ 11423 w 163094"/>
                    <a:gd name="connsiteY4" fmla="*/ 21650 h 193476"/>
                    <a:gd name="connsiteX5" fmla="*/ 11423 w 163094"/>
                    <a:gd name="connsiteY5" fmla="*/ 21650 h 193476"/>
                    <a:gd name="connsiteX6" fmla="*/ 51674 w 163094"/>
                    <a:gd name="connsiteY6" fmla="*/ 27272 h 193476"/>
                    <a:gd name="connsiteX7" fmla="*/ 53408 w 163094"/>
                    <a:gd name="connsiteY7" fmla="*/ 25657 h 193476"/>
                    <a:gd name="connsiteX8" fmla="*/ 54784 w 163094"/>
                    <a:gd name="connsiteY8" fmla="*/ 27332 h 193476"/>
                    <a:gd name="connsiteX9" fmla="*/ 53049 w 163094"/>
                    <a:gd name="connsiteY9" fmla="*/ 28947 h 193476"/>
                    <a:gd name="connsiteX10" fmla="*/ 74939 w 163094"/>
                    <a:gd name="connsiteY10" fmla="*/ 55262 h 193476"/>
                    <a:gd name="connsiteX11" fmla="*/ 76793 w 163094"/>
                    <a:gd name="connsiteY11" fmla="*/ 53587 h 193476"/>
                    <a:gd name="connsiteX12" fmla="*/ 78288 w 163094"/>
                    <a:gd name="connsiteY12" fmla="*/ 55382 h 193476"/>
                    <a:gd name="connsiteX13" fmla="*/ 76434 w 163094"/>
                    <a:gd name="connsiteY13" fmla="*/ 57056 h 193476"/>
                    <a:gd name="connsiteX14" fmla="*/ 100357 w 163094"/>
                    <a:gd name="connsiteY14" fmla="*/ 85823 h 193476"/>
                    <a:gd name="connsiteX15" fmla="*/ 102270 w 163094"/>
                    <a:gd name="connsiteY15" fmla="*/ 84029 h 193476"/>
                    <a:gd name="connsiteX16" fmla="*/ 103945 w 163094"/>
                    <a:gd name="connsiteY16" fmla="*/ 86063 h 193476"/>
                    <a:gd name="connsiteX17" fmla="*/ 102031 w 163094"/>
                    <a:gd name="connsiteY17" fmla="*/ 87857 h 193476"/>
                    <a:gd name="connsiteX18" fmla="*/ 128227 w 163094"/>
                    <a:gd name="connsiteY18" fmla="*/ 119375 h 193476"/>
                    <a:gd name="connsiteX19" fmla="*/ 130260 w 163094"/>
                    <a:gd name="connsiteY19" fmla="*/ 117521 h 193476"/>
                    <a:gd name="connsiteX20" fmla="*/ 132115 w 163094"/>
                    <a:gd name="connsiteY20" fmla="*/ 119734 h 193476"/>
                    <a:gd name="connsiteX21" fmla="*/ 130081 w 163094"/>
                    <a:gd name="connsiteY21" fmla="*/ 121588 h 193476"/>
                    <a:gd name="connsiteX22" fmla="*/ 158968 w 163094"/>
                    <a:gd name="connsiteY22" fmla="*/ 156276 h 193476"/>
                    <a:gd name="connsiteX23" fmla="*/ 161061 w 163094"/>
                    <a:gd name="connsiteY23" fmla="*/ 154303 h 193476"/>
                    <a:gd name="connsiteX24" fmla="*/ 163094 w 163094"/>
                    <a:gd name="connsiteY24" fmla="*/ 156755 h 193476"/>
                    <a:gd name="connsiteX25" fmla="*/ 143119 w 163094"/>
                    <a:gd name="connsiteY25" fmla="*/ 175116 h 193476"/>
                    <a:gd name="connsiteX26" fmla="*/ 123144 w 163094"/>
                    <a:gd name="connsiteY26" fmla="*/ 193476 h 193476"/>
                    <a:gd name="connsiteX27" fmla="*/ 121229 w 163094"/>
                    <a:gd name="connsiteY27" fmla="*/ 190905 h 193476"/>
                    <a:gd name="connsiteX28" fmla="*/ 128287 w 163094"/>
                    <a:gd name="connsiteY28" fmla="*/ 184386 h 193476"/>
                    <a:gd name="connsiteX29" fmla="*/ 100775 w 163094"/>
                    <a:gd name="connsiteY29" fmla="*/ 148442 h 193476"/>
                    <a:gd name="connsiteX30" fmla="*/ 94018 w 163094"/>
                    <a:gd name="connsiteY30" fmla="*/ 154662 h 193476"/>
                    <a:gd name="connsiteX31" fmla="*/ 92283 w 163094"/>
                    <a:gd name="connsiteY31" fmla="*/ 152329 h 193476"/>
                    <a:gd name="connsiteX32" fmla="*/ 99041 w 163094"/>
                    <a:gd name="connsiteY32" fmla="*/ 146109 h 193476"/>
                    <a:gd name="connsiteX33" fmla="*/ 74101 w 163094"/>
                    <a:gd name="connsiteY33" fmla="*/ 113454 h 193476"/>
                    <a:gd name="connsiteX34" fmla="*/ 67642 w 163094"/>
                    <a:gd name="connsiteY34" fmla="*/ 119375 h 193476"/>
                    <a:gd name="connsiteX35" fmla="*/ 66087 w 163094"/>
                    <a:gd name="connsiteY35" fmla="*/ 117282 h 193476"/>
                    <a:gd name="connsiteX36" fmla="*/ 72486 w 163094"/>
                    <a:gd name="connsiteY36" fmla="*/ 111361 h 193476"/>
                    <a:gd name="connsiteX37" fmla="*/ 49700 w 163094"/>
                    <a:gd name="connsiteY37" fmla="*/ 81577 h 193476"/>
                    <a:gd name="connsiteX38" fmla="*/ 43540 w 163094"/>
                    <a:gd name="connsiteY38" fmla="*/ 87259 h 193476"/>
                    <a:gd name="connsiteX39" fmla="*/ 42105 w 163094"/>
                    <a:gd name="connsiteY39" fmla="*/ 85345 h 193476"/>
                    <a:gd name="connsiteX40" fmla="*/ 48265 w 163094"/>
                    <a:gd name="connsiteY40" fmla="*/ 79723 h 193476"/>
                    <a:gd name="connsiteX41" fmla="*/ 27392 w 163094"/>
                    <a:gd name="connsiteY41" fmla="*/ 52451 h 193476"/>
                    <a:gd name="connsiteX42" fmla="*/ 21471 w 163094"/>
                    <a:gd name="connsiteY42" fmla="*/ 57893 h 193476"/>
                    <a:gd name="connsiteX43" fmla="*/ 20155 w 163094"/>
                    <a:gd name="connsiteY43" fmla="*/ 56099 h 193476"/>
                    <a:gd name="connsiteX44" fmla="*/ 26016 w 163094"/>
                    <a:gd name="connsiteY44" fmla="*/ 50717 h 193476"/>
                    <a:gd name="connsiteX45" fmla="*/ 6878 w 163094"/>
                    <a:gd name="connsiteY45" fmla="*/ 25657 h 193476"/>
                    <a:gd name="connsiteX46" fmla="*/ 1197 w 163094"/>
                    <a:gd name="connsiteY46" fmla="*/ 30861 h 193476"/>
                    <a:gd name="connsiteX47" fmla="*/ 0 w 163094"/>
                    <a:gd name="connsiteY47" fmla="*/ 29246 h 193476"/>
                    <a:gd name="connsiteX48" fmla="*/ 31758 w 163094"/>
                    <a:gd name="connsiteY48" fmla="*/ 0 h 193476"/>
                    <a:gd name="connsiteX49" fmla="*/ 33074 w 163094"/>
                    <a:gd name="connsiteY49" fmla="*/ 1555 h 193476"/>
                    <a:gd name="connsiteX50" fmla="*/ 31399 w 163094"/>
                    <a:gd name="connsiteY50" fmla="*/ 3110 h 193476"/>
                    <a:gd name="connsiteX51" fmla="*/ 51674 w 163094"/>
                    <a:gd name="connsiteY51" fmla="*/ 27272 h 193476"/>
                    <a:gd name="connsiteX52" fmla="*/ 51674 w 163094"/>
                    <a:gd name="connsiteY52" fmla="*/ 27272 h 193476"/>
                    <a:gd name="connsiteX53" fmla="*/ 41207 w 163094"/>
                    <a:gd name="connsiteY53" fmla="*/ 36901 h 193476"/>
                    <a:gd name="connsiteX54" fmla="*/ 47128 w 163094"/>
                    <a:gd name="connsiteY54" fmla="*/ 31459 h 193476"/>
                    <a:gd name="connsiteX55" fmla="*/ 27153 w 163094"/>
                    <a:gd name="connsiteY55" fmla="*/ 7117 h 193476"/>
                    <a:gd name="connsiteX56" fmla="*/ 21471 w 163094"/>
                    <a:gd name="connsiteY56" fmla="*/ 12380 h 193476"/>
                    <a:gd name="connsiteX57" fmla="*/ 41207 w 163094"/>
                    <a:gd name="connsiteY57" fmla="*/ 36901 h 193476"/>
                    <a:gd name="connsiteX58" fmla="*/ 41207 w 163094"/>
                    <a:gd name="connsiteY58" fmla="*/ 36901 h 193476"/>
                    <a:gd name="connsiteX59" fmla="*/ 133849 w 163094"/>
                    <a:gd name="connsiteY59" fmla="*/ 179422 h 193476"/>
                    <a:gd name="connsiteX60" fmla="*/ 140966 w 163094"/>
                    <a:gd name="connsiteY60" fmla="*/ 172843 h 193476"/>
                    <a:gd name="connsiteX61" fmla="*/ 112916 w 163094"/>
                    <a:gd name="connsiteY61" fmla="*/ 137377 h 193476"/>
                    <a:gd name="connsiteX62" fmla="*/ 106098 w 163094"/>
                    <a:gd name="connsiteY62" fmla="*/ 143657 h 193476"/>
                    <a:gd name="connsiteX63" fmla="*/ 133849 w 163094"/>
                    <a:gd name="connsiteY63" fmla="*/ 179422 h 193476"/>
                    <a:gd name="connsiteX64" fmla="*/ 133849 w 163094"/>
                    <a:gd name="connsiteY64" fmla="*/ 179422 h 193476"/>
                    <a:gd name="connsiteX65" fmla="*/ 104364 w 163094"/>
                    <a:gd name="connsiteY65" fmla="*/ 141384 h 193476"/>
                    <a:gd name="connsiteX66" fmla="*/ 111122 w 163094"/>
                    <a:gd name="connsiteY66" fmla="*/ 135164 h 193476"/>
                    <a:gd name="connsiteX67" fmla="*/ 85644 w 163094"/>
                    <a:gd name="connsiteY67" fmla="*/ 102988 h 193476"/>
                    <a:gd name="connsiteX68" fmla="*/ 79125 w 163094"/>
                    <a:gd name="connsiteY68" fmla="*/ 108969 h 193476"/>
                    <a:gd name="connsiteX69" fmla="*/ 104364 w 163094"/>
                    <a:gd name="connsiteY69" fmla="*/ 141384 h 193476"/>
                    <a:gd name="connsiteX70" fmla="*/ 104364 w 163094"/>
                    <a:gd name="connsiteY70" fmla="*/ 141384 h 193476"/>
                    <a:gd name="connsiteX71" fmla="*/ 77571 w 163094"/>
                    <a:gd name="connsiteY71" fmla="*/ 106875 h 193476"/>
                    <a:gd name="connsiteX72" fmla="*/ 84029 w 163094"/>
                    <a:gd name="connsiteY72" fmla="*/ 100895 h 193476"/>
                    <a:gd name="connsiteX73" fmla="*/ 60764 w 163094"/>
                    <a:gd name="connsiteY73" fmla="*/ 71529 h 193476"/>
                    <a:gd name="connsiteX74" fmla="*/ 54544 w 163094"/>
                    <a:gd name="connsiteY74" fmla="*/ 77271 h 193476"/>
                    <a:gd name="connsiteX75" fmla="*/ 77571 w 163094"/>
                    <a:gd name="connsiteY75" fmla="*/ 106875 h 193476"/>
                    <a:gd name="connsiteX76" fmla="*/ 77571 w 163094"/>
                    <a:gd name="connsiteY76" fmla="*/ 106875 h 193476"/>
                    <a:gd name="connsiteX77" fmla="*/ 53109 w 163094"/>
                    <a:gd name="connsiteY77" fmla="*/ 75357 h 193476"/>
                    <a:gd name="connsiteX78" fmla="*/ 59329 w 163094"/>
                    <a:gd name="connsiteY78" fmla="*/ 69675 h 193476"/>
                    <a:gd name="connsiteX79" fmla="*/ 38037 w 163094"/>
                    <a:gd name="connsiteY79" fmla="*/ 42822 h 193476"/>
                    <a:gd name="connsiteX80" fmla="*/ 32116 w 163094"/>
                    <a:gd name="connsiteY80" fmla="*/ 48264 h 193476"/>
                    <a:gd name="connsiteX81" fmla="*/ 53109 w 163094"/>
                    <a:gd name="connsiteY81" fmla="*/ 75357 h 193476"/>
                    <a:gd name="connsiteX82" fmla="*/ 53109 w 163094"/>
                    <a:gd name="connsiteY82" fmla="*/ 75357 h 193476"/>
                    <a:gd name="connsiteX83" fmla="*/ 146468 w 163094"/>
                    <a:gd name="connsiteY83" fmla="*/ 167819 h 193476"/>
                    <a:gd name="connsiteX84" fmla="*/ 153585 w 163094"/>
                    <a:gd name="connsiteY84" fmla="*/ 161240 h 193476"/>
                    <a:gd name="connsiteX85" fmla="*/ 124937 w 163094"/>
                    <a:gd name="connsiteY85" fmla="*/ 126313 h 193476"/>
                    <a:gd name="connsiteX86" fmla="*/ 118119 w 163094"/>
                    <a:gd name="connsiteY86" fmla="*/ 132593 h 193476"/>
                    <a:gd name="connsiteX87" fmla="*/ 146468 w 163094"/>
                    <a:gd name="connsiteY87" fmla="*/ 167819 h 193476"/>
                    <a:gd name="connsiteX88" fmla="*/ 146468 w 163094"/>
                    <a:gd name="connsiteY88" fmla="*/ 167819 h 193476"/>
                    <a:gd name="connsiteX89" fmla="*/ 116325 w 163094"/>
                    <a:gd name="connsiteY89" fmla="*/ 130320 h 193476"/>
                    <a:gd name="connsiteX90" fmla="*/ 123084 w 163094"/>
                    <a:gd name="connsiteY90" fmla="*/ 124100 h 193476"/>
                    <a:gd name="connsiteX91" fmla="*/ 97067 w 163094"/>
                    <a:gd name="connsiteY91" fmla="*/ 92402 h 193476"/>
                    <a:gd name="connsiteX92" fmla="*/ 90548 w 163094"/>
                    <a:gd name="connsiteY92" fmla="*/ 98383 h 193476"/>
                    <a:gd name="connsiteX93" fmla="*/ 116325 w 163094"/>
                    <a:gd name="connsiteY93" fmla="*/ 130320 h 193476"/>
                    <a:gd name="connsiteX94" fmla="*/ 116325 w 163094"/>
                    <a:gd name="connsiteY94" fmla="*/ 130320 h 193476"/>
                    <a:gd name="connsiteX95" fmla="*/ 88993 w 163094"/>
                    <a:gd name="connsiteY95" fmla="*/ 96350 h 193476"/>
                    <a:gd name="connsiteX96" fmla="*/ 95453 w 163094"/>
                    <a:gd name="connsiteY96" fmla="*/ 90369 h 193476"/>
                    <a:gd name="connsiteX97" fmla="*/ 71709 w 163094"/>
                    <a:gd name="connsiteY97" fmla="*/ 61422 h 193476"/>
                    <a:gd name="connsiteX98" fmla="*/ 65489 w 163094"/>
                    <a:gd name="connsiteY98" fmla="*/ 67104 h 193476"/>
                    <a:gd name="connsiteX99" fmla="*/ 88993 w 163094"/>
                    <a:gd name="connsiteY99" fmla="*/ 96350 h 193476"/>
                    <a:gd name="connsiteX100" fmla="*/ 88993 w 163094"/>
                    <a:gd name="connsiteY100" fmla="*/ 96350 h 193476"/>
                    <a:gd name="connsiteX101" fmla="*/ 64054 w 163094"/>
                    <a:gd name="connsiteY101" fmla="*/ 65310 h 193476"/>
                    <a:gd name="connsiteX102" fmla="*/ 70214 w 163094"/>
                    <a:gd name="connsiteY102" fmla="*/ 59628 h 193476"/>
                    <a:gd name="connsiteX103" fmla="*/ 48504 w 163094"/>
                    <a:gd name="connsiteY103" fmla="*/ 33133 h 193476"/>
                    <a:gd name="connsiteX104" fmla="*/ 42583 w 163094"/>
                    <a:gd name="connsiteY104" fmla="*/ 38576 h 193476"/>
                    <a:gd name="connsiteX105" fmla="*/ 64054 w 163094"/>
                    <a:gd name="connsiteY105" fmla="*/ 65310 h 19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63094" h="193476">
                      <a:moveTo>
                        <a:pt x="11423" y="21650"/>
                      </a:moveTo>
                      <a:lnTo>
                        <a:pt x="30741" y="46530"/>
                      </a:lnTo>
                      <a:cubicBezTo>
                        <a:pt x="32715" y="44736"/>
                        <a:pt x="34688" y="42882"/>
                        <a:pt x="36662" y="41088"/>
                      </a:cubicBezTo>
                      <a:lnTo>
                        <a:pt x="17105" y="16387"/>
                      </a:lnTo>
                      <a:lnTo>
                        <a:pt x="11423" y="21650"/>
                      </a:lnTo>
                      <a:lnTo>
                        <a:pt x="11423" y="21650"/>
                      </a:lnTo>
                      <a:close/>
                      <a:moveTo>
                        <a:pt x="51674" y="27272"/>
                      </a:moveTo>
                      <a:lnTo>
                        <a:pt x="53408" y="25657"/>
                      </a:lnTo>
                      <a:cubicBezTo>
                        <a:pt x="53886" y="26196"/>
                        <a:pt x="54365" y="26794"/>
                        <a:pt x="54784" y="27332"/>
                      </a:cubicBezTo>
                      <a:lnTo>
                        <a:pt x="53049" y="28947"/>
                      </a:lnTo>
                      <a:cubicBezTo>
                        <a:pt x="60166" y="37499"/>
                        <a:pt x="67463" y="46231"/>
                        <a:pt x="74939" y="55262"/>
                      </a:cubicBezTo>
                      <a:lnTo>
                        <a:pt x="76793" y="53587"/>
                      </a:lnTo>
                      <a:cubicBezTo>
                        <a:pt x="77271" y="54185"/>
                        <a:pt x="77809" y="54783"/>
                        <a:pt x="78288" y="55382"/>
                      </a:cubicBezTo>
                      <a:lnTo>
                        <a:pt x="76434" y="57056"/>
                      </a:lnTo>
                      <a:cubicBezTo>
                        <a:pt x="84209" y="66386"/>
                        <a:pt x="92163" y="75955"/>
                        <a:pt x="100357" y="85823"/>
                      </a:cubicBezTo>
                      <a:lnTo>
                        <a:pt x="102270" y="84029"/>
                      </a:lnTo>
                      <a:cubicBezTo>
                        <a:pt x="102809" y="84687"/>
                        <a:pt x="103407" y="85405"/>
                        <a:pt x="103945" y="86063"/>
                      </a:cubicBezTo>
                      <a:lnTo>
                        <a:pt x="102031" y="87857"/>
                      </a:lnTo>
                      <a:cubicBezTo>
                        <a:pt x="110524" y="98024"/>
                        <a:pt x="119256" y="108550"/>
                        <a:pt x="128227" y="119375"/>
                      </a:cubicBezTo>
                      <a:lnTo>
                        <a:pt x="130260" y="117521"/>
                      </a:lnTo>
                      <a:cubicBezTo>
                        <a:pt x="130858" y="118239"/>
                        <a:pt x="131516" y="119016"/>
                        <a:pt x="132115" y="119734"/>
                      </a:cubicBezTo>
                      <a:lnTo>
                        <a:pt x="130081" y="121588"/>
                      </a:lnTo>
                      <a:cubicBezTo>
                        <a:pt x="139411" y="132772"/>
                        <a:pt x="149040" y="144315"/>
                        <a:pt x="158968" y="156276"/>
                      </a:cubicBezTo>
                      <a:lnTo>
                        <a:pt x="161061" y="154303"/>
                      </a:lnTo>
                      <a:cubicBezTo>
                        <a:pt x="161719" y="155080"/>
                        <a:pt x="162437" y="155917"/>
                        <a:pt x="163094" y="156755"/>
                      </a:cubicBezTo>
                      <a:cubicBezTo>
                        <a:pt x="156456" y="162855"/>
                        <a:pt x="149758" y="169015"/>
                        <a:pt x="143119" y="175116"/>
                      </a:cubicBezTo>
                      <a:cubicBezTo>
                        <a:pt x="136480" y="181216"/>
                        <a:pt x="129782" y="187376"/>
                        <a:pt x="123144" y="193476"/>
                      </a:cubicBezTo>
                      <a:cubicBezTo>
                        <a:pt x="122485" y="192579"/>
                        <a:pt x="121827" y="191742"/>
                        <a:pt x="121229" y="190905"/>
                      </a:cubicBezTo>
                      <a:lnTo>
                        <a:pt x="128287" y="184386"/>
                      </a:lnTo>
                      <a:cubicBezTo>
                        <a:pt x="118837" y="172006"/>
                        <a:pt x="109687" y="160044"/>
                        <a:pt x="100775" y="148442"/>
                      </a:cubicBezTo>
                      <a:lnTo>
                        <a:pt x="94018" y="154662"/>
                      </a:lnTo>
                      <a:cubicBezTo>
                        <a:pt x="93419" y="153884"/>
                        <a:pt x="92821" y="153107"/>
                        <a:pt x="92283" y="152329"/>
                      </a:cubicBezTo>
                      <a:lnTo>
                        <a:pt x="99041" y="146109"/>
                      </a:lnTo>
                      <a:cubicBezTo>
                        <a:pt x="90488" y="134925"/>
                        <a:pt x="82175" y="124040"/>
                        <a:pt x="74101" y="113454"/>
                      </a:cubicBezTo>
                      <a:lnTo>
                        <a:pt x="67642" y="119375"/>
                      </a:lnTo>
                      <a:cubicBezTo>
                        <a:pt x="67104" y="118657"/>
                        <a:pt x="66565" y="117940"/>
                        <a:pt x="66087" y="117282"/>
                      </a:cubicBezTo>
                      <a:lnTo>
                        <a:pt x="72486" y="111361"/>
                      </a:lnTo>
                      <a:cubicBezTo>
                        <a:pt x="64652" y="101134"/>
                        <a:pt x="57116" y="91206"/>
                        <a:pt x="49700" y="81577"/>
                      </a:cubicBezTo>
                      <a:lnTo>
                        <a:pt x="43540" y="87259"/>
                      </a:lnTo>
                      <a:cubicBezTo>
                        <a:pt x="43062" y="86661"/>
                        <a:pt x="42583" y="86003"/>
                        <a:pt x="42105" y="85345"/>
                      </a:cubicBezTo>
                      <a:lnTo>
                        <a:pt x="48265" y="79723"/>
                      </a:lnTo>
                      <a:cubicBezTo>
                        <a:pt x="41147" y="70393"/>
                        <a:pt x="34150" y="61302"/>
                        <a:pt x="27392" y="52451"/>
                      </a:cubicBezTo>
                      <a:lnTo>
                        <a:pt x="21471" y="57893"/>
                      </a:lnTo>
                      <a:cubicBezTo>
                        <a:pt x="21052" y="57295"/>
                        <a:pt x="20574" y="56697"/>
                        <a:pt x="20155" y="56099"/>
                      </a:cubicBezTo>
                      <a:lnTo>
                        <a:pt x="26016" y="50717"/>
                      </a:lnTo>
                      <a:cubicBezTo>
                        <a:pt x="19437" y="42164"/>
                        <a:pt x="13098" y="33791"/>
                        <a:pt x="6878" y="25657"/>
                      </a:cubicBezTo>
                      <a:lnTo>
                        <a:pt x="1197" y="30861"/>
                      </a:lnTo>
                      <a:cubicBezTo>
                        <a:pt x="778" y="30322"/>
                        <a:pt x="359" y="29784"/>
                        <a:pt x="0" y="29246"/>
                      </a:cubicBezTo>
                      <a:cubicBezTo>
                        <a:pt x="10586" y="19497"/>
                        <a:pt x="21172" y="9749"/>
                        <a:pt x="31758" y="0"/>
                      </a:cubicBezTo>
                      <a:cubicBezTo>
                        <a:pt x="32176" y="479"/>
                        <a:pt x="32655" y="1017"/>
                        <a:pt x="33074" y="1555"/>
                      </a:cubicBezTo>
                      <a:lnTo>
                        <a:pt x="31399" y="3110"/>
                      </a:lnTo>
                      <a:cubicBezTo>
                        <a:pt x="38097" y="10945"/>
                        <a:pt x="44796" y="19019"/>
                        <a:pt x="51674" y="27272"/>
                      </a:cubicBezTo>
                      <a:lnTo>
                        <a:pt x="51674" y="27272"/>
                      </a:lnTo>
                      <a:close/>
                      <a:moveTo>
                        <a:pt x="41207" y="36901"/>
                      </a:moveTo>
                      <a:lnTo>
                        <a:pt x="47128" y="31459"/>
                      </a:lnTo>
                      <a:cubicBezTo>
                        <a:pt x="40310" y="23145"/>
                        <a:pt x="33671" y="15012"/>
                        <a:pt x="27153" y="7117"/>
                      </a:cubicBezTo>
                      <a:lnTo>
                        <a:pt x="21471" y="12380"/>
                      </a:lnTo>
                      <a:cubicBezTo>
                        <a:pt x="27870" y="20334"/>
                        <a:pt x="34449" y="28528"/>
                        <a:pt x="41207" y="36901"/>
                      </a:cubicBezTo>
                      <a:lnTo>
                        <a:pt x="41207" y="36901"/>
                      </a:lnTo>
                      <a:close/>
                      <a:moveTo>
                        <a:pt x="133849" y="179422"/>
                      </a:moveTo>
                      <a:lnTo>
                        <a:pt x="140966" y="172843"/>
                      </a:lnTo>
                      <a:cubicBezTo>
                        <a:pt x="131277" y="160642"/>
                        <a:pt x="121947" y="148860"/>
                        <a:pt x="112916" y="137377"/>
                      </a:cubicBezTo>
                      <a:lnTo>
                        <a:pt x="106098" y="143657"/>
                      </a:lnTo>
                      <a:cubicBezTo>
                        <a:pt x="115069" y="155200"/>
                        <a:pt x="124339" y="167101"/>
                        <a:pt x="133849" y="179422"/>
                      </a:cubicBezTo>
                      <a:lnTo>
                        <a:pt x="133849" y="179422"/>
                      </a:lnTo>
                      <a:close/>
                      <a:moveTo>
                        <a:pt x="104364" y="141384"/>
                      </a:moveTo>
                      <a:lnTo>
                        <a:pt x="111122" y="135164"/>
                      </a:lnTo>
                      <a:cubicBezTo>
                        <a:pt x="102390" y="124100"/>
                        <a:pt x="93898" y="113394"/>
                        <a:pt x="85644" y="102988"/>
                      </a:cubicBezTo>
                      <a:lnTo>
                        <a:pt x="79125" y="108969"/>
                      </a:lnTo>
                      <a:cubicBezTo>
                        <a:pt x="87318" y="119435"/>
                        <a:pt x="95692" y="130260"/>
                        <a:pt x="104364" y="141384"/>
                      </a:cubicBezTo>
                      <a:lnTo>
                        <a:pt x="104364" y="141384"/>
                      </a:lnTo>
                      <a:close/>
                      <a:moveTo>
                        <a:pt x="77571" y="106875"/>
                      </a:moveTo>
                      <a:lnTo>
                        <a:pt x="84029" y="100895"/>
                      </a:lnTo>
                      <a:cubicBezTo>
                        <a:pt x="76075" y="90847"/>
                        <a:pt x="68300" y="81039"/>
                        <a:pt x="60764" y="71529"/>
                      </a:cubicBezTo>
                      <a:lnTo>
                        <a:pt x="54544" y="77271"/>
                      </a:lnTo>
                      <a:cubicBezTo>
                        <a:pt x="62020" y="86840"/>
                        <a:pt x="69676" y="96708"/>
                        <a:pt x="77571" y="106875"/>
                      </a:cubicBezTo>
                      <a:lnTo>
                        <a:pt x="77571" y="106875"/>
                      </a:lnTo>
                      <a:close/>
                      <a:moveTo>
                        <a:pt x="53109" y="75357"/>
                      </a:moveTo>
                      <a:lnTo>
                        <a:pt x="59329" y="69675"/>
                      </a:lnTo>
                      <a:cubicBezTo>
                        <a:pt x="52033" y="60465"/>
                        <a:pt x="44975" y="51494"/>
                        <a:pt x="38037" y="42822"/>
                      </a:cubicBezTo>
                      <a:lnTo>
                        <a:pt x="32116" y="48264"/>
                      </a:lnTo>
                      <a:cubicBezTo>
                        <a:pt x="38935" y="57056"/>
                        <a:pt x="45932" y="66087"/>
                        <a:pt x="53109" y="75357"/>
                      </a:cubicBezTo>
                      <a:lnTo>
                        <a:pt x="53109" y="75357"/>
                      </a:lnTo>
                      <a:close/>
                      <a:moveTo>
                        <a:pt x="146468" y="167819"/>
                      </a:moveTo>
                      <a:lnTo>
                        <a:pt x="153585" y="161240"/>
                      </a:lnTo>
                      <a:cubicBezTo>
                        <a:pt x="143717" y="149219"/>
                        <a:pt x="134208" y="137616"/>
                        <a:pt x="124937" y="126313"/>
                      </a:cubicBezTo>
                      <a:lnTo>
                        <a:pt x="118119" y="132593"/>
                      </a:lnTo>
                      <a:cubicBezTo>
                        <a:pt x="127270" y="143956"/>
                        <a:pt x="136719" y="155678"/>
                        <a:pt x="146468" y="167819"/>
                      </a:cubicBezTo>
                      <a:lnTo>
                        <a:pt x="146468" y="167819"/>
                      </a:lnTo>
                      <a:close/>
                      <a:moveTo>
                        <a:pt x="116325" y="130320"/>
                      </a:moveTo>
                      <a:lnTo>
                        <a:pt x="123084" y="124100"/>
                      </a:lnTo>
                      <a:cubicBezTo>
                        <a:pt x="114173" y="113215"/>
                        <a:pt x="105500" y="102629"/>
                        <a:pt x="97067" y="92402"/>
                      </a:cubicBezTo>
                      <a:lnTo>
                        <a:pt x="90548" y="98383"/>
                      </a:lnTo>
                      <a:cubicBezTo>
                        <a:pt x="98921" y="108729"/>
                        <a:pt x="107533" y="119375"/>
                        <a:pt x="116325" y="130320"/>
                      </a:cubicBezTo>
                      <a:lnTo>
                        <a:pt x="116325" y="130320"/>
                      </a:lnTo>
                      <a:close/>
                      <a:moveTo>
                        <a:pt x="88993" y="96350"/>
                      </a:moveTo>
                      <a:lnTo>
                        <a:pt x="95453" y="90369"/>
                      </a:lnTo>
                      <a:cubicBezTo>
                        <a:pt x="87318" y="80441"/>
                        <a:pt x="79424" y="70812"/>
                        <a:pt x="71709" y="61422"/>
                      </a:cubicBezTo>
                      <a:lnTo>
                        <a:pt x="65489" y="67104"/>
                      </a:lnTo>
                      <a:cubicBezTo>
                        <a:pt x="73144" y="76613"/>
                        <a:pt x="80919" y="86362"/>
                        <a:pt x="88993" y="96350"/>
                      </a:cubicBezTo>
                      <a:lnTo>
                        <a:pt x="88993" y="96350"/>
                      </a:lnTo>
                      <a:close/>
                      <a:moveTo>
                        <a:pt x="64054" y="65310"/>
                      </a:moveTo>
                      <a:lnTo>
                        <a:pt x="70214" y="59628"/>
                      </a:lnTo>
                      <a:cubicBezTo>
                        <a:pt x="62798" y="50537"/>
                        <a:pt x="55561" y="41746"/>
                        <a:pt x="48504" y="33133"/>
                      </a:cubicBezTo>
                      <a:lnTo>
                        <a:pt x="42583" y="38576"/>
                      </a:lnTo>
                      <a:cubicBezTo>
                        <a:pt x="49521" y="47248"/>
                        <a:pt x="56697" y="56159"/>
                        <a:pt x="64054" y="65310"/>
                      </a:cubicBezTo>
                      <a:close/>
                    </a:path>
                  </a:pathLst>
                </a:custGeom>
                <a:noFill/>
                <a:ln w="6350" cap="flat">
                  <a:solidFill>
                    <a:schemeClr val="bg1">
                      <a:alpha val="80000"/>
                    </a:schemeClr>
                  </a:solidFill>
                  <a:prstDash val="solid"/>
                  <a:miter/>
                </a:ln>
              </p:spPr>
              <p:txBody>
                <a:bodyPr rtlCol="0" anchor="ctr"/>
                <a:lstStyle/>
                <a:p>
                  <a:endParaRPr lang="en-GB"/>
                </a:p>
              </p:txBody>
            </p:sp>
            <p:sp>
              <p:nvSpPr>
                <p:cNvPr id="7065" name="Vrije vorm: vorm 7064">
                  <a:extLst>
                    <a:ext uri="{FF2B5EF4-FFF2-40B4-BE49-F238E27FC236}">
                      <a16:creationId xmlns:a16="http://schemas.microsoft.com/office/drawing/2014/main" id="{46C97117-9DE9-4B15-91CF-1C8C7B937FAE}"/>
                    </a:ext>
                  </a:extLst>
                </p:cNvPr>
                <p:cNvSpPr/>
                <p:nvPr/>
              </p:nvSpPr>
              <p:spPr>
                <a:xfrm>
                  <a:off x="7636145" y="2533653"/>
                  <a:ext cx="7297" cy="6279"/>
                </a:xfrm>
                <a:custGeom>
                  <a:avLst/>
                  <a:gdLst>
                    <a:gd name="connsiteX0" fmla="*/ 7297 w 7297"/>
                    <a:gd name="connsiteY0" fmla="*/ 598 h 6279"/>
                    <a:gd name="connsiteX1" fmla="*/ 6818 w 7297"/>
                    <a:gd name="connsiteY1" fmla="*/ 0 h 6279"/>
                    <a:gd name="connsiteX2" fmla="*/ 0 w 7297"/>
                    <a:gd name="connsiteY2" fmla="*/ 6280 h 6279"/>
                    <a:gd name="connsiteX3" fmla="*/ 1375 w 7297"/>
                    <a:gd name="connsiteY3" fmla="*/ 6041 h 6279"/>
                  </a:gdLst>
                  <a:ahLst/>
                  <a:cxnLst>
                    <a:cxn ang="0">
                      <a:pos x="connsiteX0" y="connsiteY0"/>
                    </a:cxn>
                    <a:cxn ang="0">
                      <a:pos x="connsiteX1" y="connsiteY1"/>
                    </a:cxn>
                    <a:cxn ang="0">
                      <a:pos x="connsiteX2" y="connsiteY2"/>
                    </a:cxn>
                    <a:cxn ang="0">
                      <a:pos x="connsiteX3" y="connsiteY3"/>
                    </a:cxn>
                  </a:cxnLst>
                  <a:rect l="l" t="t" r="r" b="b"/>
                  <a:pathLst>
                    <a:path w="7297" h="6279">
                      <a:moveTo>
                        <a:pt x="7297" y="598"/>
                      </a:moveTo>
                      <a:lnTo>
                        <a:pt x="6818" y="0"/>
                      </a:lnTo>
                      <a:lnTo>
                        <a:pt x="0" y="6280"/>
                      </a:lnTo>
                      <a:lnTo>
                        <a:pt x="1375" y="6041"/>
                      </a:lnTo>
                      <a:close/>
                    </a:path>
                  </a:pathLst>
                </a:custGeom>
                <a:noFill/>
                <a:ln w="6350" cap="flat">
                  <a:solidFill>
                    <a:schemeClr val="bg1">
                      <a:alpha val="80000"/>
                    </a:schemeClr>
                  </a:solidFill>
                  <a:prstDash val="solid"/>
                  <a:miter/>
                </a:ln>
              </p:spPr>
              <p:txBody>
                <a:bodyPr rtlCol="0" anchor="ctr"/>
                <a:lstStyle/>
                <a:p>
                  <a:endParaRPr lang="en-GB"/>
                </a:p>
              </p:txBody>
            </p:sp>
            <p:sp>
              <p:nvSpPr>
                <p:cNvPr id="7066" name="Vrije vorm: vorm 7065">
                  <a:extLst>
                    <a:ext uri="{FF2B5EF4-FFF2-40B4-BE49-F238E27FC236}">
                      <a16:creationId xmlns:a16="http://schemas.microsoft.com/office/drawing/2014/main" id="{DD7D8D9A-24EA-4902-9AF4-91EDF4ECDFD5}"/>
                    </a:ext>
                  </a:extLst>
                </p:cNvPr>
                <p:cNvSpPr/>
                <p:nvPr/>
              </p:nvSpPr>
              <p:spPr>
                <a:xfrm>
                  <a:off x="7624124" y="2544717"/>
                  <a:ext cx="7297" cy="6279"/>
                </a:xfrm>
                <a:custGeom>
                  <a:avLst/>
                  <a:gdLst>
                    <a:gd name="connsiteX0" fmla="*/ 7297 w 7297"/>
                    <a:gd name="connsiteY0" fmla="*/ 598 h 6279"/>
                    <a:gd name="connsiteX1" fmla="*/ 6818 w 7297"/>
                    <a:gd name="connsiteY1" fmla="*/ 0 h 6279"/>
                    <a:gd name="connsiteX2" fmla="*/ 3350 w 7297"/>
                    <a:gd name="connsiteY2" fmla="*/ 3230 h 6279"/>
                    <a:gd name="connsiteX3" fmla="*/ 0 w 7297"/>
                    <a:gd name="connsiteY3" fmla="*/ 6280 h 6279"/>
                    <a:gd name="connsiteX4" fmla="*/ 1376 w 7297"/>
                    <a:gd name="connsiteY4" fmla="*/ 6041 h 6279"/>
                    <a:gd name="connsiteX5" fmla="*/ 3828 w 7297"/>
                    <a:gd name="connsiteY5" fmla="*/ 3768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7" h="6279">
                      <a:moveTo>
                        <a:pt x="7297" y="598"/>
                      </a:moveTo>
                      <a:lnTo>
                        <a:pt x="6818" y="0"/>
                      </a:lnTo>
                      <a:lnTo>
                        <a:pt x="3350" y="3230"/>
                      </a:lnTo>
                      <a:lnTo>
                        <a:pt x="0" y="6280"/>
                      </a:lnTo>
                      <a:lnTo>
                        <a:pt x="1376" y="6041"/>
                      </a:lnTo>
                      <a:lnTo>
                        <a:pt x="3828" y="3768"/>
                      </a:lnTo>
                      <a:close/>
                    </a:path>
                  </a:pathLst>
                </a:custGeom>
                <a:noFill/>
                <a:ln w="6350" cap="flat">
                  <a:solidFill>
                    <a:schemeClr val="bg1">
                      <a:alpha val="80000"/>
                    </a:schemeClr>
                  </a:solidFill>
                  <a:prstDash val="solid"/>
                  <a:miter/>
                </a:ln>
              </p:spPr>
              <p:txBody>
                <a:bodyPr rtlCol="0" anchor="ctr"/>
                <a:lstStyle/>
                <a:p>
                  <a:endParaRPr lang="en-GB"/>
                </a:p>
              </p:txBody>
            </p:sp>
            <p:sp>
              <p:nvSpPr>
                <p:cNvPr id="7067" name="Vrije vorm: vorm 7066">
                  <a:extLst>
                    <a:ext uri="{FF2B5EF4-FFF2-40B4-BE49-F238E27FC236}">
                      <a16:creationId xmlns:a16="http://schemas.microsoft.com/office/drawing/2014/main" id="{7FBE6A6C-A0AC-4193-9D0C-B39CB9280B3E}"/>
                    </a:ext>
                  </a:extLst>
                </p:cNvPr>
                <p:cNvSpPr/>
                <p:nvPr/>
              </p:nvSpPr>
              <p:spPr>
                <a:xfrm>
                  <a:off x="7612222" y="2555782"/>
                  <a:ext cx="7177" cy="6220"/>
                </a:xfrm>
                <a:custGeom>
                  <a:avLst/>
                  <a:gdLst>
                    <a:gd name="connsiteX0" fmla="*/ 7177 w 7177"/>
                    <a:gd name="connsiteY0" fmla="*/ 598 h 6220"/>
                    <a:gd name="connsiteX1" fmla="*/ 6698 w 7177"/>
                    <a:gd name="connsiteY1" fmla="*/ 0 h 6220"/>
                    <a:gd name="connsiteX2" fmla="*/ 0 w 7177"/>
                    <a:gd name="connsiteY2" fmla="*/ 6220 h 6220"/>
                    <a:gd name="connsiteX3" fmla="*/ 1316 w 7177"/>
                    <a:gd name="connsiteY3" fmla="*/ 5981 h 6220"/>
                  </a:gdLst>
                  <a:ahLst/>
                  <a:cxnLst>
                    <a:cxn ang="0">
                      <a:pos x="connsiteX0" y="connsiteY0"/>
                    </a:cxn>
                    <a:cxn ang="0">
                      <a:pos x="connsiteX1" y="connsiteY1"/>
                    </a:cxn>
                    <a:cxn ang="0">
                      <a:pos x="connsiteX2" y="connsiteY2"/>
                    </a:cxn>
                    <a:cxn ang="0">
                      <a:pos x="connsiteX3" y="connsiteY3"/>
                    </a:cxn>
                  </a:cxnLst>
                  <a:rect l="l" t="t" r="r" b="b"/>
                  <a:pathLst>
                    <a:path w="7177" h="6220">
                      <a:moveTo>
                        <a:pt x="7177" y="598"/>
                      </a:moveTo>
                      <a:lnTo>
                        <a:pt x="6698" y="0"/>
                      </a:lnTo>
                      <a:lnTo>
                        <a:pt x="0" y="6220"/>
                      </a:lnTo>
                      <a:lnTo>
                        <a:pt x="1316" y="5981"/>
                      </a:lnTo>
                      <a:close/>
                    </a:path>
                  </a:pathLst>
                </a:custGeom>
                <a:noFill/>
                <a:ln w="6350" cap="flat">
                  <a:solidFill>
                    <a:schemeClr val="bg1">
                      <a:alpha val="80000"/>
                    </a:schemeClr>
                  </a:solidFill>
                  <a:prstDash val="solid"/>
                  <a:miter/>
                </a:ln>
              </p:spPr>
              <p:txBody>
                <a:bodyPr rtlCol="0" anchor="ctr"/>
                <a:lstStyle/>
                <a:p>
                  <a:endParaRPr lang="en-GB"/>
                </a:p>
              </p:txBody>
            </p:sp>
            <p:sp>
              <p:nvSpPr>
                <p:cNvPr id="7068" name="Vrije vorm: vorm 7067">
                  <a:extLst>
                    <a:ext uri="{FF2B5EF4-FFF2-40B4-BE49-F238E27FC236}">
                      <a16:creationId xmlns:a16="http://schemas.microsoft.com/office/drawing/2014/main" id="{BE73D6F4-C98A-492A-BC0B-1BB972B4AD50}"/>
                    </a:ext>
                  </a:extLst>
                </p:cNvPr>
                <p:cNvSpPr/>
                <p:nvPr/>
              </p:nvSpPr>
              <p:spPr>
                <a:xfrm>
                  <a:off x="7648167" y="2526775"/>
                  <a:ext cx="3409" cy="2093"/>
                </a:xfrm>
                <a:custGeom>
                  <a:avLst/>
                  <a:gdLst>
                    <a:gd name="connsiteX0" fmla="*/ 0 w 3409"/>
                    <a:gd name="connsiteY0" fmla="*/ 2093 h 2093"/>
                    <a:gd name="connsiteX1" fmla="*/ 1375 w 3409"/>
                    <a:gd name="connsiteY1" fmla="*/ 1854 h 2093"/>
                    <a:gd name="connsiteX2" fmla="*/ 3409 w 3409"/>
                    <a:gd name="connsiteY2" fmla="*/ 0 h 2093"/>
                    <a:gd name="connsiteX3" fmla="*/ 2033 w 3409"/>
                    <a:gd name="connsiteY3" fmla="*/ 239 h 2093"/>
                  </a:gdLst>
                  <a:ahLst/>
                  <a:cxnLst>
                    <a:cxn ang="0">
                      <a:pos x="connsiteX0" y="connsiteY0"/>
                    </a:cxn>
                    <a:cxn ang="0">
                      <a:pos x="connsiteX1" y="connsiteY1"/>
                    </a:cxn>
                    <a:cxn ang="0">
                      <a:pos x="connsiteX2" y="connsiteY2"/>
                    </a:cxn>
                    <a:cxn ang="0">
                      <a:pos x="connsiteX3" y="connsiteY3"/>
                    </a:cxn>
                  </a:cxnLst>
                  <a:rect l="l" t="t" r="r" b="b"/>
                  <a:pathLst>
                    <a:path w="3409" h="2093">
                      <a:moveTo>
                        <a:pt x="0" y="2093"/>
                      </a:moveTo>
                      <a:lnTo>
                        <a:pt x="1375" y="1854"/>
                      </a:lnTo>
                      <a:lnTo>
                        <a:pt x="3409" y="0"/>
                      </a:lnTo>
                      <a:lnTo>
                        <a:pt x="2033" y="239"/>
                      </a:lnTo>
                      <a:close/>
                    </a:path>
                  </a:pathLst>
                </a:custGeom>
                <a:noFill/>
                <a:ln w="6350" cap="flat">
                  <a:solidFill>
                    <a:schemeClr val="bg1">
                      <a:alpha val="80000"/>
                    </a:schemeClr>
                  </a:solidFill>
                  <a:prstDash val="solid"/>
                  <a:miter/>
                </a:ln>
              </p:spPr>
              <p:txBody>
                <a:bodyPr rtlCol="0" anchor="ctr"/>
                <a:lstStyle/>
                <a:p>
                  <a:endParaRPr lang="en-GB"/>
                </a:p>
              </p:txBody>
            </p:sp>
            <p:sp>
              <p:nvSpPr>
                <p:cNvPr id="7069" name="Vrije vorm: vorm 7068">
                  <a:extLst>
                    <a:ext uri="{FF2B5EF4-FFF2-40B4-BE49-F238E27FC236}">
                      <a16:creationId xmlns:a16="http://schemas.microsoft.com/office/drawing/2014/main" id="{A0D1FA93-9CAB-42E5-9367-F9F8F53B6218}"/>
                    </a:ext>
                  </a:extLst>
                </p:cNvPr>
                <p:cNvSpPr/>
                <p:nvPr/>
              </p:nvSpPr>
              <p:spPr>
                <a:xfrm>
                  <a:off x="7620117" y="2493164"/>
                  <a:ext cx="3288" cy="2033"/>
                </a:xfrm>
                <a:custGeom>
                  <a:avLst/>
                  <a:gdLst>
                    <a:gd name="connsiteX0" fmla="*/ 0 w 3288"/>
                    <a:gd name="connsiteY0" fmla="*/ 2033 h 2033"/>
                    <a:gd name="connsiteX1" fmla="*/ 1375 w 3288"/>
                    <a:gd name="connsiteY1" fmla="*/ 1794 h 2033"/>
                    <a:gd name="connsiteX2" fmla="*/ 3289 w 3288"/>
                    <a:gd name="connsiteY2" fmla="*/ 0 h 2033"/>
                    <a:gd name="connsiteX3" fmla="*/ 1914 w 3288"/>
                    <a:gd name="connsiteY3" fmla="*/ 239 h 2033"/>
                  </a:gdLst>
                  <a:ahLst/>
                  <a:cxnLst>
                    <a:cxn ang="0">
                      <a:pos x="connsiteX0" y="connsiteY0"/>
                    </a:cxn>
                    <a:cxn ang="0">
                      <a:pos x="connsiteX1" y="connsiteY1"/>
                    </a:cxn>
                    <a:cxn ang="0">
                      <a:pos x="connsiteX2" y="connsiteY2"/>
                    </a:cxn>
                    <a:cxn ang="0">
                      <a:pos x="connsiteX3" y="connsiteY3"/>
                    </a:cxn>
                  </a:cxnLst>
                  <a:rect l="l" t="t" r="r" b="b"/>
                  <a:pathLst>
                    <a:path w="3288" h="2033">
                      <a:moveTo>
                        <a:pt x="0" y="2033"/>
                      </a:moveTo>
                      <a:lnTo>
                        <a:pt x="1375" y="1794"/>
                      </a:lnTo>
                      <a:lnTo>
                        <a:pt x="3289" y="0"/>
                      </a:lnTo>
                      <a:lnTo>
                        <a:pt x="1914" y="239"/>
                      </a:lnTo>
                      <a:close/>
                    </a:path>
                  </a:pathLst>
                </a:custGeom>
                <a:noFill/>
                <a:ln w="6350" cap="flat">
                  <a:solidFill>
                    <a:schemeClr val="bg1">
                      <a:alpha val="80000"/>
                    </a:schemeClr>
                  </a:solidFill>
                  <a:prstDash val="solid"/>
                  <a:miter/>
                </a:ln>
              </p:spPr>
              <p:txBody>
                <a:bodyPr rtlCol="0" anchor="ctr"/>
                <a:lstStyle/>
                <a:p>
                  <a:endParaRPr lang="en-GB"/>
                </a:p>
              </p:txBody>
            </p:sp>
            <p:sp>
              <p:nvSpPr>
                <p:cNvPr id="7070" name="Vrije vorm: vorm 7069">
                  <a:extLst>
                    <a:ext uri="{FF2B5EF4-FFF2-40B4-BE49-F238E27FC236}">
                      <a16:creationId xmlns:a16="http://schemas.microsoft.com/office/drawing/2014/main" id="{751AE915-EE46-4759-9767-45D5DBE5F046}"/>
                    </a:ext>
                  </a:extLst>
                </p:cNvPr>
                <p:cNvSpPr/>
                <p:nvPr/>
              </p:nvSpPr>
              <p:spPr>
                <a:xfrm>
                  <a:off x="7608634" y="2499742"/>
                  <a:ext cx="6997" cy="5980"/>
                </a:xfrm>
                <a:custGeom>
                  <a:avLst/>
                  <a:gdLst>
                    <a:gd name="connsiteX0" fmla="*/ 6998 w 6997"/>
                    <a:gd name="connsiteY0" fmla="*/ 598 h 5980"/>
                    <a:gd name="connsiteX1" fmla="*/ 6519 w 6997"/>
                    <a:gd name="connsiteY1" fmla="*/ 0 h 5980"/>
                    <a:gd name="connsiteX2" fmla="*/ 0 w 6997"/>
                    <a:gd name="connsiteY2" fmla="*/ 5981 h 5980"/>
                    <a:gd name="connsiteX3" fmla="*/ 1375 w 6997"/>
                    <a:gd name="connsiteY3" fmla="*/ 5741 h 5980"/>
                  </a:gdLst>
                  <a:ahLst/>
                  <a:cxnLst>
                    <a:cxn ang="0">
                      <a:pos x="connsiteX0" y="connsiteY0"/>
                    </a:cxn>
                    <a:cxn ang="0">
                      <a:pos x="connsiteX1" y="connsiteY1"/>
                    </a:cxn>
                    <a:cxn ang="0">
                      <a:pos x="connsiteX2" y="connsiteY2"/>
                    </a:cxn>
                    <a:cxn ang="0">
                      <a:pos x="connsiteX3" y="connsiteY3"/>
                    </a:cxn>
                  </a:cxnLst>
                  <a:rect l="l" t="t" r="r" b="b"/>
                  <a:pathLst>
                    <a:path w="6997" h="5980">
                      <a:moveTo>
                        <a:pt x="6998" y="598"/>
                      </a:moveTo>
                      <a:lnTo>
                        <a:pt x="6519" y="0"/>
                      </a:lnTo>
                      <a:lnTo>
                        <a:pt x="0" y="5981"/>
                      </a:lnTo>
                      <a:lnTo>
                        <a:pt x="1375" y="5741"/>
                      </a:lnTo>
                      <a:close/>
                    </a:path>
                  </a:pathLst>
                </a:custGeom>
                <a:noFill/>
                <a:ln w="6350" cap="flat">
                  <a:solidFill>
                    <a:schemeClr val="bg1">
                      <a:alpha val="80000"/>
                    </a:schemeClr>
                  </a:solidFill>
                  <a:prstDash val="solid"/>
                  <a:miter/>
                </a:ln>
              </p:spPr>
              <p:txBody>
                <a:bodyPr rtlCol="0" anchor="ctr"/>
                <a:lstStyle/>
                <a:p>
                  <a:endParaRPr lang="en-GB"/>
                </a:p>
              </p:txBody>
            </p:sp>
            <p:sp>
              <p:nvSpPr>
                <p:cNvPr id="7071" name="Vrije vorm: vorm 7070">
                  <a:extLst>
                    <a:ext uri="{FF2B5EF4-FFF2-40B4-BE49-F238E27FC236}">
                      <a16:creationId xmlns:a16="http://schemas.microsoft.com/office/drawing/2014/main" id="{E631B2A7-819A-418A-888F-4DFE4A4F4EE9}"/>
                    </a:ext>
                  </a:extLst>
                </p:cNvPr>
                <p:cNvSpPr/>
                <p:nvPr/>
              </p:nvSpPr>
              <p:spPr>
                <a:xfrm>
                  <a:off x="7597211" y="2510268"/>
                  <a:ext cx="6937" cy="5980"/>
                </a:xfrm>
                <a:custGeom>
                  <a:avLst/>
                  <a:gdLst>
                    <a:gd name="connsiteX0" fmla="*/ 6938 w 6937"/>
                    <a:gd name="connsiteY0" fmla="*/ 598 h 5980"/>
                    <a:gd name="connsiteX1" fmla="*/ 6460 w 6937"/>
                    <a:gd name="connsiteY1" fmla="*/ 0 h 5980"/>
                    <a:gd name="connsiteX2" fmla="*/ 419 w 6937"/>
                    <a:gd name="connsiteY2" fmla="*/ 5622 h 5980"/>
                    <a:gd name="connsiteX3" fmla="*/ 0 w 6937"/>
                    <a:gd name="connsiteY3" fmla="*/ 5981 h 5980"/>
                    <a:gd name="connsiteX4" fmla="*/ 599 w 6937"/>
                    <a:gd name="connsiteY4" fmla="*/ 5861 h 5980"/>
                    <a:gd name="connsiteX5" fmla="*/ 1316 w 6937"/>
                    <a:gd name="connsiteY5" fmla="*/ 5742 h 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7" h="5980">
                      <a:moveTo>
                        <a:pt x="6938" y="598"/>
                      </a:moveTo>
                      <a:lnTo>
                        <a:pt x="6460" y="0"/>
                      </a:lnTo>
                      <a:lnTo>
                        <a:pt x="419" y="5622"/>
                      </a:lnTo>
                      <a:lnTo>
                        <a:pt x="0" y="5981"/>
                      </a:lnTo>
                      <a:lnTo>
                        <a:pt x="599" y="5861"/>
                      </a:lnTo>
                      <a:lnTo>
                        <a:pt x="1316" y="5742"/>
                      </a:lnTo>
                      <a:close/>
                    </a:path>
                  </a:pathLst>
                </a:custGeom>
                <a:noFill/>
                <a:ln w="6350" cap="flat">
                  <a:solidFill>
                    <a:schemeClr val="bg1">
                      <a:alpha val="80000"/>
                    </a:schemeClr>
                  </a:solidFill>
                  <a:prstDash val="solid"/>
                  <a:miter/>
                </a:ln>
              </p:spPr>
              <p:txBody>
                <a:bodyPr rtlCol="0" anchor="ctr"/>
                <a:lstStyle/>
                <a:p>
                  <a:endParaRPr lang="en-GB"/>
                </a:p>
              </p:txBody>
            </p:sp>
            <p:sp>
              <p:nvSpPr>
                <p:cNvPr id="7072" name="Vrije vorm: vorm 7071">
                  <a:extLst>
                    <a:ext uri="{FF2B5EF4-FFF2-40B4-BE49-F238E27FC236}">
                      <a16:creationId xmlns:a16="http://schemas.microsoft.com/office/drawing/2014/main" id="{0CC53FEC-CDD9-4696-B1B9-5B1552575E1C}"/>
                    </a:ext>
                  </a:extLst>
                </p:cNvPr>
                <p:cNvSpPr/>
                <p:nvPr/>
              </p:nvSpPr>
              <p:spPr>
                <a:xfrm>
                  <a:off x="7585788" y="2520854"/>
                  <a:ext cx="6877" cy="5920"/>
                </a:xfrm>
                <a:custGeom>
                  <a:avLst/>
                  <a:gdLst>
                    <a:gd name="connsiteX0" fmla="*/ 6877 w 6877"/>
                    <a:gd name="connsiteY0" fmla="*/ 538 h 5920"/>
                    <a:gd name="connsiteX1" fmla="*/ 6459 w 6877"/>
                    <a:gd name="connsiteY1" fmla="*/ 0 h 5920"/>
                    <a:gd name="connsiteX2" fmla="*/ 0 w 6877"/>
                    <a:gd name="connsiteY2" fmla="*/ 5921 h 5920"/>
                    <a:gd name="connsiteX3" fmla="*/ 1375 w 6877"/>
                    <a:gd name="connsiteY3" fmla="*/ 5682 h 5920"/>
                  </a:gdLst>
                  <a:ahLst/>
                  <a:cxnLst>
                    <a:cxn ang="0">
                      <a:pos x="connsiteX0" y="connsiteY0"/>
                    </a:cxn>
                    <a:cxn ang="0">
                      <a:pos x="connsiteX1" y="connsiteY1"/>
                    </a:cxn>
                    <a:cxn ang="0">
                      <a:pos x="connsiteX2" y="connsiteY2"/>
                    </a:cxn>
                    <a:cxn ang="0">
                      <a:pos x="connsiteX3" y="connsiteY3"/>
                    </a:cxn>
                  </a:cxnLst>
                  <a:rect l="l" t="t" r="r" b="b"/>
                  <a:pathLst>
                    <a:path w="6877" h="5920">
                      <a:moveTo>
                        <a:pt x="6877" y="538"/>
                      </a:moveTo>
                      <a:lnTo>
                        <a:pt x="6459" y="0"/>
                      </a:lnTo>
                      <a:lnTo>
                        <a:pt x="0" y="5921"/>
                      </a:lnTo>
                      <a:lnTo>
                        <a:pt x="1375" y="5682"/>
                      </a:lnTo>
                      <a:close/>
                    </a:path>
                  </a:pathLst>
                </a:custGeom>
                <a:noFill/>
                <a:ln w="6350" cap="flat">
                  <a:solidFill>
                    <a:schemeClr val="bg1">
                      <a:alpha val="80000"/>
                    </a:schemeClr>
                  </a:solidFill>
                  <a:prstDash val="solid"/>
                  <a:miter/>
                </a:ln>
              </p:spPr>
              <p:txBody>
                <a:bodyPr rtlCol="0" anchor="ctr"/>
                <a:lstStyle/>
                <a:p>
                  <a:endParaRPr lang="en-GB"/>
                </a:p>
              </p:txBody>
            </p:sp>
            <p:sp>
              <p:nvSpPr>
                <p:cNvPr id="7073" name="Vrije vorm: vorm 7072">
                  <a:extLst>
                    <a:ext uri="{FF2B5EF4-FFF2-40B4-BE49-F238E27FC236}">
                      <a16:creationId xmlns:a16="http://schemas.microsoft.com/office/drawing/2014/main" id="{CEA91116-BB2E-463E-BD16-7345B0660773}"/>
                    </a:ext>
                  </a:extLst>
                </p:cNvPr>
                <p:cNvSpPr/>
                <p:nvPr/>
              </p:nvSpPr>
              <p:spPr>
                <a:xfrm>
                  <a:off x="7594520" y="2462483"/>
                  <a:ext cx="3169" cy="1913"/>
                </a:xfrm>
                <a:custGeom>
                  <a:avLst/>
                  <a:gdLst>
                    <a:gd name="connsiteX0" fmla="*/ 0 w 3169"/>
                    <a:gd name="connsiteY0" fmla="*/ 1914 h 1913"/>
                    <a:gd name="connsiteX1" fmla="*/ 1375 w 3169"/>
                    <a:gd name="connsiteY1" fmla="*/ 1675 h 1913"/>
                    <a:gd name="connsiteX2" fmla="*/ 3170 w 3169"/>
                    <a:gd name="connsiteY2" fmla="*/ 0 h 1913"/>
                    <a:gd name="connsiteX3" fmla="*/ 1854 w 3169"/>
                    <a:gd name="connsiteY3" fmla="*/ 239 h 1913"/>
                  </a:gdLst>
                  <a:ahLst/>
                  <a:cxnLst>
                    <a:cxn ang="0">
                      <a:pos x="connsiteX0" y="connsiteY0"/>
                    </a:cxn>
                    <a:cxn ang="0">
                      <a:pos x="connsiteX1" y="connsiteY1"/>
                    </a:cxn>
                    <a:cxn ang="0">
                      <a:pos x="connsiteX2" y="connsiteY2"/>
                    </a:cxn>
                    <a:cxn ang="0">
                      <a:pos x="connsiteX3" y="connsiteY3"/>
                    </a:cxn>
                  </a:cxnLst>
                  <a:rect l="l" t="t" r="r" b="b"/>
                  <a:pathLst>
                    <a:path w="3169" h="1913">
                      <a:moveTo>
                        <a:pt x="0" y="1914"/>
                      </a:moveTo>
                      <a:lnTo>
                        <a:pt x="1375" y="1675"/>
                      </a:lnTo>
                      <a:lnTo>
                        <a:pt x="3170" y="0"/>
                      </a:lnTo>
                      <a:lnTo>
                        <a:pt x="1854" y="239"/>
                      </a:lnTo>
                      <a:close/>
                    </a:path>
                  </a:pathLst>
                </a:custGeom>
                <a:noFill/>
                <a:ln w="6350" cap="flat">
                  <a:solidFill>
                    <a:schemeClr val="bg1">
                      <a:alpha val="80000"/>
                    </a:schemeClr>
                  </a:solidFill>
                  <a:prstDash val="solid"/>
                  <a:miter/>
                </a:ln>
              </p:spPr>
              <p:txBody>
                <a:bodyPr rtlCol="0" anchor="ctr"/>
                <a:lstStyle/>
                <a:p>
                  <a:endParaRPr lang="en-GB"/>
                </a:p>
              </p:txBody>
            </p:sp>
            <p:sp>
              <p:nvSpPr>
                <p:cNvPr id="7074" name="Vrije vorm: vorm 7073">
                  <a:extLst>
                    <a:ext uri="{FF2B5EF4-FFF2-40B4-BE49-F238E27FC236}">
                      <a16:creationId xmlns:a16="http://schemas.microsoft.com/office/drawing/2014/main" id="{214F1B82-16A0-4786-8EA1-2D551DEFA72C}"/>
                    </a:ext>
                  </a:extLst>
                </p:cNvPr>
                <p:cNvSpPr/>
                <p:nvPr/>
              </p:nvSpPr>
              <p:spPr>
                <a:xfrm>
                  <a:off x="7583575" y="2468762"/>
                  <a:ext cx="6638" cy="5741"/>
                </a:xfrm>
                <a:custGeom>
                  <a:avLst/>
                  <a:gdLst>
                    <a:gd name="connsiteX0" fmla="*/ 6639 w 6638"/>
                    <a:gd name="connsiteY0" fmla="*/ 598 h 5741"/>
                    <a:gd name="connsiteX1" fmla="*/ 6160 w 6638"/>
                    <a:gd name="connsiteY1" fmla="*/ 0 h 5741"/>
                    <a:gd name="connsiteX2" fmla="*/ 0 w 6638"/>
                    <a:gd name="connsiteY2" fmla="*/ 5741 h 5741"/>
                    <a:gd name="connsiteX3" fmla="*/ 1316 w 6638"/>
                    <a:gd name="connsiteY3" fmla="*/ 5502 h 5741"/>
                  </a:gdLst>
                  <a:ahLst/>
                  <a:cxnLst>
                    <a:cxn ang="0">
                      <a:pos x="connsiteX0" y="connsiteY0"/>
                    </a:cxn>
                    <a:cxn ang="0">
                      <a:pos x="connsiteX1" y="connsiteY1"/>
                    </a:cxn>
                    <a:cxn ang="0">
                      <a:pos x="connsiteX2" y="connsiteY2"/>
                    </a:cxn>
                    <a:cxn ang="0">
                      <a:pos x="connsiteX3" y="connsiteY3"/>
                    </a:cxn>
                  </a:cxnLst>
                  <a:rect l="l" t="t" r="r" b="b"/>
                  <a:pathLst>
                    <a:path w="6638" h="5741">
                      <a:moveTo>
                        <a:pt x="6639" y="598"/>
                      </a:moveTo>
                      <a:lnTo>
                        <a:pt x="6160" y="0"/>
                      </a:lnTo>
                      <a:lnTo>
                        <a:pt x="0" y="5741"/>
                      </a:lnTo>
                      <a:lnTo>
                        <a:pt x="1316" y="5502"/>
                      </a:lnTo>
                      <a:close/>
                    </a:path>
                  </a:pathLst>
                </a:custGeom>
                <a:noFill/>
                <a:ln w="6350" cap="flat">
                  <a:solidFill>
                    <a:schemeClr val="bg1">
                      <a:alpha val="80000"/>
                    </a:schemeClr>
                  </a:solidFill>
                  <a:prstDash val="solid"/>
                  <a:miter/>
                </a:ln>
              </p:spPr>
              <p:txBody>
                <a:bodyPr rtlCol="0" anchor="ctr"/>
                <a:lstStyle/>
                <a:p>
                  <a:endParaRPr lang="en-GB"/>
                </a:p>
              </p:txBody>
            </p:sp>
            <p:sp>
              <p:nvSpPr>
                <p:cNvPr id="7075" name="Vrije vorm: vorm 7074">
                  <a:extLst>
                    <a:ext uri="{FF2B5EF4-FFF2-40B4-BE49-F238E27FC236}">
                      <a16:creationId xmlns:a16="http://schemas.microsoft.com/office/drawing/2014/main" id="{8B633A54-D183-4EA7-9EDB-C30947837A59}"/>
                    </a:ext>
                  </a:extLst>
                </p:cNvPr>
                <p:cNvSpPr/>
                <p:nvPr/>
              </p:nvSpPr>
              <p:spPr>
                <a:xfrm>
                  <a:off x="7572630" y="2478870"/>
                  <a:ext cx="6638" cy="5741"/>
                </a:xfrm>
                <a:custGeom>
                  <a:avLst/>
                  <a:gdLst>
                    <a:gd name="connsiteX0" fmla="*/ 6639 w 6638"/>
                    <a:gd name="connsiteY0" fmla="*/ 598 h 5741"/>
                    <a:gd name="connsiteX1" fmla="*/ 6160 w 6638"/>
                    <a:gd name="connsiteY1" fmla="*/ 0 h 5741"/>
                    <a:gd name="connsiteX2" fmla="*/ 0 w 6638"/>
                    <a:gd name="connsiteY2" fmla="*/ 5742 h 5741"/>
                    <a:gd name="connsiteX3" fmla="*/ 1316 w 6638"/>
                    <a:gd name="connsiteY3" fmla="*/ 5442 h 5741"/>
                  </a:gdLst>
                  <a:ahLst/>
                  <a:cxnLst>
                    <a:cxn ang="0">
                      <a:pos x="connsiteX0" y="connsiteY0"/>
                    </a:cxn>
                    <a:cxn ang="0">
                      <a:pos x="connsiteX1" y="connsiteY1"/>
                    </a:cxn>
                    <a:cxn ang="0">
                      <a:pos x="connsiteX2" y="connsiteY2"/>
                    </a:cxn>
                    <a:cxn ang="0">
                      <a:pos x="connsiteX3" y="connsiteY3"/>
                    </a:cxn>
                  </a:cxnLst>
                  <a:rect l="l" t="t" r="r" b="b"/>
                  <a:pathLst>
                    <a:path w="6638" h="5741">
                      <a:moveTo>
                        <a:pt x="6639" y="598"/>
                      </a:moveTo>
                      <a:lnTo>
                        <a:pt x="6160" y="0"/>
                      </a:lnTo>
                      <a:lnTo>
                        <a:pt x="0" y="5742"/>
                      </a:lnTo>
                      <a:lnTo>
                        <a:pt x="1316" y="5442"/>
                      </a:lnTo>
                      <a:close/>
                    </a:path>
                  </a:pathLst>
                </a:custGeom>
                <a:noFill/>
                <a:ln w="6350" cap="flat">
                  <a:solidFill>
                    <a:schemeClr val="bg1">
                      <a:alpha val="80000"/>
                    </a:schemeClr>
                  </a:solidFill>
                  <a:prstDash val="solid"/>
                  <a:miter/>
                </a:ln>
              </p:spPr>
              <p:txBody>
                <a:bodyPr rtlCol="0" anchor="ctr"/>
                <a:lstStyle/>
                <a:p>
                  <a:endParaRPr lang="en-GB"/>
                </a:p>
              </p:txBody>
            </p:sp>
            <p:sp>
              <p:nvSpPr>
                <p:cNvPr id="7076" name="Vrije vorm: vorm 7075">
                  <a:extLst>
                    <a:ext uri="{FF2B5EF4-FFF2-40B4-BE49-F238E27FC236}">
                      <a16:creationId xmlns:a16="http://schemas.microsoft.com/office/drawing/2014/main" id="{B6F42962-7146-4ACA-A509-EABC46BA0385}"/>
                    </a:ext>
                  </a:extLst>
                </p:cNvPr>
                <p:cNvSpPr/>
                <p:nvPr/>
              </p:nvSpPr>
              <p:spPr>
                <a:xfrm>
                  <a:off x="7561686" y="2488917"/>
                  <a:ext cx="6638" cy="5681"/>
                </a:xfrm>
                <a:custGeom>
                  <a:avLst/>
                  <a:gdLst>
                    <a:gd name="connsiteX0" fmla="*/ 6639 w 6638"/>
                    <a:gd name="connsiteY0" fmla="*/ 598 h 5681"/>
                    <a:gd name="connsiteX1" fmla="*/ 6160 w 6638"/>
                    <a:gd name="connsiteY1" fmla="*/ 0 h 5681"/>
                    <a:gd name="connsiteX2" fmla="*/ 0 w 6638"/>
                    <a:gd name="connsiteY2" fmla="*/ 5682 h 5681"/>
                    <a:gd name="connsiteX3" fmla="*/ 1375 w 6638"/>
                    <a:gd name="connsiteY3" fmla="*/ 5442 h 5681"/>
                  </a:gdLst>
                  <a:ahLst/>
                  <a:cxnLst>
                    <a:cxn ang="0">
                      <a:pos x="connsiteX0" y="connsiteY0"/>
                    </a:cxn>
                    <a:cxn ang="0">
                      <a:pos x="connsiteX1" y="connsiteY1"/>
                    </a:cxn>
                    <a:cxn ang="0">
                      <a:pos x="connsiteX2" y="connsiteY2"/>
                    </a:cxn>
                    <a:cxn ang="0">
                      <a:pos x="connsiteX3" y="connsiteY3"/>
                    </a:cxn>
                  </a:cxnLst>
                  <a:rect l="l" t="t" r="r" b="b"/>
                  <a:pathLst>
                    <a:path w="6638" h="5681">
                      <a:moveTo>
                        <a:pt x="6639" y="598"/>
                      </a:moveTo>
                      <a:lnTo>
                        <a:pt x="6160" y="0"/>
                      </a:lnTo>
                      <a:lnTo>
                        <a:pt x="0" y="5682"/>
                      </a:lnTo>
                      <a:lnTo>
                        <a:pt x="1375" y="5442"/>
                      </a:lnTo>
                      <a:close/>
                    </a:path>
                  </a:pathLst>
                </a:custGeom>
                <a:noFill/>
                <a:ln w="6350" cap="flat">
                  <a:solidFill>
                    <a:schemeClr val="bg1">
                      <a:alpha val="80000"/>
                    </a:schemeClr>
                  </a:solidFill>
                  <a:prstDash val="solid"/>
                  <a:miter/>
                </a:ln>
              </p:spPr>
              <p:txBody>
                <a:bodyPr rtlCol="0" anchor="ctr"/>
                <a:lstStyle/>
                <a:p>
                  <a:endParaRPr lang="en-GB"/>
                </a:p>
              </p:txBody>
            </p:sp>
            <p:sp>
              <p:nvSpPr>
                <p:cNvPr id="7077" name="Vrije vorm: vorm 7076">
                  <a:extLst>
                    <a:ext uri="{FF2B5EF4-FFF2-40B4-BE49-F238E27FC236}">
                      <a16:creationId xmlns:a16="http://schemas.microsoft.com/office/drawing/2014/main" id="{21F60EAD-56F2-464B-8413-F935A0BB27B4}"/>
                    </a:ext>
                  </a:extLst>
                </p:cNvPr>
                <p:cNvSpPr/>
                <p:nvPr/>
              </p:nvSpPr>
              <p:spPr>
                <a:xfrm>
                  <a:off x="7571075" y="2434433"/>
                  <a:ext cx="3110" cy="1854"/>
                </a:xfrm>
                <a:custGeom>
                  <a:avLst/>
                  <a:gdLst>
                    <a:gd name="connsiteX0" fmla="*/ 0 w 3110"/>
                    <a:gd name="connsiteY0" fmla="*/ 1854 h 1854"/>
                    <a:gd name="connsiteX1" fmla="*/ 1375 w 3110"/>
                    <a:gd name="connsiteY1" fmla="*/ 1615 h 1854"/>
                    <a:gd name="connsiteX2" fmla="*/ 3110 w 3110"/>
                    <a:gd name="connsiteY2" fmla="*/ 0 h 1854"/>
                    <a:gd name="connsiteX3" fmla="*/ 1795 w 3110"/>
                    <a:gd name="connsiteY3" fmla="*/ 239 h 1854"/>
                  </a:gdLst>
                  <a:ahLst/>
                  <a:cxnLst>
                    <a:cxn ang="0">
                      <a:pos x="connsiteX0" y="connsiteY0"/>
                    </a:cxn>
                    <a:cxn ang="0">
                      <a:pos x="connsiteX1" y="connsiteY1"/>
                    </a:cxn>
                    <a:cxn ang="0">
                      <a:pos x="connsiteX2" y="connsiteY2"/>
                    </a:cxn>
                    <a:cxn ang="0">
                      <a:pos x="connsiteX3" y="connsiteY3"/>
                    </a:cxn>
                  </a:cxnLst>
                  <a:rect l="l" t="t" r="r" b="b"/>
                  <a:pathLst>
                    <a:path w="3110" h="1854">
                      <a:moveTo>
                        <a:pt x="0" y="1854"/>
                      </a:moveTo>
                      <a:lnTo>
                        <a:pt x="1375" y="1615"/>
                      </a:lnTo>
                      <a:lnTo>
                        <a:pt x="3110" y="0"/>
                      </a:lnTo>
                      <a:lnTo>
                        <a:pt x="1795" y="239"/>
                      </a:lnTo>
                      <a:close/>
                    </a:path>
                  </a:pathLst>
                </a:custGeom>
                <a:noFill/>
                <a:ln w="6350" cap="flat">
                  <a:solidFill>
                    <a:schemeClr val="bg1">
                      <a:alpha val="80000"/>
                    </a:schemeClr>
                  </a:solidFill>
                  <a:prstDash val="solid"/>
                  <a:miter/>
                </a:ln>
              </p:spPr>
              <p:txBody>
                <a:bodyPr rtlCol="0" anchor="ctr"/>
                <a:lstStyle/>
                <a:p>
                  <a:endParaRPr lang="en-GB"/>
                </a:p>
              </p:txBody>
            </p:sp>
            <p:sp>
              <p:nvSpPr>
                <p:cNvPr id="7078" name="Vrije vorm: vorm 7077">
                  <a:extLst>
                    <a:ext uri="{FF2B5EF4-FFF2-40B4-BE49-F238E27FC236}">
                      <a16:creationId xmlns:a16="http://schemas.microsoft.com/office/drawing/2014/main" id="{CF89A7E9-9CD8-4E7D-A789-7E1C5DCB0206}"/>
                    </a:ext>
                  </a:extLst>
                </p:cNvPr>
                <p:cNvSpPr/>
                <p:nvPr/>
              </p:nvSpPr>
              <p:spPr>
                <a:xfrm>
                  <a:off x="7560609" y="2440474"/>
                  <a:ext cx="6399" cy="5502"/>
                </a:xfrm>
                <a:custGeom>
                  <a:avLst/>
                  <a:gdLst>
                    <a:gd name="connsiteX0" fmla="*/ 6400 w 6399"/>
                    <a:gd name="connsiteY0" fmla="*/ 598 h 5502"/>
                    <a:gd name="connsiteX1" fmla="*/ 5921 w 6399"/>
                    <a:gd name="connsiteY1" fmla="*/ 0 h 5502"/>
                    <a:gd name="connsiteX2" fmla="*/ 0 w 6399"/>
                    <a:gd name="connsiteY2" fmla="*/ 5502 h 5502"/>
                    <a:gd name="connsiteX3" fmla="*/ 1375 w 6399"/>
                    <a:gd name="connsiteY3" fmla="*/ 5203 h 5502"/>
                  </a:gdLst>
                  <a:ahLst/>
                  <a:cxnLst>
                    <a:cxn ang="0">
                      <a:pos x="connsiteX0" y="connsiteY0"/>
                    </a:cxn>
                    <a:cxn ang="0">
                      <a:pos x="connsiteX1" y="connsiteY1"/>
                    </a:cxn>
                    <a:cxn ang="0">
                      <a:pos x="connsiteX2" y="connsiteY2"/>
                    </a:cxn>
                    <a:cxn ang="0">
                      <a:pos x="connsiteX3" y="connsiteY3"/>
                    </a:cxn>
                  </a:cxnLst>
                  <a:rect l="l" t="t" r="r" b="b"/>
                  <a:pathLst>
                    <a:path w="6399" h="5502">
                      <a:moveTo>
                        <a:pt x="6400" y="598"/>
                      </a:moveTo>
                      <a:lnTo>
                        <a:pt x="5921" y="0"/>
                      </a:lnTo>
                      <a:lnTo>
                        <a:pt x="0" y="5502"/>
                      </a:lnTo>
                      <a:lnTo>
                        <a:pt x="1375" y="5203"/>
                      </a:lnTo>
                      <a:close/>
                    </a:path>
                  </a:pathLst>
                </a:custGeom>
                <a:noFill/>
                <a:ln w="6350" cap="flat">
                  <a:solidFill>
                    <a:schemeClr val="bg1">
                      <a:alpha val="80000"/>
                    </a:schemeClr>
                  </a:solidFill>
                  <a:prstDash val="solid"/>
                  <a:miter/>
                </a:ln>
              </p:spPr>
              <p:txBody>
                <a:bodyPr rtlCol="0" anchor="ctr"/>
                <a:lstStyle/>
                <a:p>
                  <a:endParaRPr lang="en-GB"/>
                </a:p>
              </p:txBody>
            </p:sp>
            <p:sp>
              <p:nvSpPr>
                <p:cNvPr id="7079" name="Vrije vorm: vorm 7078">
                  <a:extLst>
                    <a:ext uri="{FF2B5EF4-FFF2-40B4-BE49-F238E27FC236}">
                      <a16:creationId xmlns:a16="http://schemas.microsoft.com/office/drawing/2014/main" id="{5D31280E-1B00-4F88-9EA5-FB1FA8DE7FAD}"/>
                    </a:ext>
                  </a:extLst>
                </p:cNvPr>
                <p:cNvSpPr/>
                <p:nvPr/>
              </p:nvSpPr>
              <p:spPr>
                <a:xfrm>
                  <a:off x="7550083" y="2450102"/>
                  <a:ext cx="6459" cy="5502"/>
                </a:xfrm>
                <a:custGeom>
                  <a:avLst/>
                  <a:gdLst>
                    <a:gd name="connsiteX0" fmla="*/ 6460 w 6459"/>
                    <a:gd name="connsiteY0" fmla="*/ 598 h 5502"/>
                    <a:gd name="connsiteX1" fmla="*/ 5981 w 6459"/>
                    <a:gd name="connsiteY1" fmla="*/ 0 h 5502"/>
                    <a:gd name="connsiteX2" fmla="*/ 0 w 6459"/>
                    <a:gd name="connsiteY2" fmla="*/ 5502 h 5502"/>
                    <a:gd name="connsiteX3" fmla="*/ 1376 w 6459"/>
                    <a:gd name="connsiteY3" fmla="*/ 5263 h 5502"/>
                  </a:gdLst>
                  <a:ahLst/>
                  <a:cxnLst>
                    <a:cxn ang="0">
                      <a:pos x="connsiteX0" y="connsiteY0"/>
                    </a:cxn>
                    <a:cxn ang="0">
                      <a:pos x="connsiteX1" y="connsiteY1"/>
                    </a:cxn>
                    <a:cxn ang="0">
                      <a:pos x="connsiteX2" y="connsiteY2"/>
                    </a:cxn>
                    <a:cxn ang="0">
                      <a:pos x="connsiteX3" y="connsiteY3"/>
                    </a:cxn>
                  </a:cxnLst>
                  <a:rect l="l" t="t" r="r" b="b"/>
                  <a:pathLst>
                    <a:path w="6459" h="5502">
                      <a:moveTo>
                        <a:pt x="6460" y="598"/>
                      </a:moveTo>
                      <a:lnTo>
                        <a:pt x="5981" y="0"/>
                      </a:lnTo>
                      <a:lnTo>
                        <a:pt x="0" y="5502"/>
                      </a:lnTo>
                      <a:lnTo>
                        <a:pt x="1376" y="5263"/>
                      </a:lnTo>
                      <a:close/>
                    </a:path>
                  </a:pathLst>
                </a:custGeom>
                <a:noFill/>
                <a:ln w="6350" cap="flat">
                  <a:solidFill>
                    <a:schemeClr val="bg1">
                      <a:alpha val="80000"/>
                    </a:schemeClr>
                  </a:solidFill>
                  <a:prstDash val="solid"/>
                  <a:miter/>
                </a:ln>
              </p:spPr>
              <p:txBody>
                <a:bodyPr rtlCol="0" anchor="ctr"/>
                <a:lstStyle/>
                <a:p>
                  <a:endParaRPr lang="en-GB"/>
                </a:p>
              </p:txBody>
            </p:sp>
            <p:sp>
              <p:nvSpPr>
                <p:cNvPr id="7080" name="Vrije vorm: vorm 7079">
                  <a:extLst>
                    <a:ext uri="{FF2B5EF4-FFF2-40B4-BE49-F238E27FC236}">
                      <a16:creationId xmlns:a16="http://schemas.microsoft.com/office/drawing/2014/main" id="{9601E6C5-EB9C-4E36-8678-2436E8BC6F36}"/>
                    </a:ext>
                  </a:extLst>
                </p:cNvPr>
                <p:cNvSpPr/>
                <p:nvPr/>
              </p:nvSpPr>
              <p:spPr>
                <a:xfrm>
                  <a:off x="7539676" y="2459791"/>
                  <a:ext cx="6339" cy="5442"/>
                </a:xfrm>
                <a:custGeom>
                  <a:avLst/>
                  <a:gdLst>
                    <a:gd name="connsiteX0" fmla="*/ 6340 w 6339"/>
                    <a:gd name="connsiteY0" fmla="*/ 598 h 5442"/>
                    <a:gd name="connsiteX1" fmla="*/ 5921 w 6339"/>
                    <a:gd name="connsiteY1" fmla="*/ 0 h 5442"/>
                    <a:gd name="connsiteX2" fmla="*/ 5742 w 6339"/>
                    <a:gd name="connsiteY2" fmla="*/ 120 h 5442"/>
                    <a:gd name="connsiteX3" fmla="*/ 0 w 6339"/>
                    <a:gd name="connsiteY3" fmla="*/ 5442 h 5442"/>
                    <a:gd name="connsiteX4" fmla="*/ 1375 w 6339"/>
                    <a:gd name="connsiteY4" fmla="*/ 5143 h 5442"/>
                    <a:gd name="connsiteX5" fmla="*/ 6220 w 6339"/>
                    <a:gd name="connsiteY5" fmla="*/ 658 h 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9" h="5442">
                      <a:moveTo>
                        <a:pt x="6340" y="598"/>
                      </a:moveTo>
                      <a:lnTo>
                        <a:pt x="5921" y="0"/>
                      </a:lnTo>
                      <a:lnTo>
                        <a:pt x="5742" y="120"/>
                      </a:lnTo>
                      <a:lnTo>
                        <a:pt x="0" y="5442"/>
                      </a:lnTo>
                      <a:lnTo>
                        <a:pt x="1375" y="5143"/>
                      </a:lnTo>
                      <a:lnTo>
                        <a:pt x="6220" y="658"/>
                      </a:lnTo>
                      <a:close/>
                    </a:path>
                  </a:pathLst>
                </a:custGeom>
                <a:noFill/>
                <a:ln w="6350" cap="flat">
                  <a:solidFill>
                    <a:schemeClr val="bg1">
                      <a:alpha val="80000"/>
                    </a:schemeClr>
                  </a:solidFill>
                  <a:prstDash val="solid"/>
                  <a:miter/>
                </a:ln>
              </p:spPr>
              <p:txBody>
                <a:bodyPr rtlCol="0" anchor="ctr"/>
                <a:lstStyle/>
                <a:p>
                  <a:endParaRPr lang="en-GB"/>
                </a:p>
              </p:txBody>
            </p:sp>
            <p:sp>
              <p:nvSpPr>
                <p:cNvPr id="7081" name="Vrije vorm: vorm 7080">
                  <a:extLst>
                    <a:ext uri="{FF2B5EF4-FFF2-40B4-BE49-F238E27FC236}">
                      <a16:creationId xmlns:a16="http://schemas.microsoft.com/office/drawing/2014/main" id="{F1B86673-0777-4E26-B818-BB36498A1A86}"/>
                    </a:ext>
                  </a:extLst>
                </p:cNvPr>
                <p:cNvSpPr/>
                <p:nvPr/>
              </p:nvSpPr>
              <p:spPr>
                <a:xfrm>
                  <a:off x="7549604" y="2408656"/>
                  <a:ext cx="2990" cy="1794"/>
                </a:xfrm>
                <a:custGeom>
                  <a:avLst/>
                  <a:gdLst>
                    <a:gd name="connsiteX0" fmla="*/ 0 w 2990"/>
                    <a:gd name="connsiteY0" fmla="*/ 1794 h 1794"/>
                    <a:gd name="connsiteX1" fmla="*/ 1316 w 2990"/>
                    <a:gd name="connsiteY1" fmla="*/ 1555 h 1794"/>
                    <a:gd name="connsiteX2" fmla="*/ 2572 w 2990"/>
                    <a:gd name="connsiteY2" fmla="*/ 359 h 1794"/>
                    <a:gd name="connsiteX3" fmla="*/ 2990 w 2990"/>
                    <a:gd name="connsiteY3" fmla="*/ 0 h 1794"/>
                    <a:gd name="connsiteX4" fmla="*/ 2333 w 2990"/>
                    <a:gd name="connsiteY4" fmla="*/ 120 h 1794"/>
                    <a:gd name="connsiteX5" fmla="*/ 1675 w 2990"/>
                    <a:gd name="connsiteY5" fmla="*/ 239 h 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0" h="1794">
                      <a:moveTo>
                        <a:pt x="0" y="1794"/>
                      </a:moveTo>
                      <a:lnTo>
                        <a:pt x="1316" y="1555"/>
                      </a:lnTo>
                      <a:lnTo>
                        <a:pt x="2572" y="359"/>
                      </a:lnTo>
                      <a:lnTo>
                        <a:pt x="2990" y="0"/>
                      </a:lnTo>
                      <a:lnTo>
                        <a:pt x="2333" y="120"/>
                      </a:lnTo>
                      <a:lnTo>
                        <a:pt x="1675" y="239"/>
                      </a:lnTo>
                      <a:close/>
                    </a:path>
                  </a:pathLst>
                </a:custGeom>
                <a:noFill/>
                <a:ln w="6350" cap="flat">
                  <a:solidFill>
                    <a:schemeClr val="bg1">
                      <a:alpha val="80000"/>
                    </a:schemeClr>
                  </a:solidFill>
                  <a:prstDash val="solid"/>
                  <a:miter/>
                </a:ln>
              </p:spPr>
              <p:txBody>
                <a:bodyPr rtlCol="0" anchor="ctr"/>
                <a:lstStyle/>
                <a:p>
                  <a:endParaRPr lang="en-GB"/>
                </a:p>
              </p:txBody>
            </p:sp>
            <p:sp>
              <p:nvSpPr>
                <p:cNvPr id="7082" name="Vrije vorm: vorm 7081">
                  <a:extLst>
                    <a:ext uri="{FF2B5EF4-FFF2-40B4-BE49-F238E27FC236}">
                      <a16:creationId xmlns:a16="http://schemas.microsoft.com/office/drawing/2014/main" id="{15F18FA2-2200-411A-A51F-8ADDE3A99CA9}"/>
                    </a:ext>
                  </a:extLst>
                </p:cNvPr>
                <p:cNvSpPr/>
                <p:nvPr/>
              </p:nvSpPr>
              <p:spPr>
                <a:xfrm>
                  <a:off x="7539497" y="2414457"/>
                  <a:ext cx="6159" cy="5263"/>
                </a:xfrm>
                <a:custGeom>
                  <a:avLst/>
                  <a:gdLst>
                    <a:gd name="connsiteX0" fmla="*/ 6160 w 6159"/>
                    <a:gd name="connsiteY0" fmla="*/ 598 h 5263"/>
                    <a:gd name="connsiteX1" fmla="*/ 5741 w 6159"/>
                    <a:gd name="connsiteY1" fmla="*/ 0 h 5263"/>
                    <a:gd name="connsiteX2" fmla="*/ 0 w 6159"/>
                    <a:gd name="connsiteY2" fmla="*/ 5263 h 5263"/>
                    <a:gd name="connsiteX3" fmla="*/ 1375 w 6159"/>
                    <a:gd name="connsiteY3" fmla="*/ 5024 h 5263"/>
                  </a:gdLst>
                  <a:ahLst/>
                  <a:cxnLst>
                    <a:cxn ang="0">
                      <a:pos x="connsiteX0" y="connsiteY0"/>
                    </a:cxn>
                    <a:cxn ang="0">
                      <a:pos x="connsiteX1" y="connsiteY1"/>
                    </a:cxn>
                    <a:cxn ang="0">
                      <a:pos x="connsiteX2" y="connsiteY2"/>
                    </a:cxn>
                    <a:cxn ang="0">
                      <a:pos x="connsiteX3" y="connsiteY3"/>
                    </a:cxn>
                  </a:cxnLst>
                  <a:rect l="l" t="t" r="r" b="b"/>
                  <a:pathLst>
                    <a:path w="6159" h="5263">
                      <a:moveTo>
                        <a:pt x="6160" y="598"/>
                      </a:moveTo>
                      <a:lnTo>
                        <a:pt x="5741" y="0"/>
                      </a:lnTo>
                      <a:lnTo>
                        <a:pt x="0" y="5263"/>
                      </a:lnTo>
                      <a:lnTo>
                        <a:pt x="1375" y="5024"/>
                      </a:lnTo>
                      <a:close/>
                    </a:path>
                  </a:pathLst>
                </a:custGeom>
                <a:noFill/>
                <a:ln w="6350" cap="flat">
                  <a:solidFill>
                    <a:schemeClr val="bg1">
                      <a:alpha val="80000"/>
                    </a:schemeClr>
                  </a:solidFill>
                  <a:prstDash val="solid"/>
                  <a:miter/>
                </a:ln>
              </p:spPr>
              <p:txBody>
                <a:bodyPr rtlCol="0" anchor="ctr"/>
                <a:lstStyle/>
                <a:p>
                  <a:endParaRPr lang="en-GB"/>
                </a:p>
              </p:txBody>
            </p:sp>
            <p:sp>
              <p:nvSpPr>
                <p:cNvPr id="7083" name="Vrije vorm: vorm 7082">
                  <a:extLst>
                    <a:ext uri="{FF2B5EF4-FFF2-40B4-BE49-F238E27FC236}">
                      <a16:creationId xmlns:a16="http://schemas.microsoft.com/office/drawing/2014/main" id="{30010AE8-55CC-4A75-97C7-AD1006F53123}"/>
                    </a:ext>
                  </a:extLst>
                </p:cNvPr>
                <p:cNvSpPr/>
                <p:nvPr/>
              </p:nvSpPr>
              <p:spPr>
                <a:xfrm>
                  <a:off x="7529449" y="2423727"/>
                  <a:ext cx="6160" cy="5263"/>
                </a:xfrm>
                <a:custGeom>
                  <a:avLst/>
                  <a:gdLst>
                    <a:gd name="connsiteX0" fmla="*/ 6160 w 6160"/>
                    <a:gd name="connsiteY0" fmla="*/ 538 h 5263"/>
                    <a:gd name="connsiteX1" fmla="*/ 5681 w 6160"/>
                    <a:gd name="connsiteY1" fmla="*/ 0 h 5263"/>
                    <a:gd name="connsiteX2" fmla="*/ 0 w 6160"/>
                    <a:gd name="connsiteY2" fmla="*/ 5263 h 5263"/>
                    <a:gd name="connsiteX3" fmla="*/ 1375 w 6160"/>
                    <a:gd name="connsiteY3" fmla="*/ 4964 h 5263"/>
                  </a:gdLst>
                  <a:ahLst/>
                  <a:cxnLst>
                    <a:cxn ang="0">
                      <a:pos x="connsiteX0" y="connsiteY0"/>
                    </a:cxn>
                    <a:cxn ang="0">
                      <a:pos x="connsiteX1" y="connsiteY1"/>
                    </a:cxn>
                    <a:cxn ang="0">
                      <a:pos x="connsiteX2" y="connsiteY2"/>
                    </a:cxn>
                    <a:cxn ang="0">
                      <a:pos x="connsiteX3" y="connsiteY3"/>
                    </a:cxn>
                  </a:cxnLst>
                  <a:rect l="l" t="t" r="r" b="b"/>
                  <a:pathLst>
                    <a:path w="6160" h="5263">
                      <a:moveTo>
                        <a:pt x="6160" y="538"/>
                      </a:moveTo>
                      <a:lnTo>
                        <a:pt x="5681" y="0"/>
                      </a:lnTo>
                      <a:lnTo>
                        <a:pt x="0" y="5263"/>
                      </a:lnTo>
                      <a:lnTo>
                        <a:pt x="1375" y="4964"/>
                      </a:lnTo>
                      <a:close/>
                    </a:path>
                  </a:pathLst>
                </a:custGeom>
                <a:noFill/>
                <a:ln w="6350" cap="flat">
                  <a:solidFill>
                    <a:schemeClr val="bg1">
                      <a:alpha val="80000"/>
                    </a:schemeClr>
                  </a:solidFill>
                  <a:prstDash val="solid"/>
                  <a:miter/>
                </a:ln>
              </p:spPr>
              <p:txBody>
                <a:bodyPr rtlCol="0" anchor="ctr"/>
                <a:lstStyle/>
                <a:p>
                  <a:endParaRPr lang="en-GB"/>
                </a:p>
              </p:txBody>
            </p:sp>
            <p:sp>
              <p:nvSpPr>
                <p:cNvPr id="7084" name="Vrije vorm: vorm 7083">
                  <a:extLst>
                    <a:ext uri="{FF2B5EF4-FFF2-40B4-BE49-F238E27FC236}">
                      <a16:creationId xmlns:a16="http://schemas.microsoft.com/office/drawing/2014/main" id="{037E301C-CF37-45C2-97D6-2B17A6CB8458}"/>
                    </a:ext>
                  </a:extLst>
                </p:cNvPr>
                <p:cNvSpPr/>
                <p:nvPr/>
              </p:nvSpPr>
              <p:spPr>
                <a:xfrm>
                  <a:off x="7519402" y="2432998"/>
                  <a:ext cx="6100" cy="5203"/>
                </a:xfrm>
                <a:custGeom>
                  <a:avLst/>
                  <a:gdLst>
                    <a:gd name="connsiteX0" fmla="*/ 6100 w 6100"/>
                    <a:gd name="connsiteY0" fmla="*/ 598 h 5203"/>
                    <a:gd name="connsiteX1" fmla="*/ 5682 w 6100"/>
                    <a:gd name="connsiteY1" fmla="*/ 0 h 5203"/>
                    <a:gd name="connsiteX2" fmla="*/ 3110 w 6100"/>
                    <a:gd name="connsiteY2" fmla="*/ 2392 h 5203"/>
                    <a:gd name="connsiteX3" fmla="*/ 0 w 6100"/>
                    <a:gd name="connsiteY3" fmla="*/ 5203 h 5203"/>
                    <a:gd name="connsiteX4" fmla="*/ 1376 w 6100"/>
                    <a:gd name="connsiteY4" fmla="*/ 4964 h 5203"/>
                    <a:gd name="connsiteX5" fmla="*/ 3589 w 6100"/>
                    <a:gd name="connsiteY5" fmla="*/ 2871 h 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00" h="5203">
                      <a:moveTo>
                        <a:pt x="6100" y="598"/>
                      </a:moveTo>
                      <a:lnTo>
                        <a:pt x="5682" y="0"/>
                      </a:lnTo>
                      <a:lnTo>
                        <a:pt x="3110" y="2392"/>
                      </a:lnTo>
                      <a:lnTo>
                        <a:pt x="0" y="5203"/>
                      </a:lnTo>
                      <a:lnTo>
                        <a:pt x="1376" y="4964"/>
                      </a:lnTo>
                      <a:lnTo>
                        <a:pt x="3589" y="2871"/>
                      </a:lnTo>
                      <a:close/>
                    </a:path>
                  </a:pathLst>
                </a:custGeom>
                <a:noFill/>
                <a:ln w="6350" cap="flat">
                  <a:solidFill>
                    <a:schemeClr val="bg1">
                      <a:alpha val="80000"/>
                    </a:schemeClr>
                  </a:solidFill>
                  <a:prstDash val="solid"/>
                  <a:miter/>
                </a:ln>
              </p:spPr>
              <p:txBody>
                <a:bodyPr rtlCol="0" anchor="ctr"/>
                <a:lstStyle/>
                <a:p>
                  <a:endParaRPr lang="en-GB"/>
                </a:p>
              </p:txBody>
            </p:sp>
          </p:grpSp>
        </p:grpSp>
        <p:grpSp>
          <p:nvGrpSpPr>
            <p:cNvPr id="5358" name="Graphic 3">
              <a:extLst>
                <a:ext uri="{FF2B5EF4-FFF2-40B4-BE49-F238E27FC236}">
                  <a16:creationId xmlns:a16="http://schemas.microsoft.com/office/drawing/2014/main" id="{3B3A2A04-240E-4E03-9B98-847505376627}"/>
                </a:ext>
              </a:extLst>
            </p:cNvPr>
            <p:cNvGrpSpPr/>
            <p:nvPr/>
          </p:nvGrpSpPr>
          <p:grpSpPr>
            <a:xfrm>
              <a:off x="6592689" y="1684929"/>
              <a:ext cx="514521" cy="447058"/>
              <a:chOff x="6592689" y="1684929"/>
              <a:chExt cx="514521" cy="447058"/>
            </a:xfrm>
            <a:noFill/>
          </p:grpSpPr>
          <p:sp>
            <p:nvSpPr>
              <p:cNvPr id="6360" name="Vrije vorm: vorm 6359">
                <a:extLst>
                  <a:ext uri="{FF2B5EF4-FFF2-40B4-BE49-F238E27FC236}">
                    <a16:creationId xmlns:a16="http://schemas.microsoft.com/office/drawing/2014/main" id="{0242BD03-2F47-460A-97C8-2CB237B4292F}"/>
                  </a:ext>
                </a:extLst>
              </p:cNvPr>
              <p:cNvSpPr/>
              <p:nvPr/>
            </p:nvSpPr>
            <p:spPr>
              <a:xfrm>
                <a:off x="6896510" y="1863693"/>
                <a:ext cx="5143" cy="777"/>
              </a:xfrm>
              <a:custGeom>
                <a:avLst/>
                <a:gdLst>
                  <a:gd name="connsiteX0" fmla="*/ 5143 w 5143"/>
                  <a:gd name="connsiteY0" fmla="*/ 0 h 777"/>
                  <a:gd name="connsiteX1" fmla="*/ 4306 w 5143"/>
                  <a:gd name="connsiteY1" fmla="*/ 120 h 777"/>
                  <a:gd name="connsiteX2" fmla="*/ 0 w 5143"/>
                  <a:gd name="connsiteY2" fmla="*/ 778 h 777"/>
                </a:gdLst>
                <a:ahLst/>
                <a:cxnLst>
                  <a:cxn ang="0">
                    <a:pos x="connsiteX0" y="connsiteY0"/>
                  </a:cxn>
                  <a:cxn ang="0">
                    <a:pos x="connsiteX1" y="connsiteY1"/>
                  </a:cxn>
                  <a:cxn ang="0">
                    <a:pos x="connsiteX2" y="connsiteY2"/>
                  </a:cxn>
                </a:cxnLst>
                <a:rect l="l" t="t" r="r" b="b"/>
                <a:pathLst>
                  <a:path w="5143" h="777">
                    <a:moveTo>
                      <a:pt x="5143" y="0"/>
                    </a:moveTo>
                    <a:lnTo>
                      <a:pt x="4306" y="120"/>
                    </a:lnTo>
                    <a:lnTo>
                      <a:pt x="0" y="778"/>
                    </a:lnTo>
                  </a:path>
                </a:pathLst>
              </a:custGeom>
              <a:noFill/>
              <a:ln w="6350" cap="rnd">
                <a:solidFill>
                  <a:schemeClr val="bg1">
                    <a:alpha val="80000"/>
                  </a:schemeClr>
                </a:solidFill>
                <a:prstDash val="solid"/>
                <a:round/>
              </a:ln>
            </p:spPr>
            <p:txBody>
              <a:bodyPr rtlCol="0" anchor="ctr"/>
              <a:lstStyle/>
              <a:p>
                <a:endParaRPr lang="en-GB"/>
              </a:p>
            </p:txBody>
          </p:sp>
          <p:sp>
            <p:nvSpPr>
              <p:cNvPr id="6361" name="Vrije vorm: vorm 6360">
                <a:extLst>
                  <a:ext uri="{FF2B5EF4-FFF2-40B4-BE49-F238E27FC236}">
                    <a16:creationId xmlns:a16="http://schemas.microsoft.com/office/drawing/2014/main" id="{A7778D76-EFC2-41AF-943F-D1FE9630D880}"/>
                  </a:ext>
                </a:extLst>
              </p:cNvPr>
              <p:cNvSpPr/>
              <p:nvPr/>
            </p:nvSpPr>
            <p:spPr>
              <a:xfrm>
                <a:off x="6895911" y="1860583"/>
                <a:ext cx="4964" cy="358"/>
              </a:xfrm>
              <a:custGeom>
                <a:avLst/>
                <a:gdLst>
                  <a:gd name="connsiteX0" fmla="*/ 4964 w 4964"/>
                  <a:gd name="connsiteY0" fmla="*/ 0 h 358"/>
                  <a:gd name="connsiteX1" fmla="*/ 0 w 4964"/>
                  <a:gd name="connsiteY1" fmla="*/ 359 h 358"/>
                </a:gdLst>
                <a:ahLst/>
                <a:cxnLst>
                  <a:cxn ang="0">
                    <a:pos x="connsiteX0" y="connsiteY0"/>
                  </a:cxn>
                  <a:cxn ang="0">
                    <a:pos x="connsiteX1" y="connsiteY1"/>
                  </a:cxn>
                </a:cxnLst>
                <a:rect l="l" t="t" r="r" b="b"/>
                <a:pathLst>
                  <a:path w="4964" h="358">
                    <a:moveTo>
                      <a:pt x="4964" y="0"/>
                    </a:moveTo>
                    <a:lnTo>
                      <a:pt x="0" y="359"/>
                    </a:lnTo>
                  </a:path>
                </a:pathLst>
              </a:custGeom>
              <a:noFill/>
              <a:ln w="6350" cap="rnd">
                <a:solidFill>
                  <a:schemeClr val="bg1">
                    <a:alpha val="80000"/>
                  </a:schemeClr>
                </a:solidFill>
                <a:prstDash val="solid"/>
                <a:round/>
              </a:ln>
            </p:spPr>
            <p:txBody>
              <a:bodyPr rtlCol="0" anchor="ctr"/>
              <a:lstStyle/>
              <a:p>
                <a:endParaRPr lang="en-GB"/>
              </a:p>
            </p:txBody>
          </p:sp>
          <p:sp>
            <p:nvSpPr>
              <p:cNvPr id="6362" name="Vrije vorm: vorm 6361">
                <a:extLst>
                  <a:ext uri="{FF2B5EF4-FFF2-40B4-BE49-F238E27FC236}">
                    <a16:creationId xmlns:a16="http://schemas.microsoft.com/office/drawing/2014/main" id="{153F991B-5C0C-4072-B97C-8C275FB8E724}"/>
                  </a:ext>
                </a:extLst>
              </p:cNvPr>
              <p:cNvSpPr/>
              <p:nvPr/>
            </p:nvSpPr>
            <p:spPr>
              <a:xfrm>
                <a:off x="6840709" y="1897185"/>
                <a:ext cx="419" cy="598"/>
              </a:xfrm>
              <a:custGeom>
                <a:avLst/>
                <a:gdLst>
                  <a:gd name="connsiteX0" fmla="*/ 419 w 419"/>
                  <a:gd name="connsiteY0" fmla="*/ 0 h 598"/>
                  <a:gd name="connsiteX1" fmla="*/ 0 w 419"/>
                  <a:gd name="connsiteY1" fmla="*/ 120 h 598"/>
                  <a:gd name="connsiteX2" fmla="*/ 0 w 419"/>
                  <a:gd name="connsiteY2" fmla="*/ 598 h 598"/>
                </a:gdLst>
                <a:ahLst/>
                <a:cxnLst>
                  <a:cxn ang="0">
                    <a:pos x="connsiteX0" y="connsiteY0"/>
                  </a:cxn>
                  <a:cxn ang="0">
                    <a:pos x="connsiteX1" y="connsiteY1"/>
                  </a:cxn>
                  <a:cxn ang="0">
                    <a:pos x="connsiteX2" y="connsiteY2"/>
                  </a:cxn>
                </a:cxnLst>
                <a:rect l="l" t="t" r="r" b="b"/>
                <a:pathLst>
                  <a:path w="419" h="598">
                    <a:moveTo>
                      <a:pt x="419" y="0"/>
                    </a:moveTo>
                    <a:lnTo>
                      <a:pt x="0" y="120"/>
                    </a:lnTo>
                    <a:lnTo>
                      <a:pt x="0" y="598"/>
                    </a:lnTo>
                  </a:path>
                </a:pathLst>
              </a:custGeom>
              <a:noFill/>
              <a:ln w="6350" cap="rnd">
                <a:solidFill>
                  <a:schemeClr val="bg1">
                    <a:alpha val="80000"/>
                  </a:schemeClr>
                </a:solidFill>
                <a:prstDash val="solid"/>
                <a:round/>
              </a:ln>
            </p:spPr>
            <p:txBody>
              <a:bodyPr rtlCol="0" anchor="ctr"/>
              <a:lstStyle/>
              <a:p>
                <a:endParaRPr lang="en-GB"/>
              </a:p>
            </p:txBody>
          </p:sp>
          <p:sp>
            <p:nvSpPr>
              <p:cNvPr id="6363" name="Vrije vorm: vorm 6362">
                <a:extLst>
                  <a:ext uri="{FF2B5EF4-FFF2-40B4-BE49-F238E27FC236}">
                    <a16:creationId xmlns:a16="http://schemas.microsoft.com/office/drawing/2014/main" id="{A59B12EC-DCD1-4AB5-A948-86C996E6AAD9}"/>
                  </a:ext>
                </a:extLst>
              </p:cNvPr>
              <p:cNvSpPr/>
              <p:nvPr/>
            </p:nvSpPr>
            <p:spPr>
              <a:xfrm>
                <a:off x="6845554" y="1764891"/>
                <a:ext cx="24640" cy="14772"/>
              </a:xfrm>
              <a:custGeom>
                <a:avLst/>
                <a:gdLst>
                  <a:gd name="connsiteX0" fmla="*/ 0 w 24640"/>
                  <a:gd name="connsiteY0" fmla="*/ 0 h 14772"/>
                  <a:gd name="connsiteX1" fmla="*/ 1256 w 24640"/>
                  <a:gd name="connsiteY1" fmla="*/ 718 h 14772"/>
                  <a:gd name="connsiteX2" fmla="*/ 6219 w 24640"/>
                  <a:gd name="connsiteY2" fmla="*/ 3648 h 14772"/>
                  <a:gd name="connsiteX3" fmla="*/ 11244 w 24640"/>
                  <a:gd name="connsiteY3" fmla="*/ 6639 h 14772"/>
                  <a:gd name="connsiteX4" fmla="*/ 16686 w 24640"/>
                  <a:gd name="connsiteY4" fmla="*/ 9928 h 14772"/>
                  <a:gd name="connsiteX5" fmla="*/ 17344 w 24640"/>
                  <a:gd name="connsiteY5" fmla="*/ 10347 h 14772"/>
                  <a:gd name="connsiteX6" fmla="*/ 19497 w 24640"/>
                  <a:gd name="connsiteY6" fmla="*/ 11662 h 14772"/>
                  <a:gd name="connsiteX7" fmla="*/ 22069 w 24640"/>
                  <a:gd name="connsiteY7" fmla="*/ 13217 h 14772"/>
                  <a:gd name="connsiteX8" fmla="*/ 23444 w 24640"/>
                  <a:gd name="connsiteY8" fmla="*/ 14055 h 14772"/>
                  <a:gd name="connsiteX9" fmla="*/ 23564 w 24640"/>
                  <a:gd name="connsiteY9" fmla="*/ 14115 h 14772"/>
                  <a:gd name="connsiteX10" fmla="*/ 24641 w 24640"/>
                  <a:gd name="connsiteY10" fmla="*/ 14772 h 1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40" h="14772">
                    <a:moveTo>
                      <a:pt x="0" y="0"/>
                    </a:moveTo>
                    <a:lnTo>
                      <a:pt x="1256" y="718"/>
                    </a:lnTo>
                    <a:lnTo>
                      <a:pt x="6219" y="3648"/>
                    </a:lnTo>
                    <a:lnTo>
                      <a:pt x="11244" y="6639"/>
                    </a:lnTo>
                    <a:lnTo>
                      <a:pt x="16686" y="9928"/>
                    </a:lnTo>
                    <a:lnTo>
                      <a:pt x="17344" y="10347"/>
                    </a:lnTo>
                    <a:lnTo>
                      <a:pt x="19497" y="11662"/>
                    </a:lnTo>
                    <a:lnTo>
                      <a:pt x="22069" y="13217"/>
                    </a:lnTo>
                    <a:lnTo>
                      <a:pt x="23444" y="14055"/>
                    </a:lnTo>
                    <a:lnTo>
                      <a:pt x="23564" y="14115"/>
                    </a:lnTo>
                    <a:lnTo>
                      <a:pt x="24641" y="14772"/>
                    </a:lnTo>
                  </a:path>
                </a:pathLst>
              </a:custGeom>
              <a:noFill/>
              <a:ln w="6350" cap="rnd">
                <a:solidFill>
                  <a:schemeClr val="bg1">
                    <a:alpha val="80000"/>
                  </a:schemeClr>
                </a:solidFill>
                <a:prstDash val="solid"/>
                <a:round/>
              </a:ln>
            </p:spPr>
            <p:txBody>
              <a:bodyPr rtlCol="0" anchor="ctr"/>
              <a:lstStyle/>
              <a:p>
                <a:endParaRPr lang="en-GB"/>
              </a:p>
            </p:txBody>
          </p:sp>
          <p:sp>
            <p:nvSpPr>
              <p:cNvPr id="6364" name="Vrije vorm: vorm 6363">
                <a:extLst>
                  <a:ext uri="{FF2B5EF4-FFF2-40B4-BE49-F238E27FC236}">
                    <a16:creationId xmlns:a16="http://schemas.microsoft.com/office/drawing/2014/main" id="{87B32E0F-B88B-42E9-BFF6-B9F935DAD669}"/>
                  </a:ext>
                </a:extLst>
              </p:cNvPr>
              <p:cNvSpPr/>
              <p:nvPr/>
            </p:nvSpPr>
            <p:spPr>
              <a:xfrm>
                <a:off x="7067199" y="1810405"/>
                <a:ext cx="2452" cy="777"/>
              </a:xfrm>
              <a:custGeom>
                <a:avLst/>
                <a:gdLst>
                  <a:gd name="connsiteX0" fmla="*/ 2452 w 2452"/>
                  <a:gd name="connsiteY0" fmla="*/ 0 h 777"/>
                  <a:gd name="connsiteX1" fmla="*/ 1854 w 2452"/>
                  <a:gd name="connsiteY1" fmla="*/ 778 h 777"/>
                  <a:gd name="connsiteX2" fmla="*/ 1854 w 2452"/>
                  <a:gd name="connsiteY2" fmla="*/ 778 h 777"/>
                  <a:gd name="connsiteX3" fmla="*/ 239 w 2452"/>
                  <a:gd name="connsiteY3" fmla="*/ 179 h 777"/>
                  <a:gd name="connsiteX4" fmla="*/ 239 w 2452"/>
                  <a:gd name="connsiteY4" fmla="*/ 179 h 777"/>
                  <a:gd name="connsiteX5" fmla="*/ 239 w 2452"/>
                  <a:gd name="connsiteY5" fmla="*/ 179 h 777"/>
                  <a:gd name="connsiteX6" fmla="*/ 120 w 2452"/>
                  <a:gd name="connsiteY6" fmla="*/ 120 h 777"/>
                  <a:gd name="connsiteX7" fmla="*/ 0 w 2452"/>
                  <a:gd name="connsiteY7" fmla="*/ 60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2" h="777">
                    <a:moveTo>
                      <a:pt x="2452" y="0"/>
                    </a:moveTo>
                    <a:lnTo>
                      <a:pt x="1854" y="778"/>
                    </a:lnTo>
                    <a:lnTo>
                      <a:pt x="1854" y="778"/>
                    </a:lnTo>
                    <a:lnTo>
                      <a:pt x="239" y="179"/>
                    </a:lnTo>
                    <a:lnTo>
                      <a:pt x="239" y="179"/>
                    </a:lnTo>
                    <a:lnTo>
                      <a:pt x="239" y="179"/>
                    </a:lnTo>
                    <a:lnTo>
                      <a:pt x="120" y="120"/>
                    </a:lnTo>
                    <a:lnTo>
                      <a:pt x="0" y="60"/>
                    </a:lnTo>
                  </a:path>
                </a:pathLst>
              </a:custGeom>
              <a:noFill/>
              <a:ln w="6350" cap="rnd">
                <a:solidFill>
                  <a:schemeClr val="bg1">
                    <a:alpha val="80000"/>
                  </a:schemeClr>
                </a:solidFill>
                <a:prstDash val="solid"/>
                <a:round/>
              </a:ln>
            </p:spPr>
            <p:txBody>
              <a:bodyPr rtlCol="0" anchor="ctr"/>
              <a:lstStyle/>
              <a:p>
                <a:endParaRPr lang="en-GB"/>
              </a:p>
            </p:txBody>
          </p:sp>
          <p:sp>
            <p:nvSpPr>
              <p:cNvPr id="6365" name="Vrije vorm: vorm 6364">
                <a:extLst>
                  <a:ext uri="{FF2B5EF4-FFF2-40B4-BE49-F238E27FC236}">
                    <a16:creationId xmlns:a16="http://schemas.microsoft.com/office/drawing/2014/main" id="{B9362CE4-5D55-4F78-9405-FEA95873EEA2}"/>
                  </a:ext>
                </a:extLst>
              </p:cNvPr>
              <p:cNvSpPr/>
              <p:nvPr/>
            </p:nvSpPr>
            <p:spPr>
              <a:xfrm>
                <a:off x="6878448" y="1704785"/>
                <a:ext cx="29963" cy="27391"/>
              </a:xfrm>
              <a:custGeom>
                <a:avLst/>
                <a:gdLst>
                  <a:gd name="connsiteX0" fmla="*/ 29963 w 29963"/>
                  <a:gd name="connsiteY0" fmla="*/ 27392 h 27391"/>
                  <a:gd name="connsiteX1" fmla="*/ 29724 w 29963"/>
                  <a:gd name="connsiteY1" fmla="*/ 27153 h 27391"/>
                  <a:gd name="connsiteX2" fmla="*/ 14473 w 29963"/>
                  <a:gd name="connsiteY2" fmla="*/ 10945 h 27391"/>
                  <a:gd name="connsiteX3" fmla="*/ 0 w 29963"/>
                  <a:gd name="connsiteY3" fmla="*/ 0 h 27391"/>
                </a:gdLst>
                <a:ahLst/>
                <a:cxnLst>
                  <a:cxn ang="0">
                    <a:pos x="connsiteX0" y="connsiteY0"/>
                  </a:cxn>
                  <a:cxn ang="0">
                    <a:pos x="connsiteX1" y="connsiteY1"/>
                  </a:cxn>
                  <a:cxn ang="0">
                    <a:pos x="connsiteX2" y="connsiteY2"/>
                  </a:cxn>
                  <a:cxn ang="0">
                    <a:pos x="connsiteX3" y="connsiteY3"/>
                  </a:cxn>
                </a:cxnLst>
                <a:rect l="l" t="t" r="r" b="b"/>
                <a:pathLst>
                  <a:path w="29963" h="27391">
                    <a:moveTo>
                      <a:pt x="29963" y="27392"/>
                    </a:moveTo>
                    <a:lnTo>
                      <a:pt x="29724" y="27153"/>
                    </a:lnTo>
                    <a:lnTo>
                      <a:pt x="14473" y="1094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366" name="Vrije vorm: vorm 6365">
                <a:extLst>
                  <a:ext uri="{FF2B5EF4-FFF2-40B4-BE49-F238E27FC236}">
                    <a16:creationId xmlns:a16="http://schemas.microsoft.com/office/drawing/2014/main" id="{920364A5-2646-4BF1-A2CF-F2D0E4650FC0}"/>
                  </a:ext>
                </a:extLst>
              </p:cNvPr>
              <p:cNvSpPr/>
              <p:nvPr/>
            </p:nvSpPr>
            <p:spPr>
              <a:xfrm>
                <a:off x="6875218" y="1698924"/>
                <a:ext cx="42343" cy="24102"/>
              </a:xfrm>
              <a:custGeom>
                <a:avLst/>
                <a:gdLst>
                  <a:gd name="connsiteX0" fmla="*/ 1675 w 42343"/>
                  <a:gd name="connsiteY0" fmla="*/ 4665 h 24102"/>
                  <a:gd name="connsiteX1" fmla="*/ 0 w 42343"/>
                  <a:gd name="connsiteY1" fmla="*/ 3409 h 24102"/>
                  <a:gd name="connsiteX2" fmla="*/ 419 w 42343"/>
                  <a:gd name="connsiteY2" fmla="*/ 2632 h 24102"/>
                  <a:gd name="connsiteX3" fmla="*/ 598 w 42343"/>
                  <a:gd name="connsiteY3" fmla="*/ 2332 h 24102"/>
                  <a:gd name="connsiteX4" fmla="*/ 2093 w 42343"/>
                  <a:gd name="connsiteY4" fmla="*/ 658 h 24102"/>
                  <a:gd name="connsiteX5" fmla="*/ 2692 w 42343"/>
                  <a:gd name="connsiteY5" fmla="*/ 0 h 24102"/>
                  <a:gd name="connsiteX6" fmla="*/ 5024 w 42343"/>
                  <a:gd name="connsiteY6" fmla="*/ 1435 h 24102"/>
                  <a:gd name="connsiteX7" fmla="*/ 22009 w 42343"/>
                  <a:gd name="connsiteY7" fmla="*/ 11782 h 24102"/>
                  <a:gd name="connsiteX8" fmla="*/ 41685 w 42343"/>
                  <a:gd name="connsiteY8" fmla="*/ 23504 h 24102"/>
                  <a:gd name="connsiteX9" fmla="*/ 42343 w 42343"/>
                  <a:gd name="connsiteY9" fmla="*/ 24102 h 2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343" h="24102">
                    <a:moveTo>
                      <a:pt x="1675" y="4665"/>
                    </a:moveTo>
                    <a:lnTo>
                      <a:pt x="0" y="3409"/>
                    </a:lnTo>
                    <a:lnTo>
                      <a:pt x="419" y="2632"/>
                    </a:lnTo>
                    <a:lnTo>
                      <a:pt x="598" y="2332"/>
                    </a:lnTo>
                    <a:lnTo>
                      <a:pt x="2093" y="658"/>
                    </a:lnTo>
                    <a:lnTo>
                      <a:pt x="2692" y="0"/>
                    </a:lnTo>
                    <a:lnTo>
                      <a:pt x="5024" y="1435"/>
                    </a:lnTo>
                    <a:lnTo>
                      <a:pt x="22009" y="11782"/>
                    </a:lnTo>
                    <a:lnTo>
                      <a:pt x="41685" y="23504"/>
                    </a:lnTo>
                    <a:lnTo>
                      <a:pt x="42343" y="24102"/>
                    </a:lnTo>
                  </a:path>
                </a:pathLst>
              </a:custGeom>
              <a:noFill/>
              <a:ln w="6350" cap="rnd">
                <a:solidFill>
                  <a:schemeClr val="bg1">
                    <a:alpha val="80000"/>
                  </a:schemeClr>
                </a:solidFill>
                <a:prstDash val="solid"/>
                <a:round/>
              </a:ln>
            </p:spPr>
            <p:txBody>
              <a:bodyPr rtlCol="0" anchor="ctr"/>
              <a:lstStyle/>
              <a:p>
                <a:endParaRPr lang="en-GB"/>
              </a:p>
            </p:txBody>
          </p:sp>
          <p:sp>
            <p:nvSpPr>
              <p:cNvPr id="6367" name="Vrije vorm: vorm 6366">
                <a:extLst>
                  <a:ext uri="{FF2B5EF4-FFF2-40B4-BE49-F238E27FC236}">
                    <a16:creationId xmlns:a16="http://schemas.microsoft.com/office/drawing/2014/main" id="{30895F87-0A3B-4AFA-B42C-73E73AC21F5B}"/>
                  </a:ext>
                </a:extLst>
              </p:cNvPr>
              <p:cNvSpPr/>
              <p:nvPr/>
            </p:nvSpPr>
            <p:spPr>
              <a:xfrm>
                <a:off x="6836941" y="1745873"/>
                <a:ext cx="20214" cy="17762"/>
              </a:xfrm>
              <a:custGeom>
                <a:avLst/>
                <a:gdLst>
                  <a:gd name="connsiteX0" fmla="*/ 6340 w 20214"/>
                  <a:gd name="connsiteY0" fmla="*/ 13158 h 17762"/>
                  <a:gd name="connsiteX1" fmla="*/ 1854 w 20214"/>
                  <a:gd name="connsiteY1" fmla="*/ 10526 h 17762"/>
                  <a:gd name="connsiteX2" fmla="*/ 299 w 20214"/>
                  <a:gd name="connsiteY2" fmla="*/ 9569 h 17762"/>
                  <a:gd name="connsiteX3" fmla="*/ 0 w 20214"/>
                  <a:gd name="connsiteY3" fmla="*/ 8194 h 17762"/>
                  <a:gd name="connsiteX4" fmla="*/ 4545 w 20214"/>
                  <a:gd name="connsiteY4" fmla="*/ 419 h 17762"/>
                  <a:gd name="connsiteX5" fmla="*/ 5921 w 20214"/>
                  <a:gd name="connsiteY5" fmla="*/ 0 h 17762"/>
                  <a:gd name="connsiteX6" fmla="*/ 18421 w 20214"/>
                  <a:gd name="connsiteY6" fmla="*/ 7237 h 17762"/>
                  <a:gd name="connsiteX7" fmla="*/ 19916 w 20214"/>
                  <a:gd name="connsiteY7" fmla="*/ 8194 h 17762"/>
                  <a:gd name="connsiteX8" fmla="*/ 20215 w 20214"/>
                  <a:gd name="connsiteY8" fmla="*/ 9569 h 17762"/>
                  <a:gd name="connsiteX9" fmla="*/ 15610 w 20214"/>
                  <a:gd name="connsiteY9" fmla="*/ 17344 h 17762"/>
                  <a:gd name="connsiteX10" fmla="*/ 14234 w 20214"/>
                  <a:gd name="connsiteY10" fmla="*/ 17763 h 17762"/>
                  <a:gd name="connsiteX11" fmla="*/ 9091 w 20214"/>
                  <a:gd name="connsiteY11" fmla="*/ 14772 h 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14" h="17762">
                    <a:moveTo>
                      <a:pt x="6340" y="13158"/>
                    </a:moveTo>
                    <a:lnTo>
                      <a:pt x="1854" y="10526"/>
                    </a:lnTo>
                    <a:lnTo>
                      <a:pt x="299" y="9569"/>
                    </a:lnTo>
                    <a:lnTo>
                      <a:pt x="0" y="8194"/>
                    </a:lnTo>
                    <a:lnTo>
                      <a:pt x="4545" y="419"/>
                    </a:lnTo>
                    <a:lnTo>
                      <a:pt x="5921" y="0"/>
                    </a:lnTo>
                    <a:lnTo>
                      <a:pt x="18421" y="7237"/>
                    </a:lnTo>
                    <a:lnTo>
                      <a:pt x="19916" y="8194"/>
                    </a:lnTo>
                    <a:lnTo>
                      <a:pt x="20215" y="9569"/>
                    </a:lnTo>
                    <a:lnTo>
                      <a:pt x="15610" y="17344"/>
                    </a:lnTo>
                    <a:lnTo>
                      <a:pt x="14234" y="17763"/>
                    </a:lnTo>
                    <a:lnTo>
                      <a:pt x="9091" y="14772"/>
                    </a:lnTo>
                  </a:path>
                </a:pathLst>
              </a:custGeom>
              <a:noFill/>
              <a:ln w="6350" cap="rnd">
                <a:solidFill>
                  <a:schemeClr val="bg1">
                    <a:alpha val="80000"/>
                  </a:schemeClr>
                </a:solidFill>
                <a:prstDash val="solid"/>
                <a:round/>
              </a:ln>
            </p:spPr>
            <p:txBody>
              <a:bodyPr rtlCol="0" anchor="ctr"/>
              <a:lstStyle/>
              <a:p>
                <a:endParaRPr lang="en-GB"/>
              </a:p>
            </p:txBody>
          </p:sp>
          <p:sp>
            <p:nvSpPr>
              <p:cNvPr id="6368" name="Vrije vorm: vorm 6367">
                <a:extLst>
                  <a:ext uri="{FF2B5EF4-FFF2-40B4-BE49-F238E27FC236}">
                    <a16:creationId xmlns:a16="http://schemas.microsoft.com/office/drawing/2014/main" id="{8E045D08-DB0D-493D-995A-69A8845F7D73}"/>
                  </a:ext>
                </a:extLst>
              </p:cNvPr>
              <p:cNvSpPr/>
              <p:nvPr/>
            </p:nvSpPr>
            <p:spPr>
              <a:xfrm>
                <a:off x="6883352" y="1911180"/>
                <a:ext cx="22307" cy="5621"/>
              </a:xfrm>
              <a:custGeom>
                <a:avLst/>
                <a:gdLst>
                  <a:gd name="connsiteX0" fmla="*/ 22308 w 22307"/>
                  <a:gd name="connsiteY0" fmla="*/ 5622 h 5621"/>
                  <a:gd name="connsiteX1" fmla="*/ 21471 w 22307"/>
                  <a:gd name="connsiteY1" fmla="*/ 5383 h 5621"/>
                  <a:gd name="connsiteX2" fmla="*/ 20215 w 22307"/>
                  <a:gd name="connsiteY2" fmla="*/ 5024 h 5621"/>
                  <a:gd name="connsiteX3" fmla="*/ 19139 w 22307"/>
                  <a:gd name="connsiteY3" fmla="*/ 4725 h 5621"/>
                  <a:gd name="connsiteX4" fmla="*/ 19079 w 22307"/>
                  <a:gd name="connsiteY4" fmla="*/ 4725 h 5621"/>
                  <a:gd name="connsiteX5" fmla="*/ 17584 w 22307"/>
                  <a:gd name="connsiteY5" fmla="*/ 4306 h 5621"/>
                  <a:gd name="connsiteX6" fmla="*/ 16686 w 22307"/>
                  <a:gd name="connsiteY6" fmla="*/ 4067 h 5621"/>
                  <a:gd name="connsiteX7" fmla="*/ 16327 w 22307"/>
                  <a:gd name="connsiteY7" fmla="*/ 3947 h 5621"/>
                  <a:gd name="connsiteX8" fmla="*/ 16148 w 22307"/>
                  <a:gd name="connsiteY8" fmla="*/ 3887 h 5621"/>
                  <a:gd name="connsiteX9" fmla="*/ 15191 w 22307"/>
                  <a:gd name="connsiteY9" fmla="*/ 3648 h 5621"/>
                  <a:gd name="connsiteX10" fmla="*/ 15012 w 22307"/>
                  <a:gd name="connsiteY10" fmla="*/ 3588 h 5621"/>
                  <a:gd name="connsiteX11" fmla="*/ 9868 w 22307"/>
                  <a:gd name="connsiteY11" fmla="*/ 2452 h 5621"/>
                  <a:gd name="connsiteX12" fmla="*/ 7058 w 22307"/>
                  <a:gd name="connsiteY12" fmla="*/ 1734 h 5621"/>
                  <a:gd name="connsiteX13" fmla="*/ 6998 w 22307"/>
                  <a:gd name="connsiteY13" fmla="*/ 1734 h 5621"/>
                  <a:gd name="connsiteX14" fmla="*/ 4785 w 22307"/>
                  <a:gd name="connsiteY14" fmla="*/ 1196 h 5621"/>
                  <a:gd name="connsiteX15" fmla="*/ 0 w 22307"/>
                  <a:gd name="connsiteY15" fmla="*/ 0 h 5621"/>
                  <a:gd name="connsiteX16" fmla="*/ 1435 w 22307"/>
                  <a:gd name="connsiteY16" fmla="*/ 897 h 5621"/>
                  <a:gd name="connsiteX17" fmla="*/ 1555 w 22307"/>
                  <a:gd name="connsiteY17" fmla="*/ 1675 h 5621"/>
                  <a:gd name="connsiteX18" fmla="*/ 299 w 22307"/>
                  <a:gd name="connsiteY18" fmla="*/ 3050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07" h="5621">
                    <a:moveTo>
                      <a:pt x="22308" y="5622"/>
                    </a:moveTo>
                    <a:lnTo>
                      <a:pt x="21471" y="5383"/>
                    </a:lnTo>
                    <a:lnTo>
                      <a:pt x="20215" y="5024"/>
                    </a:lnTo>
                    <a:lnTo>
                      <a:pt x="19139" y="4725"/>
                    </a:lnTo>
                    <a:lnTo>
                      <a:pt x="19079" y="4725"/>
                    </a:lnTo>
                    <a:lnTo>
                      <a:pt x="17584" y="4306"/>
                    </a:lnTo>
                    <a:lnTo>
                      <a:pt x="16686" y="4067"/>
                    </a:lnTo>
                    <a:lnTo>
                      <a:pt x="16327" y="3947"/>
                    </a:lnTo>
                    <a:lnTo>
                      <a:pt x="16148" y="3887"/>
                    </a:lnTo>
                    <a:lnTo>
                      <a:pt x="15191" y="3648"/>
                    </a:lnTo>
                    <a:lnTo>
                      <a:pt x="15012" y="3588"/>
                    </a:lnTo>
                    <a:lnTo>
                      <a:pt x="9868" y="2452"/>
                    </a:lnTo>
                    <a:lnTo>
                      <a:pt x="7058" y="1734"/>
                    </a:lnTo>
                    <a:lnTo>
                      <a:pt x="6998" y="1734"/>
                    </a:lnTo>
                    <a:lnTo>
                      <a:pt x="4785" y="1196"/>
                    </a:lnTo>
                    <a:lnTo>
                      <a:pt x="0" y="0"/>
                    </a:lnTo>
                    <a:lnTo>
                      <a:pt x="1435" y="897"/>
                    </a:lnTo>
                    <a:lnTo>
                      <a:pt x="1555" y="1675"/>
                    </a:lnTo>
                    <a:lnTo>
                      <a:pt x="299" y="3050"/>
                    </a:lnTo>
                  </a:path>
                </a:pathLst>
              </a:custGeom>
              <a:noFill/>
              <a:ln w="6350" cap="rnd">
                <a:solidFill>
                  <a:schemeClr val="bg1">
                    <a:alpha val="80000"/>
                  </a:schemeClr>
                </a:solidFill>
                <a:prstDash val="solid"/>
                <a:round/>
              </a:ln>
            </p:spPr>
            <p:txBody>
              <a:bodyPr rtlCol="0" anchor="ctr"/>
              <a:lstStyle/>
              <a:p>
                <a:endParaRPr lang="en-GB"/>
              </a:p>
            </p:txBody>
          </p:sp>
          <p:sp>
            <p:nvSpPr>
              <p:cNvPr id="6369" name="Vrije vorm: vorm 6368">
                <a:extLst>
                  <a:ext uri="{FF2B5EF4-FFF2-40B4-BE49-F238E27FC236}">
                    <a16:creationId xmlns:a16="http://schemas.microsoft.com/office/drawing/2014/main" id="{7FCE3A1F-F81F-49E8-8A65-72808C972368}"/>
                  </a:ext>
                </a:extLst>
              </p:cNvPr>
              <p:cNvSpPr/>
              <p:nvPr/>
            </p:nvSpPr>
            <p:spPr>
              <a:xfrm>
                <a:off x="6833593" y="1997960"/>
                <a:ext cx="60105" cy="16267"/>
              </a:xfrm>
              <a:custGeom>
                <a:avLst/>
                <a:gdLst>
                  <a:gd name="connsiteX0" fmla="*/ 3110 w 60105"/>
                  <a:gd name="connsiteY0" fmla="*/ 16268 h 16267"/>
                  <a:gd name="connsiteX1" fmla="*/ 1555 w 60105"/>
                  <a:gd name="connsiteY1" fmla="*/ 14653 h 16267"/>
                  <a:gd name="connsiteX2" fmla="*/ 1136 w 60105"/>
                  <a:gd name="connsiteY2" fmla="*/ 13995 h 16267"/>
                  <a:gd name="connsiteX3" fmla="*/ 598 w 60105"/>
                  <a:gd name="connsiteY3" fmla="*/ 13158 h 16267"/>
                  <a:gd name="connsiteX4" fmla="*/ 0 w 60105"/>
                  <a:gd name="connsiteY4" fmla="*/ 12201 h 16267"/>
                  <a:gd name="connsiteX5" fmla="*/ 120 w 60105"/>
                  <a:gd name="connsiteY5" fmla="*/ 10586 h 16267"/>
                  <a:gd name="connsiteX6" fmla="*/ 239 w 60105"/>
                  <a:gd name="connsiteY6" fmla="*/ 9031 h 16267"/>
                  <a:gd name="connsiteX7" fmla="*/ 837 w 60105"/>
                  <a:gd name="connsiteY7" fmla="*/ 7536 h 16267"/>
                  <a:gd name="connsiteX8" fmla="*/ 1076 w 60105"/>
                  <a:gd name="connsiteY8" fmla="*/ 6997 h 16267"/>
                  <a:gd name="connsiteX9" fmla="*/ 3947 w 60105"/>
                  <a:gd name="connsiteY9" fmla="*/ 5981 h 16267"/>
                  <a:gd name="connsiteX10" fmla="*/ 5981 w 60105"/>
                  <a:gd name="connsiteY10" fmla="*/ 5263 h 16267"/>
                  <a:gd name="connsiteX11" fmla="*/ 6459 w 60105"/>
                  <a:gd name="connsiteY11" fmla="*/ 5084 h 16267"/>
                  <a:gd name="connsiteX12" fmla="*/ 6997 w 60105"/>
                  <a:gd name="connsiteY12" fmla="*/ 4904 h 16267"/>
                  <a:gd name="connsiteX13" fmla="*/ 7656 w 60105"/>
                  <a:gd name="connsiteY13" fmla="*/ 4665 h 16267"/>
                  <a:gd name="connsiteX14" fmla="*/ 8074 w 60105"/>
                  <a:gd name="connsiteY14" fmla="*/ 4545 h 16267"/>
                  <a:gd name="connsiteX15" fmla="*/ 8253 w 60105"/>
                  <a:gd name="connsiteY15" fmla="*/ 4486 h 16267"/>
                  <a:gd name="connsiteX16" fmla="*/ 8851 w 60105"/>
                  <a:gd name="connsiteY16" fmla="*/ 4306 h 16267"/>
                  <a:gd name="connsiteX17" fmla="*/ 9031 w 60105"/>
                  <a:gd name="connsiteY17" fmla="*/ 4246 h 16267"/>
                  <a:gd name="connsiteX18" fmla="*/ 11364 w 60105"/>
                  <a:gd name="connsiteY18" fmla="*/ 3409 h 16267"/>
                  <a:gd name="connsiteX19" fmla="*/ 12021 w 60105"/>
                  <a:gd name="connsiteY19" fmla="*/ 3289 h 16267"/>
                  <a:gd name="connsiteX20" fmla="*/ 14473 w 60105"/>
                  <a:gd name="connsiteY20" fmla="*/ 2811 h 16267"/>
                  <a:gd name="connsiteX21" fmla="*/ 14593 w 60105"/>
                  <a:gd name="connsiteY21" fmla="*/ 2811 h 16267"/>
                  <a:gd name="connsiteX22" fmla="*/ 15131 w 60105"/>
                  <a:gd name="connsiteY22" fmla="*/ 2691 h 16267"/>
                  <a:gd name="connsiteX23" fmla="*/ 16865 w 60105"/>
                  <a:gd name="connsiteY23" fmla="*/ 2332 h 16267"/>
                  <a:gd name="connsiteX24" fmla="*/ 17045 w 60105"/>
                  <a:gd name="connsiteY24" fmla="*/ 2273 h 16267"/>
                  <a:gd name="connsiteX25" fmla="*/ 19736 w 60105"/>
                  <a:gd name="connsiteY25" fmla="*/ 1734 h 16267"/>
                  <a:gd name="connsiteX26" fmla="*/ 21411 w 60105"/>
                  <a:gd name="connsiteY26" fmla="*/ 1435 h 16267"/>
                  <a:gd name="connsiteX27" fmla="*/ 21710 w 60105"/>
                  <a:gd name="connsiteY27" fmla="*/ 1376 h 16267"/>
                  <a:gd name="connsiteX28" fmla="*/ 22488 w 60105"/>
                  <a:gd name="connsiteY28" fmla="*/ 1256 h 16267"/>
                  <a:gd name="connsiteX29" fmla="*/ 23325 w 60105"/>
                  <a:gd name="connsiteY29" fmla="*/ 1077 h 16267"/>
                  <a:gd name="connsiteX30" fmla="*/ 23444 w 60105"/>
                  <a:gd name="connsiteY30" fmla="*/ 1077 h 16267"/>
                  <a:gd name="connsiteX31" fmla="*/ 23863 w 60105"/>
                  <a:gd name="connsiteY31" fmla="*/ 1017 h 16267"/>
                  <a:gd name="connsiteX32" fmla="*/ 26196 w 60105"/>
                  <a:gd name="connsiteY32" fmla="*/ 538 h 16267"/>
                  <a:gd name="connsiteX33" fmla="*/ 27571 w 60105"/>
                  <a:gd name="connsiteY33" fmla="*/ 478 h 16267"/>
                  <a:gd name="connsiteX34" fmla="*/ 30681 w 60105"/>
                  <a:gd name="connsiteY34" fmla="*/ 299 h 16267"/>
                  <a:gd name="connsiteX35" fmla="*/ 32057 w 60105"/>
                  <a:gd name="connsiteY35" fmla="*/ 239 h 16267"/>
                  <a:gd name="connsiteX36" fmla="*/ 34150 w 60105"/>
                  <a:gd name="connsiteY36" fmla="*/ 120 h 16267"/>
                  <a:gd name="connsiteX37" fmla="*/ 34329 w 60105"/>
                  <a:gd name="connsiteY37" fmla="*/ 120 h 16267"/>
                  <a:gd name="connsiteX38" fmla="*/ 36662 w 60105"/>
                  <a:gd name="connsiteY38" fmla="*/ 0 h 16267"/>
                  <a:gd name="connsiteX39" fmla="*/ 37320 w 60105"/>
                  <a:gd name="connsiteY39" fmla="*/ 120 h 16267"/>
                  <a:gd name="connsiteX40" fmla="*/ 38575 w 60105"/>
                  <a:gd name="connsiteY40" fmla="*/ 299 h 16267"/>
                  <a:gd name="connsiteX41" fmla="*/ 40788 w 60105"/>
                  <a:gd name="connsiteY41" fmla="*/ 658 h 16267"/>
                  <a:gd name="connsiteX42" fmla="*/ 41446 w 60105"/>
                  <a:gd name="connsiteY42" fmla="*/ 778 h 16267"/>
                  <a:gd name="connsiteX43" fmla="*/ 43420 w 60105"/>
                  <a:gd name="connsiteY43" fmla="*/ 1077 h 16267"/>
                  <a:gd name="connsiteX44" fmla="*/ 46769 w 60105"/>
                  <a:gd name="connsiteY44" fmla="*/ 1555 h 16267"/>
                  <a:gd name="connsiteX45" fmla="*/ 47308 w 60105"/>
                  <a:gd name="connsiteY45" fmla="*/ 1615 h 16267"/>
                  <a:gd name="connsiteX46" fmla="*/ 49521 w 60105"/>
                  <a:gd name="connsiteY46" fmla="*/ 2273 h 16267"/>
                  <a:gd name="connsiteX47" fmla="*/ 52331 w 60105"/>
                  <a:gd name="connsiteY47" fmla="*/ 3110 h 16267"/>
                  <a:gd name="connsiteX48" fmla="*/ 54962 w 60105"/>
                  <a:gd name="connsiteY48" fmla="*/ 3888 h 16267"/>
                  <a:gd name="connsiteX49" fmla="*/ 55800 w 60105"/>
                  <a:gd name="connsiteY49" fmla="*/ 4426 h 16267"/>
                  <a:gd name="connsiteX50" fmla="*/ 56817 w 60105"/>
                  <a:gd name="connsiteY50" fmla="*/ 5084 h 16267"/>
                  <a:gd name="connsiteX51" fmla="*/ 59628 w 60105"/>
                  <a:gd name="connsiteY51" fmla="*/ 6878 h 16267"/>
                  <a:gd name="connsiteX52" fmla="*/ 60106 w 60105"/>
                  <a:gd name="connsiteY52" fmla="*/ 7177 h 16267"/>
                  <a:gd name="connsiteX53" fmla="*/ 58730 w 60105"/>
                  <a:gd name="connsiteY53" fmla="*/ 12440 h 16267"/>
                  <a:gd name="connsiteX54" fmla="*/ 57475 w 60105"/>
                  <a:gd name="connsiteY54" fmla="*/ 13995 h 16267"/>
                  <a:gd name="connsiteX55" fmla="*/ 56877 w 60105"/>
                  <a:gd name="connsiteY55" fmla="*/ 14713 h 16267"/>
                  <a:gd name="connsiteX56" fmla="*/ 56518 w 60105"/>
                  <a:gd name="connsiteY56" fmla="*/ 15131 h 16267"/>
                  <a:gd name="connsiteX57" fmla="*/ 55800 w 60105"/>
                  <a:gd name="connsiteY57" fmla="*/ 15311 h 16267"/>
                  <a:gd name="connsiteX58" fmla="*/ 54365 w 60105"/>
                  <a:gd name="connsiteY58" fmla="*/ 15669 h 16267"/>
                  <a:gd name="connsiteX59" fmla="*/ 53229 w 60105"/>
                  <a:gd name="connsiteY59" fmla="*/ 15969 h 16267"/>
                  <a:gd name="connsiteX60" fmla="*/ 52869 w 60105"/>
                  <a:gd name="connsiteY60" fmla="*/ 15849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105" h="16267">
                    <a:moveTo>
                      <a:pt x="3110" y="16268"/>
                    </a:moveTo>
                    <a:lnTo>
                      <a:pt x="1555" y="14653"/>
                    </a:lnTo>
                    <a:lnTo>
                      <a:pt x="1136" y="13995"/>
                    </a:lnTo>
                    <a:lnTo>
                      <a:pt x="598" y="13158"/>
                    </a:lnTo>
                    <a:lnTo>
                      <a:pt x="0" y="12201"/>
                    </a:lnTo>
                    <a:lnTo>
                      <a:pt x="120" y="10586"/>
                    </a:lnTo>
                    <a:lnTo>
                      <a:pt x="239" y="9031"/>
                    </a:lnTo>
                    <a:lnTo>
                      <a:pt x="837" y="7536"/>
                    </a:lnTo>
                    <a:lnTo>
                      <a:pt x="1076" y="6997"/>
                    </a:lnTo>
                    <a:lnTo>
                      <a:pt x="3947" y="5981"/>
                    </a:lnTo>
                    <a:lnTo>
                      <a:pt x="5981" y="5263"/>
                    </a:lnTo>
                    <a:lnTo>
                      <a:pt x="6459" y="5084"/>
                    </a:lnTo>
                    <a:lnTo>
                      <a:pt x="6997" y="4904"/>
                    </a:lnTo>
                    <a:lnTo>
                      <a:pt x="7656" y="4665"/>
                    </a:lnTo>
                    <a:lnTo>
                      <a:pt x="8074" y="4545"/>
                    </a:lnTo>
                    <a:lnTo>
                      <a:pt x="8253" y="4486"/>
                    </a:lnTo>
                    <a:lnTo>
                      <a:pt x="8851" y="4306"/>
                    </a:lnTo>
                    <a:lnTo>
                      <a:pt x="9031" y="4246"/>
                    </a:lnTo>
                    <a:lnTo>
                      <a:pt x="11364" y="3409"/>
                    </a:lnTo>
                    <a:lnTo>
                      <a:pt x="12021" y="3289"/>
                    </a:lnTo>
                    <a:lnTo>
                      <a:pt x="14473" y="2811"/>
                    </a:lnTo>
                    <a:lnTo>
                      <a:pt x="14593" y="2811"/>
                    </a:lnTo>
                    <a:lnTo>
                      <a:pt x="15131" y="2691"/>
                    </a:lnTo>
                    <a:lnTo>
                      <a:pt x="16865" y="2332"/>
                    </a:lnTo>
                    <a:lnTo>
                      <a:pt x="17045" y="2273"/>
                    </a:lnTo>
                    <a:lnTo>
                      <a:pt x="19736" y="1734"/>
                    </a:lnTo>
                    <a:lnTo>
                      <a:pt x="21411" y="1435"/>
                    </a:lnTo>
                    <a:lnTo>
                      <a:pt x="21710" y="1376"/>
                    </a:lnTo>
                    <a:lnTo>
                      <a:pt x="22488" y="1256"/>
                    </a:lnTo>
                    <a:lnTo>
                      <a:pt x="23325" y="1077"/>
                    </a:lnTo>
                    <a:lnTo>
                      <a:pt x="23444" y="1077"/>
                    </a:lnTo>
                    <a:lnTo>
                      <a:pt x="23863" y="1017"/>
                    </a:lnTo>
                    <a:lnTo>
                      <a:pt x="26196" y="538"/>
                    </a:lnTo>
                    <a:lnTo>
                      <a:pt x="27571" y="478"/>
                    </a:lnTo>
                    <a:lnTo>
                      <a:pt x="30681" y="299"/>
                    </a:lnTo>
                    <a:lnTo>
                      <a:pt x="32057" y="239"/>
                    </a:lnTo>
                    <a:lnTo>
                      <a:pt x="34150" y="120"/>
                    </a:lnTo>
                    <a:lnTo>
                      <a:pt x="34329" y="120"/>
                    </a:lnTo>
                    <a:lnTo>
                      <a:pt x="36662" y="0"/>
                    </a:lnTo>
                    <a:lnTo>
                      <a:pt x="37320" y="120"/>
                    </a:lnTo>
                    <a:lnTo>
                      <a:pt x="38575" y="299"/>
                    </a:lnTo>
                    <a:lnTo>
                      <a:pt x="40788" y="658"/>
                    </a:lnTo>
                    <a:lnTo>
                      <a:pt x="41446" y="778"/>
                    </a:lnTo>
                    <a:lnTo>
                      <a:pt x="43420" y="1077"/>
                    </a:lnTo>
                    <a:lnTo>
                      <a:pt x="46769" y="1555"/>
                    </a:lnTo>
                    <a:lnTo>
                      <a:pt x="47308" y="1615"/>
                    </a:lnTo>
                    <a:lnTo>
                      <a:pt x="49521" y="2273"/>
                    </a:lnTo>
                    <a:lnTo>
                      <a:pt x="52331" y="3110"/>
                    </a:lnTo>
                    <a:lnTo>
                      <a:pt x="54962" y="3888"/>
                    </a:lnTo>
                    <a:lnTo>
                      <a:pt x="55800" y="4426"/>
                    </a:lnTo>
                    <a:lnTo>
                      <a:pt x="56817" y="5084"/>
                    </a:lnTo>
                    <a:lnTo>
                      <a:pt x="59628" y="6878"/>
                    </a:lnTo>
                    <a:lnTo>
                      <a:pt x="60106" y="7177"/>
                    </a:lnTo>
                    <a:lnTo>
                      <a:pt x="58730" y="12440"/>
                    </a:lnTo>
                    <a:lnTo>
                      <a:pt x="57475" y="13995"/>
                    </a:lnTo>
                    <a:lnTo>
                      <a:pt x="56877" y="14713"/>
                    </a:lnTo>
                    <a:lnTo>
                      <a:pt x="56518" y="15131"/>
                    </a:lnTo>
                    <a:lnTo>
                      <a:pt x="55800" y="15311"/>
                    </a:lnTo>
                    <a:lnTo>
                      <a:pt x="54365" y="15669"/>
                    </a:lnTo>
                    <a:lnTo>
                      <a:pt x="53229" y="15969"/>
                    </a:lnTo>
                    <a:lnTo>
                      <a:pt x="52869" y="15849"/>
                    </a:lnTo>
                  </a:path>
                </a:pathLst>
              </a:custGeom>
              <a:noFill/>
              <a:ln w="6350" cap="rnd">
                <a:solidFill>
                  <a:schemeClr val="bg1">
                    <a:alpha val="80000"/>
                  </a:schemeClr>
                </a:solidFill>
                <a:prstDash val="solid"/>
                <a:round/>
              </a:ln>
            </p:spPr>
            <p:txBody>
              <a:bodyPr rtlCol="0" anchor="ctr"/>
              <a:lstStyle/>
              <a:p>
                <a:endParaRPr lang="en-GB"/>
              </a:p>
            </p:txBody>
          </p:sp>
          <p:sp>
            <p:nvSpPr>
              <p:cNvPr id="6370" name="Vrije vorm: vorm 6369">
                <a:extLst>
                  <a:ext uri="{FF2B5EF4-FFF2-40B4-BE49-F238E27FC236}">
                    <a16:creationId xmlns:a16="http://schemas.microsoft.com/office/drawing/2014/main" id="{DF37BA70-7200-4768-9DBE-4166A2ADEE54}"/>
                  </a:ext>
                </a:extLst>
              </p:cNvPr>
              <p:cNvSpPr/>
              <p:nvPr/>
            </p:nvSpPr>
            <p:spPr>
              <a:xfrm>
                <a:off x="6937358" y="1716208"/>
                <a:ext cx="10825" cy="10884"/>
              </a:xfrm>
              <a:custGeom>
                <a:avLst/>
                <a:gdLst>
                  <a:gd name="connsiteX0" fmla="*/ 9091 w 10825"/>
                  <a:gd name="connsiteY0" fmla="*/ 9270 h 10884"/>
                  <a:gd name="connsiteX1" fmla="*/ 8672 w 10825"/>
                  <a:gd name="connsiteY1" fmla="*/ 9689 h 10884"/>
                  <a:gd name="connsiteX2" fmla="*/ 8672 w 10825"/>
                  <a:gd name="connsiteY2" fmla="*/ 9689 h 10884"/>
                  <a:gd name="connsiteX3" fmla="*/ 8612 w 10825"/>
                  <a:gd name="connsiteY3" fmla="*/ 9749 h 10884"/>
                  <a:gd name="connsiteX4" fmla="*/ 8433 w 10825"/>
                  <a:gd name="connsiteY4" fmla="*/ 9928 h 10884"/>
                  <a:gd name="connsiteX5" fmla="*/ 8373 w 10825"/>
                  <a:gd name="connsiteY5" fmla="*/ 9988 h 10884"/>
                  <a:gd name="connsiteX6" fmla="*/ 8014 w 10825"/>
                  <a:gd name="connsiteY6" fmla="*/ 10347 h 10884"/>
                  <a:gd name="connsiteX7" fmla="*/ 7894 w 10825"/>
                  <a:gd name="connsiteY7" fmla="*/ 10406 h 10884"/>
                  <a:gd name="connsiteX8" fmla="*/ 7835 w 10825"/>
                  <a:gd name="connsiteY8" fmla="*/ 10406 h 10884"/>
                  <a:gd name="connsiteX9" fmla="*/ 6579 w 10825"/>
                  <a:gd name="connsiteY9" fmla="*/ 10586 h 10884"/>
                  <a:gd name="connsiteX10" fmla="*/ 6399 w 10825"/>
                  <a:gd name="connsiteY10" fmla="*/ 10586 h 10884"/>
                  <a:gd name="connsiteX11" fmla="*/ 5024 w 10825"/>
                  <a:gd name="connsiteY11" fmla="*/ 10825 h 10884"/>
                  <a:gd name="connsiteX12" fmla="*/ 4785 w 10825"/>
                  <a:gd name="connsiteY12" fmla="*/ 10885 h 10884"/>
                  <a:gd name="connsiteX13" fmla="*/ 2153 w 10825"/>
                  <a:gd name="connsiteY13" fmla="*/ 9450 h 10884"/>
                  <a:gd name="connsiteX14" fmla="*/ 1196 w 10825"/>
                  <a:gd name="connsiteY14" fmla="*/ 8792 h 10884"/>
                  <a:gd name="connsiteX15" fmla="*/ 1136 w 10825"/>
                  <a:gd name="connsiteY15" fmla="*/ 8672 h 10884"/>
                  <a:gd name="connsiteX16" fmla="*/ 1017 w 10825"/>
                  <a:gd name="connsiteY16" fmla="*/ 8313 h 10884"/>
                  <a:gd name="connsiteX17" fmla="*/ 598 w 10825"/>
                  <a:gd name="connsiteY17" fmla="*/ 7296 h 10884"/>
                  <a:gd name="connsiteX18" fmla="*/ 538 w 10825"/>
                  <a:gd name="connsiteY18" fmla="*/ 7237 h 10884"/>
                  <a:gd name="connsiteX19" fmla="*/ 239 w 10825"/>
                  <a:gd name="connsiteY19" fmla="*/ 6519 h 10884"/>
                  <a:gd name="connsiteX20" fmla="*/ 120 w 10825"/>
                  <a:gd name="connsiteY20" fmla="*/ 6160 h 10884"/>
                  <a:gd name="connsiteX21" fmla="*/ 0 w 10825"/>
                  <a:gd name="connsiteY21" fmla="*/ 5921 h 10884"/>
                  <a:gd name="connsiteX22" fmla="*/ 180 w 10825"/>
                  <a:gd name="connsiteY22" fmla="*/ 5203 h 10884"/>
                  <a:gd name="connsiteX23" fmla="*/ 180 w 10825"/>
                  <a:gd name="connsiteY23" fmla="*/ 5143 h 10884"/>
                  <a:gd name="connsiteX24" fmla="*/ 239 w 10825"/>
                  <a:gd name="connsiteY24" fmla="*/ 4964 h 10884"/>
                  <a:gd name="connsiteX25" fmla="*/ 239 w 10825"/>
                  <a:gd name="connsiteY25" fmla="*/ 4964 h 10884"/>
                  <a:gd name="connsiteX26" fmla="*/ 239 w 10825"/>
                  <a:gd name="connsiteY26" fmla="*/ 4964 h 10884"/>
                  <a:gd name="connsiteX27" fmla="*/ 299 w 10825"/>
                  <a:gd name="connsiteY27" fmla="*/ 4665 h 10884"/>
                  <a:gd name="connsiteX28" fmla="*/ 478 w 10825"/>
                  <a:gd name="connsiteY28" fmla="*/ 3888 h 10884"/>
                  <a:gd name="connsiteX29" fmla="*/ 658 w 10825"/>
                  <a:gd name="connsiteY29" fmla="*/ 3170 h 10884"/>
                  <a:gd name="connsiteX30" fmla="*/ 718 w 10825"/>
                  <a:gd name="connsiteY30" fmla="*/ 2931 h 10884"/>
                  <a:gd name="connsiteX31" fmla="*/ 718 w 10825"/>
                  <a:gd name="connsiteY31" fmla="*/ 2811 h 10884"/>
                  <a:gd name="connsiteX32" fmla="*/ 3050 w 10825"/>
                  <a:gd name="connsiteY32" fmla="*/ 538 h 10884"/>
                  <a:gd name="connsiteX33" fmla="*/ 6100 w 10825"/>
                  <a:gd name="connsiteY33" fmla="*/ 0 h 10884"/>
                  <a:gd name="connsiteX34" fmla="*/ 8732 w 10825"/>
                  <a:gd name="connsiteY34" fmla="*/ 1435 h 10884"/>
                  <a:gd name="connsiteX35" fmla="*/ 9689 w 10825"/>
                  <a:gd name="connsiteY35" fmla="*/ 2093 h 10884"/>
                  <a:gd name="connsiteX36" fmla="*/ 10825 w 10825"/>
                  <a:gd name="connsiteY36" fmla="*/ 4964 h 10884"/>
                  <a:gd name="connsiteX37" fmla="*/ 10466 w 10825"/>
                  <a:gd name="connsiteY37" fmla="*/ 6519 h 1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825" h="10884">
                    <a:moveTo>
                      <a:pt x="9091" y="9270"/>
                    </a:moveTo>
                    <a:lnTo>
                      <a:pt x="8672" y="9689"/>
                    </a:lnTo>
                    <a:lnTo>
                      <a:pt x="8672" y="9689"/>
                    </a:lnTo>
                    <a:lnTo>
                      <a:pt x="8612" y="9749"/>
                    </a:lnTo>
                    <a:lnTo>
                      <a:pt x="8433" y="9928"/>
                    </a:lnTo>
                    <a:lnTo>
                      <a:pt x="8373" y="9988"/>
                    </a:lnTo>
                    <a:lnTo>
                      <a:pt x="8014" y="10347"/>
                    </a:lnTo>
                    <a:lnTo>
                      <a:pt x="7894" y="10406"/>
                    </a:lnTo>
                    <a:lnTo>
                      <a:pt x="7835" y="10406"/>
                    </a:lnTo>
                    <a:lnTo>
                      <a:pt x="6579" y="10586"/>
                    </a:lnTo>
                    <a:lnTo>
                      <a:pt x="6399" y="10586"/>
                    </a:lnTo>
                    <a:lnTo>
                      <a:pt x="5024" y="10825"/>
                    </a:lnTo>
                    <a:lnTo>
                      <a:pt x="4785" y="10885"/>
                    </a:lnTo>
                    <a:lnTo>
                      <a:pt x="2153" y="9450"/>
                    </a:lnTo>
                    <a:lnTo>
                      <a:pt x="1196" y="8792"/>
                    </a:lnTo>
                    <a:lnTo>
                      <a:pt x="1136" y="8672"/>
                    </a:lnTo>
                    <a:lnTo>
                      <a:pt x="1017" y="8313"/>
                    </a:lnTo>
                    <a:lnTo>
                      <a:pt x="598" y="7296"/>
                    </a:lnTo>
                    <a:lnTo>
                      <a:pt x="538" y="7237"/>
                    </a:lnTo>
                    <a:lnTo>
                      <a:pt x="239" y="6519"/>
                    </a:lnTo>
                    <a:lnTo>
                      <a:pt x="120" y="6160"/>
                    </a:lnTo>
                    <a:lnTo>
                      <a:pt x="0" y="5921"/>
                    </a:lnTo>
                    <a:lnTo>
                      <a:pt x="180" y="5203"/>
                    </a:lnTo>
                    <a:lnTo>
                      <a:pt x="180" y="5143"/>
                    </a:lnTo>
                    <a:lnTo>
                      <a:pt x="239" y="4964"/>
                    </a:lnTo>
                    <a:lnTo>
                      <a:pt x="239" y="4964"/>
                    </a:lnTo>
                    <a:lnTo>
                      <a:pt x="239" y="4964"/>
                    </a:lnTo>
                    <a:lnTo>
                      <a:pt x="299" y="4665"/>
                    </a:lnTo>
                    <a:lnTo>
                      <a:pt x="478" y="3888"/>
                    </a:lnTo>
                    <a:lnTo>
                      <a:pt x="658" y="3170"/>
                    </a:lnTo>
                    <a:lnTo>
                      <a:pt x="718" y="2931"/>
                    </a:lnTo>
                    <a:lnTo>
                      <a:pt x="718" y="2811"/>
                    </a:lnTo>
                    <a:lnTo>
                      <a:pt x="3050" y="538"/>
                    </a:lnTo>
                    <a:lnTo>
                      <a:pt x="6100" y="0"/>
                    </a:lnTo>
                    <a:lnTo>
                      <a:pt x="8732" y="1435"/>
                    </a:lnTo>
                    <a:lnTo>
                      <a:pt x="9689" y="2093"/>
                    </a:lnTo>
                    <a:lnTo>
                      <a:pt x="10825" y="4964"/>
                    </a:lnTo>
                    <a:lnTo>
                      <a:pt x="10466" y="6519"/>
                    </a:lnTo>
                  </a:path>
                </a:pathLst>
              </a:custGeom>
              <a:noFill/>
              <a:ln w="6350" cap="rnd">
                <a:solidFill>
                  <a:schemeClr val="bg1">
                    <a:alpha val="80000"/>
                  </a:schemeClr>
                </a:solidFill>
                <a:prstDash val="solid"/>
                <a:round/>
              </a:ln>
            </p:spPr>
            <p:txBody>
              <a:bodyPr rtlCol="0" anchor="ctr"/>
              <a:lstStyle/>
              <a:p>
                <a:endParaRPr lang="en-GB"/>
              </a:p>
            </p:txBody>
          </p:sp>
          <p:sp>
            <p:nvSpPr>
              <p:cNvPr id="6371" name="Vrije vorm: vorm 6370">
                <a:extLst>
                  <a:ext uri="{FF2B5EF4-FFF2-40B4-BE49-F238E27FC236}">
                    <a16:creationId xmlns:a16="http://schemas.microsoft.com/office/drawing/2014/main" id="{F972DF84-2341-4C1A-8FDF-0506B6E2C036}"/>
                  </a:ext>
                </a:extLst>
              </p:cNvPr>
              <p:cNvSpPr/>
              <p:nvPr/>
            </p:nvSpPr>
            <p:spPr>
              <a:xfrm>
                <a:off x="6778749" y="1910462"/>
                <a:ext cx="11662" cy="17284"/>
              </a:xfrm>
              <a:custGeom>
                <a:avLst/>
                <a:gdLst>
                  <a:gd name="connsiteX0" fmla="*/ 11662 w 11662"/>
                  <a:gd name="connsiteY0" fmla="*/ 17284 h 17284"/>
                  <a:gd name="connsiteX1" fmla="*/ 11304 w 11662"/>
                  <a:gd name="connsiteY1" fmla="*/ 17105 h 17284"/>
                  <a:gd name="connsiteX2" fmla="*/ 10406 w 11662"/>
                  <a:gd name="connsiteY2" fmla="*/ 16626 h 17284"/>
                  <a:gd name="connsiteX3" fmla="*/ 8433 w 11662"/>
                  <a:gd name="connsiteY3" fmla="*/ 15550 h 17284"/>
                  <a:gd name="connsiteX4" fmla="*/ 8253 w 11662"/>
                  <a:gd name="connsiteY4" fmla="*/ 15430 h 17284"/>
                  <a:gd name="connsiteX5" fmla="*/ 7237 w 11662"/>
                  <a:gd name="connsiteY5" fmla="*/ 14832 h 17284"/>
                  <a:gd name="connsiteX6" fmla="*/ 6878 w 11662"/>
                  <a:gd name="connsiteY6" fmla="*/ 14593 h 17284"/>
                  <a:gd name="connsiteX7" fmla="*/ 5024 w 11662"/>
                  <a:gd name="connsiteY7" fmla="*/ 13516 h 17284"/>
                  <a:gd name="connsiteX8" fmla="*/ 4486 w 11662"/>
                  <a:gd name="connsiteY8" fmla="*/ 13158 h 17284"/>
                  <a:gd name="connsiteX9" fmla="*/ 4127 w 11662"/>
                  <a:gd name="connsiteY9" fmla="*/ 12918 h 17284"/>
                  <a:gd name="connsiteX10" fmla="*/ 3589 w 11662"/>
                  <a:gd name="connsiteY10" fmla="*/ 12560 h 17284"/>
                  <a:gd name="connsiteX11" fmla="*/ 2930 w 11662"/>
                  <a:gd name="connsiteY11" fmla="*/ 12141 h 17284"/>
                  <a:gd name="connsiteX12" fmla="*/ 2632 w 11662"/>
                  <a:gd name="connsiteY12" fmla="*/ 11961 h 17284"/>
                  <a:gd name="connsiteX13" fmla="*/ 2273 w 11662"/>
                  <a:gd name="connsiteY13" fmla="*/ 11722 h 17284"/>
                  <a:gd name="connsiteX14" fmla="*/ 1675 w 11662"/>
                  <a:gd name="connsiteY14" fmla="*/ 11304 h 17284"/>
                  <a:gd name="connsiteX15" fmla="*/ 419 w 11662"/>
                  <a:gd name="connsiteY15" fmla="*/ 10347 h 17284"/>
                  <a:gd name="connsiteX16" fmla="*/ 60 w 11662"/>
                  <a:gd name="connsiteY16" fmla="*/ 9808 h 17284"/>
                  <a:gd name="connsiteX17" fmla="*/ 0 w 11662"/>
                  <a:gd name="connsiteY17" fmla="*/ 9749 h 17284"/>
                  <a:gd name="connsiteX18" fmla="*/ 0 w 11662"/>
                  <a:gd name="connsiteY18" fmla="*/ 9689 h 17284"/>
                  <a:gd name="connsiteX19" fmla="*/ 658 w 11662"/>
                  <a:gd name="connsiteY19" fmla="*/ 8612 h 17284"/>
                  <a:gd name="connsiteX20" fmla="*/ 837 w 11662"/>
                  <a:gd name="connsiteY20" fmla="*/ 8373 h 17284"/>
                  <a:gd name="connsiteX21" fmla="*/ 1076 w 11662"/>
                  <a:gd name="connsiteY21" fmla="*/ 7954 h 17284"/>
                  <a:gd name="connsiteX22" fmla="*/ 1256 w 11662"/>
                  <a:gd name="connsiteY22" fmla="*/ 7835 h 17284"/>
                  <a:gd name="connsiteX23" fmla="*/ 1435 w 11662"/>
                  <a:gd name="connsiteY23" fmla="*/ 7715 h 17284"/>
                  <a:gd name="connsiteX24" fmla="*/ 1675 w 11662"/>
                  <a:gd name="connsiteY24" fmla="*/ 7296 h 17284"/>
                  <a:gd name="connsiteX25" fmla="*/ 2990 w 11662"/>
                  <a:gd name="connsiteY25" fmla="*/ 5084 h 17284"/>
                  <a:gd name="connsiteX26" fmla="*/ 5144 w 11662"/>
                  <a:gd name="connsiteY26" fmla="*/ 1435 h 17284"/>
                  <a:gd name="connsiteX27" fmla="*/ 5801 w 11662"/>
                  <a:gd name="connsiteY27" fmla="*/ 359 h 17284"/>
                  <a:gd name="connsiteX28" fmla="*/ 5981 w 11662"/>
                  <a:gd name="connsiteY28" fmla="*/ 0 h 1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662" h="17284">
                    <a:moveTo>
                      <a:pt x="11662" y="17284"/>
                    </a:moveTo>
                    <a:lnTo>
                      <a:pt x="11304" y="17105"/>
                    </a:lnTo>
                    <a:lnTo>
                      <a:pt x="10406" y="16626"/>
                    </a:lnTo>
                    <a:lnTo>
                      <a:pt x="8433" y="15550"/>
                    </a:lnTo>
                    <a:lnTo>
                      <a:pt x="8253" y="15430"/>
                    </a:lnTo>
                    <a:lnTo>
                      <a:pt x="7237" y="14832"/>
                    </a:lnTo>
                    <a:lnTo>
                      <a:pt x="6878" y="14593"/>
                    </a:lnTo>
                    <a:lnTo>
                      <a:pt x="5024" y="13516"/>
                    </a:lnTo>
                    <a:lnTo>
                      <a:pt x="4486" y="13158"/>
                    </a:lnTo>
                    <a:lnTo>
                      <a:pt x="4127" y="12918"/>
                    </a:lnTo>
                    <a:lnTo>
                      <a:pt x="3589" y="12560"/>
                    </a:lnTo>
                    <a:lnTo>
                      <a:pt x="2930" y="12141"/>
                    </a:lnTo>
                    <a:lnTo>
                      <a:pt x="2632" y="11961"/>
                    </a:lnTo>
                    <a:lnTo>
                      <a:pt x="2273" y="11722"/>
                    </a:lnTo>
                    <a:lnTo>
                      <a:pt x="1675" y="11304"/>
                    </a:lnTo>
                    <a:lnTo>
                      <a:pt x="419" y="10347"/>
                    </a:lnTo>
                    <a:lnTo>
                      <a:pt x="60" y="9808"/>
                    </a:lnTo>
                    <a:lnTo>
                      <a:pt x="0" y="9749"/>
                    </a:lnTo>
                    <a:lnTo>
                      <a:pt x="0" y="9689"/>
                    </a:lnTo>
                    <a:lnTo>
                      <a:pt x="658" y="8612"/>
                    </a:lnTo>
                    <a:lnTo>
                      <a:pt x="837" y="8373"/>
                    </a:lnTo>
                    <a:lnTo>
                      <a:pt x="1076" y="7954"/>
                    </a:lnTo>
                    <a:lnTo>
                      <a:pt x="1256" y="7835"/>
                    </a:lnTo>
                    <a:lnTo>
                      <a:pt x="1435" y="7715"/>
                    </a:lnTo>
                    <a:lnTo>
                      <a:pt x="1675" y="7296"/>
                    </a:lnTo>
                    <a:lnTo>
                      <a:pt x="2990" y="5084"/>
                    </a:lnTo>
                    <a:lnTo>
                      <a:pt x="5144" y="1435"/>
                    </a:lnTo>
                    <a:lnTo>
                      <a:pt x="5801" y="359"/>
                    </a:lnTo>
                    <a:lnTo>
                      <a:pt x="5981" y="0"/>
                    </a:lnTo>
                  </a:path>
                </a:pathLst>
              </a:custGeom>
              <a:noFill/>
              <a:ln w="6350" cap="rnd">
                <a:solidFill>
                  <a:schemeClr val="bg1">
                    <a:alpha val="80000"/>
                  </a:schemeClr>
                </a:solidFill>
                <a:prstDash val="solid"/>
                <a:round/>
              </a:ln>
            </p:spPr>
            <p:txBody>
              <a:bodyPr rtlCol="0" anchor="ctr"/>
              <a:lstStyle/>
              <a:p>
                <a:endParaRPr lang="en-GB"/>
              </a:p>
            </p:txBody>
          </p:sp>
          <p:sp>
            <p:nvSpPr>
              <p:cNvPr id="6372" name="Vrije vorm: vorm 6371">
                <a:extLst>
                  <a:ext uri="{FF2B5EF4-FFF2-40B4-BE49-F238E27FC236}">
                    <a16:creationId xmlns:a16="http://schemas.microsoft.com/office/drawing/2014/main" id="{399E45D8-210E-40F2-9050-D1FAE5CE16D2}"/>
                  </a:ext>
                </a:extLst>
              </p:cNvPr>
              <p:cNvSpPr/>
              <p:nvPr/>
            </p:nvSpPr>
            <p:spPr>
              <a:xfrm>
                <a:off x="7047463" y="1842999"/>
                <a:ext cx="15669" cy="27092"/>
              </a:xfrm>
              <a:custGeom>
                <a:avLst/>
                <a:gdLst>
                  <a:gd name="connsiteX0" fmla="*/ 15669 w 15669"/>
                  <a:gd name="connsiteY0" fmla="*/ 0 h 27092"/>
                  <a:gd name="connsiteX1" fmla="*/ 13516 w 15669"/>
                  <a:gd name="connsiteY1" fmla="*/ 6160 h 27092"/>
                  <a:gd name="connsiteX2" fmla="*/ 5442 w 15669"/>
                  <a:gd name="connsiteY2" fmla="*/ 26913 h 27092"/>
                  <a:gd name="connsiteX3" fmla="*/ 4246 w 15669"/>
                  <a:gd name="connsiteY3" fmla="*/ 26973 h 27092"/>
                  <a:gd name="connsiteX4" fmla="*/ 4007 w 15669"/>
                  <a:gd name="connsiteY4" fmla="*/ 26973 h 27092"/>
                  <a:gd name="connsiteX5" fmla="*/ 3169 w 15669"/>
                  <a:gd name="connsiteY5" fmla="*/ 27033 h 27092"/>
                  <a:gd name="connsiteX6" fmla="*/ 2751 w 15669"/>
                  <a:gd name="connsiteY6" fmla="*/ 27033 h 27092"/>
                  <a:gd name="connsiteX7" fmla="*/ 2392 w 15669"/>
                  <a:gd name="connsiteY7" fmla="*/ 27033 h 27092"/>
                  <a:gd name="connsiteX8" fmla="*/ 1136 w 15669"/>
                  <a:gd name="connsiteY8" fmla="*/ 27093 h 27092"/>
                  <a:gd name="connsiteX9" fmla="*/ 1016 w 15669"/>
                  <a:gd name="connsiteY9" fmla="*/ 27033 h 27092"/>
                  <a:gd name="connsiteX10" fmla="*/ 0 w 15669"/>
                  <a:gd name="connsiteY10" fmla="*/ 26554 h 2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69" h="27092">
                    <a:moveTo>
                      <a:pt x="15669" y="0"/>
                    </a:moveTo>
                    <a:lnTo>
                      <a:pt x="13516" y="6160"/>
                    </a:lnTo>
                    <a:lnTo>
                      <a:pt x="5442" y="26913"/>
                    </a:lnTo>
                    <a:lnTo>
                      <a:pt x="4246" y="26973"/>
                    </a:lnTo>
                    <a:lnTo>
                      <a:pt x="4007" y="26973"/>
                    </a:lnTo>
                    <a:lnTo>
                      <a:pt x="3169" y="27033"/>
                    </a:lnTo>
                    <a:lnTo>
                      <a:pt x="2751" y="27033"/>
                    </a:lnTo>
                    <a:lnTo>
                      <a:pt x="2392" y="27033"/>
                    </a:lnTo>
                    <a:lnTo>
                      <a:pt x="1136" y="27093"/>
                    </a:lnTo>
                    <a:lnTo>
                      <a:pt x="1016" y="27033"/>
                    </a:lnTo>
                    <a:lnTo>
                      <a:pt x="0" y="26554"/>
                    </a:lnTo>
                  </a:path>
                </a:pathLst>
              </a:custGeom>
              <a:noFill/>
              <a:ln w="6350" cap="rnd">
                <a:solidFill>
                  <a:schemeClr val="bg1">
                    <a:alpha val="80000"/>
                  </a:schemeClr>
                </a:solidFill>
                <a:prstDash val="solid"/>
                <a:round/>
              </a:ln>
            </p:spPr>
            <p:txBody>
              <a:bodyPr rtlCol="0" anchor="ctr"/>
              <a:lstStyle/>
              <a:p>
                <a:endParaRPr lang="en-GB"/>
              </a:p>
            </p:txBody>
          </p:sp>
          <p:sp>
            <p:nvSpPr>
              <p:cNvPr id="6373" name="Vrije vorm: vorm 6372">
                <a:extLst>
                  <a:ext uri="{FF2B5EF4-FFF2-40B4-BE49-F238E27FC236}">
                    <a16:creationId xmlns:a16="http://schemas.microsoft.com/office/drawing/2014/main" id="{DD5F03D8-B500-40CD-86DA-E87FB0C11814}"/>
                  </a:ext>
                </a:extLst>
              </p:cNvPr>
              <p:cNvSpPr/>
              <p:nvPr/>
            </p:nvSpPr>
            <p:spPr>
              <a:xfrm>
                <a:off x="6841547" y="1786541"/>
                <a:ext cx="13217" cy="21889"/>
              </a:xfrm>
              <a:custGeom>
                <a:avLst/>
                <a:gdLst>
                  <a:gd name="connsiteX0" fmla="*/ 0 w 13217"/>
                  <a:gd name="connsiteY0" fmla="*/ 21889 h 21889"/>
                  <a:gd name="connsiteX1" fmla="*/ 5024 w 13217"/>
                  <a:gd name="connsiteY1" fmla="*/ 13098 h 21889"/>
                  <a:gd name="connsiteX2" fmla="*/ 5024 w 13217"/>
                  <a:gd name="connsiteY2" fmla="*/ 13098 h 21889"/>
                  <a:gd name="connsiteX3" fmla="*/ 5024 w 13217"/>
                  <a:gd name="connsiteY3" fmla="*/ 13098 h 21889"/>
                  <a:gd name="connsiteX4" fmla="*/ 6519 w 13217"/>
                  <a:gd name="connsiteY4" fmla="*/ 10526 h 21889"/>
                  <a:gd name="connsiteX5" fmla="*/ 13217 w 13217"/>
                  <a:gd name="connsiteY5" fmla="*/ 0 h 21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17" h="21889">
                    <a:moveTo>
                      <a:pt x="0" y="21889"/>
                    </a:moveTo>
                    <a:lnTo>
                      <a:pt x="5024" y="13098"/>
                    </a:lnTo>
                    <a:lnTo>
                      <a:pt x="5024" y="13098"/>
                    </a:lnTo>
                    <a:lnTo>
                      <a:pt x="5024" y="13098"/>
                    </a:lnTo>
                    <a:lnTo>
                      <a:pt x="6519" y="10526"/>
                    </a:lnTo>
                    <a:lnTo>
                      <a:pt x="13217" y="0"/>
                    </a:lnTo>
                  </a:path>
                </a:pathLst>
              </a:custGeom>
              <a:noFill/>
              <a:ln w="6350" cap="rnd">
                <a:solidFill>
                  <a:schemeClr val="bg1">
                    <a:alpha val="80000"/>
                  </a:schemeClr>
                </a:solidFill>
                <a:prstDash val="solid"/>
                <a:round/>
              </a:ln>
            </p:spPr>
            <p:txBody>
              <a:bodyPr rtlCol="0" anchor="ctr"/>
              <a:lstStyle/>
              <a:p>
                <a:endParaRPr lang="en-GB"/>
              </a:p>
            </p:txBody>
          </p:sp>
          <p:sp>
            <p:nvSpPr>
              <p:cNvPr id="6374" name="Vrije vorm: vorm 6373">
                <a:extLst>
                  <a:ext uri="{FF2B5EF4-FFF2-40B4-BE49-F238E27FC236}">
                    <a16:creationId xmlns:a16="http://schemas.microsoft.com/office/drawing/2014/main" id="{CD2ADDCF-73A9-4B3F-A086-C0E62969EEE2}"/>
                  </a:ext>
                </a:extLst>
              </p:cNvPr>
              <p:cNvSpPr/>
              <p:nvPr/>
            </p:nvSpPr>
            <p:spPr>
              <a:xfrm>
                <a:off x="7038313" y="1868417"/>
                <a:ext cx="12559" cy="9569"/>
              </a:xfrm>
              <a:custGeom>
                <a:avLst/>
                <a:gdLst>
                  <a:gd name="connsiteX0" fmla="*/ 12380 w 12559"/>
                  <a:gd name="connsiteY0" fmla="*/ 1615 h 9569"/>
                  <a:gd name="connsiteX1" fmla="*/ 12500 w 12559"/>
                  <a:gd name="connsiteY1" fmla="*/ 1734 h 9569"/>
                  <a:gd name="connsiteX2" fmla="*/ 12559 w 12559"/>
                  <a:gd name="connsiteY2" fmla="*/ 2153 h 9569"/>
                  <a:gd name="connsiteX3" fmla="*/ 12559 w 12559"/>
                  <a:gd name="connsiteY3" fmla="*/ 2392 h 9569"/>
                  <a:gd name="connsiteX4" fmla="*/ 9629 w 12559"/>
                  <a:gd name="connsiteY4" fmla="*/ 9330 h 9569"/>
                  <a:gd name="connsiteX5" fmla="*/ 9211 w 12559"/>
                  <a:gd name="connsiteY5" fmla="*/ 9569 h 9569"/>
                  <a:gd name="connsiteX6" fmla="*/ 8253 w 12559"/>
                  <a:gd name="connsiteY6" fmla="*/ 9509 h 9569"/>
                  <a:gd name="connsiteX7" fmla="*/ 7954 w 12559"/>
                  <a:gd name="connsiteY7" fmla="*/ 9509 h 9569"/>
                  <a:gd name="connsiteX8" fmla="*/ 6758 w 12559"/>
                  <a:gd name="connsiteY8" fmla="*/ 9450 h 9569"/>
                  <a:gd name="connsiteX9" fmla="*/ 5861 w 12559"/>
                  <a:gd name="connsiteY9" fmla="*/ 9390 h 9569"/>
                  <a:gd name="connsiteX10" fmla="*/ 4964 w 12559"/>
                  <a:gd name="connsiteY10" fmla="*/ 9330 h 9569"/>
                  <a:gd name="connsiteX11" fmla="*/ 4545 w 12559"/>
                  <a:gd name="connsiteY11" fmla="*/ 9330 h 9569"/>
                  <a:gd name="connsiteX12" fmla="*/ 4126 w 12559"/>
                  <a:gd name="connsiteY12" fmla="*/ 9330 h 9569"/>
                  <a:gd name="connsiteX13" fmla="*/ 4126 w 12559"/>
                  <a:gd name="connsiteY13" fmla="*/ 9330 h 9569"/>
                  <a:gd name="connsiteX14" fmla="*/ 2990 w 12559"/>
                  <a:gd name="connsiteY14" fmla="*/ 9270 h 9569"/>
                  <a:gd name="connsiteX15" fmla="*/ 1854 w 12559"/>
                  <a:gd name="connsiteY15" fmla="*/ 9210 h 9569"/>
                  <a:gd name="connsiteX16" fmla="*/ 0 w 12559"/>
                  <a:gd name="connsiteY16" fmla="*/ 8433 h 9569"/>
                  <a:gd name="connsiteX17" fmla="*/ 120 w 12559"/>
                  <a:gd name="connsiteY17" fmla="*/ 6938 h 9569"/>
                  <a:gd name="connsiteX18" fmla="*/ 180 w 12559"/>
                  <a:gd name="connsiteY18" fmla="*/ 6041 h 9569"/>
                  <a:gd name="connsiteX19" fmla="*/ 1495 w 12559"/>
                  <a:gd name="connsiteY19" fmla="*/ 3110 h 9569"/>
                  <a:gd name="connsiteX20" fmla="*/ 1914 w 12559"/>
                  <a:gd name="connsiteY20" fmla="*/ 2153 h 9569"/>
                  <a:gd name="connsiteX21" fmla="*/ 2033 w 12559"/>
                  <a:gd name="connsiteY21" fmla="*/ 1974 h 9569"/>
                  <a:gd name="connsiteX22" fmla="*/ 3349 w 12559"/>
                  <a:gd name="connsiteY22" fmla="*/ 299 h 9569"/>
                  <a:gd name="connsiteX23" fmla="*/ 3588 w 12559"/>
                  <a:gd name="connsiteY23" fmla="*/ 0 h 9569"/>
                  <a:gd name="connsiteX24" fmla="*/ 6758 w 12559"/>
                  <a:gd name="connsiteY24" fmla="*/ 239 h 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59" h="9569">
                    <a:moveTo>
                      <a:pt x="12380" y="1615"/>
                    </a:moveTo>
                    <a:lnTo>
                      <a:pt x="12500" y="1734"/>
                    </a:lnTo>
                    <a:lnTo>
                      <a:pt x="12559" y="2153"/>
                    </a:lnTo>
                    <a:lnTo>
                      <a:pt x="12559" y="2392"/>
                    </a:lnTo>
                    <a:lnTo>
                      <a:pt x="9629" y="9330"/>
                    </a:lnTo>
                    <a:lnTo>
                      <a:pt x="9211" y="9569"/>
                    </a:lnTo>
                    <a:lnTo>
                      <a:pt x="8253" y="9509"/>
                    </a:lnTo>
                    <a:lnTo>
                      <a:pt x="7954" y="9509"/>
                    </a:lnTo>
                    <a:lnTo>
                      <a:pt x="6758" y="9450"/>
                    </a:lnTo>
                    <a:lnTo>
                      <a:pt x="5861" y="9390"/>
                    </a:lnTo>
                    <a:lnTo>
                      <a:pt x="4964" y="9330"/>
                    </a:lnTo>
                    <a:lnTo>
                      <a:pt x="4545" y="9330"/>
                    </a:lnTo>
                    <a:lnTo>
                      <a:pt x="4126" y="9330"/>
                    </a:lnTo>
                    <a:lnTo>
                      <a:pt x="4126" y="9330"/>
                    </a:lnTo>
                    <a:lnTo>
                      <a:pt x="2990" y="9270"/>
                    </a:lnTo>
                    <a:lnTo>
                      <a:pt x="1854" y="9210"/>
                    </a:lnTo>
                    <a:lnTo>
                      <a:pt x="0" y="8433"/>
                    </a:lnTo>
                    <a:lnTo>
                      <a:pt x="120" y="6938"/>
                    </a:lnTo>
                    <a:lnTo>
                      <a:pt x="180" y="6041"/>
                    </a:lnTo>
                    <a:lnTo>
                      <a:pt x="1495" y="3110"/>
                    </a:lnTo>
                    <a:lnTo>
                      <a:pt x="1914" y="2153"/>
                    </a:lnTo>
                    <a:lnTo>
                      <a:pt x="2033" y="1974"/>
                    </a:lnTo>
                    <a:lnTo>
                      <a:pt x="3349" y="299"/>
                    </a:lnTo>
                    <a:lnTo>
                      <a:pt x="3588" y="0"/>
                    </a:lnTo>
                    <a:lnTo>
                      <a:pt x="6758" y="239"/>
                    </a:lnTo>
                  </a:path>
                </a:pathLst>
              </a:custGeom>
              <a:noFill/>
              <a:ln w="6350" cap="rnd">
                <a:solidFill>
                  <a:schemeClr val="bg1">
                    <a:alpha val="80000"/>
                  </a:schemeClr>
                </a:solidFill>
                <a:prstDash val="solid"/>
                <a:round/>
              </a:ln>
            </p:spPr>
            <p:txBody>
              <a:bodyPr rtlCol="0" anchor="ctr"/>
              <a:lstStyle/>
              <a:p>
                <a:endParaRPr lang="en-GB"/>
              </a:p>
            </p:txBody>
          </p:sp>
          <p:sp>
            <p:nvSpPr>
              <p:cNvPr id="6375" name="Vrije vorm: vorm 6374">
                <a:extLst>
                  <a:ext uri="{FF2B5EF4-FFF2-40B4-BE49-F238E27FC236}">
                    <a16:creationId xmlns:a16="http://schemas.microsoft.com/office/drawing/2014/main" id="{2480984F-ADEE-4AAE-A13C-E33BD3946C59}"/>
                  </a:ext>
                </a:extLst>
              </p:cNvPr>
              <p:cNvSpPr/>
              <p:nvPr/>
            </p:nvSpPr>
            <p:spPr>
              <a:xfrm>
                <a:off x="6906916" y="2068233"/>
                <a:ext cx="7475" cy="8492"/>
              </a:xfrm>
              <a:custGeom>
                <a:avLst/>
                <a:gdLst>
                  <a:gd name="connsiteX0" fmla="*/ 7476 w 7475"/>
                  <a:gd name="connsiteY0" fmla="*/ 0 h 8492"/>
                  <a:gd name="connsiteX1" fmla="*/ 4605 w 7475"/>
                  <a:gd name="connsiteY1" fmla="*/ 3708 h 8492"/>
                  <a:gd name="connsiteX2" fmla="*/ 0 w 7475"/>
                  <a:gd name="connsiteY2" fmla="*/ 8493 h 8492"/>
                </a:gdLst>
                <a:ahLst/>
                <a:cxnLst>
                  <a:cxn ang="0">
                    <a:pos x="connsiteX0" y="connsiteY0"/>
                  </a:cxn>
                  <a:cxn ang="0">
                    <a:pos x="connsiteX1" y="connsiteY1"/>
                  </a:cxn>
                  <a:cxn ang="0">
                    <a:pos x="connsiteX2" y="connsiteY2"/>
                  </a:cxn>
                </a:cxnLst>
                <a:rect l="l" t="t" r="r" b="b"/>
                <a:pathLst>
                  <a:path w="7475" h="8492">
                    <a:moveTo>
                      <a:pt x="7476" y="0"/>
                    </a:moveTo>
                    <a:lnTo>
                      <a:pt x="4605" y="3708"/>
                    </a:lnTo>
                    <a:lnTo>
                      <a:pt x="0" y="8493"/>
                    </a:lnTo>
                  </a:path>
                </a:pathLst>
              </a:custGeom>
              <a:noFill/>
              <a:ln w="6350" cap="rnd">
                <a:solidFill>
                  <a:schemeClr val="bg1">
                    <a:alpha val="80000"/>
                  </a:schemeClr>
                </a:solidFill>
                <a:prstDash val="solid"/>
                <a:round/>
              </a:ln>
            </p:spPr>
            <p:txBody>
              <a:bodyPr rtlCol="0" anchor="ctr"/>
              <a:lstStyle/>
              <a:p>
                <a:endParaRPr lang="en-GB"/>
              </a:p>
            </p:txBody>
          </p:sp>
          <p:sp>
            <p:nvSpPr>
              <p:cNvPr id="6376" name="Vrije vorm: vorm 6375">
                <a:extLst>
                  <a:ext uri="{FF2B5EF4-FFF2-40B4-BE49-F238E27FC236}">
                    <a16:creationId xmlns:a16="http://schemas.microsoft.com/office/drawing/2014/main" id="{53B51C54-4AC3-4CC3-90D5-5E6129782642}"/>
                  </a:ext>
                </a:extLst>
              </p:cNvPr>
              <p:cNvSpPr/>
              <p:nvPr/>
            </p:nvSpPr>
            <p:spPr>
              <a:xfrm>
                <a:off x="6781979" y="1881695"/>
                <a:ext cx="6518" cy="8373"/>
              </a:xfrm>
              <a:custGeom>
                <a:avLst/>
                <a:gdLst>
                  <a:gd name="connsiteX0" fmla="*/ 0 w 6518"/>
                  <a:gd name="connsiteY0" fmla="*/ 0 h 8373"/>
                  <a:gd name="connsiteX1" fmla="*/ 2093 w 6518"/>
                  <a:gd name="connsiteY1" fmla="*/ 1675 h 8373"/>
                  <a:gd name="connsiteX2" fmla="*/ 2153 w 6518"/>
                  <a:gd name="connsiteY2" fmla="*/ 1675 h 8373"/>
                  <a:gd name="connsiteX3" fmla="*/ 2512 w 6518"/>
                  <a:gd name="connsiteY3" fmla="*/ 1974 h 8373"/>
                  <a:gd name="connsiteX4" fmla="*/ 3827 w 6518"/>
                  <a:gd name="connsiteY4" fmla="*/ 3050 h 8373"/>
                  <a:gd name="connsiteX5" fmla="*/ 4486 w 6518"/>
                  <a:gd name="connsiteY5" fmla="*/ 3588 h 8373"/>
                  <a:gd name="connsiteX6" fmla="*/ 4545 w 6518"/>
                  <a:gd name="connsiteY6" fmla="*/ 3708 h 8373"/>
                  <a:gd name="connsiteX7" fmla="*/ 4605 w 6518"/>
                  <a:gd name="connsiteY7" fmla="*/ 3828 h 8373"/>
                  <a:gd name="connsiteX8" fmla="*/ 5143 w 6518"/>
                  <a:gd name="connsiteY8" fmla="*/ 4725 h 8373"/>
                  <a:gd name="connsiteX9" fmla="*/ 5263 w 6518"/>
                  <a:gd name="connsiteY9" fmla="*/ 4904 h 8373"/>
                  <a:gd name="connsiteX10" fmla="*/ 5861 w 6518"/>
                  <a:gd name="connsiteY10" fmla="*/ 5921 h 8373"/>
                  <a:gd name="connsiteX11" fmla="*/ 6280 w 6518"/>
                  <a:gd name="connsiteY11" fmla="*/ 6698 h 8373"/>
                  <a:gd name="connsiteX12" fmla="*/ 6519 w 6518"/>
                  <a:gd name="connsiteY12" fmla="*/ 7117 h 8373"/>
                  <a:gd name="connsiteX13" fmla="*/ 6160 w 6518"/>
                  <a:gd name="connsiteY13" fmla="*/ 7596 h 8373"/>
                  <a:gd name="connsiteX14" fmla="*/ 5502 w 6518"/>
                  <a:gd name="connsiteY14" fmla="*/ 8373 h 8373"/>
                  <a:gd name="connsiteX15" fmla="*/ 3947 w 6518"/>
                  <a:gd name="connsiteY15" fmla="*/ 7775 h 8373"/>
                  <a:gd name="connsiteX16" fmla="*/ 3110 w 6518"/>
                  <a:gd name="connsiteY16" fmla="*/ 7416 h 8373"/>
                  <a:gd name="connsiteX17" fmla="*/ 2871 w 6518"/>
                  <a:gd name="connsiteY17" fmla="*/ 7356 h 8373"/>
                  <a:gd name="connsiteX18" fmla="*/ 2392 w 6518"/>
                  <a:gd name="connsiteY18" fmla="*/ 7177 h 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18" h="8373">
                    <a:moveTo>
                      <a:pt x="0" y="0"/>
                    </a:moveTo>
                    <a:lnTo>
                      <a:pt x="2093" y="1675"/>
                    </a:lnTo>
                    <a:lnTo>
                      <a:pt x="2153" y="1675"/>
                    </a:lnTo>
                    <a:lnTo>
                      <a:pt x="2512" y="1974"/>
                    </a:lnTo>
                    <a:lnTo>
                      <a:pt x="3827" y="3050"/>
                    </a:lnTo>
                    <a:lnTo>
                      <a:pt x="4486" y="3588"/>
                    </a:lnTo>
                    <a:lnTo>
                      <a:pt x="4545" y="3708"/>
                    </a:lnTo>
                    <a:lnTo>
                      <a:pt x="4605" y="3828"/>
                    </a:lnTo>
                    <a:lnTo>
                      <a:pt x="5143" y="4725"/>
                    </a:lnTo>
                    <a:lnTo>
                      <a:pt x="5263" y="4904"/>
                    </a:lnTo>
                    <a:lnTo>
                      <a:pt x="5861" y="5921"/>
                    </a:lnTo>
                    <a:lnTo>
                      <a:pt x="6280" y="6698"/>
                    </a:lnTo>
                    <a:lnTo>
                      <a:pt x="6519" y="7117"/>
                    </a:lnTo>
                    <a:lnTo>
                      <a:pt x="6160" y="7596"/>
                    </a:lnTo>
                    <a:lnTo>
                      <a:pt x="5502" y="8373"/>
                    </a:lnTo>
                    <a:lnTo>
                      <a:pt x="3947" y="7775"/>
                    </a:lnTo>
                    <a:lnTo>
                      <a:pt x="3110" y="7416"/>
                    </a:lnTo>
                    <a:lnTo>
                      <a:pt x="2871" y="7356"/>
                    </a:lnTo>
                    <a:lnTo>
                      <a:pt x="2392" y="7177"/>
                    </a:lnTo>
                  </a:path>
                </a:pathLst>
              </a:custGeom>
              <a:noFill/>
              <a:ln w="6350" cap="rnd">
                <a:solidFill>
                  <a:schemeClr val="bg1">
                    <a:alpha val="80000"/>
                  </a:schemeClr>
                </a:solidFill>
                <a:prstDash val="solid"/>
                <a:round/>
              </a:ln>
            </p:spPr>
            <p:txBody>
              <a:bodyPr rtlCol="0" anchor="ctr"/>
              <a:lstStyle/>
              <a:p>
                <a:endParaRPr lang="en-GB"/>
              </a:p>
            </p:txBody>
          </p:sp>
          <p:sp>
            <p:nvSpPr>
              <p:cNvPr id="6377" name="Vrije vorm: vorm 6376">
                <a:extLst>
                  <a:ext uri="{FF2B5EF4-FFF2-40B4-BE49-F238E27FC236}">
                    <a16:creationId xmlns:a16="http://schemas.microsoft.com/office/drawing/2014/main" id="{CCC8F839-ACDD-4141-970F-8526F8EB3F4F}"/>
                  </a:ext>
                </a:extLst>
              </p:cNvPr>
              <p:cNvSpPr/>
              <p:nvPr/>
            </p:nvSpPr>
            <p:spPr>
              <a:xfrm>
                <a:off x="6845614" y="1684929"/>
                <a:ext cx="37080" cy="43240"/>
              </a:xfrm>
              <a:custGeom>
                <a:avLst/>
                <a:gdLst>
                  <a:gd name="connsiteX0" fmla="*/ 30681 w 37080"/>
                  <a:gd name="connsiteY0" fmla="*/ 21949 h 43240"/>
                  <a:gd name="connsiteX1" fmla="*/ 18480 w 37080"/>
                  <a:gd name="connsiteY1" fmla="*/ 42463 h 43240"/>
                  <a:gd name="connsiteX2" fmla="*/ 16746 w 37080"/>
                  <a:gd name="connsiteY2" fmla="*/ 43241 h 43240"/>
                  <a:gd name="connsiteX3" fmla="*/ 2631 w 37080"/>
                  <a:gd name="connsiteY3" fmla="*/ 35226 h 43240"/>
                  <a:gd name="connsiteX4" fmla="*/ 179 w 37080"/>
                  <a:gd name="connsiteY4" fmla="*/ 33671 h 43240"/>
                  <a:gd name="connsiteX5" fmla="*/ 0 w 37080"/>
                  <a:gd name="connsiteY5" fmla="*/ 31817 h 43240"/>
                  <a:gd name="connsiteX6" fmla="*/ 18480 w 37080"/>
                  <a:gd name="connsiteY6" fmla="*/ 778 h 43240"/>
                  <a:gd name="connsiteX7" fmla="*/ 20215 w 37080"/>
                  <a:gd name="connsiteY7" fmla="*/ 0 h 43240"/>
                  <a:gd name="connsiteX8" fmla="*/ 34509 w 37080"/>
                  <a:gd name="connsiteY8" fmla="*/ 7775 h 43240"/>
                  <a:gd name="connsiteX9" fmla="*/ 36901 w 37080"/>
                  <a:gd name="connsiteY9" fmla="*/ 9390 h 43240"/>
                  <a:gd name="connsiteX10" fmla="*/ 37080 w 37080"/>
                  <a:gd name="connsiteY10" fmla="*/ 11244 h 43240"/>
                  <a:gd name="connsiteX11" fmla="*/ 34568 w 37080"/>
                  <a:gd name="connsiteY11" fmla="*/ 15430 h 4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080" h="43240">
                    <a:moveTo>
                      <a:pt x="30681" y="21949"/>
                    </a:moveTo>
                    <a:lnTo>
                      <a:pt x="18480" y="42463"/>
                    </a:lnTo>
                    <a:lnTo>
                      <a:pt x="16746" y="43241"/>
                    </a:lnTo>
                    <a:lnTo>
                      <a:pt x="2631" y="35226"/>
                    </a:lnTo>
                    <a:lnTo>
                      <a:pt x="179" y="33671"/>
                    </a:lnTo>
                    <a:lnTo>
                      <a:pt x="0" y="31817"/>
                    </a:lnTo>
                    <a:lnTo>
                      <a:pt x="18480" y="778"/>
                    </a:lnTo>
                    <a:lnTo>
                      <a:pt x="20215" y="0"/>
                    </a:lnTo>
                    <a:lnTo>
                      <a:pt x="34509" y="7775"/>
                    </a:lnTo>
                    <a:lnTo>
                      <a:pt x="36901" y="9390"/>
                    </a:lnTo>
                    <a:lnTo>
                      <a:pt x="37080" y="11244"/>
                    </a:lnTo>
                    <a:lnTo>
                      <a:pt x="34568" y="15430"/>
                    </a:lnTo>
                  </a:path>
                </a:pathLst>
              </a:custGeom>
              <a:noFill/>
              <a:ln w="6350" cap="rnd">
                <a:solidFill>
                  <a:schemeClr val="bg1">
                    <a:alpha val="80000"/>
                  </a:schemeClr>
                </a:solidFill>
                <a:prstDash val="solid"/>
                <a:round/>
              </a:ln>
            </p:spPr>
            <p:txBody>
              <a:bodyPr rtlCol="0" anchor="ctr"/>
              <a:lstStyle/>
              <a:p>
                <a:endParaRPr lang="en-GB"/>
              </a:p>
            </p:txBody>
          </p:sp>
          <p:sp>
            <p:nvSpPr>
              <p:cNvPr id="6378" name="Vrije vorm: vorm 6377">
                <a:extLst>
                  <a:ext uri="{FF2B5EF4-FFF2-40B4-BE49-F238E27FC236}">
                    <a16:creationId xmlns:a16="http://schemas.microsoft.com/office/drawing/2014/main" id="{8E28411F-B79E-4C9C-B15A-B9AB3B7765ED}"/>
                  </a:ext>
                </a:extLst>
              </p:cNvPr>
              <p:cNvSpPr/>
              <p:nvPr/>
            </p:nvSpPr>
            <p:spPr>
              <a:xfrm>
                <a:off x="6767864" y="1850954"/>
                <a:ext cx="1256" cy="2452"/>
              </a:xfrm>
              <a:custGeom>
                <a:avLst/>
                <a:gdLst>
                  <a:gd name="connsiteX0" fmla="*/ 419 w 1256"/>
                  <a:gd name="connsiteY0" fmla="*/ 2452 h 2452"/>
                  <a:gd name="connsiteX1" fmla="*/ 0 w 1256"/>
                  <a:gd name="connsiteY1" fmla="*/ 1974 h 2452"/>
                  <a:gd name="connsiteX2" fmla="*/ 419 w 1256"/>
                  <a:gd name="connsiteY2" fmla="*/ 419 h 2452"/>
                  <a:gd name="connsiteX3" fmla="*/ 1256 w 1256"/>
                  <a:gd name="connsiteY3" fmla="*/ 0 h 2452"/>
                </a:gdLst>
                <a:ahLst/>
                <a:cxnLst>
                  <a:cxn ang="0">
                    <a:pos x="connsiteX0" y="connsiteY0"/>
                  </a:cxn>
                  <a:cxn ang="0">
                    <a:pos x="connsiteX1" y="connsiteY1"/>
                  </a:cxn>
                  <a:cxn ang="0">
                    <a:pos x="connsiteX2" y="connsiteY2"/>
                  </a:cxn>
                  <a:cxn ang="0">
                    <a:pos x="connsiteX3" y="connsiteY3"/>
                  </a:cxn>
                </a:cxnLst>
                <a:rect l="l" t="t" r="r" b="b"/>
                <a:pathLst>
                  <a:path w="1256" h="2452">
                    <a:moveTo>
                      <a:pt x="419" y="2452"/>
                    </a:moveTo>
                    <a:lnTo>
                      <a:pt x="0" y="1974"/>
                    </a:lnTo>
                    <a:lnTo>
                      <a:pt x="419" y="419"/>
                    </a:lnTo>
                    <a:lnTo>
                      <a:pt x="1256" y="0"/>
                    </a:lnTo>
                  </a:path>
                </a:pathLst>
              </a:custGeom>
              <a:noFill/>
              <a:ln w="6350" cap="rnd">
                <a:solidFill>
                  <a:schemeClr val="bg1">
                    <a:alpha val="80000"/>
                  </a:schemeClr>
                </a:solidFill>
                <a:prstDash val="solid"/>
                <a:round/>
              </a:ln>
            </p:spPr>
            <p:txBody>
              <a:bodyPr rtlCol="0" anchor="ctr"/>
              <a:lstStyle/>
              <a:p>
                <a:endParaRPr lang="en-GB"/>
              </a:p>
            </p:txBody>
          </p:sp>
          <p:sp>
            <p:nvSpPr>
              <p:cNvPr id="6379" name="Vrije vorm: vorm 6378">
                <a:extLst>
                  <a:ext uri="{FF2B5EF4-FFF2-40B4-BE49-F238E27FC236}">
                    <a16:creationId xmlns:a16="http://schemas.microsoft.com/office/drawing/2014/main" id="{04D4BAC5-C654-44ED-A0E1-EEB06C2BD02C}"/>
                  </a:ext>
                </a:extLst>
              </p:cNvPr>
              <p:cNvSpPr/>
              <p:nvPr/>
            </p:nvSpPr>
            <p:spPr>
              <a:xfrm>
                <a:off x="7081793" y="1875594"/>
                <a:ext cx="12439" cy="8851"/>
              </a:xfrm>
              <a:custGeom>
                <a:avLst/>
                <a:gdLst>
                  <a:gd name="connsiteX0" fmla="*/ 11304 w 12439"/>
                  <a:gd name="connsiteY0" fmla="*/ 0 h 8851"/>
                  <a:gd name="connsiteX1" fmla="*/ 12081 w 12439"/>
                  <a:gd name="connsiteY1" fmla="*/ 897 h 8851"/>
                  <a:gd name="connsiteX2" fmla="*/ 12260 w 12439"/>
                  <a:gd name="connsiteY2" fmla="*/ 1675 h 8851"/>
                  <a:gd name="connsiteX3" fmla="*/ 12440 w 12439"/>
                  <a:gd name="connsiteY3" fmla="*/ 3110 h 8851"/>
                  <a:gd name="connsiteX4" fmla="*/ 12141 w 12439"/>
                  <a:gd name="connsiteY4" fmla="*/ 4007 h 8851"/>
                  <a:gd name="connsiteX5" fmla="*/ 10885 w 12439"/>
                  <a:gd name="connsiteY5" fmla="*/ 5981 h 8851"/>
                  <a:gd name="connsiteX6" fmla="*/ 6938 w 12439"/>
                  <a:gd name="connsiteY6" fmla="*/ 8493 h 8851"/>
                  <a:gd name="connsiteX7" fmla="*/ 5681 w 12439"/>
                  <a:gd name="connsiteY7" fmla="*/ 8851 h 8851"/>
                  <a:gd name="connsiteX8" fmla="*/ 478 w 12439"/>
                  <a:gd name="connsiteY8" fmla="*/ 5861 h 8851"/>
                  <a:gd name="connsiteX9" fmla="*/ 0 w 12439"/>
                  <a:gd name="connsiteY9" fmla="*/ 5562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9" h="8851">
                    <a:moveTo>
                      <a:pt x="11304" y="0"/>
                    </a:moveTo>
                    <a:lnTo>
                      <a:pt x="12081" y="897"/>
                    </a:lnTo>
                    <a:lnTo>
                      <a:pt x="12260" y="1675"/>
                    </a:lnTo>
                    <a:lnTo>
                      <a:pt x="12440" y="3110"/>
                    </a:lnTo>
                    <a:lnTo>
                      <a:pt x="12141" y="4007"/>
                    </a:lnTo>
                    <a:lnTo>
                      <a:pt x="10885" y="5981"/>
                    </a:lnTo>
                    <a:lnTo>
                      <a:pt x="6938" y="8493"/>
                    </a:lnTo>
                    <a:lnTo>
                      <a:pt x="5681" y="8851"/>
                    </a:lnTo>
                    <a:lnTo>
                      <a:pt x="478" y="5861"/>
                    </a:lnTo>
                    <a:lnTo>
                      <a:pt x="0" y="5562"/>
                    </a:lnTo>
                  </a:path>
                </a:pathLst>
              </a:custGeom>
              <a:noFill/>
              <a:ln w="6350" cap="rnd">
                <a:solidFill>
                  <a:schemeClr val="bg1">
                    <a:alpha val="80000"/>
                  </a:schemeClr>
                </a:solidFill>
                <a:prstDash val="solid"/>
                <a:round/>
              </a:ln>
            </p:spPr>
            <p:txBody>
              <a:bodyPr rtlCol="0" anchor="ctr"/>
              <a:lstStyle/>
              <a:p>
                <a:endParaRPr lang="en-GB"/>
              </a:p>
            </p:txBody>
          </p:sp>
          <p:sp>
            <p:nvSpPr>
              <p:cNvPr id="6380" name="Vrije vorm: vorm 6379">
                <a:extLst>
                  <a:ext uri="{FF2B5EF4-FFF2-40B4-BE49-F238E27FC236}">
                    <a16:creationId xmlns:a16="http://schemas.microsoft.com/office/drawing/2014/main" id="{C7D61DEE-6093-44CC-ACC0-3D5DD5ED6CEF}"/>
                  </a:ext>
                </a:extLst>
              </p:cNvPr>
              <p:cNvSpPr/>
              <p:nvPr/>
            </p:nvSpPr>
            <p:spPr>
              <a:xfrm>
                <a:off x="6963733" y="1722428"/>
                <a:ext cx="7296" cy="3887"/>
              </a:xfrm>
              <a:custGeom>
                <a:avLst/>
                <a:gdLst>
                  <a:gd name="connsiteX0" fmla="*/ 0 w 7296"/>
                  <a:gd name="connsiteY0" fmla="*/ 239 h 3887"/>
                  <a:gd name="connsiteX1" fmla="*/ 120 w 7296"/>
                  <a:gd name="connsiteY1" fmla="*/ 0 h 3887"/>
                  <a:gd name="connsiteX2" fmla="*/ 2153 w 7296"/>
                  <a:gd name="connsiteY2" fmla="*/ 777 h 3887"/>
                  <a:gd name="connsiteX3" fmla="*/ 7296 w 7296"/>
                  <a:gd name="connsiteY3" fmla="*/ 3289 h 3887"/>
                  <a:gd name="connsiteX4" fmla="*/ 7296 w 7296"/>
                  <a:gd name="connsiteY4" fmla="*/ 3349 h 3887"/>
                  <a:gd name="connsiteX5" fmla="*/ 6997 w 7296"/>
                  <a:gd name="connsiteY5" fmla="*/ 3887 h 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 h="3887">
                    <a:moveTo>
                      <a:pt x="0" y="239"/>
                    </a:moveTo>
                    <a:lnTo>
                      <a:pt x="120" y="0"/>
                    </a:lnTo>
                    <a:lnTo>
                      <a:pt x="2153" y="777"/>
                    </a:lnTo>
                    <a:lnTo>
                      <a:pt x="7296" y="3289"/>
                    </a:lnTo>
                    <a:lnTo>
                      <a:pt x="7296" y="3349"/>
                    </a:lnTo>
                    <a:lnTo>
                      <a:pt x="6997" y="3887"/>
                    </a:lnTo>
                  </a:path>
                </a:pathLst>
              </a:custGeom>
              <a:noFill/>
              <a:ln w="6350" cap="rnd">
                <a:solidFill>
                  <a:schemeClr val="bg1">
                    <a:alpha val="80000"/>
                  </a:schemeClr>
                </a:solidFill>
                <a:prstDash val="solid"/>
                <a:round/>
              </a:ln>
            </p:spPr>
            <p:txBody>
              <a:bodyPr rtlCol="0" anchor="ctr"/>
              <a:lstStyle/>
              <a:p>
                <a:endParaRPr lang="en-GB"/>
              </a:p>
            </p:txBody>
          </p:sp>
          <p:sp>
            <p:nvSpPr>
              <p:cNvPr id="6381" name="Vrije vorm: vorm 6380">
                <a:extLst>
                  <a:ext uri="{FF2B5EF4-FFF2-40B4-BE49-F238E27FC236}">
                    <a16:creationId xmlns:a16="http://schemas.microsoft.com/office/drawing/2014/main" id="{CAF6DC97-7214-4606-8E3F-6A6E8E0ACC90}"/>
                  </a:ext>
                </a:extLst>
              </p:cNvPr>
              <p:cNvSpPr/>
              <p:nvPr/>
            </p:nvSpPr>
            <p:spPr>
              <a:xfrm>
                <a:off x="6814633" y="1751195"/>
                <a:ext cx="30741" cy="25717"/>
              </a:xfrm>
              <a:custGeom>
                <a:avLst/>
                <a:gdLst>
                  <a:gd name="connsiteX0" fmla="*/ 23803 w 30741"/>
                  <a:gd name="connsiteY0" fmla="*/ 25717 h 25717"/>
                  <a:gd name="connsiteX1" fmla="*/ 23086 w 30741"/>
                  <a:gd name="connsiteY1" fmla="*/ 25298 h 25717"/>
                  <a:gd name="connsiteX2" fmla="*/ 359 w 30741"/>
                  <a:gd name="connsiteY2" fmla="*/ 11902 h 25717"/>
                  <a:gd name="connsiteX3" fmla="*/ 0 w 30741"/>
                  <a:gd name="connsiteY3" fmla="*/ 10048 h 25717"/>
                  <a:gd name="connsiteX4" fmla="*/ 5562 w 30741"/>
                  <a:gd name="connsiteY4" fmla="*/ 598 h 25717"/>
                  <a:gd name="connsiteX5" fmla="*/ 7357 w 30741"/>
                  <a:gd name="connsiteY5" fmla="*/ 0 h 25717"/>
                  <a:gd name="connsiteX6" fmla="*/ 26555 w 30741"/>
                  <a:gd name="connsiteY6" fmla="*/ 11244 h 25717"/>
                  <a:gd name="connsiteX7" fmla="*/ 29366 w 30741"/>
                  <a:gd name="connsiteY7" fmla="*/ 12918 h 25717"/>
                  <a:gd name="connsiteX8" fmla="*/ 30083 w 30741"/>
                  <a:gd name="connsiteY8" fmla="*/ 13337 h 25717"/>
                  <a:gd name="connsiteX9" fmla="*/ 30741 w 30741"/>
                  <a:gd name="connsiteY9" fmla="*/ 13756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41" h="25717">
                    <a:moveTo>
                      <a:pt x="23803" y="25717"/>
                    </a:moveTo>
                    <a:lnTo>
                      <a:pt x="23086" y="25298"/>
                    </a:lnTo>
                    <a:lnTo>
                      <a:pt x="359" y="11902"/>
                    </a:lnTo>
                    <a:lnTo>
                      <a:pt x="0" y="10048"/>
                    </a:lnTo>
                    <a:lnTo>
                      <a:pt x="5562" y="598"/>
                    </a:lnTo>
                    <a:lnTo>
                      <a:pt x="7357" y="0"/>
                    </a:lnTo>
                    <a:lnTo>
                      <a:pt x="26555" y="11244"/>
                    </a:lnTo>
                    <a:lnTo>
                      <a:pt x="29366" y="12918"/>
                    </a:lnTo>
                    <a:lnTo>
                      <a:pt x="30083" y="13337"/>
                    </a:lnTo>
                    <a:lnTo>
                      <a:pt x="30741" y="13756"/>
                    </a:lnTo>
                  </a:path>
                </a:pathLst>
              </a:custGeom>
              <a:noFill/>
              <a:ln w="6350" cap="rnd">
                <a:solidFill>
                  <a:schemeClr val="bg1">
                    <a:alpha val="80000"/>
                  </a:schemeClr>
                </a:solidFill>
                <a:prstDash val="solid"/>
                <a:round/>
              </a:ln>
            </p:spPr>
            <p:txBody>
              <a:bodyPr rtlCol="0" anchor="ctr"/>
              <a:lstStyle/>
              <a:p>
                <a:endParaRPr lang="en-GB"/>
              </a:p>
            </p:txBody>
          </p:sp>
          <p:sp>
            <p:nvSpPr>
              <p:cNvPr id="6382" name="Vrije vorm: vorm 6381">
                <a:extLst>
                  <a:ext uri="{FF2B5EF4-FFF2-40B4-BE49-F238E27FC236}">
                    <a16:creationId xmlns:a16="http://schemas.microsoft.com/office/drawing/2014/main" id="{A53A53B8-2214-4782-B403-8BB6C410F570}"/>
                  </a:ext>
                </a:extLst>
              </p:cNvPr>
              <p:cNvSpPr/>
              <p:nvPr/>
            </p:nvSpPr>
            <p:spPr>
              <a:xfrm>
                <a:off x="6845554" y="176489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383" name="Vrije vorm: vorm 6382">
                <a:extLst>
                  <a:ext uri="{FF2B5EF4-FFF2-40B4-BE49-F238E27FC236}">
                    <a16:creationId xmlns:a16="http://schemas.microsoft.com/office/drawing/2014/main" id="{469A938D-C50E-4853-A583-E8FD3F32CB8C}"/>
                  </a:ext>
                </a:extLst>
              </p:cNvPr>
              <p:cNvSpPr/>
              <p:nvPr/>
            </p:nvSpPr>
            <p:spPr>
              <a:xfrm>
                <a:off x="7006017" y="1768599"/>
                <a:ext cx="57773" cy="97067"/>
              </a:xfrm>
              <a:custGeom>
                <a:avLst/>
                <a:gdLst>
                  <a:gd name="connsiteX0" fmla="*/ 0 w 57773"/>
                  <a:gd name="connsiteY0" fmla="*/ 71948 h 97067"/>
                  <a:gd name="connsiteX1" fmla="*/ 479 w 57773"/>
                  <a:gd name="connsiteY1" fmla="*/ 71230 h 97067"/>
                  <a:gd name="connsiteX2" fmla="*/ 2213 w 57773"/>
                  <a:gd name="connsiteY2" fmla="*/ 68599 h 97067"/>
                  <a:gd name="connsiteX3" fmla="*/ 2273 w 57773"/>
                  <a:gd name="connsiteY3" fmla="*/ 68479 h 97067"/>
                  <a:gd name="connsiteX4" fmla="*/ 16089 w 57773"/>
                  <a:gd name="connsiteY4" fmla="*/ 44138 h 97067"/>
                  <a:gd name="connsiteX5" fmla="*/ 18480 w 57773"/>
                  <a:gd name="connsiteY5" fmla="*/ 39174 h 97067"/>
                  <a:gd name="connsiteX6" fmla="*/ 20095 w 57773"/>
                  <a:gd name="connsiteY6" fmla="*/ 35824 h 97067"/>
                  <a:gd name="connsiteX7" fmla="*/ 21590 w 57773"/>
                  <a:gd name="connsiteY7" fmla="*/ 32714 h 97067"/>
                  <a:gd name="connsiteX8" fmla="*/ 23923 w 57773"/>
                  <a:gd name="connsiteY8" fmla="*/ 27810 h 97067"/>
                  <a:gd name="connsiteX9" fmla="*/ 23923 w 57773"/>
                  <a:gd name="connsiteY9" fmla="*/ 27810 h 97067"/>
                  <a:gd name="connsiteX10" fmla="*/ 24282 w 57773"/>
                  <a:gd name="connsiteY10" fmla="*/ 27033 h 97067"/>
                  <a:gd name="connsiteX11" fmla="*/ 24461 w 57773"/>
                  <a:gd name="connsiteY11" fmla="*/ 26614 h 97067"/>
                  <a:gd name="connsiteX12" fmla="*/ 25060 w 57773"/>
                  <a:gd name="connsiteY12" fmla="*/ 25298 h 97067"/>
                  <a:gd name="connsiteX13" fmla="*/ 25298 w 57773"/>
                  <a:gd name="connsiteY13" fmla="*/ 24820 h 97067"/>
                  <a:gd name="connsiteX14" fmla="*/ 26794 w 57773"/>
                  <a:gd name="connsiteY14" fmla="*/ 21710 h 97067"/>
                  <a:gd name="connsiteX15" fmla="*/ 26973 w 57773"/>
                  <a:gd name="connsiteY15" fmla="*/ 21291 h 97067"/>
                  <a:gd name="connsiteX16" fmla="*/ 27332 w 57773"/>
                  <a:gd name="connsiteY16" fmla="*/ 20514 h 97067"/>
                  <a:gd name="connsiteX17" fmla="*/ 27811 w 57773"/>
                  <a:gd name="connsiteY17" fmla="*/ 19497 h 97067"/>
                  <a:gd name="connsiteX18" fmla="*/ 28408 w 57773"/>
                  <a:gd name="connsiteY18" fmla="*/ 18301 h 97067"/>
                  <a:gd name="connsiteX19" fmla="*/ 28588 w 57773"/>
                  <a:gd name="connsiteY19" fmla="*/ 18062 h 97067"/>
                  <a:gd name="connsiteX20" fmla="*/ 29246 w 57773"/>
                  <a:gd name="connsiteY20" fmla="*/ 17284 h 97067"/>
                  <a:gd name="connsiteX21" fmla="*/ 29425 w 57773"/>
                  <a:gd name="connsiteY21" fmla="*/ 17105 h 97067"/>
                  <a:gd name="connsiteX22" fmla="*/ 31159 w 57773"/>
                  <a:gd name="connsiteY22" fmla="*/ 15012 h 97067"/>
                  <a:gd name="connsiteX23" fmla="*/ 31399 w 57773"/>
                  <a:gd name="connsiteY23" fmla="*/ 14713 h 97067"/>
                  <a:gd name="connsiteX24" fmla="*/ 31399 w 57773"/>
                  <a:gd name="connsiteY24" fmla="*/ 14713 h 97067"/>
                  <a:gd name="connsiteX25" fmla="*/ 31519 w 57773"/>
                  <a:gd name="connsiteY25" fmla="*/ 14533 h 97067"/>
                  <a:gd name="connsiteX26" fmla="*/ 31818 w 57773"/>
                  <a:gd name="connsiteY26" fmla="*/ 14114 h 97067"/>
                  <a:gd name="connsiteX27" fmla="*/ 32356 w 57773"/>
                  <a:gd name="connsiteY27" fmla="*/ 13457 h 97067"/>
                  <a:gd name="connsiteX28" fmla="*/ 32416 w 57773"/>
                  <a:gd name="connsiteY28" fmla="*/ 13397 h 97067"/>
                  <a:gd name="connsiteX29" fmla="*/ 33074 w 57773"/>
                  <a:gd name="connsiteY29" fmla="*/ 12619 h 97067"/>
                  <a:gd name="connsiteX30" fmla="*/ 33074 w 57773"/>
                  <a:gd name="connsiteY30" fmla="*/ 12619 h 97067"/>
                  <a:gd name="connsiteX31" fmla="*/ 33133 w 57773"/>
                  <a:gd name="connsiteY31" fmla="*/ 12559 h 97067"/>
                  <a:gd name="connsiteX32" fmla="*/ 33432 w 57773"/>
                  <a:gd name="connsiteY32" fmla="*/ 12201 h 97067"/>
                  <a:gd name="connsiteX33" fmla="*/ 33671 w 57773"/>
                  <a:gd name="connsiteY33" fmla="*/ 11902 h 97067"/>
                  <a:gd name="connsiteX34" fmla="*/ 33731 w 57773"/>
                  <a:gd name="connsiteY34" fmla="*/ 11842 h 97067"/>
                  <a:gd name="connsiteX35" fmla="*/ 34150 w 57773"/>
                  <a:gd name="connsiteY35" fmla="*/ 11304 h 97067"/>
                  <a:gd name="connsiteX36" fmla="*/ 34629 w 57773"/>
                  <a:gd name="connsiteY36" fmla="*/ 10705 h 97067"/>
                  <a:gd name="connsiteX37" fmla="*/ 34688 w 57773"/>
                  <a:gd name="connsiteY37" fmla="*/ 10646 h 97067"/>
                  <a:gd name="connsiteX38" fmla="*/ 34868 w 57773"/>
                  <a:gd name="connsiteY38" fmla="*/ 10406 h 97067"/>
                  <a:gd name="connsiteX39" fmla="*/ 34987 w 57773"/>
                  <a:gd name="connsiteY39" fmla="*/ 10287 h 97067"/>
                  <a:gd name="connsiteX40" fmla="*/ 35765 w 57773"/>
                  <a:gd name="connsiteY40" fmla="*/ 9330 h 97067"/>
                  <a:gd name="connsiteX41" fmla="*/ 37977 w 57773"/>
                  <a:gd name="connsiteY41" fmla="*/ 6579 h 97067"/>
                  <a:gd name="connsiteX42" fmla="*/ 41805 w 57773"/>
                  <a:gd name="connsiteY42" fmla="*/ 2990 h 97067"/>
                  <a:gd name="connsiteX43" fmla="*/ 42643 w 57773"/>
                  <a:gd name="connsiteY43" fmla="*/ 2213 h 97067"/>
                  <a:gd name="connsiteX44" fmla="*/ 42643 w 57773"/>
                  <a:gd name="connsiteY44" fmla="*/ 2213 h 97067"/>
                  <a:gd name="connsiteX45" fmla="*/ 43360 w 57773"/>
                  <a:gd name="connsiteY45" fmla="*/ 1555 h 97067"/>
                  <a:gd name="connsiteX46" fmla="*/ 43958 w 57773"/>
                  <a:gd name="connsiteY46" fmla="*/ 957 h 97067"/>
                  <a:gd name="connsiteX47" fmla="*/ 44975 w 57773"/>
                  <a:gd name="connsiteY47" fmla="*/ 0 h 97067"/>
                  <a:gd name="connsiteX48" fmla="*/ 53169 w 57773"/>
                  <a:gd name="connsiteY48" fmla="*/ 777 h 97067"/>
                  <a:gd name="connsiteX49" fmla="*/ 57774 w 57773"/>
                  <a:gd name="connsiteY49" fmla="*/ 8373 h 97067"/>
                  <a:gd name="connsiteX50" fmla="*/ 57415 w 57773"/>
                  <a:gd name="connsiteY50" fmla="*/ 10466 h 97067"/>
                  <a:gd name="connsiteX51" fmla="*/ 57415 w 57773"/>
                  <a:gd name="connsiteY51" fmla="*/ 10526 h 97067"/>
                  <a:gd name="connsiteX52" fmla="*/ 57355 w 57773"/>
                  <a:gd name="connsiteY52" fmla="*/ 10765 h 97067"/>
                  <a:gd name="connsiteX53" fmla="*/ 56339 w 57773"/>
                  <a:gd name="connsiteY53" fmla="*/ 17404 h 97067"/>
                  <a:gd name="connsiteX54" fmla="*/ 56159 w 57773"/>
                  <a:gd name="connsiteY54" fmla="*/ 18361 h 97067"/>
                  <a:gd name="connsiteX55" fmla="*/ 56159 w 57773"/>
                  <a:gd name="connsiteY55" fmla="*/ 18421 h 97067"/>
                  <a:gd name="connsiteX56" fmla="*/ 56099 w 57773"/>
                  <a:gd name="connsiteY56" fmla="*/ 18540 h 97067"/>
                  <a:gd name="connsiteX57" fmla="*/ 54544 w 57773"/>
                  <a:gd name="connsiteY57" fmla="*/ 21411 h 97067"/>
                  <a:gd name="connsiteX58" fmla="*/ 54246 w 57773"/>
                  <a:gd name="connsiteY58" fmla="*/ 21949 h 97067"/>
                  <a:gd name="connsiteX59" fmla="*/ 53886 w 57773"/>
                  <a:gd name="connsiteY59" fmla="*/ 22667 h 97067"/>
                  <a:gd name="connsiteX60" fmla="*/ 53827 w 57773"/>
                  <a:gd name="connsiteY60" fmla="*/ 22787 h 97067"/>
                  <a:gd name="connsiteX61" fmla="*/ 53647 w 57773"/>
                  <a:gd name="connsiteY61" fmla="*/ 23145 h 97067"/>
                  <a:gd name="connsiteX62" fmla="*/ 53528 w 57773"/>
                  <a:gd name="connsiteY62" fmla="*/ 23385 h 97067"/>
                  <a:gd name="connsiteX63" fmla="*/ 53229 w 57773"/>
                  <a:gd name="connsiteY63" fmla="*/ 23983 h 97067"/>
                  <a:gd name="connsiteX64" fmla="*/ 52869 w 57773"/>
                  <a:gd name="connsiteY64" fmla="*/ 24700 h 97067"/>
                  <a:gd name="connsiteX65" fmla="*/ 52750 w 57773"/>
                  <a:gd name="connsiteY65" fmla="*/ 24940 h 97067"/>
                  <a:gd name="connsiteX66" fmla="*/ 52571 w 57773"/>
                  <a:gd name="connsiteY66" fmla="*/ 25239 h 97067"/>
                  <a:gd name="connsiteX67" fmla="*/ 52152 w 57773"/>
                  <a:gd name="connsiteY67" fmla="*/ 26076 h 97067"/>
                  <a:gd name="connsiteX68" fmla="*/ 52152 w 57773"/>
                  <a:gd name="connsiteY68" fmla="*/ 26076 h 97067"/>
                  <a:gd name="connsiteX69" fmla="*/ 51973 w 57773"/>
                  <a:gd name="connsiteY69" fmla="*/ 26435 h 97067"/>
                  <a:gd name="connsiteX70" fmla="*/ 49700 w 57773"/>
                  <a:gd name="connsiteY70" fmla="*/ 30681 h 97067"/>
                  <a:gd name="connsiteX71" fmla="*/ 49640 w 57773"/>
                  <a:gd name="connsiteY71" fmla="*/ 30801 h 97067"/>
                  <a:gd name="connsiteX72" fmla="*/ 47606 w 57773"/>
                  <a:gd name="connsiteY72" fmla="*/ 34569 h 97067"/>
                  <a:gd name="connsiteX73" fmla="*/ 47068 w 57773"/>
                  <a:gd name="connsiteY73" fmla="*/ 35525 h 97067"/>
                  <a:gd name="connsiteX74" fmla="*/ 47008 w 57773"/>
                  <a:gd name="connsiteY74" fmla="*/ 35585 h 97067"/>
                  <a:gd name="connsiteX75" fmla="*/ 46351 w 57773"/>
                  <a:gd name="connsiteY75" fmla="*/ 36781 h 97067"/>
                  <a:gd name="connsiteX76" fmla="*/ 46351 w 57773"/>
                  <a:gd name="connsiteY76" fmla="*/ 36841 h 97067"/>
                  <a:gd name="connsiteX77" fmla="*/ 45453 w 57773"/>
                  <a:gd name="connsiteY77" fmla="*/ 38516 h 97067"/>
                  <a:gd name="connsiteX78" fmla="*/ 45155 w 57773"/>
                  <a:gd name="connsiteY78" fmla="*/ 39054 h 97067"/>
                  <a:gd name="connsiteX79" fmla="*/ 35645 w 57773"/>
                  <a:gd name="connsiteY79" fmla="*/ 56877 h 97067"/>
                  <a:gd name="connsiteX80" fmla="*/ 21650 w 57773"/>
                  <a:gd name="connsiteY80" fmla="*/ 81756 h 97067"/>
                  <a:gd name="connsiteX81" fmla="*/ 11603 w 57773"/>
                  <a:gd name="connsiteY81" fmla="*/ 97067 h 9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7773" h="97067">
                    <a:moveTo>
                      <a:pt x="0" y="71948"/>
                    </a:moveTo>
                    <a:lnTo>
                      <a:pt x="479" y="71230"/>
                    </a:lnTo>
                    <a:lnTo>
                      <a:pt x="2213" y="68599"/>
                    </a:lnTo>
                    <a:lnTo>
                      <a:pt x="2273" y="68479"/>
                    </a:lnTo>
                    <a:lnTo>
                      <a:pt x="16089" y="44138"/>
                    </a:lnTo>
                    <a:lnTo>
                      <a:pt x="18480" y="39174"/>
                    </a:lnTo>
                    <a:lnTo>
                      <a:pt x="20095" y="35824"/>
                    </a:lnTo>
                    <a:lnTo>
                      <a:pt x="21590" y="32714"/>
                    </a:lnTo>
                    <a:lnTo>
                      <a:pt x="23923" y="27810"/>
                    </a:lnTo>
                    <a:lnTo>
                      <a:pt x="23923" y="27810"/>
                    </a:lnTo>
                    <a:lnTo>
                      <a:pt x="24282" y="27033"/>
                    </a:lnTo>
                    <a:lnTo>
                      <a:pt x="24461" y="26614"/>
                    </a:lnTo>
                    <a:lnTo>
                      <a:pt x="25060" y="25298"/>
                    </a:lnTo>
                    <a:lnTo>
                      <a:pt x="25298" y="24820"/>
                    </a:lnTo>
                    <a:lnTo>
                      <a:pt x="26794" y="21710"/>
                    </a:lnTo>
                    <a:lnTo>
                      <a:pt x="26973" y="21291"/>
                    </a:lnTo>
                    <a:lnTo>
                      <a:pt x="27332" y="20514"/>
                    </a:lnTo>
                    <a:lnTo>
                      <a:pt x="27811" y="19497"/>
                    </a:lnTo>
                    <a:lnTo>
                      <a:pt x="28408" y="18301"/>
                    </a:lnTo>
                    <a:lnTo>
                      <a:pt x="28588" y="18062"/>
                    </a:lnTo>
                    <a:lnTo>
                      <a:pt x="29246" y="17284"/>
                    </a:lnTo>
                    <a:lnTo>
                      <a:pt x="29425" y="17105"/>
                    </a:lnTo>
                    <a:lnTo>
                      <a:pt x="31159" y="15012"/>
                    </a:lnTo>
                    <a:lnTo>
                      <a:pt x="31399" y="14713"/>
                    </a:lnTo>
                    <a:lnTo>
                      <a:pt x="31399" y="14713"/>
                    </a:lnTo>
                    <a:lnTo>
                      <a:pt x="31519" y="14533"/>
                    </a:lnTo>
                    <a:lnTo>
                      <a:pt x="31818" y="14114"/>
                    </a:lnTo>
                    <a:lnTo>
                      <a:pt x="32356" y="13457"/>
                    </a:lnTo>
                    <a:lnTo>
                      <a:pt x="32416" y="13397"/>
                    </a:lnTo>
                    <a:lnTo>
                      <a:pt x="33074" y="12619"/>
                    </a:lnTo>
                    <a:lnTo>
                      <a:pt x="33074" y="12619"/>
                    </a:lnTo>
                    <a:lnTo>
                      <a:pt x="33133" y="12559"/>
                    </a:lnTo>
                    <a:lnTo>
                      <a:pt x="33432" y="12201"/>
                    </a:lnTo>
                    <a:lnTo>
                      <a:pt x="33671" y="11902"/>
                    </a:lnTo>
                    <a:lnTo>
                      <a:pt x="33731" y="11842"/>
                    </a:lnTo>
                    <a:lnTo>
                      <a:pt x="34150" y="11304"/>
                    </a:lnTo>
                    <a:lnTo>
                      <a:pt x="34629" y="10705"/>
                    </a:lnTo>
                    <a:lnTo>
                      <a:pt x="34688" y="10646"/>
                    </a:lnTo>
                    <a:lnTo>
                      <a:pt x="34868" y="10406"/>
                    </a:lnTo>
                    <a:lnTo>
                      <a:pt x="34987" y="10287"/>
                    </a:lnTo>
                    <a:lnTo>
                      <a:pt x="35765" y="9330"/>
                    </a:lnTo>
                    <a:lnTo>
                      <a:pt x="37977" y="6579"/>
                    </a:lnTo>
                    <a:lnTo>
                      <a:pt x="41805" y="2990"/>
                    </a:lnTo>
                    <a:lnTo>
                      <a:pt x="42643" y="2213"/>
                    </a:lnTo>
                    <a:lnTo>
                      <a:pt x="42643" y="2213"/>
                    </a:lnTo>
                    <a:lnTo>
                      <a:pt x="43360" y="1555"/>
                    </a:lnTo>
                    <a:lnTo>
                      <a:pt x="43958" y="957"/>
                    </a:lnTo>
                    <a:lnTo>
                      <a:pt x="44975" y="0"/>
                    </a:lnTo>
                    <a:lnTo>
                      <a:pt x="53169" y="777"/>
                    </a:lnTo>
                    <a:lnTo>
                      <a:pt x="57774" y="8373"/>
                    </a:lnTo>
                    <a:lnTo>
                      <a:pt x="57415" y="10466"/>
                    </a:lnTo>
                    <a:lnTo>
                      <a:pt x="57415" y="10526"/>
                    </a:lnTo>
                    <a:lnTo>
                      <a:pt x="57355" y="10765"/>
                    </a:lnTo>
                    <a:lnTo>
                      <a:pt x="56339" y="17404"/>
                    </a:lnTo>
                    <a:lnTo>
                      <a:pt x="56159" y="18361"/>
                    </a:lnTo>
                    <a:lnTo>
                      <a:pt x="56159" y="18421"/>
                    </a:lnTo>
                    <a:lnTo>
                      <a:pt x="56099" y="18540"/>
                    </a:lnTo>
                    <a:lnTo>
                      <a:pt x="54544" y="21411"/>
                    </a:lnTo>
                    <a:lnTo>
                      <a:pt x="54246" y="21949"/>
                    </a:lnTo>
                    <a:lnTo>
                      <a:pt x="53886" y="22667"/>
                    </a:lnTo>
                    <a:lnTo>
                      <a:pt x="53827" y="22787"/>
                    </a:lnTo>
                    <a:lnTo>
                      <a:pt x="53647" y="23145"/>
                    </a:lnTo>
                    <a:lnTo>
                      <a:pt x="53528" y="23385"/>
                    </a:lnTo>
                    <a:lnTo>
                      <a:pt x="53229" y="23983"/>
                    </a:lnTo>
                    <a:lnTo>
                      <a:pt x="52869" y="24700"/>
                    </a:lnTo>
                    <a:lnTo>
                      <a:pt x="52750" y="24940"/>
                    </a:lnTo>
                    <a:lnTo>
                      <a:pt x="52571" y="25239"/>
                    </a:lnTo>
                    <a:lnTo>
                      <a:pt x="52152" y="26076"/>
                    </a:lnTo>
                    <a:lnTo>
                      <a:pt x="52152" y="26076"/>
                    </a:lnTo>
                    <a:lnTo>
                      <a:pt x="51973" y="26435"/>
                    </a:lnTo>
                    <a:lnTo>
                      <a:pt x="49700" y="30681"/>
                    </a:lnTo>
                    <a:lnTo>
                      <a:pt x="49640" y="30801"/>
                    </a:lnTo>
                    <a:lnTo>
                      <a:pt x="47606" y="34569"/>
                    </a:lnTo>
                    <a:lnTo>
                      <a:pt x="47068" y="35525"/>
                    </a:lnTo>
                    <a:lnTo>
                      <a:pt x="47008" y="35585"/>
                    </a:lnTo>
                    <a:lnTo>
                      <a:pt x="46351" y="36781"/>
                    </a:lnTo>
                    <a:lnTo>
                      <a:pt x="46351" y="36841"/>
                    </a:lnTo>
                    <a:lnTo>
                      <a:pt x="45453" y="38516"/>
                    </a:lnTo>
                    <a:lnTo>
                      <a:pt x="45155" y="39054"/>
                    </a:lnTo>
                    <a:lnTo>
                      <a:pt x="35645" y="56877"/>
                    </a:lnTo>
                    <a:lnTo>
                      <a:pt x="21650" y="81756"/>
                    </a:lnTo>
                    <a:lnTo>
                      <a:pt x="11603" y="97067"/>
                    </a:lnTo>
                  </a:path>
                </a:pathLst>
              </a:custGeom>
              <a:noFill/>
              <a:ln w="6350" cap="rnd">
                <a:solidFill>
                  <a:schemeClr val="bg1">
                    <a:alpha val="80000"/>
                  </a:schemeClr>
                </a:solidFill>
                <a:prstDash val="solid"/>
                <a:round/>
              </a:ln>
            </p:spPr>
            <p:txBody>
              <a:bodyPr rtlCol="0" anchor="ctr"/>
              <a:lstStyle/>
              <a:p>
                <a:endParaRPr lang="en-GB"/>
              </a:p>
            </p:txBody>
          </p:sp>
          <p:sp>
            <p:nvSpPr>
              <p:cNvPr id="6384" name="Vrije vorm: vorm 6383">
                <a:extLst>
                  <a:ext uri="{FF2B5EF4-FFF2-40B4-BE49-F238E27FC236}">
                    <a16:creationId xmlns:a16="http://schemas.microsoft.com/office/drawing/2014/main" id="{E6E9A591-C4B4-45AB-B714-00F34C9074F7}"/>
                  </a:ext>
                </a:extLst>
              </p:cNvPr>
              <p:cNvSpPr/>
              <p:nvPr/>
            </p:nvSpPr>
            <p:spPr>
              <a:xfrm>
                <a:off x="7004761" y="1991919"/>
                <a:ext cx="59209" cy="95930"/>
              </a:xfrm>
              <a:custGeom>
                <a:avLst/>
                <a:gdLst>
                  <a:gd name="connsiteX0" fmla="*/ 59209 w 59209"/>
                  <a:gd name="connsiteY0" fmla="*/ 0 h 95930"/>
                  <a:gd name="connsiteX1" fmla="*/ 51434 w 59209"/>
                  <a:gd name="connsiteY1" fmla="*/ 3648 h 95930"/>
                  <a:gd name="connsiteX2" fmla="*/ 42164 w 59209"/>
                  <a:gd name="connsiteY2" fmla="*/ 11184 h 95930"/>
                  <a:gd name="connsiteX3" fmla="*/ 36542 w 59209"/>
                  <a:gd name="connsiteY3" fmla="*/ 17344 h 95930"/>
                  <a:gd name="connsiteX4" fmla="*/ 32176 w 59209"/>
                  <a:gd name="connsiteY4" fmla="*/ 22069 h 95930"/>
                  <a:gd name="connsiteX5" fmla="*/ 26494 w 59209"/>
                  <a:gd name="connsiteY5" fmla="*/ 29724 h 95930"/>
                  <a:gd name="connsiteX6" fmla="*/ 22308 w 59209"/>
                  <a:gd name="connsiteY6" fmla="*/ 35406 h 95930"/>
                  <a:gd name="connsiteX7" fmla="*/ 15909 w 59209"/>
                  <a:gd name="connsiteY7" fmla="*/ 45992 h 95930"/>
                  <a:gd name="connsiteX8" fmla="*/ 13516 w 59209"/>
                  <a:gd name="connsiteY8" fmla="*/ 49939 h 95930"/>
                  <a:gd name="connsiteX9" fmla="*/ 10646 w 59209"/>
                  <a:gd name="connsiteY9" fmla="*/ 55920 h 95930"/>
                  <a:gd name="connsiteX10" fmla="*/ 10287 w 59209"/>
                  <a:gd name="connsiteY10" fmla="*/ 56637 h 95930"/>
                  <a:gd name="connsiteX11" fmla="*/ 6459 w 59209"/>
                  <a:gd name="connsiteY11" fmla="*/ 64472 h 95930"/>
                  <a:gd name="connsiteX12" fmla="*/ 4545 w 59209"/>
                  <a:gd name="connsiteY12" fmla="*/ 69974 h 95930"/>
                  <a:gd name="connsiteX13" fmla="*/ 1854 w 59209"/>
                  <a:gd name="connsiteY13" fmla="*/ 77690 h 95930"/>
                  <a:gd name="connsiteX14" fmla="*/ 1675 w 59209"/>
                  <a:gd name="connsiteY14" fmla="*/ 78826 h 95930"/>
                  <a:gd name="connsiteX15" fmla="*/ 1435 w 59209"/>
                  <a:gd name="connsiteY15" fmla="*/ 80142 h 95930"/>
                  <a:gd name="connsiteX16" fmla="*/ 0 w 59209"/>
                  <a:gd name="connsiteY16" fmla="*/ 88455 h 95930"/>
                  <a:gd name="connsiteX17" fmla="*/ 1016 w 59209"/>
                  <a:gd name="connsiteY17" fmla="*/ 95931 h 9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209" h="95930">
                    <a:moveTo>
                      <a:pt x="59209" y="0"/>
                    </a:moveTo>
                    <a:lnTo>
                      <a:pt x="51434" y="3648"/>
                    </a:lnTo>
                    <a:lnTo>
                      <a:pt x="42164" y="11184"/>
                    </a:lnTo>
                    <a:lnTo>
                      <a:pt x="36542" y="17344"/>
                    </a:lnTo>
                    <a:lnTo>
                      <a:pt x="32176" y="22069"/>
                    </a:lnTo>
                    <a:lnTo>
                      <a:pt x="26494" y="29724"/>
                    </a:lnTo>
                    <a:lnTo>
                      <a:pt x="22308" y="35406"/>
                    </a:lnTo>
                    <a:lnTo>
                      <a:pt x="15909" y="45992"/>
                    </a:lnTo>
                    <a:lnTo>
                      <a:pt x="13516" y="49939"/>
                    </a:lnTo>
                    <a:lnTo>
                      <a:pt x="10646" y="55920"/>
                    </a:lnTo>
                    <a:lnTo>
                      <a:pt x="10287" y="56637"/>
                    </a:lnTo>
                    <a:lnTo>
                      <a:pt x="6459" y="64472"/>
                    </a:lnTo>
                    <a:lnTo>
                      <a:pt x="4545" y="69974"/>
                    </a:lnTo>
                    <a:lnTo>
                      <a:pt x="1854" y="77690"/>
                    </a:lnTo>
                    <a:lnTo>
                      <a:pt x="1675" y="78826"/>
                    </a:lnTo>
                    <a:lnTo>
                      <a:pt x="1435" y="80142"/>
                    </a:lnTo>
                    <a:lnTo>
                      <a:pt x="0" y="88455"/>
                    </a:lnTo>
                    <a:lnTo>
                      <a:pt x="1016" y="95931"/>
                    </a:lnTo>
                  </a:path>
                </a:pathLst>
              </a:custGeom>
              <a:noFill/>
              <a:ln w="6350" cap="rnd">
                <a:solidFill>
                  <a:schemeClr val="bg1">
                    <a:alpha val="80000"/>
                  </a:schemeClr>
                </a:solidFill>
                <a:prstDash val="solid"/>
                <a:round/>
              </a:ln>
            </p:spPr>
            <p:txBody>
              <a:bodyPr rtlCol="0" anchor="ctr"/>
              <a:lstStyle/>
              <a:p>
                <a:endParaRPr lang="en-GB"/>
              </a:p>
            </p:txBody>
          </p:sp>
          <p:sp>
            <p:nvSpPr>
              <p:cNvPr id="6385" name="Vrije vorm: vorm 6384">
                <a:extLst>
                  <a:ext uri="{FF2B5EF4-FFF2-40B4-BE49-F238E27FC236}">
                    <a16:creationId xmlns:a16="http://schemas.microsoft.com/office/drawing/2014/main" id="{D6B15070-2563-45FC-BC04-413D0DD0AD9D}"/>
                  </a:ext>
                </a:extLst>
              </p:cNvPr>
              <p:cNvSpPr/>
              <p:nvPr/>
            </p:nvSpPr>
            <p:spPr>
              <a:xfrm>
                <a:off x="6796392" y="1887616"/>
                <a:ext cx="478" cy="837"/>
              </a:xfrm>
              <a:custGeom>
                <a:avLst/>
                <a:gdLst>
                  <a:gd name="connsiteX0" fmla="*/ 479 w 478"/>
                  <a:gd name="connsiteY0" fmla="*/ 837 h 837"/>
                  <a:gd name="connsiteX1" fmla="*/ 359 w 478"/>
                  <a:gd name="connsiteY1" fmla="*/ 718 h 837"/>
                  <a:gd name="connsiteX2" fmla="*/ 0 w 478"/>
                  <a:gd name="connsiteY2" fmla="*/ 419 h 837"/>
                  <a:gd name="connsiteX3" fmla="*/ 0 w 478"/>
                  <a:gd name="connsiteY3" fmla="*/ 359 h 837"/>
                  <a:gd name="connsiteX4" fmla="*/ 120 w 478"/>
                  <a:gd name="connsiteY4" fmla="*/ 0 h 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 h="837">
                    <a:moveTo>
                      <a:pt x="479" y="837"/>
                    </a:moveTo>
                    <a:lnTo>
                      <a:pt x="359" y="718"/>
                    </a:lnTo>
                    <a:lnTo>
                      <a:pt x="0" y="419"/>
                    </a:lnTo>
                    <a:lnTo>
                      <a:pt x="0" y="359"/>
                    </a:lnTo>
                    <a:lnTo>
                      <a:pt x="120" y="0"/>
                    </a:lnTo>
                  </a:path>
                </a:pathLst>
              </a:custGeom>
              <a:noFill/>
              <a:ln w="6350" cap="rnd">
                <a:solidFill>
                  <a:schemeClr val="bg1">
                    <a:alpha val="80000"/>
                  </a:schemeClr>
                </a:solidFill>
                <a:prstDash val="solid"/>
                <a:round/>
              </a:ln>
            </p:spPr>
            <p:txBody>
              <a:bodyPr rtlCol="0" anchor="ctr"/>
              <a:lstStyle/>
              <a:p>
                <a:endParaRPr lang="en-GB"/>
              </a:p>
            </p:txBody>
          </p:sp>
          <p:sp>
            <p:nvSpPr>
              <p:cNvPr id="6386" name="Vrije vorm: vorm 6385">
                <a:extLst>
                  <a:ext uri="{FF2B5EF4-FFF2-40B4-BE49-F238E27FC236}">
                    <a16:creationId xmlns:a16="http://schemas.microsoft.com/office/drawing/2014/main" id="{3EE29249-CEAE-40A2-BB1B-E4E13A5958B8}"/>
                  </a:ext>
                </a:extLst>
              </p:cNvPr>
              <p:cNvSpPr/>
              <p:nvPr/>
            </p:nvSpPr>
            <p:spPr>
              <a:xfrm>
                <a:off x="6813318" y="1849219"/>
                <a:ext cx="12021" cy="61541"/>
              </a:xfrm>
              <a:custGeom>
                <a:avLst/>
                <a:gdLst>
                  <a:gd name="connsiteX0" fmla="*/ 837 w 12021"/>
                  <a:gd name="connsiteY0" fmla="*/ 61542 h 61541"/>
                  <a:gd name="connsiteX1" fmla="*/ 897 w 12021"/>
                  <a:gd name="connsiteY1" fmla="*/ 59747 h 61541"/>
                  <a:gd name="connsiteX2" fmla="*/ 1495 w 12021"/>
                  <a:gd name="connsiteY2" fmla="*/ 59448 h 61541"/>
                  <a:gd name="connsiteX3" fmla="*/ 1076 w 12021"/>
                  <a:gd name="connsiteY3" fmla="*/ 58910 h 61541"/>
                  <a:gd name="connsiteX4" fmla="*/ 1674 w 12021"/>
                  <a:gd name="connsiteY4" fmla="*/ 56219 h 61541"/>
                  <a:gd name="connsiteX5" fmla="*/ 2333 w 12021"/>
                  <a:gd name="connsiteY5" fmla="*/ 53228 h 61541"/>
                  <a:gd name="connsiteX6" fmla="*/ 3409 w 12021"/>
                  <a:gd name="connsiteY6" fmla="*/ 48803 h 61541"/>
                  <a:gd name="connsiteX7" fmla="*/ 3588 w 12021"/>
                  <a:gd name="connsiteY7" fmla="*/ 48085 h 61541"/>
                  <a:gd name="connsiteX8" fmla="*/ 3648 w 12021"/>
                  <a:gd name="connsiteY8" fmla="*/ 47906 h 61541"/>
                  <a:gd name="connsiteX9" fmla="*/ 3708 w 12021"/>
                  <a:gd name="connsiteY9" fmla="*/ 47726 h 61541"/>
                  <a:gd name="connsiteX10" fmla="*/ 3887 w 12021"/>
                  <a:gd name="connsiteY10" fmla="*/ 47008 h 61541"/>
                  <a:gd name="connsiteX11" fmla="*/ 4007 w 12021"/>
                  <a:gd name="connsiteY11" fmla="*/ 46650 h 61541"/>
                  <a:gd name="connsiteX12" fmla="*/ 4127 w 12021"/>
                  <a:gd name="connsiteY12" fmla="*/ 46111 h 61541"/>
                  <a:gd name="connsiteX13" fmla="*/ 4486 w 12021"/>
                  <a:gd name="connsiteY13" fmla="*/ 44736 h 61541"/>
                  <a:gd name="connsiteX14" fmla="*/ 4486 w 12021"/>
                  <a:gd name="connsiteY14" fmla="*/ 44616 h 61541"/>
                  <a:gd name="connsiteX15" fmla="*/ 4486 w 12021"/>
                  <a:gd name="connsiteY15" fmla="*/ 44497 h 61541"/>
                  <a:gd name="connsiteX16" fmla="*/ 4725 w 12021"/>
                  <a:gd name="connsiteY16" fmla="*/ 43480 h 61541"/>
                  <a:gd name="connsiteX17" fmla="*/ 5024 w 12021"/>
                  <a:gd name="connsiteY17" fmla="*/ 42284 h 61541"/>
                  <a:gd name="connsiteX18" fmla="*/ 5143 w 12021"/>
                  <a:gd name="connsiteY18" fmla="*/ 41865 h 61541"/>
                  <a:gd name="connsiteX19" fmla="*/ 5203 w 12021"/>
                  <a:gd name="connsiteY19" fmla="*/ 41626 h 61541"/>
                  <a:gd name="connsiteX20" fmla="*/ 5562 w 12021"/>
                  <a:gd name="connsiteY20" fmla="*/ 40190 h 61541"/>
                  <a:gd name="connsiteX21" fmla="*/ 5622 w 12021"/>
                  <a:gd name="connsiteY21" fmla="*/ 40011 h 61541"/>
                  <a:gd name="connsiteX22" fmla="*/ 5861 w 12021"/>
                  <a:gd name="connsiteY22" fmla="*/ 39054 h 61541"/>
                  <a:gd name="connsiteX23" fmla="*/ 5981 w 12021"/>
                  <a:gd name="connsiteY23" fmla="*/ 38576 h 61541"/>
                  <a:gd name="connsiteX24" fmla="*/ 5981 w 12021"/>
                  <a:gd name="connsiteY24" fmla="*/ 38456 h 61541"/>
                  <a:gd name="connsiteX25" fmla="*/ 5981 w 12021"/>
                  <a:gd name="connsiteY25" fmla="*/ 38396 h 61541"/>
                  <a:gd name="connsiteX26" fmla="*/ 5981 w 12021"/>
                  <a:gd name="connsiteY26" fmla="*/ 38396 h 61541"/>
                  <a:gd name="connsiteX27" fmla="*/ 6579 w 12021"/>
                  <a:gd name="connsiteY27" fmla="*/ 36303 h 61541"/>
                  <a:gd name="connsiteX28" fmla="*/ 6818 w 12021"/>
                  <a:gd name="connsiteY28" fmla="*/ 35466 h 61541"/>
                  <a:gd name="connsiteX29" fmla="*/ 6818 w 12021"/>
                  <a:gd name="connsiteY29" fmla="*/ 35466 h 61541"/>
                  <a:gd name="connsiteX30" fmla="*/ 6878 w 12021"/>
                  <a:gd name="connsiteY30" fmla="*/ 35167 h 61541"/>
                  <a:gd name="connsiteX31" fmla="*/ 6997 w 12021"/>
                  <a:gd name="connsiteY31" fmla="*/ 34748 h 61541"/>
                  <a:gd name="connsiteX32" fmla="*/ 7177 w 12021"/>
                  <a:gd name="connsiteY32" fmla="*/ 34090 h 61541"/>
                  <a:gd name="connsiteX33" fmla="*/ 7177 w 12021"/>
                  <a:gd name="connsiteY33" fmla="*/ 34030 h 61541"/>
                  <a:gd name="connsiteX34" fmla="*/ 7177 w 12021"/>
                  <a:gd name="connsiteY34" fmla="*/ 33970 h 61541"/>
                  <a:gd name="connsiteX35" fmla="*/ 7177 w 12021"/>
                  <a:gd name="connsiteY35" fmla="*/ 33851 h 61541"/>
                  <a:gd name="connsiteX36" fmla="*/ 7356 w 12021"/>
                  <a:gd name="connsiteY36" fmla="*/ 33253 h 61541"/>
                  <a:gd name="connsiteX37" fmla="*/ 7416 w 12021"/>
                  <a:gd name="connsiteY37" fmla="*/ 33014 h 61541"/>
                  <a:gd name="connsiteX38" fmla="*/ 7476 w 12021"/>
                  <a:gd name="connsiteY38" fmla="*/ 32774 h 61541"/>
                  <a:gd name="connsiteX39" fmla="*/ 7954 w 12021"/>
                  <a:gd name="connsiteY39" fmla="*/ 31219 h 61541"/>
                  <a:gd name="connsiteX40" fmla="*/ 8014 w 12021"/>
                  <a:gd name="connsiteY40" fmla="*/ 31040 h 61541"/>
                  <a:gd name="connsiteX41" fmla="*/ 8194 w 12021"/>
                  <a:gd name="connsiteY41" fmla="*/ 30502 h 61541"/>
                  <a:gd name="connsiteX42" fmla="*/ 8253 w 12021"/>
                  <a:gd name="connsiteY42" fmla="*/ 30322 h 61541"/>
                  <a:gd name="connsiteX43" fmla="*/ 8433 w 12021"/>
                  <a:gd name="connsiteY43" fmla="*/ 29724 h 61541"/>
                  <a:gd name="connsiteX44" fmla="*/ 8552 w 12021"/>
                  <a:gd name="connsiteY44" fmla="*/ 29425 h 61541"/>
                  <a:gd name="connsiteX45" fmla="*/ 8851 w 12021"/>
                  <a:gd name="connsiteY45" fmla="*/ 28468 h 61541"/>
                  <a:gd name="connsiteX46" fmla="*/ 8851 w 12021"/>
                  <a:gd name="connsiteY46" fmla="*/ 28468 h 61541"/>
                  <a:gd name="connsiteX47" fmla="*/ 8851 w 12021"/>
                  <a:gd name="connsiteY47" fmla="*/ 28468 h 61541"/>
                  <a:gd name="connsiteX48" fmla="*/ 8911 w 12021"/>
                  <a:gd name="connsiteY48" fmla="*/ 28229 h 61541"/>
                  <a:gd name="connsiteX49" fmla="*/ 8911 w 12021"/>
                  <a:gd name="connsiteY49" fmla="*/ 28169 h 61541"/>
                  <a:gd name="connsiteX50" fmla="*/ 9031 w 12021"/>
                  <a:gd name="connsiteY50" fmla="*/ 27751 h 61541"/>
                  <a:gd name="connsiteX51" fmla="*/ 9031 w 12021"/>
                  <a:gd name="connsiteY51" fmla="*/ 27691 h 61541"/>
                  <a:gd name="connsiteX52" fmla="*/ 9031 w 12021"/>
                  <a:gd name="connsiteY52" fmla="*/ 27691 h 61541"/>
                  <a:gd name="connsiteX53" fmla="*/ 9031 w 12021"/>
                  <a:gd name="connsiteY53" fmla="*/ 27691 h 61541"/>
                  <a:gd name="connsiteX54" fmla="*/ 9031 w 12021"/>
                  <a:gd name="connsiteY54" fmla="*/ 27691 h 61541"/>
                  <a:gd name="connsiteX55" fmla="*/ 9091 w 12021"/>
                  <a:gd name="connsiteY55" fmla="*/ 27392 h 61541"/>
                  <a:gd name="connsiteX56" fmla="*/ 9150 w 12021"/>
                  <a:gd name="connsiteY56" fmla="*/ 27212 h 61541"/>
                  <a:gd name="connsiteX57" fmla="*/ 9330 w 12021"/>
                  <a:gd name="connsiteY57" fmla="*/ 26614 h 61541"/>
                  <a:gd name="connsiteX58" fmla="*/ 9450 w 12021"/>
                  <a:gd name="connsiteY58" fmla="*/ 26255 h 61541"/>
                  <a:gd name="connsiteX59" fmla="*/ 9569 w 12021"/>
                  <a:gd name="connsiteY59" fmla="*/ 25837 h 61541"/>
                  <a:gd name="connsiteX60" fmla="*/ 9749 w 12021"/>
                  <a:gd name="connsiteY60" fmla="*/ 25059 h 61541"/>
                  <a:gd name="connsiteX61" fmla="*/ 9928 w 12021"/>
                  <a:gd name="connsiteY61" fmla="*/ 24222 h 61541"/>
                  <a:gd name="connsiteX62" fmla="*/ 9928 w 12021"/>
                  <a:gd name="connsiteY62" fmla="*/ 24102 h 61541"/>
                  <a:gd name="connsiteX63" fmla="*/ 9928 w 12021"/>
                  <a:gd name="connsiteY63" fmla="*/ 23983 h 61541"/>
                  <a:gd name="connsiteX64" fmla="*/ 10107 w 12021"/>
                  <a:gd name="connsiteY64" fmla="*/ 23205 h 61541"/>
                  <a:gd name="connsiteX65" fmla="*/ 10167 w 12021"/>
                  <a:gd name="connsiteY65" fmla="*/ 23026 h 61541"/>
                  <a:gd name="connsiteX66" fmla="*/ 10227 w 12021"/>
                  <a:gd name="connsiteY66" fmla="*/ 22787 h 61541"/>
                  <a:gd name="connsiteX67" fmla="*/ 10287 w 12021"/>
                  <a:gd name="connsiteY67" fmla="*/ 22607 h 61541"/>
                  <a:gd name="connsiteX68" fmla="*/ 10526 w 12021"/>
                  <a:gd name="connsiteY68" fmla="*/ 21650 h 61541"/>
                  <a:gd name="connsiteX69" fmla="*/ 10645 w 12021"/>
                  <a:gd name="connsiteY69" fmla="*/ 21291 h 61541"/>
                  <a:gd name="connsiteX70" fmla="*/ 10765 w 12021"/>
                  <a:gd name="connsiteY70" fmla="*/ 20693 h 61541"/>
                  <a:gd name="connsiteX71" fmla="*/ 11363 w 12021"/>
                  <a:gd name="connsiteY71" fmla="*/ 18361 h 61541"/>
                  <a:gd name="connsiteX72" fmla="*/ 11543 w 12021"/>
                  <a:gd name="connsiteY72" fmla="*/ 17703 h 61541"/>
                  <a:gd name="connsiteX73" fmla="*/ 11842 w 12021"/>
                  <a:gd name="connsiteY73" fmla="*/ 16507 h 61541"/>
                  <a:gd name="connsiteX74" fmla="*/ 11961 w 12021"/>
                  <a:gd name="connsiteY74" fmla="*/ 16028 h 61541"/>
                  <a:gd name="connsiteX75" fmla="*/ 11961 w 12021"/>
                  <a:gd name="connsiteY75" fmla="*/ 15370 h 61541"/>
                  <a:gd name="connsiteX76" fmla="*/ 11961 w 12021"/>
                  <a:gd name="connsiteY76" fmla="*/ 14653 h 61541"/>
                  <a:gd name="connsiteX77" fmla="*/ 12021 w 12021"/>
                  <a:gd name="connsiteY77" fmla="*/ 13457 h 61541"/>
                  <a:gd name="connsiteX78" fmla="*/ 12021 w 12021"/>
                  <a:gd name="connsiteY78" fmla="*/ 13337 h 61541"/>
                  <a:gd name="connsiteX79" fmla="*/ 12021 w 12021"/>
                  <a:gd name="connsiteY79" fmla="*/ 12619 h 61541"/>
                  <a:gd name="connsiteX80" fmla="*/ 12021 w 12021"/>
                  <a:gd name="connsiteY80" fmla="*/ 11543 h 61541"/>
                  <a:gd name="connsiteX81" fmla="*/ 12021 w 12021"/>
                  <a:gd name="connsiteY81" fmla="*/ 11304 h 61541"/>
                  <a:gd name="connsiteX82" fmla="*/ 9390 w 12021"/>
                  <a:gd name="connsiteY82" fmla="*/ 7775 h 61541"/>
                  <a:gd name="connsiteX83" fmla="*/ 8851 w 12021"/>
                  <a:gd name="connsiteY83" fmla="*/ 7356 h 61541"/>
                  <a:gd name="connsiteX84" fmla="*/ 6758 w 12021"/>
                  <a:gd name="connsiteY84" fmla="*/ 5622 h 61541"/>
                  <a:gd name="connsiteX85" fmla="*/ 5921 w 12021"/>
                  <a:gd name="connsiteY85" fmla="*/ 4904 h 61541"/>
                  <a:gd name="connsiteX86" fmla="*/ 0 w 12021"/>
                  <a:gd name="connsiteY86" fmla="*/ 0 h 6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021" h="61541">
                    <a:moveTo>
                      <a:pt x="837" y="61542"/>
                    </a:moveTo>
                    <a:lnTo>
                      <a:pt x="897" y="59747"/>
                    </a:lnTo>
                    <a:lnTo>
                      <a:pt x="1495" y="59448"/>
                    </a:lnTo>
                    <a:lnTo>
                      <a:pt x="1076" y="58910"/>
                    </a:lnTo>
                    <a:lnTo>
                      <a:pt x="1674" y="56219"/>
                    </a:lnTo>
                    <a:lnTo>
                      <a:pt x="2333" y="53228"/>
                    </a:lnTo>
                    <a:lnTo>
                      <a:pt x="3409" y="48803"/>
                    </a:lnTo>
                    <a:lnTo>
                      <a:pt x="3588" y="48085"/>
                    </a:lnTo>
                    <a:lnTo>
                      <a:pt x="3648" y="47906"/>
                    </a:lnTo>
                    <a:lnTo>
                      <a:pt x="3708" y="47726"/>
                    </a:lnTo>
                    <a:lnTo>
                      <a:pt x="3887" y="47008"/>
                    </a:lnTo>
                    <a:lnTo>
                      <a:pt x="4007" y="46650"/>
                    </a:lnTo>
                    <a:lnTo>
                      <a:pt x="4127" y="46111"/>
                    </a:lnTo>
                    <a:lnTo>
                      <a:pt x="4486" y="44736"/>
                    </a:lnTo>
                    <a:lnTo>
                      <a:pt x="4486" y="44616"/>
                    </a:lnTo>
                    <a:lnTo>
                      <a:pt x="4486" y="44497"/>
                    </a:lnTo>
                    <a:lnTo>
                      <a:pt x="4725" y="43480"/>
                    </a:lnTo>
                    <a:lnTo>
                      <a:pt x="5024" y="42284"/>
                    </a:lnTo>
                    <a:lnTo>
                      <a:pt x="5143" y="41865"/>
                    </a:lnTo>
                    <a:lnTo>
                      <a:pt x="5203" y="41626"/>
                    </a:lnTo>
                    <a:lnTo>
                      <a:pt x="5562" y="40190"/>
                    </a:lnTo>
                    <a:lnTo>
                      <a:pt x="5622" y="40011"/>
                    </a:lnTo>
                    <a:lnTo>
                      <a:pt x="5861" y="39054"/>
                    </a:lnTo>
                    <a:lnTo>
                      <a:pt x="5981" y="38576"/>
                    </a:lnTo>
                    <a:lnTo>
                      <a:pt x="5981" y="38456"/>
                    </a:lnTo>
                    <a:lnTo>
                      <a:pt x="5981" y="38396"/>
                    </a:lnTo>
                    <a:lnTo>
                      <a:pt x="5981" y="38396"/>
                    </a:lnTo>
                    <a:lnTo>
                      <a:pt x="6579" y="36303"/>
                    </a:lnTo>
                    <a:lnTo>
                      <a:pt x="6818" y="35466"/>
                    </a:lnTo>
                    <a:lnTo>
                      <a:pt x="6818" y="35466"/>
                    </a:lnTo>
                    <a:lnTo>
                      <a:pt x="6878" y="35167"/>
                    </a:lnTo>
                    <a:lnTo>
                      <a:pt x="6997" y="34748"/>
                    </a:lnTo>
                    <a:lnTo>
                      <a:pt x="7177" y="34090"/>
                    </a:lnTo>
                    <a:lnTo>
                      <a:pt x="7177" y="34030"/>
                    </a:lnTo>
                    <a:lnTo>
                      <a:pt x="7177" y="33970"/>
                    </a:lnTo>
                    <a:lnTo>
                      <a:pt x="7177" y="33851"/>
                    </a:lnTo>
                    <a:lnTo>
                      <a:pt x="7356" y="33253"/>
                    </a:lnTo>
                    <a:lnTo>
                      <a:pt x="7416" y="33014"/>
                    </a:lnTo>
                    <a:lnTo>
                      <a:pt x="7476" y="32774"/>
                    </a:lnTo>
                    <a:lnTo>
                      <a:pt x="7954" y="31219"/>
                    </a:lnTo>
                    <a:lnTo>
                      <a:pt x="8014" y="31040"/>
                    </a:lnTo>
                    <a:lnTo>
                      <a:pt x="8194" y="30502"/>
                    </a:lnTo>
                    <a:lnTo>
                      <a:pt x="8253" y="30322"/>
                    </a:lnTo>
                    <a:lnTo>
                      <a:pt x="8433" y="29724"/>
                    </a:lnTo>
                    <a:lnTo>
                      <a:pt x="8552" y="29425"/>
                    </a:lnTo>
                    <a:lnTo>
                      <a:pt x="8851" y="28468"/>
                    </a:lnTo>
                    <a:lnTo>
                      <a:pt x="8851" y="28468"/>
                    </a:lnTo>
                    <a:lnTo>
                      <a:pt x="8851" y="28468"/>
                    </a:lnTo>
                    <a:lnTo>
                      <a:pt x="8911" y="28229"/>
                    </a:lnTo>
                    <a:lnTo>
                      <a:pt x="8911" y="28169"/>
                    </a:lnTo>
                    <a:lnTo>
                      <a:pt x="9031" y="27751"/>
                    </a:lnTo>
                    <a:lnTo>
                      <a:pt x="9031" y="27691"/>
                    </a:lnTo>
                    <a:lnTo>
                      <a:pt x="9031" y="27691"/>
                    </a:lnTo>
                    <a:lnTo>
                      <a:pt x="9031" y="27691"/>
                    </a:lnTo>
                    <a:lnTo>
                      <a:pt x="9031" y="27691"/>
                    </a:lnTo>
                    <a:lnTo>
                      <a:pt x="9091" y="27392"/>
                    </a:lnTo>
                    <a:lnTo>
                      <a:pt x="9150" y="27212"/>
                    </a:lnTo>
                    <a:lnTo>
                      <a:pt x="9330" y="26614"/>
                    </a:lnTo>
                    <a:lnTo>
                      <a:pt x="9450" y="26255"/>
                    </a:lnTo>
                    <a:lnTo>
                      <a:pt x="9569" y="25837"/>
                    </a:lnTo>
                    <a:lnTo>
                      <a:pt x="9749" y="25059"/>
                    </a:lnTo>
                    <a:lnTo>
                      <a:pt x="9928" y="24222"/>
                    </a:lnTo>
                    <a:lnTo>
                      <a:pt x="9928" y="24102"/>
                    </a:lnTo>
                    <a:lnTo>
                      <a:pt x="9928" y="23983"/>
                    </a:lnTo>
                    <a:lnTo>
                      <a:pt x="10107" y="23205"/>
                    </a:lnTo>
                    <a:lnTo>
                      <a:pt x="10167" y="23026"/>
                    </a:lnTo>
                    <a:lnTo>
                      <a:pt x="10227" y="22787"/>
                    </a:lnTo>
                    <a:lnTo>
                      <a:pt x="10287" y="22607"/>
                    </a:lnTo>
                    <a:lnTo>
                      <a:pt x="10526" y="21650"/>
                    </a:lnTo>
                    <a:lnTo>
                      <a:pt x="10645" y="21291"/>
                    </a:lnTo>
                    <a:lnTo>
                      <a:pt x="10765" y="20693"/>
                    </a:lnTo>
                    <a:lnTo>
                      <a:pt x="11363" y="18361"/>
                    </a:lnTo>
                    <a:lnTo>
                      <a:pt x="11543" y="17703"/>
                    </a:lnTo>
                    <a:lnTo>
                      <a:pt x="11842" y="16507"/>
                    </a:lnTo>
                    <a:lnTo>
                      <a:pt x="11961" y="16028"/>
                    </a:lnTo>
                    <a:lnTo>
                      <a:pt x="11961" y="15370"/>
                    </a:lnTo>
                    <a:lnTo>
                      <a:pt x="11961" y="14653"/>
                    </a:lnTo>
                    <a:lnTo>
                      <a:pt x="12021" y="13457"/>
                    </a:lnTo>
                    <a:lnTo>
                      <a:pt x="12021" y="13337"/>
                    </a:lnTo>
                    <a:lnTo>
                      <a:pt x="12021" y="12619"/>
                    </a:lnTo>
                    <a:lnTo>
                      <a:pt x="12021" y="11543"/>
                    </a:lnTo>
                    <a:lnTo>
                      <a:pt x="12021" y="11304"/>
                    </a:lnTo>
                    <a:lnTo>
                      <a:pt x="9390" y="7775"/>
                    </a:lnTo>
                    <a:lnTo>
                      <a:pt x="8851" y="7356"/>
                    </a:lnTo>
                    <a:lnTo>
                      <a:pt x="6758" y="5622"/>
                    </a:lnTo>
                    <a:lnTo>
                      <a:pt x="5921" y="4904"/>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387" name="Vrije vorm: vorm 6386">
                <a:extLst>
                  <a:ext uri="{FF2B5EF4-FFF2-40B4-BE49-F238E27FC236}">
                    <a16:creationId xmlns:a16="http://schemas.microsoft.com/office/drawing/2014/main" id="{C4862AC6-C48D-435B-B8EE-487BA0B27522}"/>
                  </a:ext>
                </a:extLst>
              </p:cNvPr>
              <p:cNvSpPr/>
              <p:nvPr/>
            </p:nvSpPr>
            <p:spPr>
              <a:xfrm>
                <a:off x="6918160" y="1858848"/>
                <a:ext cx="19317" cy="50656"/>
              </a:xfrm>
              <a:custGeom>
                <a:avLst/>
                <a:gdLst>
                  <a:gd name="connsiteX0" fmla="*/ 19318 w 19317"/>
                  <a:gd name="connsiteY0" fmla="*/ 0 h 50656"/>
                  <a:gd name="connsiteX1" fmla="*/ 18720 w 19317"/>
                  <a:gd name="connsiteY1" fmla="*/ 2392 h 50656"/>
                  <a:gd name="connsiteX2" fmla="*/ 18660 w 19317"/>
                  <a:gd name="connsiteY2" fmla="*/ 2512 h 50656"/>
                  <a:gd name="connsiteX3" fmla="*/ 18660 w 19317"/>
                  <a:gd name="connsiteY3" fmla="*/ 2572 h 50656"/>
                  <a:gd name="connsiteX4" fmla="*/ 18600 w 19317"/>
                  <a:gd name="connsiteY4" fmla="*/ 2751 h 50656"/>
                  <a:gd name="connsiteX5" fmla="*/ 18002 w 19317"/>
                  <a:gd name="connsiteY5" fmla="*/ 5024 h 50656"/>
                  <a:gd name="connsiteX6" fmla="*/ 17703 w 19317"/>
                  <a:gd name="connsiteY6" fmla="*/ 6100 h 50656"/>
                  <a:gd name="connsiteX7" fmla="*/ 17643 w 19317"/>
                  <a:gd name="connsiteY7" fmla="*/ 6399 h 50656"/>
                  <a:gd name="connsiteX8" fmla="*/ 17583 w 19317"/>
                  <a:gd name="connsiteY8" fmla="*/ 6519 h 50656"/>
                  <a:gd name="connsiteX9" fmla="*/ 17463 w 19317"/>
                  <a:gd name="connsiteY9" fmla="*/ 6938 h 50656"/>
                  <a:gd name="connsiteX10" fmla="*/ 17344 w 19317"/>
                  <a:gd name="connsiteY10" fmla="*/ 7356 h 50656"/>
                  <a:gd name="connsiteX11" fmla="*/ 17344 w 19317"/>
                  <a:gd name="connsiteY11" fmla="*/ 7356 h 50656"/>
                  <a:gd name="connsiteX12" fmla="*/ 17105 w 19317"/>
                  <a:gd name="connsiteY12" fmla="*/ 8373 h 50656"/>
                  <a:gd name="connsiteX13" fmla="*/ 17045 w 19317"/>
                  <a:gd name="connsiteY13" fmla="*/ 8493 h 50656"/>
                  <a:gd name="connsiteX14" fmla="*/ 16567 w 19317"/>
                  <a:gd name="connsiteY14" fmla="*/ 10406 h 50656"/>
                  <a:gd name="connsiteX15" fmla="*/ 15729 w 19317"/>
                  <a:gd name="connsiteY15" fmla="*/ 13696 h 50656"/>
                  <a:gd name="connsiteX16" fmla="*/ 15550 w 19317"/>
                  <a:gd name="connsiteY16" fmla="*/ 14354 h 50656"/>
                  <a:gd name="connsiteX17" fmla="*/ 15430 w 19317"/>
                  <a:gd name="connsiteY17" fmla="*/ 14832 h 50656"/>
                  <a:gd name="connsiteX18" fmla="*/ 12500 w 19317"/>
                  <a:gd name="connsiteY18" fmla="*/ 21531 h 50656"/>
                  <a:gd name="connsiteX19" fmla="*/ 9629 w 19317"/>
                  <a:gd name="connsiteY19" fmla="*/ 28169 h 50656"/>
                  <a:gd name="connsiteX20" fmla="*/ 9270 w 19317"/>
                  <a:gd name="connsiteY20" fmla="*/ 29006 h 50656"/>
                  <a:gd name="connsiteX21" fmla="*/ 8911 w 19317"/>
                  <a:gd name="connsiteY21" fmla="*/ 29904 h 50656"/>
                  <a:gd name="connsiteX22" fmla="*/ 7356 w 19317"/>
                  <a:gd name="connsiteY22" fmla="*/ 33492 h 50656"/>
                  <a:gd name="connsiteX23" fmla="*/ 6997 w 19317"/>
                  <a:gd name="connsiteY23" fmla="*/ 33851 h 50656"/>
                  <a:gd name="connsiteX24" fmla="*/ 7057 w 19317"/>
                  <a:gd name="connsiteY24" fmla="*/ 33970 h 50656"/>
                  <a:gd name="connsiteX25" fmla="*/ 7356 w 19317"/>
                  <a:gd name="connsiteY25" fmla="*/ 34449 h 50656"/>
                  <a:gd name="connsiteX26" fmla="*/ 7416 w 19317"/>
                  <a:gd name="connsiteY26" fmla="*/ 34509 h 50656"/>
                  <a:gd name="connsiteX27" fmla="*/ 7476 w 19317"/>
                  <a:gd name="connsiteY27" fmla="*/ 34569 h 50656"/>
                  <a:gd name="connsiteX28" fmla="*/ 7954 w 19317"/>
                  <a:gd name="connsiteY28" fmla="*/ 35346 h 50656"/>
                  <a:gd name="connsiteX29" fmla="*/ 8492 w 19317"/>
                  <a:gd name="connsiteY29" fmla="*/ 36124 h 50656"/>
                  <a:gd name="connsiteX30" fmla="*/ 8492 w 19317"/>
                  <a:gd name="connsiteY30" fmla="*/ 36124 h 50656"/>
                  <a:gd name="connsiteX31" fmla="*/ 8971 w 19317"/>
                  <a:gd name="connsiteY31" fmla="*/ 36841 h 50656"/>
                  <a:gd name="connsiteX32" fmla="*/ 7834 w 19317"/>
                  <a:gd name="connsiteY32" fmla="*/ 38576 h 50656"/>
                  <a:gd name="connsiteX33" fmla="*/ 7356 w 19317"/>
                  <a:gd name="connsiteY33" fmla="*/ 39293 h 50656"/>
                  <a:gd name="connsiteX34" fmla="*/ 6579 w 19317"/>
                  <a:gd name="connsiteY34" fmla="*/ 40430 h 50656"/>
                  <a:gd name="connsiteX35" fmla="*/ 5442 w 19317"/>
                  <a:gd name="connsiteY35" fmla="*/ 42224 h 50656"/>
                  <a:gd name="connsiteX36" fmla="*/ 5203 w 19317"/>
                  <a:gd name="connsiteY36" fmla="*/ 42583 h 50656"/>
                  <a:gd name="connsiteX37" fmla="*/ 4844 w 19317"/>
                  <a:gd name="connsiteY37" fmla="*/ 43181 h 50656"/>
                  <a:gd name="connsiteX38" fmla="*/ 4844 w 19317"/>
                  <a:gd name="connsiteY38" fmla="*/ 43181 h 50656"/>
                  <a:gd name="connsiteX39" fmla="*/ 3588 w 19317"/>
                  <a:gd name="connsiteY39" fmla="*/ 45095 h 50656"/>
                  <a:gd name="connsiteX40" fmla="*/ 2990 w 19317"/>
                  <a:gd name="connsiteY40" fmla="*/ 45992 h 50656"/>
                  <a:gd name="connsiteX41" fmla="*/ 1914 w 19317"/>
                  <a:gd name="connsiteY41" fmla="*/ 47606 h 50656"/>
                  <a:gd name="connsiteX42" fmla="*/ 1435 w 19317"/>
                  <a:gd name="connsiteY42" fmla="*/ 48324 h 50656"/>
                  <a:gd name="connsiteX43" fmla="*/ 1435 w 19317"/>
                  <a:gd name="connsiteY43" fmla="*/ 48324 h 50656"/>
                  <a:gd name="connsiteX44" fmla="*/ 1375 w 19317"/>
                  <a:gd name="connsiteY44" fmla="*/ 48444 h 50656"/>
                  <a:gd name="connsiteX45" fmla="*/ 1196 w 19317"/>
                  <a:gd name="connsiteY45" fmla="*/ 48743 h 50656"/>
                  <a:gd name="connsiteX46" fmla="*/ 1016 w 19317"/>
                  <a:gd name="connsiteY46" fmla="*/ 49042 h 50656"/>
                  <a:gd name="connsiteX47" fmla="*/ 478 w 19317"/>
                  <a:gd name="connsiteY47" fmla="*/ 49879 h 50656"/>
                  <a:gd name="connsiteX48" fmla="*/ 418 w 19317"/>
                  <a:gd name="connsiteY48" fmla="*/ 49939 h 50656"/>
                  <a:gd name="connsiteX49" fmla="*/ 358 w 19317"/>
                  <a:gd name="connsiteY49" fmla="*/ 50059 h 50656"/>
                  <a:gd name="connsiteX50" fmla="*/ 299 w 19317"/>
                  <a:gd name="connsiteY50" fmla="*/ 50178 h 50656"/>
                  <a:gd name="connsiteX51" fmla="*/ 0 w 19317"/>
                  <a:gd name="connsiteY51" fmla="*/ 50657 h 5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317" h="50656">
                    <a:moveTo>
                      <a:pt x="19318" y="0"/>
                    </a:moveTo>
                    <a:lnTo>
                      <a:pt x="18720" y="2392"/>
                    </a:lnTo>
                    <a:lnTo>
                      <a:pt x="18660" y="2512"/>
                    </a:lnTo>
                    <a:lnTo>
                      <a:pt x="18660" y="2572"/>
                    </a:lnTo>
                    <a:lnTo>
                      <a:pt x="18600" y="2751"/>
                    </a:lnTo>
                    <a:lnTo>
                      <a:pt x="18002" y="5024"/>
                    </a:lnTo>
                    <a:lnTo>
                      <a:pt x="17703" y="6100"/>
                    </a:lnTo>
                    <a:lnTo>
                      <a:pt x="17643" y="6399"/>
                    </a:lnTo>
                    <a:lnTo>
                      <a:pt x="17583" y="6519"/>
                    </a:lnTo>
                    <a:lnTo>
                      <a:pt x="17463" y="6938"/>
                    </a:lnTo>
                    <a:lnTo>
                      <a:pt x="17344" y="7356"/>
                    </a:lnTo>
                    <a:lnTo>
                      <a:pt x="17344" y="7356"/>
                    </a:lnTo>
                    <a:lnTo>
                      <a:pt x="17105" y="8373"/>
                    </a:lnTo>
                    <a:lnTo>
                      <a:pt x="17045" y="8493"/>
                    </a:lnTo>
                    <a:lnTo>
                      <a:pt x="16567" y="10406"/>
                    </a:lnTo>
                    <a:lnTo>
                      <a:pt x="15729" y="13696"/>
                    </a:lnTo>
                    <a:lnTo>
                      <a:pt x="15550" y="14354"/>
                    </a:lnTo>
                    <a:lnTo>
                      <a:pt x="15430" y="14832"/>
                    </a:lnTo>
                    <a:lnTo>
                      <a:pt x="12500" y="21531"/>
                    </a:lnTo>
                    <a:lnTo>
                      <a:pt x="9629" y="28169"/>
                    </a:lnTo>
                    <a:lnTo>
                      <a:pt x="9270" y="29006"/>
                    </a:lnTo>
                    <a:lnTo>
                      <a:pt x="8911" y="29904"/>
                    </a:lnTo>
                    <a:lnTo>
                      <a:pt x="7356" y="33492"/>
                    </a:lnTo>
                    <a:lnTo>
                      <a:pt x="6997" y="33851"/>
                    </a:lnTo>
                    <a:lnTo>
                      <a:pt x="7057" y="33970"/>
                    </a:lnTo>
                    <a:lnTo>
                      <a:pt x="7356" y="34449"/>
                    </a:lnTo>
                    <a:lnTo>
                      <a:pt x="7416" y="34509"/>
                    </a:lnTo>
                    <a:lnTo>
                      <a:pt x="7476" y="34569"/>
                    </a:lnTo>
                    <a:lnTo>
                      <a:pt x="7954" y="35346"/>
                    </a:lnTo>
                    <a:lnTo>
                      <a:pt x="8492" y="36124"/>
                    </a:lnTo>
                    <a:lnTo>
                      <a:pt x="8492" y="36124"/>
                    </a:lnTo>
                    <a:lnTo>
                      <a:pt x="8971" y="36841"/>
                    </a:lnTo>
                    <a:lnTo>
                      <a:pt x="7834" y="38576"/>
                    </a:lnTo>
                    <a:lnTo>
                      <a:pt x="7356" y="39293"/>
                    </a:lnTo>
                    <a:lnTo>
                      <a:pt x="6579" y="40430"/>
                    </a:lnTo>
                    <a:lnTo>
                      <a:pt x="5442" y="42224"/>
                    </a:lnTo>
                    <a:lnTo>
                      <a:pt x="5203" y="42583"/>
                    </a:lnTo>
                    <a:lnTo>
                      <a:pt x="4844" y="43181"/>
                    </a:lnTo>
                    <a:lnTo>
                      <a:pt x="4844" y="43181"/>
                    </a:lnTo>
                    <a:lnTo>
                      <a:pt x="3588" y="45095"/>
                    </a:lnTo>
                    <a:lnTo>
                      <a:pt x="2990" y="45992"/>
                    </a:lnTo>
                    <a:lnTo>
                      <a:pt x="1914" y="47606"/>
                    </a:lnTo>
                    <a:lnTo>
                      <a:pt x="1435" y="48324"/>
                    </a:lnTo>
                    <a:lnTo>
                      <a:pt x="1435" y="48324"/>
                    </a:lnTo>
                    <a:lnTo>
                      <a:pt x="1375" y="48444"/>
                    </a:lnTo>
                    <a:lnTo>
                      <a:pt x="1196" y="48743"/>
                    </a:lnTo>
                    <a:lnTo>
                      <a:pt x="1016" y="49042"/>
                    </a:lnTo>
                    <a:lnTo>
                      <a:pt x="478" y="49879"/>
                    </a:lnTo>
                    <a:lnTo>
                      <a:pt x="418" y="49939"/>
                    </a:lnTo>
                    <a:lnTo>
                      <a:pt x="358" y="50059"/>
                    </a:lnTo>
                    <a:lnTo>
                      <a:pt x="299" y="50178"/>
                    </a:lnTo>
                    <a:lnTo>
                      <a:pt x="0" y="50657"/>
                    </a:lnTo>
                  </a:path>
                </a:pathLst>
              </a:custGeom>
              <a:noFill/>
              <a:ln w="6350" cap="rnd">
                <a:solidFill>
                  <a:schemeClr val="bg1">
                    <a:alpha val="80000"/>
                  </a:schemeClr>
                </a:solidFill>
                <a:prstDash val="solid"/>
                <a:round/>
              </a:ln>
            </p:spPr>
            <p:txBody>
              <a:bodyPr rtlCol="0" anchor="ctr"/>
              <a:lstStyle/>
              <a:p>
                <a:endParaRPr lang="en-GB"/>
              </a:p>
            </p:txBody>
          </p:sp>
          <p:sp>
            <p:nvSpPr>
              <p:cNvPr id="6388" name="Vrije vorm: vorm 6387">
                <a:extLst>
                  <a:ext uri="{FF2B5EF4-FFF2-40B4-BE49-F238E27FC236}">
                    <a16:creationId xmlns:a16="http://schemas.microsoft.com/office/drawing/2014/main" id="{7C6B565A-D39F-498A-8E04-E79C14D732C2}"/>
                  </a:ext>
                </a:extLst>
              </p:cNvPr>
              <p:cNvSpPr/>
              <p:nvPr/>
            </p:nvSpPr>
            <p:spPr>
              <a:xfrm>
                <a:off x="6865889" y="1719677"/>
                <a:ext cx="64950" cy="64950"/>
              </a:xfrm>
              <a:custGeom>
                <a:avLst/>
                <a:gdLst>
                  <a:gd name="connsiteX0" fmla="*/ 0 w 64950"/>
                  <a:gd name="connsiteY0" fmla="*/ 64951 h 64950"/>
                  <a:gd name="connsiteX1" fmla="*/ 4186 w 64950"/>
                  <a:gd name="connsiteY1" fmla="*/ 60046 h 64950"/>
                  <a:gd name="connsiteX2" fmla="*/ 4186 w 64950"/>
                  <a:gd name="connsiteY2" fmla="*/ 60046 h 64950"/>
                  <a:gd name="connsiteX3" fmla="*/ 14832 w 64950"/>
                  <a:gd name="connsiteY3" fmla="*/ 47607 h 64950"/>
                  <a:gd name="connsiteX4" fmla="*/ 31339 w 64950"/>
                  <a:gd name="connsiteY4" fmla="*/ 29963 h 64950"/>
                  <a:gd name="connsiteX5" fmla="*/ 40310 w 64950"/>
                  <a:gd name="connsiteY5" fmla="*/ 21471 h 64950"/>
                  <a:gd name="connsiteX6" fmla="*/ 44974 w 64950"/>
                  <a:gd name="connsiteY6" fmla="*/ 17045 h 64950"/>
                  <a:gd name="connsiteX7" fmla="*/ 59030 w 64950"/>
                  <a:gd name="connsiteY7" fmla="*/ 4665 h 64950"/>
                  <a:gd name="connsiteX8" fmla="*/ 61481 w 64950"/>
                  <a:gd name="connsiteY8" fmla="*/ 2512 h 64950"/>
                  <a:gd name="connsiteX9" fmla="*/ 62976 w 64950"/>
                  <a:gd name="connsiteY9" fmla="*/ 1196 h 64950"/>
                  <a:gd name="connsiteX10" fmla="*/ 63874 w 64950"/>
                  <a:gd name="connsiteY10" fmla="*/ 658 h 64950"/>
                  <a:gd name="connsiteX11" fmla="*/ 64951 w 64950"/>
                  <a:gd name="connsiteY11" fmla="*/ 0 h 6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50" h="64950">
                    <a:moveTo>
                      <a:pt x="0" y="64951"/>
                    </a:moveTo>
                    <a:lnTo>
                      <a:pt x="4186" y="60046"/>
                    </a:lnTo>
                    <a:lnTo>
                      <a:pt x="4186" y="60046"/>
                    </a:lnTo>
                    <a:lnTo>
                      <a:pt x="14832" y="47607"/>
                    </a:lnTo>
                    <a:lnTo>
                      <a:pt x="31339" y="29963"/>
                    </a:lnTo>
                    <a:lnTo>
                      <a:pt x="40310" y="21471"/>
                    </a:lnTo>
                    <a:lnTo>
                      <a:pt x="44974" y="17045"/>
                    </a:lnTo>
                    <a:lnTo>
                      <a:pt x="59030" y="4665"/>
                    </a:lnTo>
                    <a:lnTo>
                      <a:pt x="61481" y="2512"/>
                    </a:lnTo>
                    <a:lnTo>
                      <a:pt x="62976" y="1196"/>
                    </a:lnTo>
                    <a:lnTo>
                      <a:pt x="63874" y="658"/>
                    </a:lnTo>
                    <a:lnTo>
                      <a:pt x="64951" y="0"/>
                    </a:lnTo>
                  </a:path>
                </a:pathLst>
              </a:custGeom>
              <a:noFill/>
              <a:ln w="6350" cap="rnd">
                <a:solidFill>
                  <a:schemeClr val="bg1">
                    <a:alpha val="80000"/>
                  </a:schemeClr>
                </a:solidFill>
                <a:prstDash val="solid"/>
                <a:round/>
              </a:ln>
            </p:spPr>
            <p:txBody>
              <a:bodyPr rtlCol="0" anchor="ctr"/>
              <a:lstStyle/>
              <a:p>
                <a:endParaRPr lang="en-GB"/>
              </a:p>
            </p:txBody>
          </p:sp>
          <p:sp>
            <p:nvSpPr>
              <p:cNvPr id="6389" name="Vrije vorm: vorm 6388">
                <a:extLst>
                  <a:ext uri="{FF2B5EF4-FFF2-40B4-BE49-F238E27FC236}">
                    <a16:creationId xmlns:a16="http://schemas.microsoft.com/office/drawing/2014/main" id="{9671C71B-8419-450C-99A7-FED8CB21B0D1}"/>
                  </a:ext>
                </a:extLst>
              </p:cNvPr>
              <p:cNvSpPr/>
              <p:nvPr/>
            </p:nvSpPr>
            <p:spPr>
              <a:xfrm>
                <a:off x="6798605" y="1876671"/>
                <a:ext cx="16745" cy="22427"/>
              </a:xfrm>
              <a:custGeom>
                <a:avLst/>
                <a:gdLst>
                  <a:gd name="connsiteX0" fmla="*/ 14055 w 16745"/>
                  <a:gd name="connsiteY0" fmla="*/ 22428 h 22427"/>
                  <a:gd name="connsiteX1" fmla="*/ 14055 w 16745"/>
                  <a:gd name="connsiteY1" fmla="*/ 22308 h 22427"/>
                  <a:gd name="connsiteX2" fmla="*/ 14174 w 16745"/>
                  <a:gd name="connsiteY2" fmla="*/ 21770 h 22427"/>
                  <a:gd name="connsiteX3" fmla="*/ 14234 w 16745"/>
                  <a:gd name="connsiteY3" fmla="*/ 21471 h 22427"/>
                  <a:gd name="connsiteX4" fmla="*/ 14653 w 16745"/>
                  <a:gd name="connsiteY4" fmla="*/ 19677 h 22427"/>
                  <a:gd name="connsiteX5" fmla="*/ 14653 w 16745"/>
                  <a:gd name="connsiteY5" fmla="*/ 19677 h 22427"/>
                  <a:gd name="connsiteX6" fmla="*/ 14773 w 16745"/>
                  <a:gd name="connsiteY6" fmla="*/ 19258 h 22427"/>
                  <a:gd name="connsiteX7" fmla="*/ 14832 w 16745"/>
                  <a:gd name="connsiteY7" fmla="*/ 19079 h 22427"/>
                  <a:gd name="connsiteX8" fmla="*/ 14832 w 16745"/>
                  <a:gd name="connsiteY8" fmla="*/ 19079 h 22427"/>
                  <a:gd name="connsiteX9" fmla="*/ 14832 w 16745"/>
                  <a:gd name="connsiteY9" fmla="*/ 19079 h 22427"/>
                  <a:gd name="connsiteX10" fmla="*/ 14892 w 16745"/>
                  <a:gd name="connsiteY10" fmla="*/ 18899 h 22427"/>
                  <a:gd name="connsiteX11" fmla="*/ 14892 w 16745"/>
                  <a:gd name="connsiteY11" fmla="*/ 18899 h 22427"/>
                  <a:gd name="connsiteX12" fmla="*/ 15072 w 16745"/>
                  <a:gd name="connsiteY12" fmla="*/ 18181 h 22427"/>
                  <a:gd name="connsiteX13" fmla="*/ 15131 w 16745"/>
                  <a:gd name="connsiteY13" fmla="*/ 17942 h 22427"/>
                  <a:gd name="connsiteX14" fmla="*/ 15191 w 16745"/>
                  <a:gd name="connsiteY14" fmla="*/ 17583 h 22427"/>
                  <a:gd name="connsiteX15" fmla="*/ 15251 w 16745"/>
                  <a:gd name="connsiteY15" fmla="*/ 17404 h 22427"/>
                  <a:gd name="connsiteX16" fmla="*/ 15251 w 16745"/>
                  <a:gd name="connsiteY16" fmla="*/ 17344 h 22427"/>
                  <a:gd name="connsiteX17" fmla="*/ 15371 w 16745"/>
                  <a:gd name="connsiteY17" fmla="*/ 16806 h 22427"/>
                  <a:gd name="connsiteX18" fmla="*/ 15371 w 16745"/>
                  <a:gd name="connsiteY18" fmla="*/ 16746 h 22427"/>
                  <a:gd name="connsiteX19" fmla="*/ 15610 w 16745"/>
                  <a:gd name="connsiteY19" fmla="*/ 15789 h 22427"/>
                  <a:gd name="connsiteX20" fmla="*/ 15669 w 16745"/>
                  <a:gd name="connsiteY20" fmla="*/ 15430 h 22427"/>
                  <a:gd name="connsiteX21" fmla="*/ 15669 w 16745"/>
                  <a:gd name="connsiteY21" fmla="*/ 15430 h 22427"/>
                  <a:gd name="connsiteX22" fmla="*/ 15789 w 16745"/>
                  <a:gd name="connsiteY22" fmla="*/ 15012 h 22427"/>
                  <a:gd name="connsiteX23" fmla="*/ 15849 w 16745"/>
                  <a:gd name="connsiteY23" fmla="*/ 14892 h 22427"/>
                  <a:gd name="connsiteX24" fmla="*/ 15968 w 16745"/>
                  <a:gd name="connsiteY24" fmla="*/ 14473 h 22427"/>
                  <a:gd name="connsiteX25" fmla="*/ 16148 w 16745"/>
                  <a:gd name="connsiteY25" fmla="*/ 13815 h 22427"/>
                  <a:gd name="connsiteX26" fmla="*/ 16387 w 16745"/>
                  <a:gd name="connsiteY26" fmla="*/ 12859 h 22427"/>
                  <a:gd name="connsiteX27" fmla="*/ 16746 w 16745"/>
                  <a:gd name="connsiteY27" fmla="*/ 11244 h 22427"/>
                  <a:gd name="connsiteX28" fmla="*/ 16447 w 16745"/>
                  <a:gd name="connsiteY28" fmla="*/ 10586 h 22427"/>
                  <a:gd name="connsiteX29" fmla="*/ 16268 w 16745"/>
                  <a:gd name="connsiteY29" fmla="*/ 10167 h 22427"/>
                  <a:gd name="connsiteX30" fmla="*/ 16208 w 16745"/>
                  <a:gd name="connsiteY30" fmla="*/ 10107 h 22427"/>
                  <a:gd name="connsiteX31" fmla="*/ 16028 w 16745"/>
                  <a:gd name="connsiteY31" fmla="*/ 9988 h 22427"/>
                  <a:gd name="connsiteX32" fmla="*/ 15909 w 16745"/>
                  <a:gd name="connsiteY32" fmla="*/ 9928 h 22427"/>
                  <a:gd name="connsiteX33" fmla="*/ 14832 w 16745"/>
                  <a:gd name="connsiteY33" fmla="*/ 9270 h 22427"/>
                  <a:gd name="connsiteX34" fmla="*/ 14653 w 16745"/>
                  <a:gd name="connsiteY34" fmla="*/ 9150 h 22427"/>
                  <a:gd name="connsiteX35" fmla="*/ 13098 w 16745"/>
                  <a:gd name="connsiteY35" fmla="*/ 8134 h 22427"/>
                  <a:gd name="connsiteX36" fmla="*/ 12978 w 16745"/>
                  <a:gd name="connsiteY36" fmla="*/ 8074 h 22427"/>
                  <a:gd name="connsiteX37" fmla="*/ 12919 w 16745"/>
                  <a:gd name="connsiteY37" fmla="*/ 8014 h 22427"/>
                  <a:gd name="connsiteX38" fmla="*/ 10945 w 16745"/>
                  <a:gd name="connsiteY38" fmla="*/ 6758 h 22427"/>
                  <a:gd name="connsiteX39" fmla="*/ 10287 w 16745"/>
                  <a:gd name="connsiteY39" fmla="*/ 6340 h 22427"/>
                  <a:gd name="connsiteX40" fmla="*/ 9629 w 16745"/>
                  <a:gd name="connsiteY40" fmla="*/ 5921 h 22427"/>
                  <a:gd name="connsiteX41" fmla="*/ 9211 w 16745"/>
                  <a:gd name="connsiteY41" fmla="*/ 5682 h 22427"/>
                  <a:gd name="connsiteX42" fmla="*/ 7536 w 16745"/>
                  <a:gd name="connsiteY42" fmla="*/ 4665 h 22427"/>
                  <a:gd name="connsiteX43" fmla="*/ 7237 w 16745"/>
                  <a:gd name="connsiteY43" fmla="*/ 4486 h 22427"/>
                  <a:gd name="connsiteX44" fmla="*/ 6997 w 16745"/>
                  <a:gd name="connsiteY44" fmla="*/ 4306 h 22427"/>
                  <a:gd name="connsiteX45" fmla="*/ 6758 w 16745"/>
                  <a:gd name="connsiteY45" fmla="*/ 4186 h 22427"/>
                  <a:gd name="connsiteX46" fmla="*/ 6459 w 16745"/>
                  <a:gd name="connsiteY46" fmla="*/ 4007 h 22427"/>
                  <a:gd name="connsiteX47" fmla="*/ 6041 w 16745"/>
                  <a:gd name="connsiteY47" fmla="*/ 3768 h 22427"/>
                  <a:gd name="connsiteX48" fmla="*/ 5682 w 16745"/>
                  <a:gd name="connsiteY48" fmla="*/ 3529 h 22427"/>
                  <a:gd name="connsiteX49" fmla="*/ 5143 w 16745"/>
                  <a:gd name="connsiteY49" fmla="*/ 3170 h 22427"/>
                  <a:gd name="connsiteX50" fmla="*/ 5084 w 16745"/>
                  <a:gd name="connsiteY50" fmla="*/ 3110 h 22427"/>
                  <a:gd name="connsiteX51" fmla="*/ 4904 w 16745"/>
                  <a:gd name="connsiteY51" fmla="*/ 2990 h 22427"/>
                  <a:gd name="connsiteX52" fmla="*/ 4605 w 16745"/>
                  <a:gd name="connsiteY52" fmla="*/ 2811 h 22427"/>
                  <a:gd name="connsiteX53" fmla="*/ 4426 w 16745"/>
                  <a:gd name="connsiteY53" fmla="*/ 2691 h 22427"/>
                  <a:gd name="connsiteX54" fmla="*/ 3050 w 16745"/>
                  <a:gd name="connsiteY54" fmla="*/ 1854 h 22427"/>
                  <a:gd name="connsiteX55" fmla="*/ 2811 w 16745"/>
                  <a:gd name="connsiteY55" fmla="*/ 1734 h 22427"/>
                  <a:gd name="connsiteX56" fmla="*/ 2751 w 16745"/>
                  <a:gd name="connsiteY56" fmla="*/ 1734 h 22427"/>
                  <a:gd name="connsiteX57" fmla="*/ 2572 w 16745"/>
                  <a:gd name="connsiteY57" fmla="*/ 1615 h 22427"/>
                  <a:gd name="connsiteX58" fmla="*/ 1495 w 16745"/>
                  <a:gd name="connsiteY58" fmla="*/ 957 h 22427"/>
                  <a:gd name="connsiteX59" fmla="*/ 0 w 16745"/>
                  <a:gd name="connsiteY59" fmla="*/ 0 h 22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6745" h="22427">
                    <a:moveTo>
                      <a:pt x="14055" y="22428"/>
                    </a:moveTo>
                    <a:lnTo>
                      <a:pt x="14055" y="22308"/>
                    </a:lnTo>
                    <a:lnTo>
                      <a:pt x="14174" y="21770"/>
                    </a:lnTo>
                    <a:lnTo>
                      <a:pt x="14234" y="21471"/>
                    </a:lnTo>
                    <a:lnTo>
                      <a:pt x="14653" y="19677"/>
                    </a:lnTo>
                    <a:lnTo>
                      <a:pt x="14653" y="19677"/>
                    </a:lnTo>
                    <a:lnTo>
                      <a:pt x="14773" y="19258"/>
                    </a:lnTo>
                    <a:lnTo>
                      <a:pt x="14832" y="19079"/>
                    </a:lnTo>
                    <a:lnTo>
                      <a:pt x="14832" y="19079"/>
                    </a:lnTo>
                    <a:lnTo>
                      <a:pt x="14832" y="19079"/>
                    </a:lnTo>
                    <a:lnTo>
                      <a:pt x="14892" y="18899"/>
                    </a:lnTo>
                    <a:lnTo>
                      <a:pt x="14892" y="18899"/>
                    </a:lnTo>
                    <a:lnTo>
                      <a:pt x="15072" y="18181"/>
                    </a:lnTo>
                    <a:lnTo>
                      <a:pt x="15131" y="17942"/>
                    </a:lnTo>
                    <a:lnTo>
                      <a:pt x="15191" y="17583"/>
                    </a:lnTo>
                    <a:lnTo>
                      <a:pt x="15251" y="17404"/>
                    </a:lnTo>
                    <a:lnTo>
                      <a:pt x="15251" y="17344"/>
                    </a:lnTo>
                    <a:lnTo>
                      <a:pt x="15371" y="16806"/>
                    </a:lnTo>
                    <a:lnTo>
                      <a:pt x="15371" y="16746"/>
                    </a:lnTo>
                    <a:lnTo>
                      <a:pt x="15610" y="15789"/>
                    </a:lnTo>
                    <a:lnTo>
                      <a:pt x="15669" y="15430"/>
                    </a:lnTo>
                    <a:lnTo>
                      <a:pt x="15669" y="15430"/>
                    </a:lnTo>
                    <a:lnTo>
                      <a:pt x="15789" y="15012"/>
                    </a:lnTo>
                    <a:lnTo>
                      <a:pt x="15849" y="14892"/>
                    </a:lnTo>
                    <a:lnTo>
                      <a:pt x="15968" y="14473"/>
                    </a:lnTo>
                    <a:lnTo>
                      <a:pt x="16148" y="13815"/>
                    </a:lnTo>
                    <a:lnTo>
                      <a:pt x="16387" y="12859"/>
                    </a:lnTo>
                    <a:lnTo>
                      <a:pt x="16746" y="11244"/>
                    </a:lnTo>
                    <a:lnTo>
                      <a:pt x="16447" y="10586"/>
                    </a:lnTo>
                    <a:lnTo>
                      <a:pt x="16268" y="10167"/>
                    </a:lnTo>
                    <a:lnTo>
                      <a:pt x="16208" y="10107"/>
                    </a:lnTo>
                    <a:lnTo>
                      <a:pt x="16028" y="9988"/>
                    </a:lnTo>
                    <a:lnTo>
                      <a:pt x="15909" y="9928"/>
                    </a:lnTo>
                    <a:lnTo>
                      <a:pt x="14832" y="9270"/>
                    </a:lnTo>
                    <a:lnTo>
                      <a:pt x="14653" y="9150"/>
                    </a:lnTo>
                    <a:lnTo>
                      <a:pt x="13098" y="8134"/>
                    </a:lnTo>
                    <a:lnTo>
                      <a:pt x="12978" y="8074"/>
                    </a:lnTo>
                    <a:lnTo>
                      <a:pt x="12919" y="8014"/>
                    </a:lnTo>
                    <a:lnTo>
                      <a:pt x="10945" y="6758"/>
                    </a:lnTo>
                    <a:lnTo>
                      <a:pt x="10287" y="6340"/>
                    </a:lnTo>
                    <a:lnTo>
                      <a:pt x="9629" y="5921"/>
                    </a:lnTo>
                    <a:lnTo>
                      <a:pt x="9211" y="5682"/>
                    </a:lnTo>
                    <a:lnTo>
                      <a:pt x="7536" y="4665"/>
                    </a:lnTo>
                    <a:lnTo>
                      <a:pt x="7237" y="4486"/>
                    </a:lnTo>
                    <a:lnTo>
                      <a:pt x="6997" y="4306"/>
                    </a:lnTo>
                    <a:lnTo>
                      <a:pt x="6758" y="4186"/>
                    </a:lnTo>
                    <a:lnTo>
                      <a:pt x="6459" y="4007"/>
                    </a:lnTo>
                    <a:lnTo>
                      <a:pt x="6041" y="3768"/>
                    </a:lnTo>
                    <a:lnTo>
                      <a:pt x="5682" y="3529"/>
                    </a:lnTo>
                    <a:lnTo>
                      <a:pt x="5143" y="3170"/>
                    </a:lnTo>
                    <a:lnTo>
                      <a:pt x="5084" y="3110"/>
                    </a:lnTo>
                    <a:lnTo>
                      <a:pt x="4904" y="2990"/>
                    </a:lnTo>
                    <a:lnTo>
                      <a:pt x="4605" y="2811"/>
                    </a:lnTo>
                    <a:lnTo>
                      <a:pt x="4426" y="2691"/>
                    </a:lnTo>
                    <a:lnTo>
                      <a:pt x="3050" y="1854"/>
                    </a:lnTo>
                    <a:lnTo>
                      <a:pt x="2811" y="1734"/>
                    </a:lnTo>
                    <a:lnTo>
                      <a:pt x="2751" y="1734"/>
                    </a:lnTo>
                    <a:lnTo>
                      <a:pt x="2572" y="1615"/>
                    </a:lnTo>
                    <a:lnTo>
                      <a:pt x="1495" y="95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390" name="Vrije vorm: vorm 6389">
                <a:extLst>
                  <a:ext uri="{FF2B5EF4-FFF2-40B4-BE49-F238E27FC236}">
                    <a16:creationId xmlns:a16="http://schemas.microsoft.com/office/drawing/2014/main" id="{81869559-9E5D-40CF-B729-2B2CEF7398DC}"/>
                  </a:ext>
                </a:extLst>
              </p:cNvPr>
              <p:cNvSpPr/>
              <p:nvPr/>
            </p:nvSpPr>
            <p:spPr>
              <a:xfrm>
                <a:off x="6915408" y="1886898"/>
                <a:ext cx="10287" cy="3349"/>
              </a:xfrm>
              <a:custGeom>
                <a:avLst/>
                <a:gdLst>
                  <a:gd name="connsiteX0" fmla="*/ 9390 w 10287"/>
                  <a:gd name="connsiteY0" fmla="*/ 598 h 3349"/>
                  <a:gd name="connsiteX1" fmla="*/ 10108 w 10287"/>
                  <a:gd name="connsiteY1" fmla="*/ 1376 h 3349"/>
                  <a:gd name="connsiteX2" fmla="*/ 10287 w 10287"/>
                  <a:gd name="connsiteY2" fmla="*/ 1555 h 3349"/>
                  <a:gd name="connsiteX3" fmla="*/ 10228 w 10287"/>
                  <a:gd name="connsiteY3" fmla="*/ 1734 h 3349"/>
                  <a:gd name="connsiteX4" fmla="*/ 9390 w 10287"/>
                  <a:gd name="connsiteY4" fmla="*/ 3349 h 3349"/>
                  <a:gd name="connsiteX5" fmla="*/ 8732 w 10287"/>
                  <a:gd name="connsiteY5" fmla="*/ 3110 h 3349"/>
                  <a:gd name="connsiteX6" fmla="*/ 8493 w 10287"/>
                  <a:gd name="connsiteY6" fmla="*/ 3050 h 3349"/>
                  <a:gd name="connsiteX7" fmla="*/ 7596 w 10287"/>
                  <a:gd name="connsiteY7" fmla="*/ 2751 h 3349"/>
                  <a:gd name="connsiteX8" fmla="*/ 7416 w 10287"/>
                  <a:gd name="connsiteY8" fmla="*/ 2691 h 3349"/>
                  <a:gd name="connsiteX9" fmla="*/ 6160 w 10287"/>
                  <a:gd name="connsiteY9" fmla="*/ 2273 h 3349"/>
                  <a:gd name="connsiteX10" fmla="*/ 5622 w 10287"/>
                  <a:gd name="connsiteY10" fmla="*/ 2093 h 3349"/>
                  <a:gd name="connsiteX11" fmla="*/ 5323 w 10287"/>
                  <a:gd name="connsiteY11" fmla="*/ 1974 h 3349"/>
                  <a:gd name="connsiteX12" fmla="*/ 5263 w 10287"/>
                  <a:gd name="connsiteY12" fmla="*/ 1974 h 3349"/>
                  <a:gd name="connsiteX13" fmla="*/ 4964 w 10287"/>
                  <a:gd name="connsiteY13" fmla="*/ 1854 h 3349"/>
                  <a:gd name="connsiteX14" fmla="*/ 4367 w 10287"/>
                  <a:gd name="connsiteY14" fmla="*/ 1615 h 3349"/>
                  <a:gd name="connsiteX15" fmla="*/ 3768 w 10287"/>
                  <a:gd name="connsiteY15" fmla="*/ 1376 h 3349"/>
                  <a:gd name="connsiteX16" fmla="*/ 2333 w 10287"/>
                  <a:gd name="connsiteY16" fmla="*/ 837 h 3349"/>
                  <a:gd name="connsiteX17" fmla="*/ 0 w 10287"/>
                  <a:gd name="connsiteY17" fmla="*/ 0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87" h="3349">
                    <a:moveTo>
                      <a:pt x="9390" y="598"/>
                    </a:moveTo>
                    <a:lnTo>
                      <a:pt x="10108" y="1376"/>
                    </a:lnTo>
                    <a:lnTo>
                      <a:pt x="10287" y="1555"/>
                    </a:lnTo>
                    <a:lnTo>
                      <a:pt x="10228" y="1734"/>
                    </a:lnTo>
                    <a:lnTo>
                      <a:pt x="9390" y="3349"/>
                    </a:lnTo>
                    <a:lnTo>
                      <a:pt x="8732" y="3110"/>
                    </a:lnTo>
                    <a:lnTo>
                      <a:pt x="8493" y="3050"/>
                    </a:lnTo>
                    <a:lnTo>
                      <a:pt x="7596" y="2751"/>
                    </a:lnTo>
                    <a:lnTo>
                      <a:pt x="7416" y="2691"/>
                    </a:lnTo>
                    <a:lnTo>
                      <a:pt x="6160" y="2273"/>
                    </a:lnTo>
                    <a:lnTo>
                      <a:pt x="5622" y="2093"/>
                    </a:lnTo>
                    <a:lnTo>
                      <a:pt x="5323" y="1974"/>
                    </a:lnTo>
                    <a:lnTo>
                      <a:pt x="5263" y="1974"/>
                    </a:lnTo>
                    <a:lnTo>
                      <a:pt x="4964" y="1854"/>
                    </a:lnTo>
                    <a:lnTo>
                      <a:pt x="4367" y="1615"/>
                    </a:lnTo>
                    <a:lnTo>
                      <a:pt x="3768" y="1376"/>
                    </a:lnTo>
                    <a:lnTo>
                      <a:pt x="2333" y="83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391" name="Vrije vorm: vorm 6390">
                <a:extLst>
                  <a:ext uri="{FF2B5EF4-FFF2-40B4-BE49-F238E27FC236}">
                    <a16:creationId xmlns:a16="http://schemas.microsoft.com/office/drawing/2014/main" id="{785E19E7-F1C0-4D43-9E09-2F5B94EC124F}"/>
                  </a:ext>
                </a:extLst>
              </p:cNvPr>
              <p:cNvSpPr/>
              <p:nvPr/>
            </p:nvSpPr>
            <p:spPr>
              <a:xfrm>
                <a:off x="6761345" y="1873920"/>
                <a:ext cx="478" cy="837"/>
              </a:xfrm>
              <a:custGeom>
                <a:avLst/>
                <a:gdLst>
                  <a:gd name="connsiteX0" fmla="*/ 479 w 478"/>
                  <a:gd name="connsiteY0" fmla="*/ 837 h 837"/>
                  <a:gd name="connsiteX1" fmla="*/ 60 w 478"/>
                  <a:gd name="connsiteY1" fmla="*/ 299 h 837"/>
                  <a:gd name="connsiteX2" fmla="*/ 0 w 478"/>
                  <a:gd name="connsiteY2" fmla="*/ 0 h 837"/>
                </a:gdLst>
                <a:ahLst/>
                <a:cxnLst>
                  <a:cxn ang="0">
                    <a:pos x="connsiteX0" y="connsiteY0"/>
                  </a:cxn>
                  <a:cxn ang="0">
                    <a:pos x="connsiteX1" y="connsiteY1"/>
                  </a:cxn>
                  <a:cxn ang="0">
                    <a:pos x="connsiteX2" y="connsiteY2"/>
                  </a:cxn>
                </a:cxnLst>
                <a:rect l="l" t="t" r="r" b="b"/>
                <a:pathLst>
                  <a:path w="478" h="837">
                    <a:moveTo>
                      <a:pt x="479" y="837"/>
                    </a:moveTo>
                    <a:lnTo>
                      <a:pt x="60" y="29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392" name="Vrije vorm: vorm 6391">
                <a:extLst>
                  <a:ext uri="{FF2B5EF4-FFF2-40B4-BE49-F238E27FC236}">
                    <a16:creationId xmlns:a16="http://schemas.microsoft.com/office/drawing/2014/main" id="{90BA1E53-3D13-40BE-A022-FFE2FE715880}"/>
                  </a:ext>
                </a:extLst>
              </p:cNvPr>
              <p:cNvSpPr/>
              <p:nvPr/>
            </p:nvSpPr>
            <p:spPr>
              <a:xfrm>
                <a:off x="6992859" y="1837019"/>
                <a:ext cx="18121" cy="15789"/>
              </a:xfrm>
              <a:custGeom>
                <a:avLst/>
                <a:gdLst>
                  <a:gd name="connsiteX0" fmla="*/ 4366 w 18121"/>
                  <a:gd name="connsiteY0" fmla="*/ 179 h 15789"/>
                  <a:gd name="connsiteX1" fmla="*/ 4904 w 18121"/>
                  <a:gd name="connsiteY1" fmla="*/ 0 h 15789"/>
                  <a:gd name="connsiteX2" fmla="*/ 9031 w 18121"/>
                  <a:gd name="connsiteY2" fmla="*/ 2392 h 15789"/>
                  <a:gd name="connsiteX3" fmla="*/ 9927 w 18121"/>
                  <a:gd name="connsiteY3" fmla="*/ 2931 h 15789"/>
                  <a:gd name="connsiteX4" fmla="*/ 10526 w 18121"/>
                  <a:gd name="connsiteY4" fmla="*/ 3289 h 15789"/>
                  <a:gd name="connsiteX5" fmla="*/ 11004 w 18121"/>
                  <a:gd name="connsiteY5" fmla="*/ 3588 h 15789"/>
                  <a:gd name="connsiteX6" fmla="*/ 11124 w 18121"/>
                  <a:gd name="connsiteY6" fmla="*/ 3648 h 15789"/>
                  <a:gd name="connsiteX7" fmla="*/ 11124 w 18121"/>
                  <a:gd name="connsiteY7" fmla="*/ 3648 h 15789"/>
                  <a:gd name="connsiteX8" fmla="*/ 11902 w 18121"/>
                  <a:gd name="connsiteY8" fmla="*/ 4067 h 15789"/>
                  <a:gd name="connsiteX9" fmla="*/ 12200 w 18121"/>
                  <a:gd name="connsiteY9" fmla="*/ 4246 h 15789"/>
                  <a:gd name="connsiteX10" fmla="*/ 12500 w 18121"/>
                  <a:gd name="connsiteY10" fmla="*/ 4426 h 15789"/>
                  <a:gd name="connsiteX11" fmla="*/ 14473 w 18121"/>
                  <a:gd name="connsiteY11" fmla="*/ 5562 h 15789"/>
                  <a:gd name="connsiteX12" fmla="*/ 15012 w 18121"/>
                  <a:gd name="connsiteY12" fmla="*/ 5861 h 15789"/>
                  <a:gd name="connsiteX13" fmla="*/ 16925 w 18121"/>
                  <a:gd name="connsiteY13" fmla="*/ 6938 h 15789"/>
                  <a:gd name="connsiteX14" fmla="*/ 17284 w 18121"/>
                  <a:gd name="connsiteY14" fmla="*/ 7177 h 15789"/>
                  <a:gd name="connsiteX15" fmla="*/ 17583 w 18121"/>
                  <a:gd name="connsiteY15" fmla="*/ 7356 h 15789"/>
                  <a:gd name="connsiteX16" fmla="*/ 17882 w 18121"/>
                  <a:gd name="connsiteY16" fmla="*/ 7536 h 15789"/>
                  <a:gd name="connsiteX17" fmla="*/ 18002 w 18121"/>
                  <a:gd name="connsiteY17" fmla="*/ 7596 h 15789"/>
                  <a:gd name="connsiteX18" fmla="*/ 18122 w 18121"/>
                  <a:gd name="connsiteY18" fmla="*/ 8134 h 15789"/>
                  <a:gd name="connsiteX19" fmla="*/ 17403 w 18121"/>
                  <a:gd name="connsiteY19" fmla="*/ 9330 h 15789"/>
                  <a:gd name="connsiteX20" fmla="*/ 13695 w 18121"/>
                  <a:gd name="connsiteY20" fmla="*/ 15610 h 15789"/>
                  <a:gd name="connsiteX21" fmla="*/ 13157 w 18121"/>
                  <a:gd name="connsiteY21" fmla="*/ 15789 h 15789"/>
                  <a:gd name="connsiteX22" fmla="*/ 12918 w 18121"/>
                  <a:gd name="connsiteY22" fmla="*/ 15670 h 15789"/>
                  <a:gd name="connsiteX23" fmla="*/ 12918 w 18121"/>
                  <a:gd name="connsiteY23" fmla="*/ 15670 h 15789"/>
                  <a:gd name="connsiteX24" fmla="*/ 12619 w 18121"/>
                  <a:gd name="connsiteY24" fmla="*/ 15490 h 15789"/>
                  <a:gd name="connsiteX25" fmla="*/ 12320 w 18121"/>
                  <a:gd name="connsiteY25" fmla="*/ 15311 h 15789"/>
                  <a:gd name="connsiteX26" fmla="*/ 10406 w 18121"/>
                  <a:gd name="connsiteY26" fmla="*/ 14174 h 15789"/>
                  <a:gd name="connsiteX27" fmla="*/ 10047 w 18121"/>
                  <a:gd name="connsiteY27" fmla="*/ 13935 h 15789"/>
                  <a:gd name="connsiteX28" fmla="*/ 8492 w 18121"/>
                  <a:gd name="connsiteY28" fmla="*/ 13038 h 15789"/>
                  <a:gd name="connsiteX29" fmla="*/ 7775 w 18121"/>
                  <a:gd name="connsiteY29" fmla="*/ 12619 h 15789"/>
                  <a:gd name="connsiteX30" fmla="*/ 7356 w 18121"/>
                  <a:gd name="connsiteY30" fmla="*/ 12380 h 15789"/>
                  <a:gd name="connsiteX31" fmla="*/ 7117 w 18121"/>
                  <a:gd name="connsiteY31" fmla="*/ 12201 h 15789"/>
                  <a:gd name="connsiteX32" fmla="*/ 6399 w 18121"/>
                  <a:gd name="connsiteY32" fmla="*/ 11782 h 15789"/>
                  <a:gd name="connsiteX33" fmla="*/ 6399 w 18121"/>
                  <a:gd name="connsiteY33" fmla="*/ 11782 h 15789"/>
                  <a:gd name="connsiteX34" fmla="*/ 6279 w 18121"/>
                  <a:gd name="connsiteY34" fmla="*/ 11722 h 15789"/>
                  <a:gd name="connsiteX35" fmla="*/ 5741 w 18121"/>
                  <a:gd name="connsiteY35" fmla="*/ 11423 h 15789"/>
                  <a:gd name="connsiteX36" fmla="*/ 5143 w 18121"/>
                  <a:gd name="connsiteY36" fmla="*/ 11064 h 15789"/>
                  <a:gd name="connsiteX37" fmla="*/ 3050 w 18121"/>
                  <a:gd name="connsiteY37" fmla="*/ 9868 h 15789"/>
                  <a:gd name="connsiteX38" fmla="*/ 120 w 18121"/>
                  <a:gd name="connsiteY38" fmla="*/ 8134 h 15789"/>
                  <a:gd name="connsiteX39" fmla="*/ 0 w 18121"/>
                  <a:gd name="connsiteY39" fmla="*/ 7655 h 15789"/>
                  <a:gd name="connsiteX40" fmla="*/ 0 w 18121"/>
                  <a:gd name="connsiteY40" fmla="*/ 7536 h 1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8121" h="15789">
                    <a:moveTo>
                      <a:pt x="4366" y="179"/>
                    </a:moveTo>
                    <a:lnTo>
                      <a:pt x="4904" y="0"/>
                    </a:lnTo>
                    <a:lnTo>
                      <a:pt x="9031" y="2392"/>
                    </a:lnTo>
                    <a:lnTo>
                      <a:pt x="9927" y="2931"/>
                    </a:lnTo>
                    <a:lnTo>
                      <a:pt x="10526" y="3289"/>
                    </a:lnTo>
                    <a:lnTo>
                      <a:pt x="11004" y="3588"/>
                    </a:lnTo>
                    <a:lnTo>
                      <a:pt x="11124" y="3648"/>
                    </a:lnTo>
                    <a:lnTo>
                      <a:pt x="11124" y="3648"/>
                    </a:lnTo>
                    <a:lnTo>
                      <a:pt x="11902" y="4067"/>
                    </a:lnTo>
                    <a:lnTo>
                      <a:pt x="12200" y="4246"/>
                    </a:lnTo>
                    <a:lnTo>
                      <a:pt x="12500" y="4426"/>
                    </a:lnTo>
                    <a:lnTo>
                      <a:pt x="14473" y="5562"/>
                    </a:lnTo>
                    <a:lnTo>
                      <a:pt x="15012" y="5861"/>
                    </a:lnTo>
                    <a:lnTo>
                      <a:pt x="16925" y="6938"/>
                    </a:lnTo>
                    <a:lnTo>
                      <a:pt x="17284" y="7177"/>
                    </a:lnTo>
                    <a:lnTo>
                      <a:pt x="17583" y="7356"/>
                    </a:lnTo>
                    <a:lnTo>
                      <a:pt x="17882" y="7536"/>
                    </a:lnTo>
                    <a:lnTo>
                      <a:pt x="18002" y="7596"/>
                    </a:lnTo>
                    <a:lnTo>
                      <a:pt x="18122" y="8134"/>
                    </a:lnTo>
                    <a:lnTo>
                      <a:pt x="17403" y="9330"/>
                    </a:lnTo>
                    <a:lnTo>
                      <a:pt x="13695" y="15610"/>
                    </a:lnTo>
                    <a:lnTo>
                      <a:pt x="13157" y="15789"/>
                    </a:lnTo>
                    <a:lnTo>
                      <a:pt x="12918" y="15670"/>
                    </a:lnTo>
                    <a:lnTo>
                      <a:pt x="12918" y="15670"/>
                    </a:lnTo>
                    <a:lnTo>
                      <a:pt x="12619" y="15490"/>
                    </a:lnTo>
                    <a:lnTo>
                      <a:pt x="12320" y="15311"/>
                    </a:lnTo>
                    <a:lnTo>
                      <a:pt x="10406" y="14174"/>
                    </a:lnTo>
                    <a:lnTo>
                      <a:pt x="10047" y="13935"/>
                    </a:lnTo>
                    <a:lnTo>
                      <a:pt x="8492" y="13038"/>
                    </a:lnTo>
                    <a:lnTo>
                      <a:pt x="7775" y="12619"/>
                    </a:lnTo>
                    <a:lnTo>
                      <a:pt x="7356" y="12380"/>
                    </a:lnTo>
                    <a:lnTo>
                      <a:pt x="7117" y="12201"/>
                    </a:lnTo>
                    <a:lnTo>
                      <a:pt x="6399" y="11782"/>
                    </a:lnTo>
                    <a:lnTo>
                      <a:pt x="6399" y="11782"/>
                    </a:lnTo>
                    <a:lnTo>
                      <a:pt x="6279" y="11722"/>
                    </a:lnTo>
                    <a:lnTo>
                      <a:pt x="5741" y="11423"/>
                    </a:lnTo>
                    <a:lnTo>
                      <a:pt x="5143" y="11064"/>
                    </a:lnTo>
                    <a:lnTo>
                      <a:pt x="3050" y="9868"/>
                    </a:lnTo>
                    <a:lnTo>
                      <a:pt x="120" y="8134"/>
                    </a:lnTo>
                    <a:lnTo>
                      <a:pt x="0" y="7655"/>
                    </a:lnTo>
                    <a:lnTo>
                      <a:pt x="0" y="7536"/>
                    </a:lnTo>
                  </a:path>
                </a:pathLst>
              </a:custGeom>
              <a:noFill/>
              <a:ln w="6350" cap="rnd">
                <a:solidFill>
                  <a:schemeClr val="bg1">
                    <a:alpha val="80000"/>
                  </a:schemeClr>
                </a:solidFill>
                <a:prstDash val="solid"/>
                <a:round/>
              </a:ln>
            </p:spPr>
            <p:txBody>
              <a:bodyPr rtlCol="0" anchor="ctr"/>
              <a:lstStyle/>
              <a:p>
                <a:endParaRPr lang="en-GB"/>
              </a:p>
            </p:txBody>
          </p:sp>
          <p:sp>
            <p:nvSpPr>
              <p:cNvPr id="6393" name="Vrije vorm: vorm 6392">
                <a:extLst>
                  <a:ext uri="{FF2B5EF4-FFF2-40B4-BE49-F238E27FC236}">
                    <a16:creationId xmlns:a16="http://schemas.microsoft.com/office/drawing/2014/main" id="{782550E9-95E2-4CD9-B00F-972D071B168D}"/>
                  </a:ext>
                </a:extLst>
              </p:cNvPr>
              <p:cNvSpPr/>
              <p:nvPr/>
            </p:nvSpPr>
            <p:spPr>
              <a:xfrm>
                <a:off x="6842504" y="1924517"/>
                <a:ext cx="7535" cy="5801"/>
              </a:xfrm>
              <a:custGeom>
                <a:avLst/>
                <a:gdLst>
                  <a:gd name="connsiteX0" fmla="*/ 7536 w 7535"/>
                  <a:gd name="connsiteY0" fmla="*/ 0 h 5801"/>
                  <a:gd name="connsiteX1" fmla="*/ 7356 w 7535"/>
                  <a:gd name="connsiteY1" fmla="*/ 837 h 5801"/>
                  <a:gd name="connsiteX2" fmla="*/ 5083 w 7535"/>
                  <a:gd name="connsiteY2" fmla="*/ 2512 h 5801"/>
                  <a:gd name="connsiteX3" fmla="*/ 1854 w 7535"/>
                  <a:gd name="connsiteY3" fmla="*/ 4904 h 5801"/>
                  <a:gd name="connsiteX4" fmla="*/ 598 w 7535"/>
                  <a:gd name="connsiteY4" fmla="*/ 5801 h 5801"/>
                  <a:gd name="connsiteX5" fmla="*/ 0 w 7535"/>
                  <a:gd name="connsiteY5" fmla="*/ 5682 h 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 h="5801">
                    <a:moveTo>
                      <a:pt x="7536" y="0"/>
                    </a:moveTo>
                    <a:lnTo>
                      <a:pt x="7356" y="837"/>
                    </a:lnTo>
                    <a:lnTo>
                      <a:pt x="5083" y="2512"/>
                    </a:lnTo>
                    <a:lnTo>
                      <a:pt x="1854" y="4904"/>
                    </a:lnTo>
                    <a:lnTo>
                      <a:pt x="598" y="5801"/>
                    </a:lnTo>
                    <a:lnTo>
                      <a:pt x="0" y="5682"/>
                    </a:lnTo>
                  </a:path>
                </a:pathLst>
              </a:custGeom>
              <a:noFill/>
              <a:ln w="6350" cap="rnd">
                <a:solidFill>
                  <a:schemeClr val="bg1">
                    <a:alpha val="80000"/>
                  </a:schemeClr>
                </a:solidFill>
                <a:prstDash val="solid"/>
                <a:round/>
              </a:ln>
            </p:spPr>
            <p:txBody>
              <a:bodyPr rtlCol="0" anchor="ctr"/>
              <a:lstStyle/>
              <a:p>
                <a:endParaRPr lang="en-GB"/>
              </a:p>
            </p:txBody>
          </p:sp>
          <p:sp>
            <p:nvSpPr>
              <p:cNvPr id="6394" name="Vrije vorm: vorm 6393">
                <a:extLst>
                  <a:ext uri="{FF2B5EF4-FFF2-40B4-BE49-F238E27FC236}">
                    <a16:creationId xmlns:a16="http://schemas.microsoft.com/office/drawing/2014/main" id="{0CB0A4A8-D6FE-48D5-948C-5B8A1324051A}"/>
                  </a:ext>
                </a:extLst>
              </p:cNvPr>
              <p:cNvSpPr/>
              <p:nvPr/>
            </p:nvSpPr>
            <p:spPr>
              <a:xfrm>
                <a:off x="7071685" y="1819017"/>
                <a:ext cx="9868" cy="10944"/>
              </a:xfrm>
              <a:custGeom>
                <a:avLst/>
                <a:gdLst>
                  <a:gd name="connsiteX0" fmla="*/ 1256 w 9868"/>
                  <a:gd name="connsiteY0" fmla="*/ 8732 h 10944"/>
                  <a:gd name="connsiteX1" fmla="*/ 0 w 9868"/>
                  <a:gd name="connsiteY1" fmla="*/ 7895 h 10944"/>
                  <a:gd name="connsiteX2" fmla="*/ 4545 w 9868"/>
                  <a:gd name="connsiteY2" fmla="*/ 0 h 10944"/>
                  <a:gd name="connsiteX3" fmla="*/ 5742 w 9868"/>
                  <a:gd name="connsiteY3" fmla="*/ 538 h 10944"/>
                  <a:gd name="connsiteX4" fmla="*/ 5981 w 9868"/>
                  <a:gd name="connsiteY4" fmla="*/ 658 h 10944"/>
                  <a:gd name="connsiteX5" fmla="*/ 6340 w 9868"/>
                  <a:gd name="connsiteY5" fmla="*/ 897 h 10944"/>
                  <a:gd name="connsiteX6" fmla="*/ 7117 w 9868"/>
                  <a:gd name="connsiteY6" fmla="*/ 1376 h 10944"/>
                  <a:gd name="connsiteX7" fmla="*/ 7117 w 9868"/>
                  <a:gd name="connsiteY7" fmla="*/ 1376 h 10944"/>
                  <a:gd name="connsiteX8" fmla="*/ 7536 w 9868"/>
                  <a:gd name="connsiteY8" fmla="*/ 1615 h 10944"/>
                  <a:gd name="connsiteX9" fmla="*/ 7775 w 9868"/>
                  <a:gd name="connsiteY9" fmla="*/ 1734 h 10944"/>
                  <a:gd name="connsiteX10" fmla="*/ 8194 w 9868"/>
                  <a:gd name="connsiteY10" fmla="*/ 1974 h 10944"/>
                  <a:gd name="connsiteX11" fmla="*/ 8313 w 9868"/>
                  <a:gd name="connsiteY11" fmla="*/ 2033 h 10944"/>
                  <a:gd name="connsiteX12" fmla="*/ 8433 w 9868"/>
                  <a:gd name="connsiteY12" fmla="*/ 2093 h 10944"/>
                  <a:gd name="connsiteX13" fmla="*/ 8732 w 9868"/>
                  <a:gd name="connsiteY13" fmla="*/ 2273 h 10944"/>
                  <a:gd name="connsiteX14" fmla="*/ 8792 w 9868"/>
                  <a:gd name="connsiteY14" fmla="*/ 2332 h 10944"/>
                  <a:gd name="connsiteX15" fmla="*/ 9330 w 9868"/>
                  <a:gd name="connsiteY15" fmla="*/ 2691 h 10944"/>
                  <a:gd name="connsiteX16" fmla="*/ 9868 w 9868"/>
                  <a:gd name="connsiteY16" fmla="*/ 3050 h 10944"/>
                  <a:gd name="connsiteX17" fmla="*/ 8672 w 9868"/>
                  <a:gd name="connsiteY17" fmla="*/ 5143 h 10944"/>
                  <a:gd name="connsiteX18" fmla="*/ 7476 w 9868"/>
                  <a:gd name="connsiteY18" fmla="*/ 7177 h 10944"/>
                  <a:gd name="connsiteX19" fmla="*/ 7297 w 9868"/>
                  <a:gd name="connsiteY19" fmla="*/ 7536 h 10944"/>
                  <a:gd name="connsiteX20" fmla="*/ 6280 w 9868"/>
                  <a:gd name="connsiteY20" fmla="*/ 9330 h 10944"/>
                  <a:gd name="connsiteX21" fmla="*/ 5503 w 9868"/>
                  <a:gd name="connsiteY21" fmla="*/ 10646 h 10944"/>
                  <a:gd name="connsiteX22" fmla="*/ 5323 w 9868"/>
                  <a:gd name="connsiteY22" fmla="*/ 10945 h 10944"/>
                  <a:gd name="connsiteX23" fmla="*/ 5263 w 9868"/>
                  <a:gd name="connsiteY23" fmla="*/ 10945 h 10944"/>
                  <a:gd name="connsiteX24" fmla="*/ 4725 w 9868"/>
                  <a:gd name="connsiteY24" fmla="*/ 10705 h 10944"/>
                  <a:gd name="connsiteX25" fmla="*/ 4725 w 9868"/>
                  <a:gd name="connsiteY25" fmla="*/ 10705 h 10944"/>
                  <a:gd name="connsiteX26" fmla="*/ 4067 w 9868"/>
                  <a:gd name="connsiteY26" fmla="*/ 10406 h 1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868" h="10944">
                    <a:moveTo>
                      <a:pt x="1256" y="8732"/>
                    </a:moveTo>
                    <a:lnTo>
                      <a:pt x="0" y="7895"/>
                    </a:lnTo>
                    <a:lnTo>
                      <a:pt x="4545" y="0"/>
                    </a:lnTo>
                    <a:lnTo>
                      <a:pt x="5742" y="538"/>
                    </a:lnTo>
                    <a:lnTo>
                      <a:pt x="5981" y="658"/>
                    </a:lnTo>
                    <a:lnTo>
                      <a:pt x="6340" y="897"/>
                    </a:lnTo>
                    <a:lnTo>
                      <a:pt x="7117" y="1376"/>
                    </a:lnTo>
                    <a:lnTo>
                      <a:pt x="7117" y="1376"/>
                    </a:lnTo>
                    <a:lnTo>
                      <a:pt x="7536" y="1615"/>
                    </a:lnTo>
                    <a:lnTo>
                      <a:pt x="7775" y="1734"/>
                    </a:lnTo>
                    <a:lnTo>
                      <a:pt x="8194" y="1974"/>
                    </a:lnTo>
                    <a:lnTo>
                      <a:pt x="8313" y="2033"/>
                    </a:lnTo>
                    <a:lnTo>
                      <a:pt x="8433" y="2093"/>
                    </a:lnTo>
                    <a:lnTo>
                      <a:pt x="8732" y="2273"/>
                    </a:lnTo>
                    <a:lnTo>
                      <a:pt x="8792" y="2332"/>
                    </a:lnTo>
                    <a:lnTo>
                      <a:pt x="9330" y="2691"/>
                    </a:lnTo>
                    <a:lnTo>
                      <a:pt x="9868" y="3050"/>
                    </a:lnTo>
                    <a:lnTo>
                      <a:pt x="8672" y="5143"/>
                    </a:lnTo>
                    <a:lnTo>
                      <a:pt x="7476" y="7177"/>
                    </a:lnTo>
                    <a:lnTo>
                      <a:pt x="7297" y="7536"/>
                    </a:lnTo>
                    <a:lnTo>
                      <a:pt x="6280" y="9330"/>
                    </a:lnTo>
                    <a:lnTo>
                      <a:pt x="5503" y="10646"/>
                    </a:lnTo>
                    <a:lnTo>
                      <a:pt x="5323" y="10945"/>
                    </a:lnTo>
                    <a:lnTo>
                      <a:pt x="5263" y="10945"/>
                    </a:lnTo>
                    <a:lnTo>
                      <a:pt x="4725" y="10705"/>
                    </a:lnTo>
                    <a:lnTo>
                      <a:pt x="4725" y="10705"/>
                    </a:lnTo>
                    <a:lnTo>
                      <a:pt x="4067" y="10406"/>
                    </a:lnTo>
                  </a:path>
                </a:pathLst>
              </a:custGeom>
              <a:noFill/>
              <a:ln w="6350" cap="rnd">
                <a:solidFill>
                  <a:schemeClr val="bg1">
                    <a:alpha val="80000"/>
                  </a:schemeClr>
                </a:solidFill>
                <a:prstDash val="solid"/>
                <a:round/>
              </a:ln>
            </p:spPr>
            <p:txBody>
              <a:bodyPr rtlCol="0" anchor="ctr"/>
              <a:lstStyle/>
              <a:p>
                <a:endParaRPr lang="en-GB"/>
              </a:p>
            </p:txBody>
          </p:sp>
          <p:sp>
            <p:nvSpPr>
              <p:cNvPr id="6395" name="Vrije vorm: vorm 6394">
                <a:extLst>
                  <a:ext uri="{FF2B5EF4-FFF2-40B4-BE49-F238E27FC236}">
                    <a16:creationId xmlns:a16="http://schemas.microsoft.com/office/drawing/2014/main" id="{C183E268-6808-4F82-8804-2160E8ABDBA6}"/>
                  </a:ext>
                </a:extLst>
              </p:cNvPr>
              <p:cNvSpPr/>
              <p:nvPr/>
            </p:nvSpPr>
            <p:spPr>
              <a:xfrm>
                <a:off x="7062475" y="1810464"/>
                <a:ext cx="5023" cy="3588"/>
              </a:xfrm>
              <a:custGeom>
                <a:avLst/>
                <a:gdLst>
                  <a:gd name="connsiteX0" fmla="*/ 0 w 5023"/>
                  <a:gd name="connsiteY0" fmla="*/ 1136 h 3588"/>
                  <a:gd name="connsiteX1" fmla="*/ 0 w 5023"/>
                  <a:gd name="connsiteY1" fmla="*/ 1017 h 3588"/>
                  <a:gd name="connsiteX2" fmla="*/ 598 w 5023"/>
                  <a:gd name="connsiteY2" fmla="*/ 0 h 3588"/>
                  <a:gd name="connsiteX3" fmla="*/ 1914 w 5023"/>
                  <a:gd name="connsiteY3" fmla="*/ 658 h 3588"/>
                  <a:gd name="connsiteX4" fmla="*/ 1973 w 5023"/>
                  <a:gd name="connsiteY4" fmla="*/ 658 h 3588"/>
                  <a:gd name="connsiteX5" fmla="*/ 3349 w 5023"/>
                  <a:gd name="connsiteY5" fmla="*/ 1435 h 3588"/>
                  <a:gd name="connsiteX6" fmla="*/ 3768 w 5023"/>
                  <a:gd name="connsiteY6" fmla="*/ 1675 h 3588"/>
                  <a:gd name="connsiteX7" fmla="*/ 3768 w 5023"/>
                  <a:gd name="connsiteY7" fmla="*/ 1675 h 3588"/>
                  <a:gd name="connsiteX8" fmla="*/ 4246 w 5023"/>
                  <a:gd name="connsiteY8" fmla="*/ 1974 h 3588"/>
                  <a:gd name="connsiteX9" fmla="*/ 4306 w 5023"/>
                  <a:gd name="connsiteY9" fmla="*/ 1974 h 3588"/>
                  <a:gd name="connsiteX10" fmla="*/ 4306 w 5023"/>
                  <a:gd name="connsiteY10" fmla="*/ 1974 h 3588"/>
                  <a:gd name="connsiteX11" fmla="*/ 4306 w 5023"/>
                  <a:gd name="connsiteY11" fmla="*/ 1974 h 3588"/>
                  <a:gd name="connsiteX12" fmla="*/ 5024 w 5023"/>
                  <a:gd name="connsiteY12" fmla="*/ 2452 h 3588"/>
                  <a:gd name="connsiteX13" fmla="*/ 5024 w 5023"/>
                  <a:gd name="connsiteY13" fmla="*/ 2572 h 3588"/>
                  <a:gd name="connsiteX14" fmla="*/ 4426 w 5023"/>
                  <a:gd name="connsiteY14" fmla="*/ 3588 h 3588"/>
                  <a:gd name="connsiteX15" fmla="*/ 4007 w 5023"/>
                  <a:gd name="connsiteY15" fmla="*/ 3349 h 3588"/>
                  <a:gd name="connsiteX16" fmla="*/ 3947 w 5023"/>
                  <a:gd name="connsiteY16" fmla="*/ 3349 h 3588"/>
                  <a:gd name="connsiteX17" fmla="*/ 3887 w 5023"/>
                  <a:gd name="connsiteY17" fmla="*/ 3349 h 3588"/>
                  <a:gd name="connsiteX18" fmla="*/ 3828 w 5023"/>
                  <a:gd name="connsiteY18" fmla="*/ 3289 h 3588"/>
                  <a:gd name="connsiteX19" fmla="*/ 3169 w 5023"/>
                  <a:gd name="connsiteY19" fmla="*/ 2930 h 3588"/>
                  <a:gd name="connsiteX20" fmla="*/ 2930 w 5023"/>
                  <a:gd name="connsiteY20" fmla="*/ 2811 h 3588"/>
                  <a:gd name="connsiteX21" fmla="*/ 1375 w 5023"/>
                  <a:gd name="connsiteY21" fmla="*/ 1914 h 3588"/>
                  <a:gd name="connsiteX22" fmla="*/ 0 w 5023"/>
                  <a:gd name="connsiteY22" fmla="*/ 1136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023" h="3588">
                    <a:moveTo>
                      <a:pt x="0" y="1136"/>
                    </a:moveTo>
                    <a:lnTo>
                      <a:pt x="0" y="1017"/>
                    </a:lnTo>
                    <a:lnTo>
                      <a:pt x="598" y="0"/>
                    </a:lnTo>
                    <a:lnTo>
                      <a:pt x="1914" y="658"/>
                    </a:lnTo>
                    <a:lnTo>
                      <a:pt x="1973" y="658"/>
                    </a:lnTo>
                    <a:lnTo>
                      <a:pt x="3349" y="1435"/>
                    </a:lnTo>
                    <a:lnTo>
                      <a:pt x="3768" y="1675"/>
                    </a:lnTo>
                    <a:lnTo>
                      <a:pt x="3768" y="1675"/>
                    </a:lnTo>
                    <a:lnTo>
                      <a:pt x="4246" y="1974"/>
                    </a:lnTo>
                    <a:lnTo>
                      <a:pt x="4306" y="1974"/>
                    </a:lnTo>
                    <a:lnTo>
                      <a:pt x="4306" y="1974"/>
                    </a:lnTo>
                    <a:lnTo>
                      <a:pt x="4306" y="1974"/>
                    </a:lnTo>
                    <a:lnTo>
                      <a:pt x="5024" y="2452"/>
                    </a:lnTo>
                    <a:lnTo>
                      <a:pt x="5024" y="2572"/>
                    </a:lnTo>
                    <a:lnTo>
                      <a:pt x="4426" y="3588"/>
                    </a:lnTo>
                    <a:lnTo>
                      <a:pt x="4007" y="3349"/>
                    </a:lnTo>
                    <a:lnTo>
                      <a:pt x="3947" y="3349"/>
                    </a:lnTo>
                    <a:lnTo>
                      <a:pt x="3887" y="3349"/>
                    </a:lnTo>
                    <a:lnTo>
                      <a:pt x="3828" y="3289"/>
                    </a:lnTo>
                    <a:lnTo>
                      <a:pt x="3169" y="2930"/>
                    </a:lnTo>
                    <a:lnTo>
                      <a:pt x="2930" y="2811"/>
                    </a:lnTo>
                    <a:lnTo>
                      <a:pt x="1375" y="1914"/>
                    </a:lnTo>
                    <a:lnTo>
                      <a:pt x="0" y="1136"/>
                    </a:lnTo>
                  </a:path>
                </a:pathLst>
              </a:custGeom>
              <a:noFill/>
              <a:ln w="6350" cap="rnd">
                <a:solidFill>
                  <a:schemeClr val="bg1">
                    <a:alpha val="80000"/>
                  </a:schemeClr>
                </a:solidFill>
                <a:prstDash val="solid"/>
                <a:round/>
              </a:ln>
            </p:spPr>
            <p:txBody>
              <a:bodyPr rtlCol="0" anchor="ctr"/>
              <a:lstStyle/>
              <a:p>
                <a:endParaRPr lang="en-GB"/>
              </a:p>
            </p:txBody>
          </p:sp>
          <p:sp>
            <p:nvSpPr>
              <p:cNvPr id="6396" name="Vrije vorm: vorm 6395">
                <a:extLst>
                  <a:ext uri="{FF2B5EF4-FFF2-40B4-BE49-F238E27FC236}">
                    <a16:creationId xmlns:a16="http://schemas.microsoft.com/office/drawing/2014/main" id="{D8AD111E-A35F-4171-994D-6B05074DF90B}"/>
                  </a:ext>
                </a:extLst>
              </p:cNvPr>
              <p:cNvSpPr/>
              <p:nvPr/>
            </p:nvSpPr>
            <p:spPr>
              <a:xfrm>
                <a:off x="6991005" y="1737559"/>
                <a:ext cx="19796" cy="10526"/>
              </a:xfrm>
              <a:custGeom>
                <a:avLst/>
                <a:gdLst>
                  <a:gd name="connsiteX0" fmla="*/ 0 w 19796"/>
                  <a:gd name="connsiteY0" fmla="*/ 0 h 10526"/>
                  <a:gd name="connsiteX1" fmla="*/ 18361 w 19796"/>
                  <a:gd name="connsiteY1" fmla="*/ 9689 h 10526"/>
                  <a:gd name="connsiteX2" fmla="*/ 19797 w 19796"/>
                  <a:gd name="connsiteY2" fmla="*/ 10526 h 10526"/>
                </a:gdLst>
                <a:ahLst/>
                <a:cxnLst>
                  <a:cxn ang="0">
                    <a:pos x="connsiteX0" y="connsiteY0"/>
                  </a:cxn>
                  <a:cxn ang="0">
                    <a:pos x="connsiteX1" y="connsiteY1"/>
                  </a:cxn>
                  <a:cxn ang="0">
                    <a:pos x="connsiteX2" y="connsiteY2"/>
                  </a:cxn>
                </a:cxnLst>
                <a:rect l="l" t="t" r="r" b="b"/>
                <a:pathLst>
                  <a:path w="19796" h="10526">
                    <a:moveTo>
                      <a:pt x="0" y="0"/>
                    </a:moveTo>
                    <a:lnTo>
                      <a:pt x="18361" y="9689"/>
                    </a:lnTo>
                    <a:lnTo>
                      <a:pt x="19797" y="10526"/>
                    </a:lnTo>
                  </a:path>
                </a:pathLst>
              </a:custGeom>
              <a:noFill/>
              <a:ln w="6350" cap="rnd">
                <a:solidFill>
                  <a:schemeClr val="bg1">
                    <a:alpha val="80000"/>
                  </a:schemeClr>
                </a:solidFill>
                <a:prstDash val="solid"/>
                <a:round/>
              </a:ln>
            </p:spPr>
            <p:txBody>
              <a:bodyPr rtlCol="0" anchor="ctr"/>
              <a:lstStyle/>
              <a:p>
                <a:endParaRPr lang="en-GB"/>
              </a:p>
            </p:txBody>
          </p:sp>
          <p:sp>
            <p:nvSpPr>
              <p:cNvPr id="6397" name="Vrije vorm: vorm 6396">
                <a:extLst>
                  <a:ext uri="{FF2B5EF4-FFF2-40B4-BE49-F238E27FC236}">
                    <a16:creationId xmlns:a16="http://schemas.microsoft.com/office/drawing/2014/main" id="{8C1AEE1B-6DD6-430B-9755-1F84099186EC}"/>
                  </a:ext>
                </a:extLst>
              </p:cNvPr>
              <p:cNvSpPr/>
              <p:nvPr/>
            </p:nvSpPr>
            <p:spPr>
              <a:xfrm>
                <a:off x="6858113" y="1698625"/>
                <a:ext cx="9150" cy="8074"/>
              </a:xfrm>
              <a:custGeom>
                <a:avLst/>
                <a:gdLst>
                  <a:gd name="connsiteX0" fmla="*/ 957 w 9150"/>
                  <a:gd name="connsiteY0" fmla="*/ 8074 h 8074"/>
                  <a:gd name="connsiteX1" fmla="*/ 598 w 9150"/>
                  <a:gd name="connsiteY1" fmla="*/ 7835 h 8074"/>
                  <a:gd name="connsiteX2" fmla="*/ 0 w 9150"/>
                  <a:gd name="connsiteY2" fmla="*/ 7356 h 8074"/>
                  <a:gd name="connsiteX3" fmla="*/ 4426 w 9150"/>
                  <a:gd name="connsiteY3" fmla="*/ 0 h 8074"/>
                  <a:gd name="connsiteX4" fmla="*/ 5801 w 9150"/>
                  <a:gd name="connsiteY4" fmla="*/ 778 h 8074"/>
                  <a:gd name="connsiteX5" fmla="*/ 6220 w 9150"/>
                  <a:gd name="connsiteY5" fmla="*/ 1017 h 8074"/>
                  <a:gd name="connsiteX6" fmla="*/ 8014 w 9150"/>
                  <a:gd name="connsiteY6" fmla="*/ 2093 h 8074"/>
                  <a:gd name="connsiteX7" fmla="*/ 8612 w 9150"/>
                  <a:gd name="connsiteY7" fmla="*/ 2452 h 8074"/>
                  <a:gd name="connsiteX8" fmla="*/ 9151 w 9150"/>
                  <a:gd name="connsiteY8" fmla="*/ 2931 h 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50" h="8074">
                    <a:moveTo>
                      <a:pt x="957" y="8074"/>
                    </a:moveTo>
                    <a:lnTo>
                      <a:pt x="598" y="7835"/>
                    </a:lnTo>
                    <a:lnTo>
                      <a:pt x="0" y="7356"/>
                    </a:lnTo>
                    <a:lnTo>
                      <a:pt x="4426" y="0"/>
                    </a:lnTo>
                    <a:lnTo>
                      <a:pt x="5801" y="778"/>
                    </a:lnTo>
                    <a:lnTo>
                      <a:pt x="6220" y="1017"/>
                    </a:lnTo>
                    <a:lnTo>
                      <a:pt x="8014" y="2093"/>
                    </a:lnTo>
                    <a:lnTo>
                      <a:pt x="8612" y="2452"/>
                    </a:lnTo>
                    <a:lnTo>
                      <a:pt x="9151" y="2931"/>
                    </a:lnTo>
                  </a:path>
                </a:pathLst>
              </a:custGeom>
              <a:noFill/>
              <a:ln w="6350" cap="rnd">
                <a:solidFill>
                  <a:schemeClr val="bg1">
                    <a:alpha val="80000"/>
                  </a:schemeClr>
                </a:solidFill>
                <a:prstDash val="solid"/>
                <a:round/>
              </a:ln>
            </p:spPr>
            <p:txBody>
              <a:bodyPr rtlCol="0" anchor="ctr"/>
              <a:lstStyle/>
              <a:p>
                <a:endParaRPr lang="en-GB"/>
              </a:p>
            </p:txBody>
          </p:sp>
          <p:sp>
            <p:nvSpPr>
              <p:cNvPr id="6398" name="Vrije vorm: vorm 6397">
                <a:extLst>
                  <a:ext uri="{FF2B5EF4-FFF2-40B4-BE49-F238E27FC236}">
                    <a16:creationId xmlns:a16="http://schemas.microsoft.com/office/drawing/2014/main" id="{ABC9DF3E-015D-4BEA-B8D7-0E963FC81E45}"/>
                  </a:ext>
                </a:extLst>
              </p:cNvPr>
              <p:cNvSpPr/>
              <p:nvPr/>
            </p:nvSpPr>
            <p:spPr>
              <a:xfrm>
                <a:off x="6838377" y="1776913"/>
                <a:ext cx="23504" cy="13815"/>
              </a:xfrm>
              <a:custGeom>
                <a:avLst/>
                <a:gdLst>
                  <a:gd name="connsiteX0" fmla="*/ 23505 w 23504"/>
                  <a:gd name="connsiteY0" fmla="*/ 13815 h 13815"/>
                  <a:gd name="connsiteX1" fmla="*/ 23145 w 23504"/>
                  <a:gd name="connsiteY1" fmla="*/ 13636 h 13815"/>
                  <a:gd name="connsiteX2" fmla="*/ 22189 w 23504"/>
                  <a:gd name="connsiteY2" fmla="*/ 13098 h 13815"/>
                  <a:gd name="connsiteX3" fmla="*/ 22069 w 23504"/>
                  <a:gd name="connsiteY3" fmla="*/ 13038 h 13815"/>
                  <a:gd name="connsiteX4" fmla="*/ 20694 w 23504"/>
                  <a:gd name="connsiteY4" fmla="*/ 12260 h 13815"/>
                  <a:gd name="connsiteX5" fmla="*/ 18481 w 23504"/>
                  <a:gd name="connsiteY5" fmla="*/ 10945 h 13815"/>
                  <a:gd name="connsiteX6" fmla="*/ 16746 w 23504"/>
                  <a:gd name="connsiteY6" fmla="*/ 9928 h 13815"/>
                  <a:gd name="connsiteX7" fmla="*/ 16328 w 23504"/>
                  <a:gd name="connsiteY7" fmla="*/ 9689 h 13815"/>
                  <a:gd name="connsiteX8" fmla="*/ 11244 w 23504"/>
                  <a:gd name="connsiteY8" fmla="*/ 6698 h 13815"/>
                  <a:gd name="connsiteX9" fmla="*/ 6160 w 23504"/>
                  <a:gd name="connsiteY9" fmla="*/ 3708 h 13815"/>
                  <a:gd name="connsiteX10" fmla="*/ 1256 w 23504"/>
                  <a:gd name="connsiteY10" fmla="*/ 777 h 13815"/>
                  <a:gd name="connsiteX11" fmla="*/ 0 w 23504"/>
                  <a:gd name="connsiteY11" fmla="*/ 0 h 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04" h="13815">
                    <a:moveTo>
                      <a:pt x="23505" y="13815"/>
                    </a:moveTo>
                    <a:lnTo>
                      <a:pt x="23145" y="13636"/>
                    </a:lnTo>
                    <a:lnTo>
                      <a:pt x="22189" y="13098"/>
                    </a:lnTo>
                    <a:lnTo>
                      <a:pt x="22069" y="13038"/>
                    </a:lnTo>
                    <a:lnTo>
                      <a:pt x="20694" y="12260"/>
                    </a:lnTo>
                    <a:lnTo>
                      <a:pt x="18481" y="10945"/>
                    </a:lnTo>
                    <a:lnTo>
                      <a:pt x="16746" y="9928"/>
                    </a:lnTo>
                    <a:lnTo>
                      <a:pt x="16328" y="9689"/>
                    </a:lnTo>
                    <a:lnTo>
                      <a:pt x="11244" y="6698"/>
                    </a:lnTo>
                    <a:lnTo>
                      <a:pt x="6160" y="3708"/>
                    </a:lnTo>
                    <a:lnTo>
                      <a:pt x="1256" y="77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399" name="Vrije vorm: vorm 6398">
                <a:extLst>
                  <a:ext uri="{FF2B5EF4-FFF2-40B4-BE49-F238E27FC236}">
                    <a16:creationId xmlns:a16="http://schemas.microsoft.com/office/drawing/2014/main" id="{03D92E7A-6E9A-4661-895D-48C67F850542}"/>
                  </a:ext>
                </a:extLst>
              </p:cNvPr>
              <p:cNvSpPr/>
              <p:nvPr/>
            </p:nvSpPr>
            <p:spPr>
              <a:xfrm>
                <a:off x="6931677" y="1817043"/>
                <a:ext cx="2631" cy="3110"/>
              </a:xfrm>
              <a:custGeom>
                <a:avLst/>
                <a:gdLst>
                  <a:gd name="connsiteX0" fmla="*/ 1375 w 2631"/>
                  <a:gd name="connsiteY0" fmla="*/ 3110 h 3110"/>
                  <a:gd name="connsiteX1" fmla="*/ 538 w 2631"/>
                  <a:gd name="connsiteY1" fmla="*/ 2153 h 3110"/>
                  <a:gd name="connsiteX2" fmla="*/ 478 w 2631"/>
                  <a:gd name="connsiteY2" fmla="*/ 2093 h 3110"/>
                  <a:gd name="connsiteX3" fmla="*/ 119 w 2631"/>
                  <a:gd name="connsiteY3" fmla="*/ 1615 h 3110"/>
                  <a:gd name="connsiteX4" fmla="*/ 0 w 2631"/>
                  <a:gd name="connsiteY4" fmla="*/ 1435 h 3110"/>
                  <a:gd name="connsiteX5" fmla="*/ 119 w 2631"/>
                  <a:gd name="connsiteY5" fmla="*/ 957 h 3110"/>
                  <a:gd name="connsiteX6" fmla="*/ 239 w 2631"/>
                  <a:gd name="connsiteY6" fmla="*/ 538 h 3110"/>
                  <a:gd name="connsiteX7" fmla="*/ 299 w 2631"/>
                  <a:gd name="connsiteY7" fmla="*/ 478 h 3110"/>
                  <a:gd name="connsiteX8" fmla="*/ 418 w 2631"/>
                  <a:gd name="connsiteY8" fmla="*/ 419 h 3110"/>
                  <a:gd name="connsiteX9" fmla="*/ 897 w 2631"/>
                  <a:gd name="connsiteY9" fmla="*/ 120 h 3110"/>
                  <a:gd name="connsiteX10" fmla="*/ 897 w 2631"/>
                  <a:gd name="connsiteY10" fmla="*/ 120 h 3110"/>
                  <a:gd name="connsiteX11" fmla="*/ 1016 w 2631"/>
                  <a:gd name="connsiteY11" fmla="*/ 0 h 3110"/>
                  <a:gd name="connsiteX12" fmla="*/ 1435 w 2631"/>
                  <a:gd name="connsiteY12" fmla="*/ 60 h 3110"/>
                  <a:gd name="connsiteX13" fmla="*/ 1914 w 2631"/>
                  <a:gd name="connsiteY13" fmla="*/ 120 h 3110"/>
                  <a:gd name="connsiteX14" fmla="*/ 2033 w 2631"/>
                  <a:gd name="connsiteY14" fmla="*/ 179 h 3110"/>
                  <a:gd name="connsiteX15" fmla="*/ 2631 w 2631"/>
                  <a:gd name="connsiteY15" fmla="*/ 478 h 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31" h="3110">
                    <a:moveTo>
                      <a:pt x="1375" y="3110"/>
                    </a:moveTo>
                    <a:lnTo>
                      <a:pt x="538" y="2153"/>
                    </a:lnTo>
                    <a:lnTo>
                      <a:pt x="478" y="2093"/>
                    </a:lnTo>
                    <a:lnTo>
                      <a:pt x="119" y="1615"/>
                    </a:lnTo>
                    <a:lnTo>
                      <a:pt x="0" y="1435"/>
                    </a:lnTo>
                    <a:lnTo>
                      <a:pt x="119" y="957"/>
                    </a:lnTo>
                    <a:lnTo>
                      <a:pt x="239" y="538"/>
                    </a:lnTo>
                    <a:lnTo>
                      <a:pt x="299" y="478"/>
                    </a:lnTo>
                    <a:lnTo>
                      <a:pt x="418" y="419"/>
                    </a:lnTo>
                    <a:lnTo>
                      <a:pt x="897" y="120"/>
                    </a:lnTo>
                    <a:lnTo>
                      <a:pt x="897" y="120"/>
                    </a:lnTo>
                    <a:lnTo>
                      <a:pt x="1016" y="0"/>
                    </a:lnTo>
                    <a:lnTo>
                      <a:pt x="1435" y="60"/>
                    </a:lnTo>
                    <a:lnTo>
                      <a:pt x="1914" y="120"/>
                    </a:lnTo>
                    <a:lnTo>
                      <a:pt x="2033" y="179"/>
                    </a:lnTo>
                    <a:lnTo>
                      <a:pt x="2631" y="478"/>
                    </a:lnTo>
                  </a:path>
                </a:pathLst>
              </a:custGeom>
              <a:noFill/>
              <a:ln w="6350" cap="rnd">
                <a:solidFill>
                  <a:schemeClr val="bg1">
                    <a:alpha val="80000"/>
                  </a:schemeClr>
                </a:solidFill>
                <a:prstDash val="solid"/>
                <a:round/>
              </a:ln>
            </p:spPr>
            <p:txBody>
              <a:bodyPr rtlCol="0" anchor="ctr"/>
              <a:lstStyle/>
              <a:p>
                <a:endParaRPr lang="en-GB"/>
              </a:p>
            </p:txBody>
          </p:sp>
          <p:sp>
            <p:nvSpPr>
              <p:cNvPr id="6400" name="Vrije vorm: vorm 6399">
                <a:extLst>
                  <a:ext uri="{FF2B5EF4-FFF2-40B4-BE49-F238E27FC236}">
                    <a16:creationId xmlns:a16="http://schemas.microsoft.com/office/drawing/2014/main" id="{DB265D17-40A5-4878-BA39-F518DDC2CFC8}"/>
                  </a:ext>
                </a:extLst>
              </p:cNvPr>
              <p:cNvSpPr/>
              <p:nvPr/>
            </p:nvSpPr>
            <p:spPr>
              <a:xfrm>
                <a:off x="7043934" y="1775896"/>
                <a:ext cx="17224" cy="16028"/>
              </a:xfrm>
              <a:custGeom>
                <a:avLst/>
                <a:gdLst>
                  <a:gd name="connsiteX0" fmla="*/ 1376 w 17224"/>
                  <a:gd name="connsiteY0" fmla="*/ 0 h 16028"/>
                  <a:gd name="connsiteX1" fmla="*/ 1077 w 17224"/>
                  <a:gd name="connsiteY1" fmla="*/ 1974 h 16028"/>
                  <a:gd name="connsiteX2" fmla="*/ 1077 w 17224"/>
                  <a:gd name="connsiteY2" fmla="*/ 1974 h 16028"/>
                  <a:gd name="connsiteX3" fmla="*/ 778 w 17224"/>
                  <a:gd name="connsiteY3" fmla="*/ 3768 h 16028"/>
                  <a:gd name="connsiteX4" fmla="*/ 659 w 17224"/>
                  <a:gd name="connsiteY4" fmla="*/ 4545 h 16028"/>
                  <a:gd name="connsiteX5" fmla="*/ 599 w 17224"/>
                  <a:gd name="connsiteY5" fmla="*/ 4904 h 16028"/>
                  <a:gd name="connsiteX6" fmla="*/ 419 w 17224"/>
                  <a:gd name="connsiteY6" fmla="*/ 6160 h 16028"/>
                  <a:gd name="connsiteX7" fmla="*/ 299 w 17224"/>
                  <a:gd name="connsiteY7" fmla="*/ 6998 h 16028"/>
                  <a:gd name="connsiteX8" fmla="*/ 239 w 17224"/>
                  <a:gd name="connsiteY8" fmla="*/ 7356 h 16028"/>
                  <a:gd name="connsiteX9" fmla="*/ 0 w 17224"/>
                  <a:gd name="connsiteY9" fmla="*/ 8852 h 16028"/>
                  <a:gd name="connsiteX10" fmla="*/ 0 w 17224"/>
                  <a:gd name="connsiteY10" fmla="*/ 8852 h 16028"/>
                  <a:gd name="connsiteX11" fmla="*/ 180 w 17224"/>
                  <a:gd name="connsiteY11" fmla="*/ 9151 h 16028"/>
                  <a:gd name="connsiteX12" fmla="*/ 419 w 17224"/>
                  <a:gd name="connsiteY12" fmla="*/ 9509 h 16028"/>
                  <a:gd name="connsiteX13" fmla="*/ 659 w 17224"/>
                  <a:gd name="connsiteY13" fmla="*/ 9868 h 16028"/>
                  <a:gd name="connsiteX14" fmla="*/ 897 w 17224"/>
                  <a:gd name="connsiteY14" fmla="*/ 10227 h 16028"/>
                  <a:gd name="connsiteX15" fmla="*/ 957 w 17224"/>
                  <a:gd name="connsiteY15" fmla="*/ 10287 h 16028"/>
                  <a:gd name="connsiteX16" fmla="*/ 1137 w 17224"/>
                  <a:gd name="connsiteY16" fmla="*/ 10526 h 16028"/>
                  <a:gd name="connsiteX17" fmla="*/ 1436 w 17224"/>
                  <a:gd name="connsiteY17" fmla="*/ 11005 h 16028"/>
                  <a:gd name="connsiteX18" fmla="*/ 1436 w 17224"/>
                  <a:gd name="connsiteY18" fmla="*/ 11064 h 16028"/>
                  <a:gd name="connsiteX19" fmla="*/ 1675 w 17224"/>
                  <a:gd name="connsiteY19" fmla="*/ 11423 h 16028"/>
                  <a:gd name="connsiteX20" fmla="*/ 1914 w 17224"/>
                  <a:gd name="connsiteY20" fmla="*/ 11782 h 16028"/>
                  <a:gd name="connsiteX21" fmla="*/ 1914 w 17224"/>
                  <a:gd name="connsiteY21" fmla="*/ 11782 h 16028"/>
                  <a:gd name="connsiteX22" fmla="*/ 2452 w 17224"/>
                  <a:gd name="connsiteY22" fmla="*/ 12619 h 16028"/>
                  <a:gd name="connsiteX23" fmla="*/ 4187 w 17224"/>
                  <a:gd name="connsiteY23" fmla="*/ 15370 h 16028"/>
                  <a:gd name="connsiteX24" fmla="*/ 8134 w 17224"/>
                  <a:gd name="connsiteY24" fmla="*/ 15729 h 16028"/>
                  <a:gd name="connsiteX25" fmla="*/ 9270 w 17224"/>
                  <a:gd name="connsiteY25" fmla="*/ 15849 h 16028"/>
                  <a:gd name="connsiteX26" fmla="*/ 9270 w 17224"/>
                  <a:gd name="connsiteY26" fmla="*/ 15849 h 16028"/>
                  <a:gd name="connsiteX27" fmla="*/ 11184 w 17224"/>
                  <a:gd name="connsiteY27" fmla="*/ 16028 h 16028"/>
                  <a:gd name="connsiteX28" fmla="*/ 11364 w 17224"/>
                  <a:gd name="connsiteY28" fmla="*/ 15849 h 16028"/>
                  <a:gd name="connsiteX29" fmla="*/ 11483 w 17224"/>
                  <a:gd name="connsiteY29" fmla="*/ 15729 h 16028"/>
                  <a:gd name="connsiteX30" fmla="*/ 11783 w 17224"/>
                  <a:gd name="connsiteY30" fmla="*/ 15490 h 16028"/>
                  <a:gd name="connsiteX31" fmla="*/ 12201 w 17224"/>
                  <a:gd name="connsiteY31" fmla="*/ 15071 h 16028"/>
                  <a:gd name="connsiteX32" fmla="*/ 12679 w 17224"/>
                  <a:gd name="connsiteY32" fmla="*/ 14653 h 16028"/>
                  <a:gd name="connsiteX33" fmla="*/ 12978 w 17224"/>
                  <a:gd name="connsiteY33" fmla="*/ 14354 h 16028"/>
                  <a:gd name="connsiteX34" fmla="*/ 13218 w 17224"/>
                  <a:gd name="connsiteY34" fmla="*/ 14115 h 16028"/>
                  <a:gd name="connsiteX35" fmla="*/ 13576 w 17224"/>
                  <a:gd name="connsiteY35" fmla="*/ 13756 h 16028"/>
                  <a:gd name="connsiteX36" fmla="*/ 13995 w 17224"/>
                  <a:gd name="connsiteY36" fmla="*/ 13337 h 16028"/>
                  <a:gd name="connsiteX37" fmla="*/ 14474 w 17224"/>
                  <a:gd name="connsiteY37" fmla="*/ 12918 h 16028"/>
                  <a:gd name="connsiteX38" fmla="*/ 16866 w 17224"/>
                  <a:gd name="connsiteY38" fmla="*/ 10646 h 16028"/>
                  <a:gd name="connsiteX39" fmla="*/ 17165 w 17224"/>
                  <a:gd name="connsiteY39" fmla="*/ 10347 h 16028"/>
                  <a:gd name="connsiteX40" fmla="*/ 17165 w 17224"/>
                  <a:gd name="connsiteY40" fmla="*/ 10347 h 16028"/>
                  <a:gd name="connsiteX41" fmla="*/ 17225 w 17224"/>
                  <a:gd name="connsiteY41" fmla="*/ 10287 h 1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4" h="16028">
                    <a:moveTo>
                      <a:pt x="1376" y="0"/>
                    </a:moveTo>
                    <a:lnTo>
                      <a:pt x="1077" y="1974"/>
                    </a:lnTo>
                    <a:lnTo>
                      <a:pt x="1077" y="1974"/>
                    </a:lnTo>
                    <a:lnTo>
                      <a:pt x="778" y="3768"/>
                    </a:lnTo>
                    <a:lnTo>
                      <a:pt x="659" y="4545"/>
                    </a:lnTo>
                    <a:lnTo>
                      <a:pt x="599" y="4904"/>
                    </a:lnTo>
                    <a:lnTo>
                      <a:pt x="419" y="6160"/>
                    </a:lnTo>
                    <a:lnTo>
                      <a:pt x="299" y="6998"/>
                    </a:lnTo>
                    <a:lnTo>
                      <a:pt x="239" y="7356"/>
                    </a:lnTo>
                    <a:lnTo>
                      <a:pt x="0" y="8852"/>
                    </a:lnTo>
                    <a:lnTo>
                      <a:pt x="0" y="8852"/>
                    </a:lnTo>
                    <a:lnTo>
                      <a:pt x="180" y="9151"/>
                    </a:lnTo>
                    <a:lnTo>
                      <a:pt x="419" y="9509"/>
                    </a:lnTo>
                    <a:lnTo>
                      <a:pt x="659" y="9868"/>
                    </a:lnTo>
                    <a:lnTo>
                      <a:pt x="897" y="10227"/>
                    </a:lnTo>
                    <a:lnTo>
                      <a:pt x="957" y="10287"/>
                    </a:lnTo>
                    <a:lnTo>
                      <a:pt x="1137" y="10526"/>
                    </a:lnTo>
                    <a:lnTo>
                      <a:pt x="1436" y="11005"/>
                    </a:lnTo>
                    <a:lnTo>
                      <a:pt x="1436" y="11064"/>
                    </a:lnTo>
                    <a:lnTo>
                      <a:pt x="1675" y="11423"/>
                    </a:lnTo>
                    <a:lnTo>
                      <a:pt x="1914" y="11782"/>
                    </a:lnTo>
                    <a:lnTo>
                      <a:pt x="1914" y="11782"/>
                    </a:lnTo>
                    <a:lnTo>
                      <a:pt x="2452" y="12619"/>
                    </a:lnTo>
                    <a:lnTo>
                      <a:pt x="4187" y="15370"/>
                    </a:lnTo>
                    <a:lnTo>
                      <a:pt x="8134" y="15729"/>
                    </a:lnTo>
                    <a:lnTo>
                      <a:pt x="9270" y="15849"/>
                    </a:lnTo>
                    <a:lnTo>
                      <a:pt x="9270" y="15849"/>
                    </a:lnTo>
                    <a:lnTo>
                      <a:pt x="11184" y="16028"/>
                    </a:lnTo>
                    <a:lnTo>
                      <a:pt x="11364" y="15849"/>
                    </a:lnTo>
                    <a:lnTo>
                      <a:pt x="11483" y="15729"/>
                    </a:lnTo>
                    <a:lnTo>
                      <a:pt x="11783" y="15490"/>
                    </a:lnTo>
                    <a:lnTo>
                      <a:pt x="12201" y="15071"/>
                    </a:lnTo>
                    <a:lnTo>
                      <a:pt x="12679" y="14653"/>
                    </a:lnTo>
                    <a:lnTo>
                      <a:pt x="12978" y="14354"/>
                    </a:lnTo>
                    <a:lnTo>
                      <a:pt x="13218" y="14115"/>
                    </a:lnTo>
                    <a:lnTo>
                      <a:pt x="13576" y="13756"/>
                    </a:lnTo>
                    <a:lnTo>
                      <a:pt x="13995" y="13337"/>
                    </a:lnTo>
                    <a:lnTo>
                      <a:pt x="14474" y="12918"/>
                    </a:lnTo>
                    <a:lnTo>
                      <a:pt x="16866" y="10646"/>
                    </a:lnTo>
                    <a:lnTo>
                      <a:pt x="17165" y="10347"/>
                    </a:lnTo>
                    <a:lnTo>
                      <a:pt x="17165" y="10347"/>
                    </a:lnTo>
                    <a:lnTo>
                      <a:pt x="17225" y="10287"/>
                    </a:lnTo>
                  </a:path>
                </a:pathLst>
              </a:custGeom>
              <a:noFill/>
              <a:ln w="6350" cap="rnd">
                <a:solidFill>
                  <a:schemeClr val="bg1">
                    <a:alpha val="80000"/>
                  </a:schemeClr>
                </a:solidFill>
                <a:prstDash val="solid"/>
                <a:round/>
              </a:ln>
            </p:spPr>
            <p:txBody>
              <a:bodyPr rtlCol="0" anchor="ctr"/>
              <a:lstStyle/>
              <a:p>
                <a:endParaRPr lang="en-GB"/>
              </a:p>
            </p:txBody>
          </p:sp>
          <p:sp>
            <p:nvSpPr>
              <p:cNvPr id="6401" name="Vrije vorm: vorm 6400">
                <a:extLst>
                  <a:ext uri="{FF2B5EF4-FFF2-40B4-BE49-F238E27FC236}">
                    <a16:creationId xmlns:a16="http://schemas.microsoft.com/office/drawing/2014/main" id="{597F7335-6F4D-4995-BE35-4F64578BC1F2}"/>
                  </a:ext>
                </a:extLst>
              </p:cNvPr>
              <p:cNvSpPr/>
              <p:nvPr/>
            </p:nvSpPr>
            <p:spPr>
              <a:xfrm>
                <a:off x="6944774" y="2109979"/>
                <a:ext cx="1255" cy="1016"/>
              </a:xfrm>
              <a:custGeom>
                <a:avLst/>
                <a:gdLst>
                  <a:gd name="connsiteX0" fmla="*/ 1256 w 1255"/>
                  <a:gd name="connsiteY0" fmla="*/ 1017 h 1016"/>
                  <a:gd name="connsiteX1" fmla="*/ 778 w 1255"/>
                  <a:gd name="connsiteY1" fmla="*/ 658 h 1016"/>
                  <a:gd name="connsiteX2" fmla="*/ 718 w 1255"/>
                  <a:gd name="connsiteY2" fmla="*/ 598 h 1016"/>
                  <a:gd name="connsiteX3" fmla="*/ 0 w 1255"/>
                  <a:gd name="connsiteY3" fmla="*/ 0 h 1016"/>
                </a:gdLst>
                <a:ahLst/>
                <a:cxnLst>
                  <a:cxn ang="0">
                    <a:pos x="connsiteX0" y="connsiteY0"/>
                  </a:cxn>
                  <a:cxn ang="0">
                    <a:pos x="connsiteX1" y="connsiteY1"/>
                  </a:cxn>
                  <a:cxn ang="0">
                    <a:pos x="connsiteX2" y="connsiteY2"/>
                  </a:cxn>
                  <a:cxn ang="0">
                    <a:pos x="connsiteX3" y="connsiteY3"/>
                  </a:cxn>
                </a:cxnLst>
                <a:rect l="l" t="t" r="r" b="b"/>
                <a:pathLst>
                  <a:path w="1255" h="1016">
                    <a:moveTo>
                      <a:pt x="1256" y="1017"/>
                    </a:moveTo>
                    <a:lnTo>
                      <a:pt x="778" y="658"/>
                    </a:lnTo>
                    <a:lnTo>
                      <a:pt x="718" y="59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02" name="Vrije vorm: vorm 6401">
                <a:extLst>
                  <a:ext uri="{FF2B5EF4-FFF2-40B4-BE49-F238E27FC236}">
                    <a16:creationId xmlns:a16="http://schemas.microsoft.com/office/drawing/2014/main" id="{2F715637-4FC0-4188-ACAB-1542903A7C0C}"/>
                  </a:ext>
                </a:extLst>
              </p:cNvPr>
              <p:cNvSpPr/>
              <p:nvPr/>
            </p:nvSpPr>
            <p:spPr>
              <a:xfrm>
                <a:off x="6954523" y="1723983"/>
                <a:ext cx="5023" cy="9868"/>
              </a:xfrm>
              <a:custGeom>
                <a:avLst/>
                <a:gdLst>
                  <a:gd name="connsiteX0" fmla="*/ 2093 w 5023"/>
                  <a:gd name="connsiteY0" fmla="*/ 9868 h 9868"/>
                  <a:gd name="connsiteX1" fmla="*/ 1675 w 5023"/>
                  <a:gd name="connsiteY1" fmla="*/ 9569 h 9868"/>
                  <a:gd name="connsiteX2" fmla="*/ 0 w 5023"/>
                  <a:gd name="connsiteY2" fmla="*/ 8253 h 9868"/>
                  <a:gd name="connsiteX3" fmla="*/ 120 w 5023"/>
                  <a:gd name="connsiteY3" fmla="*/ 8074 h 9868"/>
                  <a:gd name="connsiteX4" fmla="*/ 239 w 5023"/>
                  <a:gd name="connsiteY4" fmla="*/ 7835 h 9868"/>
                  <a:gd name="connsiteX5" fmla="*/ 658 w 5023"/>
                  <a:gd name="connsiteY5" fmla="*/ 7177 h 9868"/>
                  <a:gd name="connsiteX6" fmla="*/ 718 w 5023"/>
                  <a:gd name="connsiteY6" fmla="*/ 7117 h 9868"/>
                  <a:gd name="connsiteX7" fmla="*/ 778 w 5023"/>
                  <a:gd name="connsiteY7" fmla="*/ 7057 h 9868"/>
                  <a:gd name="connsiteX8" fmla="*/ 1017 w 5023"/>
                  <a:gd name="connsiteY8" fmla="*/ 6639 h 9868"/>
                  <a:gd name="connsiteX9" fmla="*/ 1196 w 5023"/>
                  <a:gd name="connsiteY9" fmla="*/ 6399 h 9868"/>
                  <a:gd name="connsiteX10" fmla="*/ 1196 w 5023"/>
                  <a:gd name="connsiteY10" fmla="*/ 6399 h 9868"/>
                  <a:gd name="connsiteX11" fmla="*/ 2153 w 5023"/>
                  <a:gd name="connsiteY11" fmla="*/ 4785 h 9868"/>
                  <a:gd name="connsiteX12" fmla="*/ 2333 w 5023"/>
                  <a:gd name="connsiteY12" fmla="*/ 4545 h 9868"/>
                  <a:gd name="connsiteX13" fmla="*/ 2512 w 5023"/>
                  <a:gd name="connsiteY13" fmla="*/ 4246 h 9868"/>
                  <a:gd name="connsiteX14" fmla="*/ 2811 w 5023"/>
                  <a:gd name="connsiteY14" fmla="*/ 3708 h 9868"/>
                  <a:gd name="connsiteX15" fmla="*/ 4665 w 5023"/>
                  <a:gd name="connsiteY15" fmla="*/ 658 h 9868"/>
                  <a:gd name="connsiteX16" fmla="*/ 4725 w 5023"/>
                  <a:gd name="connsiteY16" fmla="*/ 598 h 9868"/>
                  <a:gd name="connsiteX17" fmla="*/ 4725 w 5023"/>
                  <a:gd name="connsiteY17" fmla="*/ 538 h 9868"/>
                  <a:gd name="connsiteX18" fmla="*/ 4964 w 5023"/>
                  <a:gd name="connsiteY18" fmla="*/ 120 h 9868"/>
                  <a:gd name="connsiteX19" fmla="*/ 5024 w 5023"/>
                  <a:gd name="connsiteY19" fmla="*/ 0 h 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23" h="9868">
                    <a:moveTo>
                      <a:pt x="2093" y="9868"/>
                    </a:moveTo>
                    <a:lnTo>
                      <a:pt x="1675" y="9569"/>
                    </a:lnTo>
                    <a:lnTo>
                      <a:pt x="0" y="8253"/>
                    </a:lnTo>
                    <a:lnTo>
                      <a:pt x="120" y="8074"/>
                    </a:lnTo>
                    <a:lnTo>
                      <a:pt x="239" y="7835"/>
                    </a:lnTo>
                    <a:lnTo>
                      <a:pt x="658" y="7177"/>
                    </a:lnTo>
                    <a:lnTo>
                      <a:pt x="718" y="7117"/>
                    </a:lnTo>
                    <a:lnTo>
                      <a:pt x="778" y="7057"/>
                    </a:lnTo>
                    <a:lnTo>
                      <a:pt x="1017" y="6639"/>
                    </a:lnTo>
                    <a:lnTo>
                      <a:pt x="1196" y="6399"/>
                    </a:lnTo>
                    <a:lnTo>
                      <a:pt x="1196" y="6399"/>
                    </a:lnTo>
                    <a:lnTo>
                      <a:pt x="2153" y="4785"/>
                    </a:lnTo>
                    <a:lnTo>
                      <a:pt x="2333" y="4545"/>
                    </a:lnTo>
                    <a:lnTo>
                      <a:pt x="2512" y="4246"/>
                    </a:lnTo>
                    <a:lnTo>
                      <a:pt x="2811" y="3708"/>
                    </a:lnTo>
                    <a:lnTo>
                      <a:pt x="4665" y="658"/>
                    </a:lnTo>
                    <a:lnTo>
                      <a:pt x="4725" y="598"/>
                    </a:lnTo>
                    <a:lnTo>
                      <a:pt x="4725" y="538"/>
                    </a:lnTo>
                    <a:lnTo>
                      <a:pt x="4964" y="120"/>
                    </a:lnTo>
                    <a:lnTo>
                      <a:pt x="5024" y="0"/>
                    </a:lnTo>
                  </a:path>
                </a:pathLst>
              </a:custGeom>
              <a:noFill/>
              <a:ln w="6350" cap="rnd">
                <a:solidFill>
                  <a:schemeClr val="bg1">
                    <a:alpha val="80000"/>
                  </a:schemeClr>
                </a:solidFill>
                <a:prstDash val="solid"/>
                <a:round/>
              </a:ln>
            </p:spPr>
            <p:txBody>
              <a:bodyPr rtlCol="0" anchor="ctr"/>
              <a:lstStyle/>
              <a:p>
                <a:endParaRPr lang="en-GB"/>
              </a:p>
            </p:txBody>
          </p:sp>
          <p:sp>
            <p:nvSpPr>
              <p:cNvPr id="6403" name="Vrije vorm: vorm 6402">
                <a:extLst>
                  <a:ext uri="{FF2B5EF4-FFF2-40B4-BE49-F238E27FC236}">
                    <a16:creationId xmlns:a16="http://schemas.microsoft.com/office/drawing/2014/main" id="{BEEDADF9-A281-4548-A9F8-2D4D24034372}"/>
                  </a:ext>
                </a:extLst>
              </p:cNvPr>
              <p:cNvSpPr/>
              <p:nvPr/>
            </p:nvSpPr>
            <p:spPr>
              <a:xfrm>
                <a:off x="7015765" y="1750597"/>
                <a:ext cx="5203" cy="3229"/>
              </a:xfrm>
              <a:custGeom>
                <a:avLst/>
                <a:gdLst>
                  <a:gd name="connsiteX0" fmla="*/ 0 w 5203"/>
                  <a:gd name="connsiteY0" fmla="*/ 0 h 3229"/>
                  <a:gd name="connsiteX1" fmla="*/ 1495 w 5203"/>
                  <a:gd name="connsiteY1" fmla="*/ 598 h 3229"/>
                  <a:gd name="connsiteX2" fmla="*/ 2930 w 5203"/>
                  <a:gd name="connsiteY2" fmla="*/ 1376 h 3229"/>
                  <a:gd name="connsiteX3" fmla="*/ 4605 w 5203"/>
                  <a:gd name="connsiteY3" fmla="*/ 2392 h 3229"/>
                  <a:gd name="connsiteX4" fmla="*/ 5203 w 5203"/>
                  <a:gd name="connsiteY4" fmla="*/ 2751 h 3229"/>
                  <a:gd name="connsiteX5" fmla="*/ 4964 w 5203"/>
                  <a:gd name="connsiteY5" fmla="*/ 3170 h 3229"/>
                  <a:gd name="connsiteX6" fmla="*/ 4905 w 5203"/>
                  <a:gd name="connsiteY6" fmla="*/ 3230 h 3229"/>
                  <a:gd name="connsiteX7" fmla="*/ 3230 w 5203"/>
                  <a:gd name="connsiteY7" fmla="*/ 2632 h 3229"/>
                  <a:gd name="connsiteX8" fmla="*/ 1735 w 5203"/>
                  <a:gd name="connsiteY8" fmla="*/ 2093 h 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03" h="3229">
                    <a:moveTo>
                      <a:pt x="0" y="0"/>
                    </a:moveTo>
                    <a:lnTo>
                      <a:pt x="1495" y="598"/>
                    </a:lnTo>
                    <a:lnTo>
                      <a:pt x="2930" y="1376"/>
                    </a:lnTo>
                    <a:lnTo>
                      <a:pt x="4605" y="2392"/>
                    </a:lnTo>
                    <a:lnTo>
                      <a:pt x="5203" y="2751"/>
                    </a:lnTo>
                    <a:lnTo>
                      <a:pt x="4964" y="3170"/>
                    </a:lnTo>
                    <a:lnTo>
                      <a:pt x="4905" y="3230"/>
                    </a:lnTo>
                    <a:lnTo>
                      <a:pt x="3230" y="2632"/>
                    </a:lnTo>
                    <a:lnTo>
                      <a:pt x="1735" y="2093"/>
                    </a:lnTo>
                  </a:path>
                </a:pathLst>
              </a:custGeom>
              <a:noFill/>
              <a:ln w="6350" cap="rnd">
                <a:solidFill>
                  <a:schemeClr val="bg1">
                    <a:alpha val="80000"/>
                  </a:schemeClr>
                </a:solidFill>
                <a:prstDash val="solid"/>
                <a:round/>
              </a:ln>
            </p:spPr>
            <p:txBody>
              <a:bodyPr rtlCol="0" anchor="ctr"/>
              <a:lstStyle/>
              <a:p>
                <a:endParaRPr lang="en-GB"/>
              </a:p>
            </p:txBody>
          </p:sp>
          <p:sp>
            <p:nvSpPr>
              <p:cNvPr id="6404" name="Vrije vorm: vorm 6403">
                <a:extLst>
                  <a:ext uri="{FF2B5EF4-FFF2-40B4-BE49-F238E27FC236}">
                    <a16:creationId xmlns:a16="http://schemas.microsoft.com/office/drawing/2014/main" id="{2869BF53-2C88-42A1-955D-3F1CE329D836}"/>
                  </a:ext>
                </a:extLst>
              </p:cNvPr>
              <p:cNvSpPr/>
              <p:nvPr/>
            </p:nvSpPr>
            <p:spPr>
              <a:xfrm>
                <a:off x="6973482" y="1727093"/>
                <a:ext cx="896" cy="478"/>
              </a:xfrm>
              <a:custGeom>
                <a:avLst/>
                <a:gdLst>
                  <a:gd name="connsiteX0" fmla="*/ 0 w 896"/>
                  <a:gd name="connsiteY0" fmla="*/ 0 h 478"/>
                  <a:gd name="connsiteX1" fmla="*/ 299 w 896"/>
                  <a:gd name="connsiteY1" fmla="*/ 179 h 478"/>
                  <a:gd name="connsiteX2" fmla="*/ 897 w 896"/>
                  <a:gd name="connsiteY2" fmla="*/ 478 h 478"/>
                </a:gdLst>
                <a:ahLst/>
                <a:cxnLst>
                  <a:cxn ang="0">
                    <a:pos x="connsiteX0" y="connsiteY0"/>
                  </a:cxn>
                  <a:cxn ang="0">
                    <a:pos x="connsiteX1" y="connsiteY1"/>
                  </a:cxn>
                  <a:cxn ang="0">
                    <a:pos x="connsiteX2" y="connsiteY2"/>
                  </a:cxn>
                </a:cxnLst>
                <a:rect l="l" t="t" r="r" b="b"/>
                <a:pathLst>
                  <a:path w="896" h="478">
                    <a:moveTo>
                      <a:pt x="0" y="0"/>
                    </a:moveTo>
                    <a:lnTo>
                      <a:pt x="299" y="179"/>
                    </a:lnTo>
                    <a:lnTo>
                      <a:pt x="897" y="478"/>
                    </a:lnTo>
                  </a:path>
                </a:pathLst>
              </a:custGeom>
              <a:noFill/>
              <a:ln w="6350" cap="rnd">
                <a:solidFill>
                  <a:schemeClr val="bg1">
                    <a:alpha val="80000"/>
                  </a:schemeClr>
                </a:solidFill>
                <a:prstDash val="solid"/>
                <a:round/>
              </a:ln>
            </p:spPr>
            <p:txBody>
              <a:bodyPr rtlCol="0" anchor="ctr"/>
              <a:lstStyle/>
              <a:p>
                <a:endParaRPr lang="en-GB"/>
              </a:p>
            </p:txBody>
          </p:sp>
          <p:sp>
            <p:nvSpPr>
              <p:cNvPr id="6405" name="Vrije vorm: vorm 6404">
                <a:extLst>
                  <a:ext uri="{FF2B5EF4-FFF2-40B4-BE49-F238E27FC236}">
                    <a16:creationId xmlns:a16="http://schemas.microsoft.com/office/drawing/2014/main" id="{1C02E911-5466-4479-A0C8-DC109657B2BA}"/>
                  </a:ext>
                </a:extLst>
              </p:cNvPr>
              <p:cNvSpPr/>
              <p:nvPr/>
            </p:nvSpPr>
            <p:spPr>
              <a:xfrm>
                <a:off x="6941006" y="1853526"/>
                <a:ext cx="42164" cy="67103"/>
              </a:xfrm>
              <a:custGeom>
                <a:avLst/>
                <a:gdLst>
                  <a:gd name="connsiteX0" fmla="*/ 8553 w 42164"/>
                  <a:gd name="connsiteY0" fmla="*/ 67104 h 67103"/>
                  <a:gd name="connsiteX1" fmla="*/ 10646 w 42164"/>
                  <a:gd name="connsiteY1" fmla="*/ 64113 h 67103"/>
                  <a:gd name="connsiteX2" fmla="*/ 11782 w 42164"/>
                  <a:gd name="connsiteY2" fmla="*/ 62499 h 67103"/>
                  <a:gd name="connsiteX3" fmla="*/ 13516 w 42164"/>
                  <a:gd name="connsiteY3" fmla="*/ 60046 h 67103"/>
                  <a:gd name="connsiteX4" fmla="*/ 14414 w 42164"/>
                  <a:gd name="connsiteY4" fmla="*/ 58791 h 67103"/>
                  <a:gd name="connsiteX5" fmla="*/ 14533 w 42164"/>
                  <a:gd name="connsiteY5" fmla="*/ 58611 h 67103"/>
                  <a:gd name="connsiteX6" fmla="*/ 15969 w 42164"/>
                  <a:gd name="connsiteY6" fmla="*/ 56518 h 67103"/>
                  <a:gd name="connsiteX7" fmla="*/ 17524 w 42164"/>
                  <a:gd name="connsiteY7" fmla="*/ 54245 h 67103"/>
                  <a:gd name="connsiteX8" fmla="*/ 17882 w 42164"/>
                  <a:gd name="connsiteY8" fmla="*/ 53707 h 67103"/>
                  <a:gd name="connsiteX9" fmla="*/ 20574 w 42164"/>
                  <a:gd name="connsiteY9" fmla="*/ 49700 h 67103"/>
                  <a:gd name="connsiteX10" fmla="*/ 20574 w 42164"/>
                  <a:gd name="connsiteY10" fmla="*/ 49700 h 67103"/>
                  <a:gd name="connsiteX11" fmla="*/ 20574 w 42164"/>
                  <a:gd name="connsiteY11" fmla="*/ 49700 h 67103"/>
                  <a:gd name="connsiteX12" fmla="*/ 20693 w 42164"/>
                  <a:gd name="connsiteY12" fmla="*/ 49520 h 67103"/>
                  <a:gd name="connsiteX13" fmla="*/ 20753 w 42164"/>
                  <a:gd name="connsiteY13" fmla="*/ 49461 h 67103"/>
                  <a:gd name="connsiteX14" fmla="*/ 25478 w 42164"/>
                  <a:gd name="connsiteY14" fmla="*/ 42523 h 67103"/>
                  <a:gd name="connsiteX15" fmla="*/ 26016 w 42164"/>
                  <a:gd name="connsiteY15" fmla="*/ 41745 h 67103"/>
                  <a:gd name="connsiteX16" fmla="*/ 26016 w 42164"/>
                  <a:gd name="connsiteY16" fmla="*/ 41686 h 67103"/>
                  <a:gd name="connsiteX17" fmla="*/ 26255 w 42164"/>
                  <a:gd name="connsiteY17" fmla="*/ 41387 h 67103"/>
                  <a:gd name="connsiteX18" fmla="*/ 26435 w 42164"/>
                  <a:gd name="connsiteY18" fmla="*/ 41147 h 67103"/>
                  <a:gd name="connsiteX19" fmla="*/ 26435 w 42164"/>
                  <a:gd name="connsiteY19" fmla="*/ 41147 h 67103"/>
                  <a:gd name="connsiteX20" fmla="*/ 27272 w 42164"/>
                  <a:gd name="connsiteY20" fmla="*/ 39951 h 67103"/>
                  <a:gd name="connsiteX21" fmla="*/ 27391 w 42164"/>
                  <a:gd name="connsiteY21" fmla="*/ 39772 h 67103"/>
                  <a:gd name="connsiteX22" fmla="*/ 28648 w 42164"/>
                  <a:gd name="connsiteY22" fmla="*/ 37978 h 67103"/>
                  <a:gd name="connsiteX23" fmla="*/ 28768 w 42164"/>
                  <a:gd name="connsiteY23" fmla="*/ 37798 h 67103"/>
                  <a:gd name="connsiteX24" fmla="*/ 29006 w 42164"/>
                  <a:gd name="connsiteY24" fmla="*/ 37439 h 67103"/>
                  <a:gd name="connsiteX25" fmla="*/ 29006 w 42164"/>
                  <a:gd name="connsiteY25" fmla="*/ 37439 h 67103"/>
                  <a:gd name="connsiteX26" fmla="*/ 29605 w 42164"/>
                  <a:gd name="connsiteY26" fmla="*/ 36542 h 67103"/>
                  <a:gd name="connsiteX27" fmla="*/ 30323 w 42164"/>
                  <a:gd name="connsiteY27" fmla="*/ 35466 h 67103"/>
                  <a:gd name="connsiteX28" fmla="*/ 30323 w 42164"/>
                  <a:gd name="connsiteY28" fmla="*/ 35466 h 67103"/>
                  <a:gd name="connsiteX29" fmla="*/ 31698 w 42164"/>
                  <a:gd name="connsiteY29" fmla="*/ 33492 h 67103"/>
                  <a:gd name="connsiteX30" fmla="*/ 32116 w 42164"/>
                  <a:gd name="connsiteY30" fmla="*/ 32894 h 67103"/>
                  <a:gd name="connsiteX31" fmla="*/ 33014 w 42164"/>
                  <a:gd name="connsiteY31" fmla="*/ 31638 h 67103"/>
                  <a:gd name="connsiteX32" fmla="*/ 33851 w 42164"/>
                  <a:gd name="connsiteY32" fmla="*/ 30442 h 67103"/>
                  <a:gd name="connsiteX33" fmla="*/ 38337 w 42164"/>
                  <a:gd name="connsiteY33" fmla="*/ 24042 h 67103"/>
                  <a:gd name="connsiteX34" fmla="*/ 38576 w 42164"/>
                  <a:gd name="connsiteY34" fmla="*/ 23684 h 67103"/>
                  <a:gd name="connsiteX35" fmla="*/ 39652 w 42164"/>
                  <a:gd name="connsiteY35" fmla="*/ 22188 h 67103"/>
                  <a:gd name="connsiteX36" fmla="*/ 39832 w 42164"/>
                  <a:gd name="connsiteY36" fmla="*/ 21949 h 67103"/>
                  <a:gd name="connsiteX37" fmla="*/ 39832 w 42164"/>
                  <a:gd name="connsiteY37" fmla="*/ 21949 h 67103"/>
                  <a:gd name="connsiteX38" fmla="*/ 41507 w 42164"/>
                  <a:gd name="connsiteY38" fmla="*/ 19497 h 67103"/>
                  <a:gd name="connsiteX39" fmla="*/ 42164 w 42164"/>
                  <a:gd name="connsiteY39" fmla="*/ 18540 h 67103"/>
                  <a:gd name="connsiteX40" fmla="*/ 41865 w 42164"/>
                  <a:gd name="connsiteY40" fmla="*/ 18062 h 67103"/>
                  <a:gd name="connsiteX41" fmla="*/ 41566 w 42164"/>
                  <a:gd name="connsiteY41" fmla="*/ 17583 h 67103"/>
                  <a:gd name="connsiteX42" fmla="*/ 31100 w 42164"/>
                  <a:gd name="connsiteY42" fmla="*/ 11363 h 67103"/>
                  <a:gd name="connsiteX43" fmla="*/ 20155 w 42164"/>
                  <a:gd name="connsiteY43" fmla="*/ 4725 h 67103"/>
                  <a:gd name="connsiteX44" fmla="*/ 19139 w 42164"/>
                  <a:gd name="connsiteY44" fmla="*/ 4127 h 67103"/>
                  <a:gd name="connsiteX45" fmla="*/ 18899 w 42164"/>
                  <a:gd name="connsiteY45" fmla="*/ 4007 h 67103"/>
                  <a:gd name="connsiteX46" fmla="*/ 18420 w 42164"/>
                  <a:gd name="connsiteY46" fmla="*/ 3708 h 67103"/>
                  <a:gd name="connsiteX47" fmla="*/ 18062 w 42164"/>
                  <a:gd name="connsiteY47" fmla="*/ 3469 h 67103"/>
                  <a:gd name="connsiteX48" fmla="*/ 16267 w 42164"/>
                  <a:gd name="connsiteY48" fmla="*/ 2392 h 67103"/>
                  <a:gd name="connsiteX49" fmla="*/ 14533 w 42164"/>
                  <a:gd name="connsiteY49" fmla="*/ 1316 h 67103"/>
                  <a:gd name="connsiteX50" fmla="*/ 12321 w 42164"/>
                  <a:gd name="connsiteY50" fmla="*/ 0 h 67103"/>
                  <a:gd name="connsiteX51" fmla="*/ 11064 w 42164"/>
                  <a:gd name="connsiteY51" fmla="*/ 299 h 67103"/>
                  <a:gd name="connsiteX52" fmla="*/ 10766 w 42164"/>
                  <a:gd name="connsiteY52" fmla="*/ 359 h 67103"/>
                  <a:gd name="connsiteX53" fmla="*/ 10586 w 42164"/>
                  <a:gd name="connsiteY53" fmla="*/ 419 h 67103"/>
                  <a:gd name="connsiteX54" fmla="*/ 10406 w 42164"/>
                  <a:gd name="connsiteY54" fmla="*/ 478 h 67103"/>
                  <a:gd name="connsiteX55" fmla="*/ 8732 w 42164"/>
                  <a:gd name="connsiteY55" fmla="*/ 3230 h 67103"/>
                  <a:gd name="connsiteX56" fmla="*/ 7895 w 42164"/>
                  <a:gd name="connsiteY56" fmla="*/ 4545 h 67103"/>
                  <a:gd name="connsiteX57" fmla="*/ 7715 w 42164"/>
                  <a:gd name="connsiteY57" fmla="*/ 4785 h 67103"/>
                  <a:gd name="connsiteX58" fmla="*/ 3290 w 42164"/>
                  <a:gd name="connsiteY58" fmla="*/ 12021 h 67103"/>
                  <a:gd name="connsiteX59" fmla="*/ 3230 w 42164"/>
                  <a:gd name="connsiteY59" fmla="*/ 12141 h 67103"/>
                  <a:gd name="connsiteX60" fmla="*/ 3230 w 42164"/>
                  <a:gd name="connsiteY60" fmla="*/ 12201 h 67103"/>
                  <a:gd name="connsiteX61" fmla="*/ 2751 w 42164"/>
                  <a:gd name="connsiteY61" fmla="*/ 13038 h 67103"/>
                  <a:gd name="connsiteX62" fmla="*/ 2333 w 42164"/>
                  <a:gd name="connsiteY62" fmla="*/ 13696 h 67103"/>
                  <a:gd name="connsiteX63" fmla="*/ 1615 w 42164"/>
                  <a:gd name="connsiteY63" fmla="*/ 14832 h 67103"/>
                  <a:gd name="connsiteX64" fmla="*/ 1077 w 42164"/>
                  <a:gd name="connsiteY64" fmla="*/ 15729 h 67103"/>
                  <a:gd name="connsiteX65" fmla="*/ 1017 w 42164"/>
                  <a:gd name="connsiteY65" fmla="*/ 15849 h 67103"/>
                  <a:gd name="connsiteX66" fmla="*/ 778 w 42164"/>
                  <a:gd name="connsiteY66" fmla="*/ 16208 h 67103"/>
                  <a:gd name="connsiteX67" fmla="*/ 60 w 42164"/>
                  <a:gd name="connsiteY67" fmla="*/ 17404 h 67103"/>
                  <a:gd name="connsiteX68" fmla="*/ 60 w 42164"/>
                  <a:gd name="connsiteY68" fmla="*/ 17404 h 67103"/>
                  <a:gd name="connsiteX69" fmla="*/ 0 w 42164"/>
                  <a:gd name="connsiteY69" fmla="*/ 17523 h 67103"/>
                  <a:gd name="connsiteX70" fmla="*/ 0 w 42164"/>
                  <a:gd name="connsiteY70" fmla="*/ 17523 h 67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2164" h="67103">
                    <a:moveTo>
                      <a:pt x="8553" y="67104"/>
                    </a:moveTo>
                    <a:lnTo>
                      <a:pt x="10646" y="64113"/>
                    </a:lnTo>
                    <a:lnTo>
                      <a:pt x="11782" y="62499"/>
                    </a:lnTo>
                    <a:lnTo>
                      <a:pt x="13516" y="60046"/>
                    </a:lnTo>
                    <a:lnTo>
                      <a:pt x="14414" y="58791"/>
                    </a:lnTo>
                    <a:lnTo>
                      <a:pt x="14533" y="58611"/>
                    </a:lnTo>
                    <a:lnTo>
                      <a:pt x="15969" y="56518"/>
                    </a:lnTo>
                    <a:lnTo>
                      <a:pt x="17524" y="54245"/>
                    </a:lnTo>
                    <a:lnTo>
                      <a:pt x="17882" y="53707"/>
                    </a:lnTo>
                    <a:lnTo>
                      <a:pt x="20574" y="49700"/>
                    </a:lnTo>
                    <a:lnTo>
                      <a:pt x="20574" y="49700"/>
                    </a:lnTo>
                    <a:lnTo>
                      <a:pt x="20574" y="49700"/>
                    </a:lnTo>
                    <a:lnTo>
                      <a:pt x="20693" y="49520"/>
                    </a:lnTo>
                    <a:lnTo>
                      <a:pt x="20753" y="49461"/>
                    </a:lnTo>
                    <a:lnTo>
                      <a:pt x="25478" y="42523"/>
                    </a:lnTo>
                    <a:lnTo>
                      <a:pt x="26016" y="41745"/>
                    </a:lnTo>
                    <a:lnTo>
                      <a:pt x="26016" y="41686"/>
                    </a:lnTo>
                    <a:lnTo>
                      <a:pt x="26255" y="41387"/>
                    </a:lnTo>
                    <a:lnTo>
                      <a:pt x="26435" y="41147"/>
                    </a:lnTo>
                    <a:lnTo>
                      <a:pt x="26435" y="41147"/>
                    </a:lnTo>
                    <a:lnTo>
                      <a:pt x="27272" y="39951"/>
                    </a:lnTo>
                    <a:lnTo>
                      <a:pt x="27391" y="39772"/>
                    </a:lnTo>
                    <a:lnTo>
                      <a:pt x="28648" y="37978"/>
                    </a:lnTo>
                    <a:lnTo>
                      <a:pt x="28768" y="37798"/>
                    </a:lnTo>
                    <a:lnTo>
                      <a:pt x="29006" y="37439"/>
                    </a:lnTo>
                    <a:lnTo>
                      <a:pt x="29006" y="37439"/>
                    </a:lnTo>
                    <a:lnTo>
                      <a:pt x="29605" y="36542"/>
                    </a:lnTo>
                    <a:lnTo>
                      <a:pt x="30323" y="35466"/>
                    </a:lnTo>
                    <a:lnTo>
                      <a:pt x="30323" y="35466"/>
                    </a:lnTo>
                    <a:lnTo>
                      <a:pt x="31698" y="33492"/>
                    </a:lnTo>
                    <a:lnTo>
                      <a:pt x="32116" y="32894"/>
                    </a:lnTo>
                    <a:lnTo>
                      <a:pt x="33014" y="31638"/>
                    </a:lnTo>
                    <a:lnTo>
                      <a:pt x="33851" y="30442"/>
                    </a:lnTo>
                    <a:lnTo>
                      <a:pt x="38337" y="24042"/>
                    </a:lnTo>
                    <a:lnTo>
                      <a:pt x="38576" y="23684"/>
                    </a:lnTo>
                    <a:lnTo>
                      <a:pt x="39652" y="22188"/>
                    </a:lnTo>
                    <a:lnTo>
                      <a:pt x="39832" y="21949"/>
                    </a:lnTo>
                    <a:lnTo>
                      <a:pt x="39832" y="21949"/>
                    </a:lnTo>
                    <a:lnTo>
                      <a:pt x="41507" y="19497"/>
                    </a:lnTo>
                    <a:lnTo>
                      <a:pt x="42164" y="18540"/>
                    </a:lnTo>
                    <a:lnTo>
                      <a:pt x="41865" y="18062"/>
                    </a:lnTo>
                    <a:lnTo>
                      <a:pt x="41566" y="17583"/>
                    </a:lnTo>
                    <a:lnTo>
                      <a:pt x="31100" y="11363"/>
                    </a:lnTo>
                    <a:lnTo>
                      <a:pt x="20155" y="4725"/>
                    </a:lnTo>
                    <a:lnTo>
                      <a:pt x="19139" y="4127"/>
                    </a:lnTo>
                    <a:lnTo>
                      <a:pt x="18899" y="4007"/>
                    </a:lnTo>
                    <a:lnTo>
                      <a:pt x="18420" y="3708"/>
                    </a:lnTo>
                    <a:lnTo>
                      <a:pt x="18062" y="3469"/>
                    </a:lnTo>
                    <a:lnTo>
                      <a:pt x="16267" y="2392"/>
                    </a:lnTo>
                    <a:lnTo>
                      <a:pt x="14533" y="1316"/>
                    </a:lnTo>
                    <a:lnTo>
                      <a:pt x="12321" y="0"/>
                    </a:lnTo>
                    <a:lnTo>
                      <a:pt x="11064" y="299"/>
                    </a:lnTo>
                    <a:lnTo>
                      <a:pt x="10766" y="359"/>
                    </a:lnTo>
                    <a:lnTo>
                      <a:pt x="10586" y="419"/>
                    </a:lnTo>
                    <a:lnTo>
                      <a:pt x="10406" y="478"/>
                    </a:lnTo>
                    <a:lnTo>
                      <a:pt x="8732" y="3230"/>
                    </a:lnTo>
                    <a:lnTo>
                      <a:pt x="7895" y="4545"/>
                    </a:lnTo>
                    <a:lnTo>
                      <a:pt x="7715" y="4785"/>
                    </a:lnTo>
                    <a:lnTo>
                      <a:pt x="3290" y="12021"/>
                    </a:lnTo>
                    <a:lnTo>
                      <a:pt x="3230" y="12141"/>
                    </a:lnTo>
                    <a:lnTo>
                      <a:pt x="3230" y="12201"/>
                    </a:lnTo>
                    <a:lnTo>
                      <a:pt x="2751" y="13038"/>
                    </a:lnTo>
                    <a:lnTo>
                      <a:pt x="2333" y="13696"/>
                    </a:lnTo>
                    <a:lnTo>
                      <a:pt x="1615" y="14832"/>
                    </a:lnTo>
                    <a:lnTo>
                      <a:pt x="1077" y="15729"/>
                    </a:lnTo>
                    <a:lnTo>
                      <a:pt x="1017" y="15849"/>
                    </a:lnTo>
                    <a:lnTo>
                      <a:pt x="778" y="16208"/>
                    </a:lnTo>
                    <a:lnTo>
                      <a:pt x="60" y="17404"/>
                    </a:lnTo>
                    <a:lnTo>
                      <a:pt x="60" y="17404"/>
                    </a:lnTo>
                    <a:lnTo>
                      <a:pt x="0" y="17523"/>
                    </a:lnTo>
                    <a:lnTo>
                      <a:pt x="0" y="17523"/>
                    </a:lnTo>
                  </a:path>
                </a:pathLst>
              </a:custGeom>
              <a:noFill/>
              <a:ln w="6350" cap="rnd">
                <a:solidFill>
                  <a:schemeClr val="bg1">
                    <a:alpha val="80000"/>
                  </a:schemeClr>
                </a:solidFill>
                <a:prstDash val="solid"/>
                <a:round/>
              </a:ln>
            </p:spPr>
            <p:txBody>
              <a:bodyPr rtlCol="0" anchor="ctr"/>
              <a:lstStyle/>
              <a:p>
                <a:endParaRPr lang="en-GB"/>
              </a:p>
            </p:txBody>
          </p:sp>
          <p:sp>
            <p:nvSpPr>
              <p:cNvPr id="6406" name="Vrije vorm: vorm 6405">
                <a:extLst>
                  <a:ext uri="{FF2B5EF4-FFF2-40B4-BE49-F238E27FC236}">
                    <a16:creationId xmlns:a16="http://schemas.microsoft.com/office/drawing/2014/main" id="{2D6A830E-D1D2-472B-B562-828FEC4F712C}"/>
                  </a:ext>
                </a:extLst>
              </p:cNvPr>
              <p:cNvSpPr/>
              <p:nvPr/>
            </p:nvSpPr>
            <p:spPr>
              <a:xfrm>
                <a:off x="7010203" y="1748026"/>
                <a:ext cx="7594" cy="5562"/>
              </a:xfrm>
              <a:custGeom>
                <a:avLst/>
                <a:gdLst>
                  <a:gd name="connsiteX0" fmla="*/ 0 w 7594"/>
                  <a:gd name="connsiteY0" fmla="*/ 1256 h 5562"/>
                  <a:gd name="connsiteX1" fmla="*/ 239 w 7594"/>
                  <a:gd name="connsiteY1" fmla="*/ 777 h 5562"/>
                  <a:gd name="connsiteX2" fmla="*/ 598 w 7594"/>
                  <a:gd name="connsiteY2" fmla="*/ 60 h 5562"/>
                  <a:gd name="connsiteX3" fmla="*/ 598 w 7594"/>
                  <a:gd name="connsiteY3" fmla="*/ 0 h 5562"/>
                  <a:gd name="connsiteX4" fmla="*/ 2511 w 7594"/>
                  <a:gd name="connsiteY4" fmla="*/ 718 h 5562"/>
                  <a:gd name="connsiteX5" fmla="*/ 5502 w 7594"/>
                  <a:gd name="connsiteY5" fmla="*/ 2572 h 5562"/>
                  <a:gd name="connsiteX6" fmla="*/ 7595 w 7594"/>
                  <a:gd name="connsiteY6" fmla="*/ 3887 h 5562"/>
                  <a:gd name="connsiteX7" fmla="*/ 7476 w 7594"/>
                  <a:gd name="connsiteY7" fmla="*/ 4067 h 5562"/>
                  <a:gd name="connsiteX8" fmla="*/ 7236 w 7594"/>
                  <a:gd name="connsiteY8" fmla="*/ 4486 h 5562"/>
                  <a:gd name="connsiteX9" fmla="*/ 7117 w 7594"/>
                  <a:gd name="connsiteY9" fmla="*/ 4665 h 5562"/>
                  <a:gd name="connsiteX10" fmla="*/ 6639 w 7594"/>
                  <a:gd name="connsiteY10" fmla="*/ 5562 h 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94" h="5562">
                    <a:moveTo>
                      <a:pt x="0" y="1256"/>
                    </a:moveTo>
                    <a:lnTo>
                      <a:pt x="239" y="777"/>
                    </a:lnTo>
                    <a:lnTo>
                      <a:pt x="598" y="60"/>
                    </a:lnTo>
                    <a:lnTo>
                      <a:pt x="598" y="0"/>
                    </a:lnTo>
                    <a:lnTo>
                      <a:pt x="2511" y="718"/>
                    </a:lnTo>
                    <a:lnTo>
                      <a:pt x="5502" y="2572"/>
                    </a:lnTo>
                    <a:lnTo>
                      <a:pt x="7595" y="3887"/>
                    </a:lnTo>
                    <a:lnTo>
                      <a:pt x="7476" y="4067"/>
                    </a:lnTo>
                    <a:lnTo>
                      <a:pt x="7236" y="4486"/>
                    </a:lnTo>
                    <a:lnTo>
                      <a:pt x="7117" y="4665"/>
                    </a:lnTo>
                    <a:lnTo>
                      <a:pt x="6639" y="5562"/>
                    </a:lnTo>
                  </a:path>
                </a:pathLst>
              </a:custGeom>
              <a:noFill/>
              <a:ln w="6350" cap="rnd">
                <a:solidFill>
                  <a:schemeClr val="bg1">
                    <a:alpha val="80000"/>
                  </a:schemeClr>
                </a:solidFill>
                <a:prstDash val="solid"/>
                <a:round/>
              </a:ln>
            </p:spPr>
            <p:txBody>
              <a:bodyPr rtlCol="0" anchor="ctr"/>
              <a:lstStyle/>
              <a:p>
                <a:endParaRPr lang="en-GB"/>
              </a:p>
            </p:txBody>
          </p:sp>
          <p:sp>
            <p:nvSpPr>
              <p:cNvPr id="6407" name="Vrije vorm: vorm 6406">
                <a:extLst>
                  <a:ext uri="{FF2B5EF4-FFF2-40B4-BE49-F238E27FC236}">
                    <a16:creationId xmlns:a16="http://schemas.microsoft.com/office/drawing/2014/main" id="{5B18DE04-A5AD-4FA0-9FB7-05596A0D17FE}"/>
                  </a:ext>
                </a:extLst>
              </p:cNvPr>
              <p:cNvSpPr/>
              <p:nvPr/>
            </p:nvSpPr>
            <p:spPr>
              <a:xfrm>
                <a:off x="6762601" y="1929241"/>
                <a:ext cx="1435" cy="5263"/>
              </a:xfrm>
              <a:custGeom>
                <a:avLst/>
                <a:gdLst>
                  <a:gd name="connsiteX0" fmla="*/ 1435 w 1435"/>
                  <a:gd name="connsiteY0" fmla="*/ 5263 h 5263"/>
                  <a:gd name="connsiteX1" fmla="*/ 418 w 1435"/>
                  <a:gd name="connsiteY1" fmla="*/ 4426 h 5263"/>
                  <a:gd name="connsiteX2" fmla="*/ 418 w 1435"/>
                  <a:gd name="connsiteY2" fmla="*/ 4366 h 5263"/>
                  <a:gd name="connsiteX3" fmla="*/ 957 w 1435"/>
                  <a:gd name="connsiteY3" fmla="*/ 1914 h 5263"/>
                  <a:gd name="connsiteX4" fmla="*/ 1017 w 1435"/>
                  <a:gd name="connsiteY4" fmla="*/ 1794 h 5263"/>
                  <a:gd name="connsiteX5" fmla="*/ 0 w 1435"/>
                  <a:gd name="connsiteY5" fmla="*/ 0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 h="5263">
                    <a:moveTo>
                      <a:pt x="1435" y="5263"/>
                    </a:moveTo>
                    <a:lnTo>
                      <a:pt x="418" y="4426"/>
                    </a:lnTo>
                    <a:lnTo>
                      <a:pt x="418" y="4366"/>
                    </a:lnTo>
                    <a:lnTo>
                      <a:pt x="957" y="1914"/>
                    </a:lnTo>
                    <a:lnTo>
                      <a:pt x="1017" y="1794"/>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08" name="Vrije vorm: vorm 6407">
                <a:extLst>
                  <a:ext uri="{FF2B5EF4-FFF2-40B4-BE49-F238E27FC236}">
                    <a16:creationId xmlns:a16="http://schemas.microsoft.com/office/drawing/2014/main" id="{546884D0-E1A3-45C7-B049-C1465909B86F}"/>
                  </a:ext>
                </a:extLst>
              </p:cNvPr>
              <p:cNvSpPr/>
              <p:nvPr/>
            </p:nvSpPr>
            <p:spPr>
              <a:xfrm>
                <a:off x="6985144" y="1851073"/>
                <a:ext cx="35644" cy="28827"/>
              </a:xfrm>
              <a:custGeom>
                <a:avLst/>
                <a:gdLst>
                  <a:gd name="connsiteX0" fmla="*/ 29545 w 35644"/>
                  <a:gd name="connsiteY0" fmla="*/ 28289 h 28827"/>
                  <a:gd name="connsiteX1" fmla="*/ 27930 w 35644"/>
                  <a:gd name="connsiteY1" fmla="*/ 28767 h 28827"/>
                  <a:gd name="connsiteX2" fmla="*/ 27631 w 35644"/>
                  <a:gd name="connsiteY2" fmla="*/ 28827 h 28827"/>
                  <a:gd name="connsiteX3" fmla="*/ 27213 w 35644"/>
                  <a:gd name="connsiteY3" fmla="*/ 28588 h 28827"/>
                  <a:gd name="connsiteX4" fmla="*/ 26734 w 35644"/>
                  <a:gd name="connsiteY4" fmla="*/ 28289 h 28827"/>
                  <a:gd name="connsiteX5" fmla="*/ 26196 w 35644"/>
                  <a:gd name="connsiteY5" fmla="*/ 27990 h 28827"/>
                  <a:gd name="connsiteX6" fmla="*/ 25896 w 35644"/>
                  <a:gd name="connsiteY6" fmla="*/ 27810 h 28827"/>
                  <a:gd name="connsiteX7" fmla="*/ 25598 w 35644"/>
                  <a:gd name="connsiteY7" fmla="*/ 27631 h 28827"/>
                  <a:gd name="connsiteX8" fmla="*/ 25060 w 35644"/>
                  <a:gd name="connsiteY8" fmla="*/ 27272 h 28827"/>
                  <a:gd name="connsiteX9" fmla="*/ 24282 w 35644"/>
                  <a:gd name="connsiteY9" fmla="*/ 26794 h 28827"/>
                  <a:gd name="connsiteX10" fmla="*/ 24102 w 35644"/>
                  <a:gd name="connsiteY10" fmla="*/ 26674 h 28827"/>
                  <a:gd name="connsiteX11" fmla="*/ 16327 w 35644"/>
                  <a:gd name="connsiteY11" fmla="*/ 22069 h 28827"/>
                  <a:gd name="connsiteX12" fmla="*/ 12440 w 35644"/>
                  <a:gd name="connsiteY12" fmla="*/ 19796 h 28827"/>
                  <a:gd name="connsiteX13" fmla="*/ 10706 w 35644"/>
                  <a:gd name="connsiteY13" fmla="*/ 18779 h 28827"/>
                  <a:gd name="connsiteX14" fmla="*/ 10406 w 35644"/>
                  <a:gd name="connsiteY14" fmla="*/ 18600 h 28827"/>
                  <a:gd name="connsiteX15" fmla="*/ 10347 w 35644"/>
                  <a:gd name="connsiteY15" fmla="*/ 18540 h 28827"/>
                  <a:gd name="connsiteX16" fmla="*/ 9211 w 35644"/>
                  <a:gd name="connsiteY16" fmla="*/ 17882 h 28827"/>
                  <a:gd name="connsiteX17" fmla="*/ 9151 w 35644"/>
                  <a:gd name="connsiteY17" fmla="*/ 17823 h 28827"/>
                  <a:gd name="connsiteX18" fmla="*/ 9091 w 35644"/>
                  <a:gd name="connsiteY18" fmla="*/ 17763 h 28827"/>
                  <a:gd name="connsiteX19" fmla="*/ 9091 w 35644"/>
                  <a:gd name="connsiteY19" fmla="*/ 17763 h 28827"/>
                  <a:gd name="connsiteX20" fmla="*/ 8253 w 35644"/>
                  <a:gd name="connsiteY20" fmla="*/ 17284 h 28827"/>
                  <a:gd name="connsiteX21" fmla="*/ 7954 w 35644"/>
                  <a:gd name="connsiteY21" fmla="*/ 17105 h 28827"/>
                  <a:gd name="connsiteX22" fmla="*/ 6998 w 35644"/>
                  <a:gd name="connsiteY22" fmla="*/ 16507 h 28827"/>
                  <a:gd name="connsiteX23" fmla="*/ 5741 w 35644"/>
                  <a:gd name="connsiteY23" fmla="*/ 15729 h 28827"/>
                  <a:gd name="connsiteX24" fmla="*/ 4845 w 35644"/>
                  <a:gd name="connsiteY24" fmla="*/ 15191 h 28827"/>
                  <a:gd name="connsiteX25" fmla="*/ 4486 w 35644"/>
                  <a:gd name="connsiteY25" fmla="*/ 14952 h 28827"/>
                  <a:gd name="connsiteX26" fmla="*/ 3708 w 35644"/>
                  <a:gd name="connsiteY26" fmla="*/ 14473 h 28827"/>
                  <a:gd name="connsiteX27" fmla="*/ 3708 w 35644"/>
                  <a:gd name="connsiteY27" fmla="*/ 14473 h 28827"/>
                  <a:gd name="connsiteX28" fmla="*/ 3588 w 35644"/>
                  <a:gd name="connsiteY28" fmla="*/ 14414 h 28827"/>
                  <a:gd name="connsiteX29" fmla="*/ 2990 w 35644"/>
                  <a:gd name="connsiteY29" fmla="*/ 14055 h 28827"/>
                  <a:gd name="connsiteX30" fmla="*/ 2452 w 35644"/>
                  <a:gd name="connsiteY30" fmla="*/ 13756 h 28827"/>
                  <a:gd name="connsiteX31" fmla="*/ 1017 w 35644"/>
                  <a:gd name="connsiteY31" fmla="*/ 12918 h 28827"/>
                  <a:gd name="connsiteX32" fmla="*/ 598 w 35644"/>
                  <a:gd name="connsiteY32" fmla="*/ 12679 h 28827"/>
                  <a:gd name="connsiteX33" fmla="*/ 598 w 35644"/>
                  <a:gd name="connsiteY33" fmla="*/ 12679 h 28827"/>
                  <a:gd name="connsiteX34" fmla="*/ 598 w 35644"/>
                  <a:gd name="connsiteY34" fmla="*/ 12679 h 28827"/>
                  <a:gd name="connsiteX35" fmla="*/ 60 w 35644"/>
                  <a:gd name="connsiteY35" fmla="*/ 10885 h 28827"/>
                  <a:gd name="connsiteX36" fmla="*/ 60 w 35644"/>
                  <a:gd name="connsiteY36" fmla="*/ 10885 h 28827"/>
                  <a:gd name="connsiteX37" fmla="*/ 60 w 35644"/>
                  <a:gd name="connsiteY37" fmla="*/ 10885 h 28827"/>
                  <a:gd name="connsiteX38" fmla="*/ 0 w 35644"/>
                  <a:gd name="connsiteY38" fmla="*/ 10586 h 28827"/>
                  <a:gd name="connsiteX39" fmla="*/ 718 w 35644"/>
                  <a:gd name="connsiteY39" fmla="*/ 9330 h 28827"/>
                  <a:gd name="connsiteX40" fmla="*/ 718 w 35644"/>
                  <a:gd name="connsiteY40" fmla="*/ 9330 h 28827"/>
                  <a:gd name="connsiteX41" fmla="*/ 718 w 35644"/>
                  <a:gd name="connsiteY41" fmla="*/ 9330 h 28827"/>
                  <a:gd name="connsiteX42" fmla="*/ 1495 w 35644"/>
                  <a:gd name="connsiteY42" fmla="*/ 8074 h 28827"/>
                  <a:gd name="connsiteX43" fmla="*/ 2392 w 35644"/>
                  <a:gd name="connsiteY43" fmla="*/ 6519 h 28827"/>
                  <a:gd name="connsiteX44" fmla="*/ 4665 w 35644"/>
                  <a:gd name="connsiteY44" fmla="*/ 2632 h 28827"/>
                  <a:gd name="connsiteX45" fmla="*/ 4785 w 35644"/>
                  <a:gd name="connsiteY45" fmla="*/ 2392 h 28827"/>
                  <a:gd name="connsiteX46" fmla="*/ 5083 w 35644"/>
                  <a:gd name="connsiteY46" fmla="*/ 1854 h 28827"/>
                  <a:gd name="connsiteX47" fmla="*/ 5143 w 35644"/>
                  <a:gd name="connsiteY47" fmla="*/ 1734 h 28827"/>
                  <a:gd name="connsiteX48" fmla="*/ 5203 w 35644"/>
                  <a:gd name="connsiteY48" fmla="*/ 1615 h 28827"/>
                  <a:gd name="connsiteX49" fmla="*/ 5622 w 35644"/>
                  <a:gd name="connsiteY49" fmla="*/ 957 h 28827"/>
                  <a:gd name="connsiteX50" fmla="*/ 5622 w 35644"/>
                  <a:gd name="connsiteY50" fmla="*/ 897 h 28827"/>
                  <a:gd name="connsiteX51" fmla="*/ 5801 w 35644"/>
                  <a:gd name="connsiteY51" fmla="*/ 538 h 28827"/>
                  <a:gd name="connsiteX52" fmla="*/ 6220 w 35644"/>
                  <a:gd name="connsiteY52" fmla="*/ 419 h 28827"/>
                  <a:gd name="connsiteX53" fmla="*/ 7775 w 35644"/>
                  <a:gd name="connsiteY53" fmla="*/ 60 h 28827"/>
                  <a:gd name="connsiteX54" fmla="*/ 7954 w 35644"/>
                  <a:gd name="connsiteY54" fmla="*/ 0 h 28827"/>
                  <a:gd name="connsiteX55" fmla="*/ 7954 w 35644"/>
                  <a:gd name="connsiteY55" fmla="*/ 0 h 28827"/>
                  <a:gd name="connsiteX56" fmla="*/ 8911 w 35644"/>
                  <a:gd name="connsiteY56" fmla="*/ 598 h 28827"/>
                  <a:gd name="connsiteX57" fmla="*/ 10167 w 35644"/>
                  <a:gd name="connsiteY57" fmla="*/ 1316 h 28827"/>
                  <a:gd name="connsiteX58" fmla="*/ 10646 w 35644"/>
                  <a:gd name="connsiteY58" fmla="*/ 1615 h 28827"/>
                  <a:gd name="connsiteX59" fmla="*/ 10706 w 35644"/>
                  <a:gd name="connsiteY59" fmla="*/ 1675 h 28827"/>
                  <a:gd name="connsiteX60" fmla="*/ 11304 w 35644"/>
                  <a:gd name="connsiteY60" fmla="*/ 2033 h 28827"/>
                  <a:gd name="connsiteX61" fmla="*/ 11423 w 35644"/>
                  <a:gd name="connsiteY61" fmla="*/ 2093 h 28827"/>
                  <a:gd name="connsiteX62" fmla="*/ 11423 w 35644"/>
                  <a:gd name="connsiteY62" fmla="*/ 2093 h 28827"/>
                  <a:gd name="connsiteX63" fmla="*/ 11423 w 35644"/>
                  <a:gd name="connsiteY63" fmla="*/ 2093 h 28827"/>
                  <a:gd name="connsiteX64" fmla="*/ 12081 w 35644"/>
                  <a:gd name="connsiteY64" fmla="*/ 2512 h 28827"/>
                  <a:gd name="connsiteX65" fmla="*/ 12141 w 35644"/>
                  <a:gd name="connsiteY65" fmla="*/ 2572 h 28827"/>
                  <a:gd name="connsiteX66" fmla="*/ 12978 w 35644"/>
                  <a:gd name="connsiteY66" fmla="*/ 3050 h 28827"/>
                  <a:gd name="connsiteX67" fmla="*/ 13696 w 35644"/>
                  <a:gd name="connsiteY67" fmla="*/ 3469 h 28827"/>
                  <a:gd name="connsiteX68" fmla="*/ 14474 w 35644"/>
                  <a:gd name="connsiteY68" fmla="*/ 3947 h 28827"/>
                  <a:gd name="connsiteX69" fmla="*/ 15251 w 35644"/>
                  <a:gd name="connsiteY69" fmla="*/ 4366 h 28827"/>
                  <a:gd name="connsiteX70" fmla="*/ 15550 w 35644"/>
                  <a:gd name="connsiteY70" fmla="*/ 4545 h 28827"/>
                  <a:gd name="connsiteX71" fmla="*/ 17584 w 35644"/>
                  <a:gd name="connsiteY71" fmla="*/ 5742 h 28827"/>
                  <a:gd name="connsiteX72" fmla="*/ 17763 w 35644"/>
                  <a:gd name="connsiteY72" fmla="*/ 5861 h 28827"/>
                  <a:gd name="connsiteX73" fmla="*/ 17942 w 35644"/>
                  <a:gd name="connsiteY73" fmla="*/ 5981 h 28827"/>
                  <a:gd name="connsiteX74" fmla="*/ 18122 w 35644"/>
                  <a:gd name="connsiteY74" fmla="*/ 6100 h 28827"/>
                  <a:gd name="connsiteX75" fmla="*/ 18122 w 35644"/>
                  <a:gd name="connsiteY75" fmla="*/ 6100 h 28827"/>
                  <a:gd name="connsiteX76" fmla="*/ 24043 w 35644"/>
                  <a:gd name="connsiteY76" fmla="*/ 9569 h 28827"/>
                  <a:gd name="connsiteX77" fmla="*/ 32655 w 35644"/>
                  <a:gd name="connsiteY77" fmla="*/ 14593 h 28827"/>
                  <a:gd name="connsiteX78" fmla="*/ 33193 w 35644"/>
                  <a:gd name="connsiteY78" fmla="*/ 14892 h 28827"/>
                  <a:gd name="connsiteX79" fmla="*/ 33731 w 35644"/>
                  <a:gd name="connsiteY79" fmla="*/ 15251 h 28827"/>
                  <a:gd name="connsiteX80" fmla="*/ 35167 w 35644"/>
                  <a:gd name="connsiteY80" fmla="*/ 16148 h 28827"/>
                  <a:gd name="connsiteX81" fmla="*/ 35227 w 35644"/>
                  <a:gd name="connsiteY81" fmla="*/ 16447 h 28827"/>
                  <a:gd name="connsiteX82" fmla="*/ 35645 w 35644"/>
                  <a:gd name="connsiteY82" fmla="*/ 18122 h 28827"/>
                  <a:gd name="connsiteX83" fmla="*/ 35585 w 35644"/>
                  <a:gd name="connsiteY83" fmla="*/ 18241 h 28827"/>
                  <a:gd name="connsiteX84" fmla="*/ 35346 w 35644"/>
                  <a:gd name="connsiteY84" fmla="*/ 18660 h 28827"/>
                  <a:gd name="connsiteX85" fmla="*/ 35346 w 35644"/>
                  <a:gd name="connsiteY85" fmla="*/ 18660 h 28827"/>
                  <a:gd name="connsiteX86" fmla="*/ 35346 w 35644"/>
                  <a:gd name="connsiteY86" fmla="*/ 18720 h 28827"/>
                  <a:gd name="connsiteX87" fmla="*/ 35286 w 35644"/>
                  <a:gd name="connsiteY87" fmla="*/ 18779 h 28827"/>
                  <a:gd name="connsiteX88" fmla="*/ 34987 w 35644"/>
                  <a:gd name="connsiteY88" fmla="*/ 19258 h 28827"/>
                  <a:gd name="connsiteX89" fmla="*/ 34927 w 35644"/>
                  <a:gd name="connsiteY89" fmla="*/ 19318 h 28827"/>
                  <a:gd name="connsiteX90" fmla="*/ 34808 w 35644"/>
                  <a:gd name="connsiteY90" fmla="*/ 19497 h 28827"/>
                  <a:gd name="connsiteX91" fmla="*/ 34329 w 35644"/>
                  <a:gd name="connsiteY91" fmla="*/ 20334 h 28827"/>
                  <a:gd name="connsiteX92" fmla="*/ 33971 w 35644"/>
                  <a:gd name="connsiteY92" fmla="*/ 20933 h 28827"/>
                  <a:gd name="connsiteX93" fmla="*/ 33492 w 35644"/>
                  <a:gd name="connsiteY93" fmla="*/ 21770 h 28827"/>
                  <a:gd name="connsiteX94" fmla="*/ 33253 w 35644"/>
                  <a:gd name="connsiteY94" fmla="*/ 22129 h 28827"/>
                  <a:gd name="connsiteX95" fmla="*/ 33253 w 35644"/>
                  <a:gd name="connsiteY95" fmla="*/ 22189 h 28827"/>
                  <a:gd name="connsiteX96" fmla="*/ 33133 w 35644"/>
                  <a:gd name="connsiteY96" fmla="*/ 22368 h 28827"/>
                  <a:gd name="connsiteX97" fmla="*/ 31818 w 35644"/>
                  <a:gd name="connsiteY97" fmla="*/ 24581 h 28827"/>
                  <a:gd name="connsiteX98" fmla="*/ 31818 w 35644"/>
                  <a:gd name="connsiteY98" fmla="*/ 24581 h 28827"/>
                  <a:gd name="connsiteX99" fmla="*/ 31758 w 35644"/>
                  <a:gd name="connsiteY99" fmla="*/ 24641 h 28827"/>
                  <a:gd name="connsiteX100" fmla="*/ 30861 w 35644"/>
                  <a:gd name="connsiteY100" fmla="*/ 26136 h 28827"/>
                  <a:gd name="connsiteX101" fmla="*/ 30442 w 35644"/>
                  <a:gd name="connsiteY101" fmla="*/ 26853 h 28827"/>
                  <a:gd name="connsiteX102" fmla="*/ 29545 w 35644"/>
                  <a:gd name="connsiteY102" fmla="*/ 28289 h 2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5644" h="28827">
                    <a:moveTo>
                      <a:pt x="29545" y="28289"/>
                    </a:moveTo>
                    <a:lnTo>
                      <a:pt x="27930" y="28767"/>
                    </a:lnTo>
                    <a:lnTo>
                      <a:pt x="27631" y="28827"/>
                    </a:lnTo>
                    <a:lnTo>
                      <a:pt x="27213" y="28588"/>
                    </a:lnTo>
                    <a:lnTo>
                      <a:pt x="26734" y="28289"/>
                    </a:lnTo>
                    <a:lnTo>
                      <a:pt x="26196" y="27990"/>
                    </a:lnTo>
                    <a:lnTo>
                      <a:pt x="25896" y="27810"/>
                    </a:lnTo>
                    <a:lnTo>
                      <a:pt x="25598" y="27631"/>
                    </a:lnTo>
                    <a:lnTo>
                      <a:pt x="25060" y="27272"/>
                    </a:lnTo>
                    <a:lnTo>
                      <a:pt x="24282" y="26794"/>
                    </a:lnTo>
                    <a:lnTo>
                      <a:pt x="24102" y="26674"/>
                    </a:lnTo>
                    <a:lnTo>
                      <a:pt x="16327" y="22069"/>
                    </a:lnTo>
                    <a:lnTo>
                      <a:pt x="12440" y="19796"/>
                    </a:lnTo>
                    <a:lnTo>
                      <a:pt x="10706" y="18779"/>
                    </a:lnTo>
                    <a:lnTo>
                      <a:pt x="10406" y="18600"/>
                    </a:lnTo>
                    <a:lnTo>
                      <a:pt x="10347" y="18540"/>
                    </a:lnTo>
                    <a:lnTo>
                      <a:pt x="9211" y="17882"/>
                    </a:lnTo>
                    <a:lnTo>
                      <a:pt x="9151" y="17823"/>
                    </a:lnTo>
                    <a:lnTo>
                      <a:pt x="9091" y="17763"/>
                    </a:lnTo>
                    <a:lnTo>
                      <a:pt x="9091" y="17763"/>
                    </a:lnTo>
                    <a:lnTo>
                      <a:pt x="8253" y="17284"/>
                    </a:lnTo>
                    <a:lnTo>
                      <a:pt x="7954" y="17105"/>
                    </a:lnTo>
                    <a:lnTo>
                      <a:pt x="6998" y="16507"/>
                    </a:lnTo>
                    <a:lnTo>
                      <a:pt x="5741" y="15729"/>
                    </a:lnTo>
                    <a:lnTo>
                      <a:pt x="4845" y="15191"/>
                    </a:lnTo>
                    <a:lnTo>
                      <a:pt x="4486" y="14952"/>
                    </a:lnTo>
                    <a:lnTo>
                      <a:pt x="3708" y="14473"/>
                    </a:lnTo>
                    <a:lnTo>
                      <a:pt x="3708" y="14473"/>
                    </a:lnTo>
                    <a:lnTo>
                      <a:pt x="3588" y="14414"/>
                    </a:lnTo>
                    <a:lnTo>
                      <a:pt x="2990" y="14055"/>
                    </a:lnTo>
                    <a:lnTo>
                      <a:pt x="2452" y="13756"/>
                    </a:lnTo>
                    <a:lnTo>
                      <a:pt x="1017" y="12918"/>
                    </a:lnTo>
                    <a:lnTo>
                      <a:pt x="598" y="12679"/>
                    </a:lnTo>
                    <a:lnTo>
                      <a:pt x="598" y="12679"/>
                    </a:lnTo>
                    <a:lnTo>
                      <a:pt x="598" y="12679"/>
                    </a:lnTo>
                    <a:lnTo>
                      <a:pt x="60" y="10885"/>
                    </a:lnTo>
                    <a:lnTo>
                      <a:pt x="60" y="10885"/>
                    </a:lnTo>
                    <a:lnTo>
                      <a:pt x="60" y="10885"/>
                    </a:lnTo>
                    <a:lnTo>
                      <a:pt x="0" y="10586"/>
                    </a:lnTo>
                    <a:lnTo>
                      <a:pt x="718" y="9330"/>
                    </a:lnTo>
                    <a:lnTo>
                      <a:pt x="718" y="9330"/>
                    </a:lnTo>
                    <a:lnTo>
                      <a:pt x="718" y="9330"/>
                    </a:lnTo>
                    <a:lnTo>
                      <a:pt x="1495" y="8074"/>
                    </a:lnTo>
                    <a:lnTo>
                      <a:pt x="2392" y="6519"/>
                    </a:lnTo>
                    <a:lnTo>
                      <a:pt x="4665" y="2632"/>
                    </a:lnTo>
                    <a:lnTo>
                      <a:pt x="4785" y="2392"/>
                    </a:lnTo>
                    <a:lnTo>
                      <a:pt x="5083" y="1854"/>
                    </a:lnTo>
                    <a:lnTo>
                      <a:pt x="5143" y="1734"/>
                    </a:lnTo>
                    <a:lnTo>
                      <a:pt x="5203" y="1615"/>
                    </a:lnTo>
                    <a:lnTo>
                      <a:pt x="5622" y="957"/>
                    </a:lnTo>
                    <a:lnTo>
                      <a:pt x="5622" y="897"/>
                    </a:lnTo>
                    <a:lnTo>
                      <a:pt x="5801" y="538"/>
                    </a:lnTo>
                    <a:lnTo>
                      <a:pt x="6220" y="419"/>
                    </a:lnTo>
                    <a:lnTo>
                      <a:pt x="7775" y="60"/>
                    </a:lnTo>
                    <a:lnTo>
                      <a:pt x="7954" y="0"/>
                    </a:lnTo>
                    <a:lnTo>
                      <a:pt x="7954" y="0"/>
                    </a:lnTo>
                    <a:lnTo>
                      <a:pt x="8911" y="598"/>
                    </a:lnTo>
                    <a:lnTo>
                      <a:pt x="10167" y="1316"/>
                    </a:lnTo>
                    <a:lnTo>
                      <a:pt x="10646" y="1615"/>
                    </a:lnTo>
                    <a:lnTo>
                      <a:pt x="10706" y="1675"/>
                    </a:lnTo>
                    <a:lnTo>
                      <a:pt x="11304" y="2033"/>
                    </a:lnTo>
                    <a:lnTo>
                      <a:pt x="11423" y="2093"/>
                    </a:lnTo>
                    <a:lnTo>
                      <a:pt x="11423" y="2093"/>
                    </a:lnTo>
                    <a:lnTo>
                      <a:pt x="11423" y="2093"/>
                    </a:lnTo>
                    <a:lnTo>
                      <a:pt x="12081" y="2512"/>
                    </a:lnTo>
                    <a:lnTo>
                      <a:pt x="12141" y="2572"/>
                    </a:lnTo>
                    <a:lnTo>
                      <a:pt x="12978" y="3050"/>
                    </a:lnTo>
                    <a:lnTo>
                      <a:pt x="13696" y="3469"/>
                    </a:lnTo>
                    <a:lnTo>
                      <a:pt x="14474" y="3947"/>
                    </a:lnTo>
                    <a:lnTo>
                      <a:pt x="15251" y="4366"/>
                    </a:lnTo>
                    <a:lnTo>
                      <a:pt x="15550" y="4545"/>
                    </a:lnTo>
                    <a:lnTo>
                      <a:pt x="17584" y="5742"/>
                    </a:lnTo>
                    <a:lnTo>
                      <a:pt x="17763" y="5861"/>
                    </a:lnTo>
                    <a:lnTo>
                      <a:pt x="17942" y="5981"/>
                    </a:lnTo>
                    <a:lnTo>
                      <a:pt x="18122" y="6100"/>
                    </a:lnTo>
                    <a:lnTo>
                      <a:pt x="18122" y="6100"/>
                    </a:lnTo>
                    <a:lnTo>
                      <a:pt x="24043" y="9569"/>
                    </a:lnTo>
                    <a:lnTo>
                      <a:pt x="32655" y="14593"/>
                    </a:lnTo>
                    <a:lnTo>
                      <a:pt x="33193" y="14892"/>
                    </a:lnTo>
                    <a:lnTo>
                      <a:pt x="33731" y="15251"/>
                    </a:lnTo>
                    <a:lnTo>
                      <a:pt x="35167" y="16148"/>
                    </a:lnTo>
                    <a:lnTo>
                      <a:pt x="35227" y="16447"/>
                    </a:lnTo>
                    <a:lnTo>
                      <a:pt x="35645" y="18122"/>
                    </a:lnTo>
                    <a:lnTo>
                      <a:pt x="35585" y="18241"/>
                    </a:lnTo>
                    <a:lnTo>
                      <a:pt x="35346" y="18660"/>
                    </a:lnTo>
                    <a:lnTo>
                      <a:pt x="35346" y="18660"/>
                    </a:lnTo>
                    <a:lnTo>
                      <a:pt x="35346" y="18720"/>
                    </a:lnTo>
                    <a:lnTo>
                      <a:pt x="35286" y="18779"/>
                    </a:lnTo>
                    <a:lnTo>
                      <a:pt x="34987" y="19258"/>
                    </a:lnTo>
                    <a:lnTo>
                      <a:pt x="34927" y="19318"/>
                    </a:lnTo>
                    <a:lnTo>
                      <a:pt x="34808" y="19497"/>
                    </a:lnTo>
                    <a:lnTo>
                      <a:pt x="34329" y="20334"/>
                    </a:lnTo>
                    <a:lnTo>
                      <a:pt x="33971" y="20933"/>
                    </a:lnTo>
                    <a:lnTo>
                      <a:pt x="33492" y="21770"/>
                    </a:lnTo>
                    <a:lnTo>
                      <a:pt x="33253" y="22129"/>
                    </a:lnTo>
                    <a:lnTo>
                      <a:pt x="33253" y="22189"/>
                    </a:lnTo>
                    <a:lnTo>
                      <a:pt x="33133" y="22368"/>
                    </a:lnTo>
                    <a:lnTo>
                      <a:pt x="31818" y="24581"/>
                    </a:lnTo>
                    <a:lnTo>
                      <a:pt x="31818" y="24581"/>
                    </a:lnTo>
                    <a:lnTo>
                      <a:pt x="31758" y="24641"/>
                    </a:lnTo>
                    <a:lnTo>
                      <a:pt x="30861" y="26136"/>
                    </a:lnTo>
                    <a:lnTo>
                      <a:pt x="30442" y="26853"/>
                    </a:lnTo>
                    <a:lnTo>
                      <a:pt x="29545" y="28289"/>
                    </a:lnTo>
                  </a:path>
                </a:pathLst>
              </a:custGeom>
              <a:noFill/>
              <a:ln w="6350" cap="rnd">
                <a:solidFill>
                  <a:schemeClr val="bg1">
                    <a:alpha val="80000"/>
                  </a:schemeClr>
                </a:solidFill>
                <a:prstDash val="solid"/>
                <a:round/>
              </a:ln>
            </p:spPr>
            <p:txBody>
              <a:bodyPr rtlCol="0" anchor="ctr"/>
              <a:lstStyle/>
              <a:p>
                <a:endParaRPr lang="en-GB"/>
              </a:p>
            </p:txBody>
          </p:sp>
          <p:sp>
            <p:nvSpPr>
              <p:cNvPr id="6409" name="Vrije vorm: vorm 6408">
                <a:extLst>
                  <a:ext uri="{FF2B5EF4-FFF2-40B4-BE49-F238E27FC236}">
                    <a16:creationId xmlns:a16="http://schemas.microsoft.com/office/drawing/2014/main" id="{92E1CCC2-48A4-4FD0-8C47-83AF98891210}"/>
                  </a:ext>
                </a:extLst>
              </p:cNvPr>
              <p:cNvSpPr/>
              <p:nvPr/>
            </p:nvSpPr>
            <p:spPr>
              <a:xfrm>
                <a:off x="6984785" y="1847664"/>
                <a:ext cx="8193" cy="12260"/>
              </a:xfrm>
              <a:custGeom>
                <a:avLst/>
                <a:gdLst>
                  <a:gd name="connsiteX0" fmla="*/ 0 w 8193"/>
                  <a:gd name="connsiteY0" fmla="*/ 12260 h 12260"/>
                  <a:gd name="connsiteX1" fmla="*/ 718 w 8193"/>
                  <a:gd name="connsiteY1" fmla="*/ 11064 h 12260"/>
                  <a:gd name="connsiteX2" fmla="*/ 1794 w 8193"/>
                  <a:gd name="connsiteY2" fmla="*/ 9270 h 12260"/>
                  <a:gd name="connsiteX3" fmla="*/ 3588 w 8193"/>
                  <a:gd name="connsiteY3" fmla="*/ 6220 h 12260"/>
                  <a:gd name="connsiteX4" fmla="*/ 3947 w 8193"/>
                  <a:gd name="connsiteY4" fmla="*/ 5622 h 12260"/>
                  <a:gd name="connsiteX5" fmla="*/ 4366 w 8193"/>
                  <a:gd name="connsiteY5" fmla="*/ 4964 h 12260"/>
                  <a:gd name="connsiteX6" fmla="*/ 3648 w 8193"/>
                  <a:gd name="connsiteY6" fmla="*/ 4545 h 12260"/>
                  <a:gd name="connsiteX7" fmla="*/ 3588 w 8193"/>
                  <a:gd name="connsiteY7" fmla="*/ 4486 h 12260"/>
                  <a:gd name="connsiteX8" fmla="*/ 1495 w 8193"/>
                  <a:gd name="connsiteY8" fmla="*/ 3170 h 12260"/>
                  <a:gd name="connsiteX9" fmla="*/ 1495 w 8193"/>
                  <a:gd name="connsiteY9" fmla="*/ 3170 h 12260"/>
                  <a:gd name="connsiteX10" fmla="*/ 1435 w 8193"/>
                  <a:gd name="connsiteY10" fmla="*/ 3170 h 12260"/>
                  <a:gd name="connsiteX11" fmla="*/ 418 w 8193"/>
                  <a:gd name="connsiteY11" fmla="*/ 2512 h 12260"/>
                  <a:gd name="connsiteX12" fmla="*/ 478 w 8193"/>
                  <a:gd name="connsiteY12" fmla="*/ 2392 h 12260"/>
                  <a:gd name="connsiteX13" fmla="*/ 538 w 8193"/>
                  <a:gd name="connsiteY13" fmla="*/ 2332 h 12260"/>
                  <a:gd name="connsiteX14" fmla="*/ 897 w 8193"/>
                  <a:gd name="connsiteY14" fmla="*/ 1675 h 12260"/>
                  <a:gd name="connsiteX15" fmla="*/ 1316 w 8193"/>
                  <a:gd name="connsiteY15" fmla="*/ 1017 h 12260"/>
                  <a:gd name="connsiteX16" fmla="*/ 1316 w 8193"/>
                  <a:gd name="connsiteY16" fmla="*/ 1017 h 12260"/>
                  <a:gd name="connsiteX17" fmla="*/ 1914 w 8193"/>
                  <a:gd name="connsiteY17" fmla="*/ 0 h 12260"/>
                  <a:gd name="connsiteX18" fmla="*/ 3469 w 8193"/>
                  <a:gd name="connsiteY18" fmla="*/ 897 h 12260"/>
                  <a:gd name="connsiteX19" fmla="*/ 5143 w 8193"/>
                  <a:gd name="connsiteY19" fmla="*/ 1914 h 12260"/>
                  <a:gd name="connsiteX20" fmla="*/ 5203 w 8193"/>
                  <a:gd name="connsiteY20" fmla="*/ 1974 h 12260"/>
                  <a:gd name="connsiteX21" fmla="*/ 7416 w 8193"/>
                  <a:gd name="connsiteY21" fmla="*/ 3289 h 12260"/>
                  <a:gd name="connsiteX22" fmla="*/ 8194 w 8193"/>
                  <a:gd name="connsiteY22" fmla="*/ 3768 h 1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193" h="12260">
                    <a:moveTo>
                      <a:pt x="0" y="12260"/>
                    </a:moveTo>
                    <a:lnTo>
                      <a:pt x="718" y="11064"/>
                    </a:lnTo>
                    <a:lnTo>
                      <a:pt x="1794" y="9270"/>
                    </a:lnTo>
                    <a:lnTo>
                      <a:pt x="3588" y="6220"/>
                    </a:lnTo>
                    <a:lnTo>
                      <a:pt x="3947" y="5622"/>
                    </a:lnTo>
                    <a:lnTo>
                      <a:pt x="4366" y="4964"/>
                    </a:lnTo>
                    <a:lnTo>
                      <a:pt x="3648" y="4545"/>
                    </a:lnTo>
                    <a:lnTo>
                      <a:pt x="3588" y="4486"/>
                    </a:lnTo>
                    <a:lnTo>
                      <a:pt x="1495" y="3170"/>
                    </a:lnTo>
                    <a:lnTo>
                      <a:pt x="1495" y="3170"/>
                    </a:lnTo>
                    <a:lnTo>
                      <a:pt x="1435" y="3170"/>
                    </a:lnTo>
                    <a:lnTo>
                      <a:pt x="418" y="2512"/>
                    </a:lnTo>
                    <a:lnTo>
                      <a:pt x="478" y="2392"/>
                    </a:lnTo>
                    <a:lnTo>
                      <a:pt x="538" y="2332"/>
                    </a:lnTo>
                    <a:lnTo>
                      <a:pt x="897" y="1675"/>
                    </a:lnTo>
                    <a:lnTo>
                      <a:pt x="1316" y="1017"/>
                    </a:lnTo>
                    <a:lnTo>
                      <a:pt x="1316" y="1017"/>
                    </a:lnTo>
                    <a:lnTo>
                      <a:pt x="1914" y="0"/>
                    </a:lnTo>
                    <a:lnTo>
                      <a:pt x="3469" y="897"/>
                    </a:lnTo>
                    <a:lnTo>
                      <a:pt x="5143" y="1914"/>
                    </a:lnTo>
                    <a:lnTo>
                      <a:pt x="5203" y="1974"/>
                    </a:lnTo>
                    <a:lnTo>
                      <a:pt x="7416" y="3289"/>
                    </a:lnTo>
                    <a:lnTo>
                      <a:pt x="8194" y="3768"/>
                    </a:lnTo>
                  </a:path>
                </a:pathLst>
              </a:custGeom>
              <a:noFill/>
              <a:ln w="6350" cap="rnd">
                <a:solidFill>
                  <a:schemeClr val="bg1">
                    <a:alpha val="80000"/>
                  </a:schemeClr>
                </a:solidFill>
                <a:prstDash val="solid"/>
                <a:round/>
              </a:ln>
            </p:spPr>
            <p:txBody>
              <a:bodyPr rtlCol="0" anchor="ctr"/>
              <a:lstStyle/>
              <a:p>
                <a:endParaRPr lang="en-GB"/>
              </a:p>
            </p:txBody>
          </p:sp>
          <p:sp>
            <p:nvSpPr>
              <p:cNvPr id="6410" name="Vrije vorm: vorm 6409">
                <a:extLst>
                  <a:ext uri="{FF2B5EF4-FFF2-40B4-BE49-F238E27FC236}">
                    <a16:creationId xmlns:a16="http://schemas.microsoft.com/office/drawing/2014/main" id="{7B802C75-C99B-4B29-A9F6-0214B854FA09}"/>
                  </a:ext>
                </a:extLst>
              </p:cNvPr>
              <p:cNvSpPr/>
              <p:nvPr/>
            </p:nvSpPr>
            <p:spPr>
              <a:xfrm>
                <a:off x="6842922" y="1769078"/>
                <a:ext cx="15251" cy="13695"/>
              </a:xfrm>
              <a:custGeom>
                <a:avLst/>
                <a:gdLst>
                  <a:gd name="connsiteX0" fmla="*/ 11065 w 15251"/>
                  <a:gd name="connsiteY0" fmla="*/ 13696 h 13695"/>
                  <a:gd name="connsiteX1" fmla="*/ 15251 w 15251"/>
                  <a:gd name="connsiteY1" fmla="*/ 6639 h 13695"/>
                  <a:gd name="connsiteX2" fmla="*/ 10347 w 15251"/>
                  <a:gd name="connsiteY2" fmla="*/ 3648 h 13695"/>
                  <a:gd name="connsiteX3" fmla="*/ 7476 w 15251"/>
                  <a:gd name="connsiteY3" fmla="*/ 1914 h 13695"/>
                  <a:gd name="connsiteX4" fmla="*/ 4187 w 15251"/>
                  <a:gd name="connsiteY4" fmla="*/ 0 h 13695"/>
                  <a:gd name="connsiteX5" fmla="*/ 0 w 15251"/>
                  <a:gd name="connsiteY5" fmla="*/ 7117 h 1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51" h="13695">
                    <a:moveTo>
                      <a:pt x="11065" y="13696"/>
                    </a:moveTo>
                    <a:lnTo>
                      <a:pt x="15251" y="6639"/>
                    </a:lnTo>
                    <a:lnTo>
                      <a:pt x="10347" y="3648"/>
                    </a:lnTo>
                    <a:lnTo>
                      <a:pt x="7476" y="1914"/>
                    </a:lnTo>
                    <a:lnTo>
                      <a:pt x="4187" y="0"/>
                    </a:lnTo>
                    <a:lnTo>
                      <a:pt x="0" y="7117"/>
                    </a:lnTo>
                  </a:path>
                </a:pathLst>
              </a:custGeom>
              <a:noFill/>
              <a:ln w="6350" cap="rnd">
                <a:solidFill>
                  <a:schemeClr val="bg1">
                    <a:alpha val="80000"/>
                  </a:schemeClr>
                </a:solidFill>
                <a:prstDash val="solid"/>
                <a:round/>
              </a:ln>
            </p:spPr>
            <p:txBody>
              <a:bodyPr rtlCol="0" anchor="ctr"/>
              <a:lstStyle/>
              <a:p>
                <a:endParaRPr lang="en-GB"/>
              </a:p>
            </p:txBody>
          </p:sp>
          <p:sp>
            <p:nvSpPr>
              <p:cNvPr id="6411" name="Vrije vorm: vorm 6410">
                <a:extLst>
                  <a:ext uri="{FF2B5EF4-FFF2-40B4-BE49-F238E27FC236}">
                    <a16:creationId xmlns:a16="http://schemas.microsoft.com/office/drawing/2014/main" id="{6321E3B4-B078-4C16-AF2A-79501BC2BE5B}"/>
                  </a:ext>
                </a:extLst>
              </p:cNvPr>
              <p:cNvSpPr/>
              <p:nvPr/>
            </p:nvSpPr>
            <p:spPr>
              <a:xfrm>
                <a:off x="6887419" y="1904780"/>
                <a:ext cx="81038" cy="155020"/>
              </a:xfrm>
              <a:custGeom>
                <a:avLst/>
                <a:gdLst>
                  <a:gd name="connsiteX0" fmla="*/ 69197 w 81038"/>
                  <a:gd name="connsiteY0" fmla="*/ 42403 h 155020"/>
                  <a:gd name="connsiteX1" fmla="*/ 66685 w 81038"/>
                  <a:gd name="connsiteY1" fmla="*/ 41566 h 155020"/>
                  <a:gd name="connsiteX2" fmla="*/ 65848 w 81038"/>
                  <a:gd name="connsiteY2" fmla="*/ 41267 h 155020"/>
                  <a:gd name="connsiteX3" fmla="*/ 64771 w 81038"/>
                  <a:gd name="connsiteY3" fmla="*/ 40908 h 155020"/>
                  <a:gd name="connsiteX4" fmla="*/ 62558 w 81038"/>
                  <a:gd name="connsiteY4" fmla="*/ 40131 h 155020"/>
                  <a:gd name="connsiteX5" fmla="*/ 62438 w 81038"/>
                  <a:gd name="connsiteY5" fmla="*/ 40071 h 155020"/>
                  <a:gd name="connsiteX6" fmla="*/ 61781 w 81038"/>
                  <a:gd name="connsiteY6" fmla="*/ 39832 h 155020"/>
                  <a:gd name="connsiteX7" fmla="*/ 61123 w 81038"/>
                  <a:gd name="connsiteY7" fmla="*/ 39592 h 155020"/>
                  <a:gd name="connsiteX8" fmla="*/ 61123 w 81038"/>
                  <a:gd name="connsiteY8" fmla="*/ 39592 h 155020"/>
                  <a:gd name="connsiteX9" fmla="*/ 58132 w 81038"/>
                  <a:gd name="connsiteY9" fmla="*/ 38097 h 155020"/>
                  <a:gd name="connsiteX10" fmla="*/ 56996 w 81038"/>
                  <a:gd name="connsiteY10" fmla="*/ 37499 h 155020"/>
                  <a:gd name="connsiteX11" fmla="*/ 56398 w 81038"/>
                  <a:gd name="connsiteY11" fmla="*/ 37200 h 155020"/>
                  <a:gd name="connsiteX12" fmla="*/ 56338 w 81038"/>
                  <a:gd name="connsiteY12" fmla="*/ 37200 h 155020"/>
                  <a:gd name="connsiteX13" fmla="*/ 54484 w 81038"/>
                  <a:gd name="connsiteY13" fmla="*/ 35884 h 155020"/>
                  <a:gd name="connsiteX14" fmla="*/ 54424 w 81038"/>
                  <a:gd name="connsiteY14" fmla="*/ 35825 h 155020"/>
                  <a:gd name="connsiteX15" fmla="*/ 52451 w 81038"/>
                  <a:gd name="connsiteY15" fmla="*/ 34389 h 155020"/>
                  <a:gd name="connsiteX16" fmla="*/ 52451 w 81038"/>
                  <a:gd name="connsiteY16" fmla="*/ 34389 h 155020"/>
                  <a:gd name="connsiteX17" fmla="*/ 51793 w 81038"/>
                  <a:gd name="connsiteY17" fmla="*/ 33911 h 155020"/>
                  <a:gd name="connsiteX18" fmla="*/ 50238 w 81038"/>
                  <a:gd name="connsiteY18" fmla="*/ 32774 h 155020"/>
                  <a:gd name="connsiteX19" fmla="*/ 49341 w 81038"/>
                  <a:gd name="connsiteY19" fmla="*/ 32117 h 155020"/>
                  <a:gd name="connsiteX20" fmla="*/ 48504 w 81038"/>
                  <a:gd name="connsiteY20" fmla="*/ 31518 h 155020"/>
                  <a:gd name="connsiteX21" fmla="*/ 48324 w 81038"/>
                  <a:gd name="connsiteY21" fmla="*/ 31399 h 155020"/>
                  <a:gd name="connsiteX22" fmla="*/ 48144 w 81038"/>
                  <a:gd name="connsiteY22" fmla="*/ 31279 h 155020"/>
                  <a:gd name="connsiteX23" fmla="*/ 47487 w 81038"/>
                  <a:gd name="connsiteY23" fmla="*/ 30861 h 155020"/>
                  <a:gd name="connsiteX24" fmla="*/ 47427 w 81038"/>
                  <a:gd name="connsiteY24" fmla="*/ 30861 h 155020"/>
                  <a:gd name="connsiteX25" fmla="*/ 46949 w 81038"/>
                  <a:gd name="connsiteY25" fmla="*/ 30561 h 155020"/>
                  <a:gd name="connsiteX26" fmla="*/ 46829 w 81038"/>
                  <a:gd name="connsiteY26" fmla="*/ 30502 h 155020"/>
                  <a:gd name="connsiteX27" fmla="*/ 46709 w 81038"/>
                  <a:gd name="connsiteY27" fmla="*/ 30382 h 155020"/>
                  <a:gd name="connsiteX28" fmla="*/ 46291 w 81038"/>
                  <a:gd name="connsiteY28" fmla="*/ 30083 h 155020"/>
                  <a:gd name="connsiteX29" fmla="*/ 45872 w 81038"/>
                  <a:gd name="connsiteY29" fmla="*/ 29784 h 155020"/>
                  <a:gd name="connsiteX30" fmla="*/ 45334 w 81038"/>
                  <a:gd name="connsiteY30" fmla="*/ 29425 h 155020"/>
                  <a:gd name="connsiteX31" fmla="*/ 43958 w 81038"/>
                  <a:gd name="connsiteY31" fmla="*/ 28468 h 155020"/>
                  <a:gd name="connsiteX32" fmla="*/ 43360 w 81038"/>
                  <a:gd name="connsiteY32" fmla="*/ 28050 h 155020"/>
                  <a:gd name="connsiteX33" fmla="*/ 40370 w 81038"/>
                  <a:gd name="connsiteY33" fmla="*/ 26016 h 155020"/>
                  <a:gd name="connsiteX34" fmla="*/ 37559 w 81038"/>
                  <a:gd name="connsiteY34" fmla="*/ 24102 h 155020"/>
                  <a:gd name="connsiteX35" fmla="*/ 36004 w 81038"/>
                  <a:gd name="connsiteY35" fmla="*/ 23026 h 155020"/>
                  <a:gd name="connsiteX36" fmla="*/ 35286 w 81038"/>
                  <a:gd name="connsiteY36" fmla="*/ 22547 h 155020"/>
                  <a:gd name="connsiteX37" fmla="*/ 33552 w 81038"/>
                  <a:gd name="connsiteY37" fmla="*/ 21471 h 155020"/>
                  <a:gd name="connsiteX38" fmla="*/ 30920 w 81038"/>
                  <a:gd name="connsiteY38" fmla="*/ 19796 h 155020"/>
                  <a:gd name="connsiteX39" fmla="*/ 30023 w 81038"/>
                  <a:gd name="connsiteY39" fmla="*/ 19258 h 155020"/>
                  <a:gd name="connsiteX40" fmla="*/ 29844 w 81038"/>
                  <a:gd name="connsiteY40" fmla="*/ 19138 h 155020"/>
                  <a:gd name="connsiteX41" fmla="*/ 28229 w 81038"/>
                  <a:gd name="connsiteY41" fmla="*/ 18122 h 155020"/>
                  <a:gd name="connsiteX42" fmla="*/ 27870 w 81038"/>
                  <a:gd name="connsiteY42" fmla="*/ 17882 h 155020"/>
                  <a:gd name="connsiteX43" fmla="*/ 27212 w 81038"/>
                  <a:gd name="connsiteY43" fmla="*/ 17464 h 155020"/>
                  <a:gd name="connsiteX44" fmla="*/ 23624 w 81038"/>
                  <a:gd name="connsiteY44" fmla="*/ 15191 h 155020"/>
                  <a:gd name="connsiteX45" fmla="*/ 23444 w 81038"/>
                  <a:gd name="connsiteY45" fmla="*/ 15071 h 155020"/>
                  <a:gd name="connsiteX46" fmla="*/ 21471 w 81038"/>
                  <a:gd name="connsiteY46" fmla="*/ 13875 h 155020"/>
                  <a:gd name="connsiteX47" fmla="*/ 21411 w 81038"/>
                  <a:gd name="connsiteY47" fmla="*/ 13815 h 155020"/>
                  <a:gd name="connsiteX48" fmla="*/ 21171 w 81038"/>
                  <a:gd name="connsiteY48" fmla="*/ 13696 h 155020"/>
                  <a:gd name="connsiteX49" fmla="*/ 20933 w 81038"/>
                  <a:gd name="connsiteY49" fmla="*/ 13516 h 155020"/>
                  <a:gd name="connsiteX50" fmla="*/ 20753 w 81038"/>
                  <a:gd name="connsiteY50" fmla="*/ 13397 h 155020"/>
                  <a:gd name="connsiteX51" fmla="*/ 19497 w 81038"/>
                  <a:gd name="connsiteY51" fmla="*/ 12619 h 155020"/>
                  <a:gd name="connsiteX52" fmla="*/ 18480 w 81038"/>
                  <a:gd name="connsiteY52" fmla="*/ 12021 h 155020"/>
                  <a:gd name="connsiteX53" fmla="*/ 17763 w 81038"/>
                  <a:gd name="connsiteY53" fmla="*/ 11603 h 155020"/>
                  <a:gd name="connsiteX54" fmla="*/ 16686 w 81038"/>
                  <a:gd name="connsiteY54" fmla="*/ 10945 h 155020"/>
                  <a:gd name="connsiteX55" fmla="*/ 15909 w 81038"/>
                  <a:gd name="connsiteY55" fmla="*/ 10466 h 155020"/>
                  <a:gd name="connsiteX56" fmla="*/ 15131 w 81038"/>
                  <a:gd name="connsiteY56" fmla="*/ 9988 h 155020"/>
                  <a:gd name="connsiteX57" fmla="*/ 14772 w 81038"/>
                  <a:gd name="connsiteY57" fmla="*/ 9749 h 155020"/>
                  <a:gd name="connsiteX58" fmla="*/ 13755 w 81038"/>
                  <a:gd name="connsiteY58" fmla="*/ 9150 h 155020"/>
                  <a:gd name="connsiteX59" fmla="*/ 12500 w 81038"/>
                  <a:gd name="connsiteY59" fmla="*/ 8373 h 155020"/>
                  <a:gd name="connsiteX60" fmla="*/ 12200 w 81038"/>
                  <a:gd name="connsiteY60" fmla="*/ 8194 h 155020"/>
                  <a:gd name="connsiteX61" fmla="*/ 10944 w 81038"/>
                  <a:gd name="connsiteY61" fmla="*/ 7416 h 155020"/>
                  <a:gd name="connsiteX62" fmla="*/ 10765 w 81038"/>
                  <a:gd name="connsiteY62" fmla="*/ 7296 h 155020"/>
                  <a:gd name="connsiteX63" fmla="*/ 5083 w 81038"/>
                  <a:gd name="connsiteY63" fmla="*/ 3888 h 155020"/>
                  <a:gd name="connsiteX64" fmla="*/ 4665 w 81038"/>
                  <a:gd name="connsiteY64" fmla="*/ 3648 h 155020"/>
                  <a:gd name="connsiteX65" fmla="*/ 4545 w 81038"/>
                  <a:gd name="connsiteY65" fmla="*/ 3588 h 155020"/>
                  <a:gd name="connsiteX66" fmla="*/ 3110 w 81038"/>
                  <a:gd name="connsiteY66" fmla="*/ 2871 h 155020"/>
                  <a:gd name="connsiteX67" fmla="*/ 0 w 81038"/>
                  <a:gd name="connsiteY67" fmla="*/ 1256 h 155020"/>
                  <a:gd name="connsiteX68" fmla="*/ 0 w 81038"/>
                  <a:gd name="connsiteY68" fmla="*/ 1256 h 155020"/>
                  <a:gd name="connsiteX69" fmla="*/ 358 w 81038"/>
                  <a:gd name="connsiteY69" fmla="*/ 0 h 155020"/>
                  <a:gd name="connsiteX70" fmla="*/ 1555 w 81038"/>
                  <a:gd name="connsiteY70" fmla="*/ 179 h 155020"/>
                  <a:gd name="connsiteX71" fmla="*/ 2153 w 81038"/>
                  <a:gd name="connsiteY71" fmla="*/ 299 h 155020"/>
                  <a:gd name="connsiteX72" fmla="*/ 6100 w 81038"/>
                  <a:gd name="connsiteY72" fmla="*/ 957 h 155020"/>
                  <a:gd name="connsiteX73" fmla="*/ 6639 w 81038"/>
                  <a:gd name="connsiteY73" fmla="*/ 1017 h 155020"/>
                  <a:gd name="connsiteX74" fmla="*/ 8971 w 81038"/>
                  <a:gd name="connsiteY74" fmla="*/ 1376 h 155020"/>
                  <a:gd name="connsiteX75" fmla="*/ 9091 w 81038"/>
                  <a:gd name="connsiteY75" fmla="*/ 1376 h 155020"/>
                  <a:gd name="connsiteX76" fmla="*/ 13277 w 81038"/>
                  <a:gd name="connsiteY76" fmla="*/ 2033 h 155020"/>
                  <a:gd name="connsiteX77" fmla="*/ 13636 w 81038"/>
                  <a:gd name="connsiteY77" fmla="*/ 2093 h 155020"/>
                  <a:gd name="connsiteX78" fmla="*/ 13995 w 81038"/>
                  <a:gd name="connsiteY78" fmla="*/ 2153 h 155020"/>
                  <a:gd name="connsiteX79" fmla="*/ 14712 w 81038"/>
                  <a:gd name="connsiteY79" fmla="*/ 2392 h 155020"/>
                  <a:gd name="connsiteX80" fmla="*/ 19258 w 81038"/>
                  <a:gd name="connsiteY80" fmla="*/ 4007 h 155020"/>
                  <a:gd name="connsiteX81" fmla="*/ 22726 w 81038"/>
                  <a:gd name="connsiteY81" fmla="*/ 5263 h 155020"/>
                  <a:gd name="connsiteX82" fmla="*/ 22786 w 81038"/>
                  <a:gd name="connsiteY82" fmla="*/ 5323 h 155020"/>
                  <a:gd name="connsiteX83" fmla="*/ 26315 w 81038"/>
                  <a:gd name="connsiteY83" fmla="*/ 7536 h 155020"/>
                  <a:gd name="connsiteX84" fmla="*/ 26734 w 81038"/>
                  <a:gd name="connsiteY84" fmla="*/ 7835 h 155020"/>
                  <a:gd name="connsiteX85" fmla="*/ 27152 w 81038"/>
                  <a:gd name="connsiteY85" fmla="*/ 8074 h 155020"/>
                  <a:gd name="connsiteX86" fmla="*/ 28229 w 81038"/>
                  <a:gd name="connsiteY86" fmla="*/ 8792 h 155020"/>
                  <a:gd name="connsiteX87" fmla="*/ 28349 w 81038"/>
                  <a:gd name="connsiteY87" fmla="*/ 8852 h 155020"/>
                  <a:gd name="connsiteX88" fmla="*/ 28588 w 81038"/>
                  <a:gd name="connsiteY88" fmla="*/ 8971 h 155020"/>
                  <a:gd name="connsiteX89" fmla="*/ 29724 w 81038"/>
                  <a:gd name="connsiteY89" fmla="*/ 9689 h 155020"/>
                  <a:gd name="connsiteX90" fmla="*/ 29844 w 81038"/>
                  <a:gd name="connsiteY90" fmla="*/ 9749 h 155020"/>
                  <a:gd name="connsiteX91" fmla="*/ 30262 w 81038"/>
                  <a:gd name="connsiteY91" fmla="*/ 9988 h 155020"/>
                  <a:gd name="connsiteX92" fmla="*/ 33193 w 81038"/>
                  <a:gd name="connsiteY92" fmla="*/ 11842 h 155020"/>
                  <a:gd name="connsiteX93" fmla="*/ 33970 w 81038"/>
                  <a:gd name="connsiteY93" fmla="*/ 12320 h 155020"/>
                  <a:gd name="connsiteX94" fmla="*/ 34150 w 81038"/>
                  <a:gd name="connsiteY94" fmla="*/ 12440 h 155020"/>
                  <a:gd name="connsiteX95" fmla="*/ 41685 w 81038"/>
                  <a:gd name="connsiteY95" fmla="*/ 17165 h 155020"/>
                  <a:gd name="connsiteX96" fmla="*/ 41745 w 81038"/>
                  <a:gd name="connsiteY96" fmla="*/ 17225 h 155020"/>
                  <a:gd name="connsiteX97" fmla="*/ 43779 w 81038"/>
                  <a:gd name="connsiteY97" fmla="*/ 18540 h 155020"/>
                  <a:gd name="connsiteX98" fmla="*/ 44496 w 81038"/>
                  <a:gd name="connsiteY98" fmla="*/ 19019 h 155020"/>
                  <a:gd name="connsiteX99" fmla="*/ 46111 w 81038"/>
                  <a:gd name="connsiteY99" fmla="*/ 20035 h 155020"/>
                  <a:gd name="connsiteX100" fmla="*/ 48623 w 81038"/>
                  <a:gd name="connsiteY100" fmla="*/ 21590 h 155020"/>
                  <a:gd name="connsiteX101" fmla="*/ 49042 w 81038"/>
                  <a:gd name="connsiteY101" fmla="*/ 21830 h 155020"/>
                  <a:gd name="connsiteX102" fmla="*/ 49879 w 81038"/>
                  <a:gd name="connsiteY102" fmla="*/ 22368 h 155020"/>
                  <a:gd name="connsiteX103" fmla="*/ 53229 w 81038"/>
                  <a:gd name="connsiteY103" fmla="*/ 24521 h 155020"/>
                  <a:gd name="connsiteX104" fmla="*/ 54903 w 81038"/>
                  <a:gd name="connsiteY104" fmla="*/ 25597 h 155020"/>
                  <a:gd name="connsiteX105" fmla="*/ 54903 w 81038"/>
                  <a:gd name="connsiteY105" fmla="*/ 25597 h 155020"/>
                  <a:gd name="connsiteX106" fmla="*/ 56996 w 81038"/>
                  <a:gd name="connsiteY106" fmla="*/ 26913 h 155020"/>
                  <a:gd name="connsiteX107" fmla="*/ 62738 w 81038"/>
                  <a:gd name="connsiteY107" fmla="*/ 30502 h 155020"/>
                  <a:gd name="connsiteX108" fmla="*/ 65848 w 81038"/>
                  <a:gd name="connsiteY108" fmla="*/ 32475 h 155020"/>
                  <a:gd name="connsiteX109" fmla="*/ 66745 w 81038"/>
                  <a:gd name="connsiteY109" fmla="*/ 33073 h 155020"/>
                  <a:gd name="connsiteX110" fmla="*/ 66984 w 81038"/>
                  <a:gd name="connsiteY110" fmla="*/ 33253 h 155020"/>
                  <a:gd name="connsiteX111" fmla="*/ 67463 w 81038"/>
                  <a:gd name="connsiteY111" fmla="*/ 33612 h 155020"/>
                  <a:gd name="connsiteX112" fmla="*/ 68061 w 81038"/>
                  <a:gd name="connsiteY112" fmla="*/ 34090 h 155020"/>
                  <a:gd name="connsiteX113" fmla="*/ 71231 w 81038"/>
                  <a:gd name="connsiteY113" fmla="*/ 36423 h 155020"/>
                  <a:gd name="connsiteX114" fmla="*/ 72307 w 81038"/>
                  <a:gd name="connsiteY114" fmla="*/ 37200 h 155020"/>
                  <a:gd name="connsiteX115" fmla="*/ 72426 w 81038"/>
                  <a:gd name="connsiteY115" fmla="*/ 37320 h 155020"/>
                  <a:gd name="connsiteX116" fmla="*/ 72726 w 81038"/>
                  <a:gd name="connsiteY116" fmla="*/ 37559 h 155020"/>
                  <a:gd name="connsiteX117" fmla="*/ 72965 w 81038"/>
                  <a:gd name="connsiteY117" fmla="*/ 37738 h 155020"/>
                  <a:gd name="connsiteX118" fmla="*/ 73443 w 81038"/>
                  <a:gd name="connsiteY118" fmla="*/ 38097 h 155020"/>
                  <a:gd name="connsiteX119" fmla="*/ 73503 w 81038"/>
                  <a:gd name="connsiteY119" fmla="*/ 38157 h 155020"/>
                  <a:gd name="connsiteX120" fmla="*/ 73862 w 81038"/>
                  <a:gd name="connsiteY120" fmla="*/ 38875 h 155020"/>
                  <a:gd name="connsiteX121" fmla="*/ 73922 w 81038"/>
                  <a:gd name="connsiteY121" fmla="*/ 38994 h 155020"/>
                  <a:gd name="connsiteX122" fmla="*/ 74579 w 81038"/>
                  <a:gd name="connsiteY122" fmla="*/ 40370 h 155020"/>
                  <a:gd name="connsiteX123" fmla="*/ 74639 w 81038"/>
                  <a:gd name="connsiteY123" fmla="*/ 40549 h 155020"/>
                  <a:gd name="connsiteX124" fmla="*/ 75656 w 81038"/>
                  <a:gd name="connsiteY124" fmla="*/ 42643 h 155020"/>
                  <a:gd name="connsiteX125" fmla="*/ 75835 w 81038"/>
                  <a:gd name="connsiteY125" fmla="*/ 43061 h 155020"/>
                  <a:gd name="connsiteX126" fmla="*/ 77092 w 81038"/>
                  <a:gd name="connsiteY126" fmla="*/ 45633 h 155020"/>
                  <a:gd name="connsiteX127" fmla="*/ 77749 w 81038"/>
                  <a:gd name="connsiteY127" fmla="*/ 47308 h 155020"/>
                  <a:gd name="connsiteX128" fmla="*/ 77929 w 81038"/>
                  <a:gd name="connsiteY128" fmla="*/ 47726 h 155020"/>
                  <a:gd name="connsiteX129" fmla="*/ 79304 w 81038"/>
                  <a:gd name="connsiteY129" fmla="*/ 51135 h 155020"/>
                  <a:gd name="connsiteX130" fmla="*/ 79483 w 81038"/>
                  <a:gd name="connsiteY130" fmla="*/ 51614 h 155020"/>
                  <a:gd name="connsiteX131" fmla="*/ 79543 w 81038"/>
                  <a:gd name="connsiteY131" fmla="*/ 51793 h 155020"/>
                  <a:gd name="connsiteX132" fmla="*/ 79603 w 81038"/>
                  <a:gd name="connsiteY132" fmla="*/ 51972 h 155020"/>
                  <a:gd name="connsiteX133" fmla="*/ 80202 w 81038"/>
                  <a:gd name="connsiteY133" fmla="*/ 53408 h 155020"/>
                  <a:gd name="connsiteX134" fmla="*/ 80381 w 81038"/>
                  <a:gd name="connsiteY134" fmla="*/ 53886 h 155020"/>
                  <a:gd name="connsiteX135" fmla="*/ 80440 w 81038"/>
                  <a:gd name="connsiteY135" fmla="*/ 54066 h 155020"/>
                  <a:gd name="connsiteX136" fmla="*/ 80680 w 81038"/>
                  <a:gd name="connsiteY136" fmla="*/ 58671 h 155020"/>
                  <a:gd name="connsiteX137" fmla="*/ 80740 w 81038"/>
                  <a:gd name="connsiteY137" fmla="*/ 59448 h 155020"/>
                  <a:gd name="connsiteX138" fmla="*/ 80859 w 81038"/>
                  <a:gd name="connsiteY138" fmla="*/ 61542 h 155020"/>
                  <a:gd name="connsiteX139" fmla="*/ 80859 w 81038"/>
                  <a:gd name="connsiteY139" fmla="*/ 61960 h 155020"/>
                  <a:gd name="connsiteX140" fmla="*/ 80919 w 81038"/>
                  <a:gd name="connsiteY140" fmla="*/ 63635 h 155020"/>
                  <a:gd name="connsiteX141" fmla="*/ 81038 w 81038"/>
                  <a:gd name="connsiteY141" fmla="*/ 66207 h 155020"/>
                  <a:gd name="connsiteX142" fmla="*/ 80859 w 81038"/>
                  <a:gd name="connsiteY142" fmla="*/ 67283 h 155020"/>
                  <a:gd name="connsiteX143" fmla="*/ 80680 w 81038"/>
                  <a:gd name="connsiteY143" fmla="*/ 68778 h 155020"/>
                  <a:gd name="connsiteX144" fmla="*/ 80500 w 81038"/>
                  <a:gd name="connsiteY144" fmla="*/ 69855 h 155020"/>
                  <a:gd name="connsiteX145" fmla="*/ 80381 w 81038"/>
                  <a:gd name="connsiteY145" fmla="*/ 70812 h 155020"/>
                  <a:gd name="connsiteX146" fmla="*/ 80321 w 81038"/>
                  <a:gd name="connsiteY146" fmla="*/ 71350 h 155020"/>
                  <a:gd name="connsiteX147" fmla="*/ 80261 w 81038"/>
                  <a:gd name="connsiteY147" fmla="*/ 71589 h 155020"/>
                  <a:gd name="connsiteX148" fmla="*/ 80142 w 81038"/>
                  <a:gd name="connsiteY148" fmla="*/ 72367 h 155020"/>
                  <a:gd name="connsiteX149" fmla="*/ 80082 w 81038"/>
                  <a:gd name="connsiteY149" fmla="*/ 72606 h 155020"/>
                  <a:gd name="connsiteX150" fmla="*/ 80022 w 81038"/>
                  <a:gd name="connsiteY150" fmla="*/ 73144 h 155020"/>
                  <a:gd name="connsiteX151" fmla="*/ 80022 w 81038"/>
                  <a:gd name="connsiteY151" fmla="*/ 73204 h 155020"/>
                  <a:gd name="connsiteX152" fmla="*/ 79962 w 81038"/>
                  <a:gd name="connsiteY152" fmla="*/ 73742 h 155020"/>
                  <a:gd name="connsiteX153" fmla="*/ 79962 w 81038"/>
                  <a:gd name="connsiteY153" fmla="*/ 73802 h 155020"/>
                  <a:gd name="connsiteX154" fmla="*/ 79902 w 81038"/>
                  <a:gd name="connsiteY154" fmla="*/ 74041 h 155020"/>
                  <a:gd name="connsiteX155" fmla="*/ 79783 w 81038"/>
                  <a:gd name="connsiteY155" fmla="*/ 74819 h 155020"/>
                  <a:gd name="connsiteX156" fmla="*/ 79723 w 81038"/>
                  <a:gd name="connsiteY156" fmla="*/ 75118 h 155020"/>
                  <a:gd name="connsiteX157" fmla="*/ 79663 w 81038"/>
                  <a:gd name="connsiteY157" fmla="*/ 75656 h 155020"/>
                  <a:gd name="connsiteX158" fmla="*/ 79663 w 81038"/>
                  <a:gd name="connsiteY158" fmla="*/ 75836 h 155020"/>
                  <a:gd name="connsiteX159" fmla="*/ 79603 w 81038"/>
                  <a:gd name="connsiteY159" fmla="*/ 76075 h 155020"/>
                  <a:gd name="connsiteX160" fmla="*/ 79364 w 81038"/>
                  <a:gd name="connsiteY160" fmla="*/ 77809 h 155020"/>
                  <a:gd name="connsiteX161" fmla="*/ 79304 w 81038"/>
                  <a:gd name="connsiteY161" fmla="*/ 78048 h 155020"/>
                  <a:gd name="connsiteX162" fmla="*/ 79245 w 81038"/>
                  <a:gd name="connsiteY162" fmla="*/ 78647 h 155020"/>
                  <a:gd name="connsiteX163" fmla="*/ 79125 w 81038"/>
                  <a:gd name="connsiteY163" fmla="*/ 79544 h 155020"/>
                  <a:gd name="connsiteX164" fmla="*/ 78945 w 81038"/>
                  <a:gd name="connsiteY164" fmla="*/ 80919 h 155020"/>
                  <a:gd name="connsiteX165" fmla="*/ 78707 w 81038"/>
                  <a:gd name="connsiteY165" fmla="*/ 81637 h 155020"/>
                  <a:gd name="connsiteX166" fmla="*/ 75297 w 81038"/>
                  <a:gd name="connsiteY166" fmla="*/ 92223 h 155020"/>
                  <a:gd name="connsiteX167" fmla="*/ 73204 w 81038"/>
                  <a:gd name="connsiteY167" fmla="*/ 98622 h 155020"/>
                  <a:gd name="connsiteX168" fmla="*/ 71290 w 81038"/>
                  <a:gd name="connsiteY168" fmla="*/ 103167 h 155020"/>
                  <a:gd name="connsiteX169" fmla="*/ 71231 w 81038"/>
                  <a:gd name="connsiteY169" fmla="*/ 103287 h 155020"/>
                  <a:gd name="connsiteX170" fmla="*/ 70453 w 81038"/>
                  <a:gd name="connsiteY170" fmla="*/ 105141 h 155020"/>
                  <a:gd name="connsiteX171" fmla="*/ 70034 w 81038"/>
                  <a:gd name="connsiteY171" fmla="*/ 106098 h 155020"/>
                  <a:gd name="connsiteX172" fmla="*/ 68659 w 81038"/>
                  <a:gd name="connsiteY172" fmla="*/ 109328 h 155020"/>
                  <a:gd name="connsiteX173" fmla="*/ 67761 w 81038"/>
                  <a:gd name="connsiteY173" fmla="*/ 111481 h 155020"/>
                  <a:gd name="connsiteX174" fmla="*/ 67761 w 81038"/>
                  <a:gd name="connsiteY174" fmla="*/ 111481 h 155020"/>
                  <a:gd name="connsiteX175" fmla="*/ 67463 w 81038"/>
                  <a:gd name="connsiteY175" fmla="*/ 112258 h 155020"/>
                  <a:gd name="connsiteX176" fmla="*/ 67403 w 81038"/>
                  <a:gd name="connsiteY176" fmla="*/ 112438 h 155020"/>
                  <a:gd name="connsiteX177" fmla="*/ 66984 w 81038"/>
                  <a:gd name="connsiteY177" fmla="*/ 113454 h 155020"/>
                  <a:gd name="connsiteX178" fmla="*/ 66924 w 81038"/>
                  <a:gd name="connsiteY178" fmla="*/ 113574 h 155020"/>
                  <a:gd name="connsiteX179" fmla="*/ 66565 w 81038"/>
                  <a:gd name="connsiteY179" fmla="*/ 114411 h 155020"/>
                  <a:gd name="connsiteX180" fmla="*/ 66506 w 81038"/>
                  <a:gd name="connsiteY180" fmla="*/ 114531 h 155020"/>
                  <a:gd name="connsiteX181" fmla="*/ 66146 w 81038"/>
                  <a:gd name="connsiteY181" fmla="*/ 115368 h 155020"/>
                  <a:gd name="connsiteX182" fmla="*/ 66146 w 81038"/>
                  <a:gd name="connsiteY182" fmla="*/ 115428 h 155020"/>
                  <a:gd name="connsiteX183" fmla="*/ 66087 w 81038"/>
                  <a:gd name="connsiteY183" fmla="*/ 115607 h 155020"/>
                  <a:gd name="connsiteX184" fmla="*/ 65968 w 81038"/>
                  <a:gd name="connsiteY184" fmla="*/ 115906 h 155020"/>
                  <a:gd name="connsiteX185" fmla="*/ 65968 w 81038"/>
                  <a:gd name="connsiteY185" fmla="*/ 115966 h 155020"/>
                  <a:gd name="connsiteX186" fmla="*/ 65908 w 81038"/>
                  <a:gd name="connsiteY186" fmla="*/ 116205 h 155020"/>
                  <a:gd name="connsiteX187" fmla="*/ 65848 w 81038"/>
                  <a:gd name="connsiteY187" fmla="*/ 116325 h 155020"/>
                  <a:gd name="connsiteX188" fmla="*/ 65548 w 81038"/>
                  <a:gd name="connsiteY188" fmla="*/ 116923 h 155020"/>
                  <a:gd name="connsiteX189" fmla="*/ 65489 w 81038"/>
                  <a:gd name="connsiteY189" fmla="*/ 116983 h 155020"/>
                  <a:gd name="connsiteX190" fmla="*/ 65070 w 81038"/>
                  <a:gd name="connsiteY190" fmla="*/ 117820 h 155020"/>
                  <a:gd name="connsiteX191" fmla="*/ 64951 w 81038"/>
                  <a:gd name="connsiteY191" fmla="*/ 118059 h 155020"/>
                  <a:gd name="connsiteX192" fmla="*/ 64472 w 81038"/>
                  <a:gd name="connsiteY192" fmla="*/ 118957 h 155020"/>
                  <a:gd name="connsiteX193" fmla="*/ 63755 w 81038"/>
                  <a:gd name="connsiteY193" fmla="*/ 120332 h 155020"/>
                  <a:gd name="connsiteX194" fmla="*/ 63276 w 81038"/>
                  <a:gd name="connsiteY194" fmla="*/ 121289 h 155020"/>
                  <a:gd name="connsiteX195" fmla="*/ 63096 w 81038"/>
                  <a:gd name="connsiteY195" fmla="*/ 121648 h 155020"/>
                  <a:gd name="connsiteX196" fmla="*/ 61661 w 81038"/>
                  <a:gd name="connsiteY196" fmla="*/ 124399 h 155020"/>
                  <a:gd name="connsiteX197" fmla="*/ 59628 w 81038"/>
                  <a:gd name="connsiteY197" fmla="*/ 128406 h 155020"/>
                  <a:gd name="connsiteX198" fmla="*/ 58013 w 81038"/>
                  <a:gd name="connsiteY198" fmla="*/ 131456 h 155020"/>
                  <a:gd name="connsiteX199" fmla="*/ 57893 w 81038"/>
                  <a:gd name="connsiteY199" fmla="*/ 131696 h 155020"/>
                  <a:gd name="connsiteX200" fmla="*/ 57295 w 81038"/>
                  <a:gd name="connsiteY200" fmla="*/ 132832 h 155020"/>
                  <a:gd name="connsiteX201" fmla="*/ 56996 w 81038"/>
                  <a:gd name="connsiteY201" fmla="*/ 133370 h 155020"/>
                  <a:gd name="connsiteX202" fmla="*/ 55860 w 81038"/>
                  <a:gd name="connsiteY202" fmla="*/ 135344 h 155020"/>
                  <a:gd name="connsiteX203" fmla="*/ 53348 w 81038"/>
                  <a:gd name="connsiteY203" fmla="*/ 139590 h 155020"/>
                  <a:gd name="connsiteX204" fmla="*/ 53109 w 81038"/>
                  <a:gd name="connsiteY204" fmla="*/ 140068 h 155020"/>
                  <a:gd name="connsiteX205" fmla="*/ 50298 w 81038"/>
                  <a:gd name="connsiteY205" fmla="*/ 144793 h 155020"/>
                  <a:gd name="connsiteX206" fmla="*/ 48982 w 81038"/>
                  <a:gd name="connsiteY206" fmla="*/ 147006 h 155020"/>
                  <a:gd name="connsiteX207" fmla="*/ 46889 w 81038"/>
                  <a:gd name="connsiteY207" fmla="*/ 150475 h 155020"/>
                  <a:gd name="connsiteX208" fmla="*/ 46111 w 81038"/>
                  <a:gd name="connsiteY208" fmla="*/ 151791 h 155020"/>
                  <a:gd name="connsiteX209" fmla="*/ 45274 w 81038"/>
                  <a:gd name="connsiteY209" fmla="*/ 153226 h 155020"/>
                  <a:gd name="connsiteX210" fmla="*/ 45154 w 81038"/>
                  <a:gd name="connsiteY210" fmla="*/ 153406 h 155020"/>
                  <a:gd name="connsiteX211" fmla="*/ 45154 w 81038"/>
                  <a:gd name="connsiteY211" fmla="*/ 153406 h 155020"/>
                  <a:gd name="connsiteX212" fmla="*/ 44676 w 81038"/>
                  <a:gd name="connsiteY212" fmla="*/ 154243 h 155020"/>
                  <a:gd name="connsiteX213" fmla="*/ 44496 w 81038"/>
                  <a:gd name="connsiteY213" fmla="*/ 154542 h 155020"/>
                  <a:gd name="connsiteX214" fmla="*/ 44436 w 81038"/>
                  <a:gd name="connsiteY214" fmla="*/ 154661 h 155020"/>
                  <a:gd name="connsiteX215" fmla="*/ 44317 w 81038"/>
                  <a:gd name="connsiteY215" fmla="*/ 154841 h 155020"/>
                  <a:gd name="connsiteX216" fmla="*/ 44198 w 81038"/>
                  <a:gd name="connsiteY216" fmla="*/ 155020 h 155020"/>
                  <a:gd name="connsiteX217" fmla="*/ 42822 w 81038"/>
                  <a:gd name="connsiteY217" fmla="*/ 154123 h 155020"/>
                  <a:gd name="connsiteX218" fmla="*/ 41088 w 81038"/>
                  <a:gd name="connsiteY218" fmla="*/ 152987 h 155020"/>
                  <a:gd name="connsiteX219" fmla="*/ 40190 w 81038"/>
                  <a:gd name="connsiteY219" fmla="*/ 152389 h 155020"/>
                  <a:gd name="connsiteX220" fmla="*/ 38935 w 81038"/>
                  <a:gd name="connsiteY220" fmla="*/ 151551 h 155020"/>
                  <a:gd name="connsiteX221" fmla="*/ 38815 w 81038"/>
                  <a:gd name="connsiteY221" fmla="*/ 151492 h 155020"/>
                  <a:gd name="connsiteX222" fmla="*/ 38575 w 81038"/>
                  <a:gd name="connsiteY222" fmla="*/ 151312 h 155020"/>
                  <a:gd name="connsiteX223" fmla="*/ 38396 w 81038"/>
                  <a:gd name="connsiteY223" fmla="*/ 151193 h 155020"/>
                  <a:gd name="connsiteX224" fmla="*/ 37499 w 81038"/>
                  <a:gd name="connsiteY224" fmla="*/ 150595 h 155020"/>
                  <a:gd name="connsiteX225" fmla="*/ 37499 w 81038"/>
                  <a:gd name="connsiteY225" fmla="*/ 150595 h 155020"/>
                  <a:gd name="connsiteX226" fmla="*/ 37320 w 81038"/>
                  <a:gd name="connsiteY226" fmla="*/ 150475 h 15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81038" h="155020">
                    <a:moveTo>
                      <a:pt x="69197" y="42403"/>
                    </a:moveTo>
                    <a:lnTo>
                      <a:pt x="66685" y="41566"/>
                    </a:lnTo>
                    <a:lnTo>
                      <a:pt x="65848" y="41267"/>
                    </a:lnTo>
                    <a:lnTo>
                      <a:pt x="64771" y="40908"/>
                    </a:lnTo>
                    <a:lnTo>
                      <a:pt x="62558" y="40131"/>
                    </a:lnTo>
                    <a:lnTo>
                      <a:pt x="62438" y="40071"/>
                    </a:lnTo>
                    <a:lnTo>
                      <a:pt x="61781" y="39832"/>
                    </a:lnTo>
                    <a:lnTo>
                      <a:pt x="61123" y="39592"/>
                    </a:lnTo>
                    <a:lnTo>
                      <a:pt x="61123" y="39592"/>
                    </a:lnTo>
                    <a:lnTo>
                      <a:pt x="58132" y="38097"/>
                    </a:lnTo>
                    <a:lnTo>
                      <a:pt x="56996" y="37499"/>
                    </a:lnTo>
                    <a:lnTo>
                      <a:pt x="56398" y="37200"/>
                    </a:lnTo>
                    <a:lnTo>
                      <a:pt x="56338" y="37200"/>
                    </a:lnTo>
                    <a:lnTo>
                      <a:pt x="54484" y="35884"/>
                    </a:lnTo>
                    <a:lnTo>
                      <a:pt x="54424" y="35825"/>
                    </a:lnTo>
                    <a:lnTo>
                      <a:pt x="52451" y="34389"/>
                    </a:lnTo>
                    <a:lnTo>
                      <a:pt x="52451" y="34389"/>
                    </a:lnTo>
                    <a:lnTo>
                      <a:pt x="51793" y="33911"/>
                    </a:lnTo>
                    <a:lnTo>
                      <a:pt x="50238" y="32774"/>
                    </a:lnTo>
                    <a:lnTo>
                      <a:pt x="49341" y="32117"/>
                    </a:lnTo>
                    <a:lnTo>
                      <a:pt x="48504" y="31518"/>
                    </a:lnTo>
                    <a:lnTo>
                      <a:pt x="48324" y="31399"/>
                    </a:lnTo>
                    <a:lnTo>
                      <a:pt x="48144" y="31279"/>
                    </a:lnTo>
                    <a:lnTo>
                      <a:pt x="47487" y="30861"/>
                    </a:lnTo>
                    <a:lnTo>
                      <a:pt x="47427" y="30861"/>
                    </a:lnTo>
                    <a:lnTo>
                      <a:pt x="46949" y="30561"/>
                    </a:lnTo>
                    <a:lnTo>
                      <a:pt x="46829" y="30502"/>
                    </a:lnTo>
                    <a:lnTo>
                      <a:pt x="46709" y="30382"/>
                    </a:lnTo>
                    <a:lnTo>
                      <a:pt x="46291" y="30083"/>
                    </a:lnTo>
                    <a:lnTo>
                      <a:pt x="45872" y="29784"/>
                    </a:lnTo>
                    <a:lnTo>
                      <a:pt x="45334" y="29425"/>
                    </a:lnTo>
                    <a:lnTo>
                      <a:pt x="43958" y="28468"/>
                    </a:lnTo>
                    <a:lnTo>
                      <a:pt x="43360" y="28050"/>
                    </a:lnTo>
                    <a:lnTo>
                      <a:pt x="40370" y="26016"/>
                    </a:lnTo>
                    <a:lnTo>
                      <a:pt x="37559" y="24102"/>
                    </a:lnTo>
                    <a:lnTo>
                      <a:pt x="36004" y="23026"/>
                    </a:lnTo>
                    <a:lnTo>
                      <a:pt x="35286" y="22547"/>
                    </a:lnTo>
                    <a:lnTo>
                      <a:pt x="33552" y="21471"/>
                    </a:lnTo>
                    <a:lnTo>
                      <a:pt x="30920" y="19796"/>
                    </a:lnTo>
                    <a:lnTo>
                      <a:pt x="30023" y="19258"/>
                    </a:lnTo>
                    <a:lnTo>
                      <a:pt x="29844" y="19138"/>
                    </a:lnTo>
                    <a:lnTo>
                      <a:pt x="28229" y="18122"/>
                    </a:lnTo>
                    <a:lnTo>
                      <a:pt x="27870" y="17882"/>
                    </a:lnTo>
                    <a:lnTo>
                      <a:pt x="27212" y="17464"/>
                    </a:lnTo>
                    <a:lnTo>
                      <a:pt x="23624" y="15191"/>
                    </a:lnTo>
                    <a:lnTo>
                      <a:pt x="23444" y="15071"/>
                    </a:lnTo>
                    <a:lnTo>
                      <a:pt x="21471" y="13875"/>
                    </a:lnTo>
                    <a:lnTo>
                      <a:pt x="21411" y="13815"/>
                    </a:lnTo>
                    <a:lnTo>
                      <a:pt x="21171" y="13696"/>
                    </a:lnTo>
                    <a:lnTo>
                      <a:pt x="20933" y="13516"/>
                    </a:lnTo>
                    <a:lnTo>
                      <a:pt x="20753" y="13397"/>
                    </a:lnTo>
                    <a:lnTo>
                      <a:pt x="19497" y="12619"/>
                    </a:lnTo>
                    <a:lnTo>
                      <a:pt x="18480" y="12021"/>
                    </a:lnTo>
                    <a:lnTo>
                      <a:pt x="17763" y="11603"/>
                    </a:lnTo>
                    <a:lnTo>
                      <a:pt x="16686" y="10945"/>
                    </a:lnTo>
                    <a:lnTo>
                      <a:pt x="15909" y="10466"/>
                    </a:lnTo>
                    <a:lnTo>
                      <a:pt x="15131" y="9988"/>
                    </a:lnTo>
                    <a:lnTo>
                      <a:pt x="14772" y="9749"/>
                    </a:lnTo>
                    <a:lnTo>
                      <a:pt x="13755" y="9150"/>
                    </a:lnTo>
                    <a:lnTo>
                      <a:pt x="12500" y="8373"/>
                    </a:lnTo>
                    <a:lnTo>
                      <a:pt x="12200" y="8194"/>
                    </a:lnTo>
                    <a:lnTo>
                      <a:pt x="10944" y="7416"/>
                    </a:lnTo>
                    <a:lnTo>
                      <a:pt x="10765" y="7296"/>
                    </a:lnTo>
                    <a:lnTo>
                      <a:pt x="5083" y="3888"/>
                    </a:lnTo>
                    <a:lnTo>
                      <a:pt x="4665" y="3648"/>
                    </a:lnTo>
                    <a:lnTo>
                      <a:pt x="4545" y="3588"/>
                    </a:lnTo>
                    <a:lnTo>
                      <a:pt x="3110" y="2871"/>
                    </a:lnTo>
                    <a:lnTo>
                      <a:pt x="0" y="1256"/>
                    </a:lnTo>
                    <a:lnTo>
                      <a:pt x="0" y="1256"/>
                    </a:lnTo>
                    <a:lnTo>
                      <a:pt x="358" y="0"/>
                    </a:lnTo>
                    <a:lnTo>
                      <a:pt x="1555" y="179"/>
                    </a:lnTo>
                    <a:lnTo>
                      <a:pt x="2153" y="299"/>
                    </a:lnTo>
                    <a:lnTo>
                      <a:pt x="6100" y="957"/>
                    </a:lnTo>
                    <a:lnTo>
                      <a:pt x="6639" y="1017"/>
                    </a:lnTo>
                    <a:lnTo>
                      <a:pt x="8971" y="1376"/>
                    </a:lnTo>
                    <a:lnTo>
                      <a:pt x="9091" y="1376"/>
                    </a:lnTo>
                    <a:lnTo>
                      <a:pt x="13277" y="2033"/>
                    </a:lnTo>
                    <a:lnTo>
                      <a:pt x="13636" y="2093"/>
                    </a:lnTo>
                    <a:lnTo>
                      <a:pt x="13995" y="2153"/>
                    </a:lnTo>
                    <a:lnTo>
                      <a:pt x="14712" y="2392"/>
                    </a:lnTo>
                    <a:lnTo>
                      <a:pt x="19258" y="4007"/>
                    </a:lnTo>
                    <a:lnTo>
                      <a:pt x="22726" y="5263"/>
                    </a:lnTo>
                    <a:lnTo>
                      <a:pt x="22786" y="5323"/>
                    </a:lnTo>
                    <a:lnTo>
                      <a:pt x="26315" y="7536"/>
                    </a:lnTo>
                    <a:lnTo>
                      <a:pt x="26734" y="7835"/>
                    </a:lnTo>
                    <a:lnTo>
                      <a:pt x="27152" y="8074"/>
                    </a:lnTo>
                    <a:lnTo>
                      <a:pt x="28229" y="8792"/>
                    </a:lnTo>
                    <a:lnTo>
                      <a:pt x="28349" y="8852"/>
                    </a:lnTo>
                    <a:lnTo>
                      <a:pt x="28588" y="8971"/>
                    </a:lnTo>
                    <a:lnTo>
                      <a:pt x="29724" y="9689"/>
                    </a:lnTo>
                    <a:lnTo>
                      <a:pt x="29844" y="9749"/>
                    </a:lnTo>
                    <a:lnTo>
                      <a:pt x="30262" y="9988"/>
                    </a:lnTo>
                    <a:lnTo>
                      <a:pt x="33193" y="11842"/>
                    </a:lnTo>
                    <a:lnTo>
                      <a:pt x="33970" y="12320"/>
                    </a:lnTo>
                    <a:lnTo>
                      <a:pt x="34150" y="12440"/>
                    </a:lnTo>
                    <a:lnTo>
                      <a:pt x="41685" y="17165"/>
                    </a:lnTo>
                    <a:lnTo>
                      <a:pt x="41745" y="17225"/>
                    </a:lnTo>
                    <a:lnTo>
                      <a:pt x="43779" y="18540"/>
                    </a:lnTo>
                    <a:lnTo>
                      <a:pt x="44496" y="19019"/>
                    </a:lnTo>
                    <a:lnTo>
                      <a:pt x="46111" y="20035"/>
                    </a:lnTo>
                    <a:lnTo>
                      <a:pt x="48623" y="21590"/>
                    </a:lnTo>
                    <a:lnTo>
                      <a:pt x="49042" y="21830"/>
                    </a:lnTo>
                    <a:lnTo>
                      <a:pt x="49879" y="22368"/>
                    </a:lnTo>
                    <a:lnTo>
                      <a:pt x="53229" y="24521"/>
                    </a:lnTo>
                    <a:lnTo>
                      <a:pt x="54903" y="25597"/>
                    </a:lnTo>
                    <a:lnTo>
                      <a:pt x="54903" y="25597"/>
                    </a:lnTo>
                    <a:lnTo>
                      <a:pt x="56996" y="26913"/>
                    </a:lnTo>
                    <a:lnTo>
                      <a:pt x="62738" y="30502"/>
                    </a:lnTo>
                    <a:lnTo>
                      <a:pt x="65848" y="32475"/>
                    </a:lnTo>
                    <a:lnTo>
                      <a:pt x="66745" y="33073"/>
                    </a:lnTo>
                    <a:lnTo>
                      <a:pt x="66984" y="33253"/>
                    </a:lnTo>
                    <a:lnTo>
                      <a:pt x="67463" y="33612"/>
                    </a:lnTo>
                    <a:lnTo>
                      <a:pt x="68061" y="34090"/>
                    </a:lnTo>
                    <a:lnTo>
                      <a:pt x="71231" y="36423"/>
                    </a:lnTo>
                    <a:lnTo>
                      <a:pt x="72307" y="37200"/>
                    </a:lnTo>
                    <a:lnTo>
                      <a:pt x="72426" y="37320"/>
                    </a:lnTo>
                    <a:lnTo>
                      <a:pt x="72726" y="37559"/>
                    </a:lnTo>
                    <a:lnTo>
                      <a:pt x="72965" y="37738"/>
                    </a:lnTo>
                    <a:lnTo>
                      <a:pt x="73443" y="38097"/>
                    </a:lnTo>
                    <a:lnTo>
                      <a:pt x="73503" y="38157"/>
                    </a:lnTo>
                    <a:lnTo>
                      <a:pt x="73862" y="38875"/>
                    </a:lnTo>
                    <a:lnTo>
                      <a:pt x="73922" y="38994"/>
                    </a:lnTo>
                    <a:lnTo>
                      <a:pt x="74579" y="40370"/>
                    </a:lnTo>
                    <a:lnTo>
                      <a:pt x="74639" y="40549"/>
                    </a:lnTo>
                    <a:lnTo>
                      <a:pt x="75656" y="42643"/>
                    </a:lnTo>
                    <a:lnTo>
                      <a:pt x="75835" y="43061"/>
                    </a:lnTo>
                    <a:lnTo>
                      <a:pt x="77092" y="45633"/>
                    </a:lnTo>
                    <a:lnTo>
                      <a:pt x="77749" y="47308"/>
                    </a:lnTo>
                    <a:lnTo>
                      <a:pt x="77929" y="47726"/>
                    </a:lnTo>
                    <a:lnTo>
                      <a:pt x="79304" y="51135"/>
                    </a:lnTo>
                    <a:lnTo>
                      <a:pt x="79483" y="51614"/>
                    </a:lnTo>
                    <a:lnTo>
                      <a:pt x="79543" y="51793"/>
                    </a:lnTo>
                    <a:lnTo>
                      <a:pt x="79603" y="51972"/>
                    </a:lnTo>
                    <a:lnTo>
                      <a:pt x="80202" y="53408"/>
                    </a:lnTo>
                    <a:lnTo>
                      <a:pt x="80381" y="53886"/>
                    </a:lnTo>
                    <a:lnTo>
                      <a:pt x="80440" y="54066"/>
                    </a:lnTo>
                    <a:lnTo>
                      <a:pt x="80680" y="58671"/>
                    </a:lnTo>
                    <a:lnTo>
                      <a:pt x="80740" y="59448"/>
                    </a:lnTo>
                    <a:lnTo>
                      <a:pt x="80859" y="61542"/>
                    </a:lnTo>
                    <a:lnTo>
                      <a:pt x="80859" y="61960"/>
                    </a:lnTo>
                    <a:lnTo>
                      <a:pt x="80919" y="63635"/>
                    </a:lnTo>
                    <a:lnTo>
                      <a:pt x="81038" y="66207"/>
                    </a:lnTo>
                    <a:lnTo>
                      <a:pt x="80859" y="67283"/>
                    </a:lnTo>
                    <a:lnTo>
                      <a:pt x="80680" y="68778"/>
                    </a:lnTo>
                    <a:lnTo>
                      <a:pt x="80500" y="69855"/>
                    </a:lnTo>
                    <a:lnTo>
                      <a:pt x="80381" y="70812"/>
                    </a:lnTo>
                    <a:lnTo>
                      <a:pt x="80321" y="71350"/>
                    </a:lnTo>
                    <a:lnTo>
                      <a:pt x="80261" y="71589"/>
                    </a:lnTo>
                    <a:lnTo>
                      <a:pt x="80142" y="72367"/>
                    </a:lnTo>
                    <a:lnTo>
                      <a:pt x="80082" y="72606"/>
                    </a:lnTo>
                    <a:lnTo>
                      <a:pt x="80022" y="73144"/>
                    </a:lnTo>
                    <a:lnTo>
                      <a:pt x="80022" y="73204"/>
                    </a:lnTo>
                    <a:lnTo>
                      <a:pt x="79962" y="73742"/>
                    </a:lnTo>
                    <a:lnTo>
                      <a:pt x="79962" y="73802"/>
                    </a:lnTo>
                    <a:lnTo>
                      <a:pt x="79902" y="74041"/>
                    </a:lnTo>
                    <a:lnTo>
                      <a:pt x="79783" y="74819"/>
                    </a:lnTo>
                    <a:lnTo>
                      <a:pt x="79723" y="75118"/>
                    </a:lnTo>
                    <a:lnTo>
                      <a:pt x="79663" y="75656"/>
                    </a:lnTo>
                    <a:lnTo>
                      <a:pt x="79663" y="75836"/>
                    </a:lnTo>
                    <a:lnTo>
                      <a:pt x="79603" y="76075"/>
                    </a:lnTo>
                    <a:lnTo>
                      <a:pt x="79364" y="77809"/>
                    </a:lnTo>
                    <a:lnTo>
                      <a:pt x="79304" y="78048"/>
                    </a:lnTo>
                    <a:lnTo>
                      <a:pt x="79245" y="78647"/>
                    </a:lnTo>
                    <a:lnTo>
                      <a:pt x="79125" y="79544"/>
                    </a:lnTo>
                    <a:lnTo>
                      <a:pt x="78945" y="80919"/>
                    </a:lnTo>
                    <a:lnTo>
                      <a:pt x="78707" y="81637"/>
                    </a:lnTo>
                    <a:lnTo>
                      <a:pt x="75297" y="92223"/>
                    </a:lnTo>
                    <a:lnTo>
                      <a:pt x="73204" y="98622"/>
                    </a:lnTo>
                    <a:lnTo>
                      <a:pt x="71290" y="103167"/>
                    </a:lnTo>
                    <a:lnTo>
                      <a:pt x="71231" y="103287"/>
                    </a:lnTo>
                    <a:lnTo>
                      <a:pt x="70453" y="105141"/>
                    </a:lnTo>
                    <a:lnTo>
                      <a:pt x="70034" y="106098"/>
                    </a:lnTo>
                    <a:lnTo>
                      <a:pt x="68659" y="109328"/>
                    </a:lnTo>
                    <a:lnTo>
                      <a:pt x="67761" y="111481"/>
                    </a:lnTo>
                    <a:lnTo>
                      <a:pt x="67761" y="111481"/>
                    </a:lnTo>
                    <a:lnTo>
                      <a:pt x="67463" y="112258"/>
                    </a:lnTo>
                    <a:lnTo>
                      <a:pt x="67403" y="112438"/>
                    </a:lnTo>
                    <a:lnTo>
                      <a:pt x="66984" y="113454"/>
                    </a:lnTo>
                    <a:lnTo>
                      <a:pt x="66924" y="113574"/>
                    </a:lnTo>
                    <a:lnTo>
                      <a:pt x="66565" y="114411"/>
                    </a:lnTo>
                    <a:lnTo>
                      <a:pt x="66506" y="114531"/>
                    </a:lnTo>
                    <a:lnTo>
                      <a:pt x="66146" y="115368"/>
                    </a:lnTo>
                    <a:lnTo>
                      <a:pt x="66146" y="115428"/>
                    </a:lnTo>
                    <a:lnTo>
                      <a:pt x="66087" y="115607"/>
                    </a:lnTo>
                    <a:lnTo>
                      <a:pt x="65968" y="115906"/>
                    </a:lnTo>
                    <a:lnTo>
                      <a:pt x="65968" y="115966"/>
                    </a:lnTo>
                    <a:lnTo>
                      <a:pt x="65908" y="116205"/>
                    </a:lnTo>
                    <a:lnTo>
                      <a:pt x="65848" y="116325"/>
                    </a:lnTo>
                    <a:lnTo>
                      <a:pt x="65548" y="116923"/>
                    </a:lnTo>
                    <a:lnTo>
                      <a:pt x="65489" y="116983"/>
                    </a:lnTo>
                    <a:lnTo>
                      <a:pt x="65070" y="117820"/>
                    </a:lnTo>
                    <a:lnTo>
                      <a:pt x="64951" y="118059"/>
                    </a:lnTo>
                    <a:lnTo>
                      <a:pt x="64472" y="118957"/>
                    </a:lnTo>
                    <a:lnTo>
                      <a:pt x="63755" y="120332"/>
                    </a:lnTo>
                    <a:lnTo>
                      <a:pt x="63276" y="121289"/>
                    </a:lnTo>
                    <a:lnTo>
                      <a:pt x="63096" y="121648"/>
                    </a:lnTo>
                    <a:lnTo>
                      <a:pt x="61661" y="124399"/>
                    </a:lnTo>
                    <a:lnTo>
                      <a:pt x="59628" y="128406"/>
                    </a:lnTo>
                    <a:lnTo>
                      <a:pt x="58013" y="131456"/>
                    </a:lnTo>
                    <a:lnTo>
                      <a:pt x="57893" y="131696"/>
                    </a:lnTo>
                    <a:lnTo>
                      <a:pt x="57295" y="132832"/>
                    </a:lnTo>
                    <a:lnTo>
                      <a:pt x="56996" y="133370"/>
                    </a:lnTo>
                    <a:lnTo>
                      <a:pt x="55860" y="135344"/>
                    </a:lnTo>
                    <a:lnTo>
                      <a:pt x="53348" y="139590"/>
                    </a:lnTo>
                    <a:lnTo>
                      <a:pt x="53109" y="140068"/>
                    </a:lnTo>
                    <a:lnTo>
                      <a:pt x="50298" y="144793"/>
                    </a:lnTo>
                    <a:lnTo>
                      <a:pt x="48982" y="147006"/>
                    </a:lnTo>
                    <a:lnTo>
                      <a:pt x="46889" y="150475"/>
                    </a:lnTo>
                    <a:lnTo>
                      <a:pt x="46111" y="151791"/>
                    </a:lnTo>
                    <a:lnTo>
                      <a:pt x="45274" y="153226"/>
                    </a:lnTo>
                    <a:lnTo>
                      <a:pt x="45154" y="153406"/>
                    </a:lnTo>
                    <a:lnTo>
                      <a:pt x="45154" y="153406"/>
                    </a:lnTo>
                    <a:lnTo>
                      <a:pt x="44676" y="154243"/>
                    </a:lnTo>
                    <a:lnTo>
                      <a:pt x="44496" y="154542"/>
                    </a:lnTo>
                    <a:lnTo>
                      <a:pt x="44436" y="154661"/>
                    </a:lnTo>
                    <a:lnTo>
                      <a:pt x="44317" y="154841"/>
                    </a:lnTo>
                    <a:lnTo>
                      <a:pt x="44198" y="155020"/>
                    </a:lnTo>
                    <a:lnTo>
                      <a:pt x="42822" y="154123"/>
                    </a:lnTo>
                    <a:lnTo>
                      <a:pt x="41088" y="152987"/>
                    </a:lnTo>
                    <a:lnTo>
                      <a:pt x="40190" y="152389"/>
                    </a:lnTo>
                    <a:lnTo>
                      <a:pt x="38935" y="151551"/>
                    </a:lnTo>
                    <a:lnTo>
                      <a:pt x="38815" y="151492"/>
                    </a:lnTo>
                    <a:lnTo>
                      <a:pt x="38575" y="151312"/>
                    </a:lnTo>
                    <a:lnTo>
                      <a:pt x="38396" y="151193"/>
                    </a:lnTo>
                    <a:lnTo>
                      <a:pt x="37499" y="150595"/>
                    </a:lnTo>
                    <a:lnTo>
                      <a:pt x="37499" y="150595"/>
                    </a:lnTo>
                    <a:lnTo>
                      <a:pt x="37320" y="150475"/>
                    </a:lnTo>
                  </a:path>
                </a:pathLst>
              </a:custGeom>
              <a:noFill/>
              <a:ln w="6350" cap="rnd">
                <a:solidFill>
                  <a:schemeClr val="bg1">
                    <a:alpha val="80000"/>
                  </a:schemeClr>
                </a:solidFill>
                <a:prstDash val="solid"/>
                <a:round/>
              </a:ln>
            </p:spPr>
            <p:txBody>
              <a:bodyPr rtlCol="0" anchor="ctr"/>
              <a:lstStyle/>
              <a:p>
                <a:endParaRPr lang="en-GB"/>
              </a:p>
            </p:txBody>
          </p:sp>
          <p:sp>
            <p:nvSpPr>
              <p:cNvPr id="6412" name="Vrije vorm: vorm 6411">
                <a:extLst>
                  <a:ext uri="{FF2B5EF4-FFF2-40B4-BE49-F238E27FC236}">
                    <a16:creationId xmlns:a16="http://schemas.microsoft.com/office/drawing/2014/main" id="{17FD9956-3DE9-4F47-8A65-72A14584BB6A}"/>
                  </a:ext>
                </a:extLst>
              </p:cNvPr>
              <p:cNvSpPr/>
              <p:nvPr/>
            </p:nvSpPr>
            <p:spPr>
              <a:xfrm>
                <a:off x="6675343" y="1862736"/>
                <a:ext cx="43599" cy="39054"/>
              </a:xfrm>
              <a:custGeom>
                <a:avLst/>
                <a:gdLst>
                  <a:gd name="connsiteX0" fmla="*/ 43599 w 43599"/>
                  <a:gd name="connsiteY0" fmla="*/ 0 h 39054"/>
                  <a:gd name="connsiteX1" fmla="*/ 38875 w 43599"/>
                  <a:gd name="connsiteY1" fmla="*/ 1077 h 39054"/>
                  <a:gd name="connsiteX2" fmla="*/ 38157 w 43599"/>
                  <a:gd name="connsiteY2" fmla="*/ 1256 h 39054"/>
                  <a:gd name="connsiteX3" fmla="*/ 36841 w 43599"/>
                  <a:gd name="connsiteY3" fmla="*/ 1555 h 39054"/>
                  <a:gd name="connsiteX4" fmla="*/ 35227 w 43599"/>
                  <a:gd name="connsiteY4" fmla="*/ 1914 h 39054"/>
                  <a:gd name="connsiteX5" fmla="*/ 26016 w 43599"/>
                  <a:gd name="connsiteY5" fmla="*/ 7057 h 39054"/>
                  <a:gd name="connsiteX6" fmla="*/ 25956 w 43599"/>
                  <a:gd name="connsiteY6" fmla="*/ 7117 h 39054"/>
                  <a:gd name="connsiteX7" fmla="*/ 19079 w 43599"/>
                  <a:gd name="connsiteY7" fmla="*/ 13038 h 39054"/>
                  <a:gd name="connsiteX8" fmla="*/ 16746 w 43599"/>
                  <a:gd name="connsiteY8" fmla="*/ 15012 h 39054"/>
                  <a:gd name="connsiteX9" fmla="*/ 16746 w 43599"/>
                  <a:gd name="connsiteY9" fmla="*/ 15012 h 39054"/>
                  <a:gd name="connsiteX10" fmla="*/ 14174 w 43599"/>
                  <a:gd name="connsiteY10" fmla="*/ 18062 h 39054"/>
                  <a:gd name="connsiteX11" fmla="*/ 8134 w 43599"/>
                  <a:gd name="connsiteY11" fmla="*/ 25239 h 39054"/>
                  <a:gd name="connsiteX12" fmla="*/ 7655 w 43599"/>
                  <a:gd name="connsiteY12" fmla="*/ 26076 h 39054"/>
                  <a:gd name="connsiteX13" fmla="*/ 1555 w 43599"/>
                  <a:gd name="connsiteY13" fmla="*/ 35884 h 39054"/>
                  <a:gd name="connsiteX14" fmla="*/ 957 w 43599"/>
                  <a:gd name="connsiteY14" fmla="*/ 36781 h 39054"/>
                  <a:gd name="connsiteX15" fmla="*/ 0 w 43599"/>
                  <a:gd name="connsiteY15" fmla="*/ 39054 h 3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99" h="39054">
                    <a:moveTo>
                      <a:pt x="43599" y="0"/>
                    </a:moveTo>
                    <a:lnTo>
                      <a:pt x="38875" y="1077"/>
                    </a:lnTo>
                    <a:lnTo>
                      <a:pt x="38157" y="1256"/>
                    </a:lnTo>
                    <a:lnTo>
                      <a:pt x="36841" y="1555"/>
                    </a:lnTo>
                    <a:lnTo>
                      <a:pt x="35227" y="1914"/>
                    </a:lnTo>
                    <a:lnTo>
                      <a:pt x="26016" y="7057"/>
                    </a:lnTo>
                    <a:lnTo>
                      <a:pt x="25956" y="7117"/>
                    </a:lnTo>
                    <a:lnTo>
                      <a:pt x="19079" y="13038"/>
                    </a:lnTo>
                    <a:lnTo>
                      <a:pt x="16746" y="15012"/>
                    </a:lnTo>
                    <a:lnTo>
                      <a:pt x="16746" y="15012"/>
                    </a:lnTo>
                    <a:lnTo>
                      <a:pt x="14174" y="18062"/>
                    </a:lnTo>
                    <a:lnTo>
                      <a:pt x="8134" y="25239"/>
                    </a:lnTo>
                    <a:lnTo>
                      <a:pt x="7655" y="26076"/>
                    </a:lnTo>
                    <a:lnTo>
                      <a:pt x="1555" y="35884"/>
                    </a:lnTo>
                    <a:lnTo>
                      <a:pt x="957" y="36781"/>
                    </a:lnTo>
                    <a:lnTo>
                      <a:pt x="0" y="39054"/>
                    </a:lnTo>
                  </a:path>
                </a:pathLst>
              </a:custGeom>
              <a:noFill/>
              <a:ln w="6350" cap="rnd">
                <a:solidFill>
                  <a:schemeClr val="bg1">
                    <a:alpha val="80000"/>
                  </a:schemeClr>
                </a:solidFill>
                <a:prstDash val="solid"/>
                <a:round/>
              </a:ln>
            </p:spPr>
            <p:txBody>
              <a:bodyPr rtlCol="0" anchor="ctr"/>
              <a:lstStyle/>
              <a:p>
                <a:endParaRPr lang="en-GB"/>
              </a:p>
            </p:txBody>
          </p:sp>
          <p:sp>
            <p:nvSpPr>
              <p:cNvPr id="6413" name="Vrije vorm: vorm 6412">
                <a:extLst>
                  <a:ext uri="{FF2B5EF4-FFF2-40B4-BE49-F238E27FC236}">
                    <a16:creationId xmlns:a16="http://schemas.microsoft.com/office/drawing/2014/main" id="{10068798-47C1-447B-93E6-3F8489B93C22}"/>
                  </a:ext>
                </a:extLst>
              </p:cNvPr>
              <p:cNvSpPr/>
              <p:nvPr/>
            </p:nvSpPr>
            <p:spPr>
              <a:xfrm>
                <a:off x="6921748" y="2058365"/>
                <a:ext cx="2452" cy="777"/>
              </a:xfrm>
              <a:custGeom>
                <a:avLst/>
                <a:gdLst>
                  <a:gd name="connsiteX0" fmla="*/ 2452 w 2452"/>
                  <a:gd name="connsiteY0" fmla="*/ 0 h 777"/>
                  <a:gd name="connsiteX1" fmla="*/ 2213 w 2452"/>
                  <a:gd name="connsiteY1" fmla="*/ 419 h 777"/>
                  <a:gd name="connsiteX2" fmla="*/ 1794 w 2452"/>
                  <a:gd name="connsiteY2" fmla="*/ 777 h 777"/>
                  <a:gd name="connsiteX3" fmla="*/ 1316 w 2452"/>
                  <a:gd name="connsiteY3" fmla="*/ 658 h 777"/>
                  <a:gd name="connsiteX4" fmla="*/ 1017 w 2452"/>
                  <a:gd name="connsiteY4" fmla="*/ 598 h 777"/>
                  <a:gd name="connsiteX5" fmla="*/ 658 w 2452"/>
                  <a:gd name="connsiteY5" fmla="*/ 478 h 777"/>
                  <a:gd name="connsiteX6" fmla="*/ 0 w 2452"/>
                  <a:gd name="connsiteY6" fmla="*/ 299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2" h="777">
                    <a:moveTo>
                      <a:pt x="2452" y="0"/>
                    </a:moveTo>
                    <a:lnTo>
                      <a:pt x="2213" y="419"/>
                    </a:lnTo>
                    <a:lnTo>
                      <a:pt x="1794" y="777"/>
                    </a:lnTo>
                    <a:lnTo>
                      <a:pt x="1316" y="658"/>
                    </a:lnTo>
                    <a:lnTo>
                      <a:pt x="1017" y="598"/>
                    </a:lnTo>
                    <a:lnTo>
                      <a:pt x="658" y="478"/>
                    </a:lnTo>
                    <a:lnTo>
                      <a:pt x="0" y="299"/>
                    </a:lnTo>
                  </a:path>
                </a:pathLst>
              </a:custGeom>
              <a:noFill/>
              <a:ln w="6350" cap="rnd">
                <a:solidFill>
                  <a:schemeClr val="bg1">
                    <a:alpha val="80000"/>
                  </a:schemeClr>
                </a:solidFill>
                <a:prstDash val="solid"/>
                <a:round/>
              </a:ln>
            </p:spPr>
            <p:txBody>
              <a:bodyPr rtlCol="0" anchor="ctr"/>
              <a:lstStyle/>
              <a:p>
                <a:endParaRPr lang="en-GB"/>
              </a:p>
            </p:txBody>
          </p:sp>
          <p:sp>
            <p:nvSpPr>
              <p:cNvPr id="6414" name="Vrije vorm: vorm 6413">
                <a:extLst>
                  <a:ext uri="{FF2B5EF4-FFF2-40B4-BE49-F238E27FC236}">
                    <a16:creationId xmlns:a16="http://schemas.microsoft.com/office/drawing/2014/main" id="{4C01BF10-AAB5-4B2D-8825-92C350DDE01B}"/>
                  </a:ext>
                </a:extLst>
              </p:cNvPr>
              <p:cNvSpPr/>
              <p:nvPr/>
            </p:nvSpPr>
            <p:spPr>
              <a:xfrm>
                <a:off x="6701478" y="1899039"/>
                <a:ext cx="11423" cy="5262"/>
              </a:xfrm>
              <a:custGeom>
                <a:avLst/>
                <a:gdLst>
                  <a:gd name="connsiteX0" fmla="*/ 0 w 11423"/>
                  <a:gd name="connsiteY0" fmla="*/ 0 h 5262"/>
                  <a:gd name="connsiteX1" fmla="*/ 4964 w 11423"/>
                  <a:gd name="connsiteY1" fmla="*/ 2273 h 5262"/>
                  <a:gd name="connsiteX2" fmla="*/ 6041 w 11423"/>
                  <a:gd name="connsiteY2" fmla="*/ 2751 h 5262"/>
                  <a:gd name="connsiteX3" fmla="*/ 11423 w 11423"/>
                  <a:gd name="connsiteY3" fmla="*/ 5203 h 5262"/>
                  <a:gd name="connsiteX4" fmla="*/ 11364 w 11423"/>
                  <a:gd name="connsiteY4" fmla="*/ 5263 h 5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23" h="5262">
                    <a:moveTo>
                      <a:pt x="0" y="0"/>
                    </a:moveTo>
                    <a:lnTo>
                      <a:pt x="4964" y="2273"/>
                    </a:lnTo>
                    <a:lnTo>
                      <a:pt x="6041" y="2751"/>
                    </a:lnTo>
                    <a:lnTo>
                      <a:pt x="11423" y="5203"/>
                    </a:lnTo>
                    <a:lnTo>
                      <a:pt x="11364" y="5263"/>
                    </a:lnTo>
                  </a:path>
                </a:pathLst>
              </a:custGeom>
              <a:noFill/>
              <a:ln w="6350" cap="rnd">
                <a:solidFill>
                  <a:schemeClr val="bg1">
                    <a:alpha val="80000"/>
                  </a:schemeClr>
                </a:solidFill>
                <a:prstDash val="solid"/>
                <a:round/>
              </a:ln>
            </p:spPr>
            <p:txBody>
              <a:bodyPr rtlCol="0" anchor="ctr"/>
              <a:lstStyle/>
              <a:p>
                <a:endParaRPr lang="en-GB"/>
              </a:p>
            </p:txBody>
          </p:sp>
          <p:sp>
            <p:nvSpPr>
              <p:cNvPr id="6415" name="Vrije vorm: vorm 6414">
                <a:extLst>
                  <a:ext uri="{FF2B5EF4-FFF2-40B4-BE49-F238E27FC236}">
                    <a16:creationId xmlns:a16="http://schemas.microsoft.com/office/drawing/2014/main" id="{C2CC8317-098F-4004-A03B-E11F11828F2C}"/>
                  </a:ext>
                </a:extLst>
              </p:cNvPr>
              <p:cNvSpPr/>
              <p:nvPr/>
            </p:nvSpPr>
            <p:spPr>
              <a:xfrm>
                <a:off x="6861044" y="1790549"/>
                <a:ext cx="538" cy="1854"/>
              </a:xfrm>
              <a:custGeom>
                <a:avLst/>
                <a:gdLst>
                  <a:gd name="connsiteX0" fmla="*/ 0 w 538"/>
                  <a:gd name="connsiteY0" fmla="*/ 1854 h 1854"/>
                  <a:gd name="connsiteX1" fmla="*/ 0 w 538"/>
                  <a:gd name="connsiteY1" fmla="*/ 1794 h 1854"/>
                  <a:gd name="connsiteX2" fmla="*/ 0 w 538"/>
                  <a:gd name="connsiteY2" fmla="*/ 1555 h 1854"/>
                  <a:gd name="connsiteX3" fmla="*/ 0 w 538"/>
                  <a:gd name="connsiteY3" fmla="*/ 1196 h 1854"/>
                  <a:gd name="connsiteX4" fmla="*/ 538 w 538"/>
                  <a:gd name="connsiteY4" fmla="*/ 0 h 1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 h="1854">
                    <a:moveTo>
                      <a:pt x="0" y="1854"/>
                    </a:moveTo>
                    <a:lnTo>
                      <a:pt x="0" y="1794"/>
                    </a:lnTo>
                    <a:lnTo>
                      <a:pt x="0" y="1555"/>
                    </a:lnTo>
                    <a:lnTo>
                      <a:pt x="0" y="1196"/>
                    </a:lnTo>
                    <a:lnTo>
                      <a:pt x="538" y="0"/>
                    </a:lnTo>
                  </a:path>
                </a:pathLst>
              </a:custGeom>
              <a:noFill/>
              <a:ln w="6350" cap="rnd">
                <a:solidFill>
                  <a:schemeClr val="bg1">
                    <a:alpha val="80000"/>
                  </a:schemeClr>
                </a:solidFill>
                <a:prstDash val="solid"/>
                <a:round/>
              </a:ln>
            </p:spPr>
            <p:txBody>
              <a:bodyPr rtlCol="0" anchor="ctr"/>
              <a:lstStyle/>
              <a:p>
                <a:endParaRPr lang="en-GB"/>
              </a:p>
            </p:txBody>
          </p:sp>
          <p:sp>
            <p:nvSpPr>
              <p:cNvPr id="6416" name="Vrije vorm: vorm 6415">
                <a:extLst>
                  <a:ext uri="{FF2B5EF4-FFF2-40B4-BE49-F238E27FC236}">
                    <a16:creationId xmlns:a16="http://schemas.microsoft.com/office/drawing/2014/main" id="{12A289D0-1416-48BB-8A0D-510DF2569A28}"/>
                  </a:ext>
                </a:extLst>
              </p:cNvPr>
              <p:cNvSpPr/>
              <p:nvPr/>
            </p:nvSpPr>
            <p:spPr>
              <a:xfrm>
                <a:off x="7049437" y="1890726"/>
                <a:ext cx="57773" cy="82533"/>
              </a:xfrm>
              <a:custGeom>
                <a:avLst/>
                <a:gdLst>
                  <a:gd name="connsiteX0" fmla="*/ 0 w 57773"/>
                  <a:gd name="connsiteY0" fmla="*/ 0 h 82533"/>
                  <a:gd name="connsiteX1" fmla="*/ 1555 w 57773"/>
                  <a:gd name="connsiteY1" fmla="*/ 777 h 82533"/>
                  <a:gd name="connsiteX2" fmla="*/ 1555 w 57773"/>
                  <a:gd name="connsiteY2" fmla="*/ 777 h 82533"/>
                  <a:gd name="connsiteX3" fmla="*/ 1854 w 57773"/>
                  <a:gd name="connsiteY3" fmla="*/ 897 h 82533"/>
                  <a:gd name="connsiteX4" fmla="*/ 1973 w 57773"/>
                  <a:gd name="connsiteY4" fmla="*/ 957 h 82533"/>
                  <a:gd name="connsiteX5" fmla="*/ 3110 w 57773"/>
                  <a:gd name="connsiteY5" fmla="*/ 1495 h 82533"/>
                  <a:gd name="connsiteX6" fmla="*/ 3170 w 57773"/>
                  <a:gd name="connsiteY6" fmla="*/ 1495 h 82533"/>
                  <a:gd name="connsiteX7" fmla="*/ 3648 w 57773"/>
                  <a:gd name="connsiteY7" fmla="*/ 1734 h 82533"/>
                  <a:gd name="connsiteX8" fmla="*/ 5981 w 57773"/>
                  <a:gd name="connsiteY8" fmla="*/ 2871 h 82533"/>
                  <a:gd name="connsiteX9" fmla="*/ 10406 w 57773"/>
                  <a:gd name="connsiteY9" fmla="*/ 5084 h 82533"/>
                  <a:gd name="connsiteX10" fmla="*/ 11483 w 57773"/>
                  <a:gd name="connsiteY10" fmla="*/ 5622 h 82533"/>
                  <a:gd name="connsiteX11" fmla="*/ 12619 w 57773"/>
                  <a:gd name="connsiteY11" fmla="*/ 6519 h 82533"/>
                  <a:gd name="connsiteX12" fmla="*/ 12799 w 57773"/>
                  <a:gd name="connsiteY12" fmla="*/ 6639 h 82533"/>
                  <a:gd name="connsiteX13" fmla="*/ 12799 w 57773"/>
                  <a:gd name="connsiteY13" fmla="*/ 6639 h 82533"/>
                  <a:gd name="connsiteX14" fmla="*/ 13277 w 57773"/>
                  <a:gd name="connsiteY14" fmla="*/ 7057 h 82533"/>
                  <a:gd name="connsiteX15" fmla="*/ 21650 w 57773"/>
                  <a:gd name="connsiteY15" fmla="*/ 13696 h 82533"/>
                  <a:gd name="connsiteX16" fmla="*/ 21830 w 57773"/>
                  <a:gd name="connsiteY16" fmla="*/ 13815 h 82533"/>
                  <a:gd name="connsiteX17" fmla="*/ 21890 w 57773"/>
                  <a:gd name="connsiteY17" fmla="*/ 13875 h 82533"/>
                  <a:gd name="connsiteX18" fmla="*/ 22069 w 57773"/>
                  <a:gd name="connsiteY18" fmla="*/ 13995 h 82533"/>
                  <a:gd name="connsiteX19" fmla="*/ 22787 w 57773"/>
                  <a:gd name="connsiteY19" fmla="*/ 14533 h 82533"/>
                  <a:gd name="connsiteX20" fmla="*/ 24222 w 57773"/>
                  <a:gd name="connsiteY20" fmla="*/ 15669 h 82533"/>
                  <a:gd name="connsiteX21" fmla="*/ 40071 w 57773"/>
                  <a:gd name="connsiteY21" fmla="*/ 29485 h 82533"/>
                  <a:gd name="connsiteX22" fmla="*/ 48145 w 57773"/>
                  <a:gd name="connsiteY22" fmla="*/ 38994 h 82533"/>
                  <a:gd name="connsiteX23" fmla="*/ 50836 w 57773"/>
                  <a:gd name="connsiteY23" fmla="*/ 42942 h 82533"/>
                  <a:gd name="connsiteX24" fmla="*/ 54305 w 57773"/>
                  <a:gd name="connsiteY24" fmla="*/ 50537 h 82533"/>
                  <a:gd name="connsiteX25" fmla="*/ 56159 w 57773"/>
                  <a:gd name="connsiteY25" fmla="*/ 55082 h 82533"/>
                  <a:gd name="connsiteX26" fmla="*/ 57355 w 57773"/>
                  <a:gd name="connsiteY26" fmla="*/ 60286 h 82533"/>
                  <a:gd name="connsiteX27" fmla="*/ 57654 w 57773"/>
                  <a:gd name="connsiteY27" fmla="*/ 66565 h 82533"/>
                  <a:gd name="connsiteX28" fmla="*/ 57774 w 57773"/>
                  <a:gd name="connsiteY28" fmla="*/ 73383 h 82533"/>
                  <a:gd name="connsiteX29" fmla="*/ 57116 w 57773"/>
                  <a:gd name="connsiteY29" fmla="*/ 78048 h 82533"/>
                  <a:gd name="connsiteX30" fmla="*/ 54604 w 57773"/>
                  <a:gd name="connsiteY30" fmla="*/ 82534 h 82533"/>
                  <a:gd name="connsiteX31" fmla="*/ 51614 w 57773"/>
                  <a:gd name="connsiteY31" fmla="*/ 82414 h 8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7773" h="82533">
                    <a:moveTo>
                      <a:pt x="0" y="0"/>
                    </a:moveTo>
                    <a:lnTo>
                      <a:pt x="1555" y="777"/>
                    </a:lnTo>
                    <a:lnTo>
                      <a:pt x="1555" y="777"/>
                    </a:lnTo>
                    <a:lnTo>
                      <a:pt x="1854" y="897"/>
                    </a:lnTo>
                    <a:lnTo>
                      <a:pt x="1973" y="957"/>
                    </a:lnTo>
                    <a:lnTo>
                      <a:pt x="3110" y="1495"/>
                    </a:lnTo>
                    <a:lnTo>
                      <a:pt x="3170" y="1495"/>
                    </a:lnTo>
                    <a:lnTo>
                      <a:pt x="3648" y="1734"/>
                    </a:lnTo>
                    <a:lnTo>
                      <a:pt x="5981" y="2871"/>
                    </a:lnTo>
                    <a:lnTo>
                      <a:pt x="10406" y="5084"/>
                    </a:lnTo>
                    <a:lnTo>
                      <a:pt x="11483" y="5622"/>
                    </a:lnTo>
                    <a:lnTo>
                      <a:pt x="12619" y="6519"/>
                    </a:lnTo>
                    <a:lnTo>
                      <a:pt x="12799" y="6639"/>
                    </a:lnTo>
                    <a:lnTo>
                      <a:pt x="12799" y="6639"/>
                    </a:lnTo>
                    <a:lnTo>
                      <a:pt x="13277" y="7057"/>
                    </a:lnTo>
                    <a:lnTo>
                      <a:pt x="21650" y="13696"/>
                    </a:lnTo>
                    <a:lnTo>
                      <a:pt x="21830" y="13815"/>
                    </a:lnTo>
                    <a:lnTo>
                      <a:pt x="21890" y="13875"/>
                    </a:lnTo>
                    <a:lnTo>
                      <a:pt x="22069" y="13995"/>
                    </a:lnTo>
                    <a:lnTo>
                      <a:pt x="22787" y="14533"/>
                    </a:lnTo>
                    <a:lnTo>
                      <a:pt x="24222" y="15669"/>
                    </a:lnTo>
                    <a:lnTo>
                      <a:pt x="40071" y="29485"/>
                    </a:lnTo>
                    <a:lnTo>
                      <a:pt x="48145" y="38994"/>
                    </a:lnTo>
                    <a:lnTo>
                      <a:pt x="50836" y="42942"/>
                    </a:lnTo>
                    <a:lnTo>
                      <a:pt x="54305" y="50537"/>
                    </a:lnTo>
                    <a:lnTo>
                      <a:pt x="56159" y="55082"/>
                    </a:lnTo>
                    <a:lnTo>
                      <a:pt x="57355" y="60286"/>
                    </a:lnTo>
                    <a:lnTo>
                      <a:pt x="57654" y="66565"/>
                    </a:lnTo>
                    <a:lnTo>
                      <a:pt x="57774" y="73383"/>
                    </a:lnTo>
                    <a:lnTo>
                      <a:pt x="57116" y="78048"/>
                    </a:lnTo>
                    <a:lnTo>
                      <a:pt x="54604" y="82534"/>
                    </a:lnTo>
                    <a:lnTo>
                      <a:pt x="51614" y="82414"/>
                    </a:lnTo>
                  </a:path>
                </a:pathLst>
              </a:custGeom>
              <a:noFill/>
              <a:ln w="6350" cap="rnd">
                <a:solidFill>
                  <a:schemeClr val="bg1">
                    <a:alpha val="80000"/>
                  </a:schemeClr>
                </a:solidFill>
                <a:prstDash val="solid"/>
                <a:round/>
              </a:ln>
            </p:spPr>
            <p:txBody>
              <a:bodyPr rtlCol="0" anchor="ctr"/>
              <a:lstStyle/>
              <a:p>
                <a:endParaRPr lang="en-GB"/>
              </a:p>
            </p:txBody>
          </p:sp>
          <p:sp>
            <p:nvSpPr>
              <p:cNvPr id="6417" name="Vrije vorm: vorm 6416">
                <a:extLst>
                  <a:ext uri="{FF2B5EF4-FFF2-40B4-BE49-F238E27FC236}">
                    <a16:creationId xmlns:a16="http://schemas.microsoft.com/office/drawing/2014/main" id="{25649C5A-29CB-4785-9DF6-2BD2E51BAA69}"/>
                  </a:ext>
                </a:extLst>
              </p:cNvPr>
              <p:cNvSpPr/>
              <p:nvPr/>
            </p:nvSpPr>
            <p:spPr>
              <a:xfrm>
                <a:off x="6940588" y="2044011"/>
                <a:ext cx="4605" cy="2870"/>
              </a:xfrm>
              <a:custGeom>
                <a:avLst/>
                <a:gdLst>
                  <a:gd name="connsiteX0" fmla="*/ 4605 w 4605"/>
                  <a:gd name="connsiteY0" fmla="*/ 2871 h 2870"/>
                  <a:gd name="connsiteX1" fmla="*/ 4306 w 4605"/>
                  <a:gd name="connsiteY1" fmla="*/ 2811 h 2870"/>
                  <a:gd name="connsiteX2" fmla="*/ 4306 w 4605"/>
                  <a:gd name="connsiteY2" fmla="*/ 2811 h 2870"/>
                  <a:gd name="connsiteX3" fmla="*/ 0 w 4605"/>
                  <a:gd name="connsiteY3" fmla="*/ 0 h 2870"/>
                </a:gdLst>
                <a:ahLst/>
                <a:cxnLst>
                  <a:cxn ang="0">
                    <a:pos x="connsiteX0" y="connsiteY0"/>
                  </a:cxn>
                  <a:cxn ang="0">
                    <a:pos x="connsiteX1" y="connsiteY1"/>
                  </a:cxn>
                  <a:cxn ang="0">
                    <a:pos x="connsiteX2" y="connsiteY2"/>
                  </a:cxn>
                  <a:cxn ang="0">
                    <a:pos x="connsiteX3" y="connsiteY3"/>
                  </a:cxn>
                </a:cxnLst>
                <a:rect l="l" t="t" r="r" b="b"/>
                <a:pathLst>
                  <a:path w="4605" h="2870">
                    <a:moveTo>
                      <a:pt x="4605" y="2871"/>
                    </a:moveTo>
                    <a:lnTo>
                      <a:pt x="4306" y="2811"/>
                    </a:lnTo>
                    <a:lnTo>
                      <a:pt x="4306" y="2811"/>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18" name="Vrije vorm: vorm 6417">
                <a:extLst>
                  <a:ext uri="{FF2B5EF4-FFF2-40B4-BE49-F238E27FC236}">
                    <a16:creationId xmlns:a16="http://schemas.microsoft.com/office/drawing/2014/main" id="{2A660FC5-567F-4263-BA8C-501C9017BCB3}"/>
                  </a:ext>
                </a:extLst>
              </p:cNvPr>
              <p:cNvSpPr/>
              <p:nvPr/>
            </p:nvSpPr>
            <p:spPr>
              <a:xfrm>
                <a:off x="7082091" y="1879482"/>
                <a:ext cx="478" cy="1136"/>
              </a:xfrm>
              <a:custGeom>
                <a:avLst/>
                <a:gdLst>
                  <a:gd name="connsiteX0" fmla="*/ 0 w 478"/>
                  <a:gd name="connsiteY0" fmla="*/ 0 h 1136"/>
                  <a:gd name="connsiteX1" fmla="*/ 479 w 478"/>
                  <a:gd name="connsiteY1" fmla="*/ 359 h 1136"/>
                  <a:gd name="connsiteX2" fmla="*/ 180 w 478"/>
                  <a:gd name="connsiteY2" fmla="*/ 837 h 1136"/>
                  <a:gd name="connsiteX3" fmla="*/ 180 w 478"/>
                  <a:gd name="connsiteY3" fmla="*/ 837 h 1136"/>
                  <a:gd name="connsiteX4" fmla="*/ 60 w 478"/>
                  <a:gd name="connsiteY4" fmla="*/ 1017 h 1136"/>
                  <a:gd name="connsiteX5" fmla="*/ 60 w 478"/>
                  <a:gd name="connsiteY5" fmla="*/ 1017 h 1136"/>
                  <a:gd name="connsiteX6" fmla="*/ 0 w 478"/>
                  <a:gd name="connsiteY6" fmla="*/ 1136 h 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 h="1136">
                    <a:moveTo>
                      <a:pt x="0" y="0"/>
                    </a:moveTo>
                    <a:lnTo>
                      <a:pt x="479" y="359"/>
                    </a:lnTo>
                    <a:lnTo>
                      <a:pt x="180" y="837"/>
                    </a:lnTo>
                    <a:lnTo>
                      <a:pt x="180" y="837"/>
                    </a:lnTo>
                    <a:lnTo>
                      <a:pt x="60" y="1017"/>
                    </a:lnTo>
                    <a:lnTo>
                      <a:pt x="60" y="1017"/>
                    </a:lnTo>
                    <a:lnTo>
                      <a:pt x="0" y="1136"/>
                    </a:lnTo>
                  </a:path>
                </a:pathLst>
              </a:custGeom>
              <a:noFill/>
              <a:ln w="6350" cap="rnd">
                <a:solidFill>
                  <a:schemeClr val="bg1">
                    <a:alpha val="80000"/>
                  </a:schemeClr>
                </a:solidFill>
                <a:prstDash val="solid"/>
                <a:round/>
              </a:ln>
            </p:spPr>
            <p:txBody>
              <a:bodyPr rtlCol="0" anchor="ctr"/>
              <a:lstStyle/>
              <a:p>
                <a:endParaRPr lang="en-GB"/>
              </a:p>
            </p:txBody>
          </p:sp>
          <p:sp>
            <p:nvSpPr>
              <p:cNvPr id="6419" name="Vrije vorm: vorm 6418">
                <a:extLst>
                  <a:ext uri="{FF2B5EF4-FFF2-40B4-BE49-F238E27FC236}">
                    <a16:creationId xmlns:a16="http://schemas.microsoft.com/office/drawing/2014/main" id="{08BC4ECC-1043-4C7A-A480-9315E4BAB1C2}"/>
                  </a:ext>
                </a:extLst>
              </p:cNvPr>
              <p:cNvSpPr/>
              <p:nvPr/>
            </p:nvSpPr>
            <p:spPr>
              <a:xfrm>
                <a:off x="7081912" y="1880439"/>
                <a:ext cx="178" cy="119"/>
              </a:xfrm>
              <a:custGeom>
                <a:avLst/>
                <a:gdLst>
                  <a:gd name="connsiteX0" fmla="*/ 0 w 178"/>
                  <a:gd name="connsiteY0" fmla="*/ 0 h 119"/>
                  <a:gd name="connsiteX1" fmla="*/ 179 w 178"/>
                  <a:gd name="connsiteY1" fmla="*/ 120 h 119"/>
                  <a:gd name="connsiteX2" fmla="*/ 0 w 178"/>
                  <a:gd name="connsiteY2" fmla="*/ 0 h 119"/>
                </a:gdLst>
                <a:ahLst/>
                <a:cxnLst>
                  <a:cxn ang="0">
                    <a:pos x="connsiteX0" y="connsiteY0"/>
                  </a:cxn>
                  <a:cxn ang="0">
                    <a:pos x="connsiteX1" y="connsiteY1"/>
                  </a:cxn>
                  <a:cxn ang="0">
                    <a:pos x="connsiteX2" y="connsiteY2"/>
                  </a:cxn>
                </a:cxnLst>
                <a:rect l="l" t="t" r="r" b="b"/>
                <a:pathLst>
                  <a:path w="178" h="119">
                    <a:moveTo>
                      <a:pt x="0" y="0"/>
                    </a:moveTo>
                    <a:lnTo>
                      <a:pt x="179"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20" name="Vrije vorm: vorm 6419">
                <a:extLst>
                  <a:ext uri="{FF2B5EF4-FFF2-40B4-BE49-F238E27FC236}">
                    <a16:creationId xmlns:a16="http://schemas.microsoft.com/office/drawing/2014/main" id="{A3BAFE67-4C3A-48C4-AF7B-A579D9E264B6}"/>
                  </a:ext>
                </a:extLst>
              </p:cNvPr>
              <p:cNvSpPr/>
              <p:nvPr/>
            </p:nvSpPr>
            <p:spPr>
              <a:xfrm>
                <a:off x="6992799" y="1837198"/>
                <a:ext cx="4365" cy="7416"/>
              </a:xfrm>
              <a:custGeom>
                <a:avLst/>
                <a:gdLst>
                  <a:gd name="connsiteX0" fmla="*/ 0 w 4365"/>
                  <a:gd name="connsiteY0" fmla="*/ 7416 h 7416"/>
                  <a:gd name="connsiteX1" fmla="*/ 60 w 4365"/>
                  <a:gd name="connsiteY1" fmla="*/ 7177 h 7416"/>
                  <a:gd name="connsiteX2" fmla="*/ 778 w 4365"/>
                  <a:gd name="connsiteY2" fmla="*/ 5981 h 7416"/>
                  <a:gd name="connsiteX3" fmla="*/ 3588 w 4365"/>
                  <a:gd name="connsiteY3" fmla="*/ 1256 h 7416"/>
                  <a:gd name="connsiteX4" fmla="*/ 4186 w 4365"/>
                  <a:gd name="connsiteY4" fmla="*/ 180 h 7416"/>
                  <a:gd name="connsiteX5" fmla="*/ 4366 w 4365"/>
                  <a:gd name="connsiteY5" fmla="*/ 0 h 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65" h="7416">
                    <a:moveTo>
                      <a:pt x="0" y="7416"/>
                    </a:moveTo>
                    <a:lnTo>
                      <a:pt x="60" y="7177"/>
                    </a:lnTo>
                    <a:lnTo>
                      <a:pt x="778" y="5981"/>
                    </a:lnTo>
                    <a:lnTo>
                      <a:pt x="3588" y="1256"/>
                    </a:lnTo>
                    <a:lnTo>
                      <a:pt x="4186" y="180"/>
                    </a:lnTo>
                    <a:lnTo>
                      <a:pt x="4366" y="0"/>
                    </a:lnTo>
                  </a:path>
                </a:pathLst>
              </a:custGeom>
              <a:noFill/>
              <a:ln w="6350" cap="rnd">
                <a:solidFill>
                  <a:schemeClr val="bg1">
                    <a:alpha val="80000"/>
                  </a:schemeClr>
                </a:solidFill>
                <a:prstDash val="solid"/>
                <a:round/>
              </a:ln>
            </p:spPr>
            <p:txBody>
              <a:bodyPr rtlCol="0" anchor="ctr"/>
              <a:lstStyle/>
              <a:p>
                <a:endParaRPr lang="en-GB"/>
              </a:p>
            </p:txBody>
          </p:sp>
          <p:sp>
            <p:nvSpPr>
              <p:cNvPr id="6421" name="Vrije vorm: vorm 6420">
                <a:extLst>
                  <a:ext uri="{FF2B5EF4-FFF2-40B4-BE49-F238E27FC236}">
                    <a16:creationId xmlns:a16="http://schemas.microsoft.com/office/drawing/2014/main" id="{8A23A07F-54DD-413E-8E73-4451656113BF}"/>
                  </a:ext>
                </a:extLst>
              </p:cNvPr>
              <p:cNvSpPr/>
              <p:nvPr/>
            </p:nvSpPr>
            <p:spPr>
              <a:xfrm>
                <a:off x="6752793" y="1964229"/>
                <a:ext cx="10705" cy="27571"/>
              </a:xfrm>
              <a:custGeom>
                <a:avLst/>
                <a:gdLst>
                  <a:gd name="connsiteX0" fmla="*/ 4725 w 10705"/>
                  <a:gd name="connsiteY0" fmla="*/ 27571 h 27571"/>
                  <a:gd name="connsiteX1" fmla="*/ 3947 w 10705"/>
                  <a:gd name="connsiteY1" fmla="*/ 25119 h 27571"/>
                  <a:gd name="connsiteX2" fmla="*/ 3887 w 10705"/>
                  <a:gd name="connsiteY2" fmla="*/ 24880 h 27571"/>
                  <a:gd name="connsiteX3" fmla="*/ 3828 w 10705"/>
                  <a:gd name="connsiteY3" fmla="*/ 24641 h 27571"/>
                  <a:gd name="connsiteX4" fmla="*/ 3648 w 10705"/>
                  <a:gd name="connsiteY4" fmla="*/ 24043 h 27571"/>
                  <a:gd name="connsiteX5" fmla="*/ 3229 w 10705"/>
                  <a:gd name="connsiteY5" fmla="*/ 23385 h 27571"/>
                  <a:gd name="connsiteX6" fmla="*/ 359 w 10705"/>
                  <a:gd name="connsiteY6" fmla="*/ 18779 h 27571"/>
                  <a:gd name="connsiteX7" fmla="*/ 179 w 10705"/>
                  <a:gd name="connsiteY7" fmla="*/ 16806 h 27571"/>
                  <a:gd name="connsiteX8" fmla="*/ 60 w 10705"/>
                  <a:gd name="connsiteY8" fmla="*/ 15669 h 27571"/>
                  <a:gd name="connsiteX9" fmla="*/ 0 w 10705"/>
                  <a:gd name="connsiteY9" fmla="*/ 14832 h 27571"/>
                  <a:gd name="connsiteX10" fmla="*/ 0 w 10705"/>
                  <a:gd name="connsiteY10" fmla="*/ 14713 h 27571"/>
                  <a:gd name="connsiteX11" fmla="*/ 718 w 10705"/>
                  <a:gd name="connsiteY11" fmla="*/ 11842 h 27571"/>
                  <a:gd name="connsiteX12" fmla="*/ 837 w 10705"/>
                  <a:gd name="connsiteY12" fmla="*/ 11363 h 27571"/>
                  <a:gd name="connsiteX13" fmla="*/ 1196 w 10705"/>
                  <a:gd name="connsiteY13" fmla="*/ 9928 h 27571"/>
                  <a:gd name="connsiteX14" fmla="*/ 1794 w 10705"/>
                  <a:gd name="connsiteY14" fmla="*/ 7596 h 27571"/>
                  <a:gd name="connsiteX15" fmla="*/ 1914 w 10705"/>
                  <a:gd name="connsiteY15" fmla="*/ 7057 h 27571"/>
                  <a:gd name="connsiteX16" fmla="*/ 2512 w 10705"/>
                  <a:gd name="connsiteY16" fmla="*/ 5383 h 27571"/>
                  <a:gd name="connsiteX17" fmla="*/ 2871 w 10705"/>
                  <a:gd name="connsiteY17" fmla="*/ 4366 h 27571"/>
                  <a:gd name="connsiteX18" fmla="*/ 2990 w 10705"/>
                  <a:gd name="connsiteY18" fmla="*/ 4007 h 27571"/>
                  <a:gd name="connsiteX19" fmla="*/ 3469 w 10705"/>
                  <a:gd name="connsiteY19" fmla="*/ 2632 h 27571"/>
                  <a:gd name="connsiteX20" fmla="*/ 3648 w 10705"/>
                  <a:gd name="connsiteY20" fmla="*/ 2093 h 27571"/>
                  <a:gd name="connsiteX21" fmla="*/ 4067 w 10705"/>
                  <a:gd name="connsiteY21" fmla="*/ 897 h 27571"/>
                  <a:gd name="connsiteX22" fmla="*/ 4306 w 10705"/>
                  <a:gd name="connsiteY22" fmla="*/ 239 h 27571"/>
                  <a:gd name="connsiteX23" fmla="*/ 4665 w 10705"/>
                  <a:gd name="connsiteY23" fmla="*/ 179 h 27571"/>
                  <a:gd name="connsiteX24" fmla="*/ 4844 w 10705"/>
                  <a:gd name="connsiteY24" fmla="*/ 120 h 27571"/>
                  <a:gd name="connsiteX25" fmla="*/ 5562 w 10705"/>
                  <a:gd name="connsiteY25" fmla="*/ 0 h 27571"/>
                  <a:gd name="connsiteX26" fmla="*/ 6878 w 10705"/>
                  <a:gd name="connsiteY26" fmla="*/ 419 h 27571"/>
                  <a:gd name="connsiteX27" fmla="*/ 7476 w 10705"/>
                  <a:gd name="connsiteY27" fmla="*/ 598 h 27571"/>
                  <a:gd name="connsiteX28" fmla="*/ 8014 w 10705"/>
                  <a:gd name="connsiteY28" fmla="*/ 778 h 27571"/>
                  <a:gd name="connsiteX29" fmla="*/ 10406 w 10705"/>
                  <a:gd name="connsiteY29" fmla="*/ 1555 h 27571"/>
                  <a:gd name="connsiteX30" fmla="*/ 10705 w 10705"/>
                  <a:gd name="connsiteY30" fmla="*/ 1615 h 27571"/>
                  <a:gd name="connsiteX31" fmla="*/ 10586 w 10705"/>
                  <a:gd name="connsiteY31" fmla="*/ 1914 h 27571"/>
                  <a:gd name="connsiteX32" fmla="*/ 10227 w 10705"/>
                  <a:gd name="connsiteY32" fmla="*/ 2990 h 27571"/>
                  <a:gd name="connsiteX33" fmla="*/ 10167 w 10705"/>
                  <a:gd name="connsiteY33" fmla="*/ 3170 h 27571"/>
                  <a:gd name="connsiteX34" fmla="*/ 9629 w 10705"/>
                  <a:gd name="connsiteY34" fmla="*/ 4785 h 27571"/>
                  <a:gd name="connsiteX35" fmla="*/ 9031 w 10705"/>
                  <a:gd name="connsiteY35" fmla="*/ 6579 h 27571"/>
                  <a:gd name="connsiteX36" fmla="*/ 8911 w 10705"/>
                  <a:gd name="connsiteY36" fmla="*/ 7476 h 27571"/>
                  <a:gd name="connsiteX37" fmla="*/ 8851 w 10705"/>
                  <a:gd name="connsiteY37" fmla="*/ 8074 h 27571"/>
                  <a:gd name="connsiteX38" fmla="*/ 8851 w 10705"/>
                  <a:gd name="connsiteY38" fmla="*/ 8253 h 27571"/>
                  <a:gd name="connsiteX39" fmla="*/ 8732 w 10705"/>
                  <a:gd name="connsiteY39" fmla="*/ 9450 h 27571"/>
                  <a:gd name="connsiteX40" fmla="*/ 8672 w 10705"/>
                  <a:gd name="connsiteY40" fmla="*/ 9988 h 27571"/>
                  <a:gd name="connsiteX41" fmla="*/ 8493 w 10705"/>
                  <a:gd name="connsiteY41" fmla="*/ 11543 h 2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705" h="27571">
                    <a:moveTo>
                      <a:pt x="4725" y="27571"/>
                    </a:moveTo>
                    <a:lnTo>
                      <a:pt x="3947" y="25119"/>
                    </a:lnTo>
                    <a:lnTo>
                      <a:pt x="3887" y="24880"/>
                    </a:lnTo>
                    <a:lnTo>
                      <a:pt x="3828" y="24641"/>
                    </a:lnTo>
                    <a:lnTo>
                      <a:pt x="3648" y="24043"/>
                    </a:lnTo>
                    <a:lnTo>
                      <a:pt x="3229" y="23385"/>
                    </a:lnTo>
                    <a:lnTo>
                      <a:pt x="359" y="18779"/>
                    </a:lnTo>
                    <a:lnTo>
                      <a:pt x="179" y="16806"/>
                    </a:lnTo>
                    <a:lnTo>
                      <a:pt x="60" y="15669"/>
                    </a:lnTo>
                    <a:lnTo>
                      <a:pt x="0" y="14832"/>
                    </a:lnTo>
                    <a:lnTo>
                      <a:pt x="0" y="14713"/>
                    </a:lnTo>
                    <a:lnTo>
                      <a:pt x="718" y="11842"/>
                    </a:lnTo>
                    <a:lnTo>
                      <a:pt x="837" y="11363"/>
                    </a:lnTo>
                    <a:lnTo>
                      <a:pt x="1196" y="9928"/>
                    </a:lnTo>
                    <a:lnTo>
                      <a:pt x="1794" y="7596"/>
                    </a:lnTo>
                    <a:lnTo>
                      <a:pt x="1914" y="7057"/>
                    </a:lnTo>
                    <a:lnTo>
                      <a:pt x="2512" y="5383"/>
                    </a:lnTo>
                    <a:lnTo>
                      <a:pt x="2871" y="4366"/>
                    </a:lnTo>
                    <a:lnTo>
                      <a:pt x="2990" y="4007"/>
                    </a:lnTo>
                    <a:lnTo>
                      <a:pt x="3469" y="2632"/>
                    </a:lnTo>
                    <a:lnTo>
                      <a:pt x="3648" y="2093"/>
                    </a:lnTo>
                    <a:lnTo>
                      <a:pt x="4067" y="897"/>
                    </a:lnTo>
                    <a:lnTo>
                      <a:pt x="4306" y="239"/>
                    </a:lnTo>
                    <a:lnTo>
                      <a:pt x="4665" y="179"/>
                    </a:lnTo>
                    <a:lnTo>
                      <a:pt x="4844" y="120"/>
                    </a:lnTo>
                    <a:lnTo>
                      <a:pt x="5562" y="0"/>
                    </a:lnTo>
                    <a:lnTo>
                      <a:pt x="6878" y="419"/>
                    </a:lnTo>
                    <a:lnTo>
                      <a:pt x="7476" y="598"/>
                    </a:lnTo>
                    <a:lnTo>
                      <a:pt x="8014" y="778"/>
                    </a:lnTo>
                    <a:lnTo>
                      <a:pt x="10406" y="1555"/>
                    </a:lnTo>
                    <a:lnTo>
                      <a:pt x="10705" y="1615"/>
                    </a:lnTo>
                    <a:lnTo>
                      <a:pt x="10586" y="1914"/>
                    </a:lnTo>
                    <a:lnTo>
                      <a:pt x="10227" y="2990"/>
                    </a:lnTo>
                    <a:lnTo>
                      <a:pt x="10167" y="3170"/>
                    </a:lnTo>
                    <a:lnTo>
                      <a:pt x="9629" y="4785"/>
                    </a:lnTo>
                    <a:lnTo>
                      <a:pt x="9031" y="6579"/>
                    </a:lnTo>
                    <a:lnTo>
                      <a:pt x="8911" y="7476"/>
                    </a:lnTo>
                    <a:lnTo>
                      <a:pt x="8851" y="8074"/>
                    </a:lnTo>
                    <a:lnTo>
                      <a:pt x="8851" y="8253"/>
                    </a:lnTo>
                    <a:lnTo>
                      <a:pt x="8732" y="9450"/>
                    </a:lnTo>
                    <a:lnTo>
                      <a:pt x="8672" y="9988"/>
                    </a:lnTo>
                    <a:lnTo>
                      <a:pt x="8493" y="11543"/>
                    </a:lnTo>
                  </a:path>
                </a:pathLst>
              </a:custGeom>
              <a:noFill/>
              <a:ln w="6350" cap="rnd">
                <a:solidFill>
                  <a:schemeClr val="bg1">
                    <a:alpha val="80000"/>
                  </a:schemeClr>
                </a:solidFill>
                <a:prstDash val="solid"/>
                <a:round/>
              </a:ln>
            </p:spPr>
            <p:txBody>
              <a:bodyPr rtlCol="0" anchor="ctr"/>
              <a:lstStyle/>
              <a:p>
                <a:endParaRPr lang="en-GB"/>
              </a:p>
            </p:txBody>
          </p:sp>
          <p:sp>
            <p:nvSpPr>
              <p:cNvPr id="6422" name="Vrije vorm: vorm 6421">
                <a:extLst>
                  <a:ext uri="{FF2B5EF4-FFF2-40B4-BE49-F238E27FC236}">
                    <a16:creationId xmlns:a16="http://schemas.microsoft.com/office/drawing/2014/main" id="{48D36485-96C8-453F-87FA-D9E3898AE3D8}"/>
                  </a:ext>
                </a:extLst>
              </p:cNvPr>
              <p:cNvSpPr/>
              <p:nvPr/>
            </p:nvSpPr>
            <p:spPr>
              <a:xfrm>
                <a:off x="7078862" y="1891623"/>
                <a:ext cx="1315" cy="1435"/>
              </a:xfrm>
              <a:custGeom>
                <a:avLst/>
                <a:gdLst>
                  <a:gd name="connsiteX0" fmla="*/ 299 w 1315"/>
                  <a:gd name="connsiteY0" fmla="*/ 0 h 1435"/>
                  <a:gd name="connsiteX1" fmla="*/ 1316 w 1315"/>
                  <a:gd name="connsiteY1" fmla="*/ 658 h 1435"/>
                  <a:gd name="connsiteX2" fmla="*/ 1016 w 1315"/>
                  <a:gd name="connsiteY2" fmla="*/ 1435 h 1435"/>
                  <a:gd name="connsiteX3" fmla="*/ 0 w 1315"/>
                  <a:gd name="connsiteY3" fmla="*/ 837 h 1435"/>
                </a:gdLst>
                <a:ahLst/>
                <a:cxnLst>
                  <a:cxn ang="0">
                    <a:pos x="connsiteX0" y="connsiteY0"/>
                  </a:cxn>
                  <a:cxn ang="0">
                    <a:pos x="connsiteX1" y="connsiteY1"/>
                  </a:cxn>
                  <a:cxn ang="0">
                    <a:pos x="connsiteX2" y="connsiteY2"/>
                  </a:cxn>
                  <a:cxn ang="0">
                    <a:pos x="connsiteX3" y="connsiteY3"/>
                  </a:cxn>
                </a:cxnLst>
                <a:rect l="l" t="t" r="r" b="b"/>
                <a:pathLst>
                  <a:path w="1315" h="1435">
                    <a:moveTo>
                      <a:pt x="299" y="0"/>
                    </a:moveTo>
                    <a:lnTo>
                      <a:pt x="1316" y="658"/>
                    </a:lnTo>
                    <a:lnTo>
                      <a:pt x="1016" y="1435"/>
                    </a:lnTo>
                    <a:lnTo>
                      <a:pt x="0" y="837"/>
                    </a:lnTo>
                  </a:path>
                </a:pathLst>
              </a:custGeom>
              <a:noFill/>
              <a:ln w="6350" cap="rnd">
                <a:solidFill>
                  <a:schemeClr val="bg1">
                    <a:alpha val="80000"/>
                  </a:schemeClr>
                </a:solidFill>
                <a:prstDash val="solid"/>
                <a:round/>
              </a:ln>
            </p:spPr>
            <p:txBody>
              <a:bodyPr rtlCol="0" anchor="ctr"/>
              <a:lstStyle/>
              <a:p>
                <a:endParaRPr lang="en-GB"/>
              </a:p>
            </p:txBody>
          </p:sp>
          <p:sp>
            <p:nvSpPr>
              <p:cNvPr id="6423" name="Vrije vorm: vorm 6422">
                <a:extLst>
                  <a:ext uri="{FF2B5EF4-FFF2-40B4-BE49-F238E27FC236}">
                    <a16:creationId xmlns:a16="http://schemas.microsoft.com/office/drawing/2014/main" id="{F2E6BED6-C5D6-4A45-B535-B6FBE5561757}"/>
                  </a:ext>
                </a:extLst>
              </p:cNvPr>
              <p:cNvSpPr/>
              <p:nvPr/>
            </p:nvSpPr>
            <p:spPr>
              <a:xfrm>
                <a:off x="6904404" y="1869554"/>
                <a:ext cx="24102" cy="15370"/>
              </a:xfrm>
              <a:custGeom>
                <a:avLst/>
                <a:gdLst>
                  <a:gd name="connsiteX0" fmla="*/ 21352 w 24102"/>
                  <a:gd name="connsiteY0" fmla="*/ 15370 h 15370"/>
                  <a:gd name="connsiteX1" fmla="*/ 21292 w 24102"/>
                  <a:gd name="connsiteY1" fmla="*/ 15370 h 15370"/>
                  <a:gd name="connsiteX2" fmla="*/ 20275 w 24102"/>
                  <a:gd name="connsiteY2" fmla="*/ 14952 h 15370"/>
                  <a:gd name="connsiteX3" fmla="*/ 19198 w 24102"/>
                  <a:gd name="connsiteY3" fmla="*/ 14533 h 15370"/>
                  <a:gd name="connsiteX4" fmla="*/ 19079 w 24102"/>
                  <a:gd name="connsiteY4" fmla="*/ 14473 h 15370"/>
                  <a:gd name="connsiteX5" fmla="*/ 18839 w 24102"/>
                  <a:gd name="connsiteY5" fmla="*/ 14354 h 15370"/>
                  <a:gd name="connsiteX6" fmla="*/ 18480 w 24102"/>
                  <a:gd name="connsiteY6" fmla="*/ 14234 h 15370"/>
                  <a:gd name="connsiteX7" fmla="*/ 18301 w 24102"/>
                  <a:gd name="connsiteY7" fmla="*/ 14174 h 15370"/>
                  <a:gd name="connsiteX8" fmla="*/ 17464 w 24102"/>
                  <a:gd name="connsiteY8" fmla="*/ 13875 h 15370"/>
                  <a:gd name="connsiteX9" fmla="*/ 17404 w 24102"/>
                  <a:gd name="connsiteY9" fmla="*/ 13875 h 15370"/>
                  <a:gd name="connsiteX10" fmla="*/ 16327 w 24102"/>
                  <a:gd name="connsiteY10" fmla="*/ 13457 h 15370"/>
                  <a:gd name="connsiteX11" fmla="*/ 16267 w 24102"/>
                  <a:gd name="connsiteY11" fmla="*/ 13457 h 15370"/>
                  <a:gd name="connsiteX12" fmla="*/ 14593 w 24102"/>
                  <a:gd name="connsiteY12" fmla="*/ 12799 h 15370"/>
                  <a:gd name="connsiteX13" fmla="*/ 13756 w 24102"/>
                  <a:gd name="connsiteY13" fmla="*/ 12440 h 15370"/>
                  <a:gd name="connsiteX14" fmla="*/ 8911 w 24102"/>
                  <a:gd name="connsiteY14" fmla="*/ 10765 h 15370"/>
                  <a:gd name="connsiteX15" fmla="*/ 8134 w 24102"/>
                  <a:gd name="connsiteY15" fmla="*/ 10466 h 15370"/>
                  <a:gd name="connsiteX16" fmla="*/ 6938 w 24102"/>
                  <a:gd name="connsiteY16" fmla="*/ 10048 h 15370"/>
                  <a:gd name="connsiteX17" fmla="*/ 0 w 24102"/>
                  <a:gd name="connsiteY17" fmla="*/ 7356 h 15370"/>
                  <a:gd name="connsiteX18" fmla="*/ 1495 w 24102"/>
                  <a:gd name="connsiteY18" fmla="*/ 4486 h 15370"/>
                  <a:gd name="connsiteX19" fmla="*/ 2093 w 24102"/>
                  <a:gd name="connsiteY19" fmla="*/ 3349 h 15370"/>
                  <a:gd name="connsiteX20" fmla="*/ 2093 w 24102"/>
                  <a:gd name="connsiteY20" fmla="*/ 3230 h 15370"/>
                  <a:gd name="connsiteX21" fmla="*/ 2811 w 24102"/>
                  <a:gd name="connsiteY21" fmla="*/ 0 h 15370"/>
                  <a:gd name="connsiteX22" fmla="*/ 4186 w 24102"/>
                  <a:gd name="connsiteY22" fmla="*/ 538 h 15370"/>
                  <a:gd name="connsiteX23" fmla="*/ 4964 w 24102"/>
                  <a:gd name="connsiteY23" fmla="*/ 837 h 15370"/>
                  <a:gd name="connsiteX24" fmla="*/ 5921 w 24102"/>
                  <a:gd name="connsiteY24" fmla="*/ 1196 h 15370"/>
                  <a:gd name="connsiteX25" fmla="*/ 7715 w 24102"/>
                  <a:gd name="connsiteY25" fmla="*/ 1854 h 15370"/>
                  <a:gd name="connsiteX26" fmla="*/ 8553 w 24102"/>
                  <a:gd name="connsiteY26" fmla="*/ 2153 h 15370"/>
                  <a:gd name="connsiteX27" fmla="*/ 9270 w 24102"/>
                  <a:gd name="connsiteY27" fmla="*/ 2392 h 15370"/>
                  <a:gd name="connsiteX28" fmla="*/ 11064 w 24102"/>
                  <a:gd name="connsiteY28" fmla="*/ 3110 h 15370"/>
                  <a:gd name="connsiteX29" fmla="*/ 12141 w 24102"/>
                  <a:gd name="connsiteY29" fmla="*/ 3529 h 15370"/>
                  <a:gd name="connsiteX30" fmla="*/ 14174 w 24102"/>
                  <a:gd name="connsiteY30" fmla="*/ 4366 h 15370"/>
                  <a:gd name="connsiteX31" fmla="*/ 14234 w 24102"/>
                  <a:gd name="connsiteY31" fmla="*/ 4366 h 15370"/>
                  <a:gd name="connsiteX32" fmla="*/ 16567 w 24102"/>
                  <a:gd name="connsiteY32" fmla="*/ 5323 h 15370"/>
                  <a:gd name="connsiteX33" fmla="*/ 17225 w 24102"/>
                  <a:gd name="connsiteY33" fmla="*/ 5562 h 15370"/>
                  <a:gd name="connsiteX34" fmla="*/ 17464 w 24102"/>
                  <a:gd name="connsiteY34" fmla="*/ 5682 h 15370"/>
                  <a:gd name="connsiteX35" fmla="*/ 19377 w 24102"/>
                  <a:gd name="connsiteY35" fmla="*/ 6399 h 15370"/>
                  <a:gd name="connsiteX36" fmla="*/ 19737 w 24102"/>
                  <a:gd name="connsiteY36" fmla="*/ 6519 h 15370"/>
                  <a:gd name="connsiteX37" fmla="*/ 21172 w 24102"/>
                  <a:gd name="connsiteY37" fmla="*/ 7057 h 15370"/>
                  <a:gd name="connsiteX38" fmla="*/ 21411 w 24102"/>
                  <a:gd name="connsiteY38" fmla="*/ 7117 h 15370"/>
                  <a:gd name="connsiteX39" fmla="*/ 21411 w 24102"/>
                  <a:gd name="connsiteY39" fmla="*/ 7117 h 15370"/>
                  <a:gd name="connsiteX40" fmla="*/ 22906 w 24102"/>
                  <a:gd name="connsiteY40" fmla="*/ 7715 h 15370"/>
                  <a:gd name="connsiteX41" fmla="*/ 23026 w 24102"/>
                  <a:gd name="connsiteY41" fmla="*/ 7775 h 15370"/>
                  <a:gd name="connsiteX42" fmla="*/ 24102 w 24102"/>
                  <a:gd name="connsiteY42" fmla="*/ 8194 h 15370"/>
                  <a:gd name="connsiteX43" fmla="*/ 21530 w 24102"/>
                  <a:gd name="connsiteY43" fmla="*/ 14892 h 15370"/>
                  <a:gd name="connsiteX44" fmla="*/ 21352 w 24102"/>
                  <a:gd name="connsiteY44" fmla="*/ 15370 h 1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102" h="15370">
                    <a:moveTo>
                      <a:pt x="21352" y="15370"/>
                    </a:moveTo>
                    <a:lnTo>
                      <a:pt x="21292" y="15370"/>
                    </a:lnTo>
                    <a:lnTo>
                      <a:pt x="20275" y="14952"/>
                    </a:lnTo>
                    <a:lnTo>
                      <a:pt x="19198" y="14533"/>
                    </a:lnTo>
                    <a:lnTo>
                      <a:pt x="19079" y="14473"/>
                    </a:lnTo>
                    <a:lnTo>
                      <a:pt x="18839" y="14354"/>
                    </a:lnTo>
                    <a:lnTo>
                      <a:pt x="18480" y="14234"/>
                    </a:lnTo>
                    <a:lnTo>
                      <a:pt x="18301" y="14174"/>
                    </a:lnTo>
                    <a:lnTo>
                      <a:pt x="17464" y="13875"/>
                    </a:lnTo>
                    <a:lnTo>
                      <a:pt x="17404" y="13875"/>
                    </a:lnTo>
                    <a:lnTo>
                      <a:pt x="16327" y="13457"/>
                    </a:lnTo>
                    <a:lnTo>
                      <a:pt x="16267" y="13457"/>
                    </a:lnTo>
                    <a:lnTo>
                      <a:pt x="14593" y="12799"/>
                    </a:lnTo>
                    <a:lnTo>
                      <a:pt x="13756" y="12440"/>
                    </a:lnTo>
                    <a:lnTo>
                      <a:pt x="8911" y="10765"/>
                    </a:lnTo>
                    <a:lnTo>
                      <a:pt x="8134" y="10466"/>
                    </a:lnTo>
                    <a:lnTo>
                      <a:pt x="6938" y="10048"/>
                    </a:lnTo>
                    <a:lnTo>
                      <a:pt x="0" y="7356"/>
                    </a:lnTo>
                    <a:lnTo>
                      <a:pt x="1495" y="4486"/>
                    </a:lnTo>
                    <a:lnTo>
                      <a:pt x="2093" y="3349"/>
                    </a:lnTo>
                    <a:lnTo>
                      <a:pt x="2093" y="3230"/>
                    </a:lnTo>
                    <a:lnTo>
                      <a:pt x="2811" y="0"/>
                    </a:lnTo>
                    <a:lnTo>
                      <a:pt x="4186" y="538"/>
                    </a:lnTo>
                    <a:lnTo>
                      <a:pt x="4964" y="837"/>
                    </a:lnTo>
                    <a:lnTo>
                      <a:pt x="5921" y="1196"/>
                    </a:lnTo>
                    <a:lnTo>
                      <a:pt x="7715" y="1854"/>
                    </a:lnTo>
                    <a:lnTo>
                      <a:pt x="8553" y="2153"/>
                    </a:lnTo>
                    <a:lnTo>
                      <a:pt x="9270" y="2392"/>
                    </a:lnTo>
                    <a:lnTo>
                      <a:pt x="11064" y="3110"/>
                    </a:lnTo>
                    <a:lnTo>
                      <a:pt x="12141" y="3529"/>
                    </a:lnTo>
                    <a:lnTo>
                      <a:pt x="14174" y="4366"/>
                    </a:lnTo>
                    <a:lnTo>
                      <a:pt x="14234" y="4366"/>
                    </a:lnTo>
                    <a:lnTo>
                      <a:pt x="16567" y="5323"/>
                    </a:lnTo>
                    <a:lnTo>
                      <a:pt x="17225" y="5562"/>
                    </a:lnTo>
                    <a:lnTo>
                      <a:pt x="17464" y="5682"/>
                    </a:lnTo>
                    <a:lnTo>
                      <a:pt x="19377" y="6399"/>
                    </a:lnTo>
                    <a:lnTo>
                      <a:pt x="19737" y="6519"/>
                    </a:lnTo>
                    <a:lnTo>
                      <a:pt x="21172" y="7057"/>
                    </a:lnTo>
                    <a:lnTo>
                      <a:pt x="21411" y="7117"/>
                    </a:lnTo>
                    <a:lnTo>
                      <a:pt x="21411" y="7117"/>
                    </a:lnTo>
                    <a:lnTo>
                      <a:pt x="22906" y="7715"/>
                    </a:lnTo>
                    <a:lnTo>
                      <a:pt x="23026" y="7775"/>
                    </a:lnTo>
                    <a:lnTo>
                      <a:pt x="24102" y="8194"/>
                    </a:lnTo>
                    <a:lnTo>
                      <a:pt x="21530" y="14892"/>
                    </a:lnTo>
                    <a:lnTo>
                      <a:pt x="21352" y="15370"/>
                    </a:lnTo>
                  </a:path>
                </a:pathLst>
              </a:custGeom>
              <a:noFill/>
              <a:ln w="6350" cap="rnd">
                <a:solidFill>
                  <a:schemeClr val="bg1">
                    <a:alpha val="80000"/>
                  </a:schemeClr>
                </a:solidFill>
                <a:prstDash val="solid"/>
                <a:round/>
              </a:ln>
            </p:spPr>
            <p:txBody>
              <a:bodyPr rtlCol="0" anchor="ctr"/>
              <a:lstStyle/>
              <a:p>
                <a:endParaRPr lang="en-GB"/>
              </a:p>
            </p:txBody>
          </p:sp>
          <p:sp>
            <p:nvSpPr>
              <p:cNvPr id="6424" name="Vrije vorm: vorm 6423">
                <a:extLst>
                  <a:ext uri="{FF2B5EF4-FFF2-40B4-BE49-F238E27FC236}">
                    <a16:creationId xmlns:a16="http://schemas.microsoft.com/office/drawing/2014/main" id="{04E27DDF-974F-43FE-8080-85EF40EC134E}"/>
                  </a:ext>
                </a:extLst>
              </p:cNvPr>
              <p:cNvSpPr/>
              <p:nvPr/>
            </p:nvSpPr>
            <p:spPr>
              <a:xfrm>
                <a:off x="6746812" y="1882592"/>
                <a:ext cx="13934" cy="11602"/>
              </a:xfrm>
              <a:custGeom>
                <a:avLst/>
                <a:gdLst>
                  <a:gd name="connsiteX0" fmla="*/ 5143 w 13934"/>
                  <a:gd name="connsiteY0" fmla="*/ 0 h 11602"/>
                  <a:gd name="connsiteX1" fmla="*/ 7177 w 13934"/>
                  <a:gd name="connsiteY1" fmla="*/ 1316 h 11602"/>
                  <a:gd name="connsiteX2" fmla="*/ 7715 w 13934"/>
                  <a:gd name="connsiteY2" fmla="*/ 1675 h 11602"/>
                  <a:gd name="connsiteX3" fmla="*/ 8074 w 13934"/>
                  <a:gd name="connsiteY3" fmla="*/ 1914 h 11602"/>
                  <a:gd name="connsiteX4" fmla="*/ 9449 w 13934"/>
                  <a:gd name="connsiteY4" fmla="*/ 2811 h 11602"/>
                  <a:gd name="connsiteX5" fmla="*/ 9509 w 13934"/>
                  <a:gd name="connsiteY5" fmla="*/ 2811 h 11602"/>
                  <a:gd name="connsiteX6" fmla="*/ 10048 w 13934"/>
                  <a:gd name="connsiteY6" fmla="*/ 3170 h 11602"/>
                  <a:gd name="connsiteX7" fmla="*/ 10825 w 13934"/>
                  <a:gd name="connsiteY7" fmla="*/ 3648 h 11602"/>
                  <a:gd name="connsiteX8" fmla="*/ 12380 w 13934"/>
                  <a:gd name="connsiteY8" fmla="*/ 4665 h 11602"/>
                  <a:gd name="connsiteX9" fmla="*/ 13935 w 13934"/>
                  <a:gd name="connsiteY9" fmla="*/ 5622 h 11602"/>
                  <a:gd name="connsiteX10" fmla="*/ 11483 w 13934"/>
                  <a:gd name="connsiteY10" fmla="*/ 8433 h 11602"/>
                  <a:gd name="connsiteX11" fmla="*/ 10466 w 13934"/>
                  <a:gd name="connsiteY11" fmla="*/ 9629 h 11602"/>
                  <a:gd name="connsiteX12" fmla="*/ 9569 w 13934"/>
                  <a:gd name="connsiteY12" fmla="*/ 10646 h 11602"/>
                  <a:gd name="connsiteX13" fmla="*/ 9449 w 13934"/>
                  <a:gd name="connsiteY13" fmla="*/ 10765 h 11602"/>
                  <a:gd name="connsiteX14" fmla="*/ 8851 w 13934"/>
                  <a:gd name="connsiteY14" fmla="*/ 11483 h 11602"/>
                  <a:gd name="connsiteX15" fmla="*/ 8732 w 13934"/>
                  <a:gd name="connsiteY15" fmla="*/ 11603 h 11602"/>
                  <a:gd name="connsiteX16" fmla="*/ 7356 w 13934"/>
                  <a:gd name="connsiteY16" fmla="*/ 10705 h 11602"/>
                  <a:gd name="connsiteX17" fmla="*/ 6639 w 13934"/>
                  <a:gd name="connsiteY17" fmla="*/ 10227 h 11602"/>
                  <a:gd name="connsiteX18" fmla="*/ 6579 w 13934"/>
                  <a:gd name="connsiteY18" fmla="*/ 10167 h 11602"/>
                  <a:gd name="connsiteX19" fmla="*/ 4426 w 13934"/>
                  <a:gd name="connsiteY19" fmla="*/ 8792 h 11602"/>
                  <a:gd name="connsiteX20" fmla="*/ 4366 w 13934"/>
                  <a:gd name="connsiteY20" fmla="*/ 8732 h 11602"/>
                  <a:gd name="connsiteX21" fmla="*/ 4306 w 13934"/>
                  <a:gd name="connsiteY21" fmla="*/ 8672 h 11602"/>
                  <a:gd name="connsiteX22" fmla="*/ 4127 w 13934"/>
                  <a:gd name="connsiteY22" fmla="*/ 8552 h 11602"/>
                  <a:gd name="connsiteX23" fmla="*/ 3947 w 13934"/>
                  <a:gd name="connsiteY23" fmla="*/ 8433 h 11602"/>
                  <a:gd name="connsiteX24" fmla="*/ 3349 w 13934"/>
                  <a:gd name="connsiteY24" fmla="*/ 8014 h 11602"/>
                  <a:gd name="connsiteX25" fmla="*/ 3229 w 13934"/>
                  <a:gd name="connsiteY25" fmla="*/ 7954 h 11602"/>
                  <a:gd name="connsiteX26" fmla="*/ 2871 w 13934"/>
                  <a:gd name="connsiteY26" fmla="*/ 7715 h 11602"/>
                  <a:gd name="connsiteX27" fmla="*/ 2811 w 13934"/>
                  <a:gd name="connsiteY27" fmla="*/ 7655 h 11602"/>
                  <a:gd name="connsiteX28" fmla="*/ 1973 w 13934"/>
                  <a:gd name="connsiteY28" fmla="*/ 7117 h 11602"/>
                  <a:gd name="connsiteX29" fmla="*/ 1316 w 13934"/>
                  <a:gd name="connsiteY29" fmla="*/ 6698 h 11602"/>
                  <a:gd name="connsiteX30" fmla="*/ 1256 w 13934"/>
                  <a:gd name="connsiteY30" fmla="*/ 6639 h 11602"/>
                  <a:gd name="connsiteX31" fmla="*/ 0 w 13934"/>
                  <a:gd name="connsiteY31" fmla="*/ 5801 h 11602"/>
                  <a:gd name="connsiteX32" fmla="*/ 837 w 13934"/>
                  <a:gd name="connsiteY32" fmla="*/ 4844 h 11602"/>
                  <a:gd name="connsiteX33" fmla="*/ 1256 w 13934"/>
                  <a:gd name="connsiteY33" fmla="*/ 4366 h 11602"/>
                  <a:gd name="connsiteX34" fmla="*/ 1734 w 13934"/>
                  <a:gd name="connsiteY34" fmla="*/ 3828 h 11602"/>
                  <a:gd name="connsiteX35" fmla="*/ 2273 w 13934"/>
                  <a:gd name="connsiteY35" fmla="*/ 3230 h 11602"/>
                  <a:gd name="connsiteX36" fmla="*/ 3409 w 13934"/>
                  <a:gd name="connsiteY36" fmla="*/ 1914 h 11602"/>
                  <a:gd name="connsiteX37" fmla="*/ 4306 w 13934"/>
                  <a:gd name="connsiteY37" fmla="*/ 957 h 11602"/>
                  <a:gd name="connsiteX38" fmla="*/ 4545 w 13934"/>
                  <a:gd name="connsiteY38" fmla="*/ 718 h 11602"/>
                  <a:gd name="connsiteX39" fmla="*/ 5143 w 13934"/>
                  <a:gd name="connsiteY39" fmla="*/ 0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934" h="11602">
                    <a:moveTo>
                      <a:pt x="5143" y="0"/>
                    </a:moveTo>
                    <a:lnTo>
                      <a:pt x="7177" y="1316"/>
                    </a:lnTo>
                    <a:lnTo>
                      <a:pt x="7715" y="1675"/>
                    </a:lnTo>
                    <a:lnTo>
                      <a:pt x="8074" y="1914"/>
                    </a:lnTo>
                    <a:lnTo>
                      <a:pt x="9449" y="2811"/>
                    </a:lnTo>
                    <a:lnTo>
                      <a:pt x="9509" y="2811"/>
                    </a:lnTo>
                    <a:lnTo>
                      <a:pt x="10048" y="3170"/>
                    </a:lnTo>
                    <a:lnTo>
                      <a:pt x="10825" y="3648"/>
                    </a:lnTo>
                    <a:lnTo>
                      <a:pt x="12380" y="4665"/>
                    </a:lnTo>
                    <a:lnTo>
                      <a:pt x="13935" y="5622"/>
                    </a:lnTo>
                    <a:lnTo>
                      <a:pt x="11483" y="8433"/>
                    </a:lnTo>
                    <a:lnTo>
                      <a:pt x="10466" y="9629"/>
                    </a:lnTo>
                    <a:lnTo>
                      <a:pt x="9569" y="10646"/>
                    </a:lnTo>
                    <a:lnTo>
                      <a:pt x="9449" y="10765"/>
                    </a:lnTo>
                    <a:lnTo>
                      <a:pt x="8851" y="11483"/>
                    </a:lnTo>
                    <a:lnTo>
                      <a:pt x="8732" y="11603"/>
                    </a:lnTo>
                    <a:lnTo>
                      <a:pt x="7356" y="10705"/>
                    </a:lnTo>
                    <a:lnTo>
                      <a:pt x="6639" y="10227"/>
                    </a:lnTo>
                    <a:lnTo>
                      <a:pt x="6579" y="10167"/>
                    </a:lnTo>
                    <a:lnTo>
                      <a:pt x="4426" y="8792"/>
                    </a:lnTo>
                    <a:lnTo>
                      <a:pt x="4366" y="8732"/>
                    </a:lnTo>
                    <a:lnTo>
                      <a:pt x="4306" y="8672"/>
                    </a:lnTo>
                    <a:lnTo>
                      <a:pt x="4127" y="8552"/>
                    </a:lnTo>
                    <a:lnTo>
                      <a:pt x="3947" y="8433"/>
                    </a:lnTo>
                    <a:lnTo>
                      <a:pt x="3349" y="8014"/>
                    </a:lnTo>
                    <a:lnTo>
                      <a:pt x="3229" y="7954"/>
                    </a:lnTo>
                    <a:lnTo>
                      <a:pt x="2871" y="7715"/>
                    </a:lnTo>
                    <a:lnTo>
                      <a:pt x="2811" y="7655"/>
                    </a:lnTo>
                    <a:lnTo>
                      <a:pt x="1973" y="7117"/>
                    </a:lnTo>
                    <a:lnTo>
                      <a:pt x="1316" y="6698"/>
                    </a:lnTo>
                    <a:lnTo>
                      <a:pt x="1256" y="6639"/>
                    </a:lnTo>
                    <a:lnTo>
                      <a:pt x="0" y="5801"/>
                    </a:lnTo>
                    <a:lnTo>
                      <a:pt x="837" y="4844"/>
                    </a:lnTo>
                    <a:lnTo>
                      <a:pt x="1256" y="4366"/>
                    </a:lnTo>
                    <a:lnTo>
                      <a:pt x="1734" y="3828"/>
                    </a:lnTo>
                    <a:lnTo>
                      <a:pt x="2273" y="3230"/>
                    </a:lnTo>
                    <a:lnTo>
                      <a:pt x="3409" y="1914"/>
                    </a:lnTo>
                    <a:lnTo>
                      <a:pt x="4306" y="957"/>
                    </a:lnTo>
                    <a:lnTo>
                      <a:pt x="4545" y="718"/>
                    </a:lnTo>
                    <a:lnTo>
                      <a:pt x="5143" y="0"/>
                    </a:lnTo>
                  </a:path>
                </a:pathLst>
              </a:custGeom>
              <a:noFill/>
              <a:ln w="6350" cap="rnd">
                <a:solidFill>
                  <a:schemeClr val="bg1">
                    <a:alpha val="80000"/>
                  </a:schemeClr>
                </a:solidFill>
                <a:prstDash val="solid"/>
                <a:round/>
              </a:ln>
            </p:spPr>
            <p:txBody>
              <a:bodyPr rtlCol="0" anchor="ctr"/>
              <a:lstStyle/>
              <a:p>
                <a:endParaRPr lang="en-GB"/>
              </a:p>
            </p:txBody>
          </p:sp>
          <p:sp>
            <p:nvSpPr>
              <p:cNvPr id="6425" name="Vrije vorm: vorm 6424">
                <a:extLst>
                  <a:ext uri="{FF2B5EF4-FFF2-40B4-BE49-F238E27FC236}">
                    <a16:creationId xmlns:a16="http://schemas.microsoft.com/office/drawing/2014/main" id="{98190E3E-29BF-4C2B-AD5F-CC95645EACCF}"/>
                  </a:ext>
                </a:extLst>
              </p:cNvPr>
              <p:cNvSpPr/>
              <p:nvPr/>
            </p:nvSpPr>
            <p:spPr>
              <a:xfrm>
                <a:off x="7055717" y="1799400"/>
                <a:ext cx="14772" cy="8492"/>
              </a:xfrm>
              <a:custGeom>
                <a:avLst/>
                <a:gdLst>
                  <a:gd name="connsiteX0" fmla="*/ 0 w 14772"/>
                  <a:gd name="connsiteY0" fmla="*/ 0 h 8492"/>
                  <a:gd name="connsiteX1" fmla="*/ 8732 w 14772"/>
                  <a:gd name="connsiteY1" fmla="*/ 4366 h 8492"/>
                  <a:gd name="connsiteX2" fmla="*/ 9629 w 14772"/>
                  <a:gd name="connsiteY2" fmla="*/ 4785 h 8492"/>
                  <a:gd name="connsiteX3" fmla="*/ 12380 w 14772"/>
                  <a:gd name="connsiteY3" fmla="*/ 6160 h 8492"/>
                  <a:gd name="connsiteX4" fmla="*/ 12858 w 14772"/>
                  <a:gd name="connsiteY4" fmla="*/ 6399 h 8492"/>
                  <a:gd name="connsiteX5" fmla="*/ 13157 w 14772"/>
                  <a:gd name="connsiteY5" fmla="*/ 6519 h 8492"/>
                  <a:gd name="connsiteX6" fmla="*/ 13337 w 14772"/>
                  <a:gd name="connsiteY6" fmla="*/ 6639 h 8492"/>
                  <a:gd name="connsiteX7" fmla="*/ 13755 w 14772"/>
                  <a:gd name="connsiteY7" fmla="*/ 6878 h 8492"/>
                  <a:gd name="connsiteX8" fmla="*/ 14593 w 14772"/>
                  <a:gd name="connsiteY8" fmla="*/ 8194 h 8492"/>
                  <a:gd name="connsiteX9" fmla="*/ 14772 w 14772"/>
                  <a:gd name="connsiteY9" fmla="*/ 8493 h 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72" h="8492">
                    <a:moveTo>
                      <a:pt x="0" y="0"/>
                    </a:moveTo>
                    <a:lnTo>
                      <a:pt x="8732" y="4366"/>
                    </a:lnTo>
                    <a:lnTo>
                      <a:pt x="9629" y="4785"/>
                    </a:lnTo>
                    <a:lnTo>
                      <a:pt x="12380" y="6160"/>
                    </a:lnTo>
                    <a:lnTo>
                      <a:pt x="12858" y="6399"/>
                    </a:lnTo>
                    <a:lnTo>
                      <a:pt x="13157" y="6519"/>
                    </a:lnTo>
                    <a:lnTo>
                      <a:pt x="13337" y="6639"/>
                    </a:lnTo>
                    <a:lnTo>
                      <a:pt x="13755" y="6878"/>
                    </a:lnTo>
                    <a:lnTo>
                      <a:pt x="14593" y="8194"/>
                    </a:lnTo>
                    <a:lnTo>
                      <a:pt x="14772" y="8493"/>
                    </a:lnTo>
                  </a:path>
                </a:pathLst>
              </a:custGeom>
              <a:noFill/>
              <a:ln w="6350" cap="rnd">
                <a:solidFill>
                  <a:schemeClr val="bg1">
                    <a:alpha val="80000"/>
                  </a:schemeClr>
                </a:solidFill>
                <a:prstDash val="solid"/>
                <a:round/>
              </a:ln>
            </p:spPr>
            <p:txBody>
              <a:bodyPr rtlCol="0" anchor="ctr"/>
              <a:lstStyle/>
              <a:p>
                <a:endParaRPr lang="en-GB"/>
              </a:p>
            </p:txBody>
          </p:sp>
          <p:sp>
            <p:nvSpPr>
              <p:cNvPr id="6426" name="Vrije vorm: vorm 6425">
                <a:extLst>
                  <a:ext uri="{FF2B5EF4-FFF2-40B4-BE49-F238E27FC236}">
                    <a16:creationId xmlns:a16="http://schemas.microsoft.com/office/drawing/2014/main" id="{E51E1937-051F-415D-8A91-F4415247EB14}"/>
                  </a:ext>
                </a:extLst>
              </p:cNvPr>
              <p:cNvSpPr/>
              <p:nvPr/>
            </p:nvSpPr>
            <p:spPr>
              <a:xfrm>
                <a:off x="6838018" y="1746889"/>
                <a:ext cx="16745" cy="14772"/>
              </a:xfrm>
              <a:custGeom>
                <a:avLst/>
                <a:gdLst>
                  <a:gd name="connsiteX0" fmla="*/ 4126 w 16745"/>
                  <a:gd name="connsiteY0" fmla="*/ 179 h 14772"/>
                  <a:gd name="connsiteX1" fmla="*/ 4665 w 16745"/>
                  <a:gd name="connsiteY1" fmla="*/ 0 h 14772"/>
                  <a:gd name="connsiteX2" fmla="*/ 16627 w 16745"/>
                  <a:gd name="connsiteY2" fmla="*/ 6938 h 14772"/>
                  <a:gd name="connsiteX3" fmla="*/ 16746 w 16745"/>
                  <a:gd name="connsiteY3" fmla="*/ 7476 h 14772"/>
                  <a:gd name="connsiteX4" fmla="*/ 12559 w 16745"/>
                  <a:gd name="connsiteY4" fmla="*/ 14593 h 14772"/>
                  <a:gd name="connsiteX5" fmla="*/ 12021 w 16745"/>
                  <a:gd name="connsiteY5" fmla="*/ 14772 h 14772"/>
                  <a:gd name="connsiteX6" fmla="*/ 120 w 16745"/>
                  <a:gd name="connsiteY6" fmla="*/ 7835 h 14772"/>
                  <a:gd name="connsiteX7" fmla="*/ 0 w 16745"/>
                  <a:gd name="connsiteY7" fmla="*/ 7296 h 1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45" h="14772">
                    <a:moveTo>
                      <a:pt x="4126" y="179"/>
                    </a:moveTo>
                    <a:lnTo>
                      <a:pt x="4665" y="0"/>
                    </a:lnTo>
                    <a:lnTo>
                      <a:pt x="16627" y="6938"/>
                    </a:lnTo>
                    <a:lnTo>
                      <a:pt x="16746" y="7476"/>
                    </a:lnTo>
                    <a:lnTo>
                      <a:pt x="12559" y="14593"/>
                    </a:lnTo>
                    <a:lnTo>
                      <a:pt x="12021" y="14772"/>
                    </a:lnTo>
                    <a:lnTo>
                      <a:pt x="120" y="7835"/>
                    </a:lnTo>
                    <a:lnTo>
                      <a:pt x="0" y="7296"/>
                    </a:lnTo>
                  </a:path>
                </a:pathLst>
              </a:custGeom>
              <a:noFill/>
              <a:ln w="6350" cap="rnd">
                <a:solidFill>
                  <a:schemeClr val="bg1">
                    <a:alpha val="80000"/>
                  </a:schemeClr>
                </a:solidFill>
                <a:prstDash val="solid"/>
                <a:round/>
              </a:ln>
            </p:spPr>
            <p:txBody>
              <a:bodyPr rtlCol="0" anchor="ctr"/>
              <a:lstStyle/>
              <a:p>
                <a:endParaRPr lang="en-GB"/>
              </a:p>
            </p:txBody>
          </p:sp>
          <p:sp>
            <p:nvSpPr>
              <p:cNvPr id="6427" name="Vrije vorm: vorm 6426">
                <a:extLst>
                  <a:ext uri="{FF2B5EF4-FFF2-40B4-BE49-F238E27FC236}">
                    <a16:creationId xmlns:a16="http://schemas.microsoft.com/office/drawing/2014/main" id="{C140BB69-DEAD-49B6-A68D-E537626C95CA}"/>
                  </a:ext>
                </a:extLst>
              </p:cNvPr>
              <p:cNvSpPr/>
              <p:nvPr/>
            </p:nvSpPr>
            <p:spPr>
              <a:xfrm>
                <a:off x="6970132" y="1842820"/>
                <a:ext cx="12141" cy="10466"/>
              </a:xfrm>
              <a:custGeom>
                <a:avLst/>
                <a:gdLst>
                  <a:gd name="connsiteX0" fmla="*/ 12141 w 12141"/>
                  <a:gd name="connsiteY0" fmla="*/ 10466 h 10466"/>
                  <a:gd name="connsiteX1" fmla="*/ 12081 w 12141"/>
                  <a:gd name="connsiteY1" fmla="*/ 10287 h 10466"/>
                  <a:gd name="connsiteX2" fmla="*/ 12081 w 12141"/>
                  <a:gd name="connsiteY2" fmla="*/ 10287 h 10466"/>
                  <a:gd name="connsiteX3" fmla="*/ 12081 w 12141"/>
                  <a:gd name="connsiteY3" fmla="*/ 10287 h 10466"/>
                  <a:gd name="connsiteX4" fmla="*/ 11663 w 12141"/>
                  <a:gd name="connsiteY4" fmla="*/ 9808 h 10466"/>
                  <a:gd name="connsiteX5" fmla="*/ 11603 w 12141"/>
                  <a:gd name="connsiteY5" fmla="*/ 9749 h 10466"/>
                  <a:gd name="connsiteX6" fmla="*/ 9330 w 12141"/>
                  <a:gd name="connsiteY6" fmla="*/ 7296 h 10466"/>
                  <a:gd name="connsiteX7" fmla="*/ 7296 w 12141"/>
                  <a:gd name="connsiteY7" fmla="*/ 5084 h 10466"/>
                  <a:gd name="connsiteX8" fmla="*/ 0 w 12141"/>
                  <a:gd name="connsiteY8" fmla="*/ 0 h 1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1" h="10466">
                    <a:moveTo>
                      <a:pt x="12141" y="10466"/>
                    </a:moveTo>
                    <a:lnTo>
                      <a:pt x="12081" y="10287"/>
                    </a:lnTo>
                    <a:lnTo>
                      <a:pt x="12081" y="10287"/>
                    </a:lnTo>
                    <a:lnTo>
                      <a:pt x="12081" y="10287"/>
                    </a:lnTo>
                    <a:lnTo>
                      <a:pt x="11663" y="9808"/>
                    </a:lnTo>
                    <a:lnTo>
                      <a:pt x="11603" y="9749"/>
                    </a:lnTo>
                    <a:lnTo>
                      <a:pt x="9330" y="7296"/>
                    </a:lnTo>
                    <a:lnTo>
                      <a:pt x="7296" y="5084"/>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28" name="Vrije vorm: vorm 6427">
                <a:extLst>
                  <a:ext uri="{FF2B5EF4-FFF2-40B4-BE49-F238E27FC236}">
                    <a16:creationId xmlns:a16="http://schemas.microsoft.com/office/drawing/2014/main" id="{B24B8F64-3B98-4DD1-8EFC-99365B3BDB9A}"/>
                  </a:ext>
                </a:extLst>
              </p:cNvPr>
              <p:cNvSpPr/>
              <p:nvPr/>
            </p:nvSpPr>
            <p:spPr>
              <a:xfrm>
                <a:off x="6697292" y="1891742"/>
                <a:ext cx="15729" cy="8851"/>
              </a:xfrm>
              <a:custGeom>
                <a:avLst/>
                <a:gdLst>
                  <a:gd name="connsiteX0" fmla="*/ 15729 w 15729"/>
                  <a:gd name="connsiteY0" fmla="*/ 7177 h 8851"/>
                  <a:gd name="connsiteX1" fmla="*/ 15490 w 15729"/>
                  <a:gd name="connsiteY1" fmla="*/ 7595 h 8851"/>
                  <a:gd name="connsiteX2" fmla="*/ 15072 w 15729"/>
                  <a:gd name="connsiteY2" fmla="*/ 8313 h 8851"/>
                  <a:gd name="connsiteX3" fmla="*/ 14474 w 15729"/>
                  <a:gd name="connsiteY3" fmla="*/ 8851 h 8851"/>
                  <a:gd name="connsiteX4" fmla="*/ 13516 w 15729"/>
                  <a:gd name="connsiteY4" fmla="*/ 8373 h 8851"/>
                  <a:gd name="connsiteX5" fmla="*/ 11902 w 15729"/>
                  <a:gd name="connsiteY5" fmla="*/ 7595 h 8851"/>
                  <a:gd name="connsiteX6" fmla="*/ 11124 w 15729"/>
                  <a:gd name="connsiteY6" fmla="*/ 7177 h 8851"/>
                  <a:gd name="connsiteX7" fmla="*/ 8732 w 15729"/>
                  <a:gd name="connsiteY7" fmla="*/ 5981 h 8851"/>
                  <a:gd name="connsiteX8" fmla="*/ 5143 w 15729"/>
                  <a:gd name="connsiteY8" fmla="*/ 3768 h 8851"/>
                  <a:gd name="connsiteX9" fmla="*/ 4665 w 15729"/>
                  <a:gd name="connsiteY9" fmla="*/ 3469 h 8851"/>
                  <a:gd name="connsiteX10" fmla="*/ 2273 w 15729"/>
                  <a:gd name="connsiteY10" fmla="*/ 1734 h 8851"/>
                  <a:gd name="connsiteX11" fmla="*/ 1854 w 15729"/>
                  <a:gd name="connsiteY11" fmla="*/ 1435 h 8851"/>
                  <a:gd name="connsiteX12" fmla="*/ 1316 w 15729"/>
                  <a:gd name="connsiteY12" fmla="*/ 1017 h 8851"/>
                  <a:gd name="connsiteX13" fmla="*/ 0 w 15729"/>
                  <a:gd name="connsiteY13" fmla="*/ 0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29" h="8851">
                    <a:moveTo>
                      <a:pt x="15729" y="7177"/>
                    </a:moveTo>
                    <a:lnTo>
                      <a:pt x="15490" y="7595"/>
                    </a:lnTo>
                    <a:lnTo>
                      <a:pt x="15072" y="8313"/>
                    </a:lnTo>
                    <a:lnTo>
                      <a:pt x="14474" y="8851"/>
                    </a:lnTo>
                    <a:lnTo>
                      <a:pt x="13516" y="8373"/>
                    </a:lnTo>
                    <a:lnTo>
                      <a:pt x="11902" y="7595"/>
                    </a:lnTo>
                    <a:lnTo>
                      <a:pt x="11124" y="7177"/>
                    </a:lnTo>
                    <a:lnTo>
                      <a:pt x="8732" y="5981"/>
                    </a:lnTo>
                    <a:lnTo>
                      <a:pt x="5143" y="3768"/>
                    </a:lnTo>
                    <a:lnTo>
                      <a:pt x="4665" y="3469"/>
                    </a:lnTo>
                    <a:lnTo>
                      <a:pt x="2273" y="1734"/>
                    </a:lnTo>
                    <a:lnTo>
                      <a:pt x="1854" y="1435"/>
                    </a:lnTo>
                    <a:lnTo>
                      <a:pt x="1316" y="101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29" name="Vrije vorm: vorm 6428">
                <a:extLst>
                  <a:ext uri="{FF2B5EF4-FFF2-40B4-BE49-F238E27FC236}">
                    <a16:creationId xmlns:a16="http://schemas.microsoft.com/office/drawing/2014/main" id="{E755B914-9A23-464F-9090-37D7AD6A7C0F}"/>
                  </a:ext>
                </a:extLst>
              </p:cNvPr>
              <p:cNvSpPr/>
              <p:nvPr/>
            </p:nvSpPr>
            <p:spPr>
              <a:xfrm>
                <a:off x="6713141" y="1797187"/>
                <a:ext cx="5681" cy="10705"/>
              </a:xfrm>
              <a:custGeom>
                <a:avLst/>
                <a:gdLst>
                  <a:gd name="connsiteX0" fmla="*/ 5682 w 5681"/>
                  <a:gd name="connsiteY0" fmla="*/ 10705 h 10705"/>
                  <a:gd name="connsiteX1" fmla="*/ 5203 w 5681"/>
                  <a:gd name="connsiteY1" fmla="*/ 8373 h 10705"/>
                  <a:gd name="connsiteX2" fmla="*/ 0 w 5681"/>
                  <a:gd name="connsiteY2" fmla="*/ 0 h 10705"/>
                </a:gdLst>
                <a:ahLst/>
                <a:cxnLst>
                  <a:cxn ang="0">
                    <a:pos x="connsiteX0" y="connsiteY0"/>
                  </a:cxn>
                  <a:cxn ang="0">
                    <a:pos x="connsiteX1" y="connsiteY1"/>
                  </a:cxn>
                  <a:cxn ang="0">
                    <a:pos x="connsiteX2" y="connsiteY2"/>
                  </a:cxn>
                </a:cxnLst>
                <a:rect l="l" t="t" r="r" b="b"/>
                <a:pathLst>
                  <a:path w="5681" h="10705">
                    <a:moveTo>
                      <a:pt x="5682" y="10705"/>
                    </a:moveTo>
                    <a:lnTo>
                      <a:pt x="5203" y="8373"/>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30" name="Vrije vorm: vorm 6429">
                <a:extLst>
                  <a:ext uri="{FF2B5EF4-FFF2-40B4-BE49-F238E27FC236}">
                    <a16:creationId xmlns:a16="http://schemas.microsoft.com/office/drawing/2014/main" id="{7CDFAA7F-EFB7-4473-B3CF-C95EF9776A8F}"/>
                  </a:ext>
                </a:extLst>
              </p:cNvPr>
              <p:cNvSpPr/>
              <p:nvPr/>
            </p:nvSpPr>
            <p:spPr>
              <a:xfrm>
                <a:off x="6986819" y="1910701"/>
                <a:ext cx="5860" cy="5621"/>
              </a:xfrm>
              <a:custGeom>
                <a:avLst/>
                <a:gdLst>
                  <a:gd name="connsiteX0" fmla="*/ 0 w 5860"/>
                  <a:gd name="connsiteY0" fmla="*/ 5622 h 5621"/>
                  <a:gd name="connsiteX1" fmla="*/ 3708 w 5860"/>
                  <a:gd name="connsiteY1" fmla="*/ 2452 h 5621"/>
                  <a:gd name="connsiteX2" fmla="*/ 5861 w 5860"/>
                  <a:gd name="connsiteY2" fmla="*/ 0 h 5621"/>
                </a:gdLst>
                <a:ahLst/>
                <a:cxnLst>
                  <a:cxn ang="0">
                    <a:pos x="connsiteX0" y="connsiteY0"/>
                  </a:cxn>
                  <a:cxn ang="0">
                    <a:pos x="connsiteX1" y="connsiteY1"/>
                  </a:cxn>
                  <a:cxn ang="0">
                    <a:pos x="connsiteX2" y="connsiteY2"/>
                  </a:cxn>
                </a:cxnLst>
                <a:rect l="l" t="t" r="r" b="b"/>
                <a:pathLst>
                  <a:path w="5860" h="5621">
                    <a:moveTo>
                      <a:pt x="0" y="5622"/>
                    </a:moveTo>
                    <a:lnTo>
                      <a:pt x="3708" y="2452"/>
                    </a:lnTo>
                    <a:lnTo>
                      <a:pt x="5861" y="0"/>
                    </a:lnTo>
                  </a:path>
                </a:pathLst>
              </a:custGeom>
              <a:noFill/>
              <a:ln w="6350" cap="rnd">
                <a:solidFill>
                  <a:schemeClr val="bg1">
                    <a:alpha val="80000"/>
                  </a:schemeClr>
                </a:solidFill>
                <a:prstDash val="solid"/>
                <a:round/>
              </a:ln>
            </p:spPr>
            <p:txBody>
              <a:bodyPr rtlCol="0" anchor="ctr"/>
              <a:lstStyle/>
              <a:p>
                <a:endParaRPr lang="en-GB"/>
              </a:p>
            </p:txBody>
          </p:sp>
          <p:sp>
            <p:nvSpPr>
              <p:cNvPr id="6431" name="Vrije vorm: vorm 6430">
                <a:extLst>
                  <a:ext uri="{FF2B5EF4-FFF2-40B4-BE49-F238E27FC236}">
                    <a16:creationId xmlns:a16="http://schemas.microsoft.com/office/drawing/2014/main" id="{E0C6B11F-0F27-4A3A-9A7D-B3882B918047}"/>
                  </a:ext>
                </a:extLst>
              </p:cNvPr>
              <p:cNvSpPr/>
              <p:nvPr/>
            </p:nvSpPr>
            <p:spPr>
              <a:xfrm>
                <a:off x="6615236" y="1937435"/>
                <a:ext cx="44257" cy="20214"/>
              </a:xfrm>
              <a:custGeom>
                <a:avLst/>
                <a:gdLst>
                  <a:gd name="connsiteX0" fmla="*/ 43659 w 44257"/>
                  <a:gd name="connsiteY0" fmla="*/ 0 h 20214"/>
                  <a:gd name="connsiteX1" fmla="*/ 44257 w 44257"/>
                  <a:gd name="connsiteY1" fmla="*/ 419 h 20214"/>
                  <a:gd name="connsiteX2" fmla="*/ 44198 w 44257"/>
                  <a:gd name="connsiteY2" fmla="*/ 2811 h 20214"/>
                  <a:gd name="connsiteX3" fmla="*/ 42702 w 44257"/>
                  <a:gd name="connsiteY3" fmla="*/ 4964 h 20214"/>
                  <a:gd name="connsiteX4" fmla="*/ 41207 w 44257"/>
                  <a:gd name="connsiteY4" fmla="*/ 7177 h 20214"/>
                  <a:gd name="connsiteX5" fmla="*/ 40370 w 44257"/>
                  <a:gd name="connsiteY5" fmla="*/ 8433 h 20214"/>
                  <a:gd name="connsiteX6" fmla="*/ 33372 w 44257"/>
                  <a:gd name="connsiteY6" fmla="*/ 12081 h 20214"/>
                  <a:gd name="connsiteX7" fmla="*/ 31040 w 44257"/>
                  <a:gd name="connsiteY7" fmla="*/ 13277 h 20214"/>
                  <a:gd name="connsiteX8" fmla="*/ 26853 w 44257"/>
                  <a:gd name="connsiteY8" fmla="*/ 13815 h 20214"/>
                  <a:gd name="connsiteX9" fmla="*/ 25238 w 44257"/>
                  <a:gd name="connsiteY9" fmla="*/ 14055 h 20214"/>
                  <a:gd name="connsiteX10" fmla="*/ 21231 w 44257"/>
                  <a:gd name="connsiteY10" fmla="*/ 14713 h 20214"/>
                  <a:gd name="connsiteX11" fmla="*/ 18002 w 44257"/>
                  <a:gd name="connsiteY11" fmla="*/ 15251 h 20214"/>
                  <a:gd name="connsiteX12" fmla="*/ 15490 w 44257"/>
                  <a:gd name="connsiteY12" fmla="*/ 16028 h 20214"/>
                  <a:gd name="connsiteX13" fmla="*/ 12858 w 44257"/>
                  <a:gd name="connsiteY13" fmla="*/ 16806 h 20214"/>
                  <a:gd name="connsiteX14" fmla="*/ 12559 w 44257"/>
                  <a:gd name="connsiteY14" fmla="*/ 16925 h 20214"/>
                  <a:gd name="connsiteX15" fmla="*/ 8493 w 44257"/>
                  <a:gd name="connsiteY15" fmla="*/ 18421 h 20214"/>
                  <a:gd name="connsiteX16" fmla="*/ 8313 w 44257"/>
                  <a:gd name="connsiteY16" fmla="*/ 18480 h 20214"/>
                  <a:gd name="connsiteX17" fmla="*/ 7595 w 44257"/>
                  <a:gd name="connsiteY17" fmla="*/ 18720 h 20214"/>
                  <a:gd name="connsiteX18" fmla="*/ 7416 w 44257"/>
                  <a:gd name="connsiteY18" fmla="*/ 18779 h 20214"/>
                  <a:gd name="connsiteX19" fmla="*/ 7236 w 44257"/>
                  <a:gd name="connsiteY19" fmla="*/ 18839 h 20214"/>
                  <a:gd name="connsiteX20" fmla="*/ 6937 w 44257"/>
                  <a:gd name="connsiteY20" fmla="*/ 18959 h 20214"/>
                  <a:gd name="connsiteX21" fmla="*/ 6758 w 44257"/>
                  <a:gd name="connsiteY21" fmla="*/ 19079 h 20214"/>
                  <a:gd name="connsiteX22" fmla="*/ 4486 w 44257"/>
                  <a:gd name="connsiteY22" fmla="*/ 20215 h 20214"/>
                  <a:gd name="connsiteX23" fmla="*/ 2333 w 44257"/>
                  <a:gd name="connsiteY23" fmla="*/ 18540 h 20214"/>
                  <a:gd name="connsiteX24" fmla="*/ 718 w 44257"/>
                  <a:gd name="connsiteY24" fmla="*/ 16626 h 20214"/>
                  <a:gd name="connsiteX25" fmla="*/ 0 w 44257"/>
                  <a:gd name="connsiteY25" fmla="*/ 15430 h 20214"/>
                  <a:gd name="connsiteX26" fmla="*/ 837 w 44257"/>
                  <a:gd name="connsiteY26" fmla="*/ 13935 h 20214"/>
                  <a:gd name="connsiteX27" fmla="*/ 837 w 44257"/>
                  <a:gd name="connsiteY27" fmla="*/ 13935 h 20214"/>
                  <a:gd name="connsiteX28" fmla="*/ 1196 w 44257"/>
                  <a:gd name="connsiteY28" fmla="*/ 13277 h 20214"/>
                  <a:gd name="connsiteX29" fmla="*/ 1316 w 44257"/>
                  <a:gd name="connsiteY29" fmla="*/ 13098 h 20214"/>
                  <a:gd name="connsiteX30" fmla="*/ 1555 w 44257"/>
                  <a:gd name="connsiteY30" fmla="*/ 12679 h 20214"/>
                  <a:gd name="connsiteX31" fmla="*/ 1674 w 44257"/>
                  <a:gd name="connsiteY31" fmla="*/ 12500 h 20214"/>
                  <a:gd name="connsiteX32" fmla="*/ 1973 w 44257"/>
                  <a:gd name="connsiteY32" fmla="*/ 12021 h 2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4257" h="20214">
                    <a:moveTo>
                      <a:pt x="43659" y="0"/>
                    </a:moveTo>
                    <a:lnTo>
                      <a:pt x="44257" y="419"/>
                    </a:lnTo>
                    <a:lnTo>
                      <a:pt x="44198" y="2811"/>
                    </a:lnTo>
                    <a:lnTo>
                      <a:pt x="42702" y="4964"/>
                    </a:lnTo>
                    <a:lnTo>
                      <a:pt x="41207" y="7177"/>
                    </a:lnTo>
                    <a:lnTo>
                      <a:pt x="40370" y="8433"/>
                    </a:lnTo>
                    <a:lnTo>
                      <a:pt x="33372" y="12081"/>
                    </a:lnTo>
                    <a:lnTo>
                      <a:pt x="31040" y="13277"/>
                    </a:lnTo>
                    <a:lnTo>
                      <a:pt x="26853" y="13815"/>
                    </a:lnTo>
                    <a:lnTo>
                      <a:pt x="25238" y="14055"/>
                    </a:lnTo>
                    <a:lnTo>
                      <a:pt x="21231" y="14713"/>
                    </a:lnTo>
                    <a:lnTo>
                      <a:pt x="18002" y="15251"/>
                    </a:lnTo>
                    <a:lnTo>
                      <a:pt x="15490" y="16028"/>
                    </a:lnTo>
                    <a:lnTo>
                      <a:pt x="12858" y="16806"/>
                    </a:lnTo>
                    <a:lnTo>
                      <a:pt x="12559" y="16925"/>
                    </a:lnTo>
                    <a:lnTo>
                      <a:pt x="8493" y="18421"/>
                    </a:lnTo>
                    <a:lnTo>
                      <a:pt x="8313" y="18480"/>
                    </a:lnTo>
                    <a:lnTo>
                      <a:pt x="7595" y="18720"/>
                    </a:lnTo>
                    <a:lnTo>
                      <a:pt x="7416" y="18779"/>
                    </a:lnTo>
                    <a:lnTo>
                      <a:pt x="7236" y="18839"/>
                    </a:lnTo>
                    <a:lnTo>
                      <a:pt x="6937" y="18959"/>
                    </a:lnTo>
                    <a:lnTo>
                      <a:pt x="6758" y="19079"/>
                    </a:lnTo>
                    <a:lnTo>
                      <a:pt x="4486" y="20215"/>
                    </a:lnTo>
                    <a:lnTo>
                      <a:pt x="2333" y="18540"/>
                    </a:lnTo>
                    <a:lnTo>
                      <a:pt x="718" y="16626"/>
                    </a:lnTo>
                    <a:lnTo>
                      <a:pt x="0" y="15430"/>
                    </a:lnTo>
                    <a:lnTo>
                      <a:pt x="837" y="13935"/>
                    </a:lnTo>
                    <a:lnTo>
                      <a:pt x="837" y="13935"/>
                    </a:lnTo>
                    <a:lnTo>
                      <a:pt x="1196" y="13277"/>
                    </a:lnTo>
                    <a:lnTo>
                      <a:pt x="1316" y="13098"/>
                    </a:lnTo>
                    <a:lnTo>
                      <a:pt x="1555" y="12679"/>
                    </a:lnTo>
                    <a:lnTo>
                      <a:pt x="1674" y="12500"/>
                    </a:lnTo>
                    <a:lnTo>
                      <a:pt x="1973" y="12021"/>
                    </a:lnTo>
                  </a:path>
                </a:pathLst>
              </a:custGeom>
              <a:noFill/>
              <a:ln w="6350" cap="rnd">
                <a:solidFill>
                  <a:schemeClr val="bg1">
                    <a:alpha val="80000"/>
                  </a:schemeClr>
                </a:solidFill>
                <a:prstDash val="solid"/>
                <a:round/>
              </a:ln>
            </p:spPr>
            <p:txBody>
              <a:bodyPr rtlCol="0" anchor="ctr"/>
              <a:lstStyle/>
              <a:p>
                <a:endParaRPr lang="en-GB"/>
              </a:p>
            </p:txBody>
          </p:sp>
          <p:sp>
            <p:nvSpPr>
              <p:cNvPr id="6432" name="Vrije vorm: vorm 6431">
                <a:extLst>
                  <a:ext uri="{FF2B5EF4-FFF2-40B4-BE49-F238E27FC236}">
                    <a16:creationId xmlns:a16="http://schemas.microsoft.com/office/drawing/2014/main" id="{1BA89C77-F0C8-4587-B2E3-F26FB95A675B}"/>
                  </a:ext>
                </a:extLst>
              </p:cNvPr>
              <p:cNvSpPr/>
              <p:nvPr/>
            </p:nvSpPr>
            <p:spPr>
              <a:xfrm>
                <a:off x="6922646" y="1711125"/>
                <a:ext cx="126731" cy="59149"/>
              </a:xfrm>
              <a:custGeom>
                <a:avLst/>
                <a:gdLst>
                  <a:gd name="connsiteX0" fmla="*/ 0 w 126731"/>
                  <a:gd name="connsiteY0" fmla="*/ 4545 h 59149"/>
                  <a:gd name="connsiteX1" fmla="*/ 3050 w 126731"/>
                  <a:gd name="connsiteY1" fmla="*/ 3170 h 59149"/>
                  <a:gd name="connsiteX2" fmla="*/ 3289 w 126731"/>
                  <a:gd name="connsiteY2" fmla="*/ 3050 h 59149"/>
                  <a:gd name="connsiteX3" fmla="*/ 3588 w 126731"/>
                  <a:gd name="connsiteY3" fmla="*/ 2930 h 59149"/>
                  <a:gd name="connsiteX4" fmla="*/ 10227 w 126731"/>
                  <a:gd name="connsiteY4" fmla="*/ 0 h 59149"/>
                  <a:gd name="connsiteX5" fmla="*/ 19437 w 126731"/>
                  <a:gd name="connsiteY5" fmla="*/ 1136 h 59149"/>
                  <a:gd name="connsiteX6" fmla="*/ 35047 w 126731"/>
                  <a:gd name="connsiteY6" fmla="*/ 8373 h 59149"/>
                  <a:gd name="connsiteX7" fmla="*/ 41147 w 126731"/>
                  <a:gd name="connsiteY7" fmla="*/ 11543 h 59149"/>
                  <a:gd name="connsiteX8" fmla="*/ 43659 w 126731"/>
                  <a:gd name="connsiteY8" fmla="*/ 12859 h 59149"/>
                  <a:gd name="connsiteX9" fmla="*/ 47367 w 126731"/>
                  <a:gd name="connsiteY9" fmla="*/ 14832 h 59149"/>
                  <a:gd name="connsiteX10" fmla="*/ 47606 w 126731"/>
                  <a:gd name="connsiteY10" fmla="*/ 14952 h 59149"/>
                  <a:gd name="connsiteX11" fmla="*/ 47606 w 126731"/>
                  <a:gd name="connsiteY11" fmla="*/ 14952 h 59149"/>
                  <a:gd name="connsiteX12" fmla="*/ 47606 w 126731"/>
                  <a:gd name="connsiteY12" fmla="*/ 14952 h 59149"/>
                  <a:gd name="connsiteX13" fmla="*/ 48144 w 126731"/>
                  <a:gd name="connsiteY13" fmla="*/ 15251 h 59149"/>
                  <a:gd name="connsiteX14" fmla="*/ 51135 w 126731"/>
                  <a:gd name="connsiteY14" fmla="*/ 16866 h 59149"/>
                  <a:gd name="connsiteX15" fmla="*/ 57475 w 126731"/>
                  <a:gd name="connsiteY15" fmla="*/ 20215 h 59149"/>
                  <a:gd name="connsiteX16" fmla="*/ 59388 w 126731"/>
                  <a:gd name="connsiteY16" fmla="*/ 21351 h 59149"/>
                  <a:gd name="connsiteX17" fmla="*/ 68299 w 126731"/>
                  <a:gd name="connsiteY17" fmla="*/ 26554 h 59149"/>
                  <a:gd name="connsiteX18" fmla="*/ 79543 w 126731"/>
                  <a:gd name="connsiteY18" fmla="*/ 33073 h 59149"/>
                  <a:gd name="connsiteX19" fmla="*/ 82534 w 126731"/>
                  <a:gd name="connsiteY19" fmla="*/ 34987 h 59149"/>
                  <a:gd name="connsiteX20" fmla="*/ 87498 w 126731"/>
                  <a:gd name="connsiteY20" fmla="*/ 38217 h 59149"/>
                  <a:gd name="connsiteX21" fmla="*/ 94256 w 126731"/>
                  <a:gd name="connsiteY21" fmla="*/ 42583 h 59149"/>
                  <a:gd name="connsiteX22" fmla="*/ 95034 w 126731"/>
                  <a:gd name="connsiteY22" fmla="*/ 43121 h 59149"/>
                  <a:gd name="connsiteX23" fmla="*/ 102450 w 126731"/>
                  <a:gd name="connsiteY23" fmla="*/ 47965 h 59149"/>
                  <a:gd name="connsiteX24" fmla="*/ 107294 w 126731"/>
                  <a:gd name="connsiteY24" fmla="*/ 51135 h 59149"/>
                  <a:gd name="connsiteX25" fmla="*/ 109986 w 126731"/>
                  <a:gd name="connsiteY25" fmla="*/ 52511 h 59149"/>
                  <a:gd name="connsiteX26" fmla="*/ 118418 w 126731"/>
                  <a:gd name="connsiteY26" fmla="*/ 55681 h 59149"/>
                  <a:gd name="connsiteX27" fmla="*/ 120631 w 126731"/>
                  <a:gd name="connsiteY27" fmla="*/ 56458 h 59149"/>
                  <a:gd name="connsiteX28" fmla="*/ 120870 w 126731"/>
                  <a:gd name="connsiteY28" fmla="*/ 56578 h 59149"/>
                  <a:gd name="connsiteX29" fmla="*/ 124818 w 126731"/>
                  <a:gd name="connsiteY29" fmla="*/ 58013 h 59149"/>
                  <a:gd name="connsiteX30" fmla="*/ 126731 w 126731"/>
                  <a:gd name="connsiteY30" fmla="*/ 59149 h 59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6731" h="59149">
                    <a:moveTo>
                      <a:pt x="0" y="4545"/>
                    </a:moveTo>
                    <a:lnTo>
                      <a:pt x="3050" y="3170"/>
                    </a:lnTo>
                    <a:lnTo>
                      <a:pt x="3289" y="3050"/>
                    </a:lnTo>
                    <a:lnTo>
                      <a:pt x="3588" y="2930"/>
                    </a:lnTo>
                    <a:lnTo>
                      <a:pt x="10227" y="0"/>
                    </a:lnTo>
                    <a:lnTo>
                      <a:pt x="19437" y="1136"/>
                    </a:lnTo>
                    <a:lnTo>
                      <a:pt x="35047" y="8373"/>
                    </a:lnTo>
                    <a:lnTo>
                      <a:pt x="41147" y="11543"/>
                    </a:lnTo>
                    <a:lnTo>
                      <a:pt x="43659" y="12859"/>
                    </a:lnTo>
                    <a:lnTo>
                      <a:pt x="47367" y="14832"/>
                    </a:lnTo>
                    <a:lnTo>
                      <a:pt x="47606" y="14952"/>
                    </a:lnTo>
                    <a:lnTo>
                      <a:pt x="47606" y="14952"/>
                    </a:lnTo>
                    <a:lnTo>
                      <a:pt x="47606" y="14952"/>
                    </a:lnTo>
                    <a:lnTo>
                      <a:pt x="48144" y="15251"/>
                    </a:lnTo>
                    <a:lnTo>
                      <a:pt x="51135" y="16866"/>
                    </a:lnTo>
                    <a:lnTo>
                      <a:pt x="57475" y="20215"/>
                    </a:lnTo>
                    <a:lnTo>
                      <a:pt x="59388" y="21351"/>
                    </a:lnTo>
                    <a:lnTo>
                      <a:pt x="68299" y="26554"/>
                    </a:lnTo>
                    <a:lnTo>
                      <a:pt x="79543" y="33073"/>
                    </a:lnTo>
                    <a:lnTo>
                      <a:pt x="82534" y="34987"/>
                    </a:lnTo>
                    <a:lnTo>
                      <a:pt x="87498" y="38217"/>
                    </a:lnTo>
                    <a:lnTo>
                      <a:pt x="94256" y="42583"/>
                    </a:lnTo>
                    <a:lnTo>
                      <a:pt x="95034" y="43121"/>
                    </a:lnTo>
                    <a:lnTo>
                      <a:pt x="102450" y="47965"/>
                    </a:lnTo>
                    <a:lnTo>
                      <a:pt x="107294" y="51135"/>
                    </a:lnTo>
                    <a:lnTo>
                      <a:pt x="109986" y="52511"/>
                    </a:lnTo>
                    <a:lnTo>
                      <a:pt x="118418" y="55681"/>
                    </a:lnTo>
                    <a:lnTo>
                      <a:pt x="120631" y="56458"/>
                    </a:lnTo>
                    <a:lnTo>
                      <a:pt x="120870" y="56578"/>
                    </a:lnTo>
                    <a:lnTo>
                      <a:pt x="124818" y="58013"/>
                    </a:lnTo>
                    <a:lnTo>
                      <a:pt x="126731" y="59149"/>
                    </a:lnTo>
                  </a:path>
                </a:pathLst>
              </a:custGeom>
              <a:noFill/>
              <a:ln w="6350" cap="rnd">
                <a:solidFill>
                  <a:schemeClr val="bg1">
                    <a:alpha val="80000"/>
                  </a:schemeClr>
                </a:solidFill>
                <a:prstDash val="solid"/>
                <a:round/>
              </a:ln>
            </p:spPr>
            <p:txBody>
              <a:bodyPr rtlCol="0" anchor="ctr"/>
              <a:lstStyle/>
              <a:p>
                <a:endParaRPr lang="en-GB"/>
              </a:p>
            </p:txBody>
          </p:sp>
          <p:sp>
            <p:nvSpPr>
              <p:cNvPr id="6433" name="Vrije vorm: vorm 6432">
                <a:extLst>
                  <a:ext uri="{FF2B5EF4-FFF2-40B4-BE49-F238E27FC236}">
                    <a16:creationId xmlns:a16="http://schemas.microsoft.com/office/drawing/2014/main" id="{A72CC0E1-3218-4D8A-A475-DEBDCACC008F}"/>
                  </a:ext>
                </a:extLst>
              </p:cNvPr>
              <p:cNvSpPr/>
              <p:nvPr/>
            </p:nvSpPr>
            <p:spPr>
              <a:xfrm>
                <a:off x="6961041" y="1838574"/>
                <a:ext cx="25119" cy="17344"/>
              </a:xfrm>
              <a:custGeom>
                <a:avLst/>
                <a:gdLst>
                  <a:gd name="connsiteX0" fmla="*/ 9570 w 25119"/>
                  <a:gd name="connsiteY0" fmla="*/ 3409 h 17344"/>
                  <a:gd name="connsiteX1" fmla="*/ 9749 w 25119"/>
                  <a:gd name="connsiteY1" fmla="*/ 3529 h 17344"/>
                  <a:gd name="connsiteX2" fmla="*/ 16926 w 25119"/>
                  <a:gd name="connsiteY2" fmla="*/ 8493 h 17344"/>
                  <a:gd name="connsiteX3" fmla="*/ 17165 w 25119"/>
                  <a:gd name="connsiteY3" fmla="*/ 8732 h 17344"/>
                  <a:gd name="connsiteX4" fmla="*/ 21411 w 25119"/>
                  <a:gd name="connsiteY4" fmla="*/ 12859 h 17344"/>
                  <a:gd name="connsiteX5" fmla="*/ 21471 w 25119"/>
                  <a:gd name="connsiteY5" fmla="*/ 12918 h 17344"/>
                  <a:gd name="connsiteX6" fmla="*/ 22189 w 25119"/>
                  <a:gd name="connsiteY6" fmla="*/ 13636 h 17344"/>
                  <a:gd name="connsiteX7" fmla="*/ 24043 w 25119"/>
                  <a:gd name="connsiteY7" fmla="*/ 15490 h 17344"/>
                  <a:gd name="connsiteX8" fmla="*/ 25060 w 25119"/>
                  <a:gd name="connsiteY8" fmla="*/ 16447 h 17344"/>
                  <a:gd name="connsiteX9" fmla="*/ 25119 w 25119"/>
                  <a:gd name="connsiteY9" fmla="*/ 16866 h 17344"/>
                  <a:gd name="connsiteX10" fmla="*/ 24700 w 25119"/>
                  <a:gd name="connsiteY10" fmla="*/ 17344 h 17344"/>
                  <a:gd name="connsiteX11" fmla="*/ 20574 w 25119"/>
                  <a:gd name="connsiteY11" fmla="*/ 14354 h 17344"/>
                  <a:gd name="connsiteX12" fmla="*/ 20514 w 25119"/>
                  <a:gd name="connsiteY12" fmla="*/ 14354 h 17344"/>
                  <a:gd name="connsiteX13" fmla="*/ 7237 w 25119"/>
                  <a:gd name="connsiteY13" fmla="*/ 4785 h 17344"/>
                  <a:gd name="connsiteX14" fmla="*/ 5622 w 25119"/>
                  <a:gd name="connsiteY14" fmla="*/ 3708 h 17344"/>
                  <a:gd name="connsiteX15" fmla="*/ 4845 w 25119"/>
                  <a:gd name="connsiteY15" fmla="*/ 3170 h 17344"/>
                  <a:gd name="connsiteX16" fmla="*/ 4007 w 25119"/>
                  <a:gd name="connsiteY16" fmla="*/ 2632 h 17344"/>
                  <a:gd name="connsiteX17" fmla="*/ 2392 w 25119"/>
                  <a:gd name="connsiteY17" fmla="*/ 1555 h 17344"/>
                  <a:gd name="connsiteX18" fmla="*/ 0 w 25119"/>
                  <a:gd name="connsiteY18" fmla="*/ 0 h 17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119" h="17344">
                    <a:moveTo>
                      <a:pt x="9570" y="3409"/>
                    </a:moveTo>
                    <a:lnTo>
                      <a:pt x="9749" y="3529"/>
                    </a:lnTo>
                    <a:lnTo>
                      <a:pt x="16926" y="8493"/>
                    </a:lnTo>
                    <a:lnTo>
                      <a:pt x="17165" y="8732"/>
                    </a:lnTo>
                    <a:lnTo>
                      <a:pt x="21411" y="12859"/>
                    </a:lnTo>
                    <a:lnTo>
                      <a:pt x="21471" y="12918"/>
                    </a:lnTo>
                    <a:lnTo>
                      <a:pt x="22189" y="13636"/>
                    </a:lnTo>
                    <a:lnTo>
                      <a:pt x="24043" y="15490"/>
                    </a:lnTo>
                    <a:lnTo>
                      <a:pt x="25060" y="16447"/>
                    </a:lnTo>
                    <a:lnTo>
                      <a:pt x="25119" y="16866"/>
                    </a:lnTo>
                    <a:lnTo>
                      <a:pt x="24700" y="17344"/>
                    </a:lnTo>
                    <a:lnTo>
                      <a:pt x="20574" y="14354"/>
                    </a:lnTo>
                    <a:lnTo>
                      <a:pt x="20514" y="14354"/>
                    </a:lnTo>
                    <a:lnTo>
                      <a:pt x="7237" y="4785"/>
                    </a:lnTo>
                    <a:lnTo>
                      <a:pt x="5622" y="3708"/>
                    </a:lnTo>
                    <a:lnTo>
                      <a:pt x="4845" y="3170"/>
                    </a:lnTo>
                    <a:lnTo>
                      <a:pt x="4007" y="2632"/>
                    </a:lnTo>
                    <a:lnTo>
                      <a:pt x="2392" y="155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34" name="Vrije vorm: vorm 6433">
                <a:extLst>
                  <a:ext uri="{FF2B5EF4-FFF2-40B4-BE49-F238E27FC236}">
                    <a16:creationId xmlns:a16="http://schemas.microsoft.com/office/drawing/2014/main" id="{63653972-9F06-4AA9-ACFF-5E3DE20F1AAA}"/>
                  </a:ext>
                </a:extLst>
              </p:cNvPr>
              <p:cNvSpPr/>
              <p:nvPr/>
            </p:nvSpPr>
            <p:spPr>
              <a:xfrm>
                <a:off x="6953745" y="1833191"/>
                <a:ext cx="12439" cy="6997"/>
              </a:xfrm>
              <a:custGeom>
                <a:avLst/>
                <a:gdLst>
                  <a:gd name="connsiteX0" fmla="*/ 12440 w 12439"/>
                  <a:gd name="connsiteY0" fmla="*/ 6997 h 6997"/>
                  <a:gd name="connsiteX1" fmla="*/ 11423 w 12439"/>
                  <a:gd name="connsiteY1" fmla="*/ 6340 h 6997"/>
                  <a:gd name="connsiteX2" fmla="*/ 10287 w 12439"/>
                  <a:gd name="connsiteY2" fmla="*/ 5622 h 6997"/>
                  <a:gd name="connsiteX3" fmla="*/ 8194 w 12439"/>
                  <a:gd name="connsiteY3" fmla="*/ 4306 h 6997"/>
                  <a:gd name="connsiteX4" fmla="*/ 5981 w 12439"/>
                  <a:gd name="connsiteY4" fmla="*/ 2931 h 6997"/>
                  <a:gd name="connsiteX5" fmla="*/ 5443 w 12439"/>
                  <a:gd name="connsiteY5" fmla="*/ 2572 h 6997"/>
                  <a:gd name="connsiteX6" fmla="*/ 4845 w 12439"/>
                  <a:gd name="connsiteY6" fmla="*/ 2273 h 6997"/>
                  <a:gd name="connsiteX7" fmla="*/ 3828 w 12439"/>
                  <a:gd name="connsiteY7" fmla="*/ 1794 h 6997"/>
                  <a:gd name="connsiteX8" fmla="*/ 3050 w 12439"/>
                  <a:gd name="connsiteY8" fmla="*/ 1435 h 6997"/>
                  <a:gd name="connsiteX9" fmla="*/ 0 w 12439"/>
                  <a:gd name="connsiteY9" fmla="*/ 0 h 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9" h="6997">
                    <a:moveTo>
                      <a:pt x="12440" y="6997"/>
                    </a:moveTo>
                    <a:lnTo>
                      <a:pt x="11423" y="6340"/>
                    </a:lnTo>
                    <a:lnTo>
                      <a:pt x="10287" y="5622"/>
                    </a:lnTo>
                    <a:lnTo>
                      <a:pt x="8194" y="4306"/>
                    </a:lnTo>
                    <a:lnTo>
                      <a:pt x="5981" y="2931"/>
                    </a:lnTo>
                    <a:lnTo>
                      <a:pt x="5443" y="2572"/>
                    </a:lnTo>
                    <a:lnTo>
                      <a:pt x="4845" y="2273"/>
                    </a:lnTo>
                    <a:lnTo>
                      <a:pt x="3828" y="1794"/>
                    </a:lnTo>
                    <a:lnTo>
                      <a:pt x="3050" y="143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35" name="Vrije vorm: vorm 6434">
                <a:extLst>
                  <a:ext uri="{FF2B5EF4-FFF2-40B4-BE49-F238E27FC236}">
                    <a16:creationId xmlns:a16="http://schemas.microsoft.com/office/drawing/2014/main" id="{FDDF07E9-AC2B-4F97-A6D9-56955CC84211}"/>
                  </a:ext>
                </a:extLst>
              </p:cNvPr>
              <p:cNvSpPr/>
              <p:nvPr/>
            </p:nvSpPr>
            <p:spPr>
              <a:xfrm>
                <a:off x="6950336" y="1830799"/>
                <a:ext cx="6399" cy="2751"/>
              </a:xfrm>
              <a:custGeom>
                <a:avLst/>
                <a:gdLst>
                  <a:gd name="connsiteX0" fmla="*/ 60 w 6399"/>
                  <a:gd name="connsiteY0" fmla="*/ 897 h 2751"/>
                  <a:gd name="connsiteX1" fmla="*/ 0 w 6399"/>
                  <a:gd name="connsiteY1" fmla="*/ 478 h 2751"/>
                  <a:gd name="connsiteX2" fmla="*/ 299 w 6399"/>
                  <a:gd name="connsiteY2" fmla="*/ 179 h 2751"/>
                  <a:gd name="connsiteX3" fmla="*/ 478 w 6399"/>
                  <a:gd name="connsiteY3" fmla="*/ 0 h 2751"/>
                  <a:gd name="connsiteX4" fmla="*/ 2751 w 6399"/>
                  <a:gd name="connsiteY4" fmla="*/ 1076 h 2751"/>
                  <a:gd name="connsiteX5" fmla="*/ 4426 w 6399"/>
                  <a:gd name="connsiteY5" fmla="*/ 1854 h 2751"/>
                  <a:gd name="connsiteX6" fmla="*/ 6160 w 6399"/>
                  <a:gd name="connsiteY6" fmla="*/ 2691 h 2751"/>
                  <a:gd name="connsiteX7" fmla="*/ 6339 w 6399"/>
                  <a:gd name="connsiteY7" fmla="*/ 2751 h 2751"/>
                  <a:gd name="connsiteX8" fmla="*/ 6399 w 6399"/>
                  <a:gd name="connsiteY8" fmla="*/ 2751 h 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99" h="2751">
                    <a:moveTo>
                      <a:pt x="60" y="897"/>
                    </a:moveTo>
                    <a:lnTo>
                      <a:pt x="0" y="478"/>
                    </a:lnTo>
                    <a:lnTo>
                      <a:pt x="299" y="179"/>
                    </a:lnTo>
                    <a:lnTo>
                      <a:pt x="478" y="0"/>
                    </a:lnTo>
                    <a:lnTo>
                      <a:pt x="2751" y="1076"/>
                    </a:lnTo>
                    <a:lnTo>
                      <a:pt x="4426" y="1854"/>
                    </a:lnTo>
                    <a:lnTo>
                      <a:pt x="6160" y="2691"/>
                    </a:lnTo>
                    <a:lnTo>
                      <a:pt x="6339" y="2751"/>
                    </a:lnTo>
                    <a:lnTo>
                      <a:pt x="6399" y="2751"/>
                    </a:lnTo>
                  </a:path>
                </a:pathLst>
              </a:custGeom>
              <a:noFill/>
              <a:ln w="6350" cap="rnd">
                <a:solidFill>
                  <a:schemeClr val="bg1">
                    <a:alpha val="80000"/>
                  </a:schemeClr>
                </a:solidFill>
                <a:prstDash val="solid"/>
                <a:round/>
              </a:ln>
            </p:spPr>
            <p:txBody>
              <a:bodyPr rtlCol="0" anchor="ctr"/>
              <a:lstStyle/>
              <a:p>
                <a:endParaRPr lang="en-GB"/>
              </a:p>
            </p:txBody>
          </p:sp>
          <p:sp>
            <p:nvSpPr>
              <p:cNvPr id="6436" name="Vrije vorm: vorm 6435">
                <a:extLst>
                  <a:ext uri="{FF2B5EF4-FFF2-40B4-BE49-F238E27FC236}">
                    <a16:creationId xmlns:a16="http://schemas.microsoft.com/office/drawing/2014/main" id="{68FB3176-D806-42DA-A709-42393C83DF63}"/>
                  </a:ext>
                </a:extLst>
              </p:cNvPr>
              <p:cNvSpPr/>
              <p:nvPr/>
            </p:nvSpPr>
            <p:spPr>
              <a:xfrm>
                <a:off x="6674685" y="1819675"/>
                <a:ext cx="50118" cy="32415"/>
              </a:xfrm>
              <a:custGeom>
                <a:avLst/>
                <a:gdLst>
                  <a:gd name="connsiteX0" fmla="*/ 0 w 50118"/>
                  <a:gd name="connsiteY0" fmla="*/ 6399 h 32415"/>
                  <a:gd name="connsiteX1" fmla="*/ 837 w 50118"/>
                  <a:gd name="connsiteY1" fmla="*/ 2990 h 32415"/>
                  <a:gd name="connsiteX2" fmla="*/ 1674 w 50118"/>
                  <a:gd name="connsiteY2" fmla="*/ 1136 h 32415"/>
                  <a:gd name="connsiteX3" fmla="*/ 2871 w 50118"/>
                  <a:gd name="connsiteY3" fmla="*/ 60 h 32415"/>
                  <a:gd name="connsiteX4" fmla="*/ 13337 w 50118"/>
                  <a:gd name="connsiteY4" fmla="*/ 0 h 32415"/>
                  <a:gd name="connsiteX5" fmla="*/ 16866 w 50118"/>
                  <a:gd name="connsiteY5" fmla="*/ 598 h 32415"/>
                  <a:gd name="connsiteX6" fmla="*/ 17643 w 50118"/>
                  <a:gd name="connsiteY6" fmla="*/ 718 h 32415"/>
                  <a:gd name="connsiteX7" fmla="*/ 23384 w 50118"/>
                  <a:gd name="connsiteY7" fmla="*/ 1675 h 32415"/>
                  <a:gd name="connsiteX8" fmla="*/ 27212 w 50118"/>
                  <a:gd name="connsiteY8" fmla="*/ 2332 h 32415"/>
                  <a:gd name="connsiteX9" fmla="*/ 32356 w 50118"/>
                  <a:gd name="connsiteY9" fmla="*/ 4186 h 32415"/>
                  <a:gd name="connsiteX10" fmla="*/ 34867 w 50118"/>
                  <a:gd name="connsiteY10" fmla="*/ 5084 h 32415"/>
                  <a:gd name="connsiteX11" fmla="*/ 36183 w 50118"/>
                  <a:gd name="connsiteY11" fmla="*/ 5562 h 32415"/>
                  <a:gd name="connsiteX12" fmla="*/ 42583 w 50118"/>
                  <a:gd name="connsiteY12" fmla="*/ 9629 h 32415"/>
                  <a:gd name="connsiteX13" fmla="*/ 44556 w 50118"/>
                  <a:gd name="connsiteY13" fmla="*/ 10885 h 32415"/>
                  <a:gd name="connsiteX14" fmla="*/ 46410 w 50118"/>
                  <a:gd name="connsiteY14" fmla="*/ 12500 h 32415"/>
                  <a:gd name="connsiteX15" fmla="*/ 50118 w 50118"/>
                  <a:gd name="connsiteY15" fmla="*/ 15789 h 32415"/>
                  <a:gd name="connsiteX16" fmla="*/ 49999 w 50118"/>
                  <a:gd name="connsiteY16" fmla="*/ 17703 h 32415"/>
                  <a:gd name="connsiteX17" fmla="*/ 49580 w 50118"/>
                  <a:gd name="connsiteY17" fmla="*/ 25777 h 32415"/>
                  <a:gd name="connsiteX18" fmla="*/ 49580 w 50118"/>
                  <a:gd name="connsiteY18" fmla="*/ 26315 h 32415"/>
                  <a:gd name="connsiteX19" fmla="*/ 45812 w 50118"/>
                  <a:gd name="connsiteY19" fmla="*/ 31758 h 32415"/>
                  <a:gd name="connsiteX20" fmla="*/ 43659 w 50118"/>
                  <a:gd name="connsiteY20" fmla="*/ 32415 h 32415"/>
                  <a:gd name="connsiteX21" fmla="*/ 43001 w 50118"/>
                  <a:gd name="connsiteY21" fmla="*/ 31997 h 3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118" h="32415">
                    <a:moveTo>
                      <a:pt x="0" y="6399"/>
                    </a:moveTo>
                    <a:lnTo>
                      <a:pt x="837" y="2990"/>
                    </a:lnTo>
                    <a:lnTo>
                      <a:pt x="1674" y="1136"/>
                    </a:lnTo>
                    <a:lnTo>
                      <a:pt x="2871" y="60"/>
                    </a:lnTo>
                    <a:lnTo>
                      <a:pt x="13337" y="0"/>
                    </a:lnTo>
                    <a:lnTo>
                      <a:pt x="16866" y="598"/>
                    </a:lnTo>
                    <a:lnTo>
                      <a:pt x="17643" y="718"/>
                    </a:lnTo>
                    <a:lnTo>
                      <a:pt x="23384" y="1675"/>
                    </a:lnTo>
                    <a:lnTo>
                      <a:pt x="27212" y="2332"/>
                    </a:lnTo>
                    <a:lnTo>
                      <a:pt x="32356" y="4186"/>
                    </a:lnTo>
                    <a:lnTo>
                      <a:pt x="34867" y="5084"/>
                    </a:lnTo>
                    <a:lnTo>
                      <a:pt x="36183" y="5562"/>
                    </a:lnTo>
                    <a:lnTo>
                      <a:pt x="42583" y="9629"/>
                    </a:lnTo>
                    <a:lnTo>
                      <a:pt x="44556" y="10885"/>
                    </a:lnTo>
                    <a:lnTo>
                      <a:pt x="46410" y="12500"/>
                    </a:lnTo>
                    <a:lnTo>
                      <a:pt x="50118" y="15789"/>
                    </a:lnTo>
                    <a:lnTo>
                      <a:pt x="49999" y="17703"/>
                    </a:lnTo>
                    <a:lnTo>
                      <a:pt x="49580" y="25777"/>
                    </a:lnTo>
                    <a:lnTo>
                      <a:pt x="49580" y="26315"/>
                    </a:lnTo>
                    <a:lnTo>
                      <a:pt x="45812" y="31758"/>
                    </a:lnTo>
                    <a:lnTo>
                      <a:pt x="43659" y="32415"/>
                    </a:lnTo>
                    <a:lnTo>
                      <a:pt x="43001" y="31997"/>
                    </a:lnTo>
                  </a:path>
                </a:pathLst>
              </a:custGeom>
              <a:noFill/>
              <a:ln w="6350" cap="rnd">
                <a:solidFill>
                  <a:schemeClr val="bg1">
                    <a:alpha val="80000"/>
                  </a:schemeClr>
                </a:solidFill>
                <a:prstDash val="solid"/>
                <a:round/>
              </a:ln>
            </p:spPr>
            <p:txBody>
              <a:bodyPr rtlCol="0" anchor="ctr"/>
              <a:lstStyle/>
              <a:p>
                <a:endParaRPr lang="en-GB"/>
              </a:p>
            </p:txBody>
          </p:sp>
          <p:sp>
            <p:nvSpPr>
              <p:cNvPr id="6437" name="Vrije vorm: vorm 6436">
                <a:extLst>
                  <a:ext uri="{FF2B5EF4-FFF2-40B4-BE49-F238E27FC236}">
                    <a16:creationId xmlns:a16="http://schemas.microsoft.com/office/drawing/2014/main" id="{08C336CF-D3CA-47BA-865D-E9FFD451F294}"/>
                  </a:ext>
                </a:extLst>
              </p:cNvPr>
              <p:cNvSpPr/>
              <p:nvPr/>
            </p:nvSpPr>
            <p:spPr>
              <a:xfrm>
                <a:off x="7091122" y="1934205"/>
                <a:ext cx="8612" cy="6758"/>
              </a:xfrm>
              <a:custGeom>
                <a:avLst/>
                <a:gdLst>
                  <a:gd name="connsiteX0" fmla="*/ 8613 w 8612"/>
                  <a:gd name="connsiteY0" fmla="*/ 6758 h 6758"/>
                  <a:gd name="connsiteX1" fmla="*/ 7297 w 8612"/>
                  <a:gd name="connsiteY1" fmla="*/ 4904 h 6758"/>
                  <a:gd name="connsiteX2" fmla="*/ 6041 w 8612"/>
                  <a:gd name="connsiteY2" fmla="*/ 3170 h 6758"/>
                  <a:gd name="connsiteX3" fmla="*/ 2572 w 8612"/>
                  <a:gd name="connsiteY3" fmla="*/ 957 h 6758"/>
                  <a:gd name="connsiteX4" fmla="*/ 2572 w 8612"/>
                  <a:gd name="connsiteY4" fmla="*/ 957 h 6758"/>
                  <a:gd name="connsiteX5" fmla="*/ 1914 w 8612"/>
                  <a:gd name="connsiteY5" fmla="*/ 718 h 6758"/>
                  <a:gd name="connsiteX6" fmla="*/ 1735 w 8612"/>
                  <a:gd name="connsiteY6" fmla="*/ 658 h 6758"/>
                  <a:gd name="connsiteX7" fmla="*/ 0 w 8612"/>
                  <a:gd name="connsiteY7" fmla="*/ 0 h 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2" h="6758">
                    <a:moveTo>
                      <a:pt x="8613" y="6758"/>
                    </a:moveTo>
                    <a:lnTo>
                      <a:pt x="7297" y="4904"/>
                    </a:lnTo>
                    <a:lnTo>
                      <a:pt x="6041" y="3170"/>
                    </a:lnTo>
                    <a:lnTo>
                      <a:pt x="2572" y="957"/>
                    </a:lnTo>
                    <a:lnTo>
                      <a:pt x="2572" y="957"/>
                    </a:lnTo>
                    <a:lnTo>
                      <a:pt x="1914" y="718"/>
                    </a:lnTo>
                    <a:lnTo>
                      <a:pt x="1735" y="65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38" name="Vrije vorm: vorm 6437">
                <a:extLst>
                  <a:ext uri="{FF2B5EF4-FFF2-40B4-BE49-F238E27FC236}">
                    <a16:creationId xmlns:a16="http://schemas.microsoft.com/office/drawing/2014/main" id="{34CDA929-B037-43D9-A97C-92C6110C0D6F}"/>
                  </a:ext>
                </a:extLst>
              </p:cNvPr>
              <p:cNvSpPr/>
              <p:nvPr/>
            </p:nvSpPr>
            <p:spPr>
              <a:xfrm>
                <a:off x="6701299" y="1942399"/>
                <a:ext cx="3887" cy="3349"/>
              </a:xfrm>
              <a:custGeom>
                <a:avLst/>
                <a:gdLst>
                  <a:gd name="connsiteX0" fmla="*/ 3469 w 3887"/>
                  <a:gd name="connsiteY0" fmla="*/ 0 h 3349"/>
                  <a:gd name="connsiteX1" fmla="*/ 3528 w 3887"/>
                  <a:gd name="connsiteY1" fmla="*/ 239 h 3349"/>
                  <a:gd name="connsiteX2" fmla="*/ 3528 w 3887"/>
                  <a:gd name="connsiteY2" fmla="*/ 299 h 3349"/>
                  <a:gd name="connsiteX3" fmla="*/ 3887 w 3887"/>
                  <a:gd name="connsiteY3" fmla="*/ 1734 h 3349"/>
                  <a:gd name="connsiteX4" fmla="*/ 2332 w 3887"/>
                  <a:gd name="connsiteY4" fmla="*/ 3349 h 3349"/>
                  <a:gd name="connsiteX5" fmla="*/ 2213 w 3887"/>
                  <a:gd name="connsiteY5" fmla="*/ 3349 h 3349"/>
                  <a:gd name="connsiteX6" fmla="*/ 1256 w 3887"/>
                  <a:gd name="connsiteY6" fmla="*/ 3289 h 3349"/>
                  <a:gd name="connsiteX7" fmla="*/ 299 w 3887"/>
                  <a:gd name="connsiteY7" fmla="*/ 3230 h 3349"/>
                  <a:gd name="connsiteX8" fmla="*/ 0 w 3887"/>
                  <a:gd name="connsiteY8" fmla="*/ 2871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87" h="3349">
                    <a:moveTo>
                      <a:pt x="3469" y="0"/>
                    </a:moveTo>
                    <a:lnTo>
                      <a:pt x="3528" y="239"/>
                    </a:lnTo>
                    <a:lnTo>
                      <a:pt x="3528" y="299"/>
                    </a:lnTo>
                    <a:lnTo>
                      <a:pt x="3887" y="1734"/>
                    </a:lnTo>
                    <a:lnTo>
                      <a:pt x="2332" y="3349"/>
                    </a:lnTo>
                    <a:lnTo>
                      <a:pt x="2213" y="3349"/>
                    </a:lnTo>
                    <a:lnTo>
                      <a:pt x="1256" y="3289"/>
                    </a:lnTo>
                    <a:lnTo>
                      <a:pt x="299" y="3230"/>
                    </a:lnTo>
                    <a:lnTo>
                      <a:pt x="0" y="2871"/>
                    </a:lnTo>
                  </a:path>
                </a:pathLst>
              </a:custGeom>
              <a:noFill/>
              <a:ln w="6350" cap="rnd">
                <a:solidFill>
                  <a:schemeClr val="bg1">
                    <a:alpha val="80000"/>
                  </a:schemeClr>
                </a:solidFill>
                <a:prstDash val="solid"/>
                <a:round/>
              </a:ln>
            </p:spPr>
            <p:txBody>
              <a:bodyPr rtlCol="0" anchor="ctr"/>
              <a:lstStyle/>
              <a:p>
                <a:endParaRPr lang="en-GB"/>
              </a:p>
            </p:txBody>
          </p:sp>
          <p:sp>
            <p:nvSpPr>
              <p:cNvPr id="6439" name="Vrije vorm: vorm 6438">
                <a:extLst>
                  <a:ext uri="{FF2B5EF4-FFF2-40B4-BE49-F238E27FC236}">
                    <a16:creationId xmlns:a16="http://schemas.microsoft.com/office/drawing/2014/main" id="{1086BBE1-754B-4765-AA1F-FE783AA0FA82}"/>
                  </a:ext>
                </a:extLst>
              </p:cNvPr>
              <p:cNvSpPr/>
              <p:nvPr/>
            </p:nvSpPr>
            <p:spPr>
              <a:xfrm>
                <a:off x="7059305" y="1863274"/>
                <a:ext cx="11901" cy="27331"/>
              </a:xfrm>
              <a:custGeom>
                <a:avLst/>
                <a:gdLst>
                  <a:gd name="connsiteX0" fmla="*/ 11902 w 11901"/>
                  <a:gd name="connsiteY0" fmla="*/ 0 h 27331"/>
                  <a:gd name="connsiteX1" fmla="*/ 8194 w 11901"/>
                  <a:gd name="connsiteY1" fmla="*/ 10825 h 27331"/>
                  <a:gd name="connsiteX2" fmla="*/ 1375 w 11901"/>
                  <a:gd name="connsiteY2" fmla="*/ 26196 h 27331"/>
                  <a:gd name="connsiteX3" fmla="*/ 0 w 11901"/>
                  <a:gd name="connsiteY3" fmla="*/ 27332 h 27331"/>
                </a:gdLst>
                <a:ahLst/>
                <a:cxnLst>
                  <a:cxn ang="0">
                    <a:pos x="connsiteX0" y="connsiteY0"/>
                  </a:cxn>
                  <a:cxn ang="0">
                    <a:pos x="connsiteX1" y="connsiteY1"/>
                  </a:cxn>
                  <a:cxn ang="0">
                    <a:pos x="connsiteX2" y="connsiteY2"/>
                  </a:cxn>
                  <a:cxn ang="0">
                    <a:pos x="connsiteX3" y="connsiteY3"/>
                  </a:cxn>
                </a:cxnLst>
                <a:rect l="l" t="t" r="r" b="b"/>
                <a:pathLst>
                  <a:path w="11901" h="27331">
                    <a:moveTo>
                      <a:pt x="11902" y="0"/>
                    </a:moveTo>
                    <a:lnTo>
                      <a:pt x="8194" y="10825"/>
                    </a:lnTo>
                    <a:lnTo>
                      <a:pt x="1375" y="26196"/>
                    </a:lnTo>
                    <a:lnTo>
                      <a:pt x="0" y="27332"/>
                    </a:lnTo>
                  </a:path>
                </a:pathLst>
              </a:custGeom>
              <a:noFill/>
              <a:ln w="6350" cap="rnd">
                <a:solidFill>
                  <a:schemeClr val="bg1">
                    <a:alpha val="80000"/>
                  </a:schemeClr>
                </a:solidFill>
                <a:prstDash val="solid"/>
                <a:round/>
              </a:ln>
            </p:spPr>
            <p:txBody>
              <a:bodyPr rtlCol="0" anchor="ctr"/>
              <a:lstStyle/>
              <a:p>
                <a:endParaRPr lang="en-GB"/>
              </a:p>
            </p:txBody>
          </p:sp>
          <p:sp>
            <p:nvSpPr>
              <p:cNvPr id="6440" name="Vrije vorm: vorm 6439">
                <a:extLst>
                  <a:ext uri="{FF2B5EF4-FFF2-40B4-BE49-F238E27FC236}">
                    <a16:creationId xmlns:a16="http://schemas.microsoft.com/office/drawing/2014/main" id="{786DEEDA-EE30-4E96-AFE9-3028B9C246F5}"/>
                  </a:ext>
                </a:extLst>
              </p:cNvPr>
              <p:cNvSpPr/>
              <p:nvPr/>
            </p:nvSpPr>
            <p:spPr>
              <a:xfrm>
                <a:off x="6701060" y="1873561"/>
                <a:ext cx="957" cy="9688"/>
              </a:xfrm>
              <a:custGeom>
                <a:avLst/>
                <a:gdLst>
                  <a:gd name="connsiteX0" fmla="*/ 0 w 957"/>
                  <a:gd name="connsiteY0" fmla="*/ 0 h 9688"/>
                  <a:gd name="connsiteX1" fmla="*/ 957 w 957"/>
                  <a:gd name="connsiteY1" fmla="*/ 3230 h 9688"/>
                  <a:gd name="connsiteX2" fmla="*/ 957 w 957"/>
                  <a:gd name="connsiteY2" fmla="*/ 8612 h 9688"/>
                  <a:gd name="connsiteX3" fmla="*/ 897 w 957"/>
                  <a:gd name="connsiteY3" fmla="*/ 8852 h 9688"/>
                  <a:gd name="connsiteX4" fmla="*/ 718 w 957"/>
                  <a:gd name="connsiteY4" fmla="*/ 9689 h 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 h="9688">
                    <a:moveTo>
                      <a:pt x="0" y="0"/>
                    </a:moveTo>
                    <a:lnTo>
                      <a:pt x="957" y="3230"/>
                    </a:lnTo>
                    <a:lnTo>
                      <a:pt x="957" y="8612"/>
                    </a:lnTo>
                    <a:lnTo>
                      <a:pt x="897" y="8852"/>
                    </a:lnTo>
                    <a:lnTo>
                      <a:pt x="718" y="9689"/>
                    </a:lnTo>
                  </a:path>
                </a:pathLst>
              </a:custGeom>
              <a:noFill/>
              <a:ln w="6350" cap="rnd">
                <a:solidFill>
                  <a:schemeClr val="bg1">
                    <a:alpha val="80000"/>
                  </a:schemeClr>
                </a:solidFill>
                <a:prstDash val="solid"/>
                <a:round/>
              </a:ln>
            </p:spPr>
            <p:txBody>
              <a:bodyPr rtlCol="0" anchor="ctr"/>
              <a:lstStyle/>
              <a:p>
                <a:endParaRPr lang="en-GB"/>
              </a:p>
            </p:txBody>
          </p:sp>
          <p:sp>
            <p:nvSpPr>
              <p:cNvPr id="6441" name="Vrije vorm: vorm 6440">
                <a:extLst>
                  <a:ext uri="{FF2B5EF4-FFF2-40B4-BE49-F238E27FC236}">
                    <a16:creationId xmlns:a16="http://schemas.microsoft.com/office/drawing/2014/main" id="{7CAE30D9-096E-4764-B121-5693FD0EAFD0}"/>
                  </a:ext>
                </a:extLst>
              </p:cNvPr>
              <p:cNvSpPr/>
              <p:nvPr/>
            </p:nvSpPr>
            <p:spPr>
              <a:xfrm>
                <a:off x="6963554" y="1866264"/>
                <a:ext cx="26255" cy="43121"/>
              </a:xfrm>
              <a:custGeom>
                <a:avLst/>
                <a:gdLst>
                  <a:gd name="connsiteX0" fmla="*/ 0 w 26255"/>
                  <a:gd name="connsiteY0" fmla="*/ 43121 h 43121"/>
                  <a:gd name="connsiteX1" fmla="*/ 1615 w 26255"/>
                  <a:gd name="connsiteY1" fmla="*/ 40430 h 43121"/>
                  <a:gd name="connsiteX2" fmla="*/ 1675 w 26255"/>
                  <a:gd name="connsiteY2" fmla="*/ 40370 h 43121"/>
                  <a:gd name="connsiteX3" fmla="*/ 2213 w 26255"/>
                  <a:gd name="connsiteY3" fmla="*/ 39413 h 43121"/>
                  <a:gd name="connsiteX4" fmla="*/ 2213 w 26255"/>
                  <a:gd name="connsiteY4" fmla="*/ 39353 h 43121"/>
                  <a:gd name="connsiteX5" fmla="*/ 2213 w 26255"/>
                  <a:gd name="connsiteY5" fmla="*/ 39353 h 43121"/>
                  <a:gd name="connsiteX6" fmla="*/ 2333 w 26255"/>
                  <a:gd name="connsiteY6" fmla="*/ 39174 h 43121"/>
                  <a:gd name="connsiteX7" fmla="*/ 2392 w 26255"/>
                  <a:gd name="connsiteY7" fmla="*/ 39114 h 43121"/>
                  <a:gd name="connsiteX8" fmla="*/ 4545 w 26255"/>
                  <a:gd name="connsiteY8" fmla="*/ 35406 h 43121"/>
                  <a:gd name="connsiteX9" fmla="*/ 6818 w 26255"/>
                  <a:gd name="connsiteY9" fmla="*/ 31877 h 43121"/>
                  <a:gd name="connsiteX10" fmla="*/ 6818 w 26255"/>
                  <a:gd name="connsiteY10" fmla="*/ 31877 h 43121"/>
                  <a:gd name="connsiteX11" fmla="*/ 7296 w 26255"/>
                  <a:gd name="connsiteY11" fmla="*/ 31160 h 43121"/>
                  <a:gd name="connsiteX12" fmla="*/ 7296 w 26255"/>
                  <a:gd name="connsiteY12" fmla="*/ 31100 h 43121"/>
                  <a:gd name="connsiteX13" fmla="*/ 7536 w 26255"/>
                  <a:gd name="connsiteY13" fmla="*/ 30741 h 43121"/>
                  <a:gd name="connsiteX14" fmla="*/ 7656 w 26255"/>
                  <a:gd name="connsiteY14" fmla="*/ 30502 h 43121"/>
                  <a:gd name="connsiteX15" fmla="*/ 7656 w 26255"/>
                  <a:gd name="connsiteY15" fmla="*/ 30502 h 43121"/>
                  <a:gd name="connsiteX16" fmla="*/ 8553 w 26255"/>
                  <a:gd name="connsiteY16" fmla="*/ 29126 h 43121"/>
                  <a:gd name="connsiteX17" fmla="*/ 9749 w 26255"/>
                  <a:gd name="connsiteY17" fmla="*/ 27272 h 43121"/>
                  <a:gd name="connsiteX18" fmla="*/ 9868 w 26255"/>
                  <a:gd name="connsiteY18" fmla="*/ 27093 h 43121"/>
                  <a:gd name="connsiteX19" fmla="*/ 11364 w 26255"/>
                  <a:gd name="connsiteY19" fmla="*/ 24700 h 43121"/>
                  <a:gd name="connsiteX20" fmla="*/ 11364 w 26255"/>
                  <a:gd name="connsiteY20" fmla="*/ 24700 h 43121"/>
                  <a:gd name="connsiteX21" fmla="*/ 11902 w 26255"/>
                  <a:gd name="connsiteY21" fmla="*/ 23803 h 43121"/>
                  <a:gd name="connsiteX22" fmla="*/ 12679 w 26255"/>
                  <a:gd name="connsiteY22" fmla="*/ 22607 h 43121"/>
                  <a:gd name="connsiteX23" fmla="*/ 13097 w 26255"/>
                  <a:gd name="connsiteY23" fmla="*/ 21949 h 43121"/>
                  <a:gd name="connsiteX24" fmla="*/ 13397 w 26255"/>
                  <a:gd name="connsiteY24" fmla="*/ 21471 h 43121"/>
                  <a:gd name="connsiteX25" fmla="*/ 13397 w 26255"/>
                  <a:gd name="connsiteY25" fmla="*/ 21471 h 43121"/>
                  <a:gd name="connsiteX26" fmla="*/ 13935 w 26255"/>
                  <a:gd name="connsiteY26" fmla="*/ 20634 h 43121"/>
                  <a:gd name="connsiteX27" fmla="*/ 14533 w 26255"/>
                  <a:gd name="connsiteY27" fmla="*/ 19677 h 43121"/>
                  <a:gd name="connsiteX28" fmla="*/ 14712 w 26255"/>
                  <a:gd name="connsiteY28" fmla="*/ 19437 h 43121"/>
                  <a:gd name="connsiteX29" fmla="*/ 14772 w 26255"/>
                  <a:gd name="connsiteY29" fmla="*/ 19318 h 43121"/>
                  <a:gd name="connsiteX30" fmla="*/ 14772 w 26255"/>
                  <a:gd name="connsiteY30" fmla="*/ 19318 h 43121"/>
                  <a:gd name="connsiteX31" fmla="*/ 14952 w 26255"/>
                  <a:gd name="connsiteY31" fmla="*/ 19019 h 43121"/>
                  <a:gd name="connsiteX32" fmla="*/ 16029 w 26255"/>
                  <a:gd name="connsiteY32" fmla="*/ 17284 h 43121"/>
                  <a:gd name="connsiteX33" fmla="*/ 16627 w 26255"/>
                  <a:gd name="connsiteY33" fmla="*/ 16327 h 43121"/>
                  <a:gd name="connsiteX34" fmla="*/ 17165 w 26255"/>
                  <a:gd name="connsiteY34" fmla="*/ 15490 h 43121"/>
                  <a:gd name="connsiteX35" fmla="*/ 17763 w 26255"/>
                  <a:gd name="connsiteY35" fmla="*/ 14533 h 43121"/>
                  <a:gd name="connsiteX36" fmla="*/ 17822 w 26255"/>
                  <a:gd name="connsiteY36" fmla="*/ 14473 h 43121"/>
                  <a:gd name="connsiteX37" fmla="*/ 18182 w 26255"/>
                  <a:gd name="connsiteY37" fmla="*/ 13816 h 43121"/>
                  <a:gd name="connsiteX38" fmla="*/ 20155 w 26255"/>
                  <a:gd name="connsiteY38" fmla="*/ 10466 h 43121"/>
                  <a:gd name="connsiteX39" fmla="*/ 20215 w 26255"/>
                  <a:gd name="connsiteY39" fmla="*/ 10406 h 43121"/>
                  <a:gd name="connsiteX40" fmla="*/ 20394 w 26255"/>
                  <a:gd name="connsiteY40" fmla="*/ 10107 h 43121"/>
                  <a:gd name="connsiteX41" fmla="*/ 21890 w 26255"/>
                  <a:gd name="connsiteY41" fmla="*/ 7536 h 43121"/>
                  <a:gd name="connsiteX42" fmla="*/ 26255 w 26255"/>
                  <a:gd name="connsiteY42" fmla="*/ 0 h 4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255" h="43121">
                    <a:moveTo>
                      <a:pt x="0" y="43121"/>
                    </a:moveTo>
                    <a:lnTo>
                      <a:pt x="1615" y="40430"/>
                    </a:lnTo>
                    <a:lnTo>
                      <a:pt x="1675" y="40370"/>
                    </a:lnTo>
                    <a:lnTo>
                      <a:pt x="2213" y="39413"/>
                    </a:lnTo>
                    <a:lnTo>
                      <a:pt x="2213" y="39353"/>
                    </a:lnTo>
                    <a:lnTo>
                      <a:pt x="2213" y="39353"/>
                    </a:lnTo>
                    <a:lnTo>
                      <a:pt x="2333" y="39174"/>
                    </a:lnTo>
                    <a:lnTo>
                      <a:pt x="2392" y="39114"/>
                    </a:lnTo>
                    <a:lnTo>
                      <a:pt x="4545" y="35406"/>
                    </a:lnTo>
                    <a:lnTo>
                      <a:pt x="6818" y="31877"/>
                    </a:lnTo>
                    <a:lnTo>
                      <a:pt x="6818" y="31877"/>
                    </a:lnTo>
                    <a:lnTo>
                      <a:pt x="7296" y="31160"/>
                    </a:lnTo>
                    <a:lnTo>
                      <a:pt x="7296" y="31100"/>
                    </a:lnTo>
                    <a:lnTo>
                      <a:pt x="7536" y="30741"/>
                    </a:lnTo>
                    <a:lnTo>
                      <a:pt x="7656" y="30502"/>
                    </a:lnTo>
                    <a:lnTo>
                      <a:pt x="7656" y="30502"/>
                    </a:lnTo>
                    <a:lnTo>
                      <a:pt x="8553" y="29126"/>
                    </a:lnTo>
                    <a:lnTo>
                      <a:pt x="9749" y="27272"/>
                    </a:lnTo>
                    <a:lnTo>
                      <a:pt x="9868" y="27093"/>
                    </a:lnTo>
                    <a:lnTo>
                      <a:pt x="11364" y="24700"/>
                    </a:lnTo>
                    <a:lnTo>
                      <a:pt x="11364" y="24700"/>
                    </a:lnTo>
                    <a:lnTo>
                      <a:pt x="11902" y="23803"/>
                    </a:lnTo>
                    <a:lnTo>
                      <a:pt x="12679" y="22607"/>
                    </a:lnTo>
                    <a:lnTo>
                      <a:pt x="13097" y="21949"/>
                    </a:lnTo>
                    <a:lnTo>
                      <a:pt x="13397" y="21471"/>
                    </a:lnTo>
                    <a:lnTo>
                      <a:pt x="13397" y="21471"/>
                    </a:lnTo>
                    <a:lnTo>
                      <a:pt x="13935" y="20634"/>
                    </a:lnTo>
                    <a:lnTo>
                      <a:pt x="14533" y="19677"/>
                    </a:lnTo>
                    <a:lnTo>
                      <a:pt x="14712" y="19437"/>
                    </a:lnTo>
                    <a:lnTo>
                      <a:pt x="14772" y="19318"/>
                    </a:lnTo>
                    <a:lnTo>
                      <a:pt x="14772" y="19318"/>
                    </a:lnTo>
                    <a:lnTo>
                      <a:pt x="14952" y="19019"/>
                    </a:lnTo>
                    <a:lnTo>
                      <a:pt x="16029" y="17284"/>
                    </a:lnTo>
                    <a:lnTo>
                      <a:pt x="16627" y="16327"/>
                    </a:lnTo>
                    <a:lnTo>
                      <a:pt x="17165" y="15490"/>
                    </a:lnTo>
                    <a:lnTo>
                      <a:pt x="17763" y="14533"/>
                    </a:lnTo>
                    <a:lnTo>
                      <a:pt x="17822" y="14473"/>
                    </a:lnTo>
                    <a:lnTo>
                      <a:pt x="18182" y="13816"/>
                    </a:lnTo>
                    <a:lnTo>
                      <a:pt x="20155" y="10466"/>
                    </a:lnTo>
                    <a:lnTo>
                      <a:pt x="20215" y="10406"/>
                    </a:lnTo>
                    <a:lnTo>
                      <a:pt x="20394" y="10107"/>
                    </a:lnTo>
                    <a:lnTo>
                      <a:pt x="21890" y="7536"/>
                    </a:lnTo>
                    <a:lnTo>
                      <a:pt x="26255" y="0"/>
                    </a:lnTo>
                  </a:path>
                </a:pathLst>
              </a:custGeom>
              <a:noFill/>
              <a:ln w="6350" cap="rnd">
                <a:solidFill>
                  <a:schemeClr val="bg1">
                    <a:alpha val="80000"/>
                  </a:schemeClr>
                </a:solidFill>
                <a:prstDash val="solid"/>
                <a:round/>
              </a:ln>
            </p:spPr>
            <p:txBody>
              <a:bodyPr rtlCol="0" anchor="ctr"/>
              <a:lstStyle/>
              <a:p>
                <a:endParaRPr lang="en-GB"/>
              </a:p>
            </p:txBody>
          </p:sp>
          <p:sp>
            <p:nvSpPr>
              <p:cNvPr id="6442" name="Vrije vorm: vorm 6441">
                <a:extLst>
                  <a:ext uri="{FF2B5EF4-FFF2-40B4-BE49-F238E27FC236}">
                    <a16:creationId xmlns:a16="http://schemas.microsoft.com/office/drawing/2014/main" id="{293CFB15-B0BF-46B6-AAE6-0DDF92F98984}"/>
                  </a:ext>
                </a:extLst>
              </p:cNvPr>
              <p:cNvSpPr/>
              <p:nvPr/>
            </p:nvSpPr>
            <p:spPr>
              <a:xfrm>
                <a:off x="6804227" y="1943236"/>
                <a:ext cx="16446" cy="10944"/>
              </a:xfrm>
              <a:custGeom>
                <a:avLst/>
                <a:gdLst>
                  <a:gd name="connsiteX0" fmla="*/ 16447 w 16446"/>
                  <a:gd name="connsiteY0" fmla="*/ 0 h 10944"/>
                  <a:gd name="connsiteX1" fmla="*/ 15251 w 16446"/>
                  <a:gd name="connsiteY1" fmla="*/ 1017 h 10944"/>
                  <a:gd name="connsiteX2" fmla="*/ 10885 w 16446"/>
                  <a:gd name="connsiteY2" fmla="*/ 2273 h 10944"/>
                  <a:gd name="connsiteX3" fmla="*/ 10706 w 16446"/>
                  <a:gd name="connsiteY3" fmla="*/ 2392 h 10944"/>
                  <a:gd name="connsiteX4" fmla="*/ 9569 w 16446"/>
                  <a:gd name="connsiteY4" fmla="*/ 3110 h 10944"/>
                  <a:gd name="connsiteX5" fmla="*/ 9450 w 16446"/>
                  <a:gd name="connsiteY5" fmla="*/ 3170 h 10944"/>
                  <a:gd name="connsiteX6" fmla="*/ 7715 w 16446"/>
                  <a:gd name="connsiteY6" fmla="*/ 4246 h 10944"/>
                  <a:gd name="connsiteX7" fmla="*/ 6878 w 16446"/>
                  <a:gd name="connsiteY7" fmla="*/ 4785 h 10944"/>
                  <a:gd name="connsiteX8" fmla="*/ 5622 w 16446"/>
                  <a:gd name="connsiteY8" fmla="*/ 5562 h 10944"/>
                  <a:gd name="connsiteX9" fmla="*/ 4725 w 16446"/>
                  <a:gd name="connsiteY9" fmla="*/ 6399 h 10944"/>
                  <a:gd name="connsiteX10" fmla="*/ 3947 w 16446"/>
                  <a:gd name="connsiteY10" fmla="*/ 7177 h 10944"/>
                  <a:gd name="connsiteX11" fmla="*/ 0 w 16446"/>
                  <a:gd name="connsiteY11" fmla="*/ 10945 h 1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46" h="10944">
                    <a:moveTo>
                      <a:pt x="16447" y="0"/>
                    </a:moveTo>
                    <a:lnTo>
                      <a:pt x="15251" y="1017"/>
                    </a:lnTo>
                    <a:lnTo>
                      <a:pt x="10885" y="2273"/>
                    </a:lnTo>
                    <a:lnTo>
                      <a:pt x="10706" y="2392"/>
                    </a:lnTo>
                    <a:lnTo>
                      <a:pt x="9569" y="3110"/>
                    </a:lnTo>
                    <a:lnTo>
                      <a:pt x="9450" y="3170"/>
                    </a:lnTo>
                    <a:lnTo>
                      <a:pt x="7715" y="4246"/>
                    </a:lnTo>
                    <a:lnTo>
                      <a:pt x="6878" y="4785"/>
                    </a:lnTo>
                    <a:lnTo>
                      <a:pt x="5622" y="5562"/>
                    </a:lnTo>
                    <a:lnTo>
                      <a:pt x="4725" y="6399"/>
                    </a:lnTo>
                    <a:lnTo>
                      <a:pt x="3947" y="7177"/>
                    </a:lnTo>
                    <a:lnTo>
                      <a:pt x="0" y="10945"/>
                    </a:lnTo>
                  </a:path>
                </a:pathLst>
              </a:custGeom>
              <a:noFill/>
              <a:ln w="6350" cap="rnd">
                <a:solidFill>
                  <a:schemeClr val="bg1">
                    <a:alpha val="80000"/>
                  </a:schemeClr>
                </a:solidFill>
                <a:prstDash val="solid"/>
                <a:round/>
              </a:ln>
            </p:spPr>
            <p:txBody>
              <a:bodyPr rtlCol="0" anchor="ctr"/>
              <a:lstStyle/>
              <a:p>
                <a:endParaRPr lang="en-GB"/>
              </a:p>
            </p:txBody>
          </p:sp>
          <p:sp>
            <p:nvSpPr>
              <p:cNvPr id="6443" name="Vrije vorm: vorm 6442">
                <a:extLst>
                  <a:ext uri="{FF2B5EF4-FFF2-40B4-BE49-F238E27FC236}">
                    <a16:creationId xmlns:a16="http://schemas.microsoft.com/office/drawing/2014/main" id="{00D30918-CF9A-4BE4-A0D4-F6BFA8F202BD}"/>
                  </a:ext>
                </a:extLst>
              </p:cNvPr>
              <p:cNvSpPr/>
              <p:nvPr/>
            </p:nvSpPr>
            <p:spPr>
              <a:xfrm>
                <a:off x="6899859" y="1920928"/>
                <a:ext cx="5860" cy="2810"/>
              </a:xfrm>
              <a:custGeom>
                <a:avLst/>
                <a:gdLst>
                  <a:gd name="connsiteX0" fmla="*/ 5861 w 5860"/>
                  <a:gd name="connsiteY0" fmla="*/ 2392 h 2810"/>
                  <a:gd name="connsiteX1" fmla="*/ 5622 w 5860"/>
                  <a:gd name="connsiteY1" fmla="*/ 2811 h 2810"/>
                  <a:gd name="connsiteX2" fmla="*/ 5383 w 5860"/>
                  <a:gd name="connsiteY2" fmla="*/ 2691 h 2810"/>
                  <a:gd name="connsiteX3" fmla="*/ 3528 w 5860"/>
                  <a:gd name="connsiteY3" fmla="*/ 1914 h 2810"/>
                  <a:gd name="connsiteX4" fmla="*/ 3050 w 5860"/>
                  <a:gd name="connsiteY4" fmla="*/ 1734 h 2810"/>
                  <a:gd name="connsiteX5" fmla="*/ 2333 w 5860"/>
                  <a:gd name="connsiteY5" fmla="*/ 1435 h 2810"/>
                  <a:gd name="connsiteX6" fmla="*/ 1735 w 5860"/>
                  <a:gd name="connsiteY6" fmla="*/ 1077 h 2810"/>
                  <a:gd name="connsiteX7" fmla="*/ 658 w 5860"/>
                  <a:gd name="connsiteY7" fmla="*/ 419 h 2810"/>
                  <a:gd name="connsiteX8" fmla="*/ 120 w 5860"/>
                  <a:gd name="connsiteY8" fmla="*/ 60 h 2810"/>
                  <a:gd name="connsiteX9" fmla="*/ 0 w 5860"/>
                  <a:gd name="connsiteY9" fmla="*/ 0 h 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0" h="2810">
                    <a:moveTo>
                      <a:pt x="5861" y="2392"/>
                    </a:moveTo>
                    <a:lnTo>
                      <a:pt x="5622" y="2811"/>
                    </a:lnTo>
                    <a:lnTo>
                      <a:pt x="5383" y="2691"/>
                    </a:lnTo>
                    <a:lnTo>
                      <a:pt x="3528" y="1914"/>
                    </a:lnTo>
                    <a:lnTo>
                      <a:pt x="3050" y="1734"/>
                    </a:lnTo>
                    <a:lnTo>
                      <a:pt x="2333" y="1435"/>
                    </a:lnTo>
                    <a:lnTo>
                      <a:pt x="1735" y="1077"/>
                    </a:lnTo>
                    <a:lnTo>
                      <a:pt x="658" y="419"/>
                    </a:lnTo>
                    <a:lnTo>
                      <a:pt x="120" y="6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44" name="Vrije vorm: vorm 6443">
                <a:extLst>
                  <a:ext uri="{FF2B5EF4-FFF2-40B4-BE49-F238E27FC236}">
                    <a16:creationId xmlns:a16="http://schemas.microsoft.com/office/drawing/2014/main" id="{E2A33386-D3A7-4C8E-A305-1C44B377264E}"/>
                  </a:ext>
                </a:extLst>
              </p:cNvPr>
              <p:cNvSpPr/>
              <p:nvPr/>
            </p:nvSpPr>
            <p:spPr>
              <a:xfrm>
                <a:off x="6897586" y="1922782"/>
                <a:ext cx="4127" cy="1913"/>
              </a:xfrm>
              <a:custGeom>
                <a:avLst/>
                <a:gdLst>
                  <a:gd name="connsiteX0" fmla="*/ 4127 w 4127"/>
                  <a:gd name="connsiteY0" fmla="*/ 1914 h 1913"/>
                  <a:gd name="connsiteX1" fmla="*/ 2811 w 4127"/>
                  <a:gd name="connsiteY1" fmla="*/ 1316 h 1913"/>
                  <a:gd name="connsiteX2" fmla="*/ 2752 w 4127"/>
                  <a:gd name="connsiteY2" fmla="*/ 1316 h 1913"/>
                  <a:gd name="connsiteX3" fmla="*/ 2033 w 4127"/>
                  <a:gd name="connsiteY3" fmla="*/ 1017 h 1913"/>
                  <a:gd name="connsiteX4" fmla="*/ 897 w 4127"/>
                  <a:gd name="connsiteY4" fmla="*/ 538 h 1913"/>
                  <a:gd name="connsiteX5" fmla="*/ 0 w 4127"/>
                  <a:gd name="connsiteY5" fmla="*/ 0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7" h="1913">
                    <a:moveTo>
                      <a:pt x="4127" y="1914"/>
                    </a:moveTo>
                    <a:lnTo>
                      <a:pt x="2811" y="1316"/>
                    </a:lnTo>
                    <a:lnTo>
                      <a:pt x="2752" y="1316"/>
                    </a:lnTo>
                    <a:lnTo>
                      <a:pt x="2033" y="1017"/>
                    </a:lnTo>
                    <a:lnTo>
                      <a:pt x="897" y="53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45" name="Vrije vorm: vorm 6444">
                <a:extLst>
                  <a:ext uri="{FF2B5EF4-FFF2-40B4-BE49-F238E27FC236}">
                    <a16:creationId xmlns:a16="http://schemas.microsoft.com/office/drawing/2014/main" id="{82AD5688-8F03-4A54-9A6D-4C1DB125880E}"/>
                  </a:ext>
                </a:extLst>
              </p:cNvPr>
              <p:cNvSpPr/>
              <p:nvPr/>
            </p:nvSpPr>
            <p:spPr>
              <a:xfrm>
                <a:off x="6742147" y="1906993"/>
                <a:ext cx="29365" cy="34329"/>
              </a:xfrm>
              <a:custGeom>
                <a:avLst/>
                <a:gdLst>
                  <a:gd name="connsiteX0" fmla="*/ 29366 w 29365"/>
                  <a:gd name="connsiteY0" fmla="*/ 34329 h 34329"/>
                  <a:gd name="connsiteX1" fmla="*/ 26794 w 29365"/>
                  <a:gd name="connsiteY1" fmla="*/ 34030 h 34329"/>
                  <a:gd name="connsiteX2" fmla="*/ 25478 w 29365"/>
                  <a:gd name="connsiteY2" fmla="*/ 33911 h 34329"/>
                  <a:gd name="connsiteX3" fmla="*/ 24521 w 29365"/>
                  <a:gd name="connsiteY3" fmla="*/ 33791 h 34329"/>
                  <a:gd name="connsiteX4" fmla="*/ 22248 w 29365"/>
                  <a:gd name="connsiteY4" fmla="*/ 33552 h 34329"/>
                  <a:gd name="connsiteX5" fmla="*/ 21172 w 29365"/>
                  <a:gd name="connsiteY5" fmla="*/ 33432 h 34329"/>
                  <a:gd name="connsiteX6" fmla="*/ 20514 w 29365"/>
                  <a:gd name="connsiteY6" fmla="*/ 33372 h 34329"/>
                  <a:gd name="connsiteX7" fmla="*/ 20095 w 29365"/>
                  <a:gd name="connsiteY7" fmla="*/ 33313 h 34329"/>
                  <a:gd name="connsiteX8" fmla="*/ 19856 w 29365"/>
                  <a:gd name="connsiteY8" fmla="*/ 33253 h 34329"/>
                  <a:gd name="connsiteX9" fmla="*/ 19856 w 29365"/>
                  <a:gd name="connsiteY9" fmla="*/ 33253 h 34329"/>
                  <a:gd name="connsiteX10" fmla="*/ 17882 w 29365"/>
                  <a:gd name="connsiteY10" fmla="*/ 32834 h 34329"/>
                  <a:gd name="connsiteX11" fmla="*/ 17823 w 29365"/>
                  <a:gd name="connsiteY11" fmla="*/ 32834 h 34329"/>
                  <a:gd name="connsiteX12" fmla="*/ 16387 w 29365"/>
                  <a:gd name="connsiteY12" fmla="*/ 32535 h 34329"/>
                  <a:gd name="connsiteX13" fmla="*/ 15371 w 29365"/>
                  <a:gd name="connsiteY13" fmla="*/ 32296 h 34329"/>
                  <a:gd name="connsiteX14" fmla="*/ 15191 w 29365"/>
                  <a:gd name="connsiteY14" fmla="*/ 32236 h 34329"/>
                  <a:gd name="connsiteX15" fmla="*/ 14354 w 29365"/>
                  <a:gd name="connsiteY15" fmla="*/ 32057 h 34329"/>
                  <a:gd name="connsiteX16" fmla="*/ 13995 w 29365"/>
                  <a:gd name="connsiteY16" fmla="*/ 31817 h 34329"/>
                  <a:gd name="connsiteX17" fmla="*/ 13696 w 29365"/>
                  <a:gd name="connsiteY17" fmla="*/ 31638 h 34329"/>
                  <a:gd name="connsiteX18" fmla="*/ 13576 w 29365"/>
                  <a:gd name="connsiteY18" fmla="*/ 31578 h 34329"/>
                  <a:gd name="connsiteX19" fmla="*/ 13576 w 29365"/>
                  <a:gd name="connsiteY19" fmla="*/ 31578 h 34329"/>
                  <a:gd name="connsiteX20" fmla="*/ 13397 w 29365"/>
                  <a:gd name="connsiteY20" fmla="*/ 31459 h 34329"/>
                  <a:gd name="connsiteX21" fmla="*/ 11842 w 29365"/>
                  <a:gd name="connsiteY21" fmla="*/ 30442 h 34329"/>
                  <a:gd name="connsiteX22" fmla="*/ 11662 w 29365"/>
                  <a:gd name="connsiteY22" fmla="*/ 30322 h 34329"/>
                  <a:gd name="connsiteX23" fmla="*/ 10706 w 29365"/>
                  <a:gd name="connsiteY23" fmla="*/ 29664 h 34329"/>
                  <a:gd name="connsiteX24" fmla="*/ 10048 w 29365"/>
                  <a:gd name="connsiteY24" fmla="*/ 29246 h 34329"/>
                  <a:gd name="connsiteX25" fmla="*/ 9330 w 29365"/>
                  <a:gd name="connsiteY25" fmla="*/ 28767 h 34329"/>
                  <a:gd name="connsiteX26" fmla="*/ 9031 w 29365"/>
                  <a:gd name="connsiteY26" fmla="*/ 28588 h 34329"/>
                  <a:gd name="connsiteX27" fmla="*/ 8672 w 29365"/>
                  <a:gd name="connsiteY27" fmla="*/ 28349 h 34329"/>
                  <a:gd name="connsiteX28" fmla="*/ 7596 w 29365"/>
                  <a:gd name="connsiteY28" fmla="*/ 27631 h 34329"/>
                  <a:gd name="connsiteX29" fmla="*/ 7476 w 29365"/>
                  <a:gd name="connsiteY29" fmla="*/ 27511 h 34329"/>
                  <a:gd name="connsiteX30" fmla="*/ 6399 w 29365"/>
                  <a:gd name="connsiteY30" fmla="*/ 26794 h 34329"/>
                  <a:gd name="connsiteX31" fmla="*/ 5084 w 29365"/>
                  <a:gd name="connsiteY31" fmla="*/ 25896 h 34329"/>
                  <a:gd name="connsiteX32" fmla="*/ 4904 w 29365"/>
                  <a:gd name="connsiteY32" fmla="*/ 25657 h 34329"/>
                  <a:gd name="connsiteX33" fmla="*/ 4605 w 29365"/>
                  <a:gd name="connsiteY33" fmla="*/ 25298 h 34329"/>
                  <a:gd name="connsiteX34" fmla="*/ 4306 w 29365"/>
                  <a:gd name="connsiteY34" fmla="*/ 24880 h 34329"/>
                  <a:gd name="connsiteX35" fmla="*/ 4127 w 29365"/>
                  <a:gd name="connsiteY35" fmla="*/ 24641 h 34329"/>
                  <a:gd name="connsiteX36" fmla="*/ 2871 w 29365"/>
                  <a:gd name="connsiteY36" fmla="*/ 22966 h 34329"/>
                  <a:gd name="connsiteX37" fmla="*/ 2871 w 29365"/>
                  <a:gd name="connsiteY37" fmla="*/ 22966 h 34329"/>
                  <a:gd name="connsiteX38" fmla="*/ 2691 w 29365"/>
                  <a:gd name="connsiteY38" fmla="*/ 22727 h 34329"/>
                  <a:gd name="connsiteX39" fmla="*/ 1974 w 29365"/>
                  <a:gd name="connsiteY39" fmla="*/ 21770 h 34329"/>
                  <a:gd name="connsiteX40" fmla="*/ 1675 w 29365"/>
                  <a:gd name="connsiteY40" fmla="*/ 21351 h 34329"/>
                  <a:gd name="connsiteX41" fmla="*/ 1615 w 29365"/>
                  <a:gd name="connsiteY41" fmla="*/ 21172 h 34329"/>
                  <a:gd name="connsiteX42" fmla="*/ 419 w 29365"/>
                  <a:gd name="connsiteY42" fmla="*/ 16985 h 34329"/>
                  <a:gd name="connsiteX43" fmla="*/ 120 w 29365"/>
                  <a:gd name="connsiteY43" fmla="*/ 13217 h 34329"/>
                  <a:gd name="connsiteX44" fmla="*/ 60 w 29365"/>
                  <a:gd name="connsiteY44" fmla="*/ 12260 h 34329"/>
                  <a:gd name="connsiteX45" fmla="*/ 0 w 29365"/>
                  <a:gd name="connsiteY45" fmla="*/ 11423 h 34329"/>
                  <a:gd name="connsiteX46" fmla="*/ 1615 w 29365"/>
                  <a:gd name="connsiteY46" fmla="*/ 6459 h 34329"/>
                  <a:gd name="connsiteX47" fmla="*/ 5084 w 29365"/>
                  <a:gd name="connsiteY47" fmla="*/ 2751 h 34329"/>
                  <a:gd name="connsiteX48" fmla="*/ 8552 w 29365"/>
                  <a:gd name="connsiteY48" fmla="*/ 1316 h 34329"/>
                  <a:gd name="connsiteX49" fmla="*/ 9988 w 29365"/>
                  <a:gd name="connsiteY49" fmla="*/ 718 h 34329"/>
                  <a:gd name="connsiteX50" fmla="*/ 13158 w 29365"/>
                  <a:gd name="connsiteY50" fmla="*/ 179 h 34329"/>
                  <a:gd name="connsiteX51" fmla="*/ 14294 w 29365"/>
                  <a:gd name="connsiteY51" fmla="*/ 0 h 34329"/>
                  <a:gd name="connsiteX52" fmla="*/ 14892 w 29365"/>
                  <a:gd name="connsiteY52" fmla="*/ 120 h 34329"/>
                  <a:gd name="connsiteX53" fmla="*/ 17763 w 29365"/>
                  <a:gd name="connsiteY53" fmla="*/ 718 h 34329"/>
                  <a:gd name="connsiteX54" fmla="*/ 19916 w 29365"/>
                  <a:gd name="connsiteY54" fmla="*/ 1136 h 34329"/>
                  <a:gd name="connsiteX55" fmla="*/ 20813 w 29365"/>
                  <a:gd name="connsiteY55" fmla="*/ 1675 h 34329"/>
                  <a:gd name="connsiteX56" fmla="*/ 20873 w 29365"/>
                  <a:gd name="connsiteY56" fmla="*/ 1734 h 34329"/>
                  <a:gd name="connsiteX57" fmla="*/ 21172 w 29365"/>
                  <a:gd name="connsiteY57" fmla="*/ 1914 h 34329"/>
                  <a:gd name="connsiteX58" fmla="*/ 21950 w 29365"/>
                  <a:gd name="connsiteY58" fmla="*/ 2392 h 34329"/>
                  <a:gd name="connsiteX59" fmla="*/ 24581 w 29365"/>
                  <a:gd name="connsiteY59" fmla="*/ 4007 h 34329"/>
                  <a:gd name="connsiteX60" fmla="*/ 24820 w 29365"/>
                  <a:gd name="connsiteY60" fmla="*/ 4186 h 34329"/>
                  <a:gd name="connsiteX61" fmla="*/ 26076 w 29365"/>
                  <a:gd name="connsiteY61" fmla="*/ 4964 h 34329"/>
                  <a:gd name="connsiteX62" fmla="*/ 26315 w 29365"/>
                  <a:gd name="connsiteY62" fmla="*/ 5084 h 34329"/>
                  <a:gd name="connsiteX63" fmla="*/ 27571 w 29365"/>
                  <a:gd name="connsiteY63" fmla="*/ 5861 h 34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9365" h="34329">
                    <a:moveTo>
                      <a:pt x="29366" y="34329"/>
                    </a:moveTo>
                    <a:lnTo>
                      <a:pt x="26794" y="34030"/>
                    </a:lnTo>
                    <a:lnTo>
                      <a:pt x="25478" y="33911"/>
                    </a:lnTo>
                    <a:lnTo>
                      <a:pt x="24521" y="33791"/>
                    </a:lnTo>
                    <a:lnTo>
                      <a:pt x="22248" y="33552"/>
                    </a:lnTo>
                    <a:lnTo>
                      <a:pt x="21172" y="33432"/>
                    </a:lnTo>
                    <a:lnTo>
                      <a:pt x="20514" y="33372"/>
                    </a:lnTo>
                    <a:lnTo>
                      <a:pt x="20095" y="33313"/>
                    </a:lnTo>
                    <a:lnTo>
                      <a:pt x="19856" y="33253"/>
                    </a:lnTo>
                    <a:lnTo>
                      <a:pt x="19856" y="33253"/>
                    </a:lnTo>
                    <a:lnTo>
                      <a:pt x="17882" y="32834"/>
                    </a:lnTo>
                    <a:lnTo>
                      <a:pt x="17823" y="32834"/>
                    </a:lnTo>
                    <a:lnTo>
                      <a:pt x="16387" y="32535"/>
                    </a:lnTo>
                    <a:lnTo>
                      <a:pt x="15371" y="32296"/>
                    </a:lnTo>
                    <a:lnTo>
                      <a:pt x="15191" y="32236"/>
                    </a:lnTo>
                    <a:lnTo>
                      <a:pt x="14354" y="32057"/>
                    </a:lnTo>
                    <a:lnTo>
                      <a:pt x="13995" y="31817"/>
                    </a:lnTo>
                    <a:lnTo>
                      <a:pt x="13696" y="31638"/>
                    </a:lnTo>
                    <a:lnTo>
                      <a:pt x="13576" y="31578"/>
                    </a:lnTo>
                    <a:lnTo>
                      <a:pt x="13576" y="31578"/>
                    </a:lnTo>
                    <a:lnTo>
                      <a:pt x="13397" y="31459"/>
                    </a:lnTo>
                    <a:lnTo>
                      <a:pt x="11842" y="30442"/>
                    </a:lnTo>
                    <a:lnTo>
                      <a:pt x="11662" y="30322"/>
                    </a:lnTo>
                    <a:lnTo>
                      <a:pt x="10706" y="29664"/>
                    </a:lnTo>
                    <a:lnTo>
                      <a:pt x="10048" y="29246"/>
                    </a:lnTo>
                    <a:lnTo>
                      <a:pt x="9330" y="28767"/>
                    </a:lnTo>
                    <a:lnTo>
                      <a:pt x="9031" y="28588"/>
                    </a:lnTo>
                    <a:lnTo>
                      <a:pt x="8672" y="28349"/>
                    </a:lnTo>
                    <a:lnTo>
                      <a:pt x="7596" y="27631"/>
                    </a:lnTo>
                    <a:lnTo>
                      <a:pt x="7476" y="27511"/>
                    </a:lnTo>
                    <a:lnTo>
                      <a:pt x="6399" y="26794"/>
                    </a:lnTo>
                    <a:lnTo>
                      <a:pt x="5084" y="25896"/>
                    </a:lnTo>
                    <a:lnTo>
                      <a:pt x="4904" y="25657"/>
                    </a:lnTo>
                    <a:lnTo>
                      <a:pt x="4605" y="25298"/>
                    </a:lnTo>
                    <a:lnTo>
                      <a:pt x="4306" y="24880"/>
                    </a:lnTo>
                    <a:lnTo>
                      <a:pt x="4127" y="24641"/>
                    </a:lnTo>
                    <a:lnTo>
                      <a:pt x="2871" y="22966"/>
                    </a:lnTo>
                    <a:lnTo>
                      <a:pt x="2871" y="22966"/>
                    </a:lnTo>
                    <a:lnTo>
                      <a:pt x="2691" y="22727"/>
                    </a:lnTo>
                    <a:lnTo>
                      <a:pt x="1974" y="21770"/>
                    </a:lnTo>
                    <a:lnTo>
                      <a:pt x="1675" y="21351"/>
                    </a:lnTo>
                    <a:lnTo>
                      <a:pt x="1615" y="21172"/>
                    </a:lnTo>
                    <a:lnTo>
                      <a:pt x="419" y="16985"/>
                    </a:lnTo>
                    <a:lnTo>
                      <a:pt x="120" y="13217"/>
                    </a:lnTo>
                    <a:lnTo>
                      <a:pt x="60" y="12260"/>
                    </a:lnTo>
                    <a:lnTo>
                      <a:pt x="0" y="11423"/>
                    </a:lnTo>
                    <a:lnTo>
                      <a:pt x="1615" y="6459"/>
                    </a:lnTo>
                    <a:lnTo>
                      <a:pt x="5084" y="2751"/>
                    </a:lnTo>
                    <a:lnTo>
                      <a:pt x="8552" y="1316"/>
                    </a:lnTo>
                    <a:lnTo>
                      <a:pt x="9988" y="718"/>
                    </a:lnTo>
                    <a:lnTo>
                      <a:pt x="13158" y="179"/>
                    </a:lnTo>
                    <a:lnTo>
                      <a:pt x="14294" y="0"/>
                    </a:lnTo>
                    <a:lnTo>
                      <a:pt x="14892" y="120"/>
                    </a:lnTo>
                    <a:lnTo>
                      <a:pt x="17763" y="718"/>
                    </a:lnTo>
                    <a:lnTo>
                      <a:pt x="19916" y="1136"/>
                    </a:lnTo>
                    <a:lnTo>
                      <a:pt x="20813" y="1675"/>
                    </a:lnTo>
                    <a:lnTo>
                      <a:pt x="20873" y="1734"/>
                    </a:lnTo>
                    <a:lnTo>
                      <a:pt x="21172" y="1914"/>
                    </a:lnTo>
                    <a:lnTo>
                      <a:pt x="21950" y="2392"/>
                    </a:lnTo>
                    <a:lnTo>
                      <a:pt x="24581" y="4007"/>
                    </a:lnTo>
                    <a:lnTo>
                      <a:pt x="24820" y="4186"/>
                    </a:lnTo>
                    <a:lnTo>
                      <a:pt x="26076" y="4964"/>
                    </a:lnTo>
                    <a:lnTo>
                      <a:pt x="26315" y="5084"/>
                    </a:lnTo>
                    <a:lnTo>
                      <a:pt x="27571" y="5861"/>
                    </a:lnTo>
                  </a:path>
                </a:pathLst>
              </a:custGeom>
              <a:noFill/>
              <a:ln w="6350" cap="rnd">
                <a:solidFill>
                  <a:schemeClr val="bg1">
                    <a:alpha val="80000"/>
                  </a:schemeClr>
                </a:solidFill>
                <a:prstDash val="solid"/>
                <a:round/>
              </a:ln>
            </p:spPr>
            <p:txBody>
              <a:bodyPr rtlCol="0" anchor="ctr"/>
              <a:lstStyle/>
              <a:p>
                <a:endParaRPr lang="en-GB"/>
              </a:p>
            </p:txBody>
          </p:sp>
          <p:sp>
            <p:nvSpPr>
              <p:cNvPr id="6446" name="Vrije vorm: vorm 6445">
                <a:extLst>
                  <a:ext uri="{FF2B5EF4-FFF2-40B4-BE49-F238E27FC236}">
                    <a16:creationId xmlns:a16="http://schemas.microsoft.com/office/drawing/2014/main" id="{70E82518-8AD5-43D6-B78D-E4932800745B}"/>
                  </a:ext>
                </a:extLst>
              </p:cNvPr>
              <p:cNvSpPr/>
              <p:nvPr/>
            </p:nvSpPr>
            <p:spPr>
              <a:xfrm>
                <a:off x="6897168" y="1737739"/>
                <a:ext cx="16626" cy="15430"/>
              </a:xfrm>
              <a:custGeom>
                <a:avLst/>
                <a:gdLst>
                  <a:gd name="connsiteX0" fmla="*/ 16627 w 16626"/>
                  <a:gd name="connsiteY0" fmla="*/ 0 h 15430"/>
                  <a:gd name="connsiteX1" fmla="*/ 13097 w 16626"/>
                  <a:gd name="connsiteY1" fmla="*/ 3050 h 15430"/>
                  <a:gd name="connsiteX2" fmla="*/ 0 w 16626"/>
                  <a:gd name="connsiteY2" fmla="*/ 15430 h 15430"/>
                </a:gdLst>
                <a:ahLst/>
                <a:cxnLst>
                  <a:cxn ang="0">
                    <a:pos x="connsiteX0" y="connsiteY0"/>
                  </a:cxn>
                  <a:cxn ang="0">
                    <a:pos x="connsiteX1" y="connsiteY1"/>
                  </a:cxn>
                  <a:cxn ang="0">
                    <a:pos x="connsiteX2" y="connsiteY2"/>
                  </a:cxn>
                </a:cxnLst>
                <a:rect l="l" t="t" r="r" b="b"/>
                <a:pathLst>
                  <a:path w="16626" h="15430">
                    <a:moveTo>
                      <a:pt x="16627" y="0"/>
                    </a:moveTo>
                    <a:lnTo>
                      <a:pt x="13097" y="3050"/>
                    </a:lnTo>
                    <a:lnTo>
                      <a:pt x="0" y="15430"/>
                    </a:lnTo>
                  </a:path>
                </a:pathLst>
              </a:custGeom>
              <a:noFill/>
              <a:ln w="6350" cap="rnd">
                <a:solidFill>
                  <a:schemeClr val="bg1">
                    <a:alpha val="80000"/>
                  </a:schemeClr>
                </a:solidFill>
                <a:prstDash val="solid"/>
                <a:round/>
              </a:ln>
            </p:spPr>
            <p:txBody>
              <a:bodyPr rtlCol="0" anchor="ctr"/>
              <a:lstStyle/>
              <a:p>
                <a:endParaRPr lang="en-GB"/>
              </a:p>
            </p:txBody>
          </p:sp>
          <p:sp>
            <p:nvSpPr>
              <p:cNvPr id="6447" name="Vrije vorm: vorm 6446">
                <a:extLst>
                  <a:ext uri="{FF2B5EF4-FFF2-40B4-BE49-F238E27FC236}">
                    <a16:creationId xmlns:a16="http://schemas.microsoft.com/office/drawing/2014/main" id="{994D055B-05A9-4267-B68E-10A214740305}"/>
                  </a:ext>
                </a:extLst>
              </p:cNvPr>
              <p:cNvSpPr/>
              <p:nvPr/>
            </p:nvSpPr>
            <p:spPr>
              <a:xfrm>
                <a:off x="6874142" y="1704486"/>
                <a:ext cx="4604" cy="3528"/>
              </a:xfrm>
              <a:custGeom>
                <a:avLst/>
                <a:gdLst>
                  <a:gd name="connsiteX0" fmla="*/ 4605 w 4604"/>
                  <a:gd name="connsiteY0" fmla="*/ 2452 h 3528"/>
                  <a:gd name="connsiteX1" fmla="*/ 4605 w 4604"/>
                  <a:gd name="connsiteY1" fmla="*/ 2572 h 3528"/>
                  <a:gd name="connsiteX2" fmla="*/ 4066 w 4604"/>
                  <a:gd name="connsiteY2" fmla="*/ 3529 h 3528"/>
                  <a:gd name="connsiteX3" fmla="*/ 2871 w 4604"/>
                  <a:gd name="connsiteY3" fmla="*/ 2871 h 3528"/>
                  <a:gd name="connsiteX4" fmla="*/ 2213 w 4604"/>
                  <a:gd name="connsiteY4" fmla="*/ 2452 h 3528"/>
                  <a:gd name="connsiteX5" fmla="*/ 1196 w 4604"/>
                  <a:gd name="connsiteY5" fmla="*/ 1854 h 3528"/>
                  <a:gd name="connsiteX6" fmla="*/ 0 w 4604"/>
                  <a:gd name="connsiteY6" fmla="*/ 1076 h 3528"/>
                  <a:gd name="connsiteX7" fmla="*/ 0 w 4604"/>
                  <a:gd name="connsiteY7" fmla="*/ 957 h 3528"/>
                  <a:gd name="connsiteX8" fmla="*/ 538 w 4604"/>
                  <a:gd name="connsiteY8" fmla="*/ 0 h 3528"/>
                  <a:gd name="connsiteX9" fmla="*/ 1734 w 4604"/>
                  <a:gd name="connsiteY9" fmla="*/ 658 h 3528"/>
                  <a:gd name="connsiteX10" fmla="*/ 1794 w 4604"/>
                  <a:gd name="connsiteY10" fmla="*/ 718 h 3528"/>
                  <a:gd name="connsiteX11" fmla="*/ 2871 w 4604"/>
                  <a:gd name="connsiteY11" fmla="*/ 1316 h 3528"/>
                  <a:gd name="connsiteX12" fmla="*/ 3469 w 4604"/>
                  <a:gd name="connsiteY12" fmla="*/ 1675 h 3528"/>
                  <a:gd name="connsiteX13" fmla="*/ 3469 w 4604"/>
                  <a:gd name="connsiteY13" fmla="*/ 1675 h 3528"/>
                  <a:gd name="connsiteX14" fmla="*/ 4605 w 4604"/>
                  <a:gd name="connsiteY14" fmla="*/ 2452 h 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4" h="3528">
                    <a:moveTo>
                      <a:pt x="4605" y="2452"/>
                    </a:moveTo>
                    <a:lnTo>
                      <a:pt x="4605" y="2572"/>
                    </a:lnTo>
                    <a:lnTo>
                      <a:pt x="4066" y="3529"/>
                    </a:lnTo>
                    <a:lnTo>
                      <a:pt x="2871" y="2871"/>
                    </a:lnTo>
                    <a:lnTo>
                      <a:pt x="2213" y="2452"/>
                    </a:lnTo>
                    <a:lnTo>
                      <a:pt x="1196" y="1854"/>
                    </a:lnTo>
                    <a:lnTo>
                      <a:pt x="0" y="1076"/>
                    </a:lnTo>
                    <a:lnTo>
                      <a:pt x="0" y="957"/>
                    </a:lnTo>
                    <a:lnTo>
                      <a:pt x="538" y="0"/>
                    </a:lnTo>
                    <a:lnTo>
                      <a:pt x="1734" y="658"/>
                    </a:lnTo>
                    <a:lnTo>
                      <a:pt x="1794" y="718"/>
                    </a:lnTo>
                    <a:lnTo>
                      <a:pt x="2871" y="1316"/>
                    </a:lnTo>
                    <a:lnTo>
                      <a:pt x="3469" y="1675"/>
                    </a:lnTo>
                    <a:lnTo>
                      <a:pt x="3469" y="1675"/>
                    </a:lnTo>
                    <a:lnTo>
                      <a:pt x="4605" y="2452"/>
                    </a:lnTo>
                  </a:path>
                </a:pathLst>
              </a:custGeom>
              <a:noFill/>
              <a:ln w="6350" cap="rnd">
                <a:solidFill>
                  <a:schemeClr val="bg1">
                    <a:alpha val="80000"/>
                  </a:schemeClr>
                </a:solidFill>
                <a:prstDash val="solid"/>
                <a:round/>
              </a:ln>
            </p:spPr>
            <p:txBody>
              <a:bodyPr rtlCol="0" anchor="ctr"/>
              <a:lstStyle/>
              <a:p>
                <a:endParaRPr lang="en-GB"/>
              </a:p>
            </p:txBody>
          </p:sp>
          <p:sp>
            <p:nvSpPr>
              <p:cNvPr id="6448" name="Vrije vorm: vorm 6447">
                <a:extLst>
                  <a:ext uri="{FF2B5EF4-FFF2-40B4-BE49-F238E27FC236}">
                    <a16:creationId xmlns:a16="http://schemas.microsoft.com/office/drawing/2014/main" id="{3EB227EC-EACF-4E9A-9779-930920826A78}"/>
                  </a:ext>
                </a:extLst>
              </p:cNvPr>
              <p:cNvSpPr/>
              <p:nvPr/>
            </p:nvSpPr>
            <p:spPr>
              <a:xfrm>
                <a:off x="6768104" y="1857353"/>
                <a:ext cx="16207" cy="21291"/>
              </a:xfrm>
              <a:custGeom>
                <a:avLst/>
                <a:gdLst>
                  <a:gd name="connsiteX0" fmla="*/ 13995 w 16207"/>
                  <a:gd name="connsiteY0" fmla="*/ 21291 h 21291"/>
                  <a:gd name="connsiteX1" fmla="*/ 15191 w 16207"/>
                  <a:gd name="connsiteY1" fmla="*/ 15610 h 21291"/>
                  <a:gd name="connsiteX2" fmla="*/ 15191 w 16207"/>
                  <a:gd name="connsiteY2" fmla="*/ 15550 h 21291"/>
                  <a:gd name="connsiteX3" fmla="*/ 15191 w 16207"/>
                  <a:gd name="connsiteY3" fmla="*/ 15490 h 21291"/>
                  <a:gd name="connsiteX4" fmla="*/ 15729 w 16207"/>
                  <a:gd name="connsiteY4" fmla="*/ 13098 h 21291"/>
                  <a:gd name="connsiteX5" fmla="*/ 16088 w 16207"/>
                  <a:gd name="connsiteY5" fmla="*/ 11363 h 21291"/>
                  <a:gd name="connsiteX6" fmla="*/ 16208 w 16207"/>
                  <a:gd name="connsiteY6" fmla="*/ 10945 h 21291"/>
                  <a:gd name="connsiteX7" fmla="*/ 15789 w 16207"/>
                  <a:gd name="connsiteY7" fmla="*/ 9928 h 21291"/>
                  <a:gd name="connsiteX8" fmla="*/ 13756 w 16207"/>
                  <a:gd name="connsiteY8" fmla="*/ 8672 h 21291"/>
                  <a:gd name="connsiteX9" fmla="*/ 13696 w 16207"/>
                  <a:gd name="connsiteY9" fmla="*/ 8612 h 21291"/>
                  <a:gd name="connsiteX10" fmla="*/ 13516 w 16207"/>
                  <a:gd name="connsiteY10" fmla="*/ 8493 h 21291"/>
                  <a:gd name="connsiteX11" fmla="*/ 13158 w 16207"/>
                  <a:gd name="connsiteY11" fmla="*/ 8253 h 21291"/>
                  <a:gd name="connsiteX12" fmla="*/ 12320 w 16207"/>
                  <a:gd name="connsiteY12" fmla="*/ 7715 h 21291"/>
                  <a:gd name="connsiteX13" fmla="*/ 10227 w 16207"/>
                  <a:gd name="connsiteY13" fmla="*/ 6399 h 21291"/>
                  <a:gd name="connsiteX14" fmla="*/ 3170 w 16207"/>
                  <a:gd name="connsiteY14" fmla="*/ 1974 h 21291"/>
                  <a:gd name="connsiteX15" fmla="*/ 2930 w 16207"/>
                  <a:gd name="connsiteY15" fmla="*/ 1854 h 21291"/>
                  <a:gd name="connsiteX16" fmla="*/ 2930 w 16207"/>
                  <a:gd name="connsiteY16" fmla="*/ 1854 h 21291"/>
                  <a:gd name="connsiteX17" fmla="*/ 2871 w 16207"/>
                  <a:gd name="connsiteY17" fmla="*/ 1794 h 21291"/>
                  <a:gd name="connsiteX18" fmla="*/ 2811 w 16207"/>
                  <a:gd name="connsiteY18" fmla="*/ 1734 h 21291"/>
                  <a:gd name="connsiteX19" fmla="*/ 2691 w 16207"/>
                  <a:gd name="connsiteY19" fmla="*/ 1675 h 21291"/>
                  <a:gd name="connsiteX20" fmla="*/ 778 w 16207"/>
                  <a:gd name="connsiteY20" fmla="*/ 478 h 21291"/>
                  <a:gd name="connsiteX21" fmla="*/ 479 w 16207"/>
                  <a:gd name="connsiteY21" fmla="*/ 299 h 21291"/>
                  <a:gd name="connsiteX22" fmla="*/ 0 w 16207"/>
                  <a:gd name="connsiteY22" fmla="*/ 0 h 2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207" h="21291">
                    <a:moveTo>
                      <a:pt x="13995" y="21291"/>
                    </a:moveTo>
                    <a:lnTo>
                      <a:pt x="15191" y="15610"/>
                    </a:lnTo>
                    <a:lnTo>
                      <a:pt x="15191" y="15550"/>
                    </a:lnTo>
                    <a:lnTo>
                      <a:pt x="15191" y="15490"/>
                    </a:lnTo>
                    <a:lnTo>
                      <a:pt x="15729" y="13098"/>
                    </a:lnTo>
                    <a:lnTo>
                      <a:pt x="16088" y="11363"/>
                    </a:lnTo>
                    <a:lnTo>
                      <a:pt x="16208" y="10945"/>
                    </a:lnTo>
                    <a:lnTo>
                      <a:pt x="15789" y="9928"/>
                    </a:lnTo>
                    <a:lnTo>
                      <a:pt x="13756" y="8672"/>
                    </a:lnTo>
                    <a:lnTo>
                      <a:pt x="13696" y="8612"/>
                    </a:lnTo>
                    <a:lnTo>
                      <a:pt x="13516" y="8493"/>
                    </a:lnTo>
                    <a:lnTo>
                      <a:pt x="13158" y="8253"/>
                    </a:lnTo>
                    <a:lnTo>
                      <a:pt x="12320" y="7715"/>
                    </a:lnTo>
                    <a:lnTo>
                      <a:pt x="10227" y="6399"/>
                    </a:lnTo>
                    <a:lnTo>
                      <a:pt x="3170" y="1974"/>
                    </a:lnTo>
                    <a:lnTo>
                      <a:pt x="2930" y="1854"/>
                    </a:lnTo>
                    <a:lnTo>
                      <a:pt x="2930" y="1854"/>
                    </a:lnTo>
                    <a:lnTo>
                      <a:pt x="2871" y="1794"/>
                    </a:lnTo>
                    <a:lnTo>
                      <a:pt x="2811" y="1734"/>
                    </a:lnTo>
                    <a:lnTo>
                      <a:pt x="2691" y="1675"/>
                    </a:lnTo>
                    <a:lnTo>
                      <a:pt x="778" y="478"/>
                    </a:lnTo>
                    <a:lnTo>
                      <a:pt x="479" y="29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49" name="Vrije vorm: vorm 6448">
                <a:extLst>
                  <a:ext uri="{FF2B5EF4-FFF2-40B4-BE49-F238E27FC236}">
                    <a16:creationId xmlns:a16="http://schemas.microsoft.com/office/drawing/2014/main" id="{2A0144AA-56E7-4A21-95AA-39A065CCD9B9}"/>
                  </a:ext>
                </a:extLst>
              </p:cNvPr>
              <p:cNvSpPr/>
              <p:nvPr/>
            </p:nvSpPr>
            <p:spPr>
              <a:xfrm>
                <a:off x="6863496" y="1722009"/>
                <a:ext cx="165187" cy="143118"/>
              </a:xfrm>
              <a:custGeom>
                <a:avLst/>
                <a:gdLst>
                  <a:gd name="connsiteX0" fmla="*/ 165188 w 165187"/>
                  <a:gd name="connsiteY0" fmla="*/ 53647 h 143118"/>
                  <a:gd name="connsiteX1" fmla="*/ 164888 w 165187"/>
                  <a:gd name="connsiteY1" fmla="*/ 53468 h 143118"/>
                  <a:gd name="connsiteX2" fmla="*/ 135164 w 165187"/>
                  <a:gd name="connsiteY2" fmla="*/ 37200 h 143118"/>
                  <a:gd name="connsiteX3" fmla="*/ 134566 w 165187"/>
                  <a:gd name="connsiteY3" fmla="*/ 36841 h 143118"/>
                  <a:gd name="connsiteX4" fmla="*/ 134387 w 165187"/>
                  <a:gd name="connsiteY4" fmla="*/ 36722 h 143118"/>
                  <a:gd name="connsiteX5" fmla="*/ 127928 w 165187"/>
                  <a:gd name="connsiteY5" fmla="*/ 33014 h 143118"/>
                  <a:gd name="connsiteX6" fmla="*/ 127808 w 165187"/>
                  <a:gd name="connsiteY6" fmla="*/ 32954 h 143118"/>
                  <a:gd name="connsiteX7" fmla="*/ 127688 w 165187"/>
                  <a:gd name="connsiteY7" fmla="*/ 32894 h 143118"/>
                  <a:gd name="connsiteX8" fmla="*/ 126611 w 165187"/>
                  <a:gd name="connsiteY8" fmla="*/ 32296 h 143118"/>
                  <a:gd name="connsiteX9" fmla="*/ 126433 w 165187"/>
                  <a:gd name="connsiteY9" fmla="*/ 32176 h 143118"/>
                  <a:gd name="connsiteX10" fmla="*/ 126073 w 165187"/>
                  <a:gd name="connsiteY10" fmla="*/ 31997 h 143118"/>
                  <a:gd name="connsiteX11" fmla="*/ 119853 w 165187"/>
                  <a:gd name="connsiteY11" fmla="*/ 28468 h 143118"/>
                  <a:gd name="connsiteX12" fmla="*/ 119794 w 165187"/>
                  <a:gd name="connsiteY12" fmla="*/ 28408 h 143118"/>
                  <a:gd name="connsiteX13" fmla="*/ 119734 w 165187"/>
                  <a:gd name="connsiteY13" fmla="*/ 28349 h 143118"/>
                  <a:gd name="connsiteX14" fmla="*/ 119435 w 165187"/>
                  <a:gd name="connsiteY14" fmla="*/ 28169 h 143118"/>
                  <a:gd name="connsiteX15" fmla="*/ 118179 w 165187"/>
                  <a:gd name="connsiteY15" fmla="*/ 27451 h 143118"/>
                  <a:gd name="connsiteX16" fmla="*/ 116923 w 165187"/>
                  <a:gd name="connsiteY16" fmla="*/ 26794 h 143118"/>
                  <a:gd name="connsiteX17" fmla="*/ 114889 w 165187"/>
                  <a:gd name="connsiteY17" fmla="*/ 25657 h 143118"/>
                  <a:gd name="connsiteX18" fmla="*/ 107593 w 165187"/>
                  <a:gd name="connsiteY18" fmla="*/ 21650 h 143118"/>
                  <a:gd name="connsiteX19" fmla="*/ 105978 w 165187"/>
                  <a:gd name="connsiteY19" fmla="*/ 20753 h 143118"/>
                  <a:gd name="connsiteX20" fmla="*/ 104543 w 165187"/>
                  <a:gd name="connsiteY20" fmla="*/ 19976 h 143118"/>
                  <a:gd name="connsiteX21" fmla="*/ 103885 w 165187"/>
                  <a:gd name="connsiteY21" fmla="*/ 19617 h 143118"/>
                  <a:gd name="connsiteX22" fmla="*/ 102210 w 165187"/>
                  <a:gd name="connsiteY22" fmla="*/ 18660 h 143118"/>
                  <a:gd name="connsiteX23" fmla="*/ 101672 w 165187"/>
                  <a:gd name="connsiteY23" fmla="*/ 18361 h 143118"/>
                  <a:gd name="connsiteX24" fmla="*/ 100895 w 165187"/>
                  <a:gd name="connsiteY24" fmla="*/ 17942 h 143118"/>
                  <a:gd name="connsiteX25" fmla="*/ 100715 w 165187"/>
                  <a:gd name="connsiteY25" fmla="*/ 17882 h 143118"/>
                  <a:gd name="connsiteX26" fmla="*/ 99040 w 165187"/>
                  <a:gd name="connsiteY26" fmla="*/ 16925 h 143118"/>
                  <a:gd name="connsiteX27" fmla="*/ 98203 w 165187"/>
                  <a:gd name="connsiteY27" fmla="*/ 16447 h 143118"/>
                  <a:gd name="connsiteX28" fmla="*/ 97904 w 165187"/>
                  <a:gd name="connsiteY28" fmla="*/ 16268 h 143118"/>
                  <a:gd name="connsiteX29" fmla="*/ 97127 w 165187"/>
                  <a:gd name="connsiteY29" fmla="*/ 15849 h 143118"/>
                  <a:gd name="connsiteX30" fmla="*/ 96649 w 165187"/>
                  <a:gd name="connsiteY30" fmla="*/ 15550 h 143118"/>
                  <a:gd name="connsiteX31" fmla="*/ 96349 w 165187"/>
                  <a:gd name="connsiteY31" fmla="*/ 15370 h 143118"/>
                  <a:gd name="connsiteX32" fmla="*/ 95990 w 165187"/>
                  <a:gd name="connsiteY32" fmla="*/ 15191 h 143118"/>
                  <a:gd name="connsiteX33" fmla="*/ 95572 w 165187"/>
                  <a:gd name="connsiteY33" fmla="*/ 14952 h 143118"/>
                  <a:gd name="connsiteX34" fmla="*/ 81517 w 165187"/>
                  <a:gd name="connsiteY34" fmla="*/ 6938 h 143118"/>
                  <a:gd name="connsiteX35" fmla="*/ 76673 w 165187"/>
                  <a:gd name="connsiteY35" fmla="*/ 4186 h 143118"/>
                  <a:gd name="connsiteX36" fmla="*/ 69077 w 165187"/>
                  <a:gd name="connsiteY36" fmla="*/ 299 h 143118"/>
                  <a:gd name="connsiteX37" fmla="*/ 67881 w 165187"/>
                  <a:gd name="connsiteY37" fmla="*/ 0 h 143118"/>
                  <a:gd name="connsiteX38" fmla="*/ 67881 w 165187"/>
                  <a:gd name="connsiteY38" fmla="*/ 0 h 143118"/>
                  <a:gd name="connsiteX39" fmla="*/ 67403 w 165187"/>
                  <a:gd name="connsiteY39" fmla="*/ 299 h 143118"/>
                  <a:gd name="connsiteX40" fmla="*/ 66924 w 165187"/>
                  <a:gd name="connsiteY40" fmla="*/ 598 h 143118"/>
                  <a:gd name="connsiteX41" fmla="*/ 66864 w 165187"/>
                  <a:gd name="connsiteY41" fmla="*/ 658 h 143118"/>
                  <a:gd name="connsiteX42" fmla="*/ 58492 w 165187"/>
                  <a:gd name="connsiteY42" fmla="*/ 8074 h 143118"/>
                  <a:gd name="connsiteX43" fmla="*/ 55800 w 165187"/>
                  <a:gd name="connsiteY43" fmla="*/ 10406 h 143118"/>
                  <a:gd name="connsiteX44" fmla="*/ 49042 w 165187"/>
                  <a:gd name="connsiteY44" fmla="*/ 16387 h 143118"/>
                  <a:gd name="connsiteX45" fmla="*/ 35525 w 165187"/>
                  <a:gd name="connsiteY45" fmla="*/ 29246 h 143118"/>
                  <a:gd name="connsiteX46" fmla="*/ 33731 w 165187"/>
                  <a:gd name="connsiteY46" fmla="*/ 31160 h 143118"/>
                  <a:gd name="connsiteX47" fmla="*/ 19138 w 165187"/>
                  <a:gd name="connsiteY47" fmla="*/ 46769 h 143118"/>
                  <a:gd name="connsiteX48" fmla="*/ 4306 w 165187"/>
                  <a:gd name="connsiteY48" fmla="*/ 64054 h 143118"/>
                  <a:gd name="connsiteX49" fmla="*/ 1615 w 165187"/>
                  <a:gd name="connsiteY49" fmla="*/ 67463 h 143118"/>
                  <a:gd name="connsiteX50" fmla="*/ 598 w 165187"/>
                  <a:gd name="connsiteY50" fmla="*/ 68778 h 143118"/>
                  <a:gd name="connsiteX51" fmla="*/ 358 w 165187"/>
                  <a:gd name="connsiteY51" fmla="*/ 69257 h 143118"/>
                  <a:gd name="connsiteX52" fmla="*/ 0 w 165187"/>
                  <a:gd name="connsiteY52" fmla="*/ 70034 h 143118"/>
                  <a:gd name="connsiteX53" fmla="*/ 299 w 165187"/>
                  <a:gd name="connsiteY53" fmla="*/ 70752 h 143118"/>
                  <a:gd name="connsiteX54" fmla="*/ 538 w 165187"/>
                  <a:gd name="connsiteY54" fmla="*/ 71230 h 143118"/>
                  <a:gd name="connsiteX55" fmla="*/ 7057 w 165187"/>
                  <a:gd name="connsiteY55" fmla="*/ 75058 h 143118"/>
                  <a:gd name="connsiteX56" fmla="*/ 7416 w 165187"/>
                  <a:gd name="connsiteY56" fmla="*/ 75297 h 143118"/>
                  <a:gd name="connsiteX57" fmla="*/ 13277 w 165187"/>
                  <a:gd name="connsiteY57" fmla="*/ 78766 h 143118"/>
                  <a:gd name="connsiteX58" fmla="*/ 23325 w 165187"/>
                  <a:gd name="connsiteY58" fmla="*/ 84747 h 143118"/>
                  <a:gd name="connsiteX59" fmla="*/ 27751 w 165187"/>
                  <a:gd name="connsiteY59" fmla="*/ 87378 h 143118"/>
                  <a:gd name="connsiteX60" fmla="*/ 30382 w 165187"/>
                  <a:gd name="connsiteY60" fmla="*/ 88933 h 143118"/>
                  <a:gd name="connsiteX61" fmla="*/ 30980 w 165187"/>
                  <a:gd name="connsiteY61" fmla="*/ 89292 h 143118"/>
                  <a:gd name="connsiteX62" fmla="*/ 32535 w 165187"/>
                  <a:gd name="connsiteY62" fmla="*/ 90249 h 143118"/>
                  <a:gd name="connsiteX63" fmla="*/ 34090 w 165187"/>
                  <a:gd name="connsiteY63" fmla="*/ 91146 h 143118"/>
                  <a:gd name="connsiteX64" fmla="*/ 34389 w 165187"/>
                  <a:gd name="connsiteY64" fmla="*/ 91326 h 143118"/>
                  <a:gd name="connsiteX65" fmla="*/ 35405 w 165187"/>
                  <a:gd name="connsiteY65" fmla="*/ 91924 h 143118"/>
                  <a:gd name="connsiteX66" fmla="*/ 38875 w 165187"/>
                  <a:gd name="connsiteY66" fmla="*/ 93957 h 143118"/>
                  <a:gd name="connsiteX67" fmla="*/ 39652 w 165187"/>
                  <a:gd name="connsiteY67" fmla="*/ 94376 h 143118"/>
                  <a:gd name="connsiteX68" fmla="*/ 40968 w 165187"/>
                  <a:gd name="connsiteY68" fmla="*/ 95153 h 143118"/>
                  <a:gd name="connsiteX69" fmla="*/ 40968 w 165187"/>
                  <a:gd name="connsiteY69" fmla="*/ 95153 h 143118"/>
                  <a:gd name="connsiteX70" fmla="*/ 42045 w 165187"/>
                  <a:gd name="connsiteY70" fmla="*/ 95811 h 143118"/>
                  <a:gd name="connsiteX71" fmla="*/ 43121 w 165187"/>
                  <a:gd name="connsiteY71" fmla="*/ 96469 h 143118"/>
                  <a:gd name="connsiteX72" fmla="*/ 51972 w 165187"/>
                  <a:gd name="connsiteY72" fmla="*/ 101852 h 143118"/>
                  <a:gd name="connsiteX73" fmla="*/ 53288 w 165187"/>
                  <a:gd name="connsiteY73" fmla="*/ 102629 h 143118"/>
                  <a:gd name="connsiteX74" fmla="*/ 53467 w 165187"/>
                  <a:gd name="connsiteY74" fmla="*/ 102749 h 143118"/>
                  <a:gd name="connsiteX75" fmla="*/ 56159 w 165187"/>
                  <a:gd name="connsiteY75" fmla="*/ 104364 h 143118"/>
                  <a:gd name="connsiteX76" fmla="*/ 57654 w 165187"/>
                  <a:gd name="connsiteY76" fmla="*/ 105261 h 143118"/>
                  <a:gd name="connsiteX77" fmla="*/ 62798 w 165187"/>
                  <a:gd name="connsiteY77" fmla="*/ 108251 h 143118"/>
                  <a:gd name="connsiteX78" fmla="*/ 64113 w 165187"/>
                  <a:gd name="connsiteY78" fmla="*/ 109029 h 143118"/>
                  <a:gd name="connsiteX79" fmla="*/ 64113 w 165187"/>
                  <a:gd name="connsiteY79" fmla="*/ 109029 h 143118"/>
                  <a:gd name="connsiteX80" fmla="*/ 64233 w 165187"/>
                  <a:gd name="connsiteY80" fmla="*/ 109088 h 143118"/>
                  <a:gd name="connsiteX81" fmla="*/ 64591 w 165187"/>
                  <a:gd name="connsiteY81" fmla="*/ 109268 h 143118"/>
                  <a:gd name="connsiteX82" fmla="*/ 67701 w 165187"/>
                  <a:gd name="connsiteY82" fmla="*/ 111062 h 143118"/>
                  <a:gd name="connsiteX83" fmla="*/ 68958 w 165187"/>
                  <a:gd name="connsiteY83" fmla="*/ 111780 h 143118"/>
                  <a:gd name="connsiteX84" fmla="*/ 69914 w 165187"/>
                  <a:gd name="connsiteY84" fmla="*/ 112318 h 143118"/>
                  <a:gd name="connsiteX85" fmla="*/ 72785 w 165187"/>
                  <a:gd name="connsiteY85" fmla="*/ 113993 h 143118"/>
                  <a:gd name="connsiteX86" fmla="*/ 74759 w 165187"/>
                  <a:gd name="connsiteY86" fmla="*/ 115129 h 143118"/>
                  <a:gd name="connsiteX87" fmla="*/ 76434 w 165187"/>
                  <a:gd name="connsiteY87" fmla="*/ 116086 h 143118"/>
                  <a:gd name="connsiteX88" fmla="*/ 79723 w 165187"/>
                  <a:gd name="connsiteY88" fmla="*/ 118059 h 143118"/>
                  <a:gd name="connsiteX89" fmla="*/ 79902 w 165187"/>
                  <a:gd name="connsiteY89" fmla="*/ 118179 h 143118"/>
                  <a:gd name="connsiteX90" fmla="*/ 81457 w 165187"/>
                  <a:gd name="connsiteY90" fmla="*/ 119136 h 143118"/>
                  <a:gd name="connsiteX91" fmla="*/ 83012 w 165187"/>
                  <a:gd name="connsiteY91" fmla="*/ 120093 h 143118"/>
                  <a:gd name="connsiteX92" fmla="*/ 84029 w 165187"/>
                  <a:gd name="connsiteY92" fmla="*/ 120691 h 143118"/>
                  <a:gd name="connsiteX93" fmla="*/ 86182 w 165187"/>
                  <a:gd name="connsiteY93" fmla="*/ 121947 h 143118"/>
                  <a:gd name="connsiteX94" fmla="*/ 86182 w 165187"/>
                  <a:gd name="connsiteY94" fmla="*/ 121947 h 143118"/>
                  <a:gd name="connsiteX95" fmla="*/ 86242 w 165187"/>
                  <a:gd name="connsiteY95" fmla="*/ 122007 h 143118"/>
                  <a:gd name="connsiteX96" fmla="*/ 89292 w 165187"/>
                  <a:gd name="connsiteY96" fmla="*/ 123801 h 143118"/>
                  <a:gd name="connsiteX97" fmla="*/ 91146 w 165187"/>
                  <a:gd name="connsiteY97" fmla="*/ 124877 h 143118"/>
                  <a:gd name="connsiteX98" fmla="*/ 94555 w 165187"/>
                  <a:gd name="connsiteY98" fmla="*/ 126911 h 143118"/>
                  <a:gd name="connsiteX99" fmla="*/ 95034 w 165187"/>
                  <a:gd name="connsiteY99" fmla="*/ 127210 h 143118"/>
                  <a:gd name="connsiteX100" fmla="*/ 96289 w 165187"/>
                  <a:gd name="connsiteY100" fmla="*/ 127928 h 143118"/>
                  <a:gd name="connsiteX101" fmla="*/ 97545 w 165187"/>
                  <a:gd name="connsiteY101" fmla="*/ 128645 h 143118"/>
                  <a:gd name="connsiteX102" fmla="*/ 100237 w 165187"/>
                  <a:gd name="connsiteY102" fmla="*/ 130200 h 143118"/>
                  <a:gd name="connsiteX103" fmla="*/ 113753 w 165187"/>
                  <a:gd name="connsiteY103" fmla="*/ 138155 h 143118"/>
                  <a:gd name="connsiteX104" fmla="*/ 122007 w 165187"/>
                  <a:gd name="connsiteY104" fmla="*/ 143119 h 143118"/>
                  <a:gd name="connsiteX105" fmla="*/ 122007 w 165187"/>
                  <a:gd name="connsiteY105" fmla="*/ 143119 h 14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65187" h="143118">
                    <a:moveTo>
                      <a:pt x="165188" y="53647"/>
                    </a:moveTo>
                    <a:lnTo>
                      <a:pt x="164888" y="53468"/>
                    </a:lnTo>
                    <a:lnTo>
                      <a:pt x="135164" y="37200"/>
                    </a:lnTo>
                    <a:lnTo>
                      <a:pt x="134566" y="36841"/>
                    </a:lnTo>
                    <a:lnTo>
                      <a:pt x="134387" y="36722"/>
                    </a:lnTo>
                    <a:lnTo>
                      <a:pt x="127928" y="33014"/>
                    </a:lnTo>
                    <a:lnTo>
                      <a:pt x="127808" y="32954"/>
                    </a:lnTo>
                    <a:lnTo>
                      <a:pt x="127688" y="32894"/>
                    </a:lnTo>
                    <a:lnTo>
                      <a:pt x="126611" y="32296"/>
                    </a:lnTo>
                    <a:lnTo>
                      <a:pt x="126433" y="32176"/>
                    </a:lnTo>
                    <a:lnTo>
                      <a:pt x="126073" y="31997"/>
                    </a:lnTo>
                    <a:lnTo>
                      <a:pt x="119853" y="28468"/>
                    </a:lnTo>
                    <a:lnTo>
                      <a:pt x="119794" y="28408"/>
                    </a:lnTo>
                    <a:lnTo>
                      <a:pt x="119734" y="28349"/>
                    </a:lnTo>
                    <a:lnTo>
                      <a:pt x="119435" y="28169"/>
                    </a:lnTo>
                    <a:lnTo>
                      <a:pt x="118179" y="27451"/>
                    </a:lnTo>
                    <a:lnTo>
                      <a:pt x="116923" y="26794"/>
                    </a:lnTo>
                    <a:lnTo>
                      <a:pt x="114889" y="25657"/>
                    </a:lnTo>
                    <a:lnTo>
                      <a:pt x="107593" y="21650"/>
                    </a:lnTo>
                    <a:lnTo>
                      <a:pt x="105978" y="20753"/>
                    </a:lnTo>
                    <a:lnTo>
                      <a:pt x="104543" y="19976"/>
                    </a:lnTo>
                    <a:lnTo>
                      <a:pt x="103885" y="19617"/>
                    </a:lnTo>
                    <a:lnTo>
                      <a:pt x="102210" y="18660"/>
                    </a:lnTo>
                    <a:lnTo>
                      <a:pt x="101672" y="18361"/>
                    </a:lnTo>
                    <a:lnTo>
                      <a:pt x="100895" y="17942"/>
                    </a:lnTo>
                    <a:lnTo>
                      <a:pt x="100715" y="17882"/>
                    </a:lnTo>
                    <a:lnTo>
                      <a:pt x="99040" y="16925"/>
                    </a:lnTo>
                    <a:lnTo>
                      <a:pt x="98203" y="16447"/>
                    </a:lnTo>
                    <a:lnTo>
                      <a:pt x="97904" y="16268"/>
                    </a:lnTo>
                    <a:lnTo>
                      <a:pt x="97127" y="15849"/>
                    </a:lnTo>
                    <a:lnTo>
                      <a:pt x="96649" y="15550"/>
                    </a:lnTo>
                    <a:lnTo>
                      <a:pt x="96349" y="15370"/>
                    </a:lnTo>
                    <a:lnTo>
                      <a:pt x="95990" y="15191"/>
                    </a:lnTo>
                    <a:lnTo>
                      <a:pt x="95572" y="14952"/>
                    </a:lnTo>
                    <a:lnTo>
                      <a:pt x="81517" y="6938"/>
                    </a:lnTo>
                    <a:lnTo>
                      <a:pt x="76673" y="4186"/>
                    </a:lnTo>
                    <a:lnTo>
                      <a:pt x="69077" y="299"/>
                    </a:lnTo>
                    <a:lnTo>
                      <a:pt x="67881" y="0"/>
                    </a:lnTo>
                    <a:lnTo>
                      <a:pt x="67881" y="0"/>
                    </a:lnTo>
                    <a:lnTo>
                      <a:pt x="67403" y="299"/>
                    </a:lnTo>
                    <a:lnTo>
                      <a:pt x="66924" y="598"/>
                    </a:lnTo>
                    <a:lnTo>
                      <a:pt x="66864" y="658"/>
                    </a:lnTo>
                    <a:lnTo>
                      <a:pt x="58492" y="8074"/>
                    </a:lnTo>
                    <a:lnTo>
                      <a:pt x="55800" y="10406"/>
                    </a:lnTo>
                    <a:lnTo>
                      <a:pt x="49042" y="16387"/>
                    </a:lnTo>
                    <a:lnTo>
                      <a:pt x="35525" y="29246"/>
                    </a:lnTo>
                    <a:lnTo>
                      <a:pt x="33731" y="31160"/>
                    </a:lnTo>
                    <a:lnTo>
                      <a:pt x="19138" y="46769"/>
                    </a:lnTo>
                    <a:lnTo>
                      <a:pt x="4306" y="64054"/>
                    </a:lnTo>
                    <a:lnTo>
                      <a:pt x="1615" y="67463"/>
                    </a:lnTo>
                    <a:lnTo>
                      <a:pt x="598" y="68778"/>
                    </a:lnTo>
                    <a:lnTo>
                      <a:pt x="358" y="69257"/>
                    </a:lnTo>
                    <a:lnTo>
                      <a:pt x="0" y="70034"/>
                    </a:lnTo>
                    <a:lnTo>
                      <a:pt x="299" y="70752"/>
                    </a:lnTo>
                    <a:lnTo>
                      <a:pt x="538" y="71230"/>
                    </a:lnTo>
                    <a:lnTo>
                      <a:pt x="7057" y="75058"/>
                    </a:lnTo>
                    <a:lnTo>
                      <a:pt x="7416" y="75297"/>
                    </a:lnTo>
                    <a:lnTo>
                      <a:pt x="13277" y="78766"/>
                    </a:lnTo>
                    <a:lnTo>
                      <a:pt x="23325" y="84747"/>
                    </a:lnTo>
                    <a:lnTo>
                      <a:pt x="27751" y="87378"/>
                    </a:lnTo>
                    <a:lnTo>
                      <a:pt x="30382" y="88933"/>
                    </a:lnTo>
                    <a:lnTo>
                      <a:pt x="30980" y="89292"/>
                    </a:lnTo>
                    <a:lnTo>
                      <a:pt x="32535" y="90249"/>
                    </a:lnTo>
                    <a:lnTo>
                      <a:pt x="34090" y="91146"/>
                    </a:lnTo>
                    <a:lnTo>
                      <a:pt x="34389" y="91326"/>
                    </a:lnTo>
                    <a:lnTo>
                      <a:pt x="35405" y="91924"/>
                    </a:lnTo>
                    <a:lnTo>
                      <a:pt x="38875" y="93957"/>
                    </a:lnTo>
                    <a:lnTo>
                      <a:pt x="39652" y="94376"/>
                    </a:lnTo>
                    <a:lnTo>
                      <a:pt x="40968" y="95153"/>
                    </a:lnTo>
                    <a:lnTo>
                      <a:pt x="40968" y="95153"/>
                    </a:lnTo>
                    <a:lnTo>
                      <a:pt x="42045" y="95811"/>
                    </a:lnTo>
                    <a:lnTo>
                      <a:pt x="43121" y="96469"/>
                    </a:lnTo>
                    <a:lnTo>
                      <a:pt x="51972" y="101852"/>
                    </a:lnTo>
                    <a:lnTo>
                      <a:pt x="53288" y="102629"/>
                    </a:lnTo>
                    <a:lnTo>
                      <a:pt x="53467" y="102749"/>
                    </a:lnTo>
                    <a:lnTo>
                      <a:pt x="56159" y="104364"/>
                    </a:lnTo>
                    <a:lnTo>
                      <a:pt x="57654" y="105261"/>
                    </a:lnTo>
                    <a:lnTo>
                      <a:pt x="62798" y="108251"/>
                    </a:lnTo>
                    <a:lnTo>
                      <a:pt x="64113" y="109029"/>
                    </a:lnTo>
                    <a:lnTo>
                      <a:pt x="64113" y="109029"/>
                    </a:lnTo>
                    <a:lnTo>
                      <a:pt x="64233" y="109088"/>
                    </a:lnTo>
                    <a:lnTo>
                      <a:pt x="64591" y="109268"/>
                    </a:lnTo>
                    <a:lnTo>
                      <a:pt x="67701" y="111062"/>
                    </a:lnTo>
                    <a:lnTo>
                      <a:pt x="68958" y="111780"/>
                    </a:lnTo>
                    <a:lnTo>
                      <a:pt x="69914" y="112318"/>
                    </a:lnTo>
                    <a:lnTo>
                      <a:pt x="72785" y="113993"/>
                    </a:lnTo>
                    <a:lnTo>
                      <a:pt x="74759" y="115129"/>
                    </a:lnTo>
                    <a:lnTo>
                      <a:pt x="76434" y="116086"/>
                    </a:lnTo>
                    <a:lnTo>
                      <a:pt x="79723" y="118059"/>
                    </a:lnTo>
                    <a:lnTo>
                      <a:pt x="79902" y="118179"/>
                    </a:lnTo>
                    <a:lnTo>
                      <a:pt x="81457" y="119136"/>
                    </a:lnTo>
                    <a:lnTo>
                      <a:pt x="83012" y="120093"/>
                    </a:lnTo>
                    <a:lnTo>
                      <a:pt x="84029" y="120691"/>
                    </a:lnTo>
                    <a:lnTo>
                      <a:pt x="86182" y="121947"/>
                    </a:lnTo>
                    <a:lnTo>
                      <a:pt x="86182" y="121947"/>
                    </a:lnTo>
                    <a:lnTo>
                      <a:pt x="86242" y="122007"/>
                    </a:lnTo>
                    <a:lnTo>
                      <a:pt x="89292" y="123801"/>
                    </a:lnTo>
                    <a:lnTo>
                      <a:pt x="91146" y="124877"/>
                    </a:lnTo>
                    <a:lnTo>
                      <a:pt x="94555" y="126911"/>
                    </a:lnTo>
                    <a:lnTo>
                      <a:pt x="95034" y="127210"/>
                    </a:lnTo>
                    <a:lnTo>
                      <a:pt x="96289" y="127928"/>
                    </a:lnTo>
                    <a:lnTo>
                      <a:pt x="97545" y="128645"/>
                    </a:lnTo>
                    <a:lnTo>
                      <a:pt x="100237" y="130200"/>
                    </a:lnTo>
                    <a:lnTo>
                      <a:pt x="113753" y="138155"/>
                    </a:lnTo>
                    <a:lnTo>
                      <a:pt x="122007" y="143119"/>
                    </a:lnTo>
                    <a:lnTo>
                      <a:pt x="122007" y="143119"/>
                    </a:lnTo>
                  </a:path>
                </a:pathLst>
              </a:custGeom>
              <a:noFill/>
              <a:ln w="6350" cap="rnd">
                <a:solidFill>
                  <a:schemeClr val="bg1">
                    <a:alpha val="80000"/>
                  </a:schemeClr>
                </a:solidFill>
                <a:prstDash val="solid"/>
                <a:round/>
              </a:ln>
            </p:spPr>
            <p:txBody>
              <a:bodyPr rtlCol="0" anchor="ctr"/>
              <a:lstStyle/>
              <a:p>
                <a:endParaRPr lang="en-GB"/>
              </a:p>
            </p:txBody>
          </p:sp>
          <p:sp>
            <p:nvSpPr>
              <p:cNvPr id="6450" name="Vrije vorm: vorm 6449">
                <a:extLst>
                  <a:ext uri="{FF2B5EF4-FFF2-40B4-BE49-F238E27FC236}">
                    <a16:creationId xmlns:a16="http://schemas.microsoft.com/office/drawing/2014/main" id="{1EDE3C57-E67D-4225-A8DF-87FD07AD44D5}"/>
                  </a:ext>
                </a:extLst>
              </p:cNvPr>
              <p:cNvSpPr/>
              <p:nvPr/>
            </p:nvSpPr>
            <p:spPr>
              <a:xfrm>
                <a:off x="6845793" y="1805440"/>
                <a:ext cx="3589" cy="3110"/>
              </a:xfrm>
              <a:custGeom>
                <a:avLst/>
                <a:gdLst>
                  <a:gd name="connsiteX0" fmla="*/ 0 w 3589"/>
                  <a:gd name="connsiteY0" fmla="*/ 3110 h 3110"/>
                  <a:gd name="connsiteX1" fmla="*/ 1436 w 3589"/>
                  <a:gd name="connsiteY1" fmla="*/ 837 h 3110"/>
                  <a:gd name="connsiteX2" fmla="*/ 3589 w 3589"/>
                  <a:gd name="connsiteY2" fmla="*/ 0 h 3110"/>
                </a:gdLst>
                <a:ahLst/>
                <a:cxnLst>
                  <a:cxn ang="0">
                    <a:pos x="connsiteX0" y="connsiteY0"/>
                  </a:cxn>
                  <a:cxn ang="0">
                    <a:pos x="connsiteX1" y="connsiteY1"/>
                  </a:cxn>
                  <a:cxn ang="0">
                    <a:pos x="connsiteX2" y="connsiteY2"/>
                  </a:cxn>
                </a:cxnLst>
                <a:rect l="l" t="t" r="r" b="b"/>
                <a:pathLst>
                  <a:path w="3589" h="3110">
                    <a:moveTo>
                      <a:pt x="0" y="3110"/>
                    </a:moveTo>
                    <a:lnTo>
                      <a:pt x="1436" y="837"/>
                    </a:lnTo>
                    <a:lnTo>
                      <a:pt x="3589" y="0"/>
                    </a:lnTo>
                  </a:path>
                </a:pathLst>
              </a:custGeom>
              <a:noFill/>
              <a:ln w="6350" cap="rnd">
                <a:solidFill>
                  <a:schemeClr val="bg1">
                    <a:alpha val="80000"/>
                  </a:schemeClr>
                </a:solidFill>
                <a:prstDash val="solid"/>
                <a:round/>
              </a:ln>
            </p:spPr>
            <p:txBody>
              <a:bodyPr rtlCol="0" anchor="ctr"/>
              <a:lstStyle/>
              <a:p>
                <a:endParaRPr lang="en-GB"/>
              </a:p>
            </p:txBody>
          </p:sp>
          <p:sp>
            <p:nvSpPr>
              <p:cNvPr id="6451" name="Vrije vorm: vorm 6450">
                <a:extLst>
                  <a:ext uri="{FF2B5EF4-FFF2-40B4-BE49-F238E27FC236}">
                    <a16:creationId xmlns:a16="http://schemas.microsoft.com/office/drawing/2014/main" id="{DC1C1380-20C5-4F4B-8F89-4F34C66B3FEB}"/>
                  </a:ext>
                </a:extLst>
              </p:cNvPr>
              <p:cNvSpPr/>
              <p:nvPr/>
            </p:nvSpPr>
            <p:spPr>
              <a:xfrm>
                <a:off x="6745137" y="1947243"/>
                <a:ext cx="16267" cy="15011"/>
              </a:xfrm>
              <a:custGeom>
                <a:avLst/>
                <a:gdLst>
                  <a:gd name="connsiteX0" fmla="*/ 16268 w 16267"/>
                  <a:gd name="connsiteY0" fmla="*/ 15012 h 15011"/>
                  <a:gd name="connsiteX1" fmla="*/ 16148 w 16267"/>
                  <a:gd name="connsiteY1" fmla="*/ 14952 h 15011"/>
                  <a:gd name="connsiteX2" fmla="*/ 15311 w 16267"/>
                  <a:gd name="connsiteY2" fmla="*/ 14414 h 15011"/>
                  <a:gd name="connsiteX3" fmla="*/ 14174 w 16267"/>
                  <a:gd name="connsiteY3" fmla="*/ 13636 h 15011"/>
                  <a:gd name="connsiteX4" fmla="*/ 10586 w 16267"/>
                  <a:gd name="connsiteY4" fmla="*/ 11244 h 15011"/>
                  <a:gd name="connsiteX5" fmla="*/ 10406 w 16267"/>
                  <a:gd name="connsiteY5" fmla="*/ 11124 h 15011"/>
                  <a:gd name="connsiteX6" fmla="*/ 9928 w 16267"/>
                  <a:gd name="connsiteY6" fmla="*/ 10825 h 15011"/>
                  <a:gd name="connsiteX7" fmla="*/ 7416 w 16267"/>
                  <a:gd name="connsiteY7" fmla="*/ 9150 h 15011"/>
                  <a:gd name="connsiteX8" fmla="*/ 5503 w 16267"/>
                  <a:gd name="connsiteY8" fmla="*/ 7895 h 15011"/>
                  <a:gd name="connsiteX9" fmla="*/ 4306 w 16267"/>
                  <a:gd name="connsiteY9" fmla="*/ 7117 h 15011"/>
                  <a:gd name="connsiteX10" fmla="*/ 0 w 16267"/>
                  <a:gd name="connsiteY10" fmla="*/ 4246 h 15011"/>
                  <a:gd name="connsiteX11" fmla="*/ 1735 w 16267"/>
                  <a:gd name="connsiteY11" fmla="*/ 1316 h 15011"/>
                  <a:gd name="connsiteX12" fmla="*/ 2512 w 16267"/>
                  <a:gd name="connsiteY12" fmla="*/ 0 h 1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67" h="15011">
                    <a:moveTo>
                      <a:pt x="16268" y="15012"/>
                    </a:moveTo>
                    <a:lnTo>
                      <a:pt x="16148" y="14952"/>
                    </a:lnTo>
                    <a:lnTo>
                      <a:pt x="15311" y="14414"/>
                    </a:lnTo>
                    <a:lnTo>
                      <a:pt x="14174" y="13636"/>
                    </a:lnTo>
                    <a:lnTo>
                      <a:pt x="10586" y="11244"/>
                    </a:lnTo>
                    <a:lnTo>
                      <a:pt x="10406" y="11124"/>
                    </a:lnTo>
                    <a:lnTo>
                      <a:pt x="9928" y="10825"/>
                    </a:lnTo>
                    <a:lnTo>
                      <a:pt x="7416" y="9150"/>
                    </a:lnTo>
                    <a:lnTo>
                      <a:pt x="5503" y="7895"/>
                    </a:lnTo>
                    <a:lnTo>
                      <a:pt x="4306" y="7117"/>
                    </a:lnTo>
                    <a:lnTo>
                      <a:pt x="0" y="4246"/>
                    </a:lnTo>
                    <a:lnTo>
                      <a:pt x="1735" y="1316"/>
                    </a:lnTo>
                    <a:lnTo>
                      <a:pt x="2512" y="0"/>
                    </a:lnTo>
                  </a:path>
                </a:pathLst>
              </a:custGeom>
              <a:noFill/>
              <a:ln w="6350" cap="rnd">
                <a:solidFill>
                  <a:schemeClr val="bg1">
                    <a:alpha val="80000"/>
                  </a:schemeClr>
                </a:solidFill>
                <a:prstDash val="solid"/>
                <a:round/>
              </a:ln>
            </p:spPr>
            <p:txBody>
              <a:bodyPr rtlCol="0" anchor="ctr"/>
              <a:lstStyle/>
              <a:p>
                <a:endParaRPr lang="en-GB"/>
              </a:p>
            </p:txBody>
          </p:sp>
          <p:sp>
            <p:nvSpPr>
              <p:cNvPr id="6452" name="Vrije vorm: vorm 6451">
                <a:extLst>
                  <a:ext uri="{FF2B5EF4-FFF2-40B4-BE49-F238E27FC236}">
                    <a16:creationId xmlns:a16="http://schemas.microsoft.com/office/drawing/2014/main" id="{E13190A3-CBBC-42AC-B477-5769D2CC94FF}"/>
                  </a:ext>
                </a:extLst>
              </p:cNvPr>
              <p:cNvSpPr/>
              <p:nvPr/>
            </p:nvSpPr>
            <p:spPr>
              <a:xfrm>
                <a:off x="6773127" y="1907472"/>
                <a:ext cx="44436" cy="68778"/>
              </a:xfrm>
              <a:custGeom>
                <a:avLst/>
                <a:gdLst>
                  <a:gd name="connsiteX0" fmla="*/ 0 w 44436"/>
                  <a:gd name="connsiteY0" fmla="*/ 68778 h 68778"/>
                  <a:gd name="connsiteX1" fmla="*/ 1316 w 44436"/>
                  <a:gd name="connsiteY1" fmla="*/ 66565 h 68778"/>
                  <a:gd name="connsiteX2" fmla="*/ 2273 w 44436"/>
                  <a:gd name="connsiteY2" fmla="*/ 64951 h 68778"/>
                  <a:gd name="connsiteX3" fmla="*/ 2632 w 44436"/>
                  <a:gd name="connsiteY3" fmla="*/ 64293 h 68778"/>
                  <a:gd name="connsiteX4" fmla="*/ 3469 w 44436"/>
                  <a:gd name="connsiteY4" fmla="*/ 62857 h 68778"/>
                  <a:gd name="connsiteX5" fmla="*/ 3529 w 44436"/>
                  <a:gd name="connsiteY5" fmla="*/ 62798 h 68778"/>
                  <a:gd name="connsiteX6" fmla="*/ 4246 w 44436"/>
                  <a:gd name="connsiteY6" fmla="*/ 61243 h 68778"/>
                  <a:gd name="connsiteX7" fmla="*/ 4246 w 44436"/>
                  <a:gd name="connsiteY7" fmla="*/ 61183 h 68778"/>
                  <a:gd name="connsiteX8" fmla="*/ 4306 w 44436"/>
                  <a:gd name="connsiteY8" fmla="*/ 61063 h 68778"/>
                  <a:gd name="connsiteX9" fmla="*/ 5682 w 44436"/>
                  <a:gd name="connsiteY9" fmla="*/ 58192 h 68778"/>
                  <a:gd name="connsiteX10" fmla="*/ 5801 w 44436"/>
                  <a:gd name="connsiteY10" fmla="*/ 57953 h 68778"/>
                  <a:gd name="connsiteX11" fmla="*/ 5801 w 44436"/>
                  <a:gd name="connsiteY11" fmla="*/ 57953 h 68778"/>
                  <a:gd name="connsiteX12" fmla="*/ 6100 w 44436"/>
                  <a:gd name="connsiteY12" fmla="*/ 57355 h 68778"/>
                  <a:gd name="connsiteX13" fmla="*/ 6280 w 44436"/>
                  <a:gd name="connsiteY13" fmla="*/ 56279 h 68778"/>
                  <a:gd name="connsiteX14" fmla="*/ 6459 w 44436"/>
                  <a:gd name="connsiteY14" fmla="*/ 55262 h 68778"/>
                  <a:gd name="connsiteX15" fmla="*/ 6579 w 44436"/>
                  <a:gd name="connsiteY15" fmla="*/ 54425 h 68778"/>
                  <a:gd name="connsiteX16" fmla="*/ 6758 w 44436"/>
                  <a:gd name="connsiteY16" fmla="*/ 53468 h 68778"/>
                  <a:gd name="connsiteX17" fmla="*/ 7117 w 44436"/>
                  <a:gd name="connsiteY17" fmla="*/ 51195 h 68778"/>
                  <a:gd name="connsiteX18" fmla="*/ 7177 w 44436"/>
                  <a:gd name="connsiteY18" fmla="*/ 50836 h 68778"/>
                  <a:gd name="connsiteX19" fmla="*/ 7297 w 44436"/>
                  <a:gd name="connsiteY19" fmla="*/ 50118 h 68778"/>
                  <a:gd name="connsiteX20" fmla="*/ 7297 w 44436"/>
                  <a:gd name="connsiteY20" fmla="*/ 49939 h 68778"/>
                  <a:gd name="connsiteX21" fmla="*/ 7775 w 44436"/>
                  <a:gd name="connsiteY21" fmla="*/ 47068 h 68778"/>
                  <a:gd name="connsiteX22" fmla="*/ 8074 w 44436"/>
                  <a:gd name="connsiteY22" fmla="*/ 45154 h 68778"/>
                  <a:gd name="connsiteX23" fmla="*/ 8493 w 44436"/>
                  <a:gd name="connsiteY23" fmla="*/ 42762 h 68778"/>
                  <a:gd name="connsiteX24" fmla="*/ 8612 w 44436"/>
                  <a:gd name="connsiteY24" fmla="*/ 41925 h 68778"/>
                  <a:gd name="connsiteX25" fmla="*/ 8852 w 44436"/>
                  <a:gd name="connsiteY25" fmla="*/ 40609 h 68778"/>
                  <a:gd name="connsiteX26" fmla="*/ 8852 w 44436"/>
                  <a:gd name="connsiteY26" fmla="*/ 40609 h 68778"/>
                  <a:gd name="connsiteX27" fmla="*/ 8971 w 44436"/>
                  <a:gd name="connsiteY27" fmla="*/ 39712 h 68778"/>
                  <a:gd name="connsiteX28" fmla="*/ 9270 w 44436"/>
                  <a:gd name="connsiteY28" fmla="*/ 37978 h 68778"/>
                  <a:gd name="connsiteX29" fmla="*/ 9510 w 44436"/>
                  <a:gd name="connsiteY29" fmla="*/ 36303 h 68778"/>
                  <a:gd name="connsiteX30" fmla="*/ 9510 w 44436"/>
                  <a:gd name="connsiteY30" fmla="*/ 36243 h 68778"/>
                  <a:gd name="connsiteX31" fmla="*/ 9868 w 44436"/>
                  <a:gd name="connsiteY31" fmla="*/ 34030 h 68778"/>
                  <a:gd name="connsiteX32" fmla="*/ 9988 w 44436"/>
                  <a:gd name="connsiteY32" fmla="*/ 33731 h 68778"/>
                  <a:gd name="connsiteX33" fmla="*/ 10167 w 44436"/>
                  <a:gd name="connsiteY33" fmla="*/ 33372 h 68778"/>
                  <a:gd name="connsiteX34" fmla="*/ 11304 w 44436"/>
                  <a:gd name="connsiteY34" fmla="*/ 30741 h 68778"/>
                  <a:gd name="connsiteX35" fmla="*/ 11603 w 44436"/>
                  <a:gd name="connsiteY35" fmla="*/ 30083 h 68778"/>
                  <a:gd name="connsiteX36" fmla="*/ 13815 w 44436"/>
                  <a:gd name="connsiteY36" fmla="*/ 24999 h 68778"/>
                  <a:gd name="connsiteX37" fmla="*/ 14593 w 44436"/>
                  <a:gd name="connsiteY37" fmla="*/ 23983 h 68778"/>
                  <a:gd name="connsiteX38" fmla="*/ 14952 w 44436"/>
                  <a:gd name="connsiteY38" fmla="*/ 23445 h 68778"/>
                  <a:gd name="connsiteX39" fmla="*/ 15251 w 44436"/>
                  <a:gd name="connsiteY39" fmla="*/ 23026 h 68778"/>
                  <a:gd name="connsiteX40" fmla="*/ 15789 w 44436"/>
                  <a:gd name="connsiteY40" fmla="*/ 22308 h 68778"/>
                  <a:gd name="connsiteX41" fmla="*/ 16268 w 44436"/>
                  <a:gd name="connsiteY41" fmla="*/ 21650 h 68778"/>
                  <a:gd name="connsiteX42" fmla="*/ 17344 w 44436"/>
                  <a:gd name="connsiteY42" fmla="*/ 20155 h 68778"/>
                  <a:gd name="connsiteX43" fmla="*/ 17823 w 44436"/>
                  <a:gd name="connsiteY43" fmla="*/ 19497 h 68778"/>
                  <a:gd name="connsiteX44" fmla="*/ 18062 w 44436"/>
                  <a:gd name="connsiteY44" fmla="*/ 19198 h 68778"/>
                  <a:gd name="connsiteX45" fmla="*/ 20335 w 44436"/>
                  <a:gd name="connsiteY45" fmla="*/ 16088 h 68778"/>
                  <a:gd name="connsiteX46" fmla="*/ 21591 w 44436"/>
                  <a:gd name="connsiteY46" fmla="*/ 14414 h 68778"/>
                  <a:gd name="connsiteX47" fmla="*/ 23026 w 44436"/>
                  <a:gd name="connsiteY47" fmla="*/ 12500 h 68778"/>
                  <a:gd name="connsiteX48" fmla="*/ 24282 w 44436"/>
                  <a:gd name="connsiteY48" fmla="*/ 10825 h 68778"/>
                  <a:gd name="connsiteX49" fmla="*/ 24401 w 44436"/>
                  <a:gd name="connsiteY49" fmla="*/ 10706 h 68778"/>
                  <a:gd name="connsiteX50" fmla="*/ 24760 w 44436"/>
                  <a:gd name="connsiteY50" fmla="*/ 10227 h 68778"/>
                  <a:gd name="connsiteX51" fmla="*/ 26136 w 44436"/>
                  <a:gd name="connsiteY51" fmla="*/ 8373 h 68778"/>
                  <a:gd name="connsiteX52" fmla="*/ 27213 w 44436"/>
                  <a:gd name="connsiteY52" fmla="*/ 6938 h 68778"/>
                  <a:gd name="connsiteX53" fmla="*/ 27272 w 44436"/>
                  <a:gd name="connsiteY53" fmla="*/ 6818 h 68778"/>
                  <a:gd name="connsiteX54" fmla="*/ 27811 w 44436"/>
                  <a:gd name="connsiteY54" fmla="*/ 6041 h 68778"/>
                  <a:gd name="connsiteX55" fmla="*/ 27930 w 44436"/>
                  <a:gd name="connsiteY55" fmla="*/ 5861 h 68778"/>
                  <a:gd name="connsiteX56" fmla="*/ 29126 w 44436"/>
                  <a:gd name="connsiteY56" fmla="*/ 4187 h 68778"/>
                  <a:gd name="connsiteX57" fmla="*/ 29425 w 44436"/>
                  <a:gd name="connsiteY57" fmla="*/ 3768 h 68778"/>
                  <a:gd name="connsiteX58" fmla="*/ 30203 w 44436"/>
                  <a:gd name="connsiteY58" fmla="*/ 2691 h 68778"/>
                  <a:gd name="connsiteX59" fmla="*/ 30562 w 44436"/>
                  <a:gd name="connsiteY59" fmla="*/ 2213 h 68778"/>
                  <a:gd name="connsiteX60" fmla="*/ 31040 w 44436"/>
                  <a:gd name="connsiteY60" fmla="*/ 1555 h 68778"/>
                  <a:gd name="connsiteX61" fmla="*/ 31399 w 44436"/>
                  <a:gd name="connsiteY61" fmla="*/ 1376 h 68778"/>
                  <a:gd name="connsiteX62" fmla="*/ 33074 w 44436"/>
                  <a:gd name="connsiteY62" fmla="*/ 359 h 68778"/>
                  <a:gd name="connsiteX63" fmla="*/ 33612 w 44436"/>
                  <a:gd name="connsiteY63" fmla="*/ 0 h 68778"/>
                  <a:gd name="connsiteX64" fmla="*/ 33970 w 44436"/>
                  <a:gd name="connsiteY64" fmla="*/ 180 h 68778"/>
                  <a:gd name="connsiteX65" fmla="*/ 38157 w 44436"/>
                  <a:gd name="connsiteY65" fmla="*/ 1794 h 68778"/>
                  <a:gd name="connsiteX66" fmla="*/ 40011 w 44436"/>
                  <a:gd name="connsiteY66" fmla="*/ 2512 h 68778"/>
                  <a:gd name="connsiteX67" fmla="*/ 41088 w 44436"/>
                  <a:gd name="connsiteY67" fmla="*/ 3170 h 68778"/>
                  <a:gd name="connsiteX68" fmla="*/ 41327 w 44436"/>
                  <a:gd name="connsiteY68" fmla="*/ 3289 h 68778"/>
                  <a:gd name="connsiteX69" fmla="*/ 41446 w 44436"/>
                  <a:gd name="connsiteY69" fmla="*/ 3349 h 68778"/>
                  <a:gd name="connsiteX70" fmla="*/ 41686 w 44436"/>
                  <a:gd name="connsiteY70" fmla="*/ 3529 h 68778"/>
                  <a:gd name="connsiteX71" fmla="*/ 43540 w 44436"/>
                  <a:gd name="connsiteY71" fmla="*/ 4725 h 68778"/>
                  <a:gd name="connsiteX72" fmla="*/ 44198 w 44436"/>
                  <a:gd name="connsiteY72" fmla="*/ 12560 h 68778"/>
                  <a:gd name="connsiteX73" fmla="*/ 44198 w 44436"/>
                  <a:gd name="connsiteY73" fmla="*/ 12739 h 68778"/>
                  <a:gd name="connsiteX74" fmla="*/ 44257 w 44436"/>
                  <a:gd name="connsiteY74" fmla="*/ 13098 h 68778"/>
                  <a:gd name="connsiteX75" fmla="*/ 44437 w 44436"/>
                  <a:gd name="connsiteY75" fmla="*/ 15370 h 68778"/>
                  <a:gd name="connsiteX76" fmla="*/ 44437 w 44436"/>
                  <a:gd name="connsiteY76" fmla="*/ 15490 h 68778"/>
                  <a:gd name="connsiteX77" fmla="*/ 44317 w 44436"/>
                  <a:gd name="connsiteY77" fmla="*/ 16327 h 68778"/>
                  <a:gd name="connsiteX78" fmla="*/ 44257 w 44436"/>
                  <a:gd name="connsiteY78" fmla="*/ 16567 h 68778"/>
                  <a:gd name="connsiteX79" fmla="*/ 44198 w 44436"/>
                  <a:gd name="connsiteY79" fmla="*/ 16985 h 68778"/>
                  <a:gd name="connsiteX80" fmla="*/ 44018 w 44436"/>
                  <a:gd name="connsiteY80" fmla="*/ 18421 h 68778"/>
                  <a:gd name="connsiteX81" fmla="*/ 43660 w 44436"/>
                  <a:gd name="connsiteY81" fmla="*/ 19019 h 68778"/>
                  <a:gd name="connsiteX82" fmla="*/ 43241 w 44436"/>
                  <a:gd name="connsiteY82" fmla="*/ 19677 h 6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4436" h="68778">
                    <a:moveTo>
                      <a:pt x="0" y="68778"/>
                    </a:moveTo>
                    <a:lnTo>
                      <a:pt x="1316" y="66565"/>
                    </a:lnTo>
                    <a:lnTo>
                      <a:pt x="2273" y="64951"/>
                    </a:lnTo>
                    <a:lnTo>
                      <a:pt x="2632" y="64293"/>
                    </a:lnTo>
                    <a:lnTo>
                      <a:pt x="3469" y="62857"/>
                    </a:lnTo>
                    <a:lnTo>
                      <a:pt x="3529" y="62798"/>
                    </a:lnTo>
                    <a:lnTo>
                      <a:pt x="4246" y="61243"/>
                    </a:lnTo>
                    <a:lnTo>
                      <a:pt x="4246" y="61183"/>
                    </a:lnTo>
                    <a:lnTo>
                      <a:pt x="4306" y="61063"/>
                    </a:lnTo>
                    <a:lnTo>
                      <a:pt x="5682" y="58192"/>
                    </a:lnTo>
                    <a:lnTo>
                      <a:pt x="5801" y="57953"/>
                    </a:lnTo>
                    <a:lnTo>
                      <a:pt x="5801" y="57953"/>
                    </a:lnTo>
                    <a:lnTo>
                      <a:pt x="6100" y="57355"/>
                    </a:lnTo>
                    <a:lnTo>
                      <a:pt x="6280" y="56279"/>
                    </a:lnTo>
                    <a:lnTo>
                      <a:pt x="6459" y="55262"/>
                    </a:lnTo>
                    <a:lnTo>
                      <a:pt x="6579" y="54425"/>
                    </a:lnTo>
                    <a:lnTo>
                      <a:pt x="6758" y="53468"/>
                    </a:lnTo>
                    <a:lnTo>
                      <a:pt x="7117" y="51195"/>
                    </a:lnTo>
                    <a:lnTo>
                      <a:pt x="7177" y="50836"/>
                    </a:lnTo>
                    <a:lnTo>
                      <a:pt x="7297" y="50118"/>
                    </a:lnTo>
                    <a:lnTo>
                      <a:pt x="7297" y="49939"/>
                    </a:lnTo>
                    <a:lnTo>
                      <a:pt x="7775" y="47068"/>
                    </a:lnTo>
                    <a:lnTo>
                      <a:pt x="8074" y="45154"/>
                    </a:lnTo>
                    <a:lnTo>
                      <a:pt x="8493" y="42762"/>
                    </a:lnTo>
                    <a:lnTo>
                      <a:pt x="8612" y="41925"/>
                    </a:lnTo>
                    <a:lnTo>
                      <a:pt x="8852" y="40609"/>
                    </a:lnTo>
                    <a:lnTo>
                      <a:pt x="8852" y="40609"/>
                    </a:lnTo>
                    <a:lnTo>
                      <a:pt x="8971" y="39712"/>
                    </a:lnTo>
                    <a:lnTo>
                      <a:pt x="9270" y="37978"/>
                    </a:lnTo>
                    <a:lnTo>
                      <a:pt x="9510" y="36303"/>
                    </a:lnTo>
                    <a:lnTo>
                      <a:pt x="9510" y="36243"/>
                    </a:lnTo>
                    <a:lnTo>
                      <a:pt x="9868" y="34030"/>
                    </a:lnTo>
                    <a:lnTo>
                      <a:pt x="9988" y="33731"/>
                    </a:lnTo>
                    <a:lnTo>
                      <a:pt x="10167" y="33372"/>
                    </a:lnTo>
                    <a:lnTo>
                      <a:pt x="11304" y="30741"/>
                    </a:lnTo>
                    <a:lnTo>
                      <a:pt x="11603" y="30083"/>
                    </a:lnTo>
                    <a:lnTo>
                      <a:pt x="13815" y="24999"/>
                    </a:lnTo>
                    <a:lnTo>
                      <a:pt x="14593" y="23983"/>
                    </a:lnTo>
                    <a:lnTo>
                      <a:pt x="14952" y="23445"/>
                    </a:lnTo>
                    <a:lnTo>
                      <a:pt x="15251" y="23026"/>
                    </a:lnTo>
                    <a:lnTo>
                      <a:pt x="15789" y="22308"/>
                    </a:lnTo>
                    <a:lnTo>
                      <a:pt x="16268" y="21650"/>
                    </a:lnTo>
                    <a:lnTo>
                      <a:pt x="17344" y="20155"/>
                    </a:lnTo>
                    <a:lnTo>
                      <a:pt x="17823" y="19497"/>
                    </a:lnTo>
                    <a:lnTo>
                      <a:pt x="18062" y="19198"/>
                    </a:lnTo>
                    <a:lnTo>
                      <a:pt x="20335" y="16088"/>
                    </a:lnTo>
                    <a:lnTo>
                      <a:pt x="21591" y="14414"/>
                    </a:lnTo>
                    <a:lnTo>
                      <a:pt x="23026" y="12500"/>
                    </a:lnTo>
                    <a:lnTo>
                      <a:pt x="24282" y="10825"/>
                    </a:lnTo>
                    <a:lnTo>
                      <a:pt x="24401" y="10706"/>
                    </a:lnTo>
                    <a:lnTo>
                      <a:pt x="24760" y="10227"/>
                    </a:lnTo>
                    <a:lnTo>
                      <a:pt x="26136" y="8373"/>
                    </a:lnTo>
                    <a:lnTo>
                      <a:pt x="27213" y="6938"/>
                    </a:lnTo>
                    <a:lnTo>
                      <a:pt x="27272" y="6818"/>
                    </a:lnTo>
                    <a:lnTo>
                      <a:pt x="27811" y="6041"/>
                    </a:lnTo>
                    <a:lnTo>
                      <a:pt x="27930" y="5861"/>
                    </a:lnTo>
                    <a:lnTo>
                      <a:pt x="29126" y="4187"/>
                    </a:lnTo>
                    <a:lnTo>
                      <a:pt x="29425" y="3768"/>
                    </a:lnTo>
                    <a:lnTo>
                      <a:pt x="30203" y="2691"/>
                    </a:lnTo>
                    <a:lnTo>
                      <a:pt x="30562" y="2213"/>
                    </a:lnTo>
                    <a:lnTo>
                      <a:pt x="31040" y="1555"/>
                    </a:lnTo>
                    <a:lnTo>
                      <a:pt x="31399" y="1376"/>
                    </a:lnTo>
                    <a:lnTo>
                      <a:pt x="33074" y="359"/>
                    </a:lnTo>
                    <a:lnTo>
                      <a:pt x="33612" y="0"/>
                    </a:lnTo>
                    <a:lnTo>
                      <a:pt x="33970" y="180"/>
                    </a:lnTo>
                    <a:lnTo>
                      <a:pt x="38157" y="1794"/>
                    </a:lnTo>
                    <a:lnTo>
                      <a:pt x="40011" y="2512"/>
                    </a:lnTo>
                    <a:lnTo>
                      <a:pt x="41088" y="3170"/>
                    </a:lnTo>
                    <a:lnTo>
                      <a:pt x="41327" y="3289"/>
                    </a:lnTo>
                    <a:lnTo>
                      <a:pt x="41446" y="3349"/>
                    </a:lnTo>
                    <a:lnTo>
                      <a:pt x="41686" y="3529"/>
                    </a:lnTo>
                    <a:lnTo>
                      <a:pt x="43540" y="4725"/>
                    </a:lnTo>
                    <a:lnTo>
                      <a:pt x="44198" y="12560"/>
                    </a:lnTo>
                    <a:lnTo>
                      <a:pt x="44198" y="12739"/>
                    </a:lnTo>
                    <a:lnTo>
                      <a:pt x="44257" y="13098"/>
                    </a:lnTo>
                    <a:lnTo>
                      <a:pt x="44437" y="15370"/>
                    </a:lnTo>
                    <a:lnTo>
                      <a:pt x="44437" y="15490"/>
                    </a:lnTo>
                    <a:lnTo>
                      <a:pt x="44317" y="16327"/>
                    </a:lnTo>
                    <a:lnTo>
                      <a:pt x="44257" y="16567"/>
                    </a:lnTo>
                    <a:lnTo>
                      <a:pt x="44198" y="16985"/>
                    </a:lnTo>
                    <a:lnTo>
                      <a:pt x="44018" y="18421"/>
                    </a:lnTo>
                    <a:lnTo>
                      <a:pt x="43660" y="19019"/>
                    </a:lnTo>
                    <a:lnTo>
                      <a:pt x="43241" y="19677"/>
                    </a:lnTo>
                  </a:path>
                </a:pathLst>
              </a:custGeom>
              <a:noFill/>
              <a:ln w="6350" cap="rnd">
                <a:solidFill>
                  <a:schemeClr val="bg1">
                    <a:alpha val="80000"/>
                  </a:schemeClr>
                </a:solidFill>
                <a:prstDash val="solid"/>
                <a:round/>
              </a:ln>
            </p:spPr>
            <p:txBody>
              <a:bodyPr rtlCol="0" anchor="ctr"/>
              <a:lstStyle/>
              <a:p>
                <a:endParaRPr lang="en-GB"/>
              </a:p>
            </p:txBody>
          </p:sp>
          <p:sp>
            <p:nvSpPr>
              <p:cNvPr id="6453" name="Vrije vorm: vorm 6452">
                <a:extLst>
                  <a:ext uri="{FF2B5EF4-FFF2-40B4-BE49-F238E27FC236}">
                    <a16:creationId xmlns:a16="http://schemas.microsoft.com/office/drawing/2014/main" id="{8B96279B-91AC-44FB-A944-174D294D6691}"/>
                  </a:ext>
                </a:extLst>
              </p:cNvPr>
              <p:cNvSpPr/>
              <p:nvPr/>
            </p:nvSpPr>
            <p:spPr>
              <a:xfrm>
                <a:off x="6761584" y="1872305"/>
                <a:ext cx="17404" cy="32774"/>
              </a:xfrm>
              <a:custGeom>
                <a:avLst/>
                <a:gdLst>
                  <a:gd name="connsiteX0" fmla="*/ 2034 w 17404"/>
                  <a:gd name="connsiteY0" fmla="*/ 32774 h 32774"/>
                  <a:gd name="connsiteX1" fmla="*/ 598 w 17404"/>
                  <a:gd name="connsiteY1" fmla="*/ 29006 h 32774"/>
                  <a:gd name="connsiteX2" fmla="*/ 419 w 17404"/>
                  <a:gd name="connsiteY2" fmla="*/ 28528 h 32774"/>
                  <a:gd name="connsiteX3" fmla="*/ 0 w 17404"/>
                  <a:gd name="connsiteY3" fmla="*/ 27332 h 32774"/>
                  <a:gd name="connsiteX4" fmla="*/ 0 w 17404"/>
                  <a:gd name="connsiteY4" fmla="*/ 27093 h 32774"/>
                  <a:gd name="connsiteX5" fmla="*/ 0 w 17404"/>
                  <a:gd name="connsiteY5" fmla="*/ 27033 h 32774"/>
                  <a:gd name="connsiteX6" fmla="*/ 0 w 17404"/>
                  <a:gd name="connsiteY6" fmla="*/ 26913 h 32774"/>
                  <a:gd name="connsiteX7" fmla="*/ 0 w 17404"/>
                  <a:gd name="connsiteY7" fmla="*/ 26614 h 32774"/>
                  <a:gd name="connsiteX8" fmla="*/ 60 w 17404"/>
                  <a:gd name="connsiteY8" fmla="*/ 25837 h 32774"/>
                  <a:gd name="connsiteX9" fmla="*/ 60 w 17404"/>
                  <a:gd name="connsiteY9" fmla="*/ 25837 h 32774"/>
                  <a:gd name="connsiteX10" fmla="*/ 60 w 17404"/>
                  <a:gd name="connsiteY10" fmla="*/ 25657 h 32774"/>
                  <a:gd name="connsiteX11" fmla="*/ 60 w 17404"/>
                  <a:gd name="connsiteY11" fmla="*/ 25478 h 32774"/>
                  <a:gd name="connsiteX12" fmla="*/ 60 w 17404"/>
                  <a:gd name="connsiteY12" fmla="*/ 25119 h 32774"/>
                  <a:gd name="connsiteX13" fmla="*/ 60 w 17404"/>
                  <a:gd name="connsiteY13" fmla="*/ 24940 h 32774"/>
                  <a:gd name="connsiteX14" fmla="*/ 60 w 17404"/>
                  <a:gd name="connsiteY14" fmla="*/ 24940 h 32774"/>
                  <a:gd name="connsiteX15" fmla="*/ 60 w 17404"/>
                  <a:gd name="connsiteY15" fmla="*/ 24880 h 32774"/>
                  <a:gd name="connsiteX16" fmla="*/ 180 w 17404"/>
                  <a:gd name="connsiteY16" fmla="*/ 24521 h 32774"/>
                  <a:gd name="connsiteX17" fmla="*/ 180 w 17404"/>
                  <a:gd name="connsiteY17" fmla="*/ 24521 h 32774"/>
                  <a:gd name="connsiteX18" fmla="*/ 538 w 17404"/>
                  <a:gd name="connsiteY18" fmla="*/ 23504 h 32774"/>
                  <a:gd name="connsiteX19" fmla="*/ 778 w 17404"/>
                  <a:gd name="connsiteY19" fmla="*/ 22906 h 32774"/>
                  <a:gd name="connsiteX20" fmla="*/ 1017 w 17404"/>
                  <a:gd name="connsiteY20" fmla="*/ 22248 h 32774"/>
                  <a:gd name="connsiteX21" fmla="*/ 1196 w 17404"/>
                  <a:gd name="connsiteY21" fmla="*/ 21830 h 32774"/>
                  <a:gd name="connsiteX22" fmla="*/ 2572 w 17404"/>
                  <a:gd name="connsiteY22" fmla="*/ 18181 h 32774"/>
                  <a:gd name="connsiteX23" fmla="*/ 2632 w 17404"/>
                  <a:gd name="connsiteY23" fmla="*/ 18062 h 32774"/>
                  <a:gd name="connsiteX24" fmla="*/ 2691 w 17404"/>
                  <a:gd name="connsiteY24" fmla="*/ 17942 h 32774"/>
                  <a:gd name="connsiteX25" fmla="*/ 2990 w 17404"/>
                  <a:gd name="connsiteY25" fmla="*/ 17105 h 32774"/>
                  <a:gd name="connsiteX26" fmla="*/ 3529 w 17404"/>
                  <a:gd name="connsiteY26" fmla="*/ 15610 h 32774"/>
                  <a:gd name="connsiteX27" fmla="*/ 4067 w 17404"/>
                  <a:gd name="connsiteY27" fmla="*/ 14115 h 32774"/>
                  <a:gd name="connsiteX28" fmla="*/ 4187 w 17404"/>
                  <a:gd name="connsiteY28" fmla="*/ 13875 h 32774"/>
                  <a:gd name="connsiteX29" fmla="*/ 6160 w 17404"/>
                  <a:gd name="connsiteY29" fmla="*/ 8672 h 32774"/>
                  <a:gd name="connsiteX30" fmla="*/ 6579 w 17404"/>
                  <a:gd name="connsiteY30" fmla="*/ 7536 h 32774"/>
                  <a:gd name="connsiteX31" fmla="*/ 7954 w 17404"/>
                  <a:gd name="connsiteY31" fmla="*/ 4007 h 32774"/>
                  <a:gd name="connsiteX32" fmla="*/ 7954 w 17404"/>
                  <a:gd name="connsiteY32" fmla="*/ 4007 h 32774"/>
                  <a:gd name="connsiteX33" fmla="*/ 9689 w 17404"/>
                  <a:gd name="connsiteY33" fmla="*/ 1794 h 32774"/>
                  <a:gd name="connsiteX34" fmla="*/ 11423 w 17404"/>
                  <a:gd name="connsiteY34" fmla="*/ 1196 h 32774"/>
                  <a:gd name="connsiteX35" fmla="*/ 12859 w 17404"/>
                  <a:gd name="connsiteY35" fmla="*/ 718 h 32774"/>
                  <a:gd name="connsiteX36" fmla="*/ 14354 w 17404"/>
                  <a:gd name="connsiteY36" fmla="*/ 179 h 32774"/>
                  <a:gd name="connsiteX37" fmla="*/ 14892 w 17404"/>
                  <a:gd name="connsiteY37" fmla="*/ 0 h 32774"/>
                  <a:gd name="connsiteX38" fmla="*/ 17404 w 17404"/>
                  <a:gd name="connsiteY38" fmla="*/ 1555 h 32774"/>
                  <a:gd name="connsiteX39" fmla="*/ 16926 w 17404"/>
                  <a:gd name="connsiteY39" fmla="*/ 4665 h 32774"/>
                  <a:gd name="connsiteX40" fmla="*/ 16686 w 17404"/>
                  <a:gd name="connsiteY40" fmla="*/ 6160 h 32774"/>
                  <a:gd name="connsiteX41" fmla="*/ 16567 w 17404"/>
                  <a:gd name="connsiteY41" fmla="*/ 6938 h 3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404" h="32774">
                    <a:moveTo>
                      <a:pt x="2034" y="32774"/>
                    </a:moveTo>
                    <a:lnTo>
                      <a:pt x="598" y="29006"/>
                    </a:lnTo>
                    <a:lnTo>
                      <a:pt x="419" y="28528"/>
                    </a:lnTo>
                    <a:lnTo>
                      <a:pt x="0" y="27332"/>
                    </a:lnTo>
                    <a:lnTo>
                      <a:pt x="0" y="27093"/>
                    </a:lnTo>
                    <a:lnTo>
                      <a:pt x="0" y="27033"/>
                    </a:lnTo>
                    <a:lnTo>
                      <a:pt x="0" y="26913"/>
                    </a:lnTo>
                    <a:lnTo>
                      <a:pt x="0" y="26614"/>
                    </a:lnTo>
                    <a:lnTo>
                      <a:pt x="60" y="25837"/>
                    </a:lnTo>
                    <a:lnTo>
                      <a:pt x="60" y="25837"/>
                    </a:lnTo>
                    <a:lnTo>
                      <a:pt x="60" y="25657"/>
                    </a:lnTo>
                    <a:lnTo>
                      <a:pt x="60" y="25478"/>
                    </a:lnTo>
                    <a:lnTo>
                      <a:pt x="60" y="25119"/>
                    </a:lnTo>
                    <a:lnTo>
                      <a:pt x="60" y="24940"/>
                    </a:lnTo>
                    <a:lnTo>
                      <a:pt x="60" y="24940"/>
                    </a:lnTo>
                    <a:lnTo>
                      <a:pt x="60" y="24880"/>
                    </a:lnTo>
                    <a:lnTo>
                      <a:pt x="180" y="24521"/>
                    </a:lnTo>
                    <a:lnTo>
                      <a:pt x="180" y="24521"/>
                    </a:lnTo>
                    <a:lnTo>
                      <a:pt x="538" y="23504"/>
                    </a:lnTo>
                    <a:lnTo>
                      <a:pt x="778" y="22906"/>
                    </a:lnTo>
                    <a:lnTo>
                      <a:pt x="1017" y="22248"/>
                    </a:lnTo>
                    <a:lnTo>
                      <a:pt x="1196" y="21830"/>
                    </a:lnTo>
                    <a:lnTo>
                      <a:pt x="2572" y="18181"/>
                    </a:lnTo>
                    <a:lnTo>
                      <a:pt x="2632" y="18062"/>
                    </a:lnTo>
                    <a:lnTo>
                      <a:pt x="2691" y="17942"/>
                    </a:lnTo>
                    <a:lnTo>
                      <a:pt x="2990" y="17105"/>
                    </a:lnTo>
                    <a:lnTo>
                      <a:pt x="3529" y="15610"/>
                    </a:lnTo>
                    <a:lnTo>
                      <a:pt x="4067" y="14115"/>
                    </a:lnTo>
                    <a:lnTo>
                      <a:pt x="4187" y="13875"/>
                    </a:lnTo>
                    <a:lnTo>
                      <a:pt x="6160" y="8672"/>
                    </a:lnTo>
                    <a:lnTo>
                      <a:pt x="6579" y="7536"/>
                    </a:lnTo>
                    <a:lnTo>
                      <a:pt x="7954" y="4007"/>
                    </a:lnTo>
                    <a:lnTo>
                      <a:pt x="7954" y="4007"/>
                    </a:lnTo>
                    <a:lnTo>
                      <a:pt x="9689" y="1794"/>
                    </a:lnTo>
                    <a:lnTo>
                      <a:pt x="11423" y="1196"/>
                    </a:lnTo>
                    <a:lnTo>
                      <a:pt x="12859" y="718"/>
                    </a:lnTo>
                    <a:lnTo>
                      <a:pt x="14354" y="179"/>
                    </a:lnTo>
                    <a:lnTo>
                      <a:pt x="14892" y="0"/>
                    </a:lnTo>
                    <a:lnTo>
                      <a:pt x="17404" y="1555"/>
                    </a:lnTo>
                    <a:lnTo>
                      <a:pt x="16926" y="4665"/>
                    </a:lnTo>
                    <a:lnTo>
                      <a:pt x="16686" y="6160"/>
                    </a:lnTo>
                    <a:lnTo>
                      <a:pt x="16567" y="6938"/>
                    </a:lnTo>
                  </a:path>
                </a:pathLst>
              </a:custGeom>
              <a:noFill/>
              <a:ln w="6350" cap="rnd">
                <a:solidFill>
                  <a:schemeClr val="bg1">
                    <a:alpha val="80000"/>
                  </a:schemeClr>
                </a:solidFill>
                <a:prstDash val="solid"/>
                <a:round/>
              </a:ln>
            </p:spPr>
            <p:txBody>
              <a:bodyPr rtlCol="0" anchor="ctr"/>
              <a:lstStyle/>
              <a:p>
                <a:endParaRPr lang="en-GB"/>
              </a:p>
            </p:txBody>
          </p:sp>
          <p:sp>
            <p:nvSpPr>
              <p:cNvPr id="6454" name="Vrije vorm: vorm 6453">
                <a:extLst>
                  <a:ext uri="{FF2B5EF4-FFF2-40B4-BE49-F238E27FC236}">
                    <a16:creationId xmlns:a16="http://schemas.microsoft.com/office/drawing/2014/main" id="{32F3BAD4-5F9D-4898-BEED-42674542A8B8}"/>
                  </a:ext>
                </a:extLst>
              </p:cNvPr>
              <p:cNvSpPr/>
              <p:nvPr/>
            </p:nvSpPr>
            <p:spPr>
              <a:xfrm>
                <a:off x="6781919" y="1968415"/>
                <a:ext cx="6279" cy="6459"/>
              </a:xfrm>
              <a:custGeom>
                <a:avLst/>
                <a:gdLst>
                  <a:gd name="connsiteX0" fmla="*/ 4426 w 6279"/>
                  <a:gd name="connsiteY0" fmla="*/ 0 h 6459"/>
                  <a:gd name="connsiteX1" fmla="*/ 5203 w 6279"/>
                  <a:gd name="connsiteY1" fmla="*/ 538 h 6459"/>
                  <a:gd name="connsiteX2" fmla="*/ 6280 w 6279"/>
                  <a:gd name="connsiteY2" fmla="*/ 2213 h 6459"/>
                  <a:gd name="connsiteX3" fmla="*/ 5861 w 6279"/>
                  <a:gd name="connsiteY3" fmla="*/ 2931 h 6459"/>
                  <a:gd name="connsiteX4" fmla="*/ 4665 w 6279"/>
                  <a:gd name="connsiteY4" fmla="*/ 4964 h 6459"/>
                  <a:gd name="connsiteX5" fmla="*/ 4426 w 6279"/>
                  <a:gd name="connsiteY5" fmla="*/ 5323 h 6459"/>
                  <a:gd name="connsiteX6" fmla="*/ 4127 w 6279"/>
                  <a:gd name="connsiteY6" fmla="*/ 5861 h 6459"/>
                  <a:gd name="connsiteX7" fmla="*/ 4007 w 6279"/>
                  <a:gd name="connsiteY7" fmla="*/ 5921 h 6459"/>
                  <a:gd name="connsiteX8" fmla="*/ 2751 w 6279"/>
                  <a:gd name="connsiteY8" fmla="*/ 6220 h 6459"/>
                  <a:gd name="connsiteX9" fmla="*/ 2512 w 6279"/>
                  <a:gd name="connsiteY9" fmla="*/ 6280 h 6459"/>
                  <a:gd name="connsiteX10" fmla="*/ 1674 w 6279"/>
                  <a:gd name="connsiteY10" fmla="*/ 6459 h 6459"/>
                  <a:gd name="connsiteX11" fmla="*/ 0 w 6279"/>
                  <a:gd name="connsiteY11" fmla="*/ 5383 h 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79" h="6459">
                    <a:moveTo>
                      <a:pt x="4426" y="0"/>
                    </a:moveTo>
                    <a:lnTo>
                      <a:pt x="5203" y="538"/>
                    </a:lnTo>
                    <a:lnTo>
                      <a:pt x="6280" y="2213"/>
                    </a:lnTo>
                    <a:lnTo>
                      <a:pt x="5861" y="2931"/>
                    </a:lnTo>
                    <a:lnTo>
                      <a:pt x="4665" y="4964"/>
                    </a:lnTo>
                    <a:lnTo>
                      <a:pt x="4426" y="5323"/>
                    </a:lnTo>
                    <a:lnTo>
                      <a:pt x="4127" y="5861"/>
                    </a:lnTo>
                    <a:lnTo>
                      <a:pt x="4007" y="5921"/>
                    </a:lnTo>
                    <a:lnTo>
                      <a:pt x="2751" y="6220"/>
                    </a:lnTo>
                    <a:lnTo>
                      <a:pt x="2512" y="6280"/>
                    </a:lnTo>
                    <a:lnTo>
                      <a:pt x="1674" y="6459"/>
                    </a:lnTo>
                    <a:lnTo>
                      <a:pt x="0" y="5383"/>
                    </a:lnTo>
                  </a:path>
                </a:pathLst>
              </a:custGeom>
              <a:noFill/>
              <a:ln w="6350" cap="rnd">
                <a:solidFill>
                  <a:schemeClr val="bg1">
                    <a:alpha val="80000"/>
                  </a:schemeClr>
                </a:solidFill>
                <a:prstDash val="solid"/>
                <a:round/>
              </a:ln>
            </p:spPr>
            <p:txBody>
              <a:bodyPr rtlCol="0" anchor="ctr"/>
              <a:lstStyle/>
              <a:p>
                <a:endParaRPr lang="en-GB"/>
              </a:p>
            </p:txBody>
          </p:sp>
          <p:sp>
            <p:nvSpPr>
              <p:cNvPr id="6455" name="Vrije vorm: vorm 6454">
                <a:extLst>
                  <a:ext uri="{FF2B5EF4-FFF2-40B4-BE49-F238E27FC236}">
                    <a16:creationId xmlns:a16="http://schemas.microsoft.com/office/drawing/2014/main" id="{64CA49AE-A12B-4B47-84F2-DF5723676116}"/>
                  </a:ext>
                </a:extLst>
              </p:cNvPr>
              <p:cNvSpPr/>
              <p:nvPr/>
            </p:nvSpPr>
            <p:spPr>
              <a:xfrm>
                <a:off x="6968398" y="1934086"/>
                <a:ext cx="125057" cy="27451"/>
              </a:xfrm>
              <a:custGeom>
                <a:avLst/>
                <a:gdLst>
                  <a:gd name="connsiteX0" fmla="*/ 125057 w 125057"/>
                  <a:gd name="connsiteY0" fmla="*/ 0 h 27451"/>
                  <a:gd name="connsiteX1" fmla="*/ 124100 w 125057"/>
                  <a:gd name="connsiteY1" fmla="*/ 0 h 27451"/>
                  <a:gd name="connsiteX2" fmla="*/ 122784 w 125057"/>
                  <a:gd name="connsiteY2" fmla="*/ 0 h 27451"/>
                  <a:gd name="connsiteX3" fmla="*/ 122784 w 125057"/>
                  <a:gd name="connsiteY3" fmla="*/ 0 h 27451"/>
                  <a:gd name="connsiteX4" fmla="*/ 120213 w 125057"/>
                  <a:gd name="connsiteY4" fmla="*/ 60 h 27451"/>
                  <a:gd name="connsiteX5" fmla="*/ 118838 w 125057"/>
                  <a:gd name="connsiteY5" fmla="*/ 359 h 27451"/>
                  <a:gd name="connsiteX6" fmla="*/ 118538 w 125057"/>
                  <a:gd name="connsiteY6" fmla="*/ 419 h 27451"/>
                  <a:gd name="connsiteX7" fmla="*/ 117641 w 125057"/>
                  <a:gd name="connsiteY7" fmla="*/ 598 h 27451"/>
                  <a:gd name="connsiteX8" fmla="*/ 116505 w 125057"/>
                  <a:gd name="connsiteY8" fmla="*/ 837 h 27451"/>
                  <a:gd name="connsiteX9" fmla="*/ 115728 w 125057"/>
                  <a:gd name="connsiteY9" fmla="*/ 1017 h 27451"/>
                  <a:gd name="connsiteX10" fmla="*/ 115010 w 125057"/>
                  <a:gd name="connsiteY10" fmla="*/ 1196 h 27451"/>
                  <a:gd name="connsiteX11" fmla="*/ 114531 w 125057"/>
                  <a:gd name="connsiteY11" fmla="*/ 1316 h 27451"/>
                  <a:gd name="connsiteX12" fmla="*/ 113753 w 125057"/>
                  <a:gd name="connsiteY12" fmla="*/ 1615 h 27451"/>
                  <a:gd name="connsiteX13" fmla="*/ 112318 w 125057"/>
                  <a:gd name="connsiteY13" fmla="*/ 2153 h 27451"/>
                  <a:gd name="connsiteX14" fmla="*/ 110823 w 125057"/>
                  <a:gd name="connsiteY14" fmla="*/ 2751 h 27451"/>
                  <a:gd name="connsiteX15" fmla="*/ 108909 w 125057"/>
                  <a:gd name="connsiteY15" fmla="*/ 3469 h 27451"/>
                  <a:gd name="connsiteX16" fmla="*/ 108730 w 125057"/>
                  <a:gd name="connsiteY16" fmla="*/ 3529 h 27451"/>
                  <a:gd name="connsiteX17" fmla="*/ 108132 w 125057"/>
                  <a:gd name="connsiteY17" fmla="*/ 3768 h 27451"/>
                  <a:gd name="connsiteX18" fmla="*/ 107354 w 125057"/>
                  <a:gd name="connsiteY18" fmla="*/ 4246 h 27451"/>
                  <a:gd name="connsiteX19" fmla="*/ 106995 w 125057"/>
                  <a:gd name="connsiteY19" fmla="*/ 4486 h 27451"/>
                  <a:gd name="connsiteX20" fmla="*/ 106995 w 125057"/>
                  <a:gd name="connsiteY20" fmla="*/ 4486 h 27451"/>
                  <a:gd name="connsiteX21" fmla="*/ 106697 w 125057"/>
                  <a:gd name="connsiteY21" fmla="*/ 4665 h 27451"/>
                  <a:gd name="connsiteX22" fmla="*/ 104424 w 125057"/>
                  <a:gd name="connsiteY22" fmla="*/ 6160 h 27451"/>
                  <a:gd name="connsiteX23" fmla="*/ 104304 w 125057"/>
                  <a:gd name="connsiteY23" fmla="*/ 6220 h 27451"/>
                  <a:gd name="connsiteX24" fmla="*/ 103706 w 125057"/>
                  <a:gd name="connsiteY24" fmla="*/ 6639 h 27451"/>
                  <a:gd name="connsiteX25" fmla="*/ 102211 w 125057"/>
                  <a:gd name="connsiteY25" fmla="*/ 7595 h 27451"/>
                  <a:gd name="connsiteX26" fmla="*/ 100596 w 125057"/>
                  <a:gd name="connsiteY26" fmla="*/ 8672 h 27451"/>
                  <a:gd name="connsiteX27" fmla="*/ 98443 w 125057"/>
                  <a:gd name="connsiteY27" fmla="*/ 10167 h 27451"/>
                  <a:gd name="connsiteX28" fmla="*/ 95692 w 125057"/>
                  <a:gd name="connsiteY28" fmla="*/ 12081 h 27451"/>
                  <a:gd name="connsiteX29" fmla="*/ 94018 w 125057"/>
                  <a:gd name="connsiteY29" fmla="*/ 13217 h 27451"/>
                  <a:gd name="connsiteX30" fmla="*/ 91565 w 125057"/>
                  <a:gd name="connsiteY30" fmla="*/ 14892 h 27451"/>
                  <a:gd name="connsiteX31" fmla="*/ 91147 w 125057"/>
                  <a:gd name="connsiteY31" fmla="*/ 15131 h 27451"/>
                  <a:gd name="connsiteX32" fmla="*/ 89173 w 125057"/>
                  <a:gd name="connsiteY32" fmla="*/ 16447 h 27451"/>
                  <a:gd name="connsiteX33" fmla="*/ 80262 w 125057"/>
                  <a:gd name="connsiteY33" fmla="*/ 22308 h 27451"/>
                  <a:gd name="connsiteX34" fmla="*/ 78886 w 125057"/>
                  <a:gd name="connsiteY34" fmla="*/ 22966 h 27451"/>
                  <a:gd name="connsiteX35" fmla="*/ 74161 w 125057"/>
                  <a:gd name="connsiteY35" fmla="*/ 25298 h 27451"/>
                  <a:gd name="connsiteX36" fmla="*/ 69735 w 125057"/>
                  <a:gd name="connsiteY36" fmla="*/ 27451 h 27451"/>
                  <a:gd name="connsiteX37" fmla="*/ 61781 w 125057"/>
                  <a:gd name="connsiteY37" fmla="*/ 25597 h 27451"/>
                  <a:gd name="connsiteX38" fmla="*/ 58671 w 125057"/>
                  <a:gd name="connsiteY38" fmla="*/ 24042 h 27451"/>
                  <a:gd name="connsiteX39" fmla="*/ 58253 w 125057"/>
                  <a:gd name="connsiteY39" fmla="*/ 23803 h 27451"/>
                  <a:gd name="connsiteX40" fmla="*/ 55741 w 125057"/>
                  <a:gd name="connsiteY40" fmla="*/ 22547 h 27451"/>
                  <a:gd name="connsiteX41" fmla="*/ 54963 w 125057"/>
                  <a:gd name="connsiteY41" fmla="*/ 22129 h 27451"/>
                  <a:gd name="connsiteX42" fmla="*/ 53648 w 125057"/>
                  <a:gd name="connsiteY42" fmla="*/ 21471 h 27451"/>
                  <a:gd name="connsiteX43" fmla="*/ 52750 w 125057"/>
                  <a:gd name="connsiteY43" fmla="*/ 21052 h 27451"/>
                  <a:gd name="connsiteX44" fmla="*/ 50657 w 125057"/>
                  <a:gd name="connsiteY44" fmla="*/ 19497 h 27451"/>
                  <a:gd name="connsiteX45" fmla="*/ 46770 w 125057"/>
                  <a:gd name="connsiteY45" fmla="*/ 16567 h 27451"/>
                  <a:gd name="connsiteX46" fmla="*/ 43062 w 125057"/>
                  <a:gd name="connsiteY46" fmla="*/ 17942 h 27451"/>
                  <a:gd name="connsiteX47" fmla="*/ 43002 w 125057"/>
                  <a:gd name="connsiteY47" fmla="*/ 18002 h 27451"/>
                  <a:gd name="connsiteX48" fmla="*/ 42583 w 125057"/>
                  <a:gd name="connsiteY48" fmla="*/ 18122 h 27451"/>
                  <a:gd name="connsiteX49" fmla="*/ 37978 w 125057"/>
                  <a:gd name="connsiteY49" fmla="*/ 19796 h 27451"/>
                  <a:gd name="connsiteX50" fmla="*/ 37201 w 125057"/>
                  <a:gd name="connsiteY50" fmla="*/ 19796 h 27451"/>
                  <a:gd name="connsiteX51" fmla="*/ 35406 w 125057"/>
                  <a:gd name="connsiteY51" fmla="*/ 19796 h 27451"/>
                  <a:gd name="connsiteX52" fmla="*/ 29485 w 125057"/>
                  <a:gd name="connsiteY52" fmla="*/ 19856 h 27451"/>
                  <a:gd name="connsiteX53" fmla="*/ 28648 w 125057"/>
                  <a:gd name="connsiteY53" fmla="*/ 19856 h 27451"/>
                  <a:gd name="connsiteX54" fmla="*/ 27811 w 125057"/>
                  <a:gd name="connsiteY54" fmla="*/ 19856 h 27451"/>
                  <a:gd name="connsiteX55" fmla="*/ 26854 w 125057"/>
                  <a:gd name="connsiteY55" fmla="*/ 19617 h 27451"/>
                  <a:gd name="connsiteX56" fmla="*/ 24102 w 125057"/>
                  <a:gd name="connsiteY56" fmla="*/ 18959 h 27451"/>
                  <a:gd name="connsiteX57" fmla="*/ 23983 w 125057"/>
                  <a:gd name="connsiteY57" fmla="*/ 18899 h 27451"/>
                  <a:gd name="connsiteX58" fmla="*/ 23205 w 125057"/>
                  <a:gd name="connsiteY58" fmla="*/ 18720 h 27451"/>
                  <a:gd name="connsiteX59" fmla="*/ 22129 w 125057"/>
                  <a:gd name="connsiteY59" fmla="*/ 18480 h 27451"/>
                  <a:gd name="connsiteX60" fmla="*/ 21531 w 125057"/>
                  <a:gd name="connsiteY60" fmla="*/ 18361 h 27451"/>
                  <a:gd name="connsiteX61" fmla="*/ 21172 w 125057"/>
                  <a:gd name="connsiteY61" fmla="*/ 18301 h 27451"/>
                  <a:gd name="connsiteX62" fmla="*/ 20335 w 125057"/>
                  <a:gd name="connsiteY62" fmla="*/ 18122 h 27451"/>
                  <a:gd name="connsiteX63" fmla="*/ 18839 w 125057"/>
                  <a:gd name="connsiteY63" fmla="*/ 17763 h 27451"/>
                  <a:gd name="connsiteX64" fmla="*/ 18661 w 125057"/>
                  <a:gd name="connsiteY64" fmla="*/ 17703 h 27451"/>
                  <a:gd name="connsiteX65" fmla="*/ 16686 w 125057"/>
                  <a:gd name="connsiteY65" fmla="*/ 17224 h 27451"/>
                  <a:gd name="connsiteX66" fmla="*/ 15491 w 125057"/>
                  <a:gd name="connsiteY66" fmla="*/ 16925 h 27451"/>
                  <a:gd name="connsiteX67" fmla="*/ 13218 w 125057"/>
                  <a:gd name="connsiteY67" fmla="*/ 16387 h 27451"/>
                  <a:gd name="connsiteX68" fmla="*/ 11723 w 125057"/>
                  <a:gd name="connsiteY68" fmla="*/ 15729 h 27451"/>
                  <a:gd name="connsiteX69" fmla="*/ 11723 w 125057"/>
                  <a:gd name="connsiteY69" fmla="*/ 15729 h 27451"/>
                  <a:gd name="connsiteX70" fmla="*/ 11543 w 125057"/>
                  <a:gd name="connsiteY70" fmla="*/ 15669 h 27451"/>
                  <a:gd name="connsiteX71" fmla="*/ 10885 w 125057"/>
                  <a:gd name="connsiteY71" fmla="*/ 15370 h 27451"/>
                  <a:gd name="connsiteX72" fmla="*/ 9749 w 125057"/>
                  <a:gd name="connsiteY72" fmla="*/ 14892 h 27451"/>
                  <a:gd name="connsiteX73" fmla="*/ 9091 w 125057"/>
                  <a:gd name="connsiteY73" fmla="*/ 14593 h 27451"/>
                  <a:gd name="connsiteX74" fmla="*/ 8732 w 125057"/>
                  <a:gd name="connsiteY74" fmla="*/ 14413 h 27451"/>
                  <a:gd name="connsiteX75" fmla="*/ 5503 w 125057"/>
                  <a:gd name="connsiteY75" fmla="*/ 13038 h 27451"/>
                  <a:gd name="connsiteX76" fmla="*/ 1017 w 125057"/>
                  <a:gd name="connsiteY76" fmla="*/ 11124 h 27451"/>
                  <a:gd name="connsiteX77" fmla="*/ 0 w 125057"/>
                  <a:gd name="connsiteY77" fmla="*/ 10705 h 2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25057" h="27451">
                    <a:moveTo>
                      <a:pt x="125057" y="0"/>
                    </a:moveTo>
                    <a:lnTo>
                      <a:pt x="124100" y="0"/>
                    </a:lnTo>
                    <a:lnTo>
                      <a:pt x="122784" y="0"/>
                    </a:lnTo>
                    <a:lnTo>
                      <a:pt x="122784" y="0"/>
                    </a:lnTo>
                    <a:lnTo>
                      <a:pt x="120213" y="60"/>
                    </a:lnTo>
                    <a:lnTo>
                      <a:pt x="118838" y="359"/>
                    </a:lnTo>
                    <a:lnTo>
                      <a:pt x="118538" y="419"/>
                    </a:lnTo>
                    <a:lnTo>
                      <a:pt x="117641" y="598"/>
                    </a:lnTo>
                    <a:lnTo>
                      <a:pt x="116505" y="837"/>
                    </a:lnTo>
                    <a:lnTo>
                      <a:pt x="115728" y="1017"/>
                    </a:lnTo>
                    <a:lnTo>
                      <a:pt x="115010" y="1196"/>
                    </a:lnTo>
                    <a:lnTo>
                      <a:pt x="114531" y="1316"/>
                    </a:lnTo>
                    <a:lnTo>
                      <a:pt x="113753" y="1615"/>
                    </a:lnTo>
                    <a:lnTo>
                      <a:pt x="112318" y="2153"/>
                    </a:lnTo>
                    <a:lnTo>
                      <a:pt x="110823" y="2751"/>
                    </a:lnTo>
                    <a:lnTo>
                      <a:pt x="108909" y="3469"/>
                    </a:lnTo>
                    <a:lnTo>
                      <a:pt x="108730" y="3529"/>
                    </a:lnTo>
                    <a:lnTo>
                      <a:pt x="108132" y="3768"/>
                    </a:lnTo>
                    <a:lnTo>
                      <a:pt x="107354" y="4246"/>
                    </a:lnTo>
                    <a:lnTo>
                      <a:pt x="106995" y="4486"/>
                    </a:lnTo>
                    <a:lnTo>
                      <a:pt x="106995" y="4486"/>
                    </a:lnTo>
                    <a:lnTo>
                      <a:pt x="106697" y="4665"/>
                    </a:lnTo>
                    <a:lnTo>
                      <a:pt x="104424" y="6160"/>
                    </a:lnTo>
                    <a:lnTo>
                      <a:pt x="104304" y="6220"/>
                    </a:lnTo>
                    <a:lnTo>
                      <a:pt x="103706" y="6639"/>
                    </a:lnTo>
                    <a:lnTo>
                      <a:pt x="102211" y="7595"/>
                    </a:lnTo>
                    <a:lnTo>
                      <a:pt x="100596" y="8672"/>
                    </a:lnTo>
                    <a:lnTo>
                      <a:pt x="98443" y="10167"/>
                    </a:lnTo>
                    <a:lnTo>
                      <a:pt x="95692" y="12081"/>
                    </a:lnTo>
                    <a:lnTo>
                      <a:pt x="94018" y="13217"/>
                    </a:lnTo>
                    <a:lnTo>
                      <a:pt x="91565" y="14892"/>
                    </a:lnTo>
                    <a:lnTo>
                      <a:pt x="91147" y="15131"/>
                    </a:lnTo>
                    <a:lnTo>
                      <a:pt x="89173" y="16447"/>
                    </a:lnTo>
                    <a:lnTo>
                      <a:pt x="80262" y="22308"/>
                    </a:lnTo>
                    <a:lnTo>
                      <a:pt x="78886" y="22966"/>
                    </a:lnTo>
                    <a:lnTo>
                      <a:pt x="74161" y="25298"/>
                    </a:lnTo>
                    <a:lnTo>
                      <a:pt x="69735" y="27451"/>
                    </a:lnTo>
                    <a:lnTo>
                      <a:pt x="61781" y="25597"/>
                    </a:lnTo>
                    <a:lnTo>
                      <a:pt x="58671" y="24042"/>
                    </a:lnTo>
                    <a:lnTo>
                      <a:pt x="58253" y="23803"/>
                    </a:lnTo>
                    <a:lnTo>
                      <a:pt x="55741" y="22547"/>
                    </a:lnTo>
                    <a:lnTo>
                      <a:pt x="54963" y="22129"/>
                    </a:lnTo>
                    <a:lnTo>
                      <a:pt x="53648" y="21471"/>
                    </a:lnTo>
                    <a:lnTo>
                      <a:pt x="52750" y="21052"/>
                    </a:lnTo>
                    <a:lnTo>
                      <a:pt x="50657" y="19497"/>
                    </a:lnTo>
                    <a:lnTo>
                      <a:pt x="46770" y="16567"/>
                    </a:lnTo>
                    <a:lnTo>
                      <a:pt x="43062" y="17942"/>
                    </a:lnTo>
                    <a:lnTo>
                      <a:pt x="43002" y="18002"/>
                    </a:lnTo>
                    <a:lnTo>
                      <a:pt x="42583" y="18122"/>
                    </a:lnTo>
                    <a:lnTo>
                      <a:pt x="37978" y="19796"/>
                    </a:lnTo>
                    <a:lnTo>
                      <a:pt x="37201" y="19796"/>
                    </a:lnTo>
                    <a:lnTo>
                      <a:pt x="35406" y="19796"/>
                    </a:lnTo>
                    <a:lnTo>
                      <a:pt x="29485" y="19856"/>
                    </a:lnTo>
                    <a:lnTo>
                      <a:pt x="28648" y="19856"/>
                    </a:lnTo>
                    <a:lnTo>
                      <a:pt x="27811" y="19856"/>
                    </a:lnTo>
                    <a:lnTo>
                      <a:pt x="26854" y="19617"/>
                    </a:lnTo>
                    <a:lnTo>
                      <a:pt x="24102" y="18959"/>
                    </a:lnTo>
                    <a:lnTo>
                      <a:pt x="23983" y="18899"/>
                    </a:lnTo>
                    <a:lnTo>
                      <a:pt x="23205" y="18720"/>
                    </a:lnTo>
                    <a:lnTo>
                      <a:pt x="22129" y="18480"/>
                    </a:lnTo>
                    <a:lnTo>
                      <a:pt x="21531" y="18361"/>
                    </a:lnTo>
                    <a:lnTo>
                      <a:pt x="21172" y="18301"/>
                    </a:lnTo>
                    <a:lnTo>
                      <a:pt x="20335" y="18122"/>
                    </a:lnTo>
                    <a:lnTo>
                      <a:pt x="18839" y="17763"/>
                    </a:lnTo>
                    <a:lnTo>
                      <a:pt x="18661" y="17703"/>
                    </a:lnTo>
                    <a:lnTo>
                      <a:pt x="16686" y="17224"/>
                    </a:lnTo>
                    <a:lnTo>
                      <a:pt x="15491" y="16925"/>
                    </a:lnTo>
                    <a:lnTo>
                      <a:pt x="13218" y="16387"/>
                    </a:lnTo>
                    <a:lnTo>
                      <a:pt x="11723" y="15729"/>
                    </a:lnTo>
                    <a:lnTo>
                      <a:pt x="11723" y="15729"/>
                    </a:lnTo>
                    <a:lnTo>
                      <a:pt x="11543" y="15669"/>
                    </a:lnTo>
                    <a:lnTo>
                      <a:pt x="10885" y="15370"/>
                    </a:lnTo>
                    <a:lnTo>
                      <a:pt x="9749" y="14892"/>
                    </a:lnTo>
                    <a:lnTo>
                      <a:pt x="9091" y="14593"/>
                    </a:lnTo>
                    <a:lnTo>
                      <a:pt x="8732" y="14413"/>
                    </a:lnTo>
                    <a:lnTo>
                      <a:pt x="5503" y="13038"/>
                    </a:lnTo>
                    <a:lnTo>
                      <a:pt x="1017" y="11124"/>
                    </a:lnTo>
                    <a:lnTo>
                      <a:pt x="0" y="10705"/>
                    </a:lnTo>
                  </a:path>
                </a:pathLst>
              </a:custGeom>
              <a:noFill/>
              <a:ln w="6350" cap="rnd">
                <a:solidFill>
                  <a:schemeClr val="bg1">
                    <a:alpha val="80000"/>
                  </a:schemeClr>
                </a:solidFill>
                <a:prstDash val="solid"/>
                <a:round/>
              </a:ln>
            </p:spPr>
            <p:txBody>
              <a:bodyPr rtlCol="0" anchor="ctr"/>
              <a:lstStyle/>
              <a:p>
                <a:endParaRPr lang="en-GB"/>
              </a:p>
            </p:txBody>
          </p:sp>
          <p:sp>
            <p:nvSpPr>
              <p:cNvPr id="6456" name="Vrije vorm: vorm 6455">
                <a:extLst>
                  <a:ext uri="{FF2B5EF4-FFF2-40B4-BE49-F238E27FC236}">
                    <a16:creationId xmlns:a16="http://schemas.microsoft.com/office/drawing/2014/main" id="{DE1C23FC-221B-4A42-8F47-6252D248C5C9}"/>
                  </a:ext>
                </a:extLst>
              </p:cNvPr>
              <p:cNvSpPr/>
              <p:nvPr/>
            </p:nvSpPr>
            <p:spPr>
              <a:xfrm>
                <a:off x="6991723" y="1835823"/>
                <a:ext cx="21650" cy="18899"/>
              </a:xfrm>
              <a:custGeom>
                <a:avLst/>
                <a:gdLst>
                  <a:gd name="connsiteX0" fmla="*/ 6938 w 21650"/>
                  <a:gd name="connsiteY0" fmla="*/ 13995 h 18899"/>
                  <a:gd name="connsiteX1" fmla="*/ 6938 w 21650"/>
                  <a:gd name="connsiteY1" fmla="*/ 13995 h 18899"/>
                  <a:gd name="connsiteX2" fmla="*/ 6938 w 21650"/>
                  <a:gd name="connsiteY2" fmla="*/ 13995 h 18899"/>
                  <a:gd name="connsiteX3" fmla="*/ 6818 w 21650"/>
                  <a:gd name="connsiteY3" fmla="*/ 13935 h 18899"/>
                  <a:gd name="connsiteX4" fmla="*/ 6220 w 21650"/>
                  <a:gd name="connsiteY4" fmla="*/ 13576 h 18899"/>
                  <a:gd name="connsiteX5" fmla="*/ 5622 w 21650"/>
                  <a:gd name="connsiteY5" fmla="*/ 13217 h 18899"/>
                  <a:gd name="connsiteX6" fmla="*/ 3708 w 21650"/>
                  <a:gd name="connsiteY6" fmla="*/ 12081 h 18899"/>
                  <a:gd name="connsiteX7" fmla="*/ 1615 w 21650"/>
                  <a:gd name="connsiteY7" fmla="*/ 10885 h 18899"/>
                  <a:gd name="connsiteX8" fmla="*/ 299 w 21650"/>
                  <a:gd name="connsiteY8" fmla="*/ 10107 h 18899"/>
                  <a:gd name="connsiteX9" fmla="*/ 299 w 21650"/>
                  <a:gd name="connsiteY9" fmla="*/ 10107 h 18899"/>
                  <a:gd name="connsiteX10" fmla="*/ 299 w 21650"/>
                  <a:gd name="connsiteY10" fmla="*/ 10048 h 18899"/>
                  <a:gd name="connsiteX11" fmla="*/ 0 w 21650"/>
                  <a:gd name="connsiteY11" fmla="*/ 8612 h 18899"/>
                  <a:gd name="connsiteX12" fmla="*/ 120 w 21650"/>
                  <a:gd name="connsiteY12" fmla="*/ 8373 h 18899"/>
                  <a:gd name="connsiteX13" fmla="*/ 1017 w 21650"/>
                  <a:gd name="connsiteY13" fmla="*/ 6818 h 18899"/>
                  <a:gd name="connsiteX14" fmla="*/ 3828 w 21650"/>
                  <a:gd name="connsiteY14" fmla="*/ 2093 h 18899"/>
                  <a:gd name="connsiteX15" fmla="*/ 4785 w 21650"/>
                  <a:gd name="connsiteY15" fmla="*/ 478 h 18899"/>
                  <a:gd name="connsiteX16" fmla="*/ 4905 w 21650"/>
                  <a:gd name="connsiteY16" fmla="*/ 419 h 18899"/>
                  <a:gd name="connsiteX17" fmla="*/ 6220 w 21650"/>
                  <a:gd name="connsiteY17" fmla="*/ 0 h 18899"/>
                  <a:gd name="connsiteX18" fmla="*/ 10646 w 21650"/>
                  <a:gd name="connsiteY18" fmla="*/ 2572 h 18899"/>
                  <a:gd name="connsiteX19" fmla="*/ 11603 w 21650"/>
                  <a:gd name="connsiteY19" fmla="*/ 3110 h 18899"/>
                  <a:gd name="connsiteX20" fmla="*/ 12201 w 21650"/>
                  <a:gd name="connsiteY20" fmla="*/ 3469 h 18899"/>
                  <a:gd name="connsiteX21" fmla="*/ 12679 w 21650"/>
                  <a:gd name="connsiteY21" fmla="*/ 3768 h 18899"/>
                  <a:gd name="connsiteX22" fmla="*/ 12799 w 21650"/>
                  <a:gd name="connsiteY22" fmla="*/ 3828 h 18899"/>
                  <a:gd name="connsiteX23" fmla="*/ 12799 w 21650"/>
                  <a:gd name="connsiteY23" fmla="*/ 3828 h 18899"/>
                  <a:gd name="connsiteX24" fmla="*/ 13576 w 21650"/>
                  <a:gd name="connsiteY24" fmla="*/ 4246 h 18899"/>
                  <a:gd name="connsiteX25" fmla="*/ 13876 w 21650"/>
                  <a:gd name="connsiteY25" fmla="*/ 4426 h 18899"/>
                  <a:gd name="connsiteX26" fmla="*/ 14234 w 21650"/>
                  <a:gd name="connsiteY26" fmla="*/ 4665 h 18899"/>
                  <a:gd name="connsiteX27" fmla="*/ 16089 w 21650"/>
                  <a:gd name="connsiteY27" fmla="*/ 5742 h 18899"/>
                  <a:gd name="connsiteX28" fmla="*/ 16627 w 21650"/>
                  <a:gd name="connsiteY28" fmla="*/ 6041 h 18899"/>
                  <a:gd name="connsiteX29" fmla="*/ 18540 w 21650"/>
                  <a:gd name="connsiteY29" fmla="*/ 7177 h 18899"/>
                  <a:gd name="connsiteX30" fmla="*/ 18899 w 21650"/>
                  <a:gd name="connsiteY30" fmla="*/ 7416 h 18899"/>
                  <a:gd name="connsiteX31" fmla="*/ 19139 w 21650"/>
                  <a:gd name="connsiteY31" fmla="*/ 7536 h 18899"/>
                  <a:gd name="connsiteX32" fmla="*/ 19199 w 21650"/>
                  <a:gd name="connsiteY32" fmla="*/ 7536 h 18899"/>
                  <a:gd name="connsiteX33" fmla="*/ 19677 w 21650"/>
                  <a:gd name="connsiteY33" fmla="*/ 7835 h 18899"/>
                  <a:gd name="connsiteX34" fmla="*/ 20035 w 21650"/>
                  <a:gd name="connsiteY34" fmla="*/ 8014 h 18899"/>
                  <a:gd name="connsiteX35" fmla="*/ 20873 w 21650"/>
                  <a:gd name="connsiteY35" fmla="*/ 8552 h 18899"/>
                  <a:gd name="connsiteX36" fmla="*/ 21292 w 21650"/>
                  <a:gd name="connsiteY36" fmla="*/ 8851 h 18899"/>
                  <a:gd name="connsiteX37" fmla="*/ 21650 w 21650"/>
                  <a:gd name="connsiteY37" fmla="*/ 10347 h 18899"/>
                  <a:gd name="connsiteX38" fmla="*/ 20813 w 21650"/>
                  <a:gd name="connsiteY38" fmla="*/ 11782 h 18899"/>
                  <a:gd name="connsiteX39" fmla="*/ 20394 w 21650"/>
                  <a:gd name="connsiteY39" fmla="*/ 12500 h 18899"/>
                  <a:gd name="connsiteX40" fmla="*/ 16866 w 21650"/>
                  <a:gd name="connsiteY40" fmla="*/ 18480 h 18899"/>
                  <a:gd name="connsiteX41" fmla="*/ 15431 w 21650"/>
                  <a:gd name="connsiteY41" fmla="*/ 18899 h 18899"/>
                  <a:gd name="connsiteX42" fmla="*/ 13995 w 21650"/>
                  <a:gd name="connsiteY42" fmla="*/ 18062 h 18899"/>
                  <a:gd name="connsiteX43" fmla="*/ 13576 w 21650"/>
                  <a:gd name="connsiteY43" fmla="*/ 17823 h 18899"/>
                  <a:gd name="connsiteX44" fmla="*/ 13576 w 21650"/>
                  <a:gd name="connsiteY44" fmla="*/ 17823 h 18899"/>
                  <a:gd name="connsiteX45" fmla="*/ 13278 w 21650"/>
                  <a:gd name="connsiteY45" fmla="*/ 17643 h 18899"/>
                  <a:gd name="connsiteX46" fmla="*/ 12978 w 21650"/>
                  <a:gd name="connsiteY46" fmla="*/ 17464 h 18899"/>
                  <a:gd name="connsiteX47" fmla="*/ 11244 w 21650"/>
                  <a:gd name="connsiteY47" fmla="*/ 16447 h 18899"/>
                  <a:gd name="connsiteX48" fmla="*/ 11005 w 21650"/>
                  <a:gd name="connsiteY48" fmla="*/ 16327 h 18899"/>
                  <a:gd name="connsiteX49" fmla="*/ 10646 w 21650"/>
                  <a:gd name="connsiteY49" fmla="*/ 16148 h 18899"/>
                  <a:gd name="connsiteX50" fmla="*/ 10048 w 21650"/>
                  <a:gd name="connsiteY50" fmla="*/ 15789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1650" h="18899">
                    <a:moveTo>
                      <a:pt x="6938" y="13995"/>
                    </a:moveTo>
                    <a:lnTo>
                      <a:pt x="6938" y="13995"/>
                    </a:lnTo>
                    <a:lnTo>
                      <a:pt x="6938" y="13995"/>
                    </a:lnTo>
                    <a:lnTo>
                      <a:pt x="6818" y="13935"/>
                    </a:lnTo>
                    <a:lnTo>
                      <a:pt x="6220" y="13576"/>
                    </a:lnTo>
                    <a:lnTo>
                      <a:pt x="5622" y="13217"/>
                    </a:lnTo>
                    <a:lnTo>
                      <a:pt x="3708" y="12081"/>
                    </a:lnTo>
                    <a:lnTo>
                      <a:pt x="1615" y="10885"/>
                    </a:lnTo>
                    <a:lnTo>
                      <a:pt x="299" y="10107"/>
                    </a:lnTo>
                    <a:lnTo>
                      <a:pt x="299" y="10107"/>
                    </a:lnTo>
                    <a:lnTo>
                      <a:pt x="299" y="10048"/>
                    </a:lnTo>
                    <a:lnTo>
                      <a:pt x="0" y="8612"/>
                    </a:lnTo>
                    <a:lnTo>
                      <a:pt x="120" y="8373"/>
                    </a:lnTo>
                    <a:lnTo>
                      <a:pt x="1017" y="6818"/>
                    </a:lnTo>
                    <a:lnTo>
                      <a:pt x="3828" y="2093"/>
                    </a:lnTo>
                    <a:lnTo>
                      <a:pt x="4785" y="478"/>
                    </a:lnTo>
                    <a:lnTo>
                      <a:pt x="4905" y="419"/>
                    </a:lnTo>
                    <a:lnTo>
                      <a:pt x="6220" y="0"/>
                    </a:lnTo>
                    <a:lnTo>
                      <a:pt x="10646" y="2572"/>
                    </a:lnTo>
                    <a:lnTo>
                      <a:pt x="11603" y="3110"/>
                    </a:lnTo>
                    <a:lnTo>
                      <a:pt x="12201" y="3469"/>
                    </a:lnTo>
                    <a:lnTo>
                      <a:pt x="12679" y="3768"/>
                    </a:lnTo>
                    <a:lnTo>
                      <a:pt x="12799" y="3828"/>
                    </a:lnTo>
                    <a:lnTo>
                      <a:pt x="12799" y="3828"/>
                    </a:lnTo>
                    <a:lnTo>
                      <a:pt x="13576" y="4246"/>
                    </a:lnTo>
                    <a:lnTo>
                      <a:pt x="13876" y="4426"/>
                    </a:lnTo>
                    <a:lnTo>
                      <a:pt x="14234" y="4665"/>
                    </a:lnTo>
                    <a:lnTo>
                      <a:pt x="16089" y="5742"/>
                    </a:lnTo>
                    <a:lnTo>
                      <a:pt x="16627" y="6041"/>
                    </a:lnTo>
                    <a:lnTo>
                      <a:pt x="18540" y="7177"/>
                    </a:lnTo>
                    <a:lnTo>
                      <a:pt x="18899" y="7416"/>
                    </a:lnTo>
                    <a:lnTo>
                      <a:pt x="19139" y="7536"/>
                    </a:lnTo>
                    <a:lnTo>
                      <a:pt x="19199" y="7536"/>
                    </a:lnTo>
                    <a:lnTo>
                      <a:pt x="19677" y="7835"/>
                    </a:lnTo>
                    <a:lnTo>
                      <a:pt x="20035" y="8014"/>
                    </a:lnTo>
                    <a:lnTo>
                      <a:pt x="20873" y="8552"/>
                    </a:lnTo>
                    <a:lnTo>
                      <a:pt x="21292" y="8851"/>
                    </a:lnTo>
                    <a:lnTo>
                      <a:pt x="21650" y="10347"/>
                    </a:lnTo>
                    <a:lnTo>
                      <a:pt x="20813" y="11782"/>
                    </a:lnTo>
                    <a:lnTo>
                      <a:pt x="20394" y="12500"/>
                    </a:lnTo>
                    <a:lnTo>
                      <a:pt x="16866" y="18480"/>
                    </a:lnTo>
                    <a:lnTo>
                      <a:pt x="15431" y="18899"/>
                    </a:lnTo>
                    <a:lnTo>
                      <a:pt x="13995" y="18062"/>
                    </a:lnTo>
                    <a:lnTo>
                      <a:pt x="13576" y="17823"/>
                    </a:lnTo>
                    <a:lnTo>
                      <a:pt x="13576" y="17823"/>
                    </a:lnTo>
                    <a:lnTo>
                      <a:pt x="13278" y="17643"/>
                    </a:lnTo>
                    <a:lnTo>
                      <a:pt x="12978" y="17464"/>
                    </a:lnTo>
                    <a:lnTo>
                      <a:pt x="11244" y="16447"/>
                    </a:lnTo>
                    <a:lnTo>
                      <a:pt x="11005" y="16327"/>
                    </a:lnTo>
                    <a:lnTo>
                      <a:pt x="10646" y="16148"/>
                    </a:lnTo>
                    <a:lnTo>
                      <a:pt x="10048" y="15789"/>
                    </a:lnTo>
                  </a:path>
                </a:pathLst>
              </a:custGeom>
              <a:noFill/>
              <a:ln w="6350" cap="rnd">
                <a:solidFill>
                  <a:schemeClr val="bg1">
                    <a:alpha val="80000"/>
                  </a:schemeClr>
                </a:solidFill>
                <a:prstDash val="solid"/>
                <a:round/>
              </a:ln>
            </p:spPr>
            <p:txBody>
              <a:bodyPr rtlCol="0" anchor="ctr"/>
              <a:lstStyle/>
              <a:p>
                <a:endParaRPr lang="en-GB"/>
              </a:p>
            </p:txBody>
          </p:sp>
          <p:sp>
            <p:nvSpPr>
              <p:cNvPr id="6457" name="Vrije vorm: vorm 6456">
                <a:extLst>
                  <a:ext uri="{FF2B5EF4-FFF2-40B4-BE49-F238E27FC236}">
                    <a16:creationId xmlns:a16="http://schemas.microsoft.com/office/drawing/2014/main" id="{9D3AA6A9-A480-46BF-A387-3E7818529EE7}"/>
                  </a:ext>
                </a:extLst>
              </p:cNvPr>
              <p:cNvSpPr/>
              <p:nvPr/>
            </p:nvSpPr>
            <p:spPr>
              <a:xfrm>
                <a:off x="6708655" y="1909206"/>
                <a:ext cx="4664" cy="717"/>
              </a:xfrm>
              <a:custGeom>
                <a:avLst/>
                <a:gdLst>
                  <a:gd name="connsiteX0" fmla="*/ 0 w 4664"/>
                  <a:gd name="connsiteY0" fmla="*/ 419 h 717"/>
                  <a:gd name="connsiteX1" fmla="*/ 718 w 4664"/>
                  <a:gd name="connsiteY1" fmla="*/ 299 h 717"/>
                  <a:gd name="connsiteX2" fmla="*/ 1136 w 4664"/>
                  <a:gd name="connsiteY2" fmla="*/ 239 h 717"/>
                  <a:gd name="connsiteX3" fmla="*/ 2632 w 4664"/>
                  <a:gd name="connsiteY3" fmla="*/ 0 h 717"/>
                  <a:gd name="connsiteX4" fmla="*/ 4665 w 4664"/>
                  <a:gd name="connsiteY4" fmla="*/ 718 h 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4" h="717">
                    <a:moveTo>
                      <a:pt x="0" y="419"/>
                    </a:moveTo>
                    <a:lnTo>
                      <a:pt x="718" y="299"/>
                    </a:lnTo>
                    <a:lnTo>
                      <a:pt x="1136" y="239"/>
                    </a:lnTo>
                    <a:lnTo>
                      <a:pt x="2632" y="0"/>
                    </a:lnTo>
                    <a:lnTo>
                      <a:pt x="4665" y="718"/>
                    </a:lnTo>
                  </a:path>
                </a:pathLst>
              </a:custGeom>
              <a:noFill/>
              <a:ln w="6350" cap="rnd">
                <a:solidFill>
                  <a:schemeClr val="bg1">
                    <a:alpha val="80000"/>
                  </a:schemeClr>
                </a:solidFill>
                <a:prstDash val="solid"/>
                <a:round/>
              </a:ln>
            </p:spPr>
            <p:txBody>
              <a:bodyPr rtlCol="0" anchor="ctr"/>
              <a:lstStyle/>
              <a:p>
                <a:endParaRPr lang="en-GB"/>
              </a:p>
            </p:txBody>
          </p:sp>
          <p:sp>
            <p:nvSpPr>
              <p:cNvPr id="6458" name="Vrije vorm: vorm 6457">
                <a:extLst>
                  <a:ext uri="{FF2B5EF4-FFF2-40B4-BE49-F238E27FC236}">
                    <a16:creationId xmlns:a16="http://schemas.microsoft.com/office/drawing/2014/main" id="{0F75795E-B32F-4524-9592-400C81EF5C9C}"/>
                  </a:ext>
                </a:extLst>
              </p:cNvPr>
              <p:cNvSpPr/>
              <p:nvPr/>
            </p:nvSpPr>
            <p:spPr>
              <a:xfrm>
                <a:off x="6706741" y="1915007"/>
                <a:ext cx="4485" cy="3708"/>
              </a:xfrm>
              <a:custGeom>
                <a:avLst/>
                <a:gdLst>
                  <a:gd name="connsiteX0" fmla="*/ 4486 w 4485"/>
                  <a:gd name="connsiteY0" fmla="*/ 3708 h 3708"/>
                  <a:gd name="connsiteX1" fmla="*/ 3289 w 4485"/>
                  <a:gd name="connsiteY1" fmla="*/ 3289 h 3708"/>
                  <a:gd name="connsiteX2" fmla="*/ 359 w 4485"/>
                  <a:gd name="connsiteY2" fmla="*/ 1316 h 3708"/>
                  <a:gd name="connsiteX3" fmla="*/ 0 w 4485"/>
                  <a:gd name="connsiteY3" fmla="*/ 0 h 3708"/>
                </a:gdLst>
                <a:ahLst/>
                <a:cxnLst>
                  <a:cxn ang="0">
                    <a:pos x="connsiteX0" y="connsiteY0"/>
                  </a:cxn>
                  <a:cxn ang="0">
                    <a:pos x="connsiteX1" y="connsiteY1"/>
                  </a:cxn>
                  <a:cxn ang="0">
                    <a:pos x="connsiteX2" y="connsiteY2"/>
                  </a:cxn>
                  <a:cxn ang="0">
                    <a:pos x="connsiteX3" y="connsiteY3"/>
                  </a:cxn>
                </a:cxnLst>
                <a:rect l="l" t="t" r="r" b="b"/>
                <a:pathLst>
                  <a:path w="4485" h="3708">
                    <a:moveTo>
                      <a:pt x="4486" y="3708"/>
                    </a:moveTo>
                    <a:lnTo>
                      <a:pt x="3289" y="3289"/>
                    </a:lnTo>
                    <a:lnTo>
                      <a:pt x="359" y="131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59" name="Vrije vorm: vorm 6458">
                <a:extLst>
                  <a:ext uri="{FF2B5EF4-FFF2-40B4-BE49-F238E27FC236}">
                    <a16:creationId xmlns:a16="http://schemas.microsoft.com/office/drawing/2014/main" id="{0CAE918E-A854-4A4A-8223-5F5762BB7637}"/>
                  </a:ext>
                </a:extLst>
              </p:cNvPr>
              <p:cNvSpPr/>
              <p:nvPr/>
            </p:nvSpPr>
            <p:spPr>
              <a:xfrm>
                <a:off x="6794777" y="1956155"/>
                <a:ext cx="5143" cy="2511"/>
              </a:xfrm>
              <a:custGeom>
                <a:avLst/>
                <a:gdLst>
                  <a:gd name="connsiteX0" fmla="*/ 5144 w 5143"/>
                  <a:gd name="connsiteY0" fmla="*/ 2153 h 2511"/>
                  <a:gd name="connsiteX1" fmla="*/ 4725 w 5143"/>
                  <a:gd name="connsiteY1" fmla="*/ 2512 h 2511"/>
                  <a:gd name="connsiteX2" fmla="*/ 4187 w 5143"/>
                  <a:gd name="connsiteY2" fmla="*/ 2333 h 2511"/>
                  <a:gd name="connsiteX3" fmla="*/ 3409 w 5143"/>
                  <a:gd name="connsiteY3" fmla="*/ 2093 h 2511"/>
                  <a:gd name="connsiteX4" fmla="*/ 3230 w 5143"/>
                  <a:gd name="connsiteY4" fmla="*/ 2034 h 2511"/>
                  <a:gd name="connsiteX5" fmla="*/ 3110 w 5143"/>
                  <a:gd name="connsiteY5" fmla="*/ 1974 h 2511"/>
                  <a:gd name="connsiteX6" fmla="*/ 2811 w 5143"/>
                  <a:gd name="connsiteY6" fmla="*/ 1854 h 2511"/>
                  <a:gd name="connsiteX7" fmla="*/ 1735 w 5143"/>
                  <a:gd name="connsiteY7" fmla="*/ 1136 h 2511"/>
                  <a:gd name="connsiteX8" fmla="*/ 359 w 5143"/>
                  <a:gd name="connsiteY8" fmla="*/ 239 h 2511"/>
                  <a:gd name="connsiteX9" fmla="*/ 0 w 5143"/>
                  <a:gd name="connsiteY9" fmla="*/ 0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3" h="2511">
                    <a:moveTo>
                      <a:pt x="5144" y="2153"/>
                    </a:moveTo>
                    <a:lnTo>
                      <a:pt x="4725" y="2512"/>
                    </a:lnTo>
                    <a:lnTo>
                      <a:pt x="4187" y="2333"/>
                    </a:lnTo>
                    <a:lnTo>
                      <a:pt x="3409" y="2093"/>
                    </a:lnTo>
                    <a:lnTo>
                      <a:pt x="3230" y="2034"/>
                    </a:lnTo>
                    <a:lnTo>
                      <a:pt x="3110" y="1974"/>
                    </a:lnTo>
                    <a:lnTo>
                      <a:pt x="2811" y="1854"/>
                    </a:lnTo>
                    <a:lnTo>
                      <a:pt x="1735" y="1136"/>
                    </a:lnTo>
                    <a:lnTo>
                      <a:pt x="359" y="23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60" name="Vrije vorm: vorm 6459">
                <a:extLst>
                  <a:ext uri="{FF2B5EF4-FFF2-40B4-BE49-F238E27FC236}">
                    <a16:creationId xmlns:a16="http://schemas.microsoft.com/office/drawing/2014/main" id="{DB6F4BF2-F9C9-417F-8D59-6055E306058F}"/>
                  </a:ext>
                </a:extLst>
              </p:cNvPr>
              <p:cNvSpPr/>
              <p:nvPr/>
            </p:nvSpPr>
            <p:spPr>
              <a:xfrm>
                <a:off x="6810806" y="1930557"/>
                <a:ext cx="5860" cy="6877"/>
              </a:xfrm>
              <a:custGeom>
                <a:avLst/>
                <a:gdLst>
                  <a:gd name="connsiteX0" fmla="*/ 3528 w 5860"/>
                  <a:gd name="connsiteY0" fmla="*/ 0 h 6877"/>
                  <a:gd name="connsiteX1" fmla="*/ 4067 w 5860"/>
                  <a:gd name="connsiteY1" fmla="*/ 359 h 6877"/>
                  <a:gd name="connsiteX2" fmla="*/ 4844 w 5860"/>
                  <a:gd name="connsiteY2" fmla="*/ 837 h 6877"/>
                  <a:gd name="connsiteX3" fmla="*/ 5203 w 5860"/>
                  <a:gd name="connsiteY3" fmla="*/ 1435 h 6877"/>
                  <a:gd name="connsiteX4" fmla="*/ 5861 w 5860"/>
                  <a:gd name="connsiteY4" fmla="*/ 2632 h 6877"/>
                  <a:gd name="connsiteX5" fmla="*/ 5382 w 5860"/>
                  <a:gd name="connsiteY5" fmla="*/ 3409 h 6877"/>
                  <a:gd name="connsiteX6" fmla="*/ 5203 w 5860"/>
                  <a:gd name="connsiteY6" fmla="*/ 3708 h 6877"/>
                  <a:gd name="connsiteX7" fmla="*/ 4904 w 5860"/>
                  <a:gd name="connsiteY7" fmla="*/ 4187 h 6877"/>
                  <a:gd name="connsiteX8" fmla="*/ 4007 w 5860"/>
                  <a:gd name="connsiteY8" fmla="*/ 5742 h 6877"/>
                  <a:gd name="connsiteX9" fmla="*/ 3648 w 5860"/>
                  <a:gd name="connsiteY9" fmla="*/ 6340 h 6877"/>
                  <a:gd name="connsiteX10" fmla="*/ 2392 w 5860"/>
                  <a:gd name="connsiteY10" fmla="*/ 6639 h 6877"/>
                  <a:gd name="connsiteX11" fmla="*/ 2392 w 5860"/>
                  <a:gd name="connsiteY11" fmla="*/ 6639 h 6877"/>
                  <a:gd name="connsiteX12" fmla="*/ 1854 w 5860"/>
                  <a:gd name="connsiteY12" fmla="*/ 6758 h 6877"/>
                  <a:gd name="connsiteX13" fmla="*/ 1316 w 5860"/>
                  <a:gd name="connsiteY13" fmla="*/ 6878 h 6877"/>
                  <a:gd name="connsiteX14" fmla="*/ 1256 w 5860"/>
                  <a:gd name="connsiteY14" fmla="*/ 6818 h 6877"/>
                  <a:gd name="connsiteX15" fmla="*/ 658 w 5860"/>
                  <a:gd name="connsiteY15" fmla="*/ 6459 h 6877"/>
                  <a:gd name="connsiteX16" fmla="*/ 0 w 5860"/>
                  <a:gd name="connsiteY16" fmla="*/ 6041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60" h="6877">
                    <a:moveTo>
                      <a:pt x="3528" y="0"/>
                    </a:moveTo>
                    <a:lnTo>
                      <a:pt x="4067" y="359"/>
                    </a:lnTo>
                    <a:lnTo>
                      <a:pt x="4844" y="837"/>
                    </a:lnTo>
                    <a:lnTo>
                      <a:pt x="5203" y="1435"/>
                    </a:lnTo>
                    <a:lnTo>
                      <a:pt x="5861" y="2632"/>
                    </a:lnTo>
                    <a:lnTo>
                      <a:pt x="5382" y="3409"/>
                    </a:lnTo>
                    <a:lnTo>
                      <a:pt x="5203" y="3708"/>
                    </a:lnTo>
                    <a:lnTo>
                      <a:pt x="4904" y="4187"/>
                    </a:lnTo>
                    <a:lnTo>
                      <a:pt x="4007" y="5742"/>
                    </a:lnTo>
                    <a:lnTo>
                      <a:pt x="3648" y="6340"/>
                    </a:lnTo>
                    <a:lnTo>
                      <a:pt x="2392" y="6639"/>
                    </a:lnTo>
                    <a:lnTo>
                      <a:pt x="2392" y="6639"/>
                    </a:lnTo>
                    <a:lnTo>
                      <a:pt x="1854" y="6758"/>
                    </a:lnTo>
                    <a:lnTo>
                      <a:pt x="1316" y="6878"/>
                    </a:lnTo>
                    <a:lnTo>
                      <a:pt x="1256" y="6818"/>
                    </a:lnTo>
                    <a:lnTo>
                      <a:pt x="658" y="6459"/>
                    </a:lnTo>
                    <a:lnTo>
                      <a:pt x="0" y="6041"/>
                    </a:lnTo>
                  </a:path>
                </a:pathLst>
              </a:custGeom>
              <a:noFill/>
              <a:ln w="6350" cap="rnd">
                <a:solidFill>
                  <a:schemeClr val="bg1">
                    <a:alpha val="80000"/>
                  </a:schemeClr>
                </a:solidFill>
                <a:prstDash val="solid"/>
                <a:round/>
              </a:ln>
            </p:spPr>
            <p:txBody>
              <a:bodyPr rtlCol="0" anchor="ctr"/>
              <a:lstStyle/>
              <a:p>
                <a:endParaRPr lang="en-GB"/>
              </a:p>
            </p:txBody>
          </p:sp>
          <p:sp>
            <p:nvSpPr>
              <p:cNvPr id="6461" name="Vrije vorm: vorm 6460">
                <a:extLst>
                  <a:ext uri="{FF2B5EF4-FFF2-40B4-BE49-F238E27FC236}">
                    <a16:creationId xmlns:a16="http://schemas.microsoft.com/office/drawing/2014/main" id="{169684D6-FEBE-4913-AB06-F4C43ECF10B9}"/>
                  </a:ext>
                </a:extLst>
              </p:cNvPr>
              <p:cNvSpPr/>
              <p:nvPr/>
            </p:nvSpPr>
            <p:spPr>
              <a:xfrm>
                <a:off x="6798426" y="1951430"/>
                <a:ext cx="5980" cy="6877"/>
              </a:xfrm>
              <a:custGeom>
                <a:avLst/>
                <a:gdLst>
                  <a:gd name="connsiteX0" fmla="*/ 3469 w 5980"/>
                  <a:gd name="connsiteY0" fmla="*/ 0 h 6877"/>
                  <a:gd name="connsiteX1" fmla="*/ 3588 w 5980"/>
                  <a:gd name="connsiteY1" fmla="*/ 60 h 6877"/>
                  <a:gd name="connsiteX2" fmla="*/ 3827 w 5980"/>
                  <a:gd name="connsiteY2" fmla="*/ 179 h 6877"/>
                  <a:gd name="connsiteX3" fmla="*/ 4605 w 5980"/>
                  <a:gd name="connsiteY3" fmla="*/ 718 h 6877"/>
                  <a:gd name="connsiteX4" fmla="*/ 4904 w 5980"/>
                  <a:gd name="connsiteY4" fmla="*/ 897 h 6877"/>
                  <a:gd name="connsiteX5" fmla="*/ 5981 w 5980"/>
                  <a:gd name="connsiteY5" fmla="*/ 2632 h 6877"/>
                  <a:gd name="connsiteX6" fmla="*/ 5921 w 5980"/>
                  <a:gd name="connsiteY6" fmla="*/ 2751 h 6877"/>
                  <a:gd name="connsiteX7" fmla="*/ 5921 w 5980"/>
                  <a:gd name="connsiteY7" fmla="*/ 2811 h 6877"/>
                  <a:gd name="connsiteX8" fmla="*/ 3827 w 5980"/>
                  <a:gd name="connsiteY8" fmla="*/ 6340 h 6877"/>
                  <a:gd name="connsiteX9" fmla="*/ 2213 w 5980"/>
                  <a:gd name="connsiteY9" fmla="*/ 6698 h 6877"/>
                  <a:gd name="connsiteX10" fmla="*/ 1674 w 5980"/>
                  <a:gd name="connsiteY10" fmla="*/ 6818 h 6877"/>
                  <a:gd name="connsiteX11" fmla="*/ 1435 w 5980"/>
                  <a:gd name="connsiteY11" fmla="*/ 6878 h 6877"/>
                  <a:gd name="connsiteX12" fmla="*/ 957 w 5980"/>
                  <a:gd name="connsiteY12" fmla="*/ 6579 h 6877"/>
                  <a:gd name="connsiteX13" fmla="*/ 299 w 5980"/>
                  <a:gd name="connsiteY13" fmla="*/ 6160 h 6877"/>
                  <a:gd name="connsiteX14" fmla="*/ 119 w 5980"/>
                  <a:gd name="connsiteY14" fmla="*/ 6040 h 6877"/>
                  <a:gd name="connsiteX15" fmla="*/ 0 w 5980"/>
                  <a:gd name="connsiteY15" fmla="*/ 5981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80" h="6877">
                    <a:moveTo>
                      <a:pt x="3469" y="0"/>
                    </a:moveTo>
                    <a:lnTo>
                      <a:pt x="3588" y="60"/>
                    </a:lnTo>
                    <a:lnTo>
                      <a:pt x="3827" y="179"/>
                    </a:lnTo>
                    <a:lnTo>
                      <a:pt x="4605" y="718"/>
                    </a:lnTo>
                    <a:lnTo>
                      <a:pt x="4904" y="897"/>
                    </a:lnTo>
                    <a:lnTo>
                      <a:pt x="5981" y="2632"/>
                    </a:lnTo>
                    <a:lnTo>
                      <a:pt x="5921" y="2751"/>
                    </a:lnTo>
                    <a:lnTo>
                      <a:pt x="5921" y="2811"/>
                    </a:lnTo>
                    <a:lnTo>
                      <a:pt x="3827" y="6340"/>
                    </a:lnTo>
                    <a:lnTo>
                      <a:pt x="2213" y="6698"/>
                    </a:lnTo>
                    <a:lnTo>
                      <a:pt x="1674" y="6818"/>
                    </a:lnTo>
                    <a:lnTo>
                      <a:pt x="1435" y="6878"/>
                    </a:lnTo>
                    <a:lnTo>
                      <a:pt x="957" y="6579"/>
                    </a:lnTo>
                    <a:lnTo>
                      <a:pt x="299" y="6160"/>
                    </a:lnTo>
                    <a:lnTo>
                      <a:pt x="119" y="6040"/>
                    </a:lnTo>
                    <a:lnTo>
                      <a:pt x="0" y="5981"/>
                    </a:lnTo>
                  </a:path>
                </a:pathLst>
              </a:custGeom>
              <a:noFill/>
              <a:ln w="6350" cap="rnd">
                <a:solidFill>
                  <a:schemeClr val="bg1">
                    <a:alpha val="80000"/>
                  </a:schemeClr>
                </a:solidFill>
                <a:prstDash val="solid"/>
                <a:round/>
              </a:ln>
            </p:spPr>
            <p:txBody>
              <a:bodyPr rtlCol="0" anchor="ctr"/>
              <a:lstStyle/>
              <a:p>
                <a:endParaRPr lang="en-GB"/>
              </a:p>
            </p:txBody>
          </p:sp>
          <p:sp>
            <p:nvSpPr>
              <p:cNvPr id="6462" name="Vrije vorm: vorm 6461">
                <a:extLst>
                  <a:ext uri="{FF2B5EF4-FFF2-40B4-BE49-F238E27FC236}">
                    <a16:creationId xmlns:a16="http://schemas.microsoft.com/office/drawing/2014/main" id="{61D5BF55-7F42-4FD3-B1D4-8B2F1C72C387}"/>
                  </a:ext>
                </a:extLst>
              </p:cNvPr>
              <p:cNvSpPr/>
              <p:nvPr/>
            </p:nvSpPr>
            <p:spPr>
              <a:xfrm>
                <a:off x="6787720" y="1975532"/>
                <a:ext cx="24222" cy="16147"/>
              </a:xfrm>
              <a:custGeom>
                <a:avLst/>
                <a:gdLst>
                  <a:gd name="connsiteX0" fmla="*/ 24222 w 24222"/>
                  <a:gd name="connsiteY0" fmla="*/ 16148 h 16147"/>
                  <a:gd name="connsiteX1" fmla="*/ 23863 w 24222"/>
                  <a:gd name="connsiteY1" fmla="*/ 15909 h 16147"/>
                  <a:gd name="connsiteX2" fmla="*/ 23145 w 24222"/>
                  <a:gd name="connsiteY2" fmla="*/ 15430 h 16147"/>
                  <a:gd name="connsiteX3" fmla="*/ 14533 w 24222"/>
                  <a:gd name="connsiteY3" fmla="*/ 9689 h 16147"/>
                  <a:gd name="connsiteX4" fmla="*/ 1675 w 24222"/>
                  <a:gd name="connsiteY4" fmla="*/ 1136 h 16147"/>
                  <a:gd name="connsiteX5" fmla="*/ 419 w 24222"/>
                  <a:gd name="connsiteY5" fmla="*/ 299 h 16147"/>
                  <a:gd name="connsiteX6" fmla="*/ 0 w 24222"/>
                  <a:gd name="connsiteY6" fmla="*/ 0 h 16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22" h="16147">
                    <a:moveTo>
                      <a:pt x="24222" y="16148"/>
                    </a:moveTo>
                    <a:lnTo>
                      <a:pt x="23863" y="15909"/>
                    </a:lnTo>
                    <a:lnTo>
                      <a:pt x="23145" y="15430"/>
                    </a:lnTo>
                    <a:lnTo>
                      <a:pt x="14533" y="9689"/>
                    </a:lnTo>
                    <a:lnTo>
                      <a:pt x="1675" y="1136"/>
                    </a:lnTo>
                    <a:lnTo>
                      <a:pt x="419" y="29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63" name="Vrije vorm: vorm 6462">
                <a:extLst>
                  <a:ext uri="{FF2B5EF4-FFF2-40B4-BE49-F238E27FC236}">
                    <a16:creationId xmlns:a16="http://schemas.microsoft.com/office/drawing/2014/main" id="{B3561C2B-E9E7-4623-9284-30FADA7CFEDC}"/>
                  </a:ext>
                </a:extLst>
              </p:cNvPr>
              <p:cNvSpPr/>
              <p:nvPr/>
            </p:nvSpPr>
            <p:spPr>
              <a:xfrm>
                <a:off x="6774802" y="1958188"/>
                <a:ext cx="23265" cy="27331"/>
              </a:xfrm>
              <a:custGeom>
                <a:avLst/>
                <a:gdLst>
                  <a:gd name="connsiteX0" fmla="*/ 23265 w 23265"/>
                  <a:gd name="connsiteY0" fmla="*/ 0 h 27331"/>
                  <a:gd name="connsiteX1" fmla="*/ 23026 w 23265"/>
                  <a:gd name="connsiteY1" fmla="*/ 419 h 27331"/>
                  <a:gd name="connsiteX2" fmla="*/ 21949 w 23265"/>
                  <a:gd name="connsiteY2" fmla="*/ 2213 h 27331"/>
                  <a:gd name="connsiteX3" fmla="*/ 19138 w 23265"/>
                  <a:gd name="connsiteY3" fmla="*/ 6938 h 27331"/>
                  <a:gd name="connsiteX4" fmla="*/ 18480 w 23265"/>
                  <a:gd name="connsiteY4" fmla="*/ 8014 h 27331"/>
                  <a:gd name="connsiteX5" fmla="*/ 18002 w 23265"/>
                  <a:gd name="connsiteY5" fmla="*/ 8851 h 27331"/>
                  <a:gd name="connsiteX6" fmla="*/ 16686 w 23265"/>
                  <a:gd name="connsiteY6" fmla="*/ 11064 h 27331"/>
                  <a:gd name="connsiteX7" fmla="*/ 16387 w 23265"/>
                  <a:gd name="connsiteY7" fmla="*/ 11543 h 27331"/>
                  <a:gd name="connsiteX8" fmla="*/ 16028 w 23265"/>
                  <a:gd name="connsiteY8" fmla="*/ 12141 h 27331"/>
                  <a:gd name="connsiteX9" fmla="*/ 14952 w 23265"/>
                  <a:gd name="connsiteY9" fmla="*/ 13995 h 27331"/>
                  <a:gd name="connsiteX10" fmla="*/ 14713 w 23265"/>
                  <a:gd name="connsiteY10" fmla="*/ 14413 h 27331"/>
                  <a:gd name="connsiteX11" fmla="*/ 13576 w 23265"/>
                  <a:gd name="connsiteY11" fmla="*/ 16268 h 27331"/>
                  <a:gd name="connsiteX12" fmla="*/ 13397 w 23265"/>
                  <a:gd name="connsiteY12" fmla="*/ 16567 h 27331"/>
                  <a:gd name="connsiteX13" fmla="*/ 12918 w 23265"/>
                  <a:gd name="connsiteY13" fmla="*/ 17404 h 27331"/>
                  <a:gd name="connsiteX14" fmla="*/ 11662 w 23265"/>
                  <a:gd name="connsiteY14" fmla="*/ 19557 h 27331"/>
                  <a:gd name="connsiteX15" fmla="*/ 11543 w 23265"/>
                  <a:gd name="connsiteY15" fmla="*/ 19736 h 27331"/>
                  <a:gd name="connsiteX16" fmla="*/ 8851 w 23265"/>
                  <a:gd name="connsiteY16" fmla="*/ 24282 h 27331"/>
                  <a:gd name="connsiteX17" fmla="*/ 8612 w 23265"/>
                  <a:gd name="connsiteY17" fmla="*/ 24641 h 27331"/>
                  <a:gd name="connsiteX18" fmla="*/ 5083 w 23265"/>
                  <a:gd name="connsiteY18" fmla="*/ 27332 h 27331"/>
                  <a:gd name="connsiteX19" fmla="*/ 5024 w 23265"/>
                  <a:gd name="connsiteY19" fmla="*/ 27332 h 27331"/>
                  <a:gd name="connsiteX20" fmla="*/ 359 w 23265"/>
                  <a:gd name="connsiteY20" fmla="*/ 25956 h 27331"/>
                  <a:gd name="connsiteX21" fmla="*/ 0 w 23265"/>
                  <a:gd name="connsiteY21" fmla="*/ 25717 h 27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265" h="27331">
                    <a:moveTo>
                      <a:pt x="23265" y="0"/>
                    </a:moveTo>
                    <a:lnTo>
                      <a:pt x="23026" y="419"/>
                    </a:lnTo>
                    <a:lnTo>
                      <a:pt x="21949" y="2213"/>
                    </a:lnTo>
                    <a:lnTo>
                      <a:pt x="19138" y="6938"/>
                    </a:lnTo>
                    <a:lnTo>
                      <a:pt x="18480" y="8014"/>
                    </a:lnTo>
                    <a:lnTo>
                      <a:pt x="18002" y="8851"/>
                    </a:lnTo>
                    <a:lnTo>
                      <a:pt x="16686" y="11064"/>
                    </a:lnTo>
                    <a:lnTo>
                      <a:pt x="16387" y="11543"/>
                    </a:lnTo>
                    <a:lnTo>
                      <a:pt x="16028" y="12141"/>
                    </a:lnTo>
                    <a:lnTo>
                      <a:pt x="14952" y="13995"/>
                    </a:lnTo>
                    <a:lnTo>
                      <a:pt x="14713" y="14413"/>
                    </a:lnTo>
                    <a:lnTo>
                      <a:pt x="13576" y="16268"/>
                    </a:lnTo>
                    <a:lnTo>
                      <a:pt x="13397" y="16567"/>
                    </a:lnTo>
                    <a:lnTo>
                      <a:pt x="12918" y="17404"/>
                    </a:lnTo>
                    <a:lnTo>
                      <a:pt x="11662" y="19557"/>
                    </a:lnTo>
                    <a:lnTo>
                      <a:pt x="11543" y="19736"/>
                    </a:lnTo>
                    <a:lnTo>
                      <a:pt x="8851" y="24282"/>
                    </a:lnTo>
                    <a:lnTo>
                      <a:pt x="8612" y="24641"/>
                    </a:lnTo>
                    <a:lnTo>
                      <a:pt x="5083" y="27332"/>
                    </a:lnTo>
                    <a:lnTo>
                      <a:pt x="5024" y="27332"/>
                    </a:lnTo>
                    <a:lnTo>
                      <a:pt x="359" y="25956"/>
                    </a:lnTo>
                    <a:lnTo>
                      <a:pt x="0" y="25717"/>
                    </a:lnTo>
                  </a:path>
                </a:pathLst>
              </a:custGeom>
              <a:noFill/>
              <a:ln w="6350" cap="rnd">
                <a:solidFill>
                  <a:schemeClr val="bg1">
                    <a:alpha val="80000"/>
                  </a:schemeClr>
                </a:solidFill>
                <a:prstDash val="solid"/>
                <a:round/>
              </a:ln>
            </p:spPr>
            <p:txBody>
              <a:bodyPr rtlCol="0" anchor="ctr"/>
              <a:lstStyle/>
              <a:p>
                <a:endParaRPr lang="en-GB"/>
              </a:p>
            </p:txBody>
          </p:sp>
          <p:sp>
            <p:nvSpPr>
              <p:cNvPr id="6464" name="Vrije vorm: vorm 6463">
                <a:extLst>
                  <a:ext uri="{FF2B5EF4-FFF2-40B4-BE49-F238E27FC236}">
                    <a16:creationId xmlns:a16="http://schemas.microsoft.com/office/drawing/2014/main" id="{271E4B76-7502-4BA1-B76D-02B7AED0E1DE}"/>
                  </a:ext>
                </a:extLst>
              </p:cNvPr>
              <p:cNvSpPr/>
              <p:nvPr/>
            </p:nvSpPr>
            <p:spPr>
              <a:xfrm>
                <a:off x="6711646" y="1903883"/>
                <a:ext cx="9628" cy="4246"/>
              </a:xfrm>
              <a:custGeom>
                <a:avLst/>
                <a:gdLst>
                  <a:gd name="connsiteX0" fmla="*/ 0 w 9628"/>
                  <a:gd name="connsiteY0" fmla="*/ 0 h 4246"/>
                  <a:gd name="connsiteX1" fmla="*/ 1136 w 9628"/>
                  <a:gd name="connsiteY1" fmla="*/ 478 h 4246"/>
                  <a:gd name="connsiteX2" fmla="*/ 4785 w 9628"/>
                  <a:gd name="connsiteY2" fmla="*/ 2093 h 4246"/>
                  <a:gd name="connsiteX3" fmla="*/ 5442 w 9628"/>
                  <a:gd name="connsiteY3" fmla="*/ 2392 h 4246"/>
                  <a:gd name="connsiteX4" fmla="*/ 9629 w 9628"/>
                  <a:gd name="connsiteY4" fmla="*/ 4246 h 4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8" h="4246">
                    <a:moveTo>
                      <a:pt x="0" y="0"/>
                    </a:moveTo>
                    <a:lnTo>
                      <a:pt x="1136" y="478"/>
                    </a:lnTo>
                    <a:lnTo>
                      <a:pt x="4785" y="2093"/>
                    </a:lnTo>
                    <a:lnTo>
                      <a:pt x="5442" y="2392"/>
                    </a:lnTo>
                    <a:lnTo>
                      <a:pt x="9629" y="4246"/>
                    </a:lnTo>
                  </a:path>
                </a:pathLst>
              </a:custGeom>
              <a:noFill/>
              <a:ln w="6350" cap="rnd">
                <a:solidFill>
                  <a:schemeClr val="bg1">
                    <a:alpha val="80000"/>
                  </a:schemeClr>
                </a:solidFill>
                <a:prstDash val="solid"/>
                <a:round/>
              </a:ln>
            </p:spPr>
            <p:txBody>
              <a:bodyPr rtlCol="0" anchor="ctr"/>
              <a:lstStyle/>
              <a:p>
                <a:endParaRPr lang="en-GB"/>
              </a:p>
            </p:txBody>
          </p:sp>
          <p:sp>
            <p:nvSpPr>
              <p:cNvPr id="6465" name="Vrije vorm: vorm 6464">
                <a:extLst>
                  <a:ext uri="{FF2B5EF4-FFF2-40B4-BE49-F238E27FC236}">
                    <a16:creationId xmlns:a16="http://schemas.microsoft.com/office/drawing/2014/main" id="{497242C1-7311-47C5-B2E5-E5EA5FB234CB}"/>
                  </a:ext>
                </a:extLst>
              </p:cNvPr>
              <p:cNvSpPr/>
              <p:nvPr/>
            </p:nvSpPr>
            <p:spPr>
              <a:xfrm>
                <a:off x="6689577" y="1906335"/>
                <a:ext cx="27630" cy="22607"/>
              </a:xfrm>
              <a:custGeom>
                <a:avLst/>
                <a:gdLst>
                  <a:gd name="connsiteX0" fmla="*/ 27631 w 27630"/>
                  <a:gd name="connsiteY0" fmla="*/ 22607 h 22607"/>
                  <a:gd name="connsiteX1" fmla="*/ 22248 w 27630"/>
                  <a:gd name="connsiteY1" fmla="*/ 19078 h 22607"/>
                  <a:gd name="connsiteX2" fmla="*/ 22009 w 27630"/>
                  <a:gd name="connsiteY2" fmla="*/ 18899 h 22607"/>
                  <a:gd name="connsiteX3" fmla="*/ 13397 w 27630"/>
                  <a:gd name="connsiteY3" fmla="*/ 12141 h 22607"/>
                  <a:gd name="connsiteX4" fmla="*/ 9150 w 27630"/>
                  <a:gd name="connsiteY4" fmla="*/ 8313 h 22607"/>
                  <a:gd name="connsiteX5" fmla="*/ 5323 w 27630"/>
                  <a:gd name="connsiteY5" fmla="*/ 4844 h 22607"/>
                  <a:gd name="connsiteX6" fmla="*/ 4665 w 27630"/>
                  <a:gd name="connsiteY6" fmla="*/ 4246 h 22607"/>
                  <a:gd name="connsiteX7" fmla="*/ 0 w 27630"/>
                  <a:gd name="connsiteY7" fmla="*/ 0 h 2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30" h="22607">
                    <a:moveTo>
                      <a:pt x="27631" y="22607"/>
                    </a:moveTo>
                    <a:lnTo>
                      <a:pt x="22248" y="19078"/>
                    </a:lnTo>
                    <a:lnTo>
                      <a:pt x="22009" y="18899"/>
                    </a:lnTo>
                    <a:lnTo>
                      <a:pt x="13397" y="12141"/>
                    </a:lnTo>
                    <a:lnTo>
                      <a:pt x="9150" y="8313"/>
                    </a:lnTo>
                    <a:lnTo>
                      <a:pt x="5323" y="4844"/>
                    </a:lnTo>
                    <a:lnTo>
                      <a:pt x="4665" y="424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66" name="Vrije vorm: vorm 6465">
                <a:extLst>
                  <a:ext uri="{FF2B5EF4-FFF2-40B4-BE49-F238E27FC236}">
                    <a16:creationId xmlns:a16="http://schemas.microsoft.com/office/drawing/2014/main" id="{58DE5FCE-2100-447A-97C5-882CF62FA1FD}"/>
                  </a:ext>
                </a:extLst>
              </p:cNvPr>
              <p:cNvSpPr/>
              <p:nvPr/>
            </p:nvSpPr>
            <p:spPr>
              <a:xfrm>
                <a:off x="6821153" y="1971166"/>
                <a:ext cx="3767" cy="2571"/>
              </a:xfrm>
              <a:custGeom>
                <a:avLst/>
                <a:gdLst>
                  <a:gd name="connsiteX0" fmla="*/ 2333 w 3767"/>
                  <a:gd name="connsiteY0" fmla="*/ 2572 h 2571"/>
                  <a:gd name="connsiteX1" fmla="*/ 1316 w 3767"/>
                  <a:gd name="connsiteY1" fmla="*/ 1914 h 2571"/>
                  <a:gd name="connsiteX2" fmla="*/ 0 w 3767"/>
                  <a:gd name="connsiteY2" fmla="*/ 1076 h 2571"/>
                  <a:gd name="connsiteX3" fmla="*/ 179 w 3767"/>
                  <a:gd name="connsiteY3" fmla="*/ 778 h 2571"/>
                  <a:gd name="connsiteX4" fmla="*/ 658 w 3767"/>
                  <a:gd name="connsiteY4" fmla="*/ 0 h 2571"/>
                  <a:gd name="connsiteX5" fmla="*/ 3768 w 3767"/>
                  <a:gd name="connsiteY5" fmla="*/ 837 h 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7" h="2571">
                    <a:moveTo>
                      <a:pt x="2333" y="2572"/>
                    </a:moveTo>
                    <a:lnTo>
                      <a:pt x="1316" y="1914"/>
                    </a:lnTo>
                    <a:lnTo>
                      <a:pt x="0" y="1076"/>
                    </a:lnTo>
                    <a:lnTo>
                      <a:pt x="179" y="778"/>
                    </a:lnTo>
                    <a:lnTo>
                      <a:pt x="658" y="0"/>
                    </a:lnTo>
                    <a:lnTo>
                      <a:pt x="3768" y="837"/>
                    </a:lnTo>
                  </a:path>
                </a:pathLst>
              </a:custGeom>
              <a:noFill/>
              <a:ln w="6350" cap="rnd">
                <a:solidFill>
                  <a:schemeClr val="bg1">
                    <a:alpha val="80000"/>
                  </a:schemeClr>
                </a:solidFill>
                <a:prstDash val="solid"/>
                <a:round/>
              </a:ln>
            </p:spPr>
            <p:txBody>
              <a:bodyPr rtlCol="0" anchor="ctr"/>
              <a:lstStyle/>
              <a:p>
                <a:endParaRPr lang="en-GB"/>
              </a:p>
            </p:txBody>
          </p:sp>
          <p:sp>
            <p:nvSpPr>
              <p:cNvPr id="6467" name="Vrije vorm: vorm 6466">
                <a:extLst>
                  <a:ext uri="{FF2B5EF4-FFF2-40B4-BE49-F238E27FC236}">
                    <a16:creationId xmlns:a16="http://schemas.microsoft.com/office/drawing/2014/main" id="{F31979F4-61B7-4A80-9E2E-2C64A5C82A78}"/>
                  </a:ext>
                </a:extLst>
              </p:cNvPr>
              <p:cNvSpPr/>
              <p:nvPr/>
            </p:nvSpPr>
            <p:spPr>
              <a:xfrm>
                <a:off x="6809370" y="1926610"/>
                <a:ext cx="15191" cy="2810"/>
              </a:xfrm>
              <a:custGeom>
                <a:avLst/>
                <a:gdLst>
                  <a:gd name="connsiteX0" fmla="*/ 0 w 15191"/>
                  <a:gd name="connsiteY0" fmla="*/ 2811 h 2810"/>
                  <a:gd name="connsiteX1" fmla="*/ 1495 w 15191"/>
                  <a:gd name="connsiteY1" fmla="*/ 1675 h 2810"/>
                  <a:gd name="connsiteX2" fmla="*/ 2333 w 15191"/>
                  <a:gd name="connsiteY2" fmla="*/ 1076 h 2810"/>
                  <a:gd name="connsiteX3" fmla="*/ 3050 w 15191"/>
                  <a:gd name="connsiteY3" fmla="*/ 1017 h 2810"/>
                  <a:gd name="connsiteX4" fmla="*/ 3290 w 15191"/>
                  <a:gd name="connsiteY4" fmla="*/ 1017 h 2810"/>
                  <a:gd name="connsiteX5" fmla="*/ 5562 w 15191"/>
                  <a:gd name="connsiteY5" fmla="*/ 837 h 2810"/>
                  <a:gd name="connsiteX6" fmla="*/ 5921 w 15191"/>
                  <a:gd name="connsiteY6" fmla="*/ 777 h 2810"/>
                  <a:gd name="connsiteX7" fmla="*/ 6878 w 15191"/>
                  <a:gd name="connsiteY7" fmla="*/ 718 h 2810"/>
                  <a:gd name="connsiteX8" fmla="*/ 7476 w 15191"/>
                  <a:gd name="connsiteY8" fmla="*/ 658 h 2810"/>
                  <a:gd name="connsiteX9" fmla="*/ 7954 w 15191"/>
                  <a:gd name="connsiteY9" fmla="*/ 598 h 2810"/>
                  <a:gd name="connsiteX10" fmla="*/ 9450 w 15191"/>
                  <a:gd name="connsiteY10" fmla="*/ 478 h 2810"/>
                  <a:gd name="connsiteX11" fmla="*/ 13696 w 15191"/>
                  <a:gd name="connsiteY11" fmla="*/ 120 h 2810"/>
                  <a:gd name="connsiteX12" fmla="*/ 13875 w 15191"/>
                  <a:gd name="connsiteY12" fmla="*/ 120 h 2810"/>
                  <a:gd name="connsiteX13" fmla="*/ 14414 w 15191"/>
                  <a:gd name="connsiteY13" fmla="*/ 60 h 2810"/>
                  <a:gd name="connsiteX14" fmla="*/ 15191 w 15191"/>
                  <a:gd name="connsiteY14" fmla="*/ 0 h 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91" h="2810">
                    <a:moveTo>
                      <a:pt x="0" y="2811"/>
                    </a:moveTo>
                    <a:lnTo>
                      <a:pt x="1495" y="1675"/>
                    </a:lnTo>
                    <a:lnTo>
                      <a:pt x="2333" y="1076"/>
                    </a:lnTo>
                    <a:lnTo>
                      <a:pt x="3050" y="1017"/>
                    </a:lnTo>
                    <a:lnTo>
                      <a:pt x="3290" y="1017"/>
                    </a:lnTo>
                    <a:lnTo>
                      <a:pt x="5562" y="837"/>
                    </a:lnTo>
                    <a:lnTo>
                      <a:pt x="5921" y="777"/>
                    </a:lnTo>
                    <a:lnTo>
                      <a:pt x="6878" y="718"/>
                    </a:lnTo>
                    <a:lnTo>
                      <a:pt x="7476" y="658"/>
                    </a:lnTo>
                    <a:lnTo>
                      <a:pt x="7954" y="598"/>
                    </a:lnTo>
                    <a:lnTo>
                      <a:pt x="9450" y="478"/>
                    </a:lnTo>
                    <a:lnTo>
                      <a:pt x="13696" y="120"/>
                    </a:lnTo>
                    <a:lnTo>
                      <a:pt x="13875" y="120"/>
                    </a:lnTo>
                    <a:lnTo>
                      <a:pt x="14414" y="60"/>
                    </a:lnTo>
                    <a:lnTo>
                      <a:pt x="15191" y="0"/>
                    </a:lnTo>
                  </a:path>
                </a:pathLst>
              </a:custGeom>
              <a:noFill/>
              <a:ln w="6350" cap="rnd">
                <a:solidFill>
                  <a:schemeClr val="bg1">
                    <a:alpha val="80000"/>
                  </a:schemeClr>
                </a:solidFill>
                <a:prstDash val="solid"/>
                <a:round/>
              </a:ln>
            </p:spPr>
            <p:txBody>
              <a:bodyPr rtlCol="0" anchor="ctr"/>
              <a:lstStyle/>
              <a:p>
                <a:endParaRPr lang="en-GB"/>
              </a:p>
            </p:txBody>
          </p:sp>
          <p:sp>
            <p:nvSpPr>
              <p:cNvPr id="6468" name="Vrije vorm: vorm 6467">
                <a:extLst>
                  <a:ext uri="{FF2B5EF4-FFF2-40B4-BE49-F238E27FC236}">
                    <a16:creationId xmlns:a16="http://schemas.microsoft.com/office/drawing/2014/main" id="{FCD5998E-F0BF-4061-85DB-5A90DF8ADC01}"/>
                  </a:ext>
                </a:extLst>
              </p:cNvPr>
              <p:cNvSpPr/>
              <p:nvPr/>
            </p:nvSpPr>
            <p:spPr>
              <a:xfrm>
                <a:off x="6826057" y="1926490"/>
                <a:ext cx="2810" cy="3827"/>
              </a:xfrm>
              <a:custGeom>
                <a:avLst/>
                <a:gdLst>
                  <a:gd name="connsiteX0" fmla="*/ 0 w 2810"/>
                  <a:gd name="connsiteY0" fmla="*/ 0 h 3827"/>
                  <a:gd name="connsiteX1" fmla="*/ 1914 w 2810"/>
                  <a:gd name="connsiteY1" fmla="*/ 1256 h 3827"/>
                  <a:gd name="connsiteX2" fmla="*/ 2811 w 2810"/>
                  <a:gd name="connsiteY2" fmla="*/ 1794 h 3827"/>
                  <a:gd name="connsiteX3" fmla="*/ 2632 w 2810"/>
                  <a:gd name="connsiteY3" fmla="*/ 3828 h 3827"/>
                </a:gdLst>
                <a:ahLst/>
                <a:cxnLst>
                  <a:cxn ang="0">
                    <a:pos x="connsiteX0" y="connsiteY0"/>
                  </a:cxn>
                  <a:cxn ang="0">
                    <a:pos x="connsiteX1" y="connsiteY1"/>
                  </a:cxn>
                  <a:cxn ang="0">
                    <a:pos x="connsiteX2" y="connsiteY2"/>
                  </a:cxn>
                  <a:cxn ang="0">
                    <a:pos x="connsiteX3" y="connsiteY3"/>
                  </a:cxn>
                </a:cxnLst>
                <a:rect l="l" t="t" r="r" b="b"/>
                <a:pathLst>
                  <a:path w="2810" h="3827">
                    <a:moveTo>
                      <a:pt x="0" y="0"/>
                    </a:moveTo>
                    <a:lnTo>
                      <a:pt x="1914" y="1256"/>
                    </a:lnTo>
                    <a:lnTo>
                      <a:pt x="2811" y="1794"/>
                    </a:lnTo>
                    <a:lnTo>
                      <a:pt x="2632" y="3828"/>
                    </a:lnTo>
                  </a:path>
                </a:pathLst>
              </a:custGeom>
              <a:noFill/>
              <a:ln w="6350" cap="rnd">
                <a:solidFill>
                  <a:schemeClr val="bg1">
                    <a:alpha val="80000"/>
                  </a:schemeClr>
                </a:solidFill>
                <a:prstDash val="solid"/>
                <a:round/>
              </a:ln>
            </p:spPr>
            <p:txBody>
              <a:bodyPr rtlCol="0" anchor="ctr"/>
              <a:lstStyle/>
              <a:p>
                <a:endParaRPr lang="en-GB"/>
              </a:p>
            </p:txBody>
          </p:sp>
          <p:sp>
            <p:nvSpPr>
              <p:cNvPr id="6469" name="Vrije vorm: vorm 6468">
                <a:extLst>
                  <a:ext uri="{FF2B5EF4-FFF2-40B4-BE49-F238E27FC236}">
                    <a16:creationId xmlns:a16="http://schemas.microsoft.com/office/drawing/2014/main" id="{BF176936-441E-4C7C-970B-B688D2C97995}"/>
                  </a:ext>
                </a:extLst>
              </p:cNvPr>
              <p:cNvSpPr/>
              <p:nvPr/>
            </p:nvSpPr>
            <p:spPr>
              <a:xfrm>
                <a:off x="6714576" y="1868597"/>
                <a:ext cx="42044" cy="65130"/>
              </a:xfrm>
              <a:custGeom>
                <a:avLst/>
                <a:gdLst>
                  <a:gd name="connsiteX0" fmla="*/ 0 w 42044"/>
                  <a:gd name="connsiteY0" fmla="*/ 65130 h 65130"/>
                  <a:gd name="connsiteX1" fmla="*/ 1974 w 42044"/>
                  <a:gd name="connsiteY1" fmla="*/ 61781 h 65130"/>
                  <a:gd name="connsiteX2" fmla="*/ 2632 w 42044"/>
                  <a:gd name="connsiteY2" fmla="*/ 60346 h 65130"/>
                  <a:gd name="connsiteX3" fmla="*/ 4306 w 42044"/>
                  <a:gd name="connsiteY3" fmla="*/ 56637 h 65130"/>
                  <a:gd name="connsiteX4" fmla="*/ 4366 w 42044"/>
                  <a:gd name="connsiteY4" fmla="*/ 56458 h 65130"/>
                  <a:gd name="connsiteX5" fmla="*/ 4426 w 42044"/>
                  <a:gd name="connsiteY5" fmla="*/ 56219 h 65130"/>
                  <a:gd name="connsiteX6" fmla="*/ 4426 w 42044"/>
                  <a:gd name="connsiteY6" fmla="*/ 56159 h 65130"/>
                  <a:gd name="connsiteX7" fmla="*/ 4605 w 42044"/>
                  <a:gd name="connsiteY7" fmla="*/ 54724 h 65130"/>
                  <a:gd name="connsiteX8" fmla="*/ 4665 w 42044"/>
                  <a:gd name="connsiteY8" fmla="*/ 54425 h 65130"/>
                  <a:gd name="connsiteX9" fmla="*/ 4785 w 42044"/>
                  <a:gd name="connsiteY9" fmla="*/ 53707 h 65130"/>
                  <a:gd name="connsiteX10" fmla="*/ 4844 w 42044"/>
                  <a:gd name="connsiteY10" fmla="*/ 53109 h 65130"/>
                  <a:gd name="connsiteX11" fmla="*/ 5083 w 42044"/>
                  <a:gd name="connsiteY11" fmla="*/ 51135 h 65130"/>
                  <a:gd name="connsiteX12" fmla="*/ 5203 w 42044"/>
                  <a:gd name="connsiteY12" fmla="*/ 50358 h 65130"/>
                  <a:gd name="connsiteX13" fmla="*/ 5263 w 42044"/>
                  <a:gd name="connsiteY13" fmla="*/ 49879 h 65130"/>
                  <a:gd name="connsiteX14" fmla="*/ 5502 w 42044"/>
                  <a:gd name="connsiteY14" fmla="*/ 47965 h 65130"/>
                  <a:gd name="connsiteX15" fmla="*/ 6639 w 42044"/>
                  <a:gd name="connsiteY15" fmla="*/ 39533 h 65130"/>
                  <a:gd name="connsiteX16" fmla="*/ 7416 w 42044"/>
                  <a:gd name="connsiteY16" fmla="*/ 33492 h 65130"/>
                  <a:gd name="connsiteX17" fmla="*/ 7476 w 42044"/>
                  <a:gd name="connsiteY17" fmla="*/ 33253 h 65130"/>
                  <a:gd name="connsiteX18" fmla="*/ 10107 w 42044"/>
                  <a:gd name="connsiteY18" fmla="*/ 26973 h 65130"/>
                  <a:gd name="connsiteX19" fmla="*/ 10825 w 42044"/>
                  <a:gd name="connsiteY19" fmla="*/ 25239 h 65130"/>
                  <a:gd name="connsiteX20" fmla="*/ 11244 w 42044"/>
                  <a:gd name="connsiteY20" fmla="*/ 24282 h 65130"/>
                  <a:gd name="connsiteX21" fmla="*/ 15490 w 42044"/>
                  <a:gd name="connsiteY21" fmla="*/ 18660 h 65130"/>
                  <a:gd name="connsiteX22" fmla="*/ 21291 w 42044"/>
                  <a:gd name="connsiteY22" fmla="*/ 10945 h 65130"/>
                  <a:gd name="connsiteX23" fmla="*/ 25837 w 42044"/>
                  <a:gd name="connsiteY23" fmla="*/ 4904 h 65130"/>
                  <a:gd name="connsiteX24" fmla="*/ 27093 w 42044"/>
                  <a:gd name="connsiteY24" fmla="*/ 3230 h 65130"/>
                  <a:gd name="connsiteX25" fmla="*/ 28408 w 42044"/>
                  <a:gd name="connsiteY25" fmla="*/ 1495 h 65130"/>
                  <a:gd name="connsiteX26" fmla="*/ 30920 w 42044"/>
                  <a:gd name="connsiteY26" fmla="*/ 60 h 65130"/>
                  <a:gd name="connsiteX27" fmla="*/ 31040 w 42044"/>
                  <a:gd name="connsiteY27" fmla="*/ 0 h 65130"/>
                  <a:gd name="connsiteX28" fmla="*/ 35346 w 42044"/>
                  <a:gd name="connsiteY28" fmla="*/ 1794 h 65130"/>
                  <a:gd name="connsiteX29" fmla="*/ 36004 w 42044"/>
                  <a:gd name="connsiteY29" fmla="*/ 2093 h 65130"/>
                  <a:gd name="connsiteX30" fmla="*/ 37798 w 42044"/>
                  <a:gd name="connsiteY30" fmla="*/ 2811 h 65130"/>
                  <a:gd name="connsiteX31" fmla="*/ 37858 w 42044"/>
                  <a:gd name="connsiteY31" fmla="*/ 2811 h 65130"/>
                  <a:gd name="connsiteX32" fmla="*/ 38994 w 42044"/>
                  <a:gd name="connsiteY32" fmla="*/ 3529 h 65130"/>
                  <a:gd name="connsiteX33" fmla="*/ 39473 w 42044"/>
                  <a:gd name="connsiteY33" fmla="*/ 3828 h 65130"/>
                  <a:gd name="connsiteX34" fmla="*/ 40310 w 42044"/>
                  <a:gd name="connsiteY34" fmla="*/ 4366 h 65130"/>
                  <a:gd name="connsiteX35" fmla="*/ 41207 w 42044"/>
                  <a:gd name="connsiteY35" fmla="*/ 4904 h 65130"/>
                  <a:gd name="connsiteX36" fmla="*/ 41386 w 42044"/>
                  <a:gd name="connsiteY36" fmla="*/ 6160 h 65130"/>
                  <a:gd name="connsiteX37" fmla="*/ 42045 w 42044"/>
                  <a:gd name="connsiteY37" fmla="*/ 11782 h 6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044" h="65130">
                    <a:moveTo>
                      <a:pt x="0" y="65130"/>
                    </a:moveTo>
                    <a:lnTo>
                      <a:pt x="1974" y="61781"/>
                    </a:lnTo>
                    <a:lnTo>
                      <a:pt x="2632" y="60346"/>
                    </a:lnTo>
                    <a:lnTo>
                      <a:pt x="4306" y="56637"/>
                    </a:lnTo>
                    <a:lnTo>
                      <a:pt x="4366" y="56458"/>
                    </a:lnTo>
                    <a:lnTo>
                      <a:pt x="4426" y="56219"/>
                    </a:lnTo>
                    <a:lnTo>
                      <a:pt x="4426" y="56159"/>
                    </a:lnTo>
                    <a:lnTo>
                      <a:pt x="4605" y="54724"/>
                    </a:lnTo>
                    <a:lnTo>
                      <a:pt x="4665" y="54425"/>
                    </a:lnTo>
                    <a:lnTo>
                      <a:pt x="4785" y="53707"/>
                    </a:lnTo>
                    <a:lnTo>
                      <a:pt x="4844" y="53109"/>
                    </a:lnTo>
                    <a:lnTo>
                      <a:pt x="5083" y="51135"/>
                    </a:lnTo>
                    <a:lnTo>
                      <a:pt x="5203" y="50358"/>
                    </a:lnTo>
                    <a:lnTo>
                      <a:pt x="5263" y="49879"/>
                    </a:lnTo>
                    <a:lnTo>
                      <a:pt x="5502" y="47965"/>
                    </a:lnTo>
                    <a:lnTo>
                      <a:pt x="6639" y="39533"/>
                    </a:lnTo>
                    <a:lnTo>
                      <a:pt x="7416" y="33492"/>
                    </a:lnTo>
                    <a:lnTo>
                      <a:pt x="7476" y="33253"/>
                    </a:lnTo>
                    <a:lnTo>
                      <a:pt x="10107" y="26973"/>
                    </a:lnTo>
                    <a:lnTo>
                      <a:pt x="10825" y="25239"/>
                    </a:lnTo>
                    <a:lnTo>
                      <a:pt x="11244" y="24282"/>
                    </a:lnTo>
                    <a:lnTo>
                      <a:pt x="15490" y="18660"/>
                    </a:lnTo>
                    <a:lnTo>
                      <a:pt x="21291" y="10945"/>
                    </a:lnTo>
                    <a:lnTo>
                      <a:pt x="25837" y="4904"/>
                    </a:lnTo>
                    <a:lnTo>
                      <a:pt x="27093" y="3230"/>
                    </a:lnTo>
                    <a:lnTo>
                      <a:pt x="28408" y="1495"/>
                    </a:lnTo>
                    <a:lnTo>
                      <a:pt x="30920" y="60"/>
                    </a:lnTo>
                    <a:lnTo>
                      <a:pt x="31040" y="0"/>
                    </a:lnTo>
                    <a:lnTo>
                      <a:pt x="35346" y="1794"/>
                    </a:lnTo>
                    <a:lnTo>
                      <a:pt x="36004" y="2093"/>
                    </a:lnTo>
                    <a:lnTo>
                      <a:pt x="37798" y="2811"/>
                    </a:lnTo>
                    <a:lnTo>
                      <a:pt x="37858" y="2811"/>
                    </a:lnTo>
                    <a:lnTo>
                      <a:pt x="38994" y="3529"/>
                    </a:lnTo>
                    <a:lnTo>
                      <a:pt x="39473" y="3828"/>
                    </a:lnTo>
                    <a:lnTo>
                      <a:pt x="40310" y="4366"/>
                    </a:lnTo>
                    <a:lnTo>
                      <a:pt x="41207" y="4904"/>
                    </a:lnTo>
                    <a:lnTo>
                      <a:pt x="41386" y="6160"/>
                    </a:lnTo>
                    <a:lnTo>
                      <a:pt x="42045" y="11782"/>
                    </a:lnTo>
                  </a:path>
                </a:pathLst>
              </a:custGeom>
              <a:noFill/>
              <a:ln w="6350" cap="rnd">
                <a:solidFill>
                  <a:schemeClr val="bg1">
                    <a:alpha val="80000"/>
                  </a:schemeClr>
                </a:solidFill>
                <a:prstDash val="solid"/>
                <a:round/>
              </a:ln>
            </p:spPr>
            <p:txBody>
              <a:bodyPr rtlCol="0" anchor="ctr"/>
              <a:lstStyle/>
              <a:p>
                <a:endParaRPr lang="en-GB"/>
              </a:p>
            </p:txBody>
          </p:sp>
          <p:sp>
            <p:nvSpPr>
              <p:cNvPr id="6470" name="Vrije vorm: vorm 6469">
                <a:extLst>
                  <a:ext uri="{FF2B5EF4-FFF2-40B4-BE49-F238E27FC236}">
                    <a16:creationId xmlns:a16="http://schemas.microsoft.com/office/drawing/2014/main" id="{E13254BB-0DD0-4611-898D-41F90953E41A}"/>
                  </a:ext>
                </a:extLst>
              </p:cNvPr>
              <p:cNvSpPr/>
              <p:nvPr/>
            </p:nvSpPr>
            <p:spPr>
              <a:xfrm>
                <a:off x="6754766" y="1919254"/>
                <a:ext cx="13995" cy="10585"/>
              </a:xfrm>
              <a:custGeom>
                <a:avLst/>
                <a:gdLst>
                  <a:gd name="connsiteX0" fmla="*/ 9450 w 13995"/>
                  <a:gd name="connsiteY0" fmla="*/ 10586 h 10585"/>
                  <a:gd name="connsiteX1" fmla="*/ 9091 w 13995"/>
                  <a:gd name="connsiteY1" fmla="*/ 10466 h 10585"/>
                  <a:gd name="connsiteX2" fmla="*/ 8493 w 13995"/>
                  <a:gd name="connsiteY2" fmla="*/ 10227 h 10585"/>
                  <a:gd name="connsiteX3" fmla="*/ 7775 w 13995"/>
                  <a:gd name="connsiteY3" fmla="*/ 9988 h 10585"/>
                  <a:gd name="connsiteX4" fmla="*/ 7357 w 13995"/>
                  <a:gd name="connsiteY4" fmla="*/ 9868 h 10585"/>
                  <a:gd name="connsiteX5" fmla="*/ 4426 w 13995"/>
                  <a:gd name="connsiteY5" fmla="*/ 8792 h 10585"/>
                  <a:gd name="connsiteX6" fmla="*/ 3469 w 13995"/>
                  <a:gd name="connsiteY6" fmla="*/ 8433 h 10585"/>
                  <a:gd name="connsiteX7" fmla="*/ 3409 w 13995"/>
                  <a:gd name="connsiteY7" fmla="*/ 8373 h 10585"/>
                  <a:gd name="connsiteX8" fmla="*/ 2333 w 13995"/>
                  <a:gd name="connsiteY8" fmla="*/ 8014 h 10585"/>
                  <a:gd name="connsiteX9" fmla="*/ 2034 w 13995"/>
                  <a:gd name="connsiteY9" fmla="*/ 7895 h 10585"/>
                  <a:gd name="connsiteX10" fmla="*/ 1735 w 13995"/>
                  <a:gd name="connsiteY10" fmla="*/ 7775 h 10585"/>
                  <a:gd name="connsiteX11" fmla="*/ 1555 w 13995"/>
                  <a:gd name="connsiteY11" fmla="*/ 7715 h 10585"/>
                  <a:gd name="connsiteX12" fmla="*/ 419 w 13995"/>
                  <a:gd name="connsiteY12" fmla="*/ 5742 h 10585"/>
                  <a:gd name="connsiteX13" fmla="*/ 0 w 13995"/>
                  <a:gd name="connsiteY13" fmla="*/ 5084 h 10585"/>
                  <a:gd name="connsiteX14" fmla="*/ 479 w 13995"/>
                  <a:gd name="connsiteY14" fmla="*/ 1854 h 10585"/>
                  <a:gd name="connsiteX15" fmla="*/ 2990 w 13995"/>
                  <a:gd name="connsiteY15" fmla="*/ 0 h 10585"/>
                  <a:gd name="connsiteX16" fmla="*/ 3230 w 13995"/>
                  <a:gd name="connsiteY16" fmla="*/ 0 h 10585"/>
                  <a:gd name="connsiteX17" fmla="*/ 3649 w 13995"/>
                  <a:gd name="connsiteY17" fmla="*/ 60 h 10585"/>
                  <a:gd name="connsiteX18" fmla="*/ 4845 w 13995"/>
                  <a:gd name="connsiteY18" fmla="*/ 179 h 10585"/>
                  <a:gd name="connsiteX19" fmla="*/ 5921 w 13995"/>
                  <a:gd name="connsiteY19" fmla="*/ 299 h 10585"/>
                  <a:gd name="connsiteX20" fmla="*/ 7357 w 13995"/>
                  <a:gd name="connsiteY20" fmla="*/ 837 h 10585"/>
                  <a:gd name="connsiteX21" fmla="*/ 7895 w 13995"/>
                  <a:gd name="connsiteY21" fmla="*/ 1017 h 10585"/>
                  <a:gd name="connsiteX22" fmla="*/ 10466 w 13995"/>
                  <a:gd name="connsiteY22" fmla="*/ 1974 h 10585"/>
                  <a:gd name="connsiteX23" fmla="*/ 11364 w 13995"/>
                  <a:gd name="connsiteY23" fmla="*/ 2273 h 10585"/>
                  <a:gd name="connsiteX24" fmla="*/ 13995 w 13995"/>
                  <a:gd name="connsiteY24" fmla="*/ 3230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995" h="10585">
                    <a:moveTo>
                      <a:pt x="9450" y="10586"/>
                    </a:moveTo>
                    <a:lnTo>
                      <a:pt x="9091" y="10466"/>
                    </a:lnTo>
                    <a:lnTo>
                      <a:pt x="8493" y="10227"/>
                    </a:lnTo>
                    <a:lnTo>
                      <a:pt x="7775" y="9988"/>
                    </a:lnTo>
                    <a:lnTo>
                      <a:pt x="7357" y="9868"/>
                    </a:lnTo>
                    <a:lnTo>
                      <a:pt x="4426" y="8792"/>
                    </a:lnTo>
                    <a:lnTo>
                      <a:pt x="3469" y="8433"/>
                    </a:lnTo>
                    <a:lnTo>
                      <a:pt x="3409" y="8373"/>
                    </a:lnTo>
                    <a:lnTo>
                      <a:pt x="2333" y="8014"/>
                    </a:lnTo>
                    <a:lnTo>
                      <a:pt x="2034" y="7895"/>
                    </a:lnTo>
                    <a:lnTo>
                      <a:pt x="1735" y="7775"/>
                    </a:lnTo>
                    <a:lnTo>
                      <a:pt x="1555" y="7715"/>
                    </a:lnTo>
                    <a:lnTo>
                      <a:pt x="419" y="5742"/>
                    </a:lnTo>
                    <a:lnTo>
                      <a:pt x="0" y="5084"/>
                    </a:lnTo>
                    <a:lnTo>
                      <a:pt x="479" y="1854"/>
                    </a:lnTo>
                    <a:lnTo>
                      <a:pt x="2990" y="0"/>
                    </a:lnTo>
                    <a:lnTo>
                      <a:pt x="3230" y="0"/>
                    </a:lnTo>
                    <a:lnTo>
                      <a:pt x="3649" y="60"/>
                    </a:lnTo>
                    <a:lnTo>
                      <a:pt x="4845" y="179"/>
                    </a:lnTo>
                    <a:lnTo>
                      <a:pt x="5921" y="299"/>
                    </a:lnTo>
                    <a:lnTo>
                      <a:pt x="7357" y="837"/>
                    </a:lnTo>
                    <a:lnTo>
                      <a:pt x="7895" y="1017"/>
                    </a:lnTo>
                    <a:lnTo>
                      <a:pt x="10466" y="1974"/>
                    </a:lnTo>
                    <a:lnTo>
                      <a:pt x="11364" y="2273"/>
                    </a:lnTo>
                    <a:lnTo>
                      <a:pt x="13995" y="3230"/>
                    </a:lnTo>
                  </a:path>
                </a:pathLst>
              </a:custGeom>
              <a:noFill/>
              <a:ln w="6350" cap="rnd">
                <a:solidFill>
                  <a:schemeClr val="bg1">
                    <a:alpha val="80000"/>
                  </a:schemeClr>
                </a:solidFill>
                <a:prstDash val="solid"/>
                <a:round/>
              </a:ln>
            </p:spPr>
            <p:txBody>
              <a:bodyPr rtlCol="0" anchor="ctr"/>
              <a:lstStyle/>
              <a:p>
                <a:endParaRPr lang="en-GB"/>
              </a:p>
            </p:txBody>
          </p:sp>
          <p:sp>
            <p:nvSpPr>
              <p:cNvPr id="6471" name="Vrije vorm: vorm 6470">
                <a:extLst>
                  <a:ext uri="{FF2B5EF4-FFF2-40B4-BE49-F238E27FC236}">
                    <a16:creationId xmlns:a16="http://schemas.microsoft.com/office/drawing/2014/main" id="{6FEC63EC-9BCC-4DFA-8F08-25A858BF85D2}"/>
                  </a:ext>
                </a:extLst>
              </p:cNvPr>
              <p:cNvSpPr/>
              <p:nvPr/>
            </p:nvSpPr>
            <p:spPr>
              <a:xfrm>
                <a:off x="6780962" y="1922603"/>
                <a:ext cx="5083" cy="3947"/>
              </a:xfrm>
              <a:custGeom>
                <a:avLst/>
                <a:gdLst>
                  <a:gd name="connsiteX0" fmla="*/ 5084 w 5083"/>
                  <a:gd name="connsiteY0" fmla="*/ 2751 h 3947"/>
                  <a:gd name="connsiteX1" fmla="*/ 4366 w 5083"/>
                  <a:gd name="connsiteY1" fmla="*/ 3947 h 3947"/>
                  <a:gd name="connsiteX2" fmla="*/ 2273 w 5083"/>
                  <a:gd name="connsiteY2" fmla="*/ 2871 h 3947"/>
                  <a:gd name="connsiteX3" fmla="*/ 2034 w 5083"/>
                  <a:gd name="connsiteY3" fmla="*/ 2751 h 3947"/>
                  <a:gd name="connsiteX4" fmla="*/ 1615 w 5083"/>
                  <a:gd name="connsiteY4" fmla="*/ 2452 h 3947"/>
                  <a:gd name="connsiteX5" fmla="*/ 897 w 5083"/>
                  <a:gd name="connsiteY5" fmla="*/ 1974 h 3947"/>
                  <a:gd name="connsiteX6" fmla="*/ 60 w 5083"/>
                  <a:gd name="connsiteY6" fmla="*/ 1435 h 3947"/>
                  <a:gd name="connsiteX7" fmla="*/ 0 w 5083"/>
                  <a:gd name="connsiteY7" fmla="*/ 1136 h 3947"/>
                  <a:gd name="connsiteX8" fmla="*/ 180 w 5083"/>
                  <a:gd name="connsiteY8" fmla="*/ 837 h 3947"/>
                  <a:gd name="connsiteX9" fmla="*/ 658 w 5083"/>
                  <a:gd name="connsiteY9" fmla="*/ 0 h 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83" h="3947">
                    <a:moveTo>
                      <a:pt x="5084" y="2751"/>
                    </a:moveTo>
                    <a:lnTo>
                      <a:pt x="4366" y="3947"/>
                    </a:lnTo>
                    <a:lnTo>
                      <a:pt x="2273" y="2871"/>
                    </a:lnTo>
                    <a:lnTo>
                      <a:pt x="2034" y="2751"/>
                    </a:lnTo>
                    <a:lnTo>
                      <a:pt x="1615" y="2452"/>
                    </a:lnTo>
                    <a:lnTo>
                      <a:pt x="897" y="1974"/>
                    </a:lnTo>
                    <a:lnTo>
                      <a:pt x="60" y="1435"/>
                    </a:lnTo>
                    <a:lnTo>
                      <a:pt x="0" y="1136"/>
                    </a:lnTo>
                    <a:lnTo>
                      <a:pt x="180" y="837"/>
                    </a:lnTo>
                    <a:lnTo>
                      <a:pt x="658" y="0"/>
                    </a:lnTo>
                  </a:path>
                </a:pathLst>
              </a:custGeom>
              <a:noFill/>
              <a:ln w="6350" cap="rnd">
                <a:solidFill>
                  <a:schemeClr val="bg1">
                    <a:alpha val="80000"/>
                  </a:schemeClr>
                </a:solidFill>
                <a:prstDash val="solid"/>
                <a:round/>
              </a:ln>
            </p:spPr>
            <p:txBody>
              <a:bodyPr rtlCol="0" anchor="ctr"/>
              <a:lstStyle/>
              <a:p>
                <a:endParaRPr lang="en-GB"/>
              </a:p>
            </p:txBody>
          </p:sp>
          <p:sp>
            <p:nvSpPr>
              <p:cNvPr id="6472" name="Vrije vorm: vorm 6471">
                <a:extLst>
                  <a:ext uri="{FF2B5EF4-FFF2-40B4-BE49-F238E27FC236}">
                    <a16:creationId xmlns:a16="http://schemas.microsoft.com/office/drawing/2014/main" id="{531BBA29-9D3D-4F9E-896B-10739A2D2C7F}"/>
                  </a:ext>
                </a:extLst>
              </p:cNvPr>
              <p:cNvSpPr/>
              <p:nvPr/>
            </p:nvSpPr>
            <p:spPr>
              <a:xfrm>
                <a:off x="6784431" y="1883010"/>
                <a:ext cx="2272" cy="2332"/>
              </a:xfrm>
              <a:custGeom>
                <a:avLst/>
                <a:gdLst>
                  <a:gd name="connsiteX0" fmla="*/ 0 w 2272"/>
                  <a:gd name="connsiteY0" fmla="*/ 0 h 2332"/>
                  <a:gd name="connsiteX1" fmla="*/ 1734 w 2272"/>
                  <a:gd name="connsiteY1" fmla="*/ 1136 h 2332"/>
                  <a:gd name="connsiteX2" fmla="*/ 2273 w 2272"/>
                  <a:gd name="connsiteY2" fmla="*/ 1495 h 2332"/>
                  <a:gd name="connsiteX3" fmla="*/ 2273 w 2272"/>
                  <a:gd name="connsiteY3" fmla="*/ 1495 h 2332"/>
                  <a:gd name="connsiteX4" fmla="*/ 2213 w 2272"/>
                  <a:gd name="connsiteY4" fmla="*/ 1615 h 2332"/>
                  <a:gd name="connsiteX5" fmla="*/ 2034 w 2272"/>
                  <a:gd name="connsiteY5" fmla="*/ 2332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2" h="2332">
                    <a:moveTo>
                      <a:pt x="0" y="0"/>
                    </a:moveTo>
                    <a:lnTo>
                      <a:pt x="1734" y="1136"/>
                    </a:lnTo>
                    <a:lnTo>
                      <a:pt x="2273" y="1495"/>
                    </a:lnTo>
                    <a:lnTo>
                      <a:pt x="2273" y="1495"/>
                    </a:lnTo>
                    <a:lnTo>
                      <a:pt x="2213" y="1615"/>
                    </a:lnTo>
                    <a:lnTo>
                      <a:pt x="2034" y="2332"/>
                    </a:lnTo>
                  </a:path>
                </a:pathLst>
              </a:custGeom>
              <a:noFill/>
              <a:ln w="6350" cap="rnd">
                <a:solidFill>
                  <a:schemeClr val="bg1">
                    <a:alpha val="80000"/>
                  </a:schemeClr>
                </a:solidFill>
                <a:prstDash val="solid"/>
                <a:round/>
              </a:ln>
            </p:spPr>
            <p:txBody>
              <a:bodyPr rtlCol="0" anchor="ctr"/>
              <a:lstStyle/>
              <a:p>
                <a:endParaRPr lang="en-GB"/>
              </a:p>
            </p:txBody>
          </p:sp>
          <p:sp>
            <p:nvSpPr>
              <p:cNvPr id="6473" name="Vrije vorm: vorm 6472">
                <a:extLst>
                  <a:ext uri="{FF2B5EF4-FFF2-40B4-BE49-F238E27FC236}">
                    <a16:creationId xmlns:a16="http://schemas.microsoft.com/office/drawing/2014/main" id="{BA99452A-CD12-4B2B-8FF8-A95A88C006EC}"/>
                  </a:ext>
                </a:extLst>
              </p:cNvPr>
              <p:cNvSpPr/>
              <p:nvPr/>
            </p:nvSpPr>
            <p:spPr>
              <a:xfrm>
                <a:off x="6946209" y="1721112"/>
                <a:ext cx="10885" cy="10944"/>
              </a:xfrm>
              <a:custGeom>
                <a:avLst/>
                <a:gdLst>
                  <a:gd name="connsiteX0" fmla="*/ 4665 w 10885"/>
                  <a:gd name="connsiteY0" fmla="*/ 10885 h 10944"/>
                  <a:gd name="connsiteX1" fmla="*/ 3409 w 10885"/>
                  <a:gd name="connsiteY1" fmla="*/ 10167 h 10944"/>
                  <a:gd name="connsiteX2" fmla="*/ 2093 w 10885"/>
                  <a:gd name="connsiteY2" fmla="*/ 9450 h 10944"/>
                  <a:gd name="connsiteX3" fmla="*/ 1137 w 10885"/>
                  <a:gd name="connsiteY3" fmla="*/ 8792 h 10944"/>
                  <a:gd name="connsiteX4" fmla="*/ 1077 w 10885"/>
                  <a:gd name="connsiteY4" fmla="*/ 8732 h 10944"/>
                  <a:gd name="connsiteX5" fmla="*/ 479 w 10885"/>
                  <a:gd name="connsiteY5" fmla="*/ 7237 h 10944"/>
                  <a:gd name="connsiteX6" fmla="*/ 419 w 10885"/>
                  <a:gd name="connsiteY6" fmla="*/ 6997 h 10944"/>
                  <a:gd name="connsiteX7" fmla="*/ 60 w 10885"/>
                  <a:gd name="connsiteY7" fmla="*/ 6040 h 10944"/>
                  <a:gd name="connsiteX8" fmla="*/ 0 w 10885"/>
                  <a:gd name="connsiteY8" fmla="*/ 5861 h 10944"/>
                  <a:gd name="connsiteX9" fmla="*/ 0 w 10885"/>
                  <a:gd name="connsiteY9" fmla="*/ 5741 h 10944"/>
                  <a:gd name="connsiteX10" fmla="*/ 120 w 10885"/>
                  <a:gd name="connsiteY10" fmla="*/ 5263 h 10944"/>
                  <a:gd name="connsiteX11" fmla="*/ 120 w 10885"/>
                  <a:gd name="connsiteY11" fmla="*/ 5263 h 10944"/>
                  <a:gd name="connsiteX12" fmla="*/ 180 w 10885"/>
                  <a:gd name="connsiteY12" fmla="*/ 5024 h 10944"/>
                  <a:gd name="connsiteX13" fmla="*/ 180 w 10885"/>
                  <a:gd name="connsiteY13" fmla="*/ 4904 h 10944"/>
                  <a:gd name="connsiteX14" fmla="*/ 239 w 10885"/>
                  <a:gd name="connsiteY14" fmla="*/ 4725 h 10944"/>
                  <a:gd name="connsiteX15" fmla="*/ 299 w 10885"/>
                  <a:gd name="connsiteY15" fmla="*/ 4366 h 10944"/>
                  <a:gd name="connsiteX16" fmla="*/ 359 w 10885"/>
                  <a:gd name="connsiteY16" fmla="*/ 4007 h 10944"/>
                  <a:gd name="connsiteX17" fmla="*/ 538 w 10885"/>
                  <a:gd name="connsiteY17" fmla="*/ 3170 h 10944"/>
                  <a:gd name="connsiteX18" fmla="*/ 538 w 10885"/>
                  <a:gd name="connsiteY18" fmla="*/ 3170 h 10944"/>
                  <a:gd name="connsiteX19" fmla="*/ 598 w 10885"/>
                  <a:gd name="connsiteY19" fmla="*/ 2811 h 10944"/>
                  <a:gd name="connsiteX20" fmla="*/ 598 w 10885"/>
                  <a:gd name="connsiteY20" fmla="*/ 2751 h 10944"/>
                  <a:gd name="connsiteX21" fmla="*/ 1316 w 10885"/>
                  <a:gd name="connsiteY21" fmla="*/ 2093 h 10944"/>
                  <a:gd name="connsiteX22" fmla="*/ 1316 w 10885"/>
                  <a:gd name="connsiteY22" fmla="*/ 2093 h 10944"/>
                  <a:gd name="connsiteX23" fmla="*/ 1615 w 10885"/>
                  <a:gd name="connsiteY23" fmla="*/ 1794 h 10944"/>
                  <a:gd name="connsiteX24" fmla="*/ 1675 w 10885"/>
                  <a:gd name="connsiteY24" fmla="*/ 1734 h 10944"/>
                  <a:gd name="connsiteX25" fmla="*/ 1735 w 10885"/>
                  <a:gd name="connsiteY25" fmla="*/ 1675 h 10944"/>
                  <a:gd name="connsiteX26" fmla="*/ 2930 w 10885"/>
                  <a:gd name="connsiteY26" fmla="*/ 538 h 10944"/>
                  <a:gd name="connsiteX27" fmla="*/ 6041 w 10885"/>
                  <a:gd name="connsiteY27" fmla="*/ 0 h 10944"/>
                  <a:gd name="connsiteX28" fmla="*/ 8672 w 10885"/>
                  <a:gd name="connsiteY28" fmla="*/ 1435 h 10944"/>
                  <a:gd name="connsiteX29" fmla="*/ 8911 w 10885"/>
                  <a:gd name="connsiteY29" fmla="*/ 1555 h 10944"/>
                  <a:gd name="connsiteX30" fmla="*/ 9390 w 10885"/>
                  <a:gd name="connsiteY30" fmla="*/ 1854 h 10944"/>
                  <a:gd name="connsiteX31" fmla="*/ 9689 w 10885"/>
                  <a:gd name="connsiteY31" fmla="*/ 2033 h 10944"/>
                  <a:gd name="connsiteX32" fmla="*/ 9689 w 10885"/>
                  <a:gd name="connsiteY32" fmla="*/ 2093 h 10944"/>
                  <a:gd name="connsiteX33" fmla="*/ 9988 w 10885"/>
                  <a:gd name="connsiteY33" fmla="*/ 2751 h 10944"/>
                  <a:gd name="connsiteX34" fmla="*/ 10885 w 10885"/>
                  <a:gd name="connsiteY34" fmla="*/ 4904 h 10944"/>
                  <a:gd name="connsiteX35" fmla="*/ 10586 w 10885"/>
                  <a:gd name="connsiteY35" fmla="*/ 6160 h 10944"/>
                  <a:gd name="connsiteX36" fmla="*/ 10466 w 10885"/>
                  <a:gd name="connsiteY36" fmla="*/ 6579 h 10944"/>
                  <a:gd name="connsiteX37" fmla="*/ 10466 w 10885"/>
                  <a:gd name="connsiteY37" fmla="*/ 6639 h 10944"/>
                  <a:gd name="connsiteX38" fmla="*/ 10347 w 10885"/>
                  <a:gd name="connsiteY38" fmla="*/ 7237 h 10944"/>
                  <a:gd name="connsiteX39" fmla="*/ 10287 w 10885"/>
                  <a:gd name="connsiteY39" fmla="*/ 7536 h 10944"/>
                  <a:gd name="connsiteX40" fmla="*/ 10168 w 10885"/>
                  <a:gd name="connsiteY40" fmla="*/ 8134 h 10944"/>
                  <a:gd name="connsiteX41" fmla="*/ 9211 w 10885"/>
                  <a:gd name="connsiteY41" fmla="*/ 9091 h 10944"/>
                  <a:gd name="connsiteX42" fmla="*/ 9091 w 10885"/>
                  <a:gd name="connsiteY42" fmla="*/ 9210 h 10944"/>
                  <a:gd name="connsiteX43" fmla="*/ 8613 w 10885"/>
                  <a:gd name="connsiteY43" fmla="*/ 9689 h 10944"/>
                  <a:gd name="connsiteX44" fmla="*/ 8613 w 10885"/>
                  <a:gd name="connsiteY44" fmla="*/ 9689 h 10944"/>
                  <a:gd name="connsiteX45" fmla="*/ 8553 w 10885"/>
                  <a:gd name="connsiteY45" fmla="*/ 9749 h 10944"/>
                  <a:gd name="connsiteX46" fmla="*/ 8553 w 10885"/>
                  <a:gd name="connsiteY46" fmla="*/ 9749 h 10944"/>
                  <a:gd name="connsiteX47" fmla="*/ 7955 w 10885"/>
                  <a:gd name="connsiteY47" fmla="*/ 10287 h 10944"/>
                  <a:gd name="connsiteX48" fmla="*/ 7835 w 10885"/>
                  <a:gd name="connsiteY48" fmla="*/ 10406 h 10944"/>
                  <a:gd name="connsiteX49" fmla="*/ 7656 w 10885"/>
                  <a:gd name="connsiteY49" fmla="*/ 10466 h 10944"/>
                  <a:gd name="connsiteX50" fmla="*/ 7058 w 10885"/>
                  <a:gd name="connsiteY50" fmla="*/ 10586 h 10944"/>
                  <a:gd name="connsiteX51" fmla="*/ 6938 w 10885"/>
                  <a:gd name="connsiteY51" fmla="*/ 10586 h 10944"/>
                  <a:gd name="connsiteX52" fmla="*/ 6639 w 10885"/>
                  <a:gd name="connsiteY52" fmla="*/ 10646 h 10944"/>
                  <a:gd name="connsiteX53" fmla="*/ 4964 w 10885"/>
                  <a:gd name="connsiteY53" fmla="*/ 10945 h 10944"/>
                  <a:gd name="connsiteX54" fmla="*/ 4845 w 10885"/>
                  <a:gd name="connsiteY54" fmla="*/ 10945 h 10944"/>
                  <a:gd name="connsiteX55" fmla="*/ 4665 w 10885"/>
                  <a:gd name="connsiteY55" fmla="*/ 10885 h 1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885" h="10944">
                    <a:moveTo>
                      <a:pt x="4665" y="10885"/>
                    </a:moveTo>
                    <a:lnTo>
                      <a:pt x="3409" y="10167"/>
                    </a:lnTo>
                    <a:lnTo>
                      <a:pt x="2093" y="9450"/>
                    </a:lnTo>
                    <a:lnTo>
                      <a:pt x="1137" y="8792"/>
                    </a:lnTo>
                    <a:lnTo>
                      <a:pt x="1077" y="8732"/>
                    </a:lnTo>
                    <a:lnTo>
                      <a:pt x="479" y="7237"/>
                    </a:lnTo>
                    <a:lnTo>
                      <a:pt x="419" y="6997"/>
                    </a:lnTo>
                    <a:lnTo>
                      <a:pt x="60" y="6040"/>
                    </a:lnTo>
                    <a:lnTo>
                      <a:pt x="0" y="5861"/>
                    </a:lnTo>
                    <a:lnTo>
                      <a:pt x="0" y="5741"/>
                    </a:lnTo>
                    <a:lnTo>
                      <a:pt x="120" y="5263"/>
                    </a:lnTo>
                    <a:lnTo>
                      <a:pt x="120" y="5263"/>
                    </a:lnTo>
                    <a:lnTo>
                      <a:pt x="180" y="5024"/>
                    </a:lnTo>
                    <a:lnTo>
                      <a:pt x="180" y="4904"/>
                    </a:lnTo>
                    <a:lnTo>
                      <a:pt x="239" y="4725"/>
                    </a:lnTo>
                    <a:lnTo>
                      <a:pt x="299" y="4366"/>
                    </a:lnTo>
                    <a:lnTo>
                      <a:pt x="359" y="4007"/>
                    </a:lnTo>
                    <a:lnTo>
                      <a:pt x="538" y="3170"/>
                    </a:lnTo>
                    <a:lnTo>
                      <a:pt x="538" y="3170"/>
                    </a:lnTo>
                    <a:lnTo>
                      <a:pt x="598" y="2811"/>
                    </a:lnTo>
                    <a:lnTo>
                      <a:pt x="598" y="2751"/>
                    </a:lnTo>
                    <a:lnTo>
                      <a:pt x="1316" y="2093"/>
                    </a:lnTo>
                    <a:lnTo>
                      <a:pt x="1316" y="2093"/>
                    </a:lnTo>
                    <a:lnTo>
                      <a:pt x="1615" y="1794"/>
                    </a:lnTo>
                    <a:lnTo>
                      <a:pt x="1675" y="1734"/>
                    </a:lnTo>
                    <a:lnTo>
                      <a:pt x="1735" y="1675"/>
                    </a:lnTo>
                    <a:lnTo>
                      <a:pt x="2930" y="538"/>
                    </a:lnTo>
                    <a:lnTo>
                      <a:pt x="6041" y="0"/>
                    </a:lnTo>
                    <a:lnTo>
                      <a:pt x="8672" y="1435"/>
                    </a:lnTo>
                    <a:lnTo>
                      <a:pt x="8911" y="1555"/>
                    </a:lnTo>
                    <a:lnTo>
                      <a:pt x="9390" y="1854"/>
                    </a:lnTo>
                    <a:lnTo>
                      <a:pt x="9689" y="2033"/>
                    </a:lnTo>
                    <a:lnTo>
                      <a:pt x="9689" y="2093"/>
                    </a:lnTo>
                    <a:lnTo>
                      <a:pt x="9988" y="2751"/>
                    </a:lnTo>
                    <a:lnTo>
                      <a:pt x="10885" y="4904"/>
                    </a:lnTo>
                    <a:lnTo>
                      <a:pt x="10586" y="6160"/>
                    </a:lnTo>
                    <a:lnTo>
                      <a:pt x="10466" y="6579"/>
                    </a:lnTo>
                    <a:lnTo>
                      <a:pt x="10466" y="6639"/>
                    </a:lnTo>
                    <a:lnTo>
                      <a:pt x="10347" y="7237"/>
                    </a:lnTo>
                    <a:lnTo>
                      <a:pt x="10287" y="7536"/>
                    </a:lnTo>
                    <a:lnTo>
                      <a:pt x="10168" y="8134"/>
                    </a:lnTo>
                    <a:lnTo>
                      <a:pt x="9211" y="9091"/>
                    </a:lnTo>
                    <a:lnTo>
                      <a:pt x="9091" y="9210"/>
                    </a:lnTo>
                    <a:lnTo>
                      <a:pt x="8613" y="9689"/>
                    </a:lnTo>
                    <a:lnTo>
                      <a:pt x="8613" y="9689"/>
                    </a:lnTo>
                    <a:lnTo>
                      <a:pt x="8553" y="9749"/>
                    </a:lnTo>
                    <a:lnTo>
                      <a:pt x="8553" y="9749"/>
                    </a:lnTo>
                    <a:lnTo>
                      <a:pt x="7955" y="10287"/>
                    </a:lnTo>
                    <a:lnTo>
                      <a:pt x="7835" y="10406"/>
                    </a:lnTo>
                    <a:lnTo>
                      <a:pt x="7656" y="10466"/>
                    </a:lnTo>
                    <a:lnTo>
                      <a:pt x="7058" y="10586"/>
                    </a:lnTo>
                    <a:lnTo>
                      <a:pt x="6938" y="10586"/>
                    </a:lnTo>
                    <a:lnTo>
                      <a:pt x="6639" y="10646"/>
                    </a:lnTo>
                    <a:lnTo>
                      <a:pt x="4964" y="10945"/>
                    </a:lnTo>
                    <a:lnTo>
                      <a:pt x="4845" y="10945"/>
                    </a:lnTo>
                    <a:lnTo>
                      <a:pt x="4665" y="10885"/>
                    </a:lnTo>
                  </a:path>
                </a:pathLst>
              </a:custGeom>
              <a:noFill/>
              <a:ln w="6350" cap="rnd">
                <a:solidFill>
                  <a:schemeClr val="bg1">
                    <a:alpha val="80000"/>
                  </a:schemeClr>
                </a:solidFill>
                <a:prstDash val="solid"/>
                <a:round/>
              </a:ln>
            </p:spPr>
            <p:txBody>
              <a:bodyPr rtlCol="0" anchor="ctr"/>
              <a:lstStyle/>
              <a:p>
                <a:endParaRPr lang="en-GB"/>
              </a:p>
            </p:txBody>
          </p:sp>
          <p:sp>
            <p:nvSpPr>
              <p:cNvPr id="6474" name="Vrije vorm: vorm 6473">
                <a:extLst>
                  <a:ext uri="{FF2B5EF4-FFF2-40B4-BE49-F238E27FC236}">
                    <a16:creationId xmlns:a16="http://schemas.microsoft.com/office/drawing/2014/main" id="{6F569BF0-2C65-450B-981A-65B1E6693E78}"/>
                  </a:ext>
                </a:extLst>
              </p:cNvPr>
              <p:cNvSpPr/>
              <p:nvPr/>
            </p:nvSpPr>
            <p:spPr>
              <a:xfrm>
                <a:off x="6689038" y="1898142"/>
                <a:ext cx="30920" cy="20155"/>
              </a:xfrm>
              <a:custGeom>
                <a:avLst/>
                <a:gdLst>
                  <a:gd name="connsiteX0" fmla="*/ 0 w 30920"/>
                  <a:gd name="connsiteY0" fmla="*/ 0 h 20155"/>
                  <a:gd name="connsiteX1" fmla="*/ 2333 w 30920"/>
                  <a:gd name="connsiteY1" fmla="*/ 1555 h 20155"/>
                  <a:gd name="connsiteX2" fmla="*/ 2572 w 30920"/>
                  <a:gd name="connsiteY2" fmla="*/ 1734 h 20155"/>
                  <a:gd name="connsiteX3" fmla="*/ 3050 w 30920"/>
                  <a:gd name="connsiteY3" fmla="*/ 2034 h 20155"/>
                  <a:gd name="connsiteX4" fmla="*/ 3947 w 30920"/>
                  <a:gd name="connsiteY4" fmla="*/ 2632 h 20155"/>
                  <a:gd name="connsiteX5" fmla="*/ 4665 w 30920"/>
                  <a:gd name="connsiteY5" fmla="*/ 3110 h 20155"/>
                  <a:gd name="connsiteX6" fmla="*/ 6519 w 30920"/>
                  <a:gd name="connsiteY6" fmla="*/ 4306 h 20155"/>
                  <a:gd name="connsiteX7" fmla="*/ 7656 w 30920"/>
                  <a:gd name="connsiteY7" fmla="*/ 5084 h 20155"/>
                  <a:gd name="connsiteX8" fmla="*/ 9330 w 30920"/>
                  <a:gd name="connsiteY8" fmla="*/ 6160 h 20155"/>
                  <a:gd name="connsiteX9" fmla="*/ 15430 w 30920"/>
                  <a:gd name="connsiteY9" fmla="*/ 10167 h 20155"/>
                  <a:gd name="connsiteX10" fmla="*/ 16567 w 30920"/>
                  <a:gd name="connsiteY10" fmla="*/ 10885 h 20155"/>
                  <a:gd name="connsiteX11" fmla="*/ 17165 w 30920"/>
                  <a:gd name="connsiteY11" fmla="*/ 11244 h 20155"/>
                  <a:gd name="connsiteX12" fmla="*/ 18780 w 30920"/>
                  <a:gd name="connsiteY12" fmla="*/ 12260 h 20155"/>
                  <a:gd name="connsiteX13" fmla="*/ 19796 w 30920"/>
                  <a:gd name="connsiteY13" fmla="*/ 12918 h 20155"/>
                  <a:gd name="connsiteX14" fmla="*/ 22189 w 30920"/>
                  <a:gd name="connsiteY14" fmla="*/ 14473 h 20155"/>
                  <a:gd name="connsiteX15" fmla="*/ 29665 w 30920"/>
                  <a:gd name="connsiteY15" fmla="*/ 19378 h 20155"/>
                  <a:gd name="connsiteX16" fmla="*/ 30083 w 30920"/>
                  <a:gd name="connsiteY16" fmla="*/ 19617 h 20155"/>
                  <a:gd name="connsiteX17" fmla="*/ 30921 w 30920"/>
                  <a:gd name="connsiteY17" fmla="*/ 20155 h 2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920" h="20155">
                    <a:moveTo>
                      <a:pt x="0" y="0"/>
                    </a:moveTo>
                    <a:lnTo>
                      <a:pt x="2333" y="1555"/>
                    </a:lnTo>
                    <a:lnTo>
                      <a:pt x="2572" y="1734"/>
                    </a:lnTo>
                    <a:lnTo>
                      <a:pt x="3050" y="2034"/>
                    </a:lnTo>
                    <a:lnTo>
                      <a:pt x="3947" y="2632"/>
                    </a:lnTo>
                    <a:lnTo>
                      <a:pt x="4665" y="3110"/>
                    </a:lnTo>
                    <a:lnTo>
                      <a:pt x="6519" y="4306"/>
                    </a:lnTo>
                    <a:lnTo>
                      <a:pt x="7656" y="5084"/>
                    </a:lnTo>
                    <a:lnTo>
                      <a:pt x="9330" y="6160"/>
                    </a:lnTo>
                    <a:lnTo>
                      <a:pt x="15430" y="10167"/>
                    </a:lnTo>
                    <a:lnTo>
                      <a:pt x="16567" y="10885"/>
                    </a:lnTo>
                    <a:lnTo>
                      <a:pt x="17165" y="11244"/>
                    </a:lnTo>
                    <a:lnTo>
                      <a:pt x="18780" y="12260"/>
                    </a:lnTo>
                    <a:lnTo>
                      <a:pt x="19796" y="12918"/>
                    </a:lnTo>
                    <a:lnTo>
                      <a:pt x="22189" y="14473"/>
                    </a:lnTo>
                    <a:lnTo>
                      <a:pt x="29665" y="19378"/>
                    </a:lnTo>
                    <a:lnTo>
                      <a:pt x="30083" y="19617"/>
                    </a:lnTo>
                    <a:lnTo>
                      <a:pt x="30921" y="20155"/>
                    </a:lnTo>
                  </a:path>
                </a:pathLst>
              </a:custGeom>
              <a:noFill/>
              <a:ln w="6350" cap="rnd">
                <a:solidFill>
                  <a:schemeClr val="bg1">
                    <a:alpha val="80000"/>
                  </a:schemeClr>
                </a:solidFill>
                <a:prstDash val="solid"/>
                <a:round/>
              </a:ln>
            </p:spPr>
            <p:txBody>
              <a:bodyPr rtlCol="0" anchor="ctr"/>
              <a:lstStyle/>
              <a:p>
                <a:endParaRPr lang="en-GB"/>
              </a:p>
            </p:txBody>
          </p:sp>
          <p:sp>
            <p:nvSpPr>
              <p:cNvPr id="6475" name="Vrije vorm: vorm 6474">
                <a:extLst>
                  <a:ext uri="{FF2B5EF4-FFF2-40B4-BE49-F238E27FC236}">
                    <a16:creationId xmlns:a16="http://schemas.microsoft.com/office/drawing/2014/main" id="{0F1094B1-BDBC-43DC-A8B0-BB3ADBDC6F57}"/>
                  </a:ext>
                </a:extLst>
              </p:cNvPr>
              <p:cNvSpPr/>
              <p:nvPr/>
            </p:nvSpPr>
            <p:spPr>
              <a:xfrm>
                <a:off x="7082331" y="1877209"/>
                <a:ext cx="359" cy="478"/>
              </a:xfrm>
              <a:custGeom>
                <a:avLst/>
                <a:gdLst>
                  <a:gd name="connsiteX0" fmla="*/ 359 w 359"/>
                  <a:gd name="connsiteY0" fmla="*/ 0 h 478"/>
                  <a:gd name="connsiteX1" fmla="*/ 0 w 359"/>
                  <a:gd name="connsiteY1" fmla="*/ 478 h 478"/>
                </a:gdLst>
                <a:ahLst/>
                <a:cxnLst>
                  <a:cxn ang="0">
                    <a:pos x="connsiteX0" y="connsiteY0"/>
                  </a:cxn>
                  <a:cxn ang="0">
                    <a:pos x="connsiteX1" y="connsiteY1"/>
                  </a:cxn>
                </a:cxnLst>
                <a:rect l="l" t="t" r="r" b="b"/>
                <a:pathLst>
                  <a:path w="359" h="478">
                    <a:moveTo>
                      <a:pt x="359" y="0"/>
                    </a:moveTo>
                    <a:lnTo>
                      <a:pt x="0" y="478"/>
                    </a:lnTo>
                  </a:path>
                </a:pathLst>
              </a:custGeom>
              <a:noFill/>
              <a:ln w="6350" cap="rnd">
                <a:solidFill>
                  <a:schemeClr val="bg1">
                    <a:alpha val="80000"/>
                  </a:schemeClr>
                </a:solidFill>
                <a:prstDash val="solid"/>
                <a:round/>
              </a:ln>
            </p:spPr>
            <p:txBody>
              <a:bodyPr rtlCol="0" anchor="ctr"/>
              <a:lstStyle/>
              <a:p>
                <a:endParaRPr lang="en-GB"/>
              </a:p>
            </p:txBody>
          </p:sp>
          <p:sp>
            <p:nvSpPr>
              <p:cNvPr id="6476" name="Vrije vorm: vorm 6475">
                <a:extLst>
                  <a:ext uri="{FF2B5EF4-FFF2-40B4-BE49-F238E27FC236}">
                    <a16:creationId xmlns:a16="http://schemas.microsoft.com/office/drawing/2014/main" id="{F4AAFD67-5203-4C4C-A37C-4B517964D34D}"/>
                  </a:ext>
                </a:extLst>
              </p:cNvPr>
              <p:cNvSpPr/>
              <p:nvPr/>
            </p:nvSpPr>
            <p:spPr>
              <a:xfrm>
                <a:off x="6835326" y="1883848"/>
                <a:ext cx="7775" cy="33492"/>
              </a:xfrm>
              <a:custGeom>
                <a:avLst/>
                <a:gdLst>
                  <a:gd name="connsiteX0" fmla="*/ 7775 w 7775"/>
                  <a:gd name="connsiteY0" fmla="*/ 0 h 33492"/>
                  <a:gd name="connsiteX1" fmla="*/ 7596 w 7775"/>
                  <a:gd name="connsiteY1" fmla="*/ 778 h 33492"/>
                  <a:gd name="connsiteX2" fmla="*/ 7536 w 7775"/>
                  <a:gd name="connsiteY2" fmla="*/ 957 h 33492"/>
                  <a:gd name="connsiteX3" fmla="*/ 7417 w 7775"/>
                  <a:gd name="connsiteY3" fmla="*/ 1316 h 33492"/>
                  <a:gd name="connsiteX4" fmla="*/ 6998 w 7775"/>
                  <a:gd name="connsiteY4" fmla="*/ 2990 h 33492"/>
                  <a:gd name="connsiteX5" fmla="*/ 6400 w 7775"/>
                  <a:gd name="connsiteY5" fmla="*/ 5442 h 33492"/>
                  <a:gd name="connsiteX6" fmla="*/ 6340 w 7775"/>
                  <a:gd name="connsiteY6" fmla="*/ 5801 h 33492"/>
                  <a:gd name="connsiteX7" fmla="*/ 6280 w 7775"/>
                  <a:gd name="connsiteY7" fmla="*/ 5981 h 33492"/>
                  <a:gd name="connsiteX8" fmla="*/ 6160 w 7775"/>
                  <a:gd name="connsiteY8" fmla="*/ 6519 h 33492"/>
                  <a:gd name="connsiteX9" fmla="*/ 5323 w 7775"/>
                  <a:gd name="connsiteY9" fmla="*/ 9808 h 33492"/>
                  <a:gd name="connsiteX10" fmla="*/ 5204 w 7775"/>
                  <a:gd name="connsiteY10" fmla="*/ 10167 h 33492"/>
                  <a:gd name="connsiteX11" fmla="*/ 5084 w 7775"/>
                  <a:gd name="connsiteY11" fmla="*/ 10526 h 33492"/>
                  <a:gd name="connsiteX12" fmla="*/ 5024 w 7775"/>
                  <a:gd name="connsiteY12" fmla="*/ 10706 h 33492"/>
                  <a:gd name="connsiteX13" fmla="*/ 4964 w 7775"/>
                  <a:gd name="connsiteY13" fmla="*/ 10945 h 33492"/>
                  <a:gd name="connsiteX14" fmla="*/ 4964 w 7775"/>
                  <a:gd name="connsiteY14" fmla="*/ 10945 h 33492"/>
                  <a:gd name="connsiteX15" fmla="*/ 4665 w 7775"/>
                  <a:gd name="connsiteY15" fmla="*/ 12021 h 33492"/>
                  <a:gd name="connsiteX16" fmla="*/ 4367 w 7775"/>
                  <a:gd name="connsiteY16" fmla="*/ 13158 h 33492"/>
                  <a:gd name="connsiteX17" fmla="*/ 3947 w 7775"/>
                  <a:gd name="connsiteY17" fmla="*/ 15071 h 33492"/>
                  <a:gd name="connsiteX18" fmla="*/ 2512 w 7775"/>
                  <a:gd name="connsiteY18" fmla="*/ 22129 h 33492"/>
                  <a:gd name="connsiteX19" fmla="*/ 2333 w 7775"/>
                  <a:gd name="connsiteY19" fmla="*/ 22906 h 33492"/>
                  <a:gd name="connsiteX20" fmla="*/ 2273 w 7775"/>
                  <a:gd name="connsiteY20" fmla="*/ 23205 h 33492"/>
                  <a:gd name="connsiteX21" fmla="*/ 2273 w 7775"/>
                  <a:gd name="connsiteY21" fmla="*/ 23265 h 33492"/>
                  <a:gd name="connsiteX22" fmla="*/ 1495 w 7775"/>
                  <a:gd name="connsiteY22" fmla="*/ 27033 h 33492"/>
                  <a:gd name="connsiteX23" fmla="*/ 239 w 7775"/>
                  <a:gd name="connsiteY23" fmla="*/ 33073 h 33492"/>
                  <a:gd name="connsiteX24" fmla="*/ 0 w 7775"/>
                  <a:gd name="connsiteY24" fmla="*/ 33492 h 3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75" h="33492">
                    <a:moveTo>
                      <a:pt x="7775" y="0"/>
                    </a:moveTo>
                    <a:lnTo>
                      <a:pt x="7596" y="778"/>
                    </a:lnTo>
                    <a:lnTo>
                      <a:pt x="7536" y="957"/>
                    </a:lnTo>
                    <a:lnTo>
                      <a:pt x="7417" y="1316"/>
                    </a:lnTo>
                    <a:lnTo>
                      <a:pt x="6998" y="2990"/>
                    </a:lnTo>
                    <a:lnTo>
                      <a:pt x="6400" y="5442"/>
                    </a:lnTo>
                    <a:lnTo>
                      <a:pt x="6340" y="5801"/>
                    </a:lnTo>
                    <a:lnTo>
                      <a:pt x="6280" y="5981"/>
                    </a:lnTo>
                    <a:lnTo>
                      <a:pt x="6160" y="6519"/>
                    </a:lnTo>
                    <a:lnTo>
                      <a:pt x="5323" y="9808"/>
                    </a:lnTo>
                    <a:lnTo>
                      <a:pt x="5204" y="10167"/>
                    </a:lnTo>
                    <a:lnTo>
                      <a:pt x="5084" y="10526"/>
                    </a:lnTo>
                    <a:lnTo>
                      <a:pt x="5024" y="10706"/>
                    </a:lnTo>
                    <a:lnTo>
                      <a:pt x="4964" y="10945"/>
                    </a:lnTo>
                    <a:lnTo>
                      <a:pt x="4964" y="10945"/>
                    </a:lnTo>
                    <a:lnTo>
                      <a:pt x="4665" y="12021"/>
                    </a:lnTo>
                    <a:lnTo>
                      <a:pt x="4367" y="13158"/>
                    </a:lnTo>
                    <a:lnTo>
                      <a:pt x="3947" y="15071"/>
                    </a:lnTo>
                    <a:lnTo>
                      <a:pt x="2512" y="22129"/>
                    </a:lnTo>
                    <a:lnTo>
                      <a:pt x="2333" y="22906"/>
                    </a:lnTo>
                    <a:lnTo>
                      <a:pt x="2273" y="23205"/>
                    </a:lnTo>
                    <a:lnTo>
                      <a:pt x="2273" y="23265"/>
                    </a:lnTo>
                    <a:lnTo>
                      <a:pt x="1495" y="27033"/>
                    </a:lnTo>
                    <a:lnTo>
                      <a:pt x="239" y="33073"/>
                    </a:lnTo>
                    <a:lnTo>
                      <a:pt x="0" y="33492"/>
                    </a:lnTo>
                  </a:path>
                </a:pathLst>
              </a:custGeom>
              <a:noFill/>
              <a:ln w="6350" cap="rnd">
                <a:solidFill>
                  <a:schemeClr val="bg1">
                    <a:alpha val="80000"/>
                  </a:schemeClr>
                </a:solidFill>
                <a:prstDash val="solid"/>
                <a:round/>
              </a:ln>
            </p:spPr>
            <p:txBody>
              <a:bodyPr rtlCol="0" anchor="ctr"/>
              <a:lstStyle/>
              <a:p>
                <a:endParaRPr lang="en-GB"/>
              </a:p>
            </p:txBody>
          </p:sp>
          <p:sp>
            <p:nvSpPr>
              <p:cNvPr id="6477" name="Vrije vorm: vorm 6476">
                <a:extLst>
                  <a:ext uri="{FF2B5EF4-FFF2-40B4-BE49-F238E27FC236}">
                    <a16:creationId xmlns:a16="http://schemas.microsoft.com/office/drawing/2014/main" id="{49AB98FA-4764-4294-91D2-A1C86333409B}"/>
                  </a:ext>
                </a:extLst>
              </p:cNvPr>
              <p:cNvSpPr/>
              <p:nvPr/>
            </p:nvSpPr>
            <p:spPr>
              <a:xfrm>
                <a:off x="6687244" y="1781159"/>
                <a:ext cx="81457" cy="54843"/>
              </a:xfrm>
              <a:custGeom>
                <a:avLst/>
                <a:gdLst>
                  <a:gd name="connsiteX0" fmla="*/ 16268 w 81457"/>
                  <a:gd name="connsiteY0" fmla="*/ 10048 h 54843"/>
                  <a:gd name="connsiteX1" fmla="*/ 6280 w 81457"/>
                  <a:gd name="connsiteY1" fmla="*/ 4844 h 54843"/>
                  <a:gd name="connsiteX2" fmla="*/ 0 w 81457"/>
                  <a:gd name="connsiteY2" fmla="*/ 1435 h 54843"/>
                  <a:gd name="connsiteX3" fmla="*/ 239 w 81457"/>
                  <a:gd name="connsiteY3" fmla="*/ 179 h 54843"/>
                  <a:gd name="connsiteX4" fmla="*/ 1794 w 81457"/>
                  <a:gd name="connsiteY4" fmla="*/ 0 h 54843"/>
                  <a:gd name="connsiteX5" fmla="*/ 14174 w 81457"/>
                  <a:gd name="connsiteY5" fmla="*/ 2811 h 54843"/>
                  <a:gd name="connsiteX6" fmla="*/ 24641 w 81457"/>
                  <a:gd name="connsiteY6" fmla="*/ 7177 h 54843"/>
                  <a:gd name="connsiteX7" fmla="*/ 44855 w 81457"/>
                  <a:gd name="connsiteY7" fmla="*/ 19437 h 54843"/>
                  <a:gd name="connsiteX8" fmla="*/ 63874 w 81457"/>
                  <a:gd name="connsiteY8" fmla="*/ 30980 h 54843"/>
                  <a:gd name="connsiteX9" fmla="*/ 72606 w 81457"/>
                  <a:gd name="connsiteY9" fmla="*/ 37140 h 54843"/>
                  <a:gd name="connsiteX10" fmla="*/ 78108 w 81457"/>
                  <a:gd name="connsiteY10" fmla="*/ 46470 h 54843"/>
                  <a:gd name="connsiteX11" fmla="*/ 81099 w 81457"/>
                  <a:gd name="connsiteY11" fmla="*/ 53109 h 54843"/>
                  <a:gd name="connsiteX12" fmla="*/ 81457 w 81457"/>
                  <a:gd name="connsiteY12" fmla="*/ 54843 h 54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457" h="54843">
                    <a:moveTo>
                      <a:pt x="16268" y="10048"/>
                    </a:moveTo>
                    <a:lnTo>
                      <a:pt x="6280" y="4844"/>
                    </a:lnTo>
                    <a:lnTo>
                      <a:pt x="0" y="1435"/>
                    </a:lnTo>
                    <a:lnTo>
                      <a:pt x="239" y="179"/>
                    </a:lnTo>
                    <a:lnTo>
                      <a:pt x="1794" y="0"/>
                    </a:lnTo>
                    <a:lnTo>
                      <a:pt x="14174" y="2811"/>
                    </a:lnTo>
                    <a:lnTo>
                      <a:pt x="24641" y="7177"/>
                    </a:lnTo>
                    <a:lnTo>
                      <a:pt x="44855" y="19437"/>
                    </a:lnTo>
                    <a:lnTo>
                      <a:pt x="63874" y="30980"/>
                    </a:lnTo>
                    <a:lnTo>
                      <a:pt x="72606" y="37140"/>
                    </a:lnTo>
                    <a:lnTo>
                      <a:pt x="78108" y="46470"/>
                    </a:lnTo>
                    <a:lnTo>
                      <a:pt x="81099" y="53109"/>
                    </a:lnTo>
                    <a:lnTo>
                      <a:pt x="81457" y="54843"/>
                    </a:lnTo>
                  </a:path>
                </a:pathLst>
              </a:custGeom>
              <a:noFill/>
              <a:ln w="6350" cap="rnd">
                <a:solidFill>
                  <a:schemeClr val="bg1">
                    <a:alpha val="80000"/>
                  </a:schemeClr>
                </a:solidFill>
                <a:prstDash val="solid"/>
                <a:round/>
              </a:ln>
            </p:spPr>
            <p:txBody>
              <a:bodyPr rtlCol="0" anchor="ctr"/>
              <a:lstStyle/>
              <a:p>
                <a:endParaRPr lang="en-GB"/>
              </a:p>
            </p:txBody>
          </p:sp>
          <p:sp>
            <p:nvSpPr>
              <p:cNvPr id="6478" name="Vrije vorm: vorm 6477">
                <a:extLst>
                  <a:ext uri="{FF2B5EF4-FFF2-40B4-BE49-F238E27FC236}">
                    <a16:creationId xmlns:a16="http://schemas.microsoft.com/office/drawing/2014/main" id="{B2E9A22D-D470-47C6-9147-F1176D2E66E6}"/>
                  </a:ext>
                </a:extLst>
              </p:cNvPr>
              <p:cNvSpPr/>
              <p:nvPr/>
            </p:nvSpPr>
            <p:spPr>
              <a:xfrm>
                <a:off x="6987476" y="1954002"/>
                <a:ext cx="18061" cy="22427"/>
              </a:xfrm>
              <a:custGeom>
                <a:avLst/>
                <a:gdLst>
                  <a:gd name="connsiteX0" fmla="*/ 18062 w 18061"/>
                  <a:gd name="connsiteY0" fmla="*/ 0 h 22427"/>
                  <a:gd name="connsiteX1" fmla="*/ 17464 w 18061"/>
                  <a:gd name="connsiteY1" fmla="*/ 718 h 22427"/>
                  <a:gd name="connsiteX2" fmla="*/ 14354 w 18061"/>
                  <a:gd name="connsiteY2" fmla="*/ 4366 h 22427"/>
                  <a:gd name="connsiteX3" fmla="*/ 12141 w 18061"/>
                  <a:gd name="connsiteY3" fmla="*/ 6997 h 22427"/>
                  <a:gd name="connsiteX4" fmla="*/ 11662 w 18061"/>
                  <a:gd name="connsiteY4" fmla="*/ 7595 h 22427"/>
                  <a:gd name="connsiteX5" fmla="*/ 11483 w 18061"/>
                  <a:gd name="connsiteY5" fmla="*/ 7835 h 22427"/>
                  <a:gd name="connsiteX6" fmla="*/ 11304 w 18061"/>
                  <a:gd name="connsiteY6" fmla="*/ 8074 h 22427"/>
                  <a:gd name="connsiteX7" fmla="*/ 9569 w 18061"/>
                  <a:gd name="connsiteY7" fmla="*/ 10227 h 22427"/>
                  <a:gd name="connsiteX8" fmla="*/ 8672 w 18061"/>
                  <a:gd name="connsiteY8" fmla="*/ 11304 h 22427"/>
                  <a:gd name="connsiteX9" fmla="*/ 7715 w 18061"/>
                  <a:gd name="connsiteY9" fmla="*/ 12500 h 22427"/>
                  <a:gd name="connsiteX10" fmla="*/ 7058 w 18061"/>
                  <a:gd name="connsiteY10" fmla="*/ 13277 h 22427"/>
                  <a:gd name="connsiteX11" fmla="*/ 5741 w 18061"/>
                  <a:gd name="connsiteY11" fmla="*/ 14892 h 22427"/>
                  <a:gd name="connsiteX12" fmla="*/ 4067 w 18061"/>
                  <a:gd name="connsiteY12" fmla="*/ 16985 h 22427"/>
                  <a:gd name="connsiteX13" fmla="*/ 4007 w 18061"/>
                  <a:gd name="connsiteY13" fmla="*/ 17045 h 22427"/>
                  <a:gd name="connsiteX14" fmla="*/ 3828 w 18061"/>
                  <a:gd name="connsiteY14" fmla="*/ 17284 h 22427"/>
                  <a:gd name="connsiteX15" fmla="*/ 3110 w 18061"/>
                  <a:gd name="connsiteY15" fmla="*/ 18181 h 22427"/>
                  <a:gd name="connsiteX16" fmla="*/ 3110 w 18061"/>
                  <a:gd name="connsiteY16" fmla="*/ 18181 h 22427"/>
                  <a:gd name="connsiteX17" fmla="*/ 2871 w 18061"/>
                  <a:gd name="connsiteY17" fmla="*/ 18480 h 22427"/>
                  <a:gd name="connsiteX18" fmla="*/ 2811 w 18061"/>
                  <a:gd name="connsiteY18" fmla="*/ 18540 h 22427"/>
                  <a:gd name="connsiteX19" fmla="*/ 2392 w 18061"/>
                  <a:gd name="connsiteY19" fmla="*/ 19078 h 22427"/>
                  <a:gd name="connsiteX20" fmla="*/ 2213 w 18061"/>
                  <a:gd name="connsiteY20" fmla="*/ 19318 h 22427"/>
                  <a:gd name="connsiteX21" fmla="*/ 1316 w 18061"/>
                  <a:gd name="connsiteY21" fmla="*/ 20394 h 22427"/>
                  <a:gd name="connsiteX22" fmla="*/ 0 w 18061"/>
                  <a:gd name="connsiteY22" fmla="*/ 22428 h 22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061" h="22427">
                    <a:moveTo>
                      <a:pt x="18062" y="0"/>
                    </a:moveTo>
                    <a:lnTo>
                      <a:pt x="17464" y="718"/>
                    </a:lnTo>
                    <a:lnTo>
                      <a:pt x="14354" y="4366"/>
                    </a:lnTo>
                    <a:lnTo>
                      <a:pt x="12141" y="6997"/>
                    </a:lnTo>
                    <a:lnTo>
                      <a:pt x="11662" y="7595"/>
                    </a:lnTo>
                    <a:lnTo>
                      <a:pt x="11483" y="7835"/>
                    </a:lnTo>
                    <a:lnTo>
                      <a:pt x="11304" y="8074"/>
                    </a:lnTo>
                    <a:lnTo>
                      <a:pt x="9569" y="10227"/>
                    </a:lnTo>
                    <a:lnTo>
                      <a:pt x="8672" y="11304"/>
                    </a:lnTo>
                    <a:lnTo>
                      <a:pt x="7715" y="12500"/>
                    </a:lnTo>
                    <a:lnTo>
                      <a:pt x="7058" y="13277"/>
                    </a:lnTo>
                    <a:lnTo>
                      <a:pt x="5741" y="14892"/>
                    </a:lnTo>
                    <a:lnTo>
                      <a:pt x="4067" y="16985"/>
                    </a:lnTo>
                    <a:lnTo>
                      <a:pt x="4007" y="17045"/>
                    </a:lnTo>
                    <a:lnTo>
                      <a:pt x="3828" y="17284"/>
                    </a:lnTo>
                    <a:lnTo>
                      <a:pt x="3110" y="18181"/>
                    </a:lnTo>
                    <a:lnTo>
                      <a:pt x="3110" y="18181"/>
                    </a:lnTo>
                    <a:lnTo>
                      <a:pt x="2871" y="18480"/>
                    </a:lnTo>
                    <a:lnTo>
                      <a:pt x="2811" y="18540"/>
                    </a:lnTo>
                    <a:lnTo>
                      <a:pt x="2392" y="19078"/>
                    </a:lnTo>
                    <a:lnTo>
                      <a:pt x="2213" y="19318"/>
                    </a:lnTo>
                    <a:lnTo>
                      <a:pt x="1316" y="20394"/>
                    </a:lnTo>
                    <a:lnTo>
                      <a:pt x="0" y="22428"/>
                    </a:lnTo>
                  </a:path>
                </a:pathLst>
              </a:custGeom>
              <a:noFill/>
              <a:ln w="6350" cap="rnd">
                <a:solidFill>
                  <a:schemeClr val="bg1">
                    <a:alpha val="80000"/>
                  </a:schemeClr>
                </a:solidFill>
                <a:prstDash val="solid"/>
                <a:round/>
              </a:ln>
            </p:spPr>
            <p:txBody>
              <a:bodyPr rtlCol="0" anchor="ctr"/>
              <a:lstStyle/>
              <a:p>
                <a:endParaRPr lang="en-GB"/>
              </a:p>
            </p:txBody>
          </p:sp>
          <p:sp>
            <p:nvSpPr>
              <p:cNvPr id="6479" name="Vrije vorm: vorm 6478">
                <a:extLst>
                  <a:ext uri="{FF2B5EF4-FFF2-40B4-BE49-F238E27FC236}">
                    <a16:creationId xmlns:a16="http://schemas.microsoft.com/office/drawing/2014/main" id="{9B418687-D91D-4FE1-99D5-F6B430CEB529}"/>
                  </a:ext>
                </a:extLst>
              </p:cNvPr>
              <p:cNvSpPr/>
              <p:nvPr/>
            </p:nvSpPr>
            <p:spPr>
              <a:xfrm>
                <a:off x="6754467" y="1957052"/>
                <a:ext cx="15968" cy="40011"/>
              </a:xfrm>
              <a:custGeom>
                <a:avLst/>
                <a:gdLst>
                  <a:gd name="connsiteX0" fmla="*/ 6280 w 15968"/>
                  <a:gd name="connsiteY0" fmla="*/ 8074 h 40011"/>
                  <a:gd name="connsiteX1" fmla="*/ 6878 w 15968"/>
                  <a:gd name="connsiteY1" fmla="*/ 6459 h 40011"/>
                  <a:gd name="connsiteX2" fmla="*/ 7177 w 15968"/>
                  <a:gd name="connsiteY2" fmla="*/ 5741 h 40011"/>
                  <a:gd name="connsiteX3" fmla="*/ 7297 w 15968"/>
                  <a:gd name="connsiteY3" fmla="*/ 5442 h 40011"/>
                  <a:gd name="connsiteX4" fmla="*/ 7536 w 15968"/>
                  <a:gd name="connsiteY4" fmla="*/ 4785 h 40011"/>
                  <a:gd name="connsiteX5" fmla="*/ 8552 w 15968"/>
                  <a:gd name="connsiteY5" fmla="*/ 2093 h 40011"/>
                  <a:gd name="connsiteX6" fmla="*/ 8911 w 15968"/>
                  <a:gd name="connsiteY6" fmla="*/ 1076 h 40011"/>
                  <a:gd name="connsiteX7" fmla="*/ 9031 w 15968"/>
                  <a:gd name="connsiteY7" fmla="*/ 778 h 40011"/>
                  <a:gd name="connsiteX8" fmla="*/ 9330 w 15968"/>
                  <a:gd name="connsiteY8" fmla="*/ 0 h 40011"/>
                  <a:gd name="connsiteX9" fmla="*/ 10107 w 15968"/>
                  <a:gd name="connsiteY9" fmla="*/ 239 h 40011"/>
                  <a:gd name="connsiteX10" fmla="*/ 11005 w 15968"/>
                  <a:gd name="connsiteY10" fmla="*/ 538 h 40011"/>
                  <a:gd name="connsiteX11" fmla="*/ 12440 w 15968"/>
                  <a:gd name="connsiteY11" fmla="*/ 1017 h 40011"/>
                  <a:gd name="connsiteX12" fmla="*/ 12679 w 15968"/>
                  <a:gd name="connsiteY12" fmla="*/ 1076 h 40011"/>
                  <a:gd name="connsiteX13" fmla="*/ 13038 w 15968"/>
                  <a:gd name="connsiteY13" fmla="*/ 1196 h 40011"/>
                  <a:gd name="connsiteX14" fmla="*/ 13158 w 15968"/>
                  <a:gd name="connsiteY14" fmla="*/ 1256 h 40011"/>
                  <a:gd name="connsiteX15" fmla="*/ 13576 w 15968"/>
                  <a:gd name="connsiteY15" fmla="*/ 1376 h 40011"/>
                  <a:gd name="connsiteX16" fmla="*/ 14414 w 15968"/>
                  <a:gd name="connsiteY16" fmla="*/ 1615 h 40011"/>
                  <a:gd name="connsiteX17" fmla="*/ 14773 w 15968"/>
                  <a:gd name="connsiteY17" fmla="*/ 2033 h 40011"/>
                  <a:gd name="connsiteX18" fmla="*/ 15072 w 15968"/>
                  <a:gd name="connsiteY18" fmla="*/ 2332 h 40011"/>
                  <a:gd name="connsiteX19" fmla="*/ 15371 w 15968"/>
                  <a:gd name="connsiteY19" fmla="*/ 2632 h 40011"/>
                  <a:gd name="connsiteX20" fmla="*/ 15969 w 15968"/>
                  <a:gd name="connsiteY20" fmla="*/ 3289 h 40011"/>
                  <a:gd name="connsiteX21" fmla="*/ 15909 w 15968"/>
                  <a:gd name="connsiteY21" fmla="*/ 5323 h 40011"/>
                  <a:gd name="connsiteX22" fmla="*/ 15849 w 15968"/>
                  <a:gd name="connsiteY22" fmla="*/ 8313 h 40011"/>
                  <a:gd name="connsiteX23" fmla="*/ 15849 w 15968"/>
                  <a:gd name="connsiteY23" fmla="*/ 8792 h 40011"/>
                  <a:gd name="connsiteX24" fmla="*/ 15849 w 15968"/>
                  <a:gd name="connsiteY24" fmla="*/ 9150 h 40011"/>
                  <a:gd name="connsiteX25" fmla="*/ 15849 w 15968"/>
                  <a:gd name="connsiteY25" fmla="*/ 9150 h 40011"/>
                  <a:gd name="connsiteX26" fmla="*/ 15849 w 15968"/>
                  <a:gd name="connsiteY26" fmla="*/ 9210 h 40011"/>
                  <a:gd name="connsiteX27" fmla="*/ 15729 w 15968"/>
                  <a:gd name="connsiteY27" fmla="*/ 9689 h 40011"/>
                  <a:gd name="connsiteX28" fmla="*/ 15371 w 15968"/>
                  <a:gd name="connsiteY28" fmla="*/ 10825 h 40011"/>
                  <a:gd name="connsiteX29" fmla="*/ 15251 w 15968"/>
                  <a:gd name="connsiteY29" fmla="*/ 11124 h 40011"/>
                  <a:gd name="connsiteX30" fmla="*/ 14713 w 15968"/>
                  <a:gd name="connsiteY30" fmla="*/ 12918 h 40011"/>
                  <a:gd name="connsiteX31" fmla="*/ 13815 w 15968"/>
                  <a:gd name="connsiteY31" fmla="*/ 16028 h 40011"/>
                  <a:gd name="connsiteX32" fmla="*/ 13218 w 15968"/>
                  <a:gd name="connsiteY32" fmla="*/ 18002 h 40011"/>
                  <a:gd name="connsiteX33" fmla="*/ 12560 w 15968"/>
                  <a:gd name="connsiteY33" fmla="*/ 20275 h 40011"/>
                  <a:gd name="connsiteX34" fmla="*/ 13576 w 15968"/>
                  <a:gd name="connsiteY34" fmla="*/ 21531 h 40011"/>
                  <a:gd name="connsiteX35" fmla="*/ 14174 w 15968"/>
                  <a:gd name="connsiteY35" fmla="*/ 22248 h 40011"/>
                  <a:gd name="connsiteX36" fmla="*/ 13815 w 15968"/>
                  <a:gd name="connsiteY36" fmla="*/ 23145 h 40011"/>
                  <a:gd name="connsiteX37" fmla="*/ 13576 w 15968"/>
                  <a:gd name="connsiteY37" fmla="*/ 23863 h 40011"/>
                  <a:gd name="connsiteX38" fmla="*/ 13457 w 15968"/>
                  <a:gd name="connsiteY38" fmla="*/ 24222 h 40011"/>
                  <a:gd name="connsiteX39" fmla="*/ 13098 w 15968"/>
                  <a:gd name="connsiteY39" fmla="*/ 25239 h 40011"/>
                  <a:gd name="connsiteX40" fmla="*/ 12679 w 15968"/>
                  <a:gd name="connsiteY40" fmla="*/ 26375 h 40011"/>
                  <a:gd name="connsiteX41" fmla="*/ 12440 w 15968"/>
                  <a:gd name="connsiteY41" fmla="*/ 27033 h 40011"/>
                  <a:gd name="connsiteX42" fmla="*/ 12201 w 15968"/>
                  <a:gd name="connsiteY42" fmla="*/ 27691 h 40011"/>
                  <a:gd name="connsiteX43" fmla="*/ 12081 w 15968"/>
                  <a:gd name="connsiteY43" fmla="*/ 27990 h 40011"/>
                  <a:gd name="connsiteX44" fmla="*/ 11842 w 15968"/>
                  <a:gd name="connsiteY44" fmla="*/ 28528 h 40011"/>
                  <a:gd name="connsiteX45" fmla="*/ 11364 w 15968"/>
                  <a:gd name="connsiteY45" fmla="*/ 29724 h 40011"/>
                  <a:gd name="connsiteX46" fmla="*/ 11364 w 15968"/>
                  <a:gd name="connsiteY46" fmla="*/ 29784 h 40011"/>
                  <a:gd name="connsiteX47" fmla="*/ 11124 w 15968"/>
                  <a:gd name="connsiteY47" fmla="*/ 30442 h 40011"/>
                  <a:gd name="connsiteX48" fmla="*/ 9868 w 15968"/>
                  <a:gd name="connsiteY48" fmla="*/ 33671 h 40011"/>
                  <a:gd name="connsiteX49" fmla="*/ 9629 w 15968"/>
                  <a:gd name="connsiteY49" fmla="*/ 34329 h 40011"/>
                  <a:gd name="connsiteX50" fmla="*/ 9330 w 15968"/>
                  <a:gd name="connsiteY50" fmla="*/ 35107 h 40011"/>
                  <a:gd name="connsiteX51" fmla="*/ 8552 w 15968"/>
                  <a:gd name="connsiteY51" fmla="*/ 37080 h 40011"/>
                  <a:gd name="connsiteX52" fmla="*/ 6220 w 15968"/>
                  <a:gd name="connsiteY52" fmla="*/ 38755 h 40011"/>
                  <a:gd name="connsiteX53" fmla="*/ 5024 w 15968"/>
                  <a:gd name="connsiteY53" fmla="*/ 39592 h 40011"/>
                  <a:gd name="connsiteX54" fmla="*/ 4486 w 15968"/>
                  <a:gd name="connsiteY54" fmla="*/ 40011 h 40011"/>
                  <a:gd name="connsiteX55" fmla="*/ 0 w 15968"/>
                  <a:gd name="connsiteY55" fmla="*/ 38277 h 4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968" h="40011">
                    <a:moveTo>
                      <a:pt x="6280" y="8074"/>
                    </a:moveTo>
                    <a:lnTo>
                      <a:pt x="6878" y="6459"/>
                    </a:lnTo>
                    <a:lnTo>
                      <a:pt x="7177" y="5741"/>
                    </a:lnTo>
                    <a:lnTo>
                      <a:pt x="7297" y="5442"/>
                    </a:lnTo>
                    <a:lnTo>
                      <a:pt x="7536" y="4785"/>
                    </a:lnTo>
                    <a:lnTo>
                      <a:pt x="8552" y="2093"/>
                    </a:lnTo>
                    <a:lnTo>
                      <a:pt x="8911" y="1076"/>
                    </a:lnTo>
                    <a:lnTo>
                      <a:pt x="9031" y="778"/>
                    </a:lnTo>
                    <a:lnTo>
                      <a:pt x="9330" y="0"/>
                    </a:lnTo>
                    <a:lnTo>
                      <a:pt x="10107" y="239"/>
                    </a:lnTo>
                    <a:lnTo>
                      <a:pt x="11005" y="538"/>
                    </a:lnTo>
                    <a:lnTo>
                      <a:pt x="12440" y="1017"/>
                    </a:lnTo>
                    <a:lnTo>
                      <a:pt x="12679" y="1076"/>
                    </a:lnTo>
                    <a:lnTo>
                      <a:pt x="13038" y="1196"/>
                    </a:lnTo>
                    <a:lnTo>
                      <a:pt x="13158" y="1256"/>
                    </a:lnTo>
                    <a:lnTo>
                      <a:pt x="13576" y="1376"/>
                    </a:lnTo>
                    <a:lnTo>
                      <a:pt x="14414" y="1615"/>
                    </a:lnTo>
                    <a:lnTo>
                      <a:pt x="14773" y="2033"/>
                    </a:lnTo>
                    <a:lnTo>
                      <a:pt x="15072" y="2332"/>
                    </a:lnTo>
                    <a:lnTo>
                      <a:pt x="15371" y="2632"/>
                    </a:lnTo>
                    <a:lnTo>
                      <a:pt x="15969" y="3289"/>
                    </a:lnTo>
                    <a:lnTo>
                      <a:pt x="15909" y="5323"/>
                    </a:lnTo>
                    <a:lnTo>
                      <a:pt x="15849" y="8313"/>
                    </a:lnTo>
                    <a:lnTo>
                      <a:pt x="15849" y="8792"/>
                    </a:lnTo>
                    <a:lnTo>
                      <a:pt x="15849" y="9150"/>
                    </a:lnTo>
                    <a:lnTo>
                      <a:pt x="15849" y="9150"/>
                    </a:lnTo>
                    <a:lnTo>
                      <a:pt x="15849" y="9210"/>
                    </a:lnTo>
                    <a:lnTo>
                      <a:pt x="15729" y="9689"/>
                    </a:lnTo>
                    <a:lnTo>
                      <a:pt x="15371" y="10825"/>
                    </a:lnTo>
                    <a:lnTo>
                      <a:pt x="15251" y="11124"/>
                    </a:lnTo>
                    <a:lnTo>
                      <a:pt x="14713" y="12918"/>
                    </a:lnTo>
                    <a:lnTo>
                      <a:pt x="13815" y="16028"/>
                    </a:lnTo>
                    <a:lnTo>
                      <a:pt x="13218" y="18002"/>
                    </a:lnTo>
                    <a:lnTo>
                      <a:pt x="12560" y="20275"/>
                    </a:lnTo>
                    <a:lnTo>
                      <a:pt x="13576" y="21531"/>
                    </a:lnTo>
                    <a:lnTo>
                      <a:pt x="14174" y="22248"/>
                    </a:lnTo>
                    <a:lnTo>
                      <a:pt x="13815" y="23145"/>
                    </a:lnTo>
                    <a:lnTo>
                      <a:pt x="13576" y="23863"/>
                    </a:lnTo>
                    <a:lnTo>
                      <a:pt x="13457" y="24222"/>
                    </a:lnTo>
                    <a:lnTo>
                      <a:pt x="13098" y="25239"/>
                    </a:lnTo>
                    <a:lnTo>
                      <a:pt x="12679" y="26375"/>
                    </a:lnTo>
                    <a:lnTo>
                      <a:pt x="12440" y="27033"/>
                    </a:lnTo>
                    <a:lnTo>
                      <a:pt x="12201" y="27691"/>
                    </a:lnTo>
                    <a:lnTo>
                      <a:pt x="12081" y="27990"/>
                    </a:lnTo>
                    <a:lnTo>
                      <a:pt x="11842" y="28528"/>
                    </a:lnTo>
                    <a:lnTo>
                      <a:pt x="11364" y="29724"/>
                    </a:lnTo>
                    <a:lnTo>
                      <a:pt x="11364" y="29784"/>
                    </a:lnTo>
                    <a:lnTo>
                      <a:pt x="11124" y="30442"/>
                    </a:lnTo>
                    <a:lnTo>
                      <a:pt x="9868" y="33671"/>
                    </a:lnTo>
                    <a:lnTo>
                      <a:pt x="9629" y="34329"/>
                    </a:lnTo>
                    <a:lnTo>
                      <a:pt x="9330" y="35107"/>
                    </a:lnTo>
                    <a:lnTo>
                      <a:pt x="8552" y="37080"/>
                    </a:lnTo>
                    <a:lnTo>
                      <a:pt x="6220" y="38755"/>
                    </a:lnTo>
                    <a:lnTo>
                      <a:pt x="5024" y="39592"/>
                    </a:lnTo>
                    <a:lnTo>
                      <a:pt x="4486" y="40011"/>
                    </a:lnTo>
                    <a:lnTo>
                      <a:pt x="0" y="38277"/>
                    </a:lnTo>
                  </a:path>
                </a:pathLst>
              </a:custGeom>
              <a:noFill/>
              <a:ln w="6350" cap="rnd">
                <a:solidFill>
                  <a:schemeClr val="bg1">
                    <a:alpha val="80000"/>
                  </a:schemeClr>
                </a:solidFill>
                <a:prstDash val="solid"/>
                <a:round/>
              </a:ln>
            </p:spPr>
            <p:txBody>
              <a:bodyPr rtlCol="0" anchor="ctr"/>
              <a:lstStyle/>
              <a:p>
                <a:endParaRPr lang="en-GB"/>
              </a:p>
            </p:txBody>
          </p:sp>
          <p:sp>
            <p:nvSpPr>
              <p:cNvPr id="6480" name="Vrije vorm: vorm 6479">
                <a:extLst>
                  <a:ext uri="{FF2B5EF4-FFF2-40B4-BE49-F238E27FC236}">
                    <a16:creationId xmlns:a16="http://schemas.microsoft.com/office/drawing/2014/main" id="{EC4A6BFB-CAE5-4F31-A589-6DEF6F07D4ED}"/>
                  </a:ext>
                </a:extLst>
              </p:cNvPr>
              <p:cNvSpPr/>
              <p:nvPr/>
            </p:nvSpPr>
            <p:spPr>
              <a:xfrm>
                <a:off x="6951772" y="2023139"/>
                <a:ext cx="21710" cy="8552"/>
              </a:xfrm>
              <a:custGeom>
                <a:avLst/>
                <a:gdLst>
                  <a:gd name="connsiteX0" fmla="*/ 13277 w 21710"/>
                  <a:gd name="connsiteY0" fmla="*/ 0 h 8552"/>
                  <a:gd name="connsiteX1" fmla="*/ 15789 w 21710"/>
                  <a:gd name="connsiteY1" fmla="*/ 1615 h 8552"/>
                  <a:gd name="connsiteX2" fmla="*/ 16088 w 21710"/>
                  <a:gd name="connsiteY2" fmla="*/ 1794 h 8552"/>
                  <a:gd name="connsiteX3" fmla="*/ 16746 w 21710"/>
                  <a:gd name="connsiteY3" fmla="*/ 2213 h 8552"/>
                  <a:gd name="connsiteX4" fmla="*/ 16805 w 21710"/>
                  <a:gd name="connsiteY4" fmla="*/ 2273 h 8552"/>
                  <a:gd name="connsiteX5" fmla="*/ 16865 w 21710"/>
                  <a:gd name="connsiteY5" fmla="*/ 2332 h 8552"/>
                  <a:gd name="connsiteX6" fmla="*/ 16925 w 21710"/>
                  <a:gd name="connsiteY6" fmla="*/ 2392 h 8552"/>
                  <a:gd name="connsiteX7" fmla="*/ 17045 w 21710"/>
                  <a:gd name="connsiteY7" fmla="*/ 2452 h 8552"/>
                  <a:gd name="connsiteX8" fmla="*/ 18480 w 21710"/>
                  <a:gd name="connsiteY8" fmla="*/ 3469 h 8552"/>
                  <a:gd name="connsiteX9" fmla="*/ 18899 w 21710"/>
                  <a:gd name="connsiteY9" fmla="*/ 3768 h 8552"/>
                  <a:gd name="connsiteX10" fmla="*/ 19676 w 21710"/>
                  <a:gd name="connsiteY10" fmla="*/ 4306 h 8552"/>
                  <a:gd name="connsiteX11" fmla="*/ 19975 w 21710"/>
                  <a:gd name="connsiteY11" fmla="*/ 4486 h 8552"/>
                  <a:gd name="connsiteX12" fmla="*/ 20095 w 21710"/>
                  <a:gd name="connsiteY12" fmla="*/ 4605 h 8552"/>
                  <a:gd name="connsiteX13" fmla="*/ 21710 w 21710"/>
                  <a:gd name="connsiteY13" fmla="*/ 5981 h 8552"/>
                  <a:gd name="connsiteX14" fmla="*/ 20275 w 21710"/>
                  <a:gd name="connsiteY14" fmla="*/ 8373 h 8552"/>
                  <a:gd name="connsiteX15" fmla="*/ 19616 w 21710"/>
                  <a:gd name="connsiteY15" fmla="*/ 8552 h 8552"/>
                  <a:gd name="connsiteX16" fmla="*/ 19018 w 21710"/>
                  <a:gd name="connsiteY16" fmla="*/ 8313 h 8552"/>
                  <a:gd name="connsiteX17" fmla="*/ 15669 w 21710"/>
                  <a:gd name="connsiteY17" fmla="*/ 6997 h 8552"/>
                  <a:gd name="connsiteX18" fmla="*/ 15191 w 21710"/>
                  <a:gd name="connsiteY18" fmla="*/ 6818 h 8552"/>
                  <a:gd name="connsiteX19" fmla="*/ 14772 w 21710"/>
                  <a:gd name="connsiteY19" fmla="*/ 6639 h 8552"/>
                  <a:gd name="connsiteX20" fmla="*/ 9509 w 21710"/>
                  <a:gd name="connsiteY20" fmla="*/ 4545 h 8552"/>
                  <a:gd name="connsiteX21" fmla="*/ 8911 w 21710"/>
                  <a:gd name="connsiteY21" fmla="*/ 4306 h 8552"/>
                  <a:gd name="connsiteX22" fmla="*/ 7177 w 21710"/>
                  <a:gd name="connsiteY22" fmla="*/ 3648 h 8552"/>
                  <a:gd name="connsiteX23" fmla="*/ 5801 w 21710"/>
                  <a:gd name="connsiteY23" fmla="*/ 3110 h 8552"/>
                  <a:gd name="connsiteX24" fmla="*/ 5622 w 21710"/>
                  <a:gd name="connsiteY24" fmla="*/ 3050 h 8552"/>
                  <a:gd name="connsiteX25" fmla="*/ 4605 w 21710"/>
                  <a:gd name="connsiteY25" fmla="*/ 2632 h 8552"/>
                  <a:gd name="connsiteX26" fmla="*/ 2691 w 21710"/>
                  <a:gd name="connsiteY26" fmla="*/ 1675 h 8552"/>
                  <a:gd name="connsiteX27" fmla="*/ 1914 w 21710"/>
                  <a:gd name="connsiteY27" fmla="*/ 1316 h 8552"/>
                  <a:gd name="connsiteX28" fmla="*/ 179 w 21710"/>
                  <a:gd name="connsiteY28" fmla="*/ 419 h 8552"/>
                  <a:gd name="connsiteX29" fmla="*/ 0 w 21710"/>
                  <a:gd name="connsiteY29" fmla="*/ 299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710" h="8552">
                    <a:moveTo>
                      <a:pt x="13277" y="0"/>
                    </a:moveTo>
                    <a:lnTo>
                      <a:pt x="15789" y="1615"/>
                    </a:lnTo>
                    <a:lnTo>
                      <a:pt x="16088" y="1794"/>
                    </a:lnTo>
                    <a:lnTo>
                      <a:pt x="16746" y="2213"/>
                    </a:lnTo>
                    <a:lnTo>
                      <a:pt x="16805" y="2273"/>
                    </a:lnTo>
                    <a:lnTo>
                      <a:pt x="16865" y="2332"/>
                    </a:lnTo>
                    <a:lnTo>
                      <a:pt x="16925" y="2392"/>
                    </a:lnTo>
                    <a:lnTo>
                      <a:pt x="17045" y="2452"/>
                    </a:lnTo>
                    <a:lnTo>
                      <a:pt x="18480" y="3469"/>
                    </a:lnTo>
                    <a:lnTo>
                      <a:pt x="18899" y="3768"/>
                    </a:lnTo>
                    <a:lnTo>
                      <a:pt x="19676" y="4306"/>
                    </a:lnTo>
                    <a:lnTo>
                      <a:pt x="19975" y="4486"/>
                    </a:lnTo>
                    <a:lnTo>
                      <a:pt x="20095" y="4605"/>
                    </a:lnTo>
                    <a:lnTo>
                      <a:pt x="21710" y="5981"/>
                    </a:lnTo>
                    <a:lnTo>
                      <a:pt x="20275" y="8373"/>
                    </a:lnTo>
                    <a:lnTo>
                      <a:pt x="19616" y="8552"/>
                    </a:lnTo>
                    <a:lnTo>
                      <a:pt x="19018" y="8313"/>
                    </a:lnTo>
                    <a:lnTo>
                      <a:pt x="15669" y="6997"/>
                    </a:lnTo>
                    <a:lnTo>
                      <a:pt x="15191" y="6818"/>
                    </a:lnTo>
                    <a:lnTo>
                      <a:pt x="14772" y="6639"/>
                    </a:lnTo>
                    <a:lnTo>
                      <a:pt x="9509" y="4545"/>
                    </a:lnTo>
                    <a:lnTo>
                      <a:pt x="8911" y="4306"/>
                    </a:lnTo>
                    <a:lnTo>
                      <a:pt x="7177" y="3648"/>
                    </a:lnTo>
                    <a:lnTo>
                      <a:pt x="5801" y="3110"/>
                    </a:lnTo>
                    <a:lnTo>
                      <a:pt x="5622" y="3050"/>
                    </a:lnTo>
                    <a:lnTo>
                      <a:pt x="4605" y="2632"/>
                    </a:lnTo>
                    <a:lnTo>
                      <a:pt x="2691" y="1675"/>
                    </a:lnTo>
                    <a:lnTo>
                      <a:pt x="1914" y="1316"/>
                    </a:lnTo>
                    <a:lnTo>
                      <a:pt x="179" y="419"/>
                    </a:lnTo>
                    <a:lnTo>
                      <a:pt x="0" y="299"/>
                    </a:lnTo>
                  </a:path>
                </a:pathLst>
              </a:custGeom>
              <a:noFill/>
              <a:ln w="6350" cap="rnd">
                <a:solidFill>
                  <a:schemeClr val="bg1">
                    <a:alpha val="80000"/>
                  </a:schemeClr>
                </a:solidFill>
                <a:prstDash val="solid"/>
                <a:round/>
              </a:ln>
            </p:spPr>
            <p:txBody>
              <a:bodyPr rtlCol="0" anchor="ctr"/>
              <a:lstStyle/>
              <a:p>
                <a:endParaRPr lang="en-GB"/>
              </a:p>
            </p:txBody>
          </p:sp>
          <p:sp>
            <p:nvSpPr>
              <p:cNvPr id="6481" name="Vrije vorm: vorm 6480">
                <a:extLst>
                  <a:ext uri="{FF2B5EF4-FFF2-40B4-BE49-F238E27FC236}">
                    <a16:creationId xmlns:a16="http://schemas.microsoft.com/office/drawing/2014/main" id="{52DF03DE-6E49-43B4-9069-787602155C7E}"/>
                  </a:ext>
                </a:extLst>
              </p:cNvPr>
              <p:cNvSpPr/>
              <p:nvPr/>
            </p:nvSpPr>
            <p:spPr>
              <a:xfrm>
                <a:off x="6774622" y="1833729"/>
                <a:ext cx="3588" cy="9030"/>
              </a:xfrm>
              <a:custGeom>
                <a:avLst/>
                <a:gdLst>
                  <a:gd name="connsiteX0" fmla="*/ 0 w 3588"/>
                  <a:gd name="connsiteY0" fmla="*/ 9031 h 9030"/>
                  <a:gd name="connsiteX1" fmla="*/ 120 w 3588"/>
                  <a:gd name="connsiteY1" fmla="*/ 8433 h 9030"/>
                  <a:gd name="connsiteX2" fmla="*/ 2392 w 3588"/>
                  <a:gd name="connsiteY2" fmla="*/ 2213 h 9030"/>
                  <a:gd name="connsiteX3" fmla="*/ 2572 w 3588"/>
                  <a:gd name="connsiteY3" fmla="*/ 1734 h 9030"/>
                  <a:gd name="connsiteX4" fmla="*/ 2931 w 3588"/>
                  <a:gd name="connsiteY4" fmla="*/ 897 h 9030"/>
                  <a:gd name="connsiteX5" fmla="*/ 3589 w 3588"/>
                  <a:gd name="connsiteY5" fmla="*/ 0 h 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8" h="9030">
                    <a:moveTo>
                      <a:pt x="0" y="9031"/>
                    </a:moveTo>
                    <a:lnTo>
                      <a:pt x="120" y="8433"/>
                    </a:lnTo>
                    <a:lnTo>
                      <a:pt x="2392" y="2213"/>
                    </a:lnTo>
                    <a:lnTo>
                      <a:pt x="2572" y="1734"/>
                    </a:lnTo>
                    <a:lnTo>
                      <a:pt x="2931" y="897"/>
                    </a:lnTo>
                    <a:lnTo>
                      <a:pt x="3589" y="0"/>
                    </a:lnTo>
                  </a:path>
                </a:pathLst>
              </a:custGeom>
              <a:noFill/>
              <a:ln w="6350" cap="rnd">
                <a:solidFill>
                  <a:schemeClr val="bg1">
                    <a:alpha val="80000"/>
                  </a:schemeClr>
                </a:solidFill>
                <a:prstDash val="solid"/>
                <a:round/>
              </a:ln>
            </p:spPr>
            <p:txBody>
              <a:bodyPr rtlCol="0" anchor="ctr"/>
              <a:lstStyle/>
              <a:p>
                <a:endParaRPr lang="en-GB"/>
              </a:p>
            </p:txBody>
          </p:sp>
          <p:sp>
            <p:nvSpPr>
              <p:cNvPr id="6482" name="Vrije vorm: vorm 6481">
                <a:extLst>
                  <a:ext uri="{FF2B5EF4-FFF2-40B4-BE49-F238E27FC236}">
                    <a16:creationId xmlns:a16="http://schemas.microsoft.com/office/drawing/2014/main" id="{17AFFFD5-9E27-4FCE-82F6-904EB380CD6B}"/>
                  </a:ext>
                </a:extLst>
              </p:cNvPr>
              <p:cNvSpPr/>
              <p:nvPr/>
            </p:nvSpPr>
            <p:spPr>
              <a:xfrm>
                <a:off x="6806021" y="1976908"/>
                <a:ext cx="9030" cy="9688"/>
              </a:xfrm>
              <a:custGeom>
                <a:avLst/>
                <a:gdLst>
                  <a:gd name="connsiteX0" fmla="*/ 9031 w 9030"/>
                  <a:gd name="connsiteY0" fmla="*/ 9689 h 9688"/>
                  <a:gd name="connsiteX1" fmla="*/ 3349 w 9030"/>
                  <a:gd name="connsiteY1" fmla="*/ 5981 h 9688"/>
                  <a:gd name="connsiteX2" fmla="*/ 239 w 9030"/>
                  <a:gd name="connsiteY2" fmla="*/ 3947 h 9688"/>
                  <a:gd name="connsiteX3" fmla="*/ 120 w 9030"/>
                  <a:gd name="connsiteY3" fmla="*/ 3529 h 9688"/>
                  <a:gd name="connsiteX4" fmla="*/ 0 w 9030"/>
                  <a:gd name="connsiteY4" fmla="*/ 3110 h 9688"/>
                  <a:gd name="connsiteX5" fmla="*/ 120 w 9030"/>
                  <a:gd name="connsiteY5" fmla="*/ 2691 h 9688"/>
                  <a:gd name="connsiteX6" fmla="*/ 299 w 9030"/>
                  <a:gd name="connsiteY6" fmla="*/ 2153 h 9688"/>
                  <a:gd name="connsiteX7" fmla="*/ 479 w 9030"/>
                  <a:gd name="connsiteY7" fmla="*/ 1675 h 9688"/>
                  <a:gd name="connsiteX8" fmla="*/ 1555 w 9030"/>
                  <a:gd name="connsiteY8" fmla="*/ 478 h 9688"/>
                  <a:gd name="connsiteX9" fmla="*/ 2093 w 9030"/>
                  <a:gd name="connsiteY9" fmla="*/ 239 h 9688"/>
                  <a:gd name="connsiteX10" fmla="*/ 2572 w 9030"/>
                  <a:gd name="connsiteY10" fmla="*/ 0 h 9688"/>
                  <a:gd name="connsiteX11" fmla="*/ 7177 w 9030"/>
                  <a:gd name="connsiteY11" fmla="*/ 3050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30" h="9688">
                    <a:moveTo>
                      <a:pt x="9031" y="9689"/>
                    </a:moveTo>
                    <a:lnTo>
                      <a:pt x="3349" y="5981"/>
                    </a:lnTo>
                    <a:lnTo>
                      <a:pt x="239" y="3947"/>
                    </a:lnTo>
                    <a:lnTo>
                      <a:pt x="120" y="3529"/>
                    </a:lnTo>
                    <a:lnTo>
                      <a:pt x="0" y="3110"/>
                    </a:lnTo>
                    <a:lnTo>
                      <a:pt x="120" y="2691"/>
                    </a:lnTo>
                    <a:lnTo>
                      <a:pt x="299" y="2153"/>
                    </a:lnTo>
                    <a:lnTo>
                      <a:pt x="479" y="1675"/>
                    </a:lnTo>
                    <a:lnTo>
                      <a:pt x="1555" y="478"/>
                    </a:lnTo>
                    <a:lnTo>
                      <a:pt x="2093" y="239"/>
                    </a:lnTo>
                    <a:lnTo>
                      <a:pt x="2572" y="0"/>
                    </a:lnTo>
                    <a:lnTo>
                      <a:pt x="7177" y="3050"/>
                    </a:lnTo>
                  </a:path>
                </a:pathLst>
              </a:custGeom>
              <a:noFill/>
              <a:ln w="6350" cap="rnd">
                <a:solidFill>
                  <a:schemeClr val="bg1">
                    <a:alpha val="80000"/>
                  </a:schemeClr>
                </a:solidFill>
                <a:prstDash val="solid"/>
                <a:round/>
              </a:ln>
            </p:spPr>
            <p:txBody>
              <a:bodyPr rtlCol="0" anchor="ctr"/>
              <a:lstStyle/>
              <a:p>
                <a:endParaRPr lang="en-GB"/>
              </a:p>
            </p:txBody>
          </p:sp>
          <p:sp>
            <p:nvSpPr>
              <p:cNvPr id="6483" name="Vrije vorm: vorm 6482">
                <a:extLst>
                  <a:ext uri="{FF2B5EF4-FFF2-40B4-BE49-F238E27FC236}">
                    <a16:creationId xmlns:a16="http://schemas.microsoft.com/office/drawing/2014/main" id="{BA54B246-9FAC-4546-B646-6C6F2D0001E5}"/>
                  </a:ext>
                </a:extLst>
              </p:cNvPr>
              <p:cNvSpPr/>
              <p:nvPr/>
            </p:nvSpPr>
            <p:spPr>
              <a:xfrm>
                <a:off x="6868879" y="1992039"/>
                <a:ext cx="51852" cy="81457"/>
              </a:xfrm>
              <a:custGeom>
                <a:avLst/>
                <a:gdLst>
                  <a:gd name="connsiteX0" fmla="*/ 51852 w 51852"/>
                  <a:gd name="connsiteY0" fmla="*/ 0 h 81457"/>
                  <a:gd name="connsiteX1" fmla="*/ 48982 w 51852"/>
                  <a:gd name="connsiteY1" fmla="*/ 1136 h 81457"/>
                  <a:gd name="connsiteX2" fmla="*/ 47367 w 51852"/>
                  <a:gd name="connsiteY2" fmla="*/ 1794 h 81457"/>
                  <a:gd name="connsiteX3" fmla="*/ 47128 w 51852"/>
                  <a:gd name="connsiteY3" fmla="*/ 1854 h 81457"/>
                  <a:gd name="connsiteX4" fmla="*/ 44317 w 51852"/>
                  <a:gd name="connsiteY4" fmla="*/ 2931 h 81457"/>
                  <a:gd name="connsiteX5" fmla="*/ 42164 w 51852"/>
                  <a:gd name="connsiteY5" fmla="*/ 4486 h 81457"/>
                  <a:gd name="connsiteX6" fmla="*/ 39652 w 51852"/>
                  <a:gd name="connsiteY6" fmla="*/ 6280 h 81457"/>
                  <a:gd name="connsiteX7" fmla="*/ 35645 w 51852"/>
                  <a:gd name="connsiteY7" fmla="*/ 9151 h 81457"/>
                  <a:gd name="connsiteX8" fmla="*/ 35645 w 51852"/>
                  <a:gd name="connsiteY8" fmla="*/ 9151 h 81457"/>
                  <a:gd name="connsiteX9" fmla="*/ 34987 w 51852"/>
                  <a:gd name="connsiteY9" fmla="*/ 9808 h 81457"/>
                  <a:gd name="connsiteX10" fmla="*/ 33193 w 51852"/>
                  <a:gd name="connsiteY10" fmla="*/ 11603 h 81457"/>
                  <a:gd name="connsiteX11" fmla="*/ 32475 w 51852"/>
                  <a:gd name="connsiteY11" fmla="*/ 12320 h 81457"/>
                  <a:gd name="connsiteX12" fmla="*/ 32057 w 51852"/>
                  <a:gd name="connsiteY12" fmla="*/ 12739 h 81457"/>
                  <a:gd name="connsiteX13" fmla="*/ 30442 w 51852"/>
                  <a:gd name="connsiteY13" fmla="*/ 14354 h 81457"/>
                  <a:gd name="connsiteX14" fmla="*/ 28527 w 51852"/>
                  <a:gd name="connsiteY14" fmla="*/ 16327 h 81457"/>
                  <a:gd name="connsiteX15" fmla="*/ 26554 w 51852"/>
                  <a:gd name="connsiteY15" fmla="*/ 18301 h 81457"/>
                  <a:gd name="connsiteX16" fmla="*/ 24401 w 51852"/>
                  <a:gd name="connsiteY16" fmla="*/ 21052 h 81457"/>
                  <a:gd name="connsiteX17" fmla="*/ 24281 w 51852"/>
                  <a:gd name="connsiteY17" fmla="*/ 21232 h 81457"/>
                  <a:gd name="connsiteX18" fmla="*/ 21291 w 51852"/>
                  <a:gd name="connsiteY18" fmla="*/ 25059 h 81457"/>
                  <a:gd name="connsiteX19" fmla="*/ 19018 w 51852"/>
                  <a:gd name="connsiteY19" fmla="*/ 27990 h 81457"/>
                  <a:gd name="connsiteX20" fmla="*/ 17882 w 51852"/>
                  <a:gd name="connsiteY20" fmla="*/ 29425 h 81457"/>
                  <a:gd name="connsiteX21" fmla="*/ 17703 w 51852"/>
                  <a:gd name="connsiteY21" fmla="*/ 29784 h 81457"/>
                  <a:gd name="connsiteX22" fmla="*/ 14353 w 51852"/>
                  <a:gd name="connsiteY22" fmla="*/ 35227 h 81457"/>
                  <a:gd name="connsiteX23" fmla="*/ 12798 w 51852"/>
                  <a:gd name="connsiteY23" fmla="*/ 37738 h 81457"/>
                  <a:gd name="connsiteX24" fmla="*/ 12619 w 51852"/>
                  <a:gd name="connsiteY24" fmla="*/ 38037 h 81457"/>
                  <a:gd name="connsiteX25" fmla="*/ 11124 w 51852"/>
                  <a:gd name="connsiteY25" fmla="*/ 40430 h 81457"/>
                  <a:gd name="connsiteX26" fmla="*/ 10347 w 51852"/>
                  <a:gd name="connsiteY26" fmla="*/ 41746 h 81457"/>
                  <a:gd name="connsiteX27" fmla="*/ 9569 w 51852"/>
                  <a:gd name="connsiteY27" fmla="*/ 43360 h 81457"/>
                  <a:gd name="connsiteX28" fmla="*/ 9509 w 51852"/>
                  <a:gd name="connsiteY28" fmla="*/ 43480 h 81457"/>
                  <a:gd name="connsiteX29" fmla="*/ 9509 w 51852"/>
                  <a:gd name="connsiteY29" fmla="*/ 43480 h 81457"/>
                  <a:gd name="connsiteX30" fmla="*/ 9210 w 51852"/>
                  <a:gd name="connsiteY30" fmla="*/ 44198 h 81457"/>
                  <a:gd name="connsiteX31" fmla="*/ 9031 w 51852"/>
                  <a:gd name="connsiteY31" fmla="*/ 44616 h 81457"/>
                  <a:gd name="connsiteX32" fmla="*/ 9031 w 51852"/>
                  <a:gd name="connsiteY32" fmla="*/ 44616 h 81457"/>
                  <a:gd name="connsiteX33" fmla="*/ 7894 w 51852"/>
                  <a:gd name="connsiteY33" fmla="*/ 47008 h 81457"/>
                  <a:gd name="connsiteX34" fmla="*/ 7296 w 51852"/>
                  <a:gd name="connsiteY34" fmla="*/ 48205 h 81457"/>
                  <a:gd name="connsiteX35" fmla="*/ 5921 w 51852"/>
                  <a:gd name="connsiteY35" fmla="*/ 51195 h 81457"/>
                  <a:gd name="connsiteX36" fmla="*/ 5562 w 51852"/>
                  <a:gd name="connsiteY36" fmla="*/ 51972 h 81457"/>
                  <a:gd name="connsiteX37" fmla="*/ 4545 w 51852"/>
                  <a:gd name="connsiteY37" fmla="*/ 54126 h 81457"/>
                  <a:gd name="connsiteX38" fmla="*/ 1674 w 51852"/>
                  <a:gd name="connsiteY38" fmla="*/ 63276 h 81457"/>
                  <a:gd name="connsiteX39" fmla="*/ 956 w 51852"/>
                  <a:gd name="connsiteY39" fmla="*/ 65489 h 81457"/>
                  <a:gd name="connsiteX40" fmla="*/ 418 w 51852"/>
                  <a:gd name="connsiteY40" fmla="*/ 70453 h 81457"/>
                  <a:gd name="connsiteX41" fmla="*/ 299 w 51852"/>
                  <a:gd name="connsiteY41" fmla="*/ 71829 h 81457"/>
                  <a:gd name="connsiteX42" fmla="*/ 0 w 51852"/>
                  <a:gd name="connsiteY42" fmla="*/ 74819 h 81457"/>
                  <a:gd name="connsiteX43" fmla="*/ 1614 w 51852"/>
                  <a:gd name="connsiteY43" fmla="*/ 81457 h 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852" h="81457">
                    <a:moveTo>
                      <a:pt x="51852" y="0"/>
                    </a:moveTo>
                    <a:lnTo>
                      <a:pt x="48982" y="1136"/>
                    </a:lnTo>
                    <a:lnTo>
                      <a:pt x="47367" y="1794"/>
                    </a:lnTo>
                    <a:lnTo>
                      <a:pt x="47128" y="1854"/>
                    </a:lnTo>
                    <a:lnTo>
                      <a:pt x="44317" y="2931"/>
                    </a:lnTo>
                    <a:lnTo>
                      <a:pt x="42164" y="4486"/>
                    </a:lnTo>
                    <a:lnTo>
                      <a:pt x="39652" y="6280"/>
                    </a:lnTo>
                    <a:lnTo>
                      <a:pt x="35645" y="9151"/>
                    </a:lnTo>
                    <a:lnTo>
                      <a:pt x="35645" y="9151"/>
                    </a:lnTo>
                    <a:lnTo>
                      <a:pt x="34987" y="9808"/>
                    </a:lnTo>
                    <a:lnTo>
                      <a:pt x="33193" y="11603"/>
                    </a:lnTo>
                    <a:lnTo>
                      <a:pt x="32475" y="12320"/>
                    </a:lnTo>
                    <a:lnTo>
                      <a:pt x="32057" y="12739"/>
                    </a:lnTo>
                    <a:lnTo>
                      <a:pt x="30442" y="14354"/>
                    </a:lnTo>
                    <a:lnTo>
                      <a:pt x="28527" y="16327"/>
                    </a:lnTo>
                    <a:lnTo>
                      <a:pt x="26554" y="18301"/>
                    </a:lnTo>
                    <a:lnTo>
                      <a:pt x="24401" y="21052"/>
                    </a:lnTo>
                    <a:lnTo>
                      <a:pt x="24281" y="21232"/>
                    </a:lnTo>
                    <a:lnTo>
                      <a:pt x="21291" y="25059"/>
                    </a:lnTo>
                    <a:lnTo>
                      <a:pt x="19018" y="27990"/>
                    </a:lnTo>
                    <a:lnTo>
                      <a:pt x="17882" y="29425"/>
                    </a:lnTo>
                    <a:lnTo>
                      <a:pt x="17703" y="29784"/>
                    </a:lnTo>
                    <a:lnTo>
                      <a:pt x="14353" y="35227"/>
                    </a:lnTo>
                    <a:lnTo>
                      <a:pt x="12798" y="37738"/>
                    </a:lnTo>
                    <a:lnTo>
                      <a:pt x="12619" y="38037"/>
                    </a:lnTo>
                    <a:lnTo>
                      <a:pt x="11124" y="40430"/>
                    </a:lnTo>
                    <a:lnTo>
                      <a:pt x="10347" y="41746"/>
                    </a:lnTo>
                    <a:lnTo>
                      <a:pt x="9569" y="43360"/>
                    </a:lnTo>
                    <a:lnTo>
                      <a:pt x="9509" y="43480"/>
                    </a:lnTo>
                    <a:lnTo>
                      <a:pt x="9509" y="43480"/>
                    </a:lnTo>
                    <a:lnTo>
                      <a:pt x="9210" y="44198"/>
                    </a:lnTo>
                    <a:lnTo>
                      <a:pt x="9031" y="44616"/>
                    </a:lnTo>
                    <a:lnTo>
                      <a:pt x="9031" y="44616"/>
                    </a:lnTo>
                    <a:lnTo>
                      <a:pt x="7894" y="47008"/>
                    </a:lnTo>
                    <a:lnTo>
                      <a:pt x="7296" y="48205"/>
                    </a:lnTo>
                    <a:lnTo>
                      <a:pt x="5921" y="51195"/>
                    </a:lnTo>
                    <a:lnTo>
                      <a:pt x="5562" y="51972"/>
                    </a:lnTo>
                    <a:lnTo>
                      <a:pt x="4545" y="54126"/>
                    </a:lnTo>
                    <a:lnTo>
                      <a:pt x="1674" y="63276"/>
                    </a:lnTo>
                    <a:lnTo>
                      <a:pt x="956" y="65489"/>
                    </a:lnTo>
                    <a:lnTo>
                      <a:pt x="418" y="70453"/>
                    </a:lnTo>
                    <a:lnTo>
                      <a:pt x="299" y="71829"/>
                    </a:lnTo>
                    <a:lnTo>
                      <a:pt x="0" y="74819"/>
                    </a:lnTo>
                    <a:lnTo>
                      <a:pt x="1614" y="81457"/>
                    </a:lnTo>
                  </a:path>
                </a:pathLst>
              </a:custGeom>
              <a:noFill/>
              <a:ln w="6350" cap="rnd">
                <a:solidFill>
                  <a:schemeClr val="bg1">
                    <a:alpha val="80000"/>
                  </a:schemeClr>
                </a:solidFill>
                <a:prstDash val="solid"/>
                <a:round/>
              </a:ln>
            </p:spPr>
            <p:txBody>
              <a:bodyPr rtlCol="0" anchor="ctr"/>
              <a:lstStyle/>
              <a:p>
                <a:endParaRPr lang="en-GB"/>
              </a:p>
            </p:txBody>
          </p:sp>
          <p:sp>
            <p:nvSpPr>
              <p:cNvPr id="6484" name="Vrije vorm: vorm 6483">
                <a:extLst>
                  <a:ext uri="{FF2B5EF4-FFF2-40B4-BE49-F238E27FC236}">
                    <a16:creationId xmlns:a16="http://schemas.microsoft.com/office/drawing/2014/main" id="{930D51E6-6296-4B39-B230-868A332CEA78}"/>
                  </a:ext>
                </a:extLst>
              </p:cNvPr>
              <p:cNvSpPr/>
              <p:nvPr/>
            </p:nvSpPr>
            <p:spPr>
              <a:xfrm>
                <a:off x="6971089" y="1725837"/>
                <a:ext cx="3288" cy="2272"/>
              </a:xfrm>
              <a:custGeom>
                <a:avLst/>
                <a:gdLst>
                  <a:gd name="connsiteX0" fmla="*/ 0 w 3288"/>
                  <a:gd name="connsiteY0" fmla="*/ 0 h 2272"/>
                  <a:gd name="connsiteX1" fmla="*/ 2392 w 3288"/>
                  <a:gd name="connsiteY1" fmla="*/ 1256 h 2272"/>
                  <a:gd name="connsiteX2" fmla="*/ 3289 w 3288"/>
                  <a:gd name="connsiteY2" fmla="*/ 1734 h 2272"/>
                  <a:gd name="connsiteX3" fmla="*/ 2990 w 3288"/>
                  <a:gd name="connsiteY3" fmla="*/ 2273 h 2272"/>
                  <a:gd name="connsiteX4" fmla="*/ 2751 w 3288"/>
                  <a:gd name="connsiteY4" fmla="*/ 2153 h 2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8" h="2272">
                    <a:moveTo>
                      <a:pt x="0" y="0"/>
                    </a:moveTo>
                    <a:lnTo>
                      <a:pt x="2392" y="1256"/>
                    </a:lnTo>
                    <a:lnTo>
                      <a:pt x="3289" y="1734"/>
                    </a:lnTo>
                    <a:lnTo>
                      <a:pt x="2990" y="2273"/>
                    </a:lnTo>
                    <a:lnTo>
                      <a:pt x="2751" y="2153"/>
                    </a:lnTo>
                  </a:path>
                </a:pathLst>
              </a:custGeom>
              <a:noFill/>
              <a:ln w="6350" cap="rnd">
                <a:solidFill>
                  <a:schemeClr val="bg1">
                    <a:alpha val="80000"/>
                  </a:schemeClr>
                </a:solidFill>
                <a:prstDash val="solid"/>
                <a:round/>
              </a:ln>
            </p:spPr>
            <p:txBody>
              <a:bodyPr rtlCol="0" anchor="ctr"/>
              <a:lstStyle/>
              <a:p>
                <a:endParaRPr lang="en-GB"/>
              </a:p>
            </p:txBody>
          </p:sp>
          <p:sp>
            <p:nvSpPr>
              <p:cNvPr id="6485" name="Vrije vorm: vorm 6484">
                <a:extLst>
                  <a:ext uri="{FF2B5EF4-FFF2-40B4-BE49-F238E27FC236}">
                    <a16:creationId xmlns:a16="http://schemas.microsoft.com/office/drawing/2014/main" id="{0EDF3DFC-2D9D-413A-8B01-37021A2FA7E2}"/>
                  </a:ext>
                </a:extLst>
              </p:cNvPr>
              <p:cNvSpPr/>
              <p:nvPr/>
            </p:nvSpPr>
            <p:spPr>
              <a:xfrm>
                <a:off x="6922646" y="2058963"/>
                <a:ext cx="19317" cy="37020"/>
              </a:xfrm>
              <a:custGeom>
                <a:avLst/>
                <a:gdLst>
                  <a:gd name="connsiteX0" fmla="*/ 19318 w 19317"/>
                  <a:gd name="connsiteY0" fmla="*/ 34748 h 37020"/>
                  <a:gd name="connsiteX1" fmla="*/ 18241 w 19317"/>
                  <a:gd name="connsiteY1" fmla="*/ 35466 h 37020"/>
                  <a:gd name="connsiteX2" fmla="*/ 15968 w 19317"/>
                  <a:gd name="connsiteY2" fmla="*/ 37021 h 37020"/>
                  <a:gd name="connsiteX3" fmla="*/ 15550 w 19317"/>
                  <a:gd name="connsiteY3" fmla="*/ 36901 h 37020"/>
                  <a:gd name="connsiteX4" fmla="*/ 13695 w 19317"/>
                  <a:gd name="connsiteY4" fmla="*/ 36243 h 37020"/>
                  <a:gd name="connsiteX5" fmla="*/ 9031 w 19317"/>
                  <a:gd name="connsiteY5" fmla="*/ 25956 h 37020"/>
                  <a:gd name="connsiteX6" fmla="*/ 7476 w 19317"/>
                  <a:gd name="connsiteY6" fmla="*/ 21949 h 37020"/>
                  <a:gd name="connsiteX7" fmla="*/ 5741 w 19317"/>
                  <a:gd name="connsiteY7" fmla="*/ 17464 h 37020"/>
                  <a:gd name="connsiteX8" fmla="*/ 3887 w 19317"/>
                  <a:gd name="connsiteY8" fmla="*/ 12619 h 37020"/>
                  <a:gd name="connsiteX9" fmla="*/ 3588 w 19317"/>
                  <a:gd name="connsiteY9" fmla="*/ 11842 h 37020"/>
                  <a:gd name="connsiteX10" fmla="*/ 2153 w 19317"/>
                  <a:gd name="connsiteY10" fmla="*/ 7057 h 37020"/>
                  <a:gd name="connsiteX11" fmla="*/ 1794 w 19317"/>
                  <a:gd name="connsiteY11" fmla="*/ 5861 h 37020"/>
                  <a:gd name="connsiteX12" fmla="*/ 658 w 19317"/>
                  <a:gd name="connsiteY12" fmla="*/ 2093 h 37020"/>
                  <a:gd name="connsiteX13" fmla="*/ 538 w 19317"/>
                  <a:gd name="connsiteY13" fmla="*/ 1734 h 37020"/>
                  <a:gd name="connsiteX14" fmla="*/ 478 w 19317"/>
                  <a:gd name="connsiteY14" fmla="*/ 1555 h 37020"/>
                  <a:gd name="connsiteX15" fmla="*/ 0 w 19317"/>
                  <a:gd name="connsiteY15" fmla="*/ 0 h 3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317" h="37020">
                    <a:moveTo>
                      <a:pt x="19318" y="34748"/>
                    </a:moveTo>
                    <a:lnTo>
                      <a:pt x="18241" y="35466"/>
                    </a:lnTo>
                    <a:lnTo>
                      <a:pt x="15968" y="37021"/>
                    </a:lnTo>
                    <a:lnTo>
                      <a:pt x="15550" y="36901"/>
                    </a:lnTo>
                    <a:lnTo>
                      <a:pt x="13695" y="36243"/>
                    </a:lnTo>
                    <a:lnTo>
                      <a:pt x="9031" y="25956"/>
                    </a:lnTo>
                    <a:lnTo>
                      <a:pt x="7476" y="21949"/>
                    </a:lnTo>
                    <a:lnTo>
                      <a:pt x="5741" y="17464"/>
                    </a:lnTo>
                    <a:lnTo>
                      <a:pt x="3887" y="12619"/>
                    </a:lnTo>
                    <a:lnTo>
                      <a:pt x="3588" y="11842"/>
                    </a:lnTo>
                    <a:lnTo>
                      <a:pt x="2153" y="7057"/>
                    </a:lnTo>
                    <a:lnTo>
                      <a:pt x="1794" y="5861"/>
                    </a:lnTo>
                    <a:lnTo>
                      <a:pt x="658" y="2093"/>
                    </a:lnTo>
                    <a:lnTo>
                      <a:pt x="538" y="1734"/>
                    </a:lnTo>
                    <a:lnTo>
                      <a:pt x="478" y="155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86" name="Vrije vorm: vorm 6485">
                <a:extLst>
                  <a:ext uri="{FF2B5EF4-FFF2-40B4-BE49-F238E27FC236}">
                    <a16:creationId xmlns:a16="http://schemas.microsoft.com/office/drawing/2014/main" id="{6A90B342-B72A-46E8-8973-5F392C548B94}"/>
                  </a:ext>
                </a:extLst>
              </p:cNvPr>
              <p:cNvSpPr/>
              <p:nvPr/>
            </p:nvSpPr>
            <p:spPr>
              <a:xfrm>
                <a:off x="6766907" y="1830141"/>
                <a:ext cx="54962" cy="48742"/>
              </a:xfrm>
              <a:custGeom>
                <a:avLst/>
                <a:gdLst>
                  <a:gd name="connsiteX0" fmla="*/ 54963 w 54962"/>
                  <a:gd name="connsiteY0" fmla="*/ 48743 h 48742"/>
                  <a:gd name="connsiteX1" fmla="*/ 54305 w 54962"/>
                  <a:gd name="connsiteY1" fmla="*/ 48743 h 48742"/>
                  <a:gd name="connsiteX2" fmla="*/ 53528 w 54962"/>
                  <a:gd name="connsiteY2" fmla="*/ 48264 h 48742"/>
                  <a:gd name="connsiteX3" fmla="*/ 52989 w 54962"/>
                  <a:gd name="connsiteY3" fmla="*/ 47965 h 48742"/>
                  <a:gd name="connsiteX4" fmla="*/ 52451 w 54962"/>
                  <a:gd name="connsiteY4" fmla="*/ 47607 h 48742"/>
                  <a:gd name="connsiteX5" fmla="*/ 52092 w 54962"/>
                  <a:gd name="connsiteY5" fmla="*/ 47427 h 48742"/>
                  <a:gd name="connsiteX6" fmla="*/ 50118 w 54962"/>
                  <a:gd name="connsiteY6" fmla="*/ 46171 h 48742"/>
                  <a:gd name="connsiteX7" fmla="*/ 49820 w 54962"/>
                  <a:gd name="connsiteY7" fmla="*/ 45992 h 48742"/>
                  <a:gd name="connsiteX8" fmla="*/ 49640 w 54962"/>
                  <a:gd name="connsiteY8" fmla="*/ 45872 h 48742"/>
                  <a:gd name="connsiteX9" fmla="*/ 48085 w 54962"/>
                  <a:gd name="connsiteY9" fmla="*/ 44915 h 48742"/>
                  <a:gd name="connsiteX10" fmla="*/ 48085 w 54962"/>
                  <a:gd name="connsiteY10" fmla="*/ 44915 h 48742"/>
                  <a:gd name="connsiteX11" fmla="*/ 48085 w 54962"/>
                  <a:gd name="connsiteY11" fmla="*/ 44915 h 48742"/>
                  <a:gd name="connsiteX12" fmla="*/ 47008 w 54962"/>
                  <a:gd name="connsiteY12" fmla="*/ 44257 h 48742"/>
                  <a:gd name="connsiteX13" fmla="*/ 46351 w 54962"/>
                  <a:gd name="connsiteY13" fmla="*/ 43839 h 48742"/>
                  <a:gd name="connsiteX14" fmla="*/ 43540 w 54962"/>
                  <a:gd name="connsiteY14" fmla="*/ 42044 h 48742"/>
                  <a:gd name="connsiteX15" fmla="*/ 43241 w 54962"/>
                  <a:gd name="connsiteY15" fmla="*/ 41865 h 48742"/>
                  <a:gd name="connsiteX16" fmla="*/ 41446 w 54962"/>
                  <a:gd name="connsiteY16" fmla="*/ 40729 h 48742"/>
                  <a:gd name="connsiteX17" fmla="*/ 38576 w 54962"/>
                  <a:gd name="connsiteY17" fmla="*/ 38934 h 48742"/>
                  <a:gd name="connsiteX18" fmla="*/ 37260 w 54962"/>
                  <a:gd name="connsiteY18" fmla="*/ 38097 h 48742"/>
                  <a:gd name="connsiteX19" fmla="*/ 37200 w 54962"/>
                  <a:gd name="connsiteY19" fmla="*/ 38037 h 48742"/>
                  <a:gd name="connsiteX20" fmla="*/ 37200 w 54962"/>
                  <a:gd name="connsiteY20" fmla="*/ 38037 h 48742"/>
                  <a:gd name="connsiteX21" fmla="*/ 34928 w 54962"/>
                  <a:gd name="connsiteY21" fmla="*/ 36602 h 48742"/>
                  <a:gd name="connsiteX22" fmla="*/ 31937 w 54962"/>
                  <a:gd name="connsiteY22" fmla="*/ 34748 h 48742"/>
                  <a:gd name="connsiteX23" fmla="*/ 26435 w 54962"/>
                  <a:gd name="connsiteY23" fmla="*/ 31339 h 48742"/>
                  <a:gd name="connsiteX24" fmla="*/ 24401 w 54962"/>
                  <a:gd name="connsiteY24" fmla="*/ 30023 h 48742"/>
                  <a:gd name="connsiteX25" fmla="*/ 22189 w 54962"/>
                  <a:gd name="connsiteY25" fmla="*/ 28648 h 48742"/>
                  <a:gd name="connsiteX26" fmla="*/ 21052 w 54962"/>
                  <a:gd name="connsiteY26" fmla="*/ 27930 h 48742"/>
                  <a:gd name="connsiteX27" fmla="*/ 20873 w 54962"/>
                  <a:gd name="connsiteY27" fmla="*/ 27810 h 48742"/>
                  <a:gd name="connsiteX28" fmla="*/ 18002 w 54962"/>
                  <a:gd name="connsiteY28" fmla="*/ 26016 h 48742"/>
                  <a:gd name="connsiteX29" fmla="*/ 14653 w 54962"/>
                  <a:gd name="connsiteY29" fmla="*/ 23923 h 48742"/>
                  <a:gd name="connsiteX30" fmla="*/ 6519 w 54962"/>
                  <a:gd name="connsiteY30" fmla="*/ 18779 h 48742"/>
                  <a:gd name="connsiteX31" fmla="*/ 4246 w 54962"/>
                  <a:gd name="connsiteY31" fmla="*/ 17344 h 48742"/>
                  <a:gd name="connsiteX32" fmla="*/ 4187 w 54962"/>
                  <a:gd name="connsiteY32" fmla="*/ 17284 h 48742"/>
                  <a:gd name="connsiteX33" fmla="*/ 3768 w 54962"/>
                  <a:gd name="connsiteY33" fmla="*/ 16985 h 48742"/>
                  <a:gd name="connsiteX34" fmla="*/ 0 w 54962"/>
                  <a:gd name="connsiteY34" fmla="*/ 14593 h 48742"/>
                  <a:gd name="connsiteX35" fmla="*/ 2751 w 54962"/>
                  <a:gd name="connsiteY35" fmla="*/ 9509 h 48742"/>
                  <a:gd name="connsiteX36" fmla="*/ 6340 w 54962"/>
                  <a:gd name="connsiteY36" fmla="*/ 2931 h 48742"/>
                  <a:gd name="connsiteX37" fmla="*/ 8732 w 54962"/>
                  <a:gd name="connsiteY37" fmla="*/ 179 h 48742"/>
                  <a:gd name="connsiteX38" fmla="*/ 9928 w 54962"/>
                  <a:gd name="connsiteY38" fmla="*/ 0 h 4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962" h="48742">
                    <a:moveTo>
                      <a:pt x="54963" y="48743"/>
                    </a:moveTo>
                    <a:lnTo>
                      <a:pt x="54305" y="48743"/>
                    </a:lnTo>
                    <a:lnTo>
                      <a:pt x="53528" y="48264"/>
                    </a:lnTo>
                    <a:lnTo>
                      <a:pt x="52989" y="47965"/>
                    </a:lnTo>
                    <a:lnTo>
                      <a:pt x="52451" y="47607"/>
                    </a:lnTo>
                    <a:lnTo>
                      <a:pt x="52092" y="47427"/>
                    </a:lnTo>
                    <a:lnTo>
                      <a:pt x="50118" y="46171"/>
                    </a:lnTo>
                    <a:lnTo>
                      <a:pt x="49820" y="45992"/>
                    </a:lnTo>
                    <a:lnTo>
                      <a:pt x="49640" y="45872"/>
                    </a:lnTo>
                    <a:lnTo>
                      <a:pt x="48085" y="44915"/>
                    </a:lnTo>
                    <a:lnTo>
                      <a:pt x="48085" y="44915"/>
                    </a:lnTo>
                    <a:lnTo>
                      <a:pt x="48085" y="44915"/>
                    </a:lnTo>
                    <a:lnTo>
                      <a:pt x="47008" y="44257"/>
                    </a:lnTo>
                    <a:lnTo>
                      <a:pt x="46351" y="43839"/>
                    </a:lnTo>
                    <a:lnTo>
                      <a:pt x="43540" y="42044"/>
                    </a:lnTo>
                    <a:lnTo>
                      <a:pt x="43241" y="41865"/>
                    </a:lnTo>
                    <a:lnTo>
                      <a:pt x="41446" y="40729"/>
                    </a:lnTo>
                    <a:lnTo>
                      <a:pt x="38576" y="38934"/>
                    </a:lnTo>
                    <a:lnTo>
                      <a:pt x="37260" y="38097"/>
                    </a:lnTo>
                    <a:lnTo>
                      <a:pt x="37200" y="38037"/>
                    </a:lnTo>
                    <a:lnTo>
                      <a:pt x="37200" y="38037"/>
                    </a:lnTo>
                    <a:lnTo>
                      <a:pt x="34928" y="36602"/>
                    </a:lnTo>
                    <a:lnTo>
                      <a:pt x="31937" y="34748"/>
                    </a:lnTo>
                    <a:lnTo>
                      <a:pt x="26435" y="31339"/>
                    </a:lnTo>
                    <a:lnTo>
                      <a:pt x="24401" y="30023"/>
                    </a:lnTo>
                    <a:lnTo>
                      <a:pt x="22189" y="28648"/>
                    </a:lnTo>
                    <a:lnTo>
                      <a:pt x="21052" y="27930"/>
                    </a:lnTo>
                    <a:lnTo>
                      <a:pt x="20873" y="27810"/>
                    </a:lnTo>
                    <a:lnTo>
                      <a:pt x="18002" y="26016"/>
                    </a:lnTo>
                    <a:lnTo>
                      <a:pt x="14653" y="23923"/>
                    </a:lnTo>
                    <a:lnTo>
                      <a:pt x="6519" y="18779"/>
                    </a:lnTo>
                    <a:lnTo>
                      <a:pt x="4246" y="17344"/>
                    </a:lnTo>
                    <a:lnTo>
                      <a:pt x="4187" y="17284"/>
                    </a:lnTo>
                    <a:lnTo>
                      <a:pt x="3768" y="16985"/>
                    </a:lnTo>
                    <a:lnTo>
                      <a:pt x="0" y="14593"/>
                    </a:lnTo>
                    <a:lnTo>
                      <a:pt x="2751" y="9509"/>
                    </a:lnTo>
                    <a:lnTo>
                      <a:pt x="6340" y="2931"/>
                    </a:lnTo>
                    <a:lnTo>
                      <a:pt x="8732" y="179"/>
                    </a:lnTo>
                    <a:lnTo>
                      <a:pt x="9928" y="0"/>
                    </a:lnTo>
                  </a:path>
                </a:pathLst>
              </a:custGeom>
              <a:noFill/>
              <a:ln w="6350" cap="rnd">
                <a:solidFill>
                  <a:schemeClr val="bg1">
                    <a:alpha val="80000"/>
                  </a:schemeClr>
                </a:solidFill>
                <a:prstDash val="solid"/>
                <a:round/>
              </a:ln>
            </p:spPr>
            <p:txBody>
              <a:bodyPr rtlCol="0" anchor="ctr"/>
              <a:lstStyle/>
              <a:p>
                <a:endParaRPr lang="en-GB"/>
              </a:p>
            </p:txBody>
          </p:sp>
          <p:sp>
            <p:nvSpPr>
              <p:cNvPr id="6487" name="Vrije vorm: vorm 6486">
                <a:extLst>
                  <a:ext uri="{FF2B5EF4-FFF2-40B4-BE49-F238E27FC236}">
                    <a16:creationId xmlns:a16="http://schemas.microsoft.com/office/drawing/2014/main" id="{ED148D8C-B934-4401-ACBE-A6BEF9DF2DF4}"/>
                  </a:ext>
                </a:extLst>
              </p:cNvPr>
              <p:cNvSpPr/>
              <p:nvPr/>
            </p:nvSpPr>
            <p:spPr>
              <a:xfrm>
                <a:off x="6776476" y="1832533"/>
                <a:ext cx="46410" cy="43001"/>
              </a:xfrm>
              <a:custGeom>
                <a:avLst/>
                <a:gdLst>
                  <a:gd name="connsiteX0" fmla="*/ 43420 w 46410"/>
                  <a:gd name="connsiteY0" fmla="*/ 43001 h 43001"/>
                  <a:gd name="connsiteX1" fmla="*/ 43480 w 46410"/>
                  <a:gd name="connsiteY1" fmla="*/ 42762 h 43001"/>
                  <a:gd name="connsiteX2" fmla="*/ 43540 w 46410"/>
                  <a:gd name="connsiteY2" fmla="*/ 42583 h 43001"/>
                  <a:gd name="connsiteX3" fmla="*/ 43600 w 46410"/>
                  <a:gd name="connsiteY3" fmla="*/ 42284 h 43001"/>
                  <a:gd name="connsiteX4" fmla="*/ 43719 w 46410"/>
                  <a:gd name="connsiteY4" fmla="*/ 41805 h 43001"/>
                  <a:gd name="connsiteX5" fmla="*/ 43839 w 46410"/>
                  <a:gd name="connsiteY5" fmla="*/ 41387 h 43001"/>
                  <a:gd name="connsiteX6" fmla="*/ 44018 w 46410"/>
                  <a:gd name="connsiteY6" fmla="*/ 40848 h 43001"/>
                  <a:gd name="connsiteX7" fmla="*/ 44198 w 46410"/>
                  <a:gd name="connsiteY7" fmla="*/ 40071 h 43001"/>
                  <a:gd name="connsiteX8" fmla="*/ 44257 w 46410"/>
                  <a:gd name="connsiteY8" fmla="*/ 39832 h 43001"/>
                  <a:gd name="connsiteX9" fmla="*/ 44317 w 46410"/>
                  <a:gd name="connsiteY9" fmla="*/ 39592 h 43001"/>
                  <a:gd name="connsiteX10" fmla="*/ 44915 w 46410"/>
                  <a:gd name="connsiteY10" fmla="*/ 37320 h 43001"/>
                  <a:gd name="connsiteX11" fmla="*/ 45872 w 46410"/>
                  <a:gd name="connsiteY11" fmla="*/ 33851 h 43001"/>
                  <a:gd name="connsiteX12" fmla="*/ 45932 w 46410"/>
                  <a:gd name="connsiteY12" fmla="*/ 33552 h 43001"/>
                  <a:gd name="connsiteX13" fmla="*/ 46231 w 46410"/>
                  <a:gd name="connsiteY13" fmla="*/ 32475 h 43001"/>
                  <a:gd name="connsiteX14" fmla="*/ 46291 w 46410"/>
                  <a:gd name="connsiteY14" fmla="*/ 32176 h 43001"/>
                  <a:gd name="connsiteX15" fmla="*/ 46291 w 46410"/>
                  <a:gd name="connsiteY15" fmla="*/ 32117 h 43001"/>
                  <a:gd name="connsiteX16" fmla="*/ 46291 w 46410"/>
                  <a:gd name="connsiteY16" fmla="*/ 32057 h 43001"/>
                  <a:gd name="connsiteX17" fmla="*/ 46351 w 46410"/>
                  <a:gd name="connsiteY17" fmla="*/ 30681 h 43001"/>
                  <a:gd name="connsiteX18" fmla="*/ 46351 w 46410"/>
                  <a:gd name="connsiteY18" fmla="*/ 30681 h 43001"/>
                  <a:gd name="connsiteX19" fmla="*/ 46410 w 46410"/>
                  <a:gd name="connsiteY19" fmla="*/ 29485 h 43001"/>
                  <a:gd name="connsiteX20" fmla="*/ 46410 w 46410"/>
                  <a:gd name="connsiteY20" fmla="*/ 29066 h 43001"/>
                  <a:gd name="connsiteX21" fmla="*/ 46410 w 46410"/>
                  <a:gd name="connsiteY21" fmla="*/ 28887 h 43001"/>
                  <a:gd name="connsiteX22" fmla="*/ 46410 w 46410"/>
                  <a:gd name="connsiteY22" fmla="*/ 28827 h 43001"/>
                  <a:gd name="connsiteX23" fmla="*/ 46410 w 46410"/>
                  <a:gd name="connsiteY23" fmla="*/ 28827 h 43001"/>
                  <a:gd name="connsiteX24" fmla="*/ 45813 w 46410"/>
                  <a:gd name="connsiteY24" fmla="*/ 28109 h 43001"/>
                  <a:gd name="connsiteX25" fmla="*/ 44437 w 46410"/>
                  <a:gd name="connsiteY25" fmla="*/ 26495 h 43001"/>
                  <a:gd name="connsiteX26" fmla="*/ 43899 w 46410"/>
                  <a:gd name="connsiteY26" fmla="*/ 26016 h 43001"/>
                  <a:gd name="connsiteX27" fmla="*/ 42164 w 46410"/>
                  <a:gd name="connsiteY27" fmla="*/ 24521 h 43001"/>
                  <a:gd name="connsiteX28" fmla="*/ 41327 w 46410"/>
                  <a:gd name="connsiteY28" fmla="*/ 23803 h 43001"/>
                  <a:gd name="connsiteX29" fmla="*/ 35825 w 46410"/>
                  <a:gd name="connsiteY29" fmla="*/ 19079 h 43001"/>
                  <a:gd name="connsiteX30" fmla="*/ 35825 w 46410"/>
                  <a:gd name="connsiteY30" fmla="*/ 19079 h 43001"/>
                  <a:gd name="connsiteX31" fmla="*/ 35167 w 46410"/>
                  <a:gd name="connsiteY31" fmla="*/ 18660 h 43001"/>
                  <a:gd name="connsiteX32" fmla="*/ 34210 w 46410"/>
                  <a:gd name="connsiteY32" fmla="*/ 18002 h 43001"/>
                  <a:gd name="connsiteX33" fmla="*/ 30382 w 46410"/>
                  <a:gd name="connsiteY33" fmla="*/ 15430 h 43001"/>
                  <a:gd name="connsiteX34" fmla="*/ 26913 w 46410"/>
                  <a:gd name="connsiteY34" fmla="*/ 13098 h 43001"/>
                  <a:gd name="connsiteX35" fmla="*/ 23983 w 46410"/>
                  <a:gd name="connsiteY35" fmla="*/ 11124 h 43001"/>
                  <a:gd name="connsiteX36" fmla="*/ 23445 w 46410"/>
                  <a:gd name="connsiteY36" fmla="*/ 10825 h 43001"/>
                  <a:gd name="connsiteX37" fmla="*/ 22308 w 46410"/>
                  <a:gd name="connsiteY37" fmla="*/ 10167 h 43001"/>
                  <a:gd name="connsiteX38" fmla="*/ 22009 w 46410"/>
                  <a:gd name="connsiteY38" fmla="*/ 9988 h 43001"/>
                  <a:gd name="connsiteX39" fmla="*/ 15251 w 46410"/>
                  <a:gd name="connsiteY39" fmla="*/ 6160 h 43001"/>
                  <a:gd name="connsiteX40" fmla="*/ 15012 w 46410"/>
                  <a:gd name="connsiteY40" fmla="*/ 6041 h 43001"/>
                  <a:gd name="connsiteX41" fmla="*/ 12141 w 46410"/>
                  <a:gd name="connsiteY41" fmla="*/ 4366 h 43001"/>
                  <a:gd name="connsiteX42" fmla="*/ 2572 w 46410"/>
                  <a:gd name="connsiteY42" fmla="*/ 478 h 43001"/>
                  <a:gd name="connsiteX43" fmla="*/ 957 w 46410"/>
                  <a:gd name="connsiteY43" fmla="*/ 179 h 43001"/>
                  <a:gd name="connsiteX44" fmla="*/ 0 w 46410"/>
                  <a:gd name="connsiteY44" fmla="*/ 0 h 4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6410" h="43001">
                    <a:moveTo>
                      <a:pt x="43420" y="43001"/>
                    </a:moveTo>
                    <a:lnTo>
                      <a:pt x="43480" y="42762"/>
                    </a:lnTo>
                    <a:lnTo>
                      <a:pt x="43540" y="42583"/>
                    </a:lnTo>
                    <a:lnTo>
                      <a:pt x="43600" y="42284"/>
                    </a:lnTo>
                    <a:lnTo>
                      <a:pt x="43719" y="41805"/>
                    </a:lnTo>
                    <a:lnTo>
                      <a:pt x="43839" y="41387"/>
                    </a:lnTo>
                    <a:lnTo>
                      <a:pt x="44018" y="40848"/>
                    </a:lnTo>
                    <a:lnTo>
                      <a:pt x="44198" y="40071"/>
                    </a:lnTo>
                    <a:lnTo>
                      <a:pt x="44257" y="39832"/>
                    </a:lnTo>
                    <a:lnTo>
                      <a:pt x="44317" y="39592"/>
                    </a:lnTo>
                    <a:lnTo>
                      <a:pt x="44915" y="37320"/>
                    </a:lnTo>
                    <a:lnTo>
                      <a:pt x="45872" y="33851"/>
                    </a:lnTo>
                    <a:lnTo>
                      <a:pt x="45932" y="33552"/>
                    </a:lnTo>
                    <a:lnTo>
                      <a:pt x="46231" y="32475"/>
                    </a:lnTo>
                    <a:lnTo>
                      <a:pt x="46291" y="32176"/>
                    </a:lnTo>
                    <a:lnTo>
                      <a:pt x="46291" y="32117"/>
                    </a:lnTo>
                    <a:lnTo>
                      <a:pt x="46291" y="32057"/>
                    </a:lnTo>
                    <a:lnTo>
                      <a:pt x="46351" y="30681"/>
                    </a:lnTo>
                    <a:lnTo>
                      <a:pt x="46351" y="30681"/>
                    </a:lnTo>
                    <a:lnTo>
                      <a:pt x="46410" y="29485"/>
                    </a:lnTo>
                    <a:lnTo>
                      <a:pt x="46410" y="29066"/>
                    </a:lnTo>
                    <a:lnTo>
                      <a:pt x="46410" y="28887"/>
                    </a:lnTo>
                    <a:lnTo>
                      <a:pt x="46410" y="28827"/>
                    </a:lnTo>
                    <a:lnTo>
                      <a:pt x="46410" y="28827"/>
                    </a:lnTo>
                    <a:lnTo>
                      <a:pt x="45813" y="28109"/>
                    </a:lnTo>
                    <a:lnTo>
                      <a:pt x="44437" y="26495"/>
                    </a:lnTo>
                    <a:lnTo>
                      <a:pt x="43899" y="26016"/>
                    </a:lnTo>
                    <a:lnTo>
                      <a:pt x="42164" y="24521"/>
                    </a:lnTo>
                    <a:lnTo>
                      <a:pt x="41327" y="23803"/>
                    </a:lnTo>
                    <a:lnTo>
                      <a:pt x="35825" y="19079"/>
                    </a:lnTo>
                    <a:lnTo>
                      <a:pt x="35825" y="19079"/>
                    </a:lnTo>
                    <a:lnTo>
                      <a:pt x="35167" y="18660"/>
                    </a:lnTo>
                    <a:lnTo>
                      <a:pt x="34210" y="18002"/>
                    </a:lnTo>
                    <a:lnTo>
                      <a:pt x="30382" y="15430"/>
                    </a:lnTo>
                    <a:lnTo>
                      <a:pt x="26913" y="13098"/>
                    </a:lnTo>
                    <a:lnTo>
                      <a:pt x="23983" y="11124"/>
                    </a:lnTo>
                    <a:lnTo>
                      <a:pt x="23445" y="10825"/>
                    </a:lnTo>
                    <a:lnTo>
                      <a:pt x="22308" y="10167"/>
                    </a:lnTo>
                    <a:lnTo>
                      <a:pt x="22009" y="9988"/>
                    </a:lnTo>
                    <a:lnTo>
                      <a:pt x="15251" y="6160"/>
                    </a:lnTo>
                    <a:lnTo>
                      <a:pt x="15012" y="6041"/>
                    </a:lnTo>
                    <a:lnTo>
                      <a:pt x="12141" y="4366"/>
                    </a:lnTo>
                    <a:lnTo>
                      <a:pt x="2572" y="478"/>
                    </a:lnTo>
                    <a:lnTo>
                      <a:pt x="957" y="17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88" name="Vrije vorm: vorm 6487">
                <a:extLst>
                  <a:ext uri="{FF2B5EF4-FFF2-40B4-BE49-F238E27FC236}">
                    <a16:creationId xmlns:a16="http://schemas.microsoft.com/office/drawing/2014/main" id="{FC2C9129-A28F-4B6D-AC6C-0982DF5890AE}"/>
                  </a:ext>
                </a:extLst>
              </p:cNvPr>
              <p:cNvSpPr/>
              <p:nvPr/>
            </p:nvSpPr>
            <p:spPr>
              <a:xfrm>
                <a:off x="6686766" y="1935103"/>
                <a:ext cx="35106" cy="24341"/>
              </a:xfrm>
              <a:custGeom>
                <a:avLst/>
                <a:gdLst>
                  <a:gd name="connsiteX0" fmla="*/ 35107 w 35106"/>
                  <a:gd name="connsiteY0" fmla="*/ 19856 h 24341"/>
                  <a:gd name="connsiteX1" fmla="*/ 28528 w 35106"/>
                  <a:gd name="connsiteY1" fmla="*/ 22129 h 24341"/>
                  <a:gd name="connsiteX2" fmla="*/ 19856 w 35106"/>
                  <a:gd name="connsiteY2" fmla="*/ 23325 h 24341"/>
                  <a:gd name="connsiteX3" fmla="*/ 13038 w 35106"/>
                  <a:gd name="connsiteY3" fmla="*/ 24282 h 24341"/>
                  <a:gd name="connsiteX4" fmla="*/ 12799 w 35106"/>
                  <a:gd name="connsiteY4" fmla="*/ 24341 h 24341"/>
                  <a:gd name="connsiteX5" fmla="*/ 10706 w 35106"/>
                  <a:gd name="connsiteY5" fmla="*/ 23145 h 24341"/>
                  <a:gd name="connsiteX6" fmla="*/ 2333 w 35106"/>
                  <a:gd name="connsiteY6" fmla="*/ 18421 h 24341"/>
                  <a:gd name="connsiteX7" fmla="*/ 1256 w 35106"/>
                  <a:gd name="connsiteY7" fmla="*/ 16447 h 24341"/>
                  <a:gd name="connsiteX8" fmla="*/ 718 w 35106"/>
                  <a:gd name="connsiteY8" fmla="*/ 14294 h 24341"/>
                  <a:gd name="connsiteX9" fmla="*/ 598 w 35106"/>
                  <a:gd name="connsiteY9" fmla="*/ 13935 h 24341"/>
                  <a:gd name="connsiteX10" fmla="*/ 0 w 35106"/>
                  <a:gd name="connsiteY10" fmla="*/ 11543 h 24341"/>
                  <a:gd name="connsiteX11" fmla="*/ 897 w 35106"/>
                  <a:gd name="connsiteY11" fmla="*/ 10227 h 24341"/>
                  <a:gd name="connsiteX12" fmla="*/ 3349 w 35106"/>
                  <a:gd name="connsiteY12" fmla="*/ 6698 h 24341"/>
                  <a:gd name="connsiteX13" fmla="*/ 6280 w 35106"/>
                  <a:gd name="connsiteY13" fmla="*/ 2452 h 24341"/>
                  <a:gd name="connsiteX14" fmla="*/ 7954 w 35106"/>
                  <a:gd name="connsiteY14" fmla="*/ 1675 h 24341"/>
                  <a:gd name="connsiteX15" fmla="*/ 7954 w 35106"/>
                  <a:gd name="connsiteY15" fmla="*/ 1675 h 24341"/>
                  <a:gd name="connsiteX16" fmla="*/ 11483 w 35106"/>
                  <a:gd name="connsiteY16" fmla="*/ 0 h 24341"/>
                  <a:gd name="connsiteX17" fmla="*/ 12380 w 35106"/>
                  <a:gd name="connsiteY17" fmla="*/ 179 h 24341"/>
                  <a:gd name="connsiteX18" fmla="*/ 15729 w 35106"/>
                  <a:gd name="connsiteY18" fmla="*/ 837 h 24341"/>
                  <a:gd name="connsiteX19" fmla="*/ 15849 w 35106"/>
                  <a:gd name="connsiteY19" fmla="*/ 837 h 24341"/>
                  <a:gd name="connsiteX20" fmla="*/ 15909 w 35106"/>
                  <a:gd name="connsiteY20" fmla="*/ 837 h 24341"/>
                  <a:gd name="connsiteX21" fmla="*/ 16387 w 35106"/>
                  <a:gd name="connsiteY21" fmla="*/ 957 h 24341"/>
                  <a:gd name="connsiteX22" fmla="*/ 19916 w 35106"/>
                  <a:gd name="connsiteY22" fmla="*/ 1675 h 24341"/>
                  <a:gd name="connsiteX23" fmla="*/ 20693 w 35106"/>
                  <a:gd name="connsiteY23" fmla="*/ 1854 h 2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06" h="24341">
                    <a:moveTo>
                      <a:pt x="35107" y="19856"/>
                    </a:moveTo>
                    <a:lnTo>
                      <a:pt x="28528" y="22129"/>
                    </a:lnTo>
                    <a:lnTo>
                      <a:pt x="19856" y="23325"/>
                    </a:lnTo>
                    <a:lnTo>
                      <a:pt x="13038" y="24282"/>
                    </a:lnTo>
                    <a:lnTo>
                      <a:pt x="12799" y="24341"/>
                    </a:lnTo>
                    <a:lnTo>
                      <a:pt x="10706" y="23145"/>
                    </a:lnTo>
                    <a:lnTo>
                      <a:pt x="2333" y="18421"/>
                    </a:lnTo>
                    <a:lnTo>
                      <a:pt x="1256" y="16447"/>
                    </a:lnTo>
                    <a:lnTo>
                      <a:pt x="718" y="14294"/>
                    </a:lnTo>
                    <a:lnTo>
                      <a:pt x="598" y="13935"/>
                    </a:lnTo>
                    <a:lnTo>
                      <a:pt x="0" y="11543"/>
                    </a:lnTo>
                    <a:lnTo>
                      <a:pt x="897" y="10227"/>
                    </a:lnTo>
                    <a:lnTo>
                      <a:pt x="3349" y="6698"/>
                    </a:lnTo>
                    <a:lnTo>
                      <a:pt x="6280" y="2452"/>
                    </a:lnTo>
                    <a:lnTo>
                      <a:pt x="7954" y="1675"/>
                    </a:lnTo>
                    <a:lnTo>
                      <a:pt x="7954" y="1675"/>
                    </a:lnTo>
                    <a:lnTo>
                      <a:pt x="11483" y="0"/>
                    </a:lnTo>
                    <a:lnTo>
                      <a:pt x="12380" y="179"/>
                    </a:lnTo>
                    <a:lnTo>
                      <a:pt x="15729" y="837"/>
                    </a:lnTo>
                    <a:lnTo>
                      <a:pt x="15849" y="837"/>
                    </a:lnTo>
                    <a:lnTo>
                      <a:pt x="15909" y="837"/>
                    </a:lnTo>
                    <a:lnTo>
                      <a:pt x="16387" y="957"/>
                    </a:lnTo>
                    <a:lnTo>
                      <a:pt x="19916" y="1675"/>
                    </a:lnTo>
                    <a:lnTo>
                      <a:pt x="20693" y="1854"/>
                    </a:lnTo>
                  </a:path>
                </a:pathLst>
              </a:custGeom>
              <a:noFill/>
              <a:ln w="6350" cap="rnd">
                <a:solidFill>
                  <a:schemeClr val="bg1">
                    <a:alpha val="80000"/>
                  </a:schemeClr>
                </a:solidFill>
                <a:prstDash val="solid"/>
                <a:round/>
              </a:ln>
            </p:spPr>
            <p:txBody>
              <a:bodyPr rtlCol="0" anchor="ctr"/>
              <a:lstStyle/>
              <a:p>
                <a:endParaRPr lang="en-GB"/>
              </a:p>
            </p:txBody>
          </p:sp>
          <p:sp>
            <p:nvSpPr>
              <p:cNvPr id="6489" name="Vrije vorm: vorm 6488">
                <a:extLst>
                  <a:ext uri="{FF2B5EF4-FFF2-40B4-BE49-F238E27FC236}">
                    <a16:creationId xmlns:a16="http://schemas.microsoft.com/office/drawing/2014/main" id="{D4B3D5FF-8150-4544-B9DB-0D1C05B00157}"/>
                  </a:ext>
                </a:extLst>
              </p:cNvPr>
              <p:cNvSpPr/>
              <p:nvPr/>
            </p:nvSpPr>
            <p:spPr>
              <a:xfrm>
                <a:off x="6871690" y="1913811"/>
                <a:ext cx="29245" cy="13097"/>
              </a:xfrm>
              <a:custGeom>
                <a:avLst/>
                <a:gdLst>
                  <a:gd name="connsiteX0" fmla="*/ 0 w 29245"/>
                  <a:gd name="connsiteY0" fmla="*/ 13098 h 13097"/>
                  <a:gd name="connsiteX1" fmla="*/ 2392 w 29245"/>
                  <a:gd name="connsiteY1" fmla="*/ 9390 h 13097"/>
                  <a:gd name="connsiteX2" fmla="*/ 4904 w 29245"/>
                  <a:gd name="connsiteY2" fmla="*/ 5502 h 13097"/>
                  <a:gd name="connsiteX3" fmla="*/ 6160 w 29245"/>
                  <a:gd name="connsiteY3" fmla="*/ 3588 h 13097"/>
                  <a:gd name="connsiteX4" fmla="*/ 8672 w 29245"/>
                  <a:gd name="connsiteY4" fmla="*/ 1615 h 13097"/>
                  <a:gd name="connsiteX5" fmla="*/ 9330 w 29245"/>
                  <a:gd name="connsiteY5" fmla="*/ 1076 h 13097"/>
                  <a:gd name="connsiteX6" fmla="*/ 11842 w 29245"/>
                  <a:gd name="connsiteY6" fmla="*/ 419 h 13097"/>
                  <a:gd name="connsiteX7" fmla="*/ 13457 w 29245"/>
                  <a:gd name="connsiteY7" fmla="*/ 0 h 13097"/>
                  <a:gd name="connsiteX8" fmla="*/ 14832 w 29245"/>
                  <a:gd name="connsiteY8" fmla="*/ 120 h 13097"/>
                  <a:gd name="connsiteX9" fmla="*/ 17822 w 29245"/>
                  <a:gd name="connsiteY9" fmla="*/ 419 h 13097"/>
                  <a:gd name="connsiteX10" fmla="*/ 18002 w 29245"/>
                  <a:gd name="connsiteY10" fmla="*/ 419 h 13097"/>
                  <a:gd name="connsiteX11" fmla="*/ 18839 w 29245"/>
                  <a:gd name="connsiteY11" fmla="*/ 598 h 13097"/>
                  <a:gd name="connsiteX12" fmla="*/ 22308 w 29245"/>
                  <a:gd name="connsiteY12" fmla="*/ 1256 h 13097"/>
                  <a:gd name="connsiteX13" fmla="*/ 25717 w 29245"/>
                  <a:gd name="connsiteY13" fmla="*/ 2751 h 13097"/>
                  <a:gd name="connsiteX14" fmla="*/ 25956 w 29245"/>
                  <a:gd name="connsiteY14" fmla="*/ 2871 h 13097"/>
                  <a:gd name="connsiteX15" fmla="*/ 26853 w 29245"/>
                  <a:gd name="connsiteY15" fmla="*/ 3289 h 13097"/>
                  <a:gd name="connsiteX16" fmla="*/ 27033 w 29245"/>
                  <a:gd name="connsiteY16" fmla="*/ 3349 h 13097"/>
                  <a:gd name="connsiteX17" fmla="*/ 27033 w 29245"/>
                  <a:gd name="connsiteY17" fmla="*/ 3349 h 13097"/>
                  <a:gd name="connsiteX18" fmla="*/ 27870 w 29245"/>
                  <a:gd name="connsiteY18" fmla="*/ 3768 h 13097"/>
                  <a:gd name="connsiteX19" fmla="*/ 28648 w 29245"/>
                  <a:gd name="connsiteY19" fmla="*/ 4127 h 13097"/>
                  <a:gd name="connsiteX20" fmla="*/ 29246 w 29245"/>
                  <a:gd name="connsiteY20" fmla="*/ 4426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245" h="13097">
                    <a:moveTo>
                      <a:pt x="0" y="13098"/>
                    </a:moveTo>
                    <a:lnTo>
                      <a:pt x="2392" y="9390"/>
                    </a:lnTo>
                    <a:lnTo>
                      <a:pt x="4904" y="5502"/>
                    </a:lnTo>
                    <a:lnTo>
                      <a:pt x="6160" y="3588"/>
                    </a:lnTo>
                    <a:lnTo>
                      <a:pt x="8672" y="1615"/>
                    </a:lnTo>
                    <a:lnTo>
                      <a:pt x="9330" y="1076"/>
                    </a:lnTo>
                    <a:lnTo>
                      <a:pt x="11842" y="419"/>
                    </a:lnTo>
                    <a:lnTo>
                      <a:pt x="13457" y="0"/>
                    </a:lnTo>
                    <a:lnTo>
                      <a:pt x="14832" y="120"/>
                    </a:lnTo>
                    <a:lnTo>
                      <a:pt x="17822" y="419"/>
                    </a:lnTo>
                    <a:lnTo>
                      <a:pt x="18002" y="419"/>
                    </a:lnTo>
                    <a:lnTo>
                      <a:pt x="18839" y="598"/>
                    </a:lnTo>
                    <a:lnTo>
                      <a:pt x="22308" y="1256"/>
                    </a:lnTo>
                    <a:lnTo>
                      <a:pt x="25717" y="2751"/>
                    </a:lnTo>
                    <a:lnTo>
                      <a:pt x="25956" y="2871"/>
                    </a:lnTo>
                    <a:lnTo>
                      <a:pt x="26853" y="3289"/>
                    </a:lnTo>
                    <a:lnTo>
                      <a:pt x="27033" y="3349"/>
                    </a:lnTo>
                    <a:lnTo>
                      <a:pt x="27033" y="3349"/>
                    </a:lnTo>
                    <a:lnTo>
                      <a:pt x="27870" y="3768"/>
                    </a:lnTo>
                    <a:lnTo>
                      <a:pt x="28648" y="4127"/>
                    </a:lnTo>
                    <a:lnTo>
                      <a:pt x="29246" y="4426"/>
                    </a:lnTo>
                  </a:path>
                </a:pathLst>
              </a:custGeom>
              <a:noFill/>
              <a:ln w="6350" cap="rnd">
                <a:solidFill>
                  <a:schemeClr val="bg1">
                    <a:alpha val="80000"/>
                  </a:schemeClr>
                </a:solidFill>
                <a:prstDash val="solid"/>
                <a:round/>
              </a:ln>
            </p:spPr>
            <p:txBody>
              <a:bodyPr rtlCol="0" anchor="ctr"/>
              <a:lstStyle/>
              <a:p>
                <a:endParaRPr lang="en-GB"/>
              </a:p>
            </p:txBody>
          </p:sp>
          <p:sp>
            <p:nvSpPr>
              <p:cNvPr id="6490" name="Vrije vorm: vorm 6489">
                <a:extLst>
                  <a:ext uri="{FF2B5EF4-FFF2-40B4-BE49-F238E27FC236}">
                    <a16:creationId xmlns:a16="http://schemas.microsoft.com/office/drawing/2014/main" id="{1A8C0C50-4F96-4BA2-9A97-B0C93EF92A47}"/>
                  </a:ext>
                </a:extLst>
              </p:cNvPr>
              <p:cNvSpPr/>
              <p:nvPr/>
            </p:nvSpPr>
            <p:spPr>
              <a:xfrm>
                <a:off x="6863855" y="1695575"/>
                <a:ext cx="1495" cy="3887"/>
              </a:xfrm>
              <a:custGeom>
                <a:avLst/>
                <a:gdLst>
                  <a:gd name="connsiteX0" fmla="*/ 0 w 1495"/>
                  <a:gd name="connsiteY0" fmla="*/ 3887 h 3887"/>
                  <a:gd name="connsiteX1" fmla="*/ 658 w 1495"/>
                  <a:gd name="connsiteY1" fmla="*/ 2871 h 3887"/>
                  <a:gd name="connsiteX2" fmla="*/ 1435 w 1495"/>
                  <a:gd name="connsiteY2" fmla="*/ 837 h 3887"/>
                  <a:gd name="connsiteX3" fmla="*/ 1495 w 1495"/>
                  <a:gd name="connsiteY3" fmla="*/ 0 h 3887"/>
                </a:gdLst>
                <a:ahLst/>
                <a:cxnLst>
                  <a:cxn ang="0">
                    <a:pos x="connsiteX0" y="connsiteY0"/>
                  </a:cxn>
                  <a:cxn ang="0">
                    <a:pos x="connsiteX1" y="connsiteY1"/>
                  </a:cxn>
                  <a:cxn ang="0">
                    <a:pos x="connsiteX2" y="connsiteY2"/>
                  </a:cxn>
                  <a:cxn ang="0">
                    <a:pos x="connsiteX3" y="connsiteY3"/>
                  </a:cxn>
                </a:cxnLst>
                <a:rect l="l" t="t" r="r" b="b"/>
                <a:pathLst>
                  <a:path w="1495" h="3887">
                    <a:moveTo>
                      <a:pt x="0" y="3887"/>
                    </a:moveTo>
                    <a:lnTo>
                      <a:pt x="658" y="2871"/>
                    </a:lnTo>
                    <a:lnTo>
                      <a:pt x="1435" y="837"/>
                    </a:lnTo>
                    <a:lnTo>
                      <a:pt x="1495" y="0"/>
                    </a:lnTo>
                  </a:path>
                </a:pathLst>
              </a:custGeom>
              <a:noFill/>
              <a:ln w="6350" cap="rnd">
                <a:solidFill>
                  <a:schemeClr val="bg1">
                    <a:alpha val="80000"/>
                  </a:schemeClr>
                </a:solidFill>
                <a:prstDash val="solid"/>
                <a:round/>
              </a:ln>
            </p:spPr>
            <p:txBody>
              <a:bodyPr rtlCol="0" anchor="ctr"/>
              <a:lstStyle/>
              <a:p>
                <a:endParaRPr lang="en-GB"/>
              </a:p>
            </p:txBody>
          </p:sp>
          <p:sp>
            <p:nvSpPr>
              <p:cNvPr id="6491" name="Vrije vorm: vorm 6490">
                <a:extLst>
                  <a:ext uri="{FF2B5EF4-FFF2-40B4-BE49-F238E27FC236}">
                    <a16:creationId xmlns:a16="http://schemas.microsoft.com/office/drawing/2014/main" id="{4CBC380A-600A-48CA-A02B-F3391E821F2E}"/>
                  </a:ext>
                </a:extLst>
              </p:cNvPr>
              <p:cNvSpPr/>
              <p:nvPr/>
            </p:nvSpPr>
            <p:spPr>
              <a:xfrm>
                <a:off x="6759372" y="1970389"/>
                <a:ext cx="12440" cy="29365"/>
              </a:xfrm>
              <a:custGeom>
                <a:avLst/>
                <a:gdLst>
                  <a:gd name="connsiteX0" fmla="*/ 11842 w 12440"/>
                  <a:gd name="connsiteY0" fmla="*/ 0 h 29365"/>
                  <a:gd name="connsiteX1" fmla="*/ 12021 w 12440"/>
                  <a:gd name="connsiteY1" fmla="*/ 4007 h 29365"/>
                  <a:gd name="connsiteX2" fmla="*/ 12021 w 12440"/>
                  <a:gd name="connsiteY2" fmla="*/ 4306 h 29365"/>
                  <a:gd name="connsiteX3" fmla="*/ 12141 w 12440"/>
                  <a:gd name="connsiteY3" fmla="*/ 4785 h 29365"/>
                  <a:gd name="connsiteX4" fmla="*/ 12440 w 12440"/>
                  <a:gd name="connsiteY4" fmla="*/ 6220 h 29365"/>
                  <a:gd name="connsiteX5" fmla="*/ 12141 w 12440"/>
                  <a:gd name="connsiteY5" fmla="*/ 8074 h 29365"/>
                  <a:gd name="connsiteX6" fmla="*/ 12141 w 12440"/>
                  <a:gd name="connsiteY6" fmla="*/ 8253 h 29365"/>
                  <a:gd name="connsiteX7" fmla="*/ 11842 w 12440"/>
                  <a:gd name="connsiteY7" fmla="*/ 10227 h 29365"/>
                  <a:gd name="connsiteX8" fmla="*/ 11782 w 12440"/>
                  <a:gd name="connsiteY8" fmla="*/ 10406 h 29365"/>
                  <a:gd name="connsiteX9" fmla="*/ 11304 w 12440"/>
                  <a:gd name="connsiteY9" fmla="*/ 12021 h 29365"/>
                  <a:gd name="connsiteX10" fmla="*/ 11304 w 12440"/>
                  <a:gd name="connsiteY10" fmla="*/ 12081 h 29365"/>
                  <a:gd name="connsiteX11" fmla="*/ 11304 w 12440"/>
                  <a:gd name="connsiteY11" fmla="*/ 12081 h 29365"/>
                  <a:gd name="connsiteX12" fmla="*/ 11244 w 12440"/>
                  <a:gd name="connsiteY12" fmla="*/ 12260 h 29365"/>
                  <a:gd name="connsiteX13" fmla="*/ 11124 w 12440"/>
                  <a:gd name="connsiteY13" fmla="*/ 12739 h 29365"/>
                  <a:gd name="connsiteX14" fmla="*/ 10945 w 12440"/>
                  <a:gd name="connsiteY14" fmla="*/ 13337 h 29365"/>
                  <a:gd name="connsiteX15" fmla="*/ 10347 w 12440"/>
                  <a:gd name="connsiteY15" fmla="*/ 15251 h 29365"/>
                  <a:gd name="connsiteX16" fmla="*/ 10347 w 12440"/>
                  <a:gd name="connsiteY16" fmla="*/ 15311 h 29365"/>
                  <a:gd name="connsiteX17" fmla="*/ 9988 w 12440"/>
                  <a:gd name="connsiteY17" fmla="*/ 16268 h 29365"/>
                  <a:gd name="connsiteX18" fmla="*/ 9928 w 12440"/>
                  <a:gd name="connsiteY18" fmla="*/ 16507 h 29365"/>
                  <a:gd name="connsiteX19" fmla="*/ 9689 w 12440"/>
                  <a:gd name="connsiteY19" fmla="*/ 17105 h 29365"/>
                  <a:gd name="connsiteX20" fmla="*/ 9569 w 12440"/>
                  <a:gd name="connsiteY20" fmla="*/ 17464 h 29365"/>
                  <a:gd name="connsiteX21" fmla="*/ 9450 w 12440"/>
                  <a:gd name="connsiteY21" fmla="*/ 17763 h 29365"/>
                  <a:gd name="connsiteX22" fmla="*/ 8971 w 12440"/>
                  <a:gd name="connsiteY22" fmla="*/ 18959 h 29365"/>
                  <a:gd name="connsiteX23" fmla="*/ 8851 w 12440"/>
                  <a:gd name="connsiteY23" fmla="*/ 19318 h 29365"/>
                  <a:gd name="connsiteX24" fmla="*/ 8792 w 12440"/>
                  <a:gd name="connsiteY24" fmla="*/ 19437 h 29365"/>
                  <a:gd name="connsiteX25" fmla="*/ 7476 w 12440"/>
                  <a:gd name="connsiteY25" fmla="*/ 23086 h 29365"/>
                  <a:gd name="connsiteX26" fmla="*/ 7476 w 12440"/>
                  <a:gd name="connsiteY26" fmla="*/ 23145 h 29365"/>
                  <a:gd name="connsiteX27" fmla="*/ 7117 w 12440"/>
                  <a:gd name="connsiteY27" fmla="*/ 24043 h 29365"/>
                  <a:gd name="connsiteX28" fmla="*/ 6280 w 12440"/>
                  <a:gd name="connsiteY28" fmla="*/ 26255 h 29365"/>
                  <a:gd name="connsiteX29" fmla="*/ 5742 w 12440"/>
                  <a:gd name="connsiteY29" fmla="*/ 27392 h 29365"/>
                  <a:gd name="connsiteX30" fmla="*/ 4725 w 12440"/>
                  <a:gd name="connsiteY30" fmla="*/ 29365 h 29365"/>
                  <a:gd name="connsiteX31" fmla="*/ 837 w 12440"/>
                  <a:gd name="connsiteY31" fmla="*/ 27990 h 29365"/>
                  <a:gd name="connsiteX32" fmla="*/ 180 w 12440"/>
                  <a:gd name="connsiteY32" fmla="*/ 26435 h 29365"/>
                  <a:gd name="connsiteX33" fmla="*/ 0 w 12440"/>
                  <a:gd name="connsiteY33" fmla="*/ 26375 h 2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440" h="29365">
                    <a:moveTo>
                      <a:pt x="11842" y="0"/>
                    </a:moveTo>
                    <a:lnTo>
                      <a:pt x="12021" y="4007"/>
                    </a:lnTo>
                    <a:lnTo>
                      <a:pt x="12021" y="4306"/>
                    </a:lnTo>
                    <a:lnTo>
                      <a:pt x="12141" y="4785"/>
                    </a:lnTo>
                    <a:lnTo>
                      <a:pt x="12440" y="6220"/>
                    </a:lnTo>
                    <a:lnTo>
                      <a:pt x="12141" y="8074"/>
                    </a:lnTo>
                    <a:lnTo>
                      <a:pt x="12141" y="8253"/>
                    </a:lnTo>
                    <a:lnTo>
                      <a:pt x="11842" y="10227"/>
                    </a:lnTo>
                    <a:lnTo>
                      <a:pt x="11782" y="10406"/>
                    </a:lnTo>
                    <a:lnTo>
                      <a:pt x="11304" y="12021"/>
                    </a:lnTo>
                    <a:lnTo>
                      <a:pt x="11304" y="12081"/>
                    </a:lnTo>
                    <a:lnTo>
                      <a:pt x="11304" y="12081"/>
                    </a:lnTo>
                    <a:lnTo>
                      <a:pt x="11244" y="12260"/>
                    </a:lnTo>
                    <a:lnTo>
                      <a:pt x="11124" y="12739"/>
                    </a:lnTo>
                    <a:lnTo>
                      <a:pt x="10945" y="13337"/>
                    </a:lnTo>
                    <a:lnTo>
                      <a:pt x="10347" y="15251"/>
                    </a:lnTo>
                    <a:lnTo>
                      <a:pt x="10347" y="15311"/>
                    </a:lnTo>
                    <a:lnTo>
                      <a:pt x="9988" y="16268"/>
                    </a:lnTo>
                    <a:lnTo>
                      <a:pt x="9928" y="16507"/>
                    </a:lnTo>
                    <a:lnTo>
                      <a:pt x="9689" y="17105"/>
                    </a:lnTo>
                    <a:lnTo>
                      <a:pt x="9569" y="17464"/>
                    </a:lnTo>
                    <a:lnTo>
                      <a:pt x="9450" y="17763"/>
                    </a:lnTo>
                    <a:lnTo>
                      <a:pt x="8971" y="18959"/>
                    </a:lnTo>
                    <a:lnTo>
                      <a:pt x="8851" y="19318"/>
                    </a:lnTo>
                    <a:lnTo>
                      <a:pt x="8792" y="19437"/>
                    </a:lnTo>
                    <a:lnTo>
                      <a:pt x="7476" y="23086"/>
                    </a:lnTo>
                    <a:lnTo>
                      <a:pt x="7476" y="23145"/>
                    </a:lnTo>
                    <a:lnTo>
                      <a:pt x="7117" y="24043"/>
                    </a:lnTo>
                    <a:lnTo>
                      <a:pt x="6280" y="26255"/>
                    </a:lnTo>
                    <a:lnTo>
                      <a:pt x="5742" y="27392"/>
                    </a:lnTo>
                    <a:lnTo>
                      <a:pt x="4725" y="29365"/>
                    </a:lnTo>
                    <a:lnTo>
                      <a:pt x="837" y="27990"/>
                    </a:lnTo>
                    <a:lnTo>
                      <a:pt x="180" y="26435"/>
                    </a:lnTo>
                    <a:lnTo>
                      <a:pt x="0" y="26375"/>
                    </a:lnTo>
                  </a:path>
                </a:pathLst>
              </a:custGeom>
              <a:noFill/>
              <a:ln w="6350" cap="rnd">
                <a:solidFill>
                  <a:schemeClr val="bg1">
                    <a:alpha val="80000"/>
                  </a:schemeClr>
                </a:solidFill>
                <a:prstDash val="solid"/>
                <a:round/>
              </a:ln>
            </p:spPr>
            <p:txBody>
              <a:bodyPr rtlCol="0" anchor="ctr"/>
              <a:lstStyle/>
              <a:p>
                <a:endParaRPr lang="en-GB"/>
              </a:p>
            </p:txBody>
          </p:sp>
          <p:sp>
            <p:nvSpPr>
              <p:cNvPr id="6492" name="Vrije vorm: vorm 6491">
                <a:extLst>
                  <a:ext uri="{FF2B5EF4-FFF2-40B4-BE49-F238E27FC236}">
                    <a16:creationId xmlns:a16="http://schemas.microsoft.com/office/drawing/2014/main" id="{A6A4FB72-9FCC-4C42-B63C-8BCC74EBF695}"/>
                  </a:ext>
                </a:extLst>
              </p:cNvPr>
              <p:cNvSpPr/>
              <p:nvPr/>
            </p:nvSpPr>
            <p:spPr>
              <a:xfrm>
                <a:off x="6828030" y="1927567"/>
                <a:ext cx="33791" cy="8612"/>
              </a:xfrm>
              <a:custGeom>
                <a:avLst/>
                <a:gdLst>
                  <a:gd name="connsiteX0" fmla="*/ 33791 w 33791"/>
                  <a:gd name="connsiteY0" fmla="*/ 6459 h 8612"/>
                  <a:gd name="connsiteX1" fmla="*/ 32714 w 33791"/>
                  <a:gd name="connsiteY1" fmla="*/ 7356 h 8612"/>
                  <a:gd name="connsiteX2" fmla="*/ 31698 w 33791"/>
                  <a:gd name="connsiteY2" fmla="*/ 8194 h 8612"/>
                  <a:gd name="connsiteX3" fmla="*/ 31160 w 33791"/>
                  <a:gd name="connsiteY3" fmla="*/ 8612 h 8612"/>
                  <a:gd name="connsiteX4" fmla="*/ 31160 w 33791"/>
                  <a:gd name="connsiteY4" fmla="*/ 8612 h 8612"/>
                  <a:gd name="connsiteX5" fmla="*/ 31160 w 33791"/>
                  <a:gd name="connsiteY5" fmla="*/ 8612 h 8612"/>
                  <a:gd name="connsiteX6" fmla="*/ 29904 w 33791"/>
                  <a:gd name="connsiteY6" fmla="*/ 8313 h 8612"/>
                  <a:gd name="connsiteX7" fmla="*/ 28827 w 33791"/>
                  <a:gd name="connsiteY7" fmla="*/ 8074 h 8612"/>
                  <a:gd name="connsiteX8" fmla="*/ 25478 w 33791"/>
                  <a:gd name="connsiteY8" fmla="*/ 7177 h 8612"/>
                  <a:gd name="connsiteX9" fmla="*/ 23086 w 33791"/>
                  <a:gd name="connsiteY9" fmla="*/ 6579 h 8612"/>
                  <a:gd name="connsiteX10" fmla="*/ 17703 w 33791"/>
                  <a:gd name="connsiteY10" fmla="*/ 5143 h 8612"/>
                  <a:gd name="connsiteX11" fmla="*/ 17105 w 33791"/>
                  <a:gd name="connsiteY11" fmla="*/ 4964 h 8612"/>
                  <a:gd name="connsiteX12" fmla="*/ 15371 w 33791"/>
                  <a:gd name="connsiteY12" fmla="*/ 4486 h 8612"/>
                  <a:gd name="connsiteX13" fmla="*/ 13876 w 33791"/>
                  <a:gd name="connsiteY13" fmla="*/ 4067 h 8612"/>
                  <a:gd name="connsiteX14" fmla="*/ 13218 w 33791"/>
                  <a:gd name="connsiteY14" fmla="*/ 3888 h 8612"/>
                  <a:gd name="connsiteX15" fmla="*/ 13218 w 33791"/>
                  <a:gd name="connsiteY15" fmla="*/ 3888 h 8612"/>
                  <a:gd name="connsiteX16" fmla="*/ 5443 w 33791"/>
                  <a:gd name="connsiteY16" fmla="*/ 1854 h 8612"/>
                  <a:gd name="connsiteX17" fmla="*/ 5083 w 33791"/>
                  <a:gd name="connsiteY17" fmla="*/ 1734 h 8612"/>
                  <a:gd name="connsiteX18" fmla="*/ 1974 w 33791"/>
                  <a:gd name="connsiteY18" fmla="*/ 658 h 8612"/>
                  <a:gd name="connsiteX19" fmla="*/ 1256 w 33791"/>
                  <a:gd name="connsiteY19" fmla="*/ 419 h 8612"/>
                  <a:gd name="connsiteX20" fmla="*/ 0 w 33791"/>
                  <a:gd name="connsiteY20" fmla="*/ 0 h 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791" h="8612">
                    <a:moveTo>
                      <a:pt x="33791" y="6459"/>
                    </a:moveTo>
                    <a:lnTo>
                      <a:pt x="32714" y="7356"/>
                    </a:lnTo>
                    <a:lnTo>
                      <a:pt x="31698" y="8194"/>
                    </a:lnTo>
                    <a:lnTo>
                      <a:pt x="31160" y="8612"/>
                    </a:lnTo>
                    <a:lnTo>
                      <a:pt x="31160" y="8612"/>
                    </a:lnTo>
                    <a:lnTo>
                      <a:pt x="31160" y="8612"/>
                    </a:lnTo>
                    <a:lnTo>
                      <a:pt x="29904" y="8313"/>
                    </a:lnTo>
                    <a:lnTo>
                      <a:pt x="28827" y="8074"/>
                    </a:lnTo>
                    <a:lnTo>
                      <a:pt x="25478" y="7177"/>
                    </a:lnTo>
                    <a:lnTo>
                      <a:pt x="23086" y="6579"/>
                    </a:lnTo>
                    <a:lnTo>
                      <a:pt x="17703" y="5143"/>
                    </a:lnTo>
                    <a:lnTo>
                      <a:pt x="17105" y="4964"/>
                    </a:lnTo>
                    <a:lnTo>
                      <a:pt x="15371" y="4486"/>
                    </a:lnTo>
                    <a:lnTo>
                      <a:pt x="13876" y="4067"/>
                    </a:lnTo>
                    <a:lnTo>
                      <a:pt x="13218" y="3888"/>
                    </a:lnTo>
                    <a:lnTo>
                      <a:pt x="13218" y="3888"/>
                    </a:lnTo>
                    <a:lnTo>
                      <a:pt x="5443" y="1854"/>
                    </a:lnTo>
                    <a:lnTo>
                      <a:pt x="5083" y="1734"/>
                    </a:lnTo>
                    <a:lnTo>
                      <a:pt x="1974" y="658"/>
                    </a:lnTo>
                    <a:lnTo>
                      <a:pt x="1256" y="41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493" name="Vrije vorm: vorm 6492">
                <a:extLst>
                  <a:ext uri="{FF2B5EF4-FFF2-40B4-BE49-F238E27FC236}">
                    <a16:creationId xmlns:a16="http://schemas.microsoft.com/office/drawing/2014/main" id="{899F4B6F-33C3-490C-8B2F-64EDB369CCFD}"/>
                  </a:ext>
                </a:extLst>
              </p:cNvPr>
              <p:cNvSpPr/>
              <p:nvPr/>
            </p:nvSpPr>
            <p:spPr>
              <a:xfrm>
                <a:off x="6757039" y="1818179"/>
                <a:ext cx="86720" cy="62558"/>
              </a:xfrm>
              <a:custGeom>
                <a:avLst/>
                <a:gdLst>
                  <a:gd name="connsiteX0" fmla="*/ 0 w 86720"/>
                  <a:gd name="connsiteY0" fmla="*/ 62558 h 62558"/>
                  <a:gd name="connsiteX1" fmla="*/ 0 w 86720"/>
                  <a:gd name="connsiteY1" fmla="*/ 56518 h 62558"/>
                  <a:gd name="connsiteX2" fmla="*/ 0 w 86720"/>
                  <a:gd name="connsiteY2" fmla="*/ 54604 h 62558"/>
                  <a:gd name="connsiteX3" fmla="*/ 479 w 86720"/>
                  <a:gd name="connsiteY3" fmla="*/ 54185 h 62558"/>
                  <a:gd name="connsiteX4" fmla="*/ 239 w 86720"/>
                  <a:gd name="connsiteY4" fmla="*/ 53886 h 62558"/>
                  <a:gd name="connsiteX5" fmla="*/ 0 w 86720"/>
                  <a:gd name="connsiteY5" fmla="*/ 53587 h 62558"/>
                  <a:gd name="connsiteX6" fmla="*/ 359 w 86720"/>
                  <a:gd name="connsiteY6" fmla="*/ 52032 h 62558"/>
                  <a:gd name="connsiteX7" fmla="*/ 1914 w 86720"/>
                  <a:gd name="connsiteY7" fmla="*/ 44676 h 62558"/>
                  <a:gd name="connsiteX8" fmla="*/ 4306 w 86720"/>
                  <a:gd name="connsiteY8" fmla="*/ 33432 h 62558"/>
                  <a:gd name="connsiteX9" fmla="*/ 8732 w 86720"/>
                  <a:gd name="connsiteY9" fmla="*/ 22906 h 62558"/>
                  <a:gd name="connsiteX10" fmla="*/ 11543 w 86720"/>
                  <a:gd name="connsiteY10" fmla="*/ 17823 h 62558"/>
                  <a:gd name="connsiteX11" fmla="*/ 14234 w 86720"/>
                  <a:gd name="connsiteY11" fmla="*/ 12978 h 62558"/>
                  <a:gd name="connsiteX12" fmla="*/ 17284 w 86720"/>
                  <a:gd name="connsiteY12" fmla="*/ 9629 h 62558"/>
                  <a:gd name="connsiteX13" fmla="*/ 27332 w 86720"/>
                  <a:gd name="connsiteY13" fmla="*/ 1017 h 62558"/>
                  <a:gd name="connsiteX14" fmla="*/ 27811 w 86720"/>
                  <a:gd name="connsiteY14" fmla="*/ 837 h 62558"/>
                  <a:gd name="connsiteX15" fmla="*/ 29784 w 86720"/>
                  <a:gd name="connsiteY15" fmla="*/ 0 h 62558"/>
                  <a:gd name="connsiteX16" fmla="*/ 33253 w 86720"/>
                  <a:gd name="connsiteY16" fmla="*/ 120 h 62558"/>
                  <a:gd name="connsiteX17" fmla="*/ 45155 w 86720"/>
                  <a:gd name="connsiteY17" fmla="*/ 6040 h 62558"/>
                  <a:gd name="connsiteX18" fmla="*/ 53647 w 86720"/>
                  <a:gd name="connsiteY18" fmla="*/ 11005 h 62558"/>
                  <a:gd name="connsiteX19" fmla="*/ 53647 w 86720"/>
                  <a:gd name="connsiteY19" fmla="*/ 11005 h 62558"/>
                  <a:gd name="connsiteX20" fmla="*/ 56877 w 86720"/>
                  <a:gd name="connsiteY20" fmla="*/ 12918 h 62558"/>
                  <a:gd name="connsiteX21" fmla="*/ 57295 w 86720"/>
                  <a:gd name="connsiteY21" fmla="*/ 13158 h 62558"/>
                  <a:gd name="connsiteX22" fmla="*/ 60346 w 86720"/>
                  <a:gd name="connsiteY22" fmla="*/ 14952 h 62558"/>
                  <a:gd name="connsiteX23" fmla="*/ 60465 w 86720"/>
                  <a:gd name="connsiteY23" fmla="*/ 15012 h 62558"/>
                  <a:gd name="connsiteX24" fmla="*/ 60465 w 86720"/>
                  <a:gd name="connsiteY24" fmla="*/ 15012 h 62558"/>
                  <a:gd name="connsiteX25" fmla="*/ 61123 w 86720"/>
                  <a:gd name="connsiteY25" fmla="*/ 15430 h 62558"/>
                  <a:gd name="connsiteX26" fmla="*/ 65728 w 86720"/>
                  <a:gd name="connsiteY26" fmla="*/ 18421 h 62558"/>
                  <a:gd name="connsiteX27" fmla="*/ 67941 w 86720"/>
                  <a:gd name="connsiteY27" fmla="*/ 19856 h 62558"/>
                  <a:gd name="connsiteX28" fmla="*/ 68958 w 86720"/>
                  <a:gd name="connsiteY28" fmla="*/ 20514 h 62558"/>
                  <a:gd name="connsiteX29" fmla="*/ 70154 w 86720"/>
                  <a:gd name="connsiteY29" fmla="*/ 21291 h 62558"/>
                  <a:gd name="connsiteX30" fmla="*/ 72307 w 86720"/>
                  <a:gd name="connsiteY30" fmla="*/ 22667 h 62558"/>
                  <a:gd name="connsiteX31" fmla="*/ 75297 w 86720"/>
                  <a:gd name="connsiteY31" fmla="*/ 24581 h 62558"/>
                  <a:gd name="connsiteX32" fmla="*/ 75417 w 86720"/>
                  <a:gd name="connsiteY32" fmla="*/ 24641 h 62558"/>
                  <a:gd name="connsiteX33" fmla="*/ 76194 w 86720"/>
                  <a:gd name="connsiteY33" fmla="*/ 25239 h 62558"/>
                  <a:gd name="connsiteX34" fmla="*/ 76613 w 86720"/>
                  <a:gd name="connsiteY34" fmla="*/ 25538 h 62558"/>
                  <a:gd name="connsiteX35" fmla="*/ 76792 w 86720"/>
                  <a:gd name="connsiteY35" fmla="*/ 25657 h 62558"/>
                  <a:gd name="connsiteX36" fmla="*/ 77331 w 86720"/>
                  <a:gd name="connsiteY36" fmla="*/ 26016 h 62558"/>
                  <a:gd name="connsiteX37" fmla="*/ 77809 w 86720"/>
                  <a:gd name="connsiteY37" fmla="*/ 26375 h 62558"/>
                  <a:gd name="connsiteX38" fmla="*/ 77929 w 86720"/>
                  <a:gd name="connsiteY38" fmla="*/ 26495 h 62558"/>
                  <a:gd name="connsiteX39" fmla="*/ 78109 w 86720"/>
                  <a:gd name="connsiteY39" fmla="*/ 26614 h 62558"/>
                  <a:gd name="connsiteX40" fmla="*/ 78647 w 86720"/>
                  <a:gd name="connsiteY40" fmla="*/ 26973 h 62558"/>
                  <a:gd name="connsiteX41" fmla="*/ 78707 w 86720"/>
                  <a:gd name="connsiteY41" fmla="*/ 26973 h 62558"/>
                  <a:gd name="connsiteX42" fmla="*/ 78766 w 86720"/>
                  <a:gd name="connsiteY42" fmla="*/ 26973 h 62558"/>
                  <a:gd name="connsiteX43" fmla="*/ 79185 w 86720"/>
                  <a:gd name="connsiteY43" fmla="*/ 27272 h 62558"/>
                  <a:gd name="connsiteX44" fmla="*/ 79484 w 86720"/>
                  <a:gd name="connsiteY44" fmla="*/ 27451 h 62558"/>
                  <a:gd name="connsiteX45" fmla="*/ 82115 w 86720"/>
                  <a:gd name="connsiteY45" fmla="*/ 29425 h 62558"/>
                  <a:gd name="connsiteX46" fmla="*/ 84927 w 86720"/>
                  <a:gd name="connsiteY46" fmla="*/ 31518 h 62558"/>
                  <a:gd name="connsiteX47" fmla="*/ 85165 w 86720"/>
                  <a:gd name="connsiteY47" fmla="*/ 31698 h 62558"/>
                  <a:gd name="connsiteX48" fmla="*/ 86063 w 86720"/>
                  <a:gd name="connsiteY48" fmla="*/ 32356 h 62558"/>
                  <a:gd name="connsiteX49" fmla="*/ 86422 w 86720"/>
                  <a:gd name="connsiteY49" fmla="*/ 32595 h 62558"/>
                  <a:gd name="connsiteX50" fmla="*/ 86720 w 86720"/>
                  <a:gd name="connsiteY50" fmla="*/ 32894 h 6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6720" h="62558">
                    <a:moveTo>
                      <a:pt x="0" y="62558"/>
                    </a:moveTo>
                    <a:lnTo>
                      <a:pt x="0" y="56518"/>
                    </a:lnTo>
                    <a:lnTo>
                      <a:pt x="0" y="54604"/>
                    </a:lnTo>
                    <a:lnTo>
                      <a:pt x="479" y="54185"/>
                    </a:lnTo>
                    <a:lnTo>
                      <a:pt x="239" y="53886"/>
                    </a:lnTo>
                    <a:lnTo>
                      <a:pt x="0" y="53587"/>
                    </a:lnTo>
                    <a:lnTo>
                      <a:pt x="359" y="52032"/>
                    </a:lnTo>
                    <a:lnTo>
                      <a:pt x="1914" y="44676"/>
                    </a:lnTo>
                    <a:lnTo>
                      <a:pt x="4306" y="33432"/>
                    </a:lnTo>
                    <a:lnTo>
                      <a:pt x="8732" y="22906"/>
                    </a:lnTo>
                    <a:lnTo>
                      <a:pt x="11543" y="17823"/>
                    </a:lnTo>
                    <a:lnTo>
                      <a:pt x="14234" y="12978"/>
                    </a:lnTo>
                    <a:lnTo>
                      <a:pt x="17284" y="9629"/>
                    </a:lnTo>
                    <a:lnTo>
                      <a:pt x="27332" y="1017"/>
                    </a:lnTo>
                    <a:lnTo>
                      <a:pt x="27811" y="837"/>
                    </a:lnTo>
                    <a:lnTo>
                      <a:pt x="29784" y="0"/>
                    </a:lnTo>
                    <a:lnTo>
                      <a:pt x="33253" y="120"/>
                    </a:lnTo>
                    <a:lnTo>
                      <a:pt x="45155" y="6040"/>
                    </a:lnTo>
                    <a:lnTo>
                      <a:pt x="53647" y="11005"/>
                    </a:lnTo>
                    <a:lnTo>
                      <a:pt x="53647" y="11005"/>
                    </a:lnTo>
                    <a:lnTo>
                      <a:pt x="56877" y="12918"/>
                    </a:lnTo>
                    <a:lnTo>
                      <a:pt x="57295" y="13158"/>
                    </a:lnTo>
                    <a:lnTo>
                      <a:pt x="60346" y="14952"/>
                    </a:lnTo>
                    <a:lnTo>
                      <a:pt x="60465" y="15012"/>
                    </a:lnTo>
                    <a:lnTo>
                      <a:pt x="60465" y="15012"/>
                    </a:lnTo>
                    <a:lnTo>
                      <a:pt x="61123" y="15430"/>
                    </a:lnTo>
                    <a:lnTo>
                      <a:pt x="65728" y="18421"/>
                    </a:lnTo>
                    <a:lnTo>
                      <a:pt x="67941" y="19856"/>
                    </a:lnTo>
                    <a:lnTo>
                      <a:pt x="68958" y="20514"/>
                    </a:lnTo>
                    <a:lnTo>
                      <a:pt x="70154" y="21291"/>
                    </a:lnTo>
                    <a:lnTo>
                      <a:pt x="72307" y="22667"/>
                    </a:lnTo>
                    <a:lnTo>
                      <a:pt x="75297" y="24581"/>
                    </a:lnTo>
                    <a:lnTo>
                      <a:pt x="75417" y="24641"/>
                    </a:lnTo>
                    <a:lnTo>
                      <a:pt x="76194" y="25239"/>
                    </a:lnTo>
                    <a:lnTo>
                      <a:pt x="76613" y="25538"/>
                    </a:lnTo>
                    <a:lnTo>
                      <a:pt x="76792" y="25657"/>
                    </a:lnTo>
                    <a:lnTo>
                      <a:pt x="77331" y="26016"/>
                    </a:lnTo>
                    <a:lnTo>
                      <a:pt x="77809" y="26375"/>
                    </a:lnTo>
                    <a:lnTo>
                      <a:pt x="77929" y="26495"/>
                    </a:lnTo>
                    <a:lnTo>
                      <a:pt x="78109" y="26614"/>
                    </a:lnTo>
                    <a:lnTo>
                      <a:pt x="78647" y="26973"/>
                    </a:lnTo>
                    <a:lnTo>
                      <a:pt x="78707" y="26973"/>
                    </a:lnTo>
                    <a:lnTo>
                      <a:pt x="78766" y="26973"/>
                    </a:lnTo>
                    <a:lnTo>
                      <a:pt x="79185" y="27272"/>
                    </a:lnTo>
                    <a:lnTo>
                      <a:pt x="79484" y="27451"/>
                    </a:lnTo>
                    <a:lnTo>
                      <a:pt x="82115" y="29425"/>
                    </a:lnTo>
                    <a:lnTo>
                      <a:pt x="84927" y="31518"/>
                    </a:lnTo>
                    <a:lnTo>
                      <a:pt x="85165" y="31698"/>
                    </a:lnTo>
                    <a:lnTo>
                      <a:pt x="86063" y="32356"/>
                    </a:lnTo>
                    <a:lnTo>
                      <a:pt x="86422" y="32595"/>
                    </a:lnTo>
                    <a:lnTo>
                      <a:pt x="86720" y="32894"/>
                    </a:lnTo>
                  </a:path>
                </a:pathLst>
              </a:custGeom>
              <a:noFill/>
              <a:ln w="6350" cap="rnd">
                <a:solidFill>
                  <a:schemeClr val="bg1">
                    <a:alpha val="80000"/>
                  </a:schemeClr>
                </a:solidFill>
                <a:prstDash val="solid"/>
                <a:round/>
              </a:ln>
            </p:spPr>
            <p:txBody>
              <a:bodyPr rtlCol="0" anchor="ctr"/>
              <a:lstStyle/>
              <a:p>
                <a:endParaRPr lang="en-GB"/>
              </a:p>
            </p:txBody>
          </p:sp>
          <p:sp>
            <p:nvSpPr>
              <p:cNvPr id="6494" name="Vrije vorm: vorm 6493">
                <a:extLst>
                  <a:ext uri="{FF2B5EF4-FFF2-40B4-BE49-F238E27FC236}">
                    <a16:creationId xmlns:a16="http://schemas.microsoft.com/office/drawing/2014/main" id="{018319D7-C213-48D7-8349-B47CC48F9143}"/>
                  </a:ext>
                </a:extLst>
              </p:cNvPr>
              <p:cNvSpPr/>
              <p:nvPr/>
            </p:nvSpPr>
            <p:spPr>
              <a:xfrm>
                <a:off x="6922466" y="1908488"/>
                <a:ext cx="41267" cy="13037"/>
              </a:xfrm>
              <a:custGeom>
                <a:avLst/>
                <a:gdLst>
                  <a:gd name="connsiteX0" fmla="*/ 0 w 41267"/>
                  <a:gd name="connsiteY0" fmla="*/ 5562 h 13037"/>
                  <a:gd name="connsiteX1" fmla="*/ 1256 w 41267"/>
                  <a:gd name="connsiteY1" fmla="*/ 5861 h 13037"/>
                  <a:gd name="connsiteX2" fmla="*/ 1435 w 41267"/>
                  <a:gd name="connsiteY2" fmla="*/ 5921 h 13037"/>
                  <a:gd name="connsiteX3" fmla="*/ 2333 w 41267"/>
                  <a:gd name="connsiteY3" fmla="*/ 6160 h 13037"/>
                  <a:gd name="connsiteX4" fmla="*/ 7236 w 41267"/>
                  <a:gd name="connsiteY4" fmla="*/ 7356 h 13037"/>
                  <a:gd name="connsiteX5" fmla="*/ 7656 w 41267"/>
                  <a:gd name="connsiteY5" fmla="*/ 7476 h 13037"/>
                  <a:gd name="connsiteX6" fmla="*/ 8493 w 41267"/>
                  <a:gd name="connsiteY6" fmla="*/ 7655 h 13037"/>
                  <a:gd name="connsiteX7" fmla="*/ 9091 w 41267"/>
                  <a:gd name="connsiteY7" fmla="*/ 7835 h 13037"/>
                  <a:gd name="connsiteX8" fmla="*/ 9211 w 41267"/>
                  <a:gd name="connsiteY8" fmla="*/ 7835 h 13037"/>
                  <a:gd name="connsiteX9" fmla="*/ 9629 w 41267"/>
                  <a:gd name="connsiteY9" fmla="*/ 7954 h 13037"/>
                  <a:gd name="connsiteX10" fmla="*/ 13397 w 41267"/>
                  <a:gd name="connsiteY10" fmla="*/ 8851 h 13037"/>
                  <a:gd name="connsiteX11" fmla="*/ 14354 w 41267"/>
                  <a:gd name="connsiteY11" fmla="*/ 9091 h 13037"/>
                  <a:gd name="connsiteX12" fmla="*/ 16327 w 41267"/>
                  <a:gd name="connsiteY12" fmla="*/ 9569 h 13037"/>
                  <a:gd name="connsiteX13" fmla="*/ 21232 w 41267"/>
                  <a:gd name="connsiteY13" fmla="*/ 10765 h 13037"/>
                  <a:gd name="connsiteX14" fmla="*/ 22488 w 41267"/>
                  <a:gd name="connsiteY14" fmla="*/ 11064 h 13037"/>
                  <a:gd name="connsiteX15" fmla="*/ 24880 w 41267"/>
                  <a:gd name="connsiteY15" fmla="*/ 11662 h 13037"/>
                  <a:gd name="connsiteX16" fmla="*/ 25238 w 41267"/>
                  <a:gd name="connsiteY16" fmla="*/ 11722 h 13037"/>
                  <a:gd name="connsiteX17" fmla="*/ 26794 w 41267"/>
                  <a:gd name="connsiteY17" fmla="*/ 12081 h 13037"/>
                  <a:gd name="connsiteX18" fmla="*/ 27033 w 41267"/>
                  <a:gd name="connsiteY18" fmla="*/ 12141 h 13037"/>
                  <a:gd name="connsiteX19" fmla="*/ 28289 w 41267"/>
                  <a:gd name="connsiteY19" fmla="*/ 12440 h 13037"/>
                  <a:gd name="connsiteX20" fmla="*/ 28468 w 41267"/>
                  <a:gd name="connsiteY20" fmla="*/ 12500 h 13037"/>
                  <a:gd name="connsiteX21" fmla="*/ 28827 w 41267"/>
                  <a:gd name="connsiteY21" fmla="*/ 12619 h 13037"/>
                  <a:gd name="connsiteX22" fmla="*/ 29186 w 41267"/>
                  <a:gd name="connsiteY22" fmla="*/ 12679 h 13037"/>
                  <a:gd name="connsiteX23" fmla="*/ 29544 w 41267"/>
                  <a:gd name="connsiteY23" fmla="*/ 12739 h 13037"/>
                  <a:gd name="connsiteX24" fmla="*/ 29963 w 41267"/>
                  <a:gd name="connsiteY24" fmla="*/ 12859 h 13037"/>
                  <a:gd name="connsiteX25" fmla="*/ 30801 w 41267"/>
                  <a:gd name="connsiteY25" fmla="*/ 13038 h 13037"/>
                  <a:gd name="connsiteX26" fmla="*/ 32116 w 41267"/>
                  <a:gd name="connsiteY26" fmla="*/ 10945 h 13037"/>
                  <a:gd name="connsiteX27" fmla="*/ 32296 w 41267"/>
                  <a:gd name="connsiteY27" fmla="*/ 10705 h 13037"/>
                  <a:gd name="connsiteX28" fmla="*/ 32834 w 41267"/>
                  <a:gd name="connsiteY28" fmla="*/ 9868 h 13037"/>
                  <a:gd name="connsiteX29" fmla="*/ 32954 w 41267"/>
                  <a:gd name="connsiteY29" fmla="*/ 9689 h 13037"/>
                  <a:gd name="connsiteX30" fmla="*/ 33193 w 41267"/>
                  <a:gd name="connsiteY30" fmla="*/ 9330 h 13037"/>
                  <a:gd name="connsiteX31" fmla="*/ 36124 w 41267"/>
                  <a:gd name="connsiteY31" fmla="*/ 4605 h 13037"/>
                  <a:gd name="connsiteX32" fmla="*/ 37320 w 41267"/>
                  <a:gd name="connsiteY32" fmla="*/ 2691 h 13037"/>
                  <a:gd name="connsiteX33" fmla="*/ 38277 w 41267"/>
                  <a:gd name="connsiteY33" fmla="*/ 1076 h 13037"/>
                  <a:gd name="connsiteX34" fmla="*/ 38935 w 41267"/>
                  <a:gd name="connsiteY34" fmla="*/ 0 h 13037"/>
                  <a:gd name="connsiteX35" fmla="*/ 39054 w 41267"/>
                  <a:gd name="connsiteY35" fmla="*/ 60 h 13037"/>
                  <a:gd name="connsiteX36" fmla="*/ 39413 w 41267"/>
                  <a:gd name="connsiteY36" fmla="*/ 179 h 13037"/>
                  <a:gd name="connsiteX37" fmla="*/ 39892 w 41267"/>
                  <a:gd name="connsiteY37" fmla="*/ 359 h 13037"/>
                  <a:gd name="connsiteX38" fmla="*/ 40250 w 41267"/>
                  <a:gd name="connsiteY38" fmla="*/ 478 h 13037"/>
                  <a:gd name="connsiteX39" fmla="*/ 40609 w 41267"/>
                  <a:gd name="connsiteY39" fmla="*/ 598 h 13037"/>
                  <a:gd name="connsiteX40" fmla="*/ 40908 w 41267"/>
                  <a:gd name="connsiteY40" fmla="*/ 777 h 13037"/>
                  <a:gd name="connsiteX41" fmla="*/ 41207 w 41267"/>
                  <a:gd name="connsiteY41" fmla="*/ 957 h 13037"/>
                  <a:gd name="connsiteX42" fmla="*/ 41267 w 41267"/>
                  <a:gd name="connsiteY42" fmla="*/ 1017 h 1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1267" h="13037">
                    <a:moveTo>
                      <a:pt x="0" y="5562"/>
                    </a:moveTo>
                    <a:lnTo>
                      <a:pt x="1256" y="5861"/>
                    </a:lnTo>
                    <a:lnTo>
                      <a:pt x="1435" y="5921"/>
                    </a:lnTo>
                    <a:lnTo>
                      <a:pt x="2333" y="6160"/>
                    </a:lnTo>
                    <a:lnTo>
                      <a:pt x="7236" y="7356"/>
                    </a:lnTo>
                    <a:lnTo>
                      <a:pt x="7656" y="7476"/>
                    </a:lnTo>
                    <a:lnTo>
                      <a:pt x="8493" y="7655"/>
                    </a:lnTo>
                    <a:lnTo>
                      <a:pt x="9091" y="7835"/>
                    </a:lnTo>
                    <a:lnTo>
                      <a:pt x="9211" y="7835"/>
                    </a:lnTo>
                    <a:lnTo>
                      <a:pt x="9629" y="7954"/>
                    </a:lnTo>
                    <a:lnTo>
                      <a:pt x="13397" y="8851"/>
                    </a:lnTo>
                    <a:lnTo>
                      <a:pt x="14354" y="9091"/>
                    </a:lnTo>
                    <a:lnTo>
                      <a:pt x="16327" y="9569"/>
                    </a:lnTo>
                    <a:lnTo>
                      <a:pt x="21232" y="10765"/>
                    </a:lnTo>
                    <a:lnTo>
                      <a:pt x="22488" y="11064"/>
                    </a:lnTo>
                    <a:lnTo>
                      <a:pt x="24880" y="11662"/>
                    </a:lnTo>
                    <a:lnTo>
                      <a:pt x="25238" y="11722"/>
                    </a:lnTo>
                    <a:lnTo>
                      <a:pt x="26794" y="12081"/>
                    </a:lnTo>
                    <a:lnTo>
                      <a:pt x="27033" y="12141"/>
                    </a:lnTo>
                    <a:lnTo>
                      <a:pt x="28289" y="12440"/>
                    </a:lnTo>
                    <a:lnTo>
                      <a:pt x="28468" y="12500"/>
                    </a:lnTo>
                    <a:lnTo>
                      <a:pt x="28827" y="12619"/>
                    </a:lnTo>
                    <a:lnTo>
                      <a:pt x="29186" y="12679"/>
                    </a:lnTo>
                    <a:lnTo>
                      <a:pt x="29544" y="12739"/>
                    </a:lnTo>
                    <a:lnTo>
                      <a:pt x="29963" y="12859"/>
                    </a:lnTo>
                    <a:lnTo>
                      <a:pt x="30801" y="13038"/>
                    </a:lnTo>
                    <a:lnTo>
                      <a:pt x="32116" y="10945"/>
                    </a:lnTo>
                    <a:lnTo>
                      <a:pt x="32296" y="10705"/>
                    </a:lnTo>
                    <a:lnTo>
                      <a:pt x="32834" y="9868"/>
                    </a:lnTo>
                    <a:lnTo>
                      <a:pt x="32954" y="9689"/>
                    </a:lnTo>
                    <a:lnTo>
                      <a:pt x="33193" y="9330"/>
                    </a:lnTo>
                    <a:lnTo>
                      <a:pt x="36124" y="4605"/>
                    </a:lnTo>
                    <a:lnTo>
                      <a:pt x="37320" y="2691"/>
                    </a:lnTo>
                    <a:lnTo>
                      <a:pt x="38277" y="1076"/>
                    </a:lnTo>
                    <a:lnTo>
                      <a:pt x="38935" y="0"/>
                    </a:lnTo>
                    <a:lnTo>
                      <a:pt x="39054" y="60"/>
                    </a:lnTo>
                    <a:lnTo>
                      <a:pt x="39413" y="179"/>
                    </a:lnTo>
                    <a:lnTo>
                      <a:pt x="39892" y="359"/>
                    </a:lnTo>
                    <a:lnTo>
                      <a:pt x="40250" y="478"/>
                    </a:lnTo>
                    <a:lnTo>
                      <a:pt x="40609" y="598"/>
                    </a:lnTo>
                    <a:lnTo>
                      <a:pt x="40908" y="777"/>
                    </a:lnTo>
                    <a:lnTo>
                      <a:pt x="41207" y="957"/>
                    </a:lnTo>
                    <a:lnTo>
                      <a:pt x="41267" y="1017"/>
                    </a:lnTo>
                  </a:path>
                </a:pathLst>
              </a:custGeom>
              <a:noFill/>
              <a:ln w="6350" cap="rnd">
                <a:solidFill>
                  <a:schemeClr val="bg1">
                    <a:alpha val="80000"/>
                  </a:schemeClr>
                </a:solidFill>
                <a:prstDash val="solid"/>
                <a:round/>
              </a:ln>
            </p:spPr>
            <p:txBody>
              <a:bodyPr rtlCol="0" anchor="ctr"/>
              <a:lstStyle/>
              <a:p>
                <a:endParaRPr lang="en-GB"/>
              </a:p>
            </p:txBody>
          </p:sp>
          <p:sp>
            <p:nvSpPr>
              <p:cNvPr id="6495" name="Vrije vorm: vorm 6494">
                <a:extLst>
                  <a:ext uri="{FF2B5EF4-FFF2-40B4-BE49-F238E27FC236}">
                    <a16:creationId xmlns:a16="http://schemas.microsoft.com/office/drawing/2014/main" id="{F54B4C75-ADA0-428C-918D-B627AC491BC4}"/>
                  </a:ext>
                </a:extLst>
              </p:cNvPr>
              <p:cNvSpPr/>
              <p:nvPr/>
            </p:nvSpPr>
            <p:spPr>
              <a:xfrm>
                <a:off x="6869058" y="1892938"/>
                <a:ext cx="15310" cy="12140"/>
              </a:xfrm>
              <a:custGeom>
                <a:avLst/>
                <a:gdLst>
                  <a:gd name="connsiteX0" fmla="*/ 15311 w 15310"/>
                  <a:gd name="connsiteY0" fmla="*/ 0 h 12140"/>
                  <a:gd name="connsiteX1" fmla="*/ 14952 w 15310"/>
                  <a:gd name="connsiteY1" fmla="*/ 179 h 12140"/>
                  <a:gd name="connsiteX2" fmla="*/ 11723 w 15310"/>
                  <a:gd name="connsiteY2" fmla="*/ 1854 h 12140"/>
                  <a:gd name="connsiteX3" fmla="*/ 11543 w 15310"/>
                  <a:gd name="connsiteY3" fmla="*/ 1974 h 12140"/>
                  <a:gd name="connsiteX4" fmla="*/ 11543 w 15310"/>
                  <a:gd name="connsiteY4" fmla="*/ 1974 h 12140"/>
                  <a:gd name="connsiteX5" fmla="*/ 11543 w 15310"/>
                  <a:gd name="connsiteY5" fmla="*/ 1974 h 12140"/>
                  <a:gd name="connsiteX6" fmla="*/ 11065 w 15310"/>
                  <a:gd name="connsiteY6" fmla="*/ 2213 h 12140"/>
                  <a:gd name="connsiteX7" fmla="*/ 10048 w 15310"/>
                  <a:gd name="connsiteY7" fmla="*/ 2751 h 12140"/>
                  <a:gd name="connsiteX8" fmla="*/ 8911 w 15310"/>
                  <a:gd name="connsiteY8" fmla="*/ 3349 h 12140"/>
                  <a:gd name="connsiteX9" fmla="*/ 6938 w 15310"/>
                  <a:gd name="connsiteY9" fmla="*/ 4426 h 12140"/>
                  <a:gd name="connsiteX10" fmla="*/ 3230 w 15310"/>
                  <a:gd name="connsiteY10" fmla="*/ 8552 h 12140"/>
                  <a:gd name="connsiteX11" fmla="*/ 2871 w 15310"/>
                  <a:gd name="connsiteY11" fmla="*/ 8971 h 12140"/>
                  <a:gd name="connsiteX12" fmla="*/ 0 w 15310"/>
                  <a:gd name="connsiteY12" fmla="*/ 12141 h 12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10" h="12140">
                    <a:moveTo>
                      <a:pt x="15311" y="0"/>
                    </a:moveTo>
                    <a:lnTo>
                      <a:pt x="14952" y="179"/>
                    </a:lnTo>
                    <a:lnTo>
                      <a:pt x="11723" y="1854"/>
                    </a:lnTo>
                    <a:lnTo>
                      <a:pt x="11543" y="1974"/>
                    </a:lnTo>
                    <a:lnTo>
                      <a:pt x="11543" y="1974"/>
                    </a:lnTo>
                    <a:lnTo>
                      <a:pt x="11543" y="1974"/>
                    </a:lnTo>
                    <a:lnTo>
                      <a:pt x="11065" y="2213"/>
                    </a:lnTo>
                    <a:lnTo>
                      <a:pt x="10048" y="2751"/>
                    </a:lnTo>
                    <a:lnTo>
                      <a:pt x="8911" y="3349"/>
                    </a:lnTo>
                    <a:lnTo>
                      <a:pt x="6938" y="4426"/>
                    </a:lnTo>
                    <a:lnTo>
                      <a:pt x="3230" y="8552"/>
                    </a:lnTo>
                    <a:lnTo>
                      <a:pt x="2871" y="8971"/>
                    </a:lnTo>
                    <a:lnTo>
                      <a:pt x="0" y="12141"/>
                    </a:lnTo>
                  </a:path>
                </a:pathLst>
              </a:custGeom>
              <a:noFill/>
              <a:ln w="6350" cap="rnd">
                <a:solidFill>
                  <a:schemeClr val="bg1">
                    <a:alpha val="80000"/>
                  </a:schemeClr>
                </a:solidFill>
                <a:prstDash val="solid"/>
                <a:round/>
              </a:ln>
            </p:spPr>
            <p:txBody>
              <a:bodyPr rtlCol="0" anchor="ctr"/>
              <a:lstStyle/>
              <a:p>
                <a:endParaRPr lang="en-GB"/>
              </a:p>
            </p:txBody>
          </p:sp>
          <p:sp>
            <p:nvSpPr>
              <p:cNvPr id="6496" name="Vrije vorm: vorm 6495">
                <a:extLst>
                  <a:ext uri="{FF2B5EF4-FFF2-40B4-BE49-F238E27FC236}">
                    <a16:creationId xmlns:a16="http://schemas.microsoft.com/office/drawing/2014/main" id="{D1A71578-6CD5-4E24-B8EF-00BFA7169FEA}"/>
                  </a:ext>
                </a:extLst>
              </p:cNvPr>
              <p:cNvSpPr/>
              <p:nvPr/>
            </p:nvSpPr>
            <p:spPr>
              <a:xfrm>
                <a:off x="6943937" y="2097958"/>
                <a:ext cx="51853" cy="22607"/>
              </a:xfrm>
              <a:custGeom>
                <a:avLst/>
                <a:gdLst>
                  <a:gd name="connsiteX0" fmla="*/ 51076 w 51853"/>
                  <a:gd name="connsiteY0" fmla="*/ 0 h 22607"/>
                  <a:gd name="connsiteX1" fmla="*/ 51853 w 51853"/>
                  <a:gd name="connsiteY1" fmla="*/ 538 h 22607"/>
                  <a:gd name="connsiteX2" fmla="*/ 51733 w 51853"/>
                  <a:gd name="connsiteY2" fmla="*/ 2751 h 22607"/>
                  <a:gd name="connsiteX3" fmla="*/ 47726 w 51853"/>
                  <a:gd name="connsiteY3" fmla="*/ 10167 h 22607"/>
                  <a:gd name="connsiteX4" fmla="*/ 46112 w 51853"/>
                  <a:gd name="connsiteY4" fmla="*/ 11662 h 22607"/>
                  <a:gd name="connsiteX5" fmla="*/ 45155 w 51853"/>
                  <a:gd name="connsiteY5" fmla="*/ 12560 h 22607"/>
                  <a:gd name="connsiteX6" fmla="*/ 37799 w 51853"/>
                  <a:gd name="connsiteY6" fmla="*/ 19378 h 22607"/>
                  <a:gd name="connsiteX7" fmla="*/ 36482 w 51853"/>
                  <a:gd name="connsiteY7" fmla="*/ 19557 h 22607"/>
                  <a:gd name="connsiteX8" fmla="*/ 30980 w 51853"/>
                  <a:gd name="connsiteY8" fmla="*/ 20394 h 22607"/>
                  <a:gd name="connsiteX9" fmla="*/ 29186 w 51853"/>
                  <a:gd name="connsiteY9" fmla="*/ 20633 h 22607"/>
                  <a:gd name="connsiteX10" fmla="*/ 26734 w 51853"/>
                  <a:gd name="connsiteY10" fmla="*/ 20933 h 22607"/>
                  <a:gd name="connsiteX11" fmla="*/ 22308 w 51853"/>
                  <a:gd name="connsiteY11" fmla="*/ 21471 h 22607"/>
                  <a:gd name="connsiteX12" fmla="*/ 20394 w 51853"/>
                  <a:gd name="connsiteY12" fmla="*/ 21710 h 22607"/>
                  <a:gd name="connsiteX13" fmla="*/ 17165 w 51853"/>
                  <a:gd name="connsiteY13" fmla="*/ 22189 h 22607"/>
                  <a:gd name="connsiteX14" fmla="*/ 16029 w 51853"/>
                  <a:gd name="connsiteY14" fmla="*/ 22368 h 22607"/>
                  <a:gd name="connsiteX15" fmla="*/ 15729 w 51853"/>
                  <a:gd name="connsiteY15" fmla="*/ 22368 h 22607"/>
                  <a:gd name="connsiteX16" fmla="*/ 10646 w 51853"/>
                  <a:gd name="connsiteY16" fmla="*/ 22547 h 22607"/>
                  <a:gd name="connsiteX17" fmla="*/ 8911 w 51853"/>
                  <a:gd name="connsiteY17" fmla="*/ 22607 h 22607"/>
                  <a:gd name="connsiteX18" fmla="*/ 7058 w 51853"/>
                  <a:gd name="connsiteY18" fmla="*/ 22368 h 22607"/>
                  <a:gd name="connsiteX19" fmla="*/ 5921 w 51853"/>
                  <a:gd name="connsiteY19" fmla="*/ 22189 h 22607"/>
                  <a:gd name="connsiteX20" fmla="*/ 5323 w 51853"/>
                  <a:gd name="connsiteY20" fmla="*/ 22129 h 22607"/>
                  <a:gd name="connsiteX21" fmla="*/ 2752 w 51853"/>
                  <a:gd name="connsiteY21" fmla="*/ 20394 h 22607"/>
                  <a:gd name="connsiteX22" fmla="*/ 837 w 51853"/>
                  <a:gd name="connsiteY22" fmla="*/ 18779 h 22607"/>
                  <a:gd name="connsiteX23" fmla="*/ 598 w 51853"/>
                  <a:gd name="connsiteY23" fmla="*/ 18540 h 22607"/>
                  <a:gd name="connsiteX24" fmla="*/ 0 w 51853"/>
                  <a:gd name="connsiteY24" fmla="*/ 17882 h 22607"/>
                  <a:gd name="connsiteX25" fmla="*/ 1735 w 51853"/>
                  <a:gd name="connsiteY25" fmla="*/ 13756 h 22607"/>
                  <a:gd name="connsiteX26" fmla="*/ 1854 w 51853"/>
                  <a:gd name="connsiteY26" fmla="*/ 13397 h 22607"/>
                  <a:gd name="connsiteX27" fmla="*/ 1974 w 51853"/>
                  <a:gd name="connsiteY27" fmla="*/ 13158 h 2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1853" h="22607">
                    <a:moveTo>
                      <a:pt x="51076" y="0"/>
                    </a:moveTo>
                    <a:lnTo>
                      <a:pt x="51853" y="538"/>
                    </a:lnTo>
                    <a:lnTo>
                      <a:pt x="51733" y="2751"/>
                    </a:lnTo>
                    <a:lnTo>
                      <a:pt x="47726" y="10167"/>
                    </a:lnTo>
                    <a:lnTo>
                      <a:pt x="46112" y="11662"/>
                    </a:lnTo>
                    <a:lnTo>
                      <a:pt x="45155" y="12560"/>
                    </a:lnTo>
                    <a:lnTo>
                      <a:pt x="37799" y="19378"/>
                    </a:lnTo>
                    <a:lnTo>
                      <a:pt x="36482" y="19557"/>
                    </a:lnTo>
                    <a:lnTo>
                      <a:pt x="30980" y="20394"/>
                    </a:lnTo>
                    <a:lnTo>
                      <a:pt x="29186" y="20633"/>
                    </a:lnTo>
                    <a:lnTo>
                      <a:pt x="26734" y="20933"/>
                    </a:lnTo>
                    <a:lnTo>
                      <a:pt x="22308" y="21471"/>
                    </a:lnTo>
                    <a:lnTo>
                      <a:pt x="20394" y="21710"/>
                    </a:lnTo>
                    <a:lnTo>
                      <a:pt x="17165" y="22189"/>
                    </a:lnTo>
                    <a:lnTo>
                      <a:pt x="16029" y="22368"/>
                    </a:lnTo>
                    <a:lnTo>
                      <a:pt x="15729" y="22368"/>
                    </a:lnTo>
                    <a:lnTo>
                      <a:pt x="10646" y="22547"/>
                    </a:lnTo>
                    <a:lnTo>
                      <a:pt x="8911" y="22607"/>
                    </a:lnTo>
                    <a:lnTo>
                      <a:pt x="7058" y="22368"/>
                    </a:lnTo>
                    <a:lnTo>
                      <a:pt x="5921" y="22189"/>
                    </a:lnTo>
                    <a:lnTo>
                      <a:pt x="5323" y="22129"/>
                    </a:lnTo>
                    <a:lnTo>
                      <a:pt x="2752" y="20394"/>
                    </a:lnTo>
                    <a:lnTo>
                      <a:pt x="837" y="18779"/>
                    </a:lnTo>
                    <a:lnTo>
                      <a:pt x="598" y="18540"/>
                    </a:lnTo>
                    <a:lnTo>
                      <a:pt x="0" y="17882"/>
                    </a:lnTo>
                    <a:lnTo>
                      <a:pt x="1735" y="13756"/>
                    </a:lnTo>
                    <a:lnTo>
                      <a:pt x="1854" y="13397"/>
                    </a:lnTo>
                    <a:lnTo>
                      <a:pt x="1974" y="13158"/>
                    </a:lnTo>
                  </a:path>
                </a:pathLst>
              </a:custGeom>
              <a:noFill/>
              <a:ln w="6350" cap="rnd">
                <a:solidFill>
                  <a:schemeClr val="bg1">
                    <a:alpha val="80000"/>
                  </a:schemeClr>
                </a:solidFill>
                <a:prstDash val="solid"/>
                <a:round/>
              </a:ln>
            </p:spPr>
            <p:txBody>
              <a:bodyPr rtlCol="0" anchor="ctr"/>
              <a:lstStyle/>
              <a:p>
                <a:endParaRPr lang="en-GB"/>
              </a:p>
            </p:txBody>
          </p:sp>
          <p:sp>
            <p:nvSpPr>
              <p:cNvPr id="6497" name="Vrije vorm: vorm 6496">
                <a:extLst>
                  <a:ext uri="{FF2B5EF4-FFF2-40B4-BE49-F238E27FC236}">
                    <a16:creationId xmlns:a16="http://schemas.microsoft.com/office/drawing/2014/main" id="{91D70022-C191-4920-B3D2-D14B2E92AE22}"/>
                  </a:ext>
                </a:extLst>
              </p:cNvPr>
              <p:cNvSpPr/>
              <p:nvPr/>
            </p:nvSpPr>
            <p:spPr>
              <a:xfrm>
                <a:off x="6792565" y="1847724"/>
                <a:ext cx="5023" cy="7117"/>
              </a:xfrm>
              <a:custGeom>
                <a:avLst/>
                <a:gdLst>
                  <a:gd name="connsiteX0" fmla="*/ 0 w 5023"/>
                  <a:gd name="connsiteY0" fmla="*/ 7117 h 7117"/>
                  <a:gd name="connsiteX1" fmla="*/ 5024 w 5023"/>
                  <a:gd name="connsiteY1" fmla="*/ 0 h 7117"/>
                </a:gdLst>
                <a:ahLst/>
                <a:cxnLst>
                  <a:cxn ang="0">
                    <a:pos x="connsiteX0" y="connsiteY0"/>
                  </a:cxn>
                  <a:cxn ang="0">
                    <a:pos x="connsiteX1" y="connsiteY1"/>
                  </a:cxn>
                </a:cxnLst>
                <a:rect l="l" t="t" r="r" b="b"/>
                <a:pathLst>
                  <a:path w="5023" h="7117">
                    <a:moveTo>
                      <a:pt x="0" y="7117"/>
                    </a:moveTo>
                    <a:lnTo>
                      <a:pt x="5024" y="0"/>
                    </a:lnTo>
                  </a:path>
                </a:pathLst>
              </a:custGeom>
              <a:noFill/>
              <a:ln w="6350" cap="rnd">
                <a:solidFill>
                  <a:schemeClr val="bg1">
                    <a:alpha val="80000"/>
                  </a:schemeClr>
                </a:solidFill>
                <a:prstDash val="solid"/>
                <a:round/>
              </a:ln>
            </p:spPr>
            <p:txBody>
              <a:bodyPr rtlCol="0" anchor="ctr"/>
              <a:lstStyle/>
              <a:p>
                <a:endParaRPr lang="en-GB"/>
              </a:p>
            </p:txBody>
          </p:sp>
          <p:sp>
            <p:nvSpPr>
              <p:cNvPr id="6498" name="Vrije vorm: vorm 6497">
                <a:extLst>
                  <a:ext uri="{FF2B5EF4-FFF2-40B4-BE49-F238E27FC236}">
                    <a16:creationId xmlns:a16="http://schemas.microsoft.com/office/drawing/2014/main" id="{762BF989-9DD0-43B6-92D6-06C22D76E8AA}"/>
                  </a:ext>
                </a:extLst>
              </p:cNvPr>
              <p:cNvSpPr/>
              <p:nvPr/>
            </p:nvSpPr>
            <p:spPr>
              <a:xfrm>
                <a:off x="6784850" y="1808132"/>
                <a:ext cx="101672" cy="74639"/>
              </a:xfrm>
              <a:custGeom>
                <a:avLst/>
                <a:gdLst>
                  <a:gd name="connsiteX0" fmla="*/ 0 w 101672"/>
                  <a:gd name="connsiteY0" fmla="*/ 10825 h 74639"/>
                  <a:gd name="connsiteX1" fmla="*/ 239 w 101672"/>
                  <a:gd name="connsiteY1" fmla="*/ 10586 h 74639"/>
                  <a:gd name="connsiteX2" fmla="*/ 2632 w 101672"/>
                  <a:gd name="connsiteY2" fmla="*/ 9569 h 74639"/>
                  <a:gd name="connsiteX3" fmla="*/ 20394 w 101672"/>
                  <a:gd name="connsiteY3" fmla="*/ 3289 h 74639"/>
                  <a:gd name="connsiteX4" fmla="*/ 37559 w 101672"/>
                  <a:gd name="connsiteY4" fmla="*/ 0 h 74639"/>
                  <a:gd name="connsiteX5" fmla="*/ 38037 w 101672"/>
                  <a:gd name="connsiteY5" fmla="*/ 60 h 74639"/>
                  <a:gd name="connsiteX6" fmla="*/ 40609 w 101672"/>
                  <a:gd name="connsiteY6" fmla="*/ 239 h 74639"/>
                  <a:gd name="connsiteX7" fmla="*/ 42224 w 101672"/>
                  <a:gd name="connsiteY7" fmla="*/ 1017 h 74639"/>
                  <a:gd name="connsiteX8" fmla="*/ 43181 w 101672"/>
                  <a:gd name="connsiteY8" fmla="*/ 1495 h 74639"/>
                  <a:gd name="connsiteX9" fmla="*/ 43839 w 101672"/>
                  <a:gd name="connsiteY9" fmla="*/ 1854 h 74639"/>
                  <a:gd name="connsiteX10" fmla="*/ 47308 w 101672"/>
                  <a:gd name="connsiteY10" fmla="*/ 3588 h 74639"/>
                  <a:gd name="connsiteX11" fmla="*/ 47546 w 101672"/>
                  <a:gd name="connsiteY11" fmla="*/ 3708 h 74639"/>
                  <a:gd name="connsiteX12" fmla="*/ 53109 w 101672"/>
                  <a:gd name="connsiteY12" fmla="*/ 6519 h 74639"/>
                  <a:gd name="connsiteX13" fmla="*/ 53587 w 101672"/>
                  <a:gd name="connsiteY13" fmla="*/ 6758 h 74639"/>
                  <a:gd name="connsiteX14" fmla="*/ 54245 w 101672"/>
                  <a:gd name="connsiteY14" fmla="*/ 7117 h 74639"/>
                  <a:gd name="connsiteX15" fmla="*/ 55262 w 101672"/>
                  <a:gd name="connsiteY15" fmla="*/ 7715 h 74639"/>
                  <a:gd name="connsiteX16" fmla="*/ 56219 w 101672"/>
                  <a:gd name="connsiteY16" fmla="*/ 8253 h 74639"/>
                  <a:gd name="connsiteX17" fmla="*/ 58312 w 101672"/>
                  <a:gd name="connsiteY17" fmla="*/ 9450 h 74639"/>
                  <a:gd name="connsiteX18" fmla="*/ 59329 w 101672"/>
                  <a:gd name="connsiteY18" fmla="*/ 10048 h 74639"/>
                  <a:gd name="connsiteX19" fmla="*/ 59687 w 101672"/>
                  <a:gd name="connsiteY19" fmla="*/ 10227 h 74639"/>
                  <a:gd name="connsiteX20" fmla="*/ 59807 w 101672"/>
                  <a:gd name="connsiteY20" fmla="*/ 10287 h 74639"/>
                  <a:gd name="connsiteX21" fmla="*/ 60585 w 101672"/>
                  <a:gd name="connsiteY21" fmla="*/ 10706 h 74639"/>
                  <a:gd name="connsiteX22" fmla="*/ 60824 w 101672"/>
                  <a:gd name="connsiteY22" fmla="*/ 10825 h 74639"/>
                  <a:gd name="connsiteX23" fmla="*/ 61123 w 101672"/>
                  <a:gd name="connsiteY23" fmla="*/ 11005 h 74639"/>
                  <a:gd name="connsiteX24" fmla="*/ 61123 w 101672"/>
                  <a:gd name="connsiteY24" fmla="*/ 11005 h 74639"/>
                  <a:gd name="connsiteX25" fmla="*/ 61183 w 101672"/>
                  <a:gd name="connsiteY25" fmla="*/ 11064 h 74639"/>
                  <a:gd name="connsiteX26" fmla="*/ 61900 w 101672"/>
                  <a:gd name="connsiteY26" fmla="*/ 11483 h 74639"/>
                  <a:gd name="connsiteX27" fmla="*/ 62140 w 101672"/>
                  <a:gd name="connsiteY27" fmla="*/ 11603 h 74639"/>
                  <a:gd name="connsiteX28" fmla="*/ 62319 w 101672"/>
                  <a:gd name="connsiteY28" fmla="*/ 11722 h 74639"/>
                  <a:gd name="connsiteX29" fmla="*/ 62857 w 101672"/>
                  <a:gd name="connsiteY29" fmla="*/ 12021 h 74639"/>
                  <a:gd name="connsiteX30" fmla="*/ 63097 w 101672"/>
                  <a:gd name="connsiteY30" fmla="*/ 12141 h 74639"/>
                  <a:gd name="connsiteX31" fmla="*/ 63515 w 101672"/>
                  <a:gd name="connsiteY31" fmla="*/ 12380 h 74639"/>
                  <a:gd name="connsiteX32" fmla="*/ 65130 w 101672"/>
                  <a:gd name="connsiteY32" fmla="*/ 13337 h 74639"/>
                  <a:gd name="connsiteX33" fmla="*/ 66027 w 101672"/>
                  <a:gd name="connsiteY33" fmla="*/ 13875 h 74639"/>
                  <a:gd name="connsiteX34" fmla="*/ 68659 w 101672"/>
                  <a:gd name="connsiteY34" fmla="*/ 15370 h 74639"/>
                  <a:gd name="connsiteX35" fmla="*/ 68718 w 101672"/>
                  <a:gd name="connsiteY35" fmla="*/ 15370 h 74639"/>
                  <a:gd name="connsiteX36" fmla="*/ 69974 w 101672"/>
                  <a:gd name="connsiteY36" fmla="*/ 16208 h 74639"/>
                  <a:gd name="connsiteX37" fmla="*/ 70812 w 101672"/>
                  <a:gd name="connsiteY37" fmla="*/ 16746 h 74639"/>
                  <a:gd name="connsiteX38" fmla="*/ 71051 w 101672"/>
                  <a:gd name="connsiteY38" fmla="*/ 16925 h 74639"/>
                  <a:gd name="connsiteX39" fmla="*/ 71290 w 101672"/>
                  <a:gd name="connsiteY39" fmla="*/ 17105 h 74639"/>
                  <a:gd name="connsiteX40" fmla="*/ 75477 w 101672"/>
                  <a:gd name="connsiteY40" fmla="*/ 19736 h 74639"/>
                  <a:gd name="connsiteX41" fmla="*/ 76254 w 101672"/>
                  <a:gd name="connsiteY41" fmla="*/ 20215 h 74639"/>
                  <a:gd name="connsiteX42" fmla="*/ 77032 w 101672"/>
                  <a:gd name="connsiteY42" fmla="*/ 20693 h 74639"/>
                  <a:gd name="connsiteX43" fmla="*/ 77570 w 101672"/>
                  <a:gd name="connsiteY43" fmla="*/ 20992 h 74639"/>
                  <a:gd name="connsiteX44" fmla="*/ 77749 w 101672"/>
                  <a:gd name="connsiteY44" fmla="*/ 21112 h 74639"/>
                  <a:gd name="connsiteX45" fmla="*/ 79902 w 101672"/>
                  <a:gd name="connsiteY45" fmla="*/ 22488 h 74639"/>
                  <a:gd name="connsiteX46" fmla="*/ 82055 w 101672"/>
                  <a:gd name="connsiteY46" fmla="*/ 23863 h 74639"/>
                  <a:gd name="connsiteX47" fmla="*/ 83252 w 101672"/>
                  <a:gd name="connsiteY47" fmla="*/ 24641 h 74639"/>
                  <a:gd name="connsiteX48" fmla="*/ 83551 w 101672"/>
                  <a:gd name="connsiteY48" fmla="*/ 24820 h 74639"/>
                  <a:gd name="connsiteX49" fmla="*/ 84388 w 101672"/>
                  <a:gd name="connsiteY49" fmla="*/ 25418 h 74639"/>
                  <a:gd name="connsiteX50" fmla="*/ 85046 w 101672"/>
                  <a:gd name="connsiteY50" fmla="*/ 25897 h 74639"/>
                  <a:gd name="connsiteX51" fmla="*/ 85644 w 101672"/>
                  <a:gd name="connsiteY51" fmla="*/ 26315 h 74639"/>
                  <a:gd name="connsiteX52" fmla="*/ 86242 w 101672"/>
                  <a:gd name="connsiteY52" fmla="*/ 26734 h 74639"/>
                  <a:gd name="connsiteX53" fmla="*/ 87020 w 101672"/>
                  <a:gd name="connsiteY53" fmla="*/ 27272 h 74639"/>
                  <a:gd name="connsiteX54" fmla="*/ 87259 w 101672"/>
                  <a:gd name="connsiteY54" fmla="*/ 27452 h 74639"/>
                  <a:gd name="connsiteX55" fmla="*/ 88276 w 101672"/>
                  <a:gd name="connsiteY55" fmla="*/ 28169 h 74639"/>
                  <a:gd name="connsiteX56" fmla="*/ 88455 w 101672"/>
                  <a:gd name="connsiteY56" fmla="*/ 28289 h 74639"/>
                  <a:gd name="connsiteX57" fmla="*/ 88634 w 101672"/>
                  <a:gd name="connsiteY57" fmla="*/ 28408 h 74639"/>
                  <a:gd name="connsiteX58" fmla="*/ 89113 w 101672"/>
                  <a:gd name="connsiteY58" fmla="*/ 28767 h 74639"/>
                  <a:gd name="connsiteX59" fmla="*/ 89113 w 101672"/>
                  <a:gd name="connsiteY59" fmla="*/ 28767 h 74639"/>
                  <a:gd name="connsiteX60" fmla="*/ 89352 w 101672"/>
                  <a:gd name="connsiteY60" fmla="*/ 28947 h 74639"/>
                  <a:gd name="connsiteX61" fmla="*/ 89352 w 101672"/>
                  <a:gd name="connsiteY61" fmla="*/ 28947 h 74639"/>
                  <a:gd name="connsiteX62" fmla="*/ 89412 w 101672"/>
                  <a:gd name="connsiteY62" fmla="*/ 29007 h 74639"/>
                  <a:gd name="connsiteX63" fmla="*/ 89831 w 101672"/>
                  <a:gd name="connsiteY63" fmla="*/ 29306 h 74639"/>
                  <a:gd name="connsiteX64" fmla="*/ 89831 w 101672"/>
                  <a:gd name="connsiteY64" fmla="*/ 29306 h 74639"/>
                  <a:gd name="connsiteX65" fmla="*/ 90129 w 101672"/>
                  <a:gd name="connsiteY65" fmla="*/ 29545 h 74639"/>
                  <a:gd name="connsiteX66" fmla="*/ 90309 w 101672"/>
                  <a:gd name="connsiteY66" fmla="*/ 29664 h 74639"/>
                  <a:gd name="connsiteX67" fmla="*/ 90728 w 101672"/>
                  <a:gd name="connsiteY67" fmla="*/ 29963 h 74639"/>
                  <a:gd name="connsiteX68" fmla="*/ 96170 w 101672"/>
                  <a:gd name="connsiteY68" fmla="*/ 33851 h 74639"/>
                  <a:gd name="connsiteX69" fmla="*/ 97007 w 101672"/>
                  <a:gd name="connsiteY69" fmla="*/ 34868 h 74639"/>
                  <a:gd name="connsiteX70" fmla="*/ 98622 w 101672"/>
                  <a:gd name="connsiteY70" fmla="*/ 36901 h 74639"/>
                  <a:gd name="connsiteX71" fmla="*/ 98921 w 101672"/>
                  <a:gd name="connsiteY71" fmla="*/ 37559 h 74639"/>
                  <a:gd name="connsiteX72" fmla="*/ 100057 w 101672"/>
                  <a:gd name="connsiteY72" fmla="*/ 40370 h 74639"/>
                  <a:gd name="connsiteX73" fmla="*/ 100297 w 101672"/>
                  <a:gd name="connsiteY73" fmla="*/ 44138 h 74639"/>
                  <a:gd name="connsiteX74" fmla="*/ 100357 w 101672"/>
                  <a:gd name="connsiteY74" fmla="*/ 45394 h 74639"/>
                  <a:gd name="connsiteX75" fmla="*/ 100357 w 101672"/>
                  <a:gd name="connsiteY75" fmla="*/ 45812 h 74639"/>
                  <a:gd name="connsiteX76" fmla="*/ 100357 w 101672"/>
                  <a:gd name="connsiteY76" fmla="*/ 45812 h 74639"/>
                  <a:gd name="connsiteX77" fmla="*/ 100835 w 101672"/>
                  <a:gd name="connsiteY77" fmla="*/ 53707 h 74639"/>
                  <a:gd name="connsiteX78" fmla="*/ 100955 w 101672"/>
                  <a:gd name="connsiteY78" fmla="*/ 55322 h 74639"/>
                  <a:gd name="connsiteX79" fmla="*/ 100775 w 101672"/>
                  <a:gd name="connsiteY79" fmla="*/ 58133 h 74639"/>
                  <a:gd name="connsiteX80" fmla="*/ 100595 w 101672"/>
                  <a:gd name="connsiteY80" fmla="*/ 60226 h 74639"/>
                  <a:gd name="connsiteX81" fmla="*/ 100237 w 101672"/>
                  <a:gd name="connsiteY81" fmla="*/ 65310 h 74639"/>
                  <a:gd name="connsiteX82" fmla="*/ 100117 w 101672"/>
                  <a:gd name="connsiteY82" fmla="*/ 67283 h 74639"/>
                  <a:gd name="connsiteX83" fmla="*/ 100117 w 101672"/>
                  <a:gd name="connsiteY83" fmla="*/ 67582 h 74639"/>
                  <a:gd name="connsiteX84" fmla="*/ 99878 w 101672"/>
                  <a:gd name="connsiteY84" fmla="*/ 71111 h 74639"/>
                  <a:gd name="connsiteX85" fmla="*/ 101672 w 101672"/>
                  <a:gd name="connsiteY85" fmla="*/ 74639 h 74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01672" h="74639">
                    <a:moveTo>
                      <a:pt x="0" y="10825"/>
                    </a:moveTo>
                    <a:lnTo>
                      <a:pt x="239" y="10586"/>
                    </a:lnTo>
                    <a:lnTo>
                      <a:pt x="2632" y="9569"/>
                    </a:lnTo>
                    <a:lnTo>
                      <a:pt x="20394" y="3289"/>
                    </a:lnTo>
                    <a:lnTo>
                      <a:pt x="37559" y="0"/>
                    </a:lnTo>
                    <a:lnTo>
                      <a:pt x="38037" y="60"/>
                    </a:lnTo>
                    <a:lnTo>
                      <a:pt x="40609" y="239"/>
                    </a:lnTo>
                    <a:lnTo>
                      <a:pt x="42224" y="1017"/>
                    </a:lnTo>
                    <a:lnTo>
                      <a:pt x="43181" y="1495"/>
                    </a:lnTo>
                    <a:lnTo>
                      <a:pt x="43839" y="1854"/>
                    </a:lnTo>
                    <a:lnTo>
                      <a:pt x="47308" y="3588"/>
                    </a:lnTo>
                    <a:lnTo>
                      <a:pt x="47546" y="3708"/>
                    </a:lnTo>
                    <a:lnTo>
                      <a:pt x="53109" y="6519"/>
                    </a:lnTo>
                    <a:lnTo>
                      <a:pt x="53587" y="6758"/>
                    </a:lnTo>
                    <a:lnTo>
                      <a:pt x="54245" y="7117"/>
                    </a:lnTo>
                    <a:lnTo>
                      <a:pt x="55262" y="7715"/>
                    </a:lnTo>
                    <a:lnTo>
                      <a:pt x="56219" y="8253"/>
                    </a:lnTo>
                    <a:lnTo>
                      <a:pt x="58312" y="9450"/>
                    </a:lnTo>
                    <a:lnTo>
                      <a:pt x="59329" y="10048"/>
                    </a:lnTo>
                    <a:lnTo>
                      <a:pt x="59687" y="10227"/>
                    </a:lnTo>
                    <a:lnTo>
                      <a:pt x="59807" y="10287"/>
                    </a:lnTo>
                    <a:lnTo>
                      <a:pt x="60585" y="10706"/>
                    </a:lnTo>
                    <a:lnTo>
                      <a:pt x="60824" y="10825"/>
                    </a:lnTo>
                    <a:lnTo>
                      <a:pt x="61123" y="11005"/>
                    </a:lnTo>
                    <a:lnTo>
                      <a:pt x="61123" y="11005"/>
                    </a:lnTo>
                    <a:lnTo>
                      <a:pt x="61183" y="11064"/>
                    </a:lnTo>
                    <a:lnTo>
                      <a:pt x="61900" y="11483"/>
                    </a:lnTo>
                    <a:lnTo>
                      <a:pt x="62140" y="11603"/>
                    </a:lnTo>
                    <a:lnTo>
                      <a:pt x="62319" y="11722"/>
                    </a:lnTo>
                    <a:lnTo>
                      <a:pt x="62857" y="12021"/>
                    </a:lnTo>
                    <a:lnTo>
                      <a:pt x="63097" y="12141"/>
                    </a:lnTo>
                    <a:lnTo>
                      <a:pt x="63515" y="12380"/>
                    </a:lnTo>
                    <a:lnTo>
                      <a:pt x="65130" y="13337"/>
                    </a:lnTo>
                    <a:lnTo>
                      <a:pt x="66027" y="13875"/>
                    </a:lnTo>
                    <a:lnTo>
                      <a:pt x="68659" y="15370"/>
                    </a:lnTo>
                    <a:lnTo>
                      <a:pt x="68718" y="15370"/>
                    </a:lnTo>
                    <a:lnTo>
                      <a:pt x="69974" y="16208"/>
                    </a:lnTo>
                    <a:lnTo>
                      <a:pt x="70812" y="16746"/>
                    </a:lnTo>
                    <a:lnTo>
                      <a:pt x="71051" y="16925"/>
                    </a:lnTo>
                    <a:lnTo>
                      <a:pt x="71290" y="17105"/>
                    </a:lnTo>
                    <a:lnTo>
                      <a:pt x="75477" y="19736"/>
                    </a:lnTo>
                    <a:lnTo>
                      <a:pt x="76254" y="20215"/>
                    </a:lnTo>
                    <a:lnTo>
                      <a:pt x="77032" y="20693"/>
                    </a:lnTo>
                    <a:lnTo>
                      <a:pt x="77570" y="20992"/>
                    </a:lnTo>
                    <a:lnTo>
                      <a:pt x="77749" y="21112"/>
                    </a:lnTo>
                    <a:lnTo>
                      <a:pt x="79902" y="22488"/>
                    </a:lnTo>
                    <a:lnTo>
                      <a:pt x="82055" y="23863"/>
                    </a:lnTo>
                    <a:lnTo>
                      <a:pt x="83252" y="24641"/>
                    </a:lnTo>
                    <a:lnTo>
                      <a:pt x="83551" y="24820"/>
                    </a:lnTo>
                    <a:lnTo>
                      <a:pt x="84388" y="25418"/>
                    </a:lnTo>
                    <a:lnTo>
                      <a:pt x="85046" y="25897"/>
                    </a:lnTo>
                    <a:lnTo>
                      <a:pt x="85644" y="26315"/>
                    </a:lnTo>
                    <a:lnTo>
                      <a:pt x="86242" y="26734"/>
                    </a:lnTo>
                    <a:lnTo>
                      <a:pt x="87020" y="27272"/>
                    </a:lnTo>
                    <a:lnTo>
                      <a:pt x="87259" y="27452"/>
                    </a:lnTo>
                    <a:lnTo>
                      <a:pt x="88276" y="28169"/>
                    </a:lnTo>
                    <a:lnTo>
                      <a:pt x="88455" y="28289"/>
                    </a:lnTo>
                    <a:lnTo>
                      <a:pt x="88634" y="28408"/>
                    </a:lnTo>
                    <a:lnTo>
                      <a:pt x="89113" y="28767"/>
                    </a:lnTo>
                    <a:lnTo>
                      <a:pt x="89113" y="28767"/>
                    </a:lnTo>
                    <a:lnTo>
                      <a:pt x="89352" y="28947"/>
                    </a:lnTo>
                    <a:lnTo>
                      <a:pt x="89352" y="28947"/>
                    </a:lnTo>
                    <a:lnTo>
                      <a:pt x="89412" y="29007"/>
                    </a:lnTo>
                    <a:lnTo>
                      <a:pt x="89831" y="29306"/>
                    </a:lnTo>
                    <a:lnTo>
                      <a:pt x="89831" y="29306"/>
                    </a:lnTo>
                    <a:lnTo>
                      <a:pt x="90129" y="29545"/>
                    </a:lnTo>
                    <a:lnTo>
                      <a:pt x="90309" y="29664"/>
                    </a:lnTo>
                    <a:lnTo>
                      <a:pt x="90728" y="29963"/>
                    </a:lnTo>
                    <a:lnTo>
                      <a:pt x="96170" y="33851"/>
                    </a:lnTo>
                    <a:lnTo>
                      <a:pt x="97007" y="34868"/>
                    </a:lnTo>
                    <a:lnTo>
                      <a:pt x="98622" y="36901"/>
                    </a:lnTo>
                    <a:lnTo>
                      <a:pt x="98921" y="37559"/>
                    </a:lnTo>
                    <a:lnTo>
                      <a:pt x="100057" y="40370"/>
                    </a:lnTo>
                    <a:lnTo>
                      <a:pt x="100297" y="44138"/>
                    </a:lnTo>
                    <a:lnTo>
                      <a:pt x="100357" y="45394"/>
                    </a:lnTo>
                    <a:lnTo>
                      <a:pt x="100357" y="45812"/>
                    </a:lnTo>
                    <a:lnTo>
                      <a:pt x="100357" y="45812"/>
                    </a:lnTo>
                    <a:lnTo>
                      <a:pt x="100835" y="53707"/>
                    </a:lnTo>
                    <a:lnTo>
                      <a:pt x="100955" y="55322"/>
                    </a:lnTo>
                    <a:lnTo>
                      <a:pt x="100775" y="58133"/>
                    </a:lnTo>
                    <a:lnTo>
                      <a:pt x="100595" y="60226"/>
                    </a:lnTo>
                    <a:lnTo>
                      <a:pt x="100237" y="65310"/>
                    </a:lnTo>
                    <a:lnTo>
                      <a:pt x="100117" y="67283"/>
                    </a:lnTo>
                    <a:lnTo>
                      <a:pt x="100117" y="67582"/>
                    </a:lnTo>
                    <a:lnTo>
                      <a:pt x="99878" y="71111"/>
                    </a:lnTo>
                    <a:lnTo>
                      <a:pt x="101672" y="74639"/>
                    </a:lnTo>
                  </a:path>
                </a:pathLst>
              </a:custGeom>
              <a:noFill/>
              <a:ln w="6350" cap="rnd">
                <a:solidFill>
                  <a:schemeClr val="bg1">
                    <a:alpha val="80000"/>
                  </a:schemeClr>
                </a:solidFill>
                <a:prstDash val="solid"/>
                <a:round/>
              </a:ln>
            </p:spPr>
            <p:txBody>
              <a:bodyPr rtlCol="0" anchor="ctr"/>
              <a:lstStyle/>
              <a:p>
                <a:endParaRPr lang="en-GB"/>
              </a:p>
            </p:txBody>
          </p:sp>
          <p:sp>
            <p:nvSpPr>
              <p:cNvPr id="6499" name="Vrije vorm: vorm 6498">
                <a:extLst>
                  <a:ext uri="{FF2B5EF4-FFF2-40B4-BE49-F238E27FC236}">
                    <a16:creationId xmlns:a16="http://schemas.microsoft.com/office/drawing/2014/main" id="{251160A3-55FF-41D4-9353-B351D27B4C8C}"/>
                  </a:ext>
                </a:extLst>
              </p:cNvPr>
              <p:cNvSpPr/>
              <p:nvPr/>
            </p:nvSpPr>
            <p:spPr>
              <a:xfrm>
                <a:off x="6865649" y="1882652"/>
                <a:ext cx="20872" cy="21769"/>
              </a:xfrm>
              <a:custGeom>
                <a:avLst/>
                <a:gdLst>
                  <a:gd name="connsiteX0" fmla="*/ 20753 w 20872"/>
                  <a:gd name="connsiteY0" fmla="*/ 179 h 21769"/>
                  <a:gd name="connsiteX1" fmla="*/ 20873 w 20872"/>
                  <a:gd name="connsiteY1" fmla="*/ 0 h 21769"/>
                  <a:gd name="connsiteX2" fmla="*/ 20753 w 20872"/>
                  <a:gd name="connsiteY2" fmla="*/ 179 h 21769"/>
                  <a:gd name="connsiteX3" fmla="*/ 19318 w 20872"/>
                  <a:gd name="connsiteY3" fmla="*/ 1615 h 21769"/>
                  <a:gd name="connsiteX4" fmla="*/ 18600 w 20872"/>
                  <a:gd name="connsiteY4" fmla="*/ 2332 h 21769"/>
                  <a:gd name="connsiteX5" fmla="*/ 18360 w 20872"/>
                  <a:gd name="connsiteY5" fmla="*/ 2632 h 21769"/>
                  <a:gd name="connsiteX6" fmla="*/ 18182 w 20872"/>
                  <a:gd name="connsiteY6" fmla="*/ 2811 h 21769"/>
                  <a:gd name="connsiteX7" fmla="*/ 17464 w 20872"/>
                  <a:gd name="connsiteY7" fmla="*/ 3588 h 21769"/>
                  <a:gd name="connsiteX8" fmla="*/ 17225 w 20872"/>
                  <a:gd name="connsiteY8" fmla="*/ 3828 h 21769"/>
                  <a:gd name="connsiteX9" fmla="*/ 17045 w 20872"/>
                  <a:gd name="connsiteY9" fmla="*/ 4007 h 21769"/>
                  <a:gd name="connsiteX10" fmla="*/ 16925 w 20872"/>
                  <a:gd name="connsiteY10" fmla="*/ 4127 h 21769"/>
                  <a:gd name="connsiteX11" fmla="*/ 16805 w 20872"/>
                  <a:gd name="connsiteY11" fmla="*/ 4246 h 21769"/>
                  <a:gd name="connsiteX12" fmla="*/ 15909 w 20872"/>
                  <a:gd name="connsiteY12" fmla="*/ 5143 h 21769"/>
                  <a:gd name="connsiteX13" fmla="*/ 15610 w 20872"/>
                  <a:gd name="connsiteY13" fmla="*/ 5502 h 21769"/>
                  <a:gd name="connsiteX14" fmla="*/ 14593 w 20872"/>
                  <a:gd name="connsiteY14" fmla="*/ 6579 h 21769"/>
                  <a:gd name="connsiteX15" fmla="*/ 14533 w 20872"/>
                  <a:gd name="connsiteY15" fmla="*/ 6639 h 21769"/>
                  <a:gd name="connsiteX16" fmla="*/ 14474 w 20872"/>
                  <a:gd name="connsiteY16" fmla="*/ 6698 h 21769"/>
                  <a:gd name="connsiteX17" fmla="*/ 14234 w 20872"/>
                  <a:gd name="connsiteY17" fmla="*/ 6938 h 21769"/>
                  <a:gd name="connsiteX18" fmla="*/ 13696 w 20872"/>
                  <a:gd name="connsiteY18" fmla="*/ 7536 h 21769"/>
                  <a:gd name="connsiteX19" fmla="*/ 11483 w 20872"/>
                  <a:gd name="connsiteY19" fmla="*/ 9808 h 21769"/>
                  <a:gd name="connsiteX20" fmla="*/ 11364 w 20872"/>
                  <a:gd name="connsiteY20" fmla="*/ 9928 h 21769"/>
                  <a:gd name="connsiteX21" fmla="*/ 11304 w 20872"/>
                  <a:gd name="connsiteY21" fmla="*/ 9988 h 21769"/>
                  <a:gd name="connsiteX22" fmla="*/ 11304 w 20872"/>
                  <a:gd name="connsiteY22" fmla="*/ 9988 h 21769"/>
                  <a:gd name="connsiteX23" fmla="*/ 11124 w 20872"/>
                  <a:gd name="connsiteY23" fmla="*/ 10167 h 21769"/>
                  <a:gd name="connsiteX24" fmla="*/ 11064 w 20872"/>
                  <a:gd name="connsiteY24" fmla="*/ 10227 h 21769"/>
                  <a:gd name="connsiteX25" fmla="*/ 10287 w 20872"/>
                  <a:gd name="connsiteY25" fmla="*/ 11064 h 21769"/>
                  <a:gd name="connsiteX26" fmla="*/ 9509 w 20872"/>
                  <a:gd name="connsiteY26" fmla="*/ 11902 h 21769"/>
                  <a:gd name="connsiteX27" fmla="*/ 2093 w 20872"/>
                  <a:gd name="connsiteY27" fmla="*/ 19976 h 21769"/>
                  <a:gd name="connsiteX28" fmla="*/ 1795 w 20872"/>
                  <a:gd name="connsiteY28" fmla="*/ 20275 h 21769"/>
                  <a:gd name="connsiteX29" fmla="*/ 538 w 20872"/>
                  <a:gd name="connsiteY29" fmla="*/ 21650 h 21769"/>
                  <a:gd name="connsiteX30" fmla="*/ 478 w 20872"/>
                  <a:gd name="connsiteY30" fmla="*/ 21710 h 21769"/>
                  <a:gd name="connsiteX31" fmla="*/ 0 w 20872"/>
                  <a:gd name="connsiteY31" fmla="*/ 21770 h 2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872" h="21769">
                    <a:moveTo>
                      <a:pt x="20753" y="179"/>
                    </a:moveTo>
                    <a:lnTo>
                      <a:pt x="20873" y="0"/>
                    </a:lnTo>
                    <a:lnTo>
                      <a:pt x="20753" y="179"/>
                    </a:lnTo>
                    <a:lnTo>
                      <a:pt x="19318" y="1615"/>
                    </a:lnTo>
                    <a:lnTo>
                      <a:pt x="18600" y="2332"/>
                    </a:lnTo>
                    <a:lnTo>
                      <a:pt x="18360" y="2632"/>
                    </a:lnTo>
                    <a:lnTo>
                      <a:pt x="18182" y="2811"/>
                    </a:lnTo>
                    <a:lnTo>
                      <a:pt x="17464" y="3588"/>
                    </a:lnTo>
                    <a:lnTo>
                      <a:pt x="17225" y="3828"/>
                    </a:lnTo>
                    <a:lnTo>
                      <a:pt x="17045" y="4007"/>
                    </a:lnTo>
                    <a:lnTo>
                      <a:pt x="16925" y="4127"/>
                    </a:lnTo>
                    <a:lnTo>
                      <a:pt x="16805" y="4246"/>
                    </a:lnTo>
                    <a:lnTo>
                      <a:pt x="15909" y="5143"/>
                    </a:lnTo>
                    <a:lnTo>
                      <a:pt x="15610" y="5502"/>
                    </a:lnTo>
                    <a:lnTo>
                      <a:pt x="14593" y="6579"/>
                    </a:lnTo>
                    <a:lnTo>
                      <a:pt x="14533" y="6639"/>
                    </a:lnTo>
                    <a:lnTo>
                      <a:pt x="14474" y="6698"/>
                    </a:lnTo>
                    <a:lnTo>
                      <a:pt x="14234" y="6938"/>
                    </a:lnTo>
                    <a:lnTo>
                      <a:pt x="13696" y="7536"/>
                    </a:lnTo>
                    <a:lnTo>
                      <a:pt x="11483" y="9808"/>
                    </a:lnTo>
                    <a:lnTo>
                      <a:pt x="11364" y="9928"/>
                    </a:lnTo>
                    <a:lnTo>
                      <a:pt x="11304" y="9988"/>
                    </a:lnTo>
                    <a:lnTo>
                      <a:pt x="11304" y="9988"/>
                    </a:lnTo>
                    <a:lnTo>
                      <a:pt x="11124" y="10167"/>
                    </a:lnTo>
                    <a:lnTo>
                      <a:pt x="11064" y="10227"/>
                    </a:lnTo>
                    <a:lnTo>
                      <a:pt x="10287" y="11064"/>
                    </a:lnTo>
                    <a:lnTo>
                      <a:pt x="9509" y="11902"/>
                    </a:lnTo>
                    <a:lnTo>
                      <a:pt x="2093" y="19976"/>
                    </a:lnTo>
                    <a:lnTo>
                      <a:pt x="1795" y="20275"/>
                    </a:lnTo>
                    <a:lnTo>
                      <a:pt x="538" y="21650"/>
                    </a:lnTo>
                    <a:lnTo>
                      <a:pt x="478" y="21710"/>
                    </a:lnTo>
                    <a:lnTo>
                      <a:pt x="0" y="21770"/>
                    </a:lnTo>
                  </a:path>
                </a:pathLst>
              </a:custGeom>
              <a:noFill/>
              <a:ln w="6350" cap="rnd">
                <a:solidFill>
                  <a:schemeClr val="bg1">
                    <a:alpha val="80000"/>
                  </a:schemeClr>
                </a:solidFill>
                <a:prstDash val="solid"/>
                <a:round/>
              </a:ln>
            </p:spPr>
            <p:txBody>
              <a:bodyPr rtlCol="0" anchor="ctr"/>
              <a:lstStyle/>
              <a:p>
                <a:endParaRPr lang="en-GB"/>
              </a:p>
            </p:txBody>
          </p:sp>
          <p:sp>
            <p:nvSpPr>
              <p:cNvPr id="6500" name="Vrije vorm: vorm 6499">
                <a:extLst>
                  <a:ext uri="{FF2B5EF4-FFF2-40B4-BE49-F238E27FC236}">
                    <a16:creationId xmlns:a16="http://schemas.microsoft.com/office/drawing/2014/main" id="{B6D52305-F868-46A6-92AB-C8889F7824DC}"/>
                  </a:ext>
                </a:extLst>
              </p:cNvPr>
              <p:cNvSpPr/>
              <p:nvPr/>
            </p:nvSpPr>
            <p:spPr>
              <a:xfrm>
                <a:off x="6883591" y="1888513"/>
                <a:ext cx="23503" cy="18480"/>
              </a:xfrm>
              <a:custGeom>
                <a:avLst/>
                <a:gdLst>
                  <a:gd name="connsiteX0" fmla="*/ 23504 w 23503"/>
                  <a:gd name="connsiteY0" fmla="*/ 1734 h 18480"/>
                  <a:gd name="connsiteX1" fmla="*/ 20095 w 23503"/>
                  <a:gd name="connsiteY1" fmla="*/ 837 h 18480"/>
                  <a:gd name="connsiteX2" fmla="*/ 17464 w 23503"/>
                  <a:gd name="connsiteY2" fmla="*/ 120 h 18480"/>
                  <a:gd name="connsiteX3" fmla="*/ 16985 w 23503"/>
                  <a:gd name="connsiteY3" fmla="*/ 0 h 18480"/>
                  <a:gd name="connsiteX4" fmla="*/ 14414 w 23503"/>
                  <a:gd name="connsiteY4" fmla="*/ 3409 h 18480"/>
                  <a:gd name="connsiteX5" fmla="*/ 13696 w 23503"/>
                  <a:gd name="connsiteY5" fmla="*/ 4366 h 18480"/>
                  <a:gd name="connsiteX6" fmla="*/ 13397 w 23503"/>
                  <a:gd name="connsiteY6" fmla="*/ 4785 h 18480"/>
                  <a:gd name="connsiteX7" fmla="*/ 12799 w 23503"/>
                  <a:gd name="connsiteY7" fmla="*/ 5622 h 18480"/>
                  <a:gd name="connsiteX8" fmla="*/ 12380 w 23503"/>
                  <a:gd name="connsiteY8" fmla="*/ 6160 h 18480"/>
                  <a:gd name="connsiteX9" fmla="*/ 12261 w 23503"/>
                  <a:gd name="connsiteY9" fmla="*/ 6340 h 18480"/>
                  <a:gd name="connsiteX10" fmla="*/ 12201 w 23503"/>
                  <a:gd name="connsiteY10" fmla="*/ 6459 h 18480"/>
                  <a:gd name="connsiteX11" fmla="*/ 11184 w 23503"/>
                  <a:gd name="connsiteY11" fmla="*/ 7775 h 18480"/>
                  <a:gd name="connsiteX12" fmla="*/ 11064 w 23503"/>
                  <a:gd name="connsiteY12" fmla="*/ 7954 h 18480"/>
                  <a:gd name="connsiteX13" fmla="*/ 11064 w 23503"/>
                  <a:gd name="connsiteY13" fmla="*/ 7954 h 18480"/>
                  <a:gd name="connsiteX14" fmla="*/ 11064 w 23503"/>
                  <a:gd name="connsiteY14" fmla="*/ 7954 h 18480"/>
                  <a:gd name="connsiteX15" fmla="*/ 9749 w 23503"/>
                  <a:gd name="connsiteY15" fmla="*/ 8313 h 18480"/>
                  <a:gd name="connsiteX16" fmla="*/ 8493 w 23503"/>
                  <a:gd name="connsiteY16" fmla="*/ 8672 h 18480"/>
                  <a:gd name="connsiteX17" fmla="*/ 8074 w 23503"/>
                  <a:gd name="connsiteY17" fmla="*/ 8792 h 18480"/>
                  <a:gd name="connsiteX18" fmla="*/ 7775 w 23503"/>
                  <a:gd name="connsiteY18" fmla="*/ 9150 h 18480"/>
                  <a:gd name="connsiteX19" fmla="*/ 5741 w 23503"/>
                  <a:gd name="connsiteY19" fmla="*/ 11603 h 18480"/>
                  <a:gd name="connsiteX20" fmla="*/ 5622 w 23503"/>
                  <a:gd name="connsiteY20" fmla="*/ 11782 h 18480"/>
                  <a:gd name="connsiteX21" fmla="*/ 5622 w 23503"/>
                  <a:gd name="connsiteY21" fmla="*/ 11782 h 18480"/>
                  <a:gd name="connsiteX22" fmla="*/ 5443 w 23503"/>
                  <a:gd name="connsiteY22" fmla="*/ 12021 h 18480"/>
                  <a:gd name="connsiteX23" fmla="*/ 4665 w 23503"/>
                  <a:gd name="connsiteY23" fmla="*/ 12918 h 18480"/>
                  <a:gd name="connsiteX24" fmla="*/ 3947 w 23503"/>
                  <a:gd name="connsiteY24" fmla="*/ 13756 h 18480"/>
                  <a:gd name="connsiteX25" fmla="*/ 0 w 23503"/>
                  <a:gd name="connsiteY25" fmla="*/ 18480 h 1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503" h="18480">
                    <a:moveTo>
                      <a:pt x="23504" y="1734"/>
                    </a:moveTo>
                    <a:lnTo>
                      <a:pt x="20095" y="837"/>
                    </a:lnTo>
                    <a:lnTo>
                      <a:pt x="17464" y="120"/>
                    </a:lnTo>
                    <a:lnTo>
                      <a:pt x="16985" y="0"/>
                    </a:lnTo>
                    <a:lnTo>
                      <a:pt x="14414" y="3409"/>
                    </a:lnTo>
                    <a:lnTo>
                      <a:pt x="13696" y="4366"/>
                    </a:lnTo>
                    <a:lnTo>
                      <a:pt x="13397" y="4785"/>
                    </a:lnTo>
                    <a:lnTo>
                      <a:pt x="12799" y="5622"/>
                    </a:lnTo>
                    <a:lnTo>
                      <a:pt x="12380" y="6160"/>
                    </a:lnTo>
                    <a:lnTo>
                      <a:pt x="12261" y="6340"/>
                    </a:lnTo>
                    <a:lnTo>
                      <a:pt x="12201" y="6459"/>
                    </a:lnTo>
                    <a:lnTo>
                      <a:pt x="11184" y="7775"/>
                    </a:lnTo>
                    <a:lnTo>
                      <a:pt x="11064" y="7954"/>
                    </a:lnTo>
                    <a:lnTo>
                      <a:pt x="11064" y="7954"/>
                    </a:lnTo>
                    <a:lnTo>
                      <a:pt x="11064" y="7954"/>
                    </a:lnTo>
                    <a:lnTo>
                      <a:pt x="9749" y="8313"/>
                    </a:lnTo>
                    <a:lnTo>
                      <a:pt x="8493" y="8672"/>
                    </a:lnTo>
                    <a:lnTo>
                      <a:pt x="8074" y="8792"/>
                    </a:lnTo>
                    <a:lnTo>
                      <a:pt x="7775" y="9150"/>
                    </a:lnTo>
                    <a:lnTo>
                      <a:pt x="5741" y="11603"/>
                    </a:lnTo>
                    <a:lnTo>
                      <a:pt x="5622" y="11782"/>
                    </a:lnTo>
                    <a:lnTo>
                      <a:pt x="5622" y="11782"/>
                    </a:lnTo>
                    <a:lnTo>
                      <a:pt x="5443" y="12021"/>
                    </a:lnTo>
                    <a:lnTo>
                      <a:pt x="4665" y="12918"/>
                    </a:lnTo>
                    <a:lnTo>
                      <a:pt x="3947" y="13756"/>
                    </a:lnTo>
                    <a:lnTo>
                      <a:pt x="0" y="18480"/>
                    </a:lnTo>
                  </a:path>
                </a:pathLst>
              </a:custGeom>
              <a:noFill/>
              <a:ln w="6350" cap="rnd">
                <a:solidFill>
                  <a:schemeClr val="bg1">
                    <a:alpha val="80000"/>
                  </a:schemeClr>
                </a:solidFill>
                <a:prstDash val="solid"/>
                <a:round/>
              </a:ln>
            </p:spPr>
            <p:txBody>
              <a:bodyPr rtlCol="0" anchor="ctr"/>
              <a:lstStyle/>
              <a:p>
                <a:endParaRPr lang="en-GB"/>
              </a:p>
            </p:txBody>
          </p:sp>
          <p:sp>
            <p:nvSpPr>
              <p:cNvPr id="6501" name="Vrije vorm: vorm 6500">
                <a:extLst>
                  <a:ext uri="{FF2B5EF4-FFF2-40B4-BE49-F238E27FC236}">
                    <a16:creationId xmlns:a16="http://schemas.microsoft.com/office/drawing/2014/main" id="{D5B08836-14D0-49F0-B6DC-B4A1423D551F}"/>
                  </a:ext>
                </a:extLst>
              </p:cNvPr>
              <p:cNvSpPr/>
              <p:nvPr/>
            </p:nvSpPr>
            <p:spPr>
              <a:xfrm>
                <a:off x="6920253" y="1913931"/>
                <a:ext cx="23503" cy="5263"/>
              </a:xfrm>
              <a:custGeom>
                <a:avLst/>
                <a:gdLst>
                  <a:gd name="connsiteX0" fmla="*/ 0 w 23503"/>
                  <a:gd name="connsiteY0" fmla="*/ 2871 h 5263"/>
                  <a:gd name="connsiteX1" fmla="*/ 60 w 23503"/>
                  <a:gd name="connsiteY1" fmla="*/ 2811 h 5263"/>
                  <a:gd name="connsiteX2" fmla="*/ 538 w 23503"/>
                  <a:gd name="connsiteY2" fmla="*/ 2213 h 5263"/>
                  <a:gd name="connsiteX3" fmla="*/ 1017 w 23503"/>
                  <a:gd name="connsiteY3" fmla="*/ 1615 h 5263"/>
                  <a:gd name="connsiteX4" fmla="*/ 1316 w 23503"/>
                  <a:gd name="connsiteY4" fmla="*/ 1256 h 5263"/>
                  <a:gd name="connsiteX5" fmla="*/ 1316 w 23503"/>
                  <a:gd name="connsiteY5" fmla="*/ 1256 h 5263"/>
                  <a:gd name="connsiteX6" fmla="*/ 1375 w 23503"/>
                  <a:gd name="connsiteY6" fmla="*/ 1196 h 5263"/>
                  <a:gd name="connsiteX7" fmla="*/ 1375 w 23503"/>
                  <a:gd name="connsiteY7" fmla="*/ 1196 h 5263"/>
                  <a:gd name="connsiteX8" fmla="*/ 1435 w 23503"/>
                  <a:gd name="connsiteY8" fmla="*/ 1077 h 5263"/>
                  <a:gd name="connsiteX9" fmla="*/ 1615 w 23503"/>
                  <a:gd name="connsiteY9" fmla="*/ 837 h 5263"/>
                  <a:gd name="connsiteX10" fmla="*/ 1854 w 23503"/>
                  <a:gd name="connsiteY10" fmla="*/ 598 h 5263"/>
                  <a:gd name="connsiteX11" fmla="*/ 1973 w 23503"/>
                  <a:gd name="connsiteY11" fmla="*/ 419 h 5263"/>
                  <a:gd name="connsiteX12" fmla="*/ 2213 w 23503"/>
                  <a:gd name="connsiteY12" fmla="*/ 120 h 5263"/>
                  <a:gd name="connsiteX13" fmla="*/ 2871 w 23503"/>
                  <a:gd name="connsiteY13" fmla="*/ 60 h 5263"/>
                  <a:gd name="connsiteX14" fmla="*/ 3230 w 23503"/>
                  <a:gd name="connsiteY14" fmla="*/ 0 h 5263"/>
                  <a:gd name="connsiteX15" fmla="*/ 3648 w 23503"/>
                  <a:gd name="connsiteY15" fmla="*/ 120 h 5263"/>
                  <a:gd name="connsiteX16" fmla="*/ 3888 w 23503"/>
                  <a:gd name="connsiteY16" fmla="*/ 179 h 5263"/>
                  <a:gd name="connsiteX17" fmla="*/ 8791 w 23503"/>
                  <a:gd name="connsiteY17" fmla="*/ 1435 h 5263"/>
                  <a:gd name="connsiteX18" fmla="*/ 9270 w 23503"/>
                  <a:gd name="connsiteY18" fmla="*/ 1555 h 5263"/>
                  <a:gd name="connsiteX19" fmla="*/ 10107 w 23503"/>
                  <a:gd name="connsiteY19" fmla="*/ 1794 h 5263"/>
                  <a:gd name="connsiteX20" fmla="*/ 11542 w 23503"/>
                  <a:gd name="connsiteY20" fmla="*/ 2153 h 5263"/>
                  <a:gd name="connsiteX21" fmla="*/ 11542 w 23503"/>
                  <a:gd name="connsiteY21" fmla="*/ 2153 h 5263"/>
                  <a:gd name="connsiteX22" fmla="*/ 11961 w 23503"/>
                  <a:gd name="connsiteY22" fmla="*/ 2273 h 5263"/>
                  <a:gd name="connsiteX23" fmla="*/ 15250 w 23503"/>
                  <a:gd name="connsiteY23" fmla="*/ 3110 h 5263"/>
                  <a:gd name="connsiteX24" fmla="*/ 16567 w 23503"/>
                  <a:gd name="connsiteY24" fmla="*/ 3469 h 5263"/>
                  <a:gd name="connsiteX25" fmla="*/ 18660 w 23503"/>
                  <a:gd name="connsiteY25" fmla="*/ 4007 h 5263"/>
                  <a:gd name="connsiteX26" fmla="*/ 23504 w 23503"/>
                  <a:gd name="connsiteY26" fmla="*/ 5263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503" h="5263">
                    <a:moveTo>
                      <a:pt x="0" y="2871"/>
                    </a:moveTo>
                    <a:lnTo>
                      <a:pt x="60" y="2811"/>
                    </a:lnTo>
                    <a:lnTo>
                      <a:pt x="538" y="2213"/>
                    </a:lnTo>
                    <a:lnTo>
                      <a:pt x="1017" y="1615"/>
                    </a:lnTo>
                    <a:lnTo>
                      <a:pt x="1316" y="1256"/>
                    </a:lnTo>
                    <a:lnTo>
                      <a:pt x="1316" y="1256"/>
                    </a:lnTo>
                    <a:lnTo>
                      <a:pt x="1375" y="1196"/>
                    </a:lnTo>
                    <a:lnTo>
                      <a:pt x="1375" y="1196"/>
                    </a:lnTo>
                    <a:lnTo>
                      <a:pt x="1435" y="1077"/>
                    </a:lnTo>
                    <a:lnTo>
                      <a:pt x="1615" y="837"/>
                    </a:lnTo>
                    <a:lnTo>
                      <a:pt x="1854" y="598"/>
                    </a:lnTo>
                    <a:lnTo>
                      <a:pt x="1973" y="419"/>
                    </a:lnTo>
                    <a:lnTo>
                      <a:pt x="2213" y="120"/>
                    </a:lnTo>
                    <a:lnTo>
                      <a:pt x="2871" y="60"/>
                    </a:lnTo>
                    <a:lnTo>
                      <a:pt x="3230" y="0"/>
                    </a:lnTo>
                    <a:lnTo>
                      <a:pt x="3648" y="120"/>
                    </a:lnTo>
                    <a:lnTo>
                      <a:pt x="3888" y="179"/>
                    </a:lnTo>
                    <a:lnTo>
                      <a:pt x="8791" y="1435"/>
                    </a:lnTo>
                    <a:lnTo>
                      <a:pt x="9270" y="1555"/>
                    </a:lnTo>
                    <a:lnTo>
                      <a:pt x="10107" y="1794"/>
                    </a:lnTo>
                    <a:lnTo>
                      <a:pt x="11542" y="2153"/>
                    </a:lnTo>
                    <a:lnTo>
                      <a:pt x="11542" y="2153"/>
                    </a:lnTo>
                    <a:lnTo>
                      <a:pt x="11961" y="2273"/>
                    </a:lnTo>
                    <a:lnTo>
                      <a:pt x="15250" y="3110"/>
                    </a:lnTo>
                    <a:lnTo>
                      <a:pt x="16567" y="3469"/>
                    </a:lnTo>
                    <a:lnTo>
                      <a:pt x="18660" y="4007"/>
                    </a:lnTo>
                    <a:lnTo>
                      <a:pt x="23504" y="5263"/>
                    </a:lnTo>
                  </a:path>
                </a:pathLst>
              </a:custGeom>
              <a:noFill/>
              <a:ln w="6350" cap="rnd">
                <a:solidFill>
                  <a:schemeClr val="bg1">
                    <a:alpha val="80000"/>
                  </a:schemeClr>
                </a:solidFill>
                <a:prstDash val="solid"/>
                <a:round/>
              </a:ln>
            </p:spPr>
            <p:txBody>
              <a:bodyPr rtlCol="0" anchor="ctr"/>
              <a:lstStyle/>
              <a:p>
                <a:endParaRPr lang="en-GB"/>
              </a:p>
            </p:txBody>
          </p:sp>
          <p:sp>
            <p:nvSpPr>
              <p:cNvPr id="6502" name="Vrije vorm: vorm 6501">
                <a:extLst>
                  <a:ext uri="{FF2B5EF4-FFF2-40B4-BE49-F238E27FC236}">
                    <a16:creationId xmlns:a16="http://schemas.microsoft.com/office/drawing/2014/main" id="{4B6A9A54-3D8F-456D-A1B4-3DED6DE94F2E}"/>
                  </a:ext>
                </a:extLst>
              </p:cNvPr>
              <p:cNvSpPr/>
              <p:nvPr/>
            </p:nvSpPr>
            <p:spPr>
              <a:xfrm>
                <a:off x="6850099" y="1921706"/>
                <a:ext cx="17403" cy="4784"/>
              </a:xfrm>
              <a:custGeom>
                <a:avLst/>
                <a:gdLst>
                  <a:gd name="connsiteX0" fmla="*/ 17403 w 17403"/>
                  <a:gd name="connsiteY0" fmla="*/ 4785 h 4784"/>
                  <a:gd name="connsiteX1" fmla="*/ 15191 w 17403"/>
                  <a:gd name="connsiteY1" fmla="*/ 4246 h 4784"/>
                  <a:gd name="connsiteX2" fmla="*/ 14832 w 17403"/>
                  <a:gd name="connsiteY2" fmla="*/ 4127 h 4784"/>
                  <a:gd name="connsiteX3" fmla="*/ 10406 w 17403"/>
                  <a:gd name="connsiteY3" fmla="*/ 2990 h 4784"/>
                  <a:gd name="connsiteX4" fmla="*/ 8074 w 17403"/>
                  <a:gd name="connsiteY4" fmla="*/ 2392 h 4784"/>
                  <a:gd name="connsiteX5" fmla="*/ 2452 w 17403"/>
                  <a:gd name="connsiteY5" fmla="*/ 957 h 4784"/>
                  <a:gd name="connsiteX6" fmla="*/ 1375 w 17403"/>
                  <a:gd name="connsiteY6" fmla="*/ 658 h 4784"/>
                  <a:gd name="connsiteX7" fmla="*/ 956 w 17403"/>
                  <a:gd name="connsiteY7" fmla="*/ 538 h 4784"/>
                  <a:gd name="connsiteX8" fmla="*/ 239 w 17403"/>
                  <a:gd name="connsiteY8" fmla="*/ 120 h 4784"/>
                  <a:gd name="connsiteX9" fmla="*/ 0 w 17403"/>
                  <a:gd name="connsiteY9" fmla="*/ 0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03" h="4784">
                    <a:moveTo>
                      <a:pt x="17403" y="4785"/>
                    </a:moveTo>
                    <a:lnTo>
                      <a:pt x="15191" y="4246"/>
                    </a:lnTo>
                    <a:lnTo>
                      <a:pt x="14832" y="4127"/>
                    </a:lnTo>
                    <a:lnTo>
                      <a:pt x="10406" y="2990"/>
                    </a:lnTo>
                    <a:lnTo>
                      <a:pt x="8074" y="2392"/>
                    </a:lnTo>
                    <a:lnTo>
                      <a:pt x="2452" y="957"/>
                    </a:lnTo>
                    <a:lnTo>
                      <a:pt x="1375" y="658"/>
                    </a:lnTo>
                    <a:lnTo>
                      <a:pt x="956" y="538"/>
                    </a:lnTo>
                    <a:lnTo>
                      <a:pt x="239"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03" name="Vrije vorm: vorm 6502">
                <a:extLst>
                  <a:ext uri="{FF2B5EF4-FFF2-40B4-BE49-F238E27FC236}">
                    <a16:creationId xmlns:a16="http://schemas.microsoft.com/office/drawing/2014/main" id="{82358773-BE7F-4214-B253-91C2C9C839B3}"/>
                  </a:ext>
                </a:extLst>
              </p:cNvPr>
              <p:cNvSpPr/>
              <p:nvPr/>
            </p:nvSpPr>
            <p:spPr>
              <a:xfrm>
                <a:off x="6782517" y="1838693"/>
                <a:ext cx="3528" cy="9748"/>
              </a:xfrm>
              <a:custGeom>
                <a:avLst/>
                <a:gdLst>
                  <a:gd name="connsiteX0" fmla="*/ 0 w 3528"/>
                  <a:gd name="connsiteY0" fmla="*/ 9749 h 9748"/>
                  <a:gd name="connsiteX1" fmla="*/ 120 w 3528"/>
                  <a:gd name="connsiteY1" fmla="*/ 9450 h 9748"/>
                  <a:gd name="connsiteX2" fmla="*/ 1555 w 3528"/>
                  <a:gd name="connsiteY2" fmla="*/ 5263 h 9748"/>
                  <a:gd name="connsiteX3" fmla="*/ 2572 w 3528"/>
                  <a:gd name="connsiteY3" fmla="*/ 2213 h 9748"/>
                  <a:gd name="connsiteX4" fmla="*/ 2930 w 3528"/>
                  <a:gd name="connsiteY4" fmla="*/ 1376 h 9748"/>
                  <a:gd name="connsiteX5" fmla="*/ 3529 w 3528"/>
                  <a:gd name="connsiteY5" fmla="*/ 0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8" h="9748">
                    <a:moveTo>
                      <a:pt x="0" y="9749"/>
                    </a:moveTo>
                    <a:lnTo>
                      <a:pt x="120" y="9450"/>
                    </a:lnTo>
                    <a:lnTo>
                      <a:pt x="1555" y="5263"/>
                    </a:lnTo>
                    <a:lnTo>
                      <a:pt x="2572" y="2213"/>
                    </a:lnTo>
                    <a:lnTo>
                      <a:pt x="2930" y="1376"/>
                    </a:lnTo>
                    <a:lnTo>
                      <a:pt x="3529" y="0"/>
                    </a:lnTo>
                  </a:path>
                </a:pathLst>
              </a:custGeom>
              <a:noFill/>
              <a:ln w="6350" cap="rnd">
                <a:solidFill>
                  <a:schemeClr val="bg1">
                    <a:alpha val="80000"/>
                  </a:schemeClr>
                </a:solidFill>
                <a:prstDash val="solid"/>
                <a:round/>
              </a:ln>
            </p:spPr>
            <p:txBody>
              <a:bodyPr rtlCol="0" anchor="ctr"/>
              <a:lstStyle/>
              <a:p>
                <a:endParaRPr lang="en-GB"/>
              </a:p>
            </p:txBody>
          </p:sp>
          <p:sp>
            <p:nvSpPr>
              <p:cNvPr id="6504" name="Vrije vorm: vorm 6503">
                <a:extLst>
                  <a:ext uri="{FF2B5EF4-FFF2-40B4-BE49-F238E27FC236}">
                    <a16:creationId xmlns:a16="http://schemas.microsoft.com/office/drawing/2014/main" id="{CC6F4E28-3F7C-4874-AC5A-BFE6DF03DCD8}"/>
                  </a:ext>
                </a:extLst>
              </p:cNvPr>
              <p:cNvSpPr/>
              <p:nvPr/>
            </p:nvSpPr>
            <p:spPr>
              <a:xfrm>
                <a:off x="6819179" y="1861301"/>
                <a:ext cx="3708" cy="9868"/>
              </a:xfrm>
              <a:custGeom>
                <a:avLst/>
                <a:gdLst>
                  <a:gd name="connsiteX0" fmla="*/ 0 w 3708"/>
                  <a:gd name="connsiteY0" fmla="*/ 9868 h 9868"/>
                  <a:gd name="connsiteX1" fmla="*/ 120 w 3708"/>
                  <a:gd name="connsiteY1" fmla="*/ 9569 h 9868"/>
                  <a:gd name="connsiteX2" fmla="*/ 658 w 3708"/>
                  <a:gd name="connsiteY2" fmla="*/ 8134 h 9868"/>
                  <a:gd name="connsiteX3" fmla="*/ 1196 w 3708"/>
                  <a:gd name="connsiteY3" fmla="*/ 6639 h 9868"/>
                  <a:gd name="connsiteX4" fmla="*/ 1256 w 3708"/>
                  <a:gd name="connsiteY4" fmla="*/ 6519 h 9868"/>
                  <a:gd name="connsiteX5" fmla="*/ 1854 w 3708"/>
                  <a:gd name="connsiteY5" fmla="*/ 4844 h 9868"/>
                  <a:gd name="connsiteX6" fmla="*/ 2093 w 3708"/>
                  <a:gd name="connsiteY6" fmla="*/ 4127 h 9868"/>
                  <a:gd name="connsiteX7" fmla="*/ 2392 w 3708"/>
                  <a:gd name="connsiteY7" fmla="*/ 3289 h 9868"/>
                  <a:gd name="connsiteX8" fmla="*/ 2452 w 3708"/>
                  <a:gd name="connsiteY8" fmla="*/ 3110 h 9868"/>
                  <a:gd name="connsiteX9" fmla="*/ 2572 w 3708"/>
                  <a:gd name="connsiteY9" fmla="*/ 2811 h 9868"/>
                  <a:gd name="connsiteX10" fmla="*/ 2811 w 3708"/>
                  <a:gd name="connsiteY10" fmla="*/ 2153 h 9868"/>
                  <a:gd name="connsiteX11" fmla="*/ 2811 w 3708"/>
                  <a:gd name="connsiteY11" fmla="*/ 2153 h 9868"/>
                  <a:gd name="connsiteX12" fmla="*/ 2990 w 3708"/>
                  <a:gd name="connsiteY12" fmla="*/ 1734 h 9868"/>
                  <a:gd name="connsiteX13" fmla="*/ 3708 w 3708"/>
                  <a:gd name="connsiteY13" fmla="*/ 60 h 9868"/>
                  <a:gd name="connsiteX14" fmla="*/ 3708 w 3708"/>
                  <a:gd name="connsiteY14" fmla="*/ 0 h 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08" h="9868">
                    <a:moveTo>
                      <a:pt x="0" y="9868"/>
                    </a:moveTo>
                    <a:lnTo>
                      <a:pt x="120" y="9569"/>
                    </a:lnTo>
                    <a:lnTo>
                      <a:pt x="658" y="8134"/>
                    </a:lnTo>
                    <a:lnTo>
                      <a:pt x="1196" y="6639"/>
                    </a:lnTo>
                    <a:lnTo>
                      <a:pt x="1256" y="6519"/>
                    </a:lnTo>
                    <a:lnTo>
                      <a:pt x="1854" y="4844"/>
                    </a:lnTo>
                    <a:lnTo>
                      <a:pt x="2093" y="4127"/>
                    </a:lnTo>
                    <a:lnTo>
                      <a:pt x="2392" y="3289"/>
                    </a:lnTo>
                    <a:lnTo>
                      <a:pt x="2452" y="3110"/>
                    </a:lnTo>
                    <a:lnTo>
                      <a:pt x="2572" y="2811"/>
                    </a:lnTo>
                    <a:lnTo>
                      <a:pt x="2811" y="2153"/>
                    </a:lnTo>
                    <a:lnTo>
                      <a:pt x="2811" y="2153"/>
                    </a:lnTo>
                    <a:lnTo>
                      <a:pt x="2990" y="1734"/>
                    </a:lnTo>
                    <a:lnTo>
                      <a:pt x="3708" y="60"/>
                    </a:lnTo>
                    <a:lnTo>
                      <a:pt x="3708" y="0"/>
                    </a:lnTo>
                  </a:path>
                </a:pathLst>
              </a:custGeom>
              <a:noFill/>
              <a:ln w="6350" cap="rnd">
                <a:solidFill>
                  <a:schemeClr val="bg1">
                    <a:alpha val="80000"/>
                  </a:schemeClr>
                </a:solidFill>
                <a:prstDash val="solid"/>
                <a:round/>
              </a:ln>
            </p:spPr>
            <p:txBody>
              <a:bodyPr rtlCol="0" anchor="ctr"/>
              <a:lstStyle/>
              <a:p>
                <a:endParaRPr lang="en-GB"/>
              </a:p>
            </p:txBody>
          </p:sp>
          <p:sp>
            <p:nvSpPr>
              <p:cNvPr id="6505" name="Vrije vorm: vorm 6504">
                <a:extLst>
                  <a:ext uri="{FF2B5EF4-FFF2-40B4-BE49-F238E27FC236}">
                    <a16:creationId xmlns:a16="http://schemas.microsoft.com/office/drawing/2014/main" id="{E71B0F48-0B4A-447F-9FC9-C903EC8F102F}"/>
                  </a:ext>
                </a:extLst>
              </p:cNvPr>
              <p:cNvSpPr/>
              <p:nvPr/>
            </p:nvSpPr>
            <p:spPr>
              <a:xfrm>
                <a:off x="6890290" y="1847844"/>
                <a:ext cx="4365" cy="26315"/>
              </a:xfrm>
              <a:custGeom>
                <a:avLst/>
                <a:gdLst>
                  <a:gd name="connsiteX0" fmla="*/ 0 w 4365"/>
                  <a:gd name="connsiteY0" fmla="*/ 0 h 26315"/>
                  <a:gd name="connsiteX1" fmla="*/ 538 w 4365"/>
                  <a:gd name="connsiteY1" fmla="*/ 359 h 26315"/>
                  <a:gd name="connsiteX2" fmla="*/ 598 w 4365"/>
                  <a:gd name="connsiteY2" fmla="*/ 598 h 26315"/>
                  <a:gd name="connsiteX3" fmla="*/ 1017 w 4365"/>
                  <a:gd name="connsiteY3" fmla="*/ 2930 h 26315"/>
                  <a:gd name="connsiteX4" fmla="*/ 1077 w 4365"/>
                  <a:gd name="connsiteY4" fmla="*/ 3230 h 26315"/>
                  <a:gd name="connsiteX5" fmla="*/ 1077 w 4365"/>
                  <a:gd name="connsiteY5" fmla="*/ 3230 h 26315"/>
                  <a:gd name="connsiteX6" fmla="*/ 2033 w 4365"/>
                  <a:gd name="connsiteY6" fmla="*/ 8672 h 26315"/>
                  <a:gd name="connsiteX7" fmla="*/ 2093 w 4365"/>
                  <a:gd name="connsiteY7" fmla="*/ 9150 h 26315"/>
                  <a:gd name="connsiteX8" fmla="*/ 2093 w 4365"/>
                  <a:gd name="connsiteY8" fmla="*/ 9390 h 26315"/>
                  <a:gd name="connsiteX9" fmla="*/ 2213 w 4365"/>
                  <a:gd name="connsiteY9" fmla="*/ 10466 h 26315"/>
                  <a:gd name="connsiteX10" fmla="*/ 2213 w 4365"/>
                  <a:gd name="connsiteY10" fmla="*/ 10705 h 26315"/>
                  <a:gd name="connsiteX11" fmla="*/ 2273 w 4365"/>
                  <a:gd name="connsiteY11" fmla="*/ 11483 h 26315"/>
                  <a:gd name="connsiteX12" fmla="*/ 2392 w 4365"/>
                  <a:gd name="connsiteY12" fmla="*/ 12559 h 26315"/>
                  <a:gd name="connsiteX13" fmla="*/ 2392 w 4365"/>
                  <a:gd name="connsiteY13" fmla="*/ 12799 h 26315"/>
                  <a:gd name="connsiteX14" fmla="*/ 2452 w 4365"/>
                  <a:gd name="connsiteY14" fmla="*/ 13158 h 26315"/>
                  <a:gd name="connsiteX15" fmla="*/ 2452 w 4365"/>
                  <a:gd name="connsiteY15" fmla="*/ 13337 h 26315"/>
                  <a:gd name="connsiteX16" fmla="*/ 2512 w 4365"/>
                  <a:gd name="connsiteY16" fmla="*/ 13935 h 26315"/>
                  <a:gd name="connsiteX17" fmla="*/ 2512 w 4365"/>
                  <a:gd name="connsiteY17" fmla="*/ 14174 h 26315"/>
                  <a:gd name="connsiteX18" fmla="*/ 2631 w 4365"/>
                  <a:gd name="connsiteY18" fmla="*/ 15131 h 26315"/>
                  <a:gd name="connsiteX19" fmla="*/ 2751 w 4365"/>
                  <a:gd name="connsiteY19" fmla="*/ 16327 h 26315"/>
                  <a:gd name="connsiteX20" fmla="*/ 2751 w 4365"/>
                  <a:gd name="connsiteY20" fmla="*/ 16387 h 26315"/>
                  <a:gd name="connsiteX21" fmla="*/ 2751 w 4365"/>
                  <a:gd name="connsiteY21" fmla="*/ 16507 h 26315"/>
                  <a:gd name="connsiteX22" fmla="*/ 2811 w 4365"/>
                  <a:gd name="connsiteY22" fmla="*/ 17165 h 26315"/>
                  <a:gd name="connsiteX23" fmla="*/ 2871 w 4365"/>
                  <a:gd name="connsiteY23" fmla="*/ 17763 h 26315"/>
                  <a:gd name="connsiteX24" fmla="*/ 2990 w 4365"/>
                  <a:gd name="connsiteY24" fmla="*/ 19078 h 26315"/>
                  <a:gd name="connsiteX25" fmla="*/ 2990 w 4365"/>
                  <a:gd name="connsiteY25" fmla="*/ 19258 h 26315"/>
                  <a:gd name="connsiteX26" fmla="*/ 3110 w 4365"/>
                  <a:gd name="connsiteY26" fmla="*/ 20574 h 26315"/>
                  <a:gd name="connsiteX27" fmla="*/ 3110 w 4365"/>
                  <a:gd name="connsiteY27" fmla="*/ 20693 h 26315"/>
                  <a:gd name="connsiteX28" fmla="*/ 3588 w 4365"/>
                  <a:gd name="connsiteY28" fmla="*/ 23564 h 26315"/>
                  <a:gd name="connsiteX29" fmla="*/ 3768 w 4365"/>
                  <a:gd name="connsiteY29" fmla="*/ 24760 h 26315"/>
                  <a:gd name="connsiteX30" fmla="*/ 4366 w 4365"/>
                  <a:gd name="connsiteY30" fmla="*/ 26315 h 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365" h="26315">
                    <a:moveTo>
                      <a:pt x="0" y="0"/>
                    </a:moveTo>
                    <a:lnTo>
                      <a:pt x="538" y="359"/>
                    </a:lnTo>
                    <a:lnTo>
                      <a:pt x="598" y="598"/>
                    </a:lnTo>
                    <a:lnTo>
                      <a:pt x="1017" y="2930"/>
                    </a:lnTo>
                    <a:lnTo>
                      <a:pt x="1077" y="3230"/>
                    </a:lnTo>
                    <a:lnTo>
                      <a:pt x="1077" y="3230"/>
                    </a:lnTo>
                    <a:lnTo>
                      <a:pt x="2033" y="8672"/>
                    </a:lnTo>
                    <a:lnTo>
                      <a:pt x="2093" y="9150"/>
                    </a:lnTo>
                    <a:lnTo>
                      <a:pt x="2093" y="9390"/>
                    </a:lnTo>
                    <a:lnTo>
                      <a:pt x="2213" y="10466"/>
                    </a:lnTo>
                    <a:lnTo>
                      <a:pt x="2213" y="10705"/>
                    </a:lnTo>
                    <a:lnTo>
                      <a:pt x="2273" y="11483"/>
                    </a:lnTo>
                    <a:lnTo>
                      <a:pt x="2392" y="12559"/>
                    </a:lnTo>
                    <a:lnTo>
                      <a:pt x="2392" y="12799"/>
                    </a:lnTo>
                    <a:lnTo>
                      <a:pt x="2452" y="13158"/>
                    </a:lnTo>
                    <a:lnTo>
                      <a:pt x="2452" y="13337"/>
                    </a:lnTo>
                    <a:lnTo>
                      <a:pt x="2512" y="13935"/>
                    </a:lnTo>
                    <a:lnTo>
                      <a:pt x="2512" y="14174"/>
                    </a:lnTo>
                    <a:lnTo>
                      <a:pt x="2631" y="15131"/>
                    </a:lnTo>
                    <a:lnTo>
                      <a:pt x="2751" y="16327"/>
                    </a:lnTo>
                    <a:lnTo>
                      <a:pt x="2751" y="16387"/>
                    </a:lnTo>
                    <a:lnTo>
                      <a:pt x="2751" y="16507"/>
                    </a:lnTo>
                    <a:lnTo>
                      <a:pt x="2811" y="17165"/>
                    </a:lnTo>
                    <a:lnTo>
                      <a:pt x="2871" y="17763"/>
                    </a:lnTo>
                    <a:lnTo>
                      <a:pt x="2990" y="19078"/>
                    </a:lnTo>
                    <a:lnTo>
                      <a:pt x="2990" y="19258"/>
                    </a:lnTo>
                    <a:lnTo>
                      <a:pt x="3110" y="20574"/>
                    </a:lnTo>
                    <a:lnTo>
                      <a:pt x="3110" y="20693"/>
                    </a:lnTo>
                    <a:lnTo>
                      <a:pt x="3588" y="23564"/>
                    </a:lnTo>
                    <a:lnTo>
                      <a:pt x="3768" y="24760"/>
                    </a:lnTo>
                    <a:lnTo>
                      <a:pt x="4366" y="26315"/>
                    </a:lnTo>
                  </a:path>
                </a:pathLst>
              </a:custGeom>
              <a:noFill/>
              <a:ln w="6350" cap="rnd">
                <a:solidFill>
                  <a:schemeClr val="bg1">
                    <a:alpha val="80000"/>
                  </a:schemeClr>
                </a:solidFill>
                <a:prstDash val="solid"/>
                <a:round/>
              </a:ln>
            </p:spPr>
            <p:txBody>
              <a:bodyPr rtlCol="0" anchor="ctr"/>
              <a:lstStyle/>
              <a:p>
                <a:endParaRPr lang="en-GB"/>
              </a:p>
            </p:txBody>
          </p:sp>
          <p:sp>
            <p:nvSpPr>
              <p:cNvPr id="6506" name="Vrije vorm: vorm 6505">
                <a:extLst>
                  <a:ext uri="{FF2B5EF4-FFF2-40B4-BE49-F238E27FC236}">
                    <a16:creationId xmlns:a16="http://schemas.microsoft.com/office/drawing/2014/main" id="{54D27BE9-DD9A-44EC-8E5F-5E1D4853D8A8}"/>
                  </a:ext>
                </a:extLst>
              </p:cNvPr>
              <p:cNvSpPr/>
              <p:nvPr/>
            </p:nvSpPr>
            <p:spPr>
              <a:xfrm>
                <a:off x="6814095" y="2079597"/>
                <a:ext cx="46709" cy="18360"/>
              </a:xfrm>
              <a:custGeom>
                <a:avLst/>
                <a:gdLst>
                  <a:gd name="connsiteX0" fmla="*/ 45991 w 46709"/>
                  <a:gd name="connsiteY0" fmla="*/ 0 h 18360"/>
                  <a:gd name="connsiteX1" fmla="*/ 46709 w 46709"/>
                  <a:gd name="connsiteY1" fmla="*/ 478 h 18360"/>
                  <a:gd name="connsiteX2" fmla="*/ 46709 w 46709"/>
                  <a:gd name="connsiteY2" fmla="*/ 1435 h 18360"/>
                  <a:gd name="connsiteX3" fmla="*/ 46709 w 46709"/>
                  <a:gd name="connsiteY3" fmla="*/ 2512 h 18360"/>
                  <a:gd name="connsiteX4" fmla="*/ 45334 w 46709"/>
                  <a:gd name="connsiteY4" fmla="*/ 4964 h 18360"/>
                  <a:gd name="connsiteX5" fmla="*/ 43121 w 46709"/>
                  <a:gd name="connsiteY5" fmla="*/ 8792 h 18360"/>
                  <a:gd name="connsiteX6" fmla="*/ 41566 w 46709"/>
                  <a:gd name="connsiteY6" fmla="*/ 9988 h 18360"/>
                  <a:gd name="connsiteX7" fmla="*/ 41387 w 46709"/>
                  <a:gd name="connsiteY7" fmla="*/ 10107 h 18360"/>
                  <a:gd name="connsiteX8" fmla="*/ 34030 w 46709"/>
                  <a:gd name="connsiteY8" fmla="*/ 15909 h 18360"/>
                  <a:gd name="connsiteX9" fmla="*/ 32116 w 46709"/>
                  <a:gd name="connsiteY9" fmla="*/ 16088 h 18360"/>
                  <a:gd name="connsiteX10" fmla="*/ 27870 w 46709"/>
                  <a:gd name="connsiteY10" fmla="*/ 16507 h 18360"/>
                  <a:gd name="connsiteX11" fmla="*/ 25298 w 46709"/>
                  <a:gd name="connsiteY11" fmla="*/ 16746 h 18360"/>
                  <a:gd name="connsiteX12" fmla="*/ 24461 w 46709"/>
                  <a:gd name="connsiteY12" fmla="*/ 16806 h 18360"/>
                  <a:gd name="connsiteX13" fmla="*/ 21950 w 46709"/>
                  <a:gd name="connsiteY13" fmla="*/ 17045 h 18360"/>
                  <a:gd name="connsiteX14" fmla="*/ 20095 w 46709"/>
                  <a:gd name="connsiteY14" fmla="*/ 17224 h 18360"/>
                  <a:gd name="connsiteX15" fmla="*/ 19497 w 46709"/>
                  <a:gd name="connsiteY15" fmla="*/ 17284 h 18360"/>
                  <a:gd name="connsiteX16" fmla="*/ 15012 w 46709"/>
                  <a:gd name="connsiteY16" fmla="*/ 17882 h 18360"/>
                  <a:gd name="connsiteX17" fmla="*/ 14473 w 46709"/>
                  <a:gd name="connsiteY17" fmla="*/ 17942 h 18360"/>
                  <a:gd name="connsiteX18" fmla="*/ 12978 w 46709"/>
                  <a:gd name="connsiteY18" fmla="*/ 18062 h 18360"/>
                  <a:gd name="connsiteX19" fmla="*/ 12081 w 46709"/>
                  <a:gd name="connsiteY19" fmla="*/ 18122 h 18360"/>
                  <a:gd name="connsiteX20" fmla="*/ 11842 w 46709"/>
                  <a:gd name="connsiteY20" fmla="*/ 18122 h 18360"/>
                  <a:gd name="connsiteX21" fmla="*/ 10586 w 46709"/>
                  <a:gd name="connsiteY21" fmla="*/ 18181 h 18360"/>
                  <a:gd name="connsiteX22" fmla="*/ 8134 w 46709"/>
                  <a:gd name="connsiteY22" fmla="*/ 18361 h 18360"/>
                  <a:gd name="connsiteX23" fmla="*/ 7595 w 46709"/>
                  <a:gd name="connsiteY23" fmla="*/ 18361 h 18360"/>
                  <a:gd name="connsiteX24" fmla="*/ 4844 w 46709"/>
                  <a:gd name="connsiteY24" fmla="*/ 18241 h 18360"/>
                  <a:gd name="connsiteX25" fmla="*/ 2452 w 46709"/>
                  <a:gd name="connsiteY25" fmla="*/ 16507 h 18360"/>
                  <a:gd name="connsiteX26" fmla="*/ 718 w 46709"/>
                  <a:gd name="connsiteY26" fmla="*/ 14892 h 18360"/>
                  <a:gd name="connsiteX27" fmla="*/ 0 w 46709"/>
                  <a:gd name="connsiteY27" fmla="*/ 13935 h 18360"/>
                  <a:gd name="connsiteX28" fmla="*/ 957 w 46709"/>
                  <a:gd name="connsiteY28" fmla="*/ 11722 h 18360"/>
                  <a:gd name="connsiteX29" fmla="*/ 1435 w 46709"/>
                  <a:gd name="connsiteY29" fmla="*/ 10586 h 18360"/>
                  <a:gd name="connsiteX30" fmla="*/ 1435 w 46709"/>
                  <a:gd name="connsiteY30" fmla="*/ 10526 h 18360"/>
                  <a:gd name="connsiteX31" fmla="*/ 1495 w 46709"/>
                  <a:gd name="connsiteY31" fmla="*/ 10406 h 18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709" h="18360">
                    <a:moveTo>
                      <a:pt x="45991" y="0"/>
                    </a:moveTo>
                    <a:lnTo>
                      <a:pt x="46709" y="478"/>
                    </a:lnTo>
                    <a:lnTo>
                      <a:pt x="46709" y="1435"/>
                    </a:lnTo>
                    <a:lnTo>
                      <a:pt x="46709" y="2512"/>
                    </a:lnTo>
                    <a:lnTo>
                      <a:pt x="45334" y="4964"/>
                    </a:lnTo>
                    <a:lnTo>
                      <a:pt x="43121" y="8792"/>
                    </a:lnTo>
                    <a:lnTo>
                      <a:pt x="41566" y="9988"/>
                    </a:lnTo>
                    <a:lnTo>
                      <a:pt x="41387" y="10107"/>
                    </a:lnTo>
                    <a:lnTo>
                      <a:pt x="34030" y="15909"/>
                    </a:lnTo>
                    <a:lnTo>
                      <a:pt x="32116" y="16088"/>
                    </a:lnTo>
                    <a:lnTo>
                      <a:pt x="27870" y="16507"/>
                    </a:lnTo>
                    <a:lnTo>
                      <a:pt x="25298" y="16746"/>
                    </a:lnTo>
                    <a:lnTo>
                      <a:pt x="24461" y="16806"/>
                    </a:lnTo>
                    <a:lnTo>
                      <a:pt x="21950" y="17045"/>
                    </a:lnTo>
                    <a:lnTo>
                      <a:pt x="20095" y="17224"/>
                    </a:lnTo>
                    <a:lnTo>
                      <a:pt x="19497" y="17284"/>
                    </a:lnTo>
                    <a:lnTo>
                      <a:pt x="15012" y="17882"/>
                    </a:lnTo>
                    <a:lnTo>
                      <a:pt x="14473" y="17942"/>
                    </a:lnTo>
                    <a:lnTo>
                      <a:pt x="12978" y="18062"/>
                    </a:lnTo>
                    <a:lnTo>
                      <a:pt x="12081" y="18122"/>
                    </a:lnTo>
                    <a:lnTo>
                      <a:pt x="11842" y="18122"/>
                    </a:lnTo>
                    <a:lnTo>
                      <a:pt x="10586" y="18181"/>
                    </a:lnTo>
                    <a:lnTo>
                      <a:pt x="8134" y="18361"/>
                    </a:lnTo>
                    <a:lnTo>
                      <a:pt x="7595" y="18361"/>
                    </a:lnTo>
                    <a:lnTo>
                      <a:pt x="4844" y="18241"/>
                    </a:lnTo>
                    <a:lnTo>
                      <a:pt x="2452" y="16507"/>
                    </a:lnTo>
                    <a:lnTo>
                      <a:pt x="718" y="14892"/>
                    </a:lnTo>
                    <a:lnTo>
                      <a:pt x="0" y="13935"/>
                    </a:lnTo>
                    <a:lnTo>
                      <a:pt x="957" y="11722"/>
                    </a:lnTo>
                    <a:lnTo>
                      <a:pt x="1435" y="10586"/>
                    </a:lnTo>
                    <a:lnTo>
                      <a:pt x="1435" y="10526"/>
                    </a:lnTo>
                    <a:lnTo>
                      <a:pt x="1495" y="10406"/>
                    </a:lnTo>
                  </a:path>
                </a:pathLst>
              </a:custGeom>
              <a:noFill/>
              <a:ln w="6350" cap="rnd">
                <a:solidFill>
                  <a:schemeClr val="bg1">
                    <a:alpha val="80000"/>
                  </a:schemeClr>
                </a:solidFill>
                <a:prstDash val="solid"/>
                <a:round/>
              </a:ln>
            </p:spPr>
            <p:txBody>
              <a:bodyPr rtlCol="0" anchor="ctr"/>
              <a:lstStyle/>
              <a:p>
                <a:endParaRPr lang="en-GB"/>
              </a:p>
            </p:txBody>
          </p:sp>
          <p:sp>
            <p:nvSpPr>
              <p:cNvPr id="6507" name="Vrije vorm: vorm 6506">
                <a:extLst>
                  <a:ext uri="{FF2B5EF4-FFF2-40B4-BE49-F238E27FC236}">
                    <a16:creationId xmlns:a16="http://schemas.microsoft.com/office/drawing/2014/main" id="{8E70FBF0-F1E5-43ED-9B56-63204C0E3C8B}"/>
                  </a:ext>
                </a:extLst>
              </p:cNvPr>
              <p:cNvSpPr/>
              <p:nvPr/>
            </p:nvSpPr>
            <p:spPr>
              <a:xfrm>
                <a:off x="6676778" y="1968176"/>
                <a:ext cx="8433" cy="2511"/>
              </a:xfrm>
              <a:custGeom>
                <a:avLst/>
                <a:gdLst>
                  <a:gd name="connsiteX0" fmla="*/ 8433 w 8433"/>
                  <a:gd name="connsiteY0" fmla="*/ 0 h 2511"/>
                  <a:gd name="connsiteX1" fmla="*/ 2213 w 8433"/>
                  <a:gd name="connsiteY1" fmla="*/ 1854 h 2511"/>
                  <a:gd name="connsiteX2" fmla="*/ 0 w 8433"/>
                  <a:gd name="connsiteY2" fmla="*/ 2512 h 2511"/>
                </a:gdLst>
                <a:ahLst/>
                <a:cxnLst>
                  <a:cxn ang="0">
                    <a:pos x="connsiteX0" y="connsiteY0"/>
                  </a:cxn>
                  <a:cxn ang="0">
                    <a:pos x="connsiteX1" y="connsiteY1"/>
                  </a:cxn>
                  <a:cxn ang="0">
                    <a:pos x="connsiteX2" y="connsiteY2"/>
                  </a:cxn>
                </a:cxnLst>
                <a:rect l="l" t="t" r="r" b="b"/>
                <a:pathLst>
                  <a:path w="8433" h="2511">
                    <a:moveTo>
                      <a:pt x="8433" y="0"/>
                    </a:moveTo>
                    <a:lnTo>
                      <a:pt x="2213" y="1854"/>
                    </a:lnTo>
                    <a:lnTo>
                      <a:pt x="0" y="2512"/>
                    </a:lnTo>
                  </a:path>
                </a:pathLst>
              </a:custGeom>
              <a:noFill/>
              <a:ln w="6350" cap="rnd">
                <a:solidFill>
                  <a:schemeClr val="bg1">
                    <a:alpha val="80000"/>
                  </a:schemeClr>
                </a:solidFill>
                <a:prstDash val="solid"/>
                <a:round/>
              </a:ln>
            </p:spPr>
            <p:txBody>
              <a:bodyPr rtlCol="0" anchor="ctr"/>
              <a:lstStyle/>
              <a:p>
                <a:endParaRPr lang="en-GB"/>
              </a:p>
            </p:txBody>
          </p:sp>
          <p:sp>
            <p:nvSpPr>
              <p:cNvPr id="6508" name="Vrije vorm: vorm 6507">
                <a:extLst>
                  <a:ext uri="{FF2B5EF4-FFF2-40B4-BE49-F238E27FC236}">
                    <a16:creationId xmlns:a16="http://schemas.microsoft.com/office/drawing/2014/main" id="{736D731F-9B42-435D-BFF9-ED0B4EBBC8C8}"/>
                  </a:ext>
                </a:extLst>
              </p:cNvPr>
              <p:cNvSpPr/>
              <p:nvPr/>
            </p:nvSpPr>
            <p:spPr>
              <a:xfrm>
                <a:off x="6692806" y="1949038"/>
                <a:ext cx="5203" cy="5322"/>
              </a:xfrm>
              <a:custGeom>
                <a:avLst/>
                <a:gdLst>
                  <a:gd name="connsiteX0" fmla="*/ 3289 w 5203"/>
                  <a:gd name="connsiteY0" fmla="*/ 0 h 5322"/>
                  <a:gd name="connsiteX1" fmla="*/ 4785 w 5203"/>
                  <a:gd name="connsiteY1" fmla="*/ 1914 h 5322"/>
                  <a:gd name="connsiteX2" fmla="*/ 5203 w 5203"/>
                  <a:gd name="connsiteY2" fmla="*/ 3708 h 5322"/>
                  <a:gd name="connsiteX3" fmla="*/ 3768 w 5203"/>
                  <a:gd name="connsiteY3" fmla="*/ 5203 h 5322"/>
                  <a:gd name="connsiteX4" fmla="*/ 3648 w 5203"/>
                  <a:gd name="connsiteY4" fmla="*/ 5323 h 5322"/>
                  <a:gd name="connsiteX5" fmla="*/ 3170 w 5203"/>
                  <a:gd name="connsiteY5" fmla="*/ 5263 h 5322"/>
                  <a:gd name="connsiteX6" fmla="*/ 1615 w 5203"/>
                  <a:gd name="connsiteY6" fmla="*/ 5143 h 5322"/>
                  <a:gd name="connsiteX7" fmla="*/ 0 w 5203"/>
                  <a:gd name="connsiteY7" fmla="*/ 3050 h 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3" h="5322">
                    <a:moveTo>
                      <a:pt x="3289" y="0"/>
                    </a:moveTo>
                    <a:lnTo>
                      <a:pt x="4785" y="1914"/>
                    </a:lnTo>
                    <a:lnTo>
                      <a:pt x="5203" y="3708"/>
                    </a:lnTo>
                    <a:lnTo>
                      <a:pt x="3768" y="5203"/>
                    </a:lnTo>
                    <a:lnTo>
                      <a:pt x="3648" y="5323"/>
                    </a:lnTo>
                    <a:lnTo>
                      <a:pt x="3170" y="5263"/>
                    </a:lnTo>
                    <a:lnTo>
                      <a:pt x="1615" y="5143"/>
                    </a:lnTo>
                    <a:lnTo>
                      <a:pt x="0" y="3050"/>
                    </a:lnTo>
                  </a:path>
                </a:pathLst>
              </a:custGeom>
              <a:noFill/>
              <a:ln w="6350" cap="rnd">
                <a:solidFill>
                  <a:schemeClr val="bg1">
                    <a:alpha val="80000"/>
                  </a:schemeClr>
                </a:solidFill>
                <a:prstDash val="solid"/>
                <a:round/>
              </a:ln>
            </p:spPr>
            <p:txBody>
              <a:bodyPr rtlCol="0" anchor="ctr"/>
              <a:lstStyle/>
              <a:p>
                <a:endParaRPr lang="en-GB"/>
              </a:p>
            </p:txBody>
          </p:sp>
          <p:sp>
            <p:nvSpPr>
              <p:cNvPr id="6509" name="Vrije vorm: vorm 6508">
                <a:extLst>
                  <a:ext uri="{FF2B5EF4-FFF2-40B4-BE49-F238E27FC236}">
                    <a16:creationId xmlns:a16="http://schemas.microsoft.com/office/drawing/2014/main" id="{D13BCDAA-4B0C-4587-B733-2F8B9A038C9E}"/>
                  </a:ext>
                </a:extLst>
              </p:cNvPr>
              <p:cNvSpPr/>
              <p:nvPr/>
            </p:nvSpPr>
            <p:spPr>
              <a:xfrm>
                <a:off x="6809430" y="1854722"/>
                <a:ext cx="3050" cy="7236"/>
              </a:xfrm>
              <a:custGeom>
                <a:avLst/>
                <a:gdLst>
                  <a:gd name="connsiteX0" fmla="*/ 0 w 3050"/>
                  <a:gd name="connsiteY0" fmla="*/ 7237 h 7236"/>
                  <a:gd name="connsiteX1" fmla="*/ 479 w 3050"/>
                  <a:gd name="connsiteY1" fmla="*/ 6040 h 7236"/>
                  <a:gd name="connsiteX2" fmla="*/ 479 w 3050"/>
                  <a:gd name="connsiteY2" fmla="*/ 6040 h 7236"/>
                  <a:gd name="connsiteX3" fmla="*/ 718 w 3050"/>
                  <a:gd name="connsiteY3" fmla="*/ 5442 h 7236"/>
                  <a:gd name="connsiteX4" fmla="*/ 957 w 3050"/>
                  <a:gd name="connsiteY4" fmla="*/ 4904 h 7236"/>
                  <a:gd name="connsiteX5" fmla="*/ 2034 w 3050"/>
                  <a:gd name="connsiteY5" fmla="*/ 2273 h 7236"/>
                  <a:gd name="connsiteX6" fmla="*/ 3050 w 3050"/>
                  <a:gd name="connsiteY6" fmla="*/ 0 h 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0" h="7236">
                    <a:moveTo>
                      <a:pt x="0" y="7237"/>
                    </a:moveTo>
                    <a:lnTo>
                      <a:pt x="479" y="6040"/>
                    </a:lnTo>
                    <a:lnTo>
                      <a:pt x="479" y="6040"/>
                    </a:lnTo>
                    <a:lnTo>
                      <a:pt x="718" y="5442"/>
                    </a:lnTo>
                    <a:lnTo>
                      <a:pt x="957" y="4904"/>
                    </a:lnTo>
                    <a:lnTo>
                      <a:pt x="2034" y="2273"/>
                    </a:lnTo>
                    <a:lnTo>
                      <a:pt x="3050" y="0"/>
                    </a:lnTo>
                  </a:path>
                </a:pathLst>
              </a:custGeom>
              <a:noFill/>
              <a:ln w="6350" cap="rnd">
                <a:solidFill>
                  <a:schemeClr val="bg1">
                    <a:alpha val="80000"/>
                  </a:schemeClr>
                </a:solidFill>
                <a:prstDash val="solid"/>
                <a:round/>
              </a:ln>
            </p:spPr>
            <p:txBody>
              <a:bodyPr rtlCol="0" anchor="ctr"/>
              <a:lstStyle/>
              <a:p>
                <a:endParaRPr lang="en-GB"/>
              </a:p>
            </p:txBody>
          </p:sp>
          <p:sp>
            <p:nvSpPr>
              <p:cNvPr id="6510" name="Vrije vorm: vorm 6509">
                <a:extLst>
                  <a:ext uri="{FF2B5EF4-FFF2-40B4-BE49-F238E27FC236}">
                    <a16:creationId xmlns:a16="http://schemas.microsoft.com/office/drawing/2014/main" id="{E0343C84-E619-4461-8A78-D0B39BAEFAB4}"/>
                  </a:ext>
                </a:extLst>
              </p:cNvPr>
              <p:cNvSpPr/>
              <p:nvPr/>
            </p:nvSpPr>
            <p:spPr>
              <a:xfrm>
                <a:off x="6894536" y="1848681"/>
                <a:ext cx="3289" cy="21530"/>
              </a:xfrm>
              <a:custGeom>
                <a:avLst/>
                <a:gdLst>
                  <a:gd name="connsiteX0" fmla="*/ 2990 w 3289"/>
                  <a:gd name="connsiteY0" fmla="*/ 0 h 21530"/>
                  <a:gd name="connsiteX1" fmla="*/ 2752 w 3289"/>
                  <a:gd name="connsiteY1" fmla="*/ 179 h 21530"/>
                  <a:gd name="connsiteX2" fmla="*/ 1077 w 3289"/>
                  <a:gd name="connsiteY2" fmla="*/ 1316 h 21530"/>
                  <a:gd name="connsiteX3" fmla="*/ 778 w 3289"/>
                  <a:gd name="connsiteY3" fmla="*/ 1555 h 21530"/>
                  <a:gd name="connsiteX4" fmla="*/ 0 w 3289"/>
                  <a:gd name="connsiteY4" fmla="*/ 2093 h 21530"/>
                  <a:gd name="connsiteX5" fmla="*/ 419 w 3289"/>
                  <a:gd name="connsiteY5" fmla="*/ 5203 h 21530"/>
                  <a:gd name="connsiteX6" fmla="*/ 479 w 3289"/>
                  <a:gd name="connsiteY6" fmla="*/ 5502 h 21530"/>
                  <a:gd name="connsiteX7" fmla="*/ 957 w 3289"/>
                  <a:gd name="connsiteY7" fmla="*/ 9210 h 21530"/>
                  <a:gd name="connsiteX8" fmla="*/ 1017 w 3289"/>
                  <a:gd name="connsiteY8" fmla="*/ 9569 h 21530"/>
                  <a:gd name="connsiteX9" fmla="*/ 1077 w 3289"/>
                  <a:gd name="connsiteY9" fmla="*/ 10048 h 21530"/>
                  <a:gd name="connsiteX10" fmla="*/ 1137 w 3289"/>
                  <a:gd name="connsiteY10" fmla="*/ 10526 h 21530"/>
                  <a:gd name="connsiteX11" fmla="*/ 1375 w 3289"/>
                  <a:gd name="connsiteY11" fmla="*/ 12260 h 21530"/>
                  <a:gd name="connsiteX12" fmla="*/ 1435 w 3289"/>
                  <a:gd name="connsiteY12" fmla="*/ 12500 h 21530"/>
                  <a:gd name="connsiteX13" fmla="*/ 1555 w 3289"/>
                  <a:gd name="connsiteY13" fmla="*/ 13576 h 21530"/>
                  <a:gd name="connsiteX14" fmla="*/ 1615 w 3289"/>
                  <a:gd name="connsiteY14" fmla="*/ 13756 h 21530"/>
                  <a:gd name="connsiteX15" fmla="*/ 1974 w 3289"/>
                  <a:gd name="connsiteY15" fmla="*/ 15729 h 21530"/>
                  <a:gd name="connsiteX16" fmla="*/ 2811 w 3289"/>
                  <a:gd name="connsiteY16" fmla="*/ 20215 h 21530"/>
                  <a:gd name="connsiteX17" fmla="*/ 2990 w 3289"/>
                  <a:gd name="connsiteY17" fmla="*/ 20693 h 21530"/>
                  <a:gd name="connsiteX18" fmla="*/ 3290 w 3289"/>
                  <a:gd name="connsiteY18" fmla="*/ 21531 h 2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9" h="21530">
                    <a:moveTo>
                      <a:pt x="2990" y="0"/>
                    </a:moveTo>
                    <a:lnTo>
                      <a:pt x="2752" y="179"/>
                    </a:lnTo>
                    <a:lnTo>
                      <a:pt x="1077" y="1316"/>
                    </a:lnTo>
                    <a:lnTo>
                      <a:pt x="778" y="1555"/>
                    </a:lnTo>
                    <a:lnTo>
                      <a:pt x="0" y="2093"/>
                    </a:lnTo>
                    <a:lnTo>
                      <a:pt x="419" y="5203"/>
                    </a:lnTo>
                    <a:lnTo>
                      <a:pt x="479" y="5502"/>
                    </a:lnTo>
                    <a:lnTo>
                      <a:pt x="957" y="9210"/>
                    </a:lnTo>
                    <a:lnTo>
                      <a:pt x="1017" y="9569"/>
                    </a:lnTo>
                    <a:lnTo>
                      <a:pt x="1077" y="10048"/>
                    </a:lnTo>
                    <a:lnTo>
                      <a:pt x="1137" y="10526"/>
                    </a:lnTo>
                    <a:lnTo>
                      <a:pt x="1375" y="12260"/>
                    </a:lnTo>
                    <a:lnTo>
                      <a:pt x="1435" y="12500"/>
                    </a:lnTo>
                    <a:lnTo>
                      <a:pt x="1555" y="13576"/>
                    </a:lnTo>
                    <a:lnTo>
                      <a:pt x="1615" y="13756"/>
                    </a:lnTo>
                    <a:lnTo>
                      <a:pt x="1974" y="15729"/>
                    </a:lnTo>
                    <a:lnTo>
                      <a:pt x="2811" y="20215"/>
                    </a:lnTo>
                    <a:lnTo>
                      <a:pt x="2990" y="20693"/>
                    </a:lnTo>
                    <a:lnTo>
                      <a:pt x="3290" y="21531"/>
                    </a:lnTo>
                  </a:path>
                </a:pathLst>
              </a:custGeom>
              <a:noFill/>
              <a:ln w="6350" cap="rnd">
                <a:solidFill>
                  <a:schemeClr val="bg1">
                    <a:alpha val="80000"/>
                  </a:schemeClr>
                </a:solidFill>
                <a:prstDash val="solid"/>
                <a:round/>
              </a:ln>
            </p:spPr>
            <p:txBody>
              <a:bodyPr rtlCol="0" anchor="ctr"/>
              <a:lstStyle/>
              <a:p>
                <a:endParaRPr lang="en-GB"/>
              </a:p>
            </p:txBody>
          </p:sp>
          <p:sp>
            <p:nvSpPr>
              <p:cNvPr id="6511" name="Vrije vorm: vorm 6510">
                <a:extLst>
                  <a:ext uri="{FF2B5EF4-FFF2-40B4-BE49-F238E27FC236}">
                    <a16:creationId xmlns:a16="http://schemas.microsoft.com/office/drawing/2014/main" id="{8E3B45B4-D6FB-400A-8170-5BFB114DB9F6}"/>
                  </a:ext>
                </a:extLst>
              </p:cNvPr>
              <p:cNvSpPr/>
              <p:nvPr/>
            </p:nvSpPr>
            <p:spPr>
              <a:xfrm>
                <a:off x="6884787" y="1916682"/>
                <a:ext cx="35944" cy="9688"/>
              </a:xfrm>
              <a:custGeom>
                <a:avLst/>
                <a:gdLst>
                  <a:gd name="connsiteX0" fmla="*/ 35944 w 35944"/>
                  <a:gd name="connsiteY0" fmla="*/ 9450 h 9688"/>
                  <a:gd name="connsiteX1" fmla="*/ 35765 w 35944"/>
                  <a:gd name="connsiteY1" fmla="*/ 9689 h 9688"/>
                  <a:gd name="connsiteX2" fmla="*/ 33373 w 35944"/>
                  <a:gd name="connsiteY2" fmla="*/ 8194 h 9688"/>
                  <a:gd name="connsiteX3" fmla="*/ 32236 w 35944"/>
                  <a:gd name="connsiteY3" fmla="*/ 7476 h 9688"/>
                  <a:gd name="connsiteX4" fmla="*/ 30083 w 35944"/>
                  <a:gd name="connsiteY4" fmla="*/ 6160 h 9688"/>
                  <a:gd name="connsiteX5" fmla="*/ 30083 w 35944"/>
                  <a:gd name="connsiteY5" fmla="*/ 6160 h 9688"/>
                  <a:gd name="connsiteX6" fmla="*/ 29306 w 35944"/>
                  <a:gd name="connsiteY6" fmla="*/ 6040 h 9688"/>
                  <a:gd name="connsiteX7" fmla="*/ 27990 w 35944"/>
                  <a:gd name="connsiteY7" fmla="*/ 5861 h 9688"/>
                  <a:gd name="connsiteX8" fmla="*/ 25837 w 35944"/>
                  <a:gd name="connsiteY8" fmla="*/ 6220 h 9688"/>
                  <a:gd name="connsiteX9" fmla="*/ 24402 w 35944"/>
                  <a:gd name="connsiteY9" fmla="*/ 6459 h 9688"/>
                  <a:gd name="connsiteX10" fmla="*/ 23923 w 35944"/>
                  <a:gd name="connsiteY10" fmla="*/ 6459 h 9688"/>
                  <a:gd name="connsiteX11" fmla="*/ 23744 w 35944"/>
                  <a:gd name="connsiteY11" fmla="*/ 6459 h 9688"/>
                  <a:gd name="connsiteX12" fmla="*/ 21172 w 35944"/>
                  <a:gd name="connsiteY12" fmla="*/ 6280 h 9688"/>
                  <a:gd name="connsiteX13" fmla="*/ 21112 w 35944"/>
                  <a:gd name="connsiteY13" fmla="*/ 6280 h 9688"/>
                  <a:gd name="connsiteX14" fmla="*/ 20873 w 35944"/>
                  <a:gd name="connsiteY14" fmla="*/ 6220 h 9688"/>
                  <a:gd name="connsiteX15" fmla="*/ 20694 w 35944"/>
                  <a:gd name="connsiteY15" fmla="*/ 6160 h 9688"/>
                  <a:gd name="connsiteX16" fmla="*/ 18959 w 35944"/>
                  <a:gd name="connsiteY16" fmla="*/ 5562 h 9688"/>
                  <a:gd name="connsiteX17" fmla="*/ 17225 w 35944"/>
                  <a:gd name="connsiteY17" fmla="*/ 4964 h 9688"/>
                  <a:gd name="connsiteX18" fmla="*/ 17046 w 35944"/>
                  <a:gd name="connsiteY18" fmla="*/ 4904 h 9688"/>
                  <a:gd name="connsiteX19" fmla="*/ 15849 w 35944"/>
                  <a:gd name="connsiteY19" fmla="*/ 4486 h 9688"/>
                  <a:gd name="connsiteX20" fmla="*/ 15191 w 35944"/>
                  <a:gd name="connsiteY20" fmla="*/ 4246 h 9688"/>
                  <a:gd name="connsiteX21" fmla="*/ 14294 w 35944"/>
                  <a:gd name="connsiteY21" fmla="*/ 3947 h 9688"/>
                  <a:gd name="connsiteX22" fmla="*/ 13576 w 35944"/>
                  <a:gd name="connsiteY22" fmla="*/ 3708 h 9688"/>
                  <a:gd name="connsiteX23" fmla="*/ 13337 w 35944"/>
                  <a:gd name="connsiteY23" fmla="*/ 3648 h 9688"/>
                  <a:gd name="connsiteX24" fmla="*/ 12500 w 35944"/>
                  <a:gd name="connsiteY24" fmla="*/ 3349 h 9688"/>
                  <a:gd name="connsiteX25" fmla="*/ 12440 w 35944"/>
                  <a:gd name="connsiteY25" fmla="*/ 3349 h 9688"/>
                  <a:gd name="connsiteX26" fmla="*/ 11005 w 35944"/>
                  <a:gd name="connsiteY26" fmla="*/ 2871 h 9688"/>
                  <a:gd name="connsiteX27" fmla="*/ 7476 w 35944"/>
                  <a:gd name="connsiteY27" fmla="*/ 1675 h 9688"/>
                  <a:gd name="connsiteX28" fmla="*/ 6100 w 35944"/>
                  <a:gd name="connsiteY28" fmla="*/ 1316 h 9688"/>
                  <a:gd name="connsiteX29" fmla="*/ 3648 w 35944"/>
                  <a:gd name="connsiteY29" fmla="*/ 598 h 9688"/>
                  <a:gd name="connsiteX30" fmla="*/ 3529 w 35944"/>
                  <a:gd name="connsiteY30" fmla="*/ 598 h 9688"/>
                  <a:gd name="connsiteX31" fmla="*/ 3050 w 35944"/>
                  <a:gd name="connsiteY31" fmla="*/ 538 h 9688"/>
                  <a:gd name="connsiteX32" fmla="*/ 0 w 35944"/>
                  <a:gd name="connsiteY32" fmla="*/ 0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944" h="9688">
                    <a:moveTo>
                      <a:pt x="35944" y="9450"/>
                    </a:moveTo>
                    <a:lnTo>
                      <a:pt x="35765" y="9689"/>
                    </a:lnTo>
                    <a:lnTo>
                      <a:pt x="33373" y="8194"/>
                    </a:lnTo>
                    <a:lnTo>
                      <a:pt x="32236" y="7476"/>
                    </a:lnTo>
                    <a:lnTo>
                      <a:pt x="30083" y="6160"/>
                    </a:lnTo>
                    <a:lnTo>
                      <a:pt x="30083" y="6160"/>
                    </a:lnTo>
                    <a:lnTo>
                      <a:pt x="29306" y="6040"/>
                    </a:lnTo>
                    <a:lnTo>
                      <a:pt x="27990" y="5861"/>
                    </a:lnTo>
                    <a:lnTo>
                      <a:pt x="25837" y="6220"/>
                    </a:lnTo>
                    <a:lnTo>
                      <a:pt x="24402" y="6459"/>
                    </a:lnTo>
                    <a:lnTo>
                      <a:pt x="23923" y="6459"/>
                    </a:lnTo>
                    <a:lnTo>
                      <a:pt x="23744" y="6459"/>
                    </a:lnTo>
                    <a:lnTo>
                      <a:pt x="21172" y="6280"/>
                    </a:lnTo>
                    <a:lnTo>
                      <a:pt x="21112" y="6280"/>
                    </a:lnTo>
                    <a:lnTo>
                      <a:pt x="20873" y="6220"/>
                    </a:lnTo>
                    <a:lnTo>
                      <a:pt x="20694" y="6160"/>
                    </a:lnTo>
                    <a:lnTo>
                      <a:pt x="18959" y="5562"/>
                    </a:lnTo>
                    <a:lnTo>
                      <a:pt x="17225" y="4964"/>
                    </a:lnTo>
                    <a:lnTo>
                      <a:pt x="17046" y="4904"/>
                    </a:lnTo>
                    <a:lnTo>
                      <a:pt x="15849" y="4486"/>
                    </a:lnTo>
                    <a:lnTo>
                      <a:pt x="15191" y="4246"/>
                    </a:lnTo>
                    <a:lnTo>
                      <a:pt x="14294" y="3947"/>
                    </a:lnTo>
                    <a:lnTo>
                      <a:pt x="13576" y="3708"/>
                    </a:lnTo>
                    <a:lnTo>
                      <a:pt x="13337" y="3648"/>
                    </a:lnTo>
                    <a:lnTo>
                      <a:pt x="12500" y="3349"/>
                    </a:lnTo>
                    <a:lnTo>
                      <a:pt x="12440" y="3349"/>
                    </a:lnTo>
                    <a:lnTo>
                      <a:pt x="11005" y="2871"/>
                    </a:lnTo>
                    <a:lnTo>
                      <a:pt x="7476" y="1675"/>
                    </a:lnTo>
                    <a:lnTo>
                      <a:pt x="6100" y="1316"/>
                    </a:lnTo>
                    <a:lnTo>
                      <a:pt x="3648" y="598"/>
                    </a:lnTo>
                    <a:lnTo>
                      <a:pt x="3529" y="598"/>
                    </a:lnTo>
                    <a:lnTo>
                      <a:pt x="3050" y="53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12" name="Vrije vorm: vorm 6511">
                <a:extLst>
                  <a:ext uri="{FF2B5EF4-FFF2-40B4-BE49-F238E27FC236}">
                    <a16:creationId xmlns:a16="http://schemas.microsoft.com/office/drawing/2014/main" id="{DD0EE518-96D7-457D-B9DE-45DD434B8FFB}"/>
                  </a:ext>
                </a:extLst>
              </p:cNvPr>
              <p:cNvSpPr/>
              <p:nvPr/>
            </p:nvSpPr>
            <p:spPr>
              <a:xfrm>
                <a:off x="7064089" y="1779424"/>
                <a:ext cx="30382" cy="28886"/>
              </a:xfrm>
              <a:custGeom>
                <a:avLst/>
                <a:gdLst>
                  <a:gd name="connsiteX0" fmla="*/ 0 w 30382"/>
                  <a:gd name="connsiteY0" fmla="*/ 0 h 28886"/>
                  <a:gd name="connsiteX1" fmla="*/ 1436 w 30382"/>
                  <a:gd name="connsiteY1" fmla="*/ 957 h 28886"/>
                  <a:gd name="connsiteX2" fmla="*/ 18661 w 30382"/>
                  <a:gd name="connsiteY2" fmla="*/ 13815 h 28886"/>
                  <a:gd name="connsiteX3" fmla="*/ 25119 w 30382"/>
                  <a:gd name="connsiteY3" fmla="*/ 19916 h 28886"/>
                  <a:gd name="connsiteX4" fmla="*/ 29246 w 30382"/>
                  <a:gd name="connsiteY4" fmla="*/ 23145 h 28886"/>
                  <a:gd name="connsiteX5" fmla="*/ 30383 w 30382"/>
                  <a:gd name="connsiteY5" fmla="*/ 25538 h 28886"/>
                  <a:gd name="connsiteX6" fmla="*/ 30023 w 30382"/>
                  <a:gd name="connsiteY6" fmla="*/ 28887 h 2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82" h="28886">
                    <a:moveTo>
                      <a:pt x="0" y="0"/>
                    </a:moveTo>
                    <a:lnTo>
                      <a:pt x="1436" y="957"/>
                    </a:lnTo>
                    <a:lnTo>
                      <a:pt x="18661" y="13815"/>
                    </a:lnTo>
                    <a:lnTo>
                      <a:pt x="25119" y="19916"/>
                    </a:lnTo>
                    <a:lnTo>
                      <a:pt x="29246" y="23145"/>
                    </a:lnTo>
                    <a:lnTo>
                      <a:pt x="30383" y="25538"/>
                    </a:lnTo>
                    <a:lnTo>
                      <a:pt x="30023" y="28887"/>
                    </a:lnTo>
                  </a:path>
                </a:pathLst>
              </a:custGeom>
              <a:noFill/>
              <a:ln w="6350" cap="rnd">
                <a:solidFill>
                  <a:schemeClr val="bg1">
                    <a:alpha val="80000"/>
                  </a:schemeClr>
                </a:solidFill>
                <a:prstDash val="solid"/>
                <a:round/>
              </a:ln>
            </p:spPr>
            <p:txBody>
              <a:bodyPr rtlCol="0" anchor="ctr"/>
              <a:lstStyle/>
              <a:p>
                <a:endParaRPr lang="en-GB"/>
              </a:p>
            </p:txBody>
          </p:sp>
          <p:sp>
            <p:nvSpPr>
              <p:cNvPr id="6513" name="Vrije vorm: vorm 6512">
                <a:extLst>
                  <a:ext uri="{FF2B5EF4-FFF2-40B4-BE49-F238E27FC236}">
                    <a16:creationId xmlns:a16="http://schemas.microsoft.com/office/drawing/2014/main" id="{03D01049-2760-496A-8863-3C554E4ED839}"/>
                  </a:ext>
                </a:extLst>
              </p:cNvPr>
              <p:cNvSpPr/>
              <p:nvPr/>
            </p:nvSpPr>
            <p:spPr>
              <a:xfrm>
                <a:off x="6992142" y="2059741"/>
                <a:ext cx="14054" cy="12918"/>
              </a:xfrm>
              <a:custGeom>
                <a:avLst/>
                <a:gdLst>
                  <a:gd name="connsiteX0" fmla="*/ 11483 w 14054"/>
                  <a:gd name="connsiteY0" fmla="*/ 60 h 12918"/>
                  <a:gd name="connsiteX1" fmla="*/ 12500 w 14054"/>
                  <a:gd name="connsiteY1" fmla="*/ 0 h 12918"/>
                  <a:gd name="connsiteX2" fmla="*/ 14055 w 14054"/>
                  <a:gd name="connsiteY2" fmla="*/ 2093 h 12918"/>
                  <a:gd name="connsiteX3" fmla="*/ 13815 w 14054"/>
                  <a:gd name="connsiteY3" fmla="*/ 2632 h 12918"/>
                  <a:gd name="connsiteX4" fmla="*/ 12440 w 14054"/>
                  <a:gd name="connsiteY4" fmla="*/ 5622 h 12918"/>
                  <a:gd name="connsiteX5" fmla="*/ 7596 w 14054"/>
                  <a:gd name="connsiteY5" fmla="*/ 11304 h 12918"/>
                  <a:gd name="connsiteX6" fmla="*/ 6219 w 14054"/>
                  <a:gd name="connsiteY6" fmla="*/ 11603 h 12918"/>
                  <a:gd name="connsiteX7" fmla="*/ 5203 w 14054"/>
                  <a:gd name="connsiteY7" fmla="*/ 11842 h 12918"/>
                  <a:gd name="connsiteX8" fmla="*/ 2631 w 14054"/>
                  <a:gd name="connsiteY8" fmla="*/ 12380 h 12918"/>
                  <a:gd name="connsiteX9" fmla="*/ 0 w 14054"/>
                  <a:gd name="connsiteY9" fmla="*/ 12918 h 1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54" h="12918">
                    <a:moveTo>
                      <a:pt x="11483" y="60"/>
                    </a:moveTo>
                    <a:lnTo>
                      <a:pt x="12500" y="0"/>
                    </a:lnTo>
                    <a:lnTo>
                      <a:pt x="14055" y="2093"/>
                    </a:lnTo>
                    <a:lnTo>
                      <a:pt x="13815" y="2632"/>
                    </a:lnTo>
                    <a:lnTo>
                      <a:pt x="12440" y="5622"/>
                    </a:lnTo>
                    <a:lnTo>
                      <a:pt x="7596" y="11304"/>
                    </a:lnTo>
                    <a:lnTo>
                      <a:pt x="6219" y="11603"/>
                    </a:lnTo>
                    <a:lnTo>
                      <a:pt x="5203" y="11842"/>
                    </a:lnTo>
                    <a:lnTo>
                      <a:pt x="2631" y="12380"/>
                    </a:lnTo>
                    <a:lnTo>
                      <a:pt x="0" y="12918"/>
                    </a:lnTo>
                  </a:path>
                </a:pathLst>
              </a:custGeom>
              <a:noFill/>
              <a:ln w="6350" cap="rnd">
                <a:solidFill>
                  <a:schemeClr val="bg1">
                    <a:alpha val="80000"/>
                  </a:schemeClr>
                </a:solidFill>
                <a:prstDash val="solid"/>
                <a:round/>
              </a:ln>
            </p:spPr>
            <p:txBody>
              <a:bodyPr rtlCol="0" anchor="ctr"/>
              <a:lstStyle/>
              <a:p>
                <a:endParaRPr lang="en-GB"/>
              </a:p>
            </p:txBody>
          </p:sp>
          <p:sp>
            <p:nvSpPr>
              <p:cNvPr id="6514" name="Vrije vorm: vorm 6513">
                <a:extLst>
                  <a:ext uri="{FF2B5EF4-FFF2-40B4-BE49-F238E27FC236}">
                    <a16:creationId xmlns:a16="http://schemas.microsoft.com/office/drawing/2014/main" id="{F08EF9BB-E726-443C-B668-E8F8F1B6757F}"/>
                  </a:ext>
                </a:extLst>
              </p:cNvPr>
              <p:cNvSpPr/>
              <p:nvPr/>
            </p:nvSpPr>
            <p:spPr>
              <a:xfrm>
                <a:off x="6967142" y="1977865"/>
                <a:ext cx="19557" cy="9270"/>
              </a:xfrm>
              <a:custGeom>
                <a:avLst/>
                <a:gdLst>
                  <a:gd name="connsiteX0" fmla="*/ 0 w 19557"/>
                  <a:gd name="connsiteY0" fmla="*/ 0 h 9270"/>
                  <a:gd name="connsiteX1" fmla="*/ 1974 w 19557"/>
                  <a:gd name="connsiteY1" fmla="*/ 1136 h 9270"/>
                  <a:gd name="connsiteX2" fmla="*/ 2153 w 19557"/>
                  <a:gd name="connsiteY2" fmla="*/ 1196 h 9270"/>
                  <a:gd name="connsiteX3" fmla="*/ 3290 w 19557"/>
                  <a:gd name="connsiteY3" fmla="*/ 1794 h 9270"/>
                  <a:gd name="connsiteX4" fmla="*/ 5562 w 19557"/>
                  <a:gd name="connsiteY4" fmla="*/ 3050 h 9270"/>
                  <a:gd name="connsiteX5" fmla="*/ 6818 w 19557"/>
                  <a:gd name="connsiteY5" fmla="*/ 3648 h 9270"/>
                  <a:gd name="connsiteX6" fmla="*/ 7476 w 19557"/>
                  <a:gd name="connsiteY6" fmla="*/ 3947 h 9270"/>
                  <a:gd name="connsiteX7" fmla="*/ 8493 w 19557"/>
                  <a:gd name="connsiteY7" fmla="*/ 4426 h 9270"/>
                  <a:gd name="connsiteX8" fmla="*/ 8851 w 19557"/>
                  <a:gd name="connsiteY8" fmla="*/ 4605 h 9270"/>
                  <a:gd name="connsiteX9" fmla="*/ 9689 w 19557"/>
                  <a:gd name="connsiteY9" fmla="*/ 5024 h 9270"/>
                  <a:gd name="connsiteX10" fmla="*/ 11603 w 19557"/>
                  <a:gd name="connsiteY10" fmla="*/ 5921 h 9270"/>
                  <a:gd name="connsiteX11" fmla="*/ 11663 w 19557"/>
                  <a:gd name="connsiteY11" fmla="*/ 5921 h 9270"/>
                  <a:gd name="connsiteX12" fmla="*/ 13098 w 19557"/>
                  <a:gd name="connsiteY12" fmla="*/ 6579 h 9270"/>
                  <a:gd name="connsiteX13" fmla="*/ 13816 w 19557"/>
                  <a:gd name="connsiteY13" fmla="*/ 6938 h 9270"/>
                  <a:gd name="connsiteX14" fmla="*/ 14114 w 19557"/>
                  <a:gd name="connsiteY14" fmla="*/ 7057 h 9270"/>
                  <a:gd name="connsiteX15" fmla="*/ 14653 w 19557"/>
                  <a:gd name="connsiteY15" fmla="*/ 7296 h 9270"/>
                  <a:gd name="connsiteX16" fmla="*/ 15012 w 19557"/>
                  <a:gd name="connsiteY16" fmla="*/ 7476 h 9270"/>
                  <a:gd name="connsiteX17" fmla="*/ 15789 w 19557"/>
                  <a:gd name="connsiteY17" fmla="*/ 7835 h 9270"/>
                  <a:gd name="connsiteX18" fmla="*/ 17105 w 19557"/>
                  <a:gd name="connsiteY18" fmla="*/ 8433 h 9270"/>
                  <a:gd name="connsiteX19" fmla="*/ 17165 w 19557"/>
                  <a:gd name="connsiteY19" fmla="*/ 8433 h 9270"/>
                  <a:gd name="connsiteX20" fmla="*/ 17703 w 19557"/>
                  <a:gd name="connsiteY20" fmla="*/ 8672 h 9270"/>
                  <a:gd name="connsiteX21" fmla="*/ 18660 w 19557"/>
                  <a:gd name="connsiteY21" fmla="*/ 9091 h 9270"/>
                  <a:gd name="connsiteX22" fmla="*/ 18720 w 19557"/>
                  <a:gd name="connsiteY22" fmla="*/ 9150 h 9270"/>
                  <a:gd name="connsiteX23" fmla="*/ 19019 w 19557"/>
                  <a:gd name="connsiteY23" fmla="*/ 9270 h 9270"/>
                  <a:gd name="connsiteX24" fmla="*/ 19557 w 19557"/>
                  <a:gd name="connsiteY24" fmla="*/ 9270 h 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557" h="9270">
                    <a:moveTo>
                      <a:pt x="0" y="0"/>
                    </a:moveTo>
                    <a:lnTo>
                      <a:pt x="1974" y="1136"/>
                    </a:lnTo>
                    <a:lnTo>
                      <a:pt x="2153" y="1196"/>
                    </a:lnTo>
                    <a:lnTo>
                      <a:pt x="3290" y="1794"/>
                    </a:lnTo>
                    <a:lnTo>
                      <a:pt x="5562" y="3050"/>
                    </a:lnTo>
                    <a:lnTo>
                      <a:pt x="6818" y="3648"/>
                    </a:lnTo>
                    <a:lnTo>
                      <a:pt x="7476" y="3947"/>
                    </a:lnTo>
                    <a:lnTo>
                      <a:pt x="8493" y="4426"/>
                    </a:lnTo>
                    <a:lnTo>
                      <a:pt x="8851" y="4605"/>
                    </a:lnTo>
                    <a:lnTo>
                      <a:pt x="9689" y="5024"/>
                    </a:lnTo>
                    <a:lnTo>
                      <a:pt x="11603" y="5921"/>
                    </a:lnTo>
                    <a:lnTo>
                      <a:pt x="11663" y="5921"/>
                    </a:lnTo>
                    <a:lnTo>
                      <a:pt x="13098" y="6579"/>
                    </a:lnTo>
                    <a:lnTo>
                      <a:pt x="13816" y="6938"/>
                    </a:lnTo>
                    <a:lnTo>
                      <a:pt x="14114" y="7057"/>
                    </a:lnTo>
                    <a:lnTo>
                      <a:pt x="14653" y="7296"/>
                    </a:lnTo>
                    <a:lnTo>
                      <a:pt x="15012" y="7476"/>
                    </a:lnTo>
                    <a:lnTo>
                      <a:pt x="15789" y="7835"/>
                    </a:lnTo>
                    <a:lnTo>
                      <a:pt x="17105" y="8433"/>
                    </a:lnTo>
                    <a:lnTo>
                      <a:pt x="17165" y="8433"/>
                    </a:lnTo>
                    <a:lnTo>
                      <a:pt x="17703" y="8672"/>
                    </a:lnTo>
                    <a:lnTo>
                      <a:pt x="18660" y="9091"/>
                    </a:lnTo>
                    <a:lnTo>
                      <a:pt x="18720" y="9150"/>
                    </a:lnTo>
                    <a:lnTo>
                      <a:pt x="19019" y="9270"/>
                    </a:lnTo>
                    <a:lnTo>
                      <a:pt x="19557" y="9270"/>
                    </a:lnTo>
                  </a:path>
                </a:pathLst>
              </a:custGeom>
              <a:noFill/>
              <a:ln w="6350" cap="rnd">
                <a:solidFill>
                  <a:schemeClr val="bg1">
                    <a:alpha val="80000"/>
                  </a:schemeClr>
                </a:solidFill>
                <a:prstDash val="solid"/>
                <a:round/>
              </a:ln>
            </p:spPr>
            <p:txBody>
              <a:bodyPr rtlCol="0" anchor="ctr"/>
              <a:lstStyle/>
              <a:p>
                <a:endParaRPr lang="en-GB"/>
              </a:p>
            </p:txBody>
          </p:sp>
          <p:sp>
            <p:nvSpPr>
              <p:cNvPr id="6515" name="Vrije vorm: vorm 6514">
                <a:extLst>
                  <a:ext uri="{FF2B5EF4-FFF2-40B4-BE49-F238E27FC236}">
                    <a16:creationId xmlns:a16="http://schemas.microsoft.com/office/drawing/2014/main" id="{899E5EC9-A684-4F38-85A6-C24BBCA3BB67}"/>
                  </a:ext>
                </a:extLst>
              </p:cNvPr>
              <p:cNvSpPr/>
              <p:nvPr/>
            </p:nvSpPr>
            <p:spPr>
              <a:xfrm>
                <a:off x="6822887" y="1808132"/>
                <a:ext cx="71648" cy="13576"/>
              </a:xfrm>
              <a:custGeom>
                <a:avLst/>
                <a:gdLst>
                  <a:gd name="connsiteX0" fmla="*/ 0 w 71648"/>
                  <a:gd name="connsiteY0" fmla="*/ 60 h 13576"/>
                  <a:gd name="connsiteX1" fmla="*/ 60 w 71648"/>
                  <a:gd name="connsiteY1" fmla="*/ 0 h 13576"/>
                  <a:gd name="connsiteX2" fmla="*/ 7895 w 71648"/>
                  <a:gd name="connsiteY2" fmla="*/ 120 h 13576"/>
                  <a:gd name="connsiteX3" fmla="*/ 18600 w 71648"/>
                  <a:gd name="connsiteY3" fmla="*/ 299 h 13576"/>
                  <a:gd name="connsiteX4" fmla="*/ 20634 w 71648"/>
                  <a:gd name="connsiteY4" fmla="*/ 359 h 13576"/>
                  <a:gd name="connsiteX5" fmla="*/ 21471 w 71648"/>
                  <a:gd name="connsiteY5" fmla="*/ 359 h 13576"/>
                  <a:gd name="connsiteX6" fmla="*/ 22906 w 71648"/>
                  <a:gd name="connsiteY6" fmla="*/ 419 h 13576"/>
                  <a:gd name="connsiteX7" fmla="*/ 24102 w 71648"/>
                  <a:gd name="connsiteY7" fmla="*/ 478 h 13576"/>
                  <a:gd name="connsiteX8" fmla="*/ 24880 w 71648"/>
                  <a:gd name="connsiteY8" fmla="*/ 598 h 13576"/>
                  <a:gd name="connsiteX9" fmla="*/ 26196 w 71648"/>
                  <a:gd name="connsiteY9" fmla="*/ 837 h 13576"/>
                  <a:gd name="connsiteX10" fmla="*/ 26495 w 71648"/>
                  <a:gd name="connsiteY10" fmla="*/ 897 h 13576"/>
                  <a:gd name="connsiteX11" fmla="*/ 27811 w 71648"/>
                  <a:gd name="connsiteY11" fmla="*/ 1136 h 13576"/>
                  <a:gd name="connsiteX12" fmla="*/ 28169 w 71648"/>
                  <a:gd name="connsiteY12" fmla="*/ 1196 h 13576"/>
                  <a:gd name="connsiteX13" fmla="*/ 28169 w 71648"/>
                  <a:gd name="connsiteY13" fmla="*/ 1196 h 13576"/>
                  <a:gd name="connsiteX14" fmla="*/ 28169 w 71648"/>
                  <a:gd name="connsiteY14" fmla="*/ 1196 h 13576"/>
                  <a:gd name="connsiteX15" fmla="*/ 28289 w 71648"/>
                  <a:gd name="connsiteY15" fmla="*/ 1196 h 13576"/>
                  <a:gd name="connsiteX16" fmla="*/ 29186 w 71648"/>
                  <a:gd name="connsiteY16" fmla="*/ 1376 h 13576"/>
                  <a:gd name="connsiteX17" fmla="*/ 29844 w 71648"/>
                  <a:gd name="connsiteY17" fmla="*/ 1495 h 13576"/>
                  <a:gd name="connsiteX18" fmla="*/ 29904 w 71648"/>
                  <a:gd name="connsiteY18" fmla="*/ 1495 h 13576"/>
                  <a:gd name="connsiteX19" fmla="*/ 29904 w 71648"/>
                  <a:gd name="connsiteY19" fmla="*/ 1495 h 13576"/>
                  <a:gd name="connsiteX20" fmla="*/ 30561 w 71648"/>
                  <a:gd name="connsiteY20" fmla="*/ 1615 h 13576"/>
                  <a:gd name="connsiteX21" fmla="*/ 30681 w 71648"/>
                  <a:gd name="connsiteY21" fmla="*/ 1615 h 13576"/>
                  <a:gd name="connsiteX22" fmla="*/ 30741 w 71648"/>
                  <a:gd name="connsiteY22" fmla="*/ 1615 h 13576"/>
                  <a:gd name="connsiteX23" fmla="*/ 30801 w 71648"/>
                  <a:gd name="connsiteY23" fmla="*/ 1615 h 13576"/>
                  <a:gd name="connsiteX24" fmla="*/ 32236 w 71648"/>
                  <a:gd name="connsiteY24" fmla="*/ 1854 h 13576"/>
                  <a:gd name="connsiteX25" fmla="*/ 41267 w 71648"/>
                  <a:gd name="connsiteY25" fmla="*/ 3469 h 13576"/>
                  <a:gd name="connsiteX26" fmla="*/ 45274 w 71648"/>
                  <a:gd name="connsiteY26" fmla="*/ 4605 h 13576"/>
                  <a:gd name="connsiteX27" fmla="*/ 56518 w 71648"/>
                  <a:gd name="connsiteY27" fmla="*/ 7715 h 13576"/>
                  <a:gd name="connsiteX28" fmla="*/ 56697 w 71648"/>
                  <a:gd name="connsiteY28" fmla="*/ 7775 h 13576"/>
                  <a:gd name="connsiteX29" fmla="*/ 59628 w 71648"/>
                  <a:gd name="connsiteY29" fmla="*/ 8911 h 13576"/>
                  <a:gd name="connsiteX30" fmla="*/ 60525 w 71648"/>
                  <a:gd name="connsiteY30" fmla="*/ 9270 h 13576"/>
                  <a:gd name="connsiteX31" fmla="*/ 61004 w 71648"/>
                  <a:gd name="connsiteY31" fmla="*/ 9450 h 13576"/>
                  <a:gd name="connsiteX32" fmla="*/ 61662 w 71648"/>
                  <a:gd name="connsiteY32" fmla="*/ 9689 h 13576"/>
                  <a:gd name="connsiteX33" fmla="*/ 62080 w 71648"/>
                  <a:gd name="connsiteY33" fmla="*/ 9868 h 13576"/>
                  <a:gd name="connsiteX34" fmla="*/ 62618 w 71648"/>
                  <a:gd name="connsiteY34" fmla="*/ 10048 h 13576"/>
                  <a:gd name="connsiteX35" fmla="*/ 62618 w 71648"/>
                  <a:gd name="connsiteY35" fmla="*/ 10048 h 13576"/>
                  <a:gd name="connsiteX36" fmla="*/ 62977 w 71648"/>
                  <a:gd name="connsiteY36" fmla="*/ 10167 h 13576"/>
                  <a:gd name="connsiteX37" fmla="*/ 64113 w 71648"/>
                  <a:gd name="connsiteY37" fmla="*/ 10646 h 13576"/>
                  <a:gd name="connsiteX38" fmla="*/ 64353 w 71648"/>
                  <a:gd name="connsiteY38" fmla="*/ 10706 h 13576"/>
                  <a:gd name="connsiteX39" fmla="*/ 66207 w 71648"/>
                  <a:gd name="connsiteY39" fmla="*/ 11423 h 13576"/>
                  <a:gd name="connsiteX40" fmla="*/ 66207 w 71648"/>
                  <a:gd name="connsiteY40" fmla="*/ 11423 h 13576"/>
                  <a:gd name="connsiteX41" fmla="*/ 69795 w 71648"/>
                  <a:gd name="connsiteY41" fmla="*/ 12799 h 13576"/>
                  <a:gd name="connsiteX42" fmla="*/ 69975 w 71648"/>
                  <a:gd name="connsiteY42" fmla="*/ 12859 h 13576"/>
                  <a:gd name="connsiteX43" fmla="*/ 70573 w 71648"/>
                  <a:gd name="connsiteY43" fmla="*/ 13098 h 13576"/>
                  <a:gd name="connsiteX44" fmla="*/ 71649 w 71648"/>
                  <a:gd name="connsiteY44" fmla="*/ 13576 h 13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1648" h="13576">
                    <a:moveTo>
                      <a:pt x="0" y="60"/>
                    </a:moveTo>
                    <a:lnTo>
                      <a:pt x="60" y="0"/>
                    </a:lnTo>
                    <a:lnTo>
                      <a:pt x="7895" y="120"/>
                    </a:lnTo>
                    <a:lnTo>
                      <a:pt x="18600" y="299"/>
                    </a:lnTo>
                    <a:lnTo>
                      <a:pt x="20634" y="359"/>
                    </a:lnTo>
                    <a:lnTo>
                      <a:pt x="21471" y="359"/>
                    </a:lnTo>
                    <a:lnTo>
                      <a:pt x="22906" y="419"/>
                    </a:lnTo>
                    <a:lnTo>
                      <a:pt x="24102" y="478"/>
                    </a:lnTo>
                    <a:lnTo>
                      <a:pt x="24880" y="598"/>
                    </a:lnTo>
                    <a:lnTo>
                      <a:pt x="26196" y="837"/>
                    </a:lnTo>
                    <a:lnTo>
                      <a:pt x="26495" y="897"/>
                    </a:lnTo>
                    <a:lnTo>
                      <a:pt x="27811" y="1136"/>
                    </a:lnTo>
                    <a:lnTo>
                      <a:pt x="28169" y="1196"/>
                    </a:lnTo>
                    <a:lnTo>
                      <a:pt x="28169" y="1196"/>
                    </a:lnTo>
                    <a:lnTo>
                      <a:pt x="28169" y="1196"/>
                    </a:lnTo>
                    <a:lnTo>
                      <a:pt x="28289" y="1196"/>
                    </a:lnTo>
                    <a:lnTo>
                      <a:pt x="29186" y="1376"/>
                    </a:lnTo>
                    <a:lnTo>
                      <a:pt x="29844" y="1495"/>
                    </a:lnTo>
                    <a:lnTo>
                      <a:pt x="29904" y="1495"/>
                    </a:lnTo>
                    <a:lnTo>
                      <a:pt x="29904" y="1495"/>
                    </a:lnTo>
                    <a:lnTo>
                      <a:pt x="30561" y="1615"/>
                    </a:lnTo>
                    <a:lnTo>
                      <a:pt x="30681" y="1615"/>
                    </a:lnTo>
                    <a:lnTo>
                      <a:pt x="30741" y="1615"/>
                    </a:lnTo>
                    <a:lnTo>
                      <a:pt x="30801" y="1615"/>
                    </a:lnTo>
                    <a:lnTo>
                      <a:pt x="32236" y="1854"/>
                    </a:lnTo>
                    <a:lnTo>
                      <a:pt x="41267" y="3469"/>
                    </a:lnTo>
                    <a:lnTo>
                      <a:pt x="45274" y="4605"/>
                    </a:lnTo>
                    <a:lnTo>
                      <a:pt x="56518" y="7715"/>
                    </a:lnTo>
                    <a:lnTo>
                      <a:pt x="56697" y="7775"/>
                    </a:lnTo>
                    <a:lnTo>
                      <a:pt x="59628" y="8911"/>
                    </a:lnTo>
                    <a:lnTo>
                      <a:pt x="60525" y="9270"/>
                    </a:lnTo>
                    <a:lnTo>
                      <a:pt x="61004" y="9450"/>
                    </a:lnTo>
                    <a:lnTo>
                      <a:pt x="61662" y="9689"/>
                    </a:lnTo>
                    <a:lnTo>
                      <a:pt x="62080" y="9868"/>
                    </a:lnTo>
                    <a:lnTo>
                      <a:pt x="62618" y="10048"/>
                    </a:lnTo>
                    <a:lnTo>
                      <a:pt x="62618" y="10048"/>
                    </a:lnTo>
                    <a:lnTo>
                      <a:pt x="62977" y="10167"/>
                    </a:lnTo>
                    <a:lnTo>
                      <a:pt x="64113" y="10646"/>
                    </a:lnTo>
                    <a:lnTo>
                      <a:pt x="64353" y="10706"/>
                    </a:lnTo>
                    <a:lnTo>
                      <a:pt x="66207" y="11423"/>
                    </a:lnTo>
                    <a:lnTo>
                      <a:pt x="66207" y="11423"/>
                    </a:lnTo>
                    <a:lnTo>
                      <a:pt x="69795" y="12799"/>
                    </a:lnTo>
                    <a:lnTo>
                      <a:pt x="69975" y="12859"/>
                    </a:lnTo>
                    <a:lnTo>
                      <a:pt x="70573" y="13098"/>
                    </a:lnTo>
                    <a:lnTo>
                      <a:pt x="71649" y="13576"/>
                    </a:lnTo>
                  </a:path>
                </a:pathLst>
              </a:custGeom>
              <a:noFill/>
              <a:ln w="6350" cap="rnd">
                <a:solidFill>
                  <a:schemeClr val="bg1">
                    <a:alpha val="80000"/>
                  </a:schemeClr>
                </a:solidFill>
                <a:prstDash val="solid"/>
                <a:round/>
              </a:ln>
            </p:spPr>
            <p:txBody>
              <a:bodyPr rtlCol="0" anchor="ctr"/>
              <a:lstStyle/>
              <a:p>
                <a:endParaRPr lang="en-GB"/>
              </a:p>
            </p:txBody>
          </p:sp>
          <p:sp>
            <p:nvSpPr>
              <p:cNvPr id="6516" name="Vrije vorm: vorm 6515">
                <a:extLst>
                  <a:ext uri="{FF2B5EF4-FFF2-40B4-BE49-F238E27FC236}">
                    <a16:creationId xmlns:a16="http://schemas.microsoft.com/office/drawing/2014/main" id="{E754A71D-49DA-4694-A65D-CB297D8FBCE6}"/>
                  </a:ext>
                </a:extLst>
              </p:cNvPr>
              <p:cNvSpPr/>
              <p:nvPr/>
            </p:nvSpPr>
            <p:spPr>
              <a:xfrm>
                <a:off x="6640355" y="1814770"/>
                <a:ext cx="7655" cy="4425"/>
              </a:xfrm>
              <a:custGeom>
                <a:avLst/>
                <a:gdLst>
                  <a:gd name="connsiteX0" fmla="*/ 0 w 7655"/>
                  <a:gd name="connsiteY0" fmla="*/ 3349 h 4425"/>
                  <a:gd name="connsiteX1" fmla="*/ 4366 w 7655"/>
                  <a:gd name="connsiteY1" fmla="*/ 0 h 4425"/>
                  <a:gd name="connsiteX2" fmla="*/ 6280 w 7655"/>
                  <a:gd name="connsiteY2" fmla="*/ 2153 h 4425"/>
                  <a:gd name="connsiteX3" fmla="*/ 7655 w 7655"/>
                  <a:gd name="connsiteY3" fmla="*/ 4426 h 4425"/>
                </a:gdLst>
                <a:ahLst/>
                <a:cxnLst>
                  <a:cxn ang="0">
                    <a:pos x="connsiteX0" y="connsiteY0"/>
                  </a:cxn>
                  <a:cxn ang="0">
                    <a:pos x="connsiteX1" y="connsiteY1"/>
                  </a:cxn>
                  <a:cxn ang="0">
                    <a:pos x="connsiteX2" y="connsiteY2"/>
                  </a:cxn>
                  <a:cxn ang="0">
                    <a:pos x="connsiteX3" y="connsiteY3"/>
                  </a:cxn>
                </a:cxnLst>
                <a:rect l="l" t="t" r="r" b="b"/>
                <a:pathLst>
                  <a:path w="7655" h="4425">
                    <a:moveTo>
                      <a:pt x="0" y="3349"/>
                    </a:moveTo>
                    <a:lnTo>
                      <a:pt x="4366" y="0"/>
                    </a:lnTo>
                    <a:lnTo>
                      <a:pt x="6280" y="2153"/>
                    </a:lnTo>
                    <a:lnTo>
                      <a:pt x="7655" y="4426"/>
                    </a:lnTo>
                  </a:path>
                </a:pathLst>
              </a:custGeom>
              <a:noFill/>
              <a:ln w="6350" cap="rnd">
                <a:solidFill>
                  <a:schemeClr val="bg1">
                    <a:alpha val="80000"/>
                  </a:schemeClr>
                </a:solidFill>
                <a:prstDash val="solid"/>
                <a:round/>
              </a:ln>
            </p:spPr>
            <p:txBody>
              <a:bodyPr rtlCol="0" anchor="ctr"/>
              <a:lstStyle/>
              <a:p>
                <a:endParaRPr lang="en-GB"/>
              </a:p>
            </p:txBody>
          </p:sp>
          <p:sp>
            <p:nvSpPr>
              <p:cNvPr id="6517" name="Vrije vorm: vorm 6516">
                <a:extLst>
                  <a:ext uri="{FF2B5EF4-FFF2-40B4-BE49-F238E27FC236}">
                    <a16:creationId xmlns:a16="http://schemas.microsoft.com/office/drawing/2014/main" id="{82E46C76-FB5C-4323-B599-B5C1EC5FA570}"/>
                  </a:ext>
                </a:extLst>
              </p:cNvPr>
              <p:cNvSpPr/>
              <p:nvPr/>
            </p:nvSpPr>
            <p:spPr>
              <a:xfrm>
                <a:off x="6809789" y="2064705"/>
                <a:ext cx="53347" cy="20214"/>
              </a:xfrm>
              <a:custGeom>
                <a:avLst/>
                <a:gdLst>
                  <a:gd name="connsiteX0" fmla="*/ 52630 w 53347"/>
                  <a:gd name="connsiteY0" fmla="*/ 0 h 20214"/>
                  <a:gd name="connsiteX1" fmla="*/ 53348 w 53347"/>
                  <a:gd name="connsiteY1" fmla="*/ 478 h 20214"/>
                  <a:gd name="connsiteX2" fmla="*/ 52570 w 53347"/>
                  <a:gd name="connsiteY2" fmla="*/ 3170 h 20214"/>
                  <a:gd name="connsiteX3" fmla="*/ 48982 w 53347"/>
                  <a:gd name="connsiteY3" fmla="*/ 8014 h 20214"/>
                  <a:gd name="connsiteX4" fmla="*/ 48324 w 53347"/>
                  <a:gd name="connsiteY4" fmla="*/ 8851 h 20214"/>
                  <a:gd name="connsiteX5" fmla="*/ 39891 w 53347"/>
                  <a:gd name="connsiteY5" fmla="*/ 12859 h 20214"/>
                  <a:gd name="connsiteX6" fmla="*/ 38815 w 53347"/>
                  <a:gd name="connsiteY6" fmla="*/ 12918 h 20214"/>
                  <a:gd name="connsiteX7" fmla="*/ 33133 w 53347"/>
                  <a:gd name="connsiteY7" fmla="*/ 13337 h 20214"/>
                  <a:gd name="connsiteX8" fmla="*/ 30442 w 53347"/>
                  <a:gd name="connsiteY8" fmla="*/ 13636 h 20214"/>
                  <a:gd name="connsiteX9" fmla="*/ 24282 w 53347"/>
                  <a:gd name="connsiteY9" fmla="*/ 14354 h 20214"/>
                  <a:gd name="connsiteX10" fmla="*/ 17942 w 53347"/>
                  <a:gd name="connsiteY10" fmla="*/ 15789 h 20214"/>
                  <a:gd name="connsiteX11" fmla="*/ 17344 w 53347"/>
                  <a:gd name="connsiteY11" fmla="*/ 15909 h 20214"/>
                  <a:gd name="connsiteX12" fmla="*/ 13218 w 53347"/>
                  <a:gd name="connsiteY12" fmla="*/ 17105 h 20214"/>
                  <a:gd name="connsiteX13" fmla="*/ 8792 w 53347"/>
                  <a:gd name="connsiteY13" fmla="*/ 18361 h 20214"/>
                  <a:gd name="connsiteX14" fmla="*/ 8134 w 53347"/>
                  <a:gd name="connsiteY14" fmla="*/ 18600 h 20214"/>
                  <a:gd name="connsiteX15" fmla="*/ 4964 w 53347"/>
                  <a:gd name="connsiteY15" fmla="*/ 19796 h 20214"/>
                  <a:gd name="connsiteX16" fmla="*/ 4426 w 53347"/>
                  <a:gd name="connsiteY16" fmla="*/ 19976 h 20214"/>
                  <a:gd name="connsiteX17" fmla="*/ 3708 w 53347"/>
                  <a:gd name="connsiteY17" fmla="*/ 20215 h 20214"/>
                  <a:gd name="connsiteX18" fmla="*/ 2093 w 53347"/>
                  <a:gd name="connsiteY18" fmla="*/ 18720 h 20214"/>
                  <a:gd name="connsiteX19" fmla="*/ 1555 w 53347"/>
                  <a:gd name="connsiteY19" fmla="*/ 18241 h 20214"/>
                  <a:gd name="connsiteX20" fmla="*/ 1435 w 53347"/>
                  <a:gd name="connsiteY20" fmla="*/ 18062 h 20214"/>
                  <a:gd name="connsiteX21" fmla="*/ 299 w 53347"/>
                  <a:gd name="connsiteY21" fmla="*/ 15969 h 20214"/>
                  <a:gd name="connsiteX22" fmla="*/ 0 w 53347"/>
                  <a:gd name="connsiteY22" fmla="*/ 14533 h 20214"/>
                  <a:gd name="connsiteX23" fmla="*/ 60 w 53347"/>
                  <a:gd name="connsiteY23" fmla="*/ 14473 h 20214"/>
                  <a:gd name="connsiteX24" fmla="*/ 120 w 53347"/>
                  <a:gd name="connsiteY24" fmla="*/ 14414 h 20214"/>
                  <a:gd name="connsiteX25" fmla="*/ 1316 w 53347"/>
                  <a:gd name="connsiteY25" fmla="*/ 12380 h 20214"/>
                  <a:gd name="connsiteX26" fmla="*/ 2093 w 53347"/>
                  <a:gd name="connsiteY26" fmla="*/ 11124 h 2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347" h="20214">
                    <a:moveTo>
                      <a:pt x="52630" y="0"/>
                    </a:moveTo>
                    <a:lnTo>
                      <a:pt x="53348" y="478"/>
                    </a:lnTo>
                    <a:lnTo>
                      <a:pt x="52570" y="3170"/>
                    </a:lnTo>
                    <a:lnTo>
                      <a:pt x="48982" y="8014"/>
                    </a:lnTo>
                    <a:lnTo>
                      <a:pt x="48324" y="8851"/>
                    </a:lnTo>
                    <a:lnTo>
                      <a:pt x="39891" y="12859"/>
                    </a:lnTo>
                    <a:lnTo>
                      <a:pt x="38815" y="12918"/>
                    </a:lnTo>
                    <a:lnTo>
                      <a:pt x="33133" y="13337"/>
                    </a:lnTo>
                    <a:lnTo>
                      <a:pt x="30442" y="13636"/>
                    </a:lnTo>
                    <a:lnTo>
                      <a:pt x="24282" y="14354"/>
                    </a:lnTo>
                    <a:lnTo>
                      <a:pt x="17942" y="15789"/>
                    </a:lnTo>
                    <a:lnTo>
                      <a:pt x="17344" y="15909"/>
                    </a:lnTo>
                    <a:lnTo>
                      <a:pt x="13218" y="17105"/>
                    </a:lnTo>
                    <a:lnTo>
                      <a:pt x="8792" y="18361"/>
                    </a:lnTo>
                    <a:lnTo>
                      <a:pt x="8134" y="18600"/>
                    </a:lnTo>
                    <a:lnTo>
                      <a:pt x="4964" y="19796"/>
                    </a:lnTo>
                    <a:lnTo>
                      <a:pt x="4426" y="19976"/>
                    </a:lnTo>
                    <a:lnTo>
                      <a:pt x="3708" y="20215"/>
                    </a:lnTo>
                    <a:lnTo>
                      <a:pt x="2093" y="18720"/>
                    </a:lnTo>
                    <a:lnTo>
                      <a:pt x="1555" y="18241"/>
                    </a:lnTo>
                    <a:lnTo>
                      <a:pt x="1435" y="18062"/>
                    </a:lnTo>
                    <a:lnTo>
                      <a:pt x="299" y="15969"/>
                    </a:lnTo>
                    <a:lnTo>
                      <a:pt x="0" y="14533"/>
                    </a:lnTo>
                    <a:lnTo>
                      <a:pt x="60" y="14473"/>
                    </a:lnTo>
                    <a:lnTo>
                      <a:pt x="120" y="14414"/>
                    </a:lnTo>
                    <a:lnTo>
                      <a:pt x="1316" y="12380"/>
                    </a:lnTo>
                    <a:lnTo>
                      <a:pt x="2093" y="11124"/>
                    </a:lnTo>
                  </a:path>
                </a:pathLst>
              </a:custGeom>
              <a:noFill/>
              <a:ln w="6350" cap="rnd">
                <a:solidFill>
                  <a:schemeClr val="bg1">
                    <a:alpha val="80000"/>
                  </a:schemeClr>
                </a:solidFill>
                <a:prstDash val="solid"/>
                <a:round/>
              </a:ln>
            </p:spPr>
            <p:txBody>
              <a:bodyPr rtlCol="0" anchor="ctr"/>
              <a:lstStyle/>
              <a:p>
                <a:endParaRPr lang="en-GB"/>
              </a:p>
            </p:txBody>
          </p:sp>
          <p:sp>
            <p:nvSpPr>
              <p:cNvPr id="6518" name="Vrije vorm: vorm 6517">
                <a:extLst>
                  <a:ext uri="{FF2B5EF4-FFF2-40B4-BE49-F238E27FC236}">
                    <a16:creationId xmlns:a16="http://schemas.microsoft.com/office/drawing/2014/main" id="{9AAF0BD4-21BF-4F80-A29C-A0FFCA846185}"/>
                  </a:ext>
                </a:extLst>
              </p:cNvPr>
              <p:cNvSpPr/>
              <p:nvPr/>
            </p:nvSpPr>
            <p:spPr>
              <a:xfrm>
                <a:off x="7061458" y="1813873"/>
                <a:ext cx="43599" cy="40728"/>
              </a:xfrm>
              <a:custGeom>
                <a:avLst/>
                <a:gdLst>
                  <a:gd name="connsiteX0" fmla="*/ 43300 w 43599"/>
                  <a:gd name="connsiteY0" fmla="*/ 5682 h 40728"/>
                  <a:gd name="connsiteX1" fmla="*/ 43600 w 43599"/>
                  <a:gd name="connsiteY1" fmla="*/ 6758 h 40728"/>
                  <a:gd name="connsiteX2" fmla="*/ 24043 w 43599"/>
                  <a:gd name="connsiteY2" fmla="*/ 40131 h 40728"/>
                  <a:gd name="connsiteX3" fmla="*/ 21770 w 43599"/>
                  <a:gd name="connsiteY3" fmla="*/ 40729 h 40728"/>
                  <a:gd name="connsiteX4" fmla="*/ 13935 w 43599"/>
                  <a:gd name="connsiteY4" fmla="*/ 36243 h 40728"/>
                  <a:gd name="connsiteX5" fmla="*/ 12799 w 43599"/>
                  <a:gd name="connsiteY5" fmla="*/ 35585 h 40728"/>
                  <a:gd name="connsiteX6" fmla="*/ 11902 w 43599"/>
                  <a:gd name="connsiteY6" fmla="*/ 35107 h 40728"/>
                  <a:gd name="connsiteX7" fmla="*/ 11304 w 43599"/>
                  <a:gd name="connsiteY7" fmla="*/ 34748 h 40728"/>
                  <a:gd name="connsiteX8" fmla="*/ 10825 w 43599"/>
                  <a:gd name="connsiteY8" fmla="*/ 34449 h 40728"/>
                  <a:gd name="connsiteX9" fmla="*/ 10646 w 43599"/>
                  <a:gd name="connsiteY9" fmla="*/ 34329 h 40728"/>
                  <a:gd name="connsiteX10" fmla="*/ 10526 w 43599"/>
                  <a:gd name="connsiteY10" fmla="*/ 34270 h 40728"/>
                  <a:gd name="connsiteX11" fmla="*/ 10227 w 43599"/>
                  <a:gd name="connsiteY11" fmla="*/ 34090 h 40728"/>
                  <a:gd name="connsiteX12" fmla="*/ 9749 w 43599"/>
                  <a:gd name="connsiteY12" fmla="*/ 33791 h 40728"/>
                  <a:gd name="connsiteX13" fmla="*/ 9749 w 43599"/>
                  <a:gd name="connsiteY13" fmla="*/ 33791 h 40728"/>
                  <a:gd name="connsiteX14" fmla="*/ 8851 w 43599"/>
                  <a:gd name="connsiteY14" fmla="*/ 33253 h 40728"/>
                  <a:gd name="connsiteX15" fmla="*/ 1615 w 43599"/>
                  <a:gd name="connsiteY15" fmla="*/ 29066 h 40728"/>
                  <a:gd name="connsiteX16" fmla="*/ 957 w 43599"/>
                  <a:gd name="connsiteY16" fmla="*/ 28707 h 40728"/>
                  <a:gd name="connsiteX17" fmla="*/ 778 w 43599"/>
                  <a:gd name="connsiteY17" fmla="*/ 28588 h 40728"/>
                  <a:gd name="connsiteX18" fmla="*/ 658 w 43599"/>
                  <a:gd name="connsiteY18" fmla="*/ 28408 h 40728"/>
                  <a:gd name="connsiteX19" fmla="*/ 598 w 43599"/>
                  <a:gd name="connsiteY19" fmla="*/ 28289 h 40728"/>
                  <a:gd name="connsiteX20" fmla="*/ 299 w 43599"/>
                  <a:gd name="connsiteY20" fmla="*/ 27152 h 40728"/>
                  <a:gd name="connsiteX21" fmla="*/ 120 w 43599"/>
                  <a:gd name="connsiteY21" fmla="*/ 26554 h 40728"/>
                  <a:gd name="connsiteX22" fmla="*/ 120 w 43599"/>
                  <a:gd name="connsiteY22" fmla="*/ 26554 h 40728"/>
                  <a:gd name="connsiteX23" fmla="*/ 120 w 43599"/>
                  <a:gd name="connsiteY23" fmla="*/ 26554 h 40728"/>
                  <a:gd name="connsiteX24" fmla="*/ 60 w 43599"/>
                  <a:gd name="connsiteY24" fmla="*/ 26255 h 40728"/>
                  <a:gd name="connsiteX25" fmla="*/ 0 w 43599"/>
                  <a:gd name="connsiteY25" fmla="*/ 26076 h 40728"/>
                  <a:gd name="connsiteX26" fmla="*/ 299 w 43599"/>
                  <a:gd name="connsiteY26" fmla="*/ 25538 h 40728"/>
                  <a:gd name="connsiteX27" fmla="*/ 778 w 43599"/>
                  <a:gd name="connsiteY27" fmla="*/ 24760 h 40728"/>
                  <a:gd name="connsiteX28" fmla="*/ 837 w 43599"/>
                  <a:gd name="connsiteY28" fmla="*/ 24700 h 40728"/>
                  <a:gd name="connsiteX29" fmla="*/ 837 w 43599"/>
                  <a:gd name="connsiteY29" fmla="*/ 24700 h 40728"/>
                  <a:gd name="connsiteX30" fmla="*/ 1914 w 43599"/>
                  <a:gd name="connsiteY30" fmla="*/ 22846 h 40728"/>
                  <a:gd name="connsiteX31" fmla="*/ 3947 w 43599"/>
                  <a:gd name="connsiteY31" fmla="*/ 19378 h 40728"/>
                  <a:gd name="connsiteX32" fmla="*/ 4605 w 43599"/>
                  <a:gd name="connsiteY32" fmla="*/ 18241 h 40728"/>
                  <a:gd name="connsiteX33" fmla="*/ 6698 w 43599"/>
                  <a:gd name="connsiteY33" fmla="*/ 14653 h 40728"/>
                  <a:gd name="connsiteX34" fmla="*/ 15251 w 43599"/>
                  <a:gd name="connsiteY34" fmla="*/ 0 h 4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3599" h="40728">
                    <a:moveTo>
                      <a:pt x="43300" y="5682"/>
                    </a:moveTo>
                    <a:lnTo>
                      <a:pt x="43600" y="6758"/>
                    </a:lnTo>
                    <a:lnTo>
                      <a:pt x="24043" y="40131"/>
                    </a:lnTo>
                    <a:lnTo>
                      <a:pt x="21770" y="40729"/>
                    </a:lnTo>
                    <a:lnTo>
                      <a:pt x="13935" y="36243"/>
                    </a:lnTo>
                    <a:lnTo>
                      <a:pt x="12799" y="35585"/>
                    </a:lnTo>
                    <a:lnTo>
                      <a:pt x="11902" y="35107"/>
                    </a:lnTo>
                    <a:lnTo>
                      <a:pt x="11304" y="34748"/>
                    </a:lnTo>
                    <a:lnTo>
                      <a:pt x="10825" y="34449"/>
                    </a:lnTo>
                    <a:lnTo>
                      <a:pt x="10646" y="34329"/>
                    </a:lnTo>
                    <a:lnTo>
                      <a:pt x="10526" y="34270"/>
                    </a:lnTo>
                    <a:lnTo>
                      <a:pt x="10227" y="34090"/>
                    </a:lnTo>
                    <a:lnTo>
                      <a:pt x="9749" y="33791"/>
                    </a:lnTo>
                    <a:lnTo>
                      <a:pt x="9749" y="33791"/>
                    </a:lnTo>
                    <a:lnTo>
                      <a:pt x="8851" y="33253"/>
                    </a:lnTo>
                    <a:lnTo>
                      <a:pt x="1615" y="29066"/>
                    </a:lnTo>
                    <a:lnTo>
                      <a:pt x="957" y="28707"/>
                    </a:lnTo>
                    <a:lnTo>
                      <a:pt x="778" y="28588"/>
                    </a:lnTo>
                    <a:lnTo>
                      <a:pt x="658" y="28408"/>
                    </a:lnTo>
                    <a:lnTo>
                      <a:pt x="598" y="28289"/>
                    </a:lnTo>
                    <a:lnTo>
                      <a:pt x="299" y="27152"/>
                    </a:lnTo>
                    <a:lnTo>
                      <a:pt x="120" y="26554"/>
                    </a:lnTo>
                    <a:lnTo>
                      <a:pt x="120" y="26554"/>
                    </a:lnTo>
                    <a:lnTo>
                      <a:pt x="120" y="26554"/>
                    </a:lnTo>
                    <a:lnTo>
                      <a:pt x="60" y="26255"/>
                    </a:lnTo>
                    <a:lnTo>
                      <a:pt x="0" y="26076"/>
                    </a:lnTo>
                    <a:lnTo>
                      <a:pt x="299" y="25538"/>
                    </a:lnTo>
                    <a:lnTo>
                      <a:pt x="778" y="24760"/>
                    </a:lnTo>
                    <a:lnTo>
                      <a:pt x="837" y="24700"/>
                    </a:lnTo>
                    <a:lnTo>
                      <a:pt x="837" y="24700"/>
                    </a:lnTo>
                    <a:lnTo>
                      <a:pt x="1914" y="22846"/>
                    </a:lnTo>
                    <a:lnTo>
                      <a:pt x="3947" y="19378"/>
                    </a:lnTo>
                    <a:lnTo>
                      <a:pt x="4605" y="18241"/>
                    </a:lnTo>
                    <a:lnTo>
                      <a:pt x="6698" y="14653"/>
                    </a:lnTo>
                    <a:lnTo>
                      <a:pt x="15251" y="0"/>
                    </a:lnTo>
                  </a:path>
                </a:pathLst>
              </a:custGeom>
              <a:noFill/>
              <a:ln w="6350" cap="rnd">
                <a:solidFill>
                  <a:schemeClr val="bg1">
                    <a:alpha val="80000"/>
                  </a:schemeClr>
                </a:solidFill>
                <a:prstDash val="solid"/>
                <a:round/>
              </a:ln>
            </p:spPr>
            <p:txBody>
              <a:bodyPr rtlCol="0" anchor="ctr"/>
              <a:lstStyle/>
              <a:p>
                <a:endParaRPr lang="en-GB"/>
              </a:p>
            </p:txBody>
          </p:sp>
          <p:sp>
            <p:nvSpPr>
              <p:cNvPr id="6519" name="Vrije vorm: vorm 6518">
                <a:extLst>
                  <a:ext uri="{FF2B5EF4-FFF2-40B4-BE49-F238E27FC236}">
                    <a16:creationId xmlns:a16="http://schemas.microsoft.com/office/drawing/2014/main" id="{9A007A2D-6E5B-441B-A47A-9DA09E42B6D2}"/>
                  </a:ext>
                </a:extLst>
              </p:cNvPr>
              <p:cNvSpPr/>
              <p:nvPr/>
            </p:nvSpPr>
            <p:spPr>
              <a:xfrm>
                <a:off x="6858711" y="1706639"/>
                <a:ext cx="2512" cy="1674"/>
              </a:xfrm>
              <a:custGeom>
                <a:avLst/>
                <a:gdLst>
                  <a:gd name="connsiteX0" fmla="*/ 2512 w 2512"/>
                  <a:gd name="connsiteY0" fmla="*/ 1376 h 1674"/>
                  <a:gd name="connsiteX1" fmla="*/ 2273 w 2512"/>
                  <a:gd name="connsiteY1" fmla="*/ 1675 h 1674"/>
                  <a:gd name="connsiteX2" fmla="*/ 2033 w 2512"/>
                  <a:gd name="connsiteY2" fmla="*/ 1555 h 1674"/>
                  <a:gd name="connsiteX3" fmla="*/ 658 w 2512"/>
                  <a:gd name="connsiteY3" fmla="*/ 777 h 1674"/>
                  <a:gd name="connsiteX4" fmla="*/ 0 w 2512"/>
                  <a:gd name="connsiteY4" fmla="*/ 419 h 1674"/>
                  <a:gd name="connsiteX5" fmla="*/ 239 w 2512"/>
                  <a:gd name="connsiteY5" fmla="*/ 0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2" h="1674">
                    <a:moveTo>
                      <a:pt x="2512" y="1376"/>
                    </a:moveTo>
                    <a:lnTo>
                      <a:pt x="2273" y="1675"/>
                    </a:lnTo>
                    <a:lnTo>
                      <a:pt x="2033" y="1555"/>
                    </a:lnTo>
                    <a:lnTo>
                      <a:pt x="658" y="777"/>
                    </a:lnTo>
                    <a:lnTo>
                      <a:pt x="0" y="419"/>
                    </a:lnTo>
                    <a:lnTo>
                      <a:pt x="239" y="0"/>
                    </a:lnTo>
                  </a:path>
                </a:pathLst>
              </a:custGeom>
              <a:noFill/>
              <a:ln w="6350" cap="rnd">
                <a:solidFill>
                  <a:schemeClr val="bg1">
                    <a:alpha val="80000"/>
                  </a:schemeClr>
                </a:solidFill>
                <a:prstDash val="solid"/>
                <a:round/>
              </a:ln>
            </p:spPr>
            <p:txBody>
              <a:bodyPr rtlCol="0" anchor="ctr"/>
              <a:lstStyle/>
              <a:p>
                <a:endParaRPr lang="en-GB"/>
              </a:p>
            </p:txBody>
          </p:sp>
          <p:sp>
            <p:nvSpPr>
              <p:cNvPr id="6520" name="Vrije vorm: vorm 6519">
                <a:extLst>
                  <a:ext uri="{FF2B5EF4-FFF2-40B4-BE49-F238E27FC236}">
                    <a16:creationId xmlns:a16="http://schemas.microsoft.com/office/drawing/2014/main" id="{8ECEA400-F8EE-4156-9FF3-E9EEDA6F06A3}"/>
                  </a:ext>
                </a:extLst>
              </p:cNvPr>
              <p:cNvSpPr/>
              <p:nvPr/>
            </p:nvSpPr>
            <p:spPr>
              <a:xfrm>
                <a:off x="7072702" y="1827808"/>
                <a:ext cx="2512" cy="1674"/>
              </a:xfrm>
              <a:custGeom>
                <a:avLst/>
                <a:gdLst>
                  <a:gd name="connsiteX0" fmla="*/ 2512 w 2512"/>
                  <a:gd name="connsiteY0" fmla="*/ 1316 h 1674"/>
                  <a:gd name="connsiteX1" fmla="*/ 2333 w 2512"/>
                  <a:gd name="connsiteY1" fmla="*/ 1675 h 1674"/>
                  <a:gd name="connsiteX2" fmla="*/ 2273 w 2512"/>
                  <a:gd name="connsiteY2" fmla="*/ 1675 h 1674"/>
                  <a:gd name="connsiteX3" fmla="*/ 837 w 2512"/>
                  <a:gd name="connsiteY3" fmla="*/ 897 h 1674"/>
                  <a:gd name="connsiteX4" fmla="*/ 0 w 2512"/>
                  <a:gd name="connsiteY4" fmla="*/ 419 h 1674"/>
                  <a:gd name="connsiteX5" fmla="*/ 239 w 2512"/>
                  <a:gd name="connsiteY5" fmla="*/ 0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2" h="1674">
                    <a:moveTo>
                      <a:pt x="2512" y="1316"/>
                    </a:moveTo>
                    <a:lnTo>
                      <a:pt x="2333" y="1675"/>
                    </a:lnTo>
                    <a:lnTo>
                      <a:pt x="2273" y="1675"/>
                    </a:lnTo>
                    <a:lnTo>
                      <a:pt x="837" y="897"/>
                    </a:lnTo>
                    <a:lnTo>
                      <a:pt x="0" y="419"/>
                    </a:lnTo>
                    <a:lnTo>
                      <a:pt x="239" y="0"/>
                    </a:lnTo>
                  </a:path>
                </a:pathLst>
              </a:custGeom>
              <a:noFill/>
              <a:ln w="6350" cap="rnd">
                <a:solidFill>
                  <a:schemeClr val="bg1">
                    <a:alpha val="80000"/>
                  </a:schemeClr>
                </a:solidFill>
                <a:prstDash val="solid"/>
                <a:round/>
              </a:ln>
            </p:spPr>
            <p:txBody>
              <a:bodyPr rtlCol="0" anchor="ctr"/>
              <a:lstStyle/>
              <a:p>
                <a:endParaRPr lang="en-GB"/>
              </a:p>
            </p:txBody>
          </p:sp>
          <p:sp>
            <p:nvSpPr>
              <p:cNvPr id="6521" name="Vrije vorm: vorm 6520">
                <a:extLst>
                  <a:ext uri="{FF2B5EF4-FFF2-40B4-BE49-F238E27FC236}">
                    <a16:creationId xmlns:a16="http://schemas.microsoft.com/office/drawing/2014/main" id="{5B635155-7A7D-4BFF-BAF6-35BFA30BF10E}"/>
                  </a:ext>
                </a:extLst>
              </p:cNvPr>
              <p:cNvSpPr/>
              <p:nvPr/>
            </p:nvSpPr>
            <p:spPr>
              <a:xfrm>
                <a:off x="6923363" y="2054896"/>
                <a:ext cx="34687" cy="17463"/>
              </a:xfrm>
              <a:custGeom>
                <a:avLst/>
                <a:gdLst>
                  <a:gd name="connsiteX0" fmla="*/ 10765 w 34687"/>
                  <a:gd name="connsiteY0" fmla="*/ 0 h 17463"/>
                  <a:gd name="connsiteX1" fmla="*/ 13815 w 34687"/>
                  <a:gd name="connsiteY1" fmla="*/ 1136 h 17463"/>
                  <a:gd name="connsiteX2" fmla="*/ 16028 w 34687"/>
                  <a:gd name="connsiteY2" fmla="*/ 1974 h 17463"/>
                  <a:gd name="connsiteX3" fmla="*/ 17763 w 34687"/>
                  <a:gd name="connsiteY3" fmla="*/ 2632 h 17463"/>
                  <a:gd name="connsiteX4" fmla="*/ 18002 w 34687"/>
                  <a:gd name="connsiteY4" fmla="*/ 2691 h 17463"/>
                  <a:gd name="connsiteX5" fmla="*/ 25597 w 34687"/>
                  <a:gd name="connsiteY5" fmla="*/ 7775 h 17463"/>
                  <a:gd name="connsiteX6" fmla="*/ 29425 w 34687"/>
                  <a:gd name="connsiteY6" fmla="*/ 10347 h 17463"/>
                  <a:gd name="connsiteX7" fmla="*/ 29724 w 34687"/>
                  <a:gd name="connsiteY7" fmla="*/ 10526 h 17463"/>
                  <a:gd name="connsiteX8" fmla="*/ 31159 w 34687"/>
                  <a:gd name="connsiteY8" fmla="*/ 11603 h 17463"/>
                  <a:gd name="connsiteX9" fmla="*/ 31877 w 34687"/>
                  <a:gd name="connsiteY9" fmla="*/ 12141 h 17463"/>
                  <a:gd name="connsiteX10" fmla="*/ 33014 w 34687"/>
                  <a:gd name="connsiteY10" fmla="*/ 13038 h 17463"/>
                  <a:gd name="connsiteX11" fmla="*/ 34688 w 34687"/>
                  <a:gd name="connsiteY11" fmla="*/ 14713 h 17463"/>
                  <a:gd name="connsiteX12" fmla="*/ 34329 w 34687"/>
                  <a:gd name="connsiteY12" fmla="*/ 15311 h 17463"/>
                  <a:gd name="connsiteX13" fmla="*/ 33193 w 34687"/>
                  <a:gd name="connsiteY13" fmla="*/ 17165 h 17463"/>
                  <a:gd name="connsiteX14" fmla="*/ 32296 w 34687"/>
                  <a:gd name="connsiteY14" fmla="*/ 17464 h 17463"/>
                  <a:gd name="connsiteX15" fmla="*/ 29904 w 34687"/>
                  <a:gd name="connsiteY15" fmla="*/ 16686 h 17463"/>
                  <a:gd name="connsiteX16" fmla="*/ 29844 w 34687"/>
                  <a:gd name="connsiteY16" fmla="*/ 16686 h 17463"/>
                  <a:gd name="connsiteX17" fmla="*/ 28827 w 34687"/>
                  <a:gd name="connsiteY17" fmla="*/ 16327 h 17463"/>
                  <a:gd name="connsiteX18" fmla="*/ 23803 w 34687"/>
                  <a:gd name="connsiteY18" fmla="*/ 14653 h 17463"/>
                  <a:gd name="connsiteX19" fmla="*/ 23444 w 34687"/>
                  <a:gd name="connsiteY19" fmla="*/ 14533 h 17463"/>
                  <a:gd name="connsiteX20" fmla="*/ 23384 w 34687"/>
                  <a:gd name="connsiteY20" fmla="*/ 14533 h 17463"/>
                  <a:gd name="connsiteX21" fmla="*/ 22248 w 34687"/>
                  <a:gd name="connsiteY21" fmla="*/ 14174 h 17463"/>
                  <a:gd name="connsiteX22" fmla="*/ 19138 w 34687"/>
                  <a:gd name="connsiteY22" fmla="*/ 13158 h 17463"/>
                  <a:gd name="connsiteX23" fmla="*/ 16327 w 34687"/>
                  <a:gd name="connsiteY23" fmla="*/ 12201 h 17463"/>
                  <a:gd name="connsiteX24" fmla="*/ 15490 w 34687"/>
                  <a:gd name="connsiteY24" fmla="*/ 11902 h 17463"/>
                  <a:gd name="connsiteX25" fmla="*/ 10705 w 34687"/>
                  <a:gd name="connsiteY25" fmla="*/ 9629 h 17463"/>
                  <a:gd name="connsiteX26" fmla="*/ 9629 w 34687"/>
                  <a:gd name="connsiteY26" fmla="*/ 8971 h 17463"/>
                  <a:gd name="connsiteX27" fmla="*/ 6937 w 34687"/>
                  <a:gd name="connsiteY27" fmla="*/ 7416 h 17463"/>
                  <a:gd name="connsiteX28" fmla="*/ 6639 w 34687"/>
                  <a:gd name="connsiteY28" fmla="*/ 7237 h 17463"/>
                  <a:gd name="connsiteX29" fmla="*/ 5861 w 34687"/>
                  <a:gd name="connsiteY29" fmla="*/ 6758 h 17463"/>
                  <a:gd name="connsiteX30" fmla="*/ 5741 w 34687"/>
                  <a:gd name="connsiteY30" fmla="*/ 6698 h 17463"/>
                  <a:gd name="connsiteX31" fmla="*/ 2871 w 34687"/>
                  <a:gd name="connsiteY31" fmla="*/ 4844 h 17463"/>
                  <a:gd name="connsiteX32" fmla="*/ 897 w 34687"/>
                  <a:gd name="connsiteY32" fmla="*/ 3588 h 17463"/>
                  <a:gd name="connsiteX33" fmla="*/ 837 w 34687"/>
                  <a:gd name="connsiteY33" fmla="*/ 3529 h 17463"/>
                  <a:gd name="connsiteX34" fmla="*/ 538 w 34687"/>
                  <a:gd name="connsiteY34" fmla="*/ 3349 h 17463"/>
                  <a:gd name="connsiteX35" fmla="*/ 0 w 34687"/>
                  <a:gd name="connsiteY35" fmla="*/ 2990 h 17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4687" h="17463">
                    <a:moveTo>
                      <a:pt x="10765" y="0"/>
                    </a:moveTo>
                    <a:lnTo>
                      <a:pt x="13815" y="1136"/>
                    </a:lnTo>
                    <a:lnTo>
                      <a:pt x="16028" y="1974"/>
                    </a:lnTo>
                    <a:lnTo>
                      <a:pt x="17763" y="2632"/>
                    </a:lnTo>
                    <a:lnTo>
                      <a:pt x="18002" y="2691"/>
                    </a:lnTo>
                    <a:lnTo>
                      <a:pt x="25597" y="7775"/>
                    </a:lnTo>
                    <a:lnTo>
                      <a:pt x="29425" y="10347"/>
                    </a:lnTo>
                    <a:lnTo>
                      <a:pt x="29724" y="10526"/>
                    </a:lnTo>
                    <a:lnTo>
                      <a:pt x="31159" y="11603"/>
                    </a:lnTo>
                    <a:lnTo>
                      <a:pt x="31877" y="12141"/>
                    </a:lnTo>
                    <a:lnTo>
                      <a:pt x="33014" y="13038"/>
                    </a:lnTo>
                    <a:lnTo>
                      <a:pt x="34688" y="14713"/>
                    </a:lnTo>
                    <a:lnTo>
                      <a:pt x="34329" y="15311"/>
                    </a:lnTo>
                    <a:lnTo>
                      <a:pt x="33193" y="17165"/>
                    </a:lnTo>
                    <a:lnTo>
                      <a:pt x="32296" y="17464"/>
                    </a:lnTo>
                    <a:lnTo>
                      <a:pt x="29904" y="16686"/>
                    </a:lnTo>
                    <a:lnTo>
                      <a:pt x="29844" y="16686"/>
                    </a:lnTo>
                    <a:lnTo>
                      <a:pt x="28827" y="16327"/>
                    </a:lnTo>
                    <a:lnTo>
                      <a:pt x="23803" y="14653"/>
                    </a:lnTo>
                    <a:lnTo>
                      <a:pt x="23444" y="14533"/>
                    </a:lnTo>
                    <a:lnTo>
                      <a:pt x="23384" y="14533"/>
                    </a:lnTo>
                    <a:lnTo>
                      <a:pt x="22248" y="14174"/>
                    </a:lnTo>
                    <a:lnTo>
                      <a:pt x="19138" y="13158"/>
                    </a:lnTo>
                    <a:lnTo>
                      <a:pt x="16327" y="12201"/>
                    </a:lnTo>
                    <a:lnTo>
                      <a:pt x="15490" y="11902"/>
                    </a:lnTo>
                    <a:lnTo>
                      <a:pt x="10705" y="9629"/>
                    </a:lnTo>
                    <a:lnTo>
                      <a:pt x="9629" y="8971"/>
                    </a:lnTo>
                    <a:lnTo>
                      <a:pt x="6937" y="7416"/>
                    </a:lnTo>
                    <a:lnTo>
                      <a:pt x="6639" y="7237"/>
                    </a:lnTo>
                    <a:lnTo>
                      <a:pt x="5861" y="6758"/>
                    </a:lnTo>
                    <a:lnTo>
                      <a:pt x="5741" y="6698"/>
                    </a:lnTo>
                    <a:lnTo>
                      <a:pt x="2871" y="4844"/>
                    </a:lnTo>
                    <a:lnTo>
                      <a:pt x="897" y="3588"/>
                    </a:lnTo>
                    <a:lnTo>
                      <a:pt x="837" y="3529"/>
                    </a:lnTo>
                    <a:lnTo>
                      <a:pt x="538" y="3349"/>
                    </a:lnTo>
                    <a:lnTo>
                      <a:pt x="0" y="2990"/>
                    </a:lnTo>
                  </a:path>
                </a:pathLst>
              </a:custGeom>
              <a:noFill/>
              <a:ln w="6350" cap="rnd">
                <a:solidFill>
                  <a:schemeClr val="bg1">
                    <a:alpha val="80000"/>
                  </a:schemeClr>
                </a:solidFill>
                <a:prstDash val="solid"/>
                <a:round/>
              </a:ln>
            </p:spPr>
            <p:txBody>
              <a:bodyPr rtlCol="0" anchor="ctr"/>
              <a:lstStyle/>
              <a:p>
                <a:endParaRPr lang="en-GB"/>
              </a:p>
            </p:txBody>
          </p:sp>
          <p:sp>
            <p:nvSpPr>
              <p:cNvPr id="6522" name="Vrije vorm: vorm 6521">
                <a:extLst>
                  <a:ext uri="{FF2B5EF4-FFF2-40B4-BE49-F238E27FC236}">
                    <a16:creationId xmlns:a16="http://schemas.microsoft.com/office/drawing/2014/main" id="{DA912093-E1A0-40C1-A619-790AA3D4ABD9}"/>
                  </a:ext>
                </a:extLst>
              </p:cNvPr>
              <p:cNvSpPr/>
              <p:nvPr/>
            </p:nvSpPr>
            <p:spPr>
              <a:xfrm>
                <a:off x="6995610" y="1877807"/>
                <a:ext cx="48503" cy="33731"/>
              </a:xfrm>
              <a:custGeom>
                <a:avLst/>
                <a:gdLst>
                  <a:gd name="connsiteX0" fmla="*/ 48504 w 48503"/>
                  <a:gd name="connsiteY0" fmla="*/ 0 h 33731"/>
                  <a:gd name="connsiteX1" fmla="*/ 47368 w 48503"/>
                  <a:gd name="connsiteY1" fmla="*/ 2691 h 33731"/>
                  <a:gd name="connsiteX2" fmla="*/ 47248 w 48503"/>
                  <a:gd name="connsiteY2" fmla="*/ 2990 h 33731"/>
                  <a:gd name="connsiteX3" fmla="*/ 47188 w 48503"/>
                  <a:gd name="connsiteY3" fmla="*/ 3110 h 33731"/>
                  <a:gd name="connsiteX4" fmla="*/ 47188 w 48503"/>
                  <a:gd name="connsiteY4" fmla="*/ 3110 h 33731"/>
                  <a:gd name="connsiteX5" fmla="*/ 47128 w 48503"/>
                  <a:gd name="connsiteY5" fmla="*/ 3170 h 33731"/>
                  <a:gd name="connsiteX6" fmla="*/ 46829 w 48503"/>
                  <a:gd name="connsiteY6" fmla="*/ 3828 h 33731"/>
                  <a:gd name="connsiteX7" fmla="*/ 46530 w 48503"/>
                  <a:gd name="connsiteY7" fmla="*/ 4545 h 33731"/>
                  <a:gd name="connsiteX8" fmla="*/ 46470 w 48503"/>
                  <a:gd name="connsiteY8" fmla="*/ 4605 h 33731"/>
                  <a:gd name="connsiteX9" fmla="*/ 46470 w 48503"/>
                  <a:gd name="connsiteY9" fmla="*/ 4605 h 33731"/>
                  <a:gd name="connsiteX10" fmla="*/ 46470 w 48503"/>
                  <a:gd name="connsiteY10" fmla="*/ 4605 h 33731"/>
                  <a:gd name="connsiteX11" fmla="*/ 45932 w 48503"/>
                  <a:gd name="connsiteY11" fmla="*/ 5263 h 33731"/>
                  <a:gd name="connsiteX12" fmla="*/ 45693 w 48503"/>
                  <a:gd name="connsiteY12" fmla="*/ 5502 h 33731"/>
                  <a:gd name="connsiteX13" fmla="*/ 45155 w 48503"/>
                  <a:gd name="connsiteY13" fmla="*/ 6160 h 33731"/>
                  <a:gd name="connsiteX14" fmla="*/ 44676 w 48503"/>
                  <a:gd name="connsiteY14" fmla="*/ 6698 h 33731"/>
                  <a:gd name="connsiteX15" fmla="*/ 42702 w 48503"/>
                  <a:gd name="connsiteY15" fmla="*/ 8014 h 33731"/>
                  <a:gd name="connsiteX16" fmla="*/ 42702 w 48503"/>
                  <a:gd name="connsiteY16" fmla="*/ 8014 h 33731"/>
                  <a:gd name="connsiteX17" fmla="*/ 42702 w 48503"/>
                  <a:gd name="connsiteY17" fmla="*/ 8014 h 33731"/>
                  <a:gd name="connsiteX18" fmla="*/ 42463 w 48503"/>
                  <a:gd name="connsiteY18" fmla="*/ 8074 h 33731"/>
                  <a:gd name="connsiteX19" fmla="*/ 40310 w 48503"/>
                  <a:gd name="connsiteY19" fmla="*/ 8493 h 33731"/>
                  <a:gd name="connsiteX20" fmla="*/ 34329 w 48503"/>
                  <a:gd name="connsiteY20" fmla="*/ 9689 h 33731"/>
                  <a:gd name="connsiteX21" fmla="*/ 25358 w 48503"/>
                  <a:gd name="connsiteY21" fmla="*/ 13815 h 33731"/>
                  <a:gd name="connsiteX22" fmla="*/ 24162 w 48503"/>
                  <a:gd name="connsiteY22" fmla="*/ 14593 h 33731"/>
                  <a:gd name="connsiteX23" fmla="*/ 23923 w 48503"/>
                  <a:gd name="connsiteY23" fmla="*/ 14713 h 33731"/>
                  <a:gd name="connsiteX24" fmla="*/ 14952 w 48503"/>
                  <a:gd name="connsiteY24" fmla="*/ 20215 h 33731"/>
                  <a:gd name="connsiteX25" fmla="*/ 14652 w 48503"/>
                  <a:gd name="connsiteY25" fmla="*/ 20394 h 33731"/>
                  <a:gd name="connsiteX26" fmla="*/ 13876 w 48503"/>
                  <a:gd name="connsiteY26" fmla="*/ 20992 h 33731"/>
                  <a:gd name="connsiteX27" fmla="*/ 4605 w 48503"/>
                  <a:gd name="connsiteY27" fmla="*/ 28408 h 33731"/>
                  <a:gd name="connsiteX28" fmla="*/ 4605 w 48503"/>
                  <a:gd name="connsiteY28" fmla="*/ 28408 h 33731"/>
                  <a:gd name="connsiteX29" fmla="*/ 4486 w 48503"/>
                  <a:gd name="connsiteY29" fmla="*/ 28468 h 33731"/>
                  <a:gd name="connsiteX30" fmla="*/ 2691 w 48503"/>
                  <a:gd name="connsiteY30" fmla="*/ 30561 h 33731"/>
                  <a:gd name="connsiteX31" fmla="*/ 1077 w 48503"/>
                  <a:gd name="connsiteY31" fmla="*/ 32415 h 33731"/>
                  <a:gd name="connsiteX32" fmla="*/ 897 w 48503"/>
                  <a:gd name="connsiteY32" fmla="*/ 32655 h 33731"/>
                  <a:gd name="connsiteX33" fmla="*/ 0 w 48503"/>
                  <a:gd name="connsiteY33" fmla="*/ 33731 h 3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503" h="33731">
                    <a:moveTo>
                      <a:pt x="48504" y="0"/>
                    </a:moveTo>
                    <a:lnTo>
                      <a:pt x="47368" y="2691"/>
                    </a:lnTo>
                    <a:lnTo>
                      <a:pt x="47248" y="2990"/>
                    </a:lnTo>
                    <a:lnTo>
                      <a:pt x="47188" y="3110"/>
                    </a:lnTo>
                    <a:lnTo>
                      <a:pt x="47188" y="3110"/>
                    </a:lnTo>
                    <a:lnTo>
                      <a:pt x="47128" y="3170"/>
                    </a:lnTo>
                    <a:lnTo>
                      <a:pt x="46829" y="3828"/>
                    </a:lnTo>
                    <a:lnTo>
                      <a:pt x="46530" y="4545"/>
                    </a:lnTo>
                    <a:lnTo>
                      <a:pt x="46470" y="4605"/>
                    </a:lnTo>
                    <a:lnTo>
                      <a:pt x="46470" y="4605"/>
                    </a:lnTo>
                    <a:lnTo>
                      <a:pt x="46470" y="4605"/>
                    </a:lnTo>
                    <a:lnTo>
                      <a:pt x="45932" y="5263"/>
                    </a:lnTo>
                    <a:lnTo>
                      <a:pt x="45693" y="5502"/>
                    </a:lnTo>
                    <a:lnTo>
                      <a:pt x="45155" y="6160"/>
                    </a:lnTo>
                    <a:lnTo>
                      <a:pt x="44676" y="6698"/>
                    </a:lnTo>
                    <a:lnTo>
                      <a:pt x="42702" y="8014"/>
                    </a:lnTo>
                    <a:lnTo>
                      <a:pt x="42702" y="8014"/>
                    </a:lnTo>
                    <a:lnTo>
                      <a:pt x="42702" y="8014"/>
                    </a:lnTo>
                    <a:lnTo>
                      <a:pt x="42463" y="8074"/>
                    </a:lnTo>
                    <a:lnTo>
                      <a:pt x="40310" y="8493"/>
                    </a:lnTo>
                    <a:lnTo>
                      <a:pt x="34329" y="9689"/>
                    </a:lnTo>
                    <a:lnTo>
                      <a:pt x="25358" y="13815"/>
                    </a:lnTo>
                    <a:lnTo>
                      <a:pt x="24162" y="14593"/>
                    </a:lnTo>
                    <a:lnTo>
                      <a:pt x="23923" y="14713"/>
                    </a:lnTo>
                    <a:lnTo>
                      <a:pt x="14952" y="20215"/>
                    </a:lnTo>
                    <a:lnTo>
                      <a:pt x="14652" y="20394"/>
                    </a:lnTo>
                    <a:lnTo>
                      <a:pt x="13876" y="20992"/>
                    </a:lnTo>
                    <a:lnTo>
                      <a:pt x="4605" y="28408"/>
                    </a:lnTo>
                    <a:lnTo>
                      <a:pt x="4605" y="28408"/>
                    </a:lnTo>
                    <a:lnTo>
                      <a:pt x="4486" y="28468"/>
                    </a:lnTo>
                    <a:lnTo>
                      <a:pt x="2691" y="30561"/>
                    </a:lnTo>
                    <a:lnTo>
                      <a:pt x="1077" y="32415"/>
                    </a:lnTo>
                    <a:lnTo>
                      <a:pt x="897" y="32655"/>
                    </a:lnTo>
                    <a:lnTo>
                      <a:pt x="0" y="33731"/>
                    </a:lnTo>
                  </a:path>
                </a:pathLst>
              </a:custGeom>
              <a:noFill/>
              <a:ln w="6350" cap="rnd">
                <a:solidFill>
                  <a:schemeClr val="bg1">
                    <a:alpha val="80000"/>
                  </a:schemeClr>
                </a:solidFill>
                <a:prstDash val="solid"/>
                <a:round/>
              </a:ln>
            </p:spPr>
            <p:txBody>
              <a:bodyPr rtlCol="0" anchor="ctr"/>
              <a:lstStyle/>
              <a:p>
                <a:endParaRPr lang="en-GB"/>
              </a:p>
            </p:txBody>
          </p:sp>
          <p:sp>
            <p:nvSpPr>
              <p:cNvPr id="6523" name="Vrije vorm: vorm 6522">
                <a:extLst>
                  <a:ext uri="{FF2B5EF4-FFF2-40B4-BE49-F238E27FC236}">
                    <a16:creationId xmlns:a16="http://schemas.microsoft.com/office/drawing/2014/main" id="{C3688E04-95B1-4039-87D0-66E5BBF584C2}"/>
                  </a:ext>
                </a:extLst>
              </p:cNvPr>
              <p:cNvSpPr/>
              <p:nvPr/>
            </p:nvSpPr>
            <p:spPr>
              <a:xfrm>
                <a:off x="6717507" y="1814651"/>
                <a:ext cx="35405" cy="75835"/>
              </a:xfrm>
              <a:custGeom>
                <a:avLst/>
                <a:gdLst>
                  <a:gd name="connsiteX0" fmla="*/ 0 w 35405"/>
                  <a:gd name="connsiteY0" fmla="*/ 75836 h 75835"/>
                  <a:gd name="connsiteX1" fmla="*/ 479 w 35405"/>
                  <a:gd name="connsiteY1" fmla="*/ 75118 h 75835"/>
                  <a:gd name="connsiteX2" fmla="*/ 2751 w 35405"/>
                  <a:gd name="connsiteY2" fmla="*/ 71769 h 75835"/>
                  <a:gd name="connsiteX3" fmla="*/ 10825 w 35405"/>
                  <a:gd name="connsiteY3" fmla="*/ 59927 h 75835"/>
                  <a:gd name="connsiteX4" fmla="*/ 10885 w 35405"/>
                  <a:gd name="connsiteY4" fmla="*/ 59807 h 75835"/>
                  <a:gd name="connsiteX5" fmla="*/ 15251 w 35405"/>
                  <a:gd name="connsiteY5" fmla="*/ 53408 h 75835"/>
                  <a:gd name="connsiteX6" fmla="*/ 17942 w 35405"/>
                  <a:gd name="connsiteY6" fmla="*/ 49461 h 75835"/>
                  <a:gd name="connsiteX7" fmla="*/ 21890 w 35405"/>
                  <a:gd name="connsiteY7" fmla="*/ 43659 h 75835"/>
                  <a:gd name="connsiteX8" fmla="*/ 23145 w 35405"/>
                  <a:gd name="connsiteY8" fmla="*/ 41805 h 75835"/>
                  <a:gd name="connsiteX9" fmla="*/ 24999 w 35405"/>
                  <a:gd name="connsiteY9" fmla="*/ 38934 h 75835"/>
                  <a:gd name="connsiteX10" fmla="*/ 26136 w 35405"/>
                  <a:gd name="connsiteY10" fmla="*/ 37200 h 75835"/>
                  <a:gd name="connsiteX11" fmla="*/ 26196 w 35405"/>
                  <a:gd name="connsiteY11" fmla="*/ 37140 h 75835"/>
                  <a:gd name="connsiteX12" fmla="*/ 27751 w 35405"/>
                  <a:gd name="connsiteY12" fmla="*/ 34748 h 75835"/>
                  <a:gd name="connsiteX13" fmla="*/ 27930 w 35405"/>
                  <a:gd name="connsiteY13" fmla="*/ 34509 h 75835"/>
                  <a:gd name="connsiteX14" fmla="*/ 28827 w 35405"/>
                  <a:gd name="connsiteY14" fmla="*/ 33073 h 75835"/>
                  <a:gd name="connsiteX15" fmla="*/ 30861 w 35405"/>
                  <a:gd name="connsiteY15" fmla="*/ 29963 h 75835"/>
                  <a:gd name="connsiteX16" fmla="*/ 31160 w 35405"/>
                  <a:gd name="connsiteY16" fmla="*/ 29545 h 75835"/>
                  <a:gd name="connsiteX17" fmla="*/ 31578 w 35405"/>
                  <a:gd name="connsiteY17" fmla="*/ 28887 h 75835"/>
                  <a:gd name="connsiteX18" fmla="*/ 32475 w 35405"/>
                  <a:gd name="connsiteY18" fmla="*/ 27451 h 75835"/>
                  <a:gd name="connsiteX19" fmla="*/ 32595 w 35405"/>
                  <a:gd name="connsiteY19" fmla="*/ 27272 h 75835"/>
                  <a:gd name="connsiteX20" fmla="*/ 33074 w 35405"/>
                  <a:gd name="connsiteY20" fmla="*/ 26554 h 75835"/>
                  <a:gd name="connsiteX21" fmla="*/ 34688 w 35405"/>
                  <a:gd name="connsiteY21" fmla="*/ 24042 h 75835"/>
                  <a:gd name="connsiteX22" fmla="*/ 34748 w 35405"/>
                  <a:gd name="connsiteY22" fmla="*/ 23923 h 75835"/>
                  <a:gd name="connsiteX23" fmla="*/ 35406 w 35405"/>
                  <a:gd name="connsiteY23" fmla="*/ 21590 h 75835"/>
                  <a:gd name="connsiteX24" fmla="*/ 35107 w 35405"/>
                  <a:gd name="connsiteY24" fmla="*/ 18959 h 75835"/>
                  <a:gd name="connsiteX25" fmla="*/ 33253 w 35405"/>
                  <a:gd name="connsiteY25" fmla="*/ 16208 h 75835"/>
                  <a:gd name="connsiteX26" fmla="*/ 30920 w 35405"/>
                  <a:gd name="connsiteY26" fmla="*/ 13516 h 75835"/>
                  <a:gd name="connsiteX27" fmla="*/ 27093 w 35405"/>
                  <a:gd name="connsiteY27" fmla="*/ 9569 h 75835"/>
                  <a:gd name="connsiteX28" fmla="*/ 24700 w 35405"/>
                  <a:gd name="connsiteY28" fmla="*/ 6758 h 75835"/>
                  <a:gd name="connsiteX29" fmla="*/ 23803 w 35405"/>
                  <a:gd name="connsiteY29" fmla="*/ 3708 h 75835"/>
                  <a:gd name="connsiteX30" fmla="*/ 23325 w 35405"/>
                  <a:gd name="connsiteY30" fmla="*/ 419 h 75835"/>
                  <a:gd name="connsiteX31" fmla="*/ 23086 w 35405"/>
                  <a:gd name="connsiteY31" fmla="*/ 0 h 7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5" h="75835">
                    <a:moveTo>
                      <a:pt x="0" y="75836"/>
                    </a:moveTo>
                    <a:lnTo>
                      <a:pt x="479" y="75118"/>
                    </a:lnTo>
                    <a:lnTo>
                      <a:pt x="2751" y="71769"/>
                    </a:lnTo>
                    <a:lnTo>
                      <a:pt x="10825" y="59927"/>
                    </a:lnTo>
                    <a:lnTo>
                      <a:pt x="10885" y="59807"/>
                    </a:lnTo>
                    <a:lnTo>
                      <a:pt x="15251" y="53408"/>
                    </a:lnTo>
                    <a:lnTo>
                      <a:pt x="17942" y="49461"/>
                    </a:lnTo>
                    <a:lnTo>
                      <a:pt x="21890" y="43659"/>
                    </a:lnTo>
                    <a:lnTo>
                      <a:pt x="23145" y="41805"/>
                    </a:lnTo>
                    <a:lnTo>
                      <a:pt x="24999" y="38934"/>
                    </a:lnTo>
                    <a:lnTo>
                      <a:pt x="26136" y="37200"/>
                    </a:lnTo>
                    <a:lnTo>
                      <a:pt x="26196" y="37140"/>
                    </a:lnTo>
                    <a:lnTo>
                      <a:pt x="27751" y="34748"/>
                    </a:lnTo>
                    <a:lnTo>
                      <a:pt x="27930" y="34509"/>
                    </a:lnTo>
                    <a:lnTo>
                      <a:pt x="28827" y="33073"/>
                    </a:lnTo>
                    <a:lnTo>
                      <a:pt x="30861" y="29963"/>
                    </a:lnTo>
                    <a:lnTo>
                      <a:pt x="31160" y="29545"/>
                    </a:lnTo>
                    <a:lnTo>
                      <a:pt x="31578" y="28887"/>
                    </a:lnTo>
                    <a:lnTo>
                      <a:pt x="32475" y="27451"/>
                    </a:lnTo>
                    <a:lnTo>
                      <a:pt x="32595" y="27272"/>
                    </a:lnTo>
                    <a:lnTo>
                      <a:pt x="33074" y="26554"/>
                    </a:lnTo>
                    <a:lnTo>
                      <a:pt x="34688" y="24042"/>
                    </a:lnTo>
                    <a:lnTo>
                      <a:pt x="34748" y="23923"/>
                    </a:lnTo>
                    <a:lnTo>
                      <a:pt x="35406" y="21590"/>
                    </a:lnTo>
                    <a:lnTo>
                      <a:pt x="35107" y="18959"/>
                    </a:lnTo>
                    <a:lnTo>
                      <a:pt x="33253" y="16208"/>
                    </a:lnTo>
                    <a:lnTo>
                      <a:pt x="30920" y="13516"/>
                    </a:lnTo>
                    <a:lnTo>
                      <a:pt x="27093" y="9569"/>
                    </a:lnTo>
                    <a:lnTo>
                      <a:pt x="24700" y="6758"/>
                    </a:lnTo>
                    <a:lnTo>
                      <a:pt x="23803" y="3708"/>
                    </a:lnTo>
                    <a:lnTo>
                      <a:pt x="23325" y="419"/>
                    </a:lnTo>
                    <a:lnTo>
                      <a:pt x="23086" y="0"/>
                    </a:lnTo>
                  </a:path>
                </a:pathLst>
              </a:custGeom>
              <a:noFill/>
              <a:ln w="6350" cap="rnd">
                <a:solidFill>
                  <a:schemeClr val="bg1">
                    <a:alpha val="80000"/>
                  </a:schemeClr>
                </a:solidFill>
                <a:prstDash val="solid"/>
                <a:round/>
              </a:ln>
            </p:spPr>
            <p:txBody>
              <a:bodyPr rtlCol="0" anchor="ctr"/>
              <a:lstStyle/>
              <a:p>
                <a:endParaRPr lang="en-GB"/>
              </a:p>
            </p:txBody>
          </p:sp>
          <p:sp>
            <p:nvSpPr>
              <p:cNvPr id="6524" name="Vrije vorm: vorm 6523">
                <a:extLst>
                  <a:ext uri="{FF2B5EF4-FFF2-40B4-BE49-F238E27FC236}">
                    <a16:creationId xmlns:a16="http://schemas.microsoft.com/office/drawing/2014/main" id="{92A28AD6-3654-45D5-9871-5CDC08EE7EA2}"/>
                  </a:ext>
                </a:extLst>
              </p:cNvPr>
              <p:cNvSpPr/>
              <p:nvPr/>
            </p:nvSpPr>
            <p:spPr>
              <a:xfrm>
                <a:off x="6751178" y="1981034"/>
                <a:ext cx="1734" cy="5801"/>
              </a:xfrm>
              <a:custGeom>
                <a:avLst/>
                <a:gdLst>
                  <a:gd name="connsiteX0" fmla="*/ 0 w 1734"/>
                  <a:gd name="connsiteY0" fmla="*/ 5801 h 5801"/>
                  <a:gd name="connsiteX1" fmla="*/ 1256 w 1734"/>
                  <a:gd name="connsiteY1" fmla="*/ 1136 h 5801"/>
                  <a:gd name="connsiteX2" fmla="*/ 1734 w 1734"/>
                  <a:gd name="connsiteY2" fmla="*/ 0 h 5801"/>
                </a:gdLst>
                <a:ahLst/>
                <a:cxnLst>
                  <a:cxn ang="0">
                    <a:pos x="connsiteX0" y="connsiteY0"/>
                  </a:cxn>
                  <a:cxn ang="0">
                    <a:pos x="connsiteX1" y="connsiteY1"/>
                  </a:cxn>
                  <a:cxn ang="0">
                    <a:pos x="connsiteX2" y="connsiteY2"/>
                  </a:cxn>
                </a:cxnLst>
                <a:rect l="l" t="t" r="r" b="b"/>
                <a:pathLst>
                  <a:path w="1734" h="5801">
                    <a:moveTo>
                      <a:pt x="0" y="5801"/>
                    </a:moveTo>
                    <a:lnTo>
                      <a:pt x="1256" y="1136"/>
                    </a:lnTo>
                    <a:lnTo>
                      <a:pt x="1734" y="0"/>
                    </a:lnTo>
                  </a:path>
                </a:pathLst>
              </a:custGeom>
              <a:noFill/>
              <a:ln w="6350" cap="rnd">
                <a:solidFill>
                  <a:schemeClr val="bg1">
                    <a:alpha val="80000"/>
                  </a:schemeClr>
                </a:solidFill>
                <a:prstDash val="solid"/>
                <a:round/>
              </a:ln>
            </p:spPr>
            <p:txBody>
              <a:bodyPr rtlCol="0" anchor="ctr"/>
              <a:lstStyle/>
              <a:p>
                <a:endParaRPr lang="en-GB"/>
              </a:p>
            </p:txBody>
          </p:sp>
          <p:sp>
            <p:nvSpPr>
              <p:cNvPr id="6525" name="Vrije vorm: vorm 6524">
                <a:extLst>
                  <a:ext uri="{FF2B5EF4-FFF2-40B4-BE49-F238E27FC236}">
                    <a16:creationId xmlns:a16="http://schemas.microsoft.com/office/drawing/2014/main" id="{9899B9AE-60A7-4A29-B1D1-7952C295FB5C}"/>
                  </a:ext>
                </a:extLst>
              </p:cNvPr>
              <p:cNvSpPr/>
              <p:nvPr/>
            </p:nvSpPr>
            <p:spPr>
              <a:xfrm>
                <a:off x="6653453" y="1900474"/>
                <a:ext cx="15250" cy="26016"/>
              </a:xfrm>
              <a:custGeom>
                <a:avLst/>
                <a:gdLst>
                  <a:gd name="connsiteX0" fmla="*/ 11124 w 15250"/>
                  <a:gd name="connsiteY0" fmla="*/ 26016 h 26016"/>
                  <a:gd name="connsiteX1" fmla="*/ 9928 w 15250"/>
                  <a:gd name="connsiteY1" fmla="*/ 24760 h 26016"/>
                  <a:gd name="connsiteX2" fmla="*/ 9629 w 15250"/>
                  <a:gd name="connsiteY2" fmla="*/ 24461 h 26016"/>
                  <a:gd name="connsiteX3" fmla="*/ 8074 w 15250"/>
                  <a:gd name="connsiteY3" fmla="*/ 22846 h 26016"/>
                  <a:gd name="connsiteX4" fmla="*/ 7476 w 15250"/>
                  <a:gd name="connsiteY4" fmla="*/ 22248 h 26016"/>
                  <a:gd name="connsiteX5" fmla="*/ 5382 w 15250"/>
                  <a:gd name="connsiteY5" fmla="*/ 20035 h 26016"/>
                  <a:gd name="connsiteX6" fmla="*/ 5143 w 15250"/>
                  <a:gd name="connsiteY6" fmla="*/ 19796 h 26016"/>
                  <a:gd name="connsiteX7" fmla="*/ 3469 w 15250"/>
                  <a:gd name="connsiteY7" fmla="*/ 18002 h 26016"/>
                  <a:gd name="connsiteX8" fmla="*/ 1854 w 15250"/>
                  <a:gd name="connsiteY8" fmla="*/ 15849 h 26016"/>
                  <a:gd name="connsiteX9" fmla="*/ 1316 w 15250"/>
                  <a:gd name="connsiteY9" fmla="*/ 15131 h 26016"/>
                  <a:gd name="connsiteX10" fmla="*/ 1017 w 15250"/>
                  <a:gd name="connsiteY10" fmla="*/ 14713 h 26016"/>
                  <a:gd name="connsiteX11" fmla="*/ 957 w 15250"/>
                  <a:gd name="connsiteY11" fmla="*/ 14593 h 26016"/>
                  <a:gd name="connsiteX12" fmla="*/ 0 w 15250"/>
                  <a:gd name="connsiteY12" fmla="*/ 10287 h 26016"/>
                  <a:gd name="connsiteX13" fmla="*/ 0 w 15250"/>
                  <a:gd name="connsiteY13" fmla="*/ 10287 h 26016"/>
                  <a:gd name="connsiteX14" fmla="*/ 0 w 15250"/>
                  <a:gd name="connsiteY14" fmla="*/ 10227 h 26016"/>
                  <a:gd name="connsiteX15" fmla="*/ 777 w 15250"/>
                  <a:gd name="connsiteY15" fmla="*/ 9210 h 26016"/>
                  <a:gd name="connsiteX16" fmla="*/ 4246 w 15250"/>
                  <a:gd name="connsiteY16" fmla="*/ 4426 h 26016"/>
                  <a:gd name="connsiteX17" fmla="*/ 9748 w 15250"/>
                  <a:gd name="connsiteY17" fmla="*/ 60 h 26016"/>
                  <a:gd name="connsiteX18" fmla="*/ 9808 w 15250"/>
                  <a:gd name="connsiteY18" fmla="*/ 0 h 26016"/>
                  <a:gd name="connsiteX19" fmla="*/ 9928 w 15250"/>
                  <a:gd name="connsiteY19" fmla="*/ 60 h 26016"/>
                  <a:gd name="connsiteX20" fmla="*/ 12679 w 15250"/>
                  <a:gd name="connsiteY20" fmla="*/ 957 h 26016"/>
                  <a:gd name="connsiteX21" fmla="*/ 14473 w 15250"/>
                  <a:gd name="connsiteY21" fmla="*/ 3349 h 26016"/>
                  <a:gd name="connsiteX22" fmla="*/ 14832 w 15250"/>
                  <a:gd name="connsiteY22" fmla="*/ 3828 h 26016"/>
                  <a:gd name="connsiteX23" fmla="*/ 14892 w 15250"/>
                  <a:gd name="connsiteY23" fmla="*/ 3888 h 26016"/>
                  <a:gd name="connsiteX24" fmla="*/ 15011 w 15250"/>
                  <a:gd name="connsiteY24" fmla="*/ 4067 h 26016"/>
                  <a:gd name="connsiteX25" fmla="*/ 15251 w 15250"/>
                  <a:gd name="connsiteY25" fmla="*/ 4426 h 26016"/>
                  <a:gd name="connsiteX26" fmla="*/ 15191 w 15250"/>
                  <a:gd name="connsiteY26" fmla="*/ 4486 h 26016"/>
                  <a:gd name="connsiteX27" fmla="*/ 15131 w 15250"/>
                  <a:gd name="connsiteY27" fmla="*/ 4545 h 26016"/>
                  <a:gd name="connsiteX28" fmla="*/ 14533 w 15250"/>
                  <a:gd name="connsiteY28" fmla="*/ 5084 h 26016"/>
                  <a:gd name="connsiteX29" fmla="*/ 11483 w 15250"/>
                  <a:gd name="connsiteY29" fmla="*/ 7715 h 26016"/>
                  <a:gd name="connsiteX30" fmla="*/ 11363 w 15250"/>
                  <a:gd name="connsiteY30" fmla="*/ 8134 h 26016"/>
                  <a:gd name="connsiteX31" fmla="*/ 11243 w 15250"/>
                  <a:gd name="connsiteY31" fmla="*/ 8612 h 26016"/>
                  <a:gd name="connsiteX32" fmla="*/ 10466 w 15250"/>
                  <a:gd name="connsiteY32" fmla="*/ 11722 h 26016"/>
                  <a:gd name="connsiteX33" fmla="*/ 10466 w 15250"/>
                  <a:gd name="connsiteY33" fmla="*/ 11722 h 26016"/>
                  <a:gd name="connsiteX34" fmla="*/ 10406 w 15250"/>
                  <a:gd name="connsiteY34" fmla="*/ 12081 h 2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250" h="26016">
                    <a:moveTo>
                      <a:pt x="11124" y="26016"/>
                    </a:moveTo>
                    <a:lnTo>
                      <a:pt x="9928" y="24760"/>
                    </a:lnTo>
                    <a:lnTo>
                      <a:pt x="9629" y="24461"/>
                    </a:lnTo>
                    <a:lnTo>
                      <a:pt x="8074" y="22846"/>
                    </a:lnTo>
                    <a:lnTo>
                      <a:pt x="7476" y="22248"/>
                    </a:lnTo>
                    <a:lnTo>
                      <a:pt x="5382" y="20035"/>
                    </a:lnTo>
                    <a:lnTo>
                      <a:pt x="5143" y="19796"/>
                    </a:lnTo>
                    <a:lnTo>
                      <a:pt x="3469" y="18002"/>
                    </a:lnTo>
                    <a:lnTo>
                      <a:pt x="1854" y="15849"/>
                    </a:lnTo>
                    <a:lnTo>
                      <a:pt x="1316" y="15131"/>
                    </a:lnTo>
                    <a:lnTo>
                      <a:pt x="1017" y="14713"/>
                    </a:lnTo>
                    <a:lnTo>
                      <a:pt x="957" y="14593"/>
                    </a:lnTo>
                    <a:lnTo>
                      <a:pt x="0" y="10287"/>
                    </a:lnTo>
                    <a:lnTo>
                      <a:pt x="0" y="10287"/>
                    </a:lnTo>
                    <a:lnTo>
                      <a:pt x="0" y="10227"/>
                    </a:lnTo>
                    <a:lnTo>
                      <a:pt x="777" y="9210"/>
                    </a:lnTo>
                    <a:lnTo>
                      <a:pt x="4246" y="4426"/>
                    </a:lnTo>
                    <a:lnTo>
                      <a:pt x="9748" y="60"/>
                    </a:lnTo>
                    <a:lnTo>
                      <a:pt x="9808" y="0"/>
                    </a:lnTo>
                    <a:lnTo>
                      <a:pt x="9928" y="60"/>
                    </a:lnTo>
                    <a:lnTo>
                      <a:pt x="12679" y="957"/>
                    </a:lnTo>
                    <a:lnTo>
                      <a:pt x="14473" y="3349"/>
                    </a:lnTo>
                    <a:lnTo>
                      <a:pt x="14832" y="3828"/>
                    </a:lnTo>
                    <a:lnTo>
                      <a:pt x="14892" y="3888"/>
                    </a:lnTo>
                    <a:lnTo>
                      <a:pt x="15011" y="4067"/>
                    </a:lnTo>
                    <a:lnTo>
                      <a:pt x="15251" y="4426"/>
                    </a:lnTo>
                    <a:lnTo>
                      <a:pt x="15191" y="4486"/>
                    </a:lnTo>
                    <a:lnTo>
                      <a:pt x="15131" y="4545"/>
                    </a:lnTo>
                    <a:lnTo>
                      <a:pt x="14533" y="5084"/>
                    </a:lnTo>
                    <a:lnTo>
                      <a:pt x="11483" y="7715"/>
                    </a:lnTo>
                    <a:lnTo>
                      <a:pt x="11363" y="8134"/>
                    </a:lnTo>
                    <a:lnTo>
                      <a:pt x="11243" y="8612"/>
                    </a:lnTo>
                    <a:lnTo>
                      <a:pt x="10466" y="11722"/>
                    </a:lnTo>
                    <a:lnTo>
                      <a:pt x="10466" y="11722"/>
                    </a:lnTo>
                    <a:lnTo>
                      <a:pt x="10406" y="12081"/>
                    </a:lnTo>
                  </a:path>
                </a:pathLst>
              </a:custGeom>
              <a:noFill/>
              <a:ln w="6350" cap="rnd">
                <a:solidFill>
                  <a:schemeClr val="bg1">
                    <a:alpha val="80000"/>
                  </a:schemeClr>
                </a:solidFill>
                <a:prstDash val="solid"/>
                <a:round/>
              </a:ln>
            </p:spPr>
            <p:txBody>
              <a:bodyPr rtlCol="0" anchor="ctr"/>
              <a:lstStyle/>
              <a:p>
                <a:endParaRPr lang="en-GB"/>
              </a:p>
            </p:txBody>
          </p:sp>
          <p:sp>
            <p:nvSpPr>
              <p:cNvPr id="6526" name="Vrije vorm: vorm 6525">
                <a:extLst>
                  <a:ext uri="{FF2B5EF4-FFF2-40B4-BE49-F238E27FC236}">
                    <a16:creationId xmlns:a16="http://schemas.microsoft.com/office/drawing/2014/main" id="{2095E09D-CD80-4D0D-A19B-4423CEAB772A}"/>
                  </a:ext>
                </a:extLst>
              </p:cNvPr>
              <p:cNvSpPr/>
              <p:nvPr/>
            </p:nvSpPr>
            <p:spPr>
              <a:xfrm>
                <a:off x="6862898" y="1733612"/>
                <a:ext cx="44974" cy="41685"/>
              </a:xfrm>
              <a:custGeom>
                <a:avLst/>
                <a:gdLst>
                  <a:gd name="connsiteX0" fmla="*/ 0 w 44974"/>
                  <a:gd name="connsiteY0" fmla="*/ 41686 h 41685"/>
                  <a:gd name="connsiteX1" fmla="*/ 8971 w 44974"/>
                  <a:gd name="connsiteY1" fmla="*/ 31040 h 41685"/>
                  <a:gd name="connsiteX2" fmla="*/ 21052 w 44974"/>
                  <a:gd name="connsiteY2" fmla="*/ 18600 h 41685"/>
                  <a:gd name="connsiteX3" fmla="*/ 30800 w 44974"/>
                  <a:gd name="connsiteY3" fmla="*/ 9390 h 41685"/>
                  <a:gd name="connsiteX4" fmla="*/ 39831 w 44974"/>
                  <a:gd name="connsiteY4" fmla="*/ 1734 h 41685"/>
                  <a:gd name="connsiteX5" fmla="*/ 42463 w 44974"/>
                  <a:gd name="connsiteY5" fmla="*/ 299 h 41685"/>
                  <a:gd name="connsiteX6" fmla="*/ 43181 w 44974"/>
                  <a:gd name="connsiteY6" fmla="*/ 0 h 41685"/>
                  <a:gd name="connsiteX7" fmla="*/ 44974 w 44974"/>
                  <a:gd name="connsiteY7" fmla="*/ 0 h 4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74" h="41685">
                    <a:moveTo>
                      <a:pt x="0" y="41686"/>
                    </a:moveTo>
                    <a:lnTo>
                      <a:pt x="8971" y="31040"/>
                    </a:lnTo>
                    <a:lnTo>
                      <a:pt x="21052" y="18600"/>
                    </a:lnTo>
                    <a:lnTo>
                      <a:pt x="30800" y="9390"/>
                    </a:lnTo>
                    <a:lnTo>
                      <a:pt x="39831" y="1734"/>
                    </a:lnTo>
                    <a:lnTo>
                      <a:pt x="42463" y="299"/>
                    </a:lnTo>
                    <a:lnTo>
                      <a:pt x="43181" y="0"/>
                    </a:lnTo>
                    <a:lnTo>
                      <a:pt x="44974" y="0"/>
                    </a:lnTo>
                  </a:path>
                </a:pathLst>
              </a:custGeom>
              <a:noFill/>
              <a:ln w="6350" cap="rnd">
                <a:solidFill>
                  <a:schemeClr val="bg1">
                    <a:alpha val="80000"/>
                  </a:schemeClr>
                </a:solidFill>
                <a:prstDash val="solid"/>
                <a:round/>
              </a:ln>
            </p:spPr>
            <p:txBody>
              <a:bodyPr rtlCol="0" anchor="ctr"/>
              <a:lstStyle/>
              <a:p>
                <a:endParaRPr lang="en-GB"/>
              </a:p>
            </p:txBody>
          </p:sp>
          <p:sp>
            <p:nvSpPr>
              <p:cNvPr id="6527" name="Vrije vorm: vorm 6526">
                <a:extLst>
                  <a:ext uri="{FF2B5EF4-FFF2-40B4-BE49-F238E27FC236}">
                    <a16:creationId xmlns:a16="http://schemas.microsoft.com/office/drawing/2014/main" id="{CD61AC25-3F3A-40C2-817A-DB063B65867F}"/>
                  </a:ext>
                </a:extLst>
              </p:cNvPr>
              <p:cNvSpPr/>
              <p:nvPr/>
            </p:nvSpPr>
            <p:spPr>
              <a:xfrm>
                <a:off x="6735927" y="1937435"/>
                <a:ext cx="4664" cy="5861"/>
              </a:xfrm>
              <a:custGeom>
                <a:avLst/>
                <a:gdLst>
                  <a:gd name="connsiteX0" fmla="*/ 3469 w 4664"/>
                  <a:gd name="connsiteY0" fmla="*/ 0 h 5861"/>
                  <a:gd name="connsiteX1" fmla="*/ 4665 w 4664"/>
                  <a:gd name="connsiteY1" fmla="*/ 1734 h 5861"/>
                  <a:gd name="connsiteX2" fmla="*/ 2512 w 4664"/>
                  <a:gd name="connsiteY2" fmla="*/ 5383 h 5861"/>
                  <a:gd name="connsiteX3" fmla="*/ 2392 w 4664"/>
                  <a:gd name="connsiteY3" fmla="*/ 5383 h 5861"/>
                  <a:gd name="connsiteX4" fmla="*/ 0 w 4664"/>
                  <a:gd name="connsiteY4" fmla="*/ 5861 h 5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4" h="5861">
                    <a:moveTo>
                      <a:pt x="3469" y="0"/>
                    </a:moveTo>
                    <a:lnTo>
                      <a:pt x="4665" y="1734"/>
                    </a:lnTo>
                    <a:lnTo>
                      <a:pt x="2512" y="5383"/>
                    </a:lnTo>
                    <a:lnTo>
                      <a:pt x="2392" y="5383"/>
                    </a:lnTo>
                    <a:lnTo>
                      <a:pt x="0" y="5861"/>
                    </a:lnTo>
                  </a:path>
                </a:pathLst>
              </a:custGeom>
              <a:noFill/>
              <a:ln w="6350" cap="rnd">
                <a:solidFill>
                  <a:schemeClr val="bg1">
                    <a:alpha val="80000"/>
                  </a:schemeClr>
                </a:solidFill>
                <a:prstDash val="solid"/>
                <a:round/>
              </a:ln>
            </p:spPr>
            <p:txBody>
              <a:bodyPr rtlCol="0" anchor="ctr"/>
              <a:lstStyle/>
              <a:p>
                <a:endParaRPr lang="en-GB"/>
              </a:p>
            </p:txBody>
          </p:sp>
          <p:sp>
            <p:nvSpPr>
              <p:cNvPr id="6528" name="Vrije vorm: vorm 6527">
                <a:extLst>
                  <a:ext uri="{FF2B5EF4-FFF2-40B4-BE49-F238E27FC236}">
                    <a16:creationId xmlns:a16="http://schemas.microsoft.com/office/drawing/2014/main" id="{EEB5F6AB-F05C-44A2-ADD5-4CF34FD851E0}"/>
                  </a:ext>
                </a:extLst>
              </p:cNvPr>
              <p:cNvSpPr/>
              <p:nvPr/>
            </p:nvSpPr>
            <p:spPr>
              <a:xfrm>
                <a:off x="6983948" y="1878405"/>
                <a:ext cx="26255" cy="42881"/>
              </a:xfrm>
              <a:custGeom>
                <a:avLst/>
                <a:gdLst>
                  <a:gd name="connsiteX0" fmla="*/ 26255 w 26255"/>
                  <a:gd name="connsiteY0" fmla="*/ 0 h 42881"/>
                  <a:gd name="connsiteX1" fmla="*/ 26016 w 26255"/>
                  <a:gd name="connsiteY1" fmla="*/ 419 h 42881"/>
                  <a:gd name="connsiteX2" fmla="*/ 25956 w 26255"/>
                  <a:gd name="connsiteY2" fmla="*/ 538 h 42881"/>
                  <a:gd name="connsiteX3" fmla="*/ 25956 w 26255"/>
                  <a:gd name="connsiteY3" fmla="*/ 598 h 42881"/>
                  <a:gd name="connsiteX4" fmla="*/ 25896 w 26255"/>
                  <a:gd name="connsiteY4" fmla="*/ 718 h 42881"/>
                  <a:gd name="connsiteX5" fmla="*/ 25478 w 26255"/>
                  <a:gd name="connsiteY5" fmla="*/ 1495 h 42881"/>
                  <a:gd name="connsiteX6" fmla="*/ 25238 w 26255"/>
                  <a:gd name="connsiteY6" fmla="*/ 1854 h 42881"/>
                  <a:gd name="connsiteX7" fmla="*/ 25119 w 26255"/>
                  <a:gd name="connsiteY7" fmla="*/ 2093 h 42881"/>
                  <a:gd name="connsiteX8" fmla="*/ 25059 w 26255"/>
                  <a:gd name="connsiteY8" fmla="*/ 2213 h 42881"/>
                  <a:gd name="connsiteX9" fmla="*/ 24819 w 26255"/>
                  <a:gd name="connsiteY9" fmla="*/ 2632 h 42881"/>
                  <a:gd name="connsiteX10" fmla="*/ 24401 w 26255"/>
                  <a:gd name="connsiteY10" fmla="*/ 3349 h 42881"/>
                  <a:gd name="connsiteX11" fmla="*/ 22308 w 26255"/>
                  <a:gd name="connsiteY11" fmla="*/ 6998 h 42881"/>
                  <a:gd name="connsiteX12" fmla="*/ 21710 w 26255"/>
                  <a:gd name="connsiteY12" fmla="*/ 8074 h 42881"/>
                  <a:gd name="connsiteX13" fmla="*/ 21052 w 26255"/>
                  <a:gd name="connsiteY13" fmla="*/ 9210 h 42881"/>
                  <a:gd name="connsiteX14" fmla="*/ 19497 w 26255"/>
                  <a:gd name="connsiteY14" fmla="*/ 11842 h 42881"/>
                  <a:gd name="connsiteX15" fmla="*/ 17463 w 26255"/>
                  <a:gd name="connsiteY15" fmla="*/ 15311 h 42881"/>
                  <a:gd name="connsiteX16" fmla="*/ 11363 w 26255"/>
                  <a:gd name="connsiteY16" fmla="*/ 24760 h 42881"/>
                  <a:gd name="connsiteX17" fmla="*/ 11363 w 26255"/>
                  <a:gd name="connsiteY17" fmla="*/ 24760 h 42881"/>
                  <a:gd name="connsiteX18" fmla="*/ 9868 w 26255"/>
                  <a:gd name="connsiteY18" fmla="*/ 27153 h 42881"/>
                  <a:gd name="connsiteX19" fmla="*/ 9569 w 26255"/>
                  <a:gd name="connsiteY19" fmla="*/ 27571 h 42881"/>
                  <a:gd name="connsiteX20" fmla="*/ 8552 w 26255"/>
                  <a:gd name="connsiteY20" fmla="*/ 29186 h 42881"/>
                  <a:gd name="connsiteX21" fmla="*/ 7655 w 26255"/>
                  <a:gd name="connsiteY21" fmla="*/ 30621 h 42881"/>
                  <a:gd name="connsiteX22" fmla="*/ 7655 w 26255"/>
                  <a:gd name="connsiteY22" fmla="*/ 30621 h 42881"/>
                  <a:gd name="connsiteX23" fmla="*/ 7296 w 26255"/>
                  <a:gd name="connsiteY23" fmla="*/ 31160 h 42881"/>
                  <a:gd name="connsiteX24" fmla="*/ 7296 w 26255"/>
                  <a:gd name="connsiteY24" fmla="*/ 31219 h 42881"/>
                  <a:gd name="connsiteX25" fmla="*/ 6818 w 26255"/>
                  <a:gd name="connsiteY25" fmla="*/ 31997 h 42881"/>
                  <a:gd name="connsiteX26" fmla="*/ 6818 w 26255"/>
                  <a:gd name="connsiteY26" fmla="*/ 31997 h 42881"/>
                  <a:gd name="connsiteX27" fmla="*/ 3947 w 26255"/>
                  <a:gd name="connsiteY27" fmla="*/ 36482 h 42881"/>
                  <a:gd name="connsiteX28" fmla="*/ 3110 w 26255"/>
                  <a:gd name="connsiteY28" fmla="*/ 37858 h 42881"/>
                  <a:gd name="connsiteX29" fmla="*/ 2333 w 26255"/>
                  <a:gd name="connsiteY29" fmla="*/ 39174 h 42881"/>
                  <a:gd name="connsiteX30" fmla="*/ 2273 w 26255"/>
                  <a:gd name="connsiteY30" fmla="*/ 39234 h 42881"/>
                  <a:gd name="connsiteX31" fmla="*/ 2153 w 26255"/>
                  <a:gd name="connsiteY31" fmla="*/ 39353 h 42881"/>
                  <a:gd name="connsiteX32" fmla="*/ 2093 w 26255"/>
                  <a:gd name="connsiteY32" fmla="*/ 39413 h 42881"/>
                  <a:gd name="connsiteX33" fmla="*/ 1854 w 26255"/>
                  <a:gd name="connsiteY33" fmla="*/ 39772 h 42881"/>
                  <a:gd name="connsiteX34" fmla="*/ 1435 w 26255"/>
                  <a:gd name="connsiteY34" fmla="*/ 40490 h 42881"/>
                  <a:gd name="connsiteX35" fmla="*/ 0 w 26255"/>
                  <a:gd name="connsiteY35" fmla="*/ 42882 h 4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255" h="42881">
                    <a:moveTo>
                      <a:pt x="26255" y="0"/>
                    </a:moveTo>
                    <a:lnTo>
                      <a:pt x="26016" y="419"/>
                    </a:lnTo>
                    <a:lnTo>
                      <a:pt x="25956" y="538"/>
                    </a:lnTo>
                    <a:lnTo>
                      <a:pt x="25956" y="598"/>
                    </a:lnTo>
                    <a:lnTo>
                      <a:pt x="25896" y="718"/>
                    </a:lnTo>
                    <a:lnTo>
                      <a:pt x="25478" y="1495"/>
                    </a:lnTo>
                    <a:lnTo>
                      <a:pt x="25238" y="1854"/>
                    </a:lnTo>
                    <a:lnTo>
                      <a:pt x="25119" y="2093"/>
                    </a:lnTo>
                    <a:lnTo>
                      <a:pt x="25059" y="2213"/>
                    </a:lnTo>
                    <a:lnTo>
                      <a:pt x="24819" y="2632"/>
                    </a:lnTo>
                    <a:lnTo>
                      <a:pt x="24401" y="3349"/>
                    </a:lnTo>
                    <a:lnTo>
                      <a:pt x="22308" y="6998"/>
                    </a:lnTo>
                    <a:lnTo>
                      <a:pt x="21710" y="8074"/>
                    </a:lnTo>
                    <a:lnTo>
                      <a:pt x="21052" y="9210"/>
                    </a:lnTo>
                    <a:lnTo>
                      <a:pt x="19497" y="11842"/>
                    </a:lnTo>
                    <a:lnTo>
                      <a:pt x="17463" y="15311"/>
                    </a:lnTo>
                    <a:lnTo>
                      <a:pt x="11363" y="24760"/>
                    </a:lnTo>
                    <a:lnTo>
                      <a:pt x="11363" y="24760"/>
                    </a:lnTo>
                    <a:lnTo>
                      <a:pt x="9868" y="27153"/>
                    </a:lnTo>
                    <a:lnTo>
                      <a:pt x="9569" y="27571"/>
                    </a:lnTo>
                    <a:lnTo>
                      <a:pt x="8552" y="29186"/>
                    </a:lnTo>
                    <a:lnTo>
                      <a:pt x="7655" y="30621"/>
                    </a:lnTo>
                    <a:lnTo>
                      <a:pt x="7655" y="30621"/>
                    </a:lnTo>
                    <a:lnTo>
                      <a:pt x="7296" y="31160"/>
                    </a:lnTo>
                    <a:lnTo>
                      <a:pt x="7296" y="31219"/>
                    </a:lnTo>
                    <a:lnTo>
                      <a:pt x="6818" y="31997"/>
                    </a:lnTo>
                    <a:lnTo>
                      <a:pt x="6818" y="31997"/>
                    </a:lnTo>
                    <a:lnTo>
                      <a:pt x="3947" y="36482"/>
                    </a:lnTo>
                    <a:lnTo>
                      <a:pt x="3110" y="37858"/>
                    </a:lnTo>
                    <a:lnTo>
                      <a:pt x="2333" y="39174"/>
                    </a:lnTo>
                    <a:lnTo>
                      <a:pt x="2273" y="39234"/>
                    </a:lnTo>
                    <a:lnTo>
                      <a:pt x="2153" y="39353"/>
                    </a:lnTo>
                    <a:lnTo>
                      <a:pt x="2093" y="39413"/>
                    </a:lnTo>
                    <a:lnTo>
                      <a:pt x="1854" y="39772"/>
                    </a:lnTo>
                    <a:lnTo>
                      <a:pt x="1435" y="40490"/>
                    </a:lnTo>
                    <a:lnTo>
                      <a:pt x="0" y="42882"/>
                    </a:lnTo>
                  </a:path>
                </a:pathLst>
              </a:custGeom>
              <a:noFill/>
              <a:ln w="6350" cap="rnd">
                <a:solidFill>
                  <a:schemeClr val="bg1">
                    <a:alpha val="80000"/>
                  </a:schemeClr>
                </a:solidFill>
                <a:prstDash val="solid"/>
                <a:round/>
              </a:ln>
            </p:spPr>
            <p:txBody>
              <a:bodyPr rtlCol="0" anchor="ctr"/>
              <a:lstStyle/>
              <a:p>
                <a:endParaRPr lang="en-GB"/>
              </a:p>
            </p:txBody>
          </p:sp>
          <p:sp>
            <p:nvSpPr>
              <p:cNvPr id="6529" name="Vrije vorm: vorm 6528">
                <a:extLst>
                  <a:ext uri="{FF2B5EF4-FFF2-40B4-BE49-F238E27FC236}">
                    <a16:creationId xmlns:a16="http://schemas.microsoft.com/office/drawing/2014/main" id="{6255858B-1FA1-41B9-97AA-26B3FB6F68AA}"/>
                  </a:ext>
                </a:extLst>
              </p:cNvPr>
              <p:cNvSpPr/>
              <p:nvPr/>
            </p:nvSpPr>
            <p:spPr>
              <a:xfrm>
                <a:off x="6666371" y="1900534"/>
                <a:ext cx="2451" cy="3887"/>
              </a:xfrm>
              <a:custGeom>
                <a:avLst/>
                <a:gdLst>
                  <a:gd name="connsiteX0" fmla="*/ 0 w 2451"/>
                  <a:gd name="connsiteY0" fmla="*/ 0 h 3887"/>
                  <a:gd name="connsiteX1" fmla="*/ 897 w 2451"/>
                  <a:gd name="connsiteY1" fmla="*/ 60 h 3887"/>
                  <a:gd name="connsiteX2" fmla="*/ 2153 w 2451"/>
                  <a:gd name="connsiteY2" fmla="*/ 2751 h 3887"/>
                  <a:gd name="connsiteX3" fmla="*/ 2273 w 2451"/>
                  <a:gd name="connsiteY3" fmla="*/ 2990 h 3887"/>
                  <a:gd name="connsiteX4" fmla="*/ 2452 w 2451"/>
                  <a:gd name="connsiteY4" fmla="*/ 3349 h 3887"/>
                  <a:gd name="connsiteX5" fmla="*/ 2153 w 2451"/>
                  <a:gd name="connsiteY5" fmla="*/ 3887 h 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1" h="3887">
                    <a:moveTo>
                      <a:pt x="0" y="0"/>
                    </a:moveTo>
                    <a:lnTo>
                      <a:pt x="897" y="60"/>
                    </a:lnTo>
                    <a:lnTo>
                      <a:pt x="2153" y="2751"/>
                    </a:lnTo>
                    <a:lnTo>
                      <a:pt x="2273" y="2990"/>
                    </a:lnTo>
                    <a:lnTo>
                      <a:pt x="2452" y="3349"/>
                    </a:lnTo>
                    <a:lnTo>
                      <a:pt x="2153" y="3887"/>
                    </a:lnTo>
                  </a:path>
                </a:pathLst>
              </a:custGeom>
              <a:noFill/>
              <a:ln w="6350" cap="rnd">
                <a:solidFill>
                  <a:schemeClr val="bg1">
                    <a:alpha val="80000"/>
                  </a:schemeClr>
                </a:solidFill>
                <a:prstDash val="solid"/>
                <a:round/>
              </a:ln>
            </p:spPr>
            <p:txBody>
              <a:bodyPr rtlCol="0" anchor="ctr"/>
              <a:lstStyle/>
              <a:p>
                <a:endParaRPr lang="en-GB"/>
              </a:p>
            </p:txBody>
          </p:sp>
          <p:sp>
            <p:nvSpPr>
              <p:cNvPr id="6530" name="Vrije vorm: vorm 6529">
                <a:extLst>
                  <a:ext uri="{FF2B5EF4-FFF2-40B4-BE49-F238E27FC236}">
                    <a16:creationId xmlns:a16="http://schemas.microsoft.com/office/drawing/2014/main" id="{38B961BA-A0CA-4E38-85CF-0B2EB3603C9B}"/>
                  </a:ext>
                </a:extLst>
              </p:cNvPr>
              <p:cNvSpPr/>
              <p:nvPr/>
            </p:nvSpPr>
            <p:spPr>
              <a:xfrm>
                <a:off x="7088012" y="1801254"/>
                <a:ext cx="8911" cy="12260"/>
              </a:xfrm>
              <a:custGeom>
                <a:avLst/>
                <a:gdLst>
                  <a:gd name="connsiteX0" fmla="*/ 0 w 8911"/>
                  <a:gd name="connsiteY0" fmla="*/ 0 h 12260"/>
                  <a:gd name="connsiteX1" fmla="*/ 5204 w 8911"/>
                  <a:gd name="connsiteY1" fmla="*/ 5801 h 12260"/>
                  <a:gd name="connsiteX2" fmla="*/ 6041 w 8911"/>
                  <a:gd name="connsiteY2" fmla="*/ 7057 h 12260"/>
                  <a:gd name="connsiteX3" fmla="*/ 8912 w 8911"/>
                  <a:gd name="connsiteY3" fmla="*/ 11543 h 12260"/>
                  <a:gd name="connsiteX4" fmla="*/ 8493 w 8911"/>
                  <a:gd name="connsiteY4" fmla="*/ 12260 h 1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1" h="12260">
                    <a:moveTo>
                      <a:pt x="0" y="0"/>
                    </a:moveTo>
                    <a:lnTo>
                      <a:pt x="5204" y="5801"/>
                    </a:lnTo>
                    <a:lnTo>
                      <a:pt x="6041" y="7057"/>
                    </a:lnTo>
                    <a:lnTo>
                      <a:pt x="8912" y="11543"/>
                    </a:lnTo>
                    <a:lnTo>
                      <a:pt x="8493" y="12260"/>
                    </a:lnTo>
                  </a:path>
                </a:pathLst>
              </a:custGeom>
              <a:noFill/>
              <a:ln w="6350" cap="rnd">
                <a:solidFill>
                  <a:schemeClr val="bg1">
                    <a:alpha val="80000"/>
                  </a:schemeClr>
                </a:solidFill>
                <a:prstDash val="solid"/>
                <a:round/>
              </a:ln>
            </p:spPr>
            <p:txBody>
              <a:bodyPr rtlCol="0" anchor="ctr"/>
              <a:lstStyle/>
              <a:p>
                <a:endParaRPr lang="en-GB"/>
              </a:p>
            </p:txBody>
          </p:sp>
          <p:sp>
            <p:nvSpPr>
              <p:cNvPr id="6531" name="Vrije vorm: vorm 6530">
                <a:extLst>
                  <a:ext uri="{FF2B5EF4-FFF2-40B4-BE49-F238E27FC236}">
                    <a16:creationId xmlns:a16="http://schemas.microsoft.com/office/drawing/2014/main" id="{2B6FDE7E-8F96-47CF-AB30-EC476197EFA7}"/>
                  </a:ext>
                </a:extLst>
              </p:cNvPr>
              <p:cNvSpPr/>
              <p:nvPr/>
            </p:nvSpPr>
            <p:spPr>
              <a:xfrm>
                <a:off x="6917561" y="1713517"/>
                <a:ext cx="15310" cy="4485"/>
              </a:xfrm>
              <a:custGeom>
                <a:avLst/>
                <a:gdLst>
                  <a:gd name="connsiteX0" fmla="*/ 15311 w 15310"/>
                  <a:gd name="connsiteY0" fmla="*/ 0 h 4485"/>
                  <a:gd name="connsiteX1" fmla="*/ 12739 w 15310"/>
                  <a:gd name="connsiteY1" fmla="*/ 1196 h 4485"/>
                  <a:gd name="connsiteX2" fmla="*/ 12500 w 15310"/>
                  <a:gd name="connsiteY2" fmla="*/ 1316 h 4485"/>
                  <a:gd name="connsiteX3" fmla="*/ 8971 w 15310"/>
                  <a:gd name="connsiteY3" fmla="*/ 2990 h 4485"/>
                  <a:gd name="connsiteX4" fmla="*/ 8792 w 15310"/>
                  <a:gd name="connsiteY4" fmla="*/ 3050 h 4485"/>
                  <a:gd name="connsiteX5" fmla="*/ 8373 w 15310"/>
                  <a:gd name="connsiteY5" fmla="*/ 3230 h 4485"/>
                  <a:gd name="connsiteX6" fmla="*/ 8194 w 15310"/>
                  <a:gd name="connsiteY6" fmla="*/ 3289 h 4485"/>
                  <a:gd name="connsiteX7" fmla="*/ 7237 w 15310"/>
                  <a:gd name="connsiteY7" fmla="*/ 3708 h 4485"/>
                  <a:gd name="connsiteX8" fmla="*/ 5622 w 15310"/>
                  <a:gd name="connsiteY8" fmla="*/ 4486 h 4485"/>
                  <a:gd name="connsiteX9" fmla="*/ 0 w 15310"/>
                  <a:gd name="connsiteY9" fmla="*/ 2512 h 4485"/>
                  <a:gd name="connsiteX10" fmla="*/ 897 w 15310"/>
                  <a:gd name="connsiteY10" fmla="*/ 359 h 4485"/>
                  <a:gd name="connsiteX11" fmla="*/ 1615 w 15310"/>
                  <a:gd name="connsiteY11" fmla="*/ 0 h 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310" h="4485">
                    <a:moveTo>
                      <a:pt x="15311" y="0"/>
                    </a:moveTo>
                    <a:lnTo>
                      <a:pt x="12739" y="1196"/>
                    </a:lnTo>
                    <a:lnTo>
                      <a:pt x="12500" y="1316"/>
                    </a:lnTo>
                    <a:lnTo>
                      <a:pt x="8971" y="2990"/>
                    </a:lnTo>
                    <a:lnTo>
                      <a:pt x="8792" y="3050"/>
                    </a:lnTo>
                    <a:lnTo>
                      <a:pt x="8373" y="3230"/>
                    </a:lnTo>
                    <a:lnTo>
                      <a:pt x="8194" y="3289"/>
                    </a:lnTo>
                    <a:lnTo>
                      <a:pt x="7237" y="3708"/>
                    </a:lnTo>
                    <a:lnTo>
                      <a:pt x="5622" y="4486"/>
                    </a:lnTo>
                    <a:lnTo>
                      <a:pt x="0" y="2512"/>
                    </a:lnTo>
                    <a:lnTo>
                      <a:pt x="897" y="359"/>
                    </a:lnTo>
                    <a:lnTo>
                      <a:pt x="1615" y="0"/>
                    </a:lnTo>
                  </a:path>
                </a:pathLst>
              </a:custGeom>
              <a:noFill/>
              <a:ln w="6350" cap="rnd">
                <a:solidFill>
                  <a:schemeClr val="bg1">
                    <a:alpha val="80000"/>
                  </a:schemeClr>
                </a:solidFill>
                <a:prstDash val="solid"/>
                <a:round/>
              </a:ln>
            </p:spPr>
            <p:txBody>
              <a:bodyPr rtlCol="0" anchor="ctr"/>
              <a:lstStyle/>
              <a:p>
                <a:endParaRPr lang="en-GB"/>
              </a:p>
            </p:txBody>
          </p:sp>
          <p:sp>
            <p:nvSpPr>
              <p:cNvPr id="6532" name="Vrije vorm: vorm 6531">
                <a:extLst>
                  <a:ext uri="{FF2B5EF4-FFF2-40B4-BE49-F238E27FC236}">
                    <a16:creationId xmlns:a16="http://schemas.microsoft.com/office/drawing/2014/main" id="{5C1BDCB0-97BC-469E-8ED3-8C6797521133}"/>
                  </a:ext>
                </a:extLst>
              </p:cNvPr>
              <p:cNvSpPr/>
              <p:nvPr/>
            </p:nvSpPr>
            <p:spPr>
              <a:xfrm>
                <a:off x="6919116" y="1713517"/>
                <a:ext cx="7117" cy="657"/>
              </a:xfrm>
              <a:custGeom>
                <a:avLst/>
                <a:gdLst>
                  <a:gd name="connsiteX0" fmla="*/ 7117 w 7117"/>
                  <a:gd name="connsiteY0" fmla="*/ 538 h 657"/>
                  <a:gd name="connsiteX1" fmla="*/ 6998 w 7117"/>
                  <a:gd name="connsiteY1" fmla="*/ 538 h 657"/>
                  <a:gd name="connsiteX2" fmla="*/ 0 w 7117"/>
                  <a:gd name="connsiteY2" fmla="*/ 0 h 657"/>
                  <a:gd name="connsiteX3" fmla="*/ 6818 w 7117"/>
                  <a:gd name="connsiteY3" fmla="*/ 658 h 657"/>
                </a:gdLst>
                <a:ahLst/>
                <a:cxnLst>
                  <a:cxn ang="0">
                    <a:pos x="connsiteX0" y="connsiteY0"/>
                  </a:cxn>
                  <a:cxn ang="0">
                    <a:pos x="connsiteX1" y="connsiteY1"/>
                  </a:cxn>
                  <a:cxn ang="0">
                    <a:pos x="connsiteX2" y="connsiteY2"/>
                  </a:cxn>
                  <a:cxn ang="0">
                    <a:pos x="connsiteX3" y="connsiteY3"/>
                  </a:cxn>
                </a:cxnLst>
                <a:rect l="l" t="t" r="r" b="b"/>
                <a:pathLst>
                  <a:path w="7117" h="657">
                    <a:moveTo>
                      <a:pt x="7117" y="538"/>
                    </a:moveTo>
                    <a:lnTo>
                      <a:pt x="6998" y="538"/>
                    </a:lnTo>
                    <a:lnTo>
                      <a:pt x="0" y="0"/>
                    </a:lnTo>
                    <a:lnTo>
                      <a:pt x="6818" y="658"/>
                    </a:lnTo>
                  </a:path>
                </a:pathLst>
              </a:custGeom>
              <a:noFill/>
              <a:ln w="6350" cap="rnd">
                <a:solidFill>
                  <a:schemeClr val="bg1">
                    <a:alpha val="80000"/>
                  </a:schemeClr>
                </a:solidFill>
                <a:prstDash val="solid"/>
                <a:round/>
              </a:ln>
            </p:spPr>
            <p:txBody>
              <a:bodyPr rtlCol="0" anchor="ctr"/>
              <a:lstStyle/>
              <a:p>
                <a:endParaRPr lang="en-GB"/>
              </a:p>
            </p:txBody>
          </p:sp>
          <p:sp>
            <p:nvSpPr>
              <p:cNvPr id="6533" name="Vrije vorm: vorm 6532">
                <a:extLst>
                  <a:ext uri="{FF2B5EF4-FFF2-40B4-BE49-F238E27FC236}">
                    <a16:creationId xmlns:a16="http://schemas.microsoft.com/office/drawing/2014/main" id="{6B203811-E9A2-4DCD-A3DE-66922E12B620}"/>
                  </a:ext>
                </a:extLst>
              </p:cNvPr>
              <p:cNvSpPr/>
              <p:nvPr/>
            </p:nvSpPr>
            <p:spPr>
              <a:xfrm>
                <a:off x="6961759" y="1941861"/>
                <a:ext cx="4725" cy="3528"/>
              </a:xfrm>
              <a:custGeom>
                <a:avLst/>
                <a:gdLst>
                  <a:gd name="connsiteX0" fmla="*/ 4725 w 4725"/>
                  <a:gd name="connsiteY0" fmla="*/ 0 h 3528"/>
                  <a:gd name="connsiteX1" fmla="*/ 4725 w 4725"/>
                  <a:gd name="connsiteY1" fmla="*/ 0 h 3528"/>
                  <a:gd name="connsiteX2" fmla="*/ 3290 w 4725"/>
                  <a:gd name="connsiteY2" fmla="*/ 1136 h 3528"/>
                  <a:gd name="connsiteX3" fmla="*/ 3230 w 4725"/>
                  <a:gd name="connsiteY3" fmla="*/ 1196 h 3528"/>
                  <a:gd name="connsiteX4" fmla="*/ 1495 w 4725"/>
                  <a:gd name="connsiteY4" fmla="*/ 2572 h 3528"/>
                  <a:gd name="connsiteX5" fmla="*/ 419 w 4725"/>
                  <a:gd name="connsiteY5" fmla="*/ 3409 h 3528"/>
                  <a:gd name="connsiteX6" fmla="*/ 359 w 4725"/>
                  <a:gd name="connsiteY6" fmla="*/ 3469 h 3528"/>
                  <a:gd name="connsiteX7" fmla="*/ 0 w 4725"/>
                  <a:gd name="connsiteY7" fmla="*/ 3529 h 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5" h="3528">
                    <a:moveTo>
                      <a:pt x="4725" y="0"/>
                    </a:moveTo>
                    <a:lnTo>
                      <a:pt x="4725" y="0"/>
                    </a:lnTo>
                    <a:lnTo>
                      <a:pt x="3290" y="1136"/>
                    </a:lnTo>
                    <a:lnTo>
                      <a:pt x="3230" y="1196"/>
                    </a:lnTo>
                    <a:lnTo>
                      <a:pt x="1495" y="2572"/>
                    </a:lnTo>
                    <a:lnTo>
                      <a:pt x="419" y="3409"/>
                    </a:lnTo>
                    <a:lnTo>
                      <a:pt x="359" y="3469"/>
                    </a:lnTo>
                    <a:lnTo>
                      <a:pt x="0" y="3529"/>
                    </a:lnTo>
                  </a:path>
                </a:pathLst>
              </a:custGeom>
              <a:noFill/>
              <a:ln w="6350" cap="rnd">
                <a:solidFill>
                  <a:schemeClr val="bg1">
                    <a:alpha val="80000"/>
                  </a:schemeClr>
                </a:solidFill>
                <a:prstDash val="solid"/>
                <a:round/>
              </a:ln>
            </p:spPr>
            <p:txBody>
              <a:bodyPr rtlCol="0" anchor="ctr"/>
              <a:lstStyle/>
              <a:p>
                <a:endParaRPr lang="en-GB"/>
              </a:p>
            </p:txBody>
          </p:sp>
          <p:sp>
            <p:nvSpPr>
              <p:cNvPr id="6534" name="Vrije vorm: vorm 6533">
                <a:extLst>
                  <a:ext uri="{FF2B5EF4-FFF2-40B4-BE49-F238E27FC236}">
                    <a16:creationId xmlns:a16="http://schemas.microsoft.com/office/drawing/2014/main" id="{6BF629F8-4F0E-4FF9-A532-ACA1C9623139}"/>
                  </a:ext>
                </a:extLst>
              </p:cNvPr>
              <p:cNvSpPr/>
              <p:nvPr/>
            </p:nvSpPr>
            <p:spPr>
              <a:xfrm>
                <a:off x="7059783" y="1791685"/>
                <a:ext cx="31996" cy="17164"/>
              </a:xfrm>
              <a:custGeom>
                <a:avLst/>
                <a:gdLst>
                  <a:gd name="connsiteX0" fmla="*/ 31997 w 31996"/>
                  <a:gd name="connsiteY0" fmla="*/ 17165 h 17164"/>
                  <a:gd name="connsiteX1" fmla="*/ 29066 w 31996"/>
                  <a:gd name="connsiteY1" fmla="*/ 14593 h 17164"/>
                  <a:gd name="connsiteX2" fmla="*/ 28648 w 31996"/>
                  <a:gd name="connsiteY2" fmla="*/ 14234 h 17164"/>
                  <a:gd name="connsiteX3" fmla="*/ 28050 w 31996"/>
                  <a:gd name="connsiteY3" fmla="*/ 13696 h 17164"/>
                  <a:gd name="connsiteX4" fmla="*/ 27990 w 31996"/>
                  <a:gd name="connsiteY4" fmla="*/ 13636 h 17164"/>
                  <a:gd name="connsiteX5" fmla="*/ 26435 w 31996"/>
                  <a:gd name="connsiteY5" fmla="*/ 12619 h 17164"/>
                  <a:gd name="connsiteX6" fmla="*/ 25658 w 31996"/>
                  <a:gd name="connsiteY6" fmla="*/ 12141 h 17164"/>
                  <a:gd name="connsiteX7" fmla="*/ 24700 w 31996"/>
                  <a:gd name="connsiteY7" fmla="*/ 11483 h 17164"/>
                  <a:gd name="connsiteX8" fmla="*/ 23863 w 31996"/>
                  <a:gd name="connsiteY8" fmla="*/ 11005 h 17164"/>
                  <a:gd name="connsiteX9" fmla="*/ 20155 w 31996"/>
                  <a:gd name="connsiteY9" fmla="*/ 8792 h 17164"/>
                  <a:gd name="connsiteX10" fmla="*/ 19677 w 31996"/>
                  <a:gd name="connsiteY10" fmla="*/ 8493 h 17164"/>
                  <a:gd name="connsiteX11" fmla="*/ 18959 w 31996"/>
                  <a:gd name="connsiteY11" fmla="*/ 8074 h 17164"/>
                  <a:gd name="connsiteX12" fmla="*/ 18600 w 31996"/>
                  <a:gd name="connsiteY12" fmla="*/ 7895 h 17164"/>
                  <a:gd name="connsiteX13" fmla="*/ 18361 w 31996"/>
                  <a:gd name="connsiteY13" fmla="*/ 7715 h 17164"/>
                  <a:gd name="connsiteX14" fmla="*/ 18361 w 31996"/>
                  <a:gd name="connsiteY14" fmla="*/ 7715 h 17164"/>
                  <a:gd name="connsiteX15" fmla="*/ 18122 w 31996"/>
                  <a:gd name="connsiteY15" fmla="*/ 7536 h 17164"/>
                  <a:gd name="connsiteX16" fmla="*/ 17464 w 31996"/>
                  <a:gd name="connsiteY16" fmla="*/ 7177 h 17164"/>
                  <a:gd name="connsiteX17" fmla="*/ 15491 w 31996"/>
                  <a:gd name="connsiteY17" fmla="*/ 5981 h 17164"/>
                  <a:gd name="connsiteX18" fmla="*/ 15371 w 31996"/>
                  <a:gd name="connsiteY18" fmla="*/ 5921 h 17164"/>
                  <a:gd name="connsiteX19" fmla="*/ 15191 w 31996"/>
                  <a:gd name="connsiteY19" fmla="*/ 5861 h 17164"/>
                  <a:gd name="connsiteX20" fmla="*/ 14772 w 31996"/>
                  <a:gd name="connsiteY20" fmla="*/ 5682 h 17164"/>
                  <a:gd name="connsiteX21" fmla="*/ 14713 w 31996"/>
                  <a:gd name="connsiteY21" fmla="*/ 5682 h 17164"/>
                  <a:gd name="connsiteX22" fmla="*/ 14653 w 31996"/>
                  <a:gd name="connsiteY22" fmla="*/ 5682 h 17164"/>
                  <a:gd name="connsiteX23" fmla="*/ 12021 w 31996"/>
                  <a:gd name="connsiteY23" fmla="*/ 4665 h 17164"/>
                  <a:gd name="connsiteX24" fmla="*/ 11483 w 31996"/>
                  <a:gd name="connsiteY24" fmla="*/ 4426 h 17164"/>
                  <a:gd name="connsiteX25" fmla="*/ 7536 w 31996"/>
                  <a:gd name="connsiteY25" fmla="*/ 2871 h 17164"/>
                  <a:gd name="connsiteX26" fmla="*/ 7476 w 31996"/>
                  <a:gd name="connsiteY26" fmla="*/ 2811 h 17164"/>
                  <a:gd name="connsiteX27" fmla="*/ 2572 w 31996"/>
                  <a:gd name="connsiteY27" fmla="*/ 897 h 17164"/>
                  <a:gd name="connsiteX28" fmla="*/ 2452 w 31996"/>
                  <a:gd name="connsiteY28" fmla="*/ 837 h 17164"/>
                  <a:gd name="connsiteX29" fmla="*/ 2452 w 31996"/>
                  <a:gd name="connsiteY29" fmla="*/ 837 h 17164"/>
                  <a:gd name="connsiteX30" fmla="*/ 0 w 31996"/>
                  <a:gd name="connsiteY30" fmla="*/ 0 h 1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996" h="17164">
                    <a:moveTo>
                      <a:pt x="31997" y="17165"/>
                    </a:moveTo>
                    <a:lnTo>
                      <a:pt x="29066" y="14593"/>
                    </a:lnTo>
                    <a:lnTo>
                      <a:pt x="28648" y="14234"/>
                    </a:lnTo>
                    <a:lnTo>
                      <a:pt x="28050" y="13696"/>
                    </a:lnTo>
                    <a:lnTo>
                      <a:pt x="27990" y="13636"/>
                    </a:lnTo>
                    <a:lnTo>
                      <a:pt x="26435" y="12619"/>
                    </a:lnTo>
                    <a:lnTo>
                      <a:pt x="25658" y="12141"/>
                    </a:lnTo>
                    <a:lnTo>
                      <a:pt x="24700" y="11483"/>
                    </a:lnTo>
                    <a:lnTo>
                      <a:pt x="23863" y="11005"/>
                    </a:lnTo>
                    <a:lnTo>
                      <a:pt x="20155" y="8792"/>
                    </a:lnTo>
                    <a:lnTo>
                      <a:pt x="19677" y="8493"/>
                    </a:lnTo>
                    <a:lnTo>
                      <a:pt x="18959" y="8074"/>
                    </a:lnTo>
                    <a:lnTo>
                      <a:pt x="18600" y="7895"/>
                    </a:lnTo>
                    <a:lnTo>
                      <a:pt x="18361" y="7715"/>
                    </a:lnTo>
                    <a:lnTo>
                      <a:pt x="18361" y="7715"/>
                    </a:lnTo>
                    <a:lnTo>
                      <a:pt x="18122" y="7536"/>
                    </a:lnTo>
                    <a:lnTo>
                      <a:pt x="17464" y="7177"/>
                    </a:lnTo>
                    <a:lnTo>
                      <a:pt x="15491" y="5981"/>
                    </a:lnTo>
                    <a:lnTo>
                      <a:pt x="15371" y="5921"/>
                    </a:lnTo>
                    <a:lnTo>
                      <a:pt x="15191" y="5861"/>
                    </a:lnTo>
                    <a:lnTo>
                      <a:pt x="14772" y="5682"/>
                    </a:lnTo>
                    <a:lnTo>
                      <a:pt x="14713" y="5682"/>
                    </a:lnTo>
                    <a:lnTo>
                      <a:pt x="14653" y="5682"/>
                    </a:lnTo>
                    <a:lnTo>
                      <a:pt x="12021" y="4665"/>
                    </a:lnTo>
                    <a:lnTo>
                      <a:pt x="11483" y="4426"/>
                    </a:lnTo>
                    <a:lnTo>
                      <a:pt x="7536" y="2871"/>
                    </a:lnTo>
                    <a:lnTo>
                      <a:pt x="7476" y="2811"/>
                    </a:lnTo>
                    <a:lnTo>
                      <a:pt x="2572" y="897"/>
                    </a:lnTo>
                    <a:lnTo>
                      <a:pt x="2452" y="837"/>
                    </a:lnTo>
                    <a:lnTo>
                      <a:pt x="2452" y="83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35" name="Vrije vorm: vorm 6534">
                <a:extLst>
                  <a:ext uri="{FF2B5EF4-FFF2-40B4-BE49-F238E27FC236}">
                    <a16:creationId xmlns:a16="http://schemas.microsoft.com/office/drawing/2014/main" id="{2A178E9C-5DE2-49CA-8A79-BD13219951DA}"/>
                  </a:ext>
                </a:extLst>
              </p:cNvPr>
              <p:cNvSpPr/>
              <p:nvPr/>
            </p:nvSpPr>
            <p:spPr>
              <a:xfrm>
                <a:off x="6952728" y="1731638"/>
                <a:ext cx="48204" cy="26913"/>
              </a:xfrm>
              <a:custGeom>
                <a:avLst/>
                <a:gdLst>
                  <a:gd name="connsiteX0" fmla="*/ 48205 w 48204"/>
                  <a:gd name="connsiteY0" fmla="*/ 26913 h 26913"/>
                  <a:gd name="connsiteX1" fmla="*/ 45872 w 48204"/>
                  <a:gd name="connsiteY1" fmla="*/ 25597 h 26913"/>
                  <a:gd name="connsiteX2" fmla="*/ 45693 w 48204"/>
                  <a:gd name="connsiteY2" fmla="*/ 25478 h 26913"/>
                  <a:gd name="connsiteX3" fmla="*/ 42762 w 48204"/>
                  <a:gd name="connsiteY3" fmla="*/ 23803 h 26913"/>
                  <a:gd name="connsiteX4" fmla="*/ 40011 w 48204"/>
                  <a:gd name="connsiteY4" fmla="*/ 22248 h 26913"/>
                  <a:gd name="connsiteX5" fmla="*/ 39892 w 48204"/>
                  <a:gd name="connsiteY5" fmla="*/ 22189 h 26913"/>
                  <a:gd name="connsiteX6" fmla="*/ 39354 w 48204"/>
                  <a:gd name="connsiteY6" fmla="*/ 21889 h 26913"/>
                  <a:gd name="connsiteX7" fmla="*/ 38157 w 48204"/>
                  <a:gd name="connsiteY7" fmla="*/ 21232 h 26913"/>
                  <a:gd name="connsiteX8" fmla="*/ 37858 w 48204"/>
                  <a:gd name="connsiteY8" fmla="*/ 21052 h 26913"/>
                  <a:gd name="connsiteX9" fmla="*/ 37679 w 48204"/>
                  <a:gd name="connsiteY9" fmla="*/ 20933 h 26913"/>
                  <a:gd name="connsiteX10" fmla="*/ 37439 w 48204"/>
                  <a:gd name="connsiteY10" fmla="*/ 20813 h 26913"/>
                  <a:gd name="connsiteX11" fmla="*/ 31997 w 48204"/>
                  <a:gd name="connsiteY11" fmla="*/ 17763 h 26913"/>
                  <a:gd name="connsiteX12" fmla="*/ 31938 w 48204"/>
                  <a:gd name="connsiteY12" fmla="*/ 17703 h 26913"/>
                  <a:gd name="connsiteX13" fmla="*/ 31399 w 48204"/>
                  <a:gd name="connsiteY13" fmla="*/ 17404 h 26913"/>
                  <a:gd name="connsiteX14" fmla="*/ 30203 w 48204"/>
                  <a:gd name="connsiteY14" fmla="*/ 16746 h 26913"/>
                  <a:gd name="connsiteX15" fmla="*/ 29545 w 48204"/>
                  <a:gd name="connsiteY15" fmla="*/ 16387 h 26913"/>
                  <a:gd name="connsiteX16" fmla="*/ 29425 w 48204"/>
                  <a:gd name="connsiteY16" fmla="*/ 16327 h 26913"/>
                  <a:gd name="connsiteX17" fmla="*/ 27392 w 48204"/>
                  <a:gd name="connsiteY17" fmla="*/ 15191 h 26913"/>
                  <a:gd name="connsiteX18" fmla="*/ 26077 w 48204"/>
                  <a:gd name="connsiteY18" fmla="*/ 14473 h 26913"/>
                  <a:gd name="connsiteX19" fmla="*/ 25239 w 48204"/>
                  <a:gd name="connsiteY19" fmla="*/ 13995 h 26913"/>
                  <a:gd name="connsiteX20" fmla="*/ 23385 w 48204"/>
                  <a:gd name="connsiteY20" fmla="*/ 12978 h 26913"/>
                  <a:gd name="connsiteX21" fmla="*/ 16089 w 48204"/>
                  <a:gd name="connsiteY21" fmla="*/ 8911 h 26913"/>
                  <a:gd name="connsiteX22" fmla="*/ 12739 w 48204"/>
                  <a:gd name="connsiteY22" fmla="*/ 7057 h 26913"/>
                  <a:gd name="connsiteX23" fmla="*/ 12620 w 48204"/>
                  <a:gd name="connsiteY23" fmla="*/ 6997 h 26913"/>
                  <a:gd name="connsiteX24" fmla="*/ 12321 w 48204"/>
                  <a:gd name="connsiteY24" fmla="*/ 6818 h 26913"/>
                  <a:gd name="connsiteX25" fmla="*/ 12261 w 48204"/>
                  <a:gd name="connsiteY25" fmla="*/ 6818 h 26913"/>
                  <a:gd name="connsiteX26" fmla="*/ 11005 w 48204"/>
                  <a:gd name="connsiteY26" fmla="*/ 6100 h 26913"/>
                  <a:gd name="connsiteX27" fmla="*/ 9211 w 48204"/>
                  <a:gd name="connsiteY27" fmla="*/ 5084 h 26913"/>
                  <a:gd name="connsiteX28" fmla="*/ 7596 w 48204"/>
                  <a:gd name="connsiteY28" fmla="*/ 4186 h 26913"/>
                  <a:gd name="connsiteX29" fmla="*/ 4426 w 48204"/>
                  <a:gd name="connsiteY29" fmla="*/ 2452 h 26913"/>
                  <a:gd name="connsiteX30" fmla="*/ 3888 w 48204"/>
                  <a:gd name="connsiteY30" fmla="*/ 2153 h 26913"/>
                  <a:gd name="connsiteX31" fmla="*/ 1376 w 48204"/>
                  <a:gd name="connsiteY31" fmla="*/ 778 h 26913"/>
                  <a:gd name="connsiteX32" fmla="*/ 0 w 48204"/>
                  <a:gd name="connsiteY32" fmla="*/ 0 h 2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204" h="26913">
                    <a:moveTo>
                      <a:pt x="48205" y="26913"/>
                    </a:moveTo>
                    <a:lnTo>
                      <a:pt x="45872" y="25597"/>
                    </a:lnTo>
                    <a:lnTo>
                      <a:pt x="45693" y="25478"/>
                    </a:lnTo>
                    <a:lnTo>
                      <a:pt x="42762" y="23803"/>
                    </a:lnTo>
                    <a:lnTo>
                      <a:pt x="40011" y="22248"/>
                    </a:lnTo>
                    <a:lnTo>
                      <a:pt x="39892" y="22189"/>
                    </a:lnTo>
                    <a:lnTo>
                      <a:pt x="39354" y="21889"/>
                    </a:lnTo>
                    <a:lnTo>
                      <a:pt x="38157" y="21232"/>
                    </a:lnTo>
                    <a:lnTo>
                      <a:pt x="37858" y="21052"/>
                    </a:lnTo>
                    <a:lnTo>
                      <a:pt x="37679" y="20933"/>
                    </a:lnTo>
                    <a:lnTo>
                      <a:pt x="37439" y="20813"/>
                    </a:lnTo>
                    <a:lnTo>
                      <a:pt x="31997" y="17763"/>
                    </a:lnTo>
                    <a:lnTo>
                      <a:pt x="31938" y="17703"/>
                    </a:lnTo>
                    <a:lnTo>
                      <a:pt x="31399" y="17404"/>
                    </a:lnTo>
                    <a:lnTo>
                      <a:pt x="30203" y="16746"/>
                    </a:lnTo>
                    <a:lnTo>
                      <a:pt x="29545" y="16387"/>
                    </a:lnTo>
                    <a:lnTo>
                      <a:pt x="29425" y="16327"/>
                    </a:lnTo>
                    <a:lnTo>
                      <a:pt x="27392" y="15191"/>
                    </a:lnTo>
                    <a:lnTo>
                      <a:pt x="26077" y="14473"/>
                    </a:lnTo>
                    <a:lnTo>
                      <a:pt x="25239" y="13995"/>
                    </a:lnTo>
                    <a:lnTo>
                      <a:pt x="23385" y="12978"/>
                    </a:lnTo>
                    <a:lnTo>
                      <a:pt x="16089" y="8911"/>
                    </a:lnTo>
                    <a:lnTo>
                      <a:pt x="12739" y="7057"/>
                    </a:lnTo>
                    <a:lnTo>
                      <a:pt x="12620" y="6997"/>
                    </a:lnTo>
                    <a:lnTo>
                      <a:pt x="12321" y="6818"/>
                    </a:lnTo>
                    <a:lnTo>
                      <a:pt x="12261" y="6818"/>
                    </a:lnTo>
                    <a:lnTo>
                      <a:pt x="11005" y="6100"/>
                    </a:lnTo>
                    <a:lnTo>
                      <a:pt x="9211" y="5084"/>
                    </a:lnTo>
                    <a:lnTo>
                      <a:pt x="7596" y="4186"/>
                    </a:lnTo>
                    <a:lnTo>
                      <a:pt x="4426" y="2452"/>
                    </a:lnTo>
                    <a:lnTo>
                      <a:pt x="3888" y="2153"/>
                    </a:lnTo>
                    <a:lnTo>
                      <a:pt x="1376" y="77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36" name="Vrije vorm: vorm 6535">
                <a:extLst>
                  <a:ext uri="{FF2B5EF4-FFF2-40B4-BE49-F238E27FC236}">
                    <a16:creationId xmlns:a16="http://schemas.microsoft.com/office/drawing/2014/main" id="{C144CF7E-8FB3-420E-9ADC-78FAA922D7FC}"/>
                  </a:ext>
                </a:extLst>
              </p:cNvPr>
              <p:cNvSpPr/>
              <p:nvPr/>
            </p:nvSpPr>
            <p:spPr>
              <a:xfrm>
                <a:off x="7016303" y="1756159"/>
                <a:ext cx="21291" cy="26913"/>
              </a:xfrm>
              <a:custGeom>
                <a:avLst/>
                <a:gdLst>
                  <a:gd name="connsiteX0" fmla="*/ 21292 w 21291"/>
                  <a:gd name="connsiteY0" fmla="*/ 26913 h 26913"/>
                  <a:gd name="connsiteX1" fmla="*/ 20992 w 21291"/>
                  <a:gd name="connsiteY1" fmla="*/ 26734 h 26913"/>
                  <a:gd name="connsiteX2" fmla="*/ 18182 w 21291"/>
                  <a:gd name="connsiteY2" fmla="*/ 24760 h 26913"/>
                  <a:gd name="connsiteX3" fmla="*/ 13098 w 21291"/>
                  <a:gd name="connsiteY3" fmla="*/ 21172 h 26913"/>
                  <a:gd name="connsiteX4" fmla="*/ 12978 w 21291"/>
                  <a:gd name="connsiteY4" fmla="*/ 20873 h 26913"/>
                  <a:gd name="connsiteX5" fmla="*/ 12799 w 21291"/>
                  <a:gd name="connsiteY5" fmla="*/ 20514 h 26913"/>
                  <a:gd name="connsiteX6" fmla="*/ 12381 w 21291"/>
                  <a:gd name="connsiteY6" fmla="*/ 19497 h 26913"/>
                  <a:gd name="connsiteX7" fmla="*/ 12321 w 21291"/>
                  <a:gd name="connsiteY7" fmla="*/ 19377 h 26913"/>
                  <a:gd name="connsiteX8" fmla="*/ 12141 w 21291"/>
                  <a:gd name="connsiteY8" fmla="*/ 18959 h 26913"/>
                  <a:gd name="connsiteX9" fmla="*/ 11783 w 21291"/>
                  <a:gd name="connsiteY9" fmla="*/ 18181 h 26913"/>
                  <a:gd name="connsiteX10" fmla="*/ 11723 w 21291"/>
                  <a:gd name="connsiteY10" fmla="*/ 18062 h 26913"/>
                  <a:gd name="connsiteX11" fmla="*/ 11543 w 21291"/>
                  <a:gd name="connsiteY11" fmla="*/ 17643 h 26913"/>
                  <a:gd name="connsiteX12" fmla="*/ 11543 w 21291"/>
                  <a:gd name="connsiteY12" fmla="*/ 17643 h 26913"/>
                  <a:gd name="connsiteX13" fmla="*/ 11065 w 21291"/>
                  <a:gd name="connsiteY13" fmla="*/ 16507 h 26913"/>
                  <a:gd name="connsiteX14" fmla="*/ 10945 w 21291"/>
                  <a:gd name="connsiteY14" fmla="*/ 16208 h 26913"/>
                  <a:gd name="connsiteX15" fmla="*/ 10466 w 21291"/>
                  <a:gd name="connsiteY15" fmla="*/ 15131 h 26913"/>
                  <a:gd name="connsiteX16" fmla="*/ 10347 w 21291"/>
                  <a:gd name="connsiteY16" fmla="*/ 14832 h 26913"/>
                  <a:gd name="connsiteX17" fmla="*/ 9808 w 21291"/>
                  <a:gd name="connsiteY17" fmla="*/ 13516 h 26913"/>
                  <a:gd name="connsiteX18" fmla="*/ 9689 w 21291"/>
                  <a:gd name="connsiteY18" fmla="*/ 13277 h 26913"/>
                  <a:gd name="connsiteX19" fmla="*/ 7297 w 21291"/>
                  <a:gd name="connsiteY19" fmla="*/ 7835 h 26913"/>
                  <a:gd name="connsiteX20" fmla="*/ 3888 w 21291"/>
                  <a:gd name="connsiteY20" fmla="*/ 4186 h 26913"/>
                  <a:gd name="connsiteX21" fmla="*/ 957 w 21291"/>
                  <a:gd name="connsiteY21" fmla="*/ 1017 h 26913"/>
                  <a:gd name="connsiteX22" fmla="*/ 0 w 21291"/>
                  <a:gd name="connsiteY22" fmla="*/ 0 h 2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91" h="26913">
                    <a:moveTo>
                      <a:pt x="21292" y="26913"/>
                    </a:moveTo>
                    <a:lnTo>
                      <a:pt x="20992" y="26734"/>
                    </a:lnTo>
                    <a:lnTo>
                      <a:pt x="18182" y="24760"/>
                    </a:lnTo>
                    <a:lnTo>
                      <a:pt x="13098" y="21172"/>
                    </a:lnTo>
                    <a:lnTo>
                      <a:pt x="12978" y="20873"/>
                    </a:lnTo>
                    <a:lnTo>
                      <a:pt x="12799" y="20514"/>
                    </a:lnTo>
                    <a:lnTo>
                      <a:pt x="12381" y="19497"/>
                    </a:lnTo>
                    <a:lnTo>
                      <a:pt x="12321" y="19377"/>
                    </a:lnTo>
                    <a:lnTo>
                      <a:pt x="12141" y="18959"/>
                    </a:lnTo>
                    <a:lnTo>
                      <a:pt x="11783" y="18181"/>
                    </a:lnTo>
                    <a:lnTo>
                      <a:pt x="11723" y="18062"/>
                    </a:lnTo>
                    <a:lnTo>
                      <a:pt x="11543" y="17643"/>
                    </a:lnTo>
                    <a:lnTo>
                      <a:pt x="11543" y="17643"/>
                    </a:lnTo>
                    <a:lnTo>
                      <a:pt x="11065" y="16507"/>
                    </a:lnTo>
                    <a:lnTo>
                      <a:pt x="10945" y="16208"/>
                    </a:lnTo>
                    <a:lnTo>
                      <a:pt x="10466" y="15131"/>
                    </a:lnTo>
                    <a:lnTo>
                      <a:pt x="10347" y="14832"/>
                    </a:lnTo>
                    <a:lnTo>
                      <a:pt x="9808" y="13516"/>
                    </a:lnTo>
                    <a:lnTo>
                      <a:pt x="9689" y="13277"/>
                    </a:lnTo>
                    <a:lnTo>
                      <a:pt x="7297" y="7835"/>
                    </a:lnTo>
                    <a:lnTo>
                      <a:pt x="3888" y="4186"/>
                    </a:lnTo>
                    <a:lnTo>
                      <a:pt x="957" y="101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37" name="Vrije vorm: vorm 6536">
                <a:extLst>
                  <a:ext uri="{FF2B5EF4-FFF2-40B4-BE49-F238E27FC236}">
                    <a16:creationId xmlns:a16="http://schemas.microsoft.com/office/drawing/2014/main" id="{359A6504-B5B4-4516-A2F7-93EDDCC4D574}"/>
                  </a:ext>
                </a:extLst>
              </p:cNvPr>
              <p:cNvSpPr/>
              <p:nvPr/>
            </p:nvSpPr>
            <p:spPr>
              <a:xfrm>
                <a:off x="6982034" y="1732416"/>
                <a:ext cx="68060" cy="37140"/>
              </a:xfrm>
              <a:custGeom>
                <a:avLst/>
                <a:gdLst>
                  <a:gd name="connsiteX0" fmla="*/ 0 w 68060"/>
                  <a:gd name="connsiteY0" fmla="*/ 0 h 37140"/>
                  <a:gd name="connsiteX1" fmla="*/ 2632 w 68060"/>
                  <a:gd name="connsiteY1" fmla="*/ 1196 h 37140"/>
                  <a:gd name="connsiteX2" fmla="*/ 15371 w 68060"/>
                  <a:gd name="connsiteY2" fmla="*/ 7476 h 37140"/>
                  <a:gd name="connsiteX3" fmla="*/ 37380 w 68060"/>
                  <a:gd name="connsiteY3" fmla="*/ 19079 h 37140"/>
                  <a:gd name="connsiteX4" fmla="*/ 59090 w 68060"/>
                  <a:gd name="connsiteY4" fmla="*/ 31638 h 37140"/>
                  <a:gd name="connsiteX5" fmla="*/ 68061 w 68060"/>
                  <a:gd name="connsiteY5" fmla="*/ 37140 h 3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60" h="37140">
                    <a:moveTo>
                      <a:pt x="0" y="0"/>
                    </a:moveTo>
                    <a:lnTo>
                      <a:pt x="2632" y="1196"/>
                    </a:lnTo>
                    <a:lnTo>
                      <a:pt x="15371" y="7476"/>
                    </a:lnTo>
                    <a:lnTo>
                      <a:pt x="37380" y="19079"/>
                    </a:lnTo>
                    <a:lnTo>
                      <a:pt x="59090" y="31638"/>
                    </a:lnTo>
                    <a:lnTo>
                      <a:pt x="68061" y="37140"/>
                    </a:lnTo>
                  </a:path>
                </a:pathLst>
              </a:custGeom>
              <a:noFill/>
              <a:ln w="6350" cap="rnd">
                <a:solidFill>
                  <a:schemeClr val="bg1">
                    <a:alpha val="80000"/>
                  </a:schemeClr>
                </a:solidFill>
                <a:prstDash val="solid"/>
                <a:round/>
              </a:ln>
            </p:spPr>
            <p:txBody>
              <a:bodyPr rtlCol="0" anchor="ctr"/>
              <a:lstStyle/>
              <a:p>
                <a:endParaRPr lang="en-GB"/>
              </a:p>
            </p:txBody>
          </p:sp>
          <p:sp>
            <p:nvSpPr>
              <p:cNvPr id="6538" name="Vrije vorm: vorm 6537">
                <a:extLst>
                  <a:ext uri="{FF2B5EF4-FFF2-40B4-BE49-F238E27FC236}">
                    <a16:creationId xmlns:a16="http://schemas.microsoft.com/office/drawing/2014/main" id="{10E31F9D-01F9-4A82-9E8A-BAEDF1B9F302}"/>
                  </a:ext>
                </a:extLst>
              </p:cNvPr>
              <p:cNvSpPr/>
              <p:nvPr/>
            </p:nvSpPr>
            <p:spPr>
              <a:xfrm>
                <a:off x="6745915" y="1845930"/>
                <a:ext cx="11901" cy="17643"/>
              </a:xfrm>
              <a:custGeom>
                <a:avLst/>
                <a:gdLst>
                  <a:gd name="connsiteX0" fmla="*/ 9749 w 11901"/>
                  <a:gd name="connsiteY0" fmla="*/ 0 h 17643"/>
                  <a:gd name="connsiteX1" fmla="*/ 10885 w 11901"/>
                  <a:gd name="connsiteY1" fmla="*/ 2632 h 17643"/>
                  <a:gd name="connsiteX2" fmla="*/ 11902 w 11901"/>
                  <a:gd name="connsiteY2" fmla="*/ 5801 h 17643"/>
                  <a:gd name="connsiteX3" fmla="*/ 9988 w 11901"/>
                  <a:gd name="connsiteY3" fmla="*/ 8612 h 17643"/>
                  <a:gd name="connsiteX4" fmla="*/ 8552 w 11901"/>
                  <a:gd name="connsiteY4" fmla="*/ 10705 h 17643"/>
                  <a:gd name="connsiteX5" fmla="*/ 7057 w 11901"/>
                  <a:gd name="connsiteY5" fmla="*/ 12859 h 17643"/>
                  <a:gd name="connsiteX6" fmla="*/ 5263 w 11901"/>
                  <a:gd name="connsiteY6" fmla="*/ 15490 h 17643"/>
                  <a:gd name="connsiteX7" fmla="*/ 4904 w 11901"/>
                  <a:gd name="connsiteY7" fmla="*/ 16028 h 17643"/>
                  <a:gd name="connsiteX8" fmla="*/ 4306 w 11901"/>
                  <a:gd name="connsiteY8" fmla="*/ 16268 h 17643"/>
                  <a:gd name="connsiteX9" fmla="*/ 2392 w 11901"/>
                  <a:gd name="connsiteY9" fmla="*/ 16985 h 17643"/>
                  <a:gd name="connsiteX10" fmla="*/ 598 w 11901"/>
                  <a:gd name="connsiteY10" fmla="*/ 17643 h 17643"/>
                  <a:gd name="connsiteX11" fmla="*/ 0 w 11901"/>
                  <a:gd name="connsiteY11" fmla="*/ 17225 h 1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01" h="17643">
                    <a:moveTo>
                      <a:pt x="9749" y="0"/>
                    </a:moveTo>
                    <a:lnTo>
                      <a:pt x="10885" y="2632"/>
                    </a:lnTo>
                    <a:lnTo>
                      <a:pt x="11902" y="5801"/>
                    </a:lnTo>
                    <a:lnTo>
                      <a:pt x="9988" y="8612"/>
                    </a:lnTo>
                    <a:lnTo>
                      <a:pt x="8552" y="10705"/>
                    </a:lnTo>
                    <a:lnTo>
                      <a:pt x="7057" y="12859"/>
                    </a:lnTo>
                    <a:lnTo>
                      <a:pt x="5263" y="15490"/>
                    </a:lnTo>
                    <a:lnTo>
                      <a:pt x="4904" y="16028"/>
                    </a:lnTo>
                    <a:lnTo>
                      <a:pt x="4306" y="16268"/>
                    </a:lnTo>
                    <a:lnTo>
                      <a:pt x="2392" y="16985"/>
                    </a:lnTo>
                    <a:lnTo>
                      <a:pt x="598" y="17643"/>
                    </a:lnTo>
                    <a:lnTo>
                      <a:pt x="0" y="17225"/>
                    </a:lnTo>
                  </a:path>
                </a:pathLst>
              </a:custGeom>
              <a:noFill/>
              <a:ln w="6350" cap="rnd">
                <a:solidFill>
                  <a:schemeClr val="bg1">
                    <a:alpha val="80000"/>
                  </a:schemeClr>
                </a:solidFill>
                <a:prstDash val="solid"/>
                <a:round/>
              </a:ln>
            </p:spPr>
            <p:txBody>
              <a:bodyPr rtlCol="0" anchor="ctr"/>
              <a:lstStyle/>
              <a:p>
                <a:endParaRPr lang="en-GB"/>
              </a:p>
            </p:txBody>
          </p:sp>
          <p:sp>
            <p:nvSpPr>
              <p:cNvPr id="6539" name="Vrije vorm: vorm 6538">
                <a:extLst>
                  <a:ext uri="{FF2B5EF4-FFF2-40B4-BE49-F238E27FC236}">
                    <a16:creationId xmlns:a16="http://schemas.microsoft.com/office/drawing/2014/main" id="{DB8F0F0A-FBEE-4651-B0DA-1722708B96C6}"/>
                  </a:ext>
                </a:extLst>
              </p:cNvPr>
              <p:cNvSpPr/>
              <p:nvPr/>
            </p:nvSpPr>
            <p:spPr>
              <a:xfrm>
                <a:off x="6849501" y="1803287"/>
                <a:ext cx="896" cy="1854"/>
              </a:xfrm>
              <a:custGeom>
                <a:avLst/>
                <a:gdLst>
                  <a:gd name="connsiteX0" fmla="*/ 0 w 896"/>
                  <a:gd name="connsiteY0" fmla="*/ 1854 h 1854"/>
                  <a:gd name="connsiteX1" fmla="*/ 538 w 896"/>
                  <a:gd name="connsiteY1" fmla="*/ 478 h 1854"/>
                  <a:gd name="connsiteX2" fmla="*/ 897 w 896"/>
                  <a:gd name="connsiteY2" fmla="*/ 0 h 1854"/>
                </a:gdLst>
                <a:ahLst/>
                <a:cxnLst>
                  <a:cxn ang="0">
                    <a:pos x="connsiteX0" y="connsiteY0"/>
                  </a:cxn>
                  <a:cxn ang="0">
                    <a:pos x="connsiteX1" y="connsiteY1"/>
                  </a:cxn>
                  <a:cxn ang="0">
                    <a:pos x="connsiteX2" y="connsiteY2"/>
                  </a:cxn>
                </a:cxnLst>
                <a:rect l="l" t="t" r="r" b="b"/>
                <a:pathLst>
                  <a:path w="896" h="1854">
                    <a:moveTo>
                      <a:pt x="0" y="1854"/>
                    </a:moveTo>
                    <a:lnTo>
                      <a:pt x="538" y="478"/>
                    </a:lnTo>
                    <a:lnTo>
                      <a:pt x="897" y="0"/>
                    </a:lnTo>
                  </a:path>
                </a:pathLst>
              </a:custGeom>
              <a:noFill/>
              <a:ln w="6350" cap="rnd">
                <a:solidFill>
                  <a:schemeClr val="bg1">
                    <a:alpha val="80000"/>
                  </a:schemeClr>
                </a:solidFill>
                <a:prstDash val="solid"/>
                <a:round/>
              </a:ln>
            </p:spPr>
            <p:txBody>
              <a:bodyPr rtlCol="0" anchor="ctr"/>
              <a:lstStyle/>
              <a:p>
                <a:endParaRPr lang="en-GB"/>
              </a:p>
            </p:txBody>
          </p:sp>
          <p:sp>
            <p:nvSpPr>
              <p:cNvPr id="6540" name="Vrije vorm: vorm 6539">
                <a:extLst>
                  <a:ext uri="{FF2B5EF4-FFF2-40B4-BE49-F238E27FC236}">
                    <a16:creationId xmlns:a16="http://schemas.microsoft.com/office/drawing/2014/main" id="{46075C16-E6BC-4A44-9A85-B4643B4334E8}"/>
                  </a:ext>
                </a:extLst>
              </p:cNvPr>
              <p:cNvSpPr/>
              <p:nvPr/>
            </p:nvSpPr>
            <p:spPr>
              <a:xfrm>
                <a:off x="6725880" y="1817821"/>
                <a:ext cx="34449" cy="72845"/>
              </a:xfrm>
              <a:custGeom>
                <a:avLst/>
                <a:gdLst>
                  <a:gd name="connsiteX0" fmla="*/ 20992 w 34449"/>
                  <a:gd name="connsiteY0" fmla="*/ 0 h 72845"/>
                  <a:gd name="connsiteX1" fmla="*/ 21411 w 34449"/>
                  <a:gd name="connsiteY1" fmla="*/ 1974 h 72845"/>
                  <a:gd name="connsiteX2" fmla="*/ 22428 w 34449"/>
                  <a:gd name="connsiteY2" fmla="*/ 4127 h 72845"/>
                  <a:gd name="connsiteX3" fmla="*/ 24940 w 34449"/>
                  <a:gd name="connsiteY3" fmla="*/ 6698 h 72845"/>
                  <a:gd name="connsiteX4" fmla="*/ 28946 w 34449"/>
                  <a:gd name="connsiteY4" fmla="*/ 9928 h 72845"/>
                  <a:gd name="connsiteX5" fmla="*/ 31578 w 34449"/>
                  <a:gd name="connsiteY5" fmla="*/ 12260 h 72845"/>
                  <a:gd name="connsiteX6" fmla="*/ 33851 w 34449"/>
                  <a:gd name="connsiteY6" fmla="*/ 15490 h 72845"/>
                  <a:gd name="connsiteX7" fmla="*/ 34449 w 34449"/>
                  <a:gd name="connsiteY7" fmla="*/ 19019 h 72845"/>
                  <a:gd name="connsiteX8" fmla="*/ 33313 w 34449"/>
                  <a:gd name="connsiteY8" fmla="*/ 22607 h 72845"/>
                  <a:gd name="connsiteX9" fmla="*/ 29784 w 34449"/>
                  <a:gd name="connsiteY9" fmla="*/ 28109 h 72845"/>
                  <a:gd name="connsiteX10" fmla="*/ 27691 w 34449"/>
                  <a:gd name="connsiteY10" fmla="*/ 31399 h 72845"/>
                  <a:gd name="connsiteX11" fmla="*/ 26794 w 34449"/>
                  <a:gd name="connsiteY11" fmla="*/ 32774 h 72845"/>
                  <a:gd name="connsiteX12" fmla="*/ 25597 w 34449"/>
                  <a:gd name="connsiteY12" fmla="*/ 34688 h 72845"/>
                  <a:gd name="connsiteX13" fmla="*/ 25298 w 34449"/>
                  <a:gd name="connsiteY13" fmla="*/ 35107 h 72845"/>
                  <a:gd name="connsiteX14" fmla="*/ 23683 w 34449"/>
                  <a:gd name="connsiteY14" fmla="*/ 37619 h 72845"/>
                  <a:gd name="connsiteX15" fmla="*/ 22488 w 34449"/>
                  <a:gd name="connsiteY15" fmla="*/ 39473 h 72845"/>
                  <a:gd name="connsiteX16" fmla="*/ 21052 w 34449"/>
                  <a:gd name="connsiteY16" fmla="*/ 41686 h 72845"/>
                  <a:gd name="connsiteX17" fmla="*/ 19796 w 34449"/>
                  <a:gd name="connsiteY17" fmla="*/ 43659 h 72845"/>
                  <a:gd name="connsiteX18" fmla="*/ 19617 w 34449"/>
                  <a:gd name="connsiteY18" fmla="*/ 43958 h 72845"/>
                  <a:gd name="connsiteX19" fmla="*/ 17882 w 34449"/>
                  <a:gd name="connsiteY19" fmla="*/ 46530 h 72845"/>
                  <a:gd name="connsiteX20" fmla="*/ 15012 w 34449"/>
                  <a:gd name="connsiteY20" fmla="*/ 50776 h 72845"/>
                  <a:gd name="connsiteX21" fmla="*/ 13696 w 34449"/>
                  <a:gd name="connsiteY21" fmla="*/ 52750 h 72845"/>
                  <a:gd name="connsiteX22" fmla="*/ 9330 w 34449"/>
                  <a:gd name="connsiteY22" fmla="*/ 59149 h 72845"/>
                  <a:gd name="connsiteX23" fmla="*/ 2572 w 34449"/>
                  <a:gd name="connsiteY23" fmla="*/ 69077 h 72845"/>
                  <a:gd name="connsiteX24" fmla="*/ 0 w 34449"/>
                  <a:gd name="connsiteY24" fmla="*/ 72845 h 7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449" h="72845">
                    <a:moveTo>
                      <a:pt x="20992" y="0"/>
                    </a:moveTo>
                    <a:lnTo>
                      <a:pt x="21411" y="1974"/>
                    </a:lnTo>
                    <a:lnTo>
                      <a:pt x="22428" y="4127"/>
                    </a:lnTo>
                    <a:lnTo>
                      <a:pt x="24940" y="6698"/>
                    </a:lnTo>
                    <a:lnTo>
                      <a:pt x="28946" y="9928"/>
                    </a:lnTo>
                    <a:lnTo>
                      <a:pt x="31578" y="12260"/>
                    </a:lnTo>
                    <a:lnTo>
                      <a:pt x="33851" y="15490"/>
                    </a:lnTo>
                    <a:lnTo>
                      <a:pt x="34449" y="19019"/>
                    </a:lnTo>
                    <a:lnTo>
                      <a:pt x="33313" y="22607"/>
                    </a:lnTo>
                    <a:lnTo>
                      <a:pt x="29784" y="28109"/>
                    </a:lnTo>
                    <a:lnTo>
                      <a:pt x="27691" y="31399"/>
                    </a:lnTo>
                    <a:lnTo>
                      <a:pt x="26794" y="32774"/>
                    </a:lnTo>
                    <a:lnTo>
                      <a:pt x="25597" y="34688"/>
                    </a:lnTo>
                    <a:lnTo>
                      <a:pt x="25298" y="35107"/>
                    </a:lnTo>
                    <a:lnTo>
                      <a:pt x="23683" y="37619"/>
                    </a:lnTo>
                    <a:lnTo>
                      <a:pt x="22488" y="39473"/>
                    </a:lnTo>
                    <a:lnTo>
                      <a:pt x="21052" y="41686"/>
                    </a:lnTo>
                    <a:lnTo>
                      <a:pt x="19796" y="43659"/>
                    </a:lnTo>
                    <a:lnTo>
                      <a:pt x="19617" y="43958"/>
                    </a:lnTo>
                    <a:lnTo>
                      <a:pt x="17882" y="46530"/>
                    </a:lnTo>
                    <a:lnTo>
                      <a:pt x="15012" y="50776"/>
                    </a:lnTo>
                    <a:lnTo>
                      <a:pt x="13696" y="52750"/>
                    </a:lnTo>
                    <a:lnTo>
                      <a:pt x="9330" y="59149"/>
                    </a:lnTo>
                    <a:lnTo>
                      <a:pt x="2572" y="69077"/>
                    </a:lnTo>
                    <a:lnTo>
                      <a:pt x="0" y="72845"/>
                    </a:lnTo>
                  </a:path>
                </a:pathLst>
              </a:custGeom>
              <a:noFill/>
              <a:ln w="6350" cap="rnd">
                <a:solidFill>
                  <a:schemeClr val="bg1">
                    <a:alpha val="80000"/>
                  </a:schemeClr>
                </a:solidFill>
                <a:prstDash val="solid"/>
                <a:round/>
              </a:ln>
            </p:spPr>
            <p:txBody>
              <a:bodyPr rtlCol="0" anchor="ctr"/>
              <a:lstStyle/>
              <a:p>
                <a:endParaRPr lang="en-GB"/>
              </a:p>
            </p:txBody>
          </p:sp>
          <p:sp>
            <p:nvSpPr>
              <p:cNvPr id="6541" name="Vrije vorm: vorm 6540">
                <a:extLst>
                  <a:ext uri="{FF2B5EF4-FFF2-40B4-BE49-F238E27FC236}">
                    <a16:creationId xmlns:a16="http://schemas.microsoft.com/office/drawing/2014/main" id="{58371768-9419-4436-9389-EE9511ED2E43}"/>
                  </a:ext>
                </a:extLst>
              </p:cNvPr>
              <p:cNvSpPr/>
              <p:nvPr/>
            </p:nvSpPr>
            <p:spPr>
              <a:xfrm>
                <a:off x="7009605" y="2035280"/>
                <a:ext cx="8074" cy="11782"/>
              </a:xfrm>
              <a:custGeom>
                <a:avLst/>
                <a:gdLst>
                  <a:gd name="connsiteX0" fmla="*/ 7058 w 8074"/>
                  <a:gd name="connsiteY0" fmla="*/ 0 h 11782"/>
                  <a:gd name="connsiteX1" fmla="*/ 8075 w 8074"/>
                  <a:gd name="connsiteY1" fmla="*/ 60 h 11782"/>
                  <a:gd name="connsiteX2" fmla="*/ 8015 w 8074"/>
                  <a:gd name="connsiteY2" fmla="*/ 3409 h 11782"/>
                  <a:gd name="connsiteX3" fmla="*/ 8015 w 8074"/>
                  <a:gd name="connsiteY3" fmla="*/ 4306 h 11782"/>
                  <a:gd name="connsiteX4" fmla="*/ 5862 w 8074"/>
                  <a:gd name="connsiteY4" fmla="*/ 7954 h 11782"/>
                  <a:gd name="connsiteX5" fmla="*/ 1435 w 8074"/>
                  <a:gd name="connsiteY5" fmla="*/ 11782 h 11782"/>
                  <a:gd name="connsiteX6" fmla="*/ 0 w 8074"/>
                  <a:gd name="connsiteY6" fmla="*/ 11603 h 1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74" h="11782">
                    <a:moveTo>
                      <a:pt x="7058" y="0"/>
                    </a:moveTo>
                    <a:lnTo>
                      <a:pt x="8075" y="60"/>
                    </a:lnTo>
                    <a:lnTo>
                      <a:pt x="8015" y="3409"/>
                    </a:lnTo>
                    <a:lnTo>
                      <a:pt x="8015" y="4306"/>
                    </a:lnTo>
                    <a:lnTo>
                      <a:pt x="5862" y="7954"/>
                    </a:lnTo>
                    <a:lnTo>
                      <a:pt x="1435" y="11782"/>
                    </a:lnTo>
                    <a:lnTo>
                      <a:pt x="0" y="11603"/>
                    </a:lnTo>
                  </a:path>
                </a:pathLst>
              </a:custGeom>
              <a:noFill/>
              <a:ln w="6350" cap="rnd">
                <a:solidFill>
                  <a:schemeClr val="bg1">
                    <a:alpha val="80000"/>
                  </a:schemeClr>
                </a:solidFill>
                <a:prstDash val="solid"/>
                <a:round/>
              </a:ln>
            </p:spPr>
            <p:txBody>
              <a:bodyPr rtlCol="0" anchor="ctr"/>
              <a:lstStyle/>
              <a:p>
                <a:endParaRPr lang="en-GB"/>
              </a:p>
            </p:txBody>
          </p:sp>
          <p:sp>
            <p:nvSpPr>
              <p:cNvPr id="6542" name="Vrije vorm: vorm 6541">
                <a:extLst>
                  <a:ext uri="{FF2B5EF4-FFF2-40B4-BE49-F238E27FC236}">
                    <a16:creationId xmlns:a16="http://schemas.microsoft.com/office/drawing/2014/main" id="{D5E268F8-305E-4AAE-AA20-9E6C4A0DB365}"/>
                  </a:ext>
                </a:extLst>
              </p:cNvPr>
              <p:cNvSpPr/>
              <p:nvPr/>
            </p:nvSpPr>
            <p:spPr>
              <a:xfrm>
                <a:off x="7019533" y="1887376"/>
                <a:ext cx="18899" cy="5203"/>
              </a:xfrm>
              <a:custGeom>
                <a:avLst/>
                <a:gdLst>
                  <a:gd name="connsiteX0" fmla="*/ 18899 w 18899"/>
                  <a:gd name="connsiteY0" fmla="*/ 0 h 5203"/>
                  <a:gd name="connsiteX1" fmla="*/ 18720 w 18899"/>
                  <a:gd name="connsiteY1" fmla="*/ 0 h 5203"/>
                  <a:gd name="connsiteX2" fmla="*/ 17045 w 18899"/>
                  <a:gd name="connsiteY2" fmla="*/ 299 h 5203"/>
                  <a:gd name="connsiteX3" fmla="*/ 13816 w 18899"/>
                  <a:gd name="connsiteY3" fmla="*/ 957 h 5203"/>
                  <a:gd name="connsiteX4" fmla="*/ 5981 w 18899"/>
                  <a:gd name="connsiteY4" fmla="*/ 2512 h 5203"/>
                  <a:gd name="connsiteX5" fmla="*/ 299 w 18899"/>
                  <a:gd name="connsiteY5" fmla="*/ 5084 h 5203"/>
                  <a:gd name="connsiteX6" fmla="*/ 0 w 18899"/>
                  <a:gd name="connsiteY6" fmla="*/ 5203 h 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99" h="5203">
                    <a:moveTo>
                      <a:pt x="18899" y="0"/>
                    </a:moveTo>
                    <a:lnTo>
                      <a:pt x="18720" y="0"/>
                    </a:lnTo>
                    <a:lnTo>
                      <a:pt x="17045" y="299"/>
                    </a:lnTo>
                    <a:lnTo>
                      <a:pt x="13816" y="957"/>
                    </a:lnTo>
                    <a:lnTo>
                      <a:pt x="5981" y="2512"/>
                    </a:lnTo>
                    <a:lnTo>
                      <a:pt x="299" y="5084"/>
                    </a:lnTo>
                    <a:lnTo>
                      <a:pt x="0" y="5203"/>
                    </a:lnTo>
                  </a:path>
                </a:pathLst>
              </a:custGeom>
              <a:noFill/>
              <a:ln w="6350" cap="rnd">
                <a:solidFill>
                  <a:schemeClr val="bg1">
                    <a:alpha val="80000"/>
                  </a:schemeClr>
                </a:solidFill>
                <a:prstDash val="solid"/>
                <a:round/>
              </a:ln>
            </p:spPr>
            <p:txBody>
              <a:bodyPr rtlCol="0" anchor="ctr"/>
              <a:lstStyle/>
              <a:p>
                <a:endParaRPr lang="en-GB"/>
              </a:p>
            </p:txBody>
          </p:sp>
          <p:sp>
            <p:nvSpPr>
              <p:cNvPr id="6543" name="Vrije vorm: vorm 6542">
                <a:extLst>
                  <a:ext uri="{FF2B5EF4-FFF2-40B4-BE49-F238E27FC236}">
                    <a16:creationId xmlns:a16="http://schemas.microsoft.com/office/drawing/2014/main" id="{5B9A9B24-F18A-4262-8915-7F14BA06F208}"/>
                  </a:ext>
                </a:extLst>
              </p:cNvPr>
              <p:cNvSpPr/>
              <p:nvPr/>
            </p:nvSpPr>
            <p:spPr>
              <a:xfrm>
                <a:off x="6867623" y="1737918"/>
                <a:ext cx="38516" cy="40190"/>
              </a:xfrm>
              <a:custGeom>
                <a:avLst/>
                <a:gdLst>
                  <a:gd name="connsiteX0" fmla="*/ 0 w 38516"/>
                  <a:gd name="connsiteY0" fmla="*/ 40190 h 40190"/>
                  <a:gd name="connsiteX1" fmla="*/ 9569 w 38516"/>
                  <a:gd name="connsiteY1" fmla="*/ 29006 h 40190"/>
                  <a:gd name="connsiteX2" fmla="*/ 26794 w 38516"/>
                  <a:gd name="connsiteY2" fmla="*/ 10705 h 40190"/>
                  <a:gd name="connsiteX3" fmla="*/ 38516 w 38516"/>
                  <a:gd name="connsiteY3" fmla="*/ 0 h 40190"/>
                </a:gdLst>
                <a:ahLst/>
                <a:cxnLst>
                  <a:cxn ang="0">
                    <a:pos x="connsiteX0" y="connsiteY0"/>
                  </a:cxn>
                  <a:cxn ang="0">
                    <a:pos x="connsiteX1" y="connsiteY1"/>
                  </a:cxn>
                  <a:cxn ang="0">
                    <a:pos x="connsiteX2" y="connsiteY2"/>
                  </a:cxn>
                  <a:cxn ang="0">
                    <a:pos x="connsiteX3" y="connsiteY3"/>
                  </a:cxn>
                </a:cxnLst>
                <a:rect l="l" t="t" r="r" b="b"/>
                <a:pathLst>
                  <a:path w="38516" h="40190">
                    <a:moveTo>
                      <a:pt x="0" y="40190"/>
                    </a:moveTo>
                    <a:lnTo>
                      <a:pt x="9569" y="29006"/>
                    </a:lnTo>
                    <a:lnTo>
                      <a:pt x="26794" y="10705"/>
                    </a:lnTo>
                    <a:lnTo>
                      <a:pt x="38516" y="0"/>
                    </a:lnTo>
                  </a:path>
                </a:pathLst>
              </a:custGeom>
              <a:noFill/>
              <a:ln w="6350" cap="rnd">
                <a:solidFill>
                  <a:schemeClr val="bg1">
                    <a:alpha val="80000"/>
                  </a:schemeClr>
                </a:solidFill>
                <a:prstDash val="solid"/>
                <a:round/>
              </a:ln>
            </p:spPr>
            <p:txBody>
              <a:bodyPr rtlCol="0" anchor="ctr"/>
              <a:lstStyle/>
              <a:p>
                <a:endParaRPr lang="en-GB"/>
              </a:p>
            </p:txBody>
          </p:sp>
          <p:sp>
            <p:nvSpPr>
              <p:cNvPr id="6544" name="Vrije vorm: vorm 6543">
                <a:extLst>
                  <a:ext uri="{FF2B5EF4-FFF2-40B4-BE49-F238E27FC236}">
                    <a16:creationId xmlns:a16="http://schemas.microsoft.com/office/drawing/2014/main" id="{4284C4BA-3B00-4003-9E8A-6766EB2D3CF7}"/>
                  </a:ext>
                </a:extLst>
              </p:cNvPr>
              <p:cNvSpPr/>
              <p:nvPr/>
            </p:nvSpPr>
            <p:spPr>
              <a:xfrm>
                <a:off x="6847707" y="1789113"/>
                <a:ext cx="11423" cy="19556"/>
              </a:xfrm>
              <a:custGeom>
                <a:avLst/>
                <a:gdLst>
                  <a:gd name="connsiteX0" fmla="*/ 0 w 11423"/>
                  <a:gd name="connsiteY0" fmla="*/ 19557 h 19556"/>
                  <a:gd name="connsiteX1" fmla="*/ 1675 w 11423"/>
                  <a:gd name="connsiteY1" fmla="*/ 16268 h 19556"/>
                  <a:gd name="connsiteX2" fmla="*/ 1854 w 11423"/>
                  <a:gd name="connsiteY2" fmla="*/ 15969 h 19556"/>
                  <a:gd name="connsiteX3" fmla="*/ 2751 w 11423"/>
                  <a:gd name="connsiteY3" fmla="*/ 14115 h 19556"/>
                  <a:gd name="connsiteX4" fmla="*/ 4126 w 11423"/>
                  <a:gd name="connsiteY4" fmla="*/ 11423 h 19556"/>
                  <a:gd name="connsiteX5" fmla="*/ 5443 w 11423"/>
                  <a:gd name="connsiteY5" fmla="*/ 9330 h 19556"/>
                  <a:gd name="connsiteX6" fmla="*/ 5443 w 11423"/>
                  <a:gd name="connsiteY6" fmla="*/ 9330 h 19556"/>
                  <a:gd name="connsiteX7" fmla="*/ 5503 w 11423"/>
                  <a:gd name="connsiteY7" fmla="*/ 9270 h 19556"/>
                  <a:gd name="connsiteX8" fmla="*/ 8134 w 11423"/>
                  <a:gd name="connsiteY8" fmla="*/ 5024 h 19556"/>
                  <a:gd name="connsiteX9" fmla="*/ 10287 w 11423"/>
                  <a:gd name="connsiteY9" fmla="*/ 1615 h 19556"/>
                  <a:gd name="connsiteX10" fmla="*/ 11423 w 11423"/>
                  <a:gd name="connsiteY10" fmla="*/ 0 h 1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23" h="19556">
                    <a:moveTo>
                      <a:pt x="0" y="19557"/>
                    </a:moveTo>
                    <a:lnTo>
                      <a:pt x="1675" y="16268"/>
                    </a:lnTo>
                    <a:lnTo>
                      <a:pt x="1854" y="15969"/>
                    </a:lnTo>
                    <a:lnTo>
                      <a:pt x="2751" y="14115"/>
                    </a:lnTo>
                    <a:lnTo>
                      <a:pt x="4126" y="11423"/>
                    </a:lnTo>
                    <a:lnTo>
                      <a:pt x="5443" y="9330"/>
                    </a:lnTo>
                    <a:lnTo>
                      <a:pt x="5443" y="9330"/>
                    </a:lnTo>
                    <a:lnTo>
                      <a:pt x="5503" y="9270"/>
                    </a:lnTo>
                    <a:lnTo>
                      <a:pt x="8134" y="5024"/>
                    </a:lnTo>
                    <a:lnTo>
                      <a:pt x="10287" y="1615"/>
                    </a:lnTo>
                    <a:lnTo>
                      <a:pt x="11423" y="0"/>
                    </a:lnTo>
                  </a:path>
                </a:pathLst>
              </a:custGeom>
              <a:noFill/>
              <a:ln w="6350" cap="rnd">
                <a:solidFill>
                  <a:schemeClr val="bg1">
                    <a:alpha val="80000"/>
                  </a:schemeClr>
                </a:solidFill>
                <a:prstDash val="solid"/>
                <a:round/>
              </a:ln>
            </p:spPr>
            <p:txBody>
              <a:bodyPr rtlCol="0" anchor="ctr"/>
              <a:lstStyle/>
              <a:p>
                <a:endParaRPr lang="en-GB"/>
              </a:p>
            </p:txBody>
          </p:sp>
          <p:sp>
            <p:nvSpPr>
              <p:cNvPr id="6545" name="Vrije vorm: vorm 6544">
                <a:extLst>
                  <a:ext uri="{FF2B5EF4-FFF2-40B4-BE49-F238E27FC236}">
                    <a16:creationId xmlns:a16="http://schemas.microsoft.com/office/drawing/2014/main" id="{BA36E17E-FBBD-4E3F-B8F0-604E4139FD88}"/>
                  </a:ext>
                </a:extLst>
              </p:cNvPr>
              <p:cNvSpPr/>
              <p:nvPr/>
            </p:nvSpPr>
            <p:spPr>
              <a:xfrm>
                <a:off x="6899141" y="1917758"/>
                <a:ext cx="8791" cy="1136"/>
              </a:xfrm>
              <a:custGeom>
                <a:avLst/>
                <a:gdLst>
                  <a:gd name="connsiteX0" fmla="*/ 0 w 8791"/>
                  <a:gd name="connsiteY0" fmla="*/ 0 h 1136"/>
                  <a:gd name="connsiteX1" fmla="*/ 598 w 8791"/>
                  <a:gd name="connsiteY1" fmla="*/ 179 h 1136"/>
                  <a:gd name="connsiteX2" fmla="*/ 1256 w 8791"/>
                  <a:gd name="connsiteY2" fmla="*/ 359 h 1136"/>
                  <a:gd name="connsiteX3" fmla="*/ 1914 w 8791"/>
                  <a:gd name="connsiteY3" fmla="*/ 538 h 1136"/>
                  <a:gd name="connsiteX4" fmla="*/ 2990 w 8791"/>
                  <a:gd name="connsiteY4" fmla="*/ 837 h 1136"/>
                  <a:gd name="connsiteX5" fmla="*/ 4067 w 8791"/>
                  <a:gd name="connsiteY5" fmla="*/ 1136 h 1136"/>
                  <a:gd name="connsiteX6" fmla="*/ 4246 w 8791"/>
                  <a:gd name="connsiteY6" fmla="*/ 1077 h 1136"/>
                  <a:gd name="connsiteX7" fmla="*/ 4605 w 8791"/>
                  <a:gd name="connsiteY7" fmla="*/ 1017 h 1136"/>
                  <a:gd name="connsiteX8" fmla="*/ 6818 w 8791"/>
                  <a:gd name="connsiteY8" fmla="*/ 658 h 1136"/>
                  <a:gd name="connsiteX9" fmla="*/ 7296 w 8791"/>
                  <a:gd name="connsiteY9" fmla="*/ 598 h 1136"/>
                  <a:gd name="connsiteX10" fmla="*/ 8791 w 8791"/>
                  <a:gd name="connsiteY10" fmla="*/ 299 h 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91" h="1136">
                    <a:moveTo>
                      <a:pt x="0" y="0"/>
                    </a:moveTo>
                    <a:lnTo>
                      <a:pt x="598" y="179"/>
                    </a:lnTo>
                    <a:lnTo>
                      <a:pt x="1256" y="359"/>
                    </a:lnTo>
                    <a:lnTo>
                      <a:pt x="1914" y="538"/>
                    </a:lnTo>
                    <a:lnTo>
                      <a:pt x="2990" y="837"/>
                    </a:lnTo>
                    <a:lnTo>
                      <a:pt x="4067" y="1136"/>
                    </a:lnTo>
                    <a:lnTo>
                      <a:pt x="4246" y="1077"/>
                    </a:lnTo>
                    <a:lnTo>
                      <a:pt x="4605" y="1017"/>
                    </a:lnTo>
                    <a:lnTo>
                      <a:pt x="6818" y="658"/>
                    </a:lnTo>
                    <a:lnTo>
                      <a:pt x="7296" y="598"/>
                    </a:lnTo>
                    <a:lnTo>
                      <a:pt x="8791" y="299"/>
                    </a:lnTo>
                  </a:path>
                </a:pathLst>
              </a:custGeom>
              <a:noFill/>
              <a:ln w="6350" cap="rnd">
                <a:solidFill>
                  <a:schemeClr val="bg1">
                    <a:alpha val="80000"/>
                  </a:schemeClr>
                </a:solidFill>
                <a:prstDash val="solid"/>
                <a:round/>
              </a:ln>
            </p:spPr>
            <p:txBody>
              <a:bodyPr rtlCol="0" anchor="ctr"/>
              <a:lstStyle/>
              <a:p>
                <a:endParaRPr lang="en-GB"/>
              </a:p>
            </p:txBody>
          </p:sp>
          <p:sp>
            <p:nvSpPr>
              <p:cNvPr id="6546" name="Vrije vorm: vorm 6545">
                <a:extLst>
                  <a:ext uri="{FF2B5EF4-FFF2-40B4-BE49-F238E27FC236}">
                    <a16:creationId xmlns:a16="http://schemas.microsoft.com/office/drawing/2014/main" id="{2D6FB97E-B936-4187-A15D-2FCDEDB1108B}"/>
                  </a:ext>
                </a:extLst>
              </p:cNvPr>
              <p:cNvSpPr/>
              <p:nvPr/>
            </p:nvSpPr>
            <p:spPr>
              <a:xfrm>
                <a:off x="6625104" y="1844973"/>
                <a:ext cx="2093" cy="30083"/>
              </a:xfrm>
              <a:custGeom>
                <a:avLst/>
                <a:gdLst>
                  <a:gd name="connsiteX0" fmla="*/ 2093 w 2093"/>
                  <a:gd name="connsiteY0" fmla="*/ 30083 h 30083"/>
                  <a:gd name="connsiteX1" fmla="*/ 718 w 2093"/>
                  <a:gd name="connsiteY1" fmla="*/ 28648 h 30083"/>
                  <a:gd name="connsiteX2" fmla="*/ 718 w 2093"/>
                  <a:gd name="connsiteY2" fmla="*/ 18540 h 30083"/>
                  <a:gd name="connsiteX3" fmla="*/ 359 w 2093"/>
                  <a:gd name="connsiteY3" fmla="*/ 6698 h 30083"/>
                  <a:gd name="connsiteX4" fmla="*/ 0 w 2093"/>
                  <a:gd name="connsiteY4" fmla="*/ 359 h 30083"/>
                  <a:gd name="connsiteX5" fmla="*/ 0 w 2093"/>
                  <a:gd name="connsiteY5" fmla="*/ 0 h 30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3" h="30083">
                    <a:moveTo>
                      <a:pt x="2093" y="30083"/>
                    </a:moveTo>
                    <a:lnTo>
                      <a:pt x="718" y="28648"/>
                    </a:lnTo>
                    <a:lnTo>
                      <a:pt x="718" y="18540"/>
                    </a:lnTo>
                    <a:lnTo>
                      <a:pt x="359" y="6698"/>
                    </a:lnTo>
                    <a:lnTo>
                      <a:pt x="0" y="35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47" name="Vrije vorm: vorm 6546">
                <a:extLst>
                  <a:ext uri="{FF2B5EF4-FFF2-40B4-BE49-F238E27FC236}">
                    <a16:creationId xmlns:a16="http://schemas.microsoft.com/office/drawing/2014/main" id="{A9DA41A8-53E7-4B22-B7D0-6C2692BE46A0}"/>
                  </a:ext>
                </a:extLst>
              </p:cNvPr>
              <p:cNvSpPr/>
              <p:nvPr/>
            </p:nvSpPr>
            <p:spPr>
              <a:xfrm>
                <a:off x="6636707" y="1854183"/>
                <a:ext cx="57475" cy="18121"/>
              </a:xfrm>
              <a:custGeom>
                <a:avLst/>
                <a:gdLst>
                  <a:gd name="connsiteX0" fmla="*/ 1076 w 57475"/>
                  <a:gd name="connsiteY0" fmla="*/ 12021 h 18121"/>
                  <a:gd name="connsiteX1" fmla="*/ 0 w 57475"/>
                  <a:gd name="connsiteY1" fmla="*/ 10048 h 18121"/>
                  <a:gd name="connsiteX2" fmla="*/ 479 w 57475"/>
                  <a:gd name="connsiteY2" fmla="*/ 7237 h 18121"/>
                  <a:gd name="connsiteX3" fmla="*/ 1435 w 57475"/>
                  <a:gd name="connsiteY3" fmla="*/ 5442 h 18121"/>
                  <a:gd name="connsiteX4" fmla="*/ 11244 w 57475"/>
                  <a:gd name="connsiteY4" fmla="*/ 2213 h 18121"/>
                  <a:gd name="connsiteX5" fmla="*/ 25299 w 57475"/>
                  <a:gd name="connsiteY5" fmla="*/ 60 h 18121"/>
                  <a:gd name="connsiteX6" fmla="*/ 35107 w 57475"/>
                  <a:gd name="connsiteY6" fmla="*/ 0 h 18121"/>
                  <a:gd name="connsiteX7" fmla="*/ 45095 w 57475"/>
                  <a:gd name="connsiteY7" fmla="*/ 2213 h 18121"/>
                  <a:gd name="connsiteX8" fmla="*/ 49222 w 57475"/>
                  <a:gd name="connsiteY8" fmla="*/ 3768 h 18121"/>
                  <a:gd name="connsiteX9" fmla="*/ 49700 w 57475"/>
                  <a:gd name="connsiteY9" fmla="*/ 3947 h 18121"/>
                  <a:gd name="connsiteX10" fmla="*/ 52212 w 57475"/>
                  <a:gd name="connsiteY10" fmla="*/ 4904 h 18121"/>
                  <a:gd name="connsiteX11" fmla="*/ 55920 w 57475"/>
                  <a:gd name="connsiteY11" fmla="*/ 8792 h 18121"/>
                  <a:gd name="connsiteX12" fmla="*/ 56458 w 57475"/>
                  <a:gd name="connsiteY12" fmla="*/ 9330 h 18121"/>
                  <a:gd name="connsiteX13" fmla="*/ 57475 w 57475"/>
                  <a:gd name="connsiteY13" fmla="*/ 10347 h 18121"/>
                  <a:gd name="connsiteX14" fmla="*/ 56039 w 57475"/>
                  <a:gd name="connsiteY14" fmla="*/ 15849 h 18121"/>
                  <a:gd name="connsiteX15" fmla="*/ 55621 w 57475"/>
                  <a:gd name="connsiteY15" fmla="*/ 16268 h 18121"/>
                  <a:gd name="connsiteX16" fmla="*/ 53767 w 57475"/>
                  <a:gd name="connsiteY16" fmla="*/ 18122 h 18121"/>
                  <a:gd name="connsiteX17" fmla="*/ 50358 w 57475"/>
                  <a:gd name="connsiteY17" fmla="*/ 17583 h 18121"/>
                  <a:gd name="connsiteX18" fmla="*/ 49222 w 57475"/>
                  <a:gd name="connsiteY18" fmla="*/ 17045 h 1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475" h="18121">
                    <a:moveTo>
                      <a:pt x="1076" y="12021"/>
                    </a:moveTo>
                    <a:lnTo>
                      <a:pt x="0" y="10048"/>
                    </a:lnTo>
                    <a:lnTo>
                      <a:pt x="479" y="7237"/>
                    </a:lnTo>
                    <a:lnTo>
                      <a:pt x="1435" y="5442"/>
                    </a:lnTo>
                    <a:lnTo>
                      <a:pt x="11244" y="2213"/>
                    </a:lnTo>
                    <a:lnTo>
                      <a:pt x="25299" y="60"/>
                    </a:lnTo>
                    <a:lnTo>
                      <a:pt x="35107" y="0"/>
                    </a:lnTo>
                    <a:lnTo>
                      <a:pt x="45095" y="2213"/>
                    </a:lnTo>
                    <a:lnTo>
                      <a:pt x="49222" y="3768"/>
                    </a:lnTo>
                    <a:lnTo>
                      <a:pt x="49700" y="3947"/>
                    </a:lnTo>
                    <a:lnTo>
                      <a:pt x="52212" y="4904"/>
                    </a:lnTo>
                    <a:lnTo>
                      <a:pt x="55920" y="8792"/>
                    </a:lnTo>
                    <a:lnTo>
                      <a:pt x="56458" y="9330"/>
                    </a:lnTo>
                    <a:lnTo>
                      <a:pt x="57475" y="10347"/>
                    </a:lnTo>
                    <a:lnTo>
                      <a:pt x="56039" y="15849"/>
                    </a:lnTo>
                    <a:lnTo>
                      <a:pt x="55621" y="16268"/>
                    </a:lnTo>
                    <a:lnTo>
                      <a:pt x="53767" y="18122"/>
                    </a:lnTo>
                    <a:lnTo>
                      <a:pt x="50358" y="17583"/>
                    </a:lnTo>
                    <a:lnTo>
                      <a:pt x="49222" y="17045"/>
                    </a:lnTo>
                  </a:path>
                </a:pathLst>
              </a:custGeom>
              <a:noFill/>
              <a:ln w="6350" cap="rnd">
                <a:solidFill>
                  <a:schemeClr val="bg1">
                    <a:alpha val="80000"/>
                  </a:schemeClr>
                </a:solidFill>
                <a:prstDash val="solid"/>
                <a:round/>
              </a:ln>
            </p:spPr>
            <p:txBody>
              <a:bodyPr rtlCol="0" anchor="ctr"/>
              <a:lstStyle/>
              <a:p>
                <a:endParaRPr lang="en-GB"/>
              </a:p>
            </p:txBody>
          </p:sp>
          <p:sp>
            <p:nvSpPr>
              <p:cNvPr id="6548" name="Vrije vorm: vorm 6547">
                <a:extLst>
                  <a:ext uri="{FF2B5EF4-FFF2-40B4-BE49-F238E27FC236}">
                    <a16:creationId xmlns:a16="http://schemas.microsoft.com/office/drawing/2014/main" id="{75D349DC-BC6C-4005-A769-2803345D2C3C}"/>
                  </a:ext>
                </a:extLst>
              </p:cNvPr>
              <p:cNvSpPr/>
              <p:nvPr/>
            </p:nvSpPr>
            <p:spPr>
              <a:xfrm>
                <a:off x="6841188" y="1775238"/>
                <a:ext cx="15430" cy="9150"/>
              </a:xfrm>
              <a:custGeom>
                <a:avLst/>
                <a:gdLst>
                  <a:gd name="connsiteX0" fmla="*/ 0 w 15430"/>
                  <a:gd name="connsiteY0" fmla="*/ 0 h 9150"/>
                  <a:gd name="connsiteX1" fmla="*/ 1734 w 15430"/>
                  <a:gd name="connsiteY1" fmla="*/ 1017 h 9150"/>
                  <a:gd name="connsiteX2" fmla="*/ 4904 w 15430"/>
                  <a:gd name="connsiteY2" fmla="*/ 2931 h 9150"/>
                  <a:gd name="connsiteX3" fmla="*/ 9987 w 15430"/>
                  <a:gd name="connsiteY3" fmla="*/ 5921 h 9150"/>
                  <a:gd name="connsiteX4" fmla="*/ 12799 w 15430"/>
                  <a:gd name="connsiteY4" fmla="*/ 7596 h 9150"/>
                  <a:gd name="connsiteX5" fmla="*/ 15131 w 15430"/>
                  <a:gd name="connsiteY5" fmla="*/ 8971 h 9150"/>
                  <a:gd name="connsiteX6" fmla="*/ 15430 w 15430"/>
                  <a:gd name="connsiteY6" fmla="*/ 9151 h 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30" h="9150">
                    <a:moveTo>
                      <a:pt x="0" y="0"/>
                    </a:moveTo>
                    <a:lnTo>
                      <a:pt x="1734" y="1017"/>
                    </a:lnTo>
                    <a:lnTo>
                      <a:pt x="4904" y="2931"/>
                    </a:lnTo>
                    <a:lnTo>
                      <a:pt x="9987" y="5921"/>
                    </a:lnTo>
                    <a:lnTo>
                      <a:pt x="12799" y="7596"/>
                    </a:lnTo>
                    <a:lnTo>
                      <a:pt x="15131" y="8971"/>
                    </a:lnTo>
                    <a:lnTo>
                      <a:pt x="15430" y="9151"/>
                    </a:lnTo>
                  </a:path>
                </a:pathLst>
              </a:custGeom>
              <a:noFill/>
              <a:ln w="6350" cap="rnd">
                <a:solidFill>
                  <a:schemeClr val="bg1">
                    <a:alpha val="80000"/>
                  </a:schemeClr>
                </a:solidFill>
                <a:prstDash val="solid"/>
                <a:round/>
              </a:ln>
            </p:spPr>
            <p:txBody>
              <a:bodyPr rtlCol="0" anchor="ctr"/>
              <a:lstStyle/>
              <a:p>
                <a:endParaRPr lang="en-GB"/>
              </a:p>
            </p:txBody>
          </p:sp>
          <p:sp>
            <p:nvSpPr>
              <p:cNvPr id="6549" name="Vrije vorm: vorm 6548">
                <a:extLst>
                  <a:ext uri="{FF2B5EF4-FFF2-40B4-BE49-F238E27FC236}">
                    <a16:creationId xmlns:a16="http://schemas.microsoft.com/office/drawing/2014/main" id="{DDAEDA64-451A-4AE2-AF31-3DF895CF414E}"/>
                  </a:ext>
                </a:extLst>
              </p:cNvPr>
              <p:cNvSpPr/>
              <p:nvPr/>
            </p:nvSpPr>
            <p:spPr>
              <a:xfrm>
                <a:off x="6979283" y="1857592"/>
                <a:ext cx="6458" cy="6279"/>
              </a:xfrm>
              <a:custGeom>
                <a:avLst/>
                <a:gdLst>
                  <a:gd name="connsiteX0" fmla="*/ 6280 w 6458"/>
                  <a:gd name="connsiteY0" fmla="*/ 6280 h 6279"/>
                  <a:gd name="connsiteX1" fmla="*/ 5503 w 6458"/>
                  <a:gd name="connsiteY1" fmla="*/ 5801 h 6279"/>
                  <a:gd name="connsiteX2" fmla="*/ 1555 w 6458"/>
                  <a:gd name="connsiteY2" fmla="*/ 3469 h 6279"/>
                  <a:gd name="connsiteX3" fmla="*/ 0 w 6458"/>
                  <a:gd name="connsiteY3" fmla="*/ 2572 h 6279"/>
                  <a:gd name="connsiteX4" fmla="*/ 718 w 6458"/>
                  <a:gd name="connsiteY4" fmla="*/ 1376 h 6279"/>
                  <a:gd name="connsiteX5" fmla="*/ 1555 w 6458"/>
                  <a:gd name="connsiteY5" fmla="*/ 0 h 6279"/>
                  <a:gd name="connsiteX6" fmla="*/ 3110 w 6458"/>
                  <a:gd name="connsiteY6" fmla="*/ 897 h 6279"/>
                  <a:gd name="connsiteX7" fmla="*/ 5562 w 6458"/>
                  <a:gd name="connsiteY7" fmla="*/ 2332 h 6279"/>
                  <a:gd name="connsiteX8" fmla="*/ 6459 w 6458"/>
                  <a:gd name="connsiteY8" fmla="*/ 287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58" h="6279">
                    <a:moveTo>
                      <a:pt x="6280" y="6280"/>
                    </a:moveTo>
                    <a:lnTo>
                      <a:pt x="5503" y="5801"/>
                    </a:lnTo>
                    <a:lnTo>
                      <a:pt x="1555" y="3469"/>
                    </a:lnTo>
                    <a:lnTo>
                      <a:pt x="0" y="2572"/>
                    </a:lnTo>
                    <a:lnTo>
                      <a:pt x="718" y="1376"/>
                    </a:lnTo>
                    <a:lnTo>
                      <a:pt x="1555" y="0"/>
                    </a:lnTo>
                    <a:lnTo>
                      <a:pt x="3110" y="897"/>
                    </a:lnTo>
                    <a:lnTo>
                      <a:pt x="5562" y="2332"/>
                    </a:lnTo>
                    <a:lnTo>
                      <a:pt x="6459" y="2871"/>
                    </a:lnTo>
                  </a:path>
                </a:pathLst>
              </a:custGeom>
              <a:noFill/>
              <a:ln w="6350" cap="rnd">
                <a:solidFill>
                  <a:schemeClr val="bg1">
                    <a:alpha val="80000"/>
                  </a:schemeClr>
                </a:solidFill>
                <a:prstDash val="solid"/>
                <a:round/>
              </a:ln>
            </p:spPr>
            <p:txBody>
              <a:bodyPr rtlCol="0" anchor="ctr"/>
              <a:lstStyle/>
              <a:p>
                <a:endParaRPr lang="en-GB"/>
              </a:p>
            </p:txBody>
          </p:sp>
          <p:sp>
            <p:nvSpPr>
              <p:cNvPr id="6550" name="Vrije vorm: vorm 6549">
                <a:extLst>
                  <a:ext uri="{FF2B5EF4-FFF2-40B4-BE49-F238E27FC236}">
                    <a16:creationId xmlns:a16="http://schemas.microsoft.com/office/drawing/2014/main" id="{0E3CD64D-D3FE-482F-B7F5-55BF71D90764}"/>
                  </a:ext>
                </a:extLst>
              </p:cNvPr>
              <p:cNvSpPr/>
              <p:nvPr/>
            </p:nvSpPr>
            <p:spPr>
              <a:xfrm>
                <a:off x="6989151" y="1852628"/>
                <a:ext cx="956" cy="478"/>
              </a:xfrm>
              <a:custGeom>
                <a:avLst/>
                <a:gdLst>
                  <a:gd name="connsiteX0" fmla="*/ 956 w 956"/>
                  <a:gd name="connsiteY0" fmla="*/ 478 h 478"/>
                  <a:gd name="connsiteX1" fmla="*/ 478 w 956"/>
                  <a:gd name="connsiteY1" fmla="*/ 239 h 478"/>
                  <a:gd name="connsiteX2" fmla="*/ 0 w 956"/>
                  <a:gd name="connsiteY2" fmla="*/ 0 h 478"/>
                </a:gdLst>
                <a:ahLst/>
                <a:cxnLst>
                  <a:cxn ang="0">
                    <a:pos x="connsiteX0" y="connsiteY0"/>
                  </a:cxn>
                  <a:cxn ang="0">
                    <a:pos x="connsiteX1" y="connsiteY1"/>
                  </a:cxn>
                  <a:cxn ang="0">
                    <a:pos x="connsiteX2" y="connsiteY2"/>
                  </a:cxn>
                </a:cxnLst>
                <a:rect l="l" t="t" r="r" b="b"/>
                <a:pathLst>
                  <a:path w="956" h="478">
                    <a:moveTo>
                      <a:pt x="956" y="478"/>
                    </a:moveTo>
                    <a:lnTo>
                      <a:pt x="478" y="23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51" name="Vrije vorm: vorm 6550">
                <a:extLst>
                  <a:ext uri="{FF2B5EF4-FFF2-40B4-BE49-F238E27FC236}">
                    <a16:creationId xmlns:a16="http://schemas.microsoft.com/office/drawing/2014/main" id="{F0F996D7-4729-444E-BFD7-00DFE0CA73AD}"/>
                  </a:ext>
                </a:extLst>
              </p:cNvPr>
              <p:cNvSpPr/>
              <p:nvPr/>
            </p:nvSpPr>
            <p:spPr>
              <a:xfrm>
                <a:off x="6702256" y="1895510"/>
                <a:ext cx="6937" cy="4246"/>
              </a:xfrm>
              <a:custGeom>
                <a:avLst/>
                <a:gdLst>
                  <a:gd name="connsiteX0" fmla="*/ 6937 w 6937"/>
                  <a:gd name="connsiteY0" fmla="*/ 3768 h 4246"/>
                  <a:gd name="connsiteX1" fmla="*/ 6639 w 6937"/>
                  <a:gd name="connsiteY1" fmla="*/ 4246 h 4246"/>
                  <a:gd name="connsiteX2" fmla="*/ 5981 w 6937"/>
                  <a:gd name="connsiteY2" fmla="*/ 3888 h 4246"/>
                  <a:gd name="connsiteX3" fmla="*/ 3229 w 6937"/>
                  <a:gd name="connsiteY3" fmla="*/ 2512 h 4246"/>
                  <a:gd name="connsiteX4" fmla="*/ 0 w 6937"/>
                  <a:gd name="connsiteY4" fmla="*/ 359 h 4246"/>
                  <a:gd name="connsiteX5" fmla="*/ 179 w 6937"/>
                  <a:gd name="connsiteY5" fmla="*/ 0 h 4246"/>
                  <a:gd name="connsiteX6" fmla="*/ 179 w 6937"/>
                  <a:gd name="connsiteY6" fmla="*/ 0 h 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37" h="4246">
                    <a:moveTo>
                      <a:pt x="6937" y="3768"/>
                    </a:moveTo>
                    <a:lnTo>
                      <a:pt x="6639" y="4246"/>
                    </a:lnTo>
                    <a:lnTo>
                      <a:pt x="5981" y="3888"/>
                    </a:lnTo>
                    <a:lnTo>
                      <a:pt x="3229" y="2512"/>
                    </a:lnTo>
                    <a:lnTo>
                      <a:pt x="0" y="359"/>
                    </a:lnTo>
                    <a:lnTo>
                      <a:pt x="179" y="0"/>
                    </a:lnTo>
                    <a:lnTo>
                      <a:pt x="179" y="0"/>
                    </a:lnTo>
                  </a:path>
                </a:pathLst>
              </a:custGeom>
              <a:noFill/>
              <a:ln w="6350" cap="rnd">
                <a:solidFill>
                  <a:schemeClr val="bg1">
                    <a:alpha val="80000"/>
                  </a:schemeClr>
                </a:solidFill>
                <a:prstDash val="solid"/>
                <a:round/>
              </a:ln>
            </p:spPr>
            <p:txBody>
              <a:bodyPr rtlCol="0" anchor="ctr"/>
              <a:lstStyle/>
              <a:p>
                <a:endParaRPr lang="en-GB"/>
              </a:p>
            </p:txBody>
          </p:sp>
          <p:sp>
            <p:nvSpPr>
              <p:cNvPr id="6552" name="Vrije vorm: vorm 6551">
                <a:extLst>
                  <a:ext uri="{FF2B5EF4-FFF2-40B4-BE49-F238E27FC236}">
                    <a16:creationId xmlns:a16="http://schemas.microsoft.com/office/drawing/2014/main" id="{A4AFF9EC-D64C-4DE4-8CD5-4990FBB71C68}"/>
                  </a:ext>
                </a:extLst>
              </p:cNvPr>
              <p:cNvSpPr/>
              <p:nvPr/>
            </p:nvSpPr>
            <p:spPr>
              <a:xfrm>
                <a:off x="6985204" y="1864949"/>
                <a:ext cx="2212" cy="299"/>
              </a:xfrm>
              <a:custGeom>
                <a:avLst/>
                <a:gdLst>
                  <a:gd name="connsiteX0" fmla="*/ 0 w 2212"/>
                  <a:gd name="connsiteY0" fmla="*/ 239 h 299"/>
                  <a:gd name="connsiteX1" fmla="*/ 239 w 2212"/>
                  <a:gd name="connsiteY1" fmla="*/ 239 h 299"/>
                  <a:gd name="connsiteX2" fmla="*/ 239 w 2212"/>
                  <a:gd name="connsiteY2" fmla="*/ 239 h 299"/>
                  <a:gd name="connsiteX3" fmla="*/ 1914 w 2212"/>
                  <a:gd name="connsiteY3" fmla="*/ 299 h 299"/>
                  <a:gd name="connsiteX4" fmla="*/ 2213 w 2212"/>
                  <a:gd name="connsiteY4" fmla="*/ 0 h 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2" h="299">
                    <a:moveTo>
                      <a:pt x="0" y="239"/>
                    </a:moveTo>
                    <a:lnTo>
                      <a:pt x="239" y="239"/>
                    </a:lnTo>
                    <a:lnTo>
                      <a:pt x="239" y="239"/>
                    </a:lnTo>
                    <a:lnTo>
                      <a:pt x="1914" y="299"/>
                    </a:lnTo>
                    <a:lnTo>
                      <a:pt x="2213" y="0"/>
                    </a:lnTo>
                  </a:path>
                </a:pathLst>
              </a:custGeom>
              <a:noFill/>
              <a:ln w="6350" cap="rnd">
                <a:solidFill>
                  <a:schemeClr val="bg1">
                    <a:alpha val="80000"/>
                  </a:schemeClr>
                </a:solidFill>
                <a:prstDash val="solid"/>
                <a:round/>
              </a:ln>
            </p:spPr>
            <p:txBody>
              <a:bodyPr rtlCol="0" anchor="ctr"/>
              <a:lstStyle/>
              <a:p>
                <a:endParaRPr lang="en-GB"/>
              </a:p>
            </p:txBody>
          </p:sp>
          <p:sp>
            <p:nvSpPr>
              <p:cNvPr id="6553" name="Vrije vorm: vorm 6552">
                <a:extLst>
                  <a:ext uri="{FF2B5EF4-FFF2-40B4-BE49-F238E27FC236}">
                    <a16:creationId xmlns:a16="http://schemas.microsoft.com/office/drawing/2014/main" id="{E31E6691-4CEF-4CC3-9E6B-4DF2FF1DA1BE}"/>
                  </a:ext>
                </a:extLst>
              </p:cNvPr>
              <p:cNvSpPr/>
              <p:nvPr/>
            </p:nvSpPr>
            <p:spPr>
              <a:xfrm>
                <a:off x="6697352" y="1888034"/>
                <a:ext cx="5860" cy="3588"/>
              </a:xfrm>
              <a:custGeom>
                <a:avLst/>
                <a:gdLst>
                  <a:gd name="connsiteX0" fmla="*/ 0 w 5860"/>
                  <a:gd name="connsiteY0" fmla="*/ 3588 h 3588"/>
                  <a:gd name="connsiteX1" fmla="*/ 837 w 5860"/>
                  <a:gd name="connsiteY1" fmla="*/ 2213 h 3588"/>
                  <a:gd name="connsiteX2" fmla="*/ 2153 w 5860"/>
                  <a:gd name="connsiteY2" fmla="*/ 0 h 3588"/>
                  <a:gd name="connsiteX3" fmla="*/ 3170 w 5860"/>
                  <a:gd name="connsiteY3" fmla="*/ 359 h 3588"/>
                  <a:gd name="connsiteX4" fmla="*/ 4665 w 5860"/>
                  <a:gd name="connsiteY4" fmla="*/ 957 h 3588"/>
                  <a:gd name="connsiteX5" fmla="*/ 5861 w 5860"/>
                  <a:gd name="connsiteY5" fmla="*/ 1376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60" h="3588">
                    <a:moveTo>
                      <a:pt x="0" y="3588"/>
                    </a:moveTo>
                    <a:lnTo>
                      <a:pt x="837" y="2213"/>
                    </a:lnTo>
                    <a:lnTo>
                      <a:pt x="2153" y="0"/>
                    </a:lnTo>
                    <a:lnTo>
                      <a:pt x="3170" y="359"/>
                    </a:lnTo>
                    <a:lnTo>
                      <a:pt x="4665" y="957"/>
                    </a:lnTo>
                    <a:lnTo>
                      <a:pt x="5861" y="1376"/>
                    </a:lnTo>
                  </a:path>
                </a:pathLst>
              </a:custGeom>
              <a:noFill/>
              <a:ln w="6350" cap="rnd">
                <a:solidFill>
                  <a:schemeClr val="bg1">
                    <a:alpha val="80000"/>
                  </a:schemeClr>
                </a:solidFill>
                <a:prstDash val="solid"/>
                <a:round/>
              </a:ln>
            </p:spPr>
            <p:txBody>
              <a:bodyPr rtlCol="0" anchor="ctr"/>
              <a:lstStyle/>
              <a:p>
                <a:endParaRPr lang="en-GB"/>
              </a:p>
            </p:txBody>
          </p:sp>
          <p:sp>
            <p:nvSpPr>
              <p:cNvPr id="6554" name="Vrije vorm: vorm 6553">
                <a:extLst>
                  <a:ext uri="{FF2B5EF4-FFF2-40B4-BE49-F238E27FC236}">
                    <a16:creationId xmlns:a16="http://schemas.microsoft.com/office/drawing/2014/main" id="{F22F4CFB-D113-4F8C-8E22-F19B59FECE7E}"/>
                  </a:ext>
                </a:extLst>
              </p:cNvPr>
              <p:cNvSpPr/>
              <p:nvPr/>
            </p:nvSpPr>
            <p:spPr>
              <a:xfrm>
                <a:off x="6961759" y="1886061"/>
                <a:ext cx="16327" cy="22487"/>
              </a:xfrm>
              <a:custGeom>
                <a:avLst/>
                <a:gdLst>
                  <a:gd name="connsiteX0" fmla="*/ 0 w 16327"/>
                  <a:gd name="connsiteY0" fmla="*/ 22487 h 22487"/>
                  <a:gd name="connsiteX1" fmla="*/ 2752 w 16327"/>
                  <a:gd name="connsiteY1" fmla="*/ 18839 h 22487"/>
                  <a:gd name="connsiteX2" fmla="*/ 2752 w 16327"/>
                  <a:gd name="connsiteY2" fmla="*/ 18839 h 22487"/>
                  <a:gd name="connsiteX3" fmla="*/ 2811 w 16327"/>
                  <a:gd name="connsiteY3" fmla="*/ 18720 h 22487"/>
                  <a:gd name="connsiteX4" fmla="*/ 2871 w 16327"/>
                  <a:gd name="connsiteY4" fmla="*/ 18660 h 22487"/>
                  <a:gd name="connsiteX5" fmla="*/ 2930 w 16327"/>
                  <a:gd name="connsiteY5" fmla="*/ 18600 h 22487"/>
                  <a:gd name="connsiteX6" fmla="*/ 5562 w 16327"/>
                  <a:gd name="connsiteY6" fmla="*/ 15071 h 22487"/>
                  <a:gd name="connsiteX7" fmla="*/ 8015 w 16327"/>
                  <a:gd name="connsiteY7" fmla="*/ 11782 h 22487"/>
                  <a:gd name="connsiteX8" fmla="*/ 8553 w 16327"/>
                  <a:gd name="connsiteY8" fmla="*/ 11064 h 22487"/>
                  <a:gd name="connsiteX9" fmla="*/ 8553 w 16327"/>
                  <a:gd name="connsiteY9" fmla="*/ 11005 h 22487"/>
                  <a:gd name="connsiteX10" fmla="*/ 8792 w 16327"/>
                  <a:gd name="connsiteY10" fmla="*/ 10705 h 22487"/>
                  <a:gd name="connsiteX11" fmla="*/ 8971 w 16327"/>
                  <a:gd name="connsiteY11" fmla="*/ 10466 h 22487"/>
                  <a:gd name="connsiteX12" fmla="*/ 8971 w 16327"/>
                  <a:gd name="connsiteY12" fmla="*/ 10466 h 22487"/>
                  <a:gd name="connsiteX13" fmla="*/ 9270 w 16327"/>
                  <a:gd name="connsiteY13" fmla="*/ 10107 h 22487"/>
                  <a:gd name="connsiteX14" fmla="*/ 9988 w 16327"/>
                  <a:gd name="connsiteY14" fmla="*/ 9091 h 22487"/>
                  <a:gd name="connsiteX15" fmla="*/ 11244 w 16327"/>
                  <a:gd name="connsiteY15" fmla="*/ 7296 h 22487"/>
                  <a:gd name="connsiteX16" fmla="*/ 11364 w 16327"/>
                  <a:gd name="connsiteY16" fmla="*/ 7117 h 22487"/>
                  <a:gd name="connsiteX17" fmla="*/ 12560 w 16327"/>
                  <a:gd name="connsiteY17" fmla="*/ 5383 h 22487"/>
                  <a:gd name="connsiteX18" fmla="*/ 12978 w 16327"/>
                  <a:gd name="connsiteY18" fmla="*/ 4785 h 22487"/>
                  <a:gd name="connsiteX19" fmla="*/ 12978 w 16327"/>
                  <a:gd name="connsiteY19" fmla="*/ 4785 h 22487"/>
                  <a:gd name="connsiteX20" fmla="*/ 14354 w 16327"/>
                  <a:gd name="connsiteY20" fmla="*/ 2811 h 22487"/>
                  <a:gd name="connsiteX21" fmla="*/ 15669 w 16327"/>
                  <a:gd name="connsiteY21" fmla="*/ 897 h 22487"/>
                  <a:gd name="connsiteX22" fmla="*/ 16328 w 16327"/>
                  <a:gd name="connsiteY22" fmla="*/ 0 h 2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327" h="22487">
                    <a:moveTo>
                      <a:pt x="0" y="22487"/>
                    </a:moveTo>
                    <a:lnTo>
                      <a:pt x="2752" y="18839"/>
                    </a:lnTo>
                    <a:lnTo>
                      <a:pt x="2752" y="18839"/>
                    </a:lnTo>
                    <a:lnTo>
                      <a:pt x="2811" y="18720"/>
                    </a:lnTo>
                    <a:lnTo>
                      <a:pt x="2871" y="18660"/>
                    </a:lnTo>
                    <a:lnTo>
                      <a:pt x="2930" y="18600"/>
                    </a:lnTo>
                    <a:lnTo>
                      <a:pt x="5562" y="15071"/>
                    </a:lnTo>
                    <a:lnTo>
                      <a:pt x="8015" y="11782"/>
                    </a:lnTo>
                    <a:lnTo>
                      <a:pt x="8553" y="11064"/>
                    </a:lnTo>
                    <a:lnTo>
                      <a:pt x="8553" y="11005"/>
                    </a:lnTo>
                    <a:lnTo>
                      <a:pt x="8792" y="10705"/>
                    </a:lnTo>
                    <a:lnTo>
                      <a:pt x="8971" y="10466"/>
                    </a:lnTo>
                    <a:lnTo>
                      <a:pt x="8971" y="10466"/>
                    </a:lnTo>
                    <a:lnTo>
                      <a:pt x="9270" y="10107"/>
                    </a:lnTo>
                    <a:lnTo>
                      <a:pt x="9988" y="9091"/>
                    </a:lnTo>
                    <a:lnTo>
                      <a:pt x="11244" y="7296"/>
                    </a:lnTo>
                    <a:lnTo>
                      <a:pt x="11364" y="7117"/>
                    </a:lnTo>
                    <a:lnTo>
                      <a:pt x="12560" y="5383"/>
                    </a:lnTo>
                    <a:lnTo>
                      <a:pt x="12978" y="4785"/>
                    </a:lnTo>
                    <a:lnTo>
                      <a:pt x="12978" y="4785"/>
                    </a:lnTo>
                    <a:lnTo>
                      <a:pt x="14354" y="2811"/>
                    </a:lnTo>
                    <a:lnTo>
                      <a:pt x="15669" y="897"/>
                    </a:lnTo>
                    <a:lnTo>
                      <a:pt x="16328" y="0"/>
                    </a:lnTo>
                  </a:path>
                </a:pathLst>
              </a:custGeom>
              <a:noFill/>
              <a:ln w="6350" cap="rnd">
                <a:solidFill>
                  <a:schemeClr val="bg1">
                    <a:alpha val="80000"/>
                  </a:schemeClr>
                </a:solidFill>
                <a:prstDash val="solid"/>
                <a:round/>
              </a:ln>
            </p:spPr>
            <p:txBody>
              <a:bodyPr rtlCol="0" anchor="ctr"/>
              <a:lstStyle/>
              <a:p>
                <a:endParaRPr lang="en-GB"/>
              </a:p>
            </p:txBody>
          </p:sp>
          <p:sp>
            <p:nvSpPr>
              <p:cNvPr id="6555" name="Vrije vorm: vorm 6554">
                <a:extLst>
                  <a:ext uri="{FF2B5EF4-FFF2-40B4-BE49-F238E27FC236}">
                    <a16:creationId xmlns:a16="http://schemas.microsoft.com/office/drawing/2014/main" id="{1272ED9B-A61D-44DA-9E11-C458DC254648}"/>
                  </a:ext>
                </a:extLst>
              </p:cNvPr>
              <p:cNvSpPr/>
              <p:nvPr/>
            </p:nvSpPr>
            <p:spPr>
              <a:xfrm>
                <a:off x="6694780" y="1929421"/>
                <a:ext cx="27272" cy="4425"/>
              </a:xfrm>
              <a:custGeom>
                <a:avLst/>
                <a:gdLst>
                  <a:gd name="connsiteX0" fmla="*/ 0 w 27272"/>
                  <a:gd name="connsiteY0" fmla="*/ 837 h 4425"/>
                  <a:gd name="connsiteX1" fmla="*/ 598 w 27272"/>
                  <a:gd name="connsiteY1" fmla="*/ 538 h 4425"/>
                  <a:gd name="connsiteX2" fmla="*/ 4246 w 27272"/>
                  <a:gd name="connsiteY2" fmla="*/ 1256 h 4425"/>
                  <a:gd name="connsiteX3" fmla="*/ 8014 w 27272"/>
                  <a:gd name="connsiteY3" fmla="*/ 2033 h 4425"/>
                  <a:gd name="connsiteX4" fmla="*/ 8014 w 27272"/>
                  <a:gd name="connsiteY4" fmla="*/ 2033 h 4425"/>
                  <a:gd name="connsiteX5" fmla="*/ 8014 w 27272"/>
                  <a:gd name="connsiteY5" fmla="*/ 2033 h 4425"/>
                  <a:gd name="connsiteX6" fmla="*/ 9689 w 27272"/>
                  <a:gd name="connsiteY6" fmla="*/ 2392 h 4425"/>
                  <a:gd name="connsiteX7" fmla="*/ 15012 w 27272"/>
                  <a:gd name="connsiteY7" fmla="*/ 4306 h 4425"/>
                  <a:gd name="connsiteX8" fmla="*/ 17703 w 27272"/>
                  <a:gd name="connsiteY8" fmla="*/ 4366 h 4425"/>
                  <a:gd name="connsiteX9" fmla="*/ 19796 w 27272"/>
                  <a:gd name="connsiteY9" fmla="*/ 4426 h 4425"/>
                  <a:gd name="connsiteX10" fmla="*/ 21291 w 27272"/>
                  <a:gd name="connsiteY10" fmla="*/ 4426 h 4425"/>
                  <a:gd name="connsiteX11" fmla="*/ 23803 w 27272"/>
                  <a:gd name="connsiteY11" fmla="*/ 2572 h 4425"/>
                  <a:gd name="connsiteX12" fmla="*/ 24700 w 27272"/>
                  <a:gd name="connsiteY12" fmla="*/ 1914 h 4425"/>
                  <a:gd name="connsiteX13" fmla="*/ 25238 w 27272"/>
                  <a:gd name="connsiteY13" fmla="*/ 1495 h 4425"/>
                  <a:gd name="connsiteX14" fmla="*/ 27272 w 27272"/>
                  <a:gd name="connsiteY14" fmla="*/ 0 h 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272" h="4425">
                    <a:moveTo>
                      <a:pt x="0" y="837"/>
                    </a:moveTo>
                    <a:lnTo>
                      <a:pt x="598" y="538"/>
                    </a:lnTo>
                    <a:lnTo>
                      <a:pt x="4246" y="1256"/>
                    </a:lnTo>
                    <a:lnTo>
                      <a:pt x="8014" y="2033"/>
                    </a:lnTo>
                    <a:lnTo>
                      <a:pt x="8014" y="2033"/>
                    </a:lnTo>
                    <a:lnTo>
                      <a:pt x="8014" y="2033"/>
                    </a:lnTo>
                    <a:lnTo>
                      <a:pt x="9689" y="2392"/>
                    </a:lnTo>
                    <a:lnTo>
                      <a:pt x="15012" y="4306"/>
                    </a:lnTo>
                    <a:lnTo>
                      <a:pt x="17703" y="4366"/>
                    </a:lnTo>
                    <a:lnTo>
                      <a:pt x="19796" y="4426"/>
                    </a:lnTo>
                    <a:lnTo>
                      <a:pt x="21291" y="4426"/>
                    </a:lnTo>
                    <a:lnTo>
                      <a:pt x="23803" y="2572"/>
                    </a:lnTo>
                    <a:lnTo>
                      <a:pt x="24700" y="1914"/>
                    </a:lnTo>
                    <a:lnTo>
                      <a:pt x="25238" y="1495"/>
                    </a:lnTo>
                    <a:lnTo>
                      <a:pt x="27272" y="0"/>
                    </a:lnTo>
                  </a:path>
                </a:pathLst>
              </a:custGeom>
              <a:noFill/>
              <a:ln w="6350" cap="rnd">
                <a:solidFill>
                  <a:schemeClr val="bg1">
                    <a:alpha val="80000"/>
                  </a:schemeClr>
                </a:solidFill>
                <a:prstDash val="solid"/>
                <a:round/>
              </a:ln>
            </p:spPr>
            <p:txBody>
              <a:bodyPr rtlCol="0" anchor="ctr"/>
              <a:lstStyle/>
              <a:p>
                <a:endParaRPr lang="en-GB"/>
              </a:p>
            </p:txBody>
          </p:sp>
          <p:sp>
            <p:nvSpPr>
              <p:cNvPr id="6556" name="Vrije vorm: vorm 6555">
                <a:extLst>
                  <a:ext uri="{FF2B5EF4-FFF2-40B4-BE49-F238E27FC236}">
                    <a16:creationId xmlns:a16="http://schemas.microsoft.com/office/drawing/2014/main" id="{2D211022-2BAB-479D-8BDA-8967ACEE8F81}"/>
                  </a:ext>
                </a:extLst>
              </p:cNvPr>
              <p:cNvSpPr/>
              <p:nvPr/>
            </p:nvSpPr>
            <p:spPr>
              <a:xfrm>
                <a:off x="6952908" y="1937375"/>
                <a:ext cx="15669" cy="5801"/>
              </a:xfrm>
              <a:custGeom>
                <a:avLst/>
                <a:gdLst>
                  <a:gd name="connsiteX0" fmla="*/ 15669 w 15669"/>
                  <a:gd name="connsiteY0" fmla="*/ 5801 h 5801"/>
                  <a:gd name="connsiteX1" fmla="*/ 14294 w 15669"/>
                  <a:gd name="connsiteY1" fmla="*/ 4964 h 5801"/>
                  <a:gd name="connsiteX2" fmla="*/ 14114 w 15669"/>
                  <a:gd name="connsiteY2" fmla="*/ 4844 h 5801"/>
                  <a:gd name="connsiteX3" fmla="*/ 13995 w 15669"/>
                  <a:gd name="connsiteY3" fmla="*/ 4785 h 5801"/>
                  <a:gd name="connsiteX4" fmla="*/ 13516 w 15669"/>
                  <a:gd name="connsiteY4" fmla="*/ 4486 h 5801"/>
                  <a:gd name="connsiteX5" fmla="*/ 11423 w 15669"/>
                  <a:gd name="connsiteY5" fmla="*/ 3230 h 5801"/>
                  <a:gd name="connsiteX6" fmla="*/ 11364 w 15669"/>
                  <a:gd name="connsiteY6" fmla="*/ 3230 h 5801"/>
                  <a:gd name="connsiteX7" fmla="*/ 11364 w 15669"/>
                  <a:gd name="connsiteY7" fmla="*/ 3230 h 5801"/>
                  <a:gd name="connsiteX8" fmla="*/ 10526 w 15669"/>
                  <a:gd name="connsiteY8" fmla="*/ 2751 h 5801"/>
                  <a:gd name="connsiteX9" fmla="*/ 9988 w 15669"/>
                  <a:gd name="connsiteY9" fmla="*/ 2392 h 5801"/>
                  <a:gd name="connsiteX10" fmla="*/ 8194 w 15669"/>
                  <a:gd name="connsiteY10" fmla="*/ 1316 h 5801"/>
                  <a:gd name="connsiteX11" fmla="*/ 7656 w 15669"/>
                  <a:gd name="connsiteY11" fmla="*/ 957 h 5801"/>
                  <a:gd name="connsiteX12" fmla="*/ 7416 w 15669"/>
                  <a:gd name="connsiteY12" fmla="*/ 778 h 5801"/>
                  <a:gd name="connsiteX13" fmla="*/ 5443 w 15669"/>
                  <a:gd name="connsiteY13" fmla="*/ 598 h 5801"/>
                  <a:gd name="connsiteX14" fmla="*/ 5083 w 15669"/>
                  <a:gd name="connsiteY14" fmla="*/ 538 h 5801"/>
                  <a:gd name="connsiteX15" fmla="*/ 3469 w 15669"/>
                  <a:gd name="connsiteY15" fmla="*/ 359 h 5801"/>
                  <a:gd name="connsiteX16" fmla="*/ 2990 w 15669"/>
                  <a:gd name="connsiteY16" fmla="*/ 299 h 5801"/>
                  <a:gd name="connsiteX17" fmla="*/ 2392 w 15669"/>
                  <a:gd name="connsiteY17" fmla="*/ 239 h 5801"/>
                  <a:gd name="connsiteX18" fmla="*/ 1735 w 15669"/>
                  <a:gd name="connsiteY18" fmla="*/ 180 h 5801"/>
                  <a:gd name="connsiteX19" fmla="*/ 0 w 15669"/>
                  <a:gd name="connsiteY19" fmla="*/ 0 h 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669" h="5801">
                    <a:moveTo>
                      <a:pt x="15669" y="5801"/>
                    </a:moveTo>
                    <a:lnTo>
                      <a:pt x="14294" y="4964"/>
                    </a:lnTo>
                    <a:lnTo>
                      <a:pt x="14114" y="4844"/>
                    </a:lnTo>
                    <a:lnTo>
                      <a:pt x="13995" y="4785"/>
                    </a:lnTo>
                    <a:lnTo>
                      <a:pt x="13516" y="4486"/>
                    </a:lnTo>
                    <a:lnTo>
                      <a:pt x="11423" y="3230"/>
                    </a:lnTo>
                    <a:lnTo>
                      <a:pt x="11364" y="3230"/>
                    </a:lnTo>
                    <a:lnTo>
                      <a:pt x="11364" y="3230"/>
                    </a:lnTo>
                    <a:lnTo>
                      <a:pt x="10526" y="2751"/>
                    </a:lnTo>
                    <a:lnTo>
                      <a:pt x="9988" y="2392"/>
                    </a:lnTo>
                    <a:lnTo>
                      <a:pt x="8194" y="1316"/>
                    </a:lnTo>
                    <a:lnTo>
                      <a:pt x="7656" y="957"/>
                    </a:lnTo>
                    <a:lnTo>
                      <a:pt x="7416" y="778"/>
                    </a:lnTo>
                    <a:lnTo>
                      <a:pt x="5443" y="598"/>
                    </a:lnTo>
                    <a:lnTo>
                      <a:pt x="5083" y="538"/>
                    </a:lnTo>
                    <a:lnTo>
                      <a:pt x="3469" y="359"/>
                    </a:lnTo>
                    <a:lnTo>
                      <a:pt x="2990" y="299"/>
                    </a:lnTo>
                    <a:lnTo>
                      <a:pt x="2392" y="239"/>
                    </a:lnTo>
                    <a:lnTo>
                      <a:pt x="1735" y="18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57" name="Vrije vorm: vorm 6556">
                <a:extLst>
                  <a:ext uri="{FF2B5EF4-FFF2-40B4-BE49-F238E27FC236}">
                    <a16:creationId xmlns:a16="http://schemas.microsoft.com/office/drawing/2014/main" id="{90A8E0BF-514F-41C7-9386-9D6C50FF47E6}"/>
                  </a:ext>
                </a:extLst>
              </p:cNvPr>
              <p:cNvSpPr/>
              <p:nvPr/>
            </p:nvSpPr>
            <p:spPr>
              <a:xfrm>
                <a:off x="6864872" y="1692106"/>
                <a:ext cx="12439" cy="7475"/>
              </a:xfrm>
              <a:custGeom>
                <a:avLst/>
                <a:gdLst>
                  <a:gd name="connsiteX0" fmla="*/ 0 w 12439"/>
                  <a:gd name="connsiteY0" fmla="*/ 0 h 7475"/>
                  <a:gd name="connsiteX1" fmla="*/ 718 w 12439"/>
                  <a:gd name="connsiteY1" fmla="*/ 538 h 7475"/>
                  <a:gd name="connsiteX2" fmla="*/ 1017 w 12439"/>
                  <a:gd name="connsiteY2" fmla="*/ 718 h 7475"/>
                  <a:gd name="connsiteX3" fmla="*/ 3230 w 12439"/>
                  <a:gd name="connsiteY3" fmla="*/ 1914 h 7475"/>
                  <a:gd name="connsiteX4" fmla="*/ 6280 w 12439"/>
                  <a:gd name="connsiteY4" fmla="*/ 3768 h 7475"/>
                  <a:gd name="connsiteX5" fmla="*/ 9808 w 12439"/>
                  <a:gd name="connsiteY5" fmla="*/ 5921 h 7475"/>
                  <a:gd name="connsiteX6" fmla="*/ 12440 w 12439"/>
                  <a:gd name="connsiteY6" fmla="*/ 7476 h 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9" h="7475">
                    <a:moveTo>
                      <a:pt x="0" y="0"/>
                    </a:moveTo>
                    <a:lnTo>
                      <a:pt x="718" y="538"/>
                    </a:lnTo>
                    <a:lnTo>
                      <a:pt x="1017" y="718"/>
                    </a:lnTo>
                    <a:lnTo>
                      <a:pt x="3230" y="1914"/>
                    </a:lnTo>
                    <a:lnTo>
                      <a:pt x="6280" y="3768"/>
                    </a:lnTo>
                    <a:lnTo>
                      <a:pt x="9808" y="5921"/>
                    </a:lnTo>
                    <a:lnTo>
                      <a:pt x="12440" y="7476"/>
                    </a:lnTo>
                  </a:path>
                </a:pathLst>
              </a:custGeom>
              <a:noFill/>
              <a:ln w="6350" cap="rnd">
                <a:solidFill>
                  <a:schemeClr val="bg1">
                    <a:alpha val="80000"/>
                  </a:schemeClr>
                </a:solidFill>
                <a:prstDash val="solid"/>
                <a:round/>
              </a:ln>
            </p:spPr>
            <p:txBody>
              <a:bodyPr rtlCol="0" anchor="ctr"/>
              <a:lstStyle/>
              <a:p>
                <a:endParaRPr lang="en-GB"/>
              </a:p>
            </p:txBody>
          </p:sp>
          <p:sp>
            <p:nvSpPr>
              <p:cNvPr id="6558" name="Vrije vorm: vorm 6557">
                <a:extLst>
                  <a:ext uri="{FF2B5EF4-FFF2-40B4-BE49-F238E27FC236}">
                    <a16:creationId xmlns:a16="http://schemas.microsoft.com/office/drawing/2014/main" id="{AF8D54F6-790B-476A-B31F-69193A4C27FF}"/>
                  </a:ext>
                </a:extLst>
              </p:cNvPr>
              <p:cNvSpPr/>
              <p:nvPr/>
            </p:nvSpPr>
            <p:spPr>
              <a:xfrm>
                <a:off x="6686227" y="1948200"/>
                <a:ext cx="298" cy="239"/>
              </a:xfrm>
              <a:custGeom>
                <a:avLst/>
                <a:gdLst>
                  <a:gd name="connsiteX0" fmla="*/ 299 w 298"/>
                  <a:gd name="connsiteY0" fmla="*/ 239 h 239"/>
                  <a:gd name="connsiteX1" fmla="*/ 60 w 298"/>
                  <a:gd name="connsiteY1" fmla="*/ 120 h 239"/>
                  <a:gd name="connsiteX2" fmla="*/ 0 w 298"/>
                  <a:gd name="connsiteY2" fmla="*/ 0 h 239"/>
                </a:gdLst>
                <a:ahLst/>
                <a:cxnLst>
                  <a:cxn ang="0">
                    <a:pos x="connsiteX0" y="connsiteY0"/>
                  </a:cxn>
                  <a:cxn ang="0">
                    <a:pos x="connsiteX1" y="connsiteY1"/>
                  </a:cxn>
                  <a:cxn ang="0">
                    <a:pos x="connsiteX2" y="connsiteY2"/>
                  </a:cxn>
                </a:cxnLst>
                <a:rect l="l" t="t" r="r" b="b"/>
                <a:pathLst>
                  <a:path w="298" h="239">
                    <a:moveTo>
                      <a:pt x="299" y="239"/>
                    </a:moveTo>
                    <a:lnTo>
                      <a:pt x="60"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59" name="Vrije vorm: vorm 6558">
                <a:extLst>
                  <a:ext uri="{FF2B5EF4-FFF2-40B4-BE49-F238E27FC236}">
                    <a16:creationId xmlns:a16="http://schemas.microsoft.com/office/drawing/2014/main" id="{D7E5931E-05CD-44D4-B0F8-DDFE52EF6137}"/>
                  </a:ext>
                </a:extLst>
              </p:cNvPr>
              <p:cNvSpPr/>
              <p:nvPr/>
            </p:nvSpPr>
            <p:spPr>
              <a:xfrm>
                <a:off x="6931497" y="2059262"/>
                <a:ext cx="24939" cy="9329"/>
              </a:xfrm>
              <a:custGeom>
                <a:avLst/>
                <a:gdLst>
                  <a:gd name="connsiteX0" fmla="*/ 0 w 24939"/>
                  <a:gd name="connsiteY0" fmla="*/ 0 h 9329"/>
                  <a:gd name="connsiteX1" fmla="*/ 299 w 24939"/>
                  <a:gd name="connsiteY1" fmla="*/ 179 h 9329"/>
                  <a:gd name="connsiteX2" fmla="*/ 2811 w 24939"/>
                  <a:gd name="connsiteY2" fmla="*/ 1615 h 9329"/>
                  <a:gd name="connsiteX3" fmla="*/ 6100 w 24939"/>
                  <a:gd name="connsiteY3" fmla="*/ 3170 h 9329"/>
                  <a:gd name="connsiteX4" fmla="*/ 7057 w 24939"/>
                  <a:gd name="connsiteY4" fmla="*/ 3648 h 9329"/>
                  <a:gd name="connsiteX5" fmla="*/ 7296 w 24939"/>
                  <a:gd name="connsiteY5" fmla="*/ 3708 h 9329"/>
                  <a:gd name="connsiteX6" fmla="*/ 9689 w 24939"/>
                  <a:gd name="connsiteY6" fmla="*/ 4486 h 9329"/>
                  <a:gd name="connsiteX7" fmla="*/ 9868 w 24939"/>
                  <a:gd name="connsiteY7" fmla="*/ 4545 h 9329"/>
                  <a:gd name="connsiteX8" fmla="*/ 10825 w 24939"/>
                  <a:gd name="connsiteY8" fmla="*/ 4844 h 9329"/>
                  <a:gd name="connsiteX9" fmla="*/ 17523 w 24939"/>
                  <a:gd name="connsiteY9" fmla="*/ 7117 h 9329"/>
                  <a:gd name="connsiteX10" fmla="*/ 18241 w 24939"/>
                  <a:gd name="connsiteY10" fmla="*/ 7356 h 9329"/>
                  <a:gd name="connsiteX11" fmla="*/ 18360 w 24939"/>
                  <a:gd name="connsiteY11" fmla="*/ 7416 h 9329"/>
                  <a:gd name="connsiteX12" fmla="*/ 20394 w 24939"/>
                  <a:gd name="connsiteY12" fmla="*/ 8134 h 9329"/>
                  <a:gd name="connsiteX13" fmla="*/ 20573 w 24939"/>
                  <a:gd name="connsiteY13" fmla="*/ 8194 h 9329"/>
                  <a:gd name="connsiteX14" fmla="*/ 22248 w 24939"/>
                  <a:gd name="connsiteY14" fmla="*/ 8732 h 9329"/>
                  <a:gd name="connsiteX15" fmla="*/ 22786 w 24939"/>
                  <a:gd name="connsiteY15" fmla="*/ 8911 h 9329"/>
                  <a:gd name="connsiteX16" fmla="*/ 23086 w 24939"/>
                  <a:gd name="connsiteY16" fmla="*/ 9031 h 9329"/>
                  <a:gd name="connsiteX17" fmla="*/ 23983 w 24939"/>
                  <a:gd name="connsiteY17" fmla="*/ 9330 h 9329"/>
                  <a:gd name="connsiteX18" fmla="*/ 24043 w 24939"/>
                  <a:gd name="connsiteY18" fmla="*/ 9330 h 9329"/>
                  <a:gd name="connsiteX19" fmla="*/ 24939 w 24939"/>
                  <a:gd name="connsiteY19" fmla="*/ 9150 h 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939" h="9329">
                    <a:moveTo>
                      <a:pt x="0" y="0"/>
                    </a:moveTo>
                    <a:lnTo>
                      <a:pt x="299" y="179"/>
                    </a:lnTo>
                    <a:lnTo>
                      <a:pt x="2811" y="1615"/>
                    </a:lnTo>
                    <a:lnTo>
                      <a:pt x="6100" y="3170"/>
                    </a:lnTo>
                    <a:lnTo>
                      <a:pt x="7057" y="3648"/>
                    </a:lnTo>
                    <a:lnTo>
                      <a:pt x="7296" y="3708"/>
                    </a:lnTo>
                    <a:lnTo>
                      <a:pt x="9689" y="4486"/>
                    </a:lnTo>
                    <a:lnTo>
                      <a:pt x="9868" y="4545"/>
                    </a:lnTo>
                    <a:lnTo>
                      <a:pt x="10825" y="4844"/>
                    </a:lnTo>
                    <a:lnTo>
                      <a:pt x="17523" y="7117"/>
                    </a:lnTo>
                    <a:lnTo>
                      <a:pt x="18241" y="7356"/>
                    </a:lnTo>
                    <a:lnTo>
                      <a:pt x="18360" y="7416"/>
                    </a:lnTo>
                    <a:lnTo>
                      <a:pt x="20394" y="8134"/>
                    </a:lnTo>
                    <a:lnTo>
                      <a:pt x="20573" y="8194"/>
                    </a:lnTo>
                    <a:lnTo>
                      <a:pt x="22248" y="8732"/>
                    </a:lnTo>
                    <a:lnTo>
                      <a:pt x="22786" y="8911"/>
                    </a:lnTo>
                    <a:lnTo>
                      <a:pt x="23086" y="9031"/>
                    </a:lnTo>
                    <a:lnTo>
                      <a:pt x="23983" y="9330"/>
                    </a:lnTo>
                    <a:lnTo>
                      <a:pt x="24043" y="9330"/>
                    </a:lnTo>
                    <a:lnTo>
                      <a:pt x="24939" y="9150"/>
                    </a:lnTo>
                  </a:path>
                </a:pathLst>
              </a:custGeom>
              <a:noFill/>
              <a:ln w="6350" cap="rnd">
                <a:solidFill>
                  <a:schemeClr val="bg1">
                    <a:alpha val="80000"/>
                  </a:schemeClr>
                </a:solidFill>
                <a:prstDash val="solid"/>
                <a:round/>
              </a:ln>
            </p:spPr>
            <p:txBody>
              <a:bodyPr rtlCol="0" anchor="ctr"/>
              <a:lstStyle/>
              <a:p>
                <a:endParaRPr lang="en-GB"/>
              </a:p>
            </p:txBody>
          </p:sp>
          <p:sp>
            <p:nvSpPr>
              <p:cNvPr id="6560" name="Vrije vorm: vorm 6559">
                <a:extLst>
                  <a:ext uri="{FF2B5EF4-FFF2-40B4-BE49-F238E27FC236}">
                    <a16:creationId xmlns:a16="http://schemas.microsoft.com/office/drawing/2014/main" id="{F7A4442B-22B9-468F-9F7A-1C1FDD6EC561}"/>
                  </a:ext>
                </a:extLst>
              </p:cNvPr>
              <p:cNvSpPr/>
              <p:nvPr/>
            </p:nvSpPr>
            <p:spPr>
              <a:xfrm>
                <a:off x="6966604" y="1980915"/>
                <a:ext cx="21590" cy="9748"/>
              </a:xfrm>
              <a:custGeom>
                <a:avLst/>
                <a:gdLst>
                  <a:gd name="connsiteX0" fmla="*/ 16865 w 21590"/>
                  <a:gd name="connsiteY0" fmla="*/ 4007 h 9748"/>
                  <a:gd name="connsiteX1" fmla="*/ 17942 w 21590"/>
                  <a:gd name="connsiteY1" fmla="*/ 4725 h 9748"/>
                  <a:gd name="connsiteX2" fmla="*/ 18002 w 21590"/>
                  <a:gd name="connsiteY2" fmla="*/ 4785 h 9748"/>
                  <a:gd name="connsiteX3" fmla="*/ 19377 w 21590"/>
                  <a:gd name="connsiteY3" fmla="*/ 5741 h 9748"/>
                  <a:gd name="connsiteX4" fmla="*/ 19856 w 21590"/>
                  <a:gd name="connsiteY4" fmla="*/ 6040 h 9748"/>
                  <a:gd name="connsiteX5" fmla="*/ 20275 w 21590"/>
                  <a:gd name="connsiteY5" fmla="*/ 6399 h 9748"/>
                  <a:gd name="connsiteX6" fmla="*/ 20335 w 21590"/>
                  <a:gd name="connsiteY6" fmla="*/ 6459 h 9748"/>
                  <a:gd name="connsiteX7" fmla="*/ 20933 w 21590"/>
                  <a:gd name="connsiteY7" fmla="*/ 6938 h 9748"/>
                  <a:gd name="connsiteX8" fmla="*/ 21590 w 21590"/>
                  <a:gd name="connsiteY8" fmla="*/ 7476 h 9748"/>
                  <a:gd name="connsiteX9" fmla="*/ 21291 w 21590"/>
                  <a:gd name="connsiteY9" fmla="*/ 7954 h 9748"/>
                  <a:gd name="connsiteX10" fmla="*/ 21052 w 21590"/>
                  <a:gd name="connsiteY10" fmla="*/ 8313 h 9748"/>
                  <a:gd name="connsiteX11" fmla="*/ 20275 w 21590"/>
                  <a:gd name="connsiteY11" fmla="*/ 9629 h 9748"/>
                  <a:gd name="connsiteX12" fmla="*/ 20035 w 21590"/>
                  <a:gd name="connsiteY12" fmla="*/ 9689 h 9748"/>
                  <a:gd name="connsiteX13" fmla="*/ 19796 w 21590"/>
                  <a:gd name="connsiteY13" fmla="*/ 9749 h 9748"/>
                  <a:gd name="connsiteX14" fmla="*/ 19677 w 21590"/>
                  <a:gd name="connsiteY14" fmla="*/ 9689 h 9748"/>
                  <a:gd name="connsiteX15" fmla="*/ 18600 w 21590"/>
                  <a:gd name="connsiteY15" fmla="*/ 9210 h 9748"/>
                  <a:gd name="connsiteX16" fmla="*/ 17464 w 21590"/>
                  <a:gd name="connsiteY16" fmla="*/ 8672 h 9748"/>
                  <a:gd name="connsiteX17" fmla="*/ 17404 w 21590"/>
                  <a:gd name="connsiteY17" fmla="*/ 8672 h 9748"/>
                  <a:gd name="connsiteX18" fmla="*/ 16507 w 21590"/>
                  <a:gd name="connsiteY18" fmla="*/ 8253 h 9748"/>
                  <a:gd name="connsiteX19" fmla="*/ 16028 w 21590"/>
                  <a:gd name="connsiteY19" fmla="*/ 8014 h 9748"/>
                  <a:gd name="connsiteX20" fmla="*/ 14593 w 21590"/>
                  <a:gd name="connsiteY20" fmla="*/ 7356 h 9748"/>
                  <a:gd name="connsiteX21" fmla="*/ 13516 w 21590"/>
                  <a:gd name="connsiteY21" fmla="*/ 6878 h 9748"/>
                  <a:gd name="connsiteX22" fmla="*/ 10586 w 21590"/>
                  <a:gd name="connsiteY22" fmla="*/ 5502 h 9748"/>
                  <a:gd name="connsiteX23" fmla="*/ 10466 w 21590"/>
                  <a:gd name="connsiteY23" fmla="*/ 5442 h 9748"/>
                  <a:gd name="connsiteX24" fmla="*/ 8493 w 21590"/>
                  <a:gd name="connsiteY24" fmla="*/ 4545 h 9748"/>
                  <a:gd name="connsiteX25" fmla="*/ 7596 w 21590"/>
                  <a:gd name="connsiteY25" fmla="*/ 4127 h 9748"/>
                  <a:gd name="connsiteX26" fmla="*/ 6339 w 21590"/>
                  <a:gd name="connsiteY26" fmla="*/ 3529 h 9748"/>
                  <a:gd name="connsiteX27" fmla="*/ 2631 w 21590"/>
                  <a:gd name="connsiteY27" fmla="*/ 1555 h 9748"/>
                  <a:gd name="connsiteX28" fmla="*/ 2273 w 21590"/>
                  <a:gd name="connsiteY28" fmla="*/ 1376 h 9748"/>
                  <a:gd name="connsiteX29" fmla="*/ 1136 w 21590"/>
                  <a:gd name="connsiteY29" fmla="*/ 718 h 9748"/>
                  <a:gd name="connsiteX30" fmla="*/ 60 w 21590"/>
                  <a:gd name="connsiteY30" fmla="*/ 60 h 9748"/>
                  <a:gd name="connsiteX31" fmla="*/ 0 w 21590"/>
                  <a:gd name="connsiteY31" fmla="*/ 0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590" h="9748">
                    <a:moveTo>
                      <a:pt x="16865" y="4007"/>
                    </a:moveTo>
                    <a:lnTo>
                      <a:pt x="17942" y="4725"/>
                    </a:lnTo>
                    <a:lnTo>
                      <a:pt x="18002" y="4785"/>
                    </a:lnTo>
                    <a:lnTo>
                      <a:pt x="19377" y="5741"/>
                    </a:lnTo>
                    <a:lnTo>
                      <a:pt x="19856" y="6040"/>
                    </a:lnTo>
                    <a:lnTo>
                      <a:pt x="20275" y="6399"/>
                    </a:lnTo>
                    <a:lnTo>
                      <a:pt x="20335" y="6459"/>
                    </a:lnTo>
                    <a:lnTo>
                      <a:pt x="20933" y="6938"/>
                    </a:lnTo>
                    <a:lnTo>
                      <a:pt x="21590" y="7476"/>
                    </a:lnTo>
                    <a:lnTo>
                      <a:pt x="21291" y="7954"/>
                    </a:lnTo>
                    <a:lnTo>
                      <a:pt x="21052" y="8313"/>
                    </a:lnTo>
                    <a:lnTo>
                      <a:pt x="20275" y="9629"/>
                    </a:lnTo>
                    <a:lnTo>
                      <a:pt x="20035" y="9689"/>
                    </a:lnTo>
                    <a:lnTo>
                      <a:pt x="19796" y="9749"/>
                    </a:lnTo>
                    <a:lnTo>
                      <a:pt x="19677" y="9689"/>
                    </a:lnTo>
                    <a:lnTo>
                      <a:pt x="18600" y="9210"/>
                    </a:lnTo>
                    <a:lnTo>
                      <a:pt x="17464" y="8672"/>
                    </a:lnTo>
                    <a:lnTo>
                      <a:pt x="17404" y="8672"/>
                    </a:lnTo>
                    <a:lnTo>
                      <a:pt x="16507" y="8253"/>
                    </a:lnTo>
                    <a:lnTo>
                      <a:pt x="16028" y="8014"/>
                    </a:lnTo>
                    <a:lnTo>
                      <a:pt x="14593" y="7356"/>
                    </a:lnTo>
                    <a:lnTo>
                      <a:pt x="13516" y="6878"/>
                    </a:lnTo>
                    <a:lnTo>
                      <a:pt x="10586" y="5502"/>
                    </a:lnTo>
                    <a:lnTo>
                      <a:pt x="10466" y="5442"/>
                    </a:lnTo>
                    <a:lnTo>
                      <a:pt x="8493" y="4545"/>
                    </a:lnTo>
                    <a:lnTo>
                      <a:pt x="7596" y="4127"/>
                    </a:lnTo>
                    <a:lnTo>
                      <a:pt x="6339" y="3529"/>
                    </a:lnTo>
                    <a:lnTo>
                      <a:pt x="2631" y="1555"/>
                    </a:lnTo>
                    <a:lnTo>
                      <a:pt x="2273" y="1376"/>
                    </a:lnTo>
                    <a:lnTo>
                      <a:pt x="1136" y="718"/>
                    </a:lnTo>
                    <a:lnTo>
                      <a:pt x="60" y="6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61" name="Vrije vorm: vorm 6560">
                <a:extLst>
                  <a:ext uri="{FF2B5EF4-FFF2-40B4-BE49-F238E27FC236}">
                    <a16:creationId xmlns:a16="http://schemas.microsoft.com/office/drawing/2014/main" id="{B0455971-5CEA-4E85-AC0F-B0BF5C05CB85}"/>
                  </a:ext>
                </a:extLst>
              </p:cNvPr>
              <p:cNvSpPr/>
              <p:nvPr/>
            </p:nvSpPr>
            <p:spPr>
              <a:xfrm>
                <a:off x="6953087" y="2020627"/>
                <a:ext cx="18599" cy="7535"/>
              </a:xfrm>
              <a:custGeom>
                <a:avLst/>
                <a:gdLst>
                  <a:gd name="connsiteX0" fmla="*/ 0 w 18599"/>
                  <a:gd name="connsiteY0" fmla="*/ 0 h 7535"/>
                  <a:gd name="connsiteX1" fmla="*/ 60 w 18599"/>
                  <a:gd name="connsiteY1" fmla="*/ 60 h 7535"/>
                  <a:gd name="connsiteX2" fmla="*/ 1375 w 18599"/>
                  <a:gd name="connsiteY2" fmla="*/ 777 h 7535"/>
                  <a:gd name="connsiteX3" fmla="*/ 1555 w 18599"/>
                  <a:gd name="connsiteY3" fmla="*/ 897 h 7535"/>
                  <a:gd name="connsiteX4" fmla="*/ 1795 w 18599"/>
                  <a:gd name="connsiteY4" fmla="*/ 1017 h 7535"/>
                  <a:gd name="connsiteX5" fmla="*/ 2392 w 18599"/>
                  <a:gd name="connsiteY5" fmla="*/ 1316 h 7535"/>
                  <a:gd name="connsiteX6" fmla="*/ 2811 w 18599"/>
                  <a:gd name="connsiteY6" fmla="*/ 1495 h 7535"/>
                  <a:gd name="connsiteX7" fmla="*/ 4785 w 18599"/>
                  <a:gd name="connsiteY7" fmla="*/ 2273 h 7535"/>
                  <a:gd name="connsiteX8" fmla="*/ 5622 w 18599"/>
                  <a:gd name="connsiteY8" fmla="*/ 2631 h 7535"/>
                  <a:gd name="connsiteX9" fmla="*/ 5801 w 18599"/>
                  <a:gd name="connsiteY9" fmla="*/ 2691 h 7535"/>
                  <a:gd name="connsiteX10" fmla="*/ 6938 w 18599"/>
                  <a:gd name="connsiteY10" fmla="*/ 3170 h 7535"/>
                  <a:gd name="connsiteX11" fmla="*/ 7476 w 18599"/>
                  <a:gd name="connsiteY11" fmla="*/ 3409 h 7535"/>
                  <a:gd name="connsiteX12" fmla="*/ 8014 w 18599"/>
                  <a:gd name="connsiteY12" fmla="*/ 3648 h 7535"/>
                  <a:gd name="connsiteX13" fmla="*/ 9629 w 18599"/>
                  <a:gd name="connsiteY13" fmla="*/ 4306 h 7535"/>
                  <a:gd name="connsiteX14" fmla="*/ 11782 w 18599"/>
                  <a:gd name="connsiteY14" fmla="*/ 5143 h 7535"/>
                  <a:gd name="connsiteX15" fmla="*/ 12859 w 18599"/>
                  <a:gd name="connsiteY15" fmla="*/ 5562 h 7535"/>
                  <a:gd name="connsiteX16" fmla="*/ 13815 w 18599"/>
                  <a:gd name="connsiteY16" fmla="*/ 5921 h 7535"/>
                  <a:gd name="connsiteX17" fmla="*/ 13875 w 18599"/>
                  <a:gd name="connsiteY17" fmla="*/ 5921 h 7535"/>
                  <a:gd name="connsiteX18" fmla="*/ 14234 w 18599"/>
                  <a:gd name="connsiteY18" fmla="*/ 6040 h 7535"/>
                  <a:gd name="connsiteX19" fmla="*/ 14892 w 18599"/>
                  <a:gd name="connsiteY19" fmla="*/ 6280 h 7535"/>
                  <a:gd name="connsiteX20" fmla="*/ 15012 w 18599"/>
                  <a:gd name="connsiteY20" fmla="*/ 6340 h 7535"/>
                  <a:gd name="connsiteX21" fmla="*/ 15310 w 18599"/>
                  <a:gd name="connsiteY21" fmla="*/ 6459 h 7535"/>
                  <a:gd name="connsiteX22" fmla="*/ 16148 w 18599"/>
                  <a:gd name="connsiteY22" fmla="*/ 6818 h 7535"/>
                  <a:gd name="connsiteX23" fmla="*/ 16627 w 18599"/>
                  <a:gd name="connsiteY23" fmla="*/ 6997 h 7535"/>
                  <a:gd name="connsiteX24" fmla="*/ 17284 w 18599"/>
                  <a:gd name="connsiteY24" fmla="*/ 7296 h 7535"/>
                  <a:gd name="connsiteX25" fmla="*/ 17703 w 18599"/>
                  <a:gd name="connsiteY25" fmla="*/ 7476 h 7535"/>
                  <a:gd name="connsiteX26" fmla="*/ 17763 w 18599"/>
                  <a:gd name="connsiteY26" fmla="*/ 7476 h 7535"/>
                  <a:gd name="connsiteX27" fmla="*/ 17882 w 18599"/>
                  <a:gd name="connsiteY27" fmla="*/ 7536 h 7535"/>
                  <a:gd name="connsiteX28" fmla="*/ 17942 w 18599"/>
                  <a:gd name="connsiteY28" fmla="*/ 7536 h 7535"/>
                  <a:gd name="connsiteX29" fmla="*/ 18600 w 18599"/>
                  <a:gd name="connsiteY29" fmla="*/ 7476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599" h="7535">
                    <a:moveTo>
                      <a:pt x="0" y="0"/>
                    </a:moveTo>
                    <a:lnTo>
                      <a:pt x="60" y="60"/>
                    </a:lnTo>
                    <a:lnTo>
                      <a:pt x="1375" y="777"/>
                    </a:lnTo>
                    <a:lnTo>
                      <a:pt x="1555" y="897"/>
                    </a:lnTo>
                    <a:lnTo>
                      <a:pt x="1795" y="1017"/>
                    </a:lnTo>
                    <a:lnTo>
                      <a:pt x="2392" y="1316"/>
                    </a:lnTo>
                    <a:lnTo>
                      <a:pt x="2811" y="1495"/>
                    </a:lnTo>
                    <a:lnTo>
                      <a:pt x="4785" y="2273"/>
                    </a:lnTo>
                    <a:lnTo>
                      <a:pt x="5622" y="2631"/>
                    </a:lnTo>
                    <a:lnTo>
                      <a:pt x="5801" y="2691"/>
                    </a:lnTo>
                    <a:lnTo>
                      <a:pt x="6938" y="3170"/>
                    </a:lnTo>
                    <a:lnTo>
                      <a:pt x="7476" y="3409"/>
                    </a:lnTo>
                    <a:lnTo>
                      <a:pt x="8014" y="3648"/>
                    </a:lnTo>
                    <a:lnTo>
                      <a:pt x="9629" y="4306"/>
                    </a:lnTo>
                    <a:lnTo>
                      <a:pt x="11782" y="5143"/>
                    </a:lnTo>
                    <a:lnTo>
                      <a:pt x="12859" y="5562"/>
                    </a:lnTo>
                    <a:lnTo>
                      <a:pt x="13815" y="5921"/>
                    </a:lnTo>
                    <a:lnTo>
                      <a:pt x="13875" y="5921"/>
                    </a:lnTo>
                    <a:lnTo>
                      <a:pt x="14234" y="6040"/>
                    </a:lnTo>
                    <a:lnTo>
                      <a:pt x="14892" y="6280"/>
                    </a:lnTo>
                    <a:lnTo>
                      <a:pt x="15012" y="6340"/>
                    </a:lnTo>
                    <a:lnTo>
                      <a:pt x="15310" y="6459"/>
                    </a:lnTo>
                    <a:lnTo>
                      <a:pt x="16148" y="6818"/>
                    </a:lnTo>
                    <a:lnTo>
                      <a:pt x="16627" y="6997"/>
                    </a:lnTo>
                    <a:lnTo>
                      <a:pt x="17284" y="7296"/>
                    </a:lnTo>
                    <a:lnTo>
                      <a:pt x="17703" y="7476"/>
                    </a:lnTo>
                    <a:lnTo>
                      <a:pt x="17763" y="7476"/>
                    </a:lnTo>
                    <a:lnTo>
                      <a:pt x="17882" y="7536"/>
                    </a:lnTo>
                    <a:lnTo>
                      <a:pt x="17942" y="7536"/>
                    </a:lnTo>
                    <a:lnTo>
                      <a:pt x="18600" y="7476"/>
                    </a:lnTo>
                  </a:path>
                </a:pathLst>
              </a:custGeom>
              <a:noFill/>
              <a:ln w="6350" cap="rnd">
                <a:solidFill>
                  <a:schemeClr val="bg1">
                    <a:alpha val="80000"/>
                  </a:schemeClr>
                </a:solidFill>
                <a:prstDash val="solid"/>
                <a:round/>
              </a:ln>
            </p:spPr>
            <p:txBody>
              <a:bodyPr rtlCol="0" anchor="ctr"/>
              <a:lstStyle/>
              <a:p>
                <a:endParaRPr lang="en-GB"/>
              </a:p>
            </p:txBody>
          </p:sp>
          <p:sp>
            <p:nvSpPr>
              <p:cNvPr id="6562" name="Vrije vorm: vorm 6561">
                <a:extLst>
                  <a:ext uri="{FF2B5EF4-FFF2-40B4-BE49-F238E27FC236}">
                    <a16:creationId xmlns:a16="http://schemas.microsoft.com/office/drawing/2014/main" id="{67B2CE7E-D6A9-4375-90FD-0FC16EDCDFA7}"/>
                  </a:ext>
                </a:extLst>
              </p:cNvPr>
              <p:cNvSpPr/>
              <p:nvPr/>
            </p:nvSpPr>
            <p:spPr>
              <a:xfrm>
                <a:off x="7056434" y="1892819"/>
                <a:ext cx="7475" cy="5621"/>
              </a:xfrm>
              <a:custGeom>
                <a:avLst/>
                <a:gdLst>
                  <a:gd name="connsiteX0" fmla="*/ 7416 w 7475"/>
                  <a:gd name="connsiteY0" fmla="*/ 5622 h 5621"/>
                  <a:gd name="connsiteX1" fmla="*/ 7476 w 7475"/>
                  <a:gd name="connsiteY1" fmla="*/ 4426 h 5621"/>
                  <a:gd name="connsiteX2" fmla="*/ 6818 w 7475"/>
                  <a:gd name="connsiteY2" fmla="*/ 4007 h 5621"/>
                  <a:gd name="connsiteX3" fmla="*/ 6279 w 7475"/>
                  <a:gd name="connsiteY3" fmla="*/ 3708 h 5621"/>
                  <a:gd name="connsiteX4" fmla="*/ 6279 w 7475"/>
                  <a:gd name="connsiteY4" fmla="*/ 3708 h 5621"/>
                  <a:gd name="connsiteX5" fmla="*/ 6100 w 7475"/>
                  <a:gd name="connsiteY5" fmla="*/ 3588 h 5621"/>
                  <a:gd name="connsiteX6" fmla="*/ 3828 w 7475"/>
                  <a:gd name="connsiteY6" fmla="*/ 2273 h 5621"/>
                  <a:gd name="connsiteX7" fmla="*/ 0 w 7475"/>
                  <a:gd name="connsiteY7" fmla="*/ 0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75" h="5621">
                    <a:moveTo>
                      <a:pt x="7416" y="5622"/>
                    </a:moveTo>
                    <a:lnTo>
                      <a:pt x="7476" y="4426"/>
                    </a:lnTo>
                    <a:lnTo>
                      <a:pt x="6818" y="4007"/>
                    </a:lnTo>
                    <a:lnTo>
                      <a:pt x="6279" y="3708"/>
                    </a:lnTo>
                    <a:lnTo>
                      <a:pt x="6279" y="3708"/>
                    </a:lnTo>
                    <a:lnTo>
                      <a:pt x="6100" y="3588"/>
                    </a:lnTo>
                    <a:lnTo>
                      <a:pt x="3828" y="2273"/>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63" name="Vrije vorm: vorm 6562">
                <a:extLst>
                  <a:ext uri="{FF2B5EF4-FFF2-40B4-BE49-F238E27FC236}">
                    <a16:creationId xmlns:a16="http://schemas.microsoft.com/office/drawing/2014/main" id="{2F61EC00-70F0-460C-BAC5-F2D94BE63535}"/>
                  </a:ext>
                </a:extLst>
              </p:cNvPr>
              <p:cNvSpPr/>
              <p:nvPr/>
            </p:nvSpPr>
            <p:spPr>
              <a:xfrm>
                <a:off x="6865111" y="1735825"/>
                <a:ext cx="43240" cy="40728"/>
              </a:xfrm>
              <a:custGeom>
                <a:avLst/>
                <a:gdLst>
                  <a:gd name="connsiteX0" fmla="*/ 43241 w 43240"/>
                  <a:gd name="connsiteY0" fmla="*/ 60 h 40728"/>
                  <a:gd name="connsiteX1" fmla="*/ 41865 w 43240"/>
                  <a:gd name="connsiteY1" fmla="*/ 0 h 40728"/>
                  <a:gd name="connsiteX2" fmla="*/ 41506 w 43240"/>
                  <a:gd name="connsiteY2" fmla="*/ 0 h 40728"/>
                  <a:gd name="connsiteX3" fmla="*/ 38935 w 43240"/>
                  <a:gd name="connsiteY3" fmla="*/ 1376 h 40728"/>
                  <a:gd name="connsiteX4" fmla="*/ 30023 w 43240"/>
                  <a:gd name="connsiteY4" fmla="*/ 9031 h 40728"/>
                  <a:gd name="connsiteX5" fmla="*/ 20394 w 43240"/>
                  <a:gd name="connsiteY5" fmla="*/ 18241 h 40728"/>
                  <a:gd name="connsiteX6" fmla="*/ 8552 w 43240"/>
                  <a:gd name="connsiteY6" fmla="*/ 30502 h 40728"/>
                  <a:gd name="connsiteX7" fmla="*/ 0 w 43240"/>
                  <a:gd name="connsiteY7" fmla="*/ 40729 h 4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40" h="40728">
                    <a:moveTo>
                      <a:pt x="43241" y="60"/>
                    </a:moveTo>
                    <a:lnTo>
                      <a:pt x="41865" y="0"/>
                    </a:lnTo>
                    <a:lnTo>
                      <a:pt x="41506" y="0"/>
                    </a:lnTo>
                    <a:lnTo>
                      <a:pt x="38935" y="1376"/>
                    </a:lnTo>
                    <a:lnTo>
                      <a:pt x="30023" y="9031"/>
                    </a:lnTo>
                    <a:lnTo>
                      <a:pt x="20394" y="18241"/>
                    </a:lnTo>
                    <a:lnTo>
                      <a:pt x="8552" y="30502"/>
                    </a:lnTo>
                    <a:lnTo>
                      <a:pt x="0" y="40729"/>
                    </a:lnTo>
                  </a:path>
                </a:pathLst>
              </a:custGeom>
              <a:noFill/>
              <a:ln w="6350" cap="rnd">
                <a:solidFill>
                  <a:schemeClr val="bg1">
                    <a:alpha val="80000"/>
                  </a:schemeClr>
                </a:solidFill>
                <a:prstDash val="solid"/>
                <a:round/>
              </a:ln>
            </p:spPr>
            <p:txBody>
              <a:bodyPr rtlCol="0" anchor="ctr"/>
              <a:lstStyle/>
              <a:p>
                <a:endParaRPr lang="en-GB"/>
              </a:p>
            </p:txBody>
          </p:sp>
          <p:sp>
            <p:nvSpPr>
              <p:cNvPr id="6564" name="Vrije vorm: vorm 6563">
                <a:extLst>
                  <a:ext uri="{FF2B5EF4-FFF2-40B4-BE49-F238E27FC236}">
                    <a16:creationId xmlns:a16="http://schemas.microsoft.com/office/drawing/2014/main" id="{4E2B45F2-F835-4813-B2FE-D90852E47CCA}"/>
                  </a:ext>
                </a:extLst>
              </p:cNvPr>
              <p:cNvSpPr/>
              <p:nvPr/>
            </p:nvSpPr>
            <p:spPr>
              <a:xfrm>
                <a:off x="7005598" y="1801852"/>
                <a:ext cx="21052" cy="38455"/>
              </a:xfrm>
              <a:custGeom>
                <a:avLst/>
                <a:gdLst>
                  <a:gd name="connsiteX0" fmla="*/ 0 w 21052"/>
                  <a:gd name="connsiteY0" fmla="*/ 38456 h 38455"/>
                  <a:gd name="connsiteX1" fmla="*/ 418 w 21052"/>
                  <a:gd name="connsiteY1" fmla="*/ 37738 h 38455"/>
                  <a:gd name="connsiteX2" fmla="*/ 1973 w 21052"/>
                  <a:gd name="connsiteY2" fmla="*/ 34868 h 38455"/>
                  <a:gd name="connsiteX3" fmla="*/ 7476 w 21052"/>
                  <a:gd name="connsiteY3" fmla="*/ 24820 h 38455"/>
                  <a:gd name="connsiteX4" fmla="*/ 8134 w 21052"/>
                  <a:gd name="connsiteY4" fmla="*/ 23504 h 38455"/>
                  <a:gd name="connsiteX5" fmla="*/ 13576 w 21052"/>
                  <a:gd name="connsiteY5" fmla="*/ 12859 h 38455"/>
                  <a:gd name="connsiteX6" fmla="*/ 13755 w 21052"/>
                  <a:gd name="connsiteY6" fmla="*/ 12559 h 38455"/>
                  <a:gd name="connsiteX7" fmla="*/ 13755 w 21052"/>
                  <a:gd name="connsiteY7" fmla="*/ 12559 h 38455"/>
                  <a:gd name="connsiteX8" fmla="*/ 14712 w 21052"/>
                  <a:gd name="connsiteY8" fmla="*/ 10705 h 38455"/>
                  <a:gd name="connsiteX9" fmla="*/ 18540 w 21052"/>
                  <a:gd name="connsiteY9" fmla="*/ 3230 h 38455"/>
                  <a:gd name="connsiteX10" fmla="*/ 18899 w 21052"/>
                  <a:gd name="connsiteY10" fmla="*/ 2572 h 38455"/>
                  <a:gd name="connsiteX11" fmla="*/ 19318 w 21052"/>
                  <a:gd name="connsiteY11" fmla="*/ 1914 h 38455"/>
                  <a:gd name="connsiteX12" fmla="*/ 20035 w 21052"/>
                  <a:gd name="connsiteY12" fmla="*/ 777 h 38455"/>
                  <a:gd name="connsiteX13" fmla="*/ 20335 w 21052"/>
                  <a:gd name="connsiteY13" fmla="*/ 359 h 38455"/>
                  <a:gd name="connsiteX14" fmla="*/ 21052 w 21052"/>
                  <a:gd name="connsiteY14" fmla="*/ 0 h 3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052" h="38455">
                    <a:moveTo>
                      <a:pt x="0" y="38456"/>
                    </a:moveTo>
                    <a:lnTo>
                      <a:pt x="418" y="37738"/>
                    </a:lnTo>
                    <a:lnTo>
                      <a:pt x="1973" y="34868"/>
                    </a:lnTo>
                    <a:lnTo>
                      <a:pt x="7476" y="24820"/>
                    </a:lnTo>
                    <a:lnTo>
                      <a:pt x="8134" y="23504"/>
                    </a:lnTo>
                    <a:lnTo>
                      <a:pt x="13576" y="12859"/>
                    </a:lnTo>
                    <a:lnTo>
                      <a:pt x="13755" y="12559"/>
                    </a:lnTo>
                    <a:lnTo>
                      <a:pt x="13755" y="12559"/>
                    </a:lnTo>
                    <a:lnTo>
                      <a:pt x="14712" y="10705"/>
                    </a:lnTo>
                    <a:lnTo>
                      <a:pt x="18540" y="3230"/>
                    </a:lnTo>
                    <a:lnTo>
                      <a:pt x="18899" y="2572"/>
                    </a:lnTo>
                    <a:lnTo>
                      <a:pt x="19318" y="1914"/>
                    </a:lnTo>
                    <a:lnTo>
                      <a:pt x="20035" y="777"/>
                    </a:lnTo>
                    <a:lnTo>
                      <a:pt x="20335" y="359"/>
                    </a:lnTo>
                    <a:lnTo>
                      <a:pt x="21052" y="0"/>
                    </a:lnTo>
                  </a:path>
                </a:pathLst>
              </a:custGeom>
              <a:noFill/>
              <a:ln w="6350" cap="rnd">
                <a:solidFill>
                  <a:schemeClr val="bg1">
                    <a:alpha val="80000"/>
                  </a:schemeClr>
                </a:solidFill>
                <a:prstDash val="solid"/>
                <a:round/>
              </a:ln>
            </p:spPr>
            <p:txBody>
              <a:bodyPr rtlCol="0" anchor="ctr"/>
              <a:lstStyle/>
              <a:p>
                <a:endParaRPr lang="en-GB"/>
              </a:p>
            </p:txBody>
          </p:sp>
          <p:sp>
            <p:nvSpPr>
              <p:cNvPr id="6565" name="Vrije vorm: vorm 6564">
                <a:extLst>
                  <a:ext uri="{FF2B5EF4-FFF2-40B4-BE49-F238E27FC236}">
                    <a16:creationId xmlns:a16="http://schemas.microsoft.com/office/drawing/2014/main" id="{DC58DDFB-4E9E-41E7-9A2C-B8BE530A0259}"/>
                  </a:ext>
                </a:extLst>
              </p:cNvPr>
              <p:cNvSpPr/>
              <p:nvPr/>
            </p:nvSpPr>
            <p:spPr>
              <a:xfrm>
                <a:off x="7065346" y="1799520"/>
                <a:ext cx="10944" cy="9927"/>
              </a:xfrm>
              <a:custGeom>
                <a:avLst/>
                <a:gdLst>
                  <a:gd name="connsiteX0" fmla="*/ 0 w 10944"/>
                  <a:gd name="connsiteY0" fmla="*/ 4665 h 9927"/>
                  <a:gd name="connsiteX1" fmla="*/ 957 w 10944"/>
                  <a:gd name="connsiteY1" fmla="*/ 2213 h 9927"/>
                  <a:gd name="connsiteX2" fmla="*/ 1914 w 10944"/>
                  <a:gd name="connsiteY2" fmla="*/ 777 h 9927"/>
                  <a:gd name="connsiteX3" fmla="*/ 2153 w 10944"/>
                  <a:gd name="connsiteY3" fmla="*/ 419 h 9927"/>
                  <a:gd name="connsiteX4" fmla="*/ 2153 w 10944"/>
                  <a:gd name="connsiteY4" fmla="*/ 419 h 9927"/>
                  <a:gd name="connsiteX5" fmla="*/ 2392 w 10944"/>
                  <a:gd name="connsiteY5" fmla="*/ 60 h 9927"/>
                  <a:gd name="connsiteX6" fmla="*/ 2452 w 10944"/>
                  <a:gd name="connsiteY6" fmla="*/ 0 h 9927"/>
                  <a:gd name="connsiteX7" fmla="*/ 3888 w 10944"/>
                  <a:gd name="connsiteY7" fmla="*/ 299 h 9927"/>
                  <a:gd name="connsiteX8" fmla="*/ 4545 w 10944"/>
                  <a:gd name="connsiteY8" fmla="*/ 419 h 9927"/>
                  <a:gd name="connsiteX9" fmla="*/ 4844 w 10944"/>
                  <a:gd name="connsiteY9" fmla="*/ 478 h 9927"/>
                  <a:gd name="connsiteX10" fmla="*/ 5383 w 10944"/>
                  <a:gd name="connsiteY10" fmla="*/ 598 h 9927"/>
                  <a:gd name="connsiteX11" fmla="*/ 5383 w 10944"/>
                  <a:gd name="connsiteY11" fmla="*/ 598 h 9927"/>
                  <a:gd name="connsiteX12" fmla="*/ 5562 w 10944"/>
                  <a:gd name="connsiteY12" fmla="*/ 658 h 9927"/>
                  <a:gd name="connsiteX13" fmla="*/ 5861 w 10944"/>
                  <a:gd name="connsiteY13" fmla="*/ 718 h 9927"/>
                  <a:gd name="connsiteX14" fmla="*/ 7296 w 10944"/>
                  <a:gd name="connsiteY14" fmla="*/ 1017 h 9927"/>
                  <a:gd name="connsiteX15" fmla="*/ 8194 w 10944"/>
                  <a:gd name="connsiteY15" fmla="*/ 1196 h 9927"/>
                  <a:gd name="connsiteX16" fmla="*/ 8253 w 10944"/>
                  <a:gd name="connsiteY16" fmla="*/ 1196 h 9927"/>
                  <a:gd name="connsiteX17" fmla="*/ 9689 w 10944"/>
                  <a:gd name="connsiteY17" fmla="*/ 1495 h 9927"/>
                  <a:gd name="connsiteX18" fmla="*/ 9808 w 10944"/>
                  <a:gd name="connsiteY18" fmla="*/ 1615 h 9927"/>
                  <a:gd name="connsiteX19" fmla="*/ 9868 w 10944"/>
                  <a:gd name="connsiteY19" fmla="*/ 1675 h 9927"/>
                  <a:gd name="connsiteX20" fmla="*/ 10047 w 10944"/>
                  <a:gd name="connsiteY20" fmla="*/ 1854 h 9927"/>
                  <a:gd name="connsiteX21" fmla="*/ 10227 w 10944"/>
                  <a:gd name="connsiteY21" fmla="*/ 2033 h 9927"/>
                  <a:gd name="connsiteX22" fmla="*/ 10406 w 10944"/>
                  <a:gd name="connsiteY22" fmla="*/ 2213 h 9927"/>
                  <a:gd name="connsiteX23" fmla="*/ 10765 w 10944"/>
                  <a:gd name="connsiteY23" fmla="*/ 2631 h 9927"/>
                  <a:gd name="connsiteX24" fmla="*/ 10825 w 10944"/>
                  <a:gd name="connsiteY24" fmla="*/ 2691 h 9927"/>
                  <a:gd name="connsiteX25" fmla="*/ 10885 w 10944"/>
                  <a:gd name="connsiteY25" fmla="*/ 3110 h 9927"/>
                  <a:gd name="connsiteX26" fmla="*/ 10944 w 10944"/>
                  <a:gd name="connsiteY26" fmla="*/ 3349 h 9927"/>
                  <a:gd name="connsiteX27" fmla="*/ 10885 w 10944"/>
                  <a:gd name="connsiteY27" fmla="*/ 3469 h 9927"/>
                  <a:gd name="connsiteX28" fmla="*/ 10825 w 10944"/>
                  <a:gd name="connsiteY28" fmla="*/ 3648 h 9927"/>
                  <a:gd name="connsiteX29" fmla="*/ 10765 w 10944"/>
                  <a:gd name="connsiteY29" fmla="*/ 3887 h 9927"/>
                  <a:gd name="connsiteX30" fmla="*/ 10586 w 10944"/>
                  <a:gd name="connsiteY30" fmla="*/ 4366 h 9927"/>
                  <a:gd name="connsiteX31" fmla="*/ 10347 w 10944"/>
                  <a:gd name="connsiteY31" fmla="*/ 5143 h 9927"/>
                  <a:gd name="connsiteX32" fmla="*/ 10347 w 10944"/>
                  <a:gd name="connsiteY32" fmla="*/ 5143 h 9927"/>
                  <a:gd name="connsiteX33" fmla="*/ 10107 w 10944"/>
                  <a:gd name="connsiteY33" fmla="*/ 5801 h 9927"/>
                  <a:gd name="connsiteX34" fmla="*/ 9868 w 10944"/>
                  <a:gd name="connsiteY34" fmla="*/ 6459 h 9927"/>
                  <a:gd name="connsiteX35" fmla="*/ 9689 w 10944"/>
                  <a:gd name="connsiteY35" fmla="*/ 7057 h 9927"/>
                  <a:gd name="connsiteX36" fmla="*/ 8732 w 10944"/>
                  <a:gd name="connsiteY36" fmla="*/ 9928 h 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944" h="9927">
                    <a:moveTo>
                      <a:pt x="0" y="4665"/>
                    </a:moveTo>
                    <a:lnTo>
                      <a:pt x="957" y="2213"/>
                    </a:lnTo>
                    <a:lnTo>
                      <a:pt x="1914" y="777"/>
                    </a:lnTo>
                    <a:lnTo>
                      <a:pt x="2153" y="419"/>
                    </a:lnTo>
                    <a:lnTo>
                      <a:pt x="2153" y="419"/>
                    </a:lnTo>
                    <a:lnTo>
                      <a:pt x="2392" y="60"/>
                    </a:lnTo>
                    <a:lnTo>
                      <a:pt x="2452" y="0"/>
                    </a:lnTo>
                    <a:lnTo>
                      <a:pt x="3888" y="299"/>
                    </a:lnTo>
                    <a:lnTo>
                      <a:pt x="4545" y="419"/>
                    </a:lnTo>
                    <a:lnTo>
                      <a:pt x="4844" y="478"/>
                    </a:lnTo>
                    <a:lnTo>
                      <a:pt x="5383" y="598"/>
                    </a:lnTo>
                    <a:lnTo>
                      <a:pt x="5383" y="598"/>
                    </a:lnTo>
                    <a:lnTo>
                      <a:pt x="5562" y="658"/>
                    </a:lnTo>
                    <a:lnTo>
                      <a:pt x="5861" y="718"/>
                    </a:lnTo>
                    <a:lnTo>
                      <a:pt x="7296" y="1017"/>
                    </a:lnTo>
                    <a:lnTo>
                      <a:pt x="8194" y="1196"/>
                    </a:lnTo>
                    <a:lnTo>
                      <a:pt x="8253" y="1196"/>
                    </a:lnTo>
                    <a:lnTo>
                      <a:pt x="9689" y="1495"/>
                    </a:lnTo>
                    <a:lnTo>
                      <a:pt x="9808" y="1615"/>
                    </a:lnTo>
                    <a:lnTo>
                      <a:pt x="9868" y="1675"/>
                    </a:lnTo>
                    <a:lnTo>
                      <a:pt x="10047" y="1854"/>
                    </a:lnTo>
                    <a:lnTo>
                      <a:pt x="10227" y="2033"/>
                    </a:lnTo>
                    <a:lnTo>
                      <a:pt x="10406" y="2213"/>
                    </a:lnTo>
                    <a:lnTo>
                      <a:pt x="10765" y="2631"/>
                    </a:lnTo>
                    <a:lnTo>
                      <a:pt x="10825" y="2691"/>
                    </a:lnTo>
                    <a:lnTo>
                      <a:pt x="10885" y="3110"/>
                    </a:lnTo>
                    <a:lnTo>
                      <a:pt x="10944" y="3349"/>
                    </a:lnTo>
                    <a:lnTo>
                      <a:pt x="10885" y="3469"/>
                    </a:lnTo>
                    <a:lnTo>
                      <a:pt x="10825" y="3648"/>
                    </a:lnTo>
                    <a:lnTo>
                      <a:pt x="10765" y="3887"/>
                    </a:lnTo>
                    <a:lnTo>
                      <a:pt x="10586" y="4366"/>
                    </a:lnTo>
                    <a:lnTo>
                      <a:pt x="10347" y="5143"/>
                    </a:lnTo>
                    <a:lnTo>
                      <a:pt x="10347" y="5143"/>
                    </a:lnTo>
                    <a:lnTo>
                      <a:pt x="10107" y="5801"/>
                    </a:lnTo>
                    <a:lnTo>
                      <a:pt x="9868" y="6459"/>
                    </a:lnTo>
                    <a:lnTo>
                      <a:pt x="9689" y="7057"/>
                    </a:lnTo>
                    <a:lnTo>
                      <a:pt x="8732" y="9928"/>
                    </a:lnTo>
                  </a:path>
                </a:pathLst>
              </a:custGeom>
              <a:noFill/>
              <a:ln w="6350" cap="rnd">
                <a:solidFill>
                  <a:schemeClr val="bg1">
                    <a:alpha val="80000"/>
                  </a:schemeClr>
                </a:solidFill>
                <a:prstDash val="solid"/>
                <a:round/>
              </a:ln>
            </p:spPr>
            <p:txBody>
              <a:bodyPr rtlCol="0" anchor="ctr"/>
              <a:lstStyle/>
              <a:p>
                <a:endParaRPr lang="en-GB"/>
              </a:p>
            </p:txBody>
          </p:sp>
          <p:sp>
            <p:nvSpPr>
              <p:cNvPr id="6566" name="Vrije vorm: vorm 6565">
                <a:extLst>
                  <a:ext uri="{FF2B5EF4-FFF2-40B4-BE49-F238E27FC236}">
                    <a16:creationId xmlns:a16="http://schemas.microsoft.com/office/drawing/2014/main" id="{FA447F6A-C994-467E-B0A1-84408237034C}"/>
                  </a:ext>
                </a:extLst>
              </p:cNvPr>
              <p:cNvSpPr/>
              <p:nvPr/>
            </p:nvSpPr>
            <p:spPr>
              <a:xfrm>
                <a:off x="6926832" y="1873142"/>
                <a:ext cx="12918" cy="21889"/>
              </a:xfrm>
              <a:custGeom>
                <a:avLst/>
                <a:gdLst>
                  <a:gd name="connsiteX0" fmla="*/ 12919 w 12918"/>
                  <a:gd name="connsiteY0" fmla="*/ 0 h 21889"/>
                  <a:gd name="connsiteX1" fmla="*/ 12021 w 12918"/>
                  <a:gd name="connsiteY1" fmla="*/ 1495 h 21889"/>
                  <a:gd name="connsiteX2" fmla="*/ 11722 w 12918"/>
                  <a:gd name="connsiteY2" fmla="*/ 2033 h 21889"/>
                  <a:gd name="connsiteX3" fmla="*/ 11184 w 12918"/>
                  <a:gd name="connsiteY3" fmla="*/ 2930 h 21889"/>
                  <a:gd name="connsiteX4" fmla="*/ 10885 w 12918"/>
                  <a:gd name="connsiteY4" fmla="*/ 3469 h 21889"/>
                  <a:gd name="connsiteX5" fmla="*/ 10885 w 12918"/>
                  <a:gd name="connsiteY5" fmla="*/ 3469 h 21889"/>
                  <a:gd name="connsiteX6" fmla="*/ 4785 w 12918"/>
                  <a:gd name="connsiteY6" fmla="*/ 13696 h 21889"/>
                  <a:gd name="connsiteX7" fmla="*/ 0 w 12918"/>
                  <a:gd name="connsiteY7" fmla="*/ 21889 h 21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18" h="21889">
                    <a:moveTo>
                      <a:pt x="12919" y="0"/>
                    </a:moveTo>
                    <a:lnTo>
                      <a:pt x="12021" y="1495"/>
                    </a:lnTo>
                    <a:lnTo>
                      <a:pt x="11722" y="2033"/>
                    </a:lnTo>
                    <a:lnTo>
                      <a:pt x="11184" y="2930"/>
                    </a:lnTo>
                    <a:lnTo>
                      <a:pt x="10885" y="3469"/>
                    </a:lnTo>
                    <a:lnTo>
                      <a:pt x="10885" y="3469"/>
                    </a:lnTo>
                    <a:lnTo>
                      <a:pt x="4785" y="13696"/>
                    </a:lnTo>
                    <a:lnTo>
                      <a:pt x="0" y="21889"/>
                    </a:lnTo>
                  </a:path>
                </a:pathLst>
              </a:custGeom>
              <a:noFill/>
              <a:ln w="6350" cap="rnd">
                <a:solidFill>
                  <a:schemeClr val="bg1">
                    <a:alpha val="80000"/>
                  </a:schemeClr>
                </a:solidFill>
                <a:prstDash val="solid"/>
                <a:round/>
              </a:ln>
            </p:spPr>
            <p:txBody>
              <a:bodyPr rtlCol="0" anchor="ctr"/>
              <a:lstStyle/>
              <a:p>
                <a:endParaRPr lang="en-GB"/>
              </a:p>
            </p:txBody>
          </p:sp>
          <p:sp>
            <p:nvSpPr>
              <p:cNvPr id="6567" name="Vrije vorm: vorm 6566">
                <a:extLst>
                  <a:ext uri="{FF2B5EF4-FFF2-40B4-BE49-F238E27FC236}">
                    <a16:creationId xmlns:a16="http://schemas.microsoft.com/office/drawing/2014/main" id="{7457F8D0-B47B-4772-9AB5-3ED1B89D50E9}"/>
                  </a:ext>
                </a:extLst>
              </p:cNvPr>
              <p:cNvSpPr/>
              <p:nvPr/>
            </p:nvSpPr>
            <p:spPr>
              <a:xfrm>
                <a:off x="6939152" y="1851014"/>
                <a:ext cx="14413" cy="18540"/>
              </a:xfrm>
              <a:custGeom>
                <a:avLst/>
                <a:gdLst>
                  <a:gd name="connsiteX0" fmla="*/ 0 w 14413"/>
                  <a:gd name="connsiteY0" fmla="*/ 18540 h 18540"/>
                  <a:gd name="connsiteX1" fmla="*/ 299 w 14413"/>
                  <a:gd name="connsiteY1" fmla="*/ 18002 h 18540"/>
                  <a:gd name="connsiteX2" fmla="*/ 718 w 14413"/>
                  <a:gd name="connsiteY2" fmla="*/ 17284 h 18540"/>
                  <a:gd name="connsiteX3" fmla="*/ 897 w 14413"/>
                  <a:gd name="connsiteY3" fmla="*/ 16985 h 18540"/>
                  <a:gd name="connsiteX4" fmla="*/ 956 w 14413"/>
                  <a:gd name="connsiteY4" fmla="*/ 16925 h 18540"/>
                  <a:gd name="connsiteX5" fmla="*/ 1435 w 14413"/>
                  <a:gd name="connsiteY5" fmla="*/ 16208 h 18540"/>
                  <a:gd name="connsiteX6" fmla="*/ 1495 w 14413"/>
                  <a:gd name="connsiteY6" fmla="*/ 16088 h 18540"/>
                  <a:gd name="connsiteX7" fmla="*/ 2511 w 14413"/>
                  <a:gd name="connsiteY7" fmla="*/ 14413 h 18540"/>
                  <a:gd name="connsiteX8" fmla="*/ 2691 w 14413"/>
                  <a:gd name="connsiteY8" fmla="*/ 14115 h 18540"/>
                  <a:gd name="connsiteX9" fmla="*/ 3050 w 14413"/>
                  <a:gd name="connsiteY9" fmla="*/ 13516 h 18540"/>
                  <a:gd name="connsiteX10" fmla="*/ 3050 w 14413"/>
                  <a:gd name="connsiteY10" fmla="*/ 13457 h 18540"/>
                  <a:gd name="connsiteX11" fmla="*/ 3109 w 14413"/>
                  <a:gd name="connsiteY11" fmla="*/ 13337 h 18540"/>
                  <a:gd name="connsiteX12" fmla="*/ 3349 w 14413"/>
                  <a:gd name="connsiteY12" fmla="*/ 12918 h 18540"/>
                  <a:gd name="connsiteX13" fmla="*/ 5502 w 14413"/>
                  <a:gd name="connsiteY13" fmla="*/ 9449 h 18540"/>
                  <a:gd name="connsiteX14" fmla="*/ 6758 w 14413"/>
                  <a:gd name="connsiteY14" fmla="*/ 7416 h 18540"/>
                  <a:gd name="connsiteX15" fmla="*/ 7775 w 14413"/>
                  <a:gd name="connsiteY15" fmla="*/ 5801 h 18540"/>
                  <a:gd name="connsiteX16" fmla="*/ 7834 w 14413"/>
                  <a:gd name="connsiteY16" fmla="*/ 5682 h 18540"/>
                  <a:gd name="connsiteX17" fmla="*/ 8014 w 14413"/>
                  <a:gd name="connsiteY17" fmla="*/ 5442 h 18540"/>
                  <a:gd name="connsiteX18" fmla="*/ 8672 w 14413"/>
                  <a:gd name="connsiteY18" fmla="*/ 4306 h 18540"/>
                  <a:gd name="connsiteX19" fmla="*/ 9449 w 14413"/>
                  <a:gd name="connsiteY19" fmla="*/ 3050 h 18540"/>
                  <a:gd name="connsiteX20" fmla="*/ 10406 w 14413"/>
                  <a:gd name="connsiteY20" fmla="*/ 1555 h 18540"/>
                  <a:gd name="connsiteX21" fmla="*/ 10825 w 14413"/>
                  <a:gd name="connsiteY21" fmla="*/ 837 h 18540"/>
                  <a:gd name="connsiteX22" fmla="*/ 12021 w 14413"/>
                  <a:gd name="connsiteY22" fmla="*/ 538 h 18540"/>
                  <a:gd name="connsiteX23" fmla="*/ 12320 w 14413"/>
                  <a:gd name="connsiteY23" fmla="*/ 478 h 18540"/>
                  <a:gd name="connsiteX24" fmla="*/ 12320 w 14413"/>
                  <a:gd name="connsiteY24" fmla="*/ 478 h 18540"/>
                  <a:gd name="connsiteX25" fmla="*/ 13038 w 14413"/>
                  <a:gd name="connsiteY25" fmla="*/ 299 h 18540"/>
                  <a:gd name="connsiteX26" fmla="*/ 13277 w 14413"/>
                  <a:gd name="connsiteY26" fmla="*/ 239 h 18540"/>
                  <a:gd name="connsiteX27" fmla="*/ 13576 w 14413"/>
                  <a:gd name="connsiteY27" fmla="*/ 179 h 18540"/>
                  <a:gd name="connsiteX28" fmla="*/ 13815 w 14413"/>
                  <a:gd name="connsiteY28" fmla="*/ 120 h 18540"/>
                  <a:gd name="connsiteX29" fmla="*/ 14413 w 14413"/>
                  <a:gd name="connsiteY29" fmla="*/ 0 h 1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413" h="18540">
                    <a:moveTo>
                      <a:pt x="0" y="18540"/>
                    </a:moveTo>
                    <a:lnTo>
                      <a:pt x="299" y="18002"/>
                    </a:lnTo>
                    <a:lnTo>
                      <a:pt x="718" y="17284"/>
                    </a:lnTo>
                    <a:lnTo>
                      <a:pt x="897" y="16985"/>
                    </a:lnTo>
                    <a:lnTo>
                      <a:pt x="956" y="16925"/>
                    </a:lnTo>
                    <a:lnTo>
                      <a:pt x="1435" y="16208"/>
                    </a:lnTo>
                    <a:lnTo>
                      <a:pt x="1495" y="16088"/>
                    </a:lnTo>
                    <a:lnTo>
                      <a:pt x="2511" y="14413"/>
                    </a:lnTo>
                    <a:lnTo>
                      <a:pt x="2691" y="14115"/>
                    </a:lnTo>
                    <a:lnTo>
                      <a:pt x="3050" y="13516"/>
                    </a:lnTo>
                    <a:lnTo>
                      <a:pt x="3050" y="13457"/>
                    </a:lnTo>
                    <a:lnTo>
                      <a:pt x="3109" y="13337"/>
                    </a:lnTo>
                    <a:lnTo>
                      <a:pt x="3349" y="12918"/>
                    </a:lnTo>
                    <a:lnTo>
                      <a:pt x="5502" y="9449"/>
                    </a:lnTo>
                    <a:lnTo>
                      <a:pt x="6758" y="7416"/>
                    </a:lnTo>
                    <a:lnTo>
                      <a:pt x="7775" y="5801"/>
                    </a:lnTo>
                    <a:lnTo>
                      <a:pt x="7834" y="5682"/>
                    </a:lnTo>
                    <a:lnTo>
                      <a:pt x="8014" y="5442"/>
                    </a:lnTo>
                    <a:lnTo>
                      <a:pt x="8672" y="4306"/>
                    </a:lnTo>
                    <a:lnTo>
                      <a:pt x="9449" y="3050"/>
                    </a:lnTo>
                    <a:lnTo>
                      <a:pt x="10406" y="1555"/>
                    </a:lnTo>
                    <a:lnTo>
                      <a:pt x="10825" y="837"/>
                    </a:lnTo>
                    <a:lnTo>
                      <a:pt x="12021" y="538"/>
                    </a:lnTo>
                    <a:lnTo>
                      <a:pt x="12320" y="478"/>
                    </a:lnTo>
                    <a:lnTo>
                      <a:pt x="12320" y="478"/>
                    </a:lnTo>
                    <a:lnTo>
                      <a:pt x="13038" y="299"/>
                    </a:lnTo>
                    <a:lnTo>
                      <a:pt x="13277" y="239"/>
                    </a:lnTo>
                    <a:lnTo>
                      <a:pt x="13576" y="179"/>
                    </a:lnTo>
                    <a:lnTo>
                      <a:pt x="13815" y="120"/>
                    </a:lnTo>
                    <a:lnTo>
                      <a:pt x="14413" y="0"/>
                    </a:lnTo>
                  </a:path>
                </a:pathLst>
              </a:custGeom>
              <a:noFill/>
              <a:ln w="6350" cap="rnd">
                <a:solidFill>
                  <a:schemeClr val="bg1">
                    <a:alpha val="80000"/>
                  </a:schemeClr>
                </a:solidFill>
                <a:prstDash val="solid"/>
                <a:round/>
              </a:ln>
            </p:spPr>
            <p:txBody>
              <a:bodyPr rtlCol="0" anchor="ctr"/>
              <a:lstStyle/>
              <a:p>
                <a:endParaRPr lang="en-GB"/>
              </a:p>
            </p:txBody>
          </p:sp>
          <p:sp>
            <p:nvSpPr>
              <p:cNvPr id="6568" name="Vrije vorm: vorm 6567">
                <a:extLst>
                  <a:ext uri="{FF2B5EF4-FFF2-40B4-BE49-F238E27FC236}">
                    <a16:creationId xmlns:a16="http://schemas.microsoft.com/office/drawing/2014/main" id="{195E1155-87EF-453C-A207-EC515B87B7DF}"/>
                  </a:ext>
                </a:extLst>
              </p:cNvPr>
              <p:cNvSpPr/>
              <p:nvPr/>
            </p:nvSpPr>
            <p:spPr>
              <a:xfrm>
                <a:off x="6853508" y="1798383"/>
                <a:ext cx="31578" cy="18958"/>
              </a:xfrm>
              <a:custGeom>
                <a:avLst/>
                <a:gdLst>
                  <a:gd name="connsiteX0" fmla="*/ 29784 w 31578"/>
                  <a:gd name="connsiteY0" fmla="*/ 18959 h 18958"/>
                  <a:gd name="connsiteX1" fmla="*/ 30323 w 31578"/>
                  <a:gd name="connsiteY1" fmla="*/ 18062 h 18958"/>
                  <a:gd name="connsiteX2" fmla="*/ 30561 w 31578"/>
                  <a:gd name="connsiteY2" fmla="*/ 17643 h 18958"/>
                  <a:gd name="connsiteX3" fmla="*/ 30561 w 31578"/>
                  <a:gd name="connsiteY3" fmla="*/ 17643 h 18958"/>
                  <a:gd name="connsiteX4" fmla="*/ 30621 w 31578"/>
                  <a:gd name="connsiteY4" fmla="*/ 17583 h 18958"/>
                  <a:gd name="connsiteX5" fmla="*/ 31578 w 31578"/>
                  <a:gd name="connsiteY5" fmla="*/ 16088 h 18958"/>
                  <a:gd name="connsiteX6" fmla="*/ 31100 w 31578"/>
                  <a:gd name="connsiteY6" fmla="*/ 14414 h 18958"/>
                  <a:gd name="connsiteX7" fmla="*/ 31040 w 31578"/>
                  <a:gd name="connsiteY7" fmla="*/ 14234 h 18958"/>
                  <a:gd name="connsiteX8" fmla="*/ 27093 w 31578"/>
                  <a:gd name="connsiteY8" fmla="*/ 11902 h 18958"/>
                  <a:gd name="connsiteX9" fmla="*/ 27033 w 31578"/>
                  <a:gd name="connsiteY9" fmla="*/ 11842 h 18958"/>
                  <a:gd name="connsiteX10" fmla="*/ 26615 w 31578"/>
                  <a:gd name="connsiteY10" fmla="*/ 11603 h 18958"/>
                  <a:gd name="connsiteX11" fmla="*/ 15012 w 31578"/>
                  <a:gd name="connsiteY11" fmla="*/ 4844 h 18958"/>
                  <a:gd name="connsiteX12" fmla="*/ 12201 w 31578"/>
                  <a:gd name="connsiteY12" fmla="*/ 3170 h 18958"/>
                  <a:gd name="connsiteX13" fmla="*/ 11244 w 31578"/>
                  <a:gd name="connsiteY13" fmla="*/ 2572 h 18958"/>
                  <a:gd name="connsiteX14" fmla="*/ 8613 w 31578"/>
                  <a:gd name="connsiteY14" fmla="*/ 1017 h 18958"/>
                  <a:gd name="connsiteX15" fmla="*/ 6938 w 31578"/>
                  <a:gd name="connsiteY15" fmla="*/ 60 h 18958"/>
                  <a:gd name="connsiteX16" fmla="*/ 6818 w 31578"/>
                  <a:gd name="connsiteY16" fmla="*/ 60 h 18958"/>
                  <a:gd name="connsiteX17" fmla="*/ 5981 w 31578"/>
                  <a:gd name="connsiteY17" fmla="*/ 0 h 18958"/>
                  <a:gd name="connsiteX18" fmla="*/ 5921 w 31578"/>
                  <a:gd name="connsiteY18" fmla="*/ 0 h 18958"/>
                  <a:gd name="connsiteX19" fmla="*/ 5801 w 31578"/>
                  <a:gd name="connsiteY19" fmla="*/ 0 h 18958"/>
                  <a:gd name="connsiteX20" fmla="*/ 5682 w 31578"/>
                  <a:gd name="connsiteY20" fmla="*/ 239 h 18958"/>
                  <a:gd name="connsiteX21" fmla="*/ 4964 w 31578"/>
                  <a:gd name="connsiteY21" fmla="*/ 1615 h 18958"/>
                  <a:gd name="connsiteX22" fmla="*/ 3050 w 31578"/>
                  <a:gd name="connsiteY22" fmla="*/ 5383 h 18958"/>
                  <a:gd name="connsiteX23" fmla="*/ 2692 w 31578"/>
                  <a:gd name="connsiteY23" fmla="*/ 6100 h 18958"/>
                  <a:gd name="connsiteX24" fmla="*/ 2392 w 31578"/>
                  <a:gd name="connsiteY24" fmla="*/ 6698 h 18958"/>
                  <a:gd name="connsiteX25" fmla="*/ 1077 w 31578"/>
                  <a:gd name="connsiteY25" fmla="*/ 9210 h 18958"/>
                  <a:gd name="connsiteX26" fmla="*/ 180 w 31578"/>
                  <a:gd name="connsiteY26" fmla="*/ 10945 h 18958"/>
                  <a:gd name="connsiteX27" fmla="*/ 0 w 31578"/>
                  <a:gd name="connsiteY27" fmla="*/ 11244 h 18958"/>
                  <a:gd name="connsiteX28" fmla="*/ 0 w 31578"/>
                  <a:gd name="connsiteY28" fmla="*/ 11304 h 1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578" h="18958">
                    <a:moveTo>
                      <a:pt x="29784" y="18959"/>
                    </a:moveTo>
                    <a:lnTo>
                      <a:pt x="30323" y="18062"/>
                    </a:lnTo>
                    <a:lnTo>
                      <a:pt x="30561" y="17643"/>
                    </a:lnTo>
                    <a:lnTo>
                      <a:pt x="30561" y="17643"/>
                    </a:lnTo>
                    <a:lnTo>
                      <a:pt x="30621" y="17583"/>
                    </a:lnTo>
                    <a:lnTo>
                      <a:pt x="31578" y="16088"/>
                    </a:lnTo>
                    <a:lnTo>
                      <a:pt x="31100" y="14414"/>
                    </a:lnTo>
                    <a:lnTo>
                      <a:pt x="31040" y="14234"/>
                    </a:lnTo>
                    <a:lnTo>
                      <a:pt x="27093" y="11902"/>
                    </a:lnTo>
                    <a:lnTo>
                      <a:pt x="27033" y="11842"/>
                    </a:lnTo>
                    <a:lnTo>
                      <a:pt x="26615" y="11603"/>
                    </a:lnTo>
                    <a:lnTo>
                      <a:pt x="15012" y="4844"/>
                    </a:lnTo>
                    <a:lnTo>
                      <a:pt x="12201" y="3170"/>
                    </a:lnTo>
                    <a:lnTo>
                      <a:pt x="11244" y="2572"/>
                    </a:lnTo>
                    <a:lnTo>
                      <a:pt x="8613" y="1017"/>
                    </a:lnTo>
                    <a:lnTo>
                      <a:pt x="6938" y="60"/>
                    </a:lnTo>
                    <a:lnTo>
                      <a:pt x="6818" y="60"/>
                    </a:lnTo>
                    <a:lnTo>
                      <a:pt x="5981" y="0"/>
                    </a:lnTo>
                    <a:lnTo>
                      <a:pt x="5921" y="0"/>
                    </a:lnTo>
                    <a:lnTo>
                      <a:pt x="5801" y="0"/>
                    </a:lnTo>
                    <a:lnTo>
                      <a:pt x="5682" y="239"/>
                    </a:lnTo>
                    <a:lnTo>
                      <a:pt x="4964" y="1615"/>
                    </a:lnTo>
                    <a:lnTo>
                      <a:pt x="3050" y="5383"/>
                    </a:lnTo>
                    <a:lnTo>
                      <a:pt x="2692" y="6100"/>
                    </a:lnTo>
                    <a:lnTo>
                      <a:pt x="2392" y="6698"/>
                    </a:lnTo>
                    <a:lnTo>
                      <a:pt x="1077" y="9210"/>
                    </a:lnTo>
                    <a:lnTo>
                      <a:pt x="180" y="10945"/>
                    </a:lnTo>
                    <a:lnTo>
                      <a:pt x="0" y="11244"/>
                    </a:lnTo>
                    <a:lnTo>
                      <a:pt x="0" y="11304"/>
                    </a:lnTo>
                  </a:path>
                </a:pathLst>
              </a:custGeom>
              <a:noFill/>
              <a:ln w="6350" cap="rnd">
                <a:solidFill>
                  <a:schemeClr val="bg1">
                    <a:alpha val="80000"/>
                  </a:schemeClr>
                </a:solidFill>
                <a:prstDash val="solid"/>
                <a:round/>
              </a:ln>
            </p:spPr>
            <p:txBody>
              <a:bodyPr rtlCol="0" anchor="ctr"/>
              <a:lstStyle/>
              <a:p>
                <a:endParaRPr lang="en-GB"/>
              </a:p>
            </p:txBody>
          </p:sp>
          <p:sp>
            <p:nvSpPr>
              <p:cNvPr id="6569" name="Vrije vorm: vorm 6568">
                <a:extLst>
                  <a:ext uri="{FF2B5EF4-FFF2-40B4-BE49-F238E27FC236}">
                    <a16:creationId xmlns:a16="http://schemas.microsoft.com/office/drawing/2014/main" id="{1CB5D433-AF74-4F03-98E9-4F6945C264FD}"/>
                  </a:ext>
                </a:extLst>
              </p:cNvPr>
              <p:cNvSpPr/>
              <p:nvPr/>
            </p:nvSpPr>
            <p:spPr>
              <a:xfrm>
                <a:off x="7015825" y="2105553"/>
                <a:ext cx="10705" cy="8672"/>
              </a:xfrm>
              <a:custGeom>
                <a:avLst/>
                <a:gdLst>
                  <a:gd name="connsiteX0" fmla="*/ 10706 w 10705"/>
                  <a:gd name="connsiteY0" fmla="*/ 0 h 8672"/>
                  <a:gd name="connsiteX1" fmla="*/ 4186 w 10705"/>
                  <a:gd name="connsiteY1" fmla="*/ 5741 h 8672"/>
                  <a:gd name="connsiteX2" fmla="*/ 658 w 10705"/>
                  <a:gd name="connsiteY2" fmla="*/ 8194 h 8672"/>
                  <a:gd name="connsiteX3" fmla="*/ 0 w 10705"/>
                  <a:gd name="connsiteY3" fmla="*/ 8672 h 8672"/>
                </a:gdLst>
                <a:ahLst/>
                <a:cxnLst>
                  <a:cxn ang="0">
                    <a:pos x="connsiteX0" y="connsiteY0"/>
                  </a:cxn>
                  <a:cxn ang="0">
                    <a:pos x="connsiteX1" y="connsiteY1"/>
                  </a:cxn>
                  <a:cxn ang="0">
                    <a:pos x="connsiteX2" y="connsiteY2"/>
                  </a:cxn>
                  <a:cxn ang="0">
                    <a:pos x="connsiteX3" y="connsiteY3"/>
                  </a:cxn>
                </a:cxnLst>
                <a:rect l="l" t="t" r="r" b="b"/>
                <a:pathLst>
                  <a:path w="10705" h="8672">
                    <a:moveTo>
                      <a:pt x="10706" y="0"/>
                    </a:moveTo>
                    <a:lnTo>
                      <a:pt x="4186" y="5741"/>
                    </a:lnTo>
                    <a:lnTo>
                      <a:pt x="658" y="8194"/>
                    </a:lnTo>
                    <a:lnTo>
                      <a:pt x="0" y="8672"/>
                    </a:lnTo>
                  </a:path>
                </a:pathLst>
              </a:custGeom>
              <a:noFill/>
              <a:ln w="6350" cap="rnd">
                <a:solidFill>
                  <a:schemeClr val="bg1">
                    <a:alpha val="80000"/>
                  </a:schemeClr>
                </a:solidFill>
                <a:prstDash val="solid"/>
                <a:round/>
              </a:ln>
            </p:spPr>
            <p:txBody>
              <a:bodyPr rtlCol="0" anchor="ctr"/>
              <a:lstStyle/>
              <a:p>
                <a:endParaRPr lang="en-GB"/>
              </a:p>
            </p:txBody>
          </p:sp>
          <p:sp>
            <p:nvSpPr>
              <p:cNvPr id="6570" name="Vrije vorm: vorm 6569">
                <a:extLst>
                  <a:ext uri="{FF2B5EF4-FFF2-40B4-BE49-F238E27FC236}">
                    <a16:creationId xmlns:a16="http://schemas.microsoft.com/office/drawing/2014/main" id="{3B30FAEB-1725-47E3-AB58-37200894665C}"/>
                  </a:ext>
                </a:extLst>
              </p:cNvPr>
              <p:cNvSpPr/>
              <p:nvPr/>
            </p:nvSpPr>
            <p:spPr>
              <a:xfrm>
                <a:off x="7029999" y="2096163"/>
                <a:ext cx="6339" cy="6279"/>
              </a:xfrm>
              <a:custGeom>
                <a:avLst/>
                <a:gdLst>
                  <a:gd name="connsiteX0" fmla="*/ 6340 w 6339"/>
                  <a:gd name="connsiteY0" fmla="*/ 0 h 6279"/>
                  <a:gd name="connsiteX1" fmla="*/ 3409 w 6339"/>
                  <a:gd name="connsiteY1" fmla="*/ 3289 h 6279"/>
                  <a:gd name="connsiteX2" fmla="*/ 0 w 6339"/>
                  <a:gd name="connsiteY2" fmla="*/ 6280 h 6279"/>
                </a:gdLst>
                <a:ahLst/>
                <a:cxnLst>
                  <a:cxn ang="0">
                    <a:pos x="connsiteX0" y="connsiteY0"/>
                  </a:cxn>
                  <a:cxn ang="0">
                    <a:pos x="connsiteX1" y="connsiteY1"/>
                  </a:cxn>
                  <a:cxn ang="0">
                    <a:pos x="connsiteX2" y="connsiteY2"/>
                  </a:cxn>
                </a:cxnLst>
                <a:rect l="l" t="t" r="r" b="b"/>
                <a:pathLst>
                  <a:path w="6339" h="6279">
                    <a:moveTo>
                      <a:pt x="6340" y="0"/>
                    </a:moveTo>
                    <a:lnTo>
                      <a:pt x="3409" y="3289"/>
                    </a:lnTo>
                    <a:lnTo>
                      <a:pt x="0" y="6280"/>
                    </a:lnTo>
                  </a:path>
                </a:pathLst>
              </a:custGeom>
              <a:noFill/>
              <a:ln w="6350" cap="rnd">
                <a:solidFill>
                  <a:schemeClr val="bg1">
                    <a:alpha val="80000"/>
                  </a:schemeClr>
                </a:solidFill>
                <a:prstDash val="solid"/>
                <a:round/>
              </a:ln>
            </p:spPr>
            <p:txBody>
              <a:bodyPr rtlCol="0" anchor="ctr"/>
              <a:lstStyle/>
              <a:p>
                <a:endParaRPr lang="en-GB"/>
              </a:p>
            </p:txBody>
          </p:sp>
          <p:sp>
            <p:nvSpPr>
              <p:cNvPr id="6571" name="Vrije vorm: vorm 6570">
                <a:extLst>
                  <a:ext uri="{FF2B5EF4-FFF2-40B4-BE49-F238E27FC236}">
                    <a16:creationId xmlns:a16="http://schemas.microsoft.com/office/drawing/2014/main" id="{F773F1B1-A168-44ED-BA35-6F6C03773243}"/>
                  </a:ext>
                </a:extLst>
              </p:cNvPr>
              <p:cNvSpPr/>
              <p:nvPr/>
            </p:nvSpPr>
            <p:spPr>
              <a:xfrm>
                <a:off x="6869237" y="1801134"/>
                <a:ext cx="16746" cy="9688"/>
              </a:xfrm>
              <a:custGeom>
                <a:avLst/>
                <a:gdLst>
                  <a:gd name="connsiteX0" fmla="*/ 0 w 16746"/>
                  <a:gd name="connsiteY0" fmla="*/ 0 h 9688"/>
                  <a:gd name="connsiteX1" fmla="*/ 658 w 16746"/>
                  <a:gd name="connsiteY1" fmla="*/ 359 h 9688"/>
                  <a:gd name="connsiteX2" fmla="*/ 7775 w 16746"/>
                  <a:gd name="connsiteY2" fmla="*/ 4486 h 9688"/>
                  <a:gd name="connsiteX3" fmla="*/ 16746 w 16746"/>
                  <a:gd name="connsiteY3" fmla="*/ 9689 h 9688"/>
                </a:gdLst>
                <a:ahLst/>
                <a:cxnLst>
                  <a:cxn ang="0">
                    <a:pos x="connsiteX0" y="connsiteY0"/>
                  </a:cxn>
                  <a:cxn ang="0">
                    <a:pos x="connsiteX1" y="connsiteY1"/>
                  </a:cxn>
                  <a:cxn ang="0">
                    <a:pos x="connsiteX2" y="connsiteY2"/>
                  </a:cxn>
                  <a:cxn ang="0">
                    <a:pos x="connsiteX3" y="connsiteY3"/>
                  </a:cxn>
                </a:cxnLst>
                <a:rect l="l" t="t" r="r" b="b"/>
                <a:pathLst>
                  <a:path w="16746" h="9688">
                    <a:moveTo>
                      <a:pt x="0" y="0"/>
                    </a:moveTo>
                    <a:lnTo>
                      <a:pt x="658" y="359"/>
                    </a:lnTo>
                    <a:lnTo>
                      <a:pt x="7775" y="4486"/>
                    </a:lnTo>
                    <a:lnTo>
                      <a:pt x="16746" y="9689"/>
                    </a:lnTo>
                  </a:path>
                </a:pathLst>
              </a:custGeom>
              <a:noFill/>
              <a:ln w="6350" cap="rnd">
                <a:solidFill>
                  <a:schemeClr val="bg1">
                    <a:alpha val="80000"/>
                  </a:schemeClr>
                </a:solidFill>
                <a:prstDash val="solid"/>
                <a:round/>
              </a:ln>
            </p:spPr>
            <p:txBody>
              <a:bodyPr rtlCol="0" anchor="ctr"/>
              <a:lstStyle/>
              <a:p>
                <a:endParaRPr lang="en-GB"/>
              </a:p>
            </p:txBody>
          </p:sp>
          <p:sp>
            <p:nvSpPr>
              <p:cNvPr id="6572" name="Vrije vorm: vorm 6571">
                <a:extLst>
                  <a:ext uri="{FF2B5EF4-FFF2-40B4-BE49-F238E27FC236}">
                    <a16:creationId xmlns:a16="http://schemas.microsoft.com/office/drawing/2014/main" id="{2371700F-737C-4FD6-BFD3-D9F47C2665B7}"/>
                  </a:ext>
                </a:extLst>
              </p:cNvPr>
              <p:cNvSpPr/>
              <p:nvPr/>
            </p:nvSpPr>
            <p:spPr>
              <a:xfrm>
                <a:off x="6935205" y="1853466"/>
                <a:ext cx="5442" cy="21590"/>
              </a:xfrm>
              <a:custGeom>
                <a:avLst/>
                <a:gdLst>
                  <a:gd name="connsiteX0" fmla="*/ 5443 w 5442"/>
                  <a:gd name="connsiteY0" fmla="*/ 0 h 21590"/>
                  <a:gd name="connsiteX1" fmla="*/ 5383 w 5442"/>
                  <a:gd name="connsiteY1" fmla="*/ 239 h 21590"/>
                  <a:gd name="connsiteX2" fmla="*/ 5143 w 5442"/>
                  <a:gd name="connsiteY2" fmla="*/ 1256 h 21590"/>
                  <a:gd name="connsiteX3" fmla="*/ 4904 w 5442"/>
                  <a:gd name="connsiteY3" fmla="*/ 2213 h 21590"/>
                  <a:gd name="connsiteX4" fmla="*/ 4605 w 5442"/>
                  <a:gd name="connsiteY4" fmla="*/ 3409 h 21590"/>
                  <a:gd name="connsiteX5" fmla="*/ 3888 w 5442"/>
                  <a:gd name="connsiteY5" fmla="*/ 6399 h 21590"/>
                  <a:gd name="connsiteX6" fmla="*/ 3828 w 5442"/>
                  <a:gd name="connsiteY6" fmla="*/ 6698 h 21590"/>
                  <a:gd name="connsiteX7" fmla="*/ 3768 w 5442"/>
                  <a:gd name="connsiteY7" fmla="*/ 6938 h 21590"/>
                  <a:gd name="connsiteX8" fmla="*/ 3768 w 5442"/>
                  <a:gd name="connsiteY8" fmla="*/ 6938 h 21590"/>
                  <a:gd name="connsiteX9" fmla="*/ 3349 w 5442"/>
                  <a:gd name="connsiteY9" fmla="*/ 8732 h 21590"/>
                  <a:gd name="connsiteX10" fmla="*/ 3289 w 5442"/>
                  <a:gd name="connsiteY10" fmla="*/ 8852 h 21590"/>
                  <a:gd name="connsiteX11" fmla="*/ 3289 w 5442"/>
                  <a:gd name="connsiteY11" fmla="*/ 8911 h 21590"/>
                  <a:gd name="connsiteX12" fmla="*/ 3170 w 5442"/>
                  <a:gd name="connsiteY12" fmla="*/ 9450 h 21590"/>
                  <a:gd name="connsiteX13" fmla="*/ 2871 w 5442"/>
                  <a:gd name="connsiteY13" fmla="*/ 10646 h 21590"/>
                  <a:gd name="connsiteX14" fmla="*/ 2512 w 5442"/>
                  <a:gd name="connsiteY14" fmla="*/ 12021 h 21590"/>
                  <a:gd name="connsiteX15" fmla="*/ 2333 w 5442"/>
                  <a:gd name="connsiteY15" fmla="*/ 12799 h 21590"/>
                  <a:gd name="connsiteX16" fmla="*/ 2273 w 5442"/>
                  <a:gd name="connsiteY16" fmla="*/ 13158 h 21590"/>
                  <a:gd name="connsiteX17" fmla="*/ 2213 w 5442"/>
                  <a:gd name="connsiteY17" fmla="*/ 13277 h 21590"/>
                  <a:gd name="connsiteX18" fmla="*/ 1854 w 5442"/>
                  <a:gd name="connsiteY18" fmla="*/ 14832 h 21590"/>
                  <a:gd name="connsiteX19" fmla="*/ 1675 w 5442"/>
                  <a:gd name="connsiteY19" fmla="*/ 15430 h 21590"/>
                  <a:gd name="connsiteX20" fmla="*/ 1136 w 5442"/>
                  <a:gd name="connsiteY20" fmla="*/ 17583 h 21590"/>
                  <a:gd name="connsiteX21" fmla="*/ 897 w 5442"/>
                  <a:gd name="connsiteY21" fmla="*/ 18480 h 21590"/>
                  <a:gd name="connsiteX22" fmla="*/ 538 w 5442"/>
                  <a:gd name="connsiteY22" fmla="*/ 20035 h 21590"/>
                  <a:gd name="connsiteX23" fmla="*/ 478 w 5442"/>
                  <a:gd name="connsiteY23" fmla="*/ 20215 h 21590"/>
                  <a:gd name="connsiteX24" fmla="*/ 299 w 5442"/>
                  <a:gd name="connsiteY24" fmla="*/ 20873 h 21590"/>
                  <a:gd name="connsiteX25" fmla="*/ 0 w 5442"/>
                  <a:gd name="connsiteY25" fmla="*/ 21590 h 2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442" h="21590">
                    <a:moveTo>
                      <a:pt x="5443" y="0"/>
                    </a:moveTo>
                    <a:lnTo>
                      <a:pt x="5383" y="239"/>
                    </a:lnTo>
                    <a:lnTo>
                      <a:pt x="5143" y="1256"/>
                    </a:lnTo>
                    <a:lnTo>
                      <a:pt x="4904" y="2213"/>
                    </a:lnTo>
                    <a:lnTo>
                      <a:pt x="4605" y="3409"/>
                    </a:lnTo>
                    <a:lnTo>
                      <a:pt x="3888" y="6399"/>
                    </a:lnTo>
                    <a:lnTo>
                      <a:pt x="3828" y="6698"/>
                    </a:lnTo>
                    <a:lnTo>
                      <a:pt x="3768" y="6938"/>
                    </a:lnTo>
                    <a:lnTo>
                      <a:pt x="3768" y="6938"/>
                    </a:lnTo>
                    <a:lnTo>
                      <a:pt x="3349" y="8732"/>
                    </a:lnTo>
                    <a:lnTo>
                      <a:pt x="3289" y="8852"/>
                    </a:lnTo>
                    <a:lnTo>
                      <a:pt x="3289" y="8911"/>
                    </a:lnTo>
                    <a:lnTo>
                      <a:pt x="3170" y="9450"/>
                    </a:lnTo>
                    <a:lnTo>
                      <a:pt x="2871" y="10646"/>
                    </a:lnTo>
                    <a:lnTo>
                      <a:pt x="2512" y="12021"/>
                    </a:lnTo>
                    <a:lnTo>
                      <a:pt x="2333" y="12799"/>
                    </a:lnTo>
                    <a:lnTo>
                      <a:pt x="2273" y="13158"/>
                    </a:lnTo>
                    <a:lnTo>
                      <a:pt x="2213" y="13277"/>
                    </a:lnTo>
                    <a:lnTo>
                      <a:pt x="1854" y="14832"/>
                    </a:lnTo>
                    <a:lnTo>
                      <a:pt x="1675" y="15430"/>
                    </a:lnTo>
                    <a:lnTo>
                      <a:pt x="1136" y="17583"/>
                    </a:lnTo>
                    <a:lnTo>
                      <a:pt x="897" y="18480"/>
                    </a:lnTo>
                    <a:lnTo>
                      <a:pt x="538" y="20035"/>
                    </a:lnTo>
                    <a:lnTo>
                      <a:pt x="478" y="20215"/>
                    </a:lnTo>
                    <a:lnTo>
                      <a:pt x="299" y="20873"/>
                    </a:lnTo>
                    <a:lnTo>
                      <a:pt x="0" y="21590"/>
                    </a:lnTo>
                  </a:path>
                </a:pathLst>
              </a:custGeom>
              <a:noFill/>
              <a:ln w="6350" cap="rnd">
                <a:solidFill>
                  <a:schemeClr val="bg1">
                    <a:alpha val="80000"/>
                  </a:schemeClr>
                </a:solidFill>
                <a:prstDash val="solid"/>
                <a:round/>
              </a:ln>
            </p:spPr>
            <p:txBody>
              <a:bodyPr rtlCol="0" anchor="ctr"/>
              <a:lstStyle/>
              <a:p>
                <a:endParaRPr lang="en-GB"/>
              </a:p>
            </p:txBody>
          </p:sp>
          <p:sp>
            <p:nvSpPr>
              <p:cNvPr id="6573" name="Vrije vorm: vorm 6572">
                <a:extLst>
                  <a:ext uri="{FF2B5EF4-FFF2-40B4-BE49-F238E27FC236}">
                    <a16:creationId xmlns:a16="http://schemas.microsoft.com/office/drawing/2014/main" id="{DCDAF61B-C22C-4A4F-B20C-16C075B50938}"/>
                  </a:ext>
                </a:extLst>
              </p:cNvPr>
              <p:cNvSpPr/>
              <p:nvPr/>
            </p:nvSpPr>
            <p:spPr>
              <a:xfrm>
                <a:off x="6892562" y="1820990"/>
                <a:ext cx="3528" cy="538"/>
              </a:xfrm>
              <a:custGeom>
                <a:avLst/>
                <a:gdLst>
                  <a:gd name="connsiteX0" fmla="*/ 0 w 3528"/>
                  <a:gd name="connsiteY0" fmla="*/ 0 h 538"/>
                  <a:gd name="connsiteX1" fmla="*/ 1076 w 3528"/>
                  <a:gd name="connsiteY1" fmla="*/ 120 h 538"/>
                  <a:gd name="connsiteX2" fmla="*/ 2153 w 3528"/>
                  <a:gd name="connsiteY2" fmla="*/ 239 h 538"/>
                  <a:gd name="connsiteX3" fmla="*/ 3230 w 3528"/>
                  <a:gd name="connsiteY3" fmla="*/ 478 h 538"/>
                  <a:gd name="connsiteX4" fmla="*/ 3528 w 3528"/>
                  <a:gd name="connsiteY4" fmla="*/ 538 h 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8" h="538">
                    <a:moveTo>
                      <a:pt x="0" y="0"/>
                    </a:moveTo>
                    <a:lnTo>
                      <a:pt x="1076" y="120"/>
                    </a:lnTo>
                    <a:lnTo>
                      <a:pt x="2153" y="239"/>
                    </a:lnTo>
                    <a:lnTo>
                      <a:pt x="3230" y="478"/>
                    </a:lnTo>
                    <a:lnTo>
                      <a:pt x="3528" y="538"/>
                    </a:lnTo>
                  </a:path>
                </a:pathLst>
              </a:custGeom>
              <a:noFill/>
              <a:ln w="6350" cap="rnd">
                <a:solidFill>
                  <a:schemeClr val="bg1">
                    <a:alpha val="80000"/>
                  </a:schemeClr>
                </a:solidFill>
                <a:prstDash val="solid"/>
                <a:round/>
              </a:ln>
            </p:spPr>
            <p:txBody>
              <a:bodyPr rtlCol="0" anchor="ctr"/>
              <a:lstStyle/>
              <a:p>
                <a:endParaRPr lang="en-GB"/>
              </a:p>
            </p:txBody>
          </p:sp>
          <p:sp>
            <p:nvSpPr>
              <p:cNvPr id="6574" name="Vrije vorm: vorm 6573">
                <a:extLst>
                  <a:ext uri="{FF2B5EF4-FFF2-40B4-BE49-F238E27FC236}">
                    <a16:creationId xmlns:a16="http://schemas.microsoft.com/office/drawing/2014/main" id="{C435D71F-4FFA-4225-8816-EABE0BDBA1BE}"/>
                  </a:ext>
                </a:extLst>
              </p:cNvPr>
              <p:cNvSpPr/>
              <p:nvPr/>
            </p:nvSpPr>
            <p:spPr>
              <a:xfrm>
                <a:off x="7009306" y="1756279"/>
                <a:ext cx="11303" cy="10825"/>
              </a:xfrm>
              <a:custGeom>
                <a:avLst/>
                <a:gdLst>
                  <a:gd name="connsiteX0" fmla="*/ 10825 w 11303"/>
                  <a:gd name="connsiteY0" fmla="*/ 3947 h 10825"/>
                  <a:gd name="connsiteX1" fmla="*/ 11304 w 11303"/>
                  <a:gd name="connsiteY1" fmla="*/ 5024 h 10825"/>
                  <a:gd name="connsiteX2" fmla="*/ 10885 w 11303"/>
                  <a:gd name="connsiteY2" fmla="*/ 6758 h 10825"/>
                  <a:gd name="connsiteX3" fmla="*/ 10885 w 11303"/>
                  <a:gd name="connsiteY3" fmla="*/ 6758 h 10825"/>
                  <a:gd name="connsiteX4" fmla="*/ 10526 w 11303"/>
                  <a:gd name="connsiteY4" fmla="*/ 8253 h 10825"/>
                  <a:gd name="connsiteX5" fmla="*/ 9509 w 11303"/>
                  <a:gd name="connsiteY5" fmla="*/ 9210 h 10825"/>
                  <a:gd name="connsiteX6" fmla="*/ 9449 w 11303"/>
                  <a:gd name="connsiteY6" fmla="*/ 9210 h 10825"/>
                  <a:gd name="connsiteX7" fmla="*/ 9210 w 11303"/>
                  <a:gd name="connsiteY7" fmla="*/ 9450 h 10825"/>
                  <a:gd name="connsiteX8" fmla="*/ 8612 w 11303"/>
                  <a:gd name="connsiteY8" fmla="*/ 9988 h 10825"/>
                  <a:gd name="connsiteX9" fmla="*/ 8432 w 11303"/>
                  <a:gd name="connsiteY9" fmla="*/ 10167 h 10825"/>
                  <a:gd name="connsiteX10" fmla="*/ 8074 w 11303"/>
                  <a:gd name="connsiteY10" fmla="*/ 10466 h 10825"/>
                  <a:gd name="connsiteX11" fmla="*/ 7894 w 11303"/>
                  <a:gd name="connsiteY11" fmla="*/ 10466 h 10825"/>
                  <a:gd name="connsiteX12" fmla="*/ 7775 w 11303"/>
                  <a:gd name="connsiteY12" fmla="*/ 10466 h 10825"/>
                  <a:gd name="connsiteX13" fmla="*/ 6698 w 11303"/>
                  <a:gd name="connsiteY13" fmla="*/ 10646 h 10825"/>
                  <a:gd name="connsiteX14" fmla="*/ 6519 w 11303"/>
                  <a:gd name="connsiteY14" fmla="*/ 10646 h 10825"/>
                  <a:gd name="connsiteX15" fmla="*/ 5921 w 11303"/>
                  <a:gd name="connsiteY15" fmla="*/ 10706 h 10825"/>
                  <a:gd name="connsiteX16" fmla="*/ 5203 w 11303"/>
                  <a:gd name="connsiteY16" fmla="*/ 10825 h 10825"/>
                  <a:gd name="connsiteX17" fmla="*/ 5024 w 11303"/>
                  <a:gd name="connsiteY17" fmla="*/ 10825 h 10825"/>
                  <a:gd name="connsiteX18" fmla="*/ 4844 w 11303"/>
                  <a:gd name="connsiteY18" fmla="*/ 10825 h 10825"/>
                  <a:gd name="connsiteX19" fmla="*/ 2153 w 11303"/>
                  <a:gd name="connsiteY19" fmla="*/ 9330 h 10825"/>
                  <a:gd name="connsiteX20" fmla="*/ 1256 w 11303"/>
                  <a:gd name="connsiteY20" fmla="*/ 8732 h 10825"/>
                  <a:gd name="connsiteX21" fmla="*/ 1196 w 11303"/>
                  <a:gd name="connsiteY21" fmla="*/ 8612 h 10825"/>
                  <a:gd name="connsiteX22" fmla="*/ 1196 w 11303"/>
                  <a:gd name="connsiteY22" fmla="*/ 8612 h 10825"/>
                  <a:gd name="connsiteX23" fmla="*/ 718 w 11303"/>
                  <a:gd name="connsiteY23" fmla="*/ 7536 h 10825"/>
                  <a:gd name="connsiteX24" fmla="*/ 538 w 11303"/>
                  <a:gd name="connsiteY24" fmla="*/ 7117 h 10825"/>
                  <a:gd name="connsiteX25" fmla="*/ 239 w 11303"/>
                  <a:gd name="connsiteY25" fmla="*/ 6399 h 10825"/>
                  <a:gd name="connsiteX26" fmla="*/ 180 w 11303"/>
                  <a:gd name="connsiteY26" fmla="*/ 6220 h 10825"/>
                  <a:gd name="connsiteX27" fmla="*/ 0 w 11303"/>
                  <a:gd name="connsiteY27" fmla="*/ 5861 h 10825"/>
                  <a:gd name="connsiteX28" fmla="*/ 60 w 11303"/>
                  <a:gd name="connsiteY28" fmla="*/ 5622 h 10825"/>
                  <a:gd name="connsiteX29" fmla="*/ 120 w 11303"/>
                  <a:gd name="connsiteY29" fmla="*/ 5502 h 10825"/>
                  <a:gd name="connsiteX30" fmla="*/ 358 w 11303"/>
                  <a:gd name="connsiteY30" fmla="*/ 4426 h 10825"/>
                  <a:gd name="connsiteX31" fmla="*/ 418 w 11303"/>
                  <a:gd name="connsiteY31" fmla="*/ 4246 h 10825"/>
                  <a:gd name="connsiteX32" fmla="*/ 418 w 11303"/>
                  <a:gd name="connsiteY32" fmla="*/ 4187 h 10825"/>
                  <a:gd name="connsiteX33" fmla="*/ 418 w 11303"/>
                  <a:gd name="connsiteY33" fmla="*/ 4187 h 10825"/>
                  <a:gd name="connsiteX34" fmla="*/ 418 w 11303"/>
                  <a:gd name="connsiteY34" fmla="*/ 4187 h 10825"/>
                  <a:gd name="connsiteX35" fmla="*/ 778 w 11303"/>
                  <a:gd name="connsiteY35" fmla="*/ 2751 h 10825"/>
                  <a:gd name="connsiteX36" fmla="*/ 1854 w 11303"/>
                  <a:gd name="connsiteY36" fmla="*/ 1734 h 10825"/>
                  <a:gd name="connsiteX37" fmla="*/ 1854 w 11303"/>
                  <a:gd name="connsiteY37" fmla="*/ 1734 h 10825"/>
                  <a:gd name="connsiteX38" fmla="*/ 1854 w 11303"/>
                  <a:gd name="connsiteY38" fmla="*/ 1734 h 10825"/>
                  <a:gd name="connsiteX39" fmla="*/ 3170 w 11303"/>
                  <a:gd name="connsiteY39" fmla="*/ 478 h 10825"/>
                  <a:gd name="connsiteX40" fmla="*/ 6339 w 11303"/>
                  <a:gd name="connsiteY40" fmla="*/ 0 h 10825"/>
                  <a:gd name="connsiteX41" fmla="*/ 7775 w 11303"/>
                  <a:gd name="connsiteY41" fmla="*/ 778 h 1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303" h="10825">
                    <a:moveTo>
                      <a:pt x="10825" y="3947"/>
                    </a:moveTo>
                    <a:lnTo>
                      <a:pt x="11304" y="5024"/>
                    </a:lnTo>
                    <a:lnTo>
                      <a:pt x="10885" y="6758"/>
                    </a:lnTo>
                    <a:lnTo>
                      <a:pt x="10885" y="6758"/>
                    </a:lnTo>
                    <a:lnTo>
                      <a:pt x="10526" y="8253"/>
                    </a:lnTo>
                    <a:lnTo>
                      <a:pt x="9509" y="9210"/>
                    </a:lnTo>
                    <a:lnTo>
                      <a:pt x="9449" y="9210"/>
                    </a:lnTo>
                    <a:lnTo>
                      <a:pt x="9210" y="9450"/>
                    </a:lnTo>
                    <a:lnTo>
                      <a:pt x="8612" y="9988"/>
                    </a:lnTo>
                    <a:lnTo>
                      <a:pt x="8432" y="10167"/>
                    </a:lnTo>
                    <a:lnTo>
                      <a:pt x="8074" y="10466"/>
                    </a:lnTo>
                    <a:lnTo>
                      <a:pt x="7894" y="10466"/>
                    </a:lnTo>
                    <a:lnTo>
                      <a:pt x="7775" y="10466"/>
                    </a:lnTo>
                    <a:lnTo>
                      <a:pt x="6698" y="10646"/>
                    </a:lnTo>
                    <a:lnTo>
                      <a:pt x="6519" y="10646"/>
                    </a:lnTo>
                    <a:lnTo>
                      <a:pt x="5921" y="10706"/>
                    </a:lnTo>
                    <a:lnTo>
                      <a:pt x="5203" y="10825"/>
                    </a:lnTo>
                    <a:lnTo>
                      <a:pt x="5024" y="10825"/>
                    </a:lnTo>
                    <a:lnTo>
                      <a:pt x="4844" y="10825"/>
                    </a:lnTo>
                    <a:lnTo>
                      <a:pt x="2153" y="9330"/>
                    </a:lnTo>
                    <a:lnTo>
                      <a:pt x="1256" y="8732"/>
                    </a:lnTo>
                    <a:lnTo>
                      <a:pt x="1196" y="8612"/>
                    </a:lnTo>
                    <a:lnTo>
                      <a:pt x="1196" y="8612"/>
                    </a:lnTo>
                    <a:lnTo>
                      <a:pt x="718" y="7536"/>
                    </a:lnTo>
                    <a:lnTo>
                      <a:pt x="538" y="7117"/>
                    </a:lnTo>
                    <a:lnTo>
                      <a:pt x="239" y="6399"/>
                    </a:lnTo>
                    <a:lnTo>
                      <a:pt x="180" y="6220"/>
                    </a:lnTo>
                    <a:lnTo>
                      <a:pt x="0" y="5861"/>
                    </a:lnTo>
                    <a:lnTo>
                      <a:pt x="60" y="5622"/>
                    </a:lnTo>
                    <a:lnTo>
                      <a:pt x="120" y="5502"/>
                    </a:lnTo>
                    <a:lnTo>
                      <a:pt x="358" y="4426"/>
                    </a:lnTo>
                    <a:lnTo>
                      <a:pt x="418" y="4246"/>
                    </a:lnTo>
                    <a:lnTo>
                      <a:pt x="418" y="4187"/>
                    </a:lnTo>
                    <a:lnTo>
                      <a:pt x="418" y="4187"/>
                    </a:lnTo>
                    <a:lnTo>
                      <a:pt x="418" y="4187"/>
                    </a:lnTo>
                    <a:lnTo>
                      <a:pt x="778" y="2751"/>
                    </a:lnTo>
                    <a:lnTo>
                      <a:pt x="1854" y="1734"/>
                    </a:lnTo>
                    <a:lnTo>
                      <a:pt x="1854" y="1734"/>
                    </a:lnTo>
                    <a:lnTo>
                      <a:pt x="1854" y="1734"/>
                    </a:lnTo>
                    <a:lnTo>
                      <a:pt x="3170" y="478"/>
                    </a:lnTo>
                    <a:lnTo>
                      <a:pt x="6339" y="0"/>
                    </a:lnTo>
                    <a:lnTo>
                      <a:pt x="7775" y="778"/>
                    </a:lnTo>
                  </a:path>
                </a:pathLst>
              </a:custGeom>
              <a:noFill/>
              <a:ln w="6350" cap="rnd">
                <a:solidFill>
                  <a:schemeClr val="bg1">
                    <a:alpha val="80000"/>
                  </a:schemeClr>
                </a:solidFill>
                <a:prstDash val="solid"/>
                <a:round/>
              </a:ln>
            </p:spPr>
            <p:txBody>
              <a:bodyPr rtlCol="0" anchor="ctr"/>
              <a:lstStyle/>
              <a:p>
                <a:endParaRPr lang="en-GB"/>
              </a:p>
            </p:txBody>
          </p:sp>
          <p:sp>
            <p:nvSpPr>
              <p:cNvPr id="6575" name="Vrije vorm: vorm 6574">
                <a:extLst>
                  <a:ext uri="{FF2B5EF4-FFF2-40B4-BE49-F238E27FC236}">
                    <a16:creationId xmlns:a16="http://schemas.microsoft.com/office/drawing/2014/main" id="{E4691FE8-E178-4658-90D9-C2CA0F675917}"/>
                  </a:ext>
                </a:extLst>
              </p:cNvPr>
              <p:cNvSpPr/>
              <p:nvPr/>
            </p:nvSpPr>
            <p:spPr>
              <a:xfrm>
                <a:off x="6972943" y="2006333"/>
                <a:ext cx="60465" cy="16446"/>
              </a:xfrm>
              <a:custGeom>
                <a:avLst/>
                <a:gdLst>
                  <a:gd name="connsiteX0" fmla="*/ 0 w 60465"/>
                  <a:gd name="connsiteY0" fmla="*/ 8433 h 16446"/>
                  <a:gd name="connsiteX1" fmla="*/ 1615 w 60465"/>
                  <a:gd name="connsiteY1" fmla="*/ 7775 h 16446"/>
                  <a:gd name="connsiteX2" fmla="*/ 1914 w 60465"/>
                  <a:gd name="connsiteY2" fmla="*/ 7655 h 16446"/>
                  <a:gd name="connsiteX3" fmla="*/ 4605 w 60465"/>
                  <a:gd name="connsiteY3" fmla="*/ 6579 h 16446"/>
                  <a:gd name="connsiteX4" fmla="*/ 4665 w 60465"/>
                  <a:gd name="connsiteY4" fmla="*/ 6579 h 16446"/>
                  <a:gd name="connsiteX5" fmla="*/ 6460 w 60465"/>
                  <a:gd name="connsiteY5" fmla="*/ 5861 h 16446"/>
                  <a:gd name="connsiteX6" fmla="*/ 8313 w 60465"/>
                  <a:gd name="connsiteY6" fmla="*/ 5263 h 16446"/>
                  <a:gd name="connsiteX7" fmla="*/ 10945 w 60465"/>
                  <a:gd name="connsiteY7" fmla="*/ 4605 h 16446"/>
                  <a:gd name="connsiteX8" fmla="*/ 12739 w 60465"/>
                  <a:gd name="connsiteY8" fmla="*/ 4127 h 16446"/>
                  <a:gd name="connsiteX9" fmla="*/ 20096 w 60465"/>
                  <a:gd name="connsiteY9" fmla="*/ 2273 h 16446"/>
                  <a:gd name="connsiteX10" fmla="*/ 22428 w 60465"/>
                  <a:gd name="connsiteY10" fmla="*/ 1675 h 16446"/>
                  <a:gd name="connsiteX11" fmla="*/ 23026 w 60465"/>
                  <a:gd name="connsiteY11" fmla="*/ 1555 h 16446"/>
                  <a:gd name="connsiteX12" fmla="*/ 23923 w 60465"/>
                  <a:gd name="connsiteY12" fmla="*/ 1435 h 16446"/>
                  <a:gd name="connsiteX13" fmla="*/ 27930 w 60465"/>
                  <a:gd name="connsiteY13" fmla="*/ 897 h 16446"/>
                  <a:gd name="connsiteX14" fmla="*/ 29545 w 60465"/>
                  <a:gd name="connsiteY14" fmla="*/ 658 h 16446"/>
                  <a:gd name="connsiteX15" fmla="*/ 31997 w 60465"/>
                  <a:gd name="connsiteY15" fmla="*/ 359 h 16446"/>
                  <a:gd name="connsiteX16" fmla="*/ 34569 w 60465"/>
                  <a:gd name="connsiteY16" fmla="*/ 0 h 16446"/>
                  <a:gd name="connsiteX17" fmla="*/ 42344 w 60465"/>
                  <a:gd name="connsiteY17" fmla="*/ 658 h 16446"/>
                  <a:gd name="connsiteX18" fmla="*/ 46470 w 60465"/>
                  <a:gd name="connsiteY18" fmla="*/ 1017 h 16446"/>
                  <a:gd name="connsiteX19" fmla="*/ 54963 w 60465"/>
                  <a:gd name="connsiteY19" fmla="*/ 2930 h 16446"/>
                  <a:gd name="connsiteX20" fmla="*/ 56518 w 60465"/>
                  <a:gd name="connsiteY20" fmla="*/ 3708 h 16446"/>
                  <a:gd name="connsiteX21" fmla="*/ 60466 w 60465"/>
                  <a:gd name="connsiteY21" fmla="*/ 5682 h 16446"/>
                  <a:gd name="connsiteX22" fmla="*/ 60466 w 60465"/>
                  <a:gd name="connsiteY22" fmla="*/ 5682 h 16446"/>
                  <a:gd name="connsiteX23" fmla="*/ 58791 w 60465"/>
                  <a:gd name="connsiteY23" fmla="*/ 11603 h 16446"/>
                  <a:gd name="connsiteX24" fmla="*/ 56339 w 60465"/>
                  <a:gd name="connsiteY24" fmla="*/ 14952 h 16446"/>
                  <a:gd name="connsiteX25" fmla="*/ 52990 w 60465"/>
                  <a:gd name="connsiteY25" fmla="*/ 16387 h 16446"/>
                  <a:gd name="connsiteX26" fmla="*/ 52810 w 60465"/>
                  <a:gd name="connsiteY26" fmla="*/ 16447 h 16446"/>
                  <a:gd name="connsiteX27" fmla="*/ 52691 w 60465"/>
                  <a:gd name="connsiteY27" fmla="*/ 16447 h 1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465" h="16446">
                    <a:moveTo>
                      <a:pt x="0" y="8433"/>
                    </a:moveTo>
                    <a:lnTo>
                      <a:pt x="1615" y="7775"/>
                    </a:lnTo>
                    <a:lnTo>
                      <a:pt x="1914" y="7655"/>
                    </a:lnTo>
                    <a:lnTo>
                      <a:pt x="4605" y="6579"/>
                    </a:lnTo>
                    <a:lnTo>
                      <a:pt x="4665" y="6579"/>
                    </a:lnTo>
                    <a:lnTo>
                      <a:pt x="6460" y="5861"/>
                    </a:lnTo>
                    <a:lnTo>
                      <a:pt x="8313" y="5263"/>
                    </a:lnTo>
                    <a:lnTo>
                      <a:pt x="10945" y="4605"/>
                    </a:lnTo>
                    <a:lnTo>
                      <a:pt x="12739" y="4127"/>
                    </a:lnTo>
                    <a:lnTo>
                      <a:pt x="20096" y="2273"/>
                    </a:lnTo>
                    <a:lnTo>
                      <a:pt x="22428" y="1675"/>
                    </a:lnTo>
                    <a:lnTo>
                      <a:pt x="23026" y="1555"/>
                    </a:lnTo>
                    <a:lnTo>
                      <a:pt x="23923" y="1435"/>
                    </a:lnTo>
                    <a:lnTo>
                      <a:pt x="27930" y="897"/>
                    </a:lnTo>
                    <a:lnTo>
                      <a:pt x="29545" y="658"/>
                    </a:lnTo>
                    <a:lnTo>
                      <a:pt x="31997" y="359"/>
                    </a:lnTo>
                    <a:lnTo>
                      <a:pt x="34569" y="0"/>
                    </a:lnTo>
                    <a:lnTo>
                      <a:pt x="42344" y="658"/>
                    </a:lnTo>
                    <a:lnTo>
                      <a:pt x="46470" y="1017"/>
                    </a:lnTo>
                    <a:lnTo>
                      <a:pt x="54963" y="2930"/>
                    </a:lnTo>
                    <a:lnTo>
                      <a:pt x="56518" y="3708"/>
                    </a:lnTo>
                    <a:lnTo>
                      <a:pt x="60466" y="5682"/>
                    </a:lnTo>
                    <a:lnTo>
                      <a:pt x="60466" y="5682"/>
                    </a:lnTo>
                    <a:lnTo>
                      <a:pt x="58791" y="11603"/>
                    </a:lnTo>
                    <a:lnTo>
                      <a:pt x="56339" y="14952"/>
                    </a:lnTo>
                    <a:lnTo>
                      <a:pt x="52990" y="16387"/>
                    </a:lnTo>
                    <a:lnTo>
                      <a:pt x="52810" y="16447"/>
                    </a:lnTo>
                    <a:lnTo>
                      <a:pt x="52691" y="16447"/>
                    </a:lnTo>
                  </a:path>
                </a:pathLst>
              </a:custGeom>
              <a:noFill/>
              <a:ln w="6350" cap="rnd">
                <a:solidFill>
                  <a:schemeClr val="bg1">
                    <a:alpha val="80000"/>
                  </a:schemeClr>
                </a:solidFill>
                <a:prstDash val="solid"/>
                <a:round/>
              </a:ln>
            </p:spPr>
            <p:txBody>
              <a:bodyPr rtlCol="0" anchor="ctr"/>
              <a:lstStyle/>
              <a:p>
                <a:endParaRPr lang="en-GB"/>
              </a:p>
            </p:txBody>
          </p:sp>
          <p:sp>
            <p:nvSpPr>
              <p:cNvPr id="6576" name="Vrije vorm: vorm 6575">
                <a:extLst>
                  <a:ext uri="{FF2B5EF4-FFF2-40B4-BE49-F238E27FC236}">
                    <a16:creationId xmlns:a16="http://schemas.microsoft.com/office/drawing/2014/main" id="{84C9E71C-8C35-4F2D-A3A0-D7ABCC03B7E4}"/>
                  </a:ext>
                </a:extLst>
              </p:cNvPr>
              <p:cNvSpPr/>
              <p:nvPr/>
            </p:nvSpPr>
            <p:spPr>
              <a:xfrm>
                <a:off x="6787421" y="1930139"/>
                <a:ext cx="897" cy="418"/>
              </a:xfrm>
              <a:custGeom>
                <a:avLst/>
                <a:gdLst>
                  <a:gd name="connsiteX0" fmla="*/ 0 w 897"/>
                  <a:gd name="connsiteY0" fmla="*/ 0 h 418"/>
                  <a:gd name="connsiteX1" fmla="*/ 0 w 897"/>
                  <a:gd name="connsiteY1" fmla="*/ 0 h 418"/>
                  <a:gd name="connsiteX2" fmla="*/ 897 w 897"/>
                  <a:gd name="connsiteY2" fmla="*/ 419 h 418"/>
                </a:gdLst>
                <a:ahLst/>
                <a:cxnLst>
                  <a:cxn ang="0">
                    <a:pos x="connsiteX0" y="connsiteY0"/>
                  </a:cxn>
                  <a:cxn ang="0">
                    <a:pos x="connsiteX1" y="connsiteY1"/>
                  </a:cxn>
                  <a:cxn ang="0">
                    <a:pos x="connsiteX2" y="connsiteY2"/>
                  </a:cxn>
                </a:cxnLst>
                <a:rect l="l" t="t" r="r" b="b"/>
                <a:pathLst>
                  <a:path w="897" h="418">
                    <a:moveTo>
                      <a:pt x="0" y="0"/>
                    </a:moveTo>
                    <a:lnTo>
                      <a:pt x="0" y="0"/>
                    </a:lnTo>
                    <a:lnTo>
                      <a:pt x="897" y="419"/>
                    </a:lnTo>
                  </a:path>
                </a:pathLst>
              </a:custGeom>
              <a:noFill/>
              <a:ln w="6350" cap="rnd">
                <a:solidFill>
                  <a:schemeClr val="bg1">
                    <a:alpha val="80000"/>
                  </a:schemeClr>
                </a:solidFill>
                <a:prstDash val="solid"/>
                <a:round/>
              </a:ln>
            </p:spPr>
            <p:txBody>
              <a:bodyPr rtlCol="0" anchor="ctr"/>
              <a:lstStyle/>
              <a:p>
                <a:endParaRPr lang="en-GB"/>
              </a:p>
            </p:txBody>
          </p:sp>
          <p:sp>
            <p:nvSpPr>
              <p:cNvPr id="6577" name="Vrije vorm: vorm 6576">
                <a:extLst>
                  <a:ext uri="{FF2B5EF4-FFF2-40B4-BE49-F238E27FC236}">
                    <a16:creationId xmlns:a16="http://schemas.microsoft.com/office/drawing/2014/main" id="{645DA74F-DECF-48D7-91B4-AF1218A5F19A}"/>
                  </a:ext>
                </a:extLst>
              </p:cNvPr>
              <p:cNvSpPr/>
              <p:nvPr/>
            </p:nvSpPr>
            <p:spPr>
              <a:xfrm>
                <a:off x="6768104" y="1930139"/>
                <a:ext cx="19257" cy="27750"/>
              </a:xfrm>
              <a:custGeom>
                <a:avLst/>
                <a:gdLst>
                  <a:gd name="connsiteX0" fmla="*/ 2093 w 19257"/>
                  <a:gd name="connsiteY0" fmla="*/ 27751 h 27750"/>
                  <a:gd name="connsiteX1" fmla="*/ 1734 w 19257"/>
                  <a:gd name="connsiteY1" fmla="*/ 27451 h 27750"/>
                  <a:gd name="connsiteX2" fmla="*/ 1615 w 19257"/>
                  <a:gd name="connsiteY2" fmla="*/ 27332 h 27750"/>
                  <a:gd name="connsiteX3" fmla="*/ 837 w 19257"/>
                  <a:gd name="connsiteY3" fmla="*/ 26315 h 27750"/>
                  <a:gd name="connsiteX4" fmla="*/ 0 w 19257"/>
                  <a:gd name="connsiteY4" fmla="*/ 25239 h 27750"/>
                  <a:gd name="connsiteX5" fmla="*/ 1914 w 19257"/>
                  <a:gd name="connsiteY5" fmla="*/ 22727 h 27750"/>
                  <a:gd name="connsiteX6" fmla="*/ 2153 w 19257"/>
                  <a:gd name="connsiteY6" fmla="*/ 22368 h 27750"/>
                  <a:gd name="connsiteX7" fmla="*/ 5682 w 19257"/>
                  <a:gd name="connsiteY7" fmla="*/ 17763 h 27750"/>
                  <a:gd name="connsiteX8" fmla="*/ 8074 w 19257"/>
                  <a:gd name="connsiteY8" fmla="*/ 14653 h 27750"/>
                  <a:gd name="connsiteX9" fmla="*/ 8253 w 19257"/>
                  <a:gd name="connsiteY9" fmla="*/ 14414 h 27750"/>
                  <a:gd name="connsiteX10" fmla="*/ 12141 w 19257"/>
                  <a:gd name="connsiteY10" fmla="*/ 9330 h 27750"/>
                  <a:gd name="connsiteX11" fmla="*/ 12380 w 19257"/>
                  <a:gd name="connsiteY11" fmla="*/ 9031 h 27750"/>
                  <a:gd name="connsiteX12" fmla="*/ 14114 w 19257"/>
                  <a:gd name="connsiteY12" fmla="*/ 6758 h 27750"/>
                  <a:gd name="connsiteX13" fmla="*/ 14533 w 19257"/>
                  <a:gd name="connsiteY13" fmla="*/ 6160 h 27750"/>
                  <a:gd name="connsiteX14" fmla="*/ 18480 w 19257"/>
                  <a:gd name="connsiteY14" fmla="*/ 1017 h 27750"/>
                  <a:gd name="connsiteX15" fmla="*/ 18959 w 19257"/>
                  <a:gd name="connsiteY15" fmla="*/ 359 h 27750"/>
                  <a:gd name="connsiteX16" fmla="*/ 19198 w 19257"/>
                  <a:gd name="connsiteY16" fmla="*/ 60 h 27750"/>
                  <a:gd name="connsiteX17" fmla="*/ 19258 w 19257"/>
                  <a:gd name="connsiteY17" fmla="*/ 0 h 2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257" h="27750">
                    <a:moveTo>
                      <a:pt x="2093" y="27751"/>
                    </a:moveTo>
                    <a:lnTo>
                      <a:pt x="1734" y="27451"/>
                    </a:lnTo>
                    <a:lnTo>
                      <a:pt x="1615" y="27332"/>
                    </a:lnTo>
                    <a:lnTo>
                      <a:pt x="837" y="26315"/>
                    </a:lnTo>
                    <a:lnTo>
                      <a:pt x="0" y="25239"/>
                    </a:lnTo>
                    <a:lnTo>
                      <a:pt x="1914" y="22727"/>
                    </a:lnTo>
                    <a:lnTo>
                      <a:pt x="2153" y="22368"/>
                    </a:lnTo>
                    <a:lnTo>
                      <a:pt x="5682" y="17763"/>
                    </a:lnTo>
                    <a:lnTo>
                      <a:pt x="8074" y="14653"/>
                    </a:lnTo>
                    <a:lnTo>
                      <a:pt x="8253" y="14414"/>
                    </a:lnTo>
                    <a:lnTo>
                      <a:pt x="12141" y="9330"/>
                    </a:lnTo>
                    <a:lnTo>
                      <a:pt x="12380" y="9031"/>
                    </a:lnTo>
                    <a:lnTo>
                      <a:pt x="14114" y="6758"/>
                    </a:lnTo>
                    <a:lnTo>
                      <a:pt x="14533" y="6160"/>
                    </a:lnTo>
                    <a:lnTo>
                      <a:pt x="18480" y="1017"/>
                    </a:lnTo>
                    <a:lnTo>
                      <a:pt x="18959" y="359"/>
                    </a:lnTo>
                    <a:lnTo>
                      <a:pt x="19198" y="60"/>
                    </a:lnTo>
                    <a:lnTo>
                      <a:pt x="19258" y="0"/>
                    </a:lnTo>
                  </a:path>
                </a:pathLst>
              </a:custGeom>
              <a:noFill/>
              <a:ln w="6350" cap="rnd">
                <a:solidFill>
                  <a:schemeClr val="bg1">
                    <a:alpha val="80000"/>
                  </a:schemeClr>
                </a:solidFill>
                <a:prstDash val="solid"/>
                <a:round/>
              </a:ln>
            </p:spPr>
            <p:txBody>
              <a:bodyPr rtlCol="0" anchor="ctr"/>
              <a:lstStyle/>
              <a:p>
                <a:endParaRPr lang="en-GB"/>
              </a:p>
            </p:txBody>
          </p:sp>
          <p:sp>
            <p:nvSpPr>
              <p:cNvPr id="6578" name="Vrije vorm: vorm 6577">
                <a:extLst>
                  <a:ext uri="{FF2B5EF4-FFF2-40B4-BE49-F238E27FC236}">
                    <a16:creationId xmlns:a16="http://schemas.microsoft.com/office/drawing/2014/main" id="{9C59B1ED-CE18-47BC-98D3-4C7BFE7B10F0}"/>
                  </a:ext>
                </a:extLst>
              </p:cNvPr>
              <p:cNvSpPr/>
              <p:nvPr/>
            </p:nvSpPr>
            <p:spPr>
              <a:xfrm>
                <a:off x="7072104" y="1895749"/>
                <a:ext cx="6279" cy="9628"/>
              </a:xfrm>
              <a:custGeom>
                <a:avLst/>
                <a:gdLst>
                  <a:gd name="connsiteX0" fmla="*/ 5502 w 6279"/>
                  <a:gd name="connsiteY0" fmla="*/ 0 h 9628"/>
                  <a:gd name="connsiteX1" fmla="*/ 6100 w 6279"/>
                  <a:gd name="connsiteY1" fmla="*/ 1136 h 9628"/>
                  <a:gd name="connsiteX2" fmla="*/ 6279 w 6279"/>
                  <a:gd name="connsiteY2" fmla="*/ 1495 h 9628"/>
                  <a:gd name="connsiteX3" fmla="*/ 6279 w 6279"/>
                  <a:gd name="connsiteY3" fmla="*/ 1555 h 9628"/>
                  <a:gd name="connsiteX4" fmla="*/ 1615 w 6279"/>
                  <a:gd name="connsiteY4" fmla="*/ 9390 h 9628"/>
                  <a:gd name="connsiteX5" fmla="*/ 60 w 6279"/>
                  <a:gd name="connsiteY5" fmla="*/ 9509 h 9628"/>
                  <a:gd name="connsiteX6" fmla="*/ 0 w 6279"/>
                  <a:gd name="connsiteY6" fmla="*/ 9629 h 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9628">
                    <a:moveTo>
                      <a:pt x="5502" y="0"/>
                    </a:moveTo>
                    <a:lnTo>
                      <a:pt x="6100" y="1136"/>
                    </a:lnTo>
                    <a:lnTo>
                      <a:pt x="6279" y="1495"/>
                    </a:lnTo>
                    <a:lnTo>
                      <a:pt x="6279" y="1555"/>
                    </a:lnTo>
                    <a:lnTo>
                      <a:pt x="1615" y="9390"/>
                    </a:lnTo>
                    <a:lnTo>
                      <a:pt x="60" y="9509"/>
                    </a:lnTo>
                    <a:lnTo>
                      <a:pt x="0" y="9629"/>
                    </a:lnTo>
                  </a:path>
                </a:pathLst>
              </a:custGeom>
              <a:noFill/>
              <a:ln w="6350" cap="rnd">
                <a:solidFill>
                  <a:schemeClr val="bg1">
                    <a:alpha val="80000"/>
                  </a:schemeClr>
                </a:solidFill>
                <a:prstDash val="solid"/>
                <a:round/>
              </a:ln>
            </p:spPr>
            <p:txBody>
              <a:bodyPr rtlCol="0" anchor="ctr"/>
              <a:lstStyle/>
              <a:p>
                <a:endParaRPr lang="en-GB"/>
              </a:p>
            </p:txBody>
          </p:sp>
          <p:sp>
            <p:nvSpPr>
              <p:cNvPr id="6579" name="Vrije vorm: vorm 6578">
                <a:extLst>
                  <a:ext uri="{FF2B5EF4-FFF2-40B4-BE49-F238E27FC236}">
                    <a16:creationId xmlns:a16="http://schemas.microsoft.com/office/drawing/2014/main" id="{EC69B2F2-048A-4909-AF54-4C5BC01345BC}"/>
                  </a:ext>
                </a:extLst>
              </p:cNvPr>
              <p:cNvSpPr/>
              <p:nvPr/>
            </p:nvSpPr>
            <p:spPr>
              <a:xfrm>
                <a:off x="6823784" y="1930198"/>
                <a:ext cx="5502" cy="4306"/>
              </a:xfrm>
              <a:custGeom>
                <a:avLst/>
                <a:gdLst>
                  <a:gd name="connsiteX0" fmla="*/ 4785 w 5502"/>
                  <a:gd name="connsiteY0" fmla="*/ 0 h 4306"/>
                  <a:gd name="connsiteX1" fmla="*/ 4844 w 5502"/>
                  <a:gd name="connsiteY1" fmla="*/ 120 h 4306"/>
                  <a:gd name="connsiteX2" fmla="*/ 4964 w 5502"/>
                  <a:gd name="connsiteY2" fmla="*/ 359 h 4306"/>
                  <a:gd name="connsiteX3" fmla="*/ 5502 w 5502"/>
                  <a:gd name="connsiteY3" fmla="*/ 1256 h 4306"/>
                  <a:gd name="connsiteX4" fmla="*/ 5263 w 5502"/>
                  <a:gd name="connsiteY4" fmla="*/ 1675 h 4306"/>
                  <a:gd name="connsiteX5" fmla="*/ 3887 w 5502"/>
                  <a:gd name="connsiteY5" fmla="*/ 3947 h 4306"/>
                  <a:gd name="connsiteX6" fmla="*/ 3110 w 5502"/>
                  <a:gd name="connsiteY6" fmla="*/ 4127 h 4306"/>
                  <a:gd name="connsiteX7" fmla="*/ 2213 w 5502"/>
                  <a:gd name="connsiteY7" fmla="*/ 4306 h 4306"/>
                  <a:gd name="connsiteX8" fmla="*/ 0 w 5502"/>
                  <a:gd name="connsiteY8" fmla="*/ 2871 h 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2" h="4306">
                    <a:moveTo>
                      <a:pt x="4785" y="0"/>
                    </a:moveTo>
                    <a:lnTo>
                      <a:pt x="4844" y="120"/>
                    </a:lnTo>
                    <a:lnTo>
                      <a:pt x="4964" y="359"/>
                    </a:lnTo>
                    <a:lnTo>
                      <a:pt x="5502" y="1256"/>
                    </a:lnTo>
                    <a:lnTo>
                      <a:pt x="5263" y="1675"/>
                    </a:lnTo>
                    <a:lnTo>
                      <a:pt x="3887" y="3947"/>
                    </a:lnTo>
                    <a:lnTo>
                      <a:pt x="3110" y="4127"/>
                    </a:lnTo>
                    <a:lnTo>
                      <a:pt x="2213" y="4306"/>
                    </a:lnTo>
                    <a:lnTo>
                      <a:pt x="0" y="2871"/>
                    </a:lnTo>
                  </a:path>
                </a:pathLst>
              </a:custGeom>
              <a:noFill/>
              <a:ln w="6350" cap="rnd">
                <a:solidFill>
                  <a:schemeClr val="bg1">
                    <a:alpha val="80000"/>
                  </a:schemeClr>
                </a:solidFill>
                <a:prstDash val="solid"/>
                <a:round/>
              </a:ln>
            </p:spPr>
            <p:txBody>
              <a:bodyPr rtlCol="0" anchor="ctr"/>
              <a:lstStyle/>
              <a:p>
                <a:endParaRPr lang="en-GB"/>
              </a:p>
            </p:txBody>
          </p:sp>
          <p:sp>
            <p:nvSpPr>
              <p:cNvPr id="6580" name="Vrije vorm: vorm 6579">
                <a:extLst>
                  <a:ext uri="{FF2B5EF4-FFF2-40B4-BE49-F238E27FC236}">
                    <a16:creationId xmlns:a16="http://schemas.microsoft.com/office/drawing/2014/main" id="{44BFD1DE-7225-4898-B338-AB13D3EFE4A5}"/>
                  </a:ext>
                </a:extLst>
              </p:cNvPr>
              <p:cNvSpPr/>
              <p:nvPr/>
            </p:nvSpPr>
            <p:spPr>
              <a:xfrm>
                <a:off x="6820674" y="1937555"/>
                <a:ext cx="3409" cy="5741"/>
              </a:xfrm>
              <a:custGeom>
                <a:avLst/>
                <a:gdLst>
                  <a:gd name="connsiteX0" fmla="*/ 479 w 3409"/>
                  <a:gd name="connsiteY0" fmla="*/ 0 h 5741"/>
                  <a:gd name="connsiteX1" fmla="*/ 2691 w 3409"/>
                  <a:gd name="connsiteY1" fmla="*/ 1435 h 5741"/>
                  <a:gd name="connsiteX2" fmla="*/ 3050 w 3409"/>
                  <a:gd name="connsiteY2" fmla="*/ 2093 h 5741"/>
                  <a:gd name="connsiteX3" fmla="*/ 3409 w 3409"/>
                  <a:gd name="connsiteY3" fmla="*/ 2691 h 5741"/>
                  <a:gd name="connsiteX4" fmla="*/ 1854 w 3409"/>
                  <a:gd name="connsiteY4" fmla="*/ 5383 h 5741"/>
                  <a:gd name="connsiteX5" fmla="*/ 1854 w 3409"/>
                  <a:gd name="connsiteY5" fmla="*/ 5383 h 5741"/>
                  <a:gd name="connsiteX6" fmla="*/ 180 w 3409"/>
                  <a:gd name="connsiteY6" fmla="*/ 5741 h 5741"/>
                  <a:gd name="connsiteX7" fmla="*/ 0 w 3409"/>
                  <a:gd name="connsiteY7" fmla="*/ 5622 h 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9" h="5741">
                    <a:moveTo>
                      <a:pt x="479" y="0"/>
                    </a:moveTo>
                    <a:lnTo>
                      <a:pt x="2691" y="1435"/>
                    </a:lnTo>
                    <a:lnTo>
                      <a:pt x="3050" y="2093"/>
                    </a:lnTo>
                    <a:lnTo>
                      <a:pt x="3409" y="2691"/>
                    </a:lnTo>
                    <a:lnTo>
                      <a:pt x="1854" y="5383"/>
                    </a:lnTo>
                    <a:lnTo>
                      <a:pt x="1854" y="5383"/>
                    </a:lnTo>
                    <a:lnTo>
                      <a:pt x="180" y="5741"/>
                    </a:lnTo>
                    <a:lnTo>
                      <a:pt x="0" y="5622"/>
                    </a:lnTo>
                  </a:path>
                </a:pathLst>
              </a:custGeom>
              <a:noFill/>
              <a:ln w="6350" cap="rnd">
                <a:solidFill>
                  <a:schemeClr val="bg1">
                    <a:alpha val="80000"/>
                  </a:schemeClr>
                </a:solidFill>
                <a:prstDash val="solid"/>
                <a:round/>
              </a:ln>
            </p:spPr>
            <p:txBody>
              <a:bodyPr rtlCol="0" anchor="ctr"/>
              <a:lstStyle/>
              <a:p>
                <a:endParaRPr lang="en-GB"/>
              </a:p>
            </p:txBody>
          </p:sp>
          <p:sp>
            <p:nvSpPr>
              <p:cNvPr id="6581" name="Vrije vorm: vorm 6580">
                <a:extLst>
                  <a:ext uri="{FF2B5EF4-FFF2-40B4-BE49-F238E27FC236}">
                    <a16:creationId xmlns:a16="http://schemas.microsoft.com/office/drawing/2014/main" id="{F2468C16-4A09-452B-8187-08E1DBBC7C83}"/>
                  </a:ext>
                </a:extLst>
              </p:cNvPr>
              <p:cNvSpPr/>
              <p:nvPr/>
            </p:nvSpPr>
            <p:spPr>
              <a:xfrm>
                <a:off x="6741489" y="1935701"/>
                <a:ext cx="22068" cy="22068"/>
              </a:xfrm>
              <a:custGeom>
                <a:avLst/>
                <a:gdLst>
                  <a:gd name="connsiteX0" fmla="*/ 22069 w 22068"/>
                  <a:gd name="connsiteY0" fmla="*/ 22069 h 22068"/>
                  <a:gd name="connsiteX1" fmla="*/ 21530 w 22068"/>
                  <a:gd name="connsiteY1" fmla="*/ 21710 h 22068"/>
                  <a:gd name="connsiteX2" fmla="*/ 20873 w 22068"/>
                  <a:gd name="connsiteY2" fmla="*/ 21291 h 22068"/>
                  <a:gd name="connsiteX3" fmla="*/ 17822 w 22068"/>
                  <a:gd name="connsiteY3" fmla="*/ 19258 h 22068"/>
                  <a:gd name="connsiteX4" fmla="*/ 17105 w 22068"/>
                  <a:gd name="connsiteY4" fmla="*/ 18779 h 22068"/>
                  <a:gd name="connsiteX5" fmla="*/ 16327 w 22068"/>
                  <a:gd name="connsiteY5" fmla="*/ 18241 h 22068"/>
                  <a:gd name="connsiteX6" fmla="*/ 13756 w 22068"/>
                  <a:gd name="connsiteY6" fmla="*/ 16567 h 22068"/>
                  <a:gd name="connsiteX7" fmla="*/ 12918 w 22068"/>
                  <a:gd name="connsiteY7" fmla="*/ 16028 h 22068"/>
                  <a:gd name="connsiteX8" fmla="*/ 11304 w 22068"/>
                  <a:gd name="connsiteY8" fmla="*/ 14952 h 22068"/>
                  <a:gd name="connsiteX9" fmla="*/ 11064 w 22068"/>
                  <a:gd name="connsiteY9" fmla="*/ 14772 h 22068"/>
                  <a:gd name="connsiteX10" fmla="*/ 10705 w 22068"/>
                  <a:gd name="connsiteY10" fmla="*/ 14533 h 22068"/>
                  <a:gd name="connsiteX11" fmla="*/ 6997 w 22068"/>
                  <a:gd name="connsiteY11" fmla="*/ 12081 h 22068"/>
                  <a:gd name="connsiteX12" fmla="*/ 6340 w 22068"/>
                  <a:gd name="connsiteY12" fmla="*/ 11662 h 22068"/>
                  <a:gd name="connsiteX13" fmla="*/ 0 w 22068"/>
                  <a:gd name="connsiteY13" fmla="*/ 7476 h 22068"/>
                  <a:gd name="connsiteX14" fmla="*/ 2333 w 22068"/>
                  <a:gd name="connsiteY14" fmla="*/ 3529 h 22068"/>
                  <a:gd name="connsiteX15" fmla="*/ 2691 w 22068"/>
                  <a:gd name="connsiteY15" fmla="*/ 2931 h 22068"/>
                  <a:gd name="connsiteX16" fmla="*/ 2990 w 22068"/>
                  <a:gd name="connsiteY16" fmla="*/ 2452 h 22068"/>
                  <a:gd name="connsiteX17" fmla="*/ 3409 w 22068"/>
                  <a:gd name="connsiteY17" fmla="*/ 1734 h 22068"/>
                  <a:gd name="connsiteX18" fmla="*/ 3529 w 22068"/>
                  <a:gd name="connsiteY18" fmla="*/ 1555 h 22068"/>
                  <a:gd name="connsiteX19" fmla="*/ 4187 w 22068"/>
                  <a:gd name="connsiteY19" fmla="*/ 419 h 22068"/>
                  <a:gd name="connsiteX20" fmla="*/ 4246 w 22068"/>
                  <a:gd name="connsiteY20" fmla="*/ 299 h 22068"/>
                  <a:gd name="connsiteX21" fmla="*/ 4426 w 22068"/>
                  <a:gd name="connsiteY21" fmla="*/ 0 h 22068"/>
                  <a:gd name="connsiteX22" fmla="*/ 4964 w 22068"/>
                  <a:gd name="connsiteY22" fmla="*/ 179 h 22068"/>
                  <a:gd name="connsiteX23" fmla="*/ 5323 w 22068"/>
                  <a:gd name="connsiteY23" fmla="*/ 299 h 22068"/>
                  <a:gd name="connsiteX24" fmla="*/ 5622 w 22068"/>
                  <a:gd name="connsiteY24" fmla="*/ 419 h 22068"/>
                  <a:gd name="connsiteX25" fmla="*/ 6280 w 22068"/>
                  <a:gd name="connsiteY25" fmla="*/ 658 h 22068"/>
                  <a:gd name="connsiteX26" fmla="*/ 7117 w 22068"/>
                  <a:gd name="connsiteY26" fmla="*/ 957 h 22068"/>
                  <a:gd name="connsiteX27" fmla="*/ 7356 w 22068"/>
                  <a:gd name="connsiteY27" fmla="*/ 1017 h 22068"/>
                  <a:gd name="connsiteX28" fmla="*/ 10347 w 22068"/>
                  <a:gd name="connsiteY28" fmla="*/ 2034 h 22068"/>
                  <a:gd name="connsiteX29" fmla="*/ 11423 w 22068"/>
                  <a:gd name="connsiteY29" fmla="*/ 2392 h 22068"/>
                  <a:gd name="connsiteX30" fmla="*/ 11782 w 22068"/>
                  <a:gd name="connsiteY30" fmla="*/ 2512 h 22068"/>
                  <a:gd name="connsiteX31" fmla="*/ 12021 w 22068"/>
                  <a:gd name="connsiteY31" fmla="*/ 2093 h 22068"/>
                  <a:gd name="connsiteX32" fmla="*/ 12141 w 22068"/>
                  <a:gd name="connsiteY32" fmla="*/ 1914 h 22068"/>
                  <a:gd name="connsiteX33" fmla="*/ 12320 w 22068"/>
                  <a:gd name="connsiteY33" fmla="*/ 1615 h 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2068" h="22068">
                    <a:moveTo>
                      <a:pt x="22069" y="22069"/>
                    </a:moveTo>
                    <a:lnTo>
                      <a:pt x="21530" y="21710"/>
                    </a:lnTo>
                    <a:lnTo>
                      <a:pt x="20873" y="21291"/>
                    </a:lnTo>
                    <a:lnTo>
                      <a:pt x="17822" y="19258"/>
                    </a:lnTo>
                    <a:lnTo>
                      <a:pt x="17105" y="18779"/>
                    </a:lnTo>
                    <a:lnTo>
                      <a:pt x="16327" y="18241"/>
                    </a:lnTo>
                    <a:lnTo>
                      <a:pt x="13756" y="16567"/>
                    </a:lnTo>
                    <a:lnTo>
                      <a:pt x="12918" y="16028"/>
                    </a:lnTo>
                    <a:lnTo>
                      <a:pt x="11304" y="14952"/>
                    </a:lnTo>
                    <a:lnTo>
                      <a:pt x="11064" y="14772"/>
                    </a:lnTo>
                    <a:lnTo>
                      <a:pt x="10705" y="14533"/>
                    </a:lnTo>
                    <a:lnTo>
                      <a:pt x="6997" y="12081"/>
                    </a:lnTo>
                    <a:lnTo>
                      <a:pt x="6340" y="11662"/>
                    </a:lnTo>
                    <a:lnTo>
                      <a:pt x="0" y="7476"/>
                    </a:lnTo>
                    <a:lnTo>
                      <a:pt x="2333" y="3529"/>
                    </a:lnTo>
                    <a:lnTo>
                      <a:pt x="2691" y="2931"/>
                    </a:lnTo>
                    <a:lnTo>
                      <a:pt x="2990" y="2452"/>
                    </a:lnTo>
                    <a:lnTo>
                      <a:pt x="3409" y="1734"/>
                    </a:lnTo>
                    <a:lnTo>
                      <a:pt x="3529" y="1555"/>
                    </a:lnTo>
                    <a:lnTo>
                      <a:pt x="4187" y="419"/>
                    </a:lnTo>
                    <a:lnTo>
                      <a:pt x="4246" y="299"/>
                    </a:lnTo>
                    <a:lnTo>
                      <a:pt x="4426" y="0"/>
                    </a:lnTo>
                    <a:lnTo>
                      <a:pt x="4964" y="179"/>
                    </a:lnTo>
                    <a:lnTo>
                      <a:pt x="5323" y="299"/>
                    </a:lnTo>
                    <a:lnTo>
                      <a:pt x="5622" y="419"/>
                    </a:lnTo>
                    <a:lnTo>
                      <a:pt x="6280" y="658"/>
                    </a:lnTo>
                    <a:lnTo>
                      <a:pt x="7117" y="957"/>
                    </a:lnTo>
                    <a:lnTo>
                      <a:pt x="7356" y="1017"/>
                    </a:lnTo>
                    <a:lnTo>
                      <a:pt x="10347" y="2034"/>
                    </a:lnTo>
                    <a:lnTo>
                      <a:pt x="11423" y="2392"/>
                    </a:lnTo>
                    <a:lnTo>
                      <a:pt x="11782" y="2512"/>
                    </a:lnTo>
                    <a:lnTo>
                      <a:pt x="12021" y="2093"/>
                    </a:lnTo>
                    <a:lnTo>
                      <a:pt x="12141" y="1914"/>
                    </a:lnTo>
                    <a:lnTo>
                      <a:pt x="12320" y="1615"/>
                    </a:lnTo>
                  </a:path>
                </a:pathLst>
              </a:custGeom>
              <a:noFill/>
              <a:ln w="6350" cap="rnd">
                <a:solidFill>
                  <a:schemeClr val="bg1">
                    <a:alpha val="80000"/>
                  </a:schemeClr>
                </a:solidFill>
                <a:prstDash val="solid"/>
                <a:round/>
              </a:ln>
            </p:spPr>
            <p:txBody>
              <a:bodyPr rtlCol="0" anchor="ctr"/>
              <a:lstStyle/>
              <a:p>
                <a:endParaRPr lang="en-GB"/>
              </a:p>
            </p:txBody>
          </p:sp>
          <p:sp>
            <p:nvSpPr>
              <p:cNvPr id="6582" name="Vrije vorm: vorm 6581">
                <a:extLst>
                  <a:ext uri="{FF2B5EF4-FFF2-40B4-BE49-F238E27FC236}">
                    <a16:creationId xmlns:a16="http://schemas.microsoft.com/office/drawing/2014/main" id="{761B35CE-B7FC-495F-B599-64205F272B5B}"/>
                  </a:ext>
                </a:extLst>
              </p:cNvPr>
              <p:cNvSpPr/>
              <p:nvPr/>
            </p:nvSpPr>
            <p:spPr>
              <a:xfrm>
                <a:off x="6761405" y="1908967"/>
                <a:ext cx="13934" cy="30083"/>
              </a:xfrm>
              <a:custGeom>
                <a:avLst/>
                <a:gdLst>
                  <a:gd name="connsiteX0" fmla="*/ 658 w 13934"/>
                  <a:gd name="connsiteY0" fmla="*/ 30083 h 30083"/>
                  <a:gd name="connsiteX1" fmla="*/ 2153 w 13934"/>
                  <a:gd name="connsiteY1" fmla="*/ 29844 h 30083"/>
                  <a:gd name="connsiteX2" fmla="*/ 3289 w 13934"/>
                  <a:gd name="connsiteY2" fmla="*/ 29664 h 30083"/>
                  <a:gd name="connsiteX3" fmla="*/ 3588 w 13934"/>
                  <a:gd name="connsiteY3" fmla="*/ 29605 h 30083"/>
                  <a:gd name="connsiteX4" fmla="*/ 4187 w 13934"/>
                  <a:gd name="connsiteY4" fmla="*/ 29485 h 30083"/>
                  <a:gd name="connsiteX5" fmla="*/ 4486 w 13934"/>
                  <a:gd name="connsiteY5" fmla="*/ 29425 h 30083"/>
                  <a:gd name="connsiteX6" fmla="*/ 4665 w 13934"/>
                  <a:gd name="connsiteY6" fmla="*/ 29425 h 30083"/>
                  <a:gd name="connsiteX7" fmla="*/ 5203 w 13934"/>
                  <a:gd name="connsiteY7" fmla="*/ 29186 h 30083"/>
                  <a:gd name="connsiteX8" fmla="*/ 7117 w 13934"/>
                  <a:gd name="connsiteY8" fmla="*/ 28408 h 30083"/>
                  <a:gd name="connsiteX9" fmla="*/ 7356 w 13934"/>
                  <a:gd name="connsiteY9" fmla="*/ 28289 h 30083"/>
                  <a:gd name="connsiteX10" fmla="*/ 9270 w 13934"/>
                  <a:gd name="connsiteY10" fmla="*/ 27511 h 30083"/>
                  <a:gd name="connsiteX11" fmla="*/ 9749 w 13934"/>
                  <a:gd name="connsiteY11" fmla="*/ 27033 h 30083"/>
                  <a:gd name="connsiteX12" fmla="*/ 11483 w 13934"/>
                  <a:gd name="connsiteY12" fmla="*/ 25239 h 30083"/>
                  <a:gd name="connsiteX13" fmla="*/ 11603 w 13934"/>
                  <a:gd name="connsiteY13" fmla="*/ 25119 h 30083"/>
                  <a:gd name="connsiteX14" fmla="*/ 12440 w 13934"/>
                  <a:gd name="connsiteY14" fmla="*/ 24222 h 30083"/>
                  <a:gd name="connsiteX15" fmla="*/ 12918 w 13934"/>
                  <a:gd name="connsiteY15" fmla="*/ 22787 h 30083"/>
                  <a:gd name="connsiteX16" fmla="*/ 13158 w 13934"/>
                  <a:gd name="connsiteY16" fmla="*/ 22069 h 30083"/>
                  <a:gd name="connsiteX17" fmla="*/ 13935 w 13934"/>
                  <a:gd name="connsiteY17" fmla="*/ 19736 h 30083"/>
                  <a:gd name="connsiteX18" fmla="*/ 13756 w 13934"/>
                  <a:gd name="connsiteY18" fmla="*/ 17882 h 30083"/>
                  <a:gd name="connsiteX19" fmla="*/ 13756 w 13934"/>
                  <a:gd name="connsiteY19" fmla="*/ 17524 h 30083"/>
                  <a:gd name="connsiteX20" fmla="*/ 13756 w 13934"/>
                  <a:gd name="connsiteY20" fmla="*/ 17524 h 30083"/>
                  <a:gd name="connsiteX21" fmla="*/ 13756 w 13934"/>
                  <a:gd name="connsiteY21" fmla="*/ 17165 h 30083"/>
                  <a:gd name="connsiteX22" fmla="*/ 13756 w 13934"/>
                  <a:gd name="connsiteY22" fmla="*/ 17045 h 30083"/>
                  <a:gd name="connsiteX23" fmla="*/ 13696 w 13934"/>
                  <a:gd name="connsiteY23" fmla="*/ 16148 h 30083"/>
                  <a:gd name="connsiteX24" fmla="*/ 13576 w 13934"/>
                  <a:gd name="connsiteY24" fmla="*/ 14473 h 30083"/>
                  <a:gd name="connsiteX25" fmla="*/ 13576 w 13934"/>
                  <a:gd name="connsiteY25" fmla="*/ 14414 h 30083"/>
                  <a:gd name="connsiteX26" fmla="*/ 13397 w 13934"/>
                  <a:gd name="connsiteY26" fmla="*/ 13816 h 30083"/>
                  <a:gd name="connsiteX27" fmla="*/ 12858 w 13934"/>
                  <a:gd name="connsiteY27" fmla="*/ 11961 h 30083"/>
                  <a:gd name="connsiteX28" fmla="*/ 12798 w 13934"/>
                  <a:gd name="connsiteY28" fmla="*/ 11722 h 30083"/>
                  <a:gd name="connsiteX29" fmla="*/ 12559 w 13934"/>
                  <a:gd name="connsiteY29" fmla="*/ 11005 h 30083"/>
                  <a:gd name="connsiteX30" fmla="*/ 12380 w 13934"/>
                  <a:gd name="connsiteY30" fmla="*/ 10406 h 30083"/>
                  <a:gd name="connsiteX31" fmla="*/ 11543 w 13934"/>
                  <a:gd name="connsiteY31" fmla="*/ 9330 h 30083"/>
                  <a:gd name="connsiteX32" fmla="*/ 10586 w 13934"/>
                  <a:gd name="connsiteY32" fmla="*/ 8014 h 30083"/>
                  <a:gd name="connsiteX33" fmla="*/ 9090 w 13934"/>
                  <a:gd name="connsiteY33" fmla="*/ 5981 h 30083"/>
                  <a:gd name="connsiteX34" fmla="*/ 8313 w 13934"/>
                  <a:gd name="connsiteY34" fmla="*/ 5442 h 30083"/>
                  <a:gd name="connsiteX35" fmla="*/ 6758 w 13934"/>
                  <a:gd name="connsiteY35" fmla="*/ 4426 h 30083"/>
                  <a:gd name="connsiteX36" fmla="*/ 5981 w 13934"/>
                  <a:gd name="connsiteY36" fmla="*/ 3888 h 30083"/>
                  <a:gd name="connsiteX37" fmla="*/ 4486 w 13934"/>
                  <a:gd name="connsiteY37" fmla="*/ 2931 h 30083"/>
                  <a:gd name="connsiteX38" fmla="*/ 4246 w 13934"/>
                  <a:gd name="connsiteY38" fmla="*/ 2751 h 30083"/>
                  <a:gd name="connsiteX39" fmla="*/ 1196 w 13934"/>
                  <a:gd name="connsiteY39" fmla="*/ 778 h 30083"/>
                  <a:gd name="connsiteX40" fmla="*/ 897 w 13934"/>
                  <a:gd name="connsiteY40" fmla="*/ 598 h 30083"/>
                  <a:gd name="connsiteX41" fmla="*/ 718 w 13934"/>
                  <a:gd name="connsiteY41" fmla="*/ 478 h 30083"/>
                  <a:gd name="connsiteX42" fmla="*/ 538 w 13934"/>
                  <a:gd name="connsiteY42" fmla="*/ 359 h 30083"/>
                  <a:gd name="connsiteX43" fmla="*/ 0 w 13934"/>
                  <a:gd name="connsiteY43" fmla="*/ 0 h 30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934" h="30083">
                    <a:moveTo>
                      <a:pt x="658" y="30083"/>
                    </a:moveTo>
                    <a:lnTo>
                      <a:pt x="2153" y="29844"/>
                    </a:lnTo>
                    <a:lnTo>
                      <a:pt x="3289" y="29664"/>
                    </a:lnTo>
                    <a:lnTo>
                      <a:pt x="3588" y="29605"/>
                    </a:lnTo>
                    <a:lnTo>
                      <a:pt x="4187" y="29485"/>
                    </a:lnTo>
                    <a:lnTo>
                      <a:pt x="4486" y="29425"/>
                    </a:lnTo>
                    <a:lnTo>
                      <a:pt x="4665" y="29425"/>
                    </a:lnTo>
                    <a:lnTo>
                      <a:pt x="5203" y="29186"/>
                    </a:lnTo>
                    <a:lnTo>
                      <a:pt x="7117" y="28408"/>
                    </a:lnTo>
                    <a:lnTo>
                      <a:pt x="7356" y="28289"/>
                    </a:lnTo>
                    <a:lnTo>
                      <a:pt x="9270" y="27511"/>
                    </a:lnTo>
                    <a:lnTo>
                      <a:pt x="9749" y="27033"/>
                    </a:lnTo>
                    <a:lnTo>
                      <a:pt x="11483" y="25239"/>
                    </a:lnTo>
                    <a:lnTo>
                      <a:pt x="11603" y="25119"/>
                    </a:lnTo>
                    <a:lnTo>
                      <a:pt x="12440" y="24222"/>
                    </a:lnTo>
                    <a:lnTo>
                      <a:pt x="12918" y="22787"/>
                    </a:lnTo>
                    <a:lnTo>
                      <a:pt x="13158" y="22069"/>
                    </a:lnTo>
                    <a:lnTo>
                      <a:pt x="13935" y="19736"/>
                    </a:lnTo>
                    <a:lnTo>
                      <a:pt x="13756" y="17882"/>
                    </a:lnTo>
                    <a:lnTo>
                      <a:pt x="13756" y="17524"/>
                    </a:lnTo>
                    <a:lnTo>
                      <a:pt x="13756" y="17524"/>
                    </a:lnTo>
                    <a:lnTo>
                      <a:pt x="13756" y="17165"/>
                    </a:lnTo>
                    <a:lnTo>
                      <a:pt x="13756" y="17045"/>
                    </a:lnTo>
                    <a:lnTo>
                      <a:pt x="13696" y="16148"/>
                    </a:lnTo>
                    <a:lnTo>
                      <a:pt x="13576" y="14473"/>
                    </a:lnTo>
                    <a:lnTo>
                      <a:pt x="13576" y="14414"/>
                    </a:lnTo>
                    <a:lnTo>
                      <a:pt x="13397" y="13816"/>
                    </a:lnTo>
                    <a:lnTo>
                      <a:pt x="12858" y="11961"/>
                    </a:lnTo>
                    <a:lnTo>
                      <a:pt x="12798" y="11722"/>
                    </a:lnTo>
                    <a:lnTo>
                      <a:pt x="12559" y="11005"/>
                    </a:lnTo>
                    <a:lnTo>
                      <a:pt x="12380" y="10406"/>
                    </a:lnTo>
                    <a:lnTo>
                      <a:pt x="11543" y="9330"/>
                    </a:lnTo>
                    <a:lnTo>
                      <a:pt x="10586" y="8014"/>
                    </a:lnTo>
                    <a:lnTo>
                      <a:pt x="9090" y="5981"/>
                    </a:lnTo>
                    <a:lnTo>
                      <a:pt x="8313" y="5442"/>
                    </a:lnTo>
                    <a:lnTo>
                      <a:pt x="6758" y="4426"/>
                    </a:lnTo>
                    <a:lnTo>
                      <a:pt x="5981" y="3888"/>
                    </a:lnTo>
                    <a:lnTo>
                      <a:pt x="4486" y="2931"/>
                    </a:lnTo>
                    <a:lnTo>
                      <a:pt x="4246" y="2751"/>
                    </a:lnTo>
                    <a:lnTo>
                      <a:pt x="1196" y="778"/>
                    </a:lnTo>
                    <a:lnTo>
                      <a:pt x="897" y="598"/>
                    </a:lnTo>
                    <a:lnTo>
                      <a:pt x="718" y="478"/>
                    </a:lnTo>
                    <a:lnTo>
                      <a:pt x="538" y="35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83" name="Vrije vorm: vorm 6582">
                <a:extLst>
                  <a:ext uri="{FF2B5EF4-FFF2-40B4-BE49-F238E27FC236}">
                    <a16:creationId xmlns:a16="http://schemas.microsoft.com/office/drawing/2014/main" id="{9A94B28D-734E-451E-83F0-E4E2A504D236}"/>
                  </a:ext>
                </a:extLst>
              </p:cNvPr>
              <p:cNvSpPr/>
              <p:nvPr/>
            </p:nvSpPr>
            <p:spPr>
              <a:xfrm>
                <a:off x="6613681" y="1910103"/>
                <a:ext cx="5083" cy="8552"/>
              </a:xfrm>
              <a:custGeom>
                <a:avLst/>
                <a:gdLst>
                  <a:gd name="connsiteX0" fmla="*/ 5083 w 5083"/>
                  <a:gd name="connsiteY0" fmla="*/ 8433 h 8552"/>
                  <a:gd name="connsiteX1" fmla="*/ 2153 w 5083"/>
                  <a:gd name="connsiteY1" fmla="*/ 8552 h 8552"/>
                  <a:gd name="connsiteX2" fmla="*/ 1734 w 5083"/>
                  <a:gd name="connsiteY2" fmla="*/ 8014 h 8552"/>
                  <a:gd name="connsiteX3" fmla="*/ 479 w 5083"/>
                  <a:gd name="connsiteY3" fmla="*/ 6459 h 8552"/>
                  <a:gd name="connsiteX4" fmla="*/ 0 w 5083"/>
                  <a:gd name="connsiteY4" fmla="*/ 3648 h 8552"/>
                  <a:gd name="connsiteX5" fmla="*/ 60 w 5083"/>
                  <a:gd name="connsiteY5" fmla="*/ 3230 h 8552"/>
                  <a:gd name="connsiteX6" fmla="*/ 239 w 5083"/>
                  <a:gd name="connsiteY6" fmla="*/ 1734 h 8552"/>
                  <a:gd name="connsiteX7" fmla="*/ 2452 w 5083"/>
                  <a:gd name="connsiteY7" fmla="*/ 0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3" h="8552">
                    <a:moveTo>
                      <a:pt x="5083" y="8433"/>
                    </a:moveTo>
                    <a:lnTo>
                      <a:pt x="2153" y="8552"/>
                    </a:lnTo>
                    <a:lnTo>
                      <a:pt x="1734" y="8014"/>
                    </a:lnTo>
                    <a:lnTo>
                      <a:pt x="479" y="6459"/>
                    </a:lnTo>
                    <a:lnTo>
                      <a:pt x="0" y="3648"/>
                    </a:lnTo>
                    <a:lnTo>
                      <a:pt x="60" y="3230"/>
                    </a:lnTo>
                    <a:lnTo>
                      <a:pt x="239" y="1734"/>
                    </a:lnTo>
                    <a:lnTo>
                      <a:pt x="2452" y="0"/>
                    </a:lnTo>
                  </a:path>
                </a:pathLst>
              </a:custGeom>
              <a:noFill/>
              <a:ln w="6350" cap="rnd">
                <a:solidFill>
                  <a:schemeClr val="bg1">
                    <a:alpha val="80000"/>
                  </a:schemeClr>
                </a:solidFill>
                <a:prstDash val="solid"/>
                <a:round/>
              </a:ln>
            </p:spPr>
            <p:txBody>
              <a:bodyPr rtlCol="0" anchor="ctr"/>
              <a:lstStyle/>
              <a:p>
                <a:endParaRPr lang="en-GB"/>
              </a:p>
            </p:txBody>
          </p:sp>
          <p:sp>
            <p:nvSpPr>
              <p:cNvPr id="6584" name="Vrije vorm: vorm 6583">
                <a:extLst>
                  <a:ext uri="{FF2B5EF4-FFF2-40B4-BE49-F238E27FC236}">
                    <a16:creationId xmlns:a16="http://schemas.microsoft.com/office/drawing/2014/main" id="{2DAF7A60-EAC5-48EB-8B59-E9C07CA99C75}"/>
                  </a:ext>
                </a:extLst>
              </p:cNvPr>
              <p:cNvSpPr/>
              <p:nvPr/>
            </p:nvSpPr>
            <p:spPr>
              <a:xfrm>
                <a:off x="6765771" y="1907771"/>
                <a:ext cx="23085" cy="22068"/>
              </a:xfrm>
              <a:custGeom>
                <a:avLst/>
                <a:gdLst>
                  <a:gd name="connsiteX0" fmla="*/ 23086 w 23085"/>
                  <a:gd name="connsiteY0" fmla="*/ 22069 h 22068"/>
                  <a:gd name="connsiteX1" fmla="*/ 22727 w 23085"/>
                  <a:gd name="connsiteY1" fmla="*/ 21830 h 22068"/>
                  <a:gd name="connsiteX2" fmla="*/ 22129 w 23085"/>
                  <a:gd name="connsiteY2" fmla="*/ 21471 h 22068"/>
                  <a:gd name="connsiteX3" fmla="*/ 19916 w 23085"/>
                  <a:gd name="connsiteY3" fmla="*/ 20035 h 22068"/>
                  <a:gd name="connsiteX4" fmla="*/ 17464 w 23085"/>
                  <a:gd name="connsiteY4" fmla="*/ 18480 h 22068"/>
                  <a:gd name="connsiteX5" fmla="*/ 16806 w 23085"/>
                  <a:gd name="connsiteY5" fmla="*/ 18062 h 22068"/>
                  <a:gd name="connsiteX6" fmla="*/ 15490 w 23085"/>
                  <a:gd name="connsiteY6" fmla="*/ 17225 h 22068"/>
                  <a:gd name="connsiteX7" fmla="*/ 14892 w 23085"/>
                  <a:gd name="connsiteY7" fmla="*/ 16866 h 22068"/>
                  <a:gd name="connsiteX8" fmla="*/ 14832 w 23085"/>
                  <a:gd name="connsiteY8" fmla="*/ 16806 h 22068"/>
                  <a:gd name="connsiteX9" fmla="*/ 13516 w 23085"/>
                  <a:gd name="connsiteY9" fmla="*/ 15969 h 22068"/>
                  <a:gd name="connsiteX10" fmla="*/ 13098 w 23085"/>
                  <a:gd name="connsiteY10" fmla="*/ 15729 h 22068"/>
                  <a:gd name="connsiteX11" fmla="*/ 12081 w 23085"/>
                  <a:gd name="connsiteY11" fmla="*/ 15071 h 22068"/>
                  <a:gd name="connsiteX12" fmla="*/ 11603 w 23085"/>
                  <a:gd name="connsiteY12" fmla="*/ 14772 h 22068"/>
                  <a:gd name="connsiteX13" fmla="*/ 11244 w 23085"/>
                  <a:gd name="connsiteY13" fmla="*/ 14533 h 22068"/>
                  <a:gd name="connsiteX14" fmla="*/ 10945 w 23085"/>
                  <a:gd name="connsiteY14" fmla="*/ 14354 h 22068"/>
                  <a:gd name="connsiteX15" fmla="*/ 10945 w 23085"/>
                  <a:gd name="connsiteY15" fmla="*/ 14354 h 22068"/>
                  <a:gd name="connsiteX16" fmla="*/ 10167 w 23085"/>
                  <a:gd name="connsiteY16" fmla="*/ 13875 h 22068"/>
                  <a:gd name="connsiteX17" fmla="*/ 9988 w 23085"/>
                  <a:gd name="connsiteY17" fmla="*/ 13756 h 22068"/>
                  <a:gd name="connsiteX18" fmla="*/ 9868 w 23085"/>
                  <a:gd name="connsiteY18" fmla="*/ 13217 h 22068"/>
                  <a:gd name="connsiteX19" fmla="*/ 9868 w 23085"/>
                  <a:gd name="connsiteY19" fmla="*/ 13158 h 22068"/>
                  <a:gd name="connsiteX20" fmla="*/ 9629 w 23085"/>
                  <a:gd name="connsiteY20" fmla="*/ 11842 h 22068"/>
                  <a:gd name="connsiteX21" fmla="*/ 9510 w 23085"/>
                  <a:gd name="connsiteY21" fmla="*/ 11124 h 22068"/>
                  <a:gd name="connsiteX22" fmla="*/ 9450 w 23085"/>
                  <a:gd name="connsiteY22" fmla="*/ 10706 h 22068"/>
                  <a:gd name="connsiteX23" fmla="*/ 9210 w 23085"/>
                  <a:gd name="connsiteY23" fmla="*/ 10107 h 22068"/>
                  <a:gd name="connsiteX24" fmla="*/ 9151 w 23085"/>
                  <a:gd name="connsiteY24" fmla="*/ 9928 h 22068"/>
                  <a:gd name="connsiteX25" fmla="*/ 8373 w 23085"/>
                  <a:gd name="connsiteY25" fmla="*/ 7954 h 22068"/>
                  <a:gd name="connsiteX26" fmla="*/ 8134 w 23085"/>
                  <a:gd name="connsiteY26" fmla="*/ 7356 h 22068"/>
                  <a:gd name="connsiteX27" fmla="*/ 7895 w 23085"/>
                  <a:gd name="connsiteY27" fmla="*/ 6698 h 22068"/>
                  <a:gd name="connsiteX28" fmla="*/ 7715 w 23085"/>
                  <a:gd name="connsiteY28" fmla="*/ 6519 h 22068"/>
                  <a:gd name="connsiteX29" fmla="*/ 4426 w 23085"/>
                  <a:gd name="connsiteY29" fmla="*/ 2811 h 22068"/>
                  <a:gd name="connsiteX30" fmla="*/ 3648 w 23085"/>
                  <a:gd name="connsiteY30" fmla="*/ 2332 h 22068"/>
                  <a:gd name="connsiteX31" fmla="*/ 3289 w 23085"/>
                  <a:gd name="connsiteY31" fmla="*/ 2093 h 22068"/>
                  <a:gd name="connsiteX32" fmla="*/ 2213 w 23085"/>
                  <a:gd name="connsiteY32" fmla="*/ 1435 h 22068"/>
                  <a:gd name="connsiteX33" fmla="*/ 1974 w 23085"/>
                  <a:gd name="connsiteY33" fmla="*/ 1316 h 22068"/>
                  <a:gd name="connsiteX34" fmla="*/ 1675 w 23085"/>
                  <a:gd name="connsiteY34" fmla="*/ 1136 h 22068"/>
                  <a:gd name="connsiteX35" fmla="*/ 1615 w 23085"/>
                  <a:gd name="connsiteY35" fmla="*/ 1077 h 22068"/>
                  <a:gd name="connsiteX36" fmla="*/ 0 w 23085"/>
                  <a:gd name="connsiteY36" fmla="*/ 0 h 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3085" h="22068">
                    <a:moveTo>
                      <a:pt x="23086" y="22069"/>
                    </a:moveTo>
                    <a:lnTo>
                      <a:pt x="22727" y="21830"/>
                    </a:lnTo>
                    <a:lnTo>
                      <a:pt x="22129" y="21471"/>
                    </a:lnTo>
                    <a:lnTo>
                      <a:pt x="19916" y="20035"/>
                    </a:lnTo>
                    <a:lnTo>
                      <a:pt x="17464" y="18480"/>
                    </a:lnTo>
                    <a:lnTo>
                      <a:pt x="16806" y="18062"/>
                    </a:lnTo>
                    <a:lnTo>
                      <a:pt x="15490" y="17225"/>
                    </a:lnTo>
                    <a:lnTo>
                      <a:pt x="14892" y="16866"/>
                    </a:lnTo>
                    <a:lnTo>
                      <a:pt x="14832" y="16806"/>
                    </a:lnTo>
                    <a:lnTo>
                      <a:pt x="13516" y="15969"/>
                    </a:lnTo>
                    <a:lnTo>
                      <a:pt x="13098" y="15729"/>
                    </a:lnTo>
                    <a:lnTo>
                      <a:pt x="12081" y="15071"/>
                    </a:lnTo>
                    <a:lnTo>
                      <a:pt x="11603" y="14772"/>
                    </a:lnTo>
                    <a:lnTo>
                      <a:pt x="11244" y="14533"/>
                    </a:lnTo>
                    <a:lnTo>
                      <a:pt x="10945" y="14354"/>
                    </a:lnTo>
                    <a:lnTo>
                      <a:pt x="10945" y="14354"/>
                    </a:lnTo>
                    <a:lnTo>
                      <a:pt x="10167" y="13875"/>
                    </a:lnTo>
                    <a:lnTo>
                      <a:pt x="9988" y="13756"/>
                    </a:lnTo>
                    <a:lnTo>
                      <a:pt x="9868" y="13217"/>
                    </a:lnTo>
                    <a:lnTo>
                      <a:pt x="9868" y="13158"/>
                    </a:lnTo>
                    <a:lnTo>
                      <a:pt x="9629" y="11842"/>
                    </a:lnTo>
                    <a:lnTo>
                      <a:pt x="9510" y="11124"/>
                    </a:lnTo>
                    <a:lnTo>
                      <a:pt x="9450" y="10706"/>
                    </a:lnTo>
                    <a:lnTo>
                      <a:pt x="9210" y="10107"/>
                    </a:lnTo>
                    <a:lnTo>
                      <a:pt x="9151" y="9928"/>
                    </a:lnTo>
                    <a:lnTo>
                      <a:pt x="8373" y="7954"/>
                    </a:lnTo>
                    <a:lnTo>
                      <a:pt x="8134" y="7356"/>
                    </a:lnTo>
                    <a:lnTo>
                      <a:pt x="7895" y="6698"/>
                    </a:lnTo>
                    <a:lnTo>
                      <a:pt x="7715" y="6519"/>
                    </a:lnTo>
                    <a:lnTo>
                      <a:pt x="4426" y="2811"/>
                    </a:lnTo>
                    <a:lnTo>
                      <a:pt x="3648" y="2332"/>
                    </a:lnTo>
                    <a:lnTo>
                      <a:pt x="3289" y="2093"/>
                    </a:lnTo>
                    <a:lnTo>
                      <a:pt x="2213" y="1435"/>
                    </a:lnTo>
                    <a:lnTo>
                      <a:pt x="1974" y="1316"/>
                    </a:lnTo>
                    <a:lnTo>
                      <a:pt x="1675" y="1136"/>
                    </a:lnTo>
                    <a:lnTo>
                      <a:pt x="1615" y="107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85" name="Vrije vorm: vorm 6584">
                <a:extLst>
                  <a:ext uri="{FF2B5EF4-FFF2-40B4-BE49-F238E27FC236}">
                    <a16:creationId xmlns:a16="http://schemas.microsoft.com/office/drawing/2014/main" id="{00547062-6FCA-4C92-B738-A3539D563831}"/>
                  </a:ext>
                </a:extLst>
              </p:cNvPr>
              <p:cNvSpPr/>
              <p:nvPr/>
            </p:nvSpPr>
            <p:spPr>
              <a:xfrm>
                <a:off x="6734432" y="1894493"/>
                <a:ext cx="20633" cy="12499"/>
              </a:xfrm>
              <a:custGeom>
                <a:avLst/>
                <a:gdLst>
                  <a:gd name="connsiteX0" fmla="*/ 20634 w 20633"/>
                  <a:gd name="connsiteY0" fmla="*/ 12500 h 12499"/>
                  <a:gd name="connsiteX1" fmla="*/ 16447 w 20633"/>
                  <a:gd name="connsiteY1" fmla="*/ 10765 h 12499"/>
                  <a:gd name="connsiteX2" fmla="*/ 14713 w 20633"/>
                  <a:gd name="connsiteY2" fmla="*/ 9629 h 12499"/>
                  <a:gd name="connsiteX3" fmla="*/ 13516 w 20633"/>
                  <a:gd name="connsiteY3" fmla="*/ 8852 h 12499"/>
                  <a:gd name="connsiteX4" fmla="*/ 12978 w 20633"/>
                  <a:gd name="connsiteY4" fmla="*/ 8493 h 12499"/>
                  <a:gd name="connsiteX5" fmla="*/ 12141 w 20633"/>
                  <a:gd name="connsiteY5" fmla="*/ 7954 h 12499"/>
                  <a:gd name="connsiteX6" fmla="*/ 10825 w 20633"/>
                  <a:gd name="connsiteY6" fmla="*/ 7057 h 12499"/>
                  <a:gd name="connsiteX7" fmla="*/ 10406 w 20633"/>
                  <a:gd name="connsiteY7" fmla="*/ 6758 h 12499"/>
                  <a:gd name="connsiteX8" fmla="*/ 10406 w 20633"/>
                  <a:gd name="connsiteY8" fmla="*/ 6758 h 12499"/>
                  <a:gd name="connsiteX9" fmla="*/ 9150 w 20633"/>
                  <a:gd name="connsiteY9" fmla="*/ 5921 h 12499"/>
                  <a:gd name="connsiteX10" fmla="*/ 7895 w 20633"/>
                  <a:gd name="connsiteY10" fmla="*/ 5143 h 12499"/>
                  <a:gd name="connsiteX11" fmla="*/ 5742 w 20633"/>
                  <a:gd name="connsiteY11" fmla="*/ 3768 h 12499"/>
                  <a:gd name="connsiteX12" fmla="*/ 5742 w 20633"/>
                  <a:gd name="connsiteY12" fmla="*/ 3768 h 12499"/>
                  <a:gd name="connsiteX13" fmla="*/ 4964 w 20633"/>
                  <a:gd name="connsiteY13" fmla="*/ 3230 h 12499"/>
                  <a:gd name="connsiteX14" fmla="*/ 2273 w 20633"/>
                  <a:gd name="connsiteY14" fmla="*/ 1495 h 12499"/>
                  <a:gd name="connsiteX15" fmla="*/ 0 w 20633"/>
                  <a:gd name="connsiteY15" fmla="*/ 0 h 1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33" h="12499">
                    <a:moveTo>
                      <a:pt x="20634" y="12500"/>
                    </a:moveTo>
                    <a:lnTo>
                      <a:pt x="16447" y="10765"/>
                    </a:lnTo>
                    <a:lnTo>
                      <a:pt x="14713" y="9629"/>
                    </a:lnTo>
                    <a:lnTo>
                      <a:pt x="13516" y="8852"/>
                    </a:lnTo>
                    <a:lnTo>
                      <a:pt x="12978" y="8493"/>
                    </a:lnTo>
                    <a:lnTo>
                      <a:pt x="12141" y="7954"/>
                    </a:lnTo>
                    <a:lnTo>
                      <a:pt x="10825" y="7057"/>
                    </a:lnTo>
                    <a:lnTo>
                      <a:pt x="10406" y="6758"/>
                    </a:lnTo>
                    <a:lnTo>
                      <a:pt x="10406" y="6758"/>
                    </a:lnTo>
                    <a:lnTo>
                      <a:pt x="9150" y="5921"/>
                    </a:lnTo>
                    <a:lnTo>
                      <a:pt x="7895" y="5143"/>
                    </a:lnTo>
                    <a:lnTo>
                      <a:pt x="5742" y="3768"/>
                    </a:lnTo>
                    <a:lnTo>
                      <a:pt x="5742" y="3768"/>
                    </a:lnTo>
                    <a:lnTo>
                      <a:pt x="4964" y="3230"/>
                    </a:lnTo>
                    <a:lnTo>
                      <a:pt x="2273" y="149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86" name="Vrije vorm: vorm 6585">
                <a:extLst>
                  <a:ext uri="{FF2B5EF4-FFF2-40B4-BE49-F238E27FC236}">
                    <a16:creationId xmlns:a16="http://schemas.microsoft.com/office/drawing/2014/main" id="{4643753B-269F-41B3-A768-6FF9BF100BA8}"/>
                  </a:ext>
                </a:extLst>
              </p:cNvPr>
              <p:cNvSpPr/>
              <p:nvPr/>
            </p:nvSpPr>
            <p:spPr>
              <a:xfrm>
                <a:off x="6785567" y="1889410"/>
                <a:ext cx="5083" cy="12858"/>
              </a:xfrm>
              <a:custGeom>
                <a:avLst/>
                <a:gdLst>
                  <a:gd name="connsiteX0" fmla="*/ 359 w 5083"/>
                  <a:gd name="connsiteY0" fmla="*/ 0 h 12858"/>
                  <a:gd name="connsiteX1" fmla="*/ 0 w 5083"/>
                  <a:gd name="connsiteY1" fmla="*/ 2153 h 12858"/>
                  <a:gd name="connsiteX2" fmla="*/ 598 w 5083"/>
                  <a:gd name="connsiteY2" fmla="*/ 3409 h 12858"/>
                  <a:gd name="connsiteX3" fmla="*/ 718 w 5083"/>
                  <a:gd name="connsiteY3" fmla="*/ 3708 h 12858"/>
                  <a:gd name="connsiteX4" fmla="*/ 1435 w 5083"/>
                  <a:gd name="connsiteY4" fmla="*/ 5203 h 12858"/>
                  <a:gd name="connsiteX5" fmla="*/ 2273 w 5083"/>
                  <a:gd name="connsiteY5" fmla="*/ 6997 h 12858"/>
                  <a:gd name="connsiteX6" fmla="*/ 2452 w 5083"/>
                  <a:gd name="connsiteY6" fmla="*/ 7416 h 12858"/>
                  <a:gd name="connsiteX7" fmla="*/ 2632 w 5083"/>
                  <a:gd name="connsiteY7" fmla="*/ 7775 h 12858"/>
                  <a:gd name="connsiteX8" fmla="*/ 2632 w 5083"/>
                  <a:gd name="connsiteY8" fmla="*/ 7835 h 12858"/>
                  <a:gd name="connsiteX9" fmla="*/ 2990 w 5083"/>
                  <a:gd name="connsiteY9" fmla="*/ 8552 h 12858"/>
                  <a:gd name="connsiteX10" fmla="*/ 3170 w 5083"/>
                  <a:gd name="connsiteY10" fmla="*/ 8971 h 12858"/>
                  <a:gd name="connsiteX11" fmla="*/ 3529 w 5083"/>
                  <a:gd name="connsiteY11" fmla="*/ 9689 h 12858"/>
                  <a:gd name="connsiteX12" fmla="*/ 4127 w 5083"/>
                  <a:gd name="connsiteY12" fmla="*/ 10885 h 12858"/>
                  <a:gd name="connsiteX13" fmla="*/ 4246 w 5083"/>
                  <a:gd name="connsiteY13" fmla="*/ 11124 h 12858"/>
                  <a:gd name="connsiteX14" fmla="*/ 4486 w 5083"/>
                  <a:gd name="connsiteY14" fmla="*/ 11603 h 12858"/>
                  <a:gd name="connsiteX15" fmla="*/ 4605 w 5083"/>
                  <a:gd name="connsiteY15" fmla="*/ 11902 h 12858"/>
                  <a:gd name="connsiteX16" fmla="*/ 5083 w 5083"/>
                  <a:gd name="connsiteY16" fmla="*/ 12859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83" h="12858">
                    <a:moveTo>
                      <a:pt x="359" y="0"/>
                    </a:moveTo>
                    <a:lnTo>
                      <a:pt x="0" y="2153"/>
                    </a:lnTo>
                    <a:lnTo>
                      <a:pt x="598" y="3409"/>
                    </a:lnTo>
                    <a:lnTo>
                      <a:pt x="718" y="3708"/>
                    </a:lnTo>
                    <a:lnTo>
                      <a:pt x="1435" y="5203"/>
                    </a:lnTo>
                    <a:lnTo>
                      <a:pt x="2273" y="6997"/>
                    </a:lnTo>
                    <a:lnTo>
                      <a:pt x="2452" y="7416"/>
                    </a:lnTo>
                    <a:lnTo>
                      <a:pt x="2632" y="7775"/>
                    </a:lnTo>
                    <a:lnTo>
                      <a:pt x="2632" y="7835"/>
                    </a:lnTo>
                    <a:lnTo>
                      <a:pt x="2990" y="8552"/>
                    </a:lnTo>
                    <a:lnTo>
                      <a:pt x="3170" y="8971"/>
                    </a:lnTo>
                    <a:lnTo>
                      <a:pt x="3529" y="9689"/>
                    </a:lnTo>
                    <a:lnTo>
                      <a:pt x="4127" y="10885"/>
                    </a:lnTo>
                    <a:lnTo>
                      <a:pt x="4246" y="11124"/>
                    </a:lnTo>
                    <a:lnTo>
                      <a:pt x="4486" y="11603"/>
                    </a:lnTo>
                    <a:lnTo>
                      <a:pt x="4605" y="11902"/>
                    </a:lnTo>
                    <a:lnTo>
                      <a:pt x="5083" y="12859"/>
                    </a:lnTo>
                  </a:path>
                </a:pathLst>
              </a:custGeom>
              <a:noFill/>
              <a:ln w="6350" cap="rnd">
                <a:solidFill>
                  <a:schemeClr val="bg1">
                    <a:alpha val="80000"/>
                  </a:schemeClr>
                </a:solidFill>
                <a:prstDash val="solid"/>
                <a:round/>
              </a:ln>
            </p:spPr>
            <p:txBody>
              <a:bodyPr rtlCol="0" anchor="ctr"/>
              <a:lstStyle/>
              <a:p>
                <a:endParaRPr lang="en-GB"/>
              </a:p>
            </p:txBody>
          </p:sp>
          <p:sp>
            <p:nvSpPr>
              <p:cNvPr id="6587" name="Vrije vorm: vorm 6586">
                <a:extLst>
                  <a:ext uri="{FF2B5EF4-FFF2-40B4-BE49-F238E27FC236}">
                    <a16:creationId xmlns:a16="http://schemas.microsoft.com/office/drawing/2014/main" id="{ACB1D927-3047-42DE-9E61-B1987022AB7D}"/>
                  </a:ext>
                </a:extLst>
              </p:cNvPr>
              <p:cNvSpPr/>
              <p:nvPr/>
            </p:nvSpPr>
            <p:spPr>
              <a:xfrm>
                <a:off x="6770017" y="1877628"/>
                <a:ext cx="17523" cy="32236"/>
              </a:xfrm>
              <a:custGeom>
                <a:avLst/>
                <a:gdLst>
                  <a:gd name="connsiteX0" fmla="*/ 1794 w 17523"/>
                  <a:gd name="connsiteY0" fmla="*/ 32236 h 32236"/>
                  <a:gd name="connsiteX1" fmla="*/ 1734 w 17523"/>
                  <a:gd name="connsiteY1" fmla="*/ 32176 h 32236"/>
                  <a:gd name="connsiteX2" fmla="*/ 1076 w 17523"/>
                  <a:gd name="connsiteY2" fmla="*/ 30322 h 32236"/>
                  <a:gd name="connsiteX3" fmla="*/ 299 w 17523"/>
                  <a:gd name="connsiteY3" fmla="*/ 28289 h 32236"/>
                  <a:gd name="connsiteX4" fmla="*/ 0 w 17523"/>
                  <a:gd name="connsiteY4" fmla="*/ 27511 h 32236"/>
                  <a:gd name="connsiteX5" fmla="*/ 0 w 17523"/>
                  <a:gd name="connsiteY5" fmla="*/ 27511 h 32236"/>
                  <a:gd name="connsiteX6" fmla="*/ 0 w 17523"/>
                  <a:gd name="connsiteY6" fmla="*/ 27332 h 32236"/>
                  <a:gd name="connsiteX7" fmla="*/ 0 w 17523"/>
                  <a:gd name="connsiteY7" fmla="*/ 27212 h 32236"/>
                  <a:gd name="connsiteX8" fmla="*/ 60 w 17523"/>
                  <a:gd name="connsiteY8" fmla="*/ 26315 h 32236"/>
                  <a:gd name="connsiteX9" fmla="*/ 119 w 17523"/>
                  <a:gd name="connsiteY9" fmla="*/ 25179 h 32236"/>
                  <a:gd name="connsiteX10" fmla="*/ 119 w 17523"/>
                  <a:gd name="connsiteY10" fmla="*/ 24999 h 32236"/>
                  <a:gd name="connsiteX11" fmla="*/ 119 w 17523"/>
                  <a:gd name="connsiteY11" fmla="*/ 24940 h 32236"/>
                  <a:gd name="connsiteX12" fmla="*/ 299 w 17523"/>
                  <a:gd name="connsiteY12" fmla="*/ 24521 h 32236"/>
                  <a:gd name="connsiteX13" fmla="*/ 299 w 17523"/>
                  <a:gd name="connsiteY13" fmla="*/ 24461 h 32236"/>
                  <a:gd name="connsiteX14" fmla="*/ 419 w 17523"/>
                  <a:gd name="connsiteY14" fmla="*/ 24102 h 32236"/>
                  <a:gd name="connsiteX15" fmla="*/ 478 w 17523"/>
                  <a:gd name="connsiteY15" fmla="*/ 23983 h 32236"/>
                  <a:gd name="connsiteX16" fmla="*/ 478 w 17523"/>
                  <a:gd name="connsiteY16" fmla="*/ 23923 h 32236"/>
                  <a:gd name="connsiteX17" fmla="*/ 538 w 17523"/>
                  <a:gd name="connsiteY17" fmla="*/ 23743 h 32236"/>
                  <a:gd name="connsiteX18" fmla="*/ 897 w 17523"/>
                  <a:gd name="connsiteY18" fmla="*/ 22846 h 32236"/>
                  <a:gd name="connsiteX19" fmla="*/ 957 w 17523"/>
                  <a:gd name="connsiteY19" fmla="*/ 22667 h 32236"/>
                  <a:gd name="connsiteX20" fmla="*/ 1316 w 17523"/>
                  <a:gd name="connsiteY20" fmla="*/ 21770 h 32236"/>
                  <a:gd name="connsiteX21" fmla="*/ 1435 w 17523"/>
                  <a:gd name="connsiteY21" fmla="*/ 21531 h 32236"/>
                  <a:gd name="connsiteX22" fmla="*/ 2153 w 17523"/>
                  <a:gd name="connsiteY22" fmla="*/ 19736 h 32236"/>
                  <a:gd name="connsiteX23" fmla="*/ 2811 w 17523"/>
                  <a:gd name="connsiteY23" fmla="*/ 18062 h 32236"/>
                  <a:gd name="connsiteX24" fmla="*/ 3708 w 17523"/>
                  <a:gd name="connsiteY24" fmla="*/ 15669 h 32236"/>
                  <a:gd name="connsiteX25" fmla="*/ 4246 w 17523"/>
                  <a:gd name="connsiteY25" fmla="*/ 14174 h 32236"/>
                  <a:gd name="connsiteX26" fmla="*/ 4426 w 17523"/>
                  <a:gd name="connsiteY26" fmla="*/ 13636 h 32236"/>
                  <a:gd name="connsiteX27" fmla="*/ 4545 w 17523"/>
                  <a:gd name="connsiteY27" fmla="*/ 13277 h 32236"/>
                  <a:gd name="connsiteX28" fmla="*/ 6758 w 17523"/>
                  <a:gd name="connsiteY28" fmla="*/ 7596 h 32236"/>
                  <a:gd name="connsiteX29" fmla="*/ 6878 w 17523"/>
                  <a:gd name="connsiteY29" fmla="*/ 7296 h 32236"/>
                  <a:gd name="connsiteX30" fmla="*/ 6878 w 17523"/>
                  <a:gd name="connsiteY30" fmla="*/ 7237 h 32236"/>
                  <a:gd name="connsiteX31" fmla="*/ 7536 w 17523"/>
                  <a:gd name="connsiteY31" fmla="*/ 5622 h 32236"/>
                  <a:gd name="connsiteX32" fmla="*/ 8014 w 17523"/>
                  <a:gd name="connsiteY32" fmla="*/ 4366 h 32236"/>
                  <a:gd name="connsiteX33" fmla="*/ 8074 w 17523"/>
                  <a:gd name="connsiteY33" fmla="*/ 4127 h 32236"/>
                  <a:gd name="connsiteX34" fmla="*/ 8074 w 17523"/>
                  <a:gd name="connsiteY34" fmla="*/ 4067 h 32236"/>
                  <a:gd name="connsiteX35" fmla="*/ 9390 w 17523"/>
                  <a:gd name="connsiteY35" fmla="*/ 2332 h 32236"/>
                  <a:gd name="connsiteX36" fmla="*/ 9808 w 17523"/>
                  <a:gd name="connsiteY36" fmla="*/ 1854 h 32236"/>
                  <a:gd name="connsiteX37" fmla="*/ 11543 w 17523"/>
                  <a:gd name="connsiteY37" fmla="*/ 1256 h 32236"/>
                  <a:gd name="connsiteX38" fmla="*/ 12021 w 17523"/>
                  <a:gd name="connsiteY38" fmla="*/ 1076 h 32236"/>
                  <a:gd name="connsiteX39" fmla="*/ 12679 w 17523"/>
                  <a:gd name="connsiteY39" fmla="*/ 837 h 32236"/>
                  <a:gd name="connsiteX40" fmla="*/ 12918 w 17523"/>
                  <a:gd name="connsiteY40" fmla="*/ 777 h 32236"/>
                  <a:gd name="connsiteX41" fmla="*/ 13696 w 17523"/>
                  <a:gd name="connsiteY41" fmla="*/ 478 h 32236"/>
                  <a:gd name="connsiteX42" fmla="*/ 13995 w 17523"/>
                  <a:gd name="connsiteY42" fmla="*/ 359 h 32236"/>
                  <a:gd name="connsiteX43" fmla="*/ 15012 w 17523"/>
                  <a:gd name="connsiteY43" fmla="*/ 0 h 32236"/>
                  <a:gd name="connsiteX44" fmla="*/ 17523 w 17523"/>
                  <a:gd name="connsiteY44" fmla="*/ 1555 h 32236"/>
                  <a:gd name="connsiteX45" fmla="*/ 17523 w 17523"/>
                  <a:gd name="connsiteY45" fmla="*/ 1675 h 32236"/>
                  <a:gd name="connsiteX46" fmla="*/ 16925 w 17523"/>
                  <a:gd name="connsiteY46" fmla="*/ 5323 h 32236"/>
                  <a:gd name="connsiteX47" fmla="*/ 16686 w 17523"/>
                  <a:gd name="connsiteY47" fmla="*/ 6878 h 3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523" h="32236">
                    <a:moveTo>
                      <a:pt x="1794" y="32236"/>
                    </a:moveTo>
                    <a:lnTo>
                      <a:pt x="1734" y="32176"/>
                    </a:lnTo>
                    <a:lnTo>
                      <a:pt x="1076" y="30322"/>
                    </a:lnTo>
                    <a:lnTo>
                      <a:pt x="299" y="28289"/>
                    </a:lnTo>
                    <a:lnTo>
                      <a:pt x="0" y="27511"/>
                    </a:lnTo>
                    <a:lnTo>
                      <a:pt x="0" y="27511"/>
                    </a:lnTo>
                    <a:lnTo>
                      <a:pt x="0" y="27332"/>
                    </a:lnTo>
                    <a:lnTo>
                      <a:pt x="0" y="27212"/>
                    </a:lnTo>
                    <a:lnTo>
                      <a:pt x="60" y="26315"/>
                    </a:lnTo>
                    <a:lnTo>
                      <a:pt x="119" y="25179"/>
                    </a:lnTo>
                    <a:lnTo>
                      <a:pt x="119" y="24999"/>
                    </a:lnTo>
                    <a:lnTo>
                      <a:pt x="119" y="24940"/>
                    </a:lnTo>
                    <a:lnTo>
                      <a:pt x="299" y="24521"/>
                    </a:lnTo>
                    <a:lnTo>
                      <a:pt x="299" y="24461"/>
                    </a:lnTo>
                    <a:lnTo>
                      <a:pt x="419" y="24102"/>
                    </a:lnTo>
                    <a:lnTo>
                      <a:pt x="478" y="23983"/>
                    </a:lnTo>
                    <a:lnTo>
                      <a:pt x="478" y="23923"/>
                    </a:lnTo>
                    <a:lnTo>
                      <a:pt x="538" y="23743"/>
                    </a:lnTo>
                    <a:lnTo>
                      <a:pt x="897" y="22846"/>
                    </a:lnTo>
                    <a:lnTo>
                      <a:pt x="957" y="22667"/>
                    </a:lnTo>
                    <a:lnTo>
                      <a:pt x="1316" y="21770"/>
                    </a:lnTo>
                    <a:lnTo>
                      <a:pt x="1435" y="21531"/>
                    </a:lnTo>
                    <a:lnTo>
                      <a:pt x="2153" y="19736"/>
                    </a:lnTo>
                    <a:lnTo>
                      <a:pt x="2811" y="18062"/>
                    </a:lnTo>
                    <a:lnTo>
                      <a:pt x="3708" y="15669"/>
                    </a:lnTo>
                    <a:lnTo>
                      <a:pt x="4246" y="14174"/>
                    </a:lnTo>
                    <a:lnTo>
                      <a:pt x="4426" y="13636"/>
                    </a:lnTo>
                    <a:lnTo>
                      <a:pt x="4545" y="13277"/>
                    </a:lnTo>
                    <a:lnTo>
                      <a:pt x="6758" y="7596"/>
                    </a:lnTo>
                    <a:lnTo>
                      <a:pt x="6878" y="7296"/>
                    </a:lnTo>
                    <a:lnTo>
                      <a:pt x="6878" y="7237"/>
                    </a:lnTo>
                    <a:lnTo>
                      <a:pt x="7536" y="5622"/>
                    </a:lnTo>
                    <a:lnTo>
                      <a:pt x="8014" y="4366"/>
                    </a:lnTo>
                    <a:lnTo>
                      <a:pt x="8074" y="4127"/>
                    </a:lnTo>
                    <a:lnTo>
                      <a:pt x="8074" y="4067"/>
                    </a:lnTo>
                    <a:lnTo>
                      <a:pt x="9390" y="2332"/>
                    </a:lnTo>
                    <a:lnTo>
                      <a:pt x="9808" y="1854"/>
                    </a:lnTo>
                    <a:lnTo>
                      <a:pt x="11543" y="1256"/>
                    </a:lnTo>
                    <a:lnTo>
                      <a:pt x="12021" y="1076"/>
                    </a:lnTo>
                    <a:lnTo>
                      <a:pt x="12679" y="837"/>
                    </a:lnTo>
                    <a:lnTo>
                      <a:pt x="12918" y="777"/>
                    </a:lnTo>
                    <a:lnTo>
                      <a:pt x="13696" y="478"/>
                    </a:lnTo>
                    <a:lnTo>
                      <a:pt x="13995" y="359"/>
                    </a:lnTo>
                    <a:lnTo>
                      <a:pt x="15012" y="0"/>
                    </a:lnTo>
                    <a:lnTo>
                      <a:pt x="17523" y="1555"/>
                    </a:lnTo>
                    <a:lnTo>
                      <a:pt x="17523" y="1675"/>
                    </a:lnTo>
                    <a:lnTo>
                      <a:pt x="16925" y="5323"/>
                    </a:lnTo>
                    <a:lnTo>
                      <a:pt x="16686" y="6878"/>
                    </a:lnTo>
                  </a:path>
                </a:pathLst>
              </a:custGeom>
              <a:noFill/>
              <a:ln w="6350" cap="rnd">
                <a:solidFill>
                  <a:schemeClr val="bg1">
                    <a:alpha val="80000"/>
                  </a:schemeClr>
                </a:solidFill>
                <a:prstDash val="solid"/>
                <a:round/>
              </a:ln>
            </p:spPr>
            <p:txBody>
              <a:bodyPr rtlCol="0" anchor="ctr"/>
              <a:lstStyle/>
              <a:p>
                <a:endParaRPr lang="en-GB"/>
              </a:p>
            </p:txBody>
          </p:sp>
          <p:sp>
            <p:nvSpPr>
              <p:cNvPr id="6588" name="Vrije vorm: vorm 6587">
                <a:extLst>
                  <a:ext uri="{FF2B5EF4-FFF2-40B4-BE49-F238E27FC236}">
                    <a16:creationId xmlns:a16="http://schemas.microsoft.com/office/drawing/2014/main" id="{C2CFCBEE-A614-403F-BCA5-1DE66CEE8D7A}"/>
                  </a:ext>
                </a:extLst>
              </p:cNvPr>
              <p:cNvSpPr/>
              <p:nvPr/>
            </p:nvSpPr>
            <p:spPr>
              <a:xfrm>
                <a:off x="6784431" y="1908429"/>
                <a:ext cx="12858" cy="9928"/>
              </a:xfrm>
              <a:custGeom>
                <a:avLst/>
                <a:gdLst>
                  <a:gd name="connsiteX0" fmla="*/ 12859 w 12858"/>
                  <a:gd name="connsiteY0" fmla="*/ 9928 h 9928"/>
                  <a:gd name="connsiteX1" fmla="*/ 11423 w 12858"/>
                  <a:gd name="connsiteY1" fmla="*/ 9210 h 9928"/>
                  <a:gd name="connsiteX2" fmla="*/ 10526 w 12858"/>
                  <a:gd name="connsiteY2" fmla="*/ 8732 h 9928"/>
                  <a:gd name="connsiteX3" fmla="*/ 10287 w 12858"/>
                  <a:gd name="connsiteY3" fmla="*/ 8612 h 9928"/>
                  <a:gd name="connsiteX4" fmla="*/ 9210 w 12858"/>
                  <a:gd name="connsiteY4" fmla="*/ 8014 h 9928"/>
                  <a:gd name="connsiteX5" fmla="*/ 9091 w 12858"/>
                  <a:gd name="connsiteY5" fmla="*/ 7954 h 9928"/>
                  <a:gd name="connsiteX6" fmla="*/ 9091 w 12858"/>
                  <a:gd name="connsiteY6" fmla="*/ 7954 h 9928"/>
                  <a:gd name="connsiteX7" fmla="*/ 8552 w 12858"/>
                  <a:gd name="connsiteY7" fmla="*/ 7655 h 9928"/>
                  <a:gd name="connsiteX8" fmla="*/ 7356 w 12858"/>
                  <a:gd name="connsiteY8" fmla="*/ 6997 h 9928"/>
                  <a:gd name="connsiteX9" fmla="*/ 5203 w 12858"/>
                  <a:gd name="connsiteY9" fmla="*/ 5742 h 9928"/>
                  <a:gd name="connsiteX10" fmla="*/ 5084 w 12858"/>
                  <a:gd name="connsiteY10" fmla="*/ 5682 h 9928"/>
                  <a:gd name="connsiteX11" fmla="*/ 3349 w 12858"/>
                  <a:gd name="connsiteY11" fmla="*/ 4605 h 9928"/>
                  <a:gd name="connsiteX12" fmla="*/ 2930 w 12858"/>
                  <a:gd name="connsiteY12" fmla="*/ 4306 h 9928"/>
                  <a:gd name="connsiteX13" fmla="*/ 2273 w 12858"/>
                  <a:gd name="connsiteY13" fmla="*/ 3888 h 9928"/>
                  <a:gd name="connsiteX14" fmla="*/ 1435 w 12858"/>
                  <a:gd name="connsiteY14" fmla="*/ 3289 h 9928"/>
                  <a:gd name="connsiteX15" fmla="*/ 957 w 12858"/>
                  <a:gd name="connsiteY15" fmla="*/ 2931 h 9928"/>
                  <a:gd name="connsiteX16" fmla="*/ 598 w 12858"/>
                  <a:gd name="connsiteY16" fmla="*/ 2632 h 9928"/>
                  <a:gd name="connsiteX17" fmla="*/ 419 w 12858"/>
                  <a:gd name="connsiteY17" fmla="*/ 2512 h 9928"/>
                  <a:gd name="connsiteX18" fmla="*/ 120 w 12858"/>
                  <a:gd name="connsiteY18" fmla="*/ 2093 h 9928"/>
                  <a:gd name="connsiteX19" fmla="*/ 60 w 12858"/>
                  <a:gd name="connsiteY19" fmla="*/ 2033 h 9928"/>
                  <a:gd name="connsiteX20" fmla="*/ 0 w 12858"/>
                  <a:gd name="connsiteY20" fmla="*/ 1974 h 9928"/>
                  <a:gd name="connsiteX21" fmla="*/ 718 w 12858"/>
                  <a:gd name="connsiteY21" fmla="*/ 778 h 9928"/>
                  <a:gd name="connsiteX22" fmla="*/ 1017 w 12858"/>
                  <a:gd name="connsiteY22" fmla="*/ 239 h 9928"/>
                  <a:gd name="connsiteX23" fmla="*/ 1076 w 12858"/>
                  <a:gd name="connsiteY23" fmla="*/ 179 h 9928"/>
                  <a:gd name="connsiteX24" fmla="*/ 1256 w 12858"/>
                  <a:gd name="connsiteY24" fmla="*/ 120 h 9928"/>
                  <a:gd name="connsiteX25" fmla="*/ 1435 w 12858"/>
                  <a:gd name="connsiteY25" fmla="*/ 0 h 9928"/>
                  <a:gd name="connsiteX26" fmla="*/ 1555 w 12858"/>
                  <a:gd name="connsiteY26" fmla="*/ 60 h 9928"/>
                  <a:gd name="connsiteX27" fmla="*/ 2871 w 12858"/>
                  <a:gd name="connsiteY27" fmla="*/ 538 h 9928"/>
                  <a:gd name="connsiteX28" fmla="*/ 3050 w 12858"/>
                  <a:gd name="connsiteY28" fmla="*/ 598 h 9928"/>
                  <a:gd name="connsiteX29" fmla="*/ 4366 w 12858"/>
                  <a:gd name="connsiteY29" fmla="*/ 1136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858" h="9928">
                    <a:moveTo>
                      <a:pt x="12859" y="9928"/>
                    </a:moveTo>
                    <a:lnTo>
                      <a:pt x="11423" y="9210"/>
                    </a:lnTo>
                    <a:lnTo>
                      <a:pt x="10526" y="8732"/>
                    </a:lnTo>
                    <a:lnTo>
                      <a:pt x="10287" y="8612"/>
                    </a:lnTo>
                    <a:lnTo>
                      <a:pt x="9210" y="8014"/>
                    </a:lnTo>
                    <a:lnTo>
                      <a:pt x="9091" y="7954"/>
                    </a:lnTo>
                    <a:lnTo>
                      <a:pt x="9091" y="7954"/>
                    </a:lnTo>
                    <a:lnTo>
                      <a:pt x="8552" y="7655"/>
                    </a:lnTo>
                    <a:lnTo>
                      <a:pt x="7356" y="6997"/>
                    </a:lnTo>
                    <a:lnTo>
                      <a:pt x="5203" y="5742"/>
                    </a:lnTo>
                    <a:lnTo>
                      <a:pt x="5084" y="5682"/>
                    </a:lnTo>
                    <a:lnTo>
                      <a:pt x="3349" y="4605"/>
                    </a:lnTo>
                    <a:lnTo>
                      <a:pt x="2930" y="4306"/>
                    </a:lnTo>
                    <a:lnTo>
                      <a:pt x="2273" y="3888"/>
                    </a:lnTo>
                    <a:lnTo>
                      <a:pt x="1435" y="3289"/>
                    </a:lnTo>
                    <a:lnTo>
                      <a:pt x="957" y="2931"/>
                    </a:lnTo>
                    <a:lnTo>
                      <a:pt x="598" y="2632"/>
                    </a:lnTo>
                    <a:lnTo>
                      <a:pt x="419" y="2512"/>
                    </a:lnTo>
                    <a:lnTo>
                      <a:pt x="120" y="2093"/>
                    </a:lnTo>
                    <a:lnTo>
                      <a:pt x="60" y="2033"/>
                    </a:lnTo>
                    <a:lnTo>
                      <a:pt x="0" y="1974"/>
                    </a:lnTo>
                    <a:lnTo>
                      <a:pt x="718" y="778"/>
                    </a:lnTo>
                    <a:lnTo>
                      <a:pt x="1017" y="239"/>
                    </a:lnTo>
                    <a:lnTo>
                      <a:pt x="1076" y="179"/>
                    </a:lnTo>
                    <a:lnTo>
                      <a:pt x="1256" y="120"/>
                    </a:lnTo>
                    <a:lnTo>
                      <a:pt x="1435" y="0"/>
                    </a:lnTo>
                    <a:lnTo>
                      <a:pt x="1555" y="60"/>
                    </a:lnTo>
                    <a:lnTo>
                      <a:pt x="2871" y="538"/>
                    </a:lnTo>
                    <a:lnTo>
                      <a:pt x="3050" y="598"/>
                    </a:lnTo>
                    <a:lnTo>
                      <a:pt x="4366" y="1136"/>
                    </a:lnTo>
                  </a:path>
                </a:pathLst>
              </a:custGeom>
              <a:noFill/>
              <a:ln w="6350" cap="rnd">
                <a:solidFill>
                  <a:schemeClr val="bg1">
                    <a:alpha val="80000"/>
                  </a:schemeClr>
                </a:solidFill>
                <a:prstDash val="solid"/>
                <a:round/>
              </a:ln>
            </p:spPr>
            <p:txBody>
              <a:bodyPr rtlCol="0" anchor="ctr"/>
              <a:lstStyle/>
              <a:p>
                <a:endParaRPr lang="en-GB"/>
              </a:p>
            </p:txBody>
          </p:sp>
          <p:sp>
            <p:nvSpPr>
              <p:cNvPr id="6589" name="Vrije vorm: vorm 6588">
                <a:extLst>
                  <a:ext uri="{FF2B5EF4-FFF2-40B4-BE49-F238E27FC236}">
                    <a16:creationId xmlns:a16="http://schemas.microsoft.com/office/drawing/2014/main" id="{8B3FFBFB-9279-45B7-B05D-179250FAB3EF}"/>
                  </a:ext>
                </a:extLst>
              </p:cNvPr>
              <p:cNvSpPr/>
              <p:nvPr/>
            </p:nvSpPr>
            <p:spPr>
              <a:xfrm>
                <a:off x="6789874" y="1909027"/>
                <a:ext cx="3408" cy="4186"/>
              </a:xfrm>
              <a:custGeom>
                <a:avLst/>
                <a:gdLst>
                  <a:gd name="connsiteX0" fmla="*/ 0 w 3408"/>
                  <a:gd name="connsiteY0" fmla="*/ 2392 h 4186"/>
                  <a:gd name="connsiteX1" fmla="*/ 598 w 3408"/>
                  <a:gd name="connsiteY1" fmla="*/ 1316 h 4186"/>
                  <a:gd name="connsiteX2" fmla="*/ 1375 w 3408"/>
                  <a:gd name="connsiteY2" fmla="*/ 0 h 4186"/>
                  <a:gd name="connsiteX3" fmla="*/ 2392 w 3408"/>
                  <a:gd name="connsiteY3" fmla="*/ 538 h 4186"/>
                  <a:gd name="connsiteX4" fmla="*/ 3409 w 3408"/>
                  <a:gd name="connsiteY4" fmla="*/ 1196 h 4186"/>
                  <a:gd name="connsiteX5" fmla="*/ 3409 w 3408"/>
                  <a:gd name="connsiteY5" fmla="*/ 1316 h 4186"/>
                  <a:gd name="connsiteX6" fmla="*/ 2632 w 3408"/>
                  <a:gd name="connsiteY6" fmla="*/ 2632 h 4186"/>
                  <a:gd name="connsiteX7" fmla="*/ 1674 w 3408"/>
                  <a:gd name="connsiteY7" fmla="*/ 4186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8" h="4186">
                    <a:moveTo>
                      <a:pt x="0" y="2392"/>
                    </a:moveTo>
                    <a:lnTo>
                      <a:pt x="598" y="1316"/>
                    </a:lnTo>
                    <a:lnTo>
                      <a:pt x="1375" y="0"/>
                    </a:lnTo>
                    <a:lnTo>
                      <a:pt x="2392" y="538"/>
                    </a:lnTo>
                    <a:lnTo>
                      <a:pt x="3409" y="1196"/>
                    </a:lnTo>
                    <a:lnTo>
                      <a:pt x="3409" y="1316"/>
                    </a:lnTo>
                    <a:lnTo>
                      <a:pt x="2632" y="2632"/>
                    </a:lnTo>
                    <a:lnTo>
                      <a:pt x="1674" y="4186"/>
                    </a:lnTo>
                  </a:path>
                </a:pathLst>
              </a:custGeom>
              <a:noFill/>
              <a:ln w="6350" cap="rnd">
                <a:solidFill>
                  <a:schemeClr val="bg1">
                    <a:alpha val="80000"/>
                  </a:schemeClr>
                </a:solidFill>
                <a:prstDash val="solid"/>
                <a:round/>
              </a:ln>
            </p:spPr>
            <p:txBody>
              <a:bodyPr rtlCol="0" anchor="ctr"/>
              <a:lstStyle/>
              <a:p>
                <a:endParaRPr lang="en-GB"/>
              </a:p>
            </p:txBody>
          </p:sp>
          <p:sp>
            <p:nvSpPr>
              <p:cNvPr id="6590" name="Vrije vorm: vorm 6589">
                <a:extLst>
                  <a:ext uri="{FF2B5EF4-FFF2-40B4-BE49-F238E27FC236}">
                    <a16:creationId xmlns:a16="http://schemas.microsoft.com/office/drawing/2014/main" id="{8A60F246-10BA-4C45-8433-42DA85C4162B}"/>
                  </a:ext>
                </a:extLst>
              </p:cNvPr>
              <p:cNvSpPr/>
              <p:nvPr/>
            </p:nvSpPr>
            <p:spPr>
              <a:xfrm>
                <a:off x="6679589" y="1914649"/>
                <a:ext cx="19257" cy="5861"/>
              </a:xfrm>
              <a:custGeom>
                <a:avLst/>
                <a:gdLst>
                  <a:gd name="connsiteX0" fmla="*/ 19258 w 19257"/>
                  <a:gd name="connsiteY0" fmla="*/ 0 h 5861"/>
                  <a:gd name="connsiteX1" fmla="*/ 16327 w 19257"/>
                  <a:gd name="connsiteY1" fmla="*/ 3289 h 5861"/>
                  <a:gd name="connsiteX2" fmla="*/ 6160 w 19257"/>
                  <a:gd name="connsiteY2" fmla="*/ 5861 h 5861"/>
                  <a:gd name="connsiteX3" fmla="*/ 0 w 19257"/>
                  <a:gd name="connsiteY3" fmla="*/ 1734 h 5861"/>
                </a:gdLst>
                <a:ahLst/>
                <a:cxnLst>
                  <a:cxn ang="0">
                    <a:pos x="connsiteX0" y="connsiteY0"/>
                  </a:cxn>
                  <a:cxn ang="0">
                    <a:pos x="connsiteX1" y="connsiteY1"/>
                  </a:cxn>
                  <a:cxn ang="0">
                    <a:pos x="connsiteX2" y="connsiteY2"/>
                  </a:cxn>
                  <a:cxn ang="0">
                    <a:pos x="connsiteX3" y="connsiteY3"/>
                  </a:cxn>
                </a:cxnLst>
                <a:rect l="l" t="t" r="r" b="b"/>
                <a:pathLst>
                  <a:path w="19257" h="5861">
                    <a:moveTo>
                      <a:pt x="19258" y="0"/>
                    </a:moveTo>
                    <a:lnTo>
                      <a:pt x="16327" y="3289"/>
                    </a:lnTo>
                    <a:lnTo>
                      <a:pt x="6160" y="5861"/>
                    </a:lnTo>
                    <a:lnTo>
                      <a:pt x="0" y="1734"/>
                    </a:lnTo>
                  </a:path>
                </a:pathLst>
              </a:custGeom>
              <a:noFill/>
              <a:ln w="6350" cap="rnd">
                <a:solidFill>
                  <a:schemeClr val="bg1">
                    <a:alpha val="80000"/>
                  </a:schemeClr>
                </a:solidFill>
                <a:prstDash val="solid"/>
                <a:round/>
              </a:ln>
            </p:spPr>
            <p:txBody>
              <a:bodyPr rtlCol="0" anchor="ctr"/>
              <a:lstStyle/>
              <a:p>
                <a:endParaRPr lang="en-GB"/>
              </a:p>
            </p:txBody>
          </p:sp>
          <p:sp>
            <p:nvSpPr>
              <p:cNvPr id="6591" name="Vrije vorm: vorm 6590">
                <a:extLst>
                  <a:ext uri="{FF2B5EF4-FFF2-40B4-BE49-F238E27FC236}">
                    <a16:creationId xmlns:a16="http://schemas.microsoft.com/office/drawing/2014/main" id="{8C750659-BAD0-4DF4-8D93-EE5B255CEB9D}"/>
                  </a:ext>
                </a:extLst>
              </p:cNvPr>
              <p:cNvSpPr/>
              <p:nvPr/>
            </p:nvSpPr>
            <p:spPr>
              <a:xfrm>
                <a:off x="7000395" y="1751435"/>
                <a:ext cx="11183" cy="11004"/>
              </a:xfrm>
              <a:custGeom>
                <a:avLst/>
                <a:gdLst>
                  <a:gd name="connsiteX0" fmla="*/ 9389 w 11183"/>
                  <a:gd name="connsiteY0" fmla="*/ 9150 h 11004"/>
                  <a:gd name="connsiteX1" fmla="*/ 9150 w 11183"/>
                  <a:gd name="connsiteY1" fmla="*/ 9390 h 11004"/>
                  <a:gd name="connsiteX2" fmla="*/ 8432 w 11183"/>
                  <a:gd name="connsiteY2" fmla="*/ 10048 h 11004"/>
                  <a:gd name="connsiteX3" fmla="*/ 8313 w 11183"/>
                  <a:gd name="connsiteY3" fmla="*/ 10167 h 11004"/>
                  <a:gd name="connsiteX4" fmla="*/ 8074 w 11183"/>
                  <a:gd name="connsiteY4" fmla="*/ 10406 h 11004"/>
                  <a:gd name="connsiteX5" fmla="*/ 7715 w 11183"/>
                  <a:gd name="connsiteY5" fmla="*/ 10466 h 11004"/>
                  <a:gd name="connsiteX6" fmla="*/ 7476 w 11183"/>
                  <a:gd name="connsiteY6" fmla="*/ 10526 h 11004"/>
                  <a:gd name="connsiteX7" fmla="*/ 6818 w 11183"/>
                  <a:gd name="connsiteY7" fmla="*/ 10646 h 11004"/>
                  <a:gd name="connsiteX8" fmla="*/ 6160 w 11183"/>
                  <a:gd name="connsiteY8" fmla="*/ 10765 h 11004"/>
                  <a:gd name="connsiteX9" fmla="*/ 5382 w 11183"/>
                  <a:gd name="connsiteY9" fmla="*/ 10885 h 11004"/>
                  <a:gd name="connsiteX10" fmla="*/ 5203 w 11183"/>
                  <a:gd name="connsiteY10" fmla="*/ 10945 h 11004"/>
                  <a:gd name="connsiteX11" fmla="*/ 4904 w 11183"/>
                  <a:gd name="connsiteY11" fmla="*/ 11005 h 11004"/>
                  <a:gd name="connsiteX12" fmla="*/ 2213 w 11183"/>
                  <a:gd name="connsiteY12" fmla="*/ 9509 h 11004"/>
                  <a:gd name="connsiteX13" fmla="*/ 1316 w 11183"/>
                  <a:gd name="connsiteY13" fmla="*/ 8911 h 11004"/>
                  <a:gd name="connsiteX14" fmla="*/ 1256 w 11183"/>
                  <a:gd name="connsiteY14" fmla="*/ 8732 h 11004"/>
                  <a:gd name="connsiteX15" fmla="*/ 1196 w 11183"/>
                  <a:gd name="connsiteY15" fmla="*/ 8612 h 11004"/>
                  <a:gd name="connsiteX16" fmla="*/ 1076 w 11183"/>
                  <a:gd name="connsiteY16" fmla="*/ 8373 h 11004"/>
                  <a:gd name="connsiteX17" fmla="*/ 956 w 11183"/>
                  <a:gd name="connsiteY17" fmla="*/ 8134 h 11004"/>
                  <a:gd name="connsiteX18" fmla="*/ 897 w 11183"/>
                  <a:gd name="connsiteY18" fmla="*/ 8074 h 11004"/>
                  <a:gd name="connsiteX19" fmla="*/ 538 w 11183"/>
                  <a:gd name="connsiteY19" fmla="*/ 7177 h 11004"/>
                  <a:gd name="connsiteX20" fmla="*/ 418 w 11183"/>
                  <a:gd name="connsiteY20" fmla="*/ 6938 h 11004"/>
                  <a:gd name="connsiteX21" fmla="*/ 239 w 11183"/>
                  <a:gd name="connsiteY21" fmla="*/ 6519 h 11004"/>
                  <a:gd name="connsiteX22" fmla="*/ 0 w 11183"/>
                  <a:gd name="connsiteY22" fmla="*/ 5981 h 11004"/>
                  <a:gd name="connsiteX23" fmla="*/ 60 w 11183"/>
                  <a:gd name="connsiteY23" fmla="*/ 5622 h 11004"/>
                  <a:gd name="connsiteX24" fmla="*/ 120 w 11183"/>
                  <a:gd name="connsiteY24" fmla="*/ 5442 h 11004"/>
                  <a:gd name="connsiteX25" fmla="*/ 120 w 11183"/>
                  <a:gd name="connsiteY25" fmla="*/ 5442 h 11004"/>
                  <a:gd name="connsiteX26" fmla="*/ 418 w 11183"/>
                  <a:gd name="connsiteY26" fmla="*/ 4186 h 11004"/>
                  <a:gd name="connsiteX27" fmla="*/ 778 w 11183"/>
                  <a:gd name="connsiteY27" fmla="*/ 2751 h 11004"/>
                  <a:gd name="connsiteX28" fmla="*/ 1674 w 11183"/>
                  <a:gd name="connsiteY28" fmla="*/ 1914 h 11004"/>
                  <a:gd name="connsiteX29" fmla="*/ 3229 w 11183"/>
                  <a:gd name="connsiteY29" fmla="*/ 478 h 11004"/>
                  <a:gd name="connsiteX30" fmla="*/ 6399 w 11183"/>
                  <a:gd name="connsiteY30" fmla="*/ 0 h 11004"/>
                  <a:gd name="connsiteX31" fmla="*/ 9091 w 11183"/>
                  <a:gd name="connsiteY31" fmla="*/ 1495 h 11004"/>
                  <a:gd name="connsiteX32" fmla="*/ 9987 w 11183"/>
                  <a:gd name="connsiteY32" fmla="*/ 2093 h 11004"/>
                  <a:gd name="connsiteX33" fmla="*/ 11184 w 11183"/>
                  <a:gd name="connsiteY33" fmla="*/ 5024 h 11004"/>
                  <a:gd name="connsiteX34" fmla="*/ 10765 w 11183"/>
                  <a:gd name="connsiteY34" fmla="*/ 6698 h 11004"/>
                  <a:gd name="connsiteX35" fmla="*/ 10765 w 11183"/>
                  <a:gd name="connsiteY35" fmla="*/ 6698 h 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183" h="11004">
                    <a:moveTo>
                      <a:pt x="9389" y="9150"/>
                    </a:moveTo>
                    <a:lnTo>
                      <a:pt x="9150" y="9390"/>
                    </a:lnTo>
                    <a:lnTo>
                      <a:pt x="8432" y="10048"/>
                    </a:lnTo>
                    <a:lnTo>
                      <a:pt x="8313" y="10167"/>
                    </a:lnTo>
                    <a:lnTo>
                      <a:pt x="8074" y="10406"/>
                    </a:lnTo>
                    <a:lnTo>
                      <a:pt x="7715" y="10466"/>
                    </a:lnTo>
                    <a:lnTo>
                      <a:pt x="7476" y="10526"/>
                    </a:lnTo>
                    <a:lnTo>
                      <a:pt x="6818" y="10646"/>
                    </a:lnTo>
                    <a:lnTo>
                      <a:pt x="6160" y="10765"/>
                    </a:lnTo>
                    <a:lnTo>
                      <a:pt x="5382" y="10885"/>
                    </a:lnTo>
                    <a:lnTo>
                      <a:pt x="5203" y="10945"/>
                    </a:lnTo>
                    <a:lnTo>
                      <a:pt x="4904" y="11005"/>
                    </a:lnTo>
                    <a:lnTo>
                      <a:pt x="2213" y="9509"/>
                    </a:lnTo>
                    <a:lnTo>
                      <a:pt x="1316" y="8911"/>
                    </a:lnTo>
                    <a:lnTo>
                      <a:pt x="1256" y="8732"/>
                    </a:lnTo>
                    <a:lnTo>
                      <a:pt x="1196" y="8612"/>
                    </a:lnTo>
                    <a:lnTo>
                      <a:pt x="1076" y="8373"/>
                    </a:lnTo>
                    <a:lnTo>
                      <a:pt x="956" y="8134"/>
                    </a:lnTo>
                    <a:lnTo>
                      <a:pt x="897" y="8074"/>
                    </a:lnTo>
                    <a:lnTo>
                      <a:pt x="538" y="7177"/>
                    </a:lnTo>
                    <a:lnTo>
                      <a:pt x="418" y="6938"/>
                    </a:lnTo>
                    <a:lnTo>
                      <a:pt x="239" y="6519"/>
                    </a:lnTo>
                    <a:lnTo>
                      <a:pt x="0" y="5981"/>
                    </a:lnTo>
                    <a:lnTo>
                      <a:pt x="60" y="5622"/>
                    </a:lnTo>
                    <a:lnTo>
                      <a:pt x="120" y="5442"/>
                    </a:lnTo>
                    <a:lnTo>
                      <a:pt x="120" y="5442"/>
                    </a:lnTo>
                    <a:lnTo>
                      <a:pt x="418" y="4186"/>
                    </a:lnTo>
                    <a:lnTo>
                      <a:pt x="778" y="2751"/>
                    </a:lnTo>
                    <a:lnTo>
                      <a:pt x="1674" y="1914"/>
                    </a:lnTo>
                    <a:lnTo>
                      <a:pt x="3229" y="478"/>
                    </a:lnTo>
                    <a:lnTo>
                      <a:pt x="6399" y="0"/>
                    </a:lnTo>
                    <a:lnTo>
                      <a:pt x="9091" y="1495"/>
                    </a:lnTo>
                    <a:lnTo>
                      <a:pt x="9987" y="2093"/>
                    </a:lnTo>
                    <a:lnTo>
                      <a:pt x="11184" y="5024"/>
                    </a:lnTo>
                    <a:lnTo>
                      <a:pt x="10765" y="6698"/>
                    </a:lnTo>
                    <a:lnTo>
                      <a:pt x="10765" y="6698"/>
                    </a:lnTo>
                  </a:path>
                </a:pathLst>
              </a:custGeom>
              <a:noFill/>
              <a:ln w="6350" cap="rnd">
                <a:solidFill>
                  <a:schemeClr val="bg1">
                    <a:alpha val="80000"/>
                  </a:schemeClr>
                </a:solidFill>
                <a:prstDash val="solid"/>
                <a:round/>
              </a:ln>
            </p:spPr>
            <p:txBody>
              <a:bodyPr rtlCol="0" anchor="ctr"/>
              <a:lstStyle/>
              <a:p>
                <a:endParaRPr lang="en-GB"/>
              </a:p>
            </p:txBody>
          </p:sp>
          <p:sp>
            <p:nvSpPr>
              <p:cNvPr id="6592" name="Vrije vorm: vorm 6591">
                <a:extLst>
                  <a:ext uri="{FF2B5EF4-FFF2-40B4-BE49-F238E27FC236}">
                    <a16:creationId xmlns:a16="http://schemas.microsoft.com/office/drawing/2014/main" id="{7EBA4743-E19A-4C79-A014-6FCEDD002AB0}"/>
                  </a:ext>
                </a:extLst>
              </p:cNvPr>
              <p:cNvSpPr/>
              <p:nvPr/>
            </p:nvSpPr>
            <p:spPr>
              <a:xfrm>
                <a:off x="6780544" y="1887436"/>
                <a:ext cx="4246" cy="1854"/>
              </a:xfrm>
              <a:custGeom>
                <a:avLst/>
                <a:gdLst>
                  <a:gd name="connsiteX0" fmla="*/ 4246 w 4246"/>
                  <a:gd name="connsiteY0" fmla="*/ 957 h 1854"/>
                  <a:gd name="connsiteX1" fmla="*/ 3827 w 4246"/>
                  <a:gd name="connsiteY1" fmla="*/ 1376 h 1854"/>
                  <a:gd name="connsiteX2" fmla="*/ 3768 w 4246"/>
                  <a:gd name="connsiteY2" fmla="*/ 1435 h 1854"/>
                  <a:gd name="connsiteX3" fmla="*/ 3349 w 4246"/>
                  <a:gd name="connsiteY3" fmla="*/ 1854 h 1854"/>
                  <a:gd name="connsiteX4" fmla="*/ 2631 w 4246"/>
                  <a:gd name="connsiteY4" fmla="*/ 1555 h 1854"/>
                  <a:gd name="connsiteX5" fmla="*/ 1914 w 4246"/>
                  <a:gd name="connsiteY5" fmla="*/ 1256 h 1854"/>
                  <a:gd name="connsiteX6" fmla="*/ 0 w 4246"/>
                  <a:gd name="connsiteY6" fmla="*/ 0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6" h="1854">
                    <a:moveTo>
                      <a:pt x="4246" y="957"/>
                    </a:moveTo>
                    <a:lnTo>
                      <a:pt x="3827" y="1376"/>
                    </a:lnTo>
                    <a:lnTo>
                      <a:pt x="3768" y="1435"/>
                    </a:lnTo>
                    <a:lnTo>
                      <a:pt x="3349" y="1854"/>
                    </a:lnTo>
                    <a:lnTo>
                      <a:pt x="2631" y="1555"/>
                    </a:lnTo>
                    <a:lnTo>
                      <a:pt x="1914" y="125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93" name="Vrije vorm: vorm 6592">
                <a:extLst>
                  <a:ext uri="{FF2B5EF4-FFF2-40B4-BE49-F238E27FC236}">
                    <a16:creationId xmlns:a16="http://schemas.microsoft.com/office/drawing/2014/main" id="{9DBE17BB-950E-4C2F-ACD4-9BDC2D3F35A7}"/>
                  </a:ext>
                </a:extLst>
              </p:cNvPr>
              <p:cNvSpPr/>
              <p:nvPr/>
            </p:nvSpPr>
            <p:spPr>
              <a:xfrm>
                <a:off x="6768223" y="1876252"/>
                <a:ext cx="1435" cy="3528"/>
              </a:xfrm>
              <a:custGeom>
                <a:avLst/>
                <a:gdLst>
                  <a:gd name="connsiteX0" fmla="*/ 120 w 1435"/>
                  <a:gd name="connsiteY0" fmla="*/ 3529 h 3528"/>
                  <a:gd name="connsiteX1" fmla="*/ 0 w 1435"/>
                  <a:gd name="connsiteY1" fmla="*/ 3469 h 3528"/>
                  <a:gd name="connsiteX2" fmla="*/ 718 w 1435"/>
                  <a:gd name="connsiteY2" fmla="*/ 718 h 3528"/>
                  <a:gd name="connsiteX3" fmla="*/ 1436 w 1435"/>
                  <a:gd name="connsiteY3" fmla="*/ 0 h 3528"/>
                </a:gdLst>
                <a:ahLst/>
                <a:cxnLst>
                  <a:cxn ang="0">
                    <a:pos x="connsiteX0" y="connsiteY0"/>
                  </a:cxn>
                  <a:cxn ang="0">
                    <a:pos x="connsiteX1" y="connsiteY1"/>
                  </a:cxn>
                  <a:cxn ang="0">
                    <a:pos x="connsiteX2" y="connsiteY2"/>
                  </a:cxn>
                  <a:cxn ang="0">
                    <a:pos x="connsiteX3" y="connsiteY3"/>
                  </a:cxn>
                </a:cxnLst>
                <a:rect l="l" t="t" r="r" b="b"/>
                <a:pathLst>
                  <a:path w="1435" h="3528">
                    <a:moveTo>
                      <a:pt x="120" y="3529"/>
                    </a:moveTo>
                    <a:lnTo>
                      <a:pt x="0" y="3469"/>
                    </a:lnTo>
                    <a:lnTo>
                      <a:pt x="718" y="718"/>
                    </a:lnTo>
                    <a:lnTo>
                      <a:pt x="1436" y="0"/>
                    </a:lnTo>
                  </a:path>
                </a:pathLst>
              </a:custGeom>
              <a:noFill/>
              <a:ln w="6350" cap="rnd">
                <a:solidFill>
                  <a:schemeClr val="bg1">
                    <a:alpha val="80000"/>
                  </a:schemeClr>
                </a:solidFill>
                <a:prstDash val="solid"/>
                <a:round/>
              </a:ln>
            </p:spPr>
            <p:txBody>
              <a:bodyPr rtlCol="0" anchor="ctr"/>
              <a:lstStyle/>
              <a:p>
                <a:endParaRPr lang="en-GB"/>
              </a:p>
            </p:txBody>
          </p:sp>
          <p:sp>
            <p:nvSpPr>
              <p:cNvPr id="6594" name="Vrije vorm: vorm 6593">
                <a:extLst>
                  <a:ext uri="{FF2B5EF4-FFF2-40B4-BE49-F238E27FC236}">
                    <a16:creationId xmlns:a16="http://schemas.microsoft.com/office/drawing/2014/main" id="{98D8060B-E985-4FE6-B5B9-245FA363FD67}"/>
                  </a:ext>
                </a:extLst>
              </p:cNvPr>
              <p:cNvSpPr/>
              <p:nvPr/>
            </p:nvSpPr>
            <p:spPr>
              <a:xfrm>
                <a:off x="6905720" y="1923321"/>
                <a:ext cx="6339" cy="5920"/>
              </a:xfrm>
              <a:custGeom>
                <a:avLst/>
                <a:gdLst>
                  <a:gd name="connsiteX0" fmla="*/ 6340 w 6339"/>
                  <a:gd name="connsiteY0" fmla="*/ 5921 h 5920"/>
                  <a:gd name="connsiteX1" fmla="*/ 5622 w 6339"/>
                  <a:gd name="connsiteY1" fmla="*/ 5442 h 5920"/>
                  <a:gd name="connsiteX2" fmla="*/ 3828 w 6339"/>
                  <a:gd name="connsiteY2" fmla="*/ 4246 h 5920"/>
                  <a:gd name="connsiteX3" fmla="*/ 3529 w 6339"/>
                  <a:gd name="connsiteY3" fmla="*/ 4067 h 5920"/>
                  <a:gd name="connsiteX4" fmla="*/ 1197 w 6339"/>
                  <a:gd name="connsiteY4" fmla="*/ 2572 h 5920"/>
                  <a:gd name="connsiteX5" fmla="*/ 1077 w 6339"/>
                  <a:gd name="connsiteY5" fmla="*/ 2452 h 5920"/>
                  <a:gd name="connsiteX6" fmla="*/ 0 w 6339"/>
                  <a:gd name="connsiteY6" fmla="*/ 0 h 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39" h="5920">
                    <a:moveTo>
                      <a:pt x="6340" y="5921"/>
                    </a:moveTo>
                    <a:lnTo>
                      <a:pt x="5622" y="5442"/>
                    </a:lnTo>
                    <a:lnTo>
                      <a:pt x="3828" y="4246"/>
                    </a:lnTo>
                    <a:lnTo>
                      <a:pt x="3529" y="4067"/>
                    </a:lnTo>
                    <a:lnTo>
                      <a:pt x="1197" y="2572"/>
                    </a:lnTo>
                    <a:lnTo>
                      <a:pt x="1077" y="2452"/>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95" name="Vrije vorm: vorm 6594">
                <a:extLst>
                  <a:ext uri="{FF2B5EF4-FFF2-40B4-BE49-F238E27FC236}">
                    <a16:creationId xmlns:a16="http://schemas.microsoft.com/office/drawing/2014/main" id="{87C0B46D-5E63-45B4-BDD4-75C42FC13997}"/>
                  </a:ext>
                </a:extLst>
              </p:cNvPr>
              <p:cNvSpPr/>
              <p:nvPr/>
            </p:nvSpPr>
            <p:spPr>
              <a:xfrm>
                <a:off x="6932633" y="1819256"/>
                <a:ext cx="36004" cy="21530"/>
              </a:xfrm>
              <a:custGeom>
                <a:avLst/>
                <a:gdLst>
                  <a:gd name="connsiteX0" fmla="*/ 36004 w 36004"/>
                  <a:gd name="connsiteY0" fmla="*/ 21531 h 21530"/>
                  <a:gd name="connsiteX1" fmla="*/ 36004 w 36004"/>
                  <a:gd name="connsiteY1" fmla="*/ 21531 h 21530"/>
                  <a:gd name="connsiteX2" fmla="*/ 34928 w 36004"/>
                  <a:gd name="connsiteY2" fmla="*/ 20873 h 21530"/>
                  <a:gd name="connsiteX3" fmla="*/ 33851 w 36004"/>
                  <a:gd name="connsiteY3" fmla="*/ 20215 h 21530"/>
                  <a:gd name="connsiteX4" fmla="*/ 32595 w 36004"/>
                  <a:gd name="connsiteY4" fmla="*/ 19437 h 21530"/>
                  <a:gd name="connsiteX5" fmla="*/ 31100 w 36004"/>
                  <a:gd name="connsiteY5" fmla="*/ 18540 h 21530"/>
                  <a:gd name="connsiteX6" fmla="*/ 29784 w 36004"/>
                  <a:gd name="connsiteY6" fmla="*/ 17763 h 21530"/>
                  <a:gd name="connsiteX7" fmla="*/ 28528 w 36004"/>
                  <a:gd name="connsiteY7" fmla="*/ 16985 h 21530"/>
                  <a:gd name="connsiteX8" fmla="*/ 27392 w 36004"/>
                  <a:gd name="connsiteY8" fmla="*/ 16327 h 21530"/>
                  <a:gd name="connsiteX9" fmla="*/ 25897 w 36004"/>
                  <a:gd name="connsiteY9" fmla="*/ 15430 h 21530"/>
                  <a:gd name="connsiteX10" fmla="*/ 25717 w 36004"/>
                  <a:gd name="connsiteY10" fmla="*/ 15311 h 21530"/>
                  <a:gd name="connsiteX11" fmla="*/ 23983 w 36004"/>
                  <a:gd name="connsiteY11" fmla="*/ 14294 h 21530"/>
                  <a:gd name="connsiteX12" fmla="*/ 23923 w 36004"/>
                  <a:gd name="connsiteY12" fmla="*/ 14294 h 21530"/>
                  <a:gd name="connsiteX13" fmla="*/ 22308 w 36004"/>
                  <a:gd name="connsiteY13" fmla="*/ 13337 h 21530"/>
                  <a:gd name="connsiteX14" fmla="*/ 20634 w 36004"/>
                  <a:gd name="connsiteY14" fmla="*/ 12320 h 21530"/>
                  <a:gd name="connsiteX15" fmla="*/ 14773 w 36004"/>
                  <a:gd name="connsiteY15" fmla="*/ 8792 h 21530"/>
                  <a:gd name="connsiteX16" fmla="*/ 13636 w 36004"/>
                  <a:gd name="connsiteY16" fmla="*/ 8074 h 21530"/>
                  <a:gd name="connsiteX17" fmla="*/ 12321 w 36004"/>
                  <a:gd name="connsiteY17" fmla="*/ 7296 h 21530"/>
                  <a:gd name="connsiteX18" fmla="*/ 11543 w 36004"/>
                  <a:gd name="connsiteY18" fmla="*/ 6818 h 21530"/>
                  <a:gd name="connsiteX19" fmla="*/ 7177 w 36004"/>
                  <a:gd name="connsiteY19" fmla="*/ 4187 h 21530"/>
                  <a:gd name="connsiteX20" fmla="*/ 6998 w 36004"/>
                  <a:gd name="connsiteY20" fmla="*/ 4067 h 21530"/>
                  <a:gd name="connsiteX21" fmla="*/ 6698 w 36004"/>
                  <a:gd name="connsiteY21" fmla="*/ 3888 h 21530"/>
                  <a:gd name="connsiteX22" fmla="*/ 6520 w 36004"/>
                  <a:gd name="connsiteY22" fmla="*/ 3768 h 21530"/>
                  <a:gd name="connsiteX23" fmla="*/ 6041 w 36004"/>
                  <a:gd name="connsiteY23" fmla="*/ 3469 h 21530"/>
                  <a:gd name="connsiteX24" fmla="*/ 5981 w 36004"/>
                  <a:gd name="connsiteY24" fmla="*/ 3469 h 21530"/>
                  <a:gd name="connsiteX25" fmla="*/ 5981 w 36004"/>
                  <a:gd name="connsiteY25" fmla="*/ 3469 h 21530"/>
                  <a:gd name="connsiteX26" fmla="*/ 5921 w 36004"/>
                  <a:gd name="connsiteY26" fmla="*/ 3409 h 21530"/>
                  <a:gd name="connsiteX27" fmla="*/ 5921 w 36004"/>
                  <a:gd name="connsiteY27" fmla="*/ 3409 h 21530"/>
                  <a:gd name="connsiteX28" fmla="*/ 5802 w 36004"/>
                  <a:gd name="connsiteY28" fmla="*/ 3349 h 21530"/>
                  <a:gd name="connsiteX29" fmla="*/ 5143 w 36004"/>
                  <a:gd name="connsiteY29" fmla="*/ 2931 h 21530"/>
                  <a:gd name="connsiteX30" fmla="*/ 5024 w 36004"/>
                  <a:gd name="connsiteY30" fmla="*/ 2871 h 21530"/>
                  <a:gd name="connsiteX31" fmla="*/ 4905 w 36004"/>
                  <a:gd name="connsiteY31" fmla="*/ 2811 h 21530"/>
                  <a:gd name="connsiteX32" fmla="*/ 4366 w 36004"/>
                  <a:gd name="connsiteY32" fmla="*/ 2512 h 21530"/>
                  <a:gd name="connsiteX33" fmla="*/ 3050 w 36004"/>
                  <a:gd name="connsiteY33" fmla="*/ 1794 h 21530"/>
                  <a:gd name="connsiteX34" fmla="*/ 1495 w 36004"/>
                  <a:gd name="connsiteY34" fmla="*/ 897 h 21530"/>
                  <a:gd name="connsiteX35" fmla="*/ 897 w 36004"/>
                  <a:gd name="connsiteY35" fmla="*/ 538 h 21530"/>
                  <a:gd name="connsiteX36" fmla="*/ 479 w 36004"/>
                  <a:gd name="connsiteY36" fmla="*/ 299 h 21530"/>
                  <a:gd name="connsiteX37" fmla="*/ 0 w 36004"/>
                  <a:gd name="connsiteY37" fmla="*/ 0 h 2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6004" h="21530">
                    <a:moveTo>
                      <a:pt x="36004" y="21531"/>
                    </a:moveTo>
                    <a:lnTo>
                      <a:pt x="36004" y="21531"/>
                    </a:lnTo>
                    <a:lnTo>
                      <a:pt x="34928" y="20873"/>
                    </a:lnTo>
                    <a:lnTo>
                      <a:pt x="33851" y="20215"/>
                    </a:lnTo>
                    <a:lnTo>
                      <a:pt x="32595" y="19437"/>
                    </a:lnTo>
                    <a:lnTo>
                      <a:pt x="31100" y="18540"/>
                    </a:lnTo>
                    <a:lnTo>
                      <a:pt x="29784" y="17763"/>
                    </a:lnTo>
                    <a:lnTo>
                      <a:pt x="28528" y="16985"/>
                    </a:lnTo>
                    <a:lnTo>
                      <a:pt x="27392" y="16327"/>
                    </a:lnTo>
                    <a:lnTo>
                      <a:pt x="25897" y="15430"/>
                    </a:lnTo>
                    <a:lnTo>
                      <a:pt x="25717" y="15311"/>
                    </a:lnTo>
                    <a:lnTo>
                      <a:pt x="23983" y="14294"/>
                    </a:lnTo>
                    <a:lnTo>
                      <a:pt x="23923" y="14294"/>
                    </a:lnTo>
                    <a:lnTo>
                      <a:pt x="22308" y="13337"/>
                    </a:lnTo>
                    <a:lnTo>
                      <a:pt x="20634" y="12320"/>
                    </a:lnTo>
                    <a:lnTo>
                      <a:pt x="14773" y="8792"/>
                    </a:lnTo>
                    <a:lnTo>
                      <a:pt x="13636" y="8074"/>
                    </a:lnTo>
                    <a:lnTo>
                      <a:pt x="12321" y="7296"/>
                    </a:lnTo>
                    <a:lnTo>
                      <a:pt x="11543" y="6818"/>
                    </a:lnTo>
                    <a:lnTo>
                      <a:pt x="7177" y="4187"/>
                    </a:lnTo>
                    <a:lnTo>
                      <a:pt x="6998" y="4067"/>
                    </a:lnTo>
                    <a:lnTo>
                      <a:pt x="6698" y="3888"/>
                    </a:lnTo>
                    <a:lnTo>
                      <a:pt x="6520" y="3768"/>
                    </a:lnTo>
                    <a:lnTo>
                      <a:pt x="6041" y="3469"/>
                    </a:lnTo>
                    <a:lnTo>
                      <a:pt x="5981" y="3469"/>
                    </a:lnTo>
                    <a:lnTo>
                      <a:pt x="5981" y="3469"/>
                    </a:lnTo>
                    <a:lnTo>
                      <a:pt x="5921" y="3409"/>
                    </a:lnTo>
                    <a:lnTo>
                      <a:pt x="5921" y="3409"/>
                    </a:lnTo>
                    <a:lnTo>
                      <a:pt x="5802" y="3349"/>
                    </a:lnTo>
                    <a:lnTo>
                      <a:pt x="5143" y="2931"/>
                    </a:lnTo>
                    <a:lnTo>
                      <a:pt x="5024" y="2871"/>
                    </a:lnTo>
                    <a:lnTo>
                      <a:pt x="4905" y="2811"/>
                    </a:lnTo>
                    <a:lnTo>
                      <a:pt x="4366" y="2512"/>
                    </a:lnTo>
                    <a:lnTo>
                      <a:pt x="3050" y="1794"/>
                    </a:lnTo>
                    <a:lnTo>
                      <a:pt x="1495" y="897"/>
                    </a:lnTo>
                    <a:lnTo>
                      <a:pt x="897" y="538"/>
                    </a:lnTo>
                    <a:lnTo>
                      <a:pt x="479" y="29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596" name="Vrije vorm: vorm 6595">
                <a:extLst>
                  <a:ext uri="{FF2B5EF4-FFF2-40B4-BE49-F238E27FC236}">
                    <a16:creationId xmlns:a16="http://schemas.microsoft.com/office/drawing/2014/main" id="{00A007BD-4C91-4332-8123-372B851A28BE}"/>
                  </a:ext>
                </a:extLst>
              </p:cNvPr>
              <p:cNvSpPr/>
              <p:nvPr/>
            </p:nvSpPr>
            <p:spPr>
              <a:xfrm>
                <a:off x="6664757" y="1899099"/>
                <a:ext cx="20214" cy="19856"/>
              </a:xfrm>
              <a:custGeom>
                <a:avLst/>
                <a:gdLst>
                  <a:gd name="connsiteX0" fmla="*/ 0 w 20214"/>
                  <a:gd name="connsiteY0" fmla="*/ 9868 h 19856"/>
                  <a:gd name="connsiteX1" fmla="*/ 598 w 20214"/>
                  <a:gd name="connsiteY1" fmla="*/ 9868 h 19856"/>
                  <a:gd name="connsiteX2" fmla="*/ 4605 w 20214"/>
                  <a:gd name="connsiteY2" fmla="*/ 6938 h 19856"/>
                  <a:gd name="connsiteX3" fmla="*/ 5144 w 20214"/>
                  <a:gd name="connsiteY3" fmla="*/ 6519 h 19856"/>
                  <a:gd name="connsiteX4" fmla="*/ 5383 w 20214"/>
                  <a:gd name="connsiteY4" fmla="*/ 6340 h 19856"/>
                  <a:gd name="connsiteX5" fmla="*/ 10526 w 20214"/>
                  <a:gd name="connsiteY5" fmla="*/ 2632 h 19856"/>
                  <a:gd name="connsiteX6" fmla="*/ 13576 w 20214"/>
                  <a:gd name="connsiteY6" fmla="*/ 419 h 19856"/>
                  <a:gd name="connsiteX7" fmla="*/ 14174 w 20214"/>
                  <a:gd name="connsiteY7" fmla="*/ 0 h 19856"/>
                  <a:gd name="connsiteX8" fmla="*/ 16088 w 20214"/>
                  <a:gd name="connsiteY8" fmla="*/ 1615 h 19856"/>
                  <a:gd name="connsiteX9" fmla="*/ 16208 w 20214"/>
                  <a:gd name="connsiteY9" fmla="*/ 1734 h 19856"/>
                  <a:gd name="connsiteX10" fmla="*/ 17703 w 20214"/>
                  <a:gd name="connsiteY10" fmla="*/ 2990 h 19856"/>
                  <a:gd name="connsiteX11" fmla="*/ 20215 w 20214"/>
                  <a:gd name="connsiteY11" fmla="*/ 6340 h 19856"/>
                  <a:gd name="connsiteX12" fmla="*/ 20096 w 20214"/>
                  <a:gd name="connsiteY12" fmla="*/ 8074 h 19856"/>
                  <a:gd name="connsiteX13" fmla="*/ 20036 w 20214"/>
                  <a:gd name="connsiteY13" fmla="*/ 8851 h 19856"/>
                  <a:gd name="connsiteX14" fmla="*/ 19916 w 20214"/>
                  <a:gd name="connsiteY14" fmla="*/ 10945 h 19856"/>
                  <a:gd name="connsiteX15" fmla="*/ 19916 w 20214"/>
                  <a:gd name="connsiteY15" fmla="*/ 11244 h 19856"/>
                  <a:gd name="connsiteX16" fmla="*/ 19916 w 20214"/>
                  <a:gd name="connsiteY16" fmla="*/ 11543 h 19856"/>
                  <a:gd name="connsiteX17" fmla="*/ 19916 w 20214"/>
                  <a:gd name="connsiteY17" fmla="*/ 11961 h 19856"/>
                  <a:gd name="connsiteX18" fmla="*/ 14713 w 20214"/>
                  <a:gd name="connsiteY18" fmla="*/ 17284 h 19856"/>
                  <a:gd name="connsiteX19" fmla="*/ 12799 w 20214"/>
                  <a:gd name="connsiteY19" fmla="*/ 19258 h 19856"/>
                  <a:gd name="connsiteX20" fmla="*/ 12260 w 20214"/>
                  <a:gd name="connsiteY20" fmla="*/ 19856 h 1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214" h="19856">
                    <a:moveTo>
                      <a:pt x="0" y="9868"/>
                    </a:moveTo>
                    <a:lnTo>
                      <a:pt x="598" y="9868"/>
                    </a:lnTo>
                    <a:lnTo>
                      <a:pt x="4605" y="6938"/>
                    </a:lnTo>
                    <a:lnTo>
                      <a:pt x="5144" y="6519"/>
                    </a:lnTo>
                    <a:lnTo>
                      <a:pt x="5383" y="6340"/>
                    </a:lnTo>
                    <a:lnTo>
                      <a:pt x="10526" y="2632"/>
                    </a:lnTo>
                    <a:lnTo>
                      <a:pt x="13576" y="419"/>
                    </a:lnTo>
                    <a:lnTo>
                      <a:pt x="14174" y="0"/>
                    </a:lnTo>
                    <a:lnTo>
                      <a:pt x="16088" y="1615"/>
                    </a:lnTo>
                    <a:lnTo>
                      <a:pt x="16208" y="1734"/>
                    </a:lnTo>
                    <a:lnTo>
                      <a:pt x="17703" y="2990"/>
                    </a:lnTo>
                    <a:lnTo>
                      <a:pt x="20215" y="6340"/>
                    </a:lnTo>
                    <a:lnTo>
                      <a:pt x="20096" y="8074"/>
                    </a:lnTo>
                    <a:lnTo>
                      <a:pt x="20036" y="8851"/>
                    </a:lnTo>
                    <a:lnTo>
                      <a:pt x="19916" y="10945"/>
                    </a:lnTo>
                    <a:lnTo>
                      <a:pt x="19916" y="11244"/>
                    </a:lnTo>
                    <a:lnTo>
                      <a:pt x="19916" y="11543"/>
                    </a:lnTo>
                    <a:lnTo>
                      <a:pt x="19916" y="11961"/>
                    </a:lnTo>
                    <a:lnTo>
                      <a:pt x="14713" y="17284"/>
                    </a:lnTo>
                    <a:lnTo>
                      <a:pt x="12799" y="19258"/>
                    </a:lnTo>
                    <a:lnTo>
                      <a:pt x="12260" y="19856"/>
                    </a:lnTo>
                  </a:path>
                </a:pathLst>
              </a:custGeom>
              <a:noFill/>
              <a:ln w="6350" cap="rnd">
                <a:solidFill>
                  <a:schemeClr val="bg1">
                    <a:alpha val="80000"/>
                  </a:schemeClr>
                </a:solidFill>
                <a:prstDash val="solid"/>
                <a:round/>
              </a:ln>
            </p:spPr>
            <p:txBody>
              <a:bodyPr rtlCol="0" anchor="ctr"/>
              <a:lstStyle/>
              <a:p>
                <a:endParaRPr lang="en-GB"/>
              </a:p>
            </p:txBody>
          </p:sp>
          <p:sp>
            <p:nvSpPr>
              <p:cNvPr id="6597" name="Vrije vorm: vorm 6596">
                <a:extLst>
                  <a:ext uri="{FF2B5EF4-FFF2-40B4-BE49-F238E27FC236}">
                    <a16:creationId xmlns:a16="http://schemas.microsoft.com/office/drawing/2014/main" id="{3DB075A7-7266-4E99-ACA8-076D4D4B6E3E}"/>
                  </a:ext>
                </a:extLst>
              </p:cNvPr>
              <p:cNvSpPr/>
              <p:nvPr/>
            </p:nvSpPr>
            <p:spPr>
              <a:xfrm>
                <a:off x="6893639" y="1890606"/>
                <a:ext cx="19976" cy="15310"/>
              </a:xfrm>
              <a:custGeom>
                <a:avLst/>
                <a:gdLst>
                  <a:gd name="connsiteX0" fmla="*/ 19976 w 19976"/>
                  <a:gd name="connsiteY0" fmla="*/ 1675 h 15310"/>
                  <a:gd name="connsiteX1" fmla="*/ 16926 w 19976"/>
                  <a:gd name="connsiteY1" fmla="*/ 718 h 15310"/>
                  <a:gd name="connsiteX2" fmla="*/ 16507 w 19976"/>
                  <a:gd name="connsiteY2" fmla="*/ 598 h 15310"/>
                  <a:gd name="connsiteX3" fmla="*/ 16268 w 19976"/>
                  <a:gd name="connsiteY3" fmla="*/ 538 h 15310"/>
                  <a:gd name="connsiteX4" fmla="*/ 14952 w 19976"/>
                  <a:gd name="connsiteY4" fmla="*/ 120 h 15310"/>
                  <a:gd name="connsiteX5" fmla="*/ 14474 w 19976"/>
                  <a:gd name="connsiteY5" fmla="*/ 0 h 15310"/>
                  <a:gd name="connsiteX6" fmla="*/ 10706 w 19976"/>
                  <a:gd name="connsiteY6" fmla="*/ 4545 h 15310"/>
                  <a:gd name="connsiteX7" fmla="*/ 9450 w 19976"/>
                  <a:gd name="connsiteY7" fmla="*/ 6100 h 15310"/>
                  <a:gd name="connsiteX8" fmla="*/ 9270 w 19976"/>
                  <a:gd name="connsiteY8" fmla="*/ 6340 h 15310"/>
                  <a:gd name="connsiteX9" fmla="*/ 8672 w 19976"/>
                  <a:gd name="connsiteY9" fmla="*/ 7057 h 15310"/>
                  <a:gd name="connsiteX10" fmla="*/ 8015 w 19976"/>
                  <a:gd name="connsiteY10" fmla="*/ 7835 h 15310"/>
                  <a:gd name="connsiteX11" fmla="*/ 7895 w 19976"/>
                  <a:gd name="connsiteY11" fmla="*/ 7954 h 15310"/>
                  <a:gd name="connsiteX12" fmla="*/ 7357 w 19976"/>
                  <a:gd name="connsiteY12" fmla="*/ 8612 h 15310"/>
                  <a:gd name="connsiteX13" fmla="*/ 7177 w 19976"/>
                  <a:gd name="connsiteY13" fmla="*/ 8851 h 15310"/>
                  <a:gd name="connsiteX14" fmla="*/ 6699 w 19976"/>
                  <a:gd name="connsiteY14" fmla="*/ 9450 h 15310"/>
                  <a:gd name="connsiteX15" fmla="*/ 6041 w 19976"/>
                  <a:gd name="connsiteY15" fmla="*/ 10287 h 15310"/>
                  <a:gd name="connsiteX16" fmla="*/ 5443 w 19976"/>
                  <a:gd name="connsiteY16" fmla="*/ 11005 h 15310"/>
                  <a:gd name="connsiteX17" fmla="*/ 5144 w 19976"/>
                  <a:gd name="connsiteY17" fmla="*/ 11363 h 15310"/>
                  <a:gd name="connsiteX18" fmla="*/ 4725 w 19976"/>
                  <a:gd name="connsiteY18" fmla="*/ 11483 h 15310"/>
                  <a:gd name="connsiteX19" fmla="*/ 2392 w 19976"/>
                  <a:gd name="connsiteY19" fmla="*/ 12260 h 15310"/>
                  <a:gd name="connsiteX20" fmla="*/ 1615 w 19976"/>
                  <a:gd name="connsiteY20" fmla="*/ 13277 h 15310"/>
                  <a:gd name="connsiteX21" fmla="*/ 1495 w 19976"/>
                  <a:gd name="connsiteY21" fmla="*/ 13397 h 15310"/>
                  <a:gd name="connsiteX22" fmla="*/ 1495 w 19976"/>
                  <a:gd name="connsiteY22" fmla="*/ 13397 h 15310"/>
                  <a:gd name="connsiteX23" fmla="*/ 1436 w 19976"/>
                  <a:gd name="connsiteY23" fmla="*/ 13516 h 15310"/>
                  <a:gd name="connsiteX24" fmla="*/ 599 w 19976"/>
                  <a:gd name="connsiteY24" fmla="*/ 14593 h 15310"/>
                  <a:gd name="connsiteX25" fmla="*/ 0 w 19976"/>
                  <a:gd name="connsiteY25" fmla="*/ 15311 h 1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76" h="15310">
                    <a:moveTo>
                      <a:pt x="19976" y="1675"/>
                    </a:moveTo>
                    <a:lnTo>
                      <a:pt x="16926" y="718"/>
                    </a:lnTo>
                    <a:lnTo>
                      <a:pt x="16507" y="598"/>
                    </a:lnTo>
                    <a:lnTo>
                      <a:pt x="16268" y="538"/>
                    </a:lnTo>
                    <a:lnTo>
                      <a:pt x="14952" y="120"/>
                    </a:lnTo>
                    <a:lnTo>
                      <a:pt x="14474" y="0"/>
                    </a:lnTo>
                    <a:lnTo>
                      <a:pt x="10706" y="4545"/>
                    </a:lnTo>
                    <a:lnTo>
                      <a:pt x="9450" y="6100"/>
                    </a:lnTo>
                    <a:lnTo>
                      <a:pt x="9270" y="6340"/>
                    </a:lnTo>
                    <a:lnTo>
                      <a:pt x="8672" y="7057"/>
                    </a:lnTo>
                    <a:lnTo>
                      <a:pt x="8015" y="7835"/>
                    </a:lnTo>
                    <a:lnTo>
                      <a:pt x="7895" y="7954"/>
                    </a:lnTo>
                    <a:lnTo>
                      <a:pt x="7357" y="8612"/>
                    </a:lnTo>
                    <a:lnTo>
                      <a:pt x="7177" y="8851"/>
                    </a:lnTo>
                    <a:lnTo>
                      <a:pt x="6699" y="9450"/>
                    </a:lnTo>
                    <a:lnTo>
                      <a:pt x="6041" y="10287"/>
                    </a:lnTo>
                    <a:lnTo>
                      <a:pt x="5443" y="11005"/>
                    </a:lnTo>
                    <a:lnTo>
                      <a:pt x="5144" y="11363"/>
                    </a:lnTo>
                    <a:lnTo>
                      <a:pt x="4725" y="11483"/>
                    </a:lnTo>
                    <a:lnTo>
                      <a:pt x="2392" y="12260"/>
                    </a:lnTo>
                    <a:lnTo>
                      <a:pt x="1615" y="13277"/>
                    </a:lnTo>
                    <a:lnTo>
                      <a:pt x="1495" y="13397"/>
                    </a:lnTo>
                    <a:lnTo>
                      <a:pt x="1495" y="13397"/>
                    </a:lnTo>
                    <a:lnTo>
                      <a:pt x="1436" y="13516"/>
                    </a:lnTo>
                    <a:lnTo>
                      <a:pt x="599" y="14593"/>
                    </a:lnTo>
                    <a:lnTo>
                      <a:pt x="0" y="15311"/>
                    </a:lnTo>
                  </a:path>
                </a:pathLst>
              </a:custGeom>
              <a:noFill/>
              <a:ln w="6350" cap="rnd">
                <a:solidFill>
                  <a:schemeClr val="bg1">
                    <a:alpha val="80000"/>
                  </a:schemeClr>
                </a:solidFill>
                <a:prstDash val="solid"/>
                <a:round/>
              </a:ln>
            </p:spPr>
            <p:txBody>
              <a:bodyPr rtlCol="0" anchor="ctr"/>
              <a:lstStyle/>
              <a:p>
                <a:endParaRPr lang="en-GB"/>
              </a:p>
            </p:txBody>
          </p:sp>
          <p:sp>
            <p:nvSpPr>
              <p:cNvPr id="6598" name="Vrije vorm: vorm 6597">
                <a:extLst>
                  <a:ext uri="{FF2B5EF4-FFF2-40B4-BE49-F238E27FC236}">
                    <a16:creationId xmlns:a16="http://schemas.microsoft.com/office/drawing/2014/main" id="{51828F22-3DF7-4822-812F-D41712673E6B}"/>
                  </a:ext>
                </a:extLst>
              </p:cNvPr>
              <p:cNvSpPr/>
              <p:nvPr/>
            </p:nvSpPr>
            <p:spPr>
              <a:xfrm>
                <a:off x="6901773" y="1892639"/>
                <a:ext cx="17702" cy="14712"/>
              </a:xfrm>
              <a:custGeom>
                <a:avLst/>
                <a:gdLst>
                  <a:gd name="connsiteX0" fmla="*/ 17703 w 17702"/>
                  <a:gd name="connsiteY0" fmla="*/ 1615 h 14712"/>
                  <a:gd name="connsiteX1" fmla="*/ 16985 w 17702"/>
                  <a:gd name="connsiteY1" fmla="*/ 1376 h 14712"/>
                  <a:gd name="connsiteX2" fmla="*/ 16447 w 17702"/>
                  <a:gd name="connsiteY2" fmla="*/ 1196 h 14712"/>
                  <a:gd name="connsiteX3" fmla="*/ 15968 w 17702"/>
                  <a:gd name="connsiteY3" fmla="*/ 1017 h 14712"/>
                  <a:gd name="connsiteX4" fmla="*/ 15669 w 17702"/>
                  <a:gd name="connsiteY4" fmla="*/ 957 h 14712"/>
                  <a:gd name="connsiteX5" fmla="*/ 14952 w 17702"/>
                  <a:gd name="connsiteY5" fmla="*/ 718 h 14712"/>
                  <a:gd name="connsiteX6" fmla="*/ 14593 w 17702"/>
                  <a:gd name="connsiteY6" fmla="*/ 598 h 14712"/>
                  <a:gd name="connsiteX7" fmla="*/ 12739 w 17702"/>
                  <a:gd name="connsiteY7" fmla="*/ 0 h 14712"/>
                  <a:gd name="connsiteX8" fmla="*/ 12679 w 17702"/>
                  <a:gd name="connsiteY8" fmla="*/ 0 h 14712"/>
                  <a:gd name="connsiteX9" fmla="*/ 9808 w 17702"/>
                  <a:gd name="connsiteY9" fmla="*/ 3289 h 14712"/>
                  <a:gd name="connsiteX10" fmla="*/ 8552 w 17702"/>
                  <a:gd name="connsiteY10" fmla="*/ 4785 h 14712"/>
                  <a:gd name="connsiteX11" fmla="*/ 8134 w 17702"/>
                  <a:gd name="connsiteY11" fmla="*/ 5263 h 14712"/>
                  <a:gd name="connsiteX12" fmla="*/ 6279 w 17702"/>
                  <a:gd name="connsiteY12" fmla="*/ 7416 h 14712"/>
                  <a:gd name="connsiteX13" fmla="*/ 6100 w 17702"/>
                  <a:gd name="connsiteY13" fmla="*/ 7655 h 14712"/>
                  <a:gd name="connsiteX14" fmla="*/ 5024 w 17702"/>
                  <a:gd name="connsiteY14" fmla="*/ 8911 h 14712"/>
                  <a:gd name="connsiteX15" fmla="*/ 4964 w 17702"/>
                  <a:gd name="connsiteY15" fmla="*/ 8971 h 14712"/>
                  <a:gd name="connsiteX16" fmla="*/ 4904 w 17702"/>
                  <a:gd name="connsiteY16" fmla="*/ 9031 h 14712"/>
                  <a:gd name="connsiteX17" fmla="*/ 4784 w 17702"/>
                  <a:gd name="connsiteY17" fmla="*/ 9150 h 14712"/>
                  <a:gd name="connsiteX18" fmla="*/ 4605 w 17702"/>
                  <a:gd name="connsiteY18" fmla="*/ 9390 h 14712"/>
                  <a:gd name="connsiteX19" fmla="*/ 3708 w 17702"/>
                  <a:gd name="connsiteY19" fmla="*/ 10466 h 14712"/>
                  <a:gd name="connsiteX20" fmla="*/ 3648 w 17702"/>
                  <a:gd name="connsiteY20" fmla="*/ 10526 h 14712"/>
                  <a:gd name="connsiteX21" fmla="*/ 3169 w 17702"/>
                  <a:gd name="connsiteY21" fmla="*/ 11064 h 14712"/>
                  <a:gd name="connsiteX22" fmla="*/ 2930 w 17702"/>
                  <a:gd name="connsiteY22" fmla="*/ 11304 h 14712"/>
                  <a:gd name="connsiteX23" fmla="*/ 2691 w 17702"/>
                  <a:gd name="connsiteY23" fmla="*/ 11603 h 14712"/>
                  <a:gd name="connsiteX24" fmla="*/ 2332 w 17702"/>
                  <a:gd name="connsiteY24" fmla="*/ 12021 h 14712"/>
                  <a:gd name="connsiteX25" fmla="*/ 1794 w 17702"/>
                  <a:gd name="connsiteY25" fmla="*/ 12619 h 14712"/>
                  <a:gd name="connsiteX26" fmla="*/ 0 w 17702"/>
                  <a:gd name="connsiteY26" fmla="*/ 14713 h 1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702" h="14712">
                    <a:moveTo>
                      <a:pt x="17703" y="1615"/>
                    </a:moveTo>
                    <a:lnTo>
                      <a:pt x="16985" y="1376"/>
                    </a:lnTo>
                    <a:lnTo>
                      <a:pt x="16447" y="1196"/>
                    </a:lnTo>
                    <a:lnTo>
                      <a:pt x="15968" y="1017"/>
                    </a:lnTo>
                    <a:lnTo>
                      <a:pt x="15669" y="957"/>
                    </a:lnTo>
                    <a:lnTo>
                      <a:pt x="14952" y="718"/>
                    </a:lnTo>
                    <a:lnTo>
                      <a:pt x="14593" y="598"/>
                    </a:lnTo>
                    <a:lnTo>
                      <a:pt x="12739" y="0"/>
                    </a:lnTo>
                    <a:lnTo>
                      <a:pt x="12679" y="0"/>
                    </a:lnTo>
                    <a:lnTo>
                      <a:pt x="9808" y="3289"/>
                    </a:lnTo>
                    <a:lnTo>
                      <a:pt x="8552" y="4785"/>
                    </a:lnTo>
                    <a:lnTo>
                      <a:pt x="8134" y="5263"/>
                    </a:lnTo>
                    <a:lnTo>
                      <a:pt x="6279" y="7416"/>
                    </a:lnTo>
                    <a:lnTo>
                      <a:pt x="6100" y="7655"/>
                    </a:lnTo>
                    <a:lnTo>
                      <a:pt x="5024" y="8911"/>
                    </a:lnTo>
                    <a:lnTo>
                      <a:pt x="4964" y="8971"/>
                    </a:lnTo>
                    <a:lnTo>
                      <a:pt x="4904" y="9031"/>
                    </a:lnTo>
                    <a:lnTo>
                      <a:pt x="4784" y="9150"/>
                    </a:lnTo>
                    <a:lnTo>
                      <a:pt x="4605" y="9390"/>
                    </a:lnTo>
                    <a:lnTo>
                      <a:pt x="3708" y="10466"/>
                    </a:lnTo>
                    <a:lnTo>
                      <a:pt x="3648" y="10526"/>
                    </a:lnTo>
                    <a:lnTo>
                      <a:pt x="3169" y="11064"/>
                    </a:lnTo>
                    <a:lnTo>
                      <a:pt x="2930" y="11304"/>
                    </a:lnTo>
                    <a:lnTo>
                      <a:pt x="2691" y="11603"/>
                    </a:lnTo>
                    <a:lnTo>
                      <a:pt x="2332" y="12021"/>
                    </a:lnTo>
                    <a:lnTo>
                      <a:pt x="1794" y="12619"/>
                    </a:lnTo>
                    <a:lnTo>
                      <a:pt x="0" y="14713"/>
                    </a:lnTo>
                  </a:path>
                </a:pathLst>
              </a:custGeom>
              <a:noFill/>
              <a:ln w="6350" cap="rnd">
                <a:solidFill>
                  <a:schemeClr val="bg1">
                    <a:alpha val="80000"/>
                  </a:schemeClr>
                </a:solidFill>
                <a:prstDash val="solid"/>
                <a:round/>
              </a:ln>
            </p:spPr>
            <p:txBody>
              <a:bodyPr rtlCol="0" anchor="ctr"/>
              <a:lstStyle/>
              <a:p>
                <a:endParaRPr lang="en-GB"/>
              </a:p>
            </p:txBody>
          </p:sp>
          <p:sp>
            <p:nvSpPr>
              <p:cNvPr id="6599" name="Vrije vorm: vorm 6598">
                <a:extLst>
                  <a:ext uri="{FF2B5EF4-FFF2-40B4-BE49-F238E27FC236}">
                    <a16:creationId xmlns:a16="http://schemas.microsoft.com/office/drawing/2014/main" id="{F043AF15-B538-4F56-B5D0-50CB184B63AC}"/>
                  </a:ext>
                </a:extLst>
              </p:cNvPr>
              <p:cNvSpPr/>
              <p:nvPr/>
            </p:nvSpPr>
            <p:spPr>
              <a:xfrm>
                <a:off x="7078025" y="1806039"/>
                <a:ext cx="26853" cy="14293"/>
              </a:xfrm>
              <a:custGeom>
                <a:avLst/>
                <a:gdLst>
                  <a:gd name="connsiteX0" fmla="*/ 0 w 26853"/>
                  <a:gd name="connsiteY0" fmla="*/ 5622 h 14293"/>
                  <a:gd name="connsiteX1" fmla="*/ 1375 w 26853"/>
                  <a:gd name="connsiteY1" fmla="*/ 3230 h 14293"/>
                  <a:gd name="connsiteX2" fmla="*/ 1435 w 26853"/>
                  <a:gd name="connsiteY2" fmla="*/ 3110 h 14293"/>
                  <a:gd name="connsiteX3" fmla="*/ 1495 w 26853"/>
                  <a:gd name="connsiteY3" fmla="*/ 2990 h 14293"/>
                  <a:gd name="connsiteX4" fmla="*/ 1615 w 26853"/>
                  <a:gd name="connsiteY4" fmla="*/ 2751 h 14293"/>
                  <a:gd name="connsiteX5" fmla="*/ 2333 w 26853"/>
                  <a:gd name="connsiteY5" fmla="*/ 1555 h 14293"/>
                  <a:gd name="connsiteX6" fmla="*/ 2333 w 26853"/>
                  <a:gd name="connsiteY6" fmla="*/ 1555 h 14293"/>
                  <a:gd name="connsiteX7" fmla="*/ 2452 w 26853"/>
                  <a:gd name="connsiteY7" fmla="*/ 1316 h 14293"/>
                  <a:gd name="connsiteX8" fmla="*/ 2691 w 26853"/>
                  <a:gd name="connsiteY8" fmla="*/ 957 h 14293"/>
                  <a:gd name="connsiteX9" fmla="*/ 2751 w 26853"/>
                  <a:gd name="connsiteY9" fmla="*/ 837 h 14293"/>
                  <a:gd name="connsiteX10" fmla="*/ 2871 w 26853"/>
                  <a:gd name="connsiteY10" fmla="*/ 598 h 14293"/>
                  <a:gd name="connsiteX11" fmla="*/ 3050 w 26853"/>
                  <a:gd name="connsiteY11" fmla="*/ 538 h 14293"/>
                  <a:gd name="connsiteX12" fmla="*/ 3110 w 26853"/>
                  <a:gd name="connsiteY12" fmla="*/ 538 h 14293"/>
                  <a:gd name="connsiteX13" fmla="*/ 3708 w 26853"/>
                  <a:gd name="connsiteY13" fmla="*/ 359 h 14293"/>
                  <a:gd name="connsiteX14" fmla="*/ 3708 w 26853"/>
                  <a:gd name="connsiteY14" fmla="*/ 359 h 14293"/>
                  <a:gd name="connsiteX15" fmla="*/ 3708 w 26853"/>
                  <a:gd name="connsiteY15" fmla="*/ 359 h 14293"/>
                  <a:gd name="connsiteX16" fmla="*/ 3768 w 26853"/>
                  <a:gd name="connsiteY16" fmla="*/ 359 h 14293"/>
                  <a:gd name="connsiteX17" fmla="*/ 5203 w 26853"/>
                  <a:gd name="connsiteY17" fmla="*/ 0 h 14293"/>
                  <a:gd name="connsiteX18" fmla="*/ 5263 w 26853"/>
                  <a:gd name="connsiteY18" fmla="*/ 60 h 14293"/>
                  <a:gd name="connsiteX19" fmla="*/ 5263 w 26853"/>
                  <a:gd name="connsiteY19" fmla="*/ 60 h 14293"/>
                  <a:gd name="connsiteX20" fmla="*/ 5383 w 26853"/>
                  <a:gd name="connsiteY20" fmla="*/ 120 h 14293"/>
                  <a:gd name="connsiteX21" fmla="*/ 5443 w 26853"/>
                  <a:gd name="connsiteY21" fmla="*/ 179 h 14293"/>
                  <a:gd name="connsiteX22" fmla="*/ 5681 w 26853"/>
                  <a:gd name="connsiteY22" fmla="*/ 299 h 14293"/>
                  <a:gd name="connsiteX23" fmla="*/ 5981 w 26853"/>
                  <a:gd name="connsiteY23" fmla="*/ 478 h 14293"/>
                  <a:gd name="connsiteX24" fmla="*/ 6997 w 26853"/>
                  <a:gd name="connsiteY24" fmla="*/ 1076 h 14293"/>
                  <a:gd name="connsiteX25" fmla="*/ 13815 w 26853"/>
                  <a:gd name="connsiteY25" fmla="*/ 4964 h 14293"/>
                  <a:gd name="connsiteX26" fmla="*/ 14055 w 26853"/>
                  <a:gd name="connsiteY26" fmla="*/ 5084 h 14293"/>
                  <a:gd name="connsiteX27" fmla="*/ 15490 w 26853"/>
                  <a:gd name="connsiteY27" fmla="*/ 5921 h 14293"/>
                  <a:gd name="connsiteX28" fmla="*/ 15490 w 26853"/>
                  <a:gd name="connsiteY28" fmla="*/ 5921 h 14293"/>
                  <a:gd name="connsiteX29" fmla="*/ 18360 w 26853"/>
                  <a:gd name="connsiteY29" fmla="*/ 7536 h 14293"/>
                  <a:gd name="connsiteX30" fmla="*/ 26255 w 26853"/>
                  <a:gd name="connsiteY30" fmla="*/ 12021 h 14293"/>
                  <a:gd name="connsiteX31" fmla="*/ 26674 w 26853"/>
                  <a:gd name="connsiteY31" fmla="*/ 13576 h 14293"/>
                  <a:gd name="connsiteX32" fmla="*/ 26853 w 26853"/>
                  <a:gd name="connsiteY32" fmla="*/ 14294 h 1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6853" h="14293">
                    <a:moveTo>
                      <a:pt x="0" y="5622"/>
                    </a:moveTo>
                    <a:lnTo>
                      <a:pt x="1375" y="3230"/>
                    </a:lnTo>
                    <a:lnTo>
                      <a:pt x="1435" y="3110"/>
                    </a:lnTo>
                    <a:lnTo>
                      <a:pt x="1495" y="2990"/>
                    </a:lnTo>
                    <a:lnTo>
                      <a:pt x="1615" y="2751"/>
                    </a:lnTo>
                    <a:lnTo>
                      <a:pt x="2333" y="1555"/>
                    </a:lnTo>
                    <a:lnTo>
                      <a:pt x="2333" y="1555"/>
                    </a:lnTo>
                    <a:lnTo>
                      <a:pt x="2452" y="1316"/>
                    </a:lnTo>
                    <a:lnTo>
                      <a:pt x="2691" y="957"/>
                    </a:lnTo>
                    <a:lnTo>
                      <a:pt x="2751" y="837"/>
                    </a:lnTo>
                    <a:lnTo>
                      <a:pt x="2871" y="598"/>
                    </a:lnTo>
                    <a:lnTo>
                      <a:pt x="3050" y="538"/>
                    </a:lnTo>
                    <a:lnTo>
                      <a:pt x="3110" y="538"/>
                    </a:lnTo>
                    <a:lnTo>
                      <a:pt x="3708" y="359"/>
                    </a:lnTo>
                    <a:lnTo>
                      <a:pt x="3708" y="359"/>
                    </a:lnTo>
                    <a:lnTo>
                      <a:pt x="3708" y="359"/>
                    </a:lnTo>
                    <a:lnTo>
                      <a:pt x="3768" y="359"/>
                    </a:lnTo>
                    <a:lnTo>
                      <a:pt x="5203" y="0"/>
                    </a:lnTo>
                    <a:lnTo>
                      <a:pt x="5263" y="60"/>
                    </a:lnTo>
                    <a:lnTo>
                      <a:pt x="5263" y="60"/>
                    </a:lnTo>
                    <a:lnTo>
                      <a:pt x="5383" y="120"/>
                    </a:lnTo>
                    <a:lnTo>
                      <a:pt x="5443" y="179"/>
                    </a:lnTo>
                    <a:lnTo>
                      <a:pt x="5681" y="299"/>
                    </a:lnTo>
                    <a:lnTo>
                      <a:pt x="5981" y="478"/>
                    </a:lnTo>
                    <a:lnTo>
                      <a:pt x="6997" y="1076"/>
                    </a:lnTo>
                    <a:lnTo>
                      <a:pt x="13815" y="4964"/>
                    </a:lnTo>
                    <a:lnTo>
                      <a:pt x="14055" y="5084"/>
                    </a:lnTo>
                    <a:lnTo>
                      <a:pt x="15490" y="5921"/>
                    </a:lnTo>
                    <a:lnTo>
                      <a:pt x="15490" y="5921"/>
                    </a:lnTo>
                    <a:lnTo>
                      <a:pt x="18360" y="7536"/>
                    </a:lnTo>
                    <a:lnTo>
                      <a:pt x="26255" y="12021"/>
                    </a:lnTo>
                    <a:lnTo>
                      <a:pt x="26674" y="13576"/>
                    </a:lnTo>
                    <a:lnTo>
                      <a:pt x="26853" y="14294"/>
                    </a:lnTo>
                  </a:path>
                </a:pathLst>
              </a:custGeom>
              <a:noFill/>
              <a:ln w="6350" cap="rnd">
                <a:solidFill>
                  <a:schemeClr val="bg1">
                    <a:alpha val="80000"/>
                  </a:schemeClr>
                </a:solidFill>
                <a:prstDash val="solid"/>
                <a:round/>
              </a:ln>
            </p:spPr>
            <p:txBody>
              <a:bodyPr rtlCol="0" anchor="ctr"/>
              <a:lstStyle/>
              <a:p>
                <a:endParaRPr lang="en-GB"/>
              </a:p>
            </p:txBody>
          </p:sp>
          <p:sp>
            <p:nvSpPr>
              <p:cNvPr id="6600" name="Vrije vorm: vorm 6599">
                <a:extLst>
                  <a:ext uri="{FF2B5EF4-FFF2-40B4-BE49-F238E27FC236}">
                    <a16:creationId xmlns:a16="http://schemas.microsoft.com/office/drawing/2014/main" id="{6CA36A34-4C44-462F-9C8C-5B0EDC4734F5}"/>
                  </a:ext>
                </a:extLst>
              </p:cNvPr>
              <p:cNvSpPr/>
              <p:nvPr/>
            </p:nvSpPr>
            <p:spPr>
              <a:xfrm>
                <a:off x="6703392" y="1886719"/>
                <a:ext cx="18659" cy="15968"/>
              </a:xfrm>
              <a:custGeom>
                <a:avLst/>
                <a:gdLst>
                  <a:gd name="connsiteX0" fmla="*/ 18660 w 18659"/>
                  <a:gd name="connsiteY0" fmla="*/ 15370 h 15968"/>
                  <a:gd name="connsiteX1" fmla="*/ 17344 w 18659"/>
                  <a:gd name="connsiteY1" fmla="*/ 15969 h 15968"/>
                  <a:gd name="connsiteX2" fmla="*/ 17165 w 18659"/>
                  <a:gd name="connsiteY2" fmla="*/ 15909 h 15968"/>
                  <a:gd name="connsiteX3" fmla="*/ 16088 w 18659"/>
                  <a:gd name="connsiteY3" fmla="*/ 15490 h 15968"/>
                  <a:gd name="connsiteX4" fmla="*/ 11842 w 18659"/>
                  <a:gd name="connsiteY4" fmla="*/ 13935 h 15968"/>
                  <a:gd name="connsiteX5" fmla="*/ 9868 w 18659"/>
                  <a:gd name="connsiteY5" fmla="*/ 12380 h 15968"/>
                  <a:gd name="connsiteX6" fmla="*/ 9629 w 18659"/>
                  <a:gd name="connsiteY6" fmla="*/ 12201 h 15968"/>
                  <a:gd name="connsiteX7" fmla="*/ 7296 w 18659"/>
                  <a:gd name="connsiteY7" fmla="*/ 10406 h 15968"/>
                  <a:gd name="connsiteX8" fmla="*/ 8074 w 18659"/>
                  <a:gd name="connsiteY8" fmla="*/ 9150 h 15968"/>
                  <a:gd name="connsiteX9" fmla="*/ 7954 w 18659"/>
                  <a:gd name="connsiteY9" fmla="*/ 9091 h 15968"/>
                  <a:gd name="connsiteX10" fmla="*/ 6459 w 18659"/>
                  <a:gd name="connsiteY10" fmla="*/ 8194 h 15968"/>
                  <a:gd name="connsiteX11" fmla="*/ 2811 w 18659"/>
                  <a:gd name="connsiteY11" fmla="*/ 5981 h 15968"/>
                  <a:gd name="connsiteX12" fmla="*/ 1435 w 18659"/>
                  <a:gd name="connsiteY12" fmla="*/ 4964 h 15968"/>
                  <a:gd name="connsiteX13" fmla="*/ 0 w 18659"/>
                  <a:gd name="connsiteY13" fmla="*/ 3887 h 15968"/>
                  <a:gd name="connsiteX14" fmla="*/ 299 w 18659"/>
                  <a:gd name="connsiteY14" fmla="*/ 3409 h 15968"/>
                  <a:gd name="connsiteX15" fmla="*/ 419 w 18659"/>
                  <a:gd name="connsiteY15" fmla="*/ 3170 h 15968"/>
                  <a:gd name="connsiteX16" fmla="*/ 2093 w 18659"/>
                  <a:gd name="connsiteY16" fmla="*/ 359 h 15968"/>
                  <a:gd name="connsiteX17" fmla="*/ 2632 w 18659"/>
                  <a:gd name="connsiteY17" fmla="*/ 0 h 15968"/>
                  <a:gd name="connsiteX18" fmla="*/ 3289 w 18659"/>
                  <a:gd name="connsiteY18" fmla="*/ 299 h 15968"/>
                  <a:gd name="connsiteX19" fmla="*/ 4067 w 18659"/>
                  <a:gd name="connsiteY19" fmla="*/ 658 h 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659" h="15968">
                    <a:moveTo>
                      <a:pt x="18660" y="15370"/>
                    </a:moveTo>
                    <a:lnTo>
                      <a:pt x="17344" y="15969"/>
                    </a:lnTo>
                    <a:lnTo>
                      <a:pt x="17165" y="15909"/>
                    </a:lnTo>
                    <a:lnTo>
                      <a:pt x="16088" y="15490"/>
                    </a:lnTo>
                    <a:lnTo>
                      <a:pt x="11842" y="13935"/>
                    </a:lnTo>
                    <a:lnTo>
                      <a:pt x="9868" y="12380"/>
                    </a:lnTo>
                    <a:lnTo>
                      <a:pt x="9629" y="12201"/>
                    </a:lnTo>
                    <a:lnTo>
                      <a:pt x="7296" y="10406"/>
                    </a:lnTo>
                    <a:lnTo>
                      <a:pt x="8074" y="9150"/>
                    </a:lnTo>
                    <a:lnTo>
                      <a:pt x="7954" y="9091"/>
                    </a:lnTo>
                    <a:lnTo>
                      <a:pt x="6459" y="8194"/>
                    </a:lnTo>
                    <a:lnTo>
                      <a:pt x="2811" y="5981"/>
                    </a:lnTo>
                    <a:lnTo>
                      <a:pt x="1435" y="4964"/>
                    </a:lnTo>
                    <a:lnTo>
                      <a:pt x="0" y="3887"/>
                    </a:lnTo>
                    <a:lnTo>
                      <a:pt x="299" y="3409"/>
                    </a:lnTo>
                    <a:lnTo>
                      <a:pt x="419" y="3170"/>
                    </a:lnTo>
                    <a:lnTo>
                      <a:pt x="2093" y="359"/>
                    </a:lnTo>
                    <a:lnTo>
                      <a:pt x="2632" y="0"/>
                    </a:lnTo>
                    <a:lnTo>
                      <a:pt x="3289" y="299"/>
                    </a:lnTo>
                    <a:lnTo>
                      <a:pt x="4067" y="658"/>
                    </a:lnTo>
                  </a:path>
                </a:pathLst>
              </a:custGeom>
              <a:noFill/>
              <a:ln w="6350" cap="rnd">
                <a:solidFill>
                  <a:schemeClr val="bg1">
                    <a:alpha val="80000"/>
                  </a:schemeClr>
                </a:solidFill>
                <a:prstDash val="solid"/>
                <a:round/>
              </a:ln>
            </p:spPr>
            <p:txBody>
              <a:bodyPr rtlCol="0" anchor="ctr"/>
              <a:lstStyle/>
              <a:p>
                <a:endParaRPr lang="en-GB"/>
              </a:p>
            </p:txBody>
          </p:sp>
          <p:sp>
            <p:nvSpPr>
              <p:cNvPr id="6601" name="Vrije vorm: vorm 6600">
                <a:extLst>
                  <a:ext uri="{FF2B5EF4-FFF2-40B4-BE49-F238E27FC236}">
                    <a16:creationId xmlns:a16="http://schemas.microsoft.com/office/drawing/2014/main" id="{C3290432-0240-433E-924A-B11BE5B9F793}"/>
                  </a:ext>
                </a:extLst>
              </p:cNvPr>
              <p:cNvSpPr/>
              <p:nvPr/>
            </p:nvSpPr>
            <p:spPr>
              <a:xfrm>
                <a:off x="6613442" y="1929421"/>
                <a:ext cx="5562" cy="2751"/>
              </a:xfrm>
              <a:custGeom>
                <a:avLst/>
                <a:gdLst>
                  <a:gd name="connsiteX0" fmla="*/ 0 w 5562"/>
                  <a:gd name="connsiteY0" fmla="*/ 2751 h 2751"/>
                  <a:gd name="connsiteX1" fmla="*/ 598 w 5562"/>
                  <a:gd name="connsiteY1" fmla="*/ 2452 h 2751"/>
                  <a:gd name="connsiteX2" fmla="*/ 5562 w 5562"/>
                  <a:gd name="connsiteY2" fmla="*/ 0 h 2751"/>
                </a:gdLst>
                <a:ahLst/>
                <a:cxnLst>
                  <a:cxn ang="0">
                    <a:pos x="connsiteX0" y="connsiteY0"/>
                  </a:cxn>
                  <a:cxn ang="0">
                    <a:pos x="connsiteX1" y="connsiteY1"/>
                  </a:cxn>
                  <a:cxn ang="0">
                    <a:pos x="connsiteX2" y="connsiteY2"/>
                  </a:cxn>
                </a:cxnLst>
                <a:rect l="l" t="t" r="r" b="b"/>
                <a:pathLst>
                  <a:path w="5562" h="2751">
                    <a:moveTo>
                      <a:pt x="0" y="2751"/>
                    </a:moveTo>
                    <a:lnTo>
                      <a:pt x="598" y="2452"/>
                    </a:lnTo>
                    <a:lnTo>
                      <a:pt x="5562" y="0"/>
                    </a:lnTo>
                  </a:path>
                </a:pathLst>
              </a:custGeom>
              <a:noFill/>
              <a:ln w="6350" cap="rnd">
                <a:solidFill>
                  <a:schemeClr val="bg1">
                    <a:alpha val="80000"/>
                  </a:schemeClr>
                </a:solidFill>
                <a:prstDash val="solid"/>
                <a:round/>
              </a:ln>
            </p:spPr>
            <p:txBody>
              <a:bodyPr rtlCol="0" anchor="ctr"/>
              <a:lstStyle/>
              <a:p>
                <a:endParaRPr lang="en-GB"/>
              </a:p>
            </p:txBody>
          </p:sp>
          <p:sp>
            <p:nvSpPr>
              <p:cNvPr id="6602" name="Vrije vorm: vorm 6601">
                <a:extLst>
                  <a:ext uri="{FF2B5EF4-FFF2-40B4-BE49-F238E27FC236}">
                    <a16:creationId xmlns:a16="http://schemas.microsoft.com/office/drawing/2014/main" id="{A4B7FDEC-B708-4434-9045-C0FA4C04EE51}"/>
                  </a:ext>
                </a:extLst>
              </p:cNvPr>
              <p:cNvSpPr/>
              <p:nvPr/>
            </p:nvSpPr>
            <p:spPr>
              <a:xfrm>
                <a:off x="6815591" y="1752212"/>
                <a:ext cx="6578" cy="10406"/>
              </a:xfrm>
              <a:custGeom>
                <a:avLst/>
                <a:gdLst>
                  <a:gd name="connsiteX0" fmla="*/ 478 w 6578"/>
                  <a:gd name="connsiteY0" fmla="*/ 10406 h 10406"/>
                  <a:gd name="connsiteX1" fmla="*/ 60 w 6578"/>
                  <a:gd name="connsiteY1" fmla="*/ 8971 h 10406"/>
                  <a:gd name="connsiteX2" fmla="*/ 0 w 6578"/>
                  <a:gd name="connsiteY2" fmla="*/ 8672 h 10406"/>
                  <a:gd name="connsiteX3" fmla="*/ 2392 w 6578"/>
                  <a:gd name="connsiteY3" fmla="*/ 4545 h 10406"/>
                  <a:gd name="connsiteX4" fmla="*/ 4844 w 6578"/>
                  <a:gd name="connsiteY4" fmla="*/ 419 h 10406"/>
                  <a:gd name="connsiteX5" fmla="*/ 5143 w 6578"/>
                  <a:gd name="connsiteY5" fmla="*/ 359 h 10406"/>
                  <a:gd name="connsiteX6" fmla="*/ 6579 w 6578"/>
                  <a:gd name="connsiteY6" fmla="*/ 0 h 1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 h="10406">
                    <a:moveTo>
                      <a:pt x="478" y="10406"/>
                    </a:moveTo>
                    <a:lnTo>
                      <a:pt x="60" y="8971"/>
                    </a:lnTo>
                    <a:lnTo>
                      <a:pt x="0" y="8672"/>
                    </a:lnTo>
                    <a:lnTo>
                      <a:pt x="2392" y="4545"/>
                    </a:lnTo>
                    <a:lnTo>
                      <a:pt x="4844" y="419"/>
                    </a:lnTo>
                    <a:lnTo>
                      <a:pt x="5143" y="359"/>
                    </a:lnTo>
                    <a:lnTo>
                      <a:pt x="6579" y="0"/>
                    </a:lnTo>
                  </a:path>
                </a:pathLst>
              </a:custGeom>
              <a:noFill/>
              <a:ln w="6350" cap="rnd">
                <a:solidFill>
                  <a:schemeClr val="bg1">
                    <a:alpha val="80000"/>
                  </a:schemeClr>
                </a:solidFill>
                <a:prstDash val="solid"/>
                <a:round/>
              </a:ln>
            </p:spPr>
            <p:txBody>
              <a:bodyPr rtlCol="0" anchor="ctr"/>
              <a:lstStyle/>
              <a:p>
                <a:endParaRPr lang="en-GB"/>
              </a:p>
            </p:txBody>
          </p:sp>
          <p:sp>
            <p:nvSpPr>
              <p:cNvPr id="6603" name="Vrije vorm: vorm 6602">
                <a:extLst>
                  <a:ext uri="{FF2B5EF4-FFF2-40B4-BE49-F238E27FC236}">
                    <a16:creationId xmlns:a16="http://schemas.microsoft.com/office/drawing/2014/main" id="{E76925E7-2D08-4F91-9509-BD6F1DC4458B}"/>
                  </a:ext>
                </a:extLst>
              </p:cNvPr>
              <p:cNvSpPr/>
              <p:nvPr/>
            </p:nvSpPr>
            <p:spPr>
              <a:xfrm>
                <a:off x="7024856" y="1786242"/>
                <a:ext cx="9868" cy="17523"/>
              </a:xfrm>
              <a:custGeom>
                <a:avLst/>
                <a:gdLst>
                  <a:gd name="connsiteX0" fmla="*/ 0 w 9868"/>
                  <a:gd name="connsiteY0" fmla="*/ 17523 h 17523"/>
                  <a:gd name="connsiteX1" fmla="*/ 180 w 9868"/>
                  <a:gd name="connsiteY1" fmla="*/ 15610 h 17523"/>
                  <a:gd name="connsiteX2" fmla="*/ 478 w 9868"/>
                  <a:gd name="connsiteY2" fmla="*/ 12141 h 17523"/>
                  <a:gd name="connsiteX3" fmla="*/ 1795 w 9868"/>
                  <a:gd name="connsiteY3" fmla="*/ 9150 h 17523"/>
                  <a:gd name="connsiteX4" fmla="*/ 3708 w 9868"/>
                  <a:gd name="connsiteY4" fmla="*/ 4725 h 17523"/>
                  <a:gd name="connsiteX5" fmla="*/ 5622 w 9868"/>
                  <a:gd name="connsiteY5" fmla="*/ 2632 h 17523"/>
                  <a:gd name="connsiteX6" fmla="*/ 6938 w 9868"/>
                  <a:gd name="connsiteY6" fmla="*/ 1136 h 17523"/>
                  <a:gd name="connsiteX7" fmla="*/ 7954 w 9868"/>
                  <a:gd name="connsiteY7" fmla="*/ 0 h 17523"/>
                  <a:gd name="connsiteX8" fmla="*/ 9868 w 9868"/>
                  <a:gd name="connsiteY8" fmla="*/ 419 h 1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8" h="17523">
                    <a:moveTo>
                      <a:pt x="0" y="17523"/>
                    </a:moveTo>
                    <a:lnTo>
                      <a:pt x="180" y="15610"/>
                    </a:lnTo>
                    <a:lnTo>
                      <a:pt x="478" y="12141"/>
                    </a:lnTo>
                    <a:lnTo>
                      <a:pt x="1795" y="9150"/>
                    </a:lnTo>
                    <a:lnTo>
                      <a:pt x="3708" y="4725"/>
                    </a:lnTo>
                    <a:lnTo>
                      <a:pt x="5622" y="2632"/>
                    </a:lnTo>
                    <a:lnTo>
                      <a:pt x="6938" y="1136"/>
                    </a:lnTo>
                    <a:lnTo>
                      <a:pt x="7954" y="0"/>
                    </a:lnTo>
                    <a:lnTo>
                      <a:pt x="9868" y="419"/>
                    </a:lnTo>
                  </a:path>
                </a:pathLst>
              </a:custGeom>
              <a:noFill/>
              <a:ln w="6350" cap="rnd">
                <a:solidFill>
                  <a:schemeClr val="bg1">
                    <a:alpha val="80000"/>
                  </a:schemeClr>
                </a:solidFill>
                <a:prstDash val="solid"/>
                <a:round/>
              </a:ln>
            </p:spPr>
            <p:txBody>
              <a:bodyPr rtlCol="0" anchor="ctr"/>
              <a:lstStyle/>
              <a:p>
                <a:endParaRPr lang="en-GB"/>
              </a:p>
            </p:txBody>
          </p:sp>
          <p:sp>
            <p:nvSpPr>
              <p:cNvPr id="6604" name="Vrije vorm: vorm 6603">
                <a:extLst>
                  <a:ext uri="{FF2B5EF4-FFF2-40B4-BE49-F238E27FC236}">
                    <a16:creationId xmlns:a16="http://schemas.microsoft.com/office/drawing/2014/main" id="{4A1858EC-4209-4C50-A768-8161B82FD525}"/>
                  </a:ext>
                </a:extLst>
              </p:cNvPr>
              <p:cNvSpPr/>
              <p:nvPr/>
            </p:nvSpPr>
            <p:spPr>
              <a:xfrm>
                <a:off x="7072402" y="1859745"/>
                <a:ext cx="10287" cy="37259"/>
              </a:xfrm>
              <a:custGeom>
                <a:avLst/>
                <a:gdLst>
                  <a:gd name="connsiteX0" fmla="*/ 0 w 10287"/>
                  <a:gd name="connsiteY0" fmla="*/ 0 h 37259"/>
                  <a:gd name="connsiteX1" fmla="*/ 4187 w 10287"/>
                  <a:gd name="connsiteY1" fmla="*/ 2990 h 37259"/>
                  <a:gd name="connsiteX2" fmla="*/ 9868 w 10287"/>
                  <a:gd name="connsiteY2" fmla="*/ 8612 h 37259"/>
                  <a:gd name="connsiteX3" fmla="*/ 10108 w 10287"/>
                  <a:gd name="connsiteY3" fmla="*/ 9150 h 37259"/>
                  <a:gd name="connsiteX4" fmla="*/ 10228 w 10287"/>
                  <a:gd name="connsiteY4" fmla="*/ 9390 h 37259"/>
                  <a:gd name="connsiteX5" fmla="*/ 10287 w 10287"/>
                  <a:gd name="connsiteY5" fmla="*/ 9689 h 37259"/>
                  <a:gd name="connsiteX6" fmla="*/ 10228 w 10287"/>
                  <a:gd name="connsiteY6" fmla="*/ 10586 h 37259"/>
                  <a:gd name="connsiteX7" fmla="*/ 10228 w 10287"/>
                  <a:gd name="connsiteY7" fmla="*/ 10765 h 37259"/>
                  <a:gd name="connsiteX8" fmla="*/ 10228 w 10287"/>
                  <a:gd name="connsiteY8" fmla="*/ 11005 h 37259"/>
                  <a:gd name="connsiteX9" fmla="*/ 10228 w 10287"/>
                  <a:gd name="connsiteY9" fmla="*/ 11184 h 37259"/>
                  <a:gd name="connsiteX10" fmla="*/ 10228 w 10287"/>
                  <a:gd name="connsiteY10" fmla="*/ 11603 h 37259"/>
                  <a:gd name="connsiteX11" fmla="*/ 10228 w 10287"/>
                  <a:gd name="connsiteY11" fmla="*/ 11782 h 37259"/>
                  <a:gd name="connsiteX12" fmla="*/ 10228 w 10287"/>
                  <a:gd name="connsiteY12" fmla="*/ 12021 h 37259"/>
                  <a:gd name="connsiteX13" fmla="*/ 10228 w 10287"/>
                  <a:gd name="connsiteY13" fmla="*/ 12201 h 37259"/>
                  <a:gd name="connsiteX14" fmla="*/ 10168 w 10287"/>
                  <a:gd name="connsiteY14" fmla="*/ 14174 h 37259"/>
                  <a:gd name="connsiteX15" fmla="*/ 10108 w 10287"/>
                  <a:gd name="connsiteY15" fmla="*/ 15131 h 37259"/>
                  <a:gd name="connsiteX16" fmla="*/ 9988 w 10287"/>
                  <a:gd name="connsiteY16" fmla="*/ 18122 h 37259"/>
                  <a:gd name="connsiteX17" fmla="*/ 9928 w 10287"/>
                  <a:gd name="connsiteY17" fmla="*/ 18899 h 37259"/>
                  <a:gd name="connsiteX18" fmla="*/ 9749 w 10287"/>
                  <a:gd name="connsiteY18" fmla="*/ 19856 h 37259"/>
                  <a:gd name="connsiteX19" fmla="*/ 9629 w 10287"/>
                  <a:gd name="connsiteY19" fmla="*/ 20454 h 37259"/>
                  <a:gd name="connsiteX20" fmla="*/ 9629 w 10287"/>
                  <a:gd name="connsiteY20" fmla="*/ 20454 h 37259"/>
                  <a:gd name="connsiteX21" fmla="*/ 9570 w 10287"/>
                  <a:gd name="connsiteY21" fmla="*/ 20693 h 37259"/>
                  <a:gd name="connsiteX22" fmla="*/ 9570 w 10287"/>
                  <a:gd name="connsiteY22" fmla="*/ 20693 h 37259"/>
                  <a:gd name="connsiteX23" fmla="*/ 9570 w 10287"/>
                  <a:gd name="connsiteY23" fmla="*/ 20813 h 37259"/>
                  <a:gd name="connsiteX24" fmla="*/ 9570 w 10287"/>
                  <a:gd name="connsiteY24" fmla="*/ 20813 h 37259"/>
                  <a:gd name="connsiteX25" fmla="*/ 9390 w 10287"/>
                  <a:gd name="connsiteY25" fmla="*/ 21590 h 37259"/>
                  <a:gd name="connsiteX26" fmla="*/ 8134 w 10287"/>
                  <a:gd name="connsiteY26" fmla="*/ 27810 h 37259"/>
                  <a:gd name="connsiteX27" fmla="*/ 6758 w 10287"/>
                  <a:gd name="connsiteY27" fmla="*/ 31997 h 37259"/>
                  <a:gd name="connsiteX28" fmla="*/ 6460 w 10287"/>
                  <a:gd name="connsiteY28" fmla="*/ 32834 h 37259"/>
                  <a:gd name="connsiteX29" fmla="*/ 5323 w 10287"/>
                  <a:gd name="connsiteY29" fmla="*/ 36243 h 37259"/>
                  <a:gd name="connsiteX30" fmla="*/ 5742 w 10287"/>
                  <a:gd name="connsiteY30" fmla="*/ 37260 h 37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287" h="37259">
                    <a:moveTo>
                      <a:pt x="0" y="0"/>
                    </a:moveTo>
                    <a:lnTo>
                      <a:pt x="4187" y="2990"/>
                    </a:lnTo>
                    <a:lnTo>
                      <a:pt x="9868" y="8612"/>
                    </a:lnTo>
                    <a:lnTo>
                      <a:pt x="10108" y="9150"/>
                    </a:lnTo>
                    <a:lnTo>
                      <a:pt x="10228" y="9390"/>
                    </a:lnTo>
                    <a:lnTo>
                      <a:pt x="10287" y="9689"/>
                    </a:lnTo>
                    <a:lnTo>
                      <a:pt x="10228" y="10586"/>
                    </a:lnTo>
                    <a:lnTo>
                      <a:pt x="10228" y="10765"/>
                    </a:lnTo>
                    <a:lnTo>
                      <a:pt x="10228" y="11005"/>
                    </a:lnTo>
                    <a:lnTo>
                      <a:pt x="10228" y="11184"/>
                    </a:lnTo>
                    <a:lnTo>
                      <a:pt x="10228" y="11603"/>
                    </a:lnTo>
                    <a:lnTo>
                      <a:pt x="10228" y="11782"/>
                    </a:lnTo>
                    <a:lnTo>
                      <a:pt x="10228" y="12021"/>
                    </a:lnTo>
                    <a:lnTo>
                      <a:pt x="10228" y="12201"/>
                    </a:lnTo>
                    <a:lnTo>
                      <a:pt x="10168" y="14174"/>
                    </a:lnTo>
                    <a:lnTo>
                      <a:pt x="10108" y="15131"/>
                    </a:lnTo>
                    <a:lnTo>
                      <a:pt x="9988" y="18122"/>
                    </a:lnTo>
                    <a:lnTo>
                      <a:pt x="9928" y="18899"/>
                    </a:lnTo>
                    <a:lnTo>
                      <a:pt x="9749" y="19856"/>
                    </a:lnTo>
                    <a:lnTo>
                      <a:pt x="9629" y="20454"/>
                    </a:lnTo>
                    <a:lnTo>
                      <a:pt x="9629" y="20454"/>
                    </a:lnTo>
                    <a:lnTo>
                      <a:pt x="9570" y="20693"/>
                    </a:lnTo>
                    <a:lnTo>
                      <a:pt x="9570" y="20693"/>
                    </a:lnTo>
                    <a:lnTo>
                      <a:pt x="9570" y="20813"/>
                    </a:lnTo>
                    <a:lnTo>
                      <a:pt x="9570" y="20813"/>
                    </a:lnTo>
                    <a:lnTo>
                      <a:pt x="9390" y="21590"/>
                    </a:lnTo>
                    <a:lnTo>
                      <a:pt x="8134" y="27810"/>
                    </a:lnTo>
                    <a:lnTo>
                      <a:pt x="6758" y="31997"/>
                    </a:lnTo>
                    <a:lnTo>
                      <a:pt x="6460" y="32834"/>
                    </a:lnTo>
                    <a:lnTo>
                      <a:pt x="5323" y="36243"/>
                    </a:lnTo>
                    <a:lnTo>
                      <a:pt x="5742" y="37260"/>
                    </a:lnTo>
                  </a:path>
                </a:pathLst>
              </a:custGeom>
              <a:noFill/>
              <a:ln w="6350" cap="rnd">
                <a:solidFill>
                  <a:schemeClr val="bg1">
                    <a:alpha val="80000"/>
                  </a:schemeClr>
                </a:solidFill>
                <a:prstDash val="solid"/>
                <a:round/>
              </a:ln>
            </p:spPr>
            <p:txBody>
              <a:bodyPr rtlCol="0" anchor="ctr"/>
              <a:lstStyle/>
              <a:p>
                <a:endParaRPr lang="en-GB"/>
              </a:p>
            </p:txBody>
          </p:sp>
          <p:sp>
            <p:nvSpPr>
              <p:cNvPr id="6605" name="Vrije vorm: vorm 6604">
                <a:extLst>
                  <a:ext uri="{FF2B5EF4-FFF2-40B4-BE49-F238E27FC236}">
                    <a16:creationId xmlns:a16="http://schemas.microsoft.com/office/drawing/2014/main" id="{C03F9147-0F60-410F-9397-1C8DF1A6EC2E}"/>
                  </a:ext>
                </a:extLst>
              </p:cNvPr>
              <p:cNvSpPr/>
              <p:nvPr/>
            </p:nvSpPr>
            <p:spPr>
              <a:xfrm>
                <a:off x="6592689" y="1892400"/>
                <a:ext cx="22547" cy="52809"/>
              </a:xfrm>
              <a:custGeom>
                <a:avLst/>
                <a:gdLst>
                  <a:gd name="connsiteX0" fmla="*/ 22547 w 22547"/>
                  <a:gd name="connsiteY0" fmla="*/ 51135 h 52809"/>
                  <a:gd name="connsiteX1" fmla="*/ 19976 w 22547"/>
                  <a:gd name="connsiteY1" fmla="*/ 52511 h 52809"/>
                  <a:gd name="connsiteX2" fmla="*/ 19976 w 22547"/>
                  <a:gd name="connsiteY2" fmla="*/ 52511 h 52809"/>
                  <a:gd name="connsiteX3" fmla="*/ 19736 w 22547"/>
                  <a:gd name="connsiteY3" fmla="*/ 52630 h 52809"/>
                  <a:gd name="connsiteX4" fmla="*/ 19377 w 22547"/>
                  <a:gd name="connsiteY4" fmla="*/ 52810 h 52809"/>
                  <a:gd name="connsiteX5" fmla="*/ 19377 w 22547"/>
                  <a:gd name="connsiteY5" fmla="*/ 52810 h 52809"/>
                  <a:gd name="connsiteX6" fmla="*/ 17763 w 22547"/>
                  <a:gd name="connsiteY6" fmla="*/ 52152 h 52809"/>
                  <a:gd name="connsiteX7" fmla="*/ 12679 w 22547"/>
                  <a:gd name="connsiteY7" fmla="*/ 43599 h 52809"/>
                  <a:gd name="connsiteX8" fmla="*/ 9270 w 22547"/>
                  <a:gd name="connsiteY8" fmla="*/ 36662 h 52809"/>
                  <a:gd name="connsiteX9" fmla="*/ 8373 w 22547"/>
                  <a:gd name="connsiteY9" fmla="*/ 34808 h 52809"/>
                  <a:gd name="connsiteX10" fmla="*/ 6997 w 22547"/>
                  <a:gd name="connsiteY10" fmla="*/ 31937 h 52809"/>
                  <a:gd name="connsiteX11" fmla="*/ 5562 w 22547"/>
                  <a:gd name="connsiteY11" fmla="*/ 28109 h 52809"/>
                  <a:gd name="connsiteX12" fmla="*/ 4067 w 22547"/>
                  <a:gd name="connsiteY12" fmla="*/ 24042 h 52809"/>
                  <a:gd name="connsiteX13" fmla="*/ 3229 w 22547"/>
                  <a:gd name="connsiteY13" fmla="*/ 21351 h 52809"/>
                  <a:gd name="connsiteX14" fmla="*/ 1375 w 22547"/>
                  <a:gd name="connsiteY14" fmla="*/ 15669 h 52809"/>
                  <a:gd name="connsiteX15" fmla="*/ 0 w 22547"/>
                  <a:gd name="connsiteY15" fmla="*/ 10048 h 52809"/>
                  <a:gd name="connsiteX16" fmla="*/ 658 w 22547"/>
                  <a:gd name="connsiteY16" fmla="*/ 5323 h 52809"/>
                  <a:gd name="connsiteX17" fmla="*/ 7356 w 22547"/>
                  <a:gd name="connsiteY17" fmla="*/ 0 h 5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547" h="52809">
                    <a:moveTo>
                      <a:pt x="22547" y="51135"/>
                    </a:moveTo>
                    <a:lnTo>
                      <a:pt x="19976" y="52511"/>
                    </a:lnTo>
                    <a:lnTo>
                      <a:pt x="19976" y="52511"/>
                    </a:lnTo>
                    <a:lnTo>
                      <a:pt x="19736" y="52630"/>
                    </a:lnTo>
                    <a:lnTo>
                      <a:pt x="19377" y="52810"/>
                    </a:lnTo>
                    <a:lnTo>
                      <a:pt x="19377" y="52810"/>
                    </a:lnTo>
                    <a:lnTo>
                      <a:pt x="17763" y="52152"/>
                    </a:lnTo>
                    <a:lnTo>
                      <a:pt x="12679" y="43599"/>
                    </a:lnTo>
                    <a:lnTo>
                      <a:pt x="9270" y="36662"/>
                    </a:lnTo>
                    <a:lnTo>
                      <a:pt x="8373" y="34808"/>
                    </a:lnTo>
                    <a:lnTo>
                      <a:pt x="6997" y="31937"/>
                    </a:lnTo>
                    <a:lnTo>
                      <a:pt x="5562" y="28109"/>
                    </a:lnTo>
                    <a:lnTo>
                      <a:pt x="4067" y="24042"/>
                    </a:lnTo>
                    <a:lnTo>
                      <a:pt x="3229" y="21351"/>
                    </a:lnTo>
                    <a:lnTo>
                      <a:pt x="1375" y="15669"/>
                    </a:lnTo>
                    <a:lnTo>
                      <a:pt x="0" y="10048"/>
                    </a:lnTo>
                    <a:lnTo>
                      <a:pt x="658" y="5323"/>
                    </a:lnTo>
                    <a:lnTo>
                      <a:pt x="7356" y="0"/>
                    </a:lnTo>
                  </a:path>
                </a:pathLst>
              </a:custGeom>
              <a:noFill/>
              <a:ln w="6350" cap="rnd">
                <a:solidFill>
                  <a:schemeClr val="bg1">
                    <a:alpha val="80000"/>
                  </a:schemeClr>
                </a:solidFill>
                <a:prstDash val="solid"/>
                <a:round/>
              </a:ln>
            </p:spPr>
            <p:txBody>
              <a:bodyPr rtlCol="0" anchor="ctr"/>
              <a:lstStyle/>
              <a:p>
                <a:endParaRPr lang="en-GB"/>
              </a:p>
            </p:txBody>
          </p:sp>
          <p:sp>
            <p:nvSpPr>
              <p:cNvPr id="6606" name="Vrije vorm: vorm 6605">
                <a:extLst>
                  <a:ext uri="{FF2B5EF4-FFF2-40B4-BE49-F238E27FC236}">
                    <a16:creationId xmlns:a16="http://schemas.microsoft.com/office/drawing/2014/main" id="{E58376C1-754C-459F-A318-71B524EADE29}"/>
                  </a:ext>
                </a:extLst>
              </p:cNvPr>
              <p:cNvSpPr/>
              <p:nvPr/>
            </p:nvSpPr>
            <p:spPr>
              <a:xfrm>
                <a:off x="6978505" y="2112850"/>
                <a:ext cx="26973" cy="19138"/>
              </a:xfrm>
              <a:custGeom>
                <a:avLst/>
                <a:gdLst>
                  <a:gd name="connsiteX0" fmla="*/ 26196 w 26973"/>
                  <a:gd name="connsiteY0" fmla="*/ 0 h 19138"/>
                  <a:gd name="connsiteX1" fmla="*/ 26973 w 26973"/>
                  <a:gd name="connsiteY1" fmla="*/ 478 h 19138"/>
                  <a:gd name="connsiteX2" fmla="*/ 25777 w 26973"/>
                  <a:gd name="connsiteY2" fmla="*/ 5024 h 19138"/>
                  <a:gd name="connsiteX3" fmla="*/ 25358 w 26973"/>
                  <a:gd name="connsiteY3" fmla="*/ 6698 h 19138"/>
                  <a:gd name="connsiteX4" fmla="*/ 24401 w 26973"/>
                  <a:gd name="connsiteY4" fmla="*/ 8014 h 19138"/>
                  <a:gd name="connsiteX5" fmla="*/ 22727 w 26973"/>
                  <a:gd name="connsiteY5" fmla="*/ 10466 h 19138"/>
                  <a:gd name="connsiteX6" fmla="*/ 20514 w 26973"/>
                  <a:gd name="connsiteY6" fmla="*/ 13636 h 19138"/>
                  <a:gd name="connsiteX7" fmla="*/ 16686 w 26973"/>
                  <a:gd name="connsiteY7" fmla="*/ 19138 h 19138"/>
                  <a:gd name="connsiteX8" fmla="*/ 13935 w 26973"/>
                  <a:gd name="connsiteY8" fmla="*/ 19138 h 19138"/>
                  <a:gd name="connsiteX9" fmla="*/ 8014 w 26973"/>
                  <a:gd name="connsiteY9" fmla="*/ 18959 h 19138"/>
                  <a:gd name="connsiteX10" fmla="*/ 1316 w 26973"/>
                  <a:gd name="connsiteY10" fmla="*/ 17464 h 19138"/>
                  <a:gd name="connsiteX11" fmla="*/ 0 w 26973"/>
                  <a:gd name="connsiteY11" fmla="*/ 16626 h 1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973" h="19138">
                    <a:moveTo>
                      <a:pt x="26196" y="0"/>
                    </a:moveTo>
                    <a:lnTo>
                      <a:pt x="26973" y="478"/>
                    </a:lnTo>
                    <a:lnTo>
                      <a:pt x="25777" y="5024"/>
                    </a:lnTo>
                    <a:lnTo>
                      <a:pt x="25358" y="6698"/>
                    </a:lnTo>
                    <a:lnTo>
                      <a:pt x="24401" y="8014"/>
                    </a:lnTo>
                    <a:lnTo>
                      <a:pt x="22727" y="10466"/>
                    </a:lnTo>
                    <a:lnTo>
                      <a:pt x="20514" y="13636"/>
                    </a:lnTo>
                    <a:lnTo>
                      <a:pt x="16686" y="19138"/>
                    </a:lnTo>
                    <a:lnTo>
                      <a:pt x="13935" y="19138"/>
                    </a:lnTo>
                    <a:lnTo>
                      <a:pt x="8014" y="18959"/>
                    </a:lnTo>
                    <a:lnTo>
                      <a:pt x="1316" y="17464"/>
                    </a:lnTo>
                    <a:lnTo>
                      <a:pt x="0" y="16626"/>
                    </a:lnTo>
                  </a:path>
                </a:pathLst>
              </a:custGeom>
              <a:noFill/>
              <a:ln w="6350" cap="rnd">
                <a:solidFill>
                  <a:schemeClr val="bg1">
                    <a:alpha val="80000"/>
                  </a:schemeClr>
                </a:solidFill>
                <a:prstDash val="solid"/>
                <a:round/>
              </a:ln>
            </p:spPr>
            <p:txBody>
              <a:bodyPr rtlCol="0" anchor="ctr"/>
              <a:lstStyle/>
              <a:p>
                <a:endParaRPr lang="en-GB"/>
              </a:p>
            </p:txBody>
          </p:sp>
          <p:sp>
            <p:nvSpPr>
              <p:cNvPr id="6607" name="Vrije vorm: vorm 6606">
                <a:extLst>
                  <a:ext uri="{FF2B5EF4-FFF2-40B4-BE49-F238E27FC236}">
                    <a16:creationId xmlns:a16="http://schemas.microsoft.com/office/drawing/2014/main" id="{DC0DDC15-12F6-4E20-883F-F374E7CA4D73}"/>
                  </a:ext>
                </a:extLst>
              </p:cNvPr>
              <p:cNvSpPr/>
              <p:nvPr/>
            </p:nvSpPr>
            <p:spPr>
              <a:xfrm>
                <a:off x="6844357" y="1787797"/>
                <a:ext cx="12560" cy="20633"/>
              </a:xfrm>
              <a:custGeom>
                <a:avLst/>
                <a:gdLst>
                  <a:gd name="connsiteX0" fmla="*/ 12560 w 12560"/>
                  <a:gd name="connsiteY0" fmla="*/ 0 h 20633"/>
                  <a:gd name="connsiteX1" fmla="*/ 5862 w 12560"/>
                  <a:gd name="connsiteY1" fmla="*/ 10526 h 20633"/>
                  <a:gd name="connsiteX2" fmla="*/ 5443 w 12560"/>
                  <a:gd name="connsiteY2" fmla="*/ 11184 h 20633"/>
                  <a:gd name="connsiteX3" fmla="*/ 5443 w 12560"/>
                  <a:gd name="connsiteY3" fmla="*/ 11244 h 20633"/>
                  <a:gd name="connsiteX4" fmla="*/ 5443 w 12560"/>
                  <a:gd name="connsiteY4" fmla="*/ 11244 h 20633"/>
                  <a:gd name="connsiteX5" fmla="*/ 0 w 12560"/>
                  <a:gd name="connsiteY5" fmla="*/ 20633 h 2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0" h="20633">
                    <a:moveTo>
                      <a:pt x="12560" y="0"/>
                    </a:moveTo>
                    <a:lnTo>
                      <a:pt x="5862" y="10526"/>
                    </a:lnTo>
                    <a:lnTo>
                      <a:pt x="5443" y="11184"/>
                    </a:lnTo>
                    <a:lnTo>
                      <a:pt x="5443" y="11244"/>
                    </a:lnTo>
                    <a:lnTo>
                      <a:pt x="5443" y="11244"/>
                    </a:lnTo>
                    <a:lnTo>
                      <a:pt x="0" y="20633"/>
                    </a:lnTo>
                  </a:path>
                </a:pathLst>
              </a:custGeom>
              <a:noFill/>
              <a:ln w="6350" cap="rnd">
                <a:solidFill>
                  <a:schemeClr val="bg1">
                    <a:alpha val="80000"/>
                  </a:schemeClr>
                </a:solidFill>
                <a:prstDash val="solid"/>
                <a:round/>
              </a:ln>
            </p:spPr>
            <p:txBody>
              <a:bodyPr rtlCol="0" anchor="ctr"/>
              <a:lstStyle/>
              <a:p>
                <a:endParaRPr lang="en-GB"/>
              </a:p>
            </p:txBody>
          </p:sp>
          <p:sp>
            <p:nvSpPr>
              <p:cNvPr id="6608" name="Vrije vorm: vorm 6607">
                <a:extLst>
                  <a:ext uri="{FF2B5EF4-FFF2-40B4-BE49-F238E27FC236}">
                    <a16:creationId xmlns:a16="http://schemas.microsoft.com/office/drawing/2014/main" id="{C31C624B-E4A9-4A1C-855D-C28016D99D30}"/>
                  </a:ext>
                </a:extLst>
              </p:cNvPr>
              <p:cNvSpPr/>
              <p:nvPr/>
            </p:nvSpPr>
            <p:spPr>
              <a:xfrm>
                <a:off x="6851176" y="1796051"/>
                <a:ext cx="9688" cy="13277"/>
              </a:xfrm>
              <a:custGeom>
                <a:avLst/>
                <a:gdLst>
                  <a:gd name="connsiteX0" fmla="*/ 0 w 9688"/>
                  <a:gd name="connsiteY0" fmla="*/ 13277 h 13277"/>
                  <a:gd name="connsiteX1" fmla="*/ 120 w 9688"/>
                  <a:gd name="connsiteY1" fmla="*/ 13098 h 13277"/>
                  <a:gd name="connsiteX2" fmla="*/ 2034 w 9688"/>
                  <a:gd name="connsiteY2" fmla="*/ 9450 h 13277"/>
                  <a:gd name="connsiteX3" fmla="*/ 2273 w 9688"/>
                  <a:gd name="connsiteY3" fmla="*/ 8971 h 13277"/>
                  <a:gd name="connsiteX4" fmla="*/ 3409 w 9688"/>
                  <a:gd name="connsiteY4" fmla="*/ 6758 h 13277"/>
                  <a:gd name="connsiteX5" fmla="*/ 4426 w 9688"/>
                  <a:gd name="connsiteY5" fmla="*/ 4785 h 13277"/>
                  <a:gd name="connsiteX6" fmla="*/ 4426 w 9688"/>
                  <a:gd name="connsiteY6" fmla="*/ 4785 h 13277"/>
                  <a:gd name="connsiteX7" fmla="*/ 5443 w 9688"/>
                  <a:gd name="connsiteY7" fmla="*/ 2871 h 13277"/>
                  <a:gd name="connsiteX8" fmla="*/ 5981 w 9688"/>
                  <a:gd name="connsiteY8" fmla="*/ 1794 h 13277"/>
                  <a:gd name="connsiteX9" fmla="*/ 5981 w 9688"/>
                  <a:gd name="connsiteY9" fmla="*/ 1794 h 13277"/>
                  <a:gd name="connsiteX10" fmla="*/ 5981 w 9688"/>
                  <a:gd name="connsiteY10" fmla="*/ 1794 h 13277"/>
                  <a:gd name="connsiteX11" fmla="*/ 6878 w 9688"/>
                  <a:gd name="connsiteY11" fmla="*/ 0 h 13277"/>
                  <a:gd name="connsiteX12" fmla="*/ 7237 w 9688"/>
                  <a:gd name="connsiteY12" fmla="*/ 60 h 13277"/>
                  <a:gd name="connsiteX13" fmla="*/ 7476 w 9688"/>
                  <a:gd name="connsiteY13" fmla="*/ 60 h 13277"/>
                  <a:gd name="connsiteX14" fmla="*/ 8851 w 9688"/>
                  <a:gd name="connsiteY14" fmla="*/ 179 h 13277"/>
                  <a:gd name="connsiteX15" fmla="*/ 9689 w 9688"/>
                  <a:gd name="connsiteY15" fmla="*/ 239 h 1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88" h="13277">
                    <a:moveTo>
                      <a:pt x="0" y="13277"/>
                    </a:moveTo>
                    <a:lnTo>
                      <a:pt x="120" y="13098"/>
                    </a:lnTo>
                    <a:lnTo>
                      <a:pt x="2034" y="9450"/>
                    </a:lnTo>
                    <a:lnTo>
                      <a:pt x="2273" y="8971"/>
                    </a:lnTo>
                    <a:lnTo>
                      <a:pt x="3409" y="6758"/>
                    </a:lnTo>
                    <a:lnTo>
                      <a:pt x="4426" y="4785"/>
                    </a:lnTo>
                    <a:lnTo>
                      <a:pt x="4426" y="4785"/>
                    </a:lnTo>
                    <a:lnTo>
                      <a:pt x="5443" y="2871"/>
                    </a:lnTo>
                    <a:lnTo>
                      <a:pt x="5981" y="1794"/>
                    </a:lnTo>
                    <a:lnTo>
                      <a:pt x="5981" y="1794"/>
                    </a:lnTo>
                    <a:lnTo>
                      <a:pt x="5981" y="1794"/>
                    </a:lnTo>
                    <a:lnTo>
                      <a:pt x="6878" y="0"/>
                    </a:lnTo>
                    <a:lnTo>
                      <a:pt x="7237" y="60"/>
                    </a:lnTo>
                    <a:lnTo>
                      <a:pt x="7476" y="60"/>
                    </a:lnTo>
                    <a:lnTo>
                      <a:pt x="8851" y="179"/>
                    </a:lnTo>
                    <a:lnTo>
                      <a:pt x="9689" y="239"/>
                    </a:lnTo>
                  </a:path>
                </a:pathLst>
              </a:custGeom>
              <a:noFill/>
              <a:ln w="6350" cap="rnd">
                <a:solidFill>
                  <a:schemeClr val="bg1">
                    <a:alpha val="80000"/>
                  </a:schemeClr>
                </a:solidFill>
                <a:prstDash val="solid"/>
                <a:round/>
              </a:ln>
            </p:spPr>
            <p:txBody>
              <a:bodyPr rtlCol="0" anchor="ctr"/>
              <a:lstStyle/>
              <a:p>
                <a:endParaRPr lang="en-GB"/>
              </a:p>
            </p:txBody>
          </p:sp>
          <p:sp>
            <p:nvSpPr>
              <p:cNvPr id="6609" name="Vrije vorm: vorm 6608">
                <a:extLst>
                  <a:ext uri="{FF2B5EF4-FFF2-40B4-BE49-F238E27FC236}">
                    <a16:creationId xmlns:a16="http://schemas.microsoft.com/office/drawing/2014/main" id="{D1ADDE0C-0A0E-4DC0-A22D-A56D5ECCE0AE}"/>
                  </a:ext>
                </a:extLst>
              </p:cNvPr>
              <p:cNvSpPr/>
              <p:nvPr/>
            </p:nvSpPr>
            <p:spPr>
              <a:xfrm>
                <a:off x="6968577" y="1840188"/>
                <a:ext cx="777" cy="956"/>
              </a:xfrm>
              <a:custGeom>
                <a:avLst/>
                <a:gdLst>
                  <a:gd name="connsiteX0" fmla="*/ 0 w 777"/>
                  <a:gd name="connsiteY0" fmla="*/ 299 h 956"/>
                  <a:gd name="connsiteX1" fmla="*/ 0 w 777"/>
                  <a:gd name="connsiteY1" fmla="*/ 120 h 956"/>
                  <a:gd name="connsiteX2" fmla="*/ 0 w 777"/>
                  <a:gd name="connsiteY2" fmla="*/ 120 h 956"/>
                  <a:gd name="connsiteX3" fmla="*/ 60 w 777"/>
                  <a:gd name="connsiteY3" fmla="*/ 120 h 956"/>
                  <a:gd name="connsiteX4" fmla="*/ 419 w 777"/>
                  <a:gd name="connsiteY4" fmla="*/ 60 h 956"/>
                  <a:gd name="connsiteX5" fmla="*/ 658 w 777"/>
                  <a:gd name="connsiteY5" fmla="*/ 0 h 956"/>
                  <a:gd name="connsiteX6" fmla="*/ 718 w 777"/>
                  <a:gd name="connsiteY6" fmla="*/ 239 h 956"/>
                  <a:gd name="connsiteX7" fmla="*/ 778 w 777"/>
                  <a:gd name="connsiteY7" fmla="*/ 538 h 956"/>
                  <a:gd name="connsiteX8" fmla="*/ 778 w 777"/>
                  <a:gd name="connsiteY8" fmla="*/ 538 h 956"/>
                  <a:gd name="connsiteX9" fmla="*/ 778 w 777"/>
                  <a:gd name="connsiteY9" fmla="*/ 718 h 956"/>
                  <a:gd name="connsiteX10" fmla="*/ 778 w 777"/>
                  <a:gd name="connsiteY10" fmla="*/ 957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 h="956">
                    <a:moveTo>
                      <a:pt x="0" y="299"/>
                    </a:moveTo>
                    <a:lnTo>
                      <a:pt x="0" y="120"/>
                    </a:lnTo>
                    <a:lnTo>
                      <a:pt x="0" y="120"/>
                    </a:lnTo>
                    <a:lnTo>
                      <a:pt x="60" y="120"/>
                    </a:lnTo>
                    <a:lnTo>
                      <a:pt x="419" y="60"/>
                    </a:lnTo>
                    <a:lnTo>
                      <a:pt x="658" y="0"/>
                    </a:lnTo>
                    <a:lnTo>
                      <a:pt x="718" y="239"/>
                    </a:lnTo>
                    <a:lnTo>
                      <a:pt x="778" y="538"/>
                    </a:lnTo>
                    <a:lnTo>
                      <a:pt x="778" y="538"/>
                    </a:lnTo>
                    <a:lnTo>
                      <a:pt x="778" y="718"/>
                    </a:lnTo>
                    <a:lnTo>
                      <a:pt x="778" y="957"/>
                    </a:lnTo>
                  </a:path>
                </a:pathLst>
              </a:custGeom>
              <a:noFill/>
              <a:ln w="6350" cap="rnd">
                <a:solidFill>
                  <a:schemeClr val="bg1">
                    <a:alpha val="80000"/>
                  </a:schemeClr>
                </a:solidFill>
                <a:prstDash val="solid"/>
                <a:round/>
              </a:ln>
            </p:spPr>
            <p:txBody>
              <a:bodyPr rtlCol="0" anchor="ctr"/>
              <a:lstStyle/>
              <a:p>
                <a:endParaRPr lang="en-GB"/>
              </a:p>
            </p:txBody>
          </p:sp>
          <p:sp>
            <p:nvSpPr>
              <p:cNvPr id="6610" name="Vrije vorm: vorm 6609">
                <a:extLst>
                  <a:ext uri="{FF2B5EF4-FFF2-40B4-BE49-F238E27FC236}">
                    <a16:creationId xmlns:a16="http://schemas.microsoft.com/office/drawing/2014/main" id="{6269F8F7-50DB-4083-91FD-1E7467CBCEEB}"/>
                  </a:ext>
                </a:extLst>
              </p:cNvPr>
              <p:cNvSpPr/>
              <p:nvPr/>
            </p:nvSpPr>
            <p:spPr>
              <a:xfrm>
                <a:off x="6771513" y="1975173"/>
                <a:ext cx="5502" cy="9688"/>
              </a:xfrm>
              <a:custGeom>
                <a:avLst/>
                <a:gdLst>
                  <a:gd name="connsiteX0" fmla="*/ 0 w 5502"/>
                  <a:gd name="connsiteY0" fmla="*/ 0 h 9688"/>
                  <a:gd name="connsiteX1" fmla="*/ 1674 w 5502"/>
                  <a:gd name="connsiteY1" fmla="*/ 1076 h 9688"/>
                  <a:gd name="connsiteX2" fmla="*/ 3708 w 5502"/>
                  <a:gd name="connsiteY2" fmla="*/ 2452 h 9688"/>
                  <a:gd name="connsiteX3" fmla="*/ 4844 w 5502"/>
                  <a:gd name="connsiteY3" fmla="*/ 3230 h 9688"/>
                  <a:gd name="connsiteX4" fmla="*/ 5502 w 5502"/>
                  <a:gd name="connsiteY4" fmla="*/ 3648 h 9688"/>
                  <a:gd name="connsiteX5" fmla="*/ 5382 w 5502"/>
                  <a:gd name="connsiteY5" fmla="*/ 5622 h 9688"/>
                  <a:gd name="connsiteX6" fmla="*/ 5323 w 5502"/>
                  <a:gd name="connsiteY6" fmla="*/ 6639 h 9688"/>
                  <a:gd name="connsiteX7" fmla="*/ 4665 w 5502"/>
                  <a:gd name="connsiteY7" fmla="*/ 7356 h 9688"/>
                  <a:gd name="connsiteX8" fmla="*/ 3349 w 5502"/>
                  <a:gd name="connsiteY8" fmla="*/ 8792 h 9688"/>
                  <a:gd name="connsiteX9" fmla="*/ 3289 w 5502"/>
                  <a:gd name="connsiteY9" fmla="*/ 8851 h 9688"/>
                  <a:gd name="connsiteX10" fmla="*/ 2512 w 5502"/>
                  <a:gd name="connsiteY10" fmla="*/ 9689 h 9688"/>
                  <a:gd name="connsiteX11" fmla="*/ 1914 w 5502"/>
                  <a:gd name="connsiteY11" fmla="*/ 9330 h 9688"/>
                  <a:gd name="connsiteX12" fmla="*/ 1435 w 5502"/>
                  <a:gd name="connsiteY12" fmla="*/ 9031 h 9688"/>
                  <a:gd name="connsiteX13" fmla="*/ 419 w 5502"/>
                  <a:gd name="connsiteY13" fmla="*/ 8313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2" h="9688">
                    <a:moveTo>
                      <a:pt x="0" y="0"/>
                    </a:moveTo>
                    <a:lnTo>
                      <a:pt x="1674" y="1076"/>
                    </a:lnTo>
                    <a:lnTo>
                      <a:pt x="3708" y="2452"/>
                    </a:lnTo>
                    <a:lnTo>
                      <a:pt x="4844" y="3230"/>
                    </a:lnTo>
                    <a:lnTo>
                      <a:pt x="5502" y="3648"/>
                    </a:lnTo>
                    <a:lnTo>
                      <a:pt x="5382" y="5622"/>
                    </a:lnTo>
                    <a:lnTo>
                      <a:pt x="5323" y="6639"/>
                    </a:lnTo>
                    <a:lnTo>
                      <a:pt x="4665" y="7356"/>
                    </a:lnTo>
                    <a:lnTo>
                      <a:pt x="3349" y="8792"/>
                    </a:lnTo>
                    <a:lnTo>
                      <a:pt x="3289" y="8851"/>
                    </a:lnTo>
                    <a:lnTo>
                      <a:pt x="2512" y="9689"/>
                    </a:lnTo>
                    <a:lnTo>
                      <a:pt x="1914" y="9330"/>
                    </a:lnTo>
                    <a:lnTo>
                      <a:pt x="1435" y="9031"/>
                    </a:lnTo>
                    <a:lnTo>
                      <a:pt x="419" y="8313"/>
                    </a:lnTo>
                  </a:path>
                </a:pathLst>
              </a:custGeom>
              <a:noFill/>
              <a:ln w="6350" cap="rnd">
                <a:solidFill>
                  <a:schemeClr val="bg1">
                    <a:alpha val="80000"/>
                  </a:schemeClr>
                </a:solidFill>
                <a:prstDash val="solid"/>
                <a:round/>
              </a:ln>
            </p:spPr>
            <p:txBody>
              <a:bodyPr rtlCol="0" anchor="ctr"/>
              <a:lstStyle/>
              <a:p>
                <a:endParaRPr lang="en-GB"/>
              </a:p>
            </p:txBody>
          </p:sp>
          <p:sp>
            <p:nvSpPr>
              <p:cNvPr id="6611" name="Vrije vorm: vorm 6610">
                <a:extLst>
                  <a:ext uri="{FF2B5EF4-FFF2-40B4-BE49-F238E27FC236}">
                    <a16:creationId xmlns:a16="http://schemas.microsoft.com/office/drawing/2014/main" id="{C981B862-1A69-49D4-96DC-FCC6958F2ECB}"/>
                  </a:ext>
                </a:extLst>
              </p:cNvPr>
              <p:cNvSpPr/>
              <p:nvPr/>
            </p:nvSpPr>
            <p:spPr>
              <a:xfrm>
                <a:off x="7070309" y="1807713"/>
                <a:ext cx="13217" cy="8911"/>
              </a:xfrm>
              <a:custGeom>
                <a:avLst/>
                <a:gdLst>
                  <a:gd name="connsiteX0" fmla="*/ 0 w 13217"/>
                  <a:gd name="connsiteY0" fmla="*/ 0 h 8911"/>
                  <a:gd name="connsiteX1" fmla="*/ 299 w 13217"/>
                  <a:gd name="connsiteY1" fmla="*/ 120 h 8911"/>
                  <a:gd name="connsiteX2" fmla="*/ 897 w 13217"/>
                  <a:gd name="connsiteY2" fmla="*/ 419 h 8911"/>
                  <a:gd name="connsiteX3" fmla="*/ 1256 w 13217"/>
                  <a:gd name="connsiteY3" fmla="*/ 598 h 8911"/>
                  <a:gd name="connsiteX4" fmla="*/ 2033 w 13217"/>
                  <a:gd name="connsiteY4" fmla="*/ 1017 h 8911"/>
                  <a:gd name="connsiteX5" fmla="*/ 2811 w 13217"/>
                  <a:gd name="connsiteY5" fmla="*/ 1376 h 8911"/>
                  <a:gd name="connsiteX6" fmla="*/ 3050 w 13217"/>
                  <a:gd name="connsiteY6" fmla="*/ 1495 h 8911"/>
                  <a:gd name="connsiteX7" fmla="*/ 3469 w 13217"/>
                  <a:gd name="connsiteY7" fmla="*/ 1675 h 8911"/>
                  <a:gd name="connsiteX8" fmla="*/ 3708 w 13217"/>
                  <a:gd name="connsiteY8" fmla="*/ 1794 h 8911"/>
                  <a:gd name="connsiteX9" fmla="*/ 3888 w 13217"/>
                  <a:gd name="connsiteY9" fmla="*/ 1854 h 8911"/>
                  <a:gd name="connsiteX10" fmla="*/ 5383 w 13217"/>
                  <a:gd name="connsiteY10" fmla="*/ 2512 h 8911"/>
                  <a:gd name="connsiteX11" fmla="*/ 7775 w 13217"/>
                  <a:gd name="connsiteY11" fmla="*/ 3887 h 8911"/>
                  <a:gd name="connsiteX12" fmla="*/ 8971 w 13217"/>
                  <a:gd name="connsiteY12" fmla="*/ 4545 h 8911"/>
                  <a:gd name="connsiteX13" fmla="*/ 9091 w 13217"/>
                  <a:gd name="connsiteY13" fmla="*/ 4605 h 8911"/>
                  <a:gd name="connsiteX14" fmla="*/ 9928 w 13217"/>
                  <a:gd name="connsiteY14" fmla="*/ 5024 h 8911"/>
                  <a:gd name="connsiteX15" fmla="*/ 9988 w 13217"/>
                  <a:gd name="connsiteY15" fmla="*/ 5024 h 8911"/>
                  <a:gd name="connsiteX16" fmla="*/ 9988 w 13217"/>
                  <a:gd name="connsiteY16" fmla="*/ 5024 h 8911"/>
                  <a:gd name="connsiteX17" fmla="*/ 10825 w 13217"/>
                  <a:gd name="connsiteY17" fmla="*/ 5442 h 8911"/>
                  <a:gd name="connsiteX18" fmla="*/ 11004 w 13217"/>
                  <a:gd name="connsiteY18" fmla="*/ 5562 h 8911"/>
                  <a:gd name="connsiteX19" fmla="*/ 11184 w 13217"/>
                  <a:gd name="connsiteY19" fmla="*/ 5622 h 8911"/>
                  <a:gd name="connsiteX20" fmla="*/ 11842 w 13217"/>
                  <a:gd name="connsiteY20" fmla="*/ 5921 h 8911"/>
                  <a:gd name="connsiteX21" fmla="*/ 11961 w 13217"/>
                  <a:gd name="connsiteY21" fmla="*/ 5981 h 8911"/>
                  <a:gd name="connsiteX22" fmla="*/ 12021 w 13217"/>
                  <a:gd name="connsiteY22" fmla="*/ 6040 h 8911"/>
                  <a:gd name="connsiteX23" fmla="*/ 12619 w 13217"/>
                  <a:gd name="connsiteY23" fmla="*/ 6579 h 8911"/>
                  <a:gd name="connsiteX24" fmla="*/ 13217 w 13217"/>
                  <a:gd name="connsiteY24" fmla="*/ 7117 h 8911"/>
                  <a:gd name="connsiteX25" fmla="*/ 12559 w 13217"/>
                  <a:gd name="connsiteY25" fmla="*/ 8612 h 8911"/>
                  <a:gd name="connsiteX26" fmla="*/ 12440 w 13217"/>
                  <a:gd name="connsiteY26" fmla="*/ 8672 h 8911"/>
                  <a:gd name="connsiteX27" fmla="*/ 12201 w 13217"/>
                  <a:gd name="connsiteY27" fmla="*/ 8792 h 8911"/>
                  <a:gd name="connsiteX28" fmla="*/ 11961 w 13217"/>
                  <a:gd name="connsiteY28" fmla="*/ 8911 h 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7" h="8911">
                    <a:moveTo>
                      <a:pt x="0" y="0"/>
                    </a:moveTo>
                    <a:lnTo>
                      <a:pt x="299" y="120"/>
                    </a:lnTo>
                    <a:lnTo>
                      <a:pt x="897" y="419"/>
                    </a:lnTo>
                    <a:lnTo>
                      <a:pt x="1256" y="598"/>
                    </a:lnTo>
                    <a:lnTo>
                      <a:pt x="2033" y="1017"/>
                    </a:lnTo>
                    <a:lnTo>
                      <a:pt x="2811" y="1376"/>
                    </a:lnTo>
                    <a:lnTo>
                      <a:pt x="3050" y="1495"/>
                    </a:lnTo>
                    <a:lnTo>
                      <a:pt x="3469" y="1675"/>
                    </a:lnTo>
                    <a:lnTo>
                      <a:pt x="3708" y="1794"/>
                    </a:lnTo>
                    <a:lnTo>
                      <a:pt x="3888" y="1854"/>
                    </a:lnTo>
                    <a:lnTo>
                      <a:pt x="5383" y="2512"/>
                    </a:lnTo>
                    <a:lnTo>
                      <a:pt x="7775" y="3887"/>
                    </a:lnTo>
                    <a:lnTo>
                      <a:pt x="8971" y="4545"/>
                    </a:lnTo>
                    <a:lnTo>
                      <a:pt x="9091" y="4605"/>
                    </a:lnTo>
                    <a:lnTo>
                      <a:pt x="9928" y="5024"/>
                    </a:lnTo>
                    <a:lnTo>
                      <a:pt x="9988" y="5024"/>
                    </a:lnTo>
                    <a:lnTo>
                      <a:pt x="9988" y="5024"/>
                    </a:lnTo>
                    <a:lnTo>
                      <a:pt x="10825" y="5442"/>
                    </a:lnTo>
                    <a:lnTo>
                      <a:pt x="11004" y="5562"/>
                    </a:lnTo>
                    <a:lnTo>
                      <a:pt x="11184" y="5622"/>
                    </a:lnTo>
                    <a:lnTo>
                      <a:pt x="11842" y="5921"/>
                    </a:lnTo>
                    <a:lnTo>
                      <a:pt x="11961" y="5981"/>
                    </a:lnTo>
                    <a:lnTo>
                      <a:pt x="12021" y="6040"/>
                    </a:lnTo>
                    <a:lnTo>
                      <a:pt x="12619" y="6579"/>
                    </a:lnTo>
                    <a:lnTo>
                      <a:pt x="13217" y="7117"/>
                    </a:lnTo>
                    <a:lnTo>
                      <a:pt x="12559" y="8612"/>
                    </a:lnTo>
                    <a:lnTo>
                      <a:pt x="12440" y="8672"/>
                    </a:lnTo>
                    <a:lnTo>
                      <a:pt x="12201" y="8792"/>
                    </a:lnTo>
                    <a:lnTo>
                      <a:pt x="11961" y="8911"/>
                    </a:lnTo>
                  </a:path>
                </a:pathLst>
              </a:custGeom>
              <a:noFill/>
              <a:ln w="6350" cap="rnd">
                <a:solidFill>
                  <a:schemeClr val="bg1">
                    <a:alpha val="80000"/>
                  </a:schemeClr>
                </a:solidFill>
                <a:prstDash val="solid"/>
                <a:round/>
              </a:ln>
            </p:spPr>
            <p:txBody>
              <a:bodyPr rtlCol="0" anchor="ctr"/>
              <a:lstStyle/>
              <a:p>
                <a:endParaRPr lang="en-GB"/>
              </a:p>
            </p:txBody>
          </p:sp>
          <p:sp>
            <p:nvSpPr>
              <p:cNvPr id="6612" name="Vrije vorm: vorm 6611">
                <a:extLst>
                  <a:ext uri="{FF2B5EF4-FFF2-40B4-BE49-F238E27FC236}">
                    <a16:creationId xmlns:a16="http://schemas.microsoft.com/office/drawing/2014/main" id="{3E248200-6FD4-4662-9C13-26A8859B900F}"/>
                  </a:ext>
                </a:extLst>
              </p:cNvPr>
              <p:cNvSpPr/>
              <p:nvPr/>
            </p:nvSpPr>
            <p:spPr>
              <a:xfrm>
                <a:off x="6862419" y="1691687"/>
                <a:ext cx="13217" cy="9808"/>
              </a:xfrm>
              <a:custGeom>
                <a:avLst/>
                <a:gdLst>
                  <a:gd name="connsiteX0" fmla="*/ 13218 w 13217"/>
                  <a:gd name="connsiteY0" fmla="*/ 9808 h 9808"/>
                  <a:gd name="connsiteX1" fmla="*/ 10945 w 13217"/>
                  <a:gd name="connsiteY1" fmla="*/ 8493 h 9808"/>
                  <a:gd name="connsiteX2" fmla="*/ 7416 w 13217"/>
                  <a:gd name="connsiteY2" fmla="*/ 6340 h 9808"/>
                  <a:gd name="connsiteX3" fmla="*/ 5443 w 13217"/>
                  <a:gd name="connsiteY3" fmla="*/ 5143 h 9808"/>
                  <a:gd name="connsiteX4" fmla="*/ 4306 w 13217"/>
                  <a:gd name="connsiteY4" fmla="*/ 4486 h 9808"/>
                  <a:gd name="connsiteX5" fmla="*/ 3110 w 13217"/>
                  <a:gd name="connsiteY5" fmla="*/ 3828 h 9808"/>
                  <a:gd name="connsiteX6" fmla="*/ 2871 w 13217"/>
                  <a:gd name="connsiteY6" fmla="*/ 3708 h 9808"/>
                  <a:gd name="connsiteX7" fmla="*/ 1914 w 13217"/>
                  <a:gd name="connsiteY7" fmla="*/ 3170 h 9808"/>
                  <a:gd name="connsiteX8" fmla="*/ 1795 w 13217"/>
                  <a:gd name="connsiteY8" fmla="*/ 3110 h 9808"/>
                  <a:gd name="connsiteX9" fmla="*/ 1077 w 13217"/>
                  <a:gd name="connsiteY9" fmla="*/ 2572 h 9808"/>
                  <a:gd name="connsiteX10" fmla="*/ 1017 w 13217"/>
                  <a:gd name="connsiteY10" fmla="*/ 2512 h 9808"/>
                  <a:gd name="connsiteX11" fmla="*/ 658 w 13217"/>
                  <a:gd name="connsiteY11" fmla="*/ 2093 h 9808"/>
                  <a:gd name="connsiteX12" fmla="*/ 0 w 13217"/>
                  <a:gd name="connsiteY12" fmla="*/ 1316 h 9808"/>
                  <a:gd name="connsiteX13" fmla="*/ 837 w 13217"/>
                  <a:gd name="connsiteY13" fmla="*/ 0 h 9808"/>
                  <a:gd name="connsiteX14" fmla="*/ 1735 w 13217"/>
                  <a:gd name="connsiteY14" fmla="*/ 239 h 9808"/>
                  <a:gd name="connsiteX15" fmla="*/ 2273 w 13217"/>
                  <a:gd name="connsiteY15" fmla="*/ 419 h 9808"/>
                  <a:gd name="connsiteX16" fmla="*/ 2452 w 13217"/>
                  <a:gd name="connsiteY16" fmla="*/ 478 h 9808"/>
                  <a:gd name="connsiteX17" fmla="*/ 3469 w 13217"/>
                  <a:gd name="connsiteY17" fmla="*/ 1196 h 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217" h="9808">
                    <a:moveTo>
                      <a:pt x="13218" y="9808"/>
                    </a:moveTo>
                    <a:lnTo>
                      <a:pt x="10945" y="8493"/>
                    </a:lnTo>
                    <a:lnTo>
                      <a:pt x="7416" y="6340"/>
                    </a:lnTo>
                    <a:lnTo>
                      <a:pt x="5443" y="5143"/>
                    </a:lnTo>
                    <a:lnTo>
                      <a:pt x="4306" y="4486"/>
                    </a:lnTo>
                    <a:lnTo>
                      <a:pt x="3110" y="3828"/>
                    </a:lnTo>
                    <a:lnTo>
                      <a:pt x="2871" y="3708"/>
                    </a:lnTo>
                    <a:lnTo>
                      <a:pt x="1914" y="3170"/>
                    </a:lnTo>
                    <a:lnTo>
                      <a:pt x="1795" y="3110"/>
                    </a:lnTo>
                    <a:lnTo>
                      <a:pt x="1077" y="2572"/>
                    </a:lnTo>
                    <a:lnTo>
                      <a:pt x="1017" y="2512"/>
                    </a:lnTo>
                    <a:lnTo>
                      <a:pt x="658" y="2093"/>
                    </a:lnTo>
                    <a:lnTo>
                      <a:pt x="0" y="1316"/>
                    </a:lnTo>
                    <a:lnTo>
                      <a:pt x="837" y="0"/>
                    </a:lnTo>
                    <a:lnTo>
                      <a:pt x="1735" y="239"/>
                    </a:lnTo>
                    <a:lnTo>
                      <a:pt x="2273" y="419"/>
                    </a:lnTo>
                    <a:lnTo>
                      <a:pt x="2452" y="478"/>
                    </a:lnTo>
                    <a:lnTo>
                      <a:pt x="3469" y="1196"/>
                    </a:lnTo>
                  </a:path>
                </a:pathLst>
              </a:custGeom>
              <a:noFill/>
              <a:ln w="6350" cap="rnd">
                <a:solidFill>
                  <a:schemeClr val="bg1">
                    <a:alpha val="80000"/>
                  </a:schemeClr>
                </a:solidFill>
                <a:prstDash val="solid"/>
                <a:round/>
              </a:ln>
            </p:spPr>
            <p:txBody>
              <a:bodyPr rtlCol="0" anchor="ctr"/>
              <a:lstStyle/>
              <a:p>
                <a:endParaRPr lang="en-GB"/>
              </a:p>
            </p:txBody>
          </p:sp>
          <p:sp>
            <p:nvSpPr>
              <p:cNvPr id="6613" name="Vrije vorm: vorm 6612">
                <a:extLst>
                  <a:ext uri="{FF2B5EF4-FFF2-40B4-BE49-F238E27FC236}">
                    <a16:creationId xmlns:a16="http://schemas.microsoft.com/office/drawing/2014/main" id="{C8172045-4FF6-405B-B32B-87B1B5A39B6E}"/>
                  </a:ext>
                </a:extLst>
              </p:cNvPr>
              <p:cNvSpPr/>
              <p:nvPr/>
            </p:nvSpPr>
            <p:spPr>
              <a:xfrm>
                <a:off x="7067678" y="2040842"/>
                <a:ext cx="9329" cy="13456"/>
              </a:xfrm>
              <a:custGeom>
                <a:avLst/>
                <a:gdLst>
                  <a:gd name="connsiteX0" fmla="*/ 7596 w 9329"/>
                  <a:gd name="connsiteY0" fmla="*/ 0 h 13456"/>
                  <a:gd name="connsiteX1" fmla="*/ 9330 w 9329"/>
                  <a:gd name="connsiteY1" fmla="*/ 4785 h 13456"/>
                  <a:gd name="connsiteX2" fmla="*/ 5801 w 9329"/>
                  <a:gd name="connsiteY2" fmla="*/ 10765 h 13456"/>
                  <a:gd name="connsiteX3" fmla="*/ 120 w 9329"/>
                  <a:gd name="connsiteY3" fmla="*/ 13457 h 13456"/>
                  <a:gd name="connsiteX4" fmla="*/ 0 w 9329"/>
                  <a:gd name="connsiteY4" fmla="*/ 13217 h 13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9" h="13456">
                    <a:moveTo>
                      <a:pt x="7596" y="0"/>
                    </a:moveTo>
                    <a:lnTo>
                      <a:pt x="9330" y="4785"/>
                    </a:lnTo>
                    <a:lnTo>
                      <a:pt x="5801" y="10765"/>
                    </a:lnTo>
                    <a:lnTo>
                      <a:pt x="120" y="13457"/>
                    </a:lnTo>
                    <a:lnTo>
                      <a:pt x="0" y="13217"/>
                    </a:lnTo>
                  </a:path>
                </a:pathLst>
              </a:custGeom>
              <a:noFill/>
              <a:ln w="6350" cap="rnd">
                <a:solidFill>
                  <a:schemeClr val="bg1">
                    <a:alpha val="80000"/>
                  </a:schemeClr>
                </a:solidFill>
                <a:prstDash val="solid"/>
                <a:round/>
              </a:ln>
            </p:spPr>
            <p:txBody>
              <a:bodyPr rtlCol="0" anchor="ctr"/>
              <a:lstStyle/>
              <a:p>
                <a:endParaRPr lang="en-GB"/>
              </a:p>
            </p:txBody>
          </p:sp>
          <p:sp>
            <p:nvSpPr>
              <p:cNvPr id="6614" name="Vrije vorm: vorm 6613">
                <a:extLst>
                  <a:ext uri="{FF2B5EF4-FFF2-40B4-BE49-F238E27FC236}">
                    <a16:creationId xmlns:a16="http://schemas.microsoft.com/office/drawing/2014/main" id="{166B347C-4F64-4C83-910E-646D5C8E678E}"/>
                  </a:ext>
                </a:extLst>
              </p:cNvPr>
              <p:cNvSpPr/>
              <p:nvPr/>
            </p:nvSpPr>
            <p:spPr>
              <a:xfrm>
                <a:off x="7082510" y="1868896"/>
                <a:ext cx="10884" cy="7356"/>
              </a:xfrm>
              <a:custGeom>
                <a:avLst/>
                <a:gdLst>
                  <a:gd name="connsiteX0" fmla="*/ 0 w 10884"/>
                  <a:gd name="connsiteY0" fmla="*/ 0 h 7356"/>
                  <a:gd name="connsiteX1" fmla="*/ 2751 w 10884"/>
                  <a:gd name="connsiteY1" fmla="*/ 897 h 7356"/>
                  <a:gd name="connsiteX2" fmla="*/ 5622 w 10884"/>
                  <a:gd name="connsiteY2" fmla="*/ 2213 h 7356"/>
                  <a:gd name="connsiteX3" fmla="*/ 6758 w 10884"/>
                  <a:gd name="connsiteY3" fmla="*/ 2990 h 7356"/>
                  <a:gd name="connsiteX4" fmla="*/ 6938 w 10884"/>
                  <a:gd name="connsiteY4" fmla="*/ 3110 h 7356"/>
                  <a:gd name="connsiteX5" fmla="*/ 8253 w 10884"/>
                  <a:gd name="connsiteY5" fmla="*/ 4007 h 7356"/>
                  <a:gd name="connsiteX6" fmla="*/ 10406 w 10884"/>
                  <a:gd name="connsiteY6" fmla="*/ 5921 h 7356"/>
                  <a:gd name="connsiteX7" fmla="*/ 10646 w 10884"/>
                  <a:gd name="connsiteY7" fmla="*/ 6639 h 7356"/>
                  <a:gd name="connsiteX8" fmla="*/ 10885 w 10884"/>
                  <a:gd name="connsiteY8" fmla="*/ 7356 h 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4" h="7356">
                    <a:moveTo>
                      <a:pt x="0" y="0"/>
                    </a:moveTo>
                    <a:lnTo>
                      <a:pt x="2751" y="897"/>
                    </a:lnTo>
                    <a:lnTo>
                      <a:pt x="5622" y="2213"/>
                    </a:lnTo>
                    <a:lnTo>
                      <a:pt x="6758" y="2990"/>
                    </a:lnTo>
                    <a:lnTo>
                      <a:pt x="6938" y="3110"/>
                    </a:lnTo>
                    <a:lnTo>
                      <a:pt x="8253" y="4007"/>
                    </a:lnTo>
                    <a:lnTo>
                      <a:pt x="10406" y="5921"/>
                    </a:lnTo>
                    <a:lnTo>
                      <a:pt x="10646" y="6639"/>
                    </a:lnTo>
                    <a:lnTo>
                      <a:pt x="10885" y="7356"/>
                    </a:lnTo>
                  </a:path>
                </a:pathLst>
              </a:custGeom>
              <a:noFill/>
              <a:ln w="6350" cap="rnd">
                <a:solidFill>
                  <a:schemeClr val="bg1">
                    <a:alpha val="80000"/>
                  </a:schemeClr>
                </a:solidFill>
                <a:prstDash val="solid"/>
                <a:round/>
              </a:ln>
            </p:spPr>
            <p:txBody>
              <a:bodyPr rtlCol="0" anchor="ctr"/>
              <a:lstStyle/>
              <a:p>
                <a:endParaRPr lang="en-GB"/>
              </a:p>
            </p:txBody>
          </p:sp>
          <p:sp>
            <p:nvSpPr>
              <p:cNvPr id="6615" name="Vrije vorm: vorm 6614">
                <a:extLst>
                  <a:ext uri="{FF2B5EF4-FFF2-40B4-BE49-F238E27FC236}">
                    <a16:creationId xmlns:a16="http://schemas.microsoft.com/office/drawing/2014/main" id="{CC21C040-D75F-42A3-B303-B6600BC840B0}"/>
                  </a:ext>
                </a:extLst>
              </p:cNvPr>
              <p:cNvSpPr/>
              <p:nvPr/>
            </p:nvSpPr>
            <p:spPr>
              <a:xfrm>
                <a:off x="7061996" y="1875654"/>
                <a:ext cx="13217" cy="16566"/>
              </a:xfrm>
              <a:custGeom>
                <a:avLst/>
                <a:gdLst>
                  <a:gd name="connsiteX0" fmla="*/ 0 w 13217"/>
                  <a:gd name="connsiteY0" fmla="*/ 16567 h 16566"/>
                  <a:gd name="connsiteX1" fmla="*/ 2034 w 13217"/>
                  <a:gd name="connsiteY1" fmla="*/ 13158 h 16566"/>
                  <a:gd name="connsiteX2" fmla="*/ 3768 w 13217"/>
                  <a:gd name="connsiteY2" fmla="*/ 13158 h 16566"/>
                  <a:gd name="connsiteX3" fmla="*/ 8433 w 13217"/>
                  <a:gd name="connsiteY3" fmla="*/ 6818 h 16566"/>
                  <a:gd name="connsiteX4" fmla="*/ 13218 w 13217"/>
                  <a:gd name="connsiteY4" fmla="*/ 0 h 1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7" h="16566">
                    <a:moveTo>
                      <a:pt x="0" y="16567"/>
                    </a:moveTo>
                    <a:lnTo>
                      <a:pt x="2034" y="13158"/>
                    </a:lnTo>
                    <a:lnTo>
                      <a:pt x="3768" y="13158"/>
                    </a:lnTo>
                    <a:lnTo>
                      <a:pt x="8433" y="6818"/>
                    </a:lnTo>
                    <a:lnTo>
                      <a:pt x="13218" y="0"/>
                    </a:lnTo>
                  </a:path>
                </a:pathLst>
              </a:custGeom>
              <a:noFill/>
              <a:ln w="6350" cap="rnd">
                <a:solidFill>
                  <a:schemeClr val="bg1">
                    <a:alpha val="80000"/>
                  </a:schemeClr>
                </a:solidFill>
                <a:prstDash val="solid"/>
                <a:round/>
              </a:ln>
            </p:spPr>
            <p:txBody>
              <a:bodyPr rtlCol="0" anchor="ctr"/>
              <a:lstStyle/>
              <a:p>
                <a:endParaRPr lang="en-GB"/>
              </a:p>
            </p:txBody>
          </p:sp>
          <p:sp>
            <p:nvSpPr>
              <p:cNvPr id="6616" name="Vrije vorm: vorm 6615">
                <a:extLst>
                  <a:ext uri="{FF2B5EF4-FFF2-40B4-BE49-F238E27FC236}">
                    <a16:creationId xmlns:a16="http://schemas.microsoft.com/office/drawing/2014/main" id="{92A97401-8F2D-4CC6-9B7D-ACD3CCD6C0C4}"/>
                  </a:ext>
                </a:extLst>
              </p:cNvPr>
              <p:cNvSpPr/>
              <p:nvPr/>
            </p:nvSpPr>
            <p:spPr>
              <a:xfrm>
                <a:off x="6640056" y="1818120"/>
                <a:ext cx="299" cy="7595"/>
              </a:xfrm>
              <a:custGeom>
                <a:avLst/>
                <a:gdLst>
                  <a:gd name="connsiteX0" fmla="*/ 299 w 299"/>
                  <a:gd name="connsiteY0" fmla="*/ 6938 h 7595"/>
                  <a:gd name="connsiteX1" fmla="*/ 299 w 299"/>
                  <a:gd name="connsiteY1" fmla="*/ 0 h 7595"/>
                  <a:gd name="connsiteX2" fmla="*/ 0 w 299"/>
                  <a:gd name="connsiteY2" fmla="*/ 7595 h 7595"/>
                </a:gdLst>
                <a:ahLst/>
                <a:cxnLst>
                  <a:cxn ang="0">
                    <a:pos x="connsiteX0" y="connsiteY0"/>
                  </a:cxn>
                  <a:cxn ang="0">
                    <a:pos x="connsiteX1" y="connsiteY1"/>
                  </a:cxn>
                  <a:cxn ang="0">
                    <a:pos x="connsiteX2" y="connsiteY2"/>
                  </a:cxn>
                </a:cxnLst>
                <a:rect l="l" t="t" r="r" b="b"/>
                <a:pathLst>
                  <a:path w="299" h="7595">
                    <a:moveTo>
                      <a:pt x="299" y="6938"/>
                    </a:moveTo>
                    <a:lnTo>
                      <a:pt x="299" y="0"/>
                    </a:lnTo>
                    <a:lnTo>
                      <a:pt x="0" y="7595"/>
                    </a:lnTo>
                  </a:path>
                </a:pathLst>
              </a:custGeom>
              <a:noFill/>
              <a:ln w="6350" cap="rnd">
                <a:solidFill>
                  <a:schemeClr val="bg1">
                    <a:alpha val="80000"/>
                  </a:schemeClr>
                </a:solidFill>
                <a:prstDash val="solid"/>
                <a:round/>
              </a:ln>
            </p:spPr>
            <p:txBody>
              <a:bodyPr rtlCol="0" anchor="ctr"/>
              <a:lstStyle/>
              <a:p>
                <a:endParaRPr lang="en-GB"/>
              </a:p>
            </p:txBody>
          </p:sp>
          <p:sp>
            <p:nvSpPr>
              <p:cNvPr id="6617" name="Vrije vorm: vorm 6616">
                <a:extLst>
                  <a:ext uri="{FF2B5EF4-FFF2-40B4-BE49-F238E27FC236}">
                    <a16:creationId xmlns:a16="http://schemas.microsoft.com/office/drawing/2014/main" id="{03A43930-FD47-4484-9896-87345A71167A}"/>
                  </a:ext>
                </a:extLst>
              </p:cNvPr>
              <p:cNvSpPr/>
              <p:nvPr/>
            </p:nvSpPr>
            <p:spPr>
              <a:xfrm>
                <a:off x="7075094" y="1869673"/>
                <a:ext cx="2930" cy="6279"/>
              </a:xfrm>
              <a:custGeom>
                <a:avLst/>
                <a:gdLst>
                  <a:gd name="connsiteX0" fmla="*/ 0 w 2930"/>
                  <a:gd name="connsiteY0" fmla="*/ 6280 h 6279"/>
                  <a:gd name="connsiteX1" fmla="*/ 120 w 2930"/>
                  <a:gd name="connsiteY1" fmla="*/ 5981 h 6279"/>
                  <a:gd name="connsiteX2" fmla="*/ 2930 w 2930"/>
                  <a:gd name="connsiteY2" fmla="*/ 0 h 6279"/>
                </a:gdLst>
                <a:ahLst/>
                <a:cxnLst>
                  <a:cxn ang="0">
                    <a:pos x="connsiteX0" y="connsiteY0"/>
                  </a:cxn>
                  <a:cxn ang="0">
                    <a:pos x="connsiteX1" y="connsiteY1"/>
                  </a:cxn>
                  <a:cxn ang="0">
                    <a:pos x="connsiteX2" y="connsiteY2"/>
                  </a:cxn>
                </a:cxnLst>
                <a:rect l="l" t="t" r="r" b="b"/>
                <a:pathLst>
                  <a:path w="2930" h="6279">
                    <a:moveTo>
                      <a:pt x="0" y="6280"/>
                    </a:moveTo>
                    <a:lnTo>
                      <a:pt x="120" y="5981"/>
                    </a:lnTo>
                    <a:lnTo>
                      <a:pt x="2930" y="0"/>
                    </a:lnTo>
                  </a:path>
                </a:pathLst>
              </a:custGeom>
              <a:noFill/>
              <a:ln w="6350" cap="rnd">
                <a:solidFill>
                  <a:schemeClr val="bg1">
                    <a:alpha val="80000"/>
                  </a:schemeClr>
                </a:solidFill>
                <a:prstDash val="solid"/>
                <a:round/>
              </a:ln>
            </p:spPr>
            <p:txBody>
              <a:bodyPr rtlCol="0" anchor="ctr"/>
              <a:lstStyle/>
              <a:p>
                <a:endParaRPr lang="en-GB"/>
              </a:p>
            </p:txBody>
          </p:sp>
          <p:sp>
            <p:nvSpPr>
              <p:cNvPr id="6618" name="Vrije vorm: vorm 6617">
                <a:extLst>
                  <a:ext uri="{FF2B5EF4-FFF2-40B4-BE49-F238E27FC236}">
                    <a16:creationId xmlns:a16="http://schemas.microsoft.com/office/drawing/2014/main" id="{A192324B-9CB1-489B-99C3-1188911ECFD6}"/>
                  </a:ext>
                </a:extLst>
              </p:cNvPr>
              <p:cNvSpPr/>
              <p:nvPr/>
            </p:nvSpPr>
            <p:spPr>
              <a:xfrm>
                <a:off x="7074137" y="1865427"/>
                <a:ext cx="4365" cy="4724"/>
              </a:xfrm>
              <a:custGeom>
                <a:avLst/>
                <a:gdLst>
                  <a:gd name="connsiteX0" fmla="*/ 4366 w 4365"/>
                  <a:gd name="connsiteY0" fmla="*/ 4725 h 4724"/>
                  <a:gd name="connsiteX1" fmla="*/ 3947 w 4365"/>
                  <a:gd name="connsiteY1" fmla="*/ 4246 h 4724"/>
                  <a:gd name="connsiteX2" fmla="*/ 0 w 4365"/>
                  <a:gd name="connsiteY2" fmla="*/ 0 h 4724"/>
                </a:gdLst>
                <a:ahLst/>
                <a:cxnLst>
                  <a:cxn ang="0">
                    <a:pos x="connsiteX0" y="connsiteY0"/>
                  </a:cxn>
                  <a:cxn ang="0">
                    <a:pos x="connsiteX1" y="connsiteY1"/>
                  </a:cxn>
                  <a:cxn ang="0">
                    <a:pos x="connsiteX2" y="connsiteY2"/>
                  </a:cxn>
                </a:cxnLst>
                <a:rect l="l" t="t" r="r" b="b"/>
                <a:pathLst>
                  <a:path w="4365" h="4724">
                    <a:moveTo>
                      <a:pt x="4366" y="4725"/>
                    </a:moveTo>
                    <a:lnTo>
                      <a:pt x="3947" y="424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19" name="Vrije vorm: vorm 6618">
                <a:extLst>
                  <a:ext uri="{FF2B5EF4-FFF2-40B4-BE49-F238E27FC236}">
                    <a16:creationId xmlns:a16="http://schemas.microsoft.com/office/drawing/2014/main" id="{8BA7370B-9B10-4050-902A-4823812DC5B7}"/>
                  </a:ext>
                </a:extLst>
              </p:cNvPr>
              <p:cNvSpPr/>
              <p:nvPr/>
            </p:nvSpPr>
            <p:spPr>
              <a:xfrm>
                <a:off x="6998182" y="1859566"/>
                <a:ext cx="6877" cy="10884"/>
              </a:xfrm>
              <a:custGeom>
                <a:avLst/>
                <a:gdLst>
                  <a:gd name="connsiteX0" fmla="*/ 418 w 6877"/>
                  <a:gd name="connsiteY0" fmla="*/ 10885 h 10884"/>
                  <a:gd name="connsiteX1" fmla="*/ 299 w 6877"/>
                  <a:gd name="connsiteY1" fmla="*/ 10406 h 10884"/>
                  <a:gd name="connsiteX2" fmla="*/ 119 w 6877"/>
                  <a:gd name="connsiteY2" fmla="*/ 9689 h 10884"/>
                  <a:gd name="connsiteX3" fmla="*/ 0 w 6877"/>
                  <a:gd name="connsiteY3" fmla="*/ 9091 h 10884"/>
                  <a:gd name="connsiteX4" fmla="*/ 1375 w 6877"/>
                  <a:gd name="connsiteY4" fmla="*/ 6698 h 10884"/>
                  <a:gd name="connsiteX5" fmla="*/ 1794 w 6877"/>
                  <a:gd name="connsiteY5" fmla="*/ 5981 h 10884"/>
                  <a:gd name="connsiteX6" fmla="*/ 1914 w 6877"/>
                  <a:gd name="connsiteY6" fmla="*/ 5801 h 10884"/>
                  <a:gd name="connsiteX7" fmla="*/ 1973 w 6877"/>
                  <a:gd name="connsiteY7" fmla="*/ 5742 h 10884"/>
                  <a:gd name="connsiteX8" fmla="*/ 2571 w 6877"/>
                  <a:gd name="connsiteY8" fmla="*/ 4725 h 10884"/>
                  <a:gd name="connsiteX9" fmla="*/ 2811 w 6877"/>
                  <a:gd name="connsiteY9" fmla="*/ 4306 h 10884"/>
                  <a:gd name="connsiteX10" fmla="*/ 2930 w 6877"/>
                  <a:gd name="connsiteY10" fmla="*/ 4127 h 10884"/>
                  <a:gd name="connsiteX11" fmla="*/ 2930 w 6877"/>
                  <a:gd name="connsiteY11" fmla="*/ 4127 h 10884"/>
                  <a:gd name="connsiteX12" fmla="*/ 4366 w 6877"/>
                  <a:gd name="connsiteY12" fmla="*/ 1734 h 10884"/>
                  <a:gd name="connsiteX13" fmla="*/ 4844 w 6877"/>
                  <a:gd name="connsiteY13" fmla="*/ 897 h 10884"/>
                  <a:gd name="connsiteX14" fmla="*/ 4904 w 6877"/>
                  <a:gd name="connsiteY14" fmla="*/ 778 h 10884"/>
                  <a:gd name="connsiteX15" fmla="*/ 5143 w 6877"/>
                  <a:gd name="connsiteY15" fmla="*/ 419 h 10884"/>
                  <a:gd name="connsiteX16" fmla="*/ 5681 w 6877"/>
                  <a:gd name="connsiteY16" fmla="*/ 299 h 10884"/>
                  <a:gd name="connsiteX17" fmla="*/ 6818 w 6877"/>
                  <a:gd name="connsiteY17" fmla="*/ 0 h 10884"/>
                  <a:gd name="connsiteX18" fmla="*/ 6818 w 6877"/>
                  <a:gd name="connsiteY18" fmla="*/ 0 h 10884"/>
                  <a:gd name="connsiteX19" fmla="*/ 6877 w 6877"/>
                  <a:gd name="connsiteY19" fmla="*/ 0 h 1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77" h="10884">
                    <a:moveTo>
                      <a:pt x="418" y="10885"/>
                    </a:moveTo>
                    <a:lnTo>
                      <a:pt x="299" y="10406"/>
                    </a:lnTo>
                    <a:lnTo>
                      <a:pt x="119" y="9689"/>
                    </a:lnTo>
                    <a:lnTo>
                      <a:pt x="0" y="9091"/>
                    </a:lnTo>
                    <a:lnTo>
                      <a:pt x="1375" y="6698"/>
                    </a:lnTo>
                    <a:lnTo>
                      <a:pt x="1794" y="5981"/>
                    </a:lnTo>
                    <a:lnTo>
                      <a:pt x="1914" y="5801"/>
                    </a:lnTo>
                    <a:lnTo>
                      <a:pt x="1973" y="5742"/>
                    </a:lnTo>
                    <a:lnTo>
                      <a:pt x="2571" y="4725"/>
                    </a:lnTo>
                    <a:lnTo>
                      <a:pt x="2811" y="4306"/>
                    </a:lnTo>
                    <a:lnTo>
                      <a:pt x="2930" y="4127"/>
                    </a:lnTo>
                    <a:lnTo>
                      <a:pt x="2930" y="4127"/>
                    </a:lnTo>
                    <a:lnTo>
                      <a:pt x="4366" y="1734"/>
                    </a:lnTo>
                    <a:lnTo>
                      <a:pt x="4844" y="897"/>
                    </a:lnTo>
                    <a:lnTo>
                      <a:pt x="4904" y="778"/>
                    </a:lnTo>
                    <a:lnTo>
                      <a:pt x="5143" y="419"/>
                    </a:lnTo>
                    <a:lnTo>
                      <a:pt x="5681" y="299"/>
                    </a:lnTo>
                    <a:lnTo>
                      <a:pt x="6818" y="0"/>
                    </a:lnTo>
                    <a:lnTo>
                      <a:pt x="6818" y="0"/>
                    </a:lnTo>
                    <a:lnTo>
                      <a:pt x="6877" y="0"/>
                    </a:lnTo>
                  </a:path>
                </a:pathLst>
              </a:custGeom>
              <a:noFill/>
              <a:ln w="6350" cap="rnd">
                <a:solidFill>
                  <a:schemeClr val="bg1">
                    <a:alpha val="80000"/>
                  </a:schemeClr>
                </a:solidFill>
                <a:prstDash val="solid"/>
                <a:round/>
              </a:ln>
            </p:spPr>
            <p:txBody>
              <a:bodyPr rtlCol="0" anchor="ctr"/>
              <a:lstStyle/>
              <a:p>
                <a:endParaRPr lang="en-GB"/>
              </a:p>
            </p:txBody>
          </p:sp>
          <p:sp>
            <p:nvSpPr>
              <p:cNvPr id="6620" name="Vrije vorm: vorm 6619">
                <a:extLst>
                  <a:ext uri="{FF2B5EF4-FFF2-40B4-BE49-F238E27FC236}">
                    <a16:creationId xmlns:a16="http://schemas.microsoft.com/office/drawing/2014/main" id="{020AD518-C5F2-4BFB-96E3-5E836A390351}"/>
                  </a:ext>
                </a:extLst>
              </p:cNvPr>
              <p:cNvSpPr/>
              <p:nvPr/>
            </p:nvSpPr>
            <p:spPr>
              <a:xfrm>
                <a:off x="6721095" y="1809149"/>
                <a:ext cx="3289" cy="3050"/>
              </a:xfrm>
              <a:custGeom>
                <a:avLst/>
                <a:gdLst>
                  <a:gd name="connsiteX0" fmla="*/ 0 w 3289"/>
                  <a:gd name="connsiteY0" fmla="*/ 0 h 3050"/>
                  <a:gd name="connsiteX1" fmla="*/ 0 w 3289"/>
                  <a:gd name="connsiteY1" fmla="*/ 0 h 3050"/>
                  <a:gd name="connsiteX2" fmla="*/ 2153 w 3289"/>
                  <a:gd name="connsiteY2" fmla="*/ 1136 h 3050"/>
                  <a:gd name="connsiteX3" fmla="*/ 3289 w 3289"/>
                  <a:gd name="connsiteY3" fmla="*/ 1794 h 3050"/>
                  <a:gd name="connsiteX4" fmla="*/ 2871 w 3289"/>
                  <a:gd name="connsiteY4" fmla="*/ 3050 h 3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 h="3050">
                    <a:moveTo>
                      <a:pt x="0" y="0"/>
                    </a:moveTo>
                    <a:lnTo>
                      <a:pt x="0" y="0"/>
                    </a:lnTo>
                    <a:lnTo>
                      <a:pt x="2153" y="1136"/>
                    </a:lnTo>
                    <a:lnTo>
                      <a:pt x="3289" y="1794"/>
                    </a:lnTo>
                    <a:lnTo>
                      <a:pt x="2871" y="3050"/>
                    </a:lnTo>
                  </a:path>
                </a:pathLst>
              </a:custGeom>
              <a:noFill/>
              <a:ln w="6350" cap="rnd">
                <a:solidFill>
                  <a:schemeClr val="bg1">
                    <a:alpha val="80000"/>
                  </a:schemeClr>
                </a:solidFill>
                <a:prstDash val="solid"/>
                <a:round/>
              </a:ln>
            </p:spPr>
            <p:txBody>
              <a:bodyPr rtlCol="0" anchor="ctr"/>
              <a:lstStyle/>
              <a:p>
                <a:endParaRPr lang="en-GB"/>
              </a:p>
            </p:txBody>
          </p:sp>
          <p:sp>
            <p:nvSpPr>
              <p:cNvPr id="6621" name="Vrije vorm: vorm 6620">
                <a:extLst>
                  <a:ext uri="{FF2B5EF4-FFF2-40B4-BE49-F238E27FC236}">
                    <a16:creationId xmlns:a16="http://schemas.microsoft.com/office/drawing/2014/main" id="{83274F8B-4AED-4A15-A4F9-4F4CB5DE86A2}"/>
                  </a:ext>
                </a:extLst>
              </p:cNvPr>
              <p:cNvSpPr/>
              <p:nvPr/>
            </p:nvSpPr>
            <p:spPr>
              <a:xfrm>
                <a:off x="6656743" y="1803945"/>
                <a:ext cx="13755" cy="10645"/>
              </a:xfrm>
              <a:custGeom>
                <a:avLst/>
                <a:gdLst>
                  <a:gd name="connsiteX0" fmla="*/ 0 w 13755"/>
                  <a:gd name="connsiteY0" fmla="*/ 8732 h 10645"/>
                  <a:gd name="connsiteX1" fmla="*/ 2093 w 13755"/>
                  <a:gd name="connsiteY1" fmla="*/ 1854 h 10645"/>
                  <a:gd name="connsiteX2" fmla="*/ 6340 w 13755"/>
                  <a:gd name="connsiteY2" fmla="*/ 0 h 10645"/>
                  <a:gd name="connsiteX3" fmla="*/ 9031 w 13755"/>
                  <a:gd name="connsiteY3" fmla="*/ 957 h 10645"/>
                  <a:gd name="connsiteX4" fmla="*/ 11184 w 13755"/>
                  <a:gd name="connsiteY4" fmla="*/ 2990 h 10645"/>
                  <a:gd name="connsiteX5" fmla="*/ 11842 w 13755"/>
                  <a:gd name="connsiteY5" fmla="*/ 3588 h 10645"/>
                  <a:gd name="connsiteX6" fmla="*/ 12978 w 13755"/>
                  <a:gd name="connsiteY6" fmla="*/ 7715 h 10645"/>
                  <a:gd name="connsiteX7" fmla="*/ 13756 w 13755"/>
                  <a:gd name="connsiteY7" fmla="*/ 10646 h 1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55" h="10645">
                    <a:moveTo>
                      <a:pt x="0" y="8732"/>
                    </a:moveTo>
                    <a:lnTo>
                      <a:pt x="2093" y="1854"/>
                    </a:lnTo>
                    <a:lnTo>
                      <a:pt x="6340" y="0"/>
                    </a:lnTo>
                    <a:lnTo>
                      <a:pt x="9031" y="957"/>
                    </a:lnTo>
                    <a:lnTo>
                      <a:pt x="11184" y="2990"/>
                    </a:lnTo>
                    <a:lnTo>
                      <a:pt x="11842" y="3588"/>
                    </a:lnTo>
                    <a:lnTo>
                      <a:pt x="12978" y="7715"/>
                    </a:lnTo>
                    <a:lnTo>
                      <a:pt x="13756" y="10646"/>
                    </a:lnTo>
                  </a:path>
                </a:pathLst>
              </a:custGeom>
              <a:noFill/>
              <a:ln w="6350" cap="rnd">
                <a:solidFill>
                  <a:schemeClr val="bg1">
                    <a:alpha val="80000"/>
                  </a:schemeClr>
                </a:solidFill>
                <a:prstDash val="solid"/>
                <a:round/>
              </a:ln>
            </p:spPr>
            <p:txBody>
              <a:bodyPr rtlCol="0" anchor="ctr"/>
              <a:lstStyle/>
              <a:p>
                <a:endParaRPr lang="en-GB"/>
              </a:p>
            </p:txBody>
          </p:sp>
          <p:sp>
            <p:nvSpPr>
              <p:cNvPr id="6622" name="Vrije vorm: vorm 6621">
                <a:extLst>
                  <a:ext uri="{FF2B5EF4-FFF2-40B4-BE49-F238E27FC236}">
                    <a16:creationId xmlns:a16="http://schemas.microsoft.com/office/drawing/2014/main" id="{6B4BD54E-2608-44BE-A2AF-3B44491A686C}"/>
                  </a:ext>
                </a:extLst>
              </p:cNvPr>
              <p:cNvSpPr/>
              <p:nvPr/>
            </p:nvSpPr>
            <p:spPr>
              <a:xfrm>
                <a:off x="6817265" y="1923919"/>
                <a:ext cx="8731" cy="3169"/>
              </a:xfrm>
              <a:custGeom>
                <a:avLst/>
                <a:gdLst>
                  <a:gd name="connsiteX0" fmla="*/ 8732 w 8731"/>
                  <a:gd name="connsiteY0" fmla="*/ 3170 h 3169"/>
                  <a:gd name="connsiteX1" fmla="*/ 7416 w 8731"/>
                  <a:gd name="connsiteY1" fmla="*/ 2751 h 3169"/>
                  <a:gd name="connsiteX2" fmla="*/ 6818 w 8731"/>
                  <a:gd name="connsiteY2" fmla="*/ 2572 h 3169"/>
                  <a:gd name="connsiteX3" fmla="*/ 6340 w 8731"/>
                  <a:gd name="connsiteY3" fmla="*/ 2392 h 3169"/>
                  <a:gd name="connsiteX4" fmla="*/ 3768 w 8731"/>
                  <a:gd name="connsiteY4" fmla="*/ 1495 h 3169"/>
                  <a:gd name="connsiteX5" fmla="*/ 2153 w 8731"/>
                  <a:gd name="connsiteY5" fmla="*/ 957 h 3169"/>
                  <a:gd name="connsiteX6" fmla="*/ 1256 w 8731"/>
                  <a:gd name="connsiteY6" fmla="*/ 658 h 3169"/>
                  <a:gd name="connsiteX7" fmla="*/ 1136 w 8731"/>
                  <a:gd name="connsiteY7" fmla="*/ 598 h 3169"/>
                  <a:gd name="connsiteX8" fmla="*/ 957 w 8731"/>
                  <a:gd name="connsiteY8" fmla="*/ 538 h 3169"/>
                  <a:gd name="connsiteX9" fmla="*/ 120 w 8731"/>
                  <a:gd name="connsiteY9" fmla="*/ 60 h 3169"/>
                  <a:gd name="connsiteX10" fmla="*/ 0 w 8731"/>
                  <a:gd name="connsiteY10" fmla="*/ 0 h 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 h="3169">
                    <a:moveTo>
                      <a:pt x="8732" y="3170"/>
                    </a:moveTo>
                    <a:lnTo>
                      <a:pt x="7416" y="2751"/>
                    </a:lnTo>
                    <a:lnTo>
                      <a:pt x="6818" y="2572"/>
                    </a:lnTo>
                    <a:lnTo>
                      <a:pt x="6340" y="2392"/>
                    </a:lnTo>
                    <a:lnTo>
                      <a:pt x="3768" y="1495"/>
                    </a:lnTo>
                    <a:lnTo>
                      <a:pt x="2153" y="957"/>
                    </a:lnTo>
                    <a:lnTo>
                      <a:pt x="1256" y="658"/>
                    </a:lnTo>
                    <a:lnTo>
                      <a:pt x="1136" y="598"/>
                    </a:lnTo>
                    <a:lnTo>
                      <a:pt x="957" y="538"/>
                    </a:lnTo>
                    <a:lnTo>
                      <a:pt x="120" y="6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23" name="Vrije vorm: vorm 6622">
                <a:extLst>
                  <a:ext uri="{FF2B5EF4-FFF2-40B4-BE49-F238E27FC236}">
                    <a16:creationId xmlns:a16="http://schemas.microsoft.com/office/drawing/2014/main" id="{BCAC0295-00E1-45FC-BFF3-E06CDFDC2C91}"/>
                  </a:ext>
                </a:extLst>
              </p:cNvPr>
              <p:cNvSpPr/>
              <p:nvPr/>
            </p:nvSpPr>
            <p:spPr>
              <a:xfrm>
                <a:off x="6875517" y="1885941"/>
                <a:ext cx="20274" cy="18659"/>
              </a:xfrm>
              <a:custGeom>
                <a:avLst/>
                <a:gdLst>
                  <a:gd name="connsiteX0" fmla="*/ 20275 w 20274"/>
                  <a:gd name="connsiteY0" fmla="*/ 778 h 18659"/>
                  <a:gd name="connsiteX1" fmla="*/ 17344 w 20274"/>
                  <a:gd name="connsiteY1" fmla="*/ 0 h 18659"/>
                  <a:gd name="connsiteX2" fmla="*/ 15550 w 20274"/>
                  <a:gd name="connsiteY2" fmla="*/ 2452 h 18659"/>
                  <a:gd name="connsiteX3" fmla="*/ 14952 w 20274"/>
                  <a:gd name="connsiteY3" fmla="*/ 3289 h 18659"/>
                  <a:gd name="connsiteX4" fmla="*/ 13815 w 20274"/>
                  <a:gd name="connsiteY4" fmla="*/ 4844 h 18659"/>
                  <a:gd name="connsiteX5" fmla="*/ 13755 w 20274"/>
                  <a:gd name="connsiteY5" fmla="*/ 4964 h 18659"/>
                  <a:gd name="connsiteX6" fmla="*/ 13457 w 20274"/>
                  <a:gd name="connsiteY6" fmla="*/ 5383 h 18659"/>
                  <a:gd name="connsiteX7" fmla="*/ 12679 w 20274"/>
                  <a:gd name="connsiteY7" fmla="*/ 6519 h 18659"/>
                  <a:gd name="connsiteX8" fmla="*/ 12260 w 20274"/>
                  <a:gd name="connsiteY8" fmla="*/ 7057 h 18659"/>
                  <a:gd name="connsiteX9" fmla="*/ 12140 w 20274"/>
                  <a:gd name="connsiteY9" fmla="*/ 7237 h 18659"/>
                  <a:gd name="connsiteX10" fmla="*/ 12021 w 20274"/>
                  <a:gd name="connsiteY10" fmla="*/ 7416 h 18659"/>
                  <a:gd name="connsiteX11" fmla="*/ 12021 w 20274"/>
                  <a:gd name="connsiteY11" fmla="*/ 7416 h 18659"/>
                  <a:gd name="connsiteX12" fmla="*/ 10944 w 20274"/>
                  <a:gd name="connsiteY12" fmla="*/ 7775 h 18659"/>
                  <a:gd name="connsiteX13" fmla="*/ 9927 w 20274"/>
                  <a:gd name="connsiteY13" fmla="*/ 8074 h 18659"/>
                  <a:gd name="connsiteX14" fmla="*/ 8672 w 20274"/>
                  <a:gd name="connsiteY14" fmla="*/ 8433 h 18659"/>
                  <a:gd name="connsiteX15" fmla="*/ 7236 w 20274"/>
                  <a:gd name="connsiteY15" fmla="*/ 10107 h 18659"/>
                  <a:gd name="connsiteX16" fmla="*/ 7117 w 20274"/>
                  <a:gd name="connsiteY16" fmla="*/ 10287 h 18659"/>
                  <a:gd name="connsiteX17" fmla="*/ 7117 w 20274"/>
                  <a:gd name="connsiteY17" fmla="*/ 10287 h 18659"/>
                  <a:gd name="connsiteX18" fmla="*/ 7117 w 20274"/>
                  <a:gd name="connsiteY18" fmla="*/ 10287 h 18659"/>
                  <a:gd name="connsiteX19" fmla="*/ 6818 w 20274"/>
                  <a:gd name="connsiteY19" fmla="*/ 10646 h 18659"/>
                  <a:gd name="connsiteX20" fmla="*/ 6160 w 20274"/>
                  <a:gd name="connsiteY20" fmla="*/ 11423 h 18659"/>
                  <a:gd name="connsiteX21" fmla="*/ 5442 w 20274"/>
                  <a:gd name="connsiteY21" fmla="*/ 12260 h 18659"/>
                  <a:gd name="connsiteX22" fmla="*/ 4426 w 20274"/>
                  <a:gd name="connsiteY22" fmla="*/ 13457 h 18659"/>
                  <a:gd name="connsiteX23" fmla="*/ 0 w 20274"/>
                  <a:gd name="connsiteY23" fmla="*/ 18660 h 18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274" h="18659">
                    <a:moveTo>
                      <a:pt x="20275" y="778"/>
                    </a:moveTo>
                    <a:lnTo>
                      <a:pt x="17344" y="0"/>
                    </a:lnTo>
                    <a:lnTo>
                      <a:pt x="15550" y="2452"/>
                    </a:lnTo>
                    <a:lnTo>
                      <a:pt x="14952" y="3289"/>
                    </a:lnTo>
                    <a:lnTo>
                      <a:pt x="13815" y="4844"/>
                    </a:lnTo>
                    <a:lnTo>
                      <a:pt x="13755" y="4964"/>
                    </a:lnTo>
                    <a:lnTo>
                      <a:pt x="13457" y="5383"/>
                    </a:lnTo>
                    <a:lnTo>
                      <a:pt x="12679" y="6519"/>
                    </a:lnTo>
                    <a:lnTo>
                      <a:pt x="12260" y="7057"/>
                    </a:lnTo>
                    <a:lnTo>
                      <a:pt x="12140" y="7237"/>
                    </a:lnTo>
                    <a:lnTo>
                      <a:pt x="12021" y="7416"/>
                    </a:lnTo>
                    <a:lnTo>
                      <a:pt x="12021" y="7416"/>
                    </a:lnTo>
                    <a:lnTo>
                      <a:pt x="10944" y="7775"/>
                    </a:lnTo>
                    <a:lnTo>
                      <a:pt x="9927" y="8074"/>
                    </a:lnTo>
                    <a:lnTo>
                      <a:pt x="8672" y="8433"/>
                    </a:lnTo>
                    <a:lnTo>
                      <a:pt x="7236" y="10107"/>
                    </a:lnTo>
                    <a:lnTo>
                      <a:pt x="7117" y="10287"/>
                    </a:lnTo>
                    <a:lnTo>
                      <a:pt x="7117" y="10287"/>
                    </a:lnTo>
                    <a:lnTo>
                      <a:pt x="7117" y="10287"/>
                    </a:lnTo>
                    <a:lnTo>
                      <a:pt x="6818" y="10646"/>
                    </a:lnTo>
                    <a:lnTo>
                      <a:pt x="6160" y="11423"/>
                    </a:lnTo>
                    <a:lnTo>
                      <a:pt x="5442" y="12260"/>
                    </a:lnTo>
                    <a:lnTo>
                      <a:pt x="4426" y="13457"/>
                    </a:lnTo>
                    <a:lnTo>
                      <a:pt x="0" y="18660"/>
                    </a:lnTo>
                  </a:path>
                </a:pathLst>
              </a:custGeom>
              <a:noFill/>
              <a:ln w="6350" cap="rnd">
                <a:solidFill>
                  <a:schemeClr val="bg1">
                    <a:alpha val="80000"/>
                  </a:schemeClr>
                </a:solidFill>
                <a:prstDash val="solid"/>
                <a:round/>
              </a:ln>
            </p:spPr>
            <p:txBody>
              <a:bodyPr rtlCol="0" anchor="ctr"/>
              <a:lstStyle/>
              <a:p>
                <a:endParaRPr lang="en-GB"/>
              </a:p>
            </p:txBody>
          </p:sp>
          <p:sp>
            <p:nvSpPr>
              <p:cNvPr id="6624" name="Vrije vorm: vorm 6623">
                <a:extLst>
                  <a:ext uri="{FF2B5EF4-FFF2-40B4-BE49-F238E27FC236}">
                    <a16:creationId xmlns:a16="http://schemas.microsoft.com/office/drawing/2014/main" id="{87D0D66B-B416-4F66-AB42-9D4110754076}"/>
                  </a:ext>
                </a:extLst>
              </p:cNvPr>
              <p:cNvSpPr/>
              <p:nvPr/>
            </p:nvSpPr>
            <p:spPr>
              <a:xfrm>
                <a:off x="6787301" y="2036775"/>
                <a:ext cx="28289" cy="53647"/>
              </a:xfrm>
              <a:custGeom>
                <a:avLst/>
                <a:gdLst>
                  <a:gd name="connsiteX0" fmla="*/ 28289 w 28289"/>
                  <a:gd name="connsiteY0" fmla="*/ 50716 h 53647"/>
                  <a:gd name="connsiteX1" fmla="*/ 26734 w 28289"/>
                  <a:gd name="connsiteY1" fmla="*/ 51913 h 53647"/>
                  <a:gd name="connsiteX2" fmla="*/ 26674 w 28289"/>
                  <a:gd name="connsiteY2" fmla="*/ 51972 h 53647"/>
                  <a:gd name="connsiteX3" fmla="*/ 26375 w 28289"/>
                  <a:gd name="connsiteY3" fmla="*/ 52212 h 53647"/>
                  <a:gd name="connsiteX4" fmla="*/ 25239 w 28289"/>
                  <a:gd name="connsiteY4" fmla="*/ 53049 h 53647"/>
                  <a:gd name="connsiteX5" fmla="*/ 25000 w 28289"/>
                  <a:gd name="connsiteY5" fmla="*/ 53228 h 53647"/>
                  <a:gd name="connsiteX6" fmla="*/ 24342 w 28289"/>
                  <a:gd name="connsiteY6" fmla="*/ 53647 h 53647"/>
                  <a:gd name="connsiteX7" fmla="*/ 22547 w 28289"/>
                  <a:gd name="connsiteY7" fmla="*/ 52630 h 53647"/>
                  <a:gd name="connsiteX8" fmla="*/ 16507 w 28289"/>
                  <a:gd name="connsiteY8" fmla="*/ 44975 h 53647"/>
                  <a:gd name="connsiteX9" fmla="*/ 15131 w 28289"/>
                  <a:gd name="connsiteY9" fmla="*/ 42762 h 53647"/>
                  <a:gd name="connsiteX10" fmla="*/ 9569 w 28289"/>
                  <a:gd name="connsiteY10" fmla="*/ 33851 h 53647"/>
                  <a:gd name="connsiteX11" fmla="*/ 8433 w 28289"/>
                  <a:gd name="connsiteY11" fmla="*/ 31459 h 53647"/>
                  <a:gd name="connsiteX12" fmla="*/ 5742 w 28289"/>
                  <a:gd name="connsiteY12" fmla="*/ 25897 h 53647"/>
                  <a:gd name="connsiteX13" fmla="*/ 3230 w 28289"/>
                  <a:gd name="connsiteY13" fmla="*/ 19796 h 53647"/>
                  <a:gd name="connsiteX14" fmla="*/ 2034 w 28289"/>
                  <a:gd name="connsiteY14" fmla="*/ 16866 h 53647"/>
                  <a:gd name="connsiteX15" fmla="*/ 0 w 28289"/>
                  <a:gd name="connsiteY15" fmla="*/ 10526 h 53647"/>
                  <a:gd name="connsiteX16" fmla="*/ 299 w 28289"/>
                  <a:gd name="connsiteY16" fmla="*/ 6399 h 53647"/>
                  <a:gd name="connsiteX17" fmla="*/ 5861 w 28289"/>
                  <a:gd name="connsiteY17" fmla="*/ 0 h 5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289" h="53647">
                    <a:moveTo>
                      <a:pt x="28289" y="50716"/>
                    </a:moveTo>
                    <a:lnTo>
                      <a:pt x="26734" y="51913"/>
                    </a:lnTo>
                    <a:lnTo>
                      <a:pt x="26674" y="51972"/>
                    </a:lnTo>
                    <a:lnTo>
                      <a:pt x="26375" y="52212"/>
                    </a:lnTo>
                    <a:lnTo>
                      <a:pt x="25239" y="53049"/>
                    </a:lnTo>
                    <a:lnTo>
                      <a:pt x="25000" y="53228"/>
                    </a:lnTo>
                    <a:lnTo>
                      <a:pt x="24342" y="53647"/>
                    </a:lnTo>
                    <a:lnTo>
                      <a:pt x="22547" y="52630"/>
                    </a:lnTo>
                    <a:lnTo>
                      <a:pt x="16507" y="44975"/>
                    </a:lnTo>
                    <a:lnTo>
                      <a:pt x="15131" y="42762"/>
                    </a:lnTo>
                    <a:lnTo>
                      <a:pt x="9569" y="33851"/>
                    </a:lnTo>
                    <a:lnTo>
                      <a:pt x="8433" y="31459"/>
                    </a:lnTo>
                    <a:lnTo>
                      <a:pt x="5742" y="25897"/>
                    </a:lnTo>
                    <a:lnTo>
                      <a:pt x="3230" y="19796"/>
                    </a:lnTo>
                    <a:lnTo>
                      <a:pt x="2034" y="16866"/>
                    </a:lnTo>
                    <a:lnTo>
                      <a:pt x="0" y="10526"/>
                    </a:lnTo>
                    <a:lnTo>
                      <a:pt x="299" y="6399"/>
                    </a:lnTo>
                    <a:lnTo>
                      <a:pt x="5861" y="0"/>
                    </a:lnTo>
                  </a:path>
                </a:pathLst>
              </a:custGeom>
              <a:noFill/>
              <a:ln w="6350" cap="rnd">
                <a:solidFill>
                  <a:schemeClr val="bg1">
                    <a:alpha val="80000"/>
                  </a:schemeClr>
                </a:solidFill>
                <a:prstDash val="solid"/>
                <a:round/>
              </a:ln>
            </p:spPr>
            <p:txBody>
              <a:bodyPr rtlCol="0" anchor="ctr"/>
              <a:lstStyle/>
              <a:p>
                <a:endParaRPr lang="en-GB"/>
              </a:p>
            </p:txBody>
          </p:sp>
          <p:sp>
            <p:nvSpPr>
              <p:cNvPr id="6625" name="Vrije vorm: vorm 6624">
                <a:extLst>
                  <a:ext uri="{FF2B5EF4-FFF2-40B4-BE49-F238E27FC236}">
                    <a16:creationId xmlns:a16="http://schemas.microsoft.com/office/drawing/2014/main" id="{86B8F512-E743-448E-84C5-B25386598314}"/>
                  </a:ext>
                </a:extLst>
              </p:cNvPr>
              <p:cNvSpPr/>
              <p:nvPr/>
            </p:nvSpPr>
            <p:spPr>
              <a:xfrm>
                <a:off x="6712004" y="1807893"/>
                <a:ext cx="39173" cy="33492"/>
              </a:xfrm>
              <a:custGeom>
                <a:avLst/>
                <a:gdLst>
                  <a:gd name="connsiteX0" fmla="*/ 0 w 39173"/>
                  <a:gd name="connsiteY0" fmla="*/ 3170 h 33492"/>
                  <a:gd name="connsiteX1" fmla="*/ 778 w 39173"/>
                  <a:gd name="connsiteY1" fmla="*/ 2033 h 33492"/>
                  <a:gd name="connsiteX2" fmla="*/ 1316 w 39173"/>
                  <a:gd name="connsiteY2" fmla="*/ 1316 h 33492"/>
                  <a:gd name="connsiteX3" fmla="*/ 1674 w 39173"/>
                  <a:gd name="connsiteY3" fmla="*/ 778 h 33492"/>
                  <a:gd name="connsiteX4" fmla="*/ 1854 w 39173"/>
                  <a:gd name="connsiteY4" fmla="*/ 478 h 33492"/>
                  <a:gd name="connsiteX5" fmla="*/ 2273 w 39173"/>
                  <a:gd name="connsiteY5" fmla="*/ 0 h 33492"/>
                  <a:gd name="connsiteX6" fmla="*/ 3050 w 39173"/>
                  <a:gd name="connsiteY6" fmla="*/ 60 h 33492"/>
                  <a:gd name="connsiteX7" fmla="*/ 7237 w 39173"/>
                  <a:gd name="connsiteY7" fmla="*/ 2093 h 33492"/>
                  <a:gd name="connsiteX8" fmla="*/ 11782 w 39173"/>
                  <a:gd name="connsiteY8" fmla="*/ 4246 h 33492"/>
                  <a:gd name="connsiteX9" fmla="*/ 11902 w 39173"/>
                  <a:gd name="connsiteY9" fmla="*/ 4306 h 33492"/>
                  <a:gd name="connsiteX10" fmla="*/ 14892 w 39173"/>
                  <a:gd name="connsiteY10" fmla="*/ 6340 h 33492"/>
                  <a:gd name="connsiteX11" fmla="*/ 22846 w 39173"/>
                  <a:gd name="connsiteY11" fmla="*/ 11782 h 33492"/>
                  <a:gd name="connsiteX12" fmla="*/ 29605 w 39173"/>
                  <a:gd name="connsiteY12" fmla="*/ 18122 h 33492"/>
                  <a:gd name="connsiteX13" fmla="*/ 35526 w 39173"/>
                  <a:gd name="connsiteY13" fmla="*/ 25837 h 33492"/>
                  <a:gd name="connsiteX14" fmla="*/ 39174 w 39173"/>
                  <a:gd name="connsiteY14" fmla="*/ 32057 h 33492"/>
                  <a:gd name="connsiteX15" fmla="*/ 38516 w 39173"/>
                  <a:gd name="connsiteY15" fmla="*/ 33492 h 3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73" h="33492">
                    <a:moveTo>
                      <a:pt x="0" y="3170"/>
                    </a:moveTo>
                    <a:lnTo>
                      <a:pt x="778" y="2033"/>
                    </a:lnTo>
                    <a:lnTo>
                      <a:pt x="1316" y="1316"/>
                    </a:lnTo>
                    <a:lnTo>
                      <a:pt x="1674" y="778"/>
                    </a:lnTo>
                    <a:lnTo>
                      <a:pt x="1854" y="478"/>
                    </a:lnTo>
                    <a:lnTo>
                      <a:pt x="2273" y="0"/>
                    </a:lnTo>
                    <a:lnTo>
                      <a:pt x="3050" y="60"/>
                    </a:lnTo>
                    <a:lnTo>
                      <a:pt x="7237" y="2093"/>
                    </a:lnTo>
                    <a:lnTo>
                      <a:pt x="11782" y="4246"/>
                    </a:lnTo>
                    <a:lnTo>
                      <a:pt x="11902" y="4306"/>
                    </a:lnTo>
                    <a:lnTo>
                      <a:pt x="14892" y="6340"/>
                    </a:lnTo>
                    <a:lnTo>
                      <a:pt x="22846" y="11782"/>
                    </a:lnTo>
                    <a:lnTo>
                      <a:pt x="29605" y="18122"/>
                    </a:lnTo>
                    <a:lnTo>
                      <a:pt x="35526" y="25837"/>
                    </a:lnTo>
                    <a:lnTo>
                      <a:pt x="39174" y="32057"/>
                    </a:lnTo>
                    <a:lnTo>
                      <a:pt x="38516" y="33492"/>
                    </a:lnTo>
                  </a:path>
                </a:pathLst>
              </a:custGeom>
              <a:noFill/>
              <a:ln w="6350" cap="rnd">
                <a:solidFill>
                  <a:schemeClr val="bg1">
                    <a:alpha val="80000"/>
                  </a:schemeClr>
                </a:solidFill>
                <a:prstDash val="solid"/>
                <a:round/>
              </a:ln>
            </p:spPr>
            <p:txBody>
              <a:bodyPr rtlCol="0" anchor="ctr"/>
              <a:lstStyle/>
              <a:p>
                <a:endParaRPr lang="en-GB"/>
              </a:p>
            </p:txBody>
          </p:sp>
          <p:sp>
            <p:nvSpPr>
              <p:cNvPr id="6626" name="Vrije vorm: vorm 6625">
                <a:extLst>
                  <a:ext uri="{FF2B5EF4-FFF2-40B4-BE49-F238E27FC236}">
                    <a16:creationId xmlns:a16="http://schemas.microsoft.com/office/drawing/2014/main" id="{8EF8B8B8-297A-49EE-9A5F-3CBA9567C534}"/>
                  </a:ext>
                </a:extLst>
              </p:cNvPr>
              <p:cNvSpPr/>
              <p:nvPr/>
            </p:nvSpPr>
            <p:spPr>
              <a:xfrm>
                <a:off x="6963015" y="1921407"/>
                <a:ext cx="22307" cy="26614"/>
              </a:xfrm>
              <a:custGeom>
                <a:avLst/>
                <a:gdLst>
                  <a:gd name="connsiteX0" fmla="*/ 20753 w 22307"/>
                  <a:gd name="connsiteY0" fmla="*/ 0 h 26614"/>
                  <a:gd name="connsiteX1" fmla="*/ 21351 w 22307"/>
                  <a:gd name="connsiteY1" fmla="*/ 359 h 26614"/>
                  <a:gd name="connsiteX2" fmla="*/ 21650 w 22307"/>
                  <a:gd name="connsiteY2" fmla="*/ 538 h 26614"/>
                  <a:gd name="connsiteX3" fmla="*/ 21710 w 22307"/>
                  <a:gd name="connsiteY3" fmla="*/ 598 h 26614"/>
                  <a:gd name="connsiteX4" fmla="*/ 21949 w 22307"/>
                  <a:gd name="connsiteY4" fmla="*/ 778 h 26614"/>
                  <a:gd name="connsiteX5" fmla="*/ 22308 w 22307"/>
                  <a:gd name="connsiteY5" fmla="*/ 1017 h 26614"/>
                  <a:gd name="connsiteX6" fmla="*/ 22308 w 22307"/>
                  <a:gd name="connsiteY6" fmla="*/ 1017 h 26614"/>
                  <a:gd name="connsiteX7" fmla="*/ 21770 w 22307"/>
                  <a:gd name="connsiteY7" fmla="*/ 1854 h 26614"/>
                  <a:gd name="connsiteX8" fmla="*/ 21351 w 22307"/>
                  <a:gd name="connsiteY8" fmla="*/ 2512 h 26614"/>
                  <a:gd name="connsiteX9" fmla="*/ 18899 w 22307"/>
                  <a:gd name="connsiteY9" fmla="*/ 6399 h 26614"/>
                  <a:gd name="connsiteX10" fmla="*/ 18839 w 22307"/>
                  <a:gd name="connsiteY10" fmla="*/ 6519 h 26614"/>
                  <a:gd name="connsiteX11" fmla="*/ 17822 w 22307"/>
                  <a:gd name="connsiteY11" fmla="*/ 8134 h 26614"/>
                  <a:gd name="connsiteX12" fmla="*/ 16746 w 22307"/>
                  <a:gd name="connsiteY12" fmla="*/ 9868 h 26614"/>
                  <a:gd name="connsiteX13" fmla="*/ 16208 w 22307"/>
                  <a:gd name="connsiteY13" fmla="*/ 10765 h 26614"/>
                  <a:gd name="connsiteX14" fmla="*/ 16148 w 22307"/>
                  <a:gd name="connsiteY14" fmla="*/ 10885 h 26614"/>
                  <a:gd name="connsiteX15" fmla="*/ 15848 w 22307"/>
                  <a:gd name="connsiteY15" fmla="*/ 11363 h 26614"/>
                  <a:gd name="connsiteX16" fmla="*/ 15848 w 22307"/>
                  <a:gd name="connsiteY16" fmla="*/ 11363 h 26614"/>
                  <a:gd name="connsiteX17" fmla="*/ 15191 w 22307"/>
                  <a:gd name="connsiteY17" fmla="*/ 12380 h 26614"/>
                  <a:gd name="connsiteX18" fmla="*/ 15131 w 22307"/>
                  <a:gd name="connsiteY18" fmla="*/ 12440 h 26614"/>
                  <a:gd name="connsiteX19" fmla="*/ 14712 w 22307"/>
                  <a:gd name="connsiteY19" fmla="*/ 13098 h 26614"/>
                  <a:gd name="connsiteX20" fmla="*/ 13875 w 22307"/>
                  <a:gd name="connsiteY20" fmla="*/ 14473 h 26614"/>
                  <a:gd name="connsiteX21" fmla="*/ 13397 w 22307"/>
                  <a:gd name="connsiteY21" fmla="*/ 14952 h 26614"/>
                  <a:gd name="connsiteX22" fmla="*/ 12918 w 22307"/>
                  <a:gd name="connsiteY22" fmla="*/ 15430 h 26614"/>
                  <a:gd name="connsiteX23" fmla="*/ 11961 w 22307"/>
                  <a:gd name="connsiteY23" fmla="*/ 16447 h 26614"/>
                  <a:gd name="connsiteX24" fmla="*/ 10107 w 22307"/>
                  <a:gd name="connsiteY24" fmla="*/ 18421 h 26614"/>
                  <a:gd name="connsiteX25" fmla="*/ 9868 w 22307"/>
                  <a:gd name="connsiteY25" fmla="*/ 18660 h 26614"/>
                  <a:gd name="connsiteX26" fmla="*/ 9509 w 22307"/>
                  <a:gd name="connsiteY26" fmla="*/ 19079 h 26614"/>
                  <a:gd name="connsiteX27" fmla="*/ 8911 w 22307"/>
                  <a:gd name="connsiteY27" fmla="*/ 19736 h 26614"/>
                  <a:gd name="connsiteX28" fmla="*/ 8372 w 22307"/>
                  <a:gd name="connsiteY28" fmla="*/ 20335 h 26614"/>
                  <a:gd name="connsiteX29" fmla="*/ 8014 w 22307"/>
                  <a:gd name="connsiteY29" fmla="*/ 20693 h 26614"/>
                  <a:gd name="connsiteX30" fmla="*/ 6399 w 22307"/>
                  <a:gd name="connsiteY30" fmla="*/ 22428 h 26614"/>
                  <a:gd name="connsiteX31" fmla="*/ 5502 w 22307"/>
                  <a:gd name="connsiteY31" fmla="*/ 23385 h 26614"/>
                  <a:gd name="connsiteX32" fmla="*/ 5382 w 22307"/>
                  <a:gd name="connsiteY32" fmla="*/ 23504 h 26614"/>
                  <a:gd name="connsiteX33" fmla="*/ 4126 w 22307"/>
                  <a:gd name="connsiteY33" fmla="*/ 24880 h 26614"/>
                  <a:gd name="connsiteX34" fmla="*/ 3409 w 22307"/>
                  <a:gd name="connsiteY34" fmla="*/ 25657 h 26614"/>
                  <a:gd name="connsiteX35" fmla="*/ 1076 w 22307"/>
                  <a:gd name="connsiteY35" fmla="*/ 26315 h 26614"/>
                  <a:gd name="connsiteX36" fmla="*/ 0 w 22307"/>
                  <a:gd name="connsiteY36" fmla="*/ 26614 h 2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2307" h="26614">
                    <a:moveTo>
                      <a:pt x="20753" y="0"/>
                    </a:moveTo>
                    <a:lnTo>
                      <a:pt x="21351" y="359"/>
                    </a:lnTo>
                    <a:lnTo>
                      <a:pt x="21650" y="538"/>
                    </a:lnTo>
                    <a:lnTo>
                      <a:pt x="21710" y="598"/>
                    </a:lnTo>
                    <a:lnTo>
                      <a:pt x="21949" y="778"/>
                    </a:lnTo>
                    <a:lnTo>
                      <a:pt x="22308" y="1017"/>
                    </a:lnTo>
                    <a:lnTo>
                      <a:pt x="22308" y="1017"/>
                    </a:lnTo>
                    <a:lnTo>
                      <a:pt x="21770" y="1854"/>
                    </a:lnTo>
                    <a:lnTo>
                      <a:pt x="21351" y="2512"/>
                    </a:lnTo>
                    <a:lnTo>
                      <a:pt x="18899" y="6399"/>
                    </a:lnTo>
                    <a:lnTo>
                      <a:pt x="18839" y="6519"/>
                    </a:lnTo>
                    <a:lnTo>
                      <a:pt x="17822" y="8134"/>
                    </a:lnTo>
                    <a:lnTo>
                      <a:pt x="16746" y="9868"/>
                    </a:lnTo>
                    <a:lnTo>
                      <a:pt x="16208" y="10765"/>
                    </a:lnTo>
                    <a:lnTo>
                      <a:pt x="16148" y="10885"/>
                    </a:lnTo>
                    <a:lnTo>
                      <a:pt x="15848" y="11363"/>
                    </a:lnTo>
                    <a:lnTo>
                      <a:pt x="15848" y="11363"/>
                    </a:lnTo>
                    <a:lnTo>
                      <a:pt x="15191" y="12380"/>
                    </a:lnTo>
                    <a:lnTo>
                      <a:pt x="15131" y="12440"/>
                    </a:lnTo>
                    <a:lnTo>
                      <a:pt x="14712" y="13098"/>
                    </a:lnTo>
                    <a:lnTo>
                      <a:pt x="13875" y="14473"/>
                    </a:lnTo>
                    <a:lnTo>
                      <a:pt x="13397" y="14952"/>
                    </a:lnTo>
                    <a:lnTo>
                      <a:pt x="12918" y="15430"/>
                    </a:lnTo>
                    <a:lnTo>
                      <a:pt x="11961" y="16447"/>
                    </a:lnTo>
                    <a:lnTo>
                      <a:pt x="10107" y="18421"/>
                    </a:lnTo>
                    <a:lnTo>
                      <a:pt x="9868" y="18660"/>
                    </a:lnTo>
                    <a:lnTo>
                      <a:pt x="9509" y="19079"/>
                    </a:lnTo>
                    <a:lnTo>
                      <a:pt x="8911" y="19736"/>
                    </a:lnTo>
                    <a:lnTo>
                      <a:pt x="8372" y="20335"/>
                    </a:lnTo>
                    <a:lnTo>
                      <a:pt x="8014" y="20693"/>
                    </a:lnTo>
                    <a:lnTo>
                      <a:pt x="6399" y="22428"/>
                    </a:lnTo>
                    <a:lnTo>
                      <a:pt x="5502" y="23385"/>
                    </a:lnTo>
                    <a:lnTo>
                      <a:pt x="5382" y="23504"/>
                    </a:lnTo>
                    <a:lnTo>
                      <a:pt x="4126" y="24880"/>
                    </a:lnTo>
                    <a:lnTo>
                      <a:pt x="3409" y="25657"/>
                    </a:lnTo>
                    <a:lnTo>
                      <a:pt x="1076" y="26315"/>
                    </a:lnTo>
                    <a:lnTo>
                      <a:pt x="0" y="26614"/>
                    </a:lnTo>
                  </a:path>
                </a:pathLst>
              </a:custGeom>
              <a:noFill/>
              <a:ln w="6350" cap="rnd">
                <a:solidFill>
                  <a:schemeClr val="bg1">
                    <a:alpha val="80000"/>
                  </a:schemeClr>
                </a:solidFill>
                <a:prstDash val="solid"/>
                <a:round/>
              </a:ln>
            </p:spPr>
            <p:txBody>
              <a:bodyPr rtlCol="0" anchor="ctr"/>
              <a:lstStyle/>
              <a:p>
                <a:endParaRPr lang="en-GB"/>
              </a:p>
            </p:txBody>
          </p:sp>
          <p:sp>
            <p:nvSpPr>
              <p:cNvPr id="6627" name="Vrije vorm: vorm 6626">
                <a:extLst>
                  <a:ext uri="{FF2B5EF4-FFF2-40B4-BE49-F238E27FC236}">
                    <a16:creationId xmlns:a16="http://schemas.microsoft.com/office/drawing/2014/main" id="{353E410C-4683-4958-ADD3-D53521630023}"/>
                  </a:ext>
                </a:extLst>
              </p:cNvPr>
              <p:cNvSpPr/>
              <p:nvPr/>
            </p:nvSpPr>
            <p:spPr>
              <a:xfrm>
                <a:off x="6718763" y="1800417"/>
                <a:ext cx="34867" cy="20095"/>
              </a:xfrm>
              <a:custGeom>
                <a:avLst/>
                <a:gdLst>
                  <a:gd name="connsiteX0" fmla="*/ 34868 w 34867"/>
                  <a:gd name="connsiteY0" fmla="*/ 20095 h 20095"/>
                  <a:gd name="connsiteX1" fmla="*/ 28169 w 34867"/>
                  <a:gd name="connsiteY1" fmla="*/ 17344 h 20095"/>
                  <a:gd name="connsiteX2" fmla="*/ 24999 w 34867"/>
                  <a:gd name="connsiteY2" fmla="*/ 16028 h 20095"/>
                  <a:gd name="connsiteX3" fmla="*/ 24999 w 34867"/>
                  <a:gd name="connsiteY3" fmla="*/ 16028 h 20095"/>
                  <a:gd name="connsiteX4" fmla="*/ 24940 w 34867"/>
                  <a:gd name="connsiteY4" fmla="*/ 16028 h 20095"/>
                  <a:gd name="connsiteX5" fmla="*/ 21829 w 34867"/>
                  <a:gd name="connsiteY5" fmla="*/ 14354 h 20095"/>
                  <a:gd name="connsiteX6" fmla="*/ 18899 w 34867"/>
                  <a:gd name="connsiteY6" fmla="*/ 12799 h 20095"/>
                  <a:gd name="connsiteX7" fmla="*/ 10466 w 34867"/>
                  <a:gd name="connsiteY7" fmla="*/ 6997 h 20095"/>
                  <a:gd name="connsiteX8" fmla="*/ 7595 w 34867"/>
                  <a:gd name="connsiteY8" fmla="*/ 5084 h 20095"/>
                  <a:gd name="connsiteX9" fmla="*/ 0 w 34867"/>
                  <a:gd name="connsiteY9" fmla="*/ 0 h 2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67" h="20095">
                    <a:moveTo>
                      <a:pt x="34868" y="20095"/>
                    </a:moveTo>
                    <a:lnTo>
                      <a:pt x="28169" y="17344"/>
                    </a:lnTo>
                    <a:lnTo>
                      <a:pt x="24999" y="16028"/>
                    </a:lnTo>
                    <a:lnTo>
                      <a:pt x="24999" y="16028"/>
                    </a:lnTo>
                    <a:lnTo>
                      <a:pt x="24940" y="16028"/>
                    </a:lnTo>
                    <a:lnTo>
                      <a:pt x="21829" y="14354"/>
                    </a:lnTo>
                    <a:lnTo>
                      <a:pt x="18899" y="12799"/>
                    </a:lnTo>
                    <a:lnTo>
                      <a:pt x="10466" y="6997"/>
                    </a:lnTo>
                    <a:lnTo>
                      <a:pt x="7595" y="5084"/>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28" name="Vrije vorm: vorm 6627">
                <a:extLst>
                  <a:ext uri="{FF2B5EF4-FFF2-40B4-BE49-F238E27FC236}">
                    <a16:creationId xmlns:a16="http://schemas.microsoft.com/office/drawing/2014/main" id="{30562920-21AE-4FE4-9239-989C2F497B41}"/>
                  </a:ext>
                </a:extLst>
              </p:cNvPr>
              <p:cNvSpPr/>
              <p:nvPr/>
            </p:nvSpPr>
            <p:spPr>
              <a:xfrm>
                <a:off x="6905242" y="1735825"/>
                <a:ext cx="1674" cy="4186"/>
              </a:xfrm>
              <a:custGeom>
                <a:avLst/>
                <a:gdLst>
                  <a:gd name="connsiteX0" fmla="*/ 0 w 1674"/>
                  <a:gd name="connsiteY0" fmla="*/ 4186 h 4186"/>
                  <a:gd name="connsiteX1" fmla="*/ 837 w 1674"/>
                  <a:gd name="connsiteY1" fmla="*/ 2093 h 4186"/>
                  <a:gd name="connsiteX2" fmla="*/ 1675 w 1674"/>
                  <a:gd name="connsiteY2" fmla="*/ 0 h 4186"/>
                </a:gdLst>
                <a:ahLst/>
                <a:cxnLst>
                  <a:cxn ang="0">
                    <a:pos x="connsiteX0" y="connsiteY0"/>
                  </a:cxn>
                  <a:cxn ang="0">
                    <a:pos x="connsiteX1" y="connsiteY1"/>
                  </a:cxn>
                  <a:cxn ang="0">
                    <a:pos x="connsiteX2" y="connsiteY2"/>
                  </a:cxn>
                </a:cxnLst>
                <a:rect l="l" t="t" r="r" b="b"/>
                <a:pathLst>
                  <a:path w="1674" h="4186">
                    <a:moveTo>
                      <a:pt x="0" y="4186"/>
                    </a:moveTo>
                    <a:lnTo>
                      <a:pt x="837" y="2093"/>
                    </a:lnTo>
                    <a:lnTo>
                      <a:pt x="1675" y="0"/>
                    </a:lnTo>
                  </a:path>
                </a:pathLst>
              </a:custGeom>
              <a:noFill/>
              <a:ln w="6350" cap="rnd">
                <a:solidFill>
                  <a:schemeClr val="bg1">
                    <a:alpha val="80000"/>
                  </a:schemeClr>
                </a:solidFill>
                <a:prstDash val="solid"/>
                <a:round/>
              </a:ln>
            </p:spPr>
            <p:txBody>
              <a:bodyPr rtlCol="0" anchor="ctr"/>
              <a:lstStyle/>
              <a:p>
                <a:endParaRPr lang="en-GB"/>
              </a:p>
            </p:txBody>
          </p:sp>
          <p:sp>
            <p:nvSpPr>
              <p:cNvPr id="6629" name="Vrije vorm: vorm 6628">
                <a:extLst>
                  <a:ext uri="{FF2B5EF4-FFF2-40B4-BE49-F238E27FC236}">
                    <a16:creationId xmlns:a16="http://schemas.microsoft.com/office/drawing/2014/main" id="{29AA2B2D-BB7C-4E43-8D0D-23F816D8CB4C}"/>
                  </a:ext>
                </a:extLst>
              </p:cNvPr>
              <p:cNvSpPr/>
              <p:nvPr/>
            </p:nvSpPr>
            <p:spPr>
              <a:xfrm>
                <a:off x="6907814" y="1722368"/>
                <a:ext cx="16446" cy="11243"/>
              </a:xfrm>
              <a:custGeom>
                <a:avLst/>
                <a:gdLst>
                  <a:gd name="connsiteX0" fmla="*/ 0 w 16446"/>
                  <a:gd name="connsiteY0" fmla="*/ 11244 h 11243"/>
                  <a:gd name="connsiteX1" fmla="*/ 598 w 16446"/>
                  <a:gd name="connsiteY1" fmla="*/ 9808 h 11243"/>
                  <a:gd name="connsiteX2" fmla="*/ 1196 w 16446"/>
                  <a:gd name="connsiteY2" fmla="*/ 8373 h 11243"/>
                  <a:gd name="connsiteX3" fmla="*/ 5083 w 16446"/>
                  <a:gd name="connsiteY3" fmla="*/ 3349 h 11243"/>
                  <a:gd name="connsiteX4" fmla="*/ 9270 w 16446"/>
                  <a:gd name="connsiteY4" fmla="*/ 778 h 11243"/>
                  <a:gd name="connsiteX5" fmla="*/ 9748 w 16446"/>
                  <a:gd name="connsiteY5" fmla="*/ 658 h 11243"/>
                  <a:gd name="connsiteX6" fmla="*/ 12080 w 16446"/>
                  <a:gd name="connsiteY6" fmla="*/ 0 h 11243"/>
                  <a:gd name="connsiteX7" fmla="*/ 15430 w 16446"/>
                  <a:gd name="connsiteY7" fmla="*/ 957 h 11243"/>
                  <a:gd name="connsiteX8" fmla="*/ 16447 w 16446"/>
                  <a:gd name="connsiteY8" fmla="*/ 1256 h 1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46" h="11243">
                    <a:moveTo>
                      <a:pt x="0" y="11244"/>
                    </a:moveTo>
                    <a:lnTo>
                      <a:pt x="598" y="9808"/>
                    </a:lnTo>
                    <a:lnTo>
                      <a:pt x="1196" y="8373"/>
                    </a:lnTo>
                    <a:lnTo>
                      <a:pt x="5083" y="3349"/>
                    </a:lnTo>
                    <a:lnTo>
                      <a:pt x="9270" y="778"/>
                    </a:lnTo>
                    <a:lnTo>
                      <a:pt x="9748" y="658"/>
                    </a:lnTo>
                    <a:lnTo>
                      <a:pt x="12080" y="0"/>
                    </a:lnTo>
                    <a:lnTo>
                      <a:pt x="15430" y="957"/>
                    </a:lnTo>
                    <a:lnTo>
                      <a:pt x="16447" y="1256"/>
                    </a:lnTo>
                  </a:path>
                </a:pathLst>
              </a:custGeom>
              <a:noFill/>
              <a:ln w="6350" cap="rnd">
                <a:solidFill>
                  <a:schemeClr val="bg1">
                    <a:alpha val="80000"/>
                  </a:schemeClr>
                </a:solidFill>
                <a:prstDash val="solid"/>
                <a:round/>
              </a:ln>
            </p:spPr>
            <p:txBody>
              <a:bodyPr rtlCol="0" anchor="ctr"/>
              <a:lstStyle/>
              <a:p>
                <a:endParaRPr lang="en-GB"/>
              </a:p>
            </p:txBody>
          </p:sp>
          <p:sp>
            <p:nvSpPr>
              <p:cNvPr id="6630" name="Vrije vorm: vorm 6629">
                <a:extLst>
                  <a:ext uri="{FF2B5EF4-FFF2-40B4-BE49-F238E27FC236}">
                    <a16:creationId xmlns:a16="http://schemas.microsoft.com/office/drawing/2014/main" id="{7AFEE502-21E9-4068-A49E-EC0BC5921A51}"/>
                  </a:ext>
                </a:extLst>
              </p:cNvPr>
              <p:cNvSpPr/>
              <p:nvPr/>
            </p:nvSpPr>
            <p:spPr>
              <a:xfrm>
                <a:off x="7071147" y="1863274"/>
                <a:ext cx="3169" cy="2272"/>
              </a:xfrm>
              <a:custGeom>
                <a:avLst/>
                <a:gdLst>
                  <a:gd name="connsiteX0" fmla="*/ 3170 w 3169"/>
                  <a:gd name="connsiteY0" fmla="*/ 2273 h 2272"/>
                  <a:gd name="connsiteX1" fmla="*/ 2990 w 3169"/>
                  <a:gd name="connsiteY1" fmla="*/ 2153 h 2272"/>
                  <a:gd name="connsiteX2" fmla="*/ 0 w 3169"/>
                  <a:gd name="connsiteY2" fmla="*/ 0 h 2272"/>
                </a:gdLst>
                <a:ahLst/>
                <a:cxnLst>
                  <a:cxn ang="0">
                    <a:pos x="connsiteX0" y="connsiteY0"/>
                  </a:cxn>
                  <a:cxn ang="0">
                    <a:pos x="connsiteX1" y="connsiteY1"/>
                  </a:cxn>
                  <a:cxn ang="0">
                    <a:pos x="connsiteX2" y="connsiteY2"/>
                  </a:cxn>
                </a:cxnLst>
                <a:rect l="l" t="t" r="r" b="b"/>
                <a:pathLst>
                  <a:path w="3169" h="2272">
                    <a:moveTo>
                      <a:pt x="3170" y="2273"/>
                    </a:moveTo>
                    <a:lnTo>
                      <a:pt x="2990" y="2153"/>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31" name="Vrije vorm: vorm 6630">
                <a:extLst>
                  <a:ext uri="{FF2B5EF4-FFF2-40B4-BE49-F238E27FC236}">
                    <a16:creationId xmlns:a16="http://schemas.microsoft.com/office/drawing/2014/main" id="{A1F36CC6-7F5A-402A-9C10-F06F814B4502}"/>
                  </a:ext>
                </a:extLst>
              </p:cNvPr>
              <p:cNvSpPr/>
              <p:nvPr/>
            </p:nvSpPr>
            <p:spPr>
              <a:xfrm>
                <a:off x="6766130" y="1868417"/>
                <a:ext cx="119" cy="418"/>
              </a:xfrm>
              <a:custGeom>
                <a:avLst/>
                <a:gdLst>
                  <a:gd name="connsiteX0" fmla="*/ 0 w 119"/>
                  <a:gd name="connsiteY0" fmla="*/ 419 h 418"/>
                  <a:gd name="connsiteX1" fmla="*/ 120 w 119"/>
                  <a:gd name="connsiteY1" fmla="*/ 0 h 418"/>
                </a:gdLst>
                <a:ahLst/>
                <a:cxnLst>
                  <a:cxn ang="0">
                    <a:pos x="connsiteX0" y="connsiteY0"/>
                  </a:cxn>
                  <a:cxn ang="0">
                    <a:pos x="connsiteX1" y="connsiteY1"/>
                  </a:cxn>
                </a:cxnLst>
                <a:rect l="l" t="t" r="r" b="b"/>
                <a:pathLst>
                  <a:path w="119" h="418">
                    <a:moveTo>
                      <a:pt x="0" y="419"/>
                    </a:moveTo>
                    <a:lnTo>
                      <a:pt x="120" y="0"/>
                    </a:lnTo>
                  </a:path>
                </a:pathLst>
              </a:custGeom>
              <a:noFill/>
              <a:ln w="6350" cap="rnd">
                <a:solidFill>
                  <a:schemeClr val="bg1">
                    <a:alpha val="80000"/>
                  </a:schemeClr>
                </a:solidFill>
                <a:prstDash val="solid"/>
                <a:round/>
              </a:ln>
            </p:spPr>
            <p:txBody>
              <a:bodyPr rtlCol="0" anchor="ctr"/>
              <a:lstStyle/>
              <a:p>
                <a:endParaRPr lang="en-GB"/>
              </a:p>
            </p:txBody>
          </p:sp>
          <p:sp>
            <p:nvSpPr>
              <p:cNvPr id="6632" name="Vrije vorm: vorm 6631">
                <a:extLst>
                  <a:ext uri="{FF2B5EF4-FFF2-40B4-BE49-F238E27FC236}">
                    <a16:creationId xmlns:a16="http://schemas.microsoft.com/office/drawing/2014/main" id="{B16D9233-A897-4E5C-9584-B36F34143F29}"/>
                  </a:ext>
                </a:extLst>
              </p:cNvPr>
              <p:cNvSpPr/>
              <p:nvPr/>
            </p:nvSpPr>
            <p:spPr>
              <a:xfrm>
                <a:off x="7049736" y="1849399"/>
                <a:ext cx="24520" cy="41326"/>
              </a:xfrm>
              <a:custGeom>
                <a:avLst/>
                <a:gdLst>
                  <a:gd name="connsiteX0" fmla="*/ 24521 w 24520"/>
                  <a:gd name="connsiteY0" fmla="*/ 0 h 41326"/>
                  <a:gd name="connsiteX1" fmla="*/ 22128 w 24520"/>
                  <a:gd name="connsiteY1" fmla="*/ 7835 h 41326"/>
                  <a:gd name="connsiteX2" fmla="*/ 21530 w 24520"/>
                  <a:gd name="connsiteY2" fmla="*/ 9509 h 41326"/>
                  <a:gd name="connsiteX3" fmla="*/ 21052 w 24520"/>
                  <a:gd name="connsiteY3" fmla="*/ 10885 h 41326"/>
                  <a:gd name="connsiteX4" fmla="*/ 20933 w 24520"/>
                  <a:gd name="connsiteY4" fmla="*/ 11124 h 41326"/>
                  <a:gd name="connsiteX5" fmla="*/ 20275 w 24520"/>
                  <a:gd name="connsiteY5" fmla="*/ 13038 h 41326"/>
                  <a:gd name="connsiteX6" fmla="*/ 16088 w 24520"/>
                  <a:gd name="connsiteY6" fmla="*/ 24940 h 41326"/>
                  <a:gd name="connsiteX7" fmla="*/ 11064 w 24520"/>
                  <a:gd name="connsiteY7" fmla="*/ 36423 h 41326"/>
                  <a:gd name="connsiteX8" fmla="*/ 9091 w 24520"/>
                  <a:gd name="connsiteY8" fmla="*/ 40250 h 41326"/>
                  <a:gd name="connsiteX9" fmla="*/ 8432 w 24520"/>
                  <a:gd name="connsiteY9" fmla="*/ 40609 h 41326"/>
                  <a:gd name="connsiteX10" fmla="*/ 7596 w 24520"/>
                  <a:gd name="connsiteY10" fmla="*/ 41028 h 41326"/>
                  <a:gd name="connsiteX11" fmla="*/ 7177 w 24520"/>
                  <a:gd name="connsiteY11" fmla="*/ 41088 h 41326"/>
                  <a:gd name="connsiteX12" fmla="*/ 6041 w 24520"/>
                  <a:gd name="connsiteY12" fmla="*/ 41327 h 41326"/>
                  <a:gd name="connsiteX13" fmla="*/ 5981 w 24520"/>
                  <a:gd name="connsiteY13" fmla="*/ 41327 h 41326"/>
                  <a:gd name="connsiteX14" fmla="*/ 5921 w 24520"/>
                  <a:gd name="connsiteY14" fmla="*/ 41267 h 41326"/>
                  <a:gd name="connsiteX15" fmla="*/ 4664 w 24520"/>
                  <a:gd name="connsiteY15" fmla="*/ 40669 h 41326"/>
                  <a:gd name="connsiteX16" fmla="*/ 4126 w 24520"/>
                  <a:gd name="connsiteY16" fmla="*/ 40370 h 41326"/>
                  <a:gd name="connsiteX17" fmla="*/ 2571 w 24520"/>
                  <a:gd name="connsiteY17" fmla="*/ 39652 h 41326"/>
                  <a:gd name="connsiteX18" fmla="*/ 2333 w 24520"/>
                  <a:gd name="connsiteY18" fmla="*/ 39533 h 41326"/>
                  <a:gd name="connsiteX19" fmla="*/ 0 w 24520"/>
                  <a:gd name="connsiteY19" fmla="*/ 38516 h 4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520" h="41326">
                    <a:moveTo>
                      <a:pt x="24521" y="0"/>
                    </a:moveTo>
                    <a:lnTo>
                      <a:pt x="22128" y="7835"/>
                    </a:lnTo>
                    <a:lnTo>
                      <a:pt x="21530" y="9509"/>
                    </a:lnTo>
                    <a:lnTo>
                      <a:pt x="21052" y="10885"/>
                    </a:lnTo>
                    <a:lnTo>
                      <a:pt x="20933" y="11124"/>
                    </a:lnTo>
                    <a:lnTo>
                      <a:pt x="20275" y="13038"/>
                    </a:lnTo>
                    <a:lnTo>
                      <a:pt x="16088" y="24940"/>
                    </a:lnTo>
                    <a:lnTo>
                      <a:pt x="11064" y="36423"/>
                    </a:lnTo>
                    <a:lnTo>
                      <a:pt x="9091" y="40250"/>
                    </a:lnTo>
                    <a:lnTo>
                      <a:pt x="8432" y="40609"/>
                    </a:lnTo>
                    <a:lnTo>
                      <a:pt x="7596" y="41028"/>
                    </a:lnTo>
                    <a:lnTo>
                      <a:pt x="7177" y="41088"/>
                    </a:lnTo>
                    <a:lnTo>
                      <a:pt x="6041" y="41327"/>
                    </a:lnTo>
                    <a:lnTo>
                      <a:pt x="5981" y="41327"/>
                    </a:lnTo>
                    <a:lnTo>
                      <a:pt x="5921" y="41267"/>
                    </a:lnTo>
                    <a:lnTo>
                      <a:pt x="4664" y="40669"/>
                    </a:lnTo>
                    <a:lnTo>
                      <a:pt x="4126" y="40370"/>
                    </a:lnTo>
                    <a:lnTo>
                      <a:pt x="2571" y="39652"/>
                    </a:lnTo>
                    <a:lnTo>
                      <a:pt x="2333" y="39533"/>
                    </a:lnTo>
                    <a:lnTo>
                      <a:pt x="0" y="38516"/>
                    </a:lnTo>
                  </a:path>
                </a:pathLst>
              </a:custGeom>
              <a:noFill/>
              <a:ln w="6350" cap="rnd">
                <a:solidFill>
                  <a:schemeClr val="bg1">
                    <a:alpha val="80000"/>
                  </a:schemeClr>
                </a:solidFill>
                <a:prstDash val="solid"/>
                <a:round/>
              </a:ln>
            </p:spPr>
            <p:txBody>
              <a:bodyPr rtlCol="0" anchor="ctr"/>
              <a:lstStyle/>
              <a:p>
                <a:endParaRPr lang="en-GB"/>
              </a:p>
            </p:txBody>
          </p:sp>
          <p:sp>
            <p:nvSpPr>
              <p:cNvPr id="6633" name="Vrije vorm: vorm 6632">
                <a:extLst>
                  <a:ext uri="{FF2B5EF4-FFF2-40B4-BE49-F238E27FC236}">
                    <a16:creationId xmlns:a16="http://schemas.microsoft.com/office/drawing/2014/main" id="{BB3251D8-0670-4280-94EE-A5E4D133674C}"/>
                  </a:ext>
                </a:extLst>
              </p:cNvPr>
              <p:cNvSpPr/>
              <p:nvPr/>
            </p:nvSpPr>
            <p:spPr>
              <a:xfrm>
                <a:off x="6612545" y="1910283"/>
                <a:ext cx="1076" cy="2990"/>
              </a:xfrm>
              <a:custGeom>
                <a:avLst/>
                <a:gdLst>
                  <a:gd name="connsiteX0" fmla="*/ 0 w 1076"/>
                  <a:gd name="connsiteY0" fmla="*/ 0 h 2990"/>
                  <a:gd name="connsiteX1" fmla="*/ 1076 w 1076"/>
                  <a:gd name="connsiteY1" fmla="*/ 2990 h 2990"/>
                </a:gdLst>
                <a:ahLst/>
                <a:cxnLst>
                  <a:cxn ang="0">
                    <a:pos x="connsiteX0" y="connsiteY0"/>
                  </a:cxn>
                  <a:cxn ang="0">
                    <a:pos x="connsiteX1" y="connsiteY1"/>
                  </a:cxn>
                </a:cxnLst>
                <a:rect l="l" t="t" r="r" b="b"/>
                <a:pathLst>
                  <a:path w="1076" h="2990">
                    <a:moveTo>
                      <a:pt x="0" y="0"/>
                    </a:moveTo>
                    <a:lnTo>
                      <a:pt x="1076" y="2990"/>
                    </a:lnTo>
                  </a:path>
                </a:pathLst>
              </a:custGeom>
              <a:noFill/>
              <a:ln w="6350" cap="rnd">
                <a:solidFill>
                  <a:schemeClr val="bg1">
                    <a:alpha val="80000"/>
                  </a:schemeClr>
                </a:solidFill>
                <a:prstDash val="solid"/>
                <a:round/>
              </a:ln>
            </p:spPr>
            <p:txBody>
              <a:bodyPr rtlCol="0" anchor="ctr"/>
              <a:lstStyle/>
              <a:p>
                <a:endParaRPr lang="en-GB"/>
              </a:p>
            </p:txBody>
          </p:sp>
          <p:sp>
            <p:nvSpPr>
              <p:cNvPr id="6634" name="Vrije vorm: vorm 6633">
                <a:extLst>
                  <a:ext uri="{FF2B5EF4-FFF2-40B4-BE49-F238E27FC236}">
                    <a16:creationId xmlns:a16="http://schemas.microsoft.com/office/drawing/2014/main" id="{D18F6739-569D-471C-9D38-4D24FD83ED01}"/>
                  </a:ext>
                </a:extLst>
              </p:cNvPr>
              <p:cNvSpPr/>
              <p:nvPr/>
            </p:nvSpPr>
            <p:spPr>
              <a:xfrm>
                <a:off x="6923244" y="1718660"/>
                <a:ext cx="5801" cy="4545"/>
              </a:xfrm>
              <a:custGeom>
                <a:avLst/>
                <a:gdLst>
                  <a:gd name="connsiteX0" fmla="*/ 0 w 5801"/>
                  <a:gd name="connsiteY0" fmla="*/ 4545 h 4545"/>
                  <a:gd name="connsiteX1" fmla="*/ 4665 w 5801"/>
                  <a:gd name="connsiteY1" fmla="*/ 478 h 4545"/>
                  <a:gd name="connsiteX2" fmla="*/ 5801 w 5801"/>
                  <a:gd name="connsiteY2" fmla="*/ 0 h 4545"/>
                </a:gdLst>
                <a:ahLst/>
                <a:cxnLst>
                  <a:cxn ang="0">
                    <a:pos x="connsiteX0" y="connsiteY0"/>
                  </a:cxn>
                  <a:cxn ang="0">
                    <a:pos x="connsiteX1" y="connsiteY1"/>
                  </a:cxn>
                  <a:cxn ang="0">
                    <a:pos x="connsiteX2" y="connsiteY2"/>
                  </a:cxn>
                </a:cxnLst>
                <a:rect l="l" t="t" r="r" b="b"/>
                <a:pathLst>
                  <a:path w="5801" h="4545">
                    <a:moveTo>
                      <a:pt x="0" y="4545"/>
                    </a:moveTo>
                    <a:lnTo>
                      <a:pt x="4665" y="478"/>
                    </a:lnTo>
                    <a:lnTo>
                      <a:pt x="5801" y="0"/>
                    </a:lnTo>
                  </a:path>
                </a:pathLst>
              </a:custGeom>
              <a:noFill/>
              <a:ln w="6350" cap="rnd">
                <a:solidFill>
                  <a:schemeClr val="bg1">
                    <a:alpha val="80000"/>
                  </a:schemeClr>
                </a:solidFill>
                <a:prstDash val="solid"/>
                <a:round/>
              </a:ln>
            </p:spPr>
            <p:txBody>
              <a:bodyPr rtlCol="0" anchor="ctr"/>
              <a:lstStyle/>
              <a:p>
                <a:endParaRPr lang="en-GB"/>
              </a:p>
            </p:txBody>
          </p:sp>
          <p:sp>
            <p:nvSpPr>
              <p:cNvPr id="6635" name="Vrije vorm: vorm 6634">
                <a:extLst>
                  <a:ext uri="{FF2B5EF4-FFF2-40B4-BE49-F238E27FC236}">
                    <a16:creationId xmlns:a16="http://schemas.microsoft.com/office/drawing/2014/main" id="{C19BF2A7-195D-4A7A-BE5C-EFF0BF1115AE}"/>
                  </a:ext>
                </a:extLst>
              </p:cNvPr>
              <p:cNvSpPr/>
              <p:nvPr/>
            </p:nvSpPr>
            <p:spPr>
              <a:xfrm>
                <a:off x="6663381" y="1925115"/>
                <a:ext cx="24042" cy="24162"/>
              </a:xfrm>
              <a:custGeom>
                <a:avLst/>
                <a:gdLst>
                  <a:gd name="connsiteX0" fmla="*/ 24043 w 24042"/>
                  <a:gd name="connsiteY0" fmla="*/ 24162 h 24162"/>
                  <a:gd name="connsiteX1" fmla="*/ 23145 w 24042"/>
                  <a:gd name="connsiteY1" fmla="*/ 23325 h 24162"/>
                  <a:gd name="connsiteX2" fmla="*/ 22846 w 24042"/>
                  <a:gd name="connsiteY2" fmla="*/ 23026 h 24162"/>
                  <a:gd name="connsiteX3" fmla="*/ 20933 w 24042"/>
                  <a:gd name="connsiteY3" fmla="*/ 21291 h 24162"/>
                  <a:gd name="connsiteX4" fmla="*/ 19079 w 24042"/>
                  <a:gd name="connsiteY4" fmla="*/ 19617 h 24162"/>
                  <a:gd name="connsiteX5" fmla="*/ 12918 w 24042"/>
                  <a:gd name="connsiteY5" fmla="*/ 13995 h 24162"/>
                  <a:gd name="connsiteX6" fmla="*/ 3708 w 24042"/>
                  <a:gd name="connsiteY6" fmla="*/ 5682 h 24162"/>
                  <a:gd name="connsiteX7" fmla="*/ 2213 w 24042"/>
                  <a:gd name="connsiteY7" fmla="*/ 3588 h 24162"/>
                  <a:gd name="connsiteX8" fmla="*/ 1854 w 24042"/>
                  <a:gd name="connsiteY8" fmla="*/ 3110 h 24162"/>
                  <a:gd name="connsiteX9" fmla="*/ 1495 w 24042"/>
                  <a:gd name="connsiteY9" fmla="*/ 2512 h 24162"/>
                  <a:gd name="connsiteX10" fmla="*/ 0 w 24042"/>
                  <a:gd name="connsiteY10" fmla="*/ 0 h 2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42" h="24162">
                    <a:moveTo>
                      <a:pt x="24043" y="24162"/>
                    </a:moveTo>
                    <a:lnTo>
                      <a:pt x="23145" y="23325"/>
                    </a:lnTo>
                    <a:lnTo>
                      <a:pt x="22846" y="23026"/>
                    </a:lnTo>
                    <a:lnTo>
                      <a:pt x="20933" y="21291"/>
                    </a:lnTo>
                    <a:lnTo>
                      <a:pt x="19079" y="19617"/>
                    </a:lnTo>
                    <a:lnTo>
                      <a:pt x="12918" y="13995"/>
                    </a:lnTo>
                    <a:lnTo>
                      <a:pt x="3708" y="5682"/>
                    </a:lnTo>
                    <a:lnTo>
                      <a:pt x="2213" y="3588"/>
                    </a:lnTo>
                    <a:lnTo>
                      <a:pt x="1854" y="3110"/>
                    </a:lnTo>
                    <a:lnTo>
                      <a:pt x="1495" y="2512"/>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36" name="Vrije vorm: vorm 6635">
                <a:extLst>
                  <a:ext uri="{FF2B5EF4-FFF2-40B4-BE49-F238E27FC236}">
                    <a16:creationId xmlns:a16="http://schemas.microsoft.com/office/drawing/2014/main" id="{C8FB57CC-F7E3-48F8-A1EC-1D722F3339C5}"/>
                  </a:ext>
                </a:extLst>
              </p:cNvPr>
              <p:cNvSpPr/>
              <p:nvPr/>
            </p:nvSpPr>
            <p:spPr>
              <a:xfrm>
                <a:off x="6766907" y="1918177"/>
                <a:ext cx="6040" cy="10286"/>
              </a:xfrm>
              <a:custGeom>
                <a:avLst/>
                <a:gdLst>
                  <a:gd name="connsiteX0" fmla="*/ 0 w 6040"/>
                  <a:gd name="connsiteY0" fmla="*/ 0 h 10286"/>
                  <a:gd name="connsiteX1" fmla="*/ 1914 w 6040"/>
                  <a:gd name="connsiteY1" fmla="*/ 179 h 10286"/>
                  <a:gd name="connsiteX2" fmla="*/ 3469 w 6040"/>
                  <a:gd name="connsiteY2" fmla="*/ 299 h 10286"/>
                  <a:gd name="connsiteX3" fmla="*/ 4067 w 6040"/>
                  <a:gd name="connsiteY3" fmla="*/ 359 h 10286"/>
                  <a:gd name="connsiteX4" fmla="*/ 4127 w 6040"/>
                  <a:gd name="connsiteY4" fmla="*/ 359 h 10286"/>
                  <a:gd name="connsiteX5" fmla="*/ 3888 w 6040"/>
                  <a:gd name="connsiteY5" fmla="*/ 2931 h 10286"/>
                  <a:gd name="connsiteX6" fmla="*/ 3888 w 6040"/>
                  <a:gd name="connsiteY6" fmla="*/ 3170 h 10286"/>
                  <a:gd name="connsiteX7" fmla="*/ 3947 w 6040"/>
                  <a:gd name="connsiteY7" fmla="*/ 3289 h 10286"/>
                  <a:gd name="connsiteX8" fmla="*/ 4366 w 6040"/>
                  <a:gd name="connsiteY8" fmla="*/ 4007 h 10286"/>
                  <a:gd name="connsiteX9" fmla="*/ 5442 w 6040"/>
                  <a:gd name="connsiteY9" fmla="*/ 5801 h 10286"/>
                  <a:gd name="connsiteX10" fmla="*/ 6041 w 6040"/>
                  <a:gd name="connsiteY10" fmla="*/ 6818 h 10286"/>
                  <a:gd name="connsiteX11" fmla="*/ 6041 w 6040"/>
                  <a:gd name="connsiteY11" fmla="*/ 6938 h 10286"/>
                  <a:gd name="connsiteX12" fmla="*/ 5921 w 6040"/>
                  <a:gd name="connsiteY12" fmla="*/ 7954 h 10286"/>
                  <a:gd name="connsiteX13" fmla="*/ 5562 w 6040"/>
                  <a:gd name="connsiteY13" fmla="*/ 10287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40" h="10286">
                    <a:moveTo>
                      <a:pt x="0" y="0"/>
                    </a:moveTo>
                    <a:lnTo>
                      <a:pt x="1914" y="179"/>
                    </a:lnTo>
                    <a:lnTo>
                      <a:pt x="3469" y="299"/>
                    </a:lnTo>
                    <a:lnTo>
                      <a:pt x="4067" y="359"/>
                    </a:lnTo>
                    <a:lnTo>
                      <a:pt x="4127" y="359"/>
                    </a:lnTo>
                    <a:lnTo>
                      <a:pt x="3888" y="2931"/>
                    </a:lnTo>
                    <a:lnTo>
                      <a:pt x="3888" y="3170"/>
                    </a:lnTo>
                    <a:lnTo>
                      <a:pt x="3947" y="3289"/>
                    </a:lnTo>
                    <a:lnTo>
                      <a:pt x="4366" y="4007"/>
                    </a:lnTo>
                    <a:lnTo>
                      <a:pt x="5442" y="5801"/>
                    </a:lnTo>
                    <a:lnTo>
                      <a:pt x="6041" y="6818"/>
                    </a:lnTo>
                    <a:lnTo>
                      <a:pt x="6041" y="6938"/>
                    </a:lnTo>
                    <a:lnTo>
                      <a:pt x="5921" y="7954"/>
                    </a:lnTo>
                    <a:lnTo>
                      <a:pt x="5562" y="10287"/>
                    </a:lnTo>
                  </a:path>
                </a:pathLst>
              </a:custGeom>
              <a:noFill/>
              <a:ln w="6350" cap="rnd">
                <a:solidFill>
                  <a:schemeClr val="bg1">
                    <a:alpha val="80000"/>
                  </a:schemeClr>
                </a:solidFill>
                <a:prstDash val="solid"/>
                <a:round/>
              </a:ln>
            </p:spPr>
            <p:txBody>
              <a:bodyPr rtlCol="0" anchor="ctr"/>
              <a:lstStyle/>
              <a:p>
                <a:endParaRPr lang="en-GB"/>
              </a:p>
            </p:txBody>
          </p:sp>
          <p:sp>
            <p:nvSpPr>
              <p:cNvPr id="6637" name="Vrije vorm: vorm 6636">
                <a:extLst>
                  <a:ext uri="{FF2B5EF4-FFF2-40B4-BE49-F238E27FC236}">
                    <a16:creationId xmlns:a16="http://schemas.microsoft.com/office/drawing/2014/main" id="{532C2D08-6343-4C68-8733-FED40BE66060}"/>
                  </a:ext>
                </a:extLst>
              </p:cNvPr>
              <p:cNvSpPr/>
              <p:nvPr/>
            </p:nvSpPr>
            <p:spPr>
              <a:xfrm>
                <a:off x="7072164" y="1796888"/>
                <a:ext cx="717" cy="3708"/>
              </a:xfrm>
              <a:custGeom>
                <a:avLst/>
                <a:gdLst>
                  <a:gd name="connsiteX0" fmla="*/ 0 w 717"/>
                  <a:gd name="connsiteY0" fmla="*/ 0 h 3708"/>
                  <a:gd name="connsiteX1" fmla="*/ 718 w 717"/>
                  <a:gd name="connsiteY1" fmla="*/ 1376 h 3708"/>
                  <a:gd name="connsiteX2" fmla="*/ 658 w 717"/>
                  <a:gd name="connsiteY2" fmla="*/ 1854 h 3708"/>
                  <a:gd name="connsiteX3" fmla="*/ 658 w 717"/>
                  <a:gd name="connsiteY3" fmla="*/ 1914 h 3708"/>
                  <a:gd name="connsiteX4" fmla="*/ 538 w 717"/>
                  <a:gd name="connsiteY4" fmla="*/ 2811 h 3708"/>
                  <a:gd name="connsiteX5" fmla="*/ 418 w 717"/>
                  <a:gd name="connsiteY5" fmla="*/ 3708 h 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7" h="3708">
                    <a:moveTo>
                      <a:pt x="0" y="0"/>
                    </a:moveTo>
                    <a:lnTo>
                      <a:pt x="718" y="1376"/>
                    </a:lnTo>
                    <a:lnTo>
                      <a:pt x="658" y="1854"/>
                    </a:lnTo>
                    <a:lnTo>
                      <a:pt x="658" y="1914"/>
                    </a:lnTo>
                    <a:lnTo>
                      <a:pt x="538" y="2811"/>
                    </a:lnTo>
                    <a:lnTo>
                      <a:pt x="418" y="3708"/>
                    </a:lnTo>
                  </a:path>
                </a:pathLst>
              </a:custGeom>
              <a:noFill/>
              <a:ln w="6350" cap="rnd">
                <a:solidFill>
                  <a:schemeClr val="bg1">
                    <a:alpha val="80000"/>
                  </a:schemeClr>
                </a:solidFill>
                <a:prstDash val="solid"/>
                <a:round/>
              </a:ln>
            </p:spPr>
            <p:txBody>
              <a:bodyPr rtlCol="0" anchor="ctr"/>
              <a:lstStyle/>
              <a:p>
                <a:endParaRPr lang="en-GB"/>
              </a:p>
            </p:txBody>
          </p:sp>
          <p:sp>
            <p:nvSpPr>
              <p:cNvPr id="6638" name="Vrije vorm: vorm 6637">
                <a:extLst>
                  <a:ext uri="{FF2B5EF4-FFF2-40B4-BE49-F238E27FC236}">
                    <a16:creationId xmlns:a16="http://schemas.microsoft.com/office/drawing/2014/main" id="{5FFBB2F5-D9A4-4D44-BCC7-3ACBFC5F0C02}"/>
                  </a:ext>
                </a:extLst>
              </p:cNvPr>
              <p:cNvSpPr/>
              <p:nvPr/>
            </p:nvSpPr>
            <p:spPr>
              <a:xfrm>
                <a:off x="6593108" y="1913751"/>
                <a:ext cx="29604" cy="45752"/>
              </a:xfrm>
              <a:custGeom>
                <a:avLst/>
                <a:gdLst>
                  <a:gd name="connsiteX0" fmla="*/ 29605 w 29604"/>
                  <a:gd name="connsiteY0" fmla="*/ 43181 h 45752"/>
                  <a:gd name="connsiteX1" fmla="*/ 27152 w 29604"/>
                  <a:gd name="connsiteY1" fmla="*/ 45274 h 45752"/>
                  <a:gd name="connsiteX2" fmla="*/ 26554 w 29604"/>
                  <a:gd name="connsiteY2" fmla="*/ 45753 h 45752"/>
                  <a:gd name="connsiteX3" fmla="*/ 25179 w 29604"/>
                  <a:gd name="connsiteY3" fmla="*/ 44855 h 45752"/>
                  <a:gd name="connsiteX4" fmla="*/ 18421 w 29604"/>
                  <a:gd name="connsiteY4" fmla="*/ 38157 h 45752"/>
                  <a:gd name="connsiteX5" fmla="*/ 10645 w 29604"/>
                  <a:gd name="connsiteY5" fmla="*/ 28289 h 45752"/>
                  <a:gd name="connsiteX6" fmla="*/ 6459 w 29604"/>
                  <a:gd name="connsiteY6" fmla="*/ 21052 h 45752"/>
                  <a:gd name="connsiteX7" fmla="*/ 2691 w 29604"/>
                  <a:gd name="connsiteY7" fmla="*/ 12859 h 45752"/>
                  <a:gd name="connsiteX8" fmla="*/ 718 w 29604"/>
                  <a:gd name="connsiteY8" fmla="*/ 6997 h 45752"/>
                  <a:gd name="connsiteX9" fmla="*/ 0 w 29604"/>
                  <a:gd name="connsiteY9" fmla="*/ 3230 h 45752"/>
                  <a:gd name="connsiteX10" fmla="*/ 2811 w 29604"/>
                  <a:gd name="connsiteY10" fmla="*/ 0 h 4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04" h="45752">
                    <a:moveTo>
                      <a:pt x="29605" y="43181"/>
                    </a:moveTo>
                    <a:lnTo>
                      <a:pt x="27152" y="45274"/>
                    </a:lnTo>
                    <a:lnTo>
                      <a:pt x="26554" y="45753"/>
                    </a:lnTo>
                    <a:lnTo>
                      <a:pt x="25179" y="44855"/>
                    </a:lnTo>
                    <a:lnTo>
                      <a:pt x="18421" y="38157"/>
                    </a:lnTo>
                    <a:lnTo>
                      <a:pt x="10645" y="28289"/>
                    </a:lnTo>
                    <a:lnTo>
                      <a:pt x="6459" y="21052"/>
                    </a:lnTo>
                    <a:lnTo>
                      <a:pt x="2691" y="12859"/>
                    </a:lnTo>
                    <a:lnTo>
                      <a:pt x="718" y="6997"/>
                    </a:lnTo>
                    <a:lnTo>
                      <a:pt x="0" y="3230"/>
                    </a:lnTo>
                    <a:lnTo>
                      <a:pt x="2811" y="0"/>
                    </a:lnTo>
                  </a:path>
                </a:pathLst>
              </a:custGeom>
              <a:noFill/>
              <a:ln w="6350" cap="rnd">
                <a:solidFill>
                  <a:schemeClr val="bg1">
                    <a:alpha val="80000"/>
                  </a:schemeClr>
                </a:solidFill>
                <a:prstDash val="solid"/>
                <a:round/>
              </a:ln>
            </p:spPr>
            <p:txBody>
              <a:bodyPr rtlCol="0" anchor="ctr"/>
              <a:lstStyle/>
              <a:p>
                <a:endParaRPr lang="en-GB"/>
              </a:p>
            </p:txBody>
          </p:sp>
          <p:sp>
            <p:nvSpPr>
              <p:cNvPr id="6639" name="Vrije vorm: vorm 6638">
                <a:extLst>
                  <a:ext uri="{FF2B5EF4-FFF2-40B4-BE49-F238E27FC236}">
                    <a16:creationId xmlns:a16="http://schemas.microsoft.com/office/drawing/2014/main" id="{E2D90245-E8EF-4B87-B830-7E6A2B840D8D}"/>
                  </a:ext>
                </a:extLst>
              </p:cNvPr>
              <p:cNvSpPr/>
              <p:nvPr/>
            </p:nvSpPr>
            <p:spPr>
              <a:xfrm>
                <a:off x="6922586" y="2055016"/>
                <a:ext cx="2033" cy="2810"/>
              </a:xfrm>
              <a:custGeom>
                <a:avLst/>
                <a:gdLst>
                  <a:gd name="connsiteX0" fmla="*/ 2033 w 2033"/>
                  <a:gd name="connsiteY0" fmla="*/ 0 h 2810"/>
                  <a:gd name="connsiteX1" fmla="*/ 1973 w 2033"/>
                  <a:gd name="connsiteY1" fmla="*/ 120 h 2810"/>
                  <a:gd name="connsiteX2" fmla="*/ 1734 w 2033"/>
                  <a:gd name="connsiteY2" fmla="*/ 598 h 2810"/>
                  <a:gd name="connsiteX3" fmla="*/ 1615 w 2033"/>
                  <a:gd name="connsiteY3" fmla="*/ 897 h 2810"/>
                  <a:gd name="connsiteX4" fmla="*/ 1615 w 2033"/>
                  <a:gd name="connsiteY4" fmla="*/ 897 h 2810"/>
                  <a:gd name="connsiteX5" fmla="*/ 1256 w 2033"/>
                  <a:gd name="connsiteY5" fmla="*/ 1675 h 2810"/>
                  <a:gd name="connsiteX6" fmla="*/ 897 w 2033"/>
                  <a:gd name="connsiteY6" fmla="*/ 2392 h 2810"/>
                  <a:gd name="connsiteX7" fmla="*/ 778 w 2033"/>
                  <a:gd name="connsiteY7" fmla="*/ 2691 h 2810"/>
                  <a:gd name="connsiteX8" fmla="*/ 718 w 2033"/>
                  <a:gd name="connsiteY8" fmla="*/ 2811 h 2810"/>
                  <a:gd name="connsiteX9" fmla="*/ 598 w 2033"/>
                  <a:gd name="connsiteY9" fmla="*/ 2751 h 2810"/>
                  <a:gd name="connsiteX10" fmla="*/ 0 w 2033"/>
                  <a:gd name="connsiteY10" fmla="*/ 2452 h 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3" h="2810">
                    <a:moveTo>
                      <a:pt x="2033" y="0"/>
                    </a:moveTo>
                    <a:lnTo>
                      <a:pt x="1973" y="120"/>
                    </a:lnTo>
                    <a:lnTo>
                      <a:pt x="1734" y="598"/>
                    </a:lnTo>
                    <a:lnTo>
                      <a:pt x="1615" y="897"/>
                    </a:lnTo>
                    <a:lnTo>
                      <a:pt x="1615" y="897"/>
                    </a:lnTo>
                    <a:lnTo>
                      <a:pt x="1256" y="1675"/>
                    </a:lnTo>
                    <a:lnTo>
                      <a:pt x="897" y="2392"/>
                    </a:lnTo>
                    <a:lnTo>
                      <a:pt x="778" y="2691"/>
                    </a:lnTo>
                    <a:lnTo>
                      <a:pt x="718" y="2811"/>
                    </a:lnTo>
                    <a:lnTo>
                      <a:pt x="598" y="2751"/>
                    </a:lnTo>
                    <a:lnTo>
                      <a:pt x="0" y="2452"/>
                    </a:lnTo>
                  </a:path>
                </a:pathLst>
              </a:custGeom>
              <a:noFill/>
              <a:ln w="6350" cap="rnd">
                <a:solidFill>
                  <a:schemeClr val="bg1">
                    <a:alpha val="80000"/>
                  </a:schemeClr>
                </a:solidFill>
                <a:prstDash val="solid"/>
                <a:round/>
              </a:ln>
            </p:spPr>
            <p:txBody>
              <a:bodyPr rtlCol="0" anchor="ctr"/>
              <a:lstStyle/>
              <a:p>
                <a:endParaRPr lang="en-GB"/>
              </a:p>
            </p:txBody>
          </p:sp>
          <p:sp>
            <p:nvSpPr>
              <p:cNvPr id="6640" name="Vrije vorm: vorm 6639">
                <a:extLst>
                  <a:ext uri="{FF2B5EF4-FFF2-40B4-BE49-F238E27FC236}">
                    <a16:creationId xmlns:a16="http://schemas.microsoft.com/office/drawing/2014/main" id="{5FD6CA43-02D2-4DB1-85EE-9BEBD9EF8A4E}"/>
                  </a:ext>
                </a:extLst>
              </p:cNvPr>
              <p:cNvSpPr/>
              <p:nvPr/>
            </p:nvSpPr>
            <p:spPr>
              <a:xfrm>
                <a:off x="7003385" y="1801852"/>
                <a:ext cx="21650" cy="37200"/>
              </a:xfrm>
              <a:custGeom>
                <a:avLst/>
                <a:gdLst>
                  <a:gd name="connsiteX0" fmla="*/ 0 w 21650"/>
                  <a:gd name="connsiteY0" fmla="*/ 37200 h 37200"/>
                  <a:gd name="connsiteX1" fmla="*/ 60 w 21650"/>
                  <a:gd name="connsiteY1" fmla="*/ 37140 h 37200"/>
                  <a:gd name="connsiteX2" fmla="*/ 478 w 21650"/>
                  <a:gd name="connsiteY2" fmla="*/ 36423 h 37200"/>
                  <a:gd name="connsiteX3" fmla="*/ 2033 w 21650"/>
                  <a:gd name="connsiteY3" fmla="*/ 33612 h 37200"/>
                  <a:gd name="connsiteX4" fmla="*/ 12021 w 21650"/>
                  <a:gd name="connsiteY4" fmla="*/ 16028 h 37200"/>
                  <a:gd name="connsiteX5" fmla="*/ 21530 w 21650"/>
                  <a:gd name="connsiteY5" fmla="*/ 179 h 37200"/>
                  <a:gd name="connsiteX6" fmla="*/ 21650 w 21650"/>
                  <a:gd name="connsiteY6" fmla="*/ 0 h 3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50" h="37200">
                    <a:moveTo>
                      <a:pt x="0" y="37200"/>
                    </a:moveTo>
                    <a:lnTo>
                      <a:pt x="60" y="37140"/>
                    </a:lnTo>
                    <a:lnTo>
                      <a:pt x="478" y="36423"/>
                    </a:lnTo>
                    <a:lnTo>
                      <a:pt x="2033" y="33612"/>
                    </a:lnTo>
                    <a:lnTo>
                      <a:pt x="12021" y="16028"/>
                    </a:lnTo>
                    <a:lnTo>
                      <a:pt x="21530" y="179"/>
                    </a:lnTo>
                    <a:lnTo>
                      <a:pt x="21650" y="0"/>
                    </a:lnTo>
                  </a:path>
                </a:pathLst>
              </a:custGeom>
              <a:noFill/>
              <a:ln w="6350" cap="rnd">
                <a:solidFill>
                  <a:schemeClr val="bg1">
                    <a:alpha val="80000"/>
                  </a:schemeClr>
                </a:solidFill>
                <a:prstDash val="solid"/>
                <a:round/>
              </a:ln>
            </p:spPr>
            <p:txBody>
              <a:bodyPr rtlCol="0" anchor="ctr"/>
              <a:lstStyle/>
              <a:p>
                <a:endParaRPr lang="en-GB"/>
              </a:p>
            </p:txBody>
          </p:sp>
          <p:sp>
            <p:nvSpPr>
              <p:cNvPr id="6641" name="Vrije vorm: vorm 6640">
                <a:extLst>
                  <a:ext uri="{FF2B5EF4-FFF2-40B4-BE49-F238E27FC236}">
                    <a16:creationId xmlns:a16="http://schemas.microsoft.com/office/drawing/2014/main" id="{04C73D8C-B1F5-40FE-A115-A36C85861F12}"/>
                  </a:ext>
                </a:extLst>
              </p:cNvPr>
              <p:cNvSpPr/>
              <p:nvPr/>
            </p:nvSpPr>
            <p:spPr>
              <a:xfrm>
                <a:off x="7076051" y="1801852"/>
                <a:ext cx="718" cy="418"/>
              </a:xfrm>
              <a:custGeom>
                <a:avLst/>
                <a:gdLst>
                  <a:gd name="connsiteX0" fmla="*/ 718 w 718"/>
                  <a:gd name="connsiteY0" fmla="*/ 0 h 418"/>
                  <a:gd name="connsiteX1" fmla="*/ 718 w 718"/>
                  <a:gd name="connsiteY1" fmla="*/ 0 h 418"/>
                  <a:gd name="connsiteX2" fmla="*/ 479 w 718"/>
                  <a:gd name="connsiteY2" fmla="*/ 60 h 418"/>
                  <a:gd name="connsiteX3" fmla="*/ 419 w 718"/>
                  <a:gd name="connsiteY3" fmla="*/ 60 h 418"/>
                  <a:gd name="connsiteX4" fmla="*/ 419 w 718"/>
                  <a:gd name="connsiteY4" fmla="*/ 60 h 418"/>
                  <a:gd name="connsiteX5" fmla="*/ 120 w 718"/>
                  <a:gd name="connsiteY5" fmla="*/ 179 h 418"/>
                  <a:gd name="connsiteX6" fmla="*/ 0 w 718"/>
                  <a:gd name="connsiteY6" fmla="*/ 419 h 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 h="418">
                    <a:moveTo>
                      <a:pt x="718" y="0"/>
                    </a:moveTo>
                    <a:lnTo>
                      <a:pt x="718" y="0"/>
                    </a:lnTo>
                    <a:lnTo>
                      <a:pt x="479" y="60"/>
                    </a:lnTo>
                    <a:lnTo>
                      <a:pt x="419" y="60"/>
                    </a:lnTo>
                    <a:lnTo>
                      <a:pt x="419" y="60"/>
                    </a:lnTo>
                    <a:lnTo>
                      <a:pt x="120" y="179"/>
                    </a:lnTo>
                    <a:lnTo>
                      <a:pt x="0" y="419"/>
                    </a:lnTo>
                  </a:path>
                </a:pathLst>
              </a:custGeom>
              <a:noFill/>
              <a:ln w="6350" cap="rnd">
                <a:solidFill>
                  <a:schemeClr val="bg1">
                    <a:alpha val="80000"/>
                  </a:schemeClr>
                </a:solidFill>
                <a:prstDash val="solid"/>
                <a:round/>
              </a:ln>
            </p:spPr>
            <p:txBody>
              <a:bodyPr rtlCol="0" anchor="ctr"/>
              <a:lstStyle/>
              <a:p>
                <a:endParaRPr lang="en-GB"/>
              </a:p>
            </p:txBody>
          </p:sp>
          <p:sp>
            <p:nvSpPr>
              <p:cNvPr id="6642" name="Vrije vorm: vorm 6641">
                <a:extLst>
                  <a:ext uri="{FF2B5EF4-FFF2-40B4-BE49-F238E27FC236}">
                    <a16:creationId xmlns:a16="http://schemas.microsoft.com/office/drawing/2014/main" id="{6911AB1A-E238-4967-B7AE-243A6FC27F24}"/>
                  </a:ext>
                </a:extLst>
              </p:cNvPr>
              <p:cNvSpPr/>
              <p:nvPr/>
            </p:nvSpPr>
            <p:spPr>
              <a:xfrm>
                <a:off x="6788737" y="2056631"/>
                <a:ext cx="32834" cy="42582"/>
              </a:xfrm>
              <a:custGeom>
                <a:avLst/>
                <a:gdLst>
                  <a:gd name="connsiteX0" fmla="*/ 32834 w 32834"/>
                  <a:gd name="connsiteY0" fmla="*/ 41327 h 42582"/>
                  <a:gd name="connsiteX1" fmla="*/ 31578 w 32834"/>
                  <a:gd name="connsiteY1" fmla="*/ 42583 h 42582"/>
                  <a:gd name="connsiteX2" fmla="*/ 31159 w 32834"/>
                  <a:gd name="connsiteY2" fmla="*/ 42344 h 42582"/>
                  <a:gd name="connsiteX3" fmla="*/ 22248 w 32834"/>
                  <a:gd name="connsiteY3" fmla="*/ 35585 h 42582"/>
                  <a:gd name="connsiteX4" fmla="*/ 13337 w 32834"/>
                  <a:gd name="connsiteY4" fmla="*/ 26853 h 42582"/>
                  <a:gd name="connsiteX5" fmla="*/ 8313 w 32834"/>
                  <a:gd name="connsiteY5" fmla="*/ 19976 h 42582"/>
                  <a:gd name="connsiteX6" fmla="*/ 3588 w 32834"/>
                  <a:gd name="connsiteY6" fmla="*/ 11603 h 42582"/>
                  <a:gd name="connsiteX7" fmla="*/ 957 w 32834"/>
                  <a:gd name="connsiteY7" fmla="*/ 5383 h 42582"/>
                  <a:gd name="connsiteX8" fmla="*/ 0 w 32834"/>
                  <a:gd name="connsiteY8" fmla="*/ 2632 h 42582"/>
                  <a:gd name="connsiteX9" fmla="*/ 1734 w 32834"/>
                  <a:gd name="connsiteY9" fmla="*/ 0 h 4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34" h="42582">
                    <a:moveTo>
                      <a:pt x="32834" y="41327"/>
                    </a:moveTo>
                    <a:lnTo>
                      <a:pt x="31578" y="42583"/>
                    </a:lnTo>
                    <a:lnTo>
                      <a:pt x="31159" y="42344"/>
                    </a:lnTo>
                    <a:lnTo>
                      <a:pt x="22248" y="35585"/>
                    </a:lnTo>
                    <a:lnTo>
                      <a:pt x="13337" y="26853"/>
                    </a:lnTo>
                    <a:lnTo>
                      <a:pt x="8313" y="19976"/>
                    </a:lnTo>
                    <a:lnTo>
                      <a:pt x="3588" y="11603"/>
                    </a:lnTo>
                    <a:lnTo>
                      <a:pt x="957" y="5383"/>
                    </a:lnTo>
                    <a:lnTo>
                      <a:pt x="0" y="2632"/>
                    </a:lnTo>
                    <a:lnTo>
                      <a:pt x="1734" y="0"/>
                    </a:lnTo>
                  </a:path>
                </a:pathLst>
              </a:custGeom>
              <a:noFill/>
              <a:ln w="6350" cap="rnd">
                <a:solidFill>
                  <a:schemeClr val="bg1">
                    <a:alpha val="80000"/>
                  </a:schemeClr>
                </a:solidFill>
                <a:prstDash val="solid"/>
                <a:round/>
              </a:ln>
            </p:spPr>
            <p:txBody>
              <a:bodyPr rtlCol="0" anchor="ctr"/>
              <a:lstStyle/>
              <a:p>
                <a:endParaRPr lang="en-GB"/>
              </a:p>
            </p:txBody>
          </p:sp>
          <p:sp>
            <p:nvSpPr>
              <p:cNvPr id="6643" name="Vrije vorm: vorm 6642">
                <a:extLst>
                  <a:ext uri="{FF2B5EF4-FFF2-40B4-BE49-F238E27FC236}">
                    <a16:creationId xmlns:a16="http://schemas.microsoft.com/office/drawing/2014/main" id="{7D8A5FBF-AB57-42D6-AACB-1EEEA7AA4109}"/>
                  </a:ext>
                </a:extLst>
              </p:cNvPr>
              <p:cNvSpPr/>
              <p:nvPr/>
            </p:nvSpPr>
            <p:spPr>
              <a:xfrm>
                <a:off x="6964989" y="1942160"/>
                <a:ext cx="1913" cy="3289"/>
              </a:xfrm>
              <a:custGeom>
                <a:avLst/>
                <a:gdLst>
                  <a:gd name="connsiteX0" fmla="*/ 0 w 1913"/>
                  <a:gd name="connsiteY0" fmla="*/ 3289 h 3289"/>
                  <a:gd name="connsiteX1" fmla="*/ 120 w 1913"/>
                  <a:gd name="connsiteY1" fmla="*/ 3110 h 3289"/>
                  <a:gd name="connsiteX2" fmla="*/ 1077 w 1913"/>
                  <a:gd name="connsiteY2" fmla="*/ 1495 h 3289"/>
                  <a:gd name="connsiteX3" fmla="*/ 1077 w 1913"/>
                  <a:gd name="connsiteY3" fmla="*/ 1435 h 3289"/>
                  <a:gd name="connsiteX4" fmla="*/ 1495 w 1913"/>
                  <a:gd name="connsiteY4" fmla="*/ 778 h 3289"/>
                  <a:gd name="connsiteX5" fmla="*/ 1914 w 1913"/>
                  <a:gd name="connsiteY5" fmla="*/ 60 h 3289"/>
                  <a:gd name="connsiteX6" fmla="*/ 1914 w 1913"/>
                  <a:gd name="connsiteY6" fmla="*/ 0 h 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3" h="3289">
                    <a:moveTo>
                      <a:pt x="0" y="3289"/>
                    </a:moveTo>
                    <a:lnTo>
                      <a:pt x="120" y="3110"/>
                    </a:lnTo>
                    <a:lnTo>
                      <a:pt x="1077" y="1495"/>
                    </a:lnTo>
                    <a:lnTo>
                      <a:pt x="1077" y="1435"/>
                    </a:lnTo>
                    <a:lnTo>
                      <a:pt x="1495" y="778"/>
                    </a:lnTo>
                    <a:lnTo>
                      <a:pt x="1914" y="60"/>
                    </a:lnTo>
                    <a:lnTo>
                      <a:pt x="1914" y="0"/>
                    </a:lnTo>
                  </a:path>
                </a:pathLst>
              </a:custGeom>
              <a:noFill/>
              <a:ln w="6350" cap="rnd">
                <a:solidFill>
                  <a:schemeClr val="bg1">
                    <a:alpha val="80000"/>
                  </a:schemeClr>
                </a:solidFill>
                <a:prstDash val="solid"/>
                <a:round/>
              </a:ln>
            </p:spPr>
            <p:txBody>
              <a:bodyPr rtlCol="0" anchor="ctr"/>
              <a:lstStyle/>
              <a:p>
                <a:endParaRPr lang="en-GB"/>
              </a:p>
            </p:txBody>
          </p:sp>
          <p:sp>
            <p:nvSpPr>
              <p:cNvPr id="6644" name="Vrije vorm: vorm 6643">
                <a:extLst>
                  <a:ext uri="{FF2B5EF4-FFF2-40B4-BE49-F238E27FC236}">
                    <a16:creationId xmlns:a16="http://schemas.microsoft.com/office/drawing/2014/main" id="{02A9B49B-B0D5-42F7-9FA0-09E5EC6CE665}"/>
                  </a:ext>
                </a:extLst>
              </p:cNvPr>
              <p:cNvSpPr/>
              <p:nvPr/>
            </p:nvSpPr>
            <p:spPr>
              <a:xfrm>
                <a:off x="6936640" y="1828107"/>
                <a:ext cx="2572" cy="2990"/>
              </a:xfrm>
              <a:custGeom>
                <a:avLst/>
                <a:gdLst>
                  <a:gd name="connsiteX0" fmla="*/ 1854 w 2572"/>
                  <a:gd name="connsiteY0" fmla="*/ 0 h 2990"/>
                  <a:gd name="connsiteX1" fmla="*/ 2153 w 2572"/>
                  <a:gd name="connsiteY1" fmla="*/ 419 h 2990"/>
                  <a:gd name="connsiteX2" fmla="*/ 2572 w 2572"/>
                  <a:gd name="connsiteY2" fmla="*/ 957 h 2990"/>
                  <a:gd name="connsiteX3" fmla="*/ 2452 w 2572"/>
                  <a:gd name="connsiteY3" fmla="*/ 1555 h 2990"/>
                  <a:gd name="connsiteX4" fmla="*/ 2392 w 2572"/>
                  <a:gd name="connsiteY4" fmla="*/ 1914 h 2990"/>
                  <a:gd name="connsiteX5" fmla="*/ 2392 w 2572"/>
                  <a:gd name="connsiteY5" fmla="*/ 1914 h 2990"/>
                  <a:gd name="connsiteX6" fmla="*/ 2333 w 2572"/>
                  <a:gd name="connsiteY6" fmla="*/ 2273 h 2990"/>
                  <a:gd name="connsiteX7" fmla="*/ 1435 w 2572"/>
                  <a:gd name="connsiteY7" fmla="*/ 2871 h 2990"/>
                  <a:gd name="connsiteX8" fmla="*/ 1256 w 2572"/>
                  <a:gd name="connsiteY8" fmla="*/ 2990 h 2990"/>
                  <a:gd name="connsiteX9" fmla="*/ 0 w 2572"/>
                  <a:gd name="connsiteY9" fmla="*/ 2811 h 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2" h="2990">
                    <a:moveTo>
                      <a:pt x="1854" y="0"/>
                    </a:moveTo>
                    <a:lnTo>
                      <a:pt x="2153" y="419"/>
                    </a:lnTo>
                    <a:lnTo>
                      <a:pt x="2572" y="957"/>
                    </a:lnTo>
                    <a:lnTo>
                      <a:pt x="2452" y="1555"/>
                    </a:lnTo>
                    <a:lnTo>
                      <a:pt x="2392" y="1914"/>
                    </a:lnTo>
                    <a:lnTo>
                      <a:pt x="2392" y="1914"/>
                    </a:lnTo>
                    <a:lnTo>
                      <a:pt x="2333" y="2273"/>
                    </a:lnTo>
                    <a:lnTo>
                      <a:pt x="1435" y="2871"/>
                    </a:lnTo>
                    <a:lnTo>
                      <a:pt x="1256" y="2990"/>
                    </a:lnTo>
                    <a:lnTo>
                      <a:pt x="0" y="2811"/>
                    </a:lnTo>
                  </a:path>
                </a:pathLst>
              </a:custGeom>
              <a:noFill/>
              <a:ln w="6350" cap="rnd">
                <a:solidFill>
                  <a:schemeClr val="bg1">
                    <a:alpha val="80000"/>
                  </a:schemeClr>
                </a:solidFill>
                <a:prstDash val="solid"/>
                <a:round/>
              </a:ln>
            </p:spPr>
            <p:txBody>
              <a:bodyPr rtlCol="0" anchor="ctr"/>
              <a:lstStyle/>
              <a:p>
                <a:endParaRPr lang="en-GB"/>
              </a:p>
            </p:txBody>
          </p:sp>
          <p:sp>
            <p:nvSpPr>
              <p:cNvPr id="6645" name="Vrije vorm: vorm 6644">
                <a:extLst>
                  <a:ext uri="{FF2B5EF4-FFF2-40B4-BE49-F238E27FC236}">
                    <a16:creationId xmlns:a16="http://schemas.microsoft.com/office/drawing/2014/main" id="{976B6F23-9143-4AEB-BC75-16F0896C3F14}"/>
                  </a:ext>
                </a:extLst>
              </p:cNvPr>
              <p:cNvSpPr/>
              <p:nvPr/>
            </p:nvSpPr>
            <p:spPr>
              <a:xfrm>
                <a:off x="6984785" y="1911598"/>
                <a:ext cx="10884" cy="10286"/>
              </a:xfrm>
              <a:custGeom>
                <a:avLst/>
                <a:gdLst>
                  <a:gd name="connsiteX0" fmla="*/ 10885 w 10884"/>
                  <a:gd name="connsiteY0" fmla="*/ 0 h 10286"/>
                  <a:gd name="connsiteX1" fmla="*/ 10406 w 10884"/>
                  <a:gd name="connsiteY1" fmla="*/ 538 h 10286"/>
                  <a:gd name="connsiteX2" fmla="*/ 10406 w 10884"/>
                  <a:gd name="connsiteY2" fmla="*/ 598 h 10286"/>
                  <a:gd name="connsiteX3" fmla="*/ 7535 w 10884"/>
                  <a:gd name="connsiteY3" fmla="*/ 3888 h 10286"/>
                  <a:gd name="connsiteX4" fmla="*/ 3469 w 10884"/>
                  <a:gd name="connsiteY4" fmla="*/ 7356 h 10286"/>
                  <a:gd name="connsiteX5" fmla="*/ 3409 w 10884"/>
                  <a:gd name="connsiteY5" fmla="*/ 7416 h 10286"/>
                  <a:gd name="connsiteX6" fmla="*/ 3349 w 10884"/>
                  <a:gd name="connsiteY6" fmla="*/ 7476 h 10286"/>
                  <a:gd name="connsiteX7" fmla="*/ 3229 w 10884"/>
                  <a:gd name="connsiteY7" fmla="*/ 7536 h 10286"/>
                  <a:gd name="connsiteX8" fmla="*/ 3229 w 10884"/>
                  <a:gd name="connsiteY8" fmla="*/ 7536 h 10286"/>
                  <a:gd name="connsiteX9" fmla="*/ 3229 w 10884"/>
                  <a:gd name="connsiteY9" fmla="*/ 7536 h 10286"/>
                  <a:gd name="connsiteX10" fmla="*/ 2452 w 10884"/>
                  <a:gd name="connsiteY10" fmla="*/ 8194 h 10286"/>
                  <a:gd name="connsiteX11" fmla="*/ 2332 w 10884"/>
                  <a:gd name="connsiteY11" fmla="*/ 8313 h 10286"/>
                  <a:gd name="connsiteX12" fmla="*/ 0 w 10884"/>
                  <a:gd name="connsiteY12" fmla="*/ 10287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84" h="10286">
                    <a:moveTo>
                      <a:pt x="10885" y="0"/>
                    </a:moveTo>
                    <a:lnTo>
                      <a:pt x="10406" y="538"/>
                    </a:lnTo>
                    <a:lnTo>
                      <a:pt x="10406" y="598"/>
                    </a:lnTo>
                    <a:lnTo>
                      <a:pt x="7535" y="3888"/>
                    </a:lnTo>
                    <a:lnTo>
                      <a:pt x="3469" y="7356"/>
                    </a:lnTo>
                    <a:lnTo>
                      <a:pt x="3409" y="7416"/>
                    </a:lnTo>
                    <a:lnTo>
                      <a:pt x="3349" y="7476"/>
                    </a:lnTo>
                    <a:lnTo>
                      <a:pt x="3229" y="7536"/>
                    </a:lnTo>
                    <a:lnTo>
                      <a:pt x="3229" y="7536"/>
                    </a:lnTo>
                    <a:lnTo>
                      <a:pt x="3229" y="7536"/>
                    </a:lnTo>
                    <a:lnTo>
                      <a:pt x="2452" y="8194"/>
                    </a:lnTo>
                    <a:lnTo>
                      <a:pt x="2332" y="8313"/>
                    </a:lnTo>
                    <a:lnTo>
                      <a:pt x="0" y="10287"/>
                    </a:lnTo>
                  </a:path>
                </a:pathLst>
              </a:custGeom>
              <a:noFill/>
              <a:ln w="6350" cap="rnd">
                <a:solidFill>
                  <a:schemeClr val="bg1">
                    <a:alpha val="80000"/>
                  </a:schemeClr>
                </a:solidFill>
                <a:prstDash val="solid"/>
                <a:round/>
              </a:ln>
            </p:spPr>
            <p:txBody>
              <a:bodyPr rtlCol="0" anchor="ctr"/>
              <a:lstStyle/>
              <a:p>
                <a:endParaRPr lang="en-GB"/>
              </a:p>
            </p:txBody>
          </p:sp>
          <p:sp>
            <p:nvSpPr>
              <p:cNvPr id="6646" name="Vrije vorm: vorm 6645">
                <a:extLst>
                  <a:ext uri="{FF2B5EF4-FFF2-40B4-BE49-F238E27FC236}">
                    <a16:creationId xmlns:a16="http://schemas.microsoft.com/office/drawing/2014/main" id="{E54AE840-14B3-4769-809B-95BC8285C94F}"/>
                  </a:ext>
                </a:extLst>
              </p:cNvPr>
              <p:cNvSpPr/>
              <p:nvPr/>
            </p:nvSpPr>
            <p:spPr>
              <a:xfrm>
                <a:off x="6954463" y="2108603"/>
                <a:ext cx="43958" cy="20932"/>
              </a:xfrm>
              <a:custGeom>
                <a:avLst/>
                <a:gdLst>
                  <a:gd name="connsiteX0" fmla="*/ 42523 w 43958"/>
                  <a:gd name="connsiteY0" fmla="*/ 0 h 20932"/>
                  <a:gd name="connsiteX1" fmla="*/ 43300 w 43958"/>
                  <a:gd name="connsiteY1" fmla="*/ 538 h 20932"/>
                  <a:gd name="connsiteX2" fmla="*/ 43958 w 43958"/>
                  <a:gd name="connsiteY2" fmla="*/ 1734 h 20932"/>
                  <a:gd name="connsiteX3" fmla="*/ 41028 w 43958"/>
                  <a:gd name="connsiteY3" fmla="*/ 8911 h 20932"/>
                  <a:gd name="connsiteX4" fmla="*/ 40250 w 43958"/>
                  <a:gd name="connsiteY4" fmla="*/ 9808 h 20932"/>
                  <a:gd name="connsiteX5" fmla="*/ 38277 w 43958"/>
                  <a:gd name="connsiteY5" fmla="*/ 12141 h 20932"/>
                  <a:gd name="connsiteX6" fmla="*/ 35167 w 43958"/>
                  <a:gd name="connsiteY6" fmla="*/ 15789 h 20932"/>
                  <a:gd name="connsiteX7" fmla="*/ 34150 w 43958"/>
                  <a:gd name="connsiteY7" fmla="*/ 16985 h 20932"/>
                  <a:gd name="connsiteX8" fmla="*/ 32655 w 43958"/>
                  <a:gd name="connsiteY8" fmla="*/ 18720 h 20932"/>
                  <a:gd name="connsiteX9" fmla="*/ 31279 w 43958"/>
                  <a:gd name="connsiteY9" fmla="*/ 20335 h 20932"/>
                  <a:gd name="connsiteX10" fmla="*/ 25238 w 43958"/>
                  <a:gd name="connsiteY10" fmla="*/ 20933 h 20932"/>
                  <a:gd name="connsiteX11" fmla="*/ 24043 w 43958"/>
                  <a:gd name="connsiteY11" fmla="*/ 20933 h 20932"/>
                  <a:gd name="connsiteX12" fmla="*/ 17942 w 43958"/>
                  <a:gd name="connsiteY12" fmla="*/ 20873 h 20932"/>
                  <a:gd name="connsiteX13" fmla="*/ 13098 w 43958"/>
                  <a:gd name="connsiteY13" fmla="*/ 20215 h 20932"/>
                  <a:gd name="connsiteX14" fmla="*/ 2632 w 43958"/>
                  <a:gd name="connsiteY14" fmla="*/ 15012 h 20932"/>
                  <a:gd name="connsiteX15" fmla="*/ 0 w 43958"/>
                  <a:gd name="connsiteY15" fmla="*/ 11961 h 20932"/>
                  <a:gd name="connsiteX16" fmla="*/ 60 w 43958"/>
                  <a:gd name="connsiteY16" fmla="*/ 11722 h 2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958" h="20932">
                    <a:moveTo>
                      <a:pt x="42523" y="0"/>
                    </a:moveTo>
                    <a:lnTo>
                      <a:pt x="43300" y="538"/>
                    </a:lnTo>
                    <a:lnTo>
                      <a:pt x="43958" y="1734"/>
                    </a:lnTo>
                    <a:lnTo>
                      <a:pt x="41028" y="8911"/>
                    </a:lnTo>
                    <a:lnTo>
                      <a:pt x="40250" y="9808"/>
                    </a:lnTo>
                    <a:lnTo>
                      <a:pt x="38277" y="12141"/>
                    </a:lnTo>
                    <a:lnTo>
                      <a:pt x="35167" y="15789"/>
                    </a:lnTo>
                    <a:lnTo>
                      <a:pt x="34150" y="16985"/>
                    </a:lnTo>
                    <a:lnTo>
                      <a:pt x="32655" y="18720"/>
                    </a:lnTo>
                    <a:lnTo>
                      <a:pt x="31279" y="20335"/>
                    </a:lnTo>
                    <a:lnTo>
                      <a:pt x="25238" y="20933"/>
                    </a:lnTo>
                    <a:lnTo>
                      <a:pt x="24043" y="20933"/>
                    </a:lnTo>
                    <a:lnTo>
                      <a:pt x="17942" y="20873"/>
                    </a:lnTo>
                    <a:lnTo>
                      <a:pt x="13098" y="20215"/>
                    </a:lnTo>
                    <a:lnTo>
                      <a:pt x="2632" y="15012"/>
                    </a:lnTo>
                    <a:lnTo>
                      <a:pt x="0" y="11961"/>
                    </a:lnTo>
                    <a:lnTo>
                      <a:pt x="60" y="11722"/>
                    </a:lnTo>
                  </a:path>
                </a:pathLst>
              </a:custGeom>
              <a:noFill/>
              <a:ln w="6350" cap="rnd">
                <a:solidFill>
                  <a:schemeClr val="bg1">
                    <a:alpha val="80000"/>
                  </a:schemeClr>
                </a:solidFill>
                <a:prstDash val="solid"/>
                <a:round/>
              </a:ln>
            </p:spPr>
            <p:txBody>
              <a:bodyPr rtlCol="0" anchor="ctr"/>
              <a:lstStyle/>
              <a:p>
                <a:endParaRPr lang="en-GB"/>
              </a:p>
            </p:txBody>
          </p:sp>
          <p:sp>
            <p:nvSpPr>
              <p:cNvPr id="6647" name="Vrije vorm: vorm 6646">
                <a:extLst>
                  <a:ext uri="{FF2B5EF4-FFF2-40B4-BE49-F238E27FC236}">
                    <a16:creationId xmlns:a16="http://schemas.microsoft.com/office/drawing/2014/main" id="{C8B504E1-686B-42D0-BCBF-DF357784D2F4}"/>
                  </a:ext>
                </a:extLst>
              </p:cNvPr>
              <p:cNvSpPr/>
              <p:nvPr/>
            </p:nvSpPr>
            <p:spPr>
              <a:xfrm>
                <a:off x="6945312" y="1974755"/>
                <a:ext cx="11961" cy="22607"/>
              </a:xfrm>
              <a:custGeom>
                <a:avLst/>
                <a:gdLst>
                  <a:gd name="connsiteX0" fmla="*/ 8792 w 11961"/>
                  <a:gd name="connsiteY0" fmla="*/ 0 h 22607"/>
                  <a:gd name="connsiteX1" fmla="*/ 8971 w 11961"/>
                  <a:gd name="connsiteY1" fmla="*/ 359 h 22607"/>
                  <a:gd name="connsiteX2" fmla="*/ 9211 w 11961"/>
                  <a:gd name="connsiteY2" fmla="*/ 837 h 22607"/>
                  <a:gd name="connsiteX3" fmla="*/ 9211 w 11961"/>
                  <a:gd name="connsiteY3" fmla="*/ 897 h 22607"/>
                  <a:gd name="connsiteX4" fmla="*/ 9270 w 11961"/>
                  <a:gd name="connsiteY4" fmla="*/ 1077 h 22607"/>
                  <a:gd name="connsiteX5" fmla="*/ 9570 w 11961"/>
                  <a:gd name="connsiteY5" fmla="*/ 1734 h 22607"/>
                  <a:gd name="connsiteX6" fmla="*/ 10526 w 11961"/>
                  <a:gd name="connsiteY6" fmla="*/ 4246 h 22607"/>
                  <a:gd name="connsiteX7" fmla="*/ 10586 w 11961"/>
                  <a:gd name="connsiteY7" fmla="*/ 4366 h 22607"/>
                  <a:gd name="connsiteX8" fmla="*/ 10825 w 11961"/>
                  <a:gd name="connsiteY8" fmla="*/ 4904 h 22607"/>
                  <a:gd name="connsiteX9" fmla="*/ 11065 w 11961"/>
                  <a:gd name="connsiteY9" fmla="*/ 5562 h 22607"/>
                  <a:gd name="connsiteX10" fmla="*/ 11543 w 11961"/>
                  <a:gd name="connsiteY10" fmla="*/ 6818 h 22607"/>
                  <a:gd name="connsiteX11" fmla="*/ 11961 w 11961"/>
                  <a:gd name="connsiteY11" fmla="*/ 7835 h 22607"/>
                  <a:gd name="connsiteX12" fmla="*/ 11723 w 11961"/>
                  <a:gd name="connsiteY12" fmla="*/ 11483 h 22607"/>
                  <a:gd name="connsiteX13" fmla="*/ 9091 w 11961"/>
                  <a:gd name="connsiteY13" fmla="*/ 15071 h 22607"/>
                  <a:gd name="connsiteX14" fmla="*/ 6758 w 11961"/>
                  <a:gd name="connsiteY14" fmla="*/ 18181 h 22607"/>
                  <a:gd name="connsiteX15" fmla="*/ 5143 w 11961"/>
                  <a:gd name="connsiteY15" fmla="*/ 20335 h 22607"/>
                  <a:gd name="connsiteX16" fmla="*/ 4486 w 11961"/>
                  <a:gd name="connsiteY16" fmla="*/ 21232 h 22607"/>
                  <a:gd name="connsiteX17" fmla="*/ 4247 w 11961"/>
                  <a:gd name="connsiteY17" fmla="*/ 21531 h 22607"/>
                  <a:gd name="connsiteX18" fmla="*/ 4007 w 11961"/>
                  <a:gd name="connsiteY18" fmla="*/ 21590 h 22607"/>
                  <a:gd name="connsiteX19" fmla="*/ 1256 w 11961"/>
                  <a:gd name="connsiteY19" fmla="*/ 22428 h 22607"/>
                  <a:gd name="connsiteX20" fmla="*/ 1256 w 11961"/>
                  <a:gd name="connsiteY20" fmla="*/ 22428 h 22607"/>
                  <a:gd name="connsiteX21" fmla="*/ 718 w 11961"/>
                  <a:gd name="connsiteY21" fmla="*/ 22607 h 22607"/>
                  <a:gd name="connsiteX22" fmla="*/ 718 w 11961"/>
                  <a:gd name="connsiteY22" fmla="*/ 22607 h 22607"/>
                  <a:gd name="connsiteX23" fmla="*/ 0 w 11961"/>
                  <a:gd name="connsiteY23" fmla="*/ 22189 h 2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961" h="22607">
                    <a:moveTo>
                      <a:pt x="8792" y="0"/>
                    </a:moveTo>
                    <a:lnTo>
                      <a:pt x="8971" y="359"/>
                    </a:lnTo>
                    <a:lnTo>
                      <a:pt x="9211" y="837"/>
                    </a:lnTo>
                    <a:lnTo>
                      <a:pt x="9211" y="897"/>
                    </a:lnTo>
                    <a:lnTo>
                      <a:pt x="9270" y="1077"/>
                    </a:lnTo>
                    <a:lnTo>
                      <a:pt x="9570" y="1734"/>
                    </a:lnTo>
                    <a:lnTo>
                      <a:pt x="10526" y="4246"/>
                    </a:lnTo>
                    <a:lnTo>
                      <a:pt x="10586" y="4366"/>
                    </a:lnTo>
                    <a:lnTo>
                      <a:pt x="10825" y="4904"/>
                    </a:lnTo>
                    <a:lnTo>
                      <a:pt x="11065" y="5562"/>
                    </a:lnTo>
                    <a:lnTo>
                      <a:pt x="11543" y="6818"/>
                    </a:lnTo>
                    <a:lnTo>
                      <a:pt x="11961" y="7835"/>
                    </a:lnTo>
                    <a:lnTo>
                      <a:pt x="11723" y="11483"/>
                    </a:lnTo>
                    <a:lnTo>
                      <a:pt x="9091" y="15071"/>
                    </a:lnTo>
                    <a:lnTo>
                      <a:pt x="6758" y="18181"/>
                    </a:lnTo>
                    <a:lnTo>
                      <a:pt x="5143" y="20335"/>
                    </a:lnTo>
                    <a:lnTo>
                      <a:pt x="4486" y="21232"/>
                    </a:lnTo>
                    <a:lnTo>
                      <a:pt x="4247" y="21531"/>
                    </a:lnTo>
                    <a:lnTo>
                      <a:pt x="4007" y="21590"/>
                    </a:lnTo>
                    <a:lnTo>
                      <a:pt x="1256" y="22428"/>
                    </a:lnTo>
                    <a:lnTo>
                      <a:pt x="1256" y="22428"/>
                    </a:lnTo>
                    <a:lnTo>
                      <a:pt x="718" y="22607"/>
                    </a:lnTo>
                    <a:lnTo>
                      <a:pt x="718" y="22607"/>
                    </a:lnTo>
                    <a:lnTo>
                      <a:pt x="0" y="22189"/>
                    </a:lnTo>
                  </a:path>
                </a:pathLst>
              </a:custGeom>
              <a:noFill/>
              <a:ln w="6350" cap="rnd">
                <a:solidFill>
                  <a:schemeClr val="bg1">
                    <a:alpha val="80000"/>
                  </a:schemeClr>
                </a:solidFill>
                <a:prstDash val="solid"/>
                <a:round/>
              </a:ln>
            </p:spPr>
            <p:txBody>
              <a:bodyPr rtlCol="0" anchor="ctr"/>
              <a:lstStyle/>
              <a:p>
                <a:endParaRPr lang="en-GB"/>
              </a:p>
            </p:txBody>
          </p:sp>
          <p:sp>
            <p:nvSpPr>
              <p:cNvPr id="6648" name="Vrije vorm: vorm 6647">
                <a:extLst>
                  <a:ext uri="{FF2B5EF4-FFF2-40B4-BE49-F238E27FC236}">
                    <a16:creationId xmlns:a16="http://schemas.microsoft.com/office/drawing/2014/main" id="{197DBA42-09C8-4298-AF0B-012515EDE420}"/>
                  </a:ext>
                </a:extLst>
              </p:cNvPr>
              <p:cNvSpPr/>
              <p:nvPr/>
            </p:nvSpPr>
            <p:spPr>
              <a:xfrm>
                <a:off x="7069352" y="1810225"/>
                <a:ext cx="11782" cy="6100"/>
              </a:xfrm>
              <a:custGeom>
                <a:avLst/>
                <a:gdLst>
                  <a:gd name="connsiteX0" fmla="*/ 11783 w 11782"/>
                  <a:gd name="connsiteY0" fmla="*/ 6100 h 6100"/>
                  <a:gd name="connsiteX1" fmla="*/ 11783 w 11782"/>
                  <a:gd name="connsiteY1" fmla="*/ 6100 h 6100"/>
                  <a:gd name="connsiteX2" fmla="*/ 11483 w 11782"/>
                  <a:gd name="connsiteY2" fmla="*/ 5921 h 6100"/>
                  <a:gd name="connsiteX3" fmla="*/ 11065 w 11782"/>
                  <a:gd name="connsiteY3" fmla="*/ 5682 h 6100"/>
                  <a:gd name="connsiteX4" fmla="*/ 10586 w 11782"/>
                  <a:gd name="connsiteY4" fmla="*/ 5442 h 6100"/>
                  <a:gd name="connsiteX5" fmla="*/ 10526 w 11782"/>
                  <a:gd name="connsiteY5" fmla="*/ 5442 h 6100"/>
                  <a:gd name="connsiteX6" fmla="*/ 10407 w 11782"/>
                  <a:gd name="connsiteY6" fmla="*/ 5383 h 6100"/>
                  <a:gd name="connsiteX7" fmla="*/ 10407 w 11782"/>
                  <a:gd name="connsiteY7" fmla="*/ 5383 h 6100"/>
                  <a:gd name="connsiteX8" fmla="*/ 9510 w 11782"/>
                  <a:gd name="connsiteY8" fmla="*/ 4964 h 6100"/>
                  <a:gd name="connsiteX9" fmla="*/ 8553 w 11782"/>
                  <a:gd name="connsiteY9" fmla="*/ 4486 h 6100"/>
                  <a:gd name="connsiteX10" fmla="*/ 7297 w 11782"/>
                  <a:gd name="connsiteY10" fmla="*/ 3768 h 6100"/>
                  <a:gd name="connsiteX11" fmla="*/ 4964 w 11782"/>
                  <a:gd name="connsiteY11" fmla="*/ 2392 h 6100"/>
                  <a:gd name="connsiteX12" fmla="*/ 4367 w 11782"/>
                  <a:gd name="connsiteY12" fmla="*/ 2093 h 6100"/>
                  <a:gd name="connsiteX13" fmla="*/ 3649 w 11782"/>
                  <a:gd name="connsiteY13" fmla="*/ 1794 h 6100"/>
                  <a:gd name="connsiteX14" fmla="*/ 3409 w 11782"/>
                  <a:gd name="connsiteY14" fmla="*/ 1675 h 6100"/>
                  <a:gd name="connsiteX15" fmla="*/ 3170 w 11782"/>
                  <a:gd name="connsiteY15" fmla="*/ 1555 h 6100"/>
                  <a:gd name="connsiteX16" fmla="*/ 2871 w 11782"/>
                  <a:gd name="connsiteY16" fmla="*/ 1435 h 6100"/>
                  <a:gd name="connsiteX17" fmla="*/ 2154 w 11782"/>
                  <a:gd name="connsiteY17" fmla="*/ 1077 h 6100"/>
                  <a:gd name="connsiteX18" fmla="*/ 1615 w 11782"/>
                  <a:gd name="connsiteY18" fmla="*/ 837 h 6100"/>
                  <a:gd name="connsiteX19" fmla="*/ 1436 w 11782"/>
                  <a:gd name="connsiteY19" fmla="*/ 778 h 6100"/>
                  <a:gd name="connsiteX20" fmla="*/ 1017 w 11782"/>
                  <a:gd name="connsiteY20" fmla="*/ 538 h 6100"/>
                  <a:gd name="connsiteX21" fmla="*/ 299 w 11782"/>
                  <a:gd name="connsiteY21" fmla="*/ 179 h 6100"/>
                  <a:gd name="connsiteX22" fmla="*/ 0 w 11782"/>
                  <a:gd name="connsiteY22" fmla="*/ 0 h 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782" h="6100">
                    <a:moveTo>
                      <a:pt x="11783" y="6100"/>
                    </a:moveTo>
                    <a:lnTo>
                      <a:pt x="11783" y="6100"/>
                    </a:lnTo>
                    <a:lnTo>
                      <a:pt x="11483" y="5921"/>
                    </a:lnTo>
                    <a:lnTo>
                      <a:pt x="11065" y="5682"/>
                    </a:lnTo>
                    <a:lnTo>
                      <a:pt x="10586" y="5442"/>
                    </a:lnTo>
                    <a:lnTo>
                      <a:pt x="10526" y="5442"/>
                    </a:lnTo>
                    <a:lnTo>
                      <a:pt x="10407" y="5383"/>
                    </a:lnTo>
                    <a:lnTo>
                      <a:pt x="10407" y="5383"/>
                    </a:lnTo>
                    <a:lnTo>
                      <a:pt x="9510" y="4964"/>
                    </a:lnTo>
                    <a:lnTo>
                      <a:pt x="8553" y="4486"/>
                    </a:lnTo>
                    <a:lnTo>
                      <a:pt x="7297" y="3768"/>
                    </a:lnTo>
                    <a:lnTo>
                      <a:pt x="4964" y="2392"/>
                    </a:lnTo>
                    <a:lnTo>
                      <a:pt x="4367" y="2093"/>
                    </a:lnTo>
                    <a:lnTo>
                      <a:pt x="3649" y="1794"/>
                    </a:lnTo>
                    <a:lnTo>
                      <a:pt x="3409" y="1675"/>
                    </a:lnTo>
                    <a:lnTo>
                      <a:pt x="3170" y="1555"/>
                    </a:lnTo>
                    <a:lnTo>
                      <a:pt x="2871" y="1435"/>
                    </a:lnTo>
                    <a:lnTo>
                      <a:pt x="2154" y="1077"/>
                    </a:lnTo>
                    <a:lnTo>
                      <a:pt x="1615" y="837"/>
                    </a:lnTo>
                    <a:lnTo>
                      <a:pt x="1436" y="778"/>
                    </a:lnTo>
                    <a:lnTo>
                      <a:pt x="1017" y="538"/>
                    </a:lnTo>
                    <a:lnTo>
                      <a:pt x="299" y="17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49" name="Vrije vorm: vorm 6648">
                <a:extLst>
                  <a:ext uri="{FF2B5EF4-FFF2-40B4-BE49-F238E27FC236}">
                    <a16:creationId xmlns:a16="http://schemas.microsoft.com/office/drawing/2014/main" id="{0CF4CE96-FEF0-4857-8824-198E57773ABE}"/>
                  </a:ext>
                </a:extLst>
              </p:cNvPr>
              <p:cNvSpPr/>
              <p:nvPr/>
            </p:nvSpPr>
            <p:spPr>
              <a:xfrm>
                <a:off x="7089268" y="1871946"/>
                <a:ext cx="179" cy="119"/>
              </a:xfrm>
              <a:custGeom>
                <a:avLst/>
                <a:gdLst>
                  <a:gd name="connsiteX0" fmla="*/ 0 w 179"/>
                  <a:gd name="connsiteY0" fmla="*/ 0 h 119"/>
                  <a:gd name="connsiteX1" fmla="*/ 0 w 179"/>
                  <a:gd name="connsiteY1" fmla="*/ 0 h 119"/>
                  <a:gd name="connsiteX2" fmla="*/ 180 w 179"/>
                  <a:gd name="connsiteY2" fmla="*/ 120 h 119"/>
                </a:gdLst>
                <a:ahLst/>
                <a:cxnLst>
                  <a:cxn ang="0">
                    <a:pos x="connsiteX0" y="connsiteY0"/>
                  </a:cxn>
                  <a:cxn ang="0">
                    <a:pos x="connsiteX1" y="connsiteY1"/>
                  </a:cxn>
                  <a:cxn ang="0">
                    <a:pos x="connsiteX2" y="connsiteY2"/>
                  </a:cxn>
                </a:cxnLst>
                <a:rect l="l" t="t" r="r" b="b"/>
                <a:pathLst>
                  <a:path w="179" h="119">
                    <a:moveTo>
                      <a:pt x="0" y="0"/>
                    </a:moveTo>
                    <a:lnTo>
                      <a:pt x="0" y="0"/>
                    </a:lnTo>
                    <a:lnTo>
                      <a:pt x="180" y="120"/>
                    </a:lnTo>
                  </a:path>
                </a:pathLst>
              </a:custGeom>
              <a:noFill/>
              <a:ln w="6350" cap="rnd">
                <a:solidFill>
                  <a:schemeClr val="bg1">
                    <a:alpha val="80000"/>
                  </a:schemeClr>
                </a:solidFill>
                <a:prstDash val="solid"/>
                <a:round/>
              </a:ln>
            </p:spPr>
            <p:txBody>
              <a:bodyPr rtlCol="0" anchor="ctr"/>
              <a:lstStyle/>
              <a:p>
                <a:endParaRPr lang="en-GB"/>
              </a:p>
            </p:txBody>
          </p:sp>
          <p:sp>
            <p:nvSpPr>
              <p:cNvPr id="6650" name="Vrije vorm: vorm 6649">
                <a:extLst>
                  <a:ext uri="{FF2B5EF4-FFF2-40B4-BE49-F238E27FC236}">
                    <a16:creationId xmlns:a16="http://schemas.microsoft.com/office/drawing/2014/main" id="{B86935B6-C9AB-48F5-A09A-7411C901C8B1}"/>
                  </a:ext>
                </a:extLst>
              </p:cNvPr>
              <p:cNvSpPr/>
              <p:nvPr/>
            </p:nvSpPr>
            <p:spPr>
              <a:xfrm>
                <a:off x="6774323" y="1991381"/>
                <a:ext cx="6638" cy="1674"/>
              </a:xfrm>
              <a:custGeom>
                <a:avLst/>
                <a:gdLst>
                  <a:gd name="connsiteX0" fmla="*/ 0 w 6638"/>
                  <a:gd name="connsiteY0" fmla="*/ 1675 h 1674"/>
                  <a:gd name="connsiteX1" fmla="*/ 837 w 6638"/>
                  <a:gd name="connsiteY1" fmla="*/ 1435 h 1674"/>
                  <a:gd name="connsiteX2" fmla="*/ 4187 w 6638"/>
                  <a:gd name="connsiteY2" fmla="*/ 598 h 1674"/>
                  <a:gd name="connsiteX3" fmla="*/ 6639 w 6638"/>
                  <a:gd name="connsiteY3" fmla="*/ 0 h 1674"/>
                </a:gdLst>
                <a:ahLst/>
                <a:cxnLst>
                  <a:cxn ang="0">
                    <a:pos x="connsiteX0" y="connsiteY0"/>
                  </a:cxn>
                  <a:cxn ang="0">
                    <a:pos x="connsiteX1" y="connsiteY1"/>
                  </a:cxn>
                  <a:cxn ang="0">
                    <a:pos x="connsiteX2" y="connsiteY2"/>
                  </a:cxn>
                  <a:cxn ang="0">
                    <a:pos x="connsiteX3" y="connsiteY3"/>
                  </a:cxn>
                </a:cxnLst>
                <a:rect l="l" t="t" r="r" b="b"/>
                <a:pathLst>
                  <a:path w="6638" h="1674">
                    <a:moveTo>
                      <a:pt x="0" y="1675"/>
                    </a:moveTo>
                    <a:lnTo>
                      <a:pt x="837" y="1435"/>
                    </a:lnTo>
                    <a:lnTo>
                      <a:pt x="4187" y="598"/>
                    </a:lnTo>
                    <a:lnTo>
                      <a:pt x="6639" y="0"/>
                    </a:lnTo>
                  </a:path>
                </a:pathLst>
              </a:custGeom>
              <a:noFill/>
              <a:ln w="6350" cap="rnd">
                <a:solidFill>
                  <a:schemeClr val="bg1">
                    <a:alpha val="80000"/>
                  </a:schemeClr>
                </a:solidFill>
                <a:prstDash val="solid"/>
                <a:round/>
              </a:ln>
            </p:spPr>
            <p:txBody>
              <a:bodyPr rtlCol="0" anchor="ctr"/>
              <a:lstStyle/>
              <a:p>
                <a:endParaRPr lang="en-GB"/>
              </a:p>
            </p:txBody>
          </p:sp>
          <p:sp>
            <p:nvSpPr>
              <p:cNvPr id="6651" name="Vrije vorm: vorm 6650">
                <a:extLst>
                  <a:ext uri="{FF2B5EF4-FFF2-40B4-BE49-F238E27FC236}">
                    <a16:creationId xmlns:a16="http://schemas.microsoft.com/office/drawing/2014/main" id="{D1589631-4C79-4517-8FE5-D42181D9BEB9}"/>
                  </a:ext>
                </a:extLst>
              </p:cNvPr>
              <p:cNvSpPr/>
              <p:nvPr/>
            </p:nvSpPr>
            <p:spPr>
              <a:xfrm>
                <a:off x="6942561" y="1992876"/>
                <a:ext cx="12141" cy="19736"/>
              </a:xfrm>
              <a:custGeom>
                <a:avLst/>
                <a:gdLst>
                  <a:gd name="connsiteX0" fmla="*/ 9509 w 12141"/>
                  <a:gd name="connsiteY0" fmla="*/ 0 h 19736"/>
                  <a:gd name="connsiteX1" fmla="*/ 10167 w 12141"/>
                  <a:gd name="connsiteY1" fmla="*/ 1675 h 19736"/>
                  <a:gd name="connsiteX2" fmla="*/ 10347 w 12141"/>
                  <a:gd name="connsiteY2" fmla="*/ 2213 h 19736"/>
                  <a:gd name="connsiteX3" fmla="*/ 11004 w 12141"/>
                  <a:gd name="connsiteY3" fmla="*/ 4127 h 19736"/>
                  <a:gd name="connsiteX4" fmla="*/ 11304 w 12141"/>
                  <a:gd name="connsiteY4" fmla="*/ 5024 h 19736"/>
                  <a:gd name="connsiteX5" fmla="*/ 12141 w 12141"/>
                  <a:gd name="connsiteY5" fmla="*/ 7476 h 19736"/>
                  <a:gd name="connsiteX6" fmla="*/ 10766 w 12141"/>
                  <a:gd name="connsiteY6" fmla="*/ 12021 h 19736"/>
                  <a:gd name="connsiteX7" fmla="*/ 10646 w 12141"/>
                  <a:gd name="connsiteY7" fmla="*/ 12141 h 19736"/>
                  <a:gd name="connsiteX8" fmla="*/ 7596 w 12141"/>
                  <a:gd name="connsiteY8" fmla="*/ 15311 h 19736"/>
                  <a:gd name="connsiteX9" fmla="*/ 6399 w 12141"/>
                  <a:gd name="connsiteY9" fmla="*/ 16567 h 19736"/>
                  <a:gd name="connsiteX10" fmla="*/ 5981 w 12141"/>
                  <a:gd name="connsiteY10" fmla="*/ 16985 h 19736"/>
                  <a:gd name="connsiteX11" fmla="*/ 4306 w 12141"/>
                  <a:gd name="connsiteY11" fmla="*/ 18720 h 19736"/>
                  <a:gd name="connsiteX12" fmla="*/ 3350 w 12141"/>
                  <a:gd name="connsiteY12" fmla="*/ 19736 h 19736"/>
                  <a:gd name="connsiteX13" fmla="*/ 3170 w 12141"/>
                  <a:gd name="connsiteY13" fmla="*/ 19677 h 19736"/>
                  <a:gd name="connsiteX14" fmla="*/ 2273 w 12141"/>
                  <a:gd name="connsiteY14" fmla="*/ 19437 h 19736"/>
                  <a:gd name="connsiteX15" fmla="*/ 1854 w 12141"/>
                  <a:gd name="connsiteY15" fmla="*/ 19318 h 19736"/>
                  <a:gd name="connsiteX16" fmla="*/ 718 w 12141"/>
                  <a:gd name="connsiteY16" fmla="*/ 19019 h 19736"/>
                  <a:gd name="connsiteX17" fmla="*/ 0 w 12141"/>
                  <a:gd name="connsiteY17" fmla="*/ 18600 h 1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41" h="19736">
                    <a:moveTo>
                      <a:pt x="9509" y="0"/>
                    </a:moveTo>
                    <a:lnTo>
                      <a:pt x="10167" y="1675"/>
                    </a:lnTo>
                    <a:lnTo>
                      <a:pt x="10347" y="2213"/>
                    </a:lnTo>
                    <a:lnTo>
                      <a:pt x="11004" y="4127"/>
                    </a:lnTo>
                    <a:lnTo>
                      <a:pt x="11304" y="5024"/>
                    </a:lnTo>
                    <a:lnTo>
                      <a:pt x="12141" y="7476"/>
                    </a:lnTo>
                    <a:lnTo>
                      <a:pt x="10766" y="12021"/>
                    </a:lnTo>
                    <a:lnTo>
                      <a:pt x="10646" y="12141"/>
                    </a:lnTo>
                    <a:lnTo>
                      <a:pt x="7596" y="15311"/>
                    </a:lnTo>
                    <a:lnTo>
                      <a:pt x="6399" y="16567"/>
                    </a:lnTo>
                    <a:lnTo>
                      <a:pt x="5981" y="16985"/>
                    </a:lnTo>
                    <a:lnTo>
                      <a:pt x="4306" y="18720"/>
                    </a:lnTo>
                    <a:lnTo>
                      <a:pt x="3350" y="19736"/>
                    </a:lnTo>
                    <a:lnTo>
                      <a:pt x="3170" y="19677"/>
                    </a:lnTo>
                    <a:lnTo>
                      <a:pt x="2273" y="19437"/>
                    </a:lnTo>
                    <a:lnTo>
                      <a:pt x="1854" y="19318"/>
                    </a:lnTo>
                    <a:lnTo>
                      <a:pt x="718" y="19019"/>
                    </a:lnTo>
                    <a:lnTo>
                      <a:pt x="0" y="18600"/>
                    </a:lnTo>
                  </a:path>
                </a:pathLst>
              </a:custGeom>
              <a:noFill/>
              <a:ln w="6350" cap="rnd">
                <a:solidFill>
                  <a:schemeClr val="bg1">
                    <a:alpha val="80000"/>
                  </a:schemeClr>
                </a:solidFill>
                <a:prstDash val="solid"/>
                <a:round/>
              </a:ln>
            </p:spPr>
            <p:txBody>
              <a:bodyPr rtlCol="0" anchor="ctr"/>
              <a:lstStyle/>
              <a:p>
                <a:endParaRPr lang="en-GB"/>
              </a:p>
            </p:txBody>
          </p:sp>
          <p:sp>
            <p:nvSpPr>
              <p:cNvPr id="6652" name="Vrije vorm: vorm 6651">
                <a:extLst>
                  <a:ext uri="{FF2B5EF4-FFF2-40B4-BE49-F238E27FC236}">
                    <a16:creationId xmlns:a16="http://schemas.microsoft.com/office/drawing/2014/main" id="{2673EF23-0AFC-4D0C-87DD-E331BAD491EB}"/>
                  </a:ext>
                </a:extLst>
              </p:cNvPr>
              <p:cNvSpPr/>
              <p:nvPr/>
            </p:nvSpPr>
            <p:spPr>
              <a:xfrm>
                <a:off x="6622593" y="1876791"/>
                <a:ext cx="34568" cy="16746"/>
              </a:xfrm>
              <a:custGeom>
                <a:avLst/>
                <a:gdLst>
                  <a:gd name="connsiteX0" fmla="*/ 3888 w 34568"/>
                  <a:gd name="connsiteY0" fmla="*/ 16746 h 16746"/>
                  <a:gd name="connsiteX1" fmla="*/ 1495 w 34568"/>
                  <a:gd name="connsiteY1" fmla="*/ 15669 h 16746"/>
                  <a:gd name="connsiteX2" fmla="*/ 0 w 34568"/>
                  <a:gd name="connsiteY2" fmla="*/ 13457 h 16746"/>
                  <a:gd name="connsiteX3" fmla="*/ 60 w 34568"/>
                  <a:gd name="connsiteY3" fmla="*/ 10526 h 16746"/>
                  <a:gd name="connsiteX4" fmla="*/ 658 w 34568"/>
                  <a:gd name="connsiteY4" fmla="*/ 8552 h 16746"/>
                  <a:gd name="connsiteX5" fmla="*/ 9270 w 34568"/>
                  <a:gd name="connsiteY5" fmla="*/ 4725 h 16746"/>
                  <a:gd name="connsiteX6" fmla="*/ 22248 w 34568"/>
                  <a:gd name="connsiteY6" fmla="*/ 1256 h 16746"/>
                  <a:gd name="connsiteX7" fmla="*/ 29605 w 34568"/>
                  <a:gd name="connsiteY7" fmla="*/ 299 h 16746"/>
                  <a:gd name="connsiteX8" fmla="*/ 31758 w 34568"/>
                  <a:gd name="connsiteY8" fmla="*/ 0 h 16746"/>
                  <a:gd name="connsiteX9" fmla="*/ 34569 w 34568"/>
                  <a:gd name="connsiteY9" fmla="*/ 120 h 16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68" h="16746">
                    <a:moveTo>
                      <a:pt x="3888" y="16746"/>
                    </a:moveTo>
                    <a:lnTo>
                      <a:pt x="1495" y="15669"/>
                    </a:lnTo>
                    <a:lnTo>
                      <a:pt x="0" y="13457"/>
                    </a:lnTo>
                    <a:lnTo>
                      <a:pt x="60" y="10526"/>
                    </a:lnTo>
                    <a:lnTo>
                      <a:pt x="658" y="8552"/>
                    </a:lnTo>
                    <a:lnTo>
                      <a:pt x="9270" y="4725"/>
                    </a:lnTo>
                    <a:lnTo>
                      <a:pt x="22248" y="1256"/>
                    </a:lnTo>
                    <a:lnTo>
                      <a:pt x="29605" y="299"/>
                    </a:lnTo>
                    <a:lnTo>
                      <a:pt x="31758" y="0"/>
                    </a:lnTo>
                    <a:lnTo>
                      <a:pt x="34569" y="120"/>
                    </a:lnTo>
                  </a:path>
                </a:pathLst>
              </a:custGeom>
              <a:noFill/>
              <a:ln w="6350" cap="rnd">
                <a:solidFill>
                  <a:schemeClr val="bg1">
                    <a:alpha val="80000"/>
                  </a:schemeClr>
                </a:solidFill>
                <a:prstDash val="solid"/>
                <a:round/>
              </a:ln>
            </p:spPr>
            <p:txBody>
              <a:bodyPr rtlCol="0" anchor="ctr"/>
              <a:lstStyle/>
              <a:p>
                <a:endParaRPr lang="en-GB"/>
              </a:p>
            </p:txBody>
          </p:sp>
          <p:sp>
            <p:nvSpPr>
              <p:cNvPr id="6653" name="Vrije vorm: vorm 6652">
                <a:extLst>
                  <a:ext uri="{FF2B5EF4-FFF2-40B4-BE49-F238E27FC236}">
                    <a16:creationId xmlns:a16="http://schemas.microsoft.com/office/drawing/2014/main" id="{14D72B60-E0B5-4BC7-8E76-72B047081290}"/>
                  </a:ext>
                </a:extLst>
              </p:cNvPr>
              <p:cNvSpPr/>
              <p:nvPr/>
            </p:nvSpPr>
            <p:spPr>
              <a:xfrm>
                <a:off x="6712124" y="1807295"/>
                <a:ext cx="8971" cy="1854"/>
              </a:xfrm>
              <a:custGeom>
                <a:avLst/>
                <a:gdLst>
                  <a:gd name="connsiteX0" fmla="*/ 0 w 8971"/>
                  <a:gd name="connsiteY0" fmla="*/ 658 h 1854"/>
                  <a:gd name="connsiteX1" fmla="*/ 2392 w 8971"/>
                  <a:gd name="connsiteY1" fmla="*/ 120 h 1854"/>
                  <a:gd name="connsiteX2" fmla="*/ 5622 w 8971"/>
                  <a:gd name="connsiteY2" fmla="*/ 0 h 1854"/>
                  <a:gd name="connsiteX3" fmla="*/ 6579 w 8971"/>
                  <a:gd name="connsiteY3" fmla="*/ 538 h 1854"/>
                  <a:gd name="connsiteX4" fmla="*/ 6698 w 8971"/>
                  <a:gd name="connsiteY4" fmla="*/ 598 h 1854"/>
                  <a:gd name="connsiteX5" fmla="*/ 8971 w 8971"/>
                  <a:gd name="connsiteY5"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1" h="1854">
                    <a:moveTo>
                      <a:pt x="0" y="658"/>
                    </a:moveTo>
                    <a:lnTo>
                      <a:pt x="2392" y="120"/>
                    </a:lnTo>
                    <a:lnTo>
                      <a:pt x="5622" y="0"/>
                    </a:lnTo>
                    <a:lnTo>
                      <a:pt x="6579" y="538"/>
                    </a:lnTo>
                    <a:lnTo>
                      <a:pt x="6698" y="598"/>
                    </a:lnTo>
                    <a:lnTo>
                      <a:pt x="8971" y="1854"/>
                    </a:lnTo>
                  </a:path>
                </a:pathLst>
              </a:custGeom>
              <a:noFill/>
              <a:ln w="6350" cap="rnd">
                <a:solidFill>
                  <a:schemeClr val="bg1">
                    <a:alpha val="80000"/>
                  </a:schemeClr>
                </a:solidFill>
                <a:prstDash val="solid"/>
                <a:round/>
              </a:ln>
            </p:spPr>
            <p:txBody>
              <a:bodyPr rtlCol="0" anchor="ctr"/>
              <a:lstStyle/>
              <a:p>
                <a:endParaRPr lang="en-GB"/>
              </a:p>
            </p:txBody>
          </p:sp>
          <p:sp>
            <p:nvSpPr>
              <p:cNvPr id="6654" name="Vrije vorm: vorm 6653">
                <a:extLst>
                  <a:ext uri="{FF2B5EF4-FFF2-40B4-BE49-F238E27FC236}">
                    <a16:creationId xmlns:a16="http://schemas.microsoft.com/office/drawing/2014/main" id="{DBB3A3CD-A290-4FA0-BA73-2A6C2302F74A}"/>
                  </a:ext>
                </a:extLst>
              </p:cNvPr>
              <p:cNvSpPr/>
              <p:nvPr/>
            </p:nvSpPr>
            <p:spPr>
              <a:xfrm>
                <a:off x="7046207" y="1869973"/>
                <a:ext cx="5502" cy="15131"/>
              </a:xfrm>
              <a:custGeom>
                <a:avLst/>
                <a:gdLst>
                  <a:gd name="connsiteX0" fmla="*/ 5503 w 5502"/>
                  <a:gd name="connsiteY0" fmla="*/ 0 h 15131"/>
                  <a:gd name="connsiteX1" fmla="*/ 837 w 5502"/>
                  <a:gd name="connsiteY1" fmla="*/ 10227 h 15131"/>
                  <a:gd name="connsiteX2" fmla="*/ 0 w 5502"/>
                  <a:gd name="connsiteY2" fmla="*/ 12260 h 15131"/>
                  <a:gd name="connsiteX3" fmla="*/ 60 w 5502"/>
                  <a:gd name="connsiteY3" fmla="*/ 12440 h 15131"/>
                  <a:gd name="connsiteX4" fmla="*/ 299 w 5502"/>
                  <a:gd name="connsiteY4" fmla="*/ 12978 h 15131"/>
                  <a:gd name="connsiteX5" fmla="*/ 299 w 5502"/>
                  <a:gd name="connsiteY5" fmla="*/ 12978 h 15131"/>
                  <a:gd name="connsiteX6" fmla="*/ 1017 w 5502"/>
                  <a:gd name="connsiteY6" fmla="*/ 13397 h 15131"/>
                  <a:gd name="connsiteX7" fmla="*/ 1735 w 5502"/>
                  <a:gd name="connsiteY7" fmla="*/ 13815 h 15131"/>
                  <a:gd name="connsiteX8" fmla="*/ 3110 w 5502"/>
                  <a:gd name="connsiteY8" fmla="*/ 14593 h 15131"/>
                  <a:gd name="connsiteX9" fmla="*/ 4007 w 5502"/>
                  <a:gd name="connsiteY9" fmla="*/ 15131 h 1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2" h="15131">
                    <a:moveTo>
                      <a:pt x="5503" y="0"/>
                    </a:moveTo>
                    <a:lnTo>
                      <a:pt x="837" y="10227"/>
                    </a:lnTo>
                    <a:lnTo>
                      <a:pt x="0" y="12260"/>
                    </a:lnTo>
                    <a:lnTo>
                      <a:pt x="60" y="12440"/>
                    </a:lnTo>
                    <a:lnTo>
                      <a:pt x="299" y="12978"/>
                    </a:lnTo>
                    <a:lnTo>
                      <a:pt x="299" y="12978"/>
                    </a:lnTo>
                    <a:lnTo>
                      <a:pt x="1017" y="13397"/>
                    </a:lnTo>
                    <a:lnTo>
                      <a:pt x="1735" y="13815"/>
                    </a:lnTo>
                    <a:lnTo>
                      <a:pt x="3110" y="14593"/>
                    </a:lnTo>
                    <a:lnTo>
                      <a:pt x="4007" y="15131"/>
                    </a:lnTo>
                  </a:path>
                </a:pathLst>
              </a:custGeom>
              <a:noFill/>
              <a:ln w="6350" cap="rnd">
                <a:solidFill>
                  <a:schemeClr val="bg1">
                    <a:alpha val="80000"/>
                  </a:schemeClr>
                </a:solidFill>
                <a:prstDash val="solid"/>
                <a:round/>
              </a:ln>
            </p:spPr>
            <p:txBody>
              <a:bodyPr rtlCol="0" anchor="ctr"/>
              <a:lstStyle/>
              <a:p>
                <a:endParaRPr lang="en-GB"/>
              </a:p>
            </p:txBody>
          </p:sp>
          <p:sp>
            <p:nvSpPr>
              <p:cNvPr id="6655" name="Vrije vorm: vorm 6654">
                <a:extLst>
                  <a:ext uri="{FF2B5EF4-FFF2-40B4-BE49-F238E27FC236}">
                    <a16:creationId xmlns:a16="http://schemas.microsoft.com/office/drawing/2014/main" id="{1C0AC6A0-8E43-46F7-A2DD-CC29DCCE996A}"/>
                  </a:ext>
                </a:extLst>
              </p:cNvPr>
              <p:cNvSpPr/>
              <p:nvPr/>
            </p:nvSpPr>
            <p:spPr>
              <a:xfrm>
                <a:off x="6597593" y="1871886"/>
                <a:ext cx="16327" cy="52869"/>
              </a:xfrm>
              <a:custGeom>
                <a:avLst/>
                <a:gdLst>
                  <a:gd name="connsiteX0" fmla="*/ 16327 w 16327"/>
                  <a:gd name="connsiteY0" fmla="*/ 52212 h 52869"/>
                  <a:gd name="connsiteX1" fmla="*/ 13277 w 16327"/>
                  <a:gd name="connsiteY1" fmla="*/ 52870 h 52869"/>
                  <a:gd name="connsiteX2" fmla="*/ 12021 w 16327"/>
                  <a:gd name="connsiteY2" fmla="*/ 52571 h 52869"/>
                  <a:gd name="connsiteX3" fmla="*/ 11423 w 16327"/>
                  <a:gd name="connsiteY3" fmla="*/ 52391 h 52869"/>
                  <a:gd name="connsiteX4" fmla="*/ 10048 w 16327"/>
                  <a:gd name="connsiteY4" fmla="*/ 48145 h 52869"/>
                  <a:gd name="connsiteX5" fmla="*/ 9808 w 16327"/>
                  <a:gd name="connsiteY5" fmla="*/ 47427 h 52869"/>
                  <a:gd name="connsiteX6" fmla="*/ 8194 w 16327"/>
                  <a:gd name="connsiteY6" fmla="*/ 42523 h 52869"/>
                  <a:gd name="connsiteX7" fmla="*/ 7476 w 16327"/>
                  <a:gd name="connsiteY7" fmla="*/ 39951 h 52869"/>
                  <a:gd name="connsiteX8" fmla="*/ 6280 w 16327"/>
                  <a:gd name="connsiteY8" fmla="*/ 35765 h 52869"/>
                  <a:gd name="connsiteX9" fmla="*/ 6100 w 16327"/>
                  <a:gd name="connsiteY9" fmla="*/ 35167 h 52869"/>
                  <a:gd name="connsiteX10" fmla="*/ 4605 w 16327"/>
                  <a:gd name="connsiteY10" fmla="*/ 29844 h 52869"/>
                  <a:gd name="connsiteX11" fmla="*/ 4127 w 16327"/>
                  <a:gd name="connsiteY11" fmla="*/ 27631 h 52869"/>
                  <a:gd name="connsiteX12" fmla="*/ 3229 w 16327"/>
                  <a:gd name="connsiteY12" fmla="*/ 23743 h 52869"/>
                  <a:gd name="connsiteX13" fmla="*/ 2811 w 16327"/>
                  <a:gd name="connsiteY13" fmla="*/ 21770 h 52869"/>
                  <a:gd name="connsiteX14" fmla="*/ 2632 w 16327"/>
                  <a:gd name="connsiteY14" fmla="*/ 20873 h 52869"/>
                  <a:gd name="connsiteX15" fmla="*/ 2512 w 16327"/>
                  <a:gd name="connsiteY15" fmla="*/ 20454 h 52869"/>
                  <a:gd name="connsiteX16" fmla="*/ 957 w 16327"/>
                  <a:gd name="connsiteY16" fmla="*/ 13756 h 52869"/>
                  <a:gd name="connsiteX17" fmla="*/ 0 w 16327"/>
                  <a:gd name="connsiteY17" fmla="*/ 8672 h 52869"/>
                  <a:gd name="connsiteX18" fmla="*/ 2034 w 16327"/>
                  <a:gd name="connsiteY18" fmla="*/ 3469 h 52869"/>
                  <a:gd name="connsiteX19" fmla="*/ 9928 w 16327"/>
                  <a:gd name="connsiteY19" fmla="*/ 0 h 5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327" h="52869">
                    <a:moveTo>
                      <a:pt x="16327" y="52212"/>
                    </a:moveTo>
                    <a:lnTo>
                      <a:pt x="13277" y="52870"/>
                    </a:lnTo>
                    <a:lnTo>
                      <a:pt x="12021" y="52571"/>
                    </a:lnTo>
                    <a:lnTo>
                      <a:pt x="11423" y="52391"/>
                    </a:lnTo>
                    <a:lnTo>
                      <a:pt x="10048" y="48145"/>
                    </a:lnTo>
                    <a:lnTo>
                      <a:pt x="9808" y="47427"/>
                    </a:lnTo>
                    <a:lnTo>
                      <a:pt x="8194" y="42523"/>
                    </a:lnTo>
                    <a:lnTo>
                      <a:pt x="7476" y="39951"/>
                    </a:lnTo>
                    <a:lnTo>
                      <a:pt x="6280" y="35765"/>
                    </a:lnTo>
                    <a:lnTo>
                      <a:pt x="6100" y="35167"/>
                    </a:lnTo>
                    <a:lnTo>
                      <a:pt x="4605" y="29844"/>
                    </a:lnTo>
                    <a:lnTo>
                      <a:pt x="4127" y="27631"/>
                    </a:lnTo>
                    <a:lnTo>
                      <a:pt x="3229" y="23743"/>
                    </a:lnTo>
                    <a:lnTo>
                      <a:pt x="2811" y="21770"/>
                    </a:lnTo>
                    <a:lnTo>
                      <a:pt x="2632" y="20873"/>
                    </a:lnTo>
                    <a:lnTo>
                      <a:pt x="2512" y="20454"/>
                    </a:lnTo>
                    <a:lnTo>
                      <a:pt x="957" y="13756"/>
                    </a:lnTo>
                    <a:lnTo>
                      <a:pt x="0" y="8672"/>
                    </a:lnTo>
                    <a:lnTo>
                      <a:pt x="2034" y="3469"/>
                    </a:lnTo>
                    <a:lnTo>
                      <a:pt x="9928" y="0"/>
                    </a:lnTo>
                  </a:path>
                </a:pathLst>
              </a:custGeom>
              <a:noFill/>
              <a:ln w="6350" cap="rnd">
                <a:solidFill>
                  <a:schemeClr val="bg1">
                    <a:alpha val="80000"/>
                  </a:schemeClr>
                </a:solidFill>
                <a:prstDash val="solid"/>
                <a:round/>
              </a:ln>
            </p:spPr>
            <p:txBody>
              <a:bodyPr rtlCol="0" anchor="ctr"/>
              <a:lstStyle/>
              <a:p>
                <a:endParaRPr lang="en-GB"/>
              </a:p>
            </p:txBody>
          </p:sp>
          <p:sp>
            <p:nvSpPr>
              <p:cNvPr id="6656" name="Vrije vorm: vorm 6655">
                <a:extLst>
                  <a:ext uri="{FF2B5EF4-FFF2-40B4-BE49-F238E27FC236}">
                    <a16:creationId xmlns:a16="http://schemas.microsoft.com/office/drawing/2014/main" id="{D50A821A-3590-4B39-A36D-2AE0B8357B7C}"/>
                  </a:ext>
                </a:extLst>
              </p:cNvPr>
              <p:cNvSpPr/>
              <p:nvPr/>
            </p:nvSpPr>
            <p:spPr>
              <a:xfrm>
                <a:off x="6934368" y="1818179"/>
                <a:ext cx="34209" cy="22009"/>
              </a:xfrm>
              <a:custGeom>
                <a:avLst/>
                <a:gdLst>
                  <a:gd name="connsiteX0" fmla="*/ 0 w 34209"/>
                  <a:gd name="connsiteY0" fmla="*/ 0 h 22009"/>
                  <a:gd name="connsiteX1" fmla="*/ 239 w 34209"/>
                  <a:gd name="connsiteY1" fmla="*/ 239 h 22009"/>
                  <a:gd name="connsiteX2" fmla="*/ 837 w 34209"/>
                  <a:gd name="connsiteY2" fmla="*/ 778 h 22009"/>
                  <a:gd name="connsiteX3" fmla="*/ 1973 w 34209"/>
                  <a:gd name="connsiteY3" fmla="*/ 1794 h 22009"/>
                  <a:gd name="connsiteX4" fmla="*/ 3290 w 34209"/>
                  <a:gd name="connsiteY4" fmla="*/ 2931 h 22009"/>
                  <a:gd name="connsiteX5" fmla="*/ 3469 w 34209"/>
                  <a:gd name="connsiteY5" fmla="*/ 3050 h 22009"/>
                  <a:gd name="connsiteX6" fmla="*/ 3768 w 34209"/>
                  <a:gd name="connsiteY6" fmla="*/ 3289 h 22009"/>
                  <a:gd name="connsiteX7" fmla="*/ 3947 w 34209"/>
                  <a:gd name="connsiteY7" fmla="*/ 3469 h 22009"/>
                  <a:gd name="connsiteX8" fmla="*/ 4126 w 34209"/>
                  <a:gd name="connsiteY8" fmla="*/ 3588 h 22009"/>
                  <a:gd name="connsiteX9" fmla="*/ 4366 w 34209"/>
                  <a:gd name="connsiteY9" fmla="*/ 3708 h 22009"/>
                  <a:gd name="connsiteX10" fmla="*/ 4366 w 34209"/>
                  <a:gd name="connsiteY10" fmla="*/ 3708 h 22009"/>
                  <a:gd name="connsiteX11" fmla="*/ 4486 w 34209"/>
                  <a:gd name="connsiteY11" fmla="*/ 3768 h 22009"/>
                  <a:gd name="connsiteX12" fmla="*/ 4545 w 34209"/>
                  <a:gd name="connsiteY12" fmla="*/ 3768 h 22009"/>
                  <a:gd name="connsiteX13" fmla="*/ 4725 w 34209"/>
                  <a:gd name="connsiteY13" fmla="*/ 3887 h 22009"/>
                  <a:gd name="connsiteX14" fmla="*/ 5263 w 34209"/>
                  <a:gd name="connsiteY14" fmla="*/ 4246 h 22009"/>
                  <a:gd name="connsiteX15" fmla="*/ 5443 w 34209"/>
                  <a:gd name="connsiteY15" fmla="*/ 4366 h 22009"/>
                  <a:gd name="connsiteX16" fmla="*/ 5921 w 34209"/>
                  <a:gd name="connsiteY16" fmla="*/ 4665 h 22009"/>
                  <a:gd name="connsiteX17" fmla="*/ 5981 w 34209"/>
                  <a:gd name="connsiteY17" fmla="*/ 4665 h 22009"/>
                  <a:gd name="connsiteX18" fmla="*/ 8134 w 34209"/>
                  <a:gd name="connsiteY18" fmla="*/ 6040 h 22009"/>
                  <a:gd name="connsiteX19" fmla="*/ 8791 w 34209"/>
                  <a:gd name="connsiteY19" fmla="*/ 6459 h 22009"/>
                  <a:gd name="connsiteX20" fmla="*/ 8971 w 34209"/>
                  <a:gd name="connsiteY20" fmla="*/ 6579 h 22009"/>
                  <a:gd name="connsiteX21" fmla="*/ 10048 w 34209"/>
                  <a:gd name="connsiteY21" fmla="*/ 7237 h 22009"/>
                  <a:gd name="connsiteX22" fmla="*/ 10167 w 34209"/>
                  <a:gd name="connsiteY22" fmla="*/ 7296 h 22009"/>
                  <a:gd name="connsiteX23" fmla="*/ 10825 w 34209"/>
                  <a:gd name="connsiteY23" fmla="*/ 7715 h 22009"/>
                  <a:gd name="connsiteX24" fmla="*/ 12380 w 34209"/>
                  <a:gd name="connsiteY24" fmla="*/ 8732 h 22009"/>
                  <a:gd name="connsiteX25" fmla="*/ 13816 w 34209"/>
                  <a:gd name="connsiteY25" fmla="*/ 9629 h 22009"/>
                  <a:gd name="connsiteX26" fmla="*/ 19318 w 34209"/>
                  <a:gd name="connsiteY26" fmla="*/ 12978 h 22009"/>
                  <a:gd name="connsiteX27" fmla="*/ 21172 w 34209"/>
                  <a:gd name="connsiteY27" fmla="*/ 14115 h 22009"/>
                  <a:gd name="connsiteX28" fmla="*/ 21650 w 34209"/>
                  <a:gd name="connsiteY28" fmla="*/ 14414 h 22009"/>
                  <a:gd name="connsiteX29" fmla="*/ 25478 w 34209"/>
                  <a:gd name="connsiteY29" fmla="*/ 16746 h 22009"/>
                  <a:gd name="connsiteX30" fmla="*/ 28408 w 34209"/>
                  <a:gd name="connsiteY30" fmla="*/ 18480 h 22009"/>
                  <a:gd name="connsiteX31" fmla="*/ 29126 w 34209"/>
                  <a:gd name="connsiteY31" fmla="*/ 18899 h 22009"/>
                  <a:gd name="connsiteX32" fmla="*/ 30921 w 34209"/>
                  <a:gd name="connsiteY32" fmla="*/ 19976 h 22009"/>
                  <a:gd name="connsiteX33" fmla="*/ 30980 w 34209"/>
                  <a:gd name="connsiteY33" fmla="*/ 20035 h 22009"/>
                  <a:gd name="connsiteX34" fmla="*/ 32416 w 34209"/>
                  <a:gd name="connsiteY34" fmla="*/ 20933 h 22009"/>
                  <a:gd name="connsiteX35" fmla="*/ 33253 w 34209"/>
                  <a:gd name="connsiteY35" fmla="*/ 21411 h 22009"/>
                  <a:gd name="connsiteX36" fmla="*/ 34210 w 34209"/>
                  <a:gd name="connsiteY36" fmla="*/ 22009 h 2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4209" h="22009">
                    <a:moveTo>
                      <a:pt x="0" y="0"/>
                    </a:moveTo>
                    <a:lnTo>
                      <a:pt x="239" y="239"/>
                    </a:lnTo>
                    <a:lnTo>
                      <a:pt x="837" y="778"/>
                    </a:lnTo>
                    <a:lnTo>
                      <a:pt x="1973" y="1794"/>
                    </a:lnTo>
                    <a:lnTo>
                      <a:pt x="3290" y="2931"/>
                    </a:lnTo>
                    <a:lnTo>
                      <a:pt x="3469" y="3050"/>
                    </a:lnTo>
                    <a:lnTo>
                      <a:pt x="3768" y="3289"/>
                    </a:lnTo>
                    <a:lnTo>
                      <a:pt x="3947" y="3469"/>
                    </a:lnTo>
                    <a:lnTo>
                      <a:pt x="4126" y="3588"/>
                    </a:lnTo>
                    <a:lnTo>
                      <a:pt x="4366" y="3708"/>
                    </a:lnTo>
                    <a:lnTo>
                      <a:pt x="4366" y="3708"/>
                    </a:lnTo>
                    <a:lnTo>
                      <a:pt x="4486" y="3768"/>
                    </a:lnTo>
                    <a:lnTo>
                      <a:pt x="4545" y="3768"/>
                    </a:lnTo>
                    <a:lnTo>
                      <a:pt x="4725" y="3887"/>
                    </a:lnTo>
                    <a:lnTo>
                      <a:pt x="5263" y="4246"/>
                    </a:lnTo>
                    <a:lnTo>
                      <a:pt x="5443" y="4366"/>
                    </a:lnTo>
                    <a:lnTo>
                      <a:pt x="5921" y="4665"/>
                    </a:lnTo>
                    <a:lnTo>
                      <a:pt x="5981" y="4665"/>
                    </a:lnTo>
                    <a:lnTo>
                      <a:pt x="8134" y="6040"/>
                    </a:lnTo>
                    <a:lnTo>
                      <a:pt x="8791" y="6459"/>
                    </a:lnTo>
                    <a:lnTo>
                      <a:pt x="8971" y="6579"/>
                    </a:lnTo>
                    <a:lnTo>
                      <a:pt x="10048" y="7237"/>
                    </a:lnTo>
                    <a:lnTo>
                      <a:pt x="10167" y="7296"/>
                    </a:lnTo>
                    <a:lnTo>
                      <a:pt x="10825" y="7715"/>
                    </a:lnTo>
                    <a:lnTo>
                      <a:pt x="12380" y="8732"/>
                    </a:lnTo>
                    <a:lnTo>
                      <a:pt x="13816" y="9629"/>
                    </a:lnTo>
                    <a:lnTo>
                      <a:pt x="19318" y="12978"/>
                    </a:lnTo>
                    <a:lnTo>
                      <a:pt x="21172" y="14115"/>
                    </a:lnTo>
                    <a:lnTo>
                      <a:pt x="21650" y="14414"/>
                    </a:lnTo>
                    <a:lnTo>
                      <a:pt x="25478" y="16746"/>
                    </a:lnTo>
                    <a:lnTo>
                      <a:pt x="28408" y="18480"/>
                    </a:lnTo>
                    <a:lnTo>
                      <a:pt x="29126" y="18899"/>
                    </a:lnTo>
                    <a:lnTo>
                      <a:pt x="30921" y="19976"/>
                    </a:lnTo>
                    <a:lnTo>
                      <a:pt x="30980" y="20035"/>
                    </a:lnTo>
                    <a:lnTo>
                      <a:pt x="32416" y="20933"/>
                    </a:lnTo>
                    <a:lnTo>
                      <a:pt x="33253" y="21411"/>
                    </a:lnTo>
                    <a:lnTo>
                      <a:pt x="34210" y="22009"/>
                    </a:lnTo>
                  </a:path>
                </a:pathLst>
              </a:custGeom>
              <a:noFill/>
              <a:ln w="6350" cap="rnd">
                <a:solidFill>
                  <a:schemeClr val="bg1">
                    <a:alpha val="80000"/>
                  </a:schemeClr>
                </a:solidFill>
                <a:prstDash val="solid"/>
                <a:round/>
              </a:ln>
            </p:spPr>
            <p:txBody>
              <a:bodyPr rtlCol="0" anchor="ctr"/>
              <a:lstStyle/>
              <a:p>
                <a:endParaRPr lang="en-GB"/>
              </a:p>
            </p:txBody>
          </p:sp>
          <p:sp>
            <p:nvSpPr>
              <p:cNvPr id="6657" name="Vrije vorm: vorm 6656">
                <a:extLst>
                  <a:ext uri="{FF2B5EF4-FFF2-40B4-BE49-F238E27FC236}">
                    <a16:creationId xmlns:a16="http://schemas.microsoft.com/office/drawing/2014/main" id="{FAE50C1C-0076-4B2F-A2B8-3CA8D32420DB}"/>
                  </a:ext>
                </a:extLst>
              </p:cNvPr>
              <p:cNvSpPr/>
              <p:nvPr/>
            </p:nvSpPr>
            <p:spPr>
              <a:xfrm>
                <a:off x="6645798" y="1929899"/>
                <a:ext cx="7176" cy="1016"/>
              </a:xfrm>
              <a:custGeom>
                <a:avLst/>
                <a:gdLst>
                  <a:gd name="connsiteX0" fmla="*/ 7177 w 7176"/>
                  <a:gd name="connsiteY0" fmla="*/ 0 h 1016"/>
                  <a:gd name="connsiteX1" fmla="*/ 4366 w 7176"/>
                  <a:gd name="connsiteY1" fmla="*/ 778 h 1016"/>
                  <a:gd name="connsiteX2" fmla="*/ 4127 w 7176"/>
                  <a:gd name="connsiteY2" fmla="*/ 837 h 1016"/>
                  <a:gd name="connsiteX3" fmla="*/ 0 w 7176"/>
                  <a:gd name="connsiteY3" fmla="*/ 1017 h 1016"/>
                </a:gdLst>
                <a:ahLst/>
                <a:cxnLst>
                  <a:cxn ang="0">
                    <a:pos x="connsiteX0" y="connsiteY0"/>
                  </a:cxn>
                  <a:cxn ang="0">
                    <a:pos x="connsiteX1" y="connsiteY1"/>
                  </a:cxn>
                  <a:cxn ang="0">
                    <a:pos x="connsiteX2" y="connsiteY2"/>
                  </a:cxn>
                  <a:cxn ang="0">
                    <a:pos x="connsiteX3" y="connsiteY3"/>
                  </a:cxn>
                </a:cxnLst>
                <a:rect l="l" t="t" r="r" b="b"/>
                <a:pathLst>
                  <a:path w="7176" h="1016">
                    <a:moveTo>
                      <a:pt x="7177" y="0"/>
                    </a:moveTo>
                    <a:lnTo>
                      <a:pt x="4366" y="778"/>
                    </a:lnTo>
                    <a:lnTo>
                      <a:pt x="4127" y="837"/>
                    </a:lnTo>
                    <a:lnTo>
                      <a:pt x="0" y="1017"/>
                    </a:lnTo>
                  </a:path>
                </a:pathLst>
              </a:custGeom>
              <a:noFill/>
              <a:ln w="6350" cap="rnd">
                <a:solidFill>
                  <a:schemeClr val="bg1">
                    <a:alpha val="80000"/>
                  </a:schemeClr>
                </a:solidFill>
                <a:prstDash val="solid"/>
                <a:round/>
              </a:ln>
            </p:spPr>
            <p:txBody>
              <a:bodyPr rtlCol="0" anchor="ctr"/>
              <a:lstStyle/>
              <a:p>
                <a:endParaRPr lang="en-GB"/>
              </a:p>
            </p:txBody>
          </p:sp>
          <p:sp>
            <p:nvSpPr>
              <p:cNvPr id="6658" name="Vrije vorm: vorm 6657">
                <a:extLst>
                  <a:ext uri="{FF2B5EF4-FFF2-40B4-BE49-F238E27FC236}">
                    <a16:creationId xmlns:a16="http://schemas.microsoft.com/office/drawing/2014/main" id="{10242DC3-9BAE-4EFA-9EC0-2E2D8B13967D}"/>
                  </a:ext>
                </a:extLst>
              </p:cNvPr>
              <p:cNvSpPr/>
              <p:nvPr/>
            </p:nvSpPr>
            <p:spPr>
              <a:xfrm>
                <a:off x="7077665" y="1815668"/>
                <a:ext cx="2212" cy="4066"/>
              </a:xfrm>
              <a:custGeom>
                <a:avLst/>
                <a:gdLst>
                  <a:gd name="connsiteX0" fmla="*/ 0 w 2212"/>
                  <a:gd name="connsiteY0" fmla="*/ 4067 h 4066"/>
                  <a:gd name="connsiteX1" fmla="*/ 658 w 2212"/>
                  <a:gd name="connsiteY1" fmla="*/ 2930 h 4066"/>
                  <a:gd name="connsiteX2" fmla="*/ 658 w 2212"/>
                  <a:gd name="connsiteY2" fmla="*/ 2871 h 4066"/>
                  <a:gd name="connsiteX3" fmla="*/ 1914 w 2212"/>
                  <a:gd name="connsiteY3" fmla="*/ 658 h 4066"/>
                  <a:gd name="connsiteX4" fmla="*/ 1914 w 2212"/>
                  <a:gd name="connsiteY4" fmla="*/ 598 h 4066"/>
                  <a:gd name="connsiteX5" fmla="*/ 1914 w 2212"/>
                  <a:gd name="connsiteY5" fmla="*/ 598 h 4066"/>
                  <a:gd name="connsiteX6" fmla="*/ 2153 w 2212"/>
                  <a:gd name="connsiteY6" fmla="*/ 120 h 4066"/>
                  <a:gd name="connsiteX7" fmla="*/ 2213 w 2212"/>
                  <a:gd name="connsiteY7" fmla="*/ 0 h 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2" h="4066">
                    <a:moveTo>
                      <a:pt x="0" y="4067"/>
                    </a:moveTo>
                    <a:lnTo>
                      <a:pt x="658" y="2930"/>
                    </a:lnTo>
                    <a:lnTo>
                      <a:pt x="658" y="2871"/>
                    </a:lnTo>
                    <a:lnTo>
                      <a:pt x="1914" y="658"/>
                    </a:lnTo>
                    <a:lnTo>
                      <a:pt x="1914" y="598"/>
                    </a:lnTo>
                    <a:lnTo>
                      <a:pt x="1914" y="598"/>
                    </a:lnTo>
                    <a:lnTo>
                      <a:pt x="2153" y="120"/>
                    </a:lnTo>
                    <a:lnTo>
                      <a:pt x="2213" y="0"/>
                    </a:lnTo>
                  </a:path>
                </a:pathLst>
              </a:custGeom>
              <a:noFill/>
              <a:ln w="6350" cap="rnd">
                <a:solidFill>
                  <a:schemeClr val="bg1">
                    <a:alpha val="80000"/>
                  </a:schemeClr>
                </a:solidFill>
                <a:prstDash val="solid"/>
                <a:round/>
              </a:ln>
            </p:spPr>
            <p:txBody>
              <a:bodyPr rtlCol="0" anchor="ctr"/>
              <a:lstStyle/>
              <a:p>
                <a:endParaRPr lang="en-GB"/>
              </a:p>
            </p:txBody>
          </p:sp>
          <p:sp>
            <p:nvSpPr>
              <p:cNvPr id="6659" name="Vrije vorm: vorm 6658">
                <a:extLst>
                  <a:ext uri="{FF2B5EF4-FFF2-40B4-BE49-F238E27FC236}">
                    <a16:creationId xmlns:a16="http://schemas.microsoft.com/office/drawing/2014/main" id="{E76CA72D-F010-4B9B-BCD1-119321EE885F}"/>
                  </a:ext>
                </a:extLst>
              </p:cNvPr>
              <p:cNvSpPr/>
              <p:nvPr/>
            </p:nvSpPr>
            <p:spPr>
              <a:xfrm>
                <a:off x="7080058" y="1816744"/>
                <a:ext cx="2392" cy="4365"/>
              </a:xfrm>
              <a:custGeom>
                <a:avLst/>
                <a:gdLst>
                  <a:gd name="connsiteX0" fmla="*/ 2392 w 2392"/>
                  <a:gd name="connsiteY0" fmla="*/ 0 h 4365"/>
                  <a:gd name="connsiteX1" fmla="*/ 2153 w 2392"/>
                  <a:gd name="connsiteY1" fmla="*/ 598 h 4365"/>
                  <a:gd name="connsiteX2" fmla="*/ 1555 w 2392"/>
                  <a:gd name="connsiteY2" fmla="*/ 1675 h 4365"/>
                  <a:gd name="connsiteX3" fmla="*/ 778 w 2392"/>
                  <a:gd name="connsiteY3" fmla="*/ 3050 h 4365"/>
                  <a:gd name="connsiteX4" fmla="*/ 778 w 2392"/>
                  <a:gd name="connsiteY4" fmla="*/ 3050 h 4365"/>
                  <a:gd name="connsiteX5" fmla="*/ 598 w 2392"/>
                  <a:gd name="connsiteY5" fmla="*/ 3349 h 4365"/>
                  <a:gd name="connsiteX6" fmla="*/ 0 w 2392"/>
                  <a:gd name="connsiteY6" fmla="*/ 4366 h 4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2" h="4365">
                    <a:moveTo>
                      <a:pt x="2392" y="0"/>
                    </a:moveTo>
                    <a:lnTo>
                      <a:pt x="2153" y="598"/>
                    </a:lnTo>
                    <a:lnTo>
                      <a:pt x="1555" y="1675"/>
                    </a:lnTo>
                    <a:lnTo>
                      <a:pt x="778" y="3050"/>
                    </a:lnTo>
                    <a:lnTo>
                      <a:pt x="778" y="3050"/>
                    </a:lnTo>
                    <a:lnTo>
                      <a:pt x="598" y="3349"/>
                    </a:lnTo>
                    <a:lnTo>
                      <a:pt x="0" y="4366"/>
                    </a:lnTo>
                  </a:path>
                </a:pathLst>
              </a:custGeom>
              <a:noFill/>
              <a:ln w="6350" cap="rnd">
                <a:solidFill>
                  <a:schemeClr val="bg1">
                    <a:alpha val="80000"/>
                  </a:schemeClr>
                </a:solidFill>
                <a:prstDash val="solid"/>
                <a:round/>
              </a:ln>
            </p:spPr>
            <p:txBody>
              <a:bodyPr rtlCol="0" anchor="ctr"/>
              <a:lstStyle/>
              <a:p>
                <a:endParaRPr lang="en-GB"/>
              </a:p>
            </p:txBody>
          </p:sp>
          <p:sp>
            <p:nvSpPr>
              <p:cNvPr id="6660" name="Vrije vorm: vorm 6659">
                <a:extLst>
                  <a:ext uri="{FF2B5EF4-FFF2-40B4-BE49-F238E27FC236}">
                    <a16:creationId xmlns:a16="http://schemas.microsoft.com/office/drawing/2014/main" id="{6F8BE3C6-B8DE-423F-9C94-190293F1712F}"/>
                  </a:ext>
                </a:extLst>
              </p:cNvPr>
              <p:cNvSpPr/>
              <p:nvPr/>
            </p:nvSpPr>
            <p:spPr>
              <a:xfrm>
                <a:off x="6813019" y="1973798"/>
                <a:ext cx="9569" cy="50895"/>
              </a:xfrm>
              <a:custGeom>
                <a:avLst/>
                <a:gdLst>
                  <a:gd name="connsiteX0" fmla="*/ 9031 w 9569"/>
                  <a:gd name="connsiteY0" fmla="*/ 50896 h 50895"/>
                  <a:gd name="connsiteX1" fmla="*/ 7535 w 9569"/>
                  <a:gd name="connsiteY1" fmla="*/ 50417 h 50895"/>
                  <a:gd name="connsiteX2" fmla="*/ 6997 w 9569"/>
                  <a:gd name="connsiteY2" fmla="*/ 44497 h 50895"/>
                  <a:gd name="connsiteX3" fmla="*/ 6519 w 9569"/>
                  <a:gd name="connsiteY3" fmla="*/ 39592 h 50895"/>
                  <a:gd name="connsiteX4" fmla="*/ 6459 w 9569"/>
                  <a:gd name="connsiteY4" fmla="*/ 39174 h 50895"/>
                  <a:gd name="connsiteX5" fmla="*/ 6459 w 9569"/>
                  <a:gd name="connsiteY5" fmla="*/ 39114 h 50895"/>
                  <a:gd name="connsiteX6" fmla="*/ 6399 w 9569"/>
                  <a:gd name="connsiteY6" fmla="*/ 38576 h 50895"/>
                  <a:gd name="connsiteX7" fmla="*/ 5981 w 9569"/>
                  <a:gd name="connsiteY7" fmla="*/ 34987 h 50895"/>
                  <a:gd name="connsiteX8" fmla="*/ 5442 w 9569"/>
                  <a:gd name="connsiteY8" fmla="*/ 30502 h 50895"/>
                  <a:gd name="connsiteX9" fmla="*/ 5323 w 9569"/>
                  <a:gd name="connsiteY9" fmla="*/ 29485 h 50895"/>
                  <a:gd name="connsiteX10" fmla="*/ 5203 w 9569"/>
                  <a:gd name="connsiteY10" fmla="*/ 28408 h 50895"/>
                  <a:gd name="connsiteX11" fmla="*/ 5143 w 9569"/>
                  <a:gd name="connsiteY11" fmla="*/ 27930 h 50895"/>
                  <a:gd name="connsiteX12" fmla="*/ 5083 w 9569"/>
                  <a:gd name="connsiteY12" fmla="*/ 27272 h 50895"/>
                  <a:gd name="connsiteX13" fmla="*/ 4904 w 9569"/>
                  <a:gd name="connsiteY13" fmla="*/ 25538 h 50895"/>
                  <a:gd name="connsiteX14" fmla="*/ 4426 w 9569"/>
                  <a:gd name="connsiteY14" fmla="*/ 22428 h 50895"/>
                  <a:gd name="connsiteX15" fmla="*/ 4306 w 9569"/>
                  <a:gd name="connsiteY15" fmla="*/ 21710 h 50895"/>
                  <a:gd name="connsiteX16" fmla="*/ 4246 w 9569"/>
                  <a:gd name="connsiteY16" fmla="*/ 21411 h 50895"/>
                  <a:gd name="connsiteX17" fmla="*/ 3947 w 9569"/>
                  <a:gd name="connsiteY17" fmla="*/ 19557 h 50895"/>
                  <a:gd name="connsiteX18" fmla="*/ 3648 w 9569"/>
                  <a:gd name="connsiteY18" fmla="*/ 17404 h 50895"/>
                  <a:gd name="connsiteX19" fmla="*/ 2930 w 9569"/>
                  <a:gd name="connsiteY19" fmla="*/ 14713 h 50895"/>
                  <a:gd name="connsiteX20" fmla="*/ 2930 w 9569"/>
                  <a:gd name="connsiteY20" fmla="*/ 14713 h 50895"/>
                  <a:gd name="connsiteX21" fmla="*/ 2751 w 9569"/>
                  <a:gd name="connsiteY21" fmla="*/ 14115 h 50895"/>
                  <a:gd name="connsiteX22" fmla="*/ 2572 w 9569"/>
                  <a:gd name="connsiteY22" fmla="*/ 13337 h 50895"/>
                  <a:gd name="connsiteX23" fmla="*/ 2512 w 9569"/>
                  <a:gd name="connsiteY23" fmla="*/ 13098 h 50895"/>
                  <a:gd name="connsiteX24" fmla="*/ 2392 w 9569"/>
                  <a:gd name="connsiteY24" fmla="*/ 12679 h 50895"/>
                  <a:gd name="connsiteX25" fmla="*/ 2332 w 9569"/>
                  <a:gd name="connsiteY25" fmla="*/ 12440 h 50895"/>
                  <a:gd name="connsiteX26" fmla="*/ 2093 w 9569"/>
                  <a:gd name="connsiteY26" fmla="*/ 11662 h 50895"/>
                  <a:gd name="connsiteX27" fmla="*/ 1854 w 9569"/>
                  <a:gd name="connsiteY27" fmla="*/ 10825 h 50895"/>
                  <a:gd name="connsiteX28" fmla="*/ 1555 w 9569"/>
                  <a:gd name="connsiteY28" fmla="*/ 9808 h 50895"/>
                  <a:gd name="connsiteX29" fmla="*/ 538 w 9569"/>
                  <a:gd name="connsiteY29" fmla="*/ 6997 h 50895"/>
                  <a:gd name="connsiteX30" fmla="*/ 478 w 9569"/>
                  <a:gd name="connsiteY30" fmla="*/ 6818 h 50895"/>
                  <a:gd name="connsiteX31" fmla="*/ 239 w 9569"/>
                  <a:gd name="connsiteY31" fmla="*/ 6100 h 50895"/>
                  <a:gd name="connsiteX32" fmla="*/ 0 w 9569"/>
                  <a:gd name="connsiteY32" fmla="*/ 5383 h 50895"/>
                  <a:gd name="connsiteX33" fmla="*/ 538 w 9569"/>
                  <a:gd name="connsiteY33" fmla="*/ 4605 h 50895"/>
                  <a:gd name="connsiteX34" fmla="*/ 778 w 9569"/>
                  <a:gd name="connsiteY34" fmla="*/ 4246 h 50895"/>
                  <a:gd name="connsiteX35" fmla="*/ 2332 w 9569"/>
                  <a:gd name="connsiteY35" fmla="*/ 1974 h 50895"/>
                  <a:gd name="connsiteX36" fmla="*/ 3708 w 9569"/>
                  <a:gd name="connsiteY36" fmla="*/ 0 h 50895"/>
                  <a:gd name="connsiteX37" fmla="*/ 8732 w 9569"/>
                  <a:gd name="connsiteY37" fmla="*/ 478 h 50895"/>
                  <a:gd name="connsiteX38" fmla="*/ 9390 w 9569"/>
                  <a:gd name="connsiteY38" fmla="*/ 538 h 50895"/>
                  <a:gd name="connsiteX39" fmla="*/ 9509 w 9569"/>
                  <a:gd name="connsiteY39" fmla="*/ 837 h 50895"/>
                  <a:gd name="connsiteX40" fmla="*/ 9569 w 9569"/>
                  <a:gd name="connsiteY40" fmla="*/ 1017 h 50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569" h="50895">
                    <a:moveTo>
                      <a:pt x="9031" y="50896"/>
                    </a:moveTo>
                    <a:lnTo>
                      <a:pt x="7535" y="50417"/>
                    </a:lnTo>
                    <a:lnTo>
                      <a:pt x="6997" y="44497"/>
                    </a:lnTo>
                    <a:lnTo>
                      <a:pt x="6519" y="39592"/>
                    </a:lnTo>
                    <a:lnTo>
                      <a:pt x="6459" y="39174"/>
                    </a:lnTo>
                    <a:lnTo>
                      <a:pt x="6459" y="39114"/>
                    </a:lnTo>
                    <a:lnTo>
                      <a:pt x="6399" y="38576"/>
                    </a:lnTo>
                    <a:lnTo>
                      <a:pt x="5981" y="34987"/>
                    </a:lnTo>
                    <a:lnTo>
                      <a:pt x="5442" y="30502"/>
                    </a:lnTo>
                    <a:lnTo>
                      <a:pt x="5323" y="29485"/>
                    </a:lnTo>
                    <a:lnTo>
                      <a:pt x="5203" y="28408"/>
                    </a:lnTo>
                    <a:lnTo>
                      <a:pt x="5143" y="27930"/>
                    </a:lnTo>
                    <a:lnTo>
                      <a:pt x="5083" y="27272"/>
                    </a:lnTo>
                    <a:lnTo>
                      <a:pt x="4904" y="25538"/>
                    </a:lnTo>
                    <a:lnTo>
                      <a:pt x="4426" y="22428"/>
                    </a:lnTo>
                    <a:lnTo>
                      <a:pt x="4306" y="21710"/>
                    </a:lnTo>
                    <a:lnTo>
                      <a:pt x="4246" y="21411"/>
                    </a:lnTo>
                    <a:lnTo>
                      <a:pt x="3947" y="19557"/>
                    </a:lnTo>
                    <a:lnTo>
                      <a:pt x="3648" y="17404"/>
                    </a:lnTo>
                    <a:lnTo>
                      <a:pt x="2930" y="14713"/>
                    </a:lnTo>
                    <a:lnTo>
                      <a:pt x="2930" y="14713"/>
                    </a:lnTo>
                    <a:lnTo>
                      <a:pt x="2751" y="14115"/>
                    </a:lnTo>
                    <a:lnTo>
                      <a:pt x="2572" y="13337"/>
                    </a:lnTo>
                    <a:lnTo>
                      <a:pt x="2512" y="13098"/>
                    </a:lnTo>
                    <a:lnTo>
                      <a:pt x="2392" y="12679"/>
                    </a:lnTo>
                    <a:lnTo>
                      <a:pt x="2332" y="12440"/>
                    </a:lnTo>
                    <a:lnTo>
                      <a:pt x="2093" y="11662"/>
                    </a:lnTo>
                    <a:lnTo>
                      <a:pt x="1854" y="10825"/>
                    </a:lnTo>
                    <a:lnTo>
                      <a:pt x="1555" y="9808"/>
                    </a:lnTo>
                    <a:lnTo>
                      <a:pt x="538" y="6997"/>
                    </a:lnTo>
                    <a:lnTo>
                      <a:pt x="478" y="6818"/>
                    </a:lnTo>
                    <a:lnTo>
                      <a:pt x="239" y="6100"/>
                    </a:lnTo>
                    <a:lnTo>
                      <a:pt x="0" y="5383"/>
                    </a:lnTo>
                    <a:lnTo>
                      <a:pt x="538" y="4605"/>
                    </a:lnTo>
                    <a:lnTo>
                      <a:pt x="778" y="4246"/>
                    </a:lnTo>
                    <a:lnTo>
                      <a:pt x="2332" y="1974"/>
                    </a:lnTo>
                    <a:lnTo>
                      <a:pt x="3708" y="0"/>
                    </a:lnTo>
                    <a:lnTo>
                      <a:pt x="8732" y="478"/>
                    </a:lnTo>
                    <a:lnTo>
                      <a:pt x="9390" y="538"/>
                    </a:lnTo>
                    <a:lnTo>
                      <a:pt x="9509" y="837"/>
                    </a:lnTo>
                    <a:lnTo>
                      <a:pt x="9569" y="1017"/>
                    </a:lnTo>
                  </a:path>
                </a:pathLst>
              </a:custGeom>
              <a:noFill/>
              <a:ln w="6350" cap="rnd">
                <a:solidFill>
                  <a:schemeClr val="bg1">
                    <a:alpha val="80000"/>
                  </a:schemeClr>
                </a:solidFill>
                <a:prstDash val="solid"/>
                <a:round/>
              </a:ln>
            </p:spPr>
            <p:txBody>
              <a:bodyPr rtlCol="0" anchor="ctr"/>
              <a:lstStyle/>
              <a:p>
                <a:endParaRPr lang="en-GB"/>
              </a:p>
            </p:txBody>
          </p:sp>
          <p:sp>
            <p:nvSpPr>
              <p:cNvPr id="6661" name="Vrije vorm: vorm 6660">
                <a:extLst>
                  <a:ext uri="{FF2B5EF4-FFF2-40B4-BE49-F238E27FC236}">
                    <a16:creationId xmlns:a16="http://schemas.microsoft.com/office/drawing/2014/main" id="{5022A446-B624-43A9-BEA0-DA5A99D8576B}"/>
                  </a:ext>
                </a:extLst>
              </p:cNvPr>
              <p:cNvSpPr/>
              <p:nvPr/>
            </p:nvSpPr>
            <p:spPr>
              <a:xfrm>
                <a:off x="6864393" y="1694857"/>
                <a:ext cx="1555" cy="1136"/>
              </a:xfrm>
              <a:custGeom>
                <a:avLst/>
                <a:gdLst>
                  <a:gd name="connsiteX0" fmla="*/ 1555 w 1555"/>
                  <a:gd name="connsiteY0" fmla="*/ 1136 h 1136"/>
                  <a:gd name="connsiteX1" fmla="*/ 956 w 1555"/>
                  <a:gd name="connsiteY1" fmla="*/ 718 h 1136"/>
                  <a:gd name="connsiteX2" fmla="*/ 0 w 1555"/>
                  <a:gd name="connsiteY2" fmla="*/ 0 h 1136"/>
                </a:gdLst>
                <a:ahLst/>
                <a:cxnLst>
                  <a:cxn ang="0">
                    <a:pos x="connsiteX0" y="connsiteY0"/>
                  </a:cxn>
                  <a:cxn ang="0">
                    <a:pos x="connsiteX1" y="connsiteY1"/>
                  </a:cxn>
                  <a:cxn ang="0">
                    <a:pos x="connsiteX2" y="connsiteY2"/>
                  </a:cxn>
                </a:cxnLst>
                <a:rect l="l" t="t" r="r" b="b"/>
                <a:pathLst>
                  <a:path w="1555" h="1136">
                    <a:moveTo>
                      <a:pt x="1555" y="1136"/>
                    </a:moveTo>
                    <a:lnTo>
                      <a:pt x="956" y="71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62" name="Vrije vorm: vorm 6661">
                <a:extLst>
                  <a:ext uri="{FF2B5EF4-FFF2-40B4-BE49-F238E27FC236}">
                    <a16:creationId xmlns:a16="http://schemas.microsoft.com/office/drawing/2014/main" id="{BFACD2D3-DA42-4DC1-8689-24F49B3B23FF}"/>
                  </a:ext>
                </a:extLst>
              </p:cNvPr>
              <p:cNvSpPr/>
              <p:nvPr/>
            </p:nvSpPr>
            <p:spPr>
              <a:xfrm>
                <a:off x="6829585" y="1957112"/>
                <a:ext cx="717" cy="8074"/>
              </a:xfrm>
              <a:custGeom>
                <a:avLst/>
                <a:gdLst>
                  <a:gd name="connsiteX0" fmla="*/ 598 w 717"/>
                  <a:gd name="connsiteY0" fmla="*/ 6818 h 8074"/>
                  <a:gd name="connsiteX1" fmla="*/ 718 w 717"/>
                  <a:gd name="connsiteY1" fmla="*/ 8074 h 8074"/>
                  <a:gd name="connsiteX2" fmla="*/ 239 w 717"/>
                  <a:gd name="connsiteY2" fmla="*/ 7536 h 8074"/>
                  <a:gd name="connsiteX3" fmla="*/ 120 w 717"/>
                  <a:gd name="connsiteY3" fmla="*/ 3888 h 8074"/>
                  <a:gd name="connsiteX4" fmla="*/ 120 w 717"/>
                  <a:gd name="connsiteY4" fmla="*/ 3888 h 8074"/>
                  <a:gd name="connsiteX5" fmla="*/ 60 w 717"/>
                  <a:gd name="connsiteY5" fmla="*/ 2213 h 8074"/>
                  <a:gd name="connsiteX6" fmla="*/ 0 w 717"/>
                  <a:gd name="connsiteY6" fmla="*/ 419 h 8074"/>
                  <a:gd name="connsiteX7" fmla="*/ 0 w 717"/>
                  <a:gd name="connsiteY7" fmla="*/ 0 h 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 h="8074">
                    <a:moveTo>
                      <a:pt x="598" y="6818"/>
                    </a:moveTo>
                    <a:lnTo>
                      <a:pt x="718" y="8074"/>
                    </a:lnTo>
                    <a:lnTo>
                      <a:pt x="239" y="7536"/>
                    </a:lnTo>
                    <a:lnTo>
                      <a:pt x="120" y="3888"/>
                    </a:lnTo>
                    <a:lnTo>
                      <a:pt x="120" y="3888"/>
                    </a:lnTo>
                    <a:lnTo>
                      <a:pt x="60" y="2213"/>
                    </a:lnTo>
                    <a:lnTo>
                      <a:pt x="0" y="41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63" name="Vrije vorm: vorm 6662">
                <a:extLst>
                  <a:ext uri="{FF2B5EF4-FFF2-40B4-BE49-F238E27FC236}">
                    <a16:creationId xmlns:a16="http://schemas.microsoft.com/office/drawing/2014/main" id="{62FE849D-3099-4ABB-B379-6EA6BC2EECB2}"/>
                  </a:ext>
                </a:extLst>
              </p:cNvPr>
              <p:cNvSpPr/>
              <p:nvPr/>
            </p:nvSpPr>
            <p:spPr>
              <a:xfrm>
                <a:off x="6830184" y="1963870"/>
                <a:ext cx="1256" cy="1435"/>
              </a:xfrm>
              <a:custGeom>
                <a:avLst/>
                <a:gdLst>
                  <a:gd name="connsiteX0" fmla="*/ 1256 w 1256"/>
                  <a:gd name="connsiteY0" fmla="*/ 1435 h 1435"/>
                  <a:gd name="connsiteX1" fmla="*/ 598 w 1256"/>
                  <a:gd name="connsiteY1" fmla="*/ 718 h 1435"/>
                  <a:gd name="connsiteX2" fmla="*/ 478 w 1256"/>
                  <a:gd name="connsiteY2" fmla="*/ 538 h 1435"/>
                  <a:gd name="connsiteX3" fmla="*/ 478 w 1256"/>
                  <a:gd name="connsiteY3" fmla="*/ 538 h 1435"/>
                  <a:gd name="connsiteX4" fmla="*/ 0 w 1256"/>
                  <a:gd name="connsiteY4" fmla="*/ 0 h 1435"/>
                  <a:gd name="connsiteX5" fmla="*/ 0 w 1256"/>
                  <a:gd name="connsiteY5" fmla="*/ 0 h 1435"/>
                  <a:gd name="connsiteX6" fmla="*/ 119 w 1256"/>
                  <a:gd name="connsiteY6" fmla="*/ 1256 h 1435"/>
                  <a:gd name="connsiteX7" fmla="*/ 179 w 1256"/>
                  <a:gd name="connsiteY7" fmla="*/ 1256 h 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6" h="1435">
                    <a:moveTo>
                      <a:pt x="1256" y="1435"/>
                    </a:moveTo>
                    <a:lnTo>
                      <a:pt x="598" y="718"/>
                    </a:lnTo>
                    <a:lnTo>
                      <a:pt x="478" y="538"/>
                    </a:lnTo>
                    <a:lnTo>
                      <a:pt x="478" y="538"/>
                    </a:lnTo>
                    <a:lnTo>
                      <a:pt x="0" y="0"/>
                    </a:lnTo>
                    <a:lnTo>
                      <a:pt x="0" y="0"/>
                    </a:lnTo>
                    <a:lnTo>
                      <a:pt x="119" y="1256"/>
                    </a:lnTo>
                    <a:lnTo>
                      <a:pt x="179" y="1256"/>
                    </a:lnTo>
                  </a:path>
                </a:pathLst>
              </a:custGeom>
              <a:noFill/>
              <a:ln w="6350" cap="rnd">
                <a:solidFill>
                  <a:schemeClr val="bg1">
                    <a:alpha val="80000"/>
                  </a:schemeClr>
                </a:solidFill>
                <a:prstDash val="solid"/>
                <a:round/>
              </a:ln>
            </p:spPr>
            <p:txBody>
              <a:bodyPr rtlCol="0" anchor="ctr"/>
              <a:lstStyle/>
              <a:p>
                <a:endParaRPr lang="en-GB"/>
              </a:p>
            </p:txBody>
          </p:sp>
          <p:sp>
            <p:nvSpPr>
              <p:cNvPr id="6664" name="Vrije vorm: vorm 6663">
                <a:extLst>
                  <a:ext uri="{FF2B5EF4-FFF2-40B4-BE49-F238E27FC236}">
                    <a16:creationId xmlns:a16="http://schemas.microsoft.com/office/drawing/2014/main" id="{E0230840-AE36-4149-9D2F-7946FA5829B9}"/>
                  </a:ext>
                </a:extLst>
              </p:cNvPr>
              <p:cNvSpPr/>
              <p:nvPr/>
            </p:nvSpPr>
            <p:spPr>
              <a:xfrm>
                <a:off x="6877611" y="2013211"/>
                <a:ext cx="25418" cy="29544"/>
              </a:xfrm>
              <a:custGeom>
                <a:avLst/>
                <a:gdLst>
                  <a:gd name="connsiteX0" fmla="*/ 15610 w 25418"/>
                  <a:gd name="connsiteY0" fmla="*/ 0 h 29544"/>
                  <a:gd name="connsiteX1" fmla="*/ 24102 w 25418"/>
                  <a:gd name="connsiteY1" fmla="*/ 5263 h 29544"/>
                  <a:gd name="connsiteX2" fmla="*/ 24281 w 25418"/>
                  <a:gd name="connsiteY2" fmla="*/ 5502 h 29544"/>
                  <a:gd name="connsiteX3" fmla="*/ 24820 w 25418"/>
                  <a:gd name="connsiteY3" fmla="*/ 6100 h 29544"/>
                  <a:gd name="connsiteX4" fmla="*/ 25119 w 25418"/>
                  <a:gd name="connsiteY4" fmla="*/ 6459 h 29544"/>
                  <a:gd name="connsiteX5" fmla="*/ 25298 w 25418"/>
                  <a:gd name="connsiteY5" fmla="*/ 7536 h 29544"/>
                  <a:gd name="connsiteX6" fmla="*/ 25418 w 25418"/>
                  <a:gd name="connsiteY6" fmla="*/ 8552 h 29544"/>
                  <a:gd name="connsiteX7" fmla="*/ 24999 w 25418"/>
                  <a:gd name="connsiteY7" fmla="*/ 11304 h 29544"/>
                  <a:gd name="connsiteX8" fmla="*/ 24760 w 25418"/>
                  <a:gd name="connsiteY8" fmla="*/ 11961 h 29544"/>
                  <a:gd name="connsiteX9" fmla="*/ 23863 w 25418"/>
                  <a:gd name="connsiteY9" fmla="*/ 14593 h 29544"/>
                  <a:gd name="connsiteX10" fmla="*/ 22368 w 25418"/>
                  <a:gd name="connsiteY10" fmla="*/ 17643 h 29544"/>
                  <a:gd name="connsiteX11" fmla="*/ 22128 w 25418"/>
                  <a:gd name="connsiteY11" fmla="*/ 18062 h 29544"/>
                  <a:gd name="connsiteX12" fmla="*/ 20035 w 25418"/>
                  <a:gd name="connsiteY12" fmla="*/ 21291 h 29544"/>
                  <a:gd name="connsiteX13" fmla="*/ 19916 w 25418"/>
                  <a:gd name="connsiteY13" fmla="*/ 21411 h 29544"/>
                  <a:gd name="connsiteX14" fmla="*/ 19796 w 25418"/>
                  <a:gd name="connsiteY14" fmla="*/ 21590 h 29544"/>
                  <a:gd name="connsiteX15" fmla="*/ 18720 w 25418"/>
                  <a:gd name="connsiteY15" fmla="*/ 22906 h 29544"/>
                  <a:gd name="connsiteX16" fmla="*/ 17464 w 25418"/>
                  <a:gd name="connsiteY16" fmla="*/ 24521 h 29544"/>
                  <a:gd name="connsiteX17" fmla="*/ 14892 w 25418"/>
                  <a:gd name="connsiteY17" fmla="*/ 27033 h 29544"/>
                  <a:gd name="connsiteX18" fmla="*/ 14234 w 25418"/>
                  <a:gd name="connsiteY18" fmla="*/ 27511 h 29544"/>
                  <a:gd name="connsiteX19" fmla="*/ 12559 w 25418"/>
                  <a:gd name="connsiteY19" fmla="*/ 28707 h 29544"/>
                  <a:gd name="connsiteX20" fmla="*/ 12440 w 25418"/>
                  <a:gd name="connsiteY20" fmla="*/ 28767 h 29544"/>
                  <a:gd name="connsiteX21" fmla="*/ 11244 w 25418"/>
                  <a:gd name="connsiteY21" fmla="*/ 29186 h 29544"/>
                  <a:gd name="connsiteX22" fmla="*/ 11064 w 25418"/>
                  <a:gd name="connsiteY22" fmla="*/ 29246 h 29544"/>
                  <a:gd name="connsiteX23" fmla="*/ 10885 w 25418"/>
                  <a:gd name="connsiteY23" fmla="*/ 29305 h 29544"/>
                  <a:gd name="connsiteX24" fmla="*/ 10287 w 25418"/>
                  <a:gd name="connsiteY24" fmla="*/ 29545 h 29544"/>
                  <a:gd name="connsiteX25" fmla="*/ 10107 w 25418"/>
                  <a:gd name="connsiteY25" fmla="*/ 29545 h 29544"/>
                  <a:gd name="connsiteX26" fmla="*/ 9689 w 25418"/>
                  <a:gd name="connsiteY26" fmla="*/ 29485 h 29544"/>
                  <a:gd name="connsiteX27" fmla="*/ 8552 w 25418"/>
                  <a:gd name="connsiteY27" fmla="*/ 29365 h 29544"/>
                  <a:gd name="connsiteX28" fmla="*/ 8253 w 25418"/>
                  <a:gd name="connsiteY28" fmla="*/ 29126 h 29544"/>
                  <a:gd name="connsiteX29" fmla="*/ 0 w 25418"/>
                  <a:gd name="connsiteY29" fmla="*/ 23385 h 2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418" h="29544">
                    <a:moveTo>
                      <a:pt x="15610" y="0"/>
                    </a:moveTo>
                    <a:lnTo>
                      <a:pt x="24102" y="5263"/>
                    </a:lnTo>
                    <a:lnTo>
                      <a:pt x="24281" y="5502"/>
                    </a:lnTo>
                    <a:lnTo>
                      <a:pt x="24820" y="6100"/>
                    </a:lnTo>
                    <a:lnTo>
                      <a:pt x="25119" y="6459"/>
                    </a:lnTo>
                    <a:lnTo>
                      <a:pt x="25298" y="7536"/>
                    </a:lnTo>
                    <a:lnTo>
                      <a:pt x="25418" y="8552"/>
                    </a:lnTo>
                    <a:lnTo>
                      <a:pt x="24999" y="11304"/>
                    </a:lnTo>
                    <a:lnTo>
                      <a:pt x="24760" y="11961"/>
                    </a:lnTo>
                    <a:lnTo>
                      <a:pt x="23863" y="14593"/>
                    </a:lnTo>
                    <a:lnTo>
                      <a:pt x="22368" y="17643"/>
                    </a:lnTo>
                    <a:lnTo>
                      <a:pt x="22128" y="18062"/>
                    </a:lnTo>
                    <a:lnTo>
                      <a:pt x="20035" y="21291"/>
                    </a:lnTo>
                    <a:lnTo>
                      <a:pt x="19916" y="21411"/>
                    </a:lnTo>
                    <a:lnTo>
                      <a:pt x="19796" y="21590"/>
                    </a:lnTo>
                    <a:lnTo>
                      <a:pt x="18720" y="22906"/>
                    </a:lnTo>
                    <a:lnTo>
                      <a:pt x="17464" y="24521"/>
                    </a:lnTo>
                    <a:lnTo>
                      <a:pt x="14892" y="27033"/>
                    </a:lnTo>
                    <a:lnTo>
                      <a:pt x="14234" y="27511"/>
                    </a:lnTo>
                    <a:lnTo>
                      <a:pt x="12559" y="28707"/>
                    </a:lnTo>
                    <a:lnTo>
                      <a:pt x="12440" y="28767"/>
                    </a:lnTo>
                    <a:lnTo>
                      <a:pt x="11244" y="29186"/>
                    </a:lnTo>
                    <a:lnTo>
                      <a:pt x="11064" y="29246"/>
                    </a:lnTo>
                    <a:lnTo>
                      <a:pt x="10885" y="29305"/>
                    </a:lnTo>
                    <a:lnTo>
                      <a:pt x="10287" y="29545"/>
                    </a:lnTo>
                    <a:lnTo>
                      <a:pt x="10107" y="29545"/>
                    </a:lnTo>
                    <a:lnTo>
                      <a:pt x="9689" y="29485"/>
                    </a:lnTo>
                    <a:lnTo>
                      <a:pt x="8552" y="29365"/>
                    </a:lnTo>
                    <a:lnTo>
                      <a:pt x="8253" y="29126"/>
                    </a:lnTo>
                    <a:lnTo>
                      <a:pt x="0" y="23385"/>
                    </a:lnTo>
                  </a:path>
                </a:pathLst>
              </a:custGeom>
              <a:noFill/>
              <a:ln w="6350" cap="rnd">
                <a:solidFill>
                  <a:schemeClr val="bg1">
                    <a:alpha val="80000"/>
                  </a:schemeClr>
                </a:solidFill>
                <a:prstDash val="solid"/>
                <a:round/>
              </a:ln>
            </p:spPr>
            <p:txBody>
              <a:bodyPr rtlCol="0" anchor="ctr"/>
              <a:lstStyle/>
              <a:p>
                <a:endParaRPr lang="en-GB"/>
              </a:p>
            </p:txBody>
          </p:sp>
          <p:sp>
            <p:nvSpPr>
              <p:cNvPr id="6665" name="Vrije vorm: vorm 6664">
                <a:extLst>
                  <a:ext uri="{FF2B5EF4-FFF2-40B4-BE49-F238E27FC236}">
                    <a16:creationId xmlns:a16="http://schemas.microsoft.com/office/drawing/2014/main" id="{F9E65585-AD03-4BBF-9F10-82B07F8A4B79}"/>
                  </a:ext>
                </a:extLst>
              </p:cNvPr>
              <p:cNvSpPr/>
              <p:nvPr/>
            </p:nvSpPr>
            <p:spPr>
              <a:xfrm>
                <a:off x="6673728" y="1799998"/>
                <a:ext cx="16925" cy="11961"/>
              </a:xfrm>
              <a:custGeom>
                <a:avLst/>
                <a:gdLst>
                  <a:gd name="connsiteX0" fmla="*/ 0 w 16925"/>
                  <a:gd name="connsiteY0" fmla="*/ 4785 h 11961"/>
                  <a:gd name="connsiteX1" fmla="*/ 2392 w 16925"/>
                  <a:gd name="connsiteY1" fmla="*/ 239 h 11961"/>
                  <a:gd name="connsiteX2" fmla="*/ 6160 w 16925"/>
                  <a:gd name="connsiteY2" fmla="*/ 0 h 11961"/>
                  <a:gd name="connsiteX3" fmla="*/ 9749 w 16925"/>
                  <a:gd name="connsiteY3" fmla="*/ 0 h 11961"/>
                  <a:gd name="connsiteX4" fmla="*/ 13576 w 16925"/>
                  <a:gd name="connsiteY4" fmla="*/ 1076 h 11961"/>
                  <a:gd name="connsiteX5" fmla="*/ 15012 w 16925"/>
                  <a:gd name="connsiteY5" fmla="*/ 2751 h 11961"/>
                  <a:gd name="connsiteX6" fmla="*/ 15490 w 16925"/>
                  <a:gd name="connsiteY6" fmla="*/ 3349 h 11961"/>
                  <a:gd name="connsiteX7" fmla="*/ 15550 w 16925"/>
                  <a:gd name="connsiteY7" fmla="*/ 3469 h 11961"/>
                  <a:gd name="connsiteX8" fmla="*/ 16208 w 16925"/>
                  <a:gd name="connsiteY8" fmla="*/ 6340 h 11961"/>
                  <a:gd name="connsiteX9" fmla="*/ 16746 w 16925"/>
                  <a:gd name="connsiteY9" fmla="*/ 8552 h 11961"/>
                  <a:gd name="connsiteX10" fmla="*/ 16926 w 16925"/>
                  <a:gd name="connsiteY10" fmla="*/ 11961 h 1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925" h="11961">
                    <a:moveTo>
                      <a:pt x="0" y="4785"/>
                    </a:moveTo>
                    <a:lnTo>
                      <a:pt x="2392" y="239"/>
                    </a:lnTo>
                    <a:lnTo>
                      <a:pt x="6160" y="0"/>
                    </a:lnTo>
                    <a:lnTo>
                      <a:pt x="9749" y="0"/>
                    </a:lnTo>
                    <a:lnTo>
                      <a:pt x="13576" y="1076"/>
                    </a:lnTo>
                    <a:lnTo>
                      <a:pt x="15012" y="2751"/>
                    </a:lnTo>
                    <a:lnTo>
                      <a:pt x="15490" y="3349"/>
                    </a:lnTo>
                    <a:lnTo>
                      <a:pt x="15550" y="3469"/>
                    </a:lnTo>
                    <a:lnTo>
                      <a:pt x="16208" y="6340"/>
                    </a:lnTo>
                    <a:lnTo>
                      <a:pt x="16746" y="8552"/>
                    </a:lnTo>
                    <a:lnTo>
                      <a:pt x="16926" y="11961"/>
                    </a:lnTo>
                  </a:path>
                </a:pathLst>
              </a:custGeom>
              <a:noFill/>
              <a:ln w="6350" cap="rnd">
                <a:solidFill>
                  <a:schemeClr val="bg1">
                    <a:alpha val="80000"/>
                  </a:schemeClr>
                </a:solidFill>
                <a:prstDash val="solid"/>
                <a:round/>
              </a:ln>
            </p:spPr>
            <p:txBody>
              <a:bodyPr rtlCol="0" anchor="ctr"/>
              <a:lstStyle/>
              <a:p>
                <a:endParaRPr lang="en-GB"/>
              </a:p>
            </p:txBody>
          </p:sp>
          <p:sp>
            <p:nvSpPr>
              <p:cNvPr id="6666" name="Vrije vorm: vorm 6665">
                <a:extLst>
                  <a:ext uri="{FF2B5EF4-FFF2-40B4-BE49-F238E27FC236}">
                    <a16:creationId xmlns:a16="http://schemas.microsoft.com/office/drawing/2014/main" id="{0AD632A6-3D06-4D5D-A93F-6A68E46EE170}"/>
                  </a:ext>
                </a:extLst>
              </p:cNvPr>
              <p:cNvSpPr/>
              <p:nvPr/>
            </p:nvSpPr>
            <p:spPr>
              <a:xfrm>
                <a:off x="6919236" y="1722608"/>
                <a:ext cx="11064" cy="9808"/>
              </a:xfrm>
              <a:custGeom>
                <a:avLst/>
                <a:gdLst>
                  <a:gd name="connsiteX0" fmla="*/ 11064 w 11064"/>
                  <a:gd name="connsiteY0" fmla="*/ 0 h 9808"/>
                  <a:gd name="connsiteX1" fmla="*/ 7656 w 11064"/>
                  <a:gd name="connsiteY1" fmla="*/ 3110 h 9808"/>
                  <a:gd name="connsiteX2" fmla="*/ 6520 w 11064"/>
                  <a:gd name="connsiteY2" fmla="*/ 4186 h 9808"/>
                  <a:gd name="connsiteX3" fmla="*/ 0 w 11064"/>
                  <a:gd name="connsiteY3" fmla="*/ 9808 h 9808"/>
                </a:gdLst>
                <a:ahLst/>
                <a:cxnLst>
                  <a:cxn ang="0">
                    <a:pos x="connsiteX0" y="connsiteY0"/>
                  </a:cxn>
                  <a:cxn ang="0">
                    <a:pos x="connsiteX1" y="connsiteY1"/>
                  </a:cxn>
                  <a:cxn ang="0">
                    <a:pos x="connsiteX2" y="connsiteY2"/>
                  </a:cxn>
                  <a:cxn ang="0">
                    <a:pos x="connsiteX3" y="connsiteY3"/>
                  </a:cxn>
                </a:cxnLst>
                <a:rect l="l" t="t" r="r" b="b"/>
                <a:pathLst>
                  <a:path w="11064" h="9808">
                    <a:moveTo>
                      <a:pt x="11064" y="0"/>
                    </a:moveTo>
                    <a:lnTo>
                      <a:pt x="7656" y="3110"/>
                    </a:lnTo>
                    <a:lnTo>
                      <a:pt x="6520" y="4186"/>
                    </a:lnTo>
                    <a:lnTo>
                      <a:pt x="0" y="9808"/>
                    </a:lnTo>
                  </a:path>
                </a:pathLst>
              </a:custGeom>
              <a:noFill/>
              <a:ln w="6350" cap="rnd">
                <a:solidFill>
                  <a:schemeClr val="bg1">
                    <a:alpha val="80000"/>
                  </a:schemeClr>
                </a:solidFill>
                <a:prstDash val="solid"/>
                <a:round/>
              </a:ln>
            </p:spPr>
            <p:txBody>
              <a:bodyPr rtlCol="0" anchor="ctr"/>
              <a:lstStyle/>
              <a:p>
                <a:endParaRPr lang="en-GB"/>
              </a:p>
            </p:txBody>
          </p:sp>
          <p:sp>
            <p:nvSpPr>
              <p:cNvPr id="6667" name="Vrije vorm: vorm 6666">
                <a:extLst>
                  <a:ext uri="{FF2B5EF4-FFF2-40B4-BE49-F238E27FC236}">
                    <a16:creationId xmlns:a16="http://schemas.microsoft.com/office/drawing/2014/main" id="{7F567737-80DF-471E-AFE3-7DC9917F5D6A}"/>
                  </a:ext>
                </a:extLst>
              </p:cNvPr>
              <p:cNvSpPr/>
              <p:nvPr/>
            </p:nvSpPr>
            <p:spPr>
              <a:xfrm>
                <a:off x="6698249" y="1787977"/>
                <a:ext cx="28109" cy="17523"/>
              </a:xfrm>
              <a:custGeom>
                <a:avLst/>
                <a:gdLst>
                  <a:gd name="connsiteX0" fmla="*/ 28109 w 28109"/>
                  <a:gd name="connsiteY0" fmla="*/ 17524 h 17523"/>
                  <a:gd name="connsiteX1" fmla="*/ 14892 w 28109"/>
                  <a:gd name="connsiteY1" fmla="*/ 9150 h 17523"/>
                  <a:gd name="connsiteX2" fmla="*/ 10048 w 28109"/>
                  <a:gd name="connsiteY2" fmla="*/ 6100 h 17523"/>
                  <a:gd name="connsiteX3" fmla="*/ 5263 w 28109"/>
                  <a:gd name="connsiteY3" fmla="*/ 3170 h 17523"/>
                  <a:gd name="connsiteX4" fmla="*/ 0 w 28109"/>
                  <a:gd name="connsiteY4" fmla="*/ 0 h 17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09" h="17523">
                    <a:moveTo>
                      <a:pt x="28109" y="17524"/>
                    </a:moveTo>
                    <a:lnTo>
                      <a:pt x="14892" y="9150"/>
                    </a:lnTo>
                    <a:lnTo>
                      <a:pt x="10048" y="6100"/>
                    </a:lnTo>
                    <a:lnTo>
                      <a:pt x="5263" y="317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68" name="Vrije vorm: vorm 6667">
                <a:extLst>
                  <a:ext uri="{FF2B5EF4-FFF2-40B4-BE49-F238E27FC236}">
                    <a16:creationId xmlns:a16="http://schemas.microsoft.com/office/drawing/2014/main" id="{F0D3E32D-7EE4-4A63-AB4D-B47DC158FF95}"/>
                  </a:ext>
                </a:extLst>
              </p:cNvPr>
              <p:cNvSpPr/>
              <p:nvPr/>
            </p:nvSpPr>
            <p:spPr>
              <a:xfrm>
                <a:off x="6987058" y="1978702"/>
                <a:ext cx="62856" cy="22965"/>
              </a:xfrm>
              <a:custGeom>
                <a:avLst/>
                <a:gdLst>
                  <a:gd name="connsiteX0" fmla="*/ 0 w 62856"/>
                  <a:gd name="connsiteY0" fmla="*/ 8612 h 22965"/>
                  <a:gd name="connsiteX1" fmla="*/ 777 w 62856"/>
                  <a:gd name="connsiteY1" fmla="*/ 7117 h 22965"/>
                  <a:gd name="connsiteX2" fmla="*/ 1076 w 62856"/>
                  <a:gd name="connsiteY2" fmla="*/ 6519 h 22965"/>
                  <a:gd name="connsiteX3" fmla="*/ 1136 w 62856"/>
                  <a:gd name="connsiteY3" fmla="*/ 6519 h 22965"/>
                  <a:gd name="connsiteX4" fmla="*/ 4126 w 62856"/>
                  <a:gd name="connsiteY4" fmla="*/ 5562 h 22965"/>
                  <a:gd name="connsiteX5" fmla="*/ 6040 w 62856"/>
                  <a:gd name="connsiteY5" fmla="*/ 4964 h 22965"/>
                  <a:gd name="connsiteX6" fmla="*/ 6219 w 62856"/>
                  <a:gd name="connsiteY6" fmla="*/ 4904 h 22965"/>
                  <a:gd name="connsiteX7" fmla="*/ 6279 w 62856"/>
                  <a:gd name="connsiteY7" fmla="*/ 4904 h 22965"/>
                  <a:gd name="connsiteX8" fmla="*/ 8253 w 62856"/>
                  <a:gd name="connsiteY8" fmla="*/ 4246 h 22965"/>
                  <a:gd name="connsiteX9" fmla="*/ 13277 w 62856"/>
                  <a:gd name="connsiteY9" fmla="*/ 2632 h 22965"/>
                  <a:gd name="connsiteX10" fmla="*/ 16686 w 62856"/>
                  <a:gd name="connsiteY10" fmla="*/ 2093 h 22965"/>
                  <a:gd name="connsiteX11" fmla="*/ 21291 w 62856"/>
                  <a:gd name="connsiteY11" fmla="*/ 1376 h 22965"/>
                  <a:gd name="connsiteX12" fmla="*/ 26734 w 62856"/>
                  <a:gd name="connsiteY12" fmla="*/ 538 h 22965"/>
                  <a:gd name="connsiteX13" fmla="*/ 30142 w 62856"/>
                  <a:gd name="connsiteY13" fmla="*/ 0 h 22965"/>
                  <a:gd name="connsiteX14" fmla="*/ 41566 w 62856"/>
                  <a:gd name="connsiteY14" fmla="*/ 0 h 22965"/>
                  <a:gd name="connsiteX15" fmla="*/ 46709 w 62856"/>
                  <a:gd name="connsiteY15" fmla="*/ 1316 h 22965"/>
                  <a:gd name="connsiteX16" fmla="*/ 52750 w 62856"/>
                  <a:gd name="connsiteY16" fmla="*/ 2811 h 22965"/>
                  <a:gd name="connsiteX17" fmla="*/ 59866 w 62856"/>
                  <a:gd name="connsiteY17" fmla="*/ 5981 h 22965"/>
                  <a:gd name="connsiteX18" fmla="*/ 60465 w 62856"/>
                  <a:gd name="connsiteY18" fmla="*/ 6220 h 22965"/>
                  <a:gd name="connsiteX19" fmla="*/ 62618 w 62856"/>
                  <a:gd name="connsiteY19" fmla="*/ 12679 h 22965"/>
                  <a:gd name="connsiteX20" fmla="*/ 62857 w 62856"/>
                  <a:gd name="connsiteY20" fmla="*/ 13397 h 22965"/>
                  <a:gd name="connsiteX21" fmla="*/ 62379 w 62856"/>
                  <a:gd name="connsiteY21" fmla="*/ 14473 h 22965"/>
                  <a:gd name="connsiteX22" fmla="*/ 59747 w 62856"/>
                  <a:gd name="connsiteY22" fmla="*/ 20275 h 22965"/>
                  <a:gd name="connsiteX23" fmla="*/ 57235 w 62856"/>
                  <a:gd name="connsiteY23" fmla="*/ 22966 h 22965"/>
                  <a:gd name="connsiteX24" fmla="*/ 55022 w 62856"/>
                  <a:gd name="connsiteY24" fmla="*/ 22069 h 22965"/>
                  <a:gd name="connsiteX25" fmla="*/ 53827 w 62856"/>
                  <a:gd name="connsiteY25" fmla="*/ 21411 h 2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856" h="22965">
                    <a:moveTo>
                      <a:pt x="0" y="8612"/>
                    </a:moveTo>
                    <a:lnTo>
                      <a:pt x="777" y="7117"/>
                    </a:lnTo>
                    <a:lnTo>
                      <a:pt x="1076" y="6519"/>
                    </a:lnTo>
                    <a:lnTo>
                      <a:pt x="1136" y="6519"/>
                    </a:lnTo>
                    <a:lnTo>
                      <a:pt x="4126" y="5562"/>
                    </a:lnTo>
                    <a:lnTo>
                      <a:pt x="6040" y="4964"/>
                    </a:lnTo>
                    <a:lnTo>
                      <a:pt x="6219" y="4904"/>
                    </a:lnTo>
                    <a:lnTo>
                      <a:pt x="6279" y="4904"/>
                    </a:lnTo>
                    <a:lnTo>
                      <a:pt x="8253" y="4246"/>
                    </a:lnTo>
                    <a:lnTo>
                      <a:pt x="13277" y="2632"/>
                    </a:lnTo>
                    <a:lnTo>
                      <a:pt x="16686" y="2093"/>
                    </a:lnTo>
                    <a:lnTo>
                      <a:pt x="21291" y="1376"/>
                    </a:lnTo>
                    <a:lnTo>
                      <a:pt x="26734" y="538"/>
                    </a:lnTo>
                    <a:lnTo>
                      <a:pt x="30142" y="0"/>
                    </a:lnTo>
                    <a:lnTo>
                      <a:pt x="41566" y="0"/>
                    </a:lnTo>
                    <a:lnTo>
                      <a:pt x="46709" y="1316"/>
                    </a:lnTo>
                    <a:lnTo>
                      <a:pt x="52750" y="2811"/>
                    </a:lnTo>
                    <a:lnTo>
                      <a:pt x="59866" y="5981"/>
                    </a:lnTo>
                    <a:lnTo>
                      <a:pt x="60465" y="6220"/>
                    </a:lnTo>
                    <a:lnTo>
                      <a:pt x="62618" y="12679"/>
                    </a:lnTo>
                    <a:lnTo>
                      <a:pt x="62857" y="13397"/>
                    </a:lnTo>
                    <a:lnTo>
                      <a:pt x="62379" y="14473"/>
                    </a:lnTo>
                    <a:lnTo>
                      <a:pt x="59747" y="20275"/>
                    </a:lnTo>
                    <a:lnTo>
                      <a:pt x="57235" y="22966"/>
                    </a:lnTo>
                    <a:lnTo>
                      <a:pt x="55022" y="22069"/>
                    </a:lnTo>
                    <a:lnTo>
                      <a:pt x="53827" y="21411"/>
                    </a:lnTo>
                  </a:path>
                </a:pathLst>
              </a:custGeom>
              <a:noFill/>
              <a:ln w="6350" cap="rnd">
                <a:solidFill>
                  <a:schemeClr val="bg1">
                    <a:alpha val="80000"/>
                  </a:schemeClr>
                </a:solidFill>
                <a:prstDash val="solid"/>
                <a:round/>
              </a:ln>
            </p:spPr>
            <p:txBody>
              <a:bodyPr rtlCol="0" anchor="ctr"/>
              <a:lstStyle/>
              <a:p>
                <a:endParaRPr lang="en-GB"/>
              </a:p>
            </p:txBody>
          </p:sp>
          <p:sp>
            <p:nvSpPr>
              <p:cNvPr id="6669" name="Vrije vorm: vorm 6668">
                <a:extLst>
                  <a:ext uri="{FF2B5EF4-FFF2-40B4-BE49-F238E27FC236}">
                    <a16:creationId xmlns:a16="http://schemas.microsoft.com/office/drawing/2014/main" id="{67A293C8-A828-4249-9FE8-EADEABAFBAAA}"/>
                  </a:ext>
                </a:extLst>
              </p:cNvPr>
              <p:cNvSpPr/>
              <p:nvPr/>
            </p:nvSpPr>
            <p:spPr>
              <a:xfrm>
                <a:off x="6611289" y="1932172"/>
                <a:ext cx="6459" cy="8791"/>
              </a:xfrm>
              <a:custGeom>
                <a:avLst/>
                <a:gdLst>
                  <a:gd name="connsiteX0" fmla="*/ 6459 w 6459"/>
                  <a:gd name="connsiteY0" fmla="*/ 7536 h 8791"/>
                  <a:gd name="connsiteX1" fmla="*/ 4844 w 6459"/>
                  <a:gd name="connsiteY1" fmla="*/ 8134 h 8791"/>
                  <a:gd name="connsiteX2" fmla="*/ 4605 w 6459"/>
                  <a:gd name="connsiteY2" fmla="*/ 8253 h 8791"/>
                  <a:gd name="connsiteX3" fmla="*/ 3230 w 6459"/>
                  <a:gd name="connsiteY3" fmla="*/ 8792 h 8791"/>
                  <a:gd name="connsiteX4" fmla="*/ 1316 w 6459"/>
                  <a:gd name="connsiteY4" fmla="*/ 6818 h 8791"/>
                  <a:gd name="connsiteX5" fmla="*/ 239 w 6459"/>
                  <a:gd name="connsiteY5" fmla="*/ 4366 h 8791"/>
                  <a:gd name="connsiteX6" fmla="*/ 0 w 6459"/>
                  <a:gd name="connsiteY6" fmla="*/ 2751 h 8791"/>
                  <a:gd name="connsiteX7" fmla="*/ 778 w 6459"/>
                  <a:gd name="connsiteY7" fmla="*/ 1794 h 8791"/>
                  <a:gd name="connsiteX8" fmla="*/ 2213 w 6459"/>
                  <a:gd name="connsiteY8"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59" h="8791">
                    <a:moveTo>
                      <a:pt x="6459" y="7536"/>
                    </a:moveTo>
                    <a:lnTo>
                      <a:pt x="4844" y="8134"/>
                    </a:lnTo>
                    <a:lnTo>
                      <a:pt x="4605" y="8253"/>
                    </a:lnTo>
                    <a:lnTo>
                      <a:pt x="3230" y="8792"/>
                    </a:lnTo>
                    <a:lnTo>
                      <a:pt x="1316" y="6818"/>
                    </a:lnTo>
                    <a:lnTo>
                      <a:pt x="239" y="4366"/>
                    </a:lnTo>
                    <a:lnTo>
                      <a:pt x="0" y="2751"/>
                    </a:lnTo>
                    <a:lnTo>
                      <a:pt x="778" y="1794"/>
                    </a:lnTo>
                    <a:lnTo>
                      <a:pt x="2213" y="0"/>
                    </a:lnTo>
                  </a:path>
                </a:pathLst>
              </a:custGeom>
              <a:noFill/>
              <a:ln w="6350" cap="rnd">
                <a:solidFill>
                  <a:schemeClr val="bg1">
                    <a:alpha val="80000"/>
                  </a:schemeClr>
                </a:solidFill>
                <a:prstDash val="solid"/>
                <a:round/>
              </a:ln>
            </p:spPr>
            <p:txBody>
              <a:bodyPr rtlCol="0" anchor="ctr"/>
              <a:lstStyle/>
              <a:p>
                <a:endParaRPr lang="en-GB"/>
              </a:p>
            </p:txBody>
          </p:sp>
          <p:sp>
            <p:nvSpPr>
              <p:cNvPr id="6670" name="Vrije vorm: vorm 6669">
                <a:extLst>
                  <a:ext uri="{FF2B5EF4-FFF2-40B4-BE49-F238E27FC236}">
                    <a16:creationId xmlns:a16="http://schemas.microsoft.com/office/drawing/2014/main" id="{726894D9-F559-4470-A003-3D622D0293FB}"/>
                  </a:ext>
                </a:extLst>
              </p:cNvPr>
              <p:cNvSpPr/>
              <p:nvPr/>
            </p:nvSpPr>
            <p:spPr>
              <a:xfrm>
                <a:off x="6924141" y="1820811"/>
                <a:ext cx="2810" cy="3289"/>
              </a:xfrm>
              <a:custGeom>
                <a:avLst/>
                <a:gdLst>
                  <a:gd name="connsiteX0" fmla="*/ 956 w 2810"/>
                  <a:gd name="connsiteY0" fmla="*/ 3289 h 3289"/>
                  <a:gd name="connsiteX1" fmla="*/ 718 w 2810"/>
                  <a:gd name="connsiteY1" fmla="*/ 3050 h 3289"/>
                  <a:gd name="connsiteX2" fmla="*/ 658 w 2810"/>
                  <a:gd name="connsiteY2" fmla="*/ 2990 h 3289"/>
                  <a:gd name="connsiteX3" fmla="*/ 0 w 2810"/>
                  <a:gd name="connsiteY3" fmla="*/ 2093 h 3289"/>
                  <a:gd name="connsiteX4" fmla="*/ 0 w 2810"/>
                  <a:gd name="connsiteY4" fmla="*/ 2033 h 3289"/>
                  <a:gd name="connsiteX5" fmla="*/ 0 w 2810"/>
                  <a:gd name="connsiteY5" fmla="*/ 1974 h 3289"/>
                  <a:gd name="connsiteX6" fmla="*/ 239 w 2810"/>
                  <a:gd name="connsiteY6" fmla="*/ 777 h 3289"/>
                  <a:gd name="connsiteX7" fmla="*/ 1316 w 2810"/>
                  <a:gd name="connsiteY7" fmla="*/ 0 h 3289"/>
                  <a:gd name="connsiteX8" fmla="*/ 2571 w 2810"/>
                  <a:gd name="connsiteY8" fmla="*/ 179 h 3289"/>
                  <a:gd name="connsiteX9" fmla="*/ 2811 w 2810"/>
                  <a:gd name="connsiteY9" fmla="*/ 419 h 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0" h="3289">
                    <a:moveTo>
                      <a:pt x="956" y="3289"/>
                    </a:moveTo>
                    <a:lnTo>
                      <a:pt x="718" y="3050"/>
                    </a:lnTo>
                    <a:lnTo>
                      <a:pt x="658" y="2990"/>
                    </a:lnTo>
                    <a:lnTo>
                      <a:pt x="0" y="2093"/>
                    </a:lnTo>
                    <a:lnTo>
                      <a:pt x="0" y="2033"/>
                    </a:lnTo>
                    <a:lnTo>
                      <a:pt x="0" y="1974"/>
                    </a:lnTo>
                    <a:lnTo>
                      <a:pt x="239" y="777"/>
                    </a:lnTo>
                    <a:lnTo>
                      <a:pt x="1316" y="0"/>
                    </a:lnTo>
                    <a:lnTo>
                      <a:pt x="2571" y="179"/>
                    </a:lnTo>
                    <a:lnTo>
                      <a:pt x="2811" y="419"/>
                    </a:lnTo>
                  </a:path>
                </a:pathLst>
              </a:custGeom>
              <a:noFill/>
              <a:ln w="6350" cap="rnd">
                <a:solidFill>
                  <a:schemeClr val="bg1">
                    <a:alpha val="80000"/>
                  </a:schemeClr>
                </a:solidFill>
                <a:prstDash val="solid"/>
                <a:round/>
              </a:ln>
            </p:spPr>
            <p:txBody>
              <a:bodyPr rtlCol="0" anchor="ctr"/>
              <a:lstStyle/>
              <a:p>
                <a:endParaRPr lang="en-GB"/>
              </a:p>
            </p:txBody>
          </p:sp>
          <p:sp>
            <p:nvSpPr>
              <p:cNvPr id="6671" name="Vrije vorm: vorm 6670">
                <a:extLst>
                  <a:ext uri="{FF2B5EF4-FFF2-40B4-BE49-F238E27FC236}">
                    <a16:creationId xmlns:a16="http://schemas.microsoft.com/office/drawing/2014/main" id="{B632706F-A1D1-4C47-B924-F69DB4355F33}"/>
                  </a:ext>
                </a:extLst>
              </p:cNvPr>
              <p:cNvSpPr/>
              <p:nvPr/>
            </p:nvSpPr>
            <p:spPr>
              <a:xfrm>
                <a:off x="6698548" y="1958368"/>
                <a:ext cx="8073" cy="5801"/>
              </a:xfrm>
              <a:custGeom>
                <a:avLst/>
                <a:gdLst>
                  <a:gd name="connsiteX0" fmla="*/ 8074 w 8073"/>
                  <a:gd name="connsiteY0" fmla="*/ 0 h 5801"/>
                  <a:gd name="connsiteX1" fmla="*/ 7536 w 8073"/>
                  <a:gd name="connsiteY1" fmla="*/ 2871 h 5801"/>
                  <a:gd name="connsiteX2" fmla="*/ 3469 w 8073"/>
                  <a:gd name="connsiteY2" fmla="*/ 5801 h 5801"/>
                  <a:gd name="connsiteX3" fmla="*/ 1136 w 8073"/>
                  <a:gd name="connsiteY3" fmla="*/ 3708 h 5801"/>
                  <a:gd name="connsiteX4" fmla="*/ 0 w 8073"/>
                  <a:gd name="connsiteY4" fmla="*/ 1675 h 5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3" h="5801">
                    <a:moveTo>
                      <a:pt x="8074" y="0"/>
                    </a:moveTo>
                    <a:lnTo>
                      <a:pt x="7536" y="2871"/>
                    </a:lnTo>
                    <a:lnTo>
                      <a:pt x="3469" y="5801"/>
                    </a:lnTo>
                    <a:lnTo>
                      <a:pt x="1136" y="3708"/>
                    </a:lnTo>
                    <a:lnTo>
                      <a:pt x="0" y="1675"/>
                    </a:lnTo>
                  </a:path>
                </a:pathLst>
              </a:custGeom>
              <a:noFill/>
              <a:ln w="6350" cap="rnd">
                <a:solidFill>
                  <a:schemeClr val="bg1">
                    <a:alpha val="80000"/>
                  </a:schemeClr>
                </a:solidFill>
                <a:prstDash val="solid"/>
                <a:round/>
              </a:ln>
            </p:spPr>
            <p:txBody>
              <a:bodyPr rtlCol="0" anchor="ctr"/>
              <a:lstStyle/>
              <a:p>
                <a:endParaRPr lang="en-GB"/>
              </a:p>
            </p:txBody>
          </p:sp>
          <p:sp>
            <p:nvSpPr>
              <p:cNvPr id="6672" name="Vrije vorm: vorm 6671">
                <a:extLst>
                  <a:ext uri="{FF2B5EF4-FFF2-40B4-BE49-F238E27FC236}">
                    <a16:creationId xmlns:a16="http://schemas.microsoft.com/office/drawing/2014/main" id="{50FEC4A4-8C2F-4B45-8684-864C86B10E46}"/>
                  </a:ext>
                </a:extLst>
              </p:cNvPr>
              <p:cNvSpPr/>
              <p:nvPr/>
            </p:nvSpPr>
            <p:spPr>
              <a:xfrm>
                <a:off x="6763917" y="1930617"/>
                <a:ext cx="6877" cy="4306"/>
              </a:xfrm>
              <a:custGeom>
                <a:avLst/>
                <a:gdLst>
                  <a:gd name="connsiteX0" fmla="*/ 6878 w 6877"/>
                  <a:gd name="connsiteY0" fmla="*/ 0 h 4306"/>
                  <a:gd name="connsiteX1" fmla="*/ 6579 w 6877"/>
                  <a:gd name="connsiteY1" fmla="*/ 239 h 4306"/>
                  <a:gd name="connsiteX2" fmla="*/ 5742 w 6877"/>
                  <a:gd name="connsiteY2" fmla="*/ 837 h 4306"/>
                  <a:gd name="connsiteX3" fmla="*/ 5323 w 6877"/>
                  <a:gd name="connsiteY3" fmla="*/ 1136 h 4306"/>
                  <a:gd name="connsiteX4" fmla="*/ 4725 w 6877"/>
                  <a:gd name="connsiteY4" fmla="*/ 1555 h 4306"/>
                  <a:gd name="connsiteX5" fmla="*/ 4426 w 6877"/>
                  <a:gd name="connsiteY5" fmla="*/ 3050 h 4306"/>
                  <a:gd name="connsiteX6" fmla="*/ 4366 w 6877"/>
                  <a:gd name="connsiteY6" fmla="*/ 3230 h 4306"/>
                  <a:gd name="connsiteX7" fmla="*/ 4127 w 6877"/>
                  <a:gd name="connsiteY7" fmla="*/ 4306 h 4306"/>
                  <a:gd name="connsiteX8" fmla="*/ 3708 w 6877"/>
                  <a:gd name="connsiteY8" fmla="*/ 4246 h 4306"/>
                  <a:gd name="connsiteX9" fmla="*/ 3588 w 6877"/>
                  <a:gd name="connsiteY9" fmla="*/ 4246 h 4306"/>
                  <a:gd name="connsiteX10" fmla="*/ 1974 w 6877"/>
                  <a:gd name="connsiteY10" fmla="*/ 4127 h 4306"/>
                  <a:gd name="connsiteX11" fmla="*/ 778 w 6877"/>
                  <a:gd name="connsiteY11" fmla="*/ 4007 h 4306"/>
                  <a:gd name="connsiteX12" fmla="*/ 419 w 6877"/>
                  <a:gd name="connsiteY12" fmla="*/ 3947 h 4306"/>
                  <a:gd name="connsiteX13" fmla="*/ 0 w 6877"/>
                  <a:gd name="connsiteY13" fmla="*/ 3887 h 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77" h="4306">
                    <a:moveTo>
                      <a:pt x="6878" y="0"/>
                    </a:moveTo>
                    <a:lnTo>
                      <a:pt x="6579" y="239"/>
                    </a:lnTo>
                    <a:lnTo>
                      <a:pt x="5742" y="837"/>
                    </a:lnTo>
                    <a:lnTo>
                      <a:pt x="5323" y="1136"/>
                    </a:lnTo>
                    <a:lnTo>
                      <a:pt x="4725" y="1555"/>
                    </a:lnTo>
                    <a:lnTo>
                      <a:pt x="4426" y="3050"/>
                    </a:lnTo>
                    <a:lnTo>
                      <a:pt x="4366" y="3230"/>
                    </a:lnTo>
                    <a:lnTo>
                      <a:pt x="4127" y="4306"/>
                    </a:lnTo>
                    <a:lnTo>
                      <a:pt x="3708" y="4246"/>
                    </a:lnTo>
                    <a:lnTo>
                      <a:pt x="3588" y="4246"/>
                    </a:lnTo>
                    <a:lnTo>
                      <a:pt x="1974" y="4127"/>
                    </a:lnTo>
                    <a:lnTo>
                      <a:pt x="778" y="4007"/>
                    </a:lnTo>
                    <a:lnTo>
                      <a:pt x="419" y="3947"/>
                    </a:lnTo>
                    <a:lnTo>
                      <a:pt x="0" y="3887"/>
                    </a:lnTo>
                  </a:path>
                </a:pathLst>
              </a:custGeom>
              <a:noFill/>
              <a:ln w="6350" cap="rnd">
                <a:solidFill>
                  <a:schemeClr val="bg1">
                    <a:alpha val="80000"/>
                  </a:schemeClr>
                </a:solidFill>
                <a:prstDash val="solid"/>
                <a:round/>
              </a:ln>
            </p:spPr>
            <p:txBody>
              <a:bodyPr rtlCol="0" anchor="ctr"/>
              <a:lstStyle/>
              <a:p>
                <a:endParaRPr lang="en-GB"/>
              </a:p>
            </p:txBody>
          </p:sp>
          <p:sp>
            <p:nvSpPr>
              <p:cNvPr id="6673" name="Vrije vorm: vorm 6672">
                <a:extLst>
                  <a:ext uri="{FF2B5EF4-FFF2-40B4-BE49-F238E27FC236}">
                    <a16:creationId xmlns:a16="http://schemas.microsoft.com/office/drawing/2014/main" id="{30096BAB-295C-42C1-87DD-416074C9C1DA}"/>
                  </a:ext>
                </a:extLst>
              </p:cNvPr>
              <p:cNvSpPr/>
              <p:nvPr/>
            </p:nvSpPr>
            <p:spPr>
              <a:xfrm>
                <a:off x="6849800" y="1798443"/>
                <a:ext cx="3349" cy="598"/>
              </a:xfrm>
              <a:custGeom>
                <a:avLst/>
                <a:gdLst>
                  <a:gd name="connsiteX0" fmla="*/ 0 w 3349"/>
                  <a:gd name="connsiteY0" fmla="*/ 598 h 598"/>
                  <a:gd name="connsiteX1" fmla="*/ 2033 w 3349"/>
                  <a:gd name="connsiteY1" fmla="*/ 239 h 598"/>
                  <a:gd name="connsiteX2" fmla="*/ 3350 w 3349"/>
                  <a:gd name="connsiteY2" fmla="*/ 0 h 598"/>
                </a:gdLst>
                <a:ahLst/>
                <a:cxnLst>
                  <a:cxn ang="0">
                    <a:pos x="connsiteX0" y="connsiteY0"/>
                  </a:cxn>
                  <a:cxn ang="0">
                    <a:pos x="connsiteX1" y="connsiteY1"/>
                  </a:cxn>
                  <a:cxn ang="0">
                    <a:pos x="connsiteX2" y="connsiteY2"/>
                  </a:cxn>
                </a:cxnLst>
                <a:rect l="l" t="t" r="r" b="b"/>
                <a:pathLst>
                  <a:path w="3349" h="598">
                    <a:moveTo>
                      <a:pt x="0" y="598"/>
                    </a:moveTo>
                    <a:lnTo>
                      <a:pt x="2033" y="239"/>
                    </a:lnTo>
                    <a:lnTo>
                      <a:pt x="3350" y="0"/>
                    </a:lnTo>
                  </a:path>
                </a:pathLst>
              </a:custGeom>
              <a:noFill/>
              <a:ln w="6350" cap="rnd">
                <a:solidFill>
                  <a:schemeClr val="bg1">
                    <a:alpha val="80000"/>
                  </a:schemeClr>
                </a:solidFill>
                <a:prstDash val="solid"/>
                <a:round/>
              </a:ln>
            </p:spPr>
            <p:txBody>
              <a:bodyPr rtlCol="0" anchor="ctr"/>
              <a:lstStyle/>
              <a:p>
                <a:endParaRPr lang="en-GB"/>
              </a:p>
            </p:txBody>
          </p:sp>
          <p:sp>
            <p:nvSpPr>
              <p:cNvPr id="6674" name="Vrije vorm: vorm 6673">
                <a:extLst>
                  <a:ext uri="{FF2B5EF4-FFF2-40B4-BE49-F238E27FC236}">
                    <a16:creationId xmlns:a16="http://schemas.microsoft.com/office/drawing/2014/main" id="{7356183A-61EA-4A33-BBA3-7344A3F143AF}"/>
                  </a:ext>
                </a:extLst>
              </p:cNvPr>
              <p:cNvSpPr/>
              <p:nvPr/>
            </p:nvSpPr>
            <p:spPr>
              <a:xfrm>
                <a:off x="6872048" y="1964946"/>
                <a:ext cx="11961" cy="1375"/>
              </a:xfrm>
              <a:custGeom>
                <a:avLst/>
                <a:gdLst>
                  <a:gd name="connsiteX0" fmla="*/ 11961 w 11961"/>
                  <a:gd name="connsiteY0" fmla="*/ 60 h 1375"/>
                  <a:gd name="connsiteX1" fmla="*/ 10766 w 11961"/>
                  <a:gd name="connsiteY1" fmla="*/ 0 h 1375"/>
                  <a:gd name="connsiteX2" fmla="*/ 8134 w 11961"/>
                  <a:gd name="connsiteY2" fmla="*/ 359 h 1375"/>
                  <a:gd name="connsiteX3" fmla="*/ 6400 w 11961"/>
                  <a:gd name="connsiteY3" fmla="*/ 598 h 1375"/>
                  <a:gd name="connsiteX4" fmla="*/ 6160 w 11961"/>
                  <a:gd name="connsiteY4" fmla="*/ 658 h 1375"/>
                  <a:gd name="connsiteX5" fmla="*/ 5981 w 11961"/>
                  <a:gd name="connsiteY5" fmla="*/ 658 h 1375"/>
                  <a:gd name="connsiteX6" fmla="*/ 5802 w 11961"/>
                  <a:gd name="connsiteY6" fmla="*/ 658 h 1375"/>
                  <a:gd name="connsiteX7" fmla="*/ 3350 w 11961"/>
                  <a:gd name="connsiteY7" fmla="*/ 957 h 1375"/>
                  <a:gd name="connsiteX8" fmla="*/ 0 w 11961"/>
                  <a:gd name="connsiteY8" fmla="*/ 1376 h 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61" h="1375">
                    <a:moveTo>
                      <a:pt x="11961" y="60"/>
                    </a:moveTo>
                    <a:lnTo>
                      <a:pt x="10766" y="0"/>
                    </a:lnTo>
                    <a:lnTo>
                      <a:pt x="8134" y="359"/>
                    </a:lnTo>
                    <a:lnTo>
                      <a:pt x="6400" y="598"/>
                    </a:lnTo>
                    <a:lnTo>
                      <a:pt x="6160" y="658"/>
                    </a:lnTo>
                    <a:lnTo>
                      <a:pt x="5981" y="658"/>
                    </a:lnTo>
                    <a:lnTo>
                      <a:pt x="5802" y="658"/>
                    </a:lnTo>
                    <a:lnTo>
                      <a:pt x="3350" y="957"/>
                    </a:lnTo>
                    <a:lnTo>
                      <a:pt x="0" y="1376"/>
                    </a:lnTo>
                  </a:path>
                </a:pathLst>
              </a:custGeom>
              <a:noFill/>
              <a:ln w="6350" cap="rnd">
                <a:solidFill>
                  <a:schemeClr val="bg1">
                    <a:alpha val="80000"/>
                  </a:schemeClr>
                </a:solidFill>
                <a:prstDash val="solid"/>
                <a:round/>
              </a:ln>
            </p:spPr>
            <p:txBody>
              <a:bodyPr rtlCol="0" anchor="ctr"/>
              <a:lstStyle/>
              <a:p>
                <a:endParaRPr lang="en-GB"/>
              </a:p>
            </p:txBody>
          </p:sp>
          <p:sp>
            <p:nvSpPr>
              <p:cNvPr id="6675" name="Vrije vorm: vorm 6674">
                <a:extLst>
                  <a:ext uri="{FF2B5EF4-FFF2-40B4-BE49-F238E27FC236}">
                    <a16:creationId xmlns:a16="http://schemas.microsoft.com/office/drawing/2014/main" id="{BAFFB3DA-5D32-48F2-A55E-3C2498D5367B}"/>
                  </a:ext>
                </a:extLst>
              </p:cNvPr>
              <p:cNvSpPr/>
              <p:nvPr/>
            </p:nvSpPr>
            <p:spPr>
              <a:xfrm>
                <a:off x="6969355" y="1840488"/>
                <a:ext cx="1555" cy="1674"/>
              </a:xfrm>
              <a:custGeom>
                <a:avLst/>
                <a:gdLst>
                  <a:gd name="connsiteX0" fmla="*/ 0 w 1555"/>
                  <a:gd name="connsiteY0" fmla="*/ 0 h 1674"/>
                  <a:gd name="connsiteX1" fmla="*/ 1555 w 1555"/>
                  <a:gd name="connsiteY1" fmla="*/ 1017 h 1674"/>
                  <a:gd name="connsiteX2" fmla="*/ 1555 w 1555"/>
                  <a:gd name="connsiteY2" fmla="*/ 1136 h 1674"/>
                  <a:gd name="connsiteX3" fmla="*/ 1555 w 1555"/>
                  <a:gd name="connsiteY3" fmla="*/ 1316 h 1674"/>
                  <a:gd name="connsiteX4" fmla="*/ 1555 w 1555"/>
                  <a:gd name="connsiteY4" fmla="*/ 1495 h 1674"/>
                  <a:gd name="connsiteX5" fmla="*/ 1555 w 1555"/>
                  <a:gd name="connsiteY5" fmla="*/ 1495 h 1674"/>
                  <a:gd name="connsiteX6" fmla="*/ 1375 w 1555"/>
                  <a:gd name="connsiteY6" fmla="*/ 1675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5" h="1674">
                    <a:moveTo>
                      <a:pt x="0" y="0"/>
                    </a:moveTo>
                    <a:lnTo>
                      <a:pt x="1555" y="1017"/>
                    </a:lnTo>
                    <a:lnTo>
                      <a:pt x="1555" y="1136"/>
                    </a:lnTo>
                    <a:lnTo>
                      <a:pt x="1555" y="1316"/>
                    </a:lnTo>
                    <a:lnTo>
                      <a:pt x="1555" y="1495"/>
                    </a:lnTo>
                    <a:lnTo>
                      <a:pt x="1555" y="1495"/>
                    </a:lnTo>
                    <a:lnTo>
                      <a:pt x="1375" y="1675"/>
                    </a:lnTo>
                  </a:path>
                </a:pathLst>
              </a:custGeom>
              <a:noFill/>
              <a:ln w="6350" cap="rnd">
                <a:solidFill>
                  <a:schemeClr val="bg1">
                    <a:alpha val="80000"/>
                  </a:schemeClr>
                </a:solidFill>
                <a:prstDash val="solid"/>
                <a:round/>
              </a:ln>
            </p:spPr>
            <p:txBody>
              <a:bodyPr rtlCol="0" anchor="ctr"/>
              <a:lstStyle/>
              <a:p>
                <a:endParaRPr lang="en-GB"/>
              </a:p>
            </p:txBody>
          </p:sp>
          <p:sp>
            <p:nvSpPr>
              <p:cNvPr id="6676" name="Vrije vorm: vorm 6675">
                <a:extLst>
                  <a:ext uri="{FF2B5EF4-FFF2-40B4-BE49-F238E27FC236}">
                    <a16:creationId xmlns:a16="http://schemas.microsoft.com/office/drawing/2014/main" id="{BDE0B43D-D99F-4C1F-9CC5-00F1F218D057}"/>
                  </a:ext>
                </a:extLst>
              </p:cNvPr>
              <p:cNvSpPr/>
              <p:nvPr/>
            </p:nvSpPr>
            <p:spPr>
              <a:xfrm>
                <a:off x="6955838" y="2057647"/>
                <a:ext cx="239" cy="5980"/>
              </a:xfrm>
              <a:custGeom>
                <a:avLst/>
                <a:gdLst>
                  <a:gd name="connsiteX0" fmla="*/ 239 w 239"/>
                  <a:gd name="connsiteY0" fmla="*/ 0 h 5980"/>
                  <a:gd name="connsiteX1" fmla="*/ 0 w 239"/>
                  <a:gd name="connsiteY1" fmla="*/ 0 h 5980"/>
                </a:gdLst>
                <a:ahLst/>
                <a:cxnLst>
                  <a:cxn ang="0">
                    <a:pos x="connsiteX0" y="connsiteY0"/>
                  </a:cxn>
                  <a:cxn ang="0">
                    <a:pos x="connsiteX1" y="connsiteY1"/>
                  </a:cxn>
                </a:cxnLst>
                <a:rect l="l" t="t" r="r" b="b"/>
                <a:pathLst>
                  <a:path w="239" h="5980">
                    <a:moveTo>
                      <a:pt x="239"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77" name="Vrije vorm: vorm 6676">
                <a:extLst>
                  <a:ext uri="{FF2B5EF4-FFF2-40B4-BE49-F238E27FC236}">
                    <a16:creationId xmlns:a16="http://schemas.microsoft.com/office/drawing/2014/main" id="{0D109041-4833-4649-B7FB-2474974FCE06}"/>
                  </a:ext>
                </a:extLst>
              </p:cNvPr>
              <p:cNvSpPr/>
              <p:nvPr/>
            </p:nvSpPr>
            <p:spPr>
              <a:xfrm>
                <a:off x="6782936" y="2003283"/>
                <a:ext cx="18360" cy="9329"/>
              </a:xfrm>
              <a:custGeom>
                <a:avLst/>
                <a:gdLst>
                  <a:gd name="connsiteX0" fmla="*/ 18361 w 18360"/>
                  <a:gd name="connsiteY0" fmla="*/ 8493 h 9329"/>
                  <a:gd name="connsiteX1" fmla="*/ 17583 w 18360"/>
                  <a:gd name="connsiteY1" fmla="*/ 8612 h 9329"/>
                  <a:gd name="connsiteX2" fmla="*/ 16507 w 18360"/>
                  <a:gd name="connsiteY2" fmla="*/ 8732 h 9329"/>
                  <a:gd name="connsiteX3" fmla="*/ 15849 w 18360"/>
                  <a:gd name="connsiteY3" fmla="*/ 8792 h 9329"/>
                  <a:gd name="connsiteX4" fmla="*/ 11483 w 18360"/>
                  <a:gd name="connsiteY4" fmla="*/ 9330 h 9329"/>
                  <a:gd name="connsiteX5" fmla="*/ 7356 w 18360"/>
                  <a:gd name="connsiteY5" fmla="*/ 8851 h 9329"/>
                  <a:gd name="connsiteX6" fmla="*/ 0 w 18360"/>
                  <a:gd name="connsiteY6" fmla="*/ 4366 h 9329"/>
                  <a:gd name="connsiteX7" fmla="*/ 479 w 18360"/>
                  <a:gd name="connsiteY7" fmla="*/ 3050 h 9329"/>
                  <a:gd name="connsiteX8" fmla="*/ 1555 w 18360"/>
                  <a:gd name="connsiteY8" fmla="*/ 0 h 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0" h="9329">
                    <a:moveTo>
                      <a:pt x="18361" y="8493"/>
                    </a:moveTo>
                    <a:lnTo>
                      <a:pt x="17583" y="8612"/>
                    </a:lnTo>
                    <a:lnTo>
                      <a:pt x="16507" y="8732"/>
                    </a:lnTo>
                    <a:lnTo>
                      <a:pt x="15849" y="8792"/>
                    </a:lnTo>
                    <a:lnTo>
                      <a:pt x="11483" y="9330"/>
                    </a:lnTo>
                    <a:lnTo>
                      <a:pt x="7356" y="8851"/>
                    </a:lnTo>
                    <a:lnTo>
                      <a:pt x="0" y="4366"/>
                    </a:lnTo>
                    <a:lnTo>
                      <a:pt x="479" y="3050"/>
                    </a:lnTo>
                    <a:lnTo>
                      <a:pt x="1555" y="0"/>
                    </a:lnTo>
                  </a:path>
                </a:pathLst>
              </a:custGeom>
              <a:noFill/>
              <a:ln w="6350" cap="rnd">
                <a:solidFill>
                  <a:schemeClr val="bg1">
                    <a:alpha val="80000"/>
                  </a:schemeClr>
                </a:solidFill>
                <a:prstDash val="solid"/>
                <a:round/>
              </a:ln>
            </p:spPr>
            <p:txBody>
              <a:bodyPr rtlCol="0" anchor="ctr"/>
              <a:lstStyle/>
              <a:p>
                <a:endParaRPr lang="en-GB"/>
              </a:p>
            </p:txBody>
          </p:sp>
          <p:sp>
            <p:nvSpPr>
              <p:cNvPr id="6678" name="Vrije vorm: vorm 6677">
                <a:extLst>
                  <a:ext uri="{FF2B5EF4-FFF2-40B4-BE49-F238E27FC236}">
                    <a16:creationId xmlns:a16="http://schemas.microsoft.com/office/drawing/2014/main" id="{C66D632D-4893-4A58-9791-36AEB9657631}"/>
                  </a:ext>
                </a:extLst>
              </p:cNvPr>
              <p:cNvSpPr/>
              <p:nvPr/>
            </p:nvSpPr>
            <p:spPr>
              <a:xfrm>
                <a:off x="6607880" y="1852329"/>
                <a:ext cx="11064" cy="48324"/>
              </a:xfrm>
              <a:custGeom>
                <a:avLst/>
                <a:gdLst>
                  <a:gd name="connsiteX0" fmla="*/ 11065 w 11064"/>
                  <a:gd name="connsiteY0" fmla="*/ 48324 h 48324"/>
                  <a:gd name="connsiteX1" fmla="*/ 6340 w 11064"/>
                  <a:gd name="connsiteY1" fmla="*/ 47427 h 48324"/>
                  <a:gd name="connsiteX2" fmla="*/ 4844 w 11064"/>
                  <a:gd name="connsiteY2" fmla="*/ 37021 h 48324"/>
                  <a:gd name="connsiteX3" fmla="*/ 3110 w 11064"/>
                  <a:gd name="connsiteY3" fmla="*/ 24282 h 48324"/>
                  <a:gd name="connsiteX4" fmla="*/ 3050 w 11064"/>
                  <a:gd name="connsiteY4" fmla="*/ 23743 h 48324"/>
                  <a:gd name="connsiteX5" fmla="*/ 2871 w 11064"/>
                  <a:gd name="connsiteY5" fmla="*/ 22069 h 48324"/>
                  <a:gd name="connsiteX6" fmla="*/ 2871 w 11064"/>
                  <a:gd name="connsiteY6" fmla="*/ 22069 h 48324"/>
                  <a:gd name="connsiteX7" fmla="*/ 2871 w 11064"/>
                  <a:gd name="connsiteY7" fmla="*/ 21949 h 48324"/>
                  <a:gd name="connsiteX8" fmla="*/ 2273 w 11064"/>
                  <a:gd name="connsiteY8" fmla="*/ 16626 h 48324"/>
                  <a:gd name="connsiteX9" fmla="*/ 1795 w 11064"/>
                  <a:gd name="connsiteY9" fmla="*/ 14174 h 48324"/>
                  <a:gd name="connsiteX10" fmla="*/ 897 w 11064"/>
                  <a:gd name="connsiteY10" fmla="*/ 9449 h 48324"/>
                  <a:gd name="connsiteX11" fmla="*/ 0 w 11064"/>
                  <a:gd name="connsiteY11" fmla="*/ 5263 h 48324"/>
                  <a:gd name="connsiteX12" fmla="*/ 3170 w 11064"/>
                  <a:gd name="connsiteY12" fmla="*/ 120 h 48324"/>
                  <a:gd name="connsiteX13" fmla="*/ 10347 w 11064"/>
                  <a:gd name="connsiteY13" fmla="*/ 0 h 4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64" h="48324">
                    <a:moveTo>
                      <a:pt x="11065" y="48324"/>
                    </a:moveTo>
                    <a:lnTo>
                      <a:pt x="6340" y="47427"/>
                    </a:lnTo>
                    <a:lnTo>
                      <a:pt x="4844" y="37021"/>
                    </a:lnTo>
                    <a:lnTo>
                      <a:pt x="3110" y="24282"/>
                    </a:lnTo>
                    <a:lnTo>
                      <a:pt x="3050" y="23743"/>
                    </a:lnTo>
                    <a:lnTo>
                      <a:pt x="2871" y="22069"/>
                    </a:lnTo>
                    <a:lnTo>
                      <a:pt x="2871" y="22069"/>
                    </a:lnTo>
                    <a:lnTo>
                      <a:pt x="2871" y="21949"/>
                    </a:lnTo>
                    <a:lnTo>
                      <a:pt x="2273" y="16626"/>
                    </a:lnTo>
                    <a:lnTo>
                      <a:pt x="1795" y="14174"/>
                    </a:lnTo>
                    <a:lnTo>
                      <a:pt x="897" y="9449"/>
                    </a:lnTo>
                    <a:lnTo>
                      <a:pt x="0" y="5263"/>
                    </a:lnTo>
                    <a:lnTo>
                      <a:pt x="3170" y="120"/>
                    </a:lnTo>
                    <a:lnTo>
                      <a:pt x="10347" y="0"/>
                    </a:lnTo>
                  </a:path>
                </a:pathLst>
              </a:custGeom>
              <a:noFill/>
              <a:ln w="6350" cap="rnd">
                <a:solidFill>
                  <a:schemeClr val="bg1">
                    <a:alpha val="80000"/>
                  </a:schemeClr>
                </a:solidFill>
                <a:prstDash val="solid"/>
                <a:round/>
              </a:ln>
            </p:spPr>
            <p:txBody>
              <a:bodyPr rtlCol="0" anchor="ctr"/>
              <a:lstStyle/>
              <a:p>
                <a:endParaRPr lang="en-GB"/>
              </a:p>
            </p:txBody>
          </p:sp>
          <p:sp>
            <p:nvSpPr>
              <p:cNvPr id="6679" name="Vrije vorm: vorm 6678">
                <a:extLst>
                  <a:ext uri="{FF2B5EF4-FFF2-40B4-BE49-F238E27FC236}">
                    <a16:creationId xmlns:a16="http://schemas.microsoft.com/office/drawing/2014/main" id="{03257D9A-8088-476C-90E3-6BE4AC16C048}"/>
                  </a:ext>
                </a:extLst>
              </p:cNvPr>
              <p:cNvSpPr/>
              <p:nvPr/>
            </p:nvSpPr>
            <p:spPr>
              <a:xfrm>
                <a:off x="7000694" y="1751554"/>
                <a:ext cx="9330" cy="9569"/>
              </a:xfrm>
              <a:custGeom>
                <a:avLst/>
                <a:gdLst>
                  <a:gd name="connsiteX0" fmla="*/ 0 w 9330"/>
                  <a:gd name="connsiteY0" fmla="*/ 5502 h 9569"/>
                  <a:gd name="connsiteX1" fmla="*/ 0 w 9330"/>
                  <a:gd name="connsiteY1" fmla="*/ 5502 h 9569"/>
                  <a:gd name="connsiteX2" fmla="*/ 60 w 9330"/>
                  <a:gd name="connsiteY2" fmla="*/ 5263 h 9569"/>
                  <a:gd name="connsiteX3" fmla="*/ 359 w 9330"/>
                  <a:gd name="connsiteY3" fmla="*/ 4007 h 9569"/>
                  <a:gd name="connsiteX4" fmla="*/ 718 w 9330"/>
                  <a:gd name="connsiteY4" fmla="*/ 2572 h 9569"/>
                  <a:gd name="connsiteX5" fmla="*/ 1435 w 9330"/>
                  <a:gd name="connsiteY5" fmla="*/ 1914 h 9569"/>
                  <a:gd name="connsiteX6" fmla="*/ 2930 w 9330"/>
                  <a:gd name="connsiteY6" fmla="*/ 478 h 9569"/>
                  <a:gd name="connsiteX7" fmla="*/ 5802 w 9330"/>
                  <a:gd name="connsiteY7" fmla="*/ 0 h 9569"/>
                  <a:gd name="connsiteX8" fmla="*/ 8253 w 9330"/>
                  <a:gd name="connsiteY8" fmla="*/ 1376 h 9569"/>
                  <a:gd name="connsiteX9" fmla="*/ 9330 w 9330"/>
                  <a:gd name="connsiteY9" fmla="*/ 4007 h 9569"/>
                  <a:gd name="connsiteX10" fmla="*/ 9031 w 9330"/>
                  <a:gd name="connsiteY10" fmla="*/ 5323 h 9569"/>
                  <a:gd name="connsiteX11" fmla="*/ 8971 w 9330"/>
                  <a:gd name="connsiteY11" fmla="*/ 5562 h 9569"/>
                  <a:gd name="connsiteX12" fmla="*/ 8672 w 9330"/>
                  <a:gd name="connsiteY12" fmla="*/ 6997 h 9569"/>
                  <a:gd name="connsiteX13" fmla="*/ 8433 w 9330"/>
                  <a:gd name="connsiteY13" fmla="*/ 7237 h 9569"/>
                  <a:gd name="connsiteX14" fmla="*/ 7775 w 9330"/>
                  <a:gd name="connsiteY14" fmla="*/ 7895 h 9569"/>
                  <a:gd name="connsiteX15" fmla="*/ 7596 w 9330"/>
                  <a:gd name="connsiteY15" fmla="*/ 8074 h 9569"/>
                  <a:gd name="connsiteX16" fmla="*/ 7596 w 9330"/>
                  <a:gd name="connsiteY16" fmla="*/ 8074 h 9569"/>
                  <a:gd name="connsiteX17" fmla="*/ 7596 w 9330"/>
                  <a:gd name="connsiteY17" fmla="*/ 8074 h 9569"/>
                  <a:gd name="connsiteX18" fmla="*/ 7237 w 9330"/>
                  <a:gd name="connsiteY18" fmla="*/ 8433 h 9569"/>
                  <a:gd name="connsiteX19" fmla="*/ 6818 w 9330"/>
                  <a:gd name="connsiteY19" fmla="*/ 8851 h 9569"/>
                  <a:gd name="connsiteX20" fmla="*/ 6639 w 9330"/>
                  <a:gd name="connsiteY20" fmla="*/ 9031 h 9569"/>
                  <a:gd name="connsiteX21" fmla="*/ 6520 w 9330"/>
                  <a:gd name="connsiteY21" fmla="*/ 9150 h 9569"/>
                  <a:gd name="connsiteX22" fmla="*/ 6460 w 9330"/>
                  <a:gd name="connsiteY22" fmla="*/ 9150 h 9569"/>
                  <a:gd name="connsiteX23" fmla="*/ 5503 w 9330"/>
                  <a:gd name="connsiteY23" fmla="*/ 9270 h 9569"/>
                  <a:gd name="connsiteX24" fmla="*/ 5143 w 9330"/>
                  <a:gd name="connsiteY24" fmla="*/ 9330 h 9569"/>
                  <a:gd name="connsiteX25" fmla="*/ 4605 w 9330"/>
                  <a:gd name="connsiteY25" fmla="*/ 9390 h 9569"/>
                  <a:gd name="connsiteX26" fmla="*/ 3828 w 9330"/>
                  <a:gd name="connsiteY26" fmla="*/ 9509 h 9569"/>
                  <a:gd name="connsiteX27" fmla="*/ 3588 w 9330"/>
                  <a:gd name="connsiteY27" fmla="*/ 9569 h 9569"/>
                  <a:gd name="connsiteX28" fmla="*/ 1137 w 9330"/>
                  <a:gd name="connsiteY28" fmla="*/ 8194 h 9569"/>
                  <a:gd name="connsiteX29" fmla="*/ 1077 w 9330"/>
                  <a:gd name="connsiteY29" fmla="*/ 8074 h 9569"/>
                  <a:gd name="connsiteX30" fmla="*/ 957 w 9330"/>
                  <a:gd name="connsiteY30" fmla="*/ 7775 h 9569"/>
                  <a:gd name="connsiteX31" fmla="*/ 718 w 9330"/>
                  <a:gd name="connsiteY31" fmla="*/ 7237 h 9569"/>
                  <a:gd name="connsiteX32" fmla="*/ 598 w 9330"/>
                  <a:gd name="connsiteY32" fmla="*/ 6938 h 9569"/>
                  <a:gd name="connsiteX33" fmla="*/ 419 w 9330"/>
                  <a:gd name="connsiteY33" fmla="*/ 6519 h 9569"/>
                  <a:gd name="connsiteX34" fmla="*/ 0 w 9330"/>
                  <a:gd name="connsiteY34" fmla="*/ 5502 h 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330" h="9569">
                    <a:moveTo>
                      <a:pt x="0" y="5502"/>
                    </a:moveTo>
                    <a:lnTo>
                      <a:pt x="0" y="5502"/>
                    </a:lnTo>
                    <a:lnTo>
                      <a:pt x="60" y="5263"/>
                    </a:lnTo>
                    <a:lnTo>
                      <a:pt x="359" y="4007"/>
                    </a:lnTo>
                    <a:lnTo>
                      <a:pt x="718" y="2572"/>
                    </a:lnTo>
                    <a:lnTo>
                      <a:pt x="1435" y="1914"/>
                    </a:lnTo>
                    <a:lnTo>
                      <a:pt x="2930" y="478"/>
                    </a:lnTo>
                    <a:lnTo>
                      <a:pt x="5802" y="0"/>
                    </a:lnTo>
                    <a:lnTo>
                      <a:pt x="8253" y="1376"/>
                    </a:lnTo>
                    <a:lnTo>
                      <a:pt x="9330" y="4007"/>
                    </a:lnTo>
                    <a:lnTo>
                      <a:pt x="9031" y="5323"/>
                    </a:lnTo>
                    <a:lnTo>
                      <a:pt x="8971" y="5562"/>
                    </a:lnTo>
                    <a:lnTo>
                      <a:pt x="8672" y="6997"/>
                    </a:lnTo>
                    <a:lnTo>
                      <a:pt x="8433" y="7237"/>
                    </a:lnTo>
                    <a:lnTo>
                      <a:pt x="7775" y="7895"/>
                    </a:lnTo>
                    <a:lnTo>
                      <a:pt x="7596" y="8074"/>
                    </a:lnTo>
                    <a:lnTo>
                      <a:pt x="7596" y="8074"/>
                    </a:lnTo>
                    <a:lnTo>
                      <a:pt x="7596" y="8074"/>
                    </a:lnTo>
                    <a:lnTo>
                      <a:pt x="7237" y="8433"/>
                    </a:lnTo>
                    <a:lnTo>
                      <a:pt x="6818" y="8851"/>
                    </a:lnTo>
                    <a:lnTo>
                      <a:pt x="6639" y="9031"/>
                    </a:lnTo>
                    <a:lnTo>
                      <a:pt x="6520" y="9150"/>
                    </a:lnTo>
                    <a:lnTo>
                      <a:pt x="6460" y="9150"/>
                    </a:lnTo>
                    <a:lnTo>
                      <a:pt x="5503" y="9270"/>
                    </a:lnTo>
                    <a:lnTo>
                      <a:pt x="5143" y="9330"/>
                    </a:lnTo>
                    <a:lnTo>
                      <a:pt x="4605" y="9390"/>
                    </a:lnTo>
                    <a:lnTo>
                      <a:pt x="3828" y="9509"/>
                    </a:lnTo>
                    <a:lnTo>
                      <a:pt x="3588" y="9569"/>
                    </a:lnTo>
                    <a:lnTo>
                      <a:pt x="1137" y="8194"/>
                    </a:lnTo>
                    <a:lnTo>
                      <a:pt x="1077" y="8074"/>
                    </a:lnTo>
                    <a:lnTo>
                      <a:pt x="957" y="7775"/>
                    </a:lnTo>
                    <a:lnTo>
                      <a:pt x="718" y="7237"/>
                    </a:lnTo>
                    <a:lnTo>
                      <a:pt x="598" y="6938"/>
                    </a:lnTo>
                    <a:lnTo>
                      <a:pt x="419" y="6519"/>
                    </a:lnTo>
                    <a:lnTo>
                      <a:pt x="0" y="5502"/>
                    </a:lnTo>
                  </a:path>
                </a:pathLst>
              </a:custGeom>
              <a:noFill/>
              <a:ln w="6350" cap="rnd">
                <a:solidFill>
                  <a:schemeClr val="bg1">
                    <a:alpha val="80000"/>
                  </a:schemeClr>
                </a:solidFill>
                <a:prstDash val="solid"/>
                <a:round/>
              </a:ln>
            </p:spPr>
            <p:txBody>
              <a:bodyPr rtlCol="0" anchor="ctr"/>
              <a:lstStyle/>
              <a:p>
                <a:endParaRPr lang="en-GB"/>
              </a:p>
            </p:txBody>
          </p:sp>
          <p:sp>
            <p:nvSpPr>
              <p:cNvPr id="6680" name="Vrije vorm: vorm 6679">
                <a:extLst>
                  <a:ext uri="{FF2B5EF4-FFF2-40B4-BE49-F238E27FC236}">
                    <a16:creationId xmlns:a16="http://schemas.microsoft.com/office/drawing/2014/main" id="{C2B7B26F-D639-42B6-9B3A-EDDA85565CCB}"/>
                  </a:ext>
                </a:extLst>
              </p:cNvPr>
              <p:cNvSpPr/>
              <p:nvPr/>
            </p:nvSpPr>
            <p:spPr>
              <a:xfrm>
                <a:off x="6772051" y="1991441"/>
                <a:ext cx="39532" cy="10884"/>
              </a:xfrm>
              <a:custGeom>
                <a:avLst/>
                <a:gdLst>
                  <a:gd name="connsiteX0" fmla="*/ 39532 w 39532"/>
                  <a:gd name="connsiteY0" fmla="*/ 0 h 10884"/>
                  <a:gd name="connsiteX1" fmla="*/ 38755 w 39532"/>
                  <a:gd name="connsiteY1" fmla="*/ 538 h 10884"/>
                  <a:gd name="connsiteX2" fmla="*/ 35167 w 39532"/>
                  <a:gd name="connsiteY2" fmla="*/ 2931 h 10884"/>
                  <a:gd name="connsiteX3" fmla="*/ 34928 w 39532"/>
                  <a:gd name="connsiteY3" fmla="*/ 2990 h 10884"/>
                  <a:gd name="connsiteX4" fmla="*/ 28648 w 39532"/>
                  <a:gd name="connsiteY4" fmla="*/ 4127 h 10884"/>
                  <a:gd name="connsiteX5" fmla="*/ 24461 w 39532"/>
                  <a:gd name="connsiteY5" fmla="*/ 4964 h 10884"/>
                  <a:gd name="connsiteX6" fmla="*/ 20454 w 39532"/>
                  <a:gd name="connsiteY6" fmla="*/ 5741 h 10884"/>
                  <a:gd name="connsiteX7" fmla="*/ 18720 w 39532"/>
                  <a:gd name="connsiteY7" fmla="*/ 6280 h 10884"/>
                  <a:gd name="connsiteX8" fmla="*/ 14593 w 39532"/>
                  <a:gd name="connsiteY8" fmla="*/ 7536 h 10884"/>
                  <a:gd name="connsiteX9" fmla="*/ 12799 w 39532"/>
                  <a:gd name="connsiteY9" fmla="*/ 8134 h 10884"/>
                  <a:gd name="connsiteX10" fmla="*/ 11902 w 39532"/>
                  <a:gd name="connsiteY10" fmla="*/ 8433 h 10884"/>
                  <a:gd name="connsiteX11" fmla="*/ 10107 w 39532"/>
                  <a:gd name="connsiteY11" fmla="*/ 9031 h 10884"/>
                  <a:gd name="connsiteX12" fmla="*/ 9151 w 39532"/>
                  <a:gd name="connsiteY12" fmla="*/ 9330 h 10884"/>
                  <a:gd name="connsiteX13" fmla="*/ 8194 w 39532"/>
                  <a:gd name="connsiteY13" fmla="*/ 9629 h 10884"/>
                  <a:gd name="connsiteX14" fmla="*/ 6938 w 39532"/>
                  <a:gd name="connsiteY14" fmla="*/ 10107 h 10884"/>
                  <a:gd name="connsiteX15" fmla="*/ 5143 w 39532"/>
                  <a:gd name="connsiteY15" fmla="*/ 10825 h 10884"/>
                  <a:gd name="connsiteX16" fmla="*/ 4964 w 39532"/>
                  <a:gd name="connsiteY16" fmla="*/ 10885 h 10884"/>
                  <a:gd name="connsiteX17" fmla="*/ 2572 w 39532"/>
                  <a:gd name="connsiteY17" fmla="*/ 9091 h 10884"/>
                  <a:gd name="connsiteX18" fmla="*/ 1914 w 39532"/>
                  <a:gd name="connsiteY18" fmla="*/ 8373 h 10884"/>
                  <a:gd name="connsiteX19" fmla="*/ 778 w 39532"/>
                  <a:gd name="connsiteY19" fmla="*/ 7117 h 10884"/>
                  <a:gd name="connsiteX20" fmla="*/ 0 w 39532"/>
                  <a:gd name="connsiteY20" fmla="*/ 5861 h 10884"/>
                  <a:gd name="connsiteX21" fmla="*/ 1196 w 39532"/>
                  <a:gd name="connsiteY21" fmla="*/ 3529 h 10884"/>
                  <a:gd name="connsiteX22" fmla="*/ 1435 w 39532"/>
                  <a:gd name="connsiteY22" fmla="*/ 3110 h 10884"/>
                  <a:gd name="connsiteX23" fmla="*/ 1854 w 39532"/>
                  <a:gd name="connsiteY23" fmla="*/ 2332 h 10884"/>
                  <a:gd name="connsiteX24" fmla="*/ 1854 w 39532"/>
                  <a:gd name="connsiteY24" fmla="*/ 2332 h 10884"/>
                  <a:gd name="connsiteX25" fmla="*/ 2153 w 39532"/>
                  <a:gd name="connsiteY25" fmla="*/ 1794 h 10884"/>
                  <a:gd name="connsiteX26" fmla="*/ 2213 w 39532"/>
                  <a:gd name="connsiteY26" fmla="*/ 1675 h 1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532" h="10884">
                    <a:moveTo>
                      <a:pt x="39532" y="0"/>
                    </a:moveTo>
                    <a:lnTo>
                      <a:pt x="38755" y="538"/>
                    </a:lnTo>
                    <a:lnTo>
                      <a:pt x="35167" y="2931"/>
                    </a:lnTo>
                    <a:lnTo>
                      <a:pt x="34928" y="2990"/>
                    </a:lnTo>
                    <a:lnTo>
                      <a:pt x="28648" y="4127"/>
                    </a:lnTo>
                    <a:lnTo>
                      <a:pt x="24461" y="4964"/>
                    </a:lnTo>
                    <a:lnTo>
                      <a:pt x="20454" y="5741"/>
                    </a:lnTo>
                    <a:lnTo>
                      <a:pt x="18720" y="6280"/>
                    </a:lnTo>
                    <a:lnTo>
                      <a:pt x="14593" y="7536"/>
                    </a:lnTo>
                    <a:lnTo>
                      <a:pt x="12799" y="8134"/>
                    </a:lnTo>
                    <a:lnTo>
                      <a:pt x="11902" y="8433"/>
                    </a:lnTo>
                    <a:lnTo>
                      <a:pt x="10107" y="9031"/>
                    </a:lnTo>
                    <a:lnTo>
                      <a:pt x="9151" y="9330"/>
                    </a:lnTo>
                    <a:lnTo>
                      <a:pt x="8194" y="9629"/>
                    </a:lnTo>
                    <a:lnTo>
                      <a:pt x="6938" y="10107"/>
                    </a:lnTo>
                    <a:lnTo>
                      <a:pt x="5143" y="10825"/>
                    </a:lnTo>
                    <a:lnTo>
                      <a:pt x="4964" y="10885"/>
                    </a:lnTo>
                    <a:lnTo>
                      <a:pt x="2572" y="9091"/>
                    </a:lnTo>
                    <a:lnTo>
                      <a:pt x="1914" y="8373"/>
                    </a:lnTo>
                    <a:lnTo>
                      <a:pt x="778" y="7117"/>
                    </a:lnTo>
                    <a:lnTo>
                      <a:pt x="0" y="5861"/>
                    </a:lnTo>
                    <a:lnTo>
                      <a:pt x="1196" y="3529"/>
                    </a:lnTo>
                    <a:lnTo>
                      <a:pt x="1435" y="3110"/>
                    </a:lnTo>
                    <a:lnTo>
                      <a:pt x="1854" y="2332"/>
                    </a:lnTo>
                    <a:lnTo>
                      <a:pt x="1854" y="2332"/>
                    </a:lnTo>
                    <a:lnTo>
                      <a:pt x="2153" y="1794"/>
                    </a:lnTo>
                    <a:lnTo>
                      <a:pt x="2213" y="1675"/>
                    </a:lnTo>
                  </a:path>
                </a:pathLst>
              </a:custGeom>
              <a:noFill/>
              <a:ln w="6350" cap="rnd">
                <a:solidFill>
                  <a:schemeClr val="bg1">
                    <a:alpha val="80000"/>
                  </a:schemeClr>
                </a:solidFill>
                <a:prstDash val="solid"/>
                <a:round/>
              </a:ln>
            </p:spPr>
            <p:txBody>
              <a:bodyPr rtlCol="0" anchor="ctr"/>
              <a:lstStyle/>
              <a:p>
                <a:endParaRPr lang="en-GB"/>
              </a:p>
            </p:txBody>
          </p:sp>
          <p:sp>
            <p:nvSpPr>
              <p:cNvPr id="6681" name="Vrije vorm: vorm 6680">
                <a:extLst>
                  <a:ext uri="{FF2B5EF4-FFF2-40B4-BE49-F238E27FC236}">
                    <a16:creationId xmlns:a16="http://schemas.microsoft.com/office/drawing/2014/main" id="{4EF2A4BC-C812-446A-A5DB-91444AC8BEAD}"/>
                  </a:ext>
                </a:extLst>
              </p:cNvPr>
              <p:cNvSpPr/>
              <p:nvPr/>
            </p:nvSpPr>
            <p:spPr>
              <a:xfrm>
                <a:off x="6920193" y="1934445"/>
                <a:ext cx="35346" cy="51852"/>
              </a:xfrm>
              <a:custGeom>
                <a:avLst/>
                <a:gdLst>
                  <a:gd name="connsiteX0" fmla="*/ 0 w 35346"/>
                  <a:gd name="connsiteY0" fmla="*/ 2452 h 51852"/>
                  <a:gd name="connsiteX1" fmla="*/ 299 w 35346"/>
                  <a:gd name="connsiteY1" fmla="*/ 2093 h 51852"/>
                  <a:gd name="connsiteX2" fmla="*/ 1256 w 35346"/>
                  <a:gd name="connsiteY2" fmla="*/ 1017 h 51852"/>
                  <a:gd name="connsiteX3" fmla="*/ 2213 w 35346"/>
                  <a:gd name="connsiteY3" fmla="*/ 0 h 51852"/>
                  <a:gd name="connsiteX4" fmla="*/ 2631 w 35346"/>
                  <a:gd name="connsiteY4" fmla="*/ 239 h 51852"/>
                  <a:gd name="connsiteX5" fmla="*/ 5861 w 35346"/>
                  <a:gd name="connsiteY5" fmla="*/ 2392 h 51852"/>
                  <a:gd name="connsiteX6" fmla="*/ 7177 w 35346"/>
                  <a:gd name="connsiteY6" fmla="*/ 3289 h 51852"/>
                  <a:gd name="connsiteX7" fmla="*/ 7177 w 35346"/>
                  <a:gd name="connsiteY7" fmla="*/ 3289 h 51852"/>
                  <a:gd name="connsiteX8" fmla="*/ 8553 w 35346"/>
                  <a:gd name="connsiteY8" fmla="*/ 4246 h 51852"/>
                  <a:gd name="connsiteX9" fmla="*/ 8672 w 35346"/>
                  <a:gd name="connsiteY9" fmla="*/ 4306 h 51852"/>
                  <a:gd name="connsiteX10" fmla="*/ 9689 w 35346"/>
                  <a:gd name="connsiteY10" fmla="*/ 5024 h 51852"/>
                  <a:gd name="connsiteX11" fmla="*/ 10526 w 35346"/>
                  <a:gd name="connsiteY11" fmla="*/ 5622 h 51852"/>
                  <a:gd name="connsiteX12" fmla="*/ 11483 w 35346"/>
                  <a:gd name="connsiteY12" fmla="*/ 6280 h 51852"/>
                  <a:gd name="connsiteX13" fmla="*/ 11842 w 35346"/>
                  <a:gd name="connsiteY13" fmla="*/ 6519 h 51852"/>
                  <a:gd name="connsiteX14" fmla="*/ 12619 w 35346"/>
                  <a:gd name="connsiteY14" fmla="*/ 7237 h 51852"/>
                  <a:gd name="connsiteX15" fmla="*/ 12679 w 35346"/>
                  <a:gd name="connsiteY15" fmla="*/ 7296 h 51852"/>
                  <a:gd name="connsiteX16" fmla="*/ 13756 w 35346"/>
                  <a:gd name="connsiteY16" fmla="*/ 8253 h 51852"/>
                  <a:gd name="connsiteX17" fmla="*/ 13875 w 35346"/>
                  <a:gd name="connsiteY17" fmla="*/ 8313 h 51852"/>
                  <a:gd name="connsiteX18" fmla="*/ 15310 w 35346"/>
                  <a:gd name="connsiteY18" fmla="*/ 9569 h 51852"/>
                  <a:gd name="connsiteX19" fmla="*/ 16148 w 35346"/>
                  <a:gd name="connsiteY19" fmla="*/ 10287 h 51852"/>
                  <a:gd name="connsiteX20" fmla="*/ 18062 w 35346"/>
                  <a:gd name="connsiteY20" fmla="*/ 11961 h 51852"/>
                  <a:gd name="connsiteX21" fmla="*/ 19975 w 35346"/>
                  <a:gd name="connsiteY21" fmla="*/ 13636 h 51852"/>
                  <a:gd name="connsiteX22" fmla="*/ 21112 w 35346"/>
                  <a:gd name="connsiteY22" fmla="*/ 14653 h 51852"/>
                  <a:gd name="connsiteX23" fmla="*/ 21471 w 35346"/>
                  <a:gd name="connsiteY23" fmla="*/ 15071 h 51852"/>
                  <a:gd name="connsiteX24" fmla="*/ 22846 w 35346"/>
                  <a:gd name="connsiteY24" fmla="*/ 16746 h 51852"/>
                  <a:gd name="connsiteX25" fmla="*/ 23624 w 35346"/>
                  <a:gd name="connsiteY25" fmla="*/ 17703 h 51852"/>
                  <a:gd name="connsiteX26" fmla="*/ 26196 w 35346"/>
                  <a:gd name="connsiteY26" fmla="*/ 20873 h 51852"/>
                  <a:gd name="connsiteX27" fmla="*/ 26375 w 35346"/>
                  <a:gd name="connsiteY27" fmla="*/ 21112 h 51852"/>
                  <a:gd name="connsiteX28" fmla="*/ 29724 w 35346"/>
                  <a:gd name="connsiteY28" fmla="*/ 26375 h 51852"/>
                  <a:gd name="connsiteX29" fmla="*/ 29724 w 35346"/>
                  <a:gd name="connsiteY29" fmla="*/ 26435 h 51852"/>
                  <a:gd name="connsiteX30" fmla="*/ 30143 w 35346"/>
                  <a:gd name="connsiteY30" fmla="*/ 27093 h 51852"/>
                  <a:gd name="connsiteX31" fmla="*/ 30980 w 35346"/>
                  <a:gd name="connsiteY31" fmla="*/ 28349 h 51852"/>
                  <a:gd name="connsiteX32" fmla="*/ 31159 w 35346"/>
                  <a:gd name="connsiteY32" fmla="*/ 28648 h 51852"/>
                  <a:gd name="connsiteX33" fmla="*/ 31459 w 35346"/>
                  <a:gd name="connsiteY33" fmla="*/ 29126 h 51852"/>
                  <a:gd name="connsiteX34" fmla="*/ 33252 w 35346"/>
                  <a:gd name="connsiteY34" fmla="*/ 32774 h 51852"/>
                  <a:gd name="connsiteX35" fmla="*/ 34150 w 35346"/>
                  <a:gd name="connsiteY35" fmla="*/ 34569 h 51852"/>
                  <a:gd name="connsiteX36" fmla="*/ 34329 w 35346"/>
                  <a:gd name="connsiteY36" fmla="*/ 34927 h 51852"/>
                  <a:gd name="connsiteX37" fmla="*/ 34449 w 35346"/>
                  <a:gd name="connsiteY37" fmla="*/ 35167 h 51852"/>
                  <a:gd name="connsiteX38" fmla="*/ 34629 w 35346"/>
                  <a:gd name="connsiteY38" fmla="*/ 35645 h 51852"/>
                  <a:gd name="connsiteX39" fmla="*/ 34748 w 35346"/>
                  <a:gd name="connsiteY39" fmla="*/ 35944 h 51852"/>
                  <a:gd name="connsiteX40" fmla="*/ 34748 w 35346"/>
                  <a:gd name="connsiteY40" fmla="*/ 35944 h 51852"/>
                  <a:gd name="connsiteX41" fmla="*/ 34807 w 35346"/>
                  <a:gd name="connsiteY41" fmla="*/ 36124 h 51852"/>
                  <a:gd name="connsiteX42" fmla="*/ 35227 w 35346"/>
                  <a:gd name="connsiteY42" fmla="*/ 37260 h 51852"/>
                  <a:gd name="connsiteX43" fmla="*/ 35346 w 35346"/>
                  <a:gd name="connsiteY43" fmla="*/ 37559 h 51852"/>
                  <a:gd name="connsiteX44" fmla="*/ 35047 w 35346"/>
                  <a:gd name="connsiteY44" fmla="*/ 38097 h 51852"/>
                  <a:gd name="connsiteX45" fmla="*/ 35047 w 35346"/>
                  <a:gd name="connsiteY45" fmla="*/ 38097 h 51852"/>
                  <a:gd name="connsiteX46" fmla="*/ 34927 w 35346"/>
                  <a:gd name="connsiteY46" fmla="*/ 38336 h 51852"/>
                  <a:gd name="connsiteX47" fmla="*/ 34748 w 35346"/>
                  <a:gd name="connsiteY47" fmla="*/ 38695 h 51852"/>
                  <a:gd name="connsiteX48" fmla="*/ 34629 w 35346"/>
                  <a:gd name="connsiteY48" fmla="*/ 38934 h 51852"/>
                  <a:gd name="connsiteX49" fmla="*/ 34629 w 35346"/>
                  <a:gd name="connsiteY49" fmla="*/ 38934 h 51852"/>
                  <a:gd name="connsiteX50" fmla="*/ 34329 w 35346"/>
                  <a:gd name="connsiteY50" fmla="*/ 39473 h 51852"/>
                  <a:gd name="connsiteX51" fmla="*/ 33971 w 35346"/>
                  <a:gd name="connsiteY51" fmla="*/ 40071 h 51852"/>
                  <a:gd name="connsiteX52" fmla="*/ 33851 w 35346"/>
                  <a:gd name="connsiteY52" fmla="*/ 40250 h 51852"/>
                  <a:gd name="connsiteX53" fmla="*/ 33851 w 35346"/>
                  <a:gd name="connsiteY53" fmla="*/ 40250 h 51852"/>
                  <a:gd name="connsiteX54" fmla="*/ 33791 w 35346"/>
                  <a:gd name="connsiteY54" fmla="*/ 40310 h 51852"/>
                  <a:gd name="connsiteX55" fmla="*/ 33671 w 35346"/>
                  <a:gd name="connsiteY55" fmla="*/ 40490 h 51852"/>
                  <a:gd name="connsiteX56" fmla="*/ 33552 w 35346"/>
                  <a:gd name="connsiteY56" fmla="*/ 40729 h 51852"/>
                  <a:gd name="connsiteX57" fmla="*/ 33074 w 35346"/>
                  <a:gd name="connsiteY57" fmla="*/ 41566 h 51852"/>
                  <a:gd name="connsiteX58" fmla="*/ 32296 w 35346"/>
                  <a:gd name="connsiteY58" fmla="*/ 42942 h 51852"/>
                  <a:gd name="connsiteX59" fmla="*/ 32116 w 35346"/>
                  <a:gd name="connsiteY59" fmla="*/ 43300 h 51852"/>
                  <a:gd name="connsiteX60" fmla="*/ 32116 w 35346"/>
                  <a:gd name="connsiteY60" fmla="*/ 43300 h 51852"/>
                  <a:gd name="connsiteX61" fmla="*/ 31698 w 35346"/>
                  <a:gd name="connsiteY61" fmla="*/ 44018 h 51852"/>
                  <a:gd name="connsiteX62" fmla="*/ 30681 w 35346"/>
                  <a:gd name="connsiteY62" fmla="*/ 45752 h 51852"/>
                  <a:gd name="connsiteX63" fmla="*/ 29664 w 35346"/>
                  <a:gd name="connsiteY63" fmla="*/ 47487 h 51852"/>
                  <a:gd name="connsiteX64" fmla="*/ 28946 w 35346"/>
                  <a:gd name="connsiteY64" fmla="*/ 48743 h 51852"/>
                  <a:gd name="connsiteX65" fmla="*/ 28767 w 35346"/>
                  <a:gd name="connsiteY65" fmla="*/ 49102 h 51852"/>
                  <a:gd name="connsiteX66" fmla="*/ 28349 w 35346"/>
                  <a:gd name="connsiteY66" fmla="*/ 49401 h 51852"/>
                  <a:gd name="connsiteX67" fmla="*/ 28229 w 35346"/>
                  <a:gd name="connsiteY67" fmla="*/ 49461 h 51852"/>
                  <a:gd name="connsiteX68" fmla="*/ 27451 w 35346"/>
                  <a:gd name="connsiteY68" fmla="*/ 49999 h 51852"/>
                  <a:gd name="connsiteX69" fmla="*/ 27391 w 35346"/>
                  <a:gd name="connsiteY69" fmla="*/ 50059 h 51852"/>
                  <a:gd name="connsiteX70" fmla="*/ 27272 w 35346"/>
                  <a:gd name="connsiteY70" fmla="*/ 50118 h 51852"/>
                  <a:gd name="connsiteX71" fmla="*/ 26375 w 35346"/>
                  <a:gd name="connsiteY71" fmla="*/ 50716 h 51852"/>
                  <a:gd name="connsiteX72" fmla="*/ 26255 w 35346"/>
                  <a:gd name="connsiteY72" fmla="*/ 50776 h 51852"/>
                  <a:gd name="connsiteX73" fmla="*/ 25836 w 35346"/>
                  <a:gd name="connsiteY73" fmla="*/ 51016 h 51852"/>
                  <a:gd name="connsiteX74" fmla="*/ 24581 w 35346"/>
                  <a:gd name="connsiteY74" fmla="*/ 51853 h 51852"/>
                  <a:gd name="connsiteX75" fmla="*/ 24461 w 35346"/>
                  <a:gd name="connsiteY75" fmla="*/ 51793 h 51852"/>
                  <a:gd name="connsiteX76" fmla="*/ 24222 w 35346"/>
                  <a:gd name="connsiteY76" fmla="*/ 51614 h 51852"/>
                  <a:gd name="connsiteX77" fmla="*/ 23863 w 35346"/>
                  <a:gd name="connsiteY77" fmla="*/ 51374 h 5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5346" h="51852">
                    <a:moveTo>
                      <a:pt x="0" y="2452"/>
                    </a:moveTo>
                    <a:lnTo>
                      <a:pt x="299" y="2093"/>
                    </a:lnTo>
                    <a:lnTo>
                      <a:pt x="1256" y="1017"/>
                    </a:lnTo>
                    <a:lnTo>
                      <a:pt x="2213" y="0"/>
                    </a:lnTo>
                    <a:lnTo>
                      <a:pt x="2631" y="239"/>
                    </a:lnTo>
                    <a:lnTo>
                      <a:pt x="5861" y="2392"/>
                    </a:lnTo>
                    <a:lnTo>
                      <a:pt x="7177" y="3289"/>
                    </a:lnTo>
                    <a:lnTo>
                      <a:pt x="7177" y="3289"/>
                    </a:lnTo>
                    <a:lnTo>
                      <a:pt x="8553" y="4246"/>
                    </a:lnTo>
                    <a:lnTo>
                      <a:pt x="8672" y="4306"/>
                    </a:lnTo>
                    <a:lnTo>
                      <a:pt x="9689" y="5024"/>
                    </a:lnTo>
                    <a:lnTo>
                      <a:pt x="10526" y="5622"/>
                    </a:lnTo>
                    <a:lnTo>
                      <a:pt x="11483" y="6280"/>
                    </a:lnTo>
                    <a:lnTo>
                      <a:pt x="11842" y="6519"/>
                    </a:lnTo>
                    <a:lnTo>
                      <a:pt x="12619" y="7237"/>
                    </a:lnTo>
                    <a:lnTo>
                      <a:pt x="12679" y="7296"/>
                    </a:lnTo>
                    <a:lnTo>
                      <a:pt x="13756" y="8253"/>
                    </a:lnTo>
                    <a:lnTo>
                      <a:pt x="13875" y="8313"/>
                    </a:lnTo>
                    <a:lnTo>
                      <a:pt x="15310" y="9569"/>
                    </a:lnTo>
                    <a:lnTo>
                      <a:pt x="16148" y="10287"/>
                    </a:lnTo>
                    <a:lnTo>
                      <a:pt x="18062" y="11961"/>
                    </a:lnTo>
                    <a:lnTo>
                      <a:pt x="19975" y="13636"/>
                    </a:lnTo>
                    <a:lnTo>
                      <a:pt x="21112" y="14653"/>
                    </a:lnTo>
                    <a:lnTo>
                      <a:pt x="21471" y="15071"/>
                    </a:lnTo>
                    <a:lnTo>
                      <a:pt x="22846" y="16746"/>
                    </a:lnTo>
                    <a:lnTo>
                      <a:pt x="23624" y="17703"/>
                    </a:lnTo>
                    <a:lnTo>
                      <a:pt x="26196" y="20873"/>
                    </a:lnTo>
                    <a:lnTo>
                      <a:pt x="26375" y="21112"/>
                    </a:lnTo>
                    <a:lnTo>
                      <a:pt x="29724" y="26375"/>
                    </a:lnTo>
                    <a:lnTo>
                      <a:pt x="29724" y="26435"/>
                    </a:lnTo>
                    <a:lnTo>
                      <a:pt x="30143" y="27093"/>
                    </a:lnTo>
                    <a:lnTo>
                      <a:pt x="30980" y="28349"/>
                    </a:lnTo>
                    <a:lnTo>
                      <a:pt x="31159" y="28648"/>
                    </a:lnTo>
                    <a:lnTo>
                      <a:pt x="31459" y="29126"/>
                    </a:lnTo>
                    <a:lnTo>
                      <a:pt x="33252" y="32774"/>
                    </a:lnTo>
                    <a:lnTo>
                      <a:pt x="34150" y="34569"/>
                    </a:lnTo>
                    <a:lnTo>
                      <a:pt x="34329" y="34927"/>
                    </a:lnTo>
                    <a:lnTo>
                      <a:pt x="34449" y="35167"/>
                    </a:lnTo>
                    <a:lnTo>
                      <a:pt x="34629" y="35645"/>
                    </a:lnTo>
                    <a:lnTo>
                      <a:pt x="34748" y="35944"/>
                    </a:lnTo>
                    <a:lnTo>
                      <a:pt x="34748" y="35944"/>
                    </a:lnTo>
                    <a:lnTo>
                      <a:pt x="34807" y="36124"/>
                    </a:lnTo>
                    <a:lnTo>
                      <a:pt x="35227" y="37260"/>
                    </a:lnTo>
                    <a:lnTo>
                      <a:pt x="35346" y="37559"/>
                    </a:lnTo>
                    <a:lnTo>
                      <a:pt x="35047" y="38097"/>
                    </a:lnTo>
                    <a:lnTo>
                      <a:pt x="35047" y="38097"/>
                    </a:lnTo>
                    <a:lnTo>
                      <a:pt x="34927" y="38336"/>
                    </a:lnTo>
                    <a:lnTo>
                      <a:pt x="34748" y="38695"/>
                    </a:lnTo>
                    <a:lnTo>
                      <a:pt x="34629" y="38934"/>
                    </a:lnTo>
                    <a:lnTo>
                      <a:pt x="34629" y="38934"/>
                    </a:lnTo>
                    <a:lnTo>
                      <a:pt x="34329" y="39473"/>
                    </a:lnTo>
                    <a:lnTo>
                      <a:pt x="33971" y="40071"/>
                    </a:lnTo>
                    <a:lnTo>
                      <a:pt x="33851" y="40250"/>
                    </a:lnTo>
                    <a:lnTo>
                      <a:pt x="33851" y="40250"/>
                    </a:lnTo>
                    <a:lnTo>
                      <a:pt x="33791" y="40310"/>
                    </a:lnTo>
                    <a:lnTo>
                      <a:pt x="33671" y="40490"/>
                    </a:lnTo>
                    <a:lnTo>
                      <a:pt x="33552" y="40729"/>
                    </a:lnTo>
                    <a:lnTo>
                      <a:pt x="33074" y="41566"/>
                    </a:lnTo>
                    <a:lnTo>
                      <a:pt x="32296" y="42942"/>
                    </a:lnTo>
                    <a:lnTo>
                      <a:pt x="32116" y="43300"/>
                    </a:lnTo>
                    <a:lnTo>
                      <a:pt x="32116" y="43300"/>
                    </a:lnTo>
                    <a:lnTo>
                      <a:pt x="31698" y="44018"/>
                    </a:lnTo>
                    <a:lnTo>
                      <a:pt x="30681" y="45752"/>
                    </a:lnTo>
                    <a:lnTo>
                      <a:pt x="29664" y="47487"/>
                    </a:lnTo>
                    <a:lnTo>
                      <a:pt x="28946" y="48743"/>
                    </a:lnTo>
                    <a:lnTo>
                      <a:pt x="28767" y="49102"/>
                    </a:lnTo>
                    <a:lnTo>
                      <a:pt x="28349" y="49401"/>
                    </a:lnTo>
                    <a:lnTo>
                      <a:pt x="28229" y="49461"/>
                    </a:lnTo>
                    <a:lnTo>
                      <a:pt x="27451" y="49999"/>
                    </a:lnTo>
                    <a:lnTo>
                      <a:pt x="27391" y="50059"/>
                    </a:lnTo>
                    <a:lnTo>
                      <a:pt x="27272" y="50118"/>
                    </a:lnTo>
                    <a:lnTo>
                      <a:pt x="26375" y="50716"/>
                    </a:lnTo>
                    <a:lnTo>
                      <a:pt x="26255" y="50776"/>
                    </a:lnTo>
                    <a:lnTo>
                      <a:pt x="25836" y="51016"/>
                    </a:lnTo>
                    <a:lnTo>
                      <a:pt x="24581" y="51853"/>
                    </a:lnTo>
                    <a:lnTo>
                      <a:pt x="24461" y="51793"/>
                    </a:lnTo>
                    <a:lnTo>
                      <a:pt x="24222" y="51614"/>
                    </a:lnTo>
                    <a:lnTo>
                      <a:pt x="23863" y="51374"/>
                    </a:lnTo>
                  </a:path>
                </a:pathLst>
              </a:custGeom>
              <a:noFill/>
              <a:ln w="6350" cap="rnd">
                <a:solidFill>
                  <a:schemeClr val="bg1">
                    <a:alpha val="80000"/>
                  </a:schemeClr>
                </a:solidFill>
                <a:prstDash val="solid"/>
                <a:round/>
              </a:ln>
            </p:spPr>
            <p:txBody>
              <a:bodyPr rtlCol="0" anchor="ctr"/>
              <a:lstStyle/>
              <a:p>
                <a:endParaRPr lang="en-GB"/>
              </a:p>
            </p:txBody>
          </p:sp>
          <p:sp>
            <p:nvSpPr>
              <p:cNvPr id="6682" name="Vrije vorm: vorm 6681">
                <a:extLst>
                  <a:ext uri="{FF2B5EF4-FFF2-40B4-BE49-F238E27FC236}">
                    <a16:creationId xmlns:a16="http://schemas.microsoft.com/office/drawing/2014/main" id="{7E91F361-32E6-4C9B-BDF8-A57BE25C01B1}"/>
                  </a:ext>
                </a:extLst>
              </p:cNvPr>
              <p:cNvSpPr/>
              <p:nvPr/>
            </p:nvSpPr>
            <p:spPr>
              <a:xfrm>
                <a:off x="6939691" y="2067037"/>
                <a:ext cx="6279" cy="4246"/>
              </a:xfrm>
              <a:custGeom>
                <a:avLst/>
                <a:gdLst>
                  <a:gd name="connsiteX0" fmla="*/ 6279 w 6279"/>
                  <a:gd name="connsiteY0" fmla="*/ 3289 h 4246"/>
                  <a:gd name="connsiteX1" fmla="*/ 4306 w 6279"/>
                  <a:gd name="connsiteY1" fmla="*/ 3947 h 4246"/>
                  <a:gd name="connsiteX2" fmla="*/ 3409 w 6279"/>
                  <a:gd name="connsiteY2" fmla="*/ 4246 h 4246"/>
                  <a:gd name="connsiteX3" fmla="*/ 2990 w 6279"/>
                  <a:gd name="connsiteY3" fmla="*/ 4186 h 4246"/>
                  <a:gd name="connsiteX4" fmla="*/ 837 w 6279"/>
                  <a:gd name="connsiteY4" fmla="*/ 3708 h 4246"/>
                  <a:gd name="connsiteX5" fmla="*/ 0 w 6279"/>
                  <a:gd name="connsiteY5" fmla="*/ 0 h 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 h="4246">
                    <a:moveTo>
                      <a:pt x="6279" y="3289"/>
                    </a:moveTo>
                    <a:lnTo>
                      <a:pt x="4306" y="3947"/>
                    </a:lnTo>
                    <a:lnTo>
                      <a:pt x="3409" y="4246"/>
                    </a:lnTo>
                    <a:lnTo>
                      <a:pt x="2990" y="4186"/>
                    </a:lnTo>
                    <a:lnTo>
                      <a:pt x="837" y="370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83" name="Vrije vorm: vorm 6682">
                <a:extLst>
                  <a:ext uri="{FF2B5EF4-FFF2-40B4-BE49-F238E27FC236}">
                    <a16:creationId xmlns:a16="http://schemas.microsoft.com/office/drawing/2014/main" id="{BEBBF427-A83B-47D6-836B-A7DD8D0F5B10}"/>
                  </a:ext>
                </a:extLst>
              </p:cNvPr>
              <p:cNvSpPr/>
              <p:nvPr/>
            </p:nvSpPr>
            <p:spPr>
              <a:xfrm>
                <a:off x="6845195" y="1799699"/>
                <a:ext cx="1435" cy="239"/>
              </a:xfrm>
              <a:custGeom>
                <a:avLst/>
                <a:gdLst>
                  <a:gd name="connsiteX0" fmla="*/ 0 w 1435"/>
                  <a:gd name="connsiteY0" fmla="*/ 239 h 239"/>
                  <a:gd name="connsiteX1" fmla="*/ 1435 w 1435"/>
                  <a:gd name="connsiteY1" fmla="*/ 0 h 239"/>
                </a:gdLst>
                <a:ahLst/>
                <a:cxnLst>
                  <a:cxn ang="0">
                    <a:pos x="connsiteX0" y="connsiteY0"/>
                  </a:cxn>
                  <a:cxn ang="0">
                    <a:pos x="connsiteX1" y="connsiteY1"/>
                  </a:cxn>
                </a:cxnLst>
                <a:rect l="l" t="t" r="r" b="b"/>
                <a:pathLst>
                  <a:path w="1435" h="239">
                    <a:moveTo>
                      <a:pt x="0" y="239"/>
                    </a:moveTo>
                    <a:lnTo>
                      <a:pt x="1435" y="0"/>
                    </a:lnTo>
                  </a:path>
                </a:pathLst>
              </a:custGeom>
              <a:noFill/>
              <a:ln w="6350" cap="rnd">
                <a:solidFill>
                  <a:schemeClr val="bg1">
                    <a:alpha val="80000"/>
                  </a:schemeClr>
                </a:solidFill>
                <a:prstDash val="solid"/>
                <a:round/>
              </a:ln>
            </p:spPr>
            <p:txBody>
              <a:bodyPr rtlCol="0" anchor="ctr"/>
              <a:lstStyle/>
              <a:p>
                <a:endParaRPr lang="en-GB"/>
              </a:p>
            </p:txBody>
          </p:sp>
          <p:sp>
            <p:nvSpPr>
              <p:cNvPr id="6684" name="Vrije vorm: vorm 6683">
                <a:extLst>
                  <a:ext uri="{FF2B5EF4-FFF2-40B4-BE49-F238E27FC236}">
                    <a16:creationId xmlns:a16="http://schemas.microsoft.com/office/drawing/2014/main" id="{60BA51FA-4868-415F-8020-4EEF09044BAE}"/>
                  </a:ext>
                </a:extLst>
              </p:cNvPr>
              <p:cNvSpPr/>
              <p:nvPr/>
            </p:nvSpPr>
            <p:spPr>
              <a:xfrm>
                <a:off x="6767505" y="1995687"/>
                <a:ext cx="11483" cy="8014"/>
              </a:xfrm>
              <a:custGeom>
                <a:avLst/>
                <a:gdLst>
                  <a:gd name="connsiteX0" fmla="*/ 11483 w 11483"/>
                  <a:gd name="connsiteY0" fmla="*/ 5861 h 8014"/>
                  <a:gd name="connsiteX1" fmla="*/ 10287 w 11483"/>
                  <a:gd name="connsiteY1" fmla="*/ 6998 h 8014"/>
                  <a:gd name="connsiteX2" fmla="*/ 9151 w 11483"/>
                  <a:gd name="connsiteY2" fmla="*/ 8014 h 8014"/>
                  <a:gd name="connsiteX3" fmla="*/ 7596 w 11483"/>
                  <a:gd name="connsiteY3" fmla="*/ 6998 h 8014"/>
                  <a:gd name="connsiteX4" fmla="*/ 120 w 11483"/>
                  <a:gd name="connsiteY4" fmla="*/ 120 h 8014"/>
                  <a:gd name="connsiteX5" fmla="*/ 0 w 11483"/>
                  <a:gd name="connsiteY5" fmla="*/ 0 h 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3" h="8014">
                    <a:moveTo>
                      <a:pt x="11483" y="5861"/>
                    </a:moveTo>
                    <a:lnTo>
                      <a:pt x="10287" y="6998"/>
                    </a:lnTo>
                    <a:lnTo>
                      <a:pt x="9151" y="8014"/>
                    </a:lnTo>
                    <a:lnTo>
                      <a:pt x="7596" y="6998"/>
                    </a:lnTo>
                    <a:lnTo>
                      <a:pt x="120"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85" name="Vrije vorm: vorm 6684">
                <a:extLst>
                  <a:ext uri="{FF2B5EF4-FFF2-40B4-BE49-F238E27FC236}">
                    <a16:creationId xmlns:a16="http://schemas.microsoft.com/office/drawing/2014/main" id="{CC662495-1C19-4370-8B36-42A2BF94ABD4}"/>
                  </a:ext>
                </a:extLst>
              </p:cNvPr>
              <p:cNvSpPr/>
              <p:nvPr/>
            </p:nvSpPr>
            <p:spPr>
              <a:xfrm>
                <a:off x="6721633" y="1900056"/>
                <a:ext cx="19317" cy="27152"/>
              </a:xfrm>
              <a:custGeom>
                <a:avLst/>
                <a:gdLst>
                  <a:gd name="connsiteX0" fmla="*/ 2153 w 19317"/>
                  <a:gd name="connsiteY0" fmla="*/ 27152 h 27152"/>
                  <a:gd name="connsiteX1" fmla="*/ 2034 w 19317"/>
                  <a:gd name="connsiteY1" fmla="*/ 27093 h 27152"/>
                  <a:gd name="connsiteX2" fmla="*/ 1854 w 19317"/>
                  <a:gd name="connsiteY2" fmla="*/ 26853 h 27152"/>
                  <a:gd name="connsiteX3" fmla="*/ 359 w 19317"/>
                  <a:gd name="connsiteY3" fmla="*/ 25059 h 27152"/>
                  <a:gd name="connsiteX4" fmla="*/ 0 w 19317"/>
                  <a:gd name="connsiteY4" fmla="*/ 24581 h 27152"/>
                  <a:gd name="connsiteX5" fmla="*/ 60 w 19317"/>
                  <a:gd name="connsiteY5" fmla="*/ 24521 h 27152"/>
                  <a:gd name="connsiteX6" fmla="*/ 60 w 19317"/>
                  <a:gd name="connsiteY6" fmla="*/ 24461 h 27152"/>
                  <a:gd name="connsiteX7" fmla="*/ 419 w 19317"/>
                  <a:gd name="connsiteY7" fmla="*/ 23983 h 27152"/>
                  <a:gd name="connsiteX8" fmla="*/ 598 w 19317"/>
                  <a:gd name="connsiteY8" fmla="*/ 23743 h 27152"/>
                  <a:gd name="connsiteX9" fmla="*/ 718 w 19317"/>
                  <a:gd name="connsiteY9" fmla="*/ 23564 h 27152"/>
                  <a:gd name="connsiteX10" fmla="*/ 1854 w 19317"/>
                  <a:gd name="connsiteY10" fmla="*/ 22129 h 27152"/>
                  <a:gd name="connsiteX11" fmla="*/ 1914 w 19317"/>
                  <a:gd name="connsiteY11" fmla="*/ 22009 h 27152"/>
                  <a:gd name="connsiteX12" fmla="*/ 2273 w 19317"/>
                  <a:gd name="connsiteY12" fmla="*/ 21590 h 27152"/>
                  <a:gd name="connsiteX13" fmla="*/ 2572 w 19317"/>
                  <a:gd name="connsiteY13" fmla="*/ 21232 h 27152"/>
                  <a:gd name="connsiteX14" fmla="*/ 2811 w 19317"/>
                  <a:gd name="connsiteY14" fmla="*/ 20933 h 27152"/>
                  <a:gd name="connsiteX15" fmla="*/ 3648 w 19317"/>
                  <a:gd name="connsiteY15" fmla="*/ 19856 h 27152"/>
                  <a:gd name="connsiteX16" fmla="*/ 6220 w 19317"/>
                  <a:gd name="connsiteY16" fmla="*/ 16567 h 27152"/>
                  <a:gd name="connsiteX17" fmla="*/ 8194 w 19317"/>
                  <a:gd name="connsiteY17" fmla="*/ 14055 h 27152"/>
                  <a:gd name="connsiteX18" fmla="*/ 8433 w 19317"/>
                  <a:gd name="connsiteY18" fmla="*/ 13756 h 27152"/>
                  <a:gd name="connsiteX19" fmla="*/ 8493 w 19317"/>
                  <a:gd name="connsiteY19" fmla="*/ 13696 h 27152"/>
                  <a:gd name="connsiteX20" fmla="*/ 8971 w 19317"/>
                  <a:gd name="connsiteY20" fmla="*/ 13038 h 27152"/>
                  <a:gd name="connsiteX21" fmla="*/ 9270 w 19317"/>
                  <a:gd name="connsiteY21" fmla="*/ 12679 h 27152"/>
                  <a:gd name="connsiteX22" fmla="*/ 9689 w 19317"/>
                  <a:gd name="connsiteY22" fmla="*/ 12141 h 27152"/>
                  <a:gd name="connsiteX23" fmla="*/ 9808 w 19317"/>
                  <a:gd name="connsiteY23" fmla="*/ 12021 h 27152"/>
                  <a:gd name="connsiteX24" fmla="*/ 9868 w 19317"/>
                  <a:gd name="connsiteY24" fmla="*/ 11961 h 27152"/>
                  <a:gd name="connsiteX25" fmla="*/ 10646 w 19317"/>
                  <a:gd name="connsiteY25" fmla="*/ 11005 h 27152"/>
                  <a:gd name="connsiteX26" fmla="*/ 11902 w 19317"/>
                  <a:gd name="connsiteY26" fmla="*/ 9450 h 27152"/>
                  <a:gd name="connsiteX27" fmla="*/ 12380 w 19317"/>
                  <a:gd name="connsiteY27" fmla="*/ 8851 h 27152"/>
                  <a:gd name="connsiteX28" fmla="*/ 13277 w 19317"/>
                  <a:gd name="connsiteY28" fmla="*/ 7715 h 27152"/>
                  <a:gd name="connsiteX29" fmla="*/ 16985 w 19317"/>
                  <a:gd name="connsiteY29" fmla="*/ 2930 h 27152"/>
                  <a:gd name="connsiteX30" fmla="*/ 18780 w 19317"/>
                  <a:gd name="connsiteY30" fmla="*/ 658 h 27152"/>
                  <a:gd name="connsiteX31" fmla="*/ 19318 w 19317"/>
                  <a:gd name="connsiteY31" fmla="*/ 0 h 2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317" h="27152">
                    <a:moveTo>
                      <a:pt x="2153" y="27152"/>
                    </a:moveTo>
                    <a:lnTo>
                      <a:pt x="2034" y="27093"/>
                    </a:lnTo>
                    <a:lnTo>
                      <a:pt x="1854" y="26853"/>
                    </a:lnTo>
                    <a:lnTo>
                      <a:pt x="359" y="25059"/>
                    </a:lnTo>
                    <a:lnTo>
                      <a:pt x="0" y="24581"/>
                    </a:lnTo>
                    <a:lnTo>
                      <a:pt x="60" y="24521"/>
                    </a:lnTo>
                    <a:lnTo>
                      <a:pt x="60" y="24461"/>
                    </a:lnTo>
                    <a:lnTo>
                      <a:pt x="419" y="23983"/>
                    </a:lnTo>
                    <a:lnTo>
                      <a:pt x="598" y="23743"/>
                    </a:lnTo>
                    <a:lnTo>
                      <a:pt x="718" y="23564"/>
                    </a:lnTo>
                    <a:lnTo>
                      <a:pt x="1854" y="22129"/>
                    </a:lnTo>
                    <a:lnTo>
                      <a:pt x="1914" y="22009"/>
                    </a:lnTo>
                    <a:lnTo>
                      <a:pt x="2273" y="21590"/>
                    </a:lnTo>
                    <a:lnTo>
                      <a:pt x="2572" y="21232"/>
                    </a:lnTo>
                    <a:lnTo>
                      <a:pt x="2811" y="20933"/>
                    </a:lnTo>
                    <a:lnTo>
                      <a:pt x="3648" y="19856"/>
                    </a:lnTo>
                    <a:lnTo>
                      <a:pt x="6220" y="16567"/>
                    </a:lnTo>
                    <a:lnTo>
                      <a:pt x="8194" y="14055"/>
                    </a:lnTo>
                    <a:lnTo>
                      <a:pt x="8433" y="13756"/>
                    </a:lnTo>
                    <a:lnTo>
                      <a:pt x="8493" y="13696"/>
                    </a:lnTo>
                    <a:lnTo>
                      <a:pt x="8971" y="13038"/>
                    </a:lnTo>
                    <a:lnTo>
                      <a:pt x="9270" y="12679"/>
                    </a:lnTo>
                    <a:lnTo>
                      <a:pt x="9689" y="12141"/>
                    </a:lnTo>
                    <a:lnTo>
                      <a:pt x="9808" y="12021"/>
                    </a:lnTo>
                    <a:lnTo>
                      <a:pt x="9868" y="11961"/>
                    </a:lnTo>
                    <a:lnTo>
                      <a:pt x="10646" y="11005"/>
                    </a:lnTo>
                    <a:lnTo>
                      <a:pt x="11902" y="9450"/>
                    </a:lnTo>
                    <a:lnTo>
                      <a:pt x="12380" y="8851"/>
                    </a:lnTo>
                    <a:lnTo>
                      <a:pt x="13277" y="7715"/>
                    </a:lnTo>
                    <a:lnTo>
                      <a:pt x="16985" y="2930"/>
                    </a:lnTo>
                    <a:lnTo>
                      <a:pt x="18780" y="658"/>
                    </a:lnTo>
                    <a:lnTo>
                      <a:pt x="19318" y="0"/>
                    </a:lnTo>
                  </a:path>
                </a:pathLst>
              </a:custGeom>
              <a:noFill/>
              <a:ln w="6350" cap="rnd">
                <a:solidFill>
                  <a:schemeClr val="bg1">
                    <a:alpha val="80000"/>
                  </a:schemeClr>
                </a:solidFill>
                <a:prstDash val="solid"/>
                <a:round/>
              </a:ln>
            </p:spPr>
            <p:txBody>
              <a:bodyPr rtlCol="0" anchor="ctr"/>
              <a:lstStyle/>
              <a:p>
                <a:endParaRPr lang="en-GB"/>
              </a:p>
            </p:txBody>
          </p:sp>
          <p:sp>
            <p:nvSpPr>
              <p:cNvPr id="6686" name="Vrije vorm: vorm 6685">
                <a:extLst>
                  <a:ext uri="{FF2B5EF4-FFF2-40B4-BE49-F238E27FC236}">
                    <a16:creationId xmlns:a16="http://schemas.microsoft.com/office/drawing/2014/main" id="{F5BBFF4A-0298-4638-8F36-7DDDC09D2541}"/>
                  </a:ext>
                </a:extLst>
              </p:cNvPr>
              <p:cNvSpPr/>
              <p:nvPr/>
            </p:nvSpPr>
            <p:spPr>
              <a:xfrm>
                <a:off x="6880481" y="2010220"/>
                <a:ext cx="4186" cy="2511"/>
              </a:xfrm>
              <a:custGeom>
                <a:avLst/>
                <a:gdLst>
                  <a:gd name="connsiteX0" fmla="*/ 4186 w 4186"/>
                  <a:gd name="connsiteY0" fmla="*/ 2512 h 2511"/>
                  <a:gd name="connsiteX1" fmla="*/ 3648 w 4186"/>
                  <a:gd name="connsiteY1" fmla="*/ 2093 h 2511"/>
                  <a:gd name="connsiteX2" fmla="*/ 3170 w 4186"/>
                  <a:gd name="connsiteY2" fmla="*/ 1734 h 2511"/>
                  <a:gd name="connsiteX3" fmla="*/ 1615 w 4186"/>
                  <a:gd name="connsiteY3" fmla="*/ 658 h 2511"/>
                  <a:gd name="connsiteX4" fmla="*/ 0 w 4186"/>
                  <a:gd name="connsiteY4" fmla="*/ 0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6" h="2511">
                    <a:moveTo>
                      <a:pt x="4186" y="2512"/>
                    </a:moveTo>
                    <a:lnTo>
                      <a:pt x="3648" y="2093"/>
                    </a:lnTo>
                    <a:lnTo>
                      <a:pt x="3170" y="1734"/>
                    </a:lnTo>
                    <a:lnTo>
                      <a:pt x="1615" y="65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87" name="Vrije vorm: vorm 6686">
                <a:extLst>
                  <a:ext uri="{FF2B5EF4-FFF2-40B4-BE49-F238E27FC236}">
                    <a16:creationId xmlns:a16="http://schemas.microsoft.com/office/drawing/2014/main" id="{6F016F08-2F47-4ACE-9711-3AE1E0159678}"/>
                  </a:ext>
                </a:extLst>
              </p:cNvPr>
              <p:cNvSpPr/>
              <p:nvPr/>
            </p:nvSpPr>
            <p:spPr>
              <a:xfrm>
                <a:off x="6937657" y="1716507"/>
                <a:ext cx="9030" cy="9389"/>
              </a:xfrm>
              <a:custGeom>
                <a:avLst/>
                <a:gdLst>
                  <a:gd name="connsiteX0" fmla="*/ 0 w 9030"/>
                  <a:gd name="connsiteY0" fmla="*/ 5442 h 9389"/>
                  <a:gd name="connsiteX1" fmla="*/ 119 w 9030"/>
                  <a:gd name="connsiteY1" fmla="*/ 5024 h 9389"/>
                  <a:gd name="connsiteX2" fmla="*/ 119 w 9030"/>
                  <a:gd name="connsiteY2" fmla="*/ 4964 h 9389"/>
                  <a:gd name="connsiteX3" fmla="*/ 179 w 9030"/>
                  <a:gd name="connsiteY3" fmla="*/ 4785 h 9389"/>
                  <a:gd name="connsiteX4" fmla="*/ 179 w 9030"/>
                  <a:gd name="connsiteY4" fmla="*/ 4785 h 9389"/>
                  <a:gd name="connsiteX5" fmla="*/ 179 w 9030"/>
                  <a:gd name="connsiteY5" fmla="*/ 4725 h 9389"/>
                  <a:gd name="connsiteX6" fmla="*/ 239 w 9030"/>
                  <a:gd name="connsiteY6" fmla="*/ 4426 h 9389"/>
                  <a:gd name="connsiteX7" fmla="*/ 418 w 9030"/>
                  <a:gd name="connsiteY7" fmla="*/ 3648 h 9389"/>
                  <a:gd name="connsiteX8" fmla="*/ 598 w 9030"/>
                  <a:gd name="connsiteY8" fmla="*/ 2871 h 9389"/>
                  <a:gd name="connsiteX9" fmla="*/ 658 w 9030"/>
                  <a:gd name="connsiteY9" fmla="*/ 2632 h 9389"/>
                  <a:gd name="connsiteX10" fmla="*/ 658 w 9030"/>
                  <a:gd name="connsiteY10" fmla="*/ 2512 h 9389"/>
                  <a:gd name="connsiteX11" fmla="*/ 2811 w 9030"/>
                  <a:gd name="connsiteY11" fmla="*/ 478 h 9389"/>
                  <a:gd name="connsiteX12" fmla="*/ 5622 w 9030"/>
                  <a:gd name="connsiteY12" fmla="*/ 0 h 9389"/>
                  <a:gd name="connsiteX13" fmla="*/ 8014 w 9030"/>
                  <a:gd name="connsiteY13" fmla="*/ 1316 h 9389"/>
                  <a:gd name="connsiteX14" fmla="*/ 9031 w 9030"/>
                  <a:gd name="connsiteY14" fmla="*/ 3887 h 9389"/>
                  <a:gd name="connsiteX15" fmla="*/ 8672 w 9030"/>
                  <a:gd name="connsiteY15" fmla="*/ 5502 h 9389"/>
                  <a:gd name="connsiteX16" fmla="*/ 8612 w 9030"/>
                  <a:gd name="connsiteY16" fmla="*/ 5861 h 9389"/>
                  <a:gd name="connsiteX17" fmla="*/ 8612 w 9030"/>
                  <a:gd name="connsiteY17" fmla="*/ 5981 h 9389"/>
                  <a:gd name="connsiteX18" fmla="*/ 8432 w 9030"/>
                  <a:gd name="connsiteY18" fmla="*/ 6818 h 9389"/>
                  <a:gd name="connsiteX19" fmla="*/ 8194 w 9030"/>
                  <a:gd name="connsiteY19" fmla="*/ 7057 h 9389"/>
                  <a:gd name="connsiteX20" fmla="*/ 7894 w 9030"/>
                  <a:gd name="connsiteY20" fmla="*/ 7296 h 9389"/>
                  <a:gd name="connsiteX21" fmla="*/ 7894 w 9030"/>
                  <a:gd name="connsiteY21" fmla="*/ 7296 h 9389"/>
                  <a:gd name="connsiteX22" fmla="*/ 7476 w 9030"/>
                  <a:gd name="connsiteY22" fmla="*/ 7715 h 9389"/>
                  <a:gd name="connsiteX23" fmla="*/ 7296 w 9030"/>
                  <a:gd name="connsiteY23" fmla="*/ 7895 h 9389"/>
                  <a:gd name="connsiteX24" fmla="*/ 7236 w 9030"/>
                  <a:gd name="connsiteY24" fmla="*/ 7954 h 9389"/>
                  <a:gd name="connsiteX25" fmla="*/ 6758 w 9030"/>
                  <a:gd name="connsiteY25" fmla="*/ 8433 h 9389"/>
                  <a:gd name="connsiteX26" fmla="*/ 6698 w 9030"/>
                  <a:gd name="connsiteY26" fmla="*/ 8493 h 9389"/>
                  <a:gd name="connsiteX27" fmla="*/ 6639 w 9030"/>
                  <a:gd name="connsiteY27" fmla="*/ 8552 h 9389"/>
                  <a:gd name="connsiteX28" fmla="*/ 6639 w 9030"/>
                  <a:gd name="connsiteY28" fmla="*/ 8552 h 9389"/>
                  <a:gd name="connsiteX29" fmla="*/ 6459 w 9030"/>
                  <a:gd name="connsiteY29" fmla="*/ 8732 h 9389"/>
                  <a:gd name="connsiteX30" fmla="*/ 6339 w 9030"/>
                  <a:gd name="connsiteY30" fmla="*/ 8851 h 9389"/>
                  <a:gd name="connsiteX31" fmla="*/ 5741 w 9030"/>
                  <a:gd name="connsiteY31" fmla="*/ 8971 h 9389"/>
                  <a:gd name="connsiteX32" fmla="*/ 5741 w 9030"/>
                  <a:gd name="connsiteY32" fmla="*/ 8971 h 9389"/>
                  <a:gd name="connsiteX33" fmla="*/ 4426 w 9030"/>
                  <a:gd name="connsiteY33" fmla="*/ 9210 h 9389"/>
                  <a:gd name="connsiteX34" fmla="*/ 3827 w 9030"/>
                  <a:gd name="connsiteY34" fmla="*/ 9330 h 9389"/>
                  <a:gd name="connsiteX35" fmla="*/ 3588 w 9030"/>
                  <a:gd name="connsiteY35" fmla="*/ 9390 h 9389"/>
                  <a:gd name="connsiteX36" fmla="*/ 2392 w 9030"/>
                  <a:gd name="connsiteY36" fmla="*/ 8732 h 9389"/>
                  <a:gd name="connsiteX37" fmla="*/ 1196 w 9030"/>
                  <a:gd name="connsiteY37" fmla="*/ 8074 h 9389"/>
                  <a:gd name="connsiteX38" fmla="*/ 897 w 9030"/>
                  <a:gd name="connsiteY38" fmla="*/ 7296 h 9389"/>
                  <a:gd name="connsiteX39" fmla="*/ 837 w 9030"/>
                  <a:gd name="connsiteY39" fmla="*/ 7117 h 9389"/>
                  <a:gd name="connsiteX40" fmla="*/ 538 w 9030"/>
                  <a:gd name="connsiteY40" fmla="*/ 6399 h 9389"/>
                  <a:gd name="connsiteX41" fmla="*/ 418 w 9030"/>
                  <a:gd name="connsiteY41" fmla="*/ 6160 h 9389"/>
                  <a:gd name="connsiteX42" fmla="*/ 0 w 9030"/>
                  <a:gd name="connsiteY42" fmla="*/ 5442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030" h="9389">
                    <a:moveTo>
                      <a:pt x="0" y="5442"/>
                    </a:moveTo>
                    <a:lnTo>
                      <a:pt x="119" y="5024"/>
                    </a:lnTo>
                    <a:lnTo>
                      <a:pt x="119" y="4964"/>
                    </a:lnTo>
                    <a:lnTo>
                      <a:pt x="179" y="4785"/>
                    </a:lnTo>
                    <a:lnTo>
                      <a:pt x="179" y="4785"/>
                    </a:lnTo>
                    <a:lnTo>
                      <a:pt x="179" y="4725"/>
                    </a:lnTo>
                    <a:lnTo>
                      <a:pt x="239" y="4426"/>
                    </a:lnTo>
                    <a:lnTo>
                      <a:pt x="418" y="3648"/>
                    </a:lnTo>
                    <a:lnTo>
                      <a:pt x="598" y="2871"/>
                    </a:lnTo>
                    <a:lnTo>
                      <a:pt x="658" y="2632"/>
                    </a:lnTo>
                    <a:lnTo>
                      <a:pt x="658" y="2512"/>
                    </a:lnTo>
                    <a:lnTo>
                      <a:pt x="2811" y="478"/>
                    </a:lnTo>
                    <a:lnTo>
                      <a:pt x="5622" y="0"/>
                    </a:lnTo>
                    <a:lnTo>
                      <a:pt x="8014" y="1316"/>
                    </a:lnTo>
                    <a:lnTo>
                      <a:pt x="9031" y="3887"/>
                    </a:lnTo>
                    <a:lnTo>
                      <a:pt x="8672" y="5502"/>
                    </a:lnTo>
                    <a:lnTo>
                      <a:pt x="8612" y="5861"/>
                    </a:lnTo>
                    <a:lnTo>
                      <a:pt x="8612" y="5981"/>
                    </a:lnTo>
                    <a:lnTo>
                      <a:pt x="8432" y="6818"/>
                    </a:lnTo>
                    <a:lnTo>
                      <a:pt x="8194" y="7057"/>
                    </a:lnTo>
                    <a:lnTo>
                      <a:pt x="7894" y="7296"/>
                    </a:lnTo>
                    <a:lnTo>
                      <a:pt x="7894" y="7296"/>
                    </a:lnTo>
                    <a:lnTo>
                      <a:pt x="7476" y="7715"/>
                    </a:lnTo>
                    <a:lnTo>
                      <a:pt x="7296" y="7895"/>
                    </a:lnTo>
                    <a:lnTo>
                      <a:pt x="7236" y="7954"/>
                    </a:lnTo>
                    <a:lnTo>
                      <a:pt x="6758" y="8433"/>
                    </a:lnTo>
                    <a:lnTo>
                      <a:pt x="6698" y="8493"/>
                    </a:lnTo>
                    <a:lnTo>
                      <a:pt x="6639" y="8552"/>
                    </a:lnTo>
                    <a:lnTo>
                      <a:pt x="6639" y="8552"/>
                    </a:lnTo>
                    <a:lnTo>
                      <a:pt x="6459" y="8732"/>
                    </a:lnTo>
                    <a:lnTo>
                      <a:pt x="6339" y="8851"/>
                    </a:lnTo>
                    <a:lnTo>
                      <a:pt x="5741" y="8971"/>
                    </a:lnTo>
                    <a:lnTo>
                      <a:pt x="5741" y="8971"/>
                    </a:lnTo>
                    <a:lnTo>
                      <a:pt x="4426" y="9210"/>
                    </a:lnTo>
                    <a:lnTo>
                      <a:pt x="3827" y="9330"/>
                    </a:lnTo>
                    <a:lnTo>
                      <a:pt x="3588" y="9390"/>
                    </a:lnTo>
                    <a:lnTo>
                      <a:pt x="2392" y="8732"/>
                    </a:lnTo>
                    <a:lnTo>
                      <a:pt x="1196" y="8074"/>
                    </a:lnTo>
                    <a:lnTo>
                      <a:pt x="897" y="7296"/>
                    </a:lnTo>
                    <a:lnTo>
                      <a:pt x="837" y="7117"/>
                    </a:lnTo>
                    <a:lnTo>
                      <a:pt x="538" y="6399"/>
                    </a:lnTo>
                    <a:lnTo>
                      <a:pt x="418" y="6160"/>
                    </a:lnTo>
                    <a:lnTo>
                      <a:pt x="0" y="5442"/>
                    </a:lnTo>
                  </a:path>
                </a:pathLst>
              </a:custGeom>
              <a:noFill/>
              <a:ln w="6350" cap="rnd">
                <a:solidFill>
                  <a:schemeClr val="bg1">
                    <a:alpha val="80000"/>
                  </a:schemeClr>
                </a:solidFill>
                <a:prstDash val="solid"/>
                <a:round/>
              </a:ln>
            </p:spPr>
            <p:txBody>
              <a:bodyPr rtlCol="0" anchor="ctr"/>
              <a:lstStyle/>
              <a:p>
                <a:endParaRPr lang="en-GB"/>
              </a:p>
            </p:txBody>
          </p:sp>
          <p:sp>
            <p:nvSpPr>
              <p:cNvPr id="6688" name="Vrije vorm: vorm 6687">
                <a:extLst>
                  <a:ext uri="{FF2B5EF4-FFF2-40B4-BE49-F238E27FC236}">
                    <a16:creationId xmlns:a16="http://schemas.microsoft.com/office/drawing/2014/main" id="{584CB878-FB4F-4798-8C3C-D063598CE067}"/>
                  </a:ext>
                </a:extLst>
              </p:cNvPr>
              <p:cNvSpPr/>
              <p:nvPr/>
            </p:nvSpPr>
            <p:spPr>
              <a:xfrm>
                <a:off x="6663441" y="1886479"/>
                <a:ext cx="8791" cy="2930"/>
              </a:xfrm>
              <a:custGeom>
                <a:avLst/>
                <a:gdLst>
                  <a:gd name="connsiteX0" fmla="*/ 8791 w 8791"/>
                  <a:gd name="connsiteY0" fmla="*/ 2931 h 2930"/>
                  <a:gd name="connsiteX1" fmla="*/ 8433 w 8791"/>
                  <a:gd name="connsiteY1" fmla="*/ 2811 h 2930"/>
                  <a:gd name="connsiteX2" fmla="*/ 4306 w 8791"/>
                  <a:gd name="connsiteY2" fmla="*/ 1196 h 2930"/>
                  <a:gd name="connsiteX3" fmla="*/ 0 w 8791"/>
                  <a:gd name="connsiteY3" fmla="*/ 0 h 2930"/>
                </a:gdLst>
                <a:ahLst/>
                <a:cxnLst>
                  <a:cxn ang="0">
                    <a:pos x="connsiteX0" y="connsiteY0"/>
                  </a:cxn>
                  <a:cxn ang="0">
                    <a:pos x="connsiteX1" y="connsiteY1"/>
                  </a:cxn>
                  <a:cxn ang="0">
                    <a:pos x="connsiteX2" y="connsiteY2"/>
                  </a:cxn>
                  <a:cxn ang="0">
                    <a:pos x="connsiteX3" y="connsiteY3"/>
                  </a:cxn>
                </a:cxnLst>
                <a:rect l="l" t="t" r="r" b="b"/>
                <a:pathLst>
                  <a:path w="8791" h="2930">
                    <a:moveTo>
                      <a:pt x="8791" y="2931"/>
                    </a:moveTo>
                    <a:lnTo>
                      <a:pt x="8433" y="2811"/>
                    </a:lnTo>
                    <a:lnTo>
                      <a:pt x="4306" y="119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689" name="Vrije vorm: vorm 6688">
                <a:extLst>
                  <a:ext uri="{FF2B5EF4-FFF2-40B4-BE49-F238E27FC236}">
                    <a16:creationId xmlns:a16="http://schemas.microsoft.com/office/drawing/2014/main" id="{B772C9A7-4AF6-4202-80A3-86B123A1F8B3}"/>
                  </a:ext>
                </a:extLst>
              </p:cNvPr>
              <p:cNvSpPr/>
              <p:nvPr/>
            </p:nvSpPr>
            <p:spPr>
              <a:xfrm>
                <a:off x="7077487" y="1799639"/>
                <a:ext cx="3767" cy="6937"/>
              </a:xfrm>
              <a:custGeom>
                <a:avLst/>
                <a:gdLst>
                  <a:gd name="connsiteX0" fmla="*/ 0 w 3767"/>
                  <a:gd name="connsiteY0" fmla="*/ 0 h 6937"/>
                  <a:gd name="connsiteX1" fmla="*/ 418 w 3767"/>
                  <a:gd name="connsiteY1" fmla="*/ 718 h 6937"/>
                  <a:gd name="connsiteX2" fmla="*/ 718 w 3767"/>
                  <a:gd name="connsiteY2" fmla="*/ 1256 h 6937"/>
                  <a:gd name="connsiteX3" fmla="*/ 956 w 3767"/>
                  <a:gd name="connsiteY3" fmla="*/ 1675 h 6937"/>
                  <a:gd name="connsiteX4" fmla="*/ 1256 w 3767"/>
                  <a:gd name="connsiteY4" fmla="*/ 2213 h 6937"/>
                  <a:gd name="connsiteX5" fmla="*/ 1375 w 3767"/>
                  <a:gd name="connsiteY5" fmla="*/ 2452 h 6937"/>
                  <a:gd name="connsiteX6" fmla="*/ 1554 w 3767"/>
                  <a:gd name="connsiteY6" fmla="*/ 2751 h 6937"/>
                  <a:gd name="connsiteX7" fmla="*/ 2273 w 3767"/>
                  <a:gd name="connsiteY7" fmla="*/ 4127 h 6937"/>
                  <a:gd name="connsiteX8" fmla="*/ 2332 w 3767"/>
                  <a:gd name="connsiteY8" fmla="*/ 4306 h 6937"/>
                  <a:gd name="connsiteX9" fmla="*/ 2392 w 3767"/>
                  <a:gd name="connsiteY9" fmla="*/ 4366 h 6937"/>
                  <a:gd name="connsiteX10" fmla="*/ 3409 w 3767"/>
                  <a:gd name="connsiteY10" fmla="*/ 6220 h 6937"/>
                  <a:gd name="connsiteX11" fmla="*/ 3768 w 3767"/>
                  <a:gd name="connsiteY11" fmla="*/ 6938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67" h="6937">
                    <a:moveTo>
                      <a:pt x="0" y="0"/>
                    </a:moveTo>
                    <a:lnTo>
                      <a:pt x="418" y="718"/>
                    </a:lnTo>
                    <a:lnTo>
                      <a:pt x="718" y="1256"/>
                    </a:lnTo>
                    <a:lnTo>
                      <a:pt x="956" y="1675"/>
                    </a:lnTo>
                    <a:lnTo>
                      <a:pt x="1256" y="2213"/>
                    </a:lnTo>
                    <a:lnTo>
                      <a:pt x="1375" y="2452"/>
                    </a:lnTo>
                    <a:lnTo>
                      <a:pt x="1554" y="2751"/>
                    </a:lnTo>
                    <a:lnTo>
                      <a:pt x="2273" y="4127"/>
                    </a:lnTo>
                    <a:lnTo>
                      <a:pt x="2332" y="4306"/>
                    </a:lnTo>
                    <a:lnTo>
                      <a:pt x="2392" y="4366"/>
                    </a:lnTo>
                    <a:lnTo>
                      <a:pt x="3409" y="6220"/>
                    </a:lnTo>
                    <a:lnTo>
                      <a:pt x="3768" y="6938"/>
                    </a:lnTo>
                  </a:path>
                </a:pathLst>
              </a:custGeom>
              <a:noFill/>
              <a:ln w="6350" cap="rnd">
                <a:solidFill>
                  <a:schemeClr val="bg1">
                    <a:alpha val="80000"/>
                  </a:schemeClr>
                </a:solidFill>
                <a:prstDash val="solid"/>
                <a:round/>
              </a:ln>
            </p:spPr>
            <p:txBody>
              <a:bodyPr rtlCol="0" anchor="ctr"/>
              <a:lstStyle/>
              <a:p>
                <a:endParaRPr lang="en-GB"/>
              </a:p>
            </p:txBody>
          </p:sp>
          <p:sp>
            <p:nvSpPr>
              <p:cNvPr id="6690" name="Vrije vorm: vorm 6689">
                <a:extLst>
                  <a:ext uri="{FF2B5EF4-FFF2-40B4-BE49-F238E27FC236}">
                    <a16:creationId xmlns:a16="http://schemas.microsoft.com/office/drawing/2014/main" id="{8701D772-AC1A-45E7-A0BA-4517C2B63753}"/>
                  </a:ext>
                </a:extLst>
              </p:cNvPr>
              <p:cNvSpPr/>
              <p:nvPr/>
            </p:nvSpPr>
            <p:spPr>
              <a:xfrm>
                <a:off x="6987237" y="2072061"/>
                <a:ext cx="7595" cy="897"/>
              </a:xfrm>
              <a:custGeom>
                <a:avLst/>
                <a:gdLst>
                  <a:gd name="connsiteX0" fmla="*/ 7596 w 7595"/>
                  <a:gd name="connsiteY0" fmla="*/ 0 h 897"/>
                  <a:gd name="connsiteX1" fmla="*/ 5203 w 7595"/>
                  <a:gd name="connsiteY1" fmla="*/ 718 h 897"/>
                  <a:gd name="connsiteX2" fmla="*/ 3290 w 7595"/>
                  <a:gd name="connsiteY2" fmla="*/ 778 h 897"/>
                  <a:gd name="connsiteX3" fmla="*/ 0 w 7595"/>
                  <a:gd name="connsiteY3" fmla="*/ 897 h 897"/>
                </a:gdLst>
                <a:ahLst/>
                <a:cxnLst>
                  <a:cxn ang="0">
                    <a:pos x="connsiteX0" y="connsiteY0"/>
                  </a:cxn>
                  <a:cxn ang="0">
                    <a:pos x="connsiteX1" y="connsiteY1"/>
                  </a:cxn>
                  <a:cxn ang="0">
                    <a:pos x="connsiteX2" y="connsiteY2"/>
                  </a:cxn>
                  <a:cxn ang="0">
                    <a:pos x="connsiteX3" y="connsiteY3"/>
                  </a:cxn>
                </a:cxnLst>
                <a:rect l="l" t="t" r="r" b="b"/>
                <a:pathLst>
                  <a:path w="7595" h="897">
                    <a:moveTo>
                      <a:pt x="7596" y="0"/>
                    </a:moveTo>
                    <a:lnTo>
                      <a:pt x="5203" y="718"/>
                    </a:lnTo>
                    <a:lnTo>
                      <a:pt x="3290" y="778"/>
                    </a:lnTo>
                    <a:lnTo>
                      <a:pt x="0" y="897"/>
                    </a:lnTo>
                  </a:path>
                </a:pathLst>
              </a:custGeom>
              <a:noFill/>
              <a:ln w="6350" cap="rnd">
                <a:solidFill>
                  <a:schemeClr val="bg1">
                    <a:alpha val="80000"/>
                  </a:schemeClr>
                </a:solidFill>
                <a:prstDash val="solid"/>
                <a:round/>
              </a:ln>
            </p:spPr>
            <p:txBody>
              <a:bodyPr rtlCol="0" anchor="ctr"/>
              <a:lstStyle/>
              <a:p>
                <a:endParaRPr lang="en-GB"/>
              </a:p>
            </p:txBody>
          </p:sp>
          <p:sp>
            <p:nvSpPr>
              <p:cNvPr id="6691" name="Vrije vorm: vorm 6690">
                <a:extLst>
                  <a:ext uri="{FF2B5EF4-FFF2-40B4-BE49-F238E27FC236}">
                    <a16:creationId xmlns:a16="http://schemas.microsoft.com/office/drawing/2014/main" id="{8B7B6CF0-AAF4-4ADF-A082-105168092DC1}"/>
                  </a:ext>
                </a:extLst>
              </p:cNvPr>
              <p:cNvSpPr/>
              <p:nvPr/>
            </p:nvSpPr>
            <p:spPr>
              <a:xfrm>
                <a:off x="6707280" y="1886240"/>
                <a:ext cx="7236" cy="4784"/>
              </a:xfrm>
              <a:custGeom>
                <a:avLst/>
                <a:gdLst>
                  <a:gd name="connsiteX0" fmla="*/ 0 w 7236"/>
                  <a:gd name="connsiteY0" fmla="*/ 1076 h 4784"/>
                  <a:gd name="connsiteX1" fmla="*/ 598 w 7236"/>
                  <a:gd name="connsiteY1" fmla="*/ 0 h 4784"/>
                  <a:gd name="connsiteX2" fmla="*/ 4007 w 7236"/>
                  <a:gd name="connsiteY2" fmla="*/ 1734 h 4784"/>
                  <a:gd name="connsiteX3" fmla="*/ 4904 w 7236"/>
                  <a:gd name="connsiteY3" fmla="*/ 2332 h 4784"/>
                  <a:gd name="connsiteX4" fmla="*/ 7236 w 7236"/>
                  <a:gd name="connsiteY4" fmla="*/ 3887 h 4784"/>
                  <a:gd name="connsiteX5" fmla="*/ 7057 w 7236"/>
                  <a:gd name="connsiteY5" fmla="*/ 4246 h 4784"/>
                  <a:gd name="connsiteX6" fmla="*/ 6758 w 7236"/>
                  <a:gd name="connsiteY6" fmla="*/ 4785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6" h="4784">
                    <a:moveTo>
                      <a:pt x="0" y="1076"/>
                    </a:moveTo>
                    <a:lnTo>
                      <a:pt x="598" y="0"/>
                    </a:lnTo>
                    <a:lnTo>
                      <a:pt x="4007" y="1734"/>
                    </a:lnTo>
                    <a:lnTo>
                      <a:pt x="4904" y="2332"/>
                    </a:lnTo>
                    <a:lnTo>
                      <a:pt x="7236" y="3887"/>
                    </a:lnTo>
                    <a:lnTo>
                      <a:pt x="7057" y="4246"/>
                    </a:lnTo>
                    <a:lnTo>
                      <a:pt x="6758" y="4785"/>
                    </a:lnTo>
                  </a:path>
                </a:pathLst>
              </a:custGeom>
              <a:noFill/>
              <a:ln w="6350" cap="rnd">
                <a:solidFill>
                  <a:schemeClr val="bg1">
                    <a:alpha val="80000"/>
                  </a:schemeClr>
                </a:solidFill>
                <a:prstDash val="solid"/>
                <a:round/>
              </a:ln>
            </p:spPr>
            <p:txBody>
              <a:bodyPr rtlCol="0" anchor="ctr"/>
              <a:lstStyle/>
              <a:p>
                <a:endParaRPr lang="en-GB"/>
              </a:p>
            </p:txBody>
          </p:sp>
          <p:sp>
            <p:nvSpPr>
              <p:cNvPr id="6692" name="Vrije vorm: vorm 6691">
                <a:extLst>
                  <a:ext uri="{FF2B5EF4-FFF2-40B4-BE49-F238E27FC236}">
                    <a16:creationId xmlns:a16="http://schemas.microsoft.com/office/drawing/2014/main" id="{E10D442D-12A2-4F4D-8E8E-D4FFEED5F157}"/>
                  </a:ext>
                </a:extLst>
              </p:cNvPr>
              <p:cNvSpPr/>
              <p:nvPr/>
            </p:nvSpPr>
            <p:spPr>
              <a:xfrm>
                <a:off x="6713500" y="1888812"/>
                <a:ext cx="4545" cy="3468"/>
              </a:xfrm>
              <a:custGeom>
                <a:avLst/>
                <a:gdLst>
                  <a:gd name="connsiteX0" fmla="*/ 0 w 4545"/>
                  <a:gd name="connsiteY0" fmla="*/ 3469 h 3468"/>
                  <a:gd name="connsiteX1" fmla="*/ 718 w 4545"/>
                  <a:gd name="connsiteY1" fmla="*/ 2273 h 3468"/>
                  <a:gd name="connsiteX2" fmla="*/ 2093 w 4545"/>
                  <a:gd name="connsiteY2" fmla="*/ 0 h 3468"/>
                  <a:gd name="connsiteX3" fmla="*/ 4545 w 4545"/>
                  <a:gd name="connsiteY3" fmla="*/ 957 h 3468"/>
                </a:gdLst>
                <a:ahLst/>
                <a:cxnLst>
                  <a:cxn ang="0">
                    <a:pos x="connsiteX0" y="connsiteY0"/>
                  </a:cxn>
                  <a:cxn ang="0">
                    <a:pos x="connsiteX1" y="connsiteY1"/>
                  </a:cxn>
                  <a:cxn ang="0">
                    <a:pos x="connsiteX2" y="connsiteY2"/>
                  </a:cxn>
                  <a:cxn ang="0">
                    <a:pos x="connsiteX3" y="connsiteY3"/>
                  </a:cxn>
                </a:cxnLst>
                <a:rect l="l" t="t" r="r" b="b"/>
                <a:pathLst>
                  <a:path w="4545" h="3468">
                    <a:moveTo>
                      <a:pt x="0" y="3469"/>
                    </a:moveTo>
                    <a:lnTo>
                      <a:pt x="718" y="2273"/>
                    </a:lnTo>
                    <a:lnTo>
                      <a:pt x="2093" y="0"/>
                    </a:lnTo>
                    <a:lnTo>
                      <a:pt x="4545" y="957"/>
                    </a:lnTo>
                  </a:path>
                </a:pathLst>
              </a:custGeom>
              <a:noFill/>
              <a:ln w="6350" cap="rnd">
                <a:solidFill>
                  <a:schemeClr val="bg1">
                    <a:alpha val="80000"/>
                  </a:schemeClr>
                </a:solidFill>
                <a:prstDash val="solid"/>
                <a:round/>
              </a:ln>
            </p:spPr>
            <p:txBody>
              <a:bodyPr rtlCol="0" anchor="ctr"/>
              <a:lstStyle/>
              <a:p>
                <a:endParaRPr lang="en-GB"/>
              </a:p>
            </p:txBody>
          </p:sp>
          <p:sp>
            <p:nvSpPr>
              <p:cNvPr id="6693" name="Vrije vorm: vorm 6692">
                <a:extLst>
                  <a:ext uri="{FF2B5EF4-FFF2-40B4-BE49-F238E27FC236}">
                    <a16:creationId xmlns:a16="http://schemas.microsoft.com/office/drawing/2014/main" id="{FE6CCF7B-6DF0-47D9-A60A-822FB52A031F}"/>
                  </a:ext>
                </a:extLst>
              </p:cNvPr>
              <p:cNvSpPr/>
              <p:nvPr/>
            </p:nvSpPr>
            <p:spPr>
              <a:xfrm>
                <a:off x="7009605" y="1756638"/>
                <a:ext cx="9270" cy="9509"/>
              </a:xfrm>
              <a:custGeom>
                <a:avLst/>
                <a:gdLst>
                  <a:gd name="connsiteX0" fmla="*/ 8732 w 9270"/>
                  <a:gd name="connsiteY0" fmla="*/ 6938 h 9509"/>
                  <a:gd name="connsiteX1" fmla="*/ 8433 w 9270"/>
                  <a:gd name="connsiteY1" fmla="*/ 7237 h 9509"/>
                  <a:gd name="connsiteX2" fmla="*/ 7835 w 9270"/>
                  <a:gd name="connsiteY2" fmla="*/ 7775 h 9509"/>
                  <a:gd name="connsiteX3" fmla="*/ 7596 w 9270"/>
                  <a:gd name="connsiteY3" fmla="*/ 8014 h 9509"/>
                  <a:gd name="connsiteX4" fmla="*/ 7596 w 9270"/>
                  <a:gd name="connsiteY4" fmla="*/ 8014 h 9509"/>
                  <a:gd name="connsiteX5" fmla="*/ 7177 w 9270"/>
                  <a:gd name="connsiteY5" fmla="*/ 8373 h 9509"/>
                  <a:gd name="connsiteX6" fmla="*/ 6758 w 9270"/>
                  <a:gd name="connsiteY6" fmla="*/ 8792 h 9509"/>
                  <a:gd name="connsiteX7" fmla="*/ 6579 w 9270"/>
                  <a:gd name="connsiteY7" fmla="*/ 8971 h 9509"/>
                  <a:gd name="connsiteX8" fmla="*/ 6460 w 9270"/>
                  <a:gd name="connsiteY8" fmla="*/ 9031 h 9509"/>
                  <a:gd name="connsiteX9" fmla="*/ 6460 w 9270"/>
                  <a:gd name="connsiteY9" fmla="*/ 9031 h 9509"/>
                  <a:gd name="connsiteX10" fmla="*/ 5622 w 9270"/>
                  <a:gd name="connsiteY10" fmla="*/ 9150 h 9509"/>
                  <a:gd name="connsiteX11" fmla="*/ 5503 w 9270"/>
                  <a:gd name="connsiteY11" fmla="*/ 9150 h 9509"/>
                  <a:gd name="connsiteX12" fmla="*/ 4426 w 9270"/>
                  <a:gd name="connsiteY12" fmla="*/ 9330 h 9509"/>
                  <a:gd name="connsiteX13" fmla="*/ 4247 w 9270"/>
                  <a:gd name="connsiteY13" fmla="*/ 9390 h 9509"/>
                  <a:gd name="connsiteX14" fmla="*/ 3529 w 9270"/>
                  <a:gd name="connsiteY14" fmla="*/ 9509 h 9509"/>
                  <a:gd name="connsiteX15" fmla="*/ 1077 w 9270"/>
                  <a:gd name="connsiteY15" fmla="*/ 8134 h 9509"/>
                  <a:gd name="connsiteX16" fmla="*/ 897 w 9270"/>
                  <a:gd name="connsiteY16" fmla="*/ 7655 h 9509"/>
                  <a:gd name="connsiteX17" fmla="*/ 718 w 9270"/>
                  <a:gd name="connsiteY17" fmla="*/ 7296 h 9509"/>
                  <a:gd name="connsiteX18" fmla="*/ 419 w 9270"/>
                  <a:gd name="connsiteY18" fmla="*/ 6519 h 9509"/>
                  <a:gd name="connsiteX19" fmla="*/ 359 w 9270"/>
                  <a:gd name="connsiteY19" fmla="*/ 6340 h 9509"/>
                  <a:gd name="connsiteX20" fmla="*/ 60 w 9270"/>
                  <a:gd name="connsiteY20" fmla="*/ 5562 h 9509"/>
                  <a:gd name="connsiteX21" fmla="*/ 0 w 9270"/>
                  <a:gd name="connsiteY21" fmla="*/ 5502 h 9509"/>
                  <a:gd name="connsiteX22" fmla="*/ 0 w 9270"/>
                  <a:gd name="connsiteY22" fmla="*/ 5383 h 9509"/>
                  <a:gd name="connsiteX23" fmla="*/ 299 w 9270"/>
                  <a:gd name="connsiteY23" fmla="*/ 4186 h 9509"/>
                  <a:gd name="connsiteX24" fmla="*/ 359 w 9270"/>
                  <a:gd name="connsiteY24" fmla="*/ 4007 h 9509"/>
                  <a:gd name="connsiteX25" fmla="*/ 359 w 9270"/>
                  <a:gd name="connsiteY25" fmla="*/ 4007 h 9509"/>
                  <a:gd name="connsiteX26" fmla="*/ 359 w 9270"/>
                  <a:gd name="connsiteY26" fmla="*/ 4007 h 9509"/>
                  <a:gd name="connsiteX27" fmla="*/ 419 w 9270"/>
                  <a:gd name="connsiteY27" fmla="*/ 3768 h 9509"/>
                  <a:gd name="connsiteX28" fmla="*/ 718 w 9270"/>
                  <a:gd name="connsiteY28" fmla="*/ 2512 h 9509"/>
                  <a:gd name="connsiteX29" fmla="*/ 1555 w 9270"/>
                  <a:gd name="connsiteY29" fmla="*/ 1734 h 9509"/>
                  <a:gd name="connsiteX30" fmla="*/ 1675 w 9270"/>
                  <a:gd name="connsiteY30" fmla="*/ 1615 h 9509"/>
                  <a:gd name="connsiteX31" fmla="*/ 2871 w 9270"/>
                  <a:gd name="connsiteY31" fmla="*/ 478 h 9509"/>
                  <a:gd name="connsiteX32" fmla="*/ 5742 w 9270"/>
                  <a:gd name="connsiteY32" fmla="*/ 0 h 9509"/>
                  <a:gd name="connsiteX33" fmla="*/ 8194 w 9270"/>
                  <a:gd name="connsiteY33" fmla="*/ 1376 h 9509"/>
                  <a:gd name="connsiteX34" fmla="*/ 9270 w 9270"/>
                  <a:gd name="connsiteY34" fmla="*/ 4067 h 9509"/>
                  <a:gd name="connsiteX35" fmla="*/ 8971 w 9270"/>
                  <a:gd name="connsiteY35" fmla="*/ 5383 h 9509"/>
                  <a:gd name="connsiteX36" fmla="*/ 8911 w 9270"/>
                  <a:gd name="connsiteY36" fmla="*/ 5622 h 9509"/>
                  <a:gd name="connsiteX37" fmla="*/ 8732 w 9270"/>
                  <a:gd name="connsiteY37" fmla="*/ 6938 h 9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270" h="9509">
                    <a:moveTo>
                      <a:pt x="8732" y="6938"/>
                    </a:moveTo>
                    <a:lnTo>
                      <a:pt x="8433" y="7237"/>
                    </a:lnTo>
                    <a:lnTo>
                      <a:pt x="7835" y="7775"/>
                    </a:lnTo>
                    <a:lnTo>
                      <a:pt x="7596" y="8014"/>
                    </a:lnTo>
                    <a:lnTo>
                      <a:pt x="7596" y="8014"/>
                    </a:lnTo>
                    <a:lnTo>
                      <a:pt x="7177" y="8373"/>
                    </a:lnTo>
                    <a:lnTo>
                      <a:pt x="6758" y="8792"/>
                    </a:lnTo>
                    <a:lnTo>
                      <a:pt x="6579" y="8971"/>
                    </a:lnTo>
                    <a:lnTo>
                      <a:pt x="6460" y="9031"/>
                    </a:lnTo>
                    <a:lnTo>
                      <a:pt x="6460" y="9031"/>
                    </a:lnTo>
                    <a:lnTo>
                      <a:pt x="5622" y="9150"/>
                    </a:lnTo>
                    <a:lnTo>
                      <a:pt x="5503" y="9150"/>
                    </a:lnTo>
                    <a:lnTo>
                      <a:pt x="4426" y="9330"/>
                    </a:lnTo>
                    <a:lnTo>
                      <a:pt x="4247" y="9390"/>
                    </a:lnTo>
                    <a:lnTo>
                      <a:pt x="3529" y="9509"/>
                    </a:lnTo>
                    <a:lnTo>
                      <a:pt x="1077" y="8134"/>
                    </a:lnTo>
                    <a:lnTo>
                      <a:pt x="897" y="7655"/>
                    </a:lnTo>
                    <a:lnTo>
                      <a:pt x="718" y="7296"/>
                    </a:lnTo>
                    <a:lnTo>
                      <a:pt x="419" y="6519"/>
                    </a:lnTo>
                    <a:lnTo>
                      <a:pt x="359" y="6340"/>
                    </a:lnTo>
                    <a:lnTo>
                      <a:pt x="60" y="5562"/>
                    </a:lnTo>
                    <a:lnTo>
                      <a:pt x="0" y="5502"/>
                    </a:lnTo>
                    <a:lnTo>
                      <a:pt x="0" y="5383"/>
                    </a:lnTo>
                    <a:lnTo>
                      <a:pt x="299" y="4186"/>
                    </a:lnTo>
                    <a:lnTo>
                      <a:pt x="359" y="4007"/>
                    </a:lnTo>
                    <a:lnTo>
                      <a:pt x="359" y="4007"/>
                    </a:lnTo>
                    <a:lnTo>
                      <a:pt x="359" y="4007"/>
                    </a:lnTo>
                    <a:lnTo>
                      <a:pt x="419" y="3768"/>
                    </a:lnTo>
                    <a:lnTo>
                      <a:pt x="718" y="2512"/>
                    </a:lnTo>
                    <a:lnTo>
                      <a:pt x="1555" y="1734"/>
                    </a:lnTo>
                    <a:lnTo>
                      <a:pt x="1675" y="1615"/>
                    </a:lnTo>
                    <a:lnTo>
                      <a:pt x="2871" y="478"/>
                    </a:lnTo>
                    <a:lnTo>
                      <a:pt x="5742" y="0"/>
                    </a:lnTo>
                    <a:lnTo>
                      <a:pt x="8194" y="1376"/>
                    </a:lnTo>
                    <a:lnTo>
                      <a:pt x="9270" y="4067"/>
                    </a:lnTo>
                    <a:lnTo>
                      <a:pt x="8971" y="5383"/>
                    </a:lnTo>
                    <a:lnTo>
                      <a:pt x="8911" y="5622"/>
                    </a:lnTo>
                    <a:lnTo>
                      <a:pt x="8732" y="6938"/>
                    </a:lnTo>
                  </a:path>
                </a:pathLst>
              </a:custGeom>
              <a:noFill/>
              <a:ln w="6350" cap="rnd">
                <a:solidFill>
                  <a:schemeClr val="bg1">
                    <a:alpha val="80000"/>
                  </a:schemeClr>
                </a:solidFill>
                <a:prstDash val="solid"/>
                <a:round/>
              </a:ln>
            </p:spPr>
            <p:txBody>
              <a:bodyPr rtlCol="0" anchor="ctr"/>
              <a:lstStyle/>
              <a:p>
                <a:endParaRPr lang="en-GB"/>
              </a:p>
            </p:txBody>
          </p:sp>
          <p:sp>
            <p:nvSpPr>
              <p:cNvPr id="6694" name="Vrije vorm: vorm 6693">
                <a:extLst>
                  <a:ext uri="{FF2B5EF4-FFF2-40B4-BE49-F238E27FC236}">
                    <a16:creationId xmlns:a16="http://schemas.microsoft.com/office/drawing/2014/main" id="{5E3FC2C4-E93E-4107-8FB3-F9E450CF1090}"/>
                  </a:ext>
                </a:extLst>
              </p:cNvPr>
              <p:cNvSpPr/>
              <p:nvPr/>
            </p:nvSpPr>
            <p:spPr>
              <a:xfrm>
                <a:off x="6765113" y="1918117"/>
                <a:ext cx="1794" cy="3050"/>
              </a:xfrm>
              <a:custGeom>
                <a:avLst/>
                <a:gdLst>
                  <a:gd name="connsiteX0" fmla="*/ 0 w 1794"/>
                  <a:gd name="connsiteY0" fmla="*/ 3050 h 3050"/>
                  <a:gd name="connsiteX1" fmla="*/ 359 w 1794"/>
                  <a:gd name="connsiteY1" fmla="*/ 2811 h 3050"/>
                  <a:gd name="connsiteX2" fmla="*/ 598 w 1794"/>
                  <a:gd name="connsiteY2" fmla="*/ 0 h 3050"/>
                  <a:gd name="connsiteX3" fmla="*/ 1794 w 1794"/>
                  <a:gd name="connsiteY3" fmla="*/ 120 h 3050"/>
                </a:gdLst>
                <a:ahLst/>
                <a:cxnLst>
                  <a:cxn ang="0">
                    <a:pos x="connsiteX0" y="connsiteY0"/>
                  </a:cxn>
                  <a:cxn ang="0">
                    <a:pos x="connsiteX1" y="connsiteY1"/>
                  </a:cxn>
                  <a:cxn ang="0">
                    <a:pos x="connsiteX2" y="connsiteY2"/>
                  </a:cxn>
                  <a:cxn ang="0">
                    <a:pos x="connsiteX3" y="connsiteY3"/>
                  </a:cxn>
                </a:cxnLst>
                <a:rect l="l" t="t" r="r" b="b"/>
                <a:pathLst>
                  <a:path w="1794" h="3050">
                    <a:moveTo>
                      <a:pt x="0" y="3050"/>
                    </a:moveTo>
                    <a:lnTo>
                      <a:pt x="359" y="2811"/>
                    </a:lnTo>
                    <a:lnTo>
                      <a:pt x="598" y="0"/>
                    </a:lnTo>
                    <a:lnTo>
                      <a:pt x="1794" y="120"/>
                    </a:lnTo>
                  </a:path>
                </a:pathLst>
              </a:custGeom>
              <a:noFill/>
              <a:ln w="6350" cap="rnd">
                <a:solidFill>
                  <a:schemeClr val="bg1">
                    <a:alpha val="80000"/>
                  </a:schemeClr>
                </a:solidFill>
                <a:prstDash val="solid"/>
                <a:round/>
              </a:ln>
            </p:spPr>
            <p:txBody>
              <a:bodyPr rtlCol="0" anchor="ctr"/>
              <a:lstStyle/>
              <a:p>
                <a:endParaRPr lang="en-GB"/>
              </a:p>
            </p:txBody>
          </p:sp>
          <p:sp>
            <p:nvSpPr>
              <p:cNvPr id="6695" name="Vrije vorm: vorm 6694">
                <a:extLst>
                  <a:ext uri="{FF2B5EF4-FFF2-40B4-BE49-F238E27FC236}">
                    <a16:creationId xmlns:a16="http://schemas.microsoft.com/office/drawing/2014/main" id="{00A7444F-3E35-4BFB-93E2-D818E025E624}"/>
                  </a:ext>
                </a:extLst>
              </p:cNvPr>
              <p:cNvSpPr/>
              <p:nvPr/>
            </p:nvSpPr>
            <p:spPr>
              <a:xfrm>
                <a:off x="6935683" y="1827689"/>
                <a:ext cx="2810" cy="3229"/>
              </a:xfrm>
              <a:custGeom>
                <a:avLst/>
                <a:gdLst>
                  <a:gd name="connsiteX0" fmla="*/ 957 w 2810"/>
                  <a:gd name="connsiteY0" fmla="*/ 3230 h 3229"/>
                  <a:gd name="connsiteX1" fmla="*/ 718 w 2810"/>
                  <a:gd name="connsiteY1" fmla="*/ 2990 h 3229"/>
                  <a:gd name="connsiteX2" fmla="*/ 0 w 2810"/>
                  <a:gd name="connsiteY2" fmla="*/ 1974 h 3229"/>
                  <a:gd name="connsiteX3" fmla="*/ 239 w 2810"/>
                  <a:gd name="connsiteY3" fmla="*/ 718 h 3229"/>
                  <a:gd name="connsiteX4" fmla="*/ 359 w 2810"/>
                  <a:gd name="connsiteY4" fmla="*/ 658 h 3229"/>
                  <a:gd name="connsiteX5" fmla="*/ 1137 w 2810"/>
                  <a:gd name="connsiteY5" fmla="*/ 120 h 3229"/>
                  <a:gd name="connsiteX6" fmla="*/ 1316 w 2810"/>
                  <a:gd name="connsiteY6" fmla="*/ 0 h 3229"/>
                  <a:gd name="connsiteX7" fmla="*/ 1435 w 2810"/>
                  <a:gd name="connsiteY7" fmla="*/ 0 h 3229"/>
                  <a:gd name="connsiteX8" fmla="*/ 1675 w 2810"/>
                  <a:gd name="connsiteY8" fmla="*/ 60 h 3229"/>
                  <a:gd name="connsiteX9" fmla="*/ 2153 w 2810"/>
                  <a:gd name="connsiteY9" fmla="*/ 120 h 3229"/>
                  <a:gd name="connsiteX10" fmla="*/ 2572 w 2810"/>
                  <a:gd name="connsiteY10" fmla="*/ 179 h 3229"/>
                  <a:gd name="connsiteX11" fmla="*/ 2811 w 2810"/>
                  <a:gd name="connsiteY11" fmla="*/ 419 h 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10" h="3229">
                    <a:moveTo>
                      <a:pt x="957" y="3230"/>
                    </a:moveTo>
                    <a:lnTo>
                      <a:pt x="718" y="2990"/>
                    </a:lnTo>
                    <a:lnTo>
                      <a:pt x="0" y="1974"/>
                    </a:lnTo>
                    <a:lnTo>
                      <a:pt x="239" y="718"/>
                    </a:lnTo>
                    <a:lnTo>
                      <a:pt x="359" y="658"/>
                    </a:lnTo>
                    <a:lnTo>
                      <a:pt x="1137" y="120"/>
                    </a:lnTo>
                    <a:lnTo>
                      <a:pt x="1316" y="0"/>
                    </a:lnTo>
                    <a:lnTo>
                      <a:pt x="1435" y="0"/>
                    </a:lnTo>
                    <a:lnTo>
                      <a:pt x="1675" y="60"/>
                    </a:lnTo>
                    <a:lnTo>
                      <a:pt x="2153" y="120"/>
                    </a:lnTo>
                    <a:lnTo>
                      <a:pt x="2572" y="179"/>
                    </a:lnTo>
                    <a:lnTo>
                      <a:pt x="2811" y="419"/>
                    </a:lnTo>
                  </a:path>
                </a:pathLst>
              </a:custGeom>
              <a:noFill/>
              <a:ln w="6350" cap="rnd">
                <a:solidFill>
                  <a:schemeClr val="bg1">
                    <a:alpha val="80000"/>
                  </a:schemeClr>
                </a:solidFill>
                <a:prstDash val="solid"/>
                <a:round/>
              </a:ln>
            </p:spPr>
            <p:txBody>
              <a:bodyPr rtlCol="0" anchor="ctr"/>
              <a:lstStyle/>
              <a:p>
                <a:endParaRPr lang="en-GB"/>
              </a:p>
            </p:txBody>
          </p:sp>
          <p:sp>
            <p:nvSpPr>
              <p:cNvPr id="6696" name="Vrije vorm: vorm 6695">
                <a:extLst>
                  <a:ext uri="{FF2B5EF4-FFF2-40B4-BE49-F238E27FC236}">
                    <a16:creationId xmlns:a16="http://schemas.microsoft.com/office/drawing/2014/main" id="{3C0F39D4-FBBF-4880-A96D-1456B0C56B62}"/>
                  </a:ext>
                </a:extLst>
              </p:cNvPr>
              <p:cNvSpPr/>
              <p:nvPr/>
            </p:nvSpPr>
            <p:spPr>
              <a:xfrm>
                <a:off x="6808115" y="1933966"/>
                <a:ext cx="11243" cy="13217"/>
              </a:xfrm>
              <a:custGeom>
                <a:avLst/>
                <a:gdLst>
                  <a:gd name="connsiteX0" fmla="*/ 8134 w 11243"/>
                  <a:gd name="connsiteY0" fmla="*/ 0 h 13217"/>
                  <a:gd name="connsiteX1" fmla="*/ 8373 w 11243"/>
                  <a:gd name="connsiteY1" fmla="*/ 120 h 13217"/>
                  <a:gd name="connsiteX2" fmla="*/ 11244 w 11243"/>
                  <a:gd name="connsiteY2" fmla="*/ 1196 h 13217"/>
                  <a:gd name="connsiteX3" fmla="*/ 10705 w 11243"/>
                  <a:gd name="connsiteY3" fmla="*/ 2093 h 13217"/>
                  <a:gd name="connsiteX4" fmla="*/ 10347 w 11243"/>
                  <a:gd name="connsiteY4" fmla="*/ 2632 h 13217"/>
                  <a:gd name="connsiteX5" fmla="*/ 8134 w 11243"/>
                  <a:gd name="connsiteY5" fmla="*/ 6399 h 13217"/>
                  <a:gd name="connsiteX6" fmla="*/ 6639 w 11243"/>
                  <a:gd name="connsiteY6" fmla="*/ 8971 h 13217"/>
                  <a:gd name="connsiteX7" fmla="*/ 5682 w 11243"/>
                  <a:gd name="connsiteY7" fmla="*/ 10586 h 13217"/>
                  <a:gd name="connsiteX8" fmla="*/ 4127 w 11243"/>
                  <a:gd name="connsiteY8" fmla="*/ 13217 h 13217"/>
                  <a:gd name="connsiteX9" fmla="*/ 598 w 11243"/>
                  <a:gd name="connsiteY9" fmla="*/ 11961 h 13217"/>
                  <a:gd name="connsiteX10" fmla="*/ 0 w 11243"/>
                  <a:gd name="connsiteY10" fmla="*/ 11722 h 13217"/>
                  <a:gd name="connsiteX11" fmla="*/ 4545 w 11243"/>
                  <a:gd name="connsiteY11" fmla="*/ 4007 h 13217"/>
                  <a:gd name="connsiteX12" fmla="*/ 5024 w 11243"/>
                  <a:gd name="connsiteY12" fmla="*/ 3170 h 13217"/>
                  <a:gd name="connsiteX13" fmla="*/ 5024 w 11243"/>
                  <a:gd name="connsiteY13" fmla="*/ 3170 h 13217"/>
                  <a:gd name="connsiteX14" fmla="*/ 5024 w 11243"/>
                  <a:gd name="connsiteY14" fmla="*/ 3170 h 1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43" h="13217">
                    <a:moveTo>
                      <a:pt x="8134" y="0"/>
                    </a:moveTo>
                    <a:lnTo>
                      <a:pt x="8373" y="120"/>
                    </a:lnTo>
                    <a:lnTo>
                      <a:pt x="11244" y="1196"/>
                    </a:lnTo>
                    <a:lnTo>
                      <a:pt x="10705" y="2093"/>
                    </a:lnTo>
                    <a:lnTo>
                      <a:pt x="10347" y="2632"/>
                    </a:lnTo>
                    <a:lnTo>
                      <a:pt x="8134" y="6399"/>
                    </a:lnTo>
                    <a:lnTo>
                      <a:pt x="6639" y="8971"/>
                    </a:lnTo>
                    <a:lnTo>
                      <a:pt x="5682" y="10586"/>
                    </a:lnTo>
                    <a:lnTo>
                      <a:pt x="4127" y="13217"/>
                    </a:lnTo>
                    <a:lnTo>
                      <a:pt x="598" y="11961"/>
                    </a:lnTo>
                    <a:lnTo>
                      <a:pt x="0" y="11722"/>
                    </a:lnTo>
                    <a:lnTo>
                      <a:pt x="4545" y="4007"/>
                    </a:lnTo>
                    <a:lnTo>
                      <a:pt x="5024" y="3170"/>
                    </a:lnTo>
                    <a:lnTo>
                      <a:pt x="5024" y="3170"/>
                    </a:lnTo>
                    <a:lnTo>
                      <a:pt x="5024" y="3170"/>
                    </a:lnTo>
                  </a:path>
                </a:pathLst>
              </a:custGeom>
              <a:noFill/>
              <a:ln w="6350" cap="rnd">
                <a:solidFill>
                  <a:schemeClr val="bg1">
                    <a:alpha val="80000"/>
                  </a:schemeClr>
                </a:solidFill>
                <a:prstDash val="solid"/>
                <a:round/>
              </a:ln>
            </p:spPr>
            <p:txBody>
              <a:bodyPr rtlCol="0" anchor="ctr"/>
              <a:lstStyle/>
              <a:p>
                <a:endParaRPr lang="en-GB"/>
              </a:p>
            </p:txBody>
          </p:sp>
          <p:sp>
            <p:nvSpPr>
              <p:cNvPr id="6697" name="Vrije vorm: vorm 6696">
                <a:extLst>
                  <a:ext uri="{FF2B5EF4-FFF2-40B4-BE49-F238E27FC236}">
                    <a16:creationId xmlns:a16="http://schemas.microsoft.com/office/drawing/2014/main" id="{529EA384-534D-4C93-B308-115280D76C11}"/>
                  </a:ext>
                </a:extLst>
              </p:cNvPr>
              <p:cNvSpPr/>
              <p:nvPr/>
            </p:nvSpPr>
            <p:spPr>
              <a:xfrm>
                <a:off x="6748547" y="1986537"/>
                <a:ext cx="2631" cy="4784"/>
              </a:xfrm>
              <a:custGeom>
                <a:avLst/>
                <a:gdLst>
                  <a:gd name="connsiteX0" fmla="*/ 1435 w 2631"/>
                  <a:gd name="connsiteY0" fmla="*/ 4785 h 4784"/>
                  <a:gd name="connsiteX1" fmla="*/ 0 w 2631"/>
                  <a:gd name="connsiteY1" fmla="*/ 4187 h 4784"/>
                  <a:gd name="connsiteX2" fmla="*/ 479 w 2631"/>
                  <a:gd name="connsiteY2" fmla="*/ 2990 h 4784"/>
                  <a:gd name="connsiteX3" fmla="*/ 1375 w 2631"/>
                  <a:gd name="connsiteY3" fmla="*/ 897 h 4784"/>
                  <a:gd name="connsiteX4" fmla="*/ 1794 w 2631"/>
                  <a:gd name="connsiteY4" fmla="*/ 0 h 4784"/>
                  <a:gd name="connsiteX5" fmla="*/ 2632 w 2631"/>
                  <a:gd name="connsiteY5" fmla="*/ 359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1" h="4784">
                    <a:moveTo>
                      <a:pt x="1435" y="4785"/>
                    </a:moveTo>
                    <a:lnTo>
                      <a:pt x="0" y="4187"/>
                    </a:lnTo>
                    <a:lnTo>
                      <a:pt x="479" y="2990"/>
                    </a:lnTo>
                    <a:lnTo>
                      <a:pt x="1375" y="897"/>
                    </a:lnTo>
                    <a:lnTo>
                      <a:pt x="1794" y="0"/>
                    </a:lnTo>
                    <a:lnTo>
                      <a:pt x="2632" y="359"/>
                    </a:lnTo>
                  </a:path>
                </a:pathLst>
              </a:custGeom>
              <a:noFill/>
              <a:ln w="6350" cap="rnd">
                <a:solidFill>
                  <a:schemeClr val="bg1">
                    <a:alpha val="80000"/>
                  </a:schemeClr>
                </a:solidFill>
                <a:prstDash val="solid"/>
                <a:round/>
              </a:ln>
            </p:spPr>
            <p:txBody>
              <a:bodyPr rtlCol="0" anchor="ctr"/>
              <a:lstStyle/>
              <a:p>
                <a:endParaRPr lang="en-GB"/>
              </a:p>
            </p:txBody>
          </p:sp>
          <p:sp>
            <p:nvSpPr>
              <p:cNvPr id="6698" name="Vrije vorm: vorm 6697">
                <a:extLst>
                  <a:ext uri="{FF2B5EF4-FFF2-40B4-BE49-F238E27FC236}">
                    <a16:creationId xmlns:a16="http://schemas.microsoft.com/office/drawing/2014/main" id="{08A84FDB-0E7F-43C5-A5BB-E7FB12E61A47}"/>
                  </a:ext>
                </a:extLst>
              </p:cNvPr>
              <p:cNvSpPr/>
              <p:nvPr/>
            </p:nvSpPr>
            <p:spPr>
              <a:xfrm>
                <a:off x="6749563" y="1989408"/>
                <a:ext cx="7236" cy="6578"/>
              </a:xfrm>
              <a:custGeom>
                <a:avLst/>
                <a:gdLst>
                  <a:gd name="connsiteX0" fmla="*/ 7237 w 7236"/>
                  <a:gd name="connsiteY0" fmla="*/ 0 h 6578"/>
                  <a:gd name="connsiteX1" fmla="*/ 5921 w 7236"/>
                  <a:gd name="connsiteY1" fmla="*/ 3529 h 6578"/>
                  <a:gd name="connsiteX2" fmla="*/ 5622 w 7236"/>
                  <a:gd name="connsiteY2" fmla="*/ 4067 h 6578"/>
                  <a:gd name="connsiteX3" fmla="*/ 4964 w 7236"/>
                  <a:gd name="connsiteY3" fmla="*/ 5442 h 6578"/>
                  <a:gd name="connsiteX4" fmla="*/ 4785 w 7236"/>
                  <a:gd name="connsiteY4" fmla="*/ 5861 h 6578"/>
                  <a:gd name="connsiteX5" fmla="*/ 4426 w 7236"/>
                  <a:gd name="connsiteY5" fmla="*/ 6579 h 6578"/>
                  <a:gd name="connsiteX6" fmla="*/ 538 w 7236"/>
                  <a:gd name="connsiteY6" fmla="*/ 5203 h 6578"/>
                  <a:gd name="connsiteX7" fmla="*/ 0 w 7236"/>
                  <a:gd name="connsiteY7" fmla="*/ 3648 h 6578"/>
                  <a:gd name="connsiteX8" fmla="*/ 479 w 7236"/>
                  <a:gd name="connsiteY8" fmla="*/ 1854 h 6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6" h="6578">
                    <a:moveTo>
                      <a:pt x="7237" y="0"/>
                    </a:moveTo>
                    <a:lnTo>
                      <a:pt x="5921" y="3529"/>
                    </a:lnTo>
                    <a:lnTo>
                      <a:pt x="5622" y="4067"/>
                    </a:lnTo>
                    <a:lnTo>
                      <a:pt x="4964" y="5442"/>
                    </a:lnTo>
                    <a:lnTo>
                      <a:pt x="4785" y="5861"/>
                    </a:lnTo>
                    <a:lnTo>
                      <a:pt x="4426" y="6579"/>
                    </a:lnTo>
                    <a:lnTo>
                      <a:pt x="538" y="5203"/>
                    </a:lnTo>
                    <a:lnTo>
                      <a:pt x="0" y="3648"/>
                    </a:lnTo>
                    <a:lnTo>
                      <a:pt x="479" y="1854"/>
                    </a:lnTo>
                  </a:path>
                </a:pathLst>
              </a:custGeom>
              <a:noFill/>
              <a:ln w="6350" cap="rnd">
                <a:solidFill>
                  <a:schemeClr val="bg1">
                    <a:alpha val="80000"/>
                  </a:schemeClr>
                </a:solidFill>
                <a:prstDash val="solid"/>
                <a:round/>
              </a:ln>
            </p:spPr>
            <p:txBody>
              <a:bodyPr rtlCol="0" anchor="ctr"/>
              <a:lstStyle/>
              <a:p>
                <a:endParaRPr lang="en-GB"/>
              </a:p>
            </p:txBody>
          </p:sp>
          <p:sp>
            <p:nvSpPr>
              <p:cNvPr id="6699" name="Vrije vorm: vorm 6698">
                <a:extLst>
                  <a:ext uri="{FF2B5EF4-FFF2-40B4-BE49-F238E27FC236}">
                    <a16:creationId xmlns:a16="http://schemas.microsoft.com/office/drawing/2014/main" id="{B05307C0-5879-496F-8E20-1F8CD1733986}"/>
                  </a:ext>
                </a:extLst>
              </p:cNvPr>
              <p:cNvSpPr/>
              <p:nvPr/>
            </p:nvSpPr>
            <p:spPr>
              <a:xfrm>
                <a:off x="7020670" y="1753827"/>
                <a:ext cx="22846" cy="13695"/>
              </a:xfrm>
              <a:custGeom>
                <a:avLst/>
                <a:gdLst>
                  <a:gd name="connsiteX0" fmla="*/ 0 w 22846"/>
                  <a:gd name="connsiteY0" fmla="*/ 0 h 13695"/>
                  <a:gd name="connsiteX1" fmla="*/ 11662 w 22846"/>
                  <a:gd name="connsiteY1" fmla="*/ 6758 h 13695"/>
                  <a:gd name="connsiteX2" fmla="*/ 22846 w 22846"/>
                  <a:gd name="connsiteY2" fmla="*/ 13696 h 13695"/>
                </a:gdLst>
                <a:ahLst/>
                <a:cxnLst>
                  <a:cxn ang="0">
                    <a:pos x="connsiteX0" y="connsiteY0"/>
                  </a:cxn>
                  <a:cxn ang="0">
                    <a:pos x="connsiteX1" y="connsiteY1"/>
                  </a:cxn>
                  <a:cxn ang="0">
                    <a:pos x="connsiteX2" y="connsiteY2"/>
                  </a:cxn>
                </a:cxnLst>
                <a:rect l="l" t="t" r="r" b="b"/>
                <a:pathLst>
                  <a:path w="22846" h="13695">
                    <a:moveTo>
                      <a:pt x="0" y="0"/>
                    </a:moveTo>
                    <a:lnTo>
                      <a:pt x="11662" y="6758"/>
                    </a:lnTo>
                    <a:lnTo>
                      <a:pt x="22846" y="13696"/>
                    </a:lnTo>
                  </a:path>
                </a:pathLst>
              </a:custGeom>
              <a:noFill/>
              <a:ln w="6350" cap="rnd">
                <a:solidFill>
                  <a:schemeClr val="bg1">
                    <a:alpha val="80000"/>
                  </a:schemeClr>
                </a:solidFill>
                <a:prstDash val="solid"/>
                <a:round/>
              </a:ln>
            </p:spPr>
            <p:txBody>
              <a:bodyPr rtlCol="0" anchor="ctr"/>
              <a:lstStyle/>
              <a:p>
                <a:endParaRPr lang="en-GB"/>
              </a:p>
            </p:txBody>
          </p:sp>
          <p:sp>
            <p:nvSpPr>
              <p:cNvPr id="6700" name="Vrije vorm: vorm 6699">
                <a:extLst>
                  <a:ext uri="{FF2B5EF4-FFF2-40B4-BE49-F238E27FC236}">
                    <a16:creationId xmlns:a16="http://schemas.microsoft.com/office/drawing/2014/main" id="{2F79805E-8EEF-4077-AF95-57AA6A7038E9}"/>
                  </a:ext>
                </a:extLst>
              </p:cNvPr>
              <p:cNvSpPr/>
              <p:nvPr/>
            </p:nvSpPr>
            <p:spPr>
              <a:xfrm>
                <a:off x="7091481" y="1962375"/>
                <a:ext cx="1793" cy="9389"/>
              </a:xfrm>
              <a:custGeom>
                <a:avLst/>
                <a:gdLst>
                  <a:gd name="connsiteX0" fmla="*/ 0 w 1793"/>
                  <a:gd name="connsiteY0" fmla="*/ 9390 h 9389"/>
                  <a:gd name="connsiteX1" fmla="*/ 478 w 1793"/>
                  <a:gd name="connsiteY1" fmla="*/ 7835 h 9389"/>
                  <a:gd name="connsiteX2" fmla="*/ 1495 w 1793"/>
                  <a:gd name="connsiteY2" fmla="*/ 4486 h 9389"/>
                  <a:gd name="connsiteX3" fmla="*/ 1555 w 1793"/>
                  <a:gd name="connsiteY3" fmla="*/ 4186 h 9389"/>
                  <a:gd name="connsiteX4" fmla="*/ 1794 w 1793"/>
                  <a:gd name="connsiteY4" fmla="*/ 3409 h 9389"/>
                  <a:gd name="connsiteX5" fmla="*/ 658 w 1793"/>
                  <a:gd name="connsiteY5" fmla="*/ 0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3" h="9389">
                    <a:moveTo>
                      <a:pt x="0" y="9390"/>
                    </a:moveTo>
                    <a:lnTo>
                      <a:pt x="478" y="7835"/>
                    </a:lnTo>
                    <a:lnTo>
                      <a:pt x="1495" y="4486"/>
                    </a:lnTo>
                    <a:lnTo>
                      <a:pt x="1555" y="4186"/>
                    </a:lnTo>
                    <a:lnTo>
                      <a:pt x="1794" y="3409"/>
                    </a:lnTo>
                    <a:lnTo>
                      <a:pt x="658" y="0"/>
                    </a:lnTo>
                  </a:path>
                </a:pathLst>
              </a:custGeom>
              <a:noFill/>
              <a:ln w="6350" cap="rnd">
                <a:solidFill>
                  <a:schemeClr val="bg1">
                    <a:alpha val="80000"/>
                  </a:schemeClr>
                </a:solidFill>
                <a:prstDash val="solid"/>
                <a:round/>
              </a:ln>
            </p:spPr>
            <p:txBody>
              <a:bodyPr rtlCol="0" anchor="ctr"/>
              <a:lstStyle/>
              <a:p>
                <a:endParaRPr lang="en-GB"/>
              </a:p>
            </p:txBody>
          </p:sp>
          <p:sp>
            <p:nvSpPr>
              <p:cNvPr id="6701" name="Vrije vorm: vorm 6700">
                <a:extLst>
                  <a:ext uri="{FF2B5EF4-FFF2-40B4-BE49-F238E27FC236}">
                    <a16:creationId xmlns:a16="http://schemas.microsoft.com/office/drawing/2014/main" id="{8B8D8A18-F702-4383-B6C9-A2C34F12AC10}"/>
                  </a:ext>
                </a:extLst>
              </p:cNvPr>
              <p:cNvSpPr/>
              <p:nvPr/>
            </p:nvSpPr>
            <p:spPr>
              <a:xfrm>
                <a:off x="6618227" y="1842940"/>
                <a:ext cx="6458" cy="9449"/>
              </a:xfrm>
              <a:custGeom>
                <a:avLst/>
                <a:gdLst>
                  <a:gd name="connsiteX0" fmla="*/ 0 w 6458"/>
                  <a:gd name="connsiteY0" fmla="*/ 9450 h 9449"/>
                  <a:gd name="connsiteX1" fmla="*/ 4605 w 6458"/>
                  <a:gd name="connsiteY1" fmla="*/ 2093 h 9449"/>
                  <a:gd name="connsiteX2" fmla="*/ 6399 w 6458"/>
                  <a:gd name="connsiteY2" fmla="*/ 60 h 9449"/>
                  <a:gd name="connsiteX3" fmla="*/ 6459 w 6458"/>
                  <a:gd name="connsiteY3" fmla="*/ 0 h 9449"/>
                </a:gdLst>
                <a:ahLst/>
                <a:cxnLst>
                  <a:cxn ang="0">
                    <a:pos x="connsiteX0" y="connsiteY0"/>
                  </a:cxn>
                  <a:cxn ang="0">
                    <a:pos x="connsiteX1" y="connsiteY1"/>
                  </a:cxn>
                  <a:cxn ang="0">
                    <a:pos x="connsiteX2" y="connsiteY2"/>
                  </a:cxn>
                  <a:cxn ang="0">
                    <a:pos x="connsiteX3" y="connsiteY3"/>
                  </a:cxn>
                </a:cxnLst>
                <a:rect l="l" t="t" r="r" b="b"/>
                <a:pathLst>
                  <a:path w="6458" h="9449">
                    <a:moveTo>
                      <a:pt x="0" y="9450"/>
                    </a:moveTo>
                    <a:lnTo>
                      <a:pt x="4605" y="2093"/>
                    </a:lnTo>
                    <a:lnTo>
                      <a:pt x="6399" y="60"/>
                    </a:lnTo>
                    <a:lnTo>
                      <a:pt x="6459" y="0"/>
                    </a:lnTo>
                  </a:path>
                </a:pathLst>
              </a:custGeom>
              <a:noFill/>
              <a:ln w="6350" cap="rnd">
                <a:solidFill>
                  <a:schemeClr val="bg1">
                    <a:alpha val="80000"/>
                  </a:schemeClr>
                </a:solidFill>
                <a:prstDash val="solid"/>
                <a:round/>
              </a:ln>
            </p:spPr>
            <p:txBody>
              <a:bodyPr rtlCol="0" anchor="ctr"/>
              <a:lstStyle/>
              <a:p>
                <a:endParaRPr lang="en-GB"/>
              </a:p>
            </p:txBody>
          </p:sp>
          <p:sp>
            <p:nvSpPr>
              <p:cNvPr id="6702" name="Vrije vorm: vorm 6701">
                <a:extLst>
                  <a:ext uri="{FF2B5EF4-FFF2-40B4-BE49-F238E27FC236}">
                    <a16:creationId xmlns:a16="http://schemas.microsoft.com/office/drawing/2014/main" id="{0A009DEB-4EA1-4CDC-B69E-9D41A7C7A8A3}"/>
                  </a:ext>
                </a:extLst>
              </p:cNvPr>
              <p:cNvSpPr/>
              <p:nvPr/>
            </p:nvSpPr>
            <p:spPr>
              <a:xfrm>
                <a:off x="6661467" y="1862915"/>
                <a:ext cx="14772" cy="2272"/>
              </a:xfrm>
              <a:custGeom>
                <a:avLst/>
                <a:gdLst>
                  <a:gd name="connsiteX0" fmla="*/ 14773 w 14772"/>
                  <a:gd name="connsiteY0" fmla="*/ 2273 h 2272"/>
                  <a:gd name="connsiteX1" fmla="*/ 8552 w 14772"/>
                  <a:gd name="connsiteY1" fmla="*/ 299 h 2272"/>
                  <a:gd name="connsiteX2" fmla="*/ 0 w 14772"/>
                  <a:gd name="connsiteY2" fmla="*/ 0 h 2272"/>
                </a:gdLst>
                <a:ahLst/>
                <a:cxnLst>
                  <a:cxn ang="0">
                    <a:pos x="connsiteX0" y="connsiteY0"/>
                  </a:cxn>
                  <a:cxn ang="0">
                    <a:pos x="connsiteX1" y="connsiteY1"/>
                  </a:cxn>
                  <a:cxn ang="0">
                    <a:pos x="connsiteX2" y="connsiteY2"/>
                  </a:cxn>
                </a:cxnLst>
                <a:rect l="l" t="t" r="r" b="b"/>
                <a:pathLst>
                  <a:path w="14772" h="2272">
                    <a:moveTo>
                      <a:pt x="14773" y="2273"/>
                    </a:moveTo>
                    <a:lnTo>
                      <a:pt x="8552" y="29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03" name="Vrije vorm: vorm 6702">
                <a:extLst>
                  <a:ext uri="{FF2B5EF4-FFF2-40B4-BE49-F238E27FC236}">
                    <a16:creationId xmlns:a16="http://schemas.microsoft.com/office/drawing/2014/main" id="{398347EA-3C44-44AC-9671-5DC86C6012F6}"/>
                  </a:ext>
                </a:extLst>
              </p:cNvPr>
              <p:cNvSpPr/>
              <p:nvPr/>
            </p:nvSpPr>
            <p:spPr>
              <a:xfrm>
                <a:off x="6889871" y="1941322"/>
                <a:ext cx="48383" cy="38635"/>
              </a:xfrm>
              <a:custGeom>
                <a:avLst/>
                <a:gdLst>
                  <a:gd name="connsiteX0" fmla="*/ 0 w 48383"/>
                  <a:gd name="connsiteY0" fmla="*/ 3708 h 38635"/>
                  <a:gd name="connsiteX1" fmla="*/ 59 w 48383"/>
                  <a:gd name="connsiteY1" fmla="*/ 3588 h 38635"/>
                  <a:gd name="connsiteX2" fmla="*/ 1554 w 48383"/>
                  <a:gd name="connsiteY2" fmla="*/ 897 h 38635"/>
                  <a:gd name="connsiteX3" fmla="*/ 2511 w 48383"/>
                  <a:gd name="connsiteY3" fmla="*/ 0 h 38635"/>
                  <a:gd name="connsiteX4" fmla="*/ 3049 w 48383"/>
                  <a:gd name="connsiteY4" fmla="*/ 60 h 38635"/>
                  <a:gd name="connsiteX5" fmla="*/ 4426 w 48383"/>
                  <a:gd name="connsiteY5" fmla="*/ 179 h 38635"/>
                  <a:gd name="connsiteX6" fmla="*/ 4724 w 48383"/>
                  <a:gd name="connsiteY6" fmla="*/ 179 h 38635"/>
                  <a:gd name="connsiteX7" fmla="*/ 5322 w 48383"/>
                  <a:gd name="connsiteY7" fmla="*/ 239 h 38635"/>
                  <a:gd name="connsiteX8" fmla="*/ 5681 w 48383"/>
                  <a:gd name="connsiteY8" fmla="*/ 299 h 38635"/>
                  <a:gd name="connsiteX9" fmla="*/ 6100 w 48383"/>
                  <a:gd name="connsiteY9" fmla="*/ 359 h 38635"/>
                  <a:gd name="connsiteX10" fmla="*/ 8911 w 48383"/>
                  <a:gd name="connsiteY10" fmla="*/ 598 h 38635"/>
                  <a:gd name="connsiteX11" fmla="*/ 9389 w 48383"/>
                  <a:gd name="connsiteY11" fmla="*/ 658 h 38635"/>
                  <a:gd name="connsiteX12" fmla="*/ 9449 w 48383"/>
                  <a:gd name="connsiteY12" fmla="*/ 658 h 38635"/>
                  <a:gd name="connsiteX13" fmla="*/ 10406 w 48383"/>
                  <a:gd name="connsiteY13" fmla="*/ 718 h 38635"/>
                  <a:gd name="connsiteX14" fmla="*/ 10944 w 48383"/>
                  <a:gd name="connsiteY14" fmla="*/ 778 h 38635"/>
                  <a:gd name="connsiteX15" fmla="*/ 12440 w 48383"/>
                  <a:gd name="connsiteY15" fmla="*/ 897 h 38635"/>
                  <a:gd name="connsiteX16" fmla="*/ 12858 w 48383"/>
                  <a:gd name="connsiteY16" fmla="*/ 957 h 38635"/>
                  <a:gd name="connsiteX17" fmla="*/ 12978 w 48383"/>
                  <a:gd name="connsiteY17" fmla="*/ 957 h 38635"/>
                  <a:gd name="connsiteX18" fmla="*/ 13038 w 48383"/>
                  <a:gd name="connsiteY18" fmla="*/ 957 h 38635"/>
                  <a:gd name="connsiteX19" fmla="*/ 14652 w 48383"/>
                  <a:gd name="connsiteY19" fmla="*/ 1435 h 38635"/>
                  <a:gd name="connsiteX20" fmla="*/ 15610 w 48383"/>
                  <a:gd name="connsiteY20" fmla="*/ 1734 h 38635"/>
                  <a:gd name="connsiteX21" fmla="*/ 20813 w 48383"/>
                  <a:gd name="connsiteY21" fmla="*/ 3230 h 38635"/>
                  <a:gd name="connsiteX22" fmla="*/ 21889 w 48383"/>
                  <a:gd name="connsiteY22" fmla="*/ 3529 h 38635"/>
                  <a:gd name="connsiteX23" fmla="*/ 26614 w 48383"/>
                  <a:gd name="connsiteY23" fmla="*/ 4844 h 38635"/>
                  <a:gd name="connsiteX24" fmla="*/ 29485 w 48383"/>
                  <a:gd name="connsiteY24" fmla="*/ 6280 h 38635"/>
                  <a:gd name="connsiteX25" fmla="*/ 29844 w 48383"/>
                  <a:gd name="connsiteY25" fmla="*/ 6459 h 38635"/>
                  <a:gd name="connsiteX26" fmla="*/ 30561 w 48383"/>
                  <a:gd name="connsiteY26" fmla="*/ 6818 h 38635"/>
                  <a:gd name="connsiteX27" fmla="*/ 32894 w 48383"/>
                  <a:gd name="connsiteY27" fmla="*/ 7954 h 38635"/>
                  <a:gd name="connsiteX28" fmla="*/ 35286 w 48383"/>
                  <a:gd name="connsiteY28" fmla="*/ 9150 h 38635"/>
                  <a:gd name="connsiteX29" fmla="*/ 36363 w 48383"/>
                  <a:gd name="connsiteY29" fmla="*/ 10048 h 38635"/>
                  <a:gd name="connsiteX30" fmla="*/ 37080 w 48383"/>
                  <a:gd name="connsiteY30" fmla="*/ 10586 h 38635"/>
                  <a:gd name="connsiteX31" fmla="*/ 37499 w 48383"/>
                  <a:gd name="connsiteY31" fmla="*/ 10885 h 38635"/>
                  <a:gd name="connsiteX32" fmla="*/ 38815 w 48383"/>
                  <a:gd name="connsiteY32" fmla="*/ 11961 h 38635"/>
                  <a:gd name="connsiteX33" fmla="*/ 39173 w 48383"/>
                  <a:gd name="connsiteY33" fmla="*/ 12260 h 38635"/>
                  <a:gd name="connsiteX34" fmla="*/ 39771 w 48383"/>
                  <a:gd name="connsiteY34" fmla="*/ 12739 h 38635"/>
                  <a:gd name="connsiteX35" fmla="*/ 40668 w 48383"/>
                  <a:gd name="connsiteY35" fmla="*/ 13457 h 38635"/>
                  <a:gd name="connsiteX36" fmla="*/ 43241 w 48383"/>
                  <a:gd name="connsiteY36" fmla="*/ 15550 h 38635"/>
                  <a:gd name="connsiteX37" fmla="*/ 44018 w 48383"/>
                  <a:gd name="connsiteY37" fmla="*/ 16387 h 38635"/>
                  <a:gd name="connsiteX38" fmla="*/ 45932 w 48383"/>
                  <a:gd name="connsiteY38" fmla="*/ 18480 h 38635"/>
                  <a:gd name="connsiteX39" fmla="*/ 48085 w 48383"/>
                  <a:gd name="connsiteY39" fmla="*/ 20873 h 38635"/>
                  <a:gd name="connsiteX40" fmla="*/ 48384 w 48383"/>
                  <a:gd name="connsiteY40" fmla="*/ 21232 h 38635"/>
                  <a:gd name="connsiteX41" fmla="*/ 48204 w 48383"/>
                  <a:gd name="connsiteY41" fmla="*/ 21949 h 38635"/>
                  <a:gd name="connsiteX42" fmla="*/ 48144 w 48383"/>
                  <a:gd name="connsiteY42" fmla="*/ 22129 h 38635"/>
                  <a:gd name="connsiteX43" fmla="*/ 48025 w 48383"/>
                  <a:gd name="connsiteY43" fmla="*/ 22667 h 38635"/>
                  <a:gd name="connsiteX44" fmla="*/ 47905 w 48383"/>
                  <a:gd name="connsiteY44" fmla="*/ 23086 h 38635"/>
                  <a:gd name="connsiteX45" fmla="*/ 47905 w 48383"/>
                  <a:gd name="connsiteY45" fmla="*/ 23145 h 38635"/>
                  <a:gd name="connsiteX46" fmla="*/ 47666 w 48383"/>
                  <a:gd name="connsiteY46" fmla="*/ 24102 h 38635"/>
                  <a:gd name="connsiteX47" fmla="*/ 47008 w 48383"/>
                  <a:gd name="connsiteY47" fmla="*/ 26734 h 38635"/>
                  <a:gd name="connsiteX48" fmla="*/ 45872 w 48383"/>
                  <a:gd name="connsiteY48" fmla="*/ 30980 h 38635"/>
                  <a:gd name="connsiteX49" fmla="*/ 45393 w 48383"/>
                  <a:gd name="connsiteY49" fmla="*/ 32894 h 38635"/>
                  <a:gd name="connsiteX50" fmla="*/ 42762 w 48383"/>
                  <a:gd name="connsiteY50" fmla="*/ 36183 h 38635"/>
                  <a:gd name="connsiteX51" fmla="*/ 41805 w 48383"/>
                  <a:gd name="connsiteY51" fmla="*/ 37380 h 38635"/>
                  <a:gd name="connsiteX52" fmla="*/ 41088 w 48383"/>
                  <a:gd name="connsiteY52" fmla="*/ 38277 h 38635"/>
                  <a:gd name="connsiteX53" fmla="*/ 39353 w 48383"/>
                  <a:gd name="connsiteY53" fmla="*/ 38636 h 38635"/>
                  <a:gd name="connsiteX54" fmla="*/ 38635 w 48383"/>
                  <a:gd name="connsiteY54" fmla="*/ 38157 h 3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8383" h="38635">
                    <a:moveTo>
                      <a:pt x="0" y="3708"/>
                    </a:moveTo>
                    <a:lnTo>
                      <a:pt x="59" y="3588"/>
                    </a:lnTo>
                    <a:lnTo>
                      <a:pt x="1554" y="897"/>
                    </a:lnTo>
                    <a:lnTo>
                      <a:pt x="2511" y="0"/>
                    </a:lnTo>
                    <a:lnTo>
                      <a:pt x="3049" y="60"/>
                    </a:lnTo>
                    <a:lnTo>
                      <a:pt x="4426" y="179"/>
                    </a:lnTo>
                    <a:lnTo>
                      <a:pt x="4724" y="179"/>
                    </a:lnTo>
                    <a:lnTo>
                      <a:pt x="5322" y="239"/>
                    </a:lnTo>
                    <a:lnTo>
                      <a:pt x="5681" y="299"/>
                    </a:lnTo>
                    <a:lnTo>
                      <a:pt x="6100" y="359"/>
                    </a:lnTo>
                    <a:lnTo>
                      <a:pt x="8911" y="598"/>
                    </a:lnTo>
                    <a:lnTo>
                      <a:pt x="9389" y="658"/>
                    </a:lnTo>
                    <a:lnTo>
                      <a:pt x="9449" y="658"/>
                    </a:lnTo>
                    <a:lnTo>
                      <a:pt x="10406" y="718"/>
                    </a:lnTo>
                    <a:lnTo>
                      <a:pt x="10944" y="778"/>
                    </a:lnTo>
                    <a:lnTo>
                      <a:pt x="12440" y="897"/>
                    </a:lnTo>
                    <a:lnTo>
                      <a:pt x="12858" y="957"/>
                    </a:lnTo>
                    <a:lnTo>
                      <a:pt x="12978" y="957"/>
                    </a:lnTo>
                    <a:lnTo>
                      <a:pt x="13038" y="957"/>
                    </a:lnTo>
                    <a:lnTo>
                      <a:pt x="14652" y="1435"/>
                    </a:lnTo>
                    <a:lnTo>
                      <a:pt x="15610" y="1734"/>
                    </a:lnTo>
                    <a:lnTo>
                      <a:pt x="20813" y="3230"/>
                    </a:lnTo>
                    <a:lnTo>
                      <a:pt x="21889" y="3529"/>
                    </a:lnTo>
                    <a:lnTo>
                      <a:pt x="26614" y="4844"/>
                    </a:lnTo>
                    <a:lnTo>
                      <a:pt x="29485" y="6280"/>
                    </a:lnTo>
                    <a:lnTo>
                      <a:pt x="29844" y="6459"/>
                    </a:lnTo>
                    <a:lnTo>
                      <a:pt x="30561" y="6818"/>
                    </a:lnTo>
                    <a:lnTo>
                      <a:pt x="32894" y="7954"/>
                    </a:lnTo>
                    <a:lnTo>
                      <a:pt x="35286" y="9150"/>
                    </a:lnTo>
                    <a:lnTo>
                      <a:pt x="36363" y="10048"/>
                    </a:lnTo>
                    <a:lnTo>
                      <a:pt x="37080" y="10586"/>
                    </a:lnTo>
                    <a:lnTo>
                      <a:pt x="37499" y="10885"/>
                    </a:lnTo>
                    <a:lnTo>
                      <a:pt x="38815" y="11961"/>
                    </a:lnTo>
                    <a:lnTo>
                      <a:pt x="39173" y="12260"/>
                    </a:lnTo>
                    <a:lnTo>
                      <a:pt x="39771" y="12739"/>
                    </a:lnTo>
                    <a:lnTo>
                      <a:pt x="40668" y="13457"/>
                    </a:lnTo>
                    <a:lnTo>
                      <a:pt x="43241" y="15550"/>
                    </a:lnTo>
                    <a:lnTo>
                      <a:pt x="44018" y="16387"/>
                    </a:lnTo>
                    <a:lnTo>
                      <a:pt x="45932" y="18480"/>
                    </a:lnTo>
                    <a:lnTo>
                      <a:pt x="48085" y="20873"/>
                    </a:lnTo>
                    <a:lnTo>
                      <a:pt x="48384" y="21232"/>
                    </a:lnTo>
                    <a:lnTo>
                      <a:pt x="48204" y="21949"/>
                    </a:lnTo>
                    <a:lnTo>
                      <a:pt x="48144" y="22129"/>
                    </a:lnTo>
                    <a:lnTo>
                      <a:pt x="48025" y="22667"/>
                    </a:lnTo>
                    <a:lnTo>
                      <a:pt x="47905" y="23086"/>
                    </a:lnTo>
                    <a:lnTo>
                      <a:pt x="47905" y="23145"/>
                    </a:lnTo>
                    <a:lnTo>
                      <a:pt x="47666" y="24102"/>
                    </a:lnTo>
                    <a:lnTo>
                      <a:pt x="47008" y="26734"/>
                    </a:lnTo>
                    <a:lnTo>
                      <a:pt x="45872" y="30980"/>
                    </a:lnTo>
                    <a:lnTo>
                      <a:pt x="45393" y="32894"/>
                    </a:lnTo>
                    <a:lnTo>
                      <a:pt x="42762" y="36183"/>
                    </a:lnTo>
                    <a:lnTo>
                      <a:pt x="41805" y="37380"/>
                    </a:lnTo>
                    <a:lnTo>
                      <a:pt x="41088" y="38277"/>
                    </a:lnTo>
                    <a:lnTo>
                      <a:pt x="39353" y="38636"/>
                    </a:lnTo>
                    <a:lnTo>
                      <a:pt x="38635" y="38157"/>
                    </a:lnTo>
                  </a:path>
                </a:pathLst>
              </a:custGeom>
              <a:noFill/>
              <a:ln w="6350" cap="rnd">
                <a:solidFill>
                  <a:schemeClr val="bg1">
                    <a:alpha val="80000"/>
                  </a:schemeClr>
                </a:solidFill>
                <a:prstDash val="solid"/>
                <a:round/>
              </a:ln>
            </p:spPr>
            <p:txBody>
              <a:bodyPr rtlCol="0" anchor="ctr"/>
              <a:lstStyle/>
              <a:p>
                <a:endParaRPr lang="en-GB"/>
              </a:p>
            </p:txBody>
          </p:sp>
          <p:sp>
            <p:nvSpPr>
              <p:cNvPr id="6704" name="Vrije vorm: vorm 6703">
                <a:extLst>
                  <a:ext uri="{FF2B5EF4-FFF2-40B4-BE49-F238E27FC236}">
                    <a16:creationId xmlns:a16="http://schemas.microsoft.com/office/drawing/2014/main" id="{537C6241-E2CE-454B-8032-9362DCA50568}"/>
                  </a:ext>
                </a:extLst>
              </p:cNvPr>
              <p:cNvSpPr/>
              <p:nvPr/>
            </p:nvSpPr>
            <p:spPr>
              <a:xfrm>
                <a:off x="6693883" y="1809986"/>
                <a:ext cx="45812" cy="40429"/>
              </a:xfrm>
              <a:custGeom>
                <a:avLst/>
                <a:gdLst>
                  <a:gd name="connsiteX0" fmla="*/ 0 w 45812"/>
                  <a:gd name="connsiteY0" fmla="*/ 5383 h 40429"/>
                  <a:gd name="connsiteX1" fmla="*/ 778 w 45812"/>
                  <a:gd name="connsiteY1" fmla="*/ 3768 h 40429"/>
                  <a:gd name="connsiteX2" fmla="*/ 1136 w 45812"/>
                  <a:gd name="connsiteY2" fmla="*/ 2930 h 40429"/>
                  <a:gd name="connsiteX3" fmla="*/ 1675 w 45812"/>
                  <a:gd name="connsiteY3" fmla="*/ 1734 h 40429"/>
                  <a:gd name="connsiteX4" fmla="*/ 2392 w 45812"/>
                  <a:gd name="connsiteY4" fmla="*/ 538 h 40429"/>
                  <a:gd name="connsiteX5" fmla="*/ 3469 w 45812"/>
                  <a:gd name="connsiteY5" fmla="*/ 0 h 40429"/>
                  <a:gd name="connsiteX6" fmla="*/ 6399 w 45812"/>
                  <a:gd name="connsiteY6" fmla="*/ 598 h 40429"/>
                  <a:gd name="connsiteX7" fmla="*/ 8792 w 45812"/>
                  <a:gd name="connsiteY7" fmla="*/ 1076 h 40429"/>
                  <a:gd name="connsiteX8" fmla="*/ 11364 w 45812"/>
                  <a:gd name="connsiteY8" fmla="*/ 1615 h 40429"/>
                  <a:gd name="connsiteX9" fmla="*/ 13218 w 45812"/>
                  <a:gd name="connsiteY9" fmla="*/ 1974 h 40429"/>
                  <a:gd name="connsiteX10" fmla="*/ 13337 w 45812"/>
                  <a:gd name="connsiteY10" fmla="*/ 1974 h 40429"/>
                  <a:gd name="connsiteX11" fmla="*/ 20036 w 45812"/>
                  <a:gd name="connsiteY11" fmla="*/ 4605 h 40429"/>
                  <a:gd name="connsiteX12" fmla="*/ 26076 w 45812"/>
                  <a:gd name="connsiteY12" fmla="*/ 6997 h 40429"/>
                  <a:gd name="connsiteX13" fmla="*/ 27033 w 45812"/>
                  <a:gd name="connsiteY13" fmla="*/ 7595 h 40429"/>
                  <a:gd name="connsiteX14" fmla="*/ 30083 w 45812"/>
                  <a:gd name="connsiteY14" fmla="*/ 9450 h 40429"/>
                  <a:gd name="connsiteX15" fmla="*/ 30681 w 45812"/>
                  <a:gd name="connsiteY15" fmla="*/ 9808 h 40429"/>
                  <a:gd name="connsiteX16" fmla="*/ 34030 w 45812"/>
                  <a:gd name="connsiteY16" fmla="*/ 11842 h 40429"/>
                  <a:gd name="connsiteX17" fmla="*/ 37380 w 45812"/>
                  <a:gd name="connsiteY17" fmla="*/ 15012 h 40429"/>
                  <a:gd name="connsiteX18" fmla="*/ 39892 w 45812"/>
                  <a:gd name="connsiteY18" fmla="*/ 17344 h 40429"/>
                  <a:gd name="connsiteX19" fmla="*/ 41207 w 45812"/>
                  <a:gd name="connsiteY19" fmla="*/ 18600 h 40429"/>
                  <a:gd name="connsiteX20" fmla="*/ 45813 w 45812"/>
                  <a:gd name="connsiteY20" fmla="*/ 24341 h 40429"/>
                  <a:gd name="connsiteX21" fmla="*/ 45334 w 45812"/>
                  <a:gd name="connsiteY21" fmla="*/ 26016 h 40429"/>
                  <a:gd name="connsiteX22" fmla="*/ 45274 w 45812"/>
                  <a:gd name="connsiteY22" fmla="*/ 26195 h 40429"/>
                  <a:gd name="connsiteX23" fmla="*/ 44497 w 45812"/>
                  <a:gd name="connsiteY23" fmla="*/ 28887 h 40429"/>
                  <a:gd name="connsiteX24" fmla="*/ 43001 w 45812"/>
                  <a:gd name="connsiteY24" fmla="*/ 34210 h 40429"/>
                  <a:gd name="connsiteX25" fmla="*/ 42523 w 45812"/>
                  <a:gd name="connsiteY25" fmla="*/ 35884 h 40429"/>
                  <a:gd name="connsiteX26" fmla="*/ 41985 w 45812"/>
                  <a:gd name="connsiteY26" fmla="*/ 36423 h 40429"/>
                  <a:gd name="connsiteX27" fmla="*/ 38097 w 45812"/>
                  <a:gd name="connsiteY27" fmla="*/ 40430 h 40429"/>
                  <a:gd name="connsiteX28" fmla="*/ 36303 w 45812"/>
                  <a:gd name="connsiteY28" fmla="*/ 40190 h 40429"/>
                  <a:gd name="connsiteX29" fmla="*/ 35645 w 45812"/>
                  <a:gd name="connsiteY29" fmla="*/ 39772 h 4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812" h="40429">
                    <a:moveTo>
                      <a:pt x="0" y="5383"/>
                    </a:moveTo>
                    <a:lnTo>
                      <a:pt x="778" y="3768"/>
                    </a:lnTo>
                    <a:lnTo>
                      <a:pt x="1136" y="2930"/>
                    </a:lnTo>
                    <a:lnTo>
                      <a:pt x="1675" y="1734"/>
                    </a:lnTo>
                    <a:lnTo>
                      <a:pt x="2392" y="538"/>
                    </a:lnTo>
                    <a:lnTo>
                      <a:pt x="3469" y="0"/>
                    </a:lnTo>
                    <a:lnTo>
                      <a:pt x="6399" y="598"/>
                    </a:lnTo>
                    <a:lnTo>
                      <a:pt x="8792" y="1076"/>
                    </a:lnTo>
                    <a:lnTo>
                      <a:pt x="11364" y="1615"/>
                    </a:lnTo>
                    <a:lnTo>
                      <a:pt x="13218" y="1974"/>
                    </a:lnTo>
                    <a:lnTo>
                      <a:pt x="13337" y="1974"/>
                    </a:lnTo>
                    <a:lnTo>
                      <a:pt x="20036" y="4605"/>
                    </a:lnTo>
                    <a:lnTo>
                      <a:pt x="26076" y="6997"/>
                    </a:lnTo>
                    <a:lnTo>
                      <a:pt x="27033" y="7595"/>
                    </a:lnTo>
                    <a:lnTo>
                      <a:pt x="30083" y="9450"/>
                    </a:lnTo>
                    <a:lnTo>
                      <a:pt x="30681" y="9808"/>
                    </a:lnTo>
                    <a:lnTo>
                      <a:pt x="34030" y="11842"/>
                    </a:lnTo>
                    <a:lnTo>
                      <a:pt x="37380" y="15012"/>
                    </a:lnTo>
                    <a:lnTo>
                      <a:pt x="39892" y="17344"/>
                    </a:lnTo>
                    <a:lnTo>
                      <a:pt x="41207" y="18600"/>
                    </a:lnTo>
                    <a:lnTo>
                      <a:pt x="45813" y="24341"/>
                    </a:lnTo>
                    <a:lnTo>
                      <a:pt x="45334" y="26016"/>
                    </a:lnTo>
                    <a:lnTo>
                      <a:pt x="45274" y="26195"/>
                    </a:lnTo>
                    <a:lnTo>
                      <a:pt x="44497" y="28887"/>
                    </a:lnTo>
                    <a:lnTo>
                      <a:pt x="43001" y="34210"/>
                    </a:lnTo>
                    <a:lnTo>
                      <a:pt x="42523" y="35884"/>
                    </a:lnTo>
                    <a:lnTo>
                      <a:pt x="41985" y="36423"/>
                    </a:lnTo>
                    <a:lnTo>
                      <a:pt x="38097" y="40430"/>
                    </a:lnTo>
                    <a:lnTo>
                      <a:pt x="36303" y="40190"/>
                    </a:lnTo>
                    <a:lnTo>
                      <a:pt x="35645" y="39772"/>
                    </a:lnTo>
                  </a:path>
                </a:pathLst>
              </a:custGeom>
              <a:noFill/>
              <a:ln w="6350" cap="rnd">
                <a:solidFill>
                  <a:schemeClr val="bg1">
                    <a:alpha val="80000"/>
                  </a:schemeClr>
                </a:solidFill>
                <a:prstDash val="solid"/>
                <a:round/>
              </a:ln>
            </p:spPr>
            <p:txBody>
              <a:bodyPr rtlCol="0" anchor="ctr"/>
              <a:lstStyle/>
              <a:p>
                <a:endParaRPr lang="en-GB"/>
              </a:p>
            </p:txBody>
          </p:sp>
          <p:sp>
            <p:nvSpPr>
              <p:cNvPr id="6705" name="Vrije vorm: vorm 6704">
                <a:extLst>
                  <a:ext uri="{FF2B5EF4-FFF2-40B4-BE49-F238E27FC236}">
                    <a16:creationId xmlns:a16="http://schemas.microsoft.com/office/drawing/2014/main" id="{D29372FF-F4CB-4715-8474-94862C8565DF}"/>
                  </a:ext>
                </a:extLst>
              </p:cNvPr>
              <p:cNvSpPr/>
              <p:nvPr/>
            </p:nvSpPr>
            <p:spPr>
              <a:xfrm>
                <a:off x="6640296" y="1958427"/>
                <a:ext cx="28827" cy="16865"/>
              </a:xfrm>
              <a:custGeom>
                <a:avLst/>
                <a:gdLst>
                  <a:gd name="connsiteX0" fmla="*/ 26913 w 28827"/>
                  <a:gd name="connsiteY0" fmla="*/ 0 h 16865"/>
                  <a:gd name="connsiteX1" fmla="*/ 27332 w 28827"/>
                  <a:gd name="connsiteY1" fmla="*/ 299 h 16865"/>
                  <a:gd name="connsiteX2" fmla="*/ 27511 w 28827"/>
                  <a:gd name="connsiteY2" fmla="*/ 419 h 16865"/>
                  <a:gd name="connsiteX3" fmla="*/ 28827 w 28827"/>
                  <a:gd name="connsiteY3" fmla="*/ 1316 h 16865"/>
                  <a:gd name="connsiteX4" fmla="*/ 27332 w 28827"/>
                  <a:gd name="connsiteY4" fmla="*/ 7057 h 16865"/>
                  <a:gd name="connsiteX5" fmla="*/ 26016 w 28827"/>
                  <a:gd name="connsiteY5" fmla="*/ 8612 h 16865"/>
                  <a:gd name="connsiteX6" fmla="*/ 22428 w 28827"/>
                  <a:gd name="connsiteY6" fmla="*/ 12739 h 16865"/>
                  <a:gd name="connsiteX7" fmla="*/ 21889 w 28827"/>
                  <a:gd name="connsiteY7" fmla="*/ 13337 h 16865"/>
                  <a:gd name="connsiteX8" fmla="*/ 19856 w 28827"/>
                  <a:gd name="connsiteY8" fmla="*/ 15669 h 16865"/>
                  <a:gd name="connsiteX9" fmla="*/ 19198 w 28827"/>
                  <a:gd name="connsiteY9" fmla="*/ 16447 h 16865"/>
                  <a:gd name="connsiteX10" fmla="*/ 15012 w 28827"/>
                  <a:gd name="connsiteY10" fmla="*/ 16866 h 16865"/>
                  <a:gd name="connsiteX11" fmla="*/ 10287 w 28827"/>
                  <a:gd name="connsiteY11" fmla="*/ 16746 h 16865"/>
                  <a:gd name="connsiteX12" fmla="*/ 7715 w 28827"/>
                  <a:gd name="connsiteY12" fmla="*/ 16088 h 16865"/>
                  <a:gd name="connsiteX13" fmla="*/ 3110 w 28827"/>
                  <a:gd name="connsiteY13" fmla="*/ 14294 h 16865"/>
                  <a:gd name="connsiteX14" fmla="*/ 359 w 28827"/>
                  <a:gd name="connsiteY14" fmla="*/ 11722 h 16865"/>
                  <a:gd name="connsiteX15" fmla="*/ 0 w 28827"/>
                  <a:gd name="connsiteY15" fmla="*/ 9390 h 1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827" h="16865">
                    <a:moveTo>
                      <a:pt x="26913" y="0"/>
                    </a:moveTo>
                    <a:lnTo>
                      <a:pt x="27332" y="299"/>
                    </a:lnTo>
                    <a:lnTo>
                      <a:pt x="27511" y="419"/>
                    </a:lnTo>
                    <a:lnTo>
                      <a:pt x="28827" y="1316"/>
                    </a:lnTo>
                    <a:lnTo>
                      <a:pt x="27332" y="7057"/>
                    </a:lnTo>
                    <a:lnTo>
                      <a:pt x="26016" y="8612"/>
                    </a:lnTo>
                    <a:lnTo>
                      <a:pt x="22428" y="12739"/>
                    </a:lnTo>
                    <a:lnTo>
                      <a:pt x="21889" y="13337"/>
                    </a:lnTo>
                    <a:lnTo>
                      <a:pt x="19856" y="15669"/>
                    </a:lnTo>
                    <a:lnTo>
                      <a:pt x="19198" y="16447"/>
                    </a:lnTo>
                    <a:lnTo>
                      <a:pt x="15012" y="16866"/>
                    </a:lnTo>
                    <a:lnTo>
                      <a:pt x="10287" y="16746"/>
                    </a:lnTo>
                    <a:lnTo>
                      <a:pt x="7715" y="16088"/>
                    </a:lnTo>
                    <a:lnTo>
                      <a:pt x="3110" y="14294"/>
                    </a:lnTo>
                    <a:lnTo>
                      <a:pt x="359" y="11722"/>
                    </a:lnTo>
                    <a:lnTo>
                      <a:pt x="0" y="9390"/>
                    </a:lnTo>
                  </a:path>
                </a:pathLst>
              </a:custGeom>
              <a:noFill/>
              <a:ln w="6350" cap="rnd">
                <a:solidFill>
                  <a:schemeClr val="bg1">
                    <a:alpha val="80000"/>
                  </a:schemeClr>
                </a:solidFill>
                <a:prstDash val="solid"/>
                <a:round/>
              </a:ln>
            </p:spPr>
            <p:txBody>
              <a:bodyPr rtlCol="0" anchor="ctr"/>
              <a:lstStyle/>
              <a:p>
                <a:endParaRPr lang="en-GB"/>
              </a:p>
            </p:txBody>
          </p:sp>
          <p:sp>
            <p:nvSpPr>
              <p:cNvPr id="6706" name="Vrije vorm: vorm 6705">
                <a:extLst>
                  <a:ext uri="{FF2B5EF4-FFF2-40B4-BE49-F238E27FC236}">
                    <a16:creationId xmlns:a16="http://schemas.microsoft.com/office/drawing/2014/main" id="{790600A7-7978-4EFC-9F0C-72F0B33DCFE6}"/>
                  </a:ext>
                </a:extLst>
              </p:cNvPr>
              <p:cNvSpPr/>
              <p:nvPr/>
            </p:nvSpPr>
            <p:spPr>
              <a:xfrm>
                <a:off x="6851116" y="1974815"/>
                <a:ext cx="57714" cy="22487"/>
              </a:xfrm>
              <a:custGeom>
                <a:avLst/>
                <a:gdLst>
                  <a:gd name="connsiteX0" fmla="*/ 120 w 57714"/>
                  <a:gd name="connsiteY0" fmla="*/ 10825 h 22487"/>
                  <a:gd name="connsiteX1" fmla="*/ 0 w 57714"/>
                  <a:gd name="connsiteY1" fmla="*/ 8672 h 22487"/>
                  <a:gd name="connsiteX2" fmla="*/ 539 w 57714"/>
                  <a:gd name="connsiteY2" fmla="*/ 5741 h 22487"/>
                  <a:gd name="connsiteX3" fmla="*/ 539 w 57714"/>
                  <a:gd name="connsiteY3" fmla="*/ 5741 h 22487"/>
                  <a:gd name="connsiteX4" fmla="*/ 1077 w 57714"/>
                  <a:gd name="connsiteY4" fmla="*/ 4785 h 22487"/>
                  <a:gd name="connsiteX5" fmla="*/ 1555 w 57714"/>
                  <a:gd name="connsiteY5" fmla="*/ 3887 h 22487"/>
                  <a:gd name="connsiteX6" fmla="*/ 6998 w 57714"/>
                  <a:gd name="connsiteY6" fmla="*/ 2572 h 22487"/>
                  <a:gd name="connsiteX7" fmla="*/ 12500 w 57714"/>
                  <a:gd name="connsiteY7" fmla="*/ 1196 h 22487"/>
                  <a:gd name="connsiteX8" fmla="*/ 15491 w 57714"/>
                  <a:gd name="connsiteY8" fmla="*/ 957 h 22487"/>
                  <a:gd name="connsiteX9" fmla="*/ 27153 w 57714"/>
                  <a:gd name="connsiteY9" fmla="*/ 60 h 22487"/>
                  <a:gd name="connsiteX10" fmla="*/ 27751 w 57714"/>
                  <a:gd name="connsiteY10" fmla="*/ 0 h 22487"/>
                  <a:gd name="connsiteX11" fmla="*/ 29306 w 57714"/>
                  <a:gd name="connsiteY11" fmla="*/ 120 h 22487"/>
                  <a:gd name="connsiteX12" fmla="*/ 30023 w 57714"/>
                  <a:gd name="connsiteY12" fmla="*/ 179 h 22487"/>
                  <a:gd name="connsiteX13" fmla="*/ 30921 w 57714"/>
                  <a:gd name="connsiteY13" fmla="*/ 239 h 22487"/>
                  <a:gd name="connsiteX14" fmla="*/ 33014 w 57714"/>
                  <a:gd name="connsiteY14" fmla="*/ 419 h 22487"/>
                  <a:gd name="connsiteX15" fmla="*/ 33133 w 57714"/>
                  <a:gd name="connsiteY15" fmla="*/ 419 h 22487"/>
                  <a:gd name="connsiteX16" fmla="*/ 33253 w 57714"/>
                  <a:gd name="connsiteY16" fmla="*/ 419 h 22487"/>
                  <a:gd name="connsiteX17" fmla="*/ 34031 w 57714"/>
                  <a:gd name="connsiteY17" fmla="*/ 478 h 22487"/>
                  <a:gd name="connsiteX18" fmla="*/ 35346 w 57714"/>
                  <a:gd name="connsiteY18" fmla="*/ 598 h 22487"/>
                  <a:gd name="connsiteX19" fmla="*/ 37499 w 57714"/>
                  <a:gd name="connsiteY19" fmla="*/ 777 h 22487"/>
                  <a:gd name="connsiteX20" fmla="*/ 37499 w 57714"/>
                  <a:gd name="connsiteY20" fmla="*/ 777 h 22487"/>
                  <a:gd name="connsiteX21" fmla="*/ 37559 w 57714"/>
                  <a:gd name="connsiteY21" fmla="*/ 777 h 22487"/>
                  <a:gd name="connsiteX22" fmla="*/ 37978 w 57714"/>
                  <a:gd name="connsiteY22" fmla="*/ 837 h 22487"/>
                  <a:gd name="connsiteX23" fmla="*/ 41028 w 57714"/>
                  <a:gd name="connsiteY23" fmla="*/ 1794 h 22487"/>
                  <a:gd name="connsiteX24" fmla="*/ 47368 w 57714"/>
                  <a:gd name="connsiteY24" fmla="*/ 3768 h 22487"/>
                  <a:gd name="connsiteX25" fmla="*/ 48145 w 57714"/>
                  <a:gd name="connsiteY25" fmla="*/ 4007 h 22487"/>
                  <a:gd name="connsiteX26" fmla="*/ 48325 w 57714"/>
                  <a:gd name="connsiteY26" fmla="*/ 4127 h 22487"/>
                  <a:gd name="connsiteX27" fmla="*/ 50358 w 57714"/>
                  <a:gd name="connsiteY27" fmla="*/ 5143 h 22487"/>
                  <a:gd name="connsiteX28" fmla="*/ 53468 w 57714"/>
                  <a:gd name="connsiteY28" fmla="*/ 6698 h 22487"/>
                  <a:gd name="connsiteX29" fmla="*/ 53648 w 57714"/>
                  <a:gd name="connsiteY29" fmla="*/ 6758 h 22487"/>
                  <a:gd name="connsiteX30" fmla="*/ 53648 w 57714"/>
                  <a:gd name="connsiteY30" fmla="*/ 6758 h 22487"/>
                  <a:gd name="connsiteX31" fmla="*/ 54066 w 57714"/>
                  <a:gd name="connsiteY31" fmla="*/ 6938 h 22487"/>
                  <a:gd name="connsiteX32" fmla="*/ 54305 w 57714"/>
                  <a:gd name="connsiteY32" fmla="*/ 7057 h 22487"/>
                  <a:gd name="connsiteX33" fmla="*/ 55203 w 57714"/>
                  <a:gd name="connsiteY33" fmla="*/ 7536 h 22487"/>
                  <a:gd name="connsiteX34" fmla="*/ 55262 w 57714"/>
                  <a:gd name="connsiteY34" fmla="*/ 7715 h 22487"/>
                  <a:gd name="connsiteX35" fmla="*/ 55681 w 57714"/>
                  <a:gd name="connsiteY35" fmla="*/ 8851 h 22487"/>
                  <a:gd name="connsiteX36" fmla="*/ 55681 w 57714"/>
                  <a:gd name="connsiteY36" fmla="*/ 8851 h 22487"/>
                  <a:gd name="connsiteX37" fmla="*/ 56518 w 57714"/>
                  <a:gd name="connsiteY37" fmla="*/ 11184 h 22487"/>
                  <a:gd name="connsiteX38" fmla="*/ 56757 w 57714"/>
                  <a:gd name="connsiteY38" fmla="*/ 11782 h 22487"/>
                  <a:gd name="connsiteX39" fmla="*/ 57236 w 57714"/>
                  <a:gd name="connsiteY39" fmla="*/ 13098 h 22487"/>
                  <a:gd name="connsiteX40" fmla="*/ 57535 w 57714"/>
                  <a:gd name="connsiteY40" fmla="*/ 13935 h 22487"/>
                  <a:gd name="connsiteX41" fmla="*/ 57714 w 57714"/>
                  <a:gd name="connsiteY41" fmla="*/ 14473 h 22487"/>
                  <a:gd name="connsiteX42" fmla="*/ 57056 w 57714"/>
                  <a:gd name="connsiteY42" fmla="*/ 15849 h 22487"/>
                  <a:gd name="connsiteX43" fmla="*/ 54963 w 57714"/>
                  <a:gd name="connsiteY43" fmla="*/ 20394 h 22487"/>
                  <a:gd name="connsiteX44" fmla="*/ 54903 w 57714"/>
                  <a:gd name="connsiteY44" fmla="*/ 20454 h 22487"/>
                  <a:gd name="connsiteX45" fmla="*/ 52870 w 57714"/>
                  <a:gd name="connsiteY45" fmla="*/ 22308 h 22487"/>
                  <a:gd name="connsiteX46" fmla="*/ 52631 w 57714"/>
                  <a:gd name="connsiteY46" fmla="*/ 22487 h 22487"/>
                  <a:gd name="connsiteX47" fmla="*/ 52271 w 57714"/>
                  <a:gd name="connsiteY47" fmla="*/ 22308 h 22487"/>
                  <a:gd name="connsiteX48" fmla="*/ 51554 w 57714"/>
                  <a:gd name="connsiteY48" fmla="*/ 21889 h 22487"/>
                  <a:gd name="connsiteX49" fmla="*/ 50538 w 57714"/>
                  <a:gd name="connsiteY49" fmla="*/ 21291 h 22487"/>
                  <a:gd name="connsiteX50" fmla="*/ 50118 w 57714"/>
                  <a:gd name="connsiteY50" fmla="*/ 21052 h 22487"/>
                  <a:gd name="connsiteX51" fmla="*/ 50118 w 57714"/>
                  <a:gd name="connsiteY51" fmla="*/ 21052 h 22487"/>
                  <a:gd name="connsiteX52" fmla="*/ 50118 w 57714"/>
                  <a:gd name="connsiteY52" fmla="*/ 21052 h 22487"/>
                  <a:gd name="connsiteX53" fmla="*/ 49640 w 57714"/>
                  <a:gd name="connsiteY53" fmla="*/ 20753 h 2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714" h="22487">
                    <a:moveTo>
                      <a:pt x="120" y="10825"/>
                    </a:moveTo>
                    <a:lnTo>
                      <a:pt x="0" y="8672"/>
                    </a:lnTo>
                    <a:lnTo>
                      <a:pt x="539" y="5741"/>
                    </a:lnTo>
                    <a:lnTo>
                      <a:pt x="539" y="5741"/>
                    </a:lnTo>
                    <a:lnTo>
                      <a:pt x="1077" y="4785"/>
                    </a:lnTo>
                    <a:lnTo>
                      <a:pt x="1555" y="3887"/>
                    </a:lnTo>
                    <a:lnTo>
                      <a:pt x="6998" y="2572"/>
                    </a:lnTo>
                    <a:lnTo>
                      <a:pt x="12500" y="1196"/>
                    </a:lnTo>
                    <a:lnTo>
                      <a:pt x="15491" y="957"/>
                    </a:lnTo>
                    <a:lnTo>
                      <a:pt x="27153" y="60"/>
                    </a:lnTo>
                    <a:lnTo>
                      <a:pt x="27751" y="0"/>
                    </a:lnTo>
                    <a:lnTo>
                      <a:pt x="29306" y="120"/>
                    </a:lnTo>
                    <a:lnTo>
                      <a:pt x="30023" y="179"/>
                    </a:lnTo>
                    <a:lnTo>
                      <a:pt x="30921" y="239"/>
                    </a:lnTo>
                    <a:lnTo>
                      <a:pt x="33014" y="419"/>
                    </a:lnTo>
                    <a:lnTo>
                      <a:pt x="33133" y="419"/>
                    </a:lnTo>
                    <a:lnTo>
                      <a:pt x="33253" y="419"/>
                    </a:lnTo>
                    <a:lnTo>
                      <a:pt x="34031" y="478"/>
                    </a:lnTo>
                    <a:lnTo>
                      <a:pt x="35346" y="598"/>
                    </a:lnTo>
                    <a:lnTo>
                      <a:pt x="37499" y="777"/>
                    </a:lnTo>
                    <a:lnTo>
                      <a:pt x="37499" y="777"/>
                    </a:lnTo>
                    <a:lnTo>
                      <a:pt x="37559" y="777"/>
                    </a:lnTo>
                    <a:lnTo>
                      <a:pt x="37978" y="837"/>
                    </a:lnTo>
                    <a:lnTo>
                      <a:pt x="41028" y="1794"/>
                    </a:lnTo>
                    <a:lnTo>
                      <a:pt x="47368" y="3768"/>
                    </a:lnTo>
                    <a:lnTo>
                      <a:pt x="48145" y="4007"/>
                    </a:lnTo>
                    <a:lnTo>
                      <a:pt x="48325" y="4127"/>
                    </a:lnTo>
                    <a:lnTo>
                      <a:pt x="50358" y="5143"/>
                    </a:lnTo>
                    <a:lnTo>
                      <a:pt x="53468" y="6698"/>
                    </a:lnTo>
                    <a:lnTo>
                      <a:pt x="53648" y="6758"/>
                    </a:lnTo>
                    <a:lnTo>
                      <a:pt x="53648" y="6758"/>
                    </a:lnTo>
                    <a:lnTo>
                      <a:pt x="54066" y="6938"/>
                    </a:lnTo>
                    <a:lnTo>
                      <a:pt x="54305" y="7057"/>
                    </a:lnTo>
                    <a:lnTo>
                      <a:pt x="55203" y="7536"/>
                    </a:lnTo>
                    <a:lnTo>
                      <a:pt x="55262" y="7715"/>
                    </a:lnTo>
                    <a:lnTo>
                      <a:pt x="55681" y="8851"/>
                    </a:lnTo>
                    <a:lnTo>
                      <a:pt x="55681" y="8851"/>
                    </a:lnTo>
                    <a:lnTo>
                      <a:pt x="56518" y="11184"/>
                    </a:lnTo>
                    <a:lnTo>
                      <a:pt x="56757" y="11782"/>
                    </a:lnTo>
                    <a:lnTo>
                      <a:pt x="57236" y="13098"/>
                    </a:lnTo>
                    <a:lnTo>
                      <a:pt x="57535" y="13935"/>
                    </a:lnTo>
                    <a:lnTo>
                      <a:pt x="57714" y="14473"/>
                    </a:lnTo>
                    <a:lnTo>
                      <a:pt x="57056" y="15849"/>
                    </a:lnTo>
                    <a:lnTo>
                      <a:pt x="54963" y="20394"/>
                    </a:lnTo>
                    <a:lnTo>
                      <a:pt x="54903" y="20454"/>
                    </a:lnTo>
                    <a:lnTo>
                      <a:pt x="52870" y="22308"/>
                    </a:lnTo>
                    <a:lnTo>
                      <a:pt x="52631" y="22487"/>
                    </a:lnTo>
                    <a:lnTo>
                      <a:pt x="52271" y="22308"/>
                    </a:lnTo>
                    <a:lnTo>
                      <a:pt x="51554" y="21889"/>
                    </a:lnTo>
                    <a:lnTo>
                      <a:pt x="50538" y="21291"/>
                    </a:lnTo>
                    <a:lnTo>
                      <a:pt x="50118" y="21052"/>
                    </a:lnTo>
                    <a:lnTo>
                      <a:pt x="50118" y="21052"/>
                    </a:lnTo>
                    <a:lnTo>
                      <a:pt x="50118" y="21052"/>
                    </a:lnTo>
                    <a:lnTo>
                      <a:pt x="49640" y="20753"/>
                    </a:lnTo>
                  </a:path>
                </a:pathLst>
              </a:custGeom>
              <a:noFill/>
              <a:ln w="6350" cap="rnd">
                <a:solidFill>
                  <a:schemeClr val="bg1">
                    <a:alpha val="80000"/>
                  </a:schemeClr>
                </a:solidFill>
                <a:prstDash val="solid"/>
                <a:round/>
              </a:ln>
            </p:spPr>
            <p:txBody>
              <a:bodyPr rtlCol="0" anchor="ctr"/>
              <a:lstStyle/>
              <a:p>
                <a:endParaRPr lang="en-GB"/>
              </a:p>
            </p:txBody>
          </p:sp>
          <p:sp>
            <p:nvSpPr>
              <p:cNvPr id="6707" name="Vrije vorm: vorm 6706">
                <a:extLst>
                  <a:ext uri="{FF2B5EF4-FFF2-40B4-BE49-F238E27FC236}">
                    <a16:creationId xmlns:a16="http://schemas.microsoft.com/office/drawing/2014/main" id="{56A5E9BA-F9E1-4A27-8EFA-18EF32AC033E}"/>
                  </a:ext>
                </a:extLst>
              </p:cNvPr>
              <p:cNvSpPr/>
              <p:nvPr/>
            </p:nvSpPr>
            <p:spPr>
              <a:xfrm>
                <a:off x="6906916" y="1933787"/>
                <a:ext cx="42522" cy="46410"/>
              </a:xfrm>
              <a:custGeom>
                <a:avLst/>
                <a:gdLst>
                  <a:gd name="connsiteX0" fmla="*/ 0 w 42522"/>
                  <a:gd name="connsiteY0" fmla="*/ 3170 h 46410"/>
                  <a:gd name="connsiteX1" fmla="*/ 1136 w 42522"/>
                  <a:gd name="connsiteY1" fmla="*/ 1615 h 46410"/>
                  <a:gd name="connsiteX2" fmla="*/ 1196 w 42522"/>
                  <a:gd name="connsiteY2" fmla="*/ 1495 h 46410"/>
                  <a:gd name="connsiteX3" fmla="*/ 1196 w 42522"/>
                  <a:gd name="connsiteY3" fmla="*/ 1495 h 46410"/>
                  <a:gd name="connsiteX4" fmla="*/ 1256 w 42522"/>
                  <a:gd name="connsiteY4" fmla="*/ 1435 h 46410"/>
                  <a:gd name="connsiteX5" fmla="*/ 1435 w 42522"/>
                  <a:gd name="connsiteY5" fmla="*/ 1196 h 46410"/>
                  <a:gd name="connsiteX6" fmla="*/ 1734 w 42522"/>
                  <a:gd name="connsiteY6" fmla="*/ 837 h 46410"/>
                  <a:gd name="connsiteX7" fmla="*/ 1914 w 42522"/>
                  <a:gd name="connsiteY7" fmla="*/ 598 h 46410"/>
                  <a:gd name="connsiteX8" fmla="*/ 2093 w 42522"/>
                  <a:gd name="connsiteY8" fmla="*/ 359 h 46410"/>
                  <a:gd name="connsiteX9" fmla="*/ 2871 w 42522"/>
                  <a:gd name="connsiteY9" fmla="*/ 0 h 46410"/>
                  <a:gd name="connsiteX10" fmla="*/ 4246 w 42522"/>
                  <a:gd name="connsiteY10" fmla="*/ 478 h 46410"/>
                  <a:gd name="connsiteX11" fmla="*/ 4724 w 42522"/>
                  <a:gd name="connsiteY11" fmla="*/ 658 h 46410"/>
                  <a:gd name="connsiteX12" fmla="*/ 5622 w 42522"/>
                  <a:gd name="connsiteY12" fmla="*/ 957 h 46410"/>
                  <a:gd name="connsiteX13" fmla="*/ 5681 w 42522"/>
                  <a:gd name="connsiteY13" fmla="*/ 957 h 46410"/>
                  <a:gd name="connsiteX14" fmla="*/ 6279 w 42522"/>
                  <a:gd name="connsiteY14" fmla="*/ 1196 h 46410"/>
                  <a:gd name="connsiteX15" fmla="*/ 8971 w 42522"/>
                  <a:gd name="connsiteY15" fmla="*/ 2093 h 46410"/>
                  <a:gd name="connsiteX16" fmla="*/ 11961 w 42522"/>
                  <a:gd name="connsiteY16" fmla="*/ 3110 h 46410"/>
                  <a:gd name="connsiteX17" fmla="*/ 12260 w 42522"/>
                  <a:gd name="connsiteY17" fmla="*/ 3230 h 46410"/>
                  <a:gd name="connsiteX18" fmla="*/ 13038 w 42522"/>
                  <a:gd name="connsiteY18" fmla="*/ 3648 h 46410"/>
                  <a:gd name="connsiteX19" fmla="*/ 15072 w 42522"/>
                  <a:gd name="connsiteY19" fmla="*/ 4785 h 46410"/>
                  <a:gd name="connsiteX20" fmla="*/ 17523 w 42522"/>
                  <a:gd name="connsiteY20" fmla="*/ 6160 h 46410"/>
                  <a:gd name="connsiteX21" fmla="*/ 19138 w 42522"/>
                  <a:gd name="connsiteY21" fmla="*/ 7057 h 46410"/>
                  <a:gd name="connsiteX22" fmla="*/ 19497 w 42522"/>
                  <a:gd name="connsiteY22" fmla="*/ 7296 h 46410"/>
                  <a:gd name="connsiteX23" fmla="*/ 20454 w 42522"/>
                  <a:gd name="connsiteY23" fmla="*/ 7835 h 46410"/>
                  <a:gd name="connsiteX24" fmla="*/ 22368 w 42522"/>
                  <a:gd name="connsiteY24" fmla="*/ 8911 h 46410"/>
                  <a:gd name="connsiteX25" fmla="*/ 23504 w 42522"/>
                  <a:gd name="connsiteY25" fmla="*/ 9569 h 46410"/>
                  <a:gd name="connsiteX26" fmla="*/ 23564 w 42522"/>
                  <a:gd name="connsiteY26" fmla="*/ 9569 h 46410"/>
                  <a:gd name="connsiteX27" fmla="*/ 24162 w 42522"/>
                  <a:gd name="connsiteY27" fmla="*/ 9868 h 46410"/>
                  <a:gd name="connsiteX28" fmla="*/ 24700 w 42522"/>
                  <a:gd name="connsiteY28" fmla="*/ 10287 h 46410"/>
                  <a:gd name="connsiteX29" fmla="*/ 24760 w 42522"/>
                  <a:gd name="connsiteY29" fmla="*/ 10347 h 46410"/>
                  <a:gd name="connsiteX30" fmla="*/ 25657 w 42522"/>
                  <a:gd name="connsiteY30" fmla="*/ 11064 h 46410"/>
                  <a:gd name="connsiteX31" fmla="*/ 26016 w 42522"/>
                  <a:gd name="connsiteY31" fmla="*/ 11363 h 46410"/>
                  <a:gd name="connsiteX32" fmla="*/ 27391 w 42522"/>
                  <a:gd name="connsiteY32" fmla="*/ 12440 h 46410"/>
                  <a:gd name="connsiteX33" fmla="*/ 28289 w 42522"/>
                  <a:gd name="connsiteY33" fmla="*/ 13158 h 46410"/>
                  <a:gd name="connsiteX34" fmla="*/ 30262 w 42522"/>
                  <a:gd name="connsiteY34" fmla="*/ 14713 h 46410"/>
                  <a:gd name="connsiteX35" fmla="*/ 31578 w 42522"/>
                  <a:gd name="connsiteY35" fmla="*/ 15789 h 46410"/>
                  <a:gd name="connsiteX36" fmla="*/ 33552 w 42522"/>
                  <a:gd name="connsiteY36" fmla="*/ 18062 h 46410"/>
                  <a:gd name="connsiteX37" fmla="*/ 34389 w 42522"/>
                  <a:gd name="connsiteY37" fmla="*/ 19019 h 46410"/>
                  <a:gd name="connsiteX38" fmla="*/ 34748 w 42522"/>
                  <a:gd name="connsiteY38" fmla="*/ 19437 h 46410"/>
                  <a:gd name="connsiteX39" fmla="*/ 35765 w 42522"/>
                  <a:gd name="connsiteY39" fmla="*/ 20574 h 46410"/>
                  <a:gd name="connsiteX40" fmla="*/ 38277 w 42522"/>
                  <a:gd name="connsiteY40" fmla="*/ 23504 h 46410"/>
                  <a:gd name="connsiteX41" fmla="*/ 38396 w 42522"/>
                  <a:gd name="connsiteY41" fmla="*/ 23684 h 46410"/>
                  <a:gd name="connsiteX42" fmla="*/ 41985 w 42522"/>
                  <a:gd name="connsiteY42" fmla="*/ 29126 h 46410"/>
                  <a:gd name="connsiteX43" fmla="*/ 41985 w 42522"/>
                  <a:gd name="connsiteY43" fmla="*/ 29186 h 46410"/>
                  <a:gd name="connsiteX44" fmla="*/ 42403 w 42522"/>
                  <a:gd name="connsiteY44" fmla="*/ 29784 h 46410"/>
                  <a:gd name="connsiteX45" fmla="*/ 42523 w 42522"/>
                  <a:gd name="connsiteY45" fmla="*/ 29963 h 46410"/>
                  <a:gd name="connsiteX46" fmla="*/ 42164 w 42522"/>
                  <a:gd name="connsiteY46" fmla="*/ 30861 h 46410"/>
                  <a:gd name="connsiteX47" fmla="*/ 41985 w 42522"/>
                  <a:gd name="connsiteY47" fmla="*/ 31279 h 46410"/>
                  <a:gd name="connsiteX48" fmla="*/ 41865 w 42522"/>
                  <a:gd name="connsiteY48" fmla="*/ 31578 h 46410"/>
                  <a:gd name="connsiteX49" fmla="*/ 41506 w 42522"/>
                  <a:gd name="connsiteY49" fmla="*/ 32356 h 46410"/>
                  <a:gd name="connsiteX50" fmla="*/ 41446 w 42522"/>
                  <a:gd name="connsiteY50" fmla="*/ 32415 h 46410"/>
                  <a:gd name="connsiteX51" fmla="*/ 41028 w 42522"/>
                  <a:gd name="connsiteY51" fmla="*/ 33372 h 46410"/>
                  <a:gd name="connsiteX52" fmla="*/ 40609 w 42522"/>
                  <a:gd name="connsiteY52" fmla="*/ 34389 h 46410"/>
                  <a:gd name="connsiteX53" fmla="*/ 40370 w 42522"/>
                  <a:gd name="connsiteY53" fmla="*/ 34927 h 46410"/>
                  <a:gd name="connsiteX54" fmla="*/ 40370 w 42522"/>
                  <a:gd name="connsiteY54" fmla="*/ 34987 h 46410"/>
                  <a:gd name="connsiteX55" fmla="*/ 40190 w 42522"/>
                  <a:gd name="connsiteY55" fmla="*/ 35406 h 46410"/>
                  <a:gd name="connsiteX56" fmla="*/ 40071 w 42522"/>
                  <a:gd name="connsiteY56" fmla="*/ 35705 h 46410"/>
                  <a:gd name="connsiteX57" fmla="*/ 40071 w 42522"/>
                  <a:gd name="connsiteY57" fmla="*/ 35765 h 46410"/>
                  <a:gd name="connsiteX58" fmla="*/ 39831 w 42522"/>
                  <a:gd name="connsiteY58" fmla="*/ 36303 h 46410"/>
                  <a:gd name="connsiteX59" fmla="*/ 39831 w 42522"/>
                  <a:gd name="connsiteY59" fmla="*/ 36303 h 46410"/>
                  <a:gd name="connsiteX60" fmla="*/ 39473 w 42522"/>
                  <a:gd name="connsiteY60" fmla="*/ 37140 h 46410"/>
                  <a:gd name="connsiteX61" fmla="*/ 39353 w 42522"/>
                  <a:gd name="connsiteY61" fmla="*/ 37499 h 46410"/>
                  <a:gd name="connsiteX62" fmla="*/ 39233 w 42522"/>
                  <a:gd name="connsiteY62" fmla="*/ 37798 h 46410"/>
                  <a:gd name="connsiteX63" fmla="*/ 38875 w 42522"/>
                  <a:gd name="connsiteY63" fmla="*/ 38635 h 46410"/>
                  <a:gd name="connsiteX64" fmla="*/ 38635 w 42522"/>
                  <a:gd name="connsiteY64" fmla="*/ 39234 h 46410"/>
                  <a:gd name="connsiteX65" fmla="*/ 38456 w 42522"/>
                  <a:gd name="connsiteY65" fmla="*/ 39592 h 46410"/>
                  <a:gd name="connsiteX66" fmla="*/ 38456 w 42522"/>
                  <a:gd name="connsiteY66" fmla="*/ 39592 h 46410"/>
                  <a:gd name="connsiteX67" fmla="*/ 37977 w 42522"/>
                  <a:gd name="connsiteY67" fmla="*/ 40729 h 46410"/>
                  <a:gd name="connsiteX68" fmla="*/ 37380 w 42522"/>
                  <a:gd name="connsiteY68" fmla="*/ 42164 h 46410"/>
                  <a:gd name="connsiteX69" fmla="*/ 36482 w 42522"/>
                  <a:gd name="connsiteY69" fmla="*/ 43001 h 46410"/>
                  <a:gd name="connsiteX70" fmla="*/ 34867 w 42522"/>
                  <a:gd name="connsiteY70" fmla="*/ 44556 h 46410"/>
                  <a:gd name="connsiteX71" fmla="*/ 33791 w 42522"/>
                  <a:gd name="connsiteY71" fmla="*/ 45573 h 46410"/>
                  <a:gd name="connsiteX72" fmla="*/ 33252 w 42522"/>
                  <a:gd name="connsiteY72" fmla="*/ 46111 h 46410"/>
                  <a:gd name="connsiteX73" fmla="*/ 32954 w 42522"/>
                  <a:gd name="connsiteY73" fmla="*/ 46410 h 46410"/>
                  <a:gd name="connsiteX74" fmla="*/ 32655 w 42522"/>
                  <a:gd name="connsiteY74" fmla="*/ 46291 h 46410"/>
                  <a:gd name="connsiteX75" fmla="*/ 32655 w 42522"/>
                  <a:gd name="connsiteY75" fmla="*/ 46291 h 46410"/>
                  <a:gd name="connsiteX76" fmla="*/ 32057 w 42522"/>
                  <a:gd name="connsiteY76" fmla="*/ 45992 h 46410"/>
                  <a:gd name="connsiteX77" fmla="*/ 31817 w 42522"/>
                  <a:gd name="connsiteY77" fmla="*/ 45872 h 46410"/>
                  <a:gd name="connsiteX78" fmla="*/ 31757 w 42522"/>
                  <a:gd name="connsiteY78" fmla="*/ 45812 h 46410"/>
                  <a:gd name="connsiteX79" fmla="*/ 31040 w 42522"/>
                  <a:gd name="connsiteY79" fmla="*/ 45334 h 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2522" h="46410">
                    <a:moveTo>
                      <a:pt x="0" y="3170"/>
                    </a:moveTo>
                    <a:lnTo>
                      <a:pt x="1136" y="1615"/>
                    </a:lnTo>
                    <a:lnTo>
                      <a:pt x="1196" y="1495"/>
                    </a:lnTo>
                    <a:lnTo>
                      <a:pt x="1196" y="1495"/>
                    </a:lnTo>
                    <a:lnTo>
                      <a:pt x="1256" y="1435"/>
                    </a:lnTo>
                    <a:lnTo>
                      <a:pt x="1435" y="1196"/>
                    </a:lnTo>
                    <a:lnTo>
                      <a:pt x="1734" y="837"/>
                    </a:lnTo>
                    <a:lnTo>
                      <a:pt x="1914" y="598"/>
                    </a:lnTo>
                    <a:lnTo>
                      <a:pt x="2093" y="359"/>
                    </a:lnTo>
                    <a:lnTo>
                      <a:pt x="2871" y="0"/>
                    </a:lnTo>
                    <a:lnTo>
                      <a:pt x="4246" y="478"/>
                    </a:lnTo>
                    <a:lnTo>
                      <a:pt x="4724" y="658"/>
                    </a:lnTo>
                    <a:lnTo>
                      <a:pt x="5622" y="957"/>
                    </a:lnTo>
                    <a:lnTo>
                      <a:pt x="5681" y="957"/>
                    </a:lnTo>
                    <a:lnTo>
                      <a:pt x="6279" y="1196"/>
                    </a:lnTo>
                    <a:lnTo>
                      <a:pt x="8971" y="2093"/>
                    </a:lnTo>
                    <a:lnTo>
                      <a:pt x="11961" y="3110"/>
                    </a:lnTo>
                    <a:lnTo>
                      <a:pt x="12260" y="3230"/>
                    </a:lnTo>
                    <a:lnTo>
                      <a:pt x="13038" y="3648"/>
                    </a:lnTo>
                    <a:lnTo>
                      <a:pt x="15072" y="4785"/>
                    </a:lnTo>
                    <a:lnTo>
                      <a:pt x="17523" y="6160"/>
                    </a:lnTo>
                    <a:lnTo>
                      <a:pt x="19138" y="7057"/>
                    </a:lnTo>
                    <a:lnTo>
                      <a:pt x="19497" y="7296"/>
                    </a:lnTo>
                    <a:lnTo>
                      <a:pt x="20454" y="7835"/>
                    </a:lnTo>
                    <a:lnTo>
                      <a:pt x="22368" y="8911"/>
                    </a:lnTo>
                    <a:lnTo>
                      <a:pt x="23504" y="9569"/>
                    </a:lnTo>
                    <a:lnTo>
                      <a:pt x="23564" y="9569"/>
                    </a:lnTo>
                    <a:lnTo>
                      <a:pt x="24162" y="9868"/>
                    </a:lnTo>
                    <a:lnTo>
                      <a:pt x="24700" y="10287"/>
                    </a:lnTo>
                    <a:lnTo>
                      <a:pt x="24760" y="10347"/>
                    </a:lnTo>
                    <a:lnTo>
                      <a:pt x="25657" y="11064"/>
                    </a:lnTo>
                    <a:lnTo>
                      <a:pt x="26016" y="11363"/>
                    </a:lnTo>
                    <a:lnTo>
                      <a:pt x="27391" y="12440"/>
                    </a:lnTo>
                    <a:lnTo>
                      <a:pt x="28289" y="13158"/>
                    </a:lnTo>
                    <a:lnTo>
                      <a:pt x="30262" y="14713"/>
                    </a:lnTo>
                    <a:lnTo>
                      <a:pt x="31578" y="15789"/>
                    </a:lnTo>
                    <a:lnTo>
                      <a:pt x="33552" y="18062"/>
                    </a:lnTo>
                    <a:lnTo>
                      <a:pt x="34389" y="19019"/>
                    </a:lnTo>
                    <a:lnTo>
                      <a:pt x="34748" y="19437"/>
                    </a:lnTo>
                    <a:lnTo>
                      <a:pt x="35765" y="20574"/>
                    </a:lnTo>
                    <a:lnTo>
                      <a:pt x="38277" y="23504"/>
                    </a:lnTo>
                    <a:lnTo>
                      <a:pt x="38396" y="23684"/>
                    </a:lnTo>
                    <a:lnTo>
                      <a:pt x="41985" y="29126"/>
                    </a:lnTo>
                    <a:lnTo>
                      <a:pt x="41985" y="29186"/>
                    </a:lnTo>
                    <a:lnTo>
                      <a:pt x="42403" y="29784"/>
                    </a:lnTo>
                    <a:lnTo>
                      <a:pt x="42523" y="29963"/>
                    </a:lnTo>
                    <a:lnTo>
                      <a:pt x="42164" y="30861"/>
                    </a:lnTo>
                    <a:lnTo>
                      <a:pt x="41985" y="31279"/>
                    </a:lnTo>
                    <a:lnTo>
                      <a:pt x="41865" y="31578"/>
                    </a:lnTo>
                    <a:lnTo>
                      <a:pt x="41506" y="32356"/>
                    </a:lnTo>
                    <a:lnTo>
                      <a:pt x="41446" y="32415"/>
                    </a:lnTo>
                    <a:lnTo>
                      <a:pt x="41028" y="33372"/>
                    </a:lnTo>
                    <a:lnTo>
                      <a:pt x="40609" y="34389"/>
                    </a:lnTo>
                    <a:lnTo>
                      <a:pt x="40370" y="34927"/>
                    </a:lnTo>
                    <a:lnTo>
                      <a:pt x="40370" y="34987"/>
                    </a:lnTo>
                    <a:lnTo>
                      <a:pt x="40190" y="35406"/>
                    </a:lnTo>
                    <a:lnTo>
                      <a:pt x="40071" y="35705"/>
                    </a:lnTo>
                    <a:lnTo>
                      <a:pt x="40071" y="35765"/>
                    </a:lnTo>
                    <a:lnTo>
                      <a:pt x="39831" y="36303"/>
                    </a:lnTo>
                    <a:lnTo>
                      <a:pt x="39831" y="36303"/>
                    </a:lnTo>
                    <a:lnTo>
                      <a:pt x="39473" y="37140"/>
                    </a:lnTo>
                    <a:lnTo>
                      <a:pt x="39353" y="37499"/>
                    </a:lnTo>
                    <a:lnTo>
                      <a:pt x="39233" y="37798"/>
                    </a:lnTo>
                    <a:lnTo>
                      <a:pt x="38875" y="38635"/>
                    </a:lnTo>
                    <a:lnTo>
                      <a:pt x="38635" y="39234"/>
                    </a:lnTo>
                    <a:lnTo>
                      <a:pt x="38456" y="39592"/>
                    </a:lnTo>
                    <a:lnTo>
                      <a:pt x="38456" y="39592"/>
                    </a:lnTo>
                    <a:lnTo>
                      <a:pt x="37977" y="40729"/>
                    </a:lnTo>
                    <a:lnTo>
                      <a:pt x="37380" y="42164"/>
                    </a:lnTo>
                    <a:lnTo>
                      <a:pt x="36482" y="43001"/>
                    </a:lnTo>
                    <a:lnTo>
                      <a:pt x="34867" y="44556"/>
                    </a:lnTo>
                    <a:lnTo>
                      <a:pt x="33791" y="45573"/>
                    </a:lnTo>
                    <a:lnTo>
                      <a:pt x="33252" y="46111"/>
                    </a:lnTo>
                    <a:lnTo>
                      <a:pt x="32954" y="46410"/>
                    </a:lnTo>
                    <a:lnTo>
                      <a:pt x="32655" y="46291"/>
                    </a:lnTo>
                    <a:lnTo>
                      <a:pt x="32655" y="46291"/>
                    </a:lnTo>
                    <a:lnTo>
                      <a:pt x="32057" y="45992"/>
                    </a:lnTo>
                    <a:lnTo>
                      <a:pt x="31817" y="45872"/>
                    </a:lnTo>
                    <a:lnTo>
                      <a:pt x="31757" y="45812"/>
                    </a:lnTo>
                    <a:lnTo>
                      <a:pt x="31040" y="45334"/>
                    </a:lnTo>
                  </a:path>
                </a:pathLst>
              </a:custGeom>
              <a:noFill/>
              <a:ln w="6350" cap="rnd">
                <a:solidFill>
                  <a:schemeClr val="bg1">
                    <a:alpha val="80000"/>
                  </a:schemeClr>
                </a:solidFill>
                <a:prstDash val="solid"/>
                <a:round/>
              </a:ln>
            </p:spPr>
            <p:txBody>
              <a:bodyPr rtlCol="0" anchor="ctr"/>
              <a:lstStyle/>
              <a:p>
                <a:endParaRPr lang="en-GB"/>
              </a:p>
            </p:txBody>
          </p:sp>
          <p:sp>
            <p:nvSpPr>
              <p:cNvPr id="6708" name="Vrije vorm: vorm 6707">
                <a:extLst>
                  <a:ext uri="{FF2B5EF4-FFF2-40B4-BE49-F238E27FC236}">
                    <a16:creationId xmlns:a16="http://schemas.microsoft.com/office/drawing/2014/main" id="{527CFA85-F0D7-4294-8C4A-9FE036AFCD2A}"/>
                  </a:ext>
                </a:extLst>
              </p:cNvPr>
              <p:cNvSpPr/>
              <p:nvPr/>
            </p:nvSpPr>
            <p:spPr>
              <a:xfrm>
                <a:off x="6863855" y="2093891"/>
                <a:ext cx="16148" cy="16686"/>
              </a:xfrm>
              <a:custGeom>
                <a:avLst/>
                <a:gdLst>
                  <a:gd name="connsiteX0" fmla="*/ 15431 w 16148"/>
                  <a:gd name="connsiteY0" fmla="*/ 0 h 16686"/>
                  <a:gd name="connsiteX1" fmla="*/ 16148 w 16148"/>
                  <a:gd name="connsiteY1" fmla="*/ 478 h 16686"/>
                  <a:gd name="connsiteX2" fmla="*/ 16148 w 16148"/>
                  <a:gd name="connsiteY2" fmla="*/ 1076 h 16686"/>
                  <a:gd name="connsiteX3" fmla="*/ 16148 w 16148"/>
                  <a:gd name="connsiteY3" fmla="*/ 4725 h 16686"/>
                  <a:gd name="connsiteX4" fmla="*/ 16148 w 16148"/>
                  <a:gd name="connsiteY4" fmla="*/ 4904 h 16686"/>
                  <a:gd name="connsiteX5" fmla="*/ 15789 w 16148"/>
                  <a:gd name="connsiteY5" fmla="*/ 5562 h 16686"/>
                  <a:gd name="connsiteX6" fmla="*/ 10048 w 16148"/>
                  <a:gd name="connsiteY6" fmla="*/ 15490 h 16686"/>
                  <a:gd name="connsiteX7" fmla="*/ 6698 w 16148"/>
                  <a:gd name="connsiteY7" fmla="*/ 16686 h 16686"/>
                  <a:gd name="connsiteX8" fmla="*/ 2273 w 16148"/>
                  <a:gd name="connsiteY8" fmla="*/ 15610 h 16686"/>
                  <a:gd name="connsiteX9" fmla="*/ 0 w 16148"/>
                  <a:gd name="connsiteY9" fmla="*/ 14354 h 1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48" h="16686">
                    <a:moveTo>
                      <a:pt x="15431" y="0"/>
                    </a:moveTo>
                    <a:lnTo>
                      <a:pt x="16148" y="478"/>
                    </a:lnTo>
                    <a:lnTo>
                      <a:pt x="16148" y="1076"/>
                    </a:lnTo>
                    <a:lnTo>
                      <a:pt x="16148" y="4725"/>
                    </a:lnTo>
                    <a:lnTo>
                      <a:pt x="16148" y="4904"/>
                    </a:lnTo>
                    <a:lnTo>
                      <a:pt x="15789" y="5562"/>
                    </a:lnTo>
                    <a:lnTo>
                      <a:pt x="10048" y="15490"/>
                    </a:lnTo>
                    <a:lnTo>
                      <a:pt x="6698" y="16686"/>
                    </a:lnTo>
                    <a:lnTo>
                      <a:pt x="2273" y="15610"/>
                    </a:lnTo>
                    <a:lnTo>
                      <a:pt x="0" y="14354"/>
                    </a:lnTo>
                  </a:path>
                </a:pathLst>
              </a:custGeom>
              <a:noFill/>
              <a:ln w="6350" cap="rnd">
                <a:solidFill>
                  <a:schemeClr val="bg1">
                    <a:alpha val="80000"/>
                  </a:schemeClr>
                </a:solidFill>
                <a:prstDash val="solid"/>
                <a:round/>
              </a:ln>
            </p:spPr>
            <p:txBody>
              <a:bodyPr rtlCol="0" anchor="ctr"/>
              <a:lstStyle/>
              <a:p>
                <a:endParaRPr lang="en-GB"/>
              </a:p>
            </p:txBody>
          </p:sp>
          <p:sp>
            <p:nvSpPr>
              <p:cNvPr id="6709" name="Vrije vorm: vorm 6708">
                <a:extLst>
                  <a:ext uri="{FF2B5EF4-FFF2-40B4-BE49-F238E27FC236}">
                    <a16:creationId xmlns:a16="http://schemas.microsoft.com/office/drawing/2014/main" id="{B1008267-3EEE-40B3-AD69-5643331F4B7C}"/>
                  </a:ext>
                </a:extLst>
              </p:cNvPr>
              <p:cNvSpPr/>
              <p:nvPr/>
            </p:nvSpPr>
            <p:spPr>
              <a:xfrm>
                <a:off x="6880242" y="2086953"/>
                <a:ext cx="12978" cy="15848"/>
              </a:xfrm>
              <a:custGeom>
                <a:avLst/>
                <a:gdLst>
                  <a:gd name="connsiteX0" fmla="*/ 11005 w 12978"/>
                  <a:gd name="connsiteY0" fmla="*/ 0 h 15848"/>
                  <a:gd name="connsiteX1" fmla="*/ 11663 w 12978"/>
                  <a:gd name="connsiteY1" fmla="*/ 478 h 15848"/>
                  <a:gd name="connsiteX2" fmla="*/ 12679 w 12978"/>
                  <a:gd name="connsiteY2" fmla="*/ 2811 h 15848"/>
                  <a:gd name="connsiteX3" fmla="*/ 12978 w 12978"/>
                  <a:gd name="connsiteY3" fmla="*/ 3469 h 15848"/>
                  <a:gd name="connsiteX4" fmla="*/ 8971 w 12978"/>
                  <a:gd name="connsiteY4" fmla="*/ 13158 h 15848"/>
                  <a:gd name="connsiteX5" fmla="*/ 5144 w 12978"/>
                  <a:gd name="connsiteY5" fmla="*/ 15849 h 15848"/>
                  <a:gd name="connsiteX6" fmla="*/ 1555 w 12978"/>
                  <a:gd name="connsiteY6" fmla="*/ 13756 h 15848"/>
                  <a:gd name="connsiteX7" fmla="*/ 0 w 12978"/>
                  <a:gd name="connsiteY7" fmla="*/ 12141 h 1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78" h="15848">
                    <a:moveTo>
                      <a:pt x="11005" y="0"/>
                    </a:moveTo>
                    <a:lnTo>
                      <a:pt x="11663" y="478"/>
                    </a:lnTo>
                    <a:lnTo>
                      <a:pt x="12679" y="2811"/>
                    </a:lnTo>
                    <a:lnTo>
                      <a:pt x="12978" y="3469"/>
                    </a:lnTo>
                    <a:lnTo>
                      <a:pt x="8971" y="13158"/>
                    </a:lnTo>
                    <a:lnTo>
                      <a:pt x="5144" y="15849"/>
                    </a:lnTo>
                    <a:lnTo>
                      <a:pt x="1555" y="13756"/>
                    </a:lnTo>
                    <a:lnTo>
                      <a:pt x="0" y="12141"/>
                    </a:lnTo>
                  </a:path>
                </a:pathLst>
              </a:custGeom>
              <a:noFill/>
              <a:ln w="6350" cap="rnd">
                <a:solidFill>
                  <a:schemeClr val="bg1">
                    <a:alpha val="80000"/>
                  </a:schemeClr>
                </a:solidFill>
                <a:prstDash val="solid"/>
                <a:round/>
              </a:ln>
            </p:spPr>
            <p:txBody>
              <a:bodyPr rtlCol="0" anchor="ctr"/>
              <a:lstStyle/>
              <a:p>
                <a:endParaRPr lang="en-GB"/>
              </a:p>
            </p:txBody>
          </p:sp>
          <p:sp>
            <p:nvSpPr>
              <p:cNvPr id="6710" name="Vrije vorm: vorm 6709">
                <a:extLst>
                  <a:ext uri="{FF2B5EF4-FFF2-40B4-BE49-F238E27FC236}">
                    <a16:creationId xmlns:a16="http://schemas.microsoft.com/office/drawing/2014/main" id="{E5AD97C4-5C6A-4477-829C-8D81458627A8}"/>
                  </a:ext>
                </a:extLst>
              </p:cNvPr>
              <p:cNvSpPr/>
              <p:nvPr/>
            </p:nvSpPr>
            <p:spPr>
              <a:xfrm>
                <a:off x="6672053" y="1879063"/>
                <a:ext cx="7535" cy="10645"/>
              </a:xfrm>
              <a:custGeom>
                <a:avLst/>
                <a:gdLst>
                  <a:gd name="connsiteX0" fmla="*/ 0 w 7535"/>
                  <a:gd name="connsiteY0" fmla="*/ 0 h 10645"/>
                  <a:gd name="connsiteX1" fmla="*/ 5502 w 7535"/>
                  <a:gd name="connsiteY1" fmla="*/ 1376 h 10645"/>
                  <a:gd name="connsiteX2" fmla="*/ 6280 w 7535"/>
                  <a:gd name="connsiteY2" fmla="*/ 1555 h 10645"/>
                  <a:gd name="connsiteX3" fmla="*/ 7236 w 7535"/>
                  <a:gd name="connsiteY3" fmla="*/ 1794 h 10645"/>
                  <a:gd name="connsiteX4" fmla="*/ 7536 w 7535"/>
                  <a:gd name="connsiteY4" fmla="*/ 1854 h 10645"/>
                  <a:gd name="connsiteX5" fmla="*/ 7536 w 7535"/>
                  <a:gd name="connsiteY5" fmla="*/ 4246 h 10645"/>
                  <a:gd name="connsiteX6" fmla="*/ 7536 w 7535"/>
                  <a:gd name="connsiteY6" fmla="*/ 6519 h 10645"/>
                  <a:gd name="connsiteX7" fmla="*/ 5562 w 7535"/>
                  <a:gd name="connsiteY7" fmla="*/ 9270 h 10645"/>
                  <a:gd name="connsiteX8" fmla="*/ 2691 w 7535"/>
                  <a:gd name="connsiteY8" fmla="*/ 10227 h 10645"/>
                  <a:gd name="connsiteX9" fmla="*/ 1914 w 7535"/>
                  <a:gd name="connsiteY9" fmla="*/ 10466 h 10645"/>
                  <a:gd name="connsiteX10" fmla="*/ 1316 w 7535"/>
                  <a:gd name="connsiteY10" fmla="*/ 10646 h 10645"/>
                  <a:gd name="connsiteX11" fmla="*/ 119 w 7535"/>
                  <a:gd name="connsiteY11" fmla="*/ 10287 h 1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5" h="10645">
                    <a:moveTo>
                      <a:pt x="0" y="0"/>
                    </a:moveTo>
                    <a:lnTo>
                      <a:pt x="5502" y="1376"/>
                    </a:lnTo>
                    <a:lnTo>
                      <a:pt x="6280" y="1555"/>
                    </a:lnTo>
                    <a:lnTo>
                      <a:pt x="7236" y="1794"/>
                    </a:lnTo>
                    <a:lnTo>
                      <a:pt x="7536" y="1854"/>
                    </a:lnTo>
                    <a:lnTo>
                      <a:pt x="7536" y="4246"/>
                    </a:lnTo>
                    <a:lnTo>
                      <a:pt x="7536" y="6519"/>
                    </a:lnTo>
                    <a:lnTo>
                      <a:pt x="5562" y="9270"/>
                    </a:lnTo>
                    <a:lnTo>
                      <a:pt x="2691" y="10227"/>
                    </a:lnTo>
                    <a:lnTo>
                      <a:pt x="1914" y="10466"/>
                    </a:lnTo>
                    <a:lnTo>
                      <a:pt x="1316" y="10646"/>
                    </a:lnTo>
                    <a:lnTo>
                      <a:pt x="119" y="10287"/>
                    </a:lnTo>
                  </a:path>
                </a:pathLst>
              </a:custGeom>
              <a:noFill/>
              <a:ln w="6350" cap="rnd">
                <a:solidFill>
                  <a:schemeClr val="bg1">
                    <a:alpha val="80000"/>
                  </a:schemeClr>
                </a:solidFill>
                <a:prstDash val="solid"/>
                <a:round/>
              </a:ln>
            </p:spPr>
            <p:txBody>
              <a:bodyPr rtlCol="0" anchor="ctr"/>
              <a:lstStyle/>
              <a:p>
                <a:endParaRPr lang="en-GB"/>
              </a:p>
            </p:txBody>
          </p:sp>
          <p:sp>
            <p:nvSpPr>
              <p:cNvPr id="6711" name="Vrije vorm: vorm 6710">
                <a:extLst>
                  <a:ext uri="{FF2B5EF4-FFF2-40B4-BE49-F238E27FC236}">
                    <a16:creationId xmlns:a16="http://schemas.microsoft.com/office/drawing/2014/main" id="{59B08C8E-4AAC-4183-ACF2-89285A98142C}"/>
                  </a:ext>
                </a:extLst>
              </p:cNvPr>
              <p:cNvSpPr/>
              <p:nvPr/>
            </p:nvSpPr>
            <p:spPr>
              <a:xfrm>
                <a:off x="6740592" y="1853645"/>
                <a:ext cx="1913" cy="897"/>
              </a:xfrm>
              <a:custGeom>
                <a:avLst/>
                <a:gdLst>
                  <a:gd name="connsiteX0" fmla="*/ 1914 w 1913"/>
                  <a:gd name="connsiteY0" fmla="*/ 0 h 897"/>
                  <a:gd name="connsiteX1" fmla="*/ 598 w 1913"/>
                  <a:gd name="connsiteY1" fmla="*/ 897 h 897"/>
                  <a:gd name="connsiteX2" fmla="*/ 0 w 1913"/>
                  <a:gd name="connsiteY2" fmla="*/ 478 h 897"/>
                </a:gdLst>
                <a:ahLst/>
                <a:cxnLst>
                  <a:cxn ang="0">
                    <a:pos x="connsiteX0" y="connsiteY0"/>
                  </a:cxn>
                  <a:cxn ang="0">
                    <a:pos x="connsiteX1" y="connsiteY1"/>
                  </a:cxn>
                  <a:cxn ang="0">
                    <a:pos x="connsiteX2" y="connsiteY2"/>
                  </a:cxn>
                </a:cxnLst>
                <a:rect l="l" t="t" r="r" b="b"/>
                <a:pathLst>
                  <a:path w="1913" h="897">
                    <a:moveTo>
                      <a:pt x="1914" y="0"/>
                    </a:moveTo>
                    <a:lnTo>
                      <a:pt x="598" y="897"/>
                    </a:lnTo>
                    <a:lnTo>
                      <a:pt x="0" y="478"/>
                    </a:lnTo>
                  </a:path>
                </a:pathLst>
              </a:custGeom>
              <a:noFill/>
              <a:ln w="6350" cap="rnd">
                <a:solidFill>
                  <a:schemeClr val="bg1">
                    <a:alpha val="80000"/>
                  </a:schemeClr>
                </a:solidFill>
                <a:prstDash val="solid"/>
                <a:round/>
              </a:ln>
            </p:spPr>
            <p:txBody>
              <a:bodyPr rtlCol="0" anchor="ctr"/>
              <a:lstStyle/>
              <a:p>
                <a:endParaRPr lang="en-GB"/>
              </a:p>
            </p:txBody>
          </p:sp>
          <p:sp>
            <p:nvSpPr>
              <p:cNvPr id="6712" name="Vrije vorm: vorm 6711">
                <a:extLst>
                  <a:ext uri="{FF2B5EF4-FFF2-40B4-BE49-F238E27FC236}">
                    <a16:creationId xmlns:a16="http://schemas.microsoft.com/office/drawing/2014/main" id="{2E42301D-A34E-4DAA-ADE2-7398E96D3D88}"/>
                  </a:ext>
                </a:extLst>
              </p:cNvPr>
              <p:cNvSpPr/>
              <p:nvPr/>
            </p:nvSpPr>
            <p:spPr>
              <a:xfrm>
                <a:off x="6625284" y="1950234"/>
                <a:ext cx="36841" cy="17702"/>
              </a:xfrm>
              <a:custGeom>
                <a:avLst/>
                <a:gdLst>
                  <a:gd name="connsiteX0" fmla="*/ 35645 w 36841"/>
                  <a:gd name="connsiteY0" fmla="*/ 0 h 17702"/>
                  <a:gd name="connsiteX1" fmla="*/ 36243 w 36841"/>
                  <a:gd name="connsiteY1" fmla="*/ 419 h 17702"/>
                  <a:gd name="connsiteX2" fmla="*/ 36722 w 36841"/>
                  <a:gd name="connsiteY2" fmla="*/ 1734 h 17702"/>
                  <a:gd name="connsiteX3" fmla="*/ 36841 w 36841"/>
                  <a:gd name="connsiteY3" fmla="*/ 2093 h 17702"/>
                  <a:gd name="connsiteX4" fmla="*/ 34808 w 36841"/>
                  <a:gd name="connsiteY4" fmla="*/ 6459 h 17702"/>
                  <a:gd name="connsiteX5" fmla="*/ 34030 w 36841"/>
                  <a:gd name="connsiteY5" fmla="*/ 8074 h 17702"/>
                  <a:gd name="connsiteX6" fmla="*/ 33014 w 36841"/>
                  <a:gd name="connsiteY6" fmla="*/ 8911 h 17702"/>
                  <a:gd name="connsiteX7" fmla="*/ 24880 w 36841"/>
                  <a:gd name="connsiteY7" fmla="*/ 15610 h 17702"/>
                  <a:gd name="connsiteX8" fmla="*/ 23624 w 36841"/>
                  <a:gd name="connsiteY8" fmla="*/ 15789 h 17702"/>
                  <a:gd name="connsiteX9" fmla="*/ 23384 w 36841"/>
                  <a:gd name="connsiteY9" fmla="*/ 15849 h 17702"/>
                  <a:gd name="connsiteX10" fmla="*/ 20873 w 36841"/>
                  <a:gd name="connsiteY10" fmla="*/ 16208 h 17702"/>
                  <a:gd name="connsiteX11" fmla="*/ 19856 w 36841"/>
                  <a:gd name="connsiteY11" fmla="*/ 16387 h 17702"/>
                  <a:gd name="connsiteX12" fmla="*/ 16985 w 36841"/>
                  <a:gd name="connsiteY12" fmla="*/ 16746 h 17702"/>
                  <a:gd name="connsiteX13" fmla="*/ 14832 w 36841"/>
                  <a:gd name="connsiteY13" fmla="*/ 16985 h 17702"/>
                  <a:gd name="connsiteX14" fmla="*/ 14055 w 36841"/>
                  <a:gd name="connsiteY14" fmla="*/ 17105 h 17702"/>
                  <a:gd name="connsiteX15" fmla="*/ 13815 w 36841"/>
                  <a:gd name="connsiteY15" fmla="*/ 17105 h 17702"/>
                  <a:gd name="connsiteX16" fmla="*/ 10048 w 36841"/>
                  <a:gd name="connsiteY16" fmla="*/ 17703 h 17702"/>
                  <a:gd name="connsiteX17" fmla="*/ 6519 w 36841"/>
                  <a:gd name="connsiteY17" fmla="*/ 17703 h 17702"/>
                  <a:gd name="connsiteX18" fmla="*/ 5442 w 36841"/>
                  <a:gd name="connsiteY18" fmla="*/ 17105 h 17702"/>
                  <a:gd name="connsiteX19" fmla="*/ 3170 w 36841"/>
                  <a:gd name="connsiteY19" fmla="*/ 15669 h 17702"/>
                  <a:gd name="connsiteX20" fmla="*/ 1076 w 36841"/>
                  <a:gd name="connsiteY20" fmla="*/ 14414 h 17702"/>
                  <a:gd name="connsiteX21" fmla="*/ 0 w 36841"/>
                  <a:gd name="connsiteY21" fmla="*/ 13696 h 17702"/>
                  <a:gd name="connsiteX22" fmla="*/ 299 w 36841"/>
                  <a:gd name="connsiteY22" fmla="*/ 12859 h 17702"/>
                  <a:gd name="connsiteX23" fmla="*/ 1435 w 36841"/>
                  <a:gd name="connsiteY23" fmla="*/ 9868 h 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841" h="17702">
                    <a:moveTo>
                      <a:pt x="35645" y="0"/>
                    </a:moveTo>
                    <a:lnTo>
                      <a:pt x="36243" y="419"/>
                    </a:lnTo>
                    <a:lnTo>
                      <a:pt x="36722" y="1734"/>
                    </a:lnTo>
                    <a:lnTo>
                      <a:pt x="36841" y="2093"/>
                    </a:lnTo>
                    <a:lnTo>
                      <a:pt x="34808" y="6459"/>
                    </a:lnTo>
                    <a:lnTo>
                      <a:pt x="34030" y="8074"/>
                    </a:lnTo>
                    <a:lnTo>
                      <a:pt x="33014" y="8911"/>
                    </a:lnTo>
                    <a:lnTo>
                      <a:pt x="24880" y="15610"/>
                    </a:lnTo>
                    <a:lnTo>
                      <a:pt x="23624" y="15789"/>
                    </a:lnTo>
                    <a:lnTo>
                      <a:pt x="23384" y="15849"/>
                    </a:lnTo>
                    <a:lnTo>
                      <a:pt x="20873" y="16208"/>
                    </a:lnTo>
                    <a:lnTo>
                      <a:pt x="19856" y="16387"/>
                    </a:lnTo>
                    <a:lnTo>
                      <a:pt x="16985" y="16746"/>
                    </a:lnTo>
                    <a:lnTo>
                      <a:pt x="14832" y="16985"/>
                    </a:lnTo>
                    <a:lnTo>
                      <a:pt x="14055" y="17105"/>
                    </a:lnTo>
                    <a:lnTo>
                      <a:pt x="13815" y="17105"/>
                    </a:lnTo>
                    <a:lnTo>
                      <a:pt x="10048" y="17703"/>
                    </a:lnTo>
                    <a:lnTo>
                      <a:pt x="6519" y="17703"/>
                    </a:lnTo>
                    <a:lnTo>
                      <a:pt x="5442" y="17105"/>
                    </a:lnTo>
                    <a:lnTo>
                      <a:pt x="3170" y="15669"/>
                    </a:lnTo>
                    <a:lnTo>
                      <a:pt x="1076" y="14414"/>
                    </a:lnTo>
                    <a:lnTo>
                      <a:pt x="0" y="13696"/>
                    </a:lnTo>
                    <a:lnTo>
                      <a:pt x="299" y="12859"/>
                    </a:lnTo>
                    <a:lnTo>
                      <a:pt x="1435" y="9868"/>
                    </a:lnTo>
                  </a:path>
                </a:pathLst>
              </a:custGeom>
              <a:noFill/>
              <a:ln w="6350" cap="rnd">
                <a:solidFill>
                  <a:schemeClr val="bg1">
                    <a:alpha val="80000"/>
                  </a:schemeClr>
                </a:solidFill>
                <a:prstDash val="solid"/>
                <a:round/>
              </a:ln>
            </p:spPr>
            <p:txBody>
              <a:bodyPr rtlCol="0" anchor="ctr"/>
              <a:lstStyle/>
              <a:p>
                <a:endParaRPr lang="en-GB"/>
              </a:p>
            </p:txBody>
          </p:sp>
          <p:sp>
            <p:nvSpPr>
              <p:cNvPr id="6713" name="Vrije vorm: vorm 6712">
                <a:extLst>
                  <a:ext uri="{FF2B5EF4-FFF2-40B4-BE49-F238E27FC236}">
                    <a16:creationId xmlns:a16="http://schemas.microsoft.com/office/drawing/2014/main" id="{8788CDA8-0B04-4329-B627-1C92306822E2}"/>
                  </a:ext>
                </a:extLst>
              </p:cNvPr>
              <p:cNvSpPr/>
              <p:nvPr/>
            </p:nvSpPr>
            <p:spPr>
              <a:xfrm>
                <a:off x="6697651" y="1829124"/>
                <a:ext cx="9030" cy="3528"/>
              </a:xfrm>
              <a:custGeom>
                <a:avLst/>
                <a:gdLst>
                  <a:gd name="connsiteX0" fmla="*/ 9031 w 9030"/>
                  <a:gd name="connsiteY0" fmla="*/ 3529 h 3528"/>
                  <a:gd name="connsiteX1" fmla="*/ 8971 w 9030"/>
                  <a:gd name="connsiteY1" fmla="*/ 3469 h 3528"/>
                  <a:gd name="connsiteX2" fmla="*/ 1495 w 9030"/>
                  <a:gd name="connsiteY2" fmla="*/ 179 h 3528"/>
                  <a:gd name="connsiteX3" fmla="*/ 837 w 9030"/>
                  <a:gd name="connsiteY3" fmla="*/ 120 h 3528"/>
                  <a:gd name="connsiteX4" fmla="*/ 0 w 9030"/>
                  <a:gd name="connsiteY4" fmla="*/ 0 h 3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0" h="3528">
                    <a:moveTo>
                      <a:pt x="9031" y="3529"/>
                    </a:moveTo>
                    <a:lnTo>
                      <a:pt x="8971" y="3469"/>
                    </a:lnTo>
                    <a:lnTo>
                      <a:pt x="1495" y="179"/>
                    </a:lnTo>
                    <a:lnTo>
                      <a:pt x="837"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14" name="Vrije vorm: vorm 6713">
                <a:extLst>
                  <a:ext uri="{FF2B5EF4-FFF2-40B4-BE49-F238E27FC236}">
                    <a16:creationId xmlns:a16="http://schemas.microsoft.com/office/drawing/2014/main" id="{6A5EF4D7-6313-4323-8113-2604A5AE1E77}"/>
                  </a:ext>
                </a:extLst>
              </p:cNvPr>
              <p:cNvSpPr/>
              <p:nvPr/>
            </p:nvSpPr>
            <p:spPr>
              <a:xfrm>
                <a:off x="6862061" y="1934983"/>
                <a:ext cx="1913" cy="1255"/>
              </a:xfrm>
              <a:custGeom>
                <a:avLst/>
                <a:gdLst>
                  <a:gd name="connsiteX0" fmla="*/ 1914 w 1913"/>
                  <a:gd name="connsiteY0" fmla="*/ 0 h 1255"/>
                  <a:gd name="connsiteX1" fmla="*/ 1016 w 1913"/>
                  <a:gd name="connsiteY1" fmla="*/ 0 h 1255"/>
                  <a:gd name="connsiteX2" fmla="*/ 837 w 1913"/>
                  <a:gd name="connsiteY2" fmla="*/ 0 h 1255"/>
                  <a:gd name="connsiteX3" fmla="*/ 778 w 1913"/>
                  <a:gd name="connsiteY3" fmla="*/ 60 h 1255"/>
                  <a:gd name="connsiteX4" fmla="*/ 358 w 1913"/>
                  <a:gd name="connsiteY4" fmla="*/ 718 h 1255"/>
                  <a:gd name="connsiteX5" fmla="*/ 0 w 1913"/>
                  <a:gd name="connsiteY5" fmla="*/ 1256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3" h="1255">
                    <a:moveTo>
                      <a:pt x="1914" y="0"/>
                    </a:moveTo>
                    <a:lnTo>
                      <a:pt x="1016" y="0"/>
                    </a:lnTo>
                    <a:lnTo>
                      <a:pt x="837" y="0"/>
                    </a:lnTo>
                    <a:lnTo>
                      <a:pt x="778" y="60"/>
                    </a:lnTo>
                    <a:lnTo>
                      <a:pt x="358" y="718"/>
                    </a:lnTo>
                    <a:lnTo>
                      <a:pt x="0" y="1256"/>
                    </a:lnTo>
                  </a:path>
                </a:pathLst>
              </a:custGeom>
              <a:noFill/>
              <a:ln w="6350" cap="rnd">
                <a:solidFill>
                  <a:schemeClr val="bg1">
                    <a:alpha val="80000"/>
                  </a:schemeClr>
                </a:solidFill>
                <a:prstDash val="solid"/>
                <a:round/>
              </a:ln>
            </p:spPr>
            <p:txBody>
              <a:bodyPr rtlCol="0" anchor="ctr"/>
              <a:lstStyle/>
              <a:p>
                <a:endParaRPr lang="en-GB"/>
              </a:p>
            </p:txBody>
          </p:sp>
          <p:sp>
            <p:nvSpPr>
              <p:cNvPr id="6715" name="Vrije vorm: vorm 6714">
                <a:extLst>
                  <a:ext uri="{FF2B5EF4-FFF2-40B4-BE49-F238E27FC236}">
                    <a16:creationId xmlns:a16="http://schemas.microsoft.com/office/drawing/2014/main" id="{20991477-8948-49BF-BEFA-75886EBF9849}"/>
                  </a:ext>
                </a:extLst>
              </p:cNvPr>
              <p:cNvSpPr/>
              <p:nvPr/>
            </p:nvSpPr>
            <p:spPr>
              <a:xfrm>
                <a:off x="6799024" y="1995149"/>
                <a:ext cx="16327" cy="56637"/>
              </a:xfrm>
              <a:custGeom>
                <a:avLst/>
                <a:gdLst>
                  <a:gd name="connsiteX0" fmla="*/ 16327 w 16327"/>
                  <a:gd name="connsiteY0" fmla="*/ 56159 h 56637"/>
                  <a:gd name="connsiteX1" fmla="*/ 13696 w 16327"/>
                  <a:gd name="connsiteY1" fmla="*/ 56637 h 56637"/>
                  <a:gd name="connsiteX2" fmla="*/ 11364 w 16327"/>
                  <a:gd name="connsiteY2" fmla="*/ 56099 h 56637"/>
                  <a:gd name="connsiteX3" fmla="*/ 8792 w 16327"/>
                  <a:gd name="connsiteY3" fmla="*/ 45334 h 56637"/>
                  <a:gd name="connsiteX4" fmla="*/ 5682 w 16327"/>
                  <a:gd name="connsiteY4" fmla="*/ 31578 h 56637"/>
                  <a:gd name="connsiteX5" fmla="*/ 4246 w 16327"/>
                  <a:gd name="connsiteY5" fmla="*/ 24581 h 56637"/>
                  <a:gd name="connsiteX6" fmla="*/ 3888 w 16327"/>
                  <a:gd name="connsiteY6" fmla="*/ 22906 h 56637"/>
                  <a:gd name="connsiteX7" fmla="*/ 3529 w 16327"/>
                  <a:gd name="connsiteY7" fmla="*/ 21590 h 56637"/>
                  <a:gd name="connsiteX8" fmla="*/ 3409 w 16327"/>
                  <a:gd name="connsiteY8" fmla="*/ 21172 h 56637"/>
                  <a:gd name="connsiteX9" fmla="*/ 3170 w 16327"/>
                  <a:gd name="connsiteY9" fmla="*/ 20275 h 56637"/>
                  <a:gd name="connsiteX10" fmla="*/ 2572 w 16327"/>
                  <a:gd name="connsiteY10" fmla="*/ 18122 h 56637"/>
                  <a:gd name="connsiteX11" fmla="*/ 2333 w 16327"/>
                  <a:gd name="connsiteY11" fmla="*/ 17284 h 56637"/>
                  <a:gd name="connsiteX12" fmla="*/ 2153 w 16327"/>
                  <a:gd name="connsiteY12" fmla="*/ 16686 h 56637"/>
                  <a:gd name="connsiteX13" fmla="*/ 1495 w 16327"/>
                  <a:gd name="connsiteY13" fmla="*/ 14294 h 56637"/>
                  <a:gd name="connsiteX14" fmla="*/ 1435 w 16327"/>
                  <a:gd name="connsiteY14" fmla="*/ 13995 h 56637"/>
                  <a:gd name="connsiteX15" fmla="*/ 419 w 16327"/>
                  <a:gd name="connsiteY15" fmla="*/ 10347 h 56637"/>
                  <a:gd name="connsiteX16" fmla="*/ 359 w 16327"/>
                  <a:gd name="connsiteY16" fmla="*/ 10167 h 56637"/>
                  <a:gd name="connsiteX17" fmla="*/ 0 w 16327"/>
                  <a:gd name="connsiteY17" fmla="*/ 8911 h 56637"/>
                  <a:gd name="connsiteX18" fmla="*/ 180 w 16327"/>
                  <a:gd name="connsiteY18" fmla="*/ 8552 h 56637"/>
                  <a:gd name="connsiteX19" fmla="*/ 1136 w 16327"/>
                  <a:gd name="connsiteY19" fmla="*/ 6698 h 56637"/>
                  <a:gd name="connsiteX20" fmla="*/ 2811 w 16327"/>
                  <a:gd name="connsiteY20" fmla="*/ 3409 h 56637"/>
                  <a:gd name="connsiteX21" fmla="*/ 3588 w 16327"/>
                  <a:gd name="connsiteY21" fmla="*/ 3050 h 56637"/>
                  <a:gd name="connsiteX22" fmla="*/ 10347 w 16327"/>
                  <a:gd name="connsiteY22" fmla="*/ 0 h 56637"/>
                  <a:gd name="connsiteX23" fmla="*/ 10526 w 16327"/>
                  <a:gd name="connsiteY23" fmla="*/ 359 h 5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27" h="56637">
                    <a:moveTo>
                      <a:pt x="16327" y="56159"/>
                    </a:moveTo>
                    <a:lnTo>
                      <a:pt x="13696" y="56637"/>
                    </a:lnTo>
                    <a:lnTo>
                      <a:pt x="11364" y="56099"/>
                    </a:lnTo>
                    <a:lnTo>
                      <a:pt x="8792" y="45334"/>
                    </a:lnTo>
                    <a:lnTo>
                      <a:pt x="5682" y="31578"/>
                    </a:lnTo>
                    <a:lnTo>
                      <a:pt x="4246" y="24581"/>
                    </a:lnTo>
                    <a:lnTo>
                      <a:pt x="3888" y="22906"/>
                    </a:lnTo>
                    <a:lnTo>
                      <a:pt x="3529" y="21590"/>
                    </a:lnTo>
                    <a:lnTo>
                      <a:pt x="3409" y="21172"/>
                    </a:lnTo>
                    <a:lnTo>
                      <a:pt x="3170" y="20275"/>
                    </a:lnTo>
                    <a:lnTo>
                      <a:pt x="2572" y="18122"/>
                    </a:lnTo>
                    <a:lnTo>
                      <a:pt x="2333" y="17284"/>
                    </a:lnTo>
                    <a:lnTo>
                      <a:pt x="2153" y="16686"/>
                    </a:lnTo>
                    <a:lnTo>
                      <a:pt x="1495" y="14294"/>
                    </a:lnTo>
                    <a:lnTo>
                      <a:pt x="1435" y="13995"/>
                    </a:lnTo>
                    <a:lnTo>
                      <a:pt x="419" y="10347"/>
                    </a:lnTo>
                    <a:lnTo>
                      <a:pt x="359" y="10167"/>
                    </a:lnTo>
                    <a:lnTo>
                      <a:pt x="0" y="8911"/>
                    </a:lnTo>
                    <a:lnTo>
                      <a:pt x="180" y="8552"/>
                    </a:lnTo>
                    <a:lnTo>
                      <a:pt x="1136" y="6698"/>
                    </a:lnTo>
                    <a:lnTo>
                      <a:pt x="2811" y="3409"/>
                    </a:lnTo>
                    <a:lnTo>
                      <a:pt x="3588" y="3050"/>
                    </a:lnTo>
                    <a:lnTo>
                      <a:pt x="10347" y="0"/>
                    </a:lnTo>
                    <a:lnTo>
                      <a:pt x="10526" y="359"/>
                    </a:lnTo>
                  </a:path>
                </a:pathLst>
              </a:custGeom>
              <a:noFill/>
              <a:ln w="6350" cap="rnd">
                <a:solidFill>
                  <a:schemeClr val="bg1">
                    <a:alpha val="80000"/>
                  </a:schemeClr>
                </a:solidFill>
                <a:prstDash val="solid"/>
                <a:round/>
              </a:ln>
            </p:spPr>
            <p:txBody>
              <a:bodyPr rtlCol="0" anchor="ctr"/>
              <a:lstStyle/>
              <a:p>
                <a:endParaRPr lang="en-GB"/>
              </a:p>
            </p:txBody>
          </p:sp>
          <p:sp>
            <p:nvSpPr>
              <p:cNvPr id="6716" name="Vrije vorm: vorm 6715">
                <a:extLst>
                  <a:ext uri="{FF2B5EF4-FFF2-40B4-BE49-F238E27FC236}">
                    <a16:creationId xmlns:a16="http://schemas.microsoft.com/office/drawing/2014/main" id="{B5D34446-BD88-43D3-9631-703F8B6CF3D9}"/>
                  </a:ext>
                </a:extLst>
              </p:cNvPr>
              <p:cNvSpPr/>
              <p:nvPr/>
            </p:nvSpPr>
            <p:spPr>
              <a:xfrm>
                <a:off x="6634973" y="1909505"/>
                <a:ext cx="13935" cy="1913"/>
              </a:xfrm>
              <a:custGeom>
                <a:avLst/>
                <a:gdLst>
                  <a:gd name="connsiteX0" fmla="*/ 13935 w 13935"/>
                  <a:gd name="connsiteY0" fmla="*/ 0 h 1913"/>
                  <a:gd name="connsiteX1" fmla="*/ 7835 w 13935"/>
                  <a:gd name="connsiteY1" fmla="*/ 239 h 1913"/>
                  <a:gd name="connsiteX2" fmla="*/ 0 w 13935"/>
                  <a:gd name="connsiteY2" fmla="*/ 1914 h 1913"/>
                </a:gdLst>
                <a:ahLst/>
                <a:cxnLst>
                  <a:cxn ang="0">
                    <a:pos x="connsiteX0" y="connsiteY0"/>
                  </a:cxn>
                  <a:cxn ang="0">
                    <a:pos x="connsiteX1" y="connsiteY1"/>
                  </a:cxn>
                  <a:cxn ang="0">
                    <a:pos x="connsiteX2" y="connsiteY2"/>
                  </a:cxn>
                </a:cxnLst>
                <a:rect l="l" t="t" r="r" b="b"/>
                <a:pathLst>
                  <a:path w="13935" h="1913">
                    <a:moveTo>
                      <a:pt x="13935" y="0"/>
                    </a:moveTo>
                    <a:lnTo>
                      <a:pt x="7835" y="239"/>
                    </a:lnTo>
                    <a:lnTo>
                      <a:pt x="0" y="1914"/>
                    </a:lnTo>
                  </a:path>
                </a:pathLst>
              </a:custGeom>
              <a:noFill/>
              <a:ln w="6350" cap="rnd">
                <a:solidFill>
                  <a:schemeClr val="bg1">
                    <a:alpha val="80000"/>
                  </a:schemeClr>
                </a:solidFill>
                <a:prstDash val="solid"/>
                <a:round/>
              </a:ln>
            </p:spPr>
            <p:txBody>
              <a:bodyPr rtlCol="0" anchor="ctr"/>
              <a:lstStyle/>
              <a:p>
                <a:endParaRPr lang="en-GB"/>
              </a:p>
            </p:txBody>
          </p:sp>
          <p:sp>
            <p:nvSpPr>
              <p:cNvPr id="6717" name="Vrije vorm: vorm 6716">
                <a:extLst>
                  <a:ext uri="{FF2B5EF4-FFF2-40B4-BE49-F238E27FC236}">
                    <a16:creationId xmlns:a16="http://schemas.microsoft.com/office/drawing/2014/main" id="{CBBF4F83-DB8E-474B-8258-3F9DE22134A8}"/>
                  </a:ext>
                </a:extLst>
              </p:cNvPr>
              <p:cNvSpPr/>
              <p:nvPr/>
            </p:nvSpPr>
            <p:spPr>
              <a:xfrm>
                <a:off x="6716370" y="1822605"/>
                <a:ext cx="6997" cy="4963"/>
              </a:xfrm>
              <a:custGeom>
                <a:avLst/>
                <a:gdLst>
                  <a:gd name="connsiteX0" fmla="*/ 6997 w 6997"/>
                  <a:gd name="connsiteY0" fmla="*/ 4964 h 4963"/>
                  <a:gd name="connsiteX1" fmla="*/ 6758 w 6997"/>
                  <a:gd name="connsiteY1" fmla="*/ 4785 h 4963"/>
                  <a:gd name="connsiteX2" fmla="*/ 4725 w 6997"/>
                  <a:gd name="connsiteY2" fmla="*/ 3289 h 4963"/>
                  <a:gd name="connsiteX3" fmla="*/ 419 w 6997"/>
                  <a:gd name="connsiteY3" fmla="*/ 120 h 4963"/>
                  <a:gd name="connsiteX4" fmla="*/ 0 w 6997"/>
                  <a:gd name="connsiteY4" fmla="*/ 0 h 4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7" h="4963">
                    <a:moveTo>
                      <a:pt x="6997" y="4964"/>
                    </a:moveTo>
                    <a:lnTo>
                      <a:pt x="6758" y="4785"/>
                    </a:lnTo>
                    <a:lnTo>
                      <a:pt x="4725" y="3289"/>
                    </a:lnTo>
                    <a:lnTo>
                      <a:pt x="419"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18" name="Vrije vorm: vorm 6717">
                <a:extLst>
                  <a:ext uri="{FF2B5EF4-FFF2-40B4-BE49-F238E27FC236}">
                    <a16:creationId xmlns:a16="http://schemas.microsoft.com/office/drawing/2014/main" id="{B503C834-5B4D-418C-B006-F204A0073470}"/>
                  </a:ext>
                </a:extLst>
              </p:cNvPr>
              <p:cNvSpPr/>
              <p:nvPr/>
            </p:nvSpPr>
            <p:spPr>
              <a:xfrm>
                <a:off x="6630188" y="1931813"/>
                <a:ext cx="9509" cy="2332"/>
              </a:xfrm>
              <a:custGeom>
                <a:avLst/>
                <a:gdLst>
                  <a:gd name="connsiteX0" fmla="*/ 9509 w 9509"/>
                  <a:gd name="connsiteY0" fmla="*/ 0 h 2332"/>
                  <a:gd name="connsiteX1" fmla="*/ 6818 w 9509"/>
                  <a:gd name="connsiteY1" fmla="*/ 419 h 2332"/>
                  <a:gd name="connsiteX2" fmla="*/ 2153 w 9509"/>
                  <a:gd name="connsiteY2" fmla="*/ 1734 h 2332"/>
                  <a:gd name="connsiteX3" fmla="*/ 0 w 9509"/>
                  <a:gd name="connsiteY3" fmla="*/ 2332 h 2332"/>
                </a:gdLst>
                <a:ahLst/>
                <a:cxnLst>
                  <a:cxn ang="0">
                    <a:pos x="connsiteX0" y="connsiteY0"/>
                  </a:cxn>
                  <a:cxn ang="0">
                    <a:pos x="connsiteX1" y="connsiteY1"/>
                  </a:cxn>
                  <a:cxn ang="0">
                    <a:pos x="connsiteX2" y="connsiteY2"/>
                  </a:cxn>
                  <a:cxn ang="0">
                    <a:pos x="connsiteX3" y="connsiteY3"/>
                  </a:cxn>
                </a:cxnLst>
                <a:rect l="l" t="t" r="r" b="b"/>
                <a:pathLst>
                  <a:path w="9509" h="2332">
                    <a:moveTo>
                      <a:pt x="9509" y="0"/>
                    </a:moveTo>
                    <a:lnTo>
                      <a:pt x="6818" y="419"/>
                    </a:lnTo>
                    <a:lnTo>
                      <a:pt x="2153" y="1734"/>
                    </a:lnTo>
                    <a:lnTo>
                      <a:pt x="0" y="2332"/>
                    </a:lnTo>
                  </a:path>
                </a:pathLst>
              </a:custGeom>
              <a:noFill/>
              <a:ln w="6350" cap="rnd">
                <a:solidFill>
                  <a:schemeClr val="bg1">
                    <a:alpha val="80000"/>
                  </a:schemeClr>
                </a:solidFill>
                <a:prstDash val="solid"/>
                <a:round/>
              </a:ln>
            </p:spPr>
            <p:txBody>
              <a:bodyPr rtlCol="0" anchor="ctr"/>
              <a:lstStyle/>
              <a:p>
                <a:endParaRPr lang="en-GB"/>
              </a:p>
            </p:txBody>
          </p:sp>
          <p:sp>
            <p:nvSpPr>
              <p:cNvPr id="6719" name="Vrije vorm: vorm 6718">
                <a:extLst>
                  <a:ext uri="{FF2B5EF4-FFF2-40B4-BE49-F238E27FC236}">
                    <a16:creationId xmlns:a16="http://schemas.microsoft.com/office/drawing/2014/main" id="{D844B1F6-78C5-4E8A-A0EC-52C4DE6F449A}"/>
                  </a:ext>
                </a:extLst>
              </p:cNvPr>
              <p:cNvSpPr/>
              <p:nvPr/>
            </p:nvSpPr>
            <p:spPr>
              <a:xfrm>
                <a:off x="6829525" y="1952507"/>
                <a:ext cx="8014" cy="11363"/>
              </a:xfrm>
              <a:custGeom>
                <a:avLst/>
                <a:gdLst>
                  <a:gd name="connsiteX0" fmla="*/ 658 w 8014"/>
                  <a:gd name="connsiteY0" fmla="*/ 11363 h 11363"/>
                  <a:gd name="connsiteX1" fmla="*/ 479 w 8014"/>
                  <a:gd name="connsiteY1" fmla="*/ 9629 h 11363"/>
                  <a:gd name="connsiteX2" fmla="*/ 479 w 8014"/>
                  <a:gd name="connsiteY2" fmla="*/ 9569 h 11363"/>
                  <a:gd name="connsiteX3" fmla="*/ 239 w 8014"/>
                  <a:gd name="connsiteY3" fmla="*/ 6818 h 11363"/>
                  <a:gd name="connsiteX4" fmla="*/ 60 w 8014"/>
                  <a:gd name="connsiteY4" fmla="*/ 5024 h 11363"/>
                  <a:gd name="connsiteX5" fmla="*/ 0 w 8014"/>
                  <a:gd name="connsiteY5" fmla="*/ 4545 h 11363"/>
                  <a:gd name="connsiteX6" fmla="*/ 3588 w 8014"/>
                  <a:gd name="connsiteY6" fmla="*/ 658 h 11363"/>
                  <a:gd name="connsiteX7" fmla="*/ 4187 w 8014"/>
                  <a:gd name="connsiteY7" fmla="*/ 0 h 11363"/>
                  <a:gd name="connsiteX8" fmla="*/ 8015 w 8014"/>
                  <a:gd name="connsiteY8" fmla="*/ 4426 h 1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14" h="11363">
                    <a:moveTo>
                      <a:pt x="658" y="11363"/>
                    </a:moveTo>
                    <a:lnTo>
                      <a:pt x="479" y="9629"/>
                    </a:lnTo>
                    <a:lnTo>
                      <a:pt x="479" y="9569"/>
                    </a:lnTo>
                    <a:lnTo>
                      <a:pt x="239" y="6818"/>
                    </a:lnTo>
                    <a:lnTo>
                      <a:pt x="60" y="5024"/>
                    </a:lnTo>
                    <a:lnTo>
                      <a:pt x="0" y="4545"/>
                    </a:lnTo>
                    <a:lnTo>
                      <a:pt x="3588" y="658"/>
                    </a:lnTo>
                    <a:lnTo>
                      <a:pt x="4187" y="0"/>
                    </a:lnTo>
                    <a:lnTo>
                      <a:pt x="8015" y="4426"/>
                    </a:lnTo>
                  </a:path>
                </a:pathLst>
              </a:custGeom>
              <a:noFill/>
              <a:ln w="6350" cap="rnd">
                <a:solidFill>
                  <a:schemeClr val="bg1">
                    <a:alpha val="80000"/>
                  </a:schemeClr>
                </a:solidFill>
                <a:prstDash val="solid"/>
                <a:round/>
              </a:ln>
            </p:spPr>
            <p:txBody>
              <a:bodyPr rtlCol="0" anchor="ctr"/>
              <a:lstStyle/>
              <a:p>
                <a:endParaRPr lang="en-GB"/>
              </a:p>
            </p:txBody>
          </p:sp>
          <p:sp>
            <p:nvSpPr>
              <p:cNvPr id="6720" name="Vrije vorm: vorm 6719">
                <a:extLst>
                  <a:ext uri="{FF2B5EF4-FFF2-40B4-BE49-F238E27FC236}">
                    <a16:creationId xmlns:a16="http://schemas.microsoft.com/office/drawing/2014/main" id="{E40C8809-0618-4EFF-8A2A-FD5404904A50}"/>
                  </a:ext>
                </a:extLst>
              </p:cNvPr>
              <p:cNvSpPr/>
              <p:nvPr/>
            </p:nvSpPr>
            <p:spPr>
              <a:xfrm>
                <a:off x="6852492" y="2054896"/>
                <a:ext cx="8791" cy="777"/>
              </a:xfrm>
              <a:custGeom>
                <a:avLst/>
                <a:gdLst>
                  <a:gd name="connsiteX0" fmla="*/ 8791 w 8791"/>
                  <a:gd name="connsiteY0" fmla="*/ 0 h 777"/>
                  <a:gd name="connsiteX1" fmla="*/ 7834 w 8791"/>
                  <a:gd name="connsiteY1" fmla="*/ 179 h 777"/>
                  <a:gd name="connsiteX2" fmla="*/ 7236 w 8791"/>
                  <a:gd name="connsiteY2" fmla="*/ 299 h 777"/>
                  <a:gd name="connsiteX3" fmla="*/ 4724 w 8791"/>
                  <a:gd name="connsiteY3" fmla="*/ 778 h 777"/>
                  <a:gd name="connsiteX4" fmla="*/ 0 w 8791"/>
                  <a:gd name="connsiteY4" fmla="*/ 658 h 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 h="777">
                    <a:moveTo>
                      <a:pt x="8791" y="0"/>
                    </a:moveTo>
                    <a:lnTo>
                      <a:pt x="7834" y="179"/>
                    </a:lnTo>
                    <a:lnTo>
                      <a:pt x="7236" y="299"/>
                    </a:lnTo>
                    <a:lnTo>
                      <a:pt x="4724" y="778"/>
                    </a:lnTo>
                    <a:lnTo>
                      <a:pt x="0" y="658"/>
                    </a:lnTo>
                  </a:path>
                </a:pathLst>
              </a:custGeom>
              <a:noFill/>
              <a:ln w="6350" cap="rnd">
                <a:solidFill>
                  <a:schemeClr val="bg1">
                    <a:alpha val="80000"/>
                  </a:schemeClr>
                </a:solidFill>
                <a:prstDash val="solid"/>
                <a:round/>
              </a:ln>
            </p:spPr>
            <p:txBody>
              <a:bodyPr rtlCol="0" anchor="ctr"/>
              <a:lstStyle/>
              <a:p>
                <a:endParaRPr lang="en-GB"/>
              </a:p>
            </p:txBody>
          </p:sp>
          <p:sp>
            <p:nvSpPr>
              <p:cNvPr id="6721" name="Vrije vorm: vorm 6720">
                <a:extLst>
                  <a:ext uri="{FF2B5EF4-FFF2-40B4-BE49-F238E27FC236}">
                    <a16:creationId xmlns:a16="http://schemas.microsoft.com/office/drawing/2014/main" id="{C8DBA124-60E0-48F9-816D-43B62EEB6937}"/>
                  </a:ext>
                </a:extLst>
              </p:cNvPr>
              <p:cNvSpPr/>
              <p:nvPr/>
            </p:nvSpPr>
            <p:spPr>
              <a:xfrm>
                <a:off x="6845494" y="1946645"/>
                <a:ext cx="2452" cy="2751"/>
              </a:xfrm>
              <a:custGeom>
                <a:avLst/>
                <a:gdLst>
                  <a:gd name="connsiteX0" fmla="*/ 2452 w 2452"/>
                  <a:gd name="connsiteY0" fmla="*/ 478 h 2751"/>
                  <a:gd name="connsiteX1" fmla="*/ 1136 w 2452"/>
                  <a:gd name="connsiteY1" fmla="*/ 0 h 2751"/>
                  <a:gd name="connsiteX2" fmla="*/ 0 w 2452"/>
                  <a:gd name="connsiteY2" fmla="*/ 2751 h 2751"/>
                  <a:gd name="connsiteX3" fmla="*/ 0 w 2452"/>
                  <a:gd name="connsiteY3" fmla="*/ 2751 h 2751"/>
                </a:gdLst>
                <a:ahLst/>
                <a:cxnLst>
                  <a:cxn ang="0">
                    <a:pos x="connsiteX0" y="connsiteY0"/>
                  </a:cxn>
                  <a:cxn ang="0">
                    <a:pos x="connsiteX1" y="connsiteY1"/>
                  </a:cxn>
                  <a:cxn ang="0">
                    <a:pos x="connsiteX2" y="connsiteY2"/>
                  </a:cxn>
                  <a:cxn ang="0">
                    <a:pos x="connsiteX3" y="connsiteY3"/>
                  </a:cxn>
                </a:cxnLst>
                <a:rect l="l" t="t" r="r" b="b"/>
                <a:pathLst>
                  <a:path w="2452" h="2751">
                    <a:moveTo>
                      <a:pt x="2452" y="478"/>
                    </a:moveTo>
                    <a:lnTo>
                      <a:pt x="1136" y="0"/>
                    </a:lnTo>
                    <a:lnTo>
                      <a:pt x="0" y="2751"/>
                    </a:lnTo>
                    <a:lnTo>
                      <a:pt x="0" y="2751"/>
                    </a:lnTo>
                  </a:path>
                </a:pathLst>
              </a:custGeom>
              <a:noFill/>
              <a:ln w="6350" cap="rnd">
                <a:solidFill>
                  <a:schemeClr val="bg1">
                    <a:alpha val="80000"/>
                  </a:schemeClr>
                </a:solidFill>
                <a:prstDash val="solid"/>
                <a:round/>
              </a:ln>
            </p:spPr>
            <p:txBody>
              <a:bodyPr rtlCol="0" anchor="ctr"/>
              <a:lstStyle/>
              <a:p>
                <a:endParaRPr lang="en-GB"/>
              </a:p>
            </p:txBody>
          </p:sp>
          <p:sp>
            <p:nvSpPr>
              <p:cNvPr id="6722" name="Vrije vorm: vorm 6721">
                <a:extLst>
                  <a:ext uri="{FF2B5EF4-FFF2-40B4-BE49-F238E27FC236}">
                    <a16:creationId xmlns:a16="http://schemas.microsoft.com/office/drawing/2014/main" id="{E63B4ABE-E647-4C69-B281-E0B672941EB0}"/>
                  </a:ext>
                </a:extLst>
              </p:cNvPr>
              <p:cNvSpPr/>
              <p:nvPr/>
            </p:nvSpPr>
            <p:spPr>
              <a:xfrm>
                <a:off x="6844896" y="1936179"/>
                <a:ext cx="15011" cy="13456"/>
              </a:xfrm>
              <a:custGeom>
                <a:avLst/>
                <a:gdLst>
                  <a:gd name="connsiteX0" fmla="*/ 478 w 15011"/>
                  <a:gd name="connsiteY0" fmla="*/ 13457 h 13456"/>
                  <a:gd name="connsiteX1" fmla="*/ 0 w 15011"/>
                  <a:gd name="connsiteY1" fmla="*/ 12978 h 13456"/>
                  <a:gd name="connsiteX2" fmla="*/ 1914 w 15011"/>
                  <a:gd name="connsiteY2" fmla="*/ 5502 h 13456"/>
                  <a:gd name="connsiteX3" fmla="*/ 2511 w 15011"/>
                  <a:gd name="connsiteY3" fmla="*/ 3230 h 13456"/>
                  <a:gd name="connsiteX4" fmla="*/ 5562 w 15011"/>
                  <a:gd name="connsiteY4" fmla="*/ 897 h 13456"/>
                  <a:gd name="connsiteX5" fmla="*/ 6160 w 15011"/>
                  <a:gd name="connsiteY5" fmla="*/ 419 h 13456"/>
                  <a:gd name="connsiteX6" fmla="*/ 6758 w 15011"/>
                  <a:gd name="connsiteY6" fmla="*/ 0 h 13456"/>
                  <a:gd name="connsiteX7" fmla="*/ 7236 w 15011"/>
                  <a:gd name="connsiteY7" fmla="*/ 359 h 13456"/>
                  <a:gd name="connsiteX8" fmla="*/ 7236 w 15011"/>
                  <a:gd name="connsiteY8" fmla="*/ 359 h 13456"/>
                  <a:gd name="connsiteX9" fmla="*/ 8014 w 15011"/>
                  <a:gd name="connsiteY9" fmla="*/ 957 h 13456"/>
                  <a:gd name="connsiteX10" fmla="*/ 9868 w 15011"/>
                  <a:gd name="connsiteY10" fmla="*/ 2273 h 13456"/>
                  <a:gd name="connsiteX11" fmla="*/ 11244 w 15011"/>
                  <a:gd name="connsiteY11" fmla="*/ 4007 h 13456"/>
                  <a:gd name="connsiteX12" fmla="*/ 13337 w 15011"/>
                  <a:gd name="connsiteY12" fmla="*/ 6758 h 13456"/>
                  <a:gd name="connsiteX13" fmla="*/ 13875 w 15011"/>
                  <a:gd name="connsiteY13" fmla="*/ 8313 h 13456"/>
                  <a:gd name="connsiteX14" fmla="*/ 15012 w 15011"/>
                  <a:gd name="connsiteY14" fmla="*/ 11722 h 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1" h="13456">
                    <a:moveTo>
                      <a:pt x="478" y="13457"/>
                    </a:moveTo>
                    <a:lnTo>
                      <a:pt x="0" y="12978"/>
                    </a:lnTo>
                    <a:lnTo>
                      <a:pt x="1914" y="5502"/>
                    </a:lnTo>
                    <a:lnTo>
                      <a:pt x="2511" y="3230"/>
                    </a:lnTo>
                    <a:lnTo>
                      <a:pt x="5562" y="897"/>
                    </a:lnTo>
                    <a:lnTo>
                      <a:pt x="6160" y="419"/>
                    </a:lnTo>
                    <a:lnTo>
                      <a:pt x="6758" y="0"/>
                    </a:lnTo>
                    <a:lnTo>
                      <a:pt x="7236" y="359"/>
                    </a:lnTo>
                    <a:lnTo>
                      <a:pt x="7236" y="359"/>
                    </a:lnTo>
                    <a:lnTo>
                      <a:pt x="8014" y="957"/>
                    </a:lnTo>
                    <a:lnTo>
                      <a:pt x="9868" y="2273"/>
                    </a:lnTo>
                    <a:lnTo>
                      <a:pt x="11244" y="4007"/>
                    </a:lnTo>
                    <a:lnTo>
                      <a:pt x="13337" y="6758"/>
                    </a:lnTo>
                    <a:lnTo>
                      <a:pt x="13875" y="8313"/>
                    </a:lnTo>
                    <a:lnTo>
                      <a:pt x="15012" y="11722"/>
                    </a:lnTo>
                  </a:path>
                </a:pathLst>
              </a:custGeom>
              <a:noFill/>
              <a:ln w="6350" cap="rnd">
                <a:solidFill>
                  <a:schemeClr val="bg1">
                    <a:alpha val="80000"/>
                  </a:schemeClr>
                </a:solidFill>
                <a:prstDash val="solid"/>
                <a:round/>
              </a:ln>
            </p:spPr>
            <p:txBody>
              <a:bodyPr rtlCol="0" anchor="ctr"/>
              <a:lstStyle/>
              <a:p>
                <a:endParaRPr lang="en-GB"/>
              </a:p>
            </p:txBody>
          </p:sp>
          <p:sp>
            <p:nvSpPr>
              <p:cNvPr id="6723" name="Vrije vorm: vorm 6722">
                <a:extLst>
                  <a:ext uri="{FF2B5EF4-FFF2-40B4-BE49-F238E27FC236}">
                    <a16:creationId xmlns:a16="http://schemas.microsoft.com/office/drawing/2014/main" id="{ABC17220-21AF-494C-8365-484D9F13F60C}"/>
                  </a:ext>
                </a:extLst>
              </p:cNvPr>
              <p:cNvSpPr/>
              <p:nvPr/>
            </p:nvSpPr>
            <p:spPr>
              <a:xfrm>
                <a:off x="6655008" y="1834866"/>
                <a:ext cx="54604" cy="24939"/>
              </a:xfrm>
              <a:custGeom>
                <a:avLst/>
                <a:gdLst>
                  <a:gd name="connsiteX0" fmla="*/ 120 w 54604"/>
                  <a:gd name="connsiteY0" fmla="*/ 8911 h 24939"/>
                  <a:gd name="connsiteX1" fmla="*/ 0 w 54604"/>
                  <a:gd name="connsiteY1" fmla="*/ 6041 h 24939"/>
                  <a:gd name="connsiteX2" fmla="*/ 778 w 54604"/>
                  <a:gd name="connsiteY2" fmla="*/ 3588 h 24939"/>
                  <a:gd name="connsiteX3" fmla="*/ 1914 w 54604"/>
                  <a:gd name="connsiteY3" fmla="*/ 2034 h 24939"/>
                  <a:gd name="connsiteX4" fmla="*/ 12380 w 54604"/>
                  <a:gd name="connsiteY4" fmla="*/ 120 h 24939"/>
                  <a:gd name="connsiteX5" fmla="*/ 26734 w 54604"/>
                  <a:gd name="connsiteY5" fmla="*/ 0 h 24939"/>
                  <a:gd name="connsiteX6" fmla="*/ 36423 w 54604"/>
                  <a:gd name="connsiteY6" fmla="*/ 1495 h 24939"/>
                  <a:gd name="connsiteX7" fmla="*/ 45813 w 54604"/>
                  <a:gd name="connsiteY7" fmla="*/ 5323 h 24939"/>
                  <a:gd name="connsiteX8" fmla="*/ 49580 w 54604"/>
                  <a:gd name="connsiteY8" fmla="*/ 7596 h 24939"/>
                  <a:gd name="connsiteX9" fmla="*/ 49640 w 54604"/>
                  <a:gd name="connsiteY9" fmla="*/ 7655 h 24939"/>
                  <a:gd name="connsiteX10" fmla="*/ 49700 w 54604"/>
                  <a:gd name="connsiteY10" fmla="*/ 7655 h 24939"/>
                  <a:gd name="connsiteX11" fmla="*/ 49760 w 54604"/>
                  <a:gd name="connsiteY11" fmla="*/ 7715 h 24939"/>
                  <a:gd name="connsiteX12" fmla="*/ 52272 w 54604"/>
                  <a:gd name="connsiteY12" fmla="*/ 9210 h 24939"/>
                  <a:gd name="connsiteX13" fmla="*/ 53827 w 54604"/>
                  <a:gd name="connsiteY13" fmla="*/ 14832 h 24939"/>
                  <a:gd name="connsiteX14" fmla="*/ 54604 w 54604"/>
                  <a:gd name="connsiteY14" fmla="*/ 17643 h 24939"/>
                  <a:gd name="connsiteX15" fmla="*/ 51793 w 54604"/>
                  <a:gd name="connsiteY15" fmla="*/ 23445 h 24939"/>
                  <a:gd name="connsiteX16" fmla="*/ 51315 w 54604"/>
                  <a:gd name="connsiteY16" fmla="*/ 23743 h 24939"/>
                  <a:gd name="connsiteX17" fmla="*/ 49401 w 54604"/>
                  <a:gd name="connsiteY17" fmla="*/ 24940 h 24939"/>
                  <a:gd name="connsiteX18" fmla="*/ 48743 w 54604"/>
                  <a:gd name="connsiteY18" fmla="*/ 24521 h 2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604" h="24939">
                    <a:moveTo>
                      <a:pt x="120" y="8911"/>
                    </a:moveTo>
                    <a:lnTo>
                      <a:pt x="0" y="6041"/>
                    </a:lnTo>
                    <a:lnTo>
                      <a:pt x="778" y="3588"/>
                    </a:lnTo>
                    <a:lnTo>
                      <a:pt x="1914" y="2034"/>
                    </a:lnTo>
                    <a:lnTo>
                      <a:pt x="12380" y="120"/>
                    </a:lnTo>
                    <a:lnTo>
                      <a:pt x="26734" y="0"/>
                    </a:lnTo>
                    <a:lnTo>
                      <a:pt x="36423" y="1495"/>
                    </a:lnTo>
                    <a:lnTo>
                      <a:pt x="45813" y="5323"/>
                    </a:lnTo>
                    <a:lnTo>
                      <a:pt x="49580" y="7596"/>
                    </a:lnTo>
                    <a:lnTo>
                      <a:pt x="49640" y="7655"/>
                    </a:lnTo>
                    <a:lnTo>
                      <a:pt x="49700" y="7655"/>
                    </a:lnTo>
                    <a:lnTo>
                      <a:pt x="49760" y="7715"/>
                    </a:lnTo>
                    <a:lnTo>
                      <a:pt x="52272" y="9210"/>
                    </a:lnTo>
                    <a:lnTo>
                      <a:pt x="53827" y="14832"/>
                    </a:lnTo>
                    <a:lnTo>
                      <a:pt x="54604" y="17643"/>
                    </a:lnTo>
                    <a:lnTo>
                      <a:pt x="51793" y="23445"/>
                    </a:lnTo>
                    <a:lnTo>
                      <a:pt x="51315" y="23743"/>
                    </a:lnTo>
                    <a:lnTo>
                      <a:pt x="49401" y="24940"/>
                    </a:lnTo>
                    <a:lnTo>
                      <a:pt x="48743" y="24521"/>
                    </a:lnTo>
                  </a:path>
                </a:pathLst>
              </a:custGeom>
              <a:noFill/>
              <a:ln w="6350" cap="rnd">
                <a:solidFill>
                  <a:schemeClr val="bg1">
                    <a:alpha val="80000"/>
                  </a:schemeClr>
                </a:solidFill>
                <a:prstDash val="solid"/>
                <a:round/>
              </a:ln>
            </p:spPr>
            <p:txBody>
              <a:bodyPr rtlCol="0" anchor="ctr"/>
              <a:lstStyle/>
              <a:p>
                <a:endParaRPr lang="en-GB"/>
              </a:p>
            </p:txBody>
          </p:sp>
          <p:sp>
            <p:nvSpPr>
              <p:cNvPr id="6724" name="Vrije vorm: vorm 6723">
                <a:extLst>
                  <a:ext uri="{FF2B5EF4-FFF2-40B4-BE49-F238E27FC236}">
                    <a16:creationId xmlns:a16="http://schemas.microsoft.com/office/drawing/2014/main" id="{77DA3ADB-7B86-48FE-8530-A45DFCC265CA}"/>
                  </a:ext>
                </a:extLst>
              </p:cNvPr>
              <p:cNvSpPr/>
              <p:nvPr/>
            </p:nvSpPr>
            <p:spPr>
              <a:xfrm>
                <a:off x="6894117" y="1925952"/>
                <a:ext cx="22128" cy="9987"/>
              </a:xfrm>
              <a:custGeom>
                <a:avLst/>
                <a:gdLst>
                  <a:gd name="connsiteX0" fmla="*/ 0 w 22128"/>
                  <a:gd name="connsiteY0" fmla="*/ 120 h 9987"/>
                  <a:gd name="connsiteX1" fmla="*/ 837 w 22128"/>
                  <a:gd name="connsiteY1" fmla="*/ 0 h 9987"/>
                  <a:gd name="connsiteX2" fmla="*/ 2333 w 22128"/>
                  <a:gd name="connsiteY2" fmla="*/ 0 h 9987"/>
                  <a:gd name="connsiteX3" fmla="*/ 5083 w 22128"/>
                  <a:gd name="connsiteY3" fmla="*/ 0 h 9987"/>
                  <a:gd name="connsiteX4" fmla="*/ 5741 w 22128"/>
                  <a:gd name="connsiteY4" fmla="*/ 0 h 9987"/>
                  <a:gd name="connsiteX5" fmla="*/ 6399 w 22128"/>
                  <a:gd name="connsiteY5" fmla="*/ 0 h 9987"/>
                  <a:gd name="connsiteX6" fmla="*/ 6818 w 22128"/>
                  <a:gd name="connsiteY6" fmla="*/ 0 h 9987"/>
                  <a:gd name="connsiteX7" fmla="*/ 7356 w 22128"/>
                  <a:gd name="connsiteY7" fmla="*/ 60 h 9987"/>
                  <a:gd name="connsiteX8" fmla="*/ 9509 w 22128"/>
                  <a:gd name="connsiteY8" fmla="*/ 359 h 9987"/>
                  <a:gd name="connsiteX9" fmla="*/ 10706 w 22128"/>
                  <a:gd name="connsiteY9" fmla="*/ 478 h 9987"/>
                  <a:gd name="connsiteX10" fmla="*/ 12081 w 22128"/>
                  <a:gd name="connsiteY10" fmla="*/ 1136 h 9987"/>
                  <a:gd name="connsiteX11" fmla="*/ 14593 w 22128"/>
                  <a:gd name="connsiteY11" fmla="*/ 2273 h 9987"/>
                  <a:gd name="connsiteX12" fmla="*/ 14952 w 22128"/>
                  <a:gd name="connsiteY12" fmla="*/ 2452 h 9987"/>
                  <a:gd name="connsiteX13" fmla="*/ 15191 w 22128"/>
                  <a:gd name="connsiteY13" fmla="*/ 2572 h 9987"/>
                  <a:gd name="connsiteX14" fmla="*/ 16925 w 22128"/>
                  <a:gd name="connsiteY14" fmla="*/ 3409 h 9987"/>
                  <a:gd name="connsiteX15" fmla="*/ 17942 w 22128"/>
                  <a:gd name="connsiteY15" fmla="*/ 3887 h 9987"/>
                  <a:gd name="connsiteX16" fmla="*/ 19377 w 22128"/>
                  <a:gd name="connsiteY16" fmla="*/ 4605 h 9987"/>
                  <a:gd name="connsiteX17" fmla="*/ 20035 w 22128"/>
                  <a:gd name="connsiteY17" fmla="*/ 4904 h 9987"/>
                  <a:gd name="connsiteX18" fmla="*/ 21231 w 22128"/>
                  <a:gd name="connsiteY18" fmla="*/ 6459 h 9987"/>
                  <a:gd name="connsiteX19" fmla="*/ 22128 w 22128"/>
                  <a:gd name="connsiteY19" fmla="*/ 7595 h 9987"/>
                  <a:gd name="connsiteX20" fmla="*/ 22069 w 22128"/>
                  <a:gd name="connsiteY20" fmla="*/ 7835 h 9987"/>
                  <a:gd name="connsiteX21" fmla="*/ 21949 w 22128"/>
                  <a:gd name="connsiteY21" fmla="*/ 8493 h 9987"/>
                  <a:gd name="connsiteX22" fmla="*/ 21890 w 22128"/>
                  <a:gd name="connsiteY22" fmla="*/ 8672 h 9987"/>
                  <a:gd name="connsiteX23" fmla="*/ 21770 w 22128"/>
                  <a:gd name="connsiteY23" fmla="*/ 9330 h 9987"/>
                  <a:gd name="connsiteX24" fmla="*/ 21650 w 22128"/>
                  <a:gd name="connsiteY24" fmla="*/ 9988 h 9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128" h="9987">
                    <a:moveTo>
                      <a:pt x="0" y="120"/>
                    </a:moveTo>
                    <a:lnTo>
                      <a:pt x="837" y="0"/>
                    </a:lnTo>
                    <a:lnTo>
                      <a:pt x="2333" y="0"/>
                    </a:lnTo>
                    <a:lnTo>
                      <a:pt x="5083" y="0"/>
                    </a:lnTo>
                    <a:lnTo>
                      <a:pt x="5741" y="0"/>
                    </a:lnTo>
                    <a:lnTo>
                      <a:pt x="6399" y="0"/>
                    </a:lnTo>
                    <a:lnTo>
                      <a:pt x="6818" y="0"/>
                    </a:lnTo>
                    <a:lnTo>
                      <a:pt x="7356" y="60"/>
                    </a:lnTo>
                    <a:lnTo>
                      <a:pt x="9509" y="359"/>
                    </a:lnTo>
                    <a:lnTo>
                      <a:pt x="10706" y="478"/>
                    </a:lnTo>
                    <a:lnTo>
                      <a:pt x="12081" y="1136"/>
                    </a:lnTo>
                    <a:lnTo>
                      <a:pt x="14593" y="2273"/>
                    </a:lnTo>
                    <a:lnTo>
                      <a:pt x="14952" y="2452"/>
                    </a:lnTo>
                    <a:lnTo>
                      <a:pt x="15191" y="2572"/>
                    </a:lnTo>
                    <a:lnTo>
                      <a:pt x="16925" y="3409"/>
                    </a:lnTo>
                    <a:lnTo>
                      <a:pt x="17942" y="3887"/>
                    </a:lnTo>
                    <a:lnTo>
                      <a:pt x="19377" y="4605"/>
                    </a:lnTo>
                    <a:lnTo>
                      <a:pt x="20035" y="4904"/>
                    </a:lnTo>
                    <a:lnTo>
                      <a:pt x="21231" y="6459"/>
                    </a:lnTo>
                    <a:lnTo>
                      <a:pt x="22128" y="7595"/>
                    </a:lnTo>
                    <a:lnTo>
                      <a:pt x="22069" y="7835"/>
                    </a:lnTo>
                    <a:lnTo>
                      <a:pt x="21949" y="8493"/>
                    </a:lnTo>
                    <a:lnTo>
                      <a:pt x="21890" y="8672"/>
                    </a:lnTo>
                    <a:lnTo>
                      <a:pt x="21770" y="9330"/>
                    </a:lnTo>
                    <a:lnTo>
                      <a:pt x="21650" y="9988"/>
                    </a:lnTo>
                  </a:path>
                </a:pathLst>
              </a:custGeom>
              <a:noFill/>
              <a:ln w="6350" cap="rnd">
                <a:solidFill>
                  <a:schemeClr val="bg1">
                    <a:alpha val="80000"/>
                  </a:schemeClr>
                </a:solidFill>
                <a:prstDash val="solid"/>
                <a:round/>
              </a:ln>
            </p:spPr>
            <p:txBody>
              <a:bodyPr rtlCol="0" anchor="ctr"/>
              <a:lstStyle/>
              <a:p>
                <a:endParaRPr lang="en-GB"/>
              </a:p>
            </p:txBody>
          </p:sp>
          <p:sp>
            <p:nvSpPr>
              <p:cNvPr id="6725" name="Vrije vorm: vorm 6724">
                <a:extLst>
                  <a:ext uri="{FF2B5EF4-FFF2-40B4-BE49-F238E27FC236}">
                    <a16:creationId xmlns:a16="http://schemas.microsoft.com/office/drawing/2014/main" id="{C678A44E-C3CC-480E-9FF9-842CA9589EE7}"/>
                  </a:ext>
                </a:extLst>
              </p:cNvPr>
              <p:cNvSpPr/>
              <p:nvPr/>
            </p:nvSpPr>
            <p:spPr>
              <a:xfrm>
                <a:off x="6881438" y="1917041"/>
                <a:ext cx="6996" cy="6638"/>
              </a:xfrm>
              <a:custGeom>
                <a:avLst/>
                <a:gdLst>
                  <a:gd name="connsiteX0" fmla="*/ 6997 w 6996"/>
                  <a:gd name="connsiteY0" fmla="*/ 0 h 6638"/>
                  <a:gd name="connsiteX1" fmla="*/ 6459 w 6996"/>
                  <a:gd name="connsiteY1" fmla="*/ 120 h 6638"/>
                  <a:gd name="connsiteX2" fmla="*/ 5323 w 6996"/>
                  <a:gd name="connsiteY2" fmla="*/ 299 h 6638"/>
                  <a:gd name="connsiteX3" fmla="*/ 3170 w 6996"/>
                  <a:gd name="connsiteY3" fmla="*/ 1794 h 6638"/>
                  <a:gd name="connsiteX4" fmla="*/ 2571 w 6996"/>
                  <a:gd name="connsiteY4" fmla="*/ 2691 h 6638"/>
                  <a:gd name="connsiteX5" fmla="*/ 2452 w 6996"/>
                  <a:gd name="connsiteY5" fmla="*/ 2871 h 6638"/>
                  <a:gd name="connsiteX6" fmla="*/ 1973 w 6996"/>
                  <a:gd name="connsiteY6" fmla="*/ 3648 h 6638"/>
                  <a:gd name="connsiteX7" fmla="*/ 120 w 6996"/>
                  <a:gd name="connsiteY7" fmla="*/ 6519 h 6638"/>
                  <a:gd name="connsiteX8" fmla="*/ 0 w 6996"/>
                  <a:gd name="connsiteY8" fmla="*/ 6639 h 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96" h="6638">
                    <a:moveTo>
                      <a:pt x="6997" y="0"/>
                    </a:moveTo>
                    <a:lnTo>
                      <a:pt x="6459" y="120"/>
                    </a:lnTo>
                    <a:lnTo>
                      <a:pt x="5323" y="299"/>
                    </a:lnTo>
                    <a:lnTo>
                      <a:pt x="3170" y="1794"/>
                    </a:lnTo>
                    <a:lnTo>
                      <a:pt x="2571" y="2691"/>
                    </a:lnTo>
                    <a:lnTo>
                      <a:pt x="2452" y="2871"/>
                    </a:lnTo>
                    <a:lnTo>
                      <a:pt x="1973" y="3648"/>
                    </a:lnTo>
                    <a:lnTo>
                      <a:pt x="120" y="6519"/>
                    </a:lnTo>
                    <a:lnTo>
                      <a:pt x="0" y="6639"/>
                    </a:lnTo>
                  </a:path>
                </a:pathLst>
              </a:custGeom>
              <a:noFill/>
              <a:ln w="6350" cap="rnd">
                <a:solidFill>
                  <a:schemeClr val="bg1">
                    <a:alpha val="80000"/>
                  </a:schemeClr>
                </a:solidFill>
                <a:prstDash val="solid"/>
                <a:round/>
              </a:ln>
            </p:spPr>
            <p:txBody>
              <a:bodyPr rtlCol="0" anchor="ctr"/>
              <a:lstStyle/>
              <a:p>
                <a:endParaRPr lang="en-GB"/>
              </a:p>
            </p:txBody>
          </p:sp>
          <p:sp>
            <p:nvSpPr>
              <p:cNvPr id="6726" name="Vrije vorm: vorm 6725">
                <a:extLst>
                  <a:ext uri="{FF2B5EF4-FFF2-40B4-BE49-F238E27FC236}">
                    <a16:creationId xmlns:a16="http://schemas.microsoft.com/office/drawing/2014/main" id="{8E1200ED-0CF2-4EB0-81F2-7C91464CFC2C}"/>
                  </a:ext>
                </a:extLst>
              </p:cNvPr>
              <p:cNvSpPr/>
              <p:nvPr/>
            </p:nvSpPr>
            <p:spPr>
              <a:xfrm>
                <a:off x="6689756" y="1801075"/>
                <a:ext cx="19317" cy="11183"/>
              </a:xfrm>
              <a:custGeom>
                <a:avLst/>
                <a:gdLst>
                  <a:gd name="connsiteX0" fmla="*/ 0 w 19317"/>
                  <a:gd name="connsiteY0" fmla="*/ 1854 h 11183"/>
                  <a:gd name="connsiteX1" fmla="*/ 837 w 19317"/>
                  <a:gd name="connsiteY1" fmla="*/ 778 h 11183"/>
                  <a:gd name="connsiteX2" fmla="*/ 4725 w 19317"/>
                  <a:gd name="connsiteY2" fmla="*/ 120 h 11183"/>
                  <a:gd name="connsiteX3" fmla="*/ 9091 w 19317"/>
                  <a:gd name="connsiteY3" fmla="*/ 0 h 11183"/>
                  <a:gd name="connsiteX4" fmla="*/ 11483 w 19317"/>
                  <a:gd name="connsiteY4" fmla="*/ 478 h 11183"/>
                  <a:gd name="connsiteX5" fmla="*/ 16268 w 19317"/>
                  <a:gd name="connsiteY5" fmla="*/ 2033 h 11183"/>
                  <a:gd name="connsiteX6" fmla="*/ 18899 w 19317"/>
                  <a:gd name="connsiteY6" fmla="*/ 4486 h 11183"/>
                  <a:gd name="connsiteX7" fmla="*/ 19079 w 19317"/>
                  <a:gd name="connsiteY7" fmla="*/ 5622 h 11183"/>
                  <a:gd name="connsiteX8" fmla="*/ 19318 w 19317"/>
                  <a:gd name="connsiteY8" fmla="*/ 7177 h 11183"/>
                  <a:gd name="connsiteX9" fmla="*/ 19258 w 19317"/>
                  <a:gd name="connsiteY9" fmla="*/ 7476 h 11183"/>
                  <a:gd name="connsiteX10" fmla="*/ 19019 w 19317"/>
                  <a:gd name="connsiteY10" fmla="*/ 9569 h 11183"/>
                  <a:gd name="connsiteX11" fmla="*/ 18839 w 19317"/>
                  <a:gd name="connsiteY11" fmla="*/ 11184 h 1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317" h="11183">
                    <a:moveTo>
                      <a:pt x="0" y="1854"/>
                    </a:moveTo>
                    <a:lnTo>
                      <a:pt x="837" y="778"/>
                    </a:lnTo>
                    <a:lnTo>
                      <a:pt x="4725" y="120"/>
                    </a:lnTo>
                    <a:lnTo>
                      <a:pt x="9091" y="0"/>
                    </a:lnTo>
                    <a:lnTo>
                      <a:pt x="11483" y="478"/>
                    </a:lnTo>
                    <a:lnTo>
                      <a:pt x="16268" y="2033"/>
                    </a:lnTo>
                    <a:lnTo>
                      <a:pt x="18899" y="4486"/>
                    </a:lnTo>
                    <a:lnTo>
                      <a:pt x="19079" y="5622"/>
                    </a:lnTo>
                    <a:lnTo>
                      <a:pt x="19318" y="7177"/>
                    </a:lnTo>
                    <a:lnTo>
                      <a:pt x="19258" y="7476"/>
                    </a:lnTo>
                    <a:lnTo>
                      <a:pt x="19019" y="9569"/>
                    </a:lnTo>
                    <a:lnTo>
                      <a:pt x="18839" y="11184"/>
                    </a:lnTo>
                  </a:path>
                </a:pathLst>
              </a:custGeom>
              <a:noFill/>
              <a:ln w="6350" cap="rnd">
                <a:solidFill>
                  <a:schemeClr val="bg1">
                    <a:alpha val="80000"/>
                  </a:schemeClr>
                </a:solidFill>
                <a:prstDash val="solid"/>
                <a:round/>
              </a:ln>
            </p:spPr>
            <p:txBody>
              <a:bodyPr rtlCol="0" anchor="ctr"/>
              <a:lstStyle/>
              <a:p>
                <a:endParaRPr lang="en-GB"/>
              </a:p>
            </p:txBody>
          </p:sp>
          <p:sp>
            <p:nvSpPr>
              <p:cNvPr id="6727" name="Vrije vorm: vorm 6726">
                <a:extLst>
                  <a:ext uri="{FF2B5EF4-FFF2-40B4-BE49-F238E27FC236}">
                    <a16:creationId xmlns:a16="http://schemas.microsoft.com/office/drawing/2014/main" id="{A89DFF56-AFE0-4E78-B7B2-77DB334631AB}"/>
                  </a:ext>
                </a:extLst>
              </p:cNvPr>
              <p:cNvSpPr/>
              <p:nvPr/>
            </p:nvSpPr>
            <p:spPr>
              <a:xfrm>
                <a:off x="6927310" y="2039047"/>
                <a:ext cx="8672" cy="11483"/>
              </a:xfrm>
              <a:custGeom>
                <a:avLst/>
                <a:gdLst>
                  <a:gd name="connsiteX0" fmla="*/ 6878 w 8672"/>
                  <a:gd name="connsiteY0" fmla="*/ 0 h 11483"/>
                  <a:gd name="connsiteX1" fmla="*/ 6938 w 8672"/>
                  <a:gd name="connsiteY1" fmla="*/ 239 h 11483"/>
                  <a:gd name="connsiteX2" fmla="*/ 7237 w 8672"/>
                  <a:gd name="connsiteY2" fmla="*/ 1017 h 11483"/>
                  <a:gd name="connsiteX3" fmla="*/ 7596 w 8672"/>
                  <a:gd name="connsiteY3" fmla="*/ 1974 h 11483"/>
                  <a:gd name="connsiteX4" fmla="*/ 8672 w 8672"/>
                  <a:gd name="connsiteY4" fmla="*/ 4844 h 11483"/>
                  <a:gd name="connsiteX5" fmla="*/ 7596 w 8672"/>
                  <a:gd name="connsiteY5" fmla="*/ 6579 h 11483"/>
                  <a:gd name="connsiteX6" fmla="*/ 5503 w 8672"/>
                  <a:gd name="connsiteY6" fmla="*/ 9928 h 11483"/>
                  <a:gd name="connsiteX7" fmla="*/ 2333 w 8672"/>
                  <a:gd name="connsiteY7" fmla="*/ 10825 h 11483"/>
                  <a:gd name="connsiteX8" fmla="*/ 1974 w 8672"/>
                  <a:gd name="connsiteY8" fmla="*/ 10945 h 11483"/>
                  <a:gd name="connsiteX9" fmla="*/ 120 w 8672"/>
                  <a:gd name="connsiteY9" fmla="*/ 11483 h 11483"/>
                  <a:gd name="connsiteX10" fmla="*/ 0 w 8672"/>
                  <a:gd name="connsiteY10" fmla="*/ 11184 h 1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72" h="11483">
                    <a:moveTo>
                      <a:pt x="6878" y="0"/>
                    </a:moveTo>
                    <a:lnTo>
                      <a:pt x="6938" y="239"/>
                    </a:lnTo>
                    <a:lnTo>
                      <a:pt x="7237" y="1017"/>
                    </a:lnTo>
                    <a:lnTo>
                      <a:pt x="7596" y="1974"/>
                    </a:lnTo>
                    <a:lnTo>
                      <a:pt x="8672" y="4844"/>
                    </a:lnTo>
                    <a:lnTo>
                      <a:pt x="7596" y="6579"/>
                    </a:lnTo>
                    <a:lnTo>
                      <a:pt x="5503" y="9928"/>
                    </a:lnTo>
                    <a:lnTo>
                      <a:pt x="2333" y="10825"/>
                    </a:lnTo>
                    <a:lnTo>
                      <a:pt x="1974" y="10945"/>
                    </a:lnTo>
                    <a:lnTo>
                      <a:pt x="120" y="11483"/>
                    </a:lnTo>
                    <a:lnTo>
                      <a:pt x="0" y="11184"/>
                    </a:lnTo>
                  </a:path>
                </a:pathLst>
              </a:custGeom>
              <a:noFill/>
              <a:ln w="6350" cap="rnd">
                <a:solidFill>
                  <a:schemeClr val="bg1">
                    <a:alpha val="80000"/>
                  </a:schemeClr>
                </a:solidFill>
                <a:prstDash val="solid"/>
                <a:round/>
              </a:ln>
            </p:spPr>
            <p:txBody>
              <a:bodyPr rtlCol="0" anchor="ctr"/>
              <a:lstStyle/>
              <a:p>
                <a:endParaRPr lang="en-GB"/>
              </a:p>
            </p:txBody>
          </p:sp>
          <p:sp>
            <p:nvSpPr>
              <p:cNvPr id="6728" name="Vrije vorm: vorm 6727">
                <a:extLst>
                  <a:ext uri="{FF2B5EF4-FFF2-40B4-BE49-F238E27FC236}">
                    <a16:creationId xmlns:a16="http://schemas.microsoft.com/office/drawing/2014/main" id="{F9662E56-57E0-480E-9AF1-25689F8FE8E3}"/>
                  </a:ext>
                </a:extLst>
              </p:cNvPr>
              <p:cNvSpPr/>
              <p:nvPr/>
            </p:nvSpPr>
            <p:spPr>
              <a:xfrm>
                <a:off x="6622712" y="1831516"/>
                <a:ext cx="8971" cy="10765"/>
              </a:xfrm>
              <a:custGeom>
                <a:avLst/>
                <a:gdLst>
                  <a:gd name="connsiteX0" fmla="*/ 1555 w 8971"/>
                  <a:gd name="connsiteY0" fmla="*/ 10765 h 10765"/>
                  <a:gd name="connsiteX1" fmla="*/ 0 w 8971"/>
                  <a:gd name="connsiteY1" fmla="*/ 4486 h 10765"/>
                  <a:gd name="connsiteX2" fmla="*/ 4007 w 8971"/>
                  <a:gd name="connsiteY2" fmla="*/ 0 h 10765"/>
                  <a:gd name="connsiteX3" fmla="*/ 8971 w 8971"/>
                  <a:gd name="connsiteY3" fmla="*/ 3230 h 10765"/>
                </a:gdLst>
                <a:ahLst/>
                <a:cxnLst>
                  <a:cxn ang="0">
                    <a:pos x="connsiteX0" y="connsiteY0"/>
                  </a:cxn>
                  <a:cxn ang="0">
                    <a:pos x="connsiteX1" y="connsiteY1"/>
                  </a:cxn>
                  <a:cxn ang="0">
                    <a:pos x="connsiteX2" y="connsiteY2"/>
                  </a:cxn>
                  <a:cxn ang="0">
                    <a:pos x="connsiteX3" y="connsiteY3"/>
                  </a:cxn>
                </a:cxnLst>
                <a:rect l="l" t="t" r="r" b="b"/>
                <a:pathLst>
                  <a:path w="8971" h="10765">
                    <a:moveTo>
                      <a:pt x="1555" y="10765"/>
                    </a:moveTo>
                    <a:lnTo>
                      <a:pt x="0" y="4486"/>
                    </a:lnTo>
                    <a:lnTo>
                      <a:pt x="4007" y="0"/>
                    </a:lnTo>
                    <a:lnTo>
                      <a:pt x="8971" y="3230"/>
                    </a:lnTo>
                  </a:path>
                </a:pathLst>
              </a:custGeom>
              <a:noFill/>
              <a:ln w="6350" cap="rnd">
                <a:solidFill>
                  <a:schemeClr val="bg1">
                    <a:alpha val="80000"/>
                  </a:schemeClr>
                </a:solidFill>
                <a:prstDash val="solid"/>
                <a:round/>
              </a:ln>
            </p:spPr>
            <p:txBody>
              <a:bodyPr rtlCol="0" anchor="ctr"/>
              <a:lstStyle/>
              <a:p>
                <a:endParaRPr lang="en-GB"/>
              </a:p>
            </p:txBody>
          </p:sp>
          <p:sp>
            <p:nvSpPr>
              <p:cNvPr id="6729" name="Vrije vorm: vorm 6728">
                <a:extLst>
                  <a:ext uri="{FF2B5EF4-FFF2-40B4-BE49-F238E27FC236}">
                    <a16:creationId xmlns:a16="http://schemas.microsoft.com/office/drawing/2014/main" id="{7CC3B394-F4B9-4F02-8744-80DB01620F11}"/>
                  </a:ext>
                </a:extLst>
              </p:cNvPr>
              <p:cNvSpPr/>
              <p:nvPr/>
            </p:nvSpPr>
            <p:spPr>
              <a:xfrm>
                <a:off x="6914332" y="2059920"/>
                <a:ext cx="7296" cy="10346"/>
              </a:xfrm>
              <a:custGeom>
                <a:avLst/>
                <a:gdLst>
                  <a:gd name="connsiteX0" fmla="*/ 6399 w 7296"/>
                  <a:gd name="connsiteY0" fmla="*/ 0 h 10346"/>
                  <a:gd name="connsiteX1" fmla="*/ 6399 w 7296"/>
                  <a:gd name="connsiteY1" fmla="*/ 0 h 10346"/>
                  <a:gd name="connsiteX2" fmla="*/ 6639 w 7296"/>
                  <a:gd name="connsiteY2" fmla="*/ 359 h 10346"/>
                  <a:gd name="connsiteX3" fmla="*/ 7117 w 7296"/>
                  <a:gd name="connsiteY3" fmla="*/ 4246 h 10346"/>
                  <a:gd name="connsiteX4" fmla="*/ 7236 w 7296"/>
                  <a:gd name="connsiteY4" fmla="*/ 5084 h 10346"/>
                  <a:gd name="connsiteX5" fmla="*/ 7296 w 7296"/>
                  <a:gd name="connsiteY5" fmla="*/ 5742 h 10346"/>
                  <a:gd name="connsiteX6" fmla="*/ 7117 w 7296"/>
                  <a:gd name="connsiteY6" fmla="*/ 5981 h 10346"/>
                  <a:gd name="connsiteX7" fmla="*/ 6938 w 7296"/>
                  <a:gd name="connsiteY7" fmla="*/ 6160 h 10346"/>
                  <a:gd name="connsiteX8" fmla="*/ 3588 w 7296"/>
                  <a:gd name="connsiteY8" fmla="*/ 10347 h 10346"/>
                  <a:gd name="connsiteX9" fmla="*/ 1316 w 7296"/>
                  <a:gd name="connsiteY9" fmla="*/ 9150 h 10346"/>
                  <a:gd name="connsiteX10" fmla="*/ 120 w 7296"/>
                  <a:gd name="connsiteY10" fmla="*/ 8493 h 10346"/>
                  <a:gd name="connsiteX11" fmla="*/ 0 w 7296"/>
                  <a:gd name="connsiteY11" fmla="*/ 8253 h 1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96" h="10346">
                    <a:moveTo>
                      <a:pt x="6399" y="0"/>
                    </a:moveTo>
                    <a:lnTo>
                      <a:pt x="6399" y="0"/>
                    </a:lnTo>
                    <a:lnTo>
                      <a:pt x="6639" y="359"/>
                    </a:lnTo>
                    <a:lnTo>
                      <a:pt x="7117" y="4246"/>
                    </a:lnTo>
                    <a:lnTo>
                      <a:pt x="7236" y="5084"/>
                    </a:lnTo>
                    <a:lnTo>
                      <a:pt x="7296" y="5742"/>
                    </a:lnTo>
                    <a:lnTo>
                      <a:pt x="7117" y="5981"/>
                    </a:lnTo>
                    <a:lnTo>
                      <a:pt x="6938" y="6160"/>
                    </a:lnTo>
                    <a:lnTo>
                      <a:pt x="3588" y="10347"/>
                    </a:lnTo>
                    <a:lnTo>
                      <a:pt x="1316" y="9150"/>
                    </a:lnTo>
                    <a:lnTo>
                      <a:pt x="120" y="8493"/>
                    </a:lnTo>
                    <a:lnTo>
                      <a:pt x="0" y="8253"/>
                    </a:lnTo>
                  </a:path>
                </a:pathLst>
              </a:custGeom>
              <a:noFill/>
              <a:ln w="6350" cap="rnd">
                <a:solidFill>
                  <a:schemeClr val="bg1">
                    <a:alpha val="80000"/>
                  </a:schemeClr>
                </a:solidFill>
                <a:prstDash val="solid"/>
                <a:round/>
              </a:ln>
            </p:spPr>
            <p:txBody>
              <a:bodyPr rtlCol="0" anchor="ctr"/>
              <a:lstStyle/>
              <a:p>
                <a:endParaRPr lang="en-GB"/>
              </a:p>
            </p:txBody>
          </p:sp>
          <p:sp>
            <p:nvSpPr>
              <p:cNvPr id="6730" name="Vrije vorm: vorm 6729">
                <a:extLst>
                  <a:ext uri="{FF2B5EF4-FFF2-40B4-BE49-F238E27FC236}">
                    <a16:creationId xmlns:a16="http://schemas.microsoft.com/office/drawing/2014/main" id="{13F71AC6-A8DD-4266-8878-0F5E29B1D12B}"/>
                  </a:ext>
                </a:extLst>
              </p:cNvPr>
              <p:cNvSpPr/>
              <p:nvPr/>
            </p:nvSpPr>
            <p:spPr>
              <a:xfrm>
                <a:off x="6809131" y="2078042"/>
                <a:ext cx="777" cy="1016"/>
              </a:xfrm>
              <a:custGeom>
                <a:avLst/>
                <a:gdLst>
                  <a:gd name="connsiteX0" fmla="*/ 0 w 777"/>
                  <a:gd name="connsiteY0" fmla="*/ 0 h 1016"/>
                  <a:gd name="connsiteX1" fmla="*/ 0 w 777"/>
                  <a:gd name="connsiteY1" fmla="*/ 0 h 1016"/>
                  <a:gd name="connsiteX2" fmla="*/ 778 w 777"/>
                  <a:gd name="connsiteY2" fmla="*/ 1017 h 1016"/>
                </a:gdLst>
                <a:ahLst/>
                <a:cxnLst>
                  <a:cxn ang="0">
                    <a:pos x="connsiteX0" y="connsiteY0"/>
                  </a:cxn>
                  <a:cxn ang="0">
                    <a:pos x="connsiteX1" y="connsiteY1"/>
                  </a:cxn>
                  <a:cxn ang="0">
                    <a:pos x="connsiteX2" y="connsiteY2"/>
                  </a:cxn>
                </a:cxnLst>
                <a:rect l="l" t="t" r="r" b="b"/>
                <a:pathLst>
                  <a:path w="777" h="1016">
                    <a:moveTo>
                      <a:pt x="0" y="0"/>
                    </a:moveTo>
                    <a:lnTo>
                      <a:pt x="0" y="0"/>
                    </a:lnTo>
                    <a:lnTo>
                      <a:pt x="778" y="1017"/>
                    </a:lnTo>
                  </a:path>
                </a:pathLst>
              </a:custGeom>
              <a:noFill/>
              <a:ln w="6350" cap="rnd">
                <a:solidFill>
                  <a:schemeClr val="bg1">
                    <a:alpha val="80000"/>
                  </a:schemeClr>
                </a:solidFill>
                <a:prstDash val="solid"/>
                <a:round/>
              </a:ln>
            </p:spPr>
            <p:txBody>
              <a:bodyPr rtlCol="0" anchor="ctr"/>
              <a:lstStyle/>
              <a:p>
                <a:endParaRPr lang="en-GB"/>
              </a:p>
            </p:txBody>
          </p:sp>
          <p:sp>
            <p:nvSpPr>
              <p:cNvPr id="6731" name="Vrije vorm: vorm 6730">
                <a:extLst>
                  <a:ext uri="{FF2B5EF4-FFF2-40B4-BE49-F238E27FC236}">
                    <a16:creationId xmlns:a16="http://schemas.microsoft.com/office/drawing/2014/main" id="{FEE01163-0B82-4EA4-BEEC-F42587EEAD3C}"/>
                  </a:ext>
                </a:extLst>
              </p:cNvPr>
              <p:cNvSpPr/>
              <p:nvPr/>
            </p:nvSpPr>
            <p:spPr>
              <a:xfrm>
                <a:off x="6916306" y="2075470"/>
                <a:ext cx="28228" cy="40848"/>
              </a:xfrm>
              <a:custGeom>
                <a:avLst/>
                <a:gdLst>
                  <a:gd name="connsiteX0" fmla="*/ 28229 w 28228"/>
                  <a:gd name="connsiteY0" fmla="*/ 40848 h 40848"/>
                  <a:gd name="connsiteX1" fmla="*/ 25658 w 28228"/>
                  <a:gd name="connsiteY1" fmla="*/ 39054 h 40848"/>
                  <a:gd name="connsiteX2" fmla="*/ 24222 w 28228"/>
                  <a:gd name="connsiteY2" fmla="*/ 37798 h 40848"/>
                  <a:gd name="connsiteX3" fmla="*/ 14533 w 28228"/>
                  <a:gd name="connsiteY3" fmla="*/ 28887 h 40848"/>
                  <a:gd name="connsiteX4" fmla="*/ 9091 w 28228"/>
                  <a:gd name="connsiteY4" fmla="*/ 21590 h 40848"/>
                  <a:gd name="connsiteX5" fmla="*/ 3888 w 28228"/>
                  <a:gd name="connsiteY5" fmla="*/ 12440 h 40848"/>
                  <a:gd name="connsiteX6" fmla="*/ 1017 w 28228"/>
                  <a:gd name="connsiteY6" fmla="*/ 5502 h 40848"/>
                  <a:gd name="connsiteX7" fmla="*/ 0 w 28228"/>
                  <a:gd name="connsiteY7" fmla="*/ 2751 h 40848"/>
                  <a:gd name="connsiteX8" fmla="*/ 1675 w 28228"/>
                  <a:gd name="connsiteY8" fmla="*/ 0 h 4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28" h="40848">
                    <a:moveTo>
                      <a:pt x="28229" y="40848"/>
                    </a:moveTo>
                    <a:lnTo>
                      <a:pt x="25658" y="39054"/>
                    </a:lnTo>
                    <a:lnTo>
                      <a:pt x="24222" y="37798"/>
                    </a:lnTo>
                    <a:lnTo>
                      <a:pt x="14533" y="28887"/>
                    </a:lnTo>
                    <a:lnTo>
                      <a:pt x="9091" y="21590"/>
                    </a:lnTo>
                    <a:lnTo>
                      <a:pt x="3888" y="12440"/>
                    </a:lnTo>
                    <a:lnTo>
                      <a:pt x="1017" y="5502"/>
                    </a:lnTo>
                    <a:lnTo>
                      <a:pt x="0" y="2751"/>
                    </a:lnTo>
                    <a:lnTo>
                      <a:pt x="1675" y="0"/>
                    </a:lnTo>
                  </a:path>
                </a:pathLst>
              </a:custGeom>
              <a:noFill/>
              <a:ln w="6350" cap="rnd">
                <a:solidFill>
                  <a:schemeClr val="bg1">
                    <a:alpha val="80000"/>
                  </a:schemeClr>
                </a:solidFill>
                <a:prstDash val="solid"/>
                <a:round/>
              </a:ln>
            </p:spPr>
            <p:txBody>
              <a:bodyPr rtlCol="0" anchor="ctr"/>
              <a:lstStyle/>
              <a:p>
                <a:endParaRPr lang="en-GB"/>
              </a:p>
            </p:txBody>
          </p:sp>
          <p:sp>
            <p:nvSpPr>
              <p:cNvPr id="6732" name="Vrije vorm: vorm 6731">
                <a:extLst>
                  <a:ext uri="{FF2B5EF4-FFF2-40B4-BE49-F238E27FC236}">
                    <a16:creationId xmlns:a16="http://schemas.microsoft.com/office/drawing/2014/main" id="{D07029E2-38F8-48EC-9B1C-D56FA7C8FDEF}"/>
                  </a:ext>
                </a:extLst>
              </p:cNvPr>
              <p:cNvSpPr/>
              <p:nvPr/>
            </p:nvSpPr>
            <p:spPr>
              <a:xfrm>
                <a:off x="6898663" y="2076726"/>
                <a:ext cx="8671" cy="12081"/>
              </a:xfrm>
              <a:custGeom>
                <a:avLst/>
                <a:gdLst>
                  <a:gd name="connsiteX0" fmla="*/ 8253 w 8671"/>
                  <a:gd name="connsiteY0" fmla="*/ 0 h 12081"/>
                  <a:gd name="connsiteX1" fmla="*/ 8672 w 8671"/>
                  <a:gd name="connsiteY1" fmla="*/ 359 h 12081"/>
                  <a:gd name="connsiteX2" fmla="*/ 6997 w 8671"/>
                  <a:gd name="connsiteY2" fmla="*/ 8253 h 12081"/>
                  <a:gd name="connsiteX3" fmla="*/ 3050 w 8671"/>
                  <a:gd name="connsiteY3" fmla="*/ 12081 h 12081"/>
                  <a:gd name="connsiteX4" fmla="*/ 180 w 8671"/>
                  <a:gd name="connsiteY4" fmla="*/ 8911 h 12081"/>
                  <a:gd name="connsiteX5" fmla="*/ 0 w 8671"/>
                  <a:gd name="connsiteY5" fmla="*/ 8552 h 12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1" h="12081">
                    <a:moveTo>
                      <a:pt x="8253" y="0"/>
                    </a:moveTo>
                    <a:lnTo>
                      <a:pt x="8672" y="359"/>
                    </a:lnTo>
                    <a:lnTo>
                      <a:pt x="6997" y="8253"/>
                    </a:lnTo>
                    <a:lnTo>
                      <a:pt x="3050" y="12081"/>
                    </a:lnTo>
                    <a:lnTo>
                      <a:pt x="180" y="8911"/>
                    </a:lnTo>
                    <a:lnTo>
                      <a:pt x="0" y="8552"/>
                    </a:lnTo>
                  </a:path>
                </a:pathLst>
              </a:custGeom>
              <a:noFill/>
              <a:ln w="6350" cap="rnd">
                <a:solidFill>
                  <a:schemeClr val="bg1">
                    <a:alpha val="80000"/>
                  </a:schemeClr>
                </a:solidFill>
                <a:prstDash val="solid"/>
                <a:round/>
              </a:ln>
            </p:spPr>
            <p:txBody>
              <a:bodyPr rtlCol="0" anchor="ctr"/>
              <a:lstStyle/>
              <a:p>
                <a:endParaRPr lang="en-GB"/>
              </a:p>
            </p:txBody>
          </p:sp>
          <p:sp>
            <p:nvSpPr>
              <p:cNvPr id="6733" name="Vrije vorm: vorm 6732">
                <a:extLst>
                  <a:ext uri="{FF2B5EF4-FFF2-40B4-BE49-F238E27FC236}">
                    <a16:creationId xmlns:a16="http://schemas.microsoft.com/office/drawing/2014/main" id="{3365E68B-8F7E-4521-A005-2A92DF26EA2C}"/>
                  </a:ext>
                </a:extLst>
              </p:cNvPr>
              <p:cNvSpPr/>
              <p:nvPr/>
            </p:nvSpPr>
            <p:spPr>
              <a:xfrm>
                <a:off x="6755903" y="1854482"/>
                <a:ext cx="3110" cy="8373"/>
              </a:xfrm>
              <a:custGeom>
                <a:avLst/>
                <a:gdLst>
                  <a:gd name="connsiteX0" fmla="*/ 0 w 3110"/>
                  <a:gd name="connsiteY0" fmla="*/ 0 h 8373"/>
                  <a:gd name="connsiteX1" fmla="*/ 1735 w 3110"/>
                  <a:gd name="connsiteY1" fmla="*/ 4187 h 8373"/>
                  <a:gd name="connsiteX2" fmla="*/ 3110 w 3110"/>
                  <a:gd name="connsiteY2" fmla="*/ 8373 h 8373"/>
                </a:gdLst>
                <a:ahLst/>
                <a:cxnLst>
                  <a:cxn ang="0">
                    <a:pos x="connsiteX0" y="connsiteY0"/>
                  </a:cxn>
                  <a:cxn ang="0">
                    <a:pos x="connsiteX1" y="connsiteY1"/>
                  </a:cxn>
                  <a:cxn ang="0">
                    <a:pos x="connsiteX2" y="connsiteY2"/>
                  </a:cxn>
                </a:cxnLst>
                <a:rect l="l" t="t" r="r" b="b"/>
                <a:pathLst>
                  <a:path w="3110" h="8373">
                    <a:moveTo>
                      <a:pt x="0" y="0"/>
                    </a:moveTo>
                    <a:lnTo>
                      <a:pt x="1735" y="4187"/>
                    </a:lnTo>
                    <a:lnTo>
                      <a:pt x="3110" y="8373"/>
                    </a:lnTo>
                  </a:path>
                </a:pathLst>
              </a:custGeom>
              <a:noFill/>
              <a:ln w="6350" cap="rnd">
                <a:solidFill>
                  <a:schemeClr val="bg1">
                    <a:alpha val="80000"/>
                  </a:schemeClr>
                </a:solidFill>
                <a:prstDash val="solid"/>
                <a:round/>
              </a:ln>
            </p:spPr>
            <p:txBody>
              <a:bodyPr rtlCol="0" anchor="ctr"/>
              <a:lstStyle/>
              <a:p>
                <a:endParaRPr lang="en-GB"/>
              </a:p>
            </p:txBody>
          </p:sp>
          <p:sp>
            <p:nvSpPr>
              <p:cNvPr id="6734" name="Vrije vorm: vorm 6733">
                <a:extLst>
                  <a:ext uri="{FF2B5EF4-FFF2-40B4-BE49-F238E27FC236}">
                    <a16:creationId xmlns:a16="http://schemas.microsoft.com/office/drawing/2014/main" id="{4ED7FC9B-EE6F-4ED9-B1AB-B2808DE2E5D6}"/>
                  </a:ext>
                </a:extLst>
              </p:cNvPr>
              <p:cNvSpPr/>
              <p:nvPr/>
            </p:nvSpPr>
            <p:spPr>
              <a:xfrm>
                <a:off x="6824382" y="2032588"/>
                <a:ext cx="25238" cy="7774"/>
              </a:xfrm>
              <a:custGeom>
                <a:avLst/>
                <a:gdLst>
                  <a:gd name="connsiteX0" fmla="*/ 25238 w 25238"/>
                  <a:gd name="connsiteY0" fmla="*/ 0 h 7774"/>
                  <a:gd name="connsiteX1" fmla="*/ 20574 w 25238"/>
                  <a:gd name="connsiteY1" fmla="*/ 718 h 7774"/>
                  <a:gd name="connsiteX2" fmla="*/ 18899 w 25238"/>
                  <a:gd name="connsiteY2" fmla="*/ 1196 h 7774"/>
                  <a:gd name="connsiteX3" fmla="*/ 8553 w 25238"/>
                  <a:gd name="connsiteY3" fmla="*/ 4186 h 7774"/>
                  <a:gd name="connsiteX4" fmla="*/ 0 w 25238"/>
                  <a:gd name="connsiteY4" fmla="*/ 7775 h 7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8" h="7774">
                    <a:moveTo>
                      <a:pt x="25238" y="0"/>
                    </a:moveTo>
                    <a:lnTo>
                      <a:pt x="20574" y="718"/>
                    </a:lnTo>
                    <a:lnTo>
                      <a:pt x="18899" y="1196"/>
                    </a:lnTo>
                    <a:lnTo>
                      <a:pt x="8553" y="4186"/>
                    </a:lnTo>
                    <a:lnTo>
                      <a:pt x="0" y="7775"/>
                    </a:lnTo>
                  </a:path>
                </a:pathLst>
              </a:custGeom>
              <a:noFill/>
              <a:ln w="6350" cap="rnd">
                <a:solidFill>
                  <a:schemeClr val="bg1">
                    <a:alpha val="80000"/>
                  </a:schemeClr>
                </a:solidFill>
                <a:prstDash val="solid"/>
                <a:round/>
              </a:ln>
            </p:spPr>
            <p:txBody>
              <a:bodyPr rtlCol="0" anchor="ctr"/>
              <a:lstStyle/>
              <a:p>
                <a:endParaRPr lang="en-GB"/>
              </a:p>
            </p:txBody>
          </p:sp>
          <p:sp>
            <p:nvSpPr>
              <p:cNvPr id="6735" name="Vrije vorm: vorm 6734">
                <a:extLst>
                  <a:ext uri="{FF2B5EF4-FFF2-40B4-BE49-F238E27FC236}">
                    <a16:creationId xmlns:a16="http://schemas.microsoft.com/office/drawing/2014/main" id="{C4DF613C-08FC-4819-937C-E944590E6F0A}"/>
                  </a:ext>
                </a:extLst>
              </p:cNvPr>
              <p:cNvSpPr/>
              <p:nvPr/>
            </p:nvSpPr>
            <p:spPr>
              <a:xfrm>
                <a:off x="6940109" y="1964528"/>
                <a:ext cx="957" cy="6040"/>
              </a:xfrm>
              <a:custGeom>
                <a:avLst/>
                <a:gdLst>
                  <a:gd name="connsiteX0" fmla="*/ 239 w 957"/>
                  <a:gd name="connsiteY0" fmla="*/ 6040 h 6040"/>
                  <a:gd name="connsiteX1" fmla="*/ 299 w 957"/>
                  <a:gd name="connsiteY1" fmla="*/ 5682 h 6040"/>
                  <a:gd name="connsiteX2" fmla="*/ 299 w 957"/>
                  <a:gd name="connsiteY2" fmla="*/ 5682 h 6040"/>
                  <a:gd name="connsiteX3" fmla="*/ 359 w 957"/>
                  <a:gd name="connsiteY3" fmla="*/ 5263 h 6040"/>
                  <a:gd name="connsiteX4" fmla="*/ 957 w 957"/>
                  <a:gd name="connsiteY4" fmla="*/ 2093 h 6040"/>
                  <a:gd name="connsiteX5" fmla="*/ 837 w 957"/>
                  <a:gd name="connsiteY5" fmla="*/ 1854 h 6040"/>
                  <a:gd name="connsiteX6" fmla="*/ 718 w 957"/>
                  <a:gd name="connsiteY6" fmla="*/ 1555 h 6040"/>
                  <a:gd name="connsiteX7" fmla="*/ 419 w 957"/>
                  <a:gd name="connsiteY7" fmla="*/ 897 h 6040"/>
                  <a:gd name="connsiteX8" fmla="*/ 120 w 957"/>
                  <a:gd name="connsiteY8" fmla="*/ 239 h 6040"/>
                  <a:gd name="connsiteX9" fmla="*/ 0 w 957"/>
                  <a:gd name="connsiteY9" fmla="*/ 0 h 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7" h="6040">
                    <a:moveTo>
                      <a:pt x="239" y="6040"/>
                    </a:moveTo>
                    <a:lnTo>
                      <a:pt x="299" y="5682"/>
                    </a:lnTo>
                    <a:lnTo>
                      <a:pt x="299" y="5682"/>
                    </a:lnTo>
                    <a:lnTo>
                      <a:pt x="359" y="5263"/>
                    </a:lnTo>
                    <a:lnTo>
                      <a:pt x="957" y="2093"/>
                    </a:lnTo>
                    <a:lnTo>
                      <a:pt x="837" y="1854"/>
                    </a:lnTo>
                    <a:lnTo>
                      <a:pt x="718" y="1555"/>
                    </a:lnTo>
                    <a:lnTo>
                      <a:pt x="419" y="897"/>
                    </a:lnTo>
                    <a:lnTo>
                      <a:pt x="120" y="23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36" name="Vrije vorm: vorm 6735">
                <a:extLst>
                  <a:ext uri="{FF2B5EF4-FFF2-40B4-BE49-F238E27FC236}">
                    <a16:creationId xmlns:a16="http://schemas.microsoft.com/office/drawing/2014/main" id="{1913A34A-9118-42A0-AF15-02012D1C6F08}"/>
                  </a:ext>
                </a:extLst>
              </p:cNvPr>
              <p:cNvSpPr/>
              <p:nvPr/>
            </p:nvSpPr>
            <p:spPr>
              <a:xfrm>
                <a:off x="6843162" y="2095446"/>
                <a:ext cx="27032" cy="16566"/>
              </a:xfrm>
              <a:custGeom>
                <a:avLst/>
                <a:gdLst>
                  <a:gd name="connsiteX0" fmla="*/ 26315 w 27032"/>
                  <a:gd name="connsiteY0" fmla="*/ 0 h 16566"/>
                  <a:gd name="connsiteX1" fmla="*/ 27033 w 27032"/>
                  <a:gd name="connsiteY1" fmla="*/ 478 h 16566"/>
                  <a:gd name="connsiteX2" fmla="*/ 25658 w 27032"/>
                  <a:gd name="connsiteY2" fmla="*/ 6040 h 16566"/>
                  <a:gd name="connsiteX3" fmla="*/ 25538 w 27032"/>
                  <a:gd name="connsiteY3" fmla="*/ 6220 h 16566"/>
                  <a:gd name="connsiteX4" fmla="*/ 24043 w 27032"/>
                  <a:gd name="connsiteY4" fmla="*/ 8253 h 16566"/>
                  <a:gd name="connsiteX5" fmla="*/ 21770 w 27032"/>
                  <a:gd name="connsiteY5" fmla="*/ 11304 h 16566"/>
                  <a:gd name="connsiteX6" fmla="*/ 20693 w 27032"/>
                  <a:gd name="connsiteY6" fmla="*/ 12799 h 16566"/>
                  <a:gd name="connsiteX7" fmla="*/ 17882 w 27032"/>
                  <a:gd name="connsiteY7" fmla="*/ 16567 h 16566"/>
                  <a:gd name="connsiteX8" fmla="*/ 13277 w 27032"/>
                  <a:gd name="connsiteY8" fmla="*/ 16447 h 16566"/>
                  <a:gd name="connsiteX9" fmla="*/ 9988 w 27032"/>
                  <a:gd name="connsiteY9" fmla="*/ 15909 h 16566"/>
                  <a:gd name="connsiteX10" fmla="*/ 3947 w 27032"/>
                  <a:gd name="connsiteY10" fmla="*/ 14653 h 16566"/>
                  <a:gd name="connsiteX11" fmla="*/ 60 w 27032"/>
                  <a:gd name="connsiteY11" fmla="*/ 12380 h 16566"/>
                  <a:gd name="connsiteX12" fmla="*/ 0 w 27032"/>
                  <a:gd name="connsiteY12" fmla="*/ 12260 h 1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32" h="16566">
                    <a:moveTo>
                      <a:pt x="26315" y="0"/>
                    </a:moveTo>
                    <a:lnTo>
                      <a:pt x="27033" y="478"/>
                    </a:lnTo>
                    <a:lnTo>
                      <a:pt x="25658" y="6040"/>
                    </a:lnTo>
                    <a:lnTo>
                      <a:pt x="25538" y="6220"/>
                    </a:lnTo>
                    <a:lnTo>
                      <a:pt x="24043" y="8253"/>
                    </a:lnTo>
                    <a:lnTo>
                      <a:pt x="21770" y="11304"/>
                    </a:lnTo>
                    <a:lnTo>
                      <a:pt x="20693" y="12799"/>
                    </a:lnTo>
                    <a:lnTo>
                      <a:pt x="17882" y="16567"/>
                    </a:lnTo>
                    <a:lnTo>
                      <a:pt x="13277" y="16447"/>
                    </a:lnTo>
                    <a:lnTo>
                      <a:pt x="9988" y="15909"/>
                    </a:lnTo>
                    <a:lnTo>
                      <a:pt x="3947" y="14653"/>
                    </a:lnTo>
                    <a:lnTo>
                      <a:pt x="60" y="12380"/>
                    </a:lnTo>
                    <a:lnTo>
                      <a:pt x="0" y="12260"/>
                    </a:lnTo>
                  </a:path>
                </a:pathLst>
              </a:custGeom>
              <a:noFill/>
              <a:ln w="6350" cap="rnd">
                <a:solidFill>
                  <a:schemeClr val="bg1">
                    <a:alpha val="80000"/>
                  </a:schemeClr>
                </a:solidFill>
                <a:prstDash val="solid"/>
                <a:round/>
              </a:ln>
            </p:spPr>
            <p:txBody>
              <a:bodyPr rtlCol="0" anchor="ctr"/>
              <a:lstStyle/>
              <a:p>
                <a:endParaRPr lang="en-GB"/>
              </a:p>
            </p:txBody>
          </p:sp>
          <p:sp>
            <p:nvSpPr>
              <p:cNvPr id="6737" name="Vrije vorm: vorm 6736">
                <a:extLst>
                  <a:ext uri="{FF2B5EF4-FFF2-40B4-BE49-F238E27FC236}">
                    <a16:creationId xmlns:a16="http://schemas.microsoft.com/office/drawing/2014/main" id="{65150715-D614-4094-9EA2-E60D01AAE3ED}"/>
                  </a:ext>
                </a:extLst>
              </p:cNvPr>
              <p:cNvSpPr/>
              <p:nvPr/>
            </p:nvSpPr>
            <p:spPr>
              <a:xfrm>
                <a:off x="6823904" y="2090063"/>
                <a:ext cx="39652" cy="17762"/>
              </a:xfrm>
              <a:custGeom>
                <a:avLst/>
                <a:gdLst>
                  <a:gd name="connsiteX0" fmla="*/ 38277 w 39652"/>
                  <a:gd name="connsiteY0" fmla="*/ 0 h 17762"/>
                  <a:gd name="connsiteX1" fmla="*/ 38994 w 39652"/>
                  <a:gd name="connsiteY1" fmla="*/ 478 h 17762"/>
                  <a:gd name="connsiteX2" fmla="*/ 39652 w 39652"/>
                  <a:gd name="connsiteY2" fmla="*/ 1734 h 17762"/>
                  <a:gd name="connsiteX3" fmla="*/ 37020 w 39652"/>
                  <a:gd name="connsiteY3" fmla="*/ 7954 h 17762"/>
                  <a:gd name="connsiteX4" fmla="*/ 35167 w 39652"/>
                  <a:gd name="connsiteY4" fmla="*/ 9868 h 17762"/>
                  <a:gd name="connsiteX5" fmla="*/ 33850 w 39652"/>
                  <a:gd name="connsiteY5" fmla="*/ 11244 h 17762"/>
                  <a:gd name="connsiteX6" fmla="*/ 30382 w 39652"/>
                  <a:gd name="connsiteY6" fmla="*/ 14952 h 17762"/>
                  <a:gd name="connsiteX7" fmla="*/ 29306 w 39652"/>
                  <a:gd name="connsiteY7" fmla="*/ 16088 h 17762"/>
                  <a:gd name="connsiteX8" fmla="*/ 28229 w 39652"/>
                  <a:gd name="connsiteY8" fmla="*/ 17284 h 17762"/>
                  <a:gd name="connsiteX9" fmla="*/ 28229 w 39652"/>
                  <a:gd name="connsiteY9" fmla="*/ 17344 h 17762"/>
                  <a:gd name="connsiteX10" fmla="*/ 22786 w 39652"/>
                  <a:gd name="connsiteY10" fmla="*/ 17763 h 17762"/>
                  <a:gd name="connsiteX11" fmla="*/ 19198 w 39652"/>
                  <a:gd name="connsiteY11" fmla="*/ 17703 h 17762"/>
                  <a:gd name="connsiteX12" fmla="*/ 16208 w 39652"/>
                  <a:gd name="connsiteY12" fmla="*/ 17643 h 17762"/>
                  <a:gd name="connsiteX13" fmla="*/ 11842 w 39652"/>
                  <a:gd name="connsiteY13" fmla="*/ 17165 h 17762"/>
                  <a:gd name="connsiteX14" fmla="*/ 7476 w 39652"/>
                  <a:gd name="connsiteY14" fmla="*/ 15131 h 17762"/>
                  <a:gd name="connsiteX15" fmla="*/ 2332 w 39652"/>
                  <a:gd name="connsiteY15" fmla="*/ 12440 h 17762"/>
                  <a:gd name="connsiteX16" fmla="*/ 0 w 39652"/>
                  <a:gd name="connsiteY16" fmla="*/ 10107 h 17762"/>
                  <a:gd name="connsiteX17" fmla="*/ 658 w 39652"/>
                  <a:gd name="connsiteY17" fmla="*/ 7895 h 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652" h="17762">
                    <a:moveTo>
                      <a:pt x="38277" y="0"/>
                    </a:moveTo>
                    <a:lnTo>
                      <a:pt x="38994" y="478"/>
                    </a:lnTo>
                    <a:lnTo>
                      <a:pt x="39652" y="1734"/>
                    </a:lnTo>
                    <a:lnTo>
                      <a:pt x="37020" y="7954"/>
                    </a:lnTo>
                    <a:lnTo>
                      <a:pt x="35167" y="9868"/>
                    </a:lnTo>
                    <a:lnTo>
                      <a:pt x="33850" y="11244"/>
                    </a:lnTo>
                    <a:lnTo>
                      <a:pt x="30382" y="14952"/>
                    </a:lnTo>
                    <a:lnTo>
                      <a:pt x="29306" y="16088"/>
                    </a:lnTo>
                    <a:lnTo>
                      <a:pt x="28229" y="17284"/>
                    </a:lnTo>
                    <a:lnTo>
                      <a:pt x="28229" y="17344"/>
                    </a:lnTo>
                    <a:lnTo>
                      <a:pt x="22786" y="17763"/>
                    </a:lnTo>
                    <a:lnTo>
                      <a:pt x="19198" y="17703"/>
                    </a:lnTo>
                    <a:lnTo>
                      <a:pt x="16208" y="17643"/>
                    </a:lnTo>
                    <a:lnTo>
                      <a:pt x="11842" y="17165"/>
                    </a:lnTo>
                    <a:lnTo>
                      <a:pt x="7476" y="15131"/>
                    </a:lnTo>
                    <a:lnTo>
                      <a:pt x="2332" y="12440"/>
                    </a:lnTo>
                    <a:lnTo>
                      <a:pt x="0" y="10107"/>
                    </a:lnTo>
                    <a:lnTo>
                      <a:pt x="658" y="7895"/>
                    </a:lnTo>
                  </a:path>
                </a:pathLst>
              </a:custGeom>
              <a:noFill/>
              <a:ln w="6350" cap="rnd">
                <a:solidFill>
                  <a:schemeClr val="bg1">
                    <a:alpha val="80000"/>
                  </a:schemeClr>
                </a:solidFill>
                <a:prstDash val="solid"/>
                <a:round/>
              </a:ln>
            </p:spPr>
            <p:txBody>
              <a:bodyPr rtlCol="0" anchor="ctr"/>
              <a:lstStyle/>
              <a:p>
                <a:endParaRPr lang="en-GB"/>
              </a:p>
            </p:txBody>
          </p:sp>
          <p:sp>
            <p:nvSpPr>
              <p:cNvPr id="6738" name="Vrije vorm: vorm 6737">
                <a:extLst>
                  <a:ext uri="{FF2B5EF4-FFF2-40B4-BE49-F238E27FC236}">
                    <a16:creationId xmlns:a16="http://schemas.microsoft.com/office/drawing/2014/main" id="{E71102E0-8C28-46AC-95F9-9F569066184C}"/>
                  </a:ext>
                </a:extLst>
              </p:cNvPr>
              <p:cNvSpPr/>
              <p:nvPr/>
            </p:nvSpPr>
            <p:spPr>
              <a:xfrm>
                <a:off x="6854585" y="1985341"/>
                <a:ext cx="12798" cy="2930"/>
              </a:xfrm>
              <a:custGeom>
                <a:avLst/>
                <a:gdLst>
                  <a:gd name="connsiteX0" fmla="*/ 12799 w 12798"/>
                  <a:gd name="connsiteY0" fmla="*/ 0 h 2930"/>
                  <a:gd name="connsiteX1" fmla="*/ 9270 w 12798"/>
                  <a:gd name="connsiteY1" fmla="*/ 419 h 2930"/>
                  <a:gd name="connsiteX2" fmla="*/ 5024 w 12798"/>
                  <a:gd name="connsiteY2" fmla="*/ 1555 h 2930"/>
                  <a:gd name="connsiteX3" fmla="*/ 5024 w 12798"/>
                  <a:gd name="connsiteY3" fmla="*/ 1555 h 2930"/>
                  <a:gd name="connsiteX4" fmla="*/ 358 w 12798"/>
                  <a:gd name="connsiteY4" fmla="*/ 2811 h 2930"/>
                  <a:gd name="connsiteX5" fmla="*/ 0 w 12798"/>
                  <a:gd name="connsiteY5" fmla="*/ 2931 h 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98" h="2930">
                    <a:moveTo>
                      <a:pt x="12799" y="0"/>
                    </a:moveTo>
                    <a:lnTo>
                      <a:pt x="9270" y="419"/>
                    </a:lnTo>
                    <a:lnTo>
                      <a:pt x="5024" y="1555"/>
                    </a:lnTo>
                    <a:lnTo>
                      <a:pt x="5024" y="1555"/>
                    </a:lnTo>
                    <a:lnTo>
                      <a:pt x="358" y="2811"/>
                    </a:lnTo>
                    <a:lnTo>
                      <a:pt x="0" y="2931"/>
                    </a:lnTo>
                  </a:path>
                </a:pathLst>
              </a:custGeom>
              <a:noFill/>
              <a:ln w="6350" cap="rnd">
                <a:solidFill>
                  <a:schemeClr val="bg1">
                    <a:alpha val="80000"/>
                  </a:schemeClr>
                </a:solidFill>
                <a:prstDash val="solid"/>
                <a:round/>
              </a:ln>
            </p:spPr>
            <p:txBody>
              <a:bodyPr rtlCol="0" anchor="ctr"/>
              <a:lstStyle/>
              <a:p>
                <a:endParaRPr lang="en-GB"/>
              </a:p>
            </p:txBody>
          </p:sp>
          <p:sp>
            <p:nvSpPr>
              <p:cNvPr id="6739" name="Vrije vorm: vorm 6738">
                <a:extLst>
                  <a:ext uri="{FF2B5EF4-FFF2-40B4-BE49-F238E27FC236}">
                    <a16:creationId xmlns:a16="http://schemas.microsoft.com/office/drawing/2014/main" id="{A17B9DCD-6C58-409D-B498-402A46E79341}"/>
                  </a:ext>
                </a:extLst>
              </p:cNvPr>
              <p:cNvSpPr/>
              <p:nvPr/>
            </p:nvSpPr>
            <p:spPr>
              <a:xfrm>
                <a:off x="6856918" y="2045028"/>
                <a:ext cx="12738" cy="10107"/>
              </a:xfrm>
              <a:custGeom>
                <a:avLst/>
                <a:gdLst>
                  <a:gd name="connsiteX0" fmla="*/ 10347 w 12738"/>
                  <a:gd name="connsiteY0" fmla="*/ 0 h 10107"/>
                  <a:gd name="connsiteX1" fmla="*/ 11244 w 12738"/>
                  <a:gd name="connsiteY1" fmla="*/ 0 h 10107"/>
                  <a:gd name="connsiteX2" fmla="*/ 12739 w 12738"/>
                  <a:gd name="connsiteY2" fmla="*/ 2273 h 10107"/>
                  <a:gd name="connsiteX3" fmla="*/ 11303 w 12738"/>
                  <a:gd name="connsiteY3" fmla="*/ 5323 h 10107"/>
                  <a:gd name="connsiteX4" fmla="*/ 6937 w 12738"/>
                  <a:gd name="connsiteY4" fmla="*/ 9808 h 10107"/>
                  <a:gd name="connsiteX5" fmla="*/ 4366 w 12738"/>
                  <a:gd name="connsiteY5" fmla="*/ 9928 h 10107"/>
                  <a:gd name="connsiteX6" fmla="*/ 2811 w 12738"/>
                  <a:gd name="connsiteY6" fmla="*/ 9988 h 10107"/>
                  <a:gd name="connsiteX7" fmla="*/ 2751 w 12738"/>
                  <a:gd name="connsiteY7" fmla="*/ 9988 h 10107"/>
                  <a:gd name="connsiteX8" fmla="*/ 0 w 12738"/>
                  <a:gd name="connsiteY8" fmla="*/ 10107 h 1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38" h="10107">
                    <a:moveTo>
                      <a:pt x="10347" y="0"/>
                    </a:moveTo>
                    <a:lnTo>
                      <a:pt x="11244" y="0"/>
                    </a:lnTo>
                    <a:lnTo>
                      <a:pt x="12739" y="2273"/>
                    </a:lnTo>
                    <a:lnTo>
                      <a:pt x="11303" y="5323"/>
                    </a:lnTo>
                    <a:lnTo>
                      <a:pt x="6937" y="9808"/>
                    </a:lnTo>
                    <a:lnTo>
                      <a:pt x="4366" y="9928"/>
                    </a:lnTo>
                    <a:lnTo>
                      <a:pt x="2811" y="9988"/>
                    </a:lnTo>
                    <a:lnTo>
                      <a:pt x="2751" y="9988"/>
                    </a:lnTo>
                    <a:lnTo>
                      <a:pt x="0" y="10107"/>
                    </a:lnTo>
                  </a:path>
                </a:pathLst>
              </a:custGeom>
              <a:noFill/>
              <a:ln w="6350" cap="rnd">
                <a:solidFill>
                  <a:schemeClr val="bg1">
                    <a:alpha val="80000"/>
                  </a:schemeClr>
                </a:solidFill>
                <a:prstDash val="solid"/>
                <a:round/>
              </a:ln>
            </p:spPr>
            <p:txBody>
              <a:bodyPr rtlCol="0" anchor="ctr"/>
              <a:lstStyle/>
              <a:p>
                <a:endParaRPr lang="en-GB"/>
              </a:p>
            </p:txBody>
          </p:sp>
          <p:sp>
            <p:nvSpPr>
              <p:cNvPr id="6740" name="Vrije vorm: vorm 6739">
                <a:extLst>
                  <a:ext uri="{FF2B5EF4-FFF2-40B4-BE49-F238E27FC236}">
                    <a16:creationId xmlns:a16="http://schemas.microsoft.com/office/drawing/2014/main" id="{5063AEB8-19A0-4D11-8D53-29EF5AC40D83}"/>
                  </a:ext>
                </a:extLst>
              </p:cNvPr>
              <p:cNvSpPr/>
              <p:nvPr/>
            </p:nvSpPr>
            <p:spPr>
              <a:xfrm>
                <a:off x="6811883" y="2055614"/>
                <a:ext cx="5562" cy="9389"/>
              </a:xfrm>
              <a:custGeom>
                <a:avLst/>
                <a:gdLst>
                  <a:gd name="connsiteX0" fmla="*/ 5562 w 5562"/>
                  <a:gd name="connsiteY0" fmla="*/ 8493 h 9389"/>
                  <a:gd name="connsiteX1" fmla="*/ 3648 w 5562"/>
                  <a:gd name="connsiteY1" fmla="*/ 9091 h 9389"/>
                  <a:gd name="connsiteX2" fmla="*/ 2632 w 5562"/>
                  <a:gd name="connsiteY2" fmla="*/ 9390 h 9389"/>
                  <a:gd name="connsiteX3" fmla="*/ 658 w 5562"/>
                  <a:gd name="connsiteY3" fmla="*/ 7177 h 9389"/>
                  <a:gd name="connsiteX4" fmla="*/ 0 w 5562"/>
                  <a:gd name="connsiteY4" fmla="*/ 4366 h 9389"/>
                  <a:gd name="connsiteX5" fmla="*/ 60 w 5562"/>
                  <a:gd name="connsiteY5" fmla="*/ 3469 h 9389"/>
                  <a:gd name="connsiteX6" fmla="*/ 119 w 5562"/>
                  <a:gd name="connsiteY6" fmla="*/ 2572 h 9389"/>
                  <a:gd name="connsiteX7" fmla="*/ 2153 w 5562"/>
                  <a:gd name="connsiteY7" fmla="*/ 0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 h="9389">
                    <a:moveTo>
                      <a:pt x="5562" y="8493"/>
                    </a:moveTo>
                    <a:lnTo>
                      <a:pt x="3648" y="9091"/>
                    </a:lnTo>
                    <a:lnTo>
                      <a:pt x="2632" y="9390"/>
                    </a:lnTo>
                    <a:lnTo>
                      <a:pt x="658" y="7177"/>
                    </a:lnTo>
                    <a:lnTo>
                      <a:pt x="0" y="4366"/>
                    </a:lnTo>
                    <a:lnTo>
                      <a:pt x="60" y="3469"/>
                    </a:lnTo>
                    <a:lnTo>
                      <a:pt x="119" y="2572"/>
                    </a:lnTo>
                    <a:lnTo>
                      <a:pt x="2153" y="0"/>
                    </a:lnTo>
                  </a:path>
                </a:pathLst>
              </a:custGeom>
              <a:noFill/>
              <a:ln w="6350" cap="rnd">
                <a:solidFill>
                  <a:schemeClr val="bg1">
                    <a:alpha val="80000"/>
                  </a:schemeClr>
                </a:solidFill>
                <a:prstDash val="solid"/>
                <a:round/>
              </a:ln>
            </p:spPr>
            <p:txBody>
              <a:bodyPr rtlCol="0" anchor="ctr"/>
              <a:lstStyle/>
              <a:p>
                <a:endParaRPr lang="en-GB"/>
              </a:p>
            </p:txBody>
          </p:sp>
          <p:sp>
            <p:nvSpPr>
              <p:cNvPr id="6741" name="Vrije vorm: vorm 6740">
                <a:extLst>
                  <a:ext uri="{FF2B5EF4-FFF2-40B4-BE49-F238E27FC236}">
                    <a16:creationId xmlns:a16="http://schemas.microsoft.com/office/drawing/2014/main" id="{35B5FF34-24EA-46CE-9324-A1B08960E140}"/>
                  </a:ext>
                </a:extLst>
              </p:cNvPr>
              <p:cNvSpPr/>
              <p:nvPr/>
            </p:nvSpPr>
            <p:spPr>
              <a:xfrm>
                <a:off x="6896689" y="1990364"/>
                <a:ext cx="3349" cy="4306"/>
              </a:xfrm>
              <a:custGeom>
                <a:avLst/>
                <a:gdLst>
                  <a:gd name="connsiteX0" fmla="*/ 3350 w 3349"/>
                  <a:gd name="connsiteY0" fmla="*/ 4306 h 4306"/>
                  <a:gd name="connsiteX1" fmla="*/ 3290 w 3349"/>
                  <a:gd name="connsiteY1" fmla="*/ 4246 h 4306"/>
                  <a:gd name="connsiteX2" fmla="*/ 2273 w 3349"/>
                  <a:gd name="connsiteY2" fmla="*/ 2452 h 4306"/>
                  <a:gd name="connsiteX3" fmla="*/ 2034 w 3349"/>
                  <a:gd name="connsiteY3" fmla="*/ 2034 h 4306"/>
                  <a:gd name="connsiteX4" fmla="*/ 1854 w 3349"/>
                  <a:gd name="connsiteY4" fmla="*/ 1675 h 4306"/>
                  <a:gd name="connsiteX5" fmla="*/ 1795 w 3349"/>
                  <a:gd name="connsiteY5" fmla="*/ 1555 h 4306"/>
                  <a:gd name="connsiteX6" fmla="*/ 1615 w 3349"/>
                  <a:gd name="connsiteY6" fmla="*/ 1256 h 4306"/>
                  <a:gd name="connsiteX7" fmla="*/ 1495 w 3349"/>
                  <a:gd name="connsiteY7" fmla="*/ 1017 h 4306"/>
                  <a:gd name="connsiteX8" fmla="*/ 1256 w 3349"/>
                  <a:gd name="connsiteY8" fmla="*/ 837 h 4306"/>
                  <a:gd name="connsiteX9" fmla="*/ 599 w 3349"/>
                  <a:gd name="connsiteY9" fmla="*/ 419 h 4306"/>
                  <a:gd name="connsiteX10" fmla="*/ 539 w 3349"/>
                  <a:gd name="connsiteY10" fmla="*/ 359 h 4306"/>
                  <a:gd name="connsiteX11" fmla="*/ 539 w 3349"/>
                  <a:gd name="connsiteY11" fmla="*/ 359 h 4306"/>
                  <a:gd name="connsiteX12" fmla="*/ 419 w 3349"/>
                  <a:gd name="connsiteY12" fmla="*/ 299 h 4306"/>
                  <a:gd name="connsiteX13" fmla="*/ 419 w 3349"/>
                  <a:gd name="connsiteY13" fmla="*/ 299 h 4306"/>
                  <a:gd name="connsiteX14" fmla="*/ 180 w 3349"/>
                  <a:gd name="connsiteY14" fmla="*/ 120 h 4306"/>
                  <a:gd name="connsiteX15" fmla="*/ 0 w 3349"/>
                  <a:gd name="connsiteY15" fmla="*/ 0 h 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49" h="4306">
                    <a:moveTo>
                      <a:pt x="3350" y="4306"/>
                    </a:moveTo>
                    <a:lnTo>
                      <a:pt x="3290" y="4246"/>
                    </a:lnTo>
                    <a:lnTo>
                      <a:pt x="2273" y="2452"/>
                    </a:lnTo>
                    <a:lnTo>
                      <a:pt x="2034" y="2034"/>
                    </a:lnTo>
                    <a:lnTo>
                      <a:pt x="1854" y="1675"/>
                    </a:lnTo>
                    <a:lnTo>
                      <a:pt x="1795" y="1555"/>
                    </a:lnTo>
                    <a:lnTo>
                      <a:pt x="1615" y="1256"/>
                    </a:lnTo>
                    <a:lnTo>
                      <a:pt x="1495" y="1017"/>
                    </a:lnTo>
                    <a:lnTo>
                      <a:pt x="1256" y="837"/>
                    </a:lnTo>
                    <a:lnTo>
                      <a:pt x="599" y="419"/>
                    </a:lnTo>
                    <a:lnTo>
                      <a:pt x="539" y="359"/>
                    </a:lnTo>
                    <a:lnTo>
                      <a:pt x="539" y="359"/>
                    </a:lnTo>
                    <a:lnTo>
                      <a:pt x="419" y="299"/>
                    </a:lnTo>
                    <a:lnTo>
                      <a:pt x="419" y="299"/>
                    </a:lnTo>
                    <a:lnTo>
                      <a:pt x="180"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42" name="Vrije vorm: vorm 6741">
                <a:extLst>
                  <a:ext uri="{FF2B5EF4-FFF2-40B4-BE49-F238E27FC236}">
                    <a16:creationId xmlns:a16="http://schemas.microsoft.com/office/drawing/2014/main" id="{F344C2DE-F39A-477D-82F7-5A1128B97D31}"/>
                  </a:ext>
                </a:extLst>
              </p:cNvPr>
              <p:cNvSpPr/>
              <p:nvPr/>
            </p:nvSpPr>
            <p:spPr>
              <a:xfrm>
                <a:off x="6863317" y="2032349"/>
                <a:ext cx="9210" cy="1554"/>
              </a:xfrm>
              <a:custGeom>
                <a:avLst/>
                <a:gdLst>
                  <a:gd name="connsiteX0" fmla="*/ 9211 w 9210"/>
                  <a:gd name="connsiteY0" fmla="*/ 1555 h 1554"/>
                  <a:gd name="connsiteX1" fmla="*/ 5921 w 9210"/>
                  <a:gd name="connsiteY1" fmla="*/ 1017 h 1554"/>
                  <a:gd name="connsiteX2" fmla="*/ 4605 w 9210"/>
                  <a:gd name="connsiteY2" fmla="*/ 837 h 1554"/>
                  <a:gd name="connsiteX3" fmla="*/ 0 w 9210"/>
                  <a:gd name="connsiteY3" fmla="*/ 0 h 1554"/>
                </a:gdLst>
                <a:ahLst/>
                <a:cxnLst>
                  <a:cxn ang="0">
                    <a:pos x="connsiteX0" y="connsiteY0"/>
                  </a:cxn>
                  <a:cxn ang="0">
                    <a:pos x="connsiteX1" y="connsiteY1"/>
                  </a:cxn>
                  <a:cxn ang="0">
                    <a:pos x="connsiteX2" y="connsiteY2"/>
                  </a:cxn>
                  <a:cxn ang="0">
                    <a:pos x="connsiteX3" y="connsiteY3"/>
                  </a:cxn>
                </a:cxnLst>
                <a:rect l="l" t="t" r="r" b="b"/>
                <a:pathLst>
                  <a:path w="9210" h="1554">
                    <a:moveTo>
                      <a:pt x="9211" y="1555"/>
                    </a:moveTo>
                    <a:lnTo>
                      <a:pt x="5921" y="1017"/>
                    </a:lnTo>
                    <a:lnTo>
                      <a:pt x="4605" y="83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43" name="Vrije vorm: vorm 6742">
                <a:extLst>
                  <a:ext uri="{FF2B5EF4-FFF2-40B4-BE49-F238E27FC236}">
                    <a16:creationId xmlns:a16="http://schemas.microsoft.com/office/drawing/2014/main" id="{6629875B-9B2D-4C19-BCBC-DBB49B40A46A}"/>
                  </a:ext>
                </a:extLst>
              </p:cNvPr>
              <p:cNvSpPr/>
              <p:nvPr/>
            </p:nvSpPr>
            <p:spPr>
              <a:xfrm>
                <a:off x="6872527" y="2024275"/>
                <a:ext cx="7236" cy="9868"/>
              </a:xfrm>
              <a:custGeom>
                <a:avLst/>
                <a:gdLst>
                  <a:gd name="connsiteX0" fmla="*/ 6519 w 7236"/>
                  <a:gd name="connsiteY0" fmla="*/ 0 h 9868"/>
                  <a:gd name="connsiteX1" fmla="*/ 7177 w 7236"/>
                  <a:gd name="connsiteY1" fmla="*/ 120 h 9868"/>
                  <a:gd name="connsiteX2" fmla="*/ 7177 w 7236"/>
                  <a:gd name="connsiteY2" fmla="*/ 478 h 9868"/>
                  <a:gd name="connsiteX3" fmla="*/ 7236 w 7236"/>
                  <a:gd name="connsiteY3" fmla="*/ 4067 h 9868"/>
                  <a:gd name="connsiteX4" fmla="*/ 6818 w 7236"/>
                  <a:gd name="connsiteY4" fmla="*/ 4725 h 9868"/>
                  <a:gd name="connsiteX5" fmla="*/ 6639 w 7236"/>
                  <a:gd name="connsiteY5" fmla="*/ 5024 h 9868"/>
                  <a:gd name="connsiteX6" fmla="*/ 5861 w 7236"/>
                  <a:gd name="connsiteY6" fmla="*/ 6220 h 9868"/>
                  <a:gd name="connsiteX7" fmla="*/ 5323 w 7236"/>
                  <a:gd name="connsiteY7" fmla="*/ 7057 h 9868"/>
                  <a:gd name="connsiteX8" fmla="*/ 5024 w 7236"/>
                  <a:gd name="connsiteY8" fmla="*/ 7237 h 9868"/>
                  <a:gd name="connsiteX9" fmla="*/ 2631 w 7236"/>
                  <a:gd name="connsiteY9" fmla="*/ 8851 h 9868"/>
                  <a:gd name="connsiteX10" fmla="*/ 2511 w 7236"/>
                  <a:gd name="connsiteY10" fmla="*/ 8971 h 9868"/>
                  <a:gd name="connsiteX11" fmla="*/ 1854 w 7236"/>
                  <a:gd name="connsiteY11" fmla="*/ 9449 h 9868"/>
                  <a:gd name="connsiteX12" fmla="*/ 1615 w 7236"/>
                  <a:gd name="connsiteY12" fmla="*/ 9629 h 9868"/>
                  <a:gd name="connsiteX13" fmla="*/ 1256 w 7236"/>
                  <a:gd name="connsiteY13" fmla="*/ 9868 h 9868"/>
                  <a:gd name="connsiteX14" fmla="*/ 0 w 7236"/>
                  <a:gd name="connsiteY14" fmla="*/ 9569 h 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6" h="9868">
                    <a:moveTo>
                      <a:pt x="6519" y="0"/>
                    </a:moveTo>
                    <a:lnTo>
                      <a:pt x="7177" y="120"/>
                    </a:lnTo>
                    <a:lnTo>
                      <a:pt x="7177" y="478"/>
                    </a:lnTo>
                    <a:lnTo>
                      <a:pt x="7236" y="4067"/>
                    </a:lnTo>
                    <a:lnTo>
                      <a:pt x="6818" y="4725"/>
                    </a:lnTo>
                    <a:lnTo>
                      <a:pt x="6639" y="5024"/>
                    </a:lnTo>
                    <a:lnTo>
                      <a:pt x="5861" y="6220"/>
                    </a:lnTo>
                    <a:lnTo>
                      <a:pt x="5323" y="7057"/>
                    </a:lnTo>
                    <a:lnTo>
                      <a:pt x="5024" y="7237"/>
                    </a:lnTo>
                    <a:lnTo>
                      <a:pt x="2631" y="8851"/>
                    </a:lnTo>
                    <a:lnTo>
                      <a:pt x="2511" y="8971"/>
                    </a:lnTo>
                    <a:lnTo>
                      <a:pt x="1854" y="9449"/>
                    </a:lnTo>
                    <a:lnTo>
                      <a:pt x="1615" y="9629"/>
                    </a:lnTo>
                    <a:lnTo>
                      <a:pt x="1256" y="9868"/>
                    </a:lnTo>
                    <a:lnTo>
                      <a:pt x="0" y="9569"/>
                    </a:lnTo>
                  </a:path>
                </a:pathLst>
              </a:custGeom>
              <a:noFill/>
              <a:ln w="6350" cap="rnd">
                <a:solidFill>
                  <a:schemeClr val="bg1">
                    <a:alpha val="80000"/>
                  </a:schemeClr>
                </a:solidFill>
                <a:prstDash val="solid"/>
                <a:round/>
              </a:ln>
            </p:spPr>
            <p:txBody>
              <a:bodyPr rtlCol="0" anchor="ctr"/>
              <a:lstStyle/>
              <a:p>
                <a:endParaRPr lang="en-GB"/>
              </a:p>
            </p:txBody>
          </p:sp>
          <p:sp>
            <p:nvSpPr>
              <p:cNvPr id="6744" name="Vrije vorm: vorm 6743">
                <a:extLst>
                  <a:ext uri="{FF2B5EF4-FFF2-40B4-BE49-F238E27FC236}">
                    <a16:creationId xmlns:a16="http://schemas.microsoft.com/office/drawing/2014/main" id="{A53CC2DC-96C5-40EC-9556-A88CA836D1F0}"/>
                  </a:ext>
                </a:extLst>
              </p:cNvPr>
              <p:cNvSpPr/>
              <p:nvPr/>
            </p:nvSpPr>
            <p:spPr>
              <a:xfrm>
                <a:off x="6790352" y="2015184"/>
                <a:ext cx="21590" cy="59029"/>
              </a:xfrm>
              <a:custGeom>
                <a:avLst/>
                <a:gdLst>
                  <a:gd name="connsiteX0" fmla="*/ 21591 w 21590"/>
                  <a:gd name="connsiteY0" fmla="*/ 57415 h 59029"/>
                  <a:gd name="connsiteX1" fmla="*/ 18600 w 21590"/>
                  <a:gd name="connsiteY1" fmla="*/ 59030 h 59029"/>
                  <a:gd name="connsiteX2" fmla="*/ 18481 w 21590"/>
                  <a:gd name="connsiteY2" fmla="*/ 58970 h 59029"/>
                  <a:gd name="connsiteX3" fmla="*/ 16507 w 21590"/>
                  <a:gd name="connsiteY3" fmla="*/ 58252 h 59029"/>
                  <a:gd name="connsiteX4" fmla="*/ 13397 w 21590"/>
                  <a:gd name="connsiteY4" fmla="*/ 51374 h 59029"/>
                  <a:gd name="connsiteX5" fmla="*/ 12201 w 21590"/>
                  <a:gd name="connsiteY5" fmla="*/ 48683 h 59029"/>
                  <a:gd name="connsiteX6" fmla="*/ 11124 w 21590"/>
                  <a:gd name="connsiteY6" fmla="*/ 45872 h 59029"/>
                  <a:gd name="connsiteX7" fmla="*/ 10048 w 21590"/>
                  <a:gd name="connsiteY7" fmla="*/ 43061 h 59029"/>
                  <a:gd name="connsiteX8" fmla="*/ 8194 w 21590"/>
                  <a:gd name="connsiteY8" fmla="*/ 38277 h 59029"/>
                  <a:gd name="connsiteX9" fmla="*/ 7237 w 21590"/>
                  <a:gd name="connsiteY9" fmla="*/ 35824 h 59029"/>
                  <a:gd name="connsiteX10" fmla="*/ 6399 w 21590"/>
                  <a:gd name="connsiteY10" fmla="*/ 33193 h 59029"/>
                  <a:gd name="connsiteX11" fmla="*/ 6160 w 21590"/>
                  <a:gd name="connsiteY11" fmla="*/ 32356 h 59029"/>
                  <a:gd name="connsiteX12" fmla="*/ 4725 w 21590"/>
                  <a:gd name="connsiteY12" fmla="*/ 27870 h 59029"/>
                  <a:gd name="connsiteX13" fmla="*/ 4486 w 21590"/>
                  <a:gd name="connsiteY13" fmla="*/ 27212 h 59029"/>
                  <a:gd name="connsiteX14" fmla="*/ 4306 w 21590"/>
                  <a:gd name="connsiteY14" fmla="*/ 26674 h 59029"/>
                  <a:gd name="connsiteX15" fmla="*/ 3529 w 21590"/>
                  <a:gd name="connsiteY15" fmla="*/ 24162 h 59029"/>
                  <a:gd name="connsiteX16" fmla="*/ 2691 w 21590"/>
                  <a:gd name="connsiteY16" fmla="*/ 21471 h 59029"/>
                  <a:gd name="connsiteX17" fmla="*/ 1615 w 21590"/>
                  <a:gd name="connsiteY17" fmla="*/ 18062 h 59029"/>
                  <a:gd name="connsiteX18" fmla="*/ 0 w 21590"/>
                  <a:gd name="connsiteY18" fmla="*/ 12021 h 59029"/>
                  <a:gd name="connsiteX19" fmla="*/ 1675 w 21590"/>
                  <a:gd name="connsiteY19" fmla="*/ 6938 h 59029"/>
                  <a:gd name="connsiteX20" fmla="*/ 10167 w 21590"/>
                  <a:gd name="connsiteY20" fmla="*/ 0 h 59029"/>
                  <a:gd name="connsiteX21" fmla="*/ 10406 w 21590"/>
                  <a:gd name="connsiteY21" fmla="*/ 120 h 5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590" h="59029">
                    <a:moveTo>
                      <a:pt x="21591" y="57415"/>
                    </a:moveTo>
                    <a:lnTo>
                      <a:pt x="18600" y="59030"/>
                    </a:lnTo>
                    <a:lnTo>
                      <a:pt x="18481" y="58970"/>
                    </a:lnTo>
                    <a:lnTo>
                      <a:pt x="16507" y="58252"/>
                    </a:lnTo>
                    <a:lnTo>
                      <a:pt x="13397" y="51374"/>
                    </a:lnTo>
                    <a:lnTo>
                      <a:pt x="12201" y="48683"/>
                    </a:lnTo>
                    <a:lnTo>
                      <a:pt x="11124" y="45872"/>
                    </a:lnTo>
                    <a:lnTo>
                      <a:pt x="10048" y="43061"/>
                    </a:lnTo>
                    <a:lnTo>
                      <a:pt x="8194" y="38277"/>
                    </a:lnTo>
                    <a:lnTo>
                      <a:pt x="7237" y="35824"/>
                    </a:lnTo>
                    <a:lnTo>
                      <a:pt x="6399" y="33193"/>
                    </a:lnTo>
                    <a:lnTo>
                      <a:pt x="6160" y="32356"/>
                    </a:lnTo>
                    <a:lnTo>
                      <a:pt x="4725" y="27870"/>
                    </a:lnTo>
                    <a:lnTo>
                      <a:pt x="4486" y="27212"/>
                    </a:lnTo>
                    <a:lnTo>
                      <a:pt x="4306" y="26674"/>
                    </a:lnTo>
                    <a:lnTo>
                      <a:pt x="3529" y="24162"/>
                    </a:lnTo>
                    <a:lnTo>
                      <a:pt x="2691" y="21471"/>
                    </a:lnTo>
                    <a:lnTo>
                      <a:pt x="1615" y="18062"/>
                    </a:lnTo>
                    <a:lnTo>
                      <a:pt x="0" y="12021"/>
                    </a:lnTo>
                    <a:lnTo>
                      <a:pt x="1675" y="6938"/>
                    </a:lnTo>
                    <a:lnTo>
                      <a:pt x="10167" y="0"/>
                    </a:lnTo>
                    <a:lnTo>
                      <a:pt x="10406" y="120"/>
                    </a:lnTo>
                  </a:path>
                </a:pathLst>
              </a:custGeom>
              <a:noFill/>
              <a:ln w="6350" cap="rnd">
                <a:solidFill>
                  <a:schemeClr val="bg1">
                    <a:alpha val="80000"/>
                  </a:schemeClr>
                </a:solidFill>
                <a:prstDash val="solid"/>
                <a:round/>
              </a:ln>
            </p:spPr>
            <p:txBody>
              <a:bodyPr rtlCol="0" anchor="ctr"/>
              <a:lstStyle/>
              <a:p>
                <a:endParaRPr lang="en-GB"/>
              </a:p>
            </p:txBody>
          </p:sp>
          <p:sp>
            <p:nvSpPr>
              <p:cNvPr id="6745" name="Vrije vorm: vorm 6744">
                <a:extLst>
                  <a:ext uri="{FF2B5EF4-FFF2-40B4-BE49-F238E27FC236}">
                    <a16:creationId xmlns:a16="http://schemas.microsoft.com/office/drawing/2014/main" id="{891BD2D1-C866-4125-9DE6-07E7150408F5}"/>
                  </a:ext>
                </a:extLst>
              </p:cNvPr>
              <p:cNvSpPr/>
              <p:nvPr/>
            </p:nvSpPr>
            <p:spPr>
              <a:xfrm>
                <a:off x="6820076" y="2031093"/>
                <a:ext cx="4246" cy="9270"/>
              </a:xfrm>
              <a:custGeom>
                <a:avLst/>
                <a:gdLst>
                  <a:gd name="connsiteX0" fmla="*/ 4246 w 4246"/>
                  <a:gd name="connsiteY0" fmla="*/ 9270 h 9270"/>
                  <a:gd name="connsiteX1" fmla="*/ 1914 w 4246"/>
                  <a:gd name="connsiteY1" fmla="*/ 8971 h 9270"/>
                  <a:gd name="connsiteX2" fmla="*/ 119 w 4246"/>
                  <a:gd name="connsiteY2" fmla="*/ 6579 h 9270"/>
                  <a:gd name="connsiteX3" fmla="*/ 0 w 4246"/>
                  <a:gd name="connsiteY3" fmla="*/ 3469 h 9270"/>
                  <a:gd name="connsiteX4" fmla="*/ 538 w 4246"/>
                  <a:gd name="connsiteY4" fmla="*/ 1435 h 9270"/>
                  <a:gd name="connsiteX5" fmla="*/ 2213 w 4246"/>
                  <a:gd name="connsiteY5" fmla="*/ 0 h 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6" h="9270">
                    <a:moveTo>
                      <a:pt x="4246" y="9270"/>
                    </a:moveTo>
                    <a:lnTo>
                      <a:pt x="1914" y="8971"/>
                    </a:lnTo>
                    <a:lnTo>
                      <a:pt x="119" y="6579"/>
                    </a:lnTo>
                    <a:lnTo>
                      <a:pt x="0" y="3469"/>
                    </a:lnTo>
                    <a:lnTo>
                      <a:pt x="538" y="1435"/>
                    </a:lnTo>
                    <a:lnTo>
                      <a:pt x="2213" y="0"/>
                    </a:lnTo>
                  </a:path>
                </a:pathLst>
              </a:custGeom>
              <a:noFill/>
              <a:ln w="6350" cap="rnd">
                <a:solidFill>
                  <a:schemeClr val="bg1">
                    <a:alpha val="80000"/>
                  </a:schemeClr>
                </a:solidFill>
                <a:prstDash val="solid"/>
                <a:round/>
              </a:ln>
            </p:spPr>
            <p:txBody>
              <a:bodyPr rtlCol="0" anchor="ctr"/>
              <a:lstStyle/>
              <a:p>
                <a:endParaRPr lang="en-GB"/>
              </a:p>
            </p:txBody>
          </p:sp>
          <p:sp>
            <p:nvSpPr>
              <p:cNvPr id="6746" name="Vrije vorm: vorm 6745">
                <a:extLst>
                  <a:ext uri="{FF2B5EF4-FFF2-40B4-BE49-F238E27FC236}">
                    <a16:creationId xmlns:a16="http://schemas.microsoft.com/office/drawing/2014/main" id="{FA5BA68C-79D4-4E1B-B8E0-2F2D85AFBB6A}"/>
                  </a:ext>
                </a:extLst>
              </p:cNvPr>
              <p:cNvSpPr/>
              <p:nvPr/>
            </p:nvSpPr>
            <p:spPr>
              <a:xfrm>
                <a:off x="6642449" y="1839710"/>
                <a:ext cx="956" cy="11482"/>
              </a:xfrm>
              <a:custGeom>
                <a:avLst/>
                <a:gdLst>
                  <a:gd name="connsiteX0" fmla="*/ 479 w 956"/>
                  <a:gd name="connsiteY0" fmla="*/ 11483 h 11482"/>
                  <a:gd name="connsiteX1" fmla="*/ 0 w 956"/>
                  <a:gd name="connsiteY1" fmla="*/ 9031 h 11482"/>
                  <a:gd name="connsiteX2" fmla="*/ 897 w 956"/>
                  <a:gd name="connsiteY2" fmla="*/ 777 h 11482"/>
                  <a:gd name="connsiteX3" fmla="*/ 957 w 956"/>
                  <a:gd name="connsiteY3" fmla="*/ 0 h 11482"/>
                </a:gdLst>
                <a:ahLst/>
                <a:cxnLst>
                  <a:cxn ang="0">
                    <a:pos x="connsiteX0" y="connsiteY0"/>
                  </a:cxn>
                  <a:cxn ang="0">
                    <a:pos x="connsiteX1" y="connsiteY1"/>
                  </a:cxn>
                  <a:cxn ang="0">
                    <a:pos x="connsiteX2" y="connsiteY2"/>
                  </a:cxn>
                  <a:cxn ang="0">
                    <a:pos x="connsiteX3" y="connsiteY3"/>
                  </a:cxn>
                </a:cxnLst>
                <a:rect l="l" t="t" r="r" b="b"/>
                <a:pathLst>
                  <a:path w="956" h="11482">
                    <a:moveTo>
                      <a:pt x="479" y="11483"/>
                    </a:moveTo>
                    <a:lnTo>
                      <a:pt x="0" y="9031"/>
                    </a:lnTo>
                    <a:lnTo>
                      <a:pt x="897" y="777"/>
                    </a:lnTo>
                    <a:lnTo>
                      <a:pt x="957" y="0"/>
                    </a:lnTo>
                  </a:path>
                </a:pathLst>
              </a:custGeom>
              <a:noFill/>
              <a:ln w="6350" cap="rnd">
                <a:solidFill>
                  <a:schemeClr val="bg1">
                    <a:alpha val="80000"/>
                  </a:schemeClr>
                </a:solidFill>
                <a:prstDash val="solid"/>
                <a:round/>
              </a:ln>
            </p:spPr>
            <p:txBody>
              <a:bodyPr rtlCol="0" anchor="ctr"/>
              <a:lstStyle/>
              <a:p>
                <a:endParaRPr lang="en-GB"/>
              </a:p>
            </p:txBody>
          </p:sp>
          <p:sp>
            <p:nvSpPr>
              <p:cNvPr id="6747" name="Vrije vorm: vorm 6746">
                <a:extLst>
                  <a:ext uri="{FF2B5EF4-FFF2-40B4-BE49-F238E27FC236}">
                    <a16:creationId xmlns:a16="http://schemas.microsoft.com/office/drawing/2014/main" id="{CA6D4215-4B33-489C-A104-32E9A0792621}"/>
                  </a:ext>
                </a:extLst>
              </p:cNvPr>
              <p:cNvSpPr/>
              <p:nvPr/>
            </p:nvSpPr>
            <p:spPr>
              <a:xfrm>
                <a:off x="6870733" y="1955736"/>
                <a:ext cx="52750" cy="30202"/>
              </a:xfrm>
              <a:custGeom>
                <a:avLst/>
                <a:gdLst>
                  <a:gd name="connsiteX0" fmla="*/ 0 w 52750"/>
                  <a:gd name="connsiteY0" fmla="*/ 5143 h 30202"/>
                  <a:gd name="connsiteX1" fmla="*/ 897 w 52750"/>
                  <a:gd name="connsiteY1" fmla="*/ 2512 h 30202"/>
                  <a:gd name="connsiteX2" fmla="*/ 1973 w 52750"/>
                  <a:gd name="connsiteY2" fmla="*/ 1076 h 30202"/>
                  <a:gd name="connsiteX3" fmla="*/ 6220 w 52750"/>
                  <a:gd name="connsiteY3" fmla="*/ 658 h 30202"/>
                  <a:gd name="connsiteX4" fmla="*/ 11244 w 52750"/>
                  <a:gd name="connsiteY4" fmla="*/ 179 h 30202"/>
                  <a:gd name="connsiteX5" fmla="*/ 12978 w 52750"/>
                  <a:gd name="connsiteY5" fmla="*/ 0 h 30202"/>
                  <a:gd name="connsiteX6" fmla="*/ 13995 w 52750"/>
                  <a:gd name="connsiteY6" fmla="*/ 60 h 30202"/>
                  <a:gd name="connsiteX7" fmla="*/ 13995 w 52750"/>
                  <a:gd name="connsiteY7" fmla="*/ 60 h 30202"/>
                  <a:gd name="connsiteX8" fmla="*/ 14294 w 52750"/>
                  <a:gd name="connsiteY8" fmla="*/ 60 h 30202"/>
                  <a:gd name="connsiteX9" fmla="*/ 19019 w 52750"/>
                  <a:gd name="connsiteY9" fmla="*/ 419 h 30202"/>
                  <a:gd name="connsiteX10" fmla="*/ 19677 w 52750"/>
                  <a:gd name="connsiteY10" fmla="*/ 478 h 30202"/>
                  <a:gd name="connsiteX11" fmla="*/ 20035 w 52750"/>
                  <a:gd name="connsiteY11" fmla="*/ 478 h 30202"/>
                  <a:gd name="connsiteX12" fmla="*/ 20275 w 52750"/>
                  <a:gd name="connsiteY12" fmla="*/ 478 h 30202"/>
                  <a:gd name="connsiteX13" fmla="*/ 24162 w 52750"/>
                  <a:gd name="connsiteY13" fmla="*/ 778 h 30202"/>
                  <a:gd name="connsiteX14" fmla="*/ 25179 w 52750"/>
                  <a:gd name="connsiteY14" fmla="*/ 837 h 30202"/>
                  <a:gd name="connsiteX15" fmla="*/ 25238 w 52750"/>
                  <a:gd name="connsiteY15" fmla="*/ 837 h 30202"/>
                  <a:gd name="connsiteX16" fmla="*/ 25418 w 52750"/>
                  <a:gd name="connsiteY16" fmla="*/ 837 h 30202"/>
                  <a:gd name="connsiteX17" fmla="*/ 27511 w 52750"/>
                  <a:gd name="connsiteY17" fmla="*/ 1017 h 30202"/>
                  <a:gd name="connsiteX18" fmla="*/ 27811 w 52750"/>
                  <a:gd name="connsiteY18" fmla="*/ 1017 h 30202"/>
                  <a:gd name="connsiteX19" fmla="*/ 29006 w 52750"/>
                  <a:gd name="connsiteY19" fmla="*/ 1316 h 30202"/>
                  <a:gd name="connsiteX20" fmla="*/ 34987 w 52750"/>
                  <a:gd name="connsiteY20" fmla="*/ 2871 h 30202"/>
                  <a:gd name="connsiteX21" fmla="*/ 37439 w 52750"/>
                  <a:gd name="connsiteY21" fmla="*/ 3529 h 30202"/>
                  <a:gd name="connsiteX22" fmla="*/ 37977 w 52750"/>
                  <a:gd name="connsiteY22" fmla="*/ 3828 h 30202"/>
                  <a:gd name="connsiteX23" fmla="*/ 40908 w 52750"/>
                  <a:gd name="connsiteY23" fmla="*/ 5383 h 30202"/>
                  <a:gd name="connsiteX24" fmla="*/ 43958 w 52750"/>
                  <a:gd name="connsiteY24" fmla="*/ 6997 h 30202"/>
                  <a:gd name="connsiteX25" fmla="*/ 46590 w 52750"/>
                  <a:gd name="connsiteY25" fmla="*/ 8433 h 30202"/>
                  <a:gd name="connsiteX26" fmla="*/ 47606 w 52750"/>
                  <a:gd name="connsiteY26" fmla="*/ 9210 h 30202"/>
                  <a:gd name="connsiteX27" fmla="*/ 47786 w 52750"/>
                  <a:gd name="connsiteY27" fmla="*/ 9330 h 30202"/>
                  <a:gd name="connsiteX28" fmla="*/ 47786 w 52750"/>
                  <a:gd name="connsiteY28" fmla="*/ 9330 h 30202"/>
                  <a:gd name="connsiteX29" fmla="*/ 48145 w 52750"/>
                  <a:gd name="connsiteY29" fmla="*/ 9629 h 30202"/>
                  <a:gd name="connsiteX30" fmla="*/ 48623 w 52750"/>
                  <a:gd name="connsiteY30" fmla="*/ 9988 h 30202"/>
                  <a:gd name="connsiteX31" fmla="*/ 49161 w 52750"/>
                  <a:gd name="connsiteY31" fmla="*/ 10406 h 30202"/>
                  <a:gd name="connsiteX32" fmla="*/ 50896 w 52750"/>
                  <a:gd name="connsiteY32" fmla="*/ 11722 h 30202"/>
                  <a:gd name="connsiteX33" fmla="*/ 51016 w 52750"/>
                  <a:gd name="connsiteY33" fmla="*/ 11842 h 30202"/>
                  <a:gd name="connsiteX34" fmla="*/ 51016 w 52750"/>
                  <a:gd name="connsiteY34" fmla="*/ 11842 h 30202"/>
                  <a:gd name="connsiteX35" fmla="*/ 51195 w 52750"/>
                  <a:gd name="connsiteY35" fmla="*/ 11961 h 30202"/>
                  <a:gd name="connsiteX36" fmla="*/ 52750 w 52750"/>
                  <a:gd name="connsiteY36" fmla="*/ 13158 h 30202"/>
                  <a:gd name="connsiteX37" fmla="*/ 52571 w 52750"/>
                  <a:gd name="connsiteY37" fmla="*/ 17284 h 30202"/>
                  <a:gd name="connsiteX38" fmla="*/ 52331 w 52750"/>
                  <a:gd name="connsiteY38" fmla="*/ 22906 h 30202"/>
                  <a:gd name="connsiteX39" fmla="*/ 50716 w 52750"/>
                  <a:gd name="connsiteY39" fmla="*/ 25538 h 30202"/>
                  <a:gd name="connsiteX40" fmla="*/ 48623 w 52750"/>
                  <a:gd name="connsiteY40" fmla="*/ 28887 h 30202"/>
                  <a:gd name="connsiteX41" fmla="*/ 47487 w 52750"/>
                  <a:gd name="connsiteY41" fmla="*/ 29605 h 30202"/>
                  <a:gd name="connsiteX42" fmla="*/ 46530 w 52750"/>
                  <a:gd name="connsiteY42" fmla="*/ 30203 h 30202"/>
                  <a:gd name="connsiteX43" fmla="*/ 45813 w 52750"/>
                  <a:gd name="connsiteY43" fmla="*/ 29724 h 3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2750" h="30202">
                    <a:moveTo>
                      <a:pt x="0" y="5143"/>
                    </a:moveTo>
                    <a:lnTo>
                      <a:pt x="897" y="2512"/>
                    </a:lnTo>
                    <a:lnTo>
                      <a:pt x="1973" y="1076"/>
                    </a:lnTo>
                    <a:lnTo>
                      <a:pt x="6220" y="658"/>
                    </a:lnTo>
                    <a:lnTo>
                      <a:pt x="11244" y="179"/>
                    </a:lnTo>
                    <a:lnTo>
                      <a:pt x="12978" y="0"/>
                    </a:lnTo>
                    <a:lnTo>
                      <a:pt x="13995" y="60"/>
                    </a:lnTo>
                    <a:lnTo>
                      <a:pt x="13995" y="60"/>
                    </a:lnTo>
                    <a:lnTo>
                      <a:pt x="14294" y="60"/>
                    </a:lnTo>
                    <a:lnTo>
                      <a:pt x="19019" y="419"/>
                    </a:lnTo>
                    <a:lnTo>
                      <a:pt x="19677" y="478"/>
                    </a:lnTo>
                    <a:lnTo>
                      <a:pt x="20035" y="478"/>
                    </a:lnTo>
                    <a:lnTo>
                      <a:pt x="20275" y="478"/>
                    </a:lnTo>
                    <a:lnTo>
                      <a:pt x="24162" y="778"/>
                    </a:lnTo>
                    <a:lnTo>
                      <a:pt x="25179" y="837"/>
                    </a:lnTo>
                    <a:lnTo>
                      <a:pt x="25238" y="837"/>
                    </a:lnTo>
                    <a:lnTo>
                      <a:pt x="25418" y="837"/>
                    </a:lnTo>
                    <a:lnTo>
                      <a:pt x="27511" y="1017"/>
                    </a:lnTo>
                    <a:lnTo>
                      <a:pt x="27811" y="1017"/>
                    </a:lnTo>
                    <a:lnTo>
                      <a:pt x="29006" y="1316"/>
                    </a:lnTo>
                    <a:lnTo>
                      <a:pt x="34987" y="2871"/>
                    </a:lnTo>
                    <a:lnTo>
                      <a:pt x="37439" y="3529"/>
                    </a:lnTo>
                    <a:lnTo>
                      <a:pt x="37977" y="3828"/>
                    </a:lnTo>
                    <a:lnTo>
                      <a:pt x="40908" y="5383"/>
                    </a:lnTo>
                    <a:lnTo>
                      <a:pt x="43958" y="6997"/>
                    </a:lnTo>
                    <a:lnTo>
                      <a:pt x="46590" y="8433"/>
                    </a:lnTo>
                    <a:lnTo>
                      <a:pt x="47606" y="9210"/>
                    </a:lnTo>
                    <a:lnTo>
                      <a:pt x="47786" y="9330"/>
                    </a:lnTo>
                    <a:lnTo>
                      <a:pt x="47786" y="9330"/>
                    </a:lnTo>
                    <a:lnTo>
                      <a:pt x="48145" y="9629"/>
                    </a:lnTo>
                    <a:lnTo>
                      <a:pt x="48623" y="9988"/>
                    </a:lnTo>
                    <a:lnTo>
                      <a:pt x="49161" y="10406"/>
                    </a:lnTo>
                    <a:lnTo>
                      <a:pt x="50896" y="11722"/>
                    </a:lnTo>
                    <a:lnTo>
                      <a:pt x="51016" y="11842"/>
                    </a:lnTo>
                    <a:lnTo>
                      <a:pt x="51016" y="11842"/>
                    </a:lnTo>
                    <a:lnTo>
                      <a:pt x="51195" y="11961"/>
                    </a:lnTo>
                    <a:lnTo>
                      <a:pt x="52750" y="13158"/>
                    </a:lnTo>
                    <a:lnTo>
                      <a:pt x="52571" y="17284"/>
                    </a:lnTo>
                    <a:lnTo>
                      <a:pt x="52331" y="22906"/>
                    </a:lnTo>
                    <a:lnTo>
                      <a:pt x="50716" y="25538"/>
                    </a:lnTo>
                    <a:lnTo>
                      <a:pt x="48623" y="28887"/>
                    </a:lnTo>
                    <a:lnTo>
                      <a:pt x="47487" y="29605"/>
                    </a:lnTo>
                    <a:lnTo>
                      <a:pt x="46530" y="30203"/>
                    </a:lnTo>
                    <a:lnTo>
                      <a:pt x="45813" y="29724"/>
                    </a:lnTo>
                  </a:path>
                </a:pathLst>
              </a:custGeom>
              <a:noFill/>
              <a:ln w="6350" cap="rnd">
                <a:solidFill>
                  <a:schemeClr val="bg1">
                    <a:alpha val="80000"/>
                  </a:schemeClr>
                </a:solidFill>
                <a:prstDash val="solid"/>
                <a:round/>
              </a:ln>
            </p:spPr>
            <p:txBody>
              <a:bodyPr rtlCol="0" anchor="ctr"/>
              <a:lstStyle/>
              <a:p>
                <a:endParaRPr lang="en-GB"/>
              </a:p>
            </p:txBody>
          </p:sp>
          <p:sp>
            <p:nvSpPr>
              <p:cNvPr id="6748" name="Vrije vorm: vorm 6747">
                <a:extLst>
                  <a:ext uri="{FF2B5EF4-FFF2-40B4-BE49-F238E27FC236}">
                    <a16:creationId xmlns:a16="http://schemas.microsoft.com/office/drawing/2014/main" id="{ACF8B36D-36D8-46AC-AC32-5656836AACF7}"/>
                  </a:ext>
                </a:extLst>
              </p:cNvPr>
              <p:cNvSpPr/>
              <p:nvPr/>
            </p:nvSpPr>
            <p:spPr>
              <a:xfrm>
                <a:off x="6926712" y="1964288"/>
                <a:ext cx="2512" cy="9987"/>
              </a:xfrm>
              <a:custGeom>
                <a:avLst/>
                <a:gdLst>
                  <a:gd name="connsiteX0" fmla="*/ 2392 w 2512"/>
                  <a:gd name="connsiteY0" fmla="*/ 9988 h 9987"/>
                  <a:gd name="connsiteX1" fmla="*/ 2452 w 2512"/>
                  <a:gd name="connsiteY1" fmla="*/ 6878 h 9987"/>
                  <a:gd name="connsiteX2" fmla="*/ 2452 w 2512"/>
                  <a:gd name="connsiteY2" fmla="*/ 6639 h 9987"/>
                  <a:gd name="connsiteX3" fmla="*/ 2512 w 2512"/>
                  <a:gd name="connsiteY3" fmla="*/ 3828 h 9987"/>
                  <a:gd name="connsiteX4" fmla="*/ 0 w 2512"/>
                  <a:gd name="connsiteY4" fmla="*/ 0 h 9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 h="9987">
                    <a:moveTo>
                      <a:pt x="2392" y="9988"/>
                    </a:moveTo>
                    <a:lnTo>
                      <a:pt x="2452" y="6878"/>
                    </a:lnTo>
                    <a:lnTo>
                      <a:pt x="2452" y="6639"/>
                    </a:lnTo>
                    <a:lnTo>
                      <a:pt x="2512" y="382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49" name="Vrije vorm: vorm 6748">
                <a:extLst>
                  <a:ext uri="{FF2B5EF4-FFF2-40B4-BE49-F238E27FC236}">
                    <a16:creationId xmlns:a16="http://schemas.microsoft.com/office/drawing/2014/main" id="{7DB89068-B91C-4534-AAE9-E73A3F033809}"/>
                  </a:ext>
                </a:extLst>
              </p:cNvPr>
              <p:cNvSpPr/>
              <p:nvPr/>
            </p:nvSpPr>
            <p:spPr>
              <a:xfrm>
                <a:off x="6936640" y="2014407"/>
                <a:ext cx="10645" cy="16925"/>
              </a:xfrm>
              <a:custGeom>
                <a:avLst/>
                <a:gdLst>
                  <a:gd name="connsiteX0" fmla="*/ 8373 w 10645"/>
                  <a:gd name="connsiteY0" fmla="*/ 0 h 16925"/>
                  <a:gd name="connsiteX1" fmla="*/ 8732 w 10645"/>
                  <a:gd name="connsiteY1" fmla="*/ 1136 h 16925"/>
                  <a:gd name="connsiteX2" fmla="*/ 8851 w 10645"/>
                  <a:gd name="connsiteY2" fmla="*/ 1555 h 16925"/>
                  <a:gd name="connsiteX3" fmla="*/ 8911 w 10645"/>
                  <a:gd name="connsiteY3" fmla="*/ 1794 h 16925"/>
                  <a:gd name="connsiteX4" fmla="*/ 8971 w 10645"/>
                  <a:gd name="connsiteY4" fmla="*/ 1914 h 16925"/>
                  <a:gd name="connsiteX5" fmla="*/ 9091 w 10645"/>
                  <a:gd name="connsiteY5" fmla="*/ 2213 h 16925"/>
                  <a:gd name="connsiteX6" fmla="*/ 9330 w 10645"/>
                  <a:gd name="connsiteY6" fmla="*/ 2990 h 16925"/>
                  <a:gd name="connsiteX7" fmla="*/ 9569 w 10645"/>
                  <a:gd name="connsiteY7" fmla="*/ 3648 h 16925"/>
                  <a:gd name="connsiteX8" fmla="*/ 9629 w 10645"/>
                  <a:gd name="connsiteY8" fmla="*/ 3888 h 16925"/>
                  <a:gd name="connsiteX9" fmla="*/ 9808 w 10645"/>
                  <a:gd name="connsiteY9" fmla="*/ 4486 h 16925"/>
                  <a:gd name="connsiteX10" fmla="*/ 9808 w 10645"/>
                  <a:gd name="connsiteY10" fmla="*/ 4486 h 16925"/>
                  <a:gd name="connsiteX11" fmla="*/ 10107 w 10645"/>
                  <a:gd name="connsiteY11" fmla="*/ 5323 h 16925"/>
                  <a:gd name="connsiteX12" fmla="*/ 10287 w 10645"/>
                  <a:gd name="connsiteY12" fmla="*/ 5921 h 16925"/>
                  <a:gd name="connsiteX13" fmla="*/ 10347 w 10645"/>
                  <a:gd name="connsiteY13" fmla="*/ 6160 h 16925"/>
                  <a:gd name="connsiteX14" fmla="*/ 10646 w 10645"/>
                  <a:gd name="connsiteY14" fmla="*/ 7057 h 16925"/>
                  <a:gd name="connsiteX15" fmla="*/ 9988 w 10645"/>
                  <a:gd name="connsiteY15" fmla="*/ 8493 h 16925"/>
                  <a:gd name="connsiteX16" fmla="*/ 8253 w 10645"/>
                  <a:gd name="connsiteY16" fmla="*/ 12141 h 16925"/>
                  <a:gd name="connsiteX17" fmla="*/ 6160 w 10645"/>
                  <a:gd name="connsiteY17" fmla="*/ 13636 h 16925"/>
                  <a:gd name="connsiteX18" fmla="*/ 5263 w 10645"/>
                  <a:gd name="connsiteY18" fmla="*/ 14234 h 16925"/>
                  <a:gd name="connsiteX19" fmla="*/ 4246 w 10645"/>
                  <a:gd name="connsiteY19" fmla="*/ 14952 h 16925"/>
                  <a:gd name="connsiteX20" fmla="*/ 1675 w 10645"/>
                  <a:gd name="connsiteY20" fmla="*/ 16806 h 16925"/>
                  <a:gd name="connsiteX21" fmla="*/ 1495 w 10645"/>
                  <a:gd name="connsiteY21" fmla="*/ 16925 h 16925"/>
                  <a:gd name="connsiteX22" fmla="*/ 1316 w 10645"/>
                  <a:gd name="connsiteY22" fmla="*/ 16686 h 16925"/>
                  <a:gd name="connsiteX23" fmla="*/ 0 w 10645"/>
                  <a:gd name="connsiteY23" fmla="*/ 14952 h 16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645" h="16925">
                    <a:moveTo>
                      <a:pt x="8373" y="0"/>
                    </a:moveTo>
                    <a:lnTo>
                      <a:pt x="8732" y="1136"/>
                    </a:lnTo>
                    <a:lnTo>
                      <a:pt x="8851" y="1555"/>
                    </a:lnTo>
                    <a:lnTo>
                      <a:pt x="8911" y="1794"/>
                    </a:lnTo>
                    <a:lnTo>
                      <a:pt x="8971" y="1914"/>
                    </a:lnTo>
                    <a:lnTo>
                      <a:pt x="9091" y="2213"/>
                    </a:lnTo>
                    <a:lnTo>
                      <a:pt x="9330" y="2990"/>
                    </a:lnTo>
                    <a:lnTo>
                      <a:pt x="9569" y="3648"/>
                    </a:lnTo>
                    <a:lnTo>
                      <a:pt x="9629" y="3888"/>
                    </a:lnTo>
                    <a:lnTo>
                      <a:pt x="9808" y="4486"/>
                    </a:lnTo>
                    <a:lnTo>
                      <a:pt x="9808" y="4486"/>
                    </a:lnTo>
                    <a:lnTo>
                      <a:pt x="10107" y="5323"/>
                    </a:lnTo>
                    <a:lnTo>
                      <a:pt x="10287" y="5921"/>
                    </a:lnTo>
                    <a:lnTo>
                      <a:pt x="10347" y="6160"/>
                    </a:lnTo>
                    <a:lnTo>
                      <a:pt x="10646" y="7057"/>
                    </a:lnTo>
                    <a:lnTo>
                      <a:pt x="9988" y="8493"/>
                    </a:lnTo>
                    <a:lnTo>
                      <a:pt x="8253" y="12141"/>
                    </a:lnTo>
                    <a:lnTo>
                      <a:pt x="6160" y="13636"/>
                    </a:lnTo>
                    <a:lnTo>
                      <a:pt x="5263" y="14234"/>
                    </a:lnTo>
                    <a:lnTo>
                      <a:pt x="4246" y="14952"/>
                    </a:lnTo>
                    <a:lnTo>
                      <a:pt x="1675" y="16806"/>
                    </a:lnTo>
                    <a:lnTo>
                      <a:pt x="1495" y="16925"/>
                    </a:lnTo>
                    <a:lnTo>
                      <a:pt x="1316" y="16686"/>
                    </a:lnTo>
                    <a:lnTo>
                      <a:pt x="0" y="14952"/>
                    </a:lnTo>
                  </a:path>
                </a:pathLst>
              </a:custGeom>
              <a:noFill/>
              <a:ln w="6350" cap="rnd">
                <a:solidFill>
                  <a:schemeClr val="bg1">
                    <a:alpha val="80000"/>
                  </a:schemeClr>
                </a:solidFill>
                <a:prstDash val="solid"/>
                <a:round/>
              </a:ln>
            </p:spPr>
            <p:txBody>
              <a:bodyPr rtlCol="0" anchor="ctr"/>
              <a:lstStyle/>
              <a:p>
                <a:endParaRPr lang="en-GB"/>
              </a:p>
            </p:txBody>
          </p:sp>
          <p:sp>
            <p:nvSpPr>
              <p:cNvPr id="6750" name="Vrije vorm: vorm 6749">
                <a:extLst>
                  <a:ext uri="{FF2B5EF4-FFF2-40B4-BE49-F238E27FC236}">
                    <a16:creationId xmlns:a16="http://schemas.microsoft.com/office/drawing/2014/main" id="{1EB54295-FA71-4B53-ACAD-E7E1A54489BC}"/>
                  </a:ext>
                </a:extLst>
              </p:cNvPr>
              <p:cNvSpPr/>
              <p:nvPr/>
            </p:nvSpPr>
            <p:spPr>
              <a:xfrm>
                <a:off x="6729169" y="1835524"/>
                <a:ext cx="1555" cy="7894"/>
              </a:xfrm>
              <a:custGeom>
                <a:avLst/>
                <a:gdLst>
                  <a:gd name="connsiteX0" fmla="*/ 1196 w 1555"/>
                  <a:gd name="connsiteY0" fmla="*/ 7895 h 7894"/>
                  <a:gd name="connsiteX1" fmla="*/ 1555 w 1555"/>
                  <a:gd name="connsiteY1" fmla="*/ 2691 h 7894"/>
                  <a:gd name="connsiteX2" fmla="*/ 0 w 1555"/>
                  <a:gd name="connsiteY2" fmla="*/ 0 h 7894"/>
                </a:gdLst>
                <a:ahLst/>
                <a:cxnLst>
                  <a:cxn ang="0">
                    <a:pos x="connsiteX0" y="connsiteY0"/>
                  </a:cxn>
                  <a:cxn ang="0">
                    <a:pos x="connsiteX1" y="connsiteY1"/>
                  </a:cxn>
                  <a:cxn ang="0">
                    <a:pos x="connsiteX2" y="connsiteY2"/>
                  </a:cxn>
                </a:cxnLst>
                <a:rect l="l" t="t" r="r" b="b"/>
                <a:pathLst>
                  <a:path w="1555" h="7894">
                    <a:moveTo>
                      <a:pt x="1196" y="7895"/>
                    </a:moveTo>
                    <a:lnTo>
                      <a:pt x="1555" y="2691"/>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51" name="Vrije vorm: vorm 6750">
                <a:extLst>
                  <a:ext uri="{FF2B5EF4-FFF2-40B4-BE49-F238E27FC236}">
                    <a16:creationId xmlns:a16="http://schemas.microsoft.com/office/drawing/2014/main" id="{156D7B9B-1653-42C0-BC51-A9FE5235AF8B}"/>
                  </a:ext>
                </a:extLst>
              </p:cNvPr>
              <p:cNvSpPr/>
              <p:nvPr/>
            </p:nvSpPr>
            <p:spPr>
              <a:xfrm>
                <a:off x="6814275" y="2084680"/>
                <a:ext cx="1435" cy="2870"/>
              </a:xfrm>
              <a:custGeom>
                <a:avLst/>
                <a:gdLst>
                  <a:gd name="connsiteX0" fmla="*/ 0 w 1435"/>
                  <a:gd name="connsiteY0" fmla="*/ 0 h 2870"/>
                  <a:gd name="connsiteX1" fmla="*/ 1435 w 1435"/>
                  <a:gd name="connsiteY1" fmla="*/ 1854 h 2870"/>
                  <a:gd name="connsiteX2" fmla="*/ 1376 w 1435"/>
                  <a:gd name="connsiteY2" fmla="*/ 2273 h 2870"/>
                  <a:gd name="connsiteX3" fmla="*/ 1316 w 1435"/>
                  <a:gd name="connsiteY3" fmla="*/ 2871 h 2870"/>
                </a:gdLst>
                <a:ahLst/>
                <a:cxnLst>
                  <a:cxn ang="0">
                    <a:pos x="connsiteX0" y="connsiteY0"/>
                  </a:cxn>
                  <a:cxn ang="0">
                    <a:pos x="connsiteX1" y="connsiteY1"/>
                  </a:cxn>
                  <a:cxn ang="0">
                    <a:pos x="connsiteX2" y="connsiteY2"/>
                  </a:cxn>
                  <a:cxn ang="0">
                    <a:pos x="connsiteX3" y="connsiteY3"/>
                  </a:cxn>
                </a:cxnLst>
                <a:rect l="l" t="t" r="r" b="b"/>
                <a:pathLst>
                  <a:path w="1435" h="2870">
                    <a:moveTo>
                      <a:pt x="0" y="0"/>
                    </a:moveTo>
                    <a:lnTo>
                      <a:pt x="1435" y="1854"/>
                    </a:lnTo>
                    <a:lnTo>
                      <a:pt x="1376" y="2273"/>
                    </a:lnTo>
                    <a:lnTo>
                      <a:pt x="1316" y="2871"/>
                    </a:lnTo>
                  </a:path>
                </a:pathLst>
              </a:custGeom>
              <a:noFill/>
              <a:ln w="6350" cap="rnd">
                <a:solidFill>
                  <a:schemeClr val="bg1">
                    <a:alpha val="80000"/>
                  </a:schemeClr>
                </a:solidFill>
                <a:prstDash val="solid"/>
                <a:round/>
              </a:ln>
            </p:spPr>
            <p:txBody>
              <a:bodyPr rtlCol="0" anchor="ctr"/>
              <a:lstStyle/>
              <a:p>
                <a:endParaRPr lang="en-GB"/>
              </a:p>
            </p:txBody>
          </p:sp>
          <p:sp>
            <p:nvSpPr>
              <p:cNvPr id="6752" name="Vrije vorm: vorm 6751">
                <a:extLst>
                  <a:ext uri="{FF2B5EF4-FFF2-40B4-BE49-F238E27FC236}">
                    <a16:creationId xmlns:a16="http://schemas.microsoft.com/office/drawing/2014/main" id="{78250B71-241B-48E1-8E7B-08C42BF6632D}"/>
                  </a:ext>
                </a:extLst>
              </p:cNvPr>
              <p:cNvSpPr/>
              <p:nvPr/>
            </p:nvSpPr>
            <p:spPr>
              <a:xfrm>
                <a:off x="6660211" y="1961418"/>
                <a:ext cx="19138" cy="15549"/>
              </a:xfrm>
              <a:custGeom>
                <a:avLst/>
                <a:gdLst>
                  <a:gd name="connsiteX0" fmla="*/ 18540 w 19138"/>
                  <a:gd name="connsiteY0" fmla="*/ 0 h 15549"/>
                  <a:gd name="connsiteX1" fmla="*/ 19138 w 19138"/>
                  <a:gd name="connsiteY1" fmla="*/ 419 h 15549"/>
                  <a:gd name="connsiteX2" fmla="*/ 19019 w 19138"/>
                  <a:gd name="connsiteY2" fmla="*/ 5203 h 15549"/>
                  <a:gd name="connsiteX3" fmla="*/ 19019 w 19138"/>
                  <a:gd name="connsiteY3" fmla="*/ 5383 h 15549"/>
                  <a:gd name="connsiteX4" fmla="*/ 18062 w 19138"/>
                  <a:gd name="connsiteY4" fmla="*/ 6938 h 15549"/>
                  <a:gd name="connsiteX5" fmla="*/ 16567 w 19138"/>
                  <a:gd name="connsiteY5" fmla="*/ 9330 h 15549"/>
                  <a:gd name="connsiteX6" fmla="*/ 12679 w 19138"/>
                  <a:gd name="connsiteY6" fmla="*/ 15490 h 15549"/>
                  <a:gd name="connsiteX7" fmla="*/ 9211 w 19138"/>
                  <a:gd name="connsiteY7" fmla="*/ 15550 h 15549"/>
                  <a:gd name="connsiteX8" fmla="*/ 5323 w 19138"/>
                  <a:gd name="connsiteY8" fmla="*/ 15311 h 15549"/>
                  <a:gd name="connsiteX9" fmla="*/ 1196 w 19138"/>
                  <a:gd name="connsiteY9" fmla="*/ 13995 h 15549"/>
                  <a:gd name="connsiteX10" fmla="*/ 0 w 19138"/>
                  <a:gd name="connsiteY10" fmla="*/ 12679 h 1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138" h="15549">
                    <a:moveTo>
                      <a:pt x="18540" y="0"/>
                    </a:moveTo>
                    <a:lnTo>
                      <a:pt x="19138" y="419"/>
                    </a:lnTo>
                    <a:lnTo>
                      <a:pt x="19019" y="5203"/>
                    </a:lnTo>
                    <a:lnTo>
                      <a:pt x="19019" y="5383"/>
                    </a:lnTo>
                    <a:lnTo>
                      <a:pt x="18062" y="6938"/>
                    </a:lnTo>
                    <a:lnTo>
                      <a:pt x="16567" y="9330"/>
                    </a:lnTo>
                    <a:lnTo>
                      <a:pt x="12679" y="15490"/>
                    </a:lnTo>
                    <a:lnTo>
                      <a:pt x="9211" y="15550"/>
                    </a:lnTo>
                    <a:lnTo>
                      <a:pt x="5323" y="15311"/>
                    </a:lnTo>
                    <a:lnTo>
                      <a:pt x="1196" y="13995"/>
                    </a:lnTo>
                    <a:lnTo>
                      <a:pt x="0" y="12679"/>
                    </a:lnTo>
                  </a:path>
                </a:pathLst>
              </a:custGeom>
              <a:noFill/>
              <a:ln w="6350" cap="rnd">
                <a:solidFill>
                  <a:schemeClr val="bg1">
                    <a:alpha val="80000"/>
                  </a:schemeClr>
                </a:solidFill>
                <a:prstDash val="solid"/>
                <a:round/>
              </a:ln>
            </p:spPr>
            <p:txBody>
              <a:bodyPr rtlCol="0" anchor="ctr"/>
              <a:lstStyle/>
              <a:p>
                <a:endParaRPr lang="en-GB"/>
              </a:p>
            </p:txBody>
          </p:sp>
          <p:sp>
            <p:nvSpPr>
              <p:cNvPr id="6753" name="Vrije vorm: vorm 6752">
                <a:extLst>
                  <a:ext uri="{FF2B5EF4-FFF2-40B4-BE49-F238E27FC236}">
                    <a16:creationId xmlns:a16="http://schemas.microsoft.com/office/drawing/2014/main" id="{B8518D50-6B51-4655-830C-03EDE7716886}"/>
                  </a:ext>
                </a:extLst>
              </p:cNvPr>
              <p:cNvSpPr/>
              <p:nvPr/>
            </p:nvSpPr>
            <p:spPr>
              <a:xfrm>
                <a:off x="6679768" y="1843298"/>
                <a:ext cx="8313" cy="1734"/>
              </a:xfrm>
              <a:custGeom>
                <a:avLst/>
                <a:gdLst>
                  <a:gd name="connsiteX0" fmla="*/ 8313 w 8313"/>
                  <a:gd name="connsiteY0" fmla="*/ 1734 h 1734"/>
                  <a:gd name="connsiteX1" fmla="*/ 6399 w 8313"/>
                  <a:gd name="connsiteY1" fmla="*/ 1316 h 1734"/>
                  <a:gd name="connsiteX2" fmla="*/ 6041 w 8313"/>
                  <a:gd name="connsiteY2" fmla="*/ 1256 h 1734"/>
                  <a:gd name="connsiteX3" fmla="*/ 0 w 8313"/>
                  <a:gd name="connsiteY3" fmla="*/ 0 h 1734"/>
                </a:gdLst>
                <a:ahLst/>
                <a:cxnLst>
                  <a:cxn ang="0">
                    <a:pos x="connsiteX0" y="connsiteY0"/>
                  </a:cxn>
                  <a:cxn ang="0">
                    <a:pos x="connsiteX1" y="connsiteY1"/>
                  </a:cxn>
                  <a:cxn ang="0">
                    <a:pos x="connsiteX2" y="connsiteY2"/>
                  </a:cxn>
                  <a:cxn ang="0">
                    <a:pos x="connsiteX3" y="connsiteY3"/>
                  </a:cxn>
                </a:cxnLst>
                <a:rect l="l" t="t" r="r" b="b"/>
                <a:pathLst>
                  <a:path w="8313" h="1734">
                    <a:moveTo>
                      <a:pt x="8313" y="1734"/>
                    </a:moveTo>
                    <a:lnTo>
                      <a:pt x="6399" y="1316"/>
                    </a:lnTo>
                    <a:lnTo>
                      <a:pt x="6041" y="125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54" name="Vrije vorm: vorm 6753">
                <a:extLst>
                  <a:ext uri="{FF2B5EF4-FFF2-40B4-BE49-F238E27FC236}">
                    <a16:creationId xmlns:a16="http://schemas.microsoft.com/office/drawing/2014/main" id="{F0A514B4-C30F-43BA-96F4-36BCD83E6EC7}"/>
                  </a:ext>
                </a:extLst>
              </p:cNvPr>
              <p:cNvSpPr/>
              <p:nvPr/>
            </p:nvSpPr>
            <p:spPr>
              <a:xfrm>
                <a:off x="6617329" y="1948141"/>
                <a:ext cx="3827" cy="1255"/>
              </a:xfrm>
              <a:custGeom>
                <a:avLst/>
                <a:gdLst>
                  <a:gd name="connsiteX0" fmla="*/ 0 w 3827"/>
                  <a:gd name="connsiteY0" fmla="*/ 1256 h 1255"/>
                  <a:gd name="connsiteX1" fmla="*/ 3648 w 3827"/>
                  <a:gd name="connsiteY1" fmla="*/ 60 h 1255"/>
                  <a:gd name="connsiteX2" fmla="*/ 3828 w 3827"/>
                  <a:gd name="connsiteY2" fmla="*/ 0 h 1255"/>
                </a:gdLst>
                <a:ahLst/>
                <a:cxnLst>
                  <a:cxn ang="0">
                    <a:pos x="connsiteX0" y="connsiteY0"/>
                  </a:cxn>
                  <a:cxn ang="0">
                    <a:pos x="connsiteX1" y="connsiteY1"/>
                  </a:cxn>
                  <a:cxn ang="0">
                    <a:pos x="connsiteX2" y="connsiteY2"/>
                  </a:cxn>
                </a:cxnLst>
                <a:rect l="l" t="t" r="r" b="b"/>
                <a:pathLst>
                  <a:path w="3827" h="1255">
                    <a:moveTo>
                      <a:pt x="0" y="1256"/>
                    </a:moveTo>
                    <a:lnTo>
                      <a:pt x="3648" y="60"/>
                    </a:lnTo>
                    <a:lnTo>
                      <a:pt x="3828" y="0"/>
                    </a:lnTo>
                  </a:path>
                </a:pathLst>
              </a:custGeom>
              <a:noFill/>
              <a:ln w="6350" cap="rnd">
                <a:solidFill>
                  <a:schemeClr val="bg1">
                    <a:alpha val="80000"/>
                  </a:schemeClr>
                </a:solidFill>
                <a:prstDash val="solid"/>
                <a:round/>
              </a:ln>
            </p:spPr>
            <p:txBody>
              <a:bodyPr rtlCol="0" anchor="ctr"/>
              <a:lstStyle/>
              <a:p>
                <a:endParaRPr lang="en-GB"/>
              </a:p>
            </p:txBody>
          </p:sp>
          <p:sp>
            <p:nvSpPr>
              <p:cNvPr id="6755" name="Vrije vorm: vorm 6754">
                <a:extLst>
                  <a:ext uri="{FF2B5EF4-FFF2-40B4-BE49-F238E27FC236}">
                    <a16:creationId xmlns:a16="http://schemas.microsoft.com/office/drawing/2014/main" id="{96C42CF0-844A-4A8E-AD3B-4EE266A532EA}"/>
                  </a:ext>
                </a:extLst>
              </p:cNvPr>
              <p:cNvSpPr/>
              <p:nvPr/>
            </p:nvSpPr>
            <p:spPr>
              <a:xfrm>
                <a:off x="6695737" y="1849399"/>
                <a:ext cx="5562" cy="7356"/>
              </a:xfrm>
              <a:custGeom>
                <a:avLst/>
                <a:gdLst>
                  <a:gd name="connsiteX0" fmla="*/ 5562 w 5562"/>
                  <a:gd name="connsiteY0" fmla="*/ 7356 h 7356"/>
                  <a:gd name="connsiteX1" fmla="*/ 5144 w 5562"/>
                  <a:gd name="connsiteY1" fmla="*/ 6399 h 7356"/>
                  <a:gd name="connsiteX2" fmla="*/ 3469 w 5562"/>
                  <a:gd name="connsiteY2" fmla="*/ 2691 h 7356"/>
                  <a:gd name="connsiteX3" fmla="*/ 3349 w 5562"/>
                  <a:gd name="connsiteY3" fmla="*/ 2632 h 7356"/>
                  <a:gd name="connsiteX4" fmla="*/ 0 w 5562"/>
                  <a:gd name="connsiteY4" fmla="*/ 0 h 7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7356">
                    <a:moveTo>
                      <a:pt x="5562" y="7356"/>
                    </a:moveTo>
                    <a:lnTo>
                      <a:pt x="5144" y="6399"/>
                    </a:lnTo>
                    <a:lnTo>
                      <a:pt x="3469" y="2691"/>
                    </a:lnTo>
                    <a:lnTo>
                      <a:pt x="3349" y="2632"/>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56" name="Vrije vorm: vorm 6755">
                <a:extLst>
                  <a:ext uri="{FF2B5EF4-FFF2-40B4-BE49-F238E27FC236}">
                    <a16:creationId xmlns:a16="http://schemas.microsoft.com/office/drawing/2014/main" id="{92DFCAEC-3B5A-49CB-A724-3E59EF2C6801}"/>
                  </a:ext>
                </a:extLst>
              </p:cNvPr>
              <p:cNvSpPr/>
              <p:nvPr/>
            </p:nvSpPr>
            <p:spPr>
              <a:xfrm>
                <a:off x="6910624" y="1922902"/>
                <a:ext cx="1435" cy="6937"/>
              </a:xfrm>
              <a:custGeom>
                <a:avLst/>
                <a:gdLst>
                  <a:gd name="connsiteX0" fmla="*/ 1435 w 1435"/>
                  <a:gd name="connsiteY0" fmla="*/ 6938 h 6937"/>
                  <a:gd name="connsiteX1" fmla="*/ 1375 w 1435"/>
                  <a:gd name="connsiteY1" fmla="*/ 6340 h 6937"/>
                  <a:gd name="connsiteX2" fmla="*/ 1256 w 1435"/>
                  <a:gd name="connsiteY2" fmla="*/ 4545 h 6937"/>
                  <a:gd name="connsiteX3" fmla="*/ 1136 w 1435"/>
                  <a:gd name="connsiteY3" fmla="*/ 2931 h 6937"/>
                  <a:gd name="connsiteX4" fmla="*/ 1136 w 1435"/>
                  <a:gd name="connsiteY4" fmla="*/ 2452 h 6937"/>
                  <a:gd name="connsiteX5" fmla="*/ 0 w 1435"/>
                  <a:gd name="connsiteY5" fmla="*/ 0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 h="6937">
                    <a:moveTo>
                      <a:pt x="1435" y="6938"/>
                    </a:moveTo>
                    <a:lnTo>
                      <a:pt x="1375" y="6340"/>
                    </a:lnTo>
                    <a:lnTo>
                      <a:pt x="1256" y="4545"/>
                    </a:lnTo>
                    <a:lnTo>
                      <a:pt x="1136" y="2931"/>
                    </a:lnTo>
                    <a:lnTo>
                      <a:pt x="1136" y="2452"/>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57" name="Vrije vorm: vorm 6756">
                <a:extLst>
                  <a:ext uri="{FF2B5EF4-FFF2-40B4-BE49-F238E27FC236}">
                    <a16:creationId xmlns:a16="http://schemas.microsoft.com/office/drawing/2014/main" id="{EF210FA7-586E-4817-BC51-7C952A2885B5}"/>
                  </a:ext>
                </a:extLst>
              </p:cNvPr>
              <p:cNvSpPr/>
              <p:nvPr/>
            </p:nvSpPr>
            <p:spPr>
              <a:xfrm>
                <a:off x="6726896" y="1812976"/>
                <a:ext cx="25238" cy="25896"/>
              </a:xfrm>
              <a:custGeom>
                <a:avLst/>
                <a:gdLst>
                  <a:gd name="connsiteX0" fmla="*/ 0 w 25238"/>
                  <a:gd name="connsiteY0" fmla="*/ 1256 h 25896"/>
                  <a:gd name="connsiteX1" fmla="*/ 1256 w 25238"/>
                  <a:gd name="connsiteY1" fmla="*/ 0 h 25896"/>
                  <a:gd name="connsiteX2" fmla="*/ 2632 w 25238"/>
                  <a:gd name="connsiteY2" fmla="*/ 897 h 25896"/>
                  <a:gd name="connsiteX3" fmla="*/ 9928 w 25238"/>
                  <a:gd name="connsiteY3" fmla="*/ 6758 h 25896"/>
                  <a:gd name="connsiteX4" fmla="*/ 18421 w 25238"/>
                  <a:gd name="connsiteY4" fmla="*/ 15550 h 25896"/>
                  <a:gd name="connsiteX5" fmla="*/ 23086 w 25238"/>
                  <a:gd name="connsiteY5" fmla="*/ 22129 h 25896"/>
                  <a:gd name="connsiteX6" fmla="*/ 25239 w 25238"/>
                  <a:gd name="connsiteY6" fmla="*/ 25897 h 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38" h="25896">
                    <a:moveTo>
                      <a:pt x="0" y="1256"/>
                    </a:moveTo>
                    <a:lnTo>
                      <a:pt x="1256" y="0"/>
                    </a:lnTo>
                    <a:lnTo>
                      <a:pt x="2632" y="897"/>
                    </a:lnTo>
                    <a:lnTo>
                      <a:pt x="9928" y="6758"/>
                    </a:lnTo>
                    <a:lnTo>
                      <a:pt x="18421" y="15550"/>
                    </a:lnTo>
                    <a:lnTo>
                      <a:pt x="23086" y="22129"/>
                    </a:lnTo>
                    <a:lnTo>
                      <a:pt x="25239" y="25897"/>
                    </a:lnTo>
                  </a:path>
                </a:pathLst>
              </a:custGeom>
              <a:noFill/>
              <a:ln w="6350" cap="rnd">
                <a:solidFill>
                  <a:schemeClr val="bg1">
                    <a:alpha val="80000"/>
                  </a:schemeClr>
                </a:solidFill>
                <a:prstDash val="solid"/>
                <a:round/>
              </a:ln>
            </p:spPr>
            <p:txBody>
              <a:bodyPr rtlCol="0" anchor="ctr"/>
              <a:lstStyle/>
              <a:p>
                <a:endParaRPr lang="en-GB"/>
              </a:p>
            </p:txBody>
          </p:sp>
          <p:sp>
            <p:nvSpPr>
              <p:cNvPr id="6758" name="Vrije vorm: vorm 6757">
                <a:extLst>
                  <a:ext uri="{FF2B5EF4-FFF2-40B4-BE49-F238E27FC236}">
                    <a16:creationId xmlns:a16="http://schemas.microsoft.com/office/drawing/2014/main" id="{821EB67F-D5B4-40BC-B83E-8997ADC57C08}"/>
                  </a:ext>
                </a:extLst>
              </p:cNvPr>
              <p:cNvSpPr/>
              <p:nvPr/>
            </p:nvSpPr>
            <p:spPr>
              <a:xfrm>
                <a:off x="6916186" y="1933607"/>
                <a:ext cx="11363" cy="4186"/>
              </a:xfrm>
              <a:custGeom>
                <a:avLst/>
                <a:gdLst>
                  <a:gd name="connsiteX0" fmla="*/ 0 w 11363"/>
                  <a:gd name="connsiteY0" fmla="*/ 120 h 4186"/>
                  <a:gd name="connsiteX1" fmla="*/ 2512 w 11363"/>
                  <a:gd name="connsiteY1" fmla="*/ 0 h 4186"/>
                  <a:gd name="connsiteX2" fmla="*/ 3290 w 11363"/>
                  <a:gd name="connsiteY2" fmla="*/ 0 h 4186"/>
                  <a:gd name="connsiteX3" fmla="*/ 3469 w 11363"/>
                  <a:gd name="connsiteY3" fmla="*/ 0 h 4186"/>
                  <a:gd name="connsiteX4" fmla="*/ 6160 w 11363"/>
                  <a:gd name="connsiteY4" fmla="*/ 419 h 4186"/>
                  <a:gd name="connsiteX5" fmla="*/ 8613 w 11363"/>
                  <a:gd name="connsiteY5" fmla="*/ 1914 h 4186"/>
                  <a:gd name="connsiteX6" fmla="*/ 10108 w 11363"/>
                  <a:gd name="connsiteY6" fmla="*/ 2990 h 4186"/>
                  <a:gd name="connsiteX7" fmla="*/ 10526 w 11363"/>
                  <a:gd name="connsiteY7" fmla="*/ 3289 h 4186"/>
                  <a:gd name="connsiteX8" fmla="*/ 11364 w 11363"/>
                  <a:gd name="connsiteY8" fmla="*/ 4067 h 4186"/>
                  <a:gd name="connsiteX9" fmla="*/ 11304 w 11363"/>
                  <a:gd name="connsiteY9" fmla="*/ 4186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63" h="4186">
                    <a:moveTo>
                      <a:pt x="0" y="120"/>
                    </a:moveTo>
                    <a:lnTo>
                      <a:pt x="2512" y="0"/>
                    </a:lnTo>
                    <a:lnTo>
                      <a:pt x="3290" y="0"/>
                    </a:lnTo>
                    <a:lnTo>
                      <a:pt x="3469" y="0"/>
                    </a:lnTo>
                    <a:lnTo>
                      <a:pt x="6160" y="419"/>
                    </a:lnTo>
                    <a:lnTo>
                      <a:pt x="8613" y="1914"/>
                    </a:lnTo>
                    <a:lnTo>
                      <a:pt x="10108" y="2990"/>
                    </a:lnTo>
                    <a:lnTo>
                      <a:pt x="10526" y="3289"/>
                    </a:lnTo>
                    <a:lnTo>
                      <a:pt x="11364" y="4067"/>
                    </a:lnTo>
                    <a:lnTo>
                      <a:pt x="11304" y="4186"/>
                    </a:lnTo>
                  </a:path>
                </a:pathLst>
              </a:custGeom>
              <a:noFill/>
              <a:ln w="6350" cap="rnd">
                <a:solidFill>
                  <a:schemeClr val="bg1">
                    <a:alpha val="80000"/>
                  </a:schemeClr>
                </a:solidFill>
                <a:prstDash val="solid"/>
                <a:round/>
              </a:ln>
            </p:spPr>
            <p:txBody>
              <a:bodyPr rtlCol="0" anchor="ctr"/>
              <a:lstStyle/>
              <a:p>
                <a:endParaRPr lang="en-GB"/>
              </a:p>
            </p:txBody>
          </p:sp>
          <p:sp>
            <p:nvSpPr>
              <p:cNvPr id="6759" name="Vrije vorm: vorm 6758">
                <a:extLst>
                  <a:ext uri="{FF2B5EF4-FFF2-40B4-BE49-F238E27FC236}">
                    <a16:creationId xmlns:a16="http://schemas.microsoft.com/office/drawing/2014/main" id="{B2C115E0-64C0-4148-8ED2-3A08EE8758CA}"/>
                  </a:ext>
                </a:extLst>
              </p:cNvPr>
              <p:cNvSpPr/>
              <p:nvPr/>
            </p:nvSpPr>
            <p:spPr>
              <a:xfrm>
                <a:off x="6639518" y="1967339"/>
                <a:ext cx="5203" cy="2751"/>
              </a:xfrm>
              <a:custGeom>
                <a:avLst/>
                <a:gdLst>
                  <a:gd name="connsiteX0" fmla="*/ 5203 w 5203"/>
                  <a:gd name="connsiteY0" fmla="*/ 2751 h 2751"/>
                  <a:gd name="connsiteX1" fmla="*/ 778 w 5203"/>
                  <a:gd name="connsiteY1" fmla="*/ 419 h 2751"/>
                  <a:gd name="connsiteX2" fmla="*/ 0 w 5203"/>
                  <a:gd name="connsiteY2" fmla="*/ 0 h 2751"/>
                </a:gdLst>
                <a:ahLst/>
                <a:cxnLst>
                  <a:cxn ang="0">
                    <a:pos x="connsiteX0" y="connsiteY0"/>
                  </a:cxn>
                  <a:cxn ang="0">
                    <a:pos x="connsiteX1" y="connsiteY1"/>
                  </a:cxn>
                  <a:cxn ang="0">
                    <a:pos x="connsiteX2" y="connsiteY2"/>
                  </a:cxn>
                </a:cxnLst>
                <a:rect l="l" t="t" r="r" b="b"/>
                <a:pathLst>
                  <a:path w="5203" h="2751">
                    <a:moveTo>
                      <a:pt x="5203" y="2751"/>
                    </a:moveTo>
                    <a:lnTo>
                      <a:pt x="778" y="41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60" name="Vrije vorm: vorm 6759">
                <a:extLst>
                  <a:ext uri="{FF2B5EF4-FFF2-40B4-BE49-F238E27FC236}">
                    <a16:creationId xmlns:a16="http://schemas.microsoft.com/office/drawing/2014/main" id="{6DE509A1-89AA-47B8-965C-7881B1F2D6FB}"/>
                  </a:ext>
                </a:extLst>
              </p:cNvPr>
              <p:cNvSpPr/>
              <p:nvPr/>
            </p:nvSpPr>
            <p:spPr>
              <a:xfrm>
                <a:off x="6852073" y="2107288"/>
                <a:ext cx="1315" cy="239"/>
              </a:xfrm>
              <a:custGeom>
                <a:avLst/>
                <a:gdLst>
                  <a:gd name="connsiteX0" fmla="*/ 1316 w 1315"/>
                  <a:gd name="connsiteY0" fmla="*/ 239 h 239"/>
                  <a:gd name="connsiteX1" fmla="*/ 0 w 1315"/>
                  <a:gd name="connsiteY1" fmla="*/ 0 h 239"/>
                </a:gdLst>
                <a:ahLst/>
                <a:cxnLst>
                  <a:cxn ang="0">
                    <a:pos x="connsiteX0" y="connsiteY0"/>
                  </a:cxn>
                  <a:cxn ang="0">
                    <a:pos x="connsiteX1" y="connsiteY1"/>
                  </a:cxn>
                </a:cxnLst>
                <a:rect l="l" t="t" r="r" b="b"/>
                <a:pathLst>
                  <a:path w="1315" h="239">
                    <a:moveTo>
                      <a:pt x="1316" y="239"/>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61" name="Vrije vorm: vorm 6760">
                <a:extLst>
                  <a:ext uri="{FF2B5EF4-FFF2-40B4-BE49-F238E27FC236}">
                    <a16:creationId xmlns:a16="http://schemas.microsoft.com/office/drawing/2014/main" id="{4DA64DB7-BEC7-4683-A40D-5BA95BE75ECA}"/>
                  </a:ext>
                </a:extLst>
              </p:cNvPr>
              <p:cNvSpPr/>
              <p:nvPr/>
            </p:nvSpPr>
            <p:spPr>
              <a:xfrm>
                <a:off x="6708775" y="1806696"/>
                <a:ext cx="4903" cy="1973"/>
              </a:xfrm>
              <a:custGeom>
                <a:avLst/>
                <a:gdLst>
                  <a:gd name="connsiteX0" fmla="*/ 0 w 4903"/>
                  <a:gd name="connsiteY0" fmla="*/ 0 h 1973"/>
                  <a:gd name="connsiteX1" fmla="*/ 1555 w 4903"/>
                  <a:gd name="connsiteY1" fmla="*/ 419 h 1973"/>
                  <a:gd name="connsiteX2" fmla="*/ 3349 w 4903"/>
                  <a:gd name="connsiteY2" fmla="*/ 1256 h 1973"/>
                  <a:gd name="connsiteX3" fmla="*/ 4904 w 4903"/>
                  <a:gd name="connsiteY3" fmla="*/ 1974 h 1973"/>
                </a:gdLst>
                <a:ahLst/>
                <a:cxnLst>
                  <a:cxn ang="0">
                    <a:pos x="connsiteX0" y="connsiteY0"/>
                  </a:cxn>
                  <a:cxn ang="0">
                    <a:pos x="connsiteX1" y="connsiteY1"/>
                  </a:cxn>
                  <a:cxn ang="0">
                    <a:pos x="connsiteX2" y="connsiteY2"/>
                  </a:cxn>
                  <a:cxn ang="0">
                    <a:pos x="connsiteX3" y="connsiteY3"/>
                  </a:cxn>
                </a:cxnLst>
                <a:rect l="l" t="t" r="r" b="b"/>
                <a:pathLst>
                  <a:path w="4903" h="1973">
                    <a:moveTo>
                      <a:pt x="0" y="0"/>
                    </a:moveTo>
                    <a:lnTo>
                      <a:pt x="1555" y="419"/>
                    </a:lnTo>
                    <a:lnTo>
                      <a:pt x="3349" y="1256"/>
                    </a:lnTo>
                    <a:lnTo>
                      <a:pt x="4904" y="1974"/>
                    </a:lnTo>
                  </a:path>
                </a:pathLst>
              </a:custGeom>
              <a:noFill/>
              <a:ln w="6350" cap="rnd">
                <a:solidFill>
                  <a:schemeClr val="bg1">
                    <a:alpha val="80000"/>
                  </a:schemeClr>
                </a:solidFill>
                <a:prstDash val="solid"/>
                <a:round/>
              </a:ln>
            </p:spPr>
            <p:txBody>
              <a:bodyPr rtlCol="0" anchor="ctr"/>
              <a:lstStyle/>
              <a:p>
                <a:endParaRPr lang="en-GB"/>
              </a:p>
            </p:txBody>
          </p:sp>
          <p:sp>
            <p:nvSpPr>
              <p:cNvPr id="6762" name="Vrije vorm: vorm 6761">
                <a:extLst>
                  <a:ext uri="{FF2B5EF4-FFF2-40B4-BE49-F238E27FC236}">
                    <a16:creationId xmlns:a16="http://schemas.microsoft.com/office/drawing/2014/main" id="{C09625AF-F534-49F2-80B5-D2AFD403A95D}"/>
                  </a:ext>
                </a:extLst>
              </p:cNvPr>
              <p:cNvSpPr/>
              <p:nvPr/>
            </p:nvSpPr>
            <p:spPr>
              <a:xfrm>
                <a:off x="6667926" y="1804783"/>
                <a:ext cx="5801" cy="2153"/>
              </a:xfrm>
              <a:custGeom>
                <a:avLst/>
                <a:gdLst>
                  <a:gd name="connsiteX0" fmla="*/ 0 w 5801"/>
                  <a:gd name="connsiteY0" fmla="*/ 2153 h 2153"/>
                  <a:gd name="connsiteX1" fmla="*/ 3349 w 5801"/>
                  <a:gd name="connsiteY1" fmla="*/ 419 h 2153"/>
                  <a:gd name="connsiteX2" fmla="*/ 5801 w 5801"/>
                  <a:gd name="connsiteY2" fmla="*/ 0 h 2153"/>
                </a:gdLst>
                <a:ahLst/>
                <a:cxnLst>
                  <a:cxn ang="0">
                    <a:pos x="connsiteX0" y="connsiteY0"/>
                  </a:cxn>
                  <a:cxn ang="0">
                    <a:pos x="connsiteX1" y="connsiteY1"/>
                  </a:cxn>
                  <a:cxn ang="0">
                    <a:pos x="connsiteX2" y="connsiteY2"/>
                  </a:cxn>
                </a:cxnLst>
                <a:rect l="l" t="t" r="r" b="b"/>
                <a:pathLst>
                  <a:path w="5801" h="2153">
                    <a:moveTo>
                      <a:pt x="0" y="2153"/>
                    </a:moveTo>
                    <a:lnTo>
                      <a:pt x="3349" y="419"/>
                    </a:lnTo>
                    <a:lnTo>
                      <a:pt x="5801" y="0"/>
                    </a:lnTo>
                  </a:path>
                </a:pathLst>
              </a:custGeom>
              <a:noFill/>
              <a:ln w="6350" cap="rnd">
                <a:solidFill>
                  <a:schemeClr val="bg1">
                    <a:alpha val="80000"/>
                  </a:schemeClr>
                </a:solidFill>
                <a:prstDash val="solid"/>
                <a:round/>
              </a:ln>
            </p:spPr>
            <p:txBody>
              <a:bodyPr rtlCol="0" anchor="ctr"/>
              <a:lstStyle/>
              <a:p>
                <a:endParaRPr lang="en-GB"/>
              </a:p>
            </p:txBody>
          </p:sp>
          <p:sp>
            <p:nvSpPr>
              <p:cNvPr id="6763" name="Vrije vorm: vorm 6762">
                <a:extLst>
                  <a:ext uri="{FF2B5EF4-FFF2-40B4-BE49-F238E27FC236}">
                    <a16:creationId xmlns:a16="http://schemas.microsoft.com/office/drawing/2014/main" id="{146D5F5C-A2EB-4144-A801-F164D79F7A54}"/>
                  </a:ext>
                </a:extLst>
              </p:cNvPr>
              <p:cNvSpPr/>
              <p:nvPr/>
            </p:nvSpPr>
            <p:spPr>
              <a:xfrm>
                <a:off x="6648011" y="1812677"/>
                <a:ext cx="8672" cy="6518"/>
              </a:xfrm>
              <a:custGeom>
                <a:avLst/>
                <a:gdLst>
                  <a:gd name="connsiteX0" fmla="*/ 0 w 8672"/>
                  <a:gd name="connsiteY0" fmla="*/ 6519 h 6518"/>
                  <a:gd name="connsiteX1" fmla="*/ 6758 w 8672"/>
                  <a:gd name="connsiteY1" fmla="*/ 957 h 6518"/>
                  <a:gd name="connsiteX2" fmla="*/ 8672 w 8672"/>
                  <a:gd name="connsiteY2" fmla="*/ 0 h 6518"/>
                </a:gdLst>
                <a:ahLst/>
                <a:cxnLst>
                  <a:cxn ang="0">
                    <a:pos x="connsiteX0" y="connsiteY0"/>
                  </a:cxn>
                  <a:cxn ang="0">
                    <a:pos x="connsiteX1" y="connsiteY1"/>
                  </a:cxn>
                  <a:cxn ang="0">
                    <a:pos x="connsiteX2" y="connsiteY2"/>
                  </a:cxn>
                </a:cxnLst>
                <a:rect l="l" t="t" r="r" b="b"/>
                <a:pathLst>
                  <a:path w="8672" h="6518">
                    <a:moveTo>
                      <a:pt x="0" y="6519"/>
                    </a:moveTo>
                    <a:lnTo>
                      <a:pt x="6758" y="957"/>
                    </a:lnTo>
                    <a:lnTo>
                      <a:pt x="8672" y="0"/>
                    </a:lnTo>
                  </a:path>
                </a:pathLst>
              </a:custGeom>
              <a:noFill/>
              <a:ln w="6350" cap="rnd">
                <a:solidFill>
                  <a:schemeClr val="bg1">
                    <a:alpha val="80000"/>
                  </a:schemeClr>
                </a:solidFill>
                <a:prstDash val="solid"/>
                <a:round/>
              </a:ln>
            </p:spPr>
            <p:txBody>
              <a:bodyPr rtlCol="0" anchor="ctr"/>
              <a:lstStyle/>
              <a:p>
                <a:endParaRPr lang="en-GB"/>
              </a:p>
            </p:txBody>
          </p:sp>
          <p:sp>
            <p:nvSpPr>
              <p:cNvPr id="6764" name="Vrije vorm: vorm 6763">
                <a:extLst>
                  <a:ext uri="{FF2B5EF4-FFF2-40B4-BE49-F238E27FC236}">
                    <a16:creationId xmlns:a16="http://schemas.microsoft.com/office/drawing/2014/main" id="{DECAC4ED-A474-4DE9-9E11-D9E242781DC4}"/>
                  </a:ext>
                </a:extLst>
              </p:cNvPr>
              <p:cNvSpPr/>
              <p:nvPr/>
            </p:nvSpPr>
            <p:spPr>
              <a:xfrm>
                <a:off x="6837301" y="1947124"/>
                <a:ext cx="10705" cy="10167"/>
              </a:xfrm>
              <a:custGeom>
                <a:avLst/>
                <a:gdLst>
                  <a:gd name="connsiteX0" fmla="*/ 0 w 10705"/>
                  <a:gd name="connsiteY0" fmla="*/ 10167 h 10167"/>
                  <a:gd name="connsiteX1" fmla="*/ 299 w 10705"/>
                  <a:gd name="connsiteY1" fmla="*/ 9868 h 10167"/>
                  <a:gd name="connsiteX2" fmla="*/ 358 w 10705"/>
                  <a:gd name="connsiteY2" fmla="*/ 9808 h 10167"/>
                  <a:gd name="connsiteX3" fmla="*/ 5861 w 10705"/>
                  <a:gd name="connsiteY3" fmla="*/ 4545 h 10167"/>
                  <a:gd name="connsiteX4" fmla="*/ 6579 w 10705"/>
                  <a:gd name="connsiteY4" fmla="*/ 3888 h 10167"/>
                  <a:gd name="connsiteX5" fmla="*/ 8074 w 10705"/>
                  <a:gd name="connsiteY5" fmla="*/ 2452 h 10167"/>
                  <a:gd name="connsiteX6" fmla="*/ 8253 w 10705"/>
                  <a:gd name="connsiteY6" fmla="*/ 2332 h 10167"/>
                  <a:gd name="connsiteX7" fmla="*/ 10706 w 10705"/>
                  <a:gd name="connsiteY7" fmla="*/ 0 h 1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05" h="10167">
                    <a:moveTo>
                      <a:pt x="0" y="10167"/>
                    </a:moveTo>
                    <a:lnTo>
                      <a:pt x="299" y="9868"/>
                    </a:lnTo>
                    <a:lnTo>
                      <a:pt x="358" y="9808"/>
                    </a:lnTo>
                    <a:lnTo>
                      <a:pt x="5861" y="4545"/>
                    </a:lnTo>
                    <a:lnTo>
                      <a:pt x="6579" y="3888"/>
                    </a:lnTo>
                    <a:lnTo>
                      <a:pt x="8074" y="2452"/>
                    </a:lnTo>
                    <a:lnTo>
                      <a:pt x="8253" y="2332"/>
                    </a:lnTo>
                    <a:lnTo>
                      <a:pt x="10706" y="0"/>
                    </a:lnTo>
                  </a:path>
                </a:pathLst>
              </a:custGeom>
              <a:noFill/>
              <a:ln w="6350" cap="rnd">
                <a:solidFill>
                  <a:schemeClr val="bg1">
                    <a:alpha val="80000"/>
                  </a:schemeClr>
                </a:solidFill>
                <a:prstDash val="solid"/>
                <a:round/>
              </a:ln>
            </p:spPr>
            <p:txBody>
              <a:bodyPr rtlCol="0" anchor="ctr"/>
              <a:lstStyle/>
              <a:p>
                <a:endParaRPr lang="en-GB"/>
              </a:p>
            </p:txBody>
          </p:sp>
          <p:sp>
            <p:nvSpPr>
              <p:cNvPr id="6765" name="Vrije vorm: vorm 6764">
                <a:extLst>
                  <a:ext uri="{FF2B5EF4-FFF2-40B4-BE49-F238E27FC236}">
                    <a16:creationId xmlns:a16="http://schemas.microsoft.com/office/drawing/2014/main" id="{BED17493-9741-4284-8369-658E582041E9}"/>
                  </a:ext>
                </a:extLst>
              </p:cNvPr>
              <p:cNvSpPr/>
              <p:nvPr/>
            </p:nvSpPr>
            <p:spPr>
              <a:xfrm>
                <a:off x="6631683" y="1825237"/>
                <a:ext cx="8971" cy="9509"/>
              </a:xfrm>
              <a:custGeom>
                <a:avLst/>
                <a:gdLst>
                  <a:gd name="connsiteX0" fmla="*/ 0 w 8971"/>
                  <a:gd name="connsiteY0" fmla="*/ 9509 h 9509"/>
                  <a:gd name="connsiteX1" fmla="*/ 6459 w 8971"/>
                  <a:gd name="connsiteY1" fmla="*/ 2034 h 9509"/>
                  <a:gd name="connsiteX2" fmla="*/ 8373 w 8971"/>
                  <a:gd name="connsiteY2" fmla="*/ 478 h 9509"/>
                  <a:gd name="connsiteX3" fmla="*/ 8672 w 8971"/>
                  <a:gd name="connsiteY3" fmla="*/ 239 h 9509"/>
                  <a:gd name="connsiteX4" fmla="*/ 8732 w 8971"/>
                  <a:gd name="connsiteY4" fmla="*/ 239 h 9509"/>
                  <a:gd name="connsiteX5" fmla="*/ 8971 w 8971"/>
                  <a:gd name="connsiteY5" fmla="*/ 0 h 9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1" h="9509">
                    <a:moveTo>
                      <a:pt x="0" y="9509"/>
                    </a:moveTo>
                    <a:lnTo>
                      <a:pt x="6459" y="2034"/>
                    </a:lnTo>
                    <a:lnTo>
                      <a:pt x="8373" y="478"/>
                    </a:lnTo>
                    <a:lnTo>
                      <a:pt x="8672" y="239"/>
                    </a:lnTo>
                    <a:lnTo>
                      <a:pt x="8732" y="239"/>
                    </a:lnTo>
                    <a:lnTo>
                      <a:pt x="8971" y="0"/>
                    </a:lnTo>
                  </a:path>
                </a:pathLst>
              </a:custGeom>
              <a:noFill/>
              <a:ln w="6350" cap="rnd">
                <a:solidFill>
                  <a:schemeClr val="bg1">
                    <a:alpha val="80000"/>
                  </a:schemeClr>
                </a:solidFill>
                <a:prstDash val="solid"/>
                <a:round/>
              </a:ln>
            </p:spPr>
            <p:txBody>
              <a:bodyPr rtlCol="0" anchor="ctr"/>
              <a:lstStyle/>
              <a:p>
                <a:endParaRPr lang="en-GB"/>
              </a:p>
            </p:txBody>
          </p:sp>
          <p:sp>
            <p:nvSpPr>
              <p:cNvPr id="6766" name="Vrije vorm: vorm 6765">
                <a:extLst>
                  <a:ext uri="{FF2B5EF4-FFF2-40B4-BE49-F238E27FC236}">
                    <a16:creationId xmlns:a16="http://schemas.microsoft.com/office/drawing/2014/main" id="{60F61231-2863-4A14-A064-051DD4FEBEE2}"/>
                  </a:ext>
                </a:extLst>
              </p:cNvPr>
              <p:cNvSpPr/>
              <p:nvPr/>
            </p:nvSpPr>
            <p:spPr>
              <a:xfrm>
                <a:off x="6837958" y="1747069"/>
                <a:ext cx="4186" cy="7117"/>
              </a:xfrm>
              <a:custGeom>
                <a:avLst/>
                <a:gdLst>
                  <a:gd name="connsiteX0" fmla="*/ 0 w 4186"/>
                  <a:gd name="connsiteY0" fmla="*/ 7117 h 7117"/>
                  <a:gd name="connsiteX1" fmla="*/ 0 w 4186"/>
                  <a:gd name="connsiteY1" fmla="*/ 6818 h 7117"/>
                  <a:gd name="connsiteX2" fmla="*/ 3947 w 4186"/>
                  <a:gd name="connsiteY2" fmla="*/ 120 h 7117"/>
                  <a:gd name="connsiteX3" fmla="*/ 4186 w 4186"/>
                  <a:gd name="connsiteY3" fmla="*/ 0 h 7117"/>
                </a:gdLst>
                <a:ahLst/>
                <a:cxnLst>
                  <a:cxn ang="0">
                    <a:pos x="connsiteX0" y="connsiteY0"/>
                  </a:cxn>
                  <a:cxn ang="0">
                    <a:pos x="connsiteX1" y="connsiteY1"/>
                  </a:cxn>
                  <a:cxn ang="0">
                    <a:pos x="connsiteX2" y="connsiteY2"/>
                  </a:cxn>
                  <a:cxn ang="0">
                    <a:pos x="connsiteX3" y="connsiteY3"/>
                  </a:cxn>
                </a:cxnLst>
                <a:rect l="l" t="t" r="r" b="b"/>
                <a:pathLst>
                  <a:path w="4186" h="7117">
                    <a:moveTo>
                      <a:pt x="0" y="7117"/>
                    </a:moveTo>
                    <a:lnTo>
                      <a:pt x="0" y="6818"/>
                    </a:lnTo>
                    <a:lnTo>
                      <a:pt x="3947" y="120"/>
                    </a:lnTo>
                    <a:lnTo>
                      <a:pt x="4186" y="0"/>
                    </a:lnTo>
                  </a:path>
                </a:pathLst>
              </a:custGeom>
              <a:noFill/>
              <a:ln w="6350" cap="rnd">
                <a:solidFill>
                  <a:schemeClr val="bg1">
                    <a:alpha val="80000"/>
                  </a:schemeClr>
                </a:solidFill>
                <a:prstDash val="solid"/>
                <a:round/>
              </a:ln>
            </p:spPr>
            <p:txBody>
              <a:bodyPr rtlCol="0" anchor="ctr"/>
              <a:lstStyle/>
              <a:p>
                <a:endParaRPr lang="en-GB"/>
              </a:p>
            </p:txBody>
          </p:sp>
          <p:sp>
            <p:nvSpPr>
              <p:cNvPr id="6767" name="Vrije vorm: vorm 6766">
                <a:extLst>
                  <a:ext uri="{FF2B5EF4-FFF2-40B4-BE49-F238E27FC236}">
                    <a16:creationId xmlns:a16="http://schemas.microsoft.com/office/drawing/2014/main" id="{B29C860A-3346-41CC-B489-1056E5A272A2}"/>
                  </a:ext>
                </a:extLst>
              </p:cNvPr>
              <p:cNvSpPr/>
              <p:nvPr/>
            </p:nvSpPr>
            <p:spPr>
              <a:xfrm>
                <a:off x="6892921" y="2085278"/>
                <a:ext cx="5741" cy="4485"/>
              </a:xfrm>
              <a:custGeom>
                <a:avLst/>
                <a:gdLst>
                  <a:gd name="connsiteX0" fmla="*/ 5742 w 5741"/>
                  <a:gd name="connsiteY0" fmla="*/ 0 h 4485"/>
                  <a:gd name="connsiteX1" fmla="*/ 5742 w 5741"/>
                  <a:gd name="connsiteY1" fmla="*/ 0 h 4485"/>
                  <a:gd name="connsiteX2" fmla="*/ 0 w 5741"/>
                  <a:gd name="connsiteY2" fmla="*/ 4486 h 4485"/>
                </a:gdLst>
                <a:ahLst/>
                <a:cxnLst>
                  <a:cxn ang="0">
                    <a:pos x="connsiteX0" y="connsiteY0"/>
                  </a:cxn>
                  <a:cxn ang="0">
                    <a:pos x="connsiteX1" y="connsiteY1"/>
                  </a:cxn>
                  <a:cxn ang="0">
                    <a:pos x="connsiteX2" y="connsiteY2"/>
                  </a:cxn>
                </a:cxnLst>
                <a:rect l="l" t="t" r="r" b="b"/>
                <a:pathLst>
                  <a:path w="5741" h="4485">
                    <a:moveTo>
                      <a:pt x="5742" y="0"/>
                    </a:moveTo>
                    <a:lnTo>
                      <a:pt x="5742" y="0"/>
                    </a:lnTo>
                    <a:lnTo>
                      <a:pt x="0" y="4486"/>
                    </a:lnTo>
                  </a:path>
                </a:pathLst>
              </a:custGeom>
              <a:noFill/>
              <a:ln w="6350" cap="rnd">
                <a:solidFill>
                  <a:schemeClr val="bg1">
                    <a:alpha val="80000"/>
                  </a:schemeClr>
                </a:solidFill>
                <a:prstDash val="solid"/>
                <a:round/>
              </a:ln>
            </p:spPr>
            <p:txBody>
              <a:bodyPr rtlCol="0" anchor="ctr"/>
              <a:lstStyle/>
              <a:p>
                <a:endParaRPr lang="en-GB"/>
              </a:p>
            </p:txBody>
          </p:sp>
          <p:sp>
            <p:nvSpPr>
              <p:cNvPr id="6768" name="Vrije vorm: vorm 6767">
                <a:extLst>
                  <a:ext uri="{FF2B5EF4-FFF2-40B4-BE49-F238E27FC236}">
                    <a16:creationId xmlns:a16="http://schemas.microsoft.com/office/drawing/2014/main" id="{364559F4-9822-4166-81D6-A2473AD21DF6}"/>
                  </a:ext>
                </a:extLst>
              </p:cNvPr>
              <p:cNvSpPr/>
              <p:nvPr/>
            </p:nvSpPr>
            <p:spPr>
              <a:xfrm>
                <a:off x="7016483" y="2099572"/>
                <a:ext cx="13696" cy="17762"/>
              </a:xfrm>
              <a:custGeom>
                <a:avLst/>
                <a:gdLst>
                  <a:gd name="connsiteX0" fmla="*/ 11663 w 13696"/>
                  <a:gd name="connsiteY0" fmla="*/ 0 h 17762"/>
                  <a:gd name="connsiteX1" fmla="*/ 12440 w 13696"/>
                  <a:gd name="connsiteY1" fmla="*/ 478 h 17762"/>
                  <a:gd name="connsiteX2" fmla="*/ 13516 w 13696"/>
                  <a:gd name="connsiteY2" fmla="*/ 2930 h 17762"/>
                  <a:gd name="connsiteX3" fmla="*/ 13696 w 13696"/>
                  <a:gd name="connsiteY3" fmla="*/ 3409 h 17762"/>
                  <a:gd name="connsiteX4" fmla="*/ 9151 w 13696"/>
                  <a:gd name="connsiteY4" fmla="*/ 14234 h 17762"/>
                  <a:gd name="connsiteX5" fmla="*/ 5024 w 13696"/>
                  <a:gd name="connsiteY5" fmla="*/ 17763 h 17762"/>
                  <a:gd name="connsiteX6" fmla="*/ 1017 w 13696"/>
                  <a:gd name="connsiteY6" fmla="*/ 15311 h 17762"/>
                  <a:gd name="connsiteX7" fmla="*/ 0 w 13696"/>
                  <a:gd name="connsiteY7" fmla="*/ 14174 h 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96" h="17762">
                    <a:moveTo>
                      <a:pt x="11663" y="0"/>
                    </a:moveTo>
                    <a:lnTo>
                      <a:pt x="12440" y="478"/>
                    </a:lnTo>
                    <a:lnTo>
                      <a:pt x="13516" y="2930"/>
                    </a:lnTo>
                    <a:lnTo>
                      <a:pt x="13696" y="3409"/>
                    </a:lnTo>
                    <a:lnTo>
                      <a:pt x="9151" y="14234"/>
                    </a:lnTo>
                    <a:lnTo>
                      <a:pt x="5024" y="17763"/>
                    </a:lnTo>
                    <a:lnTo>
                      <a:pt x="1017" y="15311"/>
                    </a:lnTo>
                    <a:lnTo>
                      <a:pt x="0" y="14174"/>
                    </a:lnTo>
                  </a:path>
                </a:pathLst>
              </a:custGeom>
              <a:noFill/>
              <a:ln w="6350" cap="rnd">
                <a:solidFill>
                  <a:schemeClr val="bg1">
                    <a:alpha val="80000"/>
                  </a:schemeClr>
                </a:solidFill>
                <a:prstDash val="solid"/>
                <a:round/>
              </a:ln>
            </p:spPr>
            <p:txBody>
              <a:bodyPr rtlCol="0" anchor="ctr"/>
              <a:lstStyle/>
              <a:p>
                <a:endParaRPr lang="en-GB"/>
              </a:p>
            </p:txBody>
          </p:sp>
          <p:sp>
            <p:nvSpPr>
              <p:cNvPr id="6769" name="Vrije vorm: vorm 6768">
                <a:extLst>
                  <a:ext uri="{FF2B5EF4-FFF2-40B4-BE49-F238E27FC236}">
                    <a16:creationId xmlns:a16="http://schemas.microsoft.com/office/drawing/2014/main" id="{26FD2875-6517-4771-979A-144CD13FB90D}"/>
                  </a:ext>
                </a:extLst>
              </p:cNvPr>
              <p:cNvSpPr/>
              <p:nvPr/>
            </p:nvSpPr>
            <p:spPr>
              <a:xfrm>
                <a:off x="7047284" y="1957171"/>
                <a:ext cx="19197" cy="29783"/>
              </a:xfrm>
              <a:custGeom>
                <a:avLst/>
                <a:gdLst>
                  <a:gd name="connsiteX0" fmla="*/ 0 w 19197"/>
                  <a:gd name="connsiteY0" fmla="*/ 0 h 29783"/>
                  <a:gd name="connsiteX1" fmla="*/ 2333 w 19197"/>
                  <a:gd name="connsiteY1" fmla="*/ 419 h 29783"/>
                  <a:gd name="connsiteX2" fmla="*/ 7536 w 19197"/>
                  <a:gd name="connsiteY2" fmla="*/ 2930 h 29783"/>
                  <a:gd name="connsiteX3" fmla="*/ 7596 w 19197"/>
                  <a:gd name="connsiteY3" fmla="*/ 2930 h 29783"/>
                  <a:gd name="connsiteX4" fmla="*/ 12440 w 19197"/>
                  <a:gd name="connsiteY4" fmla="*/ 5263 h 29783"/>
                  <a:gd name="connsiteX5" fmla="*/ 17464 w 19197"/>
                  <a:gd name="connsiteY5" fmla="*/ 8851 h 29783"/>
                  <a:gd name="connsiteX6" fmla="*/ 19198 w 19197"/>
                  <a:gd name="connsiteY6" fmla="*/ 10107 h 29783"/>
                  <a:gd name="connsiteX7" fmla="*/ 18540 w 19197"/>
                  <a:gd name="connsiteY7" fmla="*/ 19916 h 29783"/>
                  <a:gd name="connsiteX8" fmla="*/ 18480 w 19197"/>
                  <a:gd name="connsiteY8" fmla="*/ 20873 h 29783"/>
                  <a:gd name="connsiteX9" fmla="*/ 18062 w 19197"/>
                  <a:gd name="connsiteY9" fmla="*/ 21590 h 29783"/>
                  <a:gd name="connsiteX10" fmla="*/ 14294 w 19197"/>
                  <a:gd name="connsiteY10" fmla="*/ 27990 h 29783"/>
                  <a:gd name="connsiteX11" fmla="*/ 11961 w 19197"/>
                  <a:gd name="connsiteY11" fmla="*/ 29784 h 29783"/>
                  <a:gd name="connsiteX12" fmla="*/ 11184 w 19197"/>
                  <a:gd name="connsiteY12" fmla="*/ 29305 h 2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197" h="29783">
                    <a:moveTo>
                      <a:pt x="0" y="0"/>
                    </a:moveTo>
                    <a:lnTo>
                      <a:pt x="2333" y="419"/>
                    </a:lnTo>
                    <a:lnTo>
                      <a:pt x="7536" y="2930"/>
                    </a:lnTo>
                    <a:lnTo>
                      <a:pt x="7596" y="2930"/>
                    </a:lnTo>
                    <a:lnTo>
                      <a:pt x="12440" y="5263"/>
                    </a:lnTo>
                    <a:lnTo>
                      <a:pt x="17464" y="8851"/>
                    </a:lnTo>
                    <a:lnTo>
                      <a:pt x="19198" y="10107"/>
                    </a:lnTo>
                    <a:lnTo>
                      <a:pt x="18540" y="19916"/>
                    </a:lnTo>
                    <a:lnTo>
                      <a:pt x="18480" y="20873"/>
                    </a:lnTo>
                    <a:lnTo>
                      <a:pt x="18062" y="21590"/>
                    </a:lnTo>
                    <a:lnTo>
                      <a:pt x="14294" y="27990"/>
                    </a:lnTo>
                    <a:lnTo>
                      <a:pt x="11961" y="29784"/>
                    </a:lnTo>
                    <a:lnTo>
                      <a:pt x="11184" y="29305"/>
                    </a:lnTo>
                  </a:path>
                </a:pathLst>
              </a:custGeom>
              <a:noFill/>
              <a:ln w="6350" cap="rnd">
                <a:solidFill>
                  <a:schemeClr val="bg1">
                    <a:alpha val="80000"/>
                  </a:schemeClr>
                </a:solidFill>
                <a:prstDash val="solid"/>
                <a:round/>
              </a:ln>
            </p:spPr>
            <p:txBody>
              <a:bodyPr rtlCol="0" anchor="ctr"/>
              <a:lstStyle/>
              <a:p>
                <a:endParaRPr lang="en-GB"/>
              </a:p>
            </p:txBody>
          </p:sp>
          <p:sp>
            <p:nvSpPr>
              <p:cNvPr id="6770" name="Vrije vorm: vorm 6769">
                <a:extLst>
                  <a:ext uri="{FF2B5EF4-FFF2-40B4-BE49-F238E27FC236}">
                    <a16:creationId xmlns:a16="http://schemas.microsoft.com/office/drawing/2014/main" id="{88340217-F413-4109-A70D-1ECF5548A2E1}"/>
                  </a:ext>
                </a:extLst>
              </p:cNvPr>
              <p:cNvSpPr/>
              <p:nvPr/>
            </p:nvSpPr>
            <p:spPr>
              <a:xfrm>
                <a:off x="7085022" y="1988331"/>
                <a:ext cx="13397" cy="22308"/>
              </a:xfrm>
              <a:custGeom>
                <a:avLst/>
                <a:gdLst>
                  <a:gd name="connsiteX0" fmla="*/ 10945 w 13397"/>
                  <a:gd name="connsiteY0" fmla="*/ 0 h 22308"/>
                  <a:gd name="connsiteX1" fmla="*/ 11304 w 13397"/>
                  <a:gd name="connsiteY1" fmla="*/ 897 h 22308"/>
                  <a:gd name="connsiteX2" fmla="*/ 13397 w 13397"/>
                  <a:gd name="connsiteY2" fmla="*/ 7476 h 22308"/>
                  <a:gd name="connsiteX3" fmla="*/ 11723 w 13397"/>
                  <a:gd name="connsiteY3" fmla="*/ 12619 h 22308"/>
                  <a:gd name="connsiteX4" fmla="*/ 3589 w 13397"/>
                  <a:gd name="connsiteY4" fmla="*/ 22308 h 22308"/>
                  <a:gd name="connsiteX5" fmla="*/ 3469 w 13397"/>
                  <a:gd name="connsiteY5" fmla="*/ 22308 h 22308"/>
                  <a:gd name="connsiteX6" fmla="*/ 1854 w 13397"/>
                  <a:gd name="connsiteY6" fmla="*/ 22129 h 22308"/>
                  <a:gd name="connsiteX7" fmla="*/ 778 w 13397"/>
                  <a:gd name="connsiteY7" fmla="*/ 22009 h 22308"/>
                  <a:gd name="connsiteX8" fmla="*/ 0 w 13397"/>
                  <a:gd name="connsiteY8" fmla="*/ 21531 h 2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97" h="22308">
                    <a:moveTo>
                      <a:pt x="10945" y="0"/>
                    </a:moveTo>
                    <a:lnTo>
                      <a:pt x="11304" y="897"/>
                    </a:lnTo>
                    <a:lnTo>
                      <a:pt x="13397" y="7476"/>
                    </a:lnTo>
                    <a:lnTo>
                      <a:pt x="11723" y="12619"/>
                    </a:lnTo>
                    <a:lnTo>
                      <a:pt x="3589" y="22308"/>
                    </a:lnTo>
                    <a:lnTo>
                      <a:pt x="3469" y="22308"/>
                    </a:lnTo>
                    <a:lnTo>
                      <a:pt x="1854" y="22129"/>
                    </a:lnTo>
                    <a:lnTo>
                      <a:pt x="778" y="22009"/>
                    </a:lnTo>
                    <a:lnTo>
                      <a:pt x="0" y="21531"/>
                    </a:lnTo>
                  </a:path>
                </a:pathLst>
              </a:custGeom>
              <a:noFill/>
              <a:ln w="6350" cap="rnd">
                <a:solidFill>
                  <a:schemeClr val="bg1">
                    <a:alpha val="80000"/>
                  </a:schemeClr>
                </a:solidFill>
                <a:prstDash val="solid"/>
                <a:round/>
              </a:ln>
            </p:spPr>
            <p:txBody>
              <a:bodyPr rtlCol="0" anchor="ctr"/>
              <a:lstStyle/>
              <a:p>
                <a:endParaRPr lang="en-GB"/>
              </a:p>
            </p:txBody>
          </p:sp>
          <p:sp>
            <p:nvSpPr>
              <p:cNvPr id="6771" name="Vrije vorm: vorm 6770">
                <a:extLst>
                  <a:ext uri="{FF2B5EF4-FFF2-40B4-BE49-F238E27FC236}">
                    <a16:creationId xmlns:a16="http://schemas.microsoft.com/office/drawing/2014/main" id="{72A6388B-CEEF-4B9A-9E6C-7E865426B501}"/>
                  </a:ext>
                </a:extLst>
              </p:cNvPr>
              <p:cNvSpPr/>
              <p:nvPr/>
            </p:nvSpPr>
            <p:spPr>
              <a:xfrm>
                <a:off x="6618705" y="1915067"/>
                <a:ext cx="6519" cy="3468"/>
              </a:xfrm>
              <a:custGeom>
                <a:avLst/>
                <a:gdLst>
                  <a:gd name="connsiteX0" fmla="*/ 6519 w 6519"/>
                  <a:gd name="connsiteY0" fmla="*/ 0 h 3468"/>
                  <a:gd name="connsiteX1" fmla="*/ 0 w 6519"/>
                  <a:gd name="connsiteY1" fmla="*/ 3469 h 3468"/>
                </a:gdLst>
                <a:ahLst/>
                <a:cxnLst>
                  <a:cxn ang="0">
                    <a:pos x="connsiteX0" y="connsiteY0"/>
                  </a:cxn>
                  <a:cxn ang="0">
                    <a:pos x="connsiteX1" y="connsiteY1"/>
                  </a:cxn>
                </a:cxnLst>
                <a:rect l="l" t="t" r="r" b="b"/>
                <a:pathLst>
                  <a:path w="6519" h="3468">
                    <a:moveTo>
                      <a:pt x="6519" y="0"/>
                    </a:moveTo>
                    <a:lnTo>
                      <a:pt x="0" y="3469"/>
                    </a:lnTo>
                  </a:path>
                </a:pathLst>
              </a:custGeom>
              <a:noFill/>
              <a:ln w="6350" cap="rnd">
                <a:solidFill>
                  <a:schemeClr val="bg1">
                    <a:alpha val="80000"/>
                  </a:schemeClr>
                </a:solidFill>
                <a:prstDash val="solid"/>
                <a:round/>
              </a:ln>
            </p:spPr>
            <p:txBody>
              <a:bodyPr rtlCol="0" anchor="ctr"/>
              <a:lstStyle/>
              <a:p>
                <a:endParaRPr lang="en-GB"/>
              </a:p>
            </p:txBody>
          </p:sp>
          <p:sp>
            <p:nvSpPr>
              <p:cNvPr id="6772" name="Vrije vorm: vorm 6771">
                <a:extLst>
                  <a:ext uri="{FF2B5EF4-FFF2-40B4-BE49-F238E27FC236}">
                    <a16:creationId xmlns:a16="http://schemas.microsoft.com/office/drawing/2014/main" id="{BA2753AB-E67D-405E-8044-E433ED9A7ACE}"/>
                  </a:ext>
                </a:extLst>
              </p:cNvPr>
              <p:cNvSpPr/>
              <p:nvPr/>
            </p:nvSpPr>
            <p:spPr>
              <a:xfrm>
                <a:off x="7092019" y="1993355"/>
                <a:ext cx="1495" cy="5023"/>
              </a:xfrm>
              <a:custGeom>
                <a:avLst/>
                <a:gdLst>
                  <a:gd name="connsiteX0" fmla="*/ 0 w 1495"/>
                  <a:gd name="connsiteY0" fmla="*/ 5024 h 5023"/>
                  <a:gd name="connsiteX1" fmla="*/ 1495 w 1495"/>
                  <a:gd name="connsiteY1" fmla="*/ 1734 h 5023"/>
                  <a:gd name="connsiteX2" fmla="*/ 1077 w 1495"/>
                  <a:gd name="connsiteY2" fmla="*/ 0 h 5023"/>
                </a:gdLst>
                <a:ahLst/>
                <a:cxnLst>
                  <a:cxn ang="0">
                    <a:pos x="connsiteX0" y="connsiteY0"/>
                  </a:cxn>
                  <a:cxn ang="0">
                    <a:pos x="connsiteX1" y="connsiteY1"/>
                  </a:cxn>
                  <a:cxn ang="0">
                    <a:pos x="connsiteX2" y="connsiteY2"/>
                  </a:cxn>
                </a:cxnLst>
                <a:rect l="l" t="t" r="r" b="b"/>
                <a:pathLst>
                  <a:path w="1495" h="5023">
                    <a:moveTo>
                      <a:pt x="0" y="5024"/>
                    </a:moveTo>
                    <a:lnTo>
                      <a:pt x="1495" y="1734"/>
                    </a:lnTo>
                    <a:lnTo>
                      <a:pt x="1077" y="0"/>
                    </a:lnTo>
                  </a:path>
                </a:pathLst>
              </a:custGeom>
              <a:noFill/>
              <a:ln w="6350" cap="rnd">
                <a:solidFill>
                  <a:schemeClr val="bg1">
                    <a:alpha val="80000"/>
                  </a:schemeClr>
                </a:solidFill>
                <a:prstDash val="solid"/>
                <a:round/>
              </a:ln>
            </p:spPr>
            <p:txBody>
              <a:bodyPr rtlCol="0" anchor="ctr"/>
              <a:lstStyle/>
              <a:p>
                <a:endParaRPr lang="en-GB"/>
              </a:p>
            </p:txBody>
          </p:sp>
          <p:sp>
            <p:nvSpPr>
              <p:cNvPr id="6773" name="Vrije vorm: vorm 6772">
                <a:extLst>
                  <a:ext uri="{FF2B5EF4-FFF2-40B4-BE49-F238E27FC236}">
                    <a16:creationId xmlns:a16="http://schemas.microsoft.com/office/drawing/2014/main" id="{986D20CD-D340-4AC0-92EB-02120DE2A895}"/>
                  </a:ext>
                </a:extLst>
              </p:cNvPr>
              <p:cNvSpPr/>
              <p:nvPr/>
            </p:nvSpPr>
            <p:spPr>
              <a:xfrm>
                <a:off x="7036339" y="2086056"/>
                <a:ext cx="9269" cy="13516"/>
              </a:xfrm>
              <a:custGeom>
                <a:avLst/>
                <a:gdLst>
                  <a:gd name="connsiteX0" fmla="*/ 9031 w 9269"/>
                  <a:gd name="connsiteY0" fmla="*/ 0 h 13516"/>
                  <a:gd name="connsiteX1" fmla="*/ 9270 w 9269"/>
                  <a:gd name="connsiteY1" fmla="*/ 239 h 13516"/>
                  <a:gd name="connsiteX2" fmla="*/ 7236 w 9269"/>
                  <a:gd name="connsiteY2" fmla="*/ 8732 h 13516"/>
                  <a:gd name="connsiteX3" fmla="*/ 2930 w 9269"/>
                  <a:gd name="connsiteY3" fmla="*/ 13516 h 13516"/>
                  <a:gd name="connsiteX4" fmla="*/ 0 w 9269"/>
                  <a:gd name="connsiteY4" fmla="*/ 10167 h 1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9" h="13516">
                    <a:moveTo>
                      <a:pt x="9031" y="0"/>
                    </a:moveTo>
                    <a:lnTo>
                      <a:pt x="9270" y="239"/>
                    </a:lnTo>
                    <a:lnTo>
                      <a:pt x="7236" y="8732"/>
                    </a:lnTo>
                    <a:lnTo>
                      <a:pt x="2930" y="13516"/>
                    </a:lnTo>
                    <a:lnTo>
                      <a:pt x="0" y="10167"/>
                    </a:lnTo>
                  </a:path>
                </a:pathLst>
              </a:custGeom>
              <a:noFill/>
              <a:ln w="6350" cap="rnd">
                <a:solidFill>
                  <a:schemeClr val="bg1">
                    <a:alpha val="80000"/>
                  </a:schemeClr>
                </a:solidFill>
                <a:prstDash val="solid"/>
                <a:round/>
              </a:ln>
            </p:spPr>
            <p:txBody>
              <a:bodyPr rtlCol="0" anchor="ctr"/>
              <a:lstStyle/>
              <a:p>
                <a:endParaRPr lang="en-GB"/>
              </a:p>
            </p:txBody>
          </p:sp>
          <p:sp>
            <p:nvSpPr>
              <p:cNvPr id="6774" name="Vrije vorm: vorm 6773">
                <a:extLst>
                  <a:ext uri="{FF2B5EF4-FFF2-40B4-BE49-F238E27FC236}">
                    <a16:creationId xmlns:a16="http://schemas.microsoft.com/office/drawing/2014/main" id="{96A93ED9-2641-4071-AF1C-BE910A854948}"/>
                  </a:ext>
                </a:extLst>
              </p:cNvPr>
              <p:cNvSpPr/>
              <p:nvPr/>
            </p:nvSpPr>
            <p:spPr>
              <a:xfrm>
                <a:off x="7015167" y="1966083"/>
                <a:ext cx="14234" cy="1614"/>
              </a:xfrm>
              <a:custGeom>
                <a:avLst/>
                <a:gdLst>
                  <a:gd name="connsiteX0" fmla="*/ 14234 w 14234"/>
                  <a:gd name="connsiteY0" fmla="*/ 0 h 1614"/>
                  <a:gd name="connsiteX1" fmla="*/ 6399 w 14234"/>
                  <a:gd name="connsiteY1" fmla="*/ 299 h 1614"/>
                  <a:gd name="connsiteX2" fmla="*/ 1615 w 14234"/>
                  <a:gd name="connsiteY2" fmla="*/ 1316 h 1614"/>
                  <a:gd name="connsiteX3" fmla="*/ 180 w 14234"/>
                  <a:gd name="connsiteY3" fmla="*/ 1615 h 1614"/>
                  <a:gd name="connsiteX4" fmla="*/ 120 w 14234"/>
                  <a:gd name="connsiteY4" fmla="*/ 1615 h 1614"/>
                  <a:gd name="connsiteX5" fmla="*/ 0 w 14234"/>
                  <a:gd name="connsiteY5" fmla="*/ 1615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4" h="1614">
                    <a:moveTo>
                      <a:pt x="14234" y="0"/>
                    </a:moveTo>
                    <a:lnTo>
                      <a:pt x="6399" y="299"/>
                    </a:lnTo>
                    <a:lnTo>
                      <a:pt x="1615" y="1316"/>
                    </a:lnTo>
                    <a:lnTo>
                      <a:pt x="180" y="1615"/>
                    </a:lnTo>
                    <a:lnTo>
                      <a:pt x="120" y="1615"/>
                    </a:lnTo>
                    <a:lnTo>
                      <a:pt x="0" y="1615"/>
                    </a:lnTo>
                  </a:path>
                </a:pathLst>
              </a:custGeom>
              <a:noFill/>
              <a:ln w="6350" cap="rnd">
                <a:solidFill>
                  <a:schemeClr val="bg1">
                    <a:alpha val="80000"/>
                  </a:schemeClr>
                </a:solidFill>
                <a:prstDash val="solid"/>
                <a:round/>
              </a:ln>
            </p:spPr>
            <p:txBody>
              <a:bodyPr rtlCol="0" anchor="ctr"/>
              <a:lstStyle/>
              <a:p>
                <a:endParaRPr lang="en-GB"/>
              </a:p>
            </p:txBody>
          </p:sp>
          <p:sp>
            <p:nvSpPr>
              <p:cNvPr id="6775" name="Vrije vorm: vorm 6774">
                <a:extLst>
                  <a:ext uri="{FF2B5EF4-FFF2-40B4-BE49-F238E27FC236}">
                    <a16:creationId xmlns:a16="http://schemas.microsoft.com/office/drawing/2014/main" id="{31D95906-7393-4520-9794-364DAED78A7F}"/>
                  </a:ext>
                </a:extLst>
              </p:cNvPr>
              <p:cNvSpPr/>
              <p:nvPr/>
            </p:nvSpPr>
            <p:spPr>
              <a:xfrm>
                <a:off x="6999079" y="2109261"/>
                <a:ext cx="16925" cy="19317"/>
              </a:xfrm>
              <a:custGeom>
                <a:avLst/>
                <a:gdLst>
                  <a:gd name="connsiteX0" fmla="*/ 16148 w 16925"/>
                  <a:gd name="connsiteY0" fmla="*/ 0 h 19317"/>
                  <a:gd name="connsiteX1" fmla="*/ 16926 w 16925"/>
                  <a:gd name="connsiteY1" fmla="*/ 478 h 19317"/>
                  <a:gd name="connsiteX2" fmla="*/ 16806 w 16925"/>
                  <a:gd name="connsiteY2" fmla="*/ 3768 h 19317"/>
                  <a:gd name="connsiteX3" fmla="*/ 16746 w 16925"/>
                  <a:gd name="connsiteY3" fmla="*/ 4904 h 19317"/>
                  <a:gd name="connsiteX4" fmla="*/ 16746 w 16925"/>
                  <a:gd name="connsiteY4" fmla="*/ 5203 h 19317"/>
                  <a:gd name="connsiteX5" fmla="*/ 9928 w 16925"/>
                  <a:gd name="connsiteY5" fmla="*/ 17404 h 19317"/>
                  <a:gd name="connsiteX6" fmla="*/ 6340 w 16925"/>
                  <a:gd name="connsiteY6" fmla="*/ 19318 h 19317"/>
                  <a:gd name="connsiteX7" fmla="*/ 1436 w 16925"/>
                  <a:gd name="connsiteY7" fmla="*/ 18062 h 19317"/>
                  <a:gd name="connsiteX8" fmla="*/ 0 w 16925"/>
                  <a:gd name="connsiteY8" fmla="*/ 17225 h 1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25" h="19317">
                    <a:moveTo>
                      <a:pt x="16148" y="0"/>
                    </a:moveTo>
                    <a:lnTo>
                      <a:pt x="16926" y="478"/>
                    </a:lnTo>
                    <a:lnTo>
                      <a:pt x="16806" y="3768"/>
                    </a:lnTo>
                    <a:lnTo>
                      <a:pt x="16746" y="4904"/>
                    </a:lnTo>
                    <a:lnTo>
                      <a:pt x="16746" y="5203"/>
                    </a:lnTo>
                    <a:lnTo>
                      <a:pt x="9928" y="17404"/>
                    </a:lnTo>
                    <a:lnTo>
                      <a:pt x="6340" y="19318"/>
                    </a:lnTo>
                    <a:lnTo>
                      <a:pt x="1436" y="18062"/>
                    </a:lnTo>
                    <a:lnTo>
                      <a:pt x="0" y="17225"/>
                    </a:lnTo>
                  </a:path>
                </a:pathLst>
              </a:custGeom>
              <a:noFill/>
              <a:ln w="6350" cap="rnd">
                <a:solidFill>
                  <a:schemeClr val="bg1">
                    <a:alpha val="80000"/>
                  </a:schemeClr>
                </a:solidFill>
                <a:prstDash val="solid"/>
                <a:round/>
              </a:ln>
            </p:spPr>
            <p:txBody>
              <a:bodyPr rtlCol="0" anchor="ctr"/>
              <a:lstStyle/>
              <a:p>
                <a:endParaRPr lang="en-GB"/>
              </a:p>
            </p:txBody>
          </p:sp>
          <p:sp>
            <p:nvSpPr>
              <p:cNvPr id="6776" name="Vrije vorm: vorm 6775">
                <a:extLst>
                  <a:ext uri="{FF2B5EF4-FFF2-40B4-BE49-F238E27FC236}">
                    <a16:creationId xmlns:a16="http://schemas.microsoft.com/office/drawing/2014/main" id="{7BB58635-AE32-4B61-A56D-D8A2564173D8}"/>
                  </a:ext>
                </a:extLst>
              </p:cNvPr>
              <p:cNvSpPr/>
              <p:nvPr/>
            </p:nvSpPr>
            <p:spPr>
              <a:xfrm>
                <a:off x="6939451" y="2081630"/>
                <a:ext cx="59209" cy="25657"/>
              </a:xfrm>
              <a:custGeom>
                <a:avLst/>
                <a:gdLst>
                  <a:gd name="connsiteX0" fmla="*/ 58432 w 59209"/>
                  <a:gd name="connsiteY0" fmla="*/ 0 h 25657"/>
                  <a:gd name="connsiteX1" fmla="*/ 59209 w 59209"/>
                  <a:gd name="connsiteY1" fmla="*/ 538 h 25657"/>
                  <a:gd name="connsiteX2" fmla="*/ 59090 w 59209"/>
                  <a:gd name="connsiteY2" fmla="*/ 1017 h 25657"/>
                  <a:gd name="connsiteX3" fmla="*/ 58372 w 59209"/>
                  <a:gd name="connsiteY3" fmla="*/ 3529 h 25657"/>
                  <a:gd name="connsiteX4" fmla="*/ 54424 w 59209"/>
                  <a:gd name="connsiteY4" fmla="*/ 9330 h 25657"/>
                  <a:gd name="connsiteX5" fmla="*/ 53647 w 59209"/>
                  <a:gd name="connsiteY5" fmla="*/ 10466 h 25657"/>
                  <a:gd name="connsiteX6" fmla="*/ 51434 w 59209"/>
                  <a:gd name="connsiteY6" fmla="*/ 11842 h 25657"/>
                  <a:gd name="connsiteX7" fmla="*/ 44377 w 59209"/>
                  <a:gd name="connsiteY7" fmla="*/ 16268 h 25657"/>
                  <a:gd name="connsiteX8" fmla="*/ 36901 w 59209"/>
                  <a:gd name="connsiteY8" fmla="*/ 17284 h 25657"/>
                  <a:gd name="connsiteX9" fmla="*/ 31758 w 59209"/>
                  <a:gd name="connsiteY9" fmla="*/ 18122 h 25657"/>
                  <a:gd name="connsiteX10" fmla="*/ 27033 w 59209"/>
                  <a:gd name="connsiteY10" fmla="*/ 18899 h 25657"/>
                  <a:gd name="connsiteX11" fmla="*/ 20694 w 59209"/>
                  <a:gd name="connsiteY11" fmla="*/ 20574 h 25657"/>
                  <a:gd name="connsiteX12" fmla="*/ 19318 w 59209"/>
                  <a:gd name="connsiteY12" fmla="*/ 20933 h 25657"/>
                  <a:gd name="connsiteX13" fmla="*/ 14772 w 59209"/>
                  <a:gd name="connsiteY13" fmla="*/ 22248 h 25657"/>
                  <a:gd name="connsiteX14" fmla="*/ 9749 w 59209"/>
                  <a:gd name="connsiteY14" fmla="*/ 23684 h 25657"/>
                  <a:gd name="connsiteX15" fmla="*/ 9569 w 59209"/>
                  <a:gd name="connsiteY15" fmla="*/ 23743 h 25657"/>
                  <a:gd name="connsiteX16" fmla="*/ 6519 w 59209"/>
                  <a:gd name="connsiteY16" fmla="*/ 24820 h 25657"/>
                  <a:gd name="connsiteX17" fmla="*/ 5263 w 59209"/>
                  <a:gd name="connsiteY17" fmla="*/ 25239 h 25657"/>
                  <a:gd name="connsiteX18" fmla="*/ 4067 w 59209"/>
                  <a:gd name="connsiteY18" fmla="*/ 25657 h 25657"/>
                  <a:gd name="connsiteX19" fmla="*/ 1675 w 59209"/>
                  <a:gd name="connsiteY19" fmla="*/ 23564 h 25657"/>
                  <a:gd name="connsiteX20" fmla="*/ 359 w 59209"/>
                  <a:gd name="connsiteY20" fmla="*/ 21112 h 25657"/>
                  <a:gd name="connsiteX21" fmla="*/ 0 w 59209"/>
                  <a:gd name="connsiteY21" fmla="*/ 19557 h 25657"/>
                  <a:gd name="connsiteX22" fmla="*/ 239 w 59209"/>
                  <a:gd name="connsiteY22" fmla="*/ 19138 h 25657"/>
                  <a:gd name="connsiteX23" fmla="*/ 299 w 59209"/>
                  <a:gd name="connsiteY23" fmla="*/ 19019 h 25657"/>
                  <a:gd name="connsiteX24" fmla="*/ 1197 w 59209"/>
                  <a:gd name="connsiteY24" fmla="*/ 17344 h 25657"/>
                  <a:gd name="connsiteX25" fmla="*/ 2273 w 59209"/>
                  <a:gd name="connsiteY25" fmla="*/ 15370 h 2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209" h="25657">
                    <a:moveTo>
                      <a:pt x="58432" y="0"/>
                    </a:moveTo>
                    <a:lnTo>
                      <a:pt x="59209" y="538"/>
                    </a:lnTo>
                    <a:lnTo>
                      <a:pt x="59090" y="1017"/>
                    </a:lnTo>
                    <a:lnTo>
                      <a:pt x="58372" y="3529"/>
                    </a:lnTo>
                    <a:lnTo>
                      <a:pt x="54424" y="9330"/>
                    </a:lnTo>
                    <a:lnTo>
                      <a:pt x="53647" y="10466"/>
                    </a:lnTo>
                    <a:lnTo>
                      <a:pt x="51434" y="11842"/>
                    </a:lnTo>
                    <a:lnTo>
                      <a:pt x="44377" y="16268"/>
                    </a:lnTo>
                    <a:lnTo>
                      <a:pt x="36901" y="17284"/>
                    </a:lnTo>
                    <a:lnTo>
                      <a:pt x="31758" y="18122"/>
                    </a:lnTo>
                    <a:lnTo>
                      <a:pt x="27033" y="18899"/>
                    </a:lnTo>
                    <a:lnTo>
                      <a:pt x="20694" y="20574"/>
                    </a:lnTo>
                    <a:lnTo>
                      <a:pt x="19318" y="20933"/>
                    </a:lnTo>
                    <a:lnTo>
                      <a:pt x="14772" y="22248"/>
                    </a:lnTo>
                    <a:lnTo>
                      <a:pt x="9749" y="23684"/>
                    </a:lnTo>
                    <a:lnTo>
                      <a:pt x="9569" y="23743"/>
                    </a:lnTo>
                    <a:lnTo>
                      <a:pt x="6519" y="24820"/>
                    </a:lnTo>
                    <a:lnTo>
                      <a:pt x="5263" y="25239"/>
                    </a:lnTo>
                    <a:lnTo>
                      <a:pt x="4067" y="25657"/>
                    </a:lnTo>
                    <a:lnTo>
                      <a:pt x="1675" y="23564"/>
                    </a:lnTo>
                    <a:lnTo>
                      <a:pt x="359" y="21112"/>
                    </a:lnTo>
                    <a:lnTo>
                      <a:pt x="0" y="19557"/>
                    </a:lnTo>
                    <a:lnTo>
                      <a:pt x="239" y="19138"/>
                    </a:lnTo>
                    <a:lnTo>
                      <a:pt x="299" y="19019"/>
                    </a:lnTo>
                    <a:lnTo>
                      <a:pt x="1197" y="17344"/>
                    </a:lnTo>
                    <a:lnTo>
                      <a:pt x="2273" y="15370"/>
                    </a:lnTo>
                  </a:path>
                </a:pathLst>
              </a:custGeom>
              <a:noFill/>
              <a:ln w="6350" cap="rnd">
                <a:solidFill>
                  <a:schemeClr val="bg1">
                    <a:alpha val="80000"/>
                  </a:schemeClr>
                </a:solidFill>
                <a:prstDash val="solid"/>
                <a:round/>
              </a:ln>
            </p:spPr>
            <p:txBody>
              <a:bodyPr rtlCol="0" anchor="ctr"/>
              <a:lstStyle/>
              <a:p>
                <a:endParaRPr lang="en-GB"/>
              </a:p>
            </p:txBody>
          </p:sp>
          <p:sp>
            <p:nvSpPr>
              <p:cNvPr id="6777" name="Vrije vorm: vorm 6776">
                <a:extLst>
                  <a:ext uri="{FF2B5EF4-FFF2-40B4-BE49-F238E27FC236}">
                    <a16:creationId xmlns:a16="http://schemas.microsoft.com/office/drawing/2014/main" id="{D94A4BB6-04BF-4E37-AC0D-C5444B9C70E0}"/>
                  </a:ext>
                </a:extLst>
              </p:cNvPr>
              <p:cNvSpPr/>
              <p:nvPr/>
            </p:nvSpPr>
            <p:spPr>
              <a:xfrm>
                <a:off x="6768343" y="1987015"/>
                <a:ext cx="3887" cy="2392"/>
              </a:xfrm>
              <a:custGeom>
                <a:avLst/>
                <a:gdLst>
                  <a:gd name="connsiteX0" fmla="*/ 3888 w 3887"/>
                  <a:gd name="connsiteY0" fmla="*/ 0 h 2392"/>
                  <a:gd name="connsiteX1" fmla="*/ 2392 w 3887"/>
                  <a:gd name="connsiteY1" fmla="*/ 1017 h 2392"/>
                  <a:gd name="connsiteX2" fmla="*/ 1615 w 3887"/>
                  <a:gd name="connsiteY2" fmla="*/ 1555 h 2392"/>
                  <a:gd name="connsiteX3" fmla="*/ 1375 w 3887"/>
                  <a:gd name="connsiteY3" fmla="*/ 1734 h 2392"/>
                  <a:gd name="connsiteX4" fmla="*/ 1136 w 3887"/>
                  <a:gd name="connsiteY4" fmla="*/ 1914 h 2392"/>
                  <a:gd name="connsiteX5" fmla="*/ 419 w 3887"/>
                  <a:gd name="connsiteY5" fmla="*/ 2392 h 2392"/>
                  <a:gd name="connsiteX6" fmla="*/ 0 w 3887"/>
                  <a:gd name="connsiteY6" fmla="*/ 2213 h 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7" h="2392">
                    <a:moveTo>
                      <a:pt x="3888" y="0"/>
                    </a:moveTo>
                    <a:lnTo>
                      <a:pt x="2392" y="1017"/>
                    </a:lnTo>
                    <a:lnTo>
                      <a:pt x="1615" y="1555"/>
                    </a:lnTo>
                    <a:lnTo>
                      <a:pt x="1375" y="1734"/>
                    </a:lnTo>
                    <a:lnTo>
                      <a:pt x="1136" y="1914"/>
                    </a:lnTo>
                    <a:lnTo>
                      <a:pt x="419" y="2392"/>
                    </a:lnTo>
                    <a:lnTo>
                      <a:pt x="0" y="2213"/>
                    </a:lnTo>
                  </a:path>
                </a:pathLst>
              </a:custGeom>
              <a:noFill/>
              <a:ln w="6350" cap="rnd">
                <a:solidFill>
                  <a:schemeClr val="bg1">
                    <a:alpha val="80000"/>
                  </a:schemeClr>
                </a:solidFill>
                <a:prstDash val="solid"/>
                <a:round/>
              </a:ln>
            </p:spPr>
            <p:txBody>
              <a:bodyPr rtlCol="0" anchor="ctr"/>
              <a:lstStyle/>
              <a:p>
                <a:endParaRPr lang="en-GB"/>
              </a:p>
            </p:txBody>
          </p:sp>
          <p:sp>
            <p:nvSpPr>
              <p:cNvPr id="6778" name="Vrije vorm: vorm 6777">
                <a:extLst>
                  <a:ext uri="{FF2B5EF4-FFF2-40B4-BE49-F238E27FC236}">
                    <a16:creationId xmlns:a16="http://schemas.microsoft.com/office/drawing/2014/main" id="{DDCB80B8-D4A3-4C4E-938B-A148B0FB2B45}"/>
                  </a:ext>
                </a:extLst>
              </p:cNvPr>
              <p:cNvSpPr/>
              <p:nvPr/>
            </p:nvSpPr>
            <p:spPr>
              <a:xfrm>
                <a:off x="6942143" y="2075051"/>
                <a:ext cx="6040" cy="10825"/>
              </a:xfrm>
              <a:custGeom>
                <a:avLst/>
                <a:gdLst>
                  <a:gd name="connsiteX0" fmla="*/ 6041 w 6040"/>
                  <a:gd name="connsiteY0" fmla="*/ 9330 h 10825"/>
                  <a:gd name="connsiteX1" fmla="*/ 4964 w 6040"/>
                  <a:gd name="connsiteY1" fmla="*/ 9808 h 10825"/>
                  <a:gd name="connsiteX2" fmla="*/ 2871 w 6040"/>
                  <a:gd name="connsiteY2" fmla="*/ 10825 h 10825"/>
                  <a:gd name="connsiteX3" fmla="*/ 718 w 6040"/>
                  <a:gd name="connsiteY3" fmla="*/ 8433 h 10825"/>
                  <a:gd name="connsiteX4" fmla="*/ 0 w 6040"/>
                  <a:gd name="connsiteY4" fmla="*/ 5323 h 10825"/>
                  <a:gd name="connsiteX5" fmla="*/ 179 w 6040"/>
                  <a:gd name="connsiteY5" fmla="*/ 3289 h 10825"/>
                  <a:gd name="connsiteX6" fmla="*/ 2392 w 6040"/>
                  <a:gd name="connsiteY6" fmla="*/ 0 h 1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0" h="10825">
                    <a:moveTo>
                      <a:pt x="6041" y="9330"/>
                    </a:moveTo>
                    <a:lnTo>
                      <a:pt x="4964" y="9808"/>
                    </a:lnTo>
                    <a:lnTo>
                      <a:pt x="2871" y="10825"/>
                    </a:lnTo>
                    <a:lnTo>
                      <a:pt x="718" y="8433"/>
                    </a:lnTo>
                    <a:lnTo>
                      <a:pt x="0" y="5323"/>
                    </a:lnTo>
                    <a:lnTo>
                      <a:pt x="179" y="3289"/>
                    </a:lnTo>
                    <a:lnTo>
                      <a:pt x="2392" y="0"/>
                    </a:lnTo>
                  </a:path>
                </a:pathLst>
              </a:custGeom>
              <a:noFill/>
              <a:ln w="6350" cap="rnd">
                <a:solidFill>
                  <a:schemeClr val="bg1">
                    <a:alpha val="80000"/>
                  </a:schemeClr>
                </a:solidFill>
                <a:prstDash val="solid"/>
                <a:round/>
              </a:ln>
            </p:spPr>
            <p:txBody>
              <a:bodyPr rtlCol="0" anchor="ctr"/>
              <a:lstStyle/>
              <a:p>
                <a:endParaRPr lang="en-GB"/>
              </a:p>
            </p:txBody>
          </p:sp>
          <p:sp>
            <p:nvSpPr>
              <p:cNvPr id="6779" name="Vrije vorm: vorm 6778">
                <a:extLst>
                  <a:ext uri="{FF2B5EF4-FFF2-40B4-BE49-F238E27FC236}">
                    <a16:creationId xmlns:a16="http://schemas.microsoft.com/office/drawing/2014/main" id="{7DBA6D06-D86E-44E6-B810-D5ED7301AFC0}"/>
                  </a:ext>
                </a:extLst>
              </p:cNvPr>
              <p:cNvSpPr/>
              <p:nvPr/>
            </p:nvSpPr>
            <p:spPr>
              <a:xfrm>
                <a:off x="6999438" y="2046105"/>
                <a:ext cx="10107" cy="717"/>
              </a:xfrm>
              <a:custGeom>
                <a:avLst/>
                <a:gdLst>
                  <a:gd name="connsiteX0" fmla="*/ 10107 w 10107"/>
                  <a:gd name="connsiteY0" fmla="*/ 718 h 717"/>
                  <a:gd name="connsiteX1" fmla="*/ 6758 w 10107"/>
                  <a:gd name="connsiteY1" fmla="*/ 598 h 717"/>
                  <a:gd name="connsiteX2" fmla="*/ 5083 w 10107"/>
                  <a:gd name="connsiteY2" fmla="*/ 538 h 717"/>
                  <a:gd name="connsiteX3" fmla="*/ 0 w 10107"/>
                  <a:gd name="connsiteY3" fmla="*/ 0 h 717"/>
                </a:gdLst>
                <a:ahLst/>
                <a:cxnLst>
                  <a:cxn ang="0">
                    <a:pos x="connsiteX0" y="connsiteY0"/>
                  </a:cxn>
                  <a:cxn ang="0">
                    <a:pos x="connsiteX1" y="connsiteY1"/>
                  </a:cxn>
                  <a:cxn ang="0">
                    <a:pos x="connsiteX2" y="connsiteY2"/>
                  </a:cxn>
                  <a:cxn ang="0">
                    <a:pos x="connsiteX3" y="connsiteY3"/>
                  </a:cxn>
                </a:cxnLst>
                <a:rect l="l" t="t" r="r" b="b"/>
                <a:pathLst>
                  <a:path w="10107" h="717">
                    <a:moveTo>
                      <a:pt x="10107" y="718"/>
                    </a:moveTo>
                    <a:lnTo>
                      <a:pt x="6758" y="598"/>
                    </a:lnTo>
                    <a:lnTo>
                      <a:pt x="5083" y="53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80" name="Vrije vorm: vorm 6779">
                <a:extLst>
                  <a:ext uri="{FF2B5EF4-FFF2-40B4-BE49-F238E27FC236}">
                    <a16:creationId xmlns:a16="http://schemas.microsoft.com/office/drawing/2014/main" id="{8690DCB6-5693-44A1-B938-C22D0E67401D}"/>
                  </a:ext>
                </a:extLst>
              </p:cNvPr>
              <p:cNvSpPr/>
              <p:nvPr/>
            </p:nvSpPr>
            <p:spPr>
              <a:xfrm>
                <a:off x="7034664" y="1993474"/>
                <a:ext cx="6279" cy="6698"/>
              </a:xfrm>
              <a:custGeom>
                <a:avLst/>
                <a:gdLst>
                  <a:gd name="connsiteX0" fmla="*/ 6279 w 6279"/>
                  <a:gd name="connsiteY0" fmla="*/ 6698 h 6698"/>
                  <a:gd name="connsiteX1" fmla="*/ 4066 w 6279"/>
                  <a:gd name="connsiteY1" fmla="*/ 2751 h 6698"/>
                  <a:gd name="connsiteX2" fmla="*/ 3888 w 6279"/>
                  <a:gd name="connsiteY2" fmla="*/ 2392 h 6698"/>
                  <a:gd name="connsiteX3" fmla="*/ 0 w 6279"/>
                  <a:gd name="connsiteY3" fmla="*/ 0 h 6698"/>
                </a:gdLst>
                <a:ahLst/>
                <a:cxnLst>
                  <a:cxn ang="0">
                    <a:pos x="connsiteX0" y="connsiteY0"/>
                  </a:cxn>
                  <a:cxn ang="0">
                    <a:pos x="connsiteX1" y="connsiteY1"/>
                  </a:cxn>
                  <a:cxn ang="0">
                    <a:pos x="connsiteX2" y="connsiteY2"/>
                  </a:cxn>
                  <a:cxn ang="0">
                    <a:pos x="connsiteX3" y="connsiteY3"/>
                  </a:cxn>
                </a:cxnLst>
                <a:rect l="l" t="t" r="r" b="b"/>
                <a:pathLst>
                  <a:path w="6279" h="6698">
                    <a:moveTo>
                      <a:pt x="6279" y="6698"/>
                    </a:moveTo>
                    <a:lnTo>
                      <a:pt x="4066" y="2751"/>
                    </a:lnTo>
                    <a:lnTo>
                      <a:pt x="3888" y="2392"/>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81" name="Vrije vorm: vorm 6780">
                <a:extLst>
                  <a:ext uri="{FF2B5EF4-FFF2-40B4-BE49-F238E27FC236}">
                    <a16:creationId xmlns:a16="http://schemas.microsoft.com/office/drawing/2014/main" id="{73CAE7C1-C269-4A1D-8344-3A27700A2517}"/>
                  </a:ext>
                </a:extLst>
              </p:cNvPr>
              <p:cNvSpPr/>
              <p:nvPr/>
            </p:nvSpPr>
            <p:spPr>
              <a:xfrm>
                <a:off x="7088730" y="1968296"/>
                <a:ext cx="13217" cy="25776"/>
              </a:xfrm>
              <a:custGeom>
                <a:avLst/>
                <a:gdLst>
                  <a:gd name="connsiteX0" fmla="*/ 10167 w 13217"/>
                  <a:gd name="connsiteY0" fmla="*/ 0 h 25776"/>
                  <a:gd name="connsiteX1" fmla="*/ 10645 w 13217"/>
                  <a:gd name="connsiteY1" fmla="*/ 1017 h 25776"/>
                  <a:gd name="connsiteX2" fmla="*/ 12140 w 13217"/>
                  <a:gd name="connsiteY2" fmla="*/ 4964 h 25776"/>
                  <a:gd name="connsiteX3" fmla="*/ 13217 w 13217"/>
                  <a:gd name="connsiteY3" fmla="*/ 7835 h 25776"/>
                  <a:gd name="connsiteX4" fmla="*/ 12798 w 13217"/>
                  <a:gd name="connsiteY4" fmla="*/ 11842 h 25776"/>
                  <a:gd name="connsiteX5" fmla="*/ 7296 w 13217"/>
                  <a:gd name="connsiteY5" fmla="*/ 20035 h 25776"/>
                  <a:gd name="connsiteX6" fmla="*/ 4664 w 13217"/>
                  <a:gd name="connsiteY6" fmla="*/ 23923 h 25776"/>
                  <a:gd name="connsiteX7" fmla="*/ 4605 w 13217"/>
                  <a:gd name="connsiteY7" fmla="*/ 24042 h 25776"/>
                  <a:gd name="connsiteX8" fmla="*/ 4246 w 13217"/>
                  <a:gd name="connsiteY8" fmla="*/ 24222 h 25776"/>
                  <a:gd name="connsiteX9" fmla="*/ 777 w 13217"/>
                  <a:gd name="connsiteY9" fmla="*/ 25777 h 25776"/>
                  <a:gd name="connsiteX10" fmla="*/ 0 w 13217"/>
                  <a:gd name="connsiteY10" fmla="*/ 25298 h 25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17" h="25776">
                    <a:moveTo>
                      <a:pt x="10167" y="0"/>
                    </a:moveTo>
                    <a:lnTo>
                      <a:pt x="10645" y="1017"/>
                    </a:lnTo>
                    <a:lnTo>
                      <a:pt x="12140" y="4964"/>
                    </a:lnTo>
                    <a:lnTo>
                      <a:pt x="13217" y="7835"/>
                    </a:lnTo>
                    <a:lnTo>
                      <a:pt x="12798" y="11842"/>
                    </a:lnTo>
                    <a:lnTo>
                      <a:pt x="7296" y="20035"/>
                    </a:lnTo>
                    <a:lnTo>
                      <a:pt x="4664" y="23923"/>
                    </a:lnTo>
                    <a:lnTo>
                      <a:pt x="4605" y="24042"/>
                    </a:lnTo>
                    <a:lnTo>
                      <a:pt x="4246" y="24222"/>
                    </a:lnTo>
                    <a:lnTo>
                      <a:pt x="777" y="25777"/>
                    </a:lnTo>
                    <a:lnTo>
                      <a:pt x="0" y="25298"/>
                    </a:lnTo>
                  </a:path>
                </a:pathLst>
              </a:custGeom>
              <a:noFill/>
              <a:ln w="6350" cap="rnd">
                <a:solidFill>
                  <a:schemeClr val="bg1">
                    <a:alpha val="80000"/>
                  </a:schemeClr>
                </a:solidFill>
                <a:prstDash val="solid"/>
                <a:round/>
              </a:ln>
            </p:spPr>
            <p:txBody>
              <a:bodyPr rtlCol="0" anchor="ctr"/>
              <a:lstStyle/>
              <a:p>
                <a:endParaRPr lang="en-GB"/>
              </a:p>
            </p:txBody>
          </p:sp>
          <p:sp>
            <p:nvSpPr>
              <p:cNvPr id="6782" name="Vrije vorm: vorm 6781">
                <a:extLst>
                  <a:ext uri="{FF2B5EF4-FFF2-40B4-BE49-F238E27FC236}">
                    <a16:creationId xmlns:a16="http://schemas.microsoft.com/office/drawing/2014/main" id="{85CB4C7D-0A84-4506-B044-176D9F77EE00}"/>
                  </a:ext>
                </a:extLst>
              </p:cNvPr>
              <p:cNvSpPr/>
              <p:nvPr/>
            </p:nvSpPr>
            <p:spPr>
              <a:xfrm>
                <a:off x="6986281" y="1990364"/>
                <a:ext cx="119" cy="3110"/>
              </a:xfrm>
              <a:custGeom>
                <a:avLst/>
                <a:gdLst>
                  <a:gd name="connsiteX0" fmla="*/ 119 w 119"/>
                  <a:gd name="connsiteY0" fmla="*/ 3110 h 3110"/>
                  <a:gd name="connsiteX1" fmla="*/ 59 w 119"/>
                  <a:gd name="connsiteY1" fmla="*/ 1734 h 3110"/>
                  <a:gd name="connsiteX2" fmla="*/ 59 w 119"/>
                  <a:gd name="connsiteY2" fmla="*/ 1615 h 3110"/>
                  <a:gd name="connsiteX3" fmla="*/ 0 w 119"/>
                  <a:gd name="connsiteY3" fmla="*/ 478 h 3110"/>
                  <a:gd name="connsiteX4" fmla="*/ 59 w 119"/>
                  <a:gd name="connsiteY4" fmla="*/ 0 h 3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 h="3110">
                    <a:moveTo>
                      <a:pt x="119" y="3110"/>
                    </a:moveTo>
                    <a:lnTo>
                      <a:pt x="59" y="1734"/>
                    </a:lnTo>
                    <a:lnTo>
                      <a:pt x="59" y="1615"/>
                    </a:lnTo>
                    <a:lnTo>
                      <a:pt x="0" y="478"/>
                    </a:lnTo>
                    <a:lnTo>
                      <a:pt x="59" y="0"/>
                    </a:lnTo>
                  </a:path>
                </a:pathLst>
              </a:custGeom>
              <a:noFill/>
              <a:ln w="6350" cap="rnd">
                <a:solidFill>
                  <a:schemeClr val="bg1">
                    <a:alpha val="80000"/>
                  </a:schemeClr>
                </a:solidFill>
                <a:prstDash val="solid"/>
                <a:round/>
              </a:ln>
            </p:spPr>
            <p:txBody>
              <a:bodyPr rtlCol="0" anchor="ctr"/>
              <a:lstStyle/>
              <a:p>
                <a:endParaRPr lang="en-GB"/>
              </a:p>
            </p:txBody>
          </p:sp>
          <p:sp>
            <p:nvSpPr>
              <p:cNvPr id="6783" name="Vrije vorm: vorm 6782">
                <a:extLst>
                  <a:ext uri="{FF2B5EF4-FFF2-40B4-BE49-F238E27FC236}">
                    <a16:creationId xmlns:a16="http://schemas.microsoft.com/office/drawing/2014/main" id="{0B6EAFE0-F3AC-42FD-93E0-4632B4FB28A1}"/>
                  </a:ext>
                </a:extLst>
              </p:cNvPr>
              <p:cNvSpPr/>
              <p:nvPr/>
            </p:nvSpPr>
            <p:spPr>
              <a:xfrm>
                <a:off x="7008110" y="1955676"/>
                <a:ext cx="13815" cy="6877"/>
              </a:xfrm>
              <a:custGeom>
                <a:avLst/>
                <a:gdLst>
                  <a:gd name="connsiteX0" fmla="*/ 0 w 13815"/>
                  <a:gd name="connsiteY0" fmla="*/ 6878 h 6877"/>
                  <a:gd name="connsiteX1" fmla="*/ 897 w 13815"/>
                  <a:gd name="connsiteY1" fmla="*/ 4306 h 6877"/>
                  <a:gd name="connsiteX2" fmla="*/ 1017 w 13815"/>
                  <a:gd name="connsiteY2" fmla="*/ 3887 h 6877"/>
                  <a:gd name="connsiteX3" fmla="*/ 2213 w 13815"/>
                  <a:gd name="connsiteY3" fmla="*/ 2093 h 6877"/>
                  <a:gd name="connsiteX4" fmla="*/ 13816 w 13815"/>
                  <a:gd name="connsiteY4" fmla="*/ 0 h 6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5" h="6877">
                    <a:moveTo>
                      <a:pt x="0" y="6878"/>
                    </a:moveTo>
                    <a:lnTo>
                      <a:pt x="897" y="4306"/>
                    </a:lnTo>
                    <a:lnTo>
                      <a:pt x="1017" y="3887"/>
                    </a:lnTo>
                    <a:lnTo>
                      <a:pt x="2213" y="2093"/>
                    </a:lnTo>
                    <a:lnTo>
                      <a:pt x="13816" y="0"/>
                    </a:lnTo>
                  </a:path>
                </a:pathLst>
              </a:custGeom>
              <a:noFill/>
              <a:ln w="6350" cap="rnd">
                <a:solidFill>
                  <a:schemeClr val="bg1">
                    <a:alpha val="80000"/>
                  </a:schemeClr>
                </a:solidFill>
                <a:prstDash val="solid"/>
                <a:round/>
              </a:ln>
            </p:spPr>
            <p:txBody>
              <a:bodyPr rtlCol="0" anchor="ctr"/>
              <a:lstStyle/>
              <a:p>
                <a:endParaRPr lang="en-GB"/>
              </a:p>
            </p:txBody>
          </p:sp>
          <p:sp>
            <p:nvSpPr>
              <p:cNvPr id="6784" name="Vrije vorm: vorm 6783">
                <a:extLst>
                  <a:ext uri="{FF2B5EF4-FFF2-40B4-BE49-F238E27FC236}">
                    <a16:creationId xmlns:a16="http://schemas.microsoft.com/office/drawing/2014/main" id="{C47CB301-F342-42DD-85BE-43F1B1BFE9AA}"/>
                  </a:ext>
                </a:extLst>
              </p:cNvPr>
              <p:cNvSpPr/>
              <p:nvPr/>
            </p:nvSpPr>
            <p:spPr>
              <a:xfrm>
                <a:off x="7066841" y="1944373"/>
                <a:ext cx="15789" cy="33791"/>
              </a:xfrm>
              <a:custGeom>
                <a:avLst/>
                <a:gdLst>
                  <a:gd name="connsiteX0" fmla="*/ 0 w 15789"/>
                  <a:gd name="connsiteY0" fmla="*/ 0 h 33791"/>
                  <a:gd name="connsiteX1" fmla="*/ 1316 w 15789"/>
                  <a:gd name="connsiteY1" fmla="*/ 598 h 33791"/>
                  <a:gd name="connsiteX2" fmla="*/ 1734 w 15789"/>
                  <a:gd name="connsiteY2" fmla="*/ 897 h 33791"/>
                  <a:gd name="connsiteX3" fmla="*/ 7775 w 15789"/>
                  <a:gd name="connsiteY3" fmla="*/ 5502 h 33791"/>
                  <a:gd name="connsiteX4" fmla="*/ 9749 w 15789"/>
                  <a:gd name="connsiteY4" fmla="*/ 6997 h 33791"/>
                  <a:gd name="connsiteX5" fmla="*/ 10107 w 15789"/>
                  <a:gd name="connsiteY5" fmla="*/ 7237 h 33791"/>
                  <a:gd name="connsiteX6" fmla="*/ 10107 w 15789"/>
                  <a:gd name="connsiteY6" fmla="*/ 7237 h 33791"/>
                  <a:gd name="connsiteX7" fmla="*/ 14174 w 15789"/>
                  <a:gd name="connsiteY7" fmla="*/ 11603 h 33791"/>
                  <a:gd name="connsiteX8" fmla="*/ 14414 w 15789"/>
                  <a:gd name="connsiteY8" fmla="*/ 11842 h 33791"/>
                  <a:gd name="connsiteX9" fmla="*/ 15072 w 15789"/>
                  <a:gd name="connsiteY9" fmla="*/ 12559 h 33791"/>
                  <a:gd name="connsiteX10" fmla="*/ 15789 w 15789"/>
                  <a:gd name="connsiteY10" fmla="*/ 13337 h 33791"/>
                  <a:gd name="connsiteX11" fmla="*/ 15072 w 15789"/>
                  <a:gd name="connsiteY11" fmla="*/ 15969 h 33791"/>
                  <a:gd name="connsiteX12" fmla="*/ 14473 w 15789"/>
                  <a:gd name="connsiteY12" fmla="*/ 18241 h 33791"/>
                  <a:gd name="connsiteX13" fmla="*/ 14354 w 15789"/>
                  <a:gd name="connsiteY13" fmla="*/ 18660 h 33791"/>
                  <a:gd name="connsiteX14" fmla="*/ 13815 w 15789"/>
                  <a:gd name="connsiteY14" fmla="*/ 20693 h 33791"/>
                  <a:gd name="connsiteX15" fmla="*/ 12859 w 15789"/>
                  <a:gd name="connsiteY15" fmla="*/ 24162 h 33791"/>
                  <a:gd name="connsiteX16" fmla="*/ 12200 w 15789"/>
                  <a:gd name="connsiteY16" fmla="*/ 26554 h 33791"/>
                  <a:gd name="connsiteX17" fmla="*/ 10167 w 15789"/>
                  <a:gd name="connsiteY17" fmla="*/ 29365 h 33791"/>
                  <a:gd name="connsiteX18" fmla="*/ 8552 w 15789"/>
                  <a:gd name="connsiteY18" fmla="*/ 31638 h 33791"/>
                  <a:gd name="connsiteX19" fmla="*/ 7476 w 15789"/>
                  <a:gd name="connsiteY19" fmla="*/ 33133 h 33791"/>
                  <a:gd name="connsiteX20" fmla="*/ 5622 w 15789"/>
                  <a:gd name="connsiteY20" fmla="*/ 33791 h 33791"/>
                  <a:gd name="connsiteX21" fmla="*/ 4844 w 15789"/>
                  <a:gd name="connsiteY21" fmla="*/ 33313 h 3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89" h="33791">
                    <a:moveTo>
                      <a:pt x="0" y="0"/>
                    </a:moveTo>
                    <a:lnTo>
                      <a:pt x="1316" y="598"/>
                    </a:lnTo>
                    <a:lnTo>
                      <a:pt x="1734" y="897"/>
                    </a:lnTo>
                    <a:lnTo>
                      <a:pt x="7775" y="5502"/>
                    </a:lnTo>
                    <a:lnTo>
                      <a:pt x="9749" y="6997"/>
                    </a:lnTo>
                    <a:lnTo>
                      <a:pt x="10107" y="7237"/>
                    </a:lnTo>
                    <a:lnTo>
                      <a:pt x="10107" y="7237"/>
                    </a:lnTo>
                    <a:lnTo>
                      <a:pt x="14174" y="11603"/>
                    </a:lnTo>
                    <a:lnTo>
                      <a:pt x="14414" y="11842"/>
                    </a:lnTo>
                    <a:lnTo>
                      <a:pt x="15072" y="12559"/>
                    </a:lnTo>
                    <a:lnTo>
                      <a:pt x="15789" y="13337"/>
                    </a:lnTo>
                    <a:lnTo>
                      <a:pt x="15072" y="15969"/>
                    </a:lnTo>
                    <a:lnTo>
                      <a:pt x="14473" y="18241"/>
                    </a:lnTo>
                    <a:lnTo>
                      <a:pt x="14354" y="18660"/>
                    </a:lnTo>
                    <a:lnTo>
                      <a:pt x="13815" y="20693"/>
                    </a:lnTo>
                    <a:lnTo>
                      <a:pt x="12859" y="24162"/>
                    </a:lnTo>
                    <a:lnTo>
                      <a:pt x="12200" y="26554"/>
                    </a:lnTo>
                    <a:lnTo>
                      <a:pt x="10167" y="29365"/>
                    </a:lnTo>
                    <a:lnTo>
                      <a:pt x="8552" y="31638"/>
                    </a:lnTo>
                    <a:lnTo>
                      <a:pt x="7476" y="33133"/>
                    </a:lnTo>
                    <a:lnTo>
                      <a:pt x="5622" y="33791"/>
                    </a:lnTo>
                    <a:lnTo>
                      <a:pt x="4844" y="33313"/>
                    </a:lnTo>
                  </a:path>
                </a:pathLst>
              </a:custGeom>
              <a:noFill/>
              <a:ln w="6350" cap="rnd">
                <a:solidFill>
                  <a:schemeClr val="bg1">
                    <a:alpha val="80000"/>
                  </a:schemeClr>
                </a:solidFill>
                <a:prstDash val="solid"/>
                <a:round/>
              </a:ln>
            </p:spPr>
            <p:txBody>
              <a:bodyPr rtlCol="0" anchor="ctr"/>
              <a:lstStyle/>
              <a:p>
                <a:endParaRPr lang="en-GB"/>
              </a:p>
            </p:txBody>
          </p:sp>
          <p:sp>
            <p:nvSpPr>
              <p:cNvPr id="6785" name="Vrije vorm: vorm 6784">
                <a:extLst>
                  <a:ext uri="{FF2B5EF4-FFF2-40B4-BE49-F238E27FC236}">
                    <a16:creationId xmlns:a16="http://schemas.microsoft.com/office/drawing/2014/main" id="{F84E9BA3-BE0F-42BF-B825-BDB77EBC0452}"/>
                  </a:ext>
                </a:extLst>
              </p:cNvPr>
              <p:cNvSpPr/>
              <p:nvPr/>
            </p:nvSpPr>
            <p:spPr>
              <a:xfrm>
                <a:off x="7077068" y="1937734"/>
                <a:ext cx="17284" cy="38874"/>
              </a:xfrm>
              <a:custGeom>
                <a:avLst/>
                <a:gdLst>
                  <a:gd name="connsiteX0" fmla="*/ 0 w 17284"/>
                  <a:gd name="connsiteY0" fmla="*/ 0 h 38874"/>
                  <a:gd name="connsiteX1" fmla="*/ 5203 w 17284"/>
                  <a:gd name="connsiteY1" fmla="*/ 3947 h 38874"/>
                  <a:gd name="connsiteX2" fmla="*/ 5383 w 17284"/>
                  <a:gd name="connsiteY2" fmla="*/ 4067 h 38874"/>
                  <a:gd name="connsiteX3" fmla="*/ 10825 w 17284"/>
                  <a:gd name="connsiteY3" fmla="*/ 10227 h 38874"/>
                  <a:gd name="connsiteX4" fmla="*/ 12141 w 17284"/>
                  <a:gd name="connsiteY4" fmla="*/ 11722 h 38874"/>
                  <a:gd name="connsiteX5" fmla="*/ 12321 w 17284"/>
                  <a:gd name="connsiteY5" fmla="*/ 11961 h 38874"/>
                  <a:gd name="connsiteX6" fmla="*/ 12679 w 17284"/>
                  <a:gd name="connsiteY6" fmla="*/ 12320 h 38874"/>
                  <a:gd name="connsiteX7" fmla="*/ 14055 w 17284"/>
                  <a:gd name="connsiteY7" fmla="*/ 14413 h 38874"/>
                  <a:gd name="connsiteX8" fmla="*/ 14055 w 17284"/>
                  <a:gd name="connsiteY8" fmla="*/ 14473 h 38874"/>
                  <a:gd name="connsiteX9" fmla="*/ 16029 w 17284"/>
                  <a:gd name="connsiteY9" fmla="*/ 17404 h 38874"/>
                  <a:gd name="connsiteX10" fmla="*/ 17284 w 17284"/>
                  <a:gd name="connsiteY10" fmla="*/ 19318 h 38874"/>
                  <a:gd name="connsiteX11" fmla="*/ 16925 w 17284"/>
                  <a:gd name="connsiteY11" fmla="*/ 20215 h 38874"/>
                  <a:gd name="connsiteX12" fmla="*/ 16507 w 17284"/>
                  <a:gd name="connsiteY12" fmla="*/ 21172 h 38874"/>
                  <a:gd name="connsiteX13" fmla="*/ 16447 w 17284"/>
                  <a:gd name="connsiteY13" fmla="*/ 21291 h 38874"/>
                  <a:gd name="connsiteX14" fmla="*/ 15072 w 17284"/>
                  <a:gd name="connsiteY14" fmla="*/ 24581 h 38874"/>
                  <a:gd name="connsiteX15" fmla="*/ 14892 w 17284"/>
                  <a:gd name="connsiteY15" fmla="*/ 24999 h 38874"/>
                  <a:gd name="connsiteX16" fmla="*/ 14832 w 17284"/>
                  <a:gd name="connsiteY16" fmla="*/ 25119 h 38874"/>
                  <a:gd name="connsiteX17" fmla="*/ 14772 w 17284"/>
                  <a:gd name="connsiteY17" fmla="*/ 25298 h 38874"/>
                  <a:gd name="connsiteX18" fmla="*/ 14772 w 17284"/>
                  <a:gd name="connsiteY18" fmla="*/ 25298 h 38874"/>
                  <a:gd name="connsiteX19" fmla="*/ 14712 w 17284"/>
                  <a:gd name="connsiteY19" fmla="*/ 25418 h 38874"/>
                  <a:gd name="connsiteX20" fmla="*/ 14653 w 17284"/>
                  <a:gd name="connsiteY20" fmla="*/ 25538 h 38874"/>
                  <a:gd name="connsiteX21" fmla="*/ 14593 w 17284"/>
                  <a:gd name="connsiteY21" fmla="*/ 25717 h 38874"/>
                  <a:gd name="connsiteX22" fmla="*/ 14414 w 17284"/>
                  <a:gd name="connsiteY22" fmla="*/ 26195 h 38874"/>
                  <a:gd name="connsiteX23" fmla="*/ 13995 w 17284"/>
                  <a:gd name="connsiteY23" fmla="*/ 27212 h 38874"/>
                  <a:gd name="connsiteX24" fmla="*/ 13158 w 17284"/>
                  <a:gd name="connsiteY24" fmla="*/ 29246 h 38874"/>
                  <a:gd name="connsiteX25" fmla="*/ 13098 w 17284"/>
                  <a:gd name="connsiteY25" fmla="*/ 29365 h 38874"/>
                  <a:gd name="connsiteX26" fmla="*/ 12261 w 17284"/>
                  <a:gd name="connsiteY26" fmla="*/ 31339 h 38874"/>
                  <a:gd name="connsiteX27" fmla="*/ 12081 w 17284"/>
                  <a:gd name="connsiteY27" fmla="*/ 31817 h 38874"/>
                  <a:gd name="connsiteX28" fmla="*/ 11364 w 17284"/>
                  <a:gd name="connsiteY28" fmla="*/ 33492 h 38874"/>
                  <a:gd name="connsiteX29" fmla="*/ 10466 w 17284"/>
                  <a:gd name="connsiteY29" fmla="*/ 34509 h 38874"/>
                  <a:gd name="connsiteX30" fmla="*/ 6459 w 17284"/>
                  <a:gd name="connsiteY30" fmla="*/ 38875 h 38874"/>
                  <a:gd name="connsiteX31" fmla="*/ 6280 w 17284"/>
                  <a:gd name="connsiteY31" fmla="*/ 38815 h 38874"/>
                  <a:gd name="connsiteX32" fmla="*/ 5203 w 17284"/>
                  <a:gd name="connsiteY32" fmla="*/ 38456 h 38874"/>
                  <a:gd name="connsiteX33" fmla="*/ 4426 w 17284"/>
                  <a:gd name="connsiteY33" fmla="*/ 37978 h 3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284" h="38874">
                    <a:moveTo>
                      <a:pt x="0" y="0"/>
                    </a:moveTo>
                    <a:lnTo>
                      <a:pt x="5203" y="3947"/>
                    </a:lnTo>
                    <a:lnTo>
                      <a:pt x="5383" y="4067"/>
                    </a:lnTo>
                    <a:lnTo>
                      <a:pt x="10825" y="10227"/>
                    </a:lnTo>
                    <a:lnTo>
                      <a:pt x="12141" y="11722"/>
                    </a:lnTo>
                    <a:lnTo>
                      <a:pt x="12321" y="11961"/>
                    </a:lnTo>
                    <a:lnTo>
                      <a:pt x="12679" y="12320"/>
                    </a:lnTo>
                    <a:lnTo>
                      <a:pt x="14055" y="14413"/>
                    </a:lnTo>
                    <a:lnTo>
                      <a:pt x="14055" y="14473"/>
                    </a:lnTo>
                    <a:lnTo>
                      <a:pt x="16029" y="17404"/>
                    </a:lnTo>
                    <a:lnTo>
                      <a:pt x="17284" y="19318"/>
                    </a:lnTo>
                    <a:lnTo>
                      <a:pt x="16925" y="20215"/>
                    </a:lnTo>
                    <a:lnTo>
                      <a:pt x="16507" y="21172"/>
                    </a:lnTo>
                    <a:lnTo>
                      <a:pt x="16447" y="21291"/>
                    </a:lnTo>
                    <a:lnTo>
                      <a:pt x="15072" y="24581"/>
                    </a:lnTo>
                    <a:lnTo>
                      <a:pt x="14892" y="24999"/>
                    </a:lnTo>
                    <a:lnTo>
                      <a:pt x="14832" y="25119"/>
                    </a:lnTo>
                    <a:lnTo>
                      <a:pt x="14772" y="25298"/>
                    </a:lnTo>
                    <a:lnTo>
                      <a:pt x="14772" y="25298"/>
                    </a:lnTo>
                    <a:lnTo>
                      <a:pt x="14712" y="25418"/>
                    </a:lnTo>
                    <a:lnTo>
                      <a:pt x="14653" y="25538"/>
                    </a:lnTo>
                    <a:lnTo>
                      <a:pt x="14593" y="25717"/>
                    </a:lnTo>
                    <a:lnTo>
                      <a:pt x="14414" y="26195"/>
                    </a:lnTo>
                    <a:lnTo>
                      <a:pt x="13995" y="27212"/>
                    </a:lnTo>
                    <a:lnTo>
                      <a:pt x="13158" y="29246"/>
                    </a:lnTo>
                    <a:lnTo>
                      <a:pt x="13098" y="29365"/>
                    </a:lnTo>
                    <a:lnTo>
                      <a:pt x="12261" y="31339"/>
                    </a:lnTo>
                    <a:lnTo>
                      <a:pt x="12081" y="31817"/>
                    </a:lnTo>
                    <a:lnTo>
                      <a:pt x="11364" y="33492"/>
                    </a:lnTo>
                    <a:lnTo>
                      <a:pt x="10466" y="34509"/>
                    </a:lnTo>
                    <a:lnTo>
                      <a:pt x="6459" y="38875"/>
                    </a:lnTo>
                    <a:lnTo>
                      <a:pt x="6280" y="38815"/>
                    </a:lnTo>
                    <a:lnTo>
                      <a:pt x="5203" y="38456"/>
                    </a:lnTo>
                    <a:lnTo>
                      <a:pt x="4426" y="37978"/>
                    </a:lnTo>
                  </a:path>
                </a:pathLst>
              </a:custGeom>
              <a:noFill/>
              <a:ln w="6350" cap="rnd">
                <a:solidFill>
                  <a:schemeClr val="bg1">
                    <a:alpha val="80000"/>
                  </a:schemeClr>
                </a:solidFill>
                <a:prstDash val="solid"/>
                <a:round/>
              </a:ln>
            </p:spPr>
            <p:txBody>
              <a:bodyPr rtlCol="0" anchor="ctr"/>
              <a:lstStyle/>
              <a:p>
                <a:endParaRPr lang="en-GB"/>
              </a:p>
            </p:txBody>
          </p:sp>
          <p:sp>
            <p:nvSpPr>
              <p:cNvPr id="6786" name="Vrije vorm: vorm 6785">
                <a:extLst>
                  <a:ext uri="{FF2B5EF4-FFF2-40B4-BE49-F238E27FC236}">
                    <a16:creationId xmlns:a16="http://schemas.microsoft.com/office/drawing/2014/main" id="{CB5EF787-546D-42D2-A077-5F5814BCC2AB}"/>
                  </a:ext>
                </a:extLst>
              </p:cNvPr>
              <p:cNvSpPr/>
              <p:nvPr/>
            </p:nvSpPr>
            <p:spPr>
              <a:xfrm>
                <a:off x="7080716" y="1936358"/>
                <a:ext cx="20155" cy="46051"/>
              </a:xfrm>
              <a:custGeom>
                <a:avLst/>
                <a:gdLst>
                  <a:gd name="connsiteX0" fmla="*/ 0 w 20155"/>
                  <a:gd name="connsiteY0" fmla="*/ 0 h 46051"/>
                  <a:gd name="connsiteX1" fmla="*/ 239 w 20155"/>
                  <a:gd name="connsiteY1" fmla="*/ 179 h 46051"/>
                  <a:gd name="connsiteX2" fmla="*/ 718 w 20155"/>
                  <a:gd name="connsiteY2" fmla="*/ 538 h 46051"/>
                  <a:gd name="connsiteX3" fmla="*/ 1256 w 20155"/>
                  <a:gd name="connsiteY3" fmla="*/ 1017 h 46051"/>
                  <a:gd name="connsiteX4" fmla="*/ 2034 w 20155"/>
                  <a:gd name="connsiteY4" fmla="*/ 1675 h 46051"/>
                  <a:gd name="connsiteX5" fmla="*/ 4665 w 20155"/>
                  <a:gd name="connsiteY5" fmla="*/ 3888 h 46051"/>
                  <a:gd name="connsiteX6" fmla="*/ 5861 w 20155"/>
                  <a:gd name="connsiteY6" fmla="*/ 5323 h 46051"/>
                  <a:gd name="connsiteX7" fmla="*/ 6160 w 20155"/>
                  <a:gd name="connsiteY7" fmla="*/ 5682 h 46051"/>
                  <a:gd name="connsiteX8" fmla="*/ 6520 w 20155"/>
                  <a:gd name="connsiteY8" fmla="*/ 6100 h 46051"/>
                  <a:gd name="connsiteX9" fmla="*/ 6579 w 20155"/>
                  <a:gd name="connsiteY9" fmla="*/ 6160 h 46051"/>
                  <a:gd name="connsiteX10" fmla="*/ 6938 w 20155"/>
                  <a:gd name="connsiteY10" fmla="*/ 6579 h 46051"/>
                  <a:gd name="connsiteX11" fmla="*/ 6998 w 20155"/>
                  <a:gd name="connsiteY11" fmla="*/ 6698 h 46051"/>
                  <a:gd name="connsiteX12" fmla="*/ 9928 w 20155"/>
                  <a:gd name="connsiteY12" fmla="*/ 10227 h 46051"/>
                  <a:gd name="connsiteX13" fmla="*/ 10406 w 20155"/>
                  <a:gd name="connsiteY13" fmla="*/ 10765 h 46051"/>
                  <a:gd name="connsiteX14" fmla="*/ 10526 w 20155"/>
                  <a:gd name="connsiteY14" fmla="*/ 11005 h 46051"/>
                  <a:gd name="connsiteX15" fmla="*/ 14713 w 20155"/>
                  <a:gd name="connsiteY15" fmla="*/ 17524 h 46051"/>
                  <a:gd name="connsiteX16" fmla="*/ 15012 w 20155"/>
                  <a:gd name="connsiteY16" fmla="*/ 18002 h 46051"/>
                  <a:gd name="connsiteX17" fmla="*/ 15012 w 20155"/>
                  <a:gd name="connsiteY17" fmla="*/ 18002 h 46051"/>
                  <a:gd name="connsiteX18" fmla="*/ 15969 w 20155"/>
                  <a:gd name="connsiteY18" fmla="*/ 19497 h 46051"/>
                  <a:gd name="connsiteX19" fmla="*/ 16806 w 20155"/>
                  <a:gd name="connsiteY19" fmla="*/ 21172 h 46051"/>
                  <a:gd name="connsiteX20" fmla="*/ 17524 w 20155"/>
                  <a:gd name="connsiteY20" fmla="*/ 22667 h 46051"/>
                  <a:gd name="connsiteX21" fmla="*/ 17584 w 20155"/>
                  <a:gd name="connsiteY21" fmla="*/ 22727 h 46051"/>
                  <a:gd name="connsiteX22" fmla="*/ 18720 w 20155"/>
                  <a:gd name="connsiteY22" fmla="*/ 25119 h 46051"/>
                  <a:gd name="connsiteX23" fmla="*/ 18780 w 20155"/>
                  <a:gd name="connsiteY23" fmla="*/ 25179 h 46051"/>
                  <a:gd name="connsiteX24" fmla="*/ 19258 w 20155"/>
                  <a:gd name="connsiteY24" fmla="*/ 26136 h 46051"/>
                  <a:gd name="connsiteX25" fmla="*/ 20155 w 20155"/>
                  <a:gd name="connsiteY25" fmla="*/ 28588 h 46051"/>
                  <a:gd name="connsiteX26" fmla="*/ 18301 w 20155"/>
                  <a:gd name="connsiteY26" fmla="*/ 31937 h 46051"/>
                  <a:gd name="connsiteX27" fmla="*/ 16267 w 20155"/>
                  <a:gd name="connsiteY27" fmla="*/ 35705 h 46051"/>
                  <a:gd name="connsiteX28" fmla="*/ 15371 w 20155"/>
                  <a:gd name="connsiteY28" fmla="*/ 37380 h 46051"/>
                  <a:gd name="connsiteX29" fmla="*/ 14772 w 20155"/>
                  <a:gd name="connsiteY29" fmla="*/ 38516 h 46051"/>
                  <a:gd name="connsiteX30" fmla="*/ 12739 w 20155"/>
                  <a:gd name="connsiteY30" fmla="*/ 42224 h 46051"/>
                  <a:gd name="connsiteX31" fmla="*/ 12679 w 20155"/>
                  <a:gd name="connsiteY31" fmla="*/ 42344 h 46051"/>
                  <a:gd name="connsiteX32" fmla="*/ 12141 w 20155"/>
                  <a:gd name="connsiteY32" fmla="*/ 42822 h 46051"/>
                  <a:gd name="connsiteX33" fmla="*/ 9808 w 20155"/>
                  <a:gd name="connsiteY33" fmla="*/ 44736 h 46051"/>
                  <a:gd name="connsiteX34" fmla="*/ 8194 w 20155"/>
                  <a:gd name="connsiteY34" fmla="*/ 46052 h 46051"/>
                  <a:gd name="connsiteX35" fmla="*/ 7416 w 20155"/>
                  <a:gd name="connsiteY35" fmla="*/ 45573 h 4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155" h="46051">
                    <a:moveTo>
                      <a:pt x="0" y="0"/>
                    </a:moveTo>
                    <a:lnTo>
                      <a:pt x="239" y="179"/>
                    </a:lnTo>
                    <a:lnTo>
                      <a:pt x="718" y="538"/>
                    </a:lnTo>
                    <a:lnTo>
                      <a:pt x="1256" y="1017"/>
                    </a:lnTo>
                    <a:lnTo>
                      <a:pt x="2034" y="1675"/>
                    </a:lnTo>
                    <a:lnTo>
                      <a:pt x="4665" y="3888"/>
                    </a:lnTo>
                    <a:lnTo>
                      <a:pt x="5861" y="5323"/>
                    </a:lnTo>
                    <a:lnTo>
                      <a:pt x="6160" y="5682"/>
                    </a:lnTo>
                    <a:lnTo>
                      <a:pt x="6520" y="6100"/>
                    </a:lnTo>
                    <a:lnTo>
                      <a:pt x="6579" y="6160"/>
                    </a:lnTo>
                    <a:lnTo>
                      <a:pt x="6938" y="6579"/>
                    </a:lnTo>
                    <a:lnTo>
                      <a:pt x="6998" y="6698"/>
                    </a:lnTo>
                    <a:lnTo>
                      <a:pt x="9928" y="10227"/>
                    </a:lnTo>
                    <a:lnTo>
                      <a:pt x="10406" y="10765"/>
                    </a:lnTo>
                    <a:lnTo>
                      <a:pt x="10526" y="11005"/>
                    </a:lnTo>
                    <a:lnTo>
                      <a:pt x="14713" y="17524"/>
                    </a:lnTo>
                    <a:lnTo>
                      <a:pt x="15012" y="18002"/>
                    </a:lnTo>
                    <a:lnTo>
                      <a:pt x="15012" y="18002"/>
                    </a:lnTo>
                    <a:lnTo>
                      <a:pt x="15969" y="19497"/>
                    </a:lnTo>
                    <a:lnTo>
                      <a:pt x="16806" y="21172"/>
                    </a:lnTo>
                    <a:lnTo>
                      <a:pt x="17524" y="22667"/>
                    </a:lnTo>
                    <a:lnTo>
                      <a:pt x="17584" y="22727"/>
                    </a:lnTo>
                    <a:lnTo>
                      <a:pt x="18720" y="25119"/>
                    </a:lnTo>
                    <a:lnTo>
                      <a:pt x="18780" y="25179"/>
                    </a:lnTo>
                    <a:lnTo>
                      <a:pt x="19258" y="26136"/>
                    </a:lnTo>
                    <a:lnTo>
                      <a:pt x="20155" y="28588"/>
                    </a:lnTo>
                    <a:lnTo>
                      <a:pt x="18301" y="31937"/>
                    </a:lnTo>
                    <a:lnTo>
                      <a:pt x="16267" y="35705"/>
                    </a:lnTo>
                    <a:lnTo>
                      <a:pt x="15371" y="37380"/>
                    </a:lnTo>
                    <a:lnTo>
                      <a:pt x="14772" y="38516"/>
                    </a:lnTo>
                    <a:lnTo>
                      <a:pt x="12739" y="42224"/>
                    </a:lnTo>
                    <a:lnTo>
                      <a:pt x="12679" y="42344"/>
                    </a:lnTo>
                    <a:lnTo>
                      <a:pt x="12141" y="42822"/>
                    </a:lnTo>
                    <a:lnTo>
                      <a:pt x="9808" y="44736"/>
                    </a:lnTo>
                    <a:lnTo>
                      <a:pt x="8194" y="46052"/>
                    </a:lnTo>
                    <a:lnTo>
                      <a:pt x="7416" y="45573"/>
                    </a:lnTo>
                  </a:path>
                </a:pathLst>
              </a:custGeom>
              <a:noFill/>
              <a:ln w="6350" cap="rnd">
                <a:solidFill>
                  <a:schemeClr val="bg1">
                    <a:alpha val="80000"/>
                  </a:schemeClr>
                </a:solidFill>
                <a:prstDash val="solid"/>
                <a:round/>
              </a:ln>
            </p:spPr>
            <p:txBody>
              <a:bodyPr rtlCol="0" anchor="ctr"/>
              <a:lstStyle/>
              <a:p>
                <a:endParaRPr lang="en-GB"/>
              </a:p>
            </p:txBody>
          </p:sp>
          <p:sp>
            <p:nvSpPr>
              <p:cNvPr id="6787" name="Vrije vorm: vorm 6786">
                <a:extLst>
                  <a:ext uri="{FF2B5EF4-FFF2-40B4-BE49-F238E27FC236}">
                    <a16:creationId xmlns:a16="http://schemas.microsoft.com/office/drawing/2014/main" id="{A8563C9C-4238-4CCF-B960-04FE6145EC84}"/>
                  </a:ext>
                </a:extLst>
              </p:cNvPr>
              <p:cNvSpPr/>
              <p:nvPr/>
            </p:nvSpPr>
            <p:spPr>
              <a:xfrm>
                <a:off x="7077665" y="2012912"/>
                <a:ext cx="12200" cy="19018"/>
              </a:xfrm>
              <a:custGeom>
                <a:avLst/>
                <a:gdLst>
                  <a:gd name="connsiteX0" fmla="*/ 10048 w 12200"/>
                  <a:gd name="connsiteY0" fmla="*/ 0 h 19018"/>
                  <a:gd name="connsiteX1" fmla="*/ 10287 w 12200"/>
                  <a:gd name="connsiteY1" fmla="*/ 718 h 19018"/>
                  <a:gd name="connsiteX2" fmla="*/ 12201 w 12200"/>
                  <a:gd name="connsiteY2" fmla="*/ 6818 h 19018"/>
                  <a:gd name="connsiteX3" fmla="*/ 9510 w 12200"/>
                  <a:gd name="connsiteY3" fmla="*/ 12619 h 19018"/>
                  <a:gd name="connsiteX4" fmla="*/ 2273 w 12200"/>
                  <a:gd name="connsiteY4" fmla="*/ 19019 h 19018"/>
                  <a:gd name="connsiteX5" fmla="*/ 2153 w 12200"/>
                  <a:gd name="connsiteY5" fmla="*/ 18899 h 19018"/>
                  <a:gd name="connsiteX6" fmla="*/ 0 w 12200"/>
                  <a:gd name="connsiteY6" fmla="*/ 16268 h 1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0" h="19018">
                    <a:moveTo>
                      <a:pt x="10048" y="0"/>
                    </a:moveTo>
                    <a:lnTo>
                      <a:pt x="10287" y="718"/>
                    </a:lnTo>
                    <a:lnTo>
                      <a:pt x="12201" y="6818"/>
                    </a:lnTo>
                    <a:lnTo>
                      <a:pt x="9510" y="12619"/>
                    </a:lnTo>
                    <a:lnTo>
                      <a:pt x="2273" y="19019"/>
                    </a:lnTo>
                    <a:lnTo>
                      <a:pt x="2153" y="18899"/>
                    </a:lnTo>
                    <a:lnTo>
                      <a:pt x="0" y="16268"/>
                    </a:lnTo>
                  </a:path>
                </a:pathLst>
              </a:custGeom>
              <a:noFill/>
              <a:ln w="6350" cap="rnd">
                <a:solidFill>
                  <a:schemeClr val="bg1">
                    <a:alpha val="80000"/>
                  </a:schemeClr>
                </a:solidFill>
                <a:prstDash val="solid"/>
                <a:round/>
              </a:ln>
            </p:spPr>
            <p:txBody>
              <a:bodyPr rtlCol="0" anchor="ctr"/>
              <a:lstStyle/>
              <a:p>
                <a:endParaRPr lang="en-GB"/>
              </a:p>
            </p:txBody>
          </p:sp>
          <p:sp>
            <p:nvSpPr>
              <p:cNvPr id="6788" name="Vrije vorm: vorm 6787">
                <a:extLst>
                  <a:ext uri="{FF2B5EF4-FFF2-40B4-BE49-F238E27FC236}">
                    <a16:creationId xmlns:a16="http://schemas.microsoft.com/office/drawing/2014/main" id="{D18164C7-759D-4DB0-A974-DD096884847C}"/>
                  </a:ext>
                </a:extLst>
              </p:cNvPr>
              <p:cNvSpPr/>
              <p:nvPr/>
            </p:nvSpPr>
            <p:spPr>
              <a:xfrm>
                <a:off x="6964690" y="2046404"/>
                <a:ext cx="24341" cy="7176"/>
              </a:xfrm>
              <a:custGeom>
                <a:avLst/>
                <a:gdLst>
                  <a:gd name="connsiteX0" fmla="*/ 24342 w 24341"/>
                  <a:gd name="connsiteY0" fmla="*/ 0 h 7176"/>
                  <a:gd name="connsiteX1" fmla="*/ 24222 w 24341"/>
                  <a:gd name="connsiteY1" fmla="*/ 0 h 7176"/>
                  <a:gd name="connsiteX2" fmla="*/ 20036 w 24341"/>
                  <a:gd name="connsiteY2" fmla="*/ 897 h 7176"/>
                  <a:gd name="connsiteX3" fmla="*/ 19797 w 24341"/>
                  <a:gd name="connsiteY3" fmla="*/ 957 h 7176"/>
                  <a:gd name="connsiteX4" fmla="*/ 14294 w 24341"/>
                  <a:gd name="connsiteY4" fmla="*/ 2153 h 7176"/>
                  <a:gd name="connsiteX5" fmla="*/ 11244 w 24341"/>
                  <a:gd name="connsiteY5" fmla="*/ 3230 h 7176"/>
                  <a:gd name="connsiteX6" fmla="*/ 11184 w 24341"/>
                  <a:gd name="connsiteY6" fmla="*/ 3230 h 7176"/>
                  <a:gd name="connsiteX7" fmla="*/ 8912 w 24341"/>
                  <a:gd name="connsiteY7" fmla="*/ 4007 h 7176"/>
                  <a:gd name="connsiteX8" fmla="*/ 8493 w 24341"/>
                  <a:gd name="connsiteY8" fmla="*/ 4186 h 7176"/>
                  <a:gd name="connsiteX9" fmla="*/ 6938 w 24341"/>
                  <a:gd name="connsiteY9" fmla="*/ 4725 h 7176"/>
                  <a:gd name="connsiteX10" fmla="*/ 6579 w 24341"/>
                  <a:gd name="connsiteY10" fmla="*/ 4844 h 7176"/>
                  <a:gd name="connsiteX11" fmla="*/ 5682 w 24341"/>
                  <a:gd name="connsiteY11" fmla="*/ 5143 h 7176"/>
                  <a:gd name="connsiteX12" fmla="*/ 3828 w 24341"/>
                  <a:gd name="connsiteY12" fmla="*/ 5801 h 7176"/>
                  <a:gd name="connsiteX13" fmla="*/ 2632 w 24341"/>
                  <a:gd name="connsiteY13" fmla="*/ 6220 h 7176"/>
                  <a:gd name="connsiteX14" fmla="*/ 1914 w 24341"/>
                  <a:gd name="connsiteY14" fmla="*/ 6459 h 7176"/>
                  <a:gd name="connsiteX15" fmla="*/ 837 w 24341"/>
                  <a:gd name="connsiteY15" fmla="*/ 6818 h 7176"/>
                  <a:gd name="connsiteX16" fmla="*/ 0 w 24341"/>
                  <a:gd name="connsiteY16" fmla="*/ 7177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341" h="7176">
                    <a:moveTo>
                      <a:pt x="24342" y="0"/>
                    </a:moveTo>
                    <a:lnTo>
                      <a:pt x="24222" y="0"/>
                    </a:lnTo>
                    <a:lnTo>
                      <a:pt x="20036" y="897"/>
                    </a:lnTo>
                    <a:lnTo>
                      <a:pt x="19797" y="957"/>
                    </a:lnTo>
                    <a:lnTo>
                      <a:pt x="14294" y="2153"/>
                    </a:lnTo>
                    <a:lnTo>
                      <a:pt x="11244" y="3230"/>
                    </a:lnTo>
                    <a:lnTo>
                      <a:pt x="11184" y="3230"/>
                    </a:lnTo>
                    <a:lnTo>
                      <a:pt x="8912" y="4007"/>
                    </a:lnTo>
                    <a:lnTo>
                      <a:pt x="8493" y="4186"/>
                    </a:lnTo>
                    <a:lnTo>
                      <a:pt x="6938" y="4725"/>
                    </a:lnTo>
                    <a:lnTo>
                      <a:pt x="6579" y="4844"/>
                    </a:lnTo>
                    <a:lnTo>
                      <a:pt x="5682" y="5143"/>
                    </a:lnTo>
                    <a:lnTo>
                      <a:pt x="3828" y="5801"/>
                    </a:lnTo>
                    <a:lnTo>
                      <a:pt x="2632" y="6220"/>
                    </a:lnTo>
                    <a:lnTo>
                      <a:pt x="1914" y="6459"/>
                    </a:lnTo>
                    <a:lnTo>
                      <a:pt x="837" y="6818"/>
                    </a:lnTo>
                    <a:lnTo>
                      <a:pt x="0" y="7177"/>
                    </a:lnTo>
                  </a:path>
                </a:pathLst>
              </a:custGeom>
              <a:noFill/>
              <a:ln w="6350" cap="rnd">
                <a:solidFill>
                  <a:schemeClr val="bg1">
                    <a:alpha val="80000"/>
                  </a:schemeClr>
                </a:solidFill>
                <a:prstDash val="solid"/>
                <a:round/>
              </a:ln>
            </p:spPr>
            <p:txBody>
              <a:bodyPr rtlCol="0" anchor="ctr"/>
              <a:lstStyle/>
              <a:p>
                <a:endParaRPr lang="en-GB"/>
              </a:p>
            </p:txBody>
          </p:sp>
          <p:sp>
            <p:nvSpPr>
              <p:cNvPr id="6789" name="Vrije vorm: vorm 6788">
                <a:extLst>
                  <a:ext uri="{FF2B5EF4-FFF2-40B4-BE49-F238E27FC236}">
                    <a16:creationId xmlns:a16="http://schemas.microsoft.com/office/drawing/2014/main" id="{42E086EB-68FA-4BEA-B32C-D9E01655EB7E}"/>
                  </a:ext>
                </a:extLst>
              </p:cNvPr>
              <p:cNvSpPr/>
              <p:nvPr/>
            </p:nvSpPr>
            <p:spPr>
              <a:xfrm>
                <a:off x="7053444" y="2065722"/>
                <a:ext cx="7774" cy="11303"/>
              </a:xfrm>
              <a:custGeom>
                <a:avLst/>
                <a:gdLst>
                  <a:gd name="connsiteX0" fmla="*/ 7117 w 7774"/>
                  <a:gd name="connsiteY0" fmla="*/ 0 h 11303"/>
                  <a:gd name="connsiteX1" fmla="*/ 7236 w 7774"/>
                  <a:gd name="connsiteY1" fmla="*/ 179 h 11303"/>
                  <a:gd name="connsiteX2" fmla="*/ 7775 w 7774"/>
                  <a:gd name="connsiteY2" fmla="*/ 5682 h 11303"/>
                  <a:gd name="connsiteX3" fmla="*/ 3708 w 7774"/>
                  <a:gd name="connsiteY3" fmla="*/ 11304 h 11303"/>
                  <a:gd name="connsiteX4" fmla="*/ 120 w 7774"/>
                  <a:gd name="connsiteY4" fmla="*/ 10107 h 11303"/>
                  <a:gd name="connsiteX5" fmla="*/ 0 w 7774"/>
                  <a:gd name="connsiteY5" fmla="*/ 9868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 h="11303">
                    <a:moveTo>
                      <a:pt x="7117" y="0"/>
                    </a:moveTo>
                    <a:lnTo>
                      <a:pt x="7236" y="179"/>
                    </a:lnTo>
                    <a:lnTo>
                      <a:pt x="7775" y="5682"/>
                    </a:lnTo>
                    <a:lnTo>
                      <a:pt x="3708" y="11304"/>
                    </a:lnTo>
                    <a:lnTo>
                      <a:pt x="120" y="10107"/>
                    </a:lnTo>
                    <a:lnTo>
                      <a:pt x="0" y="9868"/>
                    </a:lnTo>
                  </a:path>
                </a:pathLst>
              </a:custGeom>
              <a:noFill/>
              <a:ln w="6350" cap="rnd">
                <a:solidFill>
                  <a:schemeClr val="bg1">
                    <a:alpha val="80000"/>
                  </a:schemeClr>
                </a:solidFill>
                <a:prstDash val="solid"/>
                <a:round/>
              </a:ln>
            </p:spPr>
            <p:txBody>
              <a:bodyPr rtlCol="0" anchor="ctr"/>
              <a:lstStyle/>
              <a:p>
                <a:endParaRPr lang="en-GB"/>
              </a:p>
            </p:txBody>
          </p:sp>
          <p:sp>
            <p:nvSpPr>
              <p:cNvPr id="6790" name="Vrije vorm: vorm 6789">
                <a:extLst>
                  <a:ext uri="{FF2B5EF4-FFF2-40B4-BE49-F238E27FC236}">
                    <a16:creationId xmlns:a16="http://schemas.microsoft.com/office/drawing/2014/main" id="{7C1EE973-77DF-4E63-8CA0-9580C08A5C8A}"/>
                  </a:ext>
                </a:extLst>
              </p:cNvPr>
              <p:cNvSpPr/>
              <p:nvPr/>
            </p:nvSpPr>
            <p:spPr>
              <a:xfrm>
                <a:off x="6784491" y="2003103"/>
                <a:ext cx="5322" cy="1554"/>
              </a:xfrm>
              <a:custGeom>
                <a:avLst/>
                <a:gdLst>
                  <a:gd name="connsiteX0" fmla="*/ 0 w 5322"/>
                  <a:gd name="connsiteY0" fmla="*/ 0 h 1554"/>
                  <a:gd name="connsiteX1" fmla="*/ 2392 w 5322"/>
                  <a:gd name="connsiteY1" fmla="*/ 1316 h 1554"/>
                  <a:gd name="connsiteX2" fmla="*/ 2512 w 5322"/>
                  <a:gd name="connsiteY2" fmla="*/ 1316 h 1554"/>
                  <a:gd name="connsiteX3" fmla="*/ 5323 w 5322"/>
                  <a:gd name="connsiteY3" fmla="*/ 1555 h 1554"/>
                </a:gdLst>
                <a:ahLst/>
                <a:cxnLst>
                  <a:cxn ang="0">
                    <a:pos x="connsiteX0" y="connsiteY0"/>
                  </a:cxn>
                  <a:cxn ang="0">
                    <a:pos x="connsiteX1" y="connsiteY1"/>
                  </a:cxn>
                  <a:cxn ang="0">
                    <a:pos x="connsiteX2" y="connsiteY2"/>
                  </a:cxn>
                  <a:cxn ang="0">
                    <a:pos x="connsiteX3" y="connsiteY3"/>
                  </a:cxn>
                </a:cxnLst>
                <a:rect l="l" t="t" r="r" b="b"/>
                <a:pathLst>
                  <a:path w="5322" h="1554">
                    <a:moveTo>
                      <a:pt x="0" y="0"/>
                    </a:moveTo>
                    <a:lnTo>
                      <a:pt x="2392" y="1316"/>
                    </a:lnTo>
                    <a:lnTo>
                      <a:pt x="2512" y="1316"/>
                    </a:lnTo>
                    <a:lnTo>
                      <a:pt x="5323" y="1555"/>
                    </a:lnTo>
                  </a:path>
                </a:pathLst>
              </a:custGeom>
              <a:noFill/>
              <a:ln w="6350" cap="rnd">
                <a:solidFill>
                  <a:schemeClr val="bg1">
                    <a:alpha val="80000"/>
                  </a:schemeClr>
                </a:solidFill>
                <a:prstDash val="solid"/>
                <a:round/>
              </a:ln>
            </p:spPr>
            <p:txBody>
              <a:bodyPr rtlCol="0" anchor="ctr"/>
              <a:lstStyle/>
              <a:p>
                <a:endParaRPr lang="en-GB"/>
              </a:p>
            </p:txBody>
          </p:sp>
          <p:sp>
            <p:nvSpPr>
              <p:cNvPr id="6791" name="Vrije vorm: vorm 6790">
                <a:extLst>
                  <a:ext uri="{FF2B5EF4-FFF2-40B4-BE49-F238E27FC236}">
                    <a16:creationId xmlns:a16="http://schemas.microsoft.com/office/drawing/2014/main" id="{C6F237AF-34EE-4688-B48C-80574B55D396}"/>
                  </a:ext>
                </a:extLst>
              </p:cNvPr>
              <p:cNvSpPr/>
              <p:nvPr/>
            </p:nvSpPr>
            <p:spPr>
              <a:xfrm>
                <a:off x="6949798" y="2120026"/>
                <a:ext cx="1136" cy="418"/>
              </a:xfrm>
              <a:custGeom>
                <a:avLst/>
                <a:gdLst>
                  <a:gd name="connsiteX0" fmla="*/ 1137 w 1136"/>
                  <a:gd name="connsiteY0" fmla="*/ 120 h 418"/>
                  <a:gd name="connsiteX1" fmla="*/ 897 w 1136"/>
                  <a:gd name="connsiteY1" fmla="*/ 419 h 418"/>
                  <a:gd name="connsiteX2" fmla="*/ 479 w 1136"/>
                  <a:gd name="connsiteY2" fmla="*/ 299 h 418"/>
                  <a:gd name="connsiteX3" fmla="*/ 0 w 1136"/>
                  <a:gd name="connsiteY3" fmla="*/ 0 h 418"/>
                </a:gdLst>
                <a:ahLst/>
                <a:cxnLst>
                  <a:cxn ang="0">
                    <a:pos x="connsiteX0" y="connsiteY0"/>
                  </a:cxn>
                  <a:cxn ang="0">
                    <a:pos x="connsiteX1" y="connsiteY1"/>
                  </a:cxn>
                  <a:cxn ang="0">
                    <a:pos x="connsiteX2" y="connsiteY2"/>
                  </a:cxn>
                  <a:cxn ang="0">
                    <a:pos x="connsiteX3" y="connsiteY3"/>
                  </a:cxn>
                </a:cxnLst>
                <a:rect l="l" t="t" r="r" b="b"/>
                <a:pathLst>
                  <a:path w="1136" h="418">
                    <a:moveTo>
                      <a:pt x="1137" y="120"/>
                    </a:moveTo>
                    <a:lnTo>
                      <a:pt x="897" y="419"/>
                    </a:lnTo>
                    <a:lnTo>
                      <a:pt x="479" y="29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92" name="Vrije vorm: vorm 6791">
                <a:extLst>
                  <a:ext uri="{FF2B5EF4-FFF2-40B4-BE49-F238E27FC236}">
                    <a16:creationId xmlns:a16="http://schemas.microsoft.com/office/drawing/2014/main" id="{5FC8C152-0D22-4F2B-A717-025A2BF00CE0}"/>
                  </a:ext>
                </a:extLst>
              </p:cNvPr>
              <p:cNvSpPr/>
              <p:nvPr/>
            </p:nvSpPr>
            <p:spPr>
              <a:xfrm>
                <a:off x="6915768" y="2069250"/>
                <a:ext cx="29963" cy="43479"/>
              </a:xfrm>
              <a:custGeom>
                <a:avLst/>
                <a:gdLst>
                  <a:gd name="connsiteX0" fmla="*/ 29963 w 29963"/>
                  <a:gd name="connsiteY0" fmla="*/ 39891 h 43479"/>
                  <a:gd name="connsiteX1" fmla="*/ 29006 w 29963"/>
                  <a:gd name="connsiteY1" fmla="*/ 40729 h 43479"/>
                  <a:gd name="connsiteX2" fmla="*/ 28887 w 29963"/>
                  <a:gd name="connsiteY2" fmla="*/ 40848 h 43479"/>
                  <a:gd name="connsiteX3" fmla="*/ 28707 w 29963"/>
                  <a:gd name="connsiteY3" fmla="*/ 41028 h 43479"/>
                  <a:gd name="connsiteX4" fmla="*/ 28229 w 29963"/>
                  <a:gd name="connsiteY4" fmla="*/ 41446 h 43479"/>
                  <a:gd name="connsiteX5" fmla="*/ 26315 w 29963"/>
                  <a:gd name="connsiteY5" fmla="*/ 43121 h 43479"/>
                  <a:gd name="connsiteX6" fmla="*/ 25598 w 29963"/>
                  <a:gd name="connsiteY6" fmla="*/ 43480 h 43479"/>
                  <a:gd name="connsiteX7" fmla="*/ 23624 w 29963"/>
                  <a:gd name="connsiteY7" fmla="*/ 42344 h 43479"/>
                  <a:gd name="connsiteX8" fmla="*/ 17045 w 29963"/>
                  <a:gd name="connsiteY8" fmla="*/ 34389 h 43479"/>
                  <a:gd name="connsiteX9" fmla="*/ 9449 w 29963"/>
                  <a:gd name="connsiteY9" fmla="*/ 22547 h 43479"/>
                  <a:gd name="connsiteX10" fmla="*/ 5263 w 29963"/>
                  <a:gd name="connsiteY10" fmla="*/ 13815 h 43479"/>
                  <a:gd name="connsiteX11" fmla="*/ 2213 w 29963"/>
                  <a:gd name="connsiteY11" fmla="*/ 6340 h 43479"/>
                  <a:gd name="connsiteX12" fmla="*/ 1196 w 29963"/>
                  <a:gd name="connsiteY12" fmla="*/ 3828 h 43479"/>
                  <a:gd name="connsiteX13" fmla="*/ 0 w 29963"/>
                  <a:gd name="connsiteY13" fmla="*/ 0 h 43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963" h="43479">
                    <a:moveTo>
                      <a:pt x="29963" y="39891"/>
                    </a:moveTo>
                    <a:lnTo>
                      <a:pt x="29006" y="40729"/>
                    </a:lnTo>
                    <a:lnTo>
                      <a:pt x="28887" y="40848"/>
                    </a:lnTo>
                    <a:lnTo>
                      <a:pt x="28707" y="41028"/>
                    </a:lnTo>
                    <a:lnTo>
                      <a:pt x="28229" y="41446"/>
                    </a:lnTo>
                    <a:lnTo>
                      <a:pt x="26315" y="43121"/>
                    </a:lnTo>
                    <a:lnTo>
                      <a:pt x="25598" y="43480"/>
                    </a:lnTo>
                    <a:lnTo>
                      <a:pt x="23624" y="42344"/>
                    </a:lnTo>
                    <a:lnTo>
                      <a:pt x="17045" y="34389"/>
                    </a:lnTo>
                    <a:lnTo>
                      <a:pt x="9449" y="22547"/>
                    </a:lnTo>
                    <a:lnTo>
                      <a:pt x="5263" y="13815"/>
                    </a:lnTo>
                    <a:lnTo>
                      <a:pt x="2213" y="6340"/>
                    </a:lnTo>
                    <a:lnTo>
                      <a:pt x="1196" y="382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793" name="Vrije vorm: vorm 6792">
                <a:extLst>
                  <a:ext uri="{FF2B5EF4-FFF2-40B4-BE49-F238E27FC236}">
                    <a16:creationId xmlns:a16="http://schemas.microsoft.com/office/drawing/2014/main" id="{1533C659-2874-4E29-9A78-1D588EE4D52C}"/>
                  </a:ext>
                </a:extLst>
              </p:cNvPr>
              <p:cNvSpPr/>
              <p:nvPr/>
            </p:nvSpPr>
            <p:spPr>
              <a:xfrm>
                <a:off x="6771393" y="1984204"/>
                <a:ext cx="1555" cy="777"/>
              </a:xfrm>
              <a:custGeom>
                <a:avLst/>
                <a:gdLst>
                  <a:gd name="connsiteX0" fmla="*/ 1555 w 1555"/>
                  <a:gd name="connsiteY0" fmla="*/ 0 h 777"/>
                  <a:gd name="connsiteX1" fmla="*/ 180 w 1555"/>
                  <a:gd name="connsiteY1" fmla="*/ 778 h 777"/>
                  <a:gd name="connsiteX2" fmla="*/ 0 w 1555"/>
                  <a:gd name="connsiteY2" fmla="*/ 598 h 777"/>
                </a:gdLst>
                <a:ahLst/>
                <a:cxnLst>
                  <a:cxn ang="0">
                    <a:pos x="connsiteX0" y="connsiteY0"/>
                  </a:cxn>
                  <a:cxn ang="0">
                    <a:pos x="connsiteX1" y="connsiteY1"/>
                  </a:cxn>
                  <a:cxn ang="0">
                    <a:pos x="connsiteX2" y="connsiteY2"/>
                  </a:cxn>
                </a:cxnLst>
                <a:rect l="l" t="t" r="r" b="b"/>
                <a:pathLst>
                  <a:path w="1555" h="777">
                    <a:moveTo>
                      <a:pt x="1555" y="0"/>
                    </a:moveTo>
                    <a:lnTo>
                      <a:pt x="180" y="778"/>
                    </a:lnTo>
                    <a:lnTo>
                      <a:pt x="0" y="598"/>
                    </a:lnTo>
                  </a:path>
                </a:pathLst>
              </a:custGeom>
              <a:noFill/>
              <a:ln w="6350" cap="rnd">
                <a:solidFill>
                  <a:schemeClr val="bg1">
                    <a:alpha val="80000"/>
                  </a:schemeClr>
                </a:solidFill>
                <a:prstDash val="solid"/>
                <a:round/>
              </a:ln>
            </p:spPr>
            <p:txBody>
              <a:bodyPr rtlCol="0" anchor="ctr"/>
              <a:lstStyle/>
              <a:p>
                <a:endParaRPr lang="en-GB"/>
              </a:p>
            </p:txBody>
          </p:sp>
          <p:sp>
            <p:nvSpPr>
              <p:cNvPr id="6794" name="Vrije vorm: vorm 6793">
                <a:extLst>
                  <a:ext uri="{FF2B5EF4-FFF2-40B4-BE49-F238E27FC236}">
                    <a16:creationId xmlns:a16="http://schemas.microsoft.com/office/drawing/2014/main" id="{55487EE2-BB04-4F71-B65E-4E678F65E1B5}"/>
                  </a:ext>
                </a:extLst>
              </p:cNvPr>
              <p:cNvSpPr/>
              <p:nvPr/>
            </p:nvSpPr>
            <p:spPr>
              <a:xfrm>
                <a:off x="7082091" y="1941442"/>
                <a:ext cx="179" cy="239"/>
              </a:xfrm>
              <a:custGeom>
                <a:avLst/>
                <a:gdLst>
                  <a:gd name="connsiteX0" fmla="*/ 0 w 179"/>
                  <a:gd name="connsiteY0" fmla="*/ 0 h 239"/>
                  <a:gd name="connsiteX1" fmla="*/ 180 w 179"/>
                  <a:gd name="connsiteY1" fmla="*/ 239 h 239"/>
                </a:gdLst>
                <a:ahLst/>
                <a:cxnLst>
                  <a:cxn ang="0">
                    <a:pos x="connsiteX0" y="connsiteY0"/>
                  </a:cxn>
                  <a:cxn ang="0">
                    <a:pos x="connsiteX1" y="connsiteY1"/>
                  </a:cxn>
                </a:cxnLst>
                <a:rect l="l" t="t" r="r" b="b"/>
                <a:pathLst>
                  <a:path w="179" h="239">
                    <a:moveTo>
                      <a:pt x="0" y="0"/>
                    </a:moveTo>
                    <a:lnTo>
                      <a:pt x="180" y="239"/>
                    </a:lnTo>
                  </a:path>
                </a:pathLst>
              </a:custGeom>
              <a:noFill/>
              <a:ln w="6350" cap="rnd">
                <a:solidFill>
                  <a:schemeClr val="bg1">
                    <a:alpha val="80000"/>
                  </a:schemeClr>
                </a:solidFill>
                <a:prstDash val="solid"/>
                <a:round/>
              </a:ln>
            </p:spPr>
            <p:txBody>
              <a:bodyPr rtlCol="0" anchor="ctr"/>
              <a:lstStyle/>
              <a:p>
                <a:endParaRPr lang="en-GB"/>
              </a:p>
            </p:txBody>
          </p:sp>
          <p:sp>
            <p:nvSpPr>
              <p:cNvPr id="6795" name="Vrije vorm: vorm 6794">
                <a:extLst>
                  <a:ext uri="{FF2B5EF4-FFF2-40B4-BE49-F238E27FC236}">
                    <a16:creationId xmlns:a16="http://schemas.microsoft.com/office/drawing/2014/main" id="{0FA69781-4A2B-4B78-940A-C171FC52D9A4}"/>
                  </a:ext>
                </a:extLst>
              </p:cNvPr>
              <p:cNvSpPr/>
              <p:nvPr/>
            </p:nvSpPr>
            <p:spPr>
              <a:xfrm>
                <a:off x="7045310" y="2075530"/>
                <a:ext cx="8073" cy="10526"/>
              </a:xfrm>
              <a:custGeom>
                <a:avLst/>
                <a:gdLst>
                  <a:gd name="connsiteX0" fmla="*/ 8074 w 8073"/>
                  <a:gd name="connsiteY0" fmla="*/ 0 h 10526"/>
                  <a:gd name="connsiteX1" fmla="*/ 2153 w 8073"/>
                  <a:gd name="connsiteY1" fmla="*/ 8134 h 10526"/>
                  <a:gd name="connsiteX2" fmla="*/ 0 w 8073"/>
                  <a:gd name="connsiteY2" fmla="*/ 10526 h 10526"/>
                </a:gdLst>
                <a:ahLst/>
                <a:cxnLst>
                  <a:cxn ang="0">
                    <a:pos x="connsiteX0" y="connsiteY0"/>
                  </a:cxn>
                  <a:cxn ang="0">
                    <a:pos x="connsiteX1" y="connsiteY1"/>
                  </a:cxn>
                  <a:cxn ang="0">
                    <a:pos x="connsiteX2" y="connsiteY2"/>
                  </a:cxn>
                </a:cxnLst>
                <a:rect l="l" t="t" r="r" b="b"/>
                <a:pathLst>
                  <a:path w="8073" h="10526">
                    <a:moveTo>
                      <a:pt x="8074" y="0"/>
                    </a:moveTo>
                    <a:lnTo>
                      <a:pt x="2153" y="8134"/>
                    </a:lnTo>
                    <a:lnTo>
                      <a:pt x="0" y="10526"/>
                    </a:lnTo>
                  </a:path>
                </a:pathLst>
              </a:custGeom>
              <a:noFill/>
              <a:ln w="6350" cap="rnd">
                <a:solidFill>
                  <a:schemeClr val="bg1">
                    <a:alpha val="80000"/>
                  </a:schemeClr>
                </a:solidFill>
                <a:prstDash val="solid"/>
                <a:round/>
              </a:ln>
            </p:spPr>
            <p:txBody>
              <a:bodyPr rtlCol="0" anchor="ctr"/>
              <a:lstStyle/>
              <a:p>
                <a:endParaRPr lang="en-GB"/>
              </a:p>
            </p:txBody>
          </p:sp>
          <p:sp>
            <p:nvSpPr>
              <p:cNvPr id="6796" name="Vrije vorm: vorm 6795">
                <a:extLst>
                  <a:ext uri="{FF2B5EF4-FFF2-40B4-BE49-F238E27FC236}">
                    <a16:creationId xmlns:a16="http://schemas.microsoft.com/office/drawing/2014/main" id="{6589CA05-2AE8-4B47-8C7F-F9B727A8AEEE}"/>
                  </a:ext>
                </a:extLst>
              </p:cNvPr>
              <p:cNvSpPr/>
              <p:nvPr/>
            </p:nvSpPr>
            <p:spPr>
              <a:xfrm>
                <a:off x="6938733" y="2099273"/>
                <a:ext cx="1136" cy="1435"/>
              </a:xfrm>
              <a:custGeom>
                <a:avLst/>
                <a:gdLst>
                  <a:gd name="connsiteX0" fmla="*/ 0 w 1136"/>
                  <a:gd name="connsiteY0" fmla="*/ 0 h 1435"/>
                  <a:gd name="connsiteX1" fmla="*/ 1137 w 1136"/>
                  <a:gd name="connsiteY1" fmla="*/ 1435 h 1435"/>
                </a:gdLst>
                <a:ahLst/>
                <a:cxnLst>
                  <a:cxn ang="0">
                    <a:pos x="connsiteX0" y="connsiteY0"/>
                  </a:cxn>
                  <a:cxn ang="0">
                    <a:pos x="connsiteX1" y="connsiteY1"/>
                  </a:cxn>
                </a:cxnLst>
                <a:rect l="l" t="t" r="r" b="b"/>
                <a:pathLst>
                  <a:path w="1136" h="1435">
                    <a:moveTo>
                      <a:pt x="0" y="0"/>
                    </a:moveTo>
                    <a:lnTo>
                      <a:pt x="1137" y="1435"/>
                    </a:lnTo>
                  </a:path>
                </a:pathLst>
              </a:custGeom>
              <a:noFill/>
              <a:ln w="6350" cap="rnd">
                <a:solidFill>
                  <a:schemeClr val="bg1">
                    <a:alpha val="80000"/>
                  </a:schemeClr>
                </a:solidFill>
                <a:prstDash val="solid"/>
                <a:round/>
              </a:ln>
            </p:spPr>
            <p:txBody>
              <a:bodyPr rtlCol="0" anchor="ctr"/>
              <a:lstStyle/>
              <a:p>
                <a:endParaRPr lang="en-GB"/>
              </a:p>
            </p:txBody>
          </p:sp>
          <p:sp>
            <p:nvSpPr>
              <p:cNvPr id="6797" name="Vrije vorm: vorm 6796">
                <a:extLst>
                  <a:ext uri="{FF2B5EF4-FFF2-40B4-BE49-F238E27FC236}">
                    <a16:creationId xmlns:a16="http://schemas.microsoft.com/office/drawing/2014/main" id="{E17A4D00-5CA0-4D20-9580-6299E4AB3CB4}"/>
                  </a:ext>
                </a:extLst>
              </p:cNvPr>
              <p:cNvSpPr/>
              <p:nvPr/>
            </p:nvSpPr>
            <p:spPr>
              <a:xfrm>
                <a:off x="6678931" y="1958069"/>
                <a:ext cx="14114" cy="15669"/>
              </a:xfrm>
              <a:custGeom>
                <a:avLst/>
                <a:gdLst>
                  <a:gd name="connsiteX0" fmla="*/ 12261 w 14114"/>
                  <a:gd name="connsiteY0" fmla="*/ 0 h 15669"/>
                  <a:gd name="connsiteX1" fmla="*/ 12859 w 14114"/>
                  <a:gd name="connsiteY1" fmla="*/ 419 h 15669"/>
                  <a:gd name="connsiteX2" fmla="*/ 14115 w 14114"/>
                  <a:gd name="connsiteY2" fmla="*/ 4186 h 15669"/>
                  <a:gd name="connsiteX3" fmla="*/ 13457 w 14114"/>
                  <a:gd name="connsiteY3" fmla="*/ 5742 h 15669"/>
                  <a:gd name="connsiteX4" fmla="*/ 9988 w 14114"/>
                  <a:gd name="connsiteY4" fmla="*/ 14055 h 15669"/>
                  <a:gd name="connsiteX5" fmla="*/ 6041 w 14114"/>
                  <a:gd name="connsiteY5" fmla="*/ 15669 h 15669"/>
                  <a:gd name="connsiteX6" fmla="*/ 2990 w 14114"/>
                  <a:gd name="connsiteY6" fmla="*/ 14533 h 15669"/>
                  <a:gd name="connsiteX7" fmla="*/ 0 w 14114"/>
                  <a:gd name="connsiteY7" fmla="*/ 11961 h 15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14" h="15669">
                    <a:moveTo>
                      <a:pt x="12261" y="0"/>
                    </a:moveTo>
                    <a:lnTo>
                      <a:pt x="12859" y="419"/>
                    </a:lnTo>
                    <a:lnTo>
                      <a:pt x="14115" y="4186"/>
                    </a:lnTo>
                    <a:lnTo>
                      <a:pt x="13457" y="5742"/>
                    </a:lnTo>
                    <a:lnTo>
                      <a:pt x="9988" y="14055"/>
                    </a:lnTo>
                    <a:lnTo>
                      <a:pt x="6041" y="15669"/>
                    </a:lnTo>
                    <a:lnTo>
                      <a:pt x="2990" y="14533"/>
                    </a:lnTo>
                    <a:lnTo>
                      <a:pt x="0" y="11961"/>
                    </a:lnTo>
                  </a:path>
                </a:pathLst>
              </a:custGeom>
              <a:noFill/>
              <a:ln w="6350" cap="rnd">
                <a:solidFill>
                  <a:schemeClr val="bg1">
                    <a:alpha val="80000"/>
                  </a:schemeClr>
                </a:solidFill>
                <a:prstDash val="solid"/>
                <a:round/>
              </a:ln>
            </p:spPr>
            <p:txBody>
              <a:bodyPr rtlCol="0" anchor="ctr"/>
              <a:lstStyle/>
              <a:p>
                <a:endParaRPr lang="en-GB"/>
              </a:p>
            </p:txBody>
          </p:sp>
          <p:sp>
            <p:nvSpPr>
              <p:cNvPr id="6798" name="Vrije vorm: vorm 6797">
                <a:extLst>
                  <a:ext uri="{FF2B5EF4-FFF2-40B4-BE49-F238E27FC236}">
                    <a16:creationId xmlns:a16="http://schemas.microsoft.com/office/drawing/2014/main" id="{93B8D7B9-EC68-4FEF-8528-B625B5CD1813}"/>
                  </a:ext>
                </a:extLst>
              </p:cNvPr>
              <p:cNvSpPr/>
              <p:nvPr/>
            </p:nvSpPr>
            <p:spPr>
              <a:xfrm>
                <a:off x="6947346" y="1968953"/>
                <a:ext cx="1435" cy="7595"/>
              </a:xfrm>
              <a:custGeom>
                <a:avLst/>
                <a:gdLst>
                  <a:gd name="connsiteX0" fmla="*/ 0 w 1435"/>
                  <a:gd name="connsiteY0" fmla="*/ 7595 h 7595"/>
                  <a:gd name="connsiteX1" fmla="*/ 538 w 1435"/>
                  <a:gd name="connsiteY1" fmla="*/ 5921 h 7595"/>
                  <a:gd name="connsiteX2" fmla="*/ 538 w 1435"/>
                  <a:gd name="connsiteY2" fmla="*/ 5921 h 7595"/>
                  <a:gd name="connsiteX3" fmla="*/ 658 w 1435"/>
                  <a:gd name="connsiteY3" fmla="*/ 5502 h 7595"/>
                  <a:gd name="connsiteX4" fmla="*/ 1136 w 1435"/>
                  <a:gd name="connsiteY4" fmla="*/ 3947 h 7595"/>
                  <a:gd name="connsiteX5" fmla="*/ 1196 w 1435"/>
                  <a:gd name="connsiteY5" fmla="*/ 3708 h 7595"/>
                  <a:gd name="connsiteX6" fmla="*/ 1316 w 1435"/>
                  <a:gd name="connsiteY6" fmla="*/ 3349 h 7595"/>
                  <a:gd name="connsiteX7" fmla="*/ 1375 w 1435"/>
                  <a:gd name="connsiteY7" fmla="*/ 3110 h 7595"/>
                  <a:gd name="connsiteX8" fmla="*/ 1375 w 1435"/>
                  <a:gd name="connsiteY8" fmla="*/ 3110 h 7595"/>
                  <a:gd name="connsiteX9" fmla="*/ 1435 w 1435"/>
                  <a:gd name="connsiteY9" fmla="*/ 2990 h 7595"/>
                  <a:gd name="connsiteX10" fmla="*/ 1256 w 1435"/>
                  <a:gd name="connsiteY10" fmla="*/ 2392 h 7595"/>
                  <a:gd name="connsiteX11" fmla="*/ 1196 w 1435"/>
                  <a:gd name="connsiteY11" fmla="*/ 2273 h 7595"/>
                  <a:gd name="connsiteX12" fmla="*/ 956 w 1435"/>
                  <a:gd name="connsiteY12" fmla="*/ 1495 h 7595"/>
                  <a:gd name="connsiteX13" fmla="*/ 718 w 1435"/>
                  <a:gd name="connsiteY13" fmla="*/ 837 h 7595"/>
                  <a:gd name="connsiteX14" fmla="*/ 718 w 1435"/>
                  <a:gd name="connsiteY14" fmla="*/ 837 h 7595"/>
                  <a:gd name="connsiteX15" fmla="*/ 418 w 1435"/>
                  <a:gd name="connsiteY15" fmla="*/ 0 h 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35" h="7595">
                    <a:moveTo>
                      <a:pt x="0" y="7595"/>
                    </a:moveTo>
                    <a:lnTo>
                      <a:pt x="538" y="5921"/>
                    </a:lnTo>
                    <a:lnTo>
                      <a:pt x="538" y="5921"/>
                    </a:lnTo>
                    <a:lnTo>
                      <a:pt x="658" y="5502"/>
                    </a:lnTo>
                    <a:lnTo>
                      <a:pt x="1136" y="3947"/>
                    </a:lnTo>
                    <a:lnTo>
                      <a:pt x="1196" y="3708"/>
                    </a:lnTo>
                    <a:lnTo>
                      <a:pt x="1316" y="3349"/>
                    </a:lnTo>
                    <a:lnTo>
                      <a:pt x="1375" y="3110"/>
                    </a:lnTo>
                    <a:lnTo>
                      <a:pt x="1375" y="3110"/>
                    </a:lnTo>
                    <a:lnTo>
                      <a:pt x="1435" y="2990"/>
                    </a:lnTo>
                    <a:lnTo>
                      <a:pt x="1256" y="2392"/>
                    </a:lnTo>
                    <a:lnTo>
                      <a:pt x="1196" y="2273"/>
                    </a:lnTo>
                    <a:lnTo>
                      <a:pt x="956" y="1495"/>
                    </a:lnTo>
                    <a:lnTo>
                      <a:pt x="718" y="837"/>
                    </a:lnTo>
                    <a:lnTo>
                      <a:pt x="718" y="837"/>
                    </a:lnTo>
                    <a:lnTo>
                      <a:pt x="418" y="0"/>
                    </a:lnTo>
                  </a:path>
                </a:pathLst>
              </a:custGeom>
              <a:noFill/>
              <a:ln w="6350" cap="rnd">
                <a:solidFill>
                  <a:schemeClr val="bg1">
                    <a:alpha val="80000"/>
                  </a:schemeClr>
                </a:solidFill>
                <a:prstDash val="solid"/>
                <a:round/>
              </a:ln>
            </p:spPr>
            <p:txBody>
              <a:bodyPr rtlCol="0" anchor="ctr"/>
              <a:lstStyle/>
              <a:p>
                <a:endParaRPr lang="en-GB"/>
              </a:p>
            </p:txBody>
          </p:sp>
          <p:sp>
            <p:nvSpPr>
              <p:cNvPr id="6799" name="Vrije vorm: vorm 6798">
                <a:extLst>
                  <a:ext uri="{FF2B5EF4-FFF2-40B4-BE49-F238E27FC236}">
                    <a16:creationId xmlns:a16="http://schemas.microsoft.com/office/drawing/2014/main" id="{524739AE-2D1B-4799-93B4-B533E7FEC084}"/>
                  </a:ext>
                </a:extLst>
              </p:cNvPr>
              <p:cNvSpPr/>
              <p:nvPr/>
            </p:nvSpPr>
            <p:spPr>
              <a:xfrm>
                <a:off x="6868520" y="1935641"/>
                <a:ext cx="3349" cy="4425"/>
              </a:xfrm>
              <a:custGeom>
                <a:avLst/>
                <a:gdLst>
                  <a:gd name="connsiteX0" fmla="*/ 3350 w 3349"/>
                  <a:gd name="connsiteY0" fmla="*/ 4426 h 4425"/>
                  <a:gd name="connsiteX1" fmla="*/ 3170 w 3349"/>
                  <a:gd name="connsiteY1" fmla="*/ 3469 h 4425"/>
                  <a:gd name="connsiteX2" fmla="*/ 3170 w 3349"/>
                  <a:gd name="connsiteY2" fmla="*/ 3349 h 4425"/>
                  <a:gd name="connsiteX3" fmla="*/ 3110 w 3349"/>
                  <a:gd name="connsiteY3" fmla="*/ 3170 h 4425"/>
                  <a:gd name="connsiteX4" fmla="*/ 837 w 3349"/>
                  <a:gd name="connsiteY4" fmla="*/ 179 h 4425"/>
                  <a:gd name="connsiteX5" fmla="*/ 0 w 3349"/>
                  <a:gd name="connsiteY5" fmla="*/ 0 h 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9" h="4425">
                    <a:moveTo>
                      <a:pt x="3350" y="4426"/>
                    </a:moveTo>
                    <a:lnTo>
                      <a:pt x="3170" y="3469"/>
                    </a:lnTo>
                    <a:lnTo>
                      <a:pt x="3170" y="3349"/>
                    </a:lnTo>
                    <a:lnTo>
                      <a:pt x="3110" y="3170"/>
                    </a:lnTo>
                    <a:lnTo>
                      <a:pt x="837" y="17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00" name="Vrije vorm: vorm 6799">
                <a:extLst>
                  <a:ext uri="{FF2B5EF4-FFF2-40B4-BE49-F238E27FC236}">
                    <a16:creationId xmlns:a16="http://schemas.microsoft.com/office/drawing/2014/main" id="{BDFFEB6C-092D-42EA-856E-E504A2EA5CE1}"/>
                  </a:ext>
                </a:extLst>
              </p:cNvPr>
              <p:cNvSpPr/>
              <p:nvPr/>
            </p:nvSpPr>
            <p:spPr>
              <a:xfrm>
                <a:off x="6715174" y="1840787"/>
                <a:ext cx="1614" cy="6578"/>
              </a:xfrm>
              <a:custGeom>
                <a:avLst/>
                <a:gdLst>
                  <a:gd name="connsiteX0" fmla="*/ 1615 w 1614"/>
                  <a:gd name="connsiteY0" fmla="*/ 6579 h 6578"/>
                  <a:gd name="connsiteX1" fmla="*/ 837 w 1614"/>
                  <a:gd name="connsiteY1" fmla="*/ 1017 h 6578"/>
                  <a:gd name="connsiteX2" fmla="*/ 120 w 1614"/>
                  <a:gd name="connsiteY2" fmla="*/ 120 h 6578"/>
                  <a:gd name="connsiteX3" fmla="*/ 120 w 1614"/>
                  <a:gd name="connsiteY3" fmla="*/ 120 h 6578"/>
                  <a:gd name="connsiteX4" fmla="*/ 0 w 1614"/>
                  <a:gd name="connsiteY4" fmla="*/ 0 h 6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 h="6578">
                    <a:moveTo>
                      <a:pt x="1615" y="6579"/>
                    </a:moveTo>
                    <a:lnTo>
                      <a:pt x="837" y="1017"/>
                    </a:lnTo>
                    <a:lnTo>
                      <a:pt x="120" y="120"/>
                    </a:lnTo>
                    <a:lnTo>
                      <a:pt x="120"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01" name="Vrije vorm: vorm 6800">
                <a:extLst>
                  <a:ext uri="{FF2B5EF4-FFF2-40B4-BE49-F238E27FC236}">
                    <a16:creationId xmlns:a16="http://schemas.microsoft.com/office/drawing/2014/main" id="{86E4B57D-8F79-40ED-8584-433CF95FF728}"/>
                  </a:ext>
                </a:extLst>
              </p:cNvPr>
              <p:cNvSpPr/>
              <p:nvPr/>
            </p:nvSpPr>
            <p:spPr>
              <a:xfrm>
                <a:off x="6860206" y="1926131"/>
                <a:ext cx="21829" cy="19317"/>
              </a:xfrm>
              <a:custGeom>
                <a:avLst/>
                <a:gdLst>
                  <a:gd name="connsiteX0" fmla="*/ 0 w 21829"/>
                  <a:gd name="connsiteY0" fmla="*/ 11304 h 19317"/>
                  <a:gd name="connsiteX1" fmla="*/ 658 w 21829"/>
                  <a:gd name="connsiteY1" fmla="*/ 9868 h 19317"/>
                  <a:gd name="connsiteX2" fmla="*/ 897 w 21829"/>
                  <a:gd name="connsiteY2" fmla="*/ 9330 h 19317"/>
                  <a:gd name="connsiteX3" fmla="*/ 1555 w 21829"/>
                  <a:gd name="connsiteY3" fmla="*/ 7895 h 19317"/>
                  <a:gd name="connsiteX4" fmla="*/ 4426 w 21829"/>
                  <a:gd name="connsiteY4" fmla="*/ 1615 h 19317"/>
                  <a:gd name="connsiteX5" fmla="*/ 7296 w 21829"/>
                  <a:gd name="connsiteY5" fmla="*/ 419 h 19317"/>
                  <a:gd name="connsiteX6" fmla="*/ 7715 w 21829"/>
                  <a:gd name="connsiteY6" fmla="*/ 239 h 19317"/>
                  <a:gd name="connsiteX7" fmla="*/ 8253 w 21829"/>
                  <a:gd name="connsiteY7" fmla="*/ 0 h 19317"/>
                  <a:gd name="connsiteX8" fmla="*/ 11483 w 21829"/>
                  <a:gd name="connsiteY8" fmla="*/ 837 h 19317"/>
                  <a:gd name="connsiteX9" fmla="*/ 11902 w 21829"/>
                  <a:gd name="connsiteY9" fmla="*/ 957 h 19317"/>
                  <a:gd name="connsiteX10" fmla="*/ 12261 w 21829"/>
                  <a:gd name="connsiteY10" fmla="*/ 1076 h 19317"/>
                  <a:gd name="connsiteX11" fmla="*/ 13038 w 21829"/>
                  <a:gd name="connsiteY11" fmla="*/ 1555 h 19317"/>
                  <a:gd name="connsiteX12" fmla="*/ 15431 w 21829"/>
                  <a:gd name="connsiteY12" fmla="*/ 3050 h 19317"/>
                  <a:gd name="connsiteX13" fmla="*/ 15969 w 21829"/>
                  <a:gd name="connsiteY13" fmla="*/ 3409 h 19317"/>
                  <a:gd name="connsiteX14" fmla="*/ 16686 w 21829"/>
                  <a:gd name="connsiteY14" fmla="*/ 3828 h 19317"/>
                  <a:gd name="connsiteX15" fmla="*/ 16866 w 21829"/>
                  <a:gd name="connsiteY15" fmla="*/ 4127 h 19317"/>
                  <a:gd name="connsiteX16" fmla="*/ 16985 w 21829"/>
                  <a:gd name="connsiteY16" fmla="*/ 4366 h 19317"/>
                  <a:gd name="connsiteX17" fmla="*/ 17105 w 21829"/>
                  <a:gd name="connsiteY17" fmla="*/ 4605 h 19317"/>
                  <a:gd name="connsiteX18" fmla="*/ 17284 w 21829"/>
                  <a:gd name="connsiteY18" fmla="*/ 4904 h 19317"/>
                  <a:gd name="connsiteX19" fmla="*/ 17464 w 21829"/>
                  <a:gd name="connsiteY19" fmla="*/ 5263 h 19317"/>
                  <a:gd name="connsiteX20" fmla="*/ 18421 w 21829"/>
                  <a:gd name="connsiteY20" fmla="*/ 6818 h 19317"/>
                  <a:gd name="connsiteX21" fmla="*/ 18959 w 21829"/>
                  <a:gd name="connsiteY21" fmla="*/ 7715 h 19317"/>
                  <a:gd name="connsiteX22" fmla="*/ 19199 w 21829"/>
                  <a:gd name="connsiteY22" fmla="*/ 8134 h 19317"/>
                  <a:gd name="connsiteX23" fmla="*/ 19199 w 21829"/>
                  <a:gd name="connsiteY23" fmla="*/ 8134 h 19317"/>
                  <a:gd name="connsiteX24" fmla="*/ 19437 w 21829"/>
                  <a:gd name="connsiteY24" fmla="*/ 9091 h 19317"/>
                  <a:gd name="connsiteX25" fmla="*/ 20454 w 21829"/>
                  <a:gd name="connsiteY25" fmla="*/ 12799 h 19317"/>
                  <a:gd name="connsiteX26" fmla="*/ 20634 w 21829"/>
                  <a:gd name="connsiteY26" fmla="*/ 13576 h 19317"/>
                  <a:gd name="connsiteX27" fmla="*/ 21052 w 21829"/>
                  <a:gd name="connsiteY27" fmla="*/ 15071 h 19317"/>
                  <a:gd name="connsiteX28" fmla="*/ 21411 w 21829"/>
                  <a:gd name="connsiteY28" fmla="*/ 16327 h 19317"/>
                  <a:gd name="connsiteX29" fmla="*/ 21530 w 21829"/>
                  <a:gd name="connsiteY29" fmla="*/ 17284 h 19317"/>
                  <a:gd name="connsiteX30" fmla="*/ 21590 w 21829"/>
                  <a:gd name="connsiteY30" fmla="*/ 17583 h 19317"/>
                  <a:gd name="connsiteX31" fmla="*/ 21830 w 21829"/>
                  <a:gd name="connsiteY31" fmla="*/ 19318 h 1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829" h="19317">
                    <a:moveTo>
                      <a:pt x="0" y="11304"/>
                    </a:moveTo>
                    <a:lnTo>
                      <a:pt x="658" y="9868"/>
                    </a:lnTo>
                    <a:lnTo>
                      <a:pt x="897" y="9330"/>
                    </a:lnTo>
                    <a:lnTo>
                      <a:pt x="1555" y="7895"/>
                    </a:lnTo>
                    <a:lnTo>
                      <a:pt x="4426" y="1615"/>
                    </a:lnTo>
                    <a:lnTo>
                      <a:pt x="7296" y="419"/>
                    </a:lnTo>
                    <a:lnTo>
                      <a:pt x="7715" y="239"/>
                    </a:lnTo>
                    <a:lnTo>
                      <a:pt x="8253" y="0"/>
                    </a:lnTo>
                    <a:lnTo>
                      <a:pt x="11483" y="837"/>
                    </a:lnTo>
                    <a:lnTo>
                      <a:pt x="11902" y="957"/>
                    </a:lnTo>
                    <a:lnTo>
                      <a:pt x="12261" y="1076"/>
                    </a:lnTo>
                    <a:lnTo>
                      <a:pt x="13038" y="1555"/>
                    </a:lnTo>
                    <a:lnTo>
                      <a:pt x="15431" y="3050"/>
                    </a:lnTo>
                    <a:lnTo>
                      <a:pt x="15969" y="3409"/>
                    </a:lnTo>
                    <a:lnTo>
                      <a:pt x="16686" y="3828"/>
                    </a:lnTo>
                    <a:lnTo>
                      <a:pt x="16866" y="4127"/>
                    </a:lnTo>
                    <a:lnTo>
                      <a:pt x="16985" y="4366"/>
                    </a:lnTo>
                    <a:lnTo>
                      <a:pt x="17105" y="4605"/>
                    </a:lnTo>
                    <a:lnTo>
                      <a:pt x="17284" y="4904"/>
                    </a:lnTo>
                    <a:lnTo>
                      <a:pt x="17464" y="5263"/>
                    </a:lnTo>
                    <a:lnTo>
                      <a:pt x="18421" y="6818"/>
                    </a:lnTo>
                    <a:lnTo>
                      <a:pt x="18959" y="7715"/>
                    </a:lnTo>
                    <a:lnTo>
                      <a:pt x="19199" y="8134"/>
                    </a:lnTo>
                    <a:lnTo>
                      <a:pt x="19199" y="8134"/>
                    </a:lnTo>
                    <a:lnTo>
                      <a:pt x="19437" y="9091"/>
                    </a:lnTo>
                    <a:lnTo>
                      <a:pt x="20454" y="12799"/>
                    </a:lnTo>
                    <a:lnTo>
                      <a:pt x="20634" y="13576"/>
                    </a:lnTo>
                    <a:lnTo>
                      <a:pt x="21052" y="15071"/>
                    </a:lnTo>
                    <a:lnTo>
                      <a:pt x="21411" y="16327"/>
                    </a:lnTo>
                    <a:lnTo>
                      <a:pt x="21530" y="17284"/>
                    </a:lnTo>
                    <a:lnTo>
                      <a:pt x="21590" y="17583"/>
                    </a:lnTo>
                    <a:lnTo>
                      <a:pt x="21830" y="19318"/>
                    </a:lnTo>
                  </a:path>
                </a:pathLst>
              </a:custGeom>
              <a:noFill/>
              <a:ln w="6350" cap="rnd">
                <a:solidFill>
                  <a:schemeClr val="bg1">
                    <a:alpha val="80000"/>
                  </a:schemeClr>
                </a:solidFill>
                <a:prstDash val="solid"/>
                <a:round/>
              </a:ln>
            </p:spPr>
            <p:txBody>
              <a:bodyPr rtlCol="0" anchor="ctr"/>
              <a:lstStyle/>
              <a:p>
                <a:endParaRPr lang="en-GB"/>
              </a:p>
            </p:txBody>
          </p:sp>
          <p:sp>
            <p:nvSpPr>
              <p:cNvPr id="6802" name="Vrije vorm: vorm 6801">
                <a:extLst>
                  <a:ext uri="{FF2B5EF4-FFF2-40B4-BE49-F238E27FC236}">
                    <a16:creationId xmlns:a16="http://schemas.microsoft.com/office/drawing/2014/main" id="{BE60429A-D477-4B5F-8D13-C372CE11A7C8}"/>
                  </a:ext>
                </a:extLst>
              </p:cNvPr>
              <p:cNvSpPr/>
              <p:nvPr/>
            </p:nvSpPr>
            <p:spPr>
              <a:xfrm>
                <a:off x="6646037" y="1885343"/>
                <a:ext cx="13755" cy="956"/>
              </a:xfrm>
              <a:custGeom>
                <a:avLst/>
                <a:gdLst>
                  <a:gd name="connsiteX0" fmla="*/ 13756 w 13755"/>
                  <a:gd name="connsiteY0" fmla="*/ 658 h 956"/>
                  <a:gd name="connsiteX1" fmla="*/ 8433 w 13755"/>
                  <a:gd name="connsiteY1" fmla="*/ 0 h 956"/>
                  <a:gd name="connsiteX2" fmla="*/ 5323 w 13755"/>
                  <a:gd name="connsiteY2" fmla="*/ 359 h 956"/>
                  <a:gd name="connsiteX3" fmla="*/ 0 w 13755"/>
                  <a:gd name="connsiteY3" fmla="*/ 957 h 956"/>
                </a:gdLst>
                <a:ahLst/>
                <a:cxnLst>
                  <a:cxn ang="0">
                    <a:pos x="connsiteX0" y="connsiteY0"/>
                  </a:cxn>
                  <a:cxn ang="0">
                    <a:pos x="connsiteX1" y="connsiteY1"/>
                  </a:cxn>
                  <a:cxn ang="0">
                    <a:pos x="connsiteX2" y="connsiteY2"/>
                  </a:cxn>
                  <a:cxn ang="0">
                    <a:pos x="connsiteX3" y="connsiteY3"/>
                  </a:cxn>
                </a:cxnLst>
                <a:rect l="l" t="t" r="r" b="b"/>
                <a:pathLst>
                  <a:path w="13755" h="956">
                    <a:moveTo>
                      <a:pt x="13756" y="658"/>
                    </a:moveTo>
                    <a:lnTo>
                      <a:pt x="8433" y="0"/>
                    </a:lnTo>
                    <a:lnTo>
                      <a:pt x="5323" y="359"/>
                    </a:lnTo>
                    <a:lnTo>
                      <a:pt x="0" y="957"/>
                    </a:lnTo>
                  </a:path>
                </a:pathLst>
              </a:custGeom>
              <a:noFill/>
              <a:ln w="6350" cap="rnd">
                <a:solidFill>
                  <a:schemeClr val="bg1">
                    <a:alpha val="80000"/>
                  </a:schemeClr>
                </a:solidFill>
                <a:prstDash val="solid"/>
                <a:round/>
              </a:ln>
            </p:spPr>
            <p:txBody>
              <a:bodyPr rtlCol="0" anchor="ctr"/>
              <a:lstStyle/>
              <a:p>
                <a:endParaRPr lang="en-GB"/>
              </a:p>
            </p:txBody>
          </p:sp>
          <p:sp>
            <p:nvSpPr>
              <p:cNvPr id="6803" name="Vrije vorm: vorm 6802">
                <a:extLst>
                  <a:ext uri="{FF2B5EF4-FFF2-40B4-BE49-F238E27FC236}">
                    <a16:creationId xmlns:a16="http://schemas.microsoft.com/office/drawing/2014/main" id="{1A3293C2-6AB3-4B99-93CB-F1F7048FBD1D}"/>
                  </a:ext>
                </a:extLst>
              </p:cNvPr>
              <p:cNvSpPr/>
              <p:nvPr/>
            </p:nvSpPr>
            <p:spPr>
              <a:xfrm>
                <a:off x="6835746" y="1986058"/>
                <a:ext cx="597" cy="12380"/>
              </a:xfrm>
              <a:custGeom>
                <a:avLst/>
                <a:gdLst>
                  <a:gd name="connsiteX0" fmla="*/ 598 w 597"/>
                  <a:gd name="connsiteY0" fmla="*/ 12380 h 12380"/>
                  <a:gd name="connsiteX1" fmla="*/ 0 w 597"/>
                  <a:gd name="connsiteY1" fmla="*/ 10706 h 12380"/>
                  <a:gd name="connsiteX2" fmla="*/ 0 w 597"/>
                  <a:gd name="connsiteY2" fmla="*/ 10287 h 12380"/>
                  <a:gd name="connsiteX3" fmla="*/ 0 w 597"/>
                  <a:gd name="connsiteY3" fmla="*/ 8732 h 12380"/>
                  <a:gd name="connsiteX4" fmla="*/ 0 w 597"/>
                  <a:gd name="connsiteY4" fmla="*/ 6579 h 12380"/>
                  <a:gd name="connsiteX5" fmla="*/ 0 w 597"/>
                  <a:gd name="connsiteY5" fmla="*/ 1256 h 12380"/>
                  <a:gd name="connsiteX6" fmla="*/ 0 w 597"/>
                  <a:gd name="connsiteY6" fmla="*/ 0 h 1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 h="12380">
                    <a:moveTo>
                      <a:pt x="598" y="12380"/>
                    </a:moveTo>
                    <a:lnTo>
                      <a:pt x="0" y="10706"/>
                    </a:lnTo>
                    <a:lnTo>
                      <a:pt x="0" y="10287"/>
                    </a:lnTo>
                    <a:lnTo>
                      <a:pt x="0" y="8732"/>
                    </a:lnTo>
                    <a:lnTo>
                      <a:pt x="0" y="6579"/>
                    </a:lnTo>
                    <a:lnTo>
                      <a:pt x="0" y="125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04" name="Vrije vorm: vorm 6803">
                <a:extLst>
                  <a:ext uri="{FF2B5EF4-FFF2-40B4-BE49-F238E27FC236}">
                    <a16:creationId xmlns:a16="http://schemas.microsoft.com/office/drawing/2014/main" id="{29EB09E9-070B-478A-B4C7-E65D06FEA88C}"/>
                  </a:ext>
                </a:extLst>
              </p:cNvPr>
              <p:cNvSpPr/>
              <p:nvPr/>
            </p:nvSpPr>
            <p:spPr>
              <a:xfrm>
                <a:off x="6832456" y="1967458"/>
                <a:ext cx="2093" cy="8552"/>
              </a:xfrm>
              <a:custGeom>
                <a:avLst/>
                <a:gdLst>
                  <a:gd name="connsiteX0" fmla="*/ 2094 w 2093"/>
                  <a:gd name="connsiteY0" fmla="*/ 8552 h 8552"/>
                  <a:gd name="connsiteX1" fmla="*/ 1795 w 2093"/>
                  <a:gd name="connsiteY1" fmla="*/ 6639 h 8552"/>
                  <a:gd name="connsiteX2" fmla="*/ 1256 w 2093"/>
                  <a:gd name="connsiteY2" fmla="*/ 3409 h 8552"/>
                  <a:gd name="connsiteX3" fmla="*/ 1017 w 2093"/>
                  <a:gd name="connsiteY3" fmla="*/ 2213 h 8552"/>
                  <a:gd name="connsiteX4" fmla="*/ 0 w 2093"/>
                  <a:gd name="connsiteY4" fmla="*/ 0 h 8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 h="8552">
                    <a:moveTo>
                      <a:pt x="2094" y="8552"/>
                    </a:moveTo>
                    <a:lnTo>
                      <a:pt x="1795" y="6639"/>
                    </a:lnTo>
                    <a:lnTo>
                      <a:pt x="1256" y="3409"/>
                    </a:lnTo>
                    <a:lnTo>
                      <a:pt x="1017" y="2213"/>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05" name="Vrije vorm: vorm 6804">
                <a:extLst>
                  <a:ext uri="{FF2B5EF4-FFF2-40B4-BE49-F238E27FC236}">
                    <a16:creationId xmlns:a16="http://schemas.microsoft.com/office/drawing/2014/main" id="{A4710111-E711-42FC-A2F0-D19CD72BD828}"/>
                  </a:ext>
                </a:extLst>
              </p:cNvPr>
              <p:cNvSpPr/>
              <p:nvPr/>
            </p:nvSpPr>
            <p:spPr>
              <a:xfrm>
                <a:off x="6678512" y="1865906"/>
                <a:ext cx="7356" cy="5322"/>
              </a:xfrm>
              <a:custGeom>
                <a:avLst/>
                <a:gdLst>
                  <a:gd name="connsiteX0" fmla="*/ 7357 w 7356"/>
                  <a:gd name="connsiteY0" fmla="*/ 5323 h 5322"/>
                  <a:gd name="connsiteX1" fmla="*/ 4605 w 7356"/>
                  <a:gd name="connsiteY1" fmla="*/ 2632 h 5322"/>
                  <a:gd name="connsiteX2" fmla="*/ 3947 w 7356"/>
                  <a:gd name="connsiteY2" fmla="*/ 1974 h 5322"/>
                  <a:gd name="connsiteX3" fmla="*/ 0 w 7356"/>
                  <a:gd name="connsiteY3" fmla="*/ 0 h 5322"/>
                </a:gdLst>
                <a:ahLst/>
                <a:cxnLst>
                  <a:cxn ang="0">
                    <a:pos x="connsiteX0" y="connsiteY0"/>
                  </a:cxn>
                  <a:cxn ang="0">
                    <a:pos x="connsiteX1" y="connsiteY1"/>
                  </a:cxn>
                  <a:cxn ang="0">
                    <a:pos x="connsiteX2" y="connsiteY2"/>
                  </a:cxn>
                  <a:cxn ang="0">
                    <a:pos x="connsiteX3" y="connsiteY3"/>
                  </a:cxn>
                </a:cxnLst>
                <a:rect l="l" t="t" r="r" b="b"/>
                <a:pathLst>
                  <a:path w="7356" h="5322">
                    <a:moveTo>
                      <a:pt x="7357" y="5323"/>
                    </a:moveTo>
                    <a:lnTo>
                      <a:pt x="4605" y="2632"/>
                    </a:lnTo>
                    <a:lnTo>
                      <a:pt x="3947" y="1974"/>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06" name="Vrije vorm: vorm 6805">
                <a:extLst>
                  <a:ext uri="{FF2B5EF4-FFF2-40B4-BE49-F238E27FC236}">
                    <a16:creationId xmlns:a16="http://schemas.microsoft.com/office/drawing/2014/main" id="{61B63377-0C63-463B-9E9A-2FB7118D0225}"/>
                  </a:ext>
                </a:extLst>
              </p:cNvPr>
              <p:cNvSpPr/>
              <p:nvPr/>
            </p:nvSpPr>
            <p:spPr>
              <a:xfrm>
                <a:off x="6850578" y="1949097"/>
                <a:ext cx="2392" cy="5502"/>
              </a:xfrm>
              <a:custGeom>
                <a:avLst/>
                <a:gdLst>
                  <a:gd name="connsiteX0" fmla="*/ 2392 w 2392"/>
                  <a:gd name="connsiteY0" fmla="*/ 5502 h 5502"/>
                  <a:gd name="connsiteX1" fmla="*/ 1555 w 2392"/>
                  <a:gd name="connsiteY1" fmla="*/ 2871 h 5502"/>
                  <a:gd name="connsiteX2" fmla="*/ 897 w 2392"/>
                  <a:gd name="connsiteY2" fmla="*/ 778 h 5502"/>
                  <a:gd name="connsiteX3" fmla="*/ 837 w 2392"/>
                  <a:gd name="connsiteY3" fmla="*/ 718 h 5502"/>
                  <a:gd name="connsiteX4" fmla="*/ 0 w 2392"/>
                  <a:gd name="connsiteY4" fmla="*/ 0 h 5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2" h="5502">
                    <a:moveTo>
                      <a:pt x="2392" y="5502"/>
                    </a:moveTo>
                    <a:lnTo>
                      <a:pt x="1555" y="2871"/>
                    </a:lnTo>
                    <a:lnTo>
                      <a:pt x="897" y="778"/>
                    </a:lnTo>
                    <a:lnTo>
                      <a:pt x="837" y="71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07" name="Vrije vorm: vorm 6806">
                <a:extLst>
                  <a:ext uri="{FF2B5EF4-FFF2-40B4-BE49-F238E27FC236}">
                    <a16:creationId xmlns:a16="http://schemas.microsoft.com/office/drawing/2014/main" id="{BAE980E3-43E7-4DCD-A32E-3C7AEF90AC11}"/>
                  </a:ext>
                </a:extLst>
              </p:cNvPr>
              <p:cNvSpPr/>
              <p:nvPr/>
            </p:nvSpPr>
            <p:spPr>
              <a:xfrm>
                <a:off x="6884907" y="1929182"/>
                <a:ext cx="3229" cy="1315"/>
              </a:xfrm>
              <a:custGeom>
                <a:avLst/>
                <a:gdLst>
                  <a:gd name="connsiteX0" fmla="*/ 3230 w 3229"/>
                  <a:gd name="connsiteY0" fmla="*/ 1316 h 1315"/>
                  <a:gd name="connsiteX1" fmla="*/ 2213 w 3229"/>
                  <a:gd name="connsiteY1" fmla="*/ 897 h 1315"/>
                  <a:gd name="connsiteX2" fmla="*/ 2093 w 3229"/>
                  <a:gd name="connsiteY2" fmla="*/ 837 h 1315"/>
                  <a:gd name="connsiteX3" fmla="*/ 0 w 3229"/>
                  <a:gd name="connsiteY3" fmla="*/ 0 h 1315"/>
                </a:gdLst>
                <a:ahLst/>
                <a:cxnLst>
                  <a:cxn ang="0">
                    <a:pos x="connsiteX0" y="connsiteY0"/>
                  </a:cxn>
                  <a:cxn ang="0">
                    <a:pos x="connsiteX1" y="connsiteY1"/>
                  </a:cxn>
                  <a:cxn ang="0">
                    <a:pos x="connsiteX2" y="connsiteY2"/>
                  </a:cxn>
                  <a:cxn ang="0">
                    <a:pos x="connsiteX3" y="connsiteY3"/>
                  </a:cxn>
                </a:cxnLst>
                <a:rect l="l" t="t" r="r" b="b"/>
                <a:pathLst>
                  <a:path w="3229" h="1315">
                    <a:moveTo>
                      <a:pt x="3230" y="1316"/>
                    </a:moveTo>
                    <a:lnTo>
                      <a:pt x="2213" y="897"/>
                    </a:lnTo>
                    <a:lnTo>
                      <a:pt x="2093" y="83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08" name="Vrije vorm: vorm 6807">
                <a:extLst>
                  <a:ext uri="{FF2B5EF4-FFF2-40B4-BE49-F238E27FC236}">
                    <a16:creationId xmlns:a16="http://schemas.microsoft.com/office/drawing/2014/main" id="{BFC43558-E46A-4063-8EB1-7C0061660CC3}"/>
                  </a:ext>
                </a:extLst>
              </p:cNvPr>
              <p:cNvSpPr/>
              <p:nvPr/>
            </p:nvSpPr>
            <p:spPr>
              <a:xfrm>
                <a:off x="6875637" y="1923679"/>
                <a:ext cx="24819" cy="17045"/>
              </a:xfrm>
              <a:custGeom>
                <a:avLst/>
                <a:gdLst>
                  <a:gd name="connsiteX0" fmla="*/ 0 w 24819"/>
                  <a:gd name="connsiteY0" fmla="*/ 5383 h 17045"/>
                  <a:gd name="connsiteX1" fmla="*/ 3409 w 24819"/>
                  <a:gd name="connsiteY1" fmla="*/ 0 h 17045"/>
                  <a:gd name="connsiteX2" fmla="*/ 5861 w 24819"/>
                  <a:gd name="connsiteY2" fmla="*/ 0 h 17045"/>
                  <a:gd name="connsiteX3" fmla="*/ 5981 w 24819"/>
                  <a:gd name="connsiteY3" fmla="*/ 0 h 17045"/>
                  <a:gd name="connsiteX4" fmla="*/ 6997 w 24819"/>
                  <a:gd name="connsiteY4" fmla="*/ 0 h 17045"/>
                  <a:gd name="connsiteX5" fmla="*/ 7595 w 24819"/>
                  <a:gd name="connsiteY5" fmla="*/ 0 h 17045"/>
                  <a:gd name="connsiteX6" fmla="*/ 8313 w 24819"/>
                  <a:gd name="connsiteY6" fmla="*/ 0 h 17045"/>
                  <a:gd name="connsiteX7" fmla="*/ 9449 w 24819"/>
                  <a:gd name="connsiteY7" fmla="*/ 60 h 17045"/>
                  <a:gd name="connsiteX8" fmla="*/ 10585 w 24819"/>
                  <a:gd name="connsiteY8" fmla="*/ 120 h 17045"/>
                  <a:gd name="connsiteX9" fmla="*/ 11303 w 24819"/>
                  <a:gd name="connsiteY9" fmla="*/ 120 h 17045"/>
                  <a:gd name="connsiteX10" fmla="*/ 16387 w 24819"/>
                  <a:gd name="connsiteY10" fmla="*/ 1196 h 17045"/>
                  <a:gd name="connsiteX11" fmla="*/ 16865 w 24819"/>
                  <a:gd name="connsiteY11" fmla="*/ 1316 h 17045"/>
                  <a:gd name="connsiteX12" fmla="*/ 16925 w 24819"/>
                  <a:gd name="connsiteY12" fmla="*/ 1376 h 17045"/>
                  <a:gd name="connsiteX13" fmla="*/ 18301 w 24819"/>
                  <a:gd name="connsiteY13" fmla="*/ 2273 h 17045"/>
                  <a:gd name="connsiteX14" fmla="*/ 18540 w 24819"/>
                  <a:gd name="connsiteY14" fmla="*/ 2392 h 17045"/>
                  <a:gd name="connsiteX15" fmla="*/ 20454 w 24819"/>
                  <a:gd name="connsiteY15" fmla="*/ 3648 h 17045"/>
                  <a:gd name="connsiteX16" fmla="*/ 20513 w 24819"/>
                  <a:gd name="connsiteY16" fmla="*/ 3648 h 17045"/>
                  <a:gd name="connsiteX17" fmla="*/ 21231 w 24819"/>
                  <a:gd name="connsiteY17" fmla="*/ 4785 h 17045"/>
                  <a:gd name="connsiteX18" fmla="*/ 21710 w 24819"/>
                  <a:gd name="connsiteY18" fmla="*/ 5562 h 17045"/>
                  <a:gd name="connsiteX19" fmla="*/ 21949 w 24819"/>
                  <a:gd name="connsiteY19" fmla="*/ 5921 h 17045"/>
                  <a:gd name="connsiteX20" fmla="*/ 22966 w 24819"/>
                  <a:gd name="connsiteY20" fmla="*/ 7476 h 17045"/>
                  <a:gd name="connsiteX21" fmla="*/ 23923 w 24819"/>
                  <a:gd name="connsiteY21" fmla="*/ 8971 h 17045"/>
                  <a:gd name="connsiteX22" fmla="*/ 23982 w 24819"/>
                  <a:gd name="connsiteY22" fmla="*/ 9390 h 17045"/>
                  <a:gd name="connsiteX23" fmla="*/ 23982 w 24819"/>
                  <a:gd name="connsiteY23" fmla="*/ 9450 h 17045"/>
                  <a:gd name="connsiteX24" fmla="*/ 24102 w 24819"/>
                  <a:gd name="connsiteY24" fmla="*/ 10167 h 17045"/>
                  <a:gd name="connsiteX25" fmla="*/ 24102 w 24819"/>
                  <a:gd name="connsiteY25" fmla="*/ 10167 h 17045"/>
                  <a:gd name="connsiteX26" fmla="*/ 24341 w 24819"/>
                  <a:gd name="connsiteY26" fmla="*/ 11304 h 17045"/>
                  <a:gd name="connsiteX27" fmla="*/ 24461 w 24819"/>
                  <a:gd name="connsiteY27" fmla="*/ 12021 h 17045"/>
                  <a:gd name="connsiteX28" fmla="*/ 24461 w 24819"/>
                  <a:gd name="connsiteY28" fmla="*/ 12081 h 17045"/>
                  <a:gd name="connsiteX29" fmla="*/ 24819 w 24819"/>
                  <a:gd name="connsiteY29" fmla="*/ 13995 h 17045"/>
                  <a:gd name="connsiteX30" fmla="*/ 24760 w 24819"/>
                  <a:gd name="connsiteY30" fmla="*/ 14832 h 17045"/>
                  <a:gd name="connsiteX31" fmla="*/ 24760 w 24819"/>
                  <a:gd name="connsiteY31" fmla="*/ 15251 h 17045"/>
                  <a:gd name="connsiteX32" fmla="*/ 24760 w 24819"/>
                  <a:gd name="connsiteY32" fmla="*/ 15311 h 17045"/>
                  <a:gd name="connsiteX33" fmla="*/ 24760 w 24819"/>
                  <a:gd name="connsiteY33" fmla="*/ 15490 h 17045"/>
                  <a:gd name="connsiteX34" fmla="*/ 24700 w 24819"/>
                  <a:gd name="connsiteY34" fmla="*/ 17045 h 1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819" h="17045">
                    <a:moveTo>
                      <a:pt x="0" y="5383"/>
                    </a:moveTo>
                    <a:lnTo>
                      <a:pt x="3409" y="0"/>
                    </a:lnTo>
                    <a:lnTo>
                      <a:pt x="5861" y="0"/>
                    </a:lnTo>
                    <a:lnTo>
                      <a:pt x="5981" y="0"/>
                    </a:lnTo>
                    <a:lnTo>
                      <a:pt x="6997" y="0"/>
                    </a:lnTo>
                    <a:lnTo>
                      <a:pt x="7595" y="0"/>
                    </a:lnTo>
                    <a:lnTo>
                      <a:pt x="8313" y="0"/>
                    </a:lnTo>
                    <a:lnTo>
                      <a:pt x="9449" y="60"/>
                    </a:lnTo>
                    <a:lnTo>
                      <a:pt x="10585" y="120"/>
                    </a:lnTo>
                    <a:lnTo>
                      <a:pt x="11303" y="120"/>
                    </a:lnTo>
                    <a:lnTo>
                      <a:pt x="16387" y="1196"/>
                    </a:lnTo>
                    <a:lnTo>
                      <a:pt x="16865" y="1316"/>
                    </a:lnTo>
                    <a:lnTo>
                      <a:pt x="16925" y="1376"/>
                    </a:lnTo>
                    <a:lnTo>
                      <a:pt x="18301" y="2273"/>
                    </a:lnTo>
                    <a:lnTo>
                      <a:pt x="18540" y="2392"/>
                    </a:lnTo>
                    <a:lnTo>
                      <a:pt x="20454" y="3648"/>
                    </a:lnTo>
                    <a:lnTo>
                      <a:pt x="20513" y="3648"/>
                    </a:lnTo>
                    <a:lnTo>
                      <a:pt x="21231" y="4785"/>
                    </a:lnTo>
                    <a:lnTo>
                      <a:pt x="21710" y="5562"/>
                    </a:lnTo>
                    <a:lnTo>
                      <a:pt x="21949" y="5921"/>
                    </a:lnTo>
                    <a:lnTo>
                      <a:pt x="22966" y="7476"/>
                    </a:lnTo>
                    <a:lnTo>
                      <a:pt x="23923" y="8971"/>
                    </a:lnTo>
                    <a:lnTo>
                      <a:pt x="23982" y="9390"/>
                    </a:lnTo>
                    <a:lnTo>
                      <a:pt x="23982" y="9450"/>
                    </a:lnTo>
                    <a:lnTo>
                      <a:pt x="24102" y="10167"/>
                    </a:lnTo>
                    <a:lnTo>
                      <a:pt x="24102" y="10167"/>
                    </a:lnTo>
                    <a:lnTo>
                      <a:pt x="24341" y="11304"/>
                    </a:lnTo>
                    <a:lnTo>
                      <a:pt x="24461" y="12021"/>
                    </a:lnTo>
                    <a:lnTo>
                      <a:pt x="24461" y="12081"/>
                    </a:lnTo>
                    <a:lnTo>
                      <a:pt x="24819" y="13995"/>
                    </a:lnTo>
                    <a:lnTo>
                      <a:pt x="24760" y="14832"/>
                    </a:lnTo>
                    <a:lnTo>
                      <a:pt x="24760" y="15251"/>
                    </a:lnTo>
                    <a:lnTo>
                      <a:pt x="24760" y="15311"/>
                    </a:lnTo>
                    <a:lnTo>
                      <a:pt x="24760" y="15490"/>
                    </a:lnTo>
                    <a:lnTo>
                      <a:pt x="24700" y="17045"/>
                    </a:lnTo>
                  </a:path>
                </a:pathLst>
              </a:custGeom>
              <a:noFill/>
              <a:ln w="6350" cap="rnd">
                <a:solidFill>
                  <a:schemeClr val="bg1">
                    <a:alpha val="80000"/>
                  </a:schemeClr>
                </a:solidFill>
                <a:prstDash val="solid"/>
                <a:round/>
              </a:ln>
            </p:spPr>
            <p:txBody>
              <a:bodyPr rtlCol="0" anchor="ctr"/>
              <a:lstStyle/>
              <a:p>
                <a:endParaRPr lang="en-GB"/>
              </a:p>
            </p:txBody>
          </p:sp>
          <p:sp>
            <p:nvSpPr>
              <p:cNvPr id="6809" name="Vrije vorm: vorm 6808">
                <a:extLst>
                  <a:ext uri="{FF2B5EF4-FFF2-40B4-BE49-F238E27FC236}">
                    <a16:creationId xmlns:a16="http://schemas.microsoft.com/office/drawing/2014/main" id="{09143A4E-50D5-4FA9-8821-E49A3483E40D}"/>
                  </a:ext>
                </a:extLst>
              </p:cNvPr>
              <p:cNvSpPr/>
              <p:nvPr/>
            </p:nvSpPr>
            <p:spPr>
              <a:xfrm>
                <a:off x="6741489" y="1840966"/>
                <a:ext cx="1435" cy="5861"/>
              </a:xfrm>
              <a:custGeom>
                <a:avLst/>
                <a:gdLst>
                  <a:gd name="connsiteX0" fmla="*/ 0 w 1435"/>
                  <a:gd name="connsiteY0" fmla="*/ 5861 h 5861"/>
                  <a:gd name="connsiteX1" fmla="*/ 897 w 1435"/>
                  <a:gd name="connsiteY1" fmla="*/ 2093 h 5861"/>
                  <a:gd name="connsiteX2" fmla="*/ 1196 w 1435"/>
                  <a:gd name="connsiteY2" fmla="*/ 897 h 5861"/>
                  <a:gd name="connsiteX3" fmla="*/ 1435 w 1435"/>
                  <a:gd name="connsiteY3" fmla="*/ 0 h 5861"/>
                </a:gdLst>
                <a:ahLst/>
                <a:cxnLst>
                  <a:cxn ang="0">
                    <a:pos x="connsiteX0" y="connsiteY0"/>
                  </a:cxn>
                  <a:cxn ang="0">
                    <a:pos x="connsiteX1" y="connsiteY1"/>
                  </a:cxn>
                  <a:cxn ang="0">
                    <a:pos x="connsiteX2" y="connsiteY2"/>
                  </a:cxn>
                  <a:cxn ang="0">
                    <a:pos x="connsiteX3" y="connsiteY3"/>
                  </a:cxn>
                </a:cxnLst>
                <a:rect l="l" t="t" r="r" b="b"/>
                <a:pathLst>
                  <a:path w="1435" h="5861">
                    <a:moveTo>
                      <a:pt x="0" y="5861"/>
                    </a:moveTo>
                    <a:lnTo>
                      <a:pt x="897" y="2093"/>
                    </a:lnTo>
                    <a:lnTo>
                      <a:pt x="1196" y="897"/>
                    </a:lnTo>
                    <a:lnTo>
                      <a:pt x="1435" y="0"/>
                    </a:lnTo>
                  </a:path>
                </a:pathLst>
              </a:custGeom>
              <a:noFill/>
              <a:ln w="6350" cap="rnd">
                <a:solidFill>
                  <a:schemeClr val="bg1">
                    <a:alpha val="80000"/>
                  </a:schemeClr>
                </a:solidFill>
                <a:prstDash val="solid"/>
                <a:round/>
              </a:ln>
            </p:spPr>
            <p:txBody>
              <a:bodyPr rtlCol="0" anchor="ctr"/>
              <a:lstStyle/>
              <a:p>
                <a:endParaRPr lang="en-GB"/>
              </a:p>
            </p:txBody>
          </p:sp>
          <p:sp>
            <p:nvSpPr>
              <p:cNvPr id="6810" name="Vrije vorm: vorm 6809">
                <a:extLst>
                  <a:ext uri="{FF2B5EF4-FFF2-40B4-BE49-F238E27FC236}">
                    <a16:creationId xmlns:a16="http://schemas.microsoft.com/office/drawing/2014/main" id="{4260A72C-9527-4DF5-812D-07C83EC9A526}"/>
                  </a:ext>
                </a:extLst>
              </p:cNvPr>
              <p:cNvSpPr/>
              <p:nvPr/>
            </p:nvSpPr>
            <p:spPr>
              <a:xfrm>
                <a:off x="6626480" y="1889769"/>
                <a:ext cx="8133" cy="3767"/>
              </a:xfrm>
              <a:custGeom>
                <a:avLst/>
                <a:gdLst>
                  <a:gd name="connsiteX0" fmla="*/ 8134 w 8133"/>
                  <a:gd name="connsiteY0" fmla="*/ 0 h 3767"/>
                  <a:gd name="connsiteX1" fmla="*/ 0 w 8133"/>
                  <a:gd name="connsiteY1" fmla="*/ 3768 h 3767"/>
                </a:gdLst>
                <a:ahLst/>
                <a:cxnLst>
                  <a:cxn ang="0">
                    <a:pos x="connsiteX0" y="connsiteY0"/>
                  </a:cxn>
                  <a:cxn ang="0">
                    <a:pos x="connsiteX1" y="connsiteY1"/>
                  </a:cxn>
                </a:cxnLst>
                <a:rect l="l" t="t" r="r" b="b"/>
                <a:pathLst>
                  <a:path w="8133" h="3767">
                    <a:moveTo>
                      <a:pt x="8134" y="0"/>
                    </a:moveTo>
                    <a:lnTo>
                      <a:pt x="0" y="3768"/>
                    </a:lnTo>
                  </a:path>
                </a:pathLst>
              </a:custGeom>
              <a:noFill/>
              <a:ln w="6350" cap="rnd">
                <a:solidFill>
                  <a:schemeClr val="bg1">
                    <a:alpha val="80000"/>
                  </a:schemeClr>
                </a:solidFill>
                <a:prstDash val="solid"/>
                <a:round/>
              </a:ln>
            </p:spPr>
            <p:txBody>
              <a:bodyPr rtlCol="0" anchor="ctr"/>
              <a:lstStyle/>
              <a:p>
                <a:endParaRPr lang="en-GB"/>
              </a:p>
            </p:txBody>
          </p:sp>
          <p:sp>
            <p:nvSpPr>
              <p:cNvPr id="6811" name="Vrije vorm: vorm 6810">
                <a:extLst>
                  <a:ext uri="{FF2B5EF4-FFF2-40B4-BE49-F238E27FC236}">
                    <a16:creationId xmlns:a16="http://schemas.microsoft.com/office/drawing/2014/main" id="{2D4EE5A3-3E4F-4AB1-B9FB-882BA5BF2D80}"/>
                  </a:ext>
                </a:extLst>
              </p:cNvPr>
              <p:cNvSpPr/>
              <p:nvPr/>
            </p:nvSpPr>
            <p:spPr>
              <a:xfrm>
                <a:off x="6948721" y="1997242"/>
                <a:ext cx="1315" cy="4545"/>
              </a:xfrm>
              <a:custGeom>
                <a:avLst/>
                <a:gdLst>
                  <a:gd name="connsiteX0" fmla="*/ 0 w 1315"/>
                  <a:gd name="connsiteY0" fmla="*/ 4545 h 4545"/>
                  <a:gd name="connsiteX1" fmla="*/ 1316 w 1315"/>
                  <a:gd name="connsiteY1" fmla="*/ 1974 h 4545"/>
                  <a:gd name="connsiteX2" fmla="*/ 837 w 1315"/>
                  <a:gd name="connsiteY2" fmla="*/ 0 h 4545"/>
                </a:gdLst>
                <a:ahLst/>
                <a:cxnLst>
                  <a:cxn ang="0">
                    <a:pos x="connsiteX0" y="connsiteY0"/>
                  </a:cxn>
                  <a:cxn ang="0">
                    <a:pos x="connsiteX1" y="connsiteY1"/>
                  </a:cxn>
                  <a:cxn ang="0">
                    <a:pos x="connsiteX2" y="connsiteY2"/>
                  </a:cxn>
                </a:cxnLst>
                <a:rect l="l" t="t" r="r" b="b"/>
                <a:pathLst>
                  <a:path w="1315" h="4545">
                    <a:moveTo>
                      <a:pt x="0" y="4545"/>
                    </a:moveTo>
                    <a:lnTo>
                      <a:pt x="1316" y="1974"/>
                    </a:lnTo>
                    <a:lnTo>
                      <a:pt x="837" y="0"/>
                    </a:lnTo>
                  </a:path>
                </a:pathLst>
              </a:custGeom>
              <a:noFill/>
              <a:ln w="6350" cap="rnd">
                <a:solidFill>
                  <a:schemeClr val="bg1">
                    <a:alpha val="80000"/>
                  </a:schemeClr>
                </a:solidFill>
                <a:prstDash val="solid"/>
                <a:round/>
              </a:ln>
            </p:spPr>
            <p:txBody>
              <a:bodyPr rtlCol="0" anchor="ctr"/>
              <a:lstStyle/>
              <a:p>
                <a:endParaRPr lang="en-GB"/>
              </a:p>
            </p:txBody>
          </p:sp>
          <p:sp>
            <p:nvSpPr>
              <p:cNvPr id="6812" name="Vrije vorm: vorm 6811">
                <a:extLst>
                  <a:ext uri="{FF2B5EF4-FFF2-40B4-BE49-F238E27FC236}">
                    <a16:creationId xmlns:a16="http://schemas.microsoft.com/office/drawing/2014/main" id="{1A654DD4-173B-4DA4-A613-FD315206AA51}"/>
                  </a:ext>
                </a:extLst>
              </p:cNvPr>
              <p:cNvSpPr/>
              <p:nvPr/>
            </p:nvSpPr>
            <p:spPr>
              <a:xfrm>
                <a:off x="6815949" y="2073736"/>
                <a:ext cx="4246" cy="956"/>
              </a:xfrm>
              <a:custGeom>
                <a:avLst/>
                <a:gdLst>
                  <a:gd name="connsiteX0" fmla="*/ 0 w 4246"/>
                  <a:gd name="connsiteY0" fmla="*/ 957 h 956"/>
                  <a:gd name="connsiteX1" fmla="*/ 2033 w 4246"/>
                  <a:gd name="connsiteY1" fmla="*/ 419 h 956"/>
                  <a:gd name="connsiteX2" fmla="*/ 4246 w 4246"/>
                  <a:gd name="connsiteY2" fmla="*/ 0 h 956"/>
                </a:gdLst>
                <a:ahLst/>
                <a:cxnLst>
                  <a:cxn ang="0">
                    <a:pos x="connsiteX0" y="connsiteY0"/>
                  </a:cxn>
                  <a:cxn ang="0">
                    <a:pos x="connsiteX1" y="connsiteY1"/>
                  </a:cxn>
                  <a:cxn ang="0">
                    <a:pos x="connsiteX2" y="connsiteY2"/>
                  </a:cxn>
                </a:cxnLst>
                <a:rect l="l" t="t" r="r" b="b"/>
                <a:pathLst>
                  <a:path w="4246" h="956">
                    <a:moveTo>
                      <a:pt x="0" y="957"/>
                    </a:moveTo>
                    <a:lnTo>
                      <a:pt x="2033" y="419"/>
                    </a:lnTo>
                    <a:lnTo>
                      <a:pt x="4246" y="0"/>
                    </a:lnTo>
                  </a:path>
                </a:pathLst>
              </a:custGeom>
              <a:noFill/>
              <a:ln w="6350" cap="rnd">
                <a:solidFill>
                  <a:schemeClr val="bg1">
                    <a:alpha val="80000"/>
                  </a:schemeClr>
                </a:solidFill>
                <a:prstDash val="solid"/>
                <a:round/>
              </a:ln>
            </p:spPr>
            <p:txBody>
              <a:bodyPr rtlCol="0" anchor="ctr"/>
              <a:lstStyle/>
              <a:p>
                <a:endParaRPr lang="en-GB"/>
              </a:p>
            </p:txBody>
          </p:sp>
          <p:sp>
            <p:nvSpPr>
              <p:cNvPr id="6813" name="Vrije vorm: vorm 6812">
                <a:extLst>
                  <a:ext uri="{FF2B5EF4-FFF2-40B4-BE49-F238E27FC236}">
                    <a16:creationId xmlns:a16="http://schemas.microsoft.com/office/drawing/2014/main" id="{A9AC5F0B-4057-463F-9AFE-0DDB6CF5A52B}"/>
                  </a:ext>
                </a:extLst>
              </p:cNvPr>
              <p:cNvSpPr/>
              <p:nvPr/>
            </p:nvSpPr>
            <p:spPr>
              <a:xfrm>
                <a:off x="6821392" y="2056392"/>
                <a:ext cx="21710" cy="6160"/>
              </a:xfrm>
              <a:custGeom>
                <a:avLst/>
                <a:gdLst>
                  <a:gd name="connsiteX0" fmla="*/ 21710 w 21710"/>
                  <a:gd name="connsiteY0" fmla="*/ 0 h 6160"/>
                  <a:gd name="connsiteX1" fmla="*/ 18241 w 21710"/>
                  <a:gd name="connsiteY1" fmla="*/ 778 h 6160"/>
                  <a:gd name="connsiteX2" fmla="*/ 13457 w 21710"/>
                  <a:gd name="connsiteY2" fmla="*/ 1794 h 6160"/>
                  <a:gd name="connsiteX3" fmla="*/ 8194 w 21710"/>
                  <a:gd name="connsiteY3" fmla="*/ 3349 h 6160"/>
                  <a:gd name="connsiteX4" fmla="*/ 3050 w 21710"/>
                  <a:gd name="connsiteY4" fmla="*/ 4904 h 6160"/>
                  <a:gd name="connsiteX5" fmla="*/ 2632 w 21710"/>
                  <a:gd name="connsiteY5" fmla="*/ 5084 h 6160"/>
                  <a:gd name="connsiteX6" fmla="*/ 0 w 21710"/>
                  <a:gd name="connsiteY6" fmla="*/ 6160 h 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0" h="6160">
                    <a:moveTo>
                      <a:pt x="21710" y="0"/>
                    </a:moveTo>
                    <a:lnTo>
                      <a:pt x="18241" y="778"/>
                    </a:lnTo>
                    <a:lnTo>
                      <a:pt x="13457" y="1794"/>
                    </a:lnTo>
                    <a:lnTo>
                      <a:pt x="8194" y="3349"/>
                    </a:lnTo>
                    <a:lnTo>
                      <a:pt x="3050" y="4904"/>
                    </a:lnTo>
                    <a:lnTo>
                      <a:pt x="2632" y="5084"/>
                    </a:lnTo>
                    <a:lnTo>
                      <a:pt x="0" y="6160"/>
                    </a:lnTo>
                  </a:path>
                </a:pathLst>
              </a:custGeom>
              <a:noFill/>
              <a:ln w="6350" cap="rnd">
                <a:solidFill>
                  <a:schemeClr val="bg1">
                    <a:alpha val="80000"/>
                  </a:schemeClr>
                </a:solidFill>
                <a:prstDash val="solid"/>
                <a:round/>
              </a:ln>
            </p:spPr>
            <p:txBody>
              <a:bodyPr rtlCol="0" anchor="ctr"/>
              <a:lstStyle/>
              <a:p>
                <a:endParaRPr lang="en-GB"/>
              </a:p>
            </p:txBody>
          </p:sp>
          <p:sp>
            <p:nvSpPr>
              <p:cNvPr id="6814" name="Vrije vorm: vorm 6813">
                <a:extLst>
                  <a:ext uri="{FF2B5EF4-FFF2-40B4-BE49-F238E27FC236}">
                    <a16:creationId xmlns:a16="http://schemas.microsoft.com/office/drawing/2014/main" id="{553DA602-911D-44EA-A514-63B742E4898A}"/>
                  </a:ext>
                </a:extLst>
              </p:cNvPr>
              <p:cNvSpPr/>
              <p:nvPr/>
            </p:nvSpPr>
            <p:spPr>
              <a:xfrm>
                <a:off x="6751956" y="1860164"/>
                <a:ext cx="2093" cy="7236"/>
              </a:xfrm>
              <a:custGeom>
                <a:avLst/>
                <a:gdLst>
                  <a:gd name="connsiteX0" fmla="*/ 0 w 2093"/>
                  <a:gd name="connsiteY0" fmla="*/ 7237 h 7236"/>
                  <a:gd name="connsiteX1" fmla="*/ 359 w 2093"/>
                  <a:gd name="connsiteY1" fmla="*/ 6579 h 7236"/>
                  <a:gd name="connsiteX2" fmla="*/ 2093 w 2093"/>
                  <a:gd name="connsiteY2" fmla="*/ 3588 h 7236"/>
                  <a:gd name="connsiteX3" fmla="*/ 1375 w 2093"/>
                  <a:gd name="connsiteY3" fmla="*/ 0 h 7236"/>
                </a:gdLst>
                <a:ahLst/>
                <a:cxnLst>
                  <a:cxn ang="0">
                    <a:pos x="connsiteX0" y="connsiteY0"/>
                  </a:cxn>
                  <a:cxn ang="0">
                    <a:pos x="connsiteX1" y="connsiteY1"/>
                  </a:cxn>
                  <a:cxn ang="0">
                    <a:pos x="connsiteX2" y="connsiteY2"/>
                  </a:cxn>
                  <a:cxn ang="0">
                    <a:pos x="connsiteX3" y="connsiteY3"/>
                  </a:cxn>
                </a:cxnLst>
                <a:rect l="l" t="t" r="r" b="b"/>
                <a:pathLst>
                  <a:path w="2093" h="7236">
                    <a:moveTo>
                      <a:pt x="0" y="7237"/>
                    </a:moveTo>
                    <a:lnTo>
                      <a:pt x="359" y="6579"/>
                    </a:lnTo>
                    <a:lnTo>
                      <a:pt x="2093" y="3588"/>
                    </a:lnTo>
                    <a:lnTo>
                      <a:pt x="1375" y="0"/>
                    </a:lnTo>
                  </a:path>
                </a:pathLst>
              </a:custGeom>
              <a:noFill/>
              <a:ln w="6350" cap="rnd">
                <a:solidFill>
                  <a:schemeClr val="bg1">
                    <a:alpha val="80000"/>
                  </a:schemeClr>
                </a:solidFill>
                <a:prstDash val="solid"/>
                <a:round/>
              </a:ln>
            </p:spPr>
            <p:txBody>
              <a:bodyPr rtlCol="0" anchor="ctr"/>
              <a:lstStyle/>
              <a:p>
                <a:endParaRPr lang="en-GB"/>
              </a:p>
            </p:txBody>
          </p:sp>
          <p:sp>
            <p:nvSpPr>
              <p:cNvPr id="6815" name="Vrije vorm: vorm 6814">
                <a:extLst>
                  <a:ext uri="{FF2B5EF4-FFF2-40B4-BE49-F238E27FC236}">
                    <a16:creationId xmlns:a16="http://schemas.microsoft.com/office/drawing/2014/main" id="{954C68AC-2F2C-4B32-81BB-6BD36D6126C4}"/>
                  </a:ext>
                </a:extLst>
              </p:cNvPr>
              <p:cNvSpPr/>
              <p:nvPr/>
            </p:nvSpPr>
            <p:spPr>
              <a:xfrm>
                <a:off x="7072402" y="1850057"/>
                <a:ext cx="2990" cy="9688"/>
              </a:xfrm>
              <a:custGeom>
                <a:avLst/>
                <a:gdLst>
                  <a:gd name="connsiteX0" fmla="*/ 2990 w 2990"/>
                  <a:gd name="connsiteY0" fmla="*/ 0 h 9688"/>
                  <a:gd name="connsiteX1" fmla="*/ 1316 w 2990"/>
                  <a:gd name="connsiteY1" fmla="*/ 5861 h 9688"/>
                  <a:gd name="connsiteX2" fmla="*/ 0 w 2990"/>
                  <a:gd name="connsiteY2" fmla="*/ 9689 h 9688"/>
                </a:gdLst>
                <a:ahLst/>
                <a:cxnLst>
                  <a:cxn ang="0">
                    <a:pos x="connsiteX0" y="connsiteY0"/>
                  </a:cxn>
                  <a:cxn ang="0">
                    <a:pos x="connsiteX1" y="connsiteY1"/>
                  </a:cxn>
                  <a:cxn ang="0">
                    <a:pos x="connsiteX2" y="connsiteY2"/>
                  </a:cxn>
                </a:cxnLst>
                <a:rect l="l" t="t" r="r" b="b"/>
                <a:pathLst>
                  <a:path w="2990" h="9688">
                    <a:moveTo>
                      <a:pt x="2990" y="0"/>
                    </a:moveTo>
                    <a:lnTo>
                      <a:pt x="1316" y="5861"/>
                    </a:lnTo>
                    <a:lnTo>
                      <a:pt x="0" y="9689"/>
                    </a:lnTo>
                  </a:path>
                </a:pathLst>
              </a:custGeom>
              <a:noFill/>
              <a:ln w="6350" cap="rnd">
                <a:solidFill>
                  <a:schemeClr val="bg1">
                    <a:alpha val="80000"/>
                  </a:schemeClr>
                </a:solidFill>
                <a:prstDash val="solid"/>
                <a:round/>
              </a:ln>
            </p:spPr>
            <p:txBody>
              <a:bodyPr rtlCol="0" anchor="ctr"/>
              <a:lstStyle/>
              <a:p>
                <a:endParaRPr lang="en-GB"/>
              </a:p>
            </p:txBody>
          </p:sp>
          <p:sp>
            <p:nvSpPr>
              <p:cNvPr id="6816" name="Vrije vorm: vorm 6815">
                <a:extLst>
                  <a:ext uri="{FF2B5EF4-FFF2-40B4-BE49-F238E27FC236}">
                    <a16:creationId xmlns:a16="http://schemas.microsoft.com/office/drawing/2014/main" id="{DC9898B8-5395-42F2-B773-E3FBC788900D}"/>
                  </a:ext>
                </a:extLst>
              </p:cNvPr>
              <p:cNvSpPr/>
              <p:nvPr/>
            </p:nvSpPr>
            <p:spPr>
              <a:xfrm>
                <a:off x="6640296" y="1825057"/>
                <a:ext cx="358" cy="418"/>
              </a:xfrm>
              <a:custGeom>
                <a:avLst/>
                <a:gdLst>
                  <a:gd name="connsiteX0" fmla="*/ 359 w 358"/>
                  <a:gd name="connsiteY0" fmla="*/ 179 h 418"/>
                  <a:gd name="connsiteX1" fmla="*/ 60 w 358"/>
                  <a:gd name="connsiteY1" fmla="*/ 0 h 418"/>
                  <a:gd name="connsiteX2" fmla="*/ 0 w 358"/>
                  <a:gd name="connsiteY2" fmla="*/ 0 h 418"/>
                  <a:gd name="connsiteX3" fmla="*/ 0 w 358"/>
                  <a:gd name="connsiteY3" fmla="*/ 419 h 418"/>
                </a:gdLst>
                <a:ahLst/>
                <a:cxnLst>
                  <a:cxn ang="0">
                    <a:pos x="connsiteX0" y="connsiteY0"/>
                  </a:cxn>
                  <a:cxn ang="0">
                    <a:pos x="connsiteX1" y="connsiteY1"/>
                  </a:cxn>
                  <a:cxn ang="0">
                    <a:pos x="connsiteX2" y="connsiteY2"/>
                  </a:cxn>
                  <a:cxn ang="0">
                    <a:pos x="connsiteX3" y="connsiteY3"/>
                  </a:cxn>
                </a:cxnLst>
                <a:rect l="l" t="t" r="r" b="b"/>
                <a:pathLst>
                  <a:path w="358" h="418">
                    <a:moveTo>
                      <a:pt x="359" y="179"/>
                    </a:moveTo>
                    <a:lnTo>
                      <a:pt x="60" y="0"/>
                    </a:lnTo>
                    <a:lnTo>
                      <a:pt x="0" y="0"/>
                    </a:lnTo>
                    <a:lnTo>
                      <a:pt x="0" y="419"/>
                    </a:lnTo>
                  </a:path>
                </a:pathLst>
              </a:custGeom>
              <a:noFill/>
              <a:ln w="6350" cap="rnd">
                <a:solidFill>
                  <a:schemeClr val="bg1">
                    <a:alpha val="80000"/>
                  </a:schemeClr>
                </a:solidFill>
                <a:prstDash val="solid"/>
                <a:round/>
              </a:ln>
            </p:spPr>
            <p:txBody>
              <a:bodyPr rtlCol="0" anchor="ctr"/>
              <a:lstStyle/>
              <a:p>
                <a:endParaRPr lang="en-GB"/>
              </a:p>
            </p:txBody>
          </p:sp>
          <p:sp>
            <p:nvSpPr>
              <p:cNvPr id="6817" name="Vrije vorm: vorm 6816">
                <a:extLst>
                  <a:ext uri="{FF2B5EF4-FFF2-40B4-BE49-F238E27FC236}">
                    <a16:creationId xmlns:a16="http://schemas.microsoft.com/office/drawing/2014/main" id="{F300A58D-08AB-422E-9130-5D5ED424093E}"/>
                  </a:ext>
                </a:extLst>
              </p:cNvPr>
              <p:cNvSpPr/>
              <p:nvPr/>
            </p:nvSpPr>
            <p:spPr>
              <a:xfrm>
                <a:off x="6912179" y="1974276"/>
                <a:ext cx="3110" cy="6219"/>
              </a:xfrm>
              <a:custGeom>
                <a:avLst/>
                <a:gdLst>
                  <a:gd name="connsiteX0" fmla="*/ 3110 w 3110"/>
                  <a:gd name="connsiteY0" fmla="*/ 6220 h 6219"/>
                  <a:gd name="connsiteX1" fmla="*/ 3110 w 3110"/>
                  <a:gd name="connsiteY1" fmla="*/ 6100 h 6219"/>
                  <a:gd name="connsiteX2" fmla="*/ 3110 w 3110"/>
                  <a:gd name="connsiteY2" fmla="*/ 6100 h 6219"/>
                  <a:gd name="connsiteX3" fmla="*/ 2811 w 3110"/>
                  <a:gd name="connsiteY3" fmla="*/ 4545 h 6219"/>
                  <a:gd name="connsiteX4" fmla="*/ 2631 w 3110"/>
                  <a:gd name="connsiteY4" fmla="*/ 3588 h 6219"/>
                  <a:gd name="connsiteX5" fmla="*/ 2392 w 3110"/>
                  <a:gd name="connsiteY5" fmla="*/ 2392 h 6219"/>
                  <a:gd name="connsiteX6" fmla="*/ 2213 w 3110"/>
                  <a:gd name="connsiteY6" fmla="*/ 2213 h 6219"/>
                  <a:gd name="connsiteX7" fmla="*/ 1316 w 3110"/>
                  <a:gd name="connsiteY7" fmla="*/ 1316 h 6219"/>
                  <a:gd name="connsiteX8" fmla="*/ 1016 w 3110"/>
                  <a:gd name="connsiteY8" fmla="*/ 1017 h 6219"/>
                  <a:gd name="connsiteX9" fmla="*/ 1016 w 3110"/>
                  <a:gd name="connsiteY9" fmla="*/ 1017 h 6219"/>
                  <a:gd name="connsiteX10" fmla="*/ 956 w 3110"/>
                  <a:gd name="connsiteY10" fmla="*/ 957 h 6219"/>
                  <a:gd name="connsiteX11" fmla="*/ 0 w 3110"/>
                  <a:gd name="connsiteY11" fmla="*/ 0 h 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10" h="6219">
                    <a:moveTo>
                      <a:pt x="3110" y="6220"/>
                    </a:moveTo>
                    <a:lnTo>
                      <a:pt x="3110" y="6100"/>
                    </a:lnTo>
                    <a:lnTo>
                      <a:pt x="3110" y="6100"/>
                    </a:lnTo>
                    <a:lnTo>
                      <a:pt x="2811" y="4545"/>
                    </a:lnTo>
                    <a:lnTo>
                      <a:pt x="2631" y="3588"/>
                    </a:lnTo>
                    <a:lnTo>
                      <a:pt x="2392" y="2392"/>
                    </a:lnTo>
                    <a:lnTo>
                      <a:pt x="2213" y="2213"/>
                    </a:lnTo>
                    <a:lnTo>
                      <a:pt x="1316" y="1316"/>
                    </a:lnTo>
                    <a:lnTo>
                      <a:pt x="1016" y="1017"/>
                    </a:lnTo>
                    <a:lnTo>
                      <a:pt x="1016" y="1017"/>
                    </a:lnTo>
                    <a:lnTo>
                      <a:pt x="956" y="95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18" name="Vrije vorm: vorm 6817">
                <a:extLst>
                  <a:ext uri="{FF2B5EF4-FFF2-40B4-BE49-F238E27FC236}">
                    <a16:creationId xmlns:a16="http://schemas.microsoft.com/office/drawing/2014/main" id="{070DE00F-7104-4BDB-9877-E5BB3687B3B5}"/>
                  </a:ext>
                </a:extLst>
              </p:cNvPr>
              <p:cNvSpPr/>
              <p:nvPr/>
            </p:nvSpPr>
            <p:spPr>
              <a:xfrm>
                <a:off x="6950217" y="1980137"/>
                <a:ext cx="1555" cy="6877"/>
              </a:xfrm>
              <a:custGeom>
                <a:avLst/>
                <a:gdLst>
                  <a:gd name="connsiteX0" fmla="*/ 0 w 1555"/>
                  <a:gd name="connsiteY0" fmla="*/ 6878 h 6877"/>
                  <a:gd name="connsiteX1" fmla="*/ 239 w 1555"/>
                  <a:gd name="connsiteY1" fmla="*/ 6220 h 6877"/>
                  <a:gd name="connsiteX2" fmla="*/ 299 w 1555"/>
                  <a:gd name="connsiteY2" fmla="*/ 6100 h 6877"/>
                  <a:gd name="connsiteX3" fmla="*/ 658 w 1555"/>
                  <a:gd name="connsiteY3" fmla="*/ 5203 h 6877"/>
                  <a:gd name="connsiteX4" fmla="*/ 1256 w 1555"/>
                  <a:gd name="connsiteY4" fmla="*/ 3708 h 6877"/>
                  <a:gd name="connsiteX5" fmla="*/ 1375 w 1555"/>
                  <a:gd name="connsiteY5" fmla="*/ 3349 h 6877"/>
                  <a:gd name="connsiteX6" fmla="*/ 1555 w 1555"/>
                  <a:gd name="connsiteY6" fmla="*/ 2930 h 6877"/>
                  <a:gd name="connsiteX7" fmla="*/ 1495 w 1555"/>
                  <a:gd name="connsiteY7" fmla="*/ 2691 h 6877"/>
                  <a:gd name="connsiteX8" fmla="*/ 1196 w 1555"/>
                  <a:gd name="connsiteY8" fmla="*/ 1615 h 6877"/>
                  <a:gd name="connsiteX9" fmla="*/ 1016 w 1555"/>
                  <a:gd name="connsiteY9" fmla="*/ 957 h 6877"/>
                  <a:gd name="connsiteX10" fmla="*/ 778 w 1555"/>
                  <a:gd name="connsiteY10" fmla="*/ 0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5" h="6877">
                    <a:moveTo>
                      <a:pt x="0" y="6878"/>
                    </a:moveTo>
                    <a:lnTo>
                      <a:pt x="239" y="6220"/>
                    </a:lnTo>
                    <a:lnTo>
                      <a:pt x="299" y="6100"/>
                    </a:lnTo>
                    <a:lnTo>
                      <a:pt x="658" y="5203"/>
                    </a:lnTo>
                    <a:lnTo>
                      <a:pt x="1256" y="3708"/>
                    </a:lnTo>
                    <a:lnTo>
                      <a:pt x="1375" y="3349"/>
                    </a:lnTo>
                    <a:lnTo>
                      <a:pt x="1555" y="2930"/>
                    </a:lnTo>
                    <a:lnTo>
                      <a:pt x="1495" y="2691"/>
                    </a:lnTo>
                    <a:lnTo>
                      <a:pt x="1196" y="1615"/>
                    </a:lnTo>
                    <a:lnTo>
                      <a:pt x="1016" y="957"/>
                    </a:lnTo>
                    <a:lnTo>
                      <a:pt x="778" y="0"/>
                    </a:lnTo>
                  </a:path>
                </a:pathLst>
              </a:custGeom>
              <a:noFill/>
              <a:ln w="6350" cap="rnd">
                <a:solidFill>
                  <a:schemeClr val="bg1">
                    <a:alpha val="80000"/>
                  </a:schemeClr>
                </a:solidFill>
                <a:prstDash val="solid"/>
                <a:round/>
              </a:ln>
            </p:spPr>
            <p:txBody>
              <a:bodyPr rtlCol="0" anchor="ctr"/>
              <a:lstStyle/>
              <a:p>
                <a:endParaRPr lang="en-GB"/>
              </a:p>
            </p:txBody>
          </p:sp>
          <p:sp>
            <p:nvSpPr>
              <p:cNvPr id="6819" name="Vrije vorm: vorm 6818">
                <a:extLst>
                  <a:ext uri="{FF2B5EF4-FFF2-40B4-BE49-F238E27FC236}">
                    <a16:creationId xmlns:a16="http://schemas.microsoft.com/office/drawing/2014/main" id="{AD1EC973-2075-4088-B774-5594BC2E0AAD}"/>
                  </a:ext>
                </a:extLst>
              </p:cNvPr>
              <p:cNvSpPr/>
              <p:nvPr/>
            </p:nvSpPr>
            <p:spPr>
              <a:xfrm>
                <a:off x="6943399" y="2018294"/>
                <a:ext cx="418" cy="956"/>
              </a:xfrm>
              <a:custGeom>
                <a:avLst/>
                <a:gdLst>
                  <a:gd name="connsiteX0" fmla="*/ 0 w 418"/>
                  <a:gd name="connsiteY0" fmla="*/ 957 h 956"/>
                  <a:gd name="connsiteX1" fmla="*/ 418 w 418"/>
                  <a:gd name="connsiteY1" fmla="*/ 299 h 956"/>
                  <a:gd name="connsiteX2" fmla="*/ 418 w 418"/>
                  <a:gd name="connsiteY2" fmla="*/ 299 h 956"/>
                  <a:gd name="connsiteX3" fmla="*/ 358 w 418"/>
                  <a:gd name="connsiteY3" fmla="*/ 0 h 956"/>
                </a:gdLst>
                <a:ahLst/>
                <a:cxnLst>
                  <a:cxn ang="0">
                    <a:pos x="connsiteX0" y="connsiteY0"/>
                  </a:cxn>
                  <a:cxn ang="0">
                    <a:pos x="connsiteX1" y="connsiteY1"/>
                  </a:cxn>
                  <a:cxn ang="0">
                    <a:pos x="connsiteX2" y="connsiteY2"/>
                  </a:cxn>
                  <a:cxn ang="0">
                    <a:pos x="connsiteX3" y="connsiteY3"/>
                  </a:cxn>
                </a:cxnLst>
                <a:rect l="l" t="t" r="r" b="b"/>
                <a:pathLst>
                  <a:path w="418" h="956">
                    <a:moveTo>
                      <a:pt x="0" y="957"/>
                    </a:moveTo>
                    <a:lnTo>
                      <a:pt x="418" y="299"/>
                    </a:lnTo>
                    <a:lnTo>
                      <a:pt x="418" y="299"/>
                    </a:lnTo>
                    <a:lnTo>
                      <a:pt x="358" y="0"/>
                    </a:lnTo>
                  </a:path>
                </a:pathLst>
              </a:custGeom>
              <a:noFill/>
              <a:ln w="6350" cap="rnd">
                <a:solidFill>
                  <a:schemeClr val="bg1">
                    <a:alpha val="80000"/>
                  </a:schemeClr>
                </a:solidFill>
                <a:prstDash val="solid"/>
                <a:round/>
              </a:ln>
            </p:spPr>
            <p:txBody>
              <a:bodyPr rtlCol="0" anchor="ctr"/>
              <a:lstStyle/>
              <a:p>
                <a:endParaRPr lang="en-GB"/>
              </a:p>
            </p:txBody>
          </p:sp>
          <p:sp>
            <p:nvSpPr>
              <p:cNvPr id="6820" name="Vrije vorm: vorm 6819">
                <a:extLst>
                  <a:ext uri="{FF2B5EF4-FFF2-40B4-BE49-F238E27FC236}">
                    <a16:creationId xmlns:a16="http://schemas.microsoft.com/office/drawing/2014/main" id="{6FC5D97F-800E-45E1-A970-CDD38B4C89E8}"/>
                  </a:ext>
                </a:extLst>
              </p:cNvPr>
              <p:cNvSpPr/>
              <p:nvPr/>
            </p:nvSpPr>
            <p:spPr>
              <a:xfrm>
                <a:off x="6683297" y="1964707"/>
                <a:ext cx="2691" cy="2751"/>
              </a:xfrm>
              <a:custGeom>
                <a:avLst/>
                <a:gdLst>
                  <a:gd name="connsiteX0" fmla="*/ 0 w 2691"/>
                  <a:gd name="connsiteY0" fmla="*/ 2751 h 2751"/>
                  <a:gd name="connsiteX1" fmla="*/ 2632 w 2691"/>
                  <a:gd name="connsiteY1" fmla="*/ 60 h 2751"/>
                  <a:gd name="connsiteX2" fmla="*/ 2691 w 2691"/>
                  <a:gd name="connsiteY2" fmla="*/ 0 h 2751"/>
                </a:gdLst>
                <a:ahLst/>
                <a:cxnLst>
                  <a:cxn ang="0">
                    <a:pos x="connsiteX0" y="connsiteY0"/>
                  </a:cxn>
                  <a:cxn ang="0">
                    <a:pos x="connsiteX1" y="connsiteY1"/>
                  </a:cxn>
                  <a:cxn ang="0">
                    <a:pos x="connsiteX2" y="connsiteY2"/>
                  </a:cxn>
                </a:cxnLst>
                <a:rect l="l" t="t" r="r" b="b"/>
                <a:pathLst>
                  <a:path w="2691" h="2751">
                    <a:moveTo>
                      <a:pt x="0" y="2751"/>
                    </a:moveTo>
                    <a:lnTo>
                      <a:pt x="2632" y="60"/>
                    </a:lnTo>
                    <a:lnTo>
                      <a:pt x="2691" y="0"/>
                    </a:lnTo>
                  </a:path>
                </a:pathLst>
              </a:custGeom>
              <a:noFill/>
              <a:ln w="6350" cap="rnd">
                <a:solidFill>
                  <a:schemeClr val="bg1">
                    <a:alpha val="80000"/>
                  </a:schemeClr>
                </a:solidFill>
                <a:prstDash val="solid"/>
                <a:round/>
              </a:ln>
            </p:spPr>
            <p:txBody>
              <a:bodyPr rtlCol="0" anchor="ctr"/>
              <a:lstStyle/>
              <a:p>
                <a:endParaRPr lang="en-GB"/>
              </a:p>
            </p:txBody>
          </p:sp>
          <p:sp>
            <p:nvSpPr>
              <p:cNvPr id="6821" name="Vrije vorm: vorm 6820">
                <a:extLst>
                  <a:ext uri="{FF2B5EF4-FFF2-40B4-BE49-F238E27FC236}">
                    <a16:creationId xmlns:a16="http://schemas.microsoft.com/office/drawing/2014/main" id="{821B28C7-FE3E-4A6C-9693-91EEC619F9A8}"/>
                  </a:ext>
                </a:extLst>
              </p:cNvPr>
              <p:cNvSpPr/>
              <p:nvPr/>
            </p:nvSpPr>
            <p:spPr>
              <a:xfrm>
                <a:off x="6668943" y="1966621"/>
                <a:ext cx="4066" cy="3588"/>
              </a:xfrm>
              <a:custGeom>
                <a:avLst/>
                <a:gdLst>
                  <a:gd name="connsiteX0" fmla="*/ 0 w 4066"/>
                  <a:gd name="connsiteY0" fmla="*/ 3588 h 3588"/>
                  <a:gd name="connsiteX1" fmla="*/ 4067 w 4066"/>
                  <a:gd name="connsiteY1" fmla="*/ 0 h 3588"/>
                </a:gdLst>
                <a:ahLst/>
                <a:cxnLst>
                  <a:cxn ang="0">
                    <a:pos x="connsiteX0" y="connsiteY0"/>
                  </a:cxn>
                  <a:cxn ang="0">
                    <a:pos x="connsiteX1" y="connsiteY1"/>
                  </a:cxn>
                </a:cxnLst>
                <a:rect l="l" t="t" r="r" b="b"/>
                <a:pathLst>
                  <a:path w="4066" h="3588">
                    <a:moveTo>
                      <a:pt x="0" y="3588"/>
                    </a:moveTo>
                    <a:lnTo>
                      <a:pt x="4067" y="0"/>
                    </a:lnTo>
                  </a:path>
                </a:pathLst>
              </a:custGeom>
              <a:noFill/>
              <a:ln w="6350" cap="rnd">
                <a:solidFill>
                  <a:schemeClr val="bg1">
                    <a:alpha val="80000"/>
                  </a:schemeClr>
                </a:solidFill>
                <a:prstDash val="solid"/>
                <a:round/>
              </a:ln>
            </p:spPr>
            <p:txBody>
              <a:bodyPr rtlCol="0" anchor="ctr"/>
              <a:lstStyle/>
              <a:p>
                <a:endParaRPr lang="en-GB"/>
              </a:p>
            </p:txBody>
          </p:sp>
          <p:sp>
            <p:nvSpPr>
              <p:cNvPr id="6822" name="Vrije vorm: vorm 6821">
                <a:extLst>
                  <a:ext uri="{FF2B5EF4-FFF2-40B4-BE49-F238E27FC236}">
                    <a16:creationId xmlns:a16="http://schemas.microsoft.com/office/drawing/2014/main" id="{35BB94D9-3CF1-4F0F-BD54-23545E7B406C}"/>
                  </a:ext>
                </a:extLst>
              </p:cNvPr>
              <p:cNvSpPr/>
              <p:nvPr/>
            </p:nvSpPr>
            <p:spPr>
              <a:xfrm>
                <a:off x="6813976" y="2088747"/>
                <a:ext cx="1555" cy="1435"/>
              </a:xfrm>
              <a:custGeom>
                <a:avLst/>
                <a:gdLst>
                  <a:gd name="connsiteX0" fmla="*/ 0 w 1555"/>
                  <a:gd name="connsiteY0" fmla="*/ 0 h 1435"/>
                  <a:gd name="connsiteX1" fmla="*/ 837 w 1555"/>
                  <a:gd name="connsiteY1" fmla="*/ 897 h 1435"/>
                  <a:gd name="connsiteX2" fmla="*/ 1555 w 1555"/>
                  <a:gd name="connsiteY2" fmla="*/ 1435 h 1435"/>
                </a:gdLst>
                <a:ahLst/>
                <a:cxnLst>
                  <a:cxn ang="0">
                    <a:pos x="connsiteX0" y="connsiteY0"/>
                  </a:cxn>
                  <a:cxn ang="0">
                    <a:pos x="connsiteX1" y="connsiteY1"/>
                  </a:cxn>
                  <a:cxn ang="0">
                    <a:pos x="connsiteX2" y="connsiteY2"/>
                  </a:cxn>
                </a:cxnLst>
                <a:rect l="l" t="t" r="r" b="b"/>
                <a:pathLst>
                  <a:path w="1555" h="1435">
                    <a:moveTo>
                      <a:pt x="0" y="0"/>
                    </a:moveTo>
                    <a:lnTo>
                      <a:pt x="837" y="897"/>
                    </a:lnTo>
                    <a:lnTo>
                      <a:pt x="1555" y="1435"/>
                    </a:lnTo>
                  </a:path>
                </a:pathLst>
              </a:custGeom>
              <a:noFill/>
              <a:ln w="6350" cap="rnd">
                <a:solidFill>
                  <a:schemeClr val="bg1">
                    <a:alpha val="80000"/>
                  </a:schemeClr>
                </a:solidFill>
                <a:prstDash val="solid"/>
                <a:round/>
              </a:ln>
            </p:spPr>
            <p:txBody>
              <a:bodyPr rtlCol="0" anchor="ctr"/>
              <a:lstStyle/>
              <a:p>
                <a:endParaRPr lang="en-GB"/>
              </a:p>
            </p:txBody>
          </p:sp>
          <p:sp>
            <p:nvSpPr>
              <p:cNvPr id="6823" name="Vrije vorm: vorm 6822">
                <a:extLst>
                  <a:ext uri="{FF2B5EF4-FFF2-40B4-BE49-F238E27FC236}">
                    <a16:creationId xmlns:a16="http://schemas.microsoft.com/office/drawing/2014/main" id="{A6F7EEDC-40B5-4733-BE26-6F9277515CD0}"/>
                  </a:ext>
                </a:extLst>
              </p:cNvPr>
              <p:cNvSpPr/>
              <p:nvPr/>
            </p:nvSpPr>
            <p:spPr>
              <a:xfrm>
                <a:off x="6649984" y="1952925"/>
                <a:ext cx="6518" cy="3708"/>
              </a:xfrm>
              <a:custGeom>
                <a:avLst/>
                <a:gdLst>
                  <a:gd name="connsiteX0" fmla="*/ 0 w 6518"/>
                  <a:gd name="connsiteY0" fmla="*/ 3708 h 3708"/>
                  <a:gd name="connsiteX1" fmla="*/ 2691 w 6518"/>
                  <a:gd name="connsiteY1" fmla="*/ 2153 h 3708"/>
                  <a:gd name="connsiteX2" fmla="*/ 6519 w 6518"/>
                  <a:gd name="connsiteY2" fmla="*/ 0 h 3708"/>
                </a:gdLst>
                <a:ahLst/>
                <a:cxnLst>
                  <a:cxn ang="0">
                    <a:pos x="connsiteX0" y="connsiteY0"/>
                  </a:cxn>
                  <a:cxn ang="0">
                    <a:pos x="connsiteX1" y="connsiteY1"/>
                  </a:cxn>
                  <a:cxn ang="0">
                    <a:pos x="connsiteX2" y="connsiteY2"/>
                  </a:cxn>
                </a:cxnLst>
                <a:rect l="l" t="t" r="r" b="b"/>
                <a:pathLst>
                  <a:path w="6518" h="3708">
                    <a:moveTo>
                      <a:pt x="0" y="3708"/>
                    </a:moveTo>
                    <a:lnTo>
                      <a:pt x="2691" y="2153"/>
                    </a:lnTo>
                    <a:lnTo>
                      <a:pt x="6519" y="0"/>
                    </a:lnTo>
                  </a:path>
                </a:pathLst>
              </a:custGeom>
              <a:noFill/>
              <a:ln w="6350" cap="rnd">
                <a:solidFill>
                  <a:schemeClr val="bg1">
                    <a:alpha val="80000"/>
                  </a:schemeClr>
                </a:solidFill>
                <a:prstDash val="solid"/>
                <a:round/>
              </a:ln>
            </p:spPr>
            <p:txBody>
              <a:bodyPr rtlCol="0" anchor="ctr"/>
              <a:lstStyle/>
              <a:p>
                <a:endParaRPr lang="en-GB"/>
              </a:p>
            </p:txBody>
          </p:sp>
          <p:sp>
            <p:nvSpPr>
              <p:cNvPr id="6824" name="Vrije vorm: vorm 6823">
                <a:extLst>
                  <a:ext uri="{FF2B5EF4-FFF2-40B4-BE49-F238E27FC236}">
                    <a16:creationId xmlns:a16="http://schemas.microsoft.com/office/drawing/2014/main" id="{C51C8F48-3276-4116-91EA-7080A90CF277}"/>
                  </a:ext>
                </a:extLst>
              </p:cNvPr>
              <p:cNvSpPr/>
              <p:nvPr/>
            </p:nvSpPr>
            <p:spPr>
              <a:xfrm>
                <a:off x="6809849" y="2060578"/>
                <a:ext cx="4425" cy="11961"/>
              </a:xfrm>
              <a:custGeom>
                <a:avLst/>
                <a:gdLst>
                  <a:gd name="connsiteX0" fmla="*/ 0 w 4425"/>
                  <a:gd name="connsiteY0" fmla="*/ 0 h 11961"/>
                  <a:gd name="connsiteX1" fmla="*/ 1017 w 4425"/>
                  <a:gd name="connsiteY1" fmla="*/ 2093 h 11961"/>
                  <a:gd name="connsiteX2" fmla="*/ 4426 w 4425"/>
                  <a:gd name="connsiteY2" fmla="*/ 9330 h 11961"/>
                  <a:gd name="connsiteX3" fmla="*/ 3768 w 4425"/>
                  <a:gd name="connsiteY3" fmla="*/ 10825 h 11961"/>
                  <a:gd name="connsiteX4" fmla="*/ 3708 w 4425"/>
                  <a:gd name="connsiteY4" fmla="*/ 10945 h 11961"/>
                  <a:gd name="connsiteX5" fmla="*/ 2153 w 4425"/>
                  <a:gd name="connsiteY5" fmla="*/ 11961 h 1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5" h="11961">
                    <a:moveTo>
                      <a:pt x="0" y="0"/>
                    </a:moveTo>
                    <a:lnTo>
                      <a:pt x="1017" y="2093"/>
                    </a:lnTo>
                    <a:lnTo>
                      <a:pt x="4426" y="9330"/>
                    </a:lnTo>
                    <a:lnTo>
                      <a:pt x="3768" y="10825"/>
                    </a:lnTo>
                    <a:lnTo>
                      <a:pt x="3708" y="10945"/>
                    </a:lnTo>
                    <a:lnTo>
                      <a:pt x="2153" y="11961"/>
                    </a:lnTo>
                  </a:path>
                </a:pathLst>
              </a:custGeom>
              <a:noFill/>
              <a:ln w="6350" cap="rnd">
                <a:solidFill>
                  <a:schemeClr val="bg1">
                    <a:alpha val="80000"/>
                  </a:schemeClr>
                </a:solidFill>
                <a:prstDash val="solid"/>
                <a:round/>
              </a:ln>
            </p:spPr>
            <p:txBody>
              <a:bodyPr rtlCol="0" anchor="ctr"/>
              <a:lstStyle/>
              <a:p>
                <a:endParaRPr lang="en-GB"/>
              </a:p>
            </p:txBody>
          </p:sp>
          <p:sp>
            <p:nvSpPr>
              <p:cNvPr id="6825" name="Vrije vorm: vorm 6824">
                <a:extLst>
                  <a:ext uri="{FF2B5EF4-FFF2-40B4-BE49-F238E27FC236}">
                    <a16:creationId xmlns:a16="http://schemas.microsoft.com/office/drawing/2014/main" id="{C7867947-71FD-4D07-AB7B-29A188E5B6F3}"/>
                  </a:ext>
                </a:extLst>
              </p:cNvPr>
              <p:cNvSpPr/>
              <p:nvPr/>
            </p:nvSpPr>
            <p:spPr>
              <a:xfrm>
                <a:off x="6641671" y="1923261"/>
                <a:ext cx="19856" cy="7894"/>
              </a:xfrm>
              <a:custGeom>
                <a:avLst/>
                <a:gdLst>
                  <a:gd name="connsiteX0" fmla="*/ 19856 w 19856"/>
                  <a:gd name="connsiteY0" fmla="*/ 0 h 7894"/>
                  <a:gd name="connsiteX1" fmla="*/ 19676 w 19856"/>
                  <a:gd name="connsiteY1" fmla="*/ 658 h 7894"/>
                  <a:gd name="connsiteX2" fmla="*/ 19497 w 19856"/>
                  <a:gd name="connsiteY2" fmla="*/ 1316 h 7894"/>
                  <a:gd name="connsiteX3" fmla="*/ 18720 w 19856"/>
                  <a:gd name="connsiteY3" fmla="*/ 2153 h 7894"/>
                  <a:gd name="connsiteX4" fmla="*/ 18540 w 19856"/>
                  <a:gd name="connsiteY4" fmla="*/ 2333 h 7894"/>
                  <a:gd name="connsiteX5" fmla="*/ 15072 w 19856"/>
                  <a:gd name="connsiteY5" fmla="*/ 5981 h 7894"/>
                  <a:gd name="connsiteX6" fmla="*/ 11364 w 19856"/>
                  <a:gd name="connsiteY6" fmla="*/ 6639 h 7894"/>
                  <a:gd name="connsiteX7" fmla="*/ 8313 w 19856"/>
                  <a:gd name="connsiteY7" fmla="*/ 7177 h 7894"/>
                  <a:gd name="connsiteX8" fmla="*/ 6399 w 19856"/>
                  <a:gd name="connsiteY8" fmla="*/ 7536 h 7894"/>
                  <a:gd name="connsiteX9" fmla="*/ 4127 w 19856"/>
                  <a:gd name="connsiteY9" fmla="*/ 7655 h 7894"/>
                  <a:gd name="connsiteX10" fmla="*/ 3768 w 19856"/>
                  <a:gd name="connsiteY10" fmla="*/ 7655 h 7894"/>
                  <a:gd name="connsiteX11" fmla="*/ 239 w 19856"/>
                  <a:gd name="connsiteY11" fmla="*/ 7895 h 7894"/>
                  <a:gd name="connsiteX12" fmla="*/ 0 w 19856"/>
                  <a:gd name="connsiteY12" fmla="*/ 7895 h 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56" h="7894">
                    <a:moveTo>
                      <a:pt x="19856" y="0"/>
                    </a:moveTo>
                    <a:lnTo>
                      <a:pt x="19676" y="658"/>
                    </a:lnTo>
                    <a:lnTo>
                      <a:pt x="19497" y="1316"/>
                    </a:lnTo>
                    <a:lnTo>
                      <a:pt x="18720" y="2153"/>
                    </a:lnTo>
                    <a:lnTo>
                      <a:pt x="18540" y="2333"/>
                    </a:lnTo>
                    <a:lnTo>
                      <a:pt x="15072" y="5981"/>
                    </a:lnTo>
                    <a:lnTo>
                      <a:pt x="11364" y="6639"/>
                    </a:lnTo>
                    <a:lnTo>
                      <a:pt x="8313" y="7177"/>
                    </a:lnTo>
                    <a:lnTo>
                      <a:pt x="6399" y="7536"/>
                    </a:lnTo>
                    <a:lnTo>
                      <a:pt x="4127" y="7655"/>
                    </a:lnTo>
                    <a:lnTo>
                      <a:pt x="3768" y="7655"/>
                    </a:lnTo>
                    <a:lnTo>
                      <a:pt x="239" y="7895"/>
                    </a:lnTo>
                    <a:lnTo>
                      <a:pt x="0" y="7895"/>
                    </a:lnTo>
                  </a:path>
                </a:pathLst>
              </a:custGeom>
              <a:noFill/>
              <a:ln w="6350" cap="rnd">
                <a:solidFill>
                  <a:schemeClr val="bg1">
                    <a:alpha val="80000"/>
                  </a:schemeClr>
                </a:solidFill>
                <a:prstDash val="solid"/>
                <a:round/>
              </a:ln>
            </p:spPr>
            <p:txBody>
              <a:bodyPr rtlCol="0" anchor="ctr"/>
              <a:lstStyle/>
              <a:p>
                <a:endParaRPr lang="en-GB"/>
              </a:p>
            </p:txBody>
          </p:sp>
          <p:sp>
            <p:nvSpPr>
              <p:cNvPr id="6826" name="Vrije vorm: vorm 6825">
                <a:extLst>
                  <a:ext uri="{FF2B5EF4-FFF2-40B4-BE49-F238E27FC236}">
                    <a16:creationId xmlns:a16="http://schemas.microsoft.com/office/drawing/2014/main" id="{20639EA4-7446-47B5-9303-74F0A2904C48}"/>
                  </a:ext>
                </a:extLst>
              </p:cNvPr>
              <p:cNvSpPr/>
              <p:nvPr/>
            </p:nvSpPr>
            <p:spPr>
              <a:xfrm>
                <a:off x="6658298" y="1920211"/>
                <a:ext cx="358" cy="5980"/>
              </a:xfrm>
              <a:custGeom>
                <a:avLst/>
                <a:gdLst>
                  <a:gd name="connsiteX0" fmla="*/ 0 w 358"/>
                  <a:gd name="connsiteY0" fmla="*/ 0 h 5980"/>
                  <a:gd name="connsiteX1" fmla="*/ 359 w 358"/>
                  <a:gd name="connsiteY1" fmla="*/ 0 h 5980"/>
                </a:gdLst>
                <a:ahLst/>
                <a:cxnLst>
                  <a:cxn ang="0">
                    <a:pos x="connsiteX0" y="connsiteY0"/>
                  </a:cxn>
                  <a:cxn ang="0">
                    <a:pos x="connsiteX1" y="connsiteY1"/>
                  </a:cxn>
                </a:cxnLst>
                <a:rect l="l" t="t" r="r" b="b"/>
                <a:pathLst>
                  <a:path w="358" h="5980">
                    <a:moveTo>
                      <a:pt x="0" y="0"/>
                    </a:moveTo>
                    <a:lnTo>
                      <a:pt x="359" y="0"/>
                    </a:lnTo>
                  </a:path>
                </a:pathLst>
              </a:custGeom>
              <a:noFill/>
              <a:ln w="6350" cap="rnd">
                <a:solidFill>
                  <a:schemeClr val="bg1">
                    <a:alpha val="80000"/>
                  </a:schemeClr>
                </a:solidFill>
                <a:prstDash val="solid"/>
                <a:round/>
              </a:ln>
            </p:spPr>
            <p:txBody>
              <a:bodyPr rtlCol="0" anchor="ctr"/>
              <a:lstStyle/>
              <a:p>
                <a:endParaRPr lang="en-GB"/>
              </a:p>
            </p:txBody>
          </p:sp>
          <p:sp>
            <p:nvSpPr>
              <p:cNvPr id="6827" name="Vrije vorm: vorm 6826">
                <a:extLst>
                  <a:ext uri="{FF2B5EF4-FFF2-40B4-BE49-F238E27FC236}">
                    <a16:creationId xmlns:a16="http://schemas.microsoft.com/office/drawing/2014/main" id="{2663F22D-1A79-4B9D-A4D1-13E71DA2058B}"/>
                  </a:ext>
                </a:extLst>
              </p:cNvPr>
              <p:cNvSpPr/>
              <p:nvPr/>
            </p:nvSpPr>
            <p:spPr>
              <a:xfrm>
                <a:off x="6896749" y="1928524"/>
                <a:ext cx="5980" cy="1136"/>
              </a:xfrm>
              <a:custGeom>
                <a:avLst/>
                <a:gdLst>
                  <a:gd name="connsiteX0" fmla="*/ 0 w 5980"/>
                  <a:gd name="connsiteY0" fmla="*/ 0 h 1136"/>
                  <a:gd name="connsiteX1" fmla="*/ 0 w 5980"/>
                  <a:gd name="connsiteY1" fmla="*/ 0 h 1136"/>
                  <a:gd name="connsiteX2" fmla="*/ 837 w 5980"/>
                  <a:gd name="connsiteY2" fmla="*/ 179 h 1136"/>
                  <a:gd name="connsiteX3" fmla="*/ 2930 w 5980"/>
                  <a:gd name="connsiteY3" fmla="*/ 538 h 1136"/>
                  <a:gd name="connsiteX4" fmla="*/ 3589 w 5980"/>
                  <a:gd name="connsiteY4" fmla="*/ 658 h 1136"/>
                  <a:gd name="connsiteX5" fmla="*/ 4127 w 5980"/>
                  <a:gd name="connsiteY5" fmla="*/ 778 h 1136"/>
                  <a:gd name="connsiteX6" fmla="*/ 5981 w 5980"/>
                  <a:gd name="connsiteY6" fmla="*/ 1136 h 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 h="1136">
                    <a:moveTo>
                      <a:pt x="0" y="0"/>
                    </a:moveTo>
                    <a:lnTo>
                      <a:pt x="0" y="0"/>
                    </a:lnTo>
                    <a:lnTo>
                      <a:pt x="837" y="179"/>
                    </a:lnTo>
                    <a:lnTo>
                      <a:pt x="2930" y="538"/>
                    </a:lnTo>
                    <a:lnTo>
                      <a:pt x="3589" y="658"/>
                    </a:lnTo>
                    <a:lnTo>
                      <a:pt x="4127" y="778"/>
                    </a:lnTo>
                    <a:lnTo>
                      <a:pt x="5981" y="1136"/>
                    </a:lnTo>
                  </a:path>
                </a:pathLst>
              </a:custGeom>
              <a:noFill/>
              <a:ln w="6350" cap="rnd">
                <a:solidFill>
                  <a:schemeClr val="bg1">
                    <a:alpha val="80000"/>
                  </a:schemeClr>
                </a:solidFill>
                <a:prstDash val="solid"/>
                <a:round/>
              </a:ln>
            </p:spPr>
            <p:txBody>
              <a:bodyPr rtlCol="0" anchor="ctr"/>
              <a:lstStyle/>
              <a:p>
                <a:endParaRPr lang="en-GB"/>
              </a:p>
            </p:txBody>
          </p:sp>
          <p:sp>
            <p:nvSpPr>
              <p:cNvPr id="6828" name="Vrije vorm: vorm 6827">
                <a:extLst>
                  <a:ext uri="{FF2B5EF4-FFF2-40B4-BE49-F238E27FC236}">
                    <a16:creationId xmlns:a16="http://schemas.microsoft.com/office/drawing/2014/main" id="{42DCED1C-13D2-4719-978B-28136C51CAA8}"/>
                  </a:ext>
                </a:extLst>
              </p:cNvPr>
              <p:cNvSpPr/>
              <p:nvPr/>
            </p:nvSpPr>
            <p:spPr>
              <a:xfrm>
                <a:off x="6809729" y="1986238"/>
                <a:ext cx="5562" cy="9210"/>
              </a:xfrm>
              <a:custGeom>
                <a:avLst/>
                <a:gdLst>
                  <a:gd name="connsiteX0" fmla="*/ 0 w 5562"/>
                  <a:gd name="connsiteY0" fmla="*/ 9210 h 9210"/>
                  <a:gd name="connsiteX1" fmla="*/ 180 w 5562"/>
                  <a:gd name="connsiteY1" fmla="*/ 8732 h 9210"/>
                  <a:gd name="connsiteX2" fmla="*/ 359 w 5562"/>
                  <a:gd name="connsiteY2" fmla="*/ 8373 h 9210"/>
                  <a:gd name="connsiteX3" fmla="*/ 1914 w 5562"/>
                  <a:gd name="connsiteY3" fmla="*/ 5921 h 9210"/>
                  <a:gd name="connsiteX4" fmla="*/ 2213 w 5562"/>
                  <a:gd name="connsiteY4" fmla="*/ 5442 h 9210"/>
                  <a:gd name="connsiteX5" fmla="*/ 2751 w 5562"/>
                  <a:gd name="connsiteY5" fmla="*/ 4605 h 9210"/>
                  <a:gd name="connsiteX6" fmla="*/ 3649 w 5562"/>
                  <a:gd name="connsiteY6" fmla="*/ 3170 h 9210"/>
                  <a:gd name="connsiteX7" fmla="*/ 4665 w 5562"/>
                  <a:gd name="connsiteY7" fmla="*/ 1495 h 9210"/>
                  <a:gd name="connsiteX8" fmla="*/ 5084 w 5562"/>
                  <a:gd name="connsiteY8" fmla="*/ 777 h 9210"/>
                  <a:gd name="connsiteX9" fmla="*/ 5323 w 5562"/>
                  <a:gd name="connsiteY9" fmla="*/ 359 h 9210"/>
                  <a:gd name="connsiteX10" fmla="*/ 5503 w 5562"/>
                  <a:gd name="connsiteY10" fmla="*/ 120 h 9210"/>
                  <a:gd name="connsiteX11" fmla="*/ 5562 w 5562"/>
                  <a:gd name="connsiteY11" fmla="*/ 0 h 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62" h="9210">
                    <a:moveTo>
                      <a:pt x="0" y="9210"/>
                    </a:moveTo>
                    <a:lnTo>
                      <a:pt x="180" y="8732"/>
                    </a:lnTo>
                    <a:lnTo>
                      <a:pt x="359" y="8373"/>
                    </a:lnTo>
                    <a:lnTo>
                      <a:pt x="1914" y="5921"/>
                    </a:lnTo>
                    <a:lnTo>
                      <a:pt x="2213" y="5442"/>
                    </a:lnTo>
                    <a:lnTo>
                      <a:pt x="2751" y="4605"/>
                    </a:lnTo>
                    <a:lnTo>
                      <a:pt x="3649" y="3170"/>
                    </a:lnTo>
                    <a:lnTo>
                      <a:pt x="4665" y="1495"/>
                    </a:lnTo>
                    <a:lnTo>
                      <a:pt x="5084" y="777"/>
                    </a:lnTo>
                    <a:lnTo>
                      <a:pt x="5323" y="359"/>
                    </a:lnTo>
                    <a:lnTo>
                      <a:pt x="5503" y="120"/>
                    </a:lnTo>
                    <a:lnTo>
                      <a:pt x="5562" y="0"/>
                    </a:lnTo>
                  </a:path>
                </a:pathLst>
              </a:custGeom>
              <a:noFill/>
              <a:ln w="6350" cap="rnd">
                <a:solidFill>
                  <a:schemeClr val="bg1">
                    <a:alpha val="80000"/>
                  </a:schemeClr>
                </a:solidFill>
                <a:prstDash val="solid"/>
                <a:round/>
              </a:ln>
            </p:spPr>
            <p:txBody>
              <a:bodyPr rtlCol="0" anchor="ctr"/>
              <a:lstStyle/>
              <a:p>
                <a:endParaRPr lang="en-GB"/>
              </a:p>
            </p:txBody>
          </p:sp>
          <p:sp>
            <p:nvSpPr>
              <p:cNvPr id="6829" name="Vrije vorm: vorm 6828">
                <a:extLst>
                  <a:ext uri="{FF2B5EF4-FFF2-40B4-BE49-F238E27FC236}">
                    <a16:creationId xmlns:a16="http://schemas.microsoft.com/office/drawing/2014/main" id="{6ECFEE98-A5BF-4991-B41B-C0A639ACA931}"/>
                  </a:ext>
                </a:extLst>
              </p:cNvPr>
              <p:cNvSpPr/>
              <p:nvPr/>
            </p:nvSpPr>
            <p:spPr>
              <a:xfrm>
                <a:off x="6797469" y="2013271"/>
                <a:ext cx="4186" cy="12798"/>
              </a:xfrm>
              <a:custGeom>
                <a:avLst/>
                <a:gdLst>
                  <a:gd name="connsiteX0" fmla="*/ 0 w 4186"/>
                  <a:gd name="connsiteY0" fmla="*/ 12799 h 12798"/>
                  <a:gd name="connsiteX1" fmla="*/ 2093 w 4186"/>
                  <a:gd name="connsiteY1" fmla="*/ 5323 h 12798"/>
                  <a:gd name="connsiteX2" fmla="*/ 3349 w 4186"/>
                  <a:gd name="connsiteY2" fmla="*/ 2153 h 12798"/>
                  <a:gd name="connsiteX3" fmla="*/ 3768 w 4186"/>
                  <a:gd name="connsiteY3" fmla="*/ 1077 h 12798"/>
                  <a:gd name="connsiteX4" fmla="*/ 4187 w 4186"/>
                  <a:gd name="connsiteY4" fmla="*/ 0 h 12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6" h="12798">
                    <a:moveTo>
                      <a:pt x="0" y="12799"/>
                    </a:moveTo>
                    <a:lnTo>
                      <a:pt x="2093" y="5323"/>
                    </a:lnTo>
                    <a:lnTo>
                      <a:pt x="3349" y="2153"/>
                    </a:lnTo>
                    <a:lnTo>
                      <a:pt x="3768" y="1077"/>
                    </a:lnTo>
                    <a:lnTo>
                      <a:pt x="4187" y="0"/>
                    </a:lnTo>
                  </a:path>
                </a:pathLst>
              </a:custGeom>
              <a:noFill/>
              <a:ln w="6350" cap="rnd">
                <a:solidFill>
                  <a:schemeClr val="bg1">
                    <a:alpha val="80000"/>
                  </a:schemeClr>
                </a:solidFill>
                <a:prstDash val="solid"/>
                <a:round/>
              </a:ln>
            </p:spPr>
            <p:txBody>
              <a:bodyPr rtlCol="0" anchor="ctr"/>
              <a:lstStyle/>
              <a:p>
                <a:endParaRPr lang="en-GB"/>
              </a:p>
            </p:txBody>
          </p:sp>
          <p:sp>
            <p:nvSpPr>
              <p:cNvPr id="6830" name="Vrije vorm: vorm 6829">
                <a:extLst>
                  <a:ext uri="{FF2B5EF4-FFF2-40B4-BE49-F238E27FC236}">
                    <a16:creationId xmlns:a16="http://schemas.microsoft.com/office/drawing/2014/main" id="{20BC2BBB-7D87-4A34-9953-199391AE5DA7}"/>
                  </a:ext>
                </a:extLst>
              </p:cNvPr>
              <p:cNvSpPr/>
              <p:nvPr/>
            </p:nvSpPr>
            <p:spPr>
              <a:xfrm>
                <a:off x="6920612" y="2050172"/>
                <a:ext cx="6698" cy="9928"/>
              </a:xfrm>
              <a:custGeom>
                <a:avLst/>
                <a:gdLst>
                  <a:gd name="connsiteX0" fmla="*/ 6698 w 6698"/>
                  <a:gd name="connsiteY0" fmla="*/ 0 h 9928"/>
                  <a:gd name="connsiteX1" fmla="*/ 6041 w 6698"/>
                  <a:gd name="connsiteY1" fmla="*/ 1017 h 9928"/>
                  <a:gd name="connsiteX2" fmla="*/ 5981 w 6698"/>
                  <a:gd name="connsiteY2" fmla="*/ 1136 h 9928"/>
                  <a:gd name="connsiteX3" fmla="*/ 5562 w 6698"/>
                  <a:gd name="connsiteY3" fmla="*/ 1794 h 9928"/>
                  <a:gd name="connsiteX4" fmla="*/ 4964 w 6698"/>
                  <a:gd name="connsiteY4" fmla="*/ 2811 h 9928"/>
                  <a:gd name="connsiteX5" fmla="*/ 4845 w 6698"/>
                  <a:gd name="connsiteY5" fmla="*/ 2990 h 9928"/>
                  <a:gd name="connsiteX6" fmla="*/ 4725 w 6698"/>
                  <a:gd name="connsiteY6" fmla="*/ 3170 h 9928"/>
                  <a:gd name="connsiteX7" fmla="*/ 4545 w 6698"/>
                  <a:gd name="connsiteY7" fmla="*/ 3409 h 9928"/>
                  <a:gd name="connsiteX8" fmla="*/ 4247 w 6698"/>
                  <a:gd name="connsiteY8" fmla="*/ 3888 h 9928"/>
                  <a:gd name="connsiteX9" fmla="*/ 4187 w 6698"/>
                  <a:gd name="connsiteY9" fmla="*/ 4007 h 9928"/>
                  <a:gd name="connsiteX10" fmla="*/ 3828 w 6698"/>
                  <a:gd name="connsiteY10" fmla="*/ 4605 h 9928"/>
                  <a:gd name="connsiteX11" fmla="*/ 3828 w 6698"/>
                  <a:gd name="connsiteY11" fmla="*/ 4665 h 9928"/>
                  <a:gd name="connsiteX12" fmla="*/ 3768 w 6698"/>
                  <a:gd name="connsiteY12" fmla="*/ 4725 h 9928"/>
                  <a:gd name="connsiteX13" fmla="*/ 3768 w 6698"/>
                  <a:gd name="connsiteY13" fmla="*/ 4785 h 9928"/>
                  <a:gd name="connsiteX14" fmla="*/ 3708 w 6698"/>
                  <a:gd name="connsiteY14" fmla="*/ 4844 h 9928"/>
                  <a:gd name="connsiteX15" fmla="*/ 3409 w 6698"/>
                  <a:gd name="connsiteY15" fmla="*/ 5263 h 9928"/>
                  <a:gd name="connsiteX16" fmla="*/ 3170 w 6698"/>
                  <a:gd name="connsiteY16" fmla="*/ 5622 h 9928"/>
                  <a:gd name="connsiteX17" fmla="*/ 3170 w 6698"/>
                  <a:gd name="connsiteY17" fmla="*/ 5622 h 9928"/>
                  <a:gd name="connsiteX18" fmla="*/ 3050 w 6698"/>
                  <a:gd name="connsiteY18" fmla="*/ 5861 h 9928"/>
                  <a:gd name="connsiteX19" fmla="*/ 2811 w 6698"/>
                  <a:gd name="connsiteY19" fmla="*/ 6160 h 9928"/>
                  <a:gd name="connsiteX20" fmla="*/ 2213 w 6698"/>
                  <a:gd name="connsiteY20" fmla="*/ 6878 h 9928"/>
                  <a:gd name="connsiteX21" fmla="*/ 2034 w 6698"/>
                  <a:gd name="connsiteY21" fmla="*/ 7117 h 9928"/>
                  <a:gd name="connsiteX22" fmla="*/ 1854 w 6698"/>
                  <a:gd name="connsiteY22" fmla="*/ 7356 h 9928"/>
                  <a:gd name="connsiteX23" fmla="*/ 1795 w 6698"/>
                  <a:gd name="connsiteY23" fmla="*/ 7416 h 9928"/>
                  <a:gd name="connsiteX24" fmla="*/ 1675 w 6698"/>
                  <a:gd name="connsiteY24" fmla="*/ 7596 h 9928"/>
                  <a:gd name="connsiteX25" fmla="*/ 1017 w 6698"/>
                  <a:gd name="connsiteY25" fmla="*/ 8493 h 9928"/>
                  <a:gd name="connsiteX26" fmla="*/ 120 w 6698"/>
                  <a:gd name="connsiteY26" fmla="*/ 9689 h 9928"/>
                  <a:gd name="connsiteX27" fmla="*/ 120 w 6698"/>
                  <a:gd name="connsiteY27" fmla="*/ 9749 h 9928"/>
                  <a:gd name="connsiteX28" fmla="*/ 0 w 6698"/>
                  <a:gd name="connsiteY28" fmla="*/ 9928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698" h="9928">
                    <a:moveTo>
                      <a:pt x="6698" y="0"/>
                    </a:moveTo>
                    <a:lnTo>
                      <a:pt x="6041" y="1017"/>
                    </a:lnTo>
                    <a:lnTo>
                      <a:pt x="5981" y="1136"/>
                    </a:lnTo>
                    <a:lnTo>
                      <a:pt x="5562" y="1794"/>
                    </a:lnTo>
                    <a:lnTo>
                      <a:pt x="4964" y="2811"/>
                    </a:lnTo>
                    <a:lnTo>
                      <a:pt x="4845" y="2990"/>
                    </a:lnTo>
                    <a:lnTo>
                      <a:pt x="4725" y="3170"/>
                    </a:lnTo>
                    <a:lnTo>
                      <a:pt x="4545" y="3409"/>
                    </a:lnTo>
                    <a:lnTo>
                      <a:pt x="4247" y="3888"/>
                    </a:lnTo>
                    <a:lnTo>
                      <a:pt x="4187" y="4007"/>
                    </a:lnTo>
                    <a:lnTo>
                      <a:pt x="3828" y="4605"/>
                    </a:lnTo>
                    <a:lnTo>
                      <a:pt x="3828" y="4665"/>
                    </a:lnTo>
                    <a:lnTo>
                      <a:pt x="3768" y="4725"/>
                    </a:lnTo>
                    <a:lnTo>
                      <a:pt x="3768" y="4785"/>
                    </a:lnTo>
                    <a:lnTo>
                      <a:pt x="3708" y="4844"/>
                    </a:lnTo>
                    <a:lnTo>
                      <a:pt x="3409" y="5263"/>
                    </a:lnTo>
                    <a:lnTo>
                      <a:pt x="3170" y="5622"/>
                    </a:lnTo>
                    <a:lnTo>
                      <a:pt x="3170" y="5622"/>
                    </a:lnTo>
                    <a:lnTo>
                      <a:pt x="3050" y="5861"/>
                    </a:lnTo>
                    <a:lnTo>
                      <a:pt x="2811" y="6160"/>
                    </a:lnTo>
                    <a:lnTo>
                      <a:pt x="2213" y="6878"/>
                    </a:lnTo>
                    <a:lnTo>
                      <a:pt x="2034" y="7117"/>
                    </a:lnTo>
                    <a:lnTo>
                      <a:pt x="1854" y="7356"/>
                    </a:lnTo>
                    <a:lnTo>
                      <a:pt x="1795" y="7416"/>
                    </a:lnTo>
                    <a:lnTo>
                      <a:pt x="1675" y="7596"/>
                    </a:lnTo>
                    <a:lnTo>
                      <a:pt x="1017" y="8493"/>
                    </a:lnTo>
                    <a:lnTo>
                      <a:pt x="120" y="9689"/>
                    </a:lnTo>
                    <a:lnTo>
                      <a:pt x="120" y="9749"/>
                    </a:lnTo>
                    <a:lnTo>
                      <a:pt x="0" y="9928"/>
                    </a:lnTo>
                  </a:path>
                </a:pathLst>
              </a:custGeom>
              <a:noFill/>
              <a:ln w="6350" cap="rnd">
                <a:solidFill>
                  <a:schemeClr val="bg1">
                    <a:alpha val="80000"/>
                  </a:schemeClr>
                </a:solidFill>
                <a:prstDash val="solid"/>
                <a:round/>
              </a:ln>
            </p:spPr>
            <p:txBody>
              <a:bodyPr rtlCol="0" anchor="ctr"/>
              <a:lstStyle/>
              <a:p>
                <a:endParaRPr lang="en-GB"/>
              </a:p>
            </p:txBody>
          </p:sp>
          <p:sp>
            <p:nvSpPr>
              <p:cNvPr id="6831" name="Vrije vorm: vorm 6830">
                <a:extLst>
                  <a:ext uri="{FF2B5EF4-FFF2-40B4-BE49-F238E27FC236}">
                    <a16:creationId xmlns:a16="http://schemas.microsoft.com/office/drawing/2014/main" id="{BB11CE79-45AC-4FF4-9B60-614C11A4E26A}"/>
                  </a:ext>
                </a:extLst>
              </p:cNvPr>
              <p:cNvSpPr/>
              <p:nvPr/>
            </p:nvSpPr>
            <p:spPr>
              <a:xfrm>
                <a:off x="6933470" y="2031093"/>
                <a:ext cx="4545" cy="9030"/>
              </a:xfrm>
              <a:custGeom>
                <a:avLst/>
                <a:gdLst>
                  <a:gd name="connsiteX0" fmla="*/ 4545 w 4545"/>
                  <a:gd name="connsiteY0" fmla="*/ 0 h 9030"/>
                  <a:gd name="connsiteX1" fmla="*/ 2930 w 4545"/>
                  <a:gd name="connsiteY1" fmla="*/ 3409 h 9030"/>
                  <a:gd name="connsiteX2" fmla="*/ 1555 w 4545"/>
                  <a:gd name="connsiteY2" fmla="*/ 6280 h 9030"/>
                  <a:gd name="connsiteX3" fmla="*/ 897 w 4545"/>
                  <a:gd name="connsiteY3" fmla="*/ 7655 h 9030"/>
                  <a:gd name="connsiteX4" fmla="*/ 718 w 4545"/>
                  <a:gd name="connsiteY4" fmla="*/ 7954 h 9030"/>
                  <a:gd name="connsiteX5" fmla="*/ 359 w 4545"/>
                  <a:gd name="connsiteY5" fmla="*/ 8493 h 9030"/>
                  <a:gd name="connsiteX6" fmla="*/ 239 w 4545"/>
                  <a:gd name="connsiteY6" fmla="*/ 8672 h 9030"/>
                  <a:gd name="connsiteX7" fmla="*/ 0 w 4545"/>
                  <a:gd name="connsiteY7" fmla="*/ 9031 h 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5" h="9030">
                    <a:moveTo>
                      <a:pt x="4545" y="0"/>
                    </a:moveTo>
                    <a:lnTo>
                      <a:pt x="2930" y="3409"/>
                    </a:lnTo>
                    <a:lnTo>
                      <a:pt x="1555" y="6280"/>
                    </a:lnTo>
                    <a:lnTo>
                      <a:pt x="897" y="7655"/>
                    </a:lnTo>
                    <a:lnTo>
                      <a:pt x="718" y="7954"/>
                    </a:lnTo>
                    <a:lnTo>
                      <a:pt x="359" y="8493"/>
                    </a:lnTo>
                    <a:lnTo>
                      <a:pt x="239" y="8672"/>
                    </a:lnTo>
                    <a:lnTo>
                      <a:pt x="0" y="9031"/>
                    </a:lnTo>
                  </a:path>
                </a:pathLst>
              </a:custGeom>
              <a:noFill/>
              <a:ln w="6350" cap="rnd">
                <a:solidFill>
                  <a:schemeClr val="bg1">
                    <a:alpha val="80000"/>
                  </a:schemeClr>
                </a:solidFill>
                <a:prstDash val="solid"/>
                <a:round/>
              </a:ln>
            </p:spPr>
            <p:txBody>
              <a:bodyPr rtlCol="0" anchor="ctr"/>
              <a:lstStyle/>
              <a:p>
                <a:endParaRPr lang="en-GB"/>
              </a:p>
            </p:txBody>
          </p:sp>
          <p:sp>
            <p:nvSpPr>
              <p:cNvPr id="6832" name="Vrije vorm: vorm 6831">
                <a:extLst>
                  <a:ext uri="{FF2B5EF4-FFF2-40B4-BE49-F238E27FC236}">
                    <a16:creationId xmlns:a16="http://schemas.microsoft.com/office/drawing/2014/main" id="{CDE42AD1-4444-401C-B971-2B2E03C44996}"/>
                  </a:ext>
                </a:extLst>
              </p:cNvPr>
              <p:cNvSpPr/>
              <p:nvPr/>
            </p:nvSpPr>
            <p:spPr>
              <a:xfrm>
                <a:off x="7060561" y="2053999"/>
                <a:ext cx="7177" cy="11662"/>
              </a:xfrm>
              <a:custGeom>
                <a:avLst/>
                <a:gdLst>
                  <a:gd name="connsiteX0" fmla="*/ 7177 w 7177"/>
                  <a:gd name="connsiteY0" fmla="*/ 0 h 11662"/>
                  <a:gd name="connsiteX1" fmla="*/ 538 w 7177"/>
                  <a:gd name="connsiteY1" fmla="*/ 10885 h 11662"/>
                  <a:gd name="connsiteX2" fmla="*/ 0 w 7177"/>
                  <a:gd name="connsiteY2" fmla="*/ 11662 h 11662"/>
                </a:gdLst>
                <a:ahLst/>
                <a:cxnLst>
                  <a:cxn ang="0">
                    <a:pos x="connsiteX0" y="connsiteY0"/>
                  </a:cxn>
                  <a:cxn ang="0">
                    <a:pos x="connsiteX1" y="connsiteY1"/>
                  </a:cxn>
                  <a:cxn ang="0">
                    <a:pos x="connsiteX2" y="connsiteY2"/>
                  </a:cxn>
                </a:cxnLst>
                <a:rect l="l" t="t" r="r" b="b"/>
                <a:pathLst>
                  <a:path w="7177" h="11662">
                    <a:moveTo>
                      <a:pt x="7177" y="0"/>
                    </a:moveTo>
                    <a:lnTo>
                      <a:pt x="538" y="10885"/>
                    </a:lnTo>
                    <a:lnTo>
                      <a:pt x="0" y="11662"/>
                    </a:lnTo>
                  </a:path>
                </a:pathLst>
              </a:custGeom>
              <a:noFill/>
              <a:ln w="6350" cap="rnd">
                <a:solidFill>
                  <a:schemeClr val="bg1">
                    <a:alpha val="80000"/>
                  </a:schemeClr>
                </a:solidFill>
                <a:prstDash val="solid"/>
                <a:round/>
              </a:ln>
            </p:spPr>
            <p:txBody>
              <a:bodyPr rtlCol="0" anchor="ctr"/>
              <a:lstStyle/>
              <a:p>
                <a:endParaRPr lang="en-GB"/>
              </a:p>
            </p:txBody>
          </p:sp>
          <p:sp>
            <p:nvSpPr>
              <p:cNvPr id="6833" name="Vrije vorm: vorm 6832">
                <a:extLst>
                  <a:ext uri="{FF2B5EF4-FFF2-40B4-BE49-F238E27FC236}">
                    <a16:creationId xmlns:a16="http://schemas.microsoft.com/office/drawing/2014/main" id="{4D27F011-7F97-4E2E-9219-B260790BE6FC}"/>
                  </a:ext>
                </a:extLst>
              </p:cNvPr>
              <p:cNvSpPr/>
              <p:nvPr/>
            </p:nvSpPr>
            <p:spPr>
              <a:xfrm>
                <a:off x="6879524" y="2094967"/>
                <a:ext cx="6579" cy="4425"/>
              </a:xfrm>
              <a:custGeom>
                <a:avLst/>
                <a:gdLst>
                  <a:gd name="connsiteX0" fmla="*/ 6579 w 6579"/>
                  <a:gd name="connsiteY0" fmla="*/ 0 h 4425"/>
                  <a:gd name="connsiteX1" fmla="*/ 718 w 6579"/>
                  <a:gd name="connsiteY1" fmla="*/ 3947 h 4425"/>
                  <a:gd name="connsiteX2" fmla="*/ 0 w 6579"/>
                  <a:gd name="connsiteY2" fmla="*/ 4426 h 4425"/>
                </a:gdLst>
                <a:ahLst/>
                <a:cxnLst>
                  <a:cxn ang="0">
                    <a:pos x="connsiteX0" y="connsiteY0"/>
                  </a:cxn>
                  <a:cxn ang="0">
                    <a:pos x="connsiteX1" y="connsiteY1"/>
                  </a:cxn>
                  <a:cxn ang="0">
                    <a:pos x="connsiteX2" y="connsiteY2"/>
                  </a:cxn>
                </a:cxnLst>
                <a:rect l="l" t="t" r="r" b="b"/>
                <a:pathLst>
                  <a:path w="6579" h="4425">
                    <a:moveTo>
                      <a:pt x="6579" y="0"/>
                    </a:moveTo>
                    <a:lnTo>
                      <a:pt x="718" y="3947"/>
                    </a:lnTo>
                    <a:lnTo>
                      <a:pt x="0" y="4426"/>
                    </a:lnTo>
                  </a:path>
                </a:pathLst>
              </a:custGeom>
              <a:noFill/>
              <a:ln w="6350" cap="rnd">
                <a:solidFill>
                  <a:schemeClr val="bg1">
                    <a:alpha val="80000"/>
                  </a:schemeClr>
                </a:solidFill>
                <a:prstDash val="solid"/>
                <a:round/>
              </a:ln>
            </p:spPr>
            <p:txBody>
              <a:bodyPr rtlCol="0" anchor="ctr"/>
              <a:lstStyle/>
              <a:p>
                <a:endParaRPr lang="en-GB"/>
              </a:p>
            </p:txBody>
          </p:sp>
          <p:sp>
            <p:nvSpPr>
              <p:cNvPr id="6834" name="Vrije vorm: vorm 6833">
                <a:extLst>
                  <a:ext uri="{FF2B5EF4-FFF2-40B4-BE49-F238E27FC236}">
                    <a16:creationId xmlns:a16="http://schemas.microsoft.com/office/drawing/2014/main" id="{4C98F250-104C-4AAD-87BA-C0C7C4489B29}"/>
                  </a:ext>
                </a:extLst>
              </p:cNvPr>
              <p:cNvSpPr/>
              <p:nvPr/>
            </p:nvSpPr>
            <p:spPr>
              <a:xfrm>
                <a:off x="6712184" y="1864291"/>
                <a:ext cx="3947" cy="837"/>
              </a:xfrm>
              <a:custGeom>
                <a:avLst/>
                <a:gdLst>
                  <a:gd name="connsiteX0" fmla="*/ 3947 w 3947"/>
                  <a:gd name="connsiteY0" fmla="*/ 837 h 837"/>
                  <a:gd name="connsiteX1" fmla="*/ 1136 w 3947"/>
                  <a:gd name="connsiteY1" fmla="*/ 239 h 837"/>
                  <a:gd name="connsiteX2" fmla="*/ 0 w 3947"/>
                  <a:gd name="connsiteY2" fmla="*/ 0 h 837"/>
                </a:gdLst>
                <a:ahLst/>
                <a:cxnLst>
                  <a:cxn ang="0">
                    <a:pos x="connsiteX0" y="connsiteY0"/>
                  </a:cxn>
                  <a:cxn ang="0">
                    <a:pos x="connsiteX1" y="connsiteY1"/>
                  </a:cxn>
                  <a:cxn ang="0">
                    <a:pos x="connsiteX2" y="connsiteY2"/>
                  </a:cxn>
                </a:cxnLst>
                <a:rect l="l" t="t" r="r" b="b"/>
                <a:pathLst>
                  <a:path w="3947" h="837">
                    <a:moveTo>
                      <a:pt x="3947" y="837"/>
                    </a:moveTo>
                    <a:lnTo>
                      <a:pt x="1136" y="23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35" name="Vrije vorm: vorm 6834">
                <a:extLst>
                  <a:ext uri="{FF2B5EF4-FFF2-40B4-BE49-F238E27FC236}">
                    <a16:creationId xmlns:a16="http://schemas.microsoft.com/office/drawing/2014/main" id="{A32E742A-6FC6-4EE9-A338-B4862D72A87A}"/>
                  </a:ext>
                </a:extLst>
              </p:cNvPr>
              <p:cNvSpPr/>
              <p:nvPr/>
            </p:nvSpPr>
            <p:spPr>
              <a:xfrm>
                <a:off x="6749982" y="1888274"/>
                <a:ext cx="14294" cy="12439"/>
              </a:xfrm>
              <a:custGeom>
                <a:avLst/>
                <a:gdLst>
                  <a:gd name="connsiteX0" fmla="*/ 0 w 14294"/>
                  <a:gd name="connsiteY0" fmla="*/ 12440 h 12439"/>
                  <a:gd name="connsiteX1" fmla="*/ 1735 w 14294"/>
                  <a:gd name="connsiteY1" fmla="*/ 10406 h 12439"/>
                  <a:gd name="connsiteX2" fmla="*/ 3947 w 14294"/>
                  <a:gd name="connsiteY2" fmla="*/ 7895 h 12439"/>
                  <a:gd name="connsiteX3" fmla="*/ 4605 w 14294"/>
                  <a:gd name="connsiteY3" fmla="*/ 7117 h 12439"/>
                  <a:gd name="connsiteX4" fmla="*/ 4844 w 14294"/>
                  <a:gd name="connsiteY4" fmla="*/ 6878 h 12439"/>
                  <a:gd name="connsiteX5" fmla="*/ 5024 w 14294"/>
                  <a:gd name="connsiteY5" fmla="*/ 6698 h 12439"/>
                  <a:gd name="connsiteX6" fmla="*/ 5263 w 14294"/>
                  <a:gd name="connsiteY6" fmla="*/ 6399 h 12439"/>
                  <a:gd name="connsiteX7" fmla="*/ 5742 w 14294"/>
                  <a:gd name="connsiteY7" fmla="*/ 5861 h 12439"/>
                  <a:gd name="connsiteX8" fmla="*/ 6399 w 14294"/>
                  <a:gd name="connsiteY8" fmla="*/ 5143 h 12439"/>
                  <a:gd name="connsiteX9" fmla="*/ 6459 w 14294"/>
                  <a:gd name="connsiteY9" fmla="*/ 5084 h 12439"/>
                  <a:gd name="connsiteX10" fmla="*/ 7357 w 14294"/>
                  <a:gd name="connsiteY10" fmla="*/ 4067 h 12439"/>
                  <a:gd name="connsiteX11" fmla="*/ 8373 w 14294"/>
                  <a:gd name="connsiteY11" fmla="*/ 2871 h 12439"/>
                  <a:gd name="connsiteX12" fmla="*/ 10885 w 14294"/>
                  <a:gd name="connsiteY12" fmla="*/ 0 h 12439"/>
                  <a:gd name="connsiteX13" fmla="*/ 12500 w 14294"/>
                  <a:gd name="connsiteY13" fmla="*/ 1017 h 12439"/>
                  <a:gd name="connsiteX14" fmla="*/ 13696 w 14294"/>
                  <a:gd name="connsiteY14" fmla="*/ 1794 h 12439"/>
                  <a:gd name="connsiteX15" fmla="*/ 14294 w 14294"/>
                  <a:gd name="connsiteY15" fmla="*/ 2153 h 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294" h="12439">
                    <a:moveTo>
                      <a:pt x="0" y="12440"/>
                    </a:moveTo>
                    <a:lnTo>
                      <a:pt x="1735" y="10406"/>
                    </a:lnTo>
                    <a:lnTo>
                      <a:pt x="3947" y="7895"/>
                    </a:lnTo>
                    <a:lnTo>
                      <a:pt x="4605" y="7117"/>
                    </a:lnTo>
                    <a:lnTo>
                      <a:pt x="4844" y="6878"/>
                    </a:lnTo>
                    <a:lnTo>
                      <a:pt x="5024" y="6698"/>
                    </a:lnTo>
                    <a:lnTo>
                      <a:pt x="5263" y="6399"/>
                    </a:lnTo>
                    <a:lnTo>
                      <a:pt x="5742" y="5861"/>
                    </a:lnTo>
                    <a:lnTo>
                      <a:pt x="6399" y="5143"/>
                    </a:lnTo>
                    <a:lnTo>
                      <a:pt x="6459" y="5084"/>
                    </a:lnTo>
                    <a:lnTo>
                      <a:pt x="7357" y="4067"/>
                    </a:lnTo>
                    <a:lnTo>
                      <a:pt x="8373" y="2871"/>
                    </a:lnTo>
                    <a:lnTo>
                      <a:pt x="10885" y="0"/>
                    </a:lnTo>
                    <a:lnTo>
                      <a:pt x="12500" y="1017"/>
                    </a:lnTo>
                    <a:lnTo>
                      <a:pt x="13696" y="1794"/>
                    </a:lnTo>
                    <a:lnTo>
                      <a:pt x="14294" y="2153"/>
                    </a:lnTo>
                  </a:path>
                </a:pathLst>
              </a:custGeom>
              <a:noFill/>
              <a:ln w="6350" cap="rnd">
                <a:solidFill>
                  <a:schemeClr val="bg1">
                    <a:alpha val="80000"/>
                  </a:schemeClr>
                </a:solidFill>
                <a:prstDash val="solid"/>
                <a:round/>
              </a:ln>
            </p:spPr>
            <p:txBody>
              <a:bodyPr rtlCol="0" anchor="ctr"/>
              <a:lstStyle/>
              <a:p>
                <a:endParaRPr lang="en-GB"/>
              </a:p>
            </p:txBody>
          </p:sp>
          <p:sp>
            <p:nvSpPr>
              <p:cNvPr id="6836" name="Vrije vorm: vorm 6835">
                <a:extLst>
                  <a:ext uri="{FF2B5EF4-FFF2-40B4-BE49-F238E27FC236}">
                    <a16:creationId xmlns:a16="http://schemas.microsoft.com/office/drawing/2014/main" id="{11F216C8-65B5-4F04-8B99-114250D17D20}"/>
                  </a:ext>
                </a:extLst>
              </p:cNvPr>
              <p:cNvSpPr/>
              <p:nvPr/>
            </p:nvSpPr>
            <p:spPr>
              <a:xfrm>
                <a:off x="6751956" y="1897185"/>
                <a:ext cx="9748" cy="7116"/>
              </a:xfrm>
              <a:custGeom>
                <a:avLst/>
                <a:gdLst>
                  <a:gd name="connsiteX0" fmla="*/ 9749 w 9748"/>
                  <a:gd name="connsiteY0" fmla="*/ 0 h 7116"/>
                  <a:gd name="connsiteX1" fmla="*/ 9749 w 9748"/>
                  <a:gd name="connsiteY1" fmla="*/ 0 h 7116"/>
                  <a:gd name="connsiteX2" fmla="*/ 9629 w 9748"/>
                  <a:gd name="connsiteY2" fmla="*/ 120 h 7116"/>
                  <a:gd name="connsiteX3" fmla="*/ 9390 w 9748"/>
                  <a:gd name="connsiteY3" fmla="*/ 359 h 7116"/>
                  <a:gd name="connsiteX4" fmla="*/ 9210 w 9748"/>
                  <a:gd name="connsiteY4" fmla="*/ 538 h 7116"/>
                  <a:gd name="connsiteX5" fmla="*/ 9151 w 9748"/>
                  <a:gd name="connsiteY5" fmla="*/ 598 h 7116"/>
                  <a:gd name="connsiteX6" fmla="*/ 9091 w 9748"/>
                  <a:gd name="connsiteY6" fmla="*/ 658 h 7116"/>
                  <a:gd name="connsiteX7" fmla="*/ 8732 w 9748"/>
                  <a:gd name="connsiteY7" fmla="*/ 1076 h 7116"/>
                  <a:gd name="connsiteX8" fmla="*/ 8552 w 9748"/>
                  <a:gd name="connsiteY8" fmla="*/ 1316 h 7116"/>
                  <a:gd name="connsiteX9" fmla="*/ 8433 w 9748"/>
                  <a:gd name="connsiteY9" fmla="*/ 1435 h 7116"/>
                  <a:gd name="connsiteX10" fmla="*/ 8313 w 9748"/>
                  <a:gd name="connsiteY10" fmla="*/ 1615 h 7116"/>
                  <a:gd name="connsiteX11" fmla="*/ 7954 w 9748"/>
                  <a:gd name="connsiteY11" fmla="*/ 2033 h 7116"/>
                  <a:gd name="connsiteX12" fmla="*/ 7596 w 9748"/>
                  <a:gd name="connsiteY12" fmla="*/ 2452 h 7116"/>
                  <a:gd name="connsiteX13" fmla="*/ 5323 w 9748"/>
                  <a:gd name="connsiteY13" fmla="*/ 5084 h 7116"/>
                  <a:gd name="connsiteX14" fmla="*/ 3588 w 9748"/>
                  <a:gd name="connsiteY14" fmla="*/ 7117 h 7116"/>
                  <a:gd name="connsiteX15" fmla="*/ 0 w 9748"/>
                  <a:gd name="connsiteY15" fmla="*/ 4785 h 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48" h="7116">
                    <a:moveTo>
                      <a:pt x="9749" y="0"/>
                    </a:moveTo>
                    <a:lnTo>
                      <a:pt x="9749" y="0"/>
                    </a:lnTo>
                    <a:lnTo>
                      <a:pt x="9629" y="120"/>
                    </a:lnTo>
                    <a:lnTo>
                      <a:pt x="9390" y="359"/>
                    </a:lnTo>
                    <a:lnTo>
                      <a:pt x="9210" y="538"/>
                    </a:lnTo>
                    <a:lnTo>
                      <a:pt x="9151" y="598"/>
                    </a:lnTo>
                    <a:lnTo>
                      <a:pt x="9091" y="658"/>
                    </a:lnTo>
                    <a:lnTo>
                      <a:pt x="8732" y="1076"/>
                    </a:lnTo>
                    <a:lnTo>
                      <a:pt x="8552" y="1316"/>
                    </a:lnTo>
                    <a:lnTo>
                      <a:pt x="8433" y="1435"/>
                    </a:lnTo>
                    <a:lnTo>
                      <a:pt x="8313" y="1615"/>
                    </a:lnTo>
                    <a:lnTo>
                      <a:pt x="7954" y="2033"/>
                    </a:lnTo>
                    <a:lnTo>
                      <a:pt x="7596" y="2452"/>
                    </a:lnTo>
                    <a:lnTo>
                      <a:pt x="5323" y="5084"/>
                    </a:lnTo>
                    <a:lnTo>
                      <a:pt x="3588" y="7117"/>
                    </a:lnTo>
                    <a:lnTo>
                      <a:pt x="0" y="4785"/>
                    </a:lnTo>
                  </a:path>
                </a:pathLst>
              </a:custGeom>
              <a:noFill/>
              <a:ln w="6350" cap="rnd">
                <a:solidFill>
                  <a:schemeClr val="bg1">
                    <a:alpha val="80000"/>
                  </a:schemeClr>
                </a:solidFill>
                <a:prstDash val="solid"/>
                <a:round/>
              </a:ln>
            </p:spPr>
            <p:txBody>
              <a:bodyPr rtlCol="0" anchor="ctr"/>
              <a:lstStyle/>
              <a:p>
                <a:endParaRPr lang="en-GB"/>
              </a:p>
            </p:txBody>
          </p:sp>
          <p:sp>
            <p:nvSpPr>
              <p:cNvPr id="6837" name="Vrije vorm: vorm 6836">
                <a:extLst>
                  <a:ext uri="{FF2B5EF4-FFF2-40B4-BE49-F238E27FC236}">
                    <a16:creationId xmlns:a16="http://schemas.microsoft.com/office/drawing/2014/main" id="{6C6565A1-2951-47EB-BFFB-379555119301}"/>
                  </a:ext>
                </a:extLst>
              </p:cNvPr>
              <p:cNvSpPr/>
              <p:nvPr/>
            </p:nvSpPr>
            <p:spPr>
              <a:xfrm>
                <a:off x="6975335" y="2004838"/>
                <a:ext cx="3648" cy="4066"/>
              </a:xfrm>
              <a:custGeom>
                <a:avLst/>
                <a:gdLst>
                  <a:gd name="connsiteX0" fmla="*/ 3588 w 3648"/>
                  <a:gd name="connsiteY0" fmla="*/ 0 h 4066"/>
                  <a:gd name="connsiteX1" fmla="*/ 3648 w 3648"/>
                  <a:gd name="connsiteY1" fmla="*/ 777 h 4066"/>
                  <a:gd name="connsiteX2" fmla="*/ 2333 w 3648"/>
                  <a:gd name="connsiteY2" fmla="*/ 2153 h 4066"/>
                  <a:gd name="connsiteX3" fmla="*/ 1197 w 3648"/>
                  <a:gd name="connsiteY3" fmla="*/ 3349 h 4066"/>
                  <a:gd name="connsiteX4" fmla="*/ 0 w 3648"/>
                  <a:gd name="connsiteY4" fmla="*/ 4067 h 4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8" h="4066">
                    <a:moveTo>
                      <a:pt x="3588" y="0"/>
                    </a:moveTo>
                    <a:lnTo>
                      <a:pt x="3648" y="777"/>
                    </a:lnTo>
                    <a:lnTo>
                      <a:pt x="2333" y="2153"/>
                    </a:lnTo>
                    <a:lnTo>
                      <a:pt x="1197" y="3349"/>
                    </a:lnTo>
                    <a:lnTo>
                      <a:pt x="0" y="4067"/>
                    </a:lnTo>
                  </a:path>
                </a:pathLst>
              </a:custGeom>
              <a:noFill/>
              <a:ln w="6350" cap="rnd">
                <a:solidFill>
                  <a:schemeClr val="bg1">
                    <a:alpha val="80000"/>
                  </a:schemeClr>
                </a:solidFill>
                <a:prstDash val="solid"/>
                <a:round/>
              </a:ln>
            </p:spPr>
            <p:txBody>
              <a:bodyPr rtlCol="0" anchor="ctr"/>
              <a:lstStyle/>
              <a:p>
                <a:endParaRPr lang="en-GB"/>
              </a:p>
            </p:txBody>
          </p:sp>
          <p:sp>
            <p:nvSpPr>
              <p:cNvPr id="6838" name="Vrije vorm: vorm 6837">
                <a:extLst>
                  <a:ext uri="{FF2B5EF4-FFF2-40B4-BE49-F238E27FC236}">
                    <a16:creationId xmlns:a16="http://schemas.microsoft.com/office/drawing/2014/main" id="{0A9139DA-FC2A-41ED-ADB7-ABE9BE09B005}"/>
                  </a:ext>
                </a:extLst>
              </p:cNvPr>
              <p:cNvSpPr/>
              <p:nvPr/>
            </p:nvSpPr>
            <p:spPr>
              <a:xfrm>
                <a:off x="6926772" y="1875116"/>
                <a:ext cx="8433" cy="19915"/>
              </a:xfrm>
              <a:custGeom>
                <a:avLst/>
                <a:gdLst>
                  <a:gd name="connsiteX0" fmla="*/ 8433 w 8433"/>
                  <a:gd name="connsiteY0" fmla="*/ 0 h 19915"/>
                  <a:gd name="connsiteX1" fmla="*/ 6998 w 8433"/>
                  <a:gd name="connsiteY1" fmla="*/ 3469 h 19915"/>
                  <a:gd name="connsiteX2" fmla="*/ 5921 w 8433"/>
                  <a:gd name="connsiteY2" fmla="*/ 5981 h 19915"/>
                  <a:gd name="connsiteX3" fmla="*/ 5263 w 8433"/>
                  <a:gd name="connsiteY3" fmla="*/ 7536 h 19915"/>
                  <a:gd name="connsiteX4" fmla="*/ 5143 w 8433"/>
                  <a:gd name="connsiteY4" fmla="*/ 7895 h 19915"/>
                  <a:gd name="connsiteX5" fmla="*/ 598 w 8433"/>
                  <a:gd name="connsiteY5" fmla="*/ 18720 h 19915"/>
                  <a:gd name="connsiteX6" fmla="*/ 0 w 8433"/>
                  <a:gd name="connsiteY6" fmla="*/ 19916 h 19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33" h="19915">
                    <a:moveTo>
                      <a:pt x="8433" y="0"/>
                    </a:moveTo>
                    <a:lnTo>
                      <a:pt x="6998" y="3469"/>
                    </a:lnTo>
                    <a:lnTo>
                      <a:pt x="5921" y="5981"/>
                    </a:lnTo>
                    <a:lnTo>
                      <a:pt x="5263" y="7536"/>
                    </a:lnTo>
                    <a:lnTo>
                      <a:pt x="5143" y="7895"/>
                    </a:lnTo>
                    <a:lnTo>
                      <a:pt x="598" y="18720"/>
                    </a:lnTo>
                    <a:lnTo>
                      <a:pt x="0" y="19916"/>
                    </a:lnTo>
                  </a:path>
                </a:pathLst>
              </a:custGeom>
              <a:noFill/>
              <a:ln w="6350" cap="rnd">
                <a:solidFill>
                  <a:schemeClr val="bg1">
                    <a:alpha val="80000"/>
                  </a:schemeClr>
                </a:solidFill>
                <a:prstDash val="solid"/>
                <a:round/>
              </a:ln>
            </p:spPr>
            <p:txBody>
              <a:bodyPr rtlCol="0" anchor="ctr"/>
              <a:lstStyle/>
              <a:p>
                <a:endParaRPr lang="en-GB"/>
              </a:p>
            </p:txBody>
          </p:sp>
          <p:sp>
            <p:nvSpPr>
              <p:cNvPr id="6839" name="Vrije vorm: vorm 6838">
                <a:extLst>
                  <a:ext uri="{FF2B5EF4-FFF2-40B4-BE49-F238E27FC236}">
                    <a16:creationId xmlns:a16="http://schemas.microsoft.com/office/drawing/2014/main" id="{C70E9CF0-BDE0-4E8C-967D-CCD8B6CBCD53}"/>
                  </a:ext>
                </a:extLst>
              </p:cNvPr>
              <p:cNvSpPr/>
              <p:nvPr/>
            </p:nvSpPr>
            <p:spPr>
              <a:xfrm>
                <a:off x="6948243" y="2074633"/>
                <a:ext cx="28528" cy="9688"/>
              </a:xfrm>
              <a:custGeom>
                <a:avLst/>
                <a:gdLst>
                  <a:gd name="connsiteX0" fmla="*/ 28528 w 28528"/>
                  <a:gd name="connsiteY0" fmla="*/ 0 h 9688"/>
                  <a:gd name="connsiteX1" fmla="*/ 19378 w 28528"/>
                  <a:gd name="connsiteY1" fmla="*/ 2512 h 9688"/>
                  <a:gd name="connsiteX2" fmla="*/ 18122 w 28528"/>
                  <a:gd name="connsiteY2" fmla="*/ 2930 h 9688"/>
                  <a:gd name="connsiteX3" fmla="*/ 10108 w 28528"/>
                  <a:gd name="connsiteY3" fmla="*/ 5622 h 9688"/>
                  <a:gd name="connsiteX4" fmla="*/ 7775 w 28528"/>
                  <a:gd name="connsiteY4" fmla="*/ 6399 h 9688"/>
                  <a:gd name="connsiteX5" fmla="*/ 5084 w 28528"/>
                  <a:gd name="connsiteY5" fmla="*/ 7536 h 9688"/>
                  <a:gd name="connsiteX6" fmla="*/ 0 w 28528"/>
                  <a:gd name="connsiteY6" fmla="*/ 9689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28" h="9688">
                    <a:moveTo>
                      <a:pt x="28528" y="0"/>
                    </a:moveTo>
                    <a:lnTo>
                      <a:pt x="19378" y="2512"/>
                    </a:lnTo>
                    <a:lnTo>
                      <a:pt x="18122" y="2930"/>
                    </a:lnTo>
                    <a:lnTo>
                      <a:pt x="10108" y="5622"/>
                    </a:lnTo>
                    <a:lnTo>
                      <a:pt x="7775" y="6399"/>
                    </a:lnTo>
                    <a:lnTo>
                      <a:pt x="5084" y="7536"/>
                    </a:lnTo>
                    <a:lnTo>
                      <a:pt x="0" y="9689"/>
                    </a:lnTo>
                  </a:path>
                </a:pathLst>
              </a:custGeom>
              <a:noFill/>
              <a:ln w="6350" cap="rnd">
                <a:solidFill>
                  <a:schemeClr val="bg1">
                    <a:alpha val="80000"/>
                  </a:schemeClr>
                </a:solidFill>
                <a:prstDash val="solid"/>
                <a:round/>
              </a:ln>
            </p:spPr>
            <p:txBody>
              <a:bodyPr rtlCol="0" anchor="ctr"/>
              <a:lstStyle/>
              <a:p>
                <a:endParaRPr lang="en-GB"/>
              </a:p>
            </p:txBody>
          </p:sp>
          <p:sp>
            <p:nvSpPr>
              <p:cNvPr id="6840" name="Vrije vorm: vorm 6839">
                <a:extLst>
                  <a:ext uri="{FF2B5EF4-FFF2-40B4-BE49-F238E27FC236}">
                    <a16:creationId xmlns:a16="http://schemas.microsoft.com/office/drawing/2014/main" id="{367030A9-C66E-4F91-81A8-32D08AECA9AA}"/>
                  </a:ext>
                </a:extLst>
              </p:cNvPr>
              <p:cNvSpPr/>
              <p:nvPr/>
            </p:nvSpPr>
            <p:spPr>
              <a:xfrm>
                <a:off x="6945911" y="2110936"/>
                <a:ext cx="119" cy="5980"/>
              </a:xfrm>
              <a:custGeom>
                <a:avLst/>
                <a:gdLst>
                  <a:gd name="connsiteX0" fmla="*/ 0 w 119"/>
                  <a:gd name="connsiteY0" fmla="*/ 0 h 5980"/>
                  <a:gd name="connsiteX1" fmla="*/ 119 w 119"/>
                  <a:gd name="connsiteY1" fmla="*/ 0 h 5980"/>
                </a:gdLst>
                <a:ahLst/>
                <a:cxnLst>
                  <a:cxn ang="0">
                    <a:pos x="connsiteX0" y="connsiteY0"/>
                  </a:cxn>
                  <a:cxn ang="0">
                    <a:pos x="connsiteX1" y="connsiteY1"/>
                  </a:cxn>
                </a:cxnLst>
                <a:rect l="l" t="t" r="r" b="b"/>
                <a:pathLst>
                  <a:path w="119" h="5980">
                    <a:moveTo>
                      <a:pt x="0" y="0"/>
                    </a:moveTo>
                    <a:lnTo>
                      <a:pt x="119" y="0"/>
                    </a:lnTo>
                  </a:path>
                </a:pathLst>
              </a:custGeom>
              <a:noFill/>
              <a:ln w="6350" cap="rnd">
                <a:solidFill>
                  <a:schemeClr val="bg1">
                    <a:alpha val="80000"/>
                  </a:schemeClr>
                </a:solidFill>
                <a:prstDash val="solid"/>
                <a:round/>
              </a:ln>
            </p:spPr>
            <p:txBody>
              <a:bodyPr rtlCol="0" anchor="ctr"/>
              <a:lstStyle/>
              <a:p>
                <a:endParaRPr lang="en-GB"/>
              </a:p>
            </p:txBody>
          </p:sp>
          <p:sp>
            <p:nvSpPr>
              <p:cNvPr id="6841" name="Vrije vorm: vorm 6840">
                <a:extLst>
                  <a:ext uri="{FF2B5EF4-FFF2-40B4-BE49-F238E27FC236}">
                    <a16:creationId xmlns:a16="http://schemas.microsoft.com/office/drawing/2014/main" id="{2CB570B5-4E79-42A5-B6D1-BF0D58C49FB3}"/>
                  </a:ext>
                </a:extLst>
              </p:cNvPr>
              <p:cNvSpPr/>
              <p:nvPr/>
            </p:nvSpPr>
            <p:spPr>
              <a:xfrm>
                <a:off x="6948662" y="2093891"/>
                <a:ext cx="6339" cy="1375"/>
              </a:xfrm>
              <a:custGeom>
                <a:avLst/>
                <a:gdLst>
                  <a:gd name="connsiteX0" fmla="*/ 0 w 6339"/>
                  <a:gd name="connsiteY0" fmla="*/ 1376 h 1375"/>
                  <a:gd name="connsiteX1" fmla="*/ 538 w 6339"/>
                  <a:gd name="connsiteY1" fmla="*/ 1256 h 1375"/>
                  <a:gd name="connsiteX2" fmla="*/ 6339 w 6339"/>
                  <a:gd name="connsiteY2" fmla="*/ 0 h 1375"/>
                </a:gdLst>
                <a:ahLst/>
                <a:cxnLst>
                  <a:cxn ang="0">
                    <a:pos x="connsiteX0" y="connsiteY0"/>
                  </a:cxn>
                  <a:cxn ang="0">
                    <a:pos x="connsiteX1" y="connsiteY1"/>
                  </a:cxn>
                  <a:cxn ang="0">
                    <a:pos x="connsiteX2" y="connsiteY2"/>
                  </a:cxn>
                </a:cxnLst>
                <a:rect l="l" t="t" r="r" b="b"/>
                <a:pathLst>
                  <a:path w="6339" h="1375">
                    <a:moveTo>
                      <a:pt x="0" y="1376"/>
                    </a:moveTo>
                    <a:lnTo>
                      <a:pt x="538" y="1256"/>
                    </a:lnTo>
                    <a:lnTo>
                      <a:pt x="6339" y="0"/>
                    </a:lnTo>
                  </a:path>
                </a:pathLst>
              </a:custGeom>
              <a:noFill/>
              <a:ln w="6350" cap="rnd">
                <a:solidFill>
                  <a:schemeClr val="bg1">
                    <a:alpha val="80000"/>
                  </a:schemeClr>
                </a:solidFill>
                <a:prstDash val="solid"/>
                <a:round/>
              </a:ln>
            </p:spPr>
            <p:txBody>
              <a:bodyPr rtlCol="0" anchor="ctr"/>
              <a:lstStyle/>
              <a:p>
                <a:endParaRPr lang="en-GB"/>
              </a:p>
            </p:txBody>
          </p:sp>
          <p:sp>
            <p:nvSpPr>
              <p:cNvPr id="6842" name="Vrije vorm: vorm 6841">
                <a:extLst>
                  <a:ext uri="{FF2B5EF4-FFF2-40B4-BE49-F238E27FC236}">
                    <a16:creationId xmlns:a16="http://schemas.microsoft.com/office/drawing/2014/main" id="{DA9991AC-3007-4DD3-99D6-425549F7A9FE}"/>
                  </a:ext>
                </a:extLst>
              </p:cNvPr>
              <p:cNvSpPr/>
              <p:nvPr/>
            </p:nvSpPr>
            <p:spPr>
              <a:xfrm>
                <a:off x="6977608" y="2017158"/>
                <a:ext cx="27092" cy="6698"/>
              </a:xfrm>
              <a:custGeom>
                <a:avLst/>
                <a:gdLst>
                  <a:gd name="connsiteX0" fmla="*/ 27093 w 27092"/>
                  <a:gd name="connsiteY0" fmla="*/ 0 h 6698"/>
                  <a:gd name="connsiteX1" fmla="*/ 21292 w 27092"/>
                  <a:gd name="connsiteY1" fmla="*/ 658 h 6698"/>
                  <a:gd name="connsiteX2" fmla="*/ 20514 w 27092"/>
                  <a:gd name="connsiteY2" fmla="*/ 718 h 6698"/>
                  <a:gd name="connsiteX3" fmla="*/ 18122 w 27092"/>
                  <a:gd name="connsiteY3" fmla="*/ 957 h 6698"/>
                  <a:gd name="connsiteX4" fmla="*/ 18122 w 27092"/>
                  <a:gd name="connsiteY4" fmla="*/ 957 h 6698"/>
                  <a:gd name="connsiteX5" fmla="*/ 15550 w 27092"/>
                  <a:gd name="connsiteY5" fmla="*/ 1675 h 6698"/>
                  <a:gd name="connsiteX6" fmla="*/ 13158 w 27092"/>
                  <a:gd name="connsiteY6" fmla="*/ 2392 h 6698"/>
                  <a:gd name="connsiteX7" fmla="*/ 11663 w 27092"/>
                  <a:gd name="connsiteY7" fmla="*/ 2811 h 6698"/>
                  <a:gd name="connsiteX8" fmla="*/ 11603 w 27092"/>
                  <a:gd name="connsiteY8" fmla="*/ 2811 h 6698"/>
                  <a:gd name="connsiteX9" fmla="*/ 8553 w 27092"/>
                  <a:gd name="connsiteY9" fmla="*/ 3708 h 6698"/>
                  <a:gd name="connsiteX10" fmla="*/ 3469 w 27092"/>
                  <a:gd name="connsiteY10" fmla="*/ 5203 h 6698"/>
                  <a:gd name="connsiteX11" fmla="*/ 538 w 27092"/>
                  <a:gd name="connsiteY11" fmla="*/ 6459 h 6698"/>
                  <a:gd name="connsiteX12" fmla="*/ 0 w 27092"/>
                  <a:gd name="connsiteY12" fmla="*/ 6698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92" h="6698">
                    <a:moveTo>
                      <a:pt x="27093" y="0"/>
                    </a:moveTo>
                    <a:lnTo>
                      <a:pt x="21292" y="658"/>
                    </a:lnTo>
                    <a:lnTo>
                      <a:pt x="20514" y="718"/>
                    </a:lnTo>
                    <a:lnTo>
                      <a:pt x="18122" y="957"/>
                    </a:lnTo>
                    <a:lnTo>
                      <a:pt x="18122" y="957"/>
                    </a:lnTo>
                    <a:lnTo>
                      <a:pt x="15550" y="1675"/>
                    </a:lnTo>
                    <a:lnTo>
                      <a:pt x="13158" y="2392"/>
                    </a:lnTo>
                    <a:lnTo>
                      <a:pt x="11663" y="2811"/>
                    </a:lnTo>
                    <a:lnTo>
                      <a:pt x="11603" y="2811"/>
                    </a:lnTo>
                    <a:lnTo>
                      <a:pt x="8553" y="3708"/>
                    </a:lnTo>
                    <a:lnTo>
                      <a:pt x="3469" y="5203"/>
                    </a:lnTo>
                    <a:lnTo>
                      <a:pt x="538" y="6459"/>
                    </a:lnTo>
                    <a:lnTo>
                      <a:pt x="0" y="6698"/>
                    </a:lnTo>
                  </a:path>
                </a:pathLst>
              </a:custGeom>
              <a:noFill/>
              <a:ln w="6350" cap="rnd">
                <a:solidFill>
                  <a:schemeClr val="bg1">
                    <a:alpha val="80000"/>
                  </a:schemeClr>
                </a:solidFill>
                <a:prstDash val="solid"/>
                <a:round/>
              </a:ln>
            </p:spPr>
            <p:txBody>
              <a:bodyPr rtlCol="0" anchor="ctr"/>
              <a:lstStyle/>
              <a:p>
                <a:endParaRPr lang="en-GB"/>
              </a:p>
            </p:txBody>
          </p:sp>
          <p:sp>
            <p:nvSpPr>
              <p:cNvPr id="6843" name="Vrije vorm: vorm 6842">
                <a:extLst>
                  <a:ext uri="{FF2B5EF4-FFF2-40B4-BE49-F238E27FC236}">
                    <a16:creationId xmlns:a16="http://schemas.microsoft.com/office/drawing/2014/main" id="{4DF2697A-9EFF-4F04-9FF5-4C4435997FCF}"/>
                  </a:ext>
                </a:extLst>
              </p:cNvPr>
              <p:cNvSpPr/>
              <p:nvPr/>
            </p:nvSpPr>
            <p:spPr>
              <a:xfrm>
                <a:off x="7015825" y="2018474"/>
                <a:ext cx="7775" cy="3349"/>
              </a:xfrm>
              <a:custGeom>
                <a:avLst/>
                <a:gdLst>
                  <a:gd name="connsiteX0" fmla="*/ 7775 w 7775"/>
                  <a:gd name="connsiteY0" fmla="*/ 3349 h 3349"/>
                  <a:gd name="connsiteX1" fmla="*/ 4665 w 7775"/>
                  <a:gd name="connsiteY1" fmla="*/ 1495 h 3349"/>
                  <a:gd name="connsiteX2" fmla="*/ 0 w 7775"/>
                  <a:gd name="connsiteY2" fmla="*/ 0 h 3349"/>
                </a:gdLst>
                <a:ahLst/>
                <a:cxnLst>
                  <a:cxn ang="0">
                    <a:pos x="connsiteX0" y="connsiteY0"/>
                  </a:cxn>
                  <a:cxn ang="0">
                    <a:pos x="connsiteX1" y="connsiteY1"/>
                  </a:cxn>
                  <a:cxn ang="0">
                    <a:pos x="connsiteX2" y="connsiteY2"/>
                  </a:cxn>
                </a:cxnLst>
                <a:rect l="l" t="t" r="r" b="b"/>
                <a:pathLst>
                  <a:path w="7775" h="3349">
                    <a:moveTo>
                      <a:pt x="7775" y="3349"/>
                    </a:moveTo>
                    <a:lnTo>
                      <a:pt x="4665" y="149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44" name="Vrije vorm: vorm 6843">
                <a:extLst>
                  <a:ext uri="{FF2B5EF4-FFF2-40B4-BE49-F238E27FC236}">
                    <a16:creationId xmlns:a16="http://schemas.microsoft.com/office/drawing/2014/main" id="{99DCE9F1-EB01-4398-8326-5804B0CAD25E}"/>
                  </a:ext>
                </a:extLst>
              </p:cNvPr>
              <p:cNvSpPr/>
              <p:nvPr/>
            </p:nvSpPr>
            <p:spPr>
              <a:xfrm>
                <a:off x="6608478" y="1927148"/>
                <a:ext cx="3528" cy="6818"/>
              </a:xfrm>
              <a:custGeom>
                <a:avLst/>
                <a:gdLst>
                  <a:gd name="connsiteX0" fmla="*/ 0 w 3528"/>
                  <a:gd name="connsiteY0" fmla="*/ 0 h 6818"/>
                  <a:gd name="connsiteX1" fmla="*/ 2273 w 3528"/>
                  <a:gd name="connsiteY1" fmla="*/ 4725 h 6818"/>
                  <a:gd name="connsiteX2" fmla="*/ 3050 w 3528"/>
                  <a:gd name="connsiteY2" fmla="*/ 6040 h 6818"/>
                  <a:gd name="connsiteX3" fmla="*/ 3528 w 3528"/>
                  <a:gd name="connsiteY3" fmla="*/ 6818 h 6818"/>
                </a:gdLst>
                <a:ahLst/>
                <a:cxnLst>
                  <a:cxn ang="0">
                    <a:pos x="connsiteX0" y="connsiteY0"/>
                  </a:cxn>
                  <a:cxn ang="0">
                    <a:pos x="connsiteX1" y="connsiteY1"/>
                  </a:cxn>
                  <a:cxn ang="0">
                    <a:pos x="connsiteX2" y="connsiteY2"/>
                  </a:cxn>
                  <a:cxn ang="0">
                    <a:pos x="connsiteX3" y="connsiteY3"/>
                  </a:cxn>
                </a:cxnLst>
                <a:rect l="l" t="t" r="r" b="b"/>
                <a:pathLst>
                  <a:path w="3528" h="6818">
                    <a:moveTo>
                      <a:pt x="0" y="0"/>
                    </a:moveTo>
                    <a:lnTo>
                      <a:pt x="2273" y="4725"/>
                    </a:lnTo>
                    <a:lnTo>
                      <a:pt x="3050" y="6040"/>
                    </a:lnTo>
                    <a:lnTo>
                      <a:pt x="3528" y="6818"/>
                    </a:lnTo>
                  </a:path>
                </a:pathLst>
              </a:custGeom>
              <a:noFill/>
              <a:ln w="6350" cap="rnd">
                <a:solidFill>
                  <a:schemeClr val="bg1">
                    <a:alpha val="80000"/>
                  </a:schemeClr>
                </a:solidFill>
                <a:prstDash val="solid"/>
                <a:round/>
              </a:ln>
            </p:spPr>
            <p:txBody>
              <a:bodyPr rtlCol="0" anchor="ctr"/>
              <a:lstStyle/>
              <a:p>
                <a:endParaRPr lang="en-GB"/>
              </a:p>
            </p:txBody>
          </p:sp>
          <p:sp>
            <p:nvSpPr>
              <p:cNvPr id="6845" name="Vrije vorm: vorm 6844">
                <a:extLst>
                  <a:ext uri="{FF2B5EF4-FFF2-40B4-BE49-F238E27FC236}">
                    <a16:creationId xmlns:a16="http://schemas.microsoft.com/office/drawing/2014/main" id="{3B4F3BF8-E6CC-4F9C-BFE7-2FF022BBA151}"/>
                  </a:ext>
                </a:extLst>
              </p:cNvPr>
              <p:cNvSpPr/>
              <p:nvPr/>
            </p:nvSpPr>
            <p:spPr>
              <a:xfrm>
                <a:off x="7094053" y="1974815"/>
                <a:ext cx="1974" cy="7715"/>
              </a:xfrm>
              <a:custGeom>
                <a:avLst/>
                <a:gdLst>
                  <a:gd name="connsiteX0" fmla="*/ 0 w 1974"/>
                  <a:gd name="connsiteY0" fmla="*/ 7715 h 7715"/>
                  <a:gd name="connsiteX1" fmla="*/ 1795 w 1974"/>
                  <a:gd name="connsiteY1" fmla="*/ 3050 h 7715"/>
                  <a:gd name="connsiteX2" fmla="*/ 1974 w 1974"/>
                  <a:gd name="connsiteY2" fmla="*/ 2632 h 7715"/>
                  <a:gd name="connsiteX3" fmla="*/ 1914 w 1974"/>
                  <a:gd name="connsiteY3" fmla="*/ 2392 h 7715"/>
                  <a:gd name="connsiteX4" fmla="*/ 1316 w 1974"/>
                  <a:gd name="connsiteY4" fmla="*/ 0 h 7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4" h="7715">
                    <a:moveTo>
                      <a:pt x="0" y="7715"/>
                    </a:moveTo>
                    <a:lnTo>
                      <a:pt x="1795" y="3050"/>
                    </a:lnTo>
                    <a:lnTo>
                      <a:pt x="1974" y="2632"/>
                    </a:lnTo>
                    <a:lnTo>
                      <a:pt x="1914" y="2392"/>
                    </a:lnTo>
                    <a:lnTo>
                      <a:pt x="1316" y="0"/>
                    </a:lnTo>
                  </a:path>
                </a:pathLst>
              </a:custGeom>
              <a:noFill/>
              <a:ln w="6350" cap="rnd">
                <a:solidFill>
                  <a:schemeClr val="bg1">
                    <a:alpha val="80000"/>
                  </a:schemeClr>
                </a:solidFill>
                <a:prstDash val="solid"/>
                <a:round/>
              </a:ln>
            </p:spPr>
            <p:txBody>
              <a:bodyPr rtlCol="0" anchor="ctr"/>
              <a:lstStyle/>
              <a:p>
                <a:endParaRPr lang="en-GB"/>
              </a:p>
            </p:txBody>
          </p:sp>
          <p:sp>
            <p:nvSpPr>
              <p:cNvPr id="6846" name="Vrije vorm: vorm 6845">
                <a:extLst>
                  <a:ext uri="{FF2B5EF4-FFF2-40B4-BE49-F238E27FC236}">
                    <a16:creationId xmlns:a16="http://schemas.microsoft.com/office/drawing/2014/main" id="{46C9E722-768B-4156-9FC3-8221A7FE1275}"/>
                  </a:ext>
                </a:extLst>
              </p:cNvPr>
              <p:cNvSpPr/>
              <p:nvPr/>
            </p:nvSpPr>
            <p:spPr>
              <a:xfrm>
                <a:off x="7071506" y="1963391"/>
                <a:ext cx="1135" cy="7416"/>
              </a:xfrm>
              <a:custGeom>
                <a:avLst/>
                <a:gdLst>
                  <a:gd name="connsiteX0" fmla="*/ 897 w 1135"/>
                  <a:gd name="connsiteY0" fmla="*/ 7416 h 7416"/>
                  <a:gd name="connsiteX1" fmla="*/ 1136 w 1135"/>
                  <a:gd name="connsiteY1" fmla="*/ 1734 h 7416"/>
                  <a:gd name="connsiteX2" fmla="*/ 0 w 1135"/>
                  <a:gd name="connsiteY2" fmla="*/ 0 h 7416"/>
                </a:gdLst>
                <a:ahLst/>
                <a:cxnLst>
                  <a:cxn ang="0">
                    <a:pos x="connsiteX0" y="connsiteY0"/>
                  </a:cxn>
                  <a:cxn ang="0">
                    <a:pos x="connsiteX1" y="connsiteY1"/>
                  </a:cxn>
                  <a:cxn ang="0">
                    <a:pos x="connsiteX2" y="connsiteY2"/>
                  </a:cxn>
                </a:cxnLst>
                <a:rect l="l" t="t" r="r" b="b"/>
                <a:pathLst>
                  <a:path w="1135" h="7416">
                    <a:moveTo>
                      <a:pt x="897" y="7416"/>
                    </a:moveTo>
                    <a:lnTo>
                      <a:pt x="1136" y="1734"/>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47" name="Vrije vorm: vorm 6846">
                <a:extLst>
                  <a:ext uri="{FF2B5EF4-FFF2-40B4-BE49-F238E27FC236}">
                    <a16:creationId xmlns:a16="http://schemas.microsoft.com/office/drawing/2014/main" id="{8B82980F-66F0-4DFD-BE59-AD0FD347EAE8}"/>
                  </a:ext>
                </a:extLst>
              </p:cNvPr>
              <p:cNvSpPr/>
              <p:nvPr/>
            </p:nvSpPr>
            <p:spPr>
              <a:xfrm>
                <a:off x="7083646" y="1958009"/>
                <a:ext cx="1555" cy="8911"/>
              </a:xfrm>
              <a:custGeom>
                <a:avLst/>
                <a:gdLst>
                  <a:gd name="connsiteX0" fmla="*/ 599 w 1555"/>
                  <a:gd name="connsiteY0" fmla="*/ 8911 h 8911"/>
                  <a:gd name="connsiteX1" fmla="*/ 778 w 1555"/>
                  <a:gd name="connsiteY1" fmla="*/ 7835 h 8911"/>
                  <a:gd name="connsiteX2" fmla="*/ 897 w 1555"/>
                  <a:gd name="connsiteY2" fmla="*/ 7117 h 8911"/>
                  <a:gd name="connsiteX3" fmla="*/ 957 w 1555"/>
                  <a:gd name="connsiteY3" fmla="*/ 6698 h 8911"/>
                  <a:gd name="connsiteX4" fmla="*/ 1555 w 1555"/>
                  <a:gd name="connsiteY4" fmla="*/ 3409 h 8911"/>
                  <a:gd name="connsiteX5" fmla="*/ 0 w 1555"/>
                  <a:gd name="connsiteY5" fmla="*/ 0 h 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5" h="8911">
                    <a:moveTo>
                      <a:pt x="599" y="8911"/>
                    </a:moveTo>
                    <a:lnTo>
                      <a:pt x="778" y="7835"/>
                    </a:lnTo>
                    <a:lnTo>
                      <a:pt x="897" y="7117"/>
                    </a:lnTo>
                    <a:lnTo>
                      <a:pt x="957" y="6698"/>
                    </a:lnTo>
                    <a:lnTo>
                      <a:pt x="1555" y="340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48" name="Vrije vorm: vorm 6847">
                <a:extLst>
                  <a:ext uri="{FF2B5EF4-FFF2-40B4-BE49-F238E27FC236}">
                    <a16:creationId xmlns:a16="http://schemas.microsoft.com/office/drawing/2014/main" id="{18D114B4-1205-4E09-80F8-AFC2006C29EE}"/>
                  </a:ext>
                </a:extLst>
              </p:cNvPr>
              <p:cNvSpPr/>
              <p:nvPr/>
            </p:nvSpPr>
            <p:spPr>
              <a:xfrm>
                <a:off x="6944834" y="2106869"/>
                <a:ext cx="1016" cy="2272"/>
              </a:xfrm>
              <a:custGeom>
                <a:avLst/>
                <a:gdLst>
                  <a:gd name="connsiteX0" fmla="*/ 0 w 1016"/>
                  <a:gd name="connsiteY0" fmla="*/ 0 h 2272"/>
                  <a:gd name="connsiteX1" fmla="*/ 1017 w 1016"/>
                  <a:gd name="connsiteY1" fmla="*/ 1316 h 2272"/>
                  <a:gd name="connsiteX2" fmla="*/ 897 w 1016"/>
                  <a:gd name="connsiteY2" fmla="*/ 2273 h 2272"/>
                </a:gdLst>
                <a:ahLst/>
                <a:cxnLst>
                  <a:cxn ang="0">
                    <a:pos x="connsiteX0" y="connsiteY0"/>
                  </a:cxn>
                  <a:cxn ang="0">
                    <a:pos x="connsiteX1" y="connsiteY1"/>
                  </a:cxn>
                  <a:cxn ang="0">
                    <a:pos x="connsiteX2" y="connsiteY2"/>
                  </a:cxn>
                </a:cxnLst>
                <a:rect l="l" t="t" r="r" b="b"/>
                <a:pathLst>
                  <a:path w="1016" h="2272">
                    <a:moveTo>
                      <a:pt x="0" y="0"/>
                    </a:moveTo>
                    <a:lnTo>
                      <a:pt x="1017" y="1316"/>
                    </a:lnTo>
                    <a:lnTo>
                      <a:pt x="897" y="2273"/>
                    </a:lnTo>
                  </a:path>
                </a:pathLst>
              </a:custGeom>
              <a:noFill/>
              <a:ln w="6350" cap="rnd">
                <a:solidFill>
                  <a:schemeClr val="bg1">
                    <a:alpha val="80000"/>
                  </a:schemeClr>
                </a:solidFill>
                <a:prstDash val="solid"/>
                <a:round/>
              </a:ln>
            </p:spPr>
            <p:txBody>
              <a:bodyPr rtlCol="0" anchor="ctr"/>
              <a:lstStyle/>
              <a:p>
                <a:endParaRPr lang="en-GB"/>
              </a:p>
            </p:txBody>
          </p:sp>
          <p:sp>
            <p:nvSpPr>
              <p:cNvPr id="6849" name="Vrije vorm: vorm 6848">
                <a:extLst>
                  <a:ext uri="{FF2B5EF4-FFF2-40B4-BE49-F238E27FC236}">
                    <a16:creationId xmlns:a16="http://schemas.microsoft.com/office/drawing/2014/main" id="{E905EDF9-9CCB-47E5-AF05-3BB5C3F71D33}"/>
                  </a:ext>
                </a:extLst>
              </p:cNvPr>
              <p:cNvSpPr/>
              <p:nvPr/>
            </p:nvSpPr>
            <p:spPr>
              <a:xfrm>
                <a:off x="6626899" y="1960162"/>
                <a:ext cx="2631" cy="717"/>
              </a:xfrm>
              <a:custGeom>
                <a:avLst/>
                <a:gdLst>
                  <a:gd name="connsiteX0" fmla="*/ 0 w 2631"/>
                  <a:gd name="connsiteY0" fmla="*/ 0 h 717"/>
                  <a:gd name="connsiteX1" fmla="*/ 897 w 2631"/>
                  <a:gd name="connsiteY1" fmla="*/ 299 h 717"/>
                  <a:gd name="connsiteX2" fmla="*/ 1973 w 2631"/>
                  <a:gd name="connsiteY2" fmla="*/ 718 h 717"/>
                  <a:gd name="connsiteX3" fmla="*/ 2632 w 2631"/>
                  <a:gd name="connsiteY3" fmla="*/ 718 h 717"/>
                </a:gdLst>
                <a:ahLst/>
                <a:cxnLst>
                  <a:cxn ang="0">
                    <a:pos x="connsiteX0" y="connsiteY0"/>
                  </a:cxn>
                  <a:cxn ang="0">
                    <a:pos x="connsiteX1" y="connsiteY1"/>
                  </a:cxn>
                  <a:cxn ang="0">
                    <a:pos x="connsiteX2" y="connsiteY2"/>
                  </a:cxn>
                  <a:cxn ang="0">
                    <a:pos x="connsiteX3" y="connsiteY3"/>
                  </a:cxn>
                </a:cxnLst>
                <a:rect l="l" t="t" r="r" b="b"/>
                <a:pathLst>
                  <a:path w="2631" h="717">
                    <a:moveTo>
                      <a:pt x="0" y="0"/>
                    </a:moveTo>
                    <a:lnTo>
                      <a:pt x="897" y="299"/>
                    </a:lnTo>
                    <a:lnTo>
                      <a:pt x="1973" y="718"/>
                    </a:lnTo>
                    <a:lnTo>
                      <a:pt x="2632" y="718"/>
                    </a:lnTo>
                  </a:path>
                </a:pathLst>
              </a:custGeom>
              <a:noFill/>
              <a:ln w="6350" cap="rnd">
                <a:solidFill>
                  <a:schemeClr val="bg1">
                    <a:alpha val="80000"/>
                  </a:schemeClr>
                </a:solidFill>
                <a:prstDash val="solid"/>
                <a:round/>
              </a:ln>
            </p:spPr>
            <p:txBody>
              <a:bodyPr rtlCol="0" anchor="ctr"/>
              <a:lstStyle/>
              <a:p>
                <a:endParaRPr lang="en-GB"/>
              </a:p>
            </p:txBody>
          </p:sp>
          <p:sp>
            <p:nvSpPr>
              <p:cNvPr id="6850" name="Vrije vorm: vorm 6849">
                <a:extLst>
                  <a:ext uri="{FF2B5EF4-FFF2-40B4-BE49-F238E27FC236}">
                    <a16:creationId xmlns:a16="http://schemas.microsoft.com/office/drawing/2014/main" id="{6C2F726B-898C-498C-B96D-25A9C928E2E5}"/>
                  </a:ext>
                </a:extLst>
              </p:cNvPr>
              <p:cNvSpPr/>
              <p:nvPr/>
            </p:nvSpPr>
            <p:spPr>
              <a:xfrm>
                <a:off x="6938554" y="2077862"/>
                <a:ext cx="5920" cy="15789"/>
              </a:xfrm>
              <a:custGeom>
                <a:avLst/>
                <a:gdLst>
                  <a:gd name="connsiteX0" fmla="*/ 0 w 5920"/>
                  <a:gd name="connsiteY0" fmla="*/ 0 h 15789"/>
                  <a:gd name="connsiteX1" fmla="*/ 718 w 5920"/>
                  <a:gd name="connsiteY1" fmla="*/ 1734 h 15789"/>
                  <a:gd name="connsiteX2" fmla="*/ 2512 w 5920"/>
                  <a:gd name="connsiteY2" fmla="*/ 5622 h 15789"/>
                  <a:gd name="connsiteX3" fmla="*/ 3828 w 5920"/>
                  <a:gd name="connsiteY3" fmla="*/ 8433 h 15789"/>
                  <a:gd name="connsiteX4" fmla="*/ 5921 w 5920"/>
                  <a:gd name="connsiteY4" fmla="*/ 12918 h 15789"/>
                  <a:gd name="connsiteX5" fmla="*/ 5084 w 5920"/>
                  <a:gd name="connsiteY5" fmla="*/ 14713 h 15789"/>
                  <a:gd name="connsiteX6" fmla="*/ 3350 w 5920"/>
                  <a:gd name="connsiteY6" fmla="*/ 15789 h 1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0" h="15789">
                    <a:moveTo>
                      <a:pt x="0" y="0"/>
                    </a:moveTo>
                    <a:lnTo>
                      <a:pt x="718" y="1734"/>
                    </a:lnTo>
                    <a:lnTo>
                      <a:pt x="2512" y="5622"/>
                    </a:lnTo>
                    <a:lnTo>
                      <a:pt x="3828" y="8433"/>
                    </a:lnTo>
                    <a:lnTo>
                      <a:pt x="5921" y="12918"/>
                    </a:lnTo>
                    <a:lnTo>
                      <a:pt x="5084" y="14713"/>
                    </a:lnTo>
                    <a:lnTo>
                      <a:pt x="3350" y="15789"/>
                    </a:lnTo>
                  </a:path>
                </a:pathLst>
              </a:custGeom>
              <a:noFill/>
              <a:ln w="6350" cap="rnd">
                <a:solidFill>
                  <a:schemeClr val="bg1">
                    <a:alpha val="80000"/>
                  </a:schemeClr>
                </a:solidFill>
                <a:prstDash val="solid"/>
                <a:round/>
              </a:ln>
            </p:spPr>
            <p:txBody>
              <a:bodyPr rtlCol="0" anchor="ctr"/>
              <a:lstStyle/>
              <a:p>
                <a:endParaRPr lang="en-GB"/>
              </a:p>
            </p:txBody>
          </p:sp>
          <p:sp>
            <p:nvSpPr>
              <p:cNvPr id="6851" name="Vrije vorm: vorm 6850">
                <a:extLst>
                  <a:ext uri="{FF2B5EF4-FFF2-40B4-BE49-F238E27FC236}">
                    <a16:creationId xmlns:a16="http://schemas.microsoft.com/office/drawing/2014/main" id="{C5D887AB-D014-4F14-AF18-CC2031509838}"/>
                  </a:ext>
                </a:extLst>
              </p:cNvPr>
              <p:cNvSpPr/>
              <p:nvPr/>
            </p:nvSpPr>
            <p:spPr>
              <a:xfrm>
                <a:off x="6917561" y="1907711"/>
                <a:ext cx="3887" cy="7416"/>
              </a:xfrm>
              <a:custGeom>
                <a:avLst/>
                <a:gdLst>
                  <a:gd name="connsiteX0" fmla="*/ 0 w 3887"/>
                  <a:gd name="connsiteY0" fmla="*/ 0 h 7416"/>
                  <a:gd name="connsiteX1" fmla="*/ 60 w 3887"/>
                  <a:gd name="connsiteY1" fmla="*/ 538 h 7416"/>
                  <a:gd name="connsiteX2" fmla="*/ 60 w 3887"/>
                  <a:gd name="connsiteY2" fmla="*/ 598 h 7416"/>
                  <a:gd name="connsiteX3" fmla="*/ 60 w 3887"/>
                  <a:gd name="connsiteY3" fmla="*/ 718 h 7416"/>
                  <a:gd name="connsiteX4" fmla="*/ 120 w 3887"/>
                  <a:gd name="connsiteY4" fmla="*/ 1256 h 7416"/>
                  <a:gd name="connsiteX5" fmla="*/ 180 w 3887"/>
                  <a:gd name="connsiteY5" fmla="*/ 1376 h 7416"/>
                  <a:gd name="connsiteX6" fmla="*/ 479 w 3887"/>
                  <a:gd name="connsiteY6" fmla="*/ 1914 h 7416"/>
                  <a:gd name="connsiteX7" fmla="*/ 599 w 3887"/>
                  <a:gd name="connsiteY7" fmla="*/ 2093 h 7416"/>
                  <a:gd name="connsiteX8" fmla="*/ 659 w 3887"/>
                  <a:gd name="connsiteY8" fmla="*/ 2153 h 7416"/>
                  <a:gd name="connsiteX9" fmla="*/ 1017 w 3887"/>
                  <a:gd name="connsiteY9" fmla="*/ 2751 h 7416"/>
                  <a:gd name="connsiteX10" fmla="*/ 1197 w 3887"/>
                  <a:gd name="connsiteY10" fmla="*/ 3050 h 7416"/>
                  <a:gd name="connsiteX11" fmla="*/ 1436 w 3887"/>
                  <a:gd name="connsiteY11" fmla="*/ 3469 h 7416"/>
                  <a:gd name="connsiteX12" fmla="*/ 1854 w 3887"/>
                  <a:gd name="connsiteY12" fmla="*/ 4127 h 7416"/>
                  <a:gd name="connsiteX13" fmla="*/ 2214 w 3887"/>
                  <a:gd name="connsiteY13" fmla="*/ 4725 h 7416"/>
                  <a:gd name="connsiteX14" fmla="*/ 2752 w 3887"/>
                  <a:gd name="connsiteY14" fmla="*/ 5562 h 7416"/>
                  <a:gd name="connsiteX15" fmla="*/ 3050 w 3887"/>
                  <a:gd name="connsiteY15" fmla="*/ 6040 h 7416"/>
                  <a:gd name="connsiteX16" fmla="*/ 3409 w 3887"/>
                  <a:gd name="connsiteY16" fmla="*/ 6639 h 7416"/>
                  <a:gd name="connsiteX17" fmla="*/ 3768 w 3887"/>
                  <a:gd name="connsiteY17" fmla="*/ 7177 h 7416"/>
                  <a:gd name="connsiteX18" fmla="*/ 3888 w 3887"/>
                  <a:gd name="connsiteY18" fmla="*/ 7416 h 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87" h="7416">
                    <a:moveTo>
                      <a:pt x="0" y="0"/>
                    </a:moveTo>
                    <a:lnTo>
                      <a:pt x="60" y="538"/>
                    </a:lnTo>
                    <a:lnTo>
                      <a:pt x="60" y="598"/>
                    </a:lnTo>
                    <a:lnTo>
                      <a:pt x="60" y="718"/>
                    </a:lnTo>
                    <a:lnTo>
                      <a:pt x="120" y="1256"/>
                    </a:lnTo>
                    <a:lnTo>
                      <a:pt x="180" y="1376"/>
                    </a:lnTo>
                    <a:lnTo>
                      <a:pt x="479" y="1914"/>
                    </a:lnTo>
                    <a:lnTo>
                      <a:pt x="599" y="2093"/>
                    </a:lnTo>
                    <a:lnTo>
                      <a:pt x="659" y="2153"/>
                    </a:lnTo>
                    <a:lnTo>
                      <a:pt x="1017" y="2751"/>
                    </a:lnTo>
                    <a:lnTo>
                      <a:pt x="1197" y="3050"/>
                    </a:lnTo>
                    <a:lnTo>
                      <a:pt x="1436" y="3469"/>
                    </a:lnTo>
                    <a:lnTo>
                      <a:pt x="1854" y="4127"/>
                    </a:lnTo>
                    <a:lnTo>
                      <a:pt x="2214" y="4725"/>
                    </a:lnTo>
                    <a:lnTo>
                      <a:pt x="2752" y="5562"/>
                    </a:lnTo>
                    <a:lnTo>
                      <a:pt x="3050" y="6040"/>
                    </a:lnTo>
                    <a:lnTo>
                      <a:pt x="3409" y="6639"/>
                    </a:lnTo>
                    <a:lnTo>
                      <a:pt x="3768" y="7177"/>
                    </a:lnTo>
                    <a:lnTo>
                      <a:pt x="3888" y="7416"/>
                    </a:lnTo>
                  </a:path>
                </a:pathLst>
              </a:custGeom>
              <a:noFill/>
              <a:ln w="6350" cap="rnd">
                <a:solidFill>
                  <a:schemeClr val="bg1">
                    <a:alpha val="80000"/>
                  </a:schemeClr>
                </a:solidFill>
                <a:prstDash val="solid"/>
                <a:round/>
              </a:ln>
            </p:spPr>
            <p:txBody>
              <a:bodyPr rtlCol="0" anchor="ctr"/>
              <a:lstStyle/>
              <a:p>
                <a:endParaRPr lang="en-GB"/>
              </a:p>
            </p:txBody>
          </p:sp>
          <p:sp>
            <p:nvSpPr>
              <p:cNvPr id="6852" name="Vrije vorm: vorm 6851">
                <a:extLst>
                  <a:ext uri="{FF2B5EF4-FFF2-40B4-BE49-F238E27FC236}">
                    <a16:creationId xmlns:a16="http://schemas.microsoft.com/office/drawing/2014/main" id="{17AC88E3-88CC-47FD-B811-F6216C4AA784}"/>
                  </a:ext>
                </a:extLst>
              </p:cNvPr>
              <p:cNvSpPr/>
              <p:nvPr/>
            </p:nvSpPr>
            <p:spPr>
              <a:xfrm>
                <a:off x="6866067" y="1696831"/>
                <a:ext cx="1854" cy="3947"/>
              </a:xfrm>
              <a:custGeom>
                <a:avLst/>
                <a:gdLst>
                  <a:gd name="connsiteX0" fmla="*/ 1854 w 1854"/>
                  <a:gd name="connsiteY0" fmla="*/ 0 h 3947"/>
                  <a:gd name="connsiteX1" fmla="*/ 837 w 1854"/>
                  <a:gd name="connsiteY1" fmla="*/ 2631 h 3947"/>
                  <a:gd name="connsiteX2" fmla="*/ 0 w 1854"/>
                  <a:gd name="connsiteY2" fmla="*/ 3947 h 3947"/>
                </a:gdLst>
                <a:ahLst/>
                <a:cxnLst>
                  <a:cxn ang="0">
                    <a:pos x="connsiteX0" y="connsiteY0"/>
                  </a:cxn>
                  <a:cxn ang="0">
                    <a:pos x="connsiteX1" y="connsiteY1"/>
                  </a:cxn>
                  <a:cxn ang="0">
                    <a:pos x="connsiteX2" y="connsiteY2"/>
                  </a:cxn>
                </a:cxnLst>
                <a:rect l="l" t="t" r="r" b="b"/>
                <a:pathLst>
                  <a:path w="1854" h="3947">
                    <a:moveTo>
                      <a:pt x="1854" y="0"/>
                    </a:moveTo>
                    <a:lnTo>
                      <a:pt x="837" y="2631"/>
                    </a:lnTo>
                    <a:lnTo>
                      <a:pt x="0" y="3947"/>
                    </a:lnTo>
                  </a:path>
                </a:pathLst>
              </a:custGeom>
              <a:noFill/>
              <a:ln w="6350" cap="rnd">
                <a:solidFill>
                  <a:schemeClr val="bg1">
                    <a:alpha val="80000"/>
                  </a:schemeClr>
                </a:solidFill>
                <a:prstDash val="solid"/>
                <a:round/>
              </a:ln>
            </p:spPr>
            <p:txBody>
              <a:bodyPr rtlCol="0" anchor="ctr"/>
              <a:lstStyle/>
              <a:p>
                <a:endParaRPr lang="en-GB"/>
              </a:p>
            </p:txBody>
          </p:sp>
          <p:sp>
            <p:nvSpPr>
              <p:cNvPr id="6853" name="Vrije vorm: vorm 6852">
                <a:extLst>
                  <a:ext uri="{FF2B5EF4-FFF2-40B4-BE49-F238E27FC236}">
                    <a16:creationId xmlns:a16="http://schemas.microsoft.com/office/drawing/2014/main" id="{46EF8A51-B05E-40D7-B0C1-39E7F28AC6EA}"/>
                  </a:ext>
                </a:extLst>
              </p:cNvPr>
              <p:cNvSpPr/>
              <p:nvPr/>
            </p:nvSpPr>
            <p:spPr>
              <a:xfrm>
                <a:off x="6766130" y="1859088"/>
                <a:ext cx="4724" cy="10227"/>
              </a:xfrm>
              <a:custGeom>
                <a:avLst/>
                <a:gdLst>
                  <a:gd name="connsiteX0" fmla="*/ 598 w 4724"/>
                  <a:gd name="connsiteY0" fmla="*/ 10227 h 10227"/>
                  <a:gd name="connsiteX1" fmla="*/ 0 w 4724"/>
                  <a:gd name="connsiteY1" fmla="*/ 9749 h 10227"/>
                  <a:gd name="connsiteX2" fmla="*/ 180 w 4724"/>
                  <a:gd name="connsiteY2" fmla="*/ 9390 h 10227"/>
                  <a:gd name="connsiteX3" fmla="*/ 897 w 4724"/>
                  <a:gd name="connsiteY3" fmla="*/ 7895 h 10227"/>
                  <a:gd name="connsiteX4" fmla="*/ 1256 w 4724"/>
                  <a:gd name="connsiteY4" fmla="*/ 7177 h 10227"/>
                  <a:gd name="connsiteX5" fmla="*/ 1854 w 4724"/>
                  <a:gd name="connsiteY5" fmla="*/ 5981 h 10227"/>
                  <a:gd name="connsiteX6" fmla="*/ 4725 w 4724"/>
                  <a:gd name="connsiteY6" fmla="*/ 0 h 1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 h="10227">
                    <a:moveTo>
                      <a:pt x="598" y="10227"/>
                    </a:moveTo>
                    <a:lnTo>
                      <a:pt x="0" y="9749"/>
                    </a:lnTo>
                    <a:lnTo>
                      <a:pt x="180" y="9390"/>
                    </a:lnTo>
                    <a:lnTo>
                      <a:pt x="897" y="7895"/>
                    </a:lnTo>
                    <a:lnTo>
                      <a:pt x="1256" y="7177"/>
                    </a:lnTo>
                    <a:lnTo>
                      <a:pt x="1854" y="5981"/>
                    </a:lnTo>
                    <a:lnTo>
                      <a:pt x="4725" y="0"/>
                    </a:lnTo>
                  </a:path>
                </a:pathLst>
              </a:custGeom>
              <a:noFill/>
              <a:ln w="6350" cap="rnd">
                <a:solidFill>
                  <a:schemeClr val="bg1">
                    <a:alpha val="80000"/>
                  </a:schemeClr>
                </a:solidFill>
                <a:prstDash val="solid"/>
                <a:round/>
              </a:ln>
            </p:spPr>
            <p:txBody>
              <a:bodyPr rtlCol="0" anchor="ctr"/>
              <a:lstStyle/>
              <a:p>
                <a:endParaRPr lang="en-GB"/>
              </a:p>
            </p:txBody>
          </p:sp>
          <p:sp>
            <p:nvSpPr>
              <p:cNvPr id="6854" name="Vrije vorm: vorm 6853">
                <a:extLst>
                  <a:ext uri="{FF2B5EF4-FFF2-40B4-BE49-F238E27FC236}">
                    <a16:creationId xmlns:a16="http://schemas.microsoft.com/office/drawing/2014/main" id="{266EA25C-45A0-4560-BA12-2C223E7874BD}"/>
                  </a:ext>
                </a:extLst>
              </p:cNvPr>
              <p:cNvSpPr/>
              <p:nvPr/>
            </p:nvSpPr>
            <p:spPr>
              <a:xfrm>
                <a:off x="6946329" y="1721352"/>
                <a:ext cx="9030" cy="9329"/>
              </a:xfrm>
              <a:custGeom>
                <a:avLst/>
                <a:gdLst>
                  <a:gd name="connsiteX0" fmla="*/ 3409 w 9030"/>
                  <a:gd name="connsiteY0" fmla="*/ 9330 h 9329"/>
                  <a:gd name="connsiteX1" fmla="*/ 1017 w 9030"/>
                  <a:gd name="connsiteY1" fmla="*/ 8014 h 9329"/>
                  <a:gd name="connsiteX2" fmla="*/ 658 w 9030"/>
                  <a:gd name="connsiteY2" fmla="*/ 7177 h 9329"/>
                  <a:gd name="connsiteX3" fmla="*/ 598 w 9030"/>
                  <a:gd name="connsiteY3" fmla="*/ 6938 h 9329"/>
                  <a:gd name="connsiteX4" fmla="*/ 239 w 9030"/>
                  <a:gd name="connsiteY4" fmla="*/ 6040 h 9329"/>
                  <a:gd name="connsiteX5" fmla="*/ 120 w 9030"/>
                  <a:gd name="connsiteY5" fmla="*/ 5742 h 9329"/>
                  <a:gd name="connsiteX6" fmla="*/ 0 w 9030"/>
                  <a:gd name="connsiteY6" fmla="*/ 5442 h 9329"/>
                  <a:gd name="connsiteX7" fmla="*/ 60 w 9030"/>
                  <a:gd name="connsiteY7" fmla="*/ 5143 h 9329"/>
                  <a:gd name="connsiteX8" fmla="*/ 60 w 9030"/>
                  <a:gd name="connsiteY8" fmla="*/ 5143 h 9329"/>
                  <a:gd name="connsiteX9" fmla="*/ 120 w 9030"/>
                  <a:gd name="connsiteY9" fmla="*/ 4904 h 9329"/>
                  <a:gd name="connsiteX10" fmla="*/ 120 w 9030"/>
                  <a:gd name="connsiteY10" fmla="*/ 4785 h 9329"/>
                  <a:gd name="connsiteX11" fmla="*/ 180 w 9030"/>
                  <a:gd name="connsiteY11" fmla="*/ 4486 h 9329"/>
                  <a:gd name="connsiteX12" fmla="*/ 299 w 9030"/>
                  <a:gd name="connsiteY12" fmla="*/ 3947 h 9329"/>
                  <a:gd name="connsiteX13" fmla="*/ 299 w 9030"/>
                  <a:gd name="connsiteY13" fmla="*/ 3828 h 9329"/>
                  <a:gd name="connsiteX14" fmla="*/ 478 w 9030"/>
                  <a:gd name="connsiteY14" fmla="*/ 2990 h 9329"/>
                  <a:gd name="connsiteX15" fmla="*/ 478 w 9030"/>
                  <a:gd name="connsiteY15" fmla="*/ 2990 h 9329"/>
                  <a:gd name="connsiteX16" fmla="*/ 538 w 9030"/>
                  <a:gd name="connsiteY16" fmla="*/ 2632 h 9329"/>
                  <a:gd name="connsiteX17" fmla="*/ 538 w 9030"/>
                  <a:gd name="connsiteY17" fmla="*/ 2572 h 9329"/>
                  <a:gd name="connsiteX18" fmla="*/ 1256 w 9030"/>
                  <a:gd name="connsiteY18" fmla="*/ 1914 h 9329"/>
                  <a:gd name="connsiteX19" fmla="*/ 1316 w 9030"/>
                  <a:gd name="connsiteY19" fmla="*/ 1854 h 9329"/>
                  <a:gd name="connsiteX20" fmla="*/ 1555 w 9030"/>
                  <a:gd name="connsiteY20" fmla="*/ 1615 h 9329"/>
                  <a:gd name="connsiteX21" fmla="*/ 1615 w 9030"/>
                  <a:gd name="connsiteY21" fmla="*/ 1555 h 9329"/>
                  <a:gd name="connsiteX22" fmla="*/ 1675 w 9030"/>
                  <a:gd name="connsiteY22" fmla="*/ 1495 h 9329"/>
                  <a:gd name="connsiteX23" fmla="*/ 2751 w 9030"/>
                  <a:gd name="connsiteY23" fmla="*/ 478 h 9329"/>
                  <a:gd name="connsiteX24" fmla="*/ 5562 w 9030"/>
                  <a:gd name="connsiteY24" fmla="*/ 0 h 9329"/>
                  <a:gd name="connsiteX25" fmla="*/ 7954 w 9030"/>
                  <a:gd name="connsiteY25" fmla="*/ 1316 h 9329"/>
                  <a:gd name="connsiteX26" fmla="*/ 9031 w 9030"/>
                  <a:gd name="connsiteY26" fmla="*/ 3888 h 9329"/>
                  <a:gd name="connsiteX27" fmla="*/ 9031 w 9030"/>
                  <a:gd name="connsiteY27" fmla="*/ 3888 h 9329"/>
                  <a:gd name="connsiteX28" fmla="*/ 8791 w 9030"/>
                  <a:gd name="connsiteY28" fmla="*/ 5024 h 9329"/>
                  <a:gd name="connsiteX29" fmla="*/ 8732 w 9030"/>
                  <a:gd name="connsiteY29" fmla="*/ 5383 h 9329"/>
                  <a:gd name="connsiteX30" fmla="*/ 8612 w 9030"/>
                  <a:gd name="connsiteY30" fmla="*/ 5921 h 9329"/>
                  <a:gd name="connsiteX31" fmla="*/ 8612 w 9030"/>
                  <a:gd name="connsiteY31" fmla="*/ 6040 h 9329"/>
                  <a:gd name="connsiteX32" fmla="*/ 8553 w 9030"/>
                  <a:gd name="connsiteY32" fmla="*/ 6399 h 9329"/>
                  <a:gd name="connsiteX33" fmla="*/ 8553 w 9030"/>
                  <a:gd name="connsiteY33" fmla="*/ 6399 h 9329"/>
                  <a:gd name="connsiteX34" fmla="*/ 8433 w 9030"/>
                  <a:gd name="connsiteY34" fmla="*/ 6818 h 9329"/>
                  <a:gd name="connsiteX35" fmla="*/ 7416 w 9030"/>
                  <a:gd name="connsiteY35" fmla="*/ 7835 h 9329"/>
                  <a:gd name="connsiteX36" fmla="*/ 7356 w 9030"/>
                  <a:gd name="connsiteY36" fmla="*/ 7895 h 9329"/>
                  <a:gd name="connsiteX37" fmla="*/ 7236 w 9030"/>
                  <a:gd name="connsiteY37" fmla="*/ 8014 h 9329"/>
                  <a:gd name="connsiteX38" fmla="*/ 6818 w 9030"/>
                  <a:gd name="connsiteY38" fmla="*/ 8433 h 9329"/>
                  <a:gd name="connsiteX39" fmla="*/ 6758 w 9030"/>
                  <a:gd name="connsiteY39" fmla="*/ 8493 h 9329"/>
                  <a:gd name="connsiteX40" fmla="*/ 6698 w 9030"/>
                  <a:gd name="connsiteY40" fmla="*/ 8493 h 9329"/>
                  <a:gd name="connsiteX41" fmla="*/ 6698 w 9030"/>
                  <a:gd name="connsiteY41" fmla="*/ 8493 h 9329"/>
                  <a:gd name="connsiteX42" fmla="*/ 6579 w 9030"/>
                  <a:gd name="connsiteY42" fmla="*/ 8612 h 9329"/>
                  <a:gd name="connsiteX43" fmla="*/ 6280 w 9030"/>
                  <a:gd name="connsiteY43" fmla="*/ 8911 h 9329"/>
                  <a:gd name="connsiteX44" fmla="*/ 6100 w 9030"/>
                  <a:gd name="connsiteY44" fmla="*/ 8911 h 9329"/>
                  <a:gd name="connsiteX45" fmla="*/ 5503 w 9030"/>
                  <a:gd name="connsiteY45" fmla="*/ 9031 h 9329"/>
                  <a:gd name="connsiteX46" fmla="*/ 5323 w 9030"/>
                  <a:gd name="connsiteY46" fmla="*/ 9031 h 9329"/>
                  <a:gd name="connsiteX47" fmla="*/ 4665 w 9030"/>
                  <a:gd name="connsiteY47" fmla="*/ 9150 h 9329"/>
                  <a:gd name="connsiteX48" fmla="*/ 4366 w 9030"/>
                  <a:gd name="connsiteY48" fmla="*/ 9210 h 9329"/>
                  <a:gd name="connsiteX49" fmla="*/ 3409 w 9030"/>
                  <a:gd name="connsiteY49" fmla="*/ 9330 h 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030" h="9329">
                    <a:moveTo>
                      <a:pt x="3409" y="9330"/>
                    </a:moveTo>
                    <a:lnTo>
                      <a:pt x="1017" y="8014"/>
                    </a:lnTo>
                    <a:lnTo>
                      <a:pt x="658" y="7177"/>
                    </a:lnTo>
                    <a:lnTo>
                      <a:pt x="598" y="6938"/>
                    </a:lnTo>
                    <a:lnTo>
                      <a:pt x="239" y="6040"/>
                    </a:lnTo>
                    <a:lnTo>
                      <a:pt x="120" y="5742"/>
                    </a:lnTo>
                    <a:lnTo>
                      <a:pt x="0" y="5442"/>
                    </a:lnTo>
                    <a:lnTo>
                      <a:pt x="60" y="5143"/>
                    </a:lnTo>
                    <a:lnTo>
                      <a:pt x="60" y="5143"/>
                    </a:lnTo>
                    <a:lnTo>
                      <a:pt x="120" y="4904"/>
                    </a:lnTo>
                    <a:lnTo>
                      <a:pt x="120" y="4785"/>
                    </a:lnTo>
                    <a:lnTo>
                      <a:pt x="180" y="4486"/>
                    </a:lnTo>
                    <a:lnTo>
                      <a:pt x="299" y="3947"/>
                    </a:lnTo>
                    <a:lnTo>
                      <a:pt x="299" y="3828"/>
                    </a:lnTo>
                    <a:lnTo>
                      <a:pt x="478" y="2990"/>
                    </a:lnTo>
                    <a:lnTo>
                      <a:pt x="478" y="2990"/>
                    </a:lnTo>
                    <a:lnTo>
                      <a:pt x="538" y="2632"/>
                    </a:lnTo>
                    <a:lnTo>
                      <a:pt x="538" y="2572"/>
                    </a:lnTo>
                    <a:lnTo>
                      <a:pt x="1256" y="1914"/>
                    </a:lnTo>
                    <a:lnTo>
                      <a:pt x="1316" y="1854"/>
                    </a:lnTo>
                    <a:lnTo>
                      <a:pt x="1555" y="1615"/>
                    </a:lnTo>
                    <a:lnTo>
                      <a:pt x="1615" y="1555"/>
                    </a:lnTo>
                    <a:lnTo>
                      <a:pt x="1675" y="1495"/>
                    </a:lnTo>
                    <a:lnTo>
                      <a:pt x="2751" y="478"/>
                    </a:lnTo>
                    <a:lnTo>
                      <a:pt x="5562" y="0"/>
                    </a:lnTo>
                    <a:lnTo>
                      <a:pt x="7954" y="1316"/>
                    </a:lnTo>
                    <a:lnTo>
                      <a:pt x="9031" y="3888"/>
                    </a:lnTo>
                    <a:lnTo>
                      <a:pt x="9031" y="3888"/>
                    </a:lnTo>
                    <a:lnTo>
                      <a:pt x="8791" y="5024"/>
                    </a:lnTo>
                    <a:lnTo>
                      <a:pt x="8732" y="5383"/>
                    </a:lnTo>
                    <a:lnTo>
                      <a:pt x="8612" y="5921"/>
                    </a:lnTo>
                    <a:lnTo>
                      <a:pt x="8612" y="6040"/>
                    </a:lnTo>
                    <a:lnTo>
                      <a:pt x="8553" y="6399"/>
                    </a:lnTo>
                    <a:lnTo>
                      <a:pt x="8553" y="6399"/>
                    </a:lnTo>
                    <a:lnTo>
                      <a:pt x="8433" y="6818"/>
                    </a:lnTo>
                    <a:lnTo>
                      <a:pt x="7416" y="7835"/>
                    </a:lnTo>
                    <a:lnTo>
                      <a:pt x="7356" y="7895"/>
                    </a:lnTo>
                    <a:lnTo>
                      <a:pt x="7236" y="8014"/>
                    </a:lnTo>
                    <a:lnTo>
                      <a:pt x="6818" y="8433"/>
                    </a:lnTo>
                    <a:lnTo>
                      <a:pt x="6758" y="8493"/>
                    </a:lnTo>
                    <a:lnTo>
                      <a:pt x="6698" y="8493"/>
                    </a:lnTo>
                    <a:lnTo>
                      <a:pt x="6698" y="8493"/>
                    </a:lnTo>
                    <a:lnTo>
                      <a:pt x="6579" y="8612"/>
                    </a:lnTo>
                    <a:lnTo>
                      <a:pt x="6280" y="8911"/>
                    </a:lnTo>
                    <a:lnTo>
                      <a:pt x="6100" y="8911"/>
                    </a:lnTo>
                    <a:lnTo>
                      <a:pt x="5503" y="9031"/>
                    </a:lnTo>
                    <a:lnTo>
                      <a:pt x="5323" y="9031"/>
                    </a:lnTo>
                    <a:lnTo>
                      <a:pt x="4665" y="9150"/>
                    </a:lnTo>
                    <a:lnTo>
                      <a:pt x="4366" y="9210"/>
                    </a:lnTo>
                    <a:lnTo>
                      <a:pt x="3409" y="9330"/>
                    </a:lnTo>
                  </a:path>
                </a:pathLst>
              </a:custGeom>
              <a:noFill/>
              <a:ln w="6350" cap="rnd">
                <a:solidFill>
                  <a:schemeClr val="bg1">
                    <a:alpha val="80000"/>
                  </a:schemeClr>
                </a:solidFill>
                <a:prstDash val="solid"/>
                <a:round/>
              </a:ln>
            </p:spPr>
            <p:txBody>
              <a:bodyPr rtlCol="0" anchor="ctr"/>
              <a:lstStyle/>
              <a:p>
                <a:endParaRPr lang="en-GB"/>
              </a:p>
            </p:txBody>
          </p:sp>
          <p:sp>
            <p:nvSpPr>
              <p:cNvPr id="6855" name="Vrije vorm: vorm 6854">
                <a:extLst>
                  <a:ext uri="{FF2B5EF4-FFF2-40B4-BE49-F238E27FC236}">
                    <a16:creationId xmlns:a16="http://schemas.microsoft.com/office/drawing/2014/main" id="{8F756F65-30F7-4F3D-8C04-D78685DA202F}"/>
                  </a:ext>
                </a:extLst>
              </p:cNvPr>
              <p:cNvSpPr/>
              <p:nvPr/>
            </p:nvSpPr>
            <p:spPr>
              <a:xfrm>
                <a:off x="6784012" y="1840906"/>
                <a:ext cx="957" cy="3050"/>
              </a:xfrm>
              <a:custGeom>
                <a:avLst/>
                <a:gdLst>
                  <a:gd name="connsiteX0" fmla="*/ 957 w 957"/>
                  <a:gd name="connsiteY0" fmla="*/ 0 h 3050"/>
                  <a:gd name="connsiteX1" fmla="*/ 0 w 957"/>
                  <a:gd name="connsiteY1" fmla="*/ 3050 h 3050"/>
                </a:gdLst>
                <a:ahLst/>
                <a:cxnLst>
                  <a:cxn ang="0">
                    <a:pos x="connsiteX0" y="connsiteY0"/>
                  </a:cxn>
                  <a:cxn ang="0">
                    <a:pos x="connsiteX1" y="connsiteY1"/>
                  </a:cxn>
                </a:cxnLst>
                <a:rect l="l" t="t" r="r" b="b"/>
                <a:pathLst>
                  <a:path w="957" h="3050">
                    <a:moveTo>
                      <a:pt x="957" y="0"/>
                    </a:moveTo>
                    <a:lnTo>
                      <a:pt x="0" y="3050"/>
                    </a:lnTo>
                  </a:path>
                </a:pathLst>
              </a:custGeom>
              <a:noFill/>
              <a:ln w="6350" cap="rnd">
                <a:solidFill>
                  <a:schemeClr val="bg1">
                    <a:alpha val="80000"/>
                  </a:schemeClr>
                </a:solidFill>
                <a:prstDash val="solid"/>
                <a:round/>
              </a:ln>
            </p:spPr>
            <p:txBody>
              <a:bodyPr rtlCol="0" anchor="ctr"/>
              <a:lstStyle/>
              <a:p>
                <a:endParaRPr lang="en-GB"/>
              </a:p>
            </p:txBody>
          </p:sp>
          <p:sp>
            <p:nvSpPr>
              <p:cNvPr id="6856" name="Vrije vorm: vorm 6855">
                <a:extLst>
                  <a:ext uri="{FF2B5EF4-FFF2-40B4-BE49-F238E27FC236}">
                    <a16:creationId xmlns:a16="http://schemas.microsoft.com/office/drawing/2014/main" id="{3945D2FE-844C-4058-936E-D0B54E6753FB}"/>
                  </a:ext>
                </a:extLst>
              </p:cNvPr>
              <p:cNvSpPr/>
              <p:nvPr/>
            </p:nvSpPr>
            <p:spPr>
              <a:xfrm>
                <a:off x="6759611" y="1961777"/>
                <a:ext cx="2332" cy="2990"/>
              </a:xfrm>
              <a:custGeom>
                <a:avLst/>
                <a:gdLst>
                  <a:gd name="connsiteX0" fmla="*/ 0 w 2332"/>
                  <a:gd name="connsiteY0" fmla="*/ 2990 h 2990"/>
                  <a:gd name="connsiteX1" fmla="*/ 658 w 2332"/>
                  <a:gd name="connsiteY1" fmla="*/ 1376 h 2990"/>
                  <a:gd name="connsiteX2" fmla="*/ 718 w 2332"/>
                  <a:gd name="connsiteY2" fmla="*/ 1316 h 2990"/>
                  <a:gd name="connsiteX3" fmla="*/ 837 w 2332"/>
                  <a:gd name="connsiteY3" fmla="*/ 1196 h 2990"/>
                  <a:gd name="connsiteX4" fmla="*/ 1674 w 2332"/>
                  <a:gd name="connsiteY4" fmla="*/ 538 h 2990"/>
                  <a:gd name="connsiteX5" fmla="*/ 1734 w 2332"/>
                  <a:gd name="connsiteY5" fmla="*/ 478 h 2990"/>
                  <a:gd name="connsiteX6" fmla="*/ 2332 w 2332"/>
                  <a:gd name="connsiteY6" fmla="*/ 0 h 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2" h="2990">
                    <a:moveTo>
                      <a:pt x="0" y="2990"/>
                    </a:moveTo>
                    <a:lnTo>
                      <a:pt x="658" y="1376"/>
                    </a:lnTo>
                    <a:lnTo>
                      <a:pt x="718" y="1316"/>
                    </a:lnTo>
                    <a:lnTo>
                      <a:pt x="837" y="1196"/>
                    </a:lnTo>
                    <a:lnTo>
                      <a:pt x="1674" y="538"/>
                    </a:lnTo>
                    <a:lnTo>
                      <a:pt x="1734" y="478"/>
                    </a:lnTo>
                    <a:lnTo>
                      <a:pt x="2332" y="0"/>
                    </a:lnTo>
                  </a:path>
                </a:pathLst>
              </a:custGeom>
              <a:noFill/>
              <a:ln w="6350" cap="rnd">
                <a:solidFill>
                  <a:schemeClr val="bg1">
                    <a:alpha val="80000"/>
                  </a:schemeClr>
                </a:solidFill>
                <a:prstDash val="solid"/>
                <a:round/>
              </a:ln>
            </p:spPr>
            <p:txBody>
              <a:bodyPr rtlCol="0" anchor="ctr"/>
              <a:lstStyle/>
              <a:p>
                <a:endParaRPr lang="en-GB"/>
              </a:p>
            </p:txBody>
          </p:sp>
          <p:sp>
            <p:nvSpPr>
              <p:cNvPr id="6857" name="Vrije vorm: vorm 6856">
                <a:extLst>
                  <a:ext uri="{FF2B5EF4-FFF2-40B4-BE49-F238E27FC236}">
                    <a16:creationId xmlns:a16="http://schemas.microsoft.com/office/drawing/2014/main" id="{D16A131A-97DC-4E1A-BDD3-53F2F7D8D569}"/>
                  </a:ext>
                </a:extLst>
              </p:cNvPr>
              <p:cNvSpPr/>
              <p:nvPr/>
            </p:nvSpPr>
            <p:spPr>
              <a:xfrm>
                <a:off x="6738798" y="1943176"/>
                <a:ext cx="8193" cy="5442"/>
              </a:xfrm>
              <a:custGeom>
                <a:avLst/>
                <a:gdLst>
                  <a:gd name="connsiteX0" fmla="*/ 8194 w 8193"/>
                  <a:gd name="connsiteY0" fmla="*/ 5442 h 5442"/>
                  <a:gd name="connsiteX1" fmla="*/ 837 w 8193"/>
                  <a:gd name="connsiteY1" fmla="*/ 538 h 5442"/>
                  <a:gd name="connsiteX2" fmla="*/ 0 w 8193"/>
                  <a:gd name="connsiteY2" fmla="*/ 0 h 5442"/>
                </a:gdLst>
                <a:ahLst/>
                <a:cxnLst>
                  <a:cxn ang="0">
                    <a:pos x="connsiteX0" y="connsiteY0"/>
                  </a:cxn>
                  <a:cxn ang="0">
                    <a:pos x="connsiteX1" y="connsiteY1"/>
                  </a:cxn>
                  <a:cxn ang="0">
                    <a:pos x="connsiteX2" y="connsiteY2"/>
                  </a:cxn>
                </a:cxnLst>
                <a:rect l="l" t="t" r="r" b="b"/>
                <a:pathLst>
                  <a:path w="8193" h="5442">
                    <a:moveTo>
                      <a:pt x="8194" y="5442"/>
                    </a:moveTo>
                    <a:lnTo>
                      <a:pt x="837" y="53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58" name="Vrije vorm: vorm 6857">
                <a:extLst>
                  <a:ext uri="{FF2B5EF4-FFF2-40B4-BE49-F238E27FC236}">
                    <a16:creationId xmlns:a16="http://schemas.microsoft.com/office/drawing/2014/main" id="{A5FDBBAC-9245-4F27-968E-BF0508AD79E6}"/>
                  </a:ext>
                </a:extLst>
              </p:cNvPr>
              <p:cNvSpPr/>
              <p:nvPr/>
            </p:nvSpPr>
            <p:spPr>
              <a:xfrm>
                <a:off x="6764993" y="1993355"/>
                <a:ext cx="3169" cy="4784"/>
              </a:xfrm>
              <a:custGeom>
                <a:avLst/>
                <a:gdLst>
                  <a:gd name="connsiteX0" fmla="*/ 1734 w 3169"/>
                  <a:gd name="connsiteY0" fmla="*/ 0 h 4784"/>
                  <a:gd name="connsiteX1" fmla="*/ 3170 w 3169"/>
                  <a:gd name="connsiteY1" fmla="*/ 598 h 4784"/>
                  <a:gd name="connsiteX2" fmla="*/ 2871 w 3169"/>
                  <a:gd name="connsiteY2" fmla="*/ 1316 h 4784"/>
                  <a:gd name="connsiteX3" fmla="*/ 2691 w 3169"/>
                  <a:gd name="connsiteY3" fmla="*/ 1794 h 4784"/>
                  <a:gd name="connsiteX4" fmla="*/ 2512 w 3169"/>
                  <a:gd name="connsiteY4" fmla="*/ 2273 h 4784"/>
                  <a:gd name="connsiteX5" fmla="*/ 1794 w 3169"/>
                  <a:gd name="connsiteY5" fmla="*/ 3888 h 4784"/>
                  <a:gd name="connsiteX6" fmla="*/ 1375 w 3169"/>
                  <a:gd name="connsiteY6" fmla="*/ 4785 h 4784"/>
                  <a:gd name="connsiteX7" fmla="*/ 0 w 3169"/>
                  <a:gd name="connsiteY7" fmla="*/ 4187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9" h="4784">
                    <a:moveTo>
                      <a:pt x="1734" y="0"/>
                    </a:moveTo>
                    <a:lnTo>
                      <a:pt x="3170" y="598"/>
                    </a:lnTo>
                    <a:lnTo>
                      <a:pt x="2871" y="1316"/>
                    </a:lnTo>
                    <a:lnTo>
                      <a:pt x="2691" y="1794"/>
                    </a:lnTo>
                    <a:lnTo>
                      <a:pt x="2512" y="2273"/>
                    </a:lnTo>
                    <a:lnTo>
                      <a:pt x="1794" y="3888"/>
                    </a:lnTo>
                    <a:lnTo>
                      <a:pt x="1375" y="4785"/>
                    </a:lnTo>
                    <a:lnTo>
                      <a:pt x="0" y="4187"/>
                    </a:lnTo>
                  </a:path>
                </a:pathLst>
              </a:custGeom>
              <a:noFill/>
              <a:ln w="6350" cap="rnd">
                <a:solidFill>
                  <a:schemeClr val="bg1">
                    <a:alpha val="80000"/>
                  </a:schemeClr>
                </a:solidFill>
                <a:prstDash val="solid"/>
                <a:round/>
              </a:ln>
            </p:spPr>
            <p:txBody>
              <a:bodyPr rtlCol="0" anchor="ctr"/>
              <a:lstStyle/>
              <a:p>
                <a:endParaRPr lang="en-GB"/>
              </a:p>
            </p:txBody>
          </p:sp>
          <p:sp>
            <p:nvSpPr>
              <p:cNvPr id="6859" name="Vrije vorm: vorm 6858">
                <a:extLst>
                  <a:ext uri="{FF2B5EF4-FFF2-40B4-BE49-F238E27FC236}">
                    <a16:creationId xmlns:a16="http://schemas.microsoft.com/office/drawing/2014/main" id="{667899FA-26C3-45C6-9737-AE17BB393AB2}"/>
                  </a:ext>
                </a:extLst>
              </p:cNvPr>
              <p:cNvSpPr/>
              <p:nvPr/>
            </p:nvSpPr>
            <p:spPr>
              <a:xfrm>
                <a:off x="6734671" y="1928344"/>
                <a:ext cx="6579" cy="17942"/>
              </a:xfrm>
              <a:custGeom>
                <a:avLst/>
                <a:gdLst>
                  <a:gd name="connsiteX0" fmla="*/ 0 w 6579"/>
                  <a:gd name="connsiteY0" fmla="*/ 0 h 17942"/>
                  <a:gd name="connsiteX1" fmla="*/ 837 w 6579"/>
                  <a:gd name="connsiteY1" fmla="*/ 538 h 17942"/>
                  <a:gd name="connsiteX2" fmla="*/ 2632 w 6579"/>
                  <a:gd name="connsiteY2" fmla="*/ 1734 h 17942"/>
                  <a:gd name="connsiteX3" fmla="*/ 4127 w 6579"/>
                  <a:gd name="connsiteY3" fmla="*/ 2691 h 17942"/>
                  <a:gd name="connsiteX4" fmla="*/ 6579 w 6579"/>
                  <a:gd name="connsiteY4" fmla="*/ 4306 h 17942"/>
                  <a:gd name="connsiteX5" fmla="*/ 6579 w 6579"/>
                  <a:gd name="connsiteY5" fmla="*/ 4605 h 17942"/>
                  <a:gd name="connsiteX6" fmla="*/ 6579 w 6579"/>
                  <a:gd name="connsiteY6" fmla="*/ 4665 h 17942"/>
                  <a:gd name="connsiteX7" fmla="*/ 6579 w 6579"/>
                  <a:gd name="connsiteY7" fmla="*/ 4725 h 17942"/>
                  <a:gd name="connsiteX8" fmla="*/ 6579 w 6579"/>
                  <a:gd name="connsiteY8" fmla="*/ 5143 h 17942"/>
                  <a:gd name="connsiteX9" fmla="*/ 6579 w 6579"/>
                  <a:gd name="connsiteY9" fmla="*/ 5143 h 17942"/>
                  <a:gd name="connsiteX10" fmla="*/ 6519 w 6579"/>
                  <a:gd name="connsiteY10" fmla="*/ 6280 h 17942"/>
                  <a:gd name="connsiteX11" fmla="*/ 6519 w 6579"/>
                  <a:gd name="connsiteY11" fmla="*/ 6459 h 17942"/>
                  <a:gd name="connsiteX12" fmla="*/ 6459 w 6579"/>
                  <a:gd name="connsiteY12" fmla="*/ 7596 h 17942"/>
                  <a:gd name="connsiteX13" fmla="*/ 6459 w 6579"/>
                  <a:gd name="connsiteY13" fmla="*/ 7895 h 17942"/>
                  <a:gd name="connsiteX14" fmla="*/ 6459 w 6579"/>
                  <a:gd name="connsiteY14" fmla="*/ 8194 h 17942"/>
                  <a:gd name="connsiteX15" fmla="*/ 6459 w 6579"/>
                  <a:gd name="connsiteY15" fmla="*/ 8971 h 17942"/>
                  <a:gd name="connsiteX16" fmla="*/ 6399 w 6579"/>
                  <a:gd name="connsiteY16" fmla="*/ 11304 h 17942"/>
                  <a:gd name="connsiteX17" fmla="*/ 4187 w 6579"/>
                  <a:gd name="connsiteY17" fmla="*/ 14713 h 17942"/>
                  <a:gd name="connsiteX18" fmla="*/ 3050 w 6579"/>
                  <a:gd name="connsiteY18" fmla="*/ 16447 h 17942"/>
                  <a:gd name="connsiteX19" fmla="*/ 1017 w 6579"/>
                  <a:gd name="connsiteY19" fmla="*/ 17942 h 1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79" h="17942">
                    <a:moveTo>
                      <a:pt x="0" y="0"/>
                    </a:moveTo>
                    <a:lnTo>
                      <a:pt x="837" y="538"/>
                    </a:lnTo>
                    <a:lnTo>
                      <a:pt x="2632" y="1734"/>
                    </a:lnTo>
                    <a:lnTo>
                      <a:pt x="4127" y="2691"/>
                    </a:lnTo>
                    <a:lnTo>
                      <a:pt x="6579" y="4306"/>
                    </a:lnTo>
                    <a:lnTo>
                      <a:pt x="6579" y="4605"/>
                    </a:lnTo>
                    <a:lnTo>
                      <a:pt x="6579" y="4665"/>
                    </a:lnTo>
                    <a:lnTo>
                      <a:pt x="6579" y="4725"/>
                    </a:lnTo>
                    <a:lnTo>
                      <a:pt x="6579" y="5143"/>
                    </a:lnTo>
                    <a:lnTo>
                      <a:pt x="6579" y="5143"/>
                    </a:lnTo>
                    <a:lnTo>
                      <a:pt x="6519" y="6280"/>
                    </a:lnTo>
                    <a:lnTo>
                      <a:pt x="6519" y="6459"/>
                    </a:lnTo>
                    <a:lnTo>
                      <a:pt x="6459" y="7596"/>
                    </a:lnTo>
                    <a:lnTo>
                      <a:pt x="6459" y="7895"/>
                    </a:lnTo>
                    <a:lnTo>
                      <a:pt x="6459" y="8194"/>
                    </a:lnTo>
                    <a:lnTo>
                      <a:pt x="6459" y="8971"/>
                    </a:lnTo>
                    <a:lnTo>
                      <a:pt x="6399" y="11304"/>
                    </a:lnTo>
                    <a:lnTo>
                      <a:pt x="4187" y="14713"/>
                    </a:lnTo>
                    <a:lnTo>
                      <a:pt x="3050" y="16447"/>
                    </a:lnTo>
                    <a:lnTo>
                      <a:pt x="1017" y="17942"/>
                    </a:lnTo>
                  </a:path>
                </a:pathLst>
              </a:custGeom>
              <a:noFill/>
              <a:ln w="6350" cap="rnd">
                <a:solidFill>
                  <a:schemeClr val="bg1">
                    <a:alpha val="80000"/>
                  </a:schemeClr>
                </a:solidFill>
                <a:prstDash val="solid"/>
                <a:round/>
              </a:ln>
            </p:spPr>
            <p:txBody>
              <a:bodyPr rtlCol="0" anchor="ctr"/>
              <a:lstStyle/>
              <a:p>
                <a:endParaRPr lang="en-GB"/>
              </a:p>
            </p:txBody>
          </p:sp>
          <p:sp>
            <p:nvSpPr>
              <p:cNvPr id="6860" name="Vrije vorm: vorm 6859">
                <a:extLst>
                  <a:ext uri="{FF2B5EF4-FFF2-40B4-BE49-F238E27FC236}">
                    <a16:creationId xmlns:a16="http://schemas.microsoft.com/office/drawing/2014/main" id="{81CE2039-DB82-4354-AE6D-2BBF768BC261}"/>
                  </a:ext>
                </a:extLst>
              </p:cNvPr>
              <p:cNvSpPr/>
              <p:nvPr/>
            </p:nvSpPr>
            <p:spPr>
              <a:xfrm>
                <a:off x="6966126" y="1839590"/>
                <a:ext cx="3946" cy="3349"/>
              </a:xfrm>
              <a:custGeom>
                <a:avLst/>
                <a:gdLst>
                  <a:gd name="connsiteX0" fmla="*/ 3947 w 3946"/>
                  <a:gd name="connsiteY0" fmla="*/ 3230 h 3349"/>
                  <a:gd name="connsiteX1" fmla="*/ 3887 w 3946"/>
                  <a:gd name="connsiteY1" fmla="*/ 3289 h 3349"/>
                  <a:gd name="connsiteX2" fmla="*/ 3827 w 3946"/>
                  <a:gd name="connsiteY2" fmla="*/ 3349 h 3349"/>
                  <a:gd name="connsiteX3" fmla="*/ 2392 w 3946"/>
                  <a:gd name="connsiteY3" fmla="*/ 2392 h 3349"/>
                  <a:gd name="connsiteX4" fmla="*/ 1196 w 3946"/>
                  <a:gd name="connsiteY4" fmla="*/ 1615 h 3349"/>
                  <a:gd name="connsiteX5" fmla="*/ 0 w 3946"/>
                  <a:gd name="connsiteY5" fmla="*/ 837 h 3349"/>
                  <a:gd name="connsiteX6" fmla="*/ 0 w 3946"/>
                  <a:gd name="connsiteY6" fmla="*/ 778 h 3349"/>
                  <a:gd name="connsiteX7" fmla="*/ 0 w 3946"/>
                  <a:gd name="connsiteY7" fmla="*/ 718 h 3349"/>
                  <a:gd name="connsiteX8" fmla="*/ 0 w 3946"/>
                  <a:gd name="connsiteY8" fmla="*/ 658 h 3349"/>
                  <a:gd name="connsiteX9" fmla="*/ 0 w 3946"/>
                  <a:gd name="connsiteY9" fmla="*/ 299 h 3349"/>
                  <a:gd name="connsiteX10" fmla="*/ 299 w 3946"/>
                  <a:gd name="connsiteY10" fmla="*/ 0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46" h="3349">
                    <a:moveTo>
                      <a:pt x="3947" y="3230"/>
                    </a:moveTo>
                    <a:lnTo>
                      <a:pt x="3887" y="3289"/>
                    </a:lnTo>
                    <a:lnTo>
                      <a:pt x="3827" y="3349"/>
                    </a:lnTo>
                    <a:lnTo>
                      <a:pt x="2392" y="2392"/>
                    </a:lnTo>
                    <a:lnTo>
                      <a:pt x="1196" y="1615"/>
                    </a:lnTo>
                    <a:lnTo>
                      <a:pt x="0" y="837"/>
                    </a:lnTo>
                    <a:lnTo>
                      <a:pt x="0" y="778"/>
                    </a:lnTo>
                    <a:lnTo>
                      <a:pt x="0" y="718"/>
                    </a:lnTo>
                    <a:lnTo>
                      <a:pt x="0" y="658"/>
                    </a:lnTo>
                    <a:lnTo>
                      <a:pt x="0" y="299"/>
                    </a:lnTo>
                    <a:lnTo>
                      <a:pt x="299" y="0"/>
                    </a:lnTo>
                  </a:path>
                </a:pathLst>
              </a:custGeom>
              <a:noFill/>
              <a:ln w="6350" cap="rnd">
                <a:solidFill>
                  <a:schemeClr val="bg1">
                    <a:alpha val="80000"/>
                  </a:schemeClr>
                </a:solidFill>
                <a:prstDash val="solid"/>
                <a:round/>
              </a:ln>
            </p:spPr>
            <p:txBody>
              <a:bodyPr rtlCol="0" anchor="ctr"/>
              <a:lstStyle/>
              <a:p>
                <a:endParaRPr lang="en-GB"/>
              </a:p>
            </p:txBody>
          </p:sp>
          <p:sp>
            <p:nvSpPr>
              <p:cNvPr id="6861" name="Vrije vorm: vorm 6860">
                <a:extLst>
                  <a:ext uri="{FF2B5EF4-FFF2-40B4-BE49-F238E27FC236}">
                    <a16:creationId xmlns:a16="http://schemas.microsoft.com/office/drawing/2014/main" id="{41C6BE55-88F3-4CE5-B70D-FAFBCE976497}"/>
                  </a:ext>
                </a:extLst>
              </p:cNvPr>
              <p:cNvSpPr/>
              <p:nvPr/>
            </p:nvSpPr>
            <p:spPr>
              <a:xfrm>
                <a:off x="6775340" y="1960999"/>
                <a:ext cx="4485" cy="2153"/>
              </a:xfrm>
              <a:custGeom>
                <a:avLst/>
                <a:gdLst>
                  <a:gd name="connsiteX0" fmla="*/ 4486 w 4485"/>
                  <a:gd name="connsiteY0" fmla="*/ 0 h 2153"/>
                  <a:gd name="connsiteX1" fmla="*/ 3469 w 4485"/>
                  <a:gd name="connsiteY1" fmla="*/ 1316 h 2153"/>
                  <a:gd name="connsiteX2" fmla="*/ 2871 w 4485"/>
                  <a:gd name="connsiteY2" fmla="*/ 2093 h 2153"/>
                  <a:gd name="connsiteX3" fmla="*/ 2811 w 4485"/>
                  <a:gd name="connsiteY3" fmla="*/ 2153 h 2153"/>
                  <a:gd name="connsiteX4" fmla="*/ 1376 w 4485"/>
                  <a:gd name="connsiteY4" fmla="*/ 1435 h 2153"/>
                  <a:gd name="connsiteX5" fmla="*/ 778 w 4485"/>
                  <a:gd name="connsiteY5" fmla="*/ 1136 h 2153"/>
                  <a:gd name="connsiteX6" fmla="*/ 0 w 4485"/>
                  <a:gd name="connsiteY6" fmla="*/ 777 h 2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5" h="2153">
                    <a:moveTo>
                      <a:pt x="4486" y="0"/>
                    </a:moveTo>
                    <a:lnTo>
                      <a:pt x="3469" y="1316"/>
                    </a:lnTo>
                    <a:lnTo>
                      <a:pt x="2871" y="2093"/>
                    </a:lnTo>
                    <a:lnTo>
                      <a:pt x="2811" y="2153"/>
                    </a:lnTo>
                    <a:lnTo>
                      <a:pt x="1376" y="1435"/>
                    </a:lnTo>
                    <a:lnTo>
                      <a:pt x="778" y="1136"/>
                    </a:lnTo>
                    <a:lnTo>
                      <a:pt x="0" y="777"/>
                    </a:lnTo>
                  </a:path>
                </a:pathLst>
              </a:custGeom>
              <a:noFill/>
              <a:ln w="6350" cap="rnd">
                <a:solidFill>
                  <a:schemeClr val="bg1">
                    <a:alpha val="80000"/>
                  </a:schemeClr>
                </a:solidFill>
                <a:prstDash val="solid"/>
                <a:round/>
              </a:ln>
            </p:spPr>
            <p:txBody>
              <a:bodyPr rtlCol="0" anchor="ctr"/>
              <a:lstStyle/>
              <a:p>
                <a:endParaRPr lang="en-GB"/>
              </a:p>
            </p:txBody>
          </p:sp>
          <p:sp>
            <p:nvSpPr>
              <p:cNvPr id="6862" name="Vrije vorm: vorm 6861">
                <a:extLst>
                  <a:ext uri="{FF2B5EF4-FFF2-40B4-BE49-F238E27FC236}">
                    <a16:creationId xmlns:a16="http://schemas.microsoft.com/office/drawing/2014/main" id="{F4FFE872-3186-4FDF-B2AD-C9EA689CB12B}"/>
                  </a:ext>
                </a:extLst>
              </p:cNvPr>
              <p:cNvSpPr/>
              <p:nvPr/>
            </p:nvSpPr>
            <p:spPr>
              <a:xfrm>
                <a:off x="6728989" y="1919074"/>
                <a:ext cx="12918" cy="13277"/>
              </a:xfrm>
              <a:custGeom>
                <a:avLst/>
                <a:gdLst>
                  <a:gd name="connsiteX0" fmla="*/ 12919 w 12918"/>
                  <a:gd name="connsiteY0" fmla="*/ 0 h 13277"/>
                  <a:gd name="connsiteX1" fmla="*/ 12440 w 12918"/>
                  <a:gd name="connsiteY1" fmla="*/ 598 h 13277"/>
                  <a:gd name="connsiteX2" fmla="*/ 8852 w 12918"/>
                  <a:gd name="connsiteY2" fmla="*/ 5203 h 13277"/>
                  <a:gd name="connsiteX3" fmla="*/ 8313 w 12918"/>
                  <a:gd name="connsiteY3" fmla="*/ 5921 h 13277"/>
                  <a:gd name="connsiteX4" fmla="*/ 8014 w 12918"/>
                  <a:gd name="connsiteY4" fmla="*/ 6340 h 13277"/>
                  <a:gd name="connsiteX5" fmla="*/ 7596 w 12918"/>
                  <a:gd name="connsiteY5" fmla="*/ 6878 h 13277"/>
                  <a:gd name="connsiteX6" fmla="*/ 6878 w 12918"/>
                  <a:gd name="connsiteY6" fmla="*/ 7835 h 13277"/>
                  <a:gd name="connsiteX7" fmla="*/ 6878 w 12918"/>
                  <a:gd name="connsiteY7" fmla="*/ 7835 h 13277"/>
                  <a:gd name="connsiteX8" fmla="*/ 6160 w 12918"/>
                  <a:gd name="connsiteY8" fmla="*/ 8792 h 13277"/>
                  <a:gd name="connsiteX9" fmla="*/ 6100 w 12918"/>
                  <a:gd name="connsiteY9" fmla="*/ 8852 h 13277"/>
                  <a:gd name="connsiteX10" fmla="*/ 6100 w 12918"/>
                  <a:gd name="connsiteY10" fmla="*/ 8852 h 13277"/>
                  <a:gd name="connsiteX11" fmla="*/ 5981 w 12918"/>
                  <a:gd name="connsiteY11" fmla="*/ 8971 h 13277"/>
                  <a:gd name="connsiteX12" fmla="*/ 5921 w 12918"/>
                  <a:gd name="connsiteY12" fmla="*/ 9091 h 13277"/>
                  <a:gd name="connsiteX13" fmla="*/ 5742 w 12918"/>
                  <a:gd name="connsiteY13" fmla="*/ 9330 h 13277"/>
                  <a:gd name="connsiteX14" fmla="*/ 5562 w 12918"/>
                  <a:gd name="connsiteY14" fmla="*/ 9569 h 13277"/>
                  <a:gd name="connsiteX15" fmla="*/ 5204 w 12918"/>
                  <a:gd name="connsiteY15" fmla="*/ 9988 h 13277"/>
                  <a:gd name="connsiteX16" fmla="*/ 5204 w 12918"/>
                  <a:gd name="connsiteY16" fmla="*/ 9988 h 13277"/>
                  <a:gd name="connsiteX17" fmla="*/ 5144 w 12918"/>
                  <a:gd name="connsiteY17" fmla="*/ 10107 h 13277"/>
                  <a:gd name="connsiteX18" fmla="*/ 4545 w 12918"/>
                  <a:gd name="connsiteY18" fmla="*/ 10885 h 13277"/>
                  <a:gd name="connsiteX19" fmla="*/ 4187 w 12918"/>
                  <a:gd name="connsiteY19" fmla="*/ 11304 h 13277"/>
                  <a:gd name="connsiteX20" fmla="*/ 4127 w 12918"/>
                  <a:gd name="connsiteY20" fmla="*/ 11363 h 13277"/>
                  <a:gd name="connsiteX21" fmla="*/ 4007 w 12918"/>
                  <a:gd name="connsiteY21" fmla="*/ 11543 h 13277"/>
                  <a:gd name="connsiteX22" fmla="*/ 3649 w 12918"/>
                  <a:gd name="connsiteY22" fmla="*/ 11961 h 13277"/>
                  <a:gd name="connsiteX23" fmla="*/ 3349 w 12918"/>
                  <a:gd name="connsiteY23" fmla="*/ 12380 h 13277"/>
                  <a:gd name="connsiteX24" fmla="*/ 3230 w 12918"/>
                  <a:gd name="connsiteY24" fmla="*/ 12500 h 13277"/>
                  <a:gd name="connsiteX25" fmla="*/ 3170 w 12918"/>
                  <a:gd name="connsiteY25" fmla="*/ 12560 h 13277"/>
                  <a:gd name="connsiteX26" fmla="*/ 2632 w 12918"/>
                  <a:gd name="connsiteY26" fmla="*/ 13217 h 13277"/>
                  <a:gd name="connsiteX27" fmla="*/ 2572 w 12918"/>
                  <a:gd name="connsiteY27" fmla="*/ 13277 h 13277"/>
                  <a:gd name="connsiteX28" fmla="*/ 1436 w 12918"/>
                  <a:gd name="connsiteY28" fmla="*/ 12739 h 13277"/>
                  <a:gd name="connsiteX29" fmla="*/ 0 w 12918"/>
                  <a:gd name="connsiteY29" fmla="*/ 12081 h 1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918" h="13277">
                    <a:moveTo>
                      <a:pt x="12919" y="0"/>
                    </a:moveTo>
                    <a:lnTo>
                      <a:pt x="12440" y="598"/>
                    </a:lnTo>
                    <a:lnTo>
                      <a:pt x="8852" y="5203"/>
                    </a:lnTo>
                    <a:lnTo>
                      <a:pt x="8313" y="5921"/>
                    </a:lnTo>
                    <a:lnTo>
                      <a:pt x="8014" y="6340"/>
                    </a:lnTo>
                    <a:lnTo>
                      <a:pt x="7596" y="6878"/>
                    </a:lnTo>
                    <a:lnTo>
                      <a:pt x="6878" y="7835"/>
                    </a:lnTo>
                    <a:lnTo>
                      <a:pt x="6878" y="7835"/>
                    </a:lnTo>
                    <a:lnTo>
                      <a:pt x="6160" y="8792"/>
                    </a:lnTo>
                    <a:lnTo>
                      <a:pt x="6100" y="8852"/>
                    </a:lnTo>
                    <a:lnTo>
                      <a:pt x="6100" y="8852"/>
                    </a:lnTo>
                    <a:lnTo>
                      <a:pt x="5981" y="8971"/>
                    </a:lnTo>
                    <a:lnTo>
                      <a:pt x="5921" y="9091"/>
                    </a:lnTo>
                    <a:lnTo>
                      <a:pt x="5742" y="9330"/>
                    </a:lnTo>
                    <a:lnTo>
                      <a:pt x="5562" y="9569"/>
                    </a:lnTo>
                    <a:lnTo>
                      <a:pt x="5204" y="9988"/>
                    </a:lnTo>
                    <a:lnTo>
                      <a:pt x="5204" y="9988"/>
                    </a:lnTo>
                    <a:lnTo>
                      <a:pt x="5144" y="10107"/>
                    </a:lnTo>
                    <a:lnTo>
                      <a:pt x="4545" y="10885"/>
                    </a:lnTo>
                    <a:lnTo>
                      <a:pt x="4187" y="11304"/>
                    </a:lnTo>
                    <a:lnTo>
                      <a:pt x="4127" y="11363"/>
                    </a:lnTo>
                    <a:lnTo>
                      <a:pt x="4007" y="11543"/>
                    </a:lnTo>
                    <a:lnTo>
                      <a:pt x="3649" y="11961"/>
                    </a:lnTo>
                    <a:lnTo>
                      <a:pt x="3349" y="12380"/>
                    </a:lnTo>
                    <a:lnTo>
                      <a:pt x="3230" y="12500"/>
                    </a:lnTo>
                    <a:lnTo>
                      <a:pt x="3170" y="12560"/>
                    </a:lnTo>
                    <a:lnTo>
                      <a:pt x="2632" y="13217"/>
                    </a:lnTo>
                    <a:lnTo>
                      <a:pt x="2572" y="13277"/>
                    </a:lnTo>
                    <a:lnTo>
                      <a:pt x="1436" y="12739"/>
                    </a:lnTo>
                    <a:lnTo>
                      <a:pt x="0" y="12081"/>
                    </a:lnTo>
                  </a:path>
                </a:pathLst>
              </a:custGeom>
              <a:noFill/>
              <a:ln w="6350" cap="rnd">
                <a:solidFill>
                  <a:schemeClr val="bg1">
                    <a:alpha val="80000"/>
                  </a:schemeClr>
                </a:solidFill>
                <a:prstDash val="solid"/>
                <a:round/>
              </a:ln>
            </p:spPr>
            <p:txBody>
              <a:bodyPr rtlCol="0" anchor="ctr"/>
              <a:lstStyle/>
              <a:p>
                <a:endParaRPr lang="en-GB"/>
              </a:p>
            </p:txBody>
          </p:sp>
          <p:sp>
            <p:nvSpPr>
              <p:cNvPr id="6863" name="Vrije vorm: vorm 6862">
                <a:extLst>
                  <a:ext uri="{FF2B5EF4-FFF2-40B4-BE49-F238E27FC236}">
                    <a16:creationId xmlns:a16="http://schemas.microsoft.com/office/drawing/2014/main" id="{FEBF049A-2162-45EE-9F48-471F190A1B55}"/>
                  </a:ext>
                </a:extLst>
              </p:cNvPr>
              <p:cNvSpPr/>
              <p:nvPr/>
            </p:nvSpPr>
            <p:spPr>
              <a:xfrm>
                <a:off x="6966783" y="1838933"/>
                <a:ext cx="2272" cy="1255"/>
              </a:xfrm>
              <a:custGeom>
                <a:avLst/>
                <a:gdLst>
                  <a:gd name="connsiteX0" fmla="*/ 0 w 2272"/>
                  <a:gd name="connsiteY0" fmla="*/ 299 h 1255"/>
                  <a:gd name="connsiteX1" fmla="*/ 0 w 2272"/>
                  <a:gd name="connsiteY1" fmla="*/ 299 h 1255"/>
                  <a:gd name="connsiteX2" fmla="*/ 299 w 2272"/>
                  <a:gd name="connsiteY2" fmla="*/ 0 h 1255"/>
                  <a:gd name="connsiteX3" fmla="*/ 538 w 2272"/>
                  <a:gd name="connsiteY3" fmla="*/ 120 h 1255"/>
                  <a:gd name="connsiteX4" fmla="*/ 2273 w 2272"/>
                  <a:gd name="connsiteY4" fmla="*/ 1256 h 1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2" h="1255">
                    <a:moveTo>
                      <a:pt x="0" y="299"/>
                    </a:moveTo>
                    <a:lnTo>
                      <a:pt x="0" y="299"/>
                    </a:lnTo>
                    <a:lnTo>
                      <a:pt x="299" y="0"/>
                    </a:lnTo>
                    <a:lnTo>
                      <a:pt x="538" y="120"/>
                    </a:lnTo>
                    <a:lnTo>
                      <a:pt x="2273" y="1256"/>
                    </a:lnTo>
                  </a:path>
                </a:pathLst>
              </a:custGeom>
              <a:noFill/>
              <a:ln w="6350" cap="rnd">
                <a:solidFill>
                  <a:schemeClr val="bg1">
                    <a:alpha val="80000"/>
                  </a:schemeClr>
                </a:solidFill>
                <a:prstDash val="solid"/>
                <a:round/>
              </a:ln>
            </p:spPr>
            <p:txBody>
              <a:bodyPr rtlCol="0" anchor="ctr"/>
              <a:lstStyle/>
              <a:p>
                <a:endParaRPr lang="en-GB"/>
              </a:p>
            </p:txBody>
          </p:sp>
          <p:sp>
            <p:nvSpPr>
              <p:cNvPr id="6864" name="Vrije vorm: vorm 6863">
                <a:extLst>
                  <a:ext uri="{FF2B5EF4-FFF2-40B4-BE49-F238E27FC236}">
                    <a16:creationId xmlns:a16="http://schemas.microsoft.com/office/drawing/2014/main" id="{AD2E28B4-30FE-4937-8C3D-419C1E34E250}"/>
                  </a:ext>
                </a:extLst>
              </p:cNvPr>
              <p:cNvSpPr/>
              <p:nvPr/>
            </p:nvSpPr>
            <p:spPr>
              <a:xfrm>
                <a:off x="6934547" y="2055674"/>
                <a:ext cx="2930" cy="1973"/>
              </a:xfrm>
              <a:custGeom>
                <a:avLst/>
                <a:gdLst>
                  <a:gd name="connsiteX0" fmla="*/ 0 w 2930"/>
                  <a:gd name="connsiteY0" fmla="*/ 0 h 1973"/>
                  <a:gd name="connsiteX1" fmla="*/ 2930 w 2930"/>
                  <a:gd name="connsiteY1" fmla="*/ 1974 h 1973"/>
                </a:gdLst>
                <a:ahLst/>
                <a:cxnLst>
                  <a:cxn ang="0">
                    <a:pos x="connsiteX0" y="connsiteY0"/>
                  </a:cxn>
                  <a:cxn ang="0">
                    <a:pos x="connsiteX1" y="connsiteY1"/>
                  </a:cxn>
                </a:cxnLst>
                <a:rect l="l" t="t" r="r" b="b"/>
                <a:pathLst>
                  <a:path w="2930" h="1973">
                    <a:moveTo>
                      <a:pt x="0" y="0"/>
                    </a:moveTo>
                    <a:lnTo>
                      <a:pt x="2930" y="1974"/>
                    </a:lnTo>
                  </a:path>
                </a:pathLst>
              </a:custGeom>
              <a:noFill/>
              <a:ln w="6350" cap="rnd">
                <a:solidFill>
                  <a:schemeClr val="bg1">
                    <a:alpha val="80000"/>
                  </a:schemeClr>
                </a:solidFill>
                <a:prstDash val="solid"/>
                <a:round/>
              </a:ln>
            </p:spPr>
            <p:txBody>
              <a:bodyPr rtlCol="0" anchor="ctr"/>
              <a:lstStyle/>
              <a:p>
                <a:endParaRPr lang="en-GB"/>
              </a:p>
            </p:txBody>
          </p:sp>
          <p:sp>
            <p:nvSpPr>
              <p:cNvPr id="6865" name="Vrije vorm: vorm 6864">
                <a:extLst>
                  <a:ext uri="{FF2B5EF4-FFF2-40B4-BE49-F238E27FC236}">
                    <a16:creationId xmlns:a16="http://schemas.microsoft.com/office/drawing/2014/main" id="{0FF1638E-358D-4DF2-A034-455889F3AD4A}"/>
                  </a:ext>
                </a:extLst>
              </p:cNvPr>
              <p:cNvSpPr/>
              <p:nvPr/>
            </p:nvSpPr>
            <p:spPr>
              <a:xfrm>
                <a:off x="6961341" y="2040423"/>
                <a:ext cx="10166" cy="3468"/>
              </a:xfrm>
              <a:custGeom>
                <a:avLst/>
                <a:gdLst>
                  <a:gd name="connsiteX0" fmla="*/ 0 w 10166"/>
                  <a:gd name="connsiteY0" fmla="*/ 3469 h 3468"/>
                  <a:gd name="connsiteX1" fmla="*/ 3290 w 10166"/>
                  <a:gd name="connsiteY1" fmla="*/ 2033 h 3468"/>
                  <a:gd name="connsiteX2" fmla="*/ 3768 w 10166"/>
                  <a:gd name="connsiteY2" fmla="*/ 1914 h 3468"/>
                  <a:gd name="connsiteX3" fmla="*/ 4426 w 10166"/>
                  <a:gd name="connsiteY3" fmla="*/ 1734 h 3468"/>
                  <a:gd name="connsiteX4" fmla="*/ 4545 w 10166"/>
                  <a:gd name="connsiteY4" fmla="*/ 1675 h 3468"/>
                  <a:gd name="connsiteX5" fmla="*/ 7356 w 10166"/>
                  <a:gd name="connsiteY5" fmla="*/ 837 h 3468"/>
                  <a:gd name="connsiteX6" fmla="*/ 10167 w 10166"/>
                  <a:gd name="connsiteY6" fmla="*/ 0 h 3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66" h="3468">
                    <a:moveTo>
                      <a:pt x="0" y="3469"/>
                    </a:moveTo>
                    <a:lnTo>
                      <a:pt x="3290" y="2033"/>
                    </a:lnTo>
                    <a:lnTo>
                      <a:pt x="3768" y="1914"/>
                    </a:lnTo>
                    <a:lnTo>
                      <a:pt x="4426" y="1734"/>
                    </a:lnTo>
                    <a:lnTo>
                      <a:pt x="4545" y="1675"/>
                    </a:lnTo>
                    <a:lnTo>
                      <a:pt x="7356" y="837"/>
                    </a:lnTo>
                    <a:lnTo>
                      <a:pt x="10167" y="0"/>
                    </a:lnTo>
                  </a:path>
                </a:pathLst>
              </a:custGeom>
              <a:noFill/>
              <a:ln w="6350" cap="rnd">
                <a:solidFill>
                  <a:schemeClr val="bg1">
                    <a:alpha val="80000"/>
                  </a:schemeClr>
                </a:solidFill>
                <a:prstDash val="solid"/>
                <a:round/>
              </a:ln>
            </p:spPr>
            <p:txBody>
              <a:bodyPr rtlCol="0" anchor="ctr"/>
              <a:lstStyle/>
              <a:p>
                <a:endParaRPr lang="en-GB"/>
              </a:p>
            </p:txBody>
          </p:sp>
          <p:sp>
            <p:nvSpPr>
              <p:cNvPr id="6866" name="Vrije vorm: vorm 6865">
                <a:extLst>
                  <a:ext uri="{FF2B5EF4-FFF2-40B4-BE49-F238E27FC236}">
                    <a16:creationId xmlns:a16="http://schemas.microsoft.com/office/drawing/2014/main" id="{8327A1F4-6073-4013-8F82-109F824D60DF}"/>
                  </a:ext>
                </a:extLst>
              </p:cNvPr>
              <p:cNvSpPr/>
              <p:nvPr/>
            </p:nvSpPr>
            <p:spPr>
              <a:xfrm>
                <a:off x="6899261" y="1924098"/>
                <a:ext cx="1076" cy="1854"/>
              </a:xfrm>
              <a:custGeom>
                <a:avLst/>
                <a:gdLst>
                  <a:gd name="connsiteX0" fmla="*/ 0 w 1076"/>
                  <a:gd name="connsiteY0" fmla="*/ 1854 h 1854"/>
                  <a:gd name="connsiteX1" fmla="*/ 538 w 1076"/>
                  <a:gd name="connsiteY1" fmla="*/ 957 h 1854"/>
                  <a:gd name="connsiteX2" fmla="*/ 658 w 1076"/>
                  <a:gd name="connsiteY2" fmla="*/ 718 h 1854"/>
                  <a:gd name="connsiteX3" fmla="*/ 1077 w 1076"/>
                  <a:gd name="connsiteY3" fmla="*/ 0 h 1854"/>
                </a:gdLst>
                <a:ahLst/>
                <a:cxnLst>
                  <a:cxn ang="0">
                    <a:pos x="connsiteX0" y="connsiteY0"/>
                  </a:cxn>
                  <a:cxn ang="0">
                    <a:pos x="connsiteX1" y="connsiteY1"/>
                  </a:cxn>
                  <a:cxn ang="0">
                    <a:pos x="connsiteX2" y="connsiteY2"/>
                  </a:cxn>
                  <a:cxn ang="0">
                    <a:pos x="connsiteX3" y="connsiteY3"/>
                  </a:cxn>
                </a:cxnLst>
                <a:rect l="l" t="t" r="r" b="b"/>
                <a:pathLst>
                  <a:path w="1076" h="1854">
                    <a:moveTo>
                      <a:pt x="0" y="1854"/>
                    </a:moveTo>
                    <a:lnTo>
                      <a:pt x="538" y="957"/>
                    </a:lnTo>
                    <a:lnTo>
                      <a:pt x="658" y="718"/>
                    </a:lnTo>
                    <a:lnTo>
                      <a:pt x="1077" y="0"/>
                    </a:lnTo>
                  </a:path>
                </a:pathLst>
              </a:custGeom>
              <a:noFill/>
              <a:ln w="6350" cap="rnd">
                <a:solidFill>
                  <a:schemeClr val="bg1">
                    <a:alpha val="80000"/>
                  </a:schemeClr>
                </a:solidFill>
                <a:prstDash val="solid"/>
                <a:round/>
              </a:ln>
            </p:spPr>
            <p:txBody>
              <a:bodyPr rtlCol="0" anchor="ctr"/>
              <a:lstStyle/>
              <a:p>
                <a:endParaRPr lang="en-GB"/>
              </a:p>
            </p:txBody>
          </p:sp>
          <p:sp>
            <p:nvSpPr>
              <p:cNvPr id="6867" name="Vrije vorm: vorm 6866">
                <a:extLst>
                  <a:ext uri="{FF2B5EF4-FFF2-40B4-BE49-F238E27FC236}">
                    <a16:creationId xmlns:a16="http://schemas.microsoft.com/office/drawing/2014/main" id="{F956A113-DE89-4E70-B08E-3A4F57059439}"/>
                  </a:ext>
                </a:extLst>
              </p:cNvPr>
              <p:cNvSpPr/>
              <p:nvPr/>
            </p:nvSpPr>
            <p:spPr>
              <a:xfrm>
                <a:off x="6597473" y="1892819"/>
                <a:ext cx="2691" cy="13038"/>
              </a:xfrm>
              <a:custGeom>
                <a:avLst/>
                <a:gdLst>
                  <a:gd name="connsiteX0" fmla="*/ 0 w 2691"/>
                  <a:gd name="connsiteY0" fmla="*/ 13038 h 13038"/>
                  <a:gd name="connsiteX1" fmla="*/ 2691 w 2691"/>
                  <a:gd name="connsiteY1" fmla="*/ 0 h 13038"/>
                </a:gdLst>
                <a:ahLst/>
                <a:cxnLst>
                  <a:cxn ang="0">
                    <a:pos x="connsiteX0" y="connsiteY0"/>
                  </a:cxn>
                  <a:cxn ang="0">
                    <a:pos x="connsiteX1" y="connsiteY1"/>
                  </a:cxn>
                </a:cxnLst>
                <a:rect l="l" t="t" r="r" b="b"/>
                <a:pathLst>
                  <a:path w="2691" h="13038">
                    <a:moveTo>
                      <a:pt x="0" y="13038"/>
                    </a:moveTo>
                    <a:lnTo>
                      <a:pt x="2691" y="0"/>
                    </a:lnTo>
                  </a:path>
                </a:pathLst>
              </a:custGeom>
              <a:noFill/>
              <a:ln w="6350" cap="rnd">
                <a:solidFill>
                  <a:schemeClr val="bg1">
                    <a:alpha val="80000"/>
                  </a:schemeClr>
                </a:solidFill>
                <a:prstDash val="solid"/>
                <a:round/>
              </a:ln>
            </p:spPr>
            <p:txBody>
              <a:bodyPr rtlCol="0" anchor="ctr"/>
              <a:lstStyle/>
              <a:p>
                <a:endParaRPr lang="en-GB"/>
              </a:p>
            </p:txBody>
          </p:sp>
          <p:sp>
            <p:nvSpPr>
              <p:cNvPr id="6868" name="Vrije vorm: vorm 6867">
                <a:extLst>
                  <a:ext uri="{FF2B5EF4-FFF2-40B4-BE49-F238E27FC236}">
                    <a16:creationId xmlns:a16="http://schemas.microsoft.com/office/drawing/2014/main" id="{E7563096-6C8E-4665-B248-12D8FD35922C}"/>
                  </a:ext>
                </a:extLst>
              </p:cNvPr>
              <p:cNvSpPr/>
              <p:nvPr/>
            </p:nvSpPr>
            <p:spPr>
              <a:xfrm>
                <a:off x="6944475" y="2110218"/>
                <a:ext cx="1316" cy="1016"/>
              </a:xfrm>
              <a:custGeom>
                <a:avLst/>
                <a:gdLst>
                  <a:gd name="connsiteX0" fmla="*/ 0 w 1316"/>
                  <a:gd name="connsiteY0" fmla="*/ 0 h 1016"/>
                  <a:gd name="connsiteX1" fmla="*/ 299 w 1316"/>
                  <a:gd name="connsiteY1" fmla="*/ 299 h 1016"/>
                  <a:gd name="connsiteX2" fmla="*/ 1316 w 1316"/>
                  <a:gd name="connsiteY2" fmla="*/ 1017 h 1016"/>
                </a:gdLst>
                <a:ahLst/>
                <a:cxnLst>
                  <a:cxn ang="0">
                    <a:pos x="connsiteX0" y="connsiteY0"/>
                  </a:cxn>
                  <a:cxn ang="0">
                    <a:pos x="connsiteX1" y="connsiteY1"/>
                  </a:cxn>
                  <a:cxn ang="0">
                    <a:pos x="connsiteX2" y="connsiteY2"/>
                  </a:cxn>
                </a:cxnLst>
                <a:rect l="l" t="t" r="r" b="b"/>
                <a:pathLst>
                  <a:path w="1316" h="1016">
                    <a:moveTo>
                      <a:pt x="0" y="0"/>
                    </a:moveTo>
                    <a:lnTo>
                      <a:pt x="299" y="299"/>
                    </a:lnTo>
                    <a:lnTo>
                      <a:pt x="1316" y="1017"/>
                    </a:lnTo>
                  </a:path>
                </a:pathLst>
              </a:custGeom>
              <a:noFill/>
              <a:ln w="6350" cap="rnd">
                <a:solidFill>
                  <a:schemeClr val="bg1">
                    <a:alpha val="80000"/>
                  </a:schemeClr>
                </a:solidFill>
                <a:prstDash val="solid"/>
                <a:round/>
              </a:ln>
            </p:spPr>
            <p:txBody>
              <a:bodyPr rtlCol="0" anchor="ctr"/>
              <a:lstStyle/>
              <a:p>
                <a:endParaRPr lang="en-GB"/>
              </a:p>
            </p:txBody>
          </p:sp>
          <p:sp>
            <p:nvSpPr>
              <p:cNvPr id="6869" name="Vrije vorm: vorm 6868">
                <a:extLst>
                  <a:ext uri="{FF2B5EF4-FFF2-40B4-BE49-F238E27FC236}">
                    <a16:creationId xmlns:a16="http://schemas.microsoft.com/office/drawing/2014/main" id="{D6565CDE-DE86-4DB4-AAB3-74B2729D53F7}"/>
                  </a:ext>
                </a:extLst>
              </p:cNvPr>
              <p:cNvSpPr/>
              <p:nvPr/>
            </p:nvSpPr>
            <p:spPr>
              <a:xfrm>
                <a:off x="7053145" y="1973559"/>
                <a:ext cx="4067" cy="7236"/>
              </a:xfrm>
              <a:custGeom>
                <a:avLst/>
                <a:gdLst>
                  <a:gd name="connsiteX0" fmla="*/ 4067 w 4067"/>
                  <a:gd name="connsiteY0" fmla="*/ 7237 h 7236"/>
                  <a:gd name="connsiteX1" fmla="*/ 3409 w 4067"/>
                  <a:gd name="connsiteY1" fmla="*/ 3409 h 7236"/>
                  <a:gd name="connsiteX2" fmla="*/ 0 w 4067"/>
                  <a:gd name="connsiteY2" fmla="*/ 0 h 7236"/>
                </a:gdLst>
                <a:ahLst/>
                <a:cxnLst>
                  <a:cxn ang="0">
                    <a:pos x="connsiteX0" y="connsiteY0"/>
                  </a:cxn>
                  <a:cxn ang="0">
                    <a:pos x="connsiteX1" y="connsiteY1"/>
                  </a:cxn>
                  <a:cxn ang="0">
                    <a:pos x="connsiteX2" y="connsiteY2"/>
                  </a:cxn>
                </a:cxnLst>
                <a:rect l="l" t="t" r="r" b="b"/>
                <a:pathLst>
                  <a:path w="4067" h="7236">
                    <a:moveTo>
                      <a:pt x="4067" y="7237"/>
                    </a:moveTo>
                    <a:lnTo>
                      <a:pt x="3409" y="340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70" name="Vrije vorm: vorm 6869">
                <a:extLst>
                  <a:ext uri="{FF2B5EF4-FFF2-40B4-BE49-F238E27FC236}">
                    <a16:creationId xmlns:a16="http://schemas.microsoft.com/office/drawing/2014/main" id="{B146325F-726E-499C-8CCA-37253A957634}"/>
                  </a:ext>
                </a:extLst>
              </p:cNvPr>
              <p:cNvSpPr/>
              <p:nvPr/>
            </p:nvSpPr>
            <p:spPr>
              <a:xfrm>
                <a:off x="6740891" y="1899996"/>
                <a:ext cx="9987" cy="7655"/>
              </a:xfrm>
              <a:custGeom>
                <a:avLst/>
                <a:gdLst>
                  <a:gd name="connsiteX0" fmla="*/ 0 w 9987"/>
                  <a:gd name="connsiteY0" fmla="*/ 0 h 7655"/>
                  <a:gd name="connsiteX1" fmla="*/ 957 w 9987"/>
                  <a:gd name="connsiteY1" fmla="*/ 419 h 7655"/>
                  <a:gd name="connsiteX2" fmla="*/ 2273 w 9987"/>
                  <a:gd name="connsiteY2" fmla="*/ 1017 h 7655"/>
                  <a:gd name="connsiteX3" fmla="*/ 2930 w 9987"/>
                  <a:gd name="connsiteY3" fmla="*/ 1316 h 7655"/>
                  <a:gd name="connsiteX4" fmla="*/ 3588 w 9987"/>
                  <a:gd name="connsiteY4" fmla="*/ 1794 h 7655"/>
                  <a:gd name="connsiteX5" fmla="*/ 3648 w 9987"/>
                  <a:gd name="connsiteY5" fmla="*/ 1794 h 7655"/>
                  <a:gd name="connsiteX6" fmla="*/ 3827 w 9987"/>
                  <a:gd name="connsiteY6" fmla="*/ 1974 h 7655"/>
                  <a:gd name="connsiteX7" fmla="*/ 5203 w 9987"/>
                  <a:gd name="connsiteY7" fmla="*/ 2990 h 7655"/>
                  <a:gd name="connsiteX8" fmla="*/ 6100 w 9987"/>
                  <a:gd name="connsiteY8" fmla="*/ 3648 h 7655"/>
                  <a:gd name="connsiteX9" fmla="*/ 6280 w 9987"/>
                  <a:gd name="connsiteY9" fmla="*/ 3768 h 7655"/>
                  <a:gd name="connsiteX10" fmla="*/ 7954 w 9987"/>
                  <a:gd name="connsiteY10" fmla="*/ 5084 h 7655"/>
                  <a:gd name="connsiteX11" fmla="*/ 8134 w 9987"/>
                  <a:gd name="connsiteY11" fmla="*/ 5323 h 7655"/>
                  <a:gd name="connsiteX12" fmla="*/ 9988 w 9987"/>
                  <a:gd name="connsiteY12" fmla="*/ 7655 h 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7" h="7655">
                    <a:moveTo>
                      <a:pt x="0" y="0"/>
                    </a:moveTo>
                    <a:lnTo>
                      <a:pt x="957" y="419"/>
                    </a:lnTo>
                    <a:lnTo>
                      <a:pt x="2273" y="1017"/>
                    </a:lnTo>
                    <a:lnTo>
                      <a:pt x="2930" y="1316"/>
                    </a:lnTo>
                    <a:lnTo>
                      <a:pt x="3588" y="1794"/>
                    </a:lnTo>
                    <a:lnTo>
                      <a:pt x="3648" y="1794"/>
                    </a:lnTo>
                    <a:lnTo>
                      <a:pt x="3827" y="1974"/>
                    </a:lnTo>
                    <a:lnTo>
                      <a:pt x="5203" y="2990"/>
                    </a:lnTo>
                    <a:lnTo>
                      <a:pt x="6100" y="3648"/>
                    </a:lnTo>
                    <a:lnTo>
                      <a:pt x="6280" y="3768"/>
                    </a:lnTo>
                    <a:lnTo>
                      <a:pt x="7954" y="5084"/>
                    </a:lnTo>
                    <a:lnTo>
                      <a:pt x="8134" y="5323"/>
                    </a:lnTo>
                    <a:lnTo>
                      <a:pt x="9988" y="7655"/>
                    </a:lnTo>
                  </a:path>
                </a:pathLst>
              </a:custGeom>
              <a:noFill/>
              <a:ln w="6350" cap="rnd">
                <a:solidFill>
                  <a:schemeClr val="bg1">
                    <a:alpha val="80000"/>
                  </a:schemeClr>
                </a:solidFill>
                <a:prstDash val="solid"/>
                <a:round/>
              </a:ln>
            </p:spPr>
            <p:txBody>
              <a:bodyPr rtlCol="0" anchor="ctr"/>
              <a:lstStyle/>
              <a:p>
                <a:endParaRPr lang="en-GB"/>
              </a:p>
            </p:txBody>
          </p:sp>
          <p:sp>
            <p:nvSpPr>
              <p:cNvPr id="6871" name="Vrije vorm: vorm 6870">
                <a:extLst>
                  <a:ext uri="{FF2B5EF4-FFF2-40B4-BE49-F238E27FC236}">
                    <a16:creationId xmlns:a16="http://schemas.microsoft.com/office/drawing/2014/main" id="{9DBF85C2-80A1-4322-919D-6B51B70826EF}"/>
                  </a:ext>
                </a:extLst>
              </p:cNvPr>
              <p:cNvSpPr/>
              <p:nvPr/>
            </p:nvSpPr>
            <p:spPr>
              <a:xfrm>
                <a:off x="6894775" y="1821887"/>
                <a:ext cx="20334" cy="9329"/>
              </a:xfrm>
              <a:custGeom>
                <a:avLst/>
                <a:gdLst>
                  <a:gd name="connsiteX0" fmla="*/ 0 w 20334"/>
                  <a:gd name="connsiteY0" fmla="*/ 0 h 9329"/>
                  <a:gd name="connsiteX1" fmla="*/ 6878 w 20334"/>
                  <a:gd name="connsiteY1" fmla="*/ 3170 h 9329"/>
                  <a:gd name="connsiteX2" fmla="*/ 8553 w 20334"/>
                  <a:gd name="connsiteY2" fmla="*/ 3947 h 9329"/>
                  <a:gd name="connsiteX3" fmla="*/ 20335 w 20334"/>
                  <a:gd name="connsiteY3" fmla="*/ 9330 h 9329"/>
                </a:gdLst>
                <a:ahLst/>
                <a:cxnLst>
                  <a:cxn ang="0">
                    <a:pos x="connsiteX0" y="connsiteY0"/>
                  </a:cxn>
                  <a:cxn ang="0">
                    <a:pos x="connsiteX1" y="connsiteY1"/>
                  </a:cxn>
                  <a:cxn ang="0">
                    <a:pos x="connsiteX2" y="connsiteY2"/>
                  </a:cxn>
                  <a:cxn ang="0">
                    <a:pos x="connsiteX3" y="connsiteY3"/>
                  </a:cxn>
                </a:cxnLst>
                <a:rect l="l" t="t" r="r" b="b"/>
                <a:pathLst>
                  <a:path w="20334" h="9329">
                    <a:moveTo>
                      <a:pt x="0" y="0"/>
                    </a:moveTo>
                    <a:lnTo>
                      <a:pt x="6878" y="3170"/>
                    </a:lnTo>
                    <a:lnTo>
                      <a:pt x="8553" y="3947"/>
                    </a:lnTo>
                    <a:lnTo>
                      <a:pt x="20335" y="9330"/>
                    </a:lnTo>
                  </a:path>
                </a:pathLst>
              </a:custGeom>
              <a:noFill/>
              <a:ln w="6350" cap="rnd">
                <a:solidFill>
                  <a:schemeClr val="bg1">
                    <a:alpha val="80000"/>
                  </a:schemeClr>
                </a:solidFill>
                <a:prstDash val="solid"/>
                <a:round/>
              </a:ln>
            </p:spPr>
            <p:txBody>
              <a:bodyPr rtlCol="0" anchor="ctr"/>
              <a:lstStyle/>
              <a:p>
                <a:endParaRPr lang="en-GB"/>
              </a:p>
            </p:txBody>
          </p:sp>
          <p:sp>
            <p:nvSpPr>
              <p:cNvPr id="6872" name="Vrije vorm: vorm 6871">
                <a:extLst>
                  <a:ext uri="{FF2B5EF4-FFF2-40B4-BE49-F238E27FC236}">
                    <a16:creationId xmlns:a16="http://schemas.microsoft.com/office/drawing/2014/main" id="{DCB07A54-0A38-46DF-BE23-48F6FF14C895}"/>
                  </a:ext>
                </a:extLst>
              </p:cNvPr>
              <p:cNvSpPr/>
              <p:nvPr/>
            </p:nvSpPr>
            <p:spPr>
              <a:xfrm>
                <a:off x="6993457" y="1990544"/>
                <a:ext cx="16686" cy="4306"/>
              </a:xfrm>
              <a:custGeom>
                <a:avLst/>
                <a:gdLst>
                  <a:gd name="connsiteX0" fmla="*/ 16686 w 16686"/>
                  <a:gd name="connsiteY0" fmla="*/ 0 h 4306"/>
                  <a:gd name="connsiteX1" fmla="*/ 10107 w 16686"/>
                  <a:gd name="connsiteY1" fmla="*/ 1256 h 4306"/>
                  <a:gd name="connsiteX2" fmla="*/ 6998 w 16686"/>
                  <a:gd name="connsiteY2" fmla="*/ 1854 h 4306"/>
                  <a:gd name="connsiteX3" fmla="*/ 2213 w 16686"/>
                  <a:gd name="connsiteY3" fmla="*/ 3529 h 4306"/>
                  <a:gd name="connsiteX4" fmla="*/ 0 w 16686"/>
                  <a:gd name="connsiteY4" fmla="*/ 4306 h 4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6" h="4306">
                    <a:moveTo>
                      <a:pt x="16686" y="0"/>
                    </a:moveTo>
                    <a:lnTo>
                      <a:pt x="10107" y="1256"/>
                    </a:lnTo>
                    <a:lnTo>
                      <a:pt x="6998" y="1854"/>
                    </a:lnTo>
                    <a:lnTo>
                      <a:pt x="2213" y="3529"/>
                    </a:lnTo>
                    <a:lnTo>
                      <a:pt x="0" y="4306"/>
                    </a:lnTo>
                  </a:path>
                </a:pathLst>
              </a:custGeom>
              <a:noFill/>
              <a:ln w="6350" cap="rnd">
                <a:solidFill>
                  <a:schemeClr val="bg1">
                    <a:alpha val="80000"/>
                  </a:schemeClr>
                </a:solidFill>
                <a:prstDash val="solid"/>
                <a:round/>
              </a:ln>
            </p:spPr>
            <p:txBody>
              <a:bodyPr rtlCol="0" anchor="ctr"/>
              <a:lstStyle/>
              <a:p>
                <a:endParaRPr lang="en-GB"/>
              </a:p>
            </p:txBody>
          </p:sp>
          <p:sp>
            <p:nvSpPr>
              <p:cNvPr id="6873" name="Vrije vorm: vorm 6872">
                <a:extLst>
                  <a:ext uri="{FF2B5EF4-FFF2-40B4-BE49-F238E27FC236}">
                    <a16:creationId xmlns:a16="http://schemas.microsoft.com/office/drawing/2014/main" id="{083F7F29-A658-465D-8574-EE7952444DC8}"/>
                  </a:ext>
                </a:extLst>
              </p:cNvPr>
              <p:cNvSpPr/>
              <p:nvPr/>
            </p:nvSpPr>
            <p:spPr>
              <a:xfrm>
                <a:off x="6952429" y="1912914"/>
                <a:ext cx="6040" cy="8373"/>
              </a:xfrm>
              <a:custGeom>
                <a:avLst/>
                <a:gdLst>
                  <a:gd name="connsiteX0" fmla="*/ 0 w 6040"/>
                  <a:gd name="connsiteY0" fmla="*/ 8373 h 8373"/>
                  <a:gd name="connsiteX1" fmla="*/ 1256 w 6040"/>
                  <a:gd name="connsiteY1" fmla="*/ 6519 h 8373"/>
                  <a:gd name="connsiteX2" fmla="*/ 1555 w 6040"/>
                  <a:gd name="connsiteY2" fmla="*/ 6100 h 8373"/>
                  <a:gd name="connsiteX3" fmla="*/ 1675 w 6040"/>
                  <a:gd name="connsiteY3" fmla="*/ 5921 h 8373"/>
                  <a:gd name="connsiteX4" fmla="*/ 2273 w 6040"/>
                  <a:gd name="connsiteY4" fmla="*/ 5084 h 8373"/>
                  <a:gd name="connsiteX5" fmla="*/ 2392 w 6040"/>
                  <a:gd name="connsiteY5" fmla="*/ 4904 h 8373"/>
                  <a:gd name="connsiteX6" fmla="*/ 2691 w 6040"/>
                  <a:gd name="connsiteY6" fmla="*/ 4486 h 8373"/>
                  <a:gd name="connsiteX7" fmla="*/ 6041 w 6040"/>
                  <a:gd name="connsiteY7" fmla="*/ 0 h 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0" h="8373">
                    <a:moveTo>
                      <a:pt x="0" y="8373"/>
                    </a:moveTo>
                    <a:lnTo>
                      <a:pt x="1256" y="6519"/>
                    </a:lnTo>
                    <a:lnTo>
                      <a:pt x="1555" y="6100"/>
                    </a:lnTo>
                    <a:lnTo>
                      <a:pt x="1675" y="5921"/>
                    </a:lnTo>
                    <a:lnTo>
                      <a:pt x="2273" y="5084"/>
                    </a:lnTo>
                    <a:lnTo>
                      <a:pt x="2392" y="4904"/>
                    </a:lnTo>
                    <a:lnTo>
                      <a:pt x="2691" y="4486"/>
                    </a:lnTo>
                    <a:lnTo>
                      <a:pt x="6041" y="0"/>
                    </a:lnTo>
                  </a:path>
                </a:pathLst>
              </a:custGeom>
              <a:noFill/>
              <a:ln w="6350" cap="rnd">
                <a:solidFill>
                  <a:schemeClr val="bg1">
                    <a:alpha val="80000"/>
                  </a:schemeClr>
                </a:solidFill>
                <a:prstDash val="solid"/>
                <a:round/>
              </a:ln>
            </p:spPr>
            <p:txBody>
              <a:bodyPr rtlCol="0" anchor="ctr"/>
              <a:lstStyle/>
              <a:p>
                <a:endParaRPr lang="en-GB"/>
              </a:p>
            </p:txBody>
          </p:sp>
          <p:sp>
            <p:nvSpPr>
              <p:cNvPr id="6874" name="Vrije vorm: vorm 6873">
                <a:extLst>
                  <a:ext uri="{FF2B5EF4-FFF2-40B4-BE49-F238E27FC236}">
                    <a16:creationId xmlns:a16="http://schemas.microsoft.com/office/drawing/2014/main" id="{C7186BE6-0E47-4601-A246-40BBE726DA62}"/>
                  </a:ext>
                </a:extLst>
              </p:cNvPr>
              <p:cNvSpPr/>
              <p:nvPr/>
            </p:nvSpPr>
            <p:spPr>
              <a:xfrm>
                <a:off x="6612665" y="1944911"/>
                <a:ext cx="4246" cy="5203"/>
              </a:xfrm>
              <a:custGeom>
                <a:avLst/>
                <a:gdLst>
                  <a:gd name="connsiteX0" fmla="*/ 0 w 4246"/>
                  <a:gd name="connsiteY0" fmla="*/ 0 h 5203"/>
                  <a:gd name="connsiteX1" fmla="*/ 778 w 4246"/>
                  <a:gd name="connsiteY1" fmla="*/ 1017 h 5203"/>
                  <a:gd name="connsiteX2" fmla="*/ 2572 w 4246"/>
                  <a:gd name="connsiteY2" fmla="*/ 3469 h 5203"/>
                  <a:gd name="connsiteX3" fmla="*/ 4246 w 4246"/>
                  <a:gd name="connsiteY3" fmla="*/ 5203 h 5203"/>
                </a:gdLst>
                <a:ahLst/>
                <a:cxnLst>
                  <a:cxn ang="0">
                    <a:pos x="connsiteX0" y="connsiteY0"/>
                  </a:cxn>
                  <a:cxn ang="0">
                    <a:pos x="connsiteX1" y="connsiteY1"/>
                  </a:cxn>
                  <a:cxn ang="0">
                    <a:pos x="connsiteX2" y="connsiteY2"/>
                  </a:cxn>
                  <a:cxn ang="0">
                    <a:pos x="connsiteX3" y="connsiteY3"/>
                  </a:cxn>
                </a:cxnLst>
                <a:rect l="l" t="t" r="r" b="b"/>
                <a:pathLst>
                  <a:path w="4246" h="5203">
                    <a:moveTo>
                      <a:pt x="0" y="0"/>
                    </a:moveTo>
                    <a:lnTo>
                      <a:pt x="778" y="1017"/>
                    </a:lnTo>
                    <a:lnTo>
                      <a:pt x="2572" y="3469"/>
                    </a:lnTo>
                    <a:lnTo>
                      <a:pt x="4246" y="5203"/>
                    </a:lnTo>
                  </a:path>
                </a:pathLst>
              </a:custGeom>
              <a:noFill/>
              <a:ln w="6350" cap="rnd">
                <a:solidFill>
                  <a:schemeClr val="bg1">
                    <a:alpha val="80000"/>
                  </a:schemeClr>
                </a:solidFill>
                <a:prstDash val="solid"/>
                <a:round/>
              </a:ln>
            </p:spPr>
            <p:txBody>
              <a:bodyPr rtlCol="0" anchor="ctr"/>
              <a:lstStyle/>
              <a:p>
                <a:endParaRPr lang="en-GB"/>
              </a:p>
            </p:txBody>
          </p:sp>
          <p:sp>
            <p:nvSpPr>
              <p:cNvPr id="6875" name="Vrije vorm: vorm 6874">
                <a:extLst>
                  <a:ext uri="{FF2B5EF4-FFF2-40B4-BE49-F238E27FC236}">
                    <a16:creationId xmlns:a16="http://schemas.microsoft.com/office/drawing/2014/main" id="{CB76925B-A42C-44DA-B878-21437BB63A23}"/>
                  </a:ext>
                </a:extLst>
              </p:cNvPr>
              <p:cNvSpPr/>
              <p:nvPr/>
            </p:nvSpPr>
            <p:spPr>
              <a:xfrm>
                <a:off x="6815351" y="2047720"/>
                <a:ext cx="3528" cy="3648"/>
              </a:xfrm>
              <a:custGeom>
                <a:avLst/>
                <a:gdLst>
                  <a:gd name="connsiteX0" fmla="*/ 3529 w 3528"/>
                  <a:gd name="connsiteY0" fmla="*/ 0 h 3648"/>
                  <a:gd name="connsiteX1" fmla="*/ 2213 w 3528"/>
                  <a:gd name="connsiteY1" fmla="*/ 2093 h 3648"/>
                  <a:gd name="connsiteX2" fmla="*/ 0 w 3528"/>
                  <a:gd name="connsiteY2" fmla="*/ 3648 h 3648"/>
                </a:gdLst>
                <a:ahLst/>
                <a:cxnLst>
                  <a:cxn ang="0">
                    <a:pos x="connsiteX0" y="connsiteY0"/>
                  </a:cxn>
                  <a:cxn ang="0">
                    <a:pos x="connsiteX1" y="connsiteY1"/>
                  </a:cxn>
                  <a:cxn ang="0">
                    <a:pos x="connsiteX2" y="connsiteY2"/>
                  </a:cxn>
                </a:cxnLst>
                <a:rect l="l" t="t" r="r" b="b"/>
                <a:pathLst>
                  <a:path w="3528" h="3648">
                    <a:moveTo>
                      <a:pt x="3529" y="0"/>
                    </a:moveTo>
                    <a:lnTo>
                      <a:pt x="2213" y="2093"/>
                    </a:lnTo>
                    <a:lnTo>
                      <a:pt x="0" y="3648"/>
                    </a:lnTo>
                  </a:path>
                </a:pathLst>
              </a:custGeom>
              <a:noFill/>
              <a:ln w="6350" cap="rnd">
                <a:solidFill>
                  <a:schemeClr val="bg1">
                    <a:alpha val="80000"/>
                  </a:schemeClr>
                </a:solidFill>
                <a:prstDash val="solid"/>
                <a:round/>
              </a:ln>
            </p:spPr>
            <p:txBody>
              <a:bodyPr rtlCol="0" anchor="ctr"/>
              <a:lstStyle/>
              <a:p>
                <a:endParaRPr lang="en-GB"/>
              </a:p>
            </p:txBody>
          </p:sp>
          <p:sp>
            <p:nvSpPr>
              <p:cNvPr id="6876" name="Vrije vorm: vorm 6875">
                <a:extLst>
                  <a:ext uri="{FF2B5EF4-FFF2-40B4-BE49-F238E27FC236}">
                    <a16:creationId xmlns:a16="http://schemas.microsoft.com/office/drawing/2014/main" id="{681EF432-3F72-4CBF-AE57-DE83048BF8F1}"/>
                  </a:ext>
                </a:extLst>
              </p:cNvPr>
              <p:cNvSpPr/>
              <p:nvPr/>
            </p:nvSpPr>
            <p:spPr>
              <a:xfrm>
                <a:off x="6964032" y="1947602"/>
                <a:ext cx="23863" cy="38097"/>
              </a:xfrm>
              <a:custGeom>
                <a:avLst/>
                <a:gdLst>
                  <a:gd name="connsiteX0" fmla="*/ 0 w 23863"/>
                  <a:gd name="connsiteY0" fmla="*/ 0 h 38097"/>
                  <a:gd name="connsiteX1" fmla="*/ 2273 w 23863"/>
                  <a:gd name="connsiteY1" fmla="*/ 2811 h 38097"/>
                  <a:gd name="connsiteX2" fmla="*/ 5503 w 23863"/>
                  <a:gd name="connsiteY2" fmla="*/ 6818 h 38097"/>
                  <a:gd name="connsiteX3" fmla="*/ 7835 w 23863"/>
                  <a:gd name="connsiteY3" fmla="*/ 9749 h 38097"/>
                  <a:gd name="connsiteX4" fmla="*/ 8253 w 23863"/>
                  <a:gd name="connsiteY4" fmla="*/ 10287 h 38097"/>
                  <a:gd name="connsiteX5" fmla="*/ 8553 w 23863"/>
                  <a:gd name="connsiteY5" fmla="*/ 10705 h 38097"/>
                  <a:gd name="connsiteX6" fmla="*/ 8672 w 23863"/>
                  <a:gd name="connsiteY6" fmla="*/ 10825 h 38097"/>
                  <a:gd name="connsiteX7" fmla="*/ 8732 w 23863"/>
                  <a:gd name="connsiteY7" fmla="*/ 10885 h 38097"/>
                  <a:gd name="connsiteX8" fmla="*/ 9808 w 23863"/>
                  <a:gd name="connsiteY8" fmla="*/ 12201 h 38097"/>
                  <a:gd name="connsiteX9" fmla="*/ 10586 w 23863"/>
                  <a:gd name="connsiteY9" fmla="*/ 13217 h 38097"/>
                  <a:gd name="connsiteX10" fmla="*/ 10766 w 23863"/>
                  <a:gd name="connsiteY10" fmla="*/ 13397 h 38097"/>
                  <a:gd name="connsiteX11" fmla="*/ 19377 w 23863"/>
                  <a:gd name="connsiteY11" fmla="*/ 24102 h 38097"/>
                  <a:gd name="connsiteX12" fmla="*/ 21411 w 23863"/>
                  <a:gd name="connsiteY12" fmla="*/ 26614 h 38097"/>
                  <a:gd name="connsiteX13" fmla="*/ 23325 w 23863"/>
                  <a:gd name="connsiteY13" fmla="*/ 29007 h 38097"/>
                  <a:gd name="connsiteX14" fmla="*/ 23863 w 23863"/>
                  <a:gd name="connsiteY14" fmla="*/ 29664 h 38097"/>
                  <a:gd name="connsiteX15" fmla="*/ 23205 w 23863"/>
                  <a:gd name="connsiteY15" fmla="*/ 31399 h 38097"/>
                  <a:gd name="connsiteX16" fmla="*/ 22847 w 23863"/>
                  <a:gd name="connsiteY16" fmla="*/ 32236 h 38097"/>
                  <a:gd name="connsiteX17" fmla="*/ 22727 w 23863"/>
                  <a:gd name="connsiteY17" fmla="*/ 32535 h 38097"/>
                  <a:gd name="connsiteX18" fmla="*/ 20514 w 23863"/>
                  <a:gd name="connsiteY18" fmla="*/ 38097 h 3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863" h="38097">
                    <a:moveTo>
                      <a:pt x="0" y="0"/>
                    </a:moveTo>
                    <a:lnTo>
                      <a:pt x="2273" y="2811"/>
                    </a:lnTo>
                    <a:lnTo>
                      <a:pt x="5503" y="6818"/>
                    </a:lnTo>
                    <a:lnTo>
                      <a:pt x="7835" y="9749"/>
                    </a:lnTo>
                    <a:lnTo>
                      <a:pt x="8253" y="10287"/>
                    </a:lnTo>
                    <a:lnTo>
                      <a:pt x="8553" y="10705"/>
                    </a:lnTo>
                    <a:lnTo>
                      <a:pt x="8672" y="10825"/>
                    </a:lnTo>
                    <a:lnTo>
                      <a:pt x="8732" y="10885"/>
                    </a:lnTo>
                    <a:lnTo>
                      <a:pt x="9808" y="12201"/>
                    </a:lnTo>
                    <a:lnTo>
                      <a:pt x="10586" y="13217"/>
                    </a:lnTo>
                    <a:lnTo>
                      <a:pt x="10766" y="13397"/>
                    </a:lnTo>
                    <a:lnTo>
                      <a:pt x="19377" y="24102"/>
                    </a:lnTo>
                    <a:lnTo>
                      <a:pt x="21411" y="26614"/>
                    </a:lnTo>
                    <a:lnTo>
                      <a:pt x="23325" y="29007"/>
                    </a:lnTo>
                    <a:lnTo>
                      <a:pt x="23863" y="29664"/>
                    </a:lnTo>
                    <a:lnTo>
                      <a:pt x="23205" y="31399"/>
                    </a:lnTo>
                    <a:lnTo>
                      <a:pt x="22847" y="32236"/>
                    </a:lnTo>
                    <a:lnTo>
                      <a:pt x="22727" y="32535"/>
                    </a:lnTo>
                    <a:lnTo>
                      <a:pt x="20514" y="38097"/>
                    </a:lnTo>
                  </a:path>
                </a:pathLst>
              </a:custGeom>
              <a:noFill/>
              <a:ln w="6350" cap="rnd">
                <a:solidFill>
                  <a:schemeClr val="bg1">
                    <a:alpha val="80000"/>
                  </a:schemeClr>
                </a:solidFill>
                <a:prstDash val="solid"/>
                <a:round/>
              </a:ln>
            </p:spPr>
            <p:txBody>
              <a:bodyPr rtlCol="0" anchor="ctr"/>
              <a:lstStyle/>
              <a:p>
                <a:endParaRPr lang="en-GB"/>
              </a:p>
            </p:txBody>
          </p:sp>
          <p:sp>
            <p:nvSpPr>
              <p:cNvPr id="6877" name="Vrije vorm: vorm 6876">
                <a:extLst>
                  <a:ext uri="{FF2B5EF4-FFF2-40B4-BE49-F238E27FC236}">
                    <a16:creationId xmlns:a16="http://schemas.microsoft.com/office/drawing/2014/main" id="{0206C5A3-060F-4ED9-8BF5-DB413D771DB5}"/>
                  </a:ext>
                </a:extLst>
              </p:cNvPr>
              <p:cNvSpPr/>
              <p:nvPr/>
            </p:nvSpPr>
            <p:spPr>
              <a:xfrm>
                <a:off x="6677615" y="1918416"/>
                <a:ext cx="25358" cy="17523"/>
              </a:xfrm>
              <a:custGeom>
                <a:avLst/>
                <a:gdLst>
                  <a:gd name="connsiteX0" fmla="*/ 0 w 25358"/>
                  <a:gd name="connsiteY0" fmla="*/ 0 h 17523"/>
                  <a:gd name="connsiteX1" fmla="*/ 658 w 25358"/>
                  <a:gd name="connsiteY1" fmla="*/ 598 h 17523"/>
                  <a:gd name="connsiteX2" fmla="*/ 6220 w 25358"/>
                  <a:gd name="connsiteY2" fmla="*/ 4366 h 17523"/>
                  <a:gd name="connsiteX3" fmla="*/ 15072 w 25358"/>
                  <a:gd name="connsiteY3" fmla="*/ 10406 h 17523"/>
                  <a:gd name="connsiteX4" fmla="*/ 16567 w 25358"/>
                  <a:gd name="connsiteY4" fmla="*/ 11423 h 17523"/>
                  <a:gd name="connsiteX5" fmla="*/ 17165 w 25358"/>
                  <a:gd name="connsiteY5" fmla="*/ 11842 h 17523"/>
                  <a:gd name="connsiteX6" fmla="*/ 19138 w 25358"/>
                  <a:gd name="connsiteY6" fmla="*/ 13217 h 17523"/>
                  <a:gd name="connsiteX7" fmla="*/ 24760 w 25358"/>
                  <a:gd name="connsiteY7" fmla="*/ 17105 h 17523"/>
                  <a:gd name="connsiteX8" fmla="*/ 24880 w 25358"/>
                  <a:gd name="connsiteY8" fmla="*/ 17225 h 17523"/>
                  <a:gd name="connsiteX9" fmla="*/ 24880 w 25358"/>
                  <a:gd name="connsiteY9" fmla="*/ 17225 h 17523"/>
                  <a:gd name="connsiteX10" fmla="*/ 25358 w 25358"/>
                  <a:gd name="connsiteY10" fmla="*/ 17524 h 1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58" h="17523">
                    <a:moveTo>
                      <a:pt x="0" y="0"/>
                    </a:moveTo>
                    <a:lnTo>
                      <a:pt x="658" y="598"/>
                    </a:lnTo>
                    <a:lnTo>
                      <a:pt x="6220" y="4366"/>
                    </a:lnTo>
                    <a:lnTo>
                      <a:pt x="15072" y="10406"/>
                    </a:lnTo>
                    <a:lnTo>
                      <a:pt x="16567" y="11423"/>
                    </a:lnTo>
                    <a:lnTo>
                      <a:pt x="17165" y="11842"/>
                    </a:lnTo>
                    <a:lnTo>
                      <a:pt x="19138" y="13217"/>
                    </a:lnTo>
                    <a:lnTo>
                      <a:pt x="24760" y="17105"/>
                    </a:lnTo>
                    <a:lnTo>
                      <a:pt x="24880" y="17225"/>
                    </a:lnTo>
                    <a:lnTo>
                      <a:pt x="24880" y="17225"/>
                    </a:lnTo>
                    <a:lnTo>
                      <a:pt x="25358" y="17524"/>
                    </a:lnTo>
                  </a:path>
                </a:pathLst>
              </a:custGeom>
              <a:noFill/>
              <a:ln w="6350" cap="rnd">
                <a:solidFill>
                  <a:schemeClr val="bg1">
                    <a:alpha val="80000"/>
                  </a:schemeClr>
                </a:solidFill>
                <a:prstDash val="solid"/>
                <a:round/>
              </a:ln>
            </p:spPr>
            <p:txBody>
              <a:bodyPr rtlCol="0" anchor="ctr"/>
              <a:lstStyle/>
              <a:p>
                <a:endParaRPr lang="en-GB"/>
              </a:p>
            </p:txBody>
          </p:sp>
          <p:sp>
            <p:nvSpPr>
              <p:cNvPr id="6878" name="Vrije vorm: vorm 6877">
                <a:extLst>
                  <a:ext uri="{FF2B5EF4-FFF2-40B4-BE49-F238E27FC236}">
                    <a16:creationId xmlns:a16="http://schemas.microsoft.com/office/drawing/2014/main" id="{1175B3AC-B25D-446E-879D-EED4F58FCBB2}"/>
                  </a:ext>
                </a:extLst>
              </p:cNvPr>
              <p:cNvSpPr/>
              <p:nvPr/>
            </p:nvSpPr>
            <p:spPr>
              <a:xfrm>
                <a:off x="6750460" y="1907651"/>
                <a:ext cx="358" cy="478"/>
              </a:xfrm>
              <a:custGeom>
                <a:avLst/>
                <a:gdLst>
                  <a:gd name="connsiteX0" fmla="*/ 359 w 358"/>
                  <a:gd name="connsiteY0" fmla="*/ 0 h 478"/>
                  <a:gd name="connsiteX1" fmla="*/ 0 w 358"/>
                  <a:gd name="connsiteY1" fmla="*/ 478 h 478"/>
                </a:gdLst>
                <a:ahLst/>
                <a:cxnLst>
                  <a:cxn ang="0">
                    <a:pos x="connsiteX0" y="connsiteY0"/>
                  </a:cxn>
                  <a:cxn ang="0">
                    <a:pos x="connsiteX1" y="connsiteY1"/>
                  </a:cxn>
                </a:cxnLst>
                <a:rect l="l" t="t" r="r" b="b"/>
                <a:pathLst>
                  <a:path w="358" h="478">
                    <a:moveTo>
                      <a:pt x="359" y="0"/>
                    </a:moveTo>
                    <a:lnTo>
                      <a:pt x="0" y="478"/>
                    </a:lnTo>
                  </a:path>
                </a:pathLst>
              </a:custGeom>
              <a:noFill/>
              <a:ln w="6350" cap="rnd">
                <a:solidFill>
                  <a:schemeClr val="bg1">
                    <a:alpha val="80000"/>
                  </a:schemeClr>
                </a:solidFill>
                <a:prstDash val="solid"/>
                <a:round/>
              </a:ln>
            </p:spPr>
            <p:txBody>
              <a:bodyPr rtlCol="0" anchor="ctr"/>
              <a:lstStyle/>
              <a:p>
                <a:endParaRPr lang="en-GB"/>
              </a:p>
            </p:txBody>
          </p:sp>
          <p:sp>
            <p:nvSpPr>
              <p:cNvPr id="6879" name="Vrije vorm: vorm 6878">
                <a:extLst>
                  <a:ext uri="{FF2B5EF4-FFF2-40B4-BE49-F238E27FC236}">
                    <a16:creationId xmlns:a16="http://schemas.microsoft.com/office/drawing/2014/main" id="{57EF485A-8A8B-44B7-BB59-E36733A6AFB1}"/>
                  </a:ext>
                </a:extLst>
              </p:cNvPr>
              <p:cNvSpPr/>
              <p:nvPr/>
            </p:nvSpPr>
            <p:spPr>
              <a:xfrm>
                <a:off x="6703153" y="1889470"/>
                <a:ext cx="538" cy="299"/>
              </a:xfrm>
              <a:custGeom>
                <a:avLst/>
                <a:gdLst>
                  <a:gd name="connsiteX0" fmla="*/ 0 w 538"/>
                  <a:gd name="connsiteY0" fmla="*/ 0 h 299"/>
                  <a:gd name="connsiteX1" fmla="*/ 538 w 538"/>
                  <a:gd name="connsiteY1" fmla="*/ 299 h 299"/>
                </a:gdLst>
                <a:ahLst/>
                <a:cxnLst>
                  <a:cxn ang="0">
                    <a:pos x="connsiteX0" y="connsiteY0"/>
                  </a:cxn>
                  <a:cxn ang="0">
                    <a:pos x="connsiteX1" y="connsiteY1"/>
                  </a:cxn>
                </a:cxnLst>
                <a:rect l="l" t="t" r="r" b="b"/>
                <a:pathLst>
                  <a:path w="538" h="299">
                    <a:moveTo>
                      <a:pt x="0" y="0"/>
                    </a:moveTo>
                    <a:lnTo>
                      <a:pt x="538" y="299"/>
                    </a:lnTo>
                  </a:path>
                </a:pathLst>
              </a:custGeom>
              <a:noFill/>
              <a:ln w="6350" cap="rnd">
                <a:solidFill>
                  <a:schemeClr val="bg1">
                    <a:alpha val="80000"/>
                  </a:schemeClr>
                </a:solidFill>
                <a:prstDash val="solid"/>
                <a:round/>
              </a:ln>
            </p:spPr>
            <p:txBody>
              <a:bodyPr rtlCol="0" anchor="ctr"/>
              <a:lstStyle/>
              <a:p>
                <a:endParaRPr lang="en-GB"/>
              </a:p>
            </p:txBody>
          </p:sp>
          <p:sp>
            <p:nvSpPr>
              <p:cNvPr id="6880" name="Vrije vorm: vorm 6879">
                <a:extLst>
                  <a:ext uri="{FF2B5EF4-FFF2-40B4-BE49-F238E27FC236}">
                    <a16:creationId xmlns:a16="http://schemas.microsoft.com/office/drawing/2014/main" id="{DD205610-131C-4CDC-9221-FB8DCFABD87D}"/>
                  </a:ext>
                </a:extLst>
              </p:cNvPr>
              <p:cNvSpPr/>
              <p:nvPr/>
            </p:nvSpPr>
            <p:spPr>
              <a:xfrm>
                <a:off x="6723906" y="1859985"/>
                <a:ext cx="18300" cy="34329"/>
              </a:xfrm>
              <a:custGeom>
                <a:avLst/>
                <a:gdLst>
                  <a:gd name="connsiteX0" fmla="*/ 18301 w 18300"/>
                  <a:gd name="connsiteY0" fmla="*/ 0 h 34329"/>
                  <a:gd name="connsiteX1" fmla="*/ 18181 w 18300"/>
                  <a:gd name="connsiteY1" fmla="*/ 179 h 34329"/>
                  <a:gd name="connsiteX2" fmla="*/ 15909 w 18300"/>
                  <a:gd name="connsiteY2" fmla="*/ 4426 h 34329"/>
                  <a:gd name="connsiteX3" fmla="*/ 14593 w 18300"/>
                  <a:gd name="connsiteY3" fmla="*/ 6938 h 34329"/>
                  <a:gd name="connsiteX4" fmla="*/ 10586 w 18300"/>
                  <a:gd name="connsiteY4" fmla="*/ 14473 h 34329"/>
                  <a:gd name="connsiteX5" fmla="*/ 8074 w 18300"/>
                  <a:gd name="connsiteY5" fmla="*/ 19198 h 34329"/>
                  <a:gd name="connsiteX6" fmla="*/ 6459 w 18300"/>
                  <a:gd name="connsiteY6" fmla="*/ 22248 h 34329"/>
                  <a:gd name="connsiteX7" fmla="*/ 4007 w 18300"/>
                  <a:gd name="connsiteY7" fmla="*/ 26794 h 34329"/>
                  <a:gd name="connsiteX8" fmla="*/ 1974 w 18300"/>
                  <a:gd name="connsiteY8" fmla="*/ 30621 h 34329"/>
                  <a:gd name="connsiteX9" fmla="*/ 598 w 18300"/>
                  <a:gd name="connsiteY9" fmla="*/ 33193 h 34329"/>
                  <a:gd name="connsiteX10" fmla="*/ 538 w 18300"/>
                  <a:gd name="connsiteY10" fmla="*/ 33313 h 34329"/>
                  <a:gd name="connsiteX11" fmla="*/ 0 w 18300"/>
                  <a:gd name="connsiteY11" fmla="*/ 34329 h 34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00" h="34329">
                    <a:moveTo>
                      <a:pt x="18301" y="0"/>
                    </a:moveTo>
                    <a:lnTo>
                      <a:pt x="18181" y="179"/>
                    </a:lnTo>
                    <a:lnTo>
                      <a:pt x="15909" y="4426"/>
                    </a:lnTo>
                    <a:lnTo>
                      <a:pt x="14593" y="6938"/>
                    </a:lnTo>
                    <a:lnTo>
                      <a:pt x="10586" y="14473"/>
                    </a:lnTo>
                    <a:lnTo>
                      <a:pt x="8074" y="19198"/>
                    </a:lnTo>
                    <a:lnTo>
                      <a:pt x="6459" y="22248"/>
                    </a:lnTo>
                    <a:lnTo>
                      <a:pt x="4007" y="26794"/>
                    </a:lnTo>
                    <a:lnTo>
                      <a:pt x="1974" y="30621"/>
                    </a:lnTo>
                    <a:lnTo>
                      <a:pt x="598" y="33193"/>
                    </a:lnTo>
                    <a:lnTo>
                      <a:pt x="538" y="33313"/>
                    </a:lnTo>
                    <a:lnTo>
                      <a:pt x="0" y="34329"/>
                    </a:lnTo>
                  </a:path>
                </a:pathLst>
              </a:custGeom>
              <a:noFill/>
              <a:ln w="6350" cap="rnd">
                <a:solidFill>
                  <a:schemeClr val="bg1">
                    <a:alpha val="80000"/>
                  </a:schemeClr>
                </a:solidFill>
                <a:prstDash val="solid"/>
                <a:round/>
              </a:ln>
            </p:spPr>
            <p:txBody>
              <a:bodyPr rtlCol="0" anchor="ctr"/>
              <a:lstStyle/>
              <a:p>
                <a:endParaRPr lang="en-GB"/>
              </a:p>
            </p:txBody>
          </p:sp>
          <p:sp>
            <p:nvSpPr>
              <p:cNvPr id="6881" name="Vrije vorm: vorm 6880">
                <a:extLst>
                  <a:ext uri="{FF2B5EF4-FFF2-40B4-BE49-F238E27FC236}">
                    <a16:creationId xmlns:a16="http://schemas.microsoft.com/office/drawing/2014/main" id="{AD8CAA7F-1555-471A-AFD1-04CF3947720E}"/>
                  </a:ext>
                </a:extLst>
              </p:cNvPr>
              <p:cNvSpPr/>
              <p:nvPr/>
            </p:nvSpPr>
            <p:spPr>
              <a:xfrm>
                <a:off x="6693046" y="1877508"/>
                <a:ext cx="13516" cy="9389"/>
              </a:xfrm>
              <a:custGeom>
                <a:avLst/>
                <a:gdLst>
                  <a:gd name="connsiteX0" fmla="*/ 0 w 13516"/>
                  <a:gd name="connsiteY0" fmla="*/ 0 h 9389"/>
                  <a:gd name="connsiteX1" fmla="*/ 837 w 13516"/>
                  <a:gd name="connsiteY1" fmla="*/ 538 h 9389"/>
                  <a:gd name="connsiteX2" fmla="*/ 7356 w 13516"/>
                  <a:gd name="connsiteY2" fmla="*/ 4785 h 9389"/>
                  <a:gd name="connsiteX3" fmla="*/ 7356 w 13516"/>
                  <a:gd name="connsiteY3" fmla="*/ 4785 h 9389"/>
                  <a:gd name="connsiteX4" fmla="*/ 8732 w 13516"/>
                  <a:gd name="connsiteY4" fmla="*/ 5682 h 9389"/>
                  <a:gd name="connsiteX5" fmla="*/ 11244 w 13516"/>
                  <a:gd name="connsiteY5" fmla="*/ 7296 h 9389"/>
                  <a:gd name="connsiteX6" fmla="*/ 13038 w 13516"/>
                  <a:gd name="connsiteY6" fmla="*/ 8433 h 9389"/>
                  <a:gd name="connsiteX7" fmla="*/ 13516 w 13516"/>
                  <a:gd name="connsiteY7" fmla="*/ 9390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16" h="9389">
                    <a:moveTo>
                      <a:pt x="0" y="0"/>
                    </a:moveTo>
                    <a:lnTo>
                      <a:pt x="837" y="538"/>
                    </a:lnTo>
                    <a:lnTo>
                      <a:pt x="7356" y="4785"/>
                    </a:lnTo>
                    <a:lnTo>
                      <a:pt x="7356" y="4785"/>
                    </a:lnTo>
                    <a:lnTo>
                      <a:pt x="8732" y="5682"/>
                    </a:lnTo>
                    <a:lnTo>
                      <a:pt x="11244" y="7296"/>
                    </a:lnTo>
                    <a:lnTo>
                      <a:pt x="13038" y="8433"/>
                    </a:lnTo>
                    <a:lnTo>
                      <a:pt x="13516" y="9390"/>
                    </a:lnTo>
                  </a:path>
                </a:pathLst>
              </a:custGeom>
              <a:noFill/>
              <a:ln w="6350" cap="rnd">
                <a:solidFill>
                  <a:schemeClr val="bg1">
                    <a:alpha val="80000"/>
                  </a:schemeClr>
                </a:solidFill>
                <a:prstDash val="solid"/>
                <a:round/>
              </a:ln>
            </p:spPr>
            <p:txBody>
              <a:bodyPr rtlCol="0" anchor="ctr"/>
              <a:lstStyle/>
              <a:p>
                <a:endParaRPr lang="en-GB"/>
              </a:p>
            </p:txBody>
          </p:sp>
          <p:sp>
            <p:nvSpPr>
              <p:cNvPr id="6882" name="Vrije vorm: vorm 6881">
                <a:extLst>
                  <a:ext uri="{FF2B5EF4-FFF2-40B4-BE49-F238E27FC236}">
                    <a16:creationId xmlns:a16="http://schemas.microsoft.com/office/drawing/2014/main" id="{B483A83D-011A-4730-BCB2-D5356C857461}"/>
                  </a:ext>
                </a:extLst>
              </p:cNvPr>
              <p:cNvSpPr/>
              <p:nvPr/>
            </p:nvSpPr>
            <p:spPr>
              <a:xfrm>
                <a:off x="6769240" y="1982410"/>
                <a:ext cx="2870" cy="4844"/>
              </a:xfrm>
              <a:custGeom>
                <a:avLst/>
                <a:gdLst>
                  <a:gd name="connsiteX0" fmla="*/ 1375 w 2870"/>
                  <a:gd name="connsiteY0" fmla="*/ 0 h 4844"/>
                  <a:gd name="connsiteX1" fmla="*/ 1375 w 2870"/>
                  <a:gd name="connsiteY1" fmla="*/ 0 h 4844"/>
                  <a:gd name="connsiteX2" fmla="*/ 1734 w 2870"/>
                  <a:gd name="connsiteY2" fmla="*/ 179 h 4844"/>
                  <a:gd name="connsiteX3" fmla="*/ 2871 w 2870"/>
                  <a:gd name="connsiteY3" fmla="*/ 658 h 4844"/>
                  <a:gd name="connsiteX4" fmla="*/ 2691 w 2870"/>
                  <a:gd name="connsiteY4" fmla="*/ 1136 h 4844"/>
                  <a:gd name="connsiteX5" fmla="*/ 2392 w 2870"/>
                  <a:gd name="connsiteY5" fmla="*/ 1854 h 4844"/>
                  <a:gd name="connsiteX6" fmla="*/ 2153 w 2870"/>
                  <a:gd name="connsiteY6" fmla="*/ 2392 h 4844"/>
                  <a:gd name="connsiteX7" fmla="*/ 1495 w 2870"/>
                  <a:gd name="connsiteY7" fmla="*/ 3947 h 4844"/>
                  <a:gd name="connsiteX8" fmla="*/ 1495 w 2870"/>
                  <a:gd name="connsiteY8" fmla="*/ 3947 h 4844"/>
                  <a:gd name="connsiteX9" fmla="*/ 1076 w 2870"/>
                  <a:gd name="connsiteY9" fmla="*/ 4844 h 4844"/>
                  <a:gd name="connsiteX10" fmla="*/ 478 w 2870"/>
                  <a:gd name="connsiteY10" fmla="*/ 4605 h 4844"/>
                  <a:gd name="connsiteX11" fmla="*/ 0 w 2870"/>
                  <a:gd name="connsiteY11" fmla="*/ 4426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70" h="4844">
                    <a:moveTo>
                      <a:pt x="1375" y="0"/>
                    </a:moveTo>
                    <a:lnTo>
                      <a:pt x="1375" y="0"/>
                    </a:lnTo>
                    <a:lnTo>
                      <a:pt x="1734" y="179"/>
                    </a:lnTo>
                    <a:lnTo>
                      <a:pt x="2871" y="658"/>
                    </a:lnTo>
                    <a:lnTo>
                      <a:pt x="2691" y="1136"/>
                    </a:lnTo>
                    <a:lnTo>
                      <a:pt x="2392" y="1854"/>
                    </a:lnTo>
                    <a:lnTo>
                      <a:pt x="2153" y="2392"/>
                    </a:lnTo>
                    <a:lnTo>
                      <a:pt x="1495" y="3947"/>
                    </a:lnTo>
                    <a:lnTo>
                      <a:pt x="1495" y="3947"/>
                    </a:lnTo>
                    <a:lnTo>
                      <a:pt x="1076" y="4844"/>
                    </a:lnTo>
                    <a:lnTo>
                      <a:pt x="478" y="4605"/>
                    </a:lnTo>
                    <a:lnTo>
                      <a:pt x="0" y="4426"/>
                    </a:lnTo>
                  </a:path>
                </a:pathLst>
              </a:custGeom>
              <a:noFill/>
              <a:ln w="6350" cap="rnd">
                <a:solidFill>
                  <a:schemeClr val="bg1">
                    <a:alpha val="80000"/>
                  </a:schemeClr>
                </a:solidFill>
                <a:prstDash val="solid"/>
                <a:round/>
              </a:ln>
            </p:spPr>
            <p:txBody>
              <a:bodyPr rtlCol="0" anchor="ctr"/>
              <a:lstStyle/>
              <a:p>
                <a:endParaRPr lang="en-GB"/>
              </a:p>
            </p:txBody>
          </p:sp>
          <p:sp>
            <p:nvSpPr>
              <p:cNvPr id="6883" name="Vrije vorm: vorm 6882">
                <a:extLst>
                  <a:ext uri="{FF2B5EF4-FFF2-40B4-BE49-F238E27FC236}">
                    <a16:creationId xmlns:a16="http://schemas.microsoft.com/office/drawing/2014/main" id="{2336662D-372B-4AE1-A79D-E7280AA5C391}"/>
                  </a:ext>
                </a:extLst>
              </p:cNvPr>
              <p:cNvSpPr/>
              <p:nvPr/>
            </p:nvSpPr>
            <p:spPr>
              <a:xfrm>
                <a:off x="6752434" y="1979121"/>
                <a:ext cx="358" cy="777"/>
              </a:xfrm>
              <a:custGeom>
                <a:avLst/>
                <a:gdLst>
                  <a:gd name="connsiteX0" fmla="*/ 359 w 358"/>
                  <a:gd name="connsiteY0" fmla="*/ 777 h 777"/>
                  <a:gd name="connsiteX1" fmla="*/ 0 w 358"/>
                  <a:gd name="connsiteY1" fmla="*/ 658 h 777"/>
                  <a:gd name="connsiteX2" fmla="*/ 239 w 358"/>
                  <a:gd name="connsiteY2" fmla="*/ 0 h 777"/>
                </a:gdLst>
                <a:ahLst/>
                <a:cxnLst>
                  <a:cxn ang="0">
                    <a:pos x="connsiteX0" y="connsiteY0"/>
                  </a:cxn>
                  <a:cxn ang="0">
                    <a:pos x="connsiteX1" y="connsiteY1"/>
                  </a:cxn>
                  <a:cxn ang="0">
                    <a:pos x="connsiteX2" y="connsiteY2"/>
                  </a:cxn>
                </a:cxnLst>
                <a:rect l="l" t="t" r="r" b="b"/>
                <a:pathLst>
                  <a:path w="358" h="777">
                    <a:moveTo>
                      <a:pt x="359" y="777"/>
                    </a:moveTo>
                    <a:lnTo>
                      <a:pt x="0" y="658"/>
                    </a:lnTo>
                    <a:lnTo>
                      <a:pt x="239" y="0"/>
                    </a:lnTo>
                  </a:path>
                </a:pathLst>
              </a:custGeom>
              <a:noFill/>
              <a:ln w="6350" cap="rnd">
                <a:solidFill>
                  <a:schemeClr val="bg1">
                    <a:alpha val="80000"/>
                  </a:schemeClr>
                </a:solidFill>
                <a:prstDash val="solid"/>
                <a:round/>
              </a:ln>
            </p:spPr>
            <p:txBody>
              <a:bodyPr rtlCol="0" anchor="ctr"/>
              <a:lstStyle/>
              <a:p>
                <a:endParaRPr lang="en-GB"/>
              </a:p>
            </p:txBody>
          </p:sp>
          <p:sp>
            <p:nvSpPr>
              <p:cNvPr id="6884" name="Vrije vorm: vorm 6883">
                <a:extLst>
                  <a:ext uri="{FF2B5EF4-FFF2-40B4-BE49-F238E27FC236}">
                    <a16:creationId xmlns:a16="http://schemas.microsoft.com/office/drawing/2014/main" id="{CEF4276A-41AA-4166-A9FB-52B65105C2DF}"/>
                  </a:ext>
                </a:extLst>
              </p:cNvPr>
              <p:cNvSpPr/>
              <p:nvPr/>
            </p:nvSpPr>
            <p:spPr>
              <a:xfrm>
                <a:off x="6838018" y="2009204"/>
                <a:ext cx="14772" cy="4545"/>
              </a:xfrm>
              <a:custGeom>
                <a:avLst/>
                <a:gdLst>
                  <a:gd name="connsiteX0" fmla="*/ 14772 w 14772"/>
                  <a:gd name="connsiteY0" fmla="*/ 0 h 4545"/>
                  <a:gd name="connsiteX1" fmla="*/ 13277 w 14772"/>
                  <a:gd name="connsiteY1" fmla="*/ 359 h 4545"/>
                  <a:gd name="connsiteX2" fmla="*/ 10047 w 14772"/>
                  <a:gd name="connsiteY2" fmla="*/ 1076 h 4545"/>
                  <a:gd name="connsiteX3" fmla="*/ 9749 w 14772"/>
                  <a:gd name="connsiteY3" fmla="*/ 1136 h 4545"/>
                  <a:gd name="connsiteX4" fmla="*/ 8493 w 14772"/>
                  <a:gd name="connsiteY4" fmla="*/ 1435 h 4545"/>
                  <a:gd name="connsiteX5" fmla="*/ 6998 w 14772"/>
                  <a:gd name="connsiteY5" fmla="*/ 1974 h 4545"/>
                  <a:gd name="connsiteX6" fmla="*/ 0 w 14772"/>
                  <a:gd name="connsiteY6" fmla="*/ 4545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72" h="4545">
                    <a:moveTo>
                      <a:pt x="14772" y="0"/>
                    </a:moveTo>
                    <a:lnTo>
                      <a:pt x="13277" y="359"/>
                    </a:lnTo>
                    <a:lnTo>
                      <a:pt x="10047" y="1076"/>
                    </a:lnTo>
                    <a:lnTo>
                      <a:pt x="9749" y="1136"/>
                    </a:lnTo>
                    <a:lnTo>
                      <a:pt x="8493" y="1435"/>
                    </a:lnTo>
                    <a:lnTo>
                      <a:pt x="6998" y="1974"/>
                    </a:lnTo>
                    <a:lnTo>
                      <a:pt x="0" y="4545"/>
                    </a:lnTo>
                  </a:path>
                </a:pathLst>
              </a:custGeom>
              <a:noFill/>
              <a:ln w="6350" cap="rnd">
                <a:solidFill>
                  <a:schemeClr val="bg1">
                    <a:alpha val="80000"/>
                  </a:schemeClr>
                </a:solidFill>
                <a:prstDash val="solid"/>
                <a:round/>
              </a:ln>
            </p:spPr>
            <p:txBody>
              <a:bodyPr rtlCol="0" anchor="ctr"/>
              <a:lstStyle/>
              <a:p>
                <a:endParaRPr lang="en-GB"/>
              </a:p>
            </p:txBody>
          </p:sp>
          <p:sp>
            <p:nvSpPr>
              <p:cNvPr id="6885" name="Vrije vorm: vorm 6884">
                <a:extLst>
                  <a:ext uri="{FF2B5EF4-FFF2-40B4-BE49-F238E27FC236}">
                    <a16:creationId xmlns:a16="http://schemas.microsoft.com/office/drawing/2014/main" id="{454A610B-F90B-47CD-826D-353D0E16F4C2}"/>
                  </a:ext>
                </a:extLst>
              </p:cNvPr>
              <p:cNvSpPr/>
              <p:nvPr/>
            </p:nvSpPr>
            <p:spPr>
              <a:xfrm>
                <a:off x="6830841" y="1799579"/>
                <a:ext cx="15788" cy="8672"/>
              </a:xfrm>
              <a:custGeom>
                <a:avLst/>
                <a:gdLst>
                  <a:gd name="connsiteX0" fmla="*/ 0 w 15788"/>
                  <a:gd name="connsiteY0" fmla="*/ 8672 h 8672"/>
                  <a:gd name="connsiteX1" fmla="*/ 5980 w 15788"/>
                  <a:gd name="connsiteY1" fmla="*/ 4067 h 8672"/>
                  <a:gd name="connsiteX2" fmla="*/ 14354 w 15788"/>
                  <a:gd name="connsiteY2" fmla="*/ 299 h 8672"/>
                  <a:gd name="connsiteX3" fmla="*/ 15789 w 15788"/>
                  <a:gd name="connsiteY3" fmla="*/ 0 h 8672"/>
                </a:gdLst>
                <a:ahLst/>
                <a:cxnLst>
                  <a:cxn ang="0">
                    <a:pos x="connsiteX0" y="connsiteY0"/>
                  </a:cxn>
                  <a:cxn ang="0">
                    <a:pos x="connsiteX1" y="connsiteY1"/>
                  </a:cxn>
                  <a:cxn ang="0">
                    <a:pos x="connsiteX2" y="connsiteY2"/>
                  </a:cxn>
                  <a:cxn ang="0">
                    <a:pos x="connsiteX3" y="connsiteY3"/>
                  </a:cxn>
                </a:cxnLst>
                <a:rect l="l" t="t" r="r" b="b"/>
                <a:pathLst>
                  <a:path w="15788" h="8672">
                    <a:moveTo>
                      <a:pt x="0" y="8672"/>
                    </a:moveTo>
                    <a:lnTo>
                      <a:pt x="5980" y="4067"/>
                    </a:lnTo>
                    <a:lnTo>
                      <a:pt x="14354" y="299"/>
                    </a:lnTo>
                    <a:lnTo>
                      <a:pt x="15789" y="0"/>
                    </a:lnTo>
                  </a:path>
                </a:pathLst>
              </a:custGeom>
              <a:noFill/>
              <a:ln w="6350" cap="rnd">
                <a:solidFill>
                  <a:schemeClr val="bg1">
                    <a:alpha val="80000"/>
                  </a:schemeClr>
                </a:solidFill>
                <a:prstDash val="solid"/>
                <a:round/>
              </a:ln>
            </p:spPr>
            <p:txBody>
              <a:bodyPr rtlCol="0" anchor="ctr"/>
              <a:lstStyle/>
              <a:p>
                <a:endParaRPr lang="en-GB"/>
              </a:p>
            </p:txBody>
          </p:sp>
          <p:sp>
            <p:nvSpPr>
              <p:cNvPr id="6886" name="Vrije vorm: vorm 6885">
                <a:extLst>
                  <a:ext uri="{FF2B5EF4-FFF2-40B4-BE49-F238E27FC236}">
                    <a16:creationId xmlns:a16="http://schemas.microsoft.com/office/drawing/2014/main" id="{509D9241-02CA-40D0-99B8-A1E317B5B40E}"/>
                  </a:ext>
                </a:extLst>
              </p:cNvPr>
              <p:cNvSpPr/>
              <p:nvPr/>
            </p:nvSpPr>
            <p:spPr>
              <a:xfrm>
                <a:off x="6863676" y="1722309"/>
                <a:ext cx="67163" cy="70512"/>
              </a:xfrm>
              <a:custGeom>
                <a:avLst/>
                <a:gdLst>
                  <a:gd name="connsiteX0" fmla="*/ 0 w 67163"/>
                  <a:gd name="connsiteY0" fmla="*/ 70513 h 70512"/>
                  <a:gd name="connsiteX1" fmla="*/ 15250 w 67163"/>
                  <a:gd name="connsiteY1" fmla="*/ 51075 h 70512"/>
                  <a:gd name="connsiteX2" fmla="*/ 32415 w 67163"/>
                  <a:gd name="connsiteY2" fmla="*/ 32595 h 70512"/>
                  <a:gd name="connsiteX3" fmla="*/ 50118 w 67163"/>
                  <a:gd name="connsiteY3" fmla="*/ 15430 h 70512"/>
                  <a:gd name="connsiteX4" fmla="*/ 50297 w 67163"/>
                  <a:gd name="connsiteY4" fmla="*/ 15251 h 70512"/>
                  <a:gd name="connsiteX5" fmla="*/ 64951 w 67163"/>
                  <a:gd name="connsiteY5" fmla="*/ 1974 h 70512"/>
                  <a:gd name="connsiteX6" fmla="*/ 67163 w 67163"/>
                  <a:gd name="connsiteY6" fmla="*/ 0 h 7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63" h="70512">
                    <a:moveTo>
                      <a:pt x="0" y="70513"/>
                    </a:moveTo>
                    <a:lnTo>
                      <a:pt x="15250" y="51075"/>
                    </a:lnTo>
                    <a:lnTo>
                      <a:pt x="32415" y="32595"/>
                    </a:lnTo>
                    <a:lnTo>
                      <a:pt x="50118" y="15430"/>
                    </a:lnTo>
                    <a:lnTo>
                      <a:pt x="50297" y="15251"/>
                    </a:lnTo>
                    <a:lnTo>
                      <a:pt x="64951" y="1974"/>
                    </a:lnTo>
                    <a:lnTo>
                      <a:pt x="67163" y="0"/>
                    </a:lnTo>
                  </a:path>
                </a:pathLst>
              </a:custGeom>
              <a:noFill/>
              <a:ln w="6350" cap="rnd">
                <a:solidFill>
                  <a:schemeClr val="bg1">
                    <a:alpha val="80000"/>
                  </a:schemeClr>
                </a:solidFill>
                <a:prstDash val="solid"/>
                <a:round/>
              </a:ln>
            </p:spPr>
            <p:txBody>
              <a:bodyPr rtlCol="0" anchor="ctr"/>
              <a:lstStyle/>
              <a:p>
                <a:endParaRPr lang="en-GB"/>
              </a:p>
            </p:txBody>
          </p:sp>
          <p:sp>
            <p:nvSpPr>
              <p:cNvPr id="6887" name="Vrije vorm: vorm 6886">
                <a:extLst>
                  <a:ext uri="{FF2B5EF4-FFF2-40B4-BE49-F238E27FC236}">
                    <a16:creationId xmlns:a16="http://schemas.microsoft.com/office/drawing/2014/main" id="{9F2C16A6-BD47-4961-97F1-B3525D6EF100}"/>
                  </a:ext>
                </a:extLst>
              </p:cNvPr>
              <p:cNvSpPr/>
              <p:nvPr/>
            </p:nvSpPr>
            <p:spPr>
              <a:xfrm>
                <a:off x="6617628" y="1935461"/>
                <a:ext cx="9270" cy="4246"/>
              </a:xfrm>
              <a:custGeom>
                <a:avLst/>
                <a:gdLst>
                  <a:gd name="connsiteX0" fmla="*/ 9270 w 9270"/>
                  <a:gd name="connsiteY0" fmla="*/ 0 h 4246"/>
                  <a:gd name="connsiteX1" fmla="*/ 6519 w 9270"/>
                  <a:gd name="connsiteY1" fmla="*/ 1076 h 4246"/>
                  <a:gd name="connsiteX2" fmla="*/ 4725 w 9270"/>
                  <a:gd name="connsiteY2" fmla="*/ 1734 h 4246"/>
                  <a:gd name="connsiteX3" fmla="*/ 1316 w 9270"/>
                  <a:gd name="connsiteY3" fmla="*/ 3529 h 4246"/>
                  <a:gd name="connsiteX4" fmla="*/ 0 w 9270"/>
                  <a:gd name="connsiteY4" fmla="*/ 4246 h 4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0" h="4246">
                    <a:moveTo>
                      <a:pt x="9270" y="0"/>
                    </a:moveTo>
                    <a:lnTo>
                      <a:pt x="6519" y="1076"/>
                    </a:lnTo>
                    <a:lnTo>
                      <a:pt x="4725" y="1734"/>
                    </a:lnTo>
                    <a:lnTo>
                      <a:pt x="1316" y="3529"/>
                    </a:lnTo>
                    <a:lnTo>
                      <a:pt x="0" y="4246"/>
                    </a:lnTo>
                  </a:path>
                </a:pathLst>
              </a:custGeom>
              <a:noFill/>
              <a:ln w="6350" cap="rnd">
                <a:solidFill>
                  <a:schemeClr val="bg1">
                    <a:alpha val="80000"/>
                  </a:schemeClr>
                </a:solidFill>
                <a:prstDash val="solid"/>
                <a:round/>
              </a:ln>
            </p:spPr>
            <p:txBody>
              <a:bodyPr rtlCol="0" anchor="ctr"/>
              <a:lstStyle/>
              <a:p>
                <a:endParaRPr lang="en-GB"/>
              </a:p>
            </p:txBody>
          </p:sp>
          <p:sp>
            <p:nvSpPr>
              <p:cNvPr id="6888" name="Vrije vorm: vorm 6887">
                <a:extLst>
                  <a:ext uri="{FF2B5EF4-FFF2-40B4-BE49-F238E27FC236}">
                    <a16:creationId xmlns:a16="http://schemas.microsoft.com/office/drawing/2014/main" id="{D512AAD8-A877-42C1-92BC-7E631DBDA477}"/>
                  </a:ext>
                </a:extLst>
              </p:cNvPr>
              <p:cNvSpPr/>
              <p:nvPr/>
            </p:nvSpPr>
            <p:spPr>
              <a:xfrm>
                <a:off x="6786345" y="1976728"/>
                <a:ext cx="3050" cy="1255"/>
              </a:xfrm>
              <a:custGeom>
                <a:avLst/>
                <a:gdLst>
                  <a:gd name="connsiteX0" fmla="*/ 3050 w 3050"/>
                  <a:gd name="connsiteY0" fmla="*/ 0 h 1255"/>
                  <a:gd name="connsiteX1" fmla="*/ 2930 w 3050"/>
                  <a:gd name="connsiteY1" fmla="*/ 60 h 1255"/>
                  <a:gd name="connsiteX2" fmla="*/ 180 w 3050"/>
                  <a:gd name="connsiteY2" fmla="*/ 1196 h 1255"/>
                  <a:gd name="connsiteX3" fmla="*/ 0 w 3050"/>
                  <a:gd name="connsiteY3" fmla="*/ 1256 h 1255"/>
                </a:gdLst>
                <a:ahLst/>
                <a:cxnLst>
                  <a:cxn ang="0">
                    <a:pos x="connsiteX0" y="connsiteY0"/>
                  </a:cxn>
                  <a:cxn ang="0">
                    <a:pos x="connsiteX1" y="connsiteY1"/>
                  </a:cxn>
                  <a:cxn ang="0">
                    <a:pos x="connsiteX2" y="connsiteY2"/>
                  </a:cxn>
                  <a:cxn ang="0">
                    <a:pos x="connsiteX3" y="connsiteY3"/>
                  </a:cxn>
                </a:cxnLst>
                <a:rect l="l" t="t" r="r" b="b"/>
                <a:pathLst>
                  <a:path w="3050" h="1255">
                    <a:moveTo>
                      <a:pt x="3050" y="0"/>
                    </a:moveTo>
                    <a:lnTo>
                      <a:pt x="2930" y="60"/>
                    </a:lnTo>
                    <a:lnTo>
                      <a:pt x="180" y="1196"/>
                    </a:lnTo>
                    <a:lnTo>
                      <a:pt x="0" y="1256"/>
                    </a:lnTo>
                  </a:path>
                </a:pathLst>
              </a:custGeom>
              <a:noFill/>
              <a:ln w="6350" cap="rnd">
                <a:solidFill>
                  <a:schemeClr val="bg1">
                    <a:alpha val="80000"/>
                  </a:schemeClr>
                </a:solidFill>
                <a:prstDash val="solid"/>
                <a:round/>
              </a:ln>
            </p:spPr>
            <p:txBody>
              <a:bodyPr rtlCol="0" anchor="ctr"/>
              <a:lstStyle/>
              <a:p>
                <a:endParaRPr lang="en-GB"/>
              </a:p>
            </p:txBody>
          </p:sp>
          <p:sp>
            <p:nvSpPr>
              <p:cNvPr id="6889" name="Vrije vorm: vorm 6888">
                <a:extLst>
                  <a:ext uri="{FF2B5EF4-FFF2-40B4-BE49-F238E27FC236}">
                    <a16:creationId xmlns:a16="http://schemas.microsoft.com/office/drawing/2014/main" id="{018C5E61-F127-442D-81FE-6373C94922F5}"/>
                  </a:ext>
                </a:extLst>
              </p:cNvPr>
              <p:cNvSpPr/>
              <p:nvPr/>
            </p:nvSpPr>
            <p:spPr>
              <a:xfrm>
                <a:off x="6899919" y="1817163"/>
                <a:ext cx="2392" cy="1375"/>
              </a:xfrm>
              <a:custGeom>
                <a:avLst/>
                <a:gdLst>
                  <a:gd name="connsiteX0" fmla="*/ 2392 w 2392"/>
                  <a:gd name="connsiteY0" fmla="*/ 1376 h 1375"/>
                  <a:gd name="connsiteX1" fmla="*/ 1854 w 2392"/>
                  <a:gd name="connsiteY1" fmla="*/ 1076 h 1375"/>
                  <a:gd name="connsiteX2" fmla="*/ 1854 w 2392"/>
                  <a:gd name="connsiteY2" fmla="*/ 1076 h 1375"/>
                  <a:gd name="connsiteX3" fmla="*/ 1735 w 2392"/>
                  <a:gd name="connsiteY3" fmla="*/ 1017 h 1375"/>
                  <a:gd name="connsiteX4" fmla="*/ 0 w 2392"/>
                  <a:gd name="connsiteY4" fmla="*/ 0 h 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2" h="1375">
                    <a:moveTo>
                      <a:pt x="2392" y="1376"/>
                    </a:moveTo>
                    <a:lnTo>
                      <a:pt x="1854" y="1076"/>
                    </a:lnTo>
                    <a:lnTo>
                      <a:pt x="1854" y="1076"/>
                    </a:lnTo>
                    <a:lnTo>
                      <a:pt x="1735" y="101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90" name="Vrije vorm: vorm 6889">
                <a:extLst>
                  <a:ext uri="{FF2B5EF4-FFF2-40B4-BE49-F238E27FC236}">
                    <a16:creationId xmlns:a16="http://schemas.microsoft.com/office/drawing/2014/main" id="{66E096C3-1F9B-4FAF-8C8C-ED701407047C}"/>
                  </a:ext>
                </a:extLst>
              </p:cNvPr>
              <p:cNvSpPr/>
              <p:nvPr/>
            </p:nvSpPr>
            <p:spPr>
              <a:xfrm>
                <a:off x="6849800" y="1798383"/>
                <a:ext cx="3349" cy="657"/>
              </a:xfrm>
              <a:custGeom>
                <a:avLst/>
                <a:gdLst>
                  <a:gd name="connsiteX0" fmla="*/ 0 w 3349"/>
                  <a:gd name="connsiteY0" fmla="*/ 658 h 657"/>
                  <a:gd name="connsiteX1" fmla="*/ 2811 w 3349"/>
                  <a:gd name="connsiteY1" fmla="*/ 120 h 657"/>
                  <a:gd name="connsiteX2" fmla="*/ 3350 w 3349"/>
                  <a:gd name="connsiteY2" fmla="*/ 0 h 657"/>
                </a:gdLst>
                <a:ahLst/>
                <a:cxnLst>
                  <a:cxn ang="0">
                    <a:pos x="connsiteX0" y="connsiteY0"/>
                  </a:cxn>
                  <a:cxn ang="0">
                    <a:pos x="connsiteX1" y="connsiteY1"/>
                  </a:cxn>
                  <a:cxn ang="0">
                    <a:pos x="connsiteX2" y="connsiteY2"/>
                  </a:cxn>
                </a:cxnLst>
                <a:rect l="l" t="t" r="r" b="b"/>
                <a:pathLst>
                  <a:path w="3349" h="657">
                    <a:moveTo>
                      <a:pt x="0" y="658"/>
                    </a:moveTo>
                    <a:lnTo>
                      <a:pt x="2811" y="120"/>
                    </a:lnTo>
                    <a:lnTo>
                      <a:pt x="3350" y="0"/>
                    </a:lnTo>
                  </a:path>
                </a:pathLst>
              </a:custGeom>
              <a:noFill/>
              <a:ln w="6350" cap="rnd">
                <a:solidFill>
                  <a:schemeClr val="bg1">
                    <a:alpha val="80000"/>
                  </a:schemeClr>
                </a:solidFill>
                <a:prstDash val="solid"/>
                <a:round/>
              </a:ln>
            </p:spPr>
            <p:txBody>
              <a:bodyPr rtlCol="0" anchor="ctr"/>
              <a:lstStyle/>
              <a:p>
                <a:endParaRPr lang="en-GB"/>
              </a:p>
            </p:txBody>
          </p:sp>
          <p:sp>
            <p:nvSpPr>
              <p:cNvPr id="6891" name="Vrije vorm: vorm 6890">
                <a:extLst>
                  <a:ext uri="{FF2B5EF4-FFF2-40B4-BE49-F238E27FC236}">
                    <a16:creationId xmlns:a16="http://schemas.microsoft.com/office/drawing/2014/main" id="{1FB2E141-F533-4E0A-B3FA-E26604333246}"/>
                  </a:ext>
                </a:extLst>
              </p:cNvPr>
              <p:cNvSpPr/>
              <p:nvPr/>
            </p:nvSpPr>
            <p:spPr>
              <a:xfrm>
                <a:off x="6772230" y="1984503"/>
                <a:ext cx="1196" cy="2511"/>
              </a:xfrm>
              <a:custGeom>
                <a:avLst/>
                <a:gdLst>
                  <a:gd name="connsiteX0" fmla="*/ 1196 w 1196"/>
                  <a:gd name="connsiteY0" fmla="*/ 0 h 2511"/>
                  <a:gd name="connsiteX1" fmla="*/ 1017 w 1196"/>
                  <a:gd name="connsiteY1" fmla="*/ 1555 h 2511"/>
                  <a:gd name="connsiteX2" fmla="*/ 0 w 1196"/>
                  <a:gd name="connsiteY2" fmla="*/ 2512 h 2511"/>
                </a:gdLst>
                <a:ahLst/>
                <a:cxnLst>
                  <a:cxn ang="0">
                    <a:pos x="connsiteX0" y="connsiteY0"/>
                  </a:cxn>
                  <a:cxn ang="0">
                    <a:pos x="connsiteX1" y="connsiteY1"/>
                  </a:cxn>
                  <a:cxn ang="0">
                    <a:pos x="connsiteX2" y="connsiteY2"/>
                  </a:cxn>
                </a:cxnLst>
                <a:rect l="l" t="t" r="r" b="b"/>
                <a:pathLst>
                  <a:path w="1196" h="2511">
                    <a:moveTo>
                      <a:pt x="1196" y="0"/>
                    </a:moveTo>
                    <a:lnTo>
                      <a:pt x="1017" y="1555"/>
                    </a:lnTo>
                    <a:lnTo>
                      <a:pt x="0" y="2512"/>
                    </a:lnTo>
                  </a:path>
                </a:pathLst>
              </a:custGeom>
              <a:noFill/>
              <a:ln w="6350" cap="rnd">
                <a:solidFill>
                  <a:schemeClr val="bg1">
                    <a:alpha val="80000"/>
                  </a:schemeClr>
                </a:solidFill>
                <a:prstDash val="solid"/>
                <a:round/>
              </a:ln>
            </p:spPr>
            <p:txBody>
              <a:bodyPr rtlCol="0" anchor="ctr"/>
              <a:lstStyle/>
              <a:p>
                <a:endParaRPr lang="en-GB"/>
              </a:p>
            </p:txBody>
          </p:sp>
          <p:sp>
            <p:nvSpPr>
              <p:cNvPr id="6892" name="Vrije vorm: vorm 6891">
                <a:extLst>
                  <a:ext uri="{FF2B5EF4-FFF2-40B4-BE49-F238E27FC236}">
                    <a16:creationId xmlns:a16="http://schemas.microsoft.com/office/drawing/2014/main" id="{7789416F-1873-4C3C-BDBF-E4C2C47C712C}"/>
                  </a:ext>
                </a:extLst>
              </p:cNvPr>
              <p:cNvSpPr/>
              <p:nvPr/>
            </p:nvSpPr>
            <p:spPr>
              <a:xfrm>
                <a:off x="7015467" y="1989527"/>
                <a:ext cx="1375" cy="59"/>
              </a:xfrm>
              <a:custGeom>
                <a:avLst/>
                <a:gdLst>
                  <a:gd name="connsiteX0" fmla="*/ 1375 w 1375"/>
                  <a:gd name="connsiteY0" fmla="*/ 60 h 59"/>
                  <a:gd name="connsiteX1" fmla="*/ 956 w 1375"/>
                  <a:gd name="connsiteY1" fmla="*/ 60 h 59"/>
                  <a:gd name="connsiteX2" fmla="*/ 59 w 1375"/>
                  <a:gd name="connsiteY2" fmla="*/ 0 h 59"/>
                  <a:gd name="connsiteX3" fmla="*/ 0 w 1375"/>
                  <a:gd name="connsiteY3" fmla="*/ 0 h 59"/>
                </a:gdLst>
                <a:ahLst/>
                <a:cxnLst>
                  <a:cxn ang="0">
                    <a:pos x="connsiteX0" y="connsiteY0"/>
                  </a:cxn>
                  <a:cxn ang="0">
                    <a:pos x="connsiteX1" y="connsiteY1"/>
                  </a:cxn>
                  <a:cxn ang="0">
                    <a:pos x="connsiteX2" y="connsiteY2"/>
                  </a:cxn>
                  <a:cxn ang="0">
                    <a:pos x="connsiteX3" y="connsiteY3"/>
                  </a:cxn>
                </a:cxnLst>
                <a:rect l="l" t="t" r="r" b="b"/>
                <a:pathLst>
                  <a:path w="1375" h="59">
                    <a:moveTo>
                      <a:pt x="1375" y="60"/>
                    </a:moveTo>
                    <a:lnTo>
                      <a:pt x="956" y="60"/>
                    </a:lnTo>
                    <a:lnTo>
                      <a:pt x="59" y="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93" name="Vrije vorm: vorm 6892">
                <a:extLst>
                  <a:ext uri="{FF2B5EF4-FFF2-40B4-BE49-F238E27FC236}">
                    <a16:creationId xmlns:a16="http://schemas.microsoft.com/office/drawing/2014/main" id="{7CE33297-0B00-45FB-BFE1-CE1FD2E130BE}"/>
                  </a:ext>
                </a:extLst>
              </p:cNvPr>
              <p:cNvSpPr/>
              <p:nvPr/>
            </p:nvSpPr>
            <p:spPr>
              <a:xfrm>
                <a:off x="7010981" y="1952327"/>
                <a:ext cx="3767" cy="2810"/>
              </a:xfrm>
              <a:custGeom>
                <a:avLst/>
                <a:gdLst>
                  <a:gd name="connsiteX0" fmla="*/ 3767 w 3767"/>
                  <a:gd name="connsiteY0" fmla="*/ 2811 h 2810"/>
                  <a:gd name="connsiteX1" fmla="*/ 59 w 3767"/>
                  <a:gd name="connsiteY1" fmla="*/ 1854 h 2810"/>
                  <a:gd name="connsiteX2" fmla="*/ 0 w 3767"/>
                  <a:gd name="connsiteY2" fmla="*/ 0 h 2810"/>
                </a:gdLst>
                <a:ahLst/>
                <a:cxnLst>
                  <a:cxn ang="0">
                    <a:pos x="connsiteX0" y="connsiteY0"/>
                  </a:cxn>
                  <a:cxn ang="0">
                    <a:pos x="connsiteX1" y="connsiteY1"/>
                  </a:cxn>
                  <a:cxn ang="0">
                    <a:pos x="connsiteX2" y="connsiteY2"/>
                  </a:cxn>
                </a:cxnLst>
                <a:rect l="l" t="t" r="r" b="b"/>
                <a:pathLst>
                  <a:path w="3767" h="2810">
                    <a:moveTo>
                      <a:pt x="3767" y="2811"/>
                    </a:moveTo>
                    <a:lnTo>
                      <a:pt x="59" y="1854"/>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94" name="Vrije vorm: vorm 6893">
                <a:extLst>
                  <a:ext uri="{FF2B5EF4-FFF2-40B4-BE49-F238E27FC236}">
                    <a16:creationId xmlns:a16="http://schemas.microsoft.com/office/drawing/2014/main" id="{34606AB7-476C-49BB-B768-A9C98421F2A7}"/>
                  </a:ext>
                </a:extLst>
              </p:cNvPr>
              <p:cNvSpPr/>
              <p:nvPr/>
            </p:nvSpPr>
            <p:spPr>
              <a:xfrm>
                <a:off x="6820076" y="2089824"/>
                <a:ext cx="3827" cy="119"/>
              </a:xfrm>
              <a:custGeom>
                <a:avLst/>
                <a:gdLst>
                  <a:gd name="connsiteX0" fmla="*/ 0 w 3827"/>
                  <a:gd name="connsiteY0" fmla="*/ 120 h 119"/>
                  <a:gd name="connsiteX1" fmla="*/ 119 w 3827"/>
                  <a:gd name="connsiteY1" fmla="*/ 120 h 119"/>
                  <a:gd name="connsiteX2" fmla="*/ 3828 w 3827"/>
                  <a:gd name="connsiteY2" fmla="*/ 0 h 119"/>
                </a:gdLst>
                <a:ahLst/>
                <a:cxnLst>
                  <a:cxn ang="0">
                    <a:pos x="connsiteX0" y="connsiteY0"/>
                  </a:cxn>
                  <a:cxn ang="0">
                    <a:pos x="connsiteX1" y="connsiteY1"/>
                  </a:cxn>
                  <a:cxn ang="0">
                    <a:pos x="connsiteX2" y="connsiteY2"/>
                  </a:cxn>
                </a:cxnLst>
                <a:rect l="l" t="t" r="r" b="b"/>
                <a:pathLst>
                  <a:path w="3827" h="119">
                    <a:moveTo>
                      <a:pt x="0" y="120"/>
                    </a:moveTo>
                    <a:lnTo>
                      <a:pt x="119" y="120"/>
                    </a:lnTo>
                    <a:lnTo>
                      <a:pt x="3828" y="0"/>
                    </a:lnTo>
                  </a:path>
                </a:pathLst>
              </a:custGeom>
              <a:noFill/>
              <a:ln w="6350" cap="rnd">
                <a:solidFill>
                  <a:schemeClr val="bg1">
                    <a:alpha val="80000"/>
                  </a:schemeClr>
                </a:solidFill>
                <a:prstDash val="solid"/>
                <a:round/>
              </a:ln>
            </p:spPr>
            <p:txBody>
              <a:bodyPr rtlCol="0" anchor="ctr"/>
              <a:lstStyle/>
              <a:p>
                <a:endParaRPr lang="en-GB"/>
              </a:p>
            </p:txBody>
          </p:sp>
          <p:sp>
            <p:nvSpPr>
              <p:cNvPr id="6895" name="Vrije vorm: vorm 6894">
                <a:extLst>
                  <a:ext uri="{FF2B5EF4-FFF2-40B4-BE49-F238E27FC236}">
                    <a16:creationId xmlns:a16="http://schemas.microsoft.com/office/drawing/2014/main" id="{CD34828A-ED17-49A0-B8F0-C7F7480F798E}"/>
                  </a:ext>
                </a:extLst>
              </p:cNvPr>
              <p:cNvSpPr/>
              <p:nvPr/>
            </p:nvSpPr>
            <p:spPr>
              <a:xfrm>
                <a:off x="6777792" y="2002745"/>
                <a:ext cx="5562" cy="3588"/>
              </a:xfrm>
              <a:custGeom>
                <a:avLst/>
                <a:gdLst>
                  <a:gd name="connsiteX0" fmla="*/ 5562 w 5562"/>
                  <a:gd name="connsiteY0" fmla="*/ 3588 h 3588"/>
                  <a:gd name="connsiteX1" fmla="*/ 2632 w 5562"/>
                  <a:gd name="connsiteY1" fmla="*/ 2033 h 3588"/>
                  <a:gd name="connsiteX2" fmla="*/ 0 w 5562"/>
                  <a:gd name="connsiteY2" fmla="*/ 0 h 3588"/>
                </a:gdLst>
                <a:ahLst/>
                <a:cxnLst>
                  <a:cxn ang="0">
                    <a:pos x="connsiteX0" y="connsiteY0"/>
                  </a:cxn>
                  <a:cxn ang="0">
                    <a:pos x="connsiteX1" y="connsiteY1"/>
                  </a:cxn>
                  <a:cxn ang="0">
                    <a:pos x="connsiteX2" y="connsiteY2"/>
                  </a:cxn>
                </a:cxnLst>
                <a:rect l="l" t="t" r="r" b="b"/>
                <a:pathLst>
                  <a:path w="5562" h="3588">
                    <a:moveTo>
                      <a:pt x="5562" y="3588"/>
                    </a:moveTo>
                    <a:lnTo>
                      <a:pt x="2632" y="2033"/>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96" name="Vrije vorm: vorm 6895">
                <a:extLst>
                  <a:ext uri="{FF2B5EF4-FFF2-40B4-BE49-F238E27FC236}">
                    <a16:creationId xmlns:a16="http://schemas.microsoft.com/office/drawing/2014/main" id="{F9B00ADF-A2C8-4C46-BE18-1A1FD96CDA2D}"/>
                  </a:ext>
                </a:extLst>
              </p:cNvPr>
              <p:cNvSpPr/>
              <p:nvPr/>
            </p:nvSpPr>
            <p:spPr>
              <a:xfrm>
                <a:off x="6822049" y="2024694"/>
                <a:ext cx="3050" cy="777"/>
              </a:xfrm>
              <a:custGeom>
                <a:avLst/>
                <a:gdLst>
                  <a:gd name="connsiteX0" fmla="*/ 3050 w 3050"/>
                  <a:gd name="connsiteY0" fmla="*/ 778 h 777"/>
                  <a:gd name="connsiteX1" fmla="*/ 0 w 3050"/>
                  <a:gd name="connsiteY1" fmla="*/ 0 h 777"/>
                </a:gdLst>
                <a:ahLst/>
                <a:cxnLst>
                  <a:cxn ang="0">
                    <a:pos x="connsiteX0" y="connsiteY0"/>
                  </a:cxn>
                  <a:cxn ang="0">
                    <a:pos x="connsiteX1" y="connsiteY1"/>
                  </a:cxn>
                </a:cxnLst>
                <a:rect l="l" t="t" r="r" b="b"/>
                <a:pathLst>
                  <a:path w="3050" h="777">
                    <a:moveTo>
                      <a:pt x="3050" y="778"/>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97" name="Vrije vorm: vorm 6896">
                <a:extLst>
                  <a:ext uri="{FF2B5EF4-FFF2-40B4-BE49-F238E27FC236}">
                    <a16:creationId xmlns:a16="http://schemas.microsoft.com/office/drawing/2014/main" id="{A0FF4095-FEBC-41FB-B068-2760F0FE124B}"/>
                  </a:ext>
                </a:extLst>
              </p:cNvPr>
              <p:cNvSpPr/>
              <p:nvPr/>
            </p:nvSpPr>
            <p:spPr>
              <a:xfrm>
                <a:off x="6836343" y="1998498"/>
                <a:ext cx="3229" cy="717"/>
              </a:xfrm>
              <a:custGeom>
                <a:avLst/>
                <a:gdLst>
                  <a:gd name="connsiteX0" fmla="*/ 3230 w 3229"/>
                  <a:gd name="connsiteY0" fmla="*/ 718 h 717"/>
                  <a:gd name="connsiteX1" fmla="*/ 2692 w 3229"/>
                  <a:gd name="connsiteY1" fmla="*/ 598 h 717"/>
                  <a:gd name="connsiteX2" fmla="*/ 2572 w 3229"/>
                  <a:gd name="connsiteY2" fmla="*/ 598 h 717"/>
                  <a:gd name="connsiteX3" fmla="*/ 0 w 3229"/>
                  <a:gd name="connsiteY3" fmla="*/ 0 h 717"/>
                </a:gdLst>
                <a:ahLst/>
                <a:cxnLst>
                  <a:cxn ang="0">
                    <a:pos x="connsiteX0" y="connsiteY0"/>
                  </a:cxn>
                  <a:cxn ang="0">
                    <a:pos x="connsiteX1" y="connsiteY1"/>
                  </a:cxn>
                  <a:cxn ang="0">
                    <a:pos x="connsiteX2" y="connsiteY2"/>
                  </a:cxn>
                  <a:cxn ang="0">
                    <a:pos x="connsiteX3" y="connsiteY3"/>
                  </a:cxn>
                </a:cxnLst>
                <a:rect l="l" t="t" r="r" b="b"/>
                <a:pathLst>
                  <a:path w="3229" h="717">
                    <a:moveTo>
                      <a:pt x="3230" y="718"/>
                    </a:moveTo>
                    <a:lnTo>
                      <a:pt x="2692" y="598"/>
                    </a:lnTo>
                    <a:lnTo>
                      <a:pt x="2572" y="59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98" name="Vrije vorm: vorm 6897">
                <a:extLst>
                  <a:ext uri="{FF2B5EF4-FFF2-40B4-BE49-F238E27FC236}">
                    <a16:creationId xmlns:a16="http://schemas.microsoft.com/office/drawing/2014/main" id="{244A7F34-2ECE-46BA-A067-A0C27510DBC4}"/>
                  </a:ext>
                </a:extLst>
              </p:cNvPr>
              <p:cNvSpPr/>
              <p:nvPr/>
            </p:nvSpPr>
            <p:spPr>
              <a:xfrm>
                <a:off x="6989689" y="1973260"/>
                <a:ext cx="6518" cy="6818"/>
              </a:xfrm>
              <a:custGeom>
                <a:avLst/>
                <a:gdLst>
                  <a:gd name="connsiteX0" fmla="*/ 6519 w 6518"/>
                  <a:gd name="connsiteY0" fmla="*/ 5442 h 6818"/>
                  <a:gd name="connsiteX1" fmla="*/ 3648 w 6518"/>
                  <a:gd name="connsiteY1" fmla="*/ 6818 h 6818"/>
                  <a:gd name="connsiteX2" fmla="*/ 3350 w 6518"/>
                  <a:gd name="connsiteY2" fmla="*/ 6758 h 6818"/>
                  <a:gd name="connsiteX3" fmla="*/ 1256 w 6518"/>
                  <a:gd name="connsiteY3" fmla="*/ 6280 h 6818"/>
                  <a:gd name="connsiteX4" fmla="*/ 0 w 6518"/>
                  <a:gd name="connsiteY4" fmla="*/ 5981 h 6818"/>
                  <a:gd name="connsiteX5" fmla="*/ 0 w 6518"/>
                  <a:gd name="connsiteY5" fmla="*/ 4486 h 6818"/>
                  <a:gd name="connsiteX6" fmla="*/ 0 w 6518"/>
                  <a:gd name="connsiteY6" fmla="*/ 2632 h 6818"/>
                  <a:gd name="connsiteX7" fmla="*/ 0 w 6518"/>
                  <a:gd name="connsiteY7" fmla="*/ 1615 h 6818"/>
                  <a:gd name="connsiteX8" fmla="*/ 0 w 6518"/>
                  <a:gd name="connsiteY8" fmla="*/ 0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8" h="6818">
                    <a:moveTo>
                      <a:pt x="6519" y="5442"/>
                    </a:moveTo>
                    <a:lnTo>
                      <a:pt x="3648" y="6818"/>
                    </a:lnTo>
                    <a:lnTo>
                      <a:pt x="3350" y="6758"/>
                    </a:lnTo>
                    <a:lnTo>
                      <a:pt x="1256" y="6280"/>
                    </a:lnTo>
                    <a:lnTo>
                      <a:pt x="0" y="5981"/>
                    </a:lnTo>
                    <a:lnTo>
                      <a:pt x="0" y="4486"/>
                    </a:lnTo>
                    <a:lnTo>
                      <a:pt x="0" y="2632"/>
                    </a:lnTo>
                    <a:lnTo>
                      <a:pt x="0" y="161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899" name="Vrije vorm: vorm 6898">
                <a:extLst>
                  <a:ext uri="{FF2B5EF4-FFF2-40B4-BE49-F238E27FC236}">
                    <a16:creationId xmlns:a16="http://schemas.microsoft.com/office/drawing/2014/main" id="{B263F0B4-48D5-496C-8F80-C0AF3A10F0BD}"/>
                  </a:ext>
                </a:extLst>
              </p:cNvPr>
              <p:cNvSpPr/>
              <p:nvPr/>
            </p:nvSpPr>
            <p:spPr>
              <a:xfrm>
                <a:off x="6799443" y="2012015"/>
                <a:ext cx="1794" cy="2272"/>
              </a:xfrm>
              <a:custGeom>
                <a:avLst/>
                <a:gdLst>
                  <a:gd name="connsiteX0" fmla="*/ 1794 w 1794"/>
                  <a:gd name="connsiteY0" fmla="*/ 2273 h 2272"/>
                  <a:gd name="connsiteX1" fmla="*/ 60 w 1794"/>
                  <a:gd name="connsiteY1" fmla="*/ 419 h 2272"/>
                  <a:gd name="connsiteX2" fmla="*/ 0 w 1794"/>
                  <a:gd name="connsiteY2" fmla="*/ 0 h 2272"/>
                </a:gdLst>
                <a:ahLst/>
                <a:cxnLst>
                  <a:cxn ang="0">
                    <a:pos x="connsiteX0" y="connsiteY0"/>
                  </a:cxn>
                  <a:cxn ang="0">
                    <a:pos x="connsiteX1" y="connsiteY1"/>
                  </a:cxn>
                  <a:cxn ang="0">
                    <a:pos x="connsiteX2" y="connsiteY2"/>
                  </a:cxn>
                </a:cxnLst>
                <a:rect l="l" t="t" r="r" b="b"/>
                <a:pathLst>
                  <a:path w="1794" h="2272">
                    <a:moveTo>
                      <a:pt x="1794" y="2273"/>
                    </a:moveTo>
                    <a:lnTo>
                      <a:pt x="60" y="41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00" name="Vrije vorm: vorm 6899">
                <a:extLst>
                  <a:ext uri="{FF2B5EF4-FFF2-40B4-BE49-F238E27FC236}">
                    <a16:creationId xmlns:a16="http://schemas.microsoft.com/office/drawing/2014/main" id="{08C6B493-41C5-4FDA-8F44-7D78B0AF1DA3}"/>
                  </a:ext>
                </a:extLst>
              </p:cNvPr>
              <p:cNvSpPr/>
              <p:nvPr/>
            </p:nvSpPr>
            <p:spPr>
              <a:xfrm>
                <a:off x="6637783" y="1865367"/>
                <a:ext cx="11184" cy="3289"/>
              </a:xfrm>
              <a:custGeom>
                <a:avLst/>
                <a:gdLst>
                  <a:gd name="connsiteX0" fmla="*/ 11184 w 11184"/>
                  <a:gd name="connsiteY0" fmla="*/ 0 h 3289"/>
                  <a:gd name="connsiteX1" fmla="*/ 1795 w 11184"/>
                  <a:gd name="connsiteY1" fmla="*/ 3289 h 3289"/>
                  <a:gd name="connsiteX2" fmla="*/ 0 w 11184"/>
                  <a:gd name="connsiteY2" fmla="*/ 837 h 3289"/>
                </a:gdLst>
                <a:ahLst/>
                <a:cxnLst>
                  <a:cxn ang="0">
                    <a:pos x="connsiteX0" y="connsiteY0"/>
                  </a:cxn>
                  <a:cxn ang="0">
                    <a:pos x="connsiteX1" y="connsiteY1"/>
                  </a:cxn>
                  <a:cxn ang="0">
                    <a:pos x="connsiteX2" y="connsiteY2"/>
                  </a:cxn>
                </a:cxnLst>
                <a:rect l="l" t="t" r="r" b="b"/>
                <a:pathLst>
                  <a:path w="11184" h="3289">
                    <a:moveTo>
                      <a:pt x="11184" y="0"/>
                    </a:moveTo>
                    <a:lnTo>
                      <a:pt x="1795" y="3289"/>
                    </a:lnTo>
                    <a:lnTo>
                      <a:pt x="0" y="837"/>
                    </a:lnTo>
                  </a:path>
                </a:pathLst>
              </a:custGeom>
              <a:noFill/>
              <a:ln w="6350" cap="rnd">
                <a:solidFill>
                  <a:schemeClr val="bg1">
                    <a:alpha val="80000"/>
                  </a:schemeClr>
                </a:solidFill>
                <a:prstDash val="solid"/>
                <a:round/>
              </a:ln>
            </p:spPr>
            <p:txBody>
              <a:bodyPr rtlCol="0" anchor="ctr"/>
              <a:lstStyle/>
              <a:p>
                <a:endParaRPr lang="en-GB"/>
              </a:p>
            </p:txBody>
          </p:sp>
          <p:sp>
            <p:nvSpPr>
              <p:cNvPr id="6901" name="Vrije vorm: vorm 6900">
                <a:extLst>
                  <a:ext uri="{FF2B5EF4-FFF2-40B4-BE49-F238E27FC236}">
                    <a16:creationId xmlns:a16="http://schemas.microsoft.com/office/drawing/2014/main" id="{9151086F-9804-468B-B479-B285FE1A661C}"/>
                  </a:ext>
                </a:extLst>
              </p:cNvPr>
              <p:cNvSpPr/>
              <p:nvPr/>
            </p:nvSpPr>
            <p:spPr>
              <a:xfrm>
                <a:off x="6620260" y="1959085"/>
                <a:ext cx="5502" cy="4066"/>
              </a:xfrm>
              <a:custGeom>
                <a:avLst/>
                <a:gdLst>
                  <a:gd name="connsiteX0" fmla="*/ 5503 w 5502"/>
                  <a:gd name="connsiteY0" fmla="*/ 4067 h 4066"/>
                  <a:gd name="connsiteX1" fmla="*/ 3050 w 5502"/>
                  <a:gd name="connsiteY1" fmla="*/ 2572 h 4066"/>
                  <a:gd name="connsiteX2" fmla="*/ 0 w 5502"/>
                  <a:gd name="connsiteY2" fmla="*/ 0 h 4066"/>
                </a:gdLst>
                <a:ahLst/>
                <a:cxnLst>
                  <a:cxn ang="0">
                    <a:pos x="connsiteX0" y="connsiteY0"/>
                  </a:cxn>
                  <a:cxn ang="0">
                    <a:pos x="connsiteX1" y="connsiteY1"/>
                  </a:cxn>
                  <a:cxn ang="0">
                    <a:pos x="connsiteX2" y="connsiteY2"/>
                  </a:cxn>
                </a:cxnLst>
                <a:rect l="l" t="t" r="r" b="b"/>
                <a:pathLst>
                  <a:path w="5502" h="4066">
                    <a:moveTo>
                      <a:pt x="5503" y="4067"/>
                    </a:moveTo>
                    <a:lnTo>
                      <a:pt x="3050" y="2572"/>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02" name="Vrije vorm: vorm 6901">
                <a:extLst>
                  <a:ext uri="{FF2B5EF4-FFF2-40B4-BE49-F238E27FC236}">
                    <a16:creationId xmlns:a16="http://schemas.microsoft.com/office/drawing/2014/main" id="{B49BB845-CFEC-4AB2-8CB7-022FC614520A}"/>
                  </a:ext>
                </a:extLst>
              </p:cNvPr>
              <p:cNvSpPr/>
              <p:nvPr/>
            </p:nvSpPr>
            <p:spPr>
              <a:xfrm>
                <a:off x="6655188" y="1843777"/>
                <a:ext cx="1614" cy="2272"/>
              </a:xfrm>
              <a:custGeom>
                <a:avLst/>
                <a:gdLst>
                  <a:gd name="connsiteX0" fmla="*/ 1615 w 1614"/>
                  <a:gd name="connsiteY0" fmla="*/ 2273 h 2272"/>
                  <a:gd name="connsiteX1" fmla="*/ 0 w 1614"/>
                  <a:gd name="connsiteY1" fmla="*/ 0 h 2272"/>
                </a:gdLst>
                <a:ahLst/>
                <a:cxnLst>
                  <a:cxn ang="0">
                    <a:pos x="connsiteX0" y="connsiteY0"/>
                  </a:cxn>
                  <a:cxn ang="0">
                    <a:pos x="connsiteX1" y="connsiteY1"/>
                  </a:cxn>
                </a:cxnLst>
                <a:rect l="l" t="t" r="r" b="b"/>
                <a:pathLst>
                  <a:path w="1614" h="2272">
                    <a:moveTo>
                      <a:pt x="1615" y="2273"/>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03" name="Vrije vorm: vorm 6902">
                <a:extLst>
                  <a:ext uri="{FF2B5EF4-FFF2-40B4-BE49-F238E27FC236}">
                    <a16:creationId xmlns:a16="http://schemas.microsoft.com/office/drawing/2014/main" id="{8D0F13CE-4C64-45CB-A99D-2A2EAFEA4682}"/>
                  </a:ext>
                </a:extLst>
              </p:cNvPr>
              <p:cNvSpPr/>
              <p:nvPr/>
            </p:nvSpPr>
            <p:spPr>
              <a:xfrm>
                <a:off x="6664876" y="1905438"/>
                <a:ext cx="3110" cy="3110"/>
              </a:xfrm>
              <a:custGeom>
                <a:avLst/>
                <a:gdLst>
                  <a:gd name="connsiteX0" fmla="*/ 3110 w 3110"/>
                  <a:gd name="connsiteY0" fmla="*/ 0 h 3110"/>
                  <a:gd name="connsiteX1" fmla="*/ 2452 w 3110"/>
                  <a:gd name="connsiteY1" fmla="*/ 1376 h 3110"/>
                  <a:gd name="connsiteX2" fmla="*/ 0 w 3110"/>
                  <a:gd name="connsiteY2" fmla="*/ 3110 h 3110"/>
                </a:gdLst>
                <a:ahLst/>
                <a:cxnLst>
                  <a:cxn ang="0">
                    <a:pos x="connsiteX0" y="connsiteY0"/>
                  </a:cxn>
                  <a:cxn ang="0">
                    <a:pos x="connsiteX1" y="connsiteY1"/>
                  </a:cxn>
                  <a:cxn ang="0">
                    <a:pos x="connsiteX2" y="connsiteY2"/>
                  </a:cxn>
                </a:cxnLst>
                <a:rect l="l" t="t" r="r" b="b"/>
                <a:pathLst>
                  <a:path w="3110" h="3110">
                    <a:moveTo>
                      <a:pt x="3110" y="0"/>
                    </a:moveTo>
                    <a:lnTo>
                      <a:pt x="2452" y="1376"/>
                    </a:lnTo>
                    <a:lnTo>
                      <a:pt x="0" y="3110"/>
                    </a:lnTo>
                  </a:path>
                </a:pathLst>
              </a:custGeom>
              <a:noFill/>
              <a:ln w="6350" cap="rnd">
                <a:solidFill>
                  <a:schemeClr val="bg1">
                    <a:alpha val="80000"/>
                  </a:schemeClr>
                </a:solidFill>
                <a:prstDash val="solid"/>
                <a:round/>
              </a:ln>
            </p:spPr>
            <p:txBody>
              <a:bodyPr rtlCol="0" anchor="ctr"/>
              <a:lstStyle/>
              <a:p>
                <a:endParaRPr lang="en-GB"/>
              </a:p>
            </p:txBody>
          </p:sp>
          <p:sp>
            <p:nvSpPr>
              <p:cNvPr id="6904" name="Vrije vorm: vorm 6903">
                <a:extLst>
                  <a:ext uri="{FF2B5EF4-FFF2-40B4-BE49-F238E27FC236}">
                    <a16:creationId xmlns:a16="http://schemas.microsoft.com/office/drawing/2014/main" id="{D8E10E0E-C663-4A6C-912A-3B588982746C}"/>
                  </a:ext>
                </a:extLst>
              </p:cNvPr>
              <p:cNvSpPr/>
              <p:nvPr/>
            </p:nvSpPr>
            <p:spPr>
              <a:xfrm>
                <a:off x="6822049" y="2051607"/>
                <a:ext cx="3648" cy="897"/>
              </a:xfrm>
              <a:custGeom>
                <a:avLst/>
                <a:gdLst>
                  <a:gd name="connsiteX0" fmla="*/ 0 w 3648"/>
                  <a:gd name="connsiteY0" fmla="*/ 897 h 897"/>
                  <a:gd name="connsiteX1" fmla="*/ 3649 w 3648"/>
                  <a:gd name="connsiteY1" fmla="*/ 0 h 897"/>
                </a:gdLst>
                <a:ahLst/>
                <a:cxnLst>
                  <a:cxn ang="0">
                    <a:pos x="connsiteX0" y="connsiteY0"/>
                  </a:cxn>
                  <a:cxn ang="0">
                    <a:pos x="connsiteX1" y="connsiteY1"/>
                  </a:cxn>
                </a:cxnLst>
                <a:rect l="l" t="t" r="r" b="b"/>
                <a:pathLst>
                  <a:path w="3648" h="897">
                    <a:moveTo>
                      <a:pt x="0" y="897"/>
                    </a:moveTo>
                    <a:lnTo>
                      <a:pt x="3649" y="0"/>
                    </a:lnTo>
                  </a:path>
                </a:pathLst>
              </a:custGeom>
              <a:noFill/>
              <a:ln w="6350" cap="rnd">
                <a:solidFill>
                  <a:schemeClr val="bg1">
                    <a:alpha val="80000"/>
                  </a:schemeClr>
                </a:solidFill>
                <a:prstDash val="solid"/>
                <a:round/>
              </a:ln>
            </p:spPr>
            <p:txBody>
              <a:bodyPr rtlCol="0" anchor="ctr"/>
              <a:lstStyle/>
              <a:p>
                <a:endParaRPr lang="en-GB"/>
              </a:p>
            </p:txBody>
          </p:sp>
          <p:sp>
            <p:nvSpPr>
              <p:cNvPr id="6905" name="Vrije vorm: vorm 6904">
                <a:extLst>
                  <a:ext uri="{FF2B5EF4-FFF2-40B4-BE49-F238E27FC236}">
                    <a16:creationId xmlns:a16="http://schemas.microsoft.com/office/drawing/2014/main" id="{EEDDB58C-2392-441A-BDC9-E248B154405C}"/>
                  </a:ext>
                </a:extLst>
              </p:cNvPr>
              <p:cNvSpPr/>
              <p:nvPr/>
            </p:nvSpPr>
            <p:spPr>
              <a:xfrm>
                <a:off x="6936940" y="1839112"/>
                <a:ext cx="1614" cy="956"/>
              </a:xfrm>
              <a:custGeom>
                <a:avLst/>
                <a:gdLst>
                  <a:gd name="connsiteX0" fmla="*/ 1614 w 1614"/>
                  <a:gd name="connsiteY0" fmla="*/ 957 h 956"/>
                  <a:gd name="connsiteX1" fmla="*/ 0 w 1614"/>
                  <a:gd name="connsiteY1" fmla="*/ 0 h 956"/>
                </a:gdLst>
                <a:ahLst/>
                <a:cxnLst>
                  <a:cxn ang="0">
                    <a:pos x="connsiteX0" y="connsiteY0"/>
                  </a:cxn>
                  <a:cxn ang="0">
                    <a:pos x="connsiteX1" y="connsiteY1"/>
                  </a:cxn>
                </a:cxnLst>
                <a:rect l="l" t="t" r="r" b="b"/>
                <a:pathLst>
                  <a:path w="1614" h="956">
                    <a:moveTo>
                      <a:pt x="1614" y="957"/>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06" name="Vrije vorm: vorm 6905">
                <a:extLst>
                  <a:ext uri="{FF2B5EF4-FFF2-40B4-BE49-F238E27FC236}">
                    <a16:creationId xmlns:a16="http://schemas.microsoft.com/office/drawing/2014/main" id="{61BBFD7F-C1B2-4DCD-BBD1-0D7A5040FCC6}"/>
                  </a:ext>
                </a:extLst>
              </p:cNvPr>
              <p:cNvSpPr/>
              <p:nvPr/>
            </p:nvSpPr>
            <p:spPr>
              <a:xfrm>
                <a:off x="6854046" y="1973917"/>
                <a:ext cx="3349" cy="897"/>
              </a:xfrm>
              <a:custGeom>
                <a:avLst/>
                <a:gdLst>
                  <a:gd name="connsiteX0" fmla="*/ 3350 w 3349"/>
                  <a:gd name="connsiteY0" fmla="*/ 897 h 897"/>
                  <a:gd name="connsiteX1" fmla="*/ 0 w 3349"/>
                  <a:gd name="connsiteY1" fmla="*/ 0 h 897"/>
                </a:gdLst>
                <a:ahLst/>
                <a:cxnLst>
                  <a:cxn ang="0">
                    <a:pos x="connsiteX0" y="connsiteY0"/>
                  </a:cxn>
                  <a:cxn ang="0">
                    <a:pos x="connsiteX1" y="connsiteY1"/>
                  </a:cxn>
                </a:cxnLst>
                <a:rect l="l" t="t" r="r" b="b"/>
                <a:pathLst>
                  <a:path w="3349" h="897">
                    <a:moveTo>
                      <a:pt x="3350" y="897"/>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07" name="Vrije vorm: vorm 6906">
                <a:extLst>
                  <a:ext uri="{FF2B5EF4-FFF2-40B4-BE49-F238E27FC236}">
                    <a16:creationId xmlns:a16="http://schemas.microsoft.com/office/drawing/2014/main" id="{7081F206-2AC0-4088-A3FB-40722F96852D}"/>
                  </a:ext>
                </a:extLst>
              </p:cNvPr>
              <p:cNvSpPr/>
              <p:nvPr/>
            </p:nvSpPr>
            <p:spPr>
              <a:xfrm>
                <a:off x="6661766" y="1823921"/>
                <a:ext cx="777" cy="7236"/>
              </a:xfrm>
              <a:custGeom>
                <a:avLst/>
                <a:gdLst>
                  <a:gd name="connsiteX0" fmla="*/ 0 w 777"/>
                  <a:gd name="connsiteY0" fmla="*/ 7237 h 7236"/>
                  <a:gd name="connsiteX1" fmla="*/ 778 w 777"/>
                  <a:gd name="connsiteY1" fmla="*/ 0 h 7236"/>
                </a:gdLst>
                <a:ahLst/>
                <a:cxnLst>
                  <a:cxn ang="0">
                    <a:pos x="connsiteX0" y="connsiteY0"/>
                  </a:cxn>
                  <a:cxn ang="0">
                    <a:pos x="connsiteX1" y="connsiteY1"/>
                  </a:cxn>
                </a:cxnLst>
                <a:rect l="l" t="t" r="r" b="b"/>
                <a:pathLst>
                  <a:path w="777" h="7236">
                    <a:moveTo>
                      <a:pt x="0" y="7237"/>
                    </a:moveTo>
                    <a:lnTo>
                      <a:pt x="778" y="0"/>
                    </a:lnTo>
                  </a:path>
                </a:pathLst>
              </a:custGeom>
              <a:noFill/>
              <a:ln w="6350" cap="rnd">
                <a:solidFill>
                  <a:schemeClr val="bg1">
                    <a:alpha val="80000"/>
                  </a:schemeClr>
                </a:solidFill>
                <a:prstDash val="solid"/>
                <a:round/>
              </a:ln>
            </p:spPr>
            <p:txBody>
              <a:bodyPr rtlCol="0" anchor="ctr"/>
              <a:lstStyle/>
              <a:p>
                <a:endParaRPr lang="en-GB"/>
              </a:p>
            </p:txBody>
          </p:sp>
          <p:sp>
            <p:nvSpPr>
              <p:cNvPr id="6908" name="Vrije vorm: vorm 6907">
                <a:extLst>
                  <a:ext uri="{FF2B5EF4-FFF2-40B4-BE49-F238E27FC236}">
                    <a16:creationId xmlns:a16="http://schemas.microsoft.com/office/drawing/2014/main" id="{B23A4FA0-4049-40D0-A5AC-656EA8BD2648}"/>
                  </a:ext>
                </a:extLst>
              </p:cNvPr>
              <p:cNvSpPr/>
              <p:nvPr/>
            </p:nvSpPr>
            <p:spPr>
              <a:xfrm>
                <a:off x="7073360" y="2031811"/>
                <a:ext cx="6399" cy="12918"/>
              </a:xfrm>
              <a:custGeom>
                <a:avLst/>
                <a:gdLst>
                  <a:gd name="connsiteX0" fmla="*/ 6400 w 6399"/>
                  <a:gd name="connsiteY0" fmla="*/ 0 h 12918"/>
                  <a:gd name="connsiteX1" fmla="*/ 1914 w 6399"/>
                  <a:gd name="connsiteY1" fmla="*/ 9031 h 12918"/>
                  <a:gd name="connsiteX2" fmla="*/ 0 w 6399"/>
                  <a:gd name="connsiteY2" fmla="*/ 12918 h 12918"/>
                </a:gdLst>
                <a:ahLst/>
                <a:cxnLst>
                  <a:cxn ang="0">
                    <a:pos x="connsiteX0" y="connsiteY0"/>
                  </a:cxn>
                  <a:cxn ang="0">
                    <a:pos x="connsiteX1" y="connsiteY1"/>
                  </a:cxn>
                  <a:cxn ang="0">
                    <a:pos x="connsiteX2" y="connsiteY2"/>
                  </a:cxn>
                </a:cxnLst>
                <a:rect l="l" t="t" r="r" b="b"/>
                <a:pathLst>
                  <a:path w="6399" h="12918">
                    <a:moveTo>
                      <a:pt x="6400" y="0"/>
                    </a:moveTo>
                    <a:lnTo>
                      <a:pt x="1914" y="9031"/>
                    </a:lnTo>
                    <a:lnTo>
                      <a:pt x="0" y="12918"/>
                    </a:lnTo>
                  </a:path>
                </a:pathLst>
              </a:custGeom>
              <a:noFill/>
              <a:ln w="6350" cap="rnd">
                <a:solidFill>
                  <a:schemeClr val="bg1">
                    <a:alpha val="80000"/>
                  </a:schemeClr>
                </a:solidFill>
                <a:prstDash val="solid"/>
                <a:round/>
              </a:ln>
            </p:spPr>
            <p:txBody>
              <a:bodyPr rtlCol="0" anchor="ctr"/>
              <a:lstStyle/>
              <a:p>
                <a:endParaRPr lang="en-GB"/>
              </a:p>
            </p:txBody>
          </p:sp>
          <p:sp>
            <p:nvSpPr>
              <p:cNvPr id="6909" name="Vrije vorm: vorm 6908">
                <a:extLst>
                  <a:ext uri="{FF2B5EF4-FFF2-40B4-BE49-F238E27FC236}">
                    <a16:creationId xmlns:a16="http://schemas.microsoft.com/office/drawing/2014/main" id="{DAEEBD1A-6FE6-4CFD-BD1B-C2C5A6F4C232}"/>
                  </a:ext>
                </a:extLst>
              </p:cNvPr>
              <p:cNvSpPr/>
              <p:nvPr/>
            </p:nvSpPr>
            <p:spPr>
              <a:xfrm>
                <a:off x="7083407" y="2010639"/>
                <a:ext cx="5143" cy="13815"/>
              </a:xfrm>
              <a:custGeom>
                <a:avLst/>
                <a:gdLst>
                  <a:gd name="connsiteX0" fmla="*/ 5143 w 5143"/>
                  <a:gd name="connsiteY0" fmla="*/ 0 h 13815"/>
                  <a:gd name="connsiteX1" fmla="*/ 4306 w 5143"/>
                  <a:gd name="connsiteY1" fmla="*/ 2273 h 13815"/>
                  <a:gd name="connsiteX2" fmla="*/ 0 w 5143"/>
                  <a:gd name="connsiteY2" fmla="*/ 13816 h 13815"/>
                </a:gdLst>
                <a:ahLst/>
                <a:cxnLst>
                  <a:cxn ang="0">
                    <a:pos x="connsiteX0" y="connsiteY0"/>
                  </a:cxn>
                  <a:cxn ang="0">
                    <a:pos x="connsiteX1" y="connsiteY1"/>
                  </a:cxn>
                  <a:cxn ang="0">
                    <a:pos x="connsiteX2" y="connsiteY2"/>
                  </a:cxn>
                </a:cxnLst>
                <a:rect l="l" t="t" r="r" b="b"/>
                <a:pathLst>
                  <a:path w="5143" h="13815">
                    <a:moveTo>
                      <a:pt x="5143" y="0"/>
                    </a:moveTo>
                    <a:lnTo>
                      <a:pt x="4306" y="2273"/>
                    </a:lnTo>
                    <a:lnTo>
                      <a:pt x="0" y="13816"/>
                    </a:lnTo>
                  </a:path>
                </a:pathLst>
              </a:custGeom>
              <a:noFill/>
              <a:ln w="6350" cap="rnd">
                <a:solidFill>
                  <a:schemeClr val="bg1">
                    <a:alpha val="80000"/>
                  </a:schemeClr>
                </a:solidFill>
                <a:prstDash val="solid"/>
                <a:round/>
              </a:ln>
            </p:spPr>
            <p:txBody>
              <a:bodyPr rtlCol="0" anchor="ctr"/>
              <a:lstStyle/>
              <a:p>
                <a:endParaRPr lang="en-GB"/>
              </a:p>
            </p:txBody>
          </p:sp>
          <p:sp>
            <p:nvSpPr>
              <p:cNvPr id="6910" name="Vrije vorm: vorm 6909">
                <a:extLst>
                  <a:ext uri="{FF2B5EF4-FFF2-40B4-BE49-F238E27FC236}">
                    <a16:creationId xmlns:a16="http://schemas.microsoft.com/office/drawing/2014/main" id="{615D6D68-9D11-44CF-A05A-10BFFEA508D6}"/>
                  </a:ext>
                </a:extLst>
              </p:cNvPr>
              <p:cNvSpPr/>
              <p:nvPr/>
            </p:nvSpPr>
            <p:spPr>
              <a:xfrm>
                <a:off x="7092019" y="1992218"/>
                <a:ext cx="1315" cy="6100"/>
              </a:xfrm>
              <a:custGeom>
                <a:avLst/>
                <a:gdLst>
                  <a:gd name="connsiteX0" fmla="*/ 1316 w 1315"/>
                  <a:gd name="connsiteY0" fmla="*/ 0 h 6100"/>
                  <a:gd name="connsiteX1" fmla="*/ 1077 w 1315"/>
                  <a:gd name="connsiteY1" fmla="*/ 1136 h 6100"/>
                  <a:gd name="connsiteX2" fmla="*/ 0 w 1315"/>
                  <a:gd name="connsiteY2" fmla="*/ 6100 h 6100"/>
                </a:gdLst>
                <a:ahLst/>
                <a:cxnLst>
                  <a:cxn ang="0">
                    <a:pos x="connsiteX0" y="connsiteY0"/>
                  </a:cxn>
                  <a:cxn ang="0">
                    <a:pos x="connsiteX1" y="connsiteY1"/>
                  </a:cxn>
                  <a:cxn ang="0">
                    <a:pos x="connsiteX2" y="connsiteY2"/>
                  </a:cxn>
                </a:cxnLst>
                <a:rect l="l" t="t" r="r" b="b"/>
                <a:pathLst>
                  <a:path w="1315" h="6100">
                    <a:moveTo>
                      <a:pt x="1316" y="0"/>
                    </a:moveTo>
                    <a:lnTo>
                      <a:pt x="1077" y="1136"/>
                    </a:lnTo>
                    <a:lnTo>
                      <a:pt x="0" y="6100"/>
                    </a:lnTo>
                  </a:path>
                </a:pathLst>
              </a:custGeom>
              <a:noFill/>
              <a:ln w="6350" cap="rnd">
                <a:solidFill>
                  <a:schemeClr val="bg1">
                    <a:alpha val="80000"/>
                  </a:schemeClr>
                </a:solidFill>
                <a:prstDash val="solid"/>
                <a:round/>
              </a:ln>
            </p:spPr>
            <p:txBody>
              <a:bodyPr rtlCol="0" anchor="ctr"/>
              <a:lstStyle/>
              <a:p>
                <a:endParaRPr lang="en-GB"/>
              </a:p>
            </p:txBody>
          </p:sp>
          <p:sp>
            <p:nvSpPr>
              <p:cNvPr id="6911" name="Vrije vorm: vorm 6910">
                <a:extLst>
                  <a:ext uri="{FF2B5EF4-FFF2-40B4-BE49-F238E27FC236}">
                    <a16:creationId xmlns:a16="http://schemas.microsoft.com/office/drawing/2014/main" id="{5A507BDE-69EE-4797-AE2D-A78BC743675E}"/>
                  </a:ext>
                </a:extLst>
              </p:cNvPr>
              <p:cNvSpPr/>
              <p:nvPr/>
            </p:nvSpPr>
            <p:spPr>
              <a:xfrm>
                <a:off x="6992022" y="2082587"/>
                <a:ext cx="2750" cy="1136"/>
              </a:xfrm>
              <a:custGeom>
                <a:avLst/>
                <a:gdLst>
                  <a:gd name="connsiteX0" fmla="*/ 0 w 2750"/>
                  <a:gd name="connsiteY0" fmla="*/ 1136 h 1136"/>
                  <a:gd name="connsiteX1" fmla="*/ 2751 w 2750"/>
                  <a:gd name="connsiteY1" fmla="*/ 0 h 1136"/>
                </a:gdLst>
                <a:ahLst/>
                <a:cxnLst>
                  <a:cxn ang="0">
                    <a:pos x="connsiteX0" y="connsiteY0"/>
                  </a:cxn>
                  <a:cxn ang="0">
                    <a:pos x="connsiteX1" y="connsiteY1"/>
                  </a:cxn>
                </a:cxnLst>
                <a:rect l="l" t="t" r="r" b="b"/>
                <a:pathLst>
                  <a:path w="2750" h="1136">
                    <a:moveTo>
                      <a:pt x="0" y="1136"/>
                    </a:moveTo>
                    <a:lnTo>
                      <a:pt x="2751" y="0"/>
                    </a:lnTo>
                  </a:path>
                </a:pathLst>
              </a:custGeom>
              <a:noFill/>
              <a:ln w="6350" cap="rnd">
                <a:solidFill>
                  <a:schemeClr val="bg1">
                    <a:alpha val="80000"/>
                  </a:schemeClr>
                </a:solidFill>
                <a:prstDash val="solid"/>
                <a:round/>
              </a:ln>
            </p:spPr>
            <p:txBody>
              <a:bodyPr rtlCol="0" anchor="ctr"/>
              <a:lstStyle/>
              <a:p>
                <a:endParaRPr lang="en-GB"/>
              </a:p>
            </p:txBody>
          </p:sp>
          <p:sp>
            <p:nvSpPr>
              <p:cNvPr id="6912" name="Vrije vorm: vorm 6911">
                <a:extLst>
                  <a:ext uri="{FF2B5EF4-FFF2-40B4-BE49-F238E27FC236}">
                    <a16:creationId xmlns:a16="http://schemas.microsoft.com/office/drawing/2014/main" id="{C0321614-1091-483A-8518-9D30D89E380F}"/>
                  </a:ext>
                </a:extLst>
              </p:cNvPr>
              <p:cNvSpPr/>
              <p:nvPr/>
            </p:nvSpPr>
            <p:spPr>
              <a:xfrm>
                <a:off x="7015167" y="2035220"/>
                <a:ext cx="1495" cy="59"/>
              </a:xfrm>
              <a:custGeom>
                <a:avLst/>
                <a:gdLst>
                  <a:gd name="connsiteX0" fmla="*/ 0 w 1495"/>
                  <a:gd name="connsiteY0" fmla="*/ 0 h 59"/>
                  <a:gd name="connsiteX1" fmla="*/ 1495 w 1495"/>
                  <a:gd name="connsiteY1" fmla="*/ 60 h 59"/>
                </a:gdLst>
                <a:ahLst/>
                <a:cxnLst>
                  <a:cxn ang="0">
                    <a:pos x="connsiteX0" y="connsiteY0"/>
                  </a:cxn>
                  <a:cxn ang="0">
                    <a:pos x="connsiteX1" y="connsiteY1"/>
                  </a:cxn>
                </a:cxnLst>
                <a:rect l="l" t="t" r="r" b="b"/>
                <a:pathLst>
                  <a:path w="1495" h="59">
                    <a:moveTo>
                      <a:pt x="0" y="0"/>
                    </a:moveTo>
                    <a:lnTo>
                      <a:pt x="1495" y="60"/>
                    </a:lnTo>
                  </a:path>
                </a:pathLst>
              </a:custGeom>
              <a:noFill/>
              <a:ln w="6350" cap="rnd">
                <a:solidFill>
                  <a:schemeClr val="bg1">
                    <a:alpha val="80000"/>
                  </a:schemeClr>
                </a:solidFill>
                <a:prstDash val="solid"/>
                <a:round/>
              </a:ln>
            </p:spPr>
            <p:txBody>
              <a:bodyPr rtlCol="0" anchor="ctr"/>
              <a:lstStyle/>
              <a:p>
                <a:endParaRPr lang="en-GB"/>
              </a:p>
            </p:txBody>
          </p:sp>
          <p:sp>
            <p:nvSpPr>
              <p:cNvPr id="6913" name="Vrije vorm: vorm 6912">
                <a:extLst>
                  <a:ext uri="{FF2B5EF4-FFF2-40B4-BE49-F238E27FC236}">
                    <a16:creationId xmlns:a16="http://schemas.microsoft.com/office/drawing/2014/main" id="{0C3A66E0-0F80-4432-8C66-D028CE00B7AC}"/>
                  </a:ext>
                </a:extLst>
              </p:cNvPr>
              <p:cNvSpPr/>
              <p:nvPr/>
            </p:nvSpPr>
            <p:spPr>
              <a:xfrm>
                <a:off x="6944714" y="2110039"/>
                <a:ext cx="777" cy="478"/>
              </a:xfrm>
              <a:custGeom>
                <a:avLst/>
                <a:gdLst>
                  <a:gd name="connsiteX0" fmla="*/ 778 w 777"/>
                  <a:gd name="connsiteY0" fmla="*/ 478 h 478"/>
                  <a:gd name="connsiteX1" fmla="*/ 0 w 777"/>
                  <a:gd name="connsiteY1" fmla="*/ 0 h 478"/>
                </a:gdLst>
                <a:ahLst/>
                <a:cxnLst>
                  <a:cxn ang="0">
                    <a:pos x="connsiteX0" y="connsiteY0"/>
                  </a:cxn>
                  <a:cxn ang="0">
                    <a:pos x="connsiteX1" y="connsiteY1"/>
                  </a:cxn>
                </a:cxnLst>
                <a:rect l="l" t="t" r="r" b="b"/>
                <a:pathLst>
                  <a:path w="777" h="478">
                    <a:moveTo>
                      <a:pt x="778" y="478"/>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14" name="Vrije vorm: vorm 6913">
                <a:extLst>
                  <a:ext uri="{FF2B5EF4-FFF2-40B4-BE49-F238E27FC236}">
                    <a16:creationId xmlns:a16="http://schemas.microsoft.com/office/drawing/2014/main" id="{B5BA45C1-AF66-4338-8B7B-15A2B42C3FC2}"/>
                  </a:ext>
                </a:extLst>
              </p:cNvPr>
              <p:cNvSpPr/>
              <p:nvPr/>
            </p:nvSpPr>
            <p:spPr>
              <a:xfrm>
                <a:off x="7082630" y="1870690"/>
                <a:ext cx="358" cy="59"/>
              </a:xfrm>
              <a:custGeom>
                <a:avLst/>
                <a:gdLst>
                  <a:gd name="connsiteX0" fmla="*/ 0 w 358"/>
                  <a:gd name="connsiteY0" fmla="*/ 0 h 59"/>
                  <a:gd name="connsiteX1" fmla="*/ 358 w 358"/>
                  <a:gd name="connsiteY1" fmla="*/ 60 h 59"/>
                </a:gdLst>
                <a:ahLst/>
                <a:cxnLst>
                  <a:cxn ang="0">
                    <a:pos x="connsiteX0" y="connsiteY0"/>
                  </a:cxn>
                  <a:cxn ang="0">
                    <a:pos x="connsiteX1" y="connsiteY1"/>
                  </a:cxn>
                </a:cxnLst>
                <a:rect l="l" t="t" r="r" b="b"/>
                <a:pathLst>
                  <a:path w="358" h="59">
                    <a:moveTo>
                      <a:pt x="0" y="0"/>
                    </a:moveTo>
                    <a:lnTo>
                      <a:pt x="358" y="60"/>
                    </a:lnTo>
                  </a:path>
                </a:pathLst>
              </a:custGeom>
              <a:noFill/>
              <a:ln w="6350" cap="rnd">
                <a:solidFill>
                  <a:schemeClr val="bg1">
                    <a:alpha val="80000"/>
                  </a:schemeClr>
                </a:solidFill>
                <a:prstDash val="solid"/>
                <a:round/>
              </a:ln>
            </p:spPr>
            <p:txBody>
              <a:bodyPr rtlCol="0" anchor="ctr"/>
              <a:lstStyle/>
              <a:p>
                <a:endParaRPr lang="en-GB"/>
              </a:p>
            </p:txBody>
          </p:sp>
          <p:sp>
            <p:nvSpPr>
              <p:cNvPr id="6915" name="Vrije vorm: vorm 6914">
                <a:extLst>
                  <a:ext uri="{FF2B5EF4-FFF2-40B4-BE49-F238E27FC236}">
                    <a16:creationId xmlns:a16="http://schemas.microsoft.com/office/drawing/2014/main" id="{7430031D-091B-4AF2-AD26-28F575F40CFB}"/>
                  </a:ext>
                </a:extLst>
              </p:cNvPr>
              <p:cNvSpPr/>
              <p:nvPr/>
            </p:nvSpPr>
            <p:spPr>
              <a:xfrm>
                <a:off x="7065644" y="1893716"/>
                <a:ext cx="957" cy="657"/>
              </a:xfrm>
              <a:custGeom>
                <a:avLst/>
                <a:gdLst>
                  <a:gd name="connsiteX0" fmla="*/ 0 w 957"/>
                  <a:gd name="connsiteY0" fmla="*/ 658 h 657"/>
                  <a:gd name="connsiteX1" fmla="*/ 957 w 957"/>
                  <a:gd name="connsiteY1" fmla="*/ 0 h 657"/>
                </a:gdLst>
                <a:ahLst/>
                <a:cxnLst>
                  <a:cxn ang="0">
                    <a:pos x="connsiteX0" y="connsiteY0"/>
                  </a:cxn>
                  <a:cxn ang="0">
                    <a:pos x="connsiteX1" y="connsiteY1"/>
                  </a:cxn>
                </a:cxnLst>
                <a:rect l="l" t="t" r="r" b="b"/>
                <a:pathLst>
                  <a:path w="957" h="657">
                    <a:moveTo>
                      <a:pt x="0" y="658"/>
                    </a:moveTo>
                    <a:lnTo>
                      <a:pt x="957" y="0"/>
                    </a:lnTo>
                  </a:path>
                </a:pathLst>
              </a:custGeom>
              <a:noFill/>
              <a:ln w="6350" cap="rnd">
                <a:solidFill>
                  <a:schemeClr val="bg1">
                    <a:alpha val="80000"/>
                  </a:schemeClr>
                </a:solidFill>
                <a:prstDash val="solid"/>
                <a:round/>
              </a:ln>
            </p:spPr>
            <p:txBody>
              <a:bodyPr rtlCol="0" anchor="ctr"/>
              <a:lstStyle/>
              <a:p>
                <a:endParaRPr lang="en-GB"/>
              </a:p>
            </p:txBody>
          </p:sp>
          <p:sp>
            <p:nvSpPr>
              <p:cNvPr id="6916" name="Vrije vorm: vorm 6915">
                <a:extLst>
                  <a:ext uri="{FF2B5EF4-FFF2-40B4-BE49-F238E27FC236}">
                    <a16:creationId xmlns:a16="http://schemas.microsoft.com/office/drawing/2014/main" id="{C9730548-847D-4EC5-844A-F0E0595FE182}"/>
                  </a:ext>
                </a:extLst>
              </p:cNvPr>
              <p:cNvSpPr/>
              <p:nvPr/>
            </p:nvSpPr>
            <p:spPr>
              <a:xfrm>
                <a:off x="7059843" y="1895092"/>
                <a:ext cx="419" cy="777"/>
              </a:xfrm>
              <a:custGeom>
                <a:avLst/>
                <a:gdLst>
                  <a:gd name="connsiteX0" fmla="*/ 0 w 419"/>
                  <a:gd name="connsiteY0" fmla="*/ 778 h 777"/>
                  <a:gd name="connsiteX1" fmla="*/ 419 w 419"/>
                  <a:gd name="connsiteY1" fmla="*/ 0 h 777"/>
                </a:gdLst>
                <a:ahLst/>
                <a:cxnLst>
                  <a:cxn ang="0">
                    <a:pos x="connsiteX0" y="connsiteY0"/>
                  </a:cxn>
                  <a:cxn ang="0">
                    <a:pos x="connsiteX1" y="connsiteY1"/>
                  </a:cxn>
                </a:cxnLst>
                <a:rect l="l" t="t" r="r" b="b"/>
                <a:pathLst>
                  <a:path w="419" h="777">
                    <a:moveTo>
                      <a:pt x="0" y="778"/>
                    </a:moveTo>
                    <a:lnTo>
                      <a:pt x="419" y="0"/>
                    </a:lnTo>
                  </a:path>
                </a:pathLst>
              </a:custGeom>
              <a:noFill/>
              <a:ln w="6350" cap="rnd">
                <a:solidFill>
                  <a:schemeClr val="bg1">
                    <a:alpha val="80000"/>
                  </a:schemeClr>
                </a:solidFill>
                <a:prstDash val="solid"/>
                <a:round/>
              </a:ln>
            </p:spPr>
            <p:txBody>
              <a:bodyPr rtlCol="0" anchor="ctr"/>
              <a:lstStyle/>
              <a:p>
                <a:endParaRPr lang="en-GB"/>
              </a:p>
            </p:txBody>
          </p:sp>
          <p:sp>
            <p:nvSpPr>
              <p:cNvPr id="6917" name="Vrije vorm: vorm 6916">
                <a:extLst>
                  <a:ext uri="{FF2B5EF4-FFF2-40B4-BE49-F238E27FC236}">
                    <a16:creationId xmlns:a16="http://schemas.microsoft.com/office/drawing/2014/main" id="{D65C6B95-2880-49A5-989A-AE37899D5EC2}"/>
                  </a:ext>
                </a:extLst>
              </p:cNvPr>
              <p:cNvSpPr/>
              <p:nvPr/>
            </p:nvSpPr>
            <p:spPr>
              <a:xfrm>
                <a:off x="6957752" y="2069370"/>
                <a:ext cx="2631" cy="777"/>
              </a:xfrm>
              <a:custGeom>
                <a:avLst/>
                <a:gdLst>
                  <a:gd name="connsiteX0" fmla="*/ 0 w 2631"/>
                  <a:gd name="connsiteY0" fmla="*/ 778 h 777"/>
                  <a:gd name="connsiteX1" fmla="*/ 2631 w 2631"/>
                  <a:gd name="connsiteY1" fmla="*/ 0 h 777"/>
                </a:gdLst>
                <a:ahLst/>
                <a:cxnLst>
                  <a:cxn ang="0">
                    <a:pos x="connsiteX0" y="connsiteY0"/>
                  </a:cxn>
                  <a:cxn ang="0">
                    <a:pos x="connsiteX1" y="connsiteY1"/>
                  </a:cxn>
                </a:cxnLst>
                <a:rect l="l" t="t" r="r" b="b"/>
                <a:pathLst>
                  <a:path w="2631" h="777">
                    <a:moveTo>
                      <a:pt x="0" y="778"/>
                    </a:moveTo>
                    <a:lnTo>
                      <a:pt x="2631" y="0"/>
                    </a:lnTo>
                  </a:path>
                </a:pathLst>
              </a:custGeom>
              <a:noFill/>
              <a:ln w="6350" cap="rnd">
                <a:solidFill>
                  <a:schemeClr val="bg1">
                    <a:alpha val="80000"/>
                  </a:schemeClr>
                </a:solidFill>
                <a:prstDash val="solid"/>
                <a:round/>
              </a:ln>
            </p:spPr>
            <p:txBody>
              <a:bodyPr rtlCol="0" anchor="ctr"/>
              <a:lstStyle/>
              <a:p>
                <a:endParaRPr lang="en-GB"/>
              </a:p>
            </p:txBody>
          </p:sp>
          <p:sp>
            <p:nvSpPr>
              <p:cNvPr id="6918" name="Vrije vorm: vorm 6917">
                <a:extLst>
                  <a:ext uri="{FF2B5EF4-FFF2-40B4-BE49-F238E27FC236}">
                    <a16:creationId xmlns:a16="http://schemas.microsoft.com/office/drawing/2014/main" id="{29059BB7-3AA7-4473-82D4-C7EFC56005A8}"/>
                  </a:ext>
                </a:extLst>
              </p:cNvPr>
              <p:cNvSpPr/>
              <p:nvPr/>
            </p:nvSpPr>
            <p:spPr>
              <a:xfrm>
                <a:off x="7059305" y="1890606"/>
                <a:ext cx="7475" cy="4425"/>
              </a:xfrm>
              <a:custGeom>
                <a:avLst/>
                <a:gdLst>
                  <a:gd name="connsiteX0" fmla="*/ 0 w 7475"/>
                  <a:gd name="connsiteY0" fmla="*/ 0 h 4425"/>
                  <a:gd name="connsiteX1" fmla="*/ 2691 w 7475"/>
                  <a:gd name="connsiteY1" fmla="*/ 1615 h 4425"/>
                  <a:gd name="connsiteX2" fmla="*/ 4964 w 7475"/>
                  <a:gd name="connsiteY2" fmla="*/ 2931 h 4425"/>
                  <a:gd name="connsiteX3" fmla="*/ 5143 w 7475"/>
                  <a:gd name="connsiteY3" fmla="*/ 3050 h 4425"/>
                  <a:gd name="connsiteX4" fmla="*/ 5143 w 7475"/>
                  <a:gd name="connsiteY4" fmla="*/ 3050 h 4425"/>
                  <a:gd name="connsiteX5" fmla="*/ 5681 w 7475"/>
                  <a:gd name="connsiteY5" fmla="*/ 3349 h 4425"/>
                  <a:gd name="connsiteX6" fmla="*/ 6339 w 7475"/>
                  <a:gd name="connsiteY6" fmla="*/ 3768 h 4425"/>
                  <a:gd name="connsiteX7" fmla="*/ 6818 w 7475"/>
                  <a:gd name="connsiteY7" fmla="*/ 4067 h 4425"/>
                  <a:gd name="connsiteX8" fmla="*/ 7476 w 7475"/>
                  <a:gd name="connsiteY8" fmla="*/ 4426 h 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75" h="4425">
                    <a:moveTo>
                      <a:pt x="0" y="0"/>
                    </a:moveTo>
                    <a:lnTo>
                      <a:pt x="2691" y="1615"/>
                    </a:lnTo>
                    <a:lnTo>
                      <a:pt x="4964" y="2931"/>
                    </a:lnTo>
                    <a:lnTo>
                      <a:pt x="5143" y="3050"/>
                    </a:lnTo>
                    <a:lnTo>
                      <a:pt x="5143" y="3050"/>
                    </a:lnTo>
                    <a:lnTo>
                      <a:pt x="5681" y="3349"/>
                    </a:lnTo>
                    <a:lnTo>
                      <a:pt x="6339" y="3768"/>
                    </a:lnTo>
                    <a:lnTo>
                      <a:pt x="6818" y="4067"/>
                    </a:lnTo>
                    <a:lnTo>
                      <a:pt x="7476" y="4426"/>
                    </a:lnTo>
                  </a:path>
                </a:pathLst>
              </a:custGeom>
              <a:noFill/>
              <a:ln w="6350" cap="rnd">
                <a:solidFill>
                  <a:schemeClr val="bg1">
                    <a:alpha val="80000"/>
                  </a:schemeClr>
                </a:solidFill>
                <a:prstDash val="solid"/>
                <a:round/>
              </a:ln>
            </p:spPr>
            <p:txBody>
              <a:bodyPr rtlCol="0" anchor="ctr"/>
              <a:lstStyle/>
              <a:p>
                <a:endParaRPr lang="en-GB"/>
              </a:p>
            </p:txBody>
          </p:sp>
          <p:sp>
            <p:nvSpPr>
              <p:cNvPr id="6919" name="Vrije vorm: vorm 6918">
                <a:extLst>
                  <a:ext uri="{FF2B5EF4-FFF2-40B4-BE49-F238E27FC236}">
                    <a16:creationId xmlns:a16="http://schemas.microsoft.com/office/drawing/2014/main" id="{6EE434B1-C0D4-4CBE-8A17-24F023F12600}"/>
                  </a:ext>
                </a:extLst>
              </p:cNvPr>
              <p:cNvSpPr/>
              <p:nvPr/>
            </p:nvSpPr>
            <p:spPr>
              <a:xfrm>
                <a:off x="7055357" y="1892879"/>
                <a:ext cx="1076" cy="837"/>
              </a:xfrm>
              <a:custGeom>
                <a:avLst/>
                <a:gdLst>
                  <a:gd name="connsiteX0" fmla="*/ 1077 w 1076"/>
                  <a:gd name="connsiteY0" fmla="*/ 0 h 837"/>
                  <a:gd name="connsiteX1" fmla="*/ 0 w 1076"/>
                  <a:gd name="connsiteY1" fmla="*/ 837 h 837"/>
                </a:gdLst>
                <a:ahLst/>
                <a:cxnLst>
                  <a:cxn ang="0">
                    <a:pos x="connsiteX0" y="connsiteY0"/>
                  </a:cxn>
                  <a:cxn ang="0">
                    <a:pos x="connsiteX1" y="connsiteY1"/>
                  </a:cxn>
                </a:cxnLst>
                <a:rect l="l" t="t" r="r" b="b"/>
                <a:pathLst>
                  <a:path w="1076" h="837">
                    <a:moveTo>
                      <a:pt x="1077" y="0"/>
                    </a:moveTo>
                    <a:lnTo>
                      <a:pt x="0" y="837"/>
                    </a:lnTo>
                  </a:path>
                </a:pathLst>
              </a:custGeom>
              <a:noFill/>
              <a:ln w="6350" cap="rnd">
                <a:solidFill>
                  <a:schemeClr val="bg1">
                    <a:alpha val="80000"/>
                  </a:schemeClr>
                </a:solidFill>
                <a:prstDash val="solid"/>
                <a:round/>
              </a:ln>
            </p:spPr>
            <p:txBody>
              <a:bodyPr rtlCol="0" anchor="ctr"/>
              <a:lstStyle/>
              <a:p>
                <a:endParaRPr lang="en-GB"/>
              </a:p>
            </p:txBody>
          </p:sp>
          <p:sp>
            <p:nvSpPr>
              <p:cNvPr id="6920" name="Vrije vorm: vorm 6919">
                <a:extLst>
                  <a:ext uri="{FF2B5EF4-FFF2-40B4-BE49-F238E27FC236}">
                    <a16:creationId xmlns:a16="http://schemas.microsoft.com/office/drawing/2014/main" id="{C9F3923A-B845-4641-BDD4-075964A14ADC}"/>
                  </a:ext>
                </a:extLst>
              </p:cNvPr>
              <p:cNvSpPr/>
              <p:nvPr/>
            </p:nvSpPr>
            <p:spPr>
              <a:xfrm>
                <a:off x="6952070" y="2071463"/>
                <a:ext cx="1136" cy="478"/>
              </a:xfrm>
              <a:custGeom>
                <a:avLst/>
                <a:gdLst>
                  <a:gd name="connsiteX0" fmla="*/ 0 w 1136"/>
                  <a:gd name="connsiteY0" fmla="*/ 478 h 478"/>
                  <a:gd name="connsiteX1" fmla="*/ 1137 w 1136"/>
                  <a:gd name="connsiteY1" fmla="*/ 0 h 478"/>
                </a:gdLst>
                <a:ahLst/>
                <a:cxnLst>
                  <a:cxn ang="0">
                    <a:pos x="connsiteX0" y="connsiteY0"/>
                  </a:cxn>
                  <a:cxn ang="0">
                    <a:pos x="connsiteX1" y="connsiteY1"/>
                  </a:cxn>
                </a:cxnLst>
                <a:rect l="l" t="t" r="r" b="b"/>
                <a:pathLst>
                  <a:path w="1136" h="478">
                    <a:moveTo>
                      <a:pt x="0" y="478"/>
                    </a:moveTo>
                    <a:lnTo>
                      <a:pt x="1137" y="0"/>
                    </a:lnTo>
                  </a:path>
                </a:pathLst>
              </a:custGeom>
              <a:noFill/>
              <a:ln w="6350" cap="rnd">
                <a:solidFill>
                  <a:schemeClr val="bg1">
                    <a:alpha val="80000"/>
                  </a:schemeClr>
                </a:solidFill>
                <a:prstDash val="solid"/>
                <a:round/>
              </a:ln>
            </p:spPr>
            <p:txBody>
              <a:bodyPr rtlCol="0" anchor="ctr"/>
              <a:lstStyle/>
              <a:p>
                <a:endParaRPr lang="en-GB"/>
              </a:p>
            </p:txBody>
          </p:sp>
          <p:sp>
            <p:nvSpPr>
              <p:cNvPr id="6921" name="Vrije vorm: vorm 6920">
                <a:extLst>
                  <a:ext uri="{FF2B5EF4-FFF2-40B4-BE49-F238E27FC236}">
                    <a16:creationId xmlns:a16="http://schemas.microsoft.com/office/drawing/2014/main" id="{2246E65B-2454-4FC5-87BF-3E541F85E709}"/>
                  </a:ext>
                </a:extLst>
              </p:cNvPr>
              <p:cNvSpPr/>
              <p:nvPr/>
            </p:nvSpPr>
            <p:spPr>
              <a:xfrm>
                <a:off x="6945970" y="2069430"/>
                <a:ext cx="1196" cy="837"/>
              </a:xfrm>
              <a:custGeom>
                <a:avLst/>
                <a:gdLst>
                  <a:gd name="connsiteX0" fmla="*/ 1197 w 1196"/>
                  <a:gd name="connsiteY0" fmla="*/ 0 h 837"/>
                  <a:gd name="connsiteX1" fmla="*/ 778 w 1196"/>
                  <a:gd name="connsiteY1" fmla="*/ 299 h 837"/>
                  <a:gd name="connsiteX2" fmla="*/ 0 w 1196"/>
                  <a:gd name="connsiteY2" fmla="*/ 837 h 837"/>
                </a:gdLst>
                <a:ahLst/>
                <a:cxnLst>
                  <a:cxn ang="0">
                    <a:pos x="connsiteX0" y="connsiteY0"/>
                  </a:cxn>
                  <a:cxn ang="0">
                    <a:pos x="connsiteX1" y="connsiteY1"/>
                  </a:cxn>
                  <a:cxn ang="0">
                    <a:pos x="connsiteX2" y="connsiteY2"/>
                  </a:cxn>
                </a:cxnLst>
                <a:rect l="l" t="t" r="r" b="b"/>
                <a:pathLst>
                  <a:path w="1196" h="837">
                    <a:moveTo>
                      <a:pt x="1197" y="0"/>
                    </a:moveTo>
                    <a:lnTo>
                      <a:pt x="778" y="299"/>
                    </a:lnTo>
                    <a:lnTo>
                      <a:pt x="0" y="837"/>
                    </a:lnTo>
                  </a:path>
                </a:pathLst>
              </a:custGeom>
              <a:noFill/>
              <a:ln w="6350" cap="rnd">
                <a:solidFill>
                  <a:schemeClr val="bg1">
                    <a:alpha val="80000"/>
                  </a:schemeClr>
                </a:solidFill>
                <a:prstDash val="solid"/>
                <a:round/>
              </a:ln>
            </p:spPr>
            <p:txBody>
              <a:bodyPr rtlCol="0" anchor="ctr"/>
              <a:lstStyle/>
              <a:p>
                <a:endParaRPr lang="en-GB"/>
              </a:p>
            </p:txBody>
          </p:sp>
          <p:sp>
            <p:nvSpPr>
              <p:cNvPr id="6922" name="Vrije vorm: vorm 6921">
                <a:extLst>
                  <a:ext uri="{FF2B5EF4-FFF2-40B4-BE49-F238E27FC236}">
                    <a16:creationId xmlns:a16="http://schemas.microsoft.com/office/drawing/2014/main" id="{731ED8DB-9B8F-4021-9D34-FC50BA8C29DF}"/>
                  </a:ext>
                </a:extLst>
              </p:cNvPr>
              <p:cNvSpPr/>
              <p:nvPr/>
            </p:nvSpPr>
            <p:spPr>
              <a:xfrm>
                <a:off x="7044114" y="1881994"/>
                <a:ext cx="1555" cy="2093"/>
              </a:xfrm>
              <a:custGeom>
                <a:avLst/>
                <a:gdLst>
                  <a:gd name="connsiteX0" fmla="*/ 1555 w 1555"/>
                  <a:gd name="connsiteY0" fmla="*/ 0 h 2093"/>
                  <a:gd name="connsiteX1" fmla="*/ 1555 w 1555"/>
                  <a:gd name="connsiteY1" fmla="*/ 0 h 2093"/>
                  <a:gd name="connsiteX2" fmla="*/ 1316 w 1555"/>
                  <a:gd name="connsiteY2" fmla="*/ 299 h 2093"/>
                  <a:gd name="connsiteX3" fmla="*/ 1197 w 1555"/>
                  <a:gd name="connsiteY3" fmla="*/ 478 h 2093"/>
                  <a:gd name="connsiteX4" fmla="*/ 1197 w 1555"/>
                  <a:gd name="connsiteY4" fmla="*/ 478 h 2093"/>
                  <a:gd name="connsiteX5" fmla="*/ 1197 w 1555"/>
                  <a:gd name="connsiteY5" fmla="*/ 478 h 2093"/>
                  <a:gd name="connsiteX6" fmla="*/ 1197 w 1555"/>
                  <a:gd name="connsiteY6" fmla="*/ 478 h 2093"/>
                  <a:gd name="connsiteX7" fmla="*/ 837 w 1555"/>
                  <a:gd name="connsiteY7" fmla="*/ 957 h 2093"/>
                  <a:gd name="connsiteX8" fmla="*/ 658 w 1555"/>
                  <a:gd name="connsiteY8" fmla="*/ 1196 h 2093"/>
                  <a:gd name="connsiteX9" fmla="*/ 658 w 1555"/>
                  <a:gd name="connsiteY9" fmla="*/ 1196 h 2093"/>
                  <a:gd name="connsiteX10" fmla="*/ 479 w 1555"/>
                  <a:gd name="connsiteY10" fmla="*/ 1435 h 2093"/>
                  <a:gd name="connsiteX11" fmla="*/ 479 w 1555"/>
                  <a:gd name="connsiteY11" fmla="*/ 1435 h 2093"/>
                  <a:gd name="connsiteX12" fmla="*/ 299 w 1555"/>
                  <a:gd name="connsiteY12" fmla="*/ 1675 h 2093"/>
                  <a:gd name="connsiteX13" fmla="*/ 0 w 1555"/>
                  <a:gd name="connsiteY13" fmla="*/ 2093 h 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5" h="2093">
                    <a:moveTo>
                      <a:pt x="1555" y="0"/>
                    </a:moveTo>
                    <a:lnTo>
                      <a:pt x="1555" y="0"/>
                    </a:lnTo>
                    <a:lnTo>
                      <a:pt x="1316" y="299"/>
                    </a:lnTo>
                    <a:lnTo>
                      <a:pt x="1197" y="478"/>
                    </a:lnTo>
                    <a:lnTo>
                      <a:pt x="1197" y="478"/>
                    </a:lnTo>
                    <a:lnTo>
                      <a:pt x="1197" y="478"/>
                    </a:lnTo>
                    <a:lnTo>
                      <a:pt x="1197" y="478"/>
                    </a:lnTo>
                    <a:lnTo>
                      <a:pt x="837" y="957"/>
                    </a:lnTo>
                    <a:lnTo>
                      <a:pt x="658" y="1196"/>
                    </a:lnTo>
                    <a:lnTo>
                      <a:pt x="658" y="1196"/>
                    </a:lnTo>
                    <a:lnTo>
                      <a:pt x="479" y="1435"/>
                    </a:lnTo>
                    <a:lnTo>
                      <a:pt x="479" y="1435"/>
                    </a:lnTo>
                    <a:lnTo>
                      <a:pt x="299" y="1675"/>
                    </a:lnTo>
                    <a:lnTo>
                      <a:pt x="0" y="2093"/>
                    </a:lnTo>
                  </a:path>
                </a:pathLst>
              </a:custGeom>
              <a:noFill/>
              <a:ln w="6350" cap="rnd">
                <a:solidFill>
                  <a:schemeClr val="bg1">
                    <a:alpha val="80000"/>
                  </a:schemeClr>
                </a:solidFill>
                <a:prstDash val="solid"/>
                <a:round/>
              </a:ln>
            </p:spPr>
            <p:txBody>
              <a:bodyPr rtlCol="0" anchor="ctr"/>
              <a:lstStyle/>
              <a:p>
                <a:endParaRPr lang="en-GB"/>
              </a:p>
            </p:txBody>
          </p:sp>
          <p:sp>
            <p:nvSpPr>
              <p:cNvPr id="6923" name="Vrije vorm: vorm 6922">
                <a:extLst>
                  <a:ext uri="{FF2B5EF4-FFF2-40B4-BE49-F238E27FC236}">
                    <a16:creationId xmlns:a16="http://schemas.microsoft.com/office/drawing/2014/main" id="{0A35E7E0-22CC-4319-9F7F-7216791940B0}"/>
                  </a:ext>
                </a:extLst>
              </p:cNvPr>
              <p:cNvSpPr/>
              <p:nvPr/>
            </p:nvSpPr>
            <p:spPr>
              <a:xfrm>
                <a:off x="6952908" y="2029957"/>
                <a:ext cx="13994" cy="35286"/>
              </a:xfrm>
              <a:custGeom>
                <a:avLst/>
                <a:gdLst>
                  <a:gd name="connsiteX0" fmla="*/ 13995 w 13994"/>
                  <a:gd name="connsiteY0" fmla="*/ 0 h 35286"/>
                  <a:gd name="connsiteX1" fmla="*/ 13576 w 13994"/>
                  <a:gd name="connsiteY1" fmla="*/ 1136 h 35286"/>
                  <a:gd name="connsiteX2" fmla="*/ 12321 w 13994"/>
                  <a:gd name="connsiteY2" fmla="*/ 4246 h 35286"/>
                  <a:gd name="connsiteX3" fmla="*/ 8433 w 13994"/>
                  <a:gd name="connsiteY3" fmla="*/ 13935 h 35286"/>
                  <a:gd name="connsiteX4" fmla="*/ 8253 w 13994"/>
                  <a:gd name="connsiteY4" fmla="*/ 14413 h 35286"/>
                  <a:gd name="connsiteX5" fmla="*/ 7596 w 13994"/>
                  <a:gd name="connsiteY5" fmla="*/ 16148 h 35286"/>
                  <a:gd name="connsiteX6" fmla="*/ 3050 w 13994"/>
                  <a:gd name="connsiteY6" fmla="*/ 27571 h 35286"/>
                  <a:gd name="connsiteX7" fmla="*/ 2990 w 13994"/>
                  <a:gd name="connsiteY7" fmla="*/ 27751 h 35286"/>
                  <a:gd name="connsiteX8" fmla="*/ 0 w 13994"/>
                  <a:gd name="connsiteY8" fmla="*/ 35286 h 3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4" h="35286">
                    <a:moveTo>
                      <a:pt x="13995" y="0"/>
                    </a:moveTo>
                    <a:lnTo>
                      <a:pt x="13576" y="1136"/>
                    </a:lnTo>
                    <a:lnTo>
                      <a:pt x="12321" y="4246"/>
                    </a:lnTo>
                    <a:lnTo>
                      <a:pt x="8433" y="13935"/>
                    </a:lnTo>
                    <a:lnTo>
                      <a:pt x="8253" y="14413"/>
                    </a:lnTo>
                    <a:lnTo>
                      <a:pt x="7596" y="16148"/>
                    </a:lnTo>
                    <a:lnTo>
                      <a:pt x="3050" y="27571"/>
                    </a:lnTo>
                    <a:lnTo>
                      <a:pt x="2990" y="27751"/>
                    </a:lnTo>
                    <a:lnTo>
                      <a:pt x="0" y="35286"/>
                    </a:lnTo>
                  </a:path>
                </a:pathLst>
              </a:custGeom>
              <a:noFill/>
              <a:ln w="6350" cap="rnd">
                <a:solidFill>
                  <a:schemeClr val="bg1">
                    <a:alpha val="80000"/>
                  </a:schemeClr>
                </a:solidFill>
                <a:prstDash val="solid"/>
                <a:round/>
              </a:ln>
            </p:spPr>
            <p:txBody>
              <a:bodyPr rtlCol="0" anchor="ctr"/>
              <a:lstStyle/>
              <a:p>
                <a:endParaRPr lang="en-GB"/>
              </a:p>
            </p:txBody>
          </p:sp>
          <p:sp>
            <p:nvSpPr>
              <p:cNvPr id="6924" name="Vrije vorm: vorm 6923">
                <a:extLst>
                  <a:ext uri="{FF2B5EF4-FFF2-40B4-BE49-F238E27FC236}">
                    <a16:creationId xmlns:a16="http://schemas.microsoft.com/office/drawing/2014/main" id="{BA09514D-AC1B-4F4E-973B-42478F440526}"/>
                  </a:ext>
                </a:extLst>
              </p:cNvPr>
              <p:cNvSpPr/>
              <p:nvPr/>
            </p:nvSpPr>
            <p:spPr>
              <a:xfrm>
                <a:off x="6968637" y="1988989"/>
                <a:ext cx="14593" cy="36482"/>
              </a:xfrm>
              <a:custGeom>
                <a:avLst/>
                <a:gdLst>
                  <a:gd name="connsiteX0" fmla="*/ 14593 w 14593"/>
                  <a:gd name="connsiteY0" fmla="*/ 0 h 36482"/>
                  <a:gd name="connsiteX1" fmla="*/ 13876 w 14593"/>
                  <a:gd name="connsiteY1" fmla="*/ 1734 h 36482"/>
                  <a:gd name="connsiteX2" fmla="*/ 12978 w 14593"/>
                  <a:gd name="connsiteY2" fmla="*/ 3947 h 36482"/>
                  <a:gd name="connsiteX3" fmla="*/ 12859 w 14593"/>
                  <a:gd name="connsiteY3" fmla="*/ 4186 h 36482"/>
                  <a:gd name="connsiteX4" fmla="*/ 12739 w 14593"/>
                  <a:gd name="connsiteY4" fmla="*/ 4426 h 36482"/>
                  <a:gd name="connsiteX5" fmla="*/ 12619 w 14593"/>
                  <a:gd name="connsiteY5" fmla="*/ 4785 h 36482"/>
                  <a:gd name="connsiteX6" fmla="*/ 11902 w 14593"/>
                  <a:gd name="connsiteY6" fmla="*/ 6519 h 36482"/>
                  <a:gd name="connsiteX7" fmla="*/ 11782 w 14593"/>
                  <a:gd name="connsiteY7" fmla="*/ 6878 h 36482"/>
                  <a:gd name="connsiteX8" fmla="*/ 11663 w 14593"/>
                  <a:gd name="connsiteY8" fmla="*/ 7177 h 36482"/>
                  <a:gd name="connsiteX9" fmla="*/ 9928 w 14593"/>
                  <a:gd name="connsiteY9" fmla="*/ 11483 h 36482"/>
                  <a:gd name="connsiteX10" fmla="*/ 6519 w 14593"/>
                  <a:gd name="connsiteY10" fmla="*/ 19976 h 36482"/>
                  <a:gd name="connsiteX11" fmla="*/ 4845 w 14593"/>
                  <a:gd name="connsiteY11" fmla="*/ 24162 h 36482"/>
                  <a:gd name="connsiteX12" fmla="*/ 4725 w 14593"/>
                  <a:gd name="connsiteY12" fmla="*/ 24461 h 36482"/>
                  <a:gd name="connsiteX13" fmla="*/ 4246 w 14593"/>
                  <a:gd name="connsiteY13" fmla="*/ 25717 h 36482"/>
                  <a:gd name="connsiteX14" fmla="*/ 4246 w 14593"/>
                  <a:gd name="connsiteY14" fmla="*/ 25777 h 36482"/>
                  <a:gd name="connsiteX15" fmla="*/ 4187 w 14593"/>
                  <a:gd name="connsiteY15" fmla="*/ 25897 h 36482"/>
                  <a:gd name="connsiteX16" fmla="*/ 3110 w 14593"/>
                  <a:gd name="connsiteY16" fmla="*/ 28588 h 36482"/>
                  <a:gd name="connsiteX17" fmla="*/ 2930 w 14593"/>
                  <a:gd name="connsiteY17" fmla="*/ 29126 h 36482"/>
                  <a:gd name="connsiteX18" fmla="*/ 419 w 14593"/>
                  <a:gd name="connsiteY18" fmla="*/ 35466 h 36482"/>
                  <a:gd name="connsiteX19" fmla="*/ 359 w 14593"/>
                  <a:gd name="connsiteY19" fmla="*/ 35585 h 36482"/>
                  <a:gd name="connsiteX20" fmla="*/ 0 w 14593"/>
                  <a:gd name="connsiteY20" fmla="*/ 36423 h 36482"/>
                  <a:gd name="connsiteX21" fmla="*/ 0 w 14593"/>
                  <a:gd name="connsiteY21" fmla="*/ 36482 h 3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593" h="36482">
                    <a:moveTo>
                      <a:pt x="14593" y="0"/>
                    </a:moveTo>
                    <a:lnTo>
                      <a:pt x="13876" y="1734"/>
                    </a:lnTo>
                    <a:lnTo>
                      <a:pt x="12978" y="3947"/>
                    </a:lnTo>
                    <a:lnTo>
                      <a:pt x="12859" y="4186"/>
                    </a:lnTo>
                    <a:lnTo>
                      <a:pt x="12739" y="4426"/>
                    </a:lnTo>
                    <a:lnTo>
                      <a:pt x="12619" y="4785"/>
                    </a:lnTo>
                    <a:lnTo>
                      <a:pt x="11902" y="6519"/>
                    </a:lnTo>
                    <a:lnTo>
                      <a:pt x="11782" y="6878"/>
                    </a:lnTo>
                    <a:lnTo>
                      <a:pt x="11663" y="7177"/>
                    </a:lnTo>
                    <a:lnTo>
                      <a:pt x="9928" y="11483"/>
                    </a:lnTo>
                    <a:lnTo>
                      <a:pt x="6519" y="19976"/>
                    </a:lnTo>
                    <a:lnTo>
                      <a:pt x="4845" y="24162"/>
                    </a:lnTo>
                    <a:lnTo>
                      <a:pt x="4725" y="24461"/>
                    </a:lnTo>
                    <a:lnTo>
                      <a:pt x="4246" y="25717"/>
                    </a:lnTo>
                    <a:lnTo>
                      <a:pt x="4246" y="25777"/>
                    </a:lnTo>
                    <a:lnTo>
                      <a:pt x="4187" y="25897"/>
                    </a:lnTo>
                    <a:lnTo>
                      <a:pt x="3110" y="28588"/>
                    </a:lnTo>
                    <a:lnTo>
                      <a:pt x="2930" y="29126"/>
                    </a:lnTo>
                    <a:lnTo>
                      <a:pt x="419" y="35466"/>
                    </a:lnTo>
                    <a:lnTo>
                      <a:pt x="359" y="35585"/>
                    </a:lnTo>
                    <a:lnTo>
                      <a:pt x="0" y="36423"/>
                    </a:lnTo>
                    <a:lnTo>
                      <a:pt x="0" y="36482"/>
                    </a:lnTo>
                  </a:path>
                </a:pathLst>
              </a:custGeom>
              <a:noFill/>
              <a:ln w="6350" cap="rnd">
                <a:solidFill>
                  <a:schemeClr val="bg1">
                    <a:alpha val="80000"/>
                  </a:schemeClr>
                </a:solidFill>
                <a:prstDash val="solid"/>
                <a:round/>
              </a:ln>
            </p:spPr>
            <p:txBody>
              <a:bodyPr rtlCol="0" anchor="ctr"/>
              <a:lstStyle/>
              <a:p>
                <a:endParaRPr lang="en-GB"/>
              </a:p>
            </p:txBody>
          </p:sp>
          <p:sp>
            <p:nvSpPr>
              <p:cNvPr id="6925" name="Vrije vorm: vorm 6924">
                <a:extLst>
                  <a:ext uri="{FF2B5EF4-FFF2-40B4-BE49-F238E27FC236}">
                    <a16:creationId xmlns:a16="http://schemas.microsoft.com/office/drawing/2014/main" id="{6A89852B-036B-4F47-9E97-174D39B05461}"/>
                  </a:ext>
                </a:extLst>
              </p:cNvPr>
              <p:cNvSpPr/>
              <p:nvPr/>
            </p:nvSpPr>
            <p:spPr>
              <a:xfrm>
                <a:off x="7047224" y="1870032"/>
                <a:ext cx="4246" cy="9808"/>
              </a:xfrm>
              <a:custGeom>
                <a:avLst/>
                <a:gdLst>
                  <a:gd name="connsiteX0" fmla="*/ 4246 w 4246"/>
                  <a:gd name="connsiteY0" fmla="*/ 0 h 9808"/>
                  <a:gd name="connsiteX1" fmla="*/ 0 w 4246"/>
                  <a:gd name="connsiteY1" fmla="*/ 9808 h 9808"/>
                </a:gdLst>
                <a:ahLst/>
                <a:cxnLst>
                  <a:cxn ang="0">
                    <a:pos x="connsiteX0" y="connsiteY0"/>
                  </a:cxn>
                  <a:cxn ang="0">
                    <a:pos x="connsiteX1" y="connsiteY1"/>
                  </a:cxn>
                </a:cxnLst>
                <a:rect l="l" t="t" r="r" b="b"/>
                <a:pathLst>
                  <a:path w="4246" h="9808">
                    <a:moveTo>
                      <a:pt x="4246" y="0"/>
                    </a:moveTo>
                    <a:lnTo>
                      <a:pt x="0" y="9808"/>
                    </a:lnTo>
                  </a:path>
                </a:pathLst>
              </a:custGeom>
              <a:noFill/>
              <a:ln w="6350" cap="rnd">
                <a:solidFill>
                  <a:schemeClr val="bg1">
                    <a:alpha val="80000"/>
                  </a:schemeClr>
                </a:solidFill>
                <a:prstDash val="solid"/>
                <a:round/>
              </a:ln>
            </p:spPr>
            <p:txBody>
              <a:bodyPr rtlCol="0" anchor="ctr"/>
              <a:lstStyle/>
              <a:p>
                <a:endParaRPr lang="en-GB"/>
              </a:p>
            </p:txBody>
          </p:sp>
          <p:sp>
            <p:nvSpPr>
              <p:cNvPr id="6926" name="Vrije vorm: vorm 6925">
                <a:extLst>
                  <a:ext uri="{FF2B5EF4-FFF2-40B4-BE49-F238E27FC236}">
                    <a16:creationId xmlns:a16="http://schemas.microsoft.com/office/drawing/2014/main" id="{4B67D632-C136-466D-9DAF-1C73733D5E20}"/>
                  </a:ext>
                </a:extLst>
              </p:cNvPr>
              <p:cNvSpPr/>
              <p:nvPr/>
            </p:nvSpPr>
            <p:spPr>
              <a:xfrm>
                <a:off x="7083826" y="1805799"/>
                <a:ext cx="239" cy="598"/>
              </a:xfrm>
              <a:custGeom>
                <a:avLst/>
                <a:gdLst>
                  <a:gd name="connsiteX0" fmla="*/ 0 w 239"/>
                  <a:gd name="connsiteY0" fmla="*/ 0 h 598"/>
                  <a:gd name="connsiteX1" fmla="*/ 60 w 239"/>
                  <a:gd name="connsiteY1" fmla="*/ 60 h 598"/>
                  <a:gd name="connsiteX2" fmla="*/ 239 w 239"/>
                  <a:gd name="connsiteY2" fmla="*/ 598 h 598"/>
                </a:gdLst>
                <a:ahLst/>
                <a:cxnLst>
                  <a:cxn ang="0">
                    <a:pos x="connsiteX0" y="connsiteY0"/>
                  </a:cxn>
                  <a:cxn ang="0">
                    <a:pos x="connsiteX1" y="connsiteY1"/>
                  </a:cxn>
                  <a:cxn ang="0">
                    <a:pos x="connsiteX2" y="connsiteY2"/>
                  </a:cxn>
                </a:cxnLst>
                <a:rect l="l" t="t" r="r" b="b"/>
                <a:pathLst>
                  <a:path w="239" h="598">
                    <a:moveTo>
                      <a:pt x="0" y="0"/>
                    </a:moveTo>
                    <a:lnTo>
                      <a:pt x="60" y="60"/>
                    </a:lnTo>
                    <a:lnTo>
                      <a:pt x="239" y="598"/>
                    </a:lnTo>
                  </a:path>
                </a:pathLst>
              </a:custGeom>
              <a:noFill/>
              <a:ln w="6350" cap="rnd">
                <a:solidFill>
                  <a:schemeClr val="bg1">
                    <a:alpha val="80000"/>
                  </a:schemeClr>
                </a:solidFill>
                <a:prstDash val="solid"/>
                <a:round/>
              </a:ln>
            </p:spPr>
            <p:txBody>
              <a:bodyPr rtlCol="0" anchor="ctr"/>
              <a:lstStyle/>
              <a:p>
                <a:endParaRPr lang="en-GB"/>
              </a:p>
            </p:txBody>
          </p:sp>
          <p:sp>
            <p:nvSpPr>
              <p:cNvPr id="6927" name="Vrije vorm: vorm 6926">
                <a:extLst>
                  <a:ext uri="{FF2B5EF4-FFF2-40B4-BE49-F238E27FC236}">
                    <a16:creationId xmlns:a16="http://schemas.microsoft.com/office/drawing/2014/main" id="{CFD8E6CB-E440-4502-B8E0-93723DAD28FD}"/>
                  </a:ext>
                </a:extLst>
              </p:cNvPr>
              <p:cNvSpPr/>
              <p:nvPr/>
            </p:nvSpPr>
            <p:spPr>
              <a:xfrm>
                <a:off x="6949379" y="2065722"/>
                <a:ext cx="2392" cy="1614"/>
              </a:xfrm>
              <a:custGeom>
                <a:avLst/>
                <a:gdLst>
                  <a:gd name="connsiteX0" fmla="*/ 0 w 2392"/>
                  <a:gd name="connsiteY0" fmla="*/ 0 h 1614"/>
                  <a:gd name="connsiteX1" fmla="*/ 538 w 2392"/>
                  <a:gd name="connsiteY1" fmla="*/ 359 h 1614"/>
                  <a:gd name="connsiteX2" fmla="*/ 957 w 2392"/>
                  <a:gd name="connsiteY2" fmla="*/ 658 h 1614"/>
                  <a:gd name="connsiteX3" fmla="*/ 2392 w 2392"/>
                  <a:gd name="connsiteY3" fmla="*/ 1615 h 1614"/>
                </a:gdLst>
                <a:ahLst/>
                <a:cxnLst>
                  <a:cxn ang="0">
                    <a:pos x="connsiteX0" y="connsiteY0"/>
                  </a:cxn>
                  <a:cxn ang="0">
                    <a:pos x="connsiteX1" y="connsiteY1"/>
                  </a:cxn>
                  <a:cxn ang="0">
                    <a:pos x="connsiteX2" y="connsiteY2"/>
                  </a:cxn>
                  <a:cxn ang="0">
                    <a:pos x="connsiteX3" y="connsiteY3"/>
                  </a:cxn>
                </a:cxnLst>
                <a:rect l="l" t="t" r="r" b="b"/>
                <a:pathLst>
                  <a:path w="2392" h="1614">
                    <a:moveTo>
                      <a:pt x="0" y="0"/>
                    </a:moveTo>
                    <a:lnTo>
                      <a:pt x="538" y="359"/>
                    </a:lnTo>
                    <a:lnTo>
                      <a:pt x="957" y="658"/>
                    </a:lnTo>
                    <a:lnTo>
                      <a:pt x="2392" y="1615"/>
                    </a:lnTo>
                  </a:path>
                </a:pathLst>
              </a:custGeom>
              <a:noFill/>
              <a:ln w="6350" cap="rnd">
                <a:solidFill>
                  <a:schemeClr val="bg1">
                    <a:alpha val="80000"/>
                  </a:schemeClr>
                </a:solidFill>
                <a:prstDash val="solid"/>
                <a:round/>
              </a:ln>
            </p:spPr>
            <p:txBody>
              <a:bodyPr rtlCol="0" anchor="ctr"/>
              <a:lstStyle/>
              <a:p>
                <a:endParaRPr lang="en-GB"/>
              </a:p>
            </p:txBody>
          </p:sp>
          <p:sp>
            <p:nvSpPr>
              <p:cNvPr id="6928" name="Vrije vorm: vorm 6927">
                <a:extLst>
                  <a:ext uri="{FF2B5EF4-FFF2-40B4-BE49-F238E27FC236}">
                    <a16:creationId xmlns:a16="http://schemas.microsoft.com/office/drawing/2014/main" id="{1007408C-4C2C-429E-84CA-1213B4DFC8DC}"/>
                  </a:ext>
                </a:extLst>
              </p:cNvPr>
              <p:cNvSpPr/>
              <p:nvPr/>
            </p:nvSpPr>
            <p:spPr>
              <a:xfrm>
                <a:off x="6943757" y="2061954"/>
                <a:ext cx="4127" cy="2751"/>
              </a:xfrm>
              <a:custGeom>
                <a:avLst/>
                <a:gdLst>
                  <a:gd name="connsiteX0" fmla="*/ 0 w 4127"/>
                  <a:gd name="connsiteY0" fmla="*/ 0 h 2751"/>
                  <a:gd name="connsiteX1" fmla="*/ 1017 w 4127"/>
                  <a:gd name="connsiteY1" fmla="*/ 658 h 2751"/>
                  <a:gd name="connsiteX2" fmla="*/ 4127 w 4127"/>
                  <a:gd name="connsiteY2" fmla="*/ 2751 h 2751"/>
                </a:gdLst>
                <a:ahLst/>
                <a:cxnLst>
                  <a:cxn ang="0">
                    <a:pos x="connsiteX0" y="connsiteY0"/>
                  </a:cxn>
                  <a:cxn ang="0">
                    <a:pos x="connsiteX1" y="connsiteY1"/>
                  </a:cxn>
                  <a:cxn ang="0">
                    <a:pos x="connsiteX2" y="connsiteY2"/>
                  </a:cxn>
                </a:cxnLst>
                <a:rect l="l" t="t" r="r" b="b"/>
                <a:pathLst>
                  <a:path w="4127" h="2751">
                    <a:moveTo>
                      <a:pt x="0" y="0"/>
                    </a:moveTo>
                    <a:lnTo>
                      <a:pt x="1017" y="658"/>
                    </a:lnTo>
                    <a:lnTo>
                      <a:pt x="4127" y="2751"/>
                    </a:lnTo>
                  </a:path>
                </a:pathLst>
              </a:custGeom>
              <a:noFill/>
              <a:ln w="6350" cap="rnd">
                <a:solidFill>
                  <a:schemeClr val="bg1">
                    <a:alpha val="80000"/>
                  </a:schemeClr>
                </a:solidFill>
                <a:prstDash val="solid"/>
                <a:round/>
              </a:ln>
            </p:spPr>
            <p:txBody>
              <a:bodyPr rtlCol="0" anchor="ctr"/>
              <a:lstStyle/>
              <a:p>
                <a:endParaRPr lang="en-GB"/>
              </a:p>
            </p:txBody>
          </p:sp>
          <p:sp>
            <p:nvSpPr>
              <p:cNvPr id="6929" name="Vrije vorm: vorm 6928">
                <a:extLst>
                  <a:ext uri="{FF2B5EF4-FFF2-40B4-BE49-F238E27FC236}">
                    <a16:creationId xmlns:a16="http://schemas.microsoft.com/office/drawing/2014/main" id="{84B8B92C-2D13-4F68-92FB-86D3D6EE7816}"/>
                  </a:ext>
                </a:extLst>
              </p:cNvPr>
              <p:cNvSpPr/>
              <p:nvPr/>
            </p:nvSpPr>
            <p:spPr>
              <a:xfrm>
                <a:off x="6940109" y="2059442"/>
                <a:ext cx="2691" cy="1794"/>
              </a:xfrm>
              <a:custGeom>
                <a:avLst/>
                <a:gdLst>
                  <a:gd name="connsiteX0" fmla="*/ 0 w 2691"/>
                  <a:gd name="connsiteY0" fmla="*/ 0 h 1794"/>
                  <a:gd name="connsiteX1" fmla="*/ 239 w 2691"/>
                  <a:gd name="connsiteY1" fmla="*/ 179 h 1794"/>
                  <a:gd name="connsiteX2" fmla="*/ 2692 w 2691"/>
                  <a:gd name="connsiteY2" fmla="*/ 1794 h 1794"/>
                </a:gdLst>
                <a:ahLst/>
                <a:cxnLst>
                  <a:cxn ang="0">
                    <a:pos x="connsiteX0" y="connsiteY0"/>
                  </a:cxn>
                  <a:cxn ang="0">
                    <a:pos x="connsiteX1" y="connsiteY1"/>
                  </a:cxn>
                  <a:cxn ang="0">
                    <a:pos x="connsiteX2" y="connsiteY2"/>
                  </a:cxn>
                </a:cxnLst>
                <a:rect l="l" t="t" r="r" b="b"/>
                <a:pathLst>
                  <a:path w="2691" h="1794">
                    <a:moveTo>
                      <a:pt x="0" y="0"/>
                    </a:moveTo>
                    <a:lnTo>
                      <a:pt x="239" y="179"/>
                    </a:lnTo>
                    <a:lnTo>
                      <a:pt x="2692" y="1794"/>
                    </a:lnTo>
                  </a:path>
                </a:pathLst>
              </a:custGeom>
              <a:noFill/>
              <a:ln w="6350" cap="rnd">
                <a:solidFill>
                  <a:schemeClr val="bg1">
                    <a:alpha val="80000"/>
                  </a:schemeClr>
                </a:solidFill>
                <a:prstDash val="solid"/>
                <a:round/>
              </a:ln>
            </p:spPr>
            <p:txBody>
              <a:bodyPr rtlCol="0" anchor="ctr"/>
              <a:lstStyle/>
              <a:p>
                <a:endParaRPr lang="en-GB"/>
              </a:p>
            </p:txBody>
          </p:sp>
          <p:sp>
            <p:nvSpPr>
              <p:cNvPr id="6930" name="Vrije vorm: vorm 6929">
                <a:extLst>
                  <a:ext uri="{FF2B5EF4-FFF2-40B4-BE49-F238E27FC236}">
                    <a16:creationId xmlns:a16="http://schemas.microsoft.com/office/drawing/2014/main" id="{D662747E-AD22-4806-8B32-3F884BB4AB09}"/>
                  </a:ext>
                </a:extLst>
              </p:cNvPr>
              <p:cNvSpPr/>
              <p:nvPr/>
            </p:nvSpPr>
            <p:spPr>
              <a:xfrm>
                <a:off x="6931617" y="2059083"/>
                <a:ext cx="22547" cy="7894"/>
              </a:xfrm>
              <a:custGeom>
                <a:avLst/>
                <a:gdLst>
                  <a:gd name="connsiteX0" fmla="*/ 0 w 22547"/>
                  <a:gd name="connsiteY0" fmla="*/ 0 h 7894"/>
                  <a:gd name="connsiteX1" fmla="*/ 120 w 22547"/>
                  <a:gd name="connsiteY1" fmla="*/ 60 h 7894"/>
                  <a:gd name="connsiteX2" fmla="*/ 5323 w 22547"/>
                  <a:gd name="connsiteY2" fmla="*/ 1854 h 7894"/>
                  <a:gd name="connsiteX3" fmla="*/ 6519 w 22547"/>
                  <a:gd name="connsiteY3" fmla="*/ 2273 h 7894"/>
                  <a:gd name="connsiteX4" fmla="*/ 6758 w 22547"/>
                  <a:gd name="connsiteY4" fmla="*/ 2332 h 7894"/>
                  <a:gd name="connsiteX5" fmla="*/ 9270 w 22547"/>
                  <a:gd name="connsiteY5" fmla="*/ 3230 h 7894"/>
                  <a:gd name="connsiteX6" fmla="*/ 13217 w 22547"/>
                  <a:gd name="connsiteY6" fmla="*/ 4605 h 7894"/>
                  <a:gd name="connsiteX7" fmla="*/ 13995 w 22547"/>
                  <a:gd name="connsiteY7" fmla="*/ 4904 h 7894"/>
                  <a:gd name="connsiteX8" fmla="*/ 16208 w 22547"/>
                  <a:gd name="connsiteY8" fmla="*/ 5682 h 7894"/>
                  <a:gd name="connsiteX9" fmla="*/ 17942 w 22547"/>
                  <a:gd name="connsiteY9" fmla="*/ 6280 h 7894"/>
                  <a:gd name="connsiteX10" fmla="*/ 18062 w 22547"/>
                  <a:gd name="connsiteY10" fmla="*/ 6340 h 7894"/>
                  <a:gd name="connsiteX11" fmla="*/ 19078 w 22547"/>
                  <a:gd name="connsiteY11" fmla="*/ 6698 h 7894"/>
                  <a:gd name="connsiteX12" fmla="*/ 20693 w 22547"/>
                  <a:gd name="connsiteY12" fmla="*/ 7237 h 7894"/>
                  <a:gd name="connsiteX13" fmla="*/ 22547 w 22547"/>
                  <a:gd name="connsiteY13" fmla="*/ 7895 h 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47" h="7894">
                    <a:moveTo>
                      <a:pt x="0" y="0"/>
                    </a:moveTo>
                    <a:lnTo>
                      <a:pt x="120" y="60"/>
                    </a:lnTo>
                    <a:lnTo>
                      <a:pt x="5323" y="1854"/>
                    </a:lnTo>
                    <a:lnTo>
                      <a:pt x="6519" y="2273"/>
                    </a:lnTo>
                    <a:lnTo>
                      <a:pt x="6758" y="2332"/>
                    </a:lnTo>
                    <a:lnTo>
                      <a:pt x="9270" y="3230"/>
                    </a:lnTo>
                    <a:lnTo>
                      <a:pt x="13217" y="4605"/>
                    </a:lnTo>
                    <a:lnTo>
                      <a:pt x="13995" y="4904"/>
                    </a:lnTo>
                    <a:lnTo>
                      <a:pt x="16208" y="5682"/>
                    </a:lnTo>
                    <a:lnTo>
                      <a:pt x="17942" y="6280"/>
                    </a:lnTo>
                    <a:lnTo>
                      <a:pt x="18062" y="6340"/>
                    </a:lnTo>
                    <a:lnTo>
                      <a:pt x="19078" y="6698"/>
                    </a:lnTo>
                    <a:lnTo>
                      <a:pt x="20693" y="7237"/>
                    </a:lnTo>
                    <a:lnTo>
                      <a:pt x="22547" y="7895"/>
                    </a:lnTo>
                  </a:path>
                </a:pathLst>
              </a:custGeom>
              <a:noFill/>
              <a:ln w="6350" cap="rnd">
                <a:solidFill>
                  <a:schemeClr val="bg1">
                    <a:alpha val="80000"/>
                  </a:schemeClr>
                </a:solidFill>
                <a:prstDash val="solid"/>
                <a:round/>
              </a:ln>
            </p:spPr>
            <p:txBody>
              <a:bodyPr rtlCol="0" anchor="ctr"/>
              <a:lstStyle/>
              <a:p>
                <a:endParaRPr lang="en-GB"/>
              </a:p>
            </p:txBody>
          </p:sp>
          <p:sp>
            <p:nvSpPr>
              <p:cNvPr id="6931" name="Vrije vorm: vorm 6930">
                <a:extLst>
                  <a:ext uri="{FF2B5EF4-FFF2-40B4-BE49-F238E27FC236}">
                    <a16:creationId xmlns:a16="http://schemas.microsoft.com/office/drawing/2014/main" id="{9B573244-B727-4C17-BD2C-8211740EDE65}"/>
                  </a:ext>
                </a:extLst>
              </p:cNvPr>
              <p:cNvSpPr/>
              <p:nvPr/>
            </p:nvSpPr>
            <p:spPr>
              <a:xfrm>
                <a:off x="7068156" y="1812378"/>
                <a:ext cx="5562" cy="16267"/>
              </a:xfrm>
              <a:custGeom>
                <a:avLst/>
                <a:gdLst>
                  <a:gd name="connsiteX0" fmla="*/ 5562 w 5562"/>
                  <a:gd name="connsiteY0" fmla="*/ 0 h 16267"/>
                  <a:gd name="connsiteX1" fmla="*/ 0 w 5562"/>
                  <a:gd name="connsiteY1" fmla="*/ 16268 h 16267"/>
                </a:gdLst>
                <a:ahLst/>
                <a:cxnLst>
                  <a:cxn ang="0">
                    <a:pos x="connsiteX0" y="connsiteY0"/>
                  </a:cxn>
                  <a:cxn ang="0">
                    <a:pos x="connsiteX1" y="connsiteY1"/>
                  </a:cxn>
                </a:cxnLst>
                <a:rect l="l" t="t" r="r" b="b"/>
                <a:pathLst>
                  <a:path w="5562" h="16267">
                    <a:moveTo>
                      <a:pt x="5562" y="0"/>
                    </a:moveTo>
                    <a:lnTo>
                      <a:pt x="0" y="16268"/>
                    </a:lnTo>
                  </a:path>
                </a:pathLst>
              </a:custGeom>
              <a:noFill/>
              <a:ln w="6350" cap="rnd">
                <a:solidFill>
                  <a:schemeClr val="bg1">
                    <a:alpha val="80000"/>
                  </a:schemeClr>
                </a:solidFill>
                <a:prstDash val="solid"/>
                <a:round/>
              </a:ln>
            </p:spPr>
            <p:txBody>
              <a:bodyPr rtlCol="0" anchor="ctr"/>
              <a:lstStyle/>
              <a:p>
                <a:endParaRPr lang="en-GB"/>
              </a:p>
            </p:txBody>
          </p:sp>
          <p:sp>
            <p:nvSpPr>
              <p:cNvPr id="6932" name="Vrije vorm: vorm 6931">
                <a:extLst>
                  <a:ext uri="{FF2B5EF4-FFF2-40B4-BE49-F238E27FC236}">
                    <a16:creationId xmlns:a16="http://schemas.microsoft.com/office/drawing/2014/main" id="{648EA107-4D26-4ABA-9FDC-1DD83978CBF7}"/>
                  </a:ext>
                </a:extLst>
              </p:cNvPr>
              <p:cNvSpPr/>
              <p:nvPr/>
            </p:nvSpPr>
            <p:spPr>
              <a:xfrm>
                <a:off x="6965168" y="2025232"/>
                <a:ext cx="2152" cy="1495"/>
              </a:xfrm>
              <a:custGeom>
                <a:avLst/>
                <a:gdLst>
                  <a:gd name="connsiteX0" fmla="*/ 0 w 2152"/>
                  <a:gd name="connsiteY0" fmla="*/ 0 h 1495"/>
                  <a:gd name="connsiteX1" fmla="*/ 957 w 2152"/>
                  <a:gd name="connsiteY1" fmla="*/ 658 h 1495"/>
                  <a:gd name="connsiteX2" fmla="*/ 1734 w 2152"/>
                  <a:gd name="connsiteY2" fmla="*/ 1196 h 1495"/>
                  <a:gd name="connsiteX3" fmla="*/ 1794 w 2152"/>
                  <a:gd name="connsiteY3" fmla="*/ 1256 h 1495"/>
                  <a:gd name="connsiteX4" fmla="*/ 2153 w 2152"/>
                  <a:gd name="connsiteY4" fmla="*/ 1495 h 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 h="1495">
                    <a:moveTo>
                      <a:pt x="0" y="0"/>
                    </a:moveTo>
                    <a:lnTo>
                      <a:pt x="957" y="658"/>
                    </a:lnTo>
                    <a:lnTo>
                      <a:pt x="1734" y="1196"/>
                    </a:lnTo>
                    <a:lnTo>
                      <a:pt x="1794" y="1256"/>
                    </a:lnTo>
                    <a:lnTo>
                      <a:pt x="2153" y="1495"/>
                    </a:lnTo>
                  </a:path>
                </a:pathLst>
              </a:custGeom>
              <a:noFill/>
              <a:ln w="6350" cap="rnd">
                <a:solidFill>
                  <a:schemeClr val="bg1">
                    <a:alpha val="80000"/>
                  </a:schemeClr>
                </a:solidFill>
                <a:prstDash val="solid"/>
                <a:round/>
              </a:ln>
            </p:spPr>
            <p:txBody>
              <a:bodyPr rtlCol="0" anchor="ctr"/>
              <a:lstStyle/>
              <a:p>
                <a:endParaRPr lang="en-GB"/>
              </a:p>
            </p:txBody>
          </p:sp>
          <p:sp>
            <p:nvSpPr>
              <p:cNvPr id="6933" name="Vrije vorm: vorm 6932">
                <a:extLst>
                  <a:ext uri="{FF2B5EF4-FFF2-40B4-BE49-F238E27FC236}">
                    <a16:creationId xmlns:a16="http://schemas.microsoft.com/office/drawing/2014/main" id="{1C9DB4B2-28C2-4305-8B30-D38369377D54}"/>
                  </a:ext>
                </a:extLst>
              </p:cNvPr>
              <p:cNvSpPr/>
              <p:nvPr/>
            </p:nvSpPr>
            <p:spPr>
              <a:xfrm>
                <a:off x="6960743" y="2022361"/>
                <a:ext cx="3110" cy="2033"/>
              </a:xfrm>
              <a:custGeom>
                <a:avLst/>
                <a:gdLst>
                  <a:gd name="connsiteX0" fmla="*/ 0 w 3110"/>
                  <a:gd name="connsiteY0" fmla="*/ 0 h 2033"/>
                  <a:gd name="connsiteX1" fmla="*/ 478 w 3110"/>
                  <a:gd name="connsiteY1" fmla="*/ 299 h 2033"/>
                  <a:gd name="connsiteX2" fmla="*/ 658 w 3110"/>
                  <a:gd name="connsiteY2" fmla="*/ 419 h 2033"/>
                  <a:gd name="connsiteX3" fmla="*/ 3110 w 3110"/>
                  <a:gd name="connsiteY3" fmla="*/ 2033 h 2033"/>
                </a:gdLst>
                <a:ahLst/>
                <a:cxnLst>
                  <a:cxn ang="0">
                    <a:pos x="connsiteX0" y="connsiteY0"/>
                  </a:cxn>
                  <a:cxn ang="0">
                    <a:pos x="connsiteX1" y="connsiteY1"/>
                  </a:cxn>
                  <a:cxn ang="0">
                    <a:pos x="connsiteX2" y="connsiteY2"/>
                  </a:cxn>
                  <a:cxn ang="0">
                    <a:pos x="connsiteX3" y="connsiteY3"/>
                  </a:cxn>
                </a:cxnLst>
                <a:rect l="l" t="t" r="r" b="b"/>
                <a:pathLst>
                  <a:path w="3110" h="2033">
                    <a:moveTo>
                      <a:pt x="0" y="0"/>
                    </a:moveTo>
                    <a:lnTo>
                      <a:pt x="478" y="299"/>
                    </a:lnTo>
                    <a:lnTo>
                      <a:pt x="658" y="419"/>
                    </a:lnTo>
                    <a:lnTo>
                      <a:pt x="3110" y="2033"/>
                    </a:lnTo>
                  </a:path>
                </a:pathLst>
              </a:custGeom>
              <a:noFill/>
              <a:ln w="6350" cap="rnd">
                <a:solidFill>
                  <a:schemeClr val="bg1">
                    <a:alpha val="80000"/>
                  </a:schemeClr>
                </a:solidFill>
                <a:prstDash val="solid"/>
                <a:round/>
              </a:ln>
            </p:spPr>
            <p:txBody>
              <a:bodyPr rtlCol="0" anchor="ctr"/>
              <a:lstStyle/>
              <a:p>
                <a:endParaRPr lang="en-GB"/>
              </a:p>
            </p:txBody>
          </p:sp>
          <p:sp>
            <p:nvSpPr>
              <p:cNvPr id="6934" name="Vrije vorm: vorm 6933">
                <a:extLst>
                  <a:ext uri="{FF2B5EF4-FFF2-40B4-BE49-F238E27FC236}">
                    <a16:creationId xmlns:a16="http://schemas.microsoft.com/office/drawing/2014/main" id="{18F0E3D3-569E-4D67-AB58-3F3DABCBA556}"/>
                  </a:ext>
                </a:extLst>
              </p:cNvPr>
              <p:cNvSpPr/>
              <p:nvPr/>
            </p:nvSpPr>
            <p:spPr>
              <a:xfrm>
                <a:off x="6955659" y="2019012"/>
                <a:ext cx="3169" cy="2093"/>
              </a:xfrm>
              <a:custGeom>
                <a:avLst/>
                <a:gdLst>
                  <a:gd name="connsiteX0" fmla="*/ 0 w 3169"/>
                  <a:gd name="connsiteY0" fmla="*/ 0 h 2093"/>
                  <a:gd name="connsiteX1" fmla="*/ 956 w 3169"/>
                  <a:gd name="connsiteY1" fmla="*/ 658 h 2093"/>
                  <a:gd name="connsiteX2" fmla="*/ 3169 w 3169"/>
                  <a:gd name="connsiteY2" fmla="*/ 2093 h 2093"/>
                </a:gdLst>
                <a:ahLst/>
                <a:cxnLst>
                  <a:cxn ang="0">
                    <a:pos x="connsiteX0" y="connsiteY0"/>
                  </a:cxn>
                  <a:cxn ang="0">
                    <a:pos x="connsiteX1" y="connsiteY1"/>
                  </a:cxn>
                  <a:cxn ang="0">
                    <a:pos x="connsiteX2" y="connsiteY2"/>
                  </a:cxn>
                </a:cxnLst>
                <a:rect l="l" t="t" r="r" b="b"/>
                <a:pathLst>
                  <a:path w="3169" h="2093">
                    <a:moveTo>
                      <a:pt x="0" y="0"/>
                    </a:moveTo>
                    <a:lnTo>
                      <a:pt x="956" y="658"/>
                    </a:lnTo>
                    <a:lnTo>
                      <a:pt x="3169" y="2093"/>
                    </a:lnTo>
                  </a:path>
                </a:pathLst>
              </a:custGeom>
              <a:noFill/>
              <a:ln w="6350" cap="rnd">
                <a:solidFill>
                  <a:schemeClr val="bg1">
                    <a:alpha val="80000"/>
                  </a:schemeClr>
                </a:solidFill>
                <a:prstDash val="solid"/>
                <a:round/>
              </a:ln>
            </p:spPr>
            <p:txBody>
              <a:bodyPr rtlCol="0" anchor="ctr"/>
              <a:lstStyle/>
              <a:p>
                <a:endParaRPr lang="en-GB"/>
              </a:p>
            </p:txBody>
          </p:sp>
          <p:sp>
            <p:nvSpPr>
              <p:cNvPr id="6935" name="Vrije vorm: vorm 6934">
                <a:extLst>
                  <a:ext uri="{FF2B5EF4-FFF2-40B4-BE49-F238E27FC236}">
                    <a16:creationId xmlns:a16="http://schemas.microsoft.com/office/drawing/2014/main" id="{AD907739-4D32-426E-AB5C-59A504569F01}"/>
                  </a:ext>
                </a:extLst>
              </p:cNvPr>
              <p:cNvSpPr/>
              <p:nvPr/>
            </p:nvSpPr>
            <p:spPr>
              <a:xfrm>
                <a:off x="6936162" y="2051428"/>
                <a:ext cx="1016" cy="4605"/>
              </a:xfrm>
              <a:custGeom>
                <a:avLst/>
                <a:gdLst>
                  <a:gd name="connsiteX0" fmla="*/ 1016 w 1016"/>
                  <a:gd name="connsiteY0" fmla="*/ 4605 h 4605"/>
                  <a:gd name="connsiteX1" fmla="*/ 0 w 1016"/>
                  <a:gd name="connsiteY1" fmla="*/ 0 h 4605"/>
                </a:gdLst>
                <a:ahLst/>
                <a:cxnLst>
                  <a:cxn ang="0">
                    <a:pos x="connsiteX0" y="connsiteY0"/>
                  </a:cxn>
                  <a:cxn ang="0">
                    <a:pos x="connsiteX1" y="connsiteY1"/>
                  </a:cxn>
                </a:cxnLst>
                <a:rect l="l" t="t" r="r" b="b"/>
                <a:pathLst>
                  <a:path w="1016" h="4605">
                    <a:moveTo>
                      <a:pt x="1016" y="4605"/>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36" name="Vrije vorm: vorm 6935">
                <a:extLst>
                  <a:ext uri="{FF2B5EF4-FFF2-40B4-BE49-F238E27FC236}">
                    <a16:creationId xmlns:a16="http://schemas.microsoft.com/office/drawing/2014/main" id="{5A951B6E-E39C-4913-B7F5-DECA908E4438}"/>
                  </a:ext>
                </a:extLst>
              </p:cNvPr>
              <p:cNvSpPr/>
              <p:nvPr/>
            </p:nvSpPr>
            <p:spPr>
              <a:xfrm>
                <a:off x="6956197" y="1982410"/>
                <a:ext cx="13336" cy="35226"/>
              </a:xfrm>
              <a:custGeom>
                <a:avLst/>
                <a:gdLst>
                  <a:gd name="connsiteX0" fmla="*/ 0 w 13336"/>
                  <a:gd name="connsiteY0" fmla="*/ 35226 h 35226"/>
                  <a:gd name="connsiteX1" fmla="*/ 897 w 13336"/>
                  <a:gd name="connsiteY1" fmla="*/ 32834 h 35226"/>
                  <a:gd name="connsiteX2" fmla="*/ 957 w 13336"/>
                  <a:gd name="connsiteY2" fmla="*/ 32655 h 35226"/>
                  <a:gd name="connsiteX3" fmla="*/ 1136 w 13336"/>
                  <a:gd name="connsiteY3" fmla="*/ 32236 h 35226"/>
                  <a:gd name="connsiteX4" fmla="*/ 1316 w 13336"/>
                  <a:gd name="connsiteY4" fmla="*/ 31758 h 35226"/>
                  <a:gd name="connsiteX5" fmla="*/ 1973 w 13336"/>
                  <a:gd name="connsiteY5" fmla="*/ 30023 h 35226"/>
                  <a:gd name="connsiteX6" fmla="*/ 2571 w 13336"/>
                  <a:gd name="connsiteY6" fmla="*/ 28408 h 35226"/>
                  <a:gd name="connsiteX7" fmla="*/ 3349 w 13336"/>
                  <a:gd name="connsiteY7" fmla="*/ 26315 h 35226"/>
                  <a:gd name="connsiteX8" fmla="*/ 3469 w 13336"/>
                  <a:gd name="connsiteY8" fmla="*/ 26076 h 35226"/>
                  <a:gd name="connsiteX9" fmla="*/ 3528 w 13336"/>
                  <a:gd name="connsiteY9" fmla="*/ 26016 h 35226"/>
                  <a:gd name="connsiteX10" fmla="*/ 4066 w 13336"/>
                  <a:gd name="connsiteY10" fmla="*/ 24521 h 35226"/>
                  <a:gd name="connsiteX11" fmla="*/ 5203 w 13336"/>
                  <a:gd name="connsiteY11" fmla="*/ 21531 h 35226"/>
                  <a:gd name="connsiteX12" fmla="*/ 6997 w 13336"/>
                  <a:gd name="connsiteY12" fmla="*/ 16866 h 35226"/>
                  <a:gd name="connsiteX13" fmla="*/ 9210 w 13336"/>
                  <a:gd name="connsiteY13" fmla="*/ 11005 h 35226"/>
                  <a:gd name="connsiteX14" fmla="*/ 11483 w 13336"/>
                  <a:gd name="connsiteY14" fmla="*/ 5024 h 35226"/>
                  <a:gd name="connsiteX15" fmla="*/ 11542 w 13336"/>
                  <a:gd name="connsiteY15" fmla="*/ 4844 h 35226"/>
                  <a:gd name="connsiteX16" fmla="*/ 12440 w 13336"/>
                  <a:gd name="connsiteY16" fmla="*/ 2452 h 35226"/>
                  <a:gd name="connsiteX17" fmla="*/ 12619 w 13336"/>
                  <a:gd name="connsiteY17" fmla="*/ 1914 h 35226"/>
                  <a:gd name="connsiteX18" fmla="*/ 12739 w 13336"/>
                  <a:gd name="connsiteY18" fmla="*/ 1615 h 35226"/>
                  <a:gd name="connsiteX19" fmla="*/ 13337 w 13336"/>
                  <a:gd name="connsiteY19" fmla="*/ 0 h 35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336" h="35226">
                    <a:moveTo>
                      <a:pt x="0" y="35226"/>
                    </a:moveTo>
                    <a:lnTo>
                      <a:pt x="897" y="32834"/>
                    </a:lnTo>
                    <a:lnTo>
                      <a:pt x="957" y="32655"/>
                    </a:lnTo>
                    <a:lnTo>
                      <a:pt x="1136" y="32236"/>
                    </a:lnTo>
                    <a:lnTo>
                      <a:pt x="1316" y="31758"/>
                    </a:lnTo>
                    <a:lnTo>
                      <a:pt x="1973" y="30023"/>
                    </a:lnTo>
                    <a:lnTo>
                      <a:pt x="2571" y="28408"/>
                    </a:lnTo>
                    <a:lnTo>
                      <a:pt x="3349" y="26315"/>
                    </a:lnTo>
                    <a:lnTo>
                      <a:pt x="3469" y="26076"/>
                    </a:lnTo>
                    <a:lnTo>
                      <a:pt x="3528" y="26016"/>
                    </a:lnTo>
                    <a:lnTo>
                      <a:pt x="4066" y="24521"/>
                    </a:lnTo>
                    <a:lnTo>
                      <a:pt x="5203" y="21531"/>
                    </a:lnTo>
                    <a:lnTo>
                      <a:pt x="6997" y="16866"/>
                    </a:lnTo>
                    <a:lnTo>
                      <a:pt x="9210" y="11005"/>
                    </a:lnTo>
                    <a:lnTo>
                      <a:pt x="11483" y="5024"/>
                    </a:lnTo>
                    <a:lnTo>
                      <a:pt x="11542" y="4844"/>
                    </a:lnTo>
                    <a:lnTo>
                      <a:pt x="12440" y="2452"/>
                    </a:lnTo>
                    <a:lnTo>
                      <a:pt x="12619" y="1914"/>
                    </a:lnTo>
                    <a:lnTo>
                      <a:pt x="12739" y="1615"/>
                    </a:lnTo>
                    <a:lnTo>
                      <a:pt x="13337" y="0"/>
                    </a:lnTo>
                  </a:path>
                </a:pathLst>
              </a:custGeom>
              <a:noFill/>
              <a:ln w="6350" cap="rnd">
                <a:solidFill>
                  <a:schemeClr val="bg1">
                    <a:alpha val="80000"/>
                  </a:schemeClr>
                </a:solidFill>
                <a:prstDash val="solid"/>
                <a:round/>
              </a:ln>
            </p:spPr>
            <p:txBody>
              <a:bodyPr rtlCol="0" anchor="ctr"/>
              <a:lstStyle/>
              <a:p>
                <a:endParaRPr lang="en-GB"/>
              </a:p>
            </p:txBody>
          </p:sp>
          <p:sp>
            <p:nvSpPr>
              <p:cNvPr id="6937" name="Vrije vorm: vorm 6936">
                <a:extLst>
                  <a:ext uri="{FF2B5EF4-FFF2-40B4-BE49-F238E27FC236}">
                    <a16:creationId xmlns:a16="http://schemas.microsoft.com/office/drawing/2014/main" id="{7CDA8549-0835-469E-AB96-7C902766BEE8}"/>
                  </a:ext>
                </a:extLst>
              </p:cNvPr>
              <p:cNvSpPr/>
              <p:nvPr/>
            </p:nvSpPr>
            <p:spPr>
              <a:xfrm>
                <a:off x="6941186" y="2024455"/>
                <a:ext cx="12499" cy="33013"/>
              </a:xfrm>
              <a:custGeom>
                <a:avLst/>
                <a:gdLst>
                  <a:gd name="connsiteX0" fmla="*/ 0 w 12499"/>
                  <a:gd name="connsiteY0" fmla="*/ 33014 h 33013"/>
                  <a:gd name="connsiteX1" fmla="*/ 3768 w 12499"/>
                  <a:gd name="connsiteY1" fmla="*/ 22966 h 33013"/>
                  <a:gd name="connsiteX2" fmla="*/ 3828 w 12499"/>
                  <a:gd name="connsiteY2" fmla="*/ 22846 h 33013"/>
                  <a:gd name="connsiteX3" fmla="*/ 4007 w 12499"/>
                  <a:gd name="connsiteY3" fmla="*/ 22428 h 33013"/>
                  <a:gd name="connsiteX4" fmla="*/ 6878 w 12499"/>
                  <a:gd name="connsiteY4" fmla="*/ 14772 h 33013"/>
                  <a:gd name="connsiteX5" fmla="*/ 7296 w 12499"/>
                  <a:gd name="connsiteY5" fmla="*/ 13636 h 33013"/>
                  <a:gd name="connsiteX6" fmla="*/ 8493 w 12499"/>
                  <a:gd name="connsiteY6" fmla="*/ 10406 h 33013"/>
                  <a:gd name="connsiteX7" fmla="*/ 8612 w 12499"/>
                  <a:gd name="connsiteY7" fmla="*/ 10167 h 33013"/>
                  <a:gd name="connsiteX8" fmla="*/ 9689 w 12499"/>
                  <a:gd name="connsiteY8" fmla="*/ 7356 h 33013"/>
                  <a:gd name="connsiteX9" fmla="*/ 10167 w 12499"/>
                  <a:gd name="connsiteY9" fmla="*/ 6160 h 33013"/>
                  <a:gd name="connsiteX10" fmla="*/ 10586 w 12499"/>
                  <a:gd name="connsiteY10" fmla="*/ 5143 h 33013"/>
                  <a:gd name="connsiteX11" fmla="*/ 11542 w 12499"/>
                  <a:gd name="connsiteY11" fmla="*/ 2572 h 33013"/>
                  <a:gd name="connsiteX12" fmla="*/ 12500 w 12499"/>
                  <a:gd name="connsiteY12" fmla="*/ 0 h 33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99" h="33013">
                    <a:moveTo>
                      <a:pt x="0" y="33014"/>
                    </a:moveTo>
                    <a:lnTo>
                      <a:pt x="3768" y="22966"/>
                    </a:lnTo>
                    <a:lnTo>
                      <a:pt x="3828" y="22846"/>
                    </a:lnTo>
                    <a:lnTo>
                      <a:pt x="4007" y="22428"/>
                    </a:lnTo>
                    <a:lnTo>
                      <a:pt x="6878" y="14772"/>
                    </a:lnTo>
                    <a:lnTo>
                      <a:pt x="7296" y="13636"/>
                    </a:lnTo>
                    <a:lnTo>
                      <a:pt x="8493" y="10406"/>
                    </a:lnTo>
                    <a:lnTo>
                      <a:pt x="8612" y="10167"/>
                    </a:lnTo>
                    <a:lnTo>
                      <a:pt x="9689" y="7356"/>
                    </a:lnTo>
                    <a:lnTo>
                      <a:pt x="10167" y="6160"/>
                    </a:lnTo>
                    <a:lnTo>
                      <a:pt x="10586" y="5143"/>
                    </a:lnTo>
                    <a:lnTo>
                      <a:pt x="11542" y="2572"/>
                    </a:lnTo>
                    <a:lnTo>
                      <a:pt x="12500" y="0"/>
                    </a:lnTo>
                  </a:path>
                </a:pathLst>
              </a:custGeom>
              <a:noFill/>
              <a:ln w="6350" cap="rnd">
                <a:solidFill>
                  <a:schemeClr val="bg1">
                    <a:alpha val="80000"/>
                  </a:schemeClr>
                </a:solidFill>
                <a:prstDash val="solid"/>
                <a:round/>
              </a:ln>
            </p:spPr>
            <p:txBody>
              <a:bodyPr rtlCol="0" anchor="ctr"/>
              <a:lstStyle/>
              <a:p>
                <a:endParaRPr lang="en-GB"/>
              </a:p>
            </p:txBody>
          </p:sp>
          <p:sp>
            <p:nvSpPr>
              <p:cNvPr id="6938" name="Vrije vorm: vorm 6937">
                <a:extLst>
                  <a:ext uri="{FF2B5EF4-FFF2-40B4-BE49-F238E27FC236}">
                    <a16:creationId xmlns:a16="http://schemas.microsoft.com/office/drawing/2014/main" id="{EA7EF847-BEFF-480C-8E48-E49C9039DA85}"/>
                  </a:ext>
                </a:extLst>
              </p:cNvPr>
              <p:cNvSpPr/>
              <p:nvPr/>
            </p:nvSpPr>
            <p:spPr>
              <a:xfrm>
                <a:off x="6953327" y="2020089"/>
                <a:ext cx="16387" cy="6698"/>
              </a:xfrm>
              <a:custGeom>
                <a:avLst/>
                <a:gdLst>
                  <a:gd name="connsiteX0" fmla="*/ 0 w 16387"/>
                  <a:gd name="connsiteY0" fmla="*/ 0 h 6698"/>
                  <a:gd name="connsiteX1" fmla="*/ 179 w 16387"/>
                  <a:gd name="connsiteY1" fmla="*/ 60 h 6698"/>
                  <a:gd name="connsiteX2" fmla="*/ 837 w 16387"/>
                  <a:gd name="connsiteY2" fmla="*/ 299 h 6698"/>
                  <a:gd name="connsiteX3" fmla="*/ 956 w 16387"/>
                  <a:gd name="connsiteY3" fmla="*/ 359 h 6698"/>
                  <a:gd name="connsiteX4" fmla="*/ 1674 w 16387"/>
                  <a:gd name="connsiteY4" fmla="*/ 658 h 6698"/>
                  <a:gd name="connsiteX5" fmla="*/ 2571 w 16387"/>
                  <a:gd name="connsiteY5" fmla="*/ 1017 h 6698"/>
                  <a:gd name="connsiteX6" fmla="*/ 4126 w 16387"/>
                  <a:gd name="connsiteY6" fmla="*/ 1675 h 6698"/>
                  <a:gd name="connsiteX7" fmla="*/ 5801 w 16387"/>
                  <a:gd name="connsiteY7" fmla="*/ 2392 h 6698"/>
                  <a:gd name="connsiteX8" fmla="*/ 5981 w 16387"/>
                  <a:gd name="connsiteY8" fmla="*/ 2452 h 6698"/>
                  <a:gd name="connsiteX9" fmla="*/ 6041 w 16387"/>
                  <a:gd name="connsiteY9" fmla="*/ 2452 h 6698"/>
                  <a:gd name="connsiteX10" fmla="*/ 6639 w 16387"/>
                  <a:gd name="connsiteY10" fmla="*/ 2691 h 6698"/>
                  <a:gd name="connsiteX11" fmla="*/ 7057 w 16387"/>
                  <a:gd name="connsiteY11" fmla="*/ 2871 h 6698"/>
                  <a:gd name="connsiteX12" fmla="*/ 7775 w 16387"/>
                  <a:gd name="connsiteY12" fmla="*/ 3170 h 6698"/>
                  <a:gd name="connsiteX13" fmla="*/ 8432 w 16387"/>
                  <a:gd name="connsiteY13" fmla="*/ 3469 h 6698"/>
                  <a:gd name="connsiteX14" fmla="*/ 10526 w 16387"/>
                  <a:gd name="connsiteY14" fmla="*/ 4366 h 6698"/>
                  <a:gd name="connsiteX15" fmla="*/ 12021 w 16387"/>
                  <a:gd name="connsiteY15" fmla="*/ 4964 h 6698"/>
                  <a:gd name="connsiteX16" fmla="*/ 13097 w 16387"/>
                  <a:gd name="connsiteY16" fmla="*/ 5383 h 6698"/>
                  <a:gd name="connsiteX17" fmla="*/ 13516 w 16387"/>
                  <a:gd name="connsiteY17" fmla="*/ 5562 h 6698"/>
                  <a:gd name="connsiteX18" fmla="*/ 13516 w 16387"/>
                  <a:gd name="connsiteY18" fmla="*/ 5562 h 6698"/>
                  <a:gd name="connsiteX19" fmla="*/ 14952 w 16387"/>
                  <a:gd name="connsiteY19" fmla="*/ 6160 h 6698"/>
                  <a:gd name="connsiteX20" fmla="*/ 15012 w 16387"/>
                  <a:gd name="connsiteY20" fmla="*/ 6160 h 6698"/>
                  <a:gd name="connsiteX21" fmla="*/ 15012 w 16387"/>
                  <a:gd name="connsiteY21" fmla="*/ 6160 h 6698"/>
                  <a:gd name="connsiteX22" fmla="*/ 16088 w 16387"/>
                  <a:gd name="connsiteY22" fmla="*/ 6579 h 6698"/>
                  <a:gd name="connsiteX23" fmla="*/ 16387 w 16387"/>
                  <a:gd name="connsiteY23" fmla="*/ 6698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87" h="6698">
                    <a:moveTo>
                      <a:pt x="0" y="0"/>
                    </a:moveTo>
                    <a:lnTo>
                      <a:pt x="179" y="60"/>
                    </a:lnTo>
                    <a:lnTo>
                      <a:pt x="837" y="299"/>
                    </a:lnTo>
                    <a:lnTo>
                      <a:pt x="956" y="359"/>
                    </a:lnTo>
                    <a:lnTo>
                      <a:pt x="1674" y="658"/>
                    </a:lnTo>
                    <a:lnTo>
                      <a:pt x="2571" y="1017"/>
                    </a:lnTo>
                    <a:lnTo>
                      <a:pt x="4126" y="1675"/>
                    </a:lnTo>
                    <a:lnTo>
                      <a:pt x="5801" y="2392"/>
                    </a:lnTo>
                    <a:lnTo>
                      <a:pt x="5981" y="2452"/>
                    </a:lnTo>
                    <a:lnTo>
                      <a:pt x="6041" y="2452"/>
                    </a:lnTo>
                    <a:lnTo>
                      <a:pt x="6639" y="2691"/>
                    </a:lnTo>
                    <a:lnTo>
                      <a:pt x="7057" y="2871"/>
                    </a:lnTo>
                    <a:lnTo>
                      <a:pt x="7775" y="3170"/>
                    </a:lnTo>
                    <a:lnTo>
                      <a:pt x="8432" y="3469"/>
                    </a:lnTo>
                    <a:lnTo>
                      <a:pt x="10526" y="4366"/>
                    </a:lnTo>
                    <a:lnTo>
                      <a:pt x="12021" y="4964"/>
                    </a:lnTo>
                    <a:lnTo>
                      <a:pt x="13097" y="5383"/>
                    </a:lnTo>
                    <a:lnTo>
                      <a:pt x="13516" y="5562"/>
                    </a:lnTo>
                    <a:lnTo>
                      <a:pt x="13516" y="5562"/>
                    </a:lnTo>
                    <a:lnTo>
                      <a:pt x="14952" y="6160"/>
                    </a:lnTo>
                    <a:lnTo>
                      <a:pt x="15012" y="6160"/>
                    </a:lnTo>
                    <a:lnTo>
                      <a:pt x="15012" y="6160"/>
                    </a:lnTo>
                    <a:lnTo>
                      <a:pt x="16088" y="6579"/>
                    </a:lnTo>
                    <a:lnTo>
                      <a:pt x="16387" y="6698"/>
                    </a:lnTo>
                  </a:path>
                </a:pathLst>
              </a:custGeom>
              <a:noFill/>
              <a:ln w="6350" cap="rnd">
                <a:solidFill>
                  <a:schemeClr val="bg1">
                    <a:alpha val="80000"/>
                  </a:schemeClr>
                </a:solidFill>
                <a:prstDash val="solid"/>
                <a:round/>
              </a:ln>
            </p:spPr>
            <p:txBody>
              <a:bodyPr rtlCol="0" anchor="ctr"/>
              <a:lstStyle/>
              <a:p>
                <a:endParaRPr lang="en-GB"/>
              </a:p>
            </p:txBody>
          </p:sp>
          <p:sp>
            <p:nvSpPr>
              <p:cNvPr id="6939" name="Vrije vorm: vorm 6938">
                <a:extLst>
                  <a:ext uri="{FF2B5EF4-FFF2-40B4-BE49-F238E27FC236}">
                    <a16:creationId xmlns:a16="http://schemas.microsoft.com/office/drawing/2014/main" id="{B76E4082-3E28-445E-AA3F-0A1E85F2131A}"/>
                  </a:ext>
                </a:extLst>
              </p:cNvPr>
              <p:cNvSpPr/>
              <p:nvPr/>
            </p:nvSpPr>
            <p:spPr>
              <a:xfrm>
                <a:off x="7078144" y="1799400"/>
                <a:ext cx="5143" cy="6578"/>
              </a:xfrm>
              <a:custGeom>
                <a:avLst/>
                <a:gdLst>
                  <a:gd name="connsiteX0" fmla="*/ 0 w 5143"/>
                  <a:gd name="connsiteY0" fmla="*/ 0 h 6578"/>
                  <a:gd name="connsiteX1" fmla="*/ 120 w 5143"/>
                  <a:gd name="connsiteY1" fmla="*/ 179 h 6578"/>
                  <a:gd name="connsiteX2" fmla="*/ 1136 w 5143"/>
                  <a:gd name="connsiteY2" fmla="*/ 1435 h 6578"/>
                  <a:gd name="connsiteX3" fmla="*/ 1435 w 5143"/>
                  <a:gd name="connsiteY3" fmla="*/ 1794 h 6578"/>
                  <a:gd name="connsiteX4" fmla="*/ 1495 w 5143"/>
                  <a:gd name="connsiteY4" fmla="*/ 1914 h 6578"/>
                  <a:gd name="connsiteX5" fmla="*/ 5143 w 5143"/>
                  <a:gd name="connsiteY5" fmla="*/ 6579 h 6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3" h="6578">
                    <a:moveTo>
                      <a:pt x="0" y="0"/>
                    </a:moveTo>
                    <a:lnTo>
                      <a:pt x="120" y="179"/>
                    </a:lnTo>
                    <a:lnTo>
                      <a:pt x="1136" y="1435"/>
                    </a:lnTo>
                    <a:lnTo>
                      <a:pt x="1435" y="1794"/>
                    </a:lnTo>
                    <a:lnTo>
                      <a:pt x="1495" y="1914"/>
                    </a:lnTo>
                    <a:lnTo>
                      <a:pt x="5143" y="6579"/>
                    </a:lnTo>
                  </a:path>
                </a:pathLst>
              </a:custGeom>
              <a:noFill/>
              <a:ln w="6350" cap="rnd">
                <a:solidFill>
                  <a:schemeClr val="bg1">
                    <a:alpha val="80000"/>
                  </a:schemeClr>
                </a:solidFill>
                <a:prstDash val="solid"/>
                <a:round/>
              </a:ln>
            </p:spPr>
            <p:txBody>
              <a:bodyPr rtlCol="0" anchor="ctr"/>
              <a:lstStyle/>
              <a:p>
                <a:endParaRPr lang="en-GB"/>
              </a:p>
            </p:txBody>
          </p:sp>
          <p:sp>
            <p:nvSpPr>
              <p:cNvPr id="6940" name="Vrije vorm: vorm 6939">
                <a:extLst>
                  <a:ext uri="{FF2B5EF4-FFF2-40B4-BE49-F238E27FC236}">
                    <a16:creationId xmlns:a16="http://schemas.microsoft.com/office/drawing/2014/main" id="{EF1CCA48-FCFC-4203-B342-325C63BA926D}"/>
                  </a:ext>
                </a:extLst>
              </p:cNvPr>
              <p:cNvSpPr/>
              <p:nvPr/>
            </p:nvSpPr>
            <p:spPr>
              <a:xfrm>
                <a:off x="6920731" y="2059920"/>
                <a:ext cx="5980" cy="59"/>
              </a:xfrm>
              <a:custGeom>
                <a:avLst/>
                <a:gdLst>
                  <a:gd name="connsiteX0" fmla="*/ 0 w 5980"/>
                  <a:gd name="connsiteY0" fmla="*/ 0 h 59"/>
                  <a:gd name="connsiteX1" fmla="*/ 0 w 5980"/>
                  <a:gd name="connsiteY1" fmla="*/ 60 h 59"/>
                </a:gdLst>
                <a:ahLst/>
                <a:cxnLst>
                  <a:cxn ang="0">
                    <a:pos x="connsiteX0" y="connsiteY0"/>
                  </a:cxn>
                  <a:cxn ang="0">
                    <a:pos x="connsiteX1" y="connsiteY1"/>
                  </a:cxn>
                </a:cxnLst>
                <a:rect l="l" t="t" r="r" b="b"/>
                <a:pathLst>
                  <a:path w="5980" h="59">
                    <a:moveTo>
                      <a:pt x="0" y="0"/>
                    </a:moveTo>
                    <a:lnTo>
                      <a:pt x="0" y="60"/>
                    </a:lnTo>
                  </a:path>
                </a:pathLst>
              </a:custGeom>
              <a:noFill/>
              <a:ln w="6350" cap="rnd">
                <a:solidFill>
                  <a:schemeClr val="bg1">
                    <a:alpha val="80000"/>
                  </a:schemeClr>
                </a:solidFill>
                <a:prstDash val="solid"/>
                <a:round/>
              </a:ln>
            </p:spPr>
            <p:txBody>
              <a:bodyPr rtlCol="0" anchor="ctr"/>
              <a:lstStyle/>
              <a:p>
                <a:endParaRPr lang="en-GB"/>
              </a:p>
            </p:txBody>
          </p:sp>
          <p:sp>
            <p:nvSpPr>
              <p:cNvPr id="6941" name="Vrije vorm: vorm 6940">
                <a:extLst>
                  <a:ext uri="{FF2B5EF4-FFF2-40B4-BE49-F238E27FC236}">
                    <a16:creationId xmlns:a16="http://schemas.microsoft.com/office/drawing/2014/main" id="{93475AA6-BDF6-4256-A372-3AC667D79446}"/>
                  </a:ext>
                </a:extLst>
              </p:cNvPr>
              <p:cNvSpPr/>
              <p:nvPr/>
            </p:nvSpPr>
            <p:spPr>
              <a:xfrm>
                <a:off x="6932454" y="2057588"/>
                <a:ext cx="17882" cy="6339"/>
              </a:xfrm>
              <a:custGeom>
                <a:avLst/>
                <a:gdLst>
                  <a:gd name="connsiteX0" fmla="*/ 0 w 17882"/>
                  <a:gd name="connsiteY0" fmla="*/ 0 h 6339"/>
                  <a:gd name="connsiteX1" fmla="*/ 418 w 17882"/>
                  <a:gd name="connsiteY1" fmla="*/ 179 h 6339"/>
                  <a:gd name="connsiteX2" fmla="*/ 5442 w 17882"/>
                  <a:gd name="connsiteY2" fmla="*/ 1974 h 6339"/>
                  <a:gd name="connsiteX3" fmla="*/ 7834 w 17882"/>
                  <a:gd name="connsiteY3" fmla="*/ 2811 h 6339"/>
                  <a:gd name="connsiteX4" fmla="*/ 7894 w 17882"/>
                  <a:gd name="connsiteY4" fmla="*/ 2811 h 6339"/>
                  <a:gd name="connsiteX5" fmla="*/ 10287 w 17882"/>
                  <a:gd name="connsiteY5" fmla="*/ 3648 h 6339"/>
                  <a:gd name="connsiteX6" fmla="*/ 11423 w 17882"/>
                  <a:gd name="connsiteY6" fmla="*/ 4067 h 6339"/>
                  <a:gd name="connsiteX7" fmla="*/ 12559 w 17882"/>
                  <a:gd name="connsiteY7" fmla="*/ 4486 h 6339"/>
                  <a:gd name="connsiteX8" fmla="*/ 16686 w 17882"/>
                  <a:gd name="connsiteY8" fmla="*/ 5921 h 6339"/>
                  <a:gd name="connsiteX9" fmla="*/ 17882 w 17882"/>
                  <a:gd name="connsiteY9" fmla="*/ 6340 h 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2" h="6339">
                    <a:moveTo>
                      <a:pt x="0" y="0"/>
                    </a:moveTo>
                    <a:lnTo>
                      <a:pt x="418" y="179"/>
                    </a:lnTo>
                    <a:lnTo>
                      <a:pt x="5442" y="1974"/>
                    </a:lnTo>
                    <a:lnTo>
                      <a:pt x="7834" y="2811"/>
                    </a:lnTo>
                    <a:lnTo>
                      <a:pt x="7894" y="2811"/>
                    </a:lnTo>
                    <a:lnTo>
                      <a:pt x="10287" y="3648"/>
                    </a:lnTo>
                    <a:lnTo>
                      <a:pt x="11423" y="4067"/>
                    </a:lnTo>
                    <a:lnTo>
                      <a:pt x="12559" y="4486"/>
                    </a:lnTo>
                    <a:lnTo>
                      <a:pt x="16686" y="5921"/>
                    </a:lnTo>
                    <a:lnTo>
                      <a:pt x="17882" y="6340"/>
                    </a:lnTo>
                  </a:path>
                </a:pathLst>
              </a:custGeom>
              <a:noFill/>
              <a:ln w="6350" cap="rnd">
                <a:solidFill>
                  <a:schemeClr val="bg1">
                    <a:alpha val="80000"/>
                  </a:schemeClr>
                </a:solidFill>
                <a:prstDash val="solid"/>
                <a:round/>
              </a:ln>
            </p:spPr>
            <p:txBody>
              <a:bodyPr rtlCol="0" anchor="ctr"/>
              <a:lstStyle/>
              <a:p>
                <a:endParaRPr lang="en-GB"/>
              </a:p>
            </p:txBody>
          </p:sp>
          <p:sp>
            <p:nvSpPr>
              <p:cNvPr id="6942" name="Vrije vorm: vorm 6941">
                <a:extLst>
                  <a:ext uri="{FF2B5EF4-FFF2-40B4-BE49-F238E27FC236}">
                    <a16:creationId xmlns:a16="http://schemas.microsoft.com/office/drawing/2014/main" id="{CAC49E29-6C0D-434A-A4C7-8E0EA8D3021F}"/>
                  </a:ext>
                </a:extLst>
              </p:cNvPr>
              <p:cNvSpPr/>
              <p:nvPr/>
            </p:nvSpPr>
            <p:spPr>
              <a:xfrm>
                <a:off x="7066183" y="1810524"/>
                <a:ext cx="1016" cy="1674"/>
              </a:xfrm>
              <a:custGeom>
                <a:avLst/>
                <a:gdLst>
                  <a:gd name="connsiteX0" fmla="*/ 1016 w 1016"/>
                  <a:gd name="connsiteY0" fmla="*/ 0 h 1674"/>
                  <a:gd name="connsiteX1" fmla="*/ 0 w 1016"/>
                  <a:gd name="connsiteY1" fmla="*/ 1675 h 1674"/>
                </a:gdLst>
                <a:ahLst/>
                <a:cxnLst>
                  <a:cxn ang="0">
                    <a:pos x="connsiteX0" y="connsiteY0"/>
                  </a:cxn>
                  <a:cxn ang="0">
                    <a:pos x="connsiteX1" y="connsiteY1"/>
                  </a:cxn>
                </a:cxnLst>
                <a:rect l="l" t="t" r="r" b="b"/>
                <a:pathLst>
                  <a:path w="1016" h="1674">
                    <a:moveTo>
                      <a:pt x="1016" y="0"/>
                    </a:moveTo>
                    <a:lnTo>
                      <a:pt x="0" y="1675"/>
                    </a:lnTo>
                  </a:path>
                </a:pathLst>
              </a:custGeom>
              <a:noFill/>
              <a:ln w="6350" cap="rnd">
                <a:solidFill>
                  <a:schemeClr val="bg1">
                    <a:alpha val="80000"/>
                  </a:schemeClr>
                </a:solidFill>
                <a:prstDash val="solid"/>
                <a:round/>
              </a:ln>
            </p:spPr>
            <p:txBody>
              <a:bodyPr rtlCol="0" anchor="ctr"/>
              <a:lstStyle/>
              <a:p>
                <a:endParaRPr lang="en-GB"/>
              </a:p>
            </p:txBody>
          </p:sp>
          <p:sp>
            <p:nvSpPr>
              <p:cNvPr id="6943" name="Vrije vorm: vorm 6942">
                <a:extLst>
                  <a:ext uri="{FF2B5EF4-FFF2-40B4-BE49-F238E27FC236}">
                    <a16:creationId xmlns:a16="http://schemas.microsoft.com/office/drawing/2014/main" id="{691797FA-4411-4B3B-BD05-35BF72791B18}"/>
                  </a:ext>
                </a:extLst>
              </p:cNvPr>
              <p:cNvSpPr/>
              <p:nvPr/>
            </p:nvSpPr>
            <p:spPr>
              <a:xfrm>
                <a:off x="6921808" y="2058903"/>
                <a:ext cx="538" cy="4664"/>
              </a:xfrm>
              <a:custGeom>
                <a:avLst/>
                <a:gdLst>
                  <a:gd name="connsiteX0" fmla="*/ 0 w 538"/>
                  <a:gd name="connsiteY0" fmla="*/ 4665 h 4664"/>
                  <a:gd name="connsiteX1" fmla="*/ 538 w 538"/>
                  <a:gd name="connsiteY1" fmla="*/ 0 h 4664"/>
                </a:gdLst>
                <a:ahLst/>
                <a:cxnLst>
                  <a:cxn ang="0">
                    <a:pos x="connsiteX0" y="connsiteY0"/>
                  </a:cxn>
                  <a:cxn ang="0">
                    <a:pos x="connsiteX1" y="connsiteY1"/>
                  </a:cxn>
                </a:cxnLst>
                <a:rect l="l" t="t" r="r" b="b"/>
                <a:pathLst>
                  <a:path w="538" h="4664">
                    <a:moveTo>
                      <a:pt x="0" y="4665"/>
                    </a:moveTo>
                    <a:lnTo>
                      <a:pt x="538" y="0"/>
                    </a:lnTo>
                  </a:path>
                </a:pathLst>
              </a:custGeom>
              <a:noFill/>
              <a:ln w="6350" cap="rnd">
                <a:solidFill>
                  <a:schemeClr val="bg1">
                    <a:alpha val="80000"/>
                  </a:schemeClr>
                </a:solidFill>
                <a:prstDash val="solid"/>
                <a:round/>
              </a:ln>
            </p:spPr>
            <p:txBody>
              <a:bodyPr rtlCol="0" anchor="ctr"/>
              <a:lstStyle/>
              <a:p>
                <a:endParaRPr lang="en-GB"/>
              </a:p>
            </p:txBody>
          </p:sp>
          <p:sp>
            <p:nvSpPr>
              <p:cNvPr id="6944" name="Vrije vorm: vorm 6943">
                <a:extLst>
                  <a:ext uri="{FF2B5EF4-FFF2-40B4-BE49-F238E27FC236}">
                    <a16:creationId xmlns:a16="http://schemas.microsoft.com/office/drawing/2014/main" id="{918C7C5D-4027-46F4-89A1-2E05102969BA}"/>
                  </a:ext>
                </a:extLst>
              </p:cNvPr>
              <p:cNvSpPr/>
              <p:nvPr/>
            </p:nvSpPr>
            <p:spPr>
              <a:xfrm>
                <a:off x="7064388" y="1809866"/>
                <a:ext cx="777" cy="1315"/>
              </a:xfrm>
              <a:custGeom>
                <a:avLst/>
                <a:gdLst>
                  <a:gd name="connsiteX0" fmla="*/ 0 w 777"/>
                  <a:gd name="connsiteY0" fmla="*/ 1316 h 1315"/>
                  <a:gd name="connsiteX1" fmla="*/ 778 w 777"/>
                  <a:gd name="connsiteY1" fmla="*/ 0 h 1315"/>
                </a:gdLst>
                <a:ahLst/>
                <a:cxnLst>
                  <a:cxn ang="0">
                    <a:pos x="connsiteX0" y="connsiteY0"/>
                  </a:cxn>
                  <a:cxn ang="0">
                    <a:pos x="connsiteX1" y="connsiteY1"/>
                  </a:cxn>
                </a:cxnLst>
                <a:rect l="l" t="t" r="r" b="b"/>
                <a:pathLst>
                  <a:path w="777" h="1315">
                    <a:moveTo>
                      <a:pt x="0" y="1316"/>
                    </a:moveTo>
                    <a:lnTo>
                      <a:pt x="778" y="0"/>
                    </a:lnTo>
                  </a:path>
                </a:pathLst>
              </a:custGeom>
              <a:noFill/>
              <a:ln w="6350" cap="rnd">
                <a:solidFill>
                  <a:schemeClr val="bg1">
                    <a:alpha val="80000"/>
                  </a:schemeClr>
                </a:solidFill>
                <a:prstDash val="solid"/>
                <a:round/>
              </a:ln>
            </p:spPr>
            <p:txBody>
              <a:bodyPr rtlCol="0" anchor="ctr"/>
              <a:lstStyle/>
              <a:p>
                <a:endParaRPr lang="en-GB"/>
              </a:p>
            </p:txBody>
          </p:sp>
          <p:sp>
            <p:nvSpPr>
              <p:cNvPr id="6945" name="Vrije vorm: vorm 6944">
                <a:extLst>
                  <a:ext uri="{FF2B5EF4-FFF2-40B4-BE49-F238E27FC236}">
                    <a16:creationId xmlns:a16="http://schemas.microsoft.com/office/drawing/2014/main" id="{69BFE9DE-DD89-4255-9014-07B955B2366B}"/>
                  </a:ext>
                </a:extLst>
              </p:cNvPr>
              <p:cNvSpPr/>
              <p:nvPr/>
            </p:nvSpPr>
            <p:spPr>
              <a:xfrm>
                <a:off x="6980359" y="1984264"/>
                <a:ext cx="1794" cy="1136"/>
              </a:xfrm>
              <a:custGeom>
                <a:avLst/>
                <a:gdLst>
                  <a:gd name="connsiteX0" fmla="*/ 0 w 1794"/>
                  <a:gd name="connsiteY0" fmla="*/ 0 h 1136"/>
                  <a:gd name="connsiteX1" fmla="*/ 957 w 1794"/>
                  <a:gd name="connsiteY1" fmla="*/ 598 h 1136"/>
                  <a:gd name="connsiteX2" fmla="*/ 1436 w 1794"/>
                  <a:gd name="connsiteY2" fmla="*/ 897 h 1136"/>
                  <a:gd name="connsiteX3" fmla="*/ 1795 w 1794"/>
                  <a:gd name="connsiteY3" fmla="*/ 1136 h 1136"/>
                </a:gdLst>
                <a:ahLst/>
                <a:cxnLst>
                  <a:cxn ang="0">
                    <a:pos x="connsiteX0" y="connsiteY0"/>
                  </a:cxn>
                  <a:cxn ang="0">
                    <a:pos x="connsiteX1" y="connsiteY1"/>
                  </a:cxn>
                  <a:cxn ang="0">
                    <a:pos x="connsiteX2" y="connsiteY2"/>
                  </a:cxn>
                  <a:cxn ang="0">
                    <a:pos x="connsiteX3" y="connsiteY3"/>
                  </a:cxn>
                </a:cxnLst>
                <a:rect l="l" t="t" r="r" b="b"/>
                <a:pathLst>
                  <a:path w="1794" h="1136">
                    <a:moveTo>
                      <a:pt x="0" y="0"/>
                    </a:moveTo>
                    <a:lnTo>
                      <a:pt x="957" y="598"/>
                    </a:lnTo>
                    <a:lnTo>
                      <a:pt x="1436" y="897"/>
                    </a:lnTo>
                    <a:lnTo>
                      <a:pt x="1795" y="1136"/>
                    </a:lnTo>
                  </a:path>
                </a:pathLst>
              </a:custGeom>
              <a:noFill/>
              <a:ln w="6350" cap="rnd">
                <a:solidFill>
                  <a:schemeClr val="bg1">
                    <a:alpha val="80000"/>
                  </a:schemeClr>
                </a:solidFill>
                <a:prstDash val="solid"/>
                <a:round/>
              </a:ln>
            </p:spPr>
            <p:txBody>
              <a:bodyPr rtlCol="0" anchor="ctr"/>
              <a:lstStyle/>
              <a:p>
                <a:endParaRPr lang="en-GB"/>
              </a:p>
            </p:txBody>
          </p:sp>
          <p:sp>
            <p:nvSpPr>
              <p:cNvPr id="6946" name="Vrije vorm: vorm 6945">
                <a:extLst>
                  <a:ext uri="{FF2B5EF4-FFF2-40B4-BE49-F238E27FC236}">
                    <a16:creationId xmlns:a16="http://schemas.microsoft.com/office/drawing/2014/main" id="{F25A86AE-8D00-4B84-9B9A-EA27B3C31C3E}"/>
                  </a:ext>
                </a:extLst>
              </p:cNvPr>
              <p:cNvSpPr/>
              <p:nvPr/>
            </p:nvSpPr>
            <p:spPr>
              <a:xfrm>
                <a:off x="6976113" y="1981513"/>
                <a:ext cx="3110" cy="1913"/>
              </a:xfrm>
              <a:custGeom>
                <a:avLst/>
                <a:gdLst>
                  <a:gd name="connsiteX0" fmla="*/ 0 w 3110"/>
                  <a:gd name="connsiteY0" fmla="*/ 0 h 1913"/>
                  <a:gd name="connsiteX1" fmla="*/ 419 w 3110"/>
                  <a:gd name="connsiteY1" fmla="*/ 239 h 1913"/>
                  <a:gd name="connsiteX2" fmla="*/ 658 w 3110"/>
                  <a:gd name="connsiteY2" fmla="*/ 359 h 1913"/>
                  <a:gd name="connsiteX3" fmla="*/ 3050 w 3110"/>
                  <a:gd name="connsiteY3" fmla="*/ 1854 h 1913"/>
                  <a:gd name="connsiteX4" fmla="*/ 3110 w 3110"/>
                  <a:gd name="connsiteY4" fmla="*/ 1914 h 1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0" h="1913">
                    <a:moveTo>
                      <a:pt x="0" y="0"/>
                    </a:moveTo>
                    <a:lnTo>
                      <a:pt x="419" y="239"/>
                    </a:lnTo>
                    <a:lnTo>
                      <a:pt x="658" y="359"/>
                    </a:lnTo>
                    <a:lnTo>
                      <a:pt x="3050" y="1854"/>
                    </a:lnTo>
                    <a:lnTo>
                      <a:pt x="3110" y="1914"/>
                    </a:lnTo>
                  </a:path>
                </a:pathLst>
              </a:custGeom>
              <a:noFill/>
              <a:ln w="6350" cap="rnd">
                <a:solidFill>
                  <a:schemeClr val="bg1">
                    <a:alpha val="80000"/>
                  </a:schemeClr>
                </a:solidFill>
                <a:prstDash val="solid"/>
                <a:round/>
              </a:ln>
            </p:spPr>
            <p:txBody>
              <a:bodyPr rtlCol="0" anchor="ctr"/>
              <a:lstStyle/>
              <a:p>
                <a:endParaRPr lang="en-GB"/>
              </a:p>
            </p:txBody>
          </p:sp>
          <p:sp>
            <p:nvSpPr>
              <p:cNvPr id="6947" name="Vrije vorm: vorm 6946">
                <a:extLst>
                  <a:ext uri="{FF2B5EF4-FFF2-40B4-BE49-F238E27FC236}">
                    <a16:creationId xmlns:a16="http://schemas.microsoft.com/office/drawing/2014/main" id="{21FB15EA-B496-461D-BA7A-E64B38CBC5D1}"/>
                  </a:ext>
                </a:extLst>
              </p:cNvPr>
              <p:cNvSpPr/>
              <p:nvPr/>
            </p:nvSpPr>
            <p:spPr>
              <a:xfrm>
                <a:off x="6970970" y="1978283"/>
                <a:ext cx="3229" cy="2093"/>
              </a:xfrm>
              <a:custGeom>
                <a:avLst/>
                <a:gdLst>
                  <a:gd name="connsiteX0" fmla="*/ 0 w 3229"/>
                  <a:gd name="connsiteY0" fmla="*/ 0 h 2093"/>
                  <a:gd name="connsiteX1" fmla="*/ 3230 w 3229"/>
                  <a:gd name="connsiteY1" fmla="*/ 2093 h 2093"/>
                </a:gdLst>
                <a:ahLst/>
                <a:cxnLst>
                  <a:cxn ang="0">
                    <a:pos x="connsiteX0" y="connsiteY0"/>
                  </a:cxn>
                  <a:cxn ang="0">
                    <a:pos x="connsiteX1" y="connsiteY1"/>
                  </a:cxn>
                </a:cxnLst>
                <a:rect l="l" t="t" r="r" b="b"/>
                <a:pathLst>
                  <a:path w="3229" h="2093">
                    <a:moveTo>
                      <a:pt x="0" y="0"/>
                    </a:moveTo>
                    <a:lnTo>
                      <a:pt x="3230" y="2093"/>
                    </a:lnTo>
                  </a:path>
                </a:pathLst>
              </a:custGeom>
              <a:noFill/>
              <a:ln w="6350" cap="rnd">
                <a:solidFill>
                  <a:schemeClr val="bg1">
                    <a:alpha val="80000"/>
                  </a:schemeClr>
                </a:solidFill>
                <a:prstDash val="solid"/>
                <a:round/>
              </a:ln>
            </p:spPr>
            <p:txBody>
              <a:bodyPr rtlCol="0" anchor="ctr"/>
              <a:lstStyle/>
              <a:p>
                <a:endParaRPr lang="en-GB"/>
              </a:p>
            </p:txBody>
          </p:sp>
          <p:sp>
            <p:nvSpPr>
              <p:cNvPr id="6948" name="Vrije vorm: vorm 6947">
                <a:extLst>
                  <a:ext uri="{FF2B5EF4-FFF2-40B4-BE49-F238E27FC236}">
                    <a16:creationId xmlns:a16="http://schemas.microsoft.com/office/drawing/2014/main" id="{DB8B091B-AA8F-45DD-8922-894DB7579320}"/>
                  </a:ext>
                </a:extLst>
              </p:cNvPr>
              <p:cNvSpPr/>
              <p:nvPr/>
            </p:nvSpPr>
            <p:spPr>
              <a:xfrm>
                <a:off x="6967441" y="1976070"/>
                <a:ext cx="1733" cy="1076"/>
              </a:xfrm>
              <a:custGeom>
                <a:avLst/>
                <a:gdLst>
                  <a:gd name="connsiteX0" fmla="*/ 0 w 1733"/>
                  <a:gd name="connsiteY0" fmla="*/ 0 h 1076"/>
                  <a:gd name="connsiteX1" fmla="*/ 1734 w 1733"/>
                  <a:gd name="connsiteY1" fmla="*/ 1077 h 1076"/>
                </a:gdLst>
                <a:ahLst/>
                <a:cxnLst>
                  <a:cxn ang="0">
                    <a:pos x="connsiteX0" y="connsiteY0"/>
                  </a:cxn>
                  <a:cxn ang="0">
                    <a:pos x="connsiteX1" y="connsiteY1"/>
                  </a:cxn>
                </a:cxnLst>
                <a:rect l="l" t="t" r="r" b="b"/>
                <a:pathLst>
                  <a:path w="1733" h="1076">
                    <a:moveTo>
                      <a:pt x="0" y="0"/>
                    </a:moveTo>
                    <a:lnTo>
                      <a:pt x="1734" y="1077"/>
                    </a:lnTo>
                  </a:path>
                </a:pathLst>
              </a:custGeom>
              <a:noFill/>
              <a:ln w="6350" cap="rnd">
                <a:solidFill>
                  <a:schemeClr val="bg1">
                    <a:alpha val="80000"/>
                  </a:schemeClr>
                </a:solidFill>
                <a:prstDash val="solid"/>
                <a:round/>
              </a:ln>
            </p:spPr>
            <p:txBody>
              <a:bodyPr rtlCol="0" anchor="ctr"/>
              <a:lstStyle/>
              <a:p>
                <a:endParaRPr lang="en-GB"/>
              </a:p>
            </p:txBody>
          </p:sp>
          <p:sp>
            <p:nvSpPr>
              <p:cNvPr id="6949" name="Vrije vorm: vorm 6948">
                <a:extLst>
                  <a:ext uri="{FF2B5EF4-FFF2-40B4-BE49-F238E27FC236}">
                    <a16:creationId xmlns:a16="http://schemas.microsoft.com/office/drawing/2014/main" id="{66C9F208-CB45-40F8-9AA9-ACE50BDAE76A}"/>
                  </a:ext>
                </a:extLst>
              </p:cNvPr>
              <p:cNvSpPr/>
              <p:nvPr/>
            </p:nvSpPr>
            <p:spPr>
              <a:xfrm>
                <a:off x="6932454" y="2057887"/>
                <a:ext cx="8611" cy="5861"/>
              </a:xfrm>
              <a:custGeom>
                <a:avLst/>
                <a:gdLst>
                  <a:gd name="connsiteX0" fmla="*/ 0 w 8611"/>
                  <a:gd name="connsiteY0" fmla="*/ 0 h 5861"/>
                  <a:gd name="connsiteX1" fmla="*/ 2990 w 8611"/>
                  <a:gd name="connsiteY1" fmla="*/ 2033 h 5861"/>
                  <a:gd name="connsiteX2" fmla="*/ 4486 w 8611"/>
                  <a:gd name="connsiteY2" fmla="*/ 3050 h 5861"/>
                  <a:gd name="connsiteX3" fmla="*/ 6040 w 8611"/>
                  <a:gd name="connsiteY3" fmla="*/ 4127 h 5861"/>
                  <a:gd name="connsiteX4" fmla="*/ 8313 w 8611"/>
                  <a:gd name="connsiteY4" fmla="*/ 5682 h 5861"/>
                  <a:gd name="connsiteX5" fmla="*/ 8612 w 8611"/>
                  <a:gd name="connsiteY5" fmla="*/ 5861 h 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1" h="5861">
                    <a:moveTo>
                      <a:pt x="0" y="0"/>
                    </a:moveTo>
                    <a:lnTo>
                      <a:pt x="2990" y="2033"/>
                    </a:lnTo>
                    <a:lnTo>
                      <a:pt x="4486" y="3050"/>
                    </a:lnTo>
                    <a:lnTo>
                      <a:pt x="6040" y="4127"/>
                    </a:lnTo>
                    <a:lnTo>
                      <a:pt x="8313" y="5682"/>
                    </a:lnTo>
                    <a:lnTo>
                      <a:pt x="8612" y="5861"/>
                    </a:lnTo>
                  </a:path>
                </a:pathLst>
              </a:custGeom>
              <a:noFill/>
              <a:ln w="6350" cap="rnd">
                <a:solidFill>
                  <a:schemeClr val="bg1">
                    <a:alpha val="80000"/>
                  </a:schemeClr>
                </a:solidFill>
                <a:prstDash val="solid"/>
                <a:round/>
              </a:ln>
            </p:spPr>
            <p:txBody>
              <a:bodyPr rtlCol="0" anchor="ctr"/>
              <a:lstStyle/>
              <a:p>
                <a:endParaRPr lang="en-GB"/>
              </a:p>
            </p:txBody>
          </p:sp>
          <p:sp>
            <p:nvSpPr>
              <p:cNvPr id="6950" name="Vrije vorm: vorm 6949">
                <a:extLst>
                  <a:ext uri="{FF2B5EF4-FFF2-40B4-BE49-F238E27FC236}">
                    <a16:creationId xmlns:a16="http://schemas.microsoft.com/office/drawing/2014/main" id="{36586E3D-501B-4807-B236-8BCB7F91039E}"/>
                  </a:ext>
                </a:extLst>
              </p:cNvPr>
              <p:cNvSpPr/>
              <p:nvPr/>
            </p:nvSpPr>
            <p:spPr>
              <a:xfrm>
                <a:off x="6942920" y="2012613"/>
                <a:ext cx="2691" cy="8731"/>
              </a:xfrm>
              <a:custGeom>
                <a:avLst/>
                <a:gdLst>
                  <a:gd name="connsiteX0" fmla="*/ 2691 w 2691"/>
                  <a:gd name="connsiteY0" fmla="*/ 0 h 8731"/>
                  <a:gd name="connsiteX1" fmla="*/ 2571 w 2691"/>
                  <a:gd name="connsiteY1" fmla="*/ 419 h 8731"/>
                  <a:gd name="connsiteX2" fmla="*/ 2213 w 2691"/>
                  <a:gd name="connsiteY2" fmla="*/ 1555 h 8731"/>
                  <a:gd name="connsiteX3" fmla="*/ 2153 w 2691"/>
                  <a:gd name="connsiteY3" fmla="*/ 1794 h 8731"/>
                  <a:gd name="connsiteX4" fmla="*/ 2153 w 2691"/>
                  <a:gd name="connsiteY4" fmla="*/ 1794 h 8731"/>
                  <a:gd name="connsiteX5" fmla="*/ 1854 w 2691"/>
                  <a:gd name="connsiteY5" fmla="*/ 2632 h 8731"/>
                  <a:gd name="connsiteX6" fmla="*/ 1734 w 2691"/>
                  <a:gd name="connsiteY6" fmla="*/ 3050 h 8731"/>
                  <a:gd name="connsiteX7" fmla="*/ 1614 w 2691"/>
                  <a:gd name="connsiteY7" fmla="*/ 3469 h 8731"/>
                  <a:gd name="connsiteX8" fmla="*/ 1435 w 2691"/>
                  <a:gd name="connsiteY8" fmla="*/ 4067 h 8731"/>
                  <a:gd name="connsiteX9" fmla="*/ 1375 w 2691"/>
                  <a:gd name="connsiteY9" fmla="*/ 4306 h 8731"/>
                  <a:gd name="connsiteX10" fmla="*/ 1076 w 2691"/>
                  <a:gd name="connsiteY10" fmla="*/ 5203 h 8731"/>
                  <a:gd name="connsiteX11" fmla="*/ 956 w 2691"/>
                  <a:gd name="connsiteY11" fmla="*/ 5622 h 8731"/>
                  <a:gd name="connsiteX12" fmla="*/ 897 w 2691"/>
                  <a:gd name="connsiteY12" fmla="*/ 5861 h 8731"/>
                  <a:gd name="connsiteX13" fmla="*/ 658 w 2691"/>
                  <a:gd name="connsiteY13" fmla="*/ 6639 h 8731"/>
                  <a:gd name="connsiteX14" fmla="*/ 478 w 2691"/>
                  <a:gd name="connsiteY14" fmla="*/ 7177 h 8731"/>
                  <a:gd name="connsiteX15" fmla="*/ 239 w 2691"/>
                  <a:gd name="connsiteY15" fmla="*/ 7954 h 8731"/>
                  <a:gd name="connsiteX16" fmla="*/ 0 w 2691"/>
                  <a:gd name="connsiteY16" fmla="*/ 8732 h 8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91" h="8731">
                    <a:moveTo>
                      <a:pt x="2691" y="0"/>
                    </a:moveTo>
                    <a:lnTo>
                      <a:pt x="2571" y="419"/>
                    </a:lnTo>
                    <a:lnTo>
                      <a:pt x="2213" y="1555"/>
                    </a:lnTo>
                    <a:lnTo>
                      <a:pt x="2153" y="1794"/>
                    </a:lnTo>
                    <a:lnTo>
                      <a:pt x="2153" y="1794"/>
                    </a:lnTo>
                    <a:lnTo>
                      <a:pt x="1854" y="2632"/>
                    </a:lnTo>
                    <a:lnTo>
                      <a:pt x="1734" y="3050"/>
                    </a:lnTo>
                    <a:lnTo>
                      <a:pt x="1614" y="3469"/>
                    </a:lnTo>
                    <a:lnTo>
                      <a:pt x="1435" y="4067"/>
                    </a:lnTo>
                    <a:lnTo>
                      <a:pt x="1375" y="4306"/>
                    </a:lnTo>
                    <a:lnTo>
                      <a:pt x="1076" y="5203"/>
                    </a:lnTo>
                    <a:lnTo>
                      <a:pt x="956" y="5622"/>
                    </a:lnTo>
                    <a:lnTo>
                      <a:pt x="897" y="5861"/>
                    </a:lnTo>
                    <a:lnTo>
                      <a:pt x="658" y="6639"/>
                    </a:lnTo>
                    <a:lnTo>
                      <a:pt x="478" y="7177"/>
                    </a:lnTo>
                    <a:lnTo>
                      <a:pt x="239" y="7954"/>
                    </a:lnTo>
                    <a:lnTo>
                      <a:pt x="0" y="8732"/>
                    </a:lnTo>
                  </a:path>
                </a:pathLst>
              </a:custGeom>
              <a:noFill/>
              <a:ln w="6350" cap="rnd">
                <a:solidFill>
                  <a:schemeClr val="bg1">
                    <a:alpha val="80000"/>
                  </a:schemeClr>
                </a:solidFill>
                <a:prstDash val="solid"/>
                <a:round/>
              </a:ln>
            </p:spPr>
            <p:txBody>
              <a:bodyPr rtlCol="0" anchor="ctr"/>
              <a:lstStyle/>
              <a:p>
                <a:endParaRPr lang="en-GB"/>
              </a:p>
            </p:txBody>
          </p:sp>
          <p:sp>
            <p:nvSpPr>
              <p:cNvPr id="6951" name="Vrije vorm: vorm 6950">
                <a:extLst>
                  <a:ext uri="{FF2B5EF4-FFF2-40B4-BE49-F238E27FC236}">
                    <a16:creationId xmlns:a16="http://schemas.microsoft.com/office/drawing/2014/main" id="{090BAA01-BC6D-42D2-BF28-E77D4E6430C1}"/>
                  </a:ext>
                </a:extLst>
              </p:cNvPr>
              <p:cNvSpPr/>
              <p:nvPr/>
            </p:nvSpPr>
            <p:spPr>
              <a:xfrm>
                <a:off x="6967202" y="1977805"/>
                <a:ext cx="17822" cy="8372"/>
              </a:xfrm>
              <a:custGeom>
                <a:avLst/>
                <a:gdLst>
                  <a:gd name="connsiteX0" fmla="*/ 0 w 17822"/>
                  <a:gd name="connsiteY0" fmla="*/ 0 h 8372"/>
                  <a:gd name="connsiteX1" fmla="*/ 2273 w 17822"/>
                  <a:gd name="connsiteY1" fmla="*/ 1076 h 8372"/>
                  <a:gd name="connsiteX2" fmla="*/ 3409 w 17822"/>
                  <a:gd name="connsiteY2" fmla="*/ 1615 h 8372"/>
                  <a:gd name="connsiteX3" fmla="*/ 3588 w 17822"/>
                  <a:gd name="connsiteY3" fmla="*/ 1734 h 8372"/>
                  <a:gd name="connsiteX4" fmla="*/ 7656 w 17822"/>
                  <a:gd name="connsiteY4" fmla="*/ 3648 h 8372"/>
                  <a:gd name="connsiteX5" fmla="*/ 8672 w 17822"/>
                  <a:gd name="connsiteY5" fmla="*/ 4127 h 8372"/>
                  <a:gd name="connsiteX6" fmla="*/ 9091 w 17822"/>
                  <a:gd name="connsiteY6" fmla="*/ 4306 h 8372"/>
                  <a:gd name="connsiteX7" fmla="*/ 9629 w 17822"/>
                  <a:gd name="connsiteY7" fmla="*/ 4545 h 8372"/>
                  <a:gd name="connsiteX8" fmla="*/ 11961 w 17822"/>
                  <a:gd name="connsiteY8" fmla="*/ 5622 h 8372"/>
                  <a:gd name="connsiteX9" fmla="*/ 12021 w 17822"/>
                  <a:gd name="connsiteY9" fmla="*/ 5682 h 8372"/>
                  <a:gd name="connsiteX10" fmla="*/ 13337 w 17822"/>
                  <a:gd name="connsiteY10" fmla="*/ 6280 h 8372"/>
                  <a:gd name="connsiteX11" fmla="*/ 14354 w 17822"/>
                  <a:gd name="connsiteY11" fmla="*/ 6758 h 8372"/>
                  <a:gd name="connsiteX12" fmla="*/ 14892 w 17822"/>
                  <a:gd name="connsiteY12" fmla="*/ 6997 h 8372"/>
                  <a:gd name="connsiteX13" fmla="*/ 16029 w 17822"/>
                  <a:gd name="connsiteY13" fmla="*/ 7536 h 8372"/>
                  <a:gd name="connsiteX14" fmla="*/ 17284 w 17822"/>
                  <a:gd name="connsiteY14" fmla="*/ 8134 h 8372"/>
                  <a:gd name="connsiteX15" fmla="*/ 17284 w 17822"/>
                  <a:gd name="connsiteY15" fmla="*/ 8134 h 8372"/>
                  <a:gd name="connsiteX16" fmla="*/ 17822 w 17822"/>
                  <a:gd name="connsiteY16" fmla="*/ 8373 h 8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22" h="8372">
                    <a:moveTo>
                      <a:pt x="0" y="0"/>
                    </a:moveTo>
                    <a:lnTo>
                      <a:pt x="2273" y="1076"/>
                    </a:lnTo>
                    <a:lnTo>
                      <a:pt x="3409" y="1615"/>
                    </a:lnTo>
                    <a:lnTo>
                      <a:pt x="3588" y="1734"/>
                    </a:lnTo>
                    <a:lnTo>
                      <a:pt x="7656" y="3648"/>
                    </a:lnTo>
                    <a:lnTo>
                      <a:pt x="8672" y="4127"/>
                    </a:lnTo>
                    <a:lnTo>
                      <a:pt x="9091" y="4306"/>
                    </a:lnTo>
                    <a:lnTo>
                      <a:pt x="9629" y="4545"/>
                    </a:lnTo>
                    <a:lnTo>
                      <a:pt x="11961" y="5622"/>
                    </a:lnTo>
                    <a:lnTo>
                      <a:pt x="12021" y="5682"/>
                    </a:lnTo>
                    <a:lnTo>
                      <a:pt x="13337" y="6280"/>
                    </a:lnTo>
                    <a:lnTo>
                      <a:pt x="14354" y="6758"/>
                    </a:lnTo>
                    <a:lnTo>
                      <a:pt x="14892" y="6997"/>
                    </a:lnTo>
                    <a:lnTo>
                      <a:pt x="16029" y="7536"/>
                    </a:lnTo>
                    <a:lnTo>
                      <a:pt x="17284" y="8134"/>
                    </a:lnTo>
                    <a:lnTo>
                      <a:pt x="17284" y="8134"/>
                    </a:lnTo>
                    <a:lnTo>
                      <a:pt x="17822" y="8373"/>
                    </a:lnTo>
                  </a:path>
                </a:pathLst>
              </a:custGeom>
              <a:noFill/>
              <a:ln w="6350" cap="rnd">
                <a:solidFill>
                  <a:schemeClr val="bg1">
                    <a:alpha val="80000"/>
                  </a:schemeClr>
                </a:solidFill>
                <a:prstDash val="solid"/>
                <a:round/>
              </a:ln>
            </p:spPr>
            <p:txBody>
              <a:bodyPr rtlCol="0" anchor="ctr"/>
              <a:lstStyle/>
              <a:p>
                <a:endParaRPr lang="en-GB"/>
              </a:p>
            </p:txBody>
          </p:sp>
          <p:sp>
            <p:nvSpPr>
              <p:cNvPr id="6952" name="Vrije vorm: vorm 6951">
                <a:extLst>
                  <a:ext uri="{FF2B5EF4-FFF2-40B4-BE49-F238E27FC236}">
                    <a16:creationId xmlns:a16="http://schemas.microsoft.com/office/drawing/2014/main" id="{F3BE5C0D-7D26-4F06-BCDA-6EE3798CCCAD}"/>
                  </a:ext>
                </a:extLst>
              </p:cNvPr>
              <p:cNvSpPr/>
              <p:nvPr/>
            </p:nvSpPr>
            <p:spPr>
              <a:xfrm>
                <a:off x="6953745" y="2019012"/>
                <a:ext cx="12141" cy="5023"/>
              </a:xfrm>
              <a:custGeom>
                <a:avLst/>
                <a:gdLst>
                  <a:gd name="connsiteX0" fmla="*/ 0 w 12141"/>
                  <a:gd name="connsiteY0" fmla="*/ 0 h 5023"/>
                  <a:gd name="connsiteX1" fmla="*/ 120 w 12141"/>
                  <a:gd name="connsiteY1" fmla="*/ 60 h 5023"/>
                  <a:gd name="connsiteX2" fmla="*/ 419 w 12141"/>
                  <a:gd name="connsiteY2" fmla="*/ 179 h 5023"/>
                  <a:gd name="connsiteX3" fmla="*/ 1675 w 12141"/>
                  <a:gd name="connsiteY3" fmla="*/ 718 h 5023"/>
                  <a:gd name="connsiteX4" fmla="*/ 2691 w 12141"/>
                  <a:gd name="connsiteY4" fmla="*/ 1136 h 5023"/>
                  <a:gd name="connsiteX5" fmla="*/ 5143 w 12141"/>
                  <a:gd name="connsiteY5" fmla="*/ 2153 h 5023"/>
                  <a:gd name="connsiteX6" fmla="*/ 5921 w 12141"/>
                  <a:gd name="connsiteY6" fmla="*/ 2452 h 5023"/>
                  <a:gd name="connsiteX7" fmla="*/ 5981 w 12141"/>
                  <a:gd name="connsiteY7" fmla="*/ 2452 h 5023"/>
                  <a:gd name="connsiteX8" fmla="*/ 6160 w 12141"/>
                  <a:gd name="connsiteY8" fmla="*/ 2512 h 5023"/>
                  <a:gd name="connsiteX9" fmla="*/ 6160 w 12141"/>
                  <a:gd name="connsiteY9" fmla="*/ 2512 h 5023"/>
                  <a:gd name="connsiteX10" fmla="*/ 7236 w 12141"/>
                  <a:gd name="connsiteY10" fmla="*/ 2930 h 5023"/>
                  <a:gd name="connsiteX11" fmla="*/ 7775 w 12141"/>
                  <a:gd name="connsiteY11" fmla="*/ 3170 h 5023"/>
                  <a:gd name="connsiteX12" fmla="*/ 7775 w 12141"/>
                  <a:gd name="connsiteY12" fmla="*/ 3170 h 5023"/>
                  <a:gd name="connsiteX13" fmla="*/ 7895 w 12141"/>
                  <a:gd name="connsiteY13" fmla="*/ 3230 h 5023"/>
                  <a:gd name="connsiteX14" fmla="*/ 10885 w 12141"/>
                  <a:gd name="connsiteY14" fmla="*/ 4486 h 5023"/>
                  <a:gd name="connsiteX15" fmla="*/ 12141 w 12141"/>
                  <a:gd name="connsiteY15" fmla="*/ 5024 h 5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41" h="5023">
                    <a:moveTo>
                      <a:pt x="0" y="0"/>
                    </a:moveTo>
                    <a:lnTo>
                      <a:pt x="120" y="60"/>
                    </a:lnTo>
                    <a:lnTo>
                      <a:pt x="419" y="179"/>
                    </a:lnTo>
                    <a:lnTo>
                      <a:pt x="1675" y="718"/>
                    </a:lnTo>
                    <a:lnTo>
                      <a:pt x="2691" y="1136"/>
                    </a:lnTo>
                    <a:lnTo>
                      <a:pt x="5143" y="2153"/>
                    </a:lnTo>
                    <a:lnTo>
                      <a:pt x="5921" y="2452"/>
                    </a:lnTo>
                    <a:lnTo>
                      <a:pt x="5981" y="2452"/>
                    </a:lnTo>
                    <a:lnTo>
                      <a:pt x="6160" y="2512"/>
                    </a:lnTo>
                    <a:lnTo>
                      <a:pt x="6160" y="2512"/>
                    </a:lnTo>
                    <a:lnTo>
                      <a:pt x="7236" y="2930"/>
                    </a:lnTo>
                    <a:lnTo>
                      <a:pt x="7775" y="3170"/>
                    </a:lnTo>
                    <a:lnTo>
                      <a:pt x="7775" y="3170"/>
                    </a:lnTo>
                    <a:lnTo>
                      <a:pt x="7895" y="3230"/>
                    </a:lnTo>
                    <a:lnTo>
                      <a:pt x="10885" y="4486"/>
                    </a:lnTo>
                    <a:lnTo>
                      <a:pt x="12141" y="5024"/>
                    </a:lnTo>
                  </a:path>
                </a:pathLst>
              </a:custGeom>
              <a:noFill/>
              <a:ln w="6350" cap="rnd">
                <a:solidFill>
                  <a:schemeClr val="bg1">
                    <a:alpha val="80000"/>
                  </a:schemeClr>
                </a:solidFill>
                <a:prstDash val="solid"/>
                <a:round/>
              </a:ln>
            </p:spPr>
            <p:txBody>
              <a:bodyPr rtlCol="0" anchor="ctr"/>
              <a:lstStyle/>
              <a:p>
                <a:endParaRPr lang="en-GB"/>
              </a:p>
            </p:txBody>
          </p:sp>
          <p:sp>
            <p:nvSpPr>
              <p:cNvPr id="6953" name="Vrije vorm: vorm 6952">
                <a:extLst>
                  <a:ext uri="{FF2B5EF4-FFF2-40B4-BE49-F238E27FC236}">
                    <a16:creationId xmlns:a16="http://schemas.microsoft.com/office/drawing/2014/main" id="{23AA1581-F976-49EE-99B3-EDAF5C8C8ED8}"/>
                  </a:ext>
                </a:extLst>
              </p:cNvPr>
              <p:cNvSpPr/>
              <p:nvPr/>
            </p:nvSpPr>
            <p:spPr>
              <a:xfrm>
                <a:off x="6933351" y="2056152"/>
                <a:ext cx="11423" cy="4066"/>
              </a:xfrm>
              <a:custGeom>
                <a:avLst/>
                <a:gdLst>
                  <a:gd name="connsiteX0" fmla="*/ 0 w 11423"/>
                  <a:gd name="connsiteY0" fmla="*/ 0 h 4066"/>
                  <a:gd name="connsiteX1" fmla="*/ 60 w 11423"/>
                  <a:gd name="connsiteY1" fmla="*/ 0 h 4066"/>
                  <a:gd name="connsiteX2" fmla="*/ 718 w 11423"/>
                  <a:gd name="connsiteY2" fmla="*/ 239 h 4066"/>
                  <a:gd name="connsiteX3" fmla="*/ 4127 w 11423"/>
                  <a:gd name="connsiteY3" fmla="*/ 1435 h 4066"/>
                  <a:gd name="connsiteX4" fmla="*/ 4187 w 11423"/>
                  <a:gd name="connsiteY4" fmla="*/ 1435 h 4066"/>
                  <a:gd name="connsiteX5" fmla="*/ 6460 w 11423"/>
                  <a:gd name="connsiteY5" fmla="*/ 2273 h 4066"/>
                  <a:gd name="connsiteX6" fmla="*/ 7297 w 11423"/>
                  <a:gd name="connsiteY6" fmla="*/ 2572 h 4066"/>
                  <a:gd name="connsiteX7" fmla="*/ 11423 w 11423"/>
                  <a:gd name="connsiteY7" fmla="*/ 4067 h 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23" h="4066">
                    <a:moveTo>
                      <a:pt x="0" y="0"/>
                    </a:moveTo>
                    <a:lnTo>
                      <a:pt x="60" y="0"/>
                    </a:lnTo>
                    <a:lnTo>
                      <a:pt x="718" y="239"/>
                    </a:lnTo>
                    <a:lnTo>
                      <a:pt x="4127" y="1435"/>
                    </a:lnTo>
                    <a:lnTo>
                      <a:pt x="4187" y="1435"/>
                    </a:lnTo>
                    <a:lnTo>
                      <a:pt x="6460" y="2273"/>
                    </a:lnTo>
                    <a:lnTo>
                      <a:pt x="7297" y="2572"/>
                    </a:lnTo>
                    <a:lnTo>
                      <a:pt x="11423" y="4067"/>
                    </a:lnTo>
                  </a:path>
                </a:pathLst>
              </a:custGeom>
              <a:noFill/>
              <a:ln w="6350" cap="rnd">
                <a:solidFill>
                  <a:schemeClr val="bg1">
                    <a:alpha val="80000"/>
                  </a:schemeClr>
                </a:solidFill>
                <a:prstDash val="solid"/>
                <a:round/>
              </a:ln>
            </p:spPr>
            <p:txBody>
              <a:bodyPr rtlCol="0" anchor="ctr"/>
              <a:lstStyle/>
              <a:p>
                <a:endParaRPr lang="en-GB"/>
              </a:p>
            </p:txBody>
          </p:sp>
          <p:sp>
            <p:nvSpPr>
              <p:cNvPr id="6954" name="Vrije vorm: vorm 6953">
                <a:extLst>
                  <a:ext uri="{FF2B5EF4-FFF2-40B4-BE49-F238E27FC236}">
                    <a16:creationId xmlns:a16="http://schemas.microsoft.com/office/drawing/2014/main" id="{A00007B9-F5C6-4C5E-A485-89405308F735}"/>
                  </a:ext>
                </a:extLst>
              </p:cNvPr>
              <p:cNvSpPr/>
              <p:nvPr/>
            </p:nvSpPr>
            <p:spPr>
              <a:xfrm>
                <a:off x="6948721" y="1997242"/>
                <a:ext cx="837" cy="4545"/>
              </a:xfrm>
              <a:custGeom>
                <a:avLst/>
                <a:gdLst>
                  <a:gd name="connsiteX0" fmla="*/ 837 w 837"/>
                  <a:gd name="connsiteY0" fmla="*/ 0 h 4545"/>
                  <a:gd name="connsiteX1" fmla="*/ 0 w 837"/>
                  <a:gd name="connsiteY1" fmla="*/ 4545 h 4545"/>
                </a:gdLst>
                <a:ahLst/>
                <a:cxnLst>
                  <a:cxn ang="0">
                    <a:pos x="connsiteX0" y="connsiteY0"/>
                  </a:cxn>
                  <a:cxn ang="0">
                    <a:pos x="connsiteX1" y="connsiteY1"/>
                  </a:cxn>
                </a:cxnLst>
                <a:rect l="l" t="t" r="r" b="b"/>
                <a:pathLst>
                  <a:path w="837" h="4545">
                    <a:moveTo>
                      <a:pt x="837" y="0"/>
                    </a:moveTo>
                    <a:lnTo>
                      <a:pt x="0" y="4545"/>
                    </a:lnTo>
                  </a:path>
                </a:pathLst>
              </a:custGeom>
              <a:noFill/>
              <a:ln w="6350" cap="rnd">
                <a:solidFill>
                  <a:schemeClr val="bg1">
                    <a:alpha val="80000"/>
                  </a:schemeClr>
                </a:solidFill>
                <a:prstDash val="solid"/>
                <a:round/>
              </a:ln>
            </p:spPr>
            <p:txBody>
              <a:bodyPr rtlCol="0" anchor="ctr"/>
              <a:lstStyle/>
              <a:p>
                <a:endParaRPr lang="en-GB"/>
              </a:p>
            </p:txBody>
          </p:sp>
          <p:sp>
            <p:nvSpPr>
              <p:cNvPr id="6955" name="Vrije vorm: vorm 6954">
                <a:extLst>
                  <a:ext uri="{FF2B5EF4-FFF2-40B4-BE49-F238E27FC236}">
                    <a16:creationId xmlns:a16="http://schemas.microsoft.com/office/drawing/2014/main" id="{5C2FE9AC-3BA0-4F32-92E0-8305B844B49E}"/>
                  </a:ext>
                </a:extLst>
              </p:cNvPr>
              <p:cNvSpPr/>
              <p:nvPr/>
            </p:nvSpPr>
            <p:spPr>
              <a:xfrm>
                <a:off x="6954941" y="2020926"/>
                <a:ext cx="2931" cy="1973"/>
              </a:xfrm>
              <a:custGeom>
                <a:avLst/>
                <a:gdLst>
                  <a:gd name="connsiteX0" fmla="*/ 0 w 2931"/>
                  <a:gd name="connsiteY0" fmla="*/ 0 h 1973"/>
                  <a:gd name="connsiteX1" fmla="*/ 599 w 2931"/>
                  <a:gd name="connsiteY1" fmla="*/ 419 h 1973"/>
                  <a:gd name="connsiteX2" fmla="*/ 778 w 2931"/>
                  <a:gd name="connsiteY2" fmla="*/ 538 h 1973"/>
                  <a:gd name="connsiteX3" fmla="*/ 2931 w 2931"/>
                  <a:gd name="connsiteY3" fmla="*/ 1974 h 1973"/>
                </a:gdLst>
                <a:ahLst/>
                <a:cxnLst>
                  <a:cxn ang="0">
                    <a:pos x="connsiteX0" y="connsiteY0"/>
                  </a:cxn>
                  <a:cxn ang="0">
                    <a:pos x="connsiteX1" y="connsiteY1"/>
                  </a:cxn>
                  <a:cxn ang="0">
                    <a:pos x="connsiteX2" y="connsiteY2"/>
                  </a:cxn>
                  <a:cxn ang="0">
                    <a:pos x="connsiteX3" y="connsiteY3"/>
                  </a:cxn>
                </a:cxnLst>
                <a:rect l="l" t="t" r="r" b="b"/>
                <a:pathLst>
                  <a:path w="2931" h="1973">
                    <a:moveTo>
                      <a:pt x="0" y="0"/>
                    </a:moveTo>
                    <a:lnTo>
                      <a:pt x="599" y="419"/>
                    </a:lnTo>
                    <a:lnTo>
                      <a:pt x="778" y="538"/>
                    </a:lnTo>
                    <a:lnTo>
                      <a:pt x="2931" y="1974"/>
                    </a:lnTo>
                  </a:path>
                </a:pathLst>
              </a:custGeom>
              <a:noFill/>
              <a:ln w="6350" cap="rnd">
                <a:solidFill>
                  <a:schemeClr val="bg1">
                    <a:alpha val="80000"/>
                  </a:schemeClr>
                </a:solidFill>
                <a:prstDash val="solid"/>
                <a:round/>
              </a:ln>
            </p:spPr>
            <p:txBody>
              <a:bodyPr rtlCol="0" anchor="ctr"/>
              <a:lstStyle/>
              <a:p>
                <a:endParaRPr lang="en-GB"/>
              </a:p>
            </p:txBody>
          </p:sp>
          <p:sp>
            <p:nvSpPr>
              <p:cNvPr id="6956" name="Vrije vorm: vorm 6955">
                <a:extLst>
                  <a:ext uri="{FF2B5EF4-FFF2-40B4-BE49-F238E27FC236}">
                    <a16:creationId xmlns:a16="http://schemas.microsoft.com/office/drawing/2014/main" id="{E6FA3FE6-F1BC-4EEA-A6FE-B93C9937DAE0}"/>
                  </a:ext>
                </a:extLst>
              </p:cNvPr>
              <p:cNvSpPr/>
              <p:nvPr/>
            </p:nvSpPr>
            <p:spPr>
              <a:xfrm>
                <a:off x="6953387" y="2019909"/>
                <a:ext cx="777" cy="478"/>
              </a:xfrm>
              <a:custGeom>
                <a:avLst/>
                <a:gdLst>
                  <a:gd name="connsiteX0" fmla="*/ 0 w 777"/>
                  <a:gd name="connsiteY0" fmla="*/ 0 h 478"/>
                  <a:gd name="connsiteX1" fmla="*/ 179 w 777"/>
                  <a:gd name="connsiteY1" fmla="*/ 120 h 478"/>
                  <a:gd name="connsiteX2" fmla="*/ 778 w 777"/>
                  <a:gd name="connsiteY2" fmla="*/ 478 h 478"/>
                </a:gdLst>
                <a:ahLst/>
                <a:cxnLst>
                  <a:cxn ang="0">
                    <a:pos x="connsiteX0" y="connsiteY0"/>
                  </a:cxn>
                  <a:cxn ang="0">
                    <a:pos x="connsiteX1" y="connsiteY1"/>
                  </a:cxn>
                  <a:cxn ang="0">
                    <a:pos x="connsiteX2" y="connsiteY2"/>
                  </a:cxn>
                </a:cxnLst>
                <a:rect l="l" t="t" r="r" b="b"/>
                <a:pathLst>
                  <a:path w="777" h="478">
                    <a:moveTo>
                      <a:pt x="0" y="0"/>
                    </a:moveTo>
                    <a:lnTo>
                      <a:pt x="179" y="120"/>
                    </a:lnTo>
                    <a:lnTo>
                      <a:pt x="778" y="478"/>
                    </a:lnTo>
                  </a:path>
                </a:pathLst>
              </a:custGeom>
              <a:noFill/>
              <a:ln w="6350" cap="rnd">
                <a:solidFill>
                  <a:schemeClr val="bg1">
                    <a:alpha val="80000"/>
                  </a:schemeClr>
                </a:solidFill>
                <a:prstDash val="solid"/>
                <a:round/>
              </a:ln>
            </p:spPr>
            <p:txBody>
              <a:bodyPr rtlCol="0" anchor="ctr"/>
              <a:lstStyle/>
              <a:p>
                <a:endParaRPr lang="en-GB"/>
              </a:p>
            </p:txBody>
          </p:sp>
          <p:sp>
            <p:nvSpPr>
              <p:cNvPr id="6957" name="Vrije vorm: vorm 6956">
                <a:extLst>
                  <a:ext uri="{FF2B5EF4-FFF2-40B4-BE49-F238E27FC236}">
                    <a16:creationId xmlns:a16="http://schemas.microsoft.com/office/drawing/2014/main" id="{EF75CEF1-4AC9-4A26-A0A5-FB0627A55656}"/>
                  </a:ext>
                </a:extLst>
              </p:cNvPr>
              <p:cNvSpPr/>
              <p:nvPr/>
            </p:nvSpPr>
            <p:spPr>
              <a:xfrm>
                <a:off x="6967262" y="1977087"/>
                <a:ext cx="13576" cy="6399"/>
              </a:xfrm>
              <a:custGeom>
                <a:avLst/>
                <a:gdLst>
                  <a:gd name="connsiteX0" fmla="*/ 0 w 13576"/>
                  <a:gd name="connsiteY0" fmla="*/ 0 h 6399"/>
                  <a:gd name="connsiteX1" fmla="*/ 2512 w 13576"/>
                  <a:gd name="connsiteY1" fmla="*/ 1196 h 6399"/>
                  <a:gd name="connsiteX2" fmla="*/ 3528 w 13576"/>
                  <a:gd name="connsiteY2" fmla="*/ 1675 h 6399"/>
                  <a:gd name="connsiteX3" fmla="*/ 6938 w 13576"/>
                  <a:gd name="connsiteY3" fmla="*/ 3289 h 6399"/>
                  <a:gd name="connsiteX4" fmla="*/ 7954 w 13576"/>
                  <a:gd name="connsiteY4" fmla="*/ 3768 h 6399"/>
                  <a:gd name="connsiteX5" fmla="*/ 8971 w 13576"/>
                  <a:gd name="connsiteY5" fmla="*/ 4246 h 6399"/>
                  <a:gd name="connsiteX6" fmla="*/ 9389 w 13576"/>
                  <a:gd name="connsiteY6" fmla="*/ 4426 h 6399"/>
                  <a:gd name="connsiteX7" fmla="*/ 9389 w 13576"/>
                  <a:gd name="connsiteY7" fmla="*/ 4426 h 6399"/>
                  <a:gd name="connsiteX8" fmla="*/ 12201 w 13576"/>
                  <a:gd name="connsiteY8" fmla="*/ 5742 h 6399"/>
                  <a:gd name="connsiteX9" fmla="*/ 13576 w 13576"/>
                  <a:gd name="connsiteY9" fmla="*/ 6399 h 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76" h="6399">
                    <a:moveTo>
                      <a:pt x="0" y="0"/>
                    </a:moveTo>
                    <a:lnTo>
                      <a:pt x="2512" y="1196"/>
                    </a:lnTo>
                    <a:lnTo>
                      <a:pt x="3528" y="1675"/>
                    </a:lnTo>
                    <a:lnTo>
                      <a:pt x="6938" y="3289"/>
                    </a:lnTo>
                    <a:lnTo>
                      <a:pt x="7954" y="3768"/>
                    </a:lnTo>
                    <a:lnTo>
                      <a:pt x="8971" y="4246"/>
                    </a:lnTo>
                    <a:lnTo>
                      <a:pt x="9389" y="4426"/>
                    </a:lnTo>
                    <a:lnTo>
                      <a:pt x="9389" y="4426"/>
                    </a:lnTo>
                    <a:lnTo>
                      <a:pt x="12201" y="5742"/>
                    </a:lnTo>
                    <a:lnTo>
                      <a:pt x="13576" y="6399"/>
                    </a:lnTo>
                  </a:path>
                </a:pathLst>
              </a:custGeom>
              <a:noFill/>
              <a:ln w="6350" cap="rnd">
                <a:solidFill>
                  <a:schemeClr val="bg1">
                    <a:alpha val="80000"/>
                  </a:schemeClr>
                </a:solidFill>
                <a:prstDash val="solid"/>
                <a:round/>
              </a:ln>
            </p:spPr>
            <p:txBody>
              <a:bodyPr rtlCol="0" anchor="ctr"/>
              <a:lstStyle/>
              <a:p>
                <a:endParaRPr lang="en-GB"/>
              </a:p>
            </p:txBody>
          </p:sp>
          <p:sp>
            <p:nvSpPr>
              <p:cNvPr id="6958" name="Vrije vorm: vorm 6957">
                <a:extLst>
                  <a:ext uri="{FF2B5EF4-FFF2-40B4-BE49-F238E27FC236}">
                    <a16:creationId xmlns:a16="http://schemas.microsoft.com/office/drawing/2014/main" id="{4C4DDBCF-19FD-470C-9466-2A7A7275464F}"/>
                  </a:ext>
                </a:extLst>
              </p:cNvPr>
              <p:cNvSpPr/>
              <p:nvPr/>
            </p:nvSpPr>
            <p:spPr>
              <a:xfrm>
                <a:off x="6954223" y="2017936"/>
                <a:ext cx="6040" cy="2511"/>
              </a:xfrm>
              <a:custGeom>
                <a:avLst/>
                <a:gdLst>
                  <a:gd name="connsiteX0" fmla="*/ 0 w 6040"/>
                  <a:gd name="connsiteY0" fmla="*/ 0 h 2511"/>
                  <a:gd name="connsiteX1" fmla="*/ 599 w 6040"/>
                  <a:gd name="connsiteY1" fmla="*/ 239 h 2511"/>
                  <a:gd name="connsiteX2" fmla="*/ 1615 w 6040"/>
                  <a:gd name="connsiteY2" fmla="*/ 658 h 2511"/>
                  <a:gd name="connsiteX3" fmla="*/ 2692 w 6040"/>
                  <a:gd name="connsiteY3" fmla="*/ 1136 h 2511"/>
                  <a:gd name="connsiteX4" fmla="*/ 5263 w 6040"/>
                  <a:gd name="connsiteY4" fmla="*/ 2213 h 2511"/>
                  <a:gd name="connsiteX5" fmla="*/ 6041 w 6040"/>
                  <a:gd name="connsiteY5" fmla="*/ 2512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40" h="2511">
                    <a:moveTo>
                      <a:pt x="0" y="0"/>
                    </a:moveTo>
                    <a:lnTo>
                      <a:pt x="599" y="239"/>
                    </a:lnTo>
                    <a:lnTo>
                      <a:pt x="1615" y="658"/>
                    </a:lnTo>
                    <a:lnTo>
                      <a:pt x="2692" y="1136"/>
                    </a:lnTo>
                    <a:lnTo>
                      <a:pt x="5263" y="2213"/>
                    </a:lnTo>
                    <a:lnTo>
                      <a:pt x="6041" y="2512"/>
                    </a:lnTo>
                  </a:path>
                </a:pathLst>
              </a:custGeom>
              <a:noFill/>
              <a:ln w="6350" cap="rnd">
                <a:solidFill>
                  <a:schemeClr val="bg1">
                    <a:alpha val="80000"/>
                  </a:schemeClr>
                </a:solidFill>
                <a:prstDash val="solid"/>
                <a:round/>
              </a:ln>
            </p:spPr>
            <p:txBody>
              <a:bodyPr rtlCol="0" anchor="ctr"/>
              <a:lstStyle/>
              <a:p>
                <a:endParaRPr lang="en-GB"/>
              </a:p>
            </p:txBody>
          </p:sp>
          <p:sp>
            <p:nvSpPr>
              <p:cNvPr id="6959" name="Vrije vorm: vorm 6958">
                <a:extLst>
                  <a:ext uri="{FF2B5EF4-FFF2-40B4-BE49-F238E27FC236}">
                    <a16:creationId xmlns:a16="http://schemas.microsoft.com/office/drawing/2014/main" id="{34F38A48-B07D-4AB2-88F7-B188938727A4}"/>
                  </a:ext>
                </a:extLst>
              </p:cNvPr>
              <p:cNvSpPr/>
              <p:nvPr/>
            </p:nvSpPr>
            <p:spPr>
              <a:xfrm>
                <a:off x="6967262" y="1977326"/>
                <a:ext cx="6698" cy="4246"/>
              </a:xfrm>
              <a:custGeom>
                <a:avLst/>
                <a:gdLst>
                  <a:gd name="connsiteX0" fmla="*/ 0 w 6698"/>
                  <a:gd name="connsiteY0" fmla="*/ 0 h 4246"/>
                  <a:gd name="connsiteX1" fmla="*/ 2273 w 6698"/>
                  <a:gd name="connsiteY1" fmla="*/ 1435 h 4246"/>
                  <a:gd name="connsiteX2" fmla="*/ 3290 w 6698"/>
                  <a:gd name="connsiteY2" fmla="*/ 2093 h 4246"/>
                  <a:gd name="connsiteX3" fmla="*/ 3469 w 6698"/>
                  <a:gd name="connsiteY3" fmla="*/ 2213 h 4246"/>
                  <a:gd name="connsiteX4" fmla="*/ 6698 w 6698"/>
                  <a:gd name="connsiteY4" fmla="*/ 4246 h 4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8" h="4246">
                    <a:moveTo>
                      <a:pt x="0" y="0"/>
                    </a:moveTo>
                    <a:lnTo>
                      <a:pt x="2273" y="1435"/>
                    </a:lnTo>
                    <a:lnTo>
                      <a:pt x="3290" y="2093"/>
                    </a:lnTo>
                    <a:lnTo>
                      <a:pt x="3469" y="2213"/>
                    </a:lnTo>
                    <a:lnTo>
                      <a:pt x="6698" y="4246"/>
                    </a:lnTo>
                  </a:path>
                </a:pathLst>
              </a:custGeom>
              <a:noFill/>
              <a:ln w="6350" cap="rnd">
                <a:solidFill>
                  <a:schemeClr val="bg1">
                    <a:alpha val="80000"/>
                  </a:schemeClr>
                </a:solidFill>
                <a:prstDash val="solid"/>
                <a:round/>
              </a:ln>
            </p:spPr>
            <p:txBody>
              <a:bodyPr rtlCol="0" anchor="ctr"/>
              <a:lstStyle/>
              <a:p>
                <a:endParaRPr lang="en-GB"/>
              </a:p>
            </p:txBody>
          </p:sp>
          <p:sp>
            <p:nvSpPr>
              <p:cNvPr id="6960" name="Vrije vorm: vorm 6959">
                <a:extLst>
                  <a:ext uri="{FF2B5EF4-FFF2-40B4-BE49-F238E27FC236}">
                    <a16:creationId xmlns:a16="http://schemas.microsoft.com/office/drawing/2014/main" id="{8B0D4D36-9C4D-4448-8457-B5DA454FBD82}"/>
                  </a:ext>
                </a:extLst>
              </p:cNvPr>
              <p:cNvSpPr/>
              <p:nvPr/>
            </p:nvSpPr>
            <p:spPr>
              <a:xfrm>
                <a:off x="7052547" y="1805381"/>
                <a:ext cx="12679" cy="4485"/>
              </a:xfrm>
              <a:custGeom>
                <a:avLst/>
                <a:gdLst>
                  <a:gd name="connsiteX0" fmla="*/ 12679 w 12679"/>
                  <a:gd name="connsiteY0" fmla="*/ 4486 h 4485"/>
                  <a:gd name="connsiteX1" fmla="*/ 10167 w 12679"/>
                  <a:gd name="connsiteY1" fmla="*/ 3588 h 4485"/>
                  <a:gd name="connsiteX2" fmla="*/ 2811 w 12679"/>
                  <a:gd name="connsiteY2" fmla="*/ 1017 h 4485"/>
                  <a:gd name="connsiteX3" fmla="*/ 1615 w 12679"/>
                  <a:gd name="connsiteY3" fmla="*/ 598 h 4485"/>
                  <a:gd name="connsiteX4" fmla="*/ 1375 w 12679"/>
                  <a:gd name="connsiteY4" fmla="*/ 478 h 4485"/>
                  <a:gd name="connsiteX5" fmla="*/ 0 w 12679"/>
                  <a:gd name="connsiteY5" fmla="*/ 0 h 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79" h="4485">
                    <a:moveTo>
                      <a:pt x="12679" y="4486"/>
                    </a:moveTo>
                    <a:lnTo>
                      <a:pt x="10167" y="3588"/>
                    </a:lnTo>
                    <a:lnTo>
                      <a:pt x="2811" y="1017"/>
                    </a:lnTo>
                    <a:lnTo>
                      <a:pt x="1615" y="598"/>
                    </a:lnTo>
                    <a:lnTo>
                      <a:pt x="1375" y="47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61" name="Vrije vorm: vorm 6960">
                <a:extLst>
                  <a:ext uri="{FF2B5EF4-FFF2-40B4-BE49-F238E27FC236}">
                    <a16:creationId xmlns:a16="http://schemas.microsoft.com/office/drawing/2014/main" id="{163E8FE0-E7C4-4B8A-B24A-5A356E4C2DDD}"/>
                  </a:ext>
                </a:extLst>
              </p:cNvPr>
              <p:cNvSpPr/>
              <p:nvPr/>
            </p:nvSpPr>
            <p:spPr>
              <a:xfrm>
                <a:off x="6954642" y="2016979"/>
                <a:ext cx="2571" cy="1076"/>
              </a:xfrm>
              <a:custGeom>
                <a:avLst/>
                <a:gdLst>
                  <a:gd name="connsiteX0" fmla="*/ 0 w 2571"/>
                  <a:gd name="connsiteY0" fmla="*/ 0 h 1076"/>
                  <a:gd name="connsiteX1" fmla="*/ 778 w 2571"/>
                  <a:gd name="connsiteY1" fmla="*/ 299 h 1076"/>
                  <a:gd name="connsiteX2" fmla="*/ 1017 w 2571"/>
                  <a:gd name="connsiteY2" fmla="*/ 419 h 1076"/>
                  <a:gd name="connsiteX3" fmla="*/ 1555 w 2571"/>
                  <a:gd name="connsiteY3" fmla="*/ 658 h 1076"/>
                  <a:gd name="connsiteX4" fmla="*/ 2571 w 2571"/>
                  <a:gd name="connsiteY4" fmla="*/ 1076 h 1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 h="1076">
                    <a:moveTo>
                      <a:pt x="0" y="0"/>
                    </a:moveTo>
                    <a:lnTo>
                      <a:pt x="778" y="299"/>
                    </a:lnTo>
                    <a:lnTo>
                      <a:pt x="1017" y="419"/>
                    </a:lnTo>
                    <a:lnTo>
                      <a:pt x="1555" y="658"/>
                    </a:lnTo>
                    <a:lnTo>
                      <a:pt x="2571" y="1076"/>
                    </a:lnTo>
                  </a:path>
                </a:pathLst>
              </a:custGeom>
              <a:noFill/>
              <a:ln w="6350" cap="rnd">
                <a:solidFill>
                  <a:schemeClr val="bg1">
                    <a:alpha val="80000"/>
                  </a:schemeClr>
                </a:solidFill>
                <a:prstDash val="solid"/>
                <a:round/>
              </a:ln>
            </p:spPr>
            <p:txBody>
              <a:bodyPr rtlCol="0" anchor="ctr"/>
              <a:lstStyle/>
              <a:p>
                <a:endParaRPr lang="en-GB"/>
              </a:p>
            </p:txBody>
          </p:sp>
          <p:sp>
            <p:nvSpPr>
              <p:cNvPr id="6962" name="Vrije vorm: vorm 6961">
                <a:extLst>
                  <a:ext uri="{FF2B5EF4-FFF2-40B4-BE49-F238E27FC236}">
                    <a16:creationId xmlns:a16="http://schemas.microsoft.com/office/drawing/2014/main" id="{B1CE4DF9-642E-42A1-BE13-E2F3D85E858C}"/>
                  </a:ext>
                </a:extLst>
              </p:cNvPr>
              <p:cNvSpPr/>
              <p:nvPr/>
            </p:nvSpPr>
            <p:spPr>
              <a:xfrm>
                <a:off x="6967381" y="1976310"/>
                <a:ext cx="8253" cy="3887"/>
              </a:xfrm>
              <a:custGeom>
                <a:avLst/>
                <a:gdLst>
                  <a:gd name="connsiteX0" fmla="*/ 0 w 8253"/>
                  <a:gd name="connsiteY0" fmla="*/ 0 h 3887"/>
                  <a:gd name="connsiteX1" fmla="*/ 1794 w 8253"/>
                  <a:gd name="connsiteY1" fmla="*/ 837 h 3887"/>
                  <a:gd name="connsiteX2" fmla="*/ 2811 w 8253"/>
                  <a:gd name="connsiteY2" fmla="*/ 1316 h 3887"/>
                  <a:gd name="connsiteX3" fmla="*/ 3708 w 8253"/>
                  <a:gd name="connsiteY3" fmla="*/ 1734 h 3887"/>
                  <a:gd name="connsiteX4" fmla="*/ 8253 w 8253"/>
                  <a:gd name="connsiteY4" fmla="*/ 3887 h 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3" h="3887">
                    <a:moveTo>
                      <a:pt x="0" y="0"/>
                    </a:moveTo>
                    <a:lnTo>
                      <a:pt x="1794" y="837"/>
                    </a:lnTo>
                    <a:lnTo>
                      <a:pt x="2811" y="1316"/>
                    </a:lnTo>
                    <a:lnTo>
                      <a:pt x="3708" y="1734"/>
                    </a:lnTo>
                    <a:lnTo>
                      <a:pt x="8253" y="3887"/>
                    </a:lnTo>
                  </a:path>
                </a:pathLst>
              </a:custGeom>
              <a:noFill/>
              <a:ln w="6350" cap="rnd">
                <a:solidFill>
                  <a:schemeClr val="bg1">
                    <a:alpha val="80000"/>
                  </a:schemeClr>
                </a:solidFill>
                <a:prstDash val="solid"/>
                <a:round/>
              </a:ln>
            </p:spPr>
            <p:txBody>
              <a:bodyPr rtlCol="0" anchor="ctr"/>
              <a:lstStyle/>
              <a:p>
                <a:endParaRPr lang="en-GB"/>
              </a:p>
            </p:txBody>
          </p:sp>
          <p:sp>
            <p:nvSpPr>
              <p:cNvPr id="6963" name="Vrije vorm: vorm 6962">
                <a:extLst>
                  <a:ext uri="{FF2B5EF4-FFF2-40B4-BE49-F238E27FC236}">
                    <a16:creationId xmlns:a16="http://schemas.microsoft.com/office/drawing/2014/main" id="{14C8714B-D112-4F41-9CF7-98DBE7453C04}"/>
                  </a:ext>
                </a:extLst>
              </p:cNvPr>
              <p:cNvSpPr/>
              <p:nvPr/>
            </p:nvSpPr>
            <p:spPr>
              <a:xfrm>
                <a:off x="6984964" y="1919194"/>
                <a:ext cx="2990" cy="2930"/>
              </a:xfrm>
              <a:custGeom>
                <a:avLst/>
                <a:gdLst>
                  <a:gd name="connsiteX0" fmla="*/ 2990 w 2990"/>
                  <a:gd name="connsiteY0" fmla="*/ 0 h 2930"/>
                  <a:gd name="connsiteX1" fmla="*/ 2273 w 2990"/>
                  <a:gd name="connsiteY1" fmla="*/ 718 h 2930"/>
                  <a:gd name="connsiteX2" fmla="*/ 2153 w 2990"/>
                  <a:gd name="connsiteY2" fmla="*/ 837 h 2930"/>
                  <a:gd name="connsiteX3" fmla="*/ 0 w 2990"/>
                  <a:gd name="connsiteY3" fmla="*/ 2931 h 2930"/>
                </a:gdLst>
                <a:ahLst/>
                <a:cxnLst>
                  <a:cxn ang="0">
                    <a:pos x="connsiteX0" y="connsiteY0"/>
                  </a:cxn>
                  <a:cxn ang="0">
                    <a:pos x="connsiteX1" y="connsiteY1"/>
                  </a:cxn>
                  <a:cxn ang="0">
                    <a:pos x="connsiteX2" y="connsiteY2"/>
                  </a:cxn>
                  <a:cxn ang="0">
                    <a:pos x="connsiteX3" y="connsiteY3"/>
                  </a:cxn>
                </a:cxnLst>
                <a:rect l="l" t="t" r="r" b="b"/>
                <a:pathLst>
                  <a:path w="2990" h="2930">
                    <a:moveTo>
                      <a:pt x="2990" y="0"/>
                    </a:moveTo>
                    <a:lnTo>
                      <a:pt x="2273" y="718"/>
                    </a:lnTo>
                    <a:lnTo>
                      <a:pt x="2153" y="837"/>
                    </a:lnTo>
                    <a:lnTo>
                      <a:pt x="0" y="2931"/>
                    </a:lnTo>
                  </a:path>
                </a:pathLst>
              </a:custGeom>
              <a:noFill/>
              <a:ln w="6350" cap="rnd">
                <a:solidFill>
                  <a:schemeClr val="bg1">
                    <a:alpha val="80000"/>
                  </a:schemeClr>
                </a:solidFill>
                <a:prstDash val="solid"/>
                <a:round/>
              </a:ln>
            </p:spPr>
            <p:txBody>
              <a:bodyPr rtlCol="0" anchor="ctr"/>
              <a:lstStyle/>
              <a:p>
                <a:endParaRPr lang="en-GB"/>
              </a:p>
            </p:txBody>
          </p:sp>
          <p:sp>
            <p:nvSpPr>
              <p:cNvPr id="6964" name="Vrije vorm: vorm 6963">
                <a:extLst>
                  <a:ext uri="{FF2B5EF4-FFF2-40B4-BE49-F238E27FC236}">
                    <a16:creationId xmlns:a16="http://schemas.microsoft.com/office/drawing/2014/main" id="{73A46262-FC76-4DFB-AD9C-F243CFBA53AB}"/>
                  </a:ext>
                </a:extLst>
              </p:cNvPr>
              <p:cNvSpPr/>
              <p:nvPr/>
            </p:nvSpPr>
            <p:spPr>
              <a:xfrm>
                <a:off x="6967501" y="1975532"/>
                <a:ext cx="4844" cy="2392"/>
              </a:xfrm>
              <a:custGeom>
                <a:avLst/>
                <a:gdLst>
                  <a:gd name="connsiteX0" fmla="*/ 0 w 4844"/>
                  <a:gd name="connsiteY0" fmla="*/ 0 h 2392"/>
                  <a:gd name="connsiteX1" fmla="*/ 3050 w 4844"/>
                  <a:gd name="connsiteY1" fmla="*/ 1495 h 2392"/>
                  <a:gd name="connsiteX2" fmla="*/ 3169 w 4844"/>
                  <a:gd name="connsiteY2" fmla="*/ 1555 h 2392"/>
                  <a:gd name="connsiteX3" fmla="*/ 4844 w 4844"/>
                  <a:gd name="connsiteY3" fmla="*/ 2392 h 2392"/>
                </a:gdLst>
                <a:ahLst/>
                <a:cxnLst>
                  <a:cxn ang="0">
                    <a:pos x="connsiteX0" y="connsiteY0"/>
                  </a:cxn>
                  <a:cxn ang="0">
                    <a:pos x="connsiteX1" y="connsiteY1"/>
                  </a:cxn>
                  <a:cxn ang="0">
                    <a:pos x="connsiteX2" y="connsiteY2"/>
                  </a:cxn>
                  <a:cxn ang="0">
                    <a:pos x="connsiteX3" y="connsiteY3"/>
                  </a:cxn>
                </a:cxnLst>
                <a:rect l="l" t="t" r="r" b="b"/>
                <a:pathLst>
                  <a:path w="4844" h="2392">
                    <a:moveTo>
                      <a:pt x="0" y="0"/>
                    </a:moveTo>
                    <a:lnTo>
                      <a:pt x="3050" y="1495"/>
                    </a:lnTo>
                    <a:lnTo>
                      <a:pt x="3169" y="1555"/>
                    </a:lnTo>
                    <a:lnTo>
                      <a:pt x="4844" y="2392"/>
                    </a:lnTo>
                  </a:path>
                </a:pathLst>
              </a:custGeom>
              <a:noFill/>
              <a:ln w="6350" cap="rnd">
                <a:solidFill>
                  <a:schemeClr val="bg1">
                    <a:alpha val="80000"/>
                  </a:schemeClr>
                </a:solidFill>
                <a:prstDash val="solid"/>
                <a:round/>
              </a:ln>
            </p:spPr>
            <p:txBody>
              <a:bodyPr rtlCol="0" anchor="ctr"/>
              <a:lstStyle/>
              <a:p>
                <a:endParaRPr lang="en-GB"/>
              </a:p>
            </p:txBody>
          </p:sp>
          <p:sp>
            <p:nvSpPr>
              <p:cNvPr id="6965" name="Vrije vorm: vorm 6964">
                <a:extLst>
                  <a:ext uri="{FF2B5EF4-FFF2-40B4-BE49-F238E27FC236}">
                    <a16:creationId xmlns:a16="http://schemas.microsoft.com/office/drawing/2014/main" id="{818640A3-11A6-42F3-BE4C-DB33C99DAB15}"/>
                  </a:ext>
                </a:extLst>
              </p:cNvPr>
              <p:cNvSpPr/>
              <p:nvPr/>
            </p:nvSpPr>
            <p:spPr>
              <a:xfrm>
                <a:off x="7063551" y="1779066"/>
                <a:ext cx="14653" cy="11363"/>
              </a:xfrm>
              <a:custGeom>
                <a:avLst/>
                <a:gdLst>
                  <a:gd name="connsiteX0" fmla="*/ 0 w 14653"/>
                  <a:gd name="connsiteY0" fmla="*/ 0 h 11363"/>
                  <a:gd name="connsiteX1" fmla="*/ 479 w 14653"/>
                  <a:gd name="connsiteY1" fmla="*/ 419 h 11363"/>
                  <a:gd name="connsiteX2" fmla="*/ 14653 w 14653"/>
                  <a:gd name="connsiteY2" fmla="*/ 11363 h 11363"/>
                </a:gdLst>
                <a:ahLst/>
                <a:cxnLst>
                  <a:cxn ang="0">
                    <a:pos x="connsiteX0" y="connsiteY0"/>
                  </a:cxn>
                  <a:cxn ang="0">
                    <a:pos x="connsiteX1" y="connsiteY1"/>
                  </a:cxn>
                  <a:cxn ang="0">
                    <a:pos x="connsiteX2" y="connsiteY2"/>
                  </a:cxn>
                </a:cxnLst>
                <a:rect l="l" t="t" r="r" b="b"/>
                <a:pathLst>
                  <a:path w="14653" h="11363">
                    <a:moveTo>
                      <a:pt x="0" y="0"/>
                    </a:moveTo>
                    <a:lnTo>
                      <a:pt x="479" y="419"/>
                    </a:lnTo>
                    <a:lnTo>
                      <a:pt x="14653" y="11363"/>
                    </a:lnTo>
                  </a:path>
                </a:pathLst>
              </a:custGeom>
              <a:noFill/>
              <a:ln w="6350" cap="rnd">
                <a:solidFill>
                  <a:schemeClr val="bg1">
                    <a:alpha val="80000"/>
                  </a:schemeClr>
                </a:solidFill>
                <a:prstDash val="solid"/>
                <a:round/>
              </a:ln>
            </p:spPr>
            <p:txBody>
              <a:bodyPr rtlCol="0" anchor="ctr"/>
              <a:lstStyle/>
              <a:p>
                <a:endParaRPr lang="en-GB"/>
              </a:p>
            </p:txBody>
          </p:sp>
          <p:sp>
            <p:nvSpPr>
              <p:cNvPr id="6966" name="Vrije vorm: vorm 6965">
                <a:extLst>
                  <a:ext uri="{FF2B5EF4-FFF2-40B4-BE49-F238E27FC236}">
                    <a16:creationId xmlns:a16="http://schemas.microsoft.com/office/drawing/2014/main" id="{D53DEA4A-0002-44B4-A489-061AB3813A28}"/>
                  </a:ext>
                </a:extLst>
              </p:cNvPr>
              <p:cNvSpPr/>
              <p:nvPr/>
            </p:nvSpPr>
            <p:spPr>
              <a:xfrm>
                <a:off x="6967800" y="1973439"/>
                <a:ext cx="2870" cy="3588"/>
              </a:xfrm>
              <a:custGeom>
                <a:avLst/>
                <a:gdLst>
                  <a:gd name="connsiteX0" fmla="*/ 2871 w 2870"/>
                  <a:gd name="connsiteY0" fmla="*/ 3588 h 3588"/>
                  <a:gd name="connsiteX1" fmla="*/ 2811 w 2870"/>
                  <a:gd name="connsiteY1" fmla="*/ 3469 h 3588"/>
                  <a:gd name="connsiteX2" fmla="*/ 1974 w 2870"/>
                  <a:gd name="connsiteY2" fmla="*/ 2392 h 3588"/>
                  <a:gd name="connsiteX3" fmla="*/ 0 w 2870"/>
                  <a:gd name="connsiteY3" fmla="*/ 0 h 3588"/>
                </a:gdLst>
                <a:ahLst/>
                <a:cxnLst>
                  <a:cxn ang="0">
                    <a:pos x="connsiteX0" y="connsiteY0"/>
                  </a:cxn>
                  <a:cxn ang="0">
                    <a:pos x="connsiteX1" y="connsiteY1"/>
                  </a:cxn>
                  <a:cxn ang="0">
                    <a:pos x="connsiteX2" y="connsiteY2"/>
                  </a:cxn>
                  <a:cxn ang="0">
                    <a:pos x="connsiteX3" y="connsiteY3"/>
                  </a:cxn>
                </a:cxnLst>
                <a:rect l="l" t="t" r="r" b="b"/>
                <a:pathLst>
                  <a:path w="2870" h="3588">
                    <a:moveTo>
                      <a:pt x="2871" y="3588"/>
                    </a:moveTo>
                    <a:lnTo>
                      <a:pt x="2811" y="3469"/>
                    </a:lnTo>
                    <a:lnTo>
                      <a:pt x="1974" y="2392"/>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67" name="Vrije vorm: vorm 6966">
                <a:extLst>
                  <a:ext uri="{FF2B5EF4-FFF2-40B4-BE49-F238E27FC236}">
                    <a16:creationId xmlns:a16="http://schemas.microsoft.com/office/drawing/2014/main" id="{B6AEDCF2-E9BD-4444-845E-5B6B18F96EED}"/>
                  </a:ext>
                </a:extLst>
              </p:cNvPr>
              <p:cNvSpPr/>
              <p:nvPr/>
            </p:nvSpPr>
            <p:spPr>
              <a:xfrm>
                <a:off x="6999677" y="1851612"/>
                <a:ext cx="2093" cy="3588"/>
              </a:xfrm>
              <a:custGeom>
                <a:avLst/>
                <a:gdLst>
                  <a:gd name="connsiteX0" fmla="*/ 2093 w 2093"/>
                  <a:gd name="connsiteY0" fmla="*/ 0 h 3588"/>
                  <a:gd name="connsiteX1" fmla="*/ 538 w 2093"/>
                  <a:gd name="connsiteY1" fmla="*/ 2572 h 3588"/>
                  <a:gd name="connsiteX2" fmla="*/ 478 w 2093"/>
                  <a:gd name="connsiteY2" fmla="*/ 2691 h 3588"/>
                  <a:gd name="connsiteX3" fmla="*/ 299 w 2093"/>
                  <a:gd name="connsiteY3" fmla="*/ 3050 h 3588"/>
                  <a:gd name="connsiteX4" fmla="*/ 0 w 2093"/>
                  <a:gd name="connsiteY4" fmla="*/ 3588 h 3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 h="3588">
                    <a:moveTo>
                      <a:pt x="2093" y="0"/>
                    </a:moveTo>
                    <a:lnTo>
                      <a:pt x="538" y="2572"/>
                    </a:lnTo>
                    <a:lnTo>
                      <a:pt x="478" y="2691"/>
                    </a:lnTo>
                    <a:lnTo>
                      <a:pt x="299" y="3050"/>
                    </a:lnTo>
                    <a:lnTo>
                      <a:pt x="0" y="3588"/>
                    </a:lnTo>
                  </a:path>
                </a:pathLst>
              </a:custGeom>
              <a:noFill/>
              <a:ln w="6350" cap="rnd">
                <a:solidFill>
                  <a:schemeClr val="bg1">
                    <a:alpha val="80000"/>
                  </a:schemeClr>
                </a:solidFill>
                <a:prstDash val="solid"/>
                <a:round/>
              </a:ln>
            </p:spPr>
            <p:txBody>
              <a:bodyPr rtlCol="0" anchor="ctr"/>
              <a:lstStyle/>
              <a:p>
                <a:endParaRPr lang="en-GB"/>
              </a:p>
            </p:txBody>
          </p:sp>
          <p:sp>
            <p:nvSpPr>
              <p:cNvPr id="6968" name="Vrije vorm: vorm 6967">
                <a:extLst>
                  <a:ext uri="{FF2B5EF4-FFF2-40B4-BE49-F238E27FC236}">
                    <a16:creationId xmlns:a16="http://schemas.microsoft.com/office/drawing/2014/main" id="{E5FAA259-1802-481C-B4B3-29B5C419A64B}"/>
                  </a:ext>
                </a:extLst>
              </p:cNvPr>
              <p:cNvSpPr/>
              <p:nvPr/>
            </p:nvSpPr>
            <p:spPr>
              <a:xfrm>
                <a:off x="6996507" y="1849817"/>
                <a:ext cx="2093" cy="3528"/>
              </a:xfrm>
              <a:custGeom>
                <a:avLst/>
                <a:gdLst>
                  <a:gd name="connsiteX0" fmla="*/ 0 w 2093"/>
                  <a:gd name="connsiteY0" fmla="*/ 3529 h 3528"/>
                  <a:gd name="connsiteX1" fmla="*/ 658 w 2093"/>
                  <a:gd name="connsiteY1" fmla="*/ 2452 h 3528"/>
                  <a:gd name="connsiteX2" fmla="*/ 1375 w 2093"/>
                  <a:gd name="connsiteY2" fmla="*/ 1196 h 3528"/>
                  <a:gd name="connsiteX3" fmla="*/ 1375 w 2093"/>
                  <a:gd name="connsiteY3" fmla="*/ 1196 h 3528"/>
                  <a:gd name="connsiteX4" fmla="*/ 2093 w 2093"/>
                  <a:gd name="connsiteY4" fmla="*/ 0 h 3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 h="3528">
                    <a:moveTo>
                      <a:pt x="0" y="3529"/>
                    </a:moveTo>
                    <a:lnTo>
                      <a:pt x="658" y="2452"/>
                    </a:lnTo>
                    <a:lnTo>
                      <a:pt x="1375" y="1196"/>
                    </a:lnTo>
                    <a:lnTo>
                      <a:pt x="1375" y="1196"/>
                    </a:lnTo>
                    <a:lnTo>
                      <a:pt x="2093" y="0"/>
                    </a:lnTo>
                  </a:path>
                </a:pathLst>
              </a:custGeom>
              <a:noFill/>
              <a:ln w="6350" cap="rnd">
                <a:solidFill>
                  <a:schemeClr val="bg1">
                    <a:alpha val="80000"/>
                  </a:schemeClr>
                </a:solidFill>
                <a:prstDash val="solid"/>
                <a:round/>
              </a:ln>
            </p:spPr>
            <p:txBody>
              <a:bodyPr rtlCol="0" anchor="ctr"/>
              <a:lstStyle/>
              <a:p>
                <a:endParaRPr lang="en-GB"/>
              </a:p>
            </p:txBody>
          </p:sp>
          <p:sp>
            <p:nvSpPr>
              <p:cNvPr id="6969" name="Vrije vorm: vorm 6968">
                <a:extLst>
                  <a:ext uri="{FF2B5EF4-FFF2-40B4-BE49-F238E27FC236}">
                    <a16:creationId xmlns:a16="http://schemas.microsoft.com/office/drawing/2014/main" id="{3214C048-A2AD-469D-90A5-EA9D697CD84F}"/>
                  </a:ext>
                </a:extLst>
              </p:cNvPr>
              <p:cNvSpPr/>
              <p:nvPr/>
            </p:nvSpPr>
            <p:spPr>
              <a:xfrm>
                <a:off x="6985204" y="1870750"/>
                <a:ext cx="59" cy="59"/>
              </a:xfrm>
              <a:custGeom>
                <a:avLst/>
                <a:gdLst>
                  <a:gd name="connsiteX0" fmla="*/ 0 w 59"/>
                  <a:gd name="connsiteY0" fmla="*/ 60 h 59"/>
                  <a:gd name="connsiteX1" fmla="*/ 60 w 59"/>
                  <a:gd name="connsiteY1" fmla="*/ 0 h 59"/>
                </a:gdLst>
                <a:ahLst/>
                <a:cxnLst>
                  <a:cxn ang="0">
                    <a:pos x="connsiteX0" y="connsiteY0"/>
                  </a:cxn>
                  <a:cxn ang="0">
                    <a:pos x="connsiteX1" y="connsiteY1"/>
                  </a:cxn>
                </a:cxnLst>
                <a:rect l="l" t="t" r="r" b="b"/>
                <a:pathLst>
                  <a:path w="59" h="59">
                    <a:moveTo>
                      <a:pt x="0" y="60"/>
                    </a:moveTo>
                    <a:lnTo>
                      <a:pt x="60" y="0"/>
                    </a:lnTo>
                  </a:path>
                </a:pathLst>
              </a:custGeom>
              <a:noFill/>
              <a:ln w="6350" cap="rnd">
                <a:solidFill>
                  <a:schemeClr val="bg1">
                    <a:alpha val="80000"/>
                  </a:schemeClr>
                </a:solidFill>
                <a:prstDash val="solid"/>
                <a:round/>
              </a:ln>
            </p:spPr>
            <p:txBody>
              <a:bodyPr rtlCol="0" anchor="ctr"/>
              <a:lstStyle/>
              <a:p>
                <a:endParaRPr lang="en-GB"/>
              </a:p>
            </p:txBody>
          </p:sp>
          <p:sp>
            <p:nvSpPr>
              <p:cNvPr id="6970" name="Vrije vorm: vorm 6969">
                <a:extLst>
                  <a:ext uri="{FF2B5EF4-FFF2-40B4-BE49-F238E27FC236}">
                    <a16:creationId xmlns:a16="http://schemas.microsoft.com/office/drawing/2014/main" id="{97FC43F0-8E69-4909-872D-FCD05ECAA384}"/>
                  </a:ext>
                </a:extLst>
              </p:cNvPr>
              <p:cNvSpPr/>
              <p:nvPr/>
            </p:nvSpPr>
            <p:spPr>
              <a:xfrm>
                <a:off x="6856798" y="2094010"/>
                <a:ext cx="1135" cy="657"/>
              </a:xfrm>
              <a:custGeom>
                <a:avLst/>
                <a:gdLst>
                  <a:gd name="connsiteX0" fmla="*/ 0 w 1135"/>
                  <a:gd name="connsiteY0" fmla="*/ 658 h 657"/>
                  <a:gd name="connsiteX1" fmla="*/ 1136 w 1135"/>
                  <a:gd name="connsiteY1" fmla="*/ 0 h 657"/>
                </a:gdLst>
                <a:ahLst/>
                <a:cxnLst>
                  <a:cxn ang="0">
                    <a:pos x="connsiteX0" y="connsiteY0"/>
                  </a:cxn>
                  <a:cxn ang="0">
                    <a:pos x="connsiteX1" y="connsiteY1"/>
                  </a:cxn>
                </a:cxnLst>
                <a:rect l="l" t="t" r="r" b="b"/>
                <a:pathLst>
                  <a:path w="1135" h="657">
                    <a:moveTo>
                      <a:pt x="0" y="658"/>
                    </a:moveTo>
                    <a:lnTo>
                      <a:pt x="1136" y="0"/>
                    </a:lnTo>
                  </a:path>
                </a:pathLst>
              </a:custGeom>
              <a:noFill/>
              <a:ln w="6350" cap="rnd">
                <a:solidFill>
                  <a:schemeClr val="bg1">
                    <a:alpha val="80000"/>
                  </a:schemeClr>
                </a:solidFill>
                <a:prstDash val="solid"/>
                <a:round/>
              </a:ln>
            </p:spPr>
            <p:txBody>
              <a:bodyPr rtlCol="0" anchor="ctr"/>
              <a:lstStyle/>
              <a:p>
                <a:endParaRPr lang="en-GB"/>
              </a:p>
            </p:txBody>
          </p:sp>
          <p:sp>
            <p:nvSpPr>
              <p:cNvPr id="6971" name="Vrije vorm: vorm 6970">
                <a:extLst>
                  <a:ext uri="{FF2B5EF4-FFF2-40B4-BE49-F238E27FC236}">
                    <a16:creationId xmlns:a16="http://schemas.microsoft.com/office/drawing/2014/main" id="{50F0885C-AF00-4449-AF76-800869A11CC1}"/>
                  </a:ext>
                </a:extLst>
              </p:cNvPr>
              <p:cNvSpPr/>
              <p:nvPr/>
            </p:nvSpPr>
            <p:spPr>
              <a:xfrm>
                <a:off x="6995252" y="1849100"/>
                <a:ext cx="2093" cy="3528"/>
              </a:xfrm>
              <a:custGeom>
                <a:avLst/>
                <a:gdLst>
                  <a:gd name="connsiteX0" fmla="*/ 0 w 2093"/>
                  <a:gd name="connsiteY0" fmla="*/ 3529 h 3528"/>
                  <a:gd name="connsiteX1" fmla="*/ 2093 w 2093"/>
                  <a:gd name="connsiteY1" fmla="*/ 0 h 3528"/>
                </a:gdLst>
                <a:ahLst/>
                <a:cxnLst>
                  <a:cxn ang="0">
                    <a:pos x="connsiteX0" y="connsiteY0"/>
                  </a:cxn>
                  <a:cxn ang="0">
                    <a:pos x="connsiteX1" y="connsiteY1"/>
                  </a:cxn>
                </a:cxnLst>
                <a:rect l="l" t="t" r="r" b="b"/>
                <a:pathLst>
                  <a:path w="2093" h="3528">
                    <a:moveTo>
                      <a:pt x="0" y="3529"/>
                    </a:moveTo>
                    <a:lnTo>
                      <a:pt x="2093" y="0"/>
                    </a:lnTo>
                  </a:path>
                </a:pathLst>
              </a:custGeom>
              <a:noFill/>
              <a:ln w="6350" cap="rnd">
                <a:solidFill>
                  <a:schemeClr val="bg1">
                    <a:alpha val="80000"/>
                  </a:schemeClr>
                </a:solidFill>
                <a:prstDash val="solid"/>
                <a:round/>
              </a:ln>
            </p:spPr>
            <p:txBody>
              <a:bodyPr rtlCol="0" anchor="ctr"/>
              <a:lstStyle/>
              <a:p>
                <a:endParaRPr lang="en-GB"/>
              </a:p>
            </p:txBody>
          </p:sp>
          <p:sp>
            <p:nvSpPr>
              <p:cNvPr id="6972" name="Vrije vorm: vorm 6971">
                <a:extLst>
                  <a:ext uri="{FF2B5EF4-FFF2-40B4-BE49-F238E27FC236}">
                    <a16:creationId xmlns:a16="http://schemas.microsoft.com/office/drawing/2014/main" id="{A746426F-8AAB-4590-B0AA-02BF4EDAD821}"/>
                  </a:ext>
                </a:extLst>
              </p:cNvPr>
              <p:cNvSpPr/>
              <p:nvPr/>
            </p:nvSpPr>
            <p:spPr>
              <a:xfrm>
                <a:off x="7035502" y="1782893"/>
                <a:ext cx="1793" cy="2810"/>
              </a:xfrm>
              <a:custGeom>
                <a:avLst/>
                <a:gdLst>
                  <a:gd name="connsiteX0" fmla="*/ 0 w 1793"/>
                  <a:gd name="connsiteY0" fmla="*/ 2811 h 2810"/>
                  <a:gd name="connsiteX1" fmla="*/ 1495 w 1793"/>
                  <a:gd name="connsiteY1" fmla="*/ 538 h 2810"/>
                  <a:gd name="connsiteX2" fmla="*/ 1674 w 1793"/>
                  <a:gd name="connsiteY2" fmla="*/ 239 h 2810"/>
                  <a:gd name="connsiteX3" fmla="*/ 1674 w 1793"/>
                  <a:gd name="connsiteY3" fmla="*/ 239 h 2810"/>
                  <a:gd name="connsiteX4" fmla="*/ 1794 w 1793"/>
                  <a:gd name="connsiteY4" fmla="*/ 0 h 2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 h="2810">
                    <a:moveTo>
                      <a:pt x="0" y="2811"/>
                    </a:moveTo>
                    <a:lnTo>
                      <a:pt x="1495" y="538"/>
                    </a:lnTo>
                    <a:lnTo>
                      <a:pt x="1674" y="239"/>
                    </a:lnTo>
                    <a:lnTo>
                      <a:pt x="1674" y="239"/>
                    </a:lnTo>
                    <a:lnTo>
                      <a:pt x="1794" y="0"/>
                    </a:lnTo>
                  </a:path>
                </a:pathLst>
              </a:custGeom>
              <a:noFill/>
              <a:ln w="6350" cap="rnd">
                <a:solidFill>
                  <a:schemeClr val="bg1">
                    <a:alpha val="80000"/>
                  </a:schemeClr>
                </a:solidFill>
                <a:prstDash val="solid"/>
                <a:round/>
              </a:ln>
            </p:spPr>
            <p:txBody>
              <a:bodyPr rtlCol="0" anchor="ctr"/>
              <a:lstStyle/>
              <a:p>
                <a:endParaRPr lang="en-GB"/>
              </a:p>
            </p:txBody>
          </p:sp>
          <p:sp>
            <p:nvSpPr>
              <p:cNvPr id="6973" name="Vrije vorm: vorm 6972">
                <a:extLst>
                  <a:ext uri="{FF2B5EF4-FFF2-40B4-BE49-F238E27FC236}">
                    <a16:creationId xmlns:a16="http://schemas.microsoft.com/office/drawing/2014/main" id="{77333194-7BC5-4401-B07C-297B41ADDAB6}"/>
                  </a:ext>
                </a:extLst>
              </p:cNvPr>
              <p:cNvSpPr/>
              <p:nvPr/>
            </p:nvSpPr>
            <p:spPr>
              <a:xfrm>
                <a:off x="6970012" y="1842880"/>
                <a:ext cx="9450" cy="7236"/>
              </a:xfrm>
              <a:custGeom>
                <a:avLst/>
                <a:gdLst>
                  <a:gd name="connsiteX0" fmla="*/ 0 w 9450"/>
                  <a:gd name="connsiteY0" fmla="*/ 0 h 7236"/>
                  <a:gd name="connsiteX1" fmla="*/ 9450 w 9450"/>
                  <a:gd name="connsiteY1" fmla="*/ 7237 h 7236"/>
                </a:gdLst>
                <a:ahLst/>
                <a:cxnLst>
                  <a:cxn ang="0">
                    <a:pos x="connsiteX0" y="connsiteY0"/>
                  </a:cxn>
                  <a:cxn ang="0">
                    <a:pos x="connsiteX1" y="connsiteY1"/>
                  </a:cxn>
                </a:cxnLst>
                <a:rect l="l" t="t" r="r" b="b"/>
                <a:pathLst>
                  <a:path w="9450" h="7236">
                    <a:moveTo>
                      <a:pt x="0" y="0"/>
                    </a:moveTo>
                    <a:lnTo>
                      <a:pt x="9450" y="7237"/>
                    </a:lnTo>
                  </a:path>
                </a:pathLst>
              </a:custGeom>
              <a:noFill/>
              <a:ln w="6350" cap="rnd">
                <a:solidFill>
                  <a:schemeClr val="bg1">
                    <a:alpha val="80000"/>
                  </a:schemeClr>
                </a:solidFill>
                <a:prstDash val="solid"/>
                <a:round/>
              </a:ln>
            </p:spPr>
            <p:txBody>
              <a:bodyPr rtlCol="0" anchor="ctr"/>
              <a:lstStyle/>
              <a:p>
                <a:endParaRPr lang="en-GB"/>
              </a:p>
            </p:txBody>
          </p:sp>
          <p:sp>
            <p:nvSpPr>
              <p:cNvPr id="6974" name="Vrije vorm: vorm 6973">
                <a:extLst>
                  <a:ext uri="{FF2B5EF4-FFF2-40B4-BE49-F238E27FC236}">
                    <a16:creationId xmlns:a16="http://schemas.microsoft.com/office/drawing/2014/main" id="{34566789-1261-4055-8761-06FEBC4C84DE}"/>
                  </a:ext>
                </a:extLst>
              </p:cNvPr>
              <p:cNvSpPr/>
              <p:nvPr/>
            </p:nvSpPr>
            <p:spPr>
              <a:xfrm>
                <a:off x="6920433" y="1913213"/>
                <a:ext cx="1793" cy="1136"/>
              </a:xfrm>
              <a:custGeom>
                <a:avLst/>
                <a:gdLst>
                  <a:gd name="connsiteX0" fmla="*/ 0 w 1793"/>
                  <a:gd name="connsiteY0" fmla="*/ 0 h 1136"/>
                  <a:gd name="connsiteX1" fmla="*/ 1794 w 1793"/>
                  <a:gd name="connsiteY1" fmla="*/ 1136 h 1136"/>
                </a:gdLst>
                <a:ahLst/>
                <a:cxnLst>
                  <a:cxn ang="0">
                    <a:pos x="connsiteX0" y="connsiteY0"/>
                  </a:cxn>
                  <a:cxn ang="0">
                    <a:pos x="connsiteX1" y="connsiteY1"/>
                  </a:cxn>
                </a:cxnLst>
                <a:rect l="l" t="t" r="r" b="b"/>
                <a:pathLst>
                  <a:path w="1793" h="1136">
                    <a:moveTo>
                      <a:pt x="0" y="0"/>
                    </a:moveTo>
                    <a:lnTo>
                      <a:pt x="1794" y="1136"/>
                    </a:lnTo>
                  </a:path>
                </a:pathLst>
              </a:custGeom>
              <a:noFill/>
              <a:ln w="6350" cap="rnd">
                <a:solidFill>
                  <a:schemeClr val="bg1">
                    <a:alpha val="80000"/>
                  </a:schemeClr>
                </a:solidFill>
                <a:prstDash val="solid"/>
                <a:round/>
              </a:ln>
            </p:spPr>
            <p:txBody>
              <a:bodyPr rtlCol="0" anchor="ctr"/>
              <a:lstStyle/>
              <a:p>
                <a:endParaRPr lang="en-GB"/>
              </a:p>
            </p:txBody>
          </p:sp>
          <p:sp>
            <p:nvSpPr>
              <p:cNvPr id="6975" name="Vrije vorm: vorm 6974">
                <a:extLst>
                  <a:ext uri="{FF2B5EF4-FFF2-40B4-BE49-F238E27FC236}">
                    <a16:creationId xmlns:a16="http://schemas.microsoft.com/office/drawing/2014/main" id="{44A0706C-E4E9-4A26-BF29-A1864F9601D8}"/>
                  </a:ext>
                </a:extLst>
              </p:cNvPr>
              <p:cNvSpPr/>
              <p:nvPr/>
            </p:nvSpPr>
            <p:spPr>
              <a:xfrm>
                <a:off x="6916007" y="1934445"/>
                <a:ext cx="4544" cy="2153"/>
              </a:xfrm>
              <a:custGeom>
                <a:avLst/>
                <a:gdLst>
                  <a:gd name="connsiteX0" fmla="*/ 0 w 4544"/>
                  <a:gd name="connsiteY0" fmla="*/ 0 h 2153"/>
                  <a:gd name="connsiteX1" fmla="*/ 2511 w 4544"/>
                  <a:gd name="connsiteY1" fmla="*/ 1196 h 2153"/>
                  <a:gd name="connsiteX2" fmla="*/ 4545 w 4544"/>
                  <a:gd name="connsiteY2" fmla="*/ 2153 h 2153"/>
                </a:gdLst>
                <a:ahLst/>
                <a:cxnLst>
                  <a:cxn ang="0">
                    <a:pos x="connsiteX0" y="connsiteY0"/>
                  </a:cxn>
                  <a:cxn ang="0">
                    <a:pos x="connsiteX1" y="connsiteY1"/>
                  </a:cxn>
                  <a:cxn ang="0">
                    <a:pos x="connsiteX2" y="connsiteY2"/>
                  </a:cxn>
                </a:cxnLst>
                <a:rect l="l" t="t" r="r" b="b"/>
                <a:pathLst>
                  <a:path w="4544" h="2153">
                    <a:moveTo>
                      <a:pt x="0" y="0"/>
                    </a:moveTo>
                    <a:lnTo>
                      <a:pt x="2511" y="1196"/>
                    </a:lnTo>
                    <a:lnTo>
                      <a:pt x="4545" y="2153"/>
                    </a:lnTo>
                  </a:path>
                </a:pathLst>
              </a:custGeom>
              <a:noFill/>
              <a:ln w="6350" cap="rnd">
                <a:solidFill>
                  <a:schemeClr val="bg1">
                    <a:alpha val="80000"/>
                  </a:schemeClr>
                </a:solidFill>
                <a:prstDash val="solid"/>
                <a:round/>
              </a:ln>
            </p:spPr>
            <p:txBody>
              <a:bodyPr rtlCol="0" anchor="ctr"/>
              <a:lstStyle/>
              <a:p>
                <a:endParaRPr lang="en-GB"/>
              </a:p>
            </p:txBody>
          </p:sp>
          <p:sp>
            <p:nvSpPr>
              <p:cNvPr id="6976" name="Vrije vorm: vorm 6975">
                <a:extLst>
                  <a:ext uri="{FF2B5EF4-FFF2-40B4-BE49-F238E27FC236}">
                    <a16:creationId xmlns:a16="http://schemas.microsoft.com/office/drawing/2014/main" id="{F853903B-E53D-48E9-B25E-CFC243734A27}"/>
                  </a:ext>
                </a:extLst>
              </p:cNvPr>
              <p:cNvSpPr/>
              <p:nvPr/>
            </p:nvSpPr>
            <p:spPr>
              <a:xfrm>
                <a:off x="6918997" y="1901072"/>
                <a:ext cx="4724" cy="9688"/>
              </a:xfrm>
              <a:custGeom>
                <a:avLst/>
                <a:gdLst>
                  <a:gd name="connsiteX0" fmla="*/ 4724 w 4724"/>
                  <a:gd name="connsiteY0" fmla="*/ 0 h 9688"/>
                  <a:gd name="connsiteX1" fmla="*/ 4545 w 4724"/>
                  <a:gd name="connsiteY1" fmla="*/ 419 h 9688"/>
                  <a:gd name="connsiteX2" fmla="*/ 4246 w 4724"/>
                  <a:gd name="connsiteY2" fmla="*/ 1017 h 9688"/>
                  <a:gd name="connsiteX3" fmla="*/ 4066 w 4724"/>
                  <a:gd name="connsiteY3" fmla="*/ 1435 h 9688"/>
                  <a:gd name="connsiteX4" fmla="*/ 3229 w 4724"/>
                  <a:gd name="connsiteY4" fmla="*/ 3110 h 9688"/>
                  <a:gd name="connsiteX5" fmla="*/ 2751 w 4724"/>
                  <a:gd name="connsiteY5" fmla="*/ 4127 h 9688"/>
                  <a:gd name="connsiteX6" fmla="*/ 1495 w 4724"/>
                  <a:gd name="connsiteY6" fmla="*/ 6639 h 9688"/>
                  <a:gd name="connsiteX7" fmla="*/ 1495 w 4724"/>
                  <a:gd name="connsiteY7" fmla="*/ 6639 h 9688"/>
                  <a:gd name="connsiteX8" fmla="*/ 1316 w 4724"/>
                  <a:gd name="connsiteY8" fmla="*/ 7057 h 9688"/>
                  <a:gd name="connsiteX9" fmla="*/ 1196 w 4724"/>
                  <a:gd name="connsiteY9" fmla="*/ 7356 h 9688"/>
                  <a:gd name="connsiteX10" fmla="*/ 718 w 4724"/>
                  <a:gd name="connsiteY10" fmla="*/ 8253 h 9688"/>
                  <a:gd name="connsiteX11" fmla="*/ 658 w 4724"/>
                  <a:gd name="connsiteY11" fmla="*/ 8373 h 9688"/>
                  <a:gd name="connsiteX12" fmla="*/ 598 w 4724"/>
                  <a:gd name="connsiteY12" fmla="*/ 8493 h 9688"/>
                  <a:gd name="connsiteX13" fmla="*/ 0 w 4724"/>
                  <a:gd name="connsiteY13" fmla="*/ 9689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24" h="9688">
                    <a:moveTo>
                      <a:pt x="4724" y="0"/>
                    </a:moveTo>
                    <a:lnTo>
                      <a:pt x="4545" y="419"/>
                    </a:lnTo>
                    <a:lnTo>
                      <a:pt x="4246" y="1017"/>
                    </a:lnTo>
                    <a:lnTo>
                      <a:pt x="4066" y="1435"/>
                    </a:lnTo>
                    <a:lnTo>
                      <a:pt x="3229" y="3110"/>
                    </a:lnTo>
                    <a:lnTo>
                      <a:pt x="2751" y="4127"/>
                    </a:lnTo>
                    <a:lnTo>
                      <a:pt x="1495" y="6639"/>
                    </a:lnTo>
                    <a:lnTo>
                      <a:pt x="1495" y="6639"/>
                    </a:lnTo>
                    <a:lnTo>
                      <a:pt x="1316" y="7057"/>
                    </a:lnTo>
                    <a:lnTo>
                      <a:pt x="1196" y="7356"/>
                    </a:lnTo>
                    <a:lnTo>
                      <a:pt x="718" y="8253"/>
                    </a:lnTo>
                    <a:lnTo>
                      <a:pt x="658" y="8373"/>
                    </a:lnTo>
                    <a:lnTo>
                      <a:pt x="598" y="8493"/>
                    </a:lnTo>
                    <a:lnTo>
                      <a:pt x="0" y="9689"/>
                    </a:lnTo>
                  </a:path>
                </a:pathLst>
              </a:custGeom>
              <a:noFill/>
              <a:ln w="6350" cap="rnd">
                <a:solidFill>
                  <a:schemeClr val="bg1">
                    <a:alpha val="80000"/>
                  </a:schemeClr>
                </a:solidFill>
                <a:prstDash val="solid"/>
                <a:round/>
              </a:ln>
            </p:spPr>
            <p:txBody>
              <a:bodyPr rtlCol="0" anchor="ctr"/>
              <a:lstStyle/>
              <a:p>
                <a:endParaRPr lang="en-GB"/>
              </a:p>
            </p:txBody>
          </p:sp>
          <p:sp>
            <p:nvSpPr>
              <p:cNvPr id="6977" name="Vrije vorm: vorm 6976">
                <a:extLst>
                  <a:ext uri="{FF2B5EF4-FFF2-40B4-BE49-F238E27FC236}">
                    <a16:creationId xmlns:a16="http://schemas.microsoft.com/office/drawing/2014/main" id="{DDC23892-8783-4DBD-9ADC-E65A970CCDBA}"/>
                  </a:ext>
                </a:extLst>
              </p:cNvPr>
              <p:cNvSpPr/>
              <p:nvPr/>
            </p:nvSpPr>
            <p:spPr>
              <a:xfrm>
                <a:off x="6935623" y="1869554"/>
                <a:ext cx="3469" cy="5861"/>
              </a:xfrm>
              <a:custGeom>
                <a:avLst/>
                <a:gdLst>
                  <a:gd name="connsiteX0" fmla="*/ 0 w 3469"/>
                  <a:gd name="connsiteY0" fmla="*/ 5861 h 5861"/>
                  <a:gd name="connsiteX1" fmla="*/ 837 w 3469"/>
                  <a:gd name="connsiteY1" fmla="*/ 4426 h 5861"/>
                  <a:gd name="connsiteX2" fmla="*/ 897 w 3469"/>
                  <a:gd name="connsiteY2" fmla="*/ 4366 h 5861"/>
                  <a:gd name="connsiteX3" fmla="*/ 1137 w 3469"/>
                  <a:gd name="connsiteY3" fmla="*/ 3947 h 5861"/>
                  <a:gd name="connsiteX4" fmla="*/ 2034 w 3469"/>
                  <a:gd name="connsiteY4" fmla="*/ 2392 h 5861"/>
                  <a:gd name="connsiteX5" fmla="*/ 3409 w 3469"/>
                  <a:gd name="connsiteY5" fmla="*/ 120 h 5861"/>
                  <a:gd name="connsiteX6" fmla="*/ 3469 w 3469"/>
                  <a:gd name="connsiteY6" fmla="*/ 0 h 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9" h="5861">
                    <a:moveTo>
                      <a:pt x="0" y="5861"/>
                    </a:moveTo>
                    <a:lnTo>
                      <a:pt x="837" y="4426"/>
                    </a:lnTo>
                    <a:lnTo>
                      <a:pt x="897" y="4366"/>
                    </a:lnTo>
                    <a:lnTo>
                      <a:pt x="1137" y="3947"/>
                    </a:lnTo>
                    <a:lnTo>
                      <a:pt x="2034" y="2392"/>
                    </a:lnTo>
                    <a:lnTo>
                      <a:pt x="3409" y="120"/>
                    </a:lnTo>
                    <a:lnTo>
                      <a:pt x="3469" y="0"/>
                    </a:lnTo>
                  </a:path>
                </a:pathLst>
              </a:custGeom>
              <a:noFill/>
              <a:ln w="6350" cap="rnd">
                <a:solidFill>
                  <a:schemeClr val="bg1">
                    <a:alpha val="80000"/>
                  </a:schemeClr>
                </a:solidFill>
                <a:prstDash val="solid"/>
                <a:round/>
              </a:ln>
            </p:spPr>
            <p:txBody>
              <a:bodyPr rtlCol="0" anchor="ctr"/>
              <a:lstStyle/>
              <a:p>
                <a:endParaRPr lang="en-GB"/>
              </a:p>
            </p:txBody>
          </p:sp>
          <p:sp>
            <p:nvSpPr>
              <p:cNvPr id="6978" name="Vrije vorm: vorm 6977">
                <a:extLst>
                  <a:ext uri="{FF2B5EF4-FFF2-40B4-BE49-F238E27FC236}">
                    <a16:creationId xmlns:a16="http://schemas.microsoft.com/office/drawing/2014/main" id="{8964548C-95EF-4706-8BC6-01BBCDA49292}"/>
                  </a:ext>
                </a:extLst>
              </p:cNvPr>
              <p:cNvSpPr/>
              <p:nvPr/>
            </p:nvSpPr>
            <p:spPr>
              <a:xfrm>
                <a:off x="6933770" y="1875415"/>
                <a:ext cx="1913" cy="3169"/>
              </a:xfrm>
              <a:custGeom>
                <a:avLst/>
                <a:gdLst>
                  <a:gd name="connsiteX0" fmla="*/ 0 w 1913"/>
                  <a:gd name="connsiteY0" fmla="*/ 3170 h 3169"/>
                  <a:gd name="connsiteX1" fmla="*/ 1914 w 1913"/>
                  <a:gd name="connsiteY1" fmla="*/ 0 h 3169"/>
                </a:gdLst>
                <a:ahLst/>
                <a:cxnLst>
                  <a:cxn ang="0">
                    <a:pos x="connsiteX0" y="connsiteY0"/>
                  </a:cxn>
                  <a:cxn ang="0">
                    <a:pos x="connsiteX1" y="connsiteY1"/>
                  </a:cxn>
                </a:cxnLst>
                <a:rect l="l" t="t" r="r" b="b"/>
                <a:pathLst>
                  <a:path w="1913" h="3169">
                    <a:moveTo>
                      <a:pt x="0" y="3170"/>
                    </a:moveTo>
                    <a:lnTo>
                      <a:pt x="1914" y="0"/>
                    </a:lnTo>
                  </a:path>
                </a:pathLst>
              </a:custGeom>
              <a:noFill/>
              <a:ln w="6350" cap="rnd">
                <a:solidFill>
                  <a:schemeClr val="bg1">
                    <a:alpha val="80000"/>
                  </a:schemeClr>
                </a:solidFill>
                <a:prstDash val="solid"/>
                <a:round/>
              </a:ln>
            </p:spPr>
            <p:txBody>
              <a:bodyPr rtlCol="0" anchor="ctr"/>
              <a:lstStyle/>
              <a:p>
                <a:endParaRPr lang="en-GB"/>
              </a:p>
            </p:txBody>
          </p:sp>
          <p:sp>
            <p:nvSpPr>
              <p:cNvPr id="6979" name="Vrije vorm: vorm 6978">
                <a:extLst>
                  <a:ext uri="{FF2B5EF4-FFF2-40B4-BE49-F238E27FC236}">
                    <a16:creationId xmlns:a16="http://schemas.microsoft.com/office/drawing/2014/main" id="{7A53630C-316A-4BC2-9280-AA1B3B82F015}"/>
                  </a:ext>
                </a:extLst>
              </p:cNvPr>
              <p:cNvSpPr/>
              <p:nvPr/>
            </p:nvSpPr>
            <p:spPr>
              <a:xfrm>
                <a:off x="6891187" y="1949875"/>
                <a:ext cx="2870" cy="119"/>
              </a:xfrm>
              <a:custGeom>
                <a:avLst/>
                <a:gdLst>
                  <a:gd name="connsiteX0" fmla="*/ 2871 w 2870"/>
                  <a:gd name="connsiteY0" fmla="*/ 120 h 119"/>
                  <a:gd name="connsiteX1" fmla="*/ 1555 w 2870"/>
                  <a:gd name="connsiteY1" fmla="*/ 60 h 119"/>
                  <a:gd name="connsiteX2" fmla="*/ 0 w 2870"/>
                  <a:gd name="connsiteY2" fmla="*/ 0 h 119"/>
                </a:gdLst>
                <a:ahLst/>
                <a:cxnLst>
                  <a:cxn ang="0">
                    <a:pos x="connsiteX0" y="connsiteY0"/>
                  </a:cxn>
                  <a:cxn ang="0">
                    <a:pos x="connsiteX1" y="connsiteY1"/>
                  </a:cxn>
                  <a:cxn ang="0">
                    <a:pos x="connsiteX2" y="connsiteY2"/>
                  </a:cxn>
                </a:cxnLst>
                <a:rect l="l" t="t" r="r" b="b"/>
                <a:pathLst>
                  <a:path w="2870" h="119">
                    <a:moveTo>
                      <a:pt x="2871" y="120"/>
                    </a:moveTo>
                    <a:lnTo>
                      <a:pt x="1555" y="6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80" name="Vrije vorm: vorm 6979">
                <a:extLst>
                  <a:ext uri="{FF2B5EF4-FFF2-40B4-BE49-F238E27FC236}">
                    <a16:creationId xmlns:a16="http://schemas.microsoft.com/office/drawing/2014/main" id="{3538C6AD-55FE-4ADB-AD55-81C77D6CE7E9}"/>
                  </a:ext>
                </a:extLst>
              </p:cNvPr>
              <p:cNvSpPr/>
              <p:nvPr/>
            </p:nvSpPr>
            <p:spPr>
              <a:xfrm>
                <a:off x="6903686" y="1923620"/>
                <a:ext cx="1555" cy="2691"/>
              </a:xfrm>
              <a:custGeom>
                <a:avLst/>
                <a:gdLst>
                  <a:gd name="connsiteX0" fmla="*/ 1555 w 1555"/>
                  <a:gd name="connsiteY0" fmla="*/ 0 h 2691"/>
                  <a:gd name="connsiteX1" fmla="*/ 0 w 1555"/>
                  <a:gd name="connsiteY1" fmla="*/ 2691 h 2691"/>
                </a:gdLst>
                <a:ahLst/>
                <a:cxnLst>
                  <a:cxn ang="0">
                    <a:pos x="connsiteX0" y="connsiteY0"/>
                  </a:cxn>
                  <a:cxn ang="0">
                    <a:pos x="connsiteX1" y="connsiteY1"/>
                  </a:cxn>
                </a:cxnLst>
                <a:rect l="l" t="t" r="r" b="b"/>
                <a:pathLst>
                  <a:path w="1555" h="2691">
                    <a:moveTo>
                      <a:pt x="1555" y="0"/>
                    </a:moveTo>
                    <a:lnTo>
                      <a:pt x="0" y="2691"/>
                    </a:lnTo>
                  </a:path>
                </a:pathLst>
              </a:custGeom>
              <a:noFill/>
              <a:ln w="6350" cap="rnd">
                <a:solidFill>
                  <a:schemeClr val="bg1">
                    <a:alpha val="80000"/>
                  </a:schemeClr>
                </a:solidFill>
                <a:prstDash val="solid"/>
                <a:round/>
              </a:ln>
            </p:spPr>
            <p:txBody>
              <a:bodyPr rtlCol="0" anchor="ctr"/>
              <a:lstStyle/>
              <a:p>
                <a:endParaRPr lang="en-GB"/>
              </a:p>
            </p:txBody>
          </p:sp>
          <p:sp>
            <p:nvSpPr>
              <p:cNvPr id="6981" name="Vrije vorm: vorm 6980">
                <a:extLst>
                  <a:ext uri="{FF2B5EF4-FFF2-40B4-BE49-F238E27FC236}">
                    <a16:creationId xmlns:a16="http://schemas.microsoft.com/office/drawing/2014/main" id="{80BBB992-2528-44A9-8E5F-D8AE1B4CD990}"/>
                  </a:ext>
                </a:extLst>
              </p:cNvPr>
              <p:cNvSpPr/>
              <p:nvPr/>
            </p:nvSpPr>
            <p:spPr>
              <a:xfrm>
                <a:off x="7007153" y="1762020"/>
                <a:ext cx="2750" cy="1554"/>
              </a:xfrm>
              <a:custGeom>
                <a:avLst/>
                <a:gdLst>
                  <a:gd name="connsiteX0" fmla="*/ 2751 w 2750"/>
                  <a:gd name="connsiteY0" fmla="*/ 1555 h 1554"/>
                  <a:gd name="connsiteX1" fmla="*/ 0 w 2750"/>
                  <a:gd name="connsiteY1" fmla="*/ 0 h 1554"/>
                </a:gdLst>
                <a:ahLst/>
                <a:cxnLst>
                  <a:cxn ang="0">
                    <a:pos x="connsiteX0" y="connsiteY0"/>
                  </a:cxn>
                  <a:cxn ang="0">
                    <a:pos x="connsiteX1" y="connsiteY1"/>
                  </a:cxn>
                </a:cxnLst>
                <a:rect l="l" t="t" r="r" b="b"/>
                <a:pathLst>
                  <a:path w="2750" h="1554">
                    <a:moveTo>
                      <a:pt x="2751" y="1555"/>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82" name="Vrije vorm: vorm 6981">
                <a:extLst>
                  <a:ext uri="{FF2B5EF4-FFF2-40B4-BE49-F238E27FC236}">
                    <a16:creationId xmlns:a16="http://schemas.microsoft.com/office/drawing/2014/main" id="{7CED89DA-46B9-45D9-818C-C020F6245B71}"/>
                  </a:ext>
                </a:extLst>
              </p:cNvPr>
              <p:cNvSpPr/>
              <p:nvPr/>
            </p:nvSpPr>
            <p:spPr>
              <a:xfrm>
                <a:off x="7016064" y="1767104"/>
                <a:ext cx="11781" cy="6638"/>
              </a:xfrm>
              <a:custGeom>
                <a:avLst/>
                <a:gdLst>
                  <a:gd name="connsiteX0" fmla="*/ 11782 w 11781"/>
                  <a:gd name="connsiteY0" fmla="*/ 6639 h 6638"/>
                  <a:gd name="connsiteX1" fmla="*/ 0 w 11781"/>
                  <a:gd name="connsiteY1" fmla="*/ 0 h 6638"/>
                </a:gdLst>
                <a:ahLst/>
                <a:cxnLst>
                  <a:cxn ang="0">
                    <a:pos x="connsiteX0" y="connsiteY0"/>
                  </a:cxn>
                  <a:cxn ang="0">
                    <a:pos x="connsiteX1" y="connsiteY1"/>
                  </a:cxn>
                </a:cxnLst>
                <a:rect l="l" t="t" r="r" b="b"/>
                <a:pathLst>
                  <a:path w="11781" h="6638">
                    <a:moveTo>
                      <a:pt x="11782" y="6639"/>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83" name="Vrije vorm: vorm 6982">
                <a:extLst>
                  <a:ext uri="{FF2B5EF4-FFF2-40B4-BE49-F238E27FC236}">
                    <a16:creationId xmlns:a16="http://schemas.microsoft.com/office/drawing/2014/main" id="{27E2C7A3-2E5D-436A-8A27-8F9E2721D3DA}"/>
                  </a:ext>
                </a:extLst>
              </p:cNvPr>
              <p:cNvSpPr/>
              <p:nvPr/>
            </p:nvSpPr>
            <p:spPr>
              <a:xfrm>
                <a:off x="6958590" y="1835583"/>
                <a:ext cx="7535" cy="4724"/>
              </a:xfrm>
              <a:custGeom>
                <a:avLst/>
                <a:gdLst>
                  <a:gd name="connsiteX0" fmla="*/ 0 w 7535"/>
                  <a:gd name="connsiteY0" fmla="*/ 0 h 4724"/>
                  <a:gd name="connsiteX1" fmla="*/ 1076 w 7535"/>
                  <a:gd name="connsiteY1" fmla="*/ 658 h 4724"/>
                  <a:gd name="connsiteX2" fmla="*/ 3289 w 7535"/>
                  <a:gd name="connsiteY2" fmla="*/ 2033 h 4724"/>
                  <a:gd name="connsiteX3" fmla="*/ 5382 w 7535"/>
                  <a:gd name="connsiteY3" fmla="*/ 3349 h 4724"/>
                  <a:gd name="connsiteX4" fmla="*/ 6459 w 7535"/>
                  <a:gd name="connsiteY4" fmla="*/ 4007 h 4724"/>
                  <a:gd name="connsiteX5" fmla="*/ 6519 w 7535"/>
                  <a:gd name="connsiteY5" fmla="*/ 4067 h 4724"/>
                  <a:gd name="connsiteX6" fmla="*/ 7536 w 7535"/>
                  <a:gd name="connsiteY6"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5" h="4724">
                    <a:moveTo>
                      <a:pt x="0" y="0"/>
                    </a:moveTo>
                    <a:lnTo>
                      <a:pt x="1076" y="658"/>
                    </a:lnTo>
                    <a:lnTo>
                      <a:pt x="3289" y="2033"/>
                    </a:lnTo>
                    <a:lnTo>
                      <a:pt x="5382" y="3349"/>
                    </a:lnTo>
                    <a:lnTo>
                      <a:pt x="6459" y="4007"/>
                    </a:lnTo>
                    <a:lnTo>
                      <a:pt x="6519" y="4067"/>
                    </a:lnTo>
                    <a:lnTo>
                      <a:pt x="7536" y="4725"/>
                    </a:lnTo>
                  </a:path>
                </a:pathLst>
              </a:custGeom>
              <a:noFill/>
              <a:ln w="6350" cap="rnd">
                <a:solidFill>
                  <a:schemeClr val="bg1">
                    <a:alpha val="80000"/>
                  </a:schemeClr>
                </a:solidFill>
                <a:prstDash val="solid"/>
                <a:round/>
              </a:ln>
            </p:spPr>
            <p:txBody>
              <a:bodyPr rtlCol="0" anchor="ctr"/>
              <a:lstStyle/>
              <a:p>
                <a:endParaRPr lang="en-GB"/>
              </a:p>
            </p:txBody>
          </p:sp>
          <p:sp>
            <p:nvSpPr>
              <p:cNvPr id="6984" name="Vrije vorm: vorm 6983">
                <a:extLst>
                  <a:ext uri="{FF2B5EF4-FFF2-40B4-BE49-F238E27FC236}">
                    <a16:creationId xmlns:a16="http://schemas.microsoft.com/office/drawing/2014/main" id="{C30E9FCB-EAFF-47AD-9791-D5A12B16D5D5}"/>
                  </a:ext>
                </a:extLst>
              </p:cNvPr>
              <p:cNvSpPr/>
              <p:nvPr/>
            </p:nvSpPr>
            <p:spPr>
              <a:xfrm>
                <a:off x="6896510" y="1922782"/>
                <a:ext cx="1076" cy="3229"/>
              </a:xfrm>
              <a:custGeom>
                <a:avLst/>
                <a:gdLst>
                  <a:gd name="connsiteX0" fmla="*/ 1076 w 1076"/>
                  <a:gd name="connsiteY0" fmla="*/ 0 h 3229"/>
                  <a:gd name="connsiteX1" fmla="*/ 0 w 1076"/>
                  <a:gd name="connsiteY1" fmla="*/ 3230 h 3229"/>
                </a:gdLst>
                <a:ahLst/>
                <a:cxnLst>
                  <a:cxn ang="0">
                    <a:pos x="connsiteX0" y="connsiteY0"/>
                  </a:cxn>
                  <a:cxn ang="0">
                    <a:pos x="connsiteX1" y="connsiteY1"/>
                  </a:cxn>
                </a:cxnLst>
                <a:rect l="l" t="t" r="r" b="b"/>
                <a:pathLst>
                  <a:path w="1076" h="3229">
                    <a:moveTo>
                      <a:pt x="1076" y="0"/>
                    </a:moveTo>
                    <a:lnTo>
                      <a:pt x="0" y="3230"/>
                    </a:lnTo>
                  </a:path>
                </a:pathLst>
              </a:custGeom>
              <a:noFill/>
              <a:ln w="6350" cap="rnd">
                <a:solidFill>
                  <a:schemeClr val="bg1">
                    <a:alpha val="80000"/>
                  </a:schemeClr>
                </a:solidFill>
                <a:prstDash val="solid"/>
                <a:round/>
              </a:ln>
            </p:spPr>
            <p:txBody>
              <a:bodyPr rtlCol="0" anchor="ctr"/>
              <a:lstStyle/>
              <a:p>
                <a:endParaRPr lang="en-GB"/>
              </a:p>
            </p:txBody>
          </p:sp>
          <p:sp>
            <p:nvSpPr>
              <p:cNvPr id="6985" name="Vrije vorm: vorm 6984">
                <a:extLst>
                  <a:ext uri="{FF2B5EF4-FFF2-40B4-BE49-F238E27FC236}">
                    <a16:creationId xmlns:a16="http://schemas.microsoft.com/office/drawing/2014/main" id="{95166195-22DA-443C-952A-C491B3C4D9B9}"/>
                  </a:ext>
                </a:extLst>
              </p:cNvPr>
              <p:cNvSpPr/>
              <p:nvPr/>
            </p:nvSpPr>
            <p:spPr>
              <a:xfrm>
                <a:off x="6814035" y="2088687"/>
                <a:ext cx="1555" cy="1375"/>
              </a:xfrm>
              <a:custGeom>
                <a:avLst/>
                <a:gdLst>
                  <a:gd name="connsiteX0" fmla="*/ 1555 w 1555"/>
                  <a:gd name="connsiteY0" fmla="*/ 1376 h 1375"/>
                  <a:gd name="connsiteX1" fmla="*/ 0 w 1555"/>
                  <a:gd name="connsiteY1" fmla="*/ 0 h 1375"/>
                </a:gdLst>
                <a:ahLst/>
                <a:cxnLst>
                  <a:cxn ang="0">
                    <a:pos x="connsiteX0" y="connsiteY0"/>
                  </a:cxn>
                  <a:cxn ang="0">
                    <a:pos x="connsiteX1" y="connsiteY1"/>
                  </a:cxn>
                </a:cxnLst>
                <a:rect l="l" t="t" r="r" b="b"/>
                <a:pathLst>
                  <a:path w="1555" h="1375">
                    <a:moveTo>
                      <a:pt x="1555" y="1376"/>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86" name="Vrije vorm: vorm 6985">
                <a:extLst>
                  <a:ext uri="{FF2B5EF4-FFF2-40B4-BE49-F238E27FC236}">
                    <a16:creationId xmlns:a16="http://schemas.microsoft.com/office/drawing/2014/main" id="{F2AC3636-B0F5-4806-BFED-42D7C559AD13}"/>
                  </a:ext>
                </a:extLst>
              </p:cNvPr>
              <p:cNvSpPr/>
              <p:nvPr/>
            </p:nvSpPr>
            <p:spPr>
              <a:xfrm>
                <a:off x="6961161" y="1836301"/>
                <a:ext cx="7416" cy="4485"/>
              </a:xfrm>
              <a:custGeom>
                <a:avLst/>
                <a:gdLst>
                  <a:gd name="connsiteX0" fmla="*/ 7416 w 7416"/>
                  <a:gd name="connsiteY0" fmla="*/ 4486 h 4485"/>
                  <a:gd name="connsiteX1" fmla="*/ 7416 w 7416"/>
                  <a:gd name="connsiteY1" fmla="*/ 4486 h 4485"/>
                  <a:gd name="connsiteX2" fmla="*/ 6400 w 7416"/>
                  <a:gd name="connsiteY2" fmla="*/ 3887 h 4485"/>
                  <a:gd name="connsiteX3" fmla="*/ 5323 w 7416"/>
                  <a:gd name="connsiteY3" fmla="*/ 3230 h 4485"/>
                  <a:gd name="connsiteX4" fmla="*/ 4067 w 7416"/>
                  <a:gd name="connsiteY4" fmla="*/ 2452 h 4485"/>
                  <a:gd name="connsiteX5" fmla="*/ 2572 w 7416"/>
                  <a:gd name="connsiteY5" fmla="*/ 1555 h 4485"/>
                  <a:gd name="connsiteX6" fmla="*/ 1256 w 7416"/>
                  <a:gd name="connsiteY6" fmla="*/ 778 h 4485"/>
                  <a:gd name="connsiteX7" fmla="*/ 0 w 7416"/>
                  <a:gd name="connsiteY7" fmla="*/ 0 h 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6" h="4485">
                    <a:moveTo>
                      <a:pt x="7416" y="4486"/>
                    </a:moveTo>
                    <a:lnTo>
                      <a:pt x="7416" y="4486"/>
                    </a:lnTo>
                    <a:lnTo>
                      <a:pt x="6400" y="3887"/>
                    </a:lnTo>
                    <a:lnTo>
                      <a:pt x="5323" y="3230"/>
                    </a:lnTo>
                    <a:lnTo>
                      <a:pt x="4067" y="2452"/>
                    </a:lnTo>
                    <a:lnTo>
                      <a:pt x="2572" y="1555"/>
                    </a:lnTo>
                    <a:lnTo>
                      <a:pt x="1256" y="77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87" name="Vrije vorm: vorm 6986">
                <a:extLst>
                  <a:ext uri="{FF2B5EF4-FFF2-40B4-BE49-F238E27FC236}">
                    <a16:creationId xmlns:a16="http://schemas.microsoft.com/office/drawing/2014/main" id="{7ECAC358-FBC7-449D-9282-59C518233A93}"/>
                  </a:ext>
                </a:extLst>
              </p:cNvPr>
              <p:cNvSpPr/>
              <p:nvPr/>
            </p:nvSpPr>
            <p:spPr>
              <a:xfrm>
                <a:off x="6884010" y="1917160"/>
                <a:ext cx="3887" cy="6638"/>
              </a:xfrm>
              <a:custGeom>
                <a:avLst/>
                <a:gdLst>
                  <a:gd name="connsiteX0" fmla="*/ 3888 w 3887"/>
                  <a:gd name="connsiteY0" fmla="*/ 0 h 6638"/>
                  <a:gd name="connsiteX1" fmla="*/ 1435 w 3887"/>
                  <a:gd name="connsiteY1" fmla="*/ 4186 h 6638"/>
                  <a:gd name="connsiteX2" fmla="*/ 1197 w 3887"/>
                  <a:gd name="connsiteY2" fmla="*/ 4605 h 6638"/>
                  <a:gd name="connsiteX3" fmla="*/ 0 w 3887"/>
                  <a:gd name="connsiteY3" fmla="*/ 6639 h 6638"/>
                </a:gdLst>
                <a:ahLst/>
                <a:cxnLst>
                  <a:cxn ang="0">
                    <a:pos x="connsiteX0" y="connsiteY0"/>
                  </a:cxn>
                  <a:cxn ang="0">
                    <a:pos x="connsiteX1" y="connsiteY1"/>
                  </a:cxn>
                  <a:cxn ang="0">
                    <a:pos x="connsiteX2" y="connsiteY2"/>
                  </a:cxn>
                  <a:cxn ang="0">
                    <a:pos x="connsiteX3" y="connsiteY3"/>
                  </a:cxn>
                </a:cxnLst>
                <a:rect l="l" t="t" r="r" b="b"/>
                <a:pathLst>
                  <a:path w="3887" h="6638">
                    <a:moveTo>
                      <a:pt x="3888" y="0"/>
                    </a:moveTo>
                    <a:lnTo>
                      <a:pt x="1435" y="4186"/>
                    </a:lnTo>
                    <a:lnTo>
                      <a:pt x="1197" y="4605"/>
                    </a:lnTo>
                    <a:lnTo>
                      <a:pt x="0" y="6639"/>
                    </a:lnTo>
                  </a:path>
                </a:pathLst>
              </a:custGeom>
              <a:noFill/>
              <a:ln w="6350" cap="rnd">
                <a:solidFill>
                  <a:schemeClr val="bg1">
                    <a:alpha val="80000"/>
                  </a:schemeClr>
                </a:solidFill>
                <a:prstDash val="solid"/>
                <a:round/>
              </a:ln>
            </p:spPr>
            <p:txBody>
              <a:bodyPr rtlCol="0" anchor="ctr"/>
              <a:lstStyle/>
              <a:p>
                <a:endParaRPr lang="en-GB"/>
              </a:p>
            </p:txBody>
          </p:sp>
          <p:sp>
            <p:nvSpPr>
              <p:cNvPr id="6988" name="Vrije vorm: vorm 6987">
                <a:extLst>
                  <a:ext uri="{FF2B5EF4-FFF2-40B4-BE49-F238E27FC236}">
                    <a16:creationId xmlns:a16="http://schemas.microsoft.com/office/drawing/2014/main" id="{4D806E0C-4D43-464F-AF9D-CD729F34A163}"/>
                  </a:ext>
                </a:extLst>
              </p:cNvPr>
              <p:cNvSpPr/>
              <p:nvPr/>
            </p:nvSpPr>
            <p:spPr>
              <a:xfrm>
                <a:off x="6889572" y="1913034"/>
                <a:ext cx="777" cy="1255"/>
              </a:xfrm>
              <a:custGeom>
                <a:avLst/>
                <a:gdLst>
                  <a:gd name="connsiteX0" fmla="*/ 778 w 777"/>
                  <a:gd name="connsiteY0" fmla="*/ 0 h 1255"/>
                  <a:gd name="connsiteX1" fmla="*/ 0 w 777"/>
                  <a:gd name="connsiteY1" fmla="*/ 1256 h 1255"/>
                </a:gdLst>
                <a:ahLst/>
                <a:cxnLst>
                  <a:cxn ang="0">
                    <a:pos x="connsiteX0" y="connsiteY0"/>
                  </a:cxn>
                  <a:cxn ang="0">
                    <a:pos x="connsiteX1" y="connsiteY1"/>
                  </a:cxn>
                </a:cxnLst>
                <a:rect l="l" t="t" r="r" b="b"/>
                <a:pathLst>
                  <a:path w="777" h="1255">
                    <a:moveTo>
                      <a:pt x="778" y="0"/>
                    </a:moveTo>
                    <a:lnTo>
                      <a:pt x="0" y="1256"/>
                    </a:lnTo>
                  </a:path>
                </a:pathLst>
              </a:custGeom>
              <a:noFill/>
              <a:ln w="6350" cap="rnd">
                <a:solidFill>
                  <a:schemeClr val="bg1">
                    <a:alpha val="80000"/>
                  </a:schemeClr>
                </a:solidFill>
                <a:prstDash val="solid"/>
                <a:round/>
              </a:ln>
            </p:spPr>
            <p:txBody>
              <a:bodyPr rtlCol="0" anchor="ctr"/>
              <a:lstStyle/>
              <a:p>
                <a:endParaRPr lang="en-GB"/>
              </a:p>
            </p:txBody>
          </p:sp>
          <p:sp>
            <p:nvSpPr>
              <p:cNvPr id="6989" name="Vrije vorm: vorm 6988">
                <a:extLst>
                  <a:ext uri="{FF2B5EF4-FFF2-40B4-BE49-F238E27FC236}">
                    <a16:creationId xmlns:a16="http://schemas.microsoft.com/office/drawing/2014/main" id="{E547D5B0-2532-4C9C-BCEA-BEB02FF1DB2E}"/>
                  </a:ext>
                </a:extLst>
              </p:cNvPr>
              <p:cNvSpPr/>
              <p:nvPr/>
            </p:nvSpPr>
            <p:spPr>
              <a:xfrm>
                <a:off x="6891307" y="1908429"/>
                <a:ext cx="298" cy="418"/>
              </a:xfrm>
              <a:custGeom>
                <a:avLst/>
                <a:gdLst>
                  <a:gd name="connsiteX0" fmla="*/ 299 w 298"/>
                  <a:gd name="connsiteY0" fmla="*/ 0 h 418"/>
                  <a:gd name="connsiteX1" fmla="*/ 0 w 298"/>
                  <a:gd name="connsiteY1" fmla="*/ 419 h 418"/>
                </a:gdLst>
                <a:ahLst/>
                <a:cxnLst>
                  <a:cxn ang="0">
                    <a:pos x="connsiteX0" y="connsiteY0"/>
                  </a:cxn>
                  <a:cxn ang="0">
                    <a:pos x="connsiteX1" y="connsiteY1"/>
                  </a:cxn>
                </a:cxnLst>
                <a:rect l="l" t="t" r="r" b="b"/>
                <a:pathLst>
                  <a:path w="298" h="418">
                    <a:moveTo>
                      <a:pt x="299" y="0"/>
                    </a:moveTo>
                    <a:lnTo>
                      <a:pt x="0" y="419"/>
                    </a:lnTo>
                  </a:path>
                </a:pathLst>
              </a:custGeom>
              <a:noFill/>
              <a:ln w="6350" cap="rnd">
                <a:solidFill>
                  <a:schemeClr val="bg1">
                    <a:alpha val="80000"/>
                  </a:schemeClr>
                </a:solidFill>
                <a:prstDash val="solid"/>
                <a:round/>
              </a:ln>
            </p:spPr>
            <p:txBody>
              <a:bodyPr rtlCol="0" anchor="ctr"/>
              <a:lstStyle/>
              <a:p>
                <a:endParaRPr lang="en-GB"/>
              </a:p>
            </p:txBody>
          </p:sp>
          <p:sp>
            <p:nvSpPr>
              <p:cNvPr id="6990" name="Vrije vorm: vorm 6989">
                <a:extLst>
                  <a:ext uri="{FF2B5EF4-FFF2-40B4-BE49-F238E27FC236}">
                    <a16:creationId xmlns:a16="http://schemas.microsoft.com/office/drawing/2014/main" id="{9241C9FD-850C-4EF4-AA48-D41BC8CE79A7}"/>
                  </a:ext>
                </a:extLst>
              </p:cNvPr>
              <p:cNvSpPr/>
              <p:nvPr/>
            </p:nvSpPr>
            <p:spPr>
              <a:xfrm>
                <a:off x="6876175" y="1927866"/>
                <a:ext cx="4844" cy="1555"/>
              </a:xfrm>
              <a:custGeom>
                <a:avLst/>
                <a:gdLst>
                  <a:gd name="connsiteX0" fmla="*/ 0 w 4844"/>
                  <a:gd name="connsiteY0" fmla="*/ 1555 h 1555"/>
                  <a:gd name="connsiteX1" fmla="*/ 2033 w 4844"/>
                  <a:gd name="connsiteY1" fmla="*/ 897 h 1555"/>
                  <a:gd name="connsiteX2" fmla="*/ 2691 w 4844"/>
                  <a:gd name="connsiteY2" fmla="*/ 658 h 1555"/>
                  <a:gd name="connsiteX3" fmla="*/ 4066 w 4844"/>
                  <a:gd name="connsiteY3" fmla="*/ 239 h 1555"/>
                  <a:gd name="connsiteX4" fmla="*/ 4126 w 4844"/>
                  <a:gd name="connsiteY4" fmla="*/ 239 h 1555"/>
                  <a:gd name="connsiteX5" fmla="*/ 4844 w 4844"/>
                  <a:gd name="connsiteY5" fmla="*/ 0 h 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4" h="1555">
                    <a:moveTo>
                      <a:pt x="0" y="1555"/>
                    </a:moveTo>
                    <a:lnTo>
                      <a:pt x="2033" y="897"/>
                    </a:lnTo>
                    <a:lnTo>
                      <a:pt x="2691" y="658"/>
                    </a:lnTo>
                    <a:lnTo>
                      <a:pt x="4066" y="239"/>
                    </a:lnTo>
                    <a:lnTo>
                      <a:pt x="4126" y="239"/>
                    </a:lnTo>
                    <a:lnTo>
                      <a:pt x="4844" y="0"/>
                    </a:lnTo>
                  </a:path>
                </a:pathLst>
              </a:custGeom>
              <a:noFill/>
              <a:ln w="6350" cap="rnd">
                <a:solidFill>
                  <a:schemeClr val="bg1">
                    <a:alpha val="80000"/>
                  </a:schemeClr>
                </a:solidFill>
                <a:prstDash val="solid"/>
                <a:round/>
              </a:ln>
            </p:spPr>
            <p:txBody>
              <a:bodyPr rtlCol="0" anchor="ctr"/>
              <a:lstStyle/>
              <a:p>
                <a:endParaRPr lang="en-GB"/>
              </a:p>
            </p:txBody>
          </p:sp>
          <p:sp>
            <p:nvSpPr>
              <p:cNvPr id="6991" name="Vrije vorm: vorm 6990">
                <a:extLst>
                  <a:ext uri="{FF2B5EF4-FFF2-40B4-BE49-F238E27FC236}">
                    <a16:creationId xmlns:a16="http://schemas.microsoft.com/office/drawing/2014/main" id="{2CB1E9D6-2690-43E8-A49A-97918A6BBD50}"/>
                  </a:ext>
                </a:extLst>
              </p:cNvPr>
              <p:cNvSpPr/>
              <p:nvPr/>
            </p:nvSpPr>
            <p:spPr>
              <a:xfrm>
                <a:off x="6933710" y="1819914"/>
                <a:ext cx="3408" cy="1913"/>
              </a:xfrm>
              <a:custGeom>
                <a:avLst/>
                <a:gdLst>
                  <a:gd name="connsiteX0" fmla="*/ 3409 w 3408"/>
                  <a:gd name="connsiteY0" fmla="*/ 1914 h 1913"/>
                  <a:gd name="connsiteX1" fmla="*/ 2093 w 3408"/>
                  <a:gd name="connsiteY1" fmla="*/ 1196 h 1913"/>
                  <a:gd name="connsiteX2" fmla="*/ 538 w 3408"/>
                  <a:gd name="connsiteY2" fmla="*/ 299 h 1913"/>
                  <a:gd name="connsiteX3" fmla="*/ 0 w 3408"/>
                  <a:gd name="connsiteY3" fmla="*/ 0 h 1913"/>
                </a:gdLst>
                <a:ahLst/>
                <a:cxnLst>
                  <a:cxn ang="0">
                    <a:pos x="connsiteX0" y="connsiteY0"/>
                  </a:cxn>
                  <a:cxn ang="0">
                    <a:pos x="connsiteX1" y="connsiteY1"/>
                  </a:cxn>
                  <a:cxn ang="0">
                    <a:pos x="connsiteX2" y="connsiteY2"/>
                  </a:cxn>
                  <a:cxn ang="0">
                    <a:pos x="connsiteX3" y="connsiteY3"/>
                  </a:cxn>
                </a:cxnLst>
                <a:rect l="l" t="t" r="r" b="b"/>
                <a:pathLst>
                  <a:path w="3408" h="1913">
                    <a:moveTo>
                      <a:pt x="3409" y="1914"/>
                    </a:moveTo>
                    <a:lnTo>
                      <a:pt x="2093" y="1196"/>
                    </a:lnTo>
                    <a:lnTo>
                      <a:pt x="538" y="29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92" name="Vrije vorm: vorm 6991">
                <a:extLst>
                  <a:ext uri="{FF2B5EF4-FFF2-40B4-BE49-F238E27FC236}">
                    <a16:creationId xmlns:a16="http://schemas.microsoft.com/office/drawing/2014/main" id="{6DB5FEEB-EA93-4DEB-A3AE-490B6DC852F2}"/>
                  </a:ext>
                </a:extLst>
              </p:cNvPr>
              <p:cNvSpPr/>
              <p:nvPr/>
            </p:nvSpPr>
            <p:spPr>
              <a:xfrm>
                <a:off x="6856200" y="1934624"/>
                <a:ext cx="8312" cy="5502"/>
              </a:xfrm>
              <a:custGeom>
                <a:avLst/>
                <a:gdLst>
                  <a:gd name="connsiteX0" fmla="*/ 0 w 8312"/>
                  <a:gd name="connsiteY0" fmla="*/ 5502 h 5502"/>
                  <a:gd name="connsiteX1" fmla="*/ 4066 w 8312"/>
                  <a:gd name="connsiteY1" fmla="*/ 2811 h 5502"/>
                  <a:gd name="connsiteX2" fmla="*/ 5921 w 8312"/>
                  <a:gd name="connsiteY2" fmla="*/ 1615 h 5502"/>
                  <a:gd name="connsiteX3" fmla="*/ 7057 w 8312"/>
                  <a:gd name="connsiteY3" fmla="*/ 837 h 5502"/>
                  <a:gd name="connsiteX4" fmla="*/ 7834 w 8312"/>
                  <a:gd name="connsiteY4" fmla="*/ 299 h 5502"/>
                  <a:gd name="connsiteX5" fmla="*/ 8313 w 8312"/>
                  <a:gd name="connsiteY5" fmla="*/ 0 h 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12" h="5502">
                    <a:moveTo>
                      <a:pt x="0" y="5502"/>
                    </a:moveTo>
                    <a:lnTo>
                      <a:pt x="4066" y="2811"/>
                    </a:lnTo>
                    <a:lnTo>
                      <a:pt x="5921" y="1615"/>
                    </a:lnTo>
                    <a:lnTo>
                      <a:pt x="7057" y="837"/>
                    </a:lnTo>
                    <a:lnTo>
                      <a:pt x="7834" y="299"/>
                    </a:lnTo>
                    <a:lnTo>
                      <a:pt x="8313" y="0"/>
                    </a:lnTo>
                  </a:path>
                </a:pathLst>
              </a:custGeom>
              <a:noFill/>
              <a:ln w="6350" cap="rnd">
                <a:solidFill>
                  <a:schemeClr val="bg1">
                    <a:alpha val="80000"/>
                  </a:schemeClr>
                </a:solidFill>
                <a:prstDash val="solid"/>
                <a:round/>
              </a:ln>
            </p:spPr>
            <p:txBody>
              <a:bodyPr rtlCol="0" anchor="ctr"/>
              <a:lstStyle/>
              <a:p>
                <a:endParaRPr lang="en-GB"/>
              </a:p>
            </p:txBody>
          </p:sp>
          <p:sp>
            <p:nvSpPr>
              <p:cNvPr id="6993" name="Vrije vorm: vorm 6992">
                <a:extLst>
                  <a:ext uri="{FF2B5EF4-FFF2-40B4-BE49-F238E27FC236}">
                    <a16:creationId xmlns:a16="http://schemas.microsoft.com/office/drawing/2014/main" id="{9C1A684F-204D-4953-859D-6DFC144D2C35}"/>
                  </a:ext>
                </a:extLst>
              </p:cNvPr>
              <p:cNvSpPr/>
              <p:nvPr/>
            </p:nvSpPr>
            <p:spPr>
              <a:xfrm>
                <a:off x="6793522" y="2039406"/>
                <a:ext cx="418" cy="6818"/>
              </a:xfrm>
              <a:custGeom>
                <a:avLst/>
                <a:gdLst>
                  <a:gd name="connsiteX0" fmla="*/ 0 w 418"/>
                  <a:gd name="connsiteY0" fmla="*/ 6818 h 6818"/>
                  <a:gd name="connsiteX1" fmla="*/ 419 w 418"/>
                  <a:gd name="connsiteY1" fmla="*/ 0 h 6818"/>
                </a:gdLst>
                <a:ahLst/>
                <a:cxnLst>
                  <a:cxn ang="0">
                    <a:pos x="connsiteX0" y="connsiteY0"/>
                  </a:cxn>
                  <a:cxn ang="0">
                    <a:pos x="connsiteX1" y="connsiteY1"/>
                  </a:cxn>
                </a:cxnLst>
                <a:rect l="l" t="t" r="r" b="b"/>
                <a:pathLst>
                  <a:path w="418" h="6818">
                    <a:moveTo>
                      <a:pt x="0" y="6818"/>
                    </a:moveTo>
                    <a:lnTo>
                      <a:pt x="419" y="0"/>
                    </a:lnTo>
                  </a:path>
                </a:pathLst>
              </a:custGeom>
              <a:noFill/>
              <a:ln w="6350" cap="rnd">
                <a:solidFill>
                  <a:schemeClr val="bg1">
                    <a:alpha val="80000"/>
                  </a:schemeClr>
                </a:solidFill>
                <a:prstDash val="solid"/>
                <a:round/>
              </a:ln>
            </p:spPr>
            <p:txBody>
              <a:bodyPr rtlCol="0" anchor="ctr"/>
              <a:lstStyle/>
              <a:p>
                <a:endParaRPr lang="en-GB"/>
              </a:p>
            </p:txBody>
          </p:sp>
          <p:sp>
            <p:nvSpPr>
              <p:cNvPr id="6994" name="Vrije vorm: vorm 6993">
                <a:extLst>
                  <a:ext uri="{FF2B5EF4-FFF2-40B4-BE49-F238E27FC236}">
                    <a16:creationId xmlns:a16="http://schemas.microsoft.com/office/drawing/2014/main" id="{65471D86-CC43-47DC-9FC5-88EE9591F639}"/>
                  </a:ext>
                </a:extLst>
              </p:cNvPr>
              <p:cNvSpPr/>
              <p:nvPr/>
            </p:nvSpPr>
            <p:spPr>
              <a:xfrm>
                <a:off x="6822588" y="1964707"/>
                <a:ext cx="8193" cy="10167"/>
              </a:xfrm>
              <a:custGeom>
                <a:avLst/>
                <a:gdLst>
                  <a:gd name="connsiteX0" fmla="*/ 0 w 8193"/>
                  <a:gd name="connsiteY0" fmla="*/ 10167 h 10167"/>
                  <a:gd name="connsiteX1" fmla="*/ 120 w 8193"/>
                  <a:gd name="connsiteY1" fmla="*/ 10048 h 10167"/>
                  <a:gd name="connsiteX2" fmla="*/ 957 w 8193"/>
                  <a:gd name="connsiteY2" fmla="*/ 9031 h 10167"/>
                  <a:gd name="connsiteX3" fmla="*/ 1136 w 8193"/>
                  <a:gd name="connsiteY3" fmla="*/ 8792 h 10167"/>
                  <a:gd name="connsiteX4" fmla="*/ 1615 w 8193"/>
                  <a:gd name="connsiteY4" fmla="*/ 8194 h 10167"/>
                  <a:gd name="connsiteX5" fmla="*/ 2333 w 8193"/>
                  <a:gd name="connsiteY5" fmla="*/ 7296 h 10167"/>
                  <a:gd name="connsiteX6" fmla="*/ 2930 w 8193"/>
                  <a:gd name="connsiteY6" fmla="*/ 6579 h 10167"/>
                  <a:gd name="connsiteX7" fmla="*/ 7237 w 8193"/>
                  <a:gd name="connsiteY7" fmla="*/ 1196 h 10167"/>
                  <a:gd name="connsiteX8" fmla="*/ 7775 w 8193"/>
                  <a:gd name="connsiteY8" fmla="*/ 538 h 10167"/>
                  <a:gd name="connsiteX9" fmla="*/ 8134 w 8193"/>
                  <a:gd name="connsiteY9" fmla="*/ 60 h 10167"/>
                  <a:gd name="connsiteX10" fmla="*/ 8134 w 8193"/>
                  <a:gd name="connsiteY10" fmla="*/ 60 h 10167"/>
                  <a:gd name="connsiteX11" fmla="*/ 8194 w 8193"/>
                  <a:gd name="connsiteY11" fmla="*/ 0 h 1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93" h="10167">
                    <a:moveTo>
                      <a:pt x="0" y="10167"/>
                    </a:moveTo>
                    <a:lnTo>
                      <a:pt x="120" y="10048"/>
                    </a:lnTo>
                    <a:lnTo>
                      <a:pt x="957" y="9031"/>
                    </a:lnTo>
                    <a:lnTo>
                      <a:pt x="1136" y="8792"/>
                    </a:lnTo>
                    <a:lnTo>
                      <a:pt x="1615" y="8194"/>
                    </a:lnTo>
                    <a:lnTo>
                      <a:pt x="2333" y="7296"/>
                    </a:lnTo>
                    <a:lnTo>
                      <a:pt x="2930" y="6579"/>
                    </a:lnTo>
                    <a:lnTo>
                      <a:pt x="7237" y="1196"/>
                    </a:lnTo>
                    <a:lnTo>
                      <a:pt x="7775" y="538"/>
                    </a:lnTo>
                    <a:lnTo>
                      <a:pt x="8134" y="60"/>
                    </a:lnTo>
                    <a:lnTo>
                      <a:pt x="8134" y="60"/>
                    </a:lnTo>
                    <a:lnTo>
                      <a:pt x="8194" y="0"/>
                    </a:lnTo>
                  </a:path>
                </a:pathLst>
              </a:custGeom>
              <a:noFill/>
              <a:ln w="6350" cap="rnd">
                <a:solidFill>
                  <a:schemeClr val="bg1">
                    <a:alpha val="80000"/>
                  </a:schemeClr>
                </a:solidFill>
                <a:prstDash val="solid"/>
                <a:round/>
              </a:ln>
            </p:spPr>
            <p:txBody>
              <a:bodyPr rtlCol="0" anchor="ctr"/>
              <a:lstStyle/>
              <a:p>
                <a:endParaRPr lang="en-GB"/>
              </a:p>
            </p:txBody>
          </p:sp>
          <p:sp>
            <p:nvSpPr>
              <p:cNvPr id="6995" name="Vrije vorm: vorm 6994">
                <a:extLst>
                  <a:ext uri="{FF2B5EF4-FFF2-40B4-BE49-F238E27FC236}">
                    <a16:creationId xmlns:a16="http://schemas.microsoft.com/office/drawing/2014/main" id="{FB77AFA2-4E72-4161-99F4-4710C53D2ACA}"/>
                  </a:ext>
                </a:extLst>
              </p:cNvPr>
              <p:cNvSpPr/>
              <p:nvPr/>
            </p:nvSpPr>
            <p:spPr>
              <a:xfrm>
                <a:off x="6821750" y="1973080"/>
                <a:ext cx="777" cy="1315"/>
              </a:xfrm>
              <a:custGeom>
                <a:avLst/>
                <a:gdLst>
                  <a:gd name="connsiteX0" fmla="*/ 0 w 777"/>
                  <a:gd name="connsiteY0" fmla="*/ 1316 h 1315"/>
                  <a:gd name="connsiteX1" fmla="*/ 778 w 777"/>
                  <a:gd name="connsiteY1" fmla="*/ 0 h 1315"/>
                </a:gdLst>
                <a:ahLst/>
                <a:cxnLst>
                  <a:cxn ang="0">
                    <a:pos x="connsiteX0" y="connsiteY0"/>
                  </a:cxn>
                  <a:cxn ang="0">
                    <a:pos x="connsiteX1" y="connsiteY1"/>
                  </a:cxn>
                </a:cxnLst>
                <a:rect l="l" t="t" r="r" b="b"/>
                <a:pathLst>
                  <a:path w="777" h="1315">
                    <a:moveTo>
                      <a:pt x="0" y="1316"/>
                    </a:moveTo>
                    <a:lnTo>
                      <a:pt x="778" y="0"/>
                    </a:lnTo>
                  </a:path>
                </a:pathLst>
              </a:custGeom>
              <a:noFill/>
              <a:ln w="6350" cap="rnd">
                <a:solidFill>
                  <a:schemeClr val="bg1">
                    <a:alpha val="80000"/>
                  </a:schemeClr>
                </a:solidFill>
                <a:prstDash val="solid"/>
                <a:round/>
              </a:ln>
            </p:spPr>
            <p:txBody>
              <a:bodyPr rtlCol="0" anchor="ctr"/>
              <a:lstStyle/>
              <a:p>
                <a:endParaRPr lang="en-GB"/>
              </a:p>
            </p:txBody>
          </p:sp>
          <p:sp>
            <p:nvSpPr>
              <p:cNvPr id="6996" name="Vrije vorm: vorm 6995">
                <a:extLst>
                  <a:ext uri="{FF2B5EF4-FFF2-40B4-BE49-F238E27FC236}">
                    <a16:creationId xmlns:a16="http://schemas.microsoft.com/office/drawing/2014/main" id="{C55E11CE-EFD2-4572-91D1-515B5FFC33A2}"/>
                  </a:ext>
                </a:extLst>
              </p:cNvPr>
              <p:cNvSpPr/>
              <p:nvPr/>
            </p:nvSpPr>
            <p:spPr>
              <a:xfrm>
                <a:off x="6800459" y="2011895"/>
                <a:ext cx="957" cy="478"/>
              </a:xfrm>
              <a:custGeom>
                <a:avLst/>
                <a:gdLst>
                  <a:gd name="connsiteX0" fmla="*/ 957 w 957"/>
                  <a:gd name="connsiteY0" fmla="*/ 478 h 478"/>
                  <a:gd name="connsiteX1" fmla="*/ 0 w 957"/>
                  <a:gd name="connsiteY1" fmla="*/ 0 h 478"/>
                </a:gdLst>
                <a:ahLst/>
                <a:cxnLst>
                  <a:cxn ang="0">
                    <a:pos x="connsiteX0" y="connsiteY0"/>
                  </a:cxn>
                  <a:cxn ang="0">
                    <a:pos x="connsiteX1" y="connsiteY1"/>
                  </a:cxn>
                </a:cxnLst>
                <a:rect l="l" t="t" r="r" b="b"/>
                <a:pathLst>
                  <a:path w="957" h="478">
                    <a:moveTo>
                      <a:pt x="957" y="478"/>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6997" name="Vrije vorm: vorm 6996">
                <a:extLst>
                  <a:ext uri="{FF2B5EF4-FFF2-40B4-BE49-F238E27FC236}">
                    <a16:creationId xmlns:a16="http://schemas.microsoft.com/office/drawing/2014/main" id="{5B57E118-D07D-478C-AFCC-C9C33BFA96BA}"/>
                  </a:ext>
                </a:extLst>
              </p:cNvPr>
              <p:cNvSpPr/>
              <p:nvPr/>
            </p:nvSpPr>
            <p:spPr>
              <a:xfrm>
                <a:off x="6823784" y="1934325"/>
                <a:ext cx="3169" cy="5322"/>
              </a:xfrm>
              <a:custGeom>
                <a:avLst/>
                <a:gdLst>
                  <a:gd name="connsiteX0" fmla="*/ 3170 w 3169"/>
                  <a:gd name="connsiteY0" fmla="*/ 0 h 5322"/>
                  <a:gd name="connsiteX1" fmla="*/ 2153 w 3169"/>
                  <a:gd name="connsiteY1" fmla="*/ 1675 h 5322"/>
                  <a:gd name="connsiteX2" fmla="*/ 0 w 3169"/>
                  <a:gd name="connsiteY2" fmla="*/ 5323 h 5322"/>
                </a:gdLst>
                <a:ahLst/>
                <a:cxnLst>
                  <a:cxn ang="0">
                    <a:pos x="connsiteX0" y="connsiteY0"/>
                  </a:cxn>
                  <a:cxn ang="0">
                    <a:pos x="connsiteX1" y="connsiteY1"/>
                  </a:cxn>
                  <a:cxn ang="0">
                    <a:pos x="connsiteX2" y="connsiteY2"/>
                  </a:cxn>
                </a:cxnLst>
                <a:rect l="l" t="t" r="r" b="b"/>
                <a:pathLst>
                  <a:path w="3169" h="5322">
                    <a:moveTo>
                      <a:pt x="3170" y="0"/>
                    </a:moveTo>
                    <a:lnTo>
                      <a:pt x="2153" y="1675"/>
                    </a:lnTo>
                    <a:lnTo>
                      <a:pt x="0" y="5323"/>
                    </a:lnTo>
                  </a:path>
                </a:pathLst>
              </a:custGeom>
              <a:noFill/>
              <a:ln w="6350" cap="rnd">
                <a:solidFill>
                  <a:schemeClr val="bg1">
                    <a:alpha val="80000"/>
                  </a:schemeClr>
                </a:solidFill>
                <a:prstDash val="solid"/>
                <a:round/>
              </a:ln>
            </p:spPr>
            <p:txBody>
              <a:bodyPr rtlCol="0" anchor="ctr"/>
              <a:lstStyle/>
              <a:p>
                <a:endParaRPr lang="en-GB"/>
              </a:p>
            </p:txBody>
          </p:sp>
          <p:sp>
            <p:nvSpPr>
              <p:cNvPr id="6998" name="Vrije vorm: vorm 6997">
                <a:extLst>
                  <a:ext uri="{FF2B5EF4-FFF2-40B4-BE49-F238E27FC236}">
                    <a16:creationId xmlns:a16="http://schemas.microsoft.com/office/drawing/2014/main" id="{6A982C60-9D4A-436C-A30E-104093EE9175}"/>
                  </a:ext>
                </a:extLst>
              </p:cNvPr>
              <p:cNvSpPr/>
              <p:nvPr/>
            </p:nvSpPr>
            <p:spPr>
              <a:xfrm>
                <a:off x="6806978" y="1962554"/>
                <a:ext cx="14413" cy="9389"/>
              </a:xfrm>
              <a:custGeom>
                <a:avLst/>
                <a:gdLst>
                  <a:gd name="connsiteX0" fmla="*/ 0 w 14413"/>
                  <a:gd name="connsiteY0" fmla="*/ 0 h 9389"/>
                  <a:gd name="connsiteX1" fmla="*/ 10227 w 14413"/>
                  <a:gd name="connsiteY1" fmla="*/ 6698 h 9389"/>
                  <a:gd name="connsiteX2" fmla="*/ 10227 w 14413"/>
                  <a:gd name="connsiteY2" fmla="*/ 6698 h 9389"/>
                  <a:gd name="connsiteX3" fmla="*/ 10645 w 14413"/>
                  <a:gd name="connsiteY3" fmla="*/ 6938 h 9389"/>
                  <a:gd name="connsiteX4" fmla="*/ 14413 w 14413"/>
                  <a:gd name="connsiteY4" fmla="*/ 9390 h 9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13" h="9389">
                    <a:moveTo>
                      <a:pt x="0" y="0"/>
                    </a:moveTo>
                    <a:lnTo>
                      <a:pt x="10227" y="6698"/>
                    </a:lnTo>
                    <a:lnTo>
                      <a:pt x="10227" y="6698"/>
                    </a:lnTo>
                    <a:lnTo>
                      <a:pt x="10645" y="6938"/>
                    </a:lnTo>
                    <a:lnTo>
                      <a:pt x="14413" y="9390"/>
                    </a:lnTo>
                  </a:path>
                </a:pathLst>
              </a:custGeom>
              <a:noFill/>
              <a:ln w="6350" cap="rnd">
                <a:solidFill>
                  <a:schemeClr val="bg1">
                    <a:alpha val="80000"/>
                  </a:schemeClr>
                </a:solidFill>
                <a:prstDash val="solid"/>
                <a:round/>
              </a:ln>
            </p:spPr>
            <p:txBody>
              <a:bodyPr rtlCol="0" anchor="ctr"/>
              <a:lstStyle/>
              <a:p>
                <a:endParaRPr lang="en-GB"/>
              </a:p>
            </p:txBody>
          </p:sp>
          <p:sp>
            <p:nvSpPr>
              <p:cNvPr id="6999" name="Vrije vorm: vorm 6998">
                <a:extLst>
                  <a:ext uri="{FF2B5EF4-FFF2-40B4-BE49-F238E27FC236}">
                    <a16:creationId xmlns:a16="http://schemas.microsoft.com/office/drawing/2014/main" id="{9C0120F8-214B-49C5-A08D-2445A6D00A67}"/>
                  </a:ext>
                </a:extLst>
              </p:cNvPr>
              <p:cNvSpPr/>
              <p:nvPr/>
            </p:nvSpPr>
            <p:spPr>
              <a:xfrm>
                <a:off x="6781201" y="2000771"/>
                <a:ext cx="3229" cy="2511"/>
              </a:xfrm>
              <a:custGeom>
                <a:avLst/>
                <a:gdLst>
                  <a:gd name="connsiteX0" fmla="*/ 3229 w 3229"/>
                  <a:gd name="connsiteY0" fmla="*/ 2512 h 2511"/>
                  <a:gd name="connsiteX1" fmla="*/ 0 w 3229"/>
                  <a:gd name="connsiteY1" fmla="*/ 0 h 2511"/>
                </a:gdLst>
                <a:ahLst/>
                <a:cxnLst>
                  <a:cxn ang="0">
                    <a:pos x="connsiteX0" y="connsiteY0"/>
                  </a:cxn>
                  <a:cxn ang="0">
                    <a:pos x="connsiteX1" y="connsiteY1"/>
                  </a:cxn>
                </a:cxnLst>
                <a:rect l="l" t="t" r="r" b="b"/>
                <a:pathLst>
                  <a:path w="3229" h="2511">
                    <a:moveTo>
                      <a:pt x="3229" y="2512"/>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00" name="Vrije vorm: vorm 6999">
                <a:extLst>
                  <a:ext uri="{FF2B5EF4-FFF2-40B4-BE49-F238E27FC236}">
                    <a16:creationId xmlns:a16="http://schemas.microsoft.com/office/drawing/2014/main" id="{FAF41CF7-CE55-4741-B9DB-0C714277796C}"/>
                  </a:ext>
                </a:extLst>
              </p:cNvPr>
              <p:cNvSpPr/>
              <p:nvPr/>
            </p:nvSpPr>
            <p:spPr>
              <a:xfrm>
                <a:off x="6796512" y="1929959"/>
                <a:ext cx="12200" cy="20454"/>
              </a:xfrm>
              <a:custGeom>
                <a:avLst/>
                <a:gdLst>
                  <a:gd name="connsiteX0" fmla="*/ 0 w 12200"/>
                  <a:gd name="connsiteY0" fmla="*/ 20454 h 20454"/>
                  <a:gd name="connsiteX1" fmla="*/ 179 w 12200"/>
                  <a:gd name="connsiteY1" fmla="*/ 20155 h 20454"/>
                  <a:gd name="connsiteX2" fmla="*/ 1076 w 12200"/>
                  <a:gd name="connsiteY2" fmla="*/ 18660 h 20454"/>
                  <a:gd name="connsiteX3" fmla="*/ 1196 w 12200"/>
                  <a:gd name="connsiteY3" fmla="*/ 18421 h 20454"/>
                  <a:gd name="connsiteX4" fmla="*/ 1854 w 12200"/>
                  <a:gd name="connsiteY4" fmla="*/ 17344 h 20454"/>
                  <a:gd name="connsiteX5" fmla="*/ 2033 w 12200"/>
                  <a:gd name="connsiteY5" fmla="*/ 17045 h 20454"/>
                  <a:gd name="connsiteX6" fmla="*/ 2273 w 12200"/>
                  <a:gd name="connsiteY6" fmla="*/ 16686 h 20454"/>
                  <a:gd name="connsiteX7" fmla="*/ 3050 w 12200"/>
                  <a:gd name="connsiteY7" fmla="*/ 15370 h 20454"/>
                  <a:gd name="connsiteX8" fmla="*/ 3229 w 12200"/>
                  <a:gd name="connsiteY8" fmla="*/ 15071 h 20454"/>
                  <a:gd name="connsiteX9" fmla="*/ 3289 w 12200"/>
                  <a:gd name="connsiteY9" fmla="*/ 14952 h 20454"/>
                  <a:gd name="connsiteX10" fmla="*/ 3947 w 12200"/>
                  <a:gd name="connsiteY10" fmla="*/ 13875 h 20454"/>
                  <a:gd name="connsiteX11" fmla="*/ 6937 w 12200"/>
                  <a:gd name="connsiteY11" fmla="*/ 8792 h 20454"/>
                  <a:gd name="connsiteX12" fmla="*/ 7715 w 12200"/>
                  <a:gd name="connsiteY12" fmla="*/ 7476 h 20454"/>
                  <a:gd name="connsiteX13" fmla="*/ 7835 w 12200"/>
                  <a:gd name="connsiteY13" fmla="*/ 7296 h 20454"/>
                  <a:gd name="connsiteX14" fmla="*/ 8612 w 12200"/>
                  <a:gd name="connsiteY14" fmla="*/ 6040 h 20454"/>
                  <a:gd name="connsiteX15" fmla="*/ 9868 w 12200"/>
                  <a:gd name="connsiteY15" fmla="*/ 3887 h 20454"/>
                  <a:gd name="connsiteX16" fmla="*/ 9928 w 12200"/>
                  <a:gd name="connsiteY16" fmla="*/ 3768 h 20454"/>
                  <a:gd name="connsiteX17" fmla="*/ 9988 w 12200"/>
                  <a:gd name="connsiteY17" fmla="*/ 3708 h 20454"/>
                  <a:gd name="connsiteX18" fmla="*/ 10406 w 12200"/>
                  <a:gd name="connsiteY18" fmla="*/ 2990 h 20454"/>
                  <a:gd name="connsiteX19" fmla="*/ 12201 w 12200"/>
                  <a:gd name="connsiteY19" fmla="*/ 0 h 2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200" h="20454">
                    <a:moveTo>
                      <a:pt x="0" y="20454"/>
                    </a:moveTo>
                    <a:lnTo>
                      <a:pt x="179" y="20155"/>
                    </a:lnTo>
                    <a:lnTo>
                      <a:pt x="1076" y="18660"/>
                    </a:lnTo>
                    <a:lnTo>
                      <a:pt x="1196" y="18421"/>
                    </a:lnTo>
                    <a:lnTo>
                      <a:pt x="1854" y="17344"/>
                    </a:lnTo>
                    <a:lnTo>
                      <a:pt x="2033" y="17045"/>
                    </a:lnTo>
                    <a:lnTo>
                      <a:pt x="2273" y="16686"/>
                    </a:lnTo>
                    <a:lnTo>
                      <a:pt x="3050" y="15370"/>
                    </a:lnTo>
                    <a:lnTo>
                      <a:pt x="3229" y="15071"/>
                    </a:lnTo>
                    <a:lnTo>
                      <a:pt x="3289" y="14952"/>
                    </a:lnTo>
                    <a:lnTo>
                      <a:pt x="3947" y="13875"/>
                    </a:lnTo>
                    <a:lnTo>
                      <a:pt x="6937" y="8792"/>
                    </a:lnTo>
                    <a:lnTo>
                      <a:pt x="7715" y="7476"/>
                    </a:lnTo>
                    <a:lnTo>
                      <a:pt x="7835" y="7296"/>
                    </a:lnTo>
                    <a:lnTo>
                      <a:pt x="8612" y="6040"/>
                    </a:lnTo>
                    <a:lnTo>
                      <a:pt x="9868" y="3887"/>
                    </a:lnTo>
                    <a:lnTo>
                      <a:pt x="9928" y="3768"/>
                    </a:lnTo>
                    <a:lnTo>
                      <a:pt x="9988" y="3708"/>
                    </a:lnTo>
                    <a:lnTo>
                      <a:pt x="10406" y="2990"/>
                    </a:lnTo>
                    <a:lnTo>
                      <a:pt x="12201" y="0"/>
                    </a:lnTo>
                  </a:path>
                </a:pathLst>
              </a:custGeom>
              <a:noFill/>
              <a:ln w="6350" cap="rnd">
                <a:solidFill>
                  <a:schemeClr val="bg1">
                    <a:alpha val="80000"/>
                  </a:schemeClr>
                </a:solidFill>
                <a:prstDash val="solid"/>
                <a:round/>
              </a:ln>
            </p:spPr>
            <p:txBody>
              <a:bodyPr rtlCol="0" anchor="ctr"/>
              <a:lstStyle/>
              <a:p>
                <a:endParaRPr lang="en-GB"/>
              </a:p>
            </p:txBody>
          </p:sp>
          <p:sp>
            <p:nvSpPr>
              <p:cNvPr id="7001" name="Vrije vorm: vorm 7000">
                <a:extLst>
                  <a:ext uri="{FF2B5EF4-FFF2-40B4-BE49-F238E27FC236}">
                    <a16:creationId xmlns:a16="http://schemas.microsoft.com/office/drawing/2014/main" id="{BB661AE8-D88C-43A0-8605-E7A0D9DA7BF8}"/>
                  </a:ext>
                </a:extLst>
              </p:cNvPr>
              <p:cNvSpPr/>
              <p:nvPr/>
            </p:nvSpPr>
            <p:spPr>
              <a:xfrm>
                <a:off x="6821033" y="1925414"/>
                <a:ext cx="2152" cy="1375"/>
              </a:xfrm>
              <a:custGeom>
                <a:avLst/>
                <a:gdLst>
                  <a:gd name="connsiteX0" fmla="*/ 0 w 2152"/>
                  <a:gd name="connsiteY0" fmla="*/ 0 h 1375"/>
                  <a:gd name="connsiteX1" fmla="*/ 2153 w 2152"/>
                  <a:gd name="connsiteY1" fmla="*/ 1376 h 1375"/>
                </a:gdLst>
                <a:ahLst/>
                <a:cxnLst>
                  <a:cxn ang="0">
                    <a:pos x="connsiteX0" y="connsiteY0"/>
                  </a:cxn>
                  <a:cxn ang="0">
                    <a:pos x="connsiteX1" y="connsiteY1"/>
                  </a:cxn>
                </a:cxnLst>
                <a:rect l="l" t="t" r="r" b="b"/>
                <a:pathLst>
                  <a:path w="2152" h="1375">
                    <a:moveTo>
                      <a:pt x="0" y="0"/>
                    </a:moveTo>
                    <a:lnTo>
                      <a:pt x="2153" y="1376"/>
                    </a:lnTo>
                  </a:path>
                </a:pathLst>
              </a:custGeom>
              <a:noFill/>
              <a:ln w="6350" cap="rnd">
                <a:solidFill>
                  <a:schemeClr val="bg1">
                    <a:alpha val="80000"/>
                  </a:schemeClr>
                </a:solidFill>
                <a:prstDash val="solid"/>
                <a:round/>
              </a:ln>
            </p:spPr>
            <p:txBody>
              <a:bodyPr rtlCol="0" anchor="ctr"/>
              <a:lstStyle/>
              <a:p>
                <a:endParaRPr lang="en-GB"/>
              </a:p>
            </p:txBody>
          </p:sp>
          <p:sp>
            <p:nvSpPr>
              <p:cNvPr id="7002" name="Vrije vorm: vorm 7001">
                <a:extLst>
                  <a:ext uri="{FF2B5EF4-FFF2-40B4-BE49-F238E27FC236}">
                    <a16:creationId xmlns:a16="http://schemas.microsoft.com/office/drawing/2014/main" id="{FDB6BDE5-0930-4835-9E7C-F338C2F36C15}"/>
                  </a:ext>
                </a:extLst>
              </p:cNvPr>
              <p:cNvSpPr/>
              <p:nvPr/>
            </p:nvSpPr>
            <p:spPr>
              <a:xfrm>
                <a:off x="6796751" y="1960401"/>
                <a:ext cx="7774" cy="2751"/>
              </a:xfrm>
              <a:custGeom>
                <a:avLst/>
                <a:gdLst>
                  <a:gd name="connsiteX0" fmla="*/ 7775 w 7774"/>
                  <a:gd name="connsiteY0" fmla="*/ 2751 h 2751"/>
                  <a:gd name="connsiteX1" fmla="*/ 1017 w 7774"/>
                  <a:gd name="connsiteY1" fmla="*/ 359 h 2751"/>
                  <a:gd name="connsiteX2" fmla="*/ 239 w 7774"/>
                  <a:gd name="connsiteY2" fmla="*/ 60 h 2751"/>
                  <a:gd name="connsiteX3" fmla="*/ 0 w 7774"/>
                  <a:gd name="connsiteY3" fmla="*/ 0 h 2751"/>
                </a:gdLst>
                <a:ahLst/>
                <a:cxnLst>
                  <a:cxn ang="0">
                    <a:pos x="connsiteX0" y="connsiteY0"/>
                  </a:cxn>
                  <a:cxn ang="0">
                    <a:pos x="connsiteX1" y="connsiteY1"/>
                  </a:cxn>
                  <a:cxn ang="0">
                    <a:pos x="connsiteX2" y="connsiteY2"/>
                  </a:cxn>
                  <a:cxn ang="0">
                    <a:pos x="connsiteX3" y="connsiteY3"/>
                  </a:cxn>
                </a:cxnLst>
                <a:rect l="l" t="t" r="r" b="b"/>
                <a:pathLst>
                  <a:path w="7774" h="2751">
                    <a:moveTo>
                      <a:pt x="7775" y="2751"/>
                    </a:moveTo>
                    <a:lnTo>
                      <a:pt x="1017" y="359"/>
                    </a:lnTo>
                    <a:lnTo>
                      <a:pt x="239" y="6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03" name="Vrije vorm: vorm 7002">
                <a:extLst>
                  <a:ext uri="{FF2B5EF4-FFF2-40B4-BE49-F238E27FC236}">
                    <a16:creationId xmlns:a16="http://schemas.microsoft.com/office/drawing/2014/main" id="{0BF58F4E-8BA6-4CF2-85C5-9BC7A02F7A38}"/>
                  </a:ext>
                </a:extLst>
              </p:cNvPr>
              <p:cNvSpPr/>
              <p:nvPr/>
            </p:nvSpPr>
            <p:spPr>
              <a:xfrm>
                <a:off x="6925696" y="1716806"/>
                <a:ext cx="12319" cy="6758"/>
              </a:xfrm>
              <a:custGeom>
                <a:avLst/>
                <a:gdLst>
                  <a:gd name="connsiteX0" fmla="*/ 12320 w 12319"/>
                  <a:gd name="connsiteY0" fmla="*/ 6758 h 6758"/>
                  <a:gd name="connsiteX1" fmla="*/ 11961 w 12319"/>
                  <a:gd name="connsiteY1" fmla="*/ 6579 h 6758"/>
                  <a:gd name="connsiteX2" fmla="*/ 8851 w 12319"/>
                  <a:gd name="connsiteY2" fmla="*/ 4844 h 6758"/>
                  <a:gd name="connsiteX3" fmla="*/ 5981 w 12319"/>
                  <a:gd name="connsiteY3" fmla="*/ 3289 h 6758"/>
                  <a:gd name="connsiteX4" fmla="*/ 5083 w 12319"/>
                  <a:gd name="connsiteY4" fmla="*/ 2811 h 6758"/>
                  <a:gd name="connsiteX5" fmla="*/ 3349 w 12319"/>
                  <a:gd name="connsiteY5" fmla="*/ 1854 h 6758"/>
                  <a:gd name="connsiteX6" fmla="*/ 2093 w 12319"/>
                  <a:gd name="connsiteY6" fmla="*/ 1136 h 6758"/>
                  <a:gd name="connsiteX7" fmla="*/ 0 w 12319"/>
                  <a:gd name="connsiteY7" fmla="*/ 0 h 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19" h="6758">
                    <a:moveTo>
                      <a:pt x="12320" y="6758"/>
                    </a:moveTo>
                    <a:lnTo>
                      <a:pt x="11961" y="6579"/>
                    </a:lnTo>
                    <a:lnTo>
                      <a:pt x="8851" y="4844"/>
                    </a:lnTo>
                    <a:lnTo>
                      <a:pt x="5981" y="3289"/>
                    </a:lnTo>
                    <a:lnTo>
                      <a:pt x="5083" y="2811"/>
                    </a:lnTo>
                    <a:lnTo>
                      <a:pt x="3349" y="1854"/>
                    </a:lnTo>
                    <a:lnTo>
                      <a:pt x="2093" y="113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04" name="Vrije vorm: vorm 7003">
                <a:extLst>
                  <a:ext uri="{FF2B5EF4-FFF2-40B4-BE49-F238E27FC236}">
                    <a16:creationId xmlns:a16="http://schemas.microsoft.com/office/drawing/2014/main" id="{BA570483-8276-4D9F-B2B3-63079A07CD88}"/>
                  </a:ext>
                </a:extLst>
              </p:cNvPr>
              <p:cNvSpPr/>
              <p:nvPr/>
            </p:nvSpPr>
            <p:spPr>
              <a:xfrm>
                <a:off x="6943937" y="1726914"/>
                <a:ext cx="2691" cy="1435"/>
              </a:xfrm>
              <a:custGeom>
                <a:avLst/>
                <a:gdLst>
                  <a:gd name="connsiteX0" fmla="*/ 2692 w 2691"/>
                  <a:gd name="connsiteY0" fmla="*/ 1435 h 1435"/>
                  <a:gd name="connsiteX1" fmla="*/ 718 w 2691"/>
                  <a:gd name="connsiteY1" fmla="*/ 359 h 1435"/>
                  <a:gd name="connsiteX2" fmla="*/ 0 w 2691"/>
                  <a:gd name="connsiteY2" fmla="*/ 0 h 1435"/>
                </a:gdLst>
                <a:ahLst/>
                <a:cxnLst>
                  <a:cxn ang="0">
                    <a:pos x="connsiteX0" y="connsiteY0"/>
                  </a:cxn>
                  <a:cxn ang="0">
                    <a:pos x="connsiteX1" y="connsiteY1"/>
                  </a:cxn>
                  <a:cxn ang="0">
                    <a:pos x="connsiteX2" y="connsiteY2"/>
                  </a:cxn>
                </a:cxnLst>
                <a:rect l="l" t="t" r="r" b="b"/>
                <a:pathLst>
                  <a:path w="2691" h="1435">
                    <a:moveTo>
                      <a:pt x="2692" y="1435"/>
                    </a:moveTo>
                    <a:lnTo>
                      <a:pt x="718" y="35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05" name="Vrije vorm: vorm 7004">
                <a:extLst>
                  <a:ext uri="{FF2B5EF4-FFF2-40B4-BE49-F238E27FC236}">
                    <a16:creationId xmlns:a16="http://schemas.microsoft.com/office/drawing/2014/main" id="{3BF2B4F0-F9DF-4685-84F5-2CA7C5B05BDC}"/>
                  </a:ext>
                </a:extLst>
              </p:cNvPr>
              <p:cNvSpPr/>
              <p:nvPr/>
            </p:nvSpPr>
            <p:spPr>
              <a:xfrm>
                <a:off x="6792804" y="1967040"/>
                <a:ext cx="15370" cy="10107"/>
              </a:xfrm>
              <a:custGeom>
                <a:avLst/>
                <a:gdLst>
                  <a:gd name="connsiteX0" fmla="*/ 0 w 15370"/>
                  <a:gd name="connsiteY0" fmla="*/ 0 h 10107"/>
                  <a:gd name="connsiteX1" fmla="*/ 9210 w 15370"/>
                  <a:gd name="connsiteY1" fmla="*/ 6040 h 10107"/>
                  <a:gd name="connsiteX2" fmla="*/ 9330 w 15370"/>
                  <a:gd name="connsiteY2" fmla="*/ 6100 h 10107"/>
                  <a:gd name="connsiteX3" fmla="*/ 15371 w 15370"/>
                  <a:gd name="connsiteY3" fmla="*/ 10107 h 10107"/>
                </a:gdLst>
                <a:ahLst/>
                <a:cxnLst>
                  <a:cxn ang="0">
                    <a:pos x="connsiteX0" y="connsiteY0"/>
                  </a:cxn>
                  <a:cxn ang="0">
                    <a:pos x="connsiteX1" y="connsiteY1"/>
                  </a:cxn>
                  <a:cxn ang="0">
                    <a:pos x="connsiteX2" y="connsiteY2"/>
                  </a:cxn>
                  <a:cxn ang="0">
                    <a:pos x="connsiteX3" y="connsiteY3"/>
                  </a:cxn>
                </a:cxnLst>
                <a:rect l="l" t="t" r="r" b="b"/>
                <a:pathLst>
                  <a:path w="15370" h="10107">
                    <a:moveTo>
                      <a:pt x="0" y="0"/>
                    </a:moveTo>
                    <a:lnTo>
                      <a:pt x="9210" y="6040"/>
                    </a:lnTo>
                    <a:lnTo>
                      <a:pt x="9330" y="6100"/>
                    </a:lnTo>
                    <a:lnTo>
                      <a:pt x="15371" y="10107"/>
                    </a:lnTo>
                  </a:path>
                </a:pathLst>
              </a:custGeom>
              <a:noFill/>
              <a:ln w="6350" cap="rnd">
                <a:solidFill>
                  <a:schemeClr val="bg1">
                    <a:alpha val="80000"/>
                  </a:schemeClr>
                </a:solidFill>
                <a:prstDash val="solid"/>
                <a:round/>
              </a:ln>
            </p:spPr>
            <p:txBody>
              <a:bodyPr rtlCol="0" anchor="ctr"/>
              <a:lstStyle/>
              <a:p>
                <a:endParaRPr lang="en-GB"/>
              </a:p>
            </p:txBody>
          </p:sp>
          <p:sp>
            <p:nvSpPr>
              <p:cNvPr id="7006" name="Vrije vorm: vorm 7005">
                <a:extLst>
                  <a:ext uri="{FF2B5EF4-FFF2-40B4-BE49-F238E27FC236}">
                    <a16:creationId xmlns:a16="http://schemas.microsoft.com/office/drawing/2014/main" id="{A118BB6F-AD82-4A6E-BD64-3C64D1DFFB61}"/>
                  </a:ext>
                </a:extLst>
              </p:cNvPr>
              <p:cNvSpPr/>
              <p:nvPr/>
            </p:nvSpPr>
            <p:spPr>
              <a:xfrm>
                <a:off x="6790890" y="1970269"/>
                <a:ext cx="15310" cy="10107"/>
              </a:xfrm>
              <a:custGeom>
                <a:avLst/>
                <a:gdLst>
                  <a:gd name="connsiteX0" fmla="*/ 15311 w 15310"/>
                  <a:gd name="connsiteY0" fmla="*/ 10107 h 10107"/>
                  <a:gd name="connsiteX1" fmla="*/ 5981 w 15310"/>
                  <a:gd name="connsiteY1" fmla="*/ 3947 h 10107"/>
                  <a:gd name="connsiteX2" fmla="*/ 0 w 15310"/>
                  <a:gd name="connsiteY2" fmla="*/ 0 h 10107"/>
                </a:gdLst>
                <a:ahLst/>
                <a:cxnLst>
                  <a:cxn ang="0">
                    <a:pos x="connsiteX0" y="connsiteY0"/>
                  </a:cxn>
                  <a:cxn ang="0">
                    <a:pos x="connsiteX1" y="connsiteY1"/>
                  </a:cxn>
                  <a:cxn ang="0">
                    <a:pos x="connsiteX2" y="connsiteY2"/>
                  </a:cxn>
                </a:cxnLst>
                <a:rect l="l" t="t" r="r" b="b"/>
                <a:pathLst>
                  <a:path w="15310" h="10107">
                    <a:moveTo>
                      <a:pt x="15311" y="10107"/>
                    </a:moveTo>
                    <a:lnTo>
                      <a:pt x="5981" y="394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07" name="Vrije vorm: vorm 7006">
                <a:extLst>
                  <a:ext uri="{FF2B5EF4-FFF2-40B4-BE49-F238E27FC236}">
                    <a16:creationId xmlns:a16="http://schemas.microsoft.com/office/drawing/2014/main" id="{47965A9A-D1AD-49AC-8B39-10FDBF781166}"/>
                  </a:ext>
                </a:extLst>
              </p:cNvPr>
              <p:cNvSpPr/>
              <p:nvPr/>
            </p:nvSpPr>
            <p:spPr>
              <a:xfrm>
                <a:off x="6924739" y="1717225"/>
                <a:ext cx="3050" cy="717"/>
              </a:xfrm>
              <a:custGeom>
                <a:avLst/>
                <a:gdLst>
                  <a:gd name="connsiteX0" fmla="*/ 3050 w 3050"/>
                  <a:gd name="connsiteY0" fmla="*/ 718 h 717"/>
                  <a:gd name="connsiteX1" fmla="*/ 0 w 3050"/>
                  <a:gd name="connsiteY1" fmla="*/ 0 h 717"/>
                </a:gdLst>
                <a:ahLst/>
                <a:cxnLst>
                  <a:cxn ang="0">
                    <a:pos x="connsiteX0" y="connsiteY0"/>
                  </a:cxn>
                  <a:cxn ang="0">
                    <a:pos x="connsiteX1" y="connsiteY1"/>
                  </a:cxn>
                </a:cxnLst>
                <a:rect l="l" t="t" r="r" b="b"/>
                <a:pathLst>
                  <a:path w="3050" h="717">
                    <a:moveTo>
                      <a:pt x="3050" y="718"/>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08" name="Vrije vorm: vorm 7007">
                <a:extLst>
                  <a:ext uri="{FF2B5EF4-FFF2-40B4-BE49-F238E27FC236}">
                    <a16:creationId xmlns:a16="http://schemas.microsoft.com/office/drawing/2014/main" id="{1A917BBE-FFBF-4F01-B04D-2A8FCDD990B7}"/>
                  </a:ext>
                </a:extLst>
              </p:cNvPr>
              <p:cNvSpPr/>
              <p:nvPr/>
            </p:nvSpPr>
            <p:spPr>
              <a:xfrm>
                <a:off x="6771453" y="1961418"/>
                <a:ext cx="4246" cy="5562"/>
              </a:xfrm>
              <a:custGeom>
                <a:avLst/>
                <a:gdLst>
                  <a:gd name="connsiteX0" fmla="*/ 4246 w 4246"/>
                  <a:gd name="connsiteY0" fmla="*/ 0 h 5562"/>
                  <a:gd name="connsiteX1" fmla="*/ 4007 w 4246"/>
                  <a:gd name="connsiteY1" fmla="*/ 299 h 5562"/>
                  <a:gd name="connsiteX2" fmla="*/ 3947 w 4246"/>
                  <a:gd name="connsiteY2" fmla="*/ 359 h 5562"/>
                  <a:gd name="connsiteX3" fmla="*/ 3828 w 4246"/>
                  <a:gd name="connsiteY3" fmla="*/ 538 h 5562"/>
                  <a:gd name="connsiteX4" fmla="*/ 3229 w 4246"/>
                  <a:gd name="connsiteY4" fmla="*/ 1316 h 5562"/>
                  <a:gd name="connsiteX5" fmla="*/ 3170 w 4246"/>
                  <a:gd name="connsiteY5" fmla="*/ 1376 h 5562"/>
                  <a:gd name="connsiteX6" fmla="*/ 2153 w 4246"/>
                  <a:gd name="connsiteY6" fmla="*/ 2751 h 5562"/>
                  <a:gd name="connsiteX7" fmla="*/ 0 w 4246"/>
                  <a:gd name="connsiteY7" fmla="*/ 5562 h 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46" h="5562">
                    <a:moveTo>
                      <a:pt x="4246" y="0"/>
                    </a:moveTo>
                    <a:lnTo>
                      <a:pt x="4007" y="299"/>
                    </a:lnTo>
                    <a:lnTo>
                      <a:pt x="3947" y="359"/>
                    </a:lnTo>
                    <a:lnTo>
                      <a:pt x="3828" y="538"/>
                    </a:lnTo>
                    <a:lnTo>
                      <a:pt x="3229" y="1316"/>
                    </a:lnTo>
                    <a:lnTo>
                      <a:pt x="3170" y="1376"/>
                    </a:lnTo>
                    <a:lnTo>
                      <a:pt x="2153" y="2751"/>
                    </a:lnTo>
                    <a:lnTo>
                      <a:pt x="0" y="5562"/>
                    </a:lnTo>
                  </a:path>
                </a:pathLst>
              </a:custGeom>
              <a:noFill/>
              <a:ln w="6350" cap="rnd">
                <a:solidFill>
                  <a:schemeClr val="bg1">
                    <a:alpha val="80000"/>
                  </a:schemeClr>
                </a:solidFill>
                <a:prstDash val="solid"/>
                <a:round/>
              </a:ln>
            </p:spPr>
            <p:txBody>
              <a:bodyPr rtlCol="0" anchor="ctr"/>
              <a:lstStyle/>
              <a:p>
                <a:endParaRPr lang="en-GB"/>
              </a:p>
            </p:txBody>
          </p:sp>
          <p:sp>
            <p:nvSpPr>
              <p:cNvPr id="7009" name="Vrije vorm: vorm 7008">
                <a:extLst>
                  <a:ext uri="{FF2B5EF4-FFF2-40B4-BE49-F238E27FC236}">
                    <a16:creationId xmlns:a16="http://schemas.microsoft.com/office/drawing/2014/main" id="{9379E942-ED9D-4F4E-8E67-7DE35B883B07}"/>
                  </a:ext>
                </a:extLst>
              </p:cNvPr>
              <p:cNvSpPr/>
              <p:nvPr/>
            </p:nvSpPr>
            <p:spPr>
              <a:xfrm>
                <a:off x="6769300" y="1957829"/>
                <a:ext cx="896" cy="1196"/>
              </a:xfrm>
              <a:custGeom>
                <a:avLst/>
                <a:gdLst>
                  <a:gd name="connsiteX0" fmla="*/ 0 w 896"/>
                  <a:gd name="connsiteY0" fmla="*/ 1196 h 1196"/>
                  <a:gd name="connsiteX1" fmla="*/ 837 w 896"/>
                  <a:gd name="connsiteY1" fmla="*/ 60 h 1196"/>
                  <a:gd name="connsiteX2" fmla="*/ 897 w 896"/>
                  <a:gd name="connsiteY2" fmla="*/ 0 h 1196"/>
                </a:gdLst>
                <a:ahLst/>
                <a:cxnLst>
                  <a:cxn ang="0">
                    <a:pos x="connsiteX0" y="connsiteY0"/>
                  </a:cxn>
                  <a:cxn ang="0">
                    <a:pos x="connsiteX1" y="connsiteY1"/>
                  </a:cxn>
                  <a:cxn ang="0">
                    <a:pos x="connsiteX2" y="connsiteY2"/>
                  </a:cxn>
                </a:cxnLst>
                <a:rect l="l" t="t" r="r" b="b"/>
                <a:pathLst>
                  <a:path w="896" h="1196">
                    <a:moveTo>
                      <a:pt x="0" y="1196"/>
                    </a:moveTo>
                    <a:lnTo>
                      <a:pt x="837" y="60"/>
                    </a:lnTo>
                    <a:lnTo>
                      <a:pt x="897" y="0"/>
                    </a:lnTo>
                  </a:path>
                </a:pathLst>
              </a:custGeom>
              <a:noFill/>
              <a:ln w="6350" cap="rnd">
                <a:solidFill>
                  <a:schemeClr val="bg1">
                    <a:alpha val="80000"/>
                  </a:schemeClr>
                </a:solidFill>
                <a:prstDash val="solid"/>
                <a:round/>
              </a:ln>
            </p:spPr>
            <p:txBody>
              <a:bodyPr rtlCol="0" anchor="ctr"/>
              <a:lstStyle/>
              <a:p>
                <a:endParaRPr lang="en-GB"/>
              </a:p>
            </p:txBody>
          </p:sp>
          <p:sp>
            <p:nvSpPr>
              <p:cNvPr id="7010" name="Vrije vorm: vorm 7009">
                <a:extLst>
                  <a:ext uri="{FF2B5EF4-FFF2-40B4-BE49-F238E27FC236}">
                    <a16:creationId xmlns:a16="http://schemas.microsoft.com/office/drawing/2014/main" id="{1CB62896-582F-4352-A042-BD1DDC63C104}"/>
                  </a:ext>
                </a:extLst>
              </p:cNvPr>
              <p:cNvSpPr/>
              <p:nvPr/>
            </p:nvSpPr>
            <p:spPr>
              <a:xfrm>
                <a:off x="6786823" y="1915486"/>
                <a:ext cx="5083" cy="8552"/>
              </a:xfrm>
              <a:custGeom>
                <a:avLst/>
                <a:gdLst>
                  <a:gd name="connsiteX0" fmla="*/ 5083 w 5083"/>
                  <a:gd name="connsiteY0" fmla="*/ 0 h 8552"/>
                  <a:gd name="connsiteX1" fmla="*/ 3708 w 5083"/>
                  <a:gd name="connsiteY1" fmla="*/ 2332 h 8552"/>
                  <a:gd name="connsiteX2" fmla="*/ 3588 w 5083"/>
                  <a:gd name="connsiteY2" fmla="*/ 2512 h 8552"/>
                  <a:gd name="connsiteX3" fmla="*/ 2871 w 5083"/>
                  <a:gd name="connsiteY3" fmla="*/ 3708 h 8552"/>
                  <a:gd name="connsiteX4" fmla="*/ 1914 w 5083"/>
                  <a:gd name="connsiteY4" fmla="*/ 5323 h 8552"/>
                  <a:gd name="connsiteX5" fmla="*/ 0 w 5083"/>
                  <a:gd name="connsiteY5" fmla="*/ 8552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3" h="8552">
                    <a:moveTo>
                      <a:pt x="5083" y="0"/>
                    </a:moveTo>
                    <a:lnTo>
                      <a:pt x="3708" y="2332"/>
                    </a:lnTo>
                    <a:lnTo>
                      <a:pt x="3588" y="2512"/>
                    </a:lnTo>
                    <a:lnTo>
                      <a:pt x="2871" y="3708"/>
                    </a:lnTo>
                    <a:lnTo>
                      <a:pt x="1914" y="5323"/>
                    </a:lnTo>
                    <a:lnTo>
                      <a:pt x="0" y="8552"/>
                    </a:lnTo>
                  </a:path>
                </a:pathLst>
              </a:custGeom>
              <a:noFill/>
              <a:ln w="6350" cap="rnd">
                <a:solidFill>
                  <a:schemeClr val="bg1">
                    <a:alpha val="80000"/>
                  </a:schemeClr>
                </a:solidFill>
                <a:prstDash val="solid"/>
                <a:round/>
              </a:ln>
            </p:spPr>
            <p:txBody>
              <a:bodyPr rtlCol="0" anchor="ctr"/>
              <a:lstStyle/>
              <a:p>
                <a:endParaRPr lang="en-GB"/>
              </a:p>
            </p:txBody>
          </p:sp>
          <p:sp>
            <p:nvSpPr>
              <p:cNvPr id="7011" name="Vrije vorm: vorm 7010">
                <a:extLst>
                  <a:ext uri="{FF2B5EF4-FFF2-40B4-BE49-F238E27FC236}">
                    <a16:creationId xmlns:a16="http://schemas.microsoft.com/office/drawing/2014/main" id="{D118F4B4-42FB-4BE7-8180-2A0C8524FBEB}"/>
                  </a:ext>
                </a:extLst>
              </p:cNvPr>
              <p:cNvSpPr/>
              <p:nvPr/>
            </p:nvSpPr>
            <p:spPr>
              <a:xfrm>
                <a:off x="6858473" y="1798323"/>
                <a:ext cx="1016" cy="1614"/>
              </a:xfrm>
              <a:custGeom>
                <a:avLst/>
                <a:gdLst>
                  <a:gd name="connsiteX0" fmla="*/ 0 w 1016"/>
                  <a:gd name="connsiteY0" fmla="*/ 1615 h 1614"/>
                  <a:gd name="connsiteX1" fmla="*/ 956 w 1016"/>
                  <a:gd name="connsiteY1" fmla="*/ 60 h 1614"/>
                  <a:gd name="connsiteX2" fmla="*/ 1016 w 1016"/>
                  <a:gd name="connsiteY2" fmla="*/ 0 h 1614"/>
                </a:gdLst>
                <a:ahLst/>
                <a:cxnLst>
                  <a:cxn ang="0">
                    <a:pos x="connsiteX0" y="connsiteY0"/>
                  </a:cxn>
                  <a:cxn ang="0">
                    <a:pos x="connsiteX1" y="connsiteY1"/>
                  </a:cxn>
                  <a:cxn ang="0">
                    <a:pos x="connsiteX2" y="connsiteY2"/>
                  </a:cxn>
                </a:cxnLst>
                <a:rect l="l" t="t" r="r" b="b"/>
                <a:pathLst>
                  <a:path w="1016" h="1614">
                    <a:moveTo>
                      <a:pt x="0" y="1615"/>
                    </a:moveTo>
                    <a:lnTo>
                      <a:pt x="956" y="60"/>
                    </a:lnTo>
                    <a:lnTo>
                      <a:pt x="1016" y="0"/>
                    </a:lnTo>
                  </a:path>
                </a:pathLst>
              </a:custGeom>
              <a:noFill/>
              <a:ln w="6350" cap="rnd">
                <a:solidFill>
                  <a:schemeClr val="bg1">
                    <a:alpha val="80000"/>
                  </a:schemeClr>
                </a:solidFill>
                <a:prstDash val="solid"/>
                <a:round/>
              </a:ln>
            </p:spPr>
            <p:txBody>
              <a:bodyPr rtlCol="0" anchor="ctr"/>
              <a:lstStyle/>
              <a:p>
                <a:endParaRPr lang="en-GB"/>
              </a:p>
            </p:txBody>
          </p:sp>
          <p:sp>
            <p:nvSpPr>
              <p:cNvPr id="7012" name="Vrije vorm: vorm 7011">
                <a:extLst>
                  <a:ext uri="{FF2B5EF4-FFF2-40B4-BE49-F238E27FC236}">
                    <a16:creationId xmlns:a16="http://schemas.microsoft.com/office/drawing/2014/main" id="{66DD7285-7D18-4405-BF63-29CCC2E4F6FA}"/>
                  </a:ext>
                </a:extLst>
              </p:cNvPr>
              <p:cNvSpPr/>
              <p:nvPr/>
            </p:nvSpPr>
            <p:spPr>
              <a:xfrm>
                <a:off x="6863735" y="1789472"/>
                <a:ext cx="1256" cy="1794"/>
              </a:xfrm>
              <a:custGeom>
                <a:avLst/>
                <a:gdLst>
                  <a:gd name="connsiteX0" fmla="*/ 1256 w 1256"/>
                  <a:gd name="connsiteY0" fmla="*/ 0 h 1794"/>
                  <a:gd name="connsiteX1" fmla="*/ 0 w 1256"/>
                  <a:gd name="connsiteY1" fmla="*/ 1794 h 1794"/>
                </a:gdLst>
                <a:ahLst/>
                <a:cxnLst>
                  <a:cxn ang="0">
                    <a:pos x="connsiteX0" y="connsiteY0"/>
                  </a:cxn>
                  <a:cxn ang="0">
                    <a:pos x="connsiteX1" y="connsiteY1"/>
                  </a:cxn>
                </a:cxnLst>
                <a:rect l="l" t="t" r="r" b="b"/>
                <a:pathLst>
                  <a:path w="1256" h="1794">
                    <a:moveTo>
                      <a:pt x="1256" y="0"/>
                    </a:moveTo>
                    <a:lnTo>
                      <a:pt x="0" y="1794"/>
                    </a:lnTo>
                  </a:path>
                </a:pathLst>
              </a:custGeom>
              <a:noFill/>
              <a:ln w="6350" cap="rnd">
                <a:solidFill>
                  <a:schemeClr val="bg1">
                    <a:alpha val="80000"/>
                  </a:schemeClr>
                </a:solidFill>
                <a:prstDash val="solid"/>
                <a:round/>
              </a:ln>
            </p:spPr>
            <p:txBody>
              <a:bodyPr rtlCol="0" anchor="ctr"/>
              <a:lstStyle/>
              <a:p>
                <a:endParaRPr lang="en-GB"/>
              </a:p>
            </p:txBody>
          </p:sp>
          <p:sp>
            <p:nvSpPr>
              <p:cNvPr id="7013" name="Vrije vorm: vorm 7012">
                <a:extLst>
                  <a:ext uri="{FF2B5EF4-FFF2-40B4-BE49-F238E27FC236}">
                    <a16:creationId xmlns:a16="http://schemas.microsoft.com/office/drawing/2014/main" id="{88610EAD-4FB0-425E-9400-CC94254A07F1}"/>
                  </a:ext>
                </a:extLst>
              </p:cNvPr>
              <p:cNvSpPr/>
              <p:nvPr/>
            </p:nvSpPr>
            <p:spPr>
              <a:xfrm>
                <a:off x="6859190" y="1798383"/>
                <a:ext cx="238" cy="179"/>
              </a:xfrm>
              <a:custGeom>
                <a:avLst/>
                <a:gdLst>
                  <a:gd name="connsiteX0" fmla="*/ 0 w 238"/>
                  <a:gd name="connsiteY0" fmla="*/ 179 h 179"/>
                  <a:gd name="connsiteX1" fmla="*/ 239 w 238"/>
                  <a:gd name="connsiteY1" fmla="*/ 0 h 179"/>
                </a:gdLst>
                <a:ahLst/>
                <a:cxnLst>
                  <a:cxn ang="0">
                    <a:pos x="connsiteX0" y="connsiteY0"/>
                  </a:cxn>
                  <a:cxn ang="0">
                    <a:pos x="connsiteX1" y="connsiteY1"/>
                  </a:cxn>
                </a:cxnLst>
                <a:rect l="l" t="t" r="r" b="b"/>
                <a:pathLst>
                  <a:path w="238" h="179">
                    <a:moveTo>
                      <a:pt x="0" y="179"/>
                    </a:moveTo>
                    <a:lnTo>
                      <a:pt x="239" y="0"/>
                    </a:lnTo>
                  </a:path>
                </a:pathLst>
              </a:custGeom>
              <a:noFill/>
              <a:ln w="6350" cap="rnd">
                <a:solidFill>
                  <a:schemeClr val="bg1">
                    <a:alpha val="80000"/>
                  </a:schemeClr>
                </a:solidFill>
                <a:prstDash val="solid"/>
                <a:round/>
              </a:ln>
            </p:spPr>
            <p:txBody>
              <a:bodyPr rtlCol="0" anchor="ctr"/>
              <a:lstStyle/>
              <a:p>
                <a:endParaRPr lang="en-GB"/>
              </a:p>
            </p:txBody>
          </p:sp>
          <p:sp>
            <p:nvSpPr>
              <p:cNvPr id="7014" name="Vrije vorm: vorm 7013">
                <a:extLst>
                  <a:ext uri="{FF2B5EF4-FFF2-40B4-BE49-F238E27FC236}">
                    <a16:creationId xmlns:a16="http://schemas.microsoft.com/office/drawing/2014/main" id="{5E658512-BF56-4F45-81A4-D16EDE730929}"/>
                  </a:ext>
                </a:extLst>
              </p:cNvPr>
              <p:cNvSpPr/>
              <p:nvPr/>
            </p:nvSpPr>
            <p:spPr>
              <a:xfrm>
                <a:off x="6766967" y="1956514"/>
                <a:ext cx="1973" cy="1495"/>
              </a:xfrm>
              <a:custGeom>
                <a:avLst/>
                <a:gdLst>
                  <a:gd name="connsiteX0" fmla="*/ 0 w 1973"/>
                  <a:gd name="connsiteY0" fmla="*/ 1495 h 1495"/>
                  <a:gd name="connsiteX1" fmla="*/ 179 w 1973"/>
                  <a:gd name="connsiteY1" fmla="*/ 1376 h 1495"/>
                  <a:gd name="connsiteX2" fmla="*/ 299 w 1973"/>
                  <a:gd name="connsiteY2" fmla="*/ 1316 h 1495"/>
                  <a:gd name="connsiteX3" fmla="*/ 419 w 1973"/>
                  <a:gd name="connsiteY3" fmla="*/ 1196 h 1495"/>
                  <a:gd name="connsiteX4" fmla="*/ 1974 w 1973"/>
                  <a:gd name="connsiteY4" fmla="*/ 0 h 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 h="1495">
                    <a:moveTo>
                      <a:pt x="0" y="1495"/>
                    </a:moveTo>
                    <a:lnTo>
                      <a:pt x="179" y="1376"/>
                    </a:lnTo>
                    <a:lnTo>
                      <a:pt x="299" y="1316"/>
                    </a:lnTo>
                    <a:lnTo>
                      <a:pt x="419" y="1196"/>
                    </a:lnTo>
                    <a:lnTo>
                      <a:pt x="1974" y="0"/>
                    </a:lnTo>
                  </a:path>
                </a:pathLst>
              </a:custGeom>
              <a:noFill/>
              <a:ln w="6350" cap="rnd">
                <a:solidFill>
                  <a:schemeClr val="bg1">
                    <a:alpha val="80000"/>
                  </a:schemeClr>
                </a:solidFill>
                <a:prstDash val="solid"/>
                <a:round/>
              </a:ln>
            </p:spPr>
            <p:txBody>
              <a:bodyPr rtlCol="0" anchor="ctr"/>
              <a:lstStyle/>
              <a:p>
                <a:endParaRPr lang="en-GB"/>
              </a:p>
            </p:txBody>
          </p:sp>
          <p:sp>
            <p:nvSpPr>
              <p:cNvPr id="7015" name="Vrije vorm: vorm 7014">
                <a:extLst>
                  <a:ext uri="{FF2B5EF4-FFF2-40B4-BE49-F238E27FC236}">
                    <a16:creationId xmlns:a16="http://schemas.microsoft.com/office/drawing/2014/main" id="{3083FD2E-9423-4EED-8C3C-B88751D3FC65}"/>
                  </a:ext>
                </a:extLst>
              </p:cNvPr>
              <p:cNvSpPr/>
              <p:nvPr/>
            </p:nvSpPr>
            <p:spPr>
              <a:xfrm>
                <a:off x="6783474" y="1912735"/>
                <a:ext cx="4066" cy="6937"/>
              </a:xfrm>
              <a:custGeom>
                <a:avLst/>
                <a:gdLst>
                  <a:gd name="connsiteX0" fmla="*/ 0 w 4066"/>
                  <a:gd name="connsiteY0" fmla="*/ 6938 h 6937"/>
                  <a:gd name="connsiteX1" fmla="*/ 778 w 4066"/>
                  <a:gd name="connsiteY1" fmla="*/ 5622 h 6937"/>
                  <a:gd name="connsiteX2" fmla="*/ 4067 w 4066"/>
                  <a:gd name="connsiteY2" fmla="*/ 0 h 6937"/>
                </a:gdLst>
                <a:ahLst/>
                <a:cxnLst>
                  <a:cxn ang="0">
                    <a:pos x="connsiteX0" y="connsiteY0"/>
                  </a:cxn>
                  <a:cxn ang="0">
                    <a:pos x="connsiteX1" y="connsiteY1"/>
                  </a:cxn>
                  <a:cxn ang="0">
                    <a:pos x="connsiteX2" y="connsiteY2"/>
                  </a:cxn>
                </a:cxnLst>
                <a:rect l="l" t="t" r="r" b="b"/>
                <a:pathLst>
                  <a:path w="4066" h="6937">
                    <a:moveTo>
                      <a:pt x="0" y="6938"/>
                    </a:moveTo>
                    <a:lnTo>
                      <a:pt x="778" y="5622"/>
                    </a:lnTo>
                    <a:lnTo>
                      <a:pt x="4067" y="0"/>
                    </a:lnTo>
                  </a:path>
                </a:pathLst>
              </a:custGeom>
              <a:noFill/>
              <a:ln w="6350" cap="rnd">
                <a:solidFill>
                  <a:schemeClr val="bg1">
                    <a:alpha val="80000"/>
                  </a:schemeClr>
                </a:solidFill>
                <a:prstDash val="solid"/>
                <a:round/>
              </a:ln>
            </p:spPr>
            <p:txBody>
              <a:bodyPr rtlCol="0" anchor="ctr"/>
              <a:lstStyle/>
              <a:p>
                <a:endParaRPr lang="en-GB"/>
              </a:p>
            </p:txBody>
          </p:sp>
          <p:sp>
            <p:nvSpPr>
              <p:cNvPr id="7016" name="Vrije vorm: vorm 7015">
                <a:extLst>
                  <a:ext uri="{FF2B5EF4-FFF2-40B4-BE49-F238E27FC236}">
                    <a16:creationId xmlns:a16="http://schemas.microsoft.com/office/drawing/2014/main" id="{A221659C-22A5-45AC-A68A-A5F371F7BAF2}"/>
                  </a:ext>
                </a:extLst>
              </p:cNvPr>
              <p:cNvSpPr/>
              <p:nvPr/>
            </p:nvSpPr>
            <p:spPr>
              <a:xfrm>
                <a:off x="6798366" y="1878166"/>
                <a:ext cx="2631" cy="5681"/>
              </a:xfrm>
              <a:custGeom>
                <a:avLst/>
                <a:gdLst>
                  <a:gd name="connsiteX0" fmla="*/ 0 w 2631"/>
                  <a:gd name="connsiteY0" fmla="*/ 5682 h 5681"/>
                  <a:gd name="connsiteX1" fmla="*/ 120 w 2631"/>
                  <a:gd name="connsiteY1" fmla="*/ 5442 h 5681"/>
                  <a:gd name="connsiteX2" fmla="*/ 120 w 2631"/>
                  <a:gd name="connsiteY2" fmla="*/ 5383 h 5681"/>
                  <a:gd name="connsiteX3" fmla="*/ 179 w 2631"/>
                  <a:gd name="connsiteY3" fmla="*/ 5263 h 5681"/>
                  <a:gd name="connsiteX4" fmla="*/ 299 w 2631"/>
                  <a:gd name="connsiteY4" fmla="*/ 5084 h 5681"/>
                  <a:gd name="connsiteX5" fmla="*/ 479 w 2631"/>
                  <a:gd name="connsiteY5" fmla="*/ 4665 h 5681"/>
                  <a:gd name="connsiteX6" fmla="*/ 538 w 2631"/>
                  <a:gd name="connsiteY6" fmla="*/ 4486 h 5681"/>
                  <a:gd name="connsiteX7" fmla="*/ 1375 w 2631"/>
                  <a:gd name="connsiteY7" fmla="*/ 2751 h 5681"/>
                  <a:gd name="connsiteX8" fmla="*/ 1495 w 2631"/>
                  <a:gd name="connsiteY8" fmla="*/ 2452 h 5681"/>
                  <a:gd name="connsiteX9" fmla="*/ 1555 w 2631"/>
                  <a:gd name="connsiteY9" fmla="*/ 2273 h 5681"/>
                  <a:gd name="connsiteX10" fmla="*/ 2333 w 2631"/>
                  <a:gd name="connsiteY10" fmla="*/ 658 h 5681"/>
                  <a:gd name="connsiteX11" fmla="*/ 2632 w 2631"/>
                  <a:gd name="connsiteY11" fmla="*/ 0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1" h="5681">
                    <a:moveTo>
                      <a:pt x="0" y="5682"/>
                    </a:moveTo>
                    <a:lnTo>
                      <a:pt x="120" y="5442"/>
                    </a:lnTo>
                    <a:lnTo>
                      <a:pt x="120" y="5383"/>
                    </a:lnTo>
                    <a:lnTo>
                      <a:pt x="179" y="5263"/>
                    </a:lnTo>
                    <a:lnTo>
                      <a:pt x="299" y="5084"/>
                    </a:lnTo>
                    <a:lnTo>
                      <a:pt x="479" y="4665"/>
                    </a:lnTo>
                    <a:lnTo>
                      <a:pt x="538" y="4486"/>
                    </a:lnTo>
                    <a:lnTo>
                      <a:pt x="1375" y="2751"/>
                    </a:lnTo>
                    <a:lnTo>
                      <a:pt x="1495" y="2452"/>
                    </a:lnTo>
                    <a:lnTo>
                      <a:pt x="1555" y="2273"/>
                    </a:lnTo>
                    <a:lnTo>
                      <a:pt x="2333" y="658"/>
                    </a:lnTo>
                    <a:lnTo>
                      <a:pt x="2632" y="0"/>
                    </a:lnTo>
                  </a:path>
                </a:pathLst>
              </a:custGeom>
              <a:noFill/>
              <a:ln w="6350" cap="rnd">
                <a:solidFill>
                  <a:schemeClr val="bg1">
                    <a:alpha val="80000"/>
                  </a:schemeClr>
                </a:solidFill>
                <a:prstDash val="solid"/>
                <a:round/>
              </a:ln>
            </p:spPr>
            <p:txBody>
              <a:bodyPr rtlCol="0" anchor="ctr"/>
              <a:lstStyle/>
              <a:p>
                <a:endParaRPr lang="en-GB"/>
              </a:p>
            </p:txBody>
          </p:sp>
          <p:sp>
            <p:nvSpPr>
              <p:cNvPr id="7017" name="Vrije vorm: vorm 7016">
                <a:extLst>
                  <a:ext uri="{FF2B5EF4-FFF2-40B4-BE49-F238E27FC236}">
                    <a16:creationId xmlns:a16="http://schemas.microsoft.com/office/drawing/2014/main" id="{29847311-8940-44EC-AD3A-FA9F555CE6CF}"/>
                  </a:ext>
                </a:extLst>
              </p:cNvPr>
              <p:cNvSpPr/>
              <p:nvPr/>
            </p:nvSpPr>
            <p:spPr>
              <a:xfrm>
                <a:off x="6810387" y="1858011"/>
                <a:ext cx="2152" cy="6040"/>
              </a:xfrm>
              <a:custGeom>
                <a:avLst/>
                <a:gdLst>
                  <a:gd name="connsiteX0" fmla="*/ 0 w 2152"/>
                  <a:gd name="connsiteY0" fmla="*/ 6040 h 6040"/>
                  <a:gd name="connsiteX1" fmla="*/ 1017 w 2152"/>
                  <a:gd name="connsiteY1" fmla="*/ 3230 h 6040"/>
                  <a:gd name="connsiteX2" fmla="*/ 1017 w 2152"/>
                  <a:gd name="connsiteY2" fmla="*/ 3170 h 6040"/>
                  <a:gd name="connsiteX3" fmla="*/ 1256 w 2152"/>
                  <a:gd name="connsiteY3" fmla="*/ 2512 h 6040"/>
                  <a:gd name="connsiteX4" fmla="*/ 1555 w 2152"/>
                  <a:gd name="connsiteY4" fmla="*/ 1615 h 6040"/>
                  <a:gd name="connsiteX5" fmla="*/ 1555 w 2152"/>
                  <a:gd name="connsiteY5" fmla="*/ 1615 h 6040"/>
                  <a:gd name="connsiteX6" fmla="*/ 2153 w 2152"/>
                  <a:gd name="connsiteY6" fmla="*/ 0 h 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2" h="6040">
                    <a:moveTo>
                      <a:pt x="0" y="6040"/>
                    </a:moveTo>
                    <a:lnTo>
                      <a:pt x="1017" y="3230"/>
                    </a:lnTo>
                    <a:lnTo>
                      <a:pt x="1017" y="3170"/>
                    </a:lnTo>
                    <a:lnTo>
                      <a:pt x="1256" y="2512"/>
                    </a:lnTo>
                    <a:lnTo>
                      <a:pt x="1555" y="1615"/>
                    </a:lnTo>
                    <a:lnTo>
                      <a:pt x="1555" y="1615"/>
                    </a:lnTo>
                    <a:lnTo>
                      <a:pt x="2153" y="0"/>
                    </a:lnTo>
                  </a:path>
                </a:pathLst>
              </a:custGeom>
              <a:noFill/>
              <a:ln w="6350" cap="rnd">
                <a:solidFill>
                  <a:schemeClr val="bg1">
                    <a:alpha val="80000"/>
                  </a:schemeClr>
                </a:solidFill>
                <a:prstDash val="solid"/>
                <a:round/>
              </a:ln>
            </p:spPr>
            <p:txBody>
              <a:bodyPr rtlCol="0" anchor="ctr"/>
              <a:lstStyle/>
              <a:p>
                <a:endParaRPr lang="en-GB"/>
              </a:p>
            </p:txBody>
          </p:sp>
          <p:sp>
            <p:nvSpPr>
              <p:cNvPr id="7018" name="Vrije vorm: vorm 7017">
                <a:extLst>
                  <a:ext uri="{FF2B5EF4-FFF2-40B4-BE49-F238E27FC236}">
                    <a16:creationId xmlns:a16="http://schemas.microsoft.com/office/drawing/2014/main" id="{2E0E5F0A-1C6A-4B51-A9FB-21A5F708089C}"/>
                  </a:ext>
                </a:extLst>
              </p:cNvPr>
              <p:cNvSpPr/>
              <p:nvPr/>
            </p:nvSpPr>
            <p:spPr>
              <a:xfrm>
                <a:off x="6762242" y="1940306"/>
                <a:ext cx="11602" cy="7595"/>
              </a:xfrm>
              <a:custGeom>
                <a:avLst/>
                <a:gdLst>
                  <a:gd name="connsiteX0" fmla="*/ 11603 w 11602"/>
                  <a:gd name="connsiteY0" fmla="*/ 7596 h 7595"/>
                  <a:gd name="connsiteX1" fmla="*/ 9031 w 11602"/>
                  <a:gd name="connsiteY1" fmla="*/ 5921 h 7595"/>
                  <a:gd name="connsiteX2" fmla="*/ 5323 w 11602"/>
                  <a:gd name="connsiteY2" fmla="*/ 3469 h 7595"/>
                  <a:gd name="connsiteX3" fmla="*/ 4127 w 11602"/>
                  <a:gd name="connsiteY3" fmla="*/ 2691 h 7595"/>
                  <a:gd name="connsiteX4" fmla="*/ 1675 w 11602"/>
                  <a:gd name="connsiteY4" fmla="*/ 1077 h 7595"/>
                  <a:gd name="connsiteX5" fmla="*/ 778 w 11602"/>
                  <a:gd name="connsiteY5" fmla="*/ 478 h 7595"/>
                  <a:gd name="connsiteX6" fmla="*/ 299 w 11602"/>
                  <a:gd name="connsiteY6" fmla="*/ 179 h 7595"/>
                  <a:gd name="connsiteX7" fmla="*/ 0 w 11602"/>
                  <a:gd name="connsiteY7" fmla="*/ 0 h 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02" h="7595">
                    <a:moveTo>
                      <a:pt x="11603" y="7596"/>
                    </a:moveTo>
                    <a:lnTo>
                      <a:pt x="9031" y="5921"/>
                    </a:lnTo>
                    <a:lnTo>
                      <a:pt x="5323" y="3469"/>
                    </a:lnTo>
                    <a:lnTo>
                      <a:pt x="4127" y="2691"/>
                    </a:lnTo>
                    <a:lnTo>
                      <a:pt x="1675" y="1077"/>
                    </a:lnTo>
                    <a:lnTo>
                      <a:pt x="778" y="478"/>
                    </a:lnTo>
                    <a:lnTo>
                      <a:pt x="299" y="17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19" name="Vrije vorm: vorm 7018">
                <a:extLst>
                  <a:ext uri="{FF2B5EF4-FFF2-40B4-BE49-F238E27FC236}">
                    <a16:creationId xmlns:a16="http://schemas.microsoft.com/office/drawing/2014/main" id="{4DAE3CD3-9132-42E5-BEC7-5E02D440002C}"/>
                  </a:ext>
                </a:extLst>
              </p:cNvPr>
              <p:cNvSpPr/>
              <p:nvPr/>
            </p:nvSpPr>
            <p:spPr>
              <a:xfrm>
                <a:off x="6748905" y="1954420"/>
                <a:ext cx="657" cy="837"/>
              </a:xfrm>
              <a:custGeom>
                <a:avLst/>
                <a:gdLst>
                  <a:gd name="connsiteX0" fmla="*/ 0 w 657"/>
                  <a:gd name="connsiteY0" fmla="*/ 837 h 837"/>
                  <a:gd name="connsiteX1" fmla="*/ 658 w 657"/>
                  <a:gd name="connsiteY1" fmla="*/ 0 h 837"/>
                </a:gdLst>
                <a:ahLst/>
                <a:cxnLst>
                  <a:cxn ang="0">
                    <a:pos x="connsiteX0" y="connsiteY0"/>
                  </a:cxn>
                  <a:cxn ang="0">
                    <a:pos x="connsiteX1" y="connsiteY1"/>
                  </a:cxn>
                </a:cxnLst>
                <a:rect l="l" t="t" r="r" b="b"/>
                <a:pathLst>
                  <a:path w="657" h="837">
                    <a:moveTo>
                      <a:pt x="0" y="837"/>
                    </a:moveTo>
                    <a:lnTo>
                      <a:pt x="658" y="0"/>
                    </a:lnTo>
                  </a:path>
                </a:pathLst>
              </a:custGeom>
              <a:noFill/>
              <a:ln w="6350" cap="rnd">
                <a:solidFill>
                  <a:schemeClr val="bg1">
                    <a:alpha val="80000"/>
                  </a:schemeClr>
                </a:solidFill>
                <a:prstDash val="solid"/>
                <a:round/>
              </a:ln>
            </p:spPr>
            <p:txBody>
              <a:bodyPr rtlCol="0" anchor="ctr"/>
              <a:lstStyle/>
              <a:p>
                <a:endParaRPr lang="en-GB"/>
              </a:p>
            </p:txBody>
          </p:sp>
          <p:sp>
            <p:nvSpPr>
              <p:cNvPr id="7020" name="Vrije vorm: vorm 7019">
                <a:extLst>
                  <a:ext uri="{FF2B5EF4-FFF2-40B4-BE49-F238E27FC236}">
                    <a16:creationId xmlns:a16="http://schemas.microsoft.com/office/drawing/2014/main" id="{DC89C4B5-C5DD-46F9-8E2B-D528630BC3DD}"/>
                  </a:ext>
                </a:extLst>
              </p:cNvPr>
              <p:cNvSpPr/>
              <p:nvPr/>
            </p:nvSpPr>
            <p:spPr>
              <a:xfrm>
                <a:off x="6750759" y="1955198"/>
                <a:ext cx="538" cy="1614"/>
              </a:xfrm>
              <a:custGeom>
                <a:avLst/>
                <a:gdLst>
                  <a:gd name="connsiteX0" fmla="*/ 538 w 538"/>
                  <a:gd name="connsiteY0" fmla="*/ 1615 h 1614"/>
                  <a:gd name="connsiteX1" fmla="*/ 0 w 538"/>
                  <a:gd name="connsiteY1" fmla="*/ 0 h 1614"/>
                </a:gdLst>
                <a:ahLst/>
                <a:cxnLst>
                  <a:cxn ang="0">
                    <a:pos x="connsiteX0" y="connsiteY0"/>
                  </a:cxn>
                  <a:cxn ang="0">
                    <a:pos x="connsiteX1" y="connsiteY1"/>
                  </a:cxn>
                </a:cxnLst>
                <a:rect l="l" t="t" r="r" b="b"/>
                <a:pathLst>
                  <a:path w="538" h="1614">
                    <a:moveTo>
                      <a:pt x="538" y="1615"/>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21" name="Vrije vorm: vorm 7020">
                <a:extLst>
                  <a:ext uri="{FF2B5EF4-FFF2-40B4-BE49-F238E27FC236}">
                    <a16:creationId xmlns:a16="http://schemas.microsoft.com/office/drawing/2014/main" id="{CAC83A88-6A84-4568-87B9-5A932D3D0851}"/>
                  </a:ext>
                </a:extLst>
              </p:cNvPr>
              <p:cNvSpPr/>
              <p:nvPr/>
            </p:nvSpPr>
            <p:spPr>
              <a:xfrm>
                <a:off x="6786584" y="1884625"/>
                <a:ext cx="119" cy="837"/>
              </a:xfrm>
              <a:custGeom>
                <a:avLst/>
                <a:gdLst>
                  <a:gd name="connsiteX0" fmla="*/ 120 w 119"/>
                  <a:gd name="connsiteY0" fmla="*/ 0 h 837"/>
                  <a:gd name="connsiteX1" fmla="*/ 0 w 119"/>
                  <a:gd name="connsiteY1" fmla="*/ 837 h 837"/>
                </a:gdLst>
                <a:ahLst/>
                <a:cxnLst>
                  <a:cxn ang="0">
                    <a:pos x="connsiteX0" y="connsiteY0"/>
                  </a:cxn>
                  <a:cxn ang="0">
                    <a:pos x="connsiteX1" y="connsiteY1"/>
                  </a:cxn>
                </a:cxnLst>
                <a:rect l="l" t="t" r="r" b="b"/>
                <a:pathLst>
                  <a:path w="119" h="837">
                    <a:moveTo>
                      <a:pt x="120" y="0"/>
                    </a:moveTo>
                    <a:lnTo>
                      <a:pt x="0" y="837"/>
                    </a:lnTo>
                  </a:path>
                </a:pathLst>
              </a:custGeom>
              <a:noFill/>
              <a:ln w="6350" cap="rnd">
                <a:solidFill>
                  <a:schemeClr val="bg1">
                    <a:alpha val="80000"/>
                  </a:schemeClr>
                </a:solidFill>
                <a:prstDash val="solid"/>
                <a:round/>
              </a:ln>
            </p:spPr>
            <p:txBody>
              <a:bodyPr rtlCol="0" anchor="ctr"/>
              <a:lstStyle/>
              <a:p>
                <a:endParaRPr lang="en-GB"/>
              </a:p>
            </p:txBody>
          </p:sp>
          <p:sp>
            <p:nvSpPr>
              <p:cNvPr id="7022" name="Vrije vorm: vorm 7021">
                <a:extLst>
                  <a:ext uri="{FF2B5EF4-FFF2-40B4-BE49-F238E27FC236}">
                    <a16:creationId xmlns:a16="http://schemas.microsoft.com/office/drawing/2014/main" id="{4579854B-C636-4FC9-B231-27A34003B5EC}"/>
                  </a:ext>
                </a:extLst>
              </p:cNvPr>
              <p:cNvSpPr/>
              <p:nvPr/>
            </p:nvSpPr>
            <p:spPr>
              <a:xfrm>
                <a:off x="6838437" y="1776913"/>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23" name="Vrije vorm: vorm 7022">
                <a:extLst>
                  <a:ext uri="{FF2B5EF4-FFF2-40B4-BE49-F238E27FC236}">
                    <a16:creationId xmlns:a16="http://schemas.microsoft.com/office/drawing/2014/main" id="{7DD96762-7024-4D9E-BD26-E34284738962}"/>
                  </a:ext>
                </a:extLst>
              </p:cNvPr>
              <p:cNvSpPr/>
              <p:nvPr/>
            </p:nvSpPr>
            <p:spPr>
              <a:xfrm>
                <a:off x="6844179" y="1760645"/>
                <a:ext cx="1973" cy="3408"/>
              </a:xfrm>
              <a:custGeom>
                <a:avLst/>
                <a:gdLst>
                  <a:gd name="connsiteX0" fmla="*/ 1973 w 1973"/>
                  <a:gd name="connsiteY0" fmla="*/ 0 h 3408"/>
                  <a:gd name="connsiteX1" fmla="*/ 0 w 1973"/>
                  <a:gd name="connsiteY1" fmla="*/ 3409 h 3408"/>
                </a:gdLst>
                <a:ahLst/>
                <a:cxnLst>
                  <a:cxn ang="0">
                    <a:pos x="connsiteX0" y="connsiteY0"/>
                  </a:cxn>
                  <a:cxn ang="0">
                    <a:pos x="connsiteX1" y="connsiteY1"/>
                  </a:cxn>
                </a:cxnLst>
                <a:rect l="l" t="t" r="r" b="b"/>
                <a:pathLst>
                  <a:path w="1973" h="3408">
                    <a:moveTo>
                      <a:pt x="1973" y="0"/>
                    </a:moveTo>
                    <a:lnTo>
                      <a:pt x="0" y="3409"/>
                    </a:lnTo>
                  </a:path>
                </a:pathLst>
              </a:custGeom>
              <a:noFill/>
              <a:ln w="6350" cap="rnd">
                <a:solidFill>
                  <a:schemeClr val="bg1">
                    <a:alpha val="80000"/>
                  </a:schemeClr>
                </a:solidFill>
                <a:prstDash val="solid"/>
                <a:round/>
              </a:ln>
            </p:spPr>
            <p:txBody>
              <a:bodyPr rtlCol="0" anchor="ctr"/>
              <a:lstStyle/>
              <a:p>
                <a:endParaRPr lang="en-GB"/>
              </a:p>
            </p:txBody>
          </p:sp>
          <p:sp>
            <p:nvSpPr>
              <p:cNvPr id="7024" name="Vrije vorm: vorm 7023">
                <a:extLst>
                  <a:ext uri="{FF2B5EF4-FFF2-40B4-BE49-F238E27FC236}">
                    <a16:creationId xmlns:a16="http://schemas.microsoft.com/office/drawing/2014/main" id="{0CD60D5E-20D4-4872-B778-1D9A71D31702}"/>
                  </a:ext>
                </a:extLst>
              </p:cNvPr>
              <p:cNvSpPr/>
              <p:nvPr/>
            </p:nvSpPr>
            <p:spPr>
              <a:xfrm>
                <a:off x="6877551" y="1704725"/>
                <a:ext cx="837" cy="1435"/>
              </a:xfrm>
              <a:custGeom>
                <a:avLst/>
                <a:gdLst>
                  <a:gd name="connsiteX0" fmla="*/ 837 w 837"/>
                  <a:gd name="connsiteY0" fmla="*/ 0 h 1435"/>
                  <a:gd name="connsiteX1" fmla="*/ 0 w 837"/>
                  <a:gd name="connsiteY1" fmla="*/ 1435 h 1435"/>
                </a:gdLst>
                <a:ahLst/>
                <a:cxnLst>
                  <a:cxn ang="0">
                    <a:pos x="connsiteX0" y="connsiteY0"/>
                  </a:cxn>
                  <a:cxn ang="0">
                    <a:pos x="connsiteX1" y="connsiteY1"/>
                  </a:cxn>
                </a:cxnLst>
                <a:rect l="l" t="t" r="r" b="b"/>
                <a:pathLst>
                  <a:path w="837" h="1435">
                    <a:moveTo>
                      <a:pt x="837" y="0"/>
                    </a:moveTo>
                    <a:lnTo>
                      <a:pt x="0" y="1435"/>
                    </a:lnTo>
                  </a:path>
                </a:pathLst>
              </a:custGeom>
              <a:noFill/>
              <a:ln w="6350" cap="rnd">
                <a:solidFill>
                  <a:schemeClr val="bg1">
                    <a:alpha val="80000"/>
                  </a:schemeClr>
                </a:solidFill>
                <a:prstDash val="solid"/>
                <a:round/>
              </a:ln>
            </p:spPr>
            <p:txBody>
              <a:bodyPr rtlCol="0" anchor="ctr"/>
              <a:lstStyle/>
              <a:p>
                <a:endParaRPr lang="en-GB"/>
              </a:p>
            </p:txBody>
          </p:sp>
          <p:sp>
            <p:nvSpPr>
              <p:cNvPr id="7025" name="Vrije vorm: vorm 7024">
                <a:extLst>
                  <a:ext uri="{FF2B5EF4-FFF2-40B4-BE49-F238E27FC236}">
                    <a16:creationId xmlns:a16="http://schemas.microsoft.com/office/drawing/2014/main" id="{D6D992DA-4CF8-4292-96BE-17AEAE9D977D}"/>
                  </a:ext>
                </a:extLst>
              </p:cNvPr>
              <p:cNvSpPr/>
              <p:nvPr/>
            </p:nvSpPr>
            <p:spPr>
              <a:xfrm>
                <a:off x="6875936" y="1703529"/>
                <a:ext cx="957" cy="1614"/>
              </a:xfrm>
              <a:custGeom>
                <a:avLst/>
                <a:gdLst>
                  <a:gd name="connsiteX0" fmla="*/ 0 w 957"/>
                  <a:gd name="connsiteY0" fmla="*/ 1615 h 1614"/>
                  <a:gd name="connsiteX1" fmla="*/ 957 w 957"/>
                  <a:gd name="connsiteY1" fmla="*/ 0 h 1614"/>
                </a:gdLst>
                <a:ahLst/>
                <a:cxnLst>
                  <a:cxn ang="0">
                    <a:pos x="connsiteX0" y="connsiteY0"/>
                  </a:cxn>
                  <a:cxn ang="0">
                    <a:pos x="connsiteX1" y="connsiteY1"/>
                  </a:cxn>
                </a:cxnLst>
                <a:rect l="l" t="t" r="r" b="b"/>
                <a:pathLst>
                  <a:path w="957" h="1614">
                    <a:moveTo>
                      <a:pt x="0" y="1615"/>
                    </a:moveTo>
                    <a:lnTo>
                      <a:pt x="957" y="0"/>
                    </a:lnTo>
                  </a:path>
                </a:pathLst>
              </a:custGeom>
              <a:noFill/>
              <a:ln w="6350" cap="rnd">
                <a:solidFill>
                  <a:schemeClr val="bg1">
                    <a:alpha val="80000"/>
                  </a:schemeClr>
                </a:solidFill>
                <a:prstDash val="solid"/>
                <a:round/>
              </a:ln>
            </p:spPr>
            <p:txBody>
              <a:bodyPr rtlCol="0" anchor="ctr"/>
              <a:lstStyle/>
              <a:p>
                <a:endParaRPr lang="en-GB"/>
              </a:p>
            </p:txBody>
          </p:sp>
          <p:sp>
            <p:nvSpPr>
              <p:cNvPr id="7026" name="Vrije vorm: vorm 7025">
                <a:extLst>
                  <a:ext uri="{FF2B5EF4-FFF2-40B4-BE49-F238E27FC236}">
                    <a16:creationId xmlns:a16="http://schemas.microsoft.com/office/drawing/2014/main" id="{2B048941-23D6-4C1D-A452-90C13749A349}"/>
                  </a:ext>
                </a:extLst>
              </p:cNvPr>
              <p:cNvSpPr/>
              <p:nvPr/>
            </p:nvSpPr>
            <p:spPr>
              <a:xfrm>
                <a:off x="6841307" y="1758970"/>
                <a:ext cx="1974" cy="3408"/>
              </a:xfrm>
              <a:custGeom>
                <a:avLst/>
                <a:gdLst>
                  <a:gd name="connsiteX0" fmla="*/ 0 w 1974"/>
                  <a:gd name="connsiteY0" fmla="*/ 3409 h 3408"/>
                  <a:gd name="connsiteX1" fmla="*/ 1974 w 1974"/>
                  <a:gd name="connsiteY1" fmla="*/ 0 h 3408"/>
                </a:gdLst>
                <a:ahLst/>
                <a:cxnLst>
                  <a:cxn ang="0">
                    <a:pos x="connsiteX0" y="connsiteY0"/>
                  </a:cxn>
                  <a:cxn ang="0">
                    <a:pos x="connsiteX1" y="connsiteY1"/>
                  </a:cxn>
                </a:cxnLst>
                <a:rect l="l" t="t" r="r" b="b"/>
                <a:pathLst>
                  <a:path w="1974" h="3408">
                    <a:moveTo>
                      <a:pt x="0" y="3409"/>
                    </a:moveTo>
                    <a:lnTo>
                      <a:pt x="1974" y="0"/>
                    </a:lnTo>
                  </a:path>
                </a:pathLst>
              </a:custGeom>
              <a:noFill/>
              <a:ln w="6350" cap="rnd">
                <a:solidFill>
                  <a:schemeClr val="bg1">
                    <a:alpha val="80000"/>
                  </a:schemeClr>
                </a:solidFill>
                <a:prstDash val="solid"/>
                <a:round/>
              </a:ln>
            </p:spPr>
            <p:txBody>
              <a:bodyPr rtlCol="0" anchor="ctr"/>
              <a:lstStyle/>
              <a:p>
                <a:endParaRPr lang="en-GB"/>
              </a:p>
            </p:txBody>
          </p:sp>
          <p:sp>
            <p:nvSpPr>
              <p:cNvPr id="7027" name="Vrije vorm: vorm 7026">
                <a:extLst>
                  <a:ext uri="{FF2B5EF4-FFF2-40B4-BE49-F238E27FC236}">
                    <a16:creationId xmlns:a16="http://schemas.microsoft.com/office/drawing/2014/main" id="{0B595142-CFBB-4E52-8A0E-B6452789810C}"/>
                  </a:ext>
                </a:extLst>
              </p:cNvPr>
              <p:cNvSpPr/>
              <p:nvPr/>
            </p:nvSpPr>
            <p:spPr>
              <a:xfrm>
                <a:off x="6778031" y="1878944"/>
                <a:ext cx="1495" cy="1016"/>
              </a:xfrm>
              <a:custGeom>
                <a:avLst/>
                <a:gdLst>
                  <a:gd name="connsiteX0" fmla="*/ 0 w 1495"/>
                  <a:gd name="connsiteY0" fmla="*/ 0 h 1016"/>
                  <a:gd name="connsiteX1" fmla="*/ 239 w 1495"/>
                  <a:gd name="connsiteY1" fmla="*/ 179 h 1016"/>
                  <a:gd name="connsiteX2" fmla="*/ 1495 w 1495"/>
                  <a:gd name="connsiteY2" fmla="*/ 1017 h 1016"/>
                </a:gdLst>
                <a:ahLst/>
                <a:cxnLst>
                  <a:cxn ang="0">
                    <a:pos x="connsiteX0" y="connsiteY0"/>
                  </a:cxn>
                  <a:cxn ang="0">
                    <a:pos x="connsiteX1" y="connsiteY1"/>
                  </a:cxn>
                  <a:cxn ang="0">
                    <a:pos x="connsiteX2" y="connsiteY2"/>
                  </a:cxn>
                </a:cxnLst>
                <a:rect l="l" t="t" r="r" b="b"/>
                <a:pathLst>
                  <a:path w="1495" h="1016">
                    <a:moveTo>
                      <a:pt x="0" y="0"/>
                    </a:moveTo>
                    <a:lnTo>
                      <a:pt x="239" y="179"/>
                    </a:lnTo>
                    <a:lnTo>
                      <a:pt x="1495" y="1017"/>
                    </a:lnTo>
                  </a:path>
                </a:pathLst>
              </a:custGeom>
              <a:noFill/>
              <a:ln w="6350" cap="rnd">
                <a:solidFill>
                  <a:schemeClr val="bg1">
                    <a:alpha val="80000"/>
                  </a:schemeClr>
                </a:solidFill>
                <a:prstDash val="solid"/>
                <a:round/>
              </a:ln>
            </p:spPr>
            <p:txBody>
              <a:bodyPr rtlCol="0" anchor="ctr"/>
              <a:lstStyle/>
              <a:p>
                <a:endParaRPr lang="en-GB"/>
              </a:p>
            </p:txBody>
          </p:sp>
          <p:sp>
            <p:nvSpPr>
              <p:cNvPr id="7028" name="Vrije vorm: vorm 7027">
                <a:extLst>
                  <a:ext uri="{FF2B5EF4-FFF2-40B4-BE49-F238E27FC236}">
                    <a16:creationId xmlns:a16="http://schemas.microsoft.com/office/drawing/2014/main" id="{7EAEE040-7909-4C9C-BA9B-AC587F56C3F4}"/>
                  </a:ext>
                </a:extLst>
              </p:cNvPr>
              <p:cNvSpPr/>
              <p:nvPr/>
            </p:nvSpPr>
            <p:spPr>
              <a:xfrm>
                <a:off x="6772230" y="1882233"/>
                <a:ext cx="4604" cy="2990"/>
              </a:xfrm>
              <a:custGeom>
                <a:avLst/>
                <a:gdLst>
                  <a:gd name="connsiteX0" fmla="*/ 4605 w 4604"/>
                  <a:gd name="connsiteY0" fmla="*/ 2990 h 2990"/>
                  <a:gd name="connsiteX1" fmla="*/ 2751 w 4604"/>
                  <a:gd name="connsiteY1" fmla="*/ 1794 h 2990"/>
                  <a:gd name="connsiteX2" fmla="*/ 2691 w 4604"/>
                  <a:gd name="connsiteY2" fmla="*/ 1734 h 2990"/>
                  <a:gd name="connsiteX3" fmla="*/ 0 w 4604"/>
                  <a:gd name="connsiteY3" fmla="*/ 0 h 2990"/>
                </a:gdLst>
                <a:ahLst/>
                <a:cxnLst>
                  <a:cxn ang="0">
                    <a:pos x="connsiteX0" y="connsiteY0"/>
                  </a:cxn>
                  <a:cxn ang="0">
                    <a:pos x="connsiteX1" y="connsiteY1"/>
                  </a:cxn>
                  <a:cxn ang="0">
                    <a:pos x="connsiteX2" y="connsiteY2"/>
                  </a:cxn>
                  <a:cxn ang="0">
                    <a:pos x="connsiteX3" y="connsiteY3"/>
                  </a:cxn>
                </a:cxnLst>
                <a:rect l="l" t="t" r="r" b="b"/>
                <a:pathLst>
                  <a:path w="4604" h="2990">
                    <a:moveTo>
                      <a:pt x="4605" y="2990"/>
                    </a:moveTo>
                    <a:lnTo>
                      <a:pt x="2751" y="1794"/>
                    </a:lnTo>
                    <a:lnTo>
                      <a:pt x="2691" y="1734"/>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29" name="Vrije vorm: vorm 7028">
                <a:extLst>
                  <a:ext uri="{FF2B5EF4-FFF2-40B4-BE49-F238E27FC236}">
                    <a16:creationId xmlns:a16="http://schemas.microsoft.com/office/drawing/2014/main" id="{21B07870-F623-4533-A03D-0D25730D6E31}"/>
                  </a:ext>
                </a:extLst>
              </p:cNvPr>
              <p:cNvSpPr/>
              <p:nvPr/>
            </p:nvSpPr>
            <p:spPr>
              <a:xfrm>
                <a:off x="6725640" y="1939827"/>
                <a:ext cx="34927" cy="23085"/>
              </a:xfrm>
              <a:custGeom>
                <a:avLst/>
                <a:gdLst>
                  <a:gd name="connsiteX0" fmla="*/ 0 w 34927"/>
                  <a:gd name="connsiteY0" fmla="*/ 0 h 23085"/>
                  <a:gd name="connsiteX1" fmla="*/ 9988 w 34927"/>
                  <a:gd name="connsiteY1" fmla="*/ 6639 h 23085"/>
                  <a:gd name="connsiteX2" fmla="*/ 23265 w 34927"/>
                  <a:gd name="connsiteY2" fmla="*/ 15430 h 23085"/>
                  <a:gd name="connsiteX3" fmla="*/ 25658 w 34927"/>
                  <a:gd name="connsiteY3" fmla="*/ 17045 h 23085"/>
                  <a:gd name="connsiteX4" fmla="*/ 27033 w 34927"/>
                  <a:gd name="connsiteY4" fmla="*/ 17942 h 23085"/>
                  <a:gd name="connsiteX5" fmla="*/ 29545 w 34927"/>
                  <a:gd name="connsiteY5" fmla="*/ 19617 h 23085"/>
                  <a:gd name="connsiteX6" fmla="*/ 29784 w 34927"/>
                  <a:gd name="connsiteY6" fmla="*/ 19736 h 23085"/>
                  <a:gd name="connsiteX7" fmla="*/ 30681 w 34927"/>
                  <a:gd name="connsiteY7" fmla="*/ 20335 h 23085"/>
                  <a:gd name="connsiteX8" fmla="*/ 33253 w 34927"/>
                  <a:gd name="connsiteY8" fmla="*/ 22009 h 23085"/>
                  <a:gd name="connsiteX9" fmla="*/ 34808 w 34927"/>
                  <a:gd name="connsiteY9" fmla="*/ 23026 h 23085"/>
                  <a:gd name="connsiteX10" fmla="*/ 34928 w 34927"/>
                  <a:gd name="connsiteY10" fmla="*/ 23086 h 2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927" h="23085">
                    <a:moveTo>
                      <a:pt x="0" y="0"/>
                    </a:moveTo>
                    <a:lnTo>
                      <a:pt x="9988" y="6639"/>
                    </a:lnTo>
                    <a:lnTo>
                      <a:pt x="23265" y="15430"/>
                    </a:lnTo>
                    <a:lnTo>
                      <a:pt x="25658" y="17045"/>
                    </a:lnTo>
                    <a:lnTo>
                      <a:pt x="27033" y="17942"/>
                    </a:lnTo>
                    <a:lnTo>
                      <a:pt x="29545" y="19617"/>
                    </a:lnTo>
                    <a:lnTo>
                      <a:pt x="29784" y="19736"/>
                    </a:lnTo>
                    <a:lnTo>
                      <a:pt x="30681" y="20335"/>
                    </a:lnTo>
                    <a:lnTo>
                      <a:pt x="33253" y="22009"/>
                    </a:lnTo>
                    <a:lnTo>
                      <a:pt x="34808" y="23026"/>
                    </a:lnTo>
                    <a:lnTo>
                      <a:pt x="34928" y="23086"/>
                    </a:lnTo>
                  </a:path>
                </a:pathLst>
              </a:custGeom>
              <a:noFill/>
              <a:ln w="6350" cap="rnd">
                <a:solidFill>
                  <a:schemeClr val="bg1">
                    <a:alpha val="80000"/>
                  </a:schemeClr>
                </a:solidFill>
                <a:prstDash val="solid"/>
                <a:round/>
              </a:ln>
            </p:spPr>
            <p:txBody>
              <a:bodyPr rtlCol="0" anchor="ctr"/>
              <a:lstStyle/>
              <a:p>
                <a:endParaRPr lang="en-GB"/>
              </a:p>
            </p:txBody>
          </p:sp>
          <p:sp>
            <p:nvSpPr>
              <p:cNvPr id="7030" name="Vrije vorm: vorm 7029">
                <a:extLst>
                  <a:ext uri="{FF2B5EF4-FFF2-40B4-BE49-F238E27FC236}">
                    <a16:creationId xmlns:a16="http://schemas.microsoft.com/office/drawing/2014/main" id="{C612A6A2-CFB9-4E80-81F8-71899397ABD1}"/>
                  </a:ext>
                </a:extLst>
              </p:cNvPr>
              <p:cNvSpPr/>
              <p:nvPr/>
            </p:nvSpPr>
            <p:spPr>
              <a:xfrm>
                <a:off x="6737841" y="1924277"/>
                <a:ext cx="5681" cy="3708"/>
              </a:xfrm>
              <a:custGeom>
                <a:avLst/>
                <a:gdLst>
                  <a:gd name="connsiteX0" fmla="*/ 5682 w 5681"/>
                  <a:gd name="connsiteY0" fmla="*/ 3708 h 3708"/>
                  <a:gd name="connsiteX1" fmla="*/ 0 w 5681"/>
                  <a:gd name="connsiteY1" fmla="*/ 0 h 3708"/>
                </a:gdLst>
                <a:ahLst/>
                <a:cxnLst>
                  <a:cxn ang="0">
                    <a:pos x="connsiteX0" y="connsiteY0"/>
                  </a:cxn>
                  <a:cxn ang="0">
                    <a:pos x="connsiteX1" y="connsiteY1"/>
                  </a:cxn>
                </a:cxnLst>
                <a:rect l="l" t="t" r="r" b="b"/>
                <a:pathLst>
                  <a:path w="5681" h="3708">
                    <a:moveTo>
                      <a:pt x="5682" y="3708"/>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31" name="Vrije vorm: vorm 7030">
                <a:extLst>
                  <a:ext uri="{FF2B5EF4-FFF2-40B4-BE49-F238E27FC236}">
                    <a16:creationId xmlns:a16="http://schemas.microsoft.com/office/drawing/2014/main" id="{F12BCCF8-27D4-49C4-871D-CDEA293A36D4}"/>
                  </a:ext>
                </a:extLst>
              </p:cNvPr>
              <p:cNvSpPr/>
              <p:nvPr/>
            </p:nvSpPr>
            <p:spPr>
              <a:xfrm>
                <a:off x="6715772" y="1950832"/>
                <a:ext cx="37678" cy="25238"/>
              </a:xfrm>
              <a:custGeom>
                <a:avLst/>
                <a:gdLst>
                  <a:gd name="connsiteX0" fmla="*/ 37678 w 37678"/>
                  <a:gd name="connsiteY0" fmla="*/ 25239 h 25238"/>
                  <a:gd name="connsiteX1" fmla="*/ 6100 w 37678"/>
                  <a:gd name="connsiteY1" fmla="*/ 4067 h 25238"/>
                  <a:gd name="connsiteX2" fmla="*/ 0 w 37678"/>
                  <a:gd name="connsiteY2" fmla="*/ 0 h 25238"/>
                </a:gdLst>
                <a:ahLst/>
                <a:cxnLst>
                  <a:cxn ang="0">
                    <a:pos x="connsiteX0" y="connsiteY0"/>
                  </a:cxn>
                  <a:cxn ang="0">
                    <a:pos x="connsiteX1" y="connsiteY1"/>
                  </a:cxn>
                  <a:cxn ang="0">
                    <a:pos x="connsiteX2" y="connsiteY2"/>
                  </a:cxn>
                </a:cxnLst>
                <a:rect l="l" t="t" r="r" b="b"/>
                <a:pathLst>
                  <a:path w="37678" h="25238">
                    <a:moveTo>
                      <a:pt x="37678" y="25239"/>
                    </a:moveTo>
                    <a:lnTo>
                      <a:pt x="6100" y="406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32" name="Vrije vorm: vorm 7031">
                <a:extLst>
                  <a:ext uri="{FF2B5EF4-FFF2-40B4-BE49-F238E27FC236}">
                    <a16:creationId xmlns:a16="http://schemas.microsoft.com/office/drawing/2014/main" id="{1FBD8B70-3F31-4FF3-A88F-7F61181BA5BB}"/>
                  </a:ext>
                </a:extLst>
              </p:cNvPr>
              <p:cNvSpPr/>
              <p:nvPr/>
            </p:nvSpPr>
            <p:spPr>
              <a:xfrm>
                <a:off x="6758175" y="1881456"/>
                <a:ext cx="837" cy="59"/>
              </a:xfrm>
              <a:custGeom>
                <a:avLst/>
                <a:gdLst>
                  <a:gd name="connsiteX0" fmla="*/ 0 w 837"/>
                  <a:gd name="connsiteY0" fmla="*/ 60 h 59"/>
                  <a:gd name="connsiteX1" fmla="*/ 239 w 837"/>
                  <a:gd name="connsiteY1" fmla="*/ 60 h 59"/>
                  <a:gd name="connsiteX2" fmla="*/ 299 w 837"/>
                  <a:gd name="connsiteY2" fmla="*/ 60 h 59"/>
                  <a:gd name="connsiteX3" fmla="*/ 299 w 837"/>
                  <a:gd name="connsiteY3" fmla="*/ 60 h 59"/>
                  <a:gd name="connsiteX4" fmla="*/ 837 w 837"/>
                  <a:gd name="connsiteY4" fmla="*/ 0 h 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7" h="59">
                    <a:moveTo>
                      <a:pt x="0" y="60"/>
                    </a:moveTo>
                    <a:lnTo>
                      <a:pt x="239" y="60"/>
                    </a:lnTo>
                    <a:lnTo>
                      <a:pt x="299" y="60"/>
                    </a:lnTo>
                    <a:lnTo>
                      <a:pt x="299" y="60"/>
                    </a:lnTo>
                    <a:lnTo>
                      <a:pt x="837" y="0"/>
                    </a:lnTo>
                  </a:path>
                </a:pathLst>
              </a:custGeom>
              <a:noFill/>
              <a:ln w="6350" cap="rnd">
                <a:solidFill>
                  <a:schemeClr val="bg1">
                    <a:alpha val="80000"/>
                  </a:schemeClr>
                </a:solidFill>
                <a:prstDash val="solid"/>
                <a:round/>
              </a:ln>
            </p:spPr>
            <p:txBody>
              <a:bodyPr rtlCol="0" anchor="ctr"/>
              <a:lstStyle/>
              <a:p>
                <a:endParaRPr lang="en-GB"/>
              </a:p>
            </p:txBody>
          </p:sp>
          <p:sp>
            <p:nvSpPr>
              <p:cNvPr id="7033" name="Vrije vorm: vorm 7032">
                <a:extLst>
                  <a:ext uri="{FF2B5EF4-FFF2-40B4-BE49-F238E27FC236}">
                    <a16:creationId xmlns:a16="http://schemas.microsoft.com/office/drawing/2014/main" id="{F5E19E27-3E1A-4509-9FE2-40248D5A2BF4}"/>
                  </a:ext>
                </a:extLst>
              </p:cNvPr>
              <p:cNvSpPr/>
              <p:nvPr/>
            </p:nvSpPr>
            <p:spPr>
              <a:xfrm>
                <a:off x="6744480" y="1901311"/>
                <a:ext cx="298" cy="478"/>
              </a:xfrm>
              <a:custGeom>
                <a:avLst/>
                <a:gdLst>
                  <a:gd name="connsiteX0" fmla="*/ 0 w 298"/>
                  <a:gd name="connsiteY0" fmla="*/ 478 h 478"/>
                  <a:gd name="connsiteX1" fmla="*/ 239 w 298"/>
                  <a:gd name="connsiteY1" fmla="*/ 120 h 478"/>
                  <a:gd name="connsiteX2" fmla="*/ 299 w 298"/>
                  <a:gd name="connsiteY2" fmla="*/ 0 h 478"/>
                </a:gdLst>
                <a:ahLst/>
                <a:cxnLst>
                  <a:cxn ang="0">
                    <a:pos x="connsiteX0" y="connsiteY0"/>
                  </a:cxn>
                  <a:cxn ang="0">
                    <a:pos x="connsiteX1" y="connsiteY1"/>
                  </a:cxn>
                  <a:cxn ang="0">
                    <a:pos x="connsiteX2" y="connsiteY2"/>
                  </a:cxn>
                </a:cxnLst>
                <a:rect l="l" t="t" r="r" b="b"/>
                <a:pathLst>
                  <a:path w="298" h="478">
                    <a:moveTo>
                      <a:pt x="0" y="478"/>
                    </a:moveTo>
                    <a:lnTo>
                      <a:pt x="239" y="120"/>
                    </a:lnTo>
                    <a:lnTo>
                      <a:pt x="299" y="0"/>
                    </a:lnTo>
                  </a:path>
                </a:pathLst>
              </a:custGeom>
              <a:noFill/>
              <a:ln w="6350" cap="rnd">
                <a:solidFill>
                  <a:schemeClr val="bg1">
                    <a:alpha val="80000"/>
                  </a:schemeClr>
                </a:solidFill>
                <a:prstDash val="solid"/>
                <a:round/>
              </a:ln>
            </p:spPr>
            <p:txBody>
              <a:bodyPr rtlCol="0" anchor="ctr"/>
              <a:lstStyle/>
              <a:p>
                <a:endParaRPr lang="en-GB"/>
              </a:p>
            </p:txBody>
          </p:sp>
          <p:sp>
            <p:nvSpPr>
              <p:cNvPr id="7034" name="Vrije vorm: vorm 7033">
                <a:extLst>
                  <a:ext uri="{FF2B5EF4-FFF2-40B4-BE49-F238E27FC236}">
                    <a16:creationId xmlns:a16="http://schemas.microsoft.com/office/drawing/2014/main" id="{362E9BCE-A1A1-45A9-BCB5-4A4036EF4D2D}"/>
                  </a:ext>
                </a:extLst>
              </p:cNvPr>
              <p:cNvSpPr/>
              <p:nvPr/>
            </p:nvSpPr>
            <p:spPr>
              <a:xfrm>
                <a:off x="6724982" y="1930737"/>
                <a:ext cx="4246" cy="5382"/>
              </a:xfrm>
              <a:custGeom>
                <a:avLst/>
                <a:gdLst>
                  <a:gd name="connsiteX0" fmla="*/ 4246 w 4246"/>
                  <a:gd name="connsiteY0" fmla="*/ 0 h 5382"/>
                  <a:gd name="connsiteX1" fmla="*/ 3947 w 4246"/>
                  <a:gd name="connsiteY1" fmla="*/ 359 h 5382"/>
                  <a:gd name="connsiteX2" fmla="*/ 1076 w 4246"/>
                  <a:gd name="connsiteY2" fmla="*/ 4007 h 5382"/>
                  <a:gd name="connsiteX3" fmla="*/ 0 w 4246"/>
                  <a:gd name="connsiteY3" fmla="*/ 5383 h 5382"/>
                </a:gdLst>
                <a:ahLst/>
                <a:cxnLst>
                  <a:cxn ang="0">
                    <a:pos x="connsiteX0" y="connsiteY0"/>
                  </a:cxn>
                  <a:cxn ang="0">
                    <a:pos x="connsiteX1" y="connsiteY1"/>
                  </a:cxn>
                  <a:cxn ang="0">
                    <a:pos x="connsiteX2" y="connsiteY2"/>
                  </a:cxn>
                  <a:cxn ang="0">
                    <a:pos x="connsiteX3" y="connsiteY3"/>
                  </a:cxn>
                </a:cxnLst>
                <a:rect l="l" t="t" r="r" b="b"/>
                <a:pathLst>
                  <a:path w="4246" h="5382">
                    <a:moveTo>
                      <a:pt x="4246" y="0"/>
                    </a:moveTo>
                    <a:lnTo>
                      <a:pt x="3947" y="359"/>
                    </a:lnTo>
                    <a:lnTo>
                      <a:pt x="1076" y="4007"/>
                    </a:lnTo>
                    <a:lnTo>
                      <a:pt x="0" y="5383"/>
                    </a:lnTo>
                  </a:path>
                </a:pathLst>
              </a:custGeom>
              <a:noFill/>
              <a:ln w="6350" cap="rnd">
                <a:solidFill>
                  <a:schemeClr val="bg1">
                    <a:alpha val="80000"/>
                  </a:schemeClr>
                </a:solidFill>
                <a:prstDash val="solid"/>
                <a:round/>
              </a:ln>
            </p:spPr>
            <p:txBody>
              <a:bodyPr rtlCol="0" anchor="ctr"/>
              <a:lstStyle/>
              <a:p>
                <a:endParaRPr lang="en-GB"/>
              </a:p>
            </p:txBody>
          </p:sp>
          <p:sp>
            <p:nvSpPr>
              <p:cNvPr id="7035" name="Vrije vorm: vorm 7034">
                <a:extLst>
                  <a:ext uri="{FF2B5EF4-FFF2-40B4-BE49-F238E27FC236}">
                    <a16:creationId xmlns:a16="http://schemas.microsoft.com/office/drawing/2014/main" id="{2C13590A-EED8-4A09-97B5-34FB9B6B00AB}"/>
                  </a:ext>
                </a:extLst>
              </p:cNvPr>
              <p:cNvSpPr/>
              <p:nvPr/>
            </p:nvSpPr>
            <p:spPr>
              <a:xfrm>
                <a:off x="6790591" y="1902209"/>
                <a:ext cx="12679" cy="8193"/>
              </a:xfrm>
              <a:custGeom>
                <a:avLst/>
                <a:gdLst>
                  <a:gd name="connsiteX0" fmla="*/ 0 w 12679"/>
                  <a:gd name="connsiteY0" fmla="*/ 0 h 8193"/>
                  <a:gd name="connsiteX1" fmla="*/ 658 w 12679"/>
                  <a:gd name="connsiteY1" fmla="*/ 419 h 8193"/>
                  <a:gd name="connsiteX2" fmla="*/ 1375 w 12679"/>
                  <a:gd name="connsiteY2" fmla="*/ 897 h 8193"/>
                  <a:gd name="connsiteX3" fmla="*/ 4067 w 12679"/>
                  <a:gd name="connsiteY3" fmla="*/ 2632 h 8193"/>
                  <a:gd name="connsiteX4" fmla="*/ 8074 w 12679"/>
                  <a:gd name="connsiteY4" fmla="*/ 5203 h 8193"/>
                  <a:gd name="connsiteX5" fmla="*/ 9150 w 12679"/>
                  <a:gd name="connsiteY5" fmla="*/ 5921 h 8193"/>
                  <a:gd name="connsiteX6" fmla="*/ 9689 w 12679"/>
                  <a:gd name="connsiteY6" fmla="*/ 6280 h 8193"/>
                  <a:gd name="connsiteX7" fmla="*/ 10466 w 12679"/>
                  <a:gd name="connsiteY7" fmla="*/ 6758 h 8193"/>
                  <a:gd name="connsiteX8" fmla="*/ 11961 w 12679"/>
                  <a:gd name="connsiteY8" fmla="*/ 7715 h 8193"/>
                  <a:gd name="connsiteX9" fmla="*/ 11961 w 12679"/>
                  <a:gd name="connsiteY9" fmla="*/ 7715 h 8193"/>
                  <a:gd name="connsiteX10" fmla="*/ 12679 w 12679"/>
                  <a:gd name="connsiteY10" fmla="*/ 8194 h 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79" h="8193">
                    <a:moveTo>
                      <a:pt x="0" y="0"/>
                    </a:moveTo>
                    <a:lnTo>
                      <a:pt x="658" y="419"/>
                    </a:lnTo>
                    <a:lnTo>
                      <a:pt x="1375" y="897"/>
                    </a:lnTo>
                    <a:lnTo>
                      <a:pt x="4067" y="2632"/>
                    </a:lnTo>
                    <a:lnTo>
                      <a:pt x="8074" y="5203"/>
                    </a:lnTo>
                    <a:lnTo>
                      <a:pt x="9150" y="5921"/>
                    </a:lnTo>
                    <a:lnTo>
                      <a:pt x="9689" y="6280"/>
                    </a:lnTo>
                    <a:lnTo>
                      <a:pt x="10466" y="6758"/>
                    </a:lnTo>
                    <a:lnTo>
                      <a:pt x="11961" y="7715"/>
                    </a:lnTo>
                    <a:lnTo>
                      <a:pt x="11961" y="7715"/>
                    </a:lnTo>
                    <a:lnTo>
                      <a:pt x="12679" y="8194"/>
                    </a:lnTo>
                  </a:path>
                </a:pathLst>
              </a:custGeom>
              <a:noFill/>
              <a:ln w="6350" cap="rnd">
                <a:solidFill>
                  <a:schemeClr val="bg1">
                    <a:alpha val="80000"/>
                  </a:schemeClr>
                </a:solidFill>
                <a:prstDash val="solid"/>
                <a:round/>
              </a:ln>
            </p:spPr>
            <p:txBody>
              <a:bodyPr rtlCol="0" anchor="ctr"/>
              <a:lstStyle/>
              <a:p>
                <a:endParaRPr lang="en-GB"/>
              </a:p>
            </p:txBody>
          </p:sp>
          <p:sp>
            <p:nvSpPr>
              <p:cNvPr id="7036" name="Vrije vorm: vorm 7035">
                <a:extLst>
                  <a:ext uri="{FF2B5EF4-FFF2-40B4-BE49-F238E27FC236}">
                    <a16:creationId xmlns:a16="http://schemas.microsoft.com/office/drawing/2014/main" id="{4C766F54-A82E-47F6-866B-543A34EA87A6}"/>
                  </a:ext>
                </a:extLst>
              </p:cNvPr>
              <p:cNvSpPr/>
              <p:nvPr/>
            </p:nvSpPr>
            <p:spPr>
              <a:xfrm>
                <a:off x="6756501" y="1880439"/>
                <a:ext cx="9329" cy="5920"/>
              </a:xfrm>
              <a:custGeom>
                <a:avLst/>
                <a:gdLst>
                  <a:gd name="connsiteX0" fmla="*/ 0 w 9329"/>
                  <a:gd name="connsiteY0" fmla="*/ 0 h 5920"/>
                  <a:gd name="connsiteX1" fmla="*/ 538 w 9329"/>
                  <a:gd name="connsiteY1" fmla="*/ 359 h 5920"/>
                  <a:gd name="connsiteX2" fmla="*/ 1674 w 9329"/>
                  <a:gd name="connsiteY2" fmla="*/ 1076 h 5920"/>
                  <a:gd name="connsiteX3" fmla="*/ 1914 w 9329"/>
                  <a:gd name="connsiteY3" fmla="*/ 1256 h 5920"/>
                  <a:gd name="connsiteX4" fmla="*/ 1974 w 9329"/>
                  <a:gd name="connsiteY4" fmla="*/ 1316 h 5920"/>
                  <a:gd name="connsiteX5" fmla="*/ 1974 w 9329"/>
                  <a:gd name="connsiteY5" fmla="*/ 1316 h 5920"/>
                  <a:gd name="connsiteX6" fmla="*/ 2512 w 9329"/>
                  <a:gd name="connsiteY6" fmla="*/ 1675 h 5920"/>
                  <a:gd name="connsiteX7" fmla="*/ 5382 w 9329"/>
                  <a:gd name="connsiteY7" fmla="*/ 3469 h 5920"/>
                  <a:gd name="connsiteX8" fmla="*/ 8552 w 9329"/>
                  <a:gd name="connsiteY8" fmla="*/ 5502 h 5920"/>
                  <a:gd name="connsiteX9" fmla="*/ 9270 w 9329"/>
                  <a:gd name="connsiteY9" fmla="*/ 5921 h 5920"/>
                  <a:gd name="connsiteX10" fmla="*/ 9330 w 9329"/>
                  <a:gd name="connsiteY10" fmla="*/ 5921 h 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29" h="5920">
                    <a:moveTo>
                      <a:pt x="0" y="0"/>
                    </a:moveTo>
                    <a:lnTo>
                      <a:pt x="538" y="359"/>
                    </a:lnTo>
                    <a:lnTo>
                      <a:pt x="1674" y="1076"/>
                    </a:lnTo>
                    <a:lnTo>
                      <a:pt x="1914" y="1256"/>
                    </a:lnTo>
                    <a:lnTo>
                      <a:pt x="1974" y="1316"/>
                    </a:lnTo>
                    <a:lnTo>
                      <a:pt x="1974" y="1316"/>
                    </a:lnTo>
                    <a:lnTo>
                      <a:pt x="2512" y="1675"/>
                    </a:lnTo>
                    <a:lnTo>
                      <a:pt x="5382" y="3469"/>
                    </a:lnTo>
                    <a:lnTo>
                      <a:pt x="8552" y="5502"/>
                    </a:lnTo>
                    <a:lnTo>
                      <a:pt x="9270" y="5921"/>
                    </a:lnTo>
                    <a:lnTo>
                      <a:pt x="9330" y="5921"/>
                    </a:lnTo>
                  </a:path>
                </a:pathLst>
              </a:custGeom>
              <a:noFill/>
              <a:ln w="6350" cap="rnd">
                <a:solidFill>
                  <a:schemeClr val="bg1">
                    <a:alpha val="80000"/>
                  </a:schemeClr>
                </a:solidFill>
                <a:prstDash val="solid"/>
                <a:round/>
              </a:ln>
            </p:spPr>
            <p:txBody>
              <a:bodyPr rtlCol="0" anchor="ctr"/>
              <a:lstStyle/>
              <a:p>
                <a:endParaRPr lang="en-GB"/>
              </a:p>
            </p:txBody>
          </p:sp>
          <p:sp>
            <p:nvSpPr>
              <p:cNvPr id="7037" name="Vrije vorm: vorm 7036">
                <a:extLst>
                  <a:ext uri="{FF2B5EF4-FFF2-40B4-BE49-F238E27FC236}">
                    <a16:creationId xmlns:a16="http://schemas.microsoft.com/office/drawing/2014/main" id="{E31B6DD2-AE11-486A-9804-54E96198C390}"/>
                  </a:ext>
                </a:extLst>
              </p:cNvPr>
              <p:cNvSpPr/>
              <p:nvPr/>
            </p:nvSpPr>
            <p:spPr>
              <a:xfrm>
                <a:off x="6754766" y="1870212"/>
                <a:ext cx="2631" cy="2751"/>
              </a:xfrm>
              <a:custGeom>
                <a:avLst/>
                <a:gdLst>
                  <a:gd name="connsiteX0" fmla="*/ 2632 w 2631"/>
                  <a:gd name="connsiteY0" fmla="*/ 0 h 2751"/>
                  <a:gd name="connsiteX1" fmla="*/ 0 w 2631"/>
                  <a:gd name="connsiteY1" fmla="*/ 2751 h 2751"/>
                </a:gdLst>
                <a:ahLst/>
                <a:cxnLst>
                  <a:cxn ang="0">
                    <a:pos x="connsiteX0" y="connsiteY0"/>
                  </a:cxn>
                  <a:cxn ang="0">
                    <a:pos x="connsiteX1" y="connsiteY1"/>
                  </a:cxn>
                </a:cxnLst>
                <a:rect l="l" t="t" r="r" b="b"/>
                <a:pathLst>
                  <a:path w="2631" h="2751">
                    <a:moveTo>
                      <a:pt x="2632" y="0"/>
                    </a:moveTo>
                    <a:lnTo>
                      <a:pt x="0" y="2751"/>
                    </a:lnTo>
                  </a:path>
                </a:pathLst>
              </a:custGeom>
              <a:noFill/>
              <a:ln w="6350" cap="rnd">
                <a:solidFill>
                  <a:schemeClr val="bg1">
                    <a:alpha val="80000"/>
                  </a:schemeClr>
                </a:solidFill>
                <a:prstDash val="solid"/>
                <a:round/>
              </a:ln>
            </p:spPr>
            <p:txBody>
              <a:bodyPr rtlCol="0" anchor="ctr"/>
              <a:lstStyle/>
              <a:p>
                <a:endParaRPr lang="en-GB"/>
              </a:p>
            </p:txBody>
          </p:sp>
          <p:sp>
            <p:nvSpPr>
              <p:cNvPr id="7038" name="Vrije vorm: vorm 7037">
                <a:extLst>
                  <a:ext uri="{FF2B5EF4-FFF2-40B4-BE49-F238E27FC236}">
                    <a16:creationId xmlns:a16="http://schemas.microsoft.com/office/drawing/2014/main" id="{855FFD83-524E-412C-989D-631EA762A2ED}"/>
                  </a:ext>
                </a:extLst>
              </p:cNvPr>
              <p:cNvSpPr/>
              <p:nvPr/>
            </p:nvSpPr>
            <p:spPr>
              <a:xfrm>
                <a:off x="6715473" y="1926490"/>
                <a:ext cx="8911" cy="11363"/>
              </a:xfrm>
              <a:custGeom>
                <a:avLst/>
                <a:gdLst>
                  <a:gd name="connsiteX0" fmla="*/ 0 w 8911"/>
                  <a:gd name="connsiteY0" fmla="*/ 11363 h 11363"/>
                  <a:gd name="connsiteX1" fmla="*/ 4127 w 8911"/>
                  <a:gd name="connsiteY1" fmla="*/ 6040 h 11363"/>
                  <a:gd name="connsiteX2" fmla="*/ 4186 w 8911"/>
                  <a:gd name="connsiteY2" fmla="*/ 5981 h 11363"/>
                  <a:gd name="connsiteX3" fmla="*/ 5203 w 8911"/>
                  <a:gd name="connsiteY3" fmla="*/ 4725 h 11363"/>
                  <a:gd name="connsiteX4" fmla="*/ 6698 w 8911"/>
                  <a:gd name="connsiteY4" fmla="*/ 2871 h 11363"/>
                  <a:gd name="connsiteX5" fmla="*/ 8313 w 8911"/>
                  <a:gd name="connsiteY5" fmla="*/ 778 h 11363"/>
                  <a:gd name="connsiteX6" fmla="*/ 8373 w 8911"/>
                  <a:gd name="connsiteY6" fmla="*/ 718 h 11363"/>
                  <a:gd name="connsiteX7" fmla="*/ 8911 w 8911"/>
                  <a:gd name="connsiteY7" fmla="*/ 0 h 1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11" h="11363">
                    <a:moveTo>
                      <a:pt x="0" y="11363"/>
                    </a:moveTo>
                    <a:lnTo>
                      <a:pt x="4127" y="6040"/>
                    </a:lnTo>
                    <a:lnTo>
                      <a:pt x="4186" y="5981"/>
                    </a:lnTo>
                    <a:lnTo>
                      <a:pt x="5203" y="4725"/>
                    </a:lnTo>
                    <a:lnTo>
                      <a:pt x="6698" y="2871"/>
                    </a:lnTo>
                    <a:lnTo>
                      <a:pt x="8313" y="778"/>
                    </a:lnTo>
                    <a:lnTo>
                      <a:pt x="8373" y="718"/>
                    </a:lnTo>
                    <a:lnTo>
                      <a:pt x="8911" y="0"/>
                    </a:lnTo>
                  </a:path>
                </a:pathLst>
              </a:custGeom>
              <a:noFill/>
              <a:ln w="6350" cap="rnd">
                <a:solidFill>
                  <a:schemeClr val="bg1">
                    <a:alpha val="80000"/>
                  </a:schemeClr>
                </a:solidFill>
                <a:prstDash val="solid"/>
                <a:round/>
              </a:ln>
            </p:spPr>
            <p:txBody>
              <a:bodyPr rtlCol="0" anchor="ctr"/>
              <a:lstStyle/>
              <a:p>
                <a:endParaRPr lang="en-GB"/>
              </a:p>
            </p:txBody>
          </p:sp>
          <p:sp>
            <p:nvSpPr>
              <p:cNvPr id="7039" name="Vrije vorm: vorm 7038">
                <a:extLst>
                  <a:ext uri="{FF2B5EF4-FFF2-40B4-BE49-F238E27FC236}">
                    <a16:creationId xmlns:a16="http://schemas.microsoft.com/office/drawing/2014/main" id="{1148289A-7116-4296-8F74-06CAC3E63007}"/>
                  </a:ext>
                </a:extLst>
              </p:cNvPr>
              <p:cNvSpPr/>
              <p:nvPr/>
            </p:nvSpPr>
            <p:spPr>
              <a:xfrm>
                <a:off x="6692387" y="1960042"/>
                <a:ext cx="6160" cy="3767"/>
              </a:xfrm>
              <a:custGeom>
                <a:avLst/>
                <a:gdLst>
                  <a:gd name="connsiteX0" fmla="*/ 6160 w 6160"/>
                  <a:gd name="connsiteY0" fmla="*/ 0 h 3767"/>
                  <a:gd name="connsiteX1" fmla="*/ 0 w 6160"/>
                  <a:gd name="connsiteY1" fmla="*/ 3768 h 3767"/>
                </a:gdLst>
                <a:ahLst/>
                <a:cxnLst>
                  <a:cxn ang="0">
                    <a:pos x="connsiteX0" y="connsiteY0"/>
                  </a:cxn>
                  <a:cxn ang="0">
                    <a:pos x="connsiteX1" y="connsiteY1"/>
                  </a:cxn>
                </a:cxnLst>
                <a:rect l="l" t="t" r="r" b="b"/>
                <a:pathLst>
                  <a:path w="6160" h="3767">
                    <a:moveTo>
                      <a:pt x="6160" y="0"/>
                    </a:moveTo>
                    <a:lnTo>
                      <a:pt x="0" y="3768"/>
                    </a:lnTo>
                  </a:path>
                </a:pathLst>
              </a:custGeom>
              <a:noFill/>
              <a:ln w="6350" cap="rnd">
                <a:solidFill>
                  <a:schemeClr val="bg1">
                    <a:alpha val="80000"/>
                  </a:schemeClr>
                </a:solidFill>
                <a:prstDash val="solid"/>
                <a:round/>
              </a:ln>
            </p:spPr>
            <p:txBody>
              <a:bodyPr rtlCol="0" anchor="ctr"/>
              <a:lstStyle/>
              <a:p>
                <a:endParaRPr lang="en-GB"/>
              </a:p>
            </p:txBody>
          </p:sp>
          <p:sp>
            <p:nvSpPr>
              <p:cNvPr id="7040" name="Vrije vorm: vorm 7039">
                <a:extLst>
                  <a:ext uri="{FF2B5EF4-FFF2-40B4-BE49-F238E27FC236}">
                    <a16:creationId xmlns:a16="http://schemas.microsoft.com/office/drawing/2014/main" id="{261E0A21-931C-47C3-9808-E077B3D97C87}"/>
                  </a:ext>
                </a:extLst>
              </p:cNvPr>
              <p:cNvSpPr/>
              <p:nvPr/>
            </p:nvSpPr>
            <p:spPr>
              <a:xfrm>
                <a:off x="6741250" y="1933069"/>
                <a:ext cx="4365" cy="2870"/>
              </a:xfrm>
              <a:custGeom>
                <a:avLst/>
                <a:gdLst>
                  <a:gd name="connsiteX0" fmla="*/ 0 w 4365"/>
                  <a:gd name="connsiteY0" fmla="*/ 0 h 2870"/>
                  <a:gd name="connsiteX1" fmla="*/ 119 w 4365"/>
                  <a:gd name="connsiteY1" fmla="*/ 60 h 2870"/>
                  <a:gd name="connsiteX2" fmla="*/ 239 w 4365"/>
                  <a:gd name="connsiteY2" fmla="*/ 120 h 2870"/>
                  <a:gd name="connsiteX3" fmla="*/ 1316 w 4365"/>
                  <a:gd name="connsiteY3" fmla="*/ 837 h 2870"/>
                  <a:gd name="connsiteX4" fmla="*/ 4366 w 4365"/>
                  <a:gd name="connsiteY4" fmla="*/ 2871 h 2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5" h="2870">
                    <a:moveTo>
                      <a:pt x="0" y="0"/>
                    </a:moveTo>
                    <a:lnTo>
                      <a:pt x="119" y="60"/>
                    </a:lnTo>
                    <a:lnTo>
                      <a:pt x="239" y="120"/>
                    </a:lnTo>
                    <a:lnTo>
                      <a:pt x="1316" y="837"/>
                    </a:lnTo>
                    <a:lnTo>
                      <a:pt x="4366" y="2871"/>
                    </a:lnTo>
                  </a:path>
                </a:pathLst>
              </a:custGeom>
              <a:noFill/>
              <a:ln w="6350" cap="rnd">
                <a:solidFill>
                  <a:schemeClr val="bg1">
                    <a:alpha val="80000"/>
                  </a:schemeClr>
                </a:solidFill>
                <a:prstDash val="solid"/>
                <a:round/>
              </a:ln>
            </p:spPr>
            <p:txBody>
              <a:bodyPr rtlCol="0" anchor="ctr"/>
              <a:lstStyle/>
              <a:p>
                <a:endParaRPr lang="en-GB"/>
              </a:p>
            </p:txBody>
          </p:sp>
          <p:sp>
            <p:nvSpPr>
              <p:cNvPr id="7041" name="Vrije vorm: vorm 7040">
                <a:extLst>
                  <a:ext uri="{FF2B5EF4-FFF2-40B4-BE49-F238E27FC236}">
                    <a16:creationId xmlns:a16="http://schemas.microsoft.com/office/drawing/2014/main" id="{D00CD6D1-8AFA-4BCA-8D96-DC8B57594DA9}"/>
                  </a:ext>
                </a:extLst>
              </p:cNvPr>
              <p:cNvSpPr/>
              <p:nvPr/>
            </p:nvSpPr>
            <p:spPr>
              <a:xfrm>
                <a:off x="6741130" y="1937435"/>
                <a:ext cx="2631" cy="1734"/>
              </a:xfrm>
              <a:custGeom>
                <a:avLst/>
                <a:gdLst>
                  <a:gd name="connsiteX0" fmla="*/ 2632 w 2631"/>
                  <a:gd name="connsiteY0" fmla="*/ 1734 h 1734"/>
                  <a:gd name="connsiteX1" fmla="*/ 0 w 2631"/>
                  <a:gd name="connsiteY1" fmla="*/ 0 h 1734"/>
                </a:gdLst>
                <a:ahLst/>
                <a:cxnLst>
                  <a:cxn ang="0">
                    <a:pos x="connsiteX0" y="connsiteY0"/>
                  </a:cxn>
                  <a:cxn ang="0">
                    <a:pos x="connsiteX1" y="connsiteY1"/>
                  </a:cxn>
                </a:cxnLst>
                <a:rect l="l" t="t" r="r" b="b"/>
                <a:pathLst>
                  <a:path w="2631" h="1734">
                    <a:moveTo>
                      <a:pt x="2632" y="1734"/>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42" name="Vrije vorm: vorm 7041">
                <a:extLst>
                  <a:ext uri="{FF2B5EF4-FFF2-40B4-BE49-F238E27FC236}">
                    <a16:creationId xmlns:a16="http://schemas.microsoft.com/office/drawing/2014/main" id="{9915C0C0-1A09-4A2F-87CF-9BA58EAF26B2}"/>
                  </a:ext>
                </a:extLst>
              </p:cNvPr>
              <p:cNvSpPr/>
              <p:nvPr/>
            </p:nvSpPr>
            <p:spPr>
              <a:xfrm>
                <a:off x="6724504" y="1893178"/>
                <a:ext cx="957" cy="657"/>
              </a:xfrm>
              <a:custGeom>
                <a:avLst/>
                <a:gdLst>
                  <a:gd name="connsiteX0" fmla="*/ 0 w 957"/>
                  <a:gd name="connsiteY0" fmla="*/ 0 h 657"/>
                  <a:gd name="connsiteX1" fmla="*/ 957 w 957"/>
                  <a:gd name="connsiteY1" fmla="*/ 658 h 657"/>
                </a:gdLst>
                <a:ahLst/>
                <a:cxnLst>
                  <a:cxn ang="0">
                    <a:pos x="connsiteX0" y="connsiteY0"/>
                  </a:cxn>
                  <a:cxn ang="0">
                    <a:pos x="connsiteX1" y="connsiteY1"/>
                  </a:cxn>
                </a:cxnLst>
                <a:rect l="l" t="t" r="r" b="b"/>
                <a:pathLst>
                  <a:path w="957" h="657">
                    <a:moveTo>
                      <a:pt x="0" y="0"/>
                    </a:moveTo>
                    <a:lnTo>
                      <a:pt x="957" y="658"/>
                    </a:lnTo>
                  </a:path>
                </a:pathLst>
              </a:custGeom>
              <a:noFill/>
              <a:ln w="6350" cap="rnd">
                <a:solidFill>
                  <a:schemeClr val="bg1">
                    <a:alpha val="80000"/>
                  </a:schemeClr>
                </a:solidFill>
                <a:prstDash val="solid"/>
                <a:round/>
              </a:ln>
            </p:spPr>
            <p:txBody>
              <a:bodyPr rtlCol="0" anchor="ctr"/>
              <a:lstStyle/>
              <a:p>
                <a:endParaRPr lang="en-GB"/>
              </a:p>
            </p:txBody>
          </p:sp>
          <p:sp>
            <p:nvSpPr>
              <p:cNvPr id="7043" name="Vrije vorm: vorm 7042">
                <a:extLst>
                  <a:ext uri="{FF2B5EF4-FFF2-40B4-BE49-F238E27FC236}">
                    <a16:creationId xmlns:a16="http://schemas.microsoft.com/office/drawing/2014/main" id="{A71DDFE3-9C08-4932-8A4B-CB5F30861E3D}"/>
                  </a:ext>
                </a:extLst>
              </p:cNvPr>
              <p:cNvSpPr/>
              <p:nvPr/>
            </p:nvSpPr>
            <p:spPr>
              <a:xfrm>
                <a:off x="6707459" y="1899398"/>
                <a:ext cx="777" cy="2332"/>
              </a:xfrm>
              <a:custGeom>
                <a:avLst/>
                <a:gdLst>
                  <a:gd name="connsiteX0" fmla="*/ 778 w 777"/>
                  <a:gd name="connsiteY0" fmla="*/ 0 h 2332"/>
                  <a:gd name="connsiteX1" fmla="*/ 239 w 777"/>
                  <a:gd name="connsiteY1" fmla="*/ 1555 h 2332"/>
                  <a:gd name="connsiteX2" fmla="*/ 0 w 777"/>
                  <a:gd name="connsiteY2" fmla="*/ 2332 h 2332"/>
                </a:gdLst>
                <a:ahLst/>
                <a:cxnLst>
                  <a:cxn ang="0">
                    <a:pos x="connsiteX0" y="connsiteY0"/>
                  </a:cxn>
                  <a:cxn ang="0">
                    <a:pos x="connsiteX1" y="connsiteY1"/>
                  </a:cxn>
                  <a:cxn ang="0">
                    <a:pos x="connsiteX2" y="connsiteY2"/>
                  </a:cxn>
                </a:cxnLst>
                <a:rect l="l" t="t" r="r" b="b"/>
                <a:pathLst>
                  <a:path w="777" h="2332">
                    <a:moveTo>
                      <a:pt x="778" y="0"/>
                    </a:moveTo>
                    <a:lnTo>
                      <a:pt x="239" y="1555"/>
                    </a:lnTo>
                    <a:lnTo>
                      <a:pt x="0" y="2332"/>
                    </a:lnTo>
                  </a:path>
                </a:pathLst>
              </a:custGeom>
              <a:noFill/>
              <a:ln w="6350" cap="rnd">
                <a:solidFill>
                  <a:schemeClr val="bg1">
                    <a:alpha val="80000"/>
                  </a:schemeClr>
                </a:solidFill>
                <a:prstDash val="solid"/>
                <a:round/>
              </a:ln>
            </p:spPr>
            <p:txBody>
              <a:bodyPr rtlCol="0" anchor="ctr"/>
              <a:lstStyle/>
              <a:p>
                <a:endParaRPr lang="en-GB"/>
              </a:p>
            </p:txBody>
          </p:sp>
          <p:sp>
            <p:nvSpPr>
              <p:cNvPr id="7044" name="Vrije vorm: vorm 7043">
                <a:extLst>
                  <a:ext uri="{FF2B5EF4-FFF2-40B4-BE49-F238E27FC236}">
                    <a16:creationId xmlns:a16="http://schemas.microsoft.com/office/drawing/2014/main" id="{80570FC8-37C1-460C-A717-23793B28C245}"/>
                  </a:ext>
                </a:extLst>
              </p:cNvPr>
              <p:cNvSpPr/>
              <p:nvPr/>
            </p:nvSpPr>
            <p:spPr>
              <a:xfrm>
                <a:off x="6714097" y="1891025"/>
                <a:ext cx="119" cy="59"/>
              </a:xfrm>
              <a:custGeom>
                <a:avLst/>
                <a:gdLst>
                  <a:gd name="connsiteX0" fmla="*/ 0 w 119"/>
                  <a:gd name="connsiteY0" fmla="*/ 0 h 59"/>
                  <a:gd name="connsiteX1" fmla="*/ 120 w 119"/>
                  <a:gd name="connsiteY1" fmla="*/ 60 h 59"/>
                </a:gdLst>
                <a:ahLst/>
                <a:cxnLst>
                  <a:cxn ang="0">
                    <a:pos x="connsiteX0" y="connsiteY0"/>
                  </a:cxn>
                  <a:cxn ang="0">
                    <a:pos x="connsiteX1" y="connsiteY1"/>
                  </a:cxn>
                </a:cxnLst>
                <a:rect l="l" t="t" r="r" b="b"/>
                <a:pathLst>
                  <a:path w="119" h="59">
                    <a:moveTo>
                      <a:pt x="0" y="0"/>
                    </a:moveTo>
                    <a:lnTo>
                      <a:pt x="120" y="60"/>
                    </a:lnTo>
                  </a:path>
                </a:pathLst>
              </a:custGeom>
              <a:noFill/>
              <a:ln w="6350" cap="rnd">
                <a:solidFill>
                  <a:schemeClr val="bg1">
                    <a:alpha val="80000"/>
                  </a:schemeClr>
                </a:solidFill>
                <a:prstDash val="solid"/>
                <a:round/>
              </a:ln>
            </p:spPr>
            <p:txBody>
              <a:bodyPr rtlCol="0" anchor="ctr"/>
              <a:lstStyle/>
              <a:p>
                <a:endParaRPr lang="en-GB"/>
              </a:p>
            </p:txBody>
          </p:sp>
          <p:sp>
            <p:nvSpPr>
              <p:cNvPr id="7045" name="Vrije vorm: vorm 7044">
                <a:extLst>
                  <a:ext uri="{FF2B5EF4-FFF2-40B4-BE49-F238E27FC236}">
                    <a16:creationId xmlns:a16="http://schemas.microsoft.com/office/drawing/2014/main" id="{BE947AA9-B18B-45FF-A971-E5DB9EB9C377}"/>
                  </a:ext>
                </a:extLst>
              </p:cNvPr>
              <p:cNvSpPr/>
              <p:nvPr/>
            </p:nvSpPr>
            <p:spPr>
              <a:xfrm>
                <a:off x="6657879" y="1962674"/>
                <a:ext cx="4904" cy="3528"/>
              </a:xfrm>
              <a:custGeom>
                <a:avLst/>
                <a:gdLst>
                  <a:gd name="connsiteX0" fmla="*/ 0 w 4904"/>
                  <a:gd name="connsiteY0" fmla="*/ 3529 h 3528"/>
                  <a:gd name="connsiteX1" fmla="*/ 538 w 4904"/>
                  <a:gd name="connsiteY1" fmla="*/ 3170 h 3528"/>
                  <a:gd name="connsiteX2" fmla="*/ 4904 w 4904"/>
                  <a:gd name="connsiteY2" fmla="*/ 0 h 3528"/>
                </a:gdLst>
                <a:ahLst/>
                <a:cxnLst>
                  <a:cxn ang="0">
                    <a:pos x="connsiteX0" y="connsiteY0"/>
                  </a:cxn>
                  <a:cxn ang="0">
                    <a:pos x="connsiteX1" y="connsiteY1"/>
                  </a:cxn>
                  <a:cxn ang="0">
                    <a:pos x="connsiteX2" y="connsiteY2"/>
                  </a:cxn>
                </a:cxnLst>
                <a:rect l="l" t="t" r="r" b="b"/>
                <a:pathLst>
                  <a:path w="4904" h="3528">
                    <a:moveTo>
                      <a:pt x="0" y="3529"/>
                    </a:moveTo>
                    <a:lnTo>
                      <a:pt x="538" y="3170"/>
                    </a:lnTo>
                    <a:lnTo>
                      <a:pt x="4904" y="0"/>
                    </a:lnTo>
                  </a:path>
                </a:pathLst>
              </a:custGeom>
              <a:noFill/>
              <a:ln w="6350" cap="rnd">
                <a:solidFill>
                  <a:schemeClr val="bg1">
                    <a:alpha val="80000"/>
                  </a:schemeClr>
                </a:solidFill>
                <a:prstDash val="solid"/>
                <a:round/>
              </a:ln>
            </p:spPr>
            <p:txBody>
              <a:bodyPr rtlCol="0" anchor="ctr"/>
              <a:lstStyle/>
              <a:p>
                <a:endParaRPr lang="en-GB"/>
              </a:p>
            </p:txBody>
          </p:sp>
          <p:sp>
            <p:nvSpPr>
              <p:cNvPr id="7046" name="Vrije vorm: vorm 7045">
                <a:extLst>
                  <a:ext uri="{FF2B5EF4-FFF2-40B4-BE49-F238E27FC236}">
                    <a16:creationId xmlns:a16="http://schemas.microsoft.com/office/drawing/2014/main" id="{C470674C-BA14-457F-8283-43CA3CE34635}"/>
                  </a:ext>
                </a:extLst>
              </p:cNvPr>
              <p:cNvSpPr/>
              <p:nvPr/>
            </p:nvSpPr>
            <p:spPr>
              <a:xfrm>
                <a:off x="6688201" y="1902687"/>
                <a:ext cx="31039" cy="20633"/>
              </a:xfrm>
              <a:custGeom>
                <a:avLst/>
                <a:gdLst>
                  <a:gd name="connsiteX0" fmla="*/ 31040 w 31039"/>
                  <a:gd name="connsiteY0" fmla="*/ 20633 h 20633"/>
                  <a:gd name="connsiteX1" fmla="*/ 30801 w 31039"/>
                  <a:gd name="connsiteY1" fmla="*/ 20454 h 20633"/>
                  <a:gd name="connsiteX2" fmla="*/ 30741 w 31039"/>
                  <a:gd name="connsiteY2" fmla="*/ 20394 h 20633"/>
                  <a:gd name="connsiteX3" fmla="*/ 30681 w 31039"/>
                  <a:gd name="connsiteY3" fmla="*/ 20334 h 20633"/>
                  <a:gd name="connsiteX4" fmla="*/ 24461 w 31039"/>
                  <a:gd name="connsiteY4" fmla="*/ 16208 h 20633"/>
                  <a:gd name="connsiteX5" fmla="*/ 23086 w 31039"/>
                  <a:gd name="connsiteY5" fmla="*/ 15311 h 20633"/>
                  <a:gd name="connsiteX6" fmla="*/ 20813 w 31039"/>
                  <a:gd name="connsiteY6" fmla="*/ 13815 h 20633"/>
                  <a:gd name="connsiteX7" fmla="*/ 18540 w 31039"/>
                  <a:gd name="connsiteY7" fmla="*/ 12320 h 20633"/>
                  <a:gd name="connsiteX8" fmla="*/ 18360 w 31039"/>
                  <a:gd name="connsiteY8" fmla="*/ 12201 h 20633"/>
                  <a:gd name="connsiteX9" fmla="*/ 17344 w 31039"/>
                  <a:gd name="connsiteY9" fmla="*/ 11543 h 20633"/>
                  <a:gd name="connsiteX10" fmla="*/ 13337 w 31039"/>
                  <a:gd name="connsiteY10" fmla="*/ 8911 h 20633"/>
                  <a:gd name="connsiteX11" fmla="*/ 11902 w 31039"/>
                  <a:gd name="connsiteY11" fmla="*/ 7954 h 20633"/>
                  <a:gd name="connsiteX12" fmla="*/ 11064 w 31039"/>
                  <a:gd name="connsiteY12" fmla="*/ 7416 h 20633"/>
                  <a:gd name="connsiteX13" fmla="*/ 7954 w 31039"/>
                  <a:gd name="connsiteY13" fmla="*/ 5323 h 20633"/>
                  <a:gd name="connsiteX14" fmla="*/ 2691 w 31039"/>
                  <a:gd name="connsiteY14" fmla="*/ 1854 h 20633"/>
                  <a:gd name="connsiteX15" fmla="*/ 2632 w 31039"/>
                  <a:gd name="connsiteY15" fmla="*/ 1794 h 20633"/>
                  <a:gd name="connsiteX16" fmla="*/ 1136 w 31039"/>
                  <a:gd name="connsiteY16" fmla="*/ 777 h 20633"/>
                  <a:gd name="connsiteX17" fmla="*/ 538 w 31039"/>
                  <a:gd name="connsiteY17" fmla="*/ 359 h 20633"/>
                  <a:gd name="connsiteX18" fmla="*/ 0 w 31039"/>
                  <a:gd name="connsiteY18" fmla="*/ 0 h 2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039" h="20633">
                    <a:moveTo>
                      <a:pt x="31040" y="20633"/>
                    </a:moveTo>
                    <a:lnTo>
                      <a:pt x="30801" y="20454"/>
                    </a:lnTo>
                    <a:lnTo>
                      <a:pt x="30741" y="20394"/>
                    </a:lnTo>
                    <a:lnTo>
                      <a:pt x="30681" y="20334"/>
                    </a:lnTo>
                    <a:lnTo>
                      <a:pt x="24461" y="16208"/>
                    </a:lnTo>
                    <a:lnTo>
                      <a:pt x="23086" y="15311"/>
                    </a:lnTo>
                    <a:lnTo>
                      <a:pt x="20813" y="13815"/>
                    </a:lnTo>
                    <a:lnTo>
                      <a:pt x="18540" y="12320"/>
                    </a:lnTo>
                    <a:lnTo>
                      <a:pt x="18360" y="12201"/>
                    </a:lnTo>
                    <a:lnTo>
                      <a:pt x="17344" y="11543"/>
                    </a:lnTo>
                    <a:lnTo>
                      <a:pt x="13337" y="8911"/>
                    </a:lnTo>
                    <a:lnTo>
                      <a:pt x="11902" y="7954"/>
                    </a:lnTo>
                    <a:lnTo>
                      <a:pt x="11064" y="7416"/>
                    </a:lnTo>
                    <a:lnTo>
                      <a:pt x="7954" y="5323"/>
                    </a:lnTo>
                    <a:lnTo>
                      <a:pt x="2691" y="1854"/>
                    </a:lnTo>
                    <a:lnTo>
                      <a:pt x="2632" y="1794"/>
                    </a:lnTo>
                    <a:lnTo>
                      <a:pt x="1136" y="777"/>
                    </a:lnTo>
                    <a:lnTo>
                      <a:pt x="538" y="35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47" name="Vrije vorm: vorm 7046">
                <a:extLst>
                  <a:ext uri="{FF2B5EF4-FFF2-40B4-BE49-F238E27FC236}">
                    <a16:creationId xmlns:a16="http://schemas.microsoft.com/office/drawing/2014/main" id="{5E0B9413-5B16-47E7-97A5-02FB60C43555}"/>
                  </a:ext>
                </a:extLst>
              </p:cNvPr>
              <p:cNvSpPr/>
              <p:nvPr/>
            </p:nvSpPr>
            <p:spPr>
              <a:xfrm>
                <a:off x="6732040" y="1823323"/>
                <a:ext cx="1016" cy="1196"/>
              </a:xfrm>
              <a:custGeom>
                <a:avLst/>
                <a:gdLst>
                  <a:gd name="connsiteX0" fmla="*/ 1017 w 1016"/>
                  <a:gd name="connsiteY0" fmla="*/ 1196 h 1196"/>
                  <a:gd name="connsiteX1" fmla="*/ 0 w 1016"/>
                  <a:gd name="connsiteY1" fmla="*/ 0 h 1196"/>
                </a:gdLst>
                <a:ahLst/>
                <a:cxnLst>
                  <a:cxn ang="0">
                    <a:pos x="connsiteX0" y="connsiteY0"/>
                  </a:cxn>
                  <a:cxn ang="0">
                    <a:pos x="connsiteX1" y="connsiteY1"/>
                  </a:cxn>
                </a:cxnLst>
                <a:rect l="l" t="t" r="r" b="b"/>
                <a:pathLst>
                  <a:path w="1016" h="1196">
                    <a:moveTo>
                      <a:pt x="1017" y="1196"/>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48" name="Vrije vorm: vorm 7047">
                <a:extLst>
                  <a:ext uri="{FF2B5EF4-FFF2-40B4-BE49-F238E27FC236}">
                    <a16:creationId xmlns:a16="http://schemas.microsoft.com/office/drawing/2014/main" id="{EEFDE05B-A1AB-4059-AE35-280A7962FCF3}"/>
                  </a:ext>
                </a:extLst>
              </p:cNvPr>
              <p:cNvSpPr/>
              <p:nvPr/>
            </p:nvSpPr>
            <p:spPr>
              <a:xfrm>
                <a:off x="6651659" y="1938332"/>
                <a:ext cx="3289" cy="1315"/>
              </a:xfrm>
              <a:custGeom>
                <a:avLst/>
                <a:gdLst>
                  <a:gd name="connsiteX0" fmla="*/ 0 w 3289"/>
                  <a:gd name="connsiteY0" fmla="*/ 1316 h 1315"/>
                  <a:gd name="connsiteX1" fmla="*/ 3290 w 3289"/>
                  <a:gd name="connsiteY1" fmla="*/ 0 h 1315"/>
                </a:gdLst>
                <a:ahLst/>
                <a:cxnLst>
                  <a:cxn ang="0">
                    <a:pos x="connsiteX0" y="connsiteY0"/>
                  </a:cxn>
                  <a:cxn ang="0">
                    <a:pos x="connsiteX1" y="connsiteY1"/>
                  </a:cxn>
                </a:cxnLst>
                <a:rect l="l" t="t" r="r" b="b"/>
                <a:pathLst>
                  <a:path w="3289" h="1315">
                    <a:moveTo>
                      <a:pt x="0" y="1316"/>
                    </a:moveTo>
                    <a:lnTo>
                      <a:pt x="3290" y="0"/>
                    </a:lnTo>
                  </a:path>
                </a:pathLst>
              </a:custGeom>
              <a:noFill/>
              <a:ln w="6350" cap="rnd">
                <a:solidFill>
                  <a:schemeClr val="bg1">
                    <a:alpha val="80000"/>
                  </a:schemeClr>
                </a:solidFill>
                <a:prstDash val="solid"/>
                <a:round/>
              </a:ln>
            </p:spPr>
            <p:txBody>
              <a:bodyPr rtlCol="0" anchor="ctr"/>
              <a:lstStyle/>
              <a:p>
                <a:endParaRPr lang="en-GB"/>
              </a:p>
            </p:txBody>
          </p:sp>
          <p:sp>
            <p:nvSpPr>
              <p:cNvPr id="7049" name="Vrije vorm: vorm 7048">
                <a:extLst>
                  <a:ext uri="{FF2B5EF4-FFF2-40B4-BE49-F238E27FC236}">
                    <a16:creationId xmlns:a16="http://schemas.microsoft.com/office/drawing/2014/main" id="{BCA541BF-99BA-42A6-9681-AA3FB7849171}"/>
                  </a:ext>
                </a:extLst>
              </p:cNvPr>
              <p:cNvSpPr/>
              <p:nvPr/>
            </p:nvSpPr>
            <p:spPr>
              <a:xfrm>
                <a:off x="6692088" y="1877508"/>
                <a:ext cx="957" cy="239"/>
              </a:xfrm>
              <a:custGeom>
                <a:avLst/>
                <a:gdLst>
                  <a:gd name="connsiteX0" fmla="*/ 0 w 957"/>
                  <a:gd name="connsiteY0" fmla="*/ 239 h 239"/>
                  <a:gd name="connsiteX1" fmla="*/ 957 w 957"/>
                  <a:gd name="connsiteY1" fmla="*/ 0 h 239"/>
                </a:gdLst>
                <a:ahLst/>
                <a:cxnLst>
                  <a:cxn ang="0">
                    <a:pos x="connsiteX0" y="connsiteY0"/>
                  </a:cxn>
                  <a:cxn ang="0">
                    <a:pos x="connsiteX1" y="connsiteY1"/>
                  </a:cxn>
                </a:cxnLst>
                <a:rect l="l" t="t" r="r" b="b"/>
                <a:pathLst>
                  <a:path w="957" h="239">
                    <a:moveTo>
                      <a:pt x="0" y="239"/>
                    </a:moveTo>
                    <a:lnTo>
                      <a:pt x="957" y="0"/>
                    </a:lnTo>
                  </a:path>
                </a:pathLst>
              </a:custGeom>
              <a:noFill/>
              <a:ln w="6350" cap="rnd">
                <a:solidFill>
                  <a:schemeClr val="bg1">
                    <a:alpha val="80000"/>
                  </a:schemeClr>
                </a:solidFill>
                <a:prstDash val="solid"/>
                <a:round/>
              </a:ln>
            </p:spPr>
            <p:txBody>
              <a:bodyPr rtlCol="0" anchor="ctr"/>
              <a:lstStyle/>
              <a:p>
                <a:endParaRPr lang="en-GB"/>
              </a:p>
            </p:txBody>
          </p:sp>
          <p:sp>
            <p:nvSpPr>
              <p:cNvPr id="7050" name="Vrije vorm: vorm 7049">
                <a:extLst>
                  <a:ext uri="{FF2B5EF4-FFF2-40B4-BE49-F238E27FC236}">
                    <a16:creationId xmlns:a16="http://schemas.microsoft.com/office/drawing/2014/main" id="{D927DDB5-1415-41BF-B867-9B9DBE3AEA68}"/>
                  </a:ext>
                </a:extLst>
              </p:cNvPr>
              <p:cNvSpPr/>
              <p:nvPr/>
            </p:nvSpPr>
            <p:spPr>
              <a:xfrm>
                <a:off x="6655606" y="1920211"/>
                <a:ext cx="2691" cy="598"/>
              </a:xfrm>
              <a:custGeom>
                <a:avLst/>
                <a:gdLst>
                  <a:gd name="connsiteX0" fmla="*/ 0 w 2691"/>
                  <a:gd name="connsiteY0" fmla="*/ 598 h 598"/>
                  <a:gd name="connsiteX1" fmla="*/ 1375 w 2691"/>
                  <a:gd name="connsiteY1" fmla="*/ 299 h 598"/>
                  <a:gd name="connsiteX2" fmla="*/ 2691 w 2691"/>
                  <a:gd name="connsiteY2" fmla="*/ 0 h 598"/>
                </a:gdLst>
                <a:ahLst/>
                <a:cxnLst>
                  <a:cxn ang="0">
                    <a:pos x="connsiteX0" y="connsiteY0"/>
                  </a:cxn>
                  <a:cxn ang="0">
                    <a:pos x="connsiteX1" y="connsiteY1"/>
                  </a:cxn>
                  <a:cxn ang="0">
                    <a:pos x="connsiteX2" y="connsiteY2"/>
                  </a:cxn>
                </a:cxnLst>
                <a:rect l="l" t="t" r="r" b="b"/>
                <a:pathLst>
                  <a:path w="2691" h="598">
                    <a:moveTo>
                      <a:pt x="0" y="598"/>
                    </a:moveTo>
                    <a:lnTo>
                      <a:pt x="1375" y="299"/>
                    </a:lnTo>
                    <a:lnTo>
                      <a:pt x="2691" y="0"/>
                    </a:lnTo>
                  </a:path>
                </a:pathLst>
              </a:custGeom>
              <a:noFill/>
              <a:ln w="6350" cap="rnd">
                <a:solidFill>
                  <a:schemeClr val="bg1">
                    <a:alpha val="80000"/>
                  </a:schemeClr>
                </a:solidFill>
                <a:prstDash val="solid"/>
                <a:round/>
              </a:ln>
            </p:spPr>
            <p:txBody>
              <a:bodyPr rtlCol="0" anchor="ctr"/>
              <a:lstStyle/>
              <a:p>
                <a:endParaRPr lang="en-GB"/>
              </a:p>
            </p:txBody>
          </p:sp>
          <p:sp>
            <p:nvSpPr>
              <p:cNvPr id="7051" name="Vrije vorm: vorm 7050">
                <a:extLst>
                  <a:ext uri="{FF2B5EF4-FFF2-40B4-BE49-F238E27FC236}">
                    <a16:creationId xmlns:a16="http://schemas.microsoft.com/office/drawing/2014/main" id="{FAE1BEA1-2CC2-4845-BA04-A2CCD3200F7A}"/>
                  </a:ext>
                </a:extLst>
              </p:cNvPr>
              <p:cNvSpPr/>
              <p:nvPr/>
            </p:nvSpPr>
            <p:spPr>
              <a:xfrm>
                <a:off x="6712722" y="1809208"/>
                <a:ext cx="597" cy="717"/>
              </a:xfrm>
              <a:custGeom>
                <a:avLst/>
                <a:gdLst>
                  <a:gd name="connsiteX0" fmla="*/ 0 w 597"/>
                  <a:gd name="connsiteY0" fmla="*/ 718 h 717"/>
                  <a:gd name="connsiteX1" fmla="*/ 598 w 597"/>
                  <a:gd name="connsiteY1" fmla="*/ 0 h 717"/>
                </a:gdLst>
                <a:ahLst/>
                <a:cxnLst>
                  <a:cxn ang="0">
                    <a:pos x="connsiteX0" y="connsiteY0"/>
                  </a:cxn>
                  <a:cxn ang="0">
                    <a:pos x="connsiteX1" y="connsiteY1"/>
                  </a:cxn>
                </a:cxnLst>
                <a:rect l="l" t="t" r="r" b="b"/>
                <a:pathLst>
                  <a:path w="597" h="717">
                    <a:moveTo>
                      <a:pt x="0" y="718"/>
                    </a:moveTo>
                    <a:lnTo>
                      <a:pt x="598" y="0"/>
                    </a:lnTo>
                  </a:path>
                </a:pathLst>
              </a:custGeom>
              <a:noFill/>
              <a:ln w="6350" cap="rnd">
                <a:solidFill>
                  <a:schemeClr val="bg1">
                    <a:alpha val="80000"/>
                  </a:schemeClr>
                </a:solidFill>
                <a:prstDash val="solid"/>
                <a:round/>
              </a:ln>
            </p:spPr>
            <p:txBody>
              <a:bodyPr rtlCol="0" anchor="ctr"/>
              <a:lstStyle/>
              <a:p>
                <a:endParaRPr lang="en-GB"/>
              </a:p>
            </p:txBody>
          </p:sp>
          <p:sp>
            <p:nvSpPr>
              <p:cNvPr id="7052" name="Vrije vorm: vorm 7051">
                <a:extLst>
                  <a:ext uri="{FF2B5EF4-FFF2-40B4-BE49-F238E27FC236}">
                    <a16:creationId xmlns:a16="http://schemas.microsoft.com/office/drawing/2014/main" id="{2C2E1D18-9581-465C-9CB2-FC0B04D2875B}"/>
                  </a:ext>
                </a:extLst>
              </p:cNvPr>
              <p:cNvSpPr/>
              <p:nvPr/>
            </p:nvSpPr>
            <p:spPr>
              <a:xfrm>
                <a:off x="6652795" y="1909505"/>
                <a:ext cx="1495" cy="119"/>
              </a:xfrm>
              <a:custGeom>
                <a:avLst/>
                <a:gdLst>
                  <a:gd name="connsiteX0" fmla="*/ 1495 w 1495"/>
                  <a:gd name="connsiteY0" fmla="*/ 120 h 119"/>
                  <a:gd name="connsiteX1" fmla="*/ 0 w 1495"/>
                  <a:gd name="connsiteY1" fmla="*/ 0 h 119"/>
                </a:gdLst>
                <a:ahLst/>
                <a:cxnLst>
                  <a:cxn ang="0">
                    <a:pos x="connsiteX0" y="connsiteY0"/>
                  </a:cxn>
                  <a:cxn ang="0">
                    <a:pos x="connsiteX1" y="connsiteY1"/>
                  </a:cxn>
                </a:cxnLst>
                <a:rect l="l" t="t" r="r" b="b"/>
                <a:pathLst>
                  <a:path w="1495" h="119">
                    <a:moveTo>
                      <a:pt x="1495" y="12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53" name="Vrije vorm: vorm 7052">
                <a:extLst>
                  <a:ext uri="{FF2B5EF4-FFF2-40B4-BE49-F238E27FC236}">
                    <a16:creationId xmlns:a16="http://schemas.microsoft.com/office/drawing/2014/main" id="{6707ABE5-3406-459B-8A44-89D7253BC545}"/>
                  </a:ext>
                </a:extLst>
              </p:cNvPr>
              <p:cNvSpPr/>
              <p:nvPr/>
            </p:nvSpPr>
            <p:spPr>
              <a:xfrm>
                <a:off x="6622652" y="1956872"/>
                <a:ext cx="119" cy="119"/>
              </a:xfrm>
              <a:custGeom>
                <a:avLst/>
                <a:gdLst>
                  <a:gd name="connsiteX0" fmla="*/ 120 w 119"/>
                  <a:gd name="connsiteY0" fmla="*/ 0 h 119"/>
                  <a:gd name="connsiteX1" fmla="*/ 0 w 119"/>
                  <a:gd name="connsiteY1" fmla="*/ 120 h 119"/>
                </a:gdLst>
                <a:ahLst/>
                <a:cxnLst>
                  <a:cxn ang="0">
                    <a:pos x="connsiteX0" y="connsiteY0"/>
                  </a:cxn>
                  <a:cxn ang="0">
                    <a:pos x="connsiteX1" y="connsiteY1"/>
                  </a:cxn>
                </a:cxnLst>
                <a:rect l="l" t="t" r="r" b="b"/>
                <a:pathLst>
                  <a:path w="119" h="119">
                    <a:moveTo>
                      <a:pt x="120" y="0"/>
                    </a:moveTo>
                    <a:lnTo>
                      <a:pt x="0" y="120"/>
                    </a:lnTo>
                  </a:path>
                </a:pathLst>
              </a:custGeom>
              <a:noFill/>
              <a:ln w="6350" cap="rnd">
                <a:solidFill>
                  <a:schemeClr val="bg1">
                    <a:alpha val="80000"/>
                  </a:schemeClr>
                </a:solidFill>
                <a:prstDash val="solid"/>
                <a:round/>
              </a:ln>
            </p:spPr>
            <p:txBody>
              <a:bodyPr rtlCol="0" anchor="ctr"/>
              <a:lstStyle/>
              <a:p>
                <a:endParaRPr lang="en-GB"/>
              </a:p>
            </p:txBody>
          </p:sp>
          <p:sp>
            <p:nvSpPr>
              <p:cNvPr id="7054" name="Vrije vorm: vorm 7053">
                <a:extLst>
                  <a:ext uri="{FF2B5EF4-FFF2-40B4-BE49-F238E27FC236}">
                    <a16:creationId xmlns:a16="http://schemas.microsoft.com/office/drawing/2014/main" id="{9A6D2515-3BE2-45E9-8EAF-A8AA955D6D60}"/>
                  </a:ext>
                </a:extLst>
              </p:cNvPr>
              <p:cNvSpPr/>
              <p:nvPr/>
            </p:nvSpPr>
            <p:spPr>
              <a:xfrm>
                <a:off x="6622772" y="1956813"/>
                <a:ext cx="4963" cy="3648"/>
              </a:xfrm>
              <a:custGeom>
                <a:avLst/>
                <a:gdLst>
                  <a:gd name="connsiteX0" fmla="*/ 4964 w 4963"/>
                  <a:gd name="connsiteY0" fmla="*/ 3648 h 3648"/>
                  <a:gd name="connsiteX1" fmla="*/ 0 w 4963"/>
                  <a:gd name="connsiteY1" fmla="*/ 0 h 3648"/>
                </a:gdLst>
                <a:ahLst/>
                <a:cxnLst>
                  <a:cxn ang="0">
                    <a:pos x="connsiteX0" y="connsiteY0"/>
                  </a:cxn>
                  <a:cxn ang="0">
                    <a:pos x="connsiteX1" y="connsiteY1"/>
                  </a:cxn>
                </a:cxnLst>
                <a:rect l="l" t="t" r="r" b="b"/>
                <a:pathLst>
                  <a:path w="4963" h="3648">
                    <a:moveTo>
                      <a:pt x="4964" y="3648"/>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55" name="Vrije vorm: vorm 7054">
                <a:extLst>
                  <a:ext uri="{FF2B5EF4-FFF2-40B4-BE49-F238E27FC236}">
                    <a16:creationId xmlns:a16="http://schemas.microsoft.com/office/drawing/2014/main" id="{16825AB0-9D69-4038-9A3A-0A743BFD28B5}"/>
                  </a:ext>
                </a:extLst>
              </p:cNvPr>
              <p:cNvSpPr/>
              <p:nvPr/>
            </p:nvSpPr>
            <p:spPr>
              <a:xfrm>
                <a:off x="6688739" y="1802869"/>
                <a:ext cx="8791" cy="837"/>
              </a:xfrm>
              <a:custGeom>
                <a:avLst/>
                <a:gdLst>
                  <a:gd name="connsiteX0" fmla="*/ 0 w 8791"/>
                  <a:gd name="connsiteY0" fmla="*/ 0 h 837"/>
                  <a:gd name="connsiteX1" fmla="*/ 1017 w 8791"/>
                  <a:gd name="connsiteY1" fmla="*/ 120 h 837"/>
                  <a:gd name="connsiteX2" fmla="*/ 8792 w 8791"/>
                  <a:gd name="connsiteY2" fmla="*/ 837 h 837"/>
                </a:gdLst>
                <a:ahLst/>
                <a:cxnLst>
                  <a:cxn ang="0">
                    <a:pos x="connsiteX0" y="connsiteY0"/>
                  </a:cxn>
                  <a:cxn ang="0">
                    <a:pos x="connsiteX1" y="connsiteY1"/>
                  </a:cxn>
                  <a:cxn ang="0">
                    <a:pos x="connsiteX2" y="connsiteY2"/>
                  </a:cxn>
                </a:cxnLst>
                <a:rect l="l" t="t" r="r" b="b"/>
                <a:pathLst>
                  <a:path w="8791" h="837">
                    <a:moveTo>
                      <a:pt x="0" y="0"/>
                    </a:moveTo>
                    <a:lnTo>
                      <a:pt x="1017" y="120"/>
                    </a:lnTo>
                    <a:lnTo>
                      <a:pt x="8792" y="837"/>
                    </a:lnTo>
                  </a:path>
                </a:pathLst>
              </a:custGeom>
              <a:noFill/>
              <a:ln w="6350" cap="rnd">
                <a:solidFill>
                  <a:schemeClr val="bg1">
                    <a:alpha val="80000"/>
                  </a:schemeClr>
                </a:solidFill>
                <a:prstDash val="solid"/>
                <a:round/>
              </a:ln>
            </p:spPr>
            <p:txBody>
              <a:bodyPr rtlCol="0" anchor="ctr"/>
              <a:lstStyle/>
              <a:p>
                <a:endParaRPr lang="en-GB"/>
              </a:p>
            </p:txBody>
          </p:sp>
          <p:sp>
            <p:nvSpPr>
              <p:cNvPr id="7056" name="Vrije vorm: vorm 7055">
                <a:extLst>
                  <a:ext uri="{FF2B5EF4-FFF2-40B4-BE49-F238E27FC236}">
                    <a16:creationId xmlns:a16="http://schemas.microsoft.com/office/drawing/2014/main" id="{3697E09A-6EE9-43F0-8340-368E0E13083E}"/>
                  </a:ext>
                </a:extLst>
              </p:cNvPr>
              <p:cNvSpPr/>
              <p:nvPr/>
            </p:nvSpPr>
            <p:spPr>
              <a:xfrm>
                <a:off x="6640415" y="1825057"/>
                <a:ext cx="5980" cy="358"/>
              </a:xfrm>
              <a:custGeom>
                <a:avLst/>
                <a:gdLst>
                  <a:gd name="connsiteX0" fmla="*/ 0 w 5980"/>
                  <a:gd name="connsiteY0" fmla="*/ 0 h 358"/>
                  <a:gd name="connsiteX1" fmla="*/ 0 w 5980"/>
                  <a:gd name="connsiteY1" fmla="*/ 359 h 358"/>
                </a:gdLst>
                <a:ahLst/>
                <a:cxnLst>
                  <a:cxn ang="0">
                    <a:pos x="connsiteX0" y="connsiteY0"/>
                  </a:cxn>
                  <a:cxn ang="0">
                    <a:pos x="connsiteX1" y="connsiteY1"/>
                  </a:cxn>
                </a:cxnLst>
                <a:rect l="l" t="t" r="r" b="b"/>
                <a:pathLst>
                  <a:path w="5980" h="358">
                    <a:moveTo>
                      <a:pt x="0" y="0"/>
                    </a:moveTo>
                    <a:lnTo>
                      <a:pt x="0" y="359"/>
                    </a:lnTo>
                  </a:path>
                </a:pathLst>
              </a:custGeom>
              <a:noFill/>
              <a:ln w="6350" cap="rnd">
                <a:solidFill>
                  <a:schemeClr val="bg1">
                    <a:alpha val="80000"/>
                  </a:schemeClr>
                </a:solidFill>
                <a:prstDash val="solid"/>
                <a:round/>
              </a:ln>
            </p:spPr>
            <p:txBody>
              <a:bodyPr rtlCol="0" anchor="ctr"/>
              <a:lstStyle/>
              <a:p>
                <a:endParaRPr lang="en-GB"/>
              </a:p>
            </p:txBody>
          </p:sp>
          <p:sp>
            <p:nvSpPr>
              <p:cNvPr id="7057" name="Vrije vorm: vorm 7056">
                <a:extLst>
                  <a:ext uri="{FF2B5EF4-FFF2-40B4-BE49-F238E27FC236}">
                    <a16:creationId xmlns:a16="http://schemas.microsoft.com/office/drawing/2014/main" id="{CBC352B9-8281-4861-A6DB-C3EC025C6BB3}"/>
                  </a:ext>
                </a:extLst>
              </p:cNvPr>
              <p:cNvSpPr/>
              <p:nvPr/>
            </p:nvSpPr>
            <p:spPr>
              <a:xfrm>
                <a:off x="6624327" y="1842282"/>
                <a:ext cx="299" cy="657"/>
              </a:xfrm>
              <a:custGeom>
                <a:avLst/>
                <a:gdLst>
                  <a:gd name="connsiteX0" fmla="*/ 299 w 299"/>
                  <a:gd name="connsiteY0" fmla="*/ 658 h 657"/>
                  <a:gd name="connsiteX1" fmla="*/ 0 w 299"/>
                  <a:gd name="connsiteY1" fmla="*/ 0 h 657"/>
                </a:gdLst>
                <a:ahLst/>
                <a:cxnLst>
                  <a:cxn ang="0">
                    <a:pos x="connsiteX0" y="connsiteY0"/>
                  </a:cxn>
                  <a:cxn ang="0">
                    <a:pos x="connsiteX1" y="connsiteY1"/>
                  </a:cxn>
                </a:cxnLst>
                <a:rect l="l" t="t" r="r" b="b"/>
                <a:pathLst>
                  <a:path w="299" h="657">
                    <a:moveTo>
                      <a:pt x="299" y="658"/>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7058" name="Vrije vorm: vorm 7057">
                <a:extLst>
                  <a:ext uri="{FF2B5EF4-FFF2-40B4-BE49-F238E27FC236}">
                    <a16:creationId xmlns:a16="http://schemas.microsoft.com/office/drawing/2014/main" id="{448A1253-BB07-412E-A93D-BBF3130C5DC5}"/>
                  </a:ext>
                </a:extLst>
              </p:cNvPr>
              <p:cNvSpPr/>
              <p:nvPr/>
            </p:nvSpPr>
            <p:spPr>
              <a:xfrm>
                <a:off x="6602617" y="1866504"/>
                <a:ext cx="7057" cy="16985"/>
              </a:xfrm>
              <a:custGeom>
                <a:avLst/>
                <a:gdLst>
                  <a:gd name="connsiteX0" fmla="*/ 0 w 7057"/>
                  <a:gd name="connsiteY0" fmla="*/ 16985 h 16985"/>
                  <a:gd name="connsiteX1" fmla="*/ 4785 w 7057"/>
                  <a:gd name="connsiteY1" fmla="*/ 5442 h 16985"/>
                  <a:gd name="connsiteX2" fmla="*/ 7057 w 7057"/>
                  <a:gd name="connsiteY2" fmla="*/ 0 h 16985"/>
                </a:gdLst>
                <a:ahLst/>
                <a:cxnLst>
                  <a:cxn ang="0">
                    <a:pos x="connsiteX0" y="connsiteY0"/>
                  </a:cxn>
                  <a:cxn ang="0">
                    <a:pos x="connsiteX1" y="connsiteY1"/>
                  </a:cxn>
                  <a:cxn ang="0">
                    <a:pos x="connsiteX2" y="connsiteY2"/>
                  </a:cxn>
                </a:cxnLst>
                <a:rect l="l" t="t" r="r" b="b"/>
                <a:pathLst>
                  <a:path w="7057" h="16985">
                    <a:moveTo>
                      <a:pt x="0" y="16985"/>
                    </a:moveTo>
                    <a:lnTo>
                      <a:pt x="4785" y="5442"/>
                    </a:lnTo>
                    <a:lnTo>
                      <a:pt x="7057" y="0"/>
                    </a:lnTo>
                  </a:path>
                </a:pathLst>
              </a:custGeom>
              <a:noFill/>
              <a:ln w="6350" cap="rnd">
                <a:solidFill>
                  <a:schemeClr val="bg1">
                    <a:alpha val="80000"/>
                  </a:schemeClr>
                </a:solidFill>
                <a:prstDash val="solid"/>
                <a:round/>
              </a:ln>
            </p:spPr>
            <p:txBody>
              <a:bodyPr rtlCol="0" anchor="ctr"/>
              <a:lstStyle/>
              <a:p>
                <a:endParaRPr lang="en-GB"/>
              </a:p>
            </p:txBody>
          </p:sp>
          <p:sp>
            <p:nvSpPr>
              <p:cNvPr id="7059" name="Vrije vorm: vorm 7058">
                <a:extLst>
                  <a:ext uri="{FF2B5EF4-FFF2-40B4-BE49-F238E27FC236}">
                    <a16:creationId xmlns:a16="http://schemas.microsoft.com/office/drawing/2014/main" id="{81AC3D47-C628-4E18-9665-A0305C9FAEC8}"/>
                  </a:ext>
                </a:extLst>
              </p:cNvPr>
              <p:cNvSpPr/>
              <p:nvPr/>
            </p:nvSpPr>
            <p:spPr>
              <a:xfrm>
                <a:off x="6623729" y="1839112"/>
                <a:ext cx="1375" cy="6219"/>
              </a:xfrm>
              <a:custGeom>
                <a:avLst/>
                <a:gdLst>
                  <a:gd name="connsiteX0" fmla="*/ 1375 w 1375"/>
                  <a:gd name="connsiteY0" fmla="*/ 6220 h 6219"/>
                  <a:gd name="connsiteX1" fmla="*/ 897 w 1375"/>
                  <a:gd name="connsiteY1" fmla="*/ 4007 h 6219"/>
                  <a:gd name="connsiteX2" fmla="*/ 837 w 1375"/>
                  <a:gd name="connsiteY2" fmla="*/ 3828 h 6219"/>
                  <a:gd name="connsiteX3" fmla="*/ 718 w 1375"/>
                  <a:gd name="connsiteY3" fmla="*/ 3349 h 6219"/>
                  <a:gd name="connsiteX4" fmla="*/ 0 w 1375"/>
                  <a:gd name="connsiteY4" fmla="*/ 0 h 6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 h="6219">
                    <a:moveTo>
                      <a:pt x="1375" y="6220"/>
                    </a:moveTo>
                    <a:lnTo>
                      <a:pt x="897" y="4007"/>
                    </a:lnTo>
                    <a:lnTo>
                      <a:pt x="837" y="3828"/>
                    </a:lnTo>
                    <a:lnTo>
                      <a:pt x="718" y="3349"/>
                    </a:lnTo>
                    <a:lnTo>
                      <a:pt x="0" y="0"/>
                    </a:lnTo>
                  </a:path>
                </a:pathLst>
              </a:custGeom>
              <a:noFill/>
              <a:ln w="6350" cap="rnd">
                <a:solidFill>
                  <a:schemeClr val="bg1">
                    <a:alpha val="80000"/>
                  </a:schemeClr>
                </a:solidFill>
                <a:prstDash val="solid"/>
                <a:round/>
              </a:ln>
            </p:spPr>
            <p:txBody>
              <a:bodyPr rtlCol="0" anchor="ctr"/>
              <a:lstStyle/>
              <a:p>
                <a:endParaRPr lang="en-GB"/>
              </a:p>
            </p:txBody>
          </p:sp>
        </p:grpSp>
        <p:grpSp>
          <p:nvGrpSpPr>
            <p:cNvPr id="5359" name="Graphic 3">
              <a:extLst>
                <a:ext uri="{FF2B5EF4-FFF2-40B4-BE49-F238E27FC236}">
                  <a16:creationId xmlns:a16="http://schemas.microsoft.com/office/drawing/2014/main" id="{70EAF7B2-68F1-4B9A-B147-B32CBA0030F6}"/>
                </a:ext>
              </a:extLst>
            </p:cNvPr>
            <p:cNvGrpSpPr/>
            <p:nvPr/>
          </p:nvGrpSpPr>
          <p:grpSpPr>
            <a:xfrm>
              <a:off x="7045041" y="1643512"/>
              <a:ext cx="68667" cy="60805"/>
              <a:chOff x="7045041" y="1643512"/>
              <a:chExt cx="68667" cy="60805"/>
            </a:xfrm>
            <a:solidFill>
              <a:srgbClr val="FFFFFF"/>
            </a:solidFill>
          </p:grpSpPr>
          <p:sp>
            <p:nvSpPr>
              <p:cNvPr id="6356" name="Vrije vorm: vorm 6355">
                <a:extLst>
                  <a:ext uri="{FF2B5EF4-FFF2-40B4-BE49-F238E27FC236}">
                    <a16:creationId xmlns:a16="http://schemas.microsoft.com/office/drawing/2014/main" id="{19115DB1-A1BB-4B4D-BA57-39B6C1C1BF80}"/>
                  </a:ext>
                </a:extLst>
              </p:cNvPr>
              <p:cNvSpPr/>
              <p:nvPr/>
            </p:nvSpPr>
            <p:spPr>
              <a:xfrm>
                <a:off x="7050654" y="1687320"/>
                <a:ext cx="18882" cy="16997"/>
              </a:xfrm>
              <a:custGeom>
                <a:avLst/>
                <a:gdLst>
                  <a:gd name="connsiteX0" fmla="*/ 13495 w 18882"/>
                  <a:gd name="connsiteY0" fmla="*/ 16388 h 16997"/>
                  <a:gd name="connsiteX1" fmla="*/ 13256 w 18882"/>
                  <a:gd name="connsiteY1" fmla="*/ 16209 h 16997"/>
                  <a:gd name="connsiteX2" fmla="*/ 1175 w 18882"/>
                  <a:gd name="connsiteY2" fmla="*/ 6101 h 16997"/>
                  <a:gd name="connsiteX3" fmla="*/ 697 w 18882"/>
                  <a:gd name="connsiteY3" fmla="*/ 1675 h 16997"/>
                  <a:gd name="connsiteX4" fmla="*/ 5183 w 18882"/>
                  <a:gd name="connsiteY4" fmla="*/ 420 h 16997"/>
                  <a:gd name="connsiteX5" fmla="*/ 18160 w 18882"/>
                  <a:gd name="connsiteY5" fmla="*/ 11304 h 16997"/>
                  <a:gd name="connsiteX6" fmla="*/ 17682 w 18882"/>
                  <a:gd name="connsiteY6" fmla="*/ 15910 h 16997"/>
                  <a:gd name="connsiteX7" fmla="*/ 13495 w 18882"/>
                  <a:gd name="connsiteY7" fmla="*/ 16388 h 1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82" h="16997">
                    <a:moveTo>
                      <a:pt x="13495" y="16388"/>
                    </a:moveTo>
                    <a:cubicBezTo>
                      <a:pt x="13435" y="16328"/>
                      <a:pt x="13376" y="16268"/>
                      <a:pt x="13256" y="16209"/>
                    </a:cubicBezTo>
                    <a:cubicBezTo>
                      <a:pt x="8891" y="11544"/>
                      <a:pt x="6558" y="9570"/>
                      <a:pt x="1175" y="6101"/>
                    </a:cubicBezTo>
                    <a:cubicBezTo>
                      <a:pt x="-200" y="5264"/>
                      <a:pt x="-380" y="3231"/>
                      <a:pt x="697" y="1675"/>
                    </a:cubicBezTo>
                    <a:cubicBezTo>
                      <a:pt x="1833" y="121"/>
                      <a:pt x="3806" y="-478"/>
                      <a:pt x="5183" y="420"/>
                    </a:cubicBezTo>
                    <a:cubicBezTo>
                      <a:pt x="10864" y="4128"/>
                      <a:pt x="13495" y="6340"/>
                      <a:pt x="18160" y="11304"/>
                    </a:cubicBezTo>
                    <a:cubicBezTo>
                      <a:pt x="19297" y="12501"/>
                      <a:pt x="19058" y="14534"/>
                      <a:pt x="17682" y="15910"/>
                    </a:cubicBezTo>
                    <a:cubicBezTo>
                      <a:pt x="16426" y="17166"/>
                      <a:pt x="14632" y="17345"/>
                      <a:pt x="13495" y="16388"/>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6357" name="Vrije vorm: vorm 6356">
                <a:extLst>
                  <a:ext uri="{FF2B5EF4-FFF2-40B4-BE49-F238E27FC236}">
                    <a16:creationId xmlns:a16="http://schemas.microsoft.com/office/drawing/2014/main" id="{56EA48BF-2CB4-4F59-AC5E-9BDD63C436BE}"/>
                  </a:ext>
                </a:extLst>
              </p:cNvPr>
              <p:cNvSpPr/>
              <p:nvPr/>
            </p:nvSpPr>
            <p:spPr>
              <a:xfrm>
                <a:off x="7050657" y="1672750"/>
                <a:ext cx="33224" cy="28993"/>
              </a:xfrm>
              <a:custGeom>
                <a:avLst/>
                <a:gdLst>
                  <a:gd name="connsiteX0" fmla="*/ 933 w 33224"/>
                  <a:gd name="connsiteY0" fmla="*/ 5959 h 28993"/>
                  <a:gd name="connsiteX1" fmla="*/ 574 w 33224"/>
                  <a:gd name="connsiteY1" fmla="*/ 1952 h 28993"/>
                  <a:gd name="connsiteX2" fmla="*/ 5000 w 33224"/>
                  <a:gd name="connsiteY2" fmla="*/ 277 h 28993"/>
                  <a:gd name="connsiteX3" fmla="*/ 20191 w 33224"/>
                  <a:gd name="connsiteY3" fmla="*/ 10265 h 28993"/>
                  <a:gd name="connsiteX4" fmla="*/ 32691 w 33224"/>
                  <a:gd name="connsiteY4" fmla="*/ 23482 h 28993"/>
                  <a:gd name="connsiteX5" fmla="*/ 31854 w 33224"/>
                  <a:gd name="connsiteY5" fmla="*/ 28088 h 28993"/>
                  <a:gd name="connsiteX6" fmla="*/ 27428 w 33224"/>
                  <a:gd name="connsiteY6" fmla="*/ 27968 h 28993"/>
                  <a:gd name="connsiteX7" fmla="*/ 15705 w 33224"/>
                  <a:gd name="connsiteY7" fmla="*/ 15588 h 28993"/>
                  <a:gd name="connsiteX8" fmla="*/ 1471 w 33224"/>
                  <a:gd name="connsiteY8" fmla="*/ 6198 h 28993"/>
                  <a:gd name="connsiteX9" fmla="*/ 933 w 33224"/>
                  <a:gd name="connsiteY9" fmla="*/ 5959 h 2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24" h="28993">
                    <a:moveTo>
                      <a:pt x="933" y="5959"/>
                    </a:moveTo>
                    <a:cubicBezTo>
                      <a:pt x="-143" y="5062"/>
                      <a:pt x="-323" y="3387"/>
                      <a:pt x="574" y="1952"/>
                    </a:cubicBezTo>
                    <a:cubicBezTo>
                      <a:pt x="1531" y="277"/>
                      <a:pt x="3505" y="-441"/>
                      <a:pt x="5000" y="277"/>
                    </a:cubicBezTo>
                    <a:cubicBezTo>
                      <a:pt x="10741" y="3208"/>
                      <a:pt x="15287" y="6198"/>
                      <a:pt x="20191" y="10265"/>
                    </a:cubicBezTo>
                    <a:cubicBezTo>
                      <a:pt x="25095" y="14392"/>
                      <a:pt x="28803" y="18339"/>
                      <a:pt x="32691" y="23482"/>
                    </a:cubicBezTo>
                    <a:cubicBezTo>
                      <a:pt x="33647" y="24798"/>
                      <a:pt x="33289" y="26832"/>
                      <a:pt x="31854" y="28088"/>
                    </a:cubicBezTo>
                    <a:cubicBezTo>
                      <a:pt x="30418" y="29343"/>
                      <a:pt x="28444" y="29284"/>
                      <a:pt x="27428" y="27968"/>
                    </a:cubicBezTo>
                    <a:cubicBezTo>
                      <a:pt x="22882" y="21927"/>
                      <a:pt x="18935" y="18279"/>
                      <a:pt x="15705" y="15588"/>
                    </a:cubicBezTo>
                    <a:cubicBezTo>
                      <a:pt x="12476" y="12896"/>
                      <a:pt x="8229" y="9607"/>
                      <a:pt x="1471" y="6198"/>
                    </a:cubicBezTo>
                    <a:cubicBezTo>
                      <a:pt x="1292" y="6198"/>
                      <a:pt x="1113" y="6078"/>
                      <a:pt x="933" y="5959"/>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6358" name="Vrije vorm: vorm 6357">
                <a:extLst>
                  <a:ext uri="{FF2B5EF4-FFF2-40B4-BE49-F238E27FC236}">
                    <a16:creationId xmlns:a16="http://schemas.microsoft.com/office/drawing/2014/main" id="{5A9F4439-3863-43A5-A2E6-49B0905CB310}"/>
                  </a:ext>
                </a:extLst>
              </p:cNvPr>
              <p:cNvSpPr/>
              <p:nvPr/>
            </p:nvSpPr>
            <p:spPr>
              <a:xfrm>
                <a:off x="7047802" y="1657561"/>
                <a:ext cx="51474" cy="44488"/>
              </a:xfrm>
              <a:custGeom>
                <a:avLst/>
                <a:gdLst>
                  <a:gd name="connsiteX0" fmla="*/ 46072 w 51474"/>
                  <a:gd name="connsiteY0" fmla="*/ 43875 h 44488"/>
                  <a:gd name="connsiteX1" fmla="*/ 45533 w 51474"/>
                  <a:gd name="connsiteY1" fmla="*/ 43217 h 44488"/>
                  <a:gd name="connsiteX2" fmla="*/ 33273 w 51474"/>
                  <a:gd name="connsiteY2" fmla="*/ 26949 h 44488"/>
                  <a:gd name="connsiteX3" fmla="*/ 19817 w 51474"/>
                  <a:gd name="connsiteY3" fmla="*/ 15646 h 44488"/>
                  <a:gd name="connsiteX4" fmla="*/ 1695 w 51474"/>
                  <a:gd name="connsiteY4" fmla="*/ 6376 h 44488"/>
                  <a:gd name="connsiteX5" fmla="*/ 379 w 51474"/>
                  <a:gd name="connsiteY5" fmla="*/ 2249 h 44488"/>
                  <a:gd name="connsiteX6" fmla="*/ 4685 w 51474"/>
                  <a:gd name="connsiteY6" fmla="*/ 156 h 44488"/>
                  <a:gd name="connsiteX7" fmla="*/ 23883 w 51474"/>
                  <a:gd name="connsiteY7" fmla="*/ 9964 h 44488"/>
                  <a:gd name="connsiteX8" fmla="*/ 38117 w 51474"/>
                  <a:gd name="connsiteY8" fmla="*/ 21925 h 44488"/>
                  <a:gd name="connsiteX9" fmla="*/ 51096 w 51474"/>
                  <a:gd name="connsiteY9" fmla="*/ 39150 h 44488"/>
                  <a:gd name="connsiteX10" fmla="*/ 49780 w 51474"/>
                  <a:gd name="connsiteY10" fmla="*/ 43755 h 44488"/>
                  <a:gd name="connsiteX11" fmla="*/ 46072 w 51474"/>
                  <a:gd name="connsiteY11" fmla="*/ 43875 h 4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74" h="44488">
                    <a:moveTo>
                      <a:pt x="46072" y="43875"/>
                    </a:moveTo>
                    <a:cubicBezTo>
                      <a:pt x="45833" y="43695"/>
                      <a:pt x="45653" y="43456"/>
                      <a:pt x="45533" y="43217"/>
                    </a:cubicBezTo>
                    <a:cubicBezTo>
                      <a:pt x="42005" y="37116"/>
                      <a:pt x="38117" y="31973"/>
                      <a:pt x="33273" y="26949"/>
                    </a:cubicBezTo>
                    <a:cubicBezTo>
                      <a:pt x="29086" y="22583"/>
                      <a:pt x="24840" y="18995"/>
                      <a:pt x="19817" y="15646"/>
                    </a:cubicBezTo>
                    <a:cubicBezTo>
                      <a:pt x="14015" y="11758"/>
                      <a:pt x="8273" y="8828"/>
                      <a:pt x="1695" y="6376"/>
                    </a:cubicBezTo>
                    <a:cubicBezTo>
                      <a:pt x="140" y="5837"/>
                      <a:pt x="-458" y="3923"/>
                      <a:pt x="379" y="2249"/>
                    </a:cubicBezTo>
                    <a:cubicBezTo>
                      <a:pt x="1217" y="514"/>
                      <a:pt x="3130" y="-383"/>
                      <a:pt x="4685" y="156"/>
                    </a:cubicBezTo>
                    <a:cubicBezTo>
                      <a:pt x="11683" y="2727"/>
                      <a:pt x="17783" y="5837"/>
                      <a:pt x="23883" y="9964"/>
                    </a:cubicBezTo>
                    <a:cubicBezTo>
                      <a:pt x="29206" y="13552"/>
                      <a:pt x="33692" y="17320"/>
                      <a:pt x="38117" y="21925"/>
                    </a:cubicBezTo>
                    <a:cubicBezTo>
                      <a:pt x="43201" y="27248"/>
                      <a:pt x="47328" y="32691"/>
                      <a:pt x="51096" y="39150"/>
                    </a:cubicBezTo>
                    <a:cubicBezTo>
                      <a:pt x="51933" y="40585"/>
                      <a:pt x="51335" y="42619"/>
                      <a:pt x="49780" y="43755"/>
                    </a:cubicBezTo>
                    <a:cubicBezTo>
                      <a:pt x="48524" y="44712"/>
                      <a:pt x="47028" y="44712"/>
                      <a:pt x="46072" y="43875"/>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6359" name="Vrije vorm: vorm 6358">
                <a:extLst>
                  <a:ext uri="{FF2B5EF4-FFF2-40B4-BE49-F238E27FC236}">
                    <a16:creationId xmlns:a16="http://schemas.microsoft.com/office/drawing/2014/main" id="{02FA6C68-E85F-447A-8753-0BBB1429012B}"/>
                  </a:ext>
                </a:extLst>
              </p:cNvPr>
              <p:cNvSpPr/>
              <p:nvPr/>
            </p:nvSpPr>
            <p:spPr>
              <a:xfrm>
                <a:off x="7045041" y="1643512"/>
                <a:ext cx="68667" cy="58845"/>
              </a:xfrm>
              <a:custGeom>
                <a:avLst/>
                <a:gdLst>
                  <a:gd name="connsiteX0" fmla="*/ 63246 w 68667"/>
                  <a:gd name="connsiteY0" fmla="*/ 58223 h 58845"/>
                  <a:gd name="connsiteX1" fmla="*/ 62588 w 68667"/>
                  <a:gd name="connsiteY1" fmla="*/ 57386 h 58845"/>
                  <a:gd name="connsiteX2" fmla="*/ 46739 w 68667"/>
                  <a:gd name="connsiteY2" fmla="*/ 33642 h 58845"/>
                  <a:gd name="connsiteX3" fmla="*/ 28019 w 68667"/>
                  <a:gd name="connsiteY3" fmla="*/ 17913 h 58845"/>
                  <a:gd name="connsiteX4" fmla="*/ 1883 w 68667"/>
                  <a:gd name="connsiteY4" fmla="*/ 6430 h 58845"/>
                  <a:gd name="connsiteX5" fmla="*/ 269 w 68667"/>
                  <a:gd name="connsiteY5" fmla="*/ 2483 h 58845"/>
                  <a:gd name="connsiteX6" fmla="*/ 4455 w 68667"/>
                  <a:gd name="connsiteY6" fmla="*/ 90 h 58845"/>
                  <a:gd name="connsiteX7" fmla="*/ 31967 w 68667"/>
                  <a:gd name="connsiteY7" fmla="*/ 12231 h 58845"/>
                  <a:gd name="connsiteX8" fmla="*/ 51703 w 68667"/>
                  <a:gd name="connsiteY8" fmla="*/ 28798 h 58845"/>
                  <a:gd name="connsiteX9" fmla="*/ 68389 w 68667"/>
                  <a:gd name="connsiteY9" fmla="*/ 53797 h 58845"/>
                  <a:gd name="connsiteX10" fmla="*/ 66775 w 68667"/>
                  <a:gd name="connsiteY10" fmla="*/ 58343 h 58845"/>
                  <a:gd name="connsiteX11" fmla="*/ 63246 w 68667"/>
                  <a:gd name="connsiteY11" fmla="*/ 58223 h 5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667" h="58845">
                    <a:moveTo>
                      <a:pt x="63246" y="58223"/>
                    </a:moveTo>
                    <a:cubicBezTo>
                      <a:pt x="62947" y="57984"/>
                      <a:pt x="62768" y="57685"/>
                      <a:pt x="62588" y="57386"/>
                    </a:cubicBezTo>
                    <a:cubicBezTo>
                      <a:pt x="58342" y="48355"/>
                      <a:pt x="53318" y="40819"/>
                      <a:pt x="46739" y="33642"/>
                    </a:cubicBezTo>
                    <a:cubicBezTo>
                      <a:pt x="41057" y="27422"/>
                      <a:pt x="35137" y="22398"/>
                      <a:pt x="28019" y="17913"/>
                    </a:cubicBezTo>
                    <a:cubicBezTo>
                      <a:pt x="19826" y="12710"/>
                      <a:pt x="11513" y="9061"/>
                      <a:pt x="1883" y="6430"/>
                    </a:cubicBezTo>
                    <a:cubicBezTo>
                      <a:pt x="329" y="6011"/>
                      <a:pt x="-448" y="4217"/>
                      <a:pt x="269" y="2483"/>
                    </a:cubicBezTo>
                    <a:cubicBezTo>
                      <a:pt x="987" y="748"/>
                      <a:pt x="2841" y="-328"/>
                      <a:pt x="4455" y="90"/>
                    </a:cubicBezTo>
                    <a:cubicBezTo>
                      <a:pt x="14622" y="2842"/>
                      <a:pt x="23355" y="6729"/>
                      <a:pt x="31967" y="12231"/>
                    </a:cubicBezTo>
                    <a:cubicBezTo>
                      <a:pt x="39443" y="17016"/>
                      <a:pt x="45723" y="22279"/>
                      <a:pt x="51703" y="28798"/>
                    </a:cubicBezTo>
                    <a:cubicBezTo>
                      <a:pt x="58641" y="36393"/>
                      <a:pt x="63903" y="44348"/>
                      <a:pt x="68389" y="53797"/>
                    </a:cubicBezTo>
                    <a:cubicBezTo>
                      <a:pt x="69107" y="55292"/>
                      <a:pt x="68389" y="57326"/>
                      <a:pt x="66775" y="58343"/>
                    </a:cubicBezTo>
                    <a:cubicBezTo>
                      <a:pt x="65578" y="59060"/>
                      <a:pt x="64143" y="59000"/>
                      <a:pt x="63246" y="58223"/>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grpSp>
        <p:grpSp>
          <p:nvGrpSpPr>
            <p:cNvPr id="5360" name="Graphic 3">
              <a:extLst>
                <a:ext uri="{FF2B5EF4-FFF2-40B4-BE49-F238E27FC236}">
                  <a16:creationId xmlns:a16="http://schemas.microsoft.com/office/drawing/2014/main" id="{C07C0CC4-2ED6-42E4-AEE0-F394592B5CB4}"/>
                </a:ext>
              </a:extLst>
            </p:cNvPr>
            <p:cNvGrpSpPr/>
            <p:nvPr/>
          </p:nvGrpSpPr>
          <p:grpSpPr>
            <a:xfrm>
              <a:off x="7504031" y="2629105"/>
              <a:ext cx="285519" cy="228164"/>
              <a:chOff x="7504031" y="2629105"/>
              <a:chExt cx="285519" cy="228164"/>
            </a:xfrm>
          </p:grpSpPr>
          <p:sp>
            <p:nvSpPr>
              <p:cNvPr id="5883" name="Vrije vorm: vorm 5882">
                <a:extLst>
                  <a:ext uri="{FF2B5EF4-FFF2-40B4-BE49-F238E27FC236}">
                    <a16:creationId xmlns:a16="http://schemas.microsoft.com/office/drawing/2014/main" id="{A01DF5E8-58D6-48BD-88E7-1C43BAA41F81}"/>
                  </a:ext>
                </a:extLst>
              </p:cNvPr>
              <p:cNvSpPr/>
              <p:nvPr/>
            </p:nvSpPr>
            <p:spPr>
              <a:xfrm>
                <a:off x="7631540" y="2756734"/>
                <a:ext cx="17822" cy="13576"/>
              </a:xfrm>
              <a:custGeom>
                <a:avLst/>
                <a:gdLst>
                  <a:gd name="connsiteX0" fmla="*/ 17823 w 17822"/>
                  <a:gd name="connsiteY0" fmla="*/ 0 h 13576"/>
                  <a:gd name="connsiteX1" fmla="*/ 0 w 17822"/>
                  <a:gd name="connsiteY1" fmla="*/ 13576 h 13576"/>
                </a:gdLst>
                <a:ahLst/>
                <a:cxnLst>
                  <a:cxn ang="0">
                    <a:pos x="connsiteX0" y="connsiteY0"/>
                  </a:cxn>
                  <a:cxn ang="0">
                    <a:pos x="connsiteX1" y="connsiteY1"/>
                  </a:cxn>
                </a:cxnLst>
                <a:rect l="l" t="t" r="r" b="b"/>
                <a:pathLst>
                  <a:path w="17822" h="13576">
                    <a:moveTo>
                      <a:pt x="17823" y="0"/>
                    </a:moveTo>
                    <a:lnTo>
                      <a:pt x="0" y="13576"/>
                    </a:lnTo>
                  </a:path>
                </a:pathLst>
              </a:custGeom>
              <a:ln w="6350" cap="rnd">
                <a:solidFill>
                  <a:schemeClr val="bg1">
                    <a:alpha val="80000"/>
                  </a:schemeClr>
                </a:solidFill>
                <a:prstDash val="solid"/>
                <a:round/>
              </a:ln>
            </p:spPr>
            <p:txBody>
              <a:bodyPr rtlCol="0" anchor="ctr"/>
              <a:lstStyle/>
              <a:p>
                <a:endParaRPr lang="en-GB"/>
              </a:p>
            </p:txBody>
          </p:sp>
          <p:sp>
            <p:nvSpPr>
              <p:cNvPr id="5884" name="Vrije vorm: vorm 5883">
                <a:extLst>
                  <a:ext uri="{FF2B5EF4-FFF2-40B4-BE49-F238E27FC236}">
                    <a16:creationId xmlns:a16="http://schemas.microsoft.com/office/drawing/2014/main" id="{5BDA82DE-C4F8-4C74-A855-48BD61432389}"/>
                  </a:ext>
                </a:extLst>
              </p:cNvPr>
              <p:cNvSpPr/>
              <p:nvPr/>
            </p:nvSpPr>
            <p:spPr>
              <a:xfrm>
                <a:off x="7572929" y="2678506"/>
                <a:ext cx="119" cy="13217"/>
              </a:xfrm>
              <a:custGeom>
                <a:avLst/>
                <a:gdLst>
                  <a:gd name="connsiteX0" fmla="*/ 120 w 119"/>
                  <a:gd name="connsiteY0" fmla="*/ 0 h 13217"/>
                  <a:gd name="connsiteX1" fmla="*/ 0 w 119"/>
                  <a:gd name="connsiteY1" fmla="*/ 13217 h 13217"/>
                </a:gdLst>
                <a:ahLst/>
                <a:cxnLst>
                  <a:cxn ang="0">
                    <a:pos x="connsiteX0" y="connsiteY0"/>
                  </a:cxn>
                  <a:cxn ang="0">
                    <a:pos x="connsiteX1" y="connsiteY1"/>
                  </a:cxn>
                </a:cxnLst>
                <a:rect l="l" t="t" r="r" b="b"/>
                <a:pathLst>
                  <a:path w="119" h="13217">
                    <a:moveTo>
                      <a:pt x="120" y="0"/>
                    </a:moveTo>
                    <a:lnTo>
                      <a:pt x="0" y="13217"/>
                    </a:lnTo>
                  </a:path>
                </a:pathLst>
              </a:custGeom>
              <a:ln w="6350" cap="rnd">
                <a:solidFill>
                  <a:schemeClr val="bg1">
                    <a:alpha val="80000"/>
                  </a:schemeClr>
                </a:solidFill>
                <a:prstDash val="solid"/>
                <a:round/>
              </a:ln>
            </p:spPr>
            <p:txBody>
              <a:bodyPr rtlCol="0" anchor="ctr"/>
              <a:lstStyle/>
              <a:p>
                <a:endParaRPr lang="en-GB"/>
              </a:p>
            </p:txBody>
          </p:sp>
          <p:sp>
            <p:nvSpPr>
              <p:cNvPr id="5885" name="Vrije vorm: vorm 5884">
                <a:extLst>
                  <a:ext uri="{FF2B5EF4-FFF2-40B4-BE49-F238E27FC236}">
                    <a16:creationId xmlns:a16="http://schemas.microsoft.com/office/drawing/2014/main" id="{1967CC74-73B8-4906-B3E0-D15A0D888640}"/>
                  </a:ext>
                </a:extLst>
              </p:cNvPr>
              <p:cNvSpPr/>
              <p:nvPr/>
            </p:nvSpPr>
            <p:spPr>
              <a:xfrm>
                <a:off x="7556243" y="2719115"/>
                <a:ext cx="17164" cy="8851"/>
              </a:xfrm>
              <a:custGeom>
                <a:avLst/>
                <a:gdLst>
                  <a:gd name="connsiteX0" fmla="*/ 17165 w 17164"/>
                  <a:gd name="connsiteY0" fmla="*/ 0 h 8851"/>
                  <a:gd name="connsiteX1" fmla="*/ 0 w 17164"/>
                  <a:gd name="connsiteY1" fmla="*/ 8852 h 8851"/>
                </a:gdLst>
                <a:ahLst/>
                <a:cxnLst>
                  <a:cxn ang="0">
                    <a:pos x="connsiteX0" y="connsiteY0"/>
                  </a:cxn>
                  <a:cxn ang="0">
                    <a:pos x="connsiteX1" y="connsiteY1"/>
                  </a:cxn>
                </a:cxnLst>
                <a:rect l="l" t="t" r="r" b="b"/>
                <a:pathLst>
                  <a:path w="17164" h="8851">
                    <a:moveTo>
                      <a:pt x="17165" y="0"/>
                    </a:moveTo>
                    <a:lnTo>
                      <a:pt x="0" y="8852"/>
                    </a:lnTo>
                  </a:path>
                </a:pathLst>
              </a:custGeom>
              <a:ln w="6350" cap="rnd">
                <a:solidFill>
                  <a:schemeClr val="bg1">
                    <a:alpha val="80000"/>
                  </a:schemeClr>
                </a:solidFill>
                <a:prstDash val="solid"/>
                <a:round/>
              </a:ln>
            </p:spPr>
            <p:txBody>
              <a:bodyPr rtlCol="0" anchor="ctr"/>
              <a:lstStyle/>
              <a:p>
                <a:endParaRPr lang="en-GB"/>
              </a:p>
            </p:txBody>
          </p:sp>
          <p:sp>
            <p:nvSpPr>
              <p:cNvPr id="5886" name="Vrije vorm: vorm 5885">
                <a:extLst>
                  <a:ext uri="{FF2B5EF4-FFF2-40B4-BE49-F238E27FC236}">
                    <a16:creationId xmlns:a16="http://schemas.microsoft.com/office/drawing/2014/main" id="{19019A75-7D6E-4C71-BB2A-52826E8AA382}"/>
                  </a:ext>
                </a:extLst>
              </p:cNvPr>
              <p:cNvSpPr/>
              <p:nvPr/>
            </p:nvSpPr>
            <p:spPr>
              <a:xfrm>
                <a:off x="7631540" y="2749557"/>
                <a:ext cx="9329" cy="20753"/>
              </a:xfrm>
              <a:custGeom>
                <a:avLst/>
                <a:gdLst>
                  <a:gd name="connsiteX0" fmla="*/ 9330 w 9329"/>
                  <a:gd name="connsiteY0" fmla="*/ 0 h 20753"/>
                  <a:gd name="connsiteX1" fmla="*/ 0 w 9329"/>
                  <a:gd name="connsiteY1" fmla="*/ 20753 h 20753"/>
                </a:gdLst>
                <a:ahLst/>
                <a:cxnLst>
                  <a:cxn ang="0">
                    <a:pos x="connsiteX0" y="connsiteY0"/>
                  </a:cxn>
                  <a:cxn ang="0">
                    <a:pos x="connsiteX1" y="connsiteY1"/>
                  </a:cxn>
                </a:cxnLst>
                <a:rect l="l" t="t" r="r" b="b"/>
                <a:pathLst>
                  <a:path w="9329" h="20753">
                    <a:moveTo>
                      <a:pt x="9330" y="0"/>
                    </a:moveTo>
                    <a:lnTo>
                      <a:pt x="0" y="20753"/>
                    </a:lnTo>
                  </a:path>
                </a:pathLst>
              </a:custGeom>
              <a:ln w="6350" cap="rnd">
                <a:solidFill>
                  <a:schemeClr val="bg1">
                    <a:alpha val="80000"/>
                  </a:schemeClr>
                </a:solidFill>
                <a:prstDash val="solid"/>
                <a:round/>
              </a:ln>
            </p:spPr>
            <p:txBody>
              <a:bodyPr rtlCol="0" anchor="ctr"/>
              <a:lstStyle/>
              <a:p>
                <a:endParaRPr lang="en-GB"/>
              </a:p>
            </p:txBody>
          </p:sp>
          <p:sp>
            <p:nvSpPr>
              <p:cNvPr id="5887" name="Vrije vorm: vorm 5886">
                <a:extLst>
                  <a:ext uri="{FF2B5EF4-FFF2-40B4-BE49-F238E27FC236}">
                    <a16:creationId xmlns:a16="http://schemas.microsoft.com/office/drawing/2014/main" id="{389C87C4-4D18-42C6-97E6-F6AA59F11376}"/>
                  </a:ext>
                </a:extLst>
              </p:cNvPr>
              <p:cNvSpPr/>
              <p:nvPr/>
            </p:nvSpPr>
            <p:spPr>
              <a:xfrm>
                <a:off x="7603850" y="2749557"/>
                <a:ext cx="37020" cy="34987"/>
              </a:xfrm>
              <a:custGeom>
                <a:avLst/>
                <a:gdLst>
                  <a:gd name="connsiteX0" fmla="*/ 37021 w 37020"/>
                  <a:gd name="connsiteY0" fmla="*/ 0 h 34987"/>
                  <a:gd name="connsiteX1" fmla="*/ 0 w 37020"/>
                  <a:gd name="connsiteY1" fmla="*/ 34987 h 34987"/>
                </a:gdLst>
                <a:ahLst/>
                <a:cxnLst>
                  <a:cxn ang="0">
                    <a:pos x="connsiteX0" y="connsiteY0"/>
                  </a:cxn>
                  <a:cxn ang="0">
                    <a:pos x="connsiteX1" y="connsiteY1"/>
                  </a:cxn>
                </a:cxnLst>
                <a:rect l="l" t="t" r="r" b="b"/>
                <a:pathLst>
                  <a:path w="37020" h="34987">
                    <a:moveTo>
                      <a:pt x="37021" y="0"/>
                    </a:moveTo>
                    <a:lnTo>
                      <a:pt x="0" y="34987"/>
                    </a:lnTo>
                  </a:path>
                </a:pathLst>
              </a:custGeom>
              <a:ln w="6350" cap="rnd">
                <a:solidFill>
                  <a:schemeClr val="bg1">
                    <a:alpha val="80000"/>
                  </a:schemeClr>
                </a:solidFill>
                <a:prstDash val="solid"/>
                <a:round/>
              </a:ln>
            </p:spPr>
            <p:txBody>
              <a:bodyPr rtlCol="0" anchor="ctr"/>
              <a:lstStyle/>
              <a:p>
                <a:endParaRPr lang="en-GB"/>
              </a:p>
            </p:txBody>
          </p:sp>
          <p:sp>
            <p:nvSpPr>
              <p:cNvPr id="5888" name="Vrije vorm: vorm 5887">
                <a:extLst>
                  <a:ext uri="{FF2B5EF4-FFF2-40B4-BE49-F238E27FC236}">
                    <a16:creationId xmlns:a16="http://schemas.microsoft.com/office/drawing/2014/main" id="{72CD6E6B-E112-4DD3-90FF-A199F478A88A}"/>
                  </a:ext>
                </a:extLst>
              </p:cNvPr>
              <p:cNvSpPr/>
              <p:nvPr/>
            </p:nvSpPr>
            <p:spPr>
              <a:xfrm>
                <a:off x="7561267" y="2691724"/>
                <a:ext cx="11662" cy="7356"/>
              </a:xfrm>
              <a:custGeom>
                <a:avLst/>
                <a:gdLst>
                  <a:gd name="connsiteX0" fmla="*/ 0 w 11662"/>
                  <a:gd name="connsiteY0" fmla="*/ 7356 h 7356"/>
                  <a:gd name="connsiteX1" fmla="*/ 11663 w 11662"/>
                  <a:gd name="connsiteY1" fmla="*/ 0 h 7356"/>
                </a:gdLst>
                <a:ahLst/>
                <a:cxnLst>
                  <a:cxn ang="0">
                    <a:pos x="connsiteX0" y="connsiteY0"/>
                  </a:cxn>
                  <a:cxn ang="0">
                    <a:pos x="connsiteX1" y="connsiteY1"/>
                  </a:cxn>
                </a:cxnLst>
                <a:rect l="l" t="t" r="r" b="b"/>
                <a:pathLst>
                  <a:path w="11662" h="7356">
                    <a:moveTo>
                      <a:pt x="0" y="7356"/>
                    </a:moveTo>
                    <a:lnTo>
                      <a:pt x="11663" y="0"/>
                    </a:lnTo>
                  </a:path>
                </a:pathLst>
              </a:custGeom>
              <a:ln w="6350" cap="rnd">
                <a:solidFill>
                  <a:schemeClr val="bg1">
                    <a:alpha val="80000"/>
                  </a:schemeClr>
                </a:solidFill>
                <a:prstDash val="solid"/>
                <a:round/>
              </a:ln>
            </p:spPr>
            <p:txBody>
              <a:bodyPr rtlCol="0" anchor="ctr"/>
              <a:lstStyle/>
              <a:p>
                <a:endParaRPr lang="en-GB"/>
              </a:p>
            </p:txBody>
          </p:sp>
          <p:sp>
            <p:nvSpPr>
              <p:cNvPr id="5889" name="Vrije vorm: vorm 5888">
                <a:extLst>
                  <a:ext uri="{FF2B5EF4-FFF2-40B4-BE49-F238E27FC236}">
                    <a16:creationId xmlns:a16="http://schemas.microsoft.com/office/drawing/2014/main" id="{EE17C4DA-26A1-40BF-BECB-14A6618A07BA}"/>
                  </a:ext>
                </a:extLst>
              </p:cNvPr>
              <p:cNvSpPr/>
              <p:nvPr/>
            </p:nvSpPr>
            <p:spPr>
              <a:xfrm>
                <a:off x="7763236" y="2755358"/>
                <a:ext cx="4664" cy="4904"/>
              </a:xfrm>
              <a:custGeom>
                <a:avLst/>
                <a:gdLst>
                  <a:gd name="connsiteX0" fmla="*/ 0 w 4664"/>
                  <a:gd name="connsiteY0" fmla="*/ 0 h 4904"/>
                  <a:gd name="connsiteX1" fmla="*/ 4665 w 4664"/>
                  <a:gd name="connsiteY1" fmla="*/ 4904 h 4904"/>
                </a:gdLst>
                <a:ahLst/>
                <a:cxnLst>
                  <a:cxn ang="0">
                    <a:pos x="connsiteX0" y="connsiteY0"/>
                  </a:cxn>
                  <a:cxn ang="0">
                    <a:pos x="connsiteX1" y="connsiteY1"/>
                  </a:cxn>
                </a:cxnLst>
                <a:rect l="l" t="t" r="r" b="b"/>
                <a:pathLst>
                  <a:path w="4664" h="4904">
                    <a:moveTo>
                      <a:pt x="0" y="0"/>
                    </a:moveTo>
                    <a:lnTo>
                      <a:pt x="4665" y="4904"/>
                    </a:lnTo>
                  </a:path>
                </a:pathLst>
              </a:custGeom>
              <a:ln w="6350" cap="rnd">
                <a:solidFill>
                  <a:schemeClr val="bg1">
                    <a:alpha val="80000"/>
                  </a:schemeClr>
                </a:solidFill>
                <a:prstDash val="solid"/>
                <a:round/>
              </a:ln>
            </p:spPr>
            <p:txBody>
              <a:bodyPr rtlCol="0" anchor="ctr"/>
              <a:lstStyle/>
              <a:p>
                <a:endParaRPr lang="en-GB"/>
              </a:p>
            </p:txBody>
          </p:sp>
          <p:sp>
            <p:nvSpPr>
              <p:cNvPr id="5890" name="Vrije vorm: vorm 5889">
                <a:extLst>
                  <a:ext uri="{FF2B5EF4-FFF2-40B4-BE49-F238E27FC236}">
                    <a16:creationId xmlns:a16="http://schemas.microsoft.com/office/drawing/2014/main" id="{4831A977-AC42-4803-BA19-D88D35315FB3}"/>
                  </a:ext>
                </a:extLst>
              </p:cNvPr>
              <p:cNvSpPr/>
              <p:nvPr/>
            </p:nvSpPr>
            <p:spPr>
              <a:xfrm>
                <a:off x="7679625" y="2676114"/>
                <a:ext cx="16147" cy="19915"/>
              </a:xfrm>
              <a:custGeom>
                <a:avLst/>
                <a:gdLst>
                  <a:gd name="connsiteX0" fmla="*/ 16148 w 16147"/>
                  <a:gd name="connsiteY0" fmla="*/ 19916 h 19915"/>
                  <a:gd name="connsiteX1" fmla="*/ 0 w 16147"/>
                  <a:gd name="connsiteY1" fmla="*/ 0 h 19915"/>
                </a:gdLst>
                <a:ahLst/>
                <a:cxnLst>
                  <a:cxn ang="0">
                    <a:pos x="connsiteX0" y="connsiteY0"/>
                  </a:cxn>
                  <a:cxn ang="0">
                    <a:pos x="connsiteX1" y="connsiteY1"/>
                  </a:cxn>
                </a:cxnLst>
                <a:rect l="l" t="t" r="r" b="b"/>
                <a:pathLst>
                  <a:path w="16147" h="19915">
                    <a:moveTo>
                      <a:pt x="16148" y="1991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891" name="Vrije vorm: vorm 5890">
                <a:extLst>
                  <a:ext uri="{FF2B5EF4-FFF2-40B4-BE49-F238E27FC236}">
                    <a16:creationId xmlns:a16="http://schemas.microsoft.com/office/drawing/2014/main" id="{293DF13E-CB1B-4B67-96C4-658F3C365958}"/>
                  </a:ext>
                </a:extLst>
              </p:cNvPr>
              <p:cNvSpPr/>
              <p:nvPr/>
            </p:nvSpPr>
            <p:spPr>
              <a:xfrm>
                <a:off x="7695773" y="2696030"/>
                <a:ext cx="2631" cy="9509"/>
              </a:xfrm>
              <a:custGeom>
                <a:avLst/>
                <a:gdLst>
                  <a:gd name="connsiteX0" fmla="*/ 2632 w 2631"/>
                  <a:gd name="connsiteY0" fmla="*/ 9509 h 9509"/>
                  <a:gd name="connsiteX1" fmla="*/ 0 w 2631"/>
                  <a:gd name="connsiteY1" fmla="*/ 0 h 9509"/>
                </a:gdLst>
                <a:ahLst/>
                <a:cxnLst>
                  <a:cxn ang="0">
                    <a:pos x="connsiteX0" y="connsiteY0"/>
                  </a:cxn>
                  <a:cxn ang="0">
                    <a:pos x="connsiteX1" y="connsiteY1"/>
                  </a:cxn>
                </a:cxnLst>
                <a:rect l="l" t="t" r="r" b="b"/>
                <a:pathLst>
                  <a:path w="2631" h="9509">
                    <a:moveTo>
                      <a:pt x="2632" y="9509"/>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892" name="Vrije vorm: vorm 5891">
                <a:extLst>
                  <a:ext uri="{FF2B5EF4-FFF2-40B4-BE49-F238E27FC236}">
                    <a16:creationId xmlns:a16="http://schemas.microsoft.com/office/drawing/2014/main" id="{4E645872-21E9-4530-8EFA-974562968019}"/>
                  </a:ext>
                </a:extLst>
              </p:cNvPr>
              <p:cNvSpPr/>
              <p:nvPr/>
            </p:nvSpPr>
            <p:spPr>
              <a:xfrm>
                <a:off x="7695773" y="2696030"/>
                <a:ext cx="16566" cy="8612"/>
              </a:xfrm>
              <a:custGeom>
                <a:avLst/>
                <a:gdLst>
                  <a:gd name="connsiteX0" fmla="*/ 16566 w 16566"/>
                  <a:gd name="connsiteY0" fmla="*/ 8612 h 8612"/>
                  <a:gd name="connsiteX1" fmla="*/ 0 w 16566"/>
                  <a:gd name="connsiteY1" fmla="*/ 0 h 8612"/>
                </a:gdLst>
                <a:ahLst/>
                <a:cxnLst>
                  <a:cxn ang="0">
                    <a:pos x="connsiteX0" y="connsiteY0"/>
                  </a:cxn>
                  <a:cxn ang="0">
                    <a:pos x="connsiteX1" y="connsiteY1"/>
                  </a:cxn>
                </a:cxnLst>
                <a:rect l="l" t="t" r="r" b="b"/>
                <a:pathLst>
                  <a:path w="16566" h="8612">
                    <a:moveTo>
                      <a:pt x="16566" y="861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893" name="Vrije vorm: vorm 5892">
                <a:extLst>
                  <a:ext uri="{FF2B5EF4-FFF2-40B4-BE49-F238E27FC236}">
                    <a16:creationId xmlns:a16="http://schemas.microsoft.com/office/drawing/2014/main" id="{E9B2A7BA-3C94-489B-A1F4-3F30DFABCC25}"/>
                  </a:ext>
                </a:extLst>
              </p:cNvPr>
              <p:cNvSpPr/>
              <p:nvPr/>
            </p:nvSpPr>
            <p:spPr>
              <a:xfrm>
                <a:off x="7767901" y="2755179"/>
                <a:ext cx="2571" cy="5083"/>
              </a:xfrm>
              <a:custGeom>
                <a:avLst/>
                <a:gdLst>
                  <a:gd name="connsiteX0" fmla="*/ 2572 w 2571"/>
                  <a:gd name="connsiteY0" fmla="*/ 0 h 5083"/>
                  <a:gd name="connsiteX1" fmla="*/ 0 w 2571"/>
                  <a:gd name="connsiteY1" fmla="*/ 5084 h 5083"/>
                </a:gdLst>
                <a:ahLst/>
                <a:cxnLst>
                  <a:cxn ang="0">
                    <a:pos x="connsiteX0" y="connsiteY0"/>
                  </a:cxn>
                  <a:cxn ang="0">
                    <a:pos x="connsiteX1" y="connsiteY1"/>
                  </a:cxn>
                </a:cxnLst>
                <a:rect l="l" t="t" r="r" b="b"/>
                <a:pathLst>
                  <a:path w="2571" h="5083">
                    <a:moveTo>
                      <a:pt x="2572" y="0"/>
                    </a:moveTo>
                    <a:lnTo>
                      <a:pt x="0" y="5084"/>
                    </a:lnTo>
                  </a:path>
                </a:pathLst>
              </a:custGeom>
              <a:ln w="6350" cap="rnd">
                <a:solidFill>
                  <a:schemeClr val="bg1">
                    <a:alpha val="80000"/>
                  </a:schemeClr>
                </a:solidFill>
                <a:prstDash val="solid"/>
                <a:round/>
              </a:ln>
            </p:spPr>
            <p:txBody>
              <a:bodyPr rtlCol="0" anchor="ctr"/>
              <a:lstStyle/>
              <a:p>
                <a:endParaRPr lang="en-GB"/>
              </a:p>
            </p:txBody>
          </p:sp>
          <p:sp>
            <p:nvSpPr>
              <p:cNvPr id="5894" name="Vrije vorm: vorm 5893">
                <a:extLst>
                  <a:ext uri="{FF2B5EF4-FFF2-40B4-BE49-F238E27FC236}">
                    <a16:creationId xmlns:a16="http://schemas.microsoft.com/office/drawing/2014/main" id="{0BAFCBBD-CD37-4F89-A065-ABB98C34410C}"/>
                  </a:ext>
                </a:extLst>
              </p:cNvPr>
              <p:cNvSpPr/>
              <p:nvPr/>
            </p:nvSpPr>
            <p:spPr>
              <a:xfrm>
                <a:off x="7731119" y="2740586"/>
                <a:ext cx="6638" cy="4007"/>
              </a:xfrm>
              <a:custGeom>
                <a:avLst/>
                <a:gdLst>
                  <a:gd name="connsiteX0" fmla="*/ 0 w 6638"/>
                  <a:gd name="connsiteY0" fmla="*/ 0 h 4007"/>
                  <a:gd name="connsiteX1" fmla="*/ 6638 w 6638"/>
                  <a:gd name="connsiteY1" fmla="*/ 4007 h 4007"/>
                </a:gdLst>
                <a:ahLst/>
                <a:cxnLst>
                  <a:cxn ang="0">
                    <a:pos x="connsiteX0" y="connsiteY0"/>
                  </a:cxn>
                  <a:cxn ang="0">
                    <a:pos x="connsiteX1" y="connsiteY1"/>
                  </a:cxn>
                </a:cxnLst>
                <a:rect l="l" t="t" r="r" b="b"/>
                <a:pathLst>
                  <a:path w="6638" h="4007">
                    <a:moveTo>
                      <a:pt x="0" y="0"/>
                    </a:moveTo>
                    <a:lnTo>
                      <a:pt x="6638" y="4007"/>
                    </a:lnTo>
                  </a:path>
                </a:pathLst>
              </a:custGeom>
              <a:ln w="6350" cap="rnd">
                <a:solidFill>
                  <a:schemeClr val="bg1">
                    <a:alpha val="80000"/>
                  </a:schemeClr>
                </a:solidFill>
                <a:prstDash val="solid"/>
                <a:round/>
              </a:ln>
            </p:spPr>
            <p:txBody>
              <a:bodyPr rtlCol="0" anchor="ctr"/>
              <a:lstStyle/>
              <a:p>
                <a:endParaRPr lang="en-GB"/>
              </a:p>
            </p:txBody>
          </p:sp>
          <p:sp>
            <p:nvSpPr>
              <p:cNvPr id="5895" name="Vrije vorm: vorm 5894">
                <a:extLst>
                  <a:ext uri="{FF2B5EF4-FFF2-40B4-BE49-F238E27FC236}">
                    <a16:creationId xmlns:a16="http://schemas.microsoft.com/office/drawing/2014/main" id="{4BC0DC96-64E5-4754-BD09-1BA3E0CAFA00}"/>
                  </a:ext>
                </a:extLst>
              </p:cNvPr>
              <p:cNvSpPr/>
              <p:nvPr/>
            </p:nvSpPr>
            <p:spPr>
              <a:xfrm>
                <a:off x="7712340" y="2704642"/>
                <a:ext cx="18779" cy="35944"/>
              </a:xfrm>
              <a:custGeom>
                <a:avLst/>
                <a:gdLst>
                  <a:gd name="connsiteX0" fmla="*/ 18779 w 18779"/>
                  <a:gd name="connsiteY0" fmla="*/ 35944 h 35944"/>
                  <a:gd name="connsiteX1" fmla="*/ 0 w 18779"/>
                  <a:gd name="connsiteY1" fmla="*/ 0 h 35944"/>
                </a:gdLst>
                <a:ahLst/>
                <a:cxnLst>
                  <a:cxn ang="0">
                    <a:pos x="connsiteX0" y="connsiteY0"/>
                  </a:cxn>
                  <a:cxn ang="0">
                    <a:pos x="connsiteX1" y="connsiteY1"/>
                  </a:cxn>
                </a:cxnLst>
                <a:rect l="l" t="t" r="r" b="b"/>
                <a:pathLst>
                  <a:path w="18779" h="35944">
                    <a:moveTo>
                      <a:pt x="18779" y="3594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896" name="Vrije vorm: vorm 5895">
                <a:extLst>
                  <a:ext uri="{FF2B5EF4-FFF2-40B4-BE49-F238E27FC236}">
                    <a16:creationId xmlns:a16="http://schemas.microsoft.com/office/drawing/2014/main" id="{446A3E26-14BD-468C-92D3-F937536483B1}"/>
                  </a:ext>
                </a:extLst>
              </p:cNvPr>
              <p:cNvSpPr/>
              <p:nvPr/>
            </p:nvSpPr>
            <p:spPr>
              <a:xfrm>
                <a:off x="7712340" y="2704642"/>
                <a:ext cx="25238" cy="39831"/>
              </a:xfrm>
              <a:custGeom>
                <a:avLst/>
                <a:gdLst>
                  <a:gd name="connsiteX0" fmla="*/ 25239 w 25238"/>
                  <a:gd name="connsiteY0" fmla="*/ 39832 h 39831"/>
                  <a:gd name="connsiteX1" fmla="*/ 0 w 25238"/>
                  <a:gd name="connsiteY1" fmla="*/ 0 h 39831"/>
                </a:gdLst>
                <a:ahLst/>
                <a:cxnLst>
                  <a:cxn ang="0">
                    <a:pos x="connsiteX0" y="connsiteY0"/>
                  </a:cxn>
                  <a:cxn ang="0">
                    <a:pos x="connsiteX1" y="connsiteY1"/>
                  </a:cxn>
                </a:cxnLst>
                <a:rect l="l" t="t" r="r" b="b"/>
                <a:pathLst>
                  <a:path w="25238" h="39831">
                    <a:moveTo>
                      <a:pt x="25239" y="3983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897" name="Vrije vorm: vorm 5896">
                <a:extLst>
                  <a:ext uri="{FF2B5EF4-FFF2-40B4-BE49-F238E27FC236}">
                    <a16:creationId xmlns:a16="http://schemas.microsoft.com/office/drawing/2014/main" id="{467F8188-F282-41D3-A149-F16D9CDD8C7F}"/>
                  </a:ext>
                </a:extLst>
              </p:cNvPr>
              <p:cNvSpPr/>
              <p:nvPr/>
            </p:nvSpPr>
            <p:spPr>
              <a:xfrm>
                <a:off x="7655463" y="2649141"/>
                <a:ext cx="837" cy="18420"/>
              </a:xfrm>
              <a:custGeom>
                <a:avLst/>
                <a:gdLst>
                  <a:gd name="connsiteX0" fmla="*/ 837 w 837"/>
                  <a:gd name="connsiteY0" fmla="*/ 18421 h 18420"/>
                  <a:gd name="connsiteX1" fmla="*/ 0 w 837"/>
                  <a:gd name="connsiteY1" fmla="*/ 0 h 18420"/>
                </a:gdLst>
                <a:ahLst/>
                <a:cxnLst>
                  <a:cxn ang="0">
                    <a:pos x="connsiteX0" y="connsiteY0"/>
                  </a:cxn>
                  <a:cxn ang="0">
                    <a:pos x="connsiteX1" y="connsiteY1"/>
                  </a:cxn>
                </a:cxnLst>
                <a:rect l="l" t="t" r="r" b="b"/>
                <a:pathLst>
                  <a:path w="837" h="18420">
                    <a:moveTo>
                      <a:pt x="837" y="1842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898" name="Vrije vorm: vorm 5897">
                <a:extLst>
                  <a:ext uri="{FF2B5EF4-FFF2-40B4-BE49-F238E27FC236}">
                    <a16:creationId xmlns:a16="http://schemas.microsoft.com/office/drawing/2014/main" id="{B49C9771-1350-4577-BB1B-4E777F4A222A}"/>
                  </a:ext>
                </a:extLst>
              </p:cNvPr>
              <p:cNvSpPr/>
              <p:nvPr/>
            </p:nvSpPr>
            <p:spPr>
              <a:xfrm>
                <a:off x="7680702" y="2694415"/>
                <a:ext cx="15071" cy="1614"/>
              </a:xfrm>
              <a:custGeom>
                <a:avLst/>
                <a:gdLst>
                  <a:gd name="connsiteX0" fmla="*/ 0 w 15071"/>
                  <a:gd name="connsiteY0" fmla="*/ 0 h 1614"/>
                  <a:gd name="connsiteX1" fmla="*/ 15072 w 15071"/>
                  <a:gd name="connsiteY1" fmla="*/ 1615 h 1614"/>
                </a:gdLst>
                <a:ahLst/>
                <a:cxnLst>
                  <a:cxn ang="0">
                    <a:pos x="connsiteX0" y="connsiteY0"/>
                  </a:cxn>
                  <a:cxn ang="0">
                    <a:pos x="connsiteX1" y="connsiteY1"/>
                  </a:cxn>
                </a:cxnLst>
                <a:rect l="l" t="t" r="r" b="b"/>
                <a:pathLst>
                  <a:path w="15071" h="1614">
                    <a:moveTo>
                      <a:pt x="0" y="0"/>
                    </a:moveTo>
                    <a:lnTo>
                      <a:pt x="15072" y="1615"/>
                    </a:lnTo>
                  </a:path>
                </a:pathLst>
              </a:custGeom>
              <a:ln w="6350" cap="rnd">
                <a:solidFill>
                  <a:schemeClr val="bg1">
                    <a:alpha val="80000"/>
                  </a:schemeClr>
                </a:solidFill>
                <a:prstDash val="solid"/>
                <a:round/>
              </a:ln>
            </p:spPr>
            <p:txBody>
              <a:bodyPr rtlCol="0" anchor="ctr"/>
              <a:lstStyle/>
              <a:p>
                <a:endParaRPr lang="en-GB"/>
              </a:p>
            </p:txBody>
          </p:sp>
          <p:sp>
            <p:nvSpPr>
              <p:cNvPr id="5899" name="Vrije vorm: vorm 5898">
                <a:extLst>
                  <a:ext uri="{FF2B5EF4-FFF2-40B4-BE49-F238E27FC236}">
                    <a16:creationId xmlns:a16="http://schemas.microsoft.com/office/drawing/2014/main" id="{60D3948E-E75F-4270-9B19-159A72F51A31}"/>
                  </a:ext>
                </a:extLst>
              </p:cNvPr>
              <p:cNvSpPr/>
              <p:nvPr/>
            </p:nvSpPr>
            <p:spPr>
              <a:xfrm>
                <a:off x="7603850" y="2762117"/>
                <a:ext cx="17463" cy="22427"/>
              </a:xfrm>
              <a:custGeom>
                <a:avLst/>
                <a:gdLst>
                  <a:gd name="connsiteX0" fmla="*/ 17464 w 17463"/>
                  <a:gd name="connsiteY0" fmla="*/ 0 h 22427"/>
                  <a:gd name="connsiteX1" fmla="*/ 0 w 17463"/>
                  <a:gd name="connsiteY1" fmla="*/ 22428 h 22427"/>
                </a:gdLst>
                <a:ahLst/>
                <a:cxnLst>
                  <a:cxn ang="0">
                    <a:pos x="connsiteX0" y="connsiteY0"/>
                  </a:cxn>
                  <a:cxn ang="0">
                    <a:pos x="connsiteX1" y="connsiteY1"/>
                  </a:cxn>
                </a:cxnLst>
                <a:rect l="l" t="t" r="r" b="b"/>
                <a:pathLst>
                  <a:path w="17463" h="22427">
                    <a:moveTo>
                      <a:pt x="17464" y="0"/>
                    </a:moveTo>
                    <a:lnTo>
                      <a:pt x="0" y="22428"/>
                    </a:lnTo>
                  </a:path>
                </a:pathLst>
              </a:custGeom>
              <a:ln w="6350" cap="rnd">
                <a:solidFill>
                  <a:schemeClr val="bg1">
                    <a:alpha val="80000"/>
                  </a:schemeClr>
                </a:solidFill>
                <a:prstDash val="solid"/>
                <a:round/>
              </a:ln>
            </p:spPr>
            <p:txBody>
              <a:bodyPr rtlCol="0" anchor="ctr"/>
              <a:lstStyle/>
              <a:p>
                <a:endParaRPr lang="en-GB"/>
              </a:p>
            </p:txBody>
          </p:sp>
          <p:sp>
            <p:nvSpPr>
              <p:cNvPr id="5900" name="Vrije vorm: vorm 5899">
                <a:extLst>
                  <a:ext uri="{FF2B5EF4-FFF2-40B4-BE49-F238E27FC236}">
                    <a16:creationId xmlns:a16="http://schemas.microsoft.com/office/drawing/2014/main" id="{3C5B9B6C-CE5B-4F6E-81EF-E8DFB8FD1B95}"/>
                  </a:ext>
                </a:extLst>
              </p:cNvPr>
              <p:cNvSpPr/>
              <p:nvPr/>
            </p:nvSpPr>
            <p:spPr>
              <a:xfrm>
                <a:off x="7621313" y="2749557"/>
                <a:ext cx="19556" cy="12559"/>
              </a:xfrm>
              <a:custGeom>
                <a:avLst/>
                <a:gdLst>
                  <a:gd name="connsiteX0" fmla="*/ 0 w 19556"/>
                  <a:gd name="connsiteY0" fmla="*/ 12560 h 12559"/>
                  <a:gd name="connsiteX1" fmla="*/ 19557 w 19556"/>
                  <a:gd name="connsiteY1" fmla="*/ 0 h 12559"/>
                </a:gdLst>
                <a:ahLst/>
                <a:cxnLst>
                  <a:cxn ang="0">
                    <a:pos x="connsiteX0" y="connsiteY0"/>
                  </a:cxn>
                  <a:cxn ang="0">
                    <a:pos x="connsiteX1" y="connsiteY1"/>
                  </a:cxn>
                </a:cxnLst>
                <a:rect l="l" t="t" r="r" b="b"/>
                <a:pathLst>
                  <a:path w="19556" h="12559">
                    <a:moveTo>
                      <a:pt x="0" y="12560"/>
                    </a:moveTo>
                    <a:lnTo>
                      <a:pt x="19557" y="0"/>
                    </a:lnTo>
                  </a:path>
                </a:pathLst>
              </a:custGeom>
              <a:ln w="6350" cap="rnd">
                <a:solidFill>
                  <a:schemeClr val="bg1">
                    <a:alpha val="80000"/>
                  </a:schemeClr>
                </a:solidFill>
                <a:prstDash val="solid"/>
                <a:round/>
              </a:ln>
            </p:spPr>
            <p:txBody>
              <a:bodyPr rtlCol="0" anchor="ctr"/>
              <a:lstStyle/>
              <a:p>
                <a:endParaRPr lang="en-GB"/>
              </a:p>
            </p:txBody>
          </p:sp>
          <p:sp>
            <p:nvSpPr>
              <p:cNvPr id="5901" name="Vrije vorm: vorm 5900">
                <a:extLst>
                  <a:ext uri="{FF2B5EF4-FFF2-40B4-BE49-F238E27FC236}">
                    <a16:creationId xmlns:a16="http://schemas.microsoft.com/office/drawing/2014/main" id="{180FA98D-61C8-4FB3-AAC9-C3CCBF24C530}"/>
                  </a:ext>
                </a:extLst>
              </p:cNvPr>
              <p:cNvSpPr/>
              <p:nvPr/>
            </p:nvSpPr>
            <p:spPr>
              <a:xfrm>
                <a:off x="7619280" y="2762117"/>
                <a:ext cx="2033" cy="2153"/>
              </a:xfrm>
              <a:custGeom>
                <a:avLst/>
                <a:gdLst>
                  <a:gd name="connsiteX0" fmla="*/ 2033 w 2033"/>
                  <a:gd name="connsiteY0" fmla="*/ 0 h 2153"/>
                  <a:gd name="connsiteX1" fmla="*/ 0 w 2033"/>
                  <a:gd name="connsiteY1" fmla="*/ 2153 h 2153"/>
                </a:gdLst>
                <a:ahLst/>
                <a:cxnLst>
                  <a:cxn ang="0">
                    <a:pos x="connsiteX0" y="connsiteY0"/>
                  </a:cxn>
                  <a:cxn ang="0">
                    <a:pos x="connsiteX1" y="connsiteY1"/>
                  </a:cxn>
                </a:cxnLst>
                <a:rect l="l" t="t" r="r" b="b"/>
                <a:pathLst>
                  <a:path w="2033" h="2153">
                    <a:moveTo>
                      <a:pt x="2033" y="0"/>
                    </a:moveTo>
                    <a:lnTo>
                      <a:pt x="0" y="2153"/>
                    </a:lnTo>
                  </a:path>
                </a:pathLst>
              </a:custGeom>
              <a:ln w="6350" cap="rnd">
                <a:solidFill>
                  <a:schemeClr val="bg1">
                    <a:alpha val="80000"/>
                  </a:schemeClr>
                </a:solidFill>
                <a:prstDash val="solid"/>
                <a:round/>
              </a:ln>
            </p:spPr>
            <p:txBody>
              <a:bodyPr rtlCol="0" anchor="ctr"/>
              <a:lstStyle/>
              <a:p>
                <a:endParaRPr lang="en-GB"/>
              </a:p>
            </p:txBody>
          </p:sp>
          <p:sp>
            <p:nvSpPr>
              <p:cNvPr id="5902" name="Vrije vorm: vorm 5901">
                <a:extLst>
                  <a:ext uri="{FF2B5EF4-FFF2-40B4-BE49-F238E27FC236}">
                    <a16:creationId xmlns:a16="http://schemas.microsoft.com/office/drawing/2014/main" id="{3403A01A-B8F7-4E0C-98A0-BC0431990A44}"/>
                  </a:ext>
                </a:extLst>
              </p:cNvPr>
              <p:cNvSpPr/>
              <p:nvPr/>
            </p:nvSpPr>
            <p:spPr>
              <a:xfrm>
                <a:off x="7573049" y="2678506"/>
                <a:ext cx="19796" cy="6160"/>
              </a:xfrm>
              <a:custGeom>
                <a:avLst/>
                <a:gdLst>
                  <a:gd name="connsiteX0" fmla="*/ 19796 w 19796"/>
                  <a:gd name="connsiteY0" fmla="*/ 6160 h 6160"/>
                  <a:gd name="connsiteX1" fmla="*/ 0 w 19796"/>
                  <a:gd name="connsiteY1" fmla="*/ 0 h 6160"/>
                </a:gdLst>
                <a:ahLst/>
                <a:cxnLst>
                  <a:cxn ang="0">
                    <a:pos x="connsiteX0" y="connsiteY0"/>
                  </a:cxn>
                  <a:cxn ang="0">
                    <a:pos x="connsiteX1" y="connsiteY1"/>
                  </a:cxn>
                </a:cxnLst>
                <a:rect l="l" t="t" r="r" b="b"/>
                <a:pathLst>
                  <a:path w="19796" h="6160">
                    <a:moveTo>
                      <a:pt x="19796" y="616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03" name="Vrije vorm: vorm 5902">
                <a:extLst>
                  <a:ext uri="{FF2B5EF4-FFF2-40B4-BE49-F238E27FC236}">
                    <a16:creationId xmlns:a16="http://schemas.microsoft.com/office/drawing/2014/main" id="{35CE4EFA-F78D-4A30-BCF9-DF6EE7D17AF8}"/>
                  </a:ext>
                </a:extLst>
              </p:cNvPr>
              <p:cNvSpPr/>
              <p:nvPr/>
            </p:nvSpPr>
            <p:spPr>
              <a:xfrm>
                <a:off x="7597630" y="2770310"/>
                <a:ext cx="33910" cy="27212"/>
              </a:xfrm>
              <a:custGeom>
                <a:avLst/>
                <a:gdLst>
                  <a:gd name="connsiteX0" fmla="*/ 0 w 33910"/>
                  <a:gd name="connsiteY0" fmla="*/ 27212 h 27212"/>
                  <a:gd name="connsiteX1" fmla="*/ 33910 w 33910"/>
                  <a:gd name="connsiteY1" fmla="*/ 0 h 27212"/>
                </a:gdLst>
                <a:ahLst/>
                <a:cxnLst>
                  <a:cxn ang="0">
                    <a:pos x="connsiteX0" y="connsiteY0"/>
                  </a:cxn>
                  <a:cxn ang="0">
                    <a:pos x="connsiteX1" y="connsiteY1"/>
                  </a:cxn>
                </a:cxnLst>
                <a:rect l="l" t="t" r="r" b="b"/>
                <a:pathLst>
                  <a:path w="33910" h="27212">
                    <a:moveTo>
                      <a:pt x="0" y="27212"/>
                    </a:moveTo>
                    <a:lnTo>
                      <a:pt x="33910" y="0"/>
                    </a:lnTo>
                  </a:path>
                </a:pathLst>
              </a:custGeom>
              <a:ln w="6350" cap="rnd">
                <a:solidFill>
                  <a:schemeClr val="bg1">
                    <a:alpha val="80000"/>
                  </a:schemeClr>
                </a:solidFill>
                <a:prstDash val="solid"/>
                <a:round/>
              </a:ln>
            </p:spPr>
            <p:txBody>
              <a:bodyPr rtlCol="0" anchor="ctr"/>
              <a:lstStyle/>
              <a:p>
                <a:endParaRPr lang="en-GB"/>
              </a:p>
            </p:txBody>
          </p:sp>
          <p:sp>
            <p:nvSpPr>
              <p:cNvPr id="5904" name="Vrije vorm: vorm 5903">
                <a:extLst>
                  <a:ext uri="{FF2B5EF4-FFF2-40B4-BE49-F238E27FC236}">
                    <a16:creationId xmlns:a16="http://schemas.microsoft.com/office/drawing/2014/main" id="{270EAC8E-0E0A-4843-B996-F389F876C272}"/>
                  </a:ext>
                </a:extLst>
              </p:cNvPr>
              <p:cNvSpPr/>
              <p:nvPr/>
            </p:nvSpPr>
            <p:spPr>
              <a:xfrm>
                <a:off x="7597630" y="2749557"/>
                <a:ext cx="43240" cy="47965"/>
              </a:xfrm>
              <a:custGeom>
                <a:avLst/>
                <a:gdLst>
                  <a:gd name="connsiteX0" fmla="*/ 0 w 43240"/>
                  <a:gd name="connsiteY0" fmla="*/ 47965 h 47965"/>
                  <a:gd name="connsiteX1" fmla="*/ 43241 w 43240"/>
                  <a:gd name="connsiteY1" fmla="*/ 0 h 47965"/>
                </a:gdLst>
                <a:ahLst/>
                <a:cxnLst>
                  <a:cxn ang="0">
                    <a:pos x="connsiteX0" y="connsiteY0"/>
                  </a:cxn>
                  <a:cxn ang="0">
                    <a:pos x="connsiteX1" y="connsiteY1"/>
                  </a:cxn>
                </a:cxnLst>
                <a:rect l="l" t="t" r="r" b="b"/>
                <a:pathLst>
                  <a:path w="43240" h="47965">
                    <a:moveTo>
                      <a:pt x="0" y="47965"/>
                    </a:moveTo>
                    <a:lnTo>
                      <a:pt x="43241" y="0"/>
                    </a:lnTo>
                  </a:path>
                </a:pathLst>
              </a:custGeom>
              <a:ln w="6350" cap="rnd">
                <a:solidFill>
                  <a:schemeClr val="bg1">
                    <a:alpha val="80000"/>
                  </a:schemeClr>
                </a:solidFill>
                <a:prstDash val="solid"/>
                <a:round/>
              </a:ln>
            </p:spPr>
            <p:txBody>
              <a:bodyPr rtlCol="0" anchor="ctr"/>
              <a:lstStyle/>
              <a:p>
                <a:endParaRPr lang="en-GB"/>
              </a:p>
            </p:txBody>
          </p:sp>
          <p:sp>
            <p:nvSpPr>
              <p:cNvPr id="5905" name="Vrije vorm: vorm 5904">
                <a:extLst>
                  <a:ext uri="{FF2B5EF4-FFF2-40B4-BE49-F238E27FC236}">
                    <a16:creationId xmlns:a16="http://schemas.microsoft.com/office/drawing/2014/main" id="{E714E7C1-E85C-4140-B735-9574CDE51EB3}"/>
                  </a:ext>
                </a:extLst>
              </p:cNvPr>
              <p:cNvSpPr/>
              <p:nvPr/>
            </p:nvSpPr>
            <p:spPr>
              <a:xfrm>
                <a:off x="7568743" y="2700575"/>
                <a:ext cx="9270" cy="10346"/>
              </a:xfrm>
              <a:custGeom>
                <a:avLst/>
                <a:gdLst>
                  <a:gd name="connsiteX0" fmla="*/ 0 w 9270"/>
                  <a:gd name="connsiteY0" fmla="*/ 10347 h 10346"/>
                  <a:gd name="connsiteX1" fmla="*/ 9270 w 9270"/>
                  <a:gd name="connsiteY1" fmla="*/ 0 h 10346"/>
                </a:gdLst>
                <a:ahLst/>
                <a:cxnLst>
                  <a:cxn ang="0">
                    <a:pos x="connsiteX0" y="connsiteY0"/>
                  </a:cxn>
                  <a:cxn ang="0">
                    <a:pos x="connsiteX1" y="connsiteY1"/>
                  </a:cxn>
                </a:cxnLst>
                <a:rect l="l" t="t" r="r" b="b"/>
                <a:pathLst>
                  <a:path w="9270" h="10346">
                    <a:moveTo>
                      <a:pt x="0" y="10347"/>
                    </a:moveTo>
                    <a:lnTo>
                      <a:pt x="9270" y="0"/>
                    </a:lnTo>
                  </a:path>
                </a:pathLst>
              </a:custGeom>
              <a:ln w="6350" cap="rnd">
                <a:solidFill>
                  <a:schemeClr val="bg1">
                    <a:alpha val="80000"/>
                  </a:schemeClr>
                </a:solidFill>
                <a:prstDash val="solid"/>
                <a:round/>
              </a:ln>
            </p:spPr>
            <p:txBody>
              <a:bodyPr rtlCol="0" anchor="ctr"/>
              <a:lstStyle/>
              <a:p>
                <a:endParaRPr lang="en-GB"/>
              </a:p>
            </p:txBody>
          </p:sp>
          <p:sp>
            <p:nvSpPr>
              <p:cNvPr id="5906" name="Vrije vorm: vorm 5905">
                <a:extLst>
                  <a:ext uri="{FF2B5EF4-FFF2-40B4-BE49-F238E27FC236}">
                    <a16:creationId xmlns:a16="http://schemas.microsoft.com/office/drawing/2014/main" id="{42934DB8-C03D-4BFF-A840-57E322F058AA}"/>
                  </a:ext>
                </a:extLst>
              </p:cNvPr>
              <p:cNvSpPr/>
              <p:nvPr/>
            </p:nvSpPr>
            <p:spPr>
              <a:xfrm>
                <a:off x="7513302" y="2719534"/>
                <a:ext cx="3409" cy="16566"/>
              </a:xfrm>
              <a:custGeom>
                <a:avLst/>
                <a:gdLst>
                  <a:gd name="connsiteX0" fmla="*/ 0 w 3409"/>
                  <a:gd name="connsiteY0" fmla="*/ 16567 h 16566"/>
                  <a:gd name="connsiteX1" fmla="*/ 3409 w 3409"/>
                  <a:gd name="connsiteY1" fmla="*/ 0 h 16566"/>
                </a:gdLst>
                <a:ahLst/>
                <a:cxnLst>
                  <a:cxn ang="0">
                    <a:pos x="connsiteX0" y="connsiteY0"/>
                  </a:cxn>
                  <a:cxn ang="0">
                    <a:pos x="connsiteX1" y="connsiteY1"/>
                  </a:cxn>
                </a:cxnLst>
                <a:rect l="l" t="t" r="r" b="b"/>
                <a:pathLst>
                  <a:path w="3409" h="16566">
                    <a:moveTo>
                      <a:pt x="0" y="16567"/>
                    </a:moveTo>
                    <a:lnTo>
                      <a:pt x="3409" y="0"/>
                    </a:lnTo>
                  </a:path>
                </a:pathLst>
              </a:custGeom>
              <a:ln w="6350" cap="rnd">
                <a:solidFill>
                  <a:schemeClr val="bg1">
                    <a:alpha val="80000"/>
                  </a:schemeClr>
                </a:solidFill>
                <a:prstDash val="solid"/>
                <a:round/>
              </a:ln>
            </p:spPr>
            <p:txBody>
              <a:bodyPr rtlCol="0" anchor="ctr"/>
              <a:lstStyle/>
              <a:p>
                <a:endParaRPr lang="en-GB"/>
              </a:p>
            </p:txBody>
          </p:sp>
          <p:sp>
            <p:nvSpPr>
              <p:cNvPr id="5907" name="Vrije vorm: vorm 5906">
                <a:extLst>
                  <a:ext uri="{FF2B5EF4-FFF2-40B4-BE49-F238E27FC236}">
                    <a16:creationId xmlns:a16="http://schemas.microsoft.com/office/drawing/2014/main" id="{89E52F85-D850-455B-8277-2377067C408D}"/>
                  </a:ext>
                </a:extLst>
              </p:cNvPr>
              <p:cNvSpPr/>
              <p:nvPr/>
            </p:nvSpPr>
            <p:spPr>
              <a:xfrm>
                <a:off x="7564496" y="2708230"/>
                <a:ext cx="4246" cy="2691"/>
              </a:xfrm>
              <a:custGeom>
                <a:avLst/>
                <a:gdLst>
                  <a:gd name="connsiteX0" fmla="*/ 0 w 4246"/>
                  <a:gd name="connsiteY0" fmla="*/ 0 h 2691"/>
                  <a:gd name="connsiteX1" fmla="*/ 4246 w 4246"/>
                  <a:gd name="connsiteY1" fmla="*/ 2691 h 2691"/>
                </a:gdLst>
                <a:ahLst/>
                <a:cxnLst>
                  <a:cxn ang="0">
                    <a:pos x="connsiteX0" y="connsiteY0"/>
                  </a:cxn>
                  <a:cxn ang="0">
                    <a:pos x="connsiteX1" y="connsiteY1"/>
                  </a:cxn>
                </a:cxnLst>
                <a:rect l="l" t="t" r="r" b="b"/>
                <a:pathLst>
                  <a:path w="4246" h="2691">
                    <a:moveTo>
                      <a:pt x="0" y="0"/>
                    </a:moveTo>
                    <a:lnTo>
                      <a:pt x="4246" y="2691"/>
                    </a:lnTo>
                  </a:path>
                </a:pathLst>
              </a:custGeom>
              <a:ln w="6350" cap="rnd">
                <a:solidFill>
                  <a:schemeClr val="bg1">
                    <a:alpha val="80000"/>
                  </a:schemeClr>
                </a:solidFill>
                <a:prstDash val="solid"/>
                <a:round/>
              </a:ln>
            </p:spPr>
            <p:txBody>
              <a:bodyPr rtlCol="0" anchor="ctr"/>
              <a:lstStyle/>
              <a:p>
                <a:endParaRPr lang="en-GB"/>
              </a:p>
            </p:txBody>
          </p:sp>
          <p:sp>
            <p:nvSpPr>
              <p:cNvPr id="5908" name="Vrije vorm: vorm 5907">
                <a:extLst>
                  <a:ext uri="{FF2B5EF4-FFF2-40B4-BE49-F238E27FC236}">
                    <a16:creationId xmlns:a16="http://schemas.microsoft.com/office/drawing/2014/main" id="{A0552DA4-0794-417C-B1C4-078E87D28E06}"/>
                  </a:ext>
                </a:extLst>
              </p:cNvPr>
              <p:cNvSpPr/>
              <p:nvPr/>
            </p:nvSpPr>
            <p:spPr>
              <a:xfrm>
                <a:off x="7631540" y="2770310"/>
                <a:ext cx="1554" cy="10705"/>
              </a:xfrm>
              <a:custGeom>
                <a:avLst/>
                <a:gdLst>
                  <a:gd name="connsiteX0" fmla="*/ 1555 w 1554"/>
                  <a:gd name="connsiteY0" fmla="*/ 10706 h 10705"/>
                  <a:gd name="connsiteX1" fmla="*/ 0 w 1554"/>
                  <a:gd name="connsiteY1" fmla="*/ 0 h 10705"/>
                </a:gdLst>
                <a:ahLst/>
                <a:cxnLst>
                  <a:cxn ang="0">
                    <a:pos x="connsiteX0" y="connsiteY0"/>
                  </a:cxn>
                  <a:cxn ang="0">
                    <a:pos x="connsiteX1" y="connsiteY1"/>
                  </a:cxn>
                </a:cxnLst>
                <a:rect l="l" t="t" r="r" b="b"/>
                <a:pathLst>
                  <a:path w="1554" h="10705">
                    <a:moveTo>
                      <a:pt x="1555" y="1070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09" name="Vrije vorm: vorm 5908">
                <a:extLst>
                  <a:ext uri="{FF2B5EF4-FFF2-40B4-BE49-F238E27FC236}">
                    <a16:creationId xmlns:a16="http://schemas.microsoft.com/office/drawing/2014/main" id="{752F76DC-117C-4932-87DD-B5193B698C70}"/>
                  </a:ext>
                </a:extLst>
              </p:cNvPr>
              <p:cNvSpPr/>
              <p:nvPr/>
            </p:nvSpPr>
            <p:spPr>
              <a:xfrm>
                <a:off x="7608694" y="2770310"/>
                <a:ext cx="22846" cy="28587"/>
              </a:xfrm>
              <a:custGeom>
                <a:avLst/>
                <a:gdLst>
                  <a:gd name="connsiteX0" fmla="*/ 0 w 22846"/>
                  <a:gd name="connsiteY0" fmla="*/ 28588 h 28587"/>
                  <a:gd name="connsiteX1" fmla="*/ 22846 w 22846"/>
                  <a:gd name="connsiteY1" fmla="*/ 0 h 28587"/>
                </a:gdLst>
                <a:ahLst/>
                <a:cxnLst>
                  <a:cxn ang="0">
                    <a:pos x="connsiteX0" y="connsiteY0"/>
                  </a:cxn>
                  <a:cxn ang="0">
                    <a:pos x="connsiteX1" y="connsiteY1"/>
                  </a:cxn>
                </a:cxnLst>
                <a:rect l="l" t="t" r="r" b="b"/>
                <a:pathLst>
                  <a:path w="22846" h="28587">
                    <a:moveTo>
                      <a:pt x="0" y="28588"/>
                    </a:moveTo>
                    <a:lnTo>
                      <a:pt x="22846" y="0"/>
                    </a:lnTo>
                  </a:path>
                </a:pathLst>
              </a:custGeom>
              <a:ln w="6350" cap="rnd">
                <a:solidFill>
                  <a:schemeClr val="bg1">
                    <a:alpha val="80000"/>
                  </a:schemeClr>
                </a:solidFill>
                <a:prstDash val="solid"/>
                <a:round/>
              </a:ln>
            </p:spPr>
            <p:txBody>
              <a:bodyPr rtlCol="0" anchor="ctr"/>
              <a:lstStyle/>
              <a:p>
                <a:endParaRPr lang="en-GB"/>
              </a:p>
            </p:txBody>
          </p:sp>
          <p:sp>
            <p:nvSpPr>
              <p:cNvPr id="5910" name="Vrije vorm: vorm 5909">
                <a:extLst>
                  <a:ext uri="{FF2B5EF4-FFF2-40B4-BE49-F238E27FC236}">
                    <a16:creationId xmlns:a16="http://schemas.microsoft.com/office/drawing/2014/main" id="{2DF9D607-4C24-4D4A-A929-8DEB28D4F266}"/>
                  </a:ext>
                </a:extLst>
              </p:cNvPr>
              <p:cNvSpPr/>
              <p:nvPr/>
            </p:nvSpPr>
            <p:spPr>
              <a:xfrm>
                <a:off x="7597630" y="2797523"/>
                <a:ext cx="11064" cy="1375"/>
              </a:xfrm>
              <a:custGeom>
                <a:avLst/>
                <a:gdLst>
                  <a:gd name="connsiteX0" fmla="*/ 11064 w 11064"/>
                  <a:gd name="connsiteY0" fmla="*/ 1376 h 1375"/>
                  <a:gd name="connsiteX1" fmla="*/ 0 w 11064"/>
                  <a:gd name="connsiteY1" fmla="*/ 0 h 1375"/>
                </a:gdLst>
                <a:ahLst/>
                <a:cxnLst>
                  <a:cxn ang="0">
                    <a:pos x="connsiteX0" y="connsiteY0"/>
                  </a:cxn>
                  <a:cxn ang="0">
                    <a:pos x="connsiteX1" y="connsiteY1"/>
                  </a:cxn>
                </a:cxnLst>
                <a:rect l="l" t="t" r="r" b="b"/>
                <a:pathLst>
                  <a:path w="11064" h="1375">
                    <a:moveTo>
                      <a:pt x="11064" y="137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11" name="Vrije vorm: vorm 5910">
                <a:extLst>
                  <a:ext uri="{FF2B5EF4-FFF2-40B4-BE49-F238E27FC236}">
                    <a16:creationId xmlns:a16="http://schemas.microsoft.com/office/drawing/2014/main" id="{F71E2DF0-ADA8-4069-A5FD-09254CD75639}"/>
                  </a:ext>
                </a:extLst>
              </p:cNvPr>
              <p:cNvSpPr/>
              <p:nvPr/>
            </p:nvSpPr>
            <p:spPr>
              <a:xfrm>
                <a:off x="7608694" y="2781016"/>
                <a:ext cx="24401" cy="17882"/>
              </a:xfrm>
              <a:custGeom>
                <a:avLst/>
                <a:gdLst>
                  <a:gd name="connsiteX0" fmla="*/ 0 w 24401"/>
                  <a:gd name="connsiteY0" fmla="*/ 17882 h 17882"/>
                  <a:gd name="connsiteX1" fmla="*/ 24401 w 24401"/>
                  <a:gd name="connsiteY1" fmla="*/ 0 h 17882"/>
                </a:gdLst>
                <a:ahLst/>
                <a:cxnLst>
                  <a:cxn ang="0">
                    <a:pos x="connsiteX0" y="connsiteY0"/>
                  </a:cxn>
                  <a:cxn ang="0">
                    <a:pos x="connsiteX1" y="connsiteY1"/>
                  </a:cxn>
                </a:cxnLst>
                <a:rect l="l" t="t" r="r" b="b"/>
                <a:pathLst>
                  <a:path w="24401" h="17882">
                    <a:moveTo>
                      <a:pt x="0" y="17882"/>
                    </a:moveTo>
                    <a:lnTo>
                      <a:pt x="24401" y="0"/>
                    </a:lnTo>
                  </a:path>
                </a:pathLst>
              </a:custGeom>
              <a:ln w="6350" cap="rnd">
                <a:solidFill>
                  <a:schemeClr val="bg1">
                    <a:alpha val="80000"/>
                  </a:schemeClr>
                </a:solidFill>
                <a:prstDash val="solid"/>
                <a:round/>
              </a:ln>
            </p:spPr>
            <p:txBody>
              <a:bodyPr rtlCol="0" anchor="ctr"/>
              <a:lstStyle/>
              <a:p>
                <a:endParaRPr lang="en-GB"/>
              </a:p>
            </p:txBody>
          </p:sp>
          <p:sp>
            <p:nvSpPr>
              <p:cNvPr id="5912" name="Vrije vorm: vorm 5911">
                <a:extLst>
                  <a:ext uri="{FF2B5EF4-FFF2-40B4-BE49-F238E27FC236}">
                    <a16:creationId xmlns:a16="http://schemas.microsoft.com/office/drawing/2014/main" id="{7EC0816D-4E31-454B-9D51-665273E77DEC}"/>
                  </a:ext>
                </a:extLst>
              </p:cNvPr>
              <p:cNvSpPr/>
              <p:nvPr/>
            </p:nvSpPr>
            <p:spPr>
              <a:xfrm>
                <a:off x="7572391" y="2716304"/>
                <a:ext cx="1913" cy="5023"/>
              </a:xfrm>
              <a:custGeom>
                <a:avLst/>
                <a:gdLst>
                  <a:gd name="connsiteX0" fmla="*/ 1914 w 1913"/>
                  <a:gd name="connsiteY0" fmla="*/ 5024 h 5023"/>
                  <a:gd name="connsiteX1" fmla="*/ 0 w 1913"/>
                  <a:gd name="connsiteY1" fmla="*/ 0 h 5023"/>
                </a:gdLst>
                <a:ahLst/>
                <a:cxnLst>
                  <a:cxn ang="0">
                    <a:pos x="connsiteX0" y="connsiteY0"/>
                  </a:cxn>
                  <a:cxn ang="0">
                    <a:pos x="connsiteX1" y="connsiteY1"/>
                  </a:cxn>
                </a:cxnLst>
                <a:rect l="l" t="t" r="r" b="b"/>
                <a:pathLst>
                  <a:path w="1913" h="5023">
                    <a:moveTo>
                      <a:pt x="1914" y="502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13" name="Vrije vorm: vorm 5912">
                <a:extLst>
                  <a:ext uri="{FF2B5EF4-FFF2-40B4-BE49-F238E27FC236}">
                    <a16:creationId xmlns:a16="http://schemas.microsoft.com/office/drawing/2014/main" id="{6C56AF50-27CA-490C-BAD7-718FF432BF0C}"/>
                  </a:ext>
                </a:extLst>
              </p:cNvPr>
              <p:cNvSpPr/>
              <p:nvPr/>
            </p:nvSpPr>
            <p:spPr>
              <a:xfrm>
                <a:off x="7538301" y="2699080"/>
                <a:ext cx="22965" cy="7894"/>
              </a:xfrm>
              <a:custGeom>
                <a:avLst/>
                <a:gdLst>
                  <a:gd name="connsiteX0" fmla="*/ 0 w 22965"/>
                  <a:gd name="connsiteY0" fmla="*/ 7895 h 7894"/>
                  <a:gd name="connsiteX1" fmla="*/ 22966 w 22965"/>
                  <a:gd name="connsiteY1" fmla="*/ 0 h 7894"/>
                </a:gdLst>
                <a:ahLst/>
                <a:cxnLst>
                  <a:cxn ang="0">
                    <a:pos x="connsiteX0" y="connsiteY0"/>
                  </a:cxn>
                  <a:cxn ang="0">
                    <a:pos x="connsiteX1" y="connsiteY1"/>
                  </a:cxn>
                </a:cxnLst>
                <a:rect l="l" t="t" r="r" b="b"/>
                <a:pathLst>
                  <a:path w="22965" h="7894">
                    <a:moveTo>
                      <a:pt x="0" y="7895"/>
                    </a:moveTo>
                    <a:lnTo>
                      <a:pt x="22966" y="0"/>
                    </a:lnTo>
                  </a:path>
                </a:pathLst>
              </a:custGeom>
              <a:ln w="6350" cap="rnd">
                <a:solidFill>
                  <a:schemeClr val="bg1">
                    <a:alpha val="80000"/>
                  </a:schemeClr>
                </a:solidFill>
                <a:prstDash val="solid"/>
                <a:round/>
              </a:ln>
            </p:spPr>
            <p:txBody>
              <a:bodyPr rtlCol="0" anchor="ctr"/>
              <a:lstStyle/>
              <a:p>
                <a:endParaRPr lang="en-GB"/>
              </a:p>
            </p:txBody>
          </p:sp>
          <p:sp>
            <p:nvSpPr>
              <p:cNvPr id="5914" name="Vrije vorm: vorm 5913">
                <a:extLst>
                  <a:ext uri="{FF2B5EF4-FFF2-40B4-BE49-F238E27FC236}">
                    <a16:creationId xmlns:a16="http://schemas.microsoft.com/office/drawing/2014/main" id="{1ABC2D69-2019-46FD-9341-775036E6CE7A}"/>
                  </a:ext>
                </a:extLst>
              </p:cNvPr>
              <p:cNvSpPr/>
              <p:nvPr/>
            </p:nvSpPr>
            <p:spPr>
              <a:xfrm>
                <a:off x="7516711" y="2700336"/>
                <a:ext cx="18301" cy="19198"/>
              </a:xfrm>
              <a:custGeom>
                <a:avLst/>
                <a:gdLst>
                  <a:gd name="connsiteX0" fmla="*/ 18301 w 18301"/>
                  <a:gd name="connsiteY0" fmla="*/ 0 h 19198"/>
                  <a:gd name="connsiteX1" fmla="*/ 0 w 18301"/>
                  <a:gd name="connsiteY1" fmla="*/ 19198 h 19198"/>
                </a:gdLst>
                <a:ahLst/>
                <a:cxnLst>
                  <a:cxn ang="0">
                    <a:pos x="connsiteX0" y="connsiteY0"/>
                  </a:cxn>
                  <a:cxn ang="0">
                    <a:pos x="connsiteX1" y="connsiteY1"/>
                  </a:cxn>
                </a:cxnLst>
                <a:rect l="l" t="t" r="r" b="b"/>
                <a:pathLst>
                  <a:path w="18301" h="19198">
                    <a:moveTo>
                      <a:pt x="18301" y="0"/>
                    </a:moveTo>
                    <a:lnTo>
                      <a:pt x="0" y="19198"/>
                    </a:lnTo>
                  </a:path>
                </a:pathLst>
              </a:custGeom>
              <a:ln w="6350" cap="rnd">
                <a:solidFill>
                  <a:schemeClr val="bg1">
                    <a:alpha val="80000"/>
                  </a:schemeClr>
                </a:solidFill>
                <a:prstDash val="solid"/>
                <a:round/>
              </a:ln>
            </p:spPr>
            <p:txBody>
              <a:bodyPr rtlCol="0" anchor="ctr"/>
              <a:lstStyle/>
              <a:p>
                <a:endParaRPr lang="en-GB"/>
              </a:p>
            </p:txBody>
          </p:sp>
          <p:sp>
            <p:nvSpPr>
              <p:cNvPr id="5915" name="Vrije vorm: vorm 5914">
                <a:extLst>
                  <a:ext uri="{FF2B5EF4-FFF2-40B4-BE49-F238E27FC236}">
                    <a16:creationId xmlns:a16="http://schemas.microsoft.com/office/drawing/2014/main" id="{F628B1F4-5B99-44DC-BD93-B526B885C266}"/>
                  </a:ext>
                </a:extLst>
              </p:cNvPr>
              <p:cNvSpPr/>
              <p:nvPr/>
            </p:nvSpPr>
            <p:spPr>
              <a:xfrm>
                <a:off x="7535012" y="2700336"/>
                <a:ext cx="3289" cy="6638"/>
              </a:xfrm>
              <a:custGeom>
                <a:avLst/>
                <a:gdLst>
                  <a:gd name="connsiteX0" fmla="*/ 0 w 3289"/>
                  <a:gd name="connsiteY0" fmla="*/ 0 h 6638"/>
                  <a:gd name="connsiteX1" fmla="*/ 3289 w 3289"/>
                  <a:gd name="connsiteY1" fmla="*/ 6639 h 6638"/>
                </a:gdLst>
                <a:ahLst/>
                <a:cxnLst>
                  <a:cxn ang="0">
                    <a:pos x="connsiteX0" y="connsiteY0"/>
                  </a:cxn>
                  <a:cxn ang="0">
                    <a:pos x="connsiteX1" y="connsiteY1"/>
                  </a:cxn>
                </a:cxnLst>
                <a:rect l="l" t="t" r="r" b="b"/>
                <a:pathLst>
                  <a:path w="3289" h="6638">
                    <a:moveTo>
                      <a:pt x="0" y="0"/>
                    </a:moveTo>
                    <a:lnTo>
                      <a:pt x="3289" y="6639"/>
                    </a:lnTo>
                  </a:path>
                </a:pathLst>
              </a:custGeom>
              <a:ln w="6350" cap="rnd">
                <a:solidFill>
                  <a:schemeClr val="bg1">
                    <a:alpha val="80000"/>
                  </a:schemeClr>
                </a:solidFill>
                <a:prstDash val="solid"/>
                <a:round/>
              </a:ln>
            </p:spPr>
            <p:txBody>
              <a:bodyPr rtlCol="0" anchor="ctr"/>
              <a:lstStyle/>
              <a:p>
                <a:endParaRPr lang="en-GB"/>
              </a:p>
            </p:txBody>
          </p:sp>
          <p:sp>
            <p:nvSpPr>
              <p:cNvPr id="5916" name="Vrije vorm: vorm 5915">
                <a:extLst>
                  <a:ext uri="{FF2B5EF4-FFF2-40B4-BE49-F238E27FC236}">
                    <a16:creationId xmlns:a16="http://schemas.microsoft.com/office/drawing/2014/main" id="{F51EF2E8-794C-42DE-BD16-6D6E488F6C1D}"/>
                  </a:ext>
                </a:extLst>
              </p:cNvPr>
              <p:cNvSpPr/>
              <p:nvPr/>
            </p:nvSpPr>
            <p:spPr>
              <a:xfrm>
                <a:off x="7762339" y="2758947"/>
                <a:ext cx="5562" cy="1315"/>
              </a:xfrm>
              <a:custGeom>
                <a:avLst/>
                <a:gdLst>
                  <a:gd name="connsiteX0" fmla="*/ 0 w 5562"/>
                  <a:gd name="connsiteY0" fmla="*/ 0 h 1315"/>
                  <a:gd name="connsiteX1" fmla="*/ 5562 w 5562"/>
                  <a:gd name="connsiteY1" fmla="*/ 1316 h 1315"/>
                </a:gdLst>
                <a:ahLst/>
                <a:cxnLst>
                  <a:cxn ang="0">
                    <a:pos x="connsiteX0" y="connsiteY0"/>
                  </a:cxn>
                  <a:cxn ang="0">
                    <a:pos x="connsiteX1" y="connsiteY1"/>
                  </a:cxn>
                </a:cxnLst>
                <a:rect l="l" t="t" r="r" b="b"/>
                <a:pathLst>
                  <a:path w="5562" h="1315">
                    <a:moveTo>
                      <a:pt x="0" y="0"/>
                    </a:moveTo>
                    <a:lnTo>
                      <a:pt x="5562" y="1316"/>
                    </a:lnTo>
                  </a:path>
                </a:pathLst>
              </a:custGeom>
              <a:ln w="6350" cap="rnd">
                <a:solidFill>
                  <a:schemeClr val="bg1">
                    <a:alpha val="80000"/>
                  </a:schemeClr>
                </a:solidFill>
                <a:prstDash val="solid"/>
                <a:round/>
              </a:ln>
            </p:spPr>
            <p:txBody>
              <a:bodyPr rtlCol="0" anchor="ctr"/>
              <a:lstStyle/>
              <a:p>
                <a:endParaRPr lang="en-GB"/>
              </a:p>
            </p:txBody>
          </p:sp>
          <p:sp>
            <p:nvSpPr>
              <p:cNvPr id="5917" name="Vrije vorm: vorm 5916">
                <a:extLst>
                  <a:ext uri="{FF2B5EF4-FFF2-40B4-BE49-F238E27FC236}">
                    <a16:creationId xmlns:a16="http://schemas.microsoft.com/office/drawing/2014/main" id="{4C3A8F87-682F-4E16-97D2-59CD7DC33EAD}"/>
                  </a:ext>
                </a:extLst>
              </p:cNvPr>
              <p:cNvSpPr/>
              <p:nvPr/>
            </p:nvSpPr>
            <p:spPr>
              <a:xfrm>
                <a:off x="7762339" y="2755358"/>
                <a:ext cx="897" cy="3588"/>
              </a:xfrm>
              <a:custGeom>
                <a:avLst/>
                <a:gdLst>
                  <a:gd name="connsiteX0" fmla="*/ 0 w 897"/>
                  <a:gd name="connsiteY0" fmla="*/ 3588 h 3588"/>
                  <a:gd name="connsiteX1" fmla="*/ 897 w 897"/>
                  <a:gd name="connsiteY1" fmla="*/ 0 h 3588"/>
                </a:gdLst>
                <a:ahLst/>
                <a:cxnLst>
                  <a:cxn ang="0">
                    <a:pos x="connsiteX0" y="connsiteY0"/>
                  </a:cxn>
                  <a:cxn ang="0">
                    <a:pos x="connsiteX1" y="connsiteY1"/>
                  </a:cxn>
                </a:cxnLst>
                <a:rect l="l" t="t" r="r" b="b"/>
                <a:pathLst>
                  <a:path w="897" h="3588">
                    <a:moveTo>
                      <a:pt x="0" y="3588"/>
                    </a:moveTo>
                    <a:lnTo>
                      <a:pt x="897" y="0"/>
                    </a:lnTo>
                  </a:path>
                </a:pathLst>
              </a:custGeom>
              <a:ln w="6350" cap="rnd">
                <a:solidFill>
                  <a:schemeClr val="bg1">
                    <a:alpha val="80000"/>
                  </a:schemeClr>
                </a:solidFill>
                <a:prstDash val="solid"/>
                <a:round/>
              </a:ln>
            </p:spPr>
            <p:txBody>
              <a:bodyPr rtlCol="0" anchor="ctr"/>
              <a:lstStyle/>
              <a:p>
                <a:endParaRPr lang="en-GB"/>
              </a:p>
            </p:txBody>
          </p:sp>
          <p:sp>
            <p:nvSpPr>
              <p:cNvPr id="5918" name="Vrije vorm: vorm 5917">
                <a:extLst>
                  <a:ext uri="{FF2B5EF4-FFF2-40B4-BE49-F238E27FC236}">
                    <a16:creationId xmlns:a16="http://schemas.microsoft.com/office/drawing/2014/main" id="{BA770AE5-2A4A-46B9-B1FA-D2B8624B8EAC}"/>
                  </a:ext>
                </a:extLst>
              </p:cNvPr>
              <p:cNvSpPr/>
              <p:nvPr/>
            </p:nvSpPr>
            <p:spPr>
              <a:xfrm>
                <a:off x="7588240" y="2684666"/>
                <a:ext cx="4605" cy="23564"/>
              </a:xfrm>
              <a:custGeom>
                <a:avLst/>
                <a:gdLst>
                  <a:gd name="connsiteX0" fmla="*/ 0 w 4605"/>
                  <a:gd name="connsiteY0" fmla="*/ 23564 h 23564"/>
                  <a:gd name="connsiteX1" fmla="*/ 4605 w 4605"/>
                  <a:gd name="connsiteY1" fmla="*/ 0 h 23564"/>
                </a:gdLst>
                <a:ahLst/>
                <a:cxnLst>
                  <a:cxn ang="0">
                    <a:pos x="connsiteX0" y="connsiteY0"/>
                  </a:cxn>
                  <a:cxn ang="0">
                    <a:pos x="connsiteX1" y="connsiteY1"/>
                  </a:cxn>
                </a:cxnLst>
                <a:rect l="l" t="t" r="r" b="b"/>
                <a:pathLst>
                  <a:path w="4605" h="23564">
                    <a:moveTo>
                      <a:pt x="0" y="23564"/>
                    </a:moveTo>
                    <a:lnTo>
                      <a:pt x="4605" y="0"/>
                    </a:lnTo>
                  </a:path>
                </a:pathLst>
              </a:custGeom>
              <a:ln w="6350" cap="rnd">
                <a:solidFill>
                  <a:schemeClr val="bg1">
                    <a:alpha val="80000"/>
                  </a:schemeClr>
                </a:solidFill>
                <a:prstDash val="solid"/>
                <a:round/>
              </a:ln>
            </p:spPr>
            <p:txBody>
              <a:bodyPr rtlCol="0" anchor="ctr"/>
              <a:lstStyle/>
              <a:p>
                <a:endParaRPr lang="en-GB"/>
              </a:p>
            </p:txBody>
          </p:sp>
          <p:sp>
            <p:nvSpPr>
              <p:cNvPr id="5919" name="Vrije vorm: vorm 5918">
                <a:extLst>
                  <a:ext uri="{FF2B5EF4-FFF2-40B4-BE49-F238E27FC236}">
                    <a16:creationId xmlns:a16="http://schemas.microsoft.com/office/drawing/2014/main" id="{4B9E191A-FECA-4D27-9ABF-3C0F7C254058}"/>
                  </a:ext>
                </a:extLst>
              </p:cNvPr>
              <p:cNvSpPr/>
              <p:nvPr/>
            </p:nvSpPr>
            <p:spPr>
              <a:xfrm>
                <a:off x="7588240" y="2708230"/>
                <a:ext cx="2212" cy="16207"/>
              </a:xfrm>
              <a:custGeom>
                <a:avLst/>
                <a:gdLst>
                  <a:gd name="connsiteX0" fmla="*/ 0 w 2212"/>
                  <a:gd name="connsiteY0" fmla="*/ 0 h 16207"/>
                  <a:gd name="connsiteX1" fmla="*/ 2213 w 2212"/>
                  <a:gd name="connsiteY1" fmla="*/ 16208 h 16207"/>
                </a:gdLst>
                <a:ahLst/>
                <a:cxnLst>
                  <a:cxn ang="0">
                    <a:pos x="connsiteX0" y="connsiteY0"/>
                  </a:cxn>
                  <a:cxn ang="0">
                    <a:pos x="connsiteX1" y="connsiteY1"/>
                  </a:cxn>
                </a:cxnLst>
                <a:rect l="l" t="t" r="r" b="b"/>
                <a:pathLst>
                  <a:path w="2212" h="16207">
                    <a:moveTo>
                      <a:pt x="0" y="0"/>
                    </a:moveTo>
                    <a:lnTo>
                      <a:pt x="2213" y="16208"/>
                    </a:lnTo>
                  </a:path>
                </a:pathLst>
              </a:custGeom>
              <a:ln w="6350" cap="rnd">
                <a:solidFill>
                  <a:schemeClr val="bg1">
                    <a:alpha val="80000"/>
                  </a:schemeClr>
                </a:solidFill>
                <a:prstDash val="solid"/>
                <a:round/>
              </a:ln>
            </p:spPr>
            <p:txBody>
              <a:bodyPr rtlCol="0" anchor="ctr"/>
              <a:lstStyle/>
              <a:p>
                <a:endParaRPr lang="en-GB"/>
              </a:p>
            </p:txBody>
          </p:sp>
          <p:sp>
            <p:nvSpPr>
              <p:cNvPr id="5920" name="Vrije vorm: vorm 5919">
                <a:extLst>
                  <a:ext uri="{FF2B5EF4-FFF2-40B4-BE49-F238E27FC236}">
                    <a16:creationId xmlns:a16="http://schemas.microsoft.com/office/drawing/2014/main" id="{4F37AE8B-8C80-4510-BC38-EA6A63505746}"/>
                  </a:ext>
                </a:extLst>
              </p:cNvPr>
              <p:cNvSpPr/>
              <p:nvPr/>
            </p:nvSpPr>
            <p:spPr>
              <a:xfrm>
                <a:off x="7629926" y="2633113"/>
                <a:ext cx="10167" cy="1315"/>
              </a:xfrm>
              <a:custGeom>
                <a:avLst/>
                <a:gdLst>
                  <a:gd name="connsiteX0" fmla="*/ 0 w 10167"/>
                  <a:gd name="connsiteY0" fmla="*/ 1316 h 1315"/>
                  <a:gd name="connsiteX1" fmla="*/ 10167 w 10167"/>
                  <a:gd name="connsiteY1" fmla="*/ 0 h 1315"/>
                </a:gdLst>
                <a:ahLst/>
                <a:cxnLst>
                  <a:cxn ang="0">
                    <a:pos x="connsiteX0" y="connsiteY0"/>
                  </a:cxn>
                  <a:cxn ang="0">
                    <a:pos x="connsiteX1" y="connsiteY1"/>
                  </a:cxn>
                </a:cxnLst>
                <a:rect l="l" t="t" r="r" b="b"/>
                <a:pathLst>
                  <a:path w="10167" h="1315">
                    <a:moveTo>
                      <a:pt x="0" y="1316"/>
                    </a:moveTo>
                    <a:lnTo>
                      <a:pt x="10167" y="0"/>
                    </a:lnTo>
                  </a:path>
                </a:pathLst>
              </a:custGeom>
              <a:ln w="6350" cap="rnd">
                <a:solidFill>
                  <a:schemeClr val="bg1">
                    <a:alpha val="80000"/>
                  </a:schemeClr>
                </a:solidFill>
                <a:prstDash val="solid"/>
                <a:round/>
              </a:ln>
            </p:spPr>
            <p:txBody>
              <a:bodyPr rtlCol="0" anchor="ctr"/>
              <a:lstStyle/>
              <a:p>
                <a:endParaRPr lang="en-GB"/>
              </a:p>
            </p:txBody>
          </p:sp>
          <p:sp>
            <p:nvSpPr>
              <p:cNvPr id="5921" name="Vrije vorm: vorm 5920">
                <a:extLst>
                  <a:ext uri="{FF2B5EF4-FFF2-40B4-BE49-F238E27FC236}">
                    <a16:creationId xmlns:a16="http://schemas.microsoft.com/office/drawing/2014/main" id="{34626BC6-3195-4D17-8D53-FF36050B957E}"/>
                  </a:ext>
                </a:extLst>
              </p:cNvPr>
              <p:cNvSpPr/>
              <p:nvPr/>
            </p:nvSpPr>
            <p:spPr>
              <a:xfrm>
                <a:off x="7589197" y="2684666"/>
                <a:ext cx="3648" cy="16566"/>
              </a:xfrm>
              <a:custGeom>
                <a:avLst/>
                <a:gdLst>
                  <a:gd name="connsiteX0" fmla="*/ 0 w 3648"/>
                  <a:gd name="connsiteY0" fmla="*/ 16567 h 16566"/>
                  <a:gd name="connsiteX1" fmla="*/ 3648 w 3648"/>
                  <a:gd name="connsiteY1" fmla="*/ 0 h 16566"/>
                </a:gdLst>
                <a:ahLst/>
                <a:cxnLst>
                  <a:cxn ang="0">
                    <a:pos x="connsiteX0" y="connsiteY0"/>
                  </a:cxn>
                  <a:cxn ang="0">
                    <a:pos x="connsiteX1" y="connsiteY1"/>
                  </a:cxn>
                </a:cxnLst>
                <a:rect l="l" t="t" r="r" b="b"/>
                <a:pathLst>
                  <a:path w="3648" h="16566">
                    <a:moveTo>
                      <a:pt x="0" y="16567"/>
                    </a:moveTo>
                    <a:lnTo>
                      <a:pt x="3648" y="0"/>
                    </a:lnTo>
                  </a:path>
                </a:pathLst>
              </a:custGeom>
              <a:ln w="6350" cap="rnd">
                <a:solidFill>
                  <a:schemeClr val="bg1">
                    <a:alpha val="80000"/>
                  </a:schemeClr>
                </a:solidFill>
                <a:prstDash val="solid"/>
                <a:round/>
              </a:ln>
            </p:spPr>
            <p:txBody>
              <a:bodyPr rtlCol="0" anchor="ctr"/>
              <a:lstStyle/>
              <a:p>
                <a:endParaRPr lang="en-GB"/>
              </a:p>
            </p:txBody>
          </p:sp>
          <p:sp>
            <p:nvSpPr>
              <p:cNvPr id="5922" name="Vrije vorm: vorm 5921">
                <a:extLst>
                  <a:ext uri="{FF2B5EF4-FFF2-40B4-BE49-F238E27FC236}">
                    <a16:creationId xmlns:a16="http://schemas.microsoft.com/office/drawing/2014/main" id="{7837A2FA-D9BD-4B9D-BCCE-86C58F4A6F66}"/>
                  </a:ext>
                </a:extLst>
              </p:cNvPr>
              <p:cNvSpPr/>
              <p:nvPr/>
            </p:nvSpPr>
            <p:spPr>
              <a:xfrm>
                <a:off x="7588240" y="2701233"/>
                <a:ext cx="956" cy="6997"/>
              </a:xfrm>
              <a:custGeom>
                <a:avLst/>
                <a:gdLst>
                  <a:gd name="connsiteX0" fmla="*/ 957 w 956"/>
                  <a:gd name="connsiteY0" fmla="*/ 0 h 6997"/>
                  <a:gd name="connsiteX1" fmla="*/ 0 w 956"/>
                  <a:gd name="connsiteY1" fmla="*/ 6997 h 6997"/>
                </a:gdLst>
                <a:ahLst/>
                <a:cxnLst>
                  <a:cxn ang="0">
                    <a:pos x="connsiteX0" y="connsiteY0"/>
                  </a:cxn>
                  <a:cxn ang="0">
                    <a:pos x="connsiteX1" y="connsiteY1"/>
                  </a:cxn>
                </a:cxnLst>
                <a:rect l="l" t="t" r="r" b="b"/>
                <a:pathLst>
                  <a:path w="956" h="6997">
                    <a:moveTo>
                      <a:pt x="957" y="0"/>
                    </a:moveTo>
                    <a:lnTo>
                      <a:pt x="0" y="6997"/>
                    </a:lnTo>
                  </a:path>
                </a:pathLst>
              </a:custGeom>
              <a:ln w="6350" cap="rnd">
                <a:solidFill>
                  <a:schemeClr val="bg1">
                    <a:alpha val="80000"/>
                  </a:schemeClr>
                </a:solidFill>
                <a:prstDash val="solid"/>
                <a:round/>
              </a:ln>
            </p:spPr>
            <p:txBody>
              <a:bodyPr rtlCol="0" anchor="ctr"/>
              <a:lstStyle/>
              <a:p>
                <a:endParaRPr lang="en-GB"/>
              </a:p>
            </p:txBody>
          </p:sp>
          <p:sp>
            <p:nvSpPr>
              <p:cNvPr id="5923" name="Vrije vorm: vorm 5922">
                <a:extLst>
                  <a:ext uri="{FF2B5EF4-FFF2-40B4-BE49-F238E27FC236}">
                    <a16:creationId xmlns:a16="http://schemas.microsoft.com/office/drawing/2014/main" id="{6121ABD7-66BC-4B83-BE8E-F6B2B102CCD2}"/>
                  </a:ext>
                </a:extLst>
              </p:cNvPr>
              <p:cNvSpPr/>
              <p:nvPr/>
            </p:nvSpPr>
            <p:spPr>
              <a:xfrm>
                <a:off x="7548468" y="2678506"/>
                <a:ext cx="24580" cy="8672"/>
              </a:xfrm>
              <a:custGeom>
                <a:avLst/>
                <a:gdLst>
                  <a:gd name="connsiteX0" fmla="*/ 0 w 24580"/>
                  <a:gd name="connsiteY0" fmla="*/ 8672 h 8672"/>
                  <a:gd name="connsiteX1" fmla="*/ 24581 w 24580"/>
                  <a:gd name="connsiteY1" fmla="*/ 0 h 8672"/>
                </a:gdLst>
                <a:ahLst/>
                <a:cxnLst>
                  <a:cxn ang="0">
                    <a:pos x="connsiteX0" y="connsiteY0"/>
                  </a:cxn>
                  <a:cxn ang="0">
                    <a:pos x="connsiteX1" y="connsiteY1"/>
                  </a:cxn>
                </a:cxnLst>
                <a:rect l="l" t="t" r="r" b="b"/>
                <a:pathLst>
                  <a:path w="24580" h="8672">
                    <a:moveTo>
                      <a:pt x="0" y="8672"/>
                    </a:moveTo>
                    <a:lnTo>
                      <a:pt x="24581" y="0"/>
                    </a:lnTo>
                  </a:path>
                </a:pathLst>
              </a:custGeom>
              <a:ln w="6350" cap="rnd">
                <a:solidFill>
                  <a:schemeClr val="bg1">
                    <a:alpha val="80000"/>
                  </a:schemeClr>
                </a:solidFill>
                <a:prstDash val="solid"/>
                <a:round/>
              </a:ln>
            </p:spPr>
            <p:txBody>
              <a:bodyPr rtlCol="0" anchor="ctr"/>
              <a:lstStyle/>
              <a:p>
                <a:endParaRPr lang="en-GB"/>
              </a:p>
            </p:txBody>
          </p:sp>
          <p:sp>
            <p:nvSpPr>
              <p:cNvPr id="5924" name="Vrije vorm: vorm 5923">
                <a:extLst>
                  <a:ext uri="{FF2B5EF4-FFF2-40B4-BE49-F238E27FC236}">
                    <a16:creationId xmlns:a16="http://schemas.microsoft.com/office/drawing/2014/main" id="{3946DA4C-B2BB-4F1A-8EDC-5D58B430022E}"/>
                  </a:ext>
                </a:extLst>
              </p:cNvPr>
              <p:cNvSpPr/>
              <p:nvPr/>
            </p:nvSpPr>
            <p:spPr>
              <a:xfrm>
                <a:off x="7662341" y="2782272"/>
                <a:ext cx="9569" cy="15669"/>
              </a:xfrm>
              <a:custGeom>
                <a:avLst/>
                <a:gdLst>
                  <a:gd name="connsiteX0" fmla="*/ 9569 w 9569"/>
                  <a:gd name="connsiteY0" fmla="*/ 0 h 15669"/>
                  <a:gd name="connsiteX1" fmla="*/ 0 w 9569"/>
                  <a:gd name="connsiteY1" fmla="*/ 15669 h 15669"/>
                </a:gdLst>
                <a:ahLst/>
                <a:cxnLst>
                  <a:cxn ang="0">
                    <a:pos x="connsiteX0" y="connsiteY0"/>
                  </a:cxn>
                  <a:cxn ang="0">
                    <a:pos x="connsiteX1" y="connsiteY1"/>
                  </a:cxn>
                </a:cxnLst>
                <a:rect l="l" t="t" r="r" b="b"/>
                <a:pathLst>
                  <a:path w="9569" h="15669">
                    <a:moveTo>
                      <a:pt x="9569" y="0"/>
                    </a:moveTo>
                    <a:lnTo>
                      <a:pt x="0" y="15669"/>
                    </a:lnTo>
                  </a:path>
                </a:pathLst>
              </a:custGeom>
              <a:ln w="6350" cap="rnd">
                <a:solidFill>
                  <a:schemeClr val="bg1">
                    <a:alpha val="80000"/>
                  </a:schemeClr>
                </a:solidFill>
                <a:prstDash val="solid"/>
                <a:round/>
              </a:ln>
            </p:spPr>
            <p:txBody>
              <a:bodyPr rtlCol="0" anchor="ctr"/>
              <a:lstStyle/>
              <a:p>
                <a:endParaRPr lang="en-GB"/>
              </a:p>
            </p:txBody>
          </p:sp>
          <p:sp>
            <p:nvSpPr>
              <p:cNvPr id="5925" name="Vrije vorm: vorm 5924">
                <a:extLst>
                  <a:ext uri="{FF2B5EF4-FFF2-40B4-BE49-F238E27FC236}">
                    <a16:creationId xmlns:a16="http://schemas.microsoft.com/office/drawing/2014/main" id="{2E5F0CF7-3902-46BD-8469-96BD446C38C1}"/>
                  </a:ext>
                </a:extLst>
              </p:cNvPr>
              <p:cNvSpPr/>
              <p:nvPr/>
            </p:nvSpPr>
            <p:spPr>
              <a:xfrm>
                <a:off x="7586625" y="2656856"/>
                <a:ext cx="18181" cy="2452"/>
              </a:xfrm>
              <a:custGeom>
                <a:avLst/>
                <a:gdLst>
                  <a:gd name="connsiteX0" fmla="*/ 18181 w 18181"/>
                  <a:gd name="connsiteY0" fmla="*/ 2452 h 2452"/>
                  <a:gd name="connsiteX1" fmla="*/ 0 w 18181"/>
                  <a:gd name="connsiteY1" fmla="*/ 0 h 2452"/>
                </a:gdLst>
                <a:ahLst/>
                <a:cxnLst>
                  <a:cxn ang="0">
                    <a:pos x="connsiteX0" y="connsiteY0"/>
                  </a:cxn>
                  <a:cxn ang="0">
                    <a:pos x="connsiteX1" y="connsiteY1"/>
                  </a:cxn>
                </a:cxnLst>
                <a:rect l="l" t="t" r="r" b="b"/>
                <a:pathLst>
                  <a:path w="18181" h="2452">
                    <a:moveTo>
                      <a:pt x="18181" y="245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26" name="Vrije vorm: vorm 5925">
                <a:extLst>
                  <a:ext uri="{FF2B5EF4-FFF2-40B4-BE49-F238E27FC236}">
                    <a16:creationId xmlns:a16="http://schemas.microsoft.com/office/drawing/2014/main" id="{C39A083C-E02C-4D6E-A245-A78DC947283B}"/>
                  </a:ext>
                </a:extLst>
              </p:cNvPr>
              <p:cNvSpPr/>
              <p:nvPr/>
            </p:nvSpPr>
            <p:spPr>
              <a:xfrm>
                <a:off x="7751873" y="2821984"/>
                <a:ext cx="17583" cy="3349"/>
              </a:xfrm>
              <a:custGeom>
                <a:avLst/>
                <a:gdLst>
                  <a:gd name="connsiteX0" fmla="*/ 0 w 17583"/>
                  <a:gd name="connsiteY0" fmla="*/ 0 h 3349"/>
                  <a:gd name="connsiteX1" fmla="*/ 17583 w 17583"/>
                  <a:gd name="connsiteY1" fmla="*/ 3349 h 3349"/>
                </a:gdLst>
                <a:ahLst/>
                <a:cxnLst>
                  <a:cxn ang="0">
                    <a:pos x="connsiteX0" y="connsiteY0"/>
                  </a:cxn>
                  <a:cxn ang="0">
                    <a:pos x="connsiteX1" y="connsiteY1"/>
                  </a:cxn>
                </a:cxnLst>
                <a:rect l="l" t="t" r="r" b="b"/>
                <a:pathLst>
                  <a:path w="17583" h="3349">
                    <a:moveTo>
                      <a:pt x="0" y="0"/>
                    </a:moveTo>
                    <a:lnTo>
                      <a:pt x="17583" y="3349"/>
                    </a:lnTo>
                  </a:path>
                </a:pathLst>
              </a:custGeom>
              <a:ln w="6350" cap="rnd">
                <a:solidFill>
                  <a:schemeClr val="bg1">
                    <a:alpha val="80000"/>
                  </a:schemeClr>
                </a:solidFill>
                <a:prstDash val="solid"/>
                <a:round/>
              </a:ln>
            </p:spPr>
            <p:txBody>
              <a:bodyPr rtlCol="0" anchor="ctr"/>
              <a:lstStyle/>
              <a:p>
                <a:endParaRPr lang="en-GB"/>
              </a:p>
            </p:txBody>
          </p:sp>
          <p:sp>
            <p:nvSpPr>
              <p:cNvPr id="5927" name="Vrije vorm: vorm 5926">
                <a:extLst>
                  <a:ext uri="{FF2B5EF4-FFF2-40B4-BE49-F238E27FC236}">
                    <a16:creationId xmlns:a16="http://schemas.microsoft.com/office/drawing/2014/main" id="{C2CD32BE-93CF-4DA8-95BE-D58B9747BFC5}"/>
                  </a:ext>
                </a:extLst>
              </p:cNvPr>
              <p:cNvSpPr/>
              <p:nvPr/>
            </p:nvSpPr>
            <p:spPr>
              <a:xfrm>
                <a:off x="7720952" y="2745251"/>
                <a:ext cx="34149" cy="13815"/>
              </a:xfrm>
              <a:custGeom>
                <a:avLst/>
                <a:gdLst>
                  <a:gd name="connsiteX0" fmla="*/ 34150 w 34149"/>
                  <a:gd name="connsiteY0" fmla="*/ 13815 h 13815"/>
                  <a:gd name="connsiteX1" fmla="*/ 0 w 34149"/>
                  <a:gd name="connsiteY1" fmla="*/ 0 h 13815"/>
                </a:gdLst>
                <a:ahLst/>
                <a:cxnLst>
                  <a:cxn ang="0">
                    <a:pos x="connsiteX0" y="connsiteY0"/>
                  </a:cxn>
                  <a:cxn ang="0">
                    <a:pos x="connsiteX1" y="connsiteY1"/>
                  </a:cxn>
                </a:cxnLst>
                <a:rect l="l" t="t" r="r" b="b"/>
                <a:pathLst>
                  <a:path w="34149" h="13815">
                    <a:moveTo>
                      <a:pt x="34150" y="13815"/>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28" name="Vrije vorm: vorm 5927">
                <a:extLst>
                  <a:ext uri="{FF2B5EF4-FFF2-40B4-BE49-F238E27FC236}">
                    <a16:creationId xmlns:a16="http://schemas.microsoft.com/office/drawing/2014/main" id="{3E58B9EB-D039-427D-A82D-5C449852F933}"/>
                  </a:ext>
                </a:extLst>
              </p:cNvPr>
              <p:cNvSpPr/>
              <p:nvPr/>
            </p:nvSpPr>
            <p:spPr>
              <a:xfrm>
                <a:off x="7748643" y="2752009"/>
                <a:ext cx="6459" cy="7057"/>
              </a:xfrm>
              <a:custGeom>
                <a:avLst/>
                <a:gdLst>
                  <a:gd name="connsiteX0" fmla="*/ 6459 w 6459"/>
                  <a:gd name="connsiteY0" fmla="*/ 7057 h 7057"/>
                  <a:gd name="connsiteX1" fmla="*/ 0 w 6459"/>
                  <a:gd name="connsiteY1" fmla="*/ 0 h 7057"/>
                </a:gdLst>
                <a:ahLst/>
                <a:cxnLst>
                  <a:cxn ang="0">
                    <a:pos x="connsiteX0" y="connsiteY0"/>
                  </a:cxn>
                  <a:cxn ang="0">
                    <a:pos x="connsiteX1" y="connsiteY1"/>
                  </a:cxn>
                </a:cxnLst>
                <a:rect l="l" t="t" r="r" b="b"/>
                <a:pathLst>
                  <a:path w="6459" h="7057">
                    <a:moveTo>
                      <a:pt x="6459" y="705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29" name="Vrije vorm: vorm 5928">
                <a:extLst>
                  <a:ext uri="{FF2B5EF4-FFF2-40B4-BE49-F238E27FC236}">
                    <a16:creationId xmlns:a16="http://schemas.microsoft.com/office/drawing/2014/main" id="{2C5F6A24-DA59-4468-B68A-B180DD9983C1}"/>
                  </a:ext>
                </a:extLst>
              </p:cNvPr>
              <p:cNvSpPr/>
              <p:nvPr/>
            </p:nvSpPr>
            <p:spPr>
              <a:xfrm>
                <a:off x="7644040" y="2649141"/>
                <a:ext cx="11423" cy="2452"/>
              </a:xfrm>
              <a:custGeom>
                <a:avLst/>
                <a:gdLst>
                  <a:gd name="connsiteX0" fmla="*/ 0 w 11423"/>
                  <a:gd name="connsiteY0" fmla="*/ 2452 h 2452"/>
                  <a:gd name="connsiteX1" fmla="*/ 11423 w 11423"/>
                  <a:gd name="connsiteY1" fmla="*/ 0 h 2452"/>
                </a:gdLst>
                <a:ahLst/>
                <a:cxnLst>
                  <a:cxn ang="0">
                    <a:pos x="connsiteX0" y="connsiteY0"/>
                  </a:cxn>
                  <a:cxn ang="0">
                    <a:pos x="connsiteX1" y="connsiteY1"/>
                  </a:cxn>
                </a:cxnLst>
                <a:rect l="l" t="t" r="r" b="b"/>
                <a:pathLst>
                  <a:path w="11423" h="2452">
                    <a:moveTo>
                      <a:pt x="0" y="2452"/>
                    </a:moveTo>
                    <a:lnTo>
                      <a:pt x="11423" y="0"/>
                    </a:lnTo>
                  </a:path>
                </a:pathLst>
              </a:custGeom>
              <a:ln w="6350" cap="rnd">
                <a:solidFill>
                  <a:schemeClr val="bg1">
                    <a:alpha val="80000"/>
                  </a:schemeClr>
                </a:solidFill>
                <a:prstDash val="solid"/>
                <a:round/>
              </a:ln>
            </p:spPr>
            <p:txBody>
              <a:bodyPr rtlCol="0" anchor="ctr"/>
              <a:lstStyle/>
              <a:p>
                <a:endParaRPr lang="en-GB"/>
              </a:p>
            </p:txBody>
          </p:sp>
          <p:sp>
            <p:nvSpPr>
              <p:cNvPr id="5930" name="Vrije vorm: vorm 5929">
                <a:extLst>
                  <a:ext uri="{FF2B5EF4-FFF2-40B4-BE49-F238E27FC236}">
                    <a16:creationId xmlns:a16="http://schemas.microsoft.com/office/drawing/2014/main" id="{476383D9-7D3C-42E6-8374-96E986D18891}"/>
                  </a:ext>
                </a:extLst>
              </p:cNvPr>
              <p:cNvSpPr/>
              <p:nvPr/>
            </p:nvSpPr>
            <p:spPr>
              <a:xfrm>
                <a:off x="7631540" y="2770310"/>
                <a:ext cx="17164" cy="6997"/>
              </a:xfrm>
              <a:custGeom>
                <a:avLst/>
                <a:gdLst>
                  <a:gd name="connsiteX0" fmla="*/ 17164 w 17164"/>
                  <a:gd name="connsiteY0" fmla="*/ 6998 h 6997"/>
                  <a:gd name="connsiteX1" fmla="*/ 0 w 17164"/>
                  <a:gd name="connsiteY1" fmla="*/ 0 h 6997"/>
                </a:gdLst>
                <a:ahLst/>
                <a:cxnLst>
                  <a:cxn ang="0">
                    <a:pos x="connsiteX0" y="connsiteY0"/>
                  </a:cxn>
                  <a:cxn ang="0">
                    <a:pos x="connsiteX1" y="connsiteY1"/>
                  </a:cxn>
                </a:cxnLst>
                <a:rect l="l" t="t" r="r" b="b"/>
                <a:pathLst>
                  <a:path w="17164" h="6997">
                    <a:moveTo>
                      <a:pt x="17164" y="699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31" name="Vrije vorm: vorm 5930">
                <a:extLst>
                  <a:ext uri="{FF2B5EF4-FFF2-40B4-BE49-F238E27FC236}">
                    <a16:creationId xmlns:a16="http://schemas.microsoft.com/office/drawing/2014/main" id="{7FACAF70-18A9-4CF0-9058-AE52EF4F7AE6}"/>
                  </a:ext>
                </a:extLst>
              </p:cNvPr>
              <p:cNvSpPr/>
              <p:nvPr/>
            </p:nvSpPr>
            <p:spPr>
              <a:xfrm>
                <a:off x="7633095" y="2777308"/>
                <a:ext cx="15609" cy="3708"/>
              </a:xfrm>
              <a:custGeom>
                <a:avLst/>
                <a:gdLst>
                  <a:gd name="connsiteX0" fmla="*/ 15609 w 15609"/>
                  <a:gd name="connsiteY0" fmla="*/ 0 h 3708"/>
                  <a:gd name="connsiteX1" fmla="*/ 0 w 15609"/>
                  <a:gd name="connsiteY1" fmla="*/ 3708 h 3708"/>
                </a:gdLst>
                <a:ahLst/>
                <a:cxnLst>
                  <a:cxn ang="0">
                    <a:pos x="connsiteX0" y="connsiteY0"/>
                  </a:cxn>
                  <a:cxn ang="0">
                    <a:pos x="connsiteX1" y="connsiteY1"/>
                  </a:cxn>
                </a:cxnLst>
                <a:rect l="l" t="t" r="r" b="b"/>
                <a:pathLst>
                  <a:path w="15609" h="3708">
                    <a:moveTo>
                      <a:pt x="15609" y="0"/>
                    </a:moveTo>
                    <a:lnTo>
                      <a:pt x="0" y="3708"/>
                    </a:lnTo>
                  </a:path>
                </a:pathLst>
              </a:custGeom>
              <a:ln w="6350" cap="rnd">
                <a:solidFill>
                  <a:schemeClr val="bg1">
                    <a:alpha val="80000"/>
                  </a:schemeClr>
                </a:solidFill>
                <a:prstDash val="solid"/>
                <a:round/>
              </a:ln>
            </p:spPr>
            <p:txBody>
              <a:bodyPr rtlCol="0" anchor="ctr"/>
              <a:lstStyle/>
              <a:p>
                <a:endParaRPr lang="en-GB"/>
              </a:p>
            </p:txBody>
          </p:sp>
          <p:sp>
            <p:nvSpPr>
              <p:cNvPr id="5932" name="Vrije vorm: vorm 5931">
                <a:extLst>
                  <a:ext uri="{FF2B5EF4-FFF2-40B4-BE49-F238E27FC236}">
                    <a16:creationId xmlns:a16="http://schemas.microsoft.com/office/drawing/2014/main" id="{94058D3E-CA6D-484C-A192-F5BCC310A2F5}"/>
                  </a:ext>
                </a:extLst>
              </p:cNvPr>
              <p:cNvSpPr/>
              <p:nvPr/>
            </p:nvSpPr>
            <p:spPr>
              <a:xfrm>
                <a:off x="7648705" y="2777308"/>
                <a:ext cx="13636" cy="20633"/>
              </a:xfrm>
              <a:custGeom>
                <a:avLst/>
                <a:gdLst>
                  <a:gd name="connsiteX0" fmla="*/ 0 w 13636"/>
                  <a:gd name="connsiteY0" fmla="*/ 0 h 20633"/>
                  <a:gd name="connsiteX1" fmla="*/ 13636 w 13636"/>
                  <a:gd name="connsiteY1" fmla="*/ 20633 h 20633"/>
                </a:gdLst>
                <a:ahLst/>
                <a:cxnLst>
                  <a:cxn ang="0">
                    <a:pos x="connsiteX0" y="connsiteY0"/>
                  </a:cxn>
                  <a:cxn ang="0">
                    <a:pos x="connsiteX1" y="connsiteY1"/>
                  </a:cxn>
                </a:cxnLst>
                <a:rect l="l" t="t" r="r" b="b"/>
                <a:pathLst>
                  <a:path w="13636" h="20633">
                    <a:moveTo>
                      <a:pt x="0" y="0"/>
                    </a:moveTo>
                    <a:lnTo>
                      <a:pt x="13636" y="20633"/>
                    </a:lnTo>
                  </a:path>
                </a:pathLst>
              </a:custGeom>
              <a:ln w="6350" cap="rnd">
                <a:solidFill>
                  <a:schemeClr val="bg1">
                    <a:alpha val="80000"/>
                  </a:schemeClr>
                </a:solidFill>
                <a:prstDash val="solid"/>
                <a:round/>
              </a:ln>
            </p:spPr>
            <p:txBody>
              <a:bodyPr rtlCol="0" anchor="ctr"/>
              <a:lstStyle/>
              <a:p>
                <a:endParaRPr lang="en-GB"/>
              </a:p>
            </p:txBody>
          </p:sp>
          <p:sp>
            <p:nvSpPr>
              <p:cNvPr id="5933" name="Vrije vorm: vorm 5932">
                <a:extLst>
                  <a:ext uri="{FF2B5EF4-FFF2-40B4-BE49-F238E27FC236}">
                    <a16:creationId xmlns:a16="http://schemas.microsoft.com/office/drawing/2014/main" id="{3033703A-68BC-4B55-BA48-528610C89A53}"/>
                  </a:ext>
                </a:extLst>
              </p:cNvPr>
              <p:cNvSpPr/>
              <p:nvPr/>
            </p:nvSpPr>
            <p:spPr>
              <a:xfrm>
                <a:off x="7594879" y="2821864"/>
                <a:ext cx="24520" cy="15310"/>
              </a:xfrm>
              <a:custGeom>
                <a:avLst/>
                <a:gdLst>
                  <a:gd name="connsiteX0" fmla="*/ 24521 w 24520"/>
                  <a:gd name="connsiteY0" fmla="*/ 0 h 15310"/>
                  <a:gd name="connsiteX1" fmla="*/ 0 w 24520"/>
                  <a:gd name="connsiteY1" fmla="*/ 15311 h 15310"/>
                </a:gdLst>
                <a:ahLst/>
                <a:cxnLst>
                  <a:cxn ang="0">
                    <a:pos x="connsiteX0" y="connsiteY0"/>
                  </a:cxn>
                  <a:cxn ang="0">
                    <a:pos x="connsiteX1" y="connsiteY1"/>
                  </a:cxn>
                </a:cxnLst>
                <a:rect l="l" t="t" r="r" b="b"/>
                <a:pathLst>
                  <a:path w="24520" h="15310">
                    <a:moveTo>
                      <a:pt x="24521" y="0"/>
                    </a:moveTo>
                    <a:lnTo>
                      <a:pt x="0" y="15311"/>
                    </a:lnTo>
                  </a:path>
                </a:pathLst>
              </a:custGeom>
              <a:ln w="6350" cap="rnd">
                <a:solidFill>
                  <a:schemeClr val="bg1">
                    <a:alpha val="80000"/>
                  </a:schemeClr>
                </a:solidFill>
                <a:prstDash val="solid"/>
                <a:round/>
              </a:ln>
            </p:spPr>
            <p:txBody>
              <a:bodyPr rtlCol="0" anchor="ctr"/>
              <a:lstStyle/>
              <a:p>
                <a:endParaRPr lang="en-GB"/>
              </a:p>
            </p:txBody>
          </p:sp>
          <p:sp>
            <p:nvSpPr>
              <p:cNvPr id="5934" name="Vrije vorm: vorm 5933">
                <a:extLst>
                  <a:ext uri="{FF2B5EF4-FFF2-40B4-BE49-F238E27FC236}">
                    <a16:creationId xmlns:a16="http://schemas.microsoft.com/office/drawing/2014/main" id="{36E486FE-D8B4-43ED-9DC4-4E86FB93813F}"/>
                  </a:ext>
                </a:extLst>
              </p:cNvPr>
              <p:cNvSpPr/>
              <p:nvPr/>
            </p:nvSpPr>
            <p:spPr>
              <a:xfrm>
                <a:off x="7634890" y="2633113"/>
                <a:ext cx="5203" cy="14353"/>
              </a:xfrm>
              <a:custGeom>
                <a:avLst/>
                <a:gdLst>
                  <a:gd name="connsiteX0" fmla="*/ 0 w 5203"/>
                  <a:gd name="connsiteY0" fmla="*/ 14354 h 14353"/>
                  <a:gd name="connsiteX1" fmla="*/ 5203 w 5203"/>
                  <a:gd name="connsiteY1" fmla="*/ 0 h 14353"/>
                </a:gdLst>
                <a:ahLst/>
                <a:cxnLst>
                  <a:cxn ang="0">
                    <a:pos x="connsiteX0" y="connsiteY0"/>
                  </a:cxn>
                  <a:cxn ang="0">
                    <a:pos x="connsiteX1" y="connsiteY1"/>
                  </a:cxn>
                </a:cxnLst>
                <a:rect l="l" t="t" r="r" b="b"/>
                <a:pathLst>
                  <a:path w="5203" h="14353">
                    <a:moveTo>
                      <a:pt x="0" y="14354"/>
                    </a:moveTo>
                    <a:lnTo>
                      <a:pt x="5203" y="0"/>
                    </a:lnTo>
                  </a:path>
                </a:pathLst>
              </a:custGeom>
              <a:ln w="6350" cap="rnd">
                <a:solidFill>
                  <a:schemeClr val="bg1">
                    <a:alpha val="80000"/>
                  </a:schemeClr>
                </a:solidFill>
                <a:prstDash val="solid"/>
                <a:round/>
              </a:ln>
            </p:spPr>
            <p:txBody>
              <a:bodyPr rtlCol="0" anchor="ctr"/>
              <a:lstStyle/>
              <a:p>
                <a:endParaRPr lang="en-GB"/>
              </a:p>
            </p:txBody>
          </p:sp>
          <p:sp>
            <p:nvSpPr>
              <p:cNvPr id="5935" name="Vrije vorm: vorm 5934">
                <a:extLst>
                  <a:ext uri="{FF2B5EF4-FFF2-40B4-BE49-F238E27FC236}">
                    <a16:creationId xmlns:a16="http://schemas.microsoft.com/office/drawing/2014/main" id="{FB1DC1EA-236F-4282-B39E-D38CA219BECD}"/>
                  </a:ext>
                </a:extLst>
              </p:cNvPr>
              <p:cNvSpPr/>
              <p:nvPr/>
            </p:nvSpPr>
            <p:spPr>
              <a:xfrm>
                <a:off x="7767901" y="2759904"/>
                <a:ext cx="5681" cy="358"/>
              </a:xfrm>
              <a:custGeom>
                <a:avLst/>
                <a:gdLst>
                  <a:gd name="connsiteX0" fmla="*/ 5681 w 5681"/>
                  <a:gd name="connsiteY0" fmla="*/ 0 h 358"/>
                  <a:gd name="connsiteX1" fmla="*/ 0 w 5681"/>
                  <a:gd name="connsiteY1" fmla="*/ 359 h 358"/>
                </a:gdLst>
                <a:ahLst/>
                <a:cxnLst>
                  <a:cxn ang="0">
                    <a:pos x="connsiteX0" y="connsiteY0"/>
                  </a:cxn>
                  <a:cxn ang="0">
                    <a:pos x="connsiteX1" y="connsiteY1"/>
                  </a:cxn>
                </a:cxnLst>
                <a:rect l="l" t="t" r="r" b="b"/>
                <a:pathLst>
                  <a:path w="5681" h="358">
                    <a:moveTo>
                      <a:pt x="5681" y="0"/>
                    </a:moveTo>
                    <a:lnTo>
                      <a:pt x="0" y="359"/>
                    </a:lnTo>
                  </a:path>
                </a:pathLst>
              </a:custGeom>
              <a:ln w="6350" cap="rnd">
                <a:solidFill>
                  <a:schemeClr val="bg1">
                    <a:alpha val="80000"/>
                  </a:schemeClr>
                </a:solidFill>
                <a:prstDash val="solid"/>
                <a:round/>
              </a:ln>
            </p:spPr>
            <p:txBody>
              <a:bodyPr rtlCol="0" anchor="ctr"/>
              <a:lstStyle/>
              <a:p>
                <a:endParaRPr lang="en-GB"/>
              </a:p>
            </p:txBody>
          </p:sp>
          <p:sp>
            <p:nvSpPr>
              <p:cNvPr id="5936" name="Vrije vorm: vorm 5935">
                <a:extLst>
                  <a:ext uri="{FF2B5EF4-FFF2-40B4-BE49-F238E27FC236}">
                    <a16:creationId xmlns:a16="http://schemas.microsoft.com/office/drawing/2014/main" id="{A38A8107-55EE-446E-B3C4-DBF8855DF825}"/>
                  </a:ext>
                </a:extLst>
              </p:cNvPr>
              <p:cNvSpPr/>
              <p:nvPr/>
            </p:nvSpPr>
            <p:spPr>
              <a:xfrm>
                <a:off x="7773583" y="2757691"/>
                <a:ext cx="119" cy="2212"/>
              </a:xfrm>
              <a:custGeom>
                <a:avLst/>
                <a:gdLst>
                  <a:gd name="connsiteX0" fmla="*/ 0 w 119"/>
                  <a:gd name="connsiteY0" fmla="*/ 2213 h 2212"/>
                  <a:gd name="connsiteX1" fmla="*/ 119 w 119"/>
                  <a:gd name="connsiteY1" fmla="*/ 0 h 2212"/>
                </a:gdLst>
                <a:ahLst/>
                <a:cxnLst>
                  <a:cxn ang="0">
                    <a:pos x="connsiteX0" y="connsiteY0"/>
                  </a:cxn>
                  <a:cxn ang="0">
                    <a:pos x="connsiteX1" y="connsiteY1"/>
                  </a:cxn>
                </a:cxnLst>
                <a:rect l="l" t="t" r="r" b="b"/>
                <a:pathLst>
                  <a:path w="119" h="2212">
                    <a:moveTo>
                      <a:pt x="0" y="2213"/>
                    </a:moveTo>
                    <a:lnTo>
                      <a:pt x="119" y="0"/>
                    </a:lnTo>
                  </a:path>
                </a:pathLst>
              </a:custGeom>
              <a:ln w="6350" cap="rnd">
                <a:solidFill>
                  <a:schemeClr val="bg1">
                    <a:alpha val="80000"/>
                  </a:schemeClr>
                </a:solidFill>
                <a:prstDash val="solid"/>
                <a:round/>
              </a:ln>
            </p:spPr>
            <p:txBody>
              <a:bodyPr rtlCol="0" anchor="ctr"/>
              <a:lstStyle/>
              <a:p>
                <a:endParaRPr lang="en-GB"/>
              </a:p>
            </p:txBody>
          </p:sp>
          <p:sp>
            <p:nvSpPr>
              <p:cNvPr id="5937" name="Vrije vorm: vorm 5936">
                <a:extLst>
                  <a:ext uri="{FF2B5EF4-FFF2-40B4-BE49-F238E27FC236}">
                    <a16:creationId xmlns:a16="http://schemas.microsoft.com/office/drawing/2014/main" id="{A68083E4-339A-445B-8174-F1C438A54019}"/>
                  </a:ext>
                </a:extLst>
              </p:cNvPr>
              <p:cNvSpPr/>
              <p:nvPr/>
            </p:nvSpPr>
            <p:spPr>
              <a:xfrm>
                <a:off x="7773583" y="2759904"/>
                <a:ext cx="8014" cy="4485"/>
              </a:xfrm>
              <a:custGeom>
                <a:avLst/>
                <a:gdLst>
                  <a:gd name="connsiteX0" fmla="*/ 0 w 8014"/>
                  <a:gd name="connsiteY0" fmla="*/ 0 h 4485"/>
                  <a:gd name="connsiteX1" fmla="*/ 8014 w 8014"/>
                  <a:gd name="connsiteY1" fmla="*/ 4486 h 4485"/>
                </a:gdLst>
                <a:ahLst/>
                <a:cxnLst>
                  <a:cxn ang="0">
                    <a:pos x="connsiteX0" y="connsiteY0"/>
                  </a:cxn>
                  <a:cxn ang="0">
                    <a:pos x="connsiteX1" y="connsiteY1"/>
                  </a:cxn>
                </a:cxnLst>
                <a:rect l="l" t="t" r="r" b="b"/>
                <a:pathLst>
                  <a:path w="8014" h="4485">
                    <a:moveTo>
                      <a:pt x="0" y="0"/>
                    </a:moveTo>
                    <a:lnTo>
                      <a:pt x="8014" y="4486"/>
                    </a:lnTo>
                  </a:path>
                </a:pathLst>
              </a:custGeom>
              <a:ln w="6350" cap="rnd">
                <a:solidFill>
                  <a:schemeClr val="bg1">
                    <a:alpha val="80000"/>
                  </a:schemeClr>
                </a:solidFill>
                <a:prstDash val="solid"/>
                <a:round/>
              </a:ln>
            </p:spPr>
            <p:txBody>
              <a:bodyPr rtlCol="0" anchor="ctr"/>
              <a:lstStyle/>
              <a:p>
                <a:endParaRPr lang="en-GB"/>
              </a:p>
            </p:txBody>
          </p:sp>
          <p:sp>
            <p:nvSpPr>
              <p:cNvPr id="5938" name="Vrije vorm: vorm 5937">
                <a:extLst>
                  <a:ext uri="{FF2B5EF4-FFF2-40B4-BE49-F238E27FC236}">
                    <a16:creationId xmlns:a16="http://schemas.microsoft.com/office/drawing/2014/main" id="{32E0BC1B-E613-456E-BA18-6E707A798BE8}"/>
                  </a:ext>
                </a:extLst>
              </p:cNvPr>
              <p:cNvSpPr/>
              <p:nvPr/>
            </p:nvSpPr>
            <p:spPr>
              <a:xfrm>
                <a:off x="7590453" y="2721508"/>
                <a:ext cx="6160" cy="2990"/>
              </a:xfrm>
              <a:custGeom>
                <a:avLst/>
                <a:gdLst>
                  <a:gd name="connsiteX0" fmla="*/ 6160 w 6160"/>
                  <a:gd name="connsiteY0" fmla="*/ 0 h 2990"/>
                  <a:gd name="connsiteX1" fmla="*/ 0 w 6160"/>
                  <a:gd name="connsiteY1" fmla="*/ 2990 h 2990"/>
                </a:gdLst>
                <a:ahLst/>
                <a:cxnLst>
                  <a:cxn ang="0">
                    <a:pos x="connsiteX0" y="connsiteY0"/>
                  </a:cxn>
                  <a:cxn ang="0">
                    <a:pos x="connsiteX1" y="connsiteY1"/>
                  </a:cxn>
                </a:cxnLst>
                <a:rect l="l" t="t" r="r" b="b"/>
                <a:pathLst>
                  <a:path w="6160" h="2990">
                    <a:moveTo>
                      <a:pt x="6160" y="0"/>
                    </a:moveTo>
                    <a:lnTo>
                      <a:pt x="0" y="2990"/>
                    </a:lnTo>
                  </a:path>
                </a:pathLst>
              </a:custGeom>
              <a:ln w="6350" cap="rnd">
                <a:solidFill>
                  <a:schemeClr val="bg1">
                    <a:alpha val="80000"/>
                  </a:schemeClr>
                </a:solidFill>
                <a:prstDash val="solid"/>
                <a:round/>
              </a:ln>
            </p:spPr>
            <p:txBody>
              <a:bodyPr rtlCol="0" anchor="ctr"/>
              <a:lstStyle/>
              <a:p>
                <a:endParaRPr lang="en-GB"/>
              </a:p>
            </p:txBody>
          </p:sp>
          <p:sp>
            <p:nvSpPr>
              <p:cNvPr id="5939" name="Vrije vorm: vorm 5938">
                <a:extLst>
                  <a:ext uri="{FF2B5EF4-FFF2-40B4-BE49-F238E27FC236}">
                    <a16:creationId xmlns:a16="http://schemas.microsoft.com/office/drawing/2014/main" id="{02AB870B-EE5C-41DD-9978-EC2AFB05A4BB}"/>
                  </a:ext>
                </a:extLst>
              </p:cNvPr>
              <p:cNvSpPr/>
              <p:nvPr/>
            </p:nvSpPr>
            <p:spPr>
              <a:xfrm>
                <a:off x="7588240" y="2708230"/>
                <a:ext cx="8373" cy="13277"/>
              </a:xfrm>
              <a:custGeom>
                <a:avLst/>
                <a:gdLst>
                  <a:gd name="connsiteX0" fmla="*/ 8373 w 8373"/>
                  <a:gd name="connsiteY0" fmla="*/ 13277 h 13277"/>
                  <a:gd name="connsiteX1" fmla="*/ 0 w 8373"/>
                  <a:gd name="connsiteY1" fmla="*/ 0 h 13277"/>
                </a:gdLst>
                <a:ahLst/>
                <a:cxnLst>
                  <a:cxn ang="0">
                    <a:pos x="connsiteX0" y="connsiteY0"/>
                  </a:cxn>
                  <a:cxn ang="0">
                    <a:pos x="connsiteX1" y="connsiteY1"/>
                  </a:cxn>
                </a:cxnLst>
                <a:rect l="l" t="t" r="r" b="b"/>
                <a:pathLst>
                  <a:path w="8373" h="13277">
                    <a:moveTo>
                      <a:pt x="8373" y="1327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40" name="Vrije vorm: vorm 5939">
                <a:extLst>
                  <a:ext uri="{FF2B5EF4-FFF2-40B4-BE49-F238E27FC236}">
                    <a16:creationId xmlns:a16="http://schemas.microsoft.com/office/drawing/2014/main" id="{0222DA15-19AC-425D-BD36-DF977F9F0594}"/>
                  </a:ext>
                </a:extLst>
              </p:cNvPr>
              <p:cNvSpPr/>
              <p:nvPr/>
            </p:nvSpPr>
            <p:spPr>
              <a:xfrm>
                <a:off x="7610249" y="2821146"/>
                <a:ext cx="9150" cy="717"/>
              </a:xfrm>
              <a:custGeom>
                <a:avLst/>
                <a:gdLst>
                  <a:gd name="connsiteX0" fmla="*/ 0 w 9150"/>
                  <a:gd name="connsiteY0" fmla="*/ 0 h 717"/>
                  <a:gd name="connsiteX1" fmla="*/ 9151 w 9150"/>
                  <a:gd name="connsiteY1" fmla="*/ 718 h 717"/>
                </a:gdLst>
                <a:ahLst/>
                <a:cxnLst>
                  <a:cxn ang="0">
                    <a:pos x="connsiteX0" y="connsiteY0"/>
                  </a:cxn>
                  <a:cxn ang="0">
                    <a:pos x="connsiteX1" y="connsiteY1"/>
                  </a:cxn>
                </a:cxnLst>
                <a:rect l="l" t="t" r="r" b="b"/>
                <a:pathLst>
                  <a:path w="9150" h="717">
                    <a:moveTo>
                      <a:pt x="0" y="0"/>
                    </a:moveTo>
                    <a:lnTo>
                      <a:pt x="9151" y="718"/>
                    </a:lnTo>
                  </a:path>
                </a:pathLst>
              </a:custGeom>
              <a:ln w="6350" cap="rnd">
                <a:solidFill>
                  <a:schemeClr val="bg1">
                    <a:alpha val="80000"/>
                  </a:schemeClr>
                </a:solidFill>
                <a:prstDash val="solid"/>
                <a:round/>
              </a:ln>
            </p:spPr>
            <p:txBody>
              <a:bodyPr rtlCol="0" anchor="ctr"/>
              <a:lstStyle/>
              <a:p>
                <a:endParaRPr lang="en-GB"/>
              </a:p>
            </p:txBody>
          </p:sp>
          <p:sp>
            <p:nvSpPr>
              <p:cNvPr id="5941" name="Vrije vorm: vorm 5940">
                <a:extLst>
                  <a:ext uri="{FF2B5EF4-FFF2-40B4-BE49-F238E27FC236}">
                    <a16:creationId xmlns:a16="http://schemas.microsoft.com/office/drawing/2014/main" id="{C973B6BB-0D4E-4657-82D1-E34F4E4D8BEA}"/>
                  </a:ext>
                </a:extLst>
              </p:cNvPr>
              <p:cNvSpPr/>
              <p:nvPr/>
            </p:nvSpPr>
            <p:spPr>
              <a:xfrm>
                <a:off x="7676635" y="2676114"/>
                <a:ext cx="2990" cy="5023"/>
              </a:xfrm>
              <a:custGeom>
                <a:avLst/>
                <a:gdLst>
                  <a:gd name="connsiteX0" fmla="*/ 0 w 2990"/>
                  <a:gd name="connsiteY0" fmla="*/ 5024 h 5023"/>
                  <a:gd name="connsiteX1" fmla="*/ 2990 w 2990"/>
                  <a:gd name="connsiteY1" fmla="*/ 0 h 5023"/>
                </a:gdLst>
                <a:ahLst/>
                <a:cxnLst>
                  <a:cxn ang="0">
                    <a:pos x="connsiteX0" y="connsiteY0"/>
                  </a:cxn>
                  <a:cxn ang="0">
                    <a:pos x="connsiteX1" y="connsiteY1"/>
                  </a:cxn>
                </a:cxnLst>
                <a:rect l="l" t="t" r="r" b="b"/>
                <a:pathLst>
                  <a:path w="2990" h="5023">
                    <a:moveTo>
                      <a:pt x="0" y="5024"/>
                    </a:moveTo>
                    <a:lnTo>
                      <a:pt x="2990" y="0"/>
                    </a:lnTo>
                  </a:path>
                </a:pathLst>
              </a:custGeom>
              <a:ln w="6350" cap="rnd">
                <a:solidFill>
                  <a:schemeClr val="bg1">
                    <a:alpha val="80000"/>
                  </a:schemeClr>
                </a:solidFill>
                <a:prstDash val="solid"/>
                <a:round/>
              </a:ln>
            </p:spPr>
            <p:txBody>
              <a:bodyPr rtlCol="0" anchor="ctr"/>
              <a:lstStyle/>
              <a:p>
                <a:endParaRPr lang="en-GB"/>
              </a:p>
            </p:txBody>
          </p:sp>
          <p:sp>
            <p:nvSpPr>
              <p:cNvPr id="5942" name="Vrije vorm: vorm 5941">
                <a:extLst>
                  <a:ext uri="{FF2B5EF4-FFF2-40B4-BE49-F238E27FC236}">
                    <a16:creationId xmlns:a16="http://schemas.microsoft.com/office/drawing/2014/main" id="{9E1CFE11-C944-4D67-B8AC-8412645A423F}"/>
                  </a:ext>
                </a:extLst>
              </p:cNvPr>
              <p:cNvSpPr/>
              <p:nvPr/>
            </p:nvSpPr>
            <p:spPr>
              <a:xfrm>
                <a:off x="7676635" y="2681138"/>
                <a:ext cx="19138" cy="14891"/>
              </a:xfrm>
              <a:custGeom>
                <a:avLst/>
                <a:gdLst>
                  <a:gd name="connsiteX0" fmla="*/ 0 w 19138"/>
                  <a:gd name="connsiteY0" fmla="*/ 0 h 14891"/>
                  <a:gd name="connsiteX1" fmla="*/ 19139 w 19138"/>
                  <a:gd name="connsiteY1" fmla="*/ 14892 h 14891"/>
                </a:gdLst>
                <a:ahLst/>
                <a:cxnLst>
                  <a:cxn ang="0">
                    <a:pos x="connsiteX0" y="connsiteY0"/>
                  </a:cxn>
                  <a:cxn ang="0">
                    <a:pos x="connsiteX1" y="connsiteY1"/>
                  </a:cxn>
                </a:cxnLst>
                <a:rect l="l" t="t" r="r" b="b"/>
                <a:pathLst>
                  <a:path w="19138" h="14891">
                    <a:moveTo>
                      <a:pt x="0" y="0"/>
                    </a:moveTo>
                    <a:lnTo>
                      <a:pt x="19139" y="14892"/>
                    </a:lnTo>
                  </a:path>
                </a:pathLst>
              </a:custGeom>
              <a:ln w="6350" cap="rnd">
                <a:solidFill>
                  <a:schemeClr val="bg1">
                    <a:alpha val="80000"/>
                  </a:schemeClr>
                </a:solidFill>
                <a:prstDash val="solid"/>
                <a:round/>
              </a:ln>
            </p:spPr>
            <p:txBody>
              <a:bodyPr rtlCol="0" anchor="ctr"/>
              <a:lstStyle/>
              <a:p>
                <a:endParaRPr lang="en-GB"/>
              </a:p>
            </p:txBody>
          </p:sp>
          <p:sp>
            <p:nvSpPr>
              <p:cNvPr id="5943" name="Vrije vorm: vorm 5942">
                <a:extLst>
                  <a:ext uri="{FF2B5EF4-FFF2-40B4-BE49-F238E27FC236}">
                    <a16:creationId xmlns:a16="http://schemas.microsoft.com/office/drawing/2014/main" id="{D3FDD0F5-131C-4D40-AC8A-36DB4DC09165}"/>
                  </a:ext>
                </a:extLst>
              </p:cNvPr>
              <p:cNvSpPr/>
              <p:nvPr/>
            </p:nvSpPr>
            <p:spPr>
              <a:xfrm>
                <a:off x="7610249" y="2815106"/>
                <a:ext cx="12559" cy="6040"/>
              </a:xfrm>
              <a:custGeom>
                <a:avLst/>
                <a:gdLst>
                  <a:gd name="connsiteX0" fmla="*/ 12559 w 12559"/>
                  <a:gd name="connsiteY0" fmla="*/ 0 h 6040"/>
                  <a:gd name="connsiteX1" fmla="*/ 0 w 12559"/>
                  <a:gd name="connsiteY1" fmla="*/ 6041 h 6040"/>
                </a:gdLst>
                <a:ahLst/>
                <a:cxnLst>
                  <a:cxn ang="0">
                    <a:pos x="connsiteX0" y="connsiteY0"/>
                  </a:cxn>
                  <a:cxn ang="0">
                    <a:pos x="connsiteX1" y="connsiteY1"/>
                  </a:cxn>
                </a:cxnLst>
                <a:rect l="l" t="t" r="r" b="b"/>
                <a:pathLst>
                  <a:path w="12559" h="6040">
                    <a:moveTo>
                      <a:pt x="12559" y="0"/>
                    </a:moveTo>
                    <a:lnTo>
                      <a:pt x="0" y="6041"/>
                    </a:lnTo>
                  </a:path>
                </a:pathLst>
              </a:custGeom>
              <a:ln w="6350" cap="rnd">
                <a:solidFill>
                  <a:schemeClr val="bg1">
                    <a:alpha val="80000"/>
                  </a:schemeClr>
                </a:solidFill>
                <a:prstDash val="solid"/>
                <a:round/>
              </a:ln>
            </p:spPr>
            <p:txBody>
              <a:bodyPr rtlCol="0" anchor="ctr"/>
              <a:lstStyle/>
              <a:p>
                <a:endParaRPr lang="en-GB"/>
              </a:p>
            </p:txBody>
          </p:sp>
          <p:sp>
            <p:nvSpPr>
              <p:cNvPr id="5944" name="Vrije vorm: vorm 5943">
                <a:extLst>
                  <a:ext uri="{FF2B5EF4-FFF2-40B4-BE49-F238E27FC236}">
                    <a16:creationId xmlns:a16="http://schemas.microsoft.com/office/drawing/2014/main" id="{BA3146AA-2AA4-474A-89AA-F4358796ED81}"/>
                  </a:ext>
                </a:extLst>
              </p:cNvPr>
              <p:cNvSpPr/>
              <p:nvPr/>
            </p:nvSpPr>
            <p:spPr>
              <a:xfrm>
                <a:off x="7573049" y="2668339"/>
                <a:ext cx="4246" cy="10167"/>
              </a:xfrm>
              <a:custGeom>
                <a:avLst/>
                <a:gdLst>
                  <a:gd name="connsiteX0" fmla="*/ 4246 w 4246"/>
                  <a:gd name="connsiteY0" fmla="*/ 0 h 10167"/>
                  <a:gd name="connsiteX1" fmla="*/ 0 w 4246"/>
                  <a:gd name="connsiteY1" fmla="*/ 10167 h 10167"/>
                </a:gdLst>
                <a:ahLst/>
                <a:cxnLst>
                  <a:cxn ang="0">
                    <a:pos x="connsiteX0" y="connsiteY0"/>
                  </a:cxn>
                  <a:cxn ang="0">
                    <a:pos x="connsiteX1" y="connsiteY1"/>
                  </a:cxn>
                </a:cxnLst>
                <a:rect l="l" t="t" r="r" b="b"/>
                <a:pathLst>
                  <a:path w="4246" h="10167">
                    <a:moveTo>
                      <a:pt x="4246" y="0"/>
                    </a:moveTo>
                    <a:lnTo>
                      <a:pt x="0" y="10167"/>
                    </a:lnTo>
                  </a:path>
                </a:pathLst>
              </a:custGeom>
              <a:ln w="6350" cap="rnd">
                <a:solidFill>
                  <a:schemeClr val="bg1">
                    <a:alpha val="80000"/>
                  </a:schemeClr>
                </a:solidFill>
                <a:prstDash val="solid"/>
                <a:round/>
              </a:ln>
            </p:spPr>
            <p:txBody>
              <a:bodyPr rtlCol="0" anchor="ctr"/>
              <a:lstStyle/>
              <a:p>
                <a:endParaRPr lang="en-GB"/>
              </a:p>
            </p:txBody>
          </p:sp>
          <p:sp>
            <p:nvSpPr>
              <p:cNvPr id="5945" name="Vrije vorm: vorm 5944">
                <a:extLst>
                  <a:ext uri="{FF2B5EF4-FFF2-40B4-BE49-F238E27FC236}">
                    <a16:creationId xmlns:a16="http://schemas.microsoft.com/office/drawing/2014/main" id="{F185DBC8-2298-4B1B-B6C6-13CCD07C63BE}"/>
                  </a:ext>
                </a:extLst>
              </p:cNvPr>
              <p:cNvSpPr/>
              <p:nvPr/>
            </p:nvSpPr>
            <p:spPr>
              <a:xfrm>
                <a:off x="7577295" y="2656856"/>
                <a:ext cx="9329" cy="11482"/>
              </a:xfrm>
              <a:custGeom>
                <a:avLst/>
                <a:gdLst>
                  <a:gd name="connsiteX0" fmla="*/ 0 w 9329"/>
                  <a:gd name="connsiteY0" fmla="*/ 11483 h 11482"/>
                  <a:gd name="connsiteX1" fmla="*/ 9330 w 9329"/>
                  <a:gd name="connsiteY1" fmla="*/ 0 h 11482"/>
                </a:gdLst>
                <a:ahLst/>
                <a:cxnLst>
                  <a:cxn ang="0">
                    <a:pos x="connsiteX0" y="connsiteY0"/>
                  </a:cxn>
                  <a:cxn ang="0">
                    <a:pos x="connsiteX1" y="connsiteY1"/>
                  </a:cxn>
                </a:cxnLst>
                <a:rect l="l" t="t" r="r" b="b"/>
                <a:pathLst>
                  <a:path w="9329" h="11482">
                    <a:moveTo>
                      <a:pt x="0" y="11483"/>
                    </a:moveTo>
                    <a:lnTo>
                      <a:pt x="9330" y="0"/>
                    </a:lnTo>
                  </a:path>
                </a:pathLst>
              </a:custGeom>
              <a:ln w="6350" cap="rnd">
                <a:solidFill>
                  <a:schemeClr val="bg1">
                    <a:alpha val="80000"/>
                  </a:schemeClr>
                </a:solidFill>
                <a:prstDash val="solid"/>
                <a:round/>
              </a:ln>
            </p:spPr>
            <p:txBody>
              <a:bodyPr rtlCol="0" anchor="ctr"/>
              <a:lstStyle/>
              <a:p>
                <a:endParaRPr lang="en-GB"/>
              </a:p>
            </p:txBody>
          </p:sp>
          <p:sp>
            <p:nvSpPr>
              <p:cNvPr id="5946" name="Vrije vorm: vorm 5945">
                <a:extLst>
                  <a:ext uri="{FF2B5EF4-FFF2-40B4-BE49-F238E27FC236}">
                    <a16:creationId xmlns:a16="http://schemas.microsoft.com/office/drawing/2014/main" id="{0869A6D5-DAB9-43DA-B6AA-05B29B112FBB}"/>
                  </a:ext>
                </a:extLst>
              </p:cNvPr>
              <p:cNvSpPr/>
              <p:nvPr/>
            </p:nvSpPr>
            <p:spPr>
              <a:xfrm>
                <a:off x="7720115" y="2777068"/>
                <a:ext cx="8014" cy="18001"/>
              </a:xfrm>
              <a:custGeom>
                <a:avLst/>
                <a:gdLst>
                  <a:gd name="connsiteX0" fmla="*/ 0 w 8014"/>
                  <a:gd name="connsiteY0" fmla="*/ 18002 h 18001"/>
                  <a:gd name="connsiteX1" fmla="*/ 8014 w 8014"/>
                  <a:gd name="connsiteY1" fmla="*/ 0 h 18001"/>
                </a:gdLst>
                <a:ahLst/>
                <a:cxnLst>
                  <a:cxn ang="0">
                    <a:pos x="connsiteX0" y="connsiteY0"/>
                  </a:cxn>
                  <a:cxn ang="0">
                    <a:pos x="connsiteX1" y="connsiteY1"/>
                  </a:cxn>
                </a:cxnLst>
                <a:rect l="l" t="t" r="r" b="b"/>
                <a:pathLst>
                  <a:path w="8014" h="18001">
                    <a:moveTo>
                      <a:pt x="0" y="18002"/>
                    </a:moveTo>
                    <a:lnTo>
                      <a:pt x="8014" y="0"/>
                    </a:lnTo>
                  </a:path>
                </a:pathLst>
              </a:custGeom>
              <a:ln w="6350" cap="rnd">
                <a:solidFill>
                  <a:schemeClr val="bg1">
                    <a:alpha val="80000"/>
                  </a:schemeClr>
                </a:solidFill>
                <a:prstDash val="solid"/>
                <a:round/>
              </a:ln>
            </p:spPr>
            <p:txBody>
              <a:bodyPr rtlCol="0" anchor="ctr"/>
              <a:lstStyle/>
              <a:p>
                <a:endParaRPr lang="en-GB"/>
              </a:p>
            </p:txBody>
          </p:sp>
          <p:sp>
            <p:nvSpPr>
              <p:cNvPr id="5947" name="Vrije vorm: vorm 5946">
                <a:extLst>
                  <a:ext uri="{FF2B5EF4-FFF2-40B4-BE49-F238E27FC236}">
                    <a16:creationId xmlns:a16="http://schemas.microsoft.com/office/drawing/2014/main" id="{0493C8EB-FED4-4E04-AC29-EF6611EEA9F0}"/>
                  </a:ext>
                </a:extLst>
              </p:cNvPr>
              <p:cNvSpPr/>
              <p:nvPr/>
            </p:nvSpPr>
            <p:spPr>
              <a:xfrm>
                <a:off x="7769456" y="2797941"/>
                <a:ext cx="6339" cy="27391"/>
              </a:xfrm>
              <a:custGeom>
                <a:avLst/>
                <a:gdLst>
                  <a:gd name="connsiteX0" fmla="*/ 6339 w 6339"/>
                  <a:gd name="connsiteY0" fmla="*/ 0 h 27391"/>
                  <a:gd name="connsiteX1" fmla="*/ 0 w 6339"/>
                  <a:gd name="connsiteY1" fmla="*/ 27392 h 27391"/>
                </a:gdLst>
                <a:ahLst/>
                <a:cxnLst>
                  <a:cxn ang="0">
                    <a:pos x="connsiteX0" y="connsiteY0"/>
                  </a:cxn>
                  <a:cxn ang="0">
                    <a:pos x="connsiteX1" y="connsiteY1"/>
                  </a:cxn>
                </a:cxnLst>
                <a:rect l="l" t="t" r="r" b="b"/>
                <a:pathLst>
                  <a:path w="6339" h="27391">
                    <a:moveTo>
                      <a:pt x="6339" y="0"/>
                    </a:moveTo>
                    <a:lnTo>
                      <a:pt x="0" y="27392"/>
                    </a:lnTo>
                  </a:path>
                </a:pathLst>
              </a:custGeom>
              <a:ln w="6350" cap="rnd">
                <a:solidFill>
                  <a:schemeClr val="bg1">
                    <a:alpha val="80000"/>
                  </a:schemeClr>
                </a:solidFill>
                <a:prstDash val="solid"/>
                <a:round/>
              </a:ln>
            </p:spPr>
            <p:txBody>
              <a:bodyPr rtlCol="0" anchor="ctr"/>
              <a:lstStyle/>
              <a:p>
                <a:endParaRPr lang="en-GB"/>
              </a:p>
            </p:txBody>
          </p:sp>
          <p:sp>
            <p:nvSpPr>
              <p:cNvPr id="5948" name="Vrije vorm: vorm 5947">
                <a:extLst>
                  <a:ext uri="{FF2B5EF4-FFF2-40B4-BE49-F238E27FC236}">
                    <a16:creationId xmlns:a16="http://schemas.microsoft.com/office/drawing/2014/main" id="{F0DD8F32-B92B-4587-89BB-DE207E6F3F97}"/>
                  </a:ext>
                </a:extLst>
              </p:cNvPr>
              <p:cNvSpPr/>
              <p:nvPr/>
            </p:nvSpPr>
            <p:spPr>
              <a:xfrm>
                <a:off x="7775795" y="2764389"/>
                <a:ext cx="5801" cy="33551"/>
              </a:xfrm>
              <a:custGeom>
                <a:avLst/>
                <a:gdLst>
                  <a:gd name="connsiteX0" fmla="*/ 0 w 5801"/>
                  <a:gd name="connsiteY0" fmla="*/ 33552 h 33551"/>
                  <a:gd name="connsiteX1" fmla="*/ 5802 w 5801"/>
                  <a:gd name="connsiteY1" fmla="*/ 0 h 33551"/>
                </a:gdLst>
                <a:ahLst/>
                <a:cxnLst>
                  <a:cxn ang="0">
                    <a:pos x="connsiteX0" y="connsiteY0"/>
                  </a:cxn>
                  <a:cxn ang="0">
                    <a:pos x="connsiteX1" y="connsiteY1"/>
                  </a:cxn>
                </a:cxnLst>
                <a:rect l="l" t="t" r="r" b="b"/>
                <a:pathLst>
                  <a:path w="5801" h="33551">
                    <a:moveTo>
                      <a:pt x="0" y="33552"/>
                    </a:moveTo>
                    <a:lnTo>
                      <a:pt x="5802" y="0"/>
                    </a:lnTo>
                  </a:path>
                </a:pathLst>
              </a:custGeom>
              <a:ln w="6350" cap="rnd">
                <a:solidFill>
                  <a:schemeClr val="bg1">
                    <a:alpha val="80000"/>
                  </a:schemeClr>
                </a:solidFill>
                <a:prstDash val="solid"/>
                <a:round/>
              </a:ln>
            </p:spPr>
            <p:txBody>
              <a:bodyPr rtlCol="0" anchor="ctr"/>
              <a:lstStyle/>
              <a:p>
                <a:endParaRPr lang="en-GB"/>
              </a:p>
            </p:txBody>
          </p:sp>
          <p:sp>
            <p:nvSpPr>
              <p:cNvPr id="5949" name="Vrije vorm: vorm 5948">
                <a:extLst>
                  <a:ext uri="{FF2B5EF4-FFF2-40B4-BE49-F238E27FC236}">
                    <a16:creationId xmlns:a16="http://schemas.microsoft.com/office/drawing/2014/main" id="{43BC15EB-56C8-453F-9E53-BBF70825D9EC}"/>
                  </a:ext>
                </a:extLst>
              </p:cNvPr>
              <p:cNvSpPr/>
              <p:nvPr/>
            </p:nvSpPr>
            <p:spPr>
              <a:xfrm>
                <a:off x="7690690" y="2777068"/>
                <a:ext cx="37439" cy="13157"/>
              </a:xfrm>
              <a:custGeom>
                <a:avLst/>
                <a:gdLst>
                  <a:gd name="connsiteX0" fmla="*/ 0 w 37439"/>
                  <a:gd name="connsiteY0" fmla="*/ 13158 h 13157"/>
                  <a:gd name="connsiteX1" fmla="*/ 37439 w 37439"/>
                  <a:gd name="connsiteY1" fmla="*/ 0 h 13157"/>
                </a:gdLst>
                <a:ahLst/>
                <a:cxnLst>
                  <a:cxn ang="0">
                    <a:pos x="connsiteX0" y="connsiteY0"/>
                  </a:cxn>
                  <a:cxn ang="0">
                    <a:pos x="connsiteX1" y="connsiteY1"/>
                  </a:cxn>
                </a:cxnLst>
                <a:rect l="l" t="t" r="r" b="b"/>
                <a:pathLst>
                  <a:path w="37439" h="13157">
                    <a:moveTo>
                      <a:pt x="0" y="13158"/>
                    </a:moveTo>
                    <a:lnTo>
                      <a:pt x="37439" y="0"/>
                    </a:lnTo>
                  </a:path>
                </a:pathLst>
              </a:custGeom>
              <a:ln w="6350" cap="rnd">
                <a:solidFill>
                  <a:schemeClr val="bg1">
                    <a:alpha val="80000"/>
                  </a:schemeClr>
                </a:solidFill>
                <a:prstDash val="solid"/>
                <a:round/>
              </a:ln>
            </p:spPr>
            <p:txBody>
              <a:bodyPr rtlCol="0" anchor="ctr"/>
              <a:lstStyle/>
              <a:p>
                <a:endParaRPr lang="en-GB"/>
              </a:p>
            </p:txBody>
          </p:sp>
          <p:sp>
            <p:nvSpPr>
              <p:cNvPr id="5950" name="Vrije vorm: vorm 5949">
                <a:extLst>
                  <a:ext uri="{FF2B5EF4-FFF2-40B4-BE49-F238E27FC236}">
                    <a16:creationId xmlns:a16="http://schemas.microsoft.com/office/drawing/2014/main" id="{D244FBDE-B82A-4FB3-B3A7-6EB469DAC22B}"/>
                  </a:ext>
                </a:extLst>
              </p:cNvPr>
              <p:cNvSpPr/>
              <p:nvPr/>
            </p:nvSpPr>
            <p:spPr>
              <a:xfrm>
                <a:off x="7681539" y="2770609"/>
                <a:ext cx="9150" cy="19616"/>
              </a:xfrm>
              <a:custGeom>
                <a:avLst/>
                <a:gdLst>
                  <a:gd name="connsiteX0" fmla="*/ 9150 w 9150"/>
                  <a:gd name="connsiteY0" fmla="*/ 19617 h 19616"/>
                  <a:gd name="connsiteX1" fmla="*/ 0 w 9150"/>
                  <a:gd name="connsiteY1" fmla="*/ 0 h 19616"/>
                </a:gdLst>
                <a:ahLst/>
                <a:cxnLst>
                  <a:cxn ang="0">
                    <a:pos x="connsiteX0" y="connsiteY0"/>
                  </a:cxn>
                  <a:cxn ang="0">
                    <a:pos x="connsiteX1" y="connsiteY1"/>
                  </a:cxn>
                </a:cxnLst>
                <a:rect l="l" t="t" r="r" b="b"/>
                <a:pathLst>
                  <a:path w="9150" h="19616">
                    <a:moveTo>
                      <a:pt x="9150" y="1961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51" name="Vrije vorm: vorm 5950">
                <a:extLst>
                  <a:ext uri="{FF2B5EF4-FFF2-40B4-BE49-F238E27FC236}">
                    <a16:creationId xmlns:a16="http://schemas.microsoft.com/office/drawing/2014/main" id="{43C39F1B-FCD7-4FB8-BA09-3A7A15C1D39D}"/>
                  </a:ext>
                </a:extLst>
              </p:cNvPr>
              <p:cNvSpPr/>
              <p:nvPr/>
            </p:nvSpPr>
            <p:spPr>
              <a:xfrm>
                <a:off x="7662341" y="2790226"/>
                <a:ext cx="28348" cy="7715"/>
              </a:xfrm>
              <a:custGeom>
                <a:avLst/>
                <a:gdLst>
                  <a:gd name="connsiteX0" fmla="*/ 28348 w 28348"/>
                  <a:gd name="connsiteY0" fmla="*/ 0 h 7715"/>
                  <a:gd name="connsiteX1" fmla="*/ 0 w 28348"/>
                  <a:gd name="connsiteY1" fmla="*/ 7715 h 7715"/>
                </a:gdLst>
                <a:ahLst/>
                <a:cxnLst>
                  <a:cxn ang="0">
                    <a:pos x="connsiteX0" y="connsiteY0"/>
                  </a:cxn>
                  <a:cxn ang="0">
                    <a:pos x="connsiteX1" y="connsiteY1"/>
                  </a:cxn>
                </a:cxnLst>
                <a:rect l="l" t="t" r="r" b="b"/>
                <a:pathLst>
                  <a:path w="28348" h="7715">
                    <a:moveTo>
                      <a:pt x="28348" y="0"/>
                    </a:moveTo>
                    <a:lnTo>
                      <a:pt x="0" y="7715"/>
                    </a:lnTo>
                  </a:path>
                </a:pathLst>
              </a:custGeom>
              <a:ln w="6350" cap="rnd">
                <a:solidFill>
                  <a:schemeClr val="bg1">
                    <a:alpha val="80000"/>
                  </a:schemeClr>
                </a:solidFill>
                <a:prstDash val="solid"/>
                <a:round/>
              </a:ln>
            </p:spPr>
            <p:txBody>
              <a:bodyPr rtlCol="0" anchor="ctr"/>
              <a:lstStyle/>
              <a:p>
                <a:endParaRPr lang="en-GB"/>
              </a:p>
            </p:txBody>
          </p:sp>
          <p:sp>
            <p:nvSpPr>
              <p:cNvPr id="5952" name="Vrije vorm: vorm 5951">
                <a:extLst>
                  <a:ext uri="{FF2B5EF4-FFF2-40B4-BE49-F238E27FC236}">
                    <a16:creationId xmlns:a16="http://schemas.microsoft.com/office/drawing/2014/main" id="{BC223FD8-3601-4BA6-B1BF-28F9FEBDBB52}"/>
                  </a:ext>
                </a:extLst>
              </p:cNvPr>
              <p:cNvSpPr/>
              <p:nvPr/>
            </p:nvSpPr>
            <p:spPr>
              <a:xfrm>
                <a:off x="7671910" y="2782272"/>
                <a:ext cx="18779" cy="7954"/>
              </a:xfrm>
              <a:custGeom>
                <a:avLst/>
                <a:gdLst>
                  <a:gd name="connsiteX0" fmla="*/ 18779 w 18779"/>
                  <a:gd name="connsiteY0" fmla="*/ 7954 h 7954"/>
                  <a:gd name="connsiteX1" fmla="*/ 0 w 18779"/>
                  <a:gd name="connsiteY1" fmla="*/ 0 h 7954"/>
                </a:gdLst>
                <a:ahLst/>
                <a:cxnLst>
                  <a:cxn ang="0">
                    <a:pos x="connsiteX0" y="connsiteY0"/>
                  </a:cxn>
                  <a:cxn ang="0">
                    <a:pos x="connsiteX1" y="connsiteY1"/>
                  </a:cxn>
                </a:cxnLst>
                <a:rect l="l" t="t" r="r" b="b"/>
                <a:pathLst>
                  <a:path w="18779" h="7954">
                    <a:moveTo>
                      <a:pt x="18779" y="795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53" name="Vrije vorm: vorm 5952">
                <a:extLst>
                  <a:ext uri="{FF2B5EF4-FFF2-40B4-BE49-F238E27FC236}">
                    <a16:creationId xmlns:a16="http://schemas.microsoft.com/office/drawing/2014/main" id="{94A8F479-8B9A-46A7-9F4E-6B84C9CC9F23}"/>
                  </a:ext>
                </a:extLst>
              </p:cNvPr>
              <p:cNvSpPr/>
              <p:nvPr/>
            </p:nvSpPr>
            <p:spPr>
              <a:xfrm>
                <a:off x="7690690" y="2790226"/>
                <a:ext cx="5203" cy="837"/>
              </a:xfrm>
              <a:custGeom>
                <a:avLst/>
                <a:gdLst>
                  <a:gd name="connsiteX0" fmla="*/ 0 w 5203"/>
                  <a:gd name="connsiteY0" fmla="*/ 0 h 837"/>
                  <a:gd name="connsiteX1" fmla="*/ 5203 w 5203"/>
                  <a:gd name="connsiteY1" fmla="*/ 837 h 837"/>
                </a:gdLst>
                <a:ahLst/>
                <a:cxnLst>
                  <a:cxn ang="0">
                    <a:pos x="connsiteX0" y="connsiteY0"/>
                  </a:cxn>
                  <a:cxn ang="0">
                    <a:pos x="connsiteX1" y="connsiteY1"/>
                  </a:cxn>
                </a:cxnLst>
                <a:rect l="l" t="t" r="r" b="b"/>
                <a:pathLst>
                  <a:path w="5203" h="837">
                    <a:moveTo>
                      <a:pt x="0" y="0"/>
                    </a:moveTo>
                    <a:lnTo>
                      <a:pt x="5203" y="837"/>
                    </a:lnTo>
                  </a:path>
                </a:pathLst>
              </a:custGeom>
              <a:ln w="6350" cap="rnd">
                <a:solidFill>
                  <a:schemeClr val="bg1">
                    <a:alpha val="80000"/>
                  </a:schemeClr>
                </a:solidFill>
                <a:prstDash val="solid"/>
                <a:round/>
              </a:ln>
            </p:spPr>
            <p:txBody>
              <a:bodyPr rtlCol="0" anchor="ctr"/>
              <a:lstStyle/>
              <a:p>
                <a:endParaRPr lang="en-GB"/>
              </a:p>
            </p:txBody>
          </p:sp>
          <p:sp>
            <p:nvSpPr>
              <p:cNvPr id="5954" name="Vrije vorm: vorm 5953">
                <a:extLst>
                  <a:ext uri="{FF2B5EF4-FFF2-40B4-BE49-F238E27FC236}">
                    <a16:creationId xmlns:a16="http://schemas.microsoft.com/office/drawing/2014/main" id="{E6EA8604-262E-411F-B0AF-B3D1ABB22EDD}"/>
                  </a:ext>
                </a:extLst>
              </p:cNvPr>
              <p:cNvSpPr/>
              <p:nvPr/>
            </p:nvSpPr>
            <p:spPr>
              <a:xfrm>
                <a:off x="7649004" y="2797881"/>
                <a:ext cx="21829" cy="3349"/>
              </a:xfrm>
              <a:custGeom>
                <a:avLst/>
                <a:gdLst>
                  <a:gd name="connsiteX0" fmla="*/ 21830 w 21829"/>
                  <a:gd name="connsiteY0" fmla="*/ 0 h 3349"/>
                  <a:gd name="connsiteX1" fmla="*/ 0 w 21829"/>
                  <a:gd name="connsiteY1" fmla="*/ 3349 h 3349"/>
                </a:gdLst>
                <a:ahLst/>
                <a:cxnLst>
                  <a:cxn ang="0">
                    <a:pos x="connsiteX0" y="connsiteY0"/>
                  </a:cxn>
                  <a:cxn ang="0">
                    <a:pos x="connsiteX1" y="connsiteY1"/>
                  </a:cxn>
                </a:cxnLst>
                <a:rect l="l" t="t" r="r" b="b"/>
                <a:pathLst>
                  <a:path w="21829" h="3349">
                    <a:moveTo>
                      <a:pt x="21830" y="0"/>
                    </a:moveTo>
                    <a:lnTo>
                      <a:pt x="0" y="3349"/>
                    </a:lnTo>
                  </a:path>
                </a:pathLst>
              </a:custGeom>
              <a:ln w="6350" cap="rnd">
                <a:solidFill>
                  <a:schemeClr val="bg1">
                    <a:alpha val="80000"/>
                  </a:schemeClr>
                </a:solidFill>
                <a:prstDash val="solid"/>
                <a:round/>
              </a:ln>
            </p:spPr>
            <p:txBody>
              <a:bodyPr rtlCol="0" anchor="ctr"/>
              <a:lstStyle/>
              <a:p>
                <a:endParaRPr lang="en-GB"/>
              </a:p>
            </p:txBody>
          </p:sp>
          <p:sp>
            <p:nvSpPr>
              <p:cNvPr id="5955" name="Vrije vorm: vorm 5954">
                <a:extLst>
                  <a:ext uri="{FF2B5EF4-FFF2-40B4-BE49-F238E27FC236}">
                    <a16:creationId xmlns:a16="http://schemas.microsoft.com/office/drawing/2014/main" id="{9FBF5C43-3F70-4CAB-96BC-A43AD59F7A51}"/>
                  </a:ext>
                </a:extLst>
              </p:cNvPr>
              <p:cNvSpPr/>
              <p:nvPr/>
            </p:nvSpPr>
            <p:spPr>
              <a:xfrm>
                <a:off x="7621313" y="2733648"/>
                <a:ext cx="22128" cy="28468"/>
              </a:xfrm>
              <a:custGeom>
                <a:avLst/>
                <a:gdLst>
                  <a:gd name="connsiteX0" fmla="*/ 22129 w 22128"/>
                  <a:gd name="connsiteY0" fmla="*/ 0 h 28468"/>
                  <a:gd name="connsiteX1" fmla="*/ 0 w 22128"/>
                  <a:gd name="connsiteY1" fmla="*/ 28468 h 28468"/>
                </a:gdLst>
                <a:ahLst/>
                <a:cxnLst>
                  <a:cxn ang="0">
                    <a:pos x="connsiteX0" y="connsiteY0"/>
                  </a:cxn>
                  <a:cxn ang="0">
                    <a:pos x="connsiteX1" y="connsiteY1"/>
                  </a:cxn>
                </a:cxnLst>
                <a:rect l="l" t="t" r="r" b="b"/>
                <a:pathLst>
                  <a:path w="22128" h="28468">
                    <a:moveTo>
                      <a:pt x="22129" y="0"/>
                    </a:moveTo>
                    <a:lnTo>
                      <a:pt x="0" y="28468"/>
                    </a:lnTo>
                  </a:path>
                </a:pathLst>
              </a:custGeom>
              <a:ln w="6350" cap="rnd">
                <a:solidFill>
                  <a:schemeClr val="bg1">
                    <a:alpha val="80000"/>
                  </a:schemeClr>
                </a:solidFill>
                <a:prstDash val="solid"/>
                <a:round/>
              </a:ln>
            </p:spPr>
            <p:txBody>
              <a:bodyPr rtlCol="0" anchor="ctr"/>
              <a:lstStyle/>
              <a:p>
                <a:endParaRPr lang="en-GB"/>
              </a:p>
            </p:txBody>
          </p:sp>
          <p:sp>
            <p:nvSpPr>
              <p:cNvPr id="5956" name="Vrije vorm: vorm 5955">
                <a:extLst>
                  <a:ext uri="{FF2B5EF4-FFF2-40B4-BE49-F238E27FC236}">
                    <a16:creationId xmlns:a16="http://schemas.microsoft.com/office/drawing/2014/main" id="{515E63FD-7A6C-4565-ADB1-BEAE67214597}"/>
                  </a:ext>
                </a:extLst>
              </p:cNvPr>
              <p:cNvSpPr/>
              <p:nvPr/>
            </p:nvSpPr>
            <p:spPr>
              <a:xfrm>
                <a:off x="7690690" y="2760083"/>
                <a:ext cx="11662" cy="30142"/>
              </a:xfrm>
              <a:custGeom>
                <a:avLst/>
                <a:gdLst>
                  <a:gd name="connsiteX0" fmla="*/ 11663 w 11662"/>
                  <a:gd name="connsiteY0" fmla="*/ 0 h 30142"/>
                  <a:gd name="connsiteX1" fmla="*/ 0 w 11662"/>
                  <a:gd name="connsiteY1" fmla="*/ 30143 h 30142"/>
                </a:gdLst>
                <a:ahLst/>
                <a:cxnLst>
                  <a:cxn ang="0">
                    <a:pos x="connsiteX0" y="connsiteY0"/>
                  </a:cxn>
                  <a:cxn ang="0">
                    <a:pos x="connsiteX1" y="connsiteY1"/>
                  </a:cxn>
                </a:cxnLst>
                <a:rect l="l" t="t" r="r" b="b"/>
                <a:pathLst>
                  <a:path w="11662" h="30142">
                    <a:moveTo>
                      <a:pt x="11663" y="0"/>
                    </a:moveTo>
                    <a:lnTo>
                      <a:pt x="0" y="30143"/>
                    </a:lnTo>
                  </a:path>
                </a:pathLst>
              </a:custGeom>
              <a:ln w="6350" cap="rnd">
                <a:solidFill>
                  <a:schemeClr val="bg1">
                    <a:alpha val="80000"/>
                  </a:schemeClr>
                </a:solidFill>
                <a:prstDash val="solid"/>
                <a:round/>
              </a:ln>
            </p:spPr>
            <p:txBody>
              <a:bodyPr rtlCol="0" anchor="ctr"/>
              <a:lstStyle/>
              <a:p>
                <a:endParaRPr lang="en-GB"/>
              </a:p>
            </p:txBody>
          </p:sp>
          <p:sp>
            <p:nvSpPr>
              <p:cNvPr id="5957" name="Vrije vorm: vorm 5956">
                <a:extLst>
                  <a:ext uri="{FF2B5EF4-FFF2-40B4-BE49-F238E27FC236}">
                    <a16:creationId xmlns:a16="http://schemas.microsoft.com/office/drawing/2014/main" id="{2E1385BE-1026-41A8-9DD9-A20579387764}"/>
                  </a:ext>
                </a:extLst>
              </p:cNvPr>
              <p:cNvSpPr/>
              <p:nvPr/>
            </p:nvSpPr>
            <p:spPr>
              <a:xfrm>
                <a:off x="7643083" y="2787056"/>
                <a:ext cx="4784" cy="5502"/>
              </a:xfrm>
              <a:custGeom>
                <a:avLst/>
                <a:gdLst>
                  <a:gd name="connsiteX0" fmla="*/ 4785 w 4784"/>
                  <a:gd name="connsiteY0" fmla="*/ 5502 h 5502"/>
                  <a:gd name="connsiteX1" fmla="*/ 0 w 4784"/>
                  <a:gd name="connsiteY1" fmla="*/ 0 h 5502"/>
                </a:gdLst>
                <a:ahLst/>
                <a:cxnLst>
                  <a:cxn ang="0">
                    <a:pos x="connsiteX0" y="connsiteY0"/>
                  </a:cxn>
                  <a:cxn ang="0">
                    <a:pos x="connsiteX1" y="connsiteY1"/>
                  </a:cxn>
                </a:cxnLst>
                <a:rect l="l" t="t" r="r" b="b"/>
                <a:pathLst>
                  <a:path w="4784" h="5502">
                    <a:moveTo>
                      <a:pt x="4785" y="550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58" name="Vrije vorm: vorm 5957">
                <a:extLst>
                  <a:ext uri="{FF2B5EF4-FFF2-40B4-BE49-F238E27FC236}">
                    <a16:creationId xmlns:a16="http://schemas.microsoft.com/office/drawing/2014/main" id="{C3534762-49DE-40DA-889F-1CFF7DBE5ABA}"/>
                  </a:ext>
                </a:extLst>
              </p:cNvPr>
              <p:cNvSpPr/>
              <p:nvPr/>
            </p:nvSpPr>
            <p:spPr>
              <a:xfrm>
                <a:off x="7647868" y="2792559"/>
                <a:ext cx="14473" cy="5382"/>
              </a:xfrm>
              <a:custGeom>
                <a:avLst/>
                <a:gdLst>
                  <a:gd name="connsiteX0" fmla="*/ 0 w 14473"/>
                  <a:gd name="connsiteY0" fmla="*/ 0 h 5382"/>
                  <a:gd name="connsiteX1" fmla="*/ 14473 w 14473"/>
                  <a:gd name="connsiteY1" fmla="*/ 5383 h 5382"/>
                </a:gdLst>
                <a:ahLst/>
                <a:cxnLst>
                  <a:cxn ang="0">
                    <a:pos x="connsiteX0" y="connsiteY0"/>
                  </a:cxn>
                  <a:cxn ang="0">
                    <a:pos x="connsiteX1" y="connsiteY1"/>
                  </a:cxn>
                </a:cxnLst>
                <a:rect l="l" t="t" r="r" b="b"/>
                <a:pathLst>
                  <a:path w="14473" h="5382">
                    <a:moveTo>
                      <a:pt x="0" y="0"/>
                    </a:moveTo>
                    <a:lnTo>
                      <a:pt x="14473" y="5383"/>
                    </a:lnTo>
                  </a:path>
                </a:pathLst>
              </a:custGeom>
              <a:ln w="6350" cap="rnd">
                <a:solidFill>
                  <a:schemeClr val="bg1">
                    <a:alpha val="80000"/>
                  </a:schemeClr>
                </a:solidFill>
                <a:prstDash val="solid"/>
                <a:round/>
              </a:ln>
            </p:spPr>
            <p:txBody>
              <a:bodyPr rtlCol="0" anchor="ctr"/>
              <a:lstStyle/>
              <a:p>
                <a:endParaRPr lang="en-GB"/>
              </a:p>
            </p:txBody>
          </p:sp>
          <p:sp>
            <p:nvSpPr>
              <p:cNvPr id="5959" name="Vrije vorm: vorm 5958">
                <a:extLst>
                  <a:ext uri="{FF2B5EF4-FFF2-40B4-BE49-F238E27FC236}">
                    <a16:creationId xmlns:a16="http://schemas.microsoft.com/office/drawing/2014/main" id="{99D84195-11A4-4E46-AA53-BB99F8514570}"/>
                  </a:ext>
                </a:extLst>
              </p:cNvPr>
              <p:cNvSpPr/>
              <p:nvPr/>
            </p:nvSpPr>
            <p:spPr>
              <a:xfrm>
                <a:off x="7647868" y="2777308"/>
                <a:ext cx="837" cy="15250"/>
              </a:xfrm>
              <a:custGeom>
                <a:avLst/>
                <a:gdLst>
                  <a:gd name="connsiteX0" fmla="*/ 0 w 837"/>
                  <a:gd name="connsiteY0" fmla="*/ 15251 h 15250"/>
                  <a:gd name="connsiteX1" fmla="*/ 837 w 837"/>
                  <a:gd name="connsiteY1" fmla="*/ 0 h 15250"/>
                </a:gdLst>
                <a:ahLst/>
                <a:cxnLst>
                  <a:cxn ang="0">
                    <a:pos x="connsiteX0" y="connsiteY0"/>
                  </a:cxn>
                  <a:cxn ang="0">
                    <a:pos x="connsiteX1" y="connsiteY1"/>
                  </a:cxn>
                </a:cxnLst>
                <a:rect l="l" t="t" r="r" b="b"/>
                <a:pathLst>
                  <a:path w="837" h="15250">
                    <a:moveTo>
                      <a:pt x="0" y="15251"/>
                    </a:moveTo>
                    <a:lnTo>
                      <a:pt x="837" y="0"/>
                    </a:lnTo>
                  </a:path>
                </a:pathLst>
              </a:custGeom>
              <a:ln w="6350" cap="rnd">
                <a:solidFill>
                  <a:schemeClr val="bg1">
                    <a:alpha val="80000"/>
                  </a:schemeClr>
                </a:solidFill>
                <a:prstDash val="solid"/>
                <a:round/>
              </a:ln>
            </p:spPr>
            <p:txBody>
              <a:bodyPr rtlCol="0" anchor="ctr"/>
              <a:lstStyle/>
              <a:p>
                <a:endParaRPr lang="en-GB"/>
              </a:p>
            </p:txBody>
          </p:sp>
          <p:sp>
            <p:nvSpPr>
              <p:cNvPr id="5960" name="Vrije vorm: vorm 5959">
                <a:extLst>
                  <a:ext uri="{FF2B5EF4-FFF2-40B4-BE49-F238E27FC236}">
                    <a16:creationId xmlns:a16="http://schemas.microsoft.com/office/drawing/2014/main" id="{5CB29137-E5D8-4308-A9CF-2BDEEE981911}"/>
                  </a:ext>
                </a:extLst>
              </p:cNvPr>
              <p:cNvSpPr/>
              <p:nvPr/>
            </p:nvSpPr>
            <p:spPr>
              <a:xfrm>
                <a:off x="7662521" y="2797881"/>
                <a:ext cx="8313" cy="837"/>
              </a:xfrm>
              <a:custGeom>
                <a:avLst/>
                <a:gdLst>
                  <a:gd name="connsiteX0" fmla="*/ 0 w 8313"/>
                  <a:gd name="connsiteY0" fmla="*/ 837 h 837"/>
                  <a:gd name="connsiteX1" fmla="*/ 8313 w 8313"/>
                  <a:gd name="connsiteY1" fmla="*/ 0 h 837"/>
                </a:gdLst>
                <a:ahLst/>
                <a:cxnLst>
                  <a:cxn ang="0">
                    <a:pos x="connsiteX0" y="connsiteY0"/>
                  </a:cxn>
                  <a:cxn ang="0">
                    <a:pos x="connsiteX1" y="connsiteY1"/>
                  </a:cxn>
                </a:cxnLst>
                <a:rect l="l" t="t" r="r" b="b"/>
                <a:pathLst>
                  <a:path w="8313" h="837">
                    <a:moveTo>
                      <a:pt x="0" y="837"/>
                    </a:moveTo>
                    <a:lnTo>
                      <a:pt x="8313" y="0"/>
                    </a:lnTo>
                  </a:path>
                </a:pathLst>
              </a:custGeom>
              <a:ln w="6350" cap="rnd">
                <a:solidFill>
                  <a:schemeClr val="bg1">
                    <a:alpha val="80000"/>
                  </a:schemeClr>
                </a:solidFill>
                <a:prstDash val="solid"/>
                <a:round/>
              </a:ln>
            </p:spPr>
            <p:txBody>
              <a:bodyPr rtlCol="0" anchor="ctr"/>
              <a:lstStyle/>
              <a:p>
                <a:endParaRPr lang="en-GB"/>
              </a:p>
            </p:txBody>
          </p:sp>
          <p:sp>
            <p:nvSpPr>
              <p:cNvPr id="5961" name="Vrije vorm: vorm 5960">
                <a:extLst>
                  <a:ext uri="{FF2B5EF4-FFF2-40B4-BE49-F238E27FC236}">
                    <a16:creationId xmlns:a16="http://schemas.microsoft.com/office/drawing/2014/main" id="{9AD8D3C8-3D06-4DEB-8939-1D795151F297}"/>
                  </a:ext>
                </a:extLst>
              </p:cNvPr>
              <p:cNvSpPr/>
              <p:nvPr/>
            </p:nvSpPr>
            <p:spPr>
              <a:xfrm>
                <a:off x="7647868" y="2792559"/>
                <a:ext cx="14652" cy="6160"/>
              </a:xfrm>
              <a:custGeom>
                <a:avLst/>
                <a:gdLst>
                  <a:gd name="connsiteX0" fmla="*/ 14653 w 14652"/>
                  <a:gd name="connsiteY0" fmla="*/ 6160 h 6160"/>
                  <a:gd name="connsiteX1" fmla="*/ 0 w 14652"/>
                  <a:gd name="connsiteY1" fmla="*/ 0 h 6160"/>
                </a:gdLst>
                <a:ahLst/>
                <a:cxnLst>
                  <a:cxn ang="0">
                    <a:pos x="connsiteX0" y="connsiteY0"/>
                  </a:cxn>
                  <a:cxn ang="0">
                    <a:pos x="connsiteX1" y="connsiteY1"/>
                  </a:cxn>
                </a:cxnLst>
                <a:rect l="l" t="t" r="r" b="b"/>
                <a:pathLst>
                  <a:path w="14652" h="6160">
                    <a:moveTo>
                      <a:pt x="14653" y="616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62" name="Vrije vorm: vorm 5961">
                <a:extLst>
                  <a:ext uri="{FF2B5EF4-FFF2-40B4-BE49-F238E27FC236}">
                    <a16:creationId xmlns:a16="http://schemas.microsoft.com/office/drawing/2014/main" id="{3D8CCBF1-FF36-4DD5-8597-8744F90D44BA}"/>
                  </a:ext>
                </a:extLst>
              </p:cNvPr>
              <p:cNvSpPr/>
              <p:nvPr/>
            </p:nvSpPr>
            <p:spPr>
              <a:xfrm>
                <a:off x="7670834" y="2796207"/>
                <a:ext cx="7954" cy="1674"/>
              </a:xfrm>
              <a:custGeom>
                <a:avLst/>
                <a:gdLst>
                  <a:gd name="connsiteX0" fmla="*/ 7954 w 7954"/>
                  <a:gd name="connsiteY0" fmla="*/ 0 h 1674"/>
                  <a:gd name="connsiteX1" fmla="*/ 0 w 7954"/>
                  <a:gd name="connsiteY1" fmla="*/ 1675 h 1674"/>
                </a:gdLst>
                <a:ahLst/>
                <a:cxnLst>
                  <a:cxn ang="0">
                    <a:pos x="connsiteX0" y="connsiteY0"/>
                  </a:cxn>
                  <a:cxn ang="0">
                    <a:pos x="connsiteX1" y="connsiteY1"/>
                  </a:cxn>
                </a:cxnLst>
                <a:rect l="l" t="t" r="r" b="b"/>
                <a:pathLst>
                  <a:path w="7954" h="1674">
                    <a:moveTo>
                      <a:pt x="7954" y="0"/>
                    </a:moveTo>
                    <a:lnTo>
                      <a:pt x="0" y="1675"/>
                    </a:lnTo>
                  </a:path>
                </a:pathLst>
              </a:custGeom>
              <a:ln w="6350" cap="rnd">
                <a:solidFill>
                  <a:schemeClr val="bg1">
                    <a:alpha val="80000"/>
                  </a:schemeClr>
                </a:solidFill>
                <a:prstDash val="solid"/>
                <a:round/>
              </a:ln>
            </p:spPr>
            <p:txBody>
              <a:bodyPr rtlCol="0" anchor="ctr"/>
              <a:lstStyle/>
              <a:p>
                <a:endParaRPr lang="en-GB"/>
              </a:p>
            </p:txBody>
          </p:sp>
          <p:sp>
            <p:nvSpPr>
              <p:cNvPr id="5963" name="Vrije vorm: vorm 5962">
                <a:extLst>
                  <a:ext uri="{FF2B5EF4-FFF2-40B4-BE49-F238E27FC236}">
                    <a16:creationId xmlns:a16="http://schemas.microsoft.com/office/drawing/2014/main" id="{ED55A5DD-EA6F-4940-962A-F0F5B0D86116}"/>
                  </a:ext>
                </a:extLst>
              </p:cNvPr>
              <p:cNvSpPr/>
              <p:nvPr/>
            </p:nvSpPr>
            <p:spPr>
              <a:xfrm>
                <a:off x="7662521" y="2792798"/>
                <a:ext cx="32176" cy="5920"/>
              </a:xfrm>
              <a:custGeom>
                <a:avLst/>
                <a:gdLst>
                  <a:gd name="connsiteX0" fmla="*/ 32176 w 32176"/>
                  <a:gd name="connsiteY0" fmla="*/ 0 h 5920"/>
                  <a:gd name="connsiteX1" fmla="*/ 0 w 32176"/>
                  <a:gd name="connsiteY1" fmla="*/ 5921 h 5920"/>
                </a:gdLst>
                <a:ahLst/>
                <a:cxnLst>
                  <a:cxn ang="0">
                    <a:pos x="connsiteX0" y="connsiteY0"/>
                  </a:cxn>
                  <a:cxn ang="0">
                    <a:pos x="connsiteX1" y="connsiteY1"/>
                  </a:cxn>
                </a:cxnLst>
                <a:rect l="l" t="t" r="r" b="b"/>
                <a:pathLst>
                  <a:path w="32176" h="5920">
                    <a:moveTo>
                      <a:pt x="32176" y="0"/>
                    </a:moveTo>
                    <a:lnTo>
                      <a:pt x="0" y="5921"/>
                    </a:lnTo>
                  </a:path>
                </a:pathLst>
              </a:custGeom>
              <a:ln w="6350" cap="rnd">
                <a:solidFill>
                  <a:schemeClr val="bg1">
                    <a:alpha val="80000"/>
                  </a:schemeClr>
                </a:solidFill>
                <a:prstDash val="solid"/>
                <a:round/>
              </a:ln>
            </p:spPr>
            <p:txBody>
              <a:bodyPr rtlCol="0" anchor="ctr"/>
              <a:lstStyle/>
              <a:p>
                <a:endParaRPr lang="en-GB"/>
              </a:p>
            </p:txBody>
          </p:sp>
          <p:sp>
            <p:nvSpPr>
              <p:cNvPr id="5964" name="Vrije vorm: vorm 5963">
                <a:extLst>
                  <a:ext uri="{FF2B5EF4-FFF2-40B4-BE49-F238E27FC236}">
                    <a16:creationId xmlns:a16="http://schemas.microsoft.com/office/drawing/2014/main" id="{C700C148-D1A7-4865-83DA-1E9B748758F2}"/>
                  </a:ext>
                </a:extLst>
              </p:cNvPr>
              <p:cNvSpPr/>
              <p:nvPr/>
            </p:nvSpPr>
            <p:spPr>
              <a:xfrm>
                <a:off x="7748643" y="2745909"/>
                <a:ext cx="12260" cy="6100"/>
              </a:xfrm>
              <a:custGeom>
                <a:avLst/>
                <a:gdLst>
                  <a:gd name="connsiteX0" fmla="*/ 12260 w 12260"/>
                  <a:gd name="connsiteY0" fmla="*/ 0 h 6100"/>
                  <a:gd name="connsiteX1" fmla="*/ 0 w 12260"/>
                  <a:gd name="connsiteY1" fmla="*/ 6100 h 6100"/>
                </a:gdLst>
                <a:ahLst/>
                <a:cxnLst>
                  <a:cxn ang="0">
                    <a:pos x="connsiteX0" y="connsiteY0"/>
                  </a:cxn>
                  <a:cxn ang="0">
                    <a:pos x="connsiteX1" y="connsiteY1"/>
                  </a:cxn>
                </a:cxnLst>
                <a:rect l="l" t="t" r="r" b="b"/>
                <a:pathLst>
                  <a:path w="12260" h="6100">
                    <a:moveTo>
                      <a:pt x="12260" y="0"/>
                    </a:moveTo>
                    <a:lnTo>
                      <a:pt x="0" y="6100"/>
                    </a:lnTo>
                  </a:path>
                </a:pathLst>
              </a:custGeom>
              <a:ln w="6350" cap="rnd">
                <a:solidFill>
                  <a:schemeClr val="bg1">
                    <a:alpha val="80000"/>
                  </a:schemeClr>
                </a:solidFill>
                <a:prstDash val="solid"/>
                <a:round/>
              </a:ln>
            </p:spPr>
            <p:txBody>
              <a:bodyPr rtlCol="0" anchor="ctr"/>
              <a:lstStyle/>
              <a:p>
                <a:endParaRPr lang="en-GB"/>
              </a:p>
            </p:txBody>
          </p:sp>
          <p:sp>
            <p:nvSpPr>
              <p:cNvPr id="5965" name="Vrije vorm: vorm 5964">
                <a:extLst>
                  <a:ext uri="{FF2B5EF4-FFF2-40B4-BE49-F238E27FC236}">
                    <a16:creationId xmlns:a16="http://schemas.microsoft.com/office/drawing/2014/main" id="{728C0651-77BF-42CA-9938-801986CA7E35}"/>
                  </a:ext>
                </a:extLst>
              </p:cNvPr>
              <p:cNvSpPr/>
              <p:nvPr/>
            </p:nvSpPr>
            <p:spPr>
              <a:xfrm>
                <a:off x="7760903" y="2745909"/>
                <a:ext cx="1435" cy="13037"/>
              </a:xfrm>
              <a:custGeom>
                <a:avLst/>
                <a:gdLst>
                  <a:gd name="connsiteX0" fmla="*/ 0 w 1435"/>
                  <a:gd name="connsiteY0" fmla="*/ 0 h 13037"/>
                  <a:gd name="connsiteX1" fmla="*/ 1435 w 1435"/>
                  <a:gd name="connsiteY1" fmla="*/ 13038 h 13037"/>
                </a:gdLst>
                <a:ahLst/>
                <a:cxnLst>
                  <a:cxn ang="0">
                    <a:pos x="connsiteX0" y="connsiteY0"/>
                  </a:cxn>
                  <a:cxn ang="0">
                    <a:pos x="connsiteX1" y="connsiteY1"/>
                  </a:cxn>
                </a:cxnLst>
                <a:rect l="l" t="t" r="r" b="b"/>
                <a:pathLst>
                  <a:path w="1435" h="13037">
                    <a:moveTo>
                      <a:pt x="0" y="0"/>
                    </a:moveTo>
                    <a:lnTo>
                      <a:pt x="1435" y="13038"/>
                    </a:lnTo>
                  </a:path>
                </a:pathLst>
              </a:custGeom>
              <a:ln w="6350" cap="rnd">
                <a:solidFill>
                  <a:schemeClr val="bg1">
                    <a:alpha val="80000"/>
                  </a:schemeClr>
                </a:solidFill>
                <a:prstDash val="solid"/>
                <a:round/>
              </a:ln>
            </p:spPr>
            <p:txBody>
              <a:bodyPr rtlCol="0" anchor="ctr"/>
              <a:lstStyle/>
              <a:p>
                <a:endParaRPr lang="en-GB"/>
              </a:p>
            </p:txBody>
          </p:sp>
          <p:sp>
            <p:nvSpPr>
              <p:cNvPr id="5966" name="Vrije vorm: vorm 5965">
                <a:extLst>
                  <a:ext uri="{FF2B5EF4-FFF2-40B4-BE49-F238E27FC236}">
                    <a16:creationId xmlns:a16="http://schemas.microsoft.com/office/drawing/2014/main" id="{04767EB6-552D-44B0-96F5-EFDCBAC998C0}"/>
                  </a:ext>
                </a:extLst>
              </p:cNvPr>
              <p:cNvSpPr/>
              <p:nvPr/>
            </p:nvSpPr>
            <p:spPr>
              <a:xfrm>
                <a:off x="7755102" y="2745909"/>
                <a:ext cx="5801" cy="13157"/>
              </a:xfrm>
              <a:custGeom>
                <a:avLst/>
                <a:gdLst>
                  <a:gd name="connsiteX0" fmla="*/ 5801 w 5801"/>
                  <a:gd name="connsiteY0" fmla="*/ 0 h 13157"/>
                  <a:gd name="connsiteX1" fmla="*/ 0 w 5801"/>
                  <a:gd name="connsiteY1" fmla="*/ 13158 h 13157"/>
                </a:gdLst>
                <a:ahLst/>
                <a:cxnLst>
                  <a:cxn ang="0">
                    <a:pos x="connsiteX0" y="connsiteY0"/>
                  </a:cxn>
                  <a:cxn ang="0">
                    <a:pos x="connsiteX1" y="connsiteY1"/>
                  </a:cxn>
                </a:cxnLst>
                <a:rect l="l" t="t" r="r" b="b"/>
                <a:pathLst>
                  <a:path w="5801" h="13157">
                    <a:moveTo>
                      <a:pt x="5801" y="0"/>
                    </a:moveTo>
                    <a:lnTo>
                      <a:pt x="0" y="13158"/>
                    </a:lnTo>
                  </a:path>
                </a:pathLst>
              </a:custGeom>
              <a:ln w="6350" cap="rnd">
                <a:solidFill>
                  <a:schemeClr val="bg1">
                    <a:alpha val="80000"/>
                  </a:schemeClr>
                </a:solidFill>
                <a:prstDash val="solid"/>
                <a:round/>
              </a:ln>
            </p:spPr>
            <p:txBody>
              <a:bodyPr rtlCol="0" anchor="ctr"/>
              <a:lstStyle/>
              <a:p>
                <a:endParaRPr lang="en-GB"/>
              </a:p>
            </p:txBody>
          </p:sp>
          <p:sp>
            <p:nvSpPr>
              <p:cNvPr id="5967" name="Vrije vorm: vorm 5966">
                <a:extLst>
                  <a:ext uri="{FF2B5EF4-FFF2-40B4-BE49-F238E27FC236}">
                    <a16:creationId xmlns:a16="http://schemas.microsoft.com/office/drawing/2014/main" id="{DB46EAC5-6EC8-49B8-A95B-A14998B9013F}"/>
                  </a:ext>
                </a:extLst>
              </p:cNvPr>
              <p:cNvSpPr/>
              <p:nvPr/>
            </p:nvSpPr>
            <p:spPr>
              <a:xfrm>
                <a:off x="7566530" y="2814089"/>
                <a:ext cx="10526" cy="12439"/>
              </a:xfrm>
              <a:custGeom>
                <a:avLst/>
                <a:gdLst>
                  <a:gd name="connsiteX0" fmla="*/ 0 w 10526"/>
                  <a:gd name="connsiteY0" fmla="*/ 12440 h 12439"/>
                  <a:gd name="connsiteX1" fmla="*/ 10526 w 10526"/>
                  <a:gd name="connsiteY1" fmla="*/ 0 h 12439"/>
                </a:gdLst>
                <a:ahLst/>
                <a:cxnLst>
                  <a:cxn ang="0">
                    <a:pos x="connsiteX0" y="connsiteY0"/>
                  </a:cxn>
                  <a:cxn ang="0">
                    <a:pos x="connsiteX1" y="connsiteY1"/>
                  </a:cxn>
                </a:cxnLst>
                <a:rect l="l" t="t" r="r" b="b"/>
                <a:pathLst>
                  <a:path w="10526" h="12439">
                    <a:moveTo>
                      <a:pt x="0" y="12440"/>
                    </a:moveTo>
                    <a:lnTo>
                      <a:pt x="10526" y="0"/>
                    </a:lnTo>
                  </a:path>
                </a:pathLst>
              </a:custGeom>
              <a:ln w="6350" cap="rnd">
                <a:solidFill>
                  <a:schemeClr val="bg1">
                    <a:alpha val="80000"/>
                  </a:schemeClr>
                </a:solidFill>
                <a:prstDash val="solid"/>
                <a:round/>
              </a:ln>
            </p:spPr>
            <p:txBody>
              <a:bodyPr rtlCol="0" anchor="ctr"/>
              <a:lstStyle/>
              <a:p>
                <a:endParaRPr lang="en-GB"/>
              </a:p>
            </p:txBody>
          </p:sp>
          <p:sp>
            <p:nvSpPr>
              <p:cNvPr id="5968" name="Vrije vorm: vorm 5967">
                <a:extLst>
                  <a:ext uri="{FF2B5EF4-FFF2-40B4-BE49-F238E27FC236}">
                    <a16:creationId xmlns:a16="http://schemas.microsoft.com/office/drawing/2014/main" id="{2986BB88-B28E-4C06-BEEF-EA8B39955C84}"/>
                  </a:ext>
                </a:extLst>
              </p:cNvPr>
              <p:cNvSpPr/>
              <p:nvPr/>
            </p:nvSpPr>
            <p:spPr>
              <a:xfrm>
                <a:off x="7566530" y="2818216"/>
                <a:ext cx="12738" cy="8313"/>
              </a:xfrm>
              <a:custGeom>
                <a:avLst/>
                <a:gdLst>
                  <a:gd name="connsiteX0" fmla="*/ 0 w 12738"/>
                  <a:gd name="connsiteY0" fmla="*/ 8313 h 8313"/>
                  <a:gd name="connsiteX1" fmla="*/ 12739 w 12738"/>
                  <a:gd name="connsiteY1" fmla="*/ 0 h 8313"/>
                </a:gdLst>
                <a:ahLst/>
                <a:cxnLst>
                  <a:cxn ang="0">
                    <a:pos x="connsiteX0" y="connsiteY0"/>
                  </a:cxn>
                  <a:cxn ang="0">
                    <a:pos x="connsiteX1" y="connsiteY1"/>
                  </a:cxn>
                </a:cxnLst>
                <a:rect l="l" t="t" r="r" b="b"/>
                <a:pathLst>
                  <a:path w="12738" h="8313">
                    <a:moveTo>
                      <a:pt x="0" y="8313"/>
                    </a:moveTo>
                    <a:lnTo>
                      <a:pt x="12739" y="0"/>
                    </a:lnTo>
                  </a:path>
                </a:pathLst>
              </a:custGeom>
              <a:ln w="6350" cap="rnd">
                <a:solidFill>
                  <a:schemeClr val="bg1">
                    <a:alpha val="80000"/>
                  </a:schemeClr>
                </a:solidFill>
                <a:prstDash val="solid"/>
                <a:round/>
              </a:ln>
            </p:spPr>
            <p:txBody>
              <a:bodyPr rtlCol="0" anchor="ctr"/>
              <a:lstStyle/>
              <a:p>
                <a:endParaRPr lang="en-GB"/>
              </a:p>
            </p:txBody>
          </p:sp>
          <p:sp>
            <p:nvSpPr>
              <p:cNvPr id="5969" name="Vrije vorm: vorm 5968">
                <a:extLst>
                  <a:ext uri="{FF2B5EF4-FFF2-40B4-BE49-F238E27FC236}">
                    <a16:creationId xmlns:a16="http://schemas.microsoft.com/office/drawing/2014/main" id="{A1304C74-2CD9-4B6D-85CE-7006A8D24F37}"/>
                  </a:ext>
                </a:extLst>
              </p:cNvPr>
              <p:cNvSpPr/>
              <p:nvPr/>
            </p:nvSpPr>
            <p:spPr>
              <a:xfrm>
                <a:off x="7687341" y="2791123"/>
                <a:ext cx="7356" cy="1674"/>
              </a:xfrm>
              <a:custGeom>
                <a:avLst/>
                <a:gdLst>
                  <a:gd name="connsiteX0" fmla="*/ 0 w 7356"/>
                  <a:gd name="connsiteY0" fmla="*/ 0 h 1674"/>
                  <a:gd name="connsiteX1" fmla="*/ 7356 w 7356"/>
                  <a:gd name="connsiteY1" fmla="*/ 1675 h 1674"/>
                </a:gdLst>
                <a:ahLst/>
                <a:cxnLst>
                  <a:cxn ang="0">
                    <a:pos x="connsiteX0" y="connsiteY0"/>
                  </a:cxn>
                  <a:cxn ang="0">
                    <a:pos x="connsiteX1" y="connsiteY1"/>
                  </a:cxn>
                </a:cxnLst>
                <a:rect l="l" t="t" r="r" b="b"/>
                <a:pathLst>
                  <a:path w="7356" h="1674">
                    <a:moveTo>
                      <a:pt x="0" y="0"/>
                    </a:moveTo>
                    <a:lnTo>
                      <a:pt x="7356" y="1675"/>
                    </a:lnTo>
                  </a:path>
                </a:pathLst>
              </a:custGeom>
              <a:ln w="6350" cap="rnd">
                <a:solidFill>
                  <a:schemeClr val="bg1">
                    <a:alpha val="80000"/>
                  </a:schemeClr>
                </a:solidFill>
                <a:prstDash val="solid"/>
                <a:round/>
              </a:ln>
            </p:spPr>
            <p:txBody>
              <a:bodyPr rtlCol="0" anchor="ctr"/>
              <a:lstStyle/>
              <a:p>
                <a:endParaRPr lang="en-GB"/>
              </a:p>
            </p:txBody>
          </p:sp>
          <p:sp>
            <p:nvSpPr>
              <p:cNvPr id="5970" name="Vrije vorm: vorm 5969">
                <a:extLst>
                  <a:ext uri="{FF2B5EF4-FFF2-40B4-BE49-F238E27FC236}">
                    <a16:creationId xmlns:a16="http://schemas.microsoft.com/office/drawing/2014/main" id="{F0D6BA1C-E044-4B8B-8118-A315E00FAAAD}"/>
                  </a:ext>
                </a:extLst>
              </p:cNvPr>
              <p:cNvSpPr/>
              <p:nvPr/>
            </p:nvSpPr>
            <p:spPr>
              <a:xfrm>
                <a:off x="7595656" y="2737835"/>
                <a:ext cx="17702" cy="23085"/>
              </a:xfrm>
              <a:custGeom>
                <a:avLst/>
                <a:gdLst>
                  <a:gd name="connsiteX0" fmla="*/ 0 w 17702"/>
                  <a:gd name="connsiteY0" fmla="*/ 0 h 23085"/>
                  <a:gd name="connsiteX1" fmla="*/ 17703 w 17702"/>
                  <a:gd name="connsiteY1" fmla="*/ 23086 h 23085"/>
                </a:gdLst>
                <a:ahLst/>
                <a:cxnLst>
                  <a:cxn ang="0">
                    <a:pos x="connsiteX0" y="connsiteY0"/>
                  </a:cxn>
                  <a:cxn ang="0">
                    <a:pos x="connsiteX1" y="connsiteY1"/>
                  </a:cxn>
                </a:cxnLst>
                <a:rect l="l" t="t" r="r" b="b"/>
                <a:pathLst>
                  <a:path w="17702" h="23085">
                    <a:moveTo>
                      <a:pt x="0" y="0"/>
                    </a:moveTo>
                    <a:lnTo>
                      <a:pt x="17703" y="23086"/>
                    </a:lnTo>
                  </a:path>
                </a:pathLst>
              </a:custGeom>
              <a:ln w="6350" cap="rnd">
                <a:solidFill>
                  <a:schemeClr val="bg1">
                    <a:alpha val="80000"/>
                  </a:schemeClr>
                </a:solidFill>
                <a:prstDash val="solid"/>
                <a:round/>
              </a:ln>
            </p:spPr>
            <p:txBody>
              <a:bodyPr rtlCol="0" anchor="ctr"/>
              <a:lstStyle/>
              <a:p>
                <a:endParaRPr lang="en-GB"/>
              </a:p>
            </p:txBody>
          </p:sp>
          <p:sp>
            <p:nvSpPr>
              <p:cNvPr id="5971" name="Vrije vorm: vorm 5970">
                <a:extLst>
                  <a:ext uri="{FF2B5EF4-FFF2-40B4-BE49-F238E27FC236}">
                    <a16:creationId xmlns:a16="http://schemas.microsoft.com/office/drawing/2014/main" id="{9880FFBF-4A52-488D-A0E2-D9C457333616}"/>
                  </a:ext>
                </a:extLst>
              </p:cNvPr>
              <p:cNvSpPr/>
              <p:nvPr/>
            </p:nvSpPr>
            <p:spPr>
              <a:xfrm>
                <a:off x="7595656" y="2721508"/>
                <a:ext cx="956" cy="16327"/>
              </a:xfrm>
              <a:custGeom>
                <a:avLst/>
                <a:gdLst>
                  <a:gd name="connsiteX0" fmla="*/ 0 w 956"/>
                  <a:gd name="connsiteY0" fmla="*/ 16327 h 16327"/>
                  <a:gd name="connsiteX1" fmla="*/ 957 w 956"/>
                  <a:gd name="connsiteY1" fmla="*/ 0 h 16327"/>
                </a:gdLst>
                <a:ahLst/>
                <a:cxnLst>
                  <a:cxn ang="0">
                    <a:pos x="connsiteX0" y="connsiteY0"/>
                  </a:cxn>
                  <a:cxn ang="0">
                    <a:pos x="connsiteX1" y="connsiteY1"/>
                  </a:cxn>
                </a:cxnLst>
                <a:rect l="l" t="t" r="r" b="b"/>
                <a:pathLst>
                  <a:path w="956" h="16327">
                    <a:moveTo>
                      <a:pt x="0" y="16327"/>
                    </a:moveTo>
                    <a:lnTo>
                      <a:pt x="957" y="0"/>
                    </a:lnTo>
                  </a:path>
                </a:pathLst>
              </a:custGeom>
              <a:ln w="6350" cap="rnd">
                <a:solidFill>
                  <a:schemeClr val="bg1">
                    <a:alpha val="80000"/>
                  </a:schemeClr>
                </a:solidFill>
                <a:prstDash val="solid"/>
                <a:round/>
              </a:ln>
            </p:spPr>
            <p:txBody>
              <a:bodyPr rtlCol="0" anchor="ctr"/>
              <a:lstStyle/>
              <a:p>
                <a:endParaRPr lang="en-GB"/>
              </a:p>
            </p:txBody>
          </p:sp>
          <p:sp>
            <p:nvSpPr>
              <p:cNvPr id="5972" name="Vrije vorm: vorm 5971">
                <a:extLst>
                  <a:ext uri="{FF2B5EF4-FFF2-40B4-BE49-F238E27FC236}">
                    <a16:creationId xmlns:a16="http://schemas.microsoft.com/office/drawing/2014/main" id="{CE3E8FD7-631F-4485-810B-5CB2B0444AF1}"/>
                  </a:ext>
                </a:extLst>
              </p:cNvPr>
              <p:cNvSpPr/>
              <p:nvPr/>
            </p:nvSpPr>
            <p:spPr>
              <a:xfrm>
                <a:off x="7773702" y="2757751"/>
                <a:ext cx="7894" cy="6638"/>
              </a:xfrm>
              <a:custGeom>
                <a:avLst/>
                <a:gdLst>
                  <a:gd name="connsiteX0" fmla="*/ 0 w 7894"/>
                  <a:gd name="connsiteY0" fmla="*/ 0 h 6638"/>
                  <a:gd name="connsiteX1" fmla="*/ 7895 w 7894"/>
                  <a:gd name="connsiteY1" fmla="*/ 6639 h 6638"/>
                </a:gdLst>
                <a:ahLst/>
                <a:cxnLst>
                  <a:cxn ang="0">
                    <a:pos x="connsiteX0" y="connsiteY0"/>
                  </a:cxn>
                  <a:cxn ang="0">
                    <a:pos x="connsiteX1" y="connsiteY1"/>
                  </a:cxn>
                </a:cxnLst>
                <a:rect l="l" t="t" r="r" b="b"/>
                <a:pathLst>
                  <a:path w="7894" h="6638">
                    <a:moveTo>
                      <a:pt x="0" y="0"/>
                    </a:moveTo>
                    <a:lnTo>
                      <a:pt x="7895" y="6639"/>
                    </a:lnTo>
                  </a:path>
                </a:pathLst>
              </a:custGeom>
              <a:ln w="6350" cap="rnd">
                <a:solidFill>
                  <a:schemeClr val="bg1">
                    <a:alpha val="80000"/>
                  </a:schemeClr>
                </a:solidFill>
                <a:prstDash val="solid"/>
                <a:round/>
              </a:ln>
            </p:spPr>
            <p:txBody>
              <a:bodyPr rtlCol="0" anchor="ctr"/>
              <a:lstStyle/>
              <a:p>
                <a:endParaRPr lang="en-GB"/>
              </a:p>
            </p:txBody>
          </p:sp>
          <p:sp>
            <p:nvSpPr>
              <p:cNvPr id="5973" name="Vrije vorm: vorm 5972">
                <a:extLst>
                  <a:ext uri="{FF2B5EF4-FFF2-40B4-BE49-F238E27FC236}">
                    <a16:creationId xmlns:a16="http://schemas.microsoft.com/office/drawing/2014/main" id="{C6523557-84A7-4F3E-A061-C75F91FF7BA0}"/>
                  </a:ext>
                </a:extLst>
              </p:cNvPr>
              <p:cNvSpPr/>
              <p:nvPr/>
            </p:nvSpPr>
            <p:spPr>
              <a:xfrm>
                <a:off x="7552356" y="2691724"/>
                <a:ext cx="20573" cy="2810"/>
              </a:xfrm>
              <a:custGeom>
                <a:avLst/>
                <a:gdLst>
                  <a:gd name="connsiteX0" fmla="*/ 0 w 20573"/>
                  <a:gd name="connsiteY0" fmla="*/ 2811 h 2810"/>
                  <a:gd name="connsiteX1" fmla="*/ 20574 w 20573"/>
                  <a:gd name="connsiteY1" fmla="*/ 0 h 2810"/>
                </a:gdLst>
                <a:ahLst/>
                <a:cxnLst>
                  <a:cxn ang="0">
                    <a:pos x="connsiteX0" y="connsiteY0"/>
                  </a:cxn>
                  <a:cxn ang="0">
                    <a:pos x="connsiteX1" y="connsiteY1"/>
                  </a:cxn>
                </a:cxnLst>
                <a:rect l="l" t="t" r="r" b="b"/>
                <a:pathLst>
                  <a:path w="20573" h="2810">
                    <a:moveTo>
                      <a:pt x="0" y="2811"/>
                    </a:moveTo>
                    <a:lnTo>
                      <a:pt x="20574" y="0"/>
                    </a:lnTo>
                  </a:path>
                </a:pathLst>
              </a:custGeom>
              <a:ln w="6350" cap="rnd">
                <a:solidFill>
                  <a:schemeClr val="bg1">
                    <a:alpha val="80000"/>
                  </a:schemeClr>
                </a:solidFill>
                <a:prstDash val="solid"/>
                <a:round/>
              </a:ln>
            </p:spPr>
            <p:txBody>
              <a:bodyPr rtlCol="0" anchor="ctr"/>
              <a:lstStyle/>
              <a:p>
                <a:endParaRPr lang="en-GB"/>
              </a:p>
            </p:txBody>
          </p:sp>
          <p:sp>
            <p:nvSpPr>
              <p:cNvPr id="5974" name="Vrije vorm: vorm 5973">
                <a:extLst>
                  <a:ext uri="{FF2B5EF4-FFF2-40B4-BE49-F238E27FC236}">
                    <a16:creationId xmlns:a16="http://schemas.microsoft.com/office/drawing/2014/main" id="{3F6DE38F-E4BE-474A-A17F-BC5531E77CA9}"/>
                  </a:ext>
                </a:extLst>
              </p:cNvPr>
              <p:cNvSpPr/>
              <p:nvPr/>
            </p:nvSpPr>
            <p:spPr>
              <a:xfrm>
                <a:off x="7552356" y="2678506"/>
                <a:ext cx="20693" cy="16028"/>
              </a:xfrm>
              <a:custGeom>
                <a:avLst/>
                <a:gdLst>
                  <a:gd name="connsiteX0" fmla="*/ 0 w 20693"/>
                  <a:gd name="connsiteY0" fmla="*/ 16028 h 16028"/>
                  <a:gd name="connsiteX1" fmla="*/ 20694 w 20693"/>
                  <a:gd name="connsiteY1" fmla="*/ 0 h 16028"/>
                </a:gdLst>
                <a:ahLst/>
                <a:cxnLst>
                  <a:cxn ang="0">
                    <a:pos x="connsiteX0" y="connsiteY0"/>
                  </a:cxn>
                  <a:cxn ang="0">
                    <a:pos x="connsiteX1" y="connsiteY1"/>
                  </a:cxn>
                </a:cxnLst>
                <a:rect l="l" t="t" r="r" b="b"/>
                <a:pathLst>
                  <a:path w="20693" h="16028">
                    <a:moveTo>
                      <a:pt x="0" y="16028"/>
                    </a:moveTo>
                    <a:lnTo>
                      <a:pt x="20694" y="0"/>
                    </a:lnTo>
                  </a:path>
                </a:pathLst>
              </a:custGeom>
              <a:ln w="6350" cap="rnd">
                <a:solidFill>
                  <a:schemeClr val="bg1">
                    <a:alpha val="80000"/>
                  </a:schemeClr>
                </a:solidFill>
                <a:prstDash val="solid"/>
                <a:round/>
              </a:ln>
            </p:spPr>
            <p:txBody>
              <a:bodyPr rtlCol="0" anchor="ctr"/>
              <a:lstStyle/>
              <a:p>
                <a:endParaRPr lang="en-GB"/>
              </a:p>
            </p:txBody>
          </p:sp>
          <p:sp>
            <p:nvSpPr>
              <p:cNvPr id="5975" name="Vrije vorm: vorm 5974">
                <a:extLst>
                  <a:ext uri="{FF2B5EF4-FFF2-40B4-BE49-F238E27FC236}">
                    <a16:creationId xmlns:a16="http://schemas.microsoft.com/office/drawing/2014/main" id="{625827B5-8621-48B1-91B2-43038D00F7D2}"/>
                  </a:ext>
                </a:extLst>
              </p:cNvPr>
              <p:cNvSpPr/>
              <p:nvPr/>
            </p:nvSpPr>
            <p:spPr>
              <a:xfrm>
                <a:off x="7552356" y="2694535"/>
                <a:ext cx="8911" cy="4545"/>
              </a:xfrm>
              <a:custGeom>
                <a:avLst/>
                <a:gdLst>
                  <a:gd name="connsiteX0" fmla="*/ 0 w 8911"/>
                  <a:gd name="connsiteY0" fmla="*/ 0 h 4545"/>
                  <a:gd name="connsiteX1" fmla="*/ 8911 w 8911"/>
                  <a:gd name="connsiteY1" fmla="*/ 4545 h 4545"/>
                </a:gdLst>
                <a:ahLst/>
                <a:cxnLst>
                  <a:cxn ang="0">
                    <a:pos x="connsiteX0" y="connsiteY0"/>
                  </a:cxn>
                  <a:cxn ang="0">
                    <a:pos x="connsiteX1" y="connsiteY1"/>
                  </a:cxn>
                </a:cxnLst>
                <a:rect l="l" t="t" r="r" b="b"/>
                <a:pathLst>
                  <a:path w="8911" h="4545">
                    <a:moveTo>
                      <a:pt x="0" y="0"/>
                    </a:moveTo>
                    <a:lnTo>
                      <a:pt x="8911" y="4545"/>
                    </a:lnTo>
                  </a:path>
                </a:pathLst>
              </a:custGeom>
              <a:ln w="6350" cap="rnd">
                <a:solidFill>
                  <a:schemeClr val="bg1">
                    <a:alpha val="80000"/>
                  </a:schemeClr>
                </a:solidFill>
                <a:prstDash val="solid"/>
                <a:round/>
              </a:ln>
            </p:spPr>
            <p:txBody>
              <a:bodyPr rtlCol="0" anchor="ctr"/>
              <a:lstStyle/>
              <a:p>
                <a:endParaRPr lang="en-GB"/>
              </a:p>
            </p:txBody>
          </p:sp>
          <p:sp>
            <p:nvSpPr>
              <p:cNvPr id="5976" name="Vrije vorm: vorm 5975">
                <a:extLst>
                  <a:ext uri="{FF2B5EF4-FFF2-40B4-BE49-F238E27FC236}">
                    <a16:creationId xmlns:a16="http://schemas.microsoft.com/office/drawing/2014/main" id="{71EC770F-8450-4BE9-8AC5-623EAB983D1D}"/>
                  </a:ext>
                </a:extLst>
              </p:cNvPr>
              <p:cNvSpPr/>
              <p:nvPr/>
            </p:nvSpPr>
            <p:spPr>
              <a:xfrm>
                <a:off x="7535012" y="2694535"/>
                <a:ext cx="17344" cy="5801"/>
              </a:xfrm>
              <a:custGeom>
                <a:avLst/>
                <a:gdLst>
                  <a:gd name="connsiteX0" fmla="*/ 17344 w 17344"/>
                  <a:gd name="connsiteY0" fmla="*/ 0 h 5801"/>
                  <a:gd name="connsiteX1" fmla="*/ 0 w 17344"/>
                  <a:gd name="connsiteY1" fmla="*/ 5801 h 5801"/>
                </a:gdLst>
                <a:ahLst/>
                <a:cxnLst>
                  <a:cxn ang="0">
                    <a:pos x="connsiteX0" y="connsiteY0"/>
                  </a:cxn>
                  <a:cxn ang="0">
                    <a:pos x="connsiteX1" y="connsiteY1"/>
                  </a:cxn>
                </a:cxnLst>
                <a:rect l="l" t="t" r="r" b="b"/>
                <a:pathLst>
                  <a:path w="17344" h="5801">
                    <a:moveTo>
                      <a:pt x="17344" y="0"/>
                    </a:moveTo>
                    <a:lnTo>
                      <a:pt x="0" y="5801"/>
                    </a:lnTo>
                  </a:path>
                </a:pathLst>
              </a:custGeom>
              <a:ln w="6350" cap="rnd">
                <a:solidFill>
                  <a:schemeClr val="bg1">
                    <a:alpha val="80000"/>
                  </a:schemeClr>
                </a:solidFill>
                <a:prstDash val="solid"/>
                <a:round/>
              </a:ln>
            </p:spPr>
            <p:txBody>
              <a:bodyPr rtlCol="0" anchor="ctr"/>
              <a:lstStyle/>
              <a:p>
                <a:endParaRPr lang="en-GB"/>
              </a:p>
            </p:txBody>
          </p:sp>
          <p:sp>
            <p:nvSpPr>
              <p:cNvPr id="5977" name="Vrije vorm: vorm 5976">
                <a:extLst>
                  <a:ext uri="{FF2B5EF4-FFF2-40B4-BE49-F238E27FC236}">
                    <a16:creationId xmlns:a16="http://schemas.microsoft.com/office/drawing/2014/main" id="{5551973B-7A80-4F0E-8D2F-67694FA3062B}"/>
                  </a:ext>
                </a:extLst>
              </p:cNvPr>
              <p:cNvSpPr/>
              <p:nvPr/>
            </p:nvSpPr>
            <p:spPr>
              <a:xfrm>
                <a:off x="7548468" y="2687178"/>
                <a:ext cx="3887" cy="7356"/>
              </a:xfrm>
              <a:custGeom>
                <a:avLst/>
                <a:gdLst>
                  <a:gd name="connsiteX0" fmla="*/ 3887 w 3887"/>
                  <a:gd name="connsiteY0" fmla="*/ 7356 h 7356"/>
                  <a:gd name="connsiteX1" fmla="*/ 0 w 3887"/>
                  <a:gd name="connsiteY1" fmla="*/ 0 h 7356"/>
                </a:gdLst>
                <a:ahLst/>
                <a:cxnLst>
                  <a:cxn ang="0">
                    <a:pos x="connsiteX0" y="connsiteY0"/>
                  </a:cxn>
                  <a:cxn ang="0">
                    <a:pos x="connsiteX1" y="connsiteY1"/>
                  </a:cxn>
                </a:cxnLst>
                <a:rect l="l" t="t" r="r" b="b"/>
                <a:pathLst>
                  <a:path w="3887" h="7356">
                    <a:moveTo>
                      <a:pt x="3887" y="735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78" name="Vrije vorm: vorm 5977">
                <a:extLst>
                  <a:ext uri="{FF2B5EF4-FFF2-40B4-BE49-F238E27FC236}">
                    <a16:creationId xmlns:a16="http://schemas.microsoft.com/office/drawing/2014/main" id="{717FEE4B-3DFD-4B29-9D99-CEE9F76169F0}"/>
                  </a:ext>
                </a:extLst>
              </p:cNvPr>
              <p:cNvSpPr/>
              <p:nvPr/>
            </p:nvSpPr>
            <p:spPr>
              <a:xfrm>
                <a:off x="7596613" y="2721508"/>
                <a:ext cx="8073" cy="9927"/>
              </a:xfrm>
              <a:custGeom>
                <a:avLst/>
                <a:gdLst>
                  <a:gd name="connsiteX0" fmla="*/ 8074 w 8073"/>
                  <a:gd name="connsiteY0" fmla="*/ 9928 h 9927"/>
                  <a:gd name="connsiteX1" fmla="*/ 0 w 8073"/>
                  <a:gd name="connsiteY1" fmla="*/ 0 h 9927"/>
                </a:gdLst>
                <a:ahLst/>
                <a:cxnLst>
                  <a:cxn ang="0">
                    <a:pos x="connsiteX0" y="connsiteY0"/>
                  </a:cxn>
                  <a:cxn ang="0">
                    <a:pos x="connsiteX1" y="connsiteY1"/>
                  </a:cxn>
                </a:cxnLst>
                <a:rect l="l" t="t" r="r" b="b"/>
                <a:pathLst>
                  <a:path w="8073" h="9927">
                    <a:moveTo>
                      <a:pt x="8074" y="992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79" name="Vrije vorm: vorm 5978">
                <a:extLst>
                  <a:ext uri="{FF2B5EF4-FFF2-40B4-BE49-F238E27FC236}">
                    <a16:creationId xmlns:a16="http://schemas.microsoft.com/office/drawing/2014/main" id="{4D6B81F1-7E09-49BB-805F-0C2F40DCEAF7}"/>
                  </a:ext>
                </a:extLst>
              </p:cNvPr>
              <p:cNvSpPr/>
              <p:nvPr/>
            </p:nvSpPr>
            <p:spPr>
              <a:xfrm>
                <a:off x="7573049" y="2667502"/>
                <a:ext cx="16985" cy="11004"/>
              </a:xfrm>
              <a:custGeom>
                <a:avLst/>
                <a:gdLst>
                  <a:gd name="connsiteX0" fmla="*/ 16985 w 16985"/>
                  <a:gd name="connsiteY0" fmla="*/ 0 h 11004"/>
                  <a:gd name="connsiteX1" fmla="*/ 0 w 16985"/>
                  <a:gd name="connsiteY1" fmla="*/ 11004 h 11004"/>
                </a:gdLst>
                <a:ahLst/>
                <a:cxnLst>
                  <a:cxn ang="0">
                    <a:pos x="connsiteX0" y="connsiteY0"/>
                  </a:cxn>
                  <a:cxn ang="0">
                    <a:pos x="connsiteX1" y="connsiteY1"/>
                  </a:cxn>
                </a:cxnLst>
                <a:rect l="l" t="t" r="r" b="b"/>
                <a:pathLst>
                  <a:path w="16985" h="11004">
                    <a:moveTo>
                      <a:pt x="16985" y="0"/>
                    </a:moveTo>
                    <a:lnTo>
                      <a:pt x="0" y="11004"/>
                    </a:lnTo>
                  </a:path>
                </a:pathLst>
              </a:custGeom>
              <a:ln w="6350" cap="rnd">
                <a:solidFill>
                  <a:schemeClr val="bg1">
                    <a:alpha val="80000"/>
                  </a:schemeClr>
                </a:solidFill>
                <a:prstDash val="solid"/>
                <a:round/>
              </a:ln>
            </p:spPr>
            <p:txBody>
              <a:bodyPr rtlCol="0" anchor="ctr"/>
              <a:lstStyle/>
              <a:p>
                <a:endParaRPr lang="en-GB"/>
              </a:p>
            </p:txBody>
          </p:sp>
          <p:sp>
            <p:nvSpPr>
              <p:cNvPr id="5980" name="Vrije vorm: vorm 5979">
                <a:extLst>
                  <a:ext uri="{FF2B5EF4-FFF2-40B4-BE49-F238E27FC236}">
                    <a16:creationId xmlns:a16="http://schemas.microsoft.com/office/drawing/2014/main" id="{A736521F-4791-4A15-B445-2134A9EAF529}"/>
                  </a:ext>
                </a:extLst>
              </p:cNvPr>
              <p:cNvSpPr/>
              <p:nvPr/>
            </p:nvSpPr>
            <p:spPr>
              <a:xfrm>
                <a:off x="7586625" y="2656856"/>
                <a:ext cx="3409" cy="10645"/>
              </a:xfrm>
              <a:custGeom>
                <a:avLst/>
                <a:gdLst>
                  <a:gd name="connsiteX0" fmla="*/ 3409 w 3409"/>
                  <a:gd name="connsiteY0" fmla="*/ 10646 h 10645"/>
                  <a:gd name="connsiteX1" fmla="*/ 0 w 3409"/>
                  <a:gd name="connsiteY1" fmla="*/ 0 h 10645"/>
                </a:gdLst>
                <a:ahLst/>
                <a:cxnLst>
                  <a:cxn ang="0">
                    <a:pos x="connsiteX0" y="connsiteY0"/>
                  </a:cxn>
                  <a:cxn ang="0">
                    <a:pos x="connsiteX1" y="connsiteY1"/>
                  </a:cxn>
                </a:cxnLst>
                <a:rect l="l" t="t" r="r" b="b"/>
                <a:pathLst>
                  <a:path w="3409" h="10645">
                    <a:moveTo>
                      <a:pt x="3409" y="1064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81" name="Vrije vorm: vorm 5980">
                <a:extLst>
                  <a:ext uri="{FF2B5EF4-FFF2-40B4-BE49-F238E27FC236}">
                    <a16:creationId xmlns:a16="http://schemas.microsoft.com/office/drawing/2014/main" id="{87DF8510-D3A7-4435-8B87-2269809402D2}"/>
                  </a:ext>
                </a:extLst>
              </p:cNvPr>
              <p:cNvSpPr/>
              <p:nvPr/>
            </p:nvSpPr>
            <p:spPr>
              <a:xfrm>
                <a:off x="7577295" y="2667502"/>
                <a:ext cx="12738" cy="837"/>
              </a:xfrm>
              <a:custGeom>
                <a:avLst/>
                <a:gdLst>
                  <a:gd name="connsiteX0" fmla="*/ 12739 w 12738"/>
                  <a:gd name="connsiteY0" fmla="*/ 0 h 837"/>
                  <a:gd name="connsiteX1" fmla="*/ 0 w 12738"/>
                  <a:gd name="connsiteY1" fmla="*/ 837 h 837"/>
                </a:gdLst>
                <a:ahLst/>
                <a:cxnLst>
                  <a:cxn ang="0">
                    <a:pos x="connsiteX0" y="connsiteY0"/>
                  </a:cxn>
                  <a:cxn ang="0">
                    <a:pos x="connsiteX1" y="connsiteY1"/>
                  </a:cxn>
                </a:cxnLst>
                <a:rect l="l" t="t" r="r" b="b"/>
                <a:pathLst>
                  <a:path w="12738" h="837">
                    <a:moveTo>
                      <a:pt x="12739" y="0"/>
                    </a:moveTo>
                    <a:lnTo>
                      <a:pt x="0" y="837"/>
                    </a:lnTo>
                  </a:path>
                </a:pathLst>
              </a:custGeom>
              <a:ln w="6350" cap="rnd">
                <a:solidFill>
                  <a:schemeClr val="bg1">
                    <a:alpha val="80000"/>
                  </a:schemeClr>
                </a:solidFill>
                <a:prstDash val="solid"/>
                <a:round/>
              </a:ln>
            </p:spPr>
            <p:txBody>
              <a:bodyPr rtlCol="0" anchor="ctr"/>
              <a:lstStyle/>
              <a:p>
                <a:endParaRPr lang="en-GB"/>
              </a:p>
            </p:txBody>
          </p:sp>
          <p:sp>
            <p:nvSpPr>
              <p:cNvPr id="5982" name="Vrije vorm: vorm 5981">
                <a:extLst>
                  <a:ext uri="{FF2B5EF4-FFF2-40B4-BE49-F238E27FC236}">
                    <a16:creationId xmlns:a16="http://schemas.microsoft.com/office/drawing/2014/main" id="{1A83F5A4-418C-41F3-98FC-36E537848C71}"/>
                  </a:ext>
                </a:extLst>
              </p:cNvPr>
              <p:cNvSpPr/>
              <p:nvPr/>
            </p:nvSpPr>
            <p:spPr>
              <a:xfrm>
                <a:off x="7572929" y="2691724"/>
                <a:ext cx="10406" cy="9270"/>
              </a:xfrm>
              <a:custGeom>
                <a:avLst/>
                <a:gdLst>
                  <a:gd name="connsiteX0" fmla="*/ 10407 w 10406"/>
                  <a:gd name="connsiteY0" fmla="*/ 9270 h 9270"/>
                  <a:gd name="connsiteX1" fmla="*/ 0 w 10406"/>
                  <a:gd name="connsiteY1" fmla="*/ 0 h 9270"/>
                </a:gdLst>
                <a:ahLst/>
                <a:cxnLst>
                  <a:cxn ang="0">
                    <a:pos x="connsiteX0" y="connsiteY0"/>
                  </a:cxn>
                  <a:cxn ang="0">
                    <a:pos x="connsiteX1" y="connsiteY1"/>
                  </a:cxn>
                </a:cxnLst>
                <a:rect l="l" t="t" r="r" b="b"/>
                <a:pathLst>
                  <a:path w="10406" h="9270">
                    <a:moveTo>
                      <a:pt x="10407" y="927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83" name="Vrije vorm: vorm 5982">
                <a:extLst>
                  <a:ext uri="{FF2B5EF4-FFF2-40B4-BE49-F238E27FC236}">
                    <a16:creationId xmlns:a16="http://schemas.microsoft.com/office/drawing/2014/main" id="{832C87EC-64EB-4270-B39E-03826AA14856}"/>
                  </a:ext>
                </a:extLst>
              </p:cNvPr>
              <p:cNvSpPr/>
              <p:nvPr/>
            </p:nvSpPr>
            <p:spPr>
              <a:xfrm>
                <a:off x="7565214" y="2699439"/>
                <a:ext cx="18121" cy="1554"/>
              </a:xfrm>
              <a:custGeom>
                <a:avLst/>
                <a:gdLst>
                  <a:gd name="connsiteX0" fmla="*/ 18122 w 18121"/>
                  <a:gd name="connsiteY0" fmla="*/ 1555 h 1554"/>
                  <a:gd name="connsiteX1" fmla="*/ 0 w 18121"/>
                  <a:gd name="connsiteY1" fmla="*/ 0 h 1554"/>
                </a:gdLst>
                <a:ahLst/>
                <a:cxnLst>
                  <a:cxn ang="0">
                    <a:pos x="connsiteX0" y="connsiteY0"/>
                  </a:cxn>
                  <a:cxn ang="0">
                    <a:pos x="connsiteX1" y="connsiteY1"/>
                  </a:cxn>
                </a:cxnLst>
                <a:rect l="l" t="t" r="r" b="b"/>
                <a:pathLst>
                  <a:path w="18121" h="1554">
                    <a:moveTo>
                      <a:pt x="18122" y="1555"/>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84" name="Vrije vorm: vorm 5983">
                <a:extLst>
                  <a:ext uri="{FF2B5EF4-FFF2-40B4-BE49-F238E27FC236}">
                    <a16:creationId xmlns:a16="http://schemas.microsoft.com/office/drawing/2014/main" id="{F0E63352-452C-486E-8105-C077D23D99D9}"/>
                  </a:ext>
                </a:extLst>
              </p:cNvPr>
              <p:cNvSpPr/>
              <p:nvPr/>
            </p:nvSpPr>
            <p:spPr>
              <a:xfrm>
                <a:off x="7583336" y="2684666"/>
                <a:ext cx="9509" cy="16327"/>
              </a:xfrm>
              <a:custGeom>
                <a:avLst/>
                <a:gdLst>
                  <a:gd name="connsiteX0" fmla="*/ 0 w 9509"/>
                  <a:gd name="connsiteY0" fmla="*/ 16327 h 16327"/>
                  <a:gd name="connsiteX1" fmla="*/ 9509 w 9509"/>
                  <a:gd name="connsiteY1" fmla="*/ 0 h 16327"/>
                </a:gdLst>
                <a:ahLst/>
                <a:cxnLst>
                  <a:cxn ang="0">
                    <a:pos x="connsiteX0" y="connsiteY0"/>
                  </a:cxn>
                  <a:cxn ang="0">
                    <a:pos x="connsiteX1" y="connsiteY1"/>
                  </a:cxn>
                </a:cxnLst>
                <a:rect l="l" t="t" r="r" b="b"/>
                <a:pathLst>
                  <a:path w="9509" h="16327">
                    <a:moveTo>
                      <a:pt x="0" y="16327"/>
                    </a:moveTo>
                    <a:lnTo>
                      <a:pt x="9509" y="0"/>
                    </a:lnTo>
                  </a:path>
                </a:pathLst>
              </a:custGeom>
              <a:ln w="6350" cap="rnd">
                <a:solidFill>
                  <a:schemeClr val="bg1">
                    <a:alpha val="80000"/>
                  </a:schemeClr>
                </a:solidFill>
                <a:prstDash val="solid"/>
                <a:round/>
              </a:ln>
            </p:spPr>
            <p:txBody>
              <a:bodyPr rtlCol="0" anchor="ctr"/>
              <a:lstStyle/>
              <a:p>
                <a:endParaRPr lang="en-GB"/>
              </a:p>
            </p:txBody>
          </p:sp>
          <p:sp>
            <p:nvSpPr>
              <p:cNvPr id="5985" name="Vrije vorm: vorm 5984">
                <a:extLst>
                  <a:ext uri="{FF2B5EF4-FFF2-40B4-BE49-F238E27FC236}">
                    <a16:creationId xmlns:a16="http://schemas.microsoft.com/office/drawing/2014/main" id="{B308DA0F-548A-4E62-A559-DBCAEEAB731E}"/>
                  </a:ext>
                </a:extLst>
              </p:cNvPr>
              <p:cNvSpPr/>
              <p:nvPr/>
            </p:nvSpPr>
            <p:spPr>
              <a:xfrm>
                <a:off x="7565633" y="2710862"/>
                <a:ext cx="3050" cy="5562"/>
              </a:xfrm>
              <a:custGeom>
                <a:avLst/>
                <a:gdLst>
                  <a:gd name="connsiteX0" fmla="*/ 3051 w 3050"/>
                  <a:gd name="connsiteY0" fmla="*/ 0 h 5562"/>
                  <a:gd name="connsiteX1" fmla="*/ 0 w 3050"/>
                  <a:gd name="connsiteY1" fmla="*/ 5562 h 5562"/>
                </a:gdLst>
                <a:ahLst/>
                <a:cxnLst>
                  <a:cxn ang="0">
                    <a:pos x="connsiteX0" y="connsiteY0"/>
                  </a:cxn>
                  <a:cxn ang="0">
                    <a:pos x="connsiteX1" y="connsiteY1"/>
                  </a:cxn>
                </a:cxnLst>
                <a:rect l="l" t="t" r="r" b="b"/>
                <a:pathLst>
                  <a:path w="3050" h="5562">
                    <a:moveTo>
                      <a:pt x="3051" y="0"/>
                    </a:moveTo>
                    <a:lnTo>
                      <a:pt x="0" y="5562"/>
                    </a:lnTo>
                  </a:path>
                </a:pathLst>
              </a:custGeom>
              <a:ln w="6350" cap="rnd">
                <a:solidFill>
                  <a:schemeClr val="bg1">
                    <a:alpha val="80000"/>
                  </a:schemeClr>
                </a:solidFill>
                <a:prstDash val="solid"/>
                <a:round/>
              </a:ln>
            </p:spPr>
            <p:txBody>
              <a:bodyPr rtlCol="0" anchor="ctr"/>
              <a:lstStyle/>
              <a:p>
                <a:endParaRPr lang="en-GB"/>
              </a:p>
            </p:txBody>
          </p:sp>
          <p:sp>
            <p:nvSpPr>
              <p:cNvPr id="5986" name="Vrije vorm: vorm 5985">
                <a:extLst>
                  <a:ext uri="{FF2B5EF4-FFF2-40B4-BE49-F238E27FC236}">
                    <a16:creationId xmlns:a16="http://schemas.microsoft.com/office/drawing/2014/main" id="{7823E672-DA45-4120-9990-35784B42A147}"/>
                  </a:ext>
                </a:extLst>
              </p:cNvPr>
              <p:cNvSpPr/>
              <p:nvPr/>
            </p:nvSpPr>
            <p:spPr>
              <a:xfrm>
                <a:off x="7565633" y="2716424"/>
                <a:ext cx="7176" cy="956"/>
              </a:xfrm>
              <a:custGeom>
                <a:avLst/>
                <a:gdLst>
                  <a:gd name="connsiteX0" fmla="*/ 7177 w 7176"/>
                  <a:gd name="connsiteY0" fmla="*/ 957 h 956"/>
                  <a:gd name="connsiteX1" fmla="*/ 0 w 7176"/>
                  <a:gd name="connsiteY1" fmla="*/ 0 h 956"/>
                </a:gdLst>
                <a:ahLst/>
                <a:cxnLst>
                  <a:cxn ang="0">
                    <a:pos x="connsiteX0" y="connsiteY0"/>
                  </a:cxn>
                  <a:cxn ang="0">
                    <a:pos x="connsiteX1" y="connsiteY1"/>
                  </a:cxn>
                </a:cxnLst>
                <a:rect l="l" t="t" r="r" b="b"/>
                <a:pathLst>
                  <a:path w="7176" h="956">
                    <a:moveTo>
                      <a:pt x="7177" y="95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87" name="Vrije vorm: vorm 5986">
                <a:extLst>
                  <a:ext uri="{FF2B5EF4-FFF2-40B4-BE49-F238E27FC236}">
                    <a16:creationId xmlns:a16="http://schemas.microsoft.com/office/drawing/2014/main" id="{EB1A923E-0703-4BD9-A9B9-3BDE4A3CF43D}"/>
                  </a:ext>
                </a:extLst>
              </p:cNvPr>
              <p:cNvSpPr/>
              <p:nvPr/>
            </p:nvSpPr>
            <p:spPr>
              <a:xfrm>
                <a:off x="7665272" y="2665588"/>
                <a:ext cx="14353" cy="10526"/>
              </a:xfrm>
              <a:custGeom>
                <a:avLst/>
                <a:gdLst>
                  <a:gd name="connsiteX0" fmla="*/ 0 w 14353"/>
                  <a:gd name="connsiteY0" fmla="*/ 0 h 10526"/>
                  <a:gd name="connsiteX1" fmla="*/ 14354 w 14353"/>
                  <a:gd name="connsiteY1" fmla="*/ 10526 h 10526"/>
                </a:gdLst>
                <a:ahLst/>
                <a:cxnLst>
                  <a:cxn ang="0">
                    <a:pos x="connsiteX0" y="connsiteY0"/>
                  </a:cxn>
                  <a:cxn ang="0">
                    <a:pos x="connsiteX1" y="connsiteY1"/>
                  </a:cxn>
                </a:cxnLst>
                <a:rect l="l" t="t" r="r" b="b"/>
                <a:pathLst>
                  <a:path w="14353" h="10526">
                    <a:moveTo>
                      <a:pt x="0" y="0"/>
                    </a:moveTo>
                    <a:lnTo>
                      <a:pt x="14354" y="10526"/>
                    </a:lnTo>
                  </a:path>
                </a:pathLst>
              </a:custGeom>
              <a:ln w="6350" cap="rnd">
                <a:solidFill>
                  <a:schemeClr val="bg1">
                    <a:alpha val="80000"/>
                  </a:schemeClr>
                </a:solidFill>
                <a:prstDash val="solid"/>
                <a:round/>
              </a:ln>
            </p:spPr>
            <p:txBody>
              <a:bodyPr rtlCol="0" anchor="ctr"/>
              <a:lstStyle/>
              <a:p>
                <a:endParaRPr lang="en-GB"/>
              </a:p>
            </p:txBody>
          </p:sp>
          <p:sp>
            <p:nvSpPr>
              <p:cNvPr id="5988" name="Vrije vorm: vorm 5987">
                <a:extLst>
                  <a:ext uri="{FF2B5EF4-FFF2-40B4-BE49-F238E27FC236}">
                    <a16:creationId xmlns:a16="http://schemas.microsoft.com/office/drawing/2014/main" id="{7FDC14E2-0739-4155-B443-9D82858652C5}"/>
                  </a:ext>
                </a:extLst>
              </p:cNvPr>
              <p:cNvSpPr/>
              <p:nvPr/>
            </p:nvSpPr>
            <p:spPr>
              <a:xfrm>
                <a:off x="7655463" y="2649141"/>
                <a:ext cx="9808" cy="16446"/>
              </a:xfrm>
              <a:custGeom>
                <a:avLst/>
                <a:gdLst>
                  <a:gd name="connsiteX0" fmla="*/ 9808 w 9808"/>
                  <a:gd name="connsiteY0" fmla="*/ 16447 h 16446"/>
                  <a:gd name="connsiteX1" fmla="*/ 0 w 9808"/>
                  <a:gd name="connsiteY1" fmla="*/ 0 h 16446"/>
                </a:gdLst>
                <a:ahLst/>
                <a:cxnLst>
                  <a:cxn ang="0">
                    <a:pos x="connsiteX0" y="connsiteY0"/>
                  </a:cxn>
                  <a:cxn ang="0">
                    <a:pos x="connsiteX1" y="connsiteY1"/>
                  </a:cxn>
                </a:cxnLst>
                <a:rect l="l" t="t" r="r" b="b"/>
                <a:pathLst>
                  <a:path w="9808" h="16446">
                    <a:moveTo>
                      <a:pt x="9808" y="1644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89" name="Vrije vorm: vorm 5988">
                <a:extLst>
                  <a:ext uri="{FF2B5EF4-FFF2-40B4-BE49-F238E27FC236}">
                    <a16:creationId xmlns:a16="http://schemas.microsoft.com/office/drawing/2014/main" id="{D5C6D1B4-EB89-4D10-A6A6-64A3CD523B54}"/>
                  </a:ext>
                </a:extLst>
              </p:cNvPr>
              <p:cNvSpPr/>
              <p:nvPr/>
            </p:nvSpPr>
            <p:spPr>
              <a:xfrm>
                <a:off x="7588240" y="2691425"/>
                <a:ext cx="8552" cy="16805"/>
              </a:xfrm>
              <a:custGeom>
                <a:avLst/>
                <a:gdLst>
                  <a:gd name="connsiteX0" fmla="*/ 8552 w 8552"/>
                  <a:gd name="connsiteY0" fmla="*/ 0 h 16805"/>
                  <a:gd name="connsiteX1" fmla="*/ 0 w 8552"/>
                  <a:gd name="connsiteY1" fmla="*/ 16806 h 16805"/>
                </a:gdLst>
                <a:ahLst/>
                <a:cxnLst>
                  <a:cxn ang="0">
                    <a:pos x="connsiteX0" y="connsiteY0"/>
                  </a:cxn>
                  <a:cxn ang="0">
                    <a:pos x="connsiteX1" y="connsiteY1"/>
                  </a:cxn>
                </a:cxnLst>
                <a:rect l="l" t="t" r="r" b="b"/>
                <a:pathLst>
                  <a:path w="8552" h="16805">
                    <a:moveTo>
                      <a:pt x="8552" y="0"/>
                    </a:moveTo>
                    <a:lnTo>
                      <a:pt x="0" y="16806"/>
                    </a:lnTo>
                  </a:path>
                </a:pathLst>
              </a:custGeom>
              <a:ln w="6350" cap="rnd">
                <a:solidFill>
                  <a:schemeClr val="bg1">
                    <a:alpha val="80000"/>
                  </a:schemeClr>
                </a:solidFill>
                <a:prstDash val="solid"/>
                <a:round/>
              </a:ln>
            </p:spPr>
            <p:txBody>
              <a:bodyPr rtlCol="0" anchor="ctr"/>
              <a:lstStyle/>
              <a:p>
                <a:endParaRPr lang="en-GB"/>
              </a:p>
            </p:txBody>
          </p:sp>
          <p:sp>
            <p:nvSpPr>
              <p:cNvPr id="5990" name="Vrije vorm: vorm 5989">
                <a:extLst>
                  <a:ext uri="{FF2B5EF4-FFF2-40B4-BE49-F238E27FC236}">
                    <a16:creationId xmlns:a16="http://schemas.microsoft.com/office/drawing/2014/main" id="{D59CD844-1A95-489A-A1C1-58D6FB96BFAB}"/>
                  </a:ext>
                </a:extLst>
              </p:cNvPr>
              <p:cNvSpPr/>
              <p:nvPr/>
            </p:nvSpPr>
            <p:spPr>
              <a:xfrm>
                <a:off x="7596613" y="2691425"/>
                <a:ext cx="179" cy="30083"/>
              </a:xfrm>
              <a:custGeom>
                <a:avLst/>
                <a:gdLst>
                  <a:gd name="connsiteX0" fmla="*/ 179 w 179"/>
                  <a:gd name="connsiteY0" fmla="*/ 0 h 30083"/>
                  <a:gd name="connsiteX1" fmla="*/ 0 w 179"/>
                  <a:gd name="connsiteY1" fmla="*/ 30083 h 30083"/>
                </a:gdLst>
                <a:ahLst/>
                <a:cxnLst>
                  <a:cxn ang="0">
                    <a:pos x="connsiteX0" y="connsiteY0"/>
                  </a:cxn>
                  <a:cxn ang="0">
                    <a:pos x="connsiteX1" y="connsiteY1"/>
                  </a:cxn>
                </a:cxnLst>
                <a:rect l="l" t="t" r="r" b="b"/>
                <a:pathLst>
                  <a:path w="179" h="30083">
                    <a:moveTo>
                      <a:pt x="179" y="0"/>
                    </a:moveTo>
                    <a:lnTo>
                      <a:pt x="0" y="30083"/>
                    </a:lnTo>
                  </a:path>
                </a:pathLst>
              </a:custGeom>
              <a:ln w="6350" cap="rnd">
                <a:solidFill>
                  <a:schemeClr val="bg1">
                    <a:alpha val="80000"/>
                  </a:schemeClr>
                </a:solidFill>
                <a:prstDash val="solid"/>
                <a:round/>
              </a:ln>
            </p:spPr>
            <p:txBody>
              <a:bodyPr rtlCol="0" anchor="ctr"/>
              <a:lstStyle/>
              <a:p>
                <a:endParaRPr lang="en-GB"/>
              </a:p>
            </p:txBody>
          </p:sp>
          <p:sp>
            <p:nvSpPr>
              <p:cNvPr id="5991" name="Vrije vorm: vorm 5990">
                <a:extLst>
                  <a:ext uri="{FF2B5EF4-FFF2-40B4-BE49-F238E27FC236}">
                    <a16:creationId xmlns:a16="http://schemas.microsoft.com/office/drawing/2014/main" id="{8C1289FE-967C-4F6A-B0C7-81E98A2EEE2E}"/>
                  </a:ext>
                </a:extLst>
              </p:cNvPr>
              <p:cNvSpPr/>
              <p:nvPr/>
            </p:nvSpPr>
            <p:spPr>
              <a:xfrm>
                <a:off x="7621672" y="2630062"/>
                <a:ext cx="8253" cy="4365"/>
              </a:xfrm>
              <a:custGeom>
                <a:avLst/>
                <a:gdLst>
                  <a:gd name="connsiteX0" fmla="*/ 0 w 8253"/>
                  <a:gd name="connsiteY0" fmla="*/ 0 h 4365"/>
                  <a:gd name="connsiteX1" fmla="*/ 8254 w 8253"/>
                  <a:gd name="connsiteY1" fmla="*/ 4366 h 4365"/>
                </a:gdLst>
                <a:ahLst/>
                <a:cxnLst>
                  <a:cxn ang="0">
                    <a:pos x="connsiteX0" y="connsiteY0"/>
                  </a:cxn>
                  <a:cxn ang="0">
                    <a:pos x="connsiteX1" y="connsiteY1"/>
                  </a:cxn>
                </a:cxnLst>
                <a:rect l="l" t="t" r="r" b="b"/>
                <a:pathLst>
                  <a:path w="8253" h="4365">
                    <a:moveTo>
                      <a:pt x="0" y="0"/>
                    </a:moveTo>
                    <a:lnTo>
                      <a:pt x="8254" y="4366"/>
                    </a:lnTo>
                  </a:path>
                </a:pathLst>
              </a:custGeom>
              <a:ln w="6350" cap="rnd">
                <a:solidFill>
                  <a:schemeClr val="bg1">
                    <a:alpha val="80000"/>
                  </a:schemeClr>
                </a:solidFill>
                <a:prstDash val="solid"/>
                <a:round/>
              </a:ln>
            </p:spPr>
            <p:txBody>
              <a:bodyPr rtlCol="0" anchor="ctr"/>
              <a:lstStyle/>
              <a:p>
                <a:endParaRPr lang="en-GB"/>
              </a:p>
            </p:txBody>
          </p:sp>
          <p:sp>
            <p:nvSpPr>
              <p:cNvPr id="5992" name="Vrije vorm: vorm 5991">
                <a:extLst>
                  <a:ext uri="{FF2B5EF4-FFF2-40B4-BE49-F238E27FC236}">
                    <a16:creationId xmlns:a16="http://schemas.microsoft.com/office/drawing/2014/main" id="{F0844C9B-B8C7-4276-B050-98DFC1154967}"/>
                  </a:ext>
                </a:extLst>
              </p:cNvPr>
              <p:cNvSpPr/>
              <p:nvPr/>
            </p:nvSpPr>
            <p:spPr>
              <a:xfrm>
                <a:off x="7516711" y="2719534"/>
                <a:ext cx="2631" cy="4126"/>
              </a:xfrm>
              <a:custGeom>
                <a:avLst/>
                <a:gdLst>
                  <a:gd name="connsiteX0" fmla="*/ 2632 w 2631"/>
                  <a:gd name="connsiteY0" fmla="*/ 4127 h 4126"/>
                  <a:gd name="connsiteX1" fmla="*/ 0 w 2631"/>
                  <a:gd name="connsiteY1" fmla="*/ 0 h 4126"/>
                </a:gdLst>
                <a:ahLst/>
                <a:cxnLst>
                  <a:cxn ang="0">
                    <a:pos x="connsiteX0" y="connsiteY0"/>
                  </a:cxn>
                  <a:cxn ang="0">
                    <a:pos x="connsiteX1" y="connsiteY1"/>
                  </a:cxn>
                </a:cxnLst>
                <a:rect l="l" t="t" r="r" b="b"/>
                <a:pathLst>
                  <a:path w="2631" h="4126">
                    <a:moveTo>
                      <a:pt x="2632" y="412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93" name="Vrije vorm: vorm 5992">
                <a:extLst>
                  <a:ext uri="{FF2B5EF4-FFF2-40B4-BE49-F238E27FC236}">
                    <a16:creationId xmlns:a16="http://schemas.microsoft.com/office/drawing/2014/main" id="{024A524D-4DEA-4010-BCF6-5115C6604683}"/>
                  </a:ext>
                </a:extLst>
              </p:cNvPr>
              <p:cNvSpPr/>
              <p:nvPr/>
            </p:nvSpPr>
            <p:spPr>
              <a:xfrm>
                <a:off x="7519342" y="2706974"/>
                <a:ext cx="18958" cy="16686"/>
              </a:xfrm>
              <a:custGeom>
                <a:avLst/>
                <a:gdLst>
                  <a:gd name="connsiteX0" fmla="*/ 0 w 18958"/>
                  <a:gd name="connsiteY0" fmla="*/ 16686 h 16686"/>
                  <a:gd name="connsiteX1" fmla="*/ 18959 w 18958"/>
                  <a:gd name="connsiteY1" fmla="*/ 0 h 16686"/>
                </a:gdLst>
                <a:ahLst/>
                <a:cxnLst>
                  <a:cxn ang="0">
                    <a:pos x="connsiteX0" y="connsiteY0"/>
                  </a:cxn>
                  <a:cxn ang="0">
                    <a:pos x="connsiteX1" y="connsiteY1"/>
                  </a:cxn>
                </a:cxnLst>
                <a:rect l="l" t="t" r="r" b="b"/>
                <a:pathLst>
                  <a:path w="18958" h="16686">
                    <a:moveTo>
                      <a:pt x="0" y="16686"/>
                    </a:moveTo>
                    <a:lnTo>
                      <a:pt x="18959" y="0"/>
                    </a:lnTo>
                  </a:path>
                </a:pathLst>
              </a:custGeom>
              <a:ln w="6350" cap="rnd">
                <a:solidFill>
                  <a:schemeClr val="bg1">
                    <a:alpha val="80000"/>
                  </a:schemeClr>
                </a:solidFill>
                <a:prstDash val="solid"/>
                <a:round/>
              </a:ln>
            </p:spPr>
            <p:txBody>
              <a:bodyPr rtlCol="0" anchor="ctr"/>
              <a:lstStyle/>
              <a:p>
                <a:endParaRPr lang="en-GB"/>
              </a:p>
            </p:txBody>
          </p:sp>
          <p:sp>
            <p:nvSpPr>
              <p:cNvPr id="5994" name="Vrije vorm: vorm 5993">
                <a:extLst>
                  <a:ext uri="{FF2B5EF4-FFF2-40B4-BE49-F238E27FC236}">
                    <a16:creationId xmlns:a16="http://schemas.microsoft.com/office/drawing/2014/main" id="{93D0DA25-87D5-485E-99A4-5A9E2914D741}"/>
                  </a:ext>
                </a:extLst>
              </p:cNvPr>
              <p:cNvSpPr/>
              <p:nvPr/>
            </p:nvSpPr>
            <p:spPr>
              <a:xfrm>
                <a:off x="7720952" y="2745251"/>
                <a:ext cx="24879" cy="6877"/>
              </a:xfrm>
              <a:custGeom>
                <a:avLst/>
                <a:gdLst>
                  <a:gd name="connsiteX0" fmla="*/ 24880 w 24879"/>
                  <a:gd name="connsiteY0" fmla="*/ 6878 h 6877"/>
                  <a:gd name="connsiteX1" fmla="*/ 0 w 24879"/>
                  <a:gd name="connsiteY1" fmla="*/ 0 h 6877"/>
                </a:gdLst>
                <a:ahLst/>
                <a:cxnLst>
                  <a:cxn ang="0">
                    <a:pos x="connsiteX0" y="connsiteY0"/>
                  </a:cxn>
                  <a:cxn ang="0">
                    <a:pos x="connsiteX1" y="connsiteY1"/>
                  </a:cxn>
                </a:cxnLst>
                <a:rect l="l" t="t" r="r" b="b"/>
                <a:pathLst>
                  <a:path w="24879" h="6877">
                    <a:moveTo>
                      <a:pt x="24880" y="687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95" name="Vrije vorm: vorm 5994">
                <a:extLst>
                  <a:ext uri="{FF2B5EF4-FFF2-40B4-BE49-F238E27FC236}">
                    <a16:creationId xmlns:a16="http://schemas.microsoft.com/office/drawing/2014/main" id="{E9EE0A80-17CC-418A-B93B-CB349A33AA99}"/>
                  </a:ext>
                </a:extLst>
              </p:cNvPr>
              <p:cNvSpPr/>
              <p:nvPr/>
            </p:nvSpPr>
            <p:spPr>
              <a:xfrm>
                <a:off x="7731119" y="2740586"/>
                <a:ext cx="14712" cy="11542"/>
              </a:xfrm>
              <a:custGeom>
                <a:avLst/>
                <a:gdLst>
                  <a:gd name="connsiteX0" fmla="*/ 14713 w 14712"/>
                  <a:gd name="connsiteY0" fmla="*/ 11543 h 11542"/>
                  <a:gd name="connsiteX1" fmla="*/ 0 w 14712"/>
                  <a:gd name="connsiteY1" fmla="*/ 0 h 11542"/>
                </a:gdLst>
                <a:ahLst/>
                <a:cxnLst>
                  <a:cxn ang="0">
                    <a:pos x="connsiteX0" y="connsiteY0"/>
                  </a:cxn>
                  <a:cxn ang="0">
                    <a:pos x="connsiteX1" y="connsiteY1"/>
                  </a:cxn>
                </a:cxnLst>
                <a:rect l="l" t="t" r="r" b="b"/>
                <a:pathLst>
                  <a:path w="14712" h="11542">
                    <a:moveTo>
                      <a:pt x="14713" y="11543"/>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5996" name="Vrije vorm: vorm 5995">
                <a:extLst>
                  <a:ext uri="{FF2B5EF4-FFF2-40B4-BE49-F238E27FC236}">
                    <a16:creationId xmlns:a16="http://schemas.microsoft.com/office/drawing/2014/main" id="{B6BC2F88-FC9D-4F30-B210-DA746AFE6A76}"/>
                  </a:ext>
                </a:extLst>
              </p:cNvPr>
              <p:cNvSpPr/>
              <p:nvPr/>
            </p:nvSpPr>
            <p:spPr>
              <a:xfrm>
                <a:off x="7745832" y="2752129"/>
                <a:ext cx="3468" cy="538"/>
              </a:xfrm>
              <a:custGeom>
                <a:avLst/>
                <a:gdLst>
                  <a:gd name="connsiteX0" fmla="*/ 0 w 3468"/>
                  <a:gd name="connsiteY0" fmla="*/ 0 h 538"/>
                  <a:gd name="connsiteX1" fmla="*/ 3469 w 3468"/>
                  <a:gd name="connsiteY1" fmla="*/ 538 h 538"/>
                </a:gdLst>
                <a:ahLst/>
                <a:cxnLst>
                  <a:cxn ang="0">
                    <a:pos x="connsiteX0" y="connsiteY0"/>
                  </a:cxn>
                  <a:cxn ang="0">
                    <a:pos x="connsiteX1" y="connsiteY1"/>
                  </a:cxn>
                </a:cxnLst>
                <a:rect l="l" t="t" r="r" b="b"/>
                <a:pathLst>
                  <a:path w="3468" h="538">
                    <a:moveTo>
                      <a:pt x="0" y="0"/>
                    </a:moveTo>
                    <a:lnTo>
                      <a:pt x="3469" y="538"/>
                    </a:lnTo>
                  </a:path>
                </a:pathLst>
              </a:custGeom>
              <a:ln w="6350" cap="rnd">
                <a:solidFill>
                  <a:schemeClr val="bg1">
                    <a:alpha val="80000"/>
                  </a:schemeClr>
                </a:solidFill>
                <a:prstDash val="solid"/>
                <a:round/>
              </a:ln>
            </p:spPr>
            <p:txBody>
              <a:bodyPr rtlCol="0" anchor="ctr"/>
              <a:lstStyle/>
              <a:p>
                <a:endParaRPr lang="en-GB"/>
              </a:p>
            </p:txBody>
          </p:sp>
          <p:sp>
            <p:nvSpPr>
              <p:cNvPr id="5997" name="Vrije vorm: vorm 5996">
                <a:extLst>
                  <a:ext uri="{FF2B5EF4-FFF2-40B4-BE49-F238E27FC236}">
                    <a16:creationId xmlns:a16="http://schemas.microsoft.com/office/drawing/2014/main" id="{0E9EC01A-64A6-4EA5-9DD5-57FA0DA3C2EC}"/>
                  </a:ext>
                </a:extLst>
              </p:cNvPr>
              <p:cNvSpPr/>
              <p:nvPr/>
            </p:nvSpPr>
            <p:spPr>
              <a:xfrm>
                <a:off x="7745832" y="2752129"/>
                <a:ext cx="9270" cy="6937"/>
              </a:xfrm>
              <a:custGeom>
                <a:avLst/>
                <a:gdLst>
                  <a:gd name="connsiteX0" fmla="*/ 0 w 9270"/>
                  <a:gd name="connsiteY0" fmla="*/ 0 h 6937"/>
                  <a:gd name="connsiteX1" fmla="*/ 9270 w 9270"/>
                  <a:gd name="connsiteY1" fmla="*/ 6938 h 6937"/>
                </a:gdLst>
                <a:ahLst/>
                <a:cxnLst>
                  <a:cxn ang="0">
                    <a:pos x="connsiteX0" y="connsiteY0"/>
                  </a:cxn>
                  <a:cxn ang="0">
                    <a:pos x="connsiteX1" y="connsiteY1"/>
                  </a:cxn>
                </a:cxnLst>
                <a:rect l="l" t="t" r="r" b="b"/>
                <a:pathLst>
                  <a:path w="9270" h="6937">
                    <a:moveTo>
                      <a:pt x="0" y="0"/>
                    </a:moveTo>
                    <a:lnTo>
                      <a:pt x="9270" y="6938"/>
                    </a:lnTo>
                  </a:path>
                </a:pathLst>
              </a:custGeom>
              <a:ln w="6350" cap="rnd">
                <a:solidFill>
                  <a:schemeClr val="bg1">
                    <a:alpha val="80000"/>
                  </a:schemeClr>
                </a:solidFill>
                <a:prstDash val="solid"/>
                <a:round/>
              </a:ln>
            </p:spPr>
            <p:txBody>
              <a:bodyPr rtlCol="0" anchor="ctr"/>
              <a:lstStyle/>
              <a:p>
                <a:endParaRPr lang="en-GB"/>
              </a:p>
            </p:txBody>
          </p:sp>
          <p:sp>
            <p:nvSpPr>
              <p:cNvPr id="5998" name="Vrije vorm: vorm 5997">
                <a:extLst>
                  <a:ext uri="{FF2B5EF4-FFF2-40B4-BE49-F238E27FC236}">
                    <a16:creationId xmlns:a16="http://schemas.microsoft.com/office/drawing/2014/main" id="{596860B6-C712-4319-873A-B4F86C44BC97}"/>
                  </a:ext>
                </a:extLst>
              </p:cNvPr>
              <p:cNvSpPr/>
              <p:nvPr/>
            </p:nvSpPr>
            <p:spPr>
              <a:xfrm>
                <a:off x="7582558" y="2722165"/>
                <a:ext cx="7535" cy="358"/>
              </a:xfrm>
              <a:custGeom>
                <a:avLst/>
                <a:gdLst>
                  <a:gd name="connsiteX0" fmla="*/ 0 w 7535"/>
                  <a:gd name="connsiteY0" fmla="*/ 359 h 358"/>
                  <a:gd name="connsiteX1" fmla="*/ 7536 w 7535"/>
                  <a:gd name="connsiteY1" fmla="*/ 0 h 358"/>
                </a:gdLst>
                <a:ahLst/>
                <a:cxnLst>
                  <a:cxn ang="0">
                    <a:pos x="connsiteX0" y="connsiteY0"/>
                  </a:cxn>
                  <a:cxn ang="0">
                    <a:pos x="connsiteX1" y="connsiteY1"/>
                  </a:cxn>
                </a:cxnLst>
                <a:rect l="l" t="t" r="r" b="b"/>
                <a:pathLst>
                  <a:path w="7535" h="358">
                    <a:moveTo>
                      <a:pt x="0" y="359"/>
                    </a:moveTo>
                    <a:lnTo>
                      <a:pt x="7536" y="0"/>
                    </a:lnTo>
                  </a:path>
                </a:pathLst>
              </a:custGeom>
              <a:ln w="6350" cap="rnd">
                <a:solidFill>
                  <a:schemeClr val="bg1">
                    <a:alpha val="80000"/>
                  </a:schemeClr>
                </a:solidFill>
                <a:prstDash val="solid"/>
                <a:round/>
              </a:ln>
            </p:spPr>
            <p:txBody>
              <a:bodyPr rtlCol="0" anchor="ctr"/>
              <a:lstStyle/>
              <a:p>
                <a:endParaRPr lang="en-GB"/>
              </a:p>
            </p:txBody>
          </p:sp>
          <p:sp>
            <p:nvSpPr>
              <p:cNvPr id="5999" name="Vrije vorm: vorm 5998">
                <a:extLst>
                  <a:ext uri="{FF2B5EF4-FFF2-40B4-BE49-F238E27FC236}">
                    <a16:creationId xmlns:a16="http://schemas.microsoft.com/office/drawing/2014/main" id="{93DE3CD4-75C0-4D4C-B062-5A3050FF75CF}"/>
                  </a:ext>
                </a:extLst>
              </p:cNvPr>
              <p:cNvSpPr/>
              <p:nvPr/>
            </p:nvSpPr>
            <p:spPr>
              <a:xfrm>
                <a:off x="7574305" y="2721328"/>
                <a:ext cx="8253" cy="1196"/>
              </a:xfrm>
              <a:custGeom>
                <a:avLst/>
                <a:gdLst>
                  <a:gd name="connsiteX0" fmla="*/ 8253 w 8253"/>
                  <a:gd name="connsiteY0" fmla="*/ 1196 h 1196"/>
                  <a:gd name="connsiteX1" fmla="*/ 0 w 8253"/>
                  <a:gd name="connsiteY1" fmla="*/ 0 h 1196"/>
                </a:gdLst>
                <a:ahLst/>
                <a:cxnLst>
                  <a:cxn ang="0">
                    <a:pos x="connsiteX0" y="connsiteY0"/>
                  </a:cxn>
                  <a:cxn ang="0">
                    <a:pos x="connsiteX1" y="connsiteY1"/>
                  </a:cxn>
                </a:cxnLst>
                <a:rect l="l" t="t" r="r" b="b"/>
                <a:pathLst>
                  <a:path w="8253" h="1196">
                    <a:moveTo>
                      <a:pt x="8253" y="119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00" name="Vrije vorm: vorm 5999">
                <a:extLst>
                  <a:ext uri="{FF2B5EF4-FFF2-40B4-BE49-F238E27FC236}">
                    <a16:creationId xmlns:a16="http://schemas.microsoft.com/office/drawing/2014/main" id="{FF998A74-0AA0-4A50-B416-F4B8D3739945}"/>
                  </a:ext>
                </a:extLst>
              </p:cNvPr>
              <p:cNvSpPr/>
              <p:nvPr/>
            </p:nvSpPr>
            <p:spPr>
              <a:xfrm>
                <a:off x="7582558" y="2719833"/>
                <a:ext cx="7236" cy="2691"/>
              </a:xfrm>
              <a:custGeom>
                <a:avLst/>
                <a:gdLst>
                  <a:gd name="connsiteX0" fmla="*/ 0 w 7236"/>
                  <a:gd name="connsiteY0" fmla="*/ 2691 h 2691"/>
                  <a:gd name="connsiteX1" fmla="*/ 7236 w 7236"/>
                  <a:gd name="connsiteY1" fmla="*/ 0 h 2691"/>
                </a:gdLst>
                <a:ahLst/>
                <a:cxnLst>
                  <a:cxn ang="0">
                    <a:pos x="connsiteX0" y="connsiteY0"/>
                  </a:cxn>
                  <a:cxn ang="0">
                    <a:pos x="connsiteX1" y="connsiteY1"/>
                  </a:cxn>
                </a:cxnLst>
                <a:rect l="l" t="t" r="r" b="b"/>
                <a:pathLst>
                  <a:path w="7236" h="2691">
                    <a:moveTo>
                      <a:pt x="0" y="2691"/>
                    </a:moveTo>
                    <a:lnTo>
                      <a:pt x="7236" y="0"/>
                    </a:lnTo>
                  </a:path>
                </a:pathLst>
              </a:custGeom>
              <a:ln w="6350" cap="rnd">
                <a:solidFill>
                  <a:schemeClr val="bg1">
                    <a:alpha val="80000"/>
                  </a:schemeClr>
                </a:solidFill>
                <a:prstDash val="solid"/>
                <a:round/>
              </a:ln>
            </p:spPr>
            <p:txBody>
              <a:bodyPr rtlCol="0" anchor="ctr"/>
              <a:lstStyle/>
              <a:p>
                <a:endParaRPr lang="en-GB"/>
              </a:p>
            </p:txBody>
          </p:sp>
          <p:sp>
            <p:nvSpPr>
              <p:cNvPr id="6001" name="Vrije vorm: vorm 6000">
                <a:extLst>
                  <a:ext uri="{FF2B5EF4-FFF2-40B4-BE49-F238E27FC236}">
                    <a16:creationId xmlns:a16="http://schemas.microsoft.com/office/drawing/2014/main" id="{EB53FA75-1A35-40BA-BC27-60BE6EEA0274}"/>
                  </a:ext>
                </a:extLst>
              </p:cNvPr>
              <p:cNvSpPr/>
              <p:nvPr/>
            </p:nvSpPr>
            <p:spPr>
              <a:xfrm>
                <a:off x="7529210" y="2713972"/>
                <a:ext cx="33013" cy="28647"/>
              </a:xfrm>
              <a:custGeom>
                <a:avLst/>
                <a:gdLst>
                  <a:gd name="connsiteX0" fmla="*/ 0 w 33013"/>
                  <a:gd name="connsiteY0" fmla="*/ 28648 h 28647"/>
                  <a:gd name="connsiteX1" fmla="*/ 33013 w 33013"/>
                  <a:gd name="connsiteY1" fmla="*/ 0 h 28647"/>
                </a:gdLst>
                <a:ahLst/>
                <a:cxnLst>
                  <a:cxn ang="0">
                    <a:pos x="connsiteX0" y="connsiteY0"/>
                  </a:cxn>
                  <a:cxn ang="0">
                    <a:pos x="connsiteX1" y="connsiteY1"/>
                  </a:cxn>
                </a:cxnLst>
                <a:rect l="l" t="t" r="r" b="b"/>
                <a:pathLst>
                  <a:path w="33013" h="28647">
                    <a:moveTo>
                      <a:pt x="0" y="28648"/>
                    </a:moveTo>
                    <a:lnTo>
                      <a:pt x="33013" y="0"/>
                    </a:lnTo>
                  </a:path>
                </a:pathLst>
              </a:custGeom>
              <a:ln w="6350" cap="rnd">
                <a:solidFill>
                  <a:schemeClr val="bg1">
                    <a:alpha val="80000"/>
                  </a:schemeClr>
                </a:solidFill>
                <a:prstDash val="solid"/>
                <a:round/>
              </a:ln>
            </p:spPr>
            <p:txBody>
              <a:bodyPr rtlCol="0" anchor="ctr"/>
              <a:lstStyle/>
              <a:p>
                <a:endParaRPr lang="en-GB"/>
              </a:p>
            </p:txBody>
          </p:sp>
          <p:sp>
            <p:nvSpPr>
              <p:cNvPr id="6002" name="Vrije vorm: vorm 6001">
                <a:extLst>
                  <a:ext uri="{FF2B5EF4-FFF2-40B4-BE49-F238E27FC236}">
                    <a16:creationId xmlns:a16="http://schemas.microsoft.com/office/drawing/2014/main" id="{765FD4D3-69E9-4B88-A61E-991A9F13A5DD}"/>
                  </a:ext>
                </a:extLst>
              </p:cNvPr>
              <p:cNvSpPr/>
              <p:nvPr/>
            </p:nvSpPr>
            <p:spPr>
              <a:xfrm>
                <a:off x="7771250" y="2797941"/>
                <a:ext cx="4545" cy="31458"/>
              </a:xfrm>
              <a:custGeom>
                <a:avLst/>
                <a:gdLst>
                  <a:gd name="connsiteX0" fmla="*/ 0 w 4545"/>
                  <a:gd name="connsiteY0" fmla="*/ 31459 h 31458"/>
                  <a:gd name="connsiteX1" fmla="*/ 4545 w 4545"/>
                  <a:gd name="connsiteY1" fmla="*/ 0 h 31458"/>
                </a:gdLst>
                <a:ahLst/>
                <a:cxnLst>
                  <a:cxn ang="0">
                    <a:pos x="connsiteX0" y="connsiteY0"/>
                  </a:cxn>
                  <a:cxn ang="0">
                    <a:pos x="connsiteX1" y="connsiteY1"/>
                  </a:cxn>
                </a:cxnLst>
                <a:rect l="l" t="t" r="r" b="b"/>
                <a:pathLst>
                  <a:path w="4545" h="31458">
                    <a:moveTo>
                      <a:pt x="0" y="31459"/>
                    </a:moveTo>
                    <a:lnTo>
                      <a:pt x="4545" y="0"/>
                    </a:lnTo>
                  </a:path>
                </a:pathLst>
              </a:custGeom>
              <a:ln w="6350" cap="rnd">
                <a:solidFill>
                  <a:schemeClr val="bg1">
                    <a:alpha val="80000"/>
                  </a:schemeClr>
                </a:solidFill>
                <a:prstDash val="solid"/>
                <a:round/>
              </a:ln>
            </p:spPr>
            <p:txBody>
              <a:bodyPr rtlCol="0" anchor="ctr"/>
              <a:lstStyle/>
              <a:p>
                <a:endParaRPr lang="en-GB"/>
              </a:p>
            </p:txBody>
          </p:sp>
          <p:sp>
            <p:nvSpPr>
              <p:cNvPr id="6003" name="Vrije vorm: vorm 6002">
                <a:extLst>
                  <a:ext uri="{FF2B5EF4-FFF2-40B4-BE49-F238E27FC236}">
                    <a16:creationId xmlns:a16="http://schemas.microsoft.com/office/drawing/2014/main" id="{9F736E0B-11F4-4186-AE11-4A50CC1C8B2C}"/>
                  </a:ext>
                </a:extLst>
              </p:cNvPr>
              <p:cNvSpPr/>
              <p:nvPr/>
            </p:nvSpPr>
            <p:spPr>
              <a:xfrm>
                <a:off x="7594879" y="2837175"/>
                <a:ext cx="598" cy="20095"/>
              </a:xfrm>
              <a:custGeom>
                <a:avLst/>
                <a:gdLst>
                  <a:gd name="connsiteX0" fmla="*/ 598 w 598"/>
                  <a:gd name="connsiteY0" fmla="*/ 20095 h 20095"/>
                  <a:gd name="connsiteX1" fmla="*/ 0 w 598"/>
                  <a:gd name="connsiteY1" fmla="*/ 0 h 20095"/>
                </a:gdLst>
                <a:ahLst/>
                <a:cxnLst>
                  <a:cxn ang="0">
                    <a:pos x="connsiteX0" y="connsiteY0"/>
                  </a:cxn>
                  <a:cxn ang="0">
                    <a:pos x="connsiteX1" y="connsiteY1"/>
                  </a:cxn>
                </a:cxnLst>
                <a:rect l="l" t="t" r="r" b="b"/>
                <a:pathLst>
                  <a:path w="598" h="20095">
                    <a:moveTo>
                      <a:pt x="598" y="20095"/>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04" name="Vrije vorm: vorm 6003">
                <a:extLst>
                  <a:ext uri="{FF2B5EF4-FFF2-40B4-BE49-F238E27FC236}">
                    <a16:creationId xmlns:a16="http://schemas.microsoft.com/office/drawing/2014/main" id="{501A2106-9A32-4472-9D72-3FE6DBEAC816}"/>
                  </a:ext>
                </a:extLst>
              </p:cNvPr>
              <p:cNvSpPr/>
              <p:nvPr/>
            </p:nvSpPr>
            <p:spPr>
              <a:xfrm>
                <a:off x="7748643" y="2750275"/>
                <a:ext cx="239" cy="1734"/>
              </a:xfrm>
              <a:custGeom>
                <a:avLst/>
                <a:gdLst>
                  <a:gd name="connsiteX0" fmla="*/ 239 w 239"/>
                  <a:gd name="connsiteY0" fmla="*/ 0 h 1734"/>
                  <a:gd name="connsiteX1" fmla="*/ 0 w 239"/>
                  <a:gd name="connsiteY1" fmla="*/ 1734 h 1734"/>
                </a:gdLst>
                <a:ahLst/>
                <a:cxnLst>
                  <a:cxn ang="0">
                    <a:pos x="connsiteX0" y="connsiteY0"/>
                  </a:cxn>
                  <a:cxn ang="0">
                    <a:pos x="connsiteX1" y="connsiteY1"/>
                  </a:cxn>
                </a:cxnLst>
                <a:rect l="l" t="t" r="r" b="b"/>
                <a:pathLst>
                  <a:path w="239" h="1734">
                    <a:moveTo>
                      <a:pt x="239" y="0"/>
                    </a:moveTo>
                    <a:lnTo>
                      <a:pt x="0" y="1734"/>
                    </a:lnTo>
                  </a:path>
                </a:pathLst>
              </a:custGeom>
              <a:ln w="6350" cap="rnd">
                <a:solidFill>
                  <a:schemeClr val="bg1">
                    <a:alpha val="80000"/>
                  </a:schemeClr>
                </a:solidFill>
                <a:prstDash val="solid"/>
                <a:round/>
              </a:ln>
            </p:spPr>
            <p:txBody>
              <a:bodyPr rtlCol="0" anchor="ctr"/>
              <a:lstStyle/>
              <a:p>
                <a:endParaRPr lang="en-GB"/>
              </a:p>
            </p:txBody>
          </p:sp>
          <p:sp>
            <p:nvSpPr>
              <p:cNvPr id="6005" name="Vrije vorm: vorm 6004">
                <a:extLst>
                  <a:ext uri="{FF2B5EF4-FFF2-40B4-BE49-F238E27FC236}">
                    <a16:creationId xmlns:a16="http://schemas.microsoft.com/office/drawing/2014/main" id="{AA54C94F-2BAD-464F-8843-2832D537281F}"/>
                  </a:ext>
                </a:extLst>
              </p:cNvPr>
              <p:cNvSpPr/>
              <p:nvPr/>
            </p:nvSpPr>
            <p:spPr>
              <a:xfrm>
                <a:off x="7596613" y="2721508"/>
                <a:ext cx="11662" cy="27571"/>
              </a:xfrm>
              <a:custGeom>
                <a:avLst/>
                <a:gdLst>
                  <a:gd name="connsiteX0" fmla="*/ 11663 w 11662"/>
                  <a:gd name="connsiteY0" fmla="*/ 27571 h 27571"/>
                  <a:gd name="connsiteX1" fmla="*/ 0 w 11662"/>
                  <a:gd name="connsiteY1" fmla="*/ 0 h 27571"/>
                </a:gdLst>
                <a:ahLst/>
                <a:cxnLst>
                  <a:cxn ang="0">
                    <a:pos x="connsiteX0" y="connsiteY0"/>
                  </a:cxn>
                  <a:cxn ang="0">
                    <a:pos x="connsiteX1" y="connsiteY1"/>
                  </a:cxn>
                </a:cxnLst>
                <a:rect l="l" t="t" r="r" b="b"/>
                <a:pathLst>
                  <a:path w="11662" h="27571">
                    <a:moveTo>
                      <a:pt x="11663" y="2757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06" name="Vrije vorm: vorm 6005">
                <a:extLst>
                  <a:ext uri="{FF2B5EF4-FFF2-40B4-BE49-F238E27FC236}">
                    <a16:creationId xmlns:a16="http://schemas.microsoft.com/office/drawing/2014/main" id="{E181FAA6-68F1-467E-BC41-CE6CE97DED4A}"/>
                  </a:ext>
                </a:extLst>
              </p:cNvPr>
              <p:cNvSpPr/>
              <p:nvPr/>
            </p:nvSpPr>
            <p:spPr>
              <a:xfrm>
                <a:off x="7595656" y="2737835"/>
                <a:ext cx="12619" cy="11243"/>
              </a:xfrm>
              <a:custGeom>
                <a:avLst/>
                <a:gdLst>
                  <a:gd name="connsiteX0" fmla="*/ 12620 w 12619"/>
                  <a:gd name="connsiteY0" fmla="*/ 11244 h 11243"/>
                  <a:gd name="connsiteX1" fmla="*/ 0 w 12619"/>
                  <a:gd name="connsiteY1" fmla="*/ 0 h 11243"/>
                </a:gdLst>
                <a:ahLst/>
                <a:cxnLst>
                  <a:cxn ang="0">
                    <a:pos x="connsiteX0" y="connsiteY0"/>
                  </a:cxn>
                  <a:cxn ang="0">
                    <a:pos x="connsiteX1" y="connsiteY1"/>
                  </a:cxn>
                </a:cxnLst>
                <a:rect l="l" t="t" r="r" b="b"/>
                <a:pathLst>
                  <a:path w="12619" h="11243">
                    <a:moveTo>
                      <a:pt x="12620" y="1124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07" name="Vrije vorm: vorm 6006">
                <a:extLst>
                  <a:ext uri="{FF2B5EF4-FFF2-40B4-BE49-F238E27FC236}">
                    <a16:creationId xmlns:a16="http://schemas.microsoft.com/office/drawing/2014/main" id="{91FC4BFB-C0F0-48A9-9EF9-9B50D0225E4A}"/>
                  </a:ext>
                </a:extLst>
              </p:cNvPr>
              <p:cNvSpPr/>
              <p:nvPr/>
            </p:nvSpPr>
            <p:spPr>
              <a:xfrm>
                <a:off x="7736801" y="2759067"/>
                <a:ext cx="18301" cy="6997"/>
              </a:xfrm>
              <a:custGeom>
                <a:avLst/>
                <a:gdLst>
                  <a:gd name="connsiteX0" fmla="*/ 0 w 18301"/>
                  <a:gd name="connsiteY0" fmla="*/ 6997 h 6997"/>
                  <a:gd name="connsiteX1" fmla="*/ 18301 w 18301"/>
                  <a:gd name="connsiteY1" fmla="*/ 0 h 6997"/>
                </a:gdLst>
                <a:ahLst/>
                <a:cxnLst>
                  <a:cxn ang="0">
                    <a:pos x="connsiteX0" y="connsiteY0"/>
                  </a:cxn>
                  <a:cxn ang="0">
                    <a:pos x="connsiteX1" y="connsiteY1"/>
                  </a:cxn>
                </a:cxnLst>
                <a:rect l="l" t="t" r="r" b="b"/>
                <a:pathLst>
                  <a:path w="18301" h="6997">
                    <a:moveTo>
                      <a:pt x="0" y="6997"/>
                    </a:moveTo>
                    <a:lnTo>
                      <a:pt x="18301" y="0"/>
                    </a:lnTo>
                  </a:path>
                </a:pathLst>
              </a:custGeom>
              <a:ln w="6350" cap="rnd">
                <a:solidFill>
                  <a:schemeClr val="bg1">
                    <a:alpha val="80000"/>
                  </a:schemeClr>
                </a:solidFill>
                <a:prstDash val="solid"/>
                <a:round/>
              </a:ln>
            </p:spPr>
            <p:txBody>
              <a:bodyPr rtlCol="0" anchor="ctr"/>
              <a:lstStyle/>
              <a:p>
                <a:endParaRPr lang="en-GB"/>
              </a:p>
            </p:txBody>
          </p:sp>
          <p:sp>
            <p:nvSpPr>
              <p:cNvPr id="6008" name="Vrije vorm: vorm 6007">
                <a:extLst>
                  <a:ext uri="{FF2B5EF4-FFF2-40B4-BE49-F238E27FC236}">
                    <a16:creationId xmlns:a16="http://schemas.microsoft.com/office/drawing/2014/main" id="{07D2D903-C606-4FB6-AEE0-717105184453}"/>
                  </a:ext>
                </a:extLst>
              </p:cNvPr>
              <p:cNvSpPr/>
              <p:nvPr/>
            </p:nvSpPr>
            <p:spPr>
              <a:xfrm>
                <a:off x="7568145" y="2710922"/>
                <a:ext cx="598" cy="2751"/>
              </a:xfrm>
              <a:custGeom>
                <a:avLst/>
                <a:gdLst>
                  <a:gd name="connsiteX0" fmla="*/ 0 w 598"/>
                  <a:gd name="connsiteY0" fmla="*/ 2751 h 2751"/>
                  <a:gd name="connsiteX1" fmla="*/ 598 w 598"/>
                  <a:gd name="connsiteY1" fmla="*/ 0 h 2751"/>
                </a:gdLst>
                <a:ahLst/>
                <a:cxnLst>
                  <a:cxn ang="0">
                    <a:pos x="connsiteX0" y="connsiteY0"/>
                  </a:cxn>
                  <a:cxn ang="0">
                    <a:pos x="connsiteX1" y="connsiteY1"/>
                  </a:cxn>
                </a:cxnLst>
                <a:rect l="l" t="t" r="r" b="b"/>
                <a:pathLst>
                  <a:path w="598" h="2751">
                    <a:moveTo>
                      <a:pt x="0" y="2751"/>
                    </a:moveTo>
                    <a:lnTo>
                      <a:pt x="598" y="0"/>
                    </a:lnTo>
                  </a:path>
                </a:pathLst>
              </a:custGeom>
              <a:ln w="6350" cap="rnd">
                <a:solidFill>
                  <a:schemeClr val="bg1">
                    <a:alpha val="80000"/>
                  </a:schemeClr>
                </a:solidFill>
                <a:prstDash val="solid"/>
                <a:round/>
              </a:ln>
            </p:spPr>
            <p:txBody>
              <a:bodyPr rtlCol="0" anchor="ctr"/>
              <a:lstStyle/>
              <a:p>
                <a:endParaRPr lang="en-GB"/>
              </a:p>
            </p:txBody>
          </p:sp>
          <p:sp>
            <p:nvSpPr>
              <p:cNvPr id="6009" name="Vrije vorm: vorm 6008">
                <a:extLst>
                  <a:ext uri="{FF2B5EF4-FFF2-40B4-BE49-F238E27FC236}">
                    <a16:creationId xmlns:a16="http://schemas.microsoft.com/office/drawing/2014/main" id="{B659F29B-20B2-4382-A918-7AD021C22724}"/>
                  </a:ext>
                </a:extLst>
              </p:cNvPr>
              <p:cNvSpPr/>
              <p:nvPr/>
            </p:nvSpPr>
            <p:spPr>
              <a:xfrm>
                <a:off x="7568145" y="2713673"/>
                <a:ext cx="14413" cy="8851"/>
              </a:xfrm>
              <a:custGeom>
                <a:avLst/>
                <a:gdLst>
                  <a:gd name="connsiteX0" fmla="*/ 0 w 14413"/>
                  <a:gd name="connsiteY0" fmla="*/ 0 h 8851"/>
                  <a:gd name="connsiteX1" fmla="*/ 14414 w 14413"/>
                  <a:gd name="connsiteY1" fmla="*/ 8852 h 8851"/>
                </a:gdLst>
                <a:ahLst/>
                <a:cxnLst>
                  <a:cxn ang="0">
                    <a:pos x="connsiteX0" y="connsiteY0"/>
                  </a:cxn>
                  <a:cxn ang="0">
                    <a:pos x="connsiteX1" y="connsiteY1"/>
                  </a:cxn>
                </a:cxnLst>
                <a:rect l="l" t="t" r="r" b="b"/>
                <a:pathLst>
                  <a:path w="14413" h="8851">
                    <a:moveTo>
                      <a:pt x="0" y="0"/>
                    </a:moveTo>
                    <a:lnTo>
                      <a:pt x="14414" y="8852"/>
                    </a:lnTo>
                  </a:path>
                </a:pathLst>
              </a:custGeom>
              <a:ln w="6350" cap="rnd">
                <a:solidFill>
                  <a:schemeClr val="bg1">
                    <a:alpha val="80000"/>
                  </a:schemeClr>
                </a:solidFill>
                <a:prstDash val="solid"/>
                <a:round/>
              </a:ln>
            </p:spPr>
            <p:txBody>
              <a:bodyPr rtlCol="0" anchor="ctr"/>
              <a:lstStyle/>
              <a:p>
                <a:endParaRPr lang="en-GB"/>
              </a:p>
            </p:txBody>
          </p:sp>
          <p:sp>
            <p:nvSpPr>
              <p:cNvPr id="6010" name="Vrije vorm: vorm 6009">
                <a:extLst>
                  <a:ext uri="{FF2B5EF4-FFF2-40B4-BE49-F238E27FC236}">
                    <a16:creationId xmlns:a16="http://schemas.microsoft.com/office/drawing/2014/main" id="{DDC17328-0968-4994-8A0C-A898ABF35DDA}"/>
                  </a:ext>
                </a:extLst>
              </p:cNvPr>
              <p:cNvSpPr/>
              <p:nvPr/>
            </p:nvSpPr>
            <p:spPr>
              <a:xfrm>
                <a:off x="7751873" y="2821984"/>
                <a:ext cx="6160" cy="7535"/>
              </a:xfrm>
              <a:custGeom>
                <a:avLst/>
                <a:gdLst>
                  <a:gd name="connsiteX0" fmla="*/ 6160 w 6160"/>
                  <a:gd name="connsiteY0" fmla="*/ 7536 h 7535"/>
                  <a:gd name="connsiteX1" fmla="*/ 0 w 6160"/>
                  <a:gd name="connsiteY1" fmla="*/ 0 h 7535"/>
                </a:gdLst>
                <a:ahLst/>
                <a:cxnLst>
                  <a:cxn ang="0">
                    <a:pos x="connsiteX0" y="connsiteY0"/>
                  </a:cxn>
                  <a:cxn ang="0">
                    <a:pos x="connsiteX1" y="connsiteY1"/>
                  </a:cxn>
                </a:cxnLst>
                <a:rect l="l" t="t" r="r" b="b"/>
                <a:pathLst>
                  <a:path w="6160" h="7535">
                    <a:moveTo>
                      <a:pt x="6160" y="753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11" name="Vrije vorm: vorm 6010">
                <a:extLst>
                  <a:ext uri="{FF2B5EF4-FFF2-40B4-BE49-F238E27FC236}">
                    <a16:creationId xmlns:a16="http://schemas.microsoft.com/office/drawing/2014/main" id="{599C4AFB-3656-437B-98D5-3017275F68EB}"/>
                  </a:ext>
                </a:extLst>
              </p:cNvPr>
              <p:cNvSpPr/>
              <p:nvPr/>
            </p:nvSpPr>
            <p:spPr>
              <a:xfrm>
                <a:off x="7758033" y="2829519"/>
                <a:ext cx="1016" cy="4904"/>
              </a:xfrm>
              <a:custGeom>
                <a:avLst/>
                <a:gdLst>
                  <a:gd name="connsiteX0" fmla="*/ 0 w 1016"/>
                  <a:gd name="connsiteY0" fmla="*/ 0 h 4904"/>
                  <a:gd name="connsiteX1" fmla="*/ 1017 w 1016"/>
                  <a:gd name="connsiteY1" fmla="*/ 4904 h 4904"/>
                </a:gdLst>
                <a:ahLst/>
                <a:cxnLst>
                  <a:cxn ang="0">
                    <a:pos x="connsiteX0" y="connsiteY0"/>
                  </a:cxn>
                  <a:cxn ang="0">
                    <a:pos x="connsiteX1" y="connsiteY1"/>
                  </a:cxn>
                </a:cxnLst>
                <a:rect l="l" t="t" r="r" b="b"/>
                <a:pathLst>
                  <a:path w="1016" h="4904">
                    <a:moveTo>
                      <a:pt x="0" y="0"/>
                    </a:moveTo>
                    <a:lnTo>
                      <a:pt x="1017" y="4904"/>
                    </a:lnTo>
                  </a:path>
                </a:pathLst>
              </a:custGeom>
              <a:ln w="6350" cap="rnd">
                <a:solidFill>
                  <a:schemeClr val="bg1">
                    <a:alpha val="80000"/>
                  </a:schemeClr>
                </a:solidFill>
                <a:prstDash val="solid"/>
                <a:round/>
              </a:ln>
            </p:spPr>
            <p:txBody>
              <a:bodyPr rtlCol="0" anchor="ctr"/>
              <a:lstStyle/>
              <a:p>
                <a:endParaRPr lang="en-GB"/>
              </a:p>
            </p:txBody>
          </p:sp>
          <p:sp>
            <p:nvSpPr>
              <p:cNvPr id="6012" name="Vrije vorm: vorm 6011">
                <a:extLst>
                  <a:ext uri="{FF2B5EF4-FFF2-40B4-BE49-F238E27FC236}">
                    <a16:creationId xmlns:a16="http://schemas.microsoft.com/office/drawing/2014/main" id="{5C2871D8-7F12-43FE-B264-60D39D1347BD}"/>
                  </a:ext>
                </a:extLst>
              </p:cNvPr>
              <p:cNvSpPr/>
              <p:nvPr/>
            </p:nvSpPr>
            <p:spPr>
              <a:xfrm>
                <a:off x="7767901" y="2760263"/>
                <a:ext cx="2452" cy="19796"/>
              </a:xfrm>
              <a:custGeom>
                <a:avLst/>
                <a:gdLst>
                  <a:gd name="connsiteX0" fmla="*/ 2452 w 2452"/>
                  <a:gd name="connsiteY0" fmla="*/ 19796 h 19796"/>
                  <a:gd name="connsiteX1" fmla="*/ 0 w 2452"/>
                  <a:gd name="connsiteY1" fmla="*/ 0 h 19796"/>
                </a:gdLst>
                <a:ahLst/>
                <a:cxnLst>
                  <a:cxn ang="0">
                    <a:pos x="connsiteX0" y="connsiteY0"/>
                  </a:cxn>
                  <a:cxn ang="0">
                    <a:pos x="connsiteX1" y="connsiteY1"/>
                  </a:cxn>
                </a:cxnLst>
                <a:rect l="l" t="t" r="r" b="b"/>
                <a:pathLst>
                  <a:path w="2452" h="19796">
                    <a:moveTo>
                      <a:pt x="2452" y="1979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13" name="Vrije vorm: vorm 6012">
                <a:extLst>
                  <a:ext uri="{FF2B5EF4-FFF2-40B4-BE49-F238E27FC236}">
                    <a16:creationId xmlns:a16="http://schemas.microsoft.com/office/drawing/2014/main" id="{8197E96A-3C75-43FD-AFD2-4FD5B53042F6}"/>
                  </a:ext>
                </a:extLst>
              </p:cNvPr>
              <p:cNvSpPr/>
              <p:nvPr/>
            </p:nvSpPr>
            <p:spPr>
              <a:xfrm>
                <a:off x="7770353" y="2759904"/>
                <a:ext cx="3229" cy="20155"/>
              </a:xfrm>
              <a:custGeom>
                <a:avLst/>
                <a:gdLst>
                  <a:gd name="connsiteX0" fmla="*/ 0 w 3229"/>
                  <a:gd name="connsiteY0" fmla="*/ 20155 h 20155"/>
                  <a:gd name="connsiteX1" fmla="*/ 3229 w 3229"/>
                  <a:gd name="connsiteY1" fmla="*/ 0 h 20155"/>
                </a:gdLst>
                <a:ahLst/>
                <a:cxnLst>
                  <a:cxn ang="0">
                    <a:pos x="connsiteX0" y="connsiteY0"/>
                  </a:cxn>
                  <a:cxn ang="0">
                    <a:pos x="connsiteX1" y="connsiteY1"/>
                  </a:cxn>
                </a:cxnLst>
                <a:rect l="l" t="t" r="r" b="b"/>
                <a:pathLst>
                  <a:path w="3229" h="20155">
                    <a:moveTo>
                      <a:pt x="0" y="20155"/>
                    </a:moveTo>
                    <a:lnTo>
                      <a:pt x="3229" y="0"/>
                    </a:lnTo>
                  </a:path>
                </a:pathLst>
              </a:custGeom>
              <a:ln w="6350" cap="rnd">
                <a:solidFill>
                  <a:schemeClr val="bg1">
                    <a:alpha val="80000"/>
                  </a:schemeClr>
                </a:solidFill>
                <a:prstDash val="solid"/>
                <a:round/>
              </a:ln>
            </p:spPr>
            <p:txBody>
              <a:bodyPr rtlCol="0" anchor="ctr"/>
              <a:lstStyle/>
              <a:p>
                <a:endParaRPr lang="en-GB"/>
              </a:p>
            </p:txBody>
          </p:sp>
          <p:sp>
            <p:nvSpPr>
              <p:cNvPr id="6014" name="Vrije vorm: vorm 6013">
                <a:extLst>
                  <a:ext uri="{FF2B5EF4-FFF2-40B4-BE49-F238E27FC236}">
                    <a16:creationId xmlns:a16="http://schemas.microsoft.com/office/drawing/2014/main" id="{3601194E-2B0C-471D-838F-84046705D233}"/>
                  </a:ext>
                </a:extLst>
              </p:cNvPr>
              <p:cNvSpPr/>
              <p:nvPr/>
            </p:nvSpPr>
            <p:spPr>
              <a:xfrm>
                <a:off x="7642425" y="2778803"/>
                <a:ext cx="5442" cy="13755"/>
              </a:xfrm>
              <a:custGeom>
                <a:avLst/>
                <a:gdLst>
                  <a:gd name="connsiteX0" fmla="*/ 0 w 5442"/>
                  <a:gd name="connsiteY0" fmla="*/ 0 h 13755"/>
                  <a:gd name="connsiteX1" fmla="*/ 5443 w 5442"/>
                  <a:gd name="connsiteY1" fmla="*/ 13756 h 13755"/>
                </a:gdLst>
                <a:ahLst/>
                <a:cxnLst>
                  <a:cxn ang="0">
                    <a:pos x="connsiteX0" y="connsiteY0"/>
                  </a:cxn>
                  <a:cxn ang="0">
                    <a:pos x="connsiteX1" y="connsiteY1"/>
                  </a:cxn>
                </a:cxnLst>
                <a:rect l="l" t="t" r="r" b="b"/>
                <a:pathLst>
                  <a:path w="5442" h="13755">
                    <a:moveTo>
                      <a:pt x="0" y="0"/>
                    </a:moveTo>
                    <a:lnTo>
                      <a:pt x="5443" y="13756"/>
                    </a:lnTo>
                  </a:path>
                </a:pathLst>
              </a:custGeom>
              <a:ln w="6350" cap="rnd">
                <a:solidFill>
                  <a:schemeClr val="bg1">
                    <a:alpha val="80000"/>
                  </a:schemeClr>
                </a:solidFill>
                <a:prstDash val="solid"/>
                <a:round/>
              </a:ln>
            </p:spPr>
            <p:txBody>
              <a:bodyPr rtlCol="0" anchor="ctr"/>
              <a:lstStyle/>
              <a:p>
                <a:endParaRPr lang="en-GB"/>
              </a:p>
            </p:txBody>
          </p:sp>
          <p:sp>
            <p:nvSpPr>
              <p:cNvPr id="6015" name="Vrije vorm: vorm 6014">
                <a:extLst>
                  <a:ext uri="{FF2B5EF4-FFF2-40B4-BE49-F238E27FC236}">
                    <a16:creationId xmlns:a16="http://schemas.microsoft.com/office/drawing/2014/main" id="{03F9ADDD-4467-4509-A574-0F0B3F3C6475}"/>
                  </a:ext>
                </a:extLst>
              </p:cNvPr>
              <p:cNvSpPr/>
              <p:nvPr/>
            </p:nvSpPr>
            <p:spPr>
              <a:xfrm>
                <a:off x="7769456" y="2797582"/>
                <a:ext cx="1734" cy="27750"/>
              </a:xfrm>
              <a:custGeom>
                <a:avLst/>
                <a:gdLst>
                  <a:gd name="connsiteX0" fmla="*/ 1735 w 1734"/>
                  <a:gd name="connsiteY0" fmla="*/ 0 h 27750"/>
                  <a:gd name="connsiteX1" fmla="*/ 0 w 1734"/>
                  <a:gd name="connsiteY1" fmla="*/ 27751 h 27750"/>
                </a:gdLst>
                <a:ahLst/>
                <a:cxnLst>
                  <a:cxn ang="0">
                    <a:pos x="connsiteX0" y="connsiteY0"/>
                  </a:cxn>
                  <a:cxn ang="0">
                    <a:pos x="connsiteX1" y="connsiteY1"/>
                  </a:cxn>
                </a:cxnLst>
                <a:rect l="l" t="t" r="r" b="b"/>
                <a:pathLst>
                  <a:path w="1734" h="27750">
                    <a:moveTo>
                      <a:pt x="1735" y="0"/>
                    </a:moveTo>
                    <a:lnTo>
                      <a:pt x="0" y="27751"/>
                    </a:lnTo>
                  </a:path>
                </a:pathLst>
              </a:custGeom>
              <a:ln w="6350" cap="rnd">
                <a:solidFill>
                  <a:schemeClr val="bg1">
                    <a:alpha val="80000"/>
                  </a:schemeClr>
                </a:solidFill>
                <a:prstDash val="solid"/>
                <a:round/>
              </a:ln>
            </p:spPr>
            <p:txBody>
              <a:bodyPr rtlCol="0" anchor="ctr"/>
              <a:lstStyle/>
              <a:p>
                <a:endParaRPr lang="en-GB"/>
              </a:p>
            </p:txBody>
          </p:sp>
          <p:sp>
            <p:nvSpPr>
              <p:cNvPr id="6016" name="Vrije vorm: vorm 6015">
                <a:extLst>
                  <a:ext uri="{FF2B5EF4-FFF2-40B4-BE49-F238E27FC236}">
                    <a16:creationId xmlns:a16="http://schemas.microsoft.com/office/drawing/2014/main" id="{F6D149DF-F33E-425B-847B-63FBE3FC5C4F}"/>
                  </a:ext>
                </a:extLst>
              </p:cNvPr>
              <p:cNvSpPr/>
              <p:nvPr/>
            </p:nvSpPr>
            <p:spPr>
              <a:xfrm>
                <a:off x="7523828" y="2740825"/>
                <a:ext cx="11243" cy="6279"/>
              </a:xfrm>
              <a:custGeom>
                <a:avLst/>
                <a:gdLst>
                  <a:gd name="connsiteX0" fmla="*/ 0 w 11243"/>
                  <a:gd name="connsiteY0" fmla="*/ 6280 h 6279"/>
                  <a:gd name="connsiteX1" fmla="*/ 11243 w 11243"/>
                  <a:gd name="connsiteY1" fmla="*/ 0 h 6279"/>
                </a:gdLst>
                <a:ahLst/>
                <a:cxnLst>
                  <a:cxn ang="0">
                    <a:pos x="connsiteX0" y="connsiteY0"/>
                  </a:cxn>
                  <a:cxn ang="0">
                    <a:pos x="connsiteX1" y="connsiteY1"/>
                  </a:cxn>
                </a:cxnLst>
                <a:rect l="l" t="t" r="r" b="b"/>
                <a:pathLst>
                  <a:path w="11243" h="6279">
                    <a:moveTo>
                      <a:pt x="0" y="6280"/>
                    </a:moveTo>
                    <a:lnTo>
                      <a:pt x="11243" y="0"/>
                    </a:lnTo>
                  </a:path>
                </a:pathLst>
              </a:custGeom>
              <a:ln w="6350" cap="rnd">
                <a:solidFill>
                  <a:schemeClr val="bg1">
                    <a:alpha val="80000"/>
                  </a:schemeClr>
                </a:solidFill>
                <a:prstDash val="solid"/>
                <a:round/>
              </a:ln>
            </p:spPr>
            <p:txBody>
              <a:bodyPr rtlCol="0" anchor="ctr"/>
              <a:lstStyle/>
              <a:p>
                <a:endParaRPr lang="en-GB"/>
              </a:p>
            </p:txBody>
          </p:sp>
          <p:sp>
            <p:nvSpPr>
              <p:cNvPr id="6017" name="Vrije vorm: vorm 6016">
                <a:extLst>
                  <a:ext uri="{FF2B5EF4-FFF2-40B4-BE49-F238E27FC236}">
                    <a16:creationId xmlns:a16="http://schemas.microsoft.com/office/drawing/2014/main" id="{84029C29-835D-482F-B137-8623161867D4}"/>
                  </a:ext>
                </a:extLst>
              </p:cNvPr>
              <p:cNvSpPr/>
              <p:nvPr/>
            </p:nvSpPr>
            <p:spPr>
              <a:xfrm>
                <a:off x="7568743" y="2710922"/>
                <a:ext cx="11602" cy="4784"/>
              </a:xfrm>
              <a:custGeom>
                <a:avLst/>
                <a:gdLst>
                  <a:gd name="connsiteX0" fmla="*/ 11603 w 11602"/>
                  <a:gd name="connsiteY0" fmla="*/ 4785 h 4784"/>
                  <a:gd name="connsiteX1" fmla="*/ 0 w 11602"/>
                  <a:gd name="connsiteY1" fmla="*/ 0 h 4784"/>
                </a:gdLst>
                <a:ahLst/>
                <a:cxnLst>
                  <a:cxn ang="0">
                    <a:pos x="connsiteX0" y="connsiteY0"/>
                  </a:cxn>
                  <a:cxn ang="0">
                    <a:pos x="connsiteX1" y="connsiteY1"/>
                  </a:cxn>
                </a:cxnLst>
                <a:rect l="l" t="t" r="r" b="b"/>
                <a:pathLst>
                  <a:path w="11602" h="4784">
                    <a:moveTo>
                      <a:pt x="11603" y="4785"/>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18" name="Vrije vorm: vorm 6017">
                <a:extLst>
                  <a:ext uri="{FF2B5EF4-FFF2-40B4-BE49-F238E27FC236}">
                    <a16:creationId xmlns:a16="http://schemas.microsoft.com/office/drawing/2014/main" id="{81B7C0D5-3002-40D5-AB04-C1D2FD19D204}"/>
                  </a:ext>
                </a:extLst>
              </p:cNvPr>
              <p:cNvSpPr/>
              <p:nvPr/>
            </p:nvSpPr>
            <p:spPr>
              <a:xfrm>
                <a:off x="7580345" y="2715706"/>
                <a:ext cx="2212" cy="6818"/>
              </a:xfrm>
              <a:custGeom>
                <a:avLst/>
                <a:gdLst>
                  <a:gd name="connsiteX0" fmla="*/ 0 w 2212"/>
                  <a:gd name="connsiteY0" fmla="*/ 0 h 6818"/>
                  <a:gd name="connsiteX1" fmla="*/ 2213 w 2212"/>
                  <a:gd name="connsiteY1" fmla="*/ 6818 h 6818"/>
                </a:gdLst>
                <a:ahLst/>
                <a:cxnLst>
                  <a:cxn ang="0">
                    <a:pos x="connsiteX0" y="connsiteY0"/>
                  </a:cxn>
                  <a:cxn ang="0">
                    <a:pos x="connsiteX1" y="connsiteY1"/>
                  </a:cxn>
                </a:cxnLst>
                <a:rect l="l" t="t" r="r" b="b"/>
                <a:pathLst>
                  <a:path w="2212" h="6818">
                    <a:moveTo>
                      <a:pt x="0" y="0"/>
                    </a:moveTo>
                    <a:lnTo>
                      <a:pt x="2213" y="6818"/>
                    </a:lnTo>
                  </a:path>
                </a:pathLst>
              </a:custGeom>
              <a:ln w="6350" cap="rnd">
                <a:solidFill>
                  <a:schemeClr val="bg1">
                    <a:alpha val="80000"/>
                  </a:schemeClr>
                </a:solidFill>
                <a:prstDash val="solid"/>
                <a:round/>
              </a:ln>
            </p:spPr>
            <p:txBody>
              <a:bodyPr rtlCol="0" anchor="ctr"/>
              <a:lstStyle/>
              <a:p>
                <a:endParaRPr lang="en-GB"/>
              </a:p>
            </p:txBody>
          </p:sp>
          <p:sp>
            <p:nvSpPr>
              <p:cNvPr id="6019" name="Vrije vorm: vorm 6018">
                <a:extLst>
                  <a:ext uri="{FF2B5EF4-FFF2-40B4-BE49-F238E27FC236}">
                    <a16:creationId xmlns:a16="http://schemas.microsoft.com/office/drawing/2014/main" id="{8BC16C7E-DB0F-408A-B2E5-D4BFA8611848}"/>
                  </a:ext>
                </a:extLst>
              </p:cNvPr>
              <p:cNvSpPr/>
              <p:nvPr/>
            </p:nvSpPr>
            <p:spPr>
              <a:xfrm>
                <a:off x="7568145" y="2713673"/>
                <a:ext cx="12200" cy="2033"/>
              </a:xfrm>
              <a:custGeom>
                <a:avLst/>
                <a:gdLst>
                  <a:gd name="connsiteX0" fmla="*/ 12201 w 12200"/>
                  <a:gd name="connsiteY0" fmla="*/ 2033 h 2033"/>
                  <a:gd name="connsiteX1" fmla="*/ 0 w 12200"/>
                  <a:gd name="connsiteY1" fmla="*/ 0 h 2033"/>
                </a:gdLst>
                <a:ahLst/>
                <a:cxnLst>
                  <a:cxn ang="0">
                    <a:pos x="connsiteX0" y="connsiteY0"/>
                  </a:cxn>
                  <a:cxn ang="0">
                    <a:pos x="connsiteX1" y="connsiteY1"/>
                  </a:cxn>
                </a:cxnLst>
                <a:rect l="l" t="t" r="r" b="b"/>
                <a:pathLst>
                  <a:path w="12200" h="2033">
                    <a:moveTo>
                      <a:pt x="12201" y="2033"/>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20" name="Vrije vorm: vorm 6019">
                <a:extLst>
                  <a:ext uri="{FF2B5EF4-FFF2-40B4-BE49-F238E27FC236}">
                    <a16:creationId xmlns:a16="http://schemas.microsoft.com/office/drawing/2014/main" id="{1B071D3D-A4CE-4F5D-B29D-A59CE7AB9DA5}"/>
                  </a:ext>
                </a:extLst>
              </p:cNvPr>
              <p:cNvSpPr/>
              <p:nvPr/>
            </p:nvSpPr>
            <p:spPr>
              <a:xfrm>
                <a:off x="7720115" y="2795070"/>
                <a:ext cx="22666" cy="2810"/>
              </a:xfrm>
              <a:custGeom>
                <a:avLst/>
                <a:gdLst>
                  <a:gd name="connsiteX0" fmla="*/ 22667 w 22666"/>
                  <a:gd name="connsiteY0" fmla="*/ 2811 h 2810"/>
                  <a:gd name="connsiteX1" fmla="*/ 0 w 22666"/>
                  <a:gd name="connsiteY1" fmla="*/ 0 h 2810"/>
                </a:gdLst>
                <a:ahLst/>
                <a:cxnLst>
                  <a:cxn ang="0">
                    <a:pos x="connsiteX0" y="connsiteY0"/>
                  </a:cxn>
                  <a:cxn ang="0">
                    <a:pos x="connsiteX1" y="connsiteY1"/>
                  </a:cxn>
                </a:cxnLst>
                <a:rect l="l" t="t" r="r" b="b"/>
                <a:pathLst>
                  <a:path w="22666" h="2810">
                    <a:moveTo>
                      <a:pt x="22667" y="281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21" name="Vrije vorm: vorm 6020">
                <a:extLst>
                  <a:ext uri="{FF2B5EF4-FFF2-40B4-BE49-F238E27FC236}">
                    <a16:creationId xmlns:a16="http://schemas.microsoft.com/office/drawing/2014/main" id="{F7634351-B0B6-49CD-95B9-861D6922FE0E}"/>
                  </a:ext>
                </a:extLst>
              </p:cNvPr>
              <p:cNvSpPr/>
              <p:nvPr/>
            </p:nvSpPr>
            <p:spPr>
              <a:xfrm>
                <a:off x="7627474" y="2748062"/>
                <a:ext cx="2571" cy="6100"/>
              </a:xfrm>
              <a:custGeom>
                <a:avLst/>
                <a:gdLst>
                  <a:gd name="connsiteX0" fmla="*/ 0 w 2571"/>
                  <a:gd name="connsiteY0" fmla="*/ 6100 h 6100"/>
                  <a:gd name="connsiteX1" fmla="*/ 2571 w 2571"/>
                  <a:gd name="connsiteY1" fmla="*/ 0 h 6100"/>
                </a:gdLst>
                <a:ahLst/>
                <a:cxnLst>
                  <a:cxn ang="0">
                    <a:pos x="connsiteX0" y="connsiteY0"/>
                  </a:cxn>
                  <a:cxn ang="0">
                    <a:pos x="connsiteX1" y="connsiteY1"/>
                  </a:cxn>
                </a:cxnLst>
                <a:rect l="l" t="t" r="r" b="b"/>
                <a:pathLst>
                  <a:path w="2571" h="6100">
                    <a:moveTo>
                      <a:pt x="0" y="6100"/>
                    </a:moveTo>
                    <a:lnTo>
                      <a:pt x="2571" y="0"/>
                    </a:lnTo>
                  </a:path>
                </a:pathLst>
              </a:custGeom>
              <a:ln w="6350" cap="rnd">
                <a:solidFill>
                  <a:schemeClr val="bg1">
                    <a:alpha val="80000"/>
                  </a:schemeClr>
                </a:solidFill>
                <a:prstDash val="solid"/>
                <a:round/>
              </a:ln>
            </p:spPr>
            <p:txBody>
              <a:bodyPr rtlCol="0" anchor="ctr"/>
              <a:lstStyle/>
              <a:p>
                <a:endParaRPr lang="en-GB"/>
              </a:p>
            </p:txBody>
          </p:sp>
          <p:sp>
            <p:nvSpPr>
              <p:cNvPr id="6022" name="Vrije vorm: vorm 6021">
                <a:extLst>
                  <a:ext uri="{FF2B5EF4-FFF2-40B4-BE49-F238E27FC236}">
                    <a16:creationId xmlns:a16="http://schemas.microsoft.com/office/drawing/2014/main" id="{4A505924-308B-414F-BBAF-71C42BBAECDA}"/>
                  </a:ext>
                </a:extLst>
              </p:cNvPr>
              <p:cNvSpPr/>
              <p:nvPr/>
            </p:nvSpPr>
            <p:spPr>
              <a:xfrm>
                <a:off x="7596613" y="2707154"/>
                <a:ext cx="11482" cy="14353"/>
              </a:xfrm>
              <a:custGeom>
                <a:avLst/>
                <a:gdLst>
                  <a:gd name="connsiteX0" fmla="*/ 11483 w 11482"/>
                  <a:gd name="connsiteY0" fmla="*/ 0 h 14353"/>
                  <a:gd name="connsiteX1" fmla="*/ 0 w 11482"/>
                  <a:gd name="connsiteY1" fmla="*/ 14354 h 14353"/>
                </a:gdLst>
                <a:ahLst/>
                <a:cxnLst>
                  <a:cxn ang="0">
                    <a:pos x="connsiteX0" y="connsiteY0"/>
                  </a:cxn>
                  <a:cxn ang="0">
                    <a:pos x="connsiteX1" y="connsiteY1"/>
                  </a:cxn>
                </a:cxnLst>
                <a:rect l="l" t="t" r="r" b="b"/>
                <a:pathLst>
                  <a:path w="11482" h="14353">
                    <a:moveTo>
                      <a:pt x="11483" y="0"/>
                    </a:moveTo>
                    <a:lnTo>
                      <a:pt x="0" y="14354"/>
                    </a:lnTo>
                  </a:path>
                </a:pathLst>
              </a:custGeom>
              <a:ln w="6350" cap="rnd">
                <a:solidFill>
                  <a:schemeClr val="bg1">
                    <a:alpha val="80000"/>
                  </a:schemeClr>
                </a:solidFill>
                <a:prstDash val="solid"/>
                <a:round/>
              </a:ln>
            </p:spPr>
            <p:txBody>
              <a:bodyPr rtlCol="0" anchor="ctr"/>
              <a:lstStyle/>
              <a:p>
                <a:endParaRPr lang="en-GB"/>
              </a:p>
            </p:txBody>
          </p:sp>
          <p:sp>
            <p:nvSpPr>
              <p:cNvPr id="6023" name="Vrije vorm: vorm 6022">
                <a:extLst>
                  <a:ext uri="{FF2B5EF4-FFF2-40B4-BE49-F238E27FC236}">
                    <a16:creationId xmlns:a16="http://schemas.microsoft.com/office/drawing/2014/main" id="{76C69706-45CF-4904-8B86-3BA519CF8562}"/>
                  </a:ext>
                </a:extLst>
              </p:cNvPr>
              <p:cNvSpPr/>
              <p:nvPr/>
            </p:nvSpPr>
            <p:spPr>
              <a:xfrm>
                <a:off x="7564676" y="2678147"/>
                <a:ext cx="8373" cy="358"/>
              </a:xfrm>
              <a:custGeom>
                <a:avLst/>
                <a:gdLst>
                  <a:gd name="connsiteX0" fmla="*/ 0 w 8373"/>
                  <a:gd name="connsiteY0" fmla="*/ 0 h 358"/>
                  <a:gd name="connsiteX1" fmla="*/ 8373 w 8373"/>
                  <a:gd name="connsiteY1" fmla="*/ 359 h 358"/>
                </a:gdLst>
                <a:ahLst/>
                <a:cxnLst>
                  <a:cxn ang="0">
                    <a:pos x="connsiteX0" y="connsiteY0"/>
                  </a:cxn>
                  <a:cxn ang="0">
                    <a:pos x="connsiteX1" y="connsiteY1"/>
                  </a:cxn>
                </a:cxnLst>
                <a:rect l="l" t="t" r="r" b="b"/>
                <a:pathLst>
                  <a:path w="8373" h="358">
                    <a:moveTo>
                      <a:pt x="0" y="0"/>
                    </a:moveTo>
                    <a:lnTo>
                      <a:pt x="8373" y="359"/>
                    </a:lnTo>
                  </a:path>
                </a:pathLst>
              </a:custGeom>
              <a:ln w="6350" cap="rnd">
                <a:solidFill>
                  <a:schemeClr val="bg1">
                    <a:alpha val="80000"/>
                  </a:schemeClr>
                </a:solidFill>
                <a:prstDash val="solid"/>
                <a:round/>
              </a:ln>
            </p:spPr>
            <p:txBody>
              <a:bodyPr rtlCol="0" anchor="ctr"/>
              <a:lstStyle/>
              <a:p>
                <a:endParaRPr lang="en-GB"/>
              </a:p>
            </p:txBody>
          </p:sp>
          <p:sp>
            <p:nvSpPr>
              <p:cNvPr id="6024" name="Vrije vorm: vorm 6023">
                <a:extLst>
                  <a:ext uri="{FF2B5EF4-FFF2-40B4-BE49-F238E27FC236}">
                    <a16:creationId xmlns:a16="http://schemas.microsoft.com/office/drawing/2014/main" id="{AA91126C-7900-4BCF-BFDD-B4C87C0C5BA8}"/>
                  </a:ext>
                </a:extLst>
              </p:cNvPr>
              <p:cNvSpPr/>
              <p:nvPr/>
            </p:nvSpPr>
            <p:spPr>
              <a:xfrm>
                <a:off x="7548468" y="2678147"/>
                <a:ext cx="16207" cy="9030"/>
              </a:xfrm>
              <a:custGeom>
                <a:avLst/>
                <a:gdLst>
                  <a:gd name="connsiteX0" fmla="*/ 16208 w 16207"/>
                  <a:gd name="connsiteY0" fmla="*/ 0 h 9030"/>
                  <a:gd name="connsiteX1" fmla="*/ 0 w 16207"/>
                  <a:gd name="connsiteY1" fmla="*/ 9031 h 9030"/>
                </a:gdLst>
                <a:ahLst/>
                <a:cxnLst>
                  <a:cxn ang="0">
                    <a:pos x="connsiteX0" y="connsiteY0"/>
                  </a:cxn>
                  <a:cxn ang="0">
                    <a:pos x="connsiteX1" y="connsiteY1"/>
                  </a:cxn>
                </a:cxnLst>
                <a:rect l="l" t="t" r="r" b="b"/>
                <a:pathLst>
                  <a:path w="16207" h="9030">
                    <a:moveTo>
                      <a:pt x="16208" y="0"/>
                    </a:moveTo>
                    <a:lnTo>
                      <a:pt x="0" y="9031"/>
                    </a:lnTo>
                  </a:path>
                </a:pathLst>
              </a:custGeom>
              <a:ln w="6350" cap="rnd">
                <a:solidFill>
                  <a:schemeClr val="bg1">
                    <a:alpha val="80000"/>
                  </a:schemeClr>
                </a:solidFill>
                <a:prstDash val="solid"/>
                <a:round/>
              </a:ln>
            </p:spPr>
            <p:txBody>
              <a:bodyPr rtlCol="0" anchor="ctr"/>
              <a:lstStyle/>
              <a:p>
                <a:endParaRPr lang="en-GB"/>
              </a:p>
            </p:txBody>
          </p:sp>
          <p:sp>
            <p:nvSpPr>
              <p:cNvPr id="6025" name="Vrije vorm: vorm 6024">
                <a:extLst>
                  <a:ext uri="{FF2B5EF4-FFF2-40B4-BE49-F238E27FC236}">
                    <a16:creationId xmlns:a16="http://schemas.microsoft.com/office/drawing/2014/main" id="{E0F1C9E7-03A0-46E1-B0F4-993D1BD25953}"/>
                  </a:ext>
                </a:extLst>
              </p:cNvPr>
              <p:cNvSpPr/>
              <p:nvPr/>
            </p:nvSpPr>
            <p:spPr>
              <a:xfrm>
                <a:off x="7582678" y="2722584"/>
                <a:ext cx="7475" cy="717"/>
              </a:xfrm>
              <a:custGeom>
                <a:avLst/>
                <a:gdLst>
                  <a:gd name="connsiteX0" fmla="*/ 0 w 7475"/>
                  <a:gd name="connsiteY0" fmla="*/ 718 h 717"/>
                  <a:gd name="connsiteX1" fmla="*/ 7476 w 7475"/>
                  <a:gd name="connsiteY1" fmla="*/ 0 h 717"/>
                </a:gdLst>
                <a:ahLst/>
                <a:cxnLst>
                  <a:cxn ang="0">
                    <a:pos x="connsiteX0" y="connsiteY0"/>
                  </a:cxn>
                  <a:cxn ang="0">
                    <a:pos x="connsiteX1" y="connsiteY1"/>
                  </a:cxn>
                </a:cxnLst>
                <a:rect l="l" t="t" r="r" b="b"/>
                <a:pathLst>
                  <a:path w="7475" h="717">
                    <a:moveTo>
                      <a:pt x="0" y="718"/>
                    </a:moveTo>
                    <a:lnTo>
                      <a:pt x="7476" y="0"/>
                    </a:lnTo>
                  </a:path>
                </a:pathLst>
              </a:custGeom>
              <a:ln w="6350" cap="rnd">
                <a:solidFill>
                  <a:schemeClr val="bg1">
                    <a:alpha val="80000"/>
                  </a:schemeClr>
                </a:solidFill>
                <a:prstDash val="solid"/>
                <a:round/>
              </a:ln>
            </p:spPr>
            <p:txBody>
              <a:bodyPr rtlCol="0" anchor="ctr"/>
              <a:lstStyle/>
              <a:p>
                <a:endParaRPr lang="en-GB"/>
              </a:p>
            </p:txBody>
          </p:sp>
          <p:sp>
            <p:nvSpPr>
              <p:cNvPr id="6026" name="Vrije vorm: vorm 6025">
                <a:extLst>
                  <a:ext uri="{FF2B5EF4-FFF2-40B4-BE49-F238E27FC236}">
                    <a16:creationId xmlns:a16="http://schemas.microsoft.com/office/drawing/2014/main" id="{419811C2-4846-4169-BC2A-C8BE9E6FF1D6}"/>
                  </a:ext>
                </a:extLst>
              </p:cNvPr>
              <p:cNvSpPr/>
              <p:nvPr/>
            </p:nvSpPr>
            <p:spPr>
              <a:xfrm>
                <a:off x="7574305" y="2721328"/>
                <a:ext cx="8373" cy="1973"/>
              </a:xfrm>
              <a:custGeom>
                <a:avLst/>
                <a:gdLst>
                  <a:gd name="connsiteX0" fmla="*/ 8373 w 8373"/>
                  <a:gd name="connsiteY0" fmla="*/ 1974 h 1973"/>
                  <a:gd name="connsiteX1" fmla="*/ 0 w 8373"/>
                  <a:gd name="connsiteY1" fmla="*/ 0 h 1973"/>
                </a:gdLst>
                <a:ahLst/>
                <a:cxnLst>
                  <a:cxn ang="0">
                    <a:pos x="connsiteX0" y="connsiteY0"/>
                  </a:cxn>
                  <a:cxn ang="0">
                    <a:pos x="connsiteX1" y="connsiteY1"/>
                  </a:cxn>
                </a:cxnLst>
                <a:rect l="l" t="t" r="r" b="b"/>
                <a:pathLst>
                  <a:path w="8373" h="1973">
                    <a:moveTo>
                      <a:pt x="8373" y="197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27" name="Vrije vorm: vorm 6026">
                <a:extLst>
                  <a:ext uri="{FF2B5EF4-FFF2-40B4-BE49-F238E27FC236}">
                    <a16:creationId xmlns:a16="http://schemas.microsoft.com/office/drawing/2014/main" id="{79EB985C-A681-48E5-AF90-D5ABFAFC3FDB}"/>
                  </a:ext>
                </a:extLst>
              </p:cNvPr>
              <p:cNvSpPr/>
              <p:nvPr/>
            </p:nvSpPr>
            <p:spPr>
              <a:xfrm>
                <a:off x="7574783" y="2721508"/>
                <a:ext cx="239" cy="777"/>
              </a:xfrm>
              <a:custGeom>
                <a:avLst/>
                <a:gdLst>
                  <a:gd name="connsiteX0" fmla="*/ 239 w 239"/>
                  <a:gd name="connsiteY0" fmla="*/ 0 h 777"/>
                  <a:gd name="connsiteX1" fmla="*/ 0 w 239"/>
                  <a:gd name="connsiteY1" fmla="*/ 777 h 777"/>
                </a:gdLst>
                <a:ahLst/>
                <a:cxnLst>
                  <a:cxn ang="0">
                    <a:pos x="connsiteX0" y="connsiteY0"/>
                  </a:cxn>
                  <a:cxn ang="0">
                    <a:pos x="connsiteX1" y="connsiteY1"/>
                  </a:cxn>
                </a:cxnLst>
                <a:rect l="l" t="t" r="r" b="b"/>
                <a:pathLst>
                  <a:path w="239" h="777">
                    <a:moveTo>
                      <a:pt x="239" y="0"/>
                    </a:moveTo>
                    <a:lnTo>
                      <a:pt x="0" y="777"/>
                    </a:lnTo>
                  </a:path>
                </a:pathLst>
              </a:custGeom>
              <a:ln w="6350" cap="rnd">
                <a:solidFill>
                  <a:schemeClr val="bg1">
                    <a:alpha val="80000"/>
                  </a:schemeClr>
                </a:solidFill>
                <a:prstDash val="solid"/>
                <a:round/>
              </a:ln>
            </p:spPr>
            <p:txBody>
              <a:bodyPr rtlCol="0" anchor="ctr"/>
              <a:lstStyle/>
              <a:p>
                <a:endParaRPr lang="en-GB"/>
              </a:p>
            </p:txBody>
          </p:sp>
          <p:sp>
            <p:nvSpPr>
              <p:cNvPr id="6028" name="Vrije vorm: vorm 6027">
                <a:extLst>
                  <a:ext uri="{FF2B5EF4-FFF2-40B4-BE49-F238E27FC236}">
                    <a16:creationId xmlns:a16="http://schemas.microsoft.com/office/drawing/2014/main" id="{E84C873D-70AC-4B6B-9D83-89FA7ECE6B8F}"/>
                  </a:ext>
                </a:extLst>
              </p:cNvPr>
              <p:cNvSpPr/>
              <p:nvPr/>
            </p:nvSpPr>
            <p:spPr>
              <a:xfrm>
                <a:off x="7574783" y="2722285"/>
                <a:ext cx="15669" cy="2153"/>
              </a:xfrm>
              <a:custGeom>
                <a:avLst/>
                <a:gdLst>
                  <a:gd name="connsiteX0" fmla="*/ 15669 w 15669"/>
                  <a:gd name="connsiteY0" fmla="*/ 2153 h 2153"/>
                  <a:gd name="connsiteX1" fmla="*/ 0 w 15669"/>
                  <a:gd name="connsiteY1" fmla="*/ 0 h 2153"/>
                </a:gdLst>
                <a:ahLst/>
                <a:cxnLst>
                  <a:cxn ang="0">
                    <a:pos x="connsiteX0" y="connsiteY0"/>
                  </a:cxn>
                  <a:cxn ang="0">
                    <a:pos x="connsiteX1" y="connsiteY1"/>
                  </a:cxn>
                </a:cxnLst>
                <a:rect l="l" t="t" r="r" b="b"/>
                <a:pathLst>
                  <a:path w="15669" h="2153">
                    <a:moveTo>
                      <a:pt x="15669" y="2153"/>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29" name="Vrije vorm: vorm 6028">
                <a:extLst>
                  <a:ext uri="{FF2B5EF4-FFF2-40B4-BE49-F238E27FC236}">
                    <a16:creationId xmlns:a16="http://schemas.microsoft.com/office/drawing/2014/main" id="{5A1FB0F9-F308-4C61-9FA6-3FD0FDAF3494}"/>
                  </a:ext>
                </a:extLst>
              </p:cNvPr>
              <p:cNvSpPr/>
              <p:nvPr/>
            </p:nvSpPr>
            <p:spPr>
              <a:xfrm>
                <a:off x="7589915" y="2722584"/>
                <a:ext cx="299" cy="119"/>
              </a:xfrm>
              <a:custGeom>
                <a:avLst/>
                <a:gdLst>
                  <a:gd name="connsiteX0" fmla="*/ 299 w 299"/>
                  <a:gd name="connsiteY0" fmla="*/ 120 h 119"/>
                  <a:gd name="connsiteX1" fmla="*/ 0 w 299"/>
                  <a:gd name="connsiteY1" fmla="*/ 0 h 119"/>
                </a:gdLst>
                <a:ahLst/>
                <a:cxnLst>
                  <a:cxn ang="0">
                    <a:pos x="connsiteX0" y="connsiteY0"/>
                  </a:cxn>
                  <a:cxn ang="0">
                    <a:pos x="connsiteX1" y="connsiteY1"/>
                  </a:cxn>
                </a:cxnLst>
                <a:rect l="l" t="t" r="r" b="b"/>
                <a:pathLst>
                  <a:path w="299" h="119">
                    <a:moveTo>
                      <a:pt x="299" y="12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30" name="Vrije vorm: vorm 6029">
                <a:extLst>
                  <a:ext uri="{FF2B5EF4-FFF2-40B4-BE49-F238E27FC236}">
                    <a16:creationId xmlns:a16="http://schemas.microsoft.com/office/drawing/2014/main" id="{8C046DF6-5E26-4664-97A1-64C6605B3627}"/>
                  </a:ext>
                </a:extLst>
              </p:cNvPr>
              <p:cNvSpPr/>
              <p:nvPr/>
            </p:nvSpPr>
            <p:spPr>
              <a:xfrm>
                <a:off x="7668621" y="2664452"/>
                <a:ext cx="6160" cy="6638"/>
              </a:xfrm>
              <a:custGeom>
                <a:avLst/>
                <a:gdLst>
                  <a:gd name="connsiteX0" fmla="*/ 6160 w 6160"/>
                  <a:gd name="connsiteY0" fmla="*/ 6639 h 6638"/>
                  <a:gd name="connsiteX1" fmla="*/ 0 w 6160"/>
                  <a:gd name="connsiteY1" fmla="*/ 0 h 6638"/>
                </a:gdLst>
                <a:ahLst/>
                <a:cxnLst>
                  <a:cxn ang="0">
                    <a:pos x="connsiteX0" y="connsiteY0"/>
                  </a:cxn>
                  <a:cxn ang="0">
                    <a:pos x="connsiteX1" y="connsiteY1"/>
                  </a:cxn>
                </a:cxnLst>
                <a:rect l="l" t="t" r="r" b="b"/>
                <a:pathLst>
                  <a:path w="6160" h="6638">
                    <a:moveTo>
                      <a:pt x="6160" y="6639"/>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31" name="Vrije vorm: vorm 6030">
                <a:extLst>
                  <a:ext uri="{FF2B5EF4-FFF2-40B4-BE49-F238E27FC236}">
                    <a16:creationId xmlns:a16="http://schemas.microsoft.com/office/drawing/2014/main" id="{4A15005A-1DB9-48D8-AD15-0F9459C177BC}"/>
                  </a:ext>
                </a:extLst>
              </p:cNvPr>
              <p:cNvSpPr/>
              <p:nvPr/>
            </p:nvSpPr>
            <p:spPr>
              <a:xfrm>
                <a:off x="7647389" y="2643758"/>
                <a:ext cx="3947" cy="2631"/>
              </a:xfrm>
              <a:custGeom>
                <a:avLst/>
                <a:gdLst>
                  <a:gd name="connsiteX0" fmla="*/ 3947 w 3947"/>
                  <a:gd name="connsiteY0" fmla="*/ 2631 h 2631"/>
                  <a:gd name="connsiteX1" fmla="*/ 0 w 3947"/>
                  <a:gd name="connsiteY1" fmla="*/ 0 h 2631"/>
                </a:gdLst>
                <a:ahLst/>
                <a:cxnLst>
                  <a:cxn ang="0">
                    <a:pos x="connsiteX0" y="connsiteY0"/>
                  </a:cxn>
                  <a:cxn ang="0">
                    <a:pos x="connsiteX1" y="connsiteY1"/>
                  </a:cxn>
                </a:cxnLst>
                <a:rect l="l" t="t" r="r" b="b"/>
                <a:pathLst>
                  <a:path w="3947" h="2631">
                    <a:moveTo>
                      <a:pt x="3947" y="263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32" name="Vrije vorm: vorm 6031">
                <a:extLst>
                  <a:ext uri="{FF2B5EF4-FFF2-40B4-BE49-F238E27FC236}">
                    <a16:creationId xmlns:a16="http://schemas.microsoft.com/office/drawing/2014/main" id="{3AE9EFE3-FF15-4876-B7AC-4B37F08EF36B}"/>
                  </a:ext>
                </a:extLst>
              </p:cNvPr>
              <p:cNvSpPr/>
              <p:nvPr/>
            </p:nvSpPr>
            <p:spPr>
              <a:xfrm>
                <a:off x="7746071" y="2749617"/>
                <a:ext cx="2810" cy="956"/>
              </a:xfrm>
              <a:custGeom>
                <a:avLst/>
                <a:gdLst>
                  <a:gd name="connsiteX0" fmla="*/ 2811 w 2810"/>
                  <a:gd name="connsiteY0" fmla="*/ 957 h 956"/>
                  <a:gd name="connsiteX1" fmla="*/ 0 w 2810"/>
                  <a:gd name="connsiteY1" fmla="*/ 0 h 956"/>
                </a:gdLst>
                <a:ahLst/>
                <a:cxnLst>
                  <a:cxn ang="0">
                    <a:pos x="connsiteX0" y="connsiteY0"/>
                  </a:cxn>
                  <a:cxn ang="0">
                    <a:pos x="connsiteX1" y="connsiteY1"/>
                  </a:cxn>
                </a:cxnLst>
                <a:rect l="l" t="t" r="r" b="b"/>
                <a:pathLst>
                  <a:path w="2810" h="956">
                    <a:moveTo>
                      <a:pt x="2811" y="95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33" name="Vrije vorm: vorm 6032">
                <a:extLst>
                  <a:ext uri="{FF2B5EF4-FFF2-40B4-BE49-F238E27FC236}">
                    <a16:creationId xmlns:a16="http://schemas.microsoft.com/office/drawing/2014/main" id="{2BBC163A-D76A-43DB-8889-039988302F66}"/>
                  </a:ext>
                </a:extLst>
              </p:cNvPr>
              <p:cNvSpPr/>
              <p:nvPr/>
            </p:nvSpPr>
            <p:spPr>
              <a:xfrm>
                <a:off x="7737758" y="2744593"/>
                <a:ext cx="8313" cy="5023"/>
              </a:xfrm>
              <a:custGeom>
                <a:avLst/>
                <a:gdLst>
                  <a:gd name="connsiteX0" fmla="*/ 0 w 8313"/>
                  <a:gd name="connsiteY0" fmla="*/ 0 h 5023"/>
                  <a:gd name="connsiteX1" fmla="*/ 8313 w 8313"/>
                  <a:gd name="connsiteY1" fmla="*/ 5024 h 5023"/>
                </a:gdLst>
                <a:ahLst/>
                <a:cxnLst>
                  <a:cxn ang="0">
                    <a:pos x="connsiteX0" y="connsiteY0"/>
                  </a:cxn>
                  <a:cxn ang="0">
                    <a:pos x="connsiteX1" y="connsiteY1"/>
                  </a:cxn>
                </a:cxnLst>
                <a:rect l="l" t="t" r="r" b="b"/>
                <a:pathLst>
                  <a:path w="8313" h="5023">
                    <a:moveTo>
                      <a:pt x="0" y="0"/>
                    </a:moveTo>
                    <a:lnTo>
                      <a:pt x="8313" y="5024"/>
                    </a:lnTo>
                  </a:path>
                </a:pathLst>
              </a:custGeom>
              <a:ln w="6350" cap="rnd">
                <a:solidFill>
                  <a:schemeClr val="bg1">
                    <a:alpha val="80000"/>
                  </a:schemeClr>
                </a:solidFill>
                <a:prstDash val="solid"/>
                <a:round/>
              </a:ln>
            </p:spPr>
            <p:txBody>
              <a:bodyPr rtlCol="0" anchor="ctr"/>
              <a:lstStyle/>
              <a:p>
                <a:endParaRPr lang="en-GB"/>
              </a:p>
            </p:txBody>
          </p:sp>
          <p:sp>
            <p:nvSpPr>
              <p:cNvPr id="6034" name="Vrije vorm: vorm 6033">
                <a:extLst>
                  <a:ext uri="{FF2B5EF4-FFF2-40B4-BE49-F238E27FC236}">
                    <a16:creationId xmlns:a16="http://schemas.microsoft.com/office/drawing/2014/main" id="{F220B28C-CE15-464D-9138-0AA6CF38D196}"/>
                  </a:ext>
                </a:extLst>
              </p:cNvPr>
              <p:cNvSpPr/>
              <p:nvPr/>
            </p:nvSpPr>
            <p:spPr>
              <a:xfrm>
                <a:off x="7720593" y="2711699"/>
                <a:ext cx="17164" cy="32893"/>
              </a:xfrm>
              <a:custGeom>
                <a:avLst/>
                <a:gdLst>
                  <a:gd name="connsiteX0" fmla="*/ 17164 w 17164"/>
                  <a:gd name="connsiteY0" fmla="*/ 32894 h 32893"/>
                  <a:gd name="connsiteX1" fmla="*/ 0 w 17164"/>
                  <a:gd name="connsiteY1" fmla="*/ 0 h 32893"/>
                </a:gdLst>
                <a:ahLst/>
                <a:cxnLst>
                  <a:cxn ang="0">
                    <a:pos x="connsiteX0" y="connsiteY0"/>
                  </a:cxn>
                  <a:cxn ang="0">
                    <a:pos x="connsiteX1" y="connsiteY1"/>
                  </a:cxn>
                </a:cxnLst>
                <a:rect l="l" t="t" r="r" b="b"/>
                <a:pathLst>
                  <a:path w="17164" h="32893">
                    <a:moveTo>
                      <a:pt x="17164" y="3289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35" name="Vrije vorm: vorm 6034">
                <a:extLst>
                  <a:ext uri="{FF2B5EF4-FFF2-40B4-BE49-F238E27FC236}">
                    <a16:creationId xmlns:a16="http://schemas.microsoft.com/office/drawing/2014/main" id="{B8D439F8-92D0-4D0D-9032-89C2F3C097AF}"/>
                  </a:ext>
                </a:extLst>
              </p:cNvPr>
              <p:cNvSpPr/>
              <p:nvPr/>
            </p:nvSpPr>
            <p:spPr>
              <a:xfrm>
                <a:off x="7624962" y="2733648"/>
                <a:ext cx="3109" cy="19138"/>
              </a:xfrm>
              <a:custGeom>
                <a:avLst/>
                <a:gdLst>
                  <a:gd name="connsiteX0" fmla="*/ 3110 w 3109"/>
                  <a:gd name="connsiteY0" fmla="*/ 19138 h 19138"/>
                  <a:gd name="connsiteX1" fmla="*/ 0 w 3109"/>
                  <a:gd name="connsiteY1" fmla="*/ 0 h 19138"/>
                </a:gdLst>
                <a:ahLst/>
                <a:cxnLst>
                  <a:cxn ang="0">
                    <a:pos x="connsiteX0" y="connsiteY0"/>
                  </a:cxn>
                  <a:cxn ang="0">
                    <a:pos x="connsiteX1" y="connsiteY1"/>
                  </a:cxn>
                </a:cxnLst>
                <a:rect l="l" t="t" r="r" b="b"/>
                <a:pathLst>
                  <a:path w="3109" h="19138">
                    <a:moveTo>
                      <a:pt x="3110" y="1913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36" name="Vrije vorm: vorm 6035">
                <a:extLst>
                  <a:ext uri="{FF2B5EF4-FFF2-40B4-BE49-F238E27FC236}">
                    <a16:creationId xmlns:a16="http://schemas.microsoft.com/office/drawing/2014/main" id="{76DA285E-42C1-48DA-83BE-4A92297730CF}"/>
                  </a:ext>
                </a:extLst>
              </p:cNvPr>
              <p:cNvSpPr/>
              <p:nvPr/>
            </p:nvSpPr>
            <p:spPr>
              <a:xfrm>
                <a:off x="7645715" y="2641366"/>
                <a:ext cx="1674" cy="2392"/>
              </a:xfrm>
              <a:custGeom>
                <a:avLst/>
                <a:gdLst>
                  <a:gd name="connsiteX0" fmla="*/ 0 w 1674"/>
                  <a:gd name="connsiteY0" fmla="*/ 0 h 2392"/>
                  <a:gd name="connsiteX1" fmla="*/ 1674 w 1674"/>
                  <a:gd name="connsiteY1" fmla="*/ 2392 h 2392"/>
                </a:gdLst>
                <a:ahLst/>
                <a:cxnLst>
                  <a:cxn ang="0">
                    <a:pos x="connsiteX0" y="connsiteY0"/>
                  </a:cxn>
                  <a:cxn ang="0">
                    <a:pos x="connsiteX1" y="connsiteY1"/>
                  </a:cxn>
                </a:cxnLst>
                <a:rect l="l" t="t" r="r" b="b"/>
                <a:pathLst>
                  <a:path w="1674" h="2392">
                    <a:moveTo>
                      <a:pt x="0" y="0"/>
                    </a:moveTo>
                    <a:lnTo>
                      <a:pt x="1674" y="2392"/>
                    </a:lnTo>
                  </a:path>
                </a:pathLst>
              </a:custGeom>
              <a:ln w="6350" cap="rnd">
                <a:solidFill>
                  <a:schemeClr val="bg1">
                    <a:alpha val="80000"/>
                  </a:schemeClr>
                </a:solidFill>
                <a:prstDash val="solid"/>
                <a:round/>
              </a:ln>
            </p:spPr>
            <p:txBody>
              <a:bodyPr rtlCol="0" anchor="ctr"/>
              <a:lstStyle/>
              <a:p>
                <a:endParaRPr lang="en-GB"/>
              </a:p>
            </p:txBody>
          </p:sp>
          <p:sp>
            <p:nvSpPr>
              <p:cNvPr id="6037" name="Vrije vorm: vorm 6036">
                <a:extLst>
                  <a:ext uri="{FF2B5EF4-FFF2-40B4-BE49-F238E27FC236}">
                    <a16:creationId xmlns:a16="http://schemas.microsoft.com/office/drawing/2014/main" id="{41E167A8-6AB8-40FB-AD25-97AF7B101A1A}"/>
                  </a:ext>
                </a:extLst>
              </p:cNvPr>
              <p:cNvSpPr/>
              <p:nvPr/>
            </p:nvSpPr>
            <p:spPr>
              <a:xfrm>
                <a:off x="7594639" y="2764270"/>
                <a:ext cx="24640" cy="26255"/>
              </a:xfrm>
              <a:custGeom>
                <a:avLst/>
                <a:gdLst>
                  <a:gd name="connsiteX0" fmla="*/ 24641 w 24640"/>
                  <a:gd name="connsiteY0" fmla="*/ 0 h 26255"/>
                  <a:gd name="connsiteX1" fmla="*/ 0 w 24640"/>
                  <a:gd name="connsiteY1" fmla="*/ 26255 h 26255"/>
                </a:gdLst>
                <a:ahLst/>
                <a:cxnLst>
                  <a:cxn ang="0">
                    <a:pos x="connsiteX0" y="connsiteY0"/>
                  </a:cxn>
                  <a:cxn ang="0">
                    <a:pos x="connsiteX1" y="connsiteY1"/>
                  </a:cxn>
                </a:cxnLst>
                <a:rect l="l" t="t" r="r" b="b"/>
                <a:pathLst>
                  <a:path w="24640" h="26255">
                    <a:moveTo>
                      <a:pt x="24641" y="0"/>
                    </a:moveTo>
                    <a:lnTo>
                      <a:pt x="0" y="26255"/>
                    </a:lnTo>
                  </a:path>
                </a:pathLst>
              </a:custGeom>
              <a:ln w="6350" cap="rnd">
                <a:solidFill>
                  <a:schemeClr val="bg1">
                    <a:alpha val="80000"/>
                  </a:schemeClr>
                </a:solidFill>
                <a:prstDash val="solid"/>
                <a:round/>
              </a:ln>
            </p:spPr>
            <p:txBody>
              <a:bodyPr rtlCol="0" anchor="ctr"/>
              <a:lstStyle/>
              <a:p>
                <a:endParaRPr lang="en-GB"/>
              </a:p>
            </p:txBody>
          </p:sp>
          <p:sp>
            <p:nvSpPr>
              <p:cNvPr id="6038" name="Vrije vorm: vorm 6037">
                <a:extLst>
                  <a:ext uri="{FF2B5EF4-FFF2-40B4-BE49-F238E27FC236}">
                    <a16:creationId xmlns:a16="http://schemas.microsoft.com/office/drawing/2014/main" id="{E3E69E39-1C7C-4930-8DBC-C7C894B49F87}"/>
                  </a:ext>
                </a:extLst>
              </p:cNvPr>
              <p:cNvSpPr/>
              <p:nvPr/>
            </p:nvSpPr>
            <p:spPr>
              <a:xfrm>
                <a:off x="7613359" y="2760921"/>
                <a:ext cx="5920" cy="3349"/>
              </a:xfrm>
              <a:custGeom>
                <a:avLst/>
                <a:gdLst>
                  <a:gd name="connsiteX0" fmla="*/ 5921 w 5920"/>
                  <a:gd name="connsiteY0" fmla="*/ 3349 h 3349"/>
                  <a:gd name="connsiteX1" fmla="*/ 0 w 5920"/>
                  <a:gd name="connsiteY1" fmla="*/ 0 h 3349"/>
                </a:gdLst>
                <a:ahLst/>
                <a:cxnLst>
                  <a:cxn ang="0">
                    <a:pos x="connsiteX0" y="connsiteY0"/>
                  </a:cxn>
                  <a:cxn ang="0">
                    <a:pos x="connsiteX1" y="connsiteY1"/>
                  </a:cxn>
                </a:cxnLst>
                <a:rect l="l" t="t" r="r" b="b"/>
                <a:pathLst>
                  <a:path w="5920" h="3349">
                    <a:moveTo>
                      <a:pt x="5921" y="3349"/>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39" name="Vrije vorm: vorm 6038">
                <a:extLst>
                  <a:ext uri="{FF2B5EF4-FFF2-40B4-BE49-F238E27FC236}">
                    <a16:creationId xmlns:a16="http://schemas.microsoft.com/office/drawing/2014/main" id="{5CF6D897-764A-4918-BC4E-1064113F6344}"/>
                  </a:ext>
                </a:extLst>
              </p:cNvPr>
              <p:cNvSpPr/>
              <p:nvPr/>
            </p:nvSpPr>
            <p:spPr>
              <a:xfrm>
                <a:off x="7746071" y="2749617"/>
                <a:ext cx="2751" cy="1136"/>
              </a:xfrm>
              <a:custGeom>
                <a:avLst/>
                <a:gdLst>
                  <a:gd name="connsiteX0" fmla="*/ 2751 w 2751"/>
                  <a:gd name="connsiteY0" fmla="*/ 1136 h 1136"/>
                  <a:gd name="connsiteX1" fmla="*/ 0 w 2751"/>
                  <a:gd name="connsiteY1" fmla="*/ 0 h 1136"/>
                </a:gdLst>
                <a:ahLst/>
                <a:cxnLst>
                  <a:cxn ang="0">
                    <a:pos x="connsiteX0" y="connsiteY0"/>
                  </a:cxn>
                  <a:cxn ang="0">
                    <a:pos x="connsiteX1" y="connsiteY1"/>
                  </a:cxn>
                </a:cxnLst>
                <a:rect l="l" t="t" r="r" b="b"/>
                <a:pathLst>
                  <a:path w="2751" h="1136">
                    <a:moveTo>
                      <a:pt x="2751" y="113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40" name="Vrije vorm: vorm 6039">
                <a:extLst>
                  <a:ext uri="{FF2B5EF4-FFF2-40B4-BE49-F238E27FC236}">
                    <a16:creationId xmlns:a16="http://schemas.microsoft.com/office/drawing/2014/main" id="{09905E97-13E3-4D8B-804D-20A6BA439ACD}"/>
                  </a:ext>
                </a:extLst>
              </p:cNvPr>
              <p:cNvSpPr/>
              <p:nvPr/>
            </p:nvSpPr>
            <p:spPr>
              <a:xfrm>
                <a:off x="7735067" y="2806613"/>
                <a:ext cx="10167" cy="12320"/>
              </a:xfrm>
              <a:custGeom>
                <a:avLst/>
                <a:gdLst>
                  <a:gd name="connsiteX0" fmla="*/ 0 w 10167"/>
                  <a:gd name="connsiteY0" fmla="*/ 0 h 12320"/>
                  <a:gd name="connsiteX1" fmla="*/ 10167 w 10167"/>
                  <a:gd name="connsiteY1" fmla="*/ 12320 h 12320"/>
                </a:gdLst>
                <a:ahLst/>
                <a:cxnLst>
                  <a:cxn ang="0">
                    <a:pos x="connsiteX0" y="connsiteY0"/>
                  </a:cxn>
                  <a:cxn ang="0">
                    <a:pos x="connsiteX1" y="connsiteY1"/>
                  </a:cxn>
                </a:cxnLst>
                <a:rect l="l" t="t" r="r" b="b"/>
                <a:pathLst>
                  <a:path w="10167" h="12320">
                    <a:moveTo>
                      <a:pt x="0" y="0"/>
                    </a:moveTo>
                    <a:lnTo>
                      <a:pt x="10167" y="12320"/>
                    </a:lnTo>
                  </a:path>
                </a:pathLst>
              </a:custGeom>
              <a:ln w="6350" cap="rnd">
                <a:solidFill>
                  <a:schemeClr val="bg1">
                    <a:alpha val="80000"/>
                  </a:schemeClr>
                </a:solidFill>
                <a:prstDash val="solid"/>
                <a:round/>
              </a:ln>
            </p:spPr>
            <p:txBody>
              <a:bodyPr rtlCol="0" anchor="ctr"/>
              <a:lstStyle/>
              <a:p>
                <a:endParaRPr lang="en-GB"/>
              </a:p>
            </p:txBody>
          </p:sp>
          <p:sp>
            <p:nvSpPr>
              <p:cNvPr id="6041" name="Vrije vorm: vorm 6040">
                <a:extLst>
                  <a:ext uri="{FF2B5EF4-FFF2-40B4-BE49-F238E27FC236}">
                    <a16:creationId xmlns:a16="http://schemas.microsoft.com/office/drawing/2014/main" id="{41176E2A-26A5-401C-B4CB-06DC9981C03B}"/>
                  </a:ext>
                </a:extLst>
              </p:cNvPr>
              <p:cNvSpPr/>
              <p:nvPr/>
            </p:nvSpPr>
            <p:spPr>
              <a:xfrm>
                <a:off x="7578731" y="2700635"/>
                <a:ext cx="9748" cy="6100"/>
              </a:xfrm>
              <a:custGeom>
                <a:avLst/>
                <a:gdLst>
                  <a:gd name="connsiteX0" fmla="*/ 9749 w 9748"/>
                  <a:gd name="connsiteY0" fmla="*/ 6100 h 6100"/>
                  <a:gd name="connsiteX1" fmla="*/ 0 w 9748"/>
                  <a:gd name="connsiteY1" fmla="*/ 0 h 6100"/>
                </a:gdLst>
                <a:ahLst/>
                <a:cxnLst>
                  <a:cxn ang="0">
                    <a:pos x="connsiteX0" y="connsiteY0"/>
                  </a:cxn>
                  <a:cxn ang="0">
                    <a:pos x="connsiteX1" y="connsiteY1"/>
                  </a:cxn>
                </a:cxnLst>
                <a:rect l="l" t="t" r="r" b="b"/>
                <a:pathLst>
                  <a:path w="9748" h="6100">
                    <a:moveTo>
                      <a:pt x="9749" y="610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42" name="Vrije vorm: vorm 6041">
                <a:extLst>
                  <a:ext uri="{FF2B5EF4-FFF2-40B4-BE49-F238E27FC236}">
                    <a16:creationId xmlns:a16="http://schemas.microsoft.com/office/drawing/2014/main" id="{ECD36109-1364-4F37-BBFC-7D32B1CD36F7}"/>
                  </a:ext>
                </a:extLst>
              </p:cNvPr>
              <p:cNvSpPr/>
              <p:nvPr/>
            </p:nvSpPr>
            <p:spPr>
              <a:xfrm>
                <a:off x="7562224" y="2712237"/>
                <a:ext cx="5681" cy="1734"/>
              </a:xfrm>
              <a:custGeom>
                <a:avLst/>
                <a:gdLst>
                  <a:gd name="connsiteX0" fmla="*/ 5682 w 5681"/>
                  <a:gd name="connsiteY0" fmla="*/ 0 h 1734"/>
                  <a:gd name="connsiteX1" fmla="*/ 0 w 5681"/>
                  <a:gd name="connsiteY1" fmla="*/ 1734 h 1734"/>
                </a:gdLst>
                <a:ahLst/>
                <a:cxnLst>
                  <a:cxn ang="0">
                    <a:pos x="connsiteX0" y="connsiteY0"/>
                  </a:cxn>
                  <a:cxn ang="0">
                    <a:pos x="connsiteX1" y="connsiteY1"/>
                  </a:cxn>
                </a:cxnLst>
                <a:rect l="l" t="t" r="r" b="b"/>
                <a:pathLst>
                  <a:path w="5681" h="1734">
                    <a:moveTo>
                      <a:pt x="5682" y="0"/>
                    </a:moveTo>
                    <a:lnTo>
                      <a:pt x="0" y="1734"/>
                    </a:lnTo>
                  </a:path>
                </a:pathLst>
              </a:custGeom>
              <a:ln w="6350" cap="rnd">
                <a:solidFill>
                  <a:schemeClr val="bg1">
                    <a:alpha val="80000"/>
                  </a:schemeClr>
                </a:solidFill>
                <a:prstDash val="solid"/>
                <a:round/>
              </a:ln>
            </p:spPr>
            <p:txBody>
              <a:bodyPr rtlCol="0" anchor="ctr"/>
              <a:lstStyle/>
              <a:p>
                <a:endParaRPr lang="en-GB"/>
              </a:p>
            </p:txBody>
          </p:sp>
          <p:sp>
            <p:nvSpPr>
              <p:cNvPr id="6043" name="Vrije vorm: vorm 6042">
                <a:extLst>
                  <a:ext uri="{FF2B5EF4-FFF2-40B4-BE49-F238E27FC236}">
                    <a16:creationId xmlns:a16="http://schemas.microsoft.com/office/drawing/2014/main" id="{8FD7D862-203F-4271-977D-917DCA5C4F24}"/>
                  </a:ext>
                </a:extLst>
              </p:cNvPr>
              <p:cNvSpPr/>
              <p:nvPr/>
            </p:nvSpPr>
            <p:spPr>
              <a:xfrm>
                <a:off x="7613359" y="2760921"/>
                <a:ext cx="6100" cy="3169"/>
              </a:xfrm>
              <a:custGeom>
                <a:avLst/>
                <a:gdLst>
                  <a:gd name="connsiteX0" fmla="*/ 6101 w 6100"/>
                  <a:gd name="connsiteY0" fmla="*/ 3170 h 3169"/>
                  <a:gd name="connsiteX1" fmla="*/ 0 w 6100"/>
                  <a:gd name="connsiteY1" fmla="*/ 0 h 3169"/>
                </a:gdLst>
                <a:ahLst/>
                <a:cxnLst>
                  <a:cxn ang="0">
                    <a:pos x="connsiteX0" y="connsiteY0"/>
                  </a:cxn>
                  <a:cxn ang="0">
                    <a:pos x="connsiteX1" y="connsiteY1"/>
                  </a:cxn>
                </a:cxnLst>
                <a:rect l="l" t="t" r="r" b="b"/>
                <a:pathLst>
                  <a:path w="6100" h="3169">
                    <a:moveTo>
                      <a:pt x="6101" y="317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44" name="Vrije vorm: vorm 6043">
                <a:extLst>
                  <a:ext uri="{FF2B5EF4-FFF2-40B4-BE49-F238E27FC236}">
                    <a16:creationId xmlns:a16="http://schemas.microsoft.com/office/drawing/2014/main" id="{98B97269-CAD1-4BA5-8E82-17B9BE01BD70}"/>
                  </a:ext>
                </a:extLst>
              </p:cNvPr>
              <p:cNvSpPr/>
              <p:nvPr/>
            </p:nvSpPr>
            <p:spPr>
              <a:xfrm>
                <a:off x="7590453" y="2724438"/>
                <a:ext cx="5980" cy="59"/>
              </a:xfrm>
              <a:custGeom>
                <a:avLst/>
                <a:gdLst>
                  <a:gd name="connsiteX0" fmla="*/ 0 w 5980"/>
                  <a:gd name="connsiteY0" fmla="*/ 0 h 59"/>
                  <a:gd name="connsiteX1" fmla="*/ 0 w 5980"/>
                  <a:gd name="connsiteY1" fmla="*/ 60 h 59"/>
                </a:gdLst>
                <a:ahLst/>
                <a:cxnLst>
                  <a:cxn ang="0">
                    <a:pos x="connsiteX0" y="connsiteY0"/>
                  </a:cxn>
                  <a:cxn ang="0">
                    <a:pos x="connsiteX1" y="connsiteY1"/>
                  </a:cxn>
                </a:cxnLst>
                <a:rect l="l" t="t" r="r" b="b"/>
                <a:pathLst>
                  <a:path w="5980" h="59">
                    <a:moveTo>
                      <a:pt x="0" y="0"/>
                    </a:moveTo>
                    <a:lnTo>
                      <a:pt x="0" y="60"/>
                    </a:lnTo>
                  </a:path>
                </a:pathLst>
              </a:custGeom>
              <a:ln w="6350" cap="rnd">
                <a:solidFill>
                  <a:schemeClr val="bg1">
                    <a:alpha val="80000"/>
                  </a:schemeClr>
                </a:solidFill>
                <a:prstDash val="solid"/>
                <a:round/>
              </a:ln>
            </p:spPr>
            <p:txBody>
              <a:bodyPr rtlCol="0" anchor="ctr"/>
              <a:lstStyle/>
              <a:p>
                <a:endParaRPr lang="en-GB"/>
              </a:p>
            </p:txBody>
          </p:sp>
          <p:sp>
            <p:nvSpPr>
              <p:cNvPr id="6045" name="Vrije vorm: vorm 6044">
                <a:extLst>
                  <a:ext uri="{FF2B5EF4-FFF2-40B4-BE49-F238E27FC236}">
                    <a16:creationId xmlns:a16="http://schemas.microsoft.com/office/drawing/2014/main" id="{E735269E-064C-4656-BDD9-A2E885321437}"/>
                  </a:ext>
                </a:extLst>
              </p:cNvPr>
              <p:cNvSpPr/>
              <p:nvPr/>
            </p:nvSpPr>
            <p:spPr>
              <a:xfrm>
                <a:off x="7645715" y="2641366"/>
                <a:ext cx="5621" cy="5023"/>
              </a:xfrm>
              <a:custGeom>
                <a:avLst/>
                <a:gdLst>
                  <a:gd name="connsiteX0" fmla="*/ 0 w 5621"/>
                  <a:gd name="connsiteY0" fmla="*/ 0 h 5023"/>
                  <a:gd name="connsiteX1" fmla="*/ 5622 w 5621"/>
                  <a:gd name="connsiteY1" fmla="*/ 5024 h 5023"/>
                </a:gdLst>
                <a:ahLst/>
                <a:cxnLst>
                  <a:cxn ang="0">
                    <a:pos x="connsiteX0" y="connsiteY0"/>
                  </a:cxn>
                  <a:cxn ang="0">
                    <a:pos x="connsiteX1" y="connsiteY1"/>
                  </a:cxn>
                </a:cxnLst>
                <a:rect l="l" t="t" r="r" b="b"/>
                <a:pathLst>
                  <a:path w="5621" h="5023">
                    <a:moveTo>
                      <a:pt x="0" y="0"/>
                    </a:moveTo>
                    <a:lnTo>
                      <a:pt x="5622" y="5024"/>
                    </a:lnTo>
                  </a:path>
                </a:pathLst>
              </a:custGeom>
              <a:ln w="6350" cap="rnd">
                <a:solidFill>
                  <a:schemeClr val="bg1">
                    <a:alpha val="80000"/>
                  </a:schemeClr>
                </a:solidFill>
                <a:prstDash val="solid"/>
                <a:round/>
              </a:ln>
            </p:spPr>
            <p:txBody>
              <a:bodyPr rtlCol="0" anchor="ctr"/>
              <a:lstStyle/>
              <a:p>
                <a:endParaRPr lang="en-GB"/>
              </a:p>
            </p:txBody>
          </p:sp>
          <p:sp>
            <p:nvSpPr>
              <p:cNvPr id="6046" name="Vrije vorm: vorm 6045">
                <a:extLst>
                  <a:ext uri="{FF2B5EF4-FFF2-40B4-BE49-F238E27FC236}">
                    <a16:creationId xmlns:a16="http://schemas.microsoft.com/office/drawing/2014/main" id="{B633977F-2529-4421-92E7-7295652B1A1F}"/>
                  </a:ext>
                </a:extLst>
              </p:cNvPr>
              <p:cNvSpPr/>
              <p:nvPr/>
            </p:nvSpPr>
            <p:spPr>
              <a:xfrm>
                <a:off x="7782554" y="2780896"/>
                <a:ext cx="6997" cy="897"/>
              </a:xfrm>
              <a:custGeom>
                <a:avLst/>
                <a:gdLst>
                  <a:gd name="connsiteX0" fmla="*/ 0 w 6997"/>
                  <a:gd name="connsiteY0" fmla="*/ 0 h 897"/>
                  <a:gd name="connsiteX1" fmla="*/ 6997 w 6997"/>
                  <a:gd name="connsiteY1" fmla="*/ 897 h 897"/>
                </a:gdLst>
                <a:ahLst/>
                <a:cxnLst>
                  <a:cxn ang="0">
                    <a:pos x="connsiteX0" y="connsiteY0"/>
                  </a:cxn>
                  <a:cxn ang="0">
                    <a:pos x="connsiteX1" y="connsiteY1"/>
                  </a:cxn>
                </a:cxnLst>
                <a:rect l="l" t="t" r="r" b="b"/>
                <a:pathLst>
                  <a:path w="6997" h="897">
                    <a:moveTo>
                      <a:pt x="0" y="0"/>
                    </a:moveTo>
                    <a:lnTo>
                      <a:pt x="6997" y="897"/>
                    </a:lnTo>
                  </a:path>
                </a:pathLst>
              </a:custGeom>
              <a:ln w="6350" cap="rnd">
                <a:solidFill>
                  <a:schemeClr val="bg1">
                    <a:alpha val="80000"/>
                  </a:schemeClr>
                </a:solidFill>
                <a:prstDash val="solid"/>
                <a:round/>
              </a:ln>
            </p:spPr>
            <p:txBody>
              <a:bodyPr rtlCol="0" anchor="ctr"/>
              <a:lstStyle/>
              <a:p>
                <a:endParaRPr lang="en-GB"/>
              </a:p>
            </p:txBody>
          </p:sp>
          <p:sp>
            <p:nvSpPr>
              <p:cNvPr id="6047" name="Vrije vorm: vorm 6046">
                <a:extLst>
                  <a:ext uri="{FF2B5EF4-FFF2-40B4-BE49-F238E27FC236}">
                    <a16:creationId xmlns:a16="http://schemas.microsoft.com/office/drawing/2014/main" id="{D112B181-DC0D-4882-97B4-D5D34D9B8E4B}"/>
                  </a:ext>
                </a:extLst>
              </p:cNvPr>
              <p:cNvSpPr/>
              <p:nvPr/>
            </p:nvSpPr>
            <p:spPr>
              <a:xfrm>
                <a:off x="7782255" y="2776052"/>
                <a:ext cx="7296" cy="5741"/>
              </a:xfrm>
              <a:custGeom>
                <a:avLst/>
                <a:gdLst>
                  <a:gd name="connsiteX0" fmla="*/ 0 w 7296"/>
                  <a:gd name="connsiteY0" fmla="*/ 0 h 5741"/>
                  <a:gd name="connsiteX1" fmla="*/ 7296 w 7296"/>
                  <a:gd name="connsiteY1" fmla="*/ 5742 h 5741"/>
                </a:gdLst>
                <a:ahLst/>
                <a:cxnLst>
                  <a:cxn ang="0">
                    <a:pos x="connsiteX0" y="connsiteY0"/>
                  </a:cxn>
                  <a:cxn ang="0">
                    <a:pos x="connsiteX1" y="connsiteY1"/>
                  </a:cxn>
                </a:cxnLst>
                <a:rect l="l" t="t" r="r" b="b"/>
                <a:pathLst>
                  <a:path w="7296" h="5741">
                    <a:moveTo>
                      <a:pt x="0" y="0"/>
                    </a:moveTo>
                    <a:lnTo>
                      <a:pt x="7296" y="5742"/>
                    </a:lnTo>
                  </a:path>
                </a:pathLst>
              </a:custGeom>
              <a:ln w="6350" cap="rnd">
                <a:solidFill>
                  <a:schemeClr val="bg1">
                    <a:alpha val="80000"/>
                  </a:schemeClr>
                </a:solidFill>
                <a:prstDash val="solid"/>
                <a:round/>
              </a:ln>
            </p:spPr>
            <p:txBody>
              <a:bodyPr rtlCol="0" anchor="ctr"/>
              <a:lstStyle/>
              <a:p>
                <a:endParaRPr lang="en-GB"/>
              </a:p>
            </p:txBody>
          </p:sp>
          <p:sp>
            <p:nvSpPr>
              <p:cNvPr id="6048" name="Vrije vorm: vorm 6047">
                <a:extLst>
                  <a:ext uri="{FF2B5EF4-FFF2-40B4-BE49-F238E27FC236}">
                    <a16:creationId xmlns:a16="http://schemas.microsoft.com/office/drawing/2014/main" id="{9C32EAB9-D448-4F3E-A8A9-A8AF02991F8A}"/>
                  </a:ext>
                </a:extLst>
              </p:cNvPr>
              <p:cNvSpPr/>
              <p:nvPr/>
            </p:nvSpPr>
            <p:spPr>
              <a:xfrm>
                <a:off x="7527835" y="2700336"/>
                <a:ext cx="7176" cy="5621"/>
              </a:xfrm>
              <a:custGeom>
                <a:avLst/>
                <a:gdLst>
                  <a:gd name="connsiteX0" fmla="*/ 0 w 7176"/>
                  <a:gd name="connsiteY0" fmla="*/ 5622 h 5621"/>
                  <a:gd name="connsiteX1" fmla="*/ 7177 w 7176"/>
                  <a:gd name="connsiteY1" fmla="*/ 0 h 5621"/>
                </a:gdLst>
                <a:ahLst/>
                <a:cxnLst>
                  <a:cxn ang="0">
                    <a:pos x="connsiteX0" y="connsiteY0"/>
                  </a:cxn>
                  <a:cxn ang="0">
                    <a:pos x="connsiteX1" y="connsiteY1"/>
                  </a:cxn>
                </a:cxnLst>
                <a:rect l="l" t="t" r="r" b="b"/>
                <a:pathLst>
                  <a:path w="7176" h="5621">
                    <a:moveTo>
                      <a:pt x="0" y="5622"/>
                    </a:moveTo>
                    <a:lnTo>
                      <a:pt x="7177" y="0"/>
                    </a:lnTo>
                  </a:path>
                </a:pathLst>
              </a:custGeom>
              <a:ln w="6350" cap="rnd">
                <a:solidFill>
                  <a:schemeClr val="bg1">
                    <a:alpha val="80000"/>
                  </a:schemeClr>
                </a:solidFill>
                <a:prstDash val="solid"/>
                <a:round/>
              </a:ln>
            </p:spPr>
            <p:txBody>
              <a:bodyPr rtlCol="0" anchor="ctr"/>
              <a:lstStyle/>
              <a:p>
                <a:endParaRPr lang="en-GB"/>
              </a:p>
            </p:txBody>
          </p:sp>
          <p:sp>
            <p:nvSpPr>
              <p:cNvPr id="6049" name="Vrije vorm: vorm 6048">
                <a:extLst>
                  <a:ext uri="{FF2B5EF4-FFF2-40B4-BE49-F238E27FC236}">
                    <a16:creationId xmlns:a16="http://schemas.microsoft.com/office/drawing/2014/main" id="{6D1F0E91-7739-4FBA-A3E9-429A6BFBFFB4}"/>
                  </a:ext>
                </a:extLst>
              </p:cNvPr>
              <p:cNvSpPr/>
              <p:nvPr/>
            </p:nvSpPr>
            <p:spPr>
              <a:xfrm>
                <a:off x="7773702" y="2747883"/>
                <a:ext cx="598" cy="9808"/>
              </a:xfrm>
              <a:custGeom>
                <a:avLst/>
                <a:gdLst>
                  <a:gd name="connsiteX0" fmla="*/ 0 w 598"/>
                  <a:gd name="connsiteY0" fmla="*/ 9808 h 9808"/>
                  <a:gd name="connsiteX1" fmla="*/ 598 w 598"/>
                  <a:gd name="connsiteY1" fmla="*/ 0 h 9808"/>
                </a:gdLst>
                <a:ahLst/>
                <a:cxnLst>
                  <a:cxn ang="0">
                    <a:pos x="connsiteX0" y="connsiteY0"/>
                  </a:cxn>
                  <a:cxn ang="0">
                    <a:pos x="connsiteX1" y="connsiteY1"/>
                  </a:cxn>
                </a:cxnLst>
                <a:rect l="l" t="t" r="r" b="b"/>
                <a:pathLst>
                  <a:path w="598" h="9808">
                    <a:moveTo>
                      <a:pt x="0" y="9808"/>
                    </a:moveTo>
                    <a:lnTo>
                      <a:pt x="598" y="0"/>
                    </a:lnTo>
                  </a:path>
                </a:pathLst>
              </a:custGeom>
              <a:ln w="6350" cap="rnd">
                <a:solidFill>
                  <a:schemeClr val="bg1">
                    <a:alpha val="80000"/>
                  </a:schemeClr>
                </a:solidFill>
                <a:prstDash val="solid"/>
                <a:round/>
              </a:ln>
            </p:spPr>
            <p:txBody>
              <a:bodyPr rtlCol="0" anchor="ctr"/>
              <a:lstStyle/>
              <a:p>
                <a:endParaRPr lang="en-GB"/>
              </a:p>
            </p:txBody>
          </p:sp>
          <p:sp>
            <p:nvSpPr>
              <p:cNvPr id="6050" name="Vrije vorm: vorm 6049">
                <a:extLst>
                  <a:ext uri="{FF2B5EF4-FFF2-40B4-BE49-F238E27FC236}">
                    <a16:creationId xmlns:a16="http://schemas.microsoft.com/office/drawing/2014/main" id="{E148FA5C-4407-48F2-A998-42608C781334}"/>
                  </a:ext>
                </a:extLst>
              </p:cNvPr>
              <p:cNvSpPr/>
              <p:nvPr/>
            </p:nvSpPr>
            <p:spPr>
              <a:xfrm>
                <a:off x="7728129" y="2799915"/>
                <a:ext cx="2870" cy="1794"/>
              </a:xfrm>
              <a:custGeom>
                <a:avLst/>
                <a:gdLst>
                  <a:gd name="connsiteX0" fmla="*/ 0 w 2870"/>
                  <a:gd name="connsiteY0" fmla="*/ 0 h 1794"/>
                  <a:gd name="connsiteX1" fmla="*/ 2870 w 2870"/>
                  <a:gd name="connsiteY1" fmla="*/ 1794 h 1794"/>
                </a:gdLst>
                <a:ahLst/>
                <a:cxnLst>
                  <a:cxn ang="0">
                    <a:pos x="connsiteX0" y="connsiteY0"/>
                  </a:cxn>
                  <a:cxn ang="0">
                    <a:pos x="connsiteX1" y="connsiteY1"/>
                  </a:cxn>
                </a:cxnLst>
                <a:rect l="l" t="t" r="r" b="b"/>
                <a:pathLst>
                  <a:path w="2870" h="1794">
                    <a:moveTo>
                      <a:pt x="0" y="0"/>
                    </a:moveTo>
                    <a:lnTo>
                      <a:pt x="2870" y="1794"/>
                    </a:lnTo>
                  </a:path>
                </a:pathLst>
              </a:custGeom>
              <a:ln w="6350" cap="rnd">
                <a:solidFill>
                  <a:schemeClr val="bg1">
                    <a:alpha val="80000"/>
                  </a:schemeClr>
                </a:solidFill>
                <a:prstDash val="solid"/>
                <a:round/>
              </a:ln>
            </p:spPr>
            <p:txBody>
              <a:bodyPr rtlCol="0" anchor="ctr"/>
              <a:lstStyle/>
              <a:p>
                <a:endParaRPr lang="en-GB"/>
              </a:p>
            </p:txBody>
          </p:sp>
          <p:sp>
            <p:nvSpPr>
              <p:cNvPr id="6051" name="Vrije vorm: vorm 6050">
                <a:extLst>
                  <a:ext uri="{FF2B5EF4-FFF2-40B4-BE49-F238E27FC236}">
                    <a16:creationId xmlns:a16="http://schemas.microsoft.com/office/drawing/2014/main" id="{8F5E6A2C-66B5-44B8-BC2B-8DF82FD5A49E}"/>
                  </a:ext>
                </a:extLst>
              </p:cNvPr>
              <p:cNvSpPr/>
              <p:nvPr/>
            </p:nvSpPr>
            <p:spPr>
              <a:xfrm>
                <a:off x="7622809" y="2794233"/>
                <a:ext cx="29006" cy="20872"/>
              </a:xfrm>
              <a:custGeom>
                <a:avLst/>
                <a:gdLst>
                  <a:gd name="connsiteX0" fmla="*/ 29006 w 29006"/>
                  <a:gd name="connsiteY0" fmla="*/ 0 h 20872"/>
                  <a:gd name="connsiteX1" fmla="*/ 0 w 29006"/>
                  <a:gd name="connsiteY1" fmla="*/ 20873 h 20872"/>
                </a:gdLst>
                <a:ahLst/>
                <a:cxnLst>
                  <a:cxn ang="0">
                    <a:pos x="connsiteX0" y="connsiteY0"/>
                  </a:cxn>
                  <a:cxn ang="0">
                    <a:pos x="connsiteX1" y="connsiteY1"/>
                  </a:cxn>
                </a:cxnLst>
                <a:rect l="l" t="t" r="r" b="b"/>
                <a:pathLst>
                  <a:path w="29006" h="20872">
                    <a:moveTo>
                      <a:pt x="29006" y="0"/>
                    </a:moveTo>
                    <a:lnTo>
                      <a:pt x="0" y="20873"/>
                    </a:lnTo>
                  </a:path>
                </a:pathLst>
              </a:custGeom>
              <a:ln w="6350" cap="rnd">
                <a:solidFill>
                  <a:schemeClr val="bg1">
                    <a:alpha val="80000"/>
                  </a:schemeClr>
                </a:solidFill>
                <a:prstDash val="solid"/>
                <a:round/>
              </a:ln>
            </p:spPr>
            <p:txBody>
              <a:bodyPr rtlCol="0" anchor="ctr"/>
              <a:lstStyle/>
              <a:p>
                <a:endParaRPr lang="en-GB"/>
              </a:p>
            </p:txBody>
          </p:sp>
          <p:sp>
            <p:nvSpPr>
              <p:cNvPr id="6052" name="Vrije vorm: vorm 6051">
                <a:extLst>
                  <a:ext uri="{FF2B5EF4-FFF2-40B4-BE49-F238E27FC236}">
                    <a16:creationId xmlns:a16="http://schemas.microsoft.com/office/drawing/2014/main" id="{3AF27C31-33E1-484A-A8E3-52A2BA498249}"/>
                  </a:ext>
                </a:extLst>
              </p:cNvPr>
              <p:cNvSpPr/>
              <p:nvPr/>
            </p:nvSpPr>
            <p:spPr>
              <a:xfrm>
                <a:off x="7649004" y="2794652"/>
                <a:ext cx="3827" cy="6578"/>
              </a:xfrm>
              <a:custGeom>
                <a:avLst/>
                <a:gdLst>
                  <a:gd name="connsiteX0" fmla="*/ 3828 w 3827"/>
                  <a:gd name="connsiteY0" fmla="*/ 0 h 6578"/>
                  <a:gd name="connsiteX1" fmla="*/ 0 w 3827"/>
                  <a:gd name="connsiteY1" fmla="*/ 6579 h 6578"/>
                </a:gdLst>
                <a:ahLst/>
                <a:cxnLst>
                  <a:cxn ang="0">
                    <a:pos x="connsiteX0" y="connsiteY0"/>
                  </a:cxn>
                  <a:cxn ang="0">
                    <a:pos x="connsiteX1" y="connsiteY1"/>
                  </a:cxn>
                </a:cxnLst>
                <a:rect l="l" t="t" r="r" b="b"/>
                <a:pathLst>
                  <a:path w="3827" h="6578">
                    <a:moveTo>
                      <a:pt x="3828" y="0"/>
                    </a:moveTo>
                    <a:lnTo>
                      <a:pt x="0" y="6579"/>
                    </a:lnTo>
                  </a:path>
                </a:pathLst>
              </a:custGeom>
              <a:ln w="6350" cap="rnd">
                <a:solidFill>
                  <a:schemeClr val="bg1">
                    <a:alpha val="80000"/>
                  </a:schemeClr>
                </a:solidFill>
                <a:prstDash val="solid"/>
                <a:round/>
              </a:ln>
            </p:spPr>
            <p:txBody>
              <a:bodyPr rtlCol="0" anchor="ctr"/>
              <a:lstStyle/>
              <a:p>
                <a:endParaRPr lang="en-GB"/>
              </a:p>
            </p:txBody>
          </p:sp>
          <p:sp>
            <p:nvSpPr>
              <p:cNvPr id="6053" name="Vrije vorm: vorm 6052">
                <a:extLst>
                  <a:ext uri="{FF2B5EF4-FFF2-40B4-BE49-F238E27FC236}">
                    <a16:creationId xmlns:a16="http://schemas.microsoft.com/office/drawing/2014/main" id="{BD46A875-BDCA-449D-96D2-850DA8FB5934}"/>
                  </a:ext>
                </a:extLst>
              </p:cNvPr>
              <p:cNvSpPr/>
              <p:nvPr/>
            </p:nvSpPr>
            <p:spPr>
              <a:xfrm>
                <a:off x="7695893" y="2791063"/>
                <a:ext cx="24221" cy="4007"/>
              </a:xfrm>
              <a:custGeom>
                <a:avLst/>
                <a:gdLst>
                  <a:gd name="connsiteX0" fmla="*/ 0 w 24221"/>
                  <a:gd name="connsiteY0" fmla="*/ 0 h 4007"/>
                  <a:gd name="connsiteX1" fmla="*/ 24222 w 24221"/>
                  <a:gd name="connsiteY1" fmla="*/ 4007 h 4007"/>
                </a:gdLst>
                <a:ahLst/>
                <a:cxnLst>
                  <a:cxn ang="0">
                    <a:pos x="connsiteX0" y="connsiteY0"/>
                  </a:cxn>
                  <a:cxn ang="0">
                    <a:pos x="connsiteX1" y="connsiteY1"/>
                  </a:cxn>
                </a:cxnLst>
                <a:rect l="l" t="t" r="r" b="b"/>
                <a:pathLst>
                  <a:path w="24221" h="4007">
                    <a:moveTo>
                      <a:pt x="0" y="0"/>
                    </a:moveTo>
                    <a:lnTo>
                      <a:pt x="24222" y="4007"/>
                    </a:lnTo>
                  </a:path>
                </a:pathLst>
              </a:custGeom>
              <a:ln w="6350" cap="rnd">
                <a:solidFill>
                  <a:schemeClr val="bg1">
                    <a:alpha val="80000"/>
                  </a:schemeClr>
                </a:solidFill>
                <a:prstDash val="solid"/>
                <a:round/>
              </a:ln>
            </p:spPr>
            <p:txBody>
              <a:bodyPr rtlCol="0" anchor="ctr"/>
              <a:lstStyle/>
              <a:p>
                <a:endParaRPr lang="en-GB"/>
              </a:p>
            </p:txBody>
          </p:sp>
          <p:sp>
            <p:nvSpPr>
              <p:cNvPr id="6054" name="Vrije vorm: vorm 6053">
                <a:extLst>
                  <a:ext uri="{FF2B5EF4-FFF2-40B4-BE49-F238E27FC236}">
                    <a16:creationId xmlns:a16="http://schemas.microsoft.com/office/drawing/2014/main" id="{443ACA45-D94C-42F7-9888-4430B9C5A400}"/>
                  </a:ext>
                </a:extLst>
              </p:cNvPr>
              <p:cNvSpPr/>
              <p:nvPr/>
            </p:nvSpPr>
            <p:spPr>
              <a:xfrm>
                <a:off x="7613658" y="2788492"/>
                <a:ext cx="30681" cy="20334"/>
              </a:xfrm>
              <a:custGeom>
                <a:avLst/>
                <a:gdLst>
                  <a:gd name="connsiteX0" fmla="*/ 30681 w 30681"/>
                  <a:gd name="connsiteY0" fmla="*/ 0 h 20334"/>
                  <a:gd name="connsiteX1" fmla="*/ 0 w 30681"/>
                  <a:gd name="connsiteY1" fmla="*/ 20334 h 20334"/>
                </a:gdLst>
                <a:ahLst/>
                <a:cxnLst>
                  <a:cxn ang="0">
                    <a:pos x="connsiteX0" y="connsiteY0"/>
                  </a:cxn>
                  <a:cxn ang="0">
                    <a:pos x="connsiteX1" y="connsiteY1"/>
                  </a:cxn>
                </a:cxnLst>
                <a:rect l="l" t="t" r="r" b="b"/>
                <a:pathLst>
                  <a:path w="30681" h="20334">
                    <a:moveTo>
                      <a:pt x="30681" y="0"/>
                    </a:moveTo>
                    <a:lnTo>
                      <a:pt x="0" y="20334"/>
                    </a:lnTo>
                  </a:path>
                </a:pathLst>
              </a:custGeom>
              <a:ln w="6350" cap="rnd">
                <a:solidFill>
                  <a:schemeClr val="bg1">
                    <a:alpha val="80000"/>
                  </a:schemeClr>
                </a:solidFill>
                <a:prstDash val="solid"/>
                <a:round/>
              </a:ln>
            </p:spPr>
            <p:txBody>
              <a:bodyPr rtlCol="0" anchor="ctr"/>
              <a:lstStyle/>
              <a:p>
                <a:endParaRPr lang="en-GB"/>
              </a:p>
            </p:txBody>
          </p:sp>
          <p:sp>
            <p:nvSpPr>
              <p:cNvPr id="6055" name="Vrije vorm: vorm 6054">
                <a:extLst>
                  <a:ext uri="{FF2B5EF4-FFF2-40B4-BE49-F238E27FC236}">
                    <a16:creationId xmlns:a16="http://schemas.microsoft.com/office/drawing/2014/main" id="{F3770FF0-7DB9-4C51-BC39-4A0A8525F5E8}"/>
                  </a:ext>
                </a:extLst>
              </p:cNvPr>
              <p:cNvSpPr/>
              <p:nvPr/>
            </p:nvSpPr>
            <p:spPr>
              <a:xfrm>
                <a:off x="7613538" y="2788492"/>
                <a:ext cx="30800" cy="20693"/>
              </a:xfrm>
              <a:custGeom>
                <a:avLst/>
                <a:gdLst>
                  <a:gd name="connsiteX0" fmla="*/ 30800 w 30800"/>
                  <a:gd name="connsiteY0" fmla="*/ 0 h 20693"/>
                  <a:gd name="connsiteX1" fmla="*/ 0 w 30800"/>
                  <a:gd name="connsiteY1" fmla="*/ 20693 h 20693"/>
                </a:gdLst>
                <a:ahLst/>
                <a:cxnLst>
                  <a:cxn ang="0">
                    <a:pos x="connsiteX0" y="connsiteY0"/>
                  </a:cxn>
                  <a:cxn ang="0">
                    <a:pos x="connsiteX1" y="connsiteY1"/>
                  </a:cxn>
                </a:cxnLst>
                <a:rect l="l" t="t" r="r" b="b"/>
                <a:pathLst>
                  <a:path w="30800" h="20693">
                    <a:moveTo>
                      <a:pt x="30800" y="0"/>
                    </a:moveTo>
                    <a:lnTo>
                      <a:pt x="0" y="20693"/>
                    </a:lnTo>
                  </a:path>
                </a:pathLst>
              </a:custGeom>
              <a:ln w="6350" cap="rnd">
                <a:solidFill>
                  <a:schemeClr val="bg1">
                    <a:alpha val="80000"/>
                  </a:schemeClr>
                </a:solidFill>
                <a:prstDash val="solid"/>
                <a:round/>
              </a:ln>
            </p:spPr>
            <p:txBody>
              <a:bodyPr rtlCol="0" anchor="ctr"/>
              <a:lstStyle/>
              <a:p>
                <a:endParaRPr lang="en-GB"/>
              </a:p>
            </p:txBody>
          </p:sp>
          <p:sp>
            <p:nvSpPr>
              <p:cNvPr id="6056" name="Vrije vorm: vorm 6055">
                <a:extLst>
                  <a:ext uri="{FF2B5EF4-FFF2-40B4-BE49-F238E27FC236}">
                    <a16:creationId xmlns:a16="http://schemas.microsoft.com/office/drawing/2014/main" id="{65157E0E-6147-4BDF-BAE2-D2A21EAC908E}"/>
                  </a:ext>
                </a:extLst>
              </p:cNvPr>
              <p:cNvSpPr/>
              <p:nvPr/>
            </p:nvSpPr>
            <p:spPr>
              <a:xfrm>
                <a:off x="7637102" y="2780178"/>
                <a:ext cx="5980" cy="6877"/>
              </a:xfrm>
              <a:custGeom>
                <a:avLst/>
                <a:gdLst>
                  <a:gd name="connsiteX0" fmla="*/ 5981 w 5980"/>
                  <a:gd name="connsiteY0" fmla="*/ 6878 h 6877"/>
                  <a:gd name="connsiteX1" fmla="*/ 0 w 5980"/>
                  <a:gd name="connsiteY1" fmla="*/ 0 h 6877"/>
                </a:gdLst>
                <a:ahLst/>
                <a:cxnLst>
                  <a:cxn ang="0">
                    <a:pos x="connsiteX0" y="connsiteY0"/>
                  </a:cxn>
                  <a:cxn ang="0">
                    <a:pos x="connsiteX1" y="connsiteY1"/>
                  </a:cxn>
                </a:cxnLst>
                <a:rect l="l" t="t" r="r" b="b"/>
                <a:pathLst>
                  <a:path w="5980" h="6877">
                    <a:moveTo>
                      <a:pt x="5981" y="687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57" name="Vrije vorm: vorm 6056">
                <a:extLst>
                  <a:ext uri="{FF2B5EF4-FFF2-40B4-BE49-F238E27FC236}">
                    <a16:creationId xmlns:a16="http://schemas.microsoft.com/office/drawing/2014/main" id="{C6C056B9-1AF7-4467-B10D-DEB020375EFB}"/>
                  </a:ext>
                </a:extLst>
              </p:cNvPr>
              <p:cNvSpPr/>
              <p:nvPr/>
            </p:nvSpPr>
            <p:spPr>
              <a:xfrm>
                <a:off x="7762757" y="2753445"/>
                <a:ext cx="478" cy="1913"/>
              </a:xfrm>
              <a:custGeom>
                <a:avLst/>
                <a:gdLst>
                  <a:gd name="connsiteX0" fmla="*/ 0 w 478"/>
                  <a:gd name="connsiteY0" fmla="*/ 0 h 1913"/>
                  <a:gd name="connsiteX1" fmla="*/ 478 w 478"/>
                  <a:gd name="connsiteY1" fmla="*/ 1914 h 1913"/>
                </a:gdLst>
                <a:ahLst/>
                <a:cxnLst>
                  <a:cxn ang="0">
                    <a:pos x="connsiteX0" y="connsiteY0"/>
                  </a:cxn>
                  <a:cxn ang="0">
                    <a:pos x="connsiteX1" y="connsiteY1"/>
                  </a:cxn>
                </a:cxnLst>
                <a:rect l="l" t="t" r="r" b="b"/>
                <a:pathLst>
                  <a:path w="478" h="1913">
                    <a:moveTo>
                      <a:pt x="0" y="0"/>
                    </a:moveTo>
                    <a:lnTo>
                      <a:pt x="478" y="1914"/>
                    </a:lnTo>
                  </a:path>
                </a:pathLst>
              </a:custGeom>
              <a:ln w="6350" cap="rnd">
                <a:solidFill>
                  <a:schemeClr val="bg1">
                    <a:alpha val="80000"/>
                  </a:schemeClr>
                </a:solidFill>
                <a:prstDash val="solid"/>
                <a:round/>
              </a:ln>
            </p:spPr>
            <p:txBody>
              <a:bodyPr rtlCol="0" anchor="ctr"/>
              <a:lstStyle/>
              <a:p>
                <a:endParaRPr lang="en-GB"/>
              </a:p>
            </p:txBody>
          </p:sp>
          <p:sp>
            <p:nvSpPr>
              <p:cNvPr id="6058" name="Vrije vorm: vorm 6057">
                <a:extLst>
                  <a:ext uri="{FF2B5EF4-FFF2-40B4-BE49-F238E27FC236}">
                    <a16:creationId xmlns:a16="http://schemas.microsoft.com/office/drawing/2014/main" id="{F58BE6D8-6952-4F5C-AE73-16E97340308C}"/>
                  </a:ext>
                </a:extLst>
              </p:cNvPr>
              <p:cNvSpPr/>
              <p:nvPr/>
            </p:nvSpPr>
            <p:spPr>
              <a:xfrm>
                <a:off x="7662521" y="2797044"/>
                <a:ext cx="3109" cy="1674"/>
              </a:xfrm>
              <a:custGeom>
                <a:avLst/>
                <a:gdLst>
                  <a:gd name="connsiteX0" fmla="*/ 3110 w 3109"/>
                  <a:gd name="connsiteY0" fmla="*/ 0 h 1674"/>
                  <a:gd name="connsiteX1" fmla="*/ 0 w 3109"/>
                  <a:gd name="connsiteY1" fmla="*/ 1675 h 1674"/>
                </a:gdLst>
                <a:ahLst/>
                <a:cxnLst>
                  <a:cxn ang="0">
                    <a:pos x="connsiteX0" y="connsiteY0"/>
                  </a:cxn>
                  <a:cxn ang="0">
                    <a:pos x="connsiteX1" y="connsiteY1"/>
                  </a:cxn>
                </a:cxnLst>
                <a:rect l="l" t="t" r="r" b="b"/>
                <a:pathLst>
                  <a:path w="3109" h="1674">
                    <a:moveTo>
                      <a:pt x="3110" y="0"/>
                    </a:moveTo>
                    <a:lnTo>
                      <a:pt x="0" y="1675"/>
                    </a:lnTo>
                  </a:path>
                </a:pathLst>
              </a:custGeom>
              <a:ln w="6350" cap="rnd">
                <a:solidFill>
                  <a:schemeClr val="bg1">
                    <a:alpha val="80000"/>
                  </a:schemeClr>
                </a:solidFill>
                <a:prstDash val="solid"/>
                <a:round/>
              </a:ln>
            </p:spPr>
            <p:txBody>
              <a:bodyPr rtlCol="0" anchor="ctr"/>
              <a:lstStyle/>
              <a:p>
                <a:endParaRPr lang="en-GB"/>
              </a:p>
            </p:txBody>
          </p:sp>
          <p:sp>
            <p:nvSpPr>
              <p:cNvPr id="6059" name="Vrije vorm: vorm 6058">
                <a:extLst>
                  <a:ext uri="{FF2B5EF4-FFF2-40B4-BE49-F238E27FC236}">
                    <a16:creationId xmlns:a16="http://schemas.microsoft.com/office/drawing/2014/main" id="{7780E24A-8F30-4C32-86CE-A6EC417D00E9}"/>
                  </a:ext>
                </a:extLst>
              </p:cNvPr>
              <p:cNvSpPr/>
              <p:nvPr/>
            </p:nvSpPr>
            <p:spPr>
              <a:xfrm>
                <a:off x="7694697" y="2790884"/>
                <a:ext cx="59" cy="1913"/>
              </a:xfrm>
              <a:custGeom>
                <a:avLst/>
                <a:gdLst>
                  <a:gd name="connsiteX0" fmla="*/ 60 w 59"/>
                  <a:gd name="connsiteY0" fmla="*/ 0 h 1913"/>
                  <a:gd name="connsiteX1" fmla="*/ 0 w 59"/>
                  <a:gd name="connsiteY1" fmla="*/ 1914 h 1913"/>
                </a:gdLst>
                <a:ahLst/>
                <a:cxnLst>
                  <a:cxn ang="0">
                    <a:pos x="connsiteX0" y="connsiteY0"/>
                  </a:cxn>
                  <a:cxn ang="0">
                    <a:pos x="connsiteX1" y="connsiteY1"/>
                  </a:cxn>
                </a:cxnLst>
                <a:rect l="l" t="t" r="r" b="b"/>
                <a:pathLst>
                  <a:path w="59" h="1913">
                    <a:moveTo>
                      <a:pt x="60" y="0"/>
                    </a:moveTo>
                    <a:lnTo>
                      <a:pt x="0" y="1914"/>
                    </a:lnTo>
                  </a:path>
                </a:pathLst>
              </a:custGeom>
              <a:ln w="6350" cap="rnd">
                <a:solidFill>
                  <a:schemeClr val="bg1">
                    <a:alpha val="80000"/>
                  </a:schemeClr>
                </a:solidFill>
                <a:prstDash val="solid"/>
                <a:round/>
              </a:ln>
            </p:spPr>
            <p:txBody>
              <a:bodyPr rtlCol="0" anchor="ctr"/>
              <a:lstStyle/>
              <a:p>
                <a:endParaRPr lang="en-GB"/>
              </a:p>
            </p:txBody>
          </p:sp>
          <p:sp>
            <p:nvSpPr>
              <p:cNvPr id="6060" name="Vrije vorm: vorm 6059">
                <a:extLst>
                  <a:ext uri="{FF2B5EF4-FFF2-40B4-BE49-F238E27FC236}">
                    <a16:creationId xmlns:a16="http://schemas.microsoft.com/office/drawing/2014/main" id="{D9C5F7B9-0829-4EF2-B3A2-339E8C331204}"/>
                  </a:ext>
                </a:extLst>
              </p:cNvPr>
              <p:cNvSpPr/>
              <p:nvPr/>
            </p:nvSpPr>
            <p:spPr>
              <a:xfrm>
                <a:off x="7762757" y="2753445"/>
                <a:ext cx="7715" cy="1734"/>
              </a:xfrm>
              <a:custGeom>
                <a:avLst/>
                <a:gdLst>
                  <a:gd name="connsiteX0" fmla="*/ 7715 w 7715"/>
                  <a:gd name="connsiteY0" fmla="*/ 1734 h 1734"/>
                  <a:gd name="connsiteX1" fmla="*/ 0 w 7715"/>
                  <a:gd name="connsiteY1" fmla="*/ 0 h 1734"/>
                </a:gdLst>
                <a:ahLst/>
                <a:cxnLst>
                  <a:cxn ang="0">
                    <a:pos x="connsiteX0" y="connsiteY0"/>
                  </a:cxn>
                  <a:cxn ang="0">
                    <a:pos x="connsiteX1" y="connsiteY1"/>
                  </a:cxn>
                </a:cxnLst>
                <a:rect l="l" t="t" r="r" b="b"/>
                <a:pathLst>
                  <a:path w="7715" h="1734">
                    <a:moveTo>
                      <a:pt x="7715" y="173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61" name="Vrije vorm: vorm 6060">
                <a:extLst>
                  <a:ext uri="{FF2B5EF4-FFF2-40B4-BE49-F238E27FC236}">
                    <a16:creationId xmlns:a16="http://schemas.microsoft.com/office/drawing/2014/main" id="{21D2DE57-23D4-416B-94C2-09DE473B79C2}"/>
                  </a:ext>
                </a:extLst>
              </p:cNvPr>
              <p:cNvSpPr/>
              <p:nvPr/>
            </p:nvSpPr>
            <p:spPr>
              <a:xfrm>
                <a:off x="7746071" y="2749617"/>
                <a:ext cx="2810" cy="657"/>
              </a:xfrm>
              <a:custGeom>
                <a:avLst/>
                <a:gdLst>
                  <a:gd name="connsiteX0" fmla="*/ 2811 w 2810"/>
                  <a:gd name="connsiteY0" fmla="*/ 658 h 657"/>
                  <a:gd name="connsiteX1" fmla="*/ 0 w 2810"/>
                  <a:gd name="connsiteY1" fmla="*/ 0 h 657"/>
                </a:gdLst>
                <a:ahLst/>
                <a:cxnLst>
                  <a:cxn ang="0">
                    <a:pos x="connsiteX0" y="connsiteY0"/>
                  </a:cxn>
                  <a:cxn ang="0">
                    <a:pos x="connsiteX1" y="connsiteY1"/>
                  </a:cxn>
                </a:cxnLst>
                <a:rect l="l" t="t" r="r" b="b"/>
                <a:pathLst>
                  <a:path w="2810" h="657">
                    <a:moveTo>
                      <a:pt x="2811" y="65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62" name="Vrije vorm: vorm 6061">
                <a:extLst>
                  <a:ext uri="{FF2B5EF4-FFF2-40B4-BE49-F238E27FC236}">
                    <a16:creationId xmlns:a16="http://schemas.microsoft.com/office/drawing/2014/main" id="{A942F513-76B8-4CE7-B59F-8D5DAE41331F}"/>
                  </a:ext>
                </a:extLst>
              </p:cNvPr>
              <p:cNvSpPr/>
              <p:nvPr/>
            </p:nvSpPr>
            <p:spPr>
              <a:xfrm>
                <a:off x="7763236" y="2755299"/>
                <a:ext cx="7236" cy="59"/>
              </a:xfrm>
              <a:custGeom>
                <a:avLst/>
                <a:gdLst>
                  <a:gd name="connsiteX0" fmla="*/ 7237 w 7236"/>
                  <a:gd name="connsiteY0" fmla="*/ 0 h 59"/>
                  <a:gd name="connsiteX1" fmla="*/ 0 w 7236"/>
                  <a:gd name="connsiteY1" fmla="*/ 60 h 59"/>
                </a:gdLst>
                <a:ahLst/>
                <a:cxnLst>
                  <a:cxn ang="0">
                    <a:pos x="connsiteX0" y="connsiteY0"/>
                  </a:cxn>
                  <a:cxn ang="0">
                    <a:pos x="connsiteX1" y="connsiteY1"/>
                  </a:cxn>
                </a:cxnLst>
                <a:rect l="l" t="t" r="r" b="b"/>
                <a:pathLst>
                  <a:path w="7236" h="59">
                    <a:moveTo>
                      <a:pt x="7237" y="0"/>
                    </a:moveTo>
                    <a:lnTo>
                      <a:pt x="0" y="60"/>
                    </a:lnTo>
                  </a:path>
                </a:pathLst>
              </a:custGeom>
              <a:ln w="6350" cap="rnd">
                <a:solidFill>
                  <a:schemeClr val="bg1">
                    <a:alpha val="80000"/>
                  </a:schemeClr>
                </a:solidFill>
                <a:prstDash val="solid"/>
                <a:round/>
              </a:ln>
            </p:spPr>
            <p:txBody>
              <a:bodyPr rtlCol="0" anchor="ctr"/>
              <a:lstStyle/>
              <a:p>
                <a:endParaRPr lang="en-GB"/>
              </a:p>
            </p:txBody>
          </p:sp>
          <p:sp>
            <p:nvSpPr>
              <p:cNvPr id="6063" name="Vrije vorm: vorm 6062">
                <a:extLst>
                  <a:ext uri="{FF2B5EF4-FFF2-40B4-BE49-F238E27FC236}">
                    <a16:creationId xmlns:a16="http://schemas.microsoft.com/office/drawing/2014/main" id="{9A1E26F7-9310-44CE-864A-104FC0946A73}"/>
                  </a:ext>
                </a:extLst>
              </p:cNvPr>
              <p:cNvSpPr/>
              <p:nvPr/>
            </p:nvSpPr>
            <p:spPr>
              <a:xfrm>
                <a:off x="7773702" y="2757691"/>
                <a:ext cx="7535" cy="6279"/>
              </a:xfrm>
              <a:custGeom>
                <a:avLst/>
                <a:gdLst>
                  <a:gd name="connsiteX0" fmla="*/ 0 w 7535"/>
                  <a:gd name="connsiteY0" fmla="*/ 0 h 6279"/>
                  <a:gd name="connsiteX1" fmla="*/ 7536 w 7535"/>
                  <a:gd name="connsiteY1" fmla="*/ 6280 h 6279"/>
                </a:gdLst>
                <a:ahLst/>
                <a:cxnLst>
                  <a:cxn ang="0">
                    <a:pos x="connsiteX0" y="connsiteY0"/>
                  </a:cxn>
                  <a:cxn ang="0">
                    <a:pos x="connsiteX1" y="connsiteY1"/>
                  </a:cxn>
                </a:cxnLst>
                <a:rect l="l" t="t" r="r" b="b"/>
                <a:pathLst>
                  <a:path w="7535" h="6279">
                    <a:moveTo>
                      <a:pt x="0" y="0"/>
                    </a:moveTo>
                    <a:lnTo>
                      <a:pt x="7536" y="6280"/>
                    </a:lnTo>
                  </a:path>
                </a:pathLst>
              </a:custGeom>
              <a:ln w="6350" cap="rnd">
                <a:solidFill>
                  <a:schemeClr val="bg1">
                    <a:alpha val="80000"/>
                  </a:schemeClr>
                </a:solidFill>
                <a:prstDash val="solid"/>
                <a:round/>
              </a:ln>
            </p:spPr>
            <p:txBody>
              <a:bodyPr rtlCol="0" anchor="ctr"/>
              <a:lstStyle/>
              <a:p>
                <a:endParaRPr lang="en-GB"/>
              </a:p>
            </p:txBody>
          </p:sp>
          <p:sp>
            <p:nvSpPr>
              <p:cNvPr id="6064" name="Vrije vorm: vorm 6063">
                <a:extLst>
                  <a:ext uri="{FF2B5EF4-FFF2-40B4-BE49-F238E27FC236}">
                    <a16:creationId xmlns:a16="http://schemas.microsoft.com/office/drawing/2014/main" id="{82AF98A2-8BE1-438B-898B-329158653E32}"/>
                  </a:ext>
                </a:extLst>
              </p:cNvPr>
              <p:cNvSpPr/>
              <p:nvPr/>
            </p:nvSpPr>
            <p:spPr>
              <a:xfrm>
                <a:off x="7728129" y="2799915"/>
                <a:ext cx="6937" cy="6698"/>
              </a:xfrm>
              <a:custGeom>
                <a:avLst/>
                <a:gdLst>
                  <a:gd name="connsiteX0" fmla="*/ 6938 w 6937"/>
                  <a:gd name="connsiteY0" fmla="*/ 6698 h 6698"/>
                  <a:gd name="connsiteX1" fmla="*/ 0 w 6937"/>
                  <a:gd name="connsiteY1" fmla="*/ 0 h 6698"/>
                </a:gdLst>
                <a:ahLst/>
                <a:cxnLst>
                  <a:cxn ang="0">
                    <a:pos x="connsiteX0" y="connsiteY0"/>
                  </a:cxn>
                  <a:cxn ang="0">
                    <a:pos x="connsiteX1" y="connsiteY1"/>
                  </a:cxn>
                </a:cxnLst>
                <a:rect l="l" t="t" r="r" b="b"/>
                <a:pathLst>
                  <a:path w="6937" h="6698">
                    <a:moveTo>
                      <a:pt x="6938" y="669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65" name="Vrije vorm: vorm 6064">
                <a:extLst>
                  <a:ext uri="{FF2B5EF4-FFF2-40B4-BE49-F238E27FC236}">
                    <a16:creationId xmlns:a16="http://schemas.microsoft.com/office/drawing/2014/main" id="{B1919C52-B989-4AE5-84C2-EFADBA304B97}"/>
                  </a:ext>
                </a:extLst>
              </p:cNvPr>
              <p:cNvSpPr/>
              <p:nvPr/>
            </p:nvSpPr>
            <p:spPr>
              <a:xfrm>
                <a:off x="7563839" y="2699319"/>
                <a:ext cx="1375" cy="119"/>
              </a:xfrm>
              <a:custGeom>
                <a:avLst/>
                <a:gdLst>
                  <a:gd name="connsiteX0" fmla="*/ 1375 w 1375"/>
                  <a:gd name="connsiteY0" fmla="*/ 120 h 119"/>
                  <a:gd name="connsiteX1" fmla="*/ 0 w 1375"/>
                  <a:gd name="connsiteY1" fmla="*/ 0 h 119"/>
                </a:gdLst>
                <a:ahLst/>
                <a:cxnLst>
                  <a:cxn ang="0">
                    <a:pos x="connsiteX0" y="connsiteY0"/>
                  </a:cxn>
                  <a:cxn ang="0">
                    <a:pos x="connsiteX1" y="connsiteY1"/>
                  </a:cxn>
                </a:cxnLst>
                <a:rect l="l" t="t" r="r" b="b"/>
                <a:pathLst>
                  <a:path w="1375" h="119">
                    <a:moveTo>
                      <a:pt x="1375" y="12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66" name="Vrije vorm: vorm 6065">
                <a:extLst>
                  <a:ext uri="{FF2B5EF4-FFF2-40B4-BE49-F238E27FC236}">
                    <a16:creationId xmlns:a16="http://schemas.microsoft.com/office/drawing/2014/main" id="{C3DBCB9C-091E-40FA-9F40-DF8998F978F8}"/>
                  </a:ext>
                </a:extLst>
              </p:cNvPr>
              <p:cNvSpPr/>
              <p:nvPr/>
            </p:nvSpPr>
            <p:spPr>
              <a:xfrm>
                <a:off x="7561267" y="2699080"/>
                <a:ext cx="2571" cy="239"/>
              </a:xfrm>
              <a:custGeom>
                <a:avLst/>
                <a:gdLst>
                  <a:gd name="connsiteX0" fmla="*/ 2572 w 2571"/>
                  <a:gd name="connsiteY0" fmla="*/ 239 h 239"/>
                  <a:gd name="connsiteX1" fmla="*/ 0 w 2571"/>
                  <a:gd name="connsiteY1" fmla="*/ 0 h 239"/>
                </a:gdLst>
                <a:ahLst/>
                <a:cxnLst>
                  <a:cxn ang="0">
                    <a:pos x="connsiteX0" y="connsiteY0"/>
                  </a:cxn>
                  <a:cxn ang="0">
                    <a:pos x="connsiteX1" y="connsiteY1"/>
                  </a:cxn>
                </a:cxnLst>
                <a:rect l="l" t="t" r="r" b="b"/>
                <a:pathLst>
                  <a:path w="2571" h="239">
                    <a:moveTo>
                      <a:pt x="2572" y="239"/>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67" name="Vrije vorm: vorm 6066">
                <a:extLst>
                  <a:ext uri="{FF2B5EF4-FFF2-40B4-BE49-F238E27FC236}">
                    <a16:creationId xmlns:a16="http://schemas.microsoft.com/office/drawing/2014/main" id="{321589F4-258B-447E-87DD-EEB4C6B2E707}"/>
                  </a:ext>
                </a:extLst>
              </p:cNvPr>
              <p:cNvSpPr/>
              <p:nvPr/>
            </p:nvSpPr>
            <p:spPr>
              <a:xfrm>
                <a:off x="7578671" y="2818216"/>
                <a:ext cx="598" cy="1734"/>
              </a:xfrm>
              <a:custGeom>
                <a:avLst/>
                <a:gdLst>
                  <a:gd name="connsiteX0" fmla="*/ 0 w 598"/>
                  <a:gd name="connsiteY0" fmla="*/ 1734 h 1734"/>
                  <a:gd name="connsiteX1" fmla="*/ 598 w 598"/>
                  <a:gd name="connsiteY1" fmla="*/ 0 h 1734"/>
                </a:gdLst>
                <a:ahLst/>
                <a:cxnLst>
                  <a:cxn ang="0">
                    <a:pos x="connsiteX0" y="connsiteY0"/>
                  </a:cxn>
                  <a:cxn ang="0">
                    <a:pos x="connsiteX1" y="connsiteY1"/>
                  </a:cxn>
                </a:cxnLst>
                <a:rect l="l" t="t" r="r" b="b"/>
                <a:pathLst>
                  <a:path w="598" h="1734">
                    <a:moveTo>
                      <a:pt x="0" y="1734"/>
                    </a:moveTo>
                    <a:lnTo>
                      <a:pt x="598" y="0"/>
                    </a:lnTo>
                  </a:path>
                </a:pathLst>
              </a:custGeom>
              <a:ln w="6350" cap="rnd">
                <a:solidFill>
                  <a:schemeClr val="bg1">
                    <a:alpha val="80000"/>
                  </a:schemeClr>
                </a:solidFill>
                <a:prstDash val="solid"/>
                <a:round/>
              </a:ln>
            </p:spPr>
            <p:txBody>
              <a:bodyPr rtlCol="0" anchor="ctr"/>
              <a:lstStyle/>
              <a:p>
                <a:endParaRPr lang="en-GB"/>
              </a:p>
            </p:txBody>
          </p:sp>
          <p:sp>
            <p:nvSpPr>
              <p:cNvPr id="6068" name="Vrije vorm: vorm 6067">
                <a:extLst>
                  <a:ext uri="{FF2B5EF4-FFF2-40B4-BE49-F238E27FC236}">
                    <a16:creationId xmlns:a16="http://schemas.microsoft.com/office/drawing/2014/main" id="{20B0E6F5-559C-4A25-9E66-73771F0DDBFF}"/>
                  </a:ext>
                </a:extLst>
              </p:cNvPr>
              <p:cNvSpPr/>
              <p:nvPr/>
            </p:nvSpPr>
            <p:spPr>
              <a:xfrm>
                <a:off x="7750258" y="2831194"/>
                <a:ext cx="7715" cy="1375"/>
              </a:xfrm>
              <a:custGeom>
                <a:avLst/>
                <a:gdLst>
                  <a:gd name="connsiteX0" fmla="*/ 7715 w 7715"/>
                  <a:gd name="connsiteY0" fmla="*/ 1376 h 1375"/>
                  <a:gd name="connsiteX1" fmla="*/ 0 w 7715"/>
                  <a:gd name="connsiteY1" fmla="*/ 0 h 1375"/>
                </a:gdLst>
                <a:ahLst/>
                <a:cxnLst>
                  <a:cxn ang="0">
                    <a:pos x="connsiteX0" y="connsiteY0"/>
                  </a:cxn>
                  <a:cxn ang="0">
                    <a:pos x="connsiteX1" y="connsiteY1"/>
                  </a:cxn>
                </a:cxnLst>
                <a:rect l="l" t="t" r="r" b="b"/>
                <a:pathLst>
                  <a:path w="7715" h="1375">
                    <a:moveTo>
                      <a:pt x="7715" y="137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69" name="Vrije vorm: vorm 6068">
                <a:extLst>
                  <a:ext uri="{FF2B5EF4-FFF2-40B4-BE49-F238E27FC236}">
                    <a16:creationId xmlns:a16="http://schemas.microsoft.com/office/drawing/2014/main" id="{21A00685-E58E-4A24-A1FC-890FB605732D}"/>
                  </a:ext>
                </a:extLst>
              </p:cNvPr>
              <p:cNvSpPr/>
              <p:nvPr/>
            </p:nvSpPr>
            <p:spPr>
              <a:xfrm>
                <a:off x="7782255" y="2776052"/>
                <a:ext cx="299" cy="4844"/>
              </a:xfrm>
              <a:custGeom>
                <a:avLst/>
                <a:gdLst>
                  <a:gd name="connsiteX0" fmla="*/ 299 w 299"/>
                  <a:gd name="connsiteY0" fmla="*/ 4844 h 4844"/>
                  <a:gd name="connsiteX1" fmla="*/ 0 w 299"/>
                  <a:gd name="connsiteY1" fmla="*/ 0 h 4844"/>
                </a:gdLst>
                <a:ahLst/>
                <a:cxnLst>
                  <a:cxn ang="0">
                    <a:pos x="connsiteX0" y="connsiteY0"/>
                  </a:cxn>
                  <a:cxn ang="0">
                    <a:pos x="connsiteX1" y="connsiteY1"/>
                  </a:cxn>
                </a:cxnLst>
                <a:rect l="l" t="t" r="r" b="b"/>
                <a:pathLst>
                  <a:path w="299" h="4844">
                    <a:moveTo>
                      <a:pt x="299" y="484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70" name="Vrije vorm: vorm 6069">
                <a:extLst>
                  <a:ext uri="{FF2B5EF4-FFF2-40B4-BE49-F238E27FC236}">
                    <a16:creationId xmlns:a16="http://schemas.microsoft.com/office/drawing/2014/main" id="{42A75882-4F1A-4F0C-9F30-D7E4BDCA7F05}"/>
                  </a:ext>
                </a:extLst>
              </p:cNvPr>
              <p:cNvSpPr/>
              <p:nvPr/>
            </p:nvSpPr>
            <p:spPr>
              <a:xfrm>
                <a:off x="7781597" y="2764389"/>
                <a:ext cx="657" cy="11662"/>
              </a:xfrm>
              <a:custGeom>
                <a:avLst/>
                <a:gdLst>
                  <a:gd name="connsiteX0" fmla="*/ 658 w 657"/>
                  <a:gd name="connsiteY0" fmla="*/ 11662 h 11662"/>
                  <a:gd name="connsiteX1" fmla="*/ 0 w 657"/>
                  <a:gd name="connsiteY1" fmla="*/ 0 h 11662"/>
                </a:gdLst>
                <a:ahLst/>
                <a:cxnLst>
                  <a:cxn ang="0">
                    <a:pos x="connsiteX0" y="connsiteY0"/>
                  </a:cxn>
                  <a:cxn ang="0">
                    <a:pos x="connsiteX1" y="connsiteY1"/>
                  </a:cxn>
                </a:cxnLst>
                <a:rect l="l" t="t" r="r" b="b"/>
                <a:pathLst>
                  <a:path w="657" h="11662">
                    <a:moveTo>
                      <a:pt x="658" y="1166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71" name="Vrije vorm: vorm 6070">
                <a:extLst>
                  <a:ext uri="{FF2B5EF4-FFF2-40B4-BE49-F238E27FC236}">
                    <a16:creationId xmlns:a16="http://schemas.microsoft.com/office/drawing/2014/main" id="{69B016B9-A3A6-4271-B7E1-C157B5815D36}"/>
                  </a:ext>
                </a:extLst>
              </p:cNvPr>
              <p:cNvSpPr/>
              <p:nvPr/>
            </p:nvSpPr>
            <p:spPr>
              <a:xfrm>
                <a:off x="7674781" y="2671090"/>
                <a:ext cx="4844" cy="5023"/>
              </a:xfrm>
              <a:custGeom>
                <a:avLst/>
                <a:gdLst>
                  <a:gd name="connsiteX0" fmla="*/ 0 w 4844"/>
                  <a:gd name="connsiteY0" fmla="*/ 0 h 5023"/>
                  <a:gd name="connsiteX1" fmla="*/ 4844 w 4844"/>
                  <a:gd name="connsiteY1" fmla="*/ 5024 h 5023"/>
                </a:gdLst>
                <a:ahLst/>
                <a:cxnLst>
                  <a:cxn ang="0">
                    <a:pos x="connsiteX0" y="connsiteY0"/>
                  </a:cxn>
                  <a:cxn ang="0">
                    <a:pos x="connsiteX1" y="connsiteY1"/>
                  </a:cxn>
                </a:cxnLst>
                <a:rect l="l" t="t" r="r" b="b"/>
                <a:pathLst>
                  <a:path w="4844" h="5023">
                    <a:moveTo>
                      <a:pt x="0" y="0"/>
                    </a:moveTo>
                    <a:lnTo>
                      <a:pt x="4844" y="5024"/>
                    </a:lnTo>
                  </a:path>
                </a:pathLst>
              </a:custGeom>
              <a:ln w="6350" cap="rnd">
                <a:solidFill>
                  <a:schemeClr val="bg1">
                    <a:alpha val="80000"/>
                  </a:schemeClr>
                </a:solidFill>
                <a:prstDash val="solid"/>
                <a:round/>
              </a:ln>
            </p:spPr>
            <p:txBody>
              <a:bodyPr rtlCol="0" anchor="ctr"/>
              <a:lstStyle/>
              <a:p>
                <a:endParaRPr lang="en-GB"/>
              </a:p>
            </p:txBody>
          </p:sp>
          <p:sp>
            <p:nvSpPr>
              <p:cNvPr id="6072" name="Vrije vorm: vorm 6071">
                <a:extLst>
                  <a:ext uri="{FF2B5EF4-FFF2-40B4-BE49-F238E27FC236}">
                    <a16:creationId xmlns:a16="http://schemas.microsoft.com/office/drawing/2014/main" id="{A910DBA9-3A27-4C85-8726-CB3A19D7A4A6}"/>
                  </a:ext>
                </a:extLst>
              </p:cNvPr>
              <p:cNvSpPr/>
              <p:nvPr/>
            </p:nvSpPr>
            <p:spPr>
              <a:xfrm>
                <a:off x="7655463" y="2649141"/>
                <a:ext cx="13157" cy="15310"/>
              </a:xfrm>
              <a:custGeom>
                <a:avLst/>
                <a:gdLst>
                  <a:gd name="connsiteX0" fmla="*/ 13158 w 13157"/>
                  <a:gd name="connsiteY0" fmla="*/ 15311 h 15310"/>
                  <a:gd name="connsiteX1" fmla="*/ 0 w 13157"/>
                  <a:gd name="connsiteY1" fmla="*/ 0 h 15310"/>
                </a:gdLst>
                <a:ahLst/>
                <a:cxnLst>
                  <a:cxn ang="0">
                    <a:pos x="connsiteX0" y="connsiteY0"/>
                  </a:cxn>
                  <a:cxn ang="0">
                    <a:pos x="connsiteX1" y="connsiteY1"/>
                  </a:cxn>
                </a:cxnLst>
                <a:rect l="l" t="t" r="r" b="b"/>
                <a:pathLst>
                  <a:path w="13157" h="15310">
                    <a:moveTo>
                      <a:pt x="13158" y="1531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73" name="Vrije vorm: vorm 6072">
                <a:extLst>
                  <a:ext uri="{FF2B5EF4-FFF2-40B4-BE49-F238E27FC236}">
                    <a16:creationId xmlns:a16="http://schemas.microsoft.com/office/drawing/2014/main" id="{1C4F03BF-9466-4BAB-9596-2A0A50D44885}"/>
                  </a:ext>
                </a:extLst>
              </p:cNvPr>
              <p:cNvSpPr/>
              <p:nvPr/>
            </p:nvSpPr>
            <p:spPr>
              <a:xfrm>
                <a:off x="7751873" y="2821984"/>
                <a:ext cx="6100" cy="10585"/>
              </a:xfrm>
              <a:custGeom>
                <a:avLst/>
                <a:gdLst>
                  <a:gd name="connsiteX0" fmla="*/ 6100 w 6100"/>
                  <a:gd name="connsiteY0" fmla="*/ 10586 h 10585"/>
                  <a:gd name="connsiteX1" fmla="*/ 0 w 6100"/>
                  <a:gd name="connsiteY1" fmla="*/ 0 h 10585"/>
                </a:gdLst>
                <a:ahLst/>
                <a:cxnLst>
                  <a:cxn ang="0">
                    <a:pos x="connsiteX0" y="connsiteY0"/>
                  </a:cxn>
                  <a:cxn ang="0">
                    <a:pos x="connsiteX1" y="connsiteY1"/>
                  </a:cxn>
                </a:cxnLst>
                <a:rect l="l" t="t" r="r" b="b"/>
                <a:pathLst>
                  <a:path w="6100" h="10585">
                    <a:moveTo>
                      <a:pt x="6100" y="1058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74" name="Vrije vorm: vorm 6073">
                <a:extLst>
                  <a:ext uri="{FF2B5EF4-FFF2-40B4-BE49-F238E27FC236}">
                    <a16:creationId xmlns:a16="http://schemas.microsoft.com/office/drawing/2014/main" id="{341B4C91-61B6-416C-BEC6-039D742B9C55}"/>
                  </a:ext>
                </a:extLst>
              </p:cNvPr>
              <p:cNvSpPr/>
              <p:nvPr/>
            </p:nvSpPr>
            <p:spPr>
              <a:xfrm>
                <a:off x="7637102" y="2779999"/>
                <a:ext cx="299" cy="179"/>
              </a:xfrm>
              <a:custGeom>
                <a:avLst/>
                <a:gdLst>
                  <a:gd name="connsiteX0" fmla="*/ 299 w 299"/>
                  <a:gd name="connsiteY0" fmla="*/ 0 h 179"/>
                  <a:gd name="connsiteX1" fmla="*/ 0 w 299"/>
                  <a:gd name="connsiteY1" fmla="*/ 179 h 179"/>
                </a:gdLst>
                <a:ahLst/>
                <a:cxnLst>
                  <a:cxn ang="0">
                    <a:pos x="connsiteX0" y="connsiteY0"/>
                  </a:cxn>
                  <a:cxn ang="0">
                    <a:pos x="connsiteX1" y="connsiteY1"/>
                  </a:cxn>
                </a:cxnLst>
                <a:rect l="l" t="t" r="r" b="b"/>
                <a:pathLst>
                  <a:path w="299" h="179">
                    <a:moveTo>
                      <a:pt x="299" y="0"/>
                    </a:moveTo>
                    <a:lnTo>
                      <a:pt x="0" y="179"/>
                    </a:lnTo>
                  </a:path>
                </a:pathLst>
              </a:custGeom>
              <a:ln w="6350" cap="rnd">
                <a:solidFill>
                  <a:schemeClr val="bg1">
                    <a:alpha val="80000"/>
                  </a:schemeClr>
                </a:solidFill>
                <a:prstDash val="solid"/>
                <a:round/>
              </a:ln>
            </p:spPr>
            <p:txBody>
              <a:bodyPr rtlCol="0" anchor="ctr"/>
              <a:lstStyle/>
              <a:p>
                <a:endParaRPr lang="en-GB"/>
              </a:p>
            </p:txBody>
          </p:sp>
          <p:sp>
            <p:nvSpPr>
              <p:cNvPr id="6075" name="Vrije vorm: vorm 6074">
                <a:extLst>
                  <a:ext uri="{FF2B5EF4-FFF2-40B4-BE49-F238E27FC236}">
                    <a16:creationId xmlns:a16="http://schemas.microsoft.com/office/drawing/2014/main" id="{C6DBAB44-3A89-48A2-94EF-55A9FDBA677A}"/>
                  </a:ext>
                </a:extLst>
              </p:cNvPr>
              <p:cNvSpPr/>
              <p:nvPr/>
            </p:nvSpPr>
            <p:spPr>
              <a:xfrm>
                <a:off x="7608694" y="2780178"/>
                <a:ext cx="28408" cy="18719"/>
              </a:xfrm>
              <a:custGeom>
                <a:avLst/>
                <a:gdLst>
                  <a:gd name="connsiteX0" fmla="*/ 28408 w 28408"/>
                  <a:gd name="connsiteY0" fmla="*/ 0 h 18719"/>
                  <a:gd name="connsiteX1" fmla="*/ 0 w 28408"/>
                  <a:gd name="connsiteY1" fmla="*/ 18720 h 18719"/>
                </a:gdLst>
                <a:ahLst/>
                <a:cxnLst>
                  <a:cxn ang="0">
                    <a:pos x="connsiteX0" y="connsiteY0"/>
                  </a:cxn>
                  <a:cxn ang="0">
                    <a:pos x="connsiteX1" y="connsiteY1"/>
                  </a:cxn>
                </a:cxnLst>
                <a:rect l="l" t="t" r="r" b="b"/>
                <a:pathLst>
                  <a:path w="28408" h="18719">
                    <a:moveTo>
                      <a:pt x="28408" y="0"/>
                    </a:moveTo>
                    <a:lnTo>
                      <a:pt x="0" y="18720"/>
                    </a:lnTo>
                  </a:path>
                </a:pathLst>
              </a:custGeom>
              <a:ln w="6350" cap="rnd">
                <a:solidFill>
                  <a:schemeClr val="bg1">
                    <a:alpha val="80000"/>
                  </a:schemeClr>
                </a:solidFill>
                <a:prstDash val="solid"/>
                <a:round/>
              </a:ln>
            </p:spPr>
            <p:txBody>
              <a:bodyPr rtlCol="0" anchor="ctr"/>
              <a:lstStyle/>
              <a:p>
                <a:endParaRPr lang="en-GB"/>
              </a:p>
            </p:txBody>
          </p:sp>
          <p:sp>
            <p:nvSpPr>
              <p:cNvPr id="6076" name="Vrije vorm: vorm 6075">
                <a:extLst>
                  <a:ext uri="{FF2B5EF4-FFF2-40B4-BE49-F238E27FC236}">
                    <a16:creationId xmlns:a16="http://schemas.microsoft.com/office/drawing/2014/main" id="{EB9427D2-447F-4A20-8455-DACF84C91F52}"/>
                  </a:ext>
                </a:extLst>
              </p:cNvPr>
              <p:cNvSpPr/>
              <p:nvPr/>
            </p:nvSpPr>
            <p:spPr>
              <a:xfrm>
                <a:off x="7556243" y="2722285"/>
                <a:ext cx="18540" cy="5681"/>
              </a:xfrm>
              <a:custGeom>
                <a:avLst/>
                <a:gdLst>
                  <a:gd name="connsiteX0" fmla="*/ 18540 w 18540"/>
                  <a:gd name="connsiteY0" fmla="*/ 0 h 5681"/>
                  <a:gd name="connsiteX1" fmla="*/ 0 w 18540"/>
                  <a:gd name="connsiteY1" fmla="*/ 5682 h 5681"/>
                </a:gdLst>
                <a:ahLst/>
                <a:cxnLst>
                  <a:cxn ang="0">
                    <a:pos x="connsiteX0" y="connsiteY0"/>
                  </a:cxn>
                  <a:cxn ang="0">
                    <a:pos x="connsiteX1" y="connsiteY1"/>
                  </a:cxn>
                </a:cxnLst>
                <a:rect l="l" t="t" r="r" b="b"/>
                <a:pathLst>
                  <a:path w="18540" h="5681">
                    <a:moveTo>
                      <a:pt x="18540" y="0"/>
                    </a:moveTo>
                    <a:lnTo>
                      <a:pt x="0" y="5682"/>
                    </a:lnTo>
                  </a:path>
                </a:pathLst>
              </a:custGeom>
              <a:ln w="6350" cap="rnd">
                <a:solidFill>
                  <a:schemeClr val="bg1">
                    <a:alpha val="80000"/>
                  </a:schemeClr>
                </a:solidFill>
                <a:prstDash val="solid"/>
                <a:round/>
              </a:ln>
            </p:spPr>
            <p:txBody>
              <a:bodyPr rtlCol="0" anchor="ctr"/>
              <a:lstStyle/>
              <a:p>
                <a:endParaRPr lang="en-GB"/>
              </a:p>
            </p:txBody>
          </p:sp>
          <p:sp>
            <p:nvSpPr>
              <p:cNvPr id="6077" name="Vrije vorm: vorm 6076">
                <a:extLst>
                  <a:ext uri="{FF2B5EF4-FFF2-40B4-BE49-F238E27FC236}">
                    <a16:creationId xmlns:a16="http://schemas.microsoft.com/office/drawing/2014/main" id="{D9253C89-3954-49B9-9B8C-48F6A81401F6}"/>
                  </a:ext>
                </a:extLst>
              </p:cNvPr>
              <p:cNvSpPr/>
              <p:nvPr/>
            </p:nvSpPr>
            <p:spPr>
              <a:xfrm>
                <a:off x="7640870" y="2749557"/>
                <a:ext cx="8492" cy="7176"/>
              </a:xfrm>
              <a:custGeom>
                <a:avLst/>
                <a:gdLst>
                  <a:gd name="connsiteX0" fmla="*/ 0 w 8492"/>
                  <a:gd name="connsiteY0" fmla="*/ 0 h 7176"/>
                  <a:gd name="connsiteX1" fmla="*/ 8493 w 8492"/>
                  <a:gd name="connsiteY1" fmla="*/ 7177 h 7176"/>
                </a:gdLst>
                <a:ahLst/>
                <a:cxnLst>
                  <a:cxn ang="0">
                    <a:pos x="connsiteX0" y="connsiteY0"/>
                  </a:cxn>
                  <a:cxn ang="0">
                    <a:pos x="connsiteX1" y="connsiteY1"/>
                  </a:cxn>
                </a:cxnLst>
                <a:rect l="l" t="t" r="r" b="b"/>
                <a:pathLst>
                  <a:path w="8492" h="7176">
                    <a:moveTo>
                      <a:pt x="0" y="0"/>
                    </a:moveTo>
                    <a:lnTo>
                      <a:pt x="8493" y="7177"/>
                    </a:lnTo>
                  </a:path>
                </a:pathLst>
              </a:custGeom>
              <a:ln w="6350" cap="rnd">
                <a:solidFill>
                  <a:schemeClr val="bg1">
                    <a:alpha val="80000"/>
                  </a:schemeClr>
                </a:solidFill>
                <a:prstDash val="solid"/>
                <a:round/>
              </a:ln>
            </p:spPr>
            <p:txBody>
              <a:bodyPr rtlCol="0" anchor="ctr"/>
              <a:lstStyle/>
              <a:p>
                <a:endParaRPr lang="en-GB"/>
              </a:p>
            </p:txBody>
          </p:sp>
          <p:sp>
            <p:nvSpPr>
              <p:cNvPr id="6078" name="Vrije vorm: vorm 6077">
                <a:extLst>
                  <a:ext uri="{FF2B5EF4-FFF2-40B4-BE49-F238E27FC236}">
                    <a16:creationId xmlns:a16="http://schemas.microsoft.com/office/drawing/2014/main" id="{8FEB4BDF-6242-46B7-8CDD-AADF9C26EB65}"/>
                  </a:ext>
                </a:extLst>
              </p:cNvPr>
              <p:cNvSpPr/>
              <p:nvPr/>
            </p:nvSpPr>
            <p:spPr>
              <a:xfrm>
                <a:off x="7625141" y="2689331"/>
                <a:ext cx="33970" cy="1196"/>
              </a:xfrm>
              <a:custGeom>
                <a:avLst/>
                <a:gdLst>
                  <a:gd name="connsiteX0" fmla="*/ 33971 w 33970"/>
                  <a:gd name="connsiteY0" fmla="*/ 1196 h 1196"/>
                  <a:gd name="connsiteX1" fmla="*/ 0 w 33970"/>
                  <a:gd name="connsiteY1" fmla="*/ 0 h 1196"/>
                </a:gdLst>
                <a:ahLst/>
                <a:cxnLst>
                  <a:cxn ang="0">
                    <a:pos x="connsiteX0" y="connsiteY0"/>
                  </a:cxn>
                  <a:cxn ang="0">
                    <a:pos x="connsiteX1" y="connsiteY1"/>
                  </a:cxn>
                </a:cxnLst>
                <a:rect l="l" t="t" r="r" b="b"/>
                <a:pathLst>
                  <a:path w="33970" h="1196">
                    <a:moveTo>
                      <a:pt x="33971" y="119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79" name="Vrije vorm: vorm 6078">
                <a:extLst>
                  <a:ext uri="{FF2B5EF4-FFF2-40B4-BE49-F238E27FC236}">
                    <a16:creationId xmlns:a16="http://schemas.microsoft.com/office/drawing/2014/main" id="{6DDE7C41-48BB-4593-9D33-1FCFFBE15421}"/>
                  </a:ext>
                </a:extLst>
              </p:cNvPr>
              <p:cNvSpPr/>
              <p:nvPr/>
            </p:nvSpPr>
            <p:spPr>
              <a:xfrm>
                <a:off x="7655164" y="2690527"/>
                <a:ext cx="3947" cy="26674"/>
              </a:xfrm>
              <a:custGeom>
                <a:avLst/>
                <a:gdLst>
                  <a:gd name="connsiteX0" fmla="*/ 0 w 3947"/>
                  <a:gd name="connsiteY0" fmla="*/ 26674 h 26674"/>
                  <a:gd name="connsiteX1" fmla="*/ 3948 w 3947"/>
                  <a:gd name="connsiteY1" fmla="*/ 0 h 26674"/>
                </a:gdLst>
                <a:ahLst/>
                <a:cxnLst>
                  <a:cxn ang="0">
                    <a:pos x="connsiteX0" y="connsiteY0"/>
                  </a:cxn>
                  <a:cxn ang="0">
                    <a:pos x="connsiteX1" y="connsiteY1"/>
                  </a:cxn>
                </a:cxnLst>
                <a:rect l="l" t="t" r="r" b="b"/>
                <a:pathLst>
                  <a:path w="3947" h="26674">
                    <a:moveTo>
                      <a:pt x="0" y="26674"/>
                    </a:moveTo>
                    <a:lnTo>
                      <a:pt x="3948" y="0"/>
                    </a:lnTo>
                  </a:path>
                </a:pathLst>
              </a:custGeom>
              <a:ln w="6350" cap="rnd">
                <a:solidFill>
                  <a:schemeClr val="bg1">
                    <a:alpha val="80000"/>
                  </a:schemeClr>
                </a:solidFill>
                <a:prstDash val="solid"/>
                <a:round/>
              </a:ln>
            </p:spPr>
            <p:txBody>
              <a:bodyPr rtlCol="0" anchor="ctr"/>
              <a:lstStyle/>
              <a:p>
                <a:endParaRPr lang="en-GB"/>
              </a:p>
            </p:txBody>
          </p:sp>
          <p:sp>
            <p:nvSpPr>
              <p:cNvPr id="6080" name="Vrije vorm: vorm 6079">
                <a:extLst>
                  <a:ext uri="{FF2B5EF4-FFF2-40B4-BE49-F238E27FC236}">
                    <a16:creationId xmlns:a16="http://schemas.microsoft.com/office/drawing/2014/main" id="{DC20602B-40DF-45CA-8A91-7CA92BEBE3D5}"/>
                  </a:ext>
                </a:extLst>
              </p:cNvPr>
              <p:cNvSpPr/>
              <p:nvPr/>
            </p:nvSpPr>
            <p:spPr>
              <a:xfrm>
                <a:off x="7651337" y="2646390"/>
                <a:ext cx="4126" cy="2751"/>
              </a:xfrm>
              <a:custGeom>
                <a:avLst/>
                <a:gdLst>
                  <a:gd name="connsiteX0" fmla="*/ 4126 w 4126"/>
                  <a:gd name="connsiteY0" fmla="*/ 2751 h 2751"/>
                  <a:gd name="connsiteX1" fmla="*/ 0 w 4126"/>
                  <a:gd name="connsiteY1" fmla="*/ 0 h 2751"/>
                </a:gdLst>
                <a:ahLst/>
                <a:cxnLst>
                  <a:cxn ang="0">
                    <a:pos x="connsiteX0" y="connsiteY0"/>
                  </a:cxn>
                  <a:cxn ang="0">
                    <a:pos x="connsiteX1" y="connsiteY1"/>
                  </a:cxn>
                </a:cxnLst>
                <a:rect l="l" t="t" r="r" b="b"/>
                <a:pathLst>
                  <a:path w="4126" h="2751">
                    <a:moveTo>
                      <a:pt x="4126" y="275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81" name="Vrije vorm: vorm 6080">
                <a:extLst>
                  <a:ext uri="{FF2B5EF4-FFF2-40B4-BE49-F238E27FC236}">
                    <a16:creationId xmlns:a16="http://schemas.microsoft.com/office/drawing/2014/main" id="{9383C308-7BFA-46DA-97DC-3888D32CBCA1}"/>
                  </a:ext>
                </a:extLst>
              </p:cNvPr>
              <p:cNvSpPr/>
              <p:nvPr/>
            </p:nvSpPr>
            <p:spPr>
              <a:xfrm>
                <a:off x="7695714" y="2705539"/>
                <a:ext cx="2691" cy="17045"/>
              </a:xfrm>
              <a:custGeom>
                <a:avLst/>
                <a:gdLst>
                  <a:gd name="connsiteX0" fmla="*/ 2691 w 2691"/>
                  <a:gd name="connsiteY0" fmla="*/ 0 h 17045"/>
                  <a:gd name="connsiteX1" fmla="*/ 0 w 2691"/>
                  <a:gd name="connsiteY1" fmla="*/ 17045 h 17045"/>
                </a:gdLst>
                <a:ahLst/>
                <a:cxnLst>
                  <a:cxn ang="0">
                    <a:pos x="connsiteX0" y="connsiteY0"/>
                  </a:cxn>
                  <a:cxn ang="0">
                    <a:pos x="connsiteX1" y="connsiteY1"/>
                  </a:cxn>
                </a:cxnLst>
                <a:rect l="l" t="t" r="r" b="b"/>
                <a:pathLst>
                  <a:path w="2691" h="17045">
                    <a:moveTo>
                      <a:pt x="2691" y="0"/>
                    </a:moveTo>
                    <a:lnTo>
                      <a:pt x="0" y="17045"/>
                    </a:lnTo>
                  </a:path>
                </a:pathLst>
              </a:custGeom>
              <a:ln w="6350" cap="rnd">
                <a:solidFill>
                  <a:schemeClr val="bg1">
                    <a:alpha val="80000"/>
                  </a:schemeClr>
                </a:solidFill>
                <a:prstDash val="solid"/>
                <a:round/>
              </a:ln>
            </p:spPr>
            <p:txBody>
              <a:bodyPr rtlCol="0" anchor="ctr"/>
              <a:lstStyle/>
              <a:p>
                <a:endParaRPr lang="en-GB"/>
              </a:p>
            </p:txBody>
          </p:sp>
          <p:sp>
            <p:nvSpPr>
              <p:cNvPr id="6082" name="Vrije vorm: vorm 6081">
                <a:extLst>
                  <a:ext uri="{FF2B5EF4-FFF2-40B4-BE49-F238E27FC236}">
                    <a16:creationId xmlns:a16="http://schemas.microsoft.com/office/drawing/2014/main" id="{C11947AC-1185-4BDC-8A31-69AA5946CAED}"/>
                  </a:ext>
                </a:extLst>
              </p:cNvPr>
              <p:cNvSpPr/>
              <p:nvPr/>
            </p:nvSpPr>
            <p:spPr>
              <a:xfrm>
                <a:off x="7659112" y="2690527"/>
                <a:ext cx="39293" cy="15011"/>
              </a:xfrm>
              <a:custGeom>
                <a:avLst/>
                <a:gdLst>
                  <a:gd name="connsiteX0" fmla="*/ 39293 w 39293"/>
                  <a:gd name="connsiteY0" fmla="*/ 15012 h 15011"/>
                  <a:gd name="connsiteX1" fmla="*/ 0 w 39293"/>
                  <a:gd name="connsiteY1" fmla="*/ 0 h 15011"/>
                </a:gdLst>
                <a:ahLst/>
                <a:cxnLst>
                  <a:cxn ang="0">
                    <a:pos x="connsiteX0" y="connsiteY0"/>
                  </a:cxn>
                  <a:cxn ang="0">
                    <a:pos x="connsiteX1" y="connsiteY1"/>
                  </a:cxn>
                </a:cxnLst>
                <a:rect l="l" t="t" r="r" b="b"/>
                <a:pathLst>
                  <a:path w="39293" h="15011">
                    <a:moveTo>
                      <a:pt x="39293" y="1501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83" name="Vrije vorm: vorm 6082">
                <a:extLst>
                  <a:ext uri="{FF2B5EF4-FFF2-40B4-BE49-F238E27FC236}">
                    <a16:creationId xmlns:a16="http://schemas.microsoft.com/office/drawing/2014/main" id="{6522B5F2-5F9F-481C-B08A-6114494F0A3B}"/>
                  </a:ext>
                </a:extLst>
              </p:cNvPr>
              <p:cNvSpPr/>
              <p:nvPr/>
            </p:nvSpPr>
            <p:spPr>
              <a:xfrm>
                <a:off x="7698405" y="2704642"/>
                <a:ext cx="13935" cy="897"/>
              </a:xfrm>
              <a:custGeom>
                <a:avLst/>
                <a:gdLst>
                  <a:gd name="connsiteX0" fmla="*/ 13935 w 13935"/>
                  <a:gd name="connsiteY0" fmla="*/ 0 h 897"/>
                  <a:gd name="connsiteX1" fmla="*/ 0 w 13935"/>
                  <a:gd name="connsiteY1" fmla="*/ 897 h 897"/>
                </a:gdLst>
                <a:ahLst/>
                <a:cxnLst>
                  <a:cxn ang="0">
                    <a:pos x="connsiteX0" y="connsiteY0"/>
                  </a:cxn>
                  <a:cxn ang="0">
                    <a:pos x="connsiteX1" y="connsiteY1"/>
                  </a:cxn>
                </a:cxnLst>
                <a:rect l="l" t="t" r="r" b="b"/>
                <a:pathLst>
                  <a:path w="13935" h="897">
                    <a:moveTo>
                      <a:pt x="13935" y="0"/>
                    </a:moveTo>
                    <a:lnTo>
                      <a:pt x="0" y="897"/>
                    </a:lnTo>
                  </a:path>
                </a:pathLst>
              </a:custGeom>
              <a:ln w="6350" cap="rnd">
                <a:solidFill>
                  <a:schemeClr val="bg1">
                    <a:alpha val="80000"/>
                  </a:schemeClr>
                </a:solidFill>
                <a:prstDash val="solid"/>
                <a:round/>
              </a:ln>
            </p:spPr>
            <p:txBody>
              <a:bodyPr rtlCol="0" anchor="ctr"/>
              <a:lstStyle/>
              <a:p>
                <a:endParaRPr lang="en-GB"/>
              </a:p>
            </p:txBody>
          </p:sp>
          <p:sp>
            <p:nvSpPr>
              <p:cNvPr id="6084" name="Vrije vorm: vorm 6083">
                <a:extLst>
                  <a:ext uri="{FF2B5EF4-FFF2-40B4-BE49-F238E27FC236}">
                    <a16:creationId xmlns:a16="http://schemas.microsoft.com/office/drawing/2014/main" id="{76FF2EAF-7C50-4F9E-9F11-F61BAE458A6B}"/>
                  </a:ext>
                </a:extLst>
              </p:cNvPr>
              <p:cNvSpPr/>
              <p:nvPr/>
            </p:nvSpPr>
            <p:spPr>
              <a:xfrm>
                <a:off x="7679625" y="2676114"/>
                <a:ext cx="26135" cy="24700"/>
              </a:xfrm>
              <a:custGeom>
                <a:avLst/>
                <a:gdLst>
                  <a:gd name="connsiteX0" fmla="*/ 26136 w 26135"/>
                  <a:gd name="connsiteY0" fmla="*/ 24700 h 24700"/>
                  <a:gd name="connsiteX1" fmla="*/ 0 w 26135"/>
                  <a:gd name="connsiteY1" fmla="*/ 0 h 24700"/>
                </a:gdLst>
                <a:ahLst/>
                <a:cxnLst>
                  <a:cxn ang="0">
                    <a:pos x="connsiteX0" y="connsiteY0"/>
                  </a:cxn>
                  <a:cxn ang="0">
                    <a:pos x="connsiteX1" y="connsiteY1"/>
                  </a:cxn>
                </a:cxnLst>
                <a:rect l="l" t="t" r="r" b="b"/>
                <a:pathLst>
                  <a:path w="26135" h="24700">
                    <a:moveTo>
                      <a:pt x="26136" y="2470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85" name="Vrije vorm: vorm 6084">
                <a:extLst>
                  <a:ext uri="{FF2B5EF4-FFF2-40B4-BE49-F238E27FC236}">
                    <a16:creationId xmlns:a16="http://schemas.microsoft.com/office/drawing/2014/main" id="{44E766A5-C753-41D1-93C1-A42DE7E7249A}"/>
                  </a:ext>
                </a:extLst>
              </p:cNvPr>
              <p:cNvSpPr/>
              <p:nvPr/>
            </p:nvSpPr>
            <p:spPr>
              <a:xfrm>
                <a:off x="7695773" y="2696030"/>
                <a:ext cx="9987" cy="4784"/>
              </a:xfrm>
              <a:custGeom>
                <a:avLst/>
                <a:gdLst>
                  <a:gd name="connsiteX0" fmla="*/ 9988 w 9987"/>
                  <a:gd name="connsiteY0" fmla="*/ 4785 h 4784"/>
                  <a:gd name="connsiteX1" fmla="*/ 0 w 9987"/>
                  <a:gd name="connsiteY1" fmla="*/ 0 h 4784"/>
                </a:gdLst>
                <a:ahLst/>
                <a:cxnLst>
                  <a:cxn ang="0">
                    <a:pos x="connsiteX0" y="connsiteY0"/>
                  </a:cxn>
                  <a:cxn ang="0">
                    <a:pos x="connsiteX1" y="connsiteY1"/>
                  </a:cxn>
                </a:cxnLst>
                <a:rect l="l" t="t" r="r" b="b"/>
                <a:pathLst>
                  <a:path w="9987" h="4784">
                    <a:moveTo>
                      <a:pt x="9988" y="4785"/>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86" name="Vrije vorm: vorm 6085">
                <a:extLst>
                  <a:ext uri="{FF2B5EF4-FFF2-40B4-BE49-F238E27FC236}">
                    <a16:creationId xmlns:a16="http://schemas.microsoft.com/office/drawing/2014/main" id="{527A961F-2CB5-45CD-86ED-E907C838EB76}"/>
                  </a:ext>
                </a:extLst>
              </p:cNvPr>
              <p:cNvSpPr/>
              <p:nvPr/>
            </p:nvSpPr>
            <p:spPr>
              <a:xfrm>
                <a:off x="7705761" y="2700814"/>
                <a:ext cx="6578" cy="3827"/>
              </a:xfrm>
              <a:custGeom>
                <a:avLst/>
                <a:gdLst>
                  <a:gd name="connsiteX0" fmla="*/ 0 w 6578"/>
                  <a:gd name="connsiteY0" fmla="*/ 0 h 3827"/>
                  <a:gd name="connsiteX1" fmla="*/ 6579 w 6578"/>
                  <a:gd name="connsiteY1" fmla="*/ 3828 h 3827"/>
                </a:gdLst>
                <a:ahLst/>
                <a:cxnLst>
                  <a:cxn ang="0">
                    <a:pos x="connsiteX0" y="connsiteY0"/>
                  </a:cxn>
                  <a:cxn ang="0">
                    <a:pos x="connsiteX1" y="connsiteY1"/>
                  </a:cxn>
                </a:cxnLst>
                <a:rect l="l" t="t" r="r" b="b"/>
                <a:pathLst>
                  <a:path w="6578" h="3827">
                    <a:moveTo>
                      <a:pt x="0" y="0"/>
                    </a:moveTo>
                    <a:lnTo>
                      <a:pt x="6579" y="3828"/>
                    </a:lnTo>
                  </a:path>
                </a:pathLst>
              </a:custGeom>
              <a:ln w="6350" cap="rnd">
                <a:solidFill>
                  <a:schemeClr val="bg1">
                    <a:alpha val="80000"/>
                  </a:schemeClr>
                </a:solidFill>
                <a:prstDash val="solid"/>
                <a:round/>
              </a:ln>
            </p:spPr>
            <p:txBody>
              <a:bodyPr rtlCol="0" anchor="ctr"/>
              <a:lstStyle/>
              <a:p>
                <a:endParaRPr lang="en-GB"/>
              </a:p>
            </p:txBody>
          </p:sp>
          <p:sp>
            <p:nvSpPr>
              <p:cNvPr id="6087" name="Vrije vorm: vorm 6086">
                <a:extLst>
                  <a:ext uri="{FF2B5EF4-FFF2-40B4-BE49-F238E27FC236}">
                    <a16:creationId xmlns:a16="http://schemas.microsoft.com/office/drawing/2014/main" id="{D2D9DA5A-C805-4C04-9081-45FBEB6ADB33}"/>
                  </a:ext>
                </a:extLst>
              </p:cNvPr>
              <p:cNvSpPr/>
              <p:nvPr/>
            </p:nvSpPr>
            <p:spPr>
              <a:xfrm>
                <a:off x="7695714" y="2722584"/>
                <a:ext cx="16207" cy="6219"/>
              </a:xfrm>
              <a:custGeom>
                <a:avLst/>
                <a:gdLst>
                  <a:gd name="connsiteX0" fmla="*/ 16208 w 16207"/>
                  <a:gd name="connsiteY0" fmla="*/ 6220 h 6219"/>
                  <a:gd name="connsiteX1" fmla="*/ 0 w 16207"/>
                  <a:gd name="connsiteY1" fmla="*/ 0 h 6219"/>
                </a:gdLst>
                <a:ahLst/>
                <a:cxnLst>
                  <a:cxn ang="0">
                    <a:pos x="connsiteX0" y="connsiteY0"/>
                  </a:cxn>
                  <a:cxn ang="0">
                    <a:pos x="connsiteX1" y="connsiteY1"/>
                  </a:cxn>
                </a:cxnLst>
                <a:rect l="l" t="t" r="r" b="b"/>
                <a:pathLst>
                  <a:path w="16207" h="6219">
                    <a:moveTo>
                      <a:pt x="16208" y="622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88" name="Vrije vorm: vorm 6087">
                <a:extLst>
                  <a:ext uri="{FF2B5EF4-FFF2-40B4-BE49-F238E27FC236}">
                    <a16:creationId xmlns:a16="http://schemas.microsoft.com/office/drawing/2014/main" id="{CA9BDB94-D83F-4ED6-A6FA-A5FB71038C43}"/>
                  </a:ext>
                </a:extLst>
              </p:cNvPr>
              <p:cNvSpPr/>
              <p:nvPr/>
            </p:nvSpPr>
            <p:spPr>
              <a:xfrm>
                <a:off x="7711921" y="2728804"/>
                <a:ext cx="9030" cy="16446"/>
              </a:xfrm>
              <a:custGeom>
                <a:avLst/>
                <a:gdLst>
                  <a:gd name="connsiteX0" fmla="*/ 0 w 9030"/>
                  <a:gd name="connsiteY0" fmla="*/ 0 h 16446"/>
                  <a:gd name="connsiteX1" fmla="*/ 9031 w 9030"/>
                  <a:gd name="connsiteY1" fmla="*/ 16447 h 16446"/>
                </a:gdLst>
                <a:ahLst/>
                <a:cxnLst>
                  <a:cxn ang="0">
                    <a:pos x="connsiteX0" y="connsiteY0"/>
                  </a:cxn>
                  <a:cxn ang="0">
                    <a:pos x="connsiteX1" y="connsiteY1"/>
                  </a:cxn>
                </a:cxnLst>
                <a:rect l="l" t="t" r="r" b="b"/>
                <a:pathLst>
                  <a:path w="9030" h="16446">
                    <a:moveTo>
                      <a:pt x="0" y="0"/>
                    </a:moveTo>
                    <a:lnTo>
                      <a:pt x="9031" y="16447"/>
                    </a:lnTo>
                  </a:path>
                </a:pathLst>
              </a:custGeom>
              <a:ln w="6350" cap="rnd">
                <a:solidFill>
                  <a:schemeClr val="bg1">
                    <a:alpha val="80000"/>
                  </a:schemeClr>
                </a:solidFill>
                <a:prstDash val="solid"/>
                <a:round/>
              </a:ln>
            </p:spPr>
            <p:txBody>
              <a:bodyPr rtlCol="0" anchor="ctr"/>
              <a:lstStyle/>
              <a:p>
                <a:endParaRPr lang="en-GB"/>
              </a:p>
            </p:txBody>
          </p:sp>
          <p:sp>
            <p:nvSpPr>
              <p:cNvPr id="6089" name="Vrije vorm: vorm 6088">
                <a:extLst>
                  <a:ext uri="{FF2B5EF4-FFF2-40B4-BE49-F238E27FC236}">
                    <a16:creationId xmlns:a16="http://schemas.microsoft.com/office/drawing/2014/main" id="{5EF5DC34-A4BD-410A-B2C4-907646A75908}"/>
                  </a:ext>
                </a:extLst>
              </p:cNvPr>
              <p:cNvSpPr/>
              <p:nvPr/>
            </p:nvSpPr>
            <p:spPr>
              <a:xfrm>
                <a:off x="7698405" y="2705539"/>
                <a:ext cx="13516" cy="23265"/>
              </a:xfrm>
              <a:custGeom>
                <a:avLst/>
                <a:gdLst>
                  <a:gd name="connsiteX0" fmla="*/ 13516 w 13516"/>
                  <a:gd name="connsiteY0" fmla="*/ 23265 h 23265"/>
                  <a:gd name="connsiteX1" fmla="*/ 0 w 13516"/>
                  <a:gd name="connsiteY1" fmla="*/ 0 h 23265"/>
                </a:gdLst>
                <a:ahLst/>
                <a:cxnLst>
                  <a:cxn ang="0">
                    <a:pos x="connsiteX0" y="connsiteY0"/>
                  </a:cxn>
                  <a:cxn ang="0">
                    <a:pos x="connsiteX1" y="connsiteY1"/>
                  </a:cxn>
                </a:cxnLst>
                <a:rect l="l" t="t" r="r" b="b"/>
                <a:pathLst>
                  <a:path w="13516" h="23265">
                    <a:moveTo>
                      <a:pt x="13516" y="23265"/>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90" name="Vrije vorm: vorm 6089">
                <a:extLst>
                  <a:ext uri="{FF2B5EF4-FFF2-40B4-BE49-F238E27FC236}">
                    <a16:creationId xmlns:a16="http://schemas.microsoft.com/office/drawing/2014/main" id="{C7A10B22-10E6-4D3D-B7EA-D76A955D8C10}"/>
                  </a:ext>
                </a:extLst>
              </p:cNvPr>
              <p:cNvSpPr/>
              <p:nvPr/>
            </p:nvSpPr>
            <p:spPr>
              <a:xfrm>
                <a:off x="7770473" y="2747883"/>
                <a:ext cx="3827" cy="7296"/>
              </a:xfrm>
              <a:custGeom>
                <a:avLst/>
                <a:gdLst>
                  <a:gd name="connsiteX0" fmla="*/ 3827 w 3827"/>
                  <a:gd name="connsiteY0" fmla="*/ 0 h 7296"/>
                  <a:gd name="connsiteX1" fmla="*/ 0 w 3827"/>
                  <a:gd name="connsiteY1" fmla="*/ 7296 h 7296"/>
                </a:gdLst>
                <a:ahLst/>
                <a:cxnLst>
                  <a:cxn ang="0">
                    <a:pos x="connsiteX0" y="connsiteY0"/>
                  </a:cxn>
                  <a:cxn ang="0">
                    <a:pos x="connsiteX1" y="connsiteY1"/>
                  </a:cxn>
                </a:cxnLst>
                <a:rect l="l" t="t" r="r" b="b"/>
                <a:pathLst>
                  <a:path w="3827" h="7296">
                    <a:moveTo>
                      <a:pt x="3827" y="0"/>
                    </a:moveTo>
                    <a:lnTo>
                      <a:pt x="0" y="7296"/>
                    </a:lnTo>
                  </a:path>
                </a:pathLst>
              </a:custGeom>
              <a:ln w="6350" cap="rnd">
                <a:solidFill>
                  <a:schemeClr val="bg1">
                    <a:alpha val="80000"/>
                  </a:schemeClr>
                </a:solidFill>
                <a:prstDash val="solid"/>
                <a:round/>
              </a:ln>
            </p:spPr>
            <p:txBody>
              <a:bodyPr rtlCol="0" anchor="ctr"/>
              <a:lstStyle/>
              <a:p>
                <a:endParaRPr lang="en-GB"/>
              </a:p>
            </p:txBody>
          </p:sp>
          <p:sp>
            <p:nvSpPr>
              <p:cNvPr id="6091" name="Vrije vorm: vorm 6090">
                <a:extLst>
                  <a:ext uri="{FF2B5EF4-FFF2-40B4-BE49-F238E27FC236}">
                    <a16:creationId xmlns:a16="http://schemas.microsoft.com/office/drawing/2014/main" id="{9644E7A4-04C3-4B5E-A6A4-7224FFBF8FB9}"/>
                  </a:ext>
                </a:extLst>
              </p:cNvPr>
              <p:cNvSpPr/>
              <p:nvPr/>
            </p:nvSpPr>
            <p:spPr>
              <a:xfrm>
                <a:off x="7720952" y="2740586"/>
                <a:ext cx="10167" cy="4664"/>
              </a:xfrm>
              <a:custGeom>
                <a:avLst/>
                <a:gdLst>
                  <a:gd name="connsiteX0" fmla="*/ 10167 w 10167"/>
                  <a:gd name="connsiteY0" fmla="*/ 0 h 4664"/>
                  <a:gd name="connsiteX1" fmla="*/ 0 w 10167"/>
                  <a:gd name="connsiteY1" fmla="*/ 4665 h 4664"/>
                </a:gdLst>
                <a:ahLst/>
                <a:cxnLst>
                  <a:cxn ang="0">
                    <a:pos x="connsiteX0" y="connsiteY0"/>
                  </a:cxn>
                  <a:cxn ang="0">
                    <a:pos x="connsiteX1" y="connsiteY1"/>
                  </a:cxn>
                </a:cxnLst>
                <a:rect l="l" t="t" r="r" b="b"/>
                <a:pathLst>
                  <a:path w="10167" h="4664">
                    <a:moveTo>
                      <a:pt x="10167" y="0"/>
                    </a:moveTo>
                    <a:lnTo>
                      <a:pt x="0" y="4665"/>
                    </a:lnTo>
                  </a:path>
                </a:pathLst>
              </a:custGeom>
              <a:ln w="6350" cap="rnd">
                <a:solidFill>
                  <a:schemeClr val="bg1">
                    <a:alpha val="80000"/>
                  </a:schemeClr>
                </a:solidFill>
                <a:prstDash val="solid"/>
                <a:round/>
              </a:ln>
            </p:spPr>
            <p:txBody>
              <a:bodyPr rtlCol="0" anchor="ctr"/>
              <a:lstStyle/>
              <a:p>
                <a:endParaRPr lang="en-GB"/>
              </a:p>
            </p:txBody>
          </p:sp>
          <p:sp>
            <p:nvSpPr>
              <p:cNvPr id="6092" name="Vrije vorm: vorm 6091">
                <a:extLst>
                  <a:ext uri="{FF2B5EF4-FFF2-40B4-BE49-F238E27FC236}">
                    <a16:creationId xmlns:a16="http://schemas.microsoft.com/office/drawing/2014/main" id="{E8F97CC3-832B-4E82-97EC-06F4C08C8F68}"/>
                  </a:ext>
                </a:extLst>
              </p:cNvPr>
              <p:cNvSpPr/>
              <p:nvPr/>
            </p:nvSpPr>
            <p:spPr>
              <a:xfrm>
                <a:off x="7711921" y="2728804"/>
                <a:ext cx="19198" cy="11782"/>
              </a:xfrm>
              <a:custGeom>
                <a:avLst/>
                <a:gdLst>
                  <a:gd name="connsiteX0" fmla="*/ 19198 w 19198"/>
                  <a:gd name="connsiteY0" fmla="*/ 11782 h 11782"/>
                  <a:gd name="connsiteX1" fmla="*/ 0 w 19198"/>
                  <a:gd name="connsiteY1" fmla="*/ 0 h 11782"/>
                </a:gdLst>
                <a:ahLst/>
                <a:cxnLst>
                  <a:cxn ang="0">
                    <a:pos x="connsiteX0" y="connsiteY0"/>
                  </a:cxn>
                  <a:cxn ang="0">
                    <a:pos x="connsiteX1" y="connsiteY1"/>
                  </a:cxn>
                </a:cxnLst>
                <a:rect l="l" t="t" r="r" b="b"/>
                <a:pathLst>
                  <a:path w="19198" h="11782">
                    <a:moveTo>
                      <a:pt x="19198" y="1178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93" name="Vrije vorm: vorm 6092">
                <a:extLst>
                  <a:ext uri="{FF2B5EF4-FFF2-40B4-BE49-F238E27FC236}">
                    <a16:creationId xmlns:a16="http://schemas.microsoft.com/office/drawing/2014/main" id="{6E22E5C2-E242-4C08-B0DB-BE455B185166}"/>
                  </a:ext>
                </a:extLst>
              </p:cNvPr>
              <p:cNvSpPr/>
              <p:nvPr/>
            </p:nvSpPr>
            <p:spPr>
              <a:xfrm>
                <a:off x="7594639" y="2784544"/>
                <a:ext cx="9210" cy="5980"/>
              </a:xfrm>
              <a:custGeom>
                <a:avLst/>
                <a:gdLst>
                  <a:gd name="connsiteX0" fmla="*/ 0 w 9210"/>
                  <a:gd name="connsiteY0" fmla="*/ 5981 h 5980"/>
                  <a:gd name="connsiteX1" fmla="*/ 9210 w 9210"/>
                  <a:gd name="connsiteY1" fmla="*/ 0 h 5980"/>
                </a:gdLst>
                <a:ahLst/>
                <a:cxnLst>
                  <a:cxn ang="0">
                    <a:pos x="connsiteX0" y="connsiteY0"/>
                  </a:cxn>
                  <a:cxn ang="0">
                    <a:pos x="connsiteX1" y="connsiteY1"/>
                  </a:cxn>
                </a:cxnLst>
                <a:rect l="l" t="t" r="r" b="b"/>
                <a:pathLst>
                  <a:path w="9210" h="5980">
                    <a:moveTo>
                      <a:pt x="0" y="5981"/>
                    </a:moveTo>
                    <a:lnTo>
                      <a:pt x="9210" y="0"/>
                    </a:lnTo>
                  </a:path>
                </a:pathLst>
              </a:custGeom>
              <a:ln w="6350" cap="rnd">
                <a:solidFill>
                  <a:schemeClr val="bg1">
                    <a:alpha val="80000"/>
                  </a:schemeClr>
                </a:solidFill>
                <a:prstDash val="solid"/>
                <a:round/>
              </a:ln>
            </p:spPr>
            <p:txBody>
              <a:bodyPr rtlCol="0" anchor="ctr"/>
              <a:lstStyle/>
              <a:p>
                <a:endParaRPr lang="en-GB"/>
              </a:p>
            </p:txBody>
          </p:sp>
          <p:sp>
            <p:nvSpPr>
              <p:cNvPr id="6094" name="Vrije vorm: vorm 6093">
                <a:extLst>
                  <a:ext uri="{FF2B5EF4-FFF2-40B4-BE49-F238E27FC236}">
                    <a16:creationId xmlns:a16="http://schemas.microsoft.com/office/drawing/2014/main" id="{DA35B12A-CCC1-440A-9874-76D69B941A08}"/>
                  </a:ext>
                </a:extLst>
              </p:cNvPr>
              <p:cNvSpPr/>
              <p:nvPr/>
            </p:nvSpPr>
            <p:spPr>
              <a:xfrm>
                <a:off x="7566111" y="2790525"/>
                <a:ext cx="28528" cy="25298"/>
              </a:xfrm>
              <a:custGeom>
                <a:avLst/>
                <a:gdLst>
                  <a:gd name="connsiteX0" fmla="*/ 28528 w 28528"/>
                  <a:gd name="connsiteY0" fmla="*/ 0 h 25298"/>
                  <a:gd name="connsiteX1" fmla="*/ 0 w 28528"/>
                  <a:gd name="connsiteY1" fmla="*/ 25299 h 25298"/>
                </a:gdLst>
                <a:ahLst/>
                <a:cxnLst>
                  <a:cxn ang="0">
                    <a:pos x="connsiteX0" y="connsiteY0"/>
                  </a:cxn>
                  <a:cxn ang="0">
                    <a:pos x="connsiteX1" y="connsiteY1"/>
                  </a:cxn>
                </a:cxnLst>
                <a:rect l="l" t="t" r="r" b="b"/>
                <a:pathLst>
                  <a:path w="28528" h="25298">
                    <a:moveTo>
                      <a:pt x="28528" y="0"/>
                    </a:moveTo>
                    <a:lnTo>
                      <a:pt x="0" y="25299"/>
                    </a:lnTo>
                  </a:path>
                </a:pathLst>
              </a:custGeom>
              <a:ln w="6350" cap="rnd">
                <a:solidFill>
                  <a:schemeClr val="bg1">
                    <a:alpha val="80000"/>
                  </a:schemeClr>
                </a:solidFill>
                <a:prstDash val="solid"/>
                <a:round/>
              </a:ln>
            </p:spPr>
            <p:txBody>
              <a:bodyPr rtlCol="0" anchor="ctr"/>
              <a:lstStyle/>
              <a:p>
                <a:endParaRPr lang="en-GB"/>
              </a:p>
            </p:txBody>
          </p:sp>
          <p:sp>
            <p:nvSpPr>
              <p:cNvPr id="6095" name="Vrije vorm: vorm 6094">
                <a:extLst>
                  <a:ext uri="{FF2B5EF4-FFF2-40B4-BE49-F238E27FC236}">
                    <a16:creationId xmlns:a16="http://schemas.microsoft.com/office/drawing/2014/main" id="{198E5333-22C1-4BB4-A9D4-96711ECB2A6C}"/>
                  </a:ext>
                </a:extLst>
              </p:cNvPr>
              <p:cNvSpPr/>
              <p:nvPr/>
            </p:nvSpPr>
            <p:spPr>
              <a:xfrm>
                <a:off x="7712340" y="2704642"/>
                <a:ext cx="8253" cy="7057"/>
              </a:xfrm>
              <a:custGeom>
                <a:avLst/>
                <a:gdLst>
                  <a:gd name="connsiteX0" fmla="*/ 8253 w 8253"/>
                  <a:gd name="connsiteY0" fmla="*/ 7057 h 7057"/>
                  <a:gd name="connsiteX1" fmla="*/ 0 w 8253"/>
                  <a:gd name="connsiteY1" fmla="*/ 0 h 7057"/>
                </a:gdLst>
                <a:ahLst/>
                <a:cxnLst>
                  <a:cxn ang="0">
                    <a:pos x="connsiteX0" y="connsiteY0"/>
                  </a:cxn>
                  <a:cxn ang="0">
                    <a:pos x="connsiteX1" y="connsiteY1"/>
                  </a:cxn>
                </a:cxnLst>
                <a:rect l="l" t="t" r="r" b="b"/>
                <a:pathLst>
                  <a:path w="8253" h="7057">
                    <a:moveTo>
                      <a:pt x="8253" y="705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096" name="Vrije vorm: vorm 6095">
                <a:extLst>
                  <a:ext uri="{FF2B5EF4-FFF2-40B4-BE49-F238E27FC236}">
                    <a16:creationId xmlns:a16="http://schemas.microsoft.com/office/drawing/2014/main" id="{37D75368-6918-419F-B9A5-FD3415BCC400}"/>
                  </a:ext>
                </a:extLst>
              </p:cNvPr>
              <p:cNvSpPr/>
              <p:nvPr/>
            </p:nvSpPr>
            <p:spPr>
              <a:xfrm>
                <a:off x="7625141" y="2676293"/>
                <a:ext cx="17583" cy="13037"/>
              </a:xfrm>
              <a:custGeom>
                <a:avLst/>
                <a:gdLst>
                  <a:gd name="connsiteX0" fmla="*/ 17583 w 17583"/>
                  <a:gd name="connsiteY0" fmla="*/ 0 h 13037"/>
                  <a:gd name="connsiteX1" fmla="*/ 0 w 17583"/>
                  <a:gd name="connsiteY1" fmla="*/ 13038 h 13037"/>
                </a:gdLst>
                <a:ahLst/>
                <a:cxnLst>
                  <a:cxn ang="0">
                    <a:pos x="connsiteX0" y="connsiteY0"/>
                  </a:cxn>
                  <a:cxn ang="0">
                    <a:pos x="connsiteX1" y="connsiteY1"/>
                  </a:cxn>
                </a:cxnLst>
                <a:rect l="l" t="t" r="r" b="b"/>
                <a:pathLst>
                  <a:path w="17583" h="13037">
                    <a:moveTo>
                      <a:pt x="17583" y="0"/>
                    </a:moveTo>
                    <a:lnTo>
                      <a:pt x="0" y="13038"/>
                    </a:lnTo>
                  </a:path>
                </a:pathLst>
              </a:custGeom>
              <a:ln w="6350" cap="rnd">
                <a:solidFill>
                  <a:schemeClr val="bg1">
                    <a:alpha val="80000"/>
                  </a:schemeClr>
                </a:solidFill>
                <a:prstDash val="solid"/>
                <a:round/>
              </a:ln>
            </p:spPr>
            <p:txBody>
              <a:bodyPr rtlCol="0" anchor="ctr"/>
              <a:lstStyle/>
              <a:p>
                <a:endParaRPr lang="en-GB"/>
              </a:p>
            </p:txBody>
          </p:sp>
          <p:sp>
            <p:nvSpPr>
              <p:cNvPr id="6097" name="Vrije vorm: vorm 6096">
                <a:extLst>
                  <a:ext uri="{FF2B5EF4-FFF2-40B4-BE49-F238E27FC236}">
                    <a16:creationId xmlns:a16="http://schemas.microsoft.com/office/drawing/2014/main" id="{7F18B4C9-EC79-42E5-9ACE-02CAF3720545}"/>
                  </a:ext>
                </a:extLst>
              </p:cNvPr>
              <p:cNvSpPr/>
              <p:nvPr/>
            </p:nvSpPr>
            <p:spPr>
              <a:xfrm>
                <a:off x="7642724" y="2676293"/>
                <a:ext cx="16387" cy="14234"/>
              </a:xfrm>
              <a:custGeom>
                <a:avLst/>
                <a:gdLst>
                  <a:gd name="connsiteX0" fmla="*/ 0 w 16387"/>
                  <a:gd name="connsiteY0" fmla="*/ 0 h 14234"/>
                  <a:gd name="connsiteX1" fmla="*/ 16388 w 16387"/>
                  <a:gd name="connsiteY1" fmla="*/ 14234 h 14234"/>
                </a:gdLst>
                <a:ahLst/>
                <a:cxnLst>
                  <a:cxn ang="0">
                    <a:pos x="connsiteX0" y="connsiteY0"/>
                  </a:cxn>
                  <a:cxn ang="0">
                    <a:pos x="connsiteX1" y="connsiteY1"/>
                  </a:cxn>
                </a:cxnLst>
                <a:rect l="l" t="t" r="r" b="b"/>
                <a:pathLst>
                  <a:path w="16387" h="14234">
                    <a:moveTo>
                      <a:pt x="0" y="0"/>
                    </a:moveTo>
                    <a:lnTo>
                      <a:pt x="16388" y="14234"/>
                    </a:lnTo>
                  </a:path>
                </a:pathLst>
              </a:custGeom>
              <a:ln w="6350" cap="rnd">
                <a:solidFill>
                  <a:schemeClr val="bg1">
                    <a:alpha val="80000"/>
                  </a:schemeClr>
                </a:solidFill>
                <a:prstDash val="solid"/>
                <a:round/>
              </a:ln>
            </p:spPr>
            <p:txBody>
              <a:bodyPr rtlCol="0" anchor="ctr"/>
              <a:lstStyle/>
              <a:p>
                <a:endParaRPr lang="en-GB"/>
              </a:p>
            </p:txBody>
          </p:sp>
          <p:sp>
            <p:nvSpPr>
              <p:cNvPr id="6098" name="Vrije vorm: vorm 6097">
                <a:extLst>
                  <a:ext uri="{FF2B5EF4-FFF2-40B4-BE49-F238E27FC236}">
                    <a16:creationId xmlns:a16="http://schemas.microsoft.com/office/drawing/2014/main" id="{5B643290-9E7A-4484-8F58-08680C6E780F}"/>
                  </a:ext>
                </a:extLst>
              </p:cNvPr>
              <p:cNvSpPr/>
              <p:nvPr/>
            </p:nvSpPr>
            <p:spPr>
              <a:xfrm>
                <a:off x="7539198" y="2727967"/>
                <a:ext cx="17045" cy="16147"/>
              </a:xfrm>
              <a:custGeom>
                <a:avLst/>
                <a:gdLst>
                  <a:gd name="connsiteX0" fmla="*/ 0 w 17045"/>
                  <a:gd name="connsiteY0" fmla="*/ 16148 h 16147"/>
                  <a:gd name="connsiteX1" fmla="*/ 17045 w 17045"/>
                  <a:gd name="connsiteY1" fmla="*/ 0 h 16147"/>
                </a:gdLst>
                <a:ahLst/>
                <a:cxnLst>
                  <a:cxn ang="0">
                    <a:pos x="connsiteX0" y="connsiteY0"/>
                  </a:cxn>
                  <a:cxn ang="0">
                    <a:pos x="connsiteX1" y="connsiteY1"/>
                  </a:cxn>
                </a:cxnLst>
                <a:rect l="l" t="t" r="r" b="b"/>
                <a:pathLst>
                  <a:path w="17045" h="16147">
                    <a:moveTo>
                      <a:pt x="0" y="16148"/>
                    </a:moveTo>
                    <a:lnTo>
                      <a:pt x="17045" y="0"/>
                    </a:lnTo>
                  </a:path>
                </a:pathLst>
              </a:custGeom>
              <a:ln w="6350" cap="rnd">
                <a:solidFill>
                  <a:schemeClr val="bg1">
                    <a:alpha val="80000"/>
                  </a:schemeClr>
                </a:solidFill>
                <a:prstDash val="solid"/>
                <a:round/>
              </a:ln>
            </p:spPr>
            <p:txBody>
              <a:bodyPr rtlCol="0" anchor="ctr"/>
              <a:lstStyle/>
              <a:p>
                <a:endParaRPr lang="en-GB"/>
              </a:p>
            </p:txBody>
          </p:sp>
          <p:sp>
            <p:nvSpPr>
              <p:cNvPr id="6099" name="Vrije vorm: vorm 6098">
                <a:extLst>
                  <a:ext uri="{FF2B5EF4-FFF2-40B4-BE49-F238E27FC236}">
                    <a16:creationId xmlns:a16="http://schemas.microsoft.com/office/drawing/2014/main" id="{FCBC49C8-2986-40DB-96C7-3E9366D91FB8}"/>
                  </a:ext>
                </a:extLst>
              </p:cNvPr>
              <p:cNvSpPr/>
              <p:nvPr/>
            </p:nvSpPr>
            <p:spPr>
              <a:xfrm>
                <a:off x="7642724" y="2667561"/>
                <a:ext cx="13576" cy="8731"/>
              </a:xfrm>
              <a:custGeom>
                <a:avLst/>
                <a:gdLst>
                  <a:gd name="connsiteX0" fmla="*/ 13576 w 13576"/>
                  <a:gd name="connsiteY0" fmla="*/ 0 h 8731"/>
                  <a:gd name="connsiteX1" fmla="*/ 0 w 13576"/>
                  <a:gd name="connsiteY1" fmla="*/ 8732 h 8731"/>
                </a:gdLst>
                <a:ahLst/>
                <a:cxnLst>
                  <a:cxn ang="0">
                    <a:pos x="connsiteX0" y="connsiteY0"/>
                  </a:cxn>
                  <a:cxn ang="0">
                    <a:pos x="connsiteX1" y="connsiteY1"/>
                  </a:cxn>
                </a:cxnLst>
                <a:rect l="l" t="t" r="r" b="b"/>
                <a:pathLst>
                  <a:path w="13576" h="8731">
                    <a:moveTo>
                      <a:pt x="13576" y="0"/>
                    </a:moveTo>
                    <a:lnTo>
                      <a:pt x="0" y="8732"/>
                    </a:lnTo>
                  </a:path>
                </a:pathLst>
              </a:custGeom>
              <a:ln w="6350" cap="rnd">
                <a:solidFill>
                  <a:schemeClr val="bg1">
                    <a:alpha val="80000"/>
                  </a:schemeClr>
                </a:solidFill>
                <a:prstDash val="solid"/>
                <a:round/>
              </a:ln>
            </p:spPr>
            <p:txBody>
              <a:bodyPr rtlCol="0" anchor="ctr"/>
              <a:lstStyle/>
              <a:p>
                <a:endParaRPr lang="en-GB"/>
              </a:p>
            </p:txBody>
          </p:sp>
          <p:sp>
            <p:nvSpPr>
              <p:cNvPr id="6100" name="Vrije vorm: vorm 6099">
                <a:extLst>
                  <a:ext uri="{FF2B5EF4-FFF2-40B4-BE49-F238E27FC236}">
                    <a16:creationId xmlns:a16="http://schemas.microsoft.com/office/drawing/2014/main" id="{40DC6AA2-E0CC-46D2-B072-95322423C7A6}"/>
                  </a:ext>
                </a:extLst>
              </p:cNvPr>
              <p:cNvSpPr/>
              <p:nvPr/>
            </p:nvSpPr>
            <p:spPr>
              <a:xfrm>
                <a:off x="7659112" y="2690527"/>
                <a:ext cx="21590" cy="3887"/>
              </a:xfrm>
              <a:custGeom>
                <a:avLst/>
                <a:gdLst>
                  <a:gd name="connsiteX0" fmla="*/ 21591 w 21590"/>
                  <a:gd name="connsiteY0" fmla="*/ 3887 h 3887"/>
                  <a:gd name="connsiteX1" fmla="*/ 0 w 21590"/>
                  <a:gd name="connsiteY1" fmla="*/ 0 h 3887"/>
                </a:gdLst>
                <a:ahLst/>
                <a:cxnLst>
                  <a:cxn ang="0">
                    <a:pos x="connsiteX0" y="connsiteY0"/>
                  </a:cxn>
                  <a:cxn ang="0">
                    <a:pos x="connsiteX1" y="connsiteY1"/>
                  </a:cxn>
                </a:cxnLst>
                <a:rect l="l" t="t" r="r" b="b"/>
                <a:pathLst>
                  <a:path w="21590" h="3887">
                    <a:moveTo>
                      <a:pt x="21591" y="388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01" name="Vrije vorm: vorm 6100">
                <a:extLst>
                  <a:ext uri="{FF2B5EF4-FFF2-40B4-BE49-F238E27FC236}">
                    <a16:creationId xmlns:a16="http://schemas.microsoft.com/office/drawing/2014/main" id="{6D31945F-7535-4AF1-A6FF-BDCA2BBAC71B}"/>
                  </a:ext>
                </a:extLst>
              </p:cNvPr>
              <p:cNvSpPr/>
              <p:nvPr/>
            </p:nvSpPr>
            <p:spPr>
              <a:xfrm>
                <a:off x="7680702" y="2694415"/>
                <a:ext cx="17702" cy="11124"/>
              </a:xfrm>
              <a:custGeom>
                <a:avLst/>
                <a:gdLst>
                  <a:gd name="connsiteX0" fmla="*/ 0 w 17702"/>
                  <a:gd name="connsiteY0" fmla="*/ 0 h 11124"/>
                  <a:gd name="connsiteX1" fmla="*/ 17703 w 17702"/>
                  <a:gd name="connsiteY1" fmla="*/ 11124 h 11124"/>
                </a:gdLst>
                <a:ahLst/>
                <a:cxnLst>
                  <a:cxn ang="0">
                    <a:pos x="connsiteX0" y="connsiteY0"/>
                  </a:cxn>
                  <a:cxn ang="0">
                    <a:pos x="connsiteX1" y="connsiteY1"/>
                  </a:cxn>
                </a:cxnLst>
                <a:rect l="l" t="t" r="r" b="b"/>
                <a:pathLst>
                  <a:path w="17702" h="11124">
                    <a:moveTo>
                      <a:pt x="0" y="0"/>
                    </a:moveTo>
                    <a:lnTo>
                      <a:pt x="17703" y="11124"/>
                    </a:lnTo>
                  </a:path>
                </a:pathLst>
              </a:custGeom>
              <a:ln w="6350" cap="rnd">
                <a:solidFill>
                  <a:schemeClr val="bg1">
                    <a:alpha val="80000"/>
                  </a:schemeClr>
                </a:solidFill>
                <a:prstDash val="solid"/>
                <a:round/>
              </a:ln>
            </p:spPr>
            <p:txBody>
              <a:bodyPr rtlCol="0" anchor="ctr"/>
              <a:lstStyle/>
              <a:p>
                <a:endParaRPr lang="en-GB"/>
              </a:p>
            </p:txBody>
          </p:sp>
          <p:sp>
            <p:nvSpPr>
              <p:cNvPr id="6102" name="Vrije vorm: vorm 6101">
                <a:extLst>
                  <a:ext uri="{FF2B5EF4-FFF2-40B4-BE49-F238E27FC236}">
                    <a16:creationId xmlns:a16="http://schemas.microsoft.com/office/drawing/2014/main" id="{620B99C6-CF3E-4845-B36C-9986F24DF690}"/>
                  </a:ext>
                </a:extLst>
              </p:cNvPr>
              <p:cNvSpPr/>
              <p:nvPr/>
            </p:nvSpPr>
            <p:spPr>
              <a:xfrm>
                <a:off x="7679027" y="2722584"/>
                <a:ext cx="16686" cy="12619"/>
              </a:xfrm>
              <a:custGeom>
                <a:avLst/>
                <a:gdLst>
                  <a:gd name="connsiteX0" fmla="*/ 0 w 16686"/>
                  <a:gd name="connsiteY0" fmla="*/ 12619 h 12619"/>
                  <a:gd name="connsiteX1" fmla="*/ 16687 w 16686"/>
                  <a:gd name="connsiteY1" fmla="*/ 0 h 12619"/>
                </a:gdLst>
                <a:ahLst/>
                <a:cxnLst>
                  <a:cxn ang="0">
                    <a:pos x="connsiteX0" y="connsiteY0"/>
                  </a:cxn>
                  <a:cxn ang="0">
                    <a:pos x="connsiteX1" y="connsiteY1"/>
                  </a:cxn>
                </a:cxnLst>
                <a:rect l="l" t="t" r="r" b="b"/>
                <a:pathLst>
                  <a:path w="16686" h="12619">
                    <a:moveTo>
                      <a:pt x="0" y="12619"/>
                    </a:moveTo>
                    <a:lnTo>
                      <a:pt x="16687" y="0"/>
                    </a:lnTo>
                  </a:path>
                </a:pathLst>
              </a:custGeom>
              <a:ln w="6350" cap="rnd">
                <a:solidFill>
                  <a:schemeClr val="bg1">
                    <a:alpha val="80000"/>
                  </a:schemeClr>
                </a:solidFill>
                <a:prstDash val="solid"/>
                <a:round/>
              </a:ln>
            </p:spPr>
            <p:txBody>
              <a:bodyPr rtlCol="0" anchor="ctr"/>
              <a:lstStyle/>
              <a:p>
                <a:endParaRPr lang="en-GB"/>
              </a:p>
            </p:txBody>
          </p:sp>
          <p:sp>
            <p:nvSpPr>
              <p:cNvPr id="6103" name="Vrije vorm: vorm 6102">
                <a:extLst>
                  <a:ext uri="{FF2B5EF4-FFF2-40B4-BE49-F238E27FC236}">
                    <a16:creationId xmlns:a16="http://schemas.microsoft.com/office/drawing/2014/main" id="{0B37A3CD-8C82-446F-944F-5E7BF39DF8E8}"/>
                  </a:ext>
                </a:extLst>
              </p:cNvPr>
              <p:cNvSpPr/>
              <p:nvPr/>
            </p:nvSpPr>
            <p:spPr>
              <a:xfrm>
                <a:off x="7599962" y="2747284"/>
                <a:ext cx="13396" cy="13636"/>
              </a:xfrm>
              <a:custGeom>
                <a:avLst/>
                <a:gdLst>
                  <a:gd name="connsiteX0" fmla="*/ 0 w 13396"/>
                  <a:gd name="connsiteY0" fmla="*/ 0 h 13636"/>
                  <a:gd name="connsiteX1" fmla="*/ 13397 w 13396"/>
                  <a:gd name="connsiteY1" fmla="*/ 13636 h 13636"/>
                </a:gdLst>
                <a:ahLst/>
                <a:cxnLst>
                  <a:cxn ang="0">
                    <a:pos x="connsiteX0" y="connsiteY0"/>
                  </a:cxn>
                  <a:cxn ang="0">
                    <a:pos x="connsiteX1" y="connsiteY1"/>
                  </a:cxn>
                </a:cxnLst>
                <a:rect l="l" t="t" r="r" b="b"/>
                <a:pathLst>
                  <a:path w="13396" h="13636">
                    <a:moveTo>
                      <a:pt x="0" y="0"/>
                    </a:moveTo>
                    <a:lnTo>
                      <a:pt x="13397" y="13636"/>
                    </a:lnTo>
                  </a:path>
                </a:pathLst>
              </a:custGeom>
              <a:ln w="6350" cap="rnd">
                <a:solidFill>
                  <a:schemeClr val="bg1">
                    <a:alpha val="80000"/>
                  </a:schemeClr>
                </a:solidFill>
                <a:prstDash val="solid"/>
                <a:round/>
              </a:ln>
            </p:spPr>
            <p:txBody>
              <a:bodyPr rtlCol="0" anchor="ctr"/>
              <a:lstStyle/>
              <a:p>
                <a:endParaRPr lang="en-GB"/>
              </a:p>
            </p:txBody>
          </p:sp>
          <p:sp>
            <p:nvSpPr>
              <p:cNvPr id="6104" name="Vrije vorm: vorm 6103">
                <a:extLst>
                  <a:ext uri="{FF2B5EF4-FFF2-40B4-BE49-F238E27FC236}">
                    <a16:creationId xmlns:a16="http://schemas.microsoft.com/office/drawing/2014/main" id="{086B6AB4-70AE-4823-9FCA-CF221DFCB511}"/>
                  </a:ext>
                </a:extLst>
              </p:cNvPr>
              <p:cNvSpPr/>
              <p:nvPr/>
            </p:nvSpPr>
            <p:spPr>
              <a:xfrm>
                <a:off x="7566111" y="2814089"/>
                <a:ext cx="10944" cy="1734"/>
              </a:xfrm>
              <a:custGeom>
                <a:avLst/>
                <a:gdLst>
                  <a:gd name="connsiteX0" fmla="*/ 10944 w 10944"/>
                  <a:gd name="connsiteY0" fmla="*/ 0 h 1734"/>
                  <a:gd name="connsiteX1" fmla="*/ 0 w 10944"/>
                  <a:gd name="connsiteY1" fmla="*/ 1734 h 1734"/>
                </a:gdLst>
                <a:ahLst/>
                <a:cxnLst>
                  <a:cxn ang="0">
                    <a:pos x="connsiteX0" y="connsiteY0"/>
                  </a:cxn>
                  <a:cxn ang="0">
                    <a:pos x="connsiteX1" y="connsiteY1"/>
                  </a:cxn>
                </a:cxnLst>
                <a:rect l="l" t="t" r="r" b="b"/>
                <a:pathLst>
                  <a:path w="10944" h="1734">
                    <a:moveTo>
                      <a:pt x="10944" y="0"/>
                    </a:moveTo>
                    <a:lnTo>
                      <a:pt x="0" y="1734"/>
                    </a:lnTo>
                  </a:path>
                </a:pathLst>
              </a:custGeom>
              <a:ln w="6350" cap="rnd">
                <a:solidFill>
                  <a:schemeClr val="bg1">
                    <a:alpha val="80000"/>
                  </a:schemeClr>
                </a:solidFill>
                <a:prstDash val="solid"/>
                <a:round/>
              </a:ln>
            </p:spPr>
            <p:txBody>
              <a:bodyPr rtlCol="0" anchor="ctr"/>
              <a:lstStyle/>
              <a:p>
                <a:endParaRPr lang="en-GB"/>
              </a:p>
            </p:txBody>
          </p:sp>
          <p:sp>
            <p:nvSpPr>
              <p:cNvPr id="6105" name="Vrije vorm: vorm 6104">
                <a:extLst>
                  <a:ext uri="{FF2B5EF4-FFF2-40B4-BE49-F238E27FC236}">
                    <a16:creationId xmlns:a16="http://schemas.microsoft.com/office/drawing/2014/main" id="{9CFE8827-7A5C-4E30-9978-98AE9807CDD3}"/>
                  </a:ext>
                </a:extLst>
              </p:cNvPr>
              <p:cNvSpPr/>
              <p:nvPr/>
            </p:nvSpPr>
            <p:spPr>
              <a:xfrm>
                <a:off x="7577056" y="2790525"/>
                <a:ext cx="17583" cy="23564"/>
              </a:xfrm>
              <a:custGeom>
                <a:avLst/>
                <a:gdLst>
                  <a:gd name="connsiteX0" fmla="*/ 0 w 17583"/>
                  <a:gd name="connsiteY0" fmla="*/ 23564 h 23564"/>
                  <a:gd name="connsiteX1" fmla="*/ 17583 w 17583"/>
                  <a:gd name="connsiteY1" fmla="*/ 0 h 23564"/>
                </a:gdLst>
                <a:ahLst/>
                <a:cxnLst>
                  <a:cxn ang="0">
                    <a:pos x="connsiteX0" y="connsiteY0"/>
                  </a:cxn>
                  <a:cxn ang="0">
                    <a:pos x="connsiteX1" y="connsiteY1"/>
                  </a:cxn>
                </a:cxnLst>
                <a:rect l="l" t="t" r="r" b="b"/>
                <a:pathLst>
                  <a:path w="17583" h="23564">
                    <a:moveTo>
                      <a:pt x="0" y="23564"/>
                    </a:moveTo>
                    <a:lnTo>
                      <a:pt x="17583" y="0"/>
                    </a:lnTo>
                  </a:path>
                </a:pathLst>
              </a:custGeom>
              <a:ln w="6350" cap="rnd">
                <a:solidFill>
                  <a:schemeClr val="bg1">
                    <a:alpha val="80000"/>
                  </a:schemeClr>
                </a:solidFill>
                <a:prstDash val="solid"/>
                <a:round/>
              </a:ln>
            </p:spPr>
            <p:txBody>
              <a:bodyPr rtlCol="0" anchor="ctr"/>
              <a:lstStyle/>
              <a:p>
                <a:endParaRPr lang="en-GB"/>
              </a:p>
            </p:txBody>
          </p:sp>
          <p:sp>
            <p:nvSpPr>
              <p:cNvPr id="6106" name="Vrije vorm: vorm 6105">
                <a:extLst>
                  <a:ext uri="{FF2B5EF4-FFF2-40B4-BE49-F238E27FC236}">
                    <a16:creationId xmlns:a16="http://schemas.microsoft.com/office/drawing/2014/main" id="{737A51F0-5E1B-4B0D-A319-DE9249A2602B}"/>
                  </a:ext>
                </a:extLst>
              </p:cNvPr>
              <p:cNvSpPr/>
              <p:nvPr/>
            </p:nvSpPr>
            <p:spPr>
              <a:xfrm>
                <a:off x="7640093" y="2633113"/>
                <a:ext cx="5621" cy="8253"/>
              </a:xfrm>
              <a:custGeom>
                <a:avLst/>
                <a:gdLst>
                  <a:gd name="connsiteX0" fmla="*/ 0 w 5621"/>
                  <a:gd name="connsiteY0" fmla="*/ 0 h 8253"/>
                  <a:gd name="connsiteX1" fmla="*/ 5622 w 5621"/>
                  <a:gd name="connsiteY1" fmla="*/ 8253 h 8253"/>
                </a:gdLst>
                <a:ahLst/>
                <a:cxnLst>
                  <a:cxn ang="0">
                    <a:pos x="connsiteX0" y="connsiteY0"/>
                  </a:cxn>
                  <a:cxn ang="0">
                    <a:pos x="connsiteX1" y="connsiteY1"/>
                  </a:cxn>
                </a:cxnLst>
                <a:rect l="l" t="t" r="r" b="b"/>
                <a:pathLst>
                  <a:path w="5621" h="8253">
                    <a:moveTo>
                      <a:pt x="0" y="0"/>
                    </a:moveTo>
                    <a:lnTo>
                      <a:pt x="5622" y="8253"/>
                    </a:lnTo>
                  </a:path>
                </a:pathLst>
              </a:custGeom>
              <a:ln w="6350" cap="rnd">
                <a:solidFill>
                  <a:schemeClr val="bg1">
                    <a:alpha val="80000"/>
                  </a:schemeClr>
                </a:solidFill>
                <a:prstDash val="solid"/>
                <a:round/>
              </a:ln>
            </p:spPr>
            <p:txBody>
              <a:bodyPr rtlCol="0" anchor="ctr"/>
              <a:lstStyle/>
              <a:p>
                <a:endParaRPr lang="en-GB"/>
              </a:p>
            </p:txBody>
          </p:sp>
          <p:sp>
            <p:nvSpPr>
              <p:cNvPr id="6107" name="Vrije vorm: vorm 6106">
                <a:extLst>
                  <a:ext uri="{FF2B5EF4-FFF2-40B4-BE49-F238E27FC236}">
                    <a16:creationId xmlns:a16="http://schemas.microsoft.com/office/drawing/2014/main" id="{F990F3DF-5A00-4E76-8D4B-F3FD1E17DBB0}"/>
                  </a:ext>
                </a:extLst>
              </p:cNvPr>
              <p:cNvSpPr/>
              <p:nvPr/>
            </p:nvSpPr>
            <p:spPr>
              <a:xfrm>
                <a:off x="7632258" y="2629105"/>
                <a:ext cx="7834" cy="4007"/>
              </a:xfrm>
              <a:custGeom>
                <a:avLst/>
                <a:gdLst>
                  <a:gd name="connsiteX0" fmla="*/ 7835 w 7834"/>
                  <a:gd name="connsiteY0" fmla="*/ 4007 h 4007"/>
                  <a:gd name="connsiteX1" fmla="*/ 0 w 7834"/>
                  <a:gd name="connsiteY1" fmla="*/ 0 h 4007"/>
                </a:gdLst>
                <a:ahLst/>
                <a:cxnLst>
                  <a:cxn ang="0">
                    <a:pos x="connsiteX0" y="connsiteY0"/>
                  </a:cxn>
                  <a:cxn ang="0">
                    <a:pos x="connsiteX1" y="connsiteY1"/>
                  </a:cxn>
                </a:cxnLst>
                <a:rect l="l" t="t" r="r" b="b"/>
                <a:pathLst>
                  <a:path w="7834" h="4007">
                    <a:moveTo>
                      <a:pt x="7835" y="400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08" name="Vrije vorm: vorm 6107">
                <a:extLst>
                  <a:ext uri="{FF2B5EF4-FFF2-40B4-BE49-F238E27FC236}">
                    <a16:creationId xmlns:a16="http://schemas.microsoft.com/office/drawing/2014/main" id="{1EDED8BE-366A-4D06-8C63-BA43F0427DF7}"/>
                  </a:ext>
                </a:extLst>
              </p:cNvPr>
              <p:cNvSpPr/>
              <p:nvPr/>
            </p:nvSpPr>
            <p:spPr>
              <a:xfrm>
                <a:off x="7677891" y="2796207"/>
                <a:ext cx="897" cy="478"/>
              </a:xfrm>
              <a:custGeom>
                <a:avLst/>
                <a:gdLst>
                  <a:gd name="connsiteX0" fmla="*/ 0 w 897"/>
                  <a:gd name="connsiteY0" fmla="*/ 478 h 478"/>
                  <a:gd name="connsiteX1" fmla="*/ 897 w 897"/>
                  <a:gd name="connsiteY1" fmla="*/ 0 h 478"/>
                </a:gdLst>
                <a:ahLst/>
                <a:cxnLst>
                  <a:cxn ang="0">
                    <a:pos x="connsiteX0" y="connsiteY0"/>
                  </a:cxn>
                  <a:cxn ang="0">
                    <a:pos x="connsiteX1" y="connsiteY1"/>
                  </a:cxn>
                </a:cxnLst>
                <a:rect l="l" t="t" r="r" b="b"/>
                <a:pathLst>
                  <a:path w="897" h="478">
                    <a:moveTo>
                      <a:pt x="0" y="478"/>
                    </a:moveTo>
                    <a:lnTo>
                      <a:pt x="897" y="0"/>
                    </a:lnTo>
                  </a:path>
                </a:pathLst>
              </a:custGeom>
              <a:ln w="6350" cap="rnd">
                <a:solidFill>
                  <a:schemeClr val="bg1">
                    <a:alpha val="80000"/>
                  </a:schemeClr>
                </a:solidFill>
                <a:prstDash val="solid"/>
                <a:round/>
              </a:ln>
            </p:spPr>
            <p:txBody>
              <a:bodyPr rtlCol="0" anchor="ctr"/>
              <a:lstStyle/>
              <a:p>
                <a:endParaRPr lang="en-GB"/>
              </a:p>
            </p:txBody>
          </p:sp>
          <p:sp>
            <p:nvSpPr>
              <p:cNvPr id="6109" name="Vrije vorm: vorm 6108">
                <a:extLst>
                  <a:ext uri="{FF2B5EF4-FFF2-40B4-BE49-F238E27FC236}">
                    <a16:creationId xmlns:a16="http://schemas.microsoft.com/office/drawing/2014/main" id="{AA59EE13-6283-4C0A-894C-093E030F3F74}"/>
                  </a:ext>
                </a:extLst>
              </p:cNvPr>
              <p:cNvSpPr/>
              <p:nvPr/>
            </p:nvSpPr>
            <p:spPr>
              <a:xfrm>
                <a:off x="7625141" y="2689331"/>
                <a:ext cx="15669" cy="15131"/>
              </a:xfrm>
              <a:custGeom>
                <a:avLst/>
                <a:gdLst>
                  <a:gd name="connsiteX0" fmla="*/ 15669 w 15669"/>
                  <a:gd name="connsiteY0" fmla="*/ 15131 h 15131"/>
                  <a:gd name="connsiteX1" fmla="*/ 0 w 15669"/>
                  <a:gd name="connsiteY1" fmla="*/ 0 h 15131"/>
                </a:gdLst>
                <a:ahLst/>
                <a:cxnLst>
                  <a:cxn ang="0">
                    <a:pos x="connsiteX0" y="connsiteY0"/>
                  </a:cxn>
                  <a:cxn ang="0">
                    <a:pos x="connsiteX1" y="connsiteY1"/>
                  </a:cxn>
                </a:cxnLst>
                <a:rect l="l" t="t" r="r" b="b"/>
                <a:pathLst>
                  <a:path w="15669" h="15131">
                    <a:moveTo>
                      <a:pt x="15669" y="1513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10" name="Vrije vorm: vorm 6109">
                <a:extLst>
                  <a:ext uri="{FF2B5EF4-FFF2-40B4-BE49-F238E27FC236}">
                    <a16:creationId xmlns:a16="http://schemas.microsoft.com/office/drawing/2014/main" id="{A86D0DDB-7194-4144-9C3C-F3E2EFF6EC7F}"/>
                  </a:ext>
                </a:extLst>
              </p:cNvPr>
              <p:cNvSpPr/>
              <p:nvPr/>
            </p:nvSpPr>
            <p:spPr>
              <a:xfrm>
                <a:off x="7640811" y="2690527"/>
                <a:ext cx="18301" cy="13935"/>
              </a:xfrm>
              <a:custGeom>
                <a:avLst/>
                <a:gdLst>
                  <a:gd name="connsiteX0" fmla="*/ 0 w 18301"/>
                  <a:gd name="connsiteY0" fmla="*/ 13935 h 13935"/>
                  <a:gd name="connsiteX1" fmla="*/ 18301 w 18301"/>
                  <a:gd name="connsiteY1" fmla="*/ 0 h 13935"/>
                </a:gdLst>
                <a:ahLst/>
                <a:cxnLst>
                  <a:cxn ang="0">
                    <a:pos x="connsiteX0" y="connsiteY0"/>
                  </a:cxn>
                  <a:cxn ang="0">
                    <a:pos x="connsiteX1" y="connsiteY1"/>
                  </a:cxn>
                </a:cxnLst>
                <a:rect l="l" t="t" r="r" b="b"/>
                <a:pathLst>
                  <a:path w="18301" h="13935">
                    <a:moveTo>
                      <a:pt x="0" y="13935"/>
                    </a:moveTo>
                    <a:lnTo>
                      <a:pt x="18301" y="0"/>
                    </a:lnTo>
                  </a:path>
                </a:pathLst>
              </a:custGeom>
              <a:ln w="6350" cap="rnd">
                <a:solidFill>
                  <a:schemeClr val="bg1">
                    <a:alpha val="80000"/>
                  </a:schemeClr>
                </a:solidFill>
                <a:prstDash val="solid"/>
                <a:round/>
              </a:ln>
            </p:spPr>
            <p:txBody>
              <a:bodyPr rtlCol="0" anchor="ctr"/>
              <a:lstStyle/>
              <a:p>
                <a:endParaRPr lang="en-GB"/>
              </a:p>
            </p:txBody>
          </p:sp>
          <p:sp>
            <p:nvSpPr>
              <p:cNvPr id="6111" name="Vrije vorm: vorm 6110">
                <a:extLst>
                  <a:ext uri="{FF2B5EF4-FFF2-40B4-BE49-F238E27FC236}">
                    <a16:creationId xmlns:a16="http://schemas.microsoft.com/office/drawing/2014/main" id="{99275AB1-0683-4180-B547-84F9B91A3C52}"/>
                  </a:ext>
                </a:extLst>
              </p:cNvPr>
              <p:cNvSpPr/>
              <p:nvPr/>
            </p:nvSpPr>
            <p:spPr>
              <a:xfrm>
                <a:off x="7640811" y="2704463"/>
                <a:ext cx="14353" cy="12738"/>
              </a:xfrm>
              <a:custGeom>
                <a:avLst/>
                <a:gdLst>
                  <a:gd name="connsiteX0" fmla="*/ 0 w 14353"/>
                  <a:gd name="connsiteY0" fmla="*/ 0 h 12738"/>
                  <a:gd name="connsiteX1" fmla="*/ 14354 w 14353"/>
                  <a:gd name="connsiteY1" fmla="*/ 12739 h 12738"/>
                </a:gdLst>
                <a:ahLst/>
                <a:cxnLst>
                  <a:cxn ang="0">
                    <a:pos x="connsiteX0" y="connsiteY0"/>
                  </a:cxn>
                  <a:cxn ang="0">
                    <a:pos x="connsiteX1" y="connsiteY1"/>
                  </a:cxn>
                </a:cxnLst>
                <a:rect l="l" t="t" r="r" b="b"/>
                <a:pathLst>
                  <a:path w="14353" h="12738">
                    <a:moveTo>
                      <a:pt x="0" y="0"/>
                    </a:moveTo>
                    <a:lnTo>
                      <a:pt x="14354" y="12739"/>
                    </a:lnTo>
                  </a:path>
                </a:pathLst>
              </a:custGeom>
              <a:ln w="6350" cap="rnd">
                <a:solidFill>
                  <a:schemeClr val="bg1">
                    <a:alpha val="80000"/>
                  </a:schemeClr>
                </a:solidFill>
                <a:prstDash val="solid"/>
                <a:round/>
              </a:ln>
            </p:spPr>
            <p:txBody>
              <a:bodyPr rtlCol="0" anchor="ctr"/>
              <a:lstStyle/>
              <a:p>
                <a:endParaRPr lang="en-GB"/>
              </a:p>
            </p:txBody>
          </p:sp>
          <p:sp>
            <p:nvSpPr>
              <p:cNvPr id="6112" name="Vrije vorm: vorm 6111">
                <a:extLst>
                  <a:ext uri="{FF2B5EF4-FFF2-40B4-BE49-F238E27FC236}">
                    <a16:creationId xmlns:a16="http://schemas.microsoft.com/office/drawing/2014/main" id="{DCC61276-DCA2-4CB6-99BD-BFCF8BB51F98}"/>
                  </a:ext>
                </a:extLst>
              </p:cNvPr>
              <p:cNvSpPr/>
              <p:nvPr/>
            </p:nvSpPr>
            <p:spPr>
              <a:xfrm>
                <a:off x="7572929" y="2684666"/>
                <a:ext cx="19915" cy="7057"/>
              </a:xfrm>
              <a:custGeom>
                <a:avLst/>
                <a:gdLst>
                  <a:gd name="connsiteX0" fmla="*/ 19916 w 19915"/>
                  <a:gd name="connsiteY0" fmla="*/ 0 h 7057"/>
                  <a:gd name="connsiteX1" fmla="*/ 0 w 19915"/>
                  <a:gd name="connsiteY1" fmla="*/ 7057 h 7057"/>
                </a:gdLst>
                <a:ahLst/>
                <a:cxnLst>
                  <a:cxn ang="0">
                    <a:pos x="connsiteX0" y="connsiteY0"/>
                  </a:cxn>
                  <a:cxn ang="0">
                    <a:pos x="connsiteX1" y="connsiteY1"/>
                  </a:cxn>
                </a:cxnLst>
                <a:rect l="l" t="t" r="r" b="b"/>
                <a:pathLst>
                  <a:path w="19915" h="7057">
                    <a:moveTo>
                      <a:pt x="19916" y="0"/>
                    </a:moveTo>
                    <a:lnTo>
                      <a:pt x="0" y="7057"/>
                    </a:lnTo>
                  </a:path>
                </a:pathLst>
              </a:custGeom>
              <a:ln w="6350" cap="rnd">
                <a:solidFill>
                  <a:schemeClr val="bg1">
                    <a:alpha val="80000"/>
                  </a:schemeClr>
                </a:solidFill>
                <a:prstDash val="solid"/>
                <a:round/>
              </a:ln>
            </p:spPr>
            <p:txBody>
              <a:bodyPr rtlCol="0" anchor="ctr"/>
              <a:lstStyle/>
              <a:p>
                <a:endParaRPr lang="en-GB"/>
              </a:p>
            </p:txBody>
          </p:sp>
          <p:sp>
            <p:nvSpPr>
              <p:cNvPr id="6113" name="Vrije vorm: vorm 6112">
                <a:extLst>
                  <a:ext uri="{FF2B5EF4-FFF2-40B4-BE49-F238E27FC236}">
                    <a16:creationId xmlns:a16="http://schemas.microsoft.com/office/drawing/2014/main" id="{792E9E08-B722-47A4-A089-FF3C10D4ABD9}"/>
                  </a:ext>
                </a:extLst>
              </p:cNvPr>
              <p:cNvSpPr/>
              <p:nvPr/>
            </p:nvSpPr>
            <p:spPr>
              <a:xfrm>
                <a:off x="7592845" y="2670612"/>
                <a:ext cx="19377" cy="14054"/>
              </a:xfrm>
              <a:custGeom>
                <a:avLst/>
                <a:gdLst>
                  <a:gd name="connsiteX0" fmla="*/ 0 w 19377"/>
                  <a:gd name="connsiteY0" fmla="*/ 14055 h 14054"/>
                  <a:gd name="connsiteX1" fmla="*/ 19377 w 19377"/>
                  <a:gd name="connsiteY1" fmla="*/ 0 h 14054"/>
                </a:gdLst>
                <a:ahLst/>
                <a:cxnLst>
                  <a:cxn ang="0">
                    <a:pos x="connsiteX0" y="connsiteY0"/>
                  </a:cxn>
                  <a:cxn ang="0">
                    <a:pos x="connsiteX1" y="connsiteY1"/>
                  </a:cxn>
                </a:cxnLst>
                <a:rect l="l" t="t" r="r" b="b"/>
                <a:pathLst>
                  <a:path w="19377" h="14054">
                    <a:moveTo>
                      <a:pt x="0" y="14055"/>
                    </a:moveTo>
                    <a:lnTo>
                      <a:pt x="19377" y="0"/>
                    </a:lnTo>
                  </a:path>
                </a:pathLst>
              </a:custGeom>
              <a:ln w="6350" cap="rnd">
                <a:solidFill>
                  <a:schemeClr val="bg1">
                    <a:alpha val="80000"/>
                  </a:schemeClr>
                </a:solidFill>
                <a:prstDash val="solid"/>
                <a:round/>
              </a:ln>
            </p:spPr>
            <p:txBody>
              <a:bodyPr rtlCol="0" anchor="ctr"/>
              <a:lstStyle/>
              <a:p>
                <a:endParaRPr lang="en-GB"/>
              </a:p>
            </p:txBody>
          </p:sp>
          <p:sp>
            <p:nvSpPr>
              <p:cNvPr id="6114" name="Vrije vorm: vorm 6113">
                <a:extLst>
                  <a:ext uri="{FF2B5EF4-FFF2-40B4-BE49-F238E27FC236}">
                    <a16:creationId xmlns:a16="http://schemas.microsoft.com/office/drawing/2014/main" id="{2C3949FE-53E3-4FDD-B0AF-F24F958CE1C9}"/>
                  </a:ext>
                </a:extLst>
              </p:cNvPr>
              <p:cNvSpPr/>
              <p:nvPr/>
            </p:nvSpPr>
            <p:spPr>
              <a:xfrm>
                <a:off x="7613658" y="2787056"/>
                <a:ext cx="29425" cy="21769"/>
              </a:xfrm>
              <a:custGeom>
                <a:avLst/>
                <a:gdLst>
                  <a:gd name="connsiteX0" fmla="*/ 0 w 29425"/>
                  <a:gd name="connsiteY0" fmla="*/ 21770 h 21769"/>
                  <a:gd name="connsiteX1" fmla="*/ 29425 w 29425"/>
                  <a:gd name="connsiteY1" fmla="*/ 0 h 21769"/>
                </a:gdLst>
                <a:ahLst/>
                <a:cxnLst>
                  <a:cxn ang="0">
                    <a:pos x="connsiteX0" y="connsiteY0"/>
                  </a:cxn>
                  <a:cxn ang="0">
                    <a:pos x="connsiteX1" y="connsiteY1"/>
                  </a:cxn>
                </a:cxnLst>
                <a:rect l="l" t="t" r="r" b="b"/>
                <a:pathLst>
                  <a:path w="29425" h="21769">
                    <a:moveTo>
                      <a:pt x="0" y="21770"/>
                    </a:moveTo>
                    <a:lnTo>
                      <a:pt x="29425" y="0"/>
                    </a:lnTo>
                  </a:path>
                </a:pathLst>
              </a:custGeom>
              <a:ln w="6350" cap="rnd">
                <a:solidFill>
                  <a:schemeClr val="bg1">
                    <a:alpha val="80000"/>
                  </a:schemeClr>
                </a:solidFill>
                <a:prstDash val="solid"/>
                <a:round/>
              </a:ln>
            </p:spPr>
            <p:txBody>
              <a:bodyPr rtlCol="0" anchor="ctr"/>
              <a:lstStyle/>
              <a:p>
                <a:endParaRPr lang="en-GB"/>
              </a:p>
            </p:txBody>
          </p:sp>
          <p:sp>
            <p:nvSpPr>
              <p:cNvPr id="6115" name="Vrije vorm: vorm 6114">
                <a:extLst>
                  <a:ext uri="{FF2B5EF4-FFF2-40B4-BE49-F238E27FC236}">
                    <a16:creationId xmlns:a16="http://schemas.microsoft.com/office/drawing/2014/main" id="{E917A3C9-BD7B-4981-9E49-90ED51A7E88D}"/>
                  </a:ext>
                </a:extLst>
              </p:cNvPr>
              <p:cNvSpPr/>
              <p:nvPr/>
            </p:nvSpPr>
            <p:spPr>
              <a:xfrm>
                <a:off x="7731000" y="2801709"/>
                <a:ext cx="4066" cy="4904"/>
              </a:xfrm>
              <a:custGeom>
                <a:avLst/>
                <a:gdLst>
                  <a:gd name="connsiteX0" fmla="*/ 0 w 4066"/>
                  <a:gd name="connsiteY0" fmla="*/ 0 h 4904"/>
                  <a:gd name="connsiteX1" fmla="*/ 4067 w 4066"/>
                  <a:gd name="connsiteY1" fmla="*/ 4904 h 4904"/>
                </a:gdLst>
                <a:ahLst/>
                <a:cxnLst>
                  <a:cxn ang="0">
                    <a:pos x="connsiteX0" y="connsiteY0"/>
                  </a:cxn>
                  <a:cxn ang="0">
                    <a:pos x="connsiteX1" y="connsiteY1"/>
                  </a:cxn>
                </a:cxnLst>
                <a:rect l="l" t="t" r="r" b="b"/>
                <a:pathLst>
                  <a:path w="4066" h="4904">
                    <a:moveTo>
                      <a:pt x="0" y="0"/>
                    </a:moveTo>
                    <a:lnTo>
                      <a:pt x="4067" y="4904"/>
                    </a:lnTo>
                  </a:path>
                </a:pathLst>
              </a:custGeom>
              <a:ln w="6350" cap="rnd">
                <a:solidFill>
                  <a:schemeClr val="bg1">
                    <a:alpha val="80000"/>
                  </a:schemeClr>
                </a:solidFill>
                <a:prstDash val="solid"/>
                <a:round/>
              </a:ln>
            </p:spPr>
            <p:txBody>
              <a:bodyPr rtlCol="0" anchor="ctr"/>
              <a:lstStyle/>
              <a:p>
                <a:endParaRPr lang="en-GB"/>
              </a:p>
            </p:txBody>
          </p:sp>
          <p:sp>
            <p:nvSpPr>
              <p:cNvPr id="6116" name="Vrije vorm: vorm 6115">
                <a:extLst>
                  <a:ext uri="{FF2B5EF4-FFF2-40B4-BE49-F238E27FC236}">
                    <a16:creationId xmlns:a16="http://schemas.microsoft.com/office/drawing/2014/main" id="{EF025B2D-4F08-466E-B854-157D50C85387}"/>
                  </a:ext>
                </a:extLst>
              </p:cNvPr>
              <p:cNvSpPr/>
              <p:nvPr/>
            </p:nvSpPr>
            <p:spPr>
              <a:xfrm>
                <a:off x="7597630" y="2784544"/>
                <a:ext cx="6219" cy="12978"/>
              </a:xfrm>
              <a:custGeom>
                <a:avLst/>
                <a:gdLst>
                  <a:gd name="connsiteX0" fmla="*/ 0 w 6219"/>
                  <a:gd name="connsiteY0" fmla="*/ 12978 h 12978"/>
                  <a:gd name="connsiteX1" fmla="*/ 6220 w 6219"/>
                  <a:gd name="connsiteY1" fmla="*/ 0 h 12978"/>
                </a:gdLst>
                <a:ahLst/>
                <a:cxnLst>
                  <a:cxn ang="0">
                    <a:pos x="connsiteX0" y="connsiteY0"/>
                  </a:cxn>
                  <a:cxn ang="0">
                    <a:pos x="connsiteX1" y="connsiteY1"/>
                  </a:cxn>
                </a:cxnLst>
                <a:rect l="l" t="t" r="r" b="b"/>
                <a:pathLst>
                  <a:path w="6219" h="12978">
                    <a:moveTo>
                      <a:pt x="0" y="12978"/>
                    </a:moveTo>
                    <a:lnTo>
                      <a:pt x="6220" y="0"/>
                    </a:lnTo>
                  </a:path>
                </a:pathLst>
              </a:custGeom>
              <a:ln w="6350" cap="rnd">
                <a:solidFill>
                  <a:schemeClr val="bg1">
                    <a:alpha val="80000"/>
                  </a:schemeClr>
                </a:solidFill>
                <a:prstDash val="solid"/>
                <a:round/>
              </a:ln>
            </p:spPr>
            <p:txBody>
              <a:bodyPr rtlCol="0" anchor="ctr"/>
              <a:lstStyle/>
              <a:p>
                <a:endParaRPr lang="en-GB"/>
              </a:p>
            </p:txBody>
          </p:sp>
          <p:sp>
            <p:nvSpPr>
              <p:cNvPr id="6117" name="Vrije vorm: vorm 6116">
                <a:extLst>
                  <a:ext uri="{FF2B5EF4-FFF2-40B4-BE49-F238E27FC236}">
                    <a16:creationId xmlns:a16="http://schemas.microsoft.com/office/drawing/2014/main" id="{64165E34-CBF4-4223-9D29-AB91BBC1694E}"/>
                  </a:ext>
                </a:extLst>
              </p:cNvPr>
              <p:cNvSpPr/>
              <p:nvPr/>
            </p:nvSpPr>
            <p:spPr>
              <a:xfrm>
                <a:off x="7594639" y="2790525"/>
                <a:ext cx="2990" cy="6997"/>
              </a:xfrm>
              <a:custGeom>
                <a:avLst/>
                <a:gdLst>
                  <a:gd name="connsiteX0" fmla="*/ 2991 w 2990"/>
                  <a:gd name="connsiteY0" fmla="*/ 6997 h 6997"/>
                  <a:gd name="connsiteX1" fmla="*/ 0 w 2990"/>
                  <a:gd name="connsiteY1" fmla="*/ 0 h 6997"/>
                </a:gdLst>
                <a:ahLst/>
                <a:cxnLst>
                  <a:cxn ang="0">
                    <a:pos x="connsiteX0" y="connsiteY0"/>
                  </a:cxn>
                  <a:cxn ang="0">
                    <a:pos x="connsiteX1" y="connsiteY1"/>
                  </a:cxn>
                </a:cxnLst>
                <a:rect l="l" t="t" r="r" b="b"/>
                <a:pathLst>
                  <a:path w="2990" h="6997">
                    <a:moveTo>
                      <a:pt x="2991" y="699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18" name="Vrije vorm: vorm 6117">
                <a:extLst>
                  <a:ext uri="{FF2B5EF4-FFF2-40B4-BE49-F238E27FC236}">
                    <a16:creationId xmlns:a16="http://schemas.microsoft.com/office/drawing/2014/main" id="{3E1004AF-9197-42BD-BB31-AF02DCD3DF1C}"/>
                  </a:ext>
                </a:extLst>
              </p:cNvPr>
              <p:cNvSpPr/>
              <p:nvPr/>
            </p:nvSpPr>
            <p:spPr>
              <a:xfrm>
                <a:off x="7577056" y="2797523"/>
                <a:ext cx="20573" cy="16566"/>
              </a:xfrm>
              <a:custGeom>
                <a:avLst/>
                <a:gdLst>
                  <a:gd name="connsiteX0" fmla="*/ 20574 w 20573"/>
                  <a:gd name="connsiteY0" fmla="*/ 0 h 16566"/>
                  <a:gd name="connsiteX1" fmla="*/ 0 w 20573"/>
                  <a:gd name="connsiteY1" fmla="*/ 16567 h 16566"/>
                </a:gdLst>
                <a:ahLst/>
                <a:cxnLst>
                  <a:cxn ang="0">
                    <a:pos x="connsiteX0" y="connsiteY0"/>
                  </a:cxn>
                  <a:cxn ang="0">
                    <a:pos x="connsiteX1" y="connsiteY1"/>
                  </a:cxn>
                </a:cxnLst>
                <a:rect l="l" t="t" r="r" b="b"/>
                <a:pathLst>
                  <a:path w="20573" h="16566">
                    <a:moveTo>
                      <a:pt x="20574" y="0"/>
                    </a:moveTo>
                    <a:lnTo>
                      <a:pt x="0" y="16567"/>
                    </a:lnTo>
                  </a:path>
                </a:pathLst>
              </a:custGeom>
              <a:ln w="6350" cap="rnd">
                <a:solidFill>
                  <a:schemeClr val="bg1">
                    <a:alpha val="80000"/>
                  </a:schemeClr>
                </a:solidFill>
                <a:prstDash val="solid"/>
                <a:round/>
              </a:ln>
            </p:spPr>
            <p:txBody>
              <a:bodyPr rtlCol="0" anchor="ctr"/>
              <a:lstStyle/>
              <a:p>
                <a:endParaRPr lang="en-GB"/>
              </a:p>
            </p:txBody>
          </p:sp>
          <p:sp>
            <p:nvSpPr>
              <p:cNvPr id="6119" name="Vrije vorm: vorm 6118">
                <a:extLst>
                  <a:ext uri="{FF2B5EF4-FFF2-40B4-BE49-F238E27FC236}">
                    <a16:creationId xmlns:a16="http://schemas.microsoft.com/office/drawing/2014/main" id="{0ED13FE2-55AD-4556-B9CC-36768C461C0D}"/>
                  </a:ext>
                </a:extLst>
              </p:cNvPr>
              <p:cNvSpPr/>
              <p:nvPr/>
            </p:nvSpPr>
            <p:spPr>
              <a:xfrm>
                <a:off x="7613538" y="2808826"/>
                <a:ext cx="119" cy="358"/>
              </a:xfrm>
              <a:custGeom>
                <a:avLst/>
                <a:gdLst>
                  <a:gd name="connsiteX0" fmla="*/ 0 w 119"/>
                  <a:gd name="connsiteY0" fmla="*/ 359 h 358"/>
                  <a:gd name="connsiteX1" fmla="*/ 119 w 119"/>
                  <a:gd name="connsiteY1" fmla="*/ 0 h 358"/>
                </a:gdLst>
                <a:ahLst/>
                <a:cxnLst>
                  <a:cxn ang="0">
                    <a:pos x="connsiteX0" y="connsiteY0"/>
                  </a:cxn>
                  <a:cxn ang="0">
                    <a:pos x="connsiteX1" y="connsiteY1"/>
                  </a:cxn>
                </a:cxnLst>
                <a:rect l="l" t="t" r="r" b="b"/>
                <a:pathLst>
                  <a:path w="119" h="358">
                    <a:moveTo>
                      <a:pt x="0" y="359"/>
                    </a:moveTo>
                    <a:lnTo>
                      <a:pt x="119" y="0"/>
                    </a:lnTo>
                  </a:path>
                </a:pathLst>
              </a:custGeom>
              <a:ln w="6350" cap="rnd">
                <a:solidFill>
                  <a:schemeClr val="bg1">
                    <a:alpha val="80000"/>
                  </a:schemeClr>
                </a:solidFill>
                <a:prstDash val="solid"/>
                <a:round/>
              </a:ln>
            </p:spPr>
            <p:txBody>
              <a:bodyPr rtlCol="0" anchor="ctr"/>
              <a:lstStyle/>
              <a:p>
                <a:endParaRPr lang="en-GB"/>
              </a:p>
            </p:txBody>
          </p:sp>
          <p:sp>
            <p:nvSpPr>
              <p:cNvPr id="6120" name="Vrije vorm: vorm 6119">
                <a:extLst>
                  <a:ext uri="{FF2B5EF4-FFF2-40B4-BE49-F238E27FC236}">
                    <a16:creationId xmlns:a16="http://schemas.microsoft.com/office/drawing/2014/main" id="{4A5F5733-3470-4151-8CA3-B323B483303B}"/>
                  </a:ext>
                </a:extLst>
              </p:cNvPr>
              <p:cNvSpPr/>
              <p:nvPr/>
            </p:nvSpPr>
            <p:spPr>
              <a:xfrm>
                <a:off x="7510790" y="2733409"/>
                <a:ext cx="2511" cy="2691"/>
              </a:xfrm>
              <a:custGeom>
                <a:avLst/>
                <a:gdLst>
                  <a:gd name="connsiteX0" fmla="*/ 0 w 2511"/>
                  <a:gd name="connsiteY0" fmla="*/ 0 h 2691"/>
                  <a:gd name="connsiteX1" fmla="*/ 2512 w 2511"/>
                  <a:gd name="connsiteY1" fmla="*/ 2691 h 2691"/>
                </a:gdLst>
                <a:ahLst/>
                <a:cxnLst>
                  <a:cxn ang="0">
                    <a:pos x="connsiteX0" y="connsiteY0"/>
                  </a:cxn>
                  <a:cxn ang="0">
                    <a:pos x="connsiteX1" y="connsiteY1"/>
                  </a:cxn>
                </a:cxnLst>
                <a:rect l="l" t="t" r="r" b="b"/>
                <a:pathLst>
                  <a:path w="2511" h="2691">
                    <a:moveTo>
                      <a:pt x="0" y="0"/>
                    </a:moveTo>
                    <a:lnTo>
                      <a:pt x="2512" y="2691"/>
                    </a:lnTo>
                  </a:path>
                </a:pathLst>
              </a:custGeom>
              <a:ln w="6350" cap="rnd">
                <a:solidFill>
                  <a:schemeClr val="bg1">
                    <a:alpha val="80000"/>
                  </a:schemeClr>
                </a:solidFill>
                <a:prstDash val="solid"/>
                <a:round/>
              </a:ln>
            </p:spPr>
            <p:txBody>
              <a:bodyPr rtlCol="0" anchor="ctr"/>
              <a:lstStyle/>
              <a:p>
                <a:endParaRPr lang="en-GB"/>
              </a:p>
            </p:txBody>
          </p:sp>
          <p:sp>
            <p:nvSpPr>
              <p:cNvPr id="6121" name="Vrije vorm: vorm 6120">
                <a:extLst>
                  <a:ext uri="{FF2B5EF4-FFF2-40B4-BE49-F238E27FC236}">
                    <a16:creationId xmlns:a16="http://schemas.microsoft.com/office/drawing/2014/main" id="{74E8F159-4C92-48E9-8784-02FF980E09A8}"/>
                  </a:ext>
                </a:extLst>
              </p:cNvPr>
              <p:cNvSpPr/>
              <p:nvPr/>
            </p:nvSpPr>
            <p:spPr>
              <a:xfrm>
                <a:off x="7591470" y="2809185"/>
                <a:ext cx="22068" cy="27032"/>
              </a:xfrm>
              <a:custGeom>
                <a:avLst/>
                <a:gdLst>
                  <a:gd name="connsiteX0" fmla="*/ 0 w 22068"/>
                  <a:gd name="connsiteY0" fmla="*/ 27033 h 27032"/>
                  <a:gd name="connsiteX1" fmla="*/ 22069 w 22068"/>
                  <a:gd name="connsiteY1" fmla="*/ 0 h 27032"/>
                </a:gdLst>
                <a:ahLst/>
                <a:cxnLst>
                  <a:cxn ang="0">
                    <a:pos x="connsiteX0" y="connsiteY0"/>
                  </a:cxn>
                  <a:cxn ang="0">
                    <a:pos x="connsiteX1" y="connsiteY1"/>
                  </a:cxn>
                </a:cxnLst>
                <a:rect l="l" t="t" r="r" b="b"/>
                <a:pathLst>
                  <a:path w="22068" h="27032">
                    <a:moveTo>
                      <a:pt x="0" y="27033"/>
                    </a:moveTo>
                    <a:lnTo>
                      <a:pt x="22069" y="0"/>
                    </a:lnTo>
                  </a:path>
                </a:pathLst>
              </a:custGeom>
              <a:ln w="6350" cap="rnd">
                <a:solidFill>
                  <a:schemeClr val="bg1">
                    <a:alpha val="80000"/>
                  </a:schemeClr>
                </a:solidFill>
                <a:prstDash val="solid"/>
                <a:round/>
              </a:ln>
            </p:spPr>
            <p:txBody>
              <a:bodyPr rtlCol="0" anchor="ctr"/>
              <a:lstStyle/>
              <a:p>
                <a:endParaRPr lang="en-GB"/>
              </a:p>
            </p:txBody>
          </p:sp>
          <p:sp>
            <p:nvSpPr>
              <p:cNvPr id="6122" name="Vrije vorm: vorm 6121">
                <a:extLst>
                  <a:ext uri="{FF2B5EF4-FFF2-40B4-BE49-F238E27FC236}">
                    <a16:creationId xmlns:a16="http://schemas.microsoft.com/office/drawing/2014/main" id="{DD50FAB5-66B2-496D-A530-7338B6D38B32}"/>
                  </a:ext>
                </a:extLst>
              </p:cNvPr>
              <p:cNvSpPr/>
              <p:nvPr/>
            </p:nvSpPr>
            <p:spPr>
              <a:xfrm>
                <a:off x="7562702" y="2699618"/>
                <a:ext cx="4963" cy="7535"/>
              </a:xfrm>
              <a:custGeom>
                <a:avLst/>
                <a:gdLst>
                  <a:gd name="connsiteX0" fmla="*/ 0 w 4963"/>
                  <a:gd name="connsiteY0" fmla="*/ 7536 h 7535"/>
                  <a:gd name="connsiteX1" fmla="*/ 4964 w 4963"/>
                  <a:gd name="connsiteY1" fmla="*/ 0 h 7535"/>
                </a:gdLst>
                <a:ahLst/>
                <a:cxnLst>
                  <a:cxn ang="0">
                    <a:pos x="connsiteX0" y="connsiteY0"/>
                  </a:cxn>
                  <a:cxn ang="0">
                    <a:pos x="connsiteX1" y="connsiteY1"/>
                  </a:cxn>
                </a:cxnLst>
                <a:rect l="l" t="t" r="r" b="b"/>
                <a:pathLst>
                  <a:path w="4963" h="7535">
                    <a:moveTo>
                      <a:pt x="0" y="7536"/>
                    </a:moveTo>
                    <a:lnTo>
                      <a:pt x="4964" y="0"/>
                    </a:lnTo>
                  </a:path>
                </a:pathLst>
              </a:custGeom>
              <a:ln w="6350" cap="rnd">
                <a:solidFill>
                  <a:schemeClr val="bg1">
                    <a:alpha val="80000"/>
                  </a:schemeClr>
                </a:solidFill>
                <a:prstDash val="solid"/>
                <a:round/>
              </a:ln>
            </p:spPr>
            <p:txBody>
              <a:bodyPr rtlCol="0" anchor="ctr"/>
              <a:lstStyle/>
              <a:p>
                <a:endParaRPr lang="en-GB"/>
              </a:p>
            </p:txBody>
          </p:sp>
          <p:sp>
            <p:nvSpPr>
              <p:cNvPr id="6123" name="Vrije vorm: vorm 6122">
                <a:extLst>
                  <a:ext uri="{FF2B5EF4-FFF2-40B4-BE49-F238E27FC236}">
                    <a16:creationId xmlns:a16="http://schemas.microsoft.com/office/drawing/2014/main" id="{759A2FA5-2AA2-41AF-B18E-3CD5EDD30892}"/>
                  </a:ext>
                </a:extLst>
              </p:cNvPr>
              <p:cNvSpPr/>
              <p:nvPr/>
            </p:nvSpPr>
            <p:spPr>
              <a:xfrm>
                <a:off x="7562702" y="2699439"/>
                <a:ext cx="2511" cy="7715"/>
              </a:xfrm>
              <a:custGeom>
                <a:avLst/>
                <a:gdLst>
                  <a:gd name="connsiteX0" fmla="*/ 0 w 2511"/>
                  <a:gd name="connsiteY0" fmla="*/ 7715 h 7715"/>
                  <a:gd name="connsiteX1" fmla="*/ 2512 w 2511"/>
                  <a:gd name="connsiteY1" fmla="*/ 0 h 7715"/>
                </a:gdLst>
                <a:ahLst/>
                <a:cxnLst>
                  <a:cxn ang="0">
                    <a:pos x="connsiteX0" y="connsiteY0"/>
                  </a:cxn>
                  <a:cxn ang="0">
                    <a:pos x="connsiteX1" y="connsiteY1"/>
                  </a:cxn>
                </a:cxnLst>
                <a:rect l="l" t="t" r="r" b="b"/>
                <a:pathLst>
                  <a:path w="2511" h="7715">
                    <a:moveTo>
                      <a:pt x="0" y="7715"/>
                    </a:moveTo>
                    <a:lnTo>
                      <a:pt x="2512" y="0"/>
                    </a:lnTo>
                  </a:path>
                </a:pathLst>
              </a:custGeom>
              <a:ln w="6350" cap="rnd">
                <a:solidFill>
                  <a:schemeClr val="bg1">
                    <a:alpha val="80000"/>
                  </a:schemeClr>
                </a:solidFill>
                <a:prstDash val="solid"/>
                <a:round/>
              </a:ln>
            </p:spPr>
            <p:txBody>
              <a:bodyPr rtlCol="0" anchor="ctr"/>
              <a:lstStyle/>
              <a:p>
                <a:endParaRPr lang="en-GB"/>
              </a:p>
            </p:txBody>
          </p:sp>
          <p:sp>
            <p:nvSpPr>
              <p:cNvPr id="6124" name="Vrije vorm: vorm 6123">
                <a:extLst>
                  <a:ext uri="{FF2B5EF4-FFF2-40B4-BE49-F238E27FC236}">
                    <a16:creationId xmlns:a16="http://schemas.microsoft.com/office/drawing/2014/main" id="{02F5F187-11B2-4A30-AB9F-EA78F0865845}"/>
                  </a:ext>
                </a:extLst>
              </p:cNvPr>
              <p:cNvSpPr/>
              <p:nvPr/>
            </p:nvSpPr>
            <p:spPr>
              <a:xfrm>
                <a:off x="7562702" y="2700515"/>
                <a:ext cx="15071" cy="6638"/>
              </a:xfrm>
              <a:custGeom>
                <a:avLst/>
                <a:gdLst>
                  <a:gd name="connsiteX0" fmla="*/ 0 w 15071"/>
                  <a:gd name="connsiteY0" fmla="*/ 6639 h 6638"/>
                  <a:gd name="connsiteX1" fmla="*/ 15071 w 15071"/>
                  <a:gd name="connsiteY1" fmla="*/ 0 h 6638"/>
                </a:gdLst>
                <a:ahLst/>
                <a:cxnLst>
                  <a:cxn ang="0">
                    <a:pos x="connsiteX0" y="connsiteY0"/>
                  </a:cxn>
                  <a:cxn ang="0">
                    <a:pos x="connsiteX1" y="connsiteY1"/>
                  </a:cxn>
                </a:cxnLst>
                <a:rect l="l" t="t" r="r" b="b"/>
                <a:pathLst>
                  <a:path w="15071" h="6638">
                    <a:moveTo>
                      <a:pt x="0" y="6639"/>
                    </a:moveTo>
                    <a:lnTo>
                      <a:pt x="15071" y="0"/>
                    </a:lnTo>
                  </a:path>
                </a:pathLst>
              </a:custGeom>
              <a:ln w="6350" cap="rnd">
                <a:solidFill>
                  <a:schemeClr val="bg1">
                    <a:alpha val="80000"/>
                  </a:schemeClr>
                </a:solidFill>
                <a:prstDash val="solid"/>
                <a:round/>
              </a:ln>
            </p:spPr>
            <p:txBody>
              <a:bodyPr rtlCol="0" anchor="ctr"/>
              <a:lstStyle/>
              <a:p>
                <a:endParaRPr lang="en-GB"/>
              </a:p>
            </p:txBody>
          </p:sp>
          <p:sp>
            <p:nvSpPr>
              <p:cNvPr id="6125" name="Vrije vorm: vorm 6124">
                <a:extLst>
                  <a:ext uri="{FF2B5EF4-FFF2-40B4-BE49-F238E27FC236}">
                    <a16:creationId xmlns:a16="http://schemas.microsoft.com/office/drawing/2014/main" id="{31AF4694-D837-44A4-BD0E-4EB009706EA5}"/>
                  </a:ext>
                </a:extLst>
              </p:cNvPr>
              <p:cNvSpPr/>
              <p:nvPr/>
            </p:nvSpPr>
            <p:spPr>
              <a:xfrm>
                <a:off x="7562702" y="2707154"/>
                <a:ext cx="1794" cy="1076"/>
              </a:xfrm>
              <a:custGeom>
                <a:avLst/>
                <a:gdLst>
                  <a:gd name="connsiteX0" fmla="*/ 0 w 1794"/>
                  <a:gd name="connsiteY0" fmla="*/ 0 h 1076"/>
                  <a:gd name="connsiteX1" fmla="*/ 1794 w 1794"/>
                  <a:gd name="connsiteY1" fmla="*/ 1076 h 1076"/>
                </a:gdLst>
                <a:ahLst/>
                <a:cxnLst>
                  <a:cxn ang="0">
                    <a:pos x="connsiteX0" y="connsiteY0"/>
                  </a:cxn>
                  <a:cxn ang="0">
                    <a:pos x="connsiteX1" y="connsiteY1"/>
                  </a:cxn>
                </a:cxnLst>
                <a:rect l="l" t="t" r="r" b="b"/>
                <a:pathLst>
                  <a:path w="1794" h="1076">
                    <a:moveTo>
                      <a:pt x="0" y="0"/>
                    </a:moveTo>
                    <a:lnTo>
                      <a:pt x="1794" y="1076"/>
                    </a:lnTo>
                  </a:path>
                </a:pathLst>
              </a:custGeom>
              <a:ln w="6350" cap="rnd">
                <a:solidFill>
                  <a:schemeClr val="bg1">
                    <a:alpha val="80000"/>
                  </a:schemeClr>
                </a:solidFill>
                <a:prstDash val="solid"/>
                <a:round/>
              </a:ln>
            </p:spPr>
            <p:txBody>
              <a:bodyPr rtlCol="0" anchor="ctr"/>
              <a:lstStyle/>
              <a:p>
                <a:endParaRPr lang="en-GB"/>
              </a:p>
            </p:txBody>
          </p:sp>
          <p:sp>
            <p:nvSpPr>
              <p:cNvPr id="6126" name="Vrije vorm: vorm 6125">
                <a:extLst>
                  <a:ext uri="{FF2B5EF4-FFF2-40B4-BE49-F238E27FC236}">
                    <a16:creationId xmlns:a16="http://schemas.microsoft.com/office/drawing/2014/main" id="{4631FF85-01F0-4F76-A896-7D500B3671F2}"/>
                  </a:ext>
                </a:extLst>
              </p:cNvPr>
              <p:cNvSpPr/>
              <p:nvPr/>
            </p:nvSpPr>
            <p:spPr>
              <a:xfrm>
                <a:off x="7586625" y="2649679"/>
                <a:ext cx="12439" cy="7176"/>
              </a:xfrm>
              <a:custGeom>
                <a:avLst/>
                <a:gdLst>
                  <a:gd name="connsiteX0" fmla="*/ 0 w 12439"/>
                  <a:gd name="connsiteY0" fmla="*/ 7177 h 7176"/>
                  <a:gd name="connsiteX1" fmla="*/ 12440 w 12439"/>
                  <a:gd name="connsiteY1" fmla="*/ 0 h 7176"/>
                </a:gdLst>
                <a:ahLst/>
                <a:cxnLst>
                  <a:cxn ang="0">
                    <a:pos x="connsiteX0" y="connsiteY0"/>
                  </a:cxn>
                  <a:cxn ang="0">
                    <a:pos x="connsiteX1" y="connsiteY1"/>
                  </a:cxn>
                </a:cxnLst>
                <a:rect l="l" t="t" r="r" b="b"/>
                <a:pathLst>
                  <a:path w="12439" h="7176">
                    <a:moveTo>
                      <a:pt x="0" y="7177"/>
                    </a:moveTo>
                    <a:lnTo>
                      <a:pt x="12440" y="0"/>
                    </a:lnTo>
                  </a:path>
                </a:pathLst>
              </a:custGeom>
              <a:ln w="6350" cap="rnd">
                <a:solidFill>
                  <a:schemeClr val="bg1">
                    <a:alpha val="80000"/>
                  </a:schemeClr>
                </a:solidFill>
                <a:prstDash val="solid"/>
                <a:round/>
              </a:ln>
            </p:spPr>
            <p:txBody>
              <a:bodyPr rtlCol="0" anchor="ctr"/>
              <a:lstStyle/>
              <a:p>
                <a:endParaRPr lang="en-GB"/>
              </a:p>
            </p:txBody>
          </p:sp>
          <p:sp>
            <p:nvSpPr>
              <p:cNvPr id="6127" name="Vrije vorm: vorm 6126">
                <a:extLst>
                  <a:ext uri="{FF2B5EF4-FFF2-40B4-BE49-F238E27FC236}">
                    <a16:creationId xmlns:a16="http://schemas.microsoft.com/office/drawing/2014/main" id="{9BB8E0DA-6F8E-489B-B665-7527214B174E}"/>
                  </a:ext>
                </a:extLst>
              </p:cNvPr>
              <p:cNvSpPr/>
              <p:nvPr/>
            </p:nvSpPr>
            <p:spPr>
              <a:xfrm>
                <a:off x="7634830" y="2668638"/>
                <a:ext cx="7894" cy="7655"/>
              </a:xfrm>
              <a:custGeom>
                <a:avLst/>
                <a:gdLst>
                  <a:gd name="connsiteX0" fmla="*/ 0 w 7894"/>
                  <a:gd name="connsiteY0" fmla="*/ 0 h 7655"/>
                  <a:gd name="connsiteX1" fmla="*/ 7894 w 7894"/>
                  <a:gd name="connsiteY1" fmla="*/ 7655 h 7655"/>
                </a:gdLst>
                <a:ahLst/>
                <a:cxnLst>
                  <a:cxn ang="0">
                    <a:pos x="connsiteX0" y="connsiteY0"/>
                  </a:cxn>
                  <a:cxn ang="0">
                    <a:pos x="connsiteX1" y="connsiteY1"/>
                  </a:cxn>
                </a:cxnLst>
                <a:rect l="l" t="t" r="r" b="b"/>
                <a:pathLst>
                  <a:path w="7894" h="7655">
                    <a:moveTo>
                      <a:pt x="0" y="0"/>
                    </a:moveTo>
                    <a:lnTo>
                      <a:pt x="7894" y="7655"/>
                    </a:lnTo>
                  </a:path>
                </a:pathLst>
              </a:custGeom>
              <a:ln w="6350" cap="rnd">
                <a:solidFill>
                  <a:schemeClr val="bg1">
                    <a:alpha val="80000"/>
                  </a:schemeClr>
                </a:solidFill>
                <a:prstDash val="solid"/>
                <a:round/>
              </a:ln>
            </p:spPr>
            <p:txBody>
              <a:bodyPr rtlCol="0" anchor="ctr"/>
              <a:lstStyle/>
              <a:p>
                <a:endParaRPr lang="en-GB"/>
              </a:p>
            </p:txBody>
          </p:sp>
          <p:sp>
            <p:nvSpPr>
              <p:cNvPr id="6128" name="Vrije vorm: vorm 6127">
                <a:extLst>
                  <a:ext uri="{FF2B5EF4-FFF2-40B4-BE49-F238E27FC236}">
                    <a16:creationId xmlns:a16="http://schemas.microsoft.com/office/drawing/2014/main" id="{207334EF-6459-4961-BCC1-6E0C6B74BCDB}"/>
                  </a:ext>
                </a:extLst>
              </p:cNvPr>
              <p:cNvSpPr/>
              <p:nvPr/>
            </p:nvSpPr>
            <p:spPr>
              <a:xfrm>
                <a:off x="7612223" y="2668638"/>
                <a:ext cx="22607" cy="1973"/>
              </a:xfrm>
              <a:custGeom>
                <a:avLst/>
                <a:gdLst>
                  <a:gd name="connsiteX0" fmla="*/ 22607 w 22607"/>
                  <a:gd name="connsiteY0" fmla="*/ 0 h 1973"/>
                  <a:gd name="connsiteX1" fmla="*/ 0 w 22607"/>
                  <a:gd name="connsiteY1" fmla="*/ 1974 h 1973"/>
                </a:gdLst>
                <a:ahLst/>
                <a:cxnLst>
                  <a:cxn ang="0">
                    <a:pos x="connsiteX0" y="connsiteY0"/>
                  </a:cxn>
                  <a:cxn ang="0">
                    <a:pos x="connsiteX1" y="connsiteY1"/>
                  </a:cxn>
                </a:cxnLst>
                <a:rect l="l" t="t" r="r" b="b"/>
                <a:pathLst>
                  <a:path w="22607" h="1973">
                    <a:moveTo>
                      <a:pt x="22607" y="0"/>
                    </a:moveTo>
                    <a:lnTo>
                      <a:pt x="0" y="1974"/>
                    </a:lnTo>
                  </a:path>
                </a:pathLst>
              </a:custGeom>
              <a:ln w="6350" cap="rnd">
                <a:solidFill>
                  <a:schemeClr val="bg1">
                    <a:alpha val="80000"/>
                  </a:schemeClr>
                </a:solidFill>
                <a:prstDash val="solid"/>
                <a:round/>
              </a:ln>
            </p:spPr>
            <p:txBody>
              <a:bodyPr rtlCol="0" anchor="ctr"/>
              <a:lstStyle/>
              <a:p>
                <a:endParaRPr lang="en-GB"/>
              </a:p>
            </p:txBody>
          </p:sp>
          <p:sp>
            <p:nvSpPr>
              <p:cNvPr id="6129" name="Vrije vorm: vorm 6128">
                <a:extLst>
                  <a:ext uri="{FF2B5EF4-FFF2-40B4-BE49-F238E27FC236}">
                    <a16:creationId xmlns:a16="http://schemas.microsoft.com/office/drawing/2014/main" id="{6157AC85-3EB3-4B4D-A38C-4967ADE0203D}"/>
                  </a:ext>
                </a:extLst>
              </p:cNvPr>
              <p:cNvSpPr/>
              <p:nvPr/>
            </p:nvSpPr>
            <p:spPr>
              <a:xfrm>
                <a:off x="7634830" y="2667561"/>
                <a:ext cx="21470" cy="1076"/>
              </a:xfrm>
              <a:custGeom>
                <a:avLst/>
                <a:gdLst>
                  <a:gd name="connsiteX0" fmla="*/ 0 w 21470"/>
                  <a:gd name="connsiteY0" fmla="*/ 1077 h 1076"/>
                  <a:gd name="connsiteX1" fmla="*/ 21471 w 21470"/>
                  <a:gd name="connsiteY1" fmla="*/ 0 h 1076"/>
                </a:gdLst>
                <a:ahLst/>
                <a:cxnLst>
                  <a:cxn ang="0">
                    <a:pos x="connsiteX0" y="connsiteY0"/>
                  </a:cxn>
                  <a:cxn ang="0">
                    <a:pos x="connsiteX1" y="connsiteY1"/>
                  </a:cxn>
                </a:cxnLst>
                <a:rect l="l" t="t" r="r" b="b"/>
                <a:pathLst>
                  <a:path w="21470" h="1076">
                    <a:moveTo>
                      <a:pt x="0" y="1077"/>
                    </a:moveTo>
                    <a:lnTo>
                      <a:pt x="21471" y="0"/>
                    </a:lnTo>
                  </a:path>
                </a:pathLst>
              </a:custGeom>
              <a:ln w="6350" cap="rnd">
                <a:solidFill>
                  <a:schemeClr val="bg1">
                    <a:alpha val="80000"/>
                  </a:schemeClr>
                </a:solidFill>
                <a:prstDash val="solid"/>
                <a:round/>
              </a:ln>
            </p:spPr>
            <p:txBody>
              <a:bodyPr rtlCol="0" anchor="ctr"/>
              <a:lstStyle/>
              <a:p>
                <a:endParaRPr lang="en-GB"/>
              </a:p>
            </p:txBody>
          </p:sp>
          <p:sp>
            <p:nvSpPr>
              <p:cNvPr id="6130" name="Vrije vorm: vorm 6129">
                <a:extLst>
                  <a:ext uri="{FF2B5EF4-FFF2-40B4-BE49-F238E27FC236}">
                    <a16:creationId xmlns:a16="http://schemas.microsoft.com/office/drawing/2014/main" id="{77F5273B-5BB7-4587-BD2A-62D439C224CE}"/>
                  </a:ext>
                </a:extLst>
              </p:cNvPr>
              <p:cNvSpPr/>
              <p:nvPr/>
            </p:nvSpPr>
            <p:spPr>
              <a:xfrm>
                <a:off x="7556243" y="2713972"/>
                <a:ext cx="5980" cy="13994"/>
              </a:xfrm>
              <a:custGeom>
                <a:avLst/>
                <a:gdLst>
                  <a:gd name="connsiteX0" fmla="*/ 5981 w 5980"/>
                  <a:gd name="connsiteY0" fmla="*/ 0 h 13994"/>
                  <a:gd name="connsiteX1" fmla="*/ 0 w 5980"/>
                  <a:gd name="connsiteY1" fmla="*/ 13995 h 13994"/>
                </a:gdLst>
                <a:ahLst/>
                <a:cxnLst>
                  <a:cxn ang="0">
                    <a:pos x="connsiteX0" y="connsiteY0"/>
                  </a:cxn>
                  <a:cxn ang="0">
                    <a:pos x="connsiteX1" y="connsiteY1"/>
                  </a:cxn>
                </a:cxnLst>
                <a:rect l="l" t="t" r="r" b="b"/>
                <a:pathLst>
                  <a:path w="5980" h="13994">
                    <a:moveTo>
                      <a:pt x="5981" y="0"/>
                    </a:moveTo>
                    <a:lnTo>
                      <a:pt x="0" y="13995"/>
                    </a:lnTo>
                  </a:path>
                </a:pathLst>
              </a:custGeom>
              <a:ln w="6350" cap="rnd">
                <a:solidFill>
                  <a:schemeClr val="bg1">
                    <a:alpha val="80000"/>
                  </a:schemeClr>
                </a:solidFill>
                <a:prstDash val="solid"/>
                <a:round/>
              </a:ln>
            </p:spPr>
            <p:txBody>
              <a:bodyPr rtlCol="0" anchor="ctr"/>
              <a:lstStyle/>
              <a:p>
                <a:endParaRPr lang="en-GB"/>
              </a:p>
            </p:txBody>
          </p:sp>
          <p:sp>
            <p:nvSpPr>
              <p:cNvPr id="6131" name="Vrije vorm: vorm 6130">
                <a:extLst>
                  <a:ext uri="{FF2B5EF4-FFF2-40B4-BE49-F238E27FC236}">
                    <a16:creationId xmlns:a16="http://schemas.microsoft.com/office/drawing/2014/main" id="{36549650-103F-4221-95E8-C88E9C5B21A9}"/>
                  </a:ext>
                </a:extLst>
              </p:cNvPr>
              <p:cNvSpPr/>
              <p:nvPr/>
            </p:nvSpPr>
            <p:spPr>
              <a:xfrm>
                <a:off x="7562224" y="2708769"/>
                <a:ext cx="3050" cy="5203"/>
              </a:xfrm>
              <a:custGeom>
                <a:avLst/>
                <a:gdLst>
                  <a:gd name="connsiteX0" fmla="*/ 0 w 3050"/>
                  <a:gd name="connsiteY0" fmla="*/ 5203 h 5203"/>
                  <a:gd name="connsiteX1" fmla="*/ 3050 w 3050"/>
                  <a:gd name="connsiteY1" fmla="*/ 0 h 5203"/>
                </a:gdLst>
                <a:ahLst/>
                <a:cxnLst>
                  <a:cxn ang="0">
                    <a:pos x="connsiteX0" y="connsiteY0"/>
                  </a:cxn>
                  <a:cxn ang="0">
                    <a:pos x="connsiteX1" y="connsiteY1"/>
                  </a:cxn>
                </a:cxnLst>
                <a:rect l="l" t="t" r="r" b="b"/>
                <a:pathLst>
                  <a:path w="3050" h="5203">
                    <a:moveTo>
                      <a:pt x="0" y="5203"/>
                    </a:moveTo>
                    <a:lnTo>
                      <a:pt x="3050" y="0"/>
                    </a:lnTo>
                  </a:path>
                </a:pathLst>
              </a:custGeom>
              <a:ln w="6350" cap="rnd">
                <a:solidFill>
                  <a:schemeClr val="bg1">
                    <a:alpha val="80000"/>
                  </a:schemeClr>
                </a:solidFill>
                <a:prstDash val="solid"/>
                <a:round/>
              </a:ln>
            </p:spPr>
            <p:txBody>
              <a:bodyPr rtlCol="0" anchor="ctr"/>
              <a:lstStyle/>
              <a:p>
                <a:endParaRPr lang="en-GB"/>
              </a:p>
            </p:txBody>
          </p:sp>
          <p:sp>
            <p:nvSpPr>
              <p:cNvPr id="6132" name="Vrije vorm: vorm 6131">
                <a:extLst>
                  <a:ext uri="{FF2B5EF4-FFF2-40B4-BE49-F238E27FC236}">
                    <a16:creationId xmlns:a16="http://schemas.microsoft.com/office/drawing/2014/main" id="{8DB70E58-362B-46AD-9409-25E9ABFFB3E9}"/>
                  </a:ext>
                </a:extLst>
              </p:cNvPr>
              <p:cNvSpPr/>
              <p:nvPr/>
            </p:nvSpPr>
            <p:spPr>
              <a:xfrm>
                <a:off x="7577056" y="2814089"/>
                <a:ext cx="2212" cy="4126"/>
              </a:xfrm>
              <a:custGeom>
                <a:avLst/>
                <a:gdLst>
                  <a:gd name="connsiteX0" fmla="*/ 2213 w 2212"/>
                  <a:gd name="connsiteY0" fmla="*/ 4127 h 4126"/>
                  <a:gd name="connsiteX1" fmla="*/ 0 w 2212"/>
                  <a:gd name="connsiteY1" fmla="*/ 0 h 4126"/>
                </a:gdLst>
                <a:ahLst/>
                <a:cxnLst>
                  <a:cxn ang="0">
                    <a:pos x="connsiteX0" y="connsiteY0"/>
                  </a:cxn>
                  <a:cxn ang="0">
                    <a:pos x="connsiteX1" y="connsiteY1"/>
                  </a:cxn>
                </a:cxnLst>
                <a:rect l="l" t="t" r="r" b="b"/>
                <a:pathLst>
                  <a:path w="2212" h="4126">
                    <a:moveTo>
                      <a:pt x="2213" y="412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33" name="Vrije vorm: vorm 6132">
                <a:extLst>
                  <a:ext uri="{FF2B5EF4-FFF2-40B4-BE49-F238E27FC236}">
                    <a16:creationId xmlns:a16="http://schemas.microsoft.com/office/drawing/2014/main" id="{AB332AAB-3D90-48D6-BA5E-0451AD32068F}"/>
                  </a:ext>
                </a:extLst>
              </p:cNvPr>
              <p:cNvSpPr/>
              <p:nvPr/>
            </p:nvSpPr>
            <p:spPr>
              <a:xfrm>
                <a:off x="7579269" y="2797523"/>
                <a:ext cx="18360" cy="20693"/>
              </a:xfrm>
              <a:custGeom>
                <a:avLst/>
                <a:gdLst>
                  <a:gd name="connsiteX0" fmla="*/ 0 w 18360"/>
                  <a:gd name="connsiteY0" fmla="*/ 20693 h 20693"/>
                  <a:gd name="connsiteX1" fmla="*/ 18361 w 18360"/>
                  <a:gd name="connsiteY1" fmla="*/ 0 h 20693"/>
                </a:gdLst>
                <a:ahLst/>
                <a:cxnLst>
                  <a:cxn ang="0">
                    <a:pos x="connsiteX0" y="connsiteY0"/>
                  </a:cxn>
                  <a:cxn ang="0">
                    <a:pos x="connsiteX1" y="connsiteY1"/>
                  </a:cxn>
                </a:cxnLst>
                <a:rect l="l" t="t" r="r" b="b"/>
                <a:pathLst>
                  <a:path w="18360" h="20693">
                    <a:moveTo>
                      <a:pt x="0" y="20693"/>
                    </a:moveTo>
                    <a:lnTo>
                      <a:pt x="18361" y="0"/>
                    </a:lnTo>
                  </a:path>
                </a:pathLst>
              </a:custGeom>
              <a:ln w="6350" cap="rnd">
                <a:solidFill>
                  <a:schemeClr val="bg1">
                    <a:alpha val="80000"/>
                  </a:schemeClr>
                </a:solidFill>
                <a:prstDash val="solid"/>
                <a:round/>
              </a:ln>
            </p:spPr>
            <p:txBody>
              <a:bodyPr rtlCol="0" anchor="ctr"/>
              <a:lstStyle/>
              <a:p>
                <a:endParaRPr lang="en-GB"/>
              </a:p>
            </p:txBody>
          </p:sp>
          <p:sp>
            <p:nvSpPr>
              <p:cNvPr id="6134" name="Vrije vorm: vorm 6133">
                <a:extLst>
                  <a:ext uri="{FF2B5EF4-FFF2-40B4-BE49-F238E27FC236}">
                    <a16:creationId xmlns:a16="http://schemas.microsoft.com/office/drawing/2014/main" id="{32AF81EE-7A53-4090-8389-E8BF0954C8A8}"/>
                  </a:ext>
                </a:extLst>
              </p:cNvPr>
              <p:cNvSpPr/>
              <p:nvPr/>
            </p:nvSpPr>
            <p:spPr>
              <a:xfrm>
                <a:off x="7516711" y="2706974"/>
                <a:ext cx="21590" cy="12559"/>
              </a:xfrm>
              <a:custGeom>
                <a:avLst/>
                <a:gdLst>
                  <a:gd name="connsiteX0" fmla="*/ 21590 w 21590"/>
                  <a:gd name="connsiteY0" fmla="*/ 0 h 12559"/>
                  <a:gd name="connsiteX1" fmla="*/ 0 w 21590"/>
                  <a:gd name="connsiteY1" fmla="*/ 12560 h 12559"/>
                </a:gdLst>
                <a:ahLst/>
                <a:cxnLst>
                  <a:cxn ang="0">
                    <a:pos x="connsiteX0" y="connsiteY0"/>
                  </a:cxn>
                  <a:cxn ang="0">
                    <a:pos x="connsiteX1" y="connsiteY1"/>
                  </a:cxn>
                </a:cxnLst>
                <a:rect l="l" t="t" r="r" b="b"/>
                <a:pathLst>
                  <a:path w="21590" h="12559">
                    <a:moveTo>
                      <a:pt x="21590" y="0"/>
                    </a:moveTo>
                    <a:lnTo>
                      <a:pt x="0" y="12560"/>
                    </a:lnTo>
                  </a:path>
                </a:pathLst>
              </a:custGeom>
              <a:ln w="6350" cap="rnd">
                <a:solidFill>
                  <a:schemeClr val="bg1">
                    <a:alpha val="80000"/>
                  </a:schemeClr>
                </a:solidFill>
                <a:prstDash val="solid"/>
                <a:round/>
              </a:ln>
            </p:spPr>
            <p:txBody>
              <a:bodyPr rtlCol="0" anchor="ctr"/>
              <a:lstStyle/>
              <a:p>
                <a:endParaRPr lang="en-GB"/>
              </a:p>
            </p:txBody>
          </p:sp>
          <p:sp>
            <p:nvSpPr>
              <p:cNvPr id="6135" name="Vrije vorm: vorm 6134">
                <a:extLst>
                  <a:ext uri="{FF2B5EF4-FFF2-40B4-BE49-F238E27FC236}">
                    <a16:creationId xmlns:a16="http://schemas.microsoft.com/office/drawing/2014/main" id="{98A158DD-2A45-4AB4-BEFF-2921D05A447F}"/>
                  </a:ext>
                </a:extLst>
              </p:cNvPr>
              <p:cNvSpPr/>
              <p:nvPr/>
            </p:nvSpPr>
            <p:spPr>
              <a:xfrm>
                <a:off x="7781238" y="2763971"/>
                <a:ext cx="358" cy="418"/>
              </a:xfrm>
              <a:custGeom>
                <a:avLst/>
                <a:gdLst>
                  <a:gd name="connsiteX0" fmla="*/ 0 w 358"/>
                  <a:gd name="connsiteY0" fmla="*/ 0 h 418"/>
                  <a:gd name="connsiteX1" fmla="*/ 359 w 358"/>
                  <a:gd name="connsiteY1" fmla="*/ 419 h 418"/>
                </a:gdLst>
                <a:ahLst/>
                <a:cxnLst>
                  <a:cxn ang="0">
                    <a:pos x="connsiteX0" y="connsiteY0"/>
                  </a:cxn>
                  <a:cxn ang="0">
                    <a:pos x="connsiteX1" y="connsiteY1"/>
                  </a:cxn>
                </a:cxnLst>
                <a:rect l="l" t="t" r="r" b="b"/>
                <a:pathLst>
                  <a:path w="358" h="418">
                    <a:moveTo>
                      <a:pt x="0" y="0"/>
                    </a:moveTo>
                    <a:lnTo>
                      <a:pt x="359" y="419"/>
                    </a:lnTo>
                  </a:path>
                </a:pathLst>
              </a:custGeom>
              <a:ln w="6350" cap="rnd">
                <a:solidFill>
                  <a:schemeClr val="bg1">
                    <a:alpha val="80000"/>
                  </a:schemeClr>
                </a:solidFill>
                <a:prstDash val="solid"/>
                <a:round/>
              </a:ln>
            </p:spPr>
            <p:txBody>
              <a:bodyPr rtlCol="0" anchor="ctr"/>
              <a:lstStyle/>
              <a:p>
                <a:endParaRPr lang="en-GB"/>
              </a:p>
            </p:txBody>
          </p:sp>
          <p:sp>
            <p:nvSpPr>
              <p:cNvPr id="6136" name="Vrije vorm: vorm 6135">
                <a:extLst>
                  <a:ext uri="{FF2B5EF4-FFF2-40B4-BE49-F238E27FC236}">
                    <a16:creationId xmlns:a16="http://schemas.microsoft.com/office/drawing/2014/main" id="{96738118-15AF-4B42-84BC-0A101161FF0A}"/>
                  </a:ext>
                </a:extLst>
              </p:cNvPr>
              <p:cNvSpPr/>
              <p:nvPr/>
            </p:nvSpPr>
            <p:spPr>
              <a:xfrm>
                <a:off x="7583097" y="2656856"/>
                <a:ext cx="3528" cy="2153"/>
              </a:xfrm>
              <a:custGeom>
                <a:avLst/>
                <a:gdLst>
                  <a:gd name="connsiteX0" fmla="*/ 0 w 3528"/>
                  <a:gd name="connsiteY0" fmla="*/ 2153 h 2153"/>
                  <a:gd name="connsiteX1" fmla="*/ 3529 w 3528"/>
                  <a:gd name="connsiteY1" fmla="*/ 0 h 2153"/>
                </a:gdLst>
                <a:ahLst/>
                <a:cxnLst>
                  <a:cxn ang="0">
                    <a:pos x="connsiteX0" y="connsiteY0"/>
                  </a:cxn>
                  <a:cxn ang="0">
                    <a:pos x="connsiteX1" y="connsiteY1"/>
                  </a:cxn>
                </a:cxnLst>
                <a:rect l="l" t="t" r="r" b="b"/>
                <a:pathLst>
                  <a:path w="3528" h="2153">
                    <a:moveTo>
                      <a:pt x="0" y="2153"/>
                    </a:moveTo>
                    <a:lnTo>
                      <a:pt x="3529" y="0"/>
                    </a:lnTo>
                  </a:path>
                </a:pathLst>
              </a:custGeom>
              <a:ln w="6350" cap="rnd">
                <a:solidFill>
                  <a:schemeClr val="bg1">
                    <a:alpha val="80000"/>
                  </a:schemeClr>
                </a:solidFill>
                <a:prstDash val="solid"/>
                <a:round/>
              </a:ln>
            </p:spPr>
            <p:txBody>
              <a:bodyPr rtlCol="0" anchor="ctr"/>
              <a:lstStyle/>
              <a:p>
                <a:endParaRPr lang="en-GB"/>
              </a:p>
            </p:txBody>
          </p:sp>
          <p:sp>
            <p:nvSpPr>
              <p:cNvPr id="6137" name="Vrije vorm: vorm 6136">
                <a:extLst>
                  <a:ext uri="{FF2B5EF4-FFF2-40B4-BE49-F238E27FC236}">
                    <a16:creationId xmlns:a16="http://schemas.microsoft.com/office/drawing/2014/main" id="{95552778-684E-4244-B4D2-DC17F836A0D6}"/>
                  </a:ext>
                </a:extLst>
              </p:cNvPr>
              <p:cNvSpPr/>
              <p:nvPr/>
            </p:nvSpPr>
            <p:spPr>
              <a:xfrm>
                <a:off x="7594879" y="2809185"/>
                <a:ext cx="18659" cy="27989"/>
              </a:xfrm>
              <a:custGeom>
                <a:avLst/>
                <a:gdLst>
                  <a:gd name="connsiteX0" fmla="*/ 0 w 18659"/>
                  <a:gd name="connsiteY0" fmla="*/ 27990 h 27989"/>
                  <a:gd name="connsiteX1" fmla="*/ 18660 w 18659"/>
                  <a:gd name="connsiteY1" fmla="*/ 0 h 27989"/>
                </a:gdLst>
                <a:ahLst/>
                <a:cxnLst>
                  <a:cxn ang="0">
                    <a:pos x="connsiteX0" y="connsiteY0"/>
                  </a:cxn>
                  <a:cxn ang="0">
                    <a:pos x="connsiteX1" y="connsiteY1"/>
                  </a:cxn>
                </a:cxnLst>
                <a:rect l="l" t="t" r="r" b="b"/>
                <a:pathLst>
                  <a:path w="18659" h="27989">
                    <a:moveTo>
                      <a:pt x="0" y="27990"/>
                    </a:moveTo>
                    <a:lnTo>
                      <a:pt x="18660" y="0"/>
                    </a:lnTo>
                  </a:path>
                </a:pathLst>
              </a:custGeom>
              <a:ln w="6350" cap="rnd">
                <a:solidFill>
                  <a:schemeClr val="bg1">
                    <a:alpha val="80000"/>
                  </a:schemeClr>
                </a:solidFill>
                <a:prstDash val="solid"/>
                <a:round/>
              </a:ln>
            </p:spPr>
            <p:txBody>
              <a:bodyPr rtlCol="0" anchor="ctr"/>
              <a:lstStyle/>
              <a:p>
                <a:endParaRPr lang="en-GB"/>
              </a:p>
            </p:txBody>
          </p:sp>
          <p:sp>
            <p:nvSpPr>
              <p:cNvPr id="6138" name="Vrije vorm: vorm 6137">
                <a:extLst>
                  <a:ext uri="{FF2B5EF4-FFF2-40B4-BE49-F238E27FC236}">
                    <a16:creationId xmlns:a16="http://schemas.microsoft.com/office/drawing/2014/main" id="{F00CD9BF-3612-48DF-B691-2BDE88600C8F}"/>
                  </a:ext>
                </a:extLst>
              </p:cNvPr>
              <p:cNvSpPr/>
              <p:nvPr/>
            </p:nvSpPr>
            <p:spPr>
              <a:xfrm>
                <a:off x="7591470" y="2836218"/>
                <a:ext cx="3409" cy="956"/>
              </a:xfrm>
              <a:custGeom>
                <a:avLst/>
                <a:gdLst>
                  <a:gd name="connsiteX0" fmla="*/ 3409 w 3409"/>
                  <a:gd name="connsiteY0" fmla="*/ 957 h 956"/>
                  <a:gd name="connsiteX1" fmla="*/ 0 w 3409"/>
                  <a:gd name="connsiteY1" fmla="*/ 0 h 956"/>
                </a:gdLst>
                <a:ahLst/>
                <a:cxnLst>
                  <a:cxn ang="0">
                    <a:pos x="connsiteX0" y="connsiteY0"/>
                  </a:cxn>
                  <a:cxn ang="0">
                    <a:pos x="connsiteX1" y="connsiteY1"/>
                  </a:cxn>
                </a:cxnLst>
                <a:rect l="l" t="t" r="r" b="b"/>
                <a:pathLst>
                  <a:path w="3409" h="956">
                    <a:moveTo>
                      <a:pt x="3409" y="95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39" name="Vrije vorm: vorm 6138">
                <a:extLst>
                  <a:ext uri="{FF2B5EF4-FFF2-40B4-BE49-F238E27FC236}">
                    <a16:creationId xmlns:a16="http://schemas.microsoft.com/office/drawing/2014/main" id="{BF84D4FF-D4C2-4085-9134-BF2CCC602694}"/>
                  </a:ext>
                </a:extLst>
              </p:cNvPr>
              <p:cNvSpPr/>
              <p:nvPr/>
            </p:nvSpPr>
            <p:spPr>
              <a:xfrm>
                <a:off x="7594879" y="2837175"/>
                <a:ext cx="5681" cy="1973"/>
              </a:xfrm>
              <a:custGeom>
                <a:avLst/>
                <a:gdLst>
                  <a:gd name="connsiteX0" fmla="*/ 0 w 5681"/>
                  <a:gd name="connsiteY0" fmla="*/ 0 h 1973"/>
                  <a:gd name="connsiteX1" fmla="*/ 5682 w 5681"/>
                  <a:gd name="connsiteY1" fmla="*/ 1974 h 1973"/>
                </a:gdLst>
                <a:ahLst/>
                <a:cxnLst>
                  <a:cxn ang="0">
                    <a:pos x="connsiteX0" y="connsiteY0"/>
                  </a:cxn>
                  <a:cxn ang="0">
                    <a:pos x="connsiteX1" y="connsiteY1"/>
                  </a:cxn>
                </a:cxnLst>
                <a:rect l="l" t="t" r="r" b="b"/>
                <a:pathLst>
                  <a:path w="5681" h="1973">
                    <a:moveTo>
                      <a:pt x="0" y="0"/>
                    </a:moveTo>
                    <a:lnTo>
                      <a:pt x="5682" y="1974"/>
                    </a:lnTo>
                  </a:path>
                </a:pathLst>
              </a:custGeom>
              <a:ln w="6350" cap="rnd">
                <a:solidFill>
                  <a:schemeClr val="bg1">
                    <a:alpha val="80000"/>
                  </a:schemeClr>
                </a:solidFill>
                <a:prstDash val="solid"/>
                <a:round/>
              </a:ln>
            </p:spPr>
            <p:txBody>
              <a:bodyPr rtlCol="0" anchor="ctr"/>
              <a:lstStyle/>
              <a:p>
                <a:endParaRPr lang="en-GB"/>
              </a:p>
            </p:txBody>
          </p:sp>
          <p:sp>
            <p:nvSpPr>
              <p:cNvPr id="6140" name="Vrije vorm: vorm 6139">
                <a:extLst>
                  <a:ext uri="{FF2B5EF4-FFF2-40B4-BE49-F238E27FC236}">
                    <a16:creationId xmlns:a16="http://schemas.microsoft.com/office/drawing/2014/main" id="{F656BE75-8342-45CF-97C0-6E59EA5DE79F}"/>
                  </a:ext>
                </a:extLst>
              </p:cNvPr>
              <p:cNvSpPr/>
              <p:nvPr/>
            </p:nvSpPr>
            <p:spPr>
              <a:xfrm>
                <a:off x="7629926" y="2629105"/>
                <a:ext cx="2332" cy="5322"/>
              </a:xfrm>
              <a:custGeom>
                <a:avLst/>
                <a:gdLst>
                  <a:gd name="connsiteX0" fmla="*/ 0 w 2332"/>
                  <a:gd name="connsiteY0" fmla="*/ 5323 h 5322"/>
                  <a:gd name="connsiteX1" fmla="*/ 2332 w 2332"/>
                  <a:gd name="connsiteY1" fmla="*/ 0 h 5322"/>
                </a:gdLst>
                <a:ahLst/>
                <a:cxnLst>
                  <a:cxn ang="0">
                    <a:pos x="connsiteX0" y="connsiteY0"/>
                  </a:cxn>
                  <a:cxn ang="0">
                    <a:pos x="connsiteX1" y="connsiteY1"/>
                  </a:cxn>
                </a:cxnLst>
                <a:rect l="l" t="t" r="r" b="b"/>
                <a:pathLst>
                  <a:path w="2332" h="5322">
                    <a:moveTo>
                      <a:pt x="0" y="5323"/>
                    </a:moveTo>
                    <a:lnTo>
                      <a:pt x="2332" y="0"/>
                    </a:lnTo>
                  </a:path>
                </a:pathLst>
              </a:custGeom>
              <a:ln w="6350" cap="rnd">
                <a:solidFill>
                  <a:schemeClr val="bg1">
                    <a:alpha val="80000"/>
                  </a:schemeClr>
                </a:solidFill>
                <a:prstDash val="solid"/>
                <a:round/>
              </a:ln>
            </p:spPr>
            <p:txBody>
              <a:bodyPr rtlCol="0" anchor="ctr"/>
              <a:lstStyle/>
              <a:p>
                <a:endParaRPr lang="en-GB"/>
              </a:p>
            </p:txBody>
          </p:sp>
          <p:sp>
            <p:nvSpPr>
              <p:cNvPr id="6141" name="Vrije vorm: vorm 6140">
                <a:extLst>
                  <a:ext uri="{FF2B5EF4-FFF2-40B4-BE49-F238E27FC236}">
                    <a16:creationId xmlns:a16="http://schemas.microsoft.com/office/drawing/2014/main" id="{07099C7D-8574-4201-A36A-CF85E3145A01}"/>
                  </a:ext>
                </a:extLst>
              </p:cNvPr>
              <p:cNvSpPr/>
              <p:nvPr/>
            </p:nvSpPr>
            <p:spPr>
              <a:xfrm>
                <a:off x="7535012" y="2687178"/>
                <a:ext cx="13456" cy="13157"/>
              </a:xfrm>
              <a:custGeom>
                <a:avLst/>
                <a:gdLst>
                  <a:gd name="connsiteX0" fmla="*/ 13457 w 13456"/>
                  <a:gd name="connsiteY0" fmla="*/ 0 h 13157"/>
                  <a:gd name="connsiteX1" fmla="*/ 0 w 13456"/>
                  <a:gd name="connsiteY1" fmla="*/ 13157 h 13157"/>
                </a:gdLst>
                <a:ahLst/>
                <a:cxnLst>
                  <a:cxn ang="0">
                    <a:pos x="connsiteX0" y="connsiteY0"/>
                  </a:cxn>
                  <a:cxn ang="0">
                    <a:pos x="connsiteX1" y="connsiteY1"/>
                  </a:cxn>
                </a:cxnLst>
                <a:rect l="l" t="t" r="r" b="b"/>
                <a:pathLst>
                  <a:path w="13456" h="13157">
                    <a:moveTo>
                      <a:pt x="13457" y="0"/>
                    </a:moveTo>
                    <a:lnTo>
                      <a:pt x="0" y="13157"/>
                    </a:lnTo>
                  </a:path>
                </a:pathLst>
              </a:custGeom>
              <a:ln w="6350" cap="rnd">
                <a:solidFill>
                  <a:schemeClr val="bg1">
                    <a:alpha val="80000"/>
                  </a:schemeClr>
                </a:solidFill>
                <a:prstDash val="solid"/>
                <a:round/>
              </a:ln>
            </p:spPr>
            <p:txBody>
              <a:bodyPr rtlCol="0" anchor="ctr"/>
              <a:lstStyle/>
              <a:p>
                <a:endParaRPr lang="en-GB"/>
              </a:p>
            </p:txBody>
          </p:sp>
          <p:sp>
            <p:nvSpPr>
              <p:cNvPr id="6142" name="Vrije vorm: vorm 6141">
                <a:extLst>
                  <a:ext uri="{FF2B5EF4-FFF2-40B4-BE49-F238E27FC236}">
                    <a16:creationId xmlns:a16="http://schemas.microsoft.com/office/drawing/2014/main" id="{DE4B524A-5E85-4858-A5B5-0544D308D059}"/>
                  </a:ext>
                </a:extLst>
              </p:cNvPr>
              <p:cNvSpPr/>
              <p:nvPr/>
            </p:nvSpPr>
            <p:spPr>
              <a:xfrm>
                <a:off x="7671910" y="2770609"/>
                <a:ext cx="9628" cy="11662"/>
              </a:xfrm>
              <a:custGeom>
                <a:avLst/>
                <a:gdLst>
                  <a:gd name="connsiteX0" fmla="*/ 0 w 9628"/>
                  <a:gd name="connsiteY0" fmla="*/ 11662 h 11662"/>
                  <a:gd name="connsiteX1" fmla="*/ 9629 w 9628"/>
                  <a:gd name="connsiteY1" fmla="*/ 0 h 11662"/>
                </a:gdLst>
                <a:ahLst/>
                <a:cxnLst>
                  <a:cxn ang="0">
                    <a:pos x="connsiteX0" y="connsiteY0"/>
                  </a:cxn>
                  <a:cxn ang="0">
                    <a:pos x="connsiteX1" y="connsiteY1"/>
                  </a:cxn>
                </a:cxnLst>
                <a:rect l="l" t="t" r="r" b="b"/>
                <a:pathLst>
                  <a:path w="9628" h="11662">
                    <a:moveTo>
                      <a:pt x="0" y="11662"/>
                    </a:moveTo>
                    <a:lnTo>
                      <a:pt x="9629" y="0"/>
                    </a:lnTo>
                  </a:path>
                </a:pathLst>
              </a:custGeom>
              <a:ln w="6350" cap="rnd">
                <a:solidFill>
                  <a:schemeClr val="bg1">
                    <a:alpha val="80000"/>
                  </a:schemeClr>
                </a:solidFill>
                <a:prstDash val="solid"/>
                <a:round/>
              </a:ln>
            </p:spPr>
            <p:txBody>
              <a:bodyPr rtlCol="0" anchor="ctr"/>
              <a:lstStyle/>
              <a:p>
                <a:endParaRPr lang="en-GB"/>
              </a:p>
            </p:txBody>
          </p:sp>
          <p:sp>
            <p:nvSpPr>
              <p:cNvPr id="6143" name="Vrije vorm: vorm 6142">
                <a:extLst>
                  <a:ext uri="{FF2B5EF4-FFF2-40B4-BE49-F238E27FC236}">
                    <a16:creationId xmlns:a16="http://schemas.microsoft.com/office/drawing/2014/main" id="{66758FE3-5D7F-4944-8622-F9E0A8B3AB92}"/>
                  </a:ext>
                </a:extLst>
              </p:cNvPr>
              <p:cNvSpPr/>
              <p:nvPr/>
            </p:nvSpPr>
            <p:spPr>
              <a:xfrm>
                <a:off x="7599065" y="2649679"/>
                <a:ext cx="5741" cy="9628"/>
              </a:xfrm>
              <a:custGeom>
                <a:avLst/>
                <a:gdLst>
                  <a:gd name="connsiteX0" fmla="*/ 5741 w 5741"/>
                  <a:gd name="connsiteY0" fmla="*/ 9629 h 9628"/>
                  <a:gd name="connsiteX1" fmla="*/ 0 w 5741"/>
                  <a:gd name="connsiteY1" fmla="*/ 0 h 9628"/>
                </a:gdLst>
                <a:ahLst/>
                <a:cxnLst>
                  <a:cxn ang="0">
                    <a:pos x="connsiteX0" y="connsiteY0"/>
                  </a:cxn>
                  <a:cxn ang="0">
                    <a:pos x="connsiteX1" y="connsiteY1"/>
                  </a:cxn>
                </a:cxnLst>
                <a:rect l="l" t="t" r="r" b="b"/>
                <a:pathLst>
                  <a:path w="5741" h="9628">
                    <a:moveTo>
                      <a:pt x="5741" y="9629"/>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44" name="Vrije vorm: vorm 6143">
                <a:extLst>
                  <a:ext uri="{FF2B5EF4-FFF2-40B4-BE49-F238E27FC236}">
                    <a16:creationId xmlns:a16="http://schemas.microsoft.com/office/drawing/2014/main" id="{EABD5647-8039-4D08-B865-A00931272824}"/>
                  </a:ext>
                </a:extLst>
              </p:cNvPr>
              <p:cNvSpPr/>
              <p:nvPr/>
            </p:nvSpPr>
            <p:spPr>
              <a:xfrm>
                <a:off x="7745234" y="2818934"/>
                <a:ext cx="6638" cy="3050"/>
              </a:xfrm>
              <a:custGeom>
                <a:avLst/>
                <a:gdLst>
                  <a:gd name="connsiteX0" fmla="*/ 6638 w 6638"/>
                  <a:gd name="connsiteY0" fmla="*/ 3050 h 3050"/>
                  <a:gd name="connsiteX1" fmla="*/ 0 w 6638"/>
                  <a:gd name="connsiteY1" fmla="*/ 0 h 3050"/>
                </a:gdLst>
                <a:ahLst/>
                <a:cxnLst>
                  <a:cxn ang="0">
                    <a:pos x="connsiteX0" y="connsiteY0"/>
                  </a:cxn>
                  <a:cxn ang="0">
                    <a:pos x="connsiteX1" y="connsiteY1"/>
                  </a:cxn>
                </a:cxnLst>
                <a:rect l="l" t="t" r="r" b="b"/>
                <a:pathLst>
                  <a:path w="6638" h="3050">
                    <a:moveTo>
                      <a:pt x="6638" y="305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45" name="Vrije vorm: vorm 6144">
                <a:extLst>
                  <a:ext uri="{FF2B5EF4-FFF2-40B4-BE49-F238E27FC236}">
                    <a16:creationId xmlns:a16="http://schemas.microsoft.com/office/drawing/2014/main" id="{E7192A67-C4D0-4564-AB16-5EFD183B4CF2}"/>
                  </a:ext>
                </a:extLst>
              </p:cNvPr>
              <p:cNvSpPr/>
              <p:nvPr/>
            </p:nvSpPr>
            <p:spPr>
              <a:xfrm>
                <a:off x="7599065" y="2639273"/>
                <a:ext cx="8492" cy="10406"/>
              </a:xfrm>
              <a:custGeom>
                <a:avLst/>
                <a:gdLst>
                  <a:gd name="connsiteX0" fmla="*/ 8493 w 8492"/>
                  <a:gd name="connsiteY0" fmla="*/ 0 h 10406"/>
                  <a:gd name="connsiteX1" fmla="*/ 0 w 8492"/>
                  <a:gd name="connsiteY1" fmla="*/ 10407 h 10406"/>
                </a:gdLst>
                <a:ahLst/>
                <a:cxnLst>
                  <a:cxn ang="0">
                    <a:pos x="connsiteX0" y="connsiteY0"/>
                  </a:cxn>
                  <a:cxn ang="0">
                    <a:pos x="connsiteX1" y="connsiteY1"/>
                  </a:cxn>
                </a:cxnLst>
                <a:rect l="l" t="t" r="r" b="b"/>
                <a:pathLst>
                  <a:path w="8492" h="10406">
                    <a:moveTo>
                      <a:pt x="8493" y="0"/>
                    </a:moveTo>
                    <a:lnTo>
                      <a:pt x="0" y="10407"/>
                    </a:lnTo>
                  </a:path>
                </a:pathLst>
              </a:custGeom>
              <a:ln w="6350" cap="rnd">
                <a:solidFill>
                  <a:schemeClr val="bg1">
                    <a:alpha val="80000"/>
                  </a:schemeClr>
                </a:solidFill>
                <a:prstDash val="solid"/>
                <a:round/>
              </a:ln>
            </p:spPr>
            <p:txBody>
              <a:bodyPr rtlCol="0" anchor="ctr"/>
              <a:lstStyle/>
              <a:p>
                <a:endParaRPr lang="en-GB"/>
              </a:p>
            </p:txBody>
          </p:sp>
          <p:sp>
            <p:nvSpPr>
              <p:cNvPr id="6146" name="Vrije vorm: vorm 6145">
                <a:extLst>
                  <a:ext uri="{FF2B5EF4-FFF2-40B4-BE49-F238E27FC236}">
                    <a16:creationId xmlns:a16="http://schemas.microsoft.com/office/drawing/2014/main" id="{6552ECFB-AA19-4D4A-B8BD-FA3601D79D82}"/>
                  </a:ext>
                </a:extLst>
              </p:cNvPr>
              <p:cNvSpPr/>
              <p:nvPr/>
            </p:nvSpPr>
            <p:spPr>
              <a:xfrm>
                <a:off x="7583097" y="2639273"/>
                <a:ext cx="24461" cy="19736"/>
              </a:xfrm>
              <a:custGeom>
                <a:avLst/>
                <a:gdLst>
                  <a:gd name="connsiteX0" fmla="*/ 24462 w 24461"/>
                  <a:gd name="connsiteY0" fmla="*/ 0 h 19736"/>
                  <a:gd name="connsiteX1" fmla="*/ 0 w 24461"/>
                  <a:gd name="connsiteY1" fmla="*/ 19736 h 19736"/>
                </a:gdLst>
                <a:ahLst/>
                <a:cxnLst>
                  <a:cxn ang="0">
                    <a:pos x="connsiteX0" y="connsiteY0"/>
                  </a:cxn>
                  <a:cxn ang="0">
                    <a:pos x="connsiteX1" y="connsiteY1"/>
                  </a:cxn>
                </a:cxnLst>
                <a:rect l="l" t="t" r="r" b="b"/>
                <a:pathLst>
                  <a:path w="24461" h="19736">
                    <a:moveTo>
                      <a:pt x="24462" y="0"/>
                    </a:moveTo>
                    <a:lnTo>
                      <a:pt x="0" y="19736"/>
                    </a:lnTo>
                  </a:path>
                </a:pathLst>
              </a:custGeom>
              <a:ln w="6350" cap="rnd">
                <a:solidFill>
                  <a:schemeClr val="bg1">
                    <a:alpha val="80000"/>
                  </a:schemeClr>
                </a:solidFill>
                <a:prstDash val="solid"/>
                <a:round/>
              </a:ln>
            </p:spPr>
            <p:txBody>
              <a:bodyPr rtlCol="0" anchor="ctr"/>
              <a:lstStyle/>
              <a:p>
                <a:endParaRPr lang="en-GB"/>
              </a:p>
            </p:txBody>
          </p:sp>
          <p:sp>
            <p:nvSpPr>
              <p:cNvPr id="6147" name="Vrije vorm: vorm 6146">
                <a:extLst>
                  <a:ext uri="{FF2B5EF4-FFF2-40B4-BE49-F238E27FC236}">
                    <a16:creationId xmlns:a16="http://schemas.microsoft.com/office/drawing/2014/main" id="{9E24CE69-3AE0-43BA-843C-D753671CB332}"/>
                  </a:ext>
                </a:extLst>
              </p:cNvPr>
              <p:cNvSpPr/>
              <p:nvPr/>
            </p:nvSpPr>
            <p:spPr>
              <a:xfrm>
                <a:off x="7607558" y="2634428"/>
                <a:ext cx="22367" cy="4844"/>
              </a:xfrm>
              <a:custGeom>
                <a:avLst/>
                <a:gdLst>
                  <a:gd name="connsiteX0" fmla="*/ 0 w 22367"/>
                  <a:gd name="connsiteY0" fmla="*/ 4844 h 4844"/>
                  <a:gd name="connsiteX1" fmla="*/ 22368 w 22367"/>
                  <a:gd name="connsiteY1" fmla="*/ 0 h 4844"/>
                </a:gdLst>
                <a:ahLst/>
                <a:cxnLst>
                  <a:cxn ang="0">
                    <a:pos x="connsiteX0" y="connsiteY0"/>
                  </a:cxn>
                  <a:cxn ang="0">
                    <a:pos x="connsiteX1" y="connsiteY1"/>
                  </a:cxn>
                </a:cxnLst>
                <a:rect l="l" t="t" r="r" b="b"/>
                <a:pathLst>
                  <a:path w="22367" h="4844">
                    <a:moveTo>
                      <a:pt x="0" y="4844"/>
                    </a:moveTo>
                    <a:lnTo>
                      <a:pt x="22368" y="0"/>
                    </a:lnTo>
                  </a:path>
                </a:pathLst>
              </a:custGeom>
              <a:ln w="6350" cap="rnd">
                <a:solidFill>
                  <a:schemeClr val="bg1">
                    <a:alpha val="80000"/>
                  </a:schemeClr>
                </a:solidFill>
                <a:prstDash val="solid"/>
                <a:round/>
              </a:ln>
            </p:spPr>
            <p:txBody>
              <a:bodyPr rtlCol="0" anchor="ctr"/>
              <a:lstStyle/>
              <a:p>
                <a:endParaRPr lang="en-GB"/>
              </a:p>
            </p:txBody>
          </p:sp>
          <p:sp>
            <p:nvSpPr>
              <p:cNvPr id="6148" name="Vrije vorm: vorm 6147">
                <a:extLst>
                  <a:ext uri="{FF2B5EF4-FFF2-40B4-BE49-F238E27FC236}">
                    <a16:creationId xmlns:a16="http://schemas.microsoft.com/office/drawing/2014/main" id="{49CBC85C-8F0C-408E-B0B3-796C20F577AF}"/>
                  </a:ext>
                </a:extLst>
              </p:cNvPr>
              <p:cNvSpPr/>
              <p:nvPr/>
            </p:nvSpPr>
            <p:spPr>
              <a:xfrm>
                <a:off x="7634112" y="2717201"/>
                <a:ext cx="21052" cy="19018"/>
              </a:xfrm>
              <a:custGeom>
                <a:avLst/>
                <a:gdLst>
                  <a:gd name="connsiteX0" fmla="*/ 0 w 21052"/>
                  <a:gd name="connsiteY0" fmla="*/ 19019 h 19018"/>
                  <a:gd name="connsiteX1" fmla="*/ 21052 w 21052"/>
                  <a:gd name="connsiteY1" fmla="*/ 0 h 19018"/>
                </a:gdLst>
                <a:ahLst/>
                <a:cxnLst>
                  <a:cxn ang="0">
                    <a:pos x="connsiteX0" y="connsiteY0"/>
                  </a:cxn>
                  <a:cxn ang="0">
                    <a:pos x="connsiteX1" y="connsiteY1"/>
                  </a:cxn>
                </a:cxnLst>
                <a:rect l="l" t="t" r="r" b="b"/>
                <a:pathLst>
                  <a:path w="21052" h="19018">
                    <a:moveTo>
                      <a:pt x="0" y="19019"/>
                    </a:moveTo>
                    <a:lnTo>
                      <a:pt x="21052" y="0"/>
                    </a:lnTo>
                  </a:path>
                </a:pathLst>
              </a:custGeom>
              <a:ln w="6350" cap="rnd">
                <a:solidFill>
                  <a:schemeClr val="bg1">
                    <a:alpha val="80000"/>
                  </a:schemeClr>
                </a:solidFill>
                <a:prstDash val="solid"/>
                <a:round/>
              </a:ln>
            </p:spPr>
            <p:txBody>
              <a:bodyPr rtlCol="0" anchor="ctr"/>
              <a:lstStyle/>
              <a:p>
                <a:endParaRPr lang="en-GB"/>
              </a:p>
            </p:txBody>
          </p:sp>
          <p:sp>
            <p:nvSpPr>
              <p:cNvPr id="6149" name="Vrije vorm: vorm 6148">
                <a:extLst>
                  <a:ext uri="{FF2B5EF4-FFF2-40B4-BE49-F238E27FC236}">
                    <a16:creationId xmlns:a16="http://schemas.microsoft.com/office/drawing/2014/main" id="{4B8B1F1E-EBD8-4102-B618-E03B76EBE84F}"/>
                  </a:ext>
                </a:extLst>
              </p:cNvPr>
              <p:cNvSpPr/>
              <p:nvPr/>
            </p:nvSpPr>
            <p:spPr>
              <a:xfrm>
                <a:off x="7624962" y="2733648"/>
                <a:ext cx="9150" cy="2571"/>
              </a:xfrm>
              <a:custGeom>
                <a:avLst/>
                <a:gdLst>
                  <a:gd name="connsiteX0" fmla="*/ 9151 w 9150"/>
                  <a:gd name="connsiteY0" fmla="*/ 2572 h 2571"/>
                  <a:gd name="connsiteX1" fmla="*/ 0 w 9150"/>
                  <a:gd name="connsiteY1" fmla="*/ 0 h 2571"/>
                </a:gdLst>
                <a:ahLst/>
                <a:cxnLst>
                  <a:cxn ang="0">
                    <a:pos x="connsiteX0" y="connsiteY0"/>
                  </a:cxn>
                  <a:cxn ang="0">
                    <a:pos x="connsiteX1" y="connsiteY1"/>
                  </a:cxn>
                </a:cxnLst>
                <a:rect l="l" t="t" r="r" b="b"/>
                <a:pathLst>
                  <a:path w="9150" h="2571">
                    <a:moveTo>
                      <a:pt x="9151" y="257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50" name="Vrije vorm: vorm 6149">
                <a:extLst>
                  <a:ext uri="{FF2B5EF4-FFF2-40B4-BE49-F238E27FC236}">
                    <a16:creationId xmlns:a16="http://schemas.microsoft.com/office/drawing/2014/main" id="{681D90B7-E56B-45C1-B68A-19C34664F22A}"/>
                  </a:ext>
                </a:extLst>
              </p:cNvPr>
              <p:cNvSpPr/>
              <p:nvPr/>
            </p:nvSpPr>
            <p:spPr>
              <a:xfrm>
                <a:off x="7755102" y="2758947"/>
                <a:ext cx="7236" cy="119"/>
              </a:xfrm>
              <a:custGeom>
                <a:avLst/>
                <a:gdLst>
                  <a:gd name="connsiteX0" fmla="*/ 0 w 7236"/>
                  <a:gd name="connsiteY0" fmla="*/ 120 h 119"/>
                  <a:gd name="connsiteX1" fmla="*/ 7236 w 7236"/>
                  <a:gd name="connsiteY1" fmla="*/ 0 h 119"/>
                </a:gdLst>
                <a:ahLst/>
                <a:cxnLst>
                  <a:cxn ang="0">
                    <a:pos x="connsiteX0" y="connsiteY0"/>
                  </a:cxn>
                  <a:cxn ang="0">
                    <a:pos x="connsiteX1" y="connsiteY1"/>
                  </a:cxn>
                </a:cxnLst>
                <a:rect l="l" t="t" r="r" b="b"/>
                <a:pathLst>
                  <a:path w="7236" h="119">
                    <a:moveTo>
                      <a:pt x="0" y="120"/>
                    </a:moveTo>
                    <a:lnTo>
                      <a:pt x="7236" y="0"/>
                    </a:lnTo>
                  </a:path>
                </a:pathLst>
              </a:custGeom>
              <a:ln w="6350" cap="rnd">
                <a:solidFill>
                  <a:schemeClr val="bg1">
                    <a:alpha val="80000"/>
                  </a:schemeClr>
                </a:solidFill>
                <a:prstDash val="solid"/>
                <a:round/>
              </a:ln>
            </p:spPr>
            <p:txBody>
              <a:bodyPr rtlCol="0" anchor="ctr"/>
              <a:lstStyle/>
              <a:p>
                <a:endParaRPr lang="en-GB"/>
              </a:p>
            </p:txBody>
          </p:sp>
          <p:sp>
            <p:nvSpPr>
              <p:cNvPr id="6151" name="Vrije vorm: vorm 6150">
                <a:extLst>
                  <a:ext uri="{FF2B5EF4-FFF2-40B4-BE49-F238E27FC236}">
                    <a16:creationId xmlns:a16="http://schemas.microsoft.com/office/drawing/2014/main" id="{4A71B470-3A34-4B8C-8026-DDED44F23DA9}"/>
                  </a:ext>
                </a:extLst>
              </p:cNvPr>
              <p:cNvSpPr/>
              <p:nvPr/>
            </p:nvSpPr>
            <p:spPr>
              <a:xfrm>
                <a:off x="7644040" y="2643758"/>
                <a:ext cx="3349" cy="7834"/>
              </a:xfrm>
              <a:custGeom>
                <a:avLst/>
                <a:gdLst>
                  <a:gd name="connsiteX0" fmla="*/ 0 w 3349"/>
                  <a:gd name="connsiteY0" fmla="*/ 7835 h 7834"/>
                  <a:gd name="connsiteX1" fmla="*/ 3349 w 3349"/>
                  <a:gd name="connsiteY1" fmla="*/ 0 h 7834"/>
                </a:gdLst>
                <a:ahLst/>
                <a:cxnLst>
                  <a:cxn ang="0">
                    <a:pos x="connsiteX0" y="connsiteY0"/>
                  </a:cxn>
                  <a:cxn ang="0">
                    <a:pos x="connsiteX1" y="connsiteY1"/>
                  </a:cxn>
                </a:cxnLst>
                <a:rect l="l" t="t" r="r" b="b"/>
                <a:pathLst>
                  <a:path w="3349" h="7834">
                    <a:moveTo>
                      <a:pt x="0" y="7835"/>
                    </a:moveTo>
                    <a:lnTo>
                      <a:pt x="3349" y="0"/>
                    </a:lnTo>
                  </a:path>
                </a:pathLst>
              </a:custGeom>
              <a:ln w="6350" cap="rnd">
                <a:solidFill>
                  <a:schemeClr val="bg1">
                    <a:alpha val="80000"/>
                  </a:schemeClr>
                </a:solidFill>
                <a:prstDash val="solid"/>
                <a:round/>
              </a:ln>
            </p:spPr>
            <p:txBody>
              <a:bodyPr rtlCol="0" anchor="ctr"/>
              <a:lstStyle/>
              <a:p>
                <a:endParaRPr lang="en-GB"/>
              </a:p>
            </p:txBody>
          </p:sp>
          <p:sp>
            <p:nvSpPr>
              <p:cNvPr id="6152" name="Vrije vorm: vorm 6151">
                <a:extLst>
                  <a:ext uri="{FF2B5EF4-FFF2-40B4-BE49-F238E27FC236}">
                    <a16:creationId xmlns:a16="http://schemas.microsoft.com/office/drawing/2014/main" id="{48F70551-84A5-46C3-9A98-2AEF2D0A7758}"/>
                  </a:ext>
                </a:extLst>
              </p:cNvPr>
              <p:cNvSpPr/>
              <p:nvPr/>
            </p:nvSpPr>
            <p:spPr>
              <a:xfrm>
                <a:off x="7644040" y="2651593"/>
                <a:ext cx="12260" cy="15968"/>
              </a:xfrm>
              <a:custGeom>
                <a:avLst/>
                <a:gdLst>
                  <a:gd name="connsiteX0" fmla="*/ 0 w 12260"/>
                  <a:gd name="connsiteY0" fmla="*/ 0 h 15968"/>
                  <a:gd name="connsiteX1" fmla="*/ 12260 w 12260"/>
                  <a:gd name="connsiteY1" fmla="*/ 15969 h 15968"/>
                </a:gdLst>
                <a:ahLst/>
                <a:cxnLst>
                  <a:cxn ang="0">
                    <a:pos x="connsiteX0" y="connsiteY0"/>
                  </a:cxn>
                  <a:cxn ang="0">
                    <a:pos x="connsiteX1" y="connsiteY1"/>
                  </a:cxn>
                </a:cxnLst>
                <a:rect l="l" t="t" r="r" b="b"/>
                <a:pathLst>
                  <a:path w="12260" h="15968">
                    <a:moveTo>
                      <a:pt x="0" y="0"/>
                    </a:moveTo>
                    <a:lnTo>
                      <a:pt x="12260" y="15969"/>
                    </a:lnTo>
                  </a:path>
                </a:pathLst>
              </a:custGeom>
              <a:ln w="6350" cap="rnd">
                <a:solidFill>
                  <a:schemeClr val="bg1">
                    <a:alpha val="80000"/>
                  </a:schemeClr>
                </a:solidFill>
                <a:prstDash val="solid"/>
                <a:round/>
              </a:ln>
            </p:spPr>
            <p:txBody>
              <a:bodyPr rtlCol="0" anchor="ctr"/>
              <a:lstStyle/>
              <a:p>
                <a:endParaRPr lang="en-GB"/>
              </a:p>
            </p:txBody>
          </p:sp>
          <p:sp>
            <p:nvSpPr>
              <p:cNvPr id="6153" name="Vrije vorm: vorm 6152">
                <a:extLst>
                  <a:ext uri="{FF2B5EF4-FFF2-40B4-BE49-F238E27FC236}">
                    <a16:creationId xmlns:a16="http://schemas.microsoft.com/office/drawing/2014/main" id="{D5E803BC-3038-459F-AEE3-13EE64EBA69A}"/>
                  </a:ext>
                </a:extLst>
              </p:cNvPr>
              <p:cNvSpPr/>
              <p:nvPr/>
            </p:nvSpPr>
            <p:spPr>
              <a:xfrm>
                <a:off x="7634830" y="2651593"/>
                <a:ext cx="9210" cy="17045"/>
              </a:xfrm>
              <a:custGeom>
                <a:avLst/>
                <a:gdLst>
                  <a:gd name="connsiteX0" fmla="*/ 9211 w 9210"/>
                  <a:gd name="connsiteY0" fmla="*/ 0 h 17045"/>
                  <a:gd name="connsiteX1" fmla="*/ 0 w 9210"/>
                  <a:gd name="connsiteY1" fmla="*/ 17045 h 17045"/>
                </a:gdLst>
                <a:ahLst/>
                <a:cxnLst>
                  <a:cxn ang="0">
                    <a:pos x="connsiteX0" y="connsiteY0"/>
                  </a:cxn>
                  <a:cxn ang="0">
                    <a:pos x="connsiteX1" y="connsiteY1"/>
                  </a:cxn>
                </a:cxnLst>
                <a:rect l="l" t="t" r="r" b="b"/>
                <a:pathLst>
                  <a:path w="9210" h="17045">
                    <a:moveTo>
                      <a:pt x="9211" y="0"/>
                    </a:moveTo>
                    <a:lnTo>
                      <a:pt x="0" y="17045"/>
                    </a:lnTo>
                  </a:path>
                </a:pathLst>
              </a:custGeom>
              <a:ln w="6350" cap="rnd">
                <a:solidFill>
                  <a:schemeClr val="bg1">
                    <a:alpha val="80000"/>
                  </a:schemeClr>
                </a:solidFill>
                <a:prstDash val="solid"/>
                <a:round/>
              </a:ln>
            </p:spPr>
            <p:txBody>
              <a:bodyPr rtlCol="0" anchor="ctr"/>
              <a:lstStyle/>
              <a:p>
                <a:endParaRPr lang="en-GB"/>
              </a:p>
            </p:txBody>
          </p:sp>
          <p:sp>
            <p:nvSpPr>
              <p:cNvPr id="6154" name="Vrije vorm: vorm 6153">
                <a:extLst>
                  <a:ext uri="{FF2B5EF4-FFF2-40B4-BE49-F238E27FC236}">
                    <a16:creationId xmlns:a16="http://schemas.microsoft.com/office/drawing/2014/main" id="{C5BE4182-609E-4790-A620-4F83BBC6E5A7}"/>
                  </a:ext>
                </a:extLst>
              </p:cNvPr>
              <p:cNvSpPr/>
              <p:nvPr/>
            </p:nvSpPr>
            <p:spPr>
              <a:xfrm>
                <a:off x="7659052" y="2796685"/>
                <a:ext cx="18839" cy="6518"/>
              </a:xfrm>
              <a:custGeom>
                <a:avLst/>
                <a:gdLst>
                  <a:gd name="connsiteX0" fmla="*/ 0 w 18839"/>
                  <a:gd name="connsiteY0" fmla="*/ 6519 h 6518"/>
                  <a:gd name="connsiteX1" fmla="*/ 18839 w 18839"/>
                  <a:gd name="connsiteY1" fmla="*/ 0 h 6518"/>
                </a:gdLst>
                <a:ahLst/>
                <a:cxnLst>
                  <a:cxn ang="0">
                    <a:pos x="connsiteX0" y="connsiteY0"/>
                  </a:cxn>
                  <a:cxn ang="0">
                    <a:pos x="connsiteX1" y="connsiteY1"/>
                  </a:cxn>
                </a:cxnLst>
                <a:rect l="l" t="t" r="r" b="b"/>
                <a:pathLst>
                  <a:path w="18839" h="6518">
                    <a:moveTo>
                      <a:pt x="0" y="6519"/>
                    </a:moveTo>
                    <a:lnTo>
                      <a:pt x="18839" y="0"/>
                    </a:lnTo>
                  </a:path>
                </a:pathLst>
              </a:custGeom>
              <a:ln w="6350" cap="rnd">
                <a:solidFill>
                  <a:schemeClr val="bg1">
                    <a:alpha val="80000"/>
                  </a:schemeClr>
                </a:solidFill>
                <a:prstDash val="solid"/>
                <a:round/>
              </a:ln>
            </p:spPr>
            <p:txBody>
              <a:bodyPr rtlCol="0" anchor="ctr"/>
              <a:lstStyle/>
              <a:p>
                <a:endParaRPr lang="en-GB"/>
              </a:p>
            </p:txBody>
          </p:sp>
          <p:sp>
            <p:nvSpPr>
              <p:cNvPr id="6155" name="Vrije vorm: vorm 6154">
                <a:extLst>
                  <a:ext uri="{FF2B5EF4-FFF2-40B4-BE49-F238E27FC236}">
                    <a16:creationId xmlns:a16="http://schemas.microsoft.com/office/drawing/2014/main" id="{2830ED4B-C41D-47FC-8FA2-9C2B51973AB8}"/>
                  </a:ext>
                </a:extLst>
              </p:cNvPr>
              <p:cNvSpPr/>
              <p:nvPr/>
            </p:nvSpPr>
            <p:spPr>
              <a:xfrm>
                <a:off x="7648705" y="2756734"/>
                <a:ext cx="657" cy="20573"/>
              </a:xfrm>
              <a:custGeom>
                <a:avLst/>
                <a:gdLst>
                  <a:gd name="connsiteX0" fmla="*/ 0 w 657"/>
                  <a:gd name="connsiteY0" fmla="*/ 20574 h 20573"/>
                  <a:gd name="connsiteX1" fmla="*/ 658 w 657"/>
                  <a:gd name="connsiteY1" fmla="*/ 0 h 20573"/>
                </a:gdLst>
                <a:ahLst/>
                <a:cxnLst>
                  <a:cxn ang="0">
                    <a:pos x="connsiteX0" y="connsiteY0"/>
                  </a:cxn>
                  <a:cxn ang="0">
                    <a:pos x="connsiteX1" y="connsiteY1"/>
                  </a:cxn>
                </a:cxnLst>
                <a:rect l="l" t="t" r="r" b="b"/>
                <a:pathLst>
                  <a:path w="657" h="20573">
                    <a:moveTo>
                      <a:pt x="0" y="20574"/>
                    </a:moveTo>
                    <a:lnTo>
                      <a:pt x="658" y="0"/>
                    </a:lnTo>
                  </a:path>
                </a:pathLst>
              </a:custGeom>
              <a:ln w="6350" cap="rnd">
                <a:solidFill>
                  <a:schemeClr val="bg1">
                    <a:alpha val="80000"/>
                  </a:schemeClr>
                </a:solidFill>
                <a:prstDash val="solid"/>
                <a:round/>
              </a:ln>
            </p:spPr>
            <p:txBody>
              <a:bodyPr rtlCol="0" anchor="ctr"/>
              <a:lstStyle/>
              <a:p>
                <a:endParaRPr lang="en-GB"/>
              </a:p>
            </p:txBody>
          </p:sp>
          <p:sp>
            <p:nvSpPr>
              <p:cNvPr id="6156" name="Vrije vorm: vorm 6155">
                <a:extLst>
                  <a:ext uri="{FF2B5EF4-FFF2-40B4-BE49-F238E27FC236}">
                    <a16:creationId xmlns:a16="http://schemas.microsoft.com/office/drawing/2014/main" id="{AB9ECC10-AAE8-4CFE-93C5-88E990903B64}"/>
                  </a:ext>
                </a:extLst>
              </p:cNvPr>
              <p:cNvSpPr/>
              <p:nvPr/>
            </p:nvSpPr>
            <p:spPr>
              <a:xfrm>
                <a:off x="7648705" y="2777308"/>
                <a:ext cx="23205" cy="4963"/>
              </a:xfrm>
              <a:custGeom>
                <a:avLst/>
                <a:gdLst>
                  <a:gd name="connsiteX0" fmla="*/ 0 w 23205"/>
                  <a:gd name="connsiteY0" fmla="*/ 0 h 4963"/>
                  <a:gd name="connsiteX1" fmla="*/ 23205 w 23205"/>
                  <a:gd name="connsiteY1" fmla="*/ 4964 h 4963"/>
                </a:gdLst>
                <a:ahLst/>
                <a:cxnLst>
                  <a:cxn ang="0">
                    <a:pos x="connsiteX0" y="connsiteY0"/>
                  </a:cxn>
                  <a:cxn ang="0">
                    <a:pos x="connsiteX1" y="connsiteY1"/>
                  </a:cxn>
                </a:cxnLst>
                <a:rect l="l" t="t" r="r" b="b"/>
                <a:pathLst>
                  <a:path w="23205" h="4963">
                    <a:moveTo>
                      <a:pt x="0" y="0"/>
                    </a:moveTo>
                    <a:lnTo>
                      <a:pt x="23205" y="4964"/>
                    </a:lnTo>
                  </a:path>
                </a:pathLst>
              </a:custGeom>
              <a:ln w="6350" cap="rnd">
                <a:solidFill>
                  <a:schemeClr val="bg1">
                    <a:alpha val="80000"/>
                  </a:schemeClr>
                </a:solidFill>
                <a:prstDash val="solid"/>
                <a:round/>
              </a:ln>
            </p:spPr>
            <p:txBody>
              <a:bodyPr rtlCol="0" anchor="ctr"/>
              <a:lstStyle/>
              <a:p>
                <a:endParaRPr lang="en-GB"/>
              </a:p>
            </p:txBody>
          </p:sp>
          <p:sp>
            <p:nvSpPr>
              <p:cNvPr id="6157" name="Vrije vorm: vorm 6156">
                <a:extLst>
                  <a:ext uri="{FF2B5EF4-FFF2-40B4-BE49-F238E27FC236}">
                    <a16:creationId xmlns:a16="http://schemas.microsoft.com/office/drawing/2014/main" id="{3116E0B0-5CF0-420C-B725-23C8B930CEF5}"/>
                  </a:ext>
                </a:extLst>
              </p:cNvPr>
              <p:cNvSpPr/>
              <p:nvPr/>
            </p:nvSpPr>
            <p:spPr>
              <a:xfrm>
                <a:off x="7508756" y="2719534"/>
                <a:ext cx="7954" cy="1375"/>
              </a:xfrm>
              <a:custGeom>
                <a:avLst/>
                <a:gdLst>
                  <a:gd name="connsiteX0" fmla="*/ 0 w 7954"/>
                  <a:gd name="connsiteY0" fmla="*/ 1375 h 1375"/>
                  <a:gd name="connsiteX1" fmla="*/ 7954 w 7954"/>
                  <a:gd name="connsiteY1" fmla="*/ 0 h 1375"/>
                </a:gdLst>
                <a:ahLst/>
                <a:cxnLst>
                  <a:cxn ang="0">
                    <a:pos x="connsiteX0" y="connsiteY0"/>
                  </a:cxn>
                  <a:cxn ang="0">
                    <a:pos x="connsiteX1" y="connsiteY1"/>
                  </a:cxn>
                </a:cxnLst>
                <a:rect l="l" t="t" r="r" b="b"/>
                <a:pathLst>
                  <a:path w="7954" h="1375">
                    <a:moveTo>
                      <a:pt x="0" y="1375"/>
                    </a:moveTo>
                    <a:lnTo>
                      <a:pt x="7954" y="0"/>
                    </a:lnTo>
                  </a:path>
                </a:pathLst>
              </a:custGeom>
              <a:ln w="6350" cap="rnd">
                <a:solidFill>
                  <a:schemeClr val="bg1">
                    <a:alpha val="80000"/>
                  </a:schemeClr>
                </a:solidFill>
                <a:prstDash val="solid"/>
                <a:round/>
              </a:ln>
            </p:spPr>
            <p:txBody>
              <a:bodyPr rtlCol="0" anchor="ctr"/>
              <a:lstStyle/>
              <a:p>
                <a:endParaRPr lang="en-GB"/>
              </a:p>
            </p:txBody>
          </p:sp>
          <p:sp>
            <p:nvSpPr>
              <p:cNvPr id="6158" name="Vrije vorm: vorm 6157">
                <a:extLst>
                  <a:ext uri="{FF2B5EF4-FFF2-40B4-BE49-F238E27FC236}">
                    <a16:creationId xmlns:a16="http://schemas.microsoft.com/office/drawing/2014/main" id="{D4839AA6-DD62-4D2D-B51C-3B724B99CCC2}"/>
                  </a:ext>
                </a:extLst>
              </p:cNvPr>
              <p:cNvSpPr/>
              <p:nvPr/>
            </p:nvSpPr>
            <p:spPr>
              <a:xfrm>
                <a:off x="7508756" y="2705958"/>
                <a:ext cx="19078" cy="14951"/>
              </a:xfrm>
              <a:custGeom>
                <a:avLst/>
                <a:gdLst>
                  <a:gd name="connsiteX0" fmla="*/ 0 w 19078"/>
                  <a:gd name="connsiteY0" fmla="*/ 14952 h 14951"/>
                  <a:gd name="connsiteX1" fmla="*/ 19078 w 19078"/>
                  <a:gd name="connsiteY1" fmla="*/ 0 h 14951"/>
                </a:gdLst>
                <a:ahLst/>
                <a:cxnLst>
                  <a:cxn ang="0">
                    <a:pos x="connsiteX0" y="connsiteY0"/>
                  </a:cxn>
                  <a:cxn ang="0">
                    <a:pos x="connsiteX1" y="connsiteY1"/>
                  </a:cxn>
                </a:cxnLst>
                <a:rect l="l" t="t" r="r" b="b"/>
                <a:pathLst>
                  <a:path w="19078" h="14951">
                    <a:moveTo>
                      <a:pt x="0" y="14952"/>
                    </a:moveTo>
                    <a:lnTo>
                      <a:pt x="19078" y="0"/>
                    </a:lnTo>
                  </a:path>
                </a:pathLst>
              </a:custGeom>
              <a:ln w="6350" cap="rnd">
                <a:solidFill>
                  <a:schemeClr val="bg1">
                    <a:alpha val="80000"/>
                  </a:schemeClr>
                </a:solidFill>
                <a:prstDash val="solid"/>
                <a:round/>
              </a:ln>
            </p:spPr>
            <p:txBody>
              <a:bodyPr rtlCol="0" anchor="ctr"/>
              <a:lstStyle/>
              <a:p>
                <a:endParaRPr lang="en-GB"/>
              </a:p>
            </p:txBody>
          </p:sp>
          <p:sp>
            <p:nvSpPr>
              <p:cNvPr id="6159" name="Vrije vorm: vorm 6158">
                <a:extLst>
                  <a:ext uri="{FF2B5EF4-FFF2-40B4-BE49-F238E27FC236}">
                    <a16:creationId xmlns:a16="http://schemas.microsoft.com/office/drawing/2014/main" id="{25639E0B-5300-4A03-B273-D75A225E3CE3}"/>
                  </a:ext>
                </a:extLst>
              </p:cNvPr>
              <p:cNvSpPr/>
              <p:nvPr/>
            </p:nvSpPr>
            <p:spPr>
              <a:xfrm>
                <a:off x="7600560" y="2821864"/>
                <a:ext cx="18839" cy="17284"/>
              </a:xfrm>
              <a:custGeom>
                <a:avLst/>
                <a:gdLst>
                  <a:gd name="connsiteX0" fmla="*/ 18840 w 18839"/>
                  <a:gd name="connsiteY0" fmla="*/ 0 h 17284"/>
                  <a:gd name="connsiteX1" fmla="*/ 0 w 18839"/>
                  <a:gd name="connsiteY1" fmla="*/ 17284 h 17284"/>
                </a:gdLst>
                <a:ahLst/>
                <a:cxnLst>
                  <a:cxn ang="0">
                    <a:pos x="connsiteX0" y="connsiteY0"/>
                  </a:cxn>
                  <a:cxn ang="0">
                    <a:pos x="connsiteX1" y="connsiteY1"/>
                  </a:cxn>
                </a:cxnLst>
                <a:rect l="l" t="t" r="r" b="b"/>
                <a:pathLst>
                  <a:path w="18839" h="17284">
                    <a:moveTo>
                      <a:pt x="18840" y="0"/>
                    </a:moveTo>
                    <a:lnTo>
                      <a:pt x="0" y="17284"/>
                    </a:lnTo>
                  </a:path>
                </a:pathLst>
              </a:custGeom>
              <a:ln w="6350" cap="rnd">
                <a:solidFill>
                  <a:schemeClr val="bg1">
                    <a:alpha val="80000"/>
                  </a:schemeClr>
                </a:solidFill>
                <a:prstDash val="solid"/>
                <a:round/>
              </a:ln>
            </p:spPr>
            <p:txBody>
              <a:bodyPr rtlCol="0" anchor="ctr"/>
              <a:lstStyle/>
              <a:p>
                <a:endParaRPr lang="en-GB"/>
              </a:p>
            </p:txBody>
          </p:sp>
          <p:sp>
            <p:nvSpPr>
              <p:cNvPr id="6160" name="Vrije vorm: vorm 6159">
                <a:extLst>
                  <a:ext uri="{FF2B5EF4-FFF2-40B4-BE49-F238E27FC236}">
                    <a16:creationId xmlns:a16="http://schemas.microsoft.com/office/drawing/2014/main" id="{A87A390B-5275-421C-9D1D-7391A3B01777}"/>
                  </a:ext>
                </a:extLst>
              </p:cNvPr>
              <p:cNvSpPr/>
              <p:nvPr/>
            </p:nvSpPr>
            <p:spPr>
              <a:xfrm>
                <a:off x="7619400" y="2803204"/>
                <a:ext cx="39652" cy="18659"/>
              </a:xfrm>
              <a:custGeom>
                <a:avLst/>
                <a:gdLst>
                  <a:gd name="connsiteX0" fmla="*/ 0 w 39652"/>
                  <a:gd name="connsiteY0" fmla="*/ 18660 h 18659"/>
                  <a:gd name="connsiteX1" fmla="*/ 39652 w 39652"/>
                  <a:gd name="connsiteY1" fmla="*/ 0 h 18659"/>
                </a:gdLst>
                <a:ahLst/>
                <a:cxnLst>
                  <a:cxn ang="0">
                    <a:pos x="connsiteX0" y="connsiteY0"/>
                  </a:cxn>
                  <a:cxn ang="0">
                    <a:pos x="connsiteX1" y="connsiteY1"/>
                  </a:cxn>
                </a:cxnLst>
                <a:rect l="l" t="t" r="r" b="b"/>
                <a:pathLst>
                  <a:path w="39652" h="18659">
                    <a:moveTo>
                      <a:pt x="0" y="18660"/>
                    </a:moveTo>
                    <a:lnTo>
                      <a:pt x="39652" y="0"/>
                    </a:lnTo>
                  </a:path>
                </a:pathLst>
              </a:custGeom>
              <a:ln w="6350" cap="rnd">
                <a:solidFill>
                  <a:schemeClr val="bg1">
                    <a:alpha val="80000"/>
                  </a:schemeClr>
                </a:solidFill>
                <a:prstDash val="solid"/>
                <a:round/>
              </a:ln>
            </p:spPr>
            <p:txBody>
              <a:bodyPr rtlCol="0" anchor="ctr"/>
              <a:lstStyle/>
              <a:p>
                <a:endParaRPr lang="en-GB"/>
              </a:p>
            </p:txBody>
          </p:sp>
          <p:sp>
            <p:nvSpPr>
              <p:cNvPr id="6161" name="Vrije vorm: vorm 6160">
                <a:extLst>
                  <a:ext uri="{FF2B5EF4-FFF2-40B4-BE49-F238E27FC236}">
                    <a16:creationId xmlns:a16="http://schemas.microsoft.com/office/drawing/2014/main" id="{30D57161-7D93-4D10-A346-CC11F53701C8}"/>
                  </a:ext>
                </a:extLst>
              </p:cNvPr>
              <p:cNvSpPr/>
              <p:nvPr/>
            </p:nvSpPr>
            <p:spPr>
              <a:xfrm>
                <a:off x="7553372" y="2699319"/>
                <a:ext cx="10466" cy="3827"/>
              </a:xfrm>
              <a:custGeom>
                <a:avLst/>
                <a:gdLst>
                  <a:gd name="connsiteX0" fmla="*/ 0 w 10466"/>
                  <a:gd name="connsiteY0" fmla="*/ 3828 h 3827"/>
                  <a:gd name="connsiteX1" fmla="*/ 10466 w 10466"/>
                  <a:gd name="connsiteY1" fmla="*/ 0 h 3827"/>
                </a:gdLst>
                <a:ahLst/>
                <a:cxnLst>
                  <a:cxn ang="0">
                    <a:pos x="connsiteX0" y="connsiteY0"/>
                  </a:cxn>
                  <a:cxn ang="0">
                    <a:pos x="connsiteX1" y="connsiteY1"/>
                  </a:cxn>
                </a:cxnLst>
                <a:rect l="l" t="t" r="r" b="b"/>
                <a:pathLst>
                  <a:path w="10466" h="3827">
                    <a:moveTo>
                      <a:pt x="0" y="3828"/>
                    </a:moveTo>
                    <a:lnTo>
                      <a:pt x="10466" y="0"/>
                    </a:lnTo>
                  </a:path>
                </a:pathLst>
              </a:custGeom>
              <a:ln w="6350" cap="rnd">
                <a:solidFill>
                  <a:schemeClr val="bg1">
                    <a:alpha val="80000"/>
                  </a:schemeClr>
                </a:solidFill>
                <a:prstDash val="solid"/>
                <a:round/>
              </a:ln>
            </p:spPr>
            <p:txBody>
              <a:bodyPr rtlCol="0" anchor="ctr"/>
              <a:lstStyle/>
              <a:p>
                <a:endParaRPr lang="en-GB"/>
              </a:p>
            </p:txBody>
          </p:sp>
          <p:sp>
            <p:nvSpPr>
              <p:cNvPr id="6162" name="Vrije vorm: vorm 6161">
                <a:extLst>
                  <a:ext uri="{FF2B5EF4-FFF2-40B4-BE49-F238E27FC236}">
                    <a16:creationId xmlns:a16="http://schemas.microsoft.com/office/drawing/2014/main" id="{B739E8FB-4C35-482C-846E-F892C514565F}"/>
                  </a:ext>
                </a:extLst>
              </p:cNvPr>
              <p:cNvSpPr/>
              <p:nvPr/>
            </p:nvSpPr>
            <p:spPr>
              <a:xfrm>
                <a:off x="7538301" y="2703147"/>
                <a:ext cx="15071" cy="3827"/>
              </a:xfrm>
              <a:custGeom>
                <a:avLst/>
                <a:gdLst>
                  <a:gd name="connsiteX0" fmla="*/ 15071 w 15071"/>
                  <a:gd name="connsiteY0" fmla="*/ 0 h 3827"/>
                  <a:gd name="connsiteX1" fmla="*/ 0 w 15071"/>
                  <a:gd name="connsiteY1" fmla="*/ 3828 h 3827"/>
                </a:gdLst>
                <a:ahLst/>
                <a:cxnLst>
                  <a:cxn ang="0">
                    <a:pos x="connsiteX0" y="connsiteY0"/>
                  </a:cxn>
                  <a:cxn ang="0">
                    <a:pos x="connsiteX1" y="connsiteY1"/>
                  </a:cxn>
                </a:cxnLst>
                <a:rect l="l" t="t" r="r" b="b"/>
                <a:pathLst>
                  <a:path w="15071" h="3827">
                    <a:moveTo>
                      <a:pt x="15071" y="0"/>
                    </a:moveTo>
                    <a:lnTo>
                      <a:pt x="0" y="3828"/>
                    </a:lnTo>
                  </a:path>
                </a:pathLst>
              </a:custGeom>
              <a:ln w="6350" cap="rnd">
                <a:solidFill>
                  <a:schemeClr val="bg1">
                    <a:alpha val="80000"/>
                  </a:schemeClr>
                </a:solidFill>
                <a:prstDash val="solid"/>
                <a:round/>
              </a:ln>
            </p:spPr>
            <p:txBody>
              <a:bodyPr rtlCol="0" anchor="ctr"/>
              <a:lstStyle/>
              <a:p>
                <a:endParaRPr lang="en-GB"/>
              </a:p>
            </p:txBody>
          </p:sp>
          <p:sp>
            <p:nvSpPr>
              <p:cNvPr id="6163" name="Vrije vorm: vorm 6162">
                <a:extLst>
                  <a:ext uri="{FF2B5EF4-FFF2-40B4-BE49-F238E27FC236}">
                    <a16:creationId xmlns:a16="http://schemas.microsoft.com/office/drawing/2014/main" id="{FF277A82-036B-4BE8-A4C8-A849F19256E5}"/>
                  </a:ext>
                </a:extLst>
              </p:cNvPr>
              <p:cNvSpPr/>
              <p:nvPr/>
            </p:nvSpPr>
            <p:spPr>
              <a:xfrm>
                <a:off x="7669279" y="2722584"/>
                <a:ext cx="26434" cy="239"/>
              </a:xfrm>
              <a:custGeom>
                <a:avLst/>
                <a:gdLst>
                  <a:gd name="connsiteX0" fmla="*/ 0 w 26434"/>
                  <a:gd name="connsiteY0" fmla="*/ 239 h 239"/>
                  <a:gd name="connsiteX1" fmla="*/ 26435 w 26434"/>
                  <a:gd name="connsiteY1" fmla="*/ 0 h 239"/>
                </a:gdLst>
                <a:ahLst/>
                <a:cxnLst>
                  <a:cxn ang="0">
                    <a:pos x="connsiteX0" y="connsiteY0"/>
                  </a:cxn>
                  <a:cxn ang="0">
                    <a:pos x="connsiteX1" y="connsiteY1"/>
                  </a:cxn>
                </a:cxnLst>
                <a:rect l="l" t="t" r="r" b="b"/>
                <a:pathLst>
                  <a:path w="26434" h="239">
                    <a:moveTo>
                      <a:pt x="0" y="239"/>
                    </a:moveTo>
                    <a:lnTo>
                      <a:pt x="26435" y="0"/>
                    </a:lnTo>
                  </a:path>
                </a:pathLst>
              </a:custGeom>
              <a:ln w="6350" cap="rnd">
                <a:solidFill>
                  <a:schemeClr val="bg1">
                    <a:alpha val="80000"/>
                  </a:schemeClr>
                </a:solidFill>
                <a:prstDash val="solid"/>
                <a:round/>
              </a:ln>
            </p:spPr>
            <p:txBody>
              <a:bodyPr rtlCol="0" anchor="ctr"/>
              <a:lstStyle/>
              <a:p>
                <a:endParaRPr lang="en-GB"/>
              </a:p>
            </p:txBody>
          </p:sp>
          <p:sp>
            <p:nvSpPr>
              <p:cNvPr id="6164" name="Vrije vorm: vorm 6163">
                <a:extLst>
                  <a:ext uri="{FF2B5EF4-FFF2-40B4-BE49-F238E27FC236}">
                    <a16:creationId xmlns:a16="http://schemas.microsoft.com/office/drawing/2014/main" id="{EDDB8DB2-D558-47B7-95E6-713F404DBC34}"/>
                  </a:ext>
                </a:extLst>
              </p:cNvPr>
              <p:cNvSpPr/>
              <p:nvPr/>
            </p:nvSpPr>
            <p:spPr>
              <a:xfrm>
                <a:off x="7659112" y="2690527"/>
                <a:ext cx="10167" cy="32295"/>
              </a:xfrm>
              <a:custGeom>
                <a:avLst/>
                <a:gdLst>
                  <a:gd name="connsiteX0" fmla="*/ 10167 w 10167"/>
                  <a:gd name="connsiteY0" fmla="*/ 32296 h 32295"/>
                  <a:gd name="connsiteX1" fmla="*/ 0 w 10167"/>
                  <a:gd name="connsiteY1" fmla="*/ 0 h 32295"/>
                </a:gdLst>
                <a:ahLst/>
                <a:cxnLst>
                  <a:cxn ang="0">
                    <a:pos x="connsiteX0" y="connsiteY0"/>
                  </a:cxn>
                  <a:cxn ang="0">
                    <a:pos x="connsiteX1" y="connsiteY1"/>
                  </a:cxn>
                </a:cxnLst>
                <a:rect l="l" t="t" r="r" b="b"/>
                <a:pathLst>
                  <a:path w="10167" h="32295">
                    <a:moveTo>
                      <a:pt x="10167" y="3229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65" name="Vrije vorm: vorm 6164">
                <a:extLst>
                  <a:ext uri="{FF2B5EF4-FFF2-40B4-BE49-F238E27FC236}">
                    <a16:creationId xmlns:a16="http://schemas.microsoft.com/office/drawing/2014/main" id="{11980927-352D-4C64-90D6-1E31DE151759}"/>
                  </a:ext>
                </a:extLst>
              </p:cNvPr>
              <p:cNvSpPr/>
              <p:nvPr/>
            </p:nvSpPr>
            <p:spPr>
              <a:xfrm>
                <a:off x="7655164" y="2717201"/>
                <a:ext cx="14114" cy="5621"/>
              </a:xfrm>
              <a:custGeom>
                <a:avLst/>
                <a:gdLst>
                  <a:gd name="connsiteX0" fmla="*/ 14115 w 14114"/>
                  <a:gd name="connsiteY0" fmla="*/ 5622 h 5621"/>
                  <a:gd name="connsiteX1" fmla="*/ 0 w 14114"/>
                  <a:gd name="connsiteY1" fmla="*/ 0 h 5621"/>
                </a:gdLst>
                <a:ahLst/>
                <a:cxnLst>
                  <a:cxn ang="0">
                    <a:pos x="connsiteX0" y="connsiteY0"/>
                  </a:cxn>
                  <a:cxn ang="0">
                    <a:pos x="connsiteX1" y="connsiteY1"/>
                  </a:cxn>
                </a:cxnLst>
                <a:rect l="l" t="t" r="r" b="b"/>
                <a:pathLst>
                  <a:path w="14114" h="5621">
                    <a:moveTo>
                      <a:pt x="14115" y="562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66" name="Vrije vorm: vorm 6165">
                <a:extLst>
                  <a:ext uri="{FF2B5EF4-FFF2-40B4-BE49-F238E27FC236}">
                    <a16:creationId xmlns:a16="http://schemas.microsoft.com/office/drawing/2014/main" id="{76941411-D21B-4E74-B60C-CFABA0EBA77C}"/>
                  </a:ext>
                </a:extLst>
              </p:cNvPr>
              <p:cNvSpPr/>
              <p:nvPr/>
            </p:nvSpPr>
            <p:spPr>
              <a:xfrm>
                <a:off x="7669279" y="2722823"/>
                <a:ext cx="9748" cy="12380"/>
              </a:xfrm>
              <a:custGeom>
                <a:avLst/>
                <a:gdLst>
                  <a:gd name="connsiteX0" fmla="*/ 0 w 9748"/>
                  <a:gd name="connsiteY0" fmla="*/ 0 h 12380"/>
                  <a:gd name="connsiteX1" fmla="*/ 9749 w 9748"/>
                  <a:gd name="connsiteY1" fmla="*/ 12380 h 12380"/>
                </a:gdLst>
                <a:ahLst/>
                <a:cxnLst>
                  <a:cxn ang="0">
                    <a:pos x="connsiteX0" y="connsiteY0"/>
                  </a:cxn>
                  <a:cxn ang="0">
                    <a:pos x="connsiteX1" y="connsiteY1"/>
                  </a:cxn>
                </a:cxnLst>
                <a:rect l="l" t="t" r="r" b="b"/>
                <a:pathLst>
                  <a:path w="9748" h="12380">
                    <a:moveTo>
                      <a:pt x="0" y="0"/>
                    </a:moveTo>
                    <a:lnTo>
                      <a:pt x="9749" y="12380"/>
                    </a:lnTo>
                  </a:path>
                </a:pathLst>
              </a:custGeom>
              <a:ln w="6350" cap="rnd">
                <a:solidFill>
                  <a:schemeClr val="bg1">
                    <a:alpha val="80000"/>
                  </a:schemeClr>
                </a:solidFill>
                <a:prstDash val="solid"/>
                <a:round/>
              </a:ln>
            </p:spPr>
            <p:txBody>
              <a:bodyPr rtlCol="0" anchor="ctr"/>
              <a:lstStyle/>
              <a:p>
                <a:endParaRPr lang="en-GB"/>
              </a:p>
            </p:txBody>
          </p:sp>
          <p:sp>
            <p:nvSpPr>
              <p:cNvPr id="6167" name="Vrije vorm: vorm 6166">
                <a:extLst>
                  <a:ext uri="{FF2B5EF4-FFF2-40B4-BE49-F238E27FC236}">
                    <a16:creationId xmlns:a16="http://schemas.microsoft.com/office/drawing/2014/main" id="{81D0D224-2168-4B86-B393-747975428450}"/>
                  </a:ext>
                </a:extLst>
              </p:cNvPr>
              <p:cNvSpPr/>
              <p:nvPr/>
            </p:nvSpPr>
            <p:spPr>
              <a:xfrm>
                <a:off x="7599065" y="2639990"/>
                <a:ext cx="17523" cy="9688"/>
              </a:xfrm>
              <a:custGeom>
                <a:avLst/>
                <a:gdLst>
                  <a:gd name="connsiteX0" fmla="*/ 17523 w 17523"/>
                  <a:gd name="connsiteY0" fmla="*/ 0 h 9688"/>
                  <a:gd name="connsiteX1" fmla="*/ 0 w 17523"/>
                  <a:gd name="connsiteY1" fmla="*/ 9689 h 9688"/>
                </a:gdLst>
                <a:ahLst/>
                <a:cxnLst>
                  <a:cxn ang="0">
                    <a:pos x="connsiteX0" y="connsiteY0"/>
                  </a:cxn>
                  <a:cxn ang="0">
                    <a:pos x="connsiteX1" y="connsiteY1"/>
                  </a:cxn>
                </a:cxnLst>
                <a:rect l="l" t="t" r="r" b="b"/>
                <a:pathLst>
                  <a:path w="17523" h="9688">
                    <a:moveTo>
                      <a:pt x="17523" y="0"/>
                    </a:moveTo>
                    <a:lnTo>
                      <a:pt x="0" y="9689"/>
                    </a:lnTo>
                  </a:path>
                </a:pathLst>
              </a:custGeom>
              <a:ln w="6350" cap="rnd">
                <a:solidFill>
                  <a:schemeClr val="bg1">
                    <a:alpha val="80000"/>
                  </a:schemeClr>
                </a:solidFill>
                <a:prstDash val="solid"/>
                <a:round/>
              </a:ln>
            </p:spPr>
            <p:txBody>
              <a:bodyPr rtlCol="0" anchor="ctr"/>
              <a:lstStyle/>
              <a:p>
                <a:endParaRPr lang="en-GB"/>
              </a:p>
            </p:txBody>
          </p:sp>
          <p:sp>
            <p:nvSpPr>
              <p:cNvPr id="6168" name="Vrije vorm: vorm 6167">
                <a:extLst>
                  <a:ext uri="{FF2B5EF4-FFF2-40B4-BE49-F238E27FC236}">
                    <a16:creationId xmlns:a16="http://schemas.microsoft.com/office/drawing/2014/main" id="{83A73133-765F-498B-945E-CF880578A223}"/>
                  </a:ext>
                </a:extLst>
              </p:cNvPr>
              <p:cNvSpPr/>
              <p:nvPr/>
            </p:nvSpPr>
            <p:spPr>
              <a:xfrm>
                <a:off x="7616589" y="2634428"/>
                <a:ext cx="13337" cy="5562"/>
              </a:xfrm>
              <a:custGeom>
                <a:avLst/>
                <a:gdLst>
                  <a:gd name="connsiteX0" fmla="*/ 0 w 13337"/>
                  <a:gd name="connsiteY0" fmla="*/ 5562 h 5562"/>
                  <a:gd name="connsiteX1" fmla="*/ 13337 w 13337"/>
                  <a:gd name="connsiteY1" fmla="*/ 0 h 5562"/>
                </a:gdLst>
                <a:ahLst/>
                <a:cxnLst>
                  <a:cxn ang="0">
                    <a:pos x="connsiteX0" y="connsiteY0"/>
                  </a:cxn>
                  <a:cxn ang="0">
                    <a:pos x="connsiteX1" y="connsiteY1"/>
                  </a:cxn>
                </a:cxnLst>
                <a:rect l="l" t="t" r="r" b="b"/>
                <a:pathLst>
                  <a:path w="13337" h="5562">
                    <a:moveTo>
                      <a:pt x="0" y="5562"/>
                    </a:moveTo>
                    <a:lnTo>
                      <a:pt x="13337" y="0"/>
                    </a:lnTo>
                  </a:path>
                </a:pathLst>
              </a:custGeom>
              <a:ln w="6350" cap="rnd">
                <a:solidFill>
                  <a:schemeClr val="bg1">
                    <a:alpha val="80000"/>
                  </a:schemeClr>
                </a:solidFill>
                <a:prstDash val="solid"/>
                <a:round/>
              </a:ln>
            </p:spPr>
            <p:txBody>
              <a:bodyPr rtlCol="0" anchor="ctr"/>
              <a:lstStyle/>
              <a:p>
                <a:endParaRPr lang="en-GB"/>
              </a:p>
            </p:txBody>
          </p:sp>
          <p:sp>
            <p:nvSpPr>
              <p:cNvPr id="6169" name="Vrije vorm: vorm 6168">
                <a:extLst>
                  <a:ext uri="{FF2B5EF4-FFF2-40B4-BE49-F238E27FC236}">
                    <a16:creationId xmlns:a16="http://schemas.microsoft.com/office/drawing/2014/main" id="{8E1494F3-2B99-4154-998F-E5784D796095}"/>
                  </a:ext>
                </a:extLst>
              </p:cNvPr>
              <p:cNvSpPr/>
              <p:nvPr/>
            </p:nvSpPr>
            <p:spPr>
              <a:xfrm>
                <a:off x="7607558" y="2639273"/>
                <a:ext cx="9030" cy="717"/>
              </a:xfrm>
              <a:custGeom>
                <a:avLst/>
                <a:gdLst>
                  <a:gd name="connsiteX0" fmla="*/ 9031 w 9030"/>
                  <a:gd name="connsiteY0" fmla="*/ 718 h 717"/>
                  <a:gd name="connsiteX1" fmla="*/ 0 w 9030"/>
                  <a:gd name="connsiteY1" fmla="*/ 0 h 717"/>
                </a:gdLst>
                <a:ahLst/>
                <a:cxnLst>
                  <a:cxn ang="0">
                    <a:pos x="connsiteX0" y="connsiteY0"/>
                  </a:cxn>
                  <a:cxn ang="0">
                    <a:pos x="connsiteX1" y="connsiteY1"/>
                  </a:cxn>
                </a:cxnLst>
                <a:rect l="l" t="t" r="r" b="b"/>
                <a:pathLst>
                  <a:path w="9030" h="717">
                    <a:moveTo>
                      <a:pt x="9031" y="71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70" name="Vrije vorm: vorm 6169">
                <a:extLst>
                  <a:ext uri="{FF2B5EF4-FFF2-40B4-BE49-F238E27FC236}">
                    <a16:creationId xmlns:a16="http://schemas.microsoft.com/office/drawing/2014/main" id="{1AEE5A58-FBDE-4EAE-BDCB-93210B464A4F}"/>
                  </a:ext>
                </a:extLst>
              </p:cNvPr>
              <p:cNvSpPr/>
              <p:nvPr/>
            </p:nvSpPr>
            <p:spPr>
              <a:xfrm>
                <a:off x="7634890" y="2643758"/>
                <a:ext cx="12499" cy="3708"/>
              </a:xfrm>
              <a:custGeom>
                <a:avLst/>
                <a:gdLst>
                  <a:gd name="connsiteX0" fmla="*/ 0 w 12499"/>
                  <a:gd name="connsiteY0" fmla="*/ 3708 h 3708"/>
                  <a:gd name="connsiteX1" fmla="*/ 12500 w 12499"/>
                  <a:gd name="connsiteY1" fmla="*/ 0 h 3708"/>
                </a:gdLst>
                <a:ahLst/>
                <a:cxnLst>
                  <a:cxn ang="0">
                    <a:pos x="connsiteX0" y="connsiteY0"/>
                  </a:cxn>
                  <a:cxn ang="0">
                    <a:pos x="connsiteX1" y="connsiteY1"/>
                  </a:cxn>
                </a:cxnLst>
                <a:rect l="l" t="t" r="r" b="b"/>
                <a:pathLst>
                  <a:path w="12499" h="3708">
                    <a:moveTo>
                      <a:pt x="0" y="3708"/>
                    </a:moveTo>
                    <a:lnTo>
                      <a:pt x="12500" y="0"/>
                    </a:lnTo>
                  </a:path>
                </a:pathLst>
              </a:custGeom>
              <a:ln w="6350" cap="rnd">
                <a:solidFill>
                  <a:schemeClr val="bg1">
                    <a:alpha val="80000"/>
                  </a:schemeClr>
                </a:solidFill>
                <a:prstDash val="solid"/>
                <a:round/>
              </a:ln>
            </p:spPr>
            <p:txBody>
              <a:bodyPr rtlCol="0" anchor="ctr"/>
              <a:lstStyle/>
              <a:p>
                <a:endParaRPr lang="en-GB"/>
              </a:p>
            </p:txBody>
          </p:sp>
          <p:sp>
            <p:nvSpPr>
              <p:cNvPr id="6171" name="Vrije vorm: vorm 6170">
                <a:extLst>
                  <a:ext uri="{FF2B5EF4-FFF2-40B4-BE49-F238E27FC236}">
                    <a16:creationId xmlns:a16="http://schemas.microsoft.com/office/drawing/2014/main" id="{15A70C9D-083E-40DE-B022-793D5C2444D6}"/>
                  </a:ext>
                </a:extLst>
              </p:cNvPr>
              <p:cNvSpPr/>
              <p:nvPr/>
            </p:nvSpPr>
            <p:spPr>
              <a:xfrm>
                <a:off x="7599065" y="2647466"/>
                <a:ext cx="35824" cy="2212"/>
              </a:xfrm>
              <a:custGeom>
                <a:avLst/>
                <a:gdLst>
                  <a:gd name="connsiteX0" fmla="*/ 35825 w 35824"/>
                  <a:gd name="connsiteY0" fmla="*/ 0 h 2212"/>
                  <a:gd name="connsiteX1" fmla="*/ 0 w 35824"/>
                  <a:gd name="connsiteY1" fmla="*/ 2213 h 2212"/>
                </a:gdLst>
                <a:ahLst/>
                <a:cxnLst>
                  <a:cxn ang="0">
                    <a:pos x="connsiteX0" y="connsiteY0"/>
                  </a:cxn>
                  <a:cxn ang="0">
                    <a:pos x="connsiteX1" y="connsiteY1"/>
                  </a:cxn>
                </a:cxnLst>
                <a:rect l="l" t="t" r="r" b="b"/>
                <a:pathLst>
                  <a:path w="35824" h="2212">
                    <a:moveTo>
                      <a:pt x="35825" y="0"/>
                    </a:moveTo>
                    <a:lnTo>
                      <a:pt x="0" y="2213"/>
                    </a:lnTo>
                  </a:path>
                </a:pathLst>
              </a:custGeom>
              <a:ln w="6350" cap="rnd">
                <a:solidFill>
                  <a:schemeClr val="bg1">
                    <a:alpha val="80000"/>
                  </a:schemeClr>
                </a:solidFill>
                <a:prstDash val="solid"/>
                <a:round/>
              </a:ln>
            </p:spPr>
            <p:txBody>
              <a:bodyPr rtlCol="0" anchor="ctr"/>
              <a:lstStyle/>
              <a:p>
                <a:endParaRPr lang="en-GB"/>
              </a:p>
            </p:txBody>
          </p:sp>
          <p:sp>
            <p:nvSpPr>
              <p:cNvPr id="6172" name="Vrije vorm: vorm 6171">
                <a:extLst>
                  <a:ext uri="{FF2B5EF4-FFF2-40B4-BE49-F238E27FC236}">
                    <a16:creationId xmlns:a16="http://schemas.microsoft.com/office/drawing/2014/main" id="{AC493109-BC52-46BE-A6D8-8732681D8CAA}"/>
                  </a:ext>
                </a:extLst>
              </p:cNvPr>
              <p:cNvSpPr/>
              <p:nvPr/>
            </p:nvSpPr>
            <p:spPr>
              <a:xfrm>
                <a:off x="7629926" y="2634428"/>
                <a:ext cx="4963" cy="13037"/>
              </a:xfrm>
              <a:custGeom>
                <a:avLst/>
                <a:gdLst>
                  <a:gd name="connsiteX0" fmla="*/ 4964 w 4963"/>
                  <a:gd name="connsiteY0" fmla="*/ 13038 h 13037"/>
                  <a:gd name="connsiteX1" fmla="*/ 0 w 4963"/>
                  <a:gd name="connsiteY1" fmla="*/ 0 h 13037"/>
                </a:gdLst>
                <a:ahLst/>
                <a:cxnLst>
                  <a:cxn ang="0">
                    <a:pos x="connsiteX0" y="connsiteY0"/>
                  </a:cxn>
                  <a:cxn ang="0">
                    <a:pos x="connsiteX1" y="connsiteY1"/>
                  </a:cxn>
                </a:cxnLst>
                <a:rect l="l" t="t" r="r" b="b"/>
                <a:pathLst>
                  <a:path w="4963" h="13037">
                    <a:moveTo>
                      <a:pt x="4964" y="1303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73" name="Vrije vorm: vorm 6172">
                <a:extLst>
                  <a:ext uri="{FF2B5EF4-FFF2-40B4-BE49-F238E27FC236}">
                    <a16:creationId xmlns:a16="http://schemas.microsoft.com/office/drawing/2014/main" id="{87BC07E5-3E4C-4CA1-B1BC-F3AF192F7D64}"/>
                  </a:ext>
                </a:extLst>
              </p:cNvPr>
              <p:cNvSpPr/>
              <p:nvPr/>
            </p:nvSpPr>
            <p:spPr>
              <a:xfrm>
                <a:off x="7604807" y="2647466"/>
                <a:ext cx="30083" cy="11841"/>
              </a:xfrm>
              <a:custGeom>
                <a:avLst/>
                <a:gdLst>
                  <a:gd name="connsiteX0" fmla="*/ 30083 w 30083"/>
                  <a:gd name="connsiteY0" fmla="*/ 0 h 11841"/>
                  <a:gd name="connsiteX1" fmla="*/ 0 w 30083"/>
                  <a:gd name="connsiteY1" fmla="*/ 11842 h 11841"/>
                </a:gdLst>
                <a:ahLst/>
                <a:cxnLst>
                  <a:cxn ang="0">
                    <a:pos x="connsiteX0" y="connsiteY0"/>
                  </a:cxn>
                  <a:cxn ang="0">
                    <a:pos x="connsiteX1" y="connsiteY1"/>
                  </a:cxn>
                </a:cxnLst>
                <a:rect l="l" t="t" r="r" b="b"/>
                <a:pathLst>
                  <a:path w="30083" h="11841">
                    <a:moveTo>
                      <a:pt x="30083" y="0"/>
                    </a:moveTo>
                    <a:lnTo>
                      <a:pt x="0" y="11842"/>
                    </a:lnTo>
                  </a:path>
                </a:pathLst>
              </a:custGeom>
              <a:ln w="6350" cap="rnd">
                <a:solidFill>
                  <a:schemeClr val="bg1">
                    <a:alpha val="80000"/>
                  </a:schemeClr>
                </a:solidFill>
                <a:prstDash val="solid"/>
                <a:round/>
              </a:ln>
            </p:spPr>
            <p:txBody>
              <a:bodyPr rtlCol="0" anchor="ctr"/>
              <a:lstStyle/>
              <a:p>
                <a:endParaRPr lang="en-GB"/>
              </a:p>
            </p:txBody>
          </p:sp>
          <p:sp>
            <p:nvSpPr>
              <p:cNvPr id="6174" name="Vrije vorm: vorm 6173">
                <a:extLst>
                  <a:ext uri="{FF2B5EF4-FFF2-40B4-BE49-F238E27FC236}">
                    <a16:creationId xmlns:a16="http://schemas.microsoft.com/office/drawing/2014/main" id="{19CAF4E6-94C4-4C76-9B66-0D5F1311FF9A}"/>
                  </a:ext>
                </a:extLst>
              </p:cNvPr>
              <p:cNvSpPr/>
              <p:nvPr/>
            </p:nvSpPr>
            <p:spPr>
              <a:xfrm>
                <a:off x="7634890" y="2647466"/>
                <a:ext cx="9150" cy="4126"/>
              </a:xfrm>
              <a:custGeom>
                <a:avLst/>
                <a:gdLst>
                  <a:gd name="connsiteX0" fmla="*/ 0 w 9150"/>
                  <a:gd name="connsiteY0" fmla="*/ 0 h 4126"/>
                  <a:gd name="connsiteX1" fmla="*/ 9151 w 9150"/>
                  <a:gd name="connsiteY1" fmla="*/ 4127 h 4126"/>
                </a:gdLst>
                <a:ahLst/>
                <a:cxnLst>
                  <a:cxn ang="0">
                    <a:pos x="connsiteX0" y="connsiteY0"/>
                  </a:cxn>
                  <a:cxn ang="0">
                    <a:pos x="connsiteX1" y="connsiteY1"/>
                  </a:cxn>
                </a:cxnLst>
                <a:rect l="l" t="t" r="r" b="b"/>
                <a:pathLst>
                  <a:path w="9150" h="4126">
                    <a:moveTo>
                      <a:pt x="0" y="0"/>
                    </a:moveTo>
                    <a:lnTo>
                      <a:pt x="9151" y="4127"/>
                    </a:lnTo>
                  </a:path>
                </a:pathLst>
              </a:custGeom>
              <a:ln w="6350" cap="rnd">
                <a:solidFill>
                  <a:schemeClr val="bg1">
                    <a:alpha val="80000"/>
                  </a:schemeClr>
                </a:solidFill>
                <a:prstDash val="solid"/>
                <a:round/>
              </a:ln>
            </p:spPr>
            <p:txBody>
              <a:bodyPr rtlCol="0" anchor="ctr"/>
              <a:lstStyle/>
              <a:p>
                <a:endParaRPr lang="en-GB"/>
              </a:p>
            </p:txBody>
          </p:sp>
          <p:sp>
            <p:nvSpPr>
              <p:cNvPr id="6175" name="Vrije vorm: vorm 6174">
                <a:extLst>
                  <a:ext uri="{FF2B5EF4-FFF2-40B4-BE49-F238E27FC236}">
                    <a16:creationId xmlns:a16="http://schemas.microsoft.com/office/drawing/2014/main" id="{EE6BCD7B-77FE-4CB0-BEF0-22E24F8AAC94}"/>
                  </a:ext>
                </a:extLst>
              </p:cNvPr>
              <p:cNvSpPr/>
              <p:nvPr/>
            </p:nvSpPr>
            <p:spPr>
              <a:xfrm>
                <a:off x="7616589" y="2639990"/>
                <a:ext cx="18301" cy="7475"/>
              </a:xfrm>
              <a:custGeom>
                <a:avLst/>
                <a:gdLst>
                  <a:gd name="connsiteX0" fmla="*/ 18301 w 18301"/>
                  <a:gd name="connsiteY0" fmla="*/ 7476 h 7475"/>
                  <a:gd name="connsiteX1" fmla="*/ 0 w 18301"/>
                  <a:gd name="connsiteY1" fmla="*/ 0 h 7475"/>
                </a:gdLst>
                <a:ahLst/>
                <a:cxnLst>
                  <a:cxn ang="0">
                    <a:pos x="connsiteX0" y="connsiteY0"/>
                  </a:cxn>
                  <a:cxn ang="0">
                    <a:pos x="connsiteX1" y="connsiteY1"/>
                  </a:cxn>
                </a:cxnLst>
                <a:rect l="l" t="t" r="r" b="b"/>
                <a:pathLst>
                  <a:path w="18301" h="7475">
                    <a:moveTo>
                      <a:pt x="18301" y="747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76" name="Vrije vorm: vorm 6175">
                <a:extLst>
                  <a:ext uri="{FF2B5EF4-FFF2-40B4-BE49-F238E27FC236}">
                    <a16:creationId xmlns:a16="http://schemas.microsoft.com/office/drawing/2014/main" id="{ADA46D1F-6E0B-42BF-9F9D-44793EC773CB}"/>
                  </a:ext>
                </a:extLst>
              </p:cNvPr>
              <p:cNvSpPr/>
              <p:nvPr/>
            </p:nvSpPr>
            <p:spPr>
              <a:xfrm>
                <a:off x="7610249" y="2809185"/>
                <a:ext cx="3289" cy="11961"/>
              </a:xfrm>
              <a:custGeom>
                <a:avLst/>
                <a:gdLst>
                  <a:gd name="connsiteX0" fmla="*/ 0 w 3289"/>
                  <a:gd name="connsiteY0" fmla="*/ 11961 h 11961"/>
                  <a:gd name="connsiteX1" fmla="*/ 3290 w 3289"/>
                  <a:gd name="connsiteY1" fmla="*/ 0 h 11961"/>
                </a:gdLst>
                <a:ahLst/>
                <a:cxnLst>
                  <a:cxn ang="0">
                    <a:pos x="connsiteX0" y="connsiteY0"/>
                  </a:cxn>
                  <a:cxn ang="0">
                    <a:pos x="connsiteX1" y="connsiteY1"/>
                  </a:cxn>
                </a:cxnLst>
                <a:rect l="l" t="t" r="r" b="b"/>
                <a:pathLst>
                  <a:path w="3289" h="11961">
                    <a:moveTo>
                      <a:pt x="0" y="11961"/>
                    </a:moveTo>
                    <a:lnTo>
                      <a:pt x="3290" y="0"/>
                    </a:lnTo>
                  </a:path>
                </a:pathLst>
              </a:custGeom>
              <a:ln w="6350" cap="rnd">
                <a:solidFill>
                  <a:schemeClr val="bg1">
                    <a:alpha val="80000"/>
                  </a:schemeClr>
                </a:solidFill>
                <a:prstDash val="solid"/>
                <a:round/>
              </a:ln>
            </p:spPr>
            <p:txBody>
              <a:bodyPr rtlCol="0" anchor="ctr"/>
              <a:lstStyle/>
              <a:p>
                <a:endParaRPr lang="en-GB"/>
              </a:p>
            </p:txBody>
          </p:sp>
          <p:sp>
            <p:nvSpPr>
              <p:cNvPr id="6177" name="Vrije vorm: vorm 6176">
                <a:extLst>
                  <a:ext uri="{FF2B5EF4-FFF2-40B4-BE49-F238E27FC236}">
                    <a16:creationId xmlns:a16="http://schemas.microsoft.com/office/drawing/2014/main" id="{54625AED-61F6-4D09-A450-809374948709}"/>
                  </a:ext>
                </a:extLst>
              </p:cNvPr>
              <p:cNvSpPr/>
              <p:nvPr/>
            </p:nvSpPr>
            <p:spPr>
              <a:xfrm>
                <a:off x="7594879" y="2821146"/>
                <a:ext cx="15370" cy="16028"/>
              </a:xfrm>
              <a:custGeom>
                <a:avLst/>
                <a:gdLst>
                  <a:gd name="connsiteX0" fmla="*/ 15371 w 15370"/>
                  <a:gd name="connsiteY0" fmla="*/ 0 h 16028"/>
                  <a:gd name="connsiteX1" fmla="*/ 0 w 15370"/>
                  <a:gd name="connsiteY1" fmla="*/ 16028 h 16028"/>
                </a:gdLst>
                <a:ahLst/>
                <a:cxnLst>
                  <a:cxn ang="0">
                    <a:pos x="connsiteX0" y="connsiteY0"/>
                  </a:cxn>
                  <a:cxn ang="0">
                    <a:pos x="connsiteX1" y="connsiteY1"/>
                  </a:cxn>
                </a:cxnLst>
                <a:rect l="l" t="t" r="r" b="b"/>
                <a:pathLst>
                  <a:path w="15370" h="16028">
                    <a:moveTo>
                      <a:pt x="15371" y="0"/>
                    </a:moveTo>
                    <a:lnTo>
                      <a:pt x="0" y="16028"/>
                    </a:lnTo>
                  </a:path>
                </a:pathLst>
              </a:custGeom>
              <a:ln w="6350" cap="rnd">
                <a:solidFill>
                  <a:schemeClr val="bg1">
                    <a:alpha val="80000"/>
                  </a:schemeClr>
                </a:solidFill>
                <a:prstDash val="solid"/>
                <a:round/>
              </a:ln>
            </p:spPr>
            <p:txBody>
              <a:bodyPr rtlCol="0" anchor="ctr"/>
              <a:lstStyle/>
              <a:p>
                <a:endParaRPr lang="en-GB"/>
              </a:p>
            </p:txBody>
          </p:sp>
          <p:sp>
            <p:nvSpPr>
              <p:cNvPr id="6178" name="Vrije vorm: vorm 6177">
                <a:extLst>
                  <a:ext uri="{FF2B5EF4-FFF2-40B4-BE49-F238E27FC236}">
                    <a16:creationId xmlns:a16="http://schemas.microsoft.com/office/drawing/2014/main" id="{C8381139-6DC4-4CBD-934F-0EC0CB219823}"/>
                  </a:ext>
                </a:extLst>
              </p:cNvPr>
              <p:cNvSpPr/>
              <p:nvPr/>
            </p:nvSpPr>
            <p:spPr>
              <a:xfrm>
                <a:off x="7659112" y="2681138"/>
                <a:ext cx="17523" cy="9389"/>
              </a:xfrm>
              <a:custGeom>
                <a:avLst/>
                <a:gdLst>
                  <a:gd name="connsiteX0" fmla="*/ 17523 w 17523"/>
                  <a:gd name="connsiteY0" fmla="*/ 0 h 9389"/>
                  <a:gd name="connsiteX1" fmla="*/ 0 w 17523"/>
                  <a:gd name="connsiteY1" fmla="*/ 9390 h 9389"/>
                </a:gdLst>
                <a:ahLst/>
                <a:cxnLst>
                  <a:cxn ang="0">
                    <a:pos x="connsiteX0" y="connsiteY0"/>
                  </a:cxn>
                  <a:cxn ang="0">
                    <a:pos x="connsiteX1" y="connsiteY1"/>
                  </a:cxn>
                </a:cxnLst>
                <a:rect l="l" t="t" r="r" b="b"/>
                <a:pathLst>
                  <a:path w="17523" h="9389">
                    <a:moveTo>
                      <a:pt x="17523" y="0"/>
                    </a:moveTo>
                    <a:lnTo>
                      <a:pt x="0" y="9390"/>
                    </a:lnTo>
                  </a:path>
                </a:pathLst>
              </a:custGeom>
              <a:ln w="6350" cap="rnd">
                <a:solidFill>
                  <a:schemeClr val="bg1">
                    <a:alpha val="80000"/>
                  </a:schemeClr>
                </a:solidFill>
                <a:prstDash val="solid"/>
                <a:round/>
              </a:ln>
            </p:spPr>
            <p:txBody>
              <a:bodyPr rtlCol="0" anchor="ctr"/>
              <a:lstStyle/>
              <a:p>
                <a:endParaRPr lang="en-GB"/>
              </a:p>
            </p:txBody>
          </p:sp>
          <p:sp>
            <p:nvSpPr>
              <p:cNvPr id="6179" name="Vrije vorm: vorm 6178">
                <a:extLst>
                  <a:ext uri="{FF2B5EF4-FFF2-40B4-BE49-F238E27FC236}">
                    <a16:creationId xmlns:a16="http://schemas.microsoft.com/office/drawing/2014/main" id="{CBEC9ECF-C8C1-425A-8648-A24A98A2EAED}"/>
                  </a:ext>
                </a:extLst>
              </p:cNvPr>
              <p:cNvSpPr/>
              <p:nvPr/>
            </p:nvSpPr>
            <p:spPr>
              <a:xfrm>
                <a:off x="7642724" y="2676293"/>
                <a:ext cx="33910" cy="4844"/>
              </a:xfrm>
              <a:custGeom>
                <a:avLst/>
                <a:gdLst>
                  <a:gd name="connsiteX0" fmla="*/ 33911 w 33910"/>
                  <a:gd name="connsiteY0" fmla="*/ 4844 h 4844"/>
                  <a:gd name="connsiteX1" fmla="*/ 0 w 33910"/>
                  <a:gd name="connsiteY1" fmla="*/ 0 h 4844"/>
                </a:gdLst>
                <a:ahLst/>
                <a:cxnLst>
                  <a:cxn ang="0">
                    <a:pos x="connsiteX0" y="connsiteY0"/>
                  </a:cxn>
                  <a:cxn ang="0">
                    <a:pos x="connsiteX1" y="connsiteY1"/>
                  </a:cxn>
                </a:cxnLst>
                <a:rect l="l" t="t" r="r" b="b"/>
                <a:pathLst>
                  <a:path w="33910" h="4844">
                    <a:moveTo>
                      <a:pt x="33911" y="484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80" name="Vrije vorm: vorm 6179">
                <a:extLst>
                  <a:ext uri="{FF2B5EF4-FFF2-40B4-BE49-F238E27FC236}">
                    <a16:creationId xmlns:a16="http://schemas.microsoft.com/office/drawing/2014/main" id="{9A0503F1-AC21-4BAB-B31B-172F73A9CE1B}"/>
                  </a:ext>
                </a:extLst>
              </p:cNvPr>
              <p:cNvSpPr/>
              <p:nvPr/>
            </p:nvSpPr>
            <p:spPr>
              <a:xfrm>
                <a:off x="7656301" y="2667561"/>
                <a:ext cx="20334" cy="13576"/>
              </a:xfrm>
              <a:custGeom>
                <a:avLst/>
                <a:gdLst>
                  <a:gd name="connsiteX0" fmla="*/ 20334 w 20334"/>
                  <a:gd name="connsiteY0" fmla="*/ 13576 h 13576"/>
                  <a:gd name="connsiteX1" fmla="*/ 0 w 20334"/>
                  <a:gd name="connsiteY1" fmla="*/ 0 h 13576"/>
                </a:gdLst>
                <a:ahLst/>
                <a:cxnLst>
                  <a:cxn ang="0">
                    <a:pos x="connsiteX0" y="connsiteY0"/>
                  </a:cxn>
                  <a:cxn ang="0">
                    <a:pos x="connsiteX1" y="connsiteY1"/>
                  </a:cxn>
                </a:cxnLst>
                <a:rect l="l" t="t" r="r" b="b"/>
                <a:pathLst>
                  <a:path w="20334" h="13576">
                    <a:moveTo>
                      <a:pt x="20334" y="13576"/>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81" name="Vrije vorm: vorm 6180">
                <a:extLst>
                  <a:ext uri="{FF2B5EF4-FFF2-40B4-BE49-F238E27FC236}">
                    <a16:creationId xmlns:a16="http://schemas.microsoft.com/office/drawing/2014/main" id="{1277F573-FD52-46CC-871E-1684A282271D}"/>
                  </a:ext>
                </a:extLst>
              </p:cNvPr>
              <p:cNvSpPr/>
              <p:nvPr/>
            </p:nvSpPr>
            <p:spPr>
              <a:xfrm>
                <a:off x="7676635" y="2681138"/>
                <a:ext cx="4066" cy="13277"/>
              </a:xfrm>
              <a:custGeom>
                <a:avLst/>
                <a:gdLst>
                  <a:gd name="connsiteX0" fmla="*/ 0 w 4066"/>
                  <a:gd name="connsiteY0" fmla="*/ 0 h 13277"/>
                  <a:gd name="connsiteX1" fmla="*/ 4067 w 4066"/>
                  <a:gd name="connsiteY1" fmla="*/ 13277 h 13277"/>
                </a:gdLst>
                <a:ahLst/>
                <a:cxnLst>
                  <a:cxn ang="0">
                    <a:pos x="connsiteX0" y="connsiteY0"/>
                  </a:cxn>
                  <a:cxn ang="0">
                    <a:pos x="connsiteX1" y="connsiteY1"/>
                  </a:cxn>
                </a:cxnLst>
                <a:rect l="l" t="t" r="r" b="b"/>
                <a:pathLst>
                  <a:path w="4066" h="13277">
                    <a:moveTo>
                      <a:pt x="0" y="0"/>
                    </a:moveTo>
                    <a:lnTo>
                      <a:pt x="4067" y="13277"/>
                    </a:lnTo>
                  </a:path>
                </a:pathLst>
              </a:custGeom>
              <a:ln w="6350" cap="rnd">
                <a:solidFill>
                  <a:schemeClr val="bg1">
                    <a:alpha val="80000"/>
                  </a:schemeClr>
                </a:solidFill>
                <a:prstDash val="solid"/>
                <a:round/>
              </a:ln>
            </p:spPr>
            <p:txBody>
              <a:bodyPr rtlCol="0" anchor="ctr"/>
              <a:lstStyle/>
              <a:p>
                <a:endParaRPr lang="en-GB"/>
              </a:p>
            </p:txBody>
          </p:sp>
          <p:sp>
            <p:nvSpPr>
              <p:cNvPr id="6182" name="Vrije vorm: vorm 6181">
                <a:extLst>
                  <a:ext uri="{FF2B5EF4-FFF2-40B4-BE49-F238E27FC236}">
                    <a16:creationId xmlns:a16="http://schemas.microsoft.com/office/drawing/2014/main" id="{10EE1247-9F0D-4286-86EE-27DBE854E32A}"/>
                  </a:ext>
                </a:extLst>
              </p:cNvPr>
              <p:cNvSpPr/>
              <p:nvPr/>
            </p:nvSpPr>
            <p:spPr>
              <a:xfrm>
                <a:off x="7613538" y="2809185"/>
                <a:ext cx="9270" cy="5920"/>
              </a:xfrm>
              <a:custGeom>
                <a:avLst/>
                <a:gdLst>
                  <a:gd name="connsiteX0" fmla="*/ 9270 w 9270"/>
                  <a:gd name="connsiteY0" fmla="*/ 5921 h 5920"/>
                  <a:gd name="connsiteX1" fmla="*/ 0 w 9270"/>
                  <a:gd name="connsiteY1" fmla="*/ 0 h 5920"/>
                </a:gdLst>
                <a:ahLst/>
                <a:cxnLst>
                  <a:cxn ang="0">
                    <a:pos x="connsiteX0" y="connsiteY0"/>
                  </a:cxn>
                  <a:cxn ang="0">
                    <a:pos x="connsiteX1" y="connsiteY1"/>
                  </a:cxn>
                </a:cxnLst>
                <a:rect l="l" t="t" r="r" b="b"/>
                <a:pathLst>
                  <a:path w="9270" h="5920">
                    <a:moveTo>
                      <a:pt x="9270" y="592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83" name="Vrije vorm: vorm 6182">
                <a:extLst>
                  <a:ext uri="{FF2B5EF4-FFF2-40B4-BE49-F238E27FC236}">
                    <a16:creationId xmlns:a16="http://schemas.microsoft.com/office/drawing/2014/main" id="{0612EF39-5E9D-4BE1-BAFB-7DB8BDAB7082}"/>
                  </a:ext>
                </a:extLst>
              </p:cNvPr>
              <p:cNvSpPr/>
              <p:nvPr/>
            </p:nvSpPr>
            <p:spPr>
              <a:xfrm>
                <a:off x="7622809" y="2803204"/>
                <a:ext cx="36243" cy="11901"/>
              </a:xfrm>
              <a:custGeom>
                <a:avLst/>
                <a:gdLst>
                  <a:gd name="connsiteX0" fmla="*/ 0 w 36243"/>
                  <a:gd name="connsiteY0" fmla="*/ 11902 h 11901"/>
                  <a:gd name="connsiteX1" fmla="*/ 36243 w 36243"/>
                  <a:gd name="connsiteY1" fmla="*/ 0 h 11901"/>
                </a:gdLst>
                <a:ahLst/>
                <a:cxnLst>
                  <a:cxn ang="0">
                    <a:pos x="connsiteX0" y="connsiteY0"/>
                  </a:cxn>
                  <a:cxn ang="0">
                    <a:pos x="connsiteX1" y="connsiteY1"/>
                  </a:cxn>
                </a:cxnLst>
                <a:rect l="l" t="t" r="r" b="b"/>
                <a:pathLst>
                  <a:path w="36243" h="11901">
                    <a:moveTo>
                      <a:pt x="0" y="11902"/>
                    </a:moveTo>
                    <a:lnTo>
                      <a:pt x="36243" y="0"/>
                    </a:lnTo>
                  </a:path>
                </a:pathLst>
              </a:custGeom>
              <a:ln w="6350" cap="rnd">
                <a:solidFill>
                  <a:schemeClr val="bg1">
                    <a:alpha val="80000"/>
                  </a:schemeClr>
                </a:solidFill>
                <a:prstDash val="solid"/>
                <a:round/>
              </a:ln>
            </p:spPr>
            <p:txBody>
              <a:bodyPr rtlCol="0" anchor="ctr"/>
              <a:lstStyle/>
              <a:p>
                <a:endParaRPr lang="en-GB"/>
              </a:p>
            </p:txBody>
          </p:sp>
          <p:sp>
            <p:nvSpPr>
              <p:cNvPr id="6184" name="Vrije vorm: vorm 6183">
                <a:extLst>
                  <a:ext uri="{FF2B5EF4-FFF2-40B4-BE49-F238E27FC236}">
                    <a16:creationId xmlns:a16="http://schemas.microsoft.com/office/drawing/2014/main" id="{A73A78E8-F2AD-4AC8-AE0B-99118F6AFDB1}"/>
                  </a:ext>
                </a:extLst>
              </p:cNvPr>
              <p:cNvSpPr/>
              <p:nvPr/>
            </p:nvSpPr>
            <p:spPr>
              <a:xfrm>
                <a:off x="7619400" y="2815106"/>
                <a:ext cx="3409" cy="6758"/>
              </a:xfrm>
              <a:custGeom>
                <a:avLst/>
                <a:gdLst>
                  <a:gd name="connsiteX0" fmla="*/ 3409 w 3409"/>
                  <a:gd name="connsiteY0" fmla="*/ 0 h 6758"/>
                  <a:gd name="connsiteX1" fmla="*/ 0 w 3409"/>
                  <a:gd name="connsiteY1" fmla="*/ 6758 h 6758"/>
                </a:gdLst>
                <a:ahLst/>
                <a:cxnLst>
                  <a:cxn ang="0">
                    <a:pos x="connsiteX0" y="connsiteY0"/>
                  </a:cxn>
                  <a:cxn ang="0">
                    <a:pos x="connsiteX1" y="connsiteY1"/>
                  </a:cxn>
                </a:cxnLst>
                <a:rect l="l" t="t" r="r" b="b"/>
                <a:pathLst>
                  <a:path w="3409" h="6758">
                    <a:moveTo>
                      <a:pt x="3409" y="0"/>
                    </a:moveTo>
                    <a:lnTo>
                      <a:pt x="0" y="6758"/>
                    </a:lnTo>
                  </a:path>
                </a:pathLst>
              </a:custGeom>
              <a:ln w="6350" cap="rnd">
                <a:solidFill>
                  <a:schemeClr val="bg1">
                    <a:alpha val="80000"/>
                  </a:schemeClr>
                </a:solidFill>
                <a:prstDash val="solid"/>
                <a:round/>
              </a:ln>
            </p:spPr>
            <p:txBody>
              <a:bodyPr rtlCol="0" anchor="ctr"/>
              <a:lstStyle/>
              <a:p>
                <a:endParaRPr lang="en-GB"/>
              </a:p>
            </p:txBody>
          </p:sp>
          <p:sp>
            <p:nvSpPr>
              <p:cNvPr id="6185" name="Vrije vorm: vorm 6184">
                <a:extLst>
                  <a:ext uri="{FF2B5EF4-FFF2-40B4-BE49-F238E27FC236}">
                    <a16:creationId xmlns:a16="http://schemas.microsoft.com/office/drawing/2014/main" id="{C81E80A2-3340-4E9D-AE47-60AC47DB4D97}"/>
                  </a:ext>
                </a:extLst>
              </p:cNvPr>
              <p:cNvSpPr/>
              <p:nvPr/>
            </p:nvSpPr>
            <p:spPr>
              <a:xfrm>
                <a:off x="7686742" y="2722584"/>
                <a:ext cx="8971" cy="27989"/>
              </a:xfrm>
              <a:custGeom>
                <a:avLst/>
                <a:gdLst>
                  <a:gd name="connsiteX0" fmla="*/ 0 w 8971"/>
                  <a:gd name="connsiteY0" fmla="*/ 27990 h 27989"/>
                  <a:gd name="connsiteX1" fmla="*/ 8971 w 8971"/>
                  <a:gd name="connsiteY1" fmla="*/ 0 h 27989"/>
                </a:gdLst>
                <a:ahLst/>
                <a:cxnLst>
                  <a:cxn ang="0">
                    <a:pos x="connsiteX0" y="connsiteY0"/>
                  </a:cxn>
                  <a:cxn ang="0">
                    <a:pos x="connsiteX1" y="connsiteY1"/>
                  </a:cxn>
                </a:cxnLst>
                <a:rect l="l" t="t" r="r" b="b"/>
                <a:pathLst>
                  <a:path w="8971" h="27989">
                    <a:moveTo>
                      <a:pt x="0" y="27990"/>
                    </a:moveTo>
                    <a:lnTo>
                      <a:pt x="8971" y="0"/>
                    </a:lnTo>
                  </a:path>
                </a:pathLst>
              </a:custGeom>
              <a:ln w="6350" cap="rnd">
                <a:solidFill>
                  <a:schemeClr val="bg1">
                    <a:alpha val="80000"/>
                  </a:schemeClr>
                </a:solidFill>
                <a:prstDash val="solid"/>
                <a:round/>
              </a:ln>
            </p:spPr>
            <p:txBody>
              <a:bodyPr rtlCol="0" anchor="ctr"/>
              <a:lstStyle/>
              <a:p>
                <a:endParaRPr lang="en-GB"/>
              </a:p>
            </p:txBody>
          </p:sp>
          <p:sp>
            <p:nvSpPr>
              <p:cNvPr id="6186" name="Vrije vorm: vorm 6185">
                <a:extLst>
                  <a:ext uri="{FF2B5EF4-FFF2-40B4-BE49-F238E27FC236}">
                    <a16:creationId xmlns:a16="http://schemas.microsoft.com/office/drawing/2014/main" id="{DF95914C-4992-4EA7-A290-38BF3488C7BC}"/>
                  </a:ext>
                </a:extLst>
              </p:cNvPr>
              <p:cNvSpPr/>
              <p:nvPr/>
            </p:nvSpPr>
            <p:spPr>
              <a:xfrm>
                <a:off x="7679027" y="2735203"/>
                <a:ext cx="7715" cy="15370"/>
              </a:xfrm>
              <a:custGeom>
                <a:avLst/>
                <a:gdLst>
                  <a:gd name="connsiteX0" fmla="*/ 7715 w 7715"/>
                  <a:gd name="connsiteY0" fmla="*/ 15371 h 15370"/>
                  <a:gd name="connsiteX1" fmla="*/ 0 w 7715"/>
                  <a:gd name="connsiteY1" fmla="*/ 0 h 15370"/>
                </a:gdLst>
                <a:ahLst/>
                <a:cxnLst>
                  <a:cxn ang="0">
                    <a:pos x="connsiteX0" y="connsiteY0"/>
                  </a:cxn>
                  <a:cxn ang="0">
                    <a:pos x="connsiteX1" y="connsiteY1"/>
                  </a:cxn>
                </a:cxnLst>
                <a:rect l="l" t="t" r="r" b="b"/>
                <a:pathLst>
                  <a:path w="7715" h="15370">
                    <a:moveTo>
                      <a:pt x="7715" y="1537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87" name="Vrije vorm: vorm 6186">
                <a:extLst>
                  <a:ext uri="{FF2B5EF4-FFF2-40B4-BE49-F238E27FC236}">
                    <a16:creationId xmlns:a16="http://schemas.microsoft.com/office/drawing/2014/main" id="{AB1DEC63-96C8-4805-BA10-FC8230D63B2D}"/>
                  </a:ext>
                </a:extLst>
              </p:cNvPr>
              <p:cNvSpPr/>
              <p:nvPr/>
            </p:nvSpPr>
            <p:spPr>
              <a:xfrm>
                <a:off x="7681539" y="2750574"/>
                <a:ext cx="5203" cy="20035"/>
              </a:xfrm>
              <a:custGeom>
                <a:avLst/>
                <a:gdLst>
                  <a:gd name="connsiteX0" fmla="*/ 5204 w 5203"/>
                  <a:gd name="connsiteY0" fmla="*/ 0 h 20035"/>
                  <a:gd name="connsiteX1" fmla="*/ 0 w 5203"/>
                  <a:gd name="connsiteY1" fmla="*/ 20035 h 20035"/>
                </a:gdLst>
                <a:ahLst/>
                <a:cxnLst>
                  <a:cxn ang="0">
                    <a:pos x="connsiteX0" y="connsiteY0"/>
                  </a:cxn>
                  <a:cxn ang="0">
                    <a:pos x="connsiteX1" y="connsiteY1"/>
                  </a:cxn>
                </a:cxnLst>
                <a:rect l="l" t="t" r="r" b="b"/>
                <a:pathLst>
                  <a:path w="5203" h="20035">
                    <a:moveTo>
                      <a:pt x="5204" y="0"/>
                    </a:moveTo>
                    <a:lnTo>
                      <a:pt x="0" y="20035"/>
                    </a:lnTo>
                  </a:path>
                </a:pathLst>
              </a:custGeom>
              <a:ln w="6350" cap="rnd">
                <a:solidFill>
                  <a:schemeClr val="bg1">
                    <a:alpha val="80000"/>
                  </a:schemeClr>
                </a:solidFill>
                <a:prstDash val="solid"/>
                <a:round/>
              </a:ln>
            </p:spPr>
            <p:txBody>
              <a:bodyPr rtlCol="0" anchor="ctr"/>
              <a:lstStyle/>
              <a:p>
                <a:endParaRPr lang="en-GB"/>
              </a:p>
            </p:txBody>
          </p:sp>
          <p:sp>
            <p:nvSpPr>
              <p:cNvPr id="6188" name="Vrije vorm: vorm 6187">
                <a:extLst>
                  <a:ext uri="{FF2B5EF4-FFF2-40B4-BE49-F238E27FC236}">
                    <a16:creationId xmlns:a16="http://schemas.microsoft.com/office/drawing/2014/main" id="{B0ECFAF8-A837-452B-B4FB-FAED8A591696}"/>
                  </a:ext>
                </a:extLst>
              </p:cNvPr>
              <p:cNvSpPr/>
              <p:nvPr/>
            </p:nvSpPr>
            <p:spPr>
              <a:xfrm>
                <a:off x="7577295" y="2659009"/>
                <a:ext cx="5801" cy="9329"/>
              </a:xfrm>
              <a:custGeom>
                <a:avLst/>
                <a:gdLst>
                  <a:gd name="connsiteX0" fmla="*/ 0 w 5801"/>
                  <a:gd name="connsiteY0" fmla="*/ 9330 h 9329"/>
                  <a:gd name="connsiteX1" fmla="*/ 5801 w 5801"/>
                  <a:gd name="connsiteY1" fmla="*/ 0 h 9329"/>
                </a:gdLst>
                <a:ahLst/>
                <a:cxnLst>
                  <a:cxn ang="0">
                    <a:pos x="connsiteX0" y="connsiteY0"/>
                  </a:cxn>
                  <a:cxn ang="0">
                    <a:pos x="connsiteX1" y="connsiteY1"/>
                  </a:cxn>
                </a:cxnLst>
                <a:rect l="l" t="t" r="r" b="b"/>
                <a:pathLst>
                  <a:path w="5801" h="9329">
                    <a:moveTo>
                      <a:pt x="0" y="9330"/>
                    </a:moveTo>
                    <a:lnTo>
                      <a:pt x="5801" y="0"/>
                    </a:lnTo>
                  </a:path>
                </a:pathLst>
              </a:custGeom>
              <a:ln w="6350" cap="rnd">
                <a:solidFill>
                  <a:schemeClr val="bg1">
                    <a:alpha val="80000"/>
                  </a:schemeClr>
                </a:solidFill>
                <a:prstDash val="solid"/>
                <a:round/>
              </a:ln>
            </p:spPr>
            <p:txBody>
              <a:bodyPr rtlCol="0" anchor="ctr"/>
              <a:lstStyle/>
              <a:p>
                <a:endParaRPr lang="en-GB"/>
              </a:p>
            </p:txBody>
          </p:sp>
          <p:sp>
            <p:nvSpPr>
              <p:cNvPr id="6189" name="Vrije vorm: vorm 6188">
                <a:extLst>
                  <a:ext uri="{FF2B5EF4-FFF2-40B4-BE49-F238E27FC236}">
                    <a16:creationId xmlns:a16="http://schemas.microsoft.com/office/drawing/2014/main" id="{BED95B45-D21A-4DC9-BFD3-634148831580}"/>
                  </a:ext>
                </a:extLst>
              </p:cNvPr>
              <p:cNvSpPr/>
              <p:nvPr/>
            </p:nvSpPr>
            <p:spPr>
              <a:xfrm>
                <a:off x="7649004" y="2801231"/>
                <a:ext cx="10047" cy="1973"/>
              </a:xfrm>
              <a:custGeom>
                <a:avLst/>
                <a:gdLst>
                  <a:gd name="connsiteX0" fmla="*/ 0 w 10047"/>
                  <a:gd name="connsiteY0" fmla="*/ 0 h 1973"/>
                  <a:gd name="connsiteX1" fmla="*/ 10048 w 10047"/>
                  <a:gd name="connsiteY1" fmla="*/ 1974 h 1973"/>
                </a:gdLst>
                <a:ahLst/>
                <a:cxnLst>
                  <a:cxn ang="0">
                    <a:pos x="connsiteX0" y="connsiteY0"/>
                  </a:cxn>
                  <a:cxn ang="0">
                    <a:pos x="connsiteX1" y="connsiteY1"/>
                  </a:cxn>
                </a:cxnLst>
                <a:rect l="l" t="t" r="r" b="b"/>
                <a:pathLst>
                  <a:path w="10047" h="1973">
                    <a:moveTo>
                      <a:pt x="0" y="0"/>
                    </a:moveTo>
                    <a:lnTo>
                      <a:pt x="10048" y="1974"/>
                    </a:lnTo>
                  </a:path>
                </a:pathLst>
              </a:custGeom>
              <a:ln w="6350" cap="rnd">
                <a:solidFill>
                  <a:schemeClr val="bg1">
                    <a:alpha val="80000"/>
                  </a:schemeClr>
                </a:solidFill>
                <a:prstDash val="solid"/>
                <a:round/>
              </a:ln>
            </p:spPr>
            <p:txBody>
              <a:bodyPr rtlCol="0" anchor="ctr"/>
              <a:lstStyle/>
              <a:p>
                <a:endParaRPr lang="en-GB"/>
              </a:p>
            </p:txBody>
          </p:sp>
          <p:sp>
            <p:nvSpPr>
              <p:cNvPr id="6190" name="Vrije vorm: vorm 6189">
                <a:extLst>
                  <a:ext uri="{FF2B5EF4-FFF2-40B4-BE49-F238E27FC236}">
                    <a16:creationId xmlns:a16="http://schemas.microsoft.com/office/drawing/2014/main" id="{9981CDFE-4E3B-44B7-B01D-9C83FF1DBA26}"/>
                  </a:ext>
                </a:extLst>
              </p:cNvPr>
              <p:cNvSpPr/>
              <p:nvPr/>
            </p:nvSpPr>
            <p:spPr>
              <a:xfrm>
                <a:off x="7622809" y="2801231"/>
                <a:ext cx="26195" cy="13875"/>
              </a:xfrm>
              <a:custGeom>
                <a:avLst/>
                <a:gdLst>
                  <a:gd name="connsiteX0" fmla="*/ 26196 w 26195"/>
                  <a:gd name="connsiteY0" fmla="*/ 0 h 13875"/>
                  <a:gd name="connsiteX1" fmla="*/ 0 w 26195"/>
                  <a:gd name="connsiteY1" fmla="*/ 13875 h 13875"/>
                </a:gdLst>
                <a:ahLst/>
                <a:cxnLst>
                  <a:cxn ang="0">
                    <a:pos x="connsiteX0" y="connsiteY0"/>
                  </a:cxn>
                  <a:cxn ang="0">
                    <a:pos x="connsiteX1" y="connsiteY1"/>
                  </a:cxn>
                </a:cxnLst>
                <a:rect l="l" t="t" r="r" b="b"/>
                <a:pathLst>
                  <a:path w="26195" h="13875">
                    <a:moveTo>
                      <a:pt x="26196" y="0"/>
                    </a:moveTo>
                    <a:lnTo>
                      <a:pt x="0" y="13875"/>
                    </a:lnTo>
                  </a:path>
                </a:pathLst>
              </a:custGeom>
              <a:ln w="6350" cap="rnd">
                <a:solidFill>
                  <a:schemeClr val="bg1">
                    <a:alpha val="80000"/>
                  </a:schemeClr>
                </a:solidFill>
                <a:prstDash val="solid"/>
                <a:round/>
              </a:ln>
            </p:spPr>
            <p:txBody>
              <a:bodyPr rtlCol="0" anchor="ctr"/>
              <a:lstStyle/>
              <a:p>
                <a:endParaRPr lang="en-GB"/>
              </a:p>
            </p:txBody>
          </p:sp>
          <p:sp>
            <p:nvSpPr>
              <p:cNvPr id="6191" name="Vrije vorm: vorm 6190">
                <a:extLst>
                  <a:ext uri="{FF2B5EF4-FFF2-40B4-BE49-F238E27FC236}">
                    <a16:creationId xmlns:a16="http://schemas.microsoft.com/office/drawing/2014/main" id="{C4B1355D-BA37-438B-8C6A-A08272297E94}"/>
                  </a:ext>
                </a:extLst>
              </p:cNvPr>
              <p:cNvSpPr/>
              <p:nvPr/>
            </p:nvSpPr>
            <p:spPr>
              <a:xfrm>
                <a:off x="7649363" y="2756734"/>
                <a:ext cx="23743" cy="12260"/>
              </a:xfrm>
              <a:custGeom>
                <a:avLst/>
                <a:gdLst>
                  <a:gd name="connsiteX0" fmla="*/ 23744 w 23743"/>
                  <a:gd name="connsiteY0" fmla="*/ 12260 h 12260"/>
                  <a:gd name="connsiteX1" fmla="*/ 0 w 23743"/>
                  <a:gd name="connsiteY1" fmla="*/ 0 h 12260"/>
                </a:gdLst>
                <a:ahLst/>
                <a:cxnLst>
                  <a:cxn ang="0">
                    <a:pos x="connsiteX0" y="connsiteY0"/>
                  </a:cxn>
                  <a:cxn ang="0">
                    <a:pos x="connsiteX1" y="connsiteY1"/>
                  </a:cxn>
                </a:cxnLst>
                <a:rect l="l" t="t" r="r" b="b"/>
                <a:pathLst>
                  <a:path w="23743" h="12260">
                    <a:moveTo>
                      <a:pt x="23744" y="1226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192" name="Vrije vorm: vorm 6191">
                <a:extLst>
                  <a:ext uri="{FF2B5EF4-FFF2-40B4-BE49-F238E27FC236}">
                    <a16:creationId xmlns:a16="http://schemas.microsoft.com/office/drawing/2014/main" id="{C013B0EC-07E5-451C-8551-E007509935B9}"/>
                  </a:ext>
                </a:extLst>
              </p:cNvPr>
              <p:cNvSpPr/>
              <p:nvPr/>
            </p:nvSpPr>
            <p:spPr>
              <a:xfrm>
                <a:off x="7673106" y="2768995"/>
                <a:ext cx="8432" cy="1614"/>
              </a:xfrm>
              <a:custGeom>
                <a:avLst/>
                <a:gdLst>
                  <a:gd name="connsiteX0" fmla="*/ 0 w 8432"/>
                  <a:gd name="connsiteY0" fmla="*/ 0 h 1614"/>
                  <a:gd name="connsiteX1" fmla="*/ 8433 w 8432"/>
                  <a:gd name="connsiteY1" fmla="*/ 1615 h 1614"/>
                </a:gdLst>
                <a:ahLst/>
                <a:cxnLst>
                  <a:cxn ang="0">
                    <a:pos x="connsiteX0" y="connsiteY0"/>
                  </a:cxn>
                  <a:cxn ang="0">
                    <a:pos x="connsiteX1" y="connsiteY1"/>
                  </a:cxn>
                </a:cxnLst>
                <a:rect l="l" t="t" r="r" b="b"/>
                <a:pathLst>
                  <a:path w="8432" h="1614">
                    <a:moveTo>
                      <a:pt x="0" y="0"/>
                    </a:moveTo>
                    <a:lnTo>
                      <a:pt x="8433" y="1615"/>
                    </a:lnTo>
                  </a:path>
                </a:pathLst>
              </a:custGeom>
              <a:ln w="6350" cap="rnd">
                <a:solidFill>
                  <a:schemeClr val="bg1">
                    <a:alpha val="80000"/>
                  </a:schemeClr>
                </a:solidFill>
                <a:prstDash val="solid"/>
                <a:round/>
              </a:ln>
            </p:spPr>
            <p:txBody>
              <a:bodyPr rtlCol="0" anchor="ctr"/>
              <a:lstStyle/>
              <a:p>
                <a:endParaRPr lang="en-GB"/>
              </a:p>
            </p:txBody>
          </p:sp>
          <p:sp>
            <p:nvSpPr>
              <p:cNvPr id="6193" name="Vrije vorm: vorm 6192">
                <a:extLst>
                  <a:ext uri="{FF2B5EF4-FFF2-40B4-BE49-F238E27FC236}">
                    <a16:creationId xmlns:a16="http://schemas.microsoft.com/office/drawing/2014/main" id="{1F8D47E3-0FFE-4077-893F-EF66D5DFFCAB}"/>
                  </a:ext>
                </a:extLst>
              </p:cNvPr>
              <p:cNvSpPr/>
              <p:nvPr/>
            </p:nvSpPr>
            <p:spPr>
              <a:xfrm>
                <a:off x="7671910" y="2768995"/>
                <a:ext cx="1196" cy="13277"/>
              </a:xfrm>
              <a:custGeom>
                <a:avLst/>
                <a:gdLst>
                  <a:gd name="connsiteX0" fmla="*/ 1196 w 1196"/>
                  <a:gd name="connsiteY0" fmla="*/ 0 h 13277"/>
                  <a:gd name="connsiteX1" fmla="*/ 0 w 1196"/>
                  <a:gd name="connsiteY1" fmla="*/ 13277 h 13277"/>
                </a:gdLst>
                <a:ahLst/>
                <a:cxnLst>
                  <a:cxn ang="0">
                    <a:pos x="connsiteX0" y="connsiteY0"/>
                  </a:cxn>
                  <a:cxn ang="0">
                    <a:pos x="connsiteX1" y="connsiteY1"/>
                  </a:cxn>
                </a:cxnLst>
                <a:rect l="l" t="t" r="r" b="b"/>
                <a:pathLst>
                  <a:path w="1196" h="13277">
                    <a:moveTo>
                      <a:pt x="1196" y="0"/>
                    </a:moveTo>
                    <a:lnTo>
                      <a:pt x="0" y="13277"/>
                    </a:lnTo>
                  </a:path>
                </a:pathLst>
              </a:custGeom>
              <a:ln w="6350" cap="rnd">
                <a:solidFill>
                  <a:schemeClr val="bg1">
                    <a:alpha val="80000"/>
                  </a:schemeClr>
                </a:solidFill>
                <a:prstDash val="solid"/>
                <a:round/>
              </a:ln>
            </p:spPr>
            <p:txBody>
              <a:bodyPr rtlCol="0" anchor="ctr"/>
              <a:lstStyle/>
              <a:p>
                <a:endParaRPr lang="en-GB"/>
              </a:p>
            </p:txBody>
          </p:sp>
          <p:sp>
            <p:nvSpPr>
              <p:cNvPr id="6194" name="Vrije vorm: vorm 6193">
                <a:extLst>
                  <a:ext uri="{FF2B5EF4-FFF2-40B4-BE49-F238E27FC236}">
                    <a16:creationId xmlns:a16="http://schemas.microsoft.com/office/drawing/2014/main" id="{19239261-E57A-4DEC-B9C3-A02051FCCE0B}"/>
                  </a:ext>
                </a:extLst>
              </p:cNvPr>
              <p:cNvSpPr/>
              <p:nvPr/>
            </p:nvSpPr>
            <p:spPr>
              <a:xfrm>
                <a:off x="7648705" y="2768995"/>
                <a:ext cx="24401" cy="8313"/>
              </a:xfrm>
              <a:custGeom>
                <a:avLst/>
                <a:gdLst>
                  <a:gd name="connsiteX0" fmla="*/ 24401 w 24401"/>
                  <a:gd name="connsiteY0" fmla="*/ 0 h 8313"/>
                  <a:gd name="connsiteX1" fmla="*/ 0 w 24401"/>
                  <a:gd name="connsiteY1" fmla="*/ 8313 h 8313"/>
                </a:gdLst>
                <a:ahLst/>
                <a:cxnLst>
                  <a:cxn ang="0">
                    <a:pos x="connsiteX0" y="connsiteY0"/>
                  </a:cxn>
                  <a:cxn ang="0">
                    <a:pos x="connsiteX1" y="connsiteY1"/>
                  </a:cxn>
                </a:cxnLst>
                <a:rect l="l" t="t" r="r" b="b"/>
                <a:pathLst>
                  <a:path w="24401" h="8313">
                    <a:moveTo>
                      <a:pt x="24401" y="0"/>
                    </a:moveTo>
                    <a:lnTo>
                      <a:pt x="0" y="8313"/>
                    </a:lnTo>
                  </a:path>
                </a:pathLst>
              </a:custGeom>
              <a:ln w="6350" cap="rnd">
                <a:solidFill>
                  <a:schemeClr val="bg1">
                    <a:alpha val="80000"/>
                  </a:schemeClr>
                </a:solidFill>
                <a:prstDash val="solid"/>
                <a:round/>
              </a:ln>
            </p:spPr>
            <p:txBody>
              <a:bodyPr rtlCol="0" anchor="ctr"/>
              <a:lstStyle/>
              <a:p>
                <a:endParaRPr lang="en-GB"/>
              </a:p>
            </p:txBody>
          </p:sp>
          <p:sp>
            <p:nvSpPr>
              <p:cNvPr id="6195" name="Vrije vorm: vorm 6194">
                <a:extLst>
                  <a:ext uri="{FF2B5EF4-FFF2-40B4-BE49-F238E27FC236}">
                    <a16:creationId xmlns:a16="http://schemas.microsoft.com/office/drawing/2014/main" id="{4AF1CB9F-7B6B-41AB-804A-A570A1B0E1B2}"/>
                  </a:ext>
                </a:extLst>
              </p:cNvPr>
              <p:cNvSpPr/>
              <p:nvPr/>
            </p:nvSpPr>
            <p:spPr>
              <a:xfrm>
                <a:off x="7673106" y="2750574"/>
                <a:ext cx="13636" cy="18420"/>
              </a:xfrm>
              <a:custGeom>
                <a:avLst/>
                <a:gdLst>
                  <a:gd name="connsiteX0" fmla="*/ 0 w 13636"/>
                  <a:gd name="connsiteY0" fmla="*/ 18421 h 18420"/>
                  <a:gd name="connsiteX1" fmla="*/ 13636 w 13636"/>
                  <a:gd name="connsiteY1" fmla="*/ 0 h 18420"/>
                </a:gdLst>
                <a:ahLst/>
                <a:cxnLst>
                  <a:cxn ang="0">
                    <a:pos x="connsiteX0" y="connsiteY0"/>
                  </a:cxn>
                  <a:cxn ang="0">
                    <a:pos x="connsiteX1" y="connsiteY1"/>
                  </a:cxn>
                </a:cxnLst>
                <a:rect l="l" t="t" r="r" b="b"/>
                <a:pathLst>
                  <a:path w="13636" h="18420">
                    <a:moveTo>
                      <a:pt x="0" y="18421"/>
                    </a:moveTo>
                    <a:lnTo>
                      <a:pt x="13636" y="0"/>
                    </a:lnTo>
                  </a:path>
                </a:pathLst>
              </a:custGeom>
              <a:ln w="6350" cap="rnd">
                <a:solidFill>
                  <a:schemeClr val="bg1">
                    <a:alpha val="80000"/>
                  </a:schemeClr>
                </a:solidFill>
                <a:prstDash val="solid"/>
                <a:round/>
              </a:ln>
            </p:spPr>
            <p:txBody>
              <a:bodyPr rtlCol="0" anchor="ctr"/>
              <a:lstStyle/>
              <a:p>
                <a:endParaRPr lang="en-GB"/>
              </a:p>
            </p:txBody>
          </p:sp>
          <p:sp>
            <p:nvSpPr>
              <p:cNvPr id="6196" name="Vrije vorm: vorm 6195">
                <a:extLst>
                  <a:ext uri="{FF2B5EF4-FFF2-40B4-BE49-F238E27FC236}">
                    <a16:creationId xmlns:a16="http://schemas.microsoft.com/office/drawing/2014/main" id="{34BA2309-8217-490E-B5D3-9ECD2DB730F6}"/>
                  </a:ext>
                </a:extLst>
              </p:cNvPr>
              <p:cNvSpPr/>
              <p:nvPr/>
            </p:nvSpPr>
            <p:spPr>
              <a:xfrm>
                <a:off x="7720115" y="2795070"/>
                <a:ext cx="8014" cy="4844"/>
              </a:xfrm>
              <a:custGeom>
                <a:avLst/>
                <a:gdLst>
                  <a:gd name="connsiteX0" fmla="*/ 0 w 8014"/>
                  <a:gd name="connsiteY0" fmla="*/ 0 h 4844"/>
                  <a:gd name="connsiteX1" fmla="*/ 8014 w 8014"/>
                  <a:gd name="connsiteY1" fmla="*/ 4844 h 4844"/>
                </a:gdLst>
                <a:ahLst/>
                <a:cxnLst>
                  <a:cxn ang="0">
                    <a:pos x="connsiteX0" y="connsiteY0"/>
                  </a:cxn>
                  <a:cxn ang="0">
                    <a:pos x="connsiteX1" y="connsiteY1"/>
                  </a:cxn>
                </a:cxnLst>
                <a:rect l="l" t="t" r="r" b="b"/>
                <a:pathLst>
                  <a:path w="8014" h="4844">
                    <a:moveTo>
                      <a:pt x="0" y="0"/>
                    </a:moveTo>
                    <a:lnTo>
                      <a:pt x="8014" y="4844"/>
                    </a:lnTo>
                  </a:path>
                </a:pathLst>
              </a:custGeom>
              <a:ln w="6350" cap="rnd">
                <a:solidFill>
                  <a:schemeClr val="bg1">
                    <a:alpha val="80000"/>
                  </a:schemeClr>
                </a:solidFill>
                <a:prstDash val="solid"/>
                <a:round/>
              </a:ln>
            </p:spPr>
            <p:txBody>
              <a:bodyPr rtlCol="0" anchor="ctr"/>
              <a:lstStyle/>
              <a:p>
                <a:endParaRPr lang="en-GB"/>
              </a:p>
            </p:txBody>
          </p:sp>
          <p:sp>
            <p:nvSpPr>
              <p:cNvPr id="6197" name="Vrije vorm: vorm 6196">
                <a:extLst>
                  <a:ext uri="{FF2B5EF4-FFF2-40B4-BE49-F238E27FC236}">
                    <a16:creationId xmlns:a16="http://schemas.microsoft.com/office/drawing/2014/main" id="{B38F8797-238D-4487-946B-01E7AFF7E723}"/>
                  </a:ext>
                </a:extLst>
              </p:cNvPr>
              <p:cNvSpPr/>
              <p:nvPr/>
            </p:nvSpPr>
            <p:spPr>
              <a:xfrm>
                <a:off x="7670834" y="2796685"/>
                <a:ext cx="7057" cy="1196"/>
              </a:xfrm>
              <a:custGeom>
                <a:avLst/>
                <a:gdLst>
                  <a:gd name="connsiteX0" fmla="*/ 0 w 7057"/>
                  <a:gd name="connsiteY0" fmla="*/ 1196 h 1196"/>
                  <a:gd name="connsiteX1" fmla="*/ 7057 w 7057"/>
                  <a:gd name="connsiteY1" fmla="*/ 0 h 1196"/>
                </a:gdLst>
                <a:ahLst/>
                <a:cxnLst>
                  <a:cxn ang="0">
                    <a:pos x="connsiteX0" y="connsiteY0"/>
                  </a:cxn>
                  <a:cxn ang="0">
                    <a:pos x="connsiteX1" y="connsiteY1"/>
                  </a:cxn>
                </a:cxnLst>
                <a:rect l="l" t="t" r="r" b="b"/>
                <a:pathLst>
                  <a:path w="7057" h="1196">
                    <a:moveTo>
                      <a:pt x="0" y="1196"/>
                    </a:moveTo>
                    <a:lnTo>
                      <a:pt x="7057" y="0"/>
                    </a:lnTo>
                  </a:path>
                </a:pathLst>
              </a:custGeom>
              <a:ln w="6350" cap="rnd">
                <a:solidFill>
                  <a:schemeClr val="bg1">
                    <a:alpha val="80000"/>
                  </a:schemeClr>
                </a:solidFill>
                <a:prstDash val="solid"/>
                <a:round/>
              </a:ln>
            </p:spPr>
            <p:txBody>
              <a:bodyPr rtlCol="0" anchor="ctr"/>
              <a:lstStyle/>
              <a:p>
                <a:endParaRPr lang="en-GB"/>
              </a:p>
            </p:txBody>
          </p:sp>
          <p:sp>
            <p:nvSpPr>
              <p:cNvPr id="6198" name="Vrije vorm: vorm 6197">
                <a:extLst>
                  <a:ext uri="{FF2B5EF4-FFF2-40B4-BE49-F238E27FC236}">
                    <a16:creationId xmlns:a16="http://schemas.microsoft.com/office/drawing/2014/main" id="{739672CC-0DEA-4B49-A056-2BCA0F3905C7}"/>
                  </a:ext>
                </a:extLst>
              </p:cNvPr>
              <p:cNvSpPr/>
              <p:nvPr/>
            </p:nvSpPr>
            <p:spPr>
              <a:xfrm>
                <a:off x="7659052" y="2797881"/>
                <a:ext cx="11782" cy="5322"/>
              </a:xfrm>
              <a:custGeom>
                <a:avLst/>
                <a:gdLst>
                  <a:gd name="connsiteX0" fmla="*/ 11782 w 11782"/>
                  <a:gd name="connsiteY0" fmla="*/ 0 h 5322"/>
                  <a:gd name="connsiteX1" fmla="*/ 0 w 11782"/>
                  <a:gd name="connsiteY1" fmla="*/ 5323 h 5322"/>
                </a:gdLst>
                <a:ahLst/>
                <a:cxnLst>
                  <a:cxn ang="0">
                    <a:pos x="connsiteX0" y="connsiteY0"/>
                  </a:cxn>
                  <a:cxn ang="0">
                    <a:pos x="connsiteX1" y="connsiteY1"/>
                  </a:cxn>
                </a:cxnLst>
                <a:rect l="l" t="t" r="r" b="b"/>
                <a:pathLst>
                  <a:path w="11782" h="5322">
                    <a:moveTo>
                      <a:pt x="11782" y="0"/>
                    </a:moveTo>
                    <a:lnTo>
                      <a:pt x="0" y="5323"/>
                    </a:lnTo>
                  </a:path>
                </a:pathLst>
              </a:custGeom>
              <a:ln w="6350" cap="rnd">
                <a:solidFill>
                  <a:schemeClr val="bg1">
                    <a:alpha val="80000"/>
                  </a:schemeClr>
                </a:solidFill>
                <a:prstDash val="solid"/>
                <a:round/>
              </a:ln>
            </p:spPr>
            <p:txBody>
              <a:bodyPr rtlCol="0" anchor="ctr"/>
              <a:lstStyle/>
              <a:p>
                <a:endParaRPr lang="en-GB"/>
              </a:p>
            </p:txBody>
          </p:sp>
          <p:sp>
            <p:nvSpPr>
              <p:cNvPr id="6199" name="Vrije vorm: vorm 6198">
                <a:extLst>
                  <a:ext uri="{FF2B5EF4-FFF2-40B4-BE49-F238E27FC236}">
                    <a16:creationId xmlns:a16="http://schemas.microsoft.com/office/drawing/2014/main" id="{3264B28C-ADC1-44FB-8E1E-48F8A040A0C6}"/>
                  </a:ext>
                </a:extLst>
              </p:cNvPr>
              <p:cNvSpPr/>
              <p:nvPr/>
            </p:nvSpPr>
            <p:spPr>
              <a:xfrm>
                <a:off x="7583994" y="2836218"/>
                <a:ext cx="7475" cy="6100"/>
              </a:xfrm>
              <a:custGeom>
                <a:avLst/>
                <a:gdLst>
                  <a:gd name="connsiteX0" fmla="*/ 0 w 7475"/>
                  <a:gd name="connsiteY0" fmla="*/ 6100 h 6100"/>
                  <a:gd name="connsiteX1" fmla="*/ 7476 w 7475"/>
                  <a:gd name="connsiteY1" fmla="*/ 0 h 6100"/>
                </a:gdLst>
                <a:ahLst/>
                <a:cxnLst>
                  <a:cxn ang="0">
                    <a:pos x="connsiteX0" y="connsiteY0"/>
                  </a:cxn>
                  <a:cxn ang="0">
                    <a:pos x="connsiteX1" y="connsiteY1"/>
                  </a:cxn>
                </a:cxnLst>
                <a:rect l="l" t="t" r="r" b="b"/>
                <a:pathLst>
                  <a:path w="7475" h="6100">
                    <a:moveTo>
                      <a:pt x="0" y="6100"/>
                    </a:moveTo>
                    <a:lnTo>
                      <a:pt x="7476" y="0"/>
                    </a:lnTo>
                  </a:path>
                </a:pathLst>
              </a:custGeom>
              <a:ln w="6350" cap="rnd">
                <a:solidFill>
                  <a:schemeClr val="bg1">
                    <a:alpha val="80000"/>
                  </a:schemeClr>
                </a:solidFill>
                <a:prstDash val="solid"/>
                <a:round/>
              </a:ln>
            </p:spPr>
            <p:txBody>
              <a:bodyPr rtlCol="0" anchor="ctr"/>
              <a:lstStyle/>
              <a:p>
                <a:endParaRPr lang="en-GB"/>
              </a:p>
            </p:txBody>
          </p:sp>
          <p:sp>
            <p:nvSpPr>
              <p:cNvPr id="6200" name="Vrije vorm: vorm 6199">
                <a:extLst>
                  <a:ext uri="{FF2B5EF4-FFF2-40B4-BE49-F238E27FC236}">
                    <a16:creationId xmlns:a16="http://schemas.microsoft.com/office/drawing/2014/main" id="{D28A1821-2BCC-4905-80BE-46E0833162CC}"/>
                  </a:ext>
                </a:extLst>
              </p:cNvPr>
              <p:cNvSpPr/>
              <p:nvPr/>
            </p:nvSpPr>
            <p:spPr>
              <a:xfrm>
                <a:off x="7583994" y="2837175"/>
                <a:ext cx="10884" cy="5143"/>
              </a:xfrm>
              <a:custGeom>
                <a:avLst/>
                <a:gdLst>
                  <a:gd name="connsiteX0" fmla="*/ 0 w 10884"/>
                  <a:gd name="connsiteY0" fmla="*/ 5143 h 5143"/>
                  <a:gd name="connsiteX1" fmla="*/ 10885 w 10884"/>
                  <a:gd name="connsiteY1" fmla="*/ 0 h 5143"/>
                </a:gdLst>
                <a:ahLst/>
                <a:cxnLst>
                  <a:cxn ang="0">
                    <a:pos x="connsiteX0" y="connsiteY0"/>
                  </a:cxn>
                  <a:cxn ang="0">
                    <a:pos x="connsiteX1" y="connsiteY1"/>
                  </a:cxn>
                </a:cxnLst>
                <a:rect l="l" t="t" r="r" b="b"/>
                <a:pathLst>
                  <a:path w="10884" h="5143">
                    <a:moveTo>
                      <a:pt x="0" y="5143"/>
                    </a:moveTo>
                    <a:lnTo>
                      <a:pt x="10885" y="0"/>
                    </a:lnTo>
                  </a:path>
                </a:pathLst>
              </a:custGeom>
              <a:ln w="6350" cap="rnd">
                <a:solidFill>
                  <a:schemeClr val="bg1">
                    <a:alpha val="80000"/>
                  </a:schemeClr>
                </a:solidFill>
                <a:prstDash val="solid"/>
                <a:round/>
              </a:ln>
            </p:spPr>
            <p:txBody>
              <a:bodyPr rtlCol="0" anchor="ctr"/>
              <a:lstStyle/>
              <a:p>
                <a:endParaRPr lang="en-GB"/>
              </a:p>
            </p:txBody>
          </p:sp>
          <p:sp>
            <p:nvSpPr>
              <p:cNvPr id="6201" name="Vrije vorm: vorm 6200">
                <a:extLst>
                  <a:ext uri="{FF2B5EF4-FFF2-40B4-BE49-F238E27FC236}">
                    <a16:creationId xmlns:a16="http://schemas.microsoft.com/office/drawing/2014/main" id="{5FE8D75F-6FE0-48BE-8AA7-6CA066A26EF1}"/>
                  </a:ext>
                </a:extLst>
              </p:cNvPr>
              <p:cNvSpPr/>
              <p:nvPr/>
            </p:nvSpPr>
            <p:spPr>
              <a:xfrm>
                <a:off x="7640870" y="2733648"/>
                <a:ext cx="2571" cy="15908"/>
              </a:xfrm>
              <a:custGeom>
                <a:avLst/>
                <a:gdLst>
                  <a:gd name="connsiteX0" fmla="*/ 2572 w 2571"/>
                  <a:gd name="connsiteY0" fmla="*/ 0 h 15908"/>
                  <a:gd name="connsiteX1" fmla="*/ 0 w 2571"/>
                  <a:gd name="connsiteY1" fmla="*/ 15909 h 15908"/>
                </a:gdLst>
                <a:ahLst/>
                <a:cxnLst>
                  <a:cxn ang="0">
                    <a:pos x="connsiteX0" y="connsiteY0"/>
                  </a:cxn>
                  <a:cxn ang="0">
                    <a:pos x="connsiteX1" y="connsiteY1"/>
                  </a:cxn>
                </a:cxnLst>
                <a:rect l="l" t="t" r="r" b="b"/>
                <a:pathLst>
                  <a:path w="2571" h="15908">
                    <a:moveTo>
                      <a:pt x="2572" y="0"/>
                    </a:moveTo>
                    <a:lnTo>
                      <a:pt x="0" y="15909"/>
                    </a:lnTo>
                  </a:path>
                </a:pathLst>
              </a:custGeom>
              <a:ln w="6350" cap="rnd">
                <a:solidFill>
                  <a:schemeClr val="bg1">
                    <a:alpha val="80000"/>
                  </a:schemeClr>
                </a:solidFill>
                <a:prstDash val="solid"/>
                <a:round/>
              </a:ln>
            </p:spPr>
            <p:txBody>
              <a:bodyPr rtlCol="0" anchor="ctr"/>
              <a:lstStyle/>
              <a:p>
                <a:endParaRPr lang="en-GB"/>
              </a:p>
            </p:txBody>
          </p:sp>
          <p:sp>
            <p:nvSpPr>
              <p:cNvPr id="6202" name="Vrije vorm: vorm 6201">
                <a:extLst>
                  <a:ext uri="{FF2B5EF4-FFF2-40B4-BE49-F238E27FC236}">
                    <a16:creationId xmlns:a16="http://schemas.microsoft.com/office/drawing/2014/main" id="{EA9E964E-E6F7-463C-B657-CF962AE0E04A}"/>
                  </a:ext>
                </a:extLst>
              </p:cNvPr>
              <p:cNvSpPr/>
              <p:nvPr/>
            </p:nvSpPr>
            <p:spPr>
              <a:xfrm>
                <a:off x="7643442" y="2717201"/>
                <a:ext cx="11722" cy="16446"/>
              </a:xfrm>
              <a:custGeom>
                <a:avLst/>
                <a:gdLst>
                  <a:gd name="connsiteX0" fmla="*/ 0 w 11722"/>
                  <a:gd name="connsiteY0" fmla="*/ 16447 h 16446"/>
                  <a:gd name="connsiteX1" fmla="*/ 11722 w 11722"/>
                  <a:gd name="connsiteY1" fmla="*/ 0 h 16446"/>
                </a:gdLst>
                <a:ahLst/>
                <a:cxnLst>
                  <a:cxn ang="0">
                    <a:pos x="connsiteX0" y="connsiteY0"/>
                  </a:cxn>
                  <a:cxn ang="0">
                    <a:pos x="connsiteX1" y="connsiteY1"/>
                  </a:cxn>
                </a:cxnLst>
                <a:rect l="l" t="t" r="r" b="b"/>
                <a:pathLst>
                  <a:path w="11722" h="16446">
                    <a:moveTo>
                      <a:pt x="0" y="16447"/>
                    </a:moveTo>
                    <a:lnTo>
                      <a:pt x="11722" y="0"/>
                    </a:lnTo>
                  </a:path>
                </a:pathLst>
              </a:custGeom>
              <a:ln w="6350" cap="rnd">
                <a:solidFill>
                  <a:schemeClr val="bg1">
                    <a:alpha val="80000"/>
                  </a:schemeClr>
                </a:solidFill>
                <a:prstDash val="solid"/>
                <a:round/>
              </a:ln>
            </p:spPr>
            <p:txBody>
              <a:bodyPr rtlCol="0" anchor="ctr"/>
              <a:lstStyle/>
              <a:p>
                <a:endParaRPr lang="en-GB"/>
              </a:p>
            </p:txBody>
          </p:sp>
          <p:sp>
            <p:nvSpPr>
              <p:cNvPr id="6203" name="Vrije vorm: vorm 6202">
                <a:extLst>
                  <a:ext uri="{FF2B5EF4-FFF2-40B4-BE49-F238E27FC236}">
                    <a16:creationId xmlns:a16="http://schemas.microsoft.com/office/drawing/2014/main" id="{AD73A495-462C-4948-8D12-12A3D4BD7AC3}"/>
                  </a:ext>
                </a:extLst>
              </p:cNvPr>
              <p:cNvSpPr/>
              <p:nvPr/>
            </p:nvSpPr>
            <p:spPr>
              <a:xfrm>
                <a:off x="7634112" y="2733648"/>
                <a:ext cx="9329" cy="2571"/>
              </a:xfrm>
              <a:custGeom>
                <a:avLst/>
                <a:gdLst>
                  <a:gd name="connsiteX0" fmla="*/ 9330 w 9329"/>
                  <a:gd name="connsiteY0" fmla="*/ 0 h 2571"/>
                  <a:gd name="connsiteX1" fmla="*/ 0 w 9329"/>
                  <a:gd name="connsiteY1" fmla="*/ 2572 h 2571"/>
                </a:gdLst>
                <a:ahLst/>
                <a:cxnLst>
                  <a:cxn ang="0">
                    <a:pos x="connsiteX0" y="connsiteY0"/>
                  </a:cxn>
                  <a:cxn ang="0">
                    <a:pos x="connsiteX1" y="connsiteY1"/>
                  </a:cxn>
                </a:cxnLst>
                <a:rect l="l" t="t" r="r" b="b"/>
                <a:pathLst>
                  <a:path w="9329" h="2571">
                    <a:moveTo>
                      <a:pt x="9330" y="0"/>
                    </a:moveTo>
                    <a:lnTo>
                      <a:pt x="0" y="2572"/>
                    </a:lnTo>
                  </a:path>
                </a:pathLst>
              </a:custGeom>
              <a:ln w="6350" cap="rnd">
                <a:solidFill>
                  <a:schemeClr val="bg1">
                    <a:alpha val="80000"/>
                  </a:schemeClr>
                </a:solidFill>
                <a:prstDash val="solid"/>
                <a:round/>
              </a:ln>
            </p:spPr>
            <p:txBody>
              <a:bodyPr rtlCol="0" anchor="ctr"/>
              <a:lstStyle/>
              <a:p>
                <a:endParaRPr lang="en-GB"/>
              </a:p>
            </p:txBody>
          </p:sp>
          <p:sp>
            <p:nvSpPr>
              <p:cNvPr id="6204" name="Vrije vorm: vorm 6203">
                <a:extLst>
                  <a:ext uri="{FF2B5EF4-FFF2-40B4-BE49-F238E27FC236}">
                    <a16:creationId xmlns:a16="http://schemas.microsoft.com/office/drawing/2014/main" id="{89EF25D7-02DA-444D-8340-DFE3E80C190D}"/>
                  </a:ext>
                </a:extLst>
              </p:cNvPr>
              <p:cNvSpPr/>
              <p:nvPr/>
            </p:nvSpPr>
            <p:spPr>
              <a:xfrm>
                <a:off x="7702352" y="2760083"/>
                <a:ext cx="25776" cy="16985"/>
              </a:xfrm>
              <a:custGeom>
                <a:avLst/>
                <a:gdLst>
                  <a:gd name="connsiteX0" fmla="*/ 0 w 25776"/>
                  <a:gd name="connsiteY0" fmla="*/ 0 h 16985"/>
                  <a:gd name="connsiteX1" fmla="*/ 25777 w 25776"/>
                  <a:gd name="connsiteY1" fmla="*/ 16985 h 16985"/>
                </a:gdLst>
                <a:ahLst/>
                <a:cxnLst>
                  <a:cxn ang="0">
                    <a:pos x="connsiteX0" y="connsiteY0"/>
                  </a:cxn>
                  <a:cxn ang="0">
                    <a:pos x="connsiteX1" y="connsiteY1"/>
                  </a:cxn>
                </a:cxnLst>
                <a:rect l="l" t="t" r="r" b="b"/>
                <a:pathLst>
                  <a:path w="25776" h="16985">
                    <a:moveTo>
                      <a:pt x="0" y="0"/>
                    </a:moveTo>
                    <a:lnTo>
                      <a:pt x="25777" y="16985"/>
                    </a:lnTo>
                  </a:path>
                </a:pathLst>
              </a:custGeom>
              <a:ln w="6350" cap="rnd">
                <a:solidFill>
                  <a:schemeClr val="bg1">
                    <a:alpha val="80000"/>
                  </a:schemeClr>
                </a:solidFill>
                <a:prstDash val="solid"/>
                <a:round/>
              </a:ln>
            </p:spPr>
            <p:txBody>
              <a:bodyPr rtlCol="0" anchor="ctr"/>
              <a:lstStyle/>
              <a:p>
                <a:endParaRPr lang="en-GB"/>
              </a:p>
            </p:txBody>
          </p:sp>
          <p:sp>
            <p:nvSpPr>
              <p:cNvPr id="6205" name="Vrije vorm: vorm 6204">
                <a:extLst>
                  <a:ext uri="{FF2B5EF4-FFF2-40B4-BE49-F238E27FC236}">
                    <a16:creationId xmlns:a16="http://schemas.microsoft.com/office/drawing/2014/main" id="{8A099512-9A48-4A30-B78A-DBD7234FBFD5}"/>
                  </a:ext>
                </a:extLst>
              </p:cNvPr>
              <p:cNvSpPr/>
              <p:nvPr/>
            </p:nvSpPr>
            <p:spPr>
              <a:xfrm>
                <a:off x="7681539" y="2760083"/>
                <a:ext cx="20812" cy="10526"/>
              </a:xfrm>
              <a:custGeom>
                <a:avLst/>
                <a:gdLst>
                  <a:gd name="connsiteX0" fmla="*/ 20813 w 20812"/>
                  <a:gd name="connsiteY0" fmla="*/ 0 h 10526"/>
                  <a:gd name="connsiteX1" fmla="*/ 0 w 20812"/>
                  <a:gd name="connsiteY1" fmla="*/ 10526 h 10526"/>
                </a:gdLst>
                <a:ahLst/>
                <a:cxnLst>
                  <a:cxn ang="0">
                    <a:pos x="connsiteX0" y="connsiteY0"/>
                  </a:cxn>
                  <a:cxn ang="0">
                    <a:pos x="connsiteX1" y="connsiteY1"/>
                  </a:cxn>
                </a:cxnLst>
                <a:rect l="l" t="t" r="r" b="b"/>
                <a:pathLst>
                  <a:path w="20812" h="10526">
                    <a:moveTo>
                      <a:pt x="20813" y="0"/>
                    </a:moveTo>
                    <a:lnTo>
                      <a:pt x="0" y="10526"/>
                    </a:lnTo>
                  </a:path>
                </a:pathLst>
              </a:custGeom>
              <a:ln w="6350" cap="rnd">
                <a:solidFill>
                  <a:schemeClr val="bg1">
                    <a:alpha val="80000"/>
                  </a:schemeClr>
                </a:solidFill>
                <a:prstDash val="solid"/>
                <a:round/>
              </a:ln>
            </p:spPr>
            <p:txBody>
              <a:bodyPr rtlCol="0" anchor="ctr"/>
              <a:lstStyle/>
              <a:p>
                <a:endParaRPr lang="en-GB"/>
              </a:p>
            </p:txBody>
          </p:sp>
          <p:sp>
            <p:nvSpPr>
              <p:cNvPr id="6206" name="Vrije vorm: vorm 6205">
                <a:extLst>
                  <a:ext uri="{FF2B5EF4-FFF2-40B4-BE49-F238E27FC236}">
                    <a16:creationId xmlns:a16="http://schemas.microsoft.com/office/drawing/2014/main" id="{97C0A9C8-21F6-47DE-9452-3DC95A00D6E6}"/>
                  </a:ext>
                </a:extLst>
              </p:cNvPr>
              <p:cNvSpPr/>
              <p:nvPr/>
            </p:nvSpPr>
            <p:spPr>
              <a:xfrm>
                <a:off x="7686742" y="2750574"/>
                <a:ext cx="15609" cy="9509"/>
              </a:xfrm>
              <a:custGeom>
                <a:avLst/>
                <a:gdLst>
                  <a:gd name="connsiteX0" fmla="*/ 15610 w 15609"/>
                  <a:gd name="connsiteY0" fmla="*/ 9509 h 9509"/>
                  <a:gd name="connsiteX1" fmla="*/ 0 w 15609"/>
                  <a:gd name="connsiteY1" fmla="*/ 0 h 9509"/>
                </a:gdLst>
                <a:ahLst/>
                <a:cxnLst>
                  <a:cxn ang="0">
                    <a:pos x="connsiteX0" y="connsiteY0"/>
                  </a:cxn>
                  <a:cxn ang="0">
                    <a:pos x="connsiteX1" y="connsiteY1"/>
                  </a:cxn>
                </a:cxnLst>
                <a:rect l="l" t="t" r="r" b="b"/>
                <a:pathLst>
                  <a:path w="15609" h="9509">
                    <a:moveTo>
                      <a:pt x="15610" y="9509"/>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07" name="Vrije vorm: vorm 6206">
                <a:extLst>
                  <a:ext uri="{FF2B5EF4-FFF2-40B4-BE49-F238E27FC236}">
                    <a16:creationId xmlns:a16="http://schemas.microsoft.com/office/drawing/2014/main" id="{8FC0F4B4-6418-4C05-9FEB-0BF7E04C47C0}"/>
                  </a:ext>
                </a:extLst>
              </p:cNvPr>
              <p:cNvSpPr/>
              <p:nvPr/>
            </p:nvSpPr>
            <p:spPr>
              <a:xfrm>
                <a:off x="7662341" y="2797941"/>
                <a:ext cx="179" cy="777"/>
              </a:xfrm>
              <a:custGeom>
                <a:avLst/>
                <a:gdLst>
                  <a:gd name="connsiteX0" fmla="*/ 179 w 179"/>
                  <a:gd name="connsiteY0" fmla="*/ 777 h 777"/>
                  <a:gd name="connsiteX1" fmla="*/ 0 w 179"/>
                  <a:gd name="connsiteY1" fmla="*/ 0 h 777"/>
                </a:gdLst>
                <a:ahLst/>
                <a:cxnLst>
                  <a:cxn ang="0">
                    <a:pos x="connsiteX0" y="connsiteY0"/>
                  </a:cxn>
                  <a:cxn ang="0">
                    <a:pos x="connsiteX1" y="connsiteY1"/>
                  </a:cxn>
                </a:cxnLst>
                <a:rect l="l" t="t" r="r" b="b"/>
                <a:pathLst>
                  <a:path w="179" h="777">
                    <a:moveTo>
                      <a:pt x="179" y="77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08" name="Vrije vorm: vorm 6207">
                <a:extLst>
                  <a:ext uri="{FF2B5EF4-FFF2-40B4-BE49-F238E27FC236}">
                    <a16:creationId xmlns:a16="http://schemas.microsoft.com/office/drawing/2014/main" id="{E9200381-45A1-434A-BE05-A30E2D4080C1}"/>
                  </a:ext>
                </a:extLst>
              </p:cNvPr>
              <p:cNvSpPr/>
              <p:nvPr/>
            </p:nvSpPr>
            <p:spPr>
              <a:xfrm>
                <a:off x="7649363" y="2745610"/>
                <a:ext cx="15848" cy="11124"/>
              </a:xfrm>
              <a:custGeom>
                <a:avLst/>
                <a:gdLst>
                  <a:gd name="connsiteX0" fmla="*/ 15849 w 15848"/>
                  <a:gd name="connsiteY0" fmla="*/ 0 h 11124"/>
                  <a:gd name="connsiteX1" fmla="*/ 0 w 15848"/>
                  <a:gd name="connsiteY1" fmla="*/ 11124 h 11124"/>
                </a:gdLst>
                <a:ahLst/>
                <a:cxnLst>
                  <a:cxn ang="0">
                    <a:pos x="connsiteX0" y="connsiteY0"/>
                  </a:cxn>
                  <a:cxn ang="0">
                    <a:pos x="connsiteX1" y="connsiteY1"/>
                  </a:cxn>
                </a:cxnLst>
                <a:rect l="l" t="t" r="r" b="b"/>
                <a:pathLst>
                  <a:path w="15848" h="11124">
                    <a:moveTo>
                      <a:pt x="15849" y="0"/>
                    </a:moveTo>
                    <a:lnTo>
                      <a:pt x="0" y="11124"/>
                    </a:lnTo>
                  </a:path>
                </a:pathLst>
              </a:custGeom>
              <a:ln w="6350" cap="rnd">
                <a:solidFill>
                  <a:schemeClr val="bg1">
                    <a:alpha val="80000"/>
                  </a:schemeClr>
                </a:solidFill>
                <a:prstDash val="solid"/>
                <a:round/>
              </a:ln>
            </p:spPr>
            <p:txBody>
              <a:bodyPr rtlCol="0" anchor="ctr"/>
              <a:lstStyle/>
              <a:p>
                <a:endParaRPr lang="en-GB"/>
              </a:p>
            </p:txBody>
          </p:sp>
          <p:sp>
            <p:nvSpPr>
              <p:cNvPr id="6209" name="Vrije vorm: vorm 6208">
                <a:extLst>
                  <a:ext uri="{FF2B5EF4-FFF2-40B4-BE49-F238E27FC236}">
                    <a16:creationId xmlns:a16="http://schemas.microsoft.com/office/drawing/2014/main" id="{9134E8FA-00D7-45B0-8574-EB0E2D43FEBC}"/>
                  </a:ext>
                </a:extLst>
              </p:cNvPr>
              <p:cNvSpPr/>
              <p:nvPr/>
            </p:nvSpPr>
            <p:spPr>
              <a:xfrm>
                <a:off x="7665212" y="2735203"/>
                <a:ext cx="13815" cy="10406"/>
              </a:xfrm>
              <a:custGeom>
                <a:avLst/>
                <a:gdLst>
                  <a:gd name="connsiteX0" fmla="*/ 0 w 13815"/>
                  <a:gd name="connsiteY0" fmla="*/ 10406 h 10406"/>
                  <a:gd name="connsiteX1" fmla="*/ 13816 w 13815"/>
                  <a:gd name="connsiteY1" fmla="*/ 0 h 10406"/>
                </a:gdLst>
                <a:ahLst/>
                <a:cxnLst>
                  <a:cxn ang="0">
                    <a:pos x="connsiteX0" y="connsiteY0"/>
                  </a:cxn>
                  <a:cxn ang="0">
                    <a:pos x="connsiteX1" y="connsiteY1"/>
                  </a:cxn>
                </a:cxnLst>
                <a:rect l="l" t="t" r="r" b="b"/>
                <a:pathLst>
                  <a:path w="13815" h="10406">
                    <a:moveTo>
                      <a:pt x="0" y="10406"/>
                    </a:moveTo>
                    <a:lnTo>
                      <a:pt x="13816" y="0"/>
                    </a:lnTo>
                  </a:path>
                </a:pathLst>
              </a:custGeom>
              <a:ln w="6350" cap="rnd">
                <a:solidFill>
                  <a:schemeClr val="bg1">
                    <a:alpha val="80000"/>
                  </a:schemeClr>
                </a:solidFill>
                <a:prstDash val="solid"/>
                <a:round/>
              </a:ln>
            </p:spPr>
            <p:txBody>
              <a:bodyPr rtlCol="0" anchor="ctr"/>
              <a:lstStyle/>
              <a:p>
                <a:endParaRPr lang="en-GB"/>
              </a:p>
            </p:txBody>
          </p:sp>
          <p:sp>
            <p:nvSpPr>
              <p:cNvPr id="6210" name="Vrije vorm: vorm 6209">
                <a:extLst>
                  <a:ext uri="{FF2B5EF4-FFF2-40B4-BE49-F238E27FC236}">
                    <a16:creationId xmlns:a16="http://schemas.microsoft.com/office/drawing/2014/main" id="{0E937D2C-82C3-4534-833E-111F1256A128}"/>
                  </a:ext>
                </a:extLst>
              </p:cNvPr>
              <p:cNvSpPr/>
              <p:nvPr/>
            </p:nvSpPr>
            <p:spPr>
              <a:xfrm>
                <a:off x="7665212" y="2745610"/>
                <a:ext cx="21530" cy="4963"/>
              </a:xfrm>
              <a:custGeom>
                <a:avLst/>
                <a:gdLst>
                  <a:gd name="connsiteX0" fmla="*/ 0 w 21530"/>
                  <a:gd name="connsiteY0" fmla="*/ 0 h 4963"/>
                  <a:gd name="connsiteX1" fmla="*/ 21531 w 21530"/>
                  <a:gd name="connsiteY1" fmla="*/ 4964 h 4963"/>
                </a:gdLst>
                <a:ahLst/>
                <a:cxnLst>
                  <a:cxn ang="0">
                    <a:pos x="connsiteX0" y="connsiteY0"/>
                  </a:cxn>
                  <a:cxn ang="0">
                    <a:pos x="connsiteX1" y="connsiteY1"/>
                  </a:cxn>
                </a:cxnLst>
                <a:rect l="l" t="t" r="r" b="b"/>
                <a:pathLst>
                  <a:path w="21530" h="4963">
                    <a:moveTo>
                      <a:pt x="0" y="0"/>
                    </a:moveTo>
                    <a:lnTo>
                      <a:pt x="21531" y="4964"/>
                    </a:lnTo>
                  </a:path>
                </a:pathLst>
              </a:custGeom>
              <a:ln w="6350" cap="rnd">
                <a:solidFill>
                  <a:schemeClr val="bg1">
                    <a:alpha val="80000"/>
                  </a:schemeClr>
                </a:solidFill>
                <a:prstDash val="solid"/>
                <a:round/>
              </a:ln>
            </p:spPr>
            <p:txBody>
              <a:bodyPr rtlCol="0" anchor="ctr"/>
              <a:lstStyle/>
              <a:p>
                <a:endParaRPr lang="en-GB"/>
              </a:p>
            </p:txBody>
          </p:sp>
          <p:sp>
            <p:nvSpPr>
              <p:cNvPr id="6211" name="Vrije vorm: vorm 6210">
                <a:extLst>
                  <a:ext uri="{FF2B5EF4-FFF2-40B4-BE49-F238E27FC236}">
                    <a16:creationId xmlns:a16="http://schemas.microsoft.com/office/drawing/2014/main" id="{5CC6190D-975E-44D3-811E-08039D081BAA}"/>
                  </a:ext>
                </a:extLst>
              </p:cNvPr>
              <p:cNvSpPr/>
              <p:nvPr/>
            </p:nvSpPr>
            <p:spPr>
              <a:xfrm>
                <a:off x="7665212" y="2745610"/>
                <a:ext cx="7894" cy="23384"/>
              </a:xfrm>
              <a:custGeom>
                <a:avLst/>
                <a:gdLst>
                  <a:gd name="connsiteX0" fmla="*/ 0 w 7894"/>
                  <a:gd name="connsiteY0" fmla="*/ 0 h 23384"/>
                  <a:gd name="connsiteX1" fmla="*/ 7895 w 7894"/>
                  <a:gd name="connsiteY1" fmla="*/ 23385 h 23384"/>
                </a:gdLst>
                <a:ahLst/>
                <a:cxnLst>
                  <a:cxn ang="0">
                    <a:pos x="connsiteX0" y="connsiteY0"/>
                  </a:cxn>
                  <a:cxn ang="0">
                    <a:pos x="connsiteX1" y="connsiteY1"/>
                  </a:cxn>
                </a:cxnLst>
                <a:rect l="l" t="t" r="r" b="b"/>
                <a:pathLst>
                  <a:path w="7894" h="23384">
                    <a:moveTo>
                      <a:pt x="0" y="0"/>
                    </a:moveTo>
                    <a:lnTo>
                      <a:pt x="7895" y="23385"/>
                    </a:lnTo>
                  </a:path>
                </a:pathLst>
              </a:custGeom>
              <a:ln w="6350" cap="rnd">
                <a:solidFill>
                  <a:schemeClr val="bg1">
                    <a:alpha val="80000"/>
                  </a:schemeClr>
                </a:solidFill>
                <a:prstDash val="solid"/>
                <a:round/>
              </a:ln>
            </p:spPr>
            <p:txBody>
              <a:bodyPr rtlCol="0" anchor="ctr"/>
              <a:lstStyle/>
              <a:p>
                <a:endParaRPr lang="en-GB"/>
              </a:p>
            </p:txBody>
          </p:sp>
          <p:sp>
            <p:nvSpPr>
              <p:cNvPr id="6212" name="Vrije vorm: vorm 6211">
                <a:extLst>
                  <a:ext uri="{FF2B5EF4-FFF2-40B4-BE49-F238E27FC236}">
                    <a16:creationId xmlns:a16="http://schemas.microsoft.com/office/drawing/2014/main" id="{742BC715-CEB6-45D3-BF6A-5C2AFD9ED6E0}"/>
                  </a:ext>
                </a:extLst>
              </p:cNvPr>
              <p:cNvSpPr/>
              <p:nvPr/>
            </p:nvSpPr>
            <p:spPr>
              <a:xfrm>
                <a:off x="7694697" y="2791063"/>
                <a:ext cx="1196" cy="1734"/>
              </a:xfrm>
              <a:custGeom>
                <a:avLst/>
                <a:gdLst>
                  <a:gd name="connsiteX0" fmla="*/ 0 w 1196"/>
                  <a:gd name="connsiteY0" fmla="*/ 1734 h 1734"/>
                  <a:gd name="connsiteX1" fmla="*/ 1196 w 1196"/>
                  <a:gd name="connsiteY1" fmla="*/ 0 h 1734"/>
                </a:gdLst>
                <a:ahLst/>
                <a:cxnLst>
                  <a:cxn ang="0">
                    <a:pos x="connsiteX0" y="connsiteY0"/>
                  </a:cxn>
                  <a:cxn ang="0">
                    <a:pos x="connsiteX1" y="connsiteY1"/>
                  </a:cxn>
                </a:cxnLst>
                <a:rect l="l" t="t" r="r" b="b"/>
                <a:pathLst>
                  <a:path w="1196" h="1734">
                    <a:moveTo>
                      <a:pt x="0" y="1734"/>
                    </a:moveTo>
                    <a:lnTo>
                      <a:pt x="1196" y="0"/>
                    </a:lnTo>
                  </a:path>
                </a:pathLst>
              </a:custGeom>
              <a:ln w="6350" cap="rnd">
                <a:solidFill>
                  <a:schemeClr val="bg1">
                    <a:alpha val="80000"/>
                  </a:schemeClr>
                </a:solidFill>
                <a:prstDash val="solid"/>
                <a:round/>
              </a:ln>
            </p:spPr>
            <p:txBody>
              <a:bodyPr rtlCol="0" anchor="ctr"/>
              <a:lstStyle/>
              <a:p>
                <a:endParaRPr lang="en-GB"/>
              </a:p>
            </p:txBody>
          </p:sp>
          <p:sp>
            <p:nvSpPr>
              <p:cNvPr id="6213" name="Vrije vorm: vorm 6212">
                <a:extLst>
                  <a:ext uri="{FF2B5EF4-FFF2-40B4-BE49-F238E27FC236}">
                    <a16:creationId xmlns:a16="http://schemas.microsoft.com/office/drawing/2014/main" id="{CE8B0796-40B5-47CB-ADEC-CFE2D4B28B22}"/>
                  </a:ext>
                </a:extLst>
              </p:cNvPr>
              <p:cNvSpPr/>
              <p:nvPr/>
            </p:nvSpPr>
            <p:spPr>
              <a:xfrm>
                <a:off x="7678788" y="2792798"/>
                <a:ext cx="15908" cy="3409"/>
              </a:xfrm>
              <a:custGeom>
                <a:avLst/>
                <a:gdLst>
                  <a:gd name="connsiteX0" fmla="*/ 15909 w 15908"/>
                  <a:gd name="connsiteY0" fmla="*/ 0 h 3409"/>
                  <a:gd name="connsiteX1" fmla="*/ 0 w 15908"/>
                  <a:gd name="connsiteY1" fmla="*/ 3409 h 3409"/>
                </a:gdLst>
                <a:ahLst/>
                <a:cxnLst>
                  <a:cxn ang="0">
                    <a:pos x="connsiteX0" y="connsiteY0"/>
                  </a:cxn>
                  <a:cxn ang="0">
                    <a:pos x="connsiteX1" y="connsiteY1"/>
                  </a:cxn>
                </a:cxnLst>
                <a:rect l="l" t="t" r="r" b="b"/>
                <a:pathLst>
                  <a:path w="15908" h="3409">
                    <a:moveTo>
                      <a:pt x="15909" y="0"/>
                    </a:moveTo>
                    <a:lnTo>
                      <a:pt x="0" y="3409"/>
                    </a:lnTo>
                  </a:path>
                </a:pathLst>
              </a:custGeom>
              <a:ln w="6350" cap="rnd">
                <a:solidFill>
                  <a:schemeClr val="bg1">
                    <a:alpha val="80000"/>
                  </a:schemeClr>
                </a:solidFill>
                <a:prstDash val="solid"/>
                <a:round/>
              </a:ln>
            </p:spPr>
            <p:txBody>
              <a:bodyPr rtlCol="0" anchor="ctr"/>
              <a:lstStyle/>
              <a:p>
                <a:endParaRPr lang="en-GB"/>
              </a:p>
            </p:txBody>
          </p:sp>
          <p:sp>
            <p:nvSpPr>
              <p:cNvPr id="6214" name="Vrije vorm: vorm 6213">
                <a:extLst>
                  <a:ext uri="{FF2B5EF4-FFF2-40B4-BE49-F238E27FC236}">
                    <a16:creationId xmlns:a16="http://schemas.microsoft.com/office/drawing/2014/main" id="{1267B500-EB45-48CB-B032-FBBC6F0116C4}"/>
                  </a:ext>
                </a:extLst>
              </p:cNvPr>
              <p:cNvSpPr/>
              <p:nvPr/>
            </p:nvSpPr>
            <p:spPr>
              <a:xfrm>
                <a:off x="7760903" y="2745909"/>
                <a:ext cx="1854" cy="7535"/>
              </a:xfrm>
              <a:custGeom>
                <a:avLst/>
                <a:gdLst>
                  <a:gd name="connsiteX0" fmla="*/ 0 w 1854"/>
                  <a:gd name="connsiteY0" fmla="*/ 0 h 7535"/>
                  <a:gd name="connsiteX1" fmla="*/ 1854 w 1854"/>
                  <a:gd name="connsiteY1" fmla="*/ 7536 h 7535"/>
                </a:gdLst>
                <a:ahLst/>
                <a:cxnLst>
                  <a:cxn ang="0">
                    <a:pos x="connsiteX0" y="connsiteY0"/>
                  </a:cxn>
                  <a:cxn ang="0">
                    <a:pos x="connsiteX1" y="connsiteY1"/>
                  </a:cxn>
                </a:cxnLst>
                <a:rect l="l" t="t" r="r" b="b"/>
                <a:pathLst>
                  <a:path w="1854" h="7535">
                    <a:moveTo>
                      <a:pt x="0" y="0"/>
                    </a:moveTo>
                    <a:lnTo>
                      <a:pt x="1854" y="7536"/>
                    </a:lnTo>
                  </a:path>
                </a:pathLst>
              </a:custGeom>
              <a:ln w="6350" cap="rnd">
                <a:solidFill>
                  <a:schemeClr val="bg1">
                    <a:alpha val="80000"/>
                  </a:schemeClr>
                </a:solidFill>
                <a:prstDash val="solid"/>
                <a:round/>
              </a:ln>
            </p:spPr>
            <p:txBody>
              <a:bodyPr rtlCol="0" anchor="ctr"/>
              <a:lstStyle/>
              <a:p>
                <a:endParaRPr lang="en-GB"/>
              </a:p>
            </p:txBody>
          </p:sp>
          <p:sp>
            <p:nvSpPr>
              <p:cNvPr id="6215" name="Vrije vorm: vorm 6214">
                <a:extLst>
                  <a:ext uri="{FF2B5EF4-FFF2-40B4-BE49-F238E27FC236}">
                    <a16:creationId xmlns:a16="http://schemas.microsoft.com/office/drawing/2014/main" id="{FE6F7E09-C3F8-4932-AC16-52930F211330}"/>
                  </a:ext>
                </a:extLst>
              </p:cNvPr>
              <p:cNvSpPr/>
              <p:nvPr/>
            </p:nvSpPr>
            <p:spPr>
              <a:xfrm>
                <a:off x="7566111" y="2815824"/>
                <a:ext cx="418" cy="10705"/>
              </a:xfrm>
              <a:custGeom>
                <a:avLst/>
                <a:gdLst>
                  <a:gd name="connsiteX0" fmla="*/ 418 w 418"/>
                  <a:gd name="connsiteY0" fmla="*/ 10705 h 10705"/>
                  <a:gd name="connsiteX1" fmla="*/ 0 w 418"/>
                  <a:gd name="connsiteY1" fmla="*/ 0 h 10705"/>
                </a:gdLst>
                <a:ahLst/>
                <a:cxnLst>
                  <a:cxn ang="0">
                    <a:pos x="connsiteX0" y="connsiteY0"/>
                  </a:cxn>
                  <a:cxn ang="0">
                    <a:pos x="connsiteX1" y="connsiteY1"/>
                  </a:cxn>
                </a:cxnLst>
                <a:rect l="l" t="t" r="r" b="b"/>
                <a:pathLst>
                  <a:path w="418" h="10705">
                    <a:moveTo>
                      <a:pt x="418" y="10705"/>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16" name="Vrije vorm: vorm 6215">
                <a:extLst>
                  <a:ext uri="{FF2B5EF4-FFF2-40B4-BE49-F238E27FC236}">
                    <a16:creationId xmlns:a16="http://schemas.microsoft.com/office/drawing/2014/main" id="{85E168F9-8763-4AA8-9DA8-6644B34095C4}"/>
                  </a:ext>
                </a:extLst>
              </p:cNvPr>
              <p:cNvSpPr/>
              <p:nvPr/>
            </p:nvSpPr>
            <p:spPr>
              <a:xfrm>
                <a:off x="7595656" y="2737835"/>
                <a:ext cx="4306" cy="9449"/>
              </a:xfrm>
              <a:custGeom>
                <a:avLst/>
                <a:gdLst>
                  <a:gd name="connsiteX0" fmla="*/ 0 w 4306"/>
                  <a:gd name="connsiteY0" fmla="*/ 0 h 9449"/>
                  <a:gd name="connsiteX1" fmla="*/ 4306 w 4306"/>
                  <a:gd name="connsiteY1" fmla="*/ 9449 h 9449"/>
                </a:gdLst>
                <a:ahLst/>
                <a:cxnLst>
                  <a:cxn ang="0">
                    <a:pos x="connsiteX0" y="connsiteY0"/>
                  </a:cxn>
                  <a:cxn ang="0">
                    <a:pos x="connsiteX1" y="connsiteY1"/>
                  </a:cxn>
                </a:cxnLst>
                <a:rect l="l" t="t" r="r" b="b"/>
                <a:pathLst>
                  <a:path w="4306" h="9449">
                    <a:moveTo>
                      <a:pt x="0" y="0"/>
                    </a:moveTo>
                    <a:lnTo>
                      <a:pt x="4306" y="9449"/>
                    </a:lnTo>
                  </a:path>
                </a:pathLst>
              </a:custGeom>
              <a:ln w="6350" cap="rnd">
                <a:solidFill>
                  <a:schemeClr val="bg1">
                    <a:alpha val="80000"/>
                  </a:schemeClr>
                </a:solidFill>
                <a:prstDash val="solid"/>
                <a:round/>
              </a:ln>
            </p:spPr>
            <p:txBody>
              <a:bodyPr rtlCol="0" anchor="ctr"/>
              <a:lstStyle/>
              <a:p>
                <a:endParaRPr lang="en-GB"/>
              </a:p>
            </p:txBody>
          </p:sp>
          <p:sp>
            <p:nvSpPr>
              <p:cNvPr id="6217" name="Vrije vorm: vorm 6216">
                <a:extLst>
                  <a:ext uri="{FF2B5EF4-FFF2-40B4-BE49-F238E27FC236}">
                    <a16:creationId xmlns:a16="http://schemas.microsoft.com/office/drawing/2014/main" id="{7740129F-0EA0-4EEB-8061-77EFD4FE57B6}"/>
                  </a:ext>
                </a:extLst>
              </p:cNvPr>
              <p:cNvSpPr/>
              <p:nvPr/>
            </p:nvSpPr>
            <p:spPr>
              <a:xfrm>
                <a:off x="7590453" y="2724498"/>
                <a:ext cx="5203" cy="13337"/>
              </a:xfrm>
              <a:custGeom>
                <a:avLst/>
                <a:gdLst>
                  <a:gd name="connsiteX0" fmla="*/ 5203 w 5203"/>
                  <a:gd name="connsiteY0" fmla="*/ 13337 h 13337"/>
                  <a:gd name="connsiteX1" fmla="*/ 0 w 5203"/>
                  <a:gd name="connsiteY1" fmla="*/ 0 h 13337"/>
                </a:gdLst>
                <a:ahLst/>
                <a:cxnLst>
                  <a:cxn ang="0">
                    <a:pos x="connsiteX0" y="connsiteY0"/>
                  </a:cxn>
                  <a:cxn ang="0">
                    <a:pos x="connsiteX1" y="connsiteY1"/>
                  </a:cxn>
                </a:cxnLst>
                <a:rect l="l" t="t" r="r" b="b"/>
                <a:pathLst>
                  <a:path w="5203" h="13337">
                    <a:moveTo>
                      <a:pt x="5203" y="1333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18" name="Vrije vorm: vorm 6217">
                <a:extLst>
                  <a:ext uri="{FF2B5EF4-FFF2-40B4-BE49-F238E27FC236}">
                    <a16:creationId xmlns:a16="http://schemas.microsoft.com/office/drawing/2014/main" id="{6CD79E92-542A-4E90-8302-AF702AFDD159}"/>
                  </a:ext>
                </a:extLst>
              </p:cNvPr>
              <p:cNvSpPr/>
              <p:nvPr/>
            </p:nvSpPr>
            <p:spPr>
              <a:xfrm>
                <a:off x="7624962" y="2733648"/>
                <a:ext cx="5083" cy="14413"/>
              </a:xfrm>
              <a:custGeom>
                <a:avLst/>
                <a:gdLst>
                  <a:gd name="connsiteX0" fmla="*/ 5083 w 5083"/>
                  <a:gd name="connsiteY0" fmla="*/ 14414 h 14413"/>
                  <a:gd name="connsiteX1" fmla="*/ 0 w 5083"/>
                  <a:gd name="connsiteY1" fmla="*/ 0 h 14413"/>
                </a:gdLst>
                <a:ahLst/>
                <a:cxnLst>
                  <a:cxn ang="0">
                    <a:pos x="connsiteX0" y="connsiteY0"/>
                  </a:cxn>
                  <a:cxn ang="0">
                    <a:pos x="connsiteX1" y="connsiteY1"/>
                  </a:cxn>
                </a:cxnLst>
                <a:rect l="l" t="t" r="r" b="b"/>
                <a:pathLst>
                  <a:path w="5083" h="14413">
                    <a:moveTo>
                      <a:pt x="5083" y="1441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19" name="Vrije vorm: vorm 6218">
                <a:extLst>
                  <a:ext uri="{FF2B5EF4-FFF2-40B4-BE49-F238E27FC236}">
                    <a16:creationId xmlns:a16="http://schemas.microsoft.com/office/drawing/2014/main" id="{A95E6BC1-6CD0-4654-B03B-BBAADC4165F6}"/>
                  </a:ext>
                </a:extLst>
              </p:cNvPr>
              <p:cNvSpPr/>
              <p:nvPr/>
            </p:nvSpPr>
            <p:spPr>
              <a:xfrm>
                <a:off x="7630045" y="2736220"/>
                <a:ext cx="4066" cy="11841"/>
              </a:xfrm>
              <a:custGeom>
                <a:avLst/>
                <a:gdLst>
                  <a:gd name="connsiteX0" fmla="*/ 0 w 4066"/>
                  <a:gd name="connsiteY0" fmla="*/ 11842 h 11841"/>
                  <a:gd name="connsiteX1" fmla="*/ 4067 w 4066"/>
                  <a:gd name="connsiteY1" fmla="*/ 0 h 11841"/>
                </a:gdLst>
                <a:ahLst/>
                <a:cxnLst>
                  <a:cxn ang="0">
                    <a:pos x="connsiteX0" y="connsiteY0"/>
                  </a:cxn>
                  <a:cxn ang="0">
                    <a:pos x="connsiteX1" y="connsiteY1"/>
                  </a:cxn>
                </a:cxnLst>
                <a:rect l="l" t="t" r="r" b="b"/>
                <a:pathLst>
                  <a:path w="4066" h="11841">
                    <a:moveTo>
                      <a:pt x="0" y="11842"/>
                    </a:moveTo>
                    <a:lnTo>
                      <a:pt x="4067" y="0"/>
                    </a:lnTo>
                  </a:path>
                </a:pathLst>
              </a:custGeom>
              <a:ln w="6350" cap="rnd">
                <a:solidFill>
                  <a:schemeClr val="bg1">
                    <a:alpha val="80000"/>
                  </a:schemeClr>
                </a:solidFill>
                <a:prstDash val="solid"/>
                <a:round/>
              </a:ln>
            </p:spPr>
            <p:txBody>
              <a:bodyPr rtlCol="0" anchor="ctr"/>
              <a:lstStyle/>
              <a:p>
                <a:endParaRPr lang="en-GB"/>
              </a:p>
            </p:txBody>
          </p:sp>
          <p:sp>
            <p:nvSpPr>
              <p:cNvPr id="6220" name="Vrije vorm: vorm 6219">
                <a:extLst>
                  <a:ext uri="{FF2B5EF4-FFF2-40B4-BE49-F238E27FC236}">
                    <a16:creationId xmlns:a16="http://schemas.microsoft.com/office/drawing/2014/main" id="{A18753A4-D587-4448-95BA-0F3A714008F2}"/>
                  </a:ext>
                </a:extLst>
              </p:cNvPr>
              <p:cNvSpPr/>
              <p:nvPr/>
            </p:nvSpPr>
            <p:spPr>
              <a:xfrm>
                <a:off x="7630045" y="2733648"/>
                <a:ext cx="13396" cy="14413"/>
              </a:xfrm>
              <a:custGeom>
                <a:avLst/>
                <a:gdLst>
                  <a:gd name="connsiteX0" fmla="*/ 0 w 13396"/>
                  <a:gd name="connsiteY0" fmla="*/ 14414 h 14413"/>
                  <a:gd name="connsiteX1" fmla="*/ 13397 w 13396"/>
                  <a:gd name="connsiteY1" fmla="*/ 0 h 14413"/>
                </a:gdLst>
                <a:ahLst/>
                <a:cxnLst>
                  <a:cxn ang="0">
                    <a:pos x="connsiteX0" y="connsiteY0"/>
                  </a:cxn>
                  <a:cxn ang="0">
                    <a:pos x="connsiteX1" y="connsiteY1"/>
                  </a:cxn>
                </a:cxnLst>
                <a:rect l="l" t="t" r="r" b="b"/>
                <a:pathLst>
                  <a:path w="13396" h="14413">
                    <a:moveTo>
                      <a:pt x="0" y="14414"/>
                    </a:moveTo>
                    <a:lnTo>
                      <a:pt x="13397" y="0"/>
                    </a:lnTo>
                  </a:path>
                </a:pathLst>
              </a:custGeom>
              <a:ln w="6350" cap="rnd">
                <a:solidFill>
                  <a:schemeClr val="bg1">
                    <a:alpha val="80000"/>
                  </a:schemeClr>
                </a:solidFill>
                <a:prstDash val="solid"/>
                <a:round/>
              </a:ln>
            </p:spPr>
            <p:txBody>
              <a:bodyPr rtlCol="0" anchor="ctr"/>
              <a:lstStyle/>
              <a:p>
                <a:endParaRPr lang="en-GB"/>
              </a:p>
            </p:txBody>
          </p:sp>
          <p:sp>
            <p:nvSpPr>
              <p:cNvPr id="6221" name="Vrije vorm: vorm 6220">
                <a:extLst>
                  <a:ext uri="{FF2B5EF4-FFF2-40B4-BE49-F238E27FC236}">
                    <a16:creationId xmlns:a16="http://schemas.microsoft.com/office/drawing/2014/main" id="{F1C9B56B-D803-4842-B984-31EC85B21BFE}"/>
                  </a:ext>
                </a:extLst>
              </p:cNvPr>
              <p:cNvSpPr/>
              <p:nvPr/>
            </p:nvSpPr>
            <p:spPr>
              <a:xfrm>
                <a:off x="7617605" y="2722764"/>
                <a:ext cx="7356" cy="10884"/>
              </a:xfrm>
              <a:custGeom>
                <a:avLst/>
                <a:gdLst>
                  <a:gd name="connsiteX0" fmla="*/ 0 w 7356"/>
                  <a:gd name="connsiteY0" fmla="*/ 0 h 10884"/>
                  <a:gd name="connsiteX1" fmla="*/ 7356 w 7356"/>
                  <a:gd name="connsiteY1" fmla="*/ 10885 h 10884"/>
                </a:gdLst>
                <a:ahLst/>
                <a:cxnLst>
                  <a:cxn ang="0">
                    <a:pos x="connsiteX0" y="connsiteY0"/>
                  </a:cxn>
                  <a:cxn ang="0">
                    <a:pos x="connsiteX1" y="connsiteY1"/>
                  </a:cxn>
                </a:cxnLst>
                <a:rect l="l" t="t" r="r" b="b"/>
                <a:pathLst>
                  <a:path w="7356" h="10884">
                    <a:moveTo>
                      <a:pt x="0" y="0"/>
                    </a:moveTo>
                    <a:lnTo>
                      <a:pt x="7356" y="10885"/>
                    </a:lnTo>
                  </a:path>
                </a:pathLst>
              </a:custGeom>
              <a:ln w="6350" cap="rnd">
                <a:solidFill>
                  <a:schemeClr val="bg1">
                    <a:alpha val="80000"/>
                  </a:schemeClr>
                </a:solidFill>
                <a:prstDash val="solid"/>
                <a:round/>
              </a:ln>
            </p:spPr>
            <p:txBody>
              <a:bodyPr rtlCol="0" anchor="ctr"/>
              <a:lstStyle/>
              <a:p>
                <a:endParaRPr lang="en-GB"/>
              </a:p>
            </p:txBody>
          </p:sp>
          <p:sp>
            <p:nvSpPr>
              <p:cNvPr id="6222" name="Vrije vorm: vorm 6221">
                <a:extLst>
                  <a:ext uri="{FF2B5EF4-FFF2-40B4-BE49-F238E27FC236}">
                    <a16:creationId xmlns:a16="http://schemas.microsoft.com/office/drawing/2014/main" id="{961BBFA7-2AE4-4C40-8EB8-D0B9C367763D}"/>
                  </a:ext>
                </a:extLst>
              </p:cNvPr>
              <p:cNvSpPr/>
              <p:nvPr/>
            </p:nvSpPr>
            <p:spPr>
              <a:xfrm>
                <a:off x="7617605" y="2704463"/>
                <a:ext cx="23205" cy="18301"/>
              </a:xfrm>
              <a:custGeom>
                <a:avLst/>
                <a:gdLst>
                  <a:gd name="connsiteX0" fmla="*/ 0 w 23205"/>
                  <a:gd name="connsiteY0" fmla="*/ 18301 h 18301"/>
                  <a:gd name="connsiteX1" fmla="*/ 23205 w 23205"/>
                  <a:gd name="connsiteY1" fmla="*/ 0 h 18301"/>
                </a:gdLst>
                <a:ahLst/>
                <a:cxnLst>
                  <a:cxn ang="0">
                    <a:pos x="connsiteX0" y="connsiteY0"/>
                  </a:cxn>
                  <a:cxn ang="0">
                    <a:pos x="connsiteX1" y="connsiteY1"/>
                  </a:cxn>
                </a:cxnLst>
                <a:rect l="l" t="t" r="r" b="b"/>
                <a:pathLst>
                  <a:path w="23205" h="18301">
                    <a:moveTo>
                      <a:pt x="0" y="18301"/>
                    </a:moveTo>
                    <a:lnTo>
                      <a:pt x="23205" y="0"/>
                    </a:lnTo>
                  </a:path>
                </a:pathLst>
              </a:custGeom>
              <a:ln w="6350" cap="rnd">
                <a:solidFill>
                  <a:schemeClr val="bg1">
                    <a:alpha val="80000"/>
                  </a:schemeClr>
                </a:solidFill>
                <a:prstDash val="solid"/>
                <a:round/>
              </a:ln>
            </p:spPr>
            <p:txBody>
              <a:bodyPr rtlCol="0" anchor="ctr"/>
              <a:lstStyle/>
              <a:p>
                <a:endParaRPr lang="en-GB"/>
              </a:p>
            </p:txBody>
          </p:sp>
          <p:sp>
            <p:nvSpPr>
              <p:cNvPr id="6223" name="Vrije vorm: vorm 6222">
                <a:extLst>
                  <a:ext uri="{FF2B5EF4-FFF2-40B4-BE49-F238E27FC236}">
                    <a16:creationId xmlns:a16="http://schemas.microsoft.com/office/drawing/2014/main" id="{B3115BB2-8519-4C70-A6C3-124A98224769}"/>
                  </a:ext>
                </a:extLst>
              </p:cNvPr>
              <p:cNvSpPr/>
              <p:nvPr/>
            </p:nvSpPr>
            <p:spPr>
              <a:xfrm>
                <a:off x="7538301" y="2694535"/>
                <a:ext cx="14054" cy="12439"/>
              </a:xfrm>
              <a:custGeom>
                <a:avLst/>
                <a:gdLst>
                  <a:gd name="connsiteX0" fmla="*/ 14054 w 14054"/>
                  <a:gd name="connsiteY0" fmla="*/ 0 h 12439"/>
                  <a:gd name="connsiteX1" fmla="*/ 0 w 14054"/>
                  <a:gd name="connsiteY1" fmla="*/ 12440 h 12439"/>
                </a:gdLst>
                <a:ahLst/>
                <a:cxnLst>
                  <a:cxn ang="0">
                    <a:pos x="connsiteX0" y="connsiteY0"/>
                  </a:cxn>
                  <a:cxn ang="0">
                    <a:pos x="connsiteX1" y="connsiteY1"/>
                  </a:cxn>
                </a:cxnLst>
                <a:rect l="l" t="t" r="r" b="b"/>
                <a:pathLst>
                  <a:path w="14054" h="12439">
                    <a:moveTo>
                      <a:pt x="14054" y="0"/>
                    </a:moveTo>
                    <a:lnTo>
                      <a:pt x="0" y="12440"/>
                    </a:lnTo>
                  </a:path>
                </a:pathLst>
              </a:custGeom>
              <a:ln w="6350" cap="rnd">
                <a:solidFill>
                  <a:schemeClr val="bg1">
                    <a:alpha val="80000"/>
                  </a:schemeClr>
                </a:solidFill>
                <a:prstDash val="solid"/>
                <a:round/>
              </a:ln>
            </p:spPr>
            <p:txBody>
              <a:bodyPr rtlCol="0" anchor="ctr"/>
              <a:lstStyle/>
              <a:p>
                <a:endParaRPr lang="en-GB"/>
              </a:p>
            </p:txBody>
          </p:sp>
          <p:sp>
            <p:nvSpPr>
              <p:cNvPr id="6224" name="Vrije vorm: vorm 6223">
                <a:extLst>
                  <a:ext uri="{FF2B5EF4-FFF2-40B4-BE49-F238E27FC236}">
                    <a16:creationId xmlns:a16="http://schemas.microsoft.com/office/drawing/2014/main" id="{F1859E4D-0E52-4184-90C4-7459604CD6FA}"/>
                  </a:ext>
                </a:extLst>
              </p:cNvPr>
              <p:cNvSpPr/>
              <p:nvPr/>
            </p:nvSpPr>
            <p:spPr>
              <a:xfrm>
                <a:off x="7604687" y="2722764"/>
                <a:ext cx="12918" cy="8672"/>
              </a:xfrm>
              <a:custGeom>
                <a:avLst/>
                <a:gdLst>
                  <a:gd name="connsiteX0" fmla="*/ 0 w 12918"/>
                  <a:gd name="connsiteY0" fmla="*/ 8672 h 8672"/>
                  <a:gd name="connsiteX1" fmla="*/ 12918 w 12918"/>
                  <a:gd name="connsiteY1" fmla="*/ 0 h 8672"/>
                </a:gdLst>
                <a:ahLst/>
                <a:cxnLst>
                  <a:cxn ang="0">
                    <a:pos x="connsiteX0" y="connsiteY0"/>
                  </a:cxn>
                  <a:cxn ang="0">
                    <a:pos x="connsiteX1" y="connsiteY1"/>
                  </a:cxn>
                </a:cxnLst>
                <a:rect l="l" t="t" r="r" b="b"/>
                <a:pathLst>
                  <a:path w="12918" h="8672">
                    <a:moveTo>
                      <a:pt x="0" y="8672"/>
                    </a:moveTo>
                    <a:lnTo>
                      <a:pt x="12918" y="0"/>
                    </a:lnTo>
                  </a:path>
                </a:pathLst>
              </a:custGeom>
              <a:ln w="6350" cap="rnd">
                <a:solidFill>
                  <a:schemeClr val="bg1">
                    <a:alpha val="80000"/>
                  </a:schemeClr>
                </a:solidFill>
                <a:prstDash val="solid"/>
                <a:round/>
              </a:ln>
            </p:spPr>
            <p:txBody>
              <a:bodyPr rtlCol="0" anchor="ctr"/>
              <a:lstStyle/>
              <a:p>
                <a:endParaRPr lang="en-GB"/>
              </a:p>
            </p:txBody>
          </p:sp>
          <p:sp>
            <p:nvSpPr>
              <p:cNvPr id="6225" name="Vrije vorm: vorm 6224">
                <a:extLst>
                  <a:ext uri="{FF2B5EF4-FFF2-40B4-BE49-F238E27FC236}">
                    <a16:creationId xmlns:a16="http://schemas.microsoft.com/office/drawing/2014/main" id="{7B626241-0CCA-44AF-8D57-A28AEA81751A}"/>
                  </a:ext>
                </a:extLst>
              </p:cNvPr>
              <p:cNvSpPr/>
              <p:nvPr/>
            </p:nvSpPr>
            <p:spPr>
              <a:xfrm>
                <a:off x="7615034" y="2677071"/>
                <a:ext cx="10107" cy="12260"/>
              </a:xfrm>
              <a:custGeom>
                <a:avLst/>
                <a:gdLst>
                  <a:gd name="connsiteX0" fmla="*/ 0 w 10107"/>
                  <a:gd name="connsiteY0" fmla="*/ 0 h 12260"/>
                  <a:gd name="connsiteX1" fmla="*/ 10107 w 10107"/>
                  <a:gd name="connsiteY1" fmla="*/ 12260 h 12260"/>
                </a:gdLst>
                <a:ahLst/>
                <a:cxnLst>
                  <a:cxn ang="0">
                    <a:pos x="connsiteX0" y="connsiteY0"/>
                  </a:cxn>
                  <a:cxn ang="0">
                    <a:pos x="connsiteX1" y="connsiteY1"/>
                  </a:cxn>
                </a:cxnLst>
                <a:rect l="l" t="t" r="r" b="b"/>
                <a:pathLst>
                  <a:path w="10107" h="12260">
                    <a:moveTo>
                      <a:pt x="0" y="0"/>
                    </a:moveTo>
                    <a:lnTo>
                      <a:pt x="10107" y="12260"/>
                    </a:lnTo>
                  </a:path>
                </a:pathLst>
              </a:custGeom>
              <a:ln w="6350" cap="rnd">
                <a:solidFill>
                  <a:schemeClr val="bg1">
                    <a:alpha val="80000"/>
                  </a:schemeClr>
                </a:solidFill>
                <a:prstDash val="solid"/>
                <a:round/>
              </a:ln>
            </p:spPr>
            <p:txBody>
              <a:bodyPr rtlCol="0" anchor="ctr"/>
              <a:lstStyle/>
              <a:p>
                <a:endParaRPr lang="en-GB"/>
              </a:p>
            </p:txBody>
          </p:sp>
          <p:sp>
            <p:nvSpPr>
              <p:cNvPr id="6226" name="Vrije vorm: vorm 6225">
                <a:extLst>
                  <a:ext uri="{FF2B5EF4-FFF2-40B4-BE49-F238E27FC236}">
                    <a16:creationId xmlns:a16="http://schemas.microsoft.com/office/drawing/2014/main" id="{5C74B121-A7AE-463E-8D72-8EB0DE017C81}"/>
                  </a:ext>
                </a:extLst>
              </p:cNvPr>
              <p:cNvSpPr/>
              <p:nvPr/>
            </p:nvSpPr>
            <p:spPr>
              <a:xfrm>
                <a:off x="7615034" y="2676293"/>
                <a:ext cx="27690" cy="777"/>
              </a:xfrm>
              <a:custGeom>
                <a:avLst/>
                <a:gdLst>
                  <a:gd name="connsiteX0" fmla="*/ 0 w 27690"/>
                  <a:gd name="connsiteY0" fmla="*/ 778 h 777"/>
                  <a:gd name="connsiteX1" fmla="*/ 27690 w 27690"/>
                  <a:gd name="connsiteY1" fmla="*/ 0 h 777"/>
                </a:gdLst>
                <a:ahLst/>
                <a:cxnLst>
                  <a:cxn ang="0">
                    <a:pos x="connsiteX0" y="connsiteY0"/>
                  </a:cxn>
                  <a:cxn ang="0">
                    <a:pos x="connsiteX1" y="connsiteY1"/>
                  </a:cxn>
                </a:cxnLst>
                <a:rect l="l" t="t" r="r" b="b"/>
                <a:pathLst>
                  <a:path w="27690" h="777">
                    <a:moveTo>
                      <a:pt x="0" y="778"/>
                    </a:moveTo>
                    <a:lnTo>
                      <a:pt x="27690" y="0"/>
                    </a:lnTo>
                  </a:path>
                </a:pathLst>
              </a:custGeom>
              <a:ln w="6350" cap="rnd">
                <a:solidFill>
                  <a:schemeClr val="bg1">
                    <a:alpha val="80000"/>
                  </a:schemeClr>
                </a:solidFill>
                <a:prstDash val="solid"/>
                <a:round/>
              </a:ln>
            </p:spPr>
            <p:txBody>
              <a:bodyPr rtlCol="0" anchor="ctr"/>
              <a:lstStyle/>
              <a:p>
                <a:endParaRPr lang="en-GB"/>
              </a:p>
            </p:txBody>
          </p:sp>
          <p:sp>
            <p:nvSpPr>
              <p:cNvPr id="6227" name="Vrije vorm: vorm 6226">
                <a:extLst>
                  <a:ext uri="{FF2B5EF4-FFF2-40B4-BE49-F238E27FC236}">
                    <a16:creationId xmlns:a16="http://schemas.microsoft.com/office/drawing/2014/main" id="{F09098D5-FAB0-4B5C-8AFB-0EC23EB1C793}"/>
                  </a:ext>
                </a:extLst>
              </p:cNvPr>
              <p:cNvSpPr/>
              <p:nvPr/>
            </p:nvSpPr>
            <p:spPr>
              <a:xfrm>
                <a:off x="7612223" y="2670612"/>
                <a:ext cx="2810" cy="6459"/>
              </a:xfrm>
              <a:custGeom>
                <a:avLst/>
                <a:gdLst>
                  <a:gd name="connsiteX0" fmla="*/ 2811 w 2810"/>
                  <a:gd name="connsiteY0" fmla="*/ 6459 h 6459"/>
                  <a:gd name="connsiteX1" fmla="*/ 0 w 2810"/>
                  <a:gd name="connsiteY1" fmla="*/ 0 h 6459"/>
                </a:gdLst>
                <a:ahLst/>
                <a:cxnLst>
                  <a:cxn ang="0">
                    <a:pos x="connsiteX0" y="connsiteY0"/>
                  </a:cxn>
                  <a:cxn ang="0">
                    <a:pos x="connsiteX1" y="connsiteY1"/>
                  </a:cxn>
                </a:cxnLst>
                <a:rect l="l" t="t" r="r" b="b"/>
                <a:pathLst>
                  <a:path w="2810" h="6459">
                    <a:moveTo>
                      <a:pt x="2811" y="6459"/>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28" name="Vrije vorm: vorm 6227">
                <a:extLst>
                  <a:ext uri="{FF2B5EF4-FFF2-40B4-BE49-F238E27FC236}">
                    <a16:creationId xmlns:a16="http://schemas.microsoft.com/office/drawing/2014/main" id="{C607120F-1981-42B7-8B84-075041BA3107}"/>
                  </a:ext>
                </a:extLst>
              </p:cNvPr>
              <p:cNvSpPr/>
              <p:nvPr/>
            </p:nvSpPr>
            <p:spPr>
              <a:xfrm>
                <a:off x="7615034" y="2668638"/>
                <a:ext cx="19796" cy="8432"/>
              </a:xfrm>
              <a:custGeom>
                <a:avLst/>
                <a:gdLst>
                  <a:gd name="connsiteX0" fmla="*/ 0 w 19796"/>
                  <a:gd name="connsiteY0" fmla="*/ 8433 h 8432"/>
                  <a:gd name="connsiteX1" fmla="*/ 19796 w 19796"/>
                  <a:gd name="connsiteY1" fmla="*/ 0 h 8432"/>
                </a:gdLst>
                <a:ahLst/>
                <a:cxnLst>
                  <a:cxn ang="0">
                    <a:pos x="connsiteX0" y="connsiteY0"/>
                  </a:cxn>
                  <a:cxn ang="0">
                    <a:pos x="connsiteX1" y="connsiteY1"/>
                  </a:cxn>
                </a:cxnLst>
                <a:rect l="l" t="t" r="r" b="b"/>
                <a:pathLst>
                  <a:path w="19796" h="8432">
                    <a:moveTo>
                      <a:pt x="0" y="8433"/>
                    </a:moveTo>
                    <a:lnTo>
                      <a:pt x="19796" y="0"/>
                    </a:lnTo>
                  </a:path>
                </a:pathLst>
              </a:custGeom>
              <a:ln w="6350" cap="rnd">
                <a:solidFill>
                  <a:schemeClr val="bg1">
                    <a:alpha val="80000"/>
                  </a:schemeClr>
                </a:solidFill>
                <a:prstDash val="solid"/>
                <a:round/>
              </a:ln>
            </p:spPr>
            <p:txBody>
              <a:bodyPr rtlCol="0" anchor="ctr"/>
              <a:lstStyle/>
              <a:p>
                <a:endParaRPr lang="en-GB"/>
              </a:p>
            </p:txBody>
          </p:sp>
          <p:sp>
            <p:nvSpPr>
              <p:cNvPr id="6229" name="Vrije vorm: vorm 6228">
                <a:extLst>
                  <a:ext uri="{FF2B5EF4-FFF2-40B4-BE49-F238E27FC236}">
                    <a16:creationId xmlns:a16="http://schemas.microsoft.com/office/drawing/2014/main" id="{D60BD706-D1A7-4855-A16C-32ECA903CCA9}"/>
                  </a:ext>
                </a:extLst>
              </p:cNvPr>
              <p:cNvSpPr/>
              <p:nvPr/>
            </p:nvSpPr>
            <p:spPr>
              <a:xfrm>
                <a:off x="7590034" y="2667502"/>
                <a:ext cx="22188" cy="3109"/>
              </a:xfrm>
              <a:custGeom>
                <a:avLst/>
                <a:gdLst>
                  <a:gd name="connsiteX0" fmla="*/ 0 w 22188"/>
                  <a:gd name="connsiteY0" fmla="*/ 0 h 3109"/>
                  <a:gd name="connsiteX1" fmla="*/ 22188 w 22188"/>
                  <a:gd name="connsiteY1" fmla="*/ 3110 h 3109"/>
                </a:gdLst>
                <a:ahLst/>
                <a:cxnLst>
                  <a:cxn ang="0">
                    <a:pos x="connsiteX0" y="connsiteY0"/>
                  </a:cxn>
                  <a:cxn ang="0">
                    <a:pos x="connsiteX1" y="connsiteY1"/>
                  </a:cxn>
                </a:cxnLst>
                <a:rect l="l" t="t" r="r" b="b"/>
                <a:pathLst>
                  <a:path w="22188" h="3109">
                    <a:moveTo>
                      <a:pt x="0" y="0"/>
                    </a:moveTo>
                    <a:lnTo>
                      <a:pt x="22188" y="3110"/>
                    </a:lnTo>
                  </a:path>
                </a:pathLst>
              </a:custGeom>
              <a:ln w="6350" cap="rnd">
                <a:solidFill>
                  <a:schemeClr val="bg1">
                    <a:alpha val="80000"/>
                  </a:schemeClr>
                </a:solidFill>
                <a:prstDash val="solid"/>
                <a:round/>
              </a:ln>
            </p:spPr>
            <p:txBody>
              <a:bodyPr rtlCol="0" anchor="ctr"/>
              <a:lstStyle/>
              <a:p>
                <a:endParaRPr lang="en-GB"/>
              </a:p>
            </p:txBody>
          </p:sp>
          <p:sp>
            <p:nvSpPr>
              <p:cNvPr id="6230" name="Vrije vorm: vorm 6229">
                <a:extLst>
                  <a:ext uri="{FF2B5EF4-FFF2-40B4-BE49-F238E27FC236}">
                    <a16:creationId xmlns:a16="http://schemas.microsoft.com/office/drawing/2014/main" id="{D10536A6-CB25-4260-8CC4-539793FA5E30}"/>
                  </a:ext>
                </a:extLst>
              </p:cNvPr>
              <p:cNvSpPr/>
              <p:nvPr/>
            </p:nvSpPr>
            <p:spPr>
              <a:xfrm>
                <a:off x="7590034" y="2667502"/>
                <a:ext cx="2810" cy="17164"/>
              </a:xfrm>
              <a:custGeom>
                <a:avLst/>
                <a:gdLst>
                  <a:gd name="connsiteX0" fmla="*/ 0 w 2810"/>
                  <a:gd name="connsiteY0" fmla="*/ 0 h 17164"/>
                  <a:gd name="connsiteX1" fmla="*/ 2811 w 2810"/>
                  <a:gd name="connsiteY1" fmla="*/ 17165 h 17164"/>
                </a:gdLst>
                <a:ahLst/>
                <a:cxnLst>
                  <a:cxn ang="0">
                    <a:pos x="connsiteX0" y="connsiteY0"/>
                  </a:cxn>
                  <a:cxn ang="0">
                    <a:pos x="connsiteX1" y="connsiteY1"/>
                  </a:cxn>
                </a:cxnLst>
                <a:rect l="l" t="t" r="r" b="b"/>
                <a:pathLst>
                  <a:path w="2810" h="17164">
                    <a:moveTo>
                      <a:pt x="0" y="0"/>
                    </a:moveTo>
                    <a:lnTo>
                      <a:pt x="2811" y="17165"/>
                    </a:lnTo>
                  </a:path>
                </a:pathLst>
              </a:custGeom>
              <a:ln w="6350" cap="rnd">
                <a:solidFill>
                  <a:schemeClr val="bg1">
                    <a:alpha val="80000"/>
                  </a:schemeClr>
                </a:solidFill>
                <a:prstDash val="solid"/>
                <a:round/>
              </a:ln>
            </p:spPr>
            <p:txBody>
              <a:bodyPr rtlCol="0" anchor="ctr"/>
              <a:lstStyle/>
              <a:p>
                <a:endParaRPr lang="en-GB"/>
              </a:p>
            </p:txBody>
          </p:sp>
          <p:sp>
            <p:nvSpPr>
              <p:cNvPr id="6231" name="Vrije vorm: vorm 6230">
                <a:extLst>
                  <a:ext uri="{FF2B5EF4-FFF2-40B4-BE49-F238E27FC236}">
                    <a16:creationId xmlns:a16="http://schemas.microsoft.com/office/drawing/2014/main" id="{988106F7-103B-4695-9D37-1F10A5BED5B7}"/>
                  </a:ext>
                </a:extLst>
              </p:cNvPr>
              <p:cNvSpPr/>
              <p:nvPr/>
            </p:nvSpPr>
            <p:spPr>
              <a:xfrm>
                <a:off x="7590034" y="2659308"/>
                <a:ext cx="14772" cy="8193"/>
              </a:xfrm>
              <a:custGeom>
                <a:avLst/>
                <a:gdLst>
                  <a:gd name="connsiteX0" fmla="*/ 0 w 14772"/>
                  <a:gd name="connsiteY0" fmla="*/ 8194 h 8193"/>
                  <a:gd name="connsiteX1" fmla="*/ 14772 w 14772"/>
                  <a:gd name="connsiteY1" fmla="*/ 0 h 8193"/>
                </a:gdLst>
                <a:ahLst/>
                <a:cxnLst>
                  <a:cxn ang="0">
                    <a:pos x="connsiteX0" y="connsiteY0"/>
                  </a:cxn>
                  <a:cxn ang="0">
                    <a:pos x="connsiteX1" y="connsiteY1"/>
                  </a:cxn>
                </a:cxnLst>
                <a:rect l="l" t="t" r="r" b="b"/>
                <a:pathLst>
                  <a:path w="14772" h="8193">
                    <a:moveTo>
                      <a:pt x="0" y="8194"/>
                    </a:moveTo>
                    <a:lnTo>
                      <a:pt x="14772" y="0"/>
                    </a:lnTo>
                  </a:path>
                </a:pathLst>
              </a:custGeom>
              <a:ln w="6350" cap="rnd">
                <a:solidFill>
                  <a:schemeClr val="bg1">
                    <a:alpha val="80000"/>
                  </a:schemeClr>
                </a:solidFill>
                <a:prstDash val="solid"/>
                <a:round/>
              </a:ln>
            </p:spPr>
            <p:txBody>
              <a:bodyPr rtlCol="0" anchor="ctr"/>
              <a:lstStyle/>
              <a:p>
                <a:endParaRPr lang="en-GB"/>
              </a:p>
            </p:txBody>
          </p:sp>
          <p:sp>
            <p:nvSpPr>
              <p:cNvPr id="6232" name="Vrije vorm: vorm 6231">
                <a:extLst>
                  <a:ext uri="{FF2B5EF4-FFF2-40B4-BE49-F238E27FC236}">
                    <a16:creationId xmlns:a16="http://schemas.microsoft.com/office/drawing/2014/main" id="{CC644384-9374-4243-8E2B-AB3E6A344AD1}"/>
                  </a:ext>
                </a:extLst>
              </p:cNvPr>
              <p:cNvSpPr/>
              <p:nvPr/>
            </p:nvSpPr>
            <p:spPr>
              <a:xfrm>
                <a:off x="7745354" y="2780178"/>
                <a:ext cx="18001" cy="10167"/>
              </a:xfrm>
              <a:custGeom>
                <a:avLst/>
                <a:gdLst>
                  <a:gd name="connsiteX0" fmla="*/ 0 w 18001"/>
                  <a:gd name="connsiteY0" fmla="*/ 10167 h 10167"/>
                  <a:gd name="connsiteX1" fmla="*/ 18002 w 18001"/>
                  <a:gd name="connsiteY1" fmla="*/ 0 h 10167"/>
                </a:gdLst>
                <a:ahLst/>
                <a:cxnLst>
                  <a:cxn ang="0">
                    <a:pos x="connsiteX0" y="connsiteY0"/>
                  </a:cxn>
                  <a:cxn ang="0">
                    <a:pos x="connsiteX1" y="connsiteY1"/>
                  </a:cxn>
                </a:cxnLst>
                <a:rect l="l" t="t" r="r" b="b"/>
                <a:pathLst>
                  <a:path w="18001" h="10167">
                    <a:moveTo>
                      <a:pt x="0" y="10167"/>
                    </a:moveTo>
                    <a:lnTo>
                      <a:pt x="18002" y="0"/>
                    </a:lnTo>
                  </a:path>
                </a:pathLst>
              </a:custGeom>
              <a:ln w="6350" cap="rnd">
                <a:solidFill>
                  <a:schemeClr val="bg1">
                    <a:alpha val="80000"/>
                  </a:schemeClr>
                </a:solidFill>
                <a:prstDash val="solid"/>
                <a:round/>
              </a:ln>
            </p:spPr>
            <p:txBody>
              <a:bodyPr rtlCol="0" anchor="ctr"/>
              <a:lstStyle/>
              <a:p>
                <a:endParaRPr lang="en-GB"/>
              </a:p>
            </p:txBody>
          </p:sp>
          <p:sp>
            <p:nvSpPr>
              <p:cNvPr id="6233" name="Vrije vorm: vorm 6232">
                <a:extLst>
                  <a:ext uri="{FF2B5EF4-FFF2-40B4-BE49-F238E27FC236}">
                    <a16:creationId xmlns:a16="http://schemas.microsoft.com/office/drawing/2014/main" id="{D798A6D3-0112-4AF0-8041-BB8DB93BD934}"/>
                  </a:ext>
                </a:extLst>
              </p:cNvPr>
              <p:cNvSpPr/>
              <p:nvPr/>
            </p:nvSpPr>
            <p:spPr>
              <a:xfrm>
                <a:off x="7745354" y="2790346"/>
                <a:ext cx="24102" cy="34987"/>
              </a:xfrm>
              <a:custGeom>
                <a:avLst/>
                <a:gdLst>
                  <a:gd name="connsiteX0" fmla="*/ 0 w 24102"/>
                  <a:gd name="connsiteY0" fmla="*/ 0 h 34987"/>
                  <a:gd name="connsiteX1" fmla="*/ 24102 w 24102"/>
                  <a:gd name="connsiteY1" fmla="*/ 34987 h 34987"/>
                </a:gdLst>
                <a:ahLst/>
                <a:cxnLst>
                  <a:cxn ang="0">
                    <a:pos x="connsiteX0" y="connsiteY0"/>
                  </a:cxn>
                  <a:cxn ang="0">
                    <a:pos x="connsiteX1" y="connsiteY1"/>
                  </a:cxn>
                </a:cxnLst>
                <a:rect l="l" t="t" r="r" b="b"/>
                <a:pathLst>
                  <a:path w="24102" h="34987">
                    <a:moveTo>
                      <a:pt x="0" y="0"/>
                    </a:moveTo>
                    <a:lnTo>
                      <a:pt x="24102" y="34987"/>
                    </a:lnTo>
                  </a:path>
                </a:pathLst>
              </a:custGeom>
              <a:ln w="6350" cap="rnd">
                <a:solidFill>
                  <a:schemeClr val="bg1">
                    <a:alpha val="80000"/>
                  </a:schemeClr>
                </a:solidFill>
                <a:prstDash val="solid"/>
                <a:round/>
              </a:ln>
            </p:spPr>
            <p:txBody>
              <a:bodyPr rtlCol="0" anchor="ctr"/>
              <a:lstStyle/>
              <a:p>
                <a:endParaRPr lang="en-GB"/>
              </a:p>
            </p:txBody>
          </p:sp>
          <p:sp>
            <p:nvSpPr>
              <p:cNvPr id="6234" name="Vrije vorm: vorm 6233">
                <a:extLst>
                  <a:ext uri="{FF2B5EF4-FFF2-40B4-BE49-F238E27FC236}">
                    <a16:creationId xmlns:a16="http://schemas.microsoft.com/office/drawing/2014/main" id="{6A20435E-646E-4B8D-ACAD-EACFC615D3BA}"/>
                  </a:ext>
                </a:extLst>
              </p:cNvPr>
              <p:cNvSpPr/>
              <p:nvPr/>
            </p:nvSpPr>
            <p:spPr>
              <a:xfrm>
                <a:off x="7728129" y="2777068"/>
                <a:ext cx="17224" cy="13277"/>
              </a:xfrm>
              <a:custGeom>
                <a:avLst/>
                <a:gdLst>
                  <a:gd name="connsiteX0" fmla="*/ 17224 w 17224"/>
                  <a:gd name="connsiteY0" fmla="*/ 13277 h 13277"/>
                  <a:gd name="connsiteX1" fmla="*/ 0 w 17224"/>
                  <a:gd name="connsiteY1" fmla="*/ 0 h 13277"/>
                </a:gdLst>
                <a:ahLst/>
                <a:cxnLst>
                  <a:cxn ang="0">
                    <a:pos x="connsiteX0" y="connsiteY0"/>
                  </a:cxn>
                  <a:cxn ang="0">
                    <a:pos x="connsiteX1" y="connsiteY1"/>
                  </a:cxn>
                </a:cxnLst>
                <a:rect l="l" t="t" r="r" b="b"/>
                <a:pathLst>
                  <a:path w="17224" h="13277">
                    <a:moveTo>
                      <a:pt x="17224" y="1327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35" name="Vrije vorm: vorm 6234">
                <a:extLst>
                  <a:ext uri="{FF2B5EF4-FFF2-40B4-BE49-F238E27FC236}">
                    <a16:creationId xmlns:a16="http://schemas.microsoft.com/office/drawing/2014/main" id="{F6B4F732-6866-4619-8631-BD28062B77CF}"/>
                  </a:ext>
                </a:extLst>
              </p:cNvPr>
              <p:cNvSpPr/>
              <p:nvPr/>
            </p:nvSpPr>
            <p:spPr>
              <a:xfrm>
                <a:off x="7745354" y="2790346"/>
                <a:ext cx="6518" cy="31638"/>
              </a:xfrm>
              <a:custGeom>
                <a:avLst/>
                <a:gdLst>
                  <a:gd name="connsiteX0" fmla="*/ 0 w 6518"/>
                  <a:gd name="connsiteY0" fmla="*/ 0 h 31638"/>
                  <a:gd name="connsiteX1" fmla="*/ 6519 w 6518"/>
                  <a:gd name="connsiteY1" fmla="*/ 31638 h 31638"/>
                </a:gdLst>
                <a:ahLst/>
                <a:cxnLst>
                  <a:cxn ang="0">
                    <a:pos x="connsiteX0" y="connsiteY0"/>
                  </a:cxn>
                  <a:cxn ang="0">
                    <a:pos x="connsiteX1" y="connsiteY1"/>
                  </a:cxn>
                </a:cxnLst>
                <a:rect l="l" t="t" r="r" b="b"/>
                <a:pathLst>
                  <a:path w="6518" h="31638">
                    <a:moveTo>
                      <a:pt x="0" y="0"/>
                    </a:moveTo>
                    <a:lnTo>
                      <a:pt x="6519" y="31638"/>
                    </a:lnTo>
                  </a:path>
                </a:pathLst>
              </a:custGeom>
              <a:ln w="6350" cap="rnd">
                <a:solidFill>
                  <a:schemeClr val="bg1">
                    <a:alpha val="80000"/>
                  </a:schemeClr>
                </a:solidFill>
                <a:prstDash val="solid"/>
                <a:round/>
              </a:ln>
            </p:spPr>
            <p:txBody>
              <a:bodyPr rtlCol="0" anchor="ctr"/>
              <a:lstStyle/>
              <a:p>
                <a:endParaRPr lang="en-GB"/>
              </a:p>
            </p:txBody>
          </p:sp>
          <p:sp>
            <p:nvSpPr>
              <p:cNvPr id="6236" name="Vrije vorm: vorm 6235">
                <a:extLst>
                  <a:ext uri="{FF2B5EF4-FFF2-40B4-BE49-F238E27FC236}">
                    <a16:creationId xmlns:a16="http://schemas.microsoft.com/office/drawing/2014/main" id="{B49F8CF9-F3C9-4099-A345-F5ACDE604840}"/>
                  </a:ext>
                </a:extLst>
              </p:cNvPr>
              <p:cNvSpPr/>
              <p:nvPr/>
            </p:nvSpPr>
            <p:spPr>
              <a:xfrm>
                <a:off x="7583336" y="2700994"/>
                <a:ext cx="5861" cy="239"/>
              </a:xfrm>
              <a:custGeom>
                <a:avLst/>
                <a:gdLst>
                  <a:gd name="connsiteX0" fmla="*/ 0 w 5861"/>
                  <a:gd name="connsiteY0" fmla="*/ 0 h 239"/>
                  <a:gd name="connsiteX1" fmla="*/ 5861 w 5861"/>
                  <a:gd name="connsiteY1" fmla="*/ 239 h 239"/>
                </a:gdLst>
                <a:ahLst/>
                <a:cxnLst>
                  <a:cxn ang="0">
                    <a:pos x="connsiteX0" y="connsiteY0"/>
                  </a:cxn>
                  <a:cxn ang="0">
                    <a:pos x="connsiteX1" y="connsiteY1"/>
                  </a:cxn>
                </a:cxnLst>
                <a:rect l="l" t="t" r="r" b="b"/>
                <a:pathLst>
                  <a:path w="5861" h="239">
                    <a:moveTo>
                      <a:pt x="0" y="0"/>
                    </a:moveTo>
                    <a:lnTo>
                      <a:pt x="5861" y="239"/>
                    </a:lnTo>
                  </a:path>
                </a:pathLst>
              </a:custGeom>
              <a:ln w="6350" cap="rnd">
                <a:solidFill>
                  <a:schemeClr val="bg1">
                    <a:alpha val="80000"/>
                  </a:schemeClr>
                </a:solidFill>
                <a:prstDash val="solid"/>
                <a:round/>
              </a:ln>
            </p:spPr>
            <p:txBody>
              <a:bodyPr rtlCol="0" anchor="ctr"/>
              <a:lstStyle/>
              <a:p>
                <a:endParaRPr lang="en-GB"/>
              </a:p>
            </p:txBody>
          </p:sp>
          <p:sp>
            <p:nvSpPr>
              <p:cNvPr id="6237" name="Vrije vorm: vorm 6236">
                <a:extLst>
                  <a:ext uri="{FF2B5EF4-FFF2-40B4-BE49-F238E27FC236}">
                    <a16:creationId xmlns:a16="http://schemas.microsoft.com/office/drawing/2014/main" id="{C02092EE-EAD4-4C7C-B638-9DEDC3D9E48E}"/>
                  </a:ext>
                </a:extLst>
              </p:cNvPr>
              <p:cNvSpPr/>
              <p:nvPr/>
            </p:nvSpPr>
            <p:spPr>
              <a:xfrm>
                <a:off x="7695714" y="2722584"/>
                <a:ext cx="11782" cy="20155"/>
              </a:xfrm>
              <a:custGeom>
                <a:avLst/>
                <a:gdLst>
                  <a:gd name="connsiteX0" fmla="*/ 11782 w 11782"/>
                  <a:gd name="connsiteY0" fmla="*/ 20155 h 20155"/>
                  <a:gd name="connsiteX1" fmla="*/ 0 w 11782"/>
                  <a:gd name="connsiteY1" fmla="*/ 0 h 20155"/>
                </a:gdLst>
                <a:ahLst/>
                <a:cxnLst>
                  <a:cxn ang="0">
                    <a:pos x="connsiteX0" y="connsiteY0"/>
                  </a:cxn>
                  <a:cxn ang="0">
                    <a:pos x="connsiteX1" y="connsiteY1"/>
                  </a:cxn>
                </a:cxnLst>
                <a:rect l="l" t="t" r="r" b="b"/>
                <a:pathLst>
                  <a:path w="11782" h="20155">
                    <a:moveTo>
                      <a:pt x="11782" y="20155"/>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38" name="Vrije vorm: vorm 6237">
                <a:extLst>
                  <a:ext uri="{FF2B5EF4-FFF2-40B4-BE49-F238E27FC236}">
                    <a16:creationId xmlns:a16="http://schemas.microsoft.com/office/drawing/2014/main" id="{B6874F77-198B-4F77-899D-ECC7F90363A8}"/>
                  </a:ext>
                </a:extLst>
              </p:cNvPr>
              <p:cNvSpPr/>
              <p:nvPr/>
            </p:nvSpPr>
            <p:spPr>
              <a:xfrm>
                <a:off x="7707496" y="2742739"/>
                <a:ext cx="13456" cy="2511"/>
              </a:xfrm>
              <a:custGeom>
                <a:avLst/>
                <a:gdLst>
                  <a:gd name="connsiteX0" fmla="*/ 0 w 13456"/>
                  <a:gd name="connsiteY0" fmla="*/ 0 h 2511"/>
                  <a:gd name="connsiteX1" fmla="*/ 13457 w 13456"/>
                  <a:gd name="connsiteY1" fmla="*/ 2512 h 2511"/>
                </a:gdLst>
                <a:ahLst/>
                <a:cxnLst>
                  <a:cxn ang="0">
                    <a:pos x="connsiteX0" y="connsiteY0"/>
                  </a:cxn>
                  <a:cxn ang="0">
                    <a:pos x="connsiteX1" y="connsiteY1"/>
                  </a:cxn>
                </a:cxnLst>
                <a:rect l="l" t="t" r="r" b="b"/>
                <a:pathLst>
                  <a:path w="13456" h="2511">
                    <a:moveTo>
                      <a:pt x="0" y="0"/>
                    </a:moveTo>
                    <a:lnTo>
                      <a:pt x="13457" y="2512"/>
                    </a:lnTo>
                  </a:path>
                </a:pathLst>
              </a:custGeom>
              <a:ln w="6350" cap="rnd">
                <a:solidFill>
                  <a:schemeClr val="bg1">
                    <a:alpha val="80000"/>
                  </a:schemeClr>
                </a:solidFill>
                <a:prstDash val="solid"/>
                <a:round/>
              </a:ln>
            </p:spPr>
            <p:txBody>
              <a:bodyPr rtlCol="0" anchor="ctr"/>
              <a:lstStyle/>
              <a:p>
                <a:endParaRPr lang="en-GB"/>
              </a:p>
            </p:txBody>
          </p:sp>
          <p:sp>
            <p:nvSpPr>
              <p:cNvPr id="6239" name="Vrije vorm: vorm 6238">
                <a:extLst>
                  <a:ext uri="{FF2B5EF4-FFF2-40B4-BE49-F238E27FC236}">
                    <a16:creationId xmlns:a16="http://schemas.microsoft.com/office/drawing/2014/main" id="{A8D91080-BDAD-40AD-A162-0C58899F5A8B}"/>
                  </a:ext>
                </a:extLst>
              </p:cNvPr>
              <p:cNvSpPr/>
              <p:nvPr/>
            </p:nvSpPr>
            <p:spPr>
              <a:xfrm>
                <a:off x="7707496" y="2728804"/>
                <a:ext cx="4425" cy="13935"/>
              </a:xfrm>
              <a:custGeom>
                <a:avLst/>
                <a:gdLst>
                  <a:gd name="connsiteX0" fmla="*/ 0 w 4425"/>
                  <a:gd name="connsiteY0" fmla="*/ 13935 h 13935"/>
                  <a:gd name="connsiteX1" fmla="*/ 4426 w 4425"/>
                  <a:gd name="connsiteY1" fmla="*/ 0 h 13935"/>
                </a:gdLst>
                <a:ahLst/>
                <a:cxnLst>
                  <a:cxn ang="0">
                    <a:pos x="connsiteX0" y="connsiteY0"/>
                  </a:cxn>
                  <a:cxn ang="0">
                    <a:pos x="connsiteX1" y="connsiteY1"/>
                  </a:cxn>
                </a:cxnLst>
                <a:rect l="l" t="t" r="r" b="b"/>
                <a:pathLst>
                  <a:path w="4425" h="13935">
                    <a:moveTo>
                      <a:pt x="0" y="13935"/>
                    </a:moveTo>
                    <a:lnTo>
                      <a:pt x="4426" y="0"/>
                    </a:lnTo>
                  </a:path>
                </a:pathLst>
              </a:custGeom>
              <a:ln w="6350" cap="rnd">
                <a:solidFill>
                  <a:schemeClr val="bg1">
                    <a:alpha val="80000"/>
                  </a:schemeClr>
                </a:solidFill>
                <a:prstDash val="solid"/>
                <a:round/>
              </a:ln>
            </p:spPr>
            <p:txBody>
              <a:bodyPr rtlCol="0" anchor="ctr"/>
              <a:lstStyle/>
              <a:p>
                <a:endParaRPr lang="en-GB"/>
              </a:p>
            </p:txBody>
          </p:sp>
          <p:sp>
            <p:nvSpPr>
              <p:cNvPr id="6240" name="Vrije vorm: vorm 6239">
                <a:extLst>
                  <a:ext uri="{FF2B5EF4-FFF2-40B4-BE49-F238E27FC236}">
                    <a16:creationId xmlns:a16="http://schemas.microsoft.com/office/drawing/2014/main" id="{9BA7F0BB-7987-4813-A1FC-52CE303EC532}"/>
                  </a:ext>
                </a:extLst>
              </p:cNvPr>
              <p:cNvSpPr/>
              <p:nvPr/>
            </p:nvSpPr>
            <p:spPr>
              <a:xfrm>
                <a:off x="7686742" y="2742739"/>
                <a:ext cx="20753" cy="7834"/>
              </a:xfrm>
              <a:custGeom>
                <a:avLst/>
                <a:gdLst>
                  <a:gd name="connsiteX0" fmla="*/ 20753 w 20753"/>
                  <a:gd name="connsiteY0" fmla="*/ 0 h 7834"/>
                  <a:gd name="connsiteX1" fmla="*/ 0 w 20753"/>
                  <a:gd name="connsiteY1" fmla="*/ 7835 h 7834"/>
                </a:gdLst>
                <a:ahLst/>
                <a:cxnLst>
                  <a:cxn ang="0">
                    <a:pos x="connsiteX0" y="connsiteY0"/>
                  </a:cxn>
                  <a:cxn ang="0">
                    <a:pos x="connsiteX1" y="connsiteY1"/>
                  </a:cxn>
                </a:cxnLst>
                <a:rect l="l" t="t" r="r" b="b"/>
                <a:pathLst>
                  <a:path w="20753" h="7834">
                    <a:moveTo>
                      <a:pt x="20753" y="0"/>
                    </a:moveTo>
                    <a:lnTo>
                      <a:pt x="0" y="7835"/>
                    </a:lnTo>
                  </a:path>
                </a:pathLst>
              </a:custGeom>
              <a:ln w="6350" cap="rnd">
                <a:solidFill>
                  <a:schemeClr val="bg1">
                    <a:alpha val="80000"/>
                  </a:schemeClr>
                </a:solidFill>
                <a:prstDash val="solid"/>
                <a:round/>
              </a:ln>
            </p:spPr>
            <p:txBody>
              <a:bodyPr rtlCol="0" anchor="ctr"/>
              <a:lstStyle/>
              <a:p>
                <a:endParaRPr lang="en-GB"/>
              </a:p>
            </p:txBody>
          </p:sp>
          <p:sp>
            <p:nvSpPr>
              <p:cNvPr id="6241" name="Vrije vorm: vorm 6240">
                <a:extLst>
                  <a:ext uri="{FF2B5EF4-FFF2-40B4-BE49-F238E27FC236}">
                    <a16:creationId xmlns:a16="http://schemas.microsoft.com/office/drawing/2014/main" id="{540E7CDE-4357-4EBC-ABC7-3F2AFB2785B5}"/>
                  </a:ext>
                </a:extLst>
              </p:cNvPr>
              <p:cNvSpPr/>
              <p:nvPr/>
            </p:nvSpPr>
            <p:spPr>
              <a:xfrm>
                <a:off x="7702352" y="2742739"/>
                <a:ext cx="5143" cy="17344"/>
              </a:xfrm>
              <a:custGeom>
                <a:avLst/>
                <a:gdLst>
                  <a:gd name="connsiteX0" fmla="*/ 5144 w 5143"/>
                  <a:gd name="connsiteY0" fmla="*/ 0 h 17344"/>
                  <a:gd name="connsiteX1" fmla="*/ 0 w 5143"/>
                  <a:gd name="connsiteY1" fmla="*/ 17344 h 17344"/>
                </a:gdLst>
                <a:ahLst/>
                <a:cxnLst>
                  <a:cxn ang="0">
                    <a:pos x="connsiteX0" y="connsiteY0"/>
                  </a:cxn>
                  <a:cxn ang="0">
                    <a:pos x="connsiteX1" y="connsiteY1"/>
                  </a:cxn>
                </a:cxnLst>
                <a:rect l="l" t="t" r="r" b="b"/>
                <a:pathLst>
                  <a:path w="5143" h="17344">
                    <a:moveTo>
                      <a:pt x="5144" y="0"/>
                    </a:moveTo>
                    <a:lnTo>
                      <a:pt x="0" y="17344"/>
                    </a:lnTo>
                  </a:path>
                </a:pathLst>
              </a:custGeom>
              <a:ln w="6350" cap="rnd">
                <a:solidFill>
                  <a:schemeClr val="bg1">
                    <a:alpha val="80000"/>
                  </a:schemeClr>
                </a:solidFill>
                <a:prstDash val="solid"/>
                <a:round/>
              </a:ln>
            </p:spPr>
            <p:txBody>
              <a:bodyPr rtlCol="0" anchor="ctr"/>
              <a:lstStyle/>
              <a:p>
                <a:endParaRPr lang="en-GB"/>
              </a:p>
            </p:txBody>
          </p:sp>
          <p:sp>
            <p:nvSpPr>
              <p:cNvPr id="6242" name="Vrije vorm: vorm 6241">
                <a:extLst>
                  <a:ext uri="{FF2B5EF4-FFF2-40B4-BE49-F238E27FC236}">
                    <a16:creationId xmlns:a16="http://schemas.microsoft.com/office/drawing/2014/main" id="{2BBC9A37-EB02-40CE-94F0-323510171BB0}"/>
                  </a:ext>
                </a:extLst>
              </p:cNvPr>
              <p:cNvSpPr/>
              <p:nvPr/>
            </p:nvSpPr>
            <p:spPr>
              <a:xfrm>
                <a:off x="7573527" y="2819950"/>
                <a:ext cx="5143" cy="15669"/>
              </a:xfrm>
              <a:custGeom>
                <a:avLst/>
                <a:gdLst>
                  <a:gd name="connsiteX0" fmla="*/ 0 w 5143"/>
                  <a:gd name="connsiteY0" fmla="*/ 15670 h 15669"/>
                  <a:gd name="connsiteX1" fmla="*/ 5143 w 5143"/>
                  <a:gd name="connsiteY1" fmla="*/ 0 h 15669"/>
                </a:gdLst>
                <a:ahLst/>
                <a:cxnLst>
                  <a:cxn ang="0">
                    <a:pos x="connsiteX0" y="connsiteY0"/>
                  </a:cxn>
                  <a:cxn ang="0">
                    <a:pos x="connsiteX1" y="connsiteY1"/>
                  </a:cxn>
                </a:cxnLst>
                <a:rect l="l" t="t" r="r" b="b"/>
                <a:pathLst>
                  <a:path w="5143" h="15669">
                    <a:moveTo>
                      <a:pt x="0" y="15670"/>
                    </a:moveTo>
                    <a:lnTo>
                      <a:pt x="5143" y="0"/>
                    </a:lnTo>
                  </a:path>
                </a:pathLst>
              </a:custGeom>
              <a:ln w="6350" cap="rnd">
                <a:solidFill>
                  <a:schemeClr val="bg1">
                    <a:alpha val="80000"/>
                  </a:schemeClr>
                </a:solidFill>
                <a:prstDash val="solid"/>
                <a:round/>
              </a:ln>
            </p:spPr>
            <p:txBody>
              <a:bodyPr rtlCol="0" anchor="ctr"/>
              <a:lstStyle/>
              <a:p>
                <a:endParaRPr lang="en-GB"/>
              </a:p>
            </p:txBody>
          </p:sp>
          <p:sp>
            <p:nvSpPr>
              <p:cNvPr id="6243" name="Vrije vorm: vorm 6242">
                <a:extLst>
                  <a:ext uri="{FF2B5EF4-FFF2-40B4-BE49-F238E27FC236}">
                    <a16:creationId xmlns:a16="http://schemas.microsoft.com/office/drawing/2014/main" id="{6FC127B1-A7B7-4592-8ACA-AB692F2C7916}"/>
                  </a:ext>
                </a:extLst>
              </p:cNvPr>
              <p:cNvSpPr/>
              <p:nvPr/>
            </p:nvSpPr>
            <p:spPr>
              <a:xfrm>
                <a:off x="7566530" y="2826529"/>
                <a:ext cx="6997" cy="9090"/>
              </a:xfrm>
              <a:custGeom>
                <a:avLst/>
                <a:gdLst>
                  <a:gd name="connsiteX0" fmla="*/ 6997 w 6997"/>
                  <a:gd name="connsiteY0" fmla="*/ 9091 h 9090"/>
                  <a:gd name="connsiteX1" fmla="*/ 0 w 6997"/>
                  <a:gd name="connsiteY1" fmla="*/ 0 h 9090"/>
                </a:gdLst>
                <a:ahLst/>
                <a:cxnLst>
                  <a:cxn ang="0">
                    <a:pos x="connsiteX0" y="connsiteY0"/>
                  </a:cxn>
                  <a:cxn ang="0">
                    <a:pos x="connsiteX1" y="connsiteY1"/>
                  </a:cxn>
                </a:cxnLst>
                <a:rect l="l" t="t" r="r" b="b"/>
                <a:pathLst>
                  <a:path w="6997" h="9090">
                    <a:moveTo>
                      <a:pt x="6997" y="909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44" name="Vrije vorm: vorm 6243">
                <a:extLst>
                  <a:ext uri="{FF2B5EF4-FFF2-40B4-BE49-F238E27FC236}">
                    <a16:creationId xmlns:a16="http://schemas.microsoft.com/office/drawing/2014/main" id="{CA63DF37-8933-460C-8A8D-8F13BA8856D0}"/>
                  </a:ext>
                </a:extLst>
              </p:cNvPr>
              <p:cNvSpPr/>
              <p:nvPr/>
            </p:nvSpPr>
            <p:spPr>
              <a:xfrm>
                <a:off x="7745234" y="2818934"/>
                <a:ext cx="5023" cy="12260"/>
              </a:xfrm>
              <a:custGeom>
                <a:avLst/>
                <a:gdLst>
                  <a:gd name="connsiteX0" fmla="*/ 5024 w 5023"/>
                  <a:gd name="connsiteY0" fmla="*/ 12260 h 12260"/>
                  <a:gd name="connsiteX1" fmla="*/ 0 w 5023"/>
                  <a:gd name="connsiteY1" fmla="*/ 0 h 12260"/>
                </a:gdLst>
                <a:ahLst/>
                <a:cxnLst>
                  <a:cxn ang="0">
                    <a:pos x="connsiteX0" y="connsiteY0"/>
                  </a:cxn>
                  <a:cxn ang="0">
                    <a:pos x="connsiteX1" y="connsiteY1"/>
                  </a:cxn>
                </a:cxnLst>
                <a:rect l="l" t="t" r="r" b="b"/>
                <a:pathLst>
                  <a:path w="5023" h="12260">
                    <a:moveTo>
                      <a:pt x="5024" y="12260"/>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45" name="Vrije vorm: vorm 6244">
                <a:extLst>
                  <a:ext uri="{FF2B5EF4-FFF2-40B4-BE49-F238E27FC236}">
                    <a16:creationId xmlns:a16="http://schemas.microsoft.com/office/drawing/2014/main" id="{1004E3D0-8E0E-4C0E-B28F-9B24694BA48B}"/>
                  </a:ext>
                </a:extLst>
              </p:cNvPr>
              <p:cNvSpPr/>
              <p:nvPr/>
            </p:nvSpPr>
            <p:spPr>
              <a:xfrm>
                <a:off x="7750258" y="2821984"/>
                <a:ext cx="1614" cy="9210"/>
              </a:xfrm>
              <a:custGeom>
                <a:avLst/>
                <a:gdLst>
                  <a:gd name="connsiteX0" fmla="*/ 0 w 1614"/>
                  <a:gd name="connsiteY0" fmla="*/ 9210 h 9210"/>
                  <a:gd name="connsiteX1" fmla="*/ 1614 w 1614"/>
                  <a:gd name="connsiteY1" fmla="*/ 0 h 9210"/>
                </a:gdLst>
                <a:ahLst/>
                <a:cxnLst>
                  <a:cxn ang="0">
                    <a:pos x="connsiteX0" y="connsiteY0"/>
                  </a:cxn>
                  <a:cxn ang="0">
                    <a:pos x="connsiteX1" y="connsiteY1"/>
                  </a:cxn>
                </a:cxnLst>
                <a:rect l="l" t="t" r="r" b="b"/>
                <a:pathLst>
                  <a:path w="1614" h="9210">
                    <a:moveTo>
                      <a:pt x="0" y="9210"/>
                    </a:moveTo>
                    <a:lnTo>
                      <a:pt x="1614" y="0"/>
                    </a:lnTo>
                  </a:path>
                </a:pathLst>
              </a:custGeom>
              <a:ln w="6350" cap="rnd">
                <a:solidFill>
                  <a:schemeClr val="bg1">
                    <a:alpha val="80000"/>
                  </a:schemeClr>
                </a:solidFill>
                <a:prstDash val="solid"/>
                <a:round/>
              </a:ln>
            </p:spPr>
            <p:txBody>
              <a:bodyPr rtlCol="0" anchor="ctr"/>
              <a:lstStyle/>
              <a:p>
                <a:endParaRPr lang="en-GB"/>
              </a:p>
            </p:txBody>
          </p:sp>
          <p:sp>
            <p:nvSpPr>
              <p:cNvPr id="6246" name="Vrije vorm: vorm 6245">
                <a:extLst>
                  <a:ext uri="{FF2B5EF4-FFF2-40B4-BE49-F238E27FC236}">
                    <a16:creationId xmlns:a16="http://schemas.microsoft.com/office/drawing/2014/main" id="{F5FDE19A-8470-4579-8E52-87337E1EA0FF}"/>
                  </a:ext>
                </a:extLst>
              </p:cNvPr>
              <p:cNvSpPr/>
              <p:nvPr/>
            </p:nvSpPr>
            <p:spPr>
              <a:xfrm>
                <a:off x="7649363" y="2735203"/>
                <a:ext cx="6818" cy="21530"/>
              </a:xfrm>
              <a:custGeom>
                <a:avLst/>
                <a:gdLst>
                  <a:gd name="connsiteX0" fmla="*/ 6818 w 6818"/>
                  <a:gd name="connsiteY0" fmla="*/ 0 h 21530"/>
                  <a:gd name="connsiteX1" fmla="*/ 0 w 6818"/>
                  <a:gd name="connsiteY1" fmla="*/ 21531 h 21530"/>
                </a:gdLst>
                <a:ahLst/>
                <a:cxnLst>
                  <a:cxn ang="0">
                    <a:pos x="connsiteX0" y="connsiteY0"/>
                  </a:cxn>
                  <a:cxn ang="0">
                    <a:pos x="connsiteX1" y="connsiteY1"/>
                  </a:cxn>
                </a:cxnLst>
                <a:rect l="l" t="t" r="r" b="b"/>
                <a:pathLst>
                  <a:path w="6818" h="21530">
                    <a:moveTo>
                      <a:pt x="6818" y="0"/>
                    </a:moveTo>
                    <a:lnTo>
                      <a:pt x="0" y="21531"/>
                    </a:lnTo>
                  </a:path>
                </a:pathLst>
              </a:custGeom>
              <a:ln w="6350" cap="rnd">
                <a:solidFill>
                  <a:schemeClr val="bg1">
                    <a:alpha val="80000"/>
                  </a:schemeClr>
                </a:solidFill>
                <a:prstDash val="solid"/>
                <a:round/>
              </a:ln>
            </p:spPr>
            <p:txBody>
              <a:bodyPr rtlCol="0" anchor="ctr"/>
              <a:lstStyle/>
              <a:p>
                <a:endParaRPr lang="en-GB"/>
              </a:p>
            </p:txBody>
          </p:sp>
          <p:sp>
            <p:nvSpPr>
              <p:cNvPr id="6247" name="Vrije vorm: vorm 6246">
                <a:extLst>
                  <a:ext uri="{FF2B5EF4-FFF2-40B4-BE49-F238E27FC236}">
                    <a16:creationId xmlns:a16="http://schemas.microsoft.com/office/drawing/2014/main" id="{36853F2D-1C8D-47B1-97D8-C9C6F6D21B79}"/>
                  </a:ext>
                </a:extLst>
              </p:cNvPr>
              <p:cNvSpPr/>
              <p:nvPr/>
            </p:nvSpPr>
            <p:spPr>
              <a:xfrm>
                <a:off x="7640870" y="2735203"/>
                <a:ext cx="15310" cy="14353"/>
              </a:xfrm>
              <a:custGeom>
                <a:avLst/>
                <a:gdLst>
                  <a:gd name="connsiteX0" fmla="*/ 15310 w 15310"/>
                  <a:gd name="connsiteY0" fmla="*/ 0 h 14353"/>
                  <a:gd name="connsiteX1" fmla="*/ 0 w 15310"/>
                  <a:gd name="connsiteY1" fmla="*/ 14354 h 14353"/>
                </a:gdLst>
                <a:ahLst/>
                <a:cxnLst>
                  <a:cxn ang="0">
                    <a:pos x="connsiteX0" y="connsiteY0"/>
                  </a:cxn>
                  <a:cxn ang="0">
                    <a:pos x="connsiteX1" y="connsiteY1"/>
                  </a:cxn>
                </a:cxnLst>
                <a:rect l="l" t="t" r="r" b="b"/>
                <a:pathLst>
                  <a:path w="15310" h="14353">
                    <a:moveTo>
                      <a:pt x="15310" y="0"/>
                    </a:moveTo>
                    <a:lnTo>
                      <a:pt x="0" y="14354"/>
                    </a:lnTo>
                  </a:path>
                </a:pathLst>
              </a:custGeom>
              <a:ln w="6350" cap="rnd">
                <a:solidFill>
                  <a:schemeClr val="bg1">
                    <a:alpha val="80000"/>
                  </a:schemeClr>
                </a:solidFill>
                <a:prstDash val="solid"/>
                <a:round/>
              </a:ln>
            </p:spPr>
            <p:txBody>
              <a:bodyPr rtlCol="0" anchor="ctr"/>
              <a:lstStyle/>
              <a:p>
                <a:endParaRPr lang="en-GB"/>
              </a:p>
            </p:txBody>
          </p:sp>
          <p:sp>
            <p:nvSpPr>
              <p:cNvPr id="6248" name="Vrije vorm: vorm 6247">
                <a:extLst>
                  <a:ext uri="{FF2B5EF4-FFF2-40B4-BE49-F238E27FC236}">
                    <a16:creationId xmlns:a16="http://schemas.microsoft.com/office/drawing/2014/main" id="{6E6BD701-3B38-4AB7-85EB-50FFB219875C}"/>
                  </a:ext>
                </a:extLst>
              </p:cNvPr>
              <p:cNvSpPr/>
              <p:nvPr/>
            </p:nvSpPr>
            <p:spPr>
              <a:xfrm>
                <a:off x="7655164" y="2717201"/>
                <a:ext cx="1016" cy="18001"/>
              </a:xfrm>
              <a:custGeom>
                <a:avLst/>
                <a:gdLst>
                  <a:gd name="connsiteX0" fmla="*/ 1016 w 1016"/>
                  <a:gd name="connsiteY0" fmla="*/ 18002 h 18001"/>
                  <a:gd name="connsiteX1" fmla="*/ 0 w 1016"/>
                  <a:gd name="connsiteY1" fmla="*/ 0 h 18001"/>
                </a:gdLst>
                <a:ahLst/>
                <a:cxnLst>
                  <a:cxn ang="0">
                    <a:pos x="connsiteX0" y="connsiteY0"/>
                  </a:cxn>
                  <a:cxn ang="0">
                    <a:pos x="connsiteX1" y="connsiteY1"/>
                  </a:cxn>
                </a:cxnLst>
                <a:rect l="l" t="t" r="r" b="b"/>
                <a:pathLst>
                  <a:path w="1016" h="18001">
                    <a:moveTo>
                      <a:pt x="1016" y="1800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49" name="Vrije vorm: vorm 6248">
                <a:extLst>
                  <a:ext uri="{FF2B5EF4-FFF2-40B4-BE49-F238E27FC236}">
                    <a16:creationId xmlns:a16="http://schemas.microsoft.com/office/drawing/2014/main" id="{E99C484A-A407-4B7E-9597-160C88E6F29D}"/>
                  </a:ext>
                </a:extLst>
              </p:cNvPr>
              <p:cNvSpPr/>
              <p:nvPr/>
            </p:nvSpPr>
            <p:spPr>
              <a:xfrm>
                <a:off x="7656181" y="2735203"/>
                <a:ext cx="22846" cy="5980"/>
              </a:xfrm>
              <a:custGeom>
                <a:avLst/>
                <a:gdLst>
                  <a:gd name="connsiteX0" fmla="*/ 0 w 22846"/>
                  <a:gd name="connsiteY0" fmla="*/ 0 h 5980"/>
                  <a:gd name="connsiteX1" fmla="*/ 22846 w 22846"/>
                  <a:gd name="connsiteY1" fmla="*/ 0 h 5980"/>
                </a:gdLst>
                <a:ahLst/>
                <a:cxnLst>
                  <a:cxn ang="0">
                    <a:pos x="connsiteX0" y="connsiteY0"/>
                  </a:cxn>
                  <a:cxn ang="0">
                    <a:pos x="connsiteX1" y="connsiteY1"/>
                  </a:cxn>
                </a:cxnLst>
                <a:rect l="l" t="t" r="r" b="b"/>
                <a:pathLst>
                  <a:path w="22846" h="5980">
                    <a:moveTo>
                      <a:pt x="0" y="0"/>
                    </a:moveTo>
                    <a:lnTo>
                      <a:pt x="22846" y="0"/>
                    </a:lnTo>
                  </a:path>
                </a:pathLst>
              </a:custGeom>
              <a:ln w="6350" cap="rnd">
                <a:solidFill>
                  <a:schemeClr val="bg1">
                    <a:alpha val="80000"/>
                  </a:schemeClr>
                </a:solidFill>
                <a:prstDash val="solid"/>
                <a:round/>
              </a:ln>
            </p:spPr>
            <p:txBody>
              <a:bodyPr rtlCol="0" anchor="ctr"/>
              <a:lstStyle/>
              <a:p>
                <a:endParaRPr lang="en-GB"/>
              </a:p>
            </p:txBody>
          </p:sp>
          <p:sp>
            <p:nvSpPr>
              <p:cNvPr id="6250" name="Vrije vorm: vorm 6249">
                <a:extLst>
                  <a:ext uri="{FF2B5EF4-FFF2-40B4-BE49-F238E27FC236}">
                    <a16:creationId xmlns:a16="http://schemas.microsoft.com/office/drawing/2014/main" id="{2C00F238-BD72-418C-8465-17B2B111AEE9}"/>
                  </a:ext>
                </a:extLst>
              </p:cNvPr>
              <p:cNvSpPr/>
              <p:nvPr/>
            </p:nvSpPr>
            <p:spPr>
              <a:xfrm>
                <a:off x="7656181" y="2722823"/>
                <a:ext cx="13097" cy="12380"/>
              </a:xfrm>
              <a:custGeom>
                <a:avLst/>
                <a:gdLst>
                  <a:gd name="connsiteX0" fmla="*/ 0 w 13097"/>
                  <a:gd name="connsiteY0" fmla="*/ 12380 h 12380"/>
                  <a:gd name="connsiteX1" fmla="*/ 13098 w 13097"/>
                  <a:gd name="connsiteY1" fmla="*/ 0 h 12380"/>
                </a:gdLst>
                <a:ahLst/>
                <a:cxnLst>
                  <a:cxn ang="0">
                    <a:pos x="connsiteX0" y="connsiteY0"/>
                  </a:cxn>
                  <a:cxn ang="0">
                    <a:pos x="connsiteX1" y="connsiteY1"/>
                  </a:cxn>
                </a:cxnLst>
                <a:rect l="l" t="t" r="r" b="b"/>
                <a:pathLst>
                  <a:path w="13097" h="12380">
                    <a:moveTo>
                      <a:pt x="0" y="12380"/>
                    </a:moveTo>
                    <a:lnTo>
                      <a:pt x="13098" y="0"/>
                    </a:lnTo>
                  </a:path>
                </a:pathLst>
              </a:custGeom>
              <a:ln w="6350" cap="rnd">
                <a:solidFill>
                  <a:schemeClr val="bg1">
                    <a:alpha val="80000"/>
                  </a:schemeClr>
                </a:solidFill>
                <a:prstDash val="solid"/>
                <a:round/>
              </a:ln>
            </p:spPr>
            <p:txBody>
              <a:bodyPr rtlCol="0" anchor="ctr"/>
              <a:lstStyle/>
              <a:p>
                <a:endParaRPr lang="en-GB"/>
              </a:p>
            </p:txBody>
          </p:sp>
          <p:sp>
            <p:nvSpPr>
              <p:cNvPr id="6251" name="Vrije vorm: vorm 6250">
                <a:extLst>
                  <a:ext uri="{FF2B5EF4-FFF2-40B4-BE49-F238E27FC236}">
                    <a16:creationId xmlns:a16="http://schemas.microsoft.com/office/drawing/2014/main" id="{F3EC0A1D-5CD6-4E53-98A9-B22D141379F1}"/>
                  </a:ext>
                </a:extLst>
              </p:cNvPr>
              <p:cNvSpPr/>
              <p:nvPr/>
            </p:nvSpPr>
            <p:spPr>
              <a:xfrm>
                <a:off x="7643442" y="2733648"/>
                <a:ext cx="12738" cy="1554"/>
              </a:xfrm>
              <a:custGeom>
                <a:avLst/>
                <a:gdLst>
                  <a:gd name="connsiteX0" fmla="*/ 12739 w 12738"/>
                  <a:gd name="connsiteY0" fmla="*/ 1555 h 1554"/>
                  <a:gd name="connsiteX1" fmla="*/ 0 w 12738"/>
                  <a:gd name="connsiteY1" fmla="*/ 0 h 1554"/>
                </a:gdLst>
                <a:ahLst/>
                <a:cxnLst>
                  <a:cxn ang="0">
                    <a:pos x="connsiteX0" y="connsiteY0"/>
                  </a:cxn>
                  <a:cxn ang="0">
                    <a:pos x="connsiteX1" y="connsiteY1"/>
                  </a:cxn>
                </a:cxnLst>
                <a:rect l="l" t="t" r="r" b="b"/>
                <a:pathLst>
                  <a:path w="12738" h="1554">
                    <a:moveTo>
                      <a:pt x="12739" y="1555"/>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52" name="Vrije vorm: vorm 6251">
                <a:extLst>
                  <a:ext uri="{FF2B5EF4-FFF2-40B4-BE49-F238E27FC236}">
                    <a16:creationId xmlns:a16="http://schemas.microsoft.com/office/drawing/2014/main" id="{C994F299-A2A0-462B-A75C-30DA62D08057}"/>
                  </a:ext>
                </a:extLst>
              </p:cNvPr>
              <p:cNvSpPr/>
              <p:nvPr/>
            </p:nvSpPr>
            <p:spPr>
              <a:xfrm>
                <a:off x="7656181" y="2735203"/>
                <a:ext cx="9030" cy="10406"/>
              </a:xfrm>
              <a:custGeom>
                <a:avLst/>
                <a:gdLst>
                  <a:gd name="connsiteX0" fmla="*/ 0 w 9030"/>
                  <a:gd name="connsiteY0" fmla="*/ 0 h 10406"/>
                  <a:gd name="connsiteX1" fmla="*/ 9031 w 9030"/>
                  <a:gd name="connsiteY1" fmla="*/ 10406 h 10406"/>
                </a:gdLst>
                <a:ahLst/>
                <a:cxnLst>
                  <a:cxn ang="0">
                    <a:pos x="connsiteX0" y="connsiteY0"/>
                  </a:cxn>
                  <a:cxn ang="0">
                    <a:pos x="connsiteX1" y="connsiteY1"/>
                  </a:cxn>
                </a:cxnLst>
                <a:rect l="l" t="t" r="r" b="b"/>
                <a:pathLst>
                  <a:path w="9030" h="10406">
                    <a:moveTo>
                      <a:pt x="0" y="0"/>
                    </a:moveTo>
                    <a:lnTo>
                      <a:pt x="9031" y="10406"/>
                    </a:lnTo>
                  </a:path>
                </a:pathLst>
              </a:custGeom>
              <a:ln w="6350" cap="rnd">
                <a:solidFill>
                  <a:schemeClr val="bg1">
                    <a:alpha val="80000"/>
                  </a:schemeClr>
                </a:solidFill>
                <a:prstDash val="solid"/>
                <a:round/>
              </a:ln>
            </p:spPr>
            <p:txBody>
              <a:bodyPr rtlCol="0" anchor="ctr"/>
              <a:lstStyle/>
              <a:p>
                <a:endParaRPr lang="en-GB"/>
              </a:p>
            </p:txBody>
          </p:sp>
          <p:sp>
            <p:nvSpPr>
              <p:cNvPr id="6253" name="Vrije vorm: vorm 6252">
                <a:extLst>
                  <a:ext uri="{FF2B5EF4-FFF2-40B4-BE49-F238E27FC236}">
                    <a16:creationId xmlns:a16="http://schemas.microsoft.com/office/drawing/2014/main" id="{873C69EB-BF3D-494E-ADE7-CD768CCF4475}"/>
                  </a:ext>
                </a:extLst>
              </p:cNvPr>
              <p:cNvSpPr/>
              <p:nvPr/>
            </p:nvSpPr>
            <p:spPr>
              <a:xfrm>
                <a:off x="7656301" y="2665588"/>
                <a:ext cx="8971" cy="1973"/>
              </a:xfrm>
              <a:custGeom>
                <a:avLst/>
                <a:gdLst>
                  <a:gd name="connsiteX0" fmla="*/ 8971 w 8971"/>
                  <a:gd name="connsiteY0" fmla="*/ 0 h 1973"/>
                  <a:gd name="connsiteX1" fmla="*/ 0 w 8971"/>
                  <a:gd name="connsiteY1" fmla="*/ 1974 h 1973"/>
                </a:gdLst>
                <a:ahLst/>
                <a:cxnLst>
                  <a:cxn ang="0">
                    <a:pos x="connsiteX0" y="connsiteY0"/>
                  </a:cxn>
                  <a:cxn ang="0">
                    <a:pos x="connsiteX1" y="connsiteY1"/>
                  </a:cxn>
                </a:cxnLst>
                <a:rect l="l" t="t" r="r" b="b"/>
                <a:pathLst>
                  <a:path w="8971" h="1973">
                    <a:moveTo>
                      <a:pt x="8971" y="0"/>
                    </a:moveTo>
                    <a:lnTo>
                      <a:pt x="0" y="1974"/>
                    </a:lnTo>
                  </a:path>
                </a:pathLst>
              </a:custGeom>
              <a:ln w="6350" cap="rnd">
                <a:solidFill>
                  <a:schemeClr val="bg1">
                    <a:alpha val="80000"/>
                  </a:schemeClr>
                </a:solidFill>
                <a:prstDash val="solid"/>
                <a:round/>
              </a:ln>
            </p:spPr>
            <p:txBody>
              <a:bodyPr rtlCol="0" anchor="ctr"/>
              <a:lstStyle/>
              <a:p>
                <a:endParaRPr lang="en-GB"/>
              </a:p>
            </p:txBody>
          </p:sp>
          <p:sp>
            <p:nvSpPr>
              <p:cNvPr id="6254" name="Vrije vorm: vorm 6253">
                <a:extLst>
                  <a:ext uri="{FF2B5EF4-FFF2-40B4-BE49-F238E27FC236}">
                    <a16:creationId xmlns:a16="http://schemas.microsoft.com/office/drawing/2014/main" id="{F98FFFFD-9651-470C-AC0C-6C027F6D690E}"/>
                  </a:ext>
                </a:extLst>
              </p:cNvPr>
              <p:cNvSpPr/>
              <p:nvPr/>
            </p:nvSpPr>
            <p:spPr>
              <a:xfrm>
                <a:off x="7665272" y="2665588"/>
                <a:ext cx="11363" cy="15549"/>
              </a:xfrm>
              <a:custGeom>
                <a:avLst/>
                <a:gdLst>
                  <a:gd name="connsiteX0" fmla="*/ 0 w 11363"/>
                  <a:gd name="connsiteY0" fmla="*/ 0 h 15549"/>
                  <a:gd name="connsiteX1" fmla="*/ 11363 w 11363"/>
                  <a:gd name="connsiteY1" fmla="*/ 15550 h 15549"/>
                </a:gdLst>
                <a:ahLst/>
                <a:cxnLst>
                  <a:cxn ang="0">
                    <a:pos x="connsiteX0" y="connsiteY0"/>
                  </a:cxn>
                  <a:cxn ang="0">
                    <a:pos x="connsiteX1" y="connsiteY1"/>
                  </a:cxn>
                </a:cxnLst>
                <a:rect l="l" t="t" r="r" b="b"/>
                <a:pathLst>
                  <a:path w="11363" h="15549">
                    <a:moveTo>
                      <a:pt x="0" y="0"/>
                    </a:moveTo>
                    <a:lnTo>
                      <a:pt x="11363" y="15550"/>
                    </a:lnTo>
                  </a:path>
                </a:pathLst>
              </a:custGeom>
              <a:ln w="6350" cap="rnd">
                <a:solidFill>
                  <a:schemeClr val="bg1">
                    <a:alpha val="80000"/>
                  </a:schemeClr>
                </a:solidFill>
                <a:prstDash val="solid"/>
                <a:round/>
              </a:ln>
            </p:spPr>
            <p:txBody>
              <a:bodyPr rtlCol="0" anchor="ctr"/>
              <a:lstStyle/>
              <a:p>
                <a:endParaRPr lang="en-GB"/>
              </a:p>
            </p:txBody>
          </p:sp>
          <p:sp>
            <p:nvSpPr>
              <p:cNvPr id="6255" name="Vrije vorm: vorm 6254">
                <a:extLst>
                  <a:ext uri="{FF2B5EF4-FFF2-40B4-BE49-F238E27FC236}">
                    <a16:creationId xmlns:a16="http://schemas.microsoft.com/office/drawing/2014/main" id="{08F254F9-ACF0-47AD-A3CC-7B3A59C8A266}"/>
                  </a:ext>
                </a:extLst>
              </p:cNvPr>
              <p:cNvSpPr/>
              <p:nvPr/>
            </p:nvSpPr>
            <p:spPr>
              <a:xfrm>
                <a:off x="7596792" y="2689331"/>
                <a:ext cx="28348" cy="2093"/>
              </a:xfrm>
              <a:custGeom>
                <a:avLst/>
                <a:gdLst>
                  <a:gd name="connsiteX0" fmla="*/ 0 w 28348"/>
                  <a:gd name="connsiteY0" fmla="*/ 2093 h 2093"/>
                  <a:gd name="connsiteX1" fmla="*/ 28349 w 28348"/>
                  <a:gd name="connsiteY1" fmla="*/ 0 h 2093"/>
                </a:gdLst>
                <a:ahLst/>
                <a:cxnLst>
                  <a:cxn ang="0">
                    <a:pos x="connsiteX0" y="connsiteY0"/>
                  </a:cxn>
                  <a:cxn ang="0">
                    <a:pos x="connsiteX1" y="connsiteY1"/>
                  </a:cxn>
                </a:cxnLst>
                <a:rect l="l" t="t" r="r" b="b"/>
                <a:pathLst>
                  <a:path w="28348" h="2093">
                    <a:moveTo>
                      <a:pt x="0" y="2093"/>
                    </a:moveTo>
                    <a:lnTo>
                      <a:pt x="28349" y="0"/>
                    </a:lnTo>
                  </a:path>
                </a:pathLst>
              </a:custGeom>
              <a:ln w="6350" cap="rnd">
                <a:solidFill>
                  <a:schemeClr val="bg1">
                    <a:alpha val="80000"/>
                  </a:schemeClr>
                </a:solidFill>
                <a:prstDash val="solid"/>
                <a:round/>
              </a:ln>
            </p:spPr>
            <p:txBody>
              <a:bodyPr rtlCol="0" anchor="ctr"/>
              <a:lstStyle/>
              <a:p>
                <a:endParaRPr lang="en-GB"/>
              </a:p>
            </p:txBody>
          </p:sp>
          <p:sp>
            <p:nvSpPr>
              <p:cNvPr id="6256" name="Vrije vorm: vorm 6255">
                <a:extLst>
                  <a:ext uri="{FF2B5EF4-FFF2-40B4-BE49-F238E27FC236}">
                    <a16:creationId xmlns:a16="http://schemas.microsoft.com/office/drawing/2014/main" id="{562DC6E4-22D0-4C59-93C3-922555A2653B}"/>
                  </a:ext>
                </a:extLst>
              </p:cNvPr>
              <p:cNvSpPr/>
              <p:nvPr/>
            </p:nvSpPr>
            <p:spPr>
              <a:xfrm>
                <a:off x="7596792" y="2670612"/>
                <a:ext cx="15430" cy="20812"/>
              </a:xfrm>
              <a:custGeom>
                <a:avLst/>
                <a:gdLst>
                  <a:gd name="connsiteX0" fmla="*/ 0 w 15430"/>
                  <a:gd name="connsiteY0" fmla="*/ 20813 h 20812"/>
                  <a:gd name="connsiteX1" fmla="*/ 15430 w 15430"/>
                  <a:gd name="connsiteY1" fmla="*/ 0 h 20812"/>
                </a:gdLst>
                <a:ahLst/>
                <a:cxnLst>
                  <a:cxn ang="0">
                    <a:pos x="connsiteX0" y="connsiteY0"/>
                  </a:cxn>
                  <a:cxn ang="0">
                    <a:pos x="connsiteX1" y="connsiteY1"/>
                  </a:cxn>
                </a:cxnLst>
                <a:rect l="l" t="t" r="r" b="b"/>
                <a:pathLst>
                  <a:path w="15430" h="20812">
                    <a:moveTo>
                      <a:pt x="0" y="20813"/>
                    </a:moveTo>
                    <a:lnTo>
                      <a:pt x="15430" y="0"/>
                    </a:lnTo>
                  </a:path>
                </a:pathLst>
              </a:custGeom>
              <a:ln w="6350" cap="rnd">
                <a:solidFill>
                  <a:schemeClr val="bg1">
                    <a:alpha val="80000"/>
                  </a:schemeClr>
                </a:solidFill>
                <a:prstDash val="solid"/>
                <a:round/>
              </a:ln>
            </p:spPr>
            <p:txBody>
              <a:bodyPr rtlCol="0" anchor="ctr"/>
              <a:lstStyle/>
              <a:p>
                <a:endParaRPr lang="en-GB"/>
              </a:p>
            </p:txBody>
          </p:sp>
          <p:sp>
            <p:nvSpPr>
              <p:cNvPr id="6257" name="Vrije vorm: vorm 6256">
                <a:extLst>
                  <a:ext uri="{FF2B5EF4-FFF2-40B4-BE49-F238E27FC236}">
                    <a16:creationId xmlns:a16="http://schemas.microsoft.com/office/drawing/2014/main" id="{57B370E3-D84A-46EF-9AC4-7AAB29DDDEC2}"/>
                  </a:ext>
                </a:extLst>
              </p:cNvPr>
              <p:cNvSpPr/>
              <p:nvPr/>
            </p:nvSpPr>
            <p:spPr>
              <a:xfrm>
                <a:off x="7592845" y="2684666"/>
                <a:ext cx="3947" cy="6758"/>
              </a:xfrm>
              <a:custGeom>
                <a:avLst/>
                <a:gdLst>
                  <a:gd name="connsiteX0" fmla="*/ 3947 w 3947"/>
                  <a:gd name="connsiteY0" fmla="*/ 6758 h 6758"/>
                  <a:gd name="connsiteX1" fmla="*/ 0 w 3947"/>
                  <a:gd name="connsiteY1" fmla="*/ 0 h 6758"/>
                </a:gdLst>
                <a:ahLst/>
                <a:cxnLst>
                  <a:cxn ang="0">
                    <a:pos x="connsiteX0" y="connsiteY0"/>
                  </a:cxn>
                  <a:cxn ang="0">
                    <a:pos x="connsiteX1" y="connsiteY1"/>
                  </a:cxn>
                </a:cxnLst>
                <a:rect l="l" t="t" r="r" b="b"/>
                <a:pathLst>
                  <a:path w="3947" h="6758">
                    <a:moveTo>
                      <a:pt x="3947" y="675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58" name="Vrije vorm: vorm 6257">
                <a:extLst>
                  <a:ext uri="{FF2B5EF4-FFF2-40B4-BE49-F238E27FC236}">
                    <a16:creationId xmlns:a16="http://schemas.microsoft.com/office/drawing/2014/main" id="{EB9307CD-26D6-42D8-A9A4-9D22DBB7EF7D}"/>
                  </a:ext>
                </a:extLst>
              </p:cNvPr>
              <p:cNvSpPr/>
              <p:nvPr/>
            </p:nvSpPr>
            <p:spPr>
              <a:xfrm>
                <a:off x="7596792" y="2677071"/>
                <a:ext cx="18241" cy="14353"/>
              </a:xfrm>
              <a:custGeom>
                <a:avLst/>
                <a:gdLst>
                  <a:gd name="connsiteX0" fmla="*/ 0 w 18241"/>
                  <a:gd name="connsiteY0" fmla="*/ 14354 h 14353"/>
                  <a:gd name="connsiteX1" fmla="*/ 18242 w 18241"/>
                  <a:gd name="connsiteY1" fmla="*/ 0 h 14353"/>
                </a:gdLst>
                <a:ahLst/>
                <a:cxnLst>
                  <a:cxn ang="0">
                    <a:pos x="connsiteX0" y="connsiteY0"/>
                  </a:cxn>
                  <a:cxn ang="0">
                    <a:pos x="connsiteX1" y="connsiteY1"/>
                  </a:cxn>
                </a:cxnLst>
                <a:rect l="l" t="t" r="r" b="b"/>
                <a:pathLst>
                  <a:path w="18241" h="14353">
                    <a:moveTo>
                      <a:pt x="0" y="14354"/>
                    </a:moveTo>
                    <a:lnTo>
                      <a:pt x="18242" y="0"/>
                    </a:lnTo>
                  </a:path>
                </a:pathLst>
              </a:custGeom>
              <a:ln w="6350" cap="rnd">
                <a:solidFill>
                  <a:schemeClr val="bg1">
                    <a:alpha val="80000"/>
                  </a:schemeClr>
                </a:solidFill>
                <a:prstDash val="solid"/>
                <a:round/>
              </a:ln>
            </p:spPr>
            <p:txBody>
              <a:bodyPr rtlCol="0" anchor="ctr"/>
              <a:lstStyle/>
              <a:p>
                <a:endParaRPr lang="en-GB"/>
              </a:p>
            </p:txBody>
          </p:sp>
          <p:sp>
            <p:nvSpPr>
              <p:cNvPr id="6259" name="Vrije vorm: vorm 6258">
                <a:extLst>
                  <a:ext uri="{FF2B5EF4-FFF2-40B4-BE49-F238E27FC236}">
                    <a16:creationId xmlns:a16="http://schemas.microsoft.com/office/drawing/2014/main" id="{5EB99C14-458D-46EF-859B-004B415420C9}"/>
                  </a:ext>
                </a:extLst>
              </p:cNvPr>
              <p:cNvSpPr/>
              <p:nvPr/>
            </p:nvSpPr>
            <p:spPr>
              <a:xfrm>
                <a:off x="7621672" y="2629105"/>
                <a:ext cx="10585" cy="956"/>
              </a:xfrm>
              <a:custGeom>
                <a:avLst/>
                <a:gdLst>
                  <a:gd name="connsiteX0" fmla="*/ 0 w 10585"/>
                  <a:gd name="connsiteY0" fmla="*/ 957 h 956"/>
                  <a:gd name="connsiteX1" fmla="*/ 10586 w 10585"/>
                  <a:gd name="connsiteY1" fmla="*/ 0 h 956"/>
                </a:gdLst>
                <a:ahLst/>
                <a:cxnLst>
                  <a:cxn ang="0">
                    <a:pos x="connsiteX0" y="connsiteY0"/>
                  </a:cxn>
                  <a:cxn ang="0">
                    <a:pos x="connsiteX1" y="connsiteY1"/>
                  </a:cxn>
                </a:cxnLst>
                <a:rect l="l" t="t" r="r" b="b"/>
                <a:pathLst>
                  <a:path w="10585" h="956">
                    <a:moveTo>
                      <a:pt x="0" y="957"/>
                    </a:moveTo>
                    <a:lnTo>
                      <a:pt x="10586" y="0"/>
                    </a:lnTo>
                  </a:path>
                </a:pathLst>
              </a:custGeom>
              <a:ln w="6350" cap="rnd">
                <a:solidFill>
                  <a:schemeClr val="bg1">
                    <a:alpha val="80000"/>
                  </a:schemeClr>
                </a:solidFill>
                <a:prstDash val="solid"/>
                <a:round/>
              </a:ln>
            </p:spPr>
            <p:txBody>
              <a:bodyPr rtlCol="0" anchor="ctr"/>
              <a:lstStyle/>
              <a:p>
                <a:endParaRPr lang="en-GB"/>
              </a:p>
            </p:txBody>
          </p:sp>
          <p:sp>
            <p:nvSpPr>
              <p:cNvPr id="6260" name="Vrije vorm: vorm 6259">
                <a:extLst>
                  <a:ext uri="{FF2B5EF4-FFF2-40B4-BE49-F238E27FC236}">
                    <a16:creationId xmlns:a16="http://schemas.microsoft.com/office/drawing/2014/main" id="{38A8A96E-D11F-4EBC-BFD8-29C22BA9CE74}"/>
                  </a:ext>
                </a:extLst>
              </p:cNvPr>
              <p:cNvSpPr/>
              <p:nvPr/>
            </p:nvSpPr>
            <p:spPr>
              <a:xfrm>
                <a:off x="7607558" y="2630062"/>
                <a:ext cx="14114" cy="9210"/>
              </a:xfrm>
              <a:custGeom>
                <a:avLst/>
                <a:gdLst>
                  <a:gd name="connsiteX0" fmla="*/ 14115 w 14114"/>
                  <a:gd name="connsiteY0" fmla="*/ 0 h 9210"/>
                  <a:gd name="connsiteX1" fmla="*/ 0 w 14114"/>
                  <a:gd name="connsiteY1" fmla="*/ 9210 h 9210"/>
                </a:gdLst>
                <a:ahLst/>
                <a:cxnLst>
                  <a:cxn ang="0">
                    <a:pos x="connsiteX0" y="connsiteY0"/>
                  </a:cxn>
                  <a:cxn ang="0">
                    <a:pos x="connsiteX1" y="connsiteY1"/>
                  </a:cxn>
                </a:cxnLst>
                <a:rect l="l" t="t" r="r" b="b"/>
                <a:pathLst>
                  <a:path w="14114" h="9210">
                    <a:moveTo>
                      <a:pt x="14115" y="0"/>
                    </a:moveTo>
                    <a:lnTo>
                      <a:pt x="0" y="9210"/>
                    </a:lnTo>
                  </a:path>
                </a:pathLst>
              </a:custGeom>
              <a:ln w="6350" cap="rnd">
                <a:solidFill>
                  <a:schemeClr val="bg1">
                    <a:alpha val="80000"/>
                  </a:schemeClr>
                </a:solidFill>
                <a:prstDash val="solid"/>
                <a:round/>
              </a:ln>
            </p:spPr>
            <p:txBody>
              <a:bodyPr rtlCol="0" anchor="ctr"/>
              <a:lstStyle/>
              <a:p>
                <a:endParaRPr lang="en-GB"/>
              </a:p>
            </p:txBody>
          </p:sp>
          <p:sp>
            <p:nvSpPr>
              <p:cNvPr id="6261" name="Vrije vorm: vorm 6260">
                <a:extLst>
                  <a:ext uri="{FF2B5EF4-FFF2-40B4-BE49-F238E27FC236}">
                    <a16:creationId xmlns:a16="http://schemas.microsoft.com/office/drawing/2014/main" id="{2003D880-762E-47DB-832E-4B00CAD70607}"/>
                  </a:ext>
                </a:extLst>
              </p:cNvPr>
              <p:cNvSpPr/>
              <p:nvPr/>
            </p:nvSpPr>
            <p:spPr>
              <a:xfrm>
                <a:off x="7782554" y="2780896"/>
                <a:ext cx="179" cy="3767"/>
              </a:xfrm>
              <a:custGeom>
                <a:avLst/>
                <a:gdLst>
                  <a:gd name="connsiteX0" fmla="*/ 179 w 179"/>
                  <a:gd name="connsiteY0" fmla="*/ 3768 h 3767"/>
                  <a:gd name="connsiteX1" fmla="*/ 0 w 179"/>
                  <a:gd name="connsiteY1" fmla="*/ 0 h 3767"/>
                </a:gdLst>
                <a:ahLst/>
                <a:cxnLst>
                  <a:cxn ang="0">
                    <a:pos x="connsiteX0" y="connsiteY0"/>
                  </a:cxn>
                  <a:cxn ang="0">
                    <a:pos x="connsiteX1" y="connsiteY1"/>
                  </a:cxn>
                </a:cxnLst>
                <a:rect l="l" t="t" r="r" b="b"/>
                <a:pathLst>
                  <a:path w="179" h="3767">
                    <a:moveTo>
                      <a:pt x="179" y="376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62" name="Vrije vorm: vorm 6261">
                <a:extLst>
                  <a:ext uri="{FF2B5EF4-FFF2-40B4-BE49-F238E27FC236}">
                    <a16:creationId xmlns:a16="http://schemas.microsoft.com/office/drawing/2014/main" id="{09D62903-6EFA-4102-9D6D-DE700B2BD2A8}"/>
                  </a:ext>
                </a:extLst>
              </p:cNvPr>
              <p:cNvSpPr/>
              <p:nvPr/>
            </p:nvSpPr>
            <p:spPr>
              <a:xfrm>
                <a:off x="7775795" y="2784664"/>
                <a:ext cx="6937" cy="13277"/>
              </a:xfrm>
              <a:custGeom>
                <a:avLst/>
                <a:gdLst>
                  <a:gd name="connsiteX0" fmla="*/ 6937 w 6937"/>
                  <a:gd name="connsiteY0" fmla="*/ 0 h 13277"/>
                  <a:gd name="connsiteX1" fmla="*/ 0 w 6937"/>
                  <a:gd name="connsiteY1" fmla="*/ 13277 h 13277"/>
                </a:gdLst>
                <a:ahLst/>
                <a:cxnLst>
                  <a:cxn ang="0">
                    <a:pos x="connsiteX0" y="connsiteY0"/>
                  </a:cxn>
                  <a:cxn ang="0">
                    <a:pos x="connsiteX1" y="connsiteY1"/>
                  </a:cxn>
                </a:cxnLst>
                <a:rect l="l" t="t" r="r" b="b"/>
                <a:pathLst>
                  <a:path w="6937" h="13277">
                    <a:moveTo>
                      <a:pt x="6937" y="0"/>
                    </a:moveTo>
                    <a:lnTo>
                      <a:pt x="0" y="13277"/>
                    </a:lnTo>
                  </a:path>
                </a:pathLst>
              </a:custGeom>
              <a:ln w="6350" cap="rnd">
                <a:solidFill>
                  <a:schemeClr val="bg1">
                    <a:alpha val="80000"/>
                  </a:schemeClr>
                </a:solidFill>
                <a:prstDash val="solid"/>
                <a:round/>
              </a:ln>
            </p:spPr>
            <p:txBody>
              <a:bodyPr rtlCol="0" anchor="ctr"/>
              <a:lstStyle/>
              <a:p>
                <a:endParaRPr lang="en-GB"/>
              </a:p>
            </p:txBody>
          </p:sp>
          <p:sp>
            <p:nvSpPr>
              <p:cNvPr id="6263" name="Vrije vorm: vorm 6262">
                <a:extLst>
                  <a:ext uri="{FF2B5EF4-FFF2-40B4-BE49-F238E27FC236}">
                    <a16:creationId xmlns:a16="http://schemas.microsoft.com/office/drawing/2014/main" id="{4722DDAC-46A2-4198-9AE7-36389C504460}"/>
                  </a:ext>
                </a:extLst>
              </p:cNvPr>
              <p:cNvSpPr/>
              <p:nvPr/>
            </p:nvSpPr>
            <p:spPr>
              <a:xfrm>
                <a:off x="7753966" y="2769054"/>
                <a:ext cx="9389" cy="11124"/>
              </a:xfrm>
              <a:custGeom>
                <a:avLst/>
                <a:gdLst>
                  <a:gd name="connsiteX0" fmla="*/ 0 w 9389"/>
                  <a:gd name="connsiteY0" fmla="*/ 0 h 11124"/>
                  <a:gd name="connsiteX1" fmla="*/ 9390 w 9389"/>
                  <a:gd name="connsiteY1" fmla="*/ 11124 h 11124"/>
                </a:gdLst>
                <a:ahLst/>
                <a:cxnLst>
                  <a:cxn ang="0">
                    <a:pos x="connsiteX0" y="connsiteY0"/>
                  </a:cxn>
                  <a:cxn ang="0">
                    <a:pos x="connsiteX1" y="connsiteY1"/>
                  </a:cxn>
                </a:cxnLst>
                <a:rect l="l" t="t" r="r" b="b"/>
                <a:pathLst>
                  <a:path w="9389" h="11124">
                    <a:moveTo>
                      <a:pt x="0" y="0"/>
                    </a:moveTo>
                    <a:lnTo>
                      <a:pt x="9390" y="11124"/>
                    </a:lnTo>
                  </a:path>
                </a:pathLst>
              </a:custGeom>
              <a:ln w="6350" cap="rnd">
                <a:solidFill>
                  <a:schemeClr val="bg1">
                    <a:alpha val="80000"/>
                  </a:schemeClr>
                </a:solidFill>
                <a:prstDash val="solid"/>
                <a:round/>
              </a:ln>
            </p:spPr>
            <p:txBody>
              <a:bodyPr rtlCol="0" anchor="ctr"/>
              <a:lstStyle/>
              <a:p>
                <a:endParaRPr lang="en-GB"/>
              </a:p>
            </p:txBody>
          </p:sp>
          <p:sp>
            <p:nvSpPr>
              <p:cNvPr id="6264" name="Vrije vorm: vorm 6263">
                <a:extLst>
                  <a:ext uri="{FF2B5EF4-FFF2-40B4-BE49-F238E27FC236}">
                    <a16:creationId xmlns:a16="http://schemas.microsoft.com/office/drawing/2014/main" id="{98FEAAA6-9CDC-4F71-9E5E-151FBDADBEEF}"/>
                  </a:ext>
                </a:extLst>
              </p:cNvPr>
              <p:cNvSpPr/>
              <p:nvPr/>
            </p:nvSpPr>
            <p:spPr>
              <a:xfrm>
                <a:off x="7728129" y="2769054"/>
                <a:ext cx="25836" cy="8014"/>
              </a:xfrm>
              <a:custGeom>
                <a:avLst/>
                <a:gdLst>
                  <a:gd name="connsiteX0" fmla="*/ 25837 w 25836"/>
                  <a:gd name="connsiteY0" fmla="*/ 0 h 8014"/>
                  <a:gd name="connsiteX1" fmla="*/ 0 w 25836"/>
                  <a:gd name="connsiteY1" fmla="*/ 8014 h 8014"/>
                </a:gdLst>
                <a:ahLst/>
                <a:cxnLst>
                  <a:cxn ang="0">
                    <a:pos x="connsiteX0" y="connsiteY0"/>
                  </a:cxn>
                  <a:cxn ang="0">
                    <a:pos x="connsiteX1" y="connsiteY1"/>
                  </a:cxn>
                </a:cxnLst>
                <a:rect l="l" t="t" r="r" b="b"/>
                <a:pathLst>
                  <a:path w="25836" h="8014">
                    <a:moveTo>
                      <a:pt x="25837" y="0"/>
                    </a:moveTo>
                    <a:lnTo>
                      <a:pt x="0" y="8014"/>
                    </a:lnTo>
                  </a:path>
                </a:pathLst>
              </a:custGeom>
              <a:ln w="6350" cap="rnd">
                <a:solidFill>
                  <a:schemeClr val="bg1">
                    <a:alpha val="80000"/>
                  </a:schemeClr>
                </a:solidFill>
                <a:prstDash val="solid"/>
                <a:round/>
              </a:ln>
            </p:spPr>
            <p:txBody>
              <a:bodyPr rtlCol="0" anchor="ctr"/>
              <a:lstStyle/>
              <a:p>
                <a:endParaRPr lang="en-GB"/>
              </a:p>
            </p:txBody>
          </p:sp>
          <p:sp>
            <p:nvSpPr>
              <p:cNvPr id="6265" name="Vrije vorm: vorm 6264">
                <a:extLst>
                  <a:ext uri="{FF2B5EF4-FFF2-40B4-BE49-F238E27FC236}">
                    <a16:creationId xmlns:a16="http://schemas.microsoft.com/office/drawing/2014/main" id="{A9F44371-4FA8-4A7F-966A-A37D017ED730}"/>
                  </a:ext>
                </a:extLst>
              </p:cNvPr>
              <p:cNvSpPr/>
              <p:nvPr/>
            </p:nvSpPr>
            <p:spPr>
              <a:xfrm>
                <a:off x="7753966" y="2758947"/>
                <a:ext cx="8373" cy="10107"/>
              </a:xfrm>
              <a:custGeom>
                <a:avLst/>
                <a:gdLst>
                  <a:gd name="connsiteX0" fmla="*/ 0 w 8373"/>
                  <a:gd name="connsiteY0" fmla="*/ 10107 h 10107"/>
                  <a:gd name="connsiteX1" fmla="*/ 8373 w 8373"/>
                  <a:gd name="connsiteY1" fmla="*/ 0 h 10107"/>
                </a:gdLst>
                <a:ahLst/>
                <a:cxnLst>
                  <a:cxn ang="0">
                    <a:pos x="connsiteX0" y="connsiteY0"/>
                  </a:cxn>
                  <a:cxn ang="0">
                    <a:pos x="connsiteX1" y="connsiteY1"/>
                  </a:cxn>
                </a:cxnLst>
                <a:rect l="l" t="t" r="r" b="b"/>
                <a:pathLst>
                  <a:path w="8373" h="10107">
                    <a:moveTo>
                      <a:pt x="0" y="10107"/>
                    </a:moveTo>
                    <a:lnTo>
                      <a:pt x="8373" y="0"/>
                    </a:lnTo>
                  </a:path>
                </a:pathLst>
              </a:custGeom>
              <a:ln w="6350" cap="rnd">
                <a:solidFill>
                  <a:schemeClr val="bg1">
                    <a:alpha val="80000"/>
                  </a:schemeClr>
                </a:solidFill>
                <a:prstDash val="solid"/>
                <a:round/>
              </a:ln>
            </p:spPr>
            <p:txBody>
              <a:bodyPr rtlCol="0" anchor="ctr"/>
              <a:lstStyle/>
              <a:p>
                <a:endParaRPr lang="en-GB"/>
              </a:p>
            </p:txBody>
          </p:sp>
          <p:sp>
            <p:nvSpPr>
              <p:cNvPr id="6266" name="Vrije vorm: vorm 6265">
                <a:extLst>
                  <a:ext uri="{FF2B5EF4-FFF2-40B4-BE49-F238E27FC236}">
                    <a16:creationId xmlns:a16="http://schemas.microsoft.com/office/drawing/2014/main" id="{44494C99-7CDA-468A-91D8-8CBAA1D36084}"/>
                  </a:ext>
                </a:extLst>
              </p:cNvPr>
              <p:cNvSpPr/>
              <p:nvPr/>
            </p:nvSpPr>
            <p:spPr>
              <a:xfrm>
                <a:off x="7753966" y="2759067"/>
                <a:ext cx="1136" cy="9987"/>
              </a:xfrm>
              <a:custGeom>
                <a:avLst/>
                <a:gdLst>
                  <a:gd name="connsiteX0" fmla="*/ 0 w 1136"/>
                  <a:gd name="connsiteY0" fmla="*/ 9988 h 9987"/>
                  <a:gd name="connsiteX1" fmla="*/ 1136 w 1136"/>
                  <a:gd name="connsiteY1" fmla="*/ 0 h 9987"/>
                </a:gdLst>
                <a:ahLst/>
                <a:cxnLst>
                  <a:cxn ang="0">
                    <a:pos x="connsiteX0" y="connsiteY0"/>
                  </a:cxn>
                  <a:cxn ang="0">
                    <a:pos x="connsiteX1" y="connsiteY1"/>
                  </a:cxn>
                </a:cxnLst>
                <a:rect l="l" t="t" r="r" b="b"/>
                <a:pathLst>
                  <a:path w="1136" h="9987">
                    <a:moveTo>
                      <a:pt x="0" y="9988"/>
                    </a:moveTo>
                    <a:lnTo>
                      <a:pt x="1136" y="0"/>
                    </a:lnTo>
                  </a:path>
                </a:pathLst>
              </a:custGeom>
              <a:ln w="6350" cap="rnd">
                <a:solidFill>
                  <a:schemeClr val="bg1">
                    <a:alpha val="80000"/>
                  </a:schemeClr>
                </a:solidFill>
                <a:prstDash val="solid"/>
                <a:round/>
              </a:ln>
            </p:spPr>
            <p:txBody>
              <a:bodyPr rtlCol="0" anchor="ctr"/>
              <a:lstStyle/>
              <a:p>
                <a:endParaRPr lang="en-GB"/>
              </a:p>
            </p:txBody>
          </p:sp>
          <p:sp>
            <p:nvSpPr>
              <p:cNvPr id="6267" name="Vrije vorm: vorm 6266">
                <a:extLst>
                  <a:ext uri="{FF2B5EF4-FFF2-40B4-BE49-F238E27FC236}">
                    <a16:creationId xmlns:a16="http://schemas.microsoft.com/office/drawing/2014/main" id="{24A0AB93-5C1F-4B11-8648-B137FAB8981B}"/>
                  </a:ext>
                </a:extLst>
              </p:cNvPr>
              <p:cNvSpPr/>
              <p:nvPr/>
            </p:nvSpPr>
            <p:spPr>
              <a:xfrm>
                <a:off x="7745354" y="2769054"/>
                <a:ext cx="8612" cy="21291"/>
              </a:xfrm>
              <a:custGeom>
                <a:avLst/>
                <a:gdLst>
                  <a:gd name="connsiteX0" fmla="*/ 8612 w 8612"/>
                  <a:gd name="connsiteY0" fmla="*/ 0 h 21291"/>
                  <a:gd name="connsiteX1" fmla="*/ 0 w 8612"/>
                  <a:gd name="connsiteY1" fmla="*/ 21291 h 21291"/>
                </a:gdLst>
                <a:ahLst/>
                <a:cxnLst>
                  <a:cxn ang="0">
                    <a:pos x="connsiteX0" y="connsiteY0"/>
                  </a:cxn>
                  <a:cxn ang="0">
                    <a:pos x="connsiteX1" y="connsiteY1"/>
                  </a:cxn>
                </a:cxnLst>
                <a:rect l="l" t="t" r="r" b="b"/>
                <a:pathLst>
                  <a:path w="8612" h="21291">
                    <a:moveTo>
                      <a:pt x="8612" y="0"/>
                    </a:moveTo>
                    <a:lnTo>
                      <a:pt x="0" y="21291"/>
                    </a:lnTo>
                  </a:path>
                </a:pathLst>
              </a:custGeom>
              <a:ln w="6350" cap="rnd">
                <a:solidFill>
                  <a:schemeClr val="bg1">
                    <a:alpha val="80000"/>
                  </a:schemeClr>
                </a:solidFill>
                <a:prstDash val="solid"/>
                <a:round/>
              </a:ln>
            </p:spPr>
            <p:txBody>
              <a:bodyPr rtlCol="0" anchor="ctr"/>
              <a:lstStyle/>
              <a:p>
                <a:endParaRPr lang="en-GB"/>
              </a:p>
            </p:txBody>
          </p:sp>
          <p:sp>
            <p:nvSpPr>
              <p:cNvPr id="6268" name="Vrije vorm: vorm 6267">
                <a:extLst>
                  <a:ext uri="{FF2B5EF4-FFF2-40B4-BE49-F238E27FC236}">
                    <a16:creationId xmlns:a16="http://schemas.microsoft.com/office/drawing/2014/main" id="{FEDFC1F8-4368-4F6E-9068-5B9E7EFE4343}"/>
                  </a:ext>
                </a:extLst>
              </p:cNvPr>
              <p:cNvSpPr/>
              <p:nvPr/>
            </p:nvSpPr>
            <p:spPr>
              <a:xfrm>
                <a:off x="7774838" y="2797941"/>
                <a:ext cx="956" cy="6877"/>
              </a:xfrm>
              <a:custGeom>
                <a:avLst/>
                <a:gdLst>
                  <a:gd name="connsiteX0" fmla="*/ 0 w 956"/>
                  <a:gd name="connsiteY0" fmla="*/ 6878 h 6877"/>
                  <a:gd name="connsiteX1" fmla="*/ 957 w 956"/>
                  <a:gd name="connsiteY1" fmla="*/ 0 h 6877"/>
                </a:gdLst>
                <a:ahLst/>
                <a:cxnLst>
                  <a:cxn ang="0">
                    <a:pos x="connsiteX0" y="connsiteY0"/>
                  </a:cxn>
                  <a:cxn ang="0">
                    <a:pos x="connsiteX1" y="connsiteY1"/>
                  </a:cxn>
                </a:cxnLst>
                <a:rect l="l" t="t" r="r" b="b"/>
                <a:pathLst>
                  <a:path w="956" h="6877">
                    <a:moveTo>
                      <a:pt x="0" y="6878"/>
                    </a:moveTo>
                    <a:lnTo>
                      <a:pt x="957" y="0"/>
                    </a:lnTo>
                  </a:path>
                </a:pathLst>
              </a:custGeom>
              <a:ln w="6350" cap="rnd">
                <a:solidFill>
                  <a:schemeClr val="bg1">
                    <a:alpha val="80000"/>
                  </a:schemeClr>
                </a:solidFill>
                <a:prstDash val="solid"/>
                <a:round/>
              </a:ln>
            </p:spPr>
            <p:txBody>
              <a:bodyPr rtlCol="0" anchor="ctr"/>
              <a:lstStyle/>
              <a:p>
                <a:endParaRPr lang="en-GB"/>
              </a:p>
            </p:txBody>
          </p:sp>
          <p:sp>
            <p:nvSpPr>
              <p:cNvPr id="6269" name="Vrije vorm: vorm 6268">
                <a:extLst>
                  <a:ext uri="{FF2B5EF4-FFF2-40B4-BE49-F238E27FC236}">
                    <a16:creationId xmlns:a16="http://schemas.microsoft.com/office/drawing/2014/main" id="{9445EA36-1F7D-4D35-B4A7-B9B8E1561305}"/>
                  </a:ext>
                </a:extLst>
              </p:cNvPr>
              <p:cNvSpPr/>
              <p:nvPr/>
            </p:nvSpPr>
            <p:spPr>
              <a:xfrm>
                <a:off x="7774838" y="2784664"/>
                <a:ext cx="7894" cy="20155"/>
              </a:xfrm>
              <a:custGeom>
                <a:avLst/>
                <a:gdLst>
                  <a:gd name="connsiteX0" fmla="*/ 0 w 7894"/>
                  <a:gd name="connsiteY0" fmla="*/ 20155 h 20155"/>
                  <a:gd name="connsiteX1" fmla="*/ 7894 w 7894"/>
                  <a:gd name="connsiteY1" fmla="*/ 0 h 20155"/>
                </a:gdLst>
                <a:ahLst/>
                <a:cxnLst>
                  <a:cxn ang="0">
                    <a:pos x="connsiteX0" y="connsiteY0"/>
                  </a:cxn>
                  <a:cxn ang="0">
                    <a:pos x="connsiteX1" y="connsiteY1"/>
                  </a:cxn>
                </a:cxnLst>
                <a:rect l="l" t="t" r="r" b="b"/>
                <a:pathLst>
                  <a:path w="7894" h="20155">
                    <a:moveTo>
                      <a:pt x="0" y="20155"/>
                    </a:moveTo>
                    <a:lnTo>
                      <a:pt x="7894" y="0"/>
                    </a:lnTo>
                  </a:path>
                </a:pathLst>
              </a:custGeom>
              <a:ln w="6350" cap="rnd">
                <a:solidFill>
                  <a:schemeClr val="bg1">
                    <a:alpha val="80000"/>
                  </a:schemeClr>
                </a:solidFill>
                <a:prstDash val="solid"/>
                <a:round/>
              </a:ln>
            </p:spPr>
            <p:txBody>
              <a:bodyPr rtlCol="0" anchor="ctr"/>
              <a:lstStyle/>
              <a:p>
                <a:endParaRPr lang="en-GB"/>
              </a:p>
            </p:txBody>
          </p:sp>
          <p:sp>
            <p:nvSpPr>
              <p:cNvPr id="6270" name="Vrije vorm: vorm 6269">
                <a:extLst>
                  <a:ext uri="{FF2B5EF4-FFF2-40B4-BE49-F238E27FC236}">
                    <a16:creationId xmlns:a16="http://schemas.microsoft.com/office/drawing/2014/main" id="{1208F047-C1AA-4A6F-8E95-7D890DB4DD22}"/>
                  </a:ext>
                </a:extLst>
              </p:cNvPr>
              <p:cNvSpPr/>
              <p:nvPr/>
            </p:nvSpPr>
            <p:spPr>
              <a:xfrm>
                <a:off x="7685666" y="2707812"/>
                <a:ext cx="10047" cy="14772"/>
              </a:xfrm>
              <a:custGeom>
                <a:avLst/>
                <a:gdLst>
                  <a:gd name="connsiteX0" fmla="*/ 0 w 10047"/>
                  <a:gd name="connsiteY0" fmla="*/ 0 h 14772"/>
                  <a:gd name="connsiteX1" fmla="*/ 10048 w 10047"/>
                  <a:gd name="connsiteY1" fmla="*/ 14772 h 14772"/>
                </a:gdLst>
                <a:ahLst/>
                <a:cxnLst>
                  <a:cxn ang="0">
                    <a:pos x="connsiteX0" y="connsiteY0"/>
                  </a:cxn>
                  <a:cxn ang="0">
                    <a:pos x="connsiteX1" y="connsiteY1"/>
                  </a:cxn>
                </a:cxnLst>
                <a:rect l="l" t="t" r="r" b="b"/>
                <a:pathLst>
                  <a:path w="10047" h="14772">
                    <a:moveTo>
                      <a:pt x="0" y="0"/>
                    </a:moveTo>
                    <a:lnTo>
                      <a:pt x="10048" y="14772"/>
                    </a:lnTo>
                  </a:path>
                </a:pathLst>
              </a:custGeom>
              <a:ln w="6350" cap="rnd">
                <a:solidFill>
                  <a:schemeClr val="bg1">
                    <a:alpha val="80000"/>
                  </a:schemeClr>
                </a:solidFill>
                <a:prstDash val="solid"/>
                <a:round/>
              </a:ln>
            </p:spPr>
            <p:txBody>
              <a:bodyPr rtlCol="0" anchor="ctr"/>
              <a:lstStyle/>
              <a:p>
                <a:endParaRPr lang="en-GB"/>
              </a:p>
            </p:txBody>
          </p:sp>
          <p:sp>
            <p:nvSpPr>
              <p:cNvPr id="6271" name="Vrije vorm: vorm 6270">
                <a:extLst>
                  <a:ext uri="{FF2B5EF4-FFF2-40B4-BE49-F238E27FC236}">
                    <a16:creationId xmlns:a16="http://schemas.microsoft.com/office/drawing/2014/main" id="{0E0AD589-F5D0-488D-BDE9-4C457B57FD6A}"/>
                  </a:ext>
                </a:extLst>
              </p:cNvPr>
              <p:cNvSpPr/>
              <p:nvPr/>
            </p:nvSpPr>
            <p:spPr>
              <a:xfrm>
                <a:off x="7659112" y="2690527"/>
                <a:ext cx="26554" cy="17284"/>
              </a:xfrm>
              <a:custGeom>
                <a:avLst/>
                <a:gdLst>
                  <a:gd name="connsiteX0" fmla="*/ 26554 w 26554"/>
                  <a:gd name="connsiteY0" fmla="*/ 17284 h 17284"/>
                  <a:gd name="connsiteX1" fmla="*/ 0 w 26554"/>
                  <a:gd name="connsiteY1" fmla="*/ 0 h 17284"/>
                </a:gdLst>
                <a:ahLst/>
                <a:cxnLst>
                  <a:cxn ang="0">
                    <a:pos x="connsiteX0" y="connsiteY0"/>
                  </a:cxn>
                  <a:cxn ang="0">
                    <a:pos x="connsiteX1" y="connsiteY1"/>
                  </a:cxn>
                </a:cxnLst>
                <a:rect l="l" t="t" r="r" b="b"/>
                <a:pathLst>
                  <a:path w="26554" h="17284">
                    <a:moveTo>
                      <a:pt x="26554" y="1728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72" name="Vrije vorm: vorm 6271">
                <a:extLst>
                  <a:ext uri="{FF2B5EF4-FFF2-40B4-BE49-F238E27FC236}">
                    <a16:creationId xmlns:a16="http://schemas.microsoft.com/office/drawing/2014/main" id="{25A2EE6F-BF37-4060-A6A3-C9940E5B786F}"/>
                  </a:ext>
                </a:extLst>
              </p:cNvPr>
              <p:cNvSpPr/>
              <p:nvPr/>
            </p:nvSpPr>
            <p:spPr>
              <a:xfrm>
                <a:off x="7685666" y="2705539"/>
                <a:ext cx="12738" cy="2272"/>
              </a:xfrm>
              <a:custGeom>
                <a:avLst/>
                <a:gdLst>
                  <a:gd name="connsiteX0" fmla="*/ 0 w 12738"/>
                  <a:gd name="connsiteY0" fmla="*/ 2273 h 2272"/>
                  <a:gd name="connsiteX1" fmla="*/ 12739 w 12738"/>
                  <a:gd name="connsiteY1" fmla="*/ 0 h 2272"/>
                </a:gdLst>
                <a:ahLst/>
                <a:cxnLst>
                  <a:cxn ang="0">
                    <a:pos x="connsiteX0" y="connsiteY0"/>
                  </a:cxn>
                  <a:cxn ang="0">
                    <a:pos x="connsiteX1" y="connsiteY1"/>
                  </a:cxn>
                </a:cxnLst>
                <a:rect l="l" t="t" r="r" b="b"/>
                <a:pathLst>
                  <a:path w="12738" h="2272">
                    <a:moveTo>
                      <a:pt x="0" y="2273"/>
                    </a:moveTo>
                    <a:lnTo>
                      <a:pt x="12739" y="0"/>
                    </a:lnTo>
                  </a:path>
                </a:pathLst>
              </a:custGeom>
              <a:ln w="6350" cap="rnd">
                <a:solidFill>
                  <a:schemeClr val="bg1">
                    <a:alpha val="80000"/>
                  </a:schemeClr>
                </a:solidFill>
                <a:prstDash val="solid"/>
                <a:round/>
              </a:ln>
            </p:spPr>
            <p:txBody>
              <a:bodyPr rtlCol="0" anchor="ctr"/>
              <a:lstStyle/>
              <a:p>
                <a:endParaRPr lang="en-GB"/>
              </a:p>
            </p:txBody>
          </p:sp>
          <p:sp>
            <p:nvSpPr>
              <p:cNvPr id="6273" name="Vrije vorm: vorm 6272">
                <a:extLst>
                  <a:ext uri="{FF2B5EF4-FFF2-40B4-BE49-F238E27FC236}">
                    <a16:creationId xmlns:a16="http://schemas.microsoft.com/office/drawing/2014/main" id="{E4A0C153-D286-4E31-9B1B-A695BF7DEAF7}"/>
                  </a:ext>
                </a:extLst>
              </p:cNvPr>
              <p:cNvSpPr/>
              <p:nvPr/>
            </p:nvSpPr>
            <p:spPr>
              <a:xfrm>
                <a:off x="7669279" y="2707812"/>
                <a:ext cx="16387" cy="15011"/>
              </a:xfrm>
              <a:custGeom>
                <a:avLst/>
                <a:gdLst>
                  <a:gd name="connsiteX0" fmla="*/ 16387 w 16387"/>
                  <a:gd name="connsiteY0" fmla="*/ 0 h 15011"/>
                  <a:gd name="connsiteX1" fmla="*/ 0 w 16387"/>
                  <a:gd name="connsiteY1" fmla="*/ 15012 h 15011"/>
                </a:gdLst>
                <a:ahLst/>
                <a:cxnLst>
                  <a:cxn ang="0">
                    <a:pos x="connsiteX0" y="connsiteY0"/>
                  </a:cxn>
                  <a:cxn ang="0">
                    <a:pos x="connsiteX1" y="connsiteY1"/>
                  </a:cxn>
                </a:cxnLst>
                <a:rect l="l" t="t" r="r" b="b"/>
                <a:pathLst>
                  <a:path w="16387" h="15011">
                    <a:moveTo>
                      <a:pt x="16387" y="0"/>
                    </a:moveTo>
                    <a:lnTo>
                      <a:pt x="0" y="15012"/>
                    </a:lnTo>
                  </a:path>
                </a:pathLst>
              </a:custGeom>
              <a:ln w="6350" cap="rnd">
                <a:solidFill>
                  <a:schemeClr val="bg1">
                    <a:alpha val="80000"/>
                  </a:schemeClr>
                </a:solidFill>
                <a:prstDash val="solid"/>
                <a:round/>
              </a:ln>
            </p:spPr>
            <p:txBody>
              <a:bodyPr rtlCol="0" anchor="ctr"/>
              <a:lstStyle/>
              <a:p>
                <a:endParaRPr lang="en-GB"/>
              </a:p>
            </p:txBody>
          </p:sp>
          <p:sp>
            <p:nvSpPr>
              <p:cNvPr id="6274" name="Vrije vorm: vorm 6273">
                <a:extLst>
                  <a:ext uri="{FF2B5EF4-FFF2-40B4-BE49-F238E27FC236}">
                    <a16:creationId xmlns:a16="http://schemas.microsoft.com/office/drawing/2014/main" id="{4D495FCE-C789-4510-9D1A-B89A7F15A380}"/>
                  </a:ext>
                </a:extLst>
              </p:cNvPr>
              <p:cNvSpPr/>
              <p:nvPr/>
            </p:nvSpPr>
            <p:spPr>
              <a:xfrm>
                <a:off x="7513302" y="2723661"/>
                <a:ext cx="6040" cy="12439"/>
              </a:xfrm>
              <a:custGeom>
                <a:avLst/>
                <a:gdLst>
                  <a:gd name="connsiteX0" fmla="*/ 6041 w 6040"/>
                  <a:gd name="connsiteY0" fmla="*/ 0 h 12439"/>
                  <a:gd name="connsiteX1" fmla="*/ 0 w 6040"/>
                  <a:gd name="connsiteY1" fmla="*/ 12440 h 12439"/>
                </a:gdLst>
                <a:ahLst/>
                <a:cxnLst>
                  <a:cxn ang="0">
                    <a:pos x="connsiteX0" y="connsiteY0"/>
                  </a:cxn>
                  <a:cxn ang="0">
                    <a:pos x="connsiteX1" y="connsiteY1"/>
                  </a:cxn>
                </a:cxnLst>
                <a:rect l="l" t="t" r="r" b="b"/>
                <a:pathLst>
                  <a:path w="6040" h="12439">
                    <a:moveTo>
                      <a:pt x="6041" y="0"/>
                    </a:moveTo>
                    <a:lnTo>
                      <a:pt x="0" y="12440"/>
                    </a:lnTo>
                  </a:path>
                </a:pathLst>
              </a:custGeom>
              <a:ln w="6350" cap="rnd">
                <a:solidFill>
                  <a:schemeClr val="bg1">
                    <a:alpha val="80000"/>
                  </a:schemeClr>
                </a:solidFill>
                <a:prstDash val="solid"/>
                <a:round/>
              </a:ln>
            </p:spPr>
            <p:txBody>
              <a:bodyPr rtlCol="0" anchor="ctr"/>
              <a:lstStyle/>
              <a:p>
                <a:endParaRPr lang="en-GB"/>
              </a:p>
            </p:txBody>
          </p:sp>
          <p:sp>
            <p:nvSpPr>
              <p:cNvPr id="6275" name="Vrije vorm: vorm 6274">
                <a:extLst>
                  <a:ext uri="{FF2B5EF4-FFF2-40B4-BE49-F238E27FC236}">
                    <a16:creationId xmlns:a16="http://schemas.microsoft.com/office/drawing/2014/main" id="{8560B95C-2F18-461E-B6FE-088E536845ED}"/>
                  </a:ext>
                </a:extLst>
              </p:cNvPr>
              <p:cNvSpPr/>
              <p:nvPr/>
            </p:nvSpPr>
            <p:spPr>
              <a:xfrm>
                <a:off x="7519342" y="2703147"/>
                <a:ext cx="34030" cy="20513"/>
              </a:xfrm>
              <a:custGeom>
                <a:avLst/>
                <a:gdLst>
                  <a:gd name="connsiteX0" fmla="*/ 0 w 34030"/>
                  <a:gd name="connsiteY0" fmla="*/ 20514 h 20513"/>
                  <a:gd name="connsiteX1" fmla="*/ 34030 w 34030"/>
                  <a:gd name="connsiteY1" fmla="*/ 0 h 20513"/>
                </a:gdLst>
                <a:ahLst/>
                <a:cxnLst>
                  <a:cxn ang="0">
                    <a:pos x="connsiteX0" y="connsiteY0"/>
                  </a:cxn>
                  <a:cxn ang="0">
                    <a:pos x="connsiteX1" y="connsiteY1"/>
                  </a:cxn>
                </a:cxnLst>
                <a:rect l="l" t="t" r="r" b="b"/>
                <a:pathLst>
                  <a:path w="34030" h="20513">
                    <a:moveTo>
                      <a:pt x="0" y="20514"/>
                    </a:moveTo>
                    <a:lnTo>
                      <a:pt x="34030" y="0"/>
                    </a:lnTo>
                  </a:path>
                </a:pathLst>
              </a:custGeom>
              <a:ln w="6350" cap="rnd">
                <a:solidFill>
                  <a:schemeClr val="bg1">
                    <a:alpha val="80000"/>
                  </a:schemeClr>
                </a:solidFill>
                <a:prstDash val="solid"/>
                <a:round/>
              </a:ln>
            </p:spPr>
            <p:txBody>
              <a:bodyPr rtlCol="0" anchor="ctr"/>
              <a:lstStyle/>
              <a:p>
                <a:endParaRPr lang="en-GB"/>
              </a:p>
            </p:txBody>
          </p:sp>
          <p:sp>
            <p:nvSpPr>
              <p:cNvPr id="6276" name="Vrije vorm: vorm 6275">
                <a:extLst>
                  <a:ext uri="{FF2B5EF4-FFF2-40B4-BE49-F238E27FC236}">
                    <a16:creationId xmlns:a16="http://schemas.microsoft.com/office/drawing/2014/main" id="{08DFC214-6DA7-4B0B-BD68-E60C3B73EE92}"/>
                  </a:ext>
                </a:extLst>
              </p:cNvPr>
              <p:cNvSpPr/>
              <p:nvPr/>
            </p:nvSpPr>
            <p:spPr>
              <a:xfrm>
                <a:off x="7745832" y="2749617"/>
                <a:ext cx="239" cy="2511"/>
              </a:xfrm>
              <a:custGeom>
                <a:avLst/>
                <a:gdLst>
                  <a:gd name="connsiteX0" fmla="*/ 0 w 239"/>
                  <a:gd name="connsiteY0" fmla="*/ 2512 h 2511"/>
                  <a:gd name="connsiteX1" fmla="*/ 239 w 239"/>
                  <a:gd name="connsiteY1" fmla="*/ 0 h 2511"/>
                </a:gdLst>
                <a:ahLst/>
                <a:cxnLst>
                  <a:cxn ang="0">
                    <a:pos x="connsiteX0" y="connsiteY0"/>
                  </a:cxn>
                  <a:cxn ang="0">
                    <a:pos x="connsiteX1" y="connsiteY1"/>
                  </a:cxn>
                </a:cxnLst>
                <a:rect l="l" t="t" r="r" b="b"/>
                <a:pathLst>
                  <a:path w="239" h="2511">
                    <a:moveTo>
                      <a:pt x="0" y="2512"/>
                    </a:moveTo>
                    <a:lnTo>
                      <a:pt x="239" y="0"/>
                    </a:lnTo>
                  </a:path>
                </a:pathLst>
              </a:custGeom>
              <a:ln w="6350" cap="rnd">
                <a:solidFill>
                  <a:schemeClr val="bg1">
                    <a:alpha val="80000"/>
                  </a:schemeClr>
                </a:solidFill>
                <a:prstDash val="solid"/>
                <a:round/>
              </a:ln>
            </p:spPr>
            <p:txBody>
              <a:bodyPr rtlCol="0" anchor="ctr"/>
              <a:lstStyle/>
              <a:p>
                <a:endParaRPr lang="en-GB"/>
              </a:p>
            </p:txBody>
          </p:sp>
          <p:sp>
            <p:nvSpPr>
              <p:cNvPr id="6277" name="Vrije vorm: vorm 6276">
                <a:extLst>
                  <a:ext uri="{FF2B5EF4-FFF2-40B4-BE49-F238E27FC236}">
                    <a16:creationId xmlns:a16="http://schemas.microsoft.com/office/drawing/2014/main" id="{EBFEE82C-DB74-4CC2-8B2B-697E0B0B4BBA}"/>
                  </a:ext>
                </a:extLst>
              </p:cNvPr>
              <p:cNvSpPr/>
              <p:nvPr/>
            </p:nvSpPr>
            <p:spPr>
              <a:xfrm>
                <a:off x="7529210" y="2708230"/>
                <a:ext cx="35286" cy="34389"/>
              </a:xfrm>
              <a:custGeom>
                <a:avLst/>
                <a:gdLst>
                  <a:gd name="connsiteX0" fmla="*/ 0 w 35286"/>
                  <a:gd name="connsiteY0" fmla="*/ 34389 h 34389"/>
                  <a:gd name="connsiteX1" fmla="*/ 35286 w 35286"/>
                  <a:gd name="connsiteY1" fmla="*/ 0 h 34389"/>
                </a:gdLst>
                <a:ahLst/>
                <a:cxnLst>
                  <a:cxn ang="0">
                    <a:pos x="connsiteX0" y="connsiteY0"/>
                  </a:cxn>
                  <a:cxn ang="0">
                    <a:pos x="connsiteX1" y="connsiteY1"/>
                  </a:cxn>
                </a:cxnLst>
                <a:rect l="l" t="t" r="r" b="b"/>
                <a:pathLst>
                  <a:path w="35286" h="34389">
                    <a:moveTo>
                      <a:pt x="0" y="34389"/>
                    </a:moveTo>
                    <a:lnTo>
                      <a:pt x="35286" y="0"/>
                    </a:lnTo>
                  </a:path>
                </a:pathLst>
              </a:custGeom>
              <a:ln w="6350" cap="rnd">
                <a:solidFill>
                  <a:schemeClr val="bg1">
                    <a:alpha val="80000"/>
                  </a:schemeClr>
                </a:solidFill>
                <a:prstDash val="solid"/>
                <a:round/>
              </a:ln>
            </p:spPr>
            <p:txBody>
              <a:bodyPr rtlCol="0" anchor="ctr"/>
              <a:lstStyle/>
              <a:p>
                <a:endParaRPr lang="en-GB"/>
              </a:p>
            </p:txBody>
          </p:sp>
          <p:sp>
            <p:nvSpPr>
              <p:cNvPr id="6278" name="Vrije vorm: vorm 6277">
                <a:extLst>
                  <a:ext uri="{FF2B5EF4-FFF2-40B4-BE49-F238E27FC236}">
                    <a16:creationId xmlns:a16="http://schemas.microsoft.com/office/drawing/2014/main" id="{6EF71FBE-DA2C-493D-AC24-36C2254D9C00}"/>
                  </a:ext>
                </a:extLst>
              </p:cNvPr>
              <p:cNvSpPr/>
              <p:nvPr/>
            </p:nvSpPr>
            <p:spPr>
              <a:xfrm>
                <a:off x="7769456" y="2825333"/>
                <a:ext cx="1794" cy="4066"/>
              </a:xfrm>
              <a:custGeom>
                <a:avLst/>
                <a:gdLst>
                  <a:gd name="connsiteX0" fmla="*/ 1795 w 1794"/>
                  <a:gd name="connsiteY0" fmla="*/ 4067 h 4066"/>
                  <a:gd name="connsiteX1" fmla="*/ 0 w 1794"/>
                  <a:gd name="connsiteY1" fmla="*/ 0 h 4066"/>
                </a:gdLst>
                <a:ahLst/>
                <a:cxnLst>
                  <a:cxn ang="0">
                    <a:pos x="connsiteX0" y="connsiteY0"/>
                  </a:cxn>
                  <a:cxn ang="0">
                    <a:pos x="connsiteX1" y="connsiteY1"/>
                  </a:cxn>
                </a:cxnLst>
                <a:rect l="l" t="t" r="r" b="b"/>
                <a:pathLst>
                  <a:path w="1794" h="4066">
                    <a:moveTo>
                      <a:pt x="1795" y="406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79" name="Vrije vorm: vorm 6278">
                <a:extLst>
                  <a:ext uri="{FF2B5EF4-FFF2-40B4-BE49-F238E27FC236}">
                    <a16:creationId xmlns:a16="http://schemas.microsoft.com/office/drawing/2014/main" id="{484F0449-89EA-4918-BA43-410F6DFAE53D}"/>
                  </a:ext>
                </a:extLst>
              </p:cNvPr>
              <p:cNvSpPr/>
              <p:nvPr/>
            </p:nvSpPr>
            <p:spPr>
              <a:xfrm>
                <a:off x="7771250" y="2804819"/>
                <a:ext cx="3588" cy="24580"/>
              </a:xfrm>
              <a:custGeom>
                <a:avLst/>
                <a:gdLst>
                  <a:gd name="connsiteX0" fmla="*/ 0 w 3588"/>
                  <a:gd name="connsiteY0" fmla="*/ 24581 h 24580"/>
                  <a:gd name="connsiteX1" fmla="*/ 3589 w 3588"/>
                  <a:gd name="connsiteY1" fmla="*/ 0 h 24580"/>
                </a:gdLst>
                <a:ahLst/>
                <a:cxnLst>
                  <a:cxn ang="0">
                    <a:pos x="connsiteX0" y="connsiteY0"/>
                  </a:cxn>
                  <a:cxn ang="0">
                    <a:pos x="connsiteX1" y="connsiteY1"/>
                  </a:cxn>
                </a:cxnLst>
                <a:rect l="l" t="t" r="r" b="b"/>
                <a:pathLst>
                  <a:path w="3588" h="24580">
                    <a:moveTo>
                      <a:pt x="0" y="24581"/>
                    </a:moveTo>
                    <a:lnTo>
                      <a:pt x="3589" y="0"/>
                    </a:lnTo>
                  </a:path>
                </a:pathLst>
              </a:custGeom>
              <a:ln w="6350" cap="rnd">
                <a:solidFill>
                  <a:schemeClr val="bg1">
                    <a:alpha val="80000"/>
                  </a:schemeClr>
                </a:solidFill>
                <a:prstDash val="solid"/>
                <a:round/>
              </a:ln>
            </p:spPr>
            <p:txBody>
              <a:bodyPr rtlCol="0" anchor="ctr"/>
              <a:lstStyle/>
              <a:p>
                <a:endParaRPr lang="en-GB"/>
              </a:p>
            </p:txBody>
          </p:sp>
          <p:sp>
            <p:nvSpPr>
              <p:cNvPr id="6280" name="Vrije vorm: vorm 6279">
                <a:extLst>
                  <a:ext uri="{FF2B5EF4-FFF2-40B4-BE49-F238E27FC236}">
                    <a16:creationId xmlns:a16="http://schemas.microsoft.com/office/drawing/2014/main" id="{D3927A78-FA68-40EF-9EF3-1F490D3CA234}"/>
                  </a:ext>
                </a:extLst>
              </p:cNvPr>
              <p:cNvSpPr/>
              <p:nvPr/>
            </p:nvSpPr>
            <p:spPr>
              <a:xfrm>
                <a:off x="7670415" y="2666605"/>
                <a:ext cx="4365" cy="4485"/>
              </a:xfrm>
              <a:custGeom>
                <a:avLst/>
                <a:gdLst>
                  <a:gd name="connsiteX0" fmla="*/ 0 w 4365"/>
                  <a:gd name="connsiteY0" fmla="*/ 0 h 4485"/>
                  <a:gd name="connsiteX1" fmla="*/ 4366 w 4365"/>
                  <a:gd name="connsiteY1" fmla="*/ 4486 h 4485"/>
                </a:gdLst>
                <a:ahLst/>
                <a:cxnLst>
                  <a:cxn ang="0">
                    <a:pos x="connsiteX0" y="connsiteY0"/>
                  </a:cxn>
                  <a:cxn ang="0">
                    <a:pos x="connsiteX1" y="connsiteY1"/>
                  </a:cxn>
                </a:cxnLst>
                <a:rect l="l" t="t" r="r" b="b"/>
                <a:pathLst>
                  <a:path w="4365" h="4485">
                    <a:moveTo>
                      <a:pt x="0" y="0"/>
                    </a:moveTo>
                    <a:lnTo>
                      <a:pt x="4366" y="4486"/>
                    </a:lnTo>
                  </a:path>
                </a:pathLst>
              </a:custGeom>
              <a:ln w="6350" cap="rnd">
                <a:solidFill>
                  <a:schemeClr val="bg1">
                    <a:alpha val="80000"/>
                  </a:schemeClr>
                </a:solidFill>
                <a:prstDash val="solid"/>
                <a:round/>
              </a:ln>
            </p:spPr>
            <p:txBody>
              <a:bodyPr rtlCol="0" anchor="ctr"/>
              <a:lstStyle/>
              <a:p>
                <a:endParaRPr lang="en-GB"/>
              </a:p>
            </p:txBody>
          </p:sp>
          <p:sp>
            <p:nvSpPr>
              <p:cNvPr id="6281" name="Vrije vorm: vorm 6280">
                <a:extLst>
                  <a:ext uri="{FF2B5EF4-FFF2-40B4-BE49-F238E27FC236}">
                    <a16:creationId xmlns:a16="http://schemas.microsoft.com/office/drawing/2014/main" id="{EADB8409-1307-4BA3-BDFB-97604A254B28}"/>
                  </a:ext>
                </a:extLst>
              </p:cNvPr>
              <p:cNvSpPr/>
              <p:nvPr/>
            </p:nvSpPr>
            <p:spPr>
              <a:xfrm>
                <a:off x="7668621" y="2664452"/>
                <a:ext cx="1794" cy="2153"/>
              </a:xfrm>
              <a:custGeom>
                <a:avLst/>
                <a:gdLst>
                  <a:gd name="connsiteX0" fmla="*/ 1794 w 1794"/>
                  <a:gd name="connsiteY0" fmla="*/ 2153 h 2153"/>
                  <a:gd name="connsiteX1" fmla="*/ 0 w 1794"/>
                  <a:gd name="connsiteY1" fmla="*/ 0 h 2153"/>
                </a:gdLst>
                <a:ahLst/>
                <a:cxnLst>
                  <a:cxn ang="0">
                    <a:pos x="connsiteX0" y="connsiteY0"/>
                  </a:cxn>
                  <a:cxn ang="0">
                    <a:pos x="connsiteX1" y="connsiteY1"/>
                  </a:cxn>
                </a:cxnLst>
                <a:rect l="l" t="t" r="r" b="b"/>
                <a:pathLst>
                  <a:path w="1794" h="2153">
                    <a:moveTo>
                      <a:pt x="1794" y="2153"/>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82" name="Vrije vorm: vorm 6281">
                <a:extLst>
                  <a:ext uri="{FF2B5EF4-FFF2-40B4-BE49-F238E27FC236}">
                    <a16:creationId xmlns:a16="http://schemas.microsoft.com/office/drawing/2014/main" id="{D98FB2B5-2A9E-4F9D-9511-3EB04376B1A4}"/>
                  </a:ext>
                </a:extLst>
              </p:cNvPr>
              <p:cNvSpPr/>
              <p:nvPr/>
            </p:nvSpPr>
            <p:spPr>
              <a:xfrm>
                <a:off x="7665272" y="2665588"/>
                <a:ext cx="5143" cy="1016"/>
              </a:xfrm>
              <a:custGeom>
                <a:avLst/>
                <a:gdLst>
                  <a:gd name="connsiteX0" fmla="*/ 5143 w 5143"/>
                  <a:gd name="connsiteY0" fmla="*/ 1017 h 1016"/>
                  <a:gd name="connsiteX1" fmla="*/ 0 w 5143"/>
                  <a:gd name="connsiteY1" fmla="*/ 0 h 1016"/>
                </a:gdLst>
                <a:ahLst/>
                <a:cxnLst>
                  <a:cxn ang="0">
                    <a:pos x="connsiteX0" y="connsiteY0"/>
                  </a:cxn>
                  <a:cxn ang="0">
                    <a:pos x="connsiteX1" y="connsiteY1"/>
                  </a:cxn>
                </a:cxnLst>
                <a:rect l="l" t="t" r="r" b="b"/>
                <a:pathLst>
                  <a:path w="5143" h="1016">
                    <a:moveTo>
                      <a:pt x="5143" y="101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83" name="Vrije vorm: vorm 6282">
                <a:extLst>
                  <a:ext uri="{FF2B5EF4-FFF2-40B4-BE49-F238E27FC236}">
                    <a16:creationId xmlns:a16="http://schemas.microsoft.com/office/drawing/2014/main" id="{DC5A8917-1F2B-47F7-BFE9-162CF3D9A741}"/>
                  </a:ext>
                </a:extLst>
              </p:cNvPr>
              <p:cNvSpPr/>
              <p:nvPr/>
            </p:nvSpPr>
            <p:spPr>
              <a:xfrm>
                <a:off x="7504031" y="2719534"/>
                <a:ext cx="12679" cy="6040"/>
              </a:xfrm>
              <a:custGeom>
                <a:avLst/>
                <a:gdLst>
                  <a:gd name="connsiteX0" fmla="*/ 0 w 12679"/>
                  <a:gd name="connsiteY0" fmla="*/ 6040 h 6040"/>
                  <a:gd name="connsiteX1" fmla="*/ 12679 w 12679"/>
                  <a:gd name="connsiteY1" fmla="*/ 0 h 6040"/>
                </a:gdLst>
                <a:ahLst/>
                <a:cxnLst>
                  <a:cxn ang="0">
                    <a:pos x="connsiteX0" y="connsiteY0"/>
                  </a:cxn>
                  <a:cxn ang="0">
                    <a:pos x="connsiteX1" y="connsiteY1"/>
                  </a:cxn>
                </a:cxnLst>
                <a:rect l="l" t="t" r="r" b="b"/>
                <a:pathLst>
                  <a:path w="12679" h="6040">
                    <a:moveTo>
                      <a:pt x="0" y="6040"/>
                    </a:moveTo>
                    <a:lnTo>
                      <a:pt x="12679" y="0"/>
                    </a:lnTo>
                  </a:path>
                </a:pathLst>
              </a:custGeom>
              <a:ln w="6350" cap="rnd">
                <a:solidFill>
                  <a:schemeClr val="bg1">
                    <a:alpha val="80000"/>
                  </a:schemeClr>
                </a:solidFill>
                <a:prstDash val="solid"/>
                <a:round/>
              </a:ln>
            </p:spPr>
            <p:txBody>
              <a:bodyPr rtlCol="0" anchor="ctr"/>
              <a:lstStyle/>
              <a:p>
                <a:endParaRPr lang="en-GB"/>
              </a:p>
            </p:txBody>
          </p:sp>
          <p:sp>
            <p:nvSpPr>
              <p:cNvPr id="6284" name="Vrije vorm: vorm 6283">
                <a:extLst>
                  <a:ext uri="{FF2B5EF4-FFF2-40B4-BE49-F238E27FC236}">
                    <a16:creationId xmlns:a16="http://schemas.microsoft.com/office/drawing/2014/main" id="{88B60F6F-D7F3-4C73-9660-52D845DE920C}"/>
                  </a:ext>
                </a:extLst>
              </p:cNvPr>
              <p:cNvSpPr/>
              <p:nvPr/>
            </p:nvSpPr>
            <p:spPr>
              <a:xfrm>
                <a:off x="7504031" y="2725574"/>
                <a:ext cx="9270" cy="10526"/>
              </a:xfrm>
              <a:custGeom>
                <a:avLst/>
                <a:gdLst>
                  <a:gd name="connsiteX0" fmla="*/ 0 w 9270"/>
                  <a:gd name="connsiteY0" fmla="*/ 0 h 10526"/>
                  <a:gd name="connsiteX1" fmla="*/ 9270 w 9270"/>
                  <a:gd name="connsiteY1" fmla="*/ 10526 h 10526"/>
                </a:gdLst>
                <a:ahLst/>
                <a:cxnLst>
                  <a:cxn ang="0">
                    <a:pos x="connsiteX0" y="connsiteY0"/>
                  </a:cxn>
                  <a:cxn ang="0">
                    <a:pos x="connsiteX1" y="connsiteY1"/>
                  </a:cxn>
                </a:cxnLst>
                <a:rect l="l" t="t" r="r" b="b"/>
                <a:pathLst>
                  <a:path w="9270" h="10526">
                    <a:moveTo>
                      <a:pt x="0" y="0"/>
                    </a:moveTo>
                    <a:lnTo>
                      <a:pt x="9270" y="10526"/>
                    </a:lnTo>
                  </a:path>
                </a:pathLst>
              </a:custGeom>
              <a:ln w="6350" cap="rnd">
                <a:solidFill>
                  <a:schemeClr val="bg1">
                    <a:alpha val="80000"/>
                  </a:schemeClr>
                </a:solidFill>
                <a:prstDash val="solid"/>
                <a:round/>
              </a:ln>
            </p:spPr>
            <p:txBody>
              <a:bodyPr rtlCol="0" anchor="ctr"/>
              <a:lstStyle/>
              <a:p>
                <a:endParaRPr lang="en-GB"/>
              </a:p>
            </p:txBody>
          </p:sp>
          <p:sp>
            <p:nvSpPr>
              <p:cNvPr id="6285" name="Vrije vorm: vorm 6284">
                <a:extLst>
                  <a:ext uri="{FF2B5EF4-FFF2-40B4-BE49-F238E27FC236}">
                    <a16:creationId xmlns:a16="http://schemas.microsoft.com/office/drawing/2014/main" id="{39E2E7AA-2D15-47A5-B867-D619B2FE0BD8}"/>
                  </a:ext>
                </a:extLst>
              </p:cNvPr>
              <p:cNvSpPr/>
              <p:nvPr/>
            </p:nvSpPr>
            <p:spPr>
              <a:xfrm>
                <a:off x="7504031" y="2725574"/>
                <a:ext cx="6758" cy="7834"/>
              </a:xfrm>
              <a:custGeom>
                <a:avLst/>
                <a:gdLst>
                  <a:gd name="connsiteX0" fmla="*/ 0 w 6758"/>
                  <a:gd name="connsiteY0" fmla="*/ 0 h 7834"/>
                  <a:gd name="connsiteX1" fmla="*/ 6758 w 6758"/>
                  <a:gd name="connsiteY1" fmla="*/ 7835 h 7834"/>
                </a:gdLst>
                <a:ahLst/>
                <a:cxnLst>
                  <a:cxn ang="0">
                    <a:pos x="connsiteX0" y="connsiteY0"/>
                  </a:cxn>
                  <a:cxn ang="0">
                    <a:pos x="connsiteX1" y="connsiteY1"/>
                  </a:cxn>
                </a:cxnLst>
                <a:rect l="l" t="t" r="r" b="b"/>
                <a:pathLst>
                  <a:path w="6758" h="7834">
                    <a:moveTo>
                      <a:pt x="0" y="0"/>
                    </a:moveTo>
                    <a:lnTo>
                      <a:pt x="6758" y="7835"/>
                    </a:lnTo>
                  </a:path>
                </a:pathLst>
              </a:custGeom>
              <a:ln w="6350" cap="rnd">
                <a:solidFill>
                  <a:schemeClr val="bg1">
                    <a:alpha val="80000"/>
                  </a:schemeClr>
                </a:solidFill>
                <a:prstDash val="solid"/>
                <a:round/>
              </a:ln>
            </p:spPr>
            <p:txBody>
              <a:bodyPr rtlCol="0" anchor="ctr"/>
              <a:lstStyle/>
              <a:p>
                <a:endParaRPr lang="en-GB"/>
              </a:p>
            </p:txBody>
          </p:sp>
          <p:sp>
            <p:nvSpPr>
              <p:cNvPr id="6286" name="Vrije vorm: vorm 6285">
                <a:extLst>
                  <a:ext uri="{FF2B5EF4-FFF2-40B4-BE49-F238E27FC236}">
                    <a16:creationId xmlns:a16="http://schemas.microsoft.com/office/drawing/2014/main" id="{22ED2BC9-9A98-492D-8AEF-31B922F377A7}"/>
                  </a:ext>
                </a:extLst>
              </p:cNvPr>
              <p:cNvSpPr/>
              <p:nvPr/>
            </p:nvSpPr>
            <p:spPr>
              <a:xfrm>
                <a:off x="7504031" y="2720910"/>
                <a:ext cx="4724" cy="4664"/>
              </a:xfrm>
              <a:custGeom>
                <a:avLst/>
                <a:gdLst>
                  <a:gd name="connsiteX0" fmla="*/ 0 w 4724"/>
                  <a:gd name="connsiteY0" fmla="*/ 4665 h 4664"/>
                  <a:gd name="connsiteX1" fmla="*/ 4725 w 4724"/>
                  <a:gd name="connsiteY1" fmla="*/ 0 h 4664"/>
                </a:gdLst>
                <a:ahLst/>
                <a:cxnLst>
                  <a:cxn ang="0">
                    <a:pos x="connsiteX0" y="connsiteY0"/>
                  </a:cxn>
                  <a:cxn ang="0">
                    <a:pos x="connsiteX1" y="connsiteY1"/>
                  </a:cxn>
                </a:cxnLst>
                <a:rect l="l" t="t" r="r" b="b"/>
                <a:pathLst>
                  <a:path w="4724" h="4664">
                    <a:moveTo>
                      <a:pt x="0" y="4665"/>
                    </a:moveTo>
                    <a:lnTo>
                      <a:pt x="4725" y="0"/>
                    </a:lnTo>
                  </a:path>
                </a:pathLst>
              </a:custGeom>
              <a:ln w="6350" cap="rnd">
                <a:solidFill>
                  <a:schemeClr val="bg1">
                    <a:alpha val="80000"/>
                  </a:schemeClr>
                </a:solidFill>
                <a:prstDash val="solid"/>
                <a:round/>
              </a:ln>
            </p:spPr>
            <p:txBody>
              <a:bodyPr rtlCol="0" anchor="ctr"/>
              <a:lstStyle/>
              <a:p>
                <a:endParaRPr lang="en-GB"/>
              </a:p>
            </p:txBody>
          </p:sp>
          <p:sp>
            <p:nvSpPr>
              <p:cNvPr id="6287" name="Vrije vorm: vorm 6286">
                <a:extLst>
                  <a:ext uri="{FF2B5EF4-FFF2-40B4-BE49-F238E27FC236}">
                    <a16:creationId xmlns:a16="http://schemas.microsoft.com/office/drawing/2014/main" id="{17DEB2F6-7755-4CD7-8389-B2162B6BFA28}"/>
                  </a:ext>
                </a:extLst>
              </p:cNvPr>
              <p:cNvSpPr/>
              <p:nvPr/>
            </p:nvSpPr>
            <p:spPr>
              <a:xfrm>
                <a:off x="7595477" y="2839148"/>
                <a:ext cx="5083" cy="18121"/>
              </a:xfrm>
              <a:custGeom>
                <a:avLst/>
                <a:gdLst>
                  <a:gd name="connsiteX0" fmla="*/ 0 w 5083"/>
                  <a:gd name="connsiteY0" fmla="*/ 18122 h 18121"/>
                  <a:gd name="connsiteX1" fmla="*/ 5084 w 5083"/>
                  <a:gd name="connsiteY1" fmla="*/ 0 h 18121"/>
                </a:gdLst>
                <a:ahLst/>
                <a:cxnLst>
                  <a:cxn ang="0">
                    <a:pos x="connsiteX0" y="connsiteY0"/>
                  </a:cxn>
                  <a:cxn ang="0">
                    <a:pos x="connsiteX1" y="connsiteY1"/>
                  </a:cxn>
                </a:cxnLst>
                <a:rect l="l" t="t" r="r" b="b"/>
                <a:pathLst>
                  <a:path w="5083" h="18121">
                    <a:moveTo>
                      <a:pt x="0" y="18122"/>
                    </a:moveTo>
                    <a:lnTo>
                      <a:pt x="5084" y="0"/>
                    </a:lnTo>
                  </a:path>
                </a:pathLst>
              </a:custGeom>
              <a:ln w="6350" cap="rnd">
                <a:solidFill>
                  <a:schemeClr val="bg1">
                    <a:alpha val="80000"/>
                  </a:schemeClr>
                </a:solidFill>
                <a:prstDash val="solid"/>
                <a:round/>
              </a:ln>
            </p:spPr>
            <p:txBody>
              <a:bodyPr rtlCol="0" anchor="ctr"/>
              <a:lstStyle/>
              <a:p>
                <a:endParaRPr lang="en-GB"/>
              </a:p>
            </p:txBody>
          </p:sp>
          <p:sp>
            <p:nvSpPr>
              <p:cNvPr id="6288" name="Vrije vorm: vorm 6287">
                <a:extLst>
                  <a:ext uri="{FF2B5EF4-FFF2-40B4-BE49-F238E27FC236}">
                    <a16:creationId xmlns:a16="http://schemas.microsoft.com/office/drawing/2014/main" id="{83999E26-A332-4710-8335-5406C8B5ACF8}"/>
                  </a:ext>
                </a:extLst>
              </p:cNvPr>
              <p:cNvSpPr/>
              <p:nvPr/>
            </p:nvSpPr>
            <p:spPr>
              <a:xfrm>
                <a:off x="7583994" y="2842318"/>
                <a:ext cx="11482" cy="14951"/>
              </a:xfrm>
              <a:custGeom>
                <a:avLst/>
                <a:gdLst>
                  <a:gd name="connsiteX0" fmla="*/ 11483 w 11482"/>
                  <a:gd name="connsiteY0" fmla="*/ 14952 h 14951"/>
                  <a:gd name="connsiteX1" fmla="*/ 0 w 11482"/>
                  <a:gd name="connsiteY1" fmla="*/ 0 h 14951"/>
                </a:gdLst>
                <a:ahLst/>
                <a:cxnLst>
                  <a:cxn ang="0">
                    <a:pos x="connsiteX0" y="connsiteY0"/>
                  </a:cxn>
                  <a:cxn ang="0">
                    <a:pos x="connsiteX1" y="connsiteY1"/>
                  </a:cxn>
                </a:cxnLst>
                <a:rect l="l" t="t" r="r" b="b"/>
                <a:pathLst>
                  <a:path w="11482" h="14951">
                    <a:moveTo>
                      <a:pt x="11483" y="1495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89" name="Vrije vorm: vorm 6288">
                <a:extLst>
                  <a:ext uri="{FF2B5EF4-FFF2-40B4-BE49-F238E27FC236}">
                    <a16:creationId xmlns:a16="http://schemas.microsoft.com/office/drawing/2014/main" id="{B4EA30CA-7863-45C4-88DB-C68AEDE54D42}"/>
                  </a:ext>
                </a:extLst>
              </p:cNvPr>
              <p:cNvSpPr/>
              <p:nvPr/>
            </p:nvSpPr>
            <p:spPr>
              <a:xfrm>
                <a:off x="7748882" y="2747284"/>
                <a:ext cx="418" cy="2990"/>
              </a:xfrm>
              <a:custGeom>
                <a:avLst/>
                <a:gdLst>
                  <a:gd name="connsiteX0" fmla="*/ 419 w 418"/>
                  <a:gd name="connsiteY0" fmla="*/ 0 h 2990"/>
                  <a:gd name="connsiteX1" fmla="*/ 0 w 418"/>
                  <a:gd name="connsiteY1" fmla="*/ 2990 h 2990"/>
                </a:gdLst>
                <a:ahLst/>
                <a:cxnLst>
                  <a:cxn ang="0">
                    <a:pos x="connsiteX0" y="connsiteY0"/>
                  </a:cxn>
                  <a:cxn ang="0">
                    <a:pos x="connsiteX1" y="connsiteY1"/>
                  </a:cxn>
                </a:cxnLst>
                <a:rect l="l" t="t" r="r" b="b"/>
                <a:pathLst>
                  <a:path w="418" h="2990">
                    <a:moveTo>
                      <a:pt x="419" y="0"/>
                    </a:moveTo>
                    <a:lnTo>
                      <a:pt x="0" y="2990"/>
                    </a:lnTo>
                  </a:path>
                </a:pathLst>
              </a:custGeom>
              <a:ln w="6350" cap="rnd">
                <a:solidFill>
                  <a:schemeClr val="bg1">
                    <a:alpha val="80000"/>
                  </a:schemeClr>
                </a:solidFill>
                <a:prstDash val="solid"/>
                <a:round/>
              </a:ln>
            </p:spPr>
            <p:txBody>
              <a:bodyPr rtlCol="0" anchor="ctr"/>
              <a:lstStyle/>
              <a:p>
                <a:endParaRPr lang="en-GB"/>
              </a:p>
            </p:txBody>
          </p:sp>
          <p:sp>
            <p:nvSpPr>
              <p:cNvPr id="6290" name="Vrije vorm: vorm 6289">
                <a:extLst>
                  <a:ext uri="{FF2B5EF4-FFF2-40B4-BE49-F238E27FC236}">
                    <a16:creationId xmlns:a16="http://schemas.microsoft.com/office/drawing/2014/main" id="{FC7B5D6E-0DEB-47A9-AC9F-DE3B403C5951}"/>
                  </a:ext>
                </a:extLst>
              </p:cNvPr>
              <p:cNvSpPr/>
              <p:nvPr/>
            </p:nvSpPr>
            <p:spPr>
              <a:xfrm>
                <a:off x="7749301" y="2745909"/>
                <a:ext cx="11602" cy="1375"/>
              </a:xfrm>
              <a:custGeom>
                <a:avLst/>
                <a:gdLst>
                  <a:gd name="connsiteX0" fmla="*/ 0 w 11602"/>
                  <a:gd name="connsiteY0" fmla="*/ 1376 h 1375"/>
                  <a:gd name="connsiteX1" fmla="*/ 11602 w 11602"/>
                  <a:gd name="connsiteY1" fmla="*/ 0 h 1375"/>
                </a:gdLst>
                <a:ahLst/>
                <a:cxnLst>
                  <a:cxn ang="0">
                    <a:pos x="connsiteX0" y="connsiteY0"/>
                  </a:cxn>
                  <a:cxn ang="0">
                    <a:pos x="connsiteX1" y="connsiteY1"/>
                  </a:cxn>
                </a:cxnLst>
                <a:rect l="l" t="t" r="r" b="b"/>
                <a:pathLst>
                  <a:path w="11602" h="1375">
                    <a:moveTo>
                      <a:pt x="0" y="1376"/>
                    </a:moveTo>
                    <a:lnTo>
                      <a:pt x="11602" y="0"/>
                    </a:lnTo>
                  </a:path>
                </a:pathLst>
              </a:custGeom>
              <a:ln w="6350" cap="rnd">
                <a:solidFill>
                  <a:schemeClr val="bg1">
                    <a:alpha val="80000"/>
                  </a:schemeClr>
                </a:solidFill>
                <a:prstDash val="solid"/>
                <a:round/>
              </a:ln>
            </p:spPr>
            <p:txBody>
              <a:bodyPr rtlCol="0" anchor="ctr"/>
              <a:lstStyle/>
              <a:p>
                <a:endParaRPr lang="en-GB"/>
              </a:p>
            </p:txBody>
          </p:sp>
          <p:sp>
            <p:nvSpPr>
              <p:cNvPr id="6291" name="Vrije vorm: vorm 6290">
                <a:extLst>
                  <a:ext uri="{FF2B5EF4-FFF2-40B4-BE49-F238E27FC236}">
                    <a16:creationId xmlns:a16="http://schemas.microsoft.com/office/drawing/2014/main" id="{B7AD9656-CCE3-4B60-9B18-863BD6B278E9}"/>
                  </a:ext>
                </a:extLst>
              </p:cNvPr>
              <p:cNvSpPr/>
              <p:nvPr/>
            </p:nvSpPr>
            <p:spPr>
              <a:xfrm>
                <a:off x="7608275" y="2749079"/>
                <a:ext cx="5083" cy="11841"/>
              </a:xfrm>
              <a:custGeom>
                <a:avLst/>
                <a:gdLst>
                  <a:gd name="connsiteX0" fmla="*/ 0 w 5083"/>
                  <a:gd name="connsiteY0" fmla="*/ 0 h 11841"/>
                  <a:gd name="connsiteX1" fmla="*/ 5084 w 5083"/>
                  <a:gd name="connsiteY1" fmla="*/ 11842 h 11841"/>
                </a:gdLst>
                <a:ahLst/>
                <a:cxnLst>
                  <a:cxn ang="0">
                    <a:pos x="connsiteX0" y="connsiteY0"/>
                  </a:cxn>
                  <a:cxn ang="0">
                    <a:pos x="connsiteX1" y="connsiteY1"/>
                  </a:cxn>
                </a:cxnLst>
                <a:rect l="l" t="t" r="r" b="b"/>
                <a:pathLst>
                  <a:path w="5083" h="11841">
                    <a:moveTo>
                      <a:pt x="0" y="0"/>
                    </a:moveTo>
                    <a:lnTo>
                      <a:pt x="5084" y="11842"/>
                    </a:lnTo>
                  </a:path>
                </a:pathLst>
              </a:custGeom>
              <a:ln w="6350" cap="rnd">
                <a:solidFill>
                  <a:schemeClr val="bg1">
                    <a:alpha val="80000"/>
                  </a:schemeClr>
                </a:solidFill>
                <a:prstDash val="solid"/>
                <a:round/>
              </a:ln>
            </p:spPr>
            <p:txBody>
              <a:bodyPr rtlCol="0" anchor="ctr"/>
              <a:lstStyle/>
              <a:p>
                <a:endParaRPr lang="en-GB"/>
              </a:p>
            </p:txBody>
          </p:sp>
          <p:sp>
            <p:nvSpPr>
              <p:cNvPr id="6292" name="Vrije vorm: vorm 6291">
                <a:extLst>
                  <a:ext uri="{FF2B5EF4-FFF2-40B4-BE49-F238E27FC236}">
                    <a16:creationId xmlns:a16="http://schemas.microsoft.com/office/drawing/2014/main" id="{A27B8A3B-34C9-4724-B843-93E7528F9B4E}"/>
                  </a:ext>
                </a:extLst>
              </p:cNvPr>
              <p:cNvSpPr/>
              <p:nvPr/>
            </p:nvSpPr>
            <p:spPr>
              <a:xfrm>
                <a:off x="7608275" y="2733648"/>
                <a:ext cx="16686" cy="15430"/>
              </a:xfrm>
              <a:custGeom>
                <a:avLst/>
                <a:gdLst>
                  <a:gd name="connsiteX0" fmla="*/ 0 w 16686"/>
                  <a:gd name="connsiteY0" fmla="*/ 15430 h 15430"/>
                  <a:gd name="connsiteX1" fmla="*/ 16686 w 16686"/>
                  <a:gd name="connsiteY1" fmla="*/ 0 h 15430"/>
                </a:gdLst>
                <a:ahLst/>
                <a:cxnLst>
                  <a:cxn ang="0">
                    <a:pos x="connsiteX0" y="connsiteY0"/>
                  </a:cxn>
                  <a:cxn ang="0">
                    <a:pos x="connsiteX1" y="connsiteY1"/>
                  </a:cxn>
                </a:cxnLst>
                <a:rect l="l" t="t" r="r" b="b"/>
                <a:pathLst>
                  <a:path w="16686" h="15430">
                    <a:moveTo>
                      <a:pt x="0" y="15430"/>
                    </a:moveTo>
                    <a:lnTo>
                      <a:pt x="16686" y="0"/>
                    </a:lnTo>
                  </a:path>
                </a:pathLst>
              </a:custGeom>
              <a:ln w="6350" cap="rnd">
                <a:solidFill>
                  <a:schemeClr val="bg1">
                    <a:alpha val="80000"/>
                  </a:schemeClr>
                </a:solidFill>
                <a:prstDash val="solid"/>
                <a:round/>
              </a:ln>
            </p:spPr>
            <p:txBody>
              <a:bodyPr rtlCol="0" anchor="ctr"/>
              <a:lstStyle/>
              <a:p>
                <a:endParaRPr lang="en-GB"/>
              </a:p>
            </p:txBody>
          </p:sp>
          <p:sp>
            <p:nvSpPr>
              <p:cNvPr id="6293" name="Vrije vorm: vorm 6292">
                <a:extLst>
                  <a:ext uri="{FF2B5EF4-FFF2-40B4-BE49-F238E27FC236}">
                    <a16:creationId xmlns:a16="http://schemas.microsoft.com/office/drawing/2014/main" id="{7376FEFE-1C1D-4CA9-A645-D1989BAB9C23}"/>
                  </a:ext>
                </a:extLst>
              </p:cNvPr>
              <p:cNvSpPr/>
              <p:nvPr/>
            </p:nvSpPr>
            <p:spPr>
              <a:xfrm>
                <a:off x="7608275" y="2749079"/>
                <a:ext cx="14891" cy="10645"/>
              </a:xfrm>
              <a:custGeom>
                <a:avLst/>
                <a:gdLst>
                  <a:gd name="connsiteX0" fmla="*/ 0 w 14891"/>
                  <a:gd name="connsiteY0" fmla="*/ 0 h 10645"/>
                  <a:gd name="connsiteX1" fmla="*/ 14892 w 14891"/>
                  <a:gd name="connsiteY1" fmla="*/ 10646 h 10645"/>
                </a:gdLst>
                <a:ahLst/>
                <a:cxnLst>
                  <a:cxn ang="0">
                    <a:pos x="connsiteX0" y="connsiteY0"/>
                  </a:cxn>
                  <a:cxn ang="0">
                    <a:pos x="connsiteX1" y="connsiteY1"/>
                  </a:cxn>
                </a:cxnLst>
                <a:rect l="l" t="t" r="r" b="b"/>
                <a:pathLst>
                  <a:path w="14891" h="10645">
                    <a:moveTo>
                      <a:pt x="0" y="0"/>
                    </a:moveTo>
                    <a:lnTo>
                      <a:pt x="14892" y="10646"/>
                    </a:lnTo>
                  </a:path>
                </a:pathLst>
              </a:custGeom>
              <a:ln w="6350" cap="rnd">
                <a:solidFill>
                  <a:schemeClr val="bg1">
                    <a:alpha val="80000"/>
                  </a:schemeClr>
                </a:solidFill>
                <a:prstDash val="solid"/>
                <a:round/>
              </a:ln>
            </p:spPr>
            <p:txBody>
              <a:bodyPr rtlCol="0" anchor="ctr"/>
              <a:lstStyle/>
              <a:p>
                <a:endParaRPr lang="en-GB"/>
              </a:p>
            </p:txBody>
          </p:sp>
          <p:sp>
            <p:nvSpPr>
              <p:cNvPr id="6294" name="Vrije vorm: vorm 6293">
                <a:extLst>
                  <a:ext uri="{FF2B5EF4-FFF2-40B4-BE49-F238E27FC236}">
                    <a16:creationId xmlns:a16="http://schemas.microsoft.com/office/drawing/2014/main" id="{FB39356D-8DE4-453C-9DC0-6A88C4D3D6A3}"/>
                  </a:ext>
                </a:extLst>
              </p:cNvPr>
              <p:cNvSpPr/>
              <p:nvPr/>
            </p:nvSpPr>
            <p:spPr>
              <a:xfrm>
                <a:off x="7608275" y="2749079"/>
                <a:ext cx="12798" cy="13277"/>
              </a:xfrm>
              <a:custGeom>
                <a:avLst/>
                <a:gdLst>
                  <a:gd name="connsiteX0" fmla="*/ 0 w 12798"/>
                  <a:gd name="connsiteY0" fmla="*/ 0 h 13277"/>
                  <a:gd name="connsiteX1" fmla="*/ 12798 w 12798"/>
                  <a:gd name="connsiteY1" fmla="*/ 13277 h 13277"/>
                </a:gdLst>
                <a:ahLst/>
                <a:cxnLst>
                  <a:cxn ang="0">
                    <a:pos x="connsiteX0" y="connsiteY0"/>
                  </a:cxn>
                  <a:cxn ang="0">
                    <a:pos x="connsiteX1" y="connsiteY1"/>
                  </a:cxn>
                </a:cxnLst>
                <a:rect l="l" t="t" r="r" b="b"/>
                <a:pathLst>
                  <a:path w="12798" h="13277">
                    <a:moveTo>
                      <a:pt x="0" y="0"/>
                    </a:moveTo>
                    <a:lnTo>
                      <a:pt x="12798" y="13277"/>
                    </a:lnTo>
                  </a:path>
                </a:pathLst>
              </a:custGeom>
              <a:ln w="6350" cap="rnd">
                <a:solidFill>
                  <a:schemeClr val="bg1">
                    <a:alpha val="80000"/>
                  </a:schemeClr>
                </a:solidFill>
                <a:prstDash val="solid"/>
                <a:round/>
              </a:ln>
            </p:spPr>
            <p:txBody>
              <a:bodyPr rtlCol="0" anchor="ctr"/>
              <a:lstStyle/>
              <a:p>
                <a:endParaRPr lang="en-GB"/>
              </a:p>
            </p:txBody>
          </p:sp>
          <p:sp>
            <p:nvSpPr>
              <p:cNvPr id="6295" name="Vrije vorm: vorm 6294">
                <a:extLst>
                  <a:ext uri="{FF2B5EF4-FFF2-40B4-BE49-F238E27FC236}">
                    <a16:creationId xmlns:a16="http://schemas.microsoft.com/office/drawing/2014/main" id="{ACABFE30-3AD7-439B-94D9-2A24BEBCAB81}"/>
                  </a:ext>
                </a:extLst>
              </p:cNvPr>
              <p:cNvSpPr/>
              <p:nvPr/>
            </p:nvSpPr>
            <p:spPr>
              <a:xfrm>
                <a:off x="7608275" y="2722764"/>
                <a:ext cx="9329" cy="26315"/>
              </a:xfrm>
              <a:custGeom>
                <a:avLst/>
                <a:gdLst>
                  <a:gd name="connsiteX0" fmla="*/ 0 w 9329"/>
                  <a:gd name="connsiteY0" fmla="*/ 26315 h 26315"/>
                  <a:gd name="connsiteX1" fmla="*/ 9330 w 9329"/>
                  <a:gd name="connsiteY1" fmla="*/ 0 h 26315"/>
                </a:gdLst>
                <a:ahLst/>
                <a:cxnLst>
                  <a:cxn ang="0">
                    <a:pos x="connsiteX0" y="connsiteY0"/>
                  </a:cxn>
                  <a:cxn ang="0">
                    <a:pos x="connsiteX1" y="connsiteY1"/>
                  </a:cxn>
                </a:cxnLst>
                <a:rect l="l" t="t" r="r" b="b"/>
                <a:pathLst>
                  <a:path w="9329" h="26315">
                    <a:moveTo>
                      <a:pt x="0" y="26315"/>
                    </a:moveTo>
                    <a:lnTo>
                      <a:pt x="9330" y="0"/>
                    </a:lnTo>
                  </a:path>
                </a:pathLst>
              </a:custGeom>
              <a:ln w="6350" cap="rnd">
                <a:solidFill>
                  <a:schemeClr val="bg1">
                    <a:alpha val="80000"/>
                  </a:schemeClr>
                </a:solidFill>
                <a:prstDash val="solid"/>
                <a:round/>
              </a:ln>
            </p:spPr>
            <p:txBody>
              <a:bodyPr rtlCol="0" anchor="ctr"/>
              <a:lstStyle/>
              <a:p>
                <a:endParaRPr lang="en-GB"/>
              </a:p>
            </p:txBody>
          </p:sp>
          <p:sp>
            <p:nvSpPr>
              <p:cNvPr id="6296" name="Vrije vorm: vorm 6295">
                <a:extLst>
                  <a:ext uri="{FF2B5EF4-FFF2-40B4-BE49-F238E27FC236}">
                    <a16:creationId xmlns:a16="http://schemas.microsoft.com/office/drawing/2014/main" id="{DA88CDD8-5EE5-4376-A6ED-7CB2F60AD729}"/>
                  </a:ext>
                </a:extLst>
              </p:cNvPr>
              <p:cNvSpPr/>
              <p:nvPr/>
            </p:nvSpPr>
            <p:spPr>
              <a:xfrm>
                <a:off x="7604687" y="2731436"/>
                <a:ext cx="3588" cy="17643"/>
              </a:xfrm>
              <a:custGeom>
                <a:avLst/>
                <a:gdLst>
                  <a:gd name="connsiteX0" fmla="*/ 3589 w 3588"/>
                  <a:gd name="connsiteY0" fmla="*/ 17643 h 17643"/>
                  <a:gd name="connsiteX1" fmla="*/ 0 w 3588"/>
                  <a:gd name="connsiteY1" fmla="*/ 0 h 17643"/>
                </a:gdLst>
                <a:ahLst/>
                <a:cxnLst>
                  <a:cxn ang="0">
                    <a:pos x="connsiteX0" y="connsiteY0"/>
                  </a:cxn>
                  <a:cxn ang="0">
                    <a:pos x="connsiteX1" y="connsiteY1"/>
                  </a:cxn>
                </a:cxnLst>
                <a:rect l="l" t="t" r="r" b="b"/>
                <a:pathLst>
                  <a:path w="3588" h="17643">
                    <a:moveTo>
                      <a:pt x="3589" y="17643"/>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97" name="Vrije vorm: vorm 6296">
                <a:extLst>
                  <a:ext uri="{FF2B5EF4-FFF2-40B4-BE49-F238E27FC236}">
                    <a16:creationId xmlns:a16="http://schemas.microsoft.com/office/drawing/2014/main" id="{9191773A-3D92-468A-9EB3-3DBA0DC673AC}"/>
                  </a:ext>
                </a:extLst>
              </p:cNvPr>
              <p:cNvSpPr/>
              <p:nvPr/>
            </p:nvSpPr>
            <p:spPr>
              <a:xfrm>
                <a:off x="7720952" y="2745251"/>
                <a:ext cx="15848" cy="20812"/>
              </a:xfrm>
              <a:custGeom>
                <a:avLst/>
                <a:gdLst>
                  <a:gd name="connsiteX0" fmla="*/ 15849 w 15848"/>
                  <a:gd name="connsiteY0" fmla="*/ 20813 h 20812"/>
                  <a:gd name="connsiteX1" fmla="*/ 0 w 15848"/>
                  <a:gd name="connsiteY1" fmla="*/ 0 h 20812"/>
                </a:gdLst>
                <a:ahLst/>
                <a:cxnLst>
                  <a:cxn ang="0">
                    <a:pos x="connsiteX0" y="connsiteY0"/>
                  </a:cxn>
                  <a:cxn ang="0">
                    <a:pos x="connsiteX1" y="connsiteY1"/>
                  </a:cxn>
                </a:cxnLst>
                <a:rect l="l" t="t" r="r" b="b"/>
                <a:pathLst>
                  <a:path w="15848" h="20812">
                    <a:moveTo>
                      <a:pt x="15849" y="20813"/>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298" name="Vrije vorm: vorm 6297">
                <a:extLst>
                  <a:ext uri="{FF2B5EF4-FFF2-40B4-BE49-F238E27FC236}">
                    <a16:creationId xmlns:a16="http://schemas.microsoft.com/office/drawing/2014/main" id="{72361DEC-DF0B-4FF1-94C0-F9DF8770BF13}"/>
                  </a:ext>
                </a:extLst>
              </p:cNvPr>
              <p:cNvSpPr/>
              <p:nvPr/>
            </p:nvSpPr>
            <p:spPr>
              <a:xfrm>
                <a:off x="7728129" y="2766064"/>
                <a:ext cx="8672" cy="11004"/>
              </a:xfrm>
              <a:custGeom>
                <a:avLst/>
                <a:gdLst>
                  <a:gd name="connsiteX0" fmla="*/ 8672 w 8672"/>
                  <a:gd name="connsiteY0" fmla="*/ 0 h 11004"/>
                  <a:gd name="connsiteX1" fmla="*/ 0 w 8672"/>
                  <a:gd name="connsiteY1" fmla="*/ 11005 h 11004"/>
                </a:gdLst>
                <a:ahLst/>
                <a:cxnLst>
                  <a:cxn ang="0">
                    <a:pos x="connsiteX0" y="connsiteY0"/>
                  </a:cxn>
                  <a:cxn ang="0">
                    <a:pos x="connsiteX1" y="connsiteY1"/>
                  </a:cxn>
                </a:cxnLst>
                <a:rect l="l" t="t" r="r" b="b"/>
                <a:pathLst>
                  <a:path w="8672" h="11004">
                    <a:moveTo>
                      <a:pt x="8672" y="0"/>
                    </a:moveTo>
                    <a:lnTo>
                      <a:pt x="0" y="11005"/>
                    </a:lnTo>
                  </a:path>
                </a:pathLst>
              </a:custGeom>
              <a:ln w="6350" cap="rnd">
                <a:solidFill>
                  <a:schemeClr val="bg1">
                    <a:alpha val="80000"/>
                  </a:schemeClr>
                </a:solidFill>
                <a:prstDash val="solid"/>
                <a:round/>
              </a:ln>
            </p:spPr>
            <p:txBody>
              <a:bodyPr rtlCol="0" anchor="ctr"/>
              <a:lstStyle/>
              <a:p>
                <a:endParaRPr lang="en-GB"/>
              </a:p>
            </p:txBody>
          </p:sp>
          <p:sp>
            <p:nvSpPr>
              <p:cNvPr id="6299" name="Vrije vorm: vorm 6298">
                <a:extLst>
                  <a:ext uri="{FF2B5EF4-FFF2-40B4-BE49-F238E27FC236}">
                    <a16:creationId xmlns:a16="http://schemas.microsoft.com/office/drawing/2014/main" id="{AE64CE7D-47EC-4B3C-B9AA-6EC28D480D54}"/>
                  </a:ext>
                </a:extLst>
              </p:cNvPr>
              <p:cNvSpPr/>
              <p:nvPr/>
            </p:nvSpPr>
            <p:spPr>
              <a:xfrm>
                <a:off x="7702352" y="2760083"/>
                <a:ext cx="34448" cy="5980"/>
              </a:xfrm>
              <a:custGeom>
                <a:avLst/>
                <a:gdLst>
                  <a:gd name="connsiteX0" fmla="*/ 34449 w 34448"/>
                  <a:gd name="connsiteY0" fmla="*/ 5981 h 5980"/>
                  <a:gd name="connsiteX1" fmla="*/ 0 w 34448"/>
                  <a:gd name="connsiteY1" fmla="*/ 0 h 5980"/>
                </a:gdLst>
                <a:ahLst/>
                <a:cxnLst>
                  <a:cxn ang="0">
                    <a:pos x="connsiteX0" y="connsiteY0"/>
                  </a:cxn>
                  <a:cxn ang="0">
                    <a:pos x="connsiteX1" y="connsiteY1"/>
                  </a:cxn>
                </a:cxnLst>
                <a:rect l="l" t="t" r="r" b="b"/>
                <a:pathLst>
                  <a:path w="34448" h="5980">
                    <a:moveTo>
                      <a:pt x="34449" y="598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00" name="Vrije vorm: vorm 6299">
                <a:extLst>
                  <a:ext uri="{FF2B5EF4-FFF2-40B4-BE49-F238E27FC236}">
                    <a16:creationId xmlns:a16="http://schemas.microsoft.com/office/drawing/2014/main" id="{ADA1F238-82C9-4CCB-AF7A-BFA4675A50A1}"/>
                  </a:ext>
                </a:extLst>
              </p:cNvPr>
              <p:cNvSpPr/>
              <p:nvPr/>
            </p:nvSpPr>
            <p:spPr>
              <a:xfrm>
                <a:off x="7707496" y="2742739"/>
                <a:ext cx="29305" cy="23324"/>
              </a:xfrm>
              <a:custGeom>
                <a:avLst/>
                <a:gdLst>
                  <a:gd name="connsiteX0" fmla="*/ 29306 w 29305"/>
                  <a:gd name="connsiteY0" fmla="*/ 23325 h 23324"/>
                  <a:gd name="connsiteX1" fmla="*/ 0 w 29305"/>
                  <a:gd name="connsiteY1" fmla="*/ 0 h 23324"/>
                </a:gdLst>
                <a:ahLst/>
                <a:cxnLst>
                  <a:cxn ang="0">
                    <a:pos x="connsiteX0" y="connsiteY0"/>
                  </a:cxn>
                  <a:cxn ang="0">
                    <a:pos x="connsiteX1" y="connsiteY1"/>
                  </a:cxn>
                </a:cxnLst>
                <a:rect l="l" t="t" r="r" b="b"/>
                <a:pathLst>
                  <a:path w="29305" h="23324">
                    <a:moveTo>
                      <a:pt x="29306" y="23325"/>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01" name="Vrije vorm: vorm 6300">
                <a:extLst>
                  <a:ext uri="{FF2B5EF4-FFF2-40B4-BE49-F238E27FC236}">
                    <a16:creationId xmlns:a16="http://schemas.microsoft.com/office/drawing/2014/main" id="{06E94A19-A4E3-48E7-8069-B8DF00B1471E}"/>
                  </a:ext>
                </a:extLst>
              </p:cNvPr>
              <p:cNvSpPr/>
              <p:nvPr/>
            </p:nvSpPr>
            <p:spPr>
              <a:xfrm>
                <a:off x="7736801" y="2766064"/>
                <a:ext cx="17164" cy="2990"/>
              </a:xfrm>
              <a:custGeom>
                <a:avLst/>
                <a:gdLst>
                  <a:gd name="connsiteX0" fmla="*/ 0 w 17164"/>
                  <a:gd name="connsiteY0" fmla="*/ 0 h 2990"/>
                  <a:gd name="connsiteX1" fmla="*/ 17165 w 17164"/>
                  <a:gd name="connsiteY1" fmla="*/ 2990 h 2990"/>
                </a:gdLst>
                <a:ahLst/>
                <a:cxnLst>
                  <a:cxn ang="0">
                    <a:pos x="connsiteX0" y="connsiteY0"/>
                  </a:cxn>
                  <a:cxn ang="0">
                    <a:pos x="connsiteX1" y="connsiteY1"/>
                  </a:cxn>
                </a:cxnLst>
                <a:rect l="l" t="t" r="r" b="b"/>
                <a:pathLst>
                  <a:path w="17164" h="2990">
                    <a:moveTo>
                      <a:pt x="0" y="0"/>
                    </a:moveTo>
                    <a:lnTo>
                      <a:pt x="17165" y="2990"/>
                    </a:lnTo>
                  </a:path>
                </a:pathLst>
              </a:custGeom>
              <a:ln w="6350" cap="rnd">
                <a:solidFill>
                  <a:schemeClr val="bg1">
                    <a:alpha val="80000"/>
                  </a:schemeClr>
                </a:solidFill>
                <a:prstDash val="solid"/>
                <a:round/>
              </a:ln>
            </p:spPr>
            <p:txBody>
              <a:bodyPr rtlCol="0" anchor="ctr"/>
              <a:lstStyle/>
              <a:p>
                <a:endParaRPr lang="en-GB"/>
              </a:p>
            </p:txBody>
          </p:sp>
          <p:sp>
            <p:nvSpPr>
              <p:cNvPr id="6302" name="Vrije vorm: vorm 6301">
                <a:extLst>
                  <a:ext uri="{FF2B5EF4-FFF2-40B4-BE49-F238E27FC236}">
                    <a16:creationId xmlns:a16="http://schemas.microsoft.com/office/drawing/2014/main" id="{F9FB7AFB-7188-4B06-9924-469D290AD50F}"/>
                  </a:ext>
                </a:extLst>
              </p:cNvPr>
              <p:cNvSpPr/>
              <p:nvPr/>
            </p:nvSpPr>
            <p:spPr>
              <a:xfrm>
                <a:off x="7612223" y="2659188"/>
                <a:ext cx="15609" cy="11423"/>
              </a:xfrm>
              <a:custGeom>
                <a:avLst/>
                <a:gdLst>
                  <a:gd name="connsiteX0" fmla="*/ 15609 w 15609"/>
                  <a:gd name="connsiteY0" fmla="*/ 0 h 11423"/>
                  <a:gd name="connsiteX1" fmla="*/ 0 w 15609"/>
                  <a:gd name="connsiteY1" fmla="*/ 11423 h 11423"/>
                </a:gdLst>
                <a:ahLst/>
                <a:cxnLst>
                  <a:cxn ang="0">
                    <a:pos x="connsiteX0" y="connsiteY0"/>
                  </a:cxn>
                  <a:cxn ang="0">
                    <a:pos x="connsiteX1" y="connsiteY1"/>
                  </a:cxn>
                </a:cxnLst>
                <a:rect l="l" t="t" r="r" b="b"/>
                <a:pathLst>
                  <a:path w="15609" h="11423">
                    <a:moveTo>
                      <a:pt x="15609" y="0"/>
                    </a:moveTo>
                    <a:lnTo>
                      <a:pt x="0" y="11423"/>
                    </a:lnTo>
                  </a:path>
                </a:pathLst>
              </a:custGeom>
              <a:ln w="6350" cap="rnd">
                <a:solidFill>
                  <a:schemeClr val="bg1">
                    <a:alpha val="80000"/>
                  </a:schemeClr>
                </a:solidFill>
                <a:prstDash val="solid"/>
                <a:round/>
              </a:ln>
            </p:spPr>
            <p:txBody>
              <a:bodyPr rtlCol="0" anchor="ctr"/>
              <a:lstStyle/>
              <a:p>
                <a:endParaRPr lang="en-GB"/>
              </a:p>
            </p:txBody>
          </p:sp>
          <p:sp>
            <p:nvSpPr>
              <p:cNvPr id="6303" name="Vrije vorm: vorm 6302">
                <a:extLst>
                  <a:ext uri="{FF2B5EF4-FFF2-40B4-BE49-F238E27FC236}">
                    <a16:creationId xmlns:a16="http://schemas.microsoft.com/office/drawing/2014/main" id="{BE8F630D-4915-47E3-8717-DC849CEF10FD}"/>
                  </a:ext>
                </a:extLst>
              </p:cNvPr>
              <p:cNvSpPr/>
              <p:nvPr/>
            </p:nvSpPr>
            <p:spPr>
              <a:xfrm>
                <a:off x="7627832" y="2659188"/>
                <a:ext cx="6997" cy="9449"/>
              </a:xfrm>
              <a:custGeom>
                <a:avLst/>
                <a:gdLst>
                  <a:gd name="connsiteX0" fmla="*/ 0 w 6997"/>
                  <a:gd name="connsiteY0" fmla="*/ 0 h 9449"/>
                  <a:gd name="connsiteX1" fmla="*/ 6997 w 6997"/>
                  <a:gd name="connsiteY1" fmla="*/ 9450 h 9449"/>
                </a:gdLst>
                <a:ahLst/>
                <a:cxnLst>
                  <a:cxn ang="0">
                    <a:pos x="connsiteX0" y="connsiteY0"/>
                  </a:cxn>
                  <a:cxn ang="0">
                    <a:pos x="connsiteX1" y="connsiteY1"/>
                  </a:cxn>
                </a:cxnLst>
                <a:rect l="l" t="t" r="r" b="b"/>
                <a:pathLst>
                  <a:path w="6997" h="9449">
                    <a:moveTo>
                      <a:pt x="0" y="0"/>
                    </a:moveTo>
                    <a:lnTo>
                      <a:pt x="6997" y="9450"/>
                    </a:lnTo>
                  </a:path>
                </a:pathLst>
              </a:custGeom>
              <a:ln w="6350" cap="rnd">
                <a:solidFill>
                  <a:schemeClr val="bg1">
                    <a:alpha val="80000"/>
                  </a:schemeClr>
                </a:solidFill>
                <a:prstDash val="solid"/>
                <a:round/>
              </a:ln>
            </p:spPr>
            <p:txBody>
              <a:bodyPr rtlCol="0" anchor="ctr"/>
              <a:lstStyle/>
              <a:p>
                <a:endParaRPr lang="en-GB"/>
              </a:p>
            </p:txBody>
          </p:sp>
          <p:sp>
            <p:nvSpPr>
              <p:cNvPr id="6304" name="Vrije vorm: vorm 6303">
                <a:extLst>
                  <a:ext uri="{FF2B5EF4-FFF2-40B4-BE49-F238E27FC236}">
                    <a16:creationId xmlns:a16="http://schemas.microsoft.com/office/drawing/2014/main" id="{E6A73035-D1B7-4037-BECC-26CFA7EC4585}"/>
                  </a:ext>
                </a:extLst>
              </p:cNvPr>
              <p:cNvSpPr/>
              <p:nvPr/>
            </p:nvSpPr>
            <p:spPr>
              <a:xfrm>
                <a:off x="7604807" y="2659188"/>
                <a:ext cx="23025" cy="119"/>
              </a:xfrm>
              <a:custGeom>
                <a:avLst/>
                <a:gdLst>
                  <a:gd name="connsiteX0" fmla="*/ 23025 w 23025"/>
                  <a:gd name="connsiteY0" fmla="*/ 0 h 119"/>
                  <a:gd name="connsiteX1" fmla="*/ 0 w 23025"/>
                  <a:gd name="connsiteY1" fmla="*/ 120 h 119"/>
                </a:gdLst>
                <a:ahLst/>
                <a:cxnLst>
                  <a:cxn ang="0">
                    <a:pos x="connsiteX0" y="connsiteY0"/>
                  </a:cxn>
                  <a:cxn ang="0">
                    <a:pos x="connsiteX1" y="connsiteY1"/>
                  </a:cxn>
                </a:cxnLst>
                <a:rect l="l" t="t" r="r" b="b"/>
                <a:pathLst>
                  <a:path w="23025" h="119">
                    <a:moveTo>
                      <a:pt x="23025" y="0"/>
                    </a:moveTo>
                    <a:lnTo>
                      <a:pt x="0" y="120"/>
                    </a:lnTo>
                  </a:path>
                </a:pathLst>
              </a:custGeom>
              <a:ln w="6350" cap="rnd">
                <a:solidFill>
                  <a:schemeClr val="bg1">
                    <a:alpha val="80000"/>
                  </a:schemeClr>
                </a:solidFill>
                <a:prstDash val="solid"/>
                <a:round/>
              </a:ln>
            </p:spPr>
            <p:txBody>
              <a:bodyPr rtlCol="0" anchor="ctr"/>
              <a:lstStyle/>
              <a:p>
                <a:endParaRPr lang="en-GB"/>
              </a:p>
            </p:txBody>
          </p:sp>
          <p:sp>
            <p:nvSpPr>
              <p:cNvPr id="6305" name="Vrije vorm: vorm 6304">
                <a:extLst>
                  <a:ext uri="{FF2B5EF4-FFF2-40B4-BE49-F238E27FC236}">
                    <a16:creationId xmlns:a16="http://schemas.microsoft.com/office/drawing/2014/main" id="{D9ED2DBB-E3E3-4737-ADE5-FD939F804987}"/>
                  </a:ext>
                </a:extLst>
              </p:cNvPr>
              <p:cNvSpPr/>
              <p:nvPr/>
            </p:nvSpPr>
            <p:spPr>
              <a:xfrm>
                <a:off x="7627832" y="2651593"/>
                <a:ext cx="16207" cy="7595"/>
              </a:xfrm>
              <a:custGeom>
                <a:avLst/>
                <a:gdLst>
                  <a:gd name="connsiteX0" fmla="*/ 0 w 16207"/>
                  <a:gd name="connsiteY0" fmla="*/ 7596 h 7595"/>
                  <a:gd name="connsiteX1" fmla="*/ 16208 w 16207"/>
                  <a:gd name="connsiteY1" fmla="*/ 0 h 7595"/>
                </a:gdLst>
                <a:ahLst/>
                <a:cxnLst>
                  <a:cxn ang="0">
                    <a:pos x="connsiteX0" y="connsiteY0"/>
                  </a:cxn>
                  <a:cxn ang="0">
                    <a:pos x="connsiteX1" y="connsiteY1"/>
                  </a:cxn>
                </a:cxnLst>
                <a:rect l="l" t="t" r="r" b="b"/>
                <a:pathLst>
                  <a:path w="16207" h="7595">
                    <a:moveTo>
                      <a:pt x="0" y="7596"/>
                    </a:moveTo>
                    <a:lnTo>
                      <a:pt x="16208" y="0"/>
                    </a:lnTo>
                  </a:path>
                </a:pathLst>
              </a:custGeom>
              <a:ln w="6350" cap="rnd">
                <a:solidFill>
                  <a:schemeClr val="bg1">
                    <a:alpha val="80000"/>
                  </a:schemeClr>
                </a:solidFill>
                <a:prstDash val="solid"/>
                <a:round/>
              </a:ln>
            </p:spPr>
            <p:txBody>
              <a:bodyPr rtlCol="0" anchor="ctr"/>
              <a:lstStyle/>
              <a:p>
                <a:endParaRPr lang="en-GB"/>
              </a:p>
            </p:txBody>
          </p:sp>
          <p:sp>
            <p:nvSpPr>
              <p:cNvPr id="6306" name="Vrije vorm: vorm 6305">
                <a:extLst>
                  <a:ext uri="{FF2B5EF4-FFF2-40B4-BE49-F238E27FC236}">
                    <a16:creationId xmlns:a16="http://schemas.microsoft.com/office/drawing/2014/main" id="{784DA9B9-C595-493E-A3FF-9DC357041CF0}"/>
                  </a:ext>
                </a:extLst>
              </p:cNvPr>
              <p:cNvSpPr/>
              <p:nvPr/>
            </p:nvSpPr>
            <p:spPr>
              <a:xfrm>
                <a:off x="7627832" y="2647466"/>
                <a:ext cx="7057" cy="11722"/>
              </a:xfrm>
              <a:custGeom>
                <a:avLst/>
                <a:gdLst>
                  <a:gd name="connsiteX0" fmla="*/ 0 w 7057"/>
                  <a:gd name="connsiteY0" fmla="*/ 11722 h 11722"/>
                  <a:gd name="connsiteX1" fmla="*/ 7057 w 7057"/>
                  <a:gd name="connsiteY1" fmla="*/ 0 h 11722"/>
                </a:gdLst>
                <a:ahLst/>
                <a:cxnLst>
                  <a:cxn ang="0">
                    <a:pos x="connsiteX0" y="connsiteY0"/>
                  </a:cxn>
                  <a:cxn ang="0">
                    <a:pos x="connsiteX1" y="connsiteY1"/>
                  </a:cxn>
                </a:cxnLst>
                <a:rect l="l" t="t" r="r" b="b"/>
                <a:pathLst>
                  <a:path w="7057" h="11722">
                    <a:moveTo>
                      <a:pt x="0" y="11722"/>
                    </a:moveTo>
                    <a:lnTo>
                      <a:pt x="7057" y="0"/>
                    </a:lnTo>
                  </a:path>
                </a:pathLst>
              </a:custGeom>
              <a:ln w="6350" cap="rnd">
                <a:solidFill>
                  <a:schemeClr val="bg1">
                    <a:alpha val="80000"/>
                  </a:schemeClr>
                </a:solidFill>
                <a:prstDash val="solid"/>
                <a:round/>
              </a:ln>
            </p:spPr>
            <p:txBody>
              <a:bodyPr rtlCol="0" anchor="ctr"/>
              <a:lstStyle/>
              <a:p>
                <a:endParaRPr lang="en-GB"/>
              </a:p>
            </p:txBody>
          </p:sp>
          <p:sp>
            <p:nvSpPr>
              <p:cNvPr id="6307" name="Vrije vorm: vorm 6306">
                <a:extLst>
                  <a:ext uri="{FF2B5EF4-FFF2-40B4-BE49-F238E27FC236}">
                    <a16:creationId xmlns:a16="http://schemas.microsoft.com/office/drawing/2014/main" id="{190E724C-3453-477A-BE53-1379D484D7B1}"/>
                  </a:ext>
                </a:extLst>
              </p:cNvPr>
              <p:cNvSpPr/>
              <p:nvPr/>
            </p:nvSpPr>
            <p:spPr>
              <a:xfrm>
                <a:off x="7759049" y="2825333"/>
                <a:ext cx="10406" cy="9090"/>
              </a:xfrm>
              <a:custGeom>
                <a:avLst/>
                <a:gdLst>
                  <a:gd name="connsiteX0" fmla="*/ 0 w 10406"/>
                  <a:gd name="connsiteY0" fmla="*/ 9091 h 9090"/>
                  <a:gd name="connsiteX1" fmla="*/ 10406 w 10406"/>
                  <a:gd name="connsiteY1" fmla="*/ 0 h 9090"/>
                </a:gdLst>
                <a:ahLst/>
                <a:cxnLst>
                  <a:cxn ang="0">
                    <a:pos x="connsiteX0" y="connsiteY0"/>
                  </a:cxn>
                  <a:cxn ang="0">
                    <a:pos x="connsiteX1" y="connsiteY1"/>
                  </a:cxn>
                </a:cxnLst>
                <a:rect l="l" t="t" r="r" b="b"/>
                <a:pathLst>
                  <a:path w="10406" h="9090">
                    <a:moveTo>
                      <a:pt x="0" y="9091"/>
                    </a:moveTo>
                    <a:lnTo>
                      <a:pt x="10406" y="0"/>
                    </a:lnTo>
                  </a:path>
                </a:pathLst>
              </a:custGeom>
              <a:ln w="6350" cap="rnd">
                <a:solidFill>
                  <a:schemeClr val="bg1">
                    <a:alpha val="80000"/>
                  </a:schemeClr>
                </a:solidFill>
                <a:prstDash val="solid"/>
                <a:round/>
              </a:ln>
            </p:spPr>
            <p:txBody>
              <a:bodyPr rtlCol="0" anchor="ctr"/>
              <a:lstStyle/>
              <a:p>
                <a:endParaRPr lang="en-GB"/>
              </a:p>
            </p:txBody>
          </p:sp>
          <p:sp>
            <p:nvSpPr>
              <p:cNvPr id="6308" name="Vrije vorm: vorm 6307">
                <a:extLst>
                  <a:ext uri="{FF2B5EF4-FFF2-40B4-BE49-F238E27FC236}">
                    <a16:creationId xmlns:a16="http://schemas.microsoft.com/office/drawing/2014/main" id="{DDC92A4F-EDC7-4E7F-B376-C764DCC98558}"/>
                  </a:ext>
                </a:extLst>
              </p:cNvPr>
              <p:cNvSpPr/>
              <p:nvPr/>
            </p:nvSpPr>
            <p:spPr>
              <a:xfrm>
                <a:off x="7757973" y="2832570"/>
                <a:ext cx="1076" cy="1854"/>
              </a:xfrm>
              <a:custGeom>
                <a:avLst/>
                <a:gdLst>
                  <a:gd name="connsiteX0" fmla="*/ 1077 w 1076"/>
                  <a:gd name="connsiteY0" fmla="*/ 1854 h 1854"/>
                  <a:gd name="connsiteX1" fmla="*/ 0 w 1076"/>
                  <a:gd name="connsiteY1" fmla="*/ 0 h 1854"/>
                </a:gdLst>
                <a:ahLst/>
                <a:cxnLst>
                  <a:cxn ang="0">
                    <a:pos x="connsiteX0" y="connsiteY0"/>
                  </a:cxn>
                  <a:cxn ang="0">
                    <a:pos x="connsiteX1" y="connsiteY1"/>
                  </a:cxn>
                </a:cxnLst>
                <a:rect l="l" t="t" r="r" b="b"/>
                <a:pathLst>
                  <a:path w="1076" h="1854">
                    <a:moveTo>
                      <a:pt x="1077" y="185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09" name="Vrije vorm: vorm 6308">
                <a:extLst>
                  <a:ext uri="{FF2B5EF4-FFF2-40B4-BE49-F238E27FC236}">
                    <a16:creationId xmlns:a16="http://schemas.microsoft.com/office/drawing/2014/main" id="{4580FFD5-8D59-4CFC-A388-3D250927C400}"/>
                  </a:ext>
                </a:extLst>
              </p:cNvPr>
              <p:cNvSpPr/>
              <p:nvPr/>
            </p:nvSpPr>
            <p:spPr>
              <a:xfrm>
                <a:off x="7759049" y="2829400"/>
                <a:ext cx="12200" cy="5023"/>
              </a:xfrm>
              <a:custGeom>
                <a:avLst/>
                <a:gdLst>
                  <a:gd name="connsiteX0" fmla="*/ 0 w 12200"/>
                  <a:gd name="connsiteY0" fmla="*/ 5024 h 5023"/>
                  <a:gd name="connsiteX1" fmla="*/ 12201 w 12200"/>
                  <a:gd name="connsiteY1" fmla="*/ 0 h 5023"/>
                </a:gdLst>
                <a:ahLst/>
                <a:cxnLst>
                  <a:cxn ang="0">
                    <a:pos x="connsiteX0" y="connsiteY0"/>
                  </a:cxn>
                  <a:cxn ang="0">
                    <a:pos x="connsiteX1" y="connsiteY1"/>
                  </a:cxn>
                </a:cxnLst>
                <a:rect l="l" t="t" r="r" b="b"/>
                <a:pathLst>
                  <a:path w="12200" h="5023">
                    <a:moveTo>
                      <a:pt x="0" y="5024"/>
                    </a:moveTo>
                    <a:lnTo>
                      <a:pt x="12201" y="0"/>
                    </a:lnTo>
                  </a:path>
                </a:pathLst>
              </a:custGeom>
              <a:ln w="6350" cap="rnd">
                <a:solidFill>
                  <a:schemeClr val="bg1">
                    <a:alpha val="80000"/>
                  </a:schemeClr>
                </a:solidFill>
                <a:prstDash val="solid"/>
                <a:round/>
              </a:ln>
            </p:spPr>
            <p:txBody>
              <a:bodyPr rtlCol="0" anchor="ctr"/>
              <a:lstStyle/>
              <a:p>
                <a:endParaRPr lang="en-GB"/>
              </a:p>
            </p:txBody>
          </p:sp>
          <p:sp>
            <p:nvSpPr>
              <p:cNvPr id="6310" name="Vrije vorm: vorm 6309">
                <a:extLst>
                  <a:ext uri="{FF2B5EF4-FFF2-40B4-BE49-F238E27FC236}">
                    <a16:creationId xmlns:a16="http://schemas.microsoft.com/office/drawing/2014/main" id="{51CA5397-1A96-4D58-8C0C-6C27ECD6D0B4}"/>
                  </a:ext>
                </a:extLst>
              </p:cNvPr>
              <p:cNvSpPr/>
              <p:nvPr/>
            </p:nvSpPr>
            <p:spPr>
              <a:xfrm>
                <a:off x="7758033" y="2825333"/>
                <a:ext cx="11423" cy="4186"/>
              </a:xfrm>
              <a:custGeom>
                <a:avLst/>
                <a:gdLst>
                  <a:gd name="connsiteX0" fmla="*/ 0 w 11423"/>
                  <a:gd name="connsiteY0" fmla="*/ 4186 h 4186"/>
                  <a:gd name="connsiteX1" fmla="*/ 11423 w 11423"/>
                  <a:gd name="connsiteY1" fmla="*/ 0 h 4186"/>
                </a:gdLst>
                <a:ahLst/>
                <a:cxnLst>
                  <a:cxn ang="0">
                    <a:pos x="connsiteX0" y="connsiteY0"/>
                  </a:cxn>
                  <a:cxn ang="0">
                    <a:pos x="connsiteX1" y="connsiteY1"/>
                  </a:cxn>
                </a:cxnLst>
                <a:rect l="l" t="t" r="r" b="b"/>
                <a:pathLst>
                  <a:path w="11423" h="4186">
                    <a:moveTo>
                      <a:pt x="0" y="4186"/>
                    </a:moveTo>
                    <a:lnTo>
                      <a:pt x="11423" y="0"/>
                    </a:lnTo>
                  </a:path>
                </a:pathLst>
              </a:custGeom>
              <a:ln w="6350" cap="rnd">
                <a:solidFill>
                  <a:schemeClr val="bg1">
                    <a:alpha val="80000"/>
                  </a:schemeClr>
                </a:solidFill>
                <a:prstDash val="solid"/>
                <a:round/>
              </a:ln>
            </p:spPr>
            <p:txBody>
              <a:bodyPr rtlCol="0" anchor="ctr"/>
              <a:lstStyle/>
              <a:p>
                <a:endParaRPr lang="en-GB"/>
              </a:p>
            </p:txBody>
          </p:sp>
          <p:sp>
            <p:nvSpPr>
              <p:cNvPr id="6311" name="Vrije vorm: vorm 6310">
                <a:extLst>
                  <a:ext uri="{FF2B5EF4-FFF2-40B4-BE49-F238E27FC236}">
                    <a16:creationId xmlns:a16="http://schemas.microsoft.com/office/drawing/2014/main" id="{F2FA12AC-37AC-4D83-961A-6482A42890D5}"/>
                  </a:ext>
                </a:extLst>
              </p:cNvPr>
              <p:cNvSpPr/>
              <p:nvPr/>
            </p:nvSpPr>
            <p:spPr>
              <a:xfrm>
                <a:off x="7535071" y="2727967"/>
                <a:ext cx="21171" cy="12858"/>
              </a:xfrm>
              <a:custGeom>
                <a:avLst/>
                <a:gdLst>
                  <a:gd name="connsiteX0" fmla="*/ 0 w 21171"/>
                  <a:gd name="connsiteY0" fmla="*/ 12859 h 12858"/>
                  <a:gd name="connsiteX1" fmla="*/ 21172 w 21171"/>
                  <a:gd name="connsiteY1" fmla="*/ 0 h 12858"/>
                </a:gdLst>
                <a:ahLst/>
                <a:cxnLst>
                  <a:cxn ang="0">
                    <a:pos x="connsiteX0" y="connsiteY0"/>
                  </a:cxn>
                  <a:cxn ang="0">
                    <a:pos x="connsiteX1" y="connsiteY1"/>
                  </a:cxn>
                </a:cxnLst>
                <a:rect l="l" t="t" r="r" b="b"/>
                <a:pathLst>
                  <a:path w="21171" h="12858">
                    <a:moveTo>
                      <a:pt x="0" y="12859"/>
                    </a:moveTo>
                    <a:lnTo>
                      <a:pt x="21172" y="0"/>
                    </a:lnTo>
                  </a:path>
                </a:pathLst>
              </a:custGeom>
              <a:ln w="6350" cap="rnd">
                <a:solidFill>
                  <a:schemeClr val="bg1">
                    <a:alpha val="80000"/>
                  </a:schemeClr>
                </a:solidFill>
                <a:prstDash val="solid"/>
                <a:round/>
              </a:ln>
            </p:spPr>
            <p:txBody>
              <a:bodyPr rtlCol="0" anchor="ctr"/>
              <a:lstStyle/>
              <a:p>
                <a:endParaRPr lang="en-GB"/>
              </a:p>
            </p:txBody>
          </p:sp>
          <p:sp>
            <p:nvSpPr>
              <p:cNvPr id="6312" name="Vrije vorm: vorm 6311">
                <a:extLst>
                  <a:ext uri="{FF2B5EF4-FFF2-40B4-BE49-F238E27FC236}">
                    <a16:creationId xmlns:a16="http://schemas.microsoft.com/office/drawing/2014/main" id="{EE500BF3-6DE4-4AA4-A366-2879DDC7CB8E}"/>
                  </a:ext>
                </a:extLst>
              </p:cNvPr>
              <p:cNvSpPr/>
              <p:nvPr/>
            </p:nvSpPr>
            <p:spPr>
              <a:xfrm>
                <a:off x="7535071" y="2740825"/>
                <a:ext cx="4126" cy="3289"/>
              </a:xfrm>
              <a:custGeom>
                <a:avLst/>
                <a:gdLst>
                  <a:gd name="connsiteX0" fmla="*/ 0 w 4126"/>
                  <a:gd name="connsiteY0" fmla="*/ 0 h 3289"/>
                  <a:gd name="connsiteX1" fmla="*/ 4127 w 4126"/>
                  <a:gd name="connsiteY1" fmla="*/ 3289 h 3289"/>
                </a:gdLst>
                <a:ahLst/>
                <a:cxnLst>
                  <a:cxn ang="0">
                    <a:pos x="connsiteX0" y="connsiteY0"/>
                  </a:cxn>
                  <a:cxn ang="0">
                    <a:pos x="connsiteX1" y="connsiteY1"/>
                  </a:cxn>
                </a:cxnLst>
                <a:rect l="l" t="t" r="r" b="b"/>
                <a:pathLst>
                  <a:path w="4126" h="3289">
                    <a:moveTo>
                      <a:pt x="0" y="0"/>
                    </a:moveTo>
                    <a:lnTo>
                      <a:pt x="4127" y="3289"/>
                    </a:lnTo>
                  </a:path>
                </a:pathLst>
              </a:custGeom>
              <a:ln w="6350" cap="rnd">
                <a:solidFill>
                  <a:schemeClr val="bg1">
                    <a:alpha val="80000"/>
                  </a:schemeClr>
                </a:solidFill>
                <a:prstDash val="solid"/>
                <a:round/>
              </a:ln>
            </p:spPr>
            <p:txBody>
              <a:bodyPr rtlCol="0" anchor="ctr"/>
              <a:lstStyle/>
              <a:p>
                <a:endParaRPr lang="en-GB"/>
              </a:p>
            </p:txBody>
          </p:sp>
          <p:sp>
            <p:nvSpPr>
              <p:cNvPr id="6313" name="Vrije vorm: vorm 6312">
                <a:extLst>
                  <a:ext uri="{FF2B5EF4-FFF2-40B4-BE49-F238E27FC236}">
                    <a16:creationId xmlns:a16="http://schemas.microsoft.com/office/drawing/2014/main" id="{CE0E5038-0E3F-49B7-88A2-20AC9889A14D}"/>
                  </a:ext>
                </a:extLst>
              </p:cNvPr>
              <p:cNvSpPr/>
              <p:nvPr/>
            </p:nvSpPr>
            <p:spPr>
              <a:xfrm>
                <a:off x="7535071" y="2713972"/>
                <a:ext cx="27152" cy="26853"/>
              </a:xfrm>
              <a:custGeom>
                <a:avLst/>
                <a:gdLst>
                  <a:gd name="connsiteX0" fmla="*/ 0 w 27152"/>
                  <a:gd name="connsiteY0" fmla="*/ 26853 h 26853"/>
                  <a:gd name="connsiteX1" fmla="*/ 27152 w 27152"/>
                  <a:gd name="connsiteY1" fmla="*/ 0 h 26853"/>
                </a:gdLst>
                <a:ahLst/>
                <a:cxnLst>
                  <a:cxn ang="0">
                    <a:pos x="connsiteX0" y="connsiteY0"/>
                  </a:cxn>
                  <a:cxn ang="0">
                    <a:pos x="connsiteX1" y="connsiteY1"/>
                  </a:cxn>
                </a:cxnLst>
                <a:rect l="l" t="t" r="r" b="b"/>
                <a:pathLst>
                  <a:path w="27152" h="26853">
                    <a:moveTo>
                      <a:pt x="0" y="26853"/>
                    </a:moveTo>
                    <a:lnTo>
                      <a:pt x="27152" y="0"/>
                    </a:lnTo>
                  </a:path>
                </a:pathLst>
              </a:custGeom>
              <a:ln w="6350" cap="rnd">
                <a:solidFill>
                  <a:schemeClr val="bg1">
                    <a:alpha val="80000"/>
                  </a:schemeClr>
                </a:solidFill>
                <a:prstDash val="solid"/>
                <a:round/>
              </a:ln>
            </p:spPr>
            <p:txBody>
              <a:bodyPr rtlCol="0" anchor="ctr"/>
              <a:lstStyle/>
              <a:p>
                <a:endParaRPr lang="en-GB"/>
              </a:p>
            </p:txBody>
          </p:sp>
          <p:sp>
            <p:nvSpPr>
              <p:cNvPr id="6314" name="Vrije vorm: vorm 6313">
                <a:extLst>
                  <a:ext uri="{FF2B5EF4-FFF2-40B4-BE49-F238E27FC236}">
                    <a16:creationId xmlns:a16="http://schemas.microsoft.com/office/drawing/2014/main" id="{C9872259-0D3F-47D1-A171-E9D67F665312}"/>
                  </a:ext>
                </a:extLst>
              </p:cNvPr>
              <p:cNvSpPr/>
              <p:nvPr/>
            </p:nvSpPr>
            <p:spPr>
              <a:xfrm>
                <a:off x="7529210" y="2740825"/>
                <a:ext cx="5861" cy="1794"/>
              </a:xfrm>
              <a:custGeom>
                <a:avLst/>
                <a:gdLst>
                  <a:gd name="connsiteX0" fmla="*/ 5861 w 5861"/>
                  <a:gd name="connsiteY0" fmla="*/ 0 h 1794"/>
                  <a:gd name="connsiteX1" fmla="*/ 0 w 5861"/>
                  <a:gd name="connsiteY1" fmla="*/ 1794 h 1794"/>
                </a:gdLst>
                <a:ahLst/>
                <a:cxnLst>
                  <a:cxn ang="0">
                    <a:pos x="connsiteX0" y="connsiteY0"/>
                  </a:cxn>
                  <a:cxn ang="0">
                    <a:pos x="connsiteX1" y="connsiteY1"/>
                  </a:cxn>
                </a:cxnLst>
                <a:rect l="l" t="t" r="r" b="b"/>
                <a:pathLst>
                  <a:path w="5861" h="1794">
                    <a:moveTo>
                      <a:pt x="5861" y="0"/>
                    </a:moveTo>
                    <a:lnTo>
                      <a:pt x="0" y="1794"/>
                    </a:lnTo>
                  </a:path>
                </a:pathLst>
              </a:custGeom>
              <a:ln w="6350" cap="rnd">
                <a:solidFill>
                  <a:schemeClr val="bg1">
                    <a:alpha val="80000"/>
                  </a:schemeClr>
                </a:solidFill>
                <a:prstDash val="solid"/>
                <a:round/>
              </a:ln>
            </p:spPr>
            <p:txBody>
              <a:bodyPr rtlCol="0" anchor="ctr"/>
              <a:lstStyle/>
              <a:p>
                <a:endParaRPr lang="en-GB"/>
              </a:p>
            </p:txBody>
          </p:sp>
          <p:sp>
            <p:nvSpPr>
              <p:cNvPr id="6315" name="Vrije vorm: vorm 6314">
                <a:extLst>
                  <a:ext uri="{FF2B5EF4-FFF2-40B4-BE49-F238E27FC236}">
                    <a16:creationId xmlns:a16="http://schemas.microsoft.com/office/drawing/2014/main" id="{3134C993-8463-4791-B492-AAD4979647A9}"/>
                  </a:ext>
                </a:extLst>
              </p:cNvPr>
              <p:cNvSpPr/>
              <p:nvPr/>
            </p:nvSpPr>
            <p:spPr>
              <a:xfrm>
                <a:off x="7763356" y="2780059"/>
                <a:ext cx="6997" cy="119"/>
              </a:xfrm>
              <a:custGeom>
                <a:avLst/>
                <a:gdLst>
                  <a:gd name="connsiteX0" fmla="*/ 6998 w 6997"/>
                  <a:gd name="connsiteY0" fmla="*/ 0 h 119"/>
                  <a:gd name="connsiteX1" fmla="*/ 0 w 6997"/>
                  <a:gd name="connsiteY1" fmla="*/ 120 h 119"/>
                </a:gdLst>
                <a:ahLst/>
                <a:cxnLst>
                  <a:cxn ang="0">
                    <a:pos x="connsiteX0" y="connsiteY0"/>
                  </a:cxn>
                  <a:cxn ang="0">
                    <a:pos x="connsiteX1" y="connsiteY1"/>
                  </a:cxn>
                </a:cxnLst>
                <a:rect l="l" t="t" r="r" b="b"/>
                <a:pathLst>
                  <a:path w="6997" h="119">
                    <a:moveTo>
                      <a:pt x="6998" y="0"/>
                    </a:moveTo>
                    <a:lnTo>
                      <a:pt x="0" y="120"/>
                    </a:lnTo>
                  </a:path>
                </a:pathLst>
              </a:custGeom>
              <a:ln w="6350" cap="rnd">
                <a:solidFill>
                  <a:schemeClr val="bg1">
                    <a:alpha val="80000"/>
                  </a:schemeClr>
                </a:solidFill>
                <a:prstDash val="solid"/>
                <a:round/>
              </a:ln>
            </p:spPr>
            <p:txBody>
              <a:bodyPr rtlCol="0" anchor="ctr"/>
              <a:lstStyle/>
              <a:p>
                <a:endParaRPr lang="en-GB"/>
              </a:p>
            </p:txBody>
          </p:sp>
          <p:sp>
            <p:nvSpPr>
              <p:cNvPr id="6316" name="Vrije vorm: vorm 6315">
                <a:extLst>
                  <a:ext uri="{FF2B5EF4-FFF2-40B4-BE49-F238E27FC236}">
                    <a16:creationId xmlns:a16="http://schemas.microsoft.com/office/drawing/2014/main" id="{4253E697-143B-4D62-8E06-67FA2A7C8032}"/>
                  </a:ext>
                </a:extLst>
              </p:cNvPr>
              <p:cNvSpPr/>
              <p:nvPr/>
            </p:nvSpPr>
            <p:spPr>
              <a:xfrm>
                <a:off x="7770353" y="2764389"/>
                <a:ext cx="11243" cy="15669"/>
              </a:xfrm>
              <a:custGeom>
                <a:avLst/>
                <a:gdLst>
                  <a:gd name="connsiteX0" fmla="*/ 0 w 11243"/>
                  <a:gd name="connsiteY0" fmla="*/ 15670 h 15669"/>
                  <a:gd name="connsiteX1" fmla="*/ 11244 w 11243"/>
                  <a:gd name="connsiteY1" fmla="*/ 0 h 15669"/>
                </a:gdLst>
                <a:ahLst/>
                <a:cxnLst>
                  <a:cxn ang="0">
                    <a:pos x="connsiteX0" y="connsiteY0"/>
                  </a:cxn>
                  <a:cxn ang="0">
                    <a:pos x="connsiteX1" y="connsiteY1"/>
                  </a:cxn>
                </a:cxnLst>
                <a:rect l="l" t="t" r="r" b="b"/>
                <a:pathLst>
                  <a:path w="11243" h="15669">
                    <a:moveTo>
                      <a:pt x="0" y="15670"/>
                    </a:moveTo>
                    <a:lnTo>
                      <a:pt x="11244" y="0"/>
                    </a:lnTo>
                  </a:path>
                </a:pathLst>
              </a:custGeom>
              <a:ln w="6350" cap="rnd">
                <a:solidFill>
                  <a:schemeClr val="bg1">
                    <a:alpha val="80000"/>
                  </a:schemeClr>
                </a:solidFill>
                <a:prstDash val="solid"/>
                <a:round/>
              </a:ln>
            </p:spPr>
            <p:txBody>
              <a:bodyPr rtlCol="0" anchor="ctr"/>
              <a:lstStyle/>
              <a:p>
                <a:endParaRPr lang="en-GB"/>
              </a:p>
            </p:txBody>
          </p:sp>
          <p:sp>
            <p:nvSpPr>
              <p:cNvPr id="6317" name="Vrije vorm: vorm 6316">
                <a:extLst>
                  <a:ext uri="{FF2B5EF4-FFF2-40B4-BE49-F238E27FC236}">
                    <a16:creationId xmlns:a16="http://schemas.microsoft.com/office/drawing/2014/main" id="{CF1F09CB-9388-4824-9705-1597CF22434C}"/>
                  </a:ext>
                </a:extLst>
              </p:cNvPr>
              <p:cNvSpPr/>
              <p:nvPr/>
            </p:nvSpPr>
            <p:spPr>
              <a:xfrm>
                <a:off x="7762339" y="2758947"/>
                <a:ext cx="8014" cy="21111"/>
              </a:xfrm>
              <a:custGeom>
                <a:avLst/>
                <a:gdLst>
                  <a:gd name="connsiteX0" fmla="*/ 8014 w 8014"/>
                  <a:gd name="connsiteY0" fmla="*/ 21112 h 21111"/>
                  <a:gd name="connsiteX1" fmla="*/ 0 w 8014"/>
                  <a:gd name="connsiteY1" fmla="*/ 0 h 21111"/>
                </a:gdLst>
                <a:ahLst/>
                <a:cxnLst>
                  <a:cxn ang="0">
                    <a:pos x="connsiteX0" y="connsiteY0"/>
                  </a:cxn>
                  <a:cxn ang="0">
                    <a:pos x="connsiteX1" y="connsiteY1"/>
                  </a:cxn>
                </a:cxnLst>
                <a:rect l="l" t="t" r="r" b="b"/>
                <a:pathLst>
                  <a:path w="8014" h="21111">
                    <a:moveTo>
                      <a:pt x="8014" y="21112"/>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18" name="Vrije vorm: vorm 6317">
                <a:extLst>
                  <a:ext uri="{FF2B5EF4-FFF2-40B4-BE49-F238E27FC236}">
                    <a16:creationId xmlns:a16="http://schemas.microsoft.com/office/drawing/2014/main" id="{22760621-6EC4-4125-A6DA-AF885DC52559}"/>
                  </a:ext>
                </a:extLst>
              </p:cNvPr>
              <p:cNvSpPr/>
              <p:nvPr/>
            </p:nvSpPr>
            <p:spPr>
              <a:xfrm>
                <a:off x="7770353" y="2780059"/>
                <a:ext cx="5442" cy="17882"/>
              </a:xfrm>
              <a:custGeom>
                <a:avLst/>
                <a:gdLst>
                  <a:gd name="connsiteX0" fmla="*/ 0 w 5442"/>
                  <a:gd name="connsiteY0" fmla="*/ 0 h 17882"/>
                  <a:gd name="connsiteX1" fmla="*/ 5442 w 5442"/>
                  <a:gd name="connsiteY1" fmla="*/ 17882 h 17882"/>
                </a:gdLst>
                <a:ahLst/>
                <a:cxnLst>
                  <a:cxn ang="0">
                    <a:pos x="connsiteX0" y="connsiteY0"/>
                  </a:cxn>
                  <a:cxn ang="0">
                    <a:pos x="connsiteX1" y="connsiteY1"/>
                  </a:cxn>
                </a:cxnLst>
                <a:rect l="l" t="t" r="r" b="b"/>
                <a:pathLst>
                  <a:path w="5442" h="17882">
                    <a:moveTo>
                      <a:pt x="0" y="0"/>
                    </a:moveTo>
                    <a:lnTo>
                      <a:pt x="5442" y="17882"/>
                    </a:lnTo>
                  </a:path>
                </a:pathLst>
              </a:custGeom>
              <a:ln w="6350" cap="rnd">
                <a:solidFill>
                  <a:schemeClr val="bg1">
                    <a:alpha val="80000"/>
                  </a:schemeClr>
                </a:solidFill>
                <a:prstDash val="solid"/>
                <a:round/>
              </a:ln>
            </p:spPr>
            <p:txBody>
              <a:bodyPr rtlCol="0" anchor="ctr"/>
              <a:lstStyle/>
              <a:p>
                <a:endParaRPr lang="en-GB"/>
              </a:p>
            </p:txBody>
          </p:sp>
          <p:sp>
            <p:nvSpPr>
              <p:cNvPr id="6319" name="Vrije vorm: vorm 6318">
                <a:extLst>
                  <a:ext uri="{FF2B5EF4-FFF2-40B4-BE49-F238E27FC236}">
                    <a16:creationId xmlns:a16="http://schemas.microsoft.com/office/drawing/2014/main" id="{6DFF84D1-0CD8-4C42-AB62-E9B5B4029AB2}"/>
                  </a:ext>
                </a:extLst>
              </p:cNvPr>
              <p:cNvSpPr/>
              <p:nvPr/>
            </p:nvSpPr>
            <p:spPr>
              <a:xfrm>
                <a:off x="7753966" y="2769054"/>
                <a:ext cx="16387" cy="11004"/>
              </a:xfrm>
              <a:custGeom>
                <a:avLst/>
                <a:gdLst>
                  <a:gd name="connsiteX0" fmla="*/ 16387 w 16387"/>
                  <a:gd name="connsiteY0" fmla="*/ 11005 h 11004"/>
                  <a:gd name="connsiteX1" fmla="*/ 0 w 16387"/>
                  <a:gd name="connsiteY1" fmla="*/ 0 h 11004"/>
                </a:gdLst>
                <a:ahLst/>
                <a:cxnLst>
                  <a:cxn ang="0">
                    <a:pos x="connsiteX0" y="connsiteY0"/>
                  </a:cxn>
                  <a:cxn ang="0">
                    <a:pos x="connsiteX1" y="connsiteY1"/>
                  </a:cxn>
                </a:cxnLst>
                <a:rect l="l" t="t" r="r" b="b"/>
                <a:pathLst>
                  <a:path w="16387" h="11004">
                    <a:moveTo>
                      <a:pt x="16387" y="11005"/>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20" name="Vrije vorm: vorm 6319">
                <a:extLst>
                  <a:ext uri="{FF2B5EF4-FFF2-40B4-BE49-F238E27FC236}">
                    <a16:creationId xmlns:a16="http://schemas.microsoft.com/office/drawing/2014/main" id="{2B1FD801-B3CF-4855-B251-13CFBAF11DF9}"/>
                  </a:ext>
                </a:extLst>
              </p:cNvPr>
              <p:cNvSpPr/>
              <p:nvPr/>
            </p:nvSpPr>
            <p:spPr>
              <a:xfrm>
                <a:off x="7763356" y="2780178"/>
                <a:ext cx="7834" cy="17403"/>
              </a:xfrm>
              <a:custGeom>
                <a:avLst/>
                <a:gdLst>
                  <a:gd name="connsiteX0" fmla="*/ 7835 w 7834"/>
                  <a:gd name="connsiteY0" fmla="*/ 17404 h 17403"/>
                  <a:gd name="connsiteX1" fmla="*/ 0 w 7834"/>
                  <a:gd name="connsiteY1" fmla="*/ 0 h 17403"/>
                </a:gdLst>
                <a:ahLst/>
                <a:cxnLst>
                  <a:cxn ang="0">
                    <a:pos x="connsiteX0" y="connsiteY0"/>
                  </a:cxn>
                  <a:cxn ang="0">
                    <a:pos x="connsiteX1" y="connsiteY1"/>
                  </a:cxn>
                </a:cxnLst>
                <a:rect l="l" t="t" r="r" b="b"/>
                <a:pathLst>
                  <a:path w="7834" h="17403">
                    <a:moveTo>
                      <a:pt x="7835" y="17404"/>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21" name="Vrije vorm: vorm 6320">
                <a:extLst>
                  <a:ext uri="{FF2B5EF4-FFF2-40B4-BE49-F238E27FC236}">
                    <a16:creationId xmlns:a16="http://schemas.microsoft.com/office/drawing/2014/main" id="{D050CC63-F9F4-4496-8CD1-F24F55B22EC3}"/>
                  </a:ext>
                </a:extLst>
              </p:cNvPr>
              <p:cNvSpPr/>
              <p:nvPr/>
            </p:nvSpPr>
            <p:spPr>
              <a:xfrm>
                <a:off x="7771190" y="2797582"/>
                <a:ext cx="4605" cy="358"/>
              </a:xfrm>
              <a:custGeom>
                <a:avLst/>
                <a:gdLst>
                  <a:gd name="connsiteX0" fmla="*/ 0 w 4605"/>
                  <a:gd name="connsiteY0" fmla="*/ 0 h 358"/>
                  <a:gd name="connsiteX1" fmla="*/ 4605 w 4605"/>
                  <a:gd name="connsiteY1" fmla="*/ 359 h 358"/>
                </a:gdLst>
                <a:ahLst/>
                <a:cxnLst>
                  <a:cxn ang="0">
                    <a:pos x="connsiteX0" y="connsiteY0"/>
                  </a:cxn>
                  <a:cxn ang="0">
                    <a:pos x="connsiteX1" y="connsiteY1"/>
                  </a:cxn>
                </a:cxnLst>
                <a:rect l="l" t="t" r="r" b="b"/>
                <a:pathLst>
                  <a:path w="4605" h="358">
                    <a:moveTo>
                      <a:pt x="0" y="0"/>
                    </a:moveTo>
                    <a:lnTo>
                      <a:pt x="4605" y="359"/>
                    </a:lnTo>
                  </a:path>
                </a:pathLst>
              </a:custGeom>
              <a:ln w="6350" cap="rnd">
                <a:solidFill>
                  <a:schemeClr val="bg1">
                    <a:alpha val="80000"/>
                  </a:schemeClr>
                </a:solidFill>
                <a:prstDash val="solid"/>
                <a:round/>
              </a:ln>
            </p:spPr>
            <p:txBody>
              <a:bodyPr rtlCol="0" anchor="ctr"/>
              <a:lstStyle/>
              <a:p>
                <a:endParaRPr lang="en-GB"/>
              </a:p>
            </p:txBody>
          </p:sp>
          <p:sp>
            <p:nvSpPr>
              <p:cNvPr id="6322" name="Vrije vorm: vorm 6321">
                <a:extLst>
                  <a:ext uri="{FF2B5EF4-FFF2-40B4-BE49-F238E27FC236}">
                    <a16:creationId xmlns:a16="http://schemas.microsoft.com/office/drawing/2014/main" id="{434BBC9A-7EF5-4541-9B8D-431BC71B2F7F}"/>
                  </a:ext>
                </a:extLst>
              </p:cNvPr>
              <p:cNvSpPr/>
              <p:nvPr/>
            </p:nvSpPr>
            <p:spPr>
              <a:xfrm>
                <a:off x="7745354" y="2790346"/>
                <a:ext cx="25836" cy="7236"/>
              </a:xfrm>
              <a:custGeom>
                <a:avLst/>
                <a:gdLst>
                  <a:gd name="connsiteX0" fmla="*/ 25837 w 25836"/>
                  <a:gd name="connsiteY0" fmla="*/ 7237 h 7236"/>
                  <a:gd name="connsiteX1" fmla="*/ 0 w 25836"/>
                  <a:gd name="connsiteY1" fmla="*/ 0 h 7236"/>
                </a:gdLst>
                <a:ahLst/>
                <a:cxnLst>
                  <a:cxn ang="0">
                    <a:pos x="connsiteX0" y="connsiteY0"/>
                  </a:cxn>
                  <a:cxn ang="0">
                    <a:pos x="connsiteX1" y="connsiteY1"/>
                  </a:cxn>
                </a:cxnLst>
                <a:rect l="l" t="t" r="r" b="b"/>
                <a:pathLst>
                  <a:path w="25836" h="7236">
                    <a:moveTo>
                      <a:pt x="25837" y="7237"/>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23" name="Vrije vorm: vorm 6322">
                <a:extLst>
                  <a:ext uri="{FF2B5EF4-FFF2-40B4-BE49-F238E27FC236}">
                    <a16:creationId xmlns:a16="http://schemas.microsoft.com/office/drawing/2014/main" id="{6003B038-8159-4CBC-AEC7-56945EF86FD2}"/>
                  </a:ext>
                </a:extLst>
              </p:cNvPr>
              <p:cNvSpPr/>
              <p:nvPr/>
            </p:nvSpPr>
            <p:spPr>
              <a:xfrm>
                <a:off x="7770353" y="2780059"/>
                <a:ext cx="837" cy="17523"/>
              </a:xfrm>
              <a:custGeom>
                <a:avLst/>
                <a:gdLst>
                  <a:gd name="connsiteX0" fmla="*/ 838 w 837"/>
                  <a:gd name="connsiteY0" fmla="*/ 17523 h 17523"/>
                  <a:gd name="connsiteX1" fmla="*/ 0 w 837"/>
                  <a:gd name="connsiteY1" fmla="*/ 0 h 17523"/>
                </a:gdLst>
                <a:ahLst/>
                <a:cxnLst>
                  <a:cxn ang="0">
                    <a:pos x="connsiteX0" y="connsiteY0"/>
                  </a:cxn>
                  <a:cxn ang="0">
                    <a:pos x="connsiteX1" y="connsiteY1"/>
                  </a:cxn>
                </a:cxnLst>
                <a:rect l="l" t="t" r="r" b="b"/>
                <a:pathLst>
                  <a:path w="837" h="17523">
                    <a:moveTo>
                      <a:pt x="838" y="17523"/>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24" name="Vrije vorm: vorm 6323">
                <a:extLst>
                  <a:ext uri="{FF2B5EF4-FFF2-40B4-BE49-F238E27FC236}">
                    <a16:creationId xmlns:a16="http://schemas.microsoft.com/office/drawing/2014/main" id="{9C2B7A10-09B9-447F-9222-F49DECC4AC0B}"/>
                  </a:ext>
                </a:extLst>
              </p:cNvPr>
              <p:cNvSpPr/>
              <p:nvPr/>
            </p:nvSpPr>
            <p:spPr>
              <a:xfrm>
                <a:off x="7533756" y="2744115"/>
                <a:ext cx="5442" cy="13456"/>
              </a:xfrm>
              <a:custGeom>
                <a:avLst/>
                <a:gdLst>
                  <a:gd name="connsiteX0" fmla="*/ 0 w 5442"/>
                  <a:gd name="connsiteY0" fmla="*/ 13457 h 13456"/>
                  <a:gd name="connsiteX1" fmla="*/ 5442 w 5442"/>
                  <a:gd name="connsiteY1" fmla="*/ 0 h 13456"/>
                </a:gdLst>
                <a:ahLst/>
                <a:cxnLst>
                  <a:cxn ang="0">
                    <a:pos x="connsiteX0" y="connsiteY0"/>
                  </a:cxn>
                  <a:cxn ang="0">
                    <a:pos x="connsiteX1" y="connsiteY1"/>
                  </a:cxn>
                </a:cxnLst>
                <a:rect l="l" t="t" r="r" b="b"/>
                <a:pathLst>
                  <a:path w="5442" h="13456">
                    <a:moveTo>
                      <a:pt x="0" y="13457"/>
                    </a:moveTo>
                    <a:lnTo>
                      <a:pt x="5442" y="0"/>
                    </a:lnTo>
                  </a:path>
                </a:pathLst>
              </a:custGeom>
              <a:ln w="6350" cap="rnd">
                <a:solidFill>
                  <a:schemeClr val="bg1">
                    <a:alpha val="80000"/>
                  </a:schemeClr>
                </a:solidFill>
                <a:prstDash val="solid"/>
                <a:round/>
              </a:ln>
            </p:spPr>
            <p:txBody>
              <a:bodyPr rtlCol="0" anchor="ctr"/>
              <a:lstStyle/>
              <a:p>
                <a:endParaRPr lang="en-GB"/>
              </a:p>
            </p:txBody>
          </p:sp>
          <p:sp>
            <p:nvSpPr>
              <p:cNvPr id="6325" name="Vrije vorm: vorm 6324">
                <a:extLst>
                  <a:ext uri="{FF2B5EF4-FFF2-40B4-BE49-F238E27FC236}">
                    <a16:creationId xmlns:a16="http://schemas.microsoft.com/office/drawing/2014/main" id="{0281086F-73EB-4ED7-A74D-356FEE22C5B7}"/>
                  </a:ext>
                </a:extLst>
              </p:cNvPr>
              <p:cNvSpPr/>
              <p:nvPr/>
            </p:nvSpPr>
            <p:spPr>
              <a:xfrm>
                <a:off x="7533756" y="2740825"/>
                <a:ext cx="1315" cy="16746"/>
              </a:xfrm>
              <a:custGeom>
                <a:avLst/>
                <a:gdLst>
                  <a:gd name="connsiteX0" fmla="*/ 0 w 1315"/>
                  <a:gd name="connsiteY0" fmla="*/ 16746 h 16746"/>
                  <a:gd name="connsiteX1" fmla="*/ 1315 w 1315"/>
                  <a:gd name="connsiteY1" fmla="*/ 0 h 16746"/>
                </a:gdLst>
                <a:ahLst/>
                <a:cxnLst>
                  <a:cxn ang="0">
                    <a:pos x="connsiteX0" y="connsiteY0"/>
                  </a:cxn>
                  <a:cxn ang="0">
                    <a:pos x="connsiteX1" y="connsiteY1"/>
                  </a:cxn>
                </a:cxnLst>
                <a:rect l="l" t="t" r="r" b="b"/>
                <a:pathLst>
                  <a:path w="1315" h="16746">
                    <a:moveTo>
                      <a:pt x="0" y="16746"/>
                    </a:moveTo>
                    <a:lnTo>
                      <a:pt x="1315" y="0"/>
                    </a:lnTo>
                  </a:path>
                </a:pathLst>
              </a:custGeom>
              <a:ln w="6350" cap="rnd">
                <a:solidFill>
                  <a:schemeClr val="bg1">
                    <a:alpha val="80000"/>
                  </a:schemeClr>
                </a:solidFill>
                <a:prstDash val="solid"/>
                <a:round/>
              </a:ln>
            </p:spPr>
            <p:txBody>
              <a:bodyPr rtlCol="0" anchor="ctr"/>
              <a:lstStyle/>
              <a:p>
                <a:endParaRPr lang="en-GB"/>
              </a:p>
            </p:txBody>
          </p:sp>
          <p:sp>
            <p:nvSpPr>
              <p:cNvPr id="6326" name="Vrije vorm: vorm 6325">
                <a:extLst>
                  <a:ext uri="{FF2B5EF4-FFF2-40B4-BE49-F238E27FC236}">
                    <a16:creationId xmlns:a16="http://schemas.microsoft.com/office/drawing/2014/main" id="{916C83D2-2076-42A3-B52B-8B41C8847BC5}"/>
                  </a:ext>
                </a:extLst>
              </p:cNvPr>
              <p:cNvSpPr/>
              <p:nvPr/>
            </p:nvSpPr>
            <p:spPr>
              <a:xfrm>
                <a:off x="7523828" y="2742620"/>
                <a:ext cx="5382" cy="4485"/>
              </a:xfrm>
              <a:custGeom>
                <a:avLst/>
                <a:gdLst>
                  <a:gd name="connsiteX0" fmla="*/ 0 w 5382"/>
                  <a:gd name="connsiteY0" fmla="*/ 4485 h 4485"/>
                  <a:gd name="connsiteX1" fmla="*/ 5382 w 5382"/>
                  <a:gd name="connsiteY1" fmla="*/ 0 h 4485"/>
                </a:gdLst>
                <a:ahLst/>
                <a:cxnLst>
                  <a:cxn ang="0">
                    <a:pos x="connsiteX0" y="connsiteY0"/>
                  </a:cxn>
                  <a:cxn ang="0">
                    <a:pos x="connsiteX1" y="connsiteY1"/>
                  </a:cxn>
                </a:cxnLst>
                <a:rect l="l" t="t" r="r" b="b"/>
                <a:pathLst>
                  <a:path w="5382" h="4485">
                    <a:moveTo>
                      <a:pt x="0" y="4485"/>
                    </a:moveTo>
                    <a:lnTo>
                      <a:pt x="5382" y="0"/>
                    </a:lnTo>
                  </a:path>
                </a:pathLst>
              </a:custGeom>
              <a:ln w="6350" cap="rnd">
                <a:solidFill>
                  <a:schemeClr val="bg1">
                    <a:alpha val="80000"/>
                  </a:schemeClr>
                </a:solidFill>
                <a:prstDash val="solid"/>
                <a:round/>
              </a:ln>
            </p:spPr>
            <p:txBody>
              <a:bodyPr rtlCol="0" anchor="ctr"/>
              <a:lstStyle/>
              <a:p>
                <a:endParaRPr lang="en-GB"/>
              </a:p>
            </p:txBody>
          </p:sp>
          <p:sp>
            <p:nvSpPr>
              <p:cNvPr id="6327" name="Vrije vorm: vorm 6326">
                <a:extLst>
                  <a:ext uri="{FF2B5EF4-FFF2-40B4-BE49-F238E27FC236}">
                    <a16:creationId xmlns:a16="http://schemas.microsoft.com/office/drawing/2014/main" id="{B1F97B6E-B3C2-48CD-AA71-DBF296B588CA}"/>
                  </a:ext>
                </a:extLst>
              </p:cNvPr>
              <p:cNvSpPr/>
              <p:nvPr/>
            </p:nvSpPr>
            <p:spPr>
              <a:xfrm>
                <a:off x="7523828" y="2747105"/>
                <a:ext cx="9927" cy="10466"/>
              </a:xfrm>
              <a:custGeom>
                <a:avLst/>
                <a:gdLst>
                  <a:gd name="connsiteX0" fmla="*/ 0 w 9927"/>
                  <a:gd name="connsiteY0" fmla="*/ 0 h 10466"/>
                  <a:gd name="connsiteX1" fmla="*/ 9928 w 9927"/>
                  <a:gd name="connsiteY1" fmla="*/ 10466 h 10466"/>
                </a:gdLst>
                <a:ahLst/>
                <a:cxnLst>
                  <a:cxn ang="0">
                    <a:pos x="connsiteX0" y="connsiteY0"/>
                  </a:cxn>
                  <a:cxn ang="0">
                    <a:pos x="connsiteX1" y="connsiteY1"/>
                  </a:cxn>
                </a:cxnLst>
                <a:rect l="l" t="t" r="r" b="b"/>
                <a:pathLst>
                  <a:path w="9927" h="10466">
                    <a:moveTo>
                      <a:pt x="0" y="0"/>
                    </a:moveTo>
                    <a:lnTo>
                      <a:pt x="9928" y="10466"/>
                    </a:lnTo>
                  </a:path>
                </a:pathLst>
              </a:custGeom>
              <a:ln w="6350" cap="rnd">
                <a:solidFill>
                  <a:schemeClr val="bg1">
                    <a:alpha val="80000"/>
                  </a:schemeClr>
                </a:solidFill>
                <a:prstDash val="solid"/>
                <a:round/>
              </a:ln>
            </p:spPr>
            <p:txBody>
              <a:bodyPr rtlCol="0" anchor="ctr"/>
              <a:lstStyle/>
              <a:p>
                <a:endParaRPr lang="en-GB"/>
              </a:p>
            </p:txBody>
          </p:sp>
          <p:sp>
            <p:nvSpPr>
              <p:cNvPr id="6328" name="Vrije vorm: vorm 6327">
                <a:extLst>
                  <a:ext uri="{FF2B5EF4-FFF2-40B4-BE49-F238E27FC236}">
                    <a16:creationId xmlns:a16="http://schemas.microsoft.com/office/drawing/2014/main" id="{44161206-559F-4FAB-88A4-3F80C5664944}"/>
                  </a:ext>
                </a:extLst>
              </p:cNvPr>
              <p:cNvSpPr/>
              <p:nvPr/>
            </p:nvSpPr>
            <p:spPr>
              <a:xfrm>
                <a:off x="7578312" y="2700575"/>
                <a:ext cx="2033" cy="15131"/>
              </a:xfrm>
              <a:custGeom>
                <a:avLst/>
                <a:gdLst>
                  <a:gd name="connsiteX0" fmla="*/ 2034 w 2033"/>
                  <a:gd name="connsiteY0" fmla="*/ 15131 h 15131"/>
                  <a:gd name="connsiteX1" fmla="*/ 0 w 2033"/>
                  <a:gd name="connsiteY1" fmla="*/ 0 h 15131"/>
                </a:gdLst>
                <a:ahLst/>
                <a:cxnLst>
                  <a:cxn ang="0">
                    <a:pos x="connsiteX0" y="connsiteY0"/>
                  </a:cxn>
                  <a:cxn ang="0">
                    <a:pos x="connsiteX1" y="connsiteY1"/>
                  </a:cxn>
                </a:cxnLst>
                <a:rect l="l" t="t" r="r" b="b"/>
                <a:pathLst>
                  <a:path w="2033" h="15131">
                    <a:moveTo>
                      <a:pt x="2034" y="15131"/>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29" name="Vrije vorm: vorm 6328">
                <a:extLst>
                  <a:ext uri="{FF2B5EF4-FFF2-40B4-BE49-F238E27FC236}">
                    <a16:creationId xmlns:a16="http://schemas.microsoft.com/office/drawing/2014/main" id="{6E357839-6DCA-4231-84E4-F2C8E9742A6E}"/>
                  </a:ext>
                </a:extLst>
              </p:cNvPr>
              <p:cNvSpPr/>
              <p:nvPr/>
            </p:nvSpPr>
            <p:spPr>
              <a:xfrm>
                <a:off x="7580345" y="2709905"/>
                <a:ext cx="8133" cy="5801"/>
              </a:xfrm>
              <a:custGeom>
                <a:avLst/>
                <a:gdLst>
                  <a:gd name="connsiteX0" fmla="*/ 0 w 8133"/>
                  <a:gd name="connsiteY0" fmla="*/ 5801 h 5801"/>
                  <a:gd name="connsiteX1" fmla="*/ 8134 w 8133"/>
                  <a:gd name="connsiteY1" fmla="*/ 0 h 5801"/>
                </a:gdLst>
                <a:ahLst/>
                <a:cxnLst>
                  <a:cxn ang="0">
                    <a:pos x="connsiteX0" y="connsiteY0"/>
                  </a:cxn>
                  <a:cxn ang="0">
                    <a:pos x="connsiteX1" y="connsiteY1"/>
                  </a:cxn>
                </a:cxnLst>
                <a:rect l="l" t="t" r="r" b="b"/>
                <a:pathLst>
                  <a:path w="8133" h="5801">
                    <a:moveTo>
                      <a:pt x="0" y="5801"/>
                    </a:moveTo>
                    <a:lnTo>
                      <a:pt x="8134" y="0"/>
                    </a:lnTo>
                  </a:path>
                </a:pathLst>
              </a:custGeom>
              <a:ln w="6350" cap="rnd">
                <a:solidFill>
                  <a:schemeClr val="bg1">
                    <a:alpha val="80000"/>
                  </a:schemeClr>
                </a:solidFill>
                <a:prstDash val="solid"/>
                <a:round/>
              </a:ln>
            </p:spPr>
            <p:txBody>
              <a:bodyPr rtlCol="0" anchor="ctr"/>
              <a:lstStyle/>
              <a:p>
                <a:endParaRPr lang="en-GB"/>
              </a:p>
            </p:txBody>
          </p:sp>
          <p:sp>
            <p:nvSpPr>
              <p:cNvPr id="6330" name="Vrije vorm: vorm 6329">
                <a:extLst>
                  <a:ext uri="{FF2B5EF4-FFF2-40B4-BE49-F238E27FC236}">
                    <a16:creationId xmlns:a16="http://schemas.microsoft.com/office/drawing/2014/main" id="{A17DFF7E-5070-44C5-BF6F-33CA3FAB500E}"/>
                  </a:ext>
                </a:extLst>
              </p:cNvPr>
              <p:cNvSpPr/>
              <p:nvPr/>
            </p:nvSpPr>
            <p:spPr>
              <a:xfrm>
                <a:off x="7580345" y="2715706"/>
                <a:ext cx="9030" cy="1076"/>
              </a:xfrm>
              <a:custGeom>
                <a:avLst/>
                <a:gdLst>
                  <a:gd name="connsiteX0" fmla="*/ 0 w 9030"/>
                  <a:gd name="connsiteY0" fmla="*/ 0 h 1076"/>
                  <a:gd name="connsiteX1" fmla="*/ 9031 w 9030"/>
                  <a:gd name="connsiteY1" fmla="*/ 1076 h 1076"/>
                </a:gdLst>
                <a:ahLst/>
                <a:cxnLst>
                  <a:cxn ang="0">
                    <a:pos x="connsiteX0" y="connsiteY0"/>
                  </a:cxn>
                  <a:cxn ang="0">
                    <a:pos x="connsiteX1" y="connsiteY1"/>
                  </a:cxn>
                </a:cxnLst>
                <a:rect l="l" t="t" r="r" b="b"/>
                <a:pathLst>
                  <a:path w="9030" h="1076">
                    <a:moveTo>
                      <a:pt x="0" y="0"/>
                    </a:moveTo>
                    <a:lnTo>
                      <a:pt x="9031" y="1076"/>
                    </a:lnTo>
                  </a:path>
                </a:pathLst>
              </a:custGeom>
              <a:ln w="6350" cap="rnd">
                <a:solidFill>
                  <a:schemeClr val="bg1">
                    <a:alpha val="80000"/>
                  </a:schemeClr>
                </a:solidFill>
                <a:prstDash val="solid"/>
                <a:round/>
              </a:ln>
            </p:spPr>
            <p:txBody>
              <a:bodyPr rtlCol="0" anchor="ctr"/>
              <a:lstStyle/>
              <a:p>
                <a:endParaRPr lang="en-GB"/>
              </a:p>
            </p:txBody>
          </p:sp>
          <p:sp>
            <p:nvSpPr>
              <p:cNvPr id="6331" name="Vrije vorm: vorm 6330">
                <a:extLst>
                  <a:ext uri="{FF2B5EF4-FFF2-40B4-BE49-F238E27FC236}">
                    <a16:creationId xmlns:a16="http://schemas.microsoft.com/office/drawing/2014/main" id="{963D5461-5D86-47F7-AA86-4D9B67464104}"/>
                  </a:ext>
                </a:extLst>
              </p:cNvPr>
              <p:cNvSpPr/>
              <p:nvPr/>
            </p:nvSpPr>
            <p:spPr>
              <a:xfrm>
                <a:off x="7637282" y="2717201"/>
                <a:ext cx="17882" cy="3409"/>
              </a:xfrm>
              <a:custGeom>
                <a:avLst/>
                <a:gdLst>
                  <a:gd name="connsiteX0" fmla="*/ 0 w 17882"/>
                  <a:gd name="connsiteY0" fmla="*/ 3409 h 3409"/>
                  <a:gd name="connsiteX1" fmla="*/ 17882 w 17882"/>
                  <a:gd name="connsiteY1" fmla="*/ 0 h 3409"/>
                </a:gdLst>
                <a:ahLst/>
                <a:cxnLst>
                  <a:cxn ang="0">
                    <a:pos x="connsiteX0" y="connsiteY0"/>
                  </a:cxn>
                  <a:cxn ang="0">
                    <a:pos x="connsiteX1" y="connsiteY1"/>
                  </a:cxn>
                </a:cxnLst>
                <a:rect l="l" t="t" r="r" b="b"/>
                <a:pathLst>
                  <a:path w="17882" h="3409">
                    <a:moveTo>
                      <a:pt x="0" y="3409"/>
                    </a:moveTo>
                    <a:lnTo>
                      <a:pt x="17882" y="0"/>
                    </a:lnTo>
                  </a:path>
                </a:pathLst>
              </a:custGeom>
              <a:ln w="6350" cap="rnd">
                <a:solidFill>
                  <a:schemeClr val="bg1">
                    <a:alpha val="80000"/>
                  </a:schemeClr>
                </a:solidFill>
                <a:prstDash val="solid"/>
                <a:round/>
              </a:ln>
            </p:spPr>
            <p:txBody>
              <a:bodyPr rtlCol="0" anchor="ctr"/>
              <a:lstStyle/>
              <a:p>
                <a:endParaRPr lang="en-GB"/>
              </a:p>
            </p:txBody>
          </p:sp>
          <p:sp>
            <p:nvSpPr>
              <p:cNvPr id="6332" name="Vrije vorm: vorm 6331">
                <a:extLst>
                  <a:ext uri="{FF2B5EF4-FFF2-40B4-BE49-F238E27FC236}">
                    <a16:creationId xmlns:a16="http://schemas.microsoft.com/office/drawing/2014/main" id="{70DF7037-951A-4465-8BE7-0295144C3128}"/>
                  </a:ext>
                </a:extLst>
              </p:cNvPr>
              <p:cNvSpPr/>
              <p:nvPr/>
            </p:nvSpPr>
            <p:spPr>
              <a:xfrm>
                <a:off x="7624962" y="2720610"/>
                <a:ext cx="12320" cy="13037"/>
              </a:xfrm>
              <a:custGeom>
                <a:avLst/>
                <a:gdLst>
                  <a:gd name="connsiteX0" fmla="*/ 12320 w 12320"/>
                  <a:gd name="connsiteY0" fmla="*/ 0 h 13037"/>
                  <a:gd name="connsiteX1" fmla="*/ 0 w 12320"/>
                  <a:gd name="connsiteY1" fmla="*/ 13038 h 13037"/>
                </a:gdLst>
                <a:ahLst/>
                <a:cxnLst>
                  <a:cxn ang="0">
                    <a:pos x="connsiteX0" y="connsiteY0"/>
                  </a:cxn>
                  <a:cxn ang="0">
                    <a:pos x="connsiteX1" y="connsiteY1"/>
                  </a:cxn>
                </a:cxnLst>
                <a:rect l="l" t="t" r="r" b="b"/>
                <a:pathLst>
                  <a:path w="12320" h="13037">
                    <a:moveTo>
                      <a:pt x="12320" y="0"/>
                    </a:moveTo>
                    <a:lnTo>
                      <a:pt x="0" y="13038"/>
                    </a:lnTo>
                  </a:path>
                </a:pathLst>
              </a:custGeom>
              <a:ln w="6350" cap="rnd">
                <a:solidFill>
                  <a:schemeClr val="bg1">
                    <a:alpha val="80000"/>
                  </a:schemeClr>
                </a:solidFill>
                <a:prstDash val="solid"/>
                <a:round/>
              </a:ln>
            </p:spPr>
            <p:txBody>
              <a:bodyPr rtlCol="0" anchor="ctr"/>
              <a:lstStyle/>
              <a:p>
                <a:endParaRPr lang="en-GB"/>
              </a:p>
            </p:txBody>
          </p:sp>
          <p:sp>
            <p:nvSpPr>
              <p:cNvPr id="6333" name="Vrije vorm: vorm 6332">
                <a:extLst>
                  <a:ext uri="{FF2B5EF4-FFF2-40B4-BE49-F238E27FC236}">
                    <a16:creationId xmlns:a16="http://schemas.microsoft.com/office/drawing/2014/main" id="{29A0AA63-B2DA-43F3-8087-11F1CD2EC3D2}"/>
                  </a:ext>
                </a:extLst>
              </p:cNvPr>
              <p:cNvSpPr/>
              <p:nvPr/>
            </p:nvSpPr>
            <p:spPr>
              <a:xfrm>
                <a:off x="7637282" y="2704463"/>
                <a:ext cx="3528" cy="16147"/>
              </a:xfrm>
              <a:custGeom>
                <a:avLst/>
                <a:gdLst>
                  <a:gd name="connsiteX0" fmla="*/ 0 w 3528"/>
                  <a:gd name="connsiteY0" fmla="*/ 16148 h 16147"/>
                  <a:gd name="connsiteX1" fmla="*/ 3529 w 3528"/>
                  <a:gd name="connsiteY1" fmla="*/ 0 h 16147"/>
                </a:gdLst>
                <a:ahLst/>
                <a:cxnLst>
                  <a:cxn ang="0">
                    <a:pos x="connsiteX0" y="connsiteY0"/>
                  </a:cxn>
                  <a:cxn ang="0">
                    <a:pos x="connsiteX1" y="connsiteY1"/>
                  </a:cxn>
                </a:cxnLst>
                <a:rect l="l" t="t" r="r" b="b"/>
                <a:pathLst>
                  <a:path w="3528" h="16147">
                    <a:moveTo>
                      <a:pt x="0" y="16148"/>
                    </a:moveTo>
                    <a:lnTo>
                      <a:pt x="3529" y="0"/>
                    </a:lnTo>
                  </a:path>
                </a:pathLst>
              </a:custGeom>
              <a:ln w="6350" cap="rnd">
                <a:solidFill>
                  <a:schemeClr val="bg1">
                    <a:alpha val="80000"/>
                  </a:schemeClr>
                </a:solidFill>
                <a:prstDash val="solid"/>
                <a:round/>
              </a:ln>
            </p:spPr>
            <p:txBody>
              <a:bodyPr rtlCol="0" anchor="ctr"/>
              <a:lstStyle/>
              <a:p>
                <a:endParaRPr lang="en-GB"/>
              </a:p>
            </p:txBody>
          </p:sp>
          <p:sp>
            <p:nvSpPr>
              <p:cNvPr id="6334" name="Vrije vorm: vorm 6333">
                <a:extLst>
                  <a:ext uri="{FF2B5EF4-FFF2-40B4-BE49-F238E27FC236}">
                    <a16:creationId xmlns:a16="http://schemas.microsoft.com/office/drawing/2014/main" id="{961EAF84-16B4-499C-B33D-4972A24FDDD8}"/>
                  </a:ext>
                </a:extLst>
              </p:cNvPr>
              <p:cNvSpPr/>
              <p:nvPr/>
            </p:nvSpPr>
            <p:spPr>
              <a:xfrm>
                <a:off x="7634112" y="2720610"/>
                <a:ext cx="3169" cy="15609"/>
              </a:xfrm>
              <a:custGeom>
                <a:avLst/>
                <a:gdLst>
                  <a:gd name="connsiteX0" fmla="*/ 3170 w 3169"/>
                  <a:gd name="connsiteY0" fmla="*/ 0 h 15609"/>
                  <a:gd name="connsiteX1" fmla="*/ 0 w 3169"/>
                  <a:gd name="connsiteY1" fmla="*/ 15610 h 15609"/>
                </a:gdLst>
                <a:ahLst/>
                <a:cxnLst>
                  <a:cxn ang="0">
                    <a:pos x="connsiteX0" y="connsiteY0"/>
                  </a:cxn>
                  <a:cxn ang="0">
                    <a:pos x="connsiteX1" y="connsiteY1"/>
                  </a:cxn>
                </a:cxnLst>
                <a:rect l="l" t="t" r="r" b="b"/>
                <a:pathLst>
                  <a:path w="3169" h="15609">
                    <a:moveTo>
                      <a:pt x="3170" y="0"/>
                    </a:moveTo>
                    <a:lnTo>
                      <a:pt x="0" y="15610"/>
                    </a:lnTo>
                  </a:path>
                </a:pathLst>
              </a:custGeom>
              <a:ln w="6350" cap="rnd">
                <a:solidFill>
                  <a:schemeClr val="bg1">
                    <a:alpha val="80000"/>
                  </a:schemeClr>
                </a:solidFill>
                <a:prstDash val="solid"/>
                <a:round/>
              </a:ln>
            </p:spPr>
            <p:txBody>
              <a:bodyPr rtlCol="0" anchor="ctr"/>
              <a:lstStyle/>
              <a:p>
                <a:endParaRPr lang="en-GB"/>
              </a:p>
            </p:txBody>
          </p:sp>
          <p:sp>
            <p:nvSpPr>
              <p:cNvPr id="6335" name="Vrije vorm: vorm 6334">
                <a:extLst>
                  <a:ext uri="{FF2B5EF4-FFF2-40B4-BE49-F238E27FC236}">
                    <a16:creationId xmlns:a16="http://schemas.microsoft.com/office/drawing/2014/main" id="{031E6EC4-45AD-4074-B197-349F8A5CEA17}"/>
                  </a:ext>
                </a:extLst>
              </p:cNvPr>
              <p:cNvSpPr/>
              <p:nvPr/>
            </p:nvSpPr>
            <p:spPr>
              <a:xfrm>
                <a:off x="7617605" y="2720610"/>
                <a:ext cx="19676" cy="2153"/>
              </a:xfrm>
              <a:custGeom>
                <a:avLst/>
                <a:gdLst>
                  <a:gd name="connsiteX0" fmla="*/ 19677 w 19676"/>
                  <a:gd name="connsiteY0" fmla="*/ 0 h 2153"/>
                  <a:gd name="connsiteX1" fmla="*/ 0 w 19676"/>
                  <a:gd name="connsiteY1" fmla="*/ 2153 h 2153"/>
                </a:gdLst>
                <a:ahLst/>
                <a:cxnLst>
                  <a:cxn ang="0">
                    <a:pos x="connsiteX0" y="connsiteY0"/>
                  </a:cxn>
                  <a:cxn ang="0">
                    <a:pos x="connsiteX1" y="connsiteY1"/>
                  </a:cxn>
                </a:cxnLst>
                <a:rect l="l" t="t" r="r" b="b"/>
                <a:pathLst>
                  <a:path w="19676" h="2153">
                    <a:moveTo>
                      <a:pt x="19677" y="0"/>
                    </a:moveTo>
                    <a:lnTo>
                      <a:pt x="0" y="2153"/>
                    </a:lnTo>
                  </a:path>
                </a:pathLst>
              </a:custGeom>
              <a:ln w="6350" cap="rnd">
                <a:solidFill>
                  <a:schemeClr val="bg1">
                    <a:alpha val="80000"/>
                  </a:schemeClr>
                </a:solidFill>
                <a:prstDash val="solid"/>
                <a:round/>
              </a:ln>
            </p:spPr>
            <p:txBody>
              <a:bodyPr rtlCol="0" anchor="ctr"/>
              <a:lstStyle/>
              <a:p>
                <a:endParaRPr lang="en-GB"/>
              </a:p>
            </p:txBody>
          </p:sp>
          <p:sp>
            <p:nvSpPr>
              <p:cNvPr id="6336" name="Vrije vorm: vorm 6335">
                <a:extLst>
                  <a:ext uri="{FF2B5EF4-FFF2-40B4-BE49-F238E27FC236}">
                    <a16:creationId xmlns:a16="http://schemas.microsoft.com/office/drawing/2014/main" id="{3E4645B9-841D-4008-AF4C-68877616160F}"/>
                  </a:ext>
                </a:extLst>
              </p:cNvPr>
              <p:cNvSpPr/>
              <p:nvPr/>
            </p:nvSpPr>
            <p:spPr>
              <a:xfrm>
                <a:off x="7742782" y="2797881"/>
                <a:ext cx="2452" cy="21052"/>
              </a:xfrm>
              <a:custGeom>
                <a:avLst/>
                <a:gdLst>
                  <a:gd name="connsiteX0" fmla="*/ 0 w 2452"/>
                  <a:gd name="connsiteY0" fmla="*/ 0 h 21052"/>
                  <a:gd name="connsiteX1" fmla="*/ 2452 w 2452"/>
                  <a:gd name="connsiteY1" fmla="*/ 21052 h 21052"/>
                </a:gdLst>
                <a:ahLst/>
                <a:cxnLst>
                  <a:cxn ang="0">
                    <a:pos x="connsiteX0" y="connsiteY0"/>
                  </a:cxn>
                  <a:cxn ang="0">
                    <a:pos x="connsiteX1" y="connsiteY1"/>
                  </a:cxn>
                </a:cxnLst>
                <a:rect l="l" t="t" r="r" b="b"/>
                <a:pathLst>
                  <a:path w="2452" h="21052">
                    <a:moveTo>
                      <a:pt x="0" y="0"/>
                    </a:moveTo>
                    <a:lnTo>
                      <a:pt x="2452" y="21052"/>
                    </a:lnTo>
                  </a:path>
                </a:pathLst>
              </a:custGeom>
              <a:ln w="6350" cap="rnd">
                <a:solidFill>
                  <a:schemeClr val="bg1">
                    <a:alpha val="80000"/>
                  </a:schemeClr>
                </a:solidFill>
                <a:prstDash val="solid"/>
                <a:round/>
              </a:ln>
            </p:spPr>
            <p:txBody>
              <a:bodyPr rtlCol="0" anchor="ctr"/>
              <a:lstStyle/>
              <a:p>
                <a:endParaRPr lang="en-GB"/>
              </a:p>
            </p:txBody>
          </p:sp>
          <p:sp>
            <p:nvSpPr>
              <p:cNvPr id="6337" name="Vrije vorm: vorm 6336">
                <a:extLst>
                  <a:ext uri="{FF2B5EF4-FFF2-40B4-BE49-F238E27FC236}">
                    <a16:creationId xmlns:a16="http://schemas.microsoft.com/office/drawing/2014/main" id="{1D0C717C-40F0-43F6-B74B-AE43A0BA368F}"/>
                  </a:ext>
                </a:extLst>
              </p:cNvPr>
              <p:cNvSpPr/>
              <p:nvPr/>
            </p:nvSpPr>
            <p:spPr>
              <a:xfrm>
                <a:off x="7728129" y="2777068"/>
                <a:ext cx="14652" cy="20812"/>
              </a:xfrm>
              <a:custGeom>
                <a:avLst/>
                <a:gdLst>
                  <a:gd name="connsiteX0" fmla="*/ 14653 w 14652"/>
                  <a:gd name="connsiteY0" fmla="*/ 20813 h 20812"/>
                  <a:gd name="connsiteX1" fmla="*/ 0 w 14652"/>
                  <a:gd name="connsiteY1" fmla="*/ 0 h 20812"/>
                </a:gdLst>
                <a:ahLst/>
                <a:cxnLst>
                  <a:cxn ang="0">
                    <a:pos x="connsiteX0" y="connsiteY0"/>
                  </a:cxn>
                  <a:cxn ang="0">
                    <a:pos x="connsiteX1" y="connsiteY1"/>
                  </a:cxn>
                </a:cxnLst>
                <a:rect l="l" t="t" r="r" b="b"/>
                <a:pathLst>
                  <a:path w="14652" h="20812">
                    <a:moveTo>
                      <a:pt x="14653" y="20813"/>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38" name="Vrije vorm: vorm 6337">
                <a:extLst>
                  <a:ext uri="{FF2B5EF4-FFF2-40B4-BE49-F238E27FC236}">
                    <a16:creationId xmlns:a16="http://schemas.microsoft.com/office/drawing/2014/main" id="{DC0EAD3D-07E5-498C-ACC6-1022F038539F}"/>
                  </a:ext>
                </a:extLst>
              </p:cNvPr>
              <p:cNvSpPr/>
              <p:nvPr/>
            </p:nvSpPr>
            <p:spPr>
              <a:xfrm>
                <a:off x="7742782" y="2797881"/>
                <a:ext cx="9090" cy="24102"/>
              </a:xfrm>
              <a:custGeom>
                <a:avLst/>
                <a:gdLst>
                  <a:gd name="connsiteX0" fmla="*/ 0 w 9090"/>
                  <a:gd name="connsiteY0" fmla="*/ 0 h 24102"/>
                  <a:gd name="connsiteX1" fmla="*/ 9090 w 9090"/>
                  <a:gd name="connsiteY1" fmla="*/ 24102 h 24102"/>
                </a:gdLst>
                <a:ahLst/>
                <a:cxnLst>
                  <a:cxn ang="0">
                    <a:pos x="connsiteX0" y="connsiteY0"/>
                  </a:cxn>
                  <a:cxn ang="0">
                    <a:pos x="connsiteX1" y="connsiteY1"/>
                  </a:cxn>
                </a:cxnLst>
                <a:rect l="l" t="t" r="r" b="b"/>
                <a:pathLst>
                  <a:path w="9090" h="24102">
                    <a:moveTo>
                      <a:pt x="0" y="0"/>
                    </a:moveTo>
                    <a:lnTo>
                      <a:pt x="9090" y="24102"/>
                    </a:lnTo>
                  </a:path>
                </a:pathLst>
              </a:custGeom>
              <a:ln w="6350" cap="rnd">
                <a:solidFill>
                  <a:schemeClr val="bg1">
                    <a:alpha val="80000"/>
                  </a:schemeClr>
                </a:solidFill>
                <a:prstDash val="solid"/>
                <a:round/>
              </a:ln>
            </p:spPr>
            <p:txBody>
              <a:bodyPr rtlCol="0" anchor="ctr"/>
              <a:lstStyle/>
              <a:p>
                <a:endParaRPr lang="en-GB"/>
              </a:p>
            </p:txBody>
          </p:sp>
          <p:sp>
            <p:nvSpPr>
              <p:cNvPr id="6339" name="Vrije vorm: vorm 6338">
                <a:extLst>
                  <a:ext uri="{FF2B5EF4-FFF2-40B4-BE49-F238E27FC236}">
                    <a16:creationId xmlns:a16="http://schemas.microsoft.com/office/drawing/2014/main" id="{22FC764D-275B-4CA8-B9AC-5611D51F4D36}"/>
                  </a:ext>
                </a:extLst>
              </p:cNvPr>
              <p:cNvSpPr/>
              <p:nvPr/>
            </p:nvSpPr>
            <p:spPr>
              <a:xfrm>
                <a:off x="7742782" y="2790346"/>
                <a:ext cx="2571" cy="7535"/>
              </a:xfrm>
              <a:custGeom>
                <a:avLst/>
                <a:gdLst>
                  <a:gd name="connsiteX0" fmla="*/ 0 w 2571"/>
                  <a:gd name="connsiteY0" fmla="*/ 7536 h 7535"/>
                  <a:gd name="connsiteX1" fmla="*/ 2572 w 2571"/>
                  <a:gd name="connsiteY1" fmla="*/ 0 h 7535"/>
                </a:gdLst>
                <a:ahLst/>
                <a:cxnLst>
                  <a:cxn ang="0">
                    <a:pos x="connsiteX0" y="connsiteY0"/>
                  </a:cxn>
                  <a:cxn ang="0">
                    <a:pos x="connsiteX1" y="connsiteY1"/>
                  </a:cxn>
                </a:cxnLst>
                <a:rect l="l" t="t" r="r" b="b"/>
                <a:pathLst>
                  <a:path w="2571" h="7535">
                    <a:moveTo>
                      <a:pt x="0" y="7536"/>
                    </a:moveTo>
                    <a:lnTo>
                      <a:pt x="2572" y="0"/>
                    </a:lnTo>
                  </a:path>
                </a:pathLst>
              </a:custGeom>
              <a:ln w="6350" cap="rnd">
                <a:solidFill>
                  <a:schemeClr val="bg1">
                    <a:alpha val="80000"/>
                  </a:schemeClr>
                </a:solidFill>
                <a:prstDash val="solid"/>
                <a:round/>
              </a:ln>
            </p:spPr>
            <p:txBody>
              <a:bodyPr rtlCol="0" anchor="ctr"/>
              <a:lstStyle/>
              <a:p>
                <a:endParaRPr lang="en-GB"/>
              </a:p>
            </p:txBody>
          </p:sp>
          <p:sp>
            <p:nvSpPr>
              <p:cNvPr id="6340" name="Vrije vorm: vorm 6339">
                <a:extLst>
                  <a:ext uri="{FF2B5EF4-FFF2-40B4-BE49-F238E27FC236}">
                    <a16:creationId xmlns:a16="http://schemas.microsoft.com/office/drawing/2014/main" id="{7C0A19D8-626D-4E1B-A464-A8484330A322}"/>
                  </a:ext>
                </a:extLst>
              </p:cNvPr>
              <p:cNvSpPr/>
              <p:nvPr/>
            </p:nvSpPr>
            <p:spPr>
              <a:xfrm>
                <a:off x="7608096" y="2689331"/>
                <a:ext cx="17045" cy="17822"/>
              </a:xfrm>
              <a:custGeom>
                <a:avLst/>
                <a:gdLst>
                  <a:gd name="connsiteX0" fmla="*/ 0 w 17045"/>
                  <a:gd name="connsiteY0" fmla="*/ 17823 h 17822"/>
                  <a:gd name="connsiteX1" fmla="*/ 17045 w 17045"/>
                  <a:gd name="connsiteY1" fmla="*/ 0 h 17822"/>
                </a:gdLst>
                <a:ahLst/>
                <a:cxnLst>
                  <a:cxn ang="0">
                    <a:pos x="connsiteX0" y="connsiteY0"/>
                  </a:cxn>
                  <a:cxn ang="0">
                    <a:pos x="connsiteX1" y="connsiteY1"/>
                  </a:cxn>
                </a:cxnLst>
                <a:rect l="l" t="t" r="r" b="b"/>
                <a:pathLst>
                  <a:path w="17045" h="17822">
                    <a:moveTo>
                      <a:pt x="0" y="17823"/>
                    </a:moveTo>
                    <a:lnTo>
                      <a:pt x="17045" y="0"/>
                    </a:lnTo>
                  </a:path>
                </a:pathLst>
              </a:custGeom>
              <a:ln w="6350" cap="rnd">
                <a:solidFill>
                  <a:schemeClr val="bg1">
                    <a:alpha val="80000"/>
                  </a:schemeClr>
                </a:solidFill>
                <a:prstDash val="solid"/>
                <a:round/>
              </a:ln>
            </p:spPr>
            <p:txBody>
              <a:bodyPr rtlCol="0" anchor="ctr"/>
              <a:lstStyle/>
              <a:p>
                <a:endParaRPr lang="en-GB"/>
              </a:p>
            </p:txBody>
          </p:sp>
          <p:sp>
            <p:nvSpPr>
              <p:cNvPr id="6341" name="Vrije vorm: vorm 6340">
                <a:extLst>
                  <a:ext uri="{FF2B5EF4-FFF2-40B4-BE49-F238E27FC236}">
                    <a16:creationId xmlns:a16="http://schemas.microsoft.com/office/drawing/2014/main" id="{18FAEB35-DA1A-425A-A080-AA54817C64C6}"/>
                  </a:ext>
                </a:extLst>
              </p:cNvPr>
              <p:cNvSpPr/>
              <p:nvPr/>
            </p:nvSpPr>
            <p:spPr>
              <a:xfrm>
                <a:off x="7608096" y="2704463"/>
                <a:ext cx="32714" cy="2691"/>
              </a:xfrm>
              <a:custGeom>
                <a:avLst/>
                <a:gdLst>
                  <a:gd name="connsiteX0" fmla="*/ 0 w 32714"/>
                  <a:gd name="connsiteY0" fmla="*/ 2691 h 2691"/>
                  <a:gd name="connsiteX1" fmla="*/ 32715 w 32714"/>
                  <a:gd name="connsiteY1" fmla="*/ 0 h 2691"/>
                </a:gdLst>
                <a:ahLst/>
                <a:cxnLst>
                  <a:cxn ang="0">
                    <a:pos x="connsiteX0" y="connsiteY0"/>
                  </a:cxn>
                  <a:cxn ang="0">
                    <a:pos x="connsiteX1" y="connsiteY1"/>
                  </a:cxn>
                </a:cxnLst>
                <a:rect l="l" t="t" r="r" b="b"/>
                <a:pathLst>
                  <a:path w="32714" h="2691">
                    <a:moveTo>
                      <a:pt x="0" y="2691"/>
                    </a:moveTo>
                    <a:lnTo>
                      <a:pt x="32715" y="0"/>
                    </a:lnTo>
                  </a:path>
                </a:pathLst>
              </a:custGeom>
              <a:ln w="6350" cap="rnd">
                <a:solidFill>
                  <a:schemeClr val="bg1">
                    <a:alpha val="80000"/>
                  </a:schemeClr>
                </a:solidFill>
                <a:prstDash val="solid"/>
                <a:round/>
              </a:ln>
            </p:spPr>
            <p:txBody>
              <a:bodyPr rtlCol="0" anchor="ctr"/>
              <a:lstStyle/>
              <a:p>
                <a:endParaRPr lang="en-GB"/>
              </a:p>
            </p:txBody>
          </p:sp>
          <p:sp>
            <p:nvSpPr>
              <p:cNvPr id="6342" name="Vrije vorm: vorm 6341">
                <a:extLst>
                  <a:ext uri="{FF2B5EF4-FFF2-40B4-BE49-F238E27FC236}">
                    <a16:creationId xmlns:a16="http://schemas.microsoft.com/office/drawing/2014/main" id="{F7EBA11A-733B-4A2B-B74D-BBF2524586A4}"/>
                  </a:ext>
                </a:extLst>
              </p:cNvPr>
              <p:cNvSpPr/>
              <p:nvPr/>
            </p:nvSpPr>
            <p:spPr>
              <a:xfrm>
                <a:off x="7608096" y="2707154"/>
                <a:ext cx="9509" cy="15609"/>
              </a:xfrm>
              <a:custGeom>
                <a:avLst/>
                <a:gdLst>
                  <a:gd name="connsiteX0" fmla="*/ 0 w 9509"/>
                  <a:gd name="connsiteY0" fmla="*/ 0 h 15609"/>
                  <a:gd name="connsiteX1" fmla="*/ 9509 w 9509"/>
                  <a:gd name="connsiteY1" fmla="*/ 15610 h 15609"/>
                </a:gdLst>
                <a:ahLst/>
                <a:cxnLst>
                  <a:cxn ang="0">
                    <a:pos x="connsiteX0" y="connsiteY0"/>
                  </a:cxn>
                  <a:cxn ang="0">
                    <a:pos x="connsiteX1" y="connsiteY1"/>
                  </a:cxn>
                </a:cxnLst>
                <a:rect l="l" t="t" r="r" b="b"/>
                <a:pathLst>
                  <a:path w="9509" h="15609">
                    <a:moveTo>
                      <a:pt x="0" y="0"/>
                    </a:moveTo>
                    <a:lnTo>
                      <a:pt x="9509" y="15610"/>
                    </a:lnTo>
                  </a:path>
                </a:pathLst>
              </a:custGeom>
              <a:ln w="6350" cap="rnd">
                <a:solidFill>
                  <a:schemeClr val="bg1">
                    <a:alpha val="80000"/>
                  </a:schemeClr>
                </a:solidFill>
                <a:prstDash val="solid"/>
                <a:round/>
              </a:ln>
            </p:spPr>
            <p:txBody>
              <a:bodyPr rtlCol="0" anchor="ctr"/>
              <a:lstStyle/>
              <a:p>
                <a:endParaRPr lang="en-GB"/>
              </a:p>
            </p:txBody>
          </p:sp>
          <p:sp>
            <p:nvSpPr>
              <p:cNvPr id="6343" name="Vrije vorm: vorm 6342">
                <a:extLst>
                  <a:ext uri="{FF2B5EF4-FFF2-40B4-BE49-F238E27FC236}">
                    <a16:creationId xmlns:a16="http://schemas.microsoft.com/office/drawing/2014/main" id="{E336B93C-1611-419D-8EE9-11F445B5969D}"/>
                  </a:ext>
                </a:extLst>
              </p:cNvPr>
              <p:cNvSpPr/>
              <p:nvPr/>
            </p:nvSpPr>
            <p:spPr>
              <a:xfrm>
                <a:off x="7604687" y="2707154"/>
                <a:ext cx="3409" cy="24281"/>
              </a:xfrm>
              <a:custGeom>
                <a:avLst/>
                <a:gdLst>
                  <a:gd name="connsiteX0" fmla="*/ 3409 w 3409"/>
                  <a:gd name="connsiteY0" fmla="*/ 0 h 24281"/>
                  <a:gd name="connsiteX1" fmla="*/ 0 w 3409"/>
                  <a:gd name="connsiteY1" fmla="*/ 24282 h 24281"/>
                </a:gdLst>
                <a:ahLst/>
                <a:cxnLst>
                  <a:cxn ang="0">
                    <a:pos x="connsiteX0" y="connsiteY0"/>
                  </a:cxn>
                  <a:cxn ang="0">
                    <a:pos x="connsiteX1" y="connsiteY1"/>
                  </a:cxn>
                </a:cxnLst>
                <a:rect l="l" t="t" r="r" b="b"/>
                <a:pathLst>
                  <a:path w="3409" h="24281">
                    <a:moveTo>
                      <a:pt x="3409" y="0"/>
                    </a:moveTo>
                    <a:lnTo>
                      <a:pt x="0" y="24282"/>
                    </a:lnTo>
                  </a:path>
                </a:pathLst>
              </a:custGeom>
              <a:ln w="6350" cap="rnd">
                <a:solidFill>
                  <a:schemeClr val="bg1">
                    <a:alpha val="80000"/>
                  </a:schemeClr>
                </a:solidFill>
                <a:prstDash val="solid"/>
                <a:round/>
              </a:ln>
            </p:spPr>
            <p:txBody>
              <a:bodyPr rtlCol="0" anchor="ctr"/>
              <a:lstStyle/>
              <a:p>
                <a:endParaRPr lang="en-GB"/>
              </a:p>
            </p:txBody>
          </p:sp>
          <p:sp>
            <p:nvSpPr>
              <p:cNvPr id="6344" name="Vrije vorm: vorm 6343">
                <a:extLst>
                  <a:ext uri="{FF2B5EF4-FFF2-40B4-BE49-F238E27FC236}">
                    <a16:creationId xmlns:a16="http://schemas.microsoft.com/office/drawing/2014/main" id="{021C8709-1216-4B04-9A82-48CB791D5E9E}"/>
                  </a:ext>
                </a:extLst>
              </p:cNvPr>
              <p:cNvSpPr/>
              <p:nvPr/>
            </p:nvSpPr>
            <p:spPr>
              <a:xfrm>
                <a:off x="7596792" y="2691425"/>
                <a:ext cx="11303" cy="15729"/>
              </a:xfrm>
              <a:custGeom>
                <a:avLst/>
                <a:gdLst>
                  <a:gd name="connsiteX0" fmla="*/ 11304 w 11303"/>
                  <a:gd name="connsiteY0" fmla="*/ 15729 h 15729"/>
                  <a:gd name="connsiteX1" fmla="*/ 0 w 11303"/>
                  <a:gd name="connsiteY1" fmla="*/ 0 h 15729"/>
                </a:gdLst>
                <a:ahLst/>
                <a:cxnLst>
                  <a:cxn ang="0">
                    <a:pos x="connsiteX0" y="connsiteY0"/>
                  </a:cxn>
                  <a:cxn ang="0">
                    <a:pos x="connsiteX1" y="connsiteY1"/>
                  </a:cxn>
                </a:cxnLst>
                <a:rect l="l" t="t" r="r" b="b"/>
                <a:pathLst>
                  <a:path w="11303" h="15729">
                    <a:moveTo>
                      <a:pt x="11304" y="15729"/>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45" name="Vrije vorm: vorm 6344">
                <a:extLst>
                  <a:ext uri="{FF2B5EF4-FFF2-40B4-BE49-F238E27FC236}">
                    <a16:creationId xmlns:a16="http://schemas.microsoft.com/office/drawing/2014/main" id="{B9A4EC62-E692-4D43-B155-CAFD8CBE85B0}"/>
                  </a:ext>
                </a:extLst>
              </p:cNvPr>
              <p:cNvSpPr/>
              <p:nvPr/>
            </p:nvSpPr>
            <p:spPr>
              <a:xfrm>
                <a:off x="7564676" y="2659009"/>
                <a:ext cx="18420" cy="19138"/>
              </a:xfrm>
              <a:custGeom>
                <a:avLst/>
                <a:gdLst>
                  <a:gd name="connsiteX0" fmla="*/ 0 w 18420"/>
                  <a:gd name="connsiteY0" fmla="*/ 19138 h 19138"/>
                  <a:gd name="connsiteX1" fmla="*/ 18420 w 18420"/>
                  <a:gd name="connsiteY1" fmla="*/ 0 h 19138"/>
                </a:gdLst>
                <a:ahLst/>
                <a:cxnLst>
                  <a:cxn ang="0">
                    <a:pos x="connsiteX0" y="connsiteY0"/>
                  </a:cxn>
                  <a:cxn ang="0">
                    <a:pos x="connsiteX1" y="connsiteY1"/>
                  </a:cxn>
                </a:cxnLst>
                <a:rect l="l" t="t" r="r" b="b"/>
                <a:pathLst>
                  <a:path w="18420" h="19138">
                    <a:moveTo>
                      <a:pt x="0" y="19138"/>
                    </a:moveTo>
                    <a:lnTo>
                      <a:pt x="18420" y="0"/>
                    </a:lnTo>
                  </a:path>
                </a:pathLst>
              </a:custGeom>
              <a:ln w="6350" cap="rnd">
                <a:solidFill>
                  <a:schemeClr val="bg1">
                    <a:alpha val="80000"/>
                  </a:schemeClr>
                </a:solidFill>
                <a:prstDash val="solid"/>
                <a:round/>
              </a:ln>
            </p:spPr>
            <p:txBody>
              <a:bodyPr rtlCol="0" anchor="ctr"/>
              <a:lstStyle/>
              <a:p>
                <a:endParaRPr lang="en-GB"/>
              </a:p>
            </p:txBody>
          </p:sp>
          <p:sp>
            <p:nvSpPr>
              <p:cNvPr id="6346" name="Vrije vorm: vorm 6345">
                <a:extLst>
                  <a:ext uri="{FF2B5EF4-FFF2-40B4-BE49-F238E27FC236}">
                    <a16:creationId xmlns:a16="http://schemas.microsoft.com/office/drawing/2014/main" id="{A0488E58-184B-4AFE-BCB7-7274F5EADDD6}"/>
                  </a:ext>
                </a:extLst>
              </p:cNvPr>
              <p:cNvSpPr/>
              <p:nvPr/>
            </p:nvSpPr>
            <p:spPr>
              <a:xfrm>
                <a:off x="7564676" y="2668339"/>
                <a:ext cx="12619" cy="9808"/>
              </a:xfrm>
              <a:custGeom>
                <a:avLst/>
                <a:gdLst>
                  <a:gd name="connsiteX0" fmla="*/ 0 w 12619"/>
                  <a:gd name="connsiteY0" fmla="*/ 9808 h 9808"/>
                  <a:gd name="connsiteX1" fmla="*/ 12619 w 12619"/>
                  <a:gd name="connsiteY1" fmla="*/ 0 h 9808"/>
                </a:gdLst>
                <a:ahLst/>
                <a:cxnLst>
                  <a:cxn ang="0">
                    <a:pos x="connsiteX0" y="connsiteY0"/>
                  </a:cxn>
                  <a:cxn ang="0">
                    <a:pos x="connsiteX1" y="connsiteY1"/>
                  </a:cxn>
                </a:cxnLst>
                <a:rect l="l" t="t" r="r" b="b"/>
                <a:pathLst>
                  <a:path w="12619" h="9808">
                    <a:moveTo>
                      <a:pt x="0" y="9808"/>
                    </a:moveTo>
                    <a:lnTo>
                      <a:pt x="12619" y="0"/>
                    </a:lnTo>
                  </a:path>
                </a:pathLst>
              </a:custGeom>
              <a:ln w="6350" cap="rnd">
                <a:solidFill>
                  <a:schemeClr val="bg1">
                    <a:alpha val="80000"/>
                  </a:schemeClr>
                </a:solidFill>
                <a:prstDash val="solid"/>
                <a:round/>
              </a:ln>
            </p:spPr>
            <p:txBody>
              <a:bodyPr rtlCol="0" anchor="ctr"/>
              <a:lstStyle/>
              <a:p>
                <a:endParaRPr lang="en-GB"/>
              </a:p>
            </p:txBody>
          </p:sp>
          <p:sp>
            <p:nvSpPr>
              <p:cNvPr id="6347" name="Vrije vorm: vorm 6346">
                <a:extLst>
                  <a:ext uri="{FF2B5EF4-FFF2-40B4-BE49-F238E27FC236}">
                    <a16:creationId xmlns:a16="http://schemas.microsoft.com/office/drawing/2014/main" id="{5DD11737-DC23-47F6-B8B6-CBFBCE7D95C8}"/>
                  </a:ext>
                </a:extLst>
              </p:cNvPr>
              <p:cNvSpPr/>
              <p:nvPr/>
            </p:nvSpPr>
            <p:spPr>
              <a:xfrm>
                <a:off x="7595776" y="2797523"/>
                <a:ext cx="1854" cy="7715"/>
              </a:xfrm>
              <a:custGeom>
                <a:avLst/>
                <a:gdLst>
                  <a:gd name="connsiteX0" fmla="*/ 0 w 1854"/>
                  <a:gd name="connsiteY0" fmla="*/ 7715 h 7715"/>
                  <a:gd name="connsiteX1" fmla="*/ 1854 w 1854"/>
                  <a:gd name="connsiteY1" fmla="*/ 0 h 7715"/>
                </a:gdLst>
                <a:ahLst/>
                <a:cxnLst>
                  <a:cxn ang="0">
                    <a:pos x="connsiteX0" y="connsiteY0"/>
                  </a:cxn>
                  <a:cxn ang="0">
                    <a:pos x="connsiteX1" y="connsiteY1"/>
                  </a:cxn>
                </a:cxnLst>
                <a:rect l="l" t="t" r="r" b="b"/>
                <a:pathLst>
                  <a:path w="1854" h="7715">
                    <a:moveTo>
                      <a:pt x="0" y="7715"/>
                    </a:moveTo>
                    <a:lnTo>
                      <a:pt x="1854" y="0"/>
                    </a:lnTo>
                  </a:path>
                </a:pathLst>
              </a:custGeom>
              <a:ln w="6350" cap="rnd">
                <a:solidFill>
                  <a:schemeClr val="bg1">
                    <a:alpha val="80000"/>
                  </a:schemeClr>
                </a:solidFill>
                <a:prstDash val="solid"/>
                <a:round/>
              </a:ln>
            </p:spPr>
            <p:txBody>
              <a:bodyPr rtlCol="0" anchor="ctr"/>
              <a:lstStyle/>
              <a:p>
                <a:endParaRPr lang="en-GB"/>
              </a:p>
            </p:txBody>
          </p:sp>
          <p:sp>
            <p:nvSpPr>
              <p:cNvPr id="6348" name="Vrije vorm: vorm 6347">
                <a:extLst>
                  <a:ext uri="{FF2B5EF4-FFF2-40B4-BE49-F238E27FC236}">
                    <a16:creationId xmlns:a16="http://schemas.microsoft.com/office/drawing/2014/main" id="{80A6D617-C247-451B-9EBC-B14B9B0D45DB}"/>
                  </a:ext>
                </a:extLst>
              </p:cNvPr>
              <p:cNvSpPr/>
              <p:nvPr/>
            </p:nvSpPr>
            <p:spPr>
              <a:xfrm>
                <a:off x="7595776" y="2798898"/>
                <a:ext cx="12918" cy="6339"/>
              </a:xfrm>
              <a:custGeom>
                <a:avLst/>
                <a:gdLst>
                  <a:gd name="connsiteX0" fmla="*/ 0 w 12918"/>
                  <a:gd name="connsiteY0" fmla="*/ 6340 h 6339"/>
                  <a:gd name="connsiteX1" fmla="*/ 12918 w 12918"/>
                  <a:gd name="connsiteY1" fmla="*/ 0 h 6339"/>
                </a:gdLst>
                <a:ahLst/>
                <a:cxnLst>
                  <a:cxn ang="0">
                    <a:pos x="connsiteX0" y="connsiteY0"/>
                  </a:cxn>
                  <a:cxn ang="0">
                    <a:pos x="connsiteX1" y="connsiteY1"/>
                  </a:cxn>
                </a:cxnLst>
                <a:rect l="l" t="t" r="r" b="b"/>
                <a:pathLst>
                  <a:path w="12918" h="6339">
                    <a:moveTo>
                      <a:pt x="0" y="6340"/>
                    </a:moveTo>
                    <a:lnTo>
                      <a:pt x="12918" y="0"/>
                    </a:lnTo>
                  </a:path>
                </a:pathLst>
              </a:custGeom>
              <a:ln w="6350" cap="rnd">
                <a:solidFill>
                  <a:schemeClr val="bg1">
                    <a:alpha val="80000"/>
                  </a:schemeClr>
                </a:solidFill>
                <a:prstDash val="solid"/>
                <a:round/>
              </a:ln>
            </p:spPr>
            <p:txBody>
              <a:bodyPr rtlCol="0" anchor="ctr"/>
              <a:lstStyle/>
              <a:p>
                <a:endParaRPr lang="en-GB"/>
              </a:p>
            </p:txBody>
          </p:sp>
          <p:sp>
            <p:nvSpPr>
              <p:cNvPr id="6349" name="Vrije vorm: vorm 6348">
                <a:extLst>
                  <a:ext uri="{FF2B5EF4-FFF2-40B4-BE49-F238E27FC236}">
                    <a16:creationId xmlns:a16="http://schemas.microsoft.com/office/drawing/2014/main" id="{4B1EF419-482F-4FF8-8B12-0BDB6183DCB8}"/>
                  </a:ext>
                </a:extLst>
              </p:cNvPr>
              <p:cNvSpPr/>
              <p:nvPr/>
            </p:nvSpPr>
            <p:spPr>
              <a:xfrm>
                <a:off x="7579269" y="2805238"/>
                <a:ext cx="16506" cy="12978"/>
              </a:xfrm>
              <a:custGeom>
                <a:avLst/>
                <a:gdLst>
                  <a:gd name="connsiteX0" fmla="*/ 16507 w 16506"/>
                  <a:gd name="connsiteY0" fmla="*/ 0 h 12978"/>
                  <a:gd name="connsiteX1" fmla="*/ 0 w 16506"/>
                  <a:gd name="connsiteY1" fmla="*/ 12978 h 12978"/>
                </a:gdLst>
                <a:ahLst/>
                <a:cxnLst>
                  <a:cxn ang="0">
                    <a:pos x="connsiteX0" y="connsiteY0"/>
                  </a:cxn>
                  <a:cxn ang="0">
                    <a:pos x="connsiteX1" y="connsiteY1"/>
                  </a:cxn>
                </a:cxnLst>
                <a:rect l="l" t="t" r="r" b="b"/>
                <a:pathLst>
                  <a:path w="16506" h="12978">
                    <a:moveTo>
                      <a:pt x="16507" y="0"/>
                    </a:moveTo>
                    <a:lnTo>
                      <a:pt x="0" y="12978"/>
                    </a:lnTo>
                  </a:path>
                </a:pathLst>
              </a:custGeom>
              <a:ln w="6350" cap="rnd">
                <a:solidFill>
                  <a:schemeClr val="bg1">
                    <a:alpha val="80000"/>
                  </a:schemeClr>
                </a:solidFill>
                <a:prstDash val="solid"/>
                <a:round/>
              </a:ln>
            </p:spPr>
            <p:txBody>
              <a:bodyPr rtlCol="0" anchor="ctr"/>
              <a:lstStyle/>
              <a:p>
                <a:endParaRPr lang="en-GB"/>
              </a:p>
            </p:txBody>
          </p:sp>
          <p:sp>
            <p:nvSpPr>
              <p:cNvPr id="6350" name="Vrije vorm: vorm 6349">
                <a:extLst>
                  <a:ext uri="{FF2B5EF4-FFF2-40B4-BE49-F238E27FC236}">
                    <a16:creationId xmlns:a16="http://schemas.microsoft.com/office/drawing/2014/main" id="{28AC9F81-45D4-4FEB-BA6F-086CC91D88AA}"/>
                  </a:ext>
                </a:extLst>
              </p:cNvPr>
              <p:cNvSpPr/>
              <p:nvPr/>
            </p:nvSpPr>
            <p:spPr>
              <a:xfrm>
                <a:off x="7578671" y="2805238"/>
                <a:ext cx="17104" cy="14712"/>
              </a:xfrm>
              <a:custGeom>
                <a:avLst/>
                <a:gdLst>
                  <a:gd name="connsiteX0" fmla="*/ 17105 w 17104"/>
                  <a:gd name="connsiteY0" fmla="*/ 0 h 14712"/>
                  <a:gd name="connsiteX1" fmla="*/ 0 w 17104"/>
                  <a:gd name="connsiteY1" fmla="*/ 14712 h 14712"/>
                </a:gdLst>
                <a:ahLst/>
                <a:cxnLst>
                  <a:cxn ang="0">
                    <a:pos x="connsiteX0" y="connsiteY0"/>
                  </a:cxn>
                  <a:cxn ang="0">
                    <a:pos x="connsiteX1" y="connsiteY1"/>
                  </a:cxn>
                </a:cxnLst>
                <a:rect l="l" t="t" r="r" b="b"/>
                <a:pathLst>
                  <a:path w="17104" h="14712">
                    <a:moveTo>
                      <a:pt x="17105" y="0"/>
                    </a:moveTo>
                    <a:lnTo>
                      <a:pt x="0" y="14712"/>
                    </a:lnTo>
                  </a:path>
                </a:pathLst>
              </a:custGeom>
              <a:ln w="6350" cap="rnd">
                <a:solidFill>
                  <a:schemeClr val="bg1">
                    <a:alpha val="80000"/>
                  </a:schemeClr>
                </a:solidFill>
                <a:prstDash val="solid"/>
                <a:round/>
              </a:ln>
            </p:spPr>
            <p:txBody>
              <a:bodyPr rtlCol="0" anchor="ctr"/>
              <a:lstStyle/>
              <a:p>
                <a:endParaRPr lang="en-GB"/>
              </a:p>
            </p:txBody>
          </p:sp>
          <p:sp>
            <p:nvSpPr>
              <p:cNvPr id="6351" name="Vrije vorm: vorm 6350">
                <a:extLst>
                  <a:ext uri="{FF2B5EF4-FFF2-40B4-BE49-F238E27FC236}">
                    <a16:creationId xmlns:a16="http://schemas.microsoft.com/office/drawing/2014/main" id="{CFC08A42-6B24-4C8D-B17B-5322E7117057}"/>
                  </a:ext>
                </a:extLst>
              </p:cNvPr>
              <p:cNvSpPr/>
              <p:nvPr/>
            </p:nvSpPr>
            <p:spPr>
              <a:xfrm>
                <a:off x="7582558" y="2722524"/>
                <a:ext cx="119" cy="777"/>
              </a:xfrm>
              <a:custGeom>
                <a:avLst/>
                <a:gdLst>
                  <a:gd name="connsiteX0" fmla="*/ 120 w 119"/>
                  <a:gd name="connsiteY0" fmla="*/ 778 h 777"/>
                  <a:gd name="connsiteX1" fmla="*/ 0 w 119"/>
                  <a:gd name="connsiteY1" fmla="*/ 0 h 777"/>
                </a:gdLst>
                <a:ahLst/>
                <a:cxnLst>
                  <a:cxn ang="0">
                    <a:pos x="connsiteX0" y="connsiteY0"/>
                  </a:cxn>
                  <a:cxn ang="0">
                    <a:pos x="connsiteX1" y="connsiteY1"/>
                  </a:cxn>
                </a:cxnLst>
                <a:rect l="l" t="t" r="r" b="b"/>
                <a:pathLst>
                  <a:path w="119" h="777">
                    <a:moveTo>
                      <a:pt x="120" y="778"/>
                    </a:moveTo>
                    <a:lnTo>
                      <a:pt x="0" y="0"/>
                    </a:lnTo>
                  </a:path>
                </a:pathLst>
              </a:custGeom>
              <a:ln w="6350" cap="rnd">
                <a:solidFill>
                  <a:schemeClr val="bg1">
                    <a:alpha val="80000"/>
                  </a:schemeClr>
                </a:solidFill>
                <a:prstDash val="solid"/>
                <a:round/>
              </a:ln>
            </p:spPr>
            <p:txBody>
              <a:bodyPr rtlCol="0" anchor="ctr"/>
              <a:lstStyle/>
              <a:p>
                <a:endParaRPr lang="en-GB"/>
              </a:p>
            </p:txBody>
          </p:sp>
          <p:sp>
            <p:nvSpPr>
              <p:cNvPr id="6352" name="Vrije vorm: vorm 6351">
                <a:extLst>
                  <a:ext uri="{FF2B5EF4-FFF2-40B4-BE49-F238E27FC236}">
                    <a16:creationId xmlns:a16="http://schemas.microsoft.com/office/drawing/2014/main" id="{FD31469C-CE78-4514-8100-8E6261868ABD}"/>
                  </a:ext>
                </a:extLst>
              </p:cNvPr>
              <p:cNvSpPr/>
              <p:nvPr/>
            </p:nvSpPr>
            <p:spPr>
              <a:xfrm>
                <a:off x="7535012" y="2685444"/>
                <a:ext cx="14832" cy="14891"/>
              </a:xfrm>
              <a:custGeom>
                <a:avLst/>
                <a:gdLst>
                  <a:gd name="connsiteX0" fmla="*/ 14832 w 14832"/>
                  <a:gd name="connsiteY0" fmla="*/ 0 h 14891"/>
                  <a:gd name="connsiteX1" fmla="*/ 0 w 14832"/>
                  <a:gd name="connsiteY1" fmla="*/ 14892 h 14891"/>
                </a:gdLst>
                <a:ahLst/>
                <a:cxnLst>
                  <a:cxn ang="0">
                    <a:pos x="connsiteX0" y="connsiteY0"/>
                  </a:cxn>
                  <a:cxn ang="0">
                    <a:pos x="connsiteX1" y="connsiteY1"/>
                  </a:cxn>
                </a:cxnLst>
                <a:rect l="l" t="t" r="r" b="b"/>
                <a:pathLst>
                  <a:path w="14832" h="14891">
                    <a:moveTo>
                      <a:pt x="14832" y="0"/>
                    </a:moveTo>
                    <a:lnTo>
                      <a:pt x="0" y="14892"/>
                    </a:lnTo>
                  </a:path>
                </a:pathLst>
              </a:custGeom>
              <a:ln w="6350" cap="rnd">
                <a:solidFill>
                  <a:schemeClr val="bg1">
                    <a:alpha val="80000"/>
                  </a:schemeClr>
                </a:solidFill>
                <a:prstDash val="solid"/>
                <a:round/>
              </a:ln>
            </p:spPr>
            <p:txBody>
              <a:bodyPr rtlCol="0" anchor="ctr"/>
              <a:lstStyle/>
              <a:p>
                <a:endParaRPr lang="en-GB"/>
              </a:p>
            </p:txBody>
          </p:sp>
          <p:sp>
            <p:nvSpPr>
              <p:cNvPr id="6353" name="Vrije vorm: vorm 6352">
                <a:extLst>
                  <a:ext uri="{FF2B5EF4-FFF2-40B4-BE49-F238E27FC236}">
                    <a16:creationId xmlns:a16="http://schemas.microsoft.com/office/drawing/2014/main" id="{E34E7B5A-16FA-4311-9EB5-3179256B5655}"/>
                  </a:ext>
                </a:extLst>
              </p:cNvPr>
              <p:cNvSpPr/>
              <p:nvPr/>
            </p:nvSpPr>
            <p:spPr>
              <a:xfrm>
                <a:off x="7527835" y="2685444"/>
                <a:ext cx="22009" cy="20513"/>
              </a:xfrm>
              <a:custGeom>
                <a:avLst/>
                <a:gdLst>
                  <a:gd name="connsiteX0" fmla="*/ 22009 w 22009"/>
                  <a:gd name="connsiteY0" fmla="*/ 0 h 20513"/>
                  <a:gd name="connsiteX1" fmla="*/ 0 w 22009"/>
                  <a:gd name="connsiteY1" fmla="*/ 20514 h 20513"/>
                </a:gdLst>
                <a:ahLst/>
                <a:cxnLst>
                  <a:cxn ang="0">
                    <a:pos x="connsiteX0" y="connsiteY0"/>
                  </a:cxn>
                  <a:cxn ang="0">
                    <a:pos x="connsiteX1" y="connsiteY1"/>
                  </a:cxn>
                </a:cxnLst>
                <a:rect l="l" t="t" r="r" b="b"/>
                <a:pathLst>
                  <a:path w="22009" h="20513">
                    <a:moveTo>
                      <a:pt x="22009" y="0"/>
                    </a:moveTo>
                    <a:lnTo>
                      <a:pt x="0" y="20514"/>
                    </a:lnTo>
                  </a:path>
                </a:pathLst>
              </a:custGeom>
              <a:ln w="6350" cap="rnd">
                <a:solidFill>
                  <a:schemeClr val="bg1">
                    <a:alpha val="80000"/>
                  </a:schemeClr>
                </a:solidFill>
                <a:prstDash val="solid"/>
                <a:round/>
              </a:ln>
            </p:spPr>
            <p:txBody>
              <a:bodyPr rtlCol="0" anchor="ctr"/>
              <a:lstStyle/>
              <a:p>
                <a:endParaRPr lang="en-GB"/>
              </a:p>
            </p:txBody>
          </p:sp>
          <p:sp>
            <p:nvSpPr>
              <p:cNvPr id="6354" name="Vrije vorm: vorm 6353">
                <a:extLst>
                  <a:ext uri="{FF2B5EF4-FFF2-40B4-BE49-F238E27FC236}">
                    <a16:creationId xmlns:a16="http://schemas.microsoft.com/office/drawing/2014/main" id="{A6707817-663E-417A-A911-A3D704BAC217}"/>
                  </a:ext>
                </a:extLst>
              </p:cNvPr>
              <p:cNvSpPr/>
              <p:nvPr/>
            </p:nvSpPr>
            <p:spPr>
              <a:xfrm>
                <a:off x="7548468" y="2685444"/>
                <a:ext cx="1375" cy="1734"/>
              </a:xfrm>
              <a:custGeom>
                <a:avLst/>
                <a:gdLst>
                  <a:gd name="connsiteX0" fmla="*/ 1376 w 1375"/>
                  <a:gd name="connsiteY0" fmla="*/ 0 h 1734"/>
                  <a:gd name="connsiteX1" fmla="*/ 0 w 1375"/>
                  <a:gd name="connsiteY1" fmla="*/ 1734 h 1734"/>
                </a:gdLst>
                <a:ahLst/>
                <a:cxnLst>
                  <a:cxn ang="0">
                    <a:pos x="connsiteX0" y="connsiteY0"/>
                  </a:cxn>
                  <a:cxn ang="0">
                    <a:pos x="connsiteX1" y="connsiteY1"/>
                  </a:cxn>
                </a:cxnLst>
                <a:rect l="l" t="t" r="r" b="b"/>
                <a:pathLst>
                  <a:path w="1375" h="1734">
                    <a:moveTo>
                      <a:pt x="1376" y="0"/>
                    </a:moveTo>
                    <a:lnTo>
                      <a:pt x="0" y="1734"/>
                    </a:lnTo>
                  </a:path>
                </a:pathLst>
              </a:custGeom>
              <a:ln w="6350" cap="rnd">
                <a:solidFill>
                  <a:schemeClr val="bg1">
                    <a:alpha val="80000"/>
                  </a:schemeClr>
                </a:solidFill>
                <a:prstDash val="solid"/>
                <a:round/>
              </a:ln>
            </p:spPr>
            <p:txBody>
              <a:bodyPr rtlCol="0" anchor="ctr"/>
              <a:lstStyle/>
              <a:p>
                <a:endParaRPr lang="en-GB"/>
              </a:p>
            </p:txBody>
          </p:sp>
          <p:sp>
            <p:nvSpPr>
              <p:cNvPr id="6355" name="Vrije vorm: vorm 6354">
                <a:extLst>
                  <a:ext uri="{FF2B5EF4-FFF2-40B4-BE49-F238E27FC236}">
                    <a16:creationId xmlns:a16="http://schemas.microsoft.com/office/drawing/2014/main" id="{77D85FBF-FC68-46DD-9EBC-6C767C57EB61}"/>
                  </a:ext>
                </a:extLst>
              </p:cNvPr>
              <p:cNvSpPr/>
              <p:nvPr/>
            </p:nvSpPr>
            <p:spPr>
              <a:xfrm>
                <a:off x="7549844" y="2678147"/>
                <a:ext cx="14832" cy="7296"/>
              </a:xfrm>
              <a:custGeom>
                <a:avLst/>
                <a:gdLst>
                  <a:gd name="connsiteX0" fmla="*/ 0 w 14832"/>
                  <a:gd name="connsiteY0" fmla="*/ 7296 h 7296"/>
                  <a:gd name="connsiteX1" fmla="*/ 14832 w 14832"/>
                  <a:gd name="connsiteY1" fmla="*/ 0 h 7296"/>
                </a:gdLst>
                <a:ahLst/>
                <a:cxnLst>
                  <a:cxn ang="0">
                    <a:pos x="connsiteX0" y="connsiteY0"/>
                  </a:cxn>
                  <a:cxn ang="0">
                    <a:pos x="connsiteX1" y="connsiteY1"/>
                  </a:cxn>
                </a:cxnLst>
                <a:rect l="l" t="t" r="r" b="b"/>
                <a:pathLst>
                  <a:path w="14832" h="7296">
                    <a:moveTo>
                      <a:pt x="0" y="7296"/>
                    </a:moveTo>
                    <a:lnTo>
                      <a:pt x="14832" y="0"/>
                    </a:lnTo>
                  </a:path>
                </a:pathLst>
              </a:custGeom>
              <a:ln w="6350" cap="rnd">
                <a:solidFill>
                  <a:schemeClr val="bg1">
                    <a:alpha val="80000"/>
                  </a:schemeClr>
                </a:solidFill>
                <a:prstDash val="solid"/>
                <a:round/>
              </a:ln>
            </p:spPr>
            <p:txBody>
              <a:bodyPr rtlCol="0" anchor="ctr"/>
              <a:lstStyle/>
              <a:p>
                <a:endParaRPr lang="en-GB"/>
              </a:p>
            </p:txBody>
          </p:sp>
        </p:grpSp>
        <p:grpSp>
          <p:nvGrpSpPr>
            <p:cNvPr id="5361" name="Graphic 3">
              <a:extLst>
                <a:ext uri="{FF2B5EF4-FFF2-40B4-BE49-F238E27FC236}">
                  <a16:creationId xmlns:a16="http://schemas.microsoft.com/office/drawing/2014/main" id="{D354B386-92F8-4553-ADB0-2301A268D20C}"/>
                </a:ext>
              </a:extLst>
            </p:cNvPr>
            <p:cNvGrpSpPr/>
            <p:nvPr/>
          </p:nvGrpSpPr>
          <p:grpSpPr>
            <a:xfrm>
              <a:off x="7820749" y="2747706"/>
              <a:ext cx="31414" cy="28103"/>
              <a:chOff x="7820749" y="2747706"/>
              <a:chExt cx="31414" cy="28103"/>
            </a:xfrm>
            <a:solidFill>
              <a:srgbClr val="FFFFFF"/>
            </a:solidFill>
          </p:grpSpPr>
          <p:sp>
            <p:nvSpPr>
              <p:cNvPr id="5879" name="Vrije vorm: vorm 5878">
                <a:extLst>
                  <a:ext uri="{FF2B5EF4-FFF2-40B4-BE49-F238E27FC236}">
                    <a16:creationId xmlns:a16="http://schemas.microsoft.com/office/drawing/2014/main" id="{4B3087CA-7F1E-488B-99A5-CA9D27FF21DB}"/>
                  </a:ext>
                </a:extLst>
              </p:cNvPr>
              <p:cNvSpPr/>
              <p:nvPr/>
            </p:nvSpPr>
            <p:spPr>
              <a:xfrm>
                <a:off x="7823238" y="2767951"/>
                <a:ext cx="8611" cy="7857"/>
              </a:xfrm>
              <a:custGeom>
                <a:avLst/>
                <a:gdLst>
                  <a:gd name="connsiteX0" fmla="*/ 6145 w 8611"/>
                  <a:gd name="connsiteY0" fmla="*/ 7562 h 7857"/>
                  <a:gd name="connsiteX1" fmla="*/ 6026 w 8611"/>
                  <a:gd name="connsiteY1" fmla="*/ 7443 h 7857"/>
                  <a:gd name="connsiteX2" fmla="*/ 523 w 8611"/>
                  <a:gd name="connsiteY2" fmla="*/ 2778 h 7857"/>
                  <a:gd name="connsiteX3" fmla="*/ 344 w 8611"/>
                  <a:gd name="connsiteY3" fmla="*/ 744 h 7857"/>
                  <a:gd name="connsiteX4" fmla="*/ 2377 w 8611"/>
                  <a:gd name="connsiteY4" fmla="*/ 206 h 7857"/>
                  <a:gd name="connsiteX5" fmla="*/ 8298 w 8611"/>
                  <a:gd name="connsiteY5" fmla="*/ 5230 h 7857"/>
                  <a:gd name="connsiteX6" fmla="*/ 8059 w 8611"/>
                  <a:gd name="connsiteY6" fmla="*/ 7323 h 7857"/>
                  <a:gd name="connsiteX7" fmla="*/ 6145 w 8611"/>
                  <a:gd name="connsiteY7" fmla="*/ 7562 h 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1" h="7857">
                    <a:moveTo>
                      <a:pt x="6145" y="7562"/>
                    </a:moveTo>
                    <a:cubicBezTo>
                      <a:pt x="6085" y="7562"/>
                      <a:pt x="6085" y="7503"/>
                      <a:pt x="6026" y="7443"/>
                    </a:cubicBezTo>
                    <a:cubicBezTo>
                      <a:pt x="4052" y="5289"/>
                      <a:pt x="2975" y="4392"/>
                      <a:pt x="523" y="2778"/>
                    </a:cubicBezTo>
                    <a:cubicBezTo>
                      <a:pt x="-75" y="2359"/>
                      <a:pt x="-195" y="1462"/>
                      <a:pt x="344" y="744"/>
                    </a:cubicBezTo>
                    <a:cubicBezTo>
                      <a:pt x="882" y="27"/>
                      <a:pt x="1779" y="-213"/>
                      <a:pt x="2377" y="206"/>
                    </a:cubicBezTo>
                    <a:cubicBezTo>
                      <a:pt x="5009" y="1940"/>
                      <a:pt x="6205" y="2957"/>
                      <a:pt x="8298" y="5230"/>
                    </a:cubicBezTo>
                    <a:cubicBezTo>
                      <a:pt x="8776" y="5768"/>
                      <a:pt x="8717" y="6725"/>
                      <a:pt x="8059" y="7323"/>
                    </a:cubicBezTo>
                    <a:cubicBezTo>
                      <a:pt x="7521" y="7921"/>
                      <a:pt x="6683" y="8041"/>
                      <a:pt x="6145" y="7562"/>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880" name="Vrije vorm: vorm 5879">
                <a:extLst>
                  <a:ext uri="{FF2B5EF4-FFF2-40B4-BE49-F238E27FC236}">
                    <a16:creationId xmlns:a16="http://schemas.microsoft.com/office/drawing/2014/main" id="{9917B8D7-A2AA-42A4-9E36-46A17C79689D}"/>
                  </a:ext>
                </a:extLst>
              </p:cNvPr>
              <p:cNvSpPr/>
              <p:nvPr/>
            </p:nvSpPr>
            <p:spPr>
              <a:xfrm>
                <a:off x="7823291" y="2761308"/>
                <a:ext cx="15108" cy="13429"/>
              </a:xfrm>
              <a:custGeom>
                <a:avLst/>
                <a:gdLst>
                  <a:gd name="connsiteX0" fmla="*/ 410 w 15108"/>
                  <a:gd name="connsiteY0" fmla="*/ 2722 h 13429"/>
                  <a:gd name="connsiteX1" fmla="*/ 231 w 15108"/>
                  <a:gd name="connsiteY1" fmla="*/ 868 h 13429"/>
                  <a:gd name="connsiteX2" fmla="*/ 2264 w 15108"/>
                  <a:gd name="connsiteY2" fmla="*/ 151 h 13429"/>
                  <a:gd name="connsiteX3" fmla="*/ 9202 w 15108"/>
                  <a:gd name="connsiteY3" fmla="*/ 4816 h 13429"/>
                  <a:gd name="connsiteX4" fmla="*/ 14883 w 15108"/>
                  <a:gd name="connsiteY4" fmla="*/ 10916 h 13429"/>
                  <a:gd name="connsiteX5" fmla="*/ 14465 w 15108"/>
                  <a:gd name="connsiteY5" fmla="*/ 13009 h 13429"/>
                  <a:gd name="connsiteX6" fmla="*/ 12431 w 15108"/>
                  <a:gd name="connsiteY6" fmla="*/ 12949 h 13429"/>
                  <a:gd name="connsiteX7" fmla="*/ 7108 w 15108"/>
                  <a:gd name="connsiteY7" fmla="*/ 7208 h 13429"/>
                  <a:gd name="connsiteX8" fmla="*/ 589 w 15108"/>
                  <a:gd name="connsiteY8" fmla="*/ 2842 h 13429"/>
                  <a:gd name="connsiteX9" fmla="*/ 410 w 15108"/>
                  <a:gd name="connsiteY9" fmla="*/ 2722 h 1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08" h="13429">
                    <a:moveTo>
                      <a:pt x="410" y="2722"/>
                    </a:moveTo>
                    <a:cubicBezTo>
                      <a:pt x="-68" y="2304"/>
                      <a:pt x="-128" y="1526"/>
                      <a:pt x="231" y="868"/>
                    </a:cubicBezTo>
                    <a:cubicBezTo>
                      <a:pt x="709" y="91"/>
                      <a:pt x="1606" y="-208"/>
                      <a:pt x="2264" y="151"/>
                    </a:cubicBezTo>
                    <a:cubicBezTo>
                      <a:pt x="4895" y="1526"/>
                      <a:pt x="6989" y="2902"/>
                      <a:pt x="9202" y="4816"/>
                    </a:cubicBezTo>
                    <a:cubicBezTo>
                      <a:pt x="11415" y="6729"/>
                      <a:pt x="13149" y="8524"/>
                      <a:pt x="14883" y="10916"/>
                    </a:cubicBezTo>
                    <a:cubicBezTo>
                      <a:pt x="15302" y="11514"/>
                      <a:pt x="15123" y="12471"/>
                      <a:pt x="14465" y="13009"/>
                    </a:cubicBezTo>
                    <a:cubicBezTo>
                      <a:pt x="13807" y="13607"/>
                      <a:pt x="12910" y="13548"/>
                      <a:pt x="12431" y="12949"/>
                    </a:cubicBezTo>
                    <a:cubicBezTo>
                      <a:pt x="10338" y="10139"/>
                      <a:pt x="8544" y="8464"/>
                      <a:pt x="7108" y="7208"/>
                    </a:cubicBezTo>
                    <a:cubicBezTo>
                      <a:pt x="5613" y="5952"/>
                      <a:pt x="3700" y="4457"/>
                      <a:pt x="589" y="2842"/>
                    </a:cubicBezTo>
                    <a:cubicBezTo>
                      <a:pt x="589" y="2782"/>
                      <a:pt x="470" y="2722"/>
                      <a:pt x="410" y="2722"/>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881" name="Vrije vorm: vorm 5880">
                <a:extLst>
                  <a:ext uri="{FF2B5EF4-FFF2-40B4-BE49-F238E27FC236}">
                    <a16:creationId xmlns:a16="http://schemas.microsoft.com/office/drawing/2014/main" id="{2CE746FA-4758-44CC-9AEF-8ED1E1F4E933}"/>
                  </a:ext>
                </a:extLst>
              </p:cNvPr>
              <p:cNvSpPr/>
              <p:nvPr/>
            </p:nvSpPr>
            <p:spPr>
              <a:xfrm>
                <a:off x="7821981" y="2754215"/>
                <a:ext cx="23534" cy="20642"/>
              </a:xfrm>
              <a:custGeom>
                <a:avLst/>
                <a:gdLst>
                  <a:gd name="connsiteX0" fmla="*/ 21097 w 23534"/>
                  <a:gd name="connsiteY0" fmla="*/ 20342 h 20642"/>
                  <a:gd name="connsiteX1" fmla="*/ 20858 w 23534"/>
                  <a:gd name="connsiteY1" fmla="*/ 20043 h 20642"/>
                  <a:gd name="connsiteX2" fmla="*/ 15236 w 23534"/>
                  <a:gd name="connsiteY2" fmla="*/ 12507 h 20642"/>
                  <a:gd name="connsiteX3" fmla="*/ 9077 w 23534"/>
                  <a:gd name="connsiteY3" fmla="*/ 7244 h 20642"/>
                  <a:gd name="connsiteX4" fmla="*/ 763 w 23534"/>
                  <a:gd name="connsiteY4" fmla="*/ 2938 h 20642"/>
                  <a:gd name="connsiteX5" fmla="*/ 165 w 23534"/>
                  <a:gd name="connsiteY5" fmla="*/ 1024 h 20642"/>
                  <a:gd name="connsiteX6" fmla="*/ 2139 w 23534"/>
                  <a:gd name="connsiteY6" fmla="*/ 67 h 20642"/>
                  <a:gd name="connsiteX7" fmla="*/ 10930 w 23534"/>
                  <a:gd name="connsiteY7" fmla="*/ 4613 h 20642"/>
                  <a:gd name="connsiteX8" fmla="*/ 17449 w 23534"/>
                  <a:gd name="connsiteY8" fmla="*/ 10175 h 20642"/>
                  <a:gd name="connsiteX9" fmla="*/ 23370 w 23534"/>
                  <a:gd name="connsiteY9" fmla="*/ 18129 h 20642"/>
                  <a:gd name="connsiteX10" fmla="*/ 22772 w 23534"/>
                  <a:gd name="connsiteY10" fmla="*/ 20222 h 20642"/>
                  <a:gd name="connsiteX11" fmla="*/ 21097 w 23534"/>
                  <a:gd name="connsiteY11" fmla="*/ 20342 h 2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34" h="20642">
                    <a:moveTo>
                      <a:pt x="21097" y="20342"/>
                    </a:moveTo>
                    <a:cubicBezTo>
                      <a:pt x="20978" y="20282"/>
                      <a:pt x="20918" y="20162"/>
                      <a:pt x="20858" y="20043"/>
                    </a:cubicBezTo>
                    <a:cubicBezTo>
                      <a:pt x="19243" y="17232"/>
                      <a:pt x="17449" y="14840"/>
                      <a:pt x="15236" y="12507"/>
                    </a:cubicBezTo>
                    <a:cubicBezTo>
                      <a:pt x="13323" y="10474"/>
                      <a:pt x="11349" y="8859"/>
                      <a:pt x="9077" y="7244"/>
                    </a:cubicBezTo>
                    <a:cubicBezTo>
                      <a:pt x="6445" y="5450"/>
                      <a:pt x="3813" y="4074"/>
                      <a:pt x="763" y="2938"/>
                    </a:cubicBezTo>
                    <a:cubicBezTo>
                      <a:pt x="46" y="2699"/>
                      <a:pt x="-194" y="1802"/>
                      <a:pt x="165" y="1024"/>
                    </a:cubicBezTo>
                    <a:cubicBezTo>
                      <a:pt x="524" y="247"/>
                      <a:pt x="1421" y="-172"/>
                      <a:pt x="2139" y="67"/>
                    </a:cubicBezTo>
                    <a:cubicBezTo>
                      <a:pt x="5368" y="1263"/>
                      <a:pt x="8119" y="2699"/>
                      <a:pt x="10930" y="4613"/>
                    </a:cubicBezTo>
                    <a:cubicBezTo>
                      <a:pt x="13382" y="6287"/>
                      <a:pt x="15416" y="8021"/>
                      <a:pt x="17449" y="10175"/>
                    </a:cubicBezTo>
                    <a:cubicBezTo>
                      <a:pt x="19782" y="12627"/>
                      <a:pt x="21696" y="15139"/>
                      <a:pt x="23370" y="18129"/>
                    </a:cubicBezTo>
                    <a:cubicBezTo>
                      <a:pt x="23729" y="18787"/>
                      <a:pt x="23490" y="19744"/>
                      <a:pt x="22772" y="20222"/>
                    </a:cubicBezTo>
                    <a:cubicBezTo>
                      <a:pt x="22234" y="20760"/>
                      <a:pt x="21576" y="20760"/>
                      <a:pt x="21097" y="20342"/>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882" name="Vrije vorm: vorm 5881">
                <a:extLst>
                  <a:ext uri="{FF2B5EF4-FFF2-40B4-BE49-F238E27FC236}">
                    <a16:creationId xmlns:a16="http://schemas.microsoft.com/office/drawing/2014/main" id="{AB043759-754C-4958-9CFE-182B0984C9DB}"/>
                  </a:ext>
                </a:extLst>
              </p:cNvPr>
              <p:cNvSpPr/>
              <p:nvPr/>
            </p:nvSpPr>
            <p:spPr>
              <a:xfrm>
                <a:off x="7820749" y="2747706"/>
                <a:ext cx="31414" cy="27337"/>
              </a:xfrm>
              <a:custGeom>
                <a:avLst/>
                <a:gdLst>
                  <a:gd name="connsiteX0" fmla="*/ 28968 w 31414"/>
                  <a:gd name="connsiteY0" fmla="*/ 27090 h 27337"/>
                  <a:gd name="connsiteX1" fmla="*/ 28669 w 31414"/>
                  <a:gd name="connsiteY1" fmla="*/ 26671 h 27337"/>
                  <a:gd name="connsiteX2" fmla="*/ 21432 w 31414"/>
                  <a:gd name="connsiteY2" fmla="*/ 15667 h 27337"/>
                  <a:gd name="connsiteX3" fmla="*/ 12880 w 31414"/>
                  <a:gd name="connsiteY3" fmla="*/ 8370 h 27337"/>
                  <a:gd name="connsiteX4" fmla="*/ 858 w 31414"/>
                  <a:gd name="connsiteY4" fmla="*/ 2988 h 27337"/>
                  <a:gd name="connsiteX5" fmla="*/ 141 w 31414"/>
                  <a:gd name="connsiteY5" fmla="*/ 1134 h 27337"/>
                  <a:gd name="connsiteX6" fmla="*/ 2055 w 31414"/>
                  <a:gd name="connsiteY6" fmla="*/ 57 h 27337"/>
                  <a:gd name="connsiteX7" fmla="*/ 14674 w 31414"/>
                  <a:gd name="connsiteY7" fmla="*/ 5739 h 27337"/>
                  <a:gd name="connsiteX8" fmla="*/ 23705 w 31414"/>
                  <a:gd name="connsiteY8" fmla="*/ 13454 h 27337"/>
                  <a:gd name="connsiteX9" fmla="*/ 31300 w 31414"/>
                  <a:gd name="connsiteY9" fmla="*/ 24997 h 27337"/>
                  <a:gd name="connsiteX10" fmla="*/ 30523 w 31414"/>
                  <a:gd name="connsiteY10" fmla="*/ 27090 h 27337"/>
                  <a:gd name="connsiteX11" fmla="*/ 28968 w 31414"/>
                  <a:gd name="connsiteY11" fmla="*/ 27090 h 2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14" h="27337">
                    <a:moveTo>
                      <a:pt x="28968" y="27090"/>
                    </a:moveTo>
                    <a:cubicBezTo>
                      <a:pt x="28848" y="26971"/>
                      <a:pt x="28729" y="26851"/>
                      <a:pt x="28669" y="26671"/>
                    </a:cubicBezTo>
                    <a:cubicBezTo>
                      <a:pt x="26755" y="22485"/>
                      <a:pt x="24423" y="19016"/>
                      <a:pt x="21432" y="15667"/>
                    </a:cubicBezTo>
                    <a:cubicBezTo>
                      <a:pt x="18860" y="12796"/>
                      <a:pt x="16109" y="10464"/>
                      <a:pt x="12880" y="8370"/>
                    </a:cubicBezTo>
                    <a:cubicBezTo>
                      <a:pt x="9112" y="5918"/>
                      <a:pt x="5284" y="4244"/>
                      <a:pt x="858" y="2988"/>
                    </a:cubicBezTo>
                    <a:cubicBezTo>
                      <a:pt x="141" y="2749"/>
                      <a:pt x="-218" y="1971"/>
                      <a:pt x="141" y="1134"/>
                    </a:cubicBezTo>
                    <a:cubicBezTo>
                      <a:pt x="500" y="356"/>
                      <a:pt x="1337" y="-182"/>
                      <a:pt x="2055" y="57"/>
                    </a:cubicBezTo>
                    <a:cubicBezTo>
                      <a:pt x="6719" y="1373"/>
                      <a:pt x="10727" y="3167"/>
                      <a:pt x="14674" y="5739"/>
                    </a:cubicBezTo>
                    <a:cubicBezTo>
                      <a:pt x="18083" y="7952"/>
                      <a:pt x="20953" y="10404"/>
                      <a:pt x="23705" y="13454"/>
                    </a:cubicBezTo>
                    <a:cubicBezTo>
                      <a:pt x="26874" y="16983"/>
                      <a:pt x="29267" y="20631"/>
                      <a:pt x="31300" y="24997"/>
                    </a:cubicBezTo>
                    <a:cubicBezTo>
                      <a:pt x="31599" y="25715"/>
                      <a:pt x="31300" y="26612"/>
                      <a:pt x="30523" y="27090"/>
                    </a:cubicBezTo>
                    <a:cubicBezTo>
                      <a:pt x="30044" y="27449"/>
                      <a:pt x="29386" y="27389"/>
                      <a:pt x="28968" y="27090"/>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grpSp>
        <p:grpSp>
          <p:nvGrpSpPr>
            <p:cNvPr id="5362" name="Graphic 3">
              <a:extLst>
                <a:ext uri="{FF2B5EF4-FFF2-40B4-BE49-F238E27FC236}">
                  <a16:creationId xmlns:a16="http://schemas.microsoft.com/office/drawing/2014/main" id="{92B2EC26-7100-4063-A5AB-498D8C0F8046}"/>
                </a:ext>
              </a:extLst>
            </p:cNvPr>
            <p:cNvGrpSpPr/>
            <p:nvPr/>
          </p:nvGrpSpPr>
          <p:grpSpPr>
            <a:xfrm>
              <a:off x="7695774" y="2855296"/>
              <a:ext cx="169373" cy="220987"/>
              <a:chOff x="7695774" y="2855296"/>
              <a:chExt cx="169373" cy="220987"/>
            </a:xfrm>
            <a:solidFill>
              <a:schemeClr val="accent1"/>
            </a:solidFill>
          </p:grpSpPr>
          <p:grpSp>
            <p:nvGrpSpPr>
              <p:cNvPr id="5852" name="Graphic 3">
                <a:extLst>
                  <a:ext uri="{FF2B5EF4-FFF2-40B4-BE49-F238E27FC236}">
                    <a16:creationId xmlns:a16="http://schemas.microsoft.com/office/drawing/2014/main" id="{AB7B13B0-EF49-417D-9353-63605D3FBAFA}"/>
                  </a:ext>
                </a:extLst>
              </p:cNvPr>
              <p:cNvGrpSpPr/>
              <p:nvPr/>
            </p:nvGrpSpPr>
            <p:grpSpPr>
              <a:xfrm>
                <a:off x="7695774" y="2855296"/>
                <a:ext cx="169373" cy="220987"/>
                <a:chOff x="7695774" y="2855296"/>
                <a:chExt cx="169373" cy="220987"/>
              </a:xfrm>
              <a:noFill/>
            </p:grpSpPr>
            <p:grpSp>
              <p:nvGrpSpPr>
                <p:cNvPr id="5858" name="Graphic 3">
                  <a:extLst>
                    <a:ext uri="{FF2B5EF4-FFF2-40B4-BE49-F238E27FC236}">
                      <a16:creationId xmlns:a16="http://schemas.microsoft.com/office/drawing/2014/main" id="{19DD3F3B-DAF7-46B9-AB5B-B2EC7C8EC2A6}"/>
                    </a:ext>
                  </a:extLst>
                </p:cNvPr>
                <p:cNvGrpSpPr/>
                <p:nvPr/>
              </p:nvGrpSpPr>
              <p:grpSpPr>
                <a:xfrm>
                  <a:off x="7695774" y="2855296"/>
                  <a:ext cx="169373" cy="220987"/>
                  <a:chOff x="7695774" y="2855296"/>
                  <a:chExt cx="169373" cy="220987"/>
                </a:xfrm>
                <a:noFill/>
              </p:grpSpPr>
              <p:grpSp>
                <p:nvGrpSpPr>
                  <p:cNvPr id="5860" name="Graphic 3">
                    <a:extLst>
                      <a:ext uri="{FF2B5EF4-FFF2-40B4-BE49-F238E27FC236}">
                        <a16:creationId xmlns:a16="http://schemas.microsoft.com/office/drawing/2014/main" id="{81FC1E7F-AC06-431E-A112-ECEFED6C8863}"/>
                      </a:ext>
                    </a:extLst>
                  </p:cNvPr>
                  <p:cNvGrpSpPr/>
                  <p:nvPr/>
                </p:nvGrpSpPr>
                <p:grpSpPr>
                  <a:xfrm>
                    <a:off x="7695774" y="2855296"/>
                    <a:ext cx="169373" cy="220987"/>
                    <a:chOff x="7695774" y="2855296"/>
                    <a:chExt cx="169373" cy="220987"/>
                  </a:xfrm>
                  <a:noFill/>
                </p:grpSpPr>
                <p:grpSp>
                  <p:nvGrpSpPr>
                    <p:cNvPr id="5862" name="Graphic 3">
                      <a:extLst>
                        <a:ext uri="{FF2B5EF4-FFF2-40B4-BE49-F238E27FC236}">
                          <a16:creationId xmlns:a16="http://schemas.microsoft.com/office/drawing/2014/main" id="{38742908-5258-43BA-BEAF-FAF074F9C089}"/>
                        </a:ext>
                      </a:extLst>
                    </p:cNvPr>
                    <p:cNvGrpSpPr/>
                    <p:nvPr/>
                  </p:nvGrpSpPr>
                  <p:grpSpPr>
                    <a:xfrm>
                      <a:off x="7695774" y="2902365"/>
                      <a:ext cx="169373" cy="173919"/>
                      <a:chOff x="7695774" y="2902365"/>
                      <a:chExt cx="169373" cy="173919"/>
                    </a:xfrm>
                    <a:noFill/>
                  </p:grpSpPr>
                  <p:sp>
                    <p:nvSpPr>
                      <p:cNvPr id="5868" name="Vrije vorm: vorm 5867">
                        <a:extLst>
                          <a:ext uri="{FF2B5EF4-FFF2-40B4-BE49-F238E27FC236}">
                            <a16:creationId xmlns:a16="http://schemas.microsoft.com/office/drawing/2014/main" id="{3CB39A2C-10AA-4819-ACF5-21E8750FE97C}"/>
                          </a:ext>
                        </a:extLst>
                      </p:cNvPr>
                      <p:cNvSpPr/>
                      <p:nvPr/>
                    </p:nvSpPr>
                    <p:spPr>
                      <a:xfrm>
                        <a:off x="7757554" y="2960856"/>
                        <a:ext cx="20992" cy="54603"/>
                      </a:xfrm>
                      <a:custGeom>
                        <a:avLst/>
                        <a:gdLst>
                          <a:gd name="connsiteX0" fmla="*/ 10406 w 20992"/>
                          <a:gd name="connsiteY0" fmla="*/ 30920 h 54603"/>
                          <a:gd name="connsiteX1" fmla="*/ 10406 w 20992"/>
                          <a:gd name="connsiteY1" fmla="*/ 30920 h 54603"/>
                          <a:gd name="connsiteX2" fmla="*/ 10406 w 20992"/>
                          <a:gd name="connsiteY2" fmla="*/ 30920 h 54603"/>
                          <a:gd name="connsiteX3" fmla="*/ 5203 w 20992"/>
                          <a:gd name="connsiteY3" fmla="*/ 7715 h 54603"/>
                          <a:gd name="connsiteX4" fmla="*/ 0 w 20992"/>
                          <a:gd name="connsiteY4" fmla="*/ 1555 h 54603"/>
                          <a:gd name="connsiteX5" fmla="*/ 60 w 20992"/>
                          <a:gd name="connsiteY5" fmla="*/ 1256 h 54603"/>
                          <a:gd name="connsiteX6" fmla="*/ 5443 w 20992"/>
                          <a:gd name="connsiteY6" fmla="*/ 0 h 54603"/>
                          <a:gd name="connsiteX7" fmla="*/ 5562 w 20992"/>
                          <a:gd name="connsiteY7" fmla="*/ 60 h 54603"/>
                          <a:gd name="connsiteX8" fmla="*/ 5622 w 20992"/>
                          <a:gd name="connsiteY8" fmla="*/ 0 h 54603"/>
                          <a:gd name="connsiteX9" fmla="*/ 15131 w 20992"/>
                          <a:gd name="connsiteY9" fmla="*/ 6040 h 54603"/>
                          <a:gd name="connsiteX10" fmla="*/ 15191 w 20992"/>
                          <a:gd name="connsiteY10" fmla="*/ 6160 h 54603"/>
                          <a:gd name="connsiteX11" fmla="*/ 18780 w 20992"/>
                          <a:gd name="connsiteY11" fmla="*/ 25059 h 54603"/>
                          <a:gd name="connsiteX12" fmla="*/ 18780 w 20992"/>
                          <a:gd name="connsiteY12" fmla="*/ 25059 h 54603"/>
                          <a:gd name="connsiteX13" fmla="*/ 18780 w 20992"/>
                          <a:gd name="connsiteY13" fmla="*/ 25059 h 54603"/>
                          <a:gd name="connsiteX14" fmla="*/ 20992 w 20992"/>
                          <a:gd name="connsiteY14" fmla="*/ 54544 h 54603"/>
                          <a:gd name="connsiteX15" fmla="*/ 20693 w 20992"/>
                          <a:gd name="connsiteY15" fmla="*/ 54604 h 54603"/>
                          <a:gd name="connsiteX16" fmla="*/ 10406 w 20992"/>
                          <a:gd name="connsiteY16" fmla="*/ 30920 h 54603"/>
                          <a:gd name="connsiteX17" fmla="*/ 18480 w 20992"/>
                          <a:gd name="connsiteY17" fmla="*/ 25418 h 54603"/>
                          <a:gd name="connsiteX18" fmla="*/ 10765 w 20992"/>
                          <a:gd name="connsiteY18" fmla="*/ 30860 h 54603"/>
                          <a:gd name="connsiteX19" fmla="*/ 20573 w 20992"/>
                          <a:gd name="connsiteY19" fmla="*/ 53587 h 54603"/>
                          <a:gd name="connsiteX20" fmla="*/ 18480 w 20992"/>
                          <a:gd name="connsiteY20" fmla="*/ 25418 h 54603"/>
                          <a:gd name="connsiteX21" fmla="*/ 5681 w 20992"/>
                          <a:gd name="connsiteY21" fmla="*/ 8313 h 54603"/>
                          <a:gd name="connsiteX22" fmla="*/ 10706 w 20992"/>
                          <a:gd name="connsiteY22" fmla="*/ 30561 h 54603"/>
                          <a:gd name="connsiteX23" fmla="*/ 18420 w 20992"/>
                          <a:gd name="connsiteY23" fmla="*/ 25119 h 54603"/>
                          <a:gd name="connsiteX24" fmla="*/ 5681 w 20992"/>
                          <a:gd name="connsiteY24" fmla="*/ 8313 h 54603"/>
                          <a:gd name="connsiteX25" fmla="*/ 5383 w 20992"/>
                          <a:gd name="connsiteY25" fmla="*/ 419 h 54603"/>
                          <a:gd name="connsiteX26" fmla="*/ 478 w 20992"/>
                          <a:gd name="connsiteY26" fmla="*/ 1555 h 54603"/>
                          <a:gd name="connsiteX27" fmla="*/ 5263 w 20992"/>
                          <a:gd name="connsiteY27" fmla="*/ 7177 h 54603"/>
                          <a:gd name="connsiteX28" fmla="*/ 5383 w 20992"/>
                          <a:gd name="connsiteY28" fmla="*/ 419 h 54603"/>
                          <a:gd name="connsiteX29" fmla="*/ 5681 w 20992"/>
                          <a:gd name="connsiteY29" fmla="*/ 478 h 54603"/>
                          <a:gd name="connsiteX30" fmla="*/ 5503 w 20992"/>
                          <a:gd name="connsiteY30" fmla="*/ 7536 h 54603"/>
                          <a:gd name="connsiteX31" fmla="*/ 18301 w 20992"/>
                          <a:gd name="connsiteY31" fmla="*/ 24461 h 54603"/>
                          <a:gd name="connsiteX32" fmla="*/ 14892 w 20992"/>
                          <a:gd name="connsiteY32" fmla="*/ 6340 h 54603"/>
                          <a:gd name="connsiteX33" fmla="*/ 5681 w 20992"/>
                          <a:gd name="connsiteY33" fmla="*/ 478 h 5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992" h="54603">
                            <a:moveTo>
                              <a:pt x="10406" y="30920"/>
                            </a:moveTo>
                            <a:lnTo>
                              <a:pt x="10406" y="30920"/>
                            </a:lnTo>
                            <a:lnTo>
                              <a:pt x="10406" y="30920"/>
                            </a:lnTo>
                            <a:lnTo>
                              <a:pt x="5203" y="7715"/>
                            </a:lnTo>
                            <a:lnTo>
                              <a:pt x="0" y="1555"/>
                            </a:lnTo>
                            <a:lnTo>
                              <a:pt x="60" y="1256"/>
                            </a:lnTo>
                            <a:lnTo>
                              <a:pt x="5443" y="0"/>
                            </a:lnTo>
                            <a:lnTo>
                              <a:pt x="5562" y="60"/>
                            </a:lnTo>
                            <a:lnTo>
                              <a:pt x="5622" y="0"/>
                            </a:lnTo>
                            <a:lnTo>
                              <a:pt x="15131" y="6040"/>
                            </a:lnTo>
                            <a:lnTo>
                              <a:pt x="15191" y="6160"/>
                            </a:lnTo>
                            <a:lnTo>
                              <a:pt x="18780" y="25059"/>
                            </a:lnTo>
                            <a:lnTo>
                              <a:pt x="18780" y="25059"/>
                            </a:lnTo>
                            <a:lnTo>
                              <a:pt x="18780" y="25059"/>
                            </a:lnTo>
                            <a:lnTo>
                              <a:pt x="20992" y="54544"/>
                            </a:lnTo>
                            <a:lnTo>
                              <a:pt x="20693" y="54604"/>
                            </a:lnTo>
                            <a:lnTo>
                              <a:pt x="10406" y="30920"/>
                            </a:lnTo>
                            <a:close/>
                            <a:moveTo>
                              <a:pt x="18480" y="25418"/>
                            </a:moveTo>
                            <a:lnTo>
                              <a:pt x="10765" y="30860"/>
                            </a:lnTo>
                            <a:lnTo>
                              <a:pt x="20573" y="53587"/>
                            </a:lnTo>
                            <a:lnTo>
                              <a:pt x="18480" y="25418"/>
                            </a:lnTo>
                            <a:close/>
                            <a:moveTo>
                              <a:pt x="5681" y="8313"/>
                            </a:moveTo>
                            <a:lnTo>
                              <a:pt x="10706" y="30561"/>
                            </a:lnTo>
                            <a:lnTo>
                              <a:pt x="18420" y="25119"/>
                            </a:lnTo>
                            <a:lnTo>
                              <a:pt x="5681" y="8313"/>
                            </a:lnTo>
                            <a:close/>
                            <a:moveTo>
                              <a:pt x="5383" y="419"/>
                            </a:moveTo>
                            <a:lnTo>
                              <a:pt x="478" y="1555"/>
                            </a:lnTo>
                            <a:lnTo>
                              <a:pt x="5263" y="7177"/>
                            </a:lnTo>
                            <a:lnTo>
                              <a:pt x="5383" y="419"/>
                            </a:lnTo>
                            <a:close/>
                            <a:moveTo>
                              <a:pt x="5681" y="478"/>
                            </a:moveTo>
                            <a:lnTo>
                              <a:pt x="5503" y="7536"/>
                            </a:lnTo>
                            <a:lnTo>
                              <a:pt x="18301" y="24461"/>
                            </a:lnTo>
                            <a:lnTo>
                              <a:pt x="14892" y="6340"/>
                            </a:lnTo>
                            <a:lnTo>
                              <a:pt x="5681" y="478"/>
                            </a:lnTo>
                            <a:close/>
                          </a:path>
                        </a:pathLst>
                      </a:custGeom>
                      <a:noFill/>
                      <a:ln w="6350" cap="flat">
                        <a:solidFill>
                          <a:schemeClr val="bg1">
                            <a:alpha val="80000"/>
                          </a:schemeClr>
                        </a:solidFill>
                        <a:prstDash val="solid"/>
                        <a:miter/>
                      </a:ln>
                    </p:spPr>
                    <p:txBody>
                      <a:bodyPr rtlCol="0" anchor="ctr"/>
                      <a:lstStyle/>
                      <a:p>
                        <a:endParaRPr lang="en-GB"/>
                      </a:p>
                    </p:txBody>
                  </p:sp>
                  <p:sp>
                    <p:nvSpPr>
                      <p:cNvPr id="5869" name="Vrije vorm: vorm 5868">
                        <a:extLst>
                          <a:ext uri="{FF2B5EF4-FFF2-40B4-BE49-F238E27FC236}">
                            <a16:creationId xmlns:a16="http://schemas.microsoft.com/office/drawing/2014/main" id="{2BACCC25-0C2F-4526-A388-885F4D9DD157}"/>
                          </a:ext>
                        </a:extLst>
                      </p:cNvPr>
                      <p:cNvSpPr/>
                      <p:nvPr/>
                    </p:nvSpPr>
                    <p:spPr>
                      <a:xfrm>
                        <a:off x="7723285" y="2902365"/>
                        <a:ext cx="141862" cy="172244"/>
                      </a:xfrm>
                      <a:custGeom>
                        <a:avLst/>
                        <a:gdLst>
                          <a:gd name="connsiteX0" fmla="*/ 16447 w 141862"/>
                          <a:gd name="connsiteY0" fmla="*/ 160702 h 172244"/>
                          <a:gd name="connsiteX1" fmla="*/ 16626 w 141862"/>
                          <a:gd name="connsiteY1" fmla="*/ 160463 h 172244"/>
                          <a:gd name="connsiteX2" fmla="*/ 25418 w 141862"/>
                          <a:gd name="connsiteY2" fmla="*/ 163154 h 172244"/>
                          <a:gd name="connsiteX3" fmla="*/ 41088 w 141862"/>
                          <a:gd name="connsiteY3" fmla="*/ 158669 h 172244"/>
                          <a:gd name="connsiteX4" fmla="*/ 46171 w 141862"/>
                          <a:gd name="connsiteY4" fmla="*/ 153585 h 172244"/>
                          <a:gd name="connsiteX5" fmla="*/ 46231 w 141862"/>
                          <a:gd name="connsiteY5" fmla="*/ 153645 h 172244"/>
                          <a:gd name="connsiteX6" fmla="*/ 46171 w 141862"/>
                          <a:gd name="connsiteY6" fmla="*/ 153585 h 172244"/>
                          <a:gd name="connsiteX7" fmla="*/ 68001 w 141862"/>
                          <a:gd name="connsiteY7" fmla="*/ 136181 h 172244"/>
                          <a:gd name="connsiteX8" fmla="*/ 67283 w 141862"/>
                          <a:gd name="connsiteY8" fmla="*/ 134267 h 172244"/>
                          <a:gd name="connsiteX9" fmla="*/ 54424 w 141862"/>
                          <a:gd name="connsiteY9" fmla="*/ 139111 h 172244"/>
                          <a:gd name="connsiteX10" fmla="*/ 54185 w 141862"/>
                          <a:gd name="connsiteY10" fmla="*/ 138992 h 172244"/>
                          <a:gd name="connsiteX11" fmla="*/ 52391 w 141862"/>
                          <a:gd name="connsiteY11" fmla="*/ 133370 h 172244"/>
                          <a:gd name="connsiteX12" fmla="*/ 50836 w 141862"/>
                          <a:gd name="connsiteY12" fmla="*/ 128645 h 172244"/>
                          <a:gd name="connsiteX13" fmla="*/ 50716 w 141862"/>
                          <a:gd name="connsiteY13" fmla="*/ 125117 h 172244"/>
                          <a:gd name="connsiteX14" fmla="*/ 50716 w 141862"/>
                          <a:gd name="connsiteY14" fmla="*/ 125117 h 172244"/>
                          <a:gd name="connsiteX15" fmla="*/ 50776 w 141862"/>
                          <a:gd name="connsiteY15" fmla="*/ 124997 h 172244"/>
                          <a:gd name="connsiteX16" fmla="*/ 63934 w 141862"/>
                          <a:gd name="connsiteY16" fmla="*/ 114770 h 172244"/>
                          <a:gd name="connsiteX17" fmla="*/ 55082 w 141862"/>
                          <a:gd name="connsiteY17" fmla="*/ 113335 h 172244"/>
                          <a:gd name="connsiteX18" fmla="*/ 55082 w 141862"/>
                          <a:gd name="connsiteY18" fmla="*/ 112976 h 172244"/>
                          <a:gd name="connsiteX19" fmla="*/ 67044 w 141862"/>
                          <a:gd name="connsiteY19" fmla="*/ 109866 h 172244"/>
                          <a:gd name="connsiteX20" fmla="*/ 52810 w 141862"/>
                          <a:gd name="connsiteY20" fmla="*/ 83730 h 172244"/>
                          <a:gd name="connsiteX21" fmla="*/ 52869 w 141862"/>
                          <a:gd name="connsiteY21" fmla="*/ 83670 h 172244"/>
                          <a:gd name="connsiteX22" fmla="*/ 52810 w 141862"/>
                          <a:gd name="connsiteY22" fmla="*/ 83551 h 172244"/>
                          <a:gd name="connsiteX23" fmla="*/ 67044 w 141862"/>
                          <a:gd name="connsiteY23" fmla="*/ 53767 h 172244"/>
                          <a:gd name="connsiteX24" fmla="*/ 49520 w 141862"/>
                          <a:gd name="connsiteY24" fmla="*/ 64891 h 172244"/>
                          <a:gd name="connsiteX25" fmla="*/ 49281 w 141862"/>
                          <a:gd name="connsiteY25" fmla="*/ 64711 h 172244"/>
                          <a:gd name="connsiteX26" fmla="*/ 52092 w 141862"/>
                          <a:gd name="connsiteY26" fmla="*/ 56039 h 172244"/>
                          <a:gd name="connsiteX27" fmla="*/ 39891 w 141862"/>
                          <a:gd name="connsiteY27" fmla="*/ 58910 h 172244"/>
                          <a:gd name="connsiteX28" fmla="*/ 39831 w 141862"/>
                          <a:gd name="connsiteY28" fmla="*/ 58850 h 172244"/>
                          <a:gd name="connsiteX29" fmla="*/ 39772 w 141862"/>
                          <a:gd name="connsiteY29" fmla="*/ 58910 h 172244"/>
                          <a:gd name="connsiteX30" fmla="*/ 35346 w 141862"/>
                          <a:gd name="connsiteY30" fmla="*/ 57714 h 172244"/>
                          <a:gd name="connsiteX31" fmla="*/ 34568 w 141862"/>
                          <a:gd name="connsiteY31" fmla="*/ 60046 h 172244"/>
                          <a:gd name="connsiteX32" fmla="*/ 34449 w 141862"/>
                          <a:gd name="connsiteY32" fmla="*/ 60106 h 172244"/>
                          <a:gd name="connsiteX33" fmla="*/ 34389 w 141862"/>
                          <a:gd name="connsiteY33" fmla="*/ 60166 h 172244"/>
                          <a:gd name="connsiteX34" fmla="*/ 12918 w 141862"/>
                          <a:gd name="connsiteY34" fmla="*/ 60286 h 172244"/>
                          <a:gd name="connsiteX35" fmla="*/ 5681 w 141862"/>
                          <a:gd name="connsiteY35" fmla="*/ 60525 h 172244"/>
                          <a:gd name="connsiteX36" fmla="*/ 5502 w 141862"/>
                          <a:gd name="connsiteY36" fmla="*/ 60345 h 172244"/>
                          <a:gd name="connsiteX37" fmla="*/ 5741 w 141862"/>
                          <a:gd name="connsiteY37" fmla="*/ 57654 h 172244"/>
                          <a:gd name="connsiteX38" fmla="*/ 60 w 141862"/>
                          <a:gd name="connsiteY38" fmla="*/ 55561 h 172244"/>
                          <a:gd name="connsiteX39" fmla="*/ 0 w 141862"/>
                          <a:gd name="connsiteY39" fmla="*/ 55262 h 172244"/>
                          <a:gd name="connsiteX40" fmla="*/ 6519 w 141862"/>
                          <a:gd name="connsiteY40" fmla="*/ 49700 h 172244"/>
                          <a:gd name="connsiteX41" fmla="*/ 6579 w 141862"/>
                          <a:gd name="connsiteY41" fmla="*/ 49700 h 172244"/>
                          <a:gd name="connsiteX42" fmla="*/ 6579 w 141862"/>
                          <a:gd name="connsiteY42" fmla="*/ 49700 h 172244"/>
                          <a:gd name="connsiteX43" fmla="*/ 24401 w 141862"/>
                          <a:gd name="connsiteY43" fmla="*/ 42523 h 172244"/>
                          <a:gd name="connsiteX44" fmla="*/ 22308 w 141862"/>
                          <a:gd name="connsiteY44" fmla="*/ 38037 h 172244"/>
                          <a:gd name="connsiteX45" fmla="*/ 22308 w 141862"/>
                          <a:gd name="connsiteY45" fmla="*/ 37858 h 172244"/>
                          <a:gd name="connsiteX46" fmla="*/ 28169 w 141862"/>
                          <a:gd name="connsiteY46" fmla="*/ 26734 h 172244"/>
                          <a:gd name="connsiteX47" fmla="*/ 29544 w 141862"/>
                          <a:gd name="connsiteY47" fmla="*/ 16925 h 172244"/>
                          <a:gd name="connsiteX48" fmla="*/ 29604 w 141862"/>
                          <a:gd name="connsiteY48" fmla="*/ 16925 h 172244"/>
                          <a:gd name="connsiteX49" fmla="*/ 29664 w 141862"/>
                          <a:gd name="connsiteY49" fmla="*/ 16865 h 172244"/>
                          <a:gd name="connsiteX50" fmla="*/ 29604 w 141862"/>
                          <a:gd name="connsiteY50" fmla="*/ 16806 h 172244"/>
                          <a:gd name="connsiteX51" fmla="*/ 49879 w 141862"/>
                          <a:gd name="connsiteY51" fmla="*/ 1435 h 172244"/>
                          <a:gd name="connsiteX52" fmla="*/ 50118 w 141862"/>
                          <a:gd name="connsiteY52" fmla="*/ 1615 h 172244"/>
                          <a:gd name="connsiteX53" fmla="*/ 48982 w 141862"/>
                          <a:gd name="connsiteY53" fmla="*/ 5801 h 172244"/>
                          <a:gd name="connsiteX54" fmla="*/ 60046 w 141862"/>
                          <a:gd name="connsiteY54" fmla="*/ 4186 h 172244"/>
                          <a:gd name="connsiteX55" fmla="*/ 66625 w 141862"/>
                          <a:gd name="connsiteY55" fmla="*/ 3289 h 172244"/>
                          <a:gd name="connsiteX56" fmla="*/ 77928 w 141862"/>
                          <a:gd name="connsiteY56" fmla="*/ 0 h 172244"/>
                          <a:gd name="connsiteX57" fmla="*/ 77988 w 141862"/>
                          <a:gd name="connsiteY57" fmla="*/ 120 h 172244"/>
                          <a:gd name="connsiteX58" fmla="*/ 78108 w 141862"/>
                          <a:gd name="connsiteY58" fmla="*/ 120 h 172244"/>
                          <a:gd name="connsiteX59" fmla="*/ 82534 w 141862"/>
                          <a:gd name="connsiteY59" fmla="*/ 8493 h 172244"/>
                          <a:gd name="connsiteX60" fmla="*/ 87079 w 141862"/>
                          <a:gd name="connsiteY60" fmla="*/ 8851 h 172244"/>
                          <a:gd name="connsiteX61" fmla="*/ 86301 w 141862"/>
                          <a:gd name="connsiteY61" fmla="*/ 3110 h 172244"/>
                          <a:gd name="connsiteX62" fmla="*/ 86601 w 141862"/>
                          <a:gd name="connsiteY62" fmla="*/ 2990 h 172244"/>
                          <a:gd name="connsiteX63" fmla="*/ 92342 w 141862"/>
                          <a:gd name="connsiteY63" fmla="*/ 9330 h 172244"/>
                          <a:gd name="connsiteX64" fmla="*/ 92342 w 141862"/>
                          <a:gd name="connsiteY64" fmla="*/ 9390 h 172244"/>
                          <a:gd name="connsiteX65" fmla="*/ 92342 w 141862"/>
                          <a:gd name="connsiteY65" fmla="*/ 9390 h 172244"/>
                          <a:gd name="connsiteX66" fmla="*/ 96409 w 141862"/>
                          <a:gd name="connsiteY66" fmla="*/ 26255 h 172244"/>
                          <a:gd name="connsiteX67" fmla="*/ 108251 w 141862"/>
                          <a:gd name="connsiteY67" fmla="*/ 66805 h 172244"/>
                          <a:gd name="connsiteX68" fmla="*/ 125116 w 141862"/>
                          <a:gd name="connsiteY68" fmla="*/ 99519 h 172244"/>
                          <a:gd name="connsiteX69" fmla="*/ 131934 w 141862"/>
                          <a:gd name="connsiteY69" fmla="*/ 107414 h 172244"/>
                          <a:gd name="connsiteX70" fmla="*/ 136240 w 141862"/>
                          <a:gd name="connsiteY70" fmla="*/ 117282 h 172244"/>
                          <a:gd name="connsiteX71" fmla="*/ 136181 w 141862"/>
                          <a:gd name="connsiteY71" fmla="*/ 117282 h 172244"/>
                          <a:gd name="connsiteX72" fmla="*/ 136181 w 141862"/>
                          <a:gd name="connsiteY72" fmla="*/ 117282 h 172244"/>
                          <a:gd name="connsiteX73" fmla="*/ 136240 w 141862"/>
                          <a:gd name="connsiteY73" fmla="*/ 117282 h 172244"/>
                          <a:gd name="connsiteX74" fmla="*/ 141863 w 141862"/>
                          <a:gd name="connsiteY74" fmla="*/ 132533 h 172244"/>
                          <a:gd name="connsiteX75" fmla="*/ 141803 w 141862"/>
                          <a:gd name="connsiteY75" fmla="*/ 132592 h 172244"/>
                          <a:gd name="connsiteX76" fmla="*/ 141863 w 141862"/>
                          <a:gd name="connsiteY76" fmla="*/ 132652 h 172244"/>
                          <a:gd name="connsiteX77" fmla="*/ 140487 w 141862"/>
                          <a:gd name="connsiteY77" fmla="*/ 138035 h 172244"/>
                          <a:gd name="connsiteX78" fmla="*/ 140188 w 141862"/>
                          <a:gd name="connsiteY78" fmla="*/ 138035 h 172244"/>
                          <a:gd name="connsiteX79" fmla="*/ 139231 w 141862"/>
                          <a:gd name="connsiteY79" fmla="*/ 133490 h 172244"/>
                          <a:gd name="connsiteX80" fmla="*/ 136839 w 141862"/>
                          <a:gd name="connsiteY80" fmla="*/ 134207 h 172244"/>
                          <a:gd name="connsiteX81" fmla="*/ 134686 w 141862"/>
                          <a:gd name="connsiteY81" fmla="*/ 138035 h 172244"/>
                          <a:gd name="connsiteX82" fmla="*/ 134626 w 141862"/>
                          <a:gd name="connsiteY82" fmla="*/ 138035 h 172244"/>
                          <a:gd name="connsiteX83" fmla="*/ 134626 w 141862"/>
                          <a:gd name="connsiteY83" fmla="*/ 138095 h 172244"/>
                          <a:gd name="connsiteX84" fmla="*/ 119255 w 141862"/>
                          <a:gd name="connsiteY84" fmla="*/ 147185 h 172244"/>
                          <a:gd name="connsiteX85" fmla="*/ 119195 w 141862"/>
                          <a:gd name="connsiteY85" fmla="*/ 147066 h 172244"/>
                          <a:gd name="connsiteX86" fmla="*/ 119195 w 141862"/>
                          <a:gd name="connsiteY86" fmla="*/ 147066 h 172244"/>
                          <a:gd name="connsiteX87" fmla="*/ 119195 w 141862"/>
                          <a:gd name="connsiteY87" fmla="*/ 147185 h 172244"/>
                          <a:gd name="connsiteX88" fmla="*/ 95632 w 141862"/>
                          <a:gd name="connsiteY88" fmla="*/ 153047 h 172244"/>
                          <a:gd name="connsiteX89" fmla="*/ 95632 w 141862"/>
                          <a:gd name="connsiteY89" fmla="*/ 152987 h 172244"/>
                          <a:gd name="connsiteX90" fmla="*/ 95632 w 141862"/>
                          <a:gd name="connsiteY90" fmla="*/ 153047 h 172244"/>
                          <a:gd name="connsiteX91" fmla="*/ 74759 w 141862"/>
                          <a:gd name="connsiteY91" fmla="*/ 155020 h 172244"/>
                          <a:gd name="connsiteX92" fmla="*/ 67642 w 141862"/>
                          <a:gd name="connsiteY92" fmla="*/ 159745 h 172244"/>
                          <a:gd name="connsiteX93" fmla="*/ 55740 w 141862"/>
                          <a:gd name="connsiteY93" fmla="*/ 161898 h 172244"/>
                          <a:gd name="connsiteX94" fmla="*/ 37320 w 141862"/>
                          <a:gd name="connsiteY94" fmla="*/ 166982 h 172244"/>
                          <a:gd name="connsiteX95" fmla="*/ 28169 w 141862"/>
                          <a:gd name="connsiteY95" fmla="*/ 172245 h 172244"/>
                          <a:gd name="connsiteX96" fmla="*/ 28049 w 141862"/>
                          <a:gd name="connsiteY96" fmla="*/ 172245 h 172244"/>
                          <a:gd name="connsiteX97" fmla="*/ 23205 w 141862"/>
                          <a:gd name="connsiteY97" fmla="*/ 170510 h 172244"/>
                          <a:gd name="connsiteX98" fmla="*/ 23145 w 141862"/>
                          <a:gd name="connsiteY98" fmla="*/ 170451 h 172244"/>
                          <a:gd name="connsiteX99" fmla="*/ 16447 w 141862"/>
                          <a:gd name="connsiteY99" fmla="*/ 160702 h 172244"/>
                          <a:gd name="connsiteX100" fmla="*/ 25298 w 141862"/>
                          <a:gd name="connsiteY100" fmla="*/ 163453 h 172244"/>
                          <a:gd name="connsiteX101" fmla="*/ 17045 w 141862"/>
                          <a:gd name="connsiteY101" fmla="*/ 160941 h 172244"/>
                          <a:gd name="connsiteX102" fmla="*/ 23325 w 141862"/>
                          <a:gd name="connsiteY102" fmla="*/ 169912 h 172244"/>
                          <a:gd name="connsiteX103" fmla="*/ 27811 w 141862"/>
                          <a:gd name="connsiteY103" fmla="*/ 171527 h 172244"/>
                          <a:gd name="connsiteX104" fmla="*/ 25298 w 141862"/>
                          <a:gd name="connsiteY104" fmla="*/ 163453 h 172244"/>
                          <a:gd name="connsiteX105" fmla="*/ 25657 w 141862"/>
                          <a:gd name="connsiteY105" fmla="*/ 163573 h 172244"/>
                          <a:gd name="connsiteX106" fmla="*/ 28109 w 141862"/>
                          <a:gd name="connsiteY106" fmla="*/ 171527 h 172244"/>
                          <a:gd name="connsiteX107" fmla="*/ 33850 w 141862"/>
                          <a:gd name="connsiteY107" fmla="*/ 165845 h 172244"/>
                          <a:gd name="connsiteX108" fmla="*/ 25657 w 141862"/>
                          <a:gd name="connsiteY108" fmla="*/ 163573 h 172244"/>
                          <a:gd name="connsiteX109" fmla="*/ 34210 w 141862"/>
                          <a:gd name="connsiteY109" fmla="*/ 165905 h 172244"/>
                          <a:gd name="connsiteX110" fmla="*/ 29066 w 141862"/>
                          <a:gd name="connsiteY110" fmla="*/ 170989 h 172244"/>
                          <a:gd name="connsiteX111" fmla="*/ 36782 w 141862"/>
                          <a:gd name="connsiteY111" fmla="*/ 166563 h 172244"/>
                          <a:gd name="connsiteX112" fmla="*/ 34210 w 141862"/>
                          <a:gd name="connsiteY112" fmla="*/ 165905 h 172244"/>
                          <a:gd name="connsiteX113" fmla="*/ 40549 w 141862"/>
                          <a:gd name="connsiteY113" fmla="*/ 159147 h 172244"/>
                          <a:gd name="connsiteX114" fmla="*/ 26016 w 141862"/>
                          <a:gd name="connsiteY114" fmla="*/ 163274 h 172244"/>
                          <a:gd name="connsiteX115" fmla="*/ 34090 w 141862"/>
                          <a:gd name="connsiteY115" fmla="*/ 165486 h 172244"/>
                          <a:gd name="connsiteX116" fmla="*/ 40549 w 141862"/>
                          <a:gd name="connsiteY116" fmla="*/ 159147 h 172244"/>
                          <a:gd name="connsiteX117" fmla="*/ 41207 w 141862"/>
                          <a:gd name="connsiteY117" fmla="*/ 158967 h 172244"/>
                          <a:gd name="connsiteX118" fmla="*/ 34509 w 141862"/>
                          <a:gd name="connsiteY118" fmla="*/ 165666 h 172244"/>
                          <a:gd name="connsiteX119" fmla="*/ 37200 w 141862"/>
                          <a:gd name="connsiteY119" fmla="*/ 166384 h 172244"/>
                          <a:gd name="connsiteX120" fmla="*/ 42583 w 141862"/>
                          <a:gd name="connsiteY120" fmla="*/ 158549 h 172244"/>
                          <a:gd name="connsiteX121" fmla="*/ 41207 w 141862"/>
                          <a:gd name="connsiteY121" fmla="*/ 158967 h 172244"/>
                          <a:gd name="connsiteX122" fmla="*/ 43061 w 141862"/>
                          <a:gd name="connsiteY122" fmla="*/ 158489 h 172244"/>
                          <a:gd name="connsiteX123" fmla="*/ 37678 w 141862"/>
                          <a:gd name="connsiteY123" fmla="*/ 166324 h 172244"/>
                          <a:gd name="connsiteX124" fmla="*/ 55022 w 141862"/>
                          <a:gd name="connsiteY124" fmla="*/ 161539 h 172244"/>
                          <a:gd name="connsiteX125" fmla="*/ 43061 w 141862"/>
                          <a:gd name="connsiteY125" fmla="*/ 158489 h 172244"/>
                          <a:gd name="connsiteX126" fmla="*/ 6399 w 141862"/>
                          <a:gd name="connsiteY126" fmla="*/ 50118 h 172244"/>
                          <a:gd name="connsiteX127" fmla="*/ 418 w 141862"/>
                          <a:gd name="connsiteY127" fmla="*/ 55202 h 172244"/>
                          <a:gd name="connsiteX128" fmla="*/ 5741 w 141862"/>
                          <a:gd name="connsiteY128" fmla="*/ 57176 h 172244"/>
                          <a:gd name="connsiteX129" fmla="*/ 6399 w 141862"/>
                          <a:gd name="connsiteY129" fmla="*/ 50118 h 172244"/>
                          <a:gd name="connsiteX130" fmla="*/ 44915 w 141862"/>
                          <a:gd name="connsiteY130" fmla="*/ 155319 h 172244"/>
                          <a:gd name="connsiteX131" fmla="*/ 41745 w 141862"/>
                          <a:gd name="connsiteY131" fmla="*/ 158429 h 172244"/>
                          <a:gd name="connsiteX132" fmla="*/ 42881 w 141862"/>
                          <a:gd name="connsiteY132" fmla="*/ 158130 h 172244"/>
                          <a:gd name="connsiteX133" fmla="*/ 44915 w 141862"/>
                          <a:gd name="connsiteY133" fmla="*/ 155319 h 172244"/>
                          <a:gd name="connsiteX134" fmla="*/ 46291 w 141862"/>
                          <a:gd name="connsiteY134" fmla="*/ 153944 h 172244"/>
                          <a:gd name="connsiteX135" fmla="*/ 43241 w 141862"/>
                          <a:gd name="connsiteY135" fmla="*/ 158190 h 172244"/>
                          <a:gd name="connsiteX136" fmla="*/ 54962 w 141862"/>
                          <a:gd name="connsiteY136" fmla="*/ 161180 h 172244"/>
                          <a:gd name="connsiteX137" fmla="*/ 46291 w 141862"/>
                          <a:gd name="connsiteY137" fmla="*/ 153944 h 172244"/>
                          <a:gd name="connsiteX138" fmla="*/ 6041 w 141862"/>
                          <a:gd name="connsiteY138" fmla="*/ 57654 h 172244"/>
                          <a:gd name="connsiteX139" fmla="*/ 5801 w 141862"/>
                          <a:gd name="connsiteY139" fmla="*/ 60106 h 172244"/>
                          <a:gd name="connsiteX140" fmla="*/ 12021 w 141862"/>
                          <a:gd name="connsiteY140" fmla="*/ 59927 h 172244"/>
                          <a:gd name="connsiteX141" fmla="*/ 6041 w 141862"/>
                          <a:gd name="connsiteY141" fmla="*/ 57654 h 172244"/>
                          <a:gd name="connsiteX142" fmla="*/ 6698 w 141862"/>
                          <a:gd name="connsiteY142" fmla="*/ 50238 h 172244"/>
                          <a:gd name="connsiteX143" fmla="*/ 6041 w 141862"/>
                          <a:gd name="connsiteY143" fmla="*/ 57355 h 172244"/>
                          <a:gd name="connsiteX144" fmla="*/ 12500 w 141862"/>
                          <a:gd name="connsiteY144" fmla="*/ 59747 h 172244"/>
                          <a:gd name="connsiteX145" fmla="*/ 6698 w 141862"/>
                          <a:gd name="connsiteY145" fmla="*/ 50238 h 172244"/>
                          <a:gd name="connsiteX146" fmla="*/ 60405 w 141862"/>
                          <a:gd name="connsiteY146" fmla="*/ 154362 h 172244"/>
                          <a:gd name="connsiteX147" fmla="*/ 46769 w 141862"/>
                          <a:gd name="connsiteY147" fmla="*/ 153884 h 172244"/>
                          <a:gd name="connsiteX148" fmla="*/ 55620 w 141862"/>
                          <a:gd name="connsiteY148" fmla="*/ 161240 h 172244"/>
                          <a:gd name="connsiteX149" fmla="*/ 60405 w 141862"/>
                          <a:gd name="connsiteY149" fmla="*/ 154362 h 172244"/>
                          <a:gd name="connsiteX150" fmla="*/ 69376 w 141862"/>
                          <a:gd name="connsiteY150" fmla="*/ 140068 h 172244"/>
                          <a:gd name="connsiteX151" fmla="*/ 46889 w 141862"/>
                          <a:gd name="connsiteY151" fmla="*/ 153525 h 172244"/>
                          <a:gd name="connsiteX152" fmla="*/ 60645 w 141862"/>
                          <a:gd name="connsiteY152" fmla="*/ 154004 h 172244"/>
                          <a:gd name="connsiteX153" fmla="*/ 69676 w 141862"/>
                          <a:gd name="connsiteY153" fmla="*/ 140965 h 172244"/>
                          <a:gd name="connsiteX154" fmla="*/ 69376 w 141862"/>
                          <a:gd name="connsiteY154" fmla="*/ 140068 h 172244"/>
                          <a:gd name="connsiteX155" fmla="*/ 33432 w 141862"/>
                          <a:gd name="connsiteY155" fmla="*/ 59747 h 172244"/>
                          <a:gd name="connsiteX156" fmla="*/ 6937 w 141862"/>
                          <a:gd name="connsiteY156" fmla="*/ 49999 h 172244"/>
                          <a:gd name="connsiteX157" fmla="*/ 12978 w 141862"/>
                          <a:gd name="connsiteY157" fmla="*/ 59867 h 172244"/>
                          <a:gd name="connsiteX158" fmla="*/ 33432 w 141862"/>
                          <a:gd name="connsiteY158" fmla="*/ 59747 h 172244"/>
                          <a:gd name="connsiteX159" fmla="*/ 30621 w 141862"/>
                          <a:gd name="connsiteY159" fmla="*/ 40190 h 172244"/>
                          <a:gd name="connsiteX160" fmla="*/ 24641 w 141862"/>
                          <a:gd name="connsiteY160" fmla="*/ 42583 h 172244"/>
                          <a:gd name="connsiteX161" fmla="*/ 7117 w 141862"/>
                          <a:gd name="connsiteY161" fmla="*/ 49640 h 172244"/>
                          <a:gd name="connsiteX162" fmla="*/ 33671 w 141862"/>
                          <a:gd name="connsiteY162" fmla="*/ 56817 h 172244"/>
                          <a:gd name="connsiteX163" fmla="*/ 30621 w 141862"/>
                          <a:gd name="connsiteY163" fmla="*/ 40190 h 172244"/>
                          <a:gd name="connsiteX164" fmla="*/ 68121 w 141862"/>
                          <a:gd name="connsiteY164" fmla="*/ 136480 h 172244"/>
                          <a:gd name="connsiteX165" fmla="*/ 48384 w 141862"/>
                          <a:gd name="connsiteY165" fmla="*/ 152209 h 172244"/>
                          <a:gd name="connsiteX166" fmla="*/ 69257 w 141862"/>
                          <a:gd name="connsiteY166" fmla="*/ 139710 h 172244"/>
                          <a:gd name="connsiteX167" fmla="*/ 68121 w 141862"/>
                          <a:gd name="connsiteY167" fmla="*/ 136480 h 172244"/>
                          <a:gd name="connsiteX168" fmla="*/ 33731 w 141862"/>
                          <a:gd name="connsiteY168" fmla="*/ 57235 h 172244"/>
                          <a:gd name="connsiteX169" fmla="*/ 10287 w 141862"/>
                          <a:gd name="connsiteY169" fmla="*/ 50896 h 172244"/>
                          <a:gd name="connsiteX170" fmla="*/ 34150 w 141862"/>
                          <a:gd name="connsiteY170" fmla="*/ 59687 h 172244"/>
                          <a:gd name="connsiteX171" fmla="*/ 33731 w 141862"/>
                          <a:gd name="connsiteY171" fmla="*/ 57235 h 172244"/>
                          <a:gd name="connsiteX172" fmla="*/ 60823 w 141862"/>
                          <a:gd name="connsiteY172" fmla="*/ 154362 h 172244"/>
                          <a:gd name="connsiteX173" fmla="*/ 56099 w 141862"/>
                          <a:gd name="connsiteY173" fmla="*/ 161120 h 172244"/>
                          <a:gd name="connsiteX174" fmla="*/ 73742 w 141862"/>
                          <a:gd name="connsiteY174" fmla="*/ 154781 h 172244"/>
                          <a:gd name="connsiteX175" fmla="*/ 60823 w 141862"/>
                          <a:gd name="connsiteY175" fmla="*/ 154362 h 172244"/>
                          <a:gd name="connsiteX176" fmla="*/ 73324 w 141862"/>
                          <a:gd name="connsiteY176" fmla="*/ 155319 h 172244"/>
                          <a:gd name="connsiteX177" fmla="*/ 57654 w 141862"/>
                          <a:gd name="connsiteY177" fmla="*/ 160941 h 172244"/>
                          <a:gd name="connsiteX178" fmla="*/ 67462 w 141862"/>
                          <a:gd name="connsiteY178" fmla="*/ 159147 h 172244"/>
                          <a:gd name="connsiteX179" fmla="*/ 73324 w 141862"/>
                          <a:gd name="connsiteY179" fmla="*/ 155319 h 172244"/>
                          <a:gd name="connsiteX180" fmla="*/ 52810 w 141862"/>
                          <a:gd name="connsiteY180" fmla="*/ 133430 h 172244"/>
                          <a:gd name="connsiteX181" fmla="*/ 54484 w 141862"/>
                          <a:gd name="connsiteY181" fmla="*/ 138633 h 172244"/>
                          <a:gd name="connsiteX182" fmla="*/ 66506 w 141862"/>
                          <a:gd name="connsiteY182" fmla="*/ 134088 h 172244"/>
                          <a:gd name="connsiteX183" fmla="*/ 52810 w 141862"/>
                          <a:gd name="connsiteY183" fmla="*/ 133430 h 172244"/>
                          <a:gd name="connsiteX184" fmla="*/ 51135 w 141862"/>
                          <a:gd name="connsiteY184" fmla="*/ 125296 h 172244"/>
                          <a:gd name="connsiteX185" fmla="*/ 52750 w 141862"/>
                          <a:gd name="connsiteY185" fmla="*/ 133071 h 172244"/>
                          <a:gd name="connsiteX186" fmla="*/ 67403 w 141862"/>
                          <a:gd name="connsiteY186" fmla="*/ 133789 h 172244"/>
                          <a:gd name="connsiteX187" fmla="*/ 67522 w 141862"/>
                          <a:gd name="connsiteY187" fmla="*/ 133848 h 172244"/>
                          <a:gd name="connsiteX188" fmla="*/ 71529 w 141862"/>
                          <a:gd name="connsiteY188" fmla="*/ 138214 h 172244"/>
                          <a:gd name="connsiteX189" fmla="*/ 75537 w 141862"/>
                          <a:gd name="connsiteY189" fmla="*/ 128765 h 172244"/>
                          <a:gd name="connsiteX190" fmla="*/ 51135 w 141862"/>
                          <a:gd name="connsiteY190" fmla="*/ 125296 h 172244"/>
                          <a:gd name="connsiteX191" fmla="*/ 69854 w 141862"/>
                          <a:gd name="connsiteY191" fmla="*/ 141384 h 172244"/>
                          <a:gd name="connsiteX192" fmla="*/ 61063 w 141862"/>
                          <a:gd name="connsiteY192" fmla="*/ 154004 h 172244"/>
                          <a:gd name="connsiteX193" fmla="*/ 74400 w 141862"/>
                          <a:gd name="connsiteY193" fmla="*/ 154482 h 172244"/>
                          <a:gd name="connsiteX194" fmla="*/ 69854 w 141862"/>
                          <a:gd name="connsiteY194" fmla="*/ 141384 h 172244"/>
                          <a:gd name="connsiteX195" fmla="*/ 51195 w 141862"/>
                          <a:gd name="connsiteY195" fmla="*/ 128526 h 172244"/>
                          <a:gd name="connsiteX196" fmla="*/ 51912 w 141862"/>
                          <a:gd name="connsiteY196" fmla="*/ 130559 h 172244"/>
                          <a:gd name="connsiteX197" fmla="*/ 51195 w 141862"/>
                          <a:gd name="connsiteY197" fmla="*/ 126971 h 172244"/>
                          <a:gd name="connsiteX198" fmla="*/ 51195 w 141862"/>
                          <a:gd name="connsiteY198" fmla="*/ 128526 h 172244"/>
                          <a:gd name="connsiteX199" fmla="*/ 64412 w 141862"/>
                          <a:gd name="connsiteY199" fmla="*/ 114830 h 172244"/>
                          <a:gd name="connsiteX200" fmla="*/ 51374 w 141862"/>
                          <a:gd name="connsiteY200" fmla="*/ 124997 h 172244"/>
                          <a:gd name="connsiteX201" fmla="*/ 75715 w 141862"/>
                          <a:gd name="connsiteY201" fmla="*/ 128526 h 172244"/>
                          <a:gd name="connsiteX202" fmla="*/ 78587 w 141862"/>
                          <a:gd name="connsiteY202" fmla="*/ 121767 h 172244"/>
                          <a:gd name="connsiteX203" fmla="*/ 64412 w 141862"/>
                          <a:gd name="connsiteY203" fmla="*/ 114830 h 172244"/>
                          <a:gd name="connsiteX204" fmla="*/ 27811 w 141862"/>
                          <a:gd name="connsiteY204" fmla="*/ 27870 h 172244"/>
                          <a:gd name="connsiteX205" fmla="*/ 22547 w 141862"/>
                          <a:gd name="connsiteY205" fmla="*/ 37798 h 172244"/>
                          <a:gd name="connsiteX206" fmla="*/ 24461 w 141862"/>
                          <a:gd name="connsiteY206" fmla="*/ 41925 h 172244"/>
                          <a:gd name="connsiteX207" fmla="*/ 27811 w 141862"/>
                          <a:gd name="connsiteY207" fmla="*/ 27870 h 172244"/>
                          <a:gd name="connsiteX208" fmla="*/ 28289 w 141862"/>
                          <a:gd name="connsiteY208" fmla="*/ 27451 h 172244"/>
                          <a:gd name="connsiteX209" fmla="*/ 24820 w 141862"/>
                          <a:gd name="connsiteY209" fmla="*/ 42164 h 172244"/>
                          <a:gd name="connsiteX210" fmla="*/ 30561 w 141862"/>
                          <a:gd name="connsiteY210" fmla="*/ 39891 h 172244"/>
                          <a:gd name="connsiteX211" fmla="*/ 28289 w 141862"/>
                          <a:gd name="connsiteY211" fmla="*/ 27451 h 172244"/>
                          <a:gd name="connsiteX212" fmla="*/ 34090 w 141862"/>
                          <a:gd name="connsiteY212" fmla="*/ 57295 h 172244"/>
                          <a:gd name="connsiteX213" fmla="*/ 34449 w 141862"/>
                          <a:gd name="connsiteY213" fmla="*/ 59209 h 172244"/>
                          <a:gd name="connsiteX214" fmla="*/ 34987 w 141862"/>
                          <a:gd name="connsiteY214" fmla="*/ 57535 h 172244"/>
                          <a:gd name="connsiteX215" fmla="*/ 34090 w 141862"/>
                          <a:gd name="connsiteY215" fmla="*/ 57295 h 172244"/>
                          <a:gd name="connsiteX216" fmla="*/ 66864 w 141862"/>
                          <a:gd name="connsiteY216" fmla="*/ 110225 h 172244"/>
                          <a:gd name="connsiteX217" fmla="*/ 55920 w 141862"/>
                          <a:gd name="connsiteY217" fmla="*/ 113095 h 172244"/>
                          <a:gd name="connsiteX218" fmla="*/ 64233 w 141862"/>
                          <a:gd name="connsiteY218" fmla="*/ 114411 h 172244"/>
                          <a:gd name="connsiteX219" fmla="*/ 66864 w 141862"/>
                          <a:gd name="connsiteY219" fmla="*/ 110225 h 172244"/>
                          <a:gd name="connsiteX220" fmla="*/ 31159 w 141862"/>
                          <a:gd name="connsiteY220" fmla="*/ 41147 h 172244"/>
                          <a:gd name="connsiteX221" fmla="*/ 34030 w 141862"/>
                          <a:gd name="connsiteY221" fmla="*/ 56936 h 172244"/>
                          <a:gd name="connsiteX222" fmla="*/ 35107 w 141862"/>
                          <a:gd name="connsiteY222" fmla="*/ 57235 h 172244"/>
                          <a:gd name="connsiteX223" fmla="*/ 36662 w 141862"/>
                          <a:gd name="connsiteY223" fmla="*/ 52630 h 172244"/>
                          <a:gd name="connsiteX224" fmla="*/ 31159 w 141862"/>
                          <a:gd name="connsiteY224" fmla="*/ 41147 h 172244"/>
                          <a:gd name="connsiteX225" fmla="*/ 36901 w 141862"/>
                          <a:gd name="connsiteY225" fmla="*/ 53049 h 172244"/>
                          <a:gd name="connsiteX226" fmla="*/ 35465 w 141862"/>
                          <a:gd name="connsiteY226" fmla="*/ 57355 h 172244"/>
                          <a:gd name="connsiteX227" fmla="*/ 39532 w 141862"/>
                          <a:gd name="connsiteY227" fmla="*/ 58432 h 172244"/>
                          <a:gd name="connsiteX228" fmla="*/ 36901 w 141862"/>
                          <a:gd name="connsiteY228" fmla="*/ 53049 h 172244"/>
                          <a:gd name="connsiteX229" fmla="*/ 70094 w 141862"/>
                          <a:gd name="connsiteY229" fmla="*/ 141025 h 172244"/>
                          <a:gd name="connsiteX230" fmla="*/ 74699 w 141862"/>
                          <a:gd name="connsiteY230" fmla="*/ 154243 h 172244"/>
                          <a:gd name="connsiteX231" fmla="*/ 81637 w 141862"/>
                          <a:gd name="connsiteY231" fmla="*/ 144614 h 172244"/>
                          <a:gd name="connsiteX232" fmla="*/ 71649 w 141862"/>
                          <a:gd name="connsiteY232" fmla="*/ 138753 h 172244"/>
                          <a:gd name="connsiteX233" fmla="*/ 70094 w 141862"/>
                          <a:gd name="connsiteY233" fmla="*/ 141025 h 172244"/>
                          <a:gd name="connsiteX234" fmla="*/ 69676 w 141862"/>
                          <a:gd name="connsiteY234" fmla="*/ 139889 h 172244"/>
                          <a:gd name="connsiteX235" fmla="*/ 69914 w 141862"/>
                          <a:gd name="connsiteY235" fmla="*/ 140607 h 172244"/>
                          <a:gd name="connsiteX236" fmla="*/ 70991 w 141862"/>
                          <a:gd name="connsiteY236" fmla="*/ 139111 h 172244"/>
                          <a:gd name="connsiteX237" fmla="*/ 69676 w 141862"/>
                          <a:gd name="connsiteY237" fmla="*/ 139889 h 172244"/>
                          <a:gd name="connsiteX238" fmla="*/ 68539 w 141862"/>
                          <a:gd name="connsiteY238" fmla="*/ 136600 h 172244"/>
                          <a:gd name="connsiteX239" fmla="*/ 69556 w 141862"/>
                          <a:gd name="connsiteY239" fmla="*/ 139530 h 172244"/>
                          <a:gd name="connsiteX240" fmla="*/ 71290 w 141862"/>
                          <a:gd name="connsiteY240" fmla="*/ 138513 h 172244"/>
                          <a:gd name="connsiteX241" fmla="*/ 68539 w 141862"/>
                          <a:gd name="connsiteY241" fmla="*/ 136600 h 172244"/>
                          <a:gd name="connsiteX242" fmla="*/ 67821 w 141862"/>
                          <a:gd name="connsiteY242" fmla="*/ 134746 h 172244"/>
                          <a:gd name="connsiteX243" fmla="*/ 68299 w 141862"/>
                          <a:gd name="connsiteY243" fmla="*/ 136121 h 172244"/>
                          <a:gd name="connsiteX244" fmla="*/ 70393 w 141862"/>
                          <a:gd name="connsiteY244" fmla="*/ 137557 h 172244"/>
                          <a:gd name="connsiteX245" fmla="*/ 67821 w 141862"/>
                          <a:gd name="connsiteY245" fmla="*/ 134746 h 172244"/>
                          <a:gd name="connsiteX246" fmla="*/ 88096 w 141862"/>
                          <a:gd name="connsiteY246" fmla="*/ 148441 h 172244"/>
                          <a:gd name="connsiteX247" fmla="*/ 75656 w 141862"/>
                          <a:gd name="connsiteY247" fmla="*/ 154362 h 172244"/>
                          <a:gd name="connsiteX248" fmla="*/ 95094 w 141862"/>
                          <a:gd name="connsiteY248" fmla="*/ 152508 h 172244"/>
                          <a:gd name="connsiteX249" fmla="*/ 88096 w 141862"/>
                          <a:gd name="connsiteY249" fmla="*/ 148441 h 172244"/>
                          <a:gd name="connsiteX250" fmla="*/ 81936 w 141862"/>
                          <a:gd name="connsiteY250" fmla="*/ 144853 h 172244"/>
                          <a:gd name="connsiteX251" fmla="*/ 75537 w 141862"/>
                          <a:gd name="connsiteY251" fmla="*/ 153704 h 172244"/>
                          <a:gd name="connsiteX252" fmla="*/ 84508 w 141862"/>
                          <a:gd name="connsiteY252" fmla="*/ 146408 h 172244"/>
                          <a:gd name="connsiteX253" fmla="*/ 81936 w 141862"/>
                          <a:gd name="connsiteY253" fmla="*/ 144853 h 172244"/>
                          <a:gd name="connsiteX254" fmla="*/ 84866 w 141862"/>
                          <a:gd name="connsiteY254" fmla="*/ 146528 h 172244"/>
                          <a:gd name="connsiteX255" fmla="*/ 75895 w 141862"/>
                          <a:gd name="connsiteY255" fmla="*/ 153824 h 172244"/>
                          <a:gd name="connsiteX256" fmla="*/ 87737 w 141862"/>
                          <a:gd name="connsiteY256" fmla="*/ 148202 h 172244"/>
                          <a:gd name="connsiteX257" fmla="*/ 84866 w 141862"/>
                          <a:gd name="connsiteY257" fmla="*/ 146528 h 172244"/>
                          <a:gd name="connsiteX258" fmla="*/ 44198 w 141862"/>
                          <a:gd name="connsiteY258" fmla="*/ 30322 h 172244"/>
                          <a:gd name="connsiteX259" fmla="*/ 30980 w 141862"/>
                          <a:gd name="connsiteY259" fmla="*/ 40071 h 172244"/>
                          <a:gd name="connsiteX260" fmla="*/ 36841 w 141862"/>
                          <a:gd name="connsiteY260" fmla="*/ 52212 h 172244"/>
                          <a:gd name="connsiteX261" fmla="*/ 44198 w 141862"/>
                          <a:gd name="connsiteY261" fmla="*/ 30322 h 172244"/>
                          <a:gd name="connsiteX262" fmla="*/ 29844 w 141862"/>
                          <a:gd name="connsiteY262" fmla="*/ 17165 h 172244"/>
                          <a:gd name="connsiteX263" fmla="*/ 30920 w 141862"/>
                          <a:gd name="connsiteY263" fmla="*/ 39652 h 172244"/>
                          <a:gd name="connsiteX264" fmla="*/ 44257 w 141862"/>
                          <a:gd name="connsiteY264" fmla="*/ 29844 h 172244"/>
                          <a:gd name="connsiteX265" fmla="*/ 29844 w 141862"/>
                          <a:gd name="connsiteY265" fmla="*/ 17165 h 172244"/>
                          <a:gd name="connsiteX266" fmla="*/ 28468 w 141862"/>
                          <a:gd name="connsiteY266" fmla="*/ 26614 h 172244"/>
                          <a:gd name="connsiteX267" fmla="*/ 30502 w 141862"/>
                          <a:gd name="connsiteY267" fmla="*/ 37499 h 172244"/>
                          <a:gd name="connsiteX268" fmla="*/ 29604 w 141862"/>
                          <a:gd name="connsiteY268" fmla="*/ 18600 h 172244"/>
                          <a:gd name="connsiteX269" fmla="*/ 28468 w 141862"/>
                          <a:gd name="connsiteY269" fmla="*/ 26614 h 172244"/>
                          <a:gd name="connsiteX270" fmla="*/ 44018 w 141862"/>
                          <a:gd name="connsiteY270" fmla="*/ 31877 h 172244"/>
                          <a:gd name="connsiteX271" fmla="*/ 37080 w 141862"/>
                          <a:gd name="connsiteY271" fmla="*/ 52570 h 172244"/>
                          <a:gd name="connsiteX272" fmla="*/ 39772 w 141862"/>
                          <a:gd name="connsiteY272" fmla="*/ 58132 h 172244"/>
                          <a:gd name="connsiteX273" fmla="*/ 44018 w 141862"/>
                          <a:gd name="connsiteY273" fmla="*/ 31877 h 172244"/>
                          <a:gd name="connsiteX274" fmla="*/ 44556 w 141862"/>
                          <a:gd name="connsiteY274" fmla="*/ 30621 h 172244"/>
                          <a:gd name="connsiteX275" fmla="*/ 40011 w 141862"/>
                          <a:gd name="connsiteY275" fmla="*/ 58491 h 172244"/>
                          <a:gd name="connsiteX276" fmla="*/ 52032 w 141862"/>
                          <a:gd name="connsiteY276" fmla="*/ 55681 h 172244"/>
                          <a:gd name="connsiteX277" fmla="*/ 44556 w 141862"/>
                          <a:gd name="connsiteY277" fmla="*/ 30621 h 172244"/>
                          <a:gd name="connsiteX278" fmla="*/ 82115 w 141862"/>
                          <a:gd name="connsiteY278" fmla="*/ 129782 h 172244"/>
                          <a:gd name="connsiteX279" fmla="*/ 72067 w 141862"/>
                          <a:gd name="connsiteY279" fmla="*/ 138394 h 172244"/>
                          <a:gd name="connsiteX280" fmla="*/ 86003 w 141862"/>
                          <a:gd name="connsiteY280" fmla="*/ 138693 h 172244"/>
                          <a:gd name="connsiteX281" fmla="*/ 88634 w 141862"/>
                          <a:gd name="connsiteY281" fmla="*/ 135045 h 172244"/>
                          <a:gd name="connsiteX282" fmla="*/ 82115 w 141862"/>
                          <a:gd name="connsiteY282" fmla="*/ 129782 h 172244"/>
                          <a:gd name="connsiteX283" fmla="*/ 85703 w 141862"/>
                          <a:gd name="connsiteY283" fmla="*/ 138992 h 172244"/>
                          <a:gd name="connsiteX284" fmla="*/ 72247 w 141862"/>
                          <a:gd name="connsiteY284" fmla="*/ 138693 h 172244"/>
                          <a:gd name="connsiteX285" fmla="*/ 81876 w 141862"/>
                          <a:gd name="connsiteY285" fmla="*/ 144315 h 172244"/>
                          <a:gd name="connsiteX286" fmla="*/ 85703 w 141862"/>
                          <a:gd name="connsiteY286" fmla="*/ 138992 h 172244"/>
                          <a:gd name="connsiteX287" fmla="*/ 75895 w 141862"/>
                          <a:gd name="connsiteY287" fmla="*/ 128825 h 172244"/>
                          <a:gd name="connsiteX288" fmla="*/ 72007 w 141862"/>
                          <a:gd name="connsiteY288" fmla="*/ 137915 h 172244"/>
                          <a:gd name="connsiteX289" fmla="*/ 81637 w 141862"/>
                          <a:gd name="connsiteY289" fmla="*/ 129662 h 172244"/>
                          <a:gd name="connsiteX290" fmla="*/ 75895 w 141862"/>
                          <a:gd name="connsiteY290" fmla="*/ 128825 h 172244"/>
                          <a:gd name="connsiteX291" fmla="*/ 67283 w 141862"/>
                          <a:gd name="connsiteY291" fmla="*/ 110225 h 172244"/>
                          <a:gd name="connsiteX292" fmla="*/ 64591 w 141862"/>
                          <a:gd name="connsiteY292" fmla="*/ 114531 h 172244"/>
                          <a:gd name="connsiteX293" fmla="*/ 77988 w 141862"/>
                          <a:gd name="connsiteY293" fmla="*/ 121050 h 172244"/>
                          <a:gd name="connsiteX294" fmla="*/ 67283 w 141862"/>
                          <a:gd name="connsiteY294" fmla="*/ 110225 h 172244"/>
                          <a:gd name="connsiteX295" fmla="*/ 84089 w 141862"/>
                          <a:gd name="connsiteY295" fmla="*/ 79304 h 172244"/>
                          <a:gd name="connsiteX296" fmla="*/ 53169 w 141862"/>
                          <a:gd name="connsiteY296" fmla="*/ 83730 h 172244"/>
                          <a:gd name="connsiteX297" fmla="*/ 67403 w 141862"/>
                          <a:gd name="connsiteY297" fmla="*/ 109806 h 172244"/>
                          <a:gd name="connsiteX298" fmla="*/ 78706 w 141862"/>
                          <a:gd name="connsiteY298" fmla="*/ 121229 h 172244"/>
                          <a:gd name="connsiteX299" fmla="*/ 84089 w 141862"/>
                          <a:gd name="connsiteY299" fmla="*/ 79304 h 172244"/>
                          <a:gd name="connsiteX300" fmla="*/ 67403 w 141862"/>
                          <a:gd name="connsiteY300" fmla="*/ 53647 h 172244"/>
                          <a:gd name="connsiteX301" fmla="*/ 53169 w 141862"/>
                          <a:gd name="connsiteY301" fmla="*/ 83431 h 172244"/>
                          <a:gd name="connsiteX302" fmla="*/ 83969 w 141862"/>
                          <a:gd name="connsiteY302" fmla="*/ 79005 h 172244"/>
                          <a:gd name="connsiteX303" fmla="*/ 67403 w 141862"/>
                          <a:gd name="connsiteY303" fmla="*/ 53647 h 172244"/>
                          <a:gd name="connsiteX304" fmla="*/ 46231 w 141862"/>
                          <a:gd name="connsiteY304" fmla="*/ 18959 h 172244"/>
                          <a:gd name="connsiteX305" fmla="*/ 30142 w 141862"/>
                          <a:gd name="connsiteY305" fmla="*/ 17045 h 172244"/>
                          <a:gd name="connsiteX306" fmla="*/ 44376 w 141862"/>
                          <a:gd name="connsiteY306" fmla="*/ 29545 h 172244"/>
                          <a:gd name="connsiteX307" fmla="*/ 46231 w 141862"/>
                          <a:gd name="connsiteY307" fmla="*/ 18959 h 172244"/>
                          <a:gd name="connsiteX308" fmla="*/ 48444 w 141862"/>
                          <a:gd name="connsiteY308" fmla="*/ 6160 h 172244"/>
                          <a:gd name="connsiteX309" fmla="*/ 30202 w 141862"/>
                          <a:gd name="connsiteY309" fmla="*/ 16626 h 172244"/>
                          <a:gd name="connsiteX310" fmla="*/ 46291 w 141862"/>
                          <a:gd name="connsiteY310" fmla="*/ 18540 h 172244"/>
                          <a:gd name="connsiteX311" fmla="*/ 48444 w 141862"/>
                          <a:gd name="connsiteY311" fmla="*/ 6160 h 172244"/>
                          <a:gd name="connsiteX312" fmla="*/ 52391 w 141862"/>
                          <a:gd name="connsiteY312" fmla="*/ 55920 h 172244"/>
                          <a:gd name="connsiteX313" fmla="*/ 49640 w 141862"/>
                          <a:gd name="connsiteY313" fmla="*/ 64352 h 172244"/>
                          <a:gd name="connsiteX314" fmla="*/ 66565 w 141862"/>
                          <a:gd name="connsiteY314" fmla="*/ 53587 h 172244"/>
                          <a:gd name="connsiteX315" fmla="*/ 52391 w 141862"/>
                          <a:gd name="connsiteY315" fmla="*/ 55920 h 172244"/>
                          <a:gd name="connsiteX316" fmla="*/ 86123 w 141862"/>
                          <a:gd name="connsiteY316" fmla="*/ 139052 h 172244"/>
                          <a:gd name="connsiteX317" fmla="*/ 82115 w 141862"/>
                          <a:gd name="connsiteY317" fmla="*/ 144554 h 172244"/>
                          <a:gd name="connsiteX318" fmla="*/ 84806 w 141862"/>
                          <a:gd name="connsiteY318" fmla="*/ 146109 h 172244"/>
                          <a:gd name="connsiteX319" fmla="*/ 93359 w 141862"/>
                          <a:gd name="connsiteY319" fmla="*/ 139171 h 172244"/>
                          <a:gd name="connsiteX320" fmla="*/ 86123 w 141862"/>
                          <a:gd name="connsiteY320" fmla="*/ 139052 h 172244"/>
                          <a:gd name="connsiteX321" fmla="*/ 78826 w 141862"/>
                          <a:gd name="connsiteY321" fmla="*/ 122066 h 172244"/>
                          <a:gd name="connsiteX322" fmla="*/ 76075 w 141862"/>
                          <a:gd name="connsiteY322" fmla="*/ 128526 h 172244"/>
                          <a:gd name="connsiteX323" fmla="*/ 81816 w 141862"/>
                          <a:gd name="connsiteY323" fmla="*/ 129363 h 172244"/>
                          <a:gd name="connsiteX324" fmla="*/ 78826 w 141862"/>
                          <a:gd name="connsiteY324" fmla="*/ 122066 h 172244"/>
                          <a:gd name="connsiteX325" fmla="*/ 49640 w 141862"/>
                          <a:gd name="connsiteY325" fmla="*/ 1854 h 172244"/>
                          <a:gd name="connsiteX326" fmla="*/ 31937 w 141862"/>
                          <a:gd name="connsiteY326" fmla="*/ 15251 h 172244"/>
                          <a:gd name="connsiteX327" fmla="*/ 48563 w 141862"/>
                          <a:gd name="connsiteY327" fmla="*/ 5682 h 172244"/>
                          <a:gd name="connsiteX328" fmla="*/ 49640 w 141862"/>
                          <a:gd name="connsiteY328" fmla="*/ 1854 h 172244"/>
                          <a:gd name="connsiteX329" fmla="*/ 93897 w 141862"/>
                          <a:gd name="connsiteY329" fmla="*/ 139231 h 172244"/>
                          <a:gd name="connsiteX330" fmla="*/ 85165 w 141862"/>
                          <a:gd name="connsiteY330" fmla="*/ 146348 h 172244"/>
                          <a:gd name="connsiteX331" fmla="*/ 88096 w 141862"/>
                          <a:gd name="connsiteY331" fmla="*/ 148083 h 172244"/>
                          <a:gd name="connsiteX332" fmla="*/ 101612 w 141862"/>
                          <a:gd name="connsiteY332" fmla="*/ 141623 h 172244"/>
                          <a:gd name="connsiteX333" fmla="*/ 93897 w 141862"/>
                          <a:gd name="connsiteY333" fmla="*/ 139231 h 172244"/>
                          <a:gd name="connsiteX334" fmla="*/ 102091 w 141862"/>
                          <a:gd name="connsiteY334" fmla="*/ 141743 h 172244"/>
                          <a:gd name="connsiteX335" fmla="*/ 88395 w 141862"/>
                          <a:gd name="connsiteY335" fmla="*/ 148262 h 172244"/>
                          <a:gd name="connsiteX336" fmla="*/ 95512 w 141862"/>
                          <a:gd name="connsiteY336" fmla="*/ 152449 h 172244"/>
                          <a:gd name="connsiteX337" fmla="*/ 105500 w 141862"/>
                          <a:gd name="connsiteY337" fmla="*/ 142819 h 172244"/>
                          <a:gd name="connsiteX338" fmla="*/ 102091 w 141862"/>
                          <a:gd name="connsiteY338" fmla="*/ 141743 h 172244"/>
                          <a:gd name="connsiteX339" fmla="*/ 44855 w 141862"/>
                          <a:gd name="connsiteY339" fmla="*/ 30442 h 172244"/>
                          <a:gd name="connsiteX340" fmla="*/ 52391 w 141862"/>
                          <a:gd name="connsiteY340" fmla="*/ 55561 h 172244"/>
                          <a:gd name="connsiteX341" fmla="*/ 67044 w 141862"/>
                          <a:gd name="connsiteY341" fmla="*/ 53169 h 172244"/>
                          <a:gd name="connsiteX342" fmla="*/ 44855 w 141862"/>
                          <a:gd name="connsiteY342" fmla="*/ 30442 h 172244"/>
                          <a:gd name="connsiteX343" fmla="*/ 83431 w 141862"/>
                          <a:gd name="connsiteY343" fmla="*/ 127210 h 172244"/>
                          <a:gd name="connsiteX344" fmla="*/ 79364 w 141862"/>
                          <a:gd name="connsiteY344" fmla="*/ 122485 h 172244"/>
                          <a:gd name="connsiteX345" fmla="*/ 82115 w 141862"/>
                          <a:gd name="connsiteY345" fmla="*/ 129183 h 172244"/>
                          <a:gd name="connsiteX346" fmla="*/ 83431 w 141862"/>
                          <a:gd name="connsiteY346" fmla="*/ 127210 h 172244"/>
                          <a:gd name="connsiteX347" fmla="*/ 84388 w 141862"/>
                          <a:gd name="connsiteY347" fmla="*/ 79544 h 172244"/>
                          <a:gd name="connsiteX348" fmla="*/ 79005 w 141862"/>
                          <a:gd name="connsiteY348" fmla="*/ 121349 h 172244"/>
                          <a:gd name="connsiteX349" fmla="*/ 90727 w 141862"/>
                          <a:gd name="connsiteY349" fmla="*/ 116325 h 172244"/>
                          <a:gd name="connsiteX350" fmla="*/ 100835 w 141862"/>
                          <a:gd name="connsiteY350" fmla="*/ 101254 h 172244"/>
                          <a:gd name="connsiteX351" fmla="*/ 84388 w 141862"/>
                          <a:gd name="connsiteY351" fmla="*/ 79544 h 172244"/>
                          <a:gd name="connsiteX352" fmla="*/ 86063 w 141862"/>
                          <a:gd name="connsiteY352" fmla="*/ 123322 h 172244"/>
                          <a:gd name="connsiteX353" fmla="*/ 79245 w 141862"/>
                          <a:gd name="connsiteY353" fmla="*/ 121887 h 172244"/>
                          <a:gd name="connsiteX354" fmla="*/ 83610 w 141862"/>
                          <a:gd name="connsiteY354" fmla="*/ 126971 h 172244"/>
                          <a:gd name="connsiteX355" fmla="*/ 86063 w 141862"/>
                          <a:gd name="connsiteY355" fmla="*/ 123322 h 172244"/>
                          <a:gd name="connsiteX356" fmla="*/ 84208 w 141862"/>
                          <a:gd name="connsiteY356" fmla="*/ 128107 h 172244"/>
                          <a:gd name="connsiteX357" fmla="*/ 82355 w 141862"/>
                          <a:gd name="connsiteY357" fmla="*/ 129542 h 172244"/>
                          <a:gd name="connsiteX358" fmla="*/ 88814 w 141862"/>
                          <a:gd name="connsiteY358" fmla="*/ 134746 h 172244"/>
                          <a:gd name="connsiteX359" fmla="*/ 89352 w 141862"/>
                          <a:gd name="connsiteY359" fmla="*/ 134028 h 172244"/>
                          <a:gd name="connsiteX360" fmla="*/ 84208 w 141862"/>
                          <a:gd name="connsiteY360" fmla="*/ 128107 h 172244"/>
                          <a:gd name="connsiteX361" fmla="*/ 90369 w 141862"/>
                          <a:gd name="connsiteY361" fmla="*/ 116863 h 172244"/>
                          <a:gd name="connsiteX362" fmla="*/ 79364 w 141862"/>
                          <a:gd name="connsiteY362" fmla="*/ 121528 h 172244"/>
                          <a:gd name="connsiteX363" fmla="*/ 86242 w 141862"/>
                          <a:gd name="connsiteY363" fmla="*/ 122964 h 172244"/>
                          <a:gd name="connsiteX364" fmla="*/ 90369 w 141862"/>
                          <a:gd name="connsiteY364" fmla="*/ 116863 h 172244"/>
                          <a:gd name="connsiteX365" fmla="*/ 88873 w 141862"/>
                          <a:gd name="connsiteY365" fmla="*/ 135224 h 172244"/>
                          <a:gd name="connsiteX366" fmla="*/ 86361 w 141862"/>
                          <a:gd name="connsiteY366" fmla="*/ 138693 h 172244"/>
                          <a:gd name="connsiteX367" fmla="*/ 93359 w 141862"/>
                          <a:gd name="connsiteY367" fmla="*/ 138812 h 172244"/>
                          <a:gd name="connsiteX368" fmla="*/ 88873 w 141862"/>
                          <a:gd name="connsiteY368" fmla="*/ 135224 h 172244"/>
                          <a:gd name="connsiteX369" fmla="*/ 83670 w 141862"/>
                          <a:gd name="connsiteY369" fmla="*/ 127509 h 172244"/>
                          <a:gd name="connsiteX370" fmla="*/ 82833 w 141862"/>
                          <a:gd name="connsiteY370" fmla="*/ 128765 h 172244"/>
                          <a:gd name="connsiteX371" fmla="*/ 83969 w 141862"/>
                          <a:gd name="connsiteY371" fmla="*/ 127868 h 172244"/>
                          <a:gd name="connsiteX372" fmla="*/ 83670 w 141862"/>
                          <a:gd name="connsiteY372" fmla="*/ 127509 h 172244"/>
                          <a:gd name="connsiteX373" fmla="*/ 63276 w 141862"/>
                          <a:gd name="connsiteY373" fmla="*/ 27093 h 172244"/>
                          <a:gd name="connsiteX374" fmla="*/ 44855 w 141862"/>
                          <a:gd name="connsiteY374" fmla="*/ 29963 h 172244"/>
                          <a:gd name="connsiteX375" fmla="*/ 67163 w 141862"/>
                          <a:gd name="connsiteY375" fmla="*/ 52810 h 172244"/>
                          <a:gd name="connsiteX376" fmla="*/ 63276 w 141862"/>
                          <a:gd name="connsiteY376" fmla="*/ 27093 h 172244"/>
                          <a:gd name="connsiteX377" fmla="*/ 46589 w 141862"/>
                          <a:gd name="connsiteY377" fmla="*/ 18959 h 172244"/>
                          <a:gd name="connsiteX378" fmla="*/ 44796 w 141862"/>
                          <a:gd name="connsiteY378" fmla="*/ 29246 h 172244"/>
                          <a:gd name="connsiteX379" fmla="*/ 52690 w 141862"/>
                          <a:gd name="connsiteY379" fmla="*/ 19736 h 172244"/>
                          <a:gd name="connsiteX380" fmla="*/ 46589 w 141862"/>
                          <a:gd name="connsiteY380" fmla="*/ 18959 h 172244"/>
                          <a:gd name="connsiteX381" fmla="*/ 86421 w 141862"/>
                          <a:gd name="connsiteY381" fmla="*/ 123382 h 172244"/>
                          <a:gd name="connsiteX382" fmla="*/ 83850 w 141862"/>
                          <a:gd name="connsiteY382" fmla="*/ 127210 h 172244"/>
                          <a:gd name="connsiteX383" fmla="*/ 84208 w 141862"/>
                          <a:gd name="connsiteY383" fmla="*/ 127629 h 172244"/>
                          <a:gd name="connsiteX384" fmla="*/ 88873 w 141862"/>
                          <a:gd name="connsiteY384" fmla="*/ 123920 h 172244"/>
                          <a:gd name="connsiteX385" fmla="*/ 86421 w 141862"/>
                          <a:gd name="connsiteY385" fmla="*/ 123382 h 172244"/>
                          <a:gd name="connsiteX386" fmla="*/ 53109 w 141862"/>
                          <a:gd name="connsiteY386" fmla="*/ 19736 h 172244"/>
                          <a:gd name="connsiteX387" fmla="*/ 45154 w 141862"/>
                          <a:gd name="connsiteY387" fmla="*/ 29305 h 172244"/>
                          <a:gd name="connsiteX388" fmla="*/ 61900 w 141862"/>
                          <a:gd name="connsiteY388" fmla="*/ 20813 h 172244"/>
                          <a:gd name="connsiteX389" fmla="*/ 53109 w 141862"/>
                          <a:gd name="connsiteY389" fmla="*/ 19736 h 172244"/>
                          <a:gd name="connsiteX390" fmla="*/ 89352 w 141862"/>
                          <a:gd name="connsiteY390" fmla="*/ 123980 h 172244"/>
                          <a:gd name="connsiteX391" fmla="*/ 84508 w 141862"/>
                          <a:gd name="connsiteY391" fmla="*/ 127868 h 172244"/>
                          <a:gd name="connsiteX392" fmla="*/ 89591 w 141862"/>
                          <a:gd name="connsiteY392" fmla="*/ 133729 h 172244"/>
                          <a:gd name="connsiteX393" fmla="*/ 95692 w 141862"/>
                          <a:gd name="connsiteY393" fmla="*/ 125296 h 172244"/>
                          <a:gd name="connsiteX394" fmla="*/ 89352 w 141862"/>
                          <a:gd name="connsiteY394" fmla="*/ 123980 h 172244"/>
                          <a:gd name="connsiteX395" fmla="*/ 62379 w 141862"/>
                          <a:gd name="connsiteY395" fmla="*/ 20992 h 172244"/>
                          <a:gd name="connsiteX396" fmla="*/ 45573 w 141862"/>
                          <a:gd name="connsiteY396" fmla="*/ 29545 h 172244"/>
                          <a:gd name="connsiteX397" fmla="*/ 63276 w 141862"/>
                          <a:gd name="connsiteY397" fmla="*/ 26794 h 172244"/>
                          <a:gd name="connsiteX398" fmla="*/ 62379 w 141862"/>
                          <a:gd name="connsiteY398" fmla="*/ 20992 h 172244"/>
                          <a:gd name="connsiteX399" fmla="*/ 89531 w 141862"/>
                          <a:gd name="connsiteY399" fmla="*/ 134327 h 172244"/>
                          <a:gd name="connsiteX400" fmla="*/ 89053 w 141862"/>
                          <a:gd name="connsiteY400" fmla="*/ 134985 h 172244"/>
                          <a:gd name="connsiteX401" fmla="*/ 92462 w 141862"/>
                          <a:gd name="connsiteY401" fmla="*/ 137736 h 172244"/>
                          <a:gd name="connsiteX402" fmla="*/ 89531 w 141862"/>
                          <a:gd name="connsiteY402" fmla="*/ 134327 h 172244"/>
                          <a:gd name="connsiteX403" fmla="*/ 105918 w 141862"/>
                          <a:gd name="connsiteY403" fmla="*/ 142939 h 172244"/>
                          <a:gd name="connsiteX404" fmla="*/ 96170 w 141862"/>
                          <a:gd name="connsiteY404" fmla="*/ 152329 h 172244"/>
                          <a:gd name="connsiteX405" fmla="*/ 118478 w 141862"/>
                          <a:gd name="connsiteY405" fmla="*/ 146767 h 172244"/>
                          <a:gd name="connsiteX406" fmla="*/ 105918 w 141862"/>
                          <a:gd name="connsiteY406" fmla="*/ 142939 h 172244"/>
                          <a:gd name="connsiteX407" fmla="*/ 95990 w 141862"/>
                          <a:gd name="connsiteY407" fmla="*/ 125416 h 172244"/>
                          <a:gd name="connsiteX408" fmla="*/ 89771 w 141862"/>
                          <a:gd name="connsiteY408" fmla="*/ 134028 h 172244"/>
                          <a:gd name="connsiteX409" fmla="*/ 93837 w 141862"/>
                          <a:gd name="connsiteY409" fmla="*/ 138693 h 172244"/>
                          <a:gd name="connsiteX410" fmla="*/ 99519 w 141862"/>
                          <a:gd name="connsiteY410" fmla="*/ 126133 h 172244"/>
                          <a:gd name="connsiteX411" fmla="*/ 95990 w 141862"/>
                          <a:gd name="connsiteY411" fmla="*/ 125416 h 172244"/>
                          <a:gd name="connsiteX412" fmla="*/ 90967 w 141862"/>
                          <a:gd name="connsiteY412" fmla="*/ 116624 h 172244"/>
                          <a:gd name="connsiteX413" fmla="*/ 86661 w 141862"/>
                          <a:gd name="connsiteY413" fmla="*/ 123083 h 172244"/>
                          <a:gd name="connsiteX414" fmla="*/ 89292 w 141862"/>
                          <a:gd name="connsiteY414" fmla="*/ 123621 h 172244"/>
                          <a:gd name="connsiteX415" fmla="*/ 106218 w 141862"/>
                          <a:gd name="connsiteY415" fmla="*/ 110105 h 172244"/>
                          <a:gd name="connsiteX416" fmla="*/ 90967 w 141862"/>
                          <a:gd name="connsiteY416" fmla="*/ 116624 h 172244"/>
                          <a:gd name="connsiteX417" fmla="*/ 48802 w 141862"/>
                          <a:gd name="connsiteY417" fmla="*/ 6220 h 172244"/>
                          <a:gd name="connsiteX418" fmla="*/ 46649 w 141862"/>
                          <a:gd name="connsiteY418" fmla="*/ 18660 h 172244"/>
                          <a:gd name="connsiteX419" fmla="*/ 52989 w 141862"/>
                          <a:gd name="connsiteY419" fmla="*/ 19437 h 172244"/>
                          <a:gd name="connsiteX420" fmla="*/ 56817 w 141862"/>
                          <a:gd name="connsiteY420" fmla="*/ 14832 h 172244"/>
                          <a:gd name="connsiteX421" fmla="*/ 48802 w 141862"/>
                          <a:gd name="connsiteY421" fmla="*/ 6220 h 172244"/>
                          <a:gd name="connsiteX422" fmla="*/ 99878 w 141862"/>
                          <a:gd name="connsiteY422" fmla="*/ 126253 h 172244"/>
                          <a:gd name="connsiteX423" fmla="*/ 94256 w 141862"/>
                          <a:gd name="connsiteY423" fmla="*/ 138633 h 172244"/>
                          <a:gd name="connsiteX424" fmla="*/ 110464 w 141862"/>
                          <a:gd name="connsiteY424" fmla="*/ 128765 h 172244"/>
                          <a:gd name="connsiteX425" fmla="*/ 110404 w 141862"/>
                          <a:gd name="connsiteY425" fmla="*/ 128526 h 172244"/>
                          <a:gd name="connsiteX426" fmla="*/ 99878 w 141862"/>
                          <a:gd name="connsiteY426" fmla="*/ 126253 h 172244"/>
                          <a:gd name="connsiteX427" fmla="*/ 111002 w 141862"/>
                          <a:gd name="connsiteY427" fmla="*/ 137138 h 172244"/>
                          <a:gd name="connsiteX428" fmla="*/ 94675 w 141862"/>
                          <a:gd name="connsiteY428" fmla="*/ 139111 h 172244"/>
                          <a:gd name="connsiteX429" fmla="*/ 102091 w 141862"/>
                          <a:gd name="connsiteY429" fmla="*/ 141384 h 172244"/>
                          <a:gd name="connsiteX430" fmla="*/ 111002 w 141862"/>
                          <a:gd name="connsiteY430" fmla="*/ 137138 h 172244"/>
                          <a:gd name="connsiteX431" fmla="*/ 110524 w 141862"/>
                          <a:gd name="connsiteY431" fmla="*/ 129064 h 172244"/>
                          <a:gd name="connsiteX432" fmla="*/ 94675 w 141862"/>
                          <a:gd name="connsiteY432" fmla="*/ 138753 h 172244"/>
                          <a:gd name="connsiteX433" fmla="*/ 111839 w 141862"/>
                          <a:gd name="connsiteY433" fmla="*/ 136659 h 172244"/>
                          <a:gd name="connsiteX434" fmla="*/ 110524 w 141862"/>
                          <a:gd name="connsiteY434" fmla="*/ 129064 h 172244"/>
                          <a:gd name="connsiteX435" fmla="*/ 106397 w 141862"/>
                          <a:gd name="connsiteY435" fmla="*/ 110404 h 172244"/>
                          <a:gd name="connsiteX436" fmla="*/ 89711 w 141862"/>
                          <a:gd name="connsiteY436" fmla="*/ 123741 h 172244"/>
                          <a:gd name="connsiteX437" fmla="*/ 95870 w 141862"/>
                          <a:gd name="connsiteY437" fmla="*/ 125057 h 172244"/>
                          <a:gd name="connsiteX438" fmla="*/ 106397 w 141862"/>
                          <a:gd name="connsiteY438" fmla="*/ 110404 h 172244"/>
                          <a:gd name="connsiteX439" fmla="*/ 101074 w 141862"/>
                          <a:gd name="connsiteY439" fmla="*/ 101553 h 172244"/>
                          <a:gd name="connsiteX440" fmla="*/ 91326 w 141862"/>
                          <a:gd name="connsiteY440" fmla="*/ 116086 h 172244"/>
                          <a:gd name="connsiteX441" fmla="*/ 106995 w 141862"/>
                          <a:gd name="connsiteY441" fmla="*/ 109387 h 172244"/>
                          <a:gd name="connsiteX442" fmla="*/ 101074 w 141862"/>
                          <a:gd name="connsiteY442" fmla="*/ 101553 h 172244"/>
                          <a:gd name="connsiteX443" fmla="*/ 56996 w 141862"/>
                          <a:gd name="connsiteY443" fmla="*/ 15071 h 172244"/>
                          <a:gd name="connsiteX444" fmla="*/ 53348 w 141862"/>
                          <a:gd name="connsiteY444" fmla="*/ 19437 h 172244"/>
                          <a:gd name="connsiteX445" fmla="*/ 62020 w 141862"/>
                          <a:gd name="connsiteY445" fmla="*/ 20454 h 172244"/>
                          <a:gd name="connsiteX446" fmla="*/ 56996 w 141862"/>
                          <a:gd name="connsiteY446" fmla="*/ 15071 h 172244"/>
                          <a:gd name="connsiteX447" fmla="*/ 111122 w 141862"/>
                          <a:gd name="connsiteY447" fmla="*/ 137437 h 172244"/>
                          <a:gd name="connsiteX448" fmla="*/ 102570 w 141862"/>
                          <a:gd name="connsiteY448" fmla="*/ 141504 h 172244"/>
                          <a:gd name="connsiteX449" fmla="*/ 105858 w 141862"/>
                          <a:gd name="connsiteY449" fmla="*/ 142521 h 172244"/>
                          <a:gd name="connsiteX450" fmla="*/ 111122 w 141862"/>
                          <a:gd name="connsiteY450" fmla="*/ 137437 h 172244"/>
                          <a:gd name="connsiteX451" fmla="*/ 80620 w 141862"/>
                          <a:gd name="connsiteY451" fmla="*/ 54664 h 172244"/>
                          <a:gd name="connsiteX452" fmla="*/ 67761 w 141862"/>
                          <a:gd name="connsiteY452" fmla="*/ 53527 h 172244"/>
                          <a:gd name="connsiteX453" fmla="*/ 84029 w 141862"/>
                          <a:gd name="connsiteY453" fmla="*/ 78467 h 172244"/>
                          <a:gd name="connsiteX454" fmla="*/ 80620 w 141862"/>
                          <a:gd name="connsiteY454" fmla="*/ 54664 h 172244"/>
                          <a:gd name="connsiteX455" fmla="*/ 63635 w 141862"/>
                          <a:gd name="connsiteY455" fmla="*/ 27093 h 172244"/>
                          <a:gd name="connsiteX456" fmla="*/ 67522 w 141862"/>
                          <a:gd name="connsiteY456" fmla="*/ 52870 h 172244"/>
                          <a:gd name="connsiteX457" fmla="*/ 78347 w 141862"/>
                          <a:gd name="connsiteY457" fmla="*/ 39114 h 172244"/>
                          <a:gd name="connsiteX458" fmla="*/ 67343 w 141862"/>
                          <a:gd name="connsiteY458" fmla="*/ 26495 h 172244"/>
                          <a:gd name="connsiteX459" fmla="*/ 63635 w 141862"/>
                          <a:gd name="connsiteY459" fmla="*/ 27093 h 172244"/>
                          <a:gd name="connsiteX460" fmla="*/ 106397 w 141862"/>
                          <a:gd name="connsiteY460" fmla="*/ 111002 h 172244"/>
                          <a:gd name="connsiteX461" fmla="*/ 96230 w 141862"/>
                          <a:gd name="connsiteY461" fmla="*/ 125117 h 172244"/>
                          <a:gd name="connsiteX462" fmla="*/ 99698 w 141862"/>
                          <a:gd name="connsiteY462" fmla="*/ 125834 h 172244"/>
                          <a:gd name="connsiteX463" fmla="*/ 106397 w 141862"/>
                          <a:gd name="connsiteY463" fmla="*/ 111002 h 172244"/>
                          <a:gd name="connsiteX464" fmla="*/ 78407 w 141862"/>
                          <a:gd name="connsiteY464" fmla="*/ 39532 h 172244"/>
                          <a:gd name="connsiteX465" fmla="*/ 67701 w 141862"/>
                          <a:gd name="connsiteY465" fmla="*/ 53109 h 172244"/>
                          <a:gd name="connsiteX466" fmla="*/ 80500 w 141862"/>
                          <a:gd name="connsiteY466" fmla="*/ 54245 h 172244"/>
                          <a:gd name="connsiteX467" fmla="*/ 78407 w 141862"/>
                          <a:gd name="connsiteY467" fmla="*/ 39532 h 172244"/>
                          <a:gd name="connsiteX468" fmla="*/ 63156 w 141862"/>
                          <a:gd name="connsiteY468" fmla="*/ 7117 h 172244"/>
                          <a:gd name="connsiteX469" fmla="*/ 49101 w 141862"/>
                          <a:gd name="connsiteY469" fmla="*/ 6040 h 172244"/>
                          <a:gd name="connsiteX470" fmla="*/ 56996 w 141862"/>
                          <a:gd name="connsiteY470" fmla="*/ 14533 h 172244"/>
                          <a:gd name="connsiteX471" fmla="*/ 63156 w 141862"/>
                          <a:gd name="connsiteY471" fmla="*/ 7117 h 172244"/>
                          <a:gd name="connsiteX472" fmla="*/ 66146 w 141862"/>
                          <a:gd name="connsiteY472" fmla="*/ 3529 h 172244"/>
                          <a:gd name="connsiteX473" fmla="*/ 60046 w 141862"/>
                          <a:gd name="connsiteY473" fmla="*/ 4366 h 172244"/>
                          <a:gd name="connsiteX474" fmla="*/ 50297 w 141862"/>
                          <a:gd name="connsiteY474" fmla="*/ 5801 h 172244"/>
                          <a:gd name="connsiteX475" fmla="*/ 63455 w 141862"/>
                          <a:gd name="connsiteY475" fmla="*/ 6818 h 172244"/>
                          <a:gd name="connsiteX476" fmla="*/ 66146 w 141862"/>
                          <a:gd name="connsiteY476" fmla="*/ 3529 h 172244"/>
                          <a:gd name="connsiteX477" fmla="*/ 112019 w 141862"/>
                          <a:gd name="connsiteY477" fmla="*/ 137078 h 172244"/>
                          <a:gd name="connsiteX478" fmla="*/ 106218 w 141862"/>
                          <a:gd name="connsiteY478" fmla="*/ 142640 h 172244"/>
                          <a:gd name="connsiteX479" fmla="*/ 118717 w 141862"/>
                          <a:gd name="connsiteY479" fmla="*/ 146468 h 172244"/>
                          <a:gd name="connsiteX480" fmla="*/ 112019 w 141862"/>
                          <a:gd name="connsiteY480" fmla="*/ 137078 h 172244"/>
                          <a:gd name="connsiteX481" fmla="*/ 107174 w 141862"/>
                          <a:gd name="connsiteY481" fmla="*/ 110045 h 172244"/>
                          <a:gd name="connsiteX482" fmla="*/ 99998 w 141862"/>
                          <a:gd name="connsiteY482" fmla="*/ 125894 h 172244"/>
                          <a:gd name="connsiteX483" fmla="*/ 110344 w 141862"/>
                          <a:gd name="connsiteY483" fmla="*/ 128047 h 172244"/>
                          <a:gd name="connsiteX484" fmla="*/ 107174 w 141862"/>
                          <a:gd name="connsiteY484" fmla="*/ 110045 h 172244"/>
                          <a:gd name="connsiteX485" fmla="*/ 63575 w 141862"/>
                          <a:gd name="connsiteY485" fmla="*/ 7177 h 172244"/>
                          <a:gd name="connsiteX486" fmla="*/ 57235 w 141862"/>
                          <a:gd name="connsiteY486" fmla="*/ 14772 h 172244"/>
                          <a:gd name="connsiteX487" fmla="*/ 62438 w 141862"/>
                          <a:gd name="connsiteY487" fmla="*/ 20334 h 172244"/>
                          <a:gd name="connsiteX488" fmla="*/ 65489 w 141862"/>
                          <a:gd name="connsiteY488" fmla="*/ 7296 h 172244"/>
                          <a:gd name="connsiteX489" fmla="*/ 63575 w 141862"/>
                          <a:gd name="connsiteY489" fmla="*/ 7177 h 172244"/>
                          <a:gd name="connsiteX490" fmla="*/ 62738 w 141862"/>
                          <a:gd name="connsiteY490" fmla="*/ 21291 h 172244"/>
                          <a:gd name="connsiteX491" fmla="*/ 63575 w 141862"/>
                          <a:gd name="connsiteY491" fmla="*/ 26734 h 172244"/>
                          <a:gd name="connsiteX492" fmla="*/ 67044 w 141862"/>
                          <a:gd name="connsiteY492" fmla="*/ 26195 h 172244"/>
                          <a:gd name="connsiteX493" fmla="*/ 62738 w 141862"/>
                          <a:gd name="connsiteY493" fmla="*/ 21291 h 172244"/>
                          <a:gd name="connsiteX494" fmla="*/ 80919 w 141862"/>
                          <a:gd name="connsiteY494" fmla="*/ 54664 h 172244"/>
                          <a:gd name="connsiteX495" fmla="*/ 84388 w 141862"/>
                          <a:gd name="connsiteY495" fmla="*/ 78646 h 172244"/>
                          <a:gd name="connsiteX496" fmla="*/ 100297 w 141862"/>
                          <a:gd name="connsiteY496" fmla="*/ 56398 h 172244"/>
                          <a:gd name="connsiteX497" fmla="*/ 80919 w 141862"/>
                          <a:gd name="connsiteY497" fmla="*/ 54664 h 172244"/>
                          <a:gd name="connsiteX498" fmla="*/ 100476 w 141862"/>
                          <a:gd name="connsiteY498" fmla="*/ 56697 h 172244"/>
                          <a:gd name="connsiteX499" fmla="*/ 84568 w 141862"/>
                          <a:gd name="connsiteY499" fmla="*/ 79005 h 172244"/>
                          <a:gd name="connsiteX500" fmla="*/ 103945 w 141862"/>
                          <a:gd name="connsiteY500" fmla="*/ 84448 h 172244"/>
                          <a:gd name="connsiteX501" fmla="*/ 100476 w 141862"/>
                          <a:gd name="connsiteY501" fmla="*/ 56697 h 172244"/>
                          <a:gd name="connsiteX502" fmla="*/ 104005 w 141862"/>
                          <a:gd name="connsiteY502" fmla="*/ 84866 h 172244"/>
                          <a:gd name="connsiteX503" fmla="*/ 84926 w 141862"/>
                          <a:gd name="connsiteY503" fmla="*/ 79484 h 172244"/>
                          <a:gd name="connsiteX504" fmla="*/ 103825 w 141862"/>
                          <a:gd name="connsiteY504" fmla="*/ 96768 h 172244"/>
                          <a:gd name="connsiteX505" fmla="*/ 105201 w 141862"/>
                          <a:gd name="connsiteY505" fmla="*/ 94675 h 172244"/>
                          <a:gd name="connsiteX506" fmla="*/ 104005 w 141862"/>
                          <a:gd name="connsiteY506" fmla="*/ 84866 h 172244"/>
                          <a:gd name="connsiteX507" fmla="*/ 103646 w 141862"/>
                          <a:gd name="connsiteY507" fmla="*/ 97067 h 172244"/>
                          <a:gd name="connsiteX508" fmla="*/ 85524 w 141862"/>
                          <a:gd name="connsiteY508" fmla="*/ 80500 h 172244"/>
                          <a:gd name="connsiteX509" fmla="*/ 101014 w 141862"/>
                          <a:gd name="connsiteY509" fmla="*/ 100954 h 172244"/>
                          <a:gd name="connsiteX510" fmla="*/ 103646 w 141862"/>
                          <a:gd name="connsiteY510" fmla="*/ 97067 h 172244"/>
                          <a:gd name="connsiteX511" fmla="*/ 77032 w 141862"/>
                          <a:gd name="connsiteY511" fmla="*/ 20813 h 172244"/>
                          <a:gd name="connsiteX512" fmla="*/ 62857 w 141862"/>
                          <a:gd name="connsiteY512" fmla="*/ 20873 h 172244"/>
                          <a:gd name="connsiteX513" fmla="*/ 67403 w 141862"/>
                          <a:gd name="connsiteY513" fmla="*/ 26136 h 172244"/>
                          <a:gd name="connsiteX514" fmla="*/ 76852 w 141862"/>
                          <a:gd name="connsiteY514" fmla="*/ 24700 h 172244"/>
                          <a:gd name="connsiteX515" fmla="*/ 77032 w 141862"/>
                          <a:gd name="connsiteY515" fmla="*/ 20813 h 172244"/>
                          <a:gd name="connsiteX516" fmla="*/ 72307 w 141862"/>
                          <a:gd name="connsiteY516" fmla="*/ 7835 h 172244"/>
                          <a:gd name="connsiteX517" fmla="*/ 62857 w 141862"/>
                          <a:gd name="connsiteY517" fmla="*/ 20514 h 172244"/>
                          <a:gd name="connsiteX518" fmla="*/ 77032 w 141862"/>
                          <a:gd name="connsiteY518" fmla="*/ 20454 h 172244"/>
                          <a:gd name="connsiteX519" fmla="*/ 77450 w 141862"/>
                          <a:gd name="connsiteY519" fmla="*/ 8253 h 172244"/>
                          <a:gd name="connsiteX520" fmla="*/ 72307 w 141862"/>
                          <a:gd name="connsiteY520" fmla="*/ 7835 h 172244"/>
                          <a:gd name="connsiteX521" fmla="*/ 65788 w 141862"/>
                          <a:gd name="connsiteY521" fmla="*/ 7356 h 172244"/>
                          <a:gd name="connsiteX522" fmla="*/ 62857 w 141862"/>
                          <a:gd name="connsiteY522" fmla="*/ 19976 h 172244"/>
                          <a:gd name="connsiteX523" fmla="*/ 71888 w 141862"/>
                          <a:gd name="connsiteY523" fmla="*/ 7835 h 172244"/>
                          <a:gd name="connsiteX524" fmla="*/ 65788 w 141862"/>
                          <a:gd name="connsiteY524" fmla="*/ 7356 h 172244"/>
                          <a:gd name="connsiteX525" fmla="*/ 76912 w 141862"/>
                          <a:gd name="connsiteY525" fmla="*/ 24999 h 172244"/>
                          <a:gd name="connsiteX526" fmla="*/ 67701 w 141862"/>
                          <a:gd name="connsiteY526" fmla="*/ 26435 h 172244"/>
                          <a:gd name="connsiteX527" fmla="*/ 78287 w 141862"/>
                          <a:gd name="connsiteY527" fmla="*/ 38635 h 172244"/>
                          <a:gd name="connsiteX528" fmla="*/ 76912 w 141862"/>
                          <a:gd name="connsiteY528" fmla="*/ 24999 h 172244"/>
                          <a:gd name="connsiteX529" fmla="*/ 110822 w 141862"/>
                          <a:gd name="connsiteY529" fmla="*/ 128884 h 172244"/>
                          <a:gd name="connsiteX530" fmla="*/ 112198 w 141862"/>
                          <a:gd name="connsiteY530" fmla="*/ 136659 h 172244"/>
                          <a:gd name="connsiteX531" fmla="*/ 131576 w 141862"/>
                          <a:gd name="connsiteY531" fmla="*/ 137437 h 172244"/>
                          <a:gd name="connsiteX532" fmla="*/ 133011 w 141862"/>
                          <a:gd name="connsiteY532" fmla="*/ 136360 h 172244"/>
                          <a:gd name="connsiteX533" fmla="*/ 129183 w 141862"/>
                          <a:gd name="connsiteY533" fmla="*/ 132413 h 172244"/>
                          <a:gd name="connsiteX534" fmla="*/ 111241 w 141862"/>
                          <a:gd name="connsiteY534" fmla="*/ 128645 h 172244"/>
                          <a:gd name="connsiteX535" fmla="*/ 110822 w 141862"/>
                          <a:gd name="connsiteY535" fmla="*/ 128884 h 172244"/>
                          <a:gd name="connsiteX536" fmla="*/ 131097 w 141862"/>
                          <a:gd name="connsiteY536" fmla="*/ 137736 h 172244"/>
                          <a:gd name="connsiteX537" fmla="*/ 112377 w 141862"/>
                          <a:gd name="connsiteY537" fmla="*/ 136958 h 172244"/>
                          <a:gd name="connsiteX538" fmla="*/ 119195 w 141862"/>
                          <a:gd name="connsiteY538" fmla="*/ 146528 h 172244"/>
                          <a:gd name="connsiteX539" fmla="*/ 131097 w 141862"/>
                          <a:gd name="connsiteY539" fmla="*/ 137736 h 172244"/>
                          <a:gd name="connsiteX540" fmla="*/ 78766 w 141862"/>
                          <a:gd name="connsiteY540" fmla="*/ 39532 h 172244"/>
                          <a:gd name="connsiteX541" fmla="*/ 80919 w 141862"/>
                          <a:gd name="connsiteY541" fmla="*/ 54305 h 172244"/>
                          <a:gd name="connsiteX542" fmla="*/ 100057 w 141862"/>
                          <a:gd name="connsiteY542" fmla="*/ 56039 h 172244"/>
                          <a:gd name="connsiteX543" fmla="*/ 78766 w 141862"/>
                          <a:gd name="connsiteY543" fmla="*/ 39532 h 172244"/>
                          <a:gd name="connsiteX544" fmla="*/ 107533 w 141862"/>
                          <a:gd name="connsiteY544" fmla="*/ 109985 h 172244"/>
                          <a:gd name="connsiteX545" fmla="*/ 110703 w 141862"/>
                          <a:gd name="connsiteY545" fmla="*/ 128167 h 172244"/>
                          <a:gd name="connsiteX546" fmla="*/ 111181 w 141862"/>
                          <a:gd name="connsiteY546" fmla="*/ 128286 h 172244"/>
                          <a:gd name="connsiteX547" fmla="*/ 119973 w 141862"/>
                          <a:gd name="connsiteY547" fmla="*/ 122904 h 172244"/>
                          <a:gd name="connsiteX548" fmla="*/ 107533 w 141862"/>
                          <a:gd name="connsiteY548" fmla="*/ 109985 h 172244"/>
                          <a:gd name="connsiteX549" fmla="*/ 120212 w 141862"/>
                          <a:gd name="connsiteY549" fmla="*/ 123143 h 172244"/>
                          <a:gd name="connsiteX550" fmla="*/ 111660 w 141862"/>
                          <a:gd name="connsiteY550" fmla="*/ 128346 h 172244"/>
                          <a:gd name="connsiteX551" fmla="*/ 128705 w 141862"/>
                          <a:gd name="connsiteY551" fmla="*/ 131935 h 172244"/>
                          <a:gd name="connsiteX552" fmla="*/ 120212 w 141862"/>
                          <a:gd name="connsiteY552" fmla="*/ 123143 h 172244"/>
                          <a:gd name="connsiteX553" fmla="*/ 103885 w 141862"/>
                          <a:gd name="connsiteY553" fmla="*/ 97306 h 172244"/>
                          <a:gd name="connsiteX554" fmla="*/ 101253 w 141862"/>
                          <a:gd name="connsiteY554" fmla="*/ 101254 h 172244"/>
                          <a:gd name="connsiteX555" fmla="*/ 106995 w 141862"/>
                          <a:gd name="connsiteY555" fmla="*/ 108849 h 172244"/>
                          <a:gd name="connsiteX556" fmla="*/ 105739 w 141862"/>
                          <a:gd name="connsiteY556" fmla="*/ 98981 h 172244"/>
                          <a:gd name="connsiteX557" fmla="*/ 103885 w 141862"/>
                          <a:gd name="connsiteY557" fmla="*/ 97306 h 172244"/>
                          <a:gd name="connsiteX558" fmla="*/ 66206 w 141862"/>
                          <a:gd name="connsiteY558" fmla="*/ 3947 h 172244"/>
                          <a:gd name="connsiteX559" fmla="*/ 63814 w 141862"/>
                          <a:gd name="connsiteY559" fmla="*/ 6818 h 172244"/>
                          <a:gd name="connsiteX560" fmla="*/ 65489 w 141862"/>
                          <a:gd name="connsiteY560" fmla="*/ 6937 h 172244"/>
                          <a:gd name="connsiteX561" fmla="*/ 66206 w 141862"/>
                          <a:gd name="connsiteY561" fmla="*/ 3947 h 172244"/>
                          <a:gd name="connsiteX562" fmla="*/ 66685 w 141862"/>
                          <a:gd name="connsiteY562" fmla="*/ 3409 h 172244"/>
                          <a:gd name="connsiteX563" fmla="*/ 65848 w 141862"/>
                          <a:gd name="connsiteY563" fmla="*/ 6997 h 172244"/>
                          <a:gd name="connsiteX564" fmla="*/ 72067 w 141862"/>
                          <a:gd name="connsiteY564" fmla="*/ 7476 h 172244"/>
                          <a:gd name="connsiteX565" fmla="*/ 77390 w 141862"/>
                          <a:gd name="connsiteY565" fmla="*/ 299 h 172244"/>
                          <a:gd name="connsiteX566" fmla="*/ 66685 w 141862"/>
                          <a:gd name="connsiteY566" fmla="*/ 3409 h 172244"/>
                          <a:gd name="connsiteX567" fmla="*/ 88754 w 141862"/>
                          <a:gd name="connsiteY567" fmla="*/ 20992 h 172244"/>
                          <a:gd name="connsiteX568" fmla="*/ 78766 w 141862"/>
                          <a:gd name="connsiteY568" fmla="*/ 39114 h 172244"/>
                          <a:gd name="connsiteX569" fmla="*/ 100297 w 141862"/>
                          <a:gd name="connsiteY569" fmla="*/ 55800 h 172244"/>
                          <a:gd name="connsiteX570" fmla="*/ 88754 w 141862"/>
                          <a:gd name="connsiteY570" fmla="*/ 20992 h 172244"/>
                          <a:gd name="connsiteX571" fmla="*/ 77270 w 141862"/>
                          <a:gd name="connsiteY571" fmla="*/ 24940 h 172244"/>
                          <a:gd name="connsiteX572" fmla="*/ 78647 w 141862"/>
                          <a:gd name="connsiteY572" fmla="*/ 38576 h 172244"/>
                          <a:gd name="connsiteX573" fmla="*/ 88395 w 141862"/>
                          <a:gd name="connsiteY573" fmla="*/ 20873 h 172244"/>
                          <a:gd name="connsiteX574" fmla="*/ 77270 w 141862"/>
                          <a:gd name="connsiteY574" fmla="*/ 24940 h 172244"/>
                          <a:gd name="connsiteX575" fmla="*/ 106158 w 141862"/>
                          <a:gd name="connsiteY575" fmla="*/ 99340 h 172244"/>
                          <a:gd name="connsiteX576" fmla="*/ 107414 w 141862"/>
                          <a:gd name="connsiteY576" fmla="*/ 109208 h 172244"/>
                          <a:gd name="connsiteX577" fmla="*/ 113275 w 141862"/>
                          <a:gd name="connsiteY577" fmla="*/ 105859 h 172244"/>
                          <a:gd name="connsiteX578" fmla="*/ 106158 w 141862"/>
                          <a:gd name="connsiteY578" fmla="*/ 99340 h 172244"/>
                          <a:gd name="connsiteX579" fmla="*/ 113514 w 141862"/>
                          <a:gd name="connsiteY579" fmla="*/ 106098 h 172244"/>
                          <a:gd name="connsiteX580" fmla="*/ 107653 w 141862"/>
                          <a:gd name="connsiteY580" fmla="*/ 109447 h 172244"/>
                          <a:gd name="connsiteX581" fmla="*/ 126492 w 141862"/>
                          <a:gd name="connsiteY581" fmla="*/ 117940 h 172244"/>
                          <a:gd name="connsiteX582" fmla="*/ 113514 w 141862"/>
                          <a:gd name="connsiteY582" fmla="*/ 106098 h 172244"/>
                          <a:gd name="connsiteX583" fmla="*/ 127030 w 141862"/>
                          <a:gd name="connsiteY583" fmla="*/ 118598 h 172244"/>
                          <a:gd name="connsiteX584" fmla="*/ 108011 w 141862"/>
                          <a:gd name="connsiteY584" fmla="*/ 109985 h 172244"/>
                          <a:gd name="connsiteX585" fmla="*/ 120272 w 141862"/>
                          <a:gd name="connsiteY585" fmla="*/ 122724 h 172244"/>
                          <a:gd name="connsiteX586" fmla="*/ 127030 w 141862"/>
                          <a:gd name="connsiteY586" fmla="*/ 118598 h 172244"/>
                          <a:gd name="connsiteX587" fmla="*/ 131696 w 141862"/>
                          <a:gd name="connsiteY587" fmla="*/ 137796 h 172244"/>
                          <a:gd name="connsiteX588" fmla="*/ 122007 w 141862"/>
                          <a:gd name="connsiteY588" fmla="*/ 144913 h 172244"/>
                          <a:gd name="connsiteX589" fmla="*/ 133908 w 141862"/>
                          <a:gd name="connsiteY589" fmla="*/ 137856 h 172244"/>
                          <a:gd name="connsiteX590" fmla="*/ 131696 w 141862"/>
                          <a:gd name="connsiteY590" fmla="*/ 137796 h 172244"/>
                          <a:gd name="connsiteX591" fmla="*/ 105320 w 141862"/>
                          <a:gd name="connsiteY591" fmla="*/ 95213 h 172244"/>
                          <a:gd name="connsiteX592" fmla="*/ 104124 w 141862"/>
                          <a:gd name="connsiteY592" fmla="*/ 97007 h 172244"/>
                          <a:gd name="connsiteX593" fmla="*/ 105739 w 141862"/>
                          <a:gd name="connsiteY593" fmla="*/ 98502 h 172244"/>
                          <a:gd name="connsiteX594" fmla="*/ 105320 w 141862"/>
                          <a:gd name="connsiteY594" fmla="*/ 95213 h 172244"/>
                          <a:gd name="connsiteX595" fmla="*/ 105560 w 141862"/>
                          <a:gd name="connsiteY595" fmla="*/ 94794 h 172244"/>
                          <a:gd name="connsiteX596" fmla="*/ 106098 w 141862"/>
                          <a:gd name="connsiteY596" fmla="*/ 98861 h 172244"/>
                          <a:gd name="connsiteX597" fmla="*/ 113574 w 141862"/>
                          <a:gd name="connsiteY597" fmla="*/ 105679 h 172244"/>
                          <a:gd name="connsiteX598" fmla="*/ 118957 w 141862"/>
                          <a:gd name="connsiteY598" fmla="*/ 102569 h 172244"/>
                          <a:gd name="connsiteX599" fmla="*/ 110822 w 141862"/>
                          <a:gd name="connsiteY599" fmla="*/ 86900 h 172244"/>
                          <a:gd name="connsiteX600" fmla="*/ 105560 w 141862"/>
                          <a:gd name="connsiteY600" fmla="*/ 94794 h 172244"/>
                          <a:gd name="connsiteX601" fmla="*/ 77390 w 141862"/>
                          <a:gd name="connsiteY601" fmla="*/ 20813 h 172244"/>
                          <a:gd name="connsiteX602" fmla="*/ 77270 w 141862"/>
                          <a:gd name="connsiteY602" fmla="*/ 24581 h 172244"/>
                          <a:gd name="connsiteX603" fmla="*/ 87797 w 141862"/>
                          <a:gd name="connsiteY603" fmla="*/ 20753 h 172244"/>
                          <a:gd name="connsiteX604" fmla="*/ 77390 w 141862"/>
                          <a:gd name="connsiteY604" fmla="*/ 20813 h 172244"/>
                          <a:gd name="connsiteX605" fmla="*/ 104363 w 141862"/>
                          <a:gd name="connsiteY605" fmla="*/ 84926 h 172244"/>
                          <a:gd name="connsiteX606" fmla="*/ 105500 w 141862"/>
                          <a:gd name="connsiteY606" fmla="*/ 94196 h 172244"/>
                          <a:gd name="connsiteX607" fmla="*/ 110524 w 141862"/>
                          <a:gd name="connsiteY607" fmla="*/ 86661 h 172244"/>
                          <a:gd name="connsiteX608" fmla="*/ 104363 w 141862"/>
                          <a:gd name="connsiteY608" fmla="*/ 84926 h 172244"/>
                          <a:gd name="connsiteX609" fmla="*/ 77809 w 141862"/>
                          <a:gd name="connsiteY609" fmla="*/ 8253 h 172244"/>
                          <a:gd name="connsiteX610" fmla="*/ 77390 w 141862"/>
                          <a:gd name="connsiteY610" fmla="*/ 20454 h 172244"/>
                          <a:gd name="connsiteX611" fmla="*/ 88514 w 141862"/>
                          <a:gd name="connsiteY611" fmla="*/ 20394 h 172244"/>
                          <a:gd name="connsiteX612" fmla="*/ 82295 w 141862"/>
                          <a:gd name="connsiteY612" fmla="*/ 8612 h 172244"/>
                          <a:gd name="connsiteX613" fmla="*/ 77809 w 141862"/>
                          <a:gd name="connsiteY613" fmla="*/ 8253 h 172244"/>
                          <a:gd name="connsiteX614" fmla="*/ 77690 w 141862"/>
                          <a:gd name="connsiteY614" fmla="*/ 538 h 172244"/>
                          <a:gd name="connsiteX615" fmla="*/ 72486 w 141862"/>
                          <a:gd name="connsiteY615" fmla="*/ 7536 h 172244"/>
                          <a:gd name="connsiteX616" fmla="*/ 77450 w 141862"/>
                          <a:gd name="connsiteY616" fmla="*/ 7894 h 172244"/>
                          <a:gd name="connsiteX617" fmla="*/ 77690 w 141862"/>
                          <a:gd name="connsiteY617" fmla="*/ 538 h 172244"/>
                          <a:gd name="connsiteX618" fmla="*/ 100955 w 141862"/>
                          <a:gd name="connsiteY618" fmla="*/ 57893 h 172244"/>
                          <a:gd name="connsiteX619" fmla="*/ 104303 w 141862"/>
                          <a:gd name="connsiteY619" fmla="*/ 84567 h 172244"/>
                          <a:gd name="connsiteX620" fmla="*/ 110584 w 141862"/>
                          <a:gd name="connsiteY620" fmla="*/ 86361 h 172244"/>
                          <a:gd name="connsiteX621" fmla="*/ 100955 w 141862"/>
                          <a:gd name="connsiteY621" fmla="*/ 57893 h 172244"/>
                          <a:gd name="connsiteX622" fmla="*/ 127329 w 141862"/>
                          <a:gd name="connsiteY622" fmla="*/ 118777 h 172244"/>
                          <a:gd name="connsiteX623" fmla="*/ 120512 w 141862"/>
                          <a:gd name="connsiteY623" fmla="*/ 122964 h 172244"/>
                          <a:gd name="connsiteX624" fmla="*/ 129303 w 141862"/>
                          <a:gd name="connsiteY624" fmla="*/ 132114 h 172244"/>
                          <a:gd name="connsiteX625" fmla="*/ 136360 w 141862"/>
                          <a:gd name="connsiteY625" fmla="*/ 133609 h 172244"/>
                          <a:gd name="connsiteX626" fmla="*/ 127329 w 141862"/>
                          <a:gd name="connsiteY626" fmla="*/ 118777 h 172244"/>
                          <a:gd name="connsiteX627" fmla="*/ 119076 w 141862"/>
                          <a:gd name="connsiteY627" fmla="*/ 102868 h 172244"/>
                          <a:gd name="connsiteX628" fmla="*/ 113813 w 141862"/>
                          <a:gd name="connsiteY628" fmla="*/ 105919 h 172244"/>
                          <a:gd name="connsiteX629" fmla="*/ 126791 w 141862"/>
                          <a:gd name="connsiteY629" fmla="*/ 117820 h 172244"/>
                          <a:gd name="connsiteX630" fmla="*/ 119076 w 141862"/>
                          <a:gd name="connsiteY630" fmla="*/ 102868 h 172244"/>
                          <a:gd name="connsiteX631" fmla="*/ 78048 w 141862"/>
                          <a:gd name="connsiteY631" fmla="*/ 598 h 172244"/>
                          <a:gd name="connsiteX632" fmla="*/ 77809 w 141862"/>
                          <a:gd name="connsiteY632" fmla="*/ 7894 h 172244"/>
                          <a:gd name="connsiteX633" fmla="*/ 82055 w 141862"/>
                          <a:gd name="connsiteY633" fmla="*/ 8253 h 172244"/>
                          <a:gd name="connsiteX634" fmla="*/ 78048 w 141862"/>
                          <a:gd name="connsiteY634" fmla="*/ 598 h 172244"/>
                          <a:gd name="connsiteX635" fmla="*/ 108371 w 141862"/>
                          <a:gd name="connsiteY635" fmla="*/ 67582 h 172244"/>
                          <a:gd name="connsiteX636" fmla="*/ 111002 w 141862"/>
                          <a:gd name="connsiteY636" fmla="*/ 86541 h 172244"/>
                          <a:gd name="connsiteX637" fmla="*/ 124399 w 141862"/>
                          <a:gd name="connsiteY637" fmla="*/ 98622 h 172244"/>
                          <a:gd name="connsiteX638" fmla="*/ 108371 w 141862"/>
                          <a:gd name="connsiteY638" fmla="*/ 67582 h 172244"/>
                          <a:gd name="connsiteX639" fmla="*/ 101133 w 141862"/>
                          <a:gd name="connsiteY639" fmla="*/ 57235 h 172244"/>
                          <a:gd name="connsiteX640" fmla="*/ 110464 w 141862"/>
                          <a:gd name="connsiteY640" fmla="*/ 84866 h 172244"/>
                          <a:gd name="connsiteX641" fmla="*/ 107952 w 141862"/>
                          <a:gd name="connsiteY641" fmla="*/ 66685 h 172244"/>
                          <a:gd name="connsiteX642" fmla="*/ 101133 w 141862"/>
                          <a:gd name="connsiteY642" fmla="*/ 57235 h 172244"/>
                          <a:gd name="connsiteX643" fmla="*/ 124638 w 141862"/>
                          <a:gd name="connsiteY643" fmla="*/ 99280 h 172244"/>
                          <a:gd name="connsiteX644" fmla="*/ 111421 w 141862"/>
                          <a:gd name="connsiteY644" fmla="*/ 87318 h 172244"/>
                          <a:gd name="connsiteX645" fmla="*/ 119255 w 141862"/>
                          <a:gd name="connsiteY645" fmla="*/ 102390 h 172244"/>
                          <a:gd name="connsiteX646" fmla="*/ 124638 w 141862"/>
                          <a:gd name="connsiteY646" fmla="*/ 99280 h 172244"/>
                          <a:gd name="connsiteX647" fmla="*/ 136300 w 141862"/>
                          <a:gd name="connsiteY647" fmla="*/ 133908 h 172244"/>
                          <a:gd name="connsiteX648" fmla="*/ 129722 w 141862"/>
                          <a:gd name="connsiteY648" fmla="*/ 132533 h 172244"/>
                          <a:gd name="connsiteX649" fmla="*/ 133250 w 141862"/>
                          <a:gd name="connsiteY649" fmla="*/ 136181 h 172244"/>
                          <a:gd name="connsiteX650" fmla="*/ 136300 w 141862"/>
                          <a:gd name="connsiteY650" fmla="*/ 133908 h 172244"/>
                          <a:gd name="connsiteX651" fmla="*/ 133250 w 141862"/>
                          <a:gd name="connsiteY651" fmla="*/ 136659 h 172244"/>
                          <a:gd name="connsiteX652" fmla="*/ 132114 w 141862"/>
                          <a:gd name="connsiteY652" fmla="*/ 137497 h 172244"/>
                          <a:gd name="connsiteX653" fmla="*/ 134087 w 141862"/>
                          <a:gd name="connsiteY653" fmla="*/ 137557 h 172244"/>
                          <a:gd name="connsiteX654" fmla="*/ 133250 w 141862"/>
                          <a:gd name="connsiteY654" fmla="*/ 136659 h 172244"/>
                          <a:gd name="connsiteX655" fmla="*/ 96768 w 141862"/>
                          <a:gd name="connsiteY655" fmla="*/ 28408 h 172244"/>
                          <a:gd name="connsiteX656" fmla="*/ 100775 w 141862"/>
                          <a:gd name="connsiteY656" fmla="*/ 56219 h 172244"/>
                          <a:gd name="connsiteX657" fmla="*/ 107653 w 141862"/>
                          <a:gd name="connsiteY657" fmla="*/ 65728 h 172244"/>
                          <a:gd name="connsiteX658" fmla="*/ 96768 w 141862"/>
                          <a:gd name="connsiteY658" fmla="*/ 28408 h 172244"/>
                          <a:gd name="connsiteX659" fmla="*/ 89113 w 141862"/>
                          <a:gd name="connsiteY659" fmla="*/ 20992 h 172244"/>
                          <a:gd name="connsiteX660" fmla="*/ 100177 w 141862"/>
                          <a:gd name="connsiteY660" fmla="*/ 54424 h 172244"/>
                          <a:gd name="connsiteX661" fmla="*/ 96110 w 141862"/>
                          <a:gd name="connsiteY661" fmla="*/ 26136 h 172244"/>
                          <a:gd name="connsiteX662" fmla="*/ 89113 w 141862"/>
                          <a:gd name="connsiteY662" fmla="*/ 20992 h 172244"/>
                          <a:gd name="connsiteX663" fmla="*/ 124818 w 141862"/>
                          <a:gd name="connsiteY663" fmla="*/ 99639 h 172244"/>
                          <a:gd name="connsiteX664" fmla="*/ 119375 w 141862"/>
                          <a:gd name="connsiteY664" fmla="*/ 102749 h 172244"/>
                          <a:gd name="connsiteX665" fmla="*/ 127090 w 141862"/>
                          <a:gd name="connsiteY665" fmla="*/ 117701 h 172244"/>
                          <a:gd name="connsiteX666" fmla="*/ 124818 w 141862"/>
                          <a:gd name="connsiteY666" fmla="*/ 99639 h 172244"/>
                          <a:gd name="connsiteX667" fmla="*/ 87079 w 141862"/>
                          <a:gd name="connsiteY667" fmla="*/ 8971 h 172244"/>
                          <a:gd name="connsiteX668" fmla="*/ 82713 w 141862"/>
                          <a:gd name="connsiteY668" fmla="*/ 8612 h 172244"/>
                          <a:gd name="connsiteX669" fmla="*/ 88514 w 141862"/>
                          <a:gd name="connsiteY669" fmla="*/ 19617 h 172244"/>
                          <a:gd name="connsiteX670" fmla="*/ 87079 w 141862"/>
                          <a:gd name="connsiteY670" fmla="*/ 8971 h 172244"/>
                          <a:gd name="connsiteX671" fmla="*/ 136181 w 141862"/>
                          <a:gd name="connsiteY671" fmla="*/ 134447 h 172244"/>
                          <a:gd name="connsiteX672" fmla="*/ 133489 w 141862"/>
                          <a:gd name="connsiteY672" fmla="*/ 136420 h 172244"/>
                          <a:gd name="connsiteX673" fmla="*/ 134447 w 141862"/>
                          <a:gd name="connsiteY673" fmla="*/ 137437 h 172244"/>
                          <a:gd name="connsiteX674" fmla="*/ 136181 w 141862"/>
                          <a:gd name="connsiteY674" fmla="*/ 134447 h 172244"/>
                          <a:gd name="connsiteX675" fmla="*/ 125236 w 141862"/>
                          <a:gd name="connsiteY675" fmla="*/ 100057 h 172244"/>
                          <a:gd name="connsiteX676" fmla="*/ 127569 w 141862"/>
                          <a:gd name="connsiteY676" fmla="*/ 118358 h 172244"/>
                          <a:gd name="connsiteX677" fmla="*/ 135762 w 141862"/>
                          <a:gd name="connsiteY677" fmla="*/ 116983 h 172244"/>
                          <a:gd name="connsiteX678" fmla="*/ 125236 w 141862"/>
                          <a:gd name="connsiteY678" fmla="*/ 100057 h 172244"/>
                          <a:gd name="connsiteX679" fmla="*/ 135882 w 141862"/>
                          <a:gd name="connsiteY679" fmla="*/ 117342 h 172244"/>
                          <a:gd name="connsiteX680" fmla="*/ 127748 w 141862"/>
                          <a:gd name="connsiteY680" fmla="*/ 118717 h 172244"/>
                          <a:gd name="connsiteX681" fmla="*/ 136240 w 141862"/>
                          <a:gd name="connsiteY681" fmla="*/ 126911 h 172244"/>
                          <a:gd name="connsiteX682" fmla="*/ 135882 w 141862"/>
                          <a:gd name="connsiteY682" fmla="*/ 117342 h 172244"/>
                          <a:gd name="connsiteX683" fmla="*/ 92162 w 141862"/>
                          <a:gd name="connsiteY683" fmla="*/ 9868 h 172244"/>
                          <a:gd name="connsiteX684" fmla="*/ 88933 w 141862"/>
                          <a:gd name="connsiteY684" fmla="*/ 20514 h 172244"/>
                          <a:gd name="connsiteX685" fmla="*/ 95990 w 141862"/>
                          <a:gd name="connsiteY685" fmla="*/ 25657 h 172244"/>
                          <a:gd name="connsiteX686" fmla="*/ 92162 w 141862"/>
                          <a:gd name="connsiteY686" fmla="*/ 9868 h 172244"/>
                          <a:gd name="connsiteX687" fmla="*/ 136300 w 141862"/>
                          <a:gd name="connsiteY687" fmla="*/ 127389 h 172244"/>
                          <a:gd name="connsiteX688" fmla="*/ 128226 w 141862"/>
                          <a:gd name="connsiteY688" fmla="*/ 119614 h 172244"/>
                          <a:gd name="connsiteX689" fmla="*/ 136540 w 141862"/>
                          <a:gd name="connsiteY689" fmla="*/ 133191 h 172244"/>
                          <a:gd name="connsiteX690" fmla="*/ 136300 w 141862"/>
                          <a:gd name="connsiteY690" fmla="*/ 127389 h 172244"/>
                          <a:gd name="connsiteX691" fmla="*/ 87378 w 141862"/>
                          <a:gd name="connsiteY691" fmla="*/ 9031 h 172244"/>
                          <a:gd name="connsiteX692" fmla="*/ 88814 w 141862"/>
                          <a:gd name="connsiteY692" fmla="*/ 19796 h 172244"/>
                          <a:gd name="connsiteX693" fmla="*/ 91924 w 141862"/>
                          <a:gd name="connsiteY693" fmla="*/ 9390 h 172244"/>
                          <a:gd name="connsiteX694" fmla="*/ 87378 w 141862"/>
                          <a:gd name="connsiteY694" fmla="*/ 9031 h 172244"/>
                          <a:gd name="connsiteX695" fmla="*/ 86661 w 141862"/>
                          <a:gd name="connsiteY695" fmla="*/ 3349 h 172244"/>
                          <a:gd name="connsiteX696" fmla="*/ 87378 w 141862"/>
                          <a:gd name="connsiteY696" fmla="*/ 8612 h 172244"/>
                          <a:gd name="connsiteX697" fmla="*/ 91804 w 141862"/>
                          <a:gd name="connsiteY697" fmla="*/ 8971 h 172244"/>
                          <a:gd name="connsiteX698" fmla="*/ 86661 w 141862"/>
                          <a:gd name="connsiteY698" fmla="*/ 3349 h 172244"/>
                          <a:gd name="connsiteX699" fmla="*/ 136659 w 141862"/>
                          <a:gd name="connsiteY699" fmla="*/ 127688 h 172244"/>
                          <a:gd name="connsiteX700" fmla="*/ 136899 w 141862"/>
                          <a:gd name="connsiteY700" fmla="*/ 133549 h 172244"/>
                          <a:gd name="connsiteX701" fmla="*/ 139172 w 141862"/>
                          <a:gd name="connsiteY701" fmla="*/ 132891 h 172244"/>
                          <a:gd name="connsiteX702" fmla="*/ 138454 w 141862"/>
                          <a:gd name="connsiteY702" fmla="*/ 129423 h 172244"/>
                          <a:gd name="connsiteX703" fmla="*/ 136659 w 141862"/>
                          <a:gd name="connsiteY703" fmla="*/ 127688 h 172244"/>
                          <a:gd name="connsiteX704" fmla="*/ 139530 w 141862"/>
                          <a:gd name="connsiteY704" fmla="*/ 133191 h 172244"/>
                          <a:gd name="connsiteX705" fmla="*/ 140308 w 141862"/>
                          <a:gd name="connsiteY705" fmla="*/ 137018 h 172244"/>
                          <a:gd name="connsiteX706" fmla="*/ 141444 w 141862"/>
                          <a:gd name="connsiteY706" fmla="*/ 132592 h 172244"/>
                          <a:gd name="connsiteX707" fmla="*/ 139530 w 141862"/>
                          <a:gd name="connsiteY707" fmla="*/ 133191 h 172244"/>
                          <a:gd name="connsiteX708" fmla="*/ 131636 w 141862"/>
                          <a:gd name="connsiteY708" fmla="*/ 107294 h 172244"/>
                          <a:gd name="connsiteX709" fmla="*/ 126253 w 141862"/>
                          <a:gd name="connsiteY709" fmla="*/ 101074 h 172244"/>
                          <a:gd name="connsiteX710" fmla="*/ 134985 w 141862"/>
                          <a:gd name="connsiteY710" fmla="*/ 115129 h 172244"/>
                          <a:gd name="connsiteX711" fmla="*/ 131636 w 141862"/>
                          <a:gd name="connsiteY711" fmla="*/ 107294 h 172244"/>
                          <a:gd name="connsiteX712" fmla="*/ 136300 w 141862"/>
                          <a:gd name="connsiteY712" fmla="*/ 119136 h 172244"/>
                          <a:gd name="connsiteX713" fmla="*/ 136600 w 141862"/>
                          <a:gd name="connsiteY713" fmla="*/ 127210 h 172244"/>
                          <a:gd name="connsiteX714" fmla="*/ 138274 w 141862"/>
                          <a:gd name="connsiteY714" fmla="*/ 128825 h 172244"/>
                          <a:gd name="connsiteX715" fmla="*/ 136300 w 141862"/>
                          <a:gd name="connsiteY715" fmla="*/ 119136 h 172244"/>
                          <a:gd name="connsiteX716" fmla="*/ 138872 w 141862"/>
                          <a:gd name="connsiteY716" fmla="*/ 129841 h 172244"/>
                          <a:gd name="connsiteX717" fmla="*/ 139470 w 141862"/>
                          <a:gd name="connsiteY717" fmla="*/ 132832 h 172244"/>
                          <a:gd name="connsiteX718" fmla="*/ 141325 w 141862"/>
                          <a:gd name="connsiteY718" fmla="*/ 132294 h 172244"/>
                          <a:gd name="connsiteX719" fmla="*/ 138872 w 141862"/>
                          <a:gd name="connsiteY719" fmla="*/ 129841 h 172244"/>
                          <a:gd name="connsiteX720" fmla="*/ 136659 w 141862"/>
                          <a:gd name="connsiteY720" fmla="*/ 119255 h 172244"/>
                          <a:gd name="connsiteX721" fmla="*/ 138752 w 141862"/>
                          <a:gd name="connsiteY721" fmla="*/ 129243 h 172244"/>
                          <a:gd name="connsiteX722" fmla="*/ 141265 w 141862"/>
                          <a:gd name="connsiteY722" fmla="*/ 131695 h 172244"/>
                          <a:gd name="connsiteX723" fmla="*/ 136659 w 141862"/>
                          <a:gd name="connsiteY723" fmla="*/ 119255 h 172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Lst>
                        <a:rect l="l" t="t" r="r" b="b"/>
                        <a:pathLst>
                          <a:path w="141862" h="172244">
                            <a:moveTo>
                              <a:pt x="16447" y="160702"/>
                            </a:moveTo>
                            <a:lnTo>
                              <a:pt x="16626" y="160463"/>
                            </a:lnTo>
                            <a:lnTo>
                              <a:pt x="25418" y="163154"/>
                            </a:lnTo>
                            <a:lnTo>
                              <a:pt x="41088" y="158669"/>
                            </a:lnTo>
                            <a:lnTo>
                              <a:pt x="46171" y="153585"/>
                            </a:lnTo>
                            <a:lnTo>
                              <a:pt x="46231" y="153645"/>
                            </a:lnTo>
                            <a:lnTo>
                              <a:pt x="46171" y="153585"/>
                            </a:lnTo>
                            <a:lnTo>
                              <a:pt x="68001" y="136181"/>
                            </a:lnTo>
                            <a:lnTo>
                              <a:pt x="67283" y="134267"/>
                            </a:lnTo>
                            <a:lnTo>
                              <a:pt x="54424" y="139111"/>
                            </a:lnTo>
                            <a:lnTo>
                              <a:pt x="54185" y="138992"/>
                            </a:lnTo>
                            <a:lnTo>
                              <a:pt x="52391" y="133370"/>
                            </a:lnTo>
                            <a:lnTo>
                              <a:pt x="50836" y="128645"/>
                            </a:lnTo>
                            <a:lnTo>
                              <a:pt x="50716" y="125117"/>
                            </a:lnTo>
                            <a:lnTo>
                              <a:pt x="50716" y="125117"/>
                            </a:lnTo>
                            <a:lnTo>
                              <a:pt x="50776" y="124997"/>
                            </a:lnTo>
                            <a:lnTo>
                              <a:pt x="63934" y="114770"/>
                            </a:lnTo>
                            <a:lnTo>
                              <a:pt x="55082" y="113335"/>
                            </a:lnTo>
                            <a:lnTo>
                              <a:pt x="55082" y="112976"/>
                            </a:lnTo>
                            <a:lnTo>
                              <a:pt x="67044" y="109866"/>
                            </a:lnTo>
                            <a:lnTo>
                              <a:pt x="52810" y="83730"/>
                            </a:lnTo>
                            <a:lnTo>
                              <a:pt x="52869" y="83670"/>
                            </a:lnTo>
                            <a:lnTo>
                              <a:pt x="52810" y="83551"/>
                            </a:lnTo>
                            <a:lnTo>
                              <a:pt x="67044" y="53767"/>
                            </a:lnTo>
                            <a:lnTo>
                              <a:pt x="49520" y="64891"/>
                            </a:lnTo>
                            <a:lnTo>
                              <a:pt x="49281" y="64711"/>
                            </a:lnTo>
                            <a:lnTo>
                              <a:pt x="52092" y="56039"/>
                            </a:lnTo>
                            <a:lnTo>
                              <a:pt x="39891" y="58910"/>
                            </a:lnTo>
                            <a:lnTo>
                              <a:pt x="39831" y="58850"/>
                            </a:lnTo>
                            <a:lnTo>
                              <a:pt x="39772" y="58910"/>
                            </a:lnTo>
                            <a:lnTo>
                              <a:pt x="35346" y="57714"/>
                            </a:lnTo>
                            <a:lnTo>
                              <a:pt x="34568" y="60046"/>
                            </a:lnTo>
                            <a:lnTo>
                              <a:pt x="34449" y="60106"/>
                            </a:lnTo>
                            <a:lnTo>
                              <a:pt x="34389" y="60166"/>
                            </a:lnTo>
                            <a:lnTo>
                              <a:pt x="12918" y="60286"/>
                            </a:lnTo>
                            <a:lnTo>
                              <a:pt x="5681" y="60525"/>
                            </a:lnTo>
                            <a:lnTo>
                              <a:pt x="5502" y="60345"/>
                            </a:lnTo>
                            <a:lnTo>
                              <a:pt x="5741" y="57654"/>
                            </a:lnTo>
                            <a:lnTo>
                              <a:pt x="60" y="55561"/>
                            </a:lnTo>
                            <a:lnTo>
                              <a:pt x="0" y="55262"/>
                            </a:lnTo>
                            <a:lnTo>
                              <a:pt x="6519" y="49700"/>
                            </a:lnTo>
                            <a:lnTo>
                              <a:pt x="6579" y="49700"/>
                            </a:lnTo>
                            <a:lnTo>
                              <a:pt x="6579" y="49700"/>
                            </a:lnTo>
                            <a:lnTo>
                              <a:pt x="24401" y="42523"/>
                            </a:lnTo>
                            <a:lnTo>
                              <a:pt x="22308" y="38037"/>
                            </a:lnTo>
                            <a:lnTo>
                              <a:pt x="22308" y="37858"/>
                            </a:lnTo>
                            <a:lnTo>
                              <a:pt x="28169" y="26734"/>
                            </a:lnTo>
                            <a:lnTo>
                              <a:pt x="29544" y="16925"/>
                            </a:lnTo>
                            <a:lnTo>
                              <a:pt x="29604" y="16925"/>
                            </a:lnTo>
                            <a:lnTo>
                              <a:pt x="29664" y="16865"/>
                            </a:lnTo>
                            <a:lnTo>
                              <a:pt x="29604" y="16806"/>
                            </a:lnTo>
                            <a:lnTo>
                              <a:pt x="49879" y="1435"/>
                            </a:lnTo>
                            <a:lnTo>
                              <a:pt x="50118" y="1615"/>
                            </a:lnTo>
                            <a:lnTo>
                              <a:pt x="48982" y="5801"/>
                            </a:lnTo>
                            <a:lnTo>
                              <a:pt x="60046" y="4186"/>
                            </a:lnTo>
                            <a:lnTo>
                              <a:pt x="66625" y="3289"/>
                            </a:lnTo>
                            <a:lnTo>
                              <a:pt x="77928" y="0"/>
                            </a:lnTo>
                            <a:lnTo>
                              <a:pt x="77988" y="120"/>
                            </a:lnTo>
                            <a:lnTo>
                              <a:pt x="78108" y="120"/>
                            </a:lnTo>
                            <a:lnTo>
                              <a:pt x="82534" y="8493"/>
                            </a:lnTo>
                            <a:lnTo>
                              <a:pt x="87079" y="8851"/>
                            </a:lnTo>
                            <a:lnTo>
                              <a:pt x="86301" y="3110"/>
                            </a:lnTo>
                            <a:lnTo>
                              <a:pt x="86601" y="2990"/>
                            </a:lnTo>
                            <a:lnTo>
                              <a:pt x="92342" y="9330"/>
                            </a:lnTo>
                            <a:lnTo>
                              <a:pt x="92342" y="9390"/>
                            </a:lnTo>
                            <a:lnTo>
                              <a:pt x="92342" y="9390"/>
                            </a:lnTo>
                            <a:lnTo>
                              <a:pt x="96409" y="26255"/>
                            </a:lnTo>
                            <a:lnTo>
                              <a:pt x="108251" y="66805"/>
                            </a:lnTo>
                            <a:lnTo>
                              <a:pt x="125116" y="99519"/>
                            </a:lnTo>
                            <a:lnTo>
                              <a:pt x="131934" y="107414"/>
                            </a:lnTo>
                            <a:lnTo>
                              <a:pt x="136240" y="117282"/>
                            </a:lnTo>
                            <a:lnTo>
                              <a:pt x="136181" y="117282"/>
                            </a:lnTo>
                            <a:lnTo>
                              <a:pt x="136181" y="117282"/>
                            </a:lnTo>
                            <a:lnTo>
                              <a:pt x="136240" y="117282"/>
                            </a:lnTo>
                            <a:lnTo>
                              <a:pt x="141863" y="132533"/>
                            </a:lnTo>
                            <a:lnTo>
                              <a:pt x="141803" y="132592"/>
                            </a:lnTo>
                            <a:lnTo>
                              <a:pt x="141863" y="132652"/>
                            </a:lnTo>
                            <a:lnTo>
                              <a:pt x="140487" y="138035"/>
                            </a:lnTo>
                            <a:lnTo>
                              <a:pt x="140188" y="138035"/>
                            </a:lnTo>
                            <a:lnTo>
                              <a:pt x="139231" y="133490"/>
                            </a:lnTo>
                            <a:lnTo>
                              <a:pt x="136839" y="134207"/>
                            </a:lnTo>
                            <a:lnTo>
                              <a:pt x="134686" y="138035"/>
                            </a:lnTo>
                            <a:lnTo>
                              <a:pt x="134626" y="138035"/>
                            </a:lnTo>
                            <a:lnTo>
                              <a:pt x="134626" y="138095"/>
                            </a:lnTo>
                            <a:lnTo>
                              <a:pt x="119255" y="147185"/>
                            </a:lnTo>
                            <a:lnTo>
                              <a:pt x="119195" y="147066"/>
                            </a:lnTo>
                            <a:lnTo>
                              <a:pt x="119195" y="147066"/>
                            </a:lnTo>
                            <a:lnTo>
                              <a:pt x="119195" y="147185"/>
                            </a:lnTo>
                            <a:lnTo>
                              <a:pt x="95632" y="153047"/>
                            </a:lnTo>
                            <a:lnTo>
                              <a:pt x="95632" y="152987"/>
                            </a:lnTo>
                            <a:lnTo>
                              <a:pt x="95632" y="153047"/>
                            </a:lnTo>
                            <a:lnTo>
                              <a:pt x="74759" y="155020"/>
                            </a:lnTo>
                            <a:lnTo>
                              <a:pt x="67642" y="159745"/>
                            </a:lnTo>
                            <a:lnTo>
                              <a:pt x="55740" y="161898"/>
                            </a:lnTo>
                            <a:lnTo>
                              <a:pt x="37320" y="166982"/>
                            </a:lnTo>
                            <a:lnTo>
                              <a:pt x="28169" y="172245"/>
                            </a:lnTo>
                            <a:lnTo>
                              <a:pt x="28049" y="172245"/>
                            </a:lnTo>
                            <a:lnTo>
                              <a:pt x="23205" y="170510"/>
                            </a:lnTo>
                            <a:lnTo>
                              <a:pt x="23145" y="170451"/>
                            </a:lnTo>
                            <a:lnTo>
                              <a:pt x="16447" y="160702"/>
                            </a:lnTo>
                            <a:close/>
                            <a:moveTo>
                              <a:pt x="25298" y="163453"/>
                            </a:moveTo>
                            <a:lnTo>
                              <a:pt x="17045" y="160941"/>
                            </a:lnTo>
                            <a:lnTo>
                              <a:pt x="23325" y="169912"/>
                            </a:lnTo>
                            <a:lnTo>
                              <a:pt x="27811" y="171527"/>
                            </a:lnTo>
                            <a:lnTo>
                              <a:pt x="25298" y="163453"/>
                            </a:lnTo>
                            <a:close/>
                            <a:moveTo>
                              <a:pt x="25657" y="163573"/>
                            </a:moveTo>
                            <a:lnTo>
                              <a:pt x="28109" y="171527"/>
                            </a:lnTo>
                            <a:lnTo>
                              <a:pt x="33850" y="165845"/>
                            </a:lnTo>
                            <a:lnTo>
                              <a:pt x="25657" y="163573"/>
                            </a:lnTo>
                            <a:close/>
                            <a:moveTo>
                              <a:pt x="34210" y="165905"/>
                            </a:moveTo>
                            <a:lnTo>
                              <a:pt x="29066" y="170989"/>
                            </a:lnTo>
                            <a:lnTo>
                              <a:pt x="36782" y="166563"/>
                            </a:lnTo>
                            <a:lnTo>
                              <a:pt x="34210" y="165905"/>
                            </a:lnTo>
                            <a:close/>
                            <a:moveTo>
                              <a:pt x="40549" y="159147"/>
                            </a:moveTo>
                            <a:lnTo>
                              <a:pt x="26016" y="163274"/>
                            </a:lnTo>
                            <a:lnTo>
                              <a:pt x="34090" y="165486"/>
                            </a:lnTo>
                            <a:lnTo>
                              <a:pt x="40549" y="159147"/>
                            </a:lnTo>
                            <a:close/>
                            <a:moveTo>
                              <a:pt x="41207" y="158967"/>
                            </a:moveTo>
                            <a:lnTo>
                              <a:pt x="34509" y="165666"/>
                            </a:lnTo>
                            <a:lnTo>
                              <a:pt x="37200" y="166384"/>
                            </a:lnTo>
                            <a:lnTo>
                              <a:pt x="42583" y="158549"/>
                            </a:lnTo>
                            <a:lnTo>
                              <a:pt x="41207" y="158967"/>
                            </a:lnTo>
                            <a:close/>
                            <a:moveTo>
                              <a:pt x="43061" y="158489"/>
                            </a:moveTo>
                            <a:lnTo>
                              <a:pt x="37678" y="166324"/>
                            </a:lnTo>
                            <a:lnTo>
                              <a:pt x="55022" y="161539"/>
                            </a:lnTo>
                            <a:lnTo>
                              <a:pt x="43061" y="158489"/>
                            </a:lnTo>
                            <a:close/>
                            <a:moveTo>
                              <a:pt x="6399" y="50118"/>
                            </a:moveTo>
                            <a:lnTo>
                              <a:pt x="418" y="55202"/>
                            </a:lnTo>
                            <a:lnTo>
                              <a:pt x="5741" y="57176"/>
                            </a:lnTo>
                            <a:lnTo>
                              <a:pt x="6399" y="50118"/>
                            </a:lnTo>
                            <a:close/>
                            <a:moveTo>
                              <a:pt x="44915" y="155319"/>
                            </a:moveTo>
                            <a:lnTo>
                              <a:pt x="41745" y="158429"/>
                            </a:lnTo>
                            <a:lnTo>
                              <a:pt x="42881" y="158130"/>
                            </a:lnTo>
                            <a:lnTo>
                              <a:pt x="44915" y="155319"/>
                            </a:lnTo>
                            <a:close/>
                            <a:moveTo>
                              <a:pt x="46291" y="153944"/>
                            </a:moveTo>
                            <a:lnTo>
                              <a:pt x="43241" y="158190"/>
                            </a:lnTo>
                            <a:lnTo>
                              <a:pt x="54962" y="161180"/>
                            </a:lnTo>
                            <a:lnTo>
                              <a:pt x="46291" y="153944"/>
                            </a:lnTo>
                            <a:close/>
                            <a:moveTo>
                              <a:pt x="6041" y="57654"/>
                            </a:moveTo>
                            <a:lnTo>
                              <a:pt x="5801" y="60106"/>
                            </a:lnTo>
                            <a:lnTo>
                              <a:pt x="12021" y="59927"/>
                            </a:lnTo>
                            <a:lnTo>
                              <a:pt x="6041" y="57654"/>
                            </a:lnTo>
                            <a:close/>
                            <a:moveTo>
                              <a:pt x="6698" y="50238"/>
                            </a:moveTo>
                            <a:lnTo>
                              <a:pt x="6041" y="57355"/>
                            </a:lnTo>
                            <a:lnTo>
                              <a:pt x="12500" y="59747"/>
                            </a:lnTo>
                            <a:lnTo>
                              <a:pt x="6698" y="50238"/>
                            </a:lnTo>
                            <a:close/>
                            <a:moveTo>
                              <a:pt x="60405" y="154362"/>
                            </a:moveTo>
                            <a:lnTo>
                              <a:pt x="46769" y="153884"/>
                            </a:lnTo>
                            <a:lnTo>
                              <a:pt x="55620" y="161240"/>
                            </a:lnTo>
                            <a:lnTo>
                              <a:pt x="60405" y="154362"/>
                            </a:lnTo>
                            <a:close/>
                            <a:moveTo>
                              <a:pt x="69376" y="140068"/>
                            </a:moveTo>
                            <a:lnTo>
                              <a:pt x="46889" y="153525"/>
                            </a:lnTo>
                            <a:lnTo>
                              <a:pt x="60645" y="154004"/>
                            </a:lnTo>
                            <a:lnTo>
                              <a:pt x="69676" y="140965"/>
                            </a:lnTo>
                            <a:lnTo>
                              <a:pt x="69376" y="140068"/>
                            </a:lnTo>
                            <a:close/>
                            <a:moveTo>
                              <a:pt x="33432" y="59747"/>
                            </a:moveTo>
                            <a:lnTo>
                              <a:pt x="6937" y="49999"/>
                            </a:lnTo>
                            <a:lnTo>
                              <a:pt x="12978" y="59867"/>
                            </a:lnTo>
                            <a:lnTo>
                              <a:pt x="33432" y="59747"/>
                            </a:lnTo>
                            <a:close/>
                            <a:moveTo>
                              <a:pt x="30621" y="40190"/>
                            </a:moveTo>
                            <a:lnTo>
                              <a:pt x="24641" y="42583"/>
                            </a:lnTo>
                            <a:lnTo>
                              <a:pt x="7117" y="49640"/>
                            </a:lnTo>
                            <a:lnTo>
                              <a:pt x="33671" y="56817"/>
                            </a:lnTo>
                            <a:lnTo>
                              <a:pt x="30621" y="40190"/>
                            </a:lnTo>
                            <a:close/>
                            <a:moveTo>
                              <a:pt x="68121" y="136480"/>
                            </a:moveTo>
                            <a:lnTo>
                              <a:pt x="48384" y="152209"/>
                            </a:lnTo>
                            <a:lnTo>
                              <a:pt x="69257" y="139710"/>
                            </a:lnTo>
                            <a:lnTo>
                              <a:pt x="68121" y="136480"/>
                            </a:lnTo>
                            <a:close/>
                            <a:moveTo>
                              <a:pt x="33731" y="57235"/>
                            </a:moveTo>
                            <a:lnTo>
                              <a:pt x="10287" y="50896"/>
                            </a:lnTo>
                            <a:lnTo>
                              <a:pt x="34150" y="59687"/>
                            </a:lnTo>
                            <a:lnTo>
                              <a:pt x="33731" y="57235"/>
                            </a:lnTo>
                            <a:close/>
                            <a:moveTo>
                              <a:pt x="60823" y="154362"/>
                            </a:moveTo>
                            <a:lnTo>
                              <a:pt x="56099" y="161120"/>
                            </a:lnTo>
                            <a:lnTo>
                              <a:pt x="73742" y="154781"/>
                            </a:lnTo>
                            <a:lnTo>
                              <a:pt x="60823" y="154362"/>
                            </a:lnTo>
                            <a:close/>
                            <a:moveTo>
                              <a:pt x="73324" y="155319"/>
                            </a:moveTo>
                            <a:lnTo>
                              <a:pt x="57654" y="160941"/>
                            </a:lnTo>
                            <a:lnTo>
                              <a:pt x="67462" y="159147"/>
                            </a:lnTo>
                            <a:lnTo>
                              <a:pt x="73324" y="155319"/>
                            </a:lnTo>
                            <a:close/>
                            <a:moveTo>
                              <a:pt x="52810" y="133430"/>
                            </a:moveTo>
                            <a:lnTo>
                              <a:pt x="54484" y="138633"/>
                            </a:lnTo>
                            <a:lnTo>
                              <a:pt x="66506" y="134088"/>
                            </a:lnTo>
                            <a:lnTo>
                              <a:pt x="52810" y="133430"/>
                            </a:lnTo>
                            <a:close/>
                            <a:moveTo>
                              <a:pt x="51135" y="125296"/>
                            </a:moveTo>
                            <a:lnTo>
                              <a:pt x="52750" y="133071"/>
                            </a:lnTo>
                            <a:lnTo>
                              <a:pt x="67403" y="133789"/>
                            </a:lnTo>
                            <a:lnTo>
                              <a:pt x="67522" y="133848"/>
                            </a:lnTo>
                            <a:lnTo>
                              <a:pt x="71529" y="138214"/>
                            </a:lnTo>
                            <a:lnTo>
                              <a:pt x="75537" y="128765"/>
                            </a:lnTo>
                            <a:lnTo>
                              <a:pt x="51135" y="125296"/>
                            </a:lnTo>
                            <a:close/>
                            <a:moveTo>
                              <a:pt x="69854" y="141384"/>
                            </a:moveTo>
                            <a:lnTo>
                              <a:pt x="61063" y="154004"/>
                            </a:lnTo>
                            <a:lnTo>
                              <a:pt x="74400" y="154482"/>
                            </a:lnTo>
                            <a:lnTo>
                              <a:pt x="69854" y="141384"/>
                            </a:lnTo>
                            <a:close/>
                            <a:moveTo>
                              <a:pt x="51195" y="128526"/>
                            </a:moveTo>
                            <a:lnTo>
                              <a:pt x="51912" y="130559"/>
                            </a:lnTo>
                            <a:lnTo>
                              <a:pt x="51195" y="126971"/>
                            </a:lnTo>
                            <a:lnTo>
                              <a:pt x="51195" y="128526"/>
                            </a:lnTo>
                            <a:close/>
                            <a:moveTo>
                              <a:pt x="64412" y="114830"/>
                            </a:moveTo>
                            <a:lnTo>
                              <a:pt x="51374" y="124997"/>
                            </a:lnTo>
                            <a:lnTo>
                              <a:pt x="75715" y="128526"/>
                            </a:lnTo>
                            <a:lnTo>
                              <a:pt x="78587" y="121767"/>
                            </a:lnTo>
                            <a:lnTo>
                              <a:pt x="64412" y="114830"/>
                            </a:lnTo>
                            <a:close/>
                            <a:moveTo>
                              <a:pt x="27811" y="27870"/>
                            </a:moveTo>
                            <a:lnTo>
                              <a:pt x="22547" y="37798"/>
                            </a:lnTo>
                            <a:lnTo>
                              <a:pt x="24461" y="41925"/>
                            </a:lnTo>
                            <a:lnTo>
                              <a:pt x="27811" y="27870"/>
                            </a:lnTo>
                            <a:close/>
                            <a:moveTo>
                              <a:pt x="28289" y="27451"/>
                            </a:moveTo>
                            <a:lnTo>
                              <a:pt x="24820" y="42164"/>
                            </a:lnTo>
                            <a:lnTo>
                              <a:pt x="30561" y="39891"/>
                            </a:lnTo>
                            <a:lnTo>
                              <a:pt x="28289" y="27451"/>
                            </a:lnTo>
                            <a:close/>
                            <a:moveTo>
                              <a:pt x="34090" y="57295"/>
                            </a:moveTo>
                            <a:lnTo>
                              <a:pt x="34449" y="59209"/>
                            </a:lnTo>
                            <a:lnTo>
                              <a:pt x="34987" y="57535"/>
                            </a:lnTo>
                            <a:lnTo>
                              <a:pt x="34090" y="57295"/>
                            </a:lnTo>
                            <a:close/>
                            <a:moveTo>
                              <a:pt x="66864" y="110225"/>
                            </a:moveTo>
                            <a:lnTo>
                              <a:pt x="55920" y="113095"/>
                            </a:lnTo>
                            <a:lnTo>
                              <a:pt x="64233" y="114411"/>
                            </a:lnTo>
                            <a:lnTo>
                              <a:pt x="66864" y="110225"/>
                            </a:lnTo>
                            <a:close/>
                            <a:moveTo>
                              <a:pt x="31159" y="41147"/>
                            </a:moveTo>
                            <a:lnTo>
                              <a:pt x="34030" y="56936"/>
                            </a:lnTo>
                            <a:lnTo>
                              <a:pt x="35107" y="57235"/>
                            </a:lnTo>
                            <a:lnTo>
                              <a:pt x="36662" y="52630"/>
                            </a:lnTo>
                            <a:lnTo>
                              <a:pt x="31159" y="41147"/>
                            </a:lnTo>
                            <a:close/>
                            <a:moveTo>
                              <a:pt x="36901" y="53049"/>
                            </a:moveTo>
                            <a:lnTo>
                              <a:pt x="35465" y="57355"/>
                            </a:lnTo>
                            <a:lnTo>
                              <a:pt x="39532" y="58432"/>
                            </a:lnTo>
                            <a:lnTo>
                              <a:pt x="36901" y="53049"/>
                            </a:lnTo>
                            <a:close/>
                            <a:moveTo>
                              <a:pt x="70094" y="141025"/>
                            </a:moveTo>
                            <a:lnTo>
                              <a:pt x="74699" y="154243"/>
                            </a:lnTo>
                            <a:lnTo>
                              <a:pt x="81637" y="144614"/>
                            </a:lnTo>
                            <a:lnTo>
                              <a:pt x="71649" y="138753"/>
                            </a:lnTo>
                            <a:lnTo>
                              <a:pt x="70094" y="141025"/>
                            </a:lnTo>
                            <a:close/>
                            <a:moveTo>
                              <a:pt x="69676" y="139889"/>
                            </a:moveTo>
                            <a:lnTo>
                              <a:pt x="69914" y="140607"/>
                            </a:lnTo>
                            <a:lnTo>
                              <a:pt x="70991" y="139111"/>
                            </a:lnTo>
                            <a:lnTo>
                              <a:pt x="69676" y="139889"/>
                            </a:lnTo>
                            <a:close/>
                            <a:moveTo>
                              <a:pt x="68539" y="136600"/>
                            </a:moveTo>
                            <a:lnTo>
                              <a:pt x="69556" y="139530"/>
                            </a:lnTo>
                            <a:lnTo>
                              <a:pt x="71290" y="138513"/>
                            </a:lnTo>
                            <a:lnTo>
                              <a:pt x="68539" y="136600"/>
                            </a:lnTo>
                            <a:close/>
                            <a:moveTo>
                              <a:pt x="67821" y="134746"/>
                            </a:moveTo>
                            <a:lnTo>
                              <a:pt x="68299" y="136121"/>
                            </a:lnTo>
                            <a:lnTo>
                              <a:pt x="70393" y="137557"/>
                            </a:lnTo>
                            <a:lnTo>
                              <a:pt x="67821" y="134746"/>
                            </a:lnTo>
                            <a:close/>
                            <a:moveTo>
                              <a:pt x="88096" y="148441"/>
                            </a:moveTo>
                            <a:lnTo>
                              <a:pt x="75656" y="154362"/>
                            </a:lnTo>
                            <a:lnTo>
                              <a:pt x="95094" y="152508"/>
                            </a:lnTo>
                            <a:lnTo>
                              <a:pt x="88096" y="148441"/>
                            </a:lnTo>
                            <a:close/>
                            <a:moveTo>
                              <a:pt x="81936" y="144853"/>
                            </a:moveTo>
                            <a:lnTo>
                              <a:pt x="75537" y="153704"/>
                            </a:lnTo>
                            <a:lnTo>
                              <a:pt x="84508" y="146408"/>
                            </a:lnTo>
                            <a:lnTo>
                              <a:pt x="81936" y="144853"/>
                            </a:lnTo>
                            <a:close/>
                            <a:moveTo>
                              <a:pt x="84866" y="146528"/>
                            </a:moveTo>
                            <a:lnTo>
                              <a:pt x="75895" y="153824"/>
                            </a:lnTo>
                            <a:lnTo>
                              <a:pt x="87737" y="148202"/>
                            </a:lnTo>
                            <a:lnTo>
                              <a:pt x="84866" y="146528"/>
                            </a:lnTo>
                            <a:close/>
                            <a:moveTo>
                              <a:pt x="44198" y="30322"/>
                            </a:moveTo>
                            <a:lnTo>
                              <a:pt x="30980" y="40071"/>
                            </a:lnTo>
                            <a:lnTo>
                              <a:pt x="36841" y="52212"/>
                            </a:lnTo>
                            <a:lnTo>
                              <a:pt x="44198" y="30322"/>
                            </a:lnTo>
                            <a:close/>
                            <a:moveTo>
                              <a:pt x="29844" y="17165"/>
                            </a:moveTo>
                            <a:lnTo>
                              <a:pt x="30920" y="39652"/>
                            </a:lnTo>
                            <a:lnTo>
                              <a:pt x="44257" y="29844"/>
                            </a:lnTo>
                            <a:lnTo>
                              <a:pt x="29844" y="17165"/>
                            </a:lnTo>
                            <a:close/>
                            <a:moveTo>
                              <a:pt x="28468" y="26614"/>
                            </a:moveTo>
                            <a:lnTo>
                              <a:pt x="30502" y="37499"/>
                            </a:lnTo>
                            <a:lnTo>
                              <a:pt x="29604" y="18600"/>
                            </a:lnTo>
                            <a:lnTo>
                              <a:pt x="28468" y="26614"/>
                            </a:lnTo>
                            <a:close/>
                            <a:moveTo>
                              <a:pt x="44018" y="31877"/>
                            </a:moveTo>
                            <a:lnTo>
                              <a:pt x="37080" y="52570"/>
                            </a:lnTo>
                            <a:lnTo>
                              <a:pt x="39772" y="58132"/>
                            </a:lnTo>
                            <a:lnTo>
                              <a:pt x="44018" y="31877"/>
                            </a:lnTo>
                            <a:close/>
                            <a:moveTo>
                              <a:pt x="44556" y="30621"/>
                            </a:moveTo>
                            <a:lnTo>
                              <a:pt x="40011" y="58491"/>
                            </a:lnTo>
                            <a:lnTo>
                              <a:pt x="52032" y="55681"/>
                            </a:lnTo>
                            <a:lnTo>
                              <a:pt x="44556" y="30621"/>
                            </a:lnTo>
                            <a:close/>
                            <a:moveTo>
                              <a:pt x="82115" y="129782"/>
                            </a:moveTo>
                            <a:lnTo>
                              <a:pt x="72067" y="138394"/>
                            </a:lnTo>
                            <a:lnTo>
                              <a:pt x="86003" y="138693"/>
                            </a:lnTo>
                            <a:lnTo>
                              <a:pt x="88634" y="135045"/>
                            </a:lnTo>
                            <a:lnTo>
                              <a:pt x="82115" y="129782"/>
                            </a:lnTo>
                            <a:close/>
                            <a:moveTo>
                              <a:pt x="85703" y="138992"/>
                            </a:moveTo>
                            <a:lnTo>
                              <a:pt x="72247" y="138693"/>
                            </a:lnTo>
                            <a:lnTo>
                              <a:pt x="81876" y="144315"/>
                            </a:lnTo>
                            <a:lnTo>
                              <a:pt x="85703" y="138992"/>
                            </a:lnTo>
                            <a:close/>
                            <a:moveTo>
                              <a:pt x="75895" y="128825"/>
                            </a:moveTo>
                            <a:lnTo>
                              <a:pt x="72007" y="137915"/>
                            </a:lnTo>
                            <a:lnTo>
                              <a:pt x="81637" y="129662"/>
                            </a:lnTo>
                            <a:lnTo>
                              <a:pt x="75895" y="128825"/>
                            </a:lnTo>
                            <a:close/>
                            <a:moveTo>
                              <a:pt x="67283" y="110225"/>
                            </a:moveTo>
                            <a:lnTo>
                              <a:pt x="64591" y="114531"/>
                            </a:lnTo>
                            <a:lnTo>
                              <a:pt x="77988" y="121050"/>
                            </a:lnTo>
                            <a:lnTo>
                              <a:pt x="67283" y="110225"/>
                            </a:lnTo>
                            <a:close/>
                            <a:moveTo>
                              <a:pt x="84089" y="79304"/>
                            </a:moveTo>
                            <a:lnTo>
                              <a:pt x="53169" y="83730"/>
                            </a:lnTo>
                            <a:lnTo>
                              <a:pt x="67403" y="109806"/>
                            </a:lnTo>
                            <a:lnTo>
                              <a:pt x="78706" y="121229"/>
                            </a:lnTo>
                            <a:lnTo>
                              <a:pt x="84089" y="79304"/>
                            </a:lnTo>
                            <a:close/>
                            <a:moveTo>
                              <a:pt x="67403" y="53647"/>
                            </a:moveTo>
                            <a:lnTo>
                              <a:pt x="53169" y="83431"/>
                            </a:lnTo>
                            <a:lnTo>
                              <a:pt x="83969" y="79005"/>
                            </a:lnTo>
                            <a:lnTo>
                              <a:pt x="67403" y="53647"/>
                            </a:lnTo>
                            <a:close/>
                            <a:moveTo>
                              <a:pt x="46231" y="18959"/>
                            </a:moveTo>
                            <a:lnTo>
                              <a:pt x="30142" y="17045"/>
                            </a:lnTo>
                            <a:lnTo>
                              <a:pt x="44376" y="29545"/>
                            </a:lnTo>
                            <a:lnTo>
                              <a:pt x="46231" y="18959"/>
                            </a:lnTo>
                            <a:close/>
                            <a:moveTo>
                              <a:pt x="48444" y="6160"/>
                            </a:moveTo>
                            <a:lnTo>
                              <a:pt x="30202" y="16626"/>
                            </a:lnTo>
                            <a:lnTo>
                              <a:pt x="46291" y="18540"/>
                            </a:lnTo>
                            <a:lnTo>
                              <a:pt x="48444" y="6160"/>
                            </a:lnTo>
                            <a:close/>
                            <a:moveTo>
                              <a:pt x="52391" y="55920"/>
                            </a:moveTo>
                            <a:lnTo>
                              <a:pt x="49640" y="64352"/>
                            </a:lnTo>
                            <a:lnTo>
                              <a:pt x="66565" y="53587"/>
                            </a:lnTo>
                            <a:lnTo>
                              <a:pt x="52391" y="55920"/>
                            </a:lnTo>
                            <a:close/>
                            <a:moveTo>
                              <a:pt x="86123" y="139052"/>
                            </a:moveTo>
                            <a:lnTo>
                              <a:pt x="82115" y="144554"/>
                            </a:lnTo>
                            <a:lnTo>
                              <a:pt x="84806" y="146109"/>
                            </a:lnTo>
                            <a:lnTo>
                              <a:pt x="93359" y="139171"/>
                            </a:lnTo>
                            <a:lnTo>
                              <a:pt x="86123" y="139052"/>
                            </a:lnTo>
                            <a:close/>
                            <a:moveTo>
                              <a:pt x="78826" y="122066"/>
                            </a:moveTo>
                            <a:lnTo>
                              <a:pt x="76075" y="128526"/>
                            </a:lnTo>
                            <a:lnTo>
                              <a:pt x="81816" y="129363"/>
                            </a:lnTo>
                            <a:lnTo>
                              <a:pt x="78826" y="122066"/>
                            </a:lnTo>
                            <a:close/>
                            <a:moveTo>
                              <a:pt x="49640" y="1854"/>
                            </a:moveTo>
                            <a:lnTo>
                              <a:pt x="31937" y="15251"/>
                            </a:lnTo>
                            <a:lnTo>
                              <a:pt x="48563" y="5682"/>
                            </a:lnTo>
                            <a:lnTo>
                              <a:pt x="49640" y="1854"/>
                            </a:lnTo>
                            <a:close/>
                            <a:moveTo>
                              <a:pt x="93897" y="139231"/>
                            </a:moveTo>
                            <a:lnTo>
                              <a:pt x="85165" y="146348"/>
                            </a:lnTo>
                            <a:lnTo>
                              <a:pt x="88096" y="148083"/>
                            </a:lnTo>
                            <a:lnTo>
                              <a:pt x="101612" y="141623"/>
                            </a:lnTo>
                            <a:lnTo>
                              <a:pt x="93897" y="139231"/>
                            </a:lnTo>
                            <a:close/>
                            <a:moveTo>
                              <a:pt x="102091" y="141743"/>
                            </a:moveTo>
                            <a:lnTo>
                              <a:pt x="88395" y="148262"/>
                            </a:lnTo>
                            <a:lnTo>
                              <a:pt x="95512" y="152449"/>
                            </a:lnTo>
                            <a:lnTo>
                              <a:pt x="105500" y="142819"/>
                            </a:lnTo>
                            <a:lnTo>
                              <a:pt x="102091" y="141743"/>
                            </a:lnTo>
                            <a:close/>
                            <a:moveTo>
                              <a:pt x="44855" y="30442"/>
                            </a:moveTo>
                            <a:lnTo>
                              <a:pt x="52391" y="55561"/>
                            </a:lnTo>
                            <a:lnTo>
                              <a:pt x="67044" y="53169"/>
                            </a:lnTo>
                            <a:lnTo>
                              <a:pt x="44855" y="30442"/>
                            </a:lnTo>
                            <a:close/>
                            <a:moveTo>
                              <a:pt x="83431" y="127210"/>
                            </a:moveTo>
                            <a:lnTo>
                              <a:pt x="79364" y="122485"/>
                            </a:lnTo>
                            <a:lnTo>
                              <a:pt x="82115" y="129183"/>
                            </a:lnTo>
                            <a:lnTo>
                              <a:pt x="83431" y="127210"/>
                            </a:lnTo>
                            <a:close/>
                            <a:moveTo>
                              <a:pt x="84388" y="79544"/>
                            </a:moveTo>
                            <a:lnTo>
                              <a:pt x="79005" y="121349"/>
                            </a:lnTo>
                            <a:lnTo>
                              <a:pt x="90727" y="116325"/>
                            </a:lnTo>
                            <a:lnTo>
                              <a:pt x="100835" y="101254"/>
                            </a:lnTo>
                            <a:lnTo>
                              <a:pt x="84388" y="79544"/>
                            </a:lnTo>
                            <a:close/>
                            <a:moveTo>
                              <a:pt x="86063" y="123322"/>
                            </a:moveTo>
                            <a:lnTo>
                              <a:pt x="79245" y="121887"/>
                            </a:lnTo>
                            <a:lnTo>
                              <a:pt x="83610" y="126971"/>
                            </a:lnTo>
                            <a:lnTo>
                              <a:pt x="86063" y="123322"/>
                            </a:lnTo>
                            <a:close/>
                            <a:moveTo>
                              <a:pt x="84208" y="128107"/>
                            </a:moveTo>
                            <a:lnTo>
                              <a:pt x="82355" y="129542"/>
                            </a:lnTo>
                            <a:lnTo>
                              <a:pt x="88814" y="134746"/>
                            </a:lnTo>
                            <a:lnTo>
                              <a:pt x="89352" y="134028"/>
                            </a:lnTo>
                            <a:lnTo>
                              <a:pt x="84208" y="128107"/>
                            </a:lnTo>
                            <a:close/>
                            <a:moveTo>
                              <a:pt x="90369" y="116863"/>
                            </a:moveTo>
                            <a:lnTo>
                              <a:pt x="79364" y="121528"/>
                            </a:lnTo>
                            <a:lnTo>
                              <a:pt x="86242" y="122964"/>
                            </a:lnTo>
                            <a:lnTo>
                              <a:pt x="90369" y="116863"/>
                            </a:lnTo>
                            <a:close/>
                            <a:moveTo>
                              <a:pt x="88873" y="135224"/>
                            </a:moveTo>
                            <a:lnTo>
                              <a:pt x="86361" y="138693"/>
                            </a:lnTo>
                            <a:lnTo>
                              <a:pt x="93359" y="138812"/>
                            </a:lnTo>
                            <a:lnTo>
                              <a:pt x="88873" y="135224"/>
                            </a:lnTo>
                            <a:close/>
                            <a:moveTo>
                              <a:pt x="83670" y="127509"/>
                            </a:moveTo>
                            <a:lnTo>
                              <a:pt x="82833" y="128765"/>
                            </a:lnTo>
                            <a:lnTo>
                              <a:pt x="83969" y="127868"/>
                            </a:lnTo>
                            <a:lnTo>
                              <a:pt x="83670" y="127509"/>
                            </a:lnTo>
                            <a:close/>
                            <a:moveTo>
                              <a:pt x="63276" y="27093"/>
                            </a:moveTo>
                            <a:lnTo>
                              <a:pt x="44855" y="29963"/>
                            </a:lnTo>
                            <a:lnTo>
                              <a:pt x="67163" y="52810"/>
                            </a:lnTo>
                            <a:lnTo>
                              <a:pt x="63276" y="27093"/>
                            </a:lnTo>
                            <a:close/>
                            <a:moveTo>
                              <a:pt x="46589" y="18959"/>
                            </a:moveTo>
                            <a:lnTo>
                              <a:pt x="44796" y="29246"/>
                            </a:lnTo>
                            <a:lnTo>
                              <a:pt x="52690" y="19736"/>
                            </a:lnTo>
                            <a:lnTo>
                              <a:pt x="46589" y="18959"/>
                            </a:lnTo>
                            <a:close/>
                            <a:moveTo>
                              <a:pt x="86421" y="123382"/>
                            </a:moveTo>
                            <a:lnTo>
                              <a:pt x="83850" y="127210"/>
                            </a:lnTo>
                            <a:lnTo>
                              <a:pt x="84208" y="127629"/>
                            </a:lnTo>
                            <a:lnTo>
                              <a:pt x="88873" y="123920"/>
                            </a:lnTo>
                            <a:lnTo>
                              <a:pt x="86421" y="123382"/>
                            </a:lnTo>
                            <a:close/>
                            <a:moveTo>
                              <a:pt x="53109" y="19736"/>
                            </a:moveTo>
                            <a:lnTo>
                              <a:pt x="45154" y="29305"/>
                            </a:lnTo>
                            <a:lnTo>
                              <a:pt x="61900" y="20813"/>
                            </a:lnTo>
                            <a:lnTo>
                              <a:pt x="53109" y="19736"/>
                            </a:lnTo>
                            <a:close/>
                            <a:moveTo>
                              <a:pt x="89352" y="123980"/>
                            </a:moveTo>
                            <a:lnTo>
                              <a:pt x="84508" y="127868"/>
                            </a:lnTo>
                            <a:lnTo>
                              <a:pt x="89591" y="133729"/>
                            </a:lnTo>
                            <a:lnTo>
                              <a:pt x="95692" y="125296"/>
                            </a:lnTo>
                            <a:lnTo>
                              <a:pt x="89352" y="123980"/>
                            </a:lnTo>
                            <a:close/>
                            <a:moveTo>
                              <a:pt x="62379" y="20992"/>
                            </a:moveTo>
                            <a:lnTo>
                              <a:pt x="45573" y="29545"/>
                            </a:lnTo>
                            <a:lnTo>
                              <a:pt x="63276" y="26794"/>
                            </a:lnTo>
                            <a:lnTo>
                              <a:pt x="62379" y="20992"/>
                            </a:lnTo>
                            <a:close/>
                            <a:moveTo>
                              <a:pt x="89531" y="134327"/>
                            </a:moveTo>
                            <a:lnTo>
                              <a:pt x="89053" y="134985"/>
                            </a:lnTo>
                            <a:lnTo>
                              <a:pt x="92462" y="137736"/>
                            </a:lnTo>
                            <a:lnTo>
                              <a:pt x="89531" y="134327"/>
                            </a:lnTo>
                            <a:close/>
                            <a:moveTo>
                              <a:pt x="105918" y="142939"/>
                            </a:moveTo>
                            <a:lnTo>
                              <a:pt x="96170" y="152329"/>
                            </a:lnTo>
                            <a:lnTo>
                              <a:pt x="118478" y="146767"/>
                            </a:lnTo>
                            <a:lnTo>
                              <a:pt x="105918" y="142939"/>
                            </a:lnTo>
                            <a:close/>
                            <a:moveTo>
                              <a:pt x="95990" y="125416"/>
                            </a:moveTo>
                            <a:lnTo>
                              <a:pt x="89771" y="134028"/>
                            </a:lnTo>
                            <a:lnTo>
                              <a:pt x="93837" y="138693"/>
                            </a:lnTo>
                            <a:lnTo>
                              <a:pt x="99519" y="126133"/>
                            </a:lnTo>
                            <a:lnTo>
                              <a:pt x="95990" y="125416"/>
                            </a:lnTo>
                            <a:close/>
                            <a:moveTo>
                              <a:pt x="90967" y="116624"/>
                            </a:moveTo>
                            <a:lnTo>
                              <a:pt x="86661" y="123083"/>
                            </a:lnTo>
                            <a:lnTo>
                              <a:pt x="89292" y="123621"/>
                            </a:lnTo>
                            <a:lnTo>
                              <a:pt x="106218" y="110105"/>
                            </a:lnTo>
                            <a:lnTo>
                              <a:pt x="90967" y="116624"/>
                            </a:lnTo>
                            <a:close/>
                            <a:moveTo>
                              <a:pt x="48802" y="6220"/>
                            </a:moveTo>
                            <a:lnTo>
                              <a:pt x="46649" y="18660"/>
                            </a:lnTo>
                            <a:lnTo>
                              <a:pt x="52989" y="19437"/>
                            </a:lnTo>
                            <a:lnTo>
                              <a:pt x="56817" y="14832"/>
                            </a:lnTo>
                            <a:lnTo>
                              <a:pt x="48802" y="6220"/>
                            </a:lnTo>
                            <a:close/>
                            <a:moveTo>
                              <a:pt x="99878" y="126253"/>
                            </a:moveTo>
                            <a:lnTo>
                              <a:pt x="94256" y="138633"/>
                            </a:lnTo>
                            <a:lnTo>
                              <a:pt x="110464" y="128765"/>
                            </a:lnTo>
                            <a:lnTo>
                              <a:pt x="110404" y="128526"/>
                            </a:lnTo>
                            <a:lnTo>
                              <a:pt x="99878" y="126253"/>
                            </a:lnTo>
                            <a:close/>
                            <a:moveTo>
                              <a:pt x="111002" y="137138"/>
                            </a:moveTo>
                            <a:lnTo>
                              <a:pt x="94675" y="139111"/>
                            </a:lnTo>
                            <a:lnTo>
                              <a:pt x="102091" y="141384"/>
                            </a:lnTo>
                            <a:lnTo>
                              <a:pt x="111002" y="137138"/>
                            </a:lnTo>
                            <a:close/>
                            <a:moveTo>
                              <a:pt x="110524" y="129064"/>
                            </a:moveTo>
                            <a:lnTo>
                              <a:pt x="94675" y="138753"/>
                            </a:lnTo>
                            <a:lnTo>
                              <a:pt x="111839" y="136659"/>
                            </a:lnTo>
                            <a:lnTo>
                              <a:pt x="110524" y="129064"/>
                            </a:lnTo>
                            <a:close/>
                            <a:moveTo>
                              <a:pt x="106397" y="110404"/>
                            </a:moveTo>
                            <a:lnTo>
                              <a:pt x="89711" y="123741"/>
                            </a:lnTo>
                            <a:lnTo>
                              <a:pt x="95870" y="125057"/>
                            </a:lnTo>
                            <a:lnTo>
                              <a:pt x="106397" y="110404"/>
                            </a:lnTo>
                            <a:close/>
                            <a:moveTo>
                              <a:pt x="101074" y="101553"/>
                            </a:moveTo>
                            <a:lnTo>
                              <a:pt x="91326" y="116086"/>
                            </a:lnTo>
                            <a:lnTo>
                              <a:pt x="106995" y="109387"/>
                            </a:lnTo>
                            <a:lnTo>
                              <a:pt x="101074" y="101553"/>
                            </a:lnTo>
                            <a:close/>
                            <a:moveTo>
                              <a:pt x="56996" y="15071"/>
                            </a:moveTo>
                            <a:lnTo>
                              <a:pt x="53348" y="19437"/>
                            </a:lnTo>
                            <a:lnTo>
                              <a:pt x="62020" y="20454"/>
                            </a:lnTo>
                            <a:lnTo>
                              <a:pt x="56996" y="15071"/>
                            </a:lnTo>
                            <a:close/>
                            <a:moveTo>
                              <a:pt x="111122" y="137437"/>
                            </a:moveTo>
                            <a:lnTo>
                              <a:pt x="102570" y="141504"/>
                            </a:lnTo>
                            <a:lnTo>
                              <a:pt x="105858" y="142521"/>
                            </a:lnTo>
                            <a:lnTo>
                              <a:pt x="111122" y="137437"/>
                            </a:lnTo>
                            <a:close/>
                            <a:moveTo>
                              <a:pt x="80620" y="54664"/>
                            </a:moveTo>
                            <a:lnTo>
                              <a:pt x="67761" y="53527"/>
                            </a:lnTo>
                            <a:lnTo>
                              <a:pt x="84029" y="78467"/>
                            </a:lnTo>
                            <a:lnTo>
                              <a:pt x="80620" y="54664"/>
                            </a:lnTo>
                            <a:close/>
                            <a:moveTo>
                              <a:pt x="63635" y="27093"/>
                            </a:moveTo>
                            <a:lnTo>
                              <a:pt x="67522" y="52870"/>
                            </a:lnTo>
                            <a:lnTo>
                              <a:pt x="78347" y="39114"/>
                            </a:lnTo>
                            <a:lnTo>
                              <a:pt x="67343" y="26495"/>
                            </a:lnTo>
                            <a:lnTo>
                              <a:pt x="63635" y="27093"/>
                            </a:lnTo>
                            <a:close/>
                            <a:moveTo>
                              <a:pt x="106397" y="111002"/>
                            </a:moveTo>
                            <a:lnTo>
                              <a:pt x="96230" y="125117"/>
                            </a:lnTo>
                            <a:lnTo>
                              <a:pt x="99698" y="125834"/>
                            </a:lnTo>
                            <a:lnTo>
                              <a:pt x="106397" y="111002"/>
                            </a:lnTo>
                            <a:close/>
                            <a:moveTo>
                              <a:pt x="78407" y="39532"/>
                            </a:moveTo>
                            <a:lnTo>
                              <a:pt x="67701" y="53109"/>
                            </a:lnTo>
                            <a:lnTo>
                              <a:pt x="80500" y="54245"/>
                            </a:lnTo>
                            <a:lnTo>
                              <a:pt x="78407" y="39532"/>
                            </a:lnTo>
                            <a:close/>
                            <a:moveTo>
                              <a:pt x="63156" y="7117"/>
                            </a:moveTo>
                            <a:lnTo>
                              <a:pt x="49101" y="6040"/>
                            </a:lnTo>
                            <a:lnTo>
                              <a:pt x="56996" y="14533"/>
                            </a:lnTo>
                            <a:lnTo>
                              <a:pt x="63156" y="7117"/>
                            </a:lnTo>
                            <a:close/>
                            <a:moveTo>
                              <a:pt x="66146" y="3529"/>
                            </a:moveTo>
                            <a:lnTo>
                              <a:pt x="60046" y="4366"/>
                            </a:lnTo>
                            <a:lnTo>
                              <a:pt x="50297" y="5801"/>
                            </a:lnTo>
                            <a:lnTo>
                              <a:pt x="63455" y="6818"/>
                            </a:lnTo>
                            <a:lnTo>
                              <a:pt x="66146" y="3529"/>
                            </a:lnTo>
                            <a:close/>
                            <a:moveTo>
                              <a:pt x="112019" y="137078"/>
                            </a:moveTo>
                            <a:lnTo>
                              <a:pt x="106218" y="142640"/>
                            </a:lnTo>
                            <a:lnTo>
                              <a:pt x="118717" y="146468"/>
                            </a:lnTo>
                            <a:lnTo>
                              <a:pt x="112019" y="137078"/>
                            </a:lnTo>
                            <a:close/>
                            <a:moveTo>
                              <a:pt x="107174" y="110045"/>
                            </a:moveTo>
                            <a:lnTo>
                              <a:pt x="99998" y="125894"/>
                            </a:lnTo>
                            <a:lnTo>
                              <a:pt x="110344" y="128047"/>
                            </a:lnTo>
                            <a:lnTo>
                              <a:pt x="107174" y="110045"/>
                            </a:lnTo>
                            <a:close/>
                            <a:moveTo>
                              <a:pt x="63575" y="7177"/>
                            </a:moveTo>
                            <a:lnTo>
                              <a:pt x="57235" y="14772"/>
                            </a:lnTo>
                            <a:lnTo>
                              <a:pt x="62438" y="20334"/>
                            </a:lnTo>
                            <a:lnTo>
                              <a:pt x="65489" y="7296"/>
                            </a:lnTo>
                            <a:lnTo>
                              <a:pt x="63575" y="7177"/>
                            </a:lnTo>
                            <a:close/>
                            <a:moveTo>
                              <a:pt x="62738" y="21291"/>
                            </a:moveTo>
                            <a:lnTo>
                              <a:pt x="63575" y="26734"/>
                            </a:lnTo>
                            <a:lnTo>
                              <a:pt x="67044" y="26195"/>
                            </a:lnTo>
                            <a:lnTo>
                              <a:pt x="62738" y="21291"/>
                            </a:lnTo>
                            <a:close/>
                            <a:moveTo>
                              <a:pt x="80919" y="54664"/>
                            </a:moveTo>
                            <a:lnTo>
                              <a:pt x="84388" y="78646"/>
                            </a:lnTo>
                            <a:lnTo>
                              <a:pt x="100297" y="56398"/>
                            </a:lnTo>
                            <a:lnTo>
                              <a:pt x="80919" y="54664"/>
                            </a:lnTo>
                            <a:close/>
                            <a:moveTo>
                              <a:pt x="100476" y="56697"/>
                            </a:moveTo>
                            <a:lnTo>
                              <a:pt x="84568" y="79005"/>
                            </a:lnTo>
                            <a:lnTo>
                              <a:pt x="103945" y="84448"/>
                            </a:lnTo>
                            <a:lnTo>
                              <a:pt x="100476" y="56697"/>
                            </a:lnTo>
                            <a:close/>
                            <a:moveTo>
                              <a:pt x="104005" y="84866"/>
                            </a:moveTo>
                            <a:lnTo>
                              <a:pt x="84926" y="79484"/>
                            </a:lnTo>
                            <a:lnTo>
                              <a:pt x="103825" y="96768"/>
                            </a:lnTo>
                            <a:lnTo>
                              <a:pt x="105201" y="94675"/>
                            </a:lnTo>
                            <a:lnTo>
                              <a:pt x="104005" y="84866"/>
                            </a:lnTo>
                            <a:close/>
                            <a:moveTo>
                              <a:pt x="103646" y="97067"/>
                            </a:moveTo>
                            <a:lnTo>
                              <a:pt x="85524" y="80500"/>
                            </a:lnTo>
                            <a:lnTo>
                              <a:pt x="101014" y="100954"/>
                            </a:lnTo>
                            <a:lnTo>
                              <a:pt x="103646" y="97067"/>
                            </a:lnTo>
                            <a:close/>
                            <a:moveTo>
                              <a:pt x="77032" y="20813"/>
                            </a:moveTo>
                            <a:lnTo>
                              <a:pt x="62857" y="20873"/>
                            </a:lnTo>
                            <a:lnTo>
                              <a:pt x="67403" y="26136"/>
                            </a:lnTo>
                            <a:lnTo>
                              <a:pt x="76852" y="24700"/>
                            </a:lnTo>
                            <a:lnTo>
                              <a:pt x="77032" y="20813"/>
                            </a:lnTo>
                            <a:close/>
                            <a:moveTo>
                              <a:pt x="72307" y="7835"/>
                            </a:moveTo>
                            <a:lnTo>
                              <a:pt x="62857" y="20514"/>
                            </a:lnTo>
                            <a:lnTo>
                              <a:pt x="77032" y="20454"/>
                            </a:lnTo>
                            <a:lnTo>
                              <a:pt x="77450" y="8253"/>
                            </a:lnTo>
                            <a:lnTo>
                              <a:pt x="72307" y="7835"/>
                            </a:lnTo>
                            <a:close/>
                            <a:moveTo>
                              <a:pt x="65788" y="7356"/>
                            </a:moveTo>
                            <a:lnTo>
                              <a:pt x="62857" y="19976"/>
                            </a:lnTo>
                            <a:lnTo>
                              <a:pt x="71888" y="7835"/>
                            </a:lnTo>
                            <a:lnTo>
                              <a:pt x="65788" y="7356"/>
                            </a:lnTo>
                            <a:close/>
                            <a:moveTo>
                              <a:pt x="76912" y="24999"/>
                            </a:moveTo>
                            <a:lnTo>
                              <a:pt x="67701" y="26435"/>
                            </a:lnTo>
                            <a:lnTo>
                              <a:pt x="78287" y="38635"/>
                            </a:lnTo>
                            <a:lnTo>
                              <a:pt x="76912" y="24999"/>
                            </a:lnTo>
                            <a:close/>
                            <a:moveTo>
                              <a:pt x="110822" y="128884"/>
                            </a:moveTo>
                            <a:lnTo>
                              <a:pt x="112198" y="136659"/>
                            </a:lnTo>
                            <a:lnTo>
                              <a:pt x="131576" y="137437"/>
                            </a:lnTo>
                            <a:lnTo>
                              <a:pt x="133011" y="136360"/>
                            </a:lnTo>
                            <a:lnTo>
                              <a:pt x="129183" y="132413"/>
                            </a:lnTo>
                            <a:lnTo>
                              <a:pt x="111241" y="128645"/>
                            </a:lnTo>
                            <a:lnTo>
                              <a:pt x="110822" y="128884"/>
                            </a:lnTo>
                            <a:close/>
                            <a:moveTo>
                              <a:pt x="131097" y="137736"/>
                            </a:moveTo>
                            <a:lnTo>
                              <a:pt x="112377" y="136958"/>
                            </a:lnTo>
                            <a:lnTo>
                              <a:pt x="119195" y="146528"/>
                            </a:lnTo>
                            <a:lnTo>
                              <a:pt x="131097" y="137736"/>
                            </a:lnTo>
                            <a:close/>
                            <a:moveTo>
                              <a:pt x="78766" y="39532"/>
                            </a:moveTo>
                            <a:lnTo>
                              <a:pt x="80919" y="54305"/>
                            </a:lnTo>
                            <a:lnTo>
                              <a:pt x="100057" y="56039"/>
                            </a:lnTo>
                            <a:lnTo>
                              <a:pt x="78766" y="39532"/>
                            </a:lnTo>
                            <a:close/>
                            <a:moveTo>
                              <a:pt x="107533" y="109985"/>
                            </a:moveTo>
                            <a:lnTo>
                              <a:pt x="110703" y="128167"/>
                            </a:lnTo>
                            <a:lnTo>
                              <a:pt x="111181" y="128286"/>
                            </a:lnTo>
                            <a:lnTo>
                              <a:pt x="119973" y="122904"/>
                            </a:lnTo>
                            <a:lnTo>
                              <a:pt x="107533" y="109985"/>
                            </a:lnTo>
                            <a:close/>
                            <a:moveTo>
                              <a:pt x="120212" y="123143"/>
                            </a:moveTo>
                            <a:lnTo>
                              <a:pt x="111660" y="128346"/>
                            </a:lnTo>
                            <a:lnTo>
                              <a:pt x="128705" y="131935"/>
                            </a:lnTo>
                            <a:lnTo>
                              <a:pt x="120212" y="123143"/>
                            </a:lnTo>
                            <a:close/>
                            <a:moveTo>
                              <a:pt x="103885" y="97306"/>
                            </a:moveTo>
                            <a:lnTo>
                              <a:pt x="101253" y="101254"/>
                            </a:lnTo>
                            <a:lnTo>
                              <a:pt x="106995" y="108849"/>
                            </a:lnTo>
                            <a:lnTo>
                              <a:pt x="105739" y="98981"/>
                            </a:lnTo>
                            <a:lnTo>
                              <a:pt x="103885" y="97306"/>
                            </a:lnTo>
                            <a:close/>
                            <a:moveTo>
                              <a:pt x="66206" y="3947"/>
                            </a:moveTo>
                            <a:lnTo>
                              <a:pt x="63814" y="6818"/>
                            </a:lnTo>
                            <a:lnTo>
                              <a:pt x="65489" y="6937"/>
                            </a:lnTo>
                            <a:lnTo>
                              <a:pt x="66206" y="3947"/>
                            </a:lnTo>
                            <a:close/>
                            <a:moveTo>
                              <a:pt x="66685" y="3409"/>
                            </a:moveTo>
                            <a:lnTo>
                              <a:pt x="65848" y="6997"/>
                            </a:lnTo>
                            <a:lnTo>
                              <a:pt x="72067" y="7476"/>
                            </a:lnTo>
                            <a:lnTo>
                              <a:pt x="77390" y="299"/>
                            </a:lnTo>
                            <a:lnTo>
                              <a:pt x="66685" y="3409"/>
                            </a:lnTo>
                            <a:close/>
                            <a:moveTo>
                              <a:pt x="88754" y="20992"/>
                            </a:moveTo>
                            <a:lnTo>
                              <a:pt x="78766" y="39114"/>
                            </a:lnTo>
                            <a:lnTo>
                              <a:pt x="100297" y="55800"/>
                            </a:lnTo>
                            <a:lnTo>
                              <a:pt x="88754" y="20992"/>
                            </a:lnTo>
                            <a:close/>
                            <a:moveTo>
                              <a:pt x="77270" y="24940"/>
                            </a:moveTo>
                            <a:lnTo>
                              <a:pt x="78647" y="38576"/>
                            </a:lnTo>
                            <a:lnTo>
                              <a:pt x="88395" y="20873"/>
                            </a:lnTo>
                            <a:lnTo>
                              <a:pt x="77270" y="24940"/>
                            </a:lnTo>
                            <a:close/>
                            <a:moveTo>
                              <a:pt x="106158" y="99340"/>
                            </a:moveTo>
                            <a:lnTo>
                              <a:pt x="107414" y="109208"/>
                            </a:lnTo>
                            <a:lnTo>
                              <a:pt x="113275" y="105859"/>
                            </a:lnTo>
                            <a:lnTo>
                              <a:pt x="106158" y="99340"/>
                            </a:lnTo>
                            <a:close/>
                            <a:moveTo>
                              <a:pt x="113514" y="106098"/>
                            </a:moveTo>
                            <a:lnTo>
                              <a:pt x="107653" y="109447"/>
                            </a:lnTo>
                            <a:lnTo>
                              <a:pt x="126492" y="117940"/>
                            </a:lnTo>
                            <a:lnTo>
                              <a:pt x="113514" y="106098"/>
                            </a:lnTo>
                            <a:close/>
                            <a:moveTo>
                              <a:pt x="127030" y="118598"/>
                            </a:moveTo>
                            <a:lnTo>
                              <a:pt x="108011" y="109985"/>
                            </a:lnTo>
                            <a:lnTo>
                              <a:pt x="120272" y="122724"/>
                            </a:lnTo>
                            <a:lnTo>
                              <a:pt x="127030" y="118598"/>
                            </a:lnTo>
                            <a:close/>
                            <a:moveTo>
                              <a:pt x="131696" y="137796"/>
                            </a:moveTo>
                            <a:lnTo>
                              <a:pt x="122007" y="144913"/>
                            </a:lnTo>
                            <a:lnTo>
                              <a:pt x="133908" y="137856"/>
                            </a:lnTo>
                            <a:lnTo>
                              <a:pt x="131696" y="137796"/>
                            </a:lnTo>
                            <a:close/>
                            <a:moveTo>
                              <a:pt x="105320" y="95213"/>
                            </a:moveTo>
                            <a:lnTo>
                              <a:pt x="104124" y="97007"/>
                            </a:lnTo>
                            <a:lnTo>
                              <a:pt x="105739" y="98502"/>
                            </a:lnTo>
                            <a:lnTo>
                              <a:pt x="105320" y="95213"/>
                            </a:lnTo>
                            <a:close/>
                            <a:moveTo>
                              <a:pt x="105560" y="94794"/>
                            </a:moveTo>
                            <a:lnTo>
                              <a:pt x="106098" y="98861"/>
                            </a:lnTo>
                            <a:lnTo>
                              <a:pt x="113574" y="105679"/>
                            </a:lnTo>
                            <a:lnTo>
                              <a:pt x="118957" y="102569"/>
                            </a:lnTo>
                            <a:lnTo>
                              <a:pt x="110822" y="86900"/>
                            </a:lnTo>
                            <a:lnTo>
                              <a:pt x="105560" y="94794"/>
                            </a:lnTo>
                            <a:close/>
                            <a:moveTo>
                              <a:pt x="77390" y="20813"/>
                            </a:moveTo>
                            <a:lnTo>
                              <a:pt x="77270" y="24581"/>
                            </a:lnTo>
                            <a:lnTo>
                              <a:pt x="87797" y="20753"/>
                            </a:lnTo>
                            <a:lnTo>
                              <a:pt x="77390" y="20813"/>
                            </a:lnTo>
                            <a:close/>
                            <a:moveTo>
                              <a:pt x="104363" y="84926"/>
                            </a:moveTo>
                            <a:lnTo>
                              <a:pt x="105500" y="94196"/>
                            </a:lnTo>
                            <a:lnTo>
                              <a:pt x="110524" y="86661"/>
                            </a:lnTo>
                            <a:lnTo>
                              <a:pt x="104363" y="84926"/>
                            </a:lnTo>
                            <a:close/>
                            <a:moveTo>
                              <a:pt x="77809" y="8253"/>
                            </a:moveTo>
                            <a:lnTo>
                              <a:pt x="77390" y="20454"/>
                            </a:lnTo>
                            <a:lnTo>
                              <a:pt x="88514" y="20394"/>
                            </a:lnTo>
                            <a:lnTo>
                              <a:pt x="82295" y="8612"/>
                            </a:lnTo>
                            <a:lnTo>
                              <a:pt x="77809" y="8253"/>
                            </a:lnTo>
                            <a:close/>
                            <a:moveTo>
                              <a:pt x="77690" y="538"/>
                            </a:moveTo>
                            <a:lnTo>
                              <a:pt x="72486" y="7536"/>
                            </a:lnTo>
                            <a:lnTo>
                              <a:pt x="77450" y="7894"/>
                            </a:lnTo>
                            <a:lnTo>
                              <a:pt x="77690" y="538"/>
                            </a:lnTo>
                            <a:close/>
                            <a:moveTo>
                              <a:pt x="100955" y="57893"/>
                            </a:moveTo>
                            <a:lnTo>
                              <a:pt x="104303" y="84567"/>
                            </a:lnTo>
                            <a:lnTo>
                              <a:pt x="110584" y="86361"/>
                            </a:lnTo>
                            <a:lnTo>
                              <a:pt x="100955" y="57893"/>
                            </a:lnTo>
                            <a:close/>
                            <a:moveTo>
                              <a:pt x="127329" y="118777"/>
                            </a:moveTo>
                            <a:lnTo>
                              <a:pt x="120512" y="122964"/>
                            </a:lnTo>
                            <a:lnTo>
                              <a:pt x="129303" y="132114"/>
                            </a:lnTo>
                            <a:lnTo>
                              <a:pt x="136360" y="133609"/>
                            </a:lnTo>
                            <a:lnTo>
                              <a:pt x="127329" y="118777"/>
                            </a:lnTo>
                            <a:close/>
                            <a:moveTo>
                              <a:pt x="119076" y="102868"/>
                            </a:moveTo>
                            <a:lnTo>
                              <a:pt x="113813" y="105919"/>
                            </a:lnTo>
                            <a:lnTo>
                              <a:pt x="126791" y="117820"/>
                            </a:lnTo>
                            <a:lnTo>
                              <a:pt x="119076" y="102868"/>
                            </a:lnTo>
                            <a:close/>
                            <a:moveTo>
                              <a:pt x="78048" y="598"/>
                            </a:moveTo>
                            <a:lnTo>
                              <a:pt x="77809" y="7894"/>
                            </a:lnTo>
                            <a:lnTo>
                              <a:pt x="82055" y="8253"/>
                            </a:lnTo>
                            <a:lnTo>
                              <a:pt x="78048" y="598"/>
                            </a:lnTo>
                            <a:close/>
                            <a:moveTo>
                              <a:pt x="108371" y="67582"/>
                            </a:moveTo>
                            <a:lnTo>
                              <a:pt x="111002" y="86541"/>
                            </a:lnTo>
                            <a:lnTo>
                              <a:pt x="124399" y="98622"/>
                            </a:lnTo>
                            <a:lnTo>
                              <a:pt x="108371" y="67582"/>
                            </a:lnTo>
                            <a:close/>
                            <a:moveTo>
                              <a:pt x="101133" y="57235"/>
                            </a:moveTo>
                            <a:lnTo>
                              <a:pt x="110464" y="84866"/>
                            </a:lnTo>
                            <a:lnTo>
                              <a:pt x="107952" y="66685"/>
                            </a:lnTo>
                            <a:lnTo>
                              <a:pt x="101133" y="57235"/>
                            </a:lnTo>
                            <a:close/>
                            <a:moveTo>
                              <a:pt x="124638" y="99280"/>
                            </a:moveTo>
                            <a:lnTo>
                              <a:pt x="111421" y="87318"/>
                            </a:lnTo>
                            <a:lnTo>
                              <a:pt x="119255" y="102390"/>
                            </a:lnTo>
                            <a:lnTo>
                              <a:pt x="124638" y="99280"/>
                            </a:lnTo>
                            <a:close/>
                            <a:moveTo>
                              <a:pt x="136300" y="133908"/>
                            </a:moveTo>
                            <a:lnTo>
                              <a:pt x="129722" y="132533"/>
                            </a:lnTo>
                            <a:lnTo>
                              <a:pt x="133250" y="136181"/>
                            </a:lnTo>
                            <a:lnTo>
                              <a:pt x="136300" y="133908"/>
                            </a:lnTo>
                            <a:close/>
                            <a:moveTo>
                              <a:pt x="133250" y="136659"/>
                            </a:moveTo>
                            <a:lnTo>
                              <a:pt x="132114" y="137497"/>
                            </a:lnTo>
                            <a:lnTo>
                              <a:pt x="134087" y="137557"/>
                            </a:lnTo>
                            <a:lnTo>
                              <a:pt x="133250" y="136659"/>
                            </a:lnTo>
                            <a:close/>
                            <a:moveTo>
                              <a:pt x="96768" y="28408"/>
                            </a:moveTo>
                            <a:lnTo>
                              <a:pt x="100775" y="56219"/>
                            </a:lnTo>
                            <a:lnTo>
                              <a:pt x="107653" y="65728"/>
                            </a:lnTo>
                            <a:lnTo>
                              <a:pt x="96768" y="28408"/>
                            </a:lnTo>
                            <a:close/>
                            <a:moveTo>
                              <a:pt x="89113" y="20992"/>
                            </a:moveTo>
                            <a:lnTo>
                              <a:pt x="100177" y="54424"/>
                            </a:lnTo>
                            <a:lnTo>
                              <a:pt x="96110" y="26136"/>
                            </a:lnTo>
                            <a:lnTo>
                              <a:pt x="89113" y="20992"/>
                            </a:lnTo>
                            <a:close/>
                            <a:moveTo>
                              <a:pt x="124818" y="99639"/>
                            </a:moveTo>
                            <a:lnTo>
                              <a:pt x="119375" y="102749"/>
                            </a:lnTo>
                            <a:lnTo>
                              <a:pt x="127090" y="117701"/>
                            </a:lnTo>
                            <a:lnTo>
                              <a:pt x="124818" y="99639"/>
                            </a:lnTo>
                            <a:close/>
                            <a:moveTo>
                              <a:pt x="87079" y="8971"/>
                            </a:moveTo>
                            <a:lnTo>
                              <a:pt x="82713" y="8612"/>
                            </a:lnTo>
                            <a:lnTo>
                              <a:pt x="88514" y="19617"/>
                            </a:lnTo>
                            <a:lnTo>
                              <a:pt x="87079" y="8971"/>
                            </a:lnTo>
                            <a:close/>
                            <a:moveTo>
                              <a:pt x="136181" y="134447"/>
                            </a:moveTo>
                            <a:lnTo>
                              <a:pt x="133489" y="136420"/>
                            </a:lnTo>
                            <a:lnTo>
                              <a:pt x="134447" y="137437"/>
                            </a:lnTo>
                            <a:lnTo>
                              <a:pt x="136181" y="134447"/>
                            </a:lnTo>
                            <a:close/>
                            <a:moveTo>
                              <a:pt x="125236" y="100057"/>
                            </a:moveTo>
                            <a:lnTo>
                              <a:pt x="127569" y="118358"/>
                            </a:lnTo>
                            <a:lnTo>
                              <a:pt x="135762" y="116983"/>
                            </a:lnTo>
                            <a:lnTo>
                              <a:pt x="125236" y="100057"/>
                            </a:lnTo>
                            <a:close/>
                            <a:moveTo>
                              <a:pt x="135882" y="117342"/>
                            </a:moveTo>
                            <a:lnTo>
                              <a:pt x="127748" y="118717"/>
                            </a:lnTo>
                            <a:lnTo>
                              <a:pt x="136240" y="126911"/>
                            </a:lnTo>
                            <a:lnTo>
                              <a:pt x="135882" y="117342"/>
                            </a:lnTo>
                            <a:close/>
                            <a:moveTo>
                              <a:pt x="92162" y="9868"/>
                            </a:moveTo>
                            <a:lnTo>
                              <a:pt x="88933" y="20514"/>
                            </a:lnTo>
                            <a:lnTo>
                              <a:pt x="95990" y="25657"/>
                            </a:lnTo>
                            <a:lnTo>
                              <a:pt x="92162" y="9868"/>
                            </a:lnTo>
                            <a:close/>
                            <a:moveTo>
                              <a:pt x="136300" y="127389"/>
                            </a:moveTo>
                            <a:lnTo>
                              <a:pt x="128226" y="119614"/>
                            </a:lnTo>
                            <a:lnTo>
                              <a:pt x="136540" y="133191"/>
                            </a:lnTo>
                            <a:lnTo>
                              <a:pt x="136300" y="127389"/>
                            </a:lnTo>
                            <a:close/>
                            <a:moveTo>
                              <a:pt x="87378" y="9031"/>
                            </a:moveTo>
                            <a:lnTo>
                              <a:pt x="88814" y="19796"/>
                            </a:lnTo>
                            <a:lnTo>
                              <a:pt x="91924" y="9390"/>
                            </a:lnTo>
                            <a:lnTo>
                              <a:pt x="87378" y="9031"/>
                            </a:lnTo>
                            <a:close/>
                            <a:moveTo>
                              <a:pt x="86661" y="3349"/>
                            </a:moveTo>
                            <a:lnTo>
                              <a:pt x="87378" y="8612"/>
                            </a:lnTo>
                            <a:lnTo>
                              <a:pt x="91804" y="8971"/>
                            </a:lnTo>
                            <a:lnTo>
                              <a:pt x="86661" y="3349"/>
                            </a:lnTo>
                            <a:close/>
                            <a:moveTo>
                              <a:pt x="136659" y="127688"/>
                            </a:moveTo>
                            <a:lnTo>
                              <a:pt x="136899" y="133549"/>
                            </a:lnTo>
                            <a:lnTo>
                              <a:pt x="139172" y="132891"/>
                            </a:lnTo>
                            <a:lnTo>
                              <a:pt x="138454" y="129423"/>
                            </a:lnTo>
                            <a:lnTo>
                              <a:pt x="136659" y="127688"/>
                            </a:lnTo>
                            <a:close/>
                            <a:moveTo>
                              <a:pt x="139530" y="133191"/>
                            </a:moveTo>
                            <a:lnTo>
                              <a:pt x="140308" y="137018"/>
                            </a:lnTo>
                            <a:lnTo>
                              <a:pt x="141444" y="132592"/>
                            </a:lnTo>
                            <a:lnTo>
                              <a:pt x="139530" y="133191"/>
                            </a:lnTo>
                            <a:close/>
                            <a:moveTo>
                              <a:pt x="131636" y="107294"/>
                            </a:moveTo>
                            <a:lnTo>
                              <a:pt x="126253" y="101074"/>
                            </a:lnTo>
                            <a:lnTo>
                              <a:pt x="134985" y="115129"/>
                            </a:lnTo>
                            <a:lnTo>
                              <a:pt x="131636" y="107294"/>
                            </a:lnTo>
                            <a:close/>
                            <a:moveTo>
                              <a:pt x="136300" y="119136"/>
                            </a:moveTo>
                            <a:lnTo>
                              <a:pt x="136600" y="127210"/>
                            </a:lnTo>
                            <a:lnTo>
                              <a:pt x="138274" y="128825"/>
                            </a:lnTo>
                            <a:lnTo>
                              <a:pt x="136300" y="119136"/>
                            </a:lnTo>
                            <a:close/>
                            <a:moveTo>
                              <a:pt x="138872" y="129841"/>
                            </a:moveTo>
                            <a:lnTo>
                              <a:pt x="139470" y="132832"/>
                            </a:lnTo>
                            <a:lnTo>
                              <a:pt x="141325" y="132294"/>
                            </a:lnTo>
                            <a:lnTo>
                              <a:pt x="138872" y="129841"/>
                            </a:lnTo>
                            <a:close/>
                            <a:moveTo>
                              <a:pt x="136659" y="119255"/>
                            </a:moveTo>
                            <a:lnTo>
                              <a:pt x="138752" y="129243"/>
                            </a:lnTo>
                            <a:lnTo>
                              <a:pt x="141265" y="131695"/>
                            </a:lnTo>
                            <a:lnTo>
                              <a:pt x="136659" y="119255"/>
                            </a:lnTo>
                            <a:close/>
                          </a:path>
                        </a:pathLst>
                      </a:custGeom>
                      <a:noFill/>
                      <a:ln w="6350" cap="flat">
                        <a:solidFill>
                          <a:schemeClr val="bg1">
                            <a:alpha val="80000"/>
                          </a:schemeClr>
                        </a:solidFill>
                        <a:prstDash val="solid"/>
                        <a:miter/>
                      </a:ln>
                    </p:spPr>
                    <p:txBody>
                      <a:bodyPr rtlCol="0" anchor="ctr"/>
                      <a:lstStyle/>
                      <a:p>
                        <a:endParaRPr lang="en-GB"/>
                      </a:p>
                    </p:txBody>
                  </p:sp>
                  <p:sp>
                    <p:nvSpPr>
                      <p:cNvPr id="5870" name="Vrije vorm: vorm 5869">
                        <a:extLst>
                          <a:ext uri="{FF2B5EF4-FFF2-40B4-BE49-F238E27FC236}">
                            <a16:creationId xmlns:a16="http://schemas.microsoft.com/office/drawing/2014/main" id="{826AB65B-AED2-4868-8BF8-DED1469F779A}"/>
                          </a:ext>
                        </a:extLst>
                      </p:cNvPr>
                      <p:cNvSpPr/>
                      <p:nvPr/>
                    </p:nvSpPr>
                    <p:spPr>
                      <a:xfrm>
                        <a:off x="7750557" y="3044646"/>
                        <a:ext cx="27690" cy="14592"/>
                      </a:xfrm>
                      <a:custGeom>
                        <a:avLst/>
                        <a:gdLst>
                          <a:gd name="connsiteX0" fmla="*/ 0 w 27690"/>
                          <a:gd name="connsiteY0" fmla="*/ 14294 h 14592"/>
                          <a:gd name="connsiteX1" fmla="*/ 27511 w 27690"/>
                          <a:gd name="connsiteY1" fmla="*/ 0 h 14592"/>
                          <a:gd name="connsiteX2" fmla="*/ 27691 w 27690"/>
                          <a:gd name="connsiteY2" fmla="*/ 299 h 14592"/>
                          <a:gd name="connsiteX3" fmla="*/ 14055 w 27690"/>
                          <a:gd name="connsiteY3" fmla="*/ 9988 h 14592"/>
                          <a:gd name="connsiteX4" fmla="*/ 180 w 27690"/>
                          <a:gd name="connsiteY4" fmla="*/ 14593 h 14592"/>
                          <a:gd name="connsiteX5" fmla="*/ 0 w 27690"/>
                          <a:gd name="connsiteY5" fmla="*/ 14294 h 14592"/>
                          <a:gd name="connsiteX6" fmla="*/ 25418 w 27690"/>
                          <a:gd name="connsiteY6" fmla="*/ 1435 h 14592"/>
                          <a:gd name="connsiteX7" fmla="*/ 2093 w 27690"/>
                          <a:gd name="connsiteY7" fmla="*/ 13576 h 14592"/>
                          <a:gd name="connsiteX8" fmla="*/ 13876 w 27690"/>
                          <a:gd name="connsiteY8" fmla="*/ 9629 h 14592"/>
                          <a:gd name="connsiteX9" fmla="*/ 25418 w 27690"/>
                          <a:gd name="connsiteY9" fmla="*/ 1435 h 1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90" h="14592">
                            <a:moveTo>
                              <a:pt x="0" y="14294"/>
                            </a:moveTo>
                            <a:lnTo>
                              <a:pt x="27511" y="0"/>
                            </a:lnTo>
                            <a:lnTo>
                              <a:pt x="27691" y="299"/>
                            </a:lnTo>
                            <a:lnTo>
                              <a:pt x="14055" y="9988"/>
                            </a:lnTo>
                            <a:lnTo>
                              <a:pt x="180" y="14593"/>
                            </a:lnTo>
                            <a:lnTo>
                              <a:pt x="0" y="14294"/>
                            </a:lnTo>
                            <a:close/>
                            <a:moveTo>
                              <a:pt x="25418" y="1435"/>
                            </a:moveTo>
                            <a:lnTo>
                              <a:pt x="2093" y="13576"/>
                            </a:lnTo>
                            <a:lnTo>
                              <a:pt x="13876" y="9629"/>
                            </a:lnTo>
                            <a:lnTo>
                              <a:pt x="25418" y="1435"/>
                            </a:lnTo>
                            <a:close/>
                          </a:path>
                        </a:pathLst>
                      </a:custGeom>
                      <a:noFill/>
                      <a:ln w="6350" cap="flat">
                        <a:solidFill>
                          <a:schemeClr val="bg1">
                            <a:alpha val="80000"/>
                          </a:schemeClr>
                        </a:solidFill>
                        <a:prstDash val="solid"/>
                        <a:miter/>
                      </a:ln>
                    </p:spPr>
                    <p:txBody>
                      <a:bodyPr rtlCol="0" anchor="ctr"/>
                      <a:lstStyle/>
                      <a:p>
                        <a:endParaRPr lang="en-GB"/>
                      </a:p>
                    </p:txBody>
                  </p:sp>
                  <p:sp>
                    <p:nvSpPr>
                      <p:cNvPr id="5871" name="Vrije vorm: vorm 5870">
                        <a:extLst>
                          <a:ext uri="{FF2B5EF4-FFF2-40B4-BE49-F238E27FC236}">
                            <a16:creationId xmlns:a16="http://schemas.microsoft.com/office/drawing/2014/main" id="{BD582A97-65CB-4807-A957-551B032A8673}"/>
                          </a:ext>
                        </a:extLst>
                      </p:cNvPr>
                      <p:cNvSpPr/>
                      <p:nvPr/>
                    </p:nvSpPr>
                    <p:spPr>
                      <a:xfrm>
                        <a:off x="7736920" y="3055471"/>
                        <a:ext cx="10167" cy="4904"/>
                      </a:xfrm>
                      <a:custGeom>
                        <a:avLst/>
                        <a:gdLst>
                          <a:gd name="connsiteX0" fmla="*/ 0 w 10167"/>
                          <a:gd name="connsiteY0" fmla="*/ 239 h 4904"/>
                          <a:gd name="connsiteX1" fmla="*/ 239 w 10167"/>
                          <a:gd name="connsiteY1" fmla="*/ 0 h 4904"/>
                          <a:gd name="connsiteX2" fmla="*/ 10168 w 10167"/>
                          <a:gd name="connsiteY2" fmla="*/ 4545 h 4904"/>
                          <a:gd name="connsiteX3" fmla="*/ 10108 w 10167"/>
                          <a:gd name="connsiteY3" fmla="*/ 4904 h 4904"/>
                          <a:gd name="connsiteX4" fmla="*/ 1974 w 10167"/>
                          <a:gd name="connsiteY4" fmla="*/ 4844 h 4904"/>
                          <a:gd name="connsiteX5" fmla="*/ 1795 w 10167"/>
                          <a:gd name="connsiteY5" fmla="*/ 4725 h 4904"/>
                          <a:gd name="connsiteX6" fmla="*/ 0 w 10167"/>
                          <a:gd name="connsiteY6" fmla="*/ 239 h 4904"/>
                          <a:gd name="connsiteX7" fmla="*/ 9330 w 10167"/>
                          <a:gd name="connsiteY7" fmla="*/ 4545 h 4904"/>
                          <a:gd name="connsiteX8" fmla="*/ 479 w 10167"/>
                          <a:gd name="connsiteY8" fmla="*/ 479 h 4904"/>
                          <a:gd name="connsiteX9" fmla="*/ 2094 w 10167"/>
                          <a:gd name="connsiteY9" fmla="*/ 4486 h 4904"/>
                          <a:gd name="connsiteX10" fmla="*/ 9330 w 10167"/>
                          <a:gd name="connsiteY10" fmla="*/ 4545 h 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67" h="4904">
                            <a:moveTo>
                              <a:pt x="0" y="239"/>
                            </a:moveTo>
                            <a:lnTo>
                              <a:pt x="239" y="0"/>
                            </a:lnTo>
                            <a:lnTo>
                              <a:pt x="10168" y="4545"/>
                            </a:lnTo>
                            <a:lnTo>
                              <a:pt x="10108" y="4904"/>
                            </a:lnTo>
                            <a:lnTo>
                              <a:pt x="1974" y="4844"/>
                            </a:lnTo>
                            <a:lnTo>
                              <a:pt x="1795" y="4725"/>
                            </a:lnTo>
                            <a:lnTo>
                              <a:pt x="0" y="239"/>
                            </a:lnTo>
                            <a:close/>
                            <a:moveTo>
                              <a:pt x="9330" y="4545"/>
                            </a:moveTo>
                            <a:lnTo>
                              <a:pt x="479" y="479"/>
                            </a:lnTo>
                            <a:lnTo>
                              <a:pt x="2094" y="4486"/>
                            </a:lnTo>
                            <a:lnTo>
                              <a:pt x="9330" y="4545"/>
                            </a:lnTo>
                            <a:close/>
                          </a:path>
                        </a:pathLst>
                      </a:custGeom>
                      <a:noFill/>
                      <a:ln w="6350" cap="flat">
                        <a:solidFill>
                          <a:schemeClr val="bg1">
                            <a:alpha val="80000"/>
                          </a:schemeClr>
                        </a:solidFill>
                        <a:prstDash val="solid"/>
                        <a:miter/>
                      </a:ln>
                    </p:spPr>
                    <p:txBody>
                      <a:bodyPr rtlCol="0" anchor="ctr"/>
                      <a:lstStyle/>
                      <a:p>
                        <a:endParaRPr lang="en-GB"/>
                      </a:p>
                    </p:txBody>
                  </p:sp>
                  <p:sp>
                    <p:nvSpPr>
                      <p:cNvPr id="5872" name="Vrije vorm: vorm 5871">
                        <a:extLst>
                          <a:ext uri="{FF2B5EF4-FFF2-40B4-BE49-F238E27FC236}">
                            <a16:creationId xmlns:a16="http://schemas.microsoft.com/office/drawing/2014/main" id="{EBF44920-F1F0-4913-A56A-4C97CE577420}"/>
                          </a:ext>
                        </a:extLst>
                      </p:cNvPr>
                      <p:cNvSpPr/>
                      <p:nvPr/>
                    </p:nvSpPr>
                    <p:spPr>
                      <a:xfrm>
                        <a:off x="7805101" y="3036094"/>
                        <a:ext cx="58671" cy="33492"/>
                      </a:xfrm>
                      <a:custGeom>
                        <a:avLst/>
                        <a:gdLst>
                          <a:gd name="connsiteX0" fmla="*/ 0 w 58671"/>
                          <a:gd name="connsiteY0" fmla="*/ 33253 h 33492"/>
                          <a:gd name="connsiteX1" fmla="*/ 2752 w 58671"/>
                          <a:gd name="connsiteY1" fmla="*/ 30621 h 33492"/>
                          <a:gd name="connsiteX2" fmla="*/ 7835 w 58671"/>
                          <a:gd name="connsiteY2" fmla="*/ 28887 h 33492"/>
                          <a:gd name="connsiteX3" fmla="*/ 11124 w 58671"/>
                          <a:gd name="connsiteY3" fmla="*/ 28648 h 33492"/>
                          <a:gd name="connsiteX4" fmla="*/ 12919 w 58671"/>
                          <a:gd name="connsiteY4" fmla="*/ 27930 h 33492"/>
                          <a:gd name="connsiteX5" fmla="*/ 20394 w 58671"/>
                          <a:gd name="connsiteY5" fmla="*/ 23923 h 33492"/>
                          <a:gd name="connsiteX6" fmla="*/ 26973 w 58671"/>
                          <a:gd name="connsiteY6" fmla="*/ 22129 h 33492"/>
                          <a:gd name="connsiteX7" fmla="*/ 30083 w 58671"/>
                          <a:gd name="connsiteY7" fmla="*/ 20873 h 33492"/>
                          <a:gd name="connsiteX8" fmla="*/ 30323 w 58671"/>
                          <a:gd name="connsiteY8" fmla="*/ 21052 h 33492"/>
                          <a:gd name="connsiteX9" fmla="*/ 30263 w 58671"/>
                          <a:gd name="connsiteY9" fmla="*/ 21231 h 33492"/>
                          <a:gd name="connsiteX10" fmla="*/ 36363 w 58671"/>
                          <a:gd name="connsiteY10" fmla="*/ 19557 h 33492"/>
                          <a:gd name="connsiteX11" fmla="*/ 44317 w 58671"/>
                          <a:gd name="connsiteY11" fmla="*/ 15370 h 33492"/>
                          <a:gd name="connsiteX12" fmla="*/ 54066 w 58671"/>
                          <a:gd name="connsiteY12" fmla="*/ 7476 h 33492"/>
                          <a:gd name="connsiteX13" fmla="*/ 54784 w 58671"/>
                          <a:gd name="connsiteY13" fmla="*/ 120 h 33492"/>
                          <a:gd name="connsiteX14" fmla="*/ 55083 w 58671"/>
                          <a:gd name="connsiteY14" fmla="*/ 0 h 33492"/>
                          <a:gd name="connsiteX15" fmla="*/ 58671 w 58671"/>
                          <a:gd name="connsiteY15" fmla="*/ 3887 h 33492"/>
                          <a:gd name="connsiteX16" fmla="*/ 58671 w 58671"/>
                          <a:gd name="connsiteY16" fmla="*/ 4127 h 33492"/>
                          <a:gd name="connsiteX17" fmla="*/ 58671 w 58671"/>
                          <a:gd name="connsiteY17" fmla="*/ 4127 h 33492"/>
                          <a:gd name="connsiteX18" fmla="*/ 54186 w 58671"/>
                          <a:gd name="connsiteY18" fmla="*/ 9031 h 33492"/>
                          <a:gd name="connsiteX19" fmla="*/ 45095 w 58671"/>
                          <a:gd name="connsiteY19" fmla="*/ 17464 h 33492"/>
                          <a:gd name="connsiteX20" fmla="*/ 29844 w 58671"/>
                          <a:gd name="connsiteY20" fmla="*/ 23325 h 33492"/>
                          <a:gd name="connsiteX21" fmla="*/ 18720 w 58671"/>
                          <a:gd name="connsiteY21" fmla="*/ 26554 h 33492"/>
                          <a:gd name="connsiteX22" fmla="*/ 239 w 58671"/>
                          <a:gd name="connsiteY22" fmla="*/ 33492 h 33492"/>
                          <a:gd name="connsiteX23" fmla="*/ 0 w 58671"/>
                          <a:gd name="connsiteY23" fmla="*/ 33253 h 33492"/>
                          <a:gd name="connsiteX24" fmla="*/ 2930 w 58671"/>
                          <a:gd name="connsiteY24" fmla="*/ 30920 h 33492"/>
                          <a:gd name="connsiteX25" fmla="*/ 897 w 58671"/>
                          <a:gd name="connsiteY25" fmla="*/ 32894 h 33492"/>
                          <a:gd name="connsiteX26" fmla="*/ 10108 w 58671"/>
                          <a:gd name="connsiteY26" fmla="*/ 29066 h 33492"/>
                          <a:gd name="connsiteX27" fmla="*/ 7955 w 58671"/>
                          <a:gd name="connsiteY27" fmla="*/ 29246 h 33492"/>
                          <a:gd name="connsiteX28" fmla="*/ 2930 w 58671"/>
                          <a:gd name="connsiteY28" fmla="*/ 30920 h 33492"/>
                          <a:gd name="connsiteX29" fmla="*/ 11184 w 58671"/>
                          <a:gd name="connsiteY29" fmla="*/ 29007 h 33492"/>
                          <a:gd name="connsiteX30" fmla="*/ 10108 w 58671"/>
                          <a:gd name="connsiteY30" fmla="*/ 29485 h 33492"/>
                          <a:gd name="connsiteX31" fmla="*/ 11364 w 58671"/>
                          <a:gd name="connsiteY31" fmla="*/ 29007 h 33492"/>
                          <a:gd name="connsiteX32" fmla="*/ 11184 w 58671"/>
                          <a:gd name="connsiteY32" fmla="*/ 29007 h 33492"/>
                          <a:gd name="connsiteX33" fmla="*/ 13038 w 58671"/>
                          <a:gd name="connsiteY33" fmla="*/ 28229 h 33492"/>
                          <a:gd name="connsiteX34" fmla="*/ 12321 w 58671"/>
                          <a:gd name="connsiteY34" fmla="*/ 28588 h 33492"/>
                          <a:gd name="connsiteX35" fmla="*/ 18481 w 58671"/>
                          <a:gd name="connsiteY35" fmla="*/ 26255 h 33492"/>
                          <a:gd name="connsiteX36" fmla="*/ 29545 w 58671"/>
                          <a:gd name="connsiteY36" fmla="*/ 23026 h 33492"/>
                          <a:gd name="connsiteX37" fmla="*/ 29784 w 58671"/>
                          <a:gd name="connsiteY37" fmla="*/ 21650 h 33492"/>
                          <a:gd name="connsiteX38" fmla="*/ 27033 w 58671"/>
                          <a:gd name="connsiteY38" fmla="*/ 22428 h 33492"/>
                          <a:gd name="connsiteX39" fmla="*/ 13038 w 58671"/>
                          <a:gd name="connsiteY39" fmla="*/ 28229 h 33492"/>
                          <a:gd name="connsiteX40" fmla="*/ 24342 w 58671"/>
                          <a:gd name="connsiteY40" fmla="*/ 23145 h 33492"/>
                          <a:gd name="connsiteX41" fmla="*/ 20514 w 58671"/>
                          <a:gd name="connsiteY41" fmla="*/ 24222 h 33492"/>
                          <a:gd name="connsiteX42" fmla="*/ 16148 w 58671"/>
                          <a:gd name="connsiteY42" fmla="*/ 26554 h 33492"/>
                          <a:gd name="connsiteX43" fmla="*/ 24342 w 58671"/>
                          <a:gd name="connsiteY43" fmla="*/ 23145 h 33492"/>
                          <a:gd name="connsiteX44" fmla="*/ 30143 w 58671"/>
                          <a:gd name="connsiteY44" fmla="*/ 21590 h 33492"/>
                          <a:gd name="connsiteX45" fmla="*/ 29904 w 58671"/>
                          <a:gd name="connsiteY45" fmla="*/ 22906 h 33492"/>
                          <a:gd name="connsiteX46" fmla="*/ 34868 w 58671"/>
                          <a:gd name="connsiteY46" fmla="*/ 20275 h 33492"/>
                          <a:gd name="connsiteX47" fmla="*/ 30143 w 58671"/>
                          <a:gd name="connsiteY47" fmla="*/ 21590 h 33492"/>
                          <a:gd name="connsiteX48" fmla="*/ 29844 w 58671"/>
                          <a:gd name="connsiteY48" fmla="*/ 21231 h 33492"/>
                          <a:gd name="connsiteX49" fmla="*/ 29605 w 58671"/>
                          <a:gd name="connsiteY49" fmla="*/ 21351 h 33492"/>
                          <a:gd name="connsiteX50" fmla="*/ 29844 w 58671"/>
                          <a:gd name="connsiteY50" fmla="*/ 21231 h 33492"/>
                          <a:gd name="connsiteX51" fmla="*/ 29844 w 58671"/>
                          <a:gd name="connsiteY51" fmla="*/ 21231 h 33492"/>
                          <a:gd name="connsiteX52" fmla="*/ 36482 w 58671"/>
                          <a:gd name="connsiteY52" fmla="*/ 19856 h 33492"/>
                          <a:gd name="connsiteX53" fmla="*/ 32416 w 58671"/>
                          <a:gd name="connsiteY53" fmla="*/ 22009 h 33492"/>
                          <a:gd name="connsiteX54" fmla="*/ 41626 w 58671"/>
                          <a:gd name="connsiteY54" fmla="*/ 18480 h 33492"/>
                          <a:gd name="connsiteX55" fmla="*/ 36482 w 58671"/>
                          <a:gd name="connsiteY55" fmla="*/ 19856 h 33492"/>
                          <a:gd name="connsiteX56" fmla="*/ 44257 w 58671"/>
                          <a:gd name="connsiteY56" fmla="*/ 15729 h 33492"/>
                          <a:gd name="connsiteX57" fmla="*/ 37918 w 58671"/>
                          <a:gd name="connsiteY57" fmla="*/ 19079 h 33492"/>
                          <a:gd name="connsiteX58" fmla="*/ 44796 w 58671"/>
                          <a:gd name="connsiteY58" fmla="*/ 17165 h 33492"/>
                          <a:gd name="connsiteX59" fmla="*/ 44257 w 58671"/>
                          <a:gd name="connsiteY59" fmla="*/ 15729 h 33492"/>
                          <a:gd name="connsiteX60" fmla="*/ 44557 w 58671"/>
                          <a:gd name="connsiteY60" fmla="*/ 15550 h 33492"/>
                          <a:gd name="connsiteX61" fmla="*/ 45035 w 58671"/>
                          <a:gd name="connsiteY61" fmla="*/ 16985 h 33492"/>
                          <a:gd name="connsiteX62" fmla="*/ 52212 w 58671"/>
                          <a:gd name="connsiteY62" fmla="*/ 10347 h 33492"/>
                          <a:gd name="connsiteX63" fmla="*/ 44557 w 58671"/>
                          <a:gd name="connsiteY63" fmla="*/ 15550 h 33492"/>
                          <a:gd name="connsiteX64" fmla="*/ 53946 w 58671"/>
                          <a:gd name="connsiteY64" fmla="*/ 7954 h 33492"/>
                          <a:gd name="connsiteX65" fmla="*/ 47607 w 58671"/>
                          <a:gd name="connsiteY65" fmla="*/ 13098 h 33492"/>
                          <a:gd name="connsiteX66" fmla="*/ 53886 w 58671"/>
                          <a:gd name="connsiteY66" fmla="*/ 8852 h 33492"/>
                          <a:gd name="connsiteX67" fmla="*/ 53946 w 58671"/>
                          <a:gd name="connsiteY67" fmla="*/ 7954 h 33492"/>
                          <a:gd name="connsiteX68" fmla="*/ 54305 w 58671"/>
                          <a:gd name="connsiteY68" fmla="*/ 7655 h 33492"/>
                          <a:gd name="connsiteX69" fmla="*/ 54246 w 58671"/>
                          <a:gd name="connsiteY69" fmla="*/ 8493 h 33492"/>
                          <a:gd name="connsiteX70" fmla="*/ 56817 w 58671"/>
                          <a:gd name="connsiteY70" fmla="*/ 5682 h 33492"/>
                          <a:gd name="connsiteX71" fmla="*/ 54305 w 58671"/>
                          <a:gd name="connsiteY71" fmla="*/ 7655 h 33492"/>
                          <a:gd name="connsiteX72" fmla="*/ 55023 w 58671"/>
                          <a:gd name="connsiteY72" fmla="*/ 478 h 33492"/>
                          <a:gd name="connsiteX73" fmla="*/ 54365 w 58671"/>
                          <a:gd name="connsiteY73" fmla="*/ 7117 h 33492"/>
                          <a:gd name="connsiteX74" fmla="*/ 58252 w 58671"/>
                          <a:gd name="connsiteY74" fmla="*/ 3947 h 33492"/>
                          <a:gd name="connsiteX75" fmla="*/ 55023 w 58671"/>
                          <a:gd name="connsiteY75" fmla="*/ 478 h 3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8671" h="33492">
                            <a:moveTo>
                              <a:pt x="0" y="33253"/>
                            </a:moveTo>
                            <a:lnTo>
                              <a:pt x="2752" y="30621"/>
                            </a:lnTo>
                            <a:lnTo>
                              <a:pt x="7835" y="28887"/>
                            </a:lnTo>
                            <a:lnTo>
                              <a:pt x="11124" y="28648"/>
                            </a:lnTo>
                            <a:lnTo>
                              <a:pt x="12919" y="27930"/>
                            </a:lnTo>
                            <a:lnTo>
                              <a:pt x="20394" y="23923"/>
                            </a:lnTo>
                            <a:lnTo>
                              <a:pt x="26973" y="22129"/>
                            </a:lnTo>
                            <a:lnTo>
                              <a:pt x="30083" y="20873"/>
                            </a:lnTo>
                            <a:lnTo>
                              <a:pt x="30323" y="21052"/>
                            </a:lnTo>
                            <a:lnTo>
                              <a:pt x="30263" y="21231"/>
                            </a:lnTo>
                            <a:lnTo>
                              <a:pt x="36363" y="19557"/>
                            </a:lnTo>
                            <a:lnTo>
                              <a:pt x="44317" y="15370"/>
                            </a:lnTo>
                            <a:lnTo>
                              <a:pt x="54066" y="7476"/>
                            </a:lnTo>
                            <a:lnTo>
                              <a:pt x="54784" y="120"/>
                            </a:lnTo>
                            <a:lnTo>
                              <a:pt x="55083" y="0"/>
                            </a:lnTo>
                            <a:lnTo>
                              <a:pt x="58671" y="3887"/>
                            </a:lnTo>
                            <a:lnTo>
                              <a:pt x="58671" y="4127"/>
                            </a:lnTo>
                            <a:lnTo>
                              <a:pt x="58671" y="4127"/>
                            </a:lnTo>
                            <a:lnTo>
                              <a:pt x="54186" y="9031"/>
                            </a:lnTo>
                            <a:lnTo>
                              <a:pt x="45095" y="17464"/>
                            </a:lnTo>
                            <a:lnTo>
                              <a:pt x="29844" y="23325"/>
                            </a:lnTo>
                            <a:lnTo>
                              <a:pt x="18720" y="26554"/>
                            </a:lnTo>
                            <a:lnTo>
                              <a:pt x="239" y="33492"/>
                            </a:lnTo>
                            <a:lnTo>
                              <a:pt x="0" y="33253"/>
                            </a:lnTo>
                            <a:close/>
                            <a:moveTo>
                              <a:pt x="2930" y="30920"/>
                            </a:moveTo>
                            <a:lnTo>
                              <a:pt x="897" y="32894"/>
                            </a:lnTo>
                            <a:lnTo>
                              <a:pt x="10108" y="29066"/>
                            </a:lnTo>
                            <a:lnTo>
                              <a:pt x="7955" y="29246"/>
                            </a:lnTo>
                            <a:lnTo>
                              <a:pt x="2930" y="30920"/>
                            </a:lnTo>
                            <a:close/>
                            <a:moveTo>
                              <a:pt x="11184" y="29007"/>
                            </a:moveTo>
                            <a:lnTo>
                              <a:pt x="10108" y="29485"/>
                            </a:lnTo>
                            <a:lnTo>
                              <a:pt x="11364" y="29007"/>
                            </a:lnTo>
                            <a:lnTo>
                              <a:pt x="11184" y="29007"/>
                            </a:lnTo>
                            <a:close/>
                            <a:moveTo>
                              <a:pt x="13038" y="28229"/>
                            </a:moveTo>
                            <a:lnTo>
                              <a:pt x="12321" y="28588"/>
                            </a:lnTo>
                            <a:lnTo>
                              <a:pt x="18481" y="26255"/>
                            </a:lnTo>
                            <a:lnTo>
                              <a:pt x="29545" y="23026"/>
                            </a:lnTo>
                            <a:lnTo>
                              <a:pt x="29784" y="21650"/>
                            </a:lnTo>
                            <a:lnTo>
                              <a:pt x="27033" y="22428"/>
                            </a:lnTo>
                            <a:lnTo>
                              <a:pt x="13038" y="28229"/>
                            </a:lnTo>
                            <a:close/>
                            <a:moveTo>
                              <a:pt x="24342" y="23145"/>
                            </a:moveTo>
                            <a:lnTo>
                              <a:pt x="20514" y="24222"/>
                            </a:lnTo>
                            <a:lnTo>
                              <a:pt x="16148" y="26554"/>
                            </a:lnTo>
                            <a:lnTo>
                              <a:pt x="24342" y="23145"/>
                            </a:lnTo>
                            <a:close/>
                            <a:moveTo>
                              <a:pt x="30143" y="21590"/>
                            </a:moveTo>
                            <a:lnTo>
                              <a:pt x="29904" y="22906"/>
                            </a:lnTo>
                            <a:lnTo>
                              <a:pt x="34868" y="20275"/>
                            </a:lnTo>
                            <a:lnTo>
                              <a:pt x="30143" y="21590"/>
                            </a:lnTo>
                            <a:close/>
                            <a:moveTo>
                              <a:pt x="29844" y="21231"/>
                            </a:moveTo>
                            <a:lnTo>
                              <a:pt x="29605" y="21351"/>
                            </a:lnTo>
                            <a:lnTo>
                              <a:pt x="29844" y="21231"/>
                            </a:lnTo>
                            <a:lnTo>
                              <a:pt x="29844" y="21231"/>
                            </a:lnTo>
                            <a:close/>
                            <a:moveTo>
                              <a:pt x="36482" y="19856"/>
                            </a:moveTo>
                            <a:lnTo>
                              <a:pt x="32416" y="22009"/>
                            </a:lnTo>
                            <a:lnTo>
                              <a:pt x="41626" y="18480"/>
                            </a:lnTo>
                            <a:lnTo>
                              <a:pt x="36482" y="19856"/>
                            </a:lnTo>
                            <a:close/>
                            <a:moveTo>
                              <a:pt x="44257" y="15729"/>
                            </a:moveTo>
                            <a:lnTo>
                              <a:pt x="37918" y="19079"/>
                            </a:lnTo>
                            <a:lnTo>
                              <a:pt x="44796" y="17165"/>
                            </a:lnTo>
                            <a:lnTo>
                              <a:pt x="44257" y="15729"/>
                            </a:lnTo>
                            <a:close/>
                            <a:moveTo>
                              <a:pt x="44557" y="15550"/>
                            </a:moveTo>
                            <a:lnTo>
                              <a:pt x="45035" y="16985"/>
                            </a:lnTo>
                            <a:lnTo>
                              <a:pt x="52212" y="10347"/>
                            </a:lnTo>
                            <a:lnTo>
                              <a:pt x="44557" y="15550"/>
                            </a:lnTo>
                            <a:close/>
                            <a:moveTo>
                              <a:pt x="53946" y="7954"/>
                            </a:moveTo>
                            <a:lnTo>
                              <a:pt x="47607" y="13098"/>
                            </a:lnTo>
                            <a:lnTo>
                              <a:pt x="53886" y="8852"/>
                            </a:lnTo>
                            <a:lnTo>
                              <a:pt x="53946" y="7954"/>
                            </a:lnTo>
                            <a:close/>
                            <a:moveTo>
                              <a:pt x="54305" y="7655"/>
                            </a:moveTo>
                            <a:lnTo>
                              <a:pt x="54246" y="8493"/>
                            </a:lnTo>
                            <a:lnTo>
                              <a:pt x="56817" y="5682"/>
                            </a:lnTo>
                            <a:lnTo>
                              <a:pt x="54305" y="7655"/>
                            </a:lnTo>
                            <a:close/>
                            <a:moveTo>
                              <a:pt x="55023" y="478"/>
                            </a:moveTo>
                            <a:lnTo>
                              <a:pt x="54365" y="7117"/>
                            </a:lnTo>
                            <a:lnTo>
                              <a:pt x="58252" y="3947"/>
                            </a:lnTo>
                            <a:lnTo>
                              <a:pt x="55023" y="478"/>
                            </a:lnTo>
                            <a:close/>
                          </a:path>
                        </a:pathLst>
                      </a:custGeom>
                      <a:noFill/>
                      <a:ln w="6350" cap="flat">
                        <a:solidFill>
                          <a:schemeClr val="bg1">
                            <a:alpha val="80000"/>
                          </a:schemeClr>
                        </a:solidFill>
                        <a:prstDash val="solid"/>
                        <a:miter/>
                      </a:ln>
                    </p:spPr>
                    <p:txBody>
                      <a:bodyPr rtlCol="0" anchor="ctr"/>
                      <a:lstStyle/>
                      <a:p>
                        <a:endParaRPr lang="en-GB"/>
                      </a:p>
                    </p:txBody>
                  </p:sp>
                  <p:sp>
                    <p:nvSpPr>
                      <p:cNvPr id="5873" name="Vrije vorm: vorm 5872">
                        <a:extLst>
                          <a:ext uri="{FF2B5EF4-FFF2-40B4-BE49-F238E27FC236}">
                            <a16:creationId xmlns:a16="http://schemas.microsoft.com/office/drawing/2014/main" id="{3A92DBF7-9CB8-4905-9C20-2E22334264F3}"/>
                          </a:ext>
                        </a:extLst>
                      </p:cNvPr>
                      <p:cNvSpPr/>
                      <p:nvPr/>
                    </p:nvSpPr>
                    <p:spPr>
                      <a:xfrm>
                        <a:off x="7777590" y="3066775"/>
                        <a:ext cx="30441" cy="9509"/>
                      </a:xfrm>
                      <a:custGeom>
                        <a:avLst/>
                        <a:gdLst>
                          <a:gd name="connsiteX0" fmla="*/ 0 w 30441"/>
                          <a:gd name="connsiteY0" fmla="*/ 8014 h 9509"/>
                          <a:gd name="connsiteX1" fmla="*/ 0 w 30441"/>
                          <a:gd name="connsiteY1" fmla="*/ 7655 h 9509"/>
                          <a:gd name="connsiteX2" fmla="*/ 12919 w 30441"/>
                          <a:gd name="connsiteY2" fmla="*/ 5263 h 9509"/>
                          <a:gd name="connsiteX3" fmla="*/ 17404 w 30441"/>
                          <a:gd name="connsiteY3" fmla="*/ 2691 h 9509"/>
                          <a:gd name="connsiteX4" fmla="*/ 17464 w 30441"/>
                          <a:gd name="connsiteY4" fmla="*/ 2691 h 9509"/>
                          <a:gd name="connsiteX5" fmla="*/ 30323 w 30441"/>
                          <a:gd name="connsiteY5" fmla="*/ 0 h 9509"/>
                          <a:gd name="connsiteX6" fmla="*/ 30442 w 30441"/>
                          <a:gd name="connsiteY6" fmla="*/ 299 h 9509"/>
                          <a:gd name="connsiteX7" fmla="*/ 27451 w 30441"/>
                          <a:gd name="connsiteY7" fmla="*/ 2632 h 9509"/>
                          <a:gd name="connsiteX8" fmla="*/ 27571 w 30441"/>
                          <a:gd name="connsiteY8" fmla="*/ 2632 h 9509"/>
                          <a:gd name="connsiteX9" fmla="*/ 27691 w 30441"/>
                          <a:gd name="connsiteY9" fmla="*/ 2930 h 9509"/>
                          <a:gd name="connsiteX10" fmla="*/ 18780 w 30441"/>
                          <a:gd name="connsiteY10" fmla="*/ 9449 h 9509"/>
                          <a:gd name="connsiteX11" fmla="*/ 18660 w 30441"/>
                          <a:gd name="connsiteY11" fmla="*/ 9509 h 9509"/>
                          <a:gd name="connsiteX12" fmla="*/ 7416 w 30441"/>
                          <a:gd name="connsiteY12" fmla="*/ 8911 h 9509"/>
                          <a:gd name="connsiteX13" fmla="*/ 7356 w 30441"/>
                          <a:gd name="connsiteY13" fmla="*/ 8612 h 9509"/>
                          <a:gd name="connsiteX14" fmla="*/ 0 w 30441"/>
                          <a:gd name="connsiteY14" fmla="*/ 8014 h 9509"/>
                          <a:gd name="connsiteX15" fmla="*/ 12021 w 30441"/>
                          <a:gd name="connsiteY15" fmla="*/ 5801 h 9509"/>
                          <a:gd name="connsiteX16" fmla="*/ 1375 w 30441"/>
                          <a:gd name="connsiteY16" fmla="*/ 7775 h 9509"/>
                          <a:gd name="connsiteX17" fmla="*/ 7835 w 30441"/>
                          <a:gd name="connsiteY17" fmla="*/ 8253 h 9509"/>
                          <a:gd name="connsiteX18" fmla="*/ 12021 w 30441"/>
                          <a:gd name="connsiteY18" fmla="*/ 5801 h 9509"/>
                          <a:gd name="connsiteX19" fmla="*/ 13038 w 30441"/>
                          <a:gd name="connsiteY19" fmla="*/ 5562 h 9509"/>
                          <a:gd name="connsiteX20" fmla="*/ 8433 w 30441"/>
                          <a:gd name="connsiteY20" fmla="*/ 8253 h 9509"/>
                          <a:gd name="connsiteX21" fmla="*/ 18660 w 30441"/>
                          <a:gd name="connsiteY21" fmla="*/ 9031 h 9509"/>
                          <a:gd name="connsiteX22" fmla="*/ 26136 w 30441"/>
                          <a:gd name="connsiteY22" fmla="*/ 3170 h 9509"/>
                          <a:gd name="connsiteX23" fmla="*/ 13038 w 30441"/>
                          <a:gd name="connsiteY23" fmla="*/ 5562 h 9509"/>
                          <a:gd name="connsiteX24" fmla="*/ 17524 w 30441"/>
                          <a:gd name="connsiteY24" fmla="*/ 2990 h 9509"/>
                          <a:gd name="connsiteX25" fmla="*/ 13935 w 30441"/>
                          <a:gd name="connsiteY25" fmla="*/ 5084 h 9509"/>
                          <a:gd name="connsiteX26" fmla="*/ 26734 w 30441"/>
                          <a:gd name="connsiteY26" fmla="*/ 2751 h 9509"/>
                          <a:gd name="connsiteX27" fmla="*/ 29664 w 30441"/>
                          <a:gd name="connsiteY27" fmla="*/ 478 h 9509"/>
                          <a:gd name="connsiteX28" fmla="*/ 17524 w 30441"/>
                          <a:gd name="connsiteY28" fmla="*/ 2990 h 9509"/>
                          <a:gd name="connsiteX29" fmla="*/ 26853 w 30441"/>
                          <a:gd name="connsiteY29" fmla="*/ 3050 h 9509"/>
                          <a:gd name="connsiteX30" fmla="*/ 26674 w 30441"/>
                          <a:gd name="connsiteY30" fmla="*/ 3230 h 9509"/>
                          <a:gd name="connsiteX31" fmla="*/ 26853 w 30441"/>
                          <a:gd name="connsiteY31" fmla="*/ 3050 h 9509"/>
                          <a:gd name="connsiteX32" fmla="*/ 26853 w 30441"/>
                          <a:gd name="connsiteY32" fmla="*/ 3050 h 9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441" h="9509">
                            <a:moveTo>
                              <a:pt x="0" y="8014"/>
                            </a:moveTo>
                            <a:lnTo>
                              <a:pt x="0" y="7655"/>
                            </a:lnTo>
                            <a:lnTo>
                              <a:pt x="12919" y="5263"/>
                            </a:lnTo>
                            <a:lnTo>
                              <a:pt x="17404" y="2691"/>
                            </a:lnTo>
                            <a:lnTo>
                              <a:pt x="17464" y="2691"/>
                            </a:lnTo>
                            <a:lnTo>
                              <a:pt x="30323" y="0"/>
                            </a:lnTo>
                            <a:lnTo>
                              <a:pt x="30442" y="299"/>
                            </a:lnTo>
                            <a:lnTo>
                              <a:pt x="27451" y="2632"/>
                            </a:lnTo>
                            <a:lnTo>
                              <a:pt x="27571" y="2632"/>
                            </a:lnTo>
                            <a:lnTo>
                              <a:pt x="27691" y="2930"/>
                            </a:lnTo>
                            <a:lnTo>
                              <a:pt x="18780" y="9449"/>
                            </a:lnTo>
                            <a:lnTo>
                              <a:pt x="18660" y="9509"/>
                            </a:lnTo>
                            <a:lnTo>
                              <a:pt x="7416" y="8911"/>
                            </a:lnTo>
                            <a:lnTo>
                              <a:pt x="7356" y="8612"/>
                            </a:lnTo>
                            <a:lnTo>
                              <a:pt x="0" y="8014"/>
                            </a:lnTo>
                            <a:close/>
                            <a:moveTo>
                              <a:pt x="12021" y="5801"/>
                            </a:moveTo>
                            <a:lnTo>
                              <a:pt x="1375" y="7775"/>
                            </a:lnTo>
                            <a:lnTo>
                              <a:pt x="7835" y="8253"/>
                            </a:lnTo>
                            <a:lnTo>
                              <a:pt x="12021" y="5801"/>
                            </a:lnTo>
                            <a:close/>
                            <a:moveTo>
                              <a:pt x="13038" y="5562"/>
                            </a:moveTo>
                            <a:lnTo>
                              <a:pt x="8433" y="8253"/>
                            </a:lnTo>
                            <a:lnTo>
                              <a:pt x="18660" y="9031"/>
                            </a:lnTo>
                            <a:lnTo>
                              <a:pt x="26136" y="3170"/>
                            </a:lnTo>
                            <a:lnTo>
                              <a:pt x="13038" y="5562"/>
                            </a:lnTo>
                            <a:close/>
                            <a:moveTo>
                              <a:pt x="17524" y="2990"/>
                            </a:moveTo>
                            <a:lnTo>
                              <a:pt x="13935" y="5084"/>
                            </a:lnTo>
                            <a:lnTo>
                              <a:pt x="26734" y="2751"/>
                            </a:lnTo>
                            <a:lnTo>
                              <a:pt x="29664" y="478"/>
                            </a:lnTo>
                            <a:lnTo>
                              <a:pt x="17524" y="2990"/>
                            </a:lnTo>
                            <a:close/>
                            <a:moveTo>
                              <a:pt x="26853" y="3050"/>
                            </a:moveTo>
                            <a:lnTo>
                              <a:pt x="26674" y="3230"/>
                            </a:lnTo>
                            <a:lnTo>
                              <a:pt x="26853" y="3050"/>
                            </a:lnTo>
                            <a:lnTo>
                              <a:pt x="26853" y="3050"/>
                            </a:lnTo>
                            <a:close/>
                          </a:path>
                        </a:pathLst>
                      </a:custGeom>
                      <a:noFill/>
                      <a:ln w="6350" cap="flat">
                        <a:solidFill>
                          <a:schemeClr val="bg1">
                            <a:alpha val="80000"/>
                          </a:schemeClr>
                        </a:solidFill>
                        <a:prstDash val="solid"/>
                        <a:miter/>
                      </a:ln>
                    </p:spPr>
                    <p:txBody>
                      <a:bodyPr rtlCol="0" anchor="ctr"/>
                      <a:lstStyle/>
                      <a:p>
                        <a:endParaRPr lang="en-GB"/>
                      </a:p>
                    </p:txBody>
                  </p:sp>
                  <p:sp>
                    <p:nvSpPr>
                      <p:cNvPr id="5874" name="Vrije vorm: vorm 5873">
                        <a:extLst>
                          <a:ext uri="{FF2B5EF4-FFF2-40B4-BE49-F238E27FC236}">
                            <a16:creationId xmlns:a16="http://schemas.microsoft.com/office/drawing/2014/main" id="{F3E5FB2A-E3C1-45E0-8063-17D689B43069}"/>
                          </a:ext>
                        </a:extLst>
                      </p:cNvPr>
                      <p:cNvSpPr/>
                      <p:nvPr/>
                    </p:nvSpPr>
                    <p:spPr>
                      <a:xfrm>
                        <a:off x="7698465" y="2957447"/>
                        <a:ext cx="30501" cy="14054"/>
                      </a:xfrm>
                      <a:custGeom>
                        <a:avLst/>
                        <a:gdLst>
                          <a:gd name="connsiteX0" fmla="*/ 2452 w 30501"/>
                          <a:gd name="connsiteY0" fmla="*/ 11363 h 14054"/>
                          <a:gd name="connsiteX1" fmla="*/ 0 w 30501"/>
                          <a:gd name="connsiteY1" fmla="*/ 4725 h 14054"/>
                          <a:gd name="connsiteX2" fmla="*/ 120 w 30501"/>
                          <a:gd name="connsiteY2" fmla="*/ 4486 h 14054"/>
                          <a:gd name="connsiteX3" fmla="*/ 5861 w 30501"/>
                          <a:gd name="connsiteY3" fmla="*/ 2871 h 14054"/>
                          <a:gd name="connsiteX4" fmla="*/ 5921 w 30501"/>
                          <a:gd name="connsiteY4" fmla="*/ 2871 h 14054"/>
                          <a:gd name="connsiteX5" fmla="*/ 5921 w 30501"/>
                          <a:gd name="connsiteY5" fmla="*/ 2871 h 14054"/>
                          <a:gd name="connsiteX6" fmla="*/ 11842 w 30501"/>
                          <a:gd name="connsiteY6" fmla="*/ 3648 h 14054"/>
                          <a:gd name="connsiteX7" fmla="*/ 24820 w 30501"/>
                          <a:gd name="connsiteY7" fmla="*/ 0 h 14054"/>
                          <a:gd name="connsiteX8" fmla="*/ 24999 w 30501"/>
                          <a:gd name="connsiteY8" fmla="*/ 299 h 14054"/>
                          <a:gd name="connsiteX9" fmla="*/ 16746 w 30501"/>
                          <a:gd name="connsiteY9" fmla="*/ 11363 h 14054"/>
                          <a:gd name="connsiteX10" fmla="*/ 30382 w 30501"/>
                          <a:gd name="connsiteY10" fmla="*/ 5024 h 14054"/>
                          <a:gd name="connsiteX11" fmla="*/ 30502 w 30501"/>
                          <a:gd name="connsiteY11" fmla="*/ 5323 h 14054"/>
                          <a:gd name="connsiteX12" fmla="*/ 16327 w 30501"/>
                          <a:gd name="connsiteY12" fmla="*/ 11902 h 14054"/>
                          <a:gd name="connsiteX13" fmla="*/ 16267 w 30501"/>
                          <a:gd name="connsiteY13" fmla="*/ 11902 h 14054"/>
                          <a:gd name="connsiteX14" fmla="*/ 9749 w 30501"/>
                          <a:gd name="connsiteY14" fmla="*/ 13875 h 14054"/>
                          <a:gd name="connsiteX15" fmla="*/ 9689 w 30501"/>
                          <a:gd name="connsiteY15" fmla="*/ 13875 h 14054"/>
                          <a:gd name="connsiteX16" fmla="*/ 9689 w 30501"/>
                          <a:gd name="connsiteY16" fmla="*/ 13875 h 14054"/>
                          <a:gd name="connsiteX17" fmla="*/ 4186 w 30501"/>
                          <a:gd name="connsiteY17" fmla="*/ 14055 h 14054"/>
                          <a:gd name="connsiteX18" fmla="*/ 4007 w 30501"/>
                          <a:gd name="connsiteY18" fmla="*/ 13815 h 14054"/>
                          <a:gd name="connsiteX19" fmla="*/ 4844 w 30501"/>
                          <a:gd name="connsiteY19" fmla="*/ 12201 h 14054"/>
                          <a:gd name="connsiteX20" fmla="*/ 2571 w 30501"/>
                          <a:gd name="connsiteY20" fmla="*/ 11423 h 14054"/>
                          <a:gd name="connsiteX21" fmla="*/ 2452 w 30501"/>
                          <a:gd name="connsiteY21" fmla="*/ 11363 h 14054"/>
                          <a:gd name="connsiteX22" fmla="*/ 538 w 30501"/>
                          <a:gd name="connsiteY22" fmla="*/ 5024 h 14054"/>
                          <a:gd name="connsiteX23" fmla="*/ 2811 w 30501"/>
                          <a:gd name="connsiteY23" fmla="*/ 11184 h 14054"/>
                          <a:gd name="connsiteX24" fmla="*/ 5083 w 30501"/>
                          <a:gd name="connsiteY24" fmla="*/ 11961 h 14054"/>
                          <a:gd name="connsiteX25" fmla="*/ 6878 w 30501"/>
                          <a:gd name="connsiteY25" fmla="*/ 8433 h 14054"/>
                          <a:gd name="connsiteX26" fmla="*/ 538 w 30501"/>
                          <a:gd name="connsiteY26" fmla="*/ 5024 h 14054"/>
                          <a:gd name="connsiteX27" fmla="*/ 5801 w 30501"/>
                          <a:gd name="connsiteY27" fmla="*/ 3289 h 14054"/>
                          <a:gd name="connsiteX28" fmla="*/ 658 w 30501"/>
                          <a:gd name="connsiteY28" fmla="*/ 4785 h 14054"/>
                          <a:gd name="connsiteX29" fmla="*/ 6818 w 30501"/>
                          <a:gd name="connsiteY29" fmla="*/ 8134 h 14054"/>
                          <a:gd name="connsiteX30" fmla="*/ 5801 w 30501"/>
                          <a:gd name="connsiteY30" fmla="*/ 3289 h 14054"/>
                          <a:gd name="connsiteX31" fmla="*/ 5203 w 30501"/>
                          <a:gd name="connsiteY31" fmla="*/ 12380 h 14054"/>
                          <a:gd name="connsiteX32" fmla="*/ 4486 w 30501"/>
                          <a:gd name="connsiteY32" fmla="*/ 13756 h 14054"/>
                          <a:gd name="connsiteX33" fmla="*/ 8791 w 30501"/>
                          <a:gd name="connsiteY33" fmla="*/ 13636 h 14054"/>
                          <a:gd name="connsiteX34" fmla="*/ 5203 w 30501"/>
                          <a:gd name="connsiteY34" fmla="*/ 12380 h 14054"/>
                          <a:gd name="connsiteX35" fmla="*/ 7057 w 30501"/>
                          <a:gd name="connsiteY35" fmla="*/ 8792 h 14054"/>
                          <a:gd name="connsiteX36" fmla="*/ 5383 w 30501"/>
                          <a:gd name="connsiteY36" fmla="*/ 12141 h 14054"/>
                          <a:gd name="connsiteX37" fmla="*/ 9389 w 30501"/>
                          <a:gd name="connsiteY37" fmla="*/ 13576 h 14054"/>
                          <a:gd name="connsiteX38" fmla="*/ 7057 w 30501"/>
                          <a:gd name="connsiteY38" fmla="*/ 8792 h 14054"/>
                          <a:gd name="connsiteX39" fmla="*/ 15610 w 30501"/>
                          <a:gd name="connsiteY39" fmla="*/ 11842 h 14054"/>
                          <a:gd name="connsiteX40" fmla="*/ 7416 w 30501"/>
                          <a:gd name="connsiteY40" fmla="*/ 8732 h 14054"/>
                          <a:gd name="connsiteX41" fmla="*/ 9808 w 30501"/>
                          <a:gd name="connsiteY41" fmla="*/ 13636 h 14054"/>
                          <a:gd name="connsiteX42" fmla="*/ 15610 w 30501"/>
                          <a:gd name="connsiteY42" fmla="*/ 11842 h 14054"/>
                          <a:gd name="connsiteX43" fmla="*/ 6220 w 30501"/>
                          <a:gd name="connsiteY43" fmla="*/ 3529 h 14054"/>
                          <a:gd name="connsiteX44" fmla="*/ 7177 w 30501"/>
                          <a:gd name="connsiteY44" fmla="*/ 8074 h 14054"/>
                          <a:gd name="connsiteX45" fmla="*/ 9270 w 30501"/>
                          <a:gd name="connsiteY45" fmla="*/ 6100 h 14054"/>
                          <a:gd name="connsiteX46" fmla="*/ 6220 w 30501"/>
                          <a:gd name="connsiteY46" fmla="*/ 3529 h 14054"/>
                          <a:gd name="connsiteX47" fmla="*/ 9509 w 30501"/>
                          <a:gd name="connsiteY47" fmla="*/ 6340 h 14054"/>
                          <a:gd name="connsiteX48" fmla="*/ 7356 w 30501"/>
                          <a:gd name="connsiteY48" fmla="*/ 8373 h 14054"/>
                          <a:gd name="connsiteX49" fmla="*/ 15550 w 30501"/>
                          <a:gd name="connsiteY49" fmla="*/ 11483 h 14054"/>
                          <a:gd name="connsiteX50" fmla="*/ 9509 w 30501"/>
                          <a:gd name="connsiteY50" fmla="*/ 6340 h 14054"/>
                          <a:gd name="connsiteX51" fmla="*/ 11483 w 30501"/>
                          <a:gd name="connsiteY51" fmla="*/ 4007 h 14054"/>
                          <a:gd name="connsiteX52" fmla="*/ 6459 w 30501"/>
                          <a:gd name="connsiteY52" fmla="*/ 3349 h 14054"/>
                          <a:gd name="connsiteX53" fmla="*/ 9449 w 30501"/>
                          <a:gd name="connsiteY53" fmla="*/ 5921 h 14054"/>
                          <a:gd name="connsiteX54" fmla="*/ 11483 w 30501"/>
                          <a:gd name="connsiteY54" fmla="*/ 4007 h 14054"/>
                          <a:gd name="connsiteX55" fmla="*/ 11842 w 30501"/>
                          <a:gd name="connsiteY55" fmla="*/ 4127 h 14054"/>
                          <a:gd name="connsiteX56" fmla="*/ 9749 w 30501"/>
                          <a:gd name="connsiteY56" fmla="*/ 6100 h 14054"/>
                          <a:gd name="connsiteX57" fmla="*/ 15669 w 30501"/>
                          <a:gd name="connsiteY57" fmla="*/ 11124 h 14054"/>
                          <a:gd name="connsiteX58" fmla="*/ 11842 w 30501"/>
                          <a:gd name="connsiteY58" fmla="*/ 4127 h 14054"/>
                          <a:gd name="connsiteX59" fmla="*/ 24461 w 30501"/>
                          <a:gd name="connsiteY59" fmla="*/ 478 h 14054"/>
                          <a:gd name="connsiteX60" fmla="*/ 12141 w 30501"/>
                          <a:gd name="connsiteY60" fmla="*/ 3947 h 14054"/>
                          <a:gd name="connsiteX61" fmla="*/ 16267 w 30501"/>
                          <a:gd name="connsiteY61" fmla="*/ 11483 h 14054"/>
                          <a:gd name="connsiteX62" fmla="*/ 24461 w 30501"/>
                          <a:gd name="connsiteY62" fmla="*/ 478 h 1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0501" h="14054">
                            <a:moveTo>
                              <a:pt x="2452" y="11363"/>
                            </a:moveTo>
                            <a:lnTo>
                              <a:pt x="0" y="4725"/>
                            </a:lnTo>
                            <a:lnTo>
                              <a:pt x="120" y="4486"/>
                            </a:lnTo>
                            <a:lnTo>
                              <a:pt x="5861" y="2871"/>
                            </a:lnTo>
                            <a:lnTo>
                              <a:pt x="5921" y="2871"/>
                            </a:lnTo>
                            <a:lnTo>
                              <a:pt x="5921" y="2871"/>
                            </a:lnTo>
                            <a:lnTo>
                              <a:pt x="11842" y="3648"/>
                            </a:lnTo>
                            <a:lnTo>
                              <a:pt x="24820" y="0"/>
                            </a:lnTo>
                            <a:lnTo>
                              <a:pt x="24999" y="299"/>
                            </a:lnTo>
                            <a:lnTo>
                              <a:pt x="16746" y="11363"/>
                            </a:lnTo>
                            <a:lnTo>
                              <a:pt x="30382" y="5024"/>
                            </a:lnTo>
                            <a:lnTo>
                              <a:pt x="30502" y="5323"/>
                            </a:lnTo>
                            <a:lnTo>
                              <a:pt x="16327" y="11902"/>
                            </a:lnTo>
                            <a:cubicBezTo>
                              <a:pt x="16327" y="11902"/>
                              <a:pt x="16267" y="11902"/>
                              <a:pt x="16267" y="11902"/>
                            </a:cubicBezTo>
                            <a:lnTo>
                              <a:pt x="9749" y="13875"/>
                            </a:lnTo>
                            <a:lnTo>
                              <a:pt x="9689" y="13875"/>
                            </a:lnTo>
                            <a:lnTo>
                              <a:pt x="9689" y="13875"/>
                            </a:lnTo>
                            <a:lnTo>
                              <a:pt x="4186" y="14055"/>
                            </a:lnTo>
                            <a:lnTo>
                              <a:pt x="4007" y="13815"/>
                            </a:lnTo>
                            <a:lnTo>
                              <a:pt x="4844" y="12201"/>
                            </a:lnTo>
                            <a:lnTo>
                              <a:pt x="2571" y="11423"/>
                            </a:lnTo>
                            <a:lnTo>
                              <a:pt x="2452" y="11363"/>
                            </a:lnTo>
                            <a:close/>
                            <a:moveTo>
                              <a:pt x="538" y="5024"/>
                            </a:moveTo>
                            <a:lnTo>
                              <a:pt x="2811" y="11184"/>
                            </a:lnTo>
                            <a:lnTo>
                              <a:pt x="5083" y="11961"/>
                            </a:lnTo>
                            <a:lnTo>
                              <a:pt x="6878" y="8433"/>
                            </a:lnTo>
                            <a:lnTo>
                              <a:pt x="538" y="5024"/>
                            </a:lnTo>
                            <a:close/>
                            <a:moveTo>
                              <a:pt x="5801" y="3289"/>
                            </a:moveTo>
                            <a:lnTo>
                              <a:pt x="658" y="4785"/>
                            </a:lnTo>
                            <a:lnTo>
                              <a:pt x="6818" y="8134"/>
                            </a:lnTo>
                            <a:lnTo>
                              <a:pt x="5801" y="3289"/>
                            </a:lnTo>
                            <a:close/>
                            <a:moveTo>
                              <a:pt x="5203" y="12380"/>
                            </a:moveTo>
                            <a:lnTo>
                              <a:pt x="4486" y="13756"/>
                            </a:lnTo>
                            <a:lnTo>
                              <a:pt x="8791" y="13636"/>
                            </a:lnTo>
                            <a:lnTo>
                              <a:pt x="5203" y="12380"/>
                            </a:lnTo>
                            <a:close/>
                            <a:moveTo>
                              <a:pt x="7057" y="8792"/>
                            </a:moveTo>
                            <a:lnTo>
                              <a:pt x="5383" y="12141"/>
                            </a:lnTo>
                            <a:lnTo>
                              <a:pt x="9389" y="13576"/>
                            </a:lnTo>
                            <a:lnTo>
                              <a:pt x="7057" y="8792"/>
                            </a:lnTo>
                            <a:close/>
                            <a:moveTo>
                              <a:pt x="15610" y="11842"/>
                            </a:moveTo>
                            <a:cubicBezTo>
                              <a:pt x="14652" y="11543"/>
                              <a:pt x="12500" y="10765"/>
                              <a:pt x="7416" y="8732"/>
                            </a:cubicBezTo>
                            <a:lnTo>
                              <a:pt x="9808" y="13636"/>
                            </a:lnTo>
                            <a:lnTo>
                              <a:pt x="15610" y="11842"/>
                            </a:lnTo>
                            <a:close/>
                            <a:moveTo>
                              <a:pt x="6220" y="3529"/>
                            </a:moveTo>
                            <a:lnTo>
                              <a:pt x="7177" y="8074"/>
                            </a:lnTo>
                            <a:lnTo>
                              <a:pt x="9270" y="6100"/>
                            </a:lnTo>
                            <a:lnTo>
                              <a:pt x="6220" y="3529"/>
                            </a:lnTo>
                            <a:close/>
                            <a:moveTo>
                              <a:pt x="9509" y="6340"/>
                            </a:moveTo>
                            <a:lnTo>
                              <a:pt x="7356" y="8373"/>
                            </a:lnTo>
                            <a:cubicBezTo>
                              <a:pt x="10167" y="9509"/>
                              <a:pt x="14055" y="11005"/>
                              <a:pt x="15550" y="11483"/>
                            </a:cubicBezTo>
                            <a:lnTo>
                              <a:pt x="9509" y="6340"/>
                            </a:lnTo>
                            <a:close/>
                            <a:moveTo>
                              <a:pt x="11483" y="4007"/>
                            </a:moveTo>
                            <a:lnTo>
                              <a:pt x="6459" y="3349"/>
                            </a:lnTo>
                            <a:lnTo>
                              <a:pt x="9449" y="5921"/>
                            </a:lnTo>
                            <a:lnTo>
                              <a:pt x="11483" y="4007"/>
                            </a:lnTo>
                            <a:close/>
                            <a:moveTo>
                              <a:pt x="11842" y="4127"/>
                            </a:moveTo>
                            <a:lnTo>
                              <a:pt x="9749" y="6100"/>
                            </a:lnTo>
                            <a:lnTo>
                              <a:pt x="15669" y="11124"/>
                            </a:lnTo>
                            <a:cubicBezTo>
                              <a:pt x="14892" y="9689"/>
                              <a:pt x="13157" y="6519"/>
                              <a:pt x="11842" y="4127"/>
                            </a:cubicBezTo>
                            <a:close/>
                            <a:moveTo>
                              <a:pt x="24461" y="478"/>
                            </a:moveTo>
                            <a:lnTo>
                              <a:pt x="12141" y="3947"/>
                            </a:lnTo>
                            <a:cubicBezTo>
                              <a:pt x="12799" y="5143"/>
                              <a:pt x="15610" y="10227"/>
                              <a:pt x="16267" y="11483"/>
                            </a:cubicBezTo>
                            <a:lnTo>
                              <a:pt x="24461" y="478"/>
                            </a:lnTo>
                            <a:close/>
                          </a:path>
                        </a:pathLst>
                      </a:custGeom>
                      <a:noFill/>
                      <a:ln w="6350" cap="flat">
                        <a:solidFill>
                          <a:schemeClr val="bg1">
                            <a:alpha val="80000"/>
                          </a:schemeClr>
                        </a:solidFill>
                        <a:prstDash val="solid"/>
                        <a:miter/>
                      </a:ln>
                    </p:spPr>
                    <p:txBody>
                      <a:bodyPr rtlCol="0" anchor="ctr"/>
                      <a:lstStyle/>
                      <a:p>
                        <a:endParaRPr lang="en-GB"/>
                      </a:p>
                    </p:txBody>
                  </p:sp>
                  <p:sp>
                    <p:nvSpPr>
                      <p:cNvPr id="5875" name="Vrije vorm: vorm 5874">
                        <a:extLst>
                          <a:ext uri="{FF2B5EF4-FFF2-40B4-BE49-F238E27FC236}">
                            <a16:creationId xmlns:a16="http://schemas.microsoft.com/office/drawing/2014/main" id="{830FE902-BC69-4C98-8917-6F595F28B7FA}"/>
                          </a:ext>
                        </a:extLst>
                      </p:cNvPr>
                      <p:cNvSpPr/>
                      <p:nvPr/>
                    </p:nvSpPr>
                    <p:spPr>
                      <a:xfrm>
                        <a:off x="7722507" y="2939983"/>
                        <a:ext cx="23205" cy="11662"/>
                      </a:xfrm>
                      <a:custGeom>
                        <a:avLst/>
                        <a:gdLst>
                          <a:gd name="connsiteX0" fmla="*/ 0 w 23205"/>
                          <a:gd name="connsiteY0" fmla="*/ 11423 h 11662"/>
                          <a:gd name="connsiteX1" fmla="*/ 3528 w 23205"/>
                          <a:gd name="connsiteY1" fmla="*/ 7536 h 11662"/>
                          <a:gd name="connsiteX2" fmla="*/ 23086 w 23205"/>
                          <a:gd name="connsiteY2" fmla="*/ 0 h 11662"/>
                          <a:gd name="connsiteX3" fmla="*/ 23205 w 23205"/>
                          <a:gd name="connsiteY3" fmla="*/ 299 h 11662"/>
                          <a:gd name="connsiteX4" fmla="*/ 180 w 23205"/>
                          <a:gd name="connsiteY4" fmla="*/ 11662 h 11662"/>
                          <a:gd name="connsiteX5" fmla="*/ 0 w 23205"/>
                          <a:gd name="connsiteY5" fmla="*/ 11423 h 11662"/>
                          <a:gd name="connsiteX6" fmla="*/ 3708 w 23205"/>
                          <a:gd name="connsiteY6" fmla="*/ 7835 h 11662"/>
                          <a:gd name="connsiteX7" fmla="*/ 897 w 23205"/>
                          <a:gd name="connsiteY7" fmla="*/ 10945 h 11662"/>
                          <a:gd name="connsiteX8" fmla="*/ 19617 w 23205"/>
                          <a:gd name="connsiteY8" fmla="*/ 1675 h 11662"/>
                          <a:gd name="connsiteX9" fmla="*/ 3708 w 23205"/>
                          <a:gd name="connsiteY9" fmla="*/ 7835 h 1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05" h="11662">
                            <a:moveTo>
                              <a:pt x="0" y="11423"/>
                            </a:moveTo>
                            <a:lnTo>
                              <a:pt x="3528" y="7536"/>
                            </a:lnTo>
                            <a:lnTo>
                              <a:pt x="23086" y="0"/>
                            </a:lnTo>
                            <a:lnTo>
                              <a:pt x="23205" y="299"/>
                            </a:lnTo>
                            <a:lnTo>
                              <a:pt x="180" y="11662"/>
                            </a:lnTo>
                            <a:lnTo>
                              <a:pt x="0" y="11423"/>
                            </a:lnTo>
                            <a:close/>
                            <a:moveTo>
                              <a:pt x="3708" y="7835"/>
                            </a:moveTo>
                            <a:lnTo>
                              <a:pt x="897" y="10945"/>
                            </a:lnTo>
                            <a:lnTo>
                              <a:pt x="19617" y="1675"/>
                            </a:lnTo>
                            <a:lnTo>
                              <a:pt x="3708" y="7835"/>
                            </a:lnTo>
                            <a:close/>
                          </a:path>
                        </a:pathLst>
                      </a:custGeom>
                      <a:noFill/>
                      <a:ln w="6350" cap="flat">
                        <a:solidFill>
                          <a:schemeClr val="bg1">
                            <a:alpha val="80000"/>
                          </a:schemeClr>
                        </a:solidFill>
                        <a:prstDash val="solid"/>
                        <a:miter/>
                      </a:ln>
                    </p:spPr>
                    <p:txBody>
                      <a:bodyPr rtlCol="0" anchor="ctr"/>
                      <a:lstStyle/>
                      <a:p>
                        <a:endParaRPr lang="en-GB"/>
                      </a:p>
                    </p:txBody>
                  </p:sp>
                  <p:sp>
                    <p:nvSpPr>
                      <p:cNvPr id="5876" name="Vrije vorm: vorm 5875">
                        <a:extLst>
                          <a:ext uri="{FF2B5EF4-FFF2-40B4-BE49-F238E27FC236}">
                            <a16:creationId xmlns:a16="http://schemas.microsoft.com/office/drawing/2014/main" id="{912CAC89-3FC3-4093-85B5-2DCFAADCADDF}"/>
                          </a:ext>
                        </a:extLst>
                      </p:cNvPr>
                      <p:cNvSpPr/>
                      <p:nvPr/>
                    </p:nvSpPr>
                    <p:spPr>
                      <a:xfrm>
                        <a:off x="7704745" y="2952722"/>
                        <a:ext cx="16327" cy="6818"/>
                      </a:xfrm>
                      <a:custGeom>
                        <a:avLst/>
                        <a:gdLst>
                          <a:gd name="connsiteX0" fmla="*/ 0 w 16327"/>
                          <a:gd name="connsiteY0" fmla="*/ 6519 h 6818"/>
                          <a:gd name="connsiteX1" fmla="*/ 4545 w 16327"/>
                          <a:gd name="connsiteY1" fmla="*/ 419 h 6818"/>
                          <a:gd name="connsiteX2" fmla="*/ 4664 w 16327"/>
                          <a:gd name="connsiteY2" fmla="*/ 359 h 6818"/>
                          <a:gd name="connsiteX3" fmla="*/ 16267 w 16327"/>
                          <a:gd name="connsiteY3" fmla="*/ 0 h 6818"/>
                          <a:gd name="connsiteX4" fmla="*/ 16327 w 16327"/>
                          <a:gd name="connsiteY4" fmla="*/ 359 h 6818"/>
                          <a:gd name="connsiteX5" fmla="*/ 179 w 16327"/>
                          <a:gd name="connsiteY5" fmla="*/ 6818 h 6818"/>
                          <a:gd name="connsiteX6" fmla="*/ 0 w 16327"/>
                          <a:gd name="connsiteY6" fmla="*/ 6519 h 6818"/>
                          <a:gd name="connsiteX7" fmla="*/ 4784 w 16327"/>
                          <a:gd name="connsiteY7" fmla="*/ 718 h 6818"/>
                          <a:gd name="connsiteX8" fmla="*/ 658 w 16327"/>
                          <a:gd name="connsiteY8" fmla="*/ 6220 h 6818"/>
                          <a:gd name="connsiteX9" fmla="*/ 15310 w 16327"/>
                          <a:gd name="connsiteY9" fmla="*/ 359 h 6818"/>
                          <a:gd name="connsiteX10" fmla="*/ 4784 w 16327"/>
                          <a:gd name="connsiteY10" fmla="*/ 718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6818">
                            <a:moveTo>
                              <a:pt x="0" y="6519"/>
                            </a:moveTo>
                            <a:lnTo>
                              <a:pt x="4545" y="419"/>
                            </a:lnTo>
                            <a:lnTo>
                              <a:pt x="4664" y="359"/>
                            </a:lnTo>
                            <a:lnTo>
                              <a:pt x="16267" y="0"/>
                            </a:lnTo>
                            <a:lnTo>
                              <a:pt x="16327" y="359"/>
                            </a:lnTo>
                            <a:lnTo>
                              <a:pt x="179" y="6818"/>
                            </a:lnTo>
                            <a:lnTo>
                              <a:pt x="0" y="6519"/>
                            </a:lnTo>
                            <a:close/>
                            <a:moveTo>
                              <a:pt x="4784" y="718"/>
                            </a:moveTo>
                            <a:lnTo>
                              <a:pt x="658" y="6220"/>
                            </a:lnTo>
                            <a:lnTo>
                              <a:pt x="15310" y="359"/>
                            </a:lnTo>
                            <a:lnTo>
                              <a:pt x="4784" y="718"/>
                            </a:lnTo>
                            <a:close/>
                          </a:path>
                        </a:pathLst>
                      </a:custGeom>
                      <a:noFill/>
                      <a:ln w="6350" cap="flat">
                        <a:solidFill>
                          <a:schemeClr val="bg1">
                            <a:alpha val="80000"/>
                          </a:schemeClr>
                        </a:solidFill>
                        <a:prstDash val="solid"/>
                        <a:miter/>
                      </a:ln>
                    </p:spPr>
                    <p:txBody>
                      <a:bodyPr rtlCol="0" anchor="ctr"/>
                      <a:lstStyle/>
                      <a:p>
                        <a:endParaRPr lang="en-GB"/>
                      </a:p>
                    </p:txBody>
                  </p:sp>
                  <p:sp>
                    <p:nvSpPr>
                      <p:cNvPr id="5877" name="Vrije vorm: vorm 5876">
                        <a:extLst>
                          <a:ext uri="{FF2B5EF4-FFF2-40B4-BE49-F238E27FC236}">
                            <a16:creationId xmlns:a16="http://schemas.microsoft.com/office/drawing/2014/main" id="{58FC06D0-B821-41C7-B78F-969829B4132C}"/>
                          </a:ext>
                        </a:extLst>
                      </p:cNvPr>
                      <p:cNvSpPr/>
                      <p:nvPr/>
                    </p:nvSpPr>
                    <p:spPr>
                      <a:xfrm>
                        <a:off x="7695774" y="2952842"/>
                        <a:ext cx="6219" cy="5023"/>
                      </a:xfrm>
                      <a:custGeom>
                        <a:avLst/>
                        <a:gdLst>
                          <a:gd name="connsiteX0" fmla="*/ 897 w 6219"/>
                          <a:gd name="connsiteY0" fmla="*/ 4964 h 5023"/>
                          <a:gd name="connsiteX1" fmla="*/ 0 w 6219"/>
                          <a:gd name="connsiteY1" fmla="*/ 2452 h 5023"/>
                          <a:gd name="connsiteX2" fmla="*/ 119 w 6219"/>
                          <a:gd name="connsiteY2" fmla="*/ 2213 h 5023"/>
                          <a:gd name="connsiteX3" fmla="*/ 6040 w 6219"/>
                          <a:gd name="connsiteY3" fmla="*/ 0 h 5023"/>
                          <a:gd name="connsiteX4" fmla="*/ 6219 w 6219"/>
                          <a:gd name="connsiteY4" fmla="*/ 299 h 5023"/>
                          <a:gd name="connsiteX5" fmla="*/ 1196 w 6219"/>
                          <a:gd name="connsiteY5" fmla="*/ 5024 h 5023"/>
                          <a:gd name="connsiteX6" fmla="*/ 897 w 6219"/>
                          <a:gd name="connsiteY6" fmla="*/ 4964 h 5023"/>
                          <a:gd name="connsiteX7" fmla="*/ 358 w 6219"/>
                          <a:gd name="connsiteY7" fmla="*/ 2512 h 5023"/>
                          <a:gd name="connsiteX8" fmla="*/ 1076 w 6219"/>
                          <a:gd name="connsiteY8" fmla="*/ 4605 h 5023"/>
                          <a:gd name="connsiteX9" fmla="*/ 5262 w 6219"/>
                          <a:gd name="connsiteY9" fmla="*/ 598 h 5023"/>
                          <a:gd name="connsiteX10" fmla="*/ 358 w 6219"/>
                          <a:gd name="connsiteY10" fmla="*/ 2512 h 5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9" h="5023">
                            <a:moveTo>
                              <a:pt x="897" y="4964"/>
                            </a:moveTo>
                            <a:lnTo>
                              <a:pt x="0" y="2452"/>
                            </a:lnTo>
                            <a:lnTo>
                              <a:pt x="119" y="2213"/>
                            </a:lnTo>
                            <a:lnTo>
                              <a:pt x="6040" y="0"/>
                            </a:lnTo>
                            <a:lnTo>
                              <a:pt x="6219" y="299"/>
                            </a:lnTo>
                            <a:lnTo>
                              <a:pt x="1196" y="5024"/>
                            </a:lnTo>
                            <a:lnTo>
                              <a:pt x="897" y="4964"/>
                            </a:lnTo>
                            <a:close/>
                            <a:moveTo>
                              <a:pt x="358" y="2512"/>
                            </a:moveTo>
                            <a:lnTo>
                              <a:pt x="1076" y="4605"/>
                            </a:lnTo>
                            <a:lnTo>
                              <a:pt x="5262" y="598"/>
                            </a:lnTo>
                            <a:lnTo>
                              <a:pt x="358" y="2512"/>
                            </a:lnTo>
                            <a:close/>
                          </a:path>
                        </a:pathLst>
                      </a:custGeom>
                      <a:noFill/>
                      <a:ln w="6350" cap="flat">
                        <a:solidFill>
                          <a:schemeClr val="bg1">
                            <a:alpha val="80000"/>
                          </a:schemeClr>
                        </a:solidFill>
                        <a:prstDash val="solid"/>
                        <a:miter/>
                      </a:ln>
                    </p:spPr>
                    <p:txBody>
                      <a:bodyPr rtlCol="0" anchor="ctr"/>
                      <a:lstStyle/>
                      <a:p>
                        <a:endParaRPr lang="en-GB"/>
                      </a:p>
                    </p:txBody>
                  </p:sp>
                  <p:sp>
                    <p:nvSpPr>
                      <p:cNvPr id="5878" name="Vrije vorm: vorm 5877">
                        <a:extLst>
                          <a:ext uri="{FF2B5EF4-FFF2-40B4-BE49-F238E27FC236}">
                            <a16:creationId xmlns:a16="http://schemas.microsoft.com/office/drawing/2014/main" id="{8C53B87E-EB64-470F-B0ED-6AA679A53574}"/>
                          </a:ext>
                        </a:extLst>
                      </p:cNvPr>
                      <p:cNvSpPr/>
                      <p:nvPr/>
                    </p:nvSpPr>
                    <p:spPr>
                      <a:xfrm>
                        <a:off x="7695893" y="2952842"/>
                        <a:ext cx="8911" cy="2571"/>
                      </a:xfrm>
                      <a:custGeom>
                        <a:avLst/>
                        <a:gdLst>
                          <a:gd name="connsiteX0" fmla="*/ 60 w 8911"/>
                          <a:gd name="connsiteY0" fmla="*/ 2572 h 2571"/>
                          <a:gd name="connsiteX1" fmla="*/ 0 w 8911"/>
                          <a:gd name="connsiteY1" fmla="*/ 2213 h 2571"/>
                          <a:gd name="connsiteX2" fmla="*/ 5921 w 8911"/>
                          <a:gd name="connsiteY2" fmla="*/ 0 h 2571"/>
                          <a:gd name="connsiteX3" fmla="*/ 6041 w 8911"/>
                          <a:gd name="connsiteY3" fmla="*/ 0 h 2571"/>
                          <a:gd name="connsiteX4" fmla="*/ 8911 w 8911"/>
                          <a:gd name="connsiteY4" fmla="*/ 1316 h 2571"/>
                          <a:gd name="connsiteX5" fmla="*/ 8852 w 8911"/>
                          <a:gd name="connsiteY5" fmla="*/ 1675 h 2571"/>
                          <a:gd name="connsiteX6" fmla="*/ 60 w 8911"/>
                          <a:gd name="connsiteY6" fmla="*/ 2572 h 2571"/>
                          <a:gd name="connsiteX7" fmla="*/ 5921 w 8911"/>
                          <a:gd name="connsiteY7" fmla="*/ 359 h 2571"/>
                          <a:gd name="connsiteX8" fmla="*/ 1376 w 8911"/>
                          <a:gd name="connsiteY8" fmla="*/ 2093 h 2571"/>
                          <a:gd name="connsiteX9" fmla="*/ 8134 w 8911"/>
                          <a:gd name="connsiteY9" fmla="*/ 1376 h 2571"/>
                          <a:gd name="connsiteX10" fmla="*/ 5921 w 8911"/>
                          <a:gd name="connsiteY10" fmla="*/ 359 h 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11" h="2571">
                            <a:moveTo>
                              <a:pt x="60" y="2572"/>
                            </a:moveTo>
                            <a:lnTo>
                              <a:pt x="0" y="2213"/>
                            </a:lnTo>
                            <a:lnTo>
                              <a:pt x="5921" y="0"/>
                            </a:lnTo>
                            <a:lnTo>
                              <a:pt x="6041" y="0"/>
                            </a:lnTo>
                            <a:lnTo>
                              <a:pt x="8911" y="1316"/>
                            </a:lnTo>
                            <a:lnTo>
                              <a:pt x="8852" y="1675"/>
                            </a:lnTo>
                            <a:lnTo>
                              <a:pt x="60" y="2572"/>
                            </a:lnTo>
                            <a:close/>
                            <a:moveTo>
                              <a:pt x="5921" y="359"/>
                            </a:moveTo>
                            <a:lnTo>
                              <a:pt x="1376" y="2093"/>
                            </a:lnTo>
                            <a:lnTo>
                              <a:pt x="8134" y="1376"/>
                            </a:lnTo>
                            <a:lnTo>
                              <a:pt x="5921" y="359"/>
                            </a:lnTo>
                            <a:close/>
                          </a:path>
                        </a:pathLst>
                      </a:custGeom>
                      <a:noFill/>
                      <a:ln w="6350" cap="flat">
                        <a:solidFill>
                          <a:schemeClr val="bg1">
                            <a:alpha val="80000"/>
                          </a:schemeClr>
                        </a:solidFill>
                        <a:prstDash val="solid"/>
                        <a:miter/>
                      </a:ln>
                    </p:spPr>
                    <p:txBody>
                      <a:bodyPr rtlCol="0" anchor="ctr"/>
                      <a:lstStyle/>
                      <a:p>
                        <a:endParaRPr lang="en-GB"/>
                      </a:p>
                    </p:txBody>
                  </p:sp>
                </p:grpSp>
                <p:sp>
                  <p:nvSpPr>
                    <p:cNvPr id="5863" name="Vrije vorm: vorm 5862">
                      <a:extLst>
                        <a:ext uri="{FF2B5EF4-FFF2-40B4-BE49-F238E27FC236}">
                          <a16:creationId xmlns:a16="http://schemas.microsoft.com/office/drawing/2014/main" id="{5767ED0A-DE4C-437F-A5A7-83F58645F3E5}"/>
                        </a:ext>
                      </a:extLst>
                    </p:cNvPr>
                    <p:cNvSpPr/>
                    <p:nvPr/>
                  </p:nvSpPr>
                  <p:spPr>
                    <a:xfrm>
                      <a:off x="7768080" y="2855296"/>
                      <a:ext cx="51793" cy="67881"/>
                    </a:xfrm>
                    <a:custGeom>
                      <a:avLst/>
                      <a:gdLst>
                        <a:gd name="connsiteX0" fmla="*/ 4964 w 51793"/>
                        <a:gd name="connsiteY0" fmla="*/ 48444 h 67881"/>
                        <a:gd name="connsiteX1" fmla="*/ 6279 w 51793"/>
                        <a:gd name="connsiteY1" fmla="*/ 42583 h 67881"/>
                        <a:gd name="connsiteX2" fmla="*/ 3409 w 51793"/>
                        <a:gd name="connsiteY2" fmla="*/ 36662 h 67881"/>
                        <a:gd name="connsiteX3" fmla="*/ 3409 w 51793"/>
                        <a:gd name="connsiteY3" fmla="*/ 36662 h 67881"/>
                        <a:gd name="connsiteX4" fmla="*/ 3409 w 51793"/>
                        <a:gd name="connsiteY4" fmla="*/ 36662 h 67881"/>
                        <a:gd name="connsiteX5" fmla="*/ 0 w 51793"/>
                        <a:gd name="connsiteY5" fmla="*/ 29425 h 67881"/>
                        <a:gd name="connsiteX6" fmla="*/ 0 w 51793"/>
                        <a:gd name="connsiteY6" fmla="*/ 29306 h 67881"/>
                        <a:gd name="connsiteX7" fmla="*/ 1734 w 51793"/>
                        <a:gd name="connsiteY7" fmla="*/ 23743 h 67881"/>
                        <a:gd name="connsiteX8" fmla="*/ 1794 w 51793"/>
                        <a:gd name="connsiteY8" fmla="*/ 23743 h 67881"/>
                        <a:gd name="connsiteX9" fmla="*/ 1794 w 51793"/>
                        <a:gd name="connsiteY9" fmla="*/ 23624 h 67881"/>
                        <a:gd name="connsiteX10" fmla="*/ 7775 w 51793"/>
                        <a:gd name="connsiteY10" fmla="*/ 21112 h 67881"/>
                        <a:gd name="connsiteX11" fmla="*/ 7894 w 51793"/>
                        <a:gd name="connsiteY11" fmla="*/ 21112 h 67881"/>
                        <a:gd name="connsiteX12" fmla="*/ 12200 w 51793"/>
                        <a:gd name="connsiteY12" fmla="*/ 22727 h 67881"/>
                        <a:gd name="connsiteX13" fmla="*/ 22607 w 51793"/>
                        <a:gd name="connsiteY13" fmla="*/ 18660 h 67881"/>
                        <a:gd name="connsiteX14" fmla="*/ 24221 w 51793"/>
                        <a:gd name="connsiteY14" fmla="*/ 16806 h 67881"/>
                        <a:gd name="connsiteX15" fmla="*/ 24341 w 51793"/>
                        <a:gd name="connsiteY15" fmla="*/ 16746 h 67881"/>
                        <a:gd name="connsiteX16" fmla="*/ 26734 w 51793"/>
                        <a:gd name="connsiteY16" fmla="*/ 16268 h 67881"/>
                        <a:gd name="connsiteX17" fmla="*/ 28229 w 51793"/>
                        <a:gd name="connsiteY17" fmla="*/ 14055 h 67881"/>
                        <a:gd name="connsiteX18" fmla="*/ 26315 w 51793"/>
                        <a:gd name="connsiteY18" fmla="*/ 10048 h 67881"/>
                        <a:gd name="connsiteX19" fmla="*/ 26375 w 51793"/>
                        <a:gd name="connsiteY19" fmla="*/ 9988 h 67881"/>
                        <a:gd name="connsiteX20" fmla="*/ 26315 w 51793"/>
                        <a:gd name="connsiteY20" fmla="*/ 9928 h 67881"/>
                        <a:gd name="connsiteX21" fmla="*/ 29306 w 51793"/>
                        <a:gd name="connsiteY21" fmla="*/ 120 h 67881"/>
                        <a:gd name="connsiteX22" fmla="*/ 29425 w 51793"/>
                        <a:gd name="connsiteY22" fmla="*/ 120 h 67881"/>
                        <a:gd name="connsiteX23" fmla="*/ 29544 w 51793"/>
                        <a:gd name="connsiteY23" fmla="*/ 0 h 67881"/>
                        <a:gd name="connsiteX24" fmla="*/ 35167 w 51793"/>
                        <a:gd name="connsiteY24" fmla="*/ 4246 h 67881"/>
                        <a:gd name="connsiteX25" fmla="*/ 35167 w 51793"/>
                        <a:gd name="connsiteY25" fmla="*/ 4366 h 67881"/>
                        <a:gd name="connsiteX26" fmla="*/ 35227 w 51793"/>
                        <a:gd name="connsiteY26" fmla="*/ 4366 h 67881"/>
                        <a:gd name="connsiteX27" fmla="*/ 36960 w 51793"/>
                        <a:gd name="connsiteY27" fmla="*/ 13696 h 67881"/>
                        <a:gd name="connsiteX28" fmla="*/ 40190 w 51793"/>
                        <a:gd name="connsiteY28" fmla="*/ 15789 h 67881"/>
                        <a:gd name="connsiteX29" fmla="*/ 44556 w 51793"/>
                        <a:gd name="connsiteY29" fmla="*/ 17823 h 67881"/>
                        <a:gd name="connsiteX30" fmla="*/ 44496 w 51793"/>
                        <a:gd name="connsiteY30" fmla="*/ 17942 h 67881"/>
                        <a:gd name="connsiteX31" fmla="*/ 44616 w 51793"/>
                        <a:gd name="connsiteY31" fmla="*/ 17942 h 67881"/>
                        <a:gd name="connsiteX32" fmla="*/ 48743 w 51793"/>
                        <a:gd name="connsiteY32" fmla="*/ 27332 h 67881"/>
                        <a:gd name="connsiteX33" fmla="*/ 48623 w 51793"/>
                        <a:gd name="connsiteY33" fmla="*/ 27392 h 67881"/>
                        <a:gd name="connsiteX34" fmla="*/ 48743 w 51793"/>
                        <a:gd name="connsiteY34" fmla="*/ 27451 h 67881"/>
                        <a:gd name="connsiteX35" fmla="*/ 46470 w 51793"/>
                        <a:gd name="connsiteY35" fmla="*/ 37858 h 67881"/>
                        <a:gd name="connsiteX36" fmla="*/ 51494 w 51793"/>
                        <a:gd name="connsiteY36" fmla="*/ 44616 h 67881"/>
                        <a:gd name="connsiteX37" fmla="*/ 51494 w 51793"/>
                        <a:gd name="connsiteY37" fmla="*/ 44676 h 67881"/>
                        <a:gd name="connsiteX38" fmla="*/ 51554 w 51793"/>
                        <a:gd name="connsiteY38" fmla="*/ 44736 h 67881"/>
                        <a:gd name="connsiteX39" fmla="*/ 51793 w 51793"/>
                        <a:gd name="connsiteY39" fmla="*/ 54604 h 67881"/>
                        <a:gd name="connsiteX40" fmla="*/ 51674 w 51793"/>
                        <a:gd name="connsiteY40" fmla="*/ 54604 h 67881"/>
                        <a:gd name="connsiteX41" fmla="*/ 51614 w 51793"/>
                        <a:gd name="connsiteY41" fmla="*/ 54724 h 67881"/>
                        <a:gd name="connsiteX42" fmla="*/ 41506 w 51793"/>
                        <a:gd name="connsiteY42" fmla="*/ 50118 h 67881"/>
                        <a:gd name="connsiteX43" fmla="*/ 41446 w 51793"/>
                        <a:gd name="connsiteY43" fmla="*/ 50059 h 67881"/>
                        <a:gd name="connsiteX44" fmla="*/ 38994 w 51793"/>
                        <a:gd name="connsiteY44" fmla="*/ 45095 h 67881"/>
                        <a:gd name="connsiteX45" fmla="*/ 33133 w 51793"/>
                        <a:gd name="connsiteY45" fmla="*/ 47308 h 67881"/>
                        <a:gd name="connsiteX46" fmla="*/ 23564 w 51793"/>
                        <a:gd name="connsiteY46" fmla="*/ 48564 h 67881"/>
                        <a:gd name="connsiteX47" fmla="*/ 21830 w 51793"/>
                        <a:gd name="connsiteY47" fmla="*/ 50537 h 67881"/>
                        <a:gd name="connsiteX48" fmla="*/ 21590 w 51793"/>
                        <a:gd name="connsiteY48" fmla="*/ 50298 h 67881"/>
                        <a:gd name="connsiteX49" fmla="*/ 22666 w 51793"/>
                        <a:gd name="connsiteY49" fmla="*/ 48623 h 67881"/>
                        <a:gd name="connsiteX50" fmla="*/ 18480 w 51793"/>
                        <a:gd name="connsiteY50" fmla="*/ 49162 h 67881"/>
                        <a:gd name="connsiteX51" fmla="*/ 15310 w 51793"/>
                        <a:gd name="connsiteY51" fmla="*/ 51374 h 67881"/>
                        <a:gd name="connsiteX52" fmla="*/ 17822 w 51793"/>
                        <a:gd name="connsiteY52" fmla="*/ 67762 h 67881"/>
                        <a:gd name="connsiteX53" fmla="*/ 17523 w 51793"/>
                        <a:gd name="connsiteY53" fmla="*/ 67881 h 67881"/>
                        <a:gd name="connsiteX54" fmla="*/ 9509 w 51793"/>
                        <a:gd name="connsiteY54" fmla="*/ 49879 h 67881"/>
                        <a:gd name="connsiteX55" fmla="*/ 5083 w 51793"/>
                        <a:gd name="connsiteY55" fmla="*/ 48623 h 67881"/>
                        <a:gd name="connsiteX56" fmla="*/ 5083 w 51793"/>
                        <a:gd name="connsiteY56" fmla="*/ 48564 h 67881"/>
                        <a:gd name="connsiteX57" fmla="*/ 4964 w 51793"/>
                        <a:gd name="connsiteY57" fmla="*/ 48444 h 67881"/>
                        <a:gd name="connsiteX58" fmla="*/ 7596 w 51793"/>
                        <a:gd name="connsiteY58" fmla="*/ 45633 h 67881"/>
                        <a:gd name="connsiteX59" fmla="*/ 5443 w 51793"/>
                        <a:gd name="connsiteY59" fmla="*/ 48324 h 67881"/>
                        <a:gd name="connsiteX60" fmla="*/ 8851 w 51793"/>
                        <a:gd name="connsiteY60" fmla="*/ 48444 h 67881"/>
                        <a:gd name="connsiteX61" fmla="*/ 7596 w 51793"/>
                        <a:gd name="connsiteY61" fmla="*/ 45633 h 67881"/>
                        <a:gd name="connsiteX62" fmla="*/ 6459 w 51793"/>
                        <a:gd name="connsiteY62" fmla="*/ 43061 h 67881"/>
                        <a:gd name="connsiteX63" fmla="*/ 5443 w 51793"/>
                        <a:gd name="connsiteY63" fmla="*/ 47786 h 67881"/>
                        <a:gd name="connsiteX64" fmla="*/ 7476 w 51793"/>
                        <a:gd name="connsiteY64" fmla="*/ 45274 h 67881"/>
                        <a:gd name="connsiteX65" fmla="*/ 6459 w 51793"/>
                        <a:gd name="connsiteY65" fmla="*/ 43061 h 67881"/>
                        <a:gd name="connsiteX66" fmla="*/ 9031 w 51793"/>
                        <a:gd name="connsiteY66" fmla="*/ 48803 h 67881"/>
                        <a:gd name="connsiteX67" fmla="*/ 6579 w 51793"/>
                        <a:gd name="connsiteY67" fmla="*/ 48683 h 67881"/>
                        <a:gd name="connsiteX68" fmla="*/ 9330 w 51793"/>
                        <a:gd name="connsiteY68" fmla="*/ 49461 h 67881"/>
                        <a:gd name="connsiteX69" fmla="*/ 9031 w 51793"/>
                        <a:gd name="connsiteY69" fmla="*/ 48803 h 67881"/>
                        <a:gd name="connsiteX70" fmla="*/ 2631 w 51793"/>
                        <a:gd name="connsiteY70" fmla="*/ 31100 h 67881"/>
                        <a:gd name="connsiteX71" fmla="*/ 478 w 51793"/>
                        <a:gd name="connsiteY71" fmla="*/ 29784 h 67881"/>
                        <a:gd name="connsiteX72" fmla="*/ 3229 w 51793"/>
                        <a:gd name="connsiteY72" fmla="*/ 35526 h 67881"/>
                        <a:gd name="connsiteX73" fmla="*/ 2631 w 51793"/>
                        <a:gd name="connsiteY73" fmla="*/ 31100 h 67881"/>
                        <a:gd name="connsiteX74" fmla="*/ 2213 w 51793"/>
                        <a:gd name="connsiteY74" fmla="*/ 27811 h 67881"/>
                        <a:gd name="connsiteX75" fmla="*/ 418 w 51793"/>
                        <a:gd name="connsiteY75" fmla="*/ 29306 h 67881"/>
                        <a:gd name="connsiteX76" fmla="*/ 2631 w 51793"/>
                        <a:gd name="connsiteY76" fmla="*/ 30681 h 67881"/>
                        <a:gd name="connsiteX77" fmla="*/ 2213 w 51793"/>
                        <a:gd name="connsiteY77" fmla="*/ 27811 h 67881"/>
                        <a:gd name="connsiteX78" fmla="*/ 1794 w 51793"/>
                        <a:gd name="connsiteY78" fmla="*/ 24581 h 67881"/>
                        <a:gd name="connsiteX79" fmla="*/ 418 w 51793"/>
                        <a:gd name="connsiteY79" fmla="*/ 28827 h 67881"/>
                        <a:gd name="connsiteX80" fmla="*/ 2153 w 51793"/>
                        <a:gd name="connsiteY80" fmla="*/ 27392 h 67881"/>
                        <a:gd name="connsiteX81" fmla="*/ 1794 w 51793"/>
                        <a:gd name="connsiteY81" fmla="*/ 24581 h 67881"/>
                        <a:gd name="connsiteX82" fmla="*/ 2990 w 51793"/>
                        <a:gd name="connsiteY82" fmla="*/ 31339 h 67881"/>
                        <a:gd name="connsiteX83" fmla="*/ 3648 w 51793"/>
                        <a:gd name="connsiteY83" fmla="*/ 36303 h 67881"/>
                        <a:gd name="connsiteX84" fmla="*/ 6997 w 51793"/>
                        <a:gd name="connsiteY84" fmla="*/ 33851 h 67881"/>
                        <a:gd name="connsiteX85" fmla="*/ 2990 w 51793"/>
                        <a:gd name="connsiteY85" fmla="*/ 31339 h 67881"/>
                        <a:gd name="connsiteX86" fmla="*/ 7416 w 51793"/>
                        <a:gd name="connsiteY86" fmla="*/ 33971 h 67881"/>
                        <a:gd name="connsiteX87" fmla="*/ 3828 w 51793"/>
                        <a:gd name="connsiteY87" fmla="*/ 36602 h 67881"/>
                        <a:gd name="connsiteX88" fmla="*/ 10167 w 51793"/>
                        <a:gd name="connsiteY88" fmla="*/ 41865 h 67881"/>
                        <a:gd name="connsiteX89" fmla="*/ 13397 w 51793"/>
                        <a:gd name="connsiteY89" fmla="*/ 37798 h 67881"/>
                        <a:gd name="connsiteX90" fmla="*/ 11782 w 51793"/>
                        <a:gd name="connsiteY90" fmla="*/ 34090 h 67881"/>
                        <a:gd name="connsiteX91" fmla="*/ 7416 w 51793"/>
                        <a:gd name="connsiteY91" fmla="*/ 33971 h 67881"/>
                        <a:gd name="connsiteX92" fmla="*/ 8851 w 51793"/>
                        <a:gd name="connsiteY92" fmla="*/ 43540 h 67881"/>
                        <a:gd name="connsiteX93" fmla="*/ 4366 w 51793"/>
                        <a:gd name="connsiteY93" fmla="*/ 37858 h 67881"/>
                        <a:gd name="connsiteX94" fmla="*/ 6579 w 51793"/>
                        <a:gd name="connsiteY94" fmla="*/ 42403 h 67881"/>
                        <a:gd name="connsiteX95" fmla="*/ 8791 w 51793"/>
                        <a:gd name="connsiteY95" fmla="*/ 43600 h 67881"/>
                        <a:gd name="connsiteX96" fmla="*/ 8851 w 51793"/>
                        <a:gd name="connsiteY96" fmla="*/ 43540 h 67881"/>
                        <a:gd name="connsiteX97" fmla="*/ 9987 w 51793"/>
                        <a:gd name="connsiteY97" fmla="*/ 42104 h 67881"/>
                        <a:gd name="connsiteX98" fmla="*/ 4665 w 51793"/>
                        <a:gd name="connsiteY98" fmla="*/ 37679 h 67881"/>
                        <a:gd name="connsiteX99" fmla="*/ 9031 w 51793"/>
                        <a:gd name="connsiteY99" fmla="*/ 43241 h 67881"/>
                        <a:gd name="connsiteX100" fmla="*/ 9987 w 51793"/>
                        <a:gd name="connsiteY100" fmla="*/ 42104 h 67881"/>
                        <a:gd name="connsiteX101" fmla="*/ 8552 w 51793"/>
                        <a:gd name="connsiteY101" fmla="*/ 43898 h 67881"/>
                        <a:gd name="connsiteX102" fmla="*/ 6758 w 51793"/>
                        <a:gd name="connsiteY102" fmla="*/ 42942 h 67881"/>
                        <a:gd name="connsiteX103" fmla="*/ 7656 w 51793"/>
                        <a:gd name="connsiteY103" fmla="*/ 44975 h 67881"/>
                        <a:gd name="connsiteX104" fmla="*/ 8552 w 51793"/>
                        <a:gd name="connsiteY104" fmla="*/ 43898 h 67881"/>
                        <a:gd name="connsiteX105" fmla="*/ 8911 w 51793"/>
                        <a:gd name="connsiteY105" fmla="*/ 44018 h 67881"/>
                        <a:gd name="connsiteX106" fmla="*/ 7894 w 51793"/>
                        <a:gd name="connsiteY106" fmla="*/ 45274 h 67881"/>
                        <a:gd name="connsiteX107" fmla="*/ 9270 w 51793"/>
                        <a:gd name="connsiteY107" fmla="*/ 48384 h 67881"/>
                        <a:gd name="connsiteX108" fmla="*/ 12859 w 51793"/>
                        <a:gd name="connsiteY108" fmla="*/ 48504 h 67881"/>
                        <a:gd name="connsiteX109" fmla="*/ 9509 w 51793"/>
                        <a:gd name="connsiteY109" fmla="*/ 44317 h 67881"/>
                        <a:gd name="connsiteX110" fmla="*/ 8911 w 51793"/>
                        <a:gd name="connsiteY110" fmla="*/ 44018 h 67881"/>
                        <a:gd name="connsiteX111" fmla="*/ 13157 w 51793"/>
                        <a:gd name="connsiteY111" fmla="*/ 48982 h 67881"/>
                        <a:gd name="connsiteX112" fmla="*/ 9449 w 51793"/>
                        <a:gd name="connsiteY112" fmla="*/ 48863 h 67881"/>
                        <a:gd name="connsiteX113" fmla="*/ 9808 w 51793"/>
                        <a:gd name="connsiteY113" fmla="*/ 49640 h 67881"/>
                        <a:gd name="connsiteX114" fmla="*/ 14772 w 51793"/>
                        <a:gd name="connsiteY114" fmla="*/ 51016 h 67881"/>
                        <a:gd name="connsiteX115" fmla="*/ 13157 w 51793"/>
                        <a:gd name="connsiteY115" fmla="*/ 48982 h 67881"/>
                        <a:gd name="connsiteX116" fmla="*/ 15072 w 51793"/>
                        <a:gd name="connsiteY116" fmla="*/ 51434 h 67881"/>
                        <a:gd name="connsiteX117" fmla="*/ 9987 w 51793"/>
                        <a:gd name="connsiteY117" fmla="*/ 49999 h 67881"/>
                        <a:gd name="connsiteX118" fmla="*/ 17404 w 51793"/>
                        <a:gd name="connsiteY118" fmla="*/ 66625 h 67881"/>
                        <a:gd name="connsiteX119" fmla="*/ 15072 w 51793"/>
                        <a:gd name="connsiteY119" fmla="*/ 51434 h 67881"/>
                        <a:gd name="connsiteX120" fmla="*/ 2511 w 51793"/>
                        <a:gd name="connsiteY120" fmla="*/ 27511 h 67881"/>
                        <a:gd name="connsiteX121" fmla="*/ 2930 w 51793"/>
                        <a:gd name="connsiteY121" fmla="*/ 30861 h 67881"/>
                        <a:gd name="connsiteX122" fmla="*/ 7117 w 51793"/>
                        <a:gd name="connsiteY122" fmla="*/ 33432 h 67881"/>
                        <a:gd name="connsiteX123" fmla="*/ 6579 w 51793"/>
                        <a:gd name="connsiteY123" fmla="*/ 26854 h 67881"/>
                        <a:gd name="connsiteX124" fmla="*/ 4665 w 51793"/>
                        <a:gd name="connsiteY124" fmla="*/ 25657 h 67881"/>
                        <a:gd name="connsiteX125" fmla="*/ 2511 w 51793"/>
                        <a:gd name="connsiteY125" fmla="*/ 27511 h 67881"/>
                        <a:gd name="connsiteX126" fmla="*/ 2093 w 51793"/>
                        <a:gd name="connsiteY126" fmla="*/ 24102 h 67881"/>
                        <a:gd name="connsiteX127" fmla="*/ 2511 w 51793"/>
                        <a:gd name="connsiteY127" fmla="*/ 27153 h 67881"/>
                        <a:gd name="connsiteX128" fmla="*/ 4426 w 51793"/>
                        <a:gd name="connsiteY128" fmla="*/ 25538 h 67881"/>
                        <a:gd name="connsiteX129" fmla="*/ 2093 w 51793"/>
                        <a:gd name="connsiteY129" fmla="*/ 24102 h 67881"/>
                        <a:gd name="connsiteX130" fmla="*/ 10227 w 51793"/>
                        <a:gd name="connsiteY130" fmla="*/ 42344 h 67881"/>
                        <a:gd name="connsiteX131" fmla="*/ 9270 w 51793"/>
                        <a:gd name="connsiteY131" fmla="*/ 43540 h 67881"/>
                        <a:gd name="connsiteX132" fmla="*/ 9749 w 51793"/>
                        <a:gd name="connsiteY132" fmla="*/ 44078 h 67881"/>
                        <a:gd name="connsiteX133" fmla="*/ 17105 w 51793"/>
                        <a:gd name="connsiteY133" fmla="*/ 48025 h 67881"/>
                        <a:gd name="connsiteX134" fmla="*/ 10227 w 51793"/>
                        <a:gd name="connsiteY134" fmla="*/ 42344 h 67881"/>
                        <a:gd name="connsiteX135" fmla="*/ 17763 w 51793"/>
                        <a:gd name="connsiteY135" fmla="*/ 48803 h 67881"/>
                        <a:gd name="connsiteX136" fmla="*/ 10287 w 51793"/>
                        <a:gd name="connsiteY136" fmla="*/ 44796 h 67881"/>
                        <a:gd name="connsiteX137" fmla="*/ 13337 w 51793"/>
                        <a:gd name="connsiteY137" fmla="*/ 48623 h 67881"/>
                        <a:gd name="connsiteX138" fmla="*/ 17763 w 51793"/>
                        <a:gd name="connsiteY138" fmla="*/ 48803 h 67881"/>
                        <a:gd name="connsiteX139" fmla="*/ 7476 w 51793"/>
                        <a:gd name="connsiteY139" fmla="*/ 21590 h 67881"/>
                        <a:gd name="connsiteX140" fmla="*/ 2213 w 51793"/>
                        <a:gd name="connsiteY140" fmla="*/ 23803 h 67881"/>
                        <a:gd name="connsiteX141" fmla="*/ 4665 w 51793"/>
                        <a:gd name="connsiteY141" fmla="*/ 25299 h 67881"/>
                        <a:gd name="connsiteX142" fmla="*/ 6399 w 51793"/>
                        <a:gd name="connsiteY142" fmla="*/ 23863 h 67881"/>
                        <a:gd name="connsiteX143" fmla="*/ 7476 w 51793"/>
                        <a:gd name="connsiteY143" fmla="*/ 21590 h 67881"/>
                        <a:gd name="connsiteX144" fmla="*/ 13576 w 51793"/>
                        <a:gd name="connsiteY144" fmla="*/ 38157 h 67881"/>
                        <a:gd name="connsiteX145" fmla="*/ 10466 w 51793"/>
                        <a:gd name="connsiteY145" fmla="*/ 42044 h 67881"/>
                        <a:gd name="connsiteX146" fmla="*/ 18062 w 51793"/>
                        <a:gd name="connsiteY146" fmla="*/ 48384 h 67881"/>
                        <a:gd name="connsiteX147" fmla="*/ 13576 w 51793"/>
                        <a:gd name="connsiteY147" fmla="*/ 38157 h 67881"/>
                        <a:gd name="connsiteX148" fmla="*/ 17942 w 51793"/>
                        <a:gd name="connsiteY148" fmla="*/ 49162 h 67881"/>
                        <a:gd name="connsiteX149" fmla="*/ 13576 w 51793"/>
                        <a:gd name="connsiteY149" fmla="*/ 48982 h 67881"/>
                        <a:gd name="connsiteX150" fmla="*/ 15191 w 51793"/>
                        <a:gd name="connsiteY150" fmla="*/ 51075 h 67881"/>
                        <a:gd name="connsiteX151" fmla="*/ 17942 w 51793"/>
                        <a:gd name="connsiteY151" fmla="*/ 49162 h 67881"/>
                        <a:gd name="connsiteX152" fmla="*/ 6997 w 51793"/>
                        <a:gd name="connsiteY152" fmla="*/ 27093 h 67881"/>
                        <a:gd name="connsiteX153" fmla="*/ 7476 w 51793"/>
                        <a:gd name="connsiteY153" fmla="*/ 33073 h 67881"/>
                        <a:gd name="connsiteX154" fmla="*/ 9509 w 51793"/>
                        <a:gd name="connsiteY154" fmla="*/ 28588 h 67881"/>
                        <a:gd name="connsiteX155" fmla="*/ 6997 w 51793"/>
                        <a:gd name="connsiteY155" fmla="*/ 27093 h 67881"/>
                        <a:gd name="connsiteX156" fmla="*/ 10466 w 51793"/>
                        <a:gd name="connsiteY156" fmla="*/ 31279 h 67881"/>
                        <a:gd name="connsiteX157" fmla="*/ 7775 w 51793"/>
                        <a:gd name="connsiteY157" fmla="*/ 33671 h 67881"/>
                        <a:gd name="connsiteX158" fmla="*/ 11602 w 51793"/>
                        <a:gd name="connsiteY158" fmla="*/ 33791 h 67881"/>
                        <a:gd name="connsiteX159" fmla="*/ 10466 w 51793"/>
                        <a:gd name="connsiteY159" fmla="*/ 31279 h 67881"/>
                        <a:gd name="connsiteX160" fmla="*/ 9749 w 51793"/>
                        <a:gd name="connsiteY160" fmla="*/ 28827 h 67881"/>
                        <a:gd name="connsiteX161" fmla="*/ 7834 w 51793"/>
                        <a:gd name="connsiteY161" fmla="*/ 33073 h 67881"/>
                        <a:gd name="connsiteX162" fmla="*/ 10287 w 51793"/>
                        <a:gd name="connsiteY162" fmla="*/ 30861 h 67881"/>
                        <a:gd name="connsiteX163" fmla="*/ 9749 w 51793"/>
                        <a:gd name="connsiteY163" fmla="*/ 28827 h 67881"/>
                        <a:gd name="connsiteX164" fmla="*/ 6399 w 51793"/>
                        <a:gd name="connsiteY164" fmla="*/ 24282 h 67881"/>
                        <a:gd name="connsiteX165" fmla="*/ 4964 w 51793"/>
                        <a:gd name="connsiteY165" fmla="*/ 25478 h 67881"/>
                        <a:gd name="connsiteX166" fmla="*/ 6579 w 51793"/>
                        <a:gd name="connsiteY166" fmla="*/ 26435 h 67881"/>
                        <a:gd name="connsiteX167" fmla="*/ 6399 w 51793"/>
                        <a:gd name="connsiteY167" fmla="*/ 24282 h 67881"/>
                        <a:gd name="connsiteX168" fmla="*/ 6758 w 51793"/>
                        <a:gd name="connsiteY168" fmla="*/ 24102 h 67881"/>
                        <a:gd name="connsiteX169" fmla="*/ 6938 w 51793"/>
                        <a:gd name="connsiteY169" fmla="*/ 26674 h 67881"/>
                        <a:gd name="connsiteX170" fmla="*/ 9569 w 51793"/>
                        <a:gd name="connsiteY170" fmla="*/ 28289 h 67881"/>
                        <a:gd name="connsiteX171" fmla="*/ 8373 w 51793"/>
                        <a:gd name="connsiteY171" fmla="*/ 23803 h 67881"/>
                        <a:gd name="connsiteX172" fmla="*/ 6758 w 51793"/>
                        <a:gd name="connsiteY172" fmla="*/ 24102 h 67881"/>
                        <a:gd name="connsiteX173" fmla="*/ 7834 w 51793"/>
                        <a:gd name="connsiteY173" fmla="*/ 21770 h 67881"/>
                        <a:gd name="connsiteX174" fmla="*/ 6878 w 51793"/>
                        <a:gd name="connsiteY174" fmla="*/ 23743 h 67881"/>
                        <a:gd name="connsiteX175" fmla="*/ 8313 w 51793"/>
                        <a:gd name="connsiteY175" fmla="*/ 23504 h 67881"/>
                        <a:gd name="connsiteX176" fmla="*/ 7834 w 51793"/>
                        <a:gd name="connsiteY176" fmla="*/ 21770 h 67881"/>
                        <a:gd name="connsiteX177" fmla="*/ 10167 w 51793"/>
                        <a:gd name="connsiteY177" fmla="*/ 29066 h 67881"/>
                        <a:gd name="connsiteX178" fmla="*/ 10646 w 51793"/>
                        <a:gd name="connsiteY178" fmla="*/ 30861 h 67881"/>
                        <a:gd name="connsiteX179" fmla="*/ 13755 w 51793"/>
                        <a:gd name="connsiteY179" fmla="*/ 31279 h 67881"/>
                        <a:gd name="connsiteX180" fmla="*/ 10167 w 51793"/>
                        <a:gd name="connsiteY180" fmla="*/ 29066 h 67881"/>
                        <a:gd name="connsiteX181" fmla="*/ 14114 w 51793"/>
                        <a:gd name="connsiteY181" fmla="*/ 31638 h 67881"/>
                        <a:gd name="connsiteX182" fmla="*/ 10765 w 51793"/>
                        <a:gd name="connsiteY182" fmla="*/ 31160 h 67881"/>
                        <a:gd name="connsiteX183" fmla="*/ 11961 w 51793"/>
                        <a:gd name="connsiteY183" fmla="*/ 33671 h 67881"/>
                        <a:gd name="connsiteX184" fmla="*/ 14114 w 51793"/>
                        <a:gd name="connsiteY184" fmla="*/ 31638 h 67881"/>
                        <a:gd name="connsiteX185" fmla="*/ 14593 w 51793"/>
                        <a:gd name="connsiteY185" fmla="*/ 31698 h 67881"/>
                        <a:gd name="connsiteX186" fmla="*/ 12141 w 51793"/>
                        <a:gd name="connsiteY186" fmla="*/ 33971 h 67881"/>
                        <a:gd name="connsiteX187" fmla="*/ 13695 w 51793"/>
                        <a:gd name="connsiteY187" fmla="*/ 37499 h 67881"/>
                        <a:gd name="connsiteX188" fmla="*/ 18181 w 51793"/>
                        <a:gd name="connsiteY188" fmla="*/ 31877 h 67881"/>
                        <a:gd name="connsiteX189" fmla="*/ 14593 w 51793"/>
                        <a:gd name="connsiteY189" fmla="*/ 31698 h 67881"/>
                        <a:gd name="connsiteX190" fmla="*/ 9928 w 51793"/>
                        <a:gd name="connsiteY190" fmla="*/ 28349 h 67881"/>
                        <a:gd name="connsiteX191" fmla="*/ 9987 w 51793"/>
                        <a:gd name="connsiteY191" fmla="*/ 28588 h 67881"/>
                        <a:gd name="connsiteX192" fmla="*/ 14234 w 51793"/>
                        <a:gd name="connsiteY192" fmla="*/ 31160 h 67881"/>
                        <a:gd name="connsiteX193" fmla="*/ 12141 w 51793"/>
                        <a:gd name="connsiteY193" fmla="*/ 23445 h 67881"/>
                        <a:gd name="connsiteX194" fmla="*/ 9928 w 51793"/>
                        <a:gd name="connsiteY194" fmla="*/ 28349 h 67881"/>
                        <a:gd name="connsiteX195" fmla="*/ 8732 w 51793"/>
                        <a:gd name="connsiteY195" fmla="*/ 23743 h 67881"/>
                        <a:gd name="connsiteX196" fmla="*/ 9868 w 51793"/>
                        <a:gd name="connsiteY196" fmla="*/ 27811 h 67881"/>
                        <a:gd name="connsiteX197" fmla="*/ 11961 w 51793"/>
                        <a:gd name="connsiteY197" fmla="*/ 23146 h 67881"/>
                        <a:gd name="connsiteX198" fmla="*/ 8732 w 51793"/>
                        <a:gd name="connsiteY198" fmla="*/ 23743 h 67881"/>
                        <a:gd name="connsiteX199" fmla="*/ 18360 w 51793"/>
                        <a:gd name="connsiteY199" fmla="*/ 32236 h 67881"/>
                        <a:gd name="connsiteX200" fmla="*/ 13815 w 51793"/>
                        <a:gd name="connsiteY200" fmla="*/ 37918 h 67881"/>
                        <a:gd name="connsiteX201" fmla="*/ 18301 w 51793"/>
                        <a:gd name="connsiteY201" fmla="*/ 48205 h 67881"/>
                        <a:gd name="connsiteX202" fmla="*/ 18360 w 51793"/>
                        <a:gd name="connsiteY202" fmla="*/ 32236 h 67881"/>
                        <a:gd name="connsiteX203" fmla="*/ 8134 w 51793"/>
                        <a:gd name="connsiteY203" fmla="*/ 21531 h 67881"/>
                        <a:gd name="connsiteX204" fmla="*/ 8612 w 51793"/>
                        <a:gd name="connsiteY204" fmla="*/ 23385 h 67881"/>
                        <a:gd name="connsiteX205" fmla="*/ 11542 w 51793"/>
                        <a:gd name="connsiteY205" fmla="*/ 22846 h 67881"/>
                        <a:gd name="connsiteX206" fmla="*/ 8134 w 51793"/>
                        <a:gd name="connsiteY206" fmla="*/ 21531 h 67881"/>
                        <a:gd name="connsiteX207" fmla="*/ 18660 w 51793"/>
                        <a:gd name="connsiteY207" fmla="*/ 31937 h 67881"/>
                        <a:gd name="connsiteX208" fmla="*/ 18660 w 51793"/>
                        <a:gd name="connsiteY208" fmla="*/ 48384 h 67881"/>
                        <a:gd name="connsiteX209" fmla="*/ 28109 w 51793"/>
                        <a:gd name="connsiteY209" fmla="*/ 33492 h 67881"/>
                        <a:gd name="connsiteX210" fmla="*/ 18660 w 51793"/>
                        <a:gd name="connsiteY210" fmla="*/ 31937 h 67881"/>
                        <a:gd name="connsiteX211" fmla="*/ 29963 w 51793"/>
                        <a:gd name="connsiteY211" fmla="*/ 37619 h 67881"/>
                        <a:gd name="connsiteX212" fmla="*/ 19258 w 51793"/>
                        <a:gd name="connsiteY212" fmla="*/ 48444 h 67881"/>
                        <a:gd name="connsiteX213" fmla="*/ 24401 w 51793"/>
                        <a:gd name="connsiteY213" fmla="*/ 45992 h 67881"/>
                        <a:gd name="connsiteX214" fmla="*/ 29963 w 51793"/>
                        <a:gd name="connsiteY214" fmla="*/ 37619 h 67881"/>
                        <a:gd name="connsiteX215" fmla="*/ 24102 w 51793"/>
                        <a:gd name="connsiteY215" fmla="*/ 46530 h 67881"/>
                        <a:gd name="connsiteX216" fmla="*/ 19617 w 51793"/>
                        <a:gd name="connsiteY216" fmla="*/ 48623 h 67881"/>
                        <a:gd name="connsiteX217" fmla="*/ 23026 w 51793"/>
                        <a:gd name="connsiteY217" fmla="*/ 48145 h 67881"/>
                        <a:gd name="connsiteX218" fmla="*/ 24102 w 51793"/>
                        <a:gd name="connsiteY218" fmla="*/ 46530 h 67881"/>
                        <a:gd name="connsiteX219" fmla="*/ 28468 w 51793"/>
                        <a:gd name="connsiteY219" fmla="*/ 33552 h 67881"/>
                        <a:gd name="connsiteX220" fmla="*/ 19497 w 51793"/>
                        <a:gd name="connsiteY220" fmla="*/ 47726 h 67881"/>
                        <a:gd name="connsiteX221" fmla="*/ 30920 w 51793"/>
                        <a:gd name="connsiteY221" fmla="*/ 36124 h 67881"/>
                        <a:gd name="connsiteX222" fmla="*/ 31339 w 51793"/>
                        <a:gd name="connsiteY222" fmla="*/ 34030 h 67881"/>
                        <a:gd name="connsiteX223" fmla="*/ 28468 w 51793"/>
                        <a:gd name="connsiteY223" fmla="*/ 33552 h 67881"/>
                        <a:gd name="connsiteX224" fmla="*/ 12440 w 51793"/>
                        <a:gd name="connsiteY224" fmla="*/ 23086 h 67881"/>
                        <a:gd name="connsiteX225" fmla="*/ 14533 w 51793"/>
                        <a:gd name="connsiteY225" fmla="*/ 30801 h 67881"/>
                        <a:gd name="connsiteX226" fmla="*/ 16447 w 51793"/>
                        <a:gd name="connsiteY226" fmla="*/ 23146 h 67881"/>
                        <a:gd name="connsiteX227" fmla="*/ 12440 w 51793"/>
                        <a:gd name="connsiteY227" fmla="*/ 23086 h 67881"/>
                        <a:gd name="connsiteX228" fmla="*/ 16746 w 51793"/>
                        <a:gd name="connsiteY228" fmla="*/ 23265 h 67881"/>
                        <a:gd name="connsiteX229" fmla="*/ 14772 w 51793"/>
                        <a:gd name="connsiteY229" fmla="*/ 31399 h 67881"/>
                        <a:gd name="connsiteX230" fmla="*/ 18480 w 51793"/>
                        <a:gd name="connsiteY230" fmla="*/ 31578 h 67881"/>
                        <a:gd name="connsiteX231" fmla="*/ 23743 w 51793"/>
                        <a:gd name="connsiteY231" fmla="*/ 26315 h 67881"/>
                        <a:gd name="connsiteX232" fmla="*/ 16746 w 51793"/>
                        <a:gd name="connsiteY232" fmla="*/ 23265 h 67881"/>
                        <a:gd name="connsiteX233" fmla="*/ 21351 w 51793"/>
                        <a:gd name="connsiteY233" fmla="*/ 19557 h 67881"/>
                        <a:gd name="connsiteX234" fmla="*/ 13097 w 51793"/>
                        <a:gd name="connsiteY234" fmla="*/ 22787 h 67881"/>
                        <a:gd name="connsiteX235" fmla="*/ 16567 w 51793"/>
                        <a:gd name="connsiteY235" fmla="*/ 22846 h 67881"/>
                        <a:gd name="connsiteX236" fmla="*/ 21351 w 51793"/>
                        <a:gd name="connsiteY236" fmla="*/ 19557 h 67881"/>
                        <a:gd name="connsiteX237" fmla="*/ 24700 w 51793"/>
                        <a:gd name="connsiteY237" fmla="*/ 46291 h 67881"/>
                        <a:gd name="connsiteX238" fmla="*/ 23444 w 51793"/>
                        <a:gd name="connsiteY238" fmla="*/ 48205 h 67881"/>
                        <a:gd name="connsiteX239" fmla="*/ 23444 w 51793"/>
                        <a:gd name="connsiteY239" fmla="*/ 48205 h 67881"/>
                        <a:gd name="connsiteX240" fmla="*/ 25358 w 51793"/>
                        <a:gd name="connsiteY240" fmla="*/ 45992 h 67881"/>
                        <a:gd name="connsiteX241" fmla="*/ 24700 w 51793"/>
                        <a:gd name="connsiteY241" fmla="*/ 46291 h 67881"/>
                        <a:gd name="connsiteX242" fmla="*/ 26136 w 51793"/>
                        <a:gd name="connsiteY242" fmla="*/ 45573 h 67881"/>
                        <a:gd name="connsiteX243" fmla="*/ 23923 w 51793"/>
                        <a:gd name="connsiteY243" fmla="*/ 48085 h 67881"/>
                        <a:gd name="connsiteX244" fmla="*/ 33014 w 51793"/>
                        <a:gd name="connsiteY244" fmla="*/ 46889 h 67881"/>
                        <a:gd name="connsiteX245" fmla="*/ 38695 w 51793"/>
                        <a:gd name="connsiteY245" fmla="*/ 44736 h 67881"/>
                        <a:gd name="connsiteX246" fmla="*/ 35167 w 51793"/>
                        <a:gd name="connsiteY246" fmla="*/ 41267 h 67881"/>
                        <a:gd name="connsiteX247" fmla="*/ 26136 w 51793"/>
                        <a:gd name="connsiteY247" fmla="*/ 45573 h 67881"/>
                        <a:gd name="connsiteX248" fmla="*/ 24043 w 51793"/>
                        <a:gd name="connsiteY248" fmla="*/ 26495 h 67881"/>
                        <a:gd name="connsiteX249" fmla="*/ 19078 w 51793"/>
                        <a:gd name="connsiteY249" fmla="*/ 31519 h 67881"/>
                        <a:gd name="connsiteX250" fmla="*/ 30442 w 51793"/>
                        <a:gd name="connsiteY250" fmla="*/ 29306 h 67881"/>
                        <a:gd name="connsiteX251" fmla="*/ 24043 w 51793"/>
                        <a:gd name="connsiteY251" fmla="*/ 26495 h 67881"/>
                        <a:gd name="connsiteX252" fmla="*/ 30621 w 51793"/>
                        <a:gd name="connsiteY252" fmla="*/ 29605 h 67881"/>
                        <a:gd name="connsiteX253" fmla="*/ 19497 w 51793"/>
                        <a:gd name="connsiteY253" fmla="*/ 31758 h 67881"/>
                        <a:gd name="connsiteX254" fmla="*/ 28349 w 51793"/>
                        <a:gd name="connsiteY254" fmla="*/ 33193 h 67881"/>
                        <a:gd name="connsiteX255" fmla="*/ 30621 w 51793"/>
                        <a:gd name="connsiteY255" fmla="*/ 29605 h 67881"/>
                        <a:gd name="connsiteX256" fmla="*/ 31099 w 51793"/>
                        <a:gd name="connsiteY256" fmla="*/ 36542 h 67881"/>
                        <a:gd name="connsiteX257" fmla="*/ 25059 w 51793"/>
                        <a:gd name="connsiteY257" fmla="*/ 45693 h 67881"/>
                        <a:gd name="connsiteX258" fmla="*/ 25956 w 51793"/>
                        <a:gd name="connsiteY258" fmla="*/ 45274 h 67881"/>
                        <a:gd name="connsiteX259" fmla="*/ 32116 w 51793"/>
                        <a:gd name="connsiteY259" fmla="*/ 38217 h 67881"/>
                        <a:gd name="connsiteX260" fmla="*/ 31099 w 51793"/>
                        <a:gd name="connsiteY260" fmla="*/ 36542 h 67881"/>
                        <a:gd name="connsiteX261" fmla="*/ 27989 w 51793"/>
                        <a:gd name="connsiteY261" fmla="*/ 22009 h 67881"/>
                        <a:gd name="connsiteX262" fmla="*/ 17284 w 51793"/>
                        <a:gd name="connsiteY262" fmla="*/ 23086 h 67881"/>
                        <a:gd name="connsiteX263" fmla="*/ 23923 w 51793"/>
                        <a:gd name="connsiteY263" fmla="*/ 26016 h 67881"/>
                        <a:gd name="connsiteX264" fmla="*/ 27989 w 51793"/>
                        <a:gd name="connsiteY264" fmla="*/ 22009 h 67881"/>
                        <a:gd name="connsiteX265" fmla="*/ 32356 w 51793"/>
                        <a:gd name="connsiteY265" fmla="*/ 38456 h 67881"/>
                        <a:gd name="connsiteX266" fmla="*/ 26734 w 51793"/>
                        <a:gd name="connsiteY266" fmla="*/ 44915 h 67881"/>
                        <a:gd name="connsiteX267" fmla="*/ 34987 w 51793"/>
                        <a:gd name="connsiteY267" fmla="*/ 41028 h 67881"/>
                        <a:gd name="connsiteX268" fmla="*/ 32356 w 51793"/>
                        <a:gd name="connsiteY268" fmla="*/ 38456 h 67881"/>
                        <a:gd name="connsiteX269" fmla="*/ 22786 w 51793"/>
                        <a:gd name="connsiteY269" fmla="*/ 19019 h 67881"/>
                        <a:gd name="connsiteX270" fmla="*/ 17822 w 51793"/>
                        <a:gd name="connsiteY270" fmla="*/ 22428 h 67881"/>
                        <a:gd name="connsiteX271" fmla="*/ 32356 w 51793"/>
                        <a:gd name="connsiteY271" fmla="*/ 17225 h 67881"/>
                        <a:gd name="connsiteX272" fmla="*/ 25358 w 51793"/>
                        <a:gd name="connsiteY272" fmla="*/ 18899 h 67881"/>
                        <a:gd name="connsiteX273" fmla="*/ 22786 w 51793"/>
                        <a:gd name="connsiteY273" fmla="*/ 19019 h 67881"/>
                        <a:gd name="connsiteX274" fmla="*/ 34449 w 51793"/>
                        <a:gd name="connsiteY274" fmla="*/ 16806 h 67881"/>
                        <a:gd name="connsiteX275" fmla="*/ 18002 w 51793"/>
                        <a:gd name="connsiteY275" fmla="*/ 22667 h 67881"/>
                        <a:gd name="connsiteX276" fmla="*/ 28349 w 51793"/>
                        <a:gd name="connsiteY276" fmla="*/ 21590 h 67881"/>
                        <a:gd name="connsiteX277" fmla="*/ 34449 w 51793"/>
                        <a:gd name="connsiteY277" fmla="*/ 16806 h 67881"/>
                        <a:gd name="connsiteX278" fmla="*/ 28349 w 51793"/>
                        <a:gd name="connsiteY278" fmla="*/ 22129 h 67881"/>
                        <a:gd name="connsiteX279" fmla="*/ 24281 w 51793"/>
                        <a:gd name="connsiteY279" fmla="*/ 26196 h 67881"/>
                        <a:gd name="connsiteX280" fmla="*/ 30681 w 51793"/>
                        <a:gd name="connsiteY280" fmla="*/ 29007 h 67881"/>
                        <a:gd name="connsiteX281" fmla="*/ 28349 w 51793"/>
                        <a:gd name="connsiteY281" fmla="*/ 22129 h 67881"/>
                        <a:gd name="connsiteX282" fmla="*/ 30861 w 51793"/>
                        <a:gd name="connsiteY282" fmla="*/ 29844 h 67881"/>
                        <a:gd name="connsiteX283" fmla="*/ 28707 w 51793"/>
                        <a:gd name="connsiteY283" fmla="*/ 33253 h 67881"/>
                        <a:gd name="connsiteX284" fmla="*/ 31399 w 51793"/>
                        <a:gd name="connsiteY284" fmla="*/ 33671 h 67881"/>
                        <a:gd name="connsiteX285" fmla="*/ 30861 w 51793"/>
                        <a:gd name="connsiteY285" fmla="*/ 29844 h 67881"/>
                        <a:gd name="connsiteX286" fmla="*/ 24461 w 51793"/>
                        <a:gd name="connsiteY286" fmla="*/ 17105 h 67881"/>
                        <a:gd name="connsiteX287" fmla="*/ 23145 w 51793"/>
                        <a:gd name="connsiteY287" fmla="*/ 18660 h 67881"/>
                        <a:gd name="connsiteX288" fmla="*/ 25238 w 51793"/>
                        <a:gd name="connsiteY288" fmla="*/ 18540 h 67881"/>
                        <a:gd name="connsiteX289" fmla="*/ 26494 w 51793"/>
                        <a:gd name="connsiteY289" fmla="*/ 16746 h 67881"/>
                        <a:gd name="connsiteX290" fmla="*/ 24461 w 51793"/>
                        <a:gd name="connsiteY290" fmla="*/ 17105 h 67881"/>
                        <a:gd name="connsiteX291" fmla="*/ 33671 w 51793"/>
                        <a:gd name="connsiteY291" fmla="*/ 37918 h 67881"/>
                        <a:gd name="connsiteX292" fmla="*/ 31638 w 51793"/>
                        <a:gd name="connsiteY292" fmla="*/ 36722 h 67881"/>
                        <a:gd name="connsiteX293" fmla="*/ 32475 w 51793"/>
                        <a:gd name="connsiteY293" fmla="*/ 38037 h 67881"/>
                        <a:gd name="connsiteX294" fmla="*/ 33671 w 51793"/>
                        <a:gd name="connsiteY294" fmla="*/ 37918 h 67881"/>
                        <a:gd name="connsiteX295" fmla="*/ 31697 w 51793"/>
                        <a:gd name="connsiteY295" fmla="*/ 34150 h 67881"/>
                        <a:gd name="connsiteX296" fmla="*/ 31339 w 51793"/>
                        <a:gd name="connsiteY296" fmla="*/ 35944 h 67881"/>
                        <a:gd name="connsiteX297" fmla="*/ 33910 w 51793"/>
                        <a:gd name="connsiteY297" fmla="*/ 35107 h 67881"/>
                        <a:gd name="connsiteX298" fmla="*/ 31697 w 51793"/>
                        <a:gd name="connsiteY298" fmla="*/ 34150 h 67881"/>
                        <a:gd name="connsiteX299" fmla="*/ 34210 w 51793"/>
                        <a:gd name="connsiteY299" fmla="*/ 35406 h 67881"/>
                        <a:gd name="connsiteX300" fmla="*/ 31519 w 51793"/>
                        <a:gd name="connsiteY300" fmla="*/ 36243 h 67881"/>
                        <a:gd name="connsiteX301" fmla="*/ 34030 w 51793"/>
                        <a:gd name="connsiteY301" fmla="*/ 37738 h 67881"/>
                        <a:gd name="connsiteX302" fmla="*/ 34210 w 51793"/>
                        <a:gd name="connsiteY302" fmla="*/ 35406 h 67881"/>
                        <a:gd name="connsiteX303" fmla="*/ 34150 w 51793"/>
                        <a:gd name="connsiteY303" fmla="*/ 38217 h 67881"/>
                        <a:gd name="connsiteX304" fmla="*/ 32714 w 51793"/>
                        <a:gd name="connsiteY304" fmla="*/ 38336 h 67881"/>
                        <a:gd name="connsiteX305" fmla="*/ 35286 w 51793"/>
                        <a:gd name="connsiteY305" fmla="*/ 40848 h 67881"/>
                        <a:gd name="connsiteX306" fmla="*/ 37080 w 51793"/>
                        <a:gd name="connsiteY306" fmla="*/ 40011 h 67881"/>
                        <a:gd name="connsiteX307" fmla="*/ 34150 w 51793"/>
                        <a:gd name="connsiteY307" fmla="*/ 38217 h 67881"/>
                        <a:gd name="connsiteX308" fmla="*/ 31219 w 51793"/>
                        <a:gd name="connsiteY308" fmla="*/ 30143 h 67881"/>
                        <a:gd name="connsiteX309" fmla="*/ 31697 w 51793"/>
                        <a:gd name="connsiteY309" fmla="*/ 33791 h 67881"/>
                        <a:gd name="connsiteX310" fmla="*/ 33910 w 51793"/>
                        <a:gd name="connsiteY310" fmla="*/ 34808 h 67881"/>
                        <a:gd name="connsiteX311" fmla="*/ 31219 w 51793"/>
                        <a:gd name="connsiteY311" fmla="*/ 30143 h 67881"/>
                        <a:gd name="connsiteX312" fmla="*/ 26973 w 51793"/>
                        <a:gd name="connsiteY312" fmla="*/ 16626 h 67881"/>
                        <a:gd name="connsiteX313" fmla="*/ 26016 w 51793"/>
                        <a:gd name="connsiteY313" fmla="*/ 18062 h 67881"/>
                        <a:gd name="connsiteX314" fmla="*/ 28588 w 51793"/>
                        <a:gd name="connsiteY314" fmla="*/ 16327 h 67881"/>
                        <a:gd name="connsiteX315" fmla="*/ 26973 w 51793"/>
                        <a:gd name="connsiteY315" fmla="*/ 16626 h 67881"/>
                        <a:gd name="connsiteX316" fmla="*/ 29425 w 51793"/>
                        <a:gd name="connsiteY316" fmla="*/ 16148 h 67881"/>
                        <a:gd name="connsiteX317" fmla="*/ 26255 w 51793"/>
                        <a:gd name="connsiteY317" fmla="*/ 18301 h 67881"/>
                        <a:gd name="connsiteX318" fmla="*/ 34210 w 51793"/>
                        <a:gd name="connsiteY318" fmla="*/ 16387 h 67881"/>
                        <a:gd name="connsiteX319" fmla="*/ 29425 w 51793"/>
                        <a:gd name="connsiteY319" fmla="*/ 16148 h 67881"/>
                        <a:gd name="connsiteX320" fmla="*/ 37380 w 51793"/>
                        <a:gd name="connsiteY320" fmla="*/ 40310 h 67881"/>
                        <a:gd name="connsiteX321" fmla="*/ 35585 w 51793"/>
                        <a:gd name="connsiteY321" fmla="*/ 41147 h 67881"/>
                        <a:gd name="connsiteX322" fmla="*/ 38755 w 51793"/>
                        <a:gd name="connsiteY322" fmla="*/ 44198 h 67881"/>
                        <a:gd name="connsiteX323" fmla="*/ 37380 w 51793"/>
                        <a:gd name="connsiteY323" fmla="*/ 40310 h 67881"/>
                        <a:gd name="connsiteX324" fmla="*/ 34509 w 51793"/>
                        <a:gd name="connsiteY324" fmla="*/ 35705 h 67881"/>
                        <a:gd name="connsiteX325" fmla="*/ 34389 w 51793"/>
                        <a:gd name="connsiteY325" fmla="*/ 37918 h 67881"/>
                        <a:gd name="connsiteX326" fmla="*/ 36960 w 51793"/>
                        <a:gd name="connsiteY326" fmla="*/ 39473 h 67881"/>
                        <a:gd name="connsiteX327" fmla="*/ 34509 w 51793"/>
                        <a:gd name="connsiteY327" fmla="*/ 35705 h 67881"/>
                        <a:gd name="connsiteX328" fmla="*/ 28647 w 51793"/>
                        <a:gd name="connsiteY328" fmla="*/ 22009 h 67881"/>
                        <a:gd name="connsiteX329" fmla="*/ 31040 w 51793"/>
                        <a:gd name="connsiteY329" fmla="*/ 29126 h 67881"/>
                        <a:gd name="connsiteX330" fmla="*/ 44018 w 51793"/>
                        <a:gd name="connsiteY330" fmla="*/ 23803 h 67881"/>
                        <a:gd name="connsiteX331" fmla="*/ 28647 w 51793"/>
                        <a:gd name="connsiteY331" fmla="*/ 22009 h 67881"/>
                        <a:gd name="connsiteX332" fmla="*/ 40130 w 51793"/>
                        <a:gd name="connsiteY332" fmla="*/ 33612 h 67881"/>
                        <a:gd name="connsiteX333" fmla="*/ 31399 w 51793"/>
                        <a:gd name="connsiteY333" fmla="*/ 29724 h 67881"/>
                        <a:gd name="connsiteX334" fmla="*/ 34509 w 51793"/>
                        <a:gd name="connsiteY334" fmla="*/ 35047 h 67881"/>
                        <a:gd name="connsiteX335" fmla="*/ 38994 w 51793"/>
                        <a:gd name="connsiteY335" fmla="*/ 36303 h 67881"/>
                        <a:gd name="connsiteX336" fmla="*/ 40130 w 51793"/>
                        <a:gd name="connsiteY336" fmla="*/ 33612 h 67881"/>
                        <a:gd name="connsiteX337" fmla="*/ 44376 w 51793"/>
                        <a:gd name="connsiteY337" fmla="*/ 23983 h 67881"/>
                        <a:gd name="connsiteX338" fmla="*/ 31399 w 51793"/>
                        <a:gd name="connsiteY338" fmla="*/ 29306 h 67881"/>
                        <a:gd name="connsiteX339" fmla="*/ 40250 w 51793"/>
                        <a:gd name="connsiteY339" fmla="*/ 33253 h 67881"/>
                        <a:gd name="connsiteX340" fmla="*/ 44376 w 51793"/>
                        <a:gd name="connsiteY340" fmla="*/ 23983 h 67881"/>
                        <a:gd name="connsiteX341" fmla="*/ 35465 w 51793"/>
                        <a:gd name="connsiteY341" fmla="*/ 16507 h 67881"/>
                        <a:gd name="connsiteX342" fmla="*/ 28887 w 51793"/>
                        <a:gd name="connsiteY342" fmla="*/ 21710 h 67881"/>
                        <a:gd name="connsiteX343" fmla="*/ 44376 w 51793"/>
                        <a:gd name="connsiteY343" fmla="*/ 23504 h 67881"/>
                        <a:gd name="connsiteX344" fmla="*/ 39353 w 51793"/>
                        <a:gd name="connsiteY344" fmla="*/ 17225 h 67881"/>
                        <a:gd name="connsiteX345" fmla="*/ 35465 w 51793"/>
                        <a:gd name="connsiteY345" fmla="*/ 16507 h 67881"/>
                        <a:gd name="connsiteX346" fmla="*/ 38815 w 51793"/>
                        <a:gd name="connsiteY346" fmla="*/ 36602 h 67881"/>
                        <a:gd name="connsiteX347" fmla="*/ 34748 w 51793"/>
                        <a:gd name="connsiteY347" fmla="*/ 35466 h 67881"/>
                        <a:gd name="connsiteX348" fmla="*/ 37439 w 51793"/>
                        <a:gd name="connsiteY348" fmla="*/ 39652 h 67881"/>
                        <a:gd name="connsiteX349" fmla="*/ 38815 w 51793"/>
                        <a:gd name="connsiteY349" fmla="*/ 36602 h 67881"/>
                        <a:gd name="connsiteX350" fmla="*/ 28408 w 51793"/>
                        <a:gd name="connsiteY350" fmla="*/ 14473 h 67881"/>
                        <a:gd name="connsiteX351" fmla="*/ 27212 w 51793"/>
                        <a:gd name="connsiteY351" fmla="*/ 16208 h 67881"/>
                        <a:gd name="connsiteX352" fmla="*/ 29066 w 51793"/>
                        <a:gd name="connsiteY352" fmla="*/ 15849 h 67881"/>
                        <a:gd name="connsiteX353" fmla="*/ 28408 w 51793"/>
                        <a:gd name="connsiteY353" fmla="*/ 14473 h 67881"/>
                        <a:gd name="connsiteX354" fmla="*/ 37858 w 51793"/>
                        <a:gd name="connsiteY354" fmla="*/ 40669 h 67881"/>
                        <a:gd name="connsiteX355" fmla="*/ 39173 w 51793"/>
                        <a:gd name="connsiteY355" fmla="*/ 44497 h 67881"/>
                        <a:gd name="connsiteX356" fmla="*/ 40430 w 51793"/>
                        <a:gd name="connsiteY356" fmla="*/ 43301 h 67881"/>
                        <a:gd name="connsiteX357" fmla="*/ 37858 w 51793"/>
                        <a:gd name="connsiteY357" fmla="*/ 40669 h 67881"/>
                        <a:gd name="connsiteX358" fmla="*/ 42045 w 51793"/>
                        <a:gd name="connsiteY358" fmla="*/ 44975 h 67881"/>
                        <a:gd name="connsiteX359" fmla="*/ 39353 w 51793"/>
                        <a:gd name="connsiteY359" fmla="*/ 44975 h 67881"/>
                        <a:gd name="connsiteX360" fmla="*/ 41745 w 51793"/>
                        <a:gd name="connsiteY360" fmla="*/ 49820 h 67881"/>
                        <a:gd name="connsiteX361" fmla="*/ 50956 w 51793"/>
                        <a:gd name="connsiteY361" fmla="*/ 54066 h 67881"/>
                        <a:gd name="connsiteX362" fmla="*/ 42045 w 51793"/>
                        <a:gd name="connsiteY362" fmla="*/ 44975 h 67881"/>
                        <a:gd name="connsiteX363" fmla="*/ 40668 w 51793"/>
                        <a:gd name="connsiteY363" fmla="*/ 43540 h 67881"/>
                        <a:gd name="connsiteX364" fmla="*/ 39532 w 51793"/>
                        <a:gd name="connsiteY364" fmla="*/ 44616 h 67881"/>
                        <a:gd name="connsiteX365" fmla="*/ 41685 w 51793"/>
                        <a:gd name="connsiteY365" fmla="*/ 44616 h 67881"/>
                        <a:gd name="connsiteX366" fmla="*/ 40668 w 51793"/>
                        <a:gd name="connsiteY366" fmla="*/ 43540 h 67881"/>
                        <a:gd name="connsiteX367" fmla="*/ 42403 w 51793"/>
                        <a:gd name="connsiteY367" fmla="*/ 37619 h 67881"/>
                        <a:gd name="connsiteX368" fmla="*/ 37918 w 51793"/>
                        <a:gd name="connsiteY368" fmla="*/ 40011 h 67881"/>
                        <a:gd name="connsiteX369" fmla="*/ 42343 w 51793"/>
                        <a:gd name="connsiteY369" fmla="*/ 41506 h 67881"/>
                        <a:gd name="connsiteX370" fmla="*/ 45991 w 51793"/>
                        <a:gd name="connsiteY370" fmla="*/ 37978 h 67881"/>
                        <a:gd name="connsiteX371" fmla="*/ 42403 w 51793"/>
                        <a:gd name="connsiteY371" fmla="*/ 37619 h 67881"/>
                        <a:gd name="connsiteX372" fmla="*/ 42045 w 51793"/>
                        <a:gd name="connsiteY372" fmla="*/ 41746 h 67881"/>
                        <a:gd name="connsiteX373" fmla="*/ 38037 w 51793"/>
                        <a:gd name="connsiteY373" fmla="*/ 40430 h 67881"/>
                        <a:gd name="connsiteX374" fmla="*/ 40609 w 51793"/>
                        <a:gd name="connsiteY374" fmla="*/ 43061 h 67881"/>
                        <a:gd name="connsiteX375" fmla="*/ 42045 w 51793"/>
                        <a:gd name="connsiteY375" fmla="*/ 41746 h 67881"/>
                        <a:gd name="connsiteX376" fmla="*/ 39113 w 51793"/>
                        <a:gd name="connsiteY376" fmla="*/ 36722 h 67881"/>
                        <a:gd name="connsiteX377" fmla="*/ 37798 w 51793"/>
                        <a:gd name="connsiteY377" fmla="*/ 39652 h 67881"/>
                        <a:gd name="connsiteX378" fmla="*/ 41865 w 51793"/>
                        <a:gd name="connsiteY378" fmla="*/ 37499 h 67881"/>
                        <a:gd name="connsiteX379" fmla="*/ 39113 w 51793"/>
                        <a:gd name="connsiteY379" fmla="*/ 36722 h 67881"/>
                        <a:gd name="connsiteX380" fmla="*/ 29186 w 51793"/>
                        <a:gd name="connsiteY380" fmla="*/ 12141 h 67881"/>
                        <a:gd name="connsiteX381" fmla="*/ 26853 w 51793"/>
                        <a:gd name="connsiteY381" fmla="*/ 10526 h 67881"/>
                        <a:gd name="connsiteX382" fmla="*/ 28408 w 51793"/>
                        <a:gd name="connsiteY382" fmla="*/ 13756 h 67881"/>
                        <a:gd name="connsiteX383" fmla="*/ 29126 w 51793"/>
                        <a:gd name="connsiteY383" fmla="*/ 12679 h 67881"/>
                        <a:gd name="connsiteX384" fmla="*/ 29186 w 51793"/>
                        <a:gd name="connsiteY384" fmla="*/ 12141 h 67881"/>
                        <a:gd name="connsiteX385" fmla="*/ 29246 w 51793"/>
                        <a:gd name="connsiteY385" fmla="*/ 8433 h 67881"/>
                        <a:gd name="connsiteX386" fmla="*/ 26794 w 51793"/>
                        <a:gd name="connsiteY386" fmla="*/ 10048 h 67881"/>
                        <a:gd name="connsiteX387" fmla="*/ 29246 w 51793"/>
                        <a:gd name="connsiteY387" fmla="*/ 11722 h 67881"/>
                        <a:gd name="connsiteX388" fmla="*/ 29246 w 51793"/>
                        <a:gd name="connsiteY388" fmla="*/ 8433 h 67881"/>
                        <a:gd name="connsiteX389" fmla="*/ 29306 w 51793"/>
                        <a:gd name="connsiteY389" fmla="*/ 1376 h 67881"/>
                        <a:gd name="connsiteX390" fmla="*/ 26794 w 51793"/>
                        <a:gd name="connsiteY390" fmla="*/ 9629 h 67881"/>
                        <a:gd name="connsiteX391" fmla="*/ 29246 w 51793"/>
                        <a:gd name="connsiteY391" fmla="*/ 8014 h 67881"/>
                        <a:gd name="connsiteX392" fmla="*/ 29306 w 51793"/>
                        <a:gd name="connsiteY392" fmla="*/ 1376 h 67881"/>
                        <a:gd name="connsiteX393" fmla="*/ 29186 w 51793"/>
                        <a:gd name="connsiteY393" fmla="*/ 13337 h 67881"/>
                        <a:gd name="connsiteX394" fmla="*/ 28647 w 51793"/>
                        <a:gd name="connsiteY394" fmla="*/ 14174 h 67881"/>
                        <a:gd name="connsiteX395" fmla="*/ 29186 w 51793"/>
                        <a:gd name="connsiteY395" fmla="*/ 15311 h 67881"/>
                        <a:gd name="connsiteX396" fmla="*/ 29186 w 51793"/>
                        <a:gd name="connsiteY396" fmla="*/ 13337 h 67881"/>
                        <a:gd name="connsiteX397" fmla="*/ 29544 w 51793"/>
                        <a:gd name="connsiteY397" fmla="*/ 12859 h 67881"/>
                        <a:gd name="connsiteX398" fmla="*/ 29544 w 51793"/>
                        <a:gd name="connsiteY398" fmla="*/ 15849 h 67881"/>
                        <a:gd name="connsiteX399" fmla="*/ 34867 w 51793"/>
                        <a:gd name="connsiteY399" fmla="*/ 16148 h 67881"/>
                        <a:gd name="connsiteX400" fmla="*/ 29784 w 51793"/>
                        <a:gd name="connsiteY400" fmla="*/ 12619 h 67881"/>
                        <a:gd name="connsiteX401" fmla="*/ 29544 w 51793"/>
                        <a:gd name="connsiteY401" fmla="*/ 12859 h 67881"/>
                        <a:gd name="connsiteX402" fmla="*/ 42403 w 51793"/>
                        <a:gd name="connsiteY402" fmla="*/ 41865 h 67881"/>
                        <a:gd name="connsiteX403" fmla="*/ 40908 w 51793"/>
                        <a:gd name="connsiteY403" fmla="*/ 43301 h 67881"/>
                        <a:gd name="connsiteX404" fmla="*/ 42164 w 51793"/>
                        <a:gd name="connsiteY404" fmla="*/ 44616 h 67881"/>
                        <a:gd name="connsiteX405" fmla="*/ 48324 w 51793"/>
                        <a:gd name="connsiteY405" fmla="*/ 44556 h 67881"/>
                        <a:gd name="connsiteX406" fmla="*/ 48085 w 51793"/>
                        <a:gd name="connsiteY406" fmla="*/ 43779 h 67881"/>
                        <a:gd name="connsiteX407" fmla="*/ 42403 w 51793"/>
                        <a:gd name="connsiteY407" fmla="*/ 41865 h 67881"/>
                        <a:gd name="connsiteX408" fmla="*/ 48444 w 51793"/>
                        <a:gd name="connsiteY408" fmla="*/ 44915 h 67881"/>
                        <a:gd name="connsiteX409" fmla="*/ 42523 w 51793"/>
                        <a:gd name="connsiteY409" fmla="*/ 44975 h 67881"/>
                        <a:gd name="connsiteX410" fmla="*/ 51374 w 51793"/>
                        <a:gd name="connsiteY410" fmla="*/ 53946 h 67881"/>
                        <a:gd name="connsiteX411" fmla="*/ 48444 w 51793"/>
                        <a:gd name="connsiteY411" fmla="*/ 44915 h 67881"/>
                        <a:gd name="connsiteX412" fmla="*/ 29544 w 51793"/>
                        <a:gd name="connsiteY412" fmla="*/ 8253 h 67881"/>
                        <a:gd name="connsiteX413" fmla="*/ 29544 w 51793"/>
                        <a:gd name="connsiteY413" fmla="*/ 12021 h 67881"/>
                        <a:gd name="connsiteX414" fmla="*/ 29664 w 51793"/>
                        <a:gd name="connsiteY414" fmla="*/ 12081 h 67881"/>
                        <a:gd name="connsiteX415" fmla="*/ 32296 w 51793"/>
                        <a:gd name="connsiteY415" fmla="*/ 8253 h 67881"/>
                        <a:gd name="connsiteX416" fmla="*/ 31757 w 51793"/>
                        <a:gd name="connsiteY416" fmla="*/ 6818 h 67881"/>
                        <a:gd name="connsiteX417" fmla="*/ 29544 w 51793"/>
                        <a:gd name="connsiteY417" fmla="*/ 8253 h 67881"/>
                        <a:gd name="connsiteX418" fmla="*/ 40430 w 51793"/>
                        <a:gd name="connsiteY418" fmla="*/ 33731 h 67881"/>
                        <a:gd name="connsiteX419" fmla="*/ 39233 w 51793"/>
                        <a:gd name="connsiteY419" fmla="*/ 36423 h 67881"/>
                        <a:gd name="connsiteX420" fmla="*/ 42224 w 51793"/>
                        <a:gd name="connsiteY420" fmla="*/ 37260 h 67881"/>
                        <a:gd name="connsiteX421" fmla="*/ 43241 w 51793"/>
                        <a:gd name="connsiteY421" fmla="*/ 34987 h 67881"/>
                        <a:gd name="connsiteX422" fmla="*/ 40430 w 51793"/>
                        <a:gd name="connsiteY422" fmla="*/ 33731 h 67881"/>
                        <a:gd name="connsiteX423" fmla="*/ 32415 w 51793"/>
                        <a:gd name="connsiteY423" fmla="*/ 8672 h 67881"/>
                        <a:gd name="connsiteX424" fmla="*/ 29963 w 51793"/>
                        <a:gd name="connsiteY424" fmla="*/ 12261 h 67881"/>
                        <a:gd name="connsiteX425" fmla="*/ 35107 w 51793"/>
                        <a:gd name="connsiteY425" fmla="*/ 15849 h 67881"/>
                        <a:gd name="connsiteX426" fmla="*/ 32415 w 51793"/>
                        <a:gd name="connsiteY426" fmla="*/ 8672 h 67881"/>
                        <a:gd name="connsiteX427" fmla="*/ 46291 w 51793"/>
                        <a:gd name="connsiteY427" fmla="*/ 38157 h 67881"/>
                        <a:gd name="connsiteX428" fmla="*/ 42702 w 51793"/>
                        <a:gd name="connsiteY428" fmla="*/ 41626 h 67881"/>
                        <a:gd name="connsiteX429" fmla="*/ 47966 w 51793"/>
                        <a:gd name="connsiteY429" fmla="*/ 43360 h 67881"/>
                        <a:gd name="connsiteX430" fmla="*/ 46291 w 51793"/>
                        <a:gd name="connsiteY430" fmla="*/ 38157 h 67881"/>
                        <a:gd name="connsiteX431" fmla="*/ 29604 w 51793"/>
                        <a:gd name="connsiteY431" fmla="*/ 1136 h 67881"/>
                        <a:gd name="connsiteX432" fmla="*/ 29544 w 51793"/>
                        <a:gd name="connsiteY432" fmla="*/ 7835 h 67881"/>
                        <a:gd name="connsiteX433" fmla="*/ 31578 w 51793"/>
                        <a:gd name="connsiteY433" fmla="*/ 6519 h 67881"/>
                        <a:gd name="connsiteX434" fmla="*/ 29604 w 51793"/>
                        <a:gd name="connsiteY434" fmla="*/ 1136 h 67881"/>
                        <a:gd name="connsiteX435" fmla="*/ 44436 w 51793"/>
                        <a:gd name="connsiteY435" fmla="*/ 24760 h 67881"/>
                        <a:gd name="connsiteX436" fmla="*/ 40609 w 51793"/>
                        <a:gd name="connsiteY436" fmla="*/ 33432 h 67881"/>
                        <a:gd name="connsiteX437" fmla="*/ 43420 w 51793"/>
                        <a:gd name="connsiteY437" fmla="*/ 34688 h 67881"/>
                        <a:gd name="connsiteX438" fmla="*/ 44436 w 51793"/>
                        <a:gd name="connsiteY438" fmla="*/ 24760 h 67881"/>
                        <a:gd name="connsiteX439" fmla="*/ 43659 w 51793"/>
                        <a:gd name="connsiteY439" fmla="*/ 35047 h 67881"/>
                        <a:gd name="connsiteX440" fmla="*/ 42583 w 51793"/>
                        <a:gd name="connsiteY440" fmla="*/ 37320 h 67881"/>
                        <a:gd name="connsiteX441" fmla="*/ 46171 w 51793"/>
                        <a:gd name="connsiteY441" fmla="*/ 37679 h 67881"/>
                        <a:gd name="connsiteX442" fmla="*/ 45932 w 51793"/>
                        <a:gd name="connsiteY442" fmla="*/ 32894 h 67881"/>
                        <a:gd name="connsiteX443" fmla="*/ 43659 w 51793"/>
                        <a:gd name="connsiteY443" fmla="*/ 35047 h 67881"/>
                        <a:gd name="connsiteX444" fmla="*/ 32655 w 51793"/>
                        <a:gd name="connsiteY444" fmla="*/ 8313 h 67881"/>
                        <a:gd name="connsiteX445" fmla="*/ 35465 w 51793"/>
                        <a:gd name="connsiteY445" fmla="*/ 15909 h 67881"/>
                        <a:gd name="connsiteX446" fmla="*/ 36722 w 51793"/>
                        <a:gd name="connsiteY446" fmla="*/ 13815 h 67881"/>
                        <a:gd name="connsiteX447" fmla="*/ 35047 w 51793"/>
                        <a:gd name="connsiteY447" fmla="*/ 4844 h 67881"/>
                        <a:gd name="connsiteX448" fmla="*/ 32655 w 51793"/>
                        <a:gd name="connsiteY448" fmla="*/ 8313 h 67881"/>
                        <a:gd name="connsiteX449" fmla="*/ 36901 w 51793"/>
                        <a:gd name="connsiteY449" fmla="*/ 14174 h 67881"/>
                        <a:gd name="connsiteX450" fmla="*/ 35705 w 51793"/>
                        <a:gd name="connsiteY450" fmla="*/ 16208 h 67881"/>
                        <a:gd name="connsiteX451" fmla="*/ 39054 w 51793"/>
                        <a:gd name="connsiteY451" fmla="*/ 16806 h 67881"/>
                        <a:gd name="connsiteX452" fmla="*/ 36901 w 51793"/>
                        <a:gd name="connsiteY452" fmla="*/ 14174 h 67881"/>
                        <a:gd name="connsiteX453" fmla="*/ 31997 w 51793"/>
                        <a:gd name="connsiteY453" fmla="*/ 6639 h 67881"/>
                        <a:gd name="connsiteX454" fmla="*/ 32475 w 51793"/>
                        <a:gd name="connsiteY454" fmla="*/ 7895 h 67881"/>
                        <a:gd name="connsiteX455" fmla="*/ 34449 w 51793"/>
                        <a:gd name="connsiteY455" fmla="*/ 5024 h 67881"/>
                        <a:gd name="connsiteX456" fmla="*/ 31997 w 51793"/>
                        <a:gd name="connsiteY456" fmla="*/ 6639 h 67881"/>
                        <a:gd name="connsiteX457" fmla="*/ 29844 w 51793"/>
                        <a:gd name="connsiteY457" fmla="*/ 718 h 67881"/>
                        <a:gd name="connsiteX458" fmla="*/ 31937 w 51793"/>
                        <a:gd name="connsiteY458" fmla="*/ 6340 h 67881"/>
                        <a:gd name="connsiteX459" fmla="*/ 34867 w 51793"/>
                        <a:gd name="connsiteY459" fmla="*/ 4426 h 67881"/>
                        <a:gd name="connsiteX460" fmla="*/ 29844 w 51793"/>
                        <a:gd name="connsiteY460" fmla="*/ 718 h 67881"/>
                        <a:gd name="connsiteX461" fmla="*/ 44736 w 51793"/>
                        <a:gd name="connsiteY461" fmla="*/ 25000 h 67881"/>
                        <a:gd name="connsiteX462" fmla="*/ 43719 w 51793"/>
                        <a:gd name="connsiteY462" fmla="*/ 34509 h 67881"/>
                        <a:gd name="connsiteX463" fmla="*/ 45872 w 51793"/>
                        <a:gd name="connsiteY463" fmla="*/ 32475 h 67881"/>
                        <a:gd name="connsiteX464" fmla="*/ 44736 w 51793"/>
                        <a:gd name="connsiteY464" fmla="*/ 25000 h 67881"/>
                        <a:gd name="connsiteX465" fmla="*/ 48803 w 51793"/>
                        <a:gd name="connsiteY465" fmla="*/ 44915 h 67881"/>
                        <a:gd name="connsiteX466" fmla="*/ 51494 w 51793"/>
                        <a:gd name="connsiteY466" fmla="*/ 53408 h 67881"/>
                        <a:gd name="connsiteX467" fmla="*/ 51254 w 51793"/>
                        <a:gd name="connsiteY467" fmla="*/ 44915 h 67881"/>
                        <a:gd name="connsiteX468" fmla="*/ 48803 w 51793"/>
                        <a:gd name="connsiteY468" fmla="*/ 44915 h 67881"/>
                        <a:gd name="connsiteX469" fmla="*/ 48504 w 51793"/>
                        <a:gd name="connsiteY469" fmla="*/ 43898 h 67881"/>
                        <a:gd name="connsiteX470" fmla="*/ 48743 w 51793"/>
                        <a:gd name="connsiteY470" fmla="*/ 44556 h 67881"/>
                        <a:gd name="connsiteX471" fmla="*/ 50477 w 51793"/>
                        <a:gd name="connsiteY471" fmla="*/ 44556 h 67881"/>
                        <a:gd name="connsiteX472" fmla="*/ 48504 w 51793"/>
                        <a:gd name="connsiteY472" fmla="*/ 43898 h 67881"/>
                        <a:gd name="connsiteX473" fmla="*/ 46829 w 51793"/>
                        <a:gd name="connsiteY473" fmla="*/ 38755 h 67881"/>
                        <a:gd name="connsiteX474" fmla="*/ 48324 w 51793"/>
                        <a:gd name="connsiteY474" fmla="*/ 43480 h 67881"/>
                        <a:gd name="connsiteX475" fmla="*/ 50956 w 51793"/>
                        <a:gd name="connsiteY475" fmla="*/ 44377 h 67881"/>
                        <a:gd name="connsiteX476" fmla="*/ 46829 w 51793"/>
                        <a:gd name="connsiteY476" fmla="*/ 38755 h 67881"/>
                        <a:gd name="connsiteX477" fmla="*/ 43241 w 51793"/>
                        <a:gd name="connsiteY477" fmla="*/ 17583 h 67881"/>
                        <a:gd name="connsiteX478" fmla="*/ 40130 w 51793"/>
                        <a:gd name="connsiteY478" fmla="*/ 16148 h 67881"/>
                        <a:gd name="connsiteX479" fmla="*/ 37678 w 51793"/>
                        <a:gd name="connsiteY479" fmla="*/ 14593 h 67881"/>
                        <a:gd name="connsiteX480" fmla="*/ 39532 w 51793"/>
                        <a:gd name="connsiteY480" fmla="*/ 16926 h 67881"/>
                        <a:gd name="connsiteX481" fmla="*/ 43241 w 51793"/>
                        <a:gd name="connsiteY481" fmla="*/ 17583 h 67881"/>
                        <a:gd name="connsiteX482" fmla="*/ 46291 w 51793"/>
                        <a:gd name="connsiteY482" fmla="*/ 32535 h 67881"/>
                        <a:gd name="connsiteX483" fmla="*/ 46530 w 51793"/>
                        <a:gd name="connsiteY483" fmla="*/ 36602 h 67881"/>
                        <a:gd name="connsiteX484" fmla="*/ 48264 w 51793"/>
                        <a:gd name="connsiteY484" fmla="*/ 28708 h 67881"/>
                        <a:gd name="connsiteX485" fmla="*/ 46291 w 51793"/>
                        <a:gd name="connsiteY485" fmla="*/ 32535 h 67881"/>
                        <a:gd name="connsiteX486" fmla="*/ 44376 w 51793"/>
                        <a:gd name="connsiteY486" fmla="*/ 18122 h 67881"/>
                        <a:gd name="connsiteX487" fmla="*/ 39832 w 51793"/>
                        <a:gd name="connsiteY487" fmla="*/ 17284 h 67881"/>
                        <a:gd name="connsiteX488" fmla="*/ 44556 w 51793"/>
                        <a:gd name="connsiteY488" fmla="*/ 23146 h 67881"/>
                        <a:gd name="connsiteX489" fmla="*/ 44376 w 51793"/>
                        <a:gd name="connsiteY489" fmla="*/ 18122 h 67881"/>
                        <a:gd name="connsiteX490" fmla="*/ 44975 w 51793"/>
                        <a:gd name="connsiteY490" fmla="*/ 24162 h 67881"/>
                        <a:gd name="connsiteX491" fmla="*/ 46171 w 51793"/>
                        <a:gd name="connsiteY491" fmla="*/ 31997 h 67881"/>
                        <a:gd name="connsiteX492" fmla="*/ 48444 w 51793"/>
                        <a:gd name="connsiteY492" fmla="*/ 27451 h 67881"/>
                        <a:gd name="connsiteX493" fmla="*/ 44975 w 51793"/>
                        <a:gd name="connsiteY493" fmla="*/ 24162 h 67881"/>
                        <a:gd name="connsiteX494" fmla="*/ 44736 w 51793"/>
                        <a:gd name="connsiteY494" fmla="*/ 18839 h 67881"/>
                        <a:gd name="connsiteX495" fmla="*/ 44915 w 51793"/>
                        <a:gd name="connsiteY495" fmla="*/ 23564 h 67881"/>
                        <a:gd name="connsiteX496" fmla="*/ 48204 w 51793"/>
                        <a:gd name="connsiteY496" fmla="*/ 26674 h 67881"/>
                        <a:gd name="connsiteX497" fmla="*/ 44736 w 51793"/>
                        <a:gd name="connsiteY497" fmla="*/ 18839 h 6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Lst>
                      <a:rect l="l" t="t" r="r" b="b"/>
                      <a:pathLst>
                        <a:path w="51793" h="67881">
                          <a:moveTo>
                            <a:pt x="4964" y="48444"/>
                          </a:moveTo>
                          <a:lnTo>
                            <a:pt x="6279" y="42583"/>
                          </a:lnTo>
                          <a:lnTo>
                            <a:pt x="3409" y="36662"/>
                          </a:lnTo>
                          <a:lnTo>
                            <a:pt x="3409" y="36662"/>
                          </a:lnTo>
                          <a:lnTo>
                            <a:pt x="3409" y="36662"/>
                          </a:lnTo>
                          <a:lnTo>
                            <a:pt x="0" y="29425"/>
                          </a:lnTo>
                          <a:lnTo>
                            <a:pt x="0" y="29306"/>
                          </a:lnTo>
                          <a:lnTo>
                            <a:pt x="1734" y="23743"/>
                          </a:lnTo>
                          <a:lnTo>
                            <a:pt x="1794" y="23743"/>
                          </a:lnTo>
                          <a:lnTo>
                            <a:pt x="1794" y="23624"/>
                          </a:lnTo>
                          <a:lnTo>
                            <a:pt x="7775" y="21112"/>
                          </a:lnTo>
                          <a:lnTo>
                            <a:pt x="7894" y="21112"/>
                          </a:lnTo>
                          <a:lnTo>
                            <a:pt x="12200" y="22727"/>
                          </a:lnTo>
                          <a:lnTo>
                            <a:pt x="22607" y="18660"/>
                          </a:lnTo>
                          <a:lnTo>
                            <a:pt x="24221" y="16806"/>
                          </a:lnTo>
                          <a:lnTo>
                            <a:pt x="24341" y="16746"/>
                          </a:lnTo>
                          <a:lnTo>
                            <a:pt x="26734" y="16268"/>
                          </a:lnTo>
                          <a:lnTo>
                            <a:pt x="28229" y="14055"/>
                          </a:lnTo>
                          <a:lnTo>
                            <a:pt x="26315" y="10048"/>
                          </a:lnTo>
                          <a:lnTo>
                            <a:pt x="26375" y="9988"/>
                          </a:lnTo>
                          <a:lnTo>
                            <a:pt x="26315" y="9928"/>
                          </a:lnTo>
                          <a:lnTo>
                            <a:pt x="29306" y="120"/>
                          </a:lnTo>
                          <a:lnTo>
                            <a:pt x="29425" y="120"/>
                          </a:lnTo>
                          <a:lnTo>
                            <a:pt x="29544" y="0"/>
                          </a:lnTo>
                          <a:lnTo>
                            <a:pt x="35167" y="4246"/>
                          </a:lnTo>
                          <a:lnTo>
                            <a:pt x="35167" y="4366"/>
                          </a:lnTo>
                          <a:lnTo>
                            <a:pt x="35227" y="4366"/>
                          </a:lnTo>
                          <a:lnTo>
                            <a:pt x="36960" y="13696"/>
                          </a:lnTo>
                          <a:lnTo>
                            <a:pt x="40190" y="15789"/>
                          </a:lnTo>
                          <a:lnTo>
                            <a:pt x="44556" y="17823"/>
                          </a:lnTo>
                          <a:lnTo>
                            <a:pt x="44496" y="17942"/>
                          </a:lnTo>
                          <a:lnTo>
                            <a:pt x="44616" y="17942"/>
                          </a:lnTo>
                          <a:lnTo>
                            <a:pt x="48743" y="27332"/>
                          </a:lnTo>
                          <a:lnTo>
                            <a:pt x="48623" y="27392"/>
                          </a:lnTo>
                          <a:lnTo>
                            <a:pt x="48743" y="27451"/>
                          </a:lnTo>
                          <a:lnTo>
                            <a:pt x="46470" y="37858"/>
                          </a:lnTo>
                          <a:lnTo>
                            <a:pt x="51494" y="44616"/>
                          </a:lnTo>
                          <a:lnTo>
                            <a:pt x="51494" y="44676"/>
                          </a:lnTo>
                          <a:lnTo>
                            <a:pt x="51554" y="44736"/>
                          </a:lnTo>
                          <a:lnTo>
                            <a:pt x="51793" y="54604"/>
                          </a:lnTo>
                          <a:lnTo>
                            <a:pt x="51674" y="54604"/>
                          </a:lnTo>
                          <a:lnTo>
                            <a:pt x="51614" y="54724"/>
                          </a:lnTo>
                          <a:lnTo>
                            <a:pt x="41506" y="50118"/>
                          </a:lnTo>
                          <a:lnTo>
                            <a:pt x="41446" y="50059"/>
                          </a:lnTo>
                          <a:lnTo>
                            <a:pt x="38994" y="45095"/>
                          </a:lnTo>
                          <a:lnTo>
                            <a:pt x="33133" y="47308"/>
                          </a:lnTo>
                          <a:lnTo>
                            <a:pt x="23564" y="48564"/>
                          </a:lnTo>
                          <a:lnTo>
                            <a:pt x="21830" y="50537"/>
                          </a:lnTo>
                          <a:lnTo>
                            <a:pt x="21590" y="50298"/>
                          </a:lnTo>
                          <a:lnTo>
                            <a:pt x="22666" y="48623"/>
                          </a:lnTo>
                          <a:lnTo>
                            <a:pt x="18480" y="49162"/>
                          </a:lnTo>
                          <a:lnTo>
                            <a:pt x="15310" y="51374"/>
                          </a:lnTo>
                          <a:lnTo>
                            <a:pt x="17822" y="67762"/>
                          </a:lnTo>
                          <a:lnTo>
                            <a:pt x="17523" y="67881"/>
                          </a:lnTo>
                          <a:lnTo>
                            <a:pt x="9509" y="49879"/>
                          </a:lnTo>
                          <a:lnTo>
                            <a:pt x="5083" y="48623"/>
                          </a:lnTo>
                          <a:lnTo>
                            <a:pt x="5083" y="48564"/>
                          </a:lnTo>
                          <a:lnTo>
                            <a:pt x="4964" y="48444"/>
                          </a:lnTo>
                          <a:close/>
                          <a:moveTo>
                            <a:pt x="7596" y="45633"/>
                          </a:moveTo>
                          <a:lnTo>
                            <a:pt x="5443" y="48324"/>
                          </a:lnTo>
                          <a:lnTo>
                            <a:pt x="8851" y="48444"/>
                          </a:lnTo>
                          <a:lnTo>
                            <a:pt x="7596" y="45633"/>
                          </a:lnTo>
                          <a:close/>
                          <a:moveTo>
                            <a:pt x="6459" y="43061"/>
                          </a:moveTo>
                          <a:lnTo>
                            <a:pt x="5443" y="47786"/>
                          </a:lnTo>
                          <a:lnTo>
                            <a:pt x="7476" y="45274"/>
                          </a:lnTo>
                          <a:lnTo>
                            <a:pt x="6459" y="43061"/>
                          </a:lnTo>
                          <a:close/>
                          <a:moveTo>
                            <a:pt x="9031" y="48803"/>
                          </a:moveTo>
                          <a:lnTo>
                            <a:pt x="6579" y="48683"/>
                          </a:lnTo>
                          <a:lnTo>
                            <a:pt x="9330" y="49461"/>
                          </a:lnTo>
                          <a:lnTo>
                            <a:pt x="9031" y="48803"/>
                          </a:lnTo>
                          <a:close/>
                          <a:moveTo>
                            <a:pt x="2631" y="31100"/>
                          </a:moveTo>
                          <a:lnTo>
                            <a:pt x="478" y="29784"/>
                          </a:lnTo>
                          <a:lnTo>
                            <a:pt x="3229" y="35526"/>
                          </a:lnTo>
                          <a:lnTo>
                            <a:pt x="2631" y="31100"/>
                          </a:lnTo>
                          <a:close/>
                          <a:moveTo>
                            <a:pt x="2213" y="27811"/>
                          </a:moveTo>
                          <a:lnTo>
                            <a:pt x="418" y="29306"/>
                          </a:lnTo>
                          <a:lnTo>
                            <a:pt x="2631" y="30681"/>
                          </a:lnTo>
                          <a:lnTo>
                            <a:pt x="2213" y="27811"/>
                          </a:lnTo>
                          <a:close/>
                          <a:moveTo>
                            <a:pt x="1794" y="24581"/>
                          </a:moveTo>
                          <a:lnTo>
                            <a:pt x="418" y="28827"/>
                          </a:lnTo>
                          <a:lnTo>
                            <a:pt x="2153" y="27392"/>
                          </a:lnTo>
                          <a:lnTo>
                            <a:pt x="1794" y="24581"/>
                          </a:lnTo>
                          <a:close/>
                          <a:moveTo>
                            <a:pt x="2990" y="31339"/>
                          </a:moveTo>
                          <a:lnTo>
                            <a:pt x="3648" y="36303"/>
                          </a:lnTo>
                          <a:lnTo>
                            <a:pt x="6997" y="33851"/>
                          </a:lnTo>
                          <a:lnTo>
                            <a:pt x="2990" y="31339"/>
                          </a:lnTo>
                          <a:close/>
                          <a:moveTo>
                            <a:pt x="7416" y="33971"/>
                          </a:moveTo>
                          <a:lnTo>
                            <a:pt x="3828" y="36602"/>
                          </a:lnTo>
                          <a:lnTo>
                            <a:pt x="10167" y="41865"/>
                          </a:lnTo>
                          <a:lnTo>
                            <a:pt x="13397" y="37798"/>
                          </a:lnTo>
                          <a:lnTo>
                            <a:pt x="11782" y="34090"/>
                          </a:lnTo>
                          <a:lnTo>
                            <a:pt x="7416" y="33971"/>
                          </a:lnTo>
                          <a:close/>
                          <a:moveTo>
                            <a:pt x="8851" y="43540"/>
                          </a:moveTo>
                          <a:lnTo>
                            <a:pt x="4366" y="37858"/>
                          </a:lnTo>
                          <a:lnTo>
                            <a:pt x="6579" y="42403"/>
                          </a:lnTo>
                          <a:lnTo>
                            <a:pt x="8791" y="43600"/>
                          </a:lnTo>
                          <a:lnTo>
                            <a:pt x="8851" y="43540"/>
                          </a:lnTo>
                          <a:close/>
                          <a:moveTo>
                            <a:pt x="9987" y="42104"/>
                          </a:moveTo>
                          <a:lnTo>
                            <a:pt x="4665" y="37679"/>
                          </a:lnTo>
                          <a:lnTo>
                            <a:pt x="9031" y="43241"/>
                          </a:lnTo>
                          <a:lnTo>
                            <a:pt x="9987" y="42104"/>
                          </a:lnTo>
                          <a:close/>
                          <a:moveTo>
                            <a:pt x="8552" y="43898"/>
                          </a:moveTo>
                          <a:lnTo>
                            <a:pt x="6758" y="42942"/>
                          </a:lnTo>
                          <a:lnTo>
                            <a:pt x="7656" y="44975"/>
                          </a:lnTo>
                          <a:lnTo>
                            <a:pt x="8552" y="43898"/>
                          </a:lnTo>
                          <a:close/>
                          <a:moveTo>
                            <a:pt x="8911" y="44018"/>
                          </a:moveTo>
                          <a:lnTo>
                            <a:pt x="7894" y="45274"/>
                          </a:lnTo>
                          <a:lnTo>
                            <a:pt x="9270" y="48384"/>
                          </a:lnTo>
                          <a:lnTo>
                            <a:pt x="12859" y="48504"/>
                          </a:lnTo>
                          <a:lnTo>
                            <a:pt x="9509" y="44317"/>
                          </a:lnTo>
                          <a:lnTo>
                            <a:pt x="8911" y="44018"/>
                          </a:lnTo>
                          <a:close/>
                          <a:moveTo>
                            <a:pt x="13157" y="48982"/>
                          </a:moveTo>
                          <a:lnTo>
                            <a:pt x="9449" y="48863"/>
                          </a:lnTo>
                          <a:lnTo>
                            <a:pt x="9808" y="49640"/>
                          </a:lnTo>
                          <a:lnTo>
                            <a:pt x="14772" y="51016"/>
                          </a:lnTo>
                          <a:lnTo>
                            <a:pt x="13157" y="48982"/>
                          </a:lnTo>
                          <a:close/>
                          <a:moveTo>
                            <a:pt x="15072" y="51434"/>
                          </a:moveTo>
                          <a:lnTo>
                            <a:pt x="9987" y="49999"/>
                          </a:lnTo>
                          <a:lnTo>
                            <a:pt x="17404" y="66625"/>
                          </a:lnTo>
                          <a:lnTo>
                            <a:pt x="15072" y="51434"/>
                          </a:lnTo>
                          <a:close/>
                          <a:moveTo>
                            <a:pt x="2511" y="27511"/>
                          </a:moveTo>
                          <a:lnTo>
                            <a:pt x="2930" y="30861"/>
                          </a:lnTo>
                          <a:lnTo>
                            <a:pt x="7117" y="33432"/>
                          </a:lnTo>
                          <a:lnTo>
                            <a:pt x="6579" y="26854"/>
                          </a:lnTo>
                          <a:lnTo>
                            <a:pt x="4665" y="25657"/>
                          </a:lnTo>
                          <a:lnTo>
                            <a:pt x="2511" y="27511"/>
                          </a:lnTo>
                          <a:close/>
                          <a:moveTo>
                            <a:pt x="2093" y="24102"/>
                          </a:moveTo>
                          <a:lnTo>
                            <a:pt x="2511" y="27153"/>
                          </a:lnTo>
                          <a:lnTo>
                            <a:pt x="4426" y="25538"/>
                          </a:lnTo>
                          <a:lnTo>
                            <a:pt x="2093" y="24102"/>
                          </a:lnTo>
                          <a:close/>
                          <a:moveTo>
                            <a:pt x="10227" y="42344"/>
                          </a:moveTo>
                          <a:lnTo>
                            <a:pt x="9270" y="43540"/>
                          </a:lnTo>
                          <a:lnTo>
                            <a:pt x="9749" y="44078"/>
                          </a:lnTo>
                          <a:lnTo>
                            <a:pt x="17105" y="48025"/>
                          </a:lnTo>
                          <a:lnTo>
                            <a:pt x="10227" y="42344"/>
                          </a:lnTo>
                          <a:close/>
                          <a:moveTo>
                            <a:pt x="17763" y="48803"/>
                          </a:moveTo>
                          <a:lnTo>
                            <a:pt x="10287" y="44796"/>
                          </a:lnTo>
                          <a:lnTo>
                            <a:pt x="13337" y="48623"/>
                          </a:lnTo>
                          <a:lnTo>
                            <a:pt x="17763" y="48803"/>
                          </a:lnTo>
                          <a:close/>
                          <a:moveTo>
                            <a:pt x="7476" y="21590"/>
                          </a:moveTo>
                          <a:lnTo>
                            <a:pt x="2213" y="23803"/>
                          </a:lnTo>
                          <a:lnTo>
                            <a:pt x="4665" y="25299"/>
                          </a:lnTo>
                          <a:lnTo>
                            <a:pt x="6399" y="23863"/>
                          </a:lnTo>
                          <a:lnTo>
                            <a:pt x="7476" y="21590"/>
                          </a:lnTo>
                          <a:close/>
                          <a:moveTo>
                            <a:pt x="13576" y="38157"/>
                          </a:moveTo>
                          <a:lnTo>
                            <a:pt x="10466" y="42044"/>
                          </a:lnTo>
                          <a:lnTo>
                            <a:pt x="18062" y="48384"/>
                          </a:lnTo>
                          <a:lnTo>
                            <a:pt x="13576" y="38157"/>
                          </a:lnTo>
                          <a:close/>
                          <a:moveTo>
                            <a:pt x="17942" y="49162"/>
                          </a:moveTo>
                          <a:lnTo>
                            <a:pt x="13576" y="48982"/>
                          </a:lnTo>
                          <a:lnTo>
                            <a:pt x="15191" y="51075"/>
                          </a:lnTo>
                          <a:lnTo>
                            <a:pt x="17942" y="49162"/>
                          </a:lnTo>
                          <a:close/>
                          <a:moveTo>
                            <a:pt x="6997" y="27093"/>
                          </a:moveTo>
                          <a:lnTo>
                            <a:pt x="7476" y="33073"/>
                          </a:lnTo>
                          <a:lnTo>
                            <a:pt x="9509" y="28588"/>
                          </a:lnTo>
                          <a:lnTo>
                            <a:pt x="6997" y="27093"/>
                          </a:lnTo>
                          <a:close/>
                          <a:moveTo>
                            <a:pt x="10466" y="31279"/>
                          </a:moveTo>
                          <a:lnTo>
                            <a:pt x="7775" y="33671"/>
                          </a:lnTo>
                          <a:lnTo>
                            <a:pt x="11602" y="33791"/>
                          </a:lnTo>
                          <a:lnTo>
                            <a:pt x="10466" y="31279"/>
                          </a:lnTo>
                          <a:close/>
                          <a:moveTo>
                            <a:pt x="9749" y="28827"/>
                          </a:moveTo>
                          <a:lnTo>
                            <a:pt x="7834" y="33073"/>
                          </a:lnTo>
                          <a:lnTo>
                            <a:pt x="10287" y="30861"/>
                          </a:lnTo>
                          <a:lnTo>
                            <a:pt x="9749" y="28827"/>
                          </a:lnTo>
                          <a:close/>
                          <a:moveTo>
                            <a:pt x="6399" y="24282"/>
                          </a:moveTo>
                          <a:lnTo>
                            <a:pt x="4964" y="25478"/>
                          </a:lnTo>
                          <a:lnTo>
                            <a:pt x="6579" y="26435"/>
                          </a:lnTo>
                          <a:lnTo>
                            <a:pt x="6399" y="24282"/>
                          </a:lnTo>
                          <a:close/>
                          <a:moveTo>
                            <a:pt x="6758" y="24102"/>
                          </a:moveTo>
                          <a:lnTo>
                            <a:pt x="6938" y="26674"/>
                          </a:lnTo>
                          <a:lnTo>
                            <a:pt x="9569" y="28289"/>
                          </a:lnTo>
                          <a:lnTo>
                            <a:pt x="8373" y="23803"/>
                          </a:lnTo>
                          <a:lnTo>
                            <a:pt x="6758" y="24102"/>
                          </a:lnTo>
                          <a:close/>
                          <a:moveTo>
                            <a:pt x="7834" y="21770"/>
                          </a:moveTo>
                          <a:lnTo>
                            <a:pt x="6878" y="23743"/>
                          </a:lnTo>
                          <a:lnTo>
                            <a:pt x="8313" y="23504"/>
                          </a:lnTo>
                          <a:lnTo>
                            <a:pt x="7834" y="21770"/>
                          </a:lnTo>
                          <a:close/>
                          <a:moveTo>
                            <a:pt x="10167" y="29066"/>
                          </a:moveTo>
                          <a:lnTo>
                            <a:pt x="10646" y="30861"/>
                          </a:lnTo>
                          <a:lnTo>
                            <a:pt x="13755" y="31279"/>
                          </a:lnTo>
                          <a:lnTo>
                            <a:pt x="10167" y="29066"/>
                          </a:lnTo>
                          <a:close/>
                          <a:moveTo>
                            <a:pt x="14114" y="31638"/>
                          </a:moveTo>
                          <a:lnTo>
                            <a:pt x="10765" y="31160"/>
                          </a:lnTo>
                          <a:lnTo>
                            <a:pt x="11961" y="33671"/>
                          </a:lnTo>
                          <a:lnTo>
                            <a:pt x="14114" y="31638"/>
                          </a:lnTo>
                          <a:close/>
                          <a:moveTo>
                            <a:pt x="14593" y="31698"/>
                          </a:moveTo>
                          <a:lnTo>
                            <a:pt x="12141" y="33971"/>
                          </a:lnTo>
                          <a:lnTo>
                            <a:pt x="13695" y="37499"/>
                          </a:lnTo>
                          <a:lnTo>
                            <a:pt x="18181" y="31877"/>
                          </a:lnTo>
                          <a:lnTo>
                            <a:pt x="14593" y="31698"/>
                          </a:lnTo>
                          <a:close/>
                          <a:moveTo>
                            <a:pt x="9928" y="28349"/>
                          </a:moveTo>
                          <a:lnTo>
                            <a:pt x="9987" y="28588"/>
                          </a:lnTo>
                          <a:lnTo>
                            <a:pt x="14234" y="31160"/>
                          </a:lnTo>
                          <a:lnTo>
                            <a:pt x="12141" y="23445"/>
                          </a:lnTo>
                          <a:lnTo>
                            <a:pt x="9928" y="28349"/>
                          </a:lnTo>
                          <a:close/>
                          <a:moveTo>
                            <a:pt x="8732" y="23743"/>
                          </a:moveTo>
                          <a:lnTo>
                            <a:pt x="9868" y="27811"/>
                          </a:lnTo>
                          <a:lnTo>
                            <a:pt x="11961" y="23146"/>
                          </a:lnTo>
                          <a:lnTo>
                            <a:pt x="8732" y="23743"/>
                          </a:lnTo>
                          <a:close/>
                          <a:moveTo>
                            <a:pt x="18360" y="32236"/>
                          </a:moveTo>
                          <a:lnTo>
                            <a:pt x="13815" y="37918"/>
                          </a:lnTo>
                          <a:lnTo>
                            <a:pt x="18301" y="48205"/>
                          </a:lnTo>
                          <a:lnTo>
                            <a:pt x="18360" y="32236"/>
                          </a:lnTo>
                          <a:close/>
                          <a:moveTo>
                            <a:pt x="8134" y="21531"/>
                          </a:moveTo>
                          <a:lnTo>
                            <a:pt x="8612" y="23385"/>
                          </a:lnTo>
                          <a:lnTo>
                            <a:pt x="11542" y="22846"/>
                          </a:lnTo>
                          <a:lnTo>
                            <a:pt x="8134" y="21531"/>
                          </a:lnTo>
                          <a:close/>
                          <a:moveTo>
                            <a:pt x="18660" y="31937"/>
                          </a:moveTo>
                          <a:lnTo>
                            <a:pt x="18660" y="48384"/>
                          </a:lnTo>
                          <a:lnTo>
                            <a:pt x="28109" y="33492"/>
                          </a:lnTo>
                          <a:lnTo>
                            <a:pt x="18660" y="31937"/>
                          </a:lnTo>
                          <a:close/>
                          <a:moveTo>
                            <a:pt x="29963" y="37619"/>
                          </a:moveTo>
                          <a:lnTo>
                            <a:pt x="19258" y="48444"/>
                          </a:lnTo>
                          <a:lnTo>
                            <a:pt x="24401" y="45992"/>
                          </a:lnTo>
                          <a:lnTo>
                            <a:pt x="29963" y="37619"/>
                          </a:lnTo>
                          <a:close/>
                          <a:moveTo>
                            <a:pt x="24102" y="46530"/>
                          </a:moveTo>
                          <a:lnTo>
                            <a:pt x="19617" y="48623"/>
                          </a:lnTo>
                          <a:lnTo>
                            <a:pt x="23026" y="48145"/>
                          </a:lnTo>
                          <a:lnTo>
                            <a:pt x="24102" y="46530"/>
                          </a:lnTo>
                          <a:close/>
                          <a:moveTo>
                            <a:pt x="28468" y="33552"/>
                          </a:moveTo>
                          <a:lnTo>
                            <a:pt x="19497" y="47726"/>
                          </a:lnTo>
                          <a:lnTo>
                            <a:pt x="30920" y="36124"/>
                          </a:lnTo>
                          <a:lnTo>
                            <a:pt x="31339" y="34030"/>
                          </a:lnTo>
                          <a:lnTo>
                            <a:pt x="28468" y="33552"/>
                          </a:lnTo>
                          <a:close/>
                          <a:moveTo>
                            <a:pt x="12440" y="23086"/>
                          </a:moveTo>
                          <a:lnTo>
                            <a:pt x="14533" y="30801"/>
                          </a:lnTo>
                          <a:lnTo>
                            <a:pt x="16447" y="23146"/>
                          </a:lnTo>
                          <a:lnTo>
                            <a:pt x="12440" y="23086"/>
                          </a:lnTo>
                          <a:close/>
                          <a:moveTo>
                            <a:pt x="16746" y="23265"/>
                          </a:moveTo>
                          <a:lnTo>
                            <a:pt x="14772" y="31399"/>
                          </a:lnTo>
                          <a:lnTo>
                            <a:pt x="18480" y="31578"/>
                          </a:lnTo>
                          <a:lnTo>
                            <a:pt x="23743" y="26315"/>
                          </a:lnTo>
                          <a:lnTo>
                            <a:pt x="16746" y="23265"/>
                          </a:lnTo>
                          <a:close/>
                          <a:moveTo>
                            <a:pt x="21351" y="19557"/>
                          </a:moveTo>
                          <a:lnTo>
                            <a:pt x="13097" y="22787"/>
                          </a:lnTo>
                          <a:lnTo>
                            <a:pt x="16567" y="22846"/>
                          </a:lnTo>
                          <a:lnTo>
                            <a:pt x="21351" y="19557"/>
                          </a:lnTo>
                          <a:close/>
                          <a:moveTo>
                            <a:pt x="24700" y="46291"/>
                          </a:moveTo>
                          <a:lnTo>
                            <a:pt x="23444" y="48205"/>
                          </a:lnTo>
                          <a:lnTo>
                            <a:pt x="23444" y="48205"/>
                          </a:lnTo>
                          <a:lnTo>
                            <a:pt x="25358" y="45992"/>
                          </a:lnTo>
                          <a:lnTo>
                            <a:pt x="24700" y="46291"/>
                          </a:lnTo>
                          <a:close/>
                          <a:moveTo>
                            <a:pt x="26136" y="45573"/>
                          </a:moveTo>
                          <a:lnTo>
                            <a:pt x="23923" y="48085"/>
                          </a:lnTo>
                          <a:lnTo>
                            <a:pt x="33014" y="46889"/>
                          </a:lnTo>
                          <a:lnTo>
                            <a:pt x="38695" y="44736"/>
                          </a:lnTo>
                          <a:lnTo>
                            <a:pt x="35167" y="41267"/>
                          </a:lnTo>
                          <a:lnTo>
                            <a:pt x="26136" y="45573"/>
                          </a:lnTo>
                          <a:close/>
                          <a:moveTo>
                            <a:pt x="24043" y="26495"/>
                          </a:moveTo>
                          <a:lnTo>
                            <a:pt x="19078" y="31519"/>
                          </a:lnTo>
                          <a:lnTo>
                            <a:pt x="30442" y="29306"/>
                          </a:lnTo>
                          <a:lnTo>
                            <a:pt x="24043" y="26495"/>
                          </a:lnTo>
                          <a:close/>
                          <a:moveTo>
                            <a:pt x="30621" y="29605"/>
                          </a:moveTo>
                          <a:lnTo>
                            <a:pt x="19497" y="31758"/>
                          </a:lnTo>
                          <a:lnTo>
                            <a:pt x="28349" y="33193"/>
                          </a:lnTo>
                          <a:lnTo>
                            <a:pt x="30621" y="29605"/>
                          </a:lnTo>
                          <a:close/>
                          <a:moveTo>
                            <a:pt x="31099" y="36542"/>
                          </a:moveTo>
                          <a:lnTo>
                            <a:pt x="25059" y="45693"/>
                          </a:lnTo>
                          <a:lnTo>
                            <a:pt x="25956" y="45274"/>
                          </a:lnTo>
                          <a:lnTo>
                            <a:pt x="32116" y="38217"/>
                          </a:lnTo>
                          <a:lnTo>
                            <a:pt x="31099" y="36542"/>
                          </a:lnTo>
                          <a:close/>
                          <a:moveTo>
                            <a:pt x="27989" y="22009"/>
                          </a:moveTo>
                          <a:lnTo>
                            <a:pt x="17284" y="23086"/>
                          </a:lnTo>
                          <a:lnTo>
                            <a:pt x="23923" y="26016"/>
                          </a:lnTo>
                          <a:lnTo>
                            <a:pt x="27989" y="22009"/>
                          </a:lnTo>
                          <a:close/>
                          <a:moveTo>
                            <a:pt x="32356" y="38456"/>
                          </a:moveTo>
                          <a:lnTo>
                            <a:pt x="26734" y="44915"/>
                          </a:lnTo>
                          <a:lnTo>
                            <a:pt x="34987" y="41028"/>
                          </a:lnTo>
                          <a:lnTo>
                            <a:pt x="32356" y="38456"/>
                          </a:lnTo>
                          <a:close/>
                          <a:moveTo>
                            <a:pt x="22786" y="19019"/>
                          </a:moveTo>
                          <a:lnTo>
                            <a:pt x="17822" y="22428"/>
                          </a:lnTo>
                          <a:lnTo>
                            <a:pt x="32356" y="17225"/>
                          </a:lnTo>
                          <a:lnTo>
                            <a:pt x="25358" y="18899"/>
                          </a:lnTo>
                          <a:lnTo>
                            <a:pt x="22786" y="19019"/>
                          </a:lnTo>
                          <a:close/>
                          <a:moveTo>
                            <a:pt x="34449" y="16806"/>
                          </a:moveTo>
                          <a:lnTo>
                            <a:pt x="18002" y="22667"/>
                          </a:lnTo>
                          <a:lnTo>
                            <a:pt x="28349" y="21590"/>
                          </a:lnTo>
                          <a:lnTo>
                            <a:pt x="34449" y="16806"/>
                          </a:lnTo>
                          <a:close/>
                          <a:moveTo>
                            <a:pt x="28349" y="22129"/>
                          </a:moveTo>
                          <a:lnTo>
                            <a:pt x="24281" y="26196"/>
                          </a:lnTo>
                          <a:lnTo>
                            <a:pt x="30681" y="29007"/>
                          </a:lnTo>
                          <a:lnTo>
                            <a:pt x="28349" y="22129"/>
                          </a:lnTo>
                          <a:close/>
                          <a:moveTo>
                            <a:pt x="30861" y="29844"/>
                          </a:moveTo>
                          <a:lnTo>
                            <a:pt x="28707" y="33253"/>
                          </a:lnTo>
                          <a:lnTo>
                            <a:pt x="31399" y="33671"/>
                          </a:lnTo>
                          <a:lnTo>
                            <a:pt x="30861" y="29844"/>
                          </a:lnTo>
                          <a:close/>
                          <a:moveTo>
                            <a:pt x="24461" y="17105"/>
                          </a:moveTo>
                          <a:lnTo>
                            <a:pt x="23145" y="18660"/>
                          </a:lnTo>
                          <a:lnTo>
                            <a:pt x="25238" y="18540"/>
                          </a:lnTo>
                          <a:lnTo>
                            <a:pt x="26494" y="16746"/>
                          </a:lnTo>
                          <a:lnTo>
                            <a:pt x="24461" y="17105"/>
                          </a:lnTo>
                          <a:close/>
                          <a:moveTo>
                            <a:pt x="33671" y="37918"/>
                          </a:moveTo>
                          <a:lnTo>
                            <a:pt x="31638" y="36722"/>
                          </a:lnTo>
                          <a:lnTo>
                            <a:pt x="32475" y="38037"/>
                          </a:lnTo>
                          <a:lnTo>
                            <a:pt x="33671" y="37918"/>
                          </a:lnTo>
                          <a:close/>
                          <a:moveTo>
                            <a:pt x="31697" y="34150"/>
                          </a:moveTo>
                          <a:lnTo>
                            <a:pt x="31339" y="35944"/>
                          </a:lnTo>
                          <a:lnTo>
                            <a:pt x="33910" y="35107"/>
                          </a:lnTo>
                          <a:lnTo>
                            <a:pt x="31697" y="34150"/>
                          </a:lnTo>
                          <a:close/>
                          <a:moveTo>
                            <a:pt x="34210" y="35406"/>
                          </a:moveTo>
                          <a:lnTo>
                            <a:pt x="31519" y="36243"/>
                          </a:lnTo>
                          <a:lnTo>
                            <a:pt x="34030" y="37738"/>
                          </a:lnTo>
                          <a:lnTo>
                            <a:pt x="34210" y="35406"/>
                          </a:lnTo>
                          <a:close/>
                          <a:moveTo>
                            <a:pt x="34150" y="38217"/>
                          </a:moveTo>
                          <a:lnTo>
                            <a:pt x="32714" y="38336"/>
                          </a:lnTo>
                          <a:lnTo>
                            <a:pt x="35286" y="40848"/>
                          </a:lnTo>
                          <a:lnTo>
                            <a:pt x="37080" y="40011"/>
                          </a:lnTo>
                          <a:lnTo>
                            <a:pt x="34150" y="38217"/>
                          </a:lnTo>
                          <a:close/>
                          <a:moveTo>
                            <a:pt x="31219" y="30143"/>
                          </a:moveTo>
                          <a:lnTo>
                            <a:pt x="31697" y="33791"/>
                          </a:lnTo>
                          <a:lnTo>
                            <a:pt x="33910" y="34808"/>
                          </a:lnTo>
                          <a:lnTo>
                            <a:pt x="31219" y="30143"/>
                          </a:lnTo>
                          <a:close/>
                          <a:moveTo>
                            <a:pt x="26973" y="16626"/>
                          </a:moveTo>
                          <a:lnTo>
                            <a:pt x="26016" y="18062"/>
                          </a:lnTo>
                          <a:lnTo>
                            <a:pt x="28588" y="16327"/>
                          </a:lnTo>
                          <a:lnTo>
                            <a:pt x="26973" y="16626"/>
                          </a:lnTo>
                          <a:close/>
                          <a:moveTo>
                            <a:pt x="29425" y="16148"/>
                          </a:moveTo>
                          <a:lnTo>
                            <a:pt x="26255" y="18301"/>
                          </a:lnTo>
                          <a:lnTo>
                            <a:pt x="34210" y="16387"/>
                          </a:lnTo>
                          <a:lnTo>
                            <a:pt x="29425" y="16148"/>
                          </a:lnTo>
                          <a:close/>
                          <a:moveTo>
                            <a:pt x="37380" y="40310"/>
                          </a:moveTo>
                          <a:lnTo>
                            <a:pt x="35585" y="41147"/>
                          </a:lnTo>
                          <a:lnTo>
                            <a:pt x="38755" y="44198"/>
                          </a:lnTo>
                          <a:lnTo>
                            <a:pt x="37380" y="40310"/>
                          </a:lnTo>
                          <a:close/>
                          <a:moveTo>
                            <a:pt x="34509" y="35705"/>
                          </a:moveTo>
                          <a:lnTo>
                            <a:pt x="34389" y="37918"/>
                          </a:lnTo>
                          <a:lnTo>
                            <a:pt x="36960" y="39473"/>
                          </a:lnTo>
                          <a:lnTo>
                            <a:pt x="34509" y="35705"/>
                          </a:lnTo>
                          <a:close/>
                          <a:moveTo>
                            <a:pt x="28647" y="22009"/>
                          </a:moveTo>
                          <a:lnTo>
                            <a:pt x="31040" y="29126"/>
                          </a:lnTo>
                          <a:lnTo>
                            <a:pt x="44018" y="23803"/>
                          </a:lnTo>
                          <a:lnTo>
                            <a:pt x="28647" y="22009"/>
                          </a:lnTo>
                          <a:close/>
                          <a:moveTo>
                            <a:pt x="40130" y="33612"/>
                          </a:moveTo>
                          <a:lnTo>
                            <a:pt x="31399" y="29724"/>
                          </a:lnTo>
                          <a:lnTo>
                            <a:pt x="34509" y="35047"/>
                          </a:lnTo>
                          <a:lnTo>
                            <a:pt x="38994" y="36303"/>
                          </a:lnTo>
                          <a:lnTo>
                            <a:pt x="40130" y="33612"/>
                          </a:lnTo>
                          <a:close/>
                          <a:moveTo>
                            <a:pt x="44376" y="23983"/>
                          </a:moveTo>
                          <a:lnTo>
                            <a:pt x="31399" y="29306"/>
                          </a:lnTo>
                          <a:lnTo>
                            <a:pt x="40250" y="33253"/>
                          </a:lnTo>
                          <a:lnTo>
                            <a:pt x="44376" y="23983"/>
                          </a:lnTo>
                          <a:close/>
                          <a:moveTo>
                            <a:pt x="35465" y="16507"/>
                          </a:moveTo>
                          <a:lnTo>
                            <a:pt x="28887" y="21710"/>
                          </a:lnTo>
                          <a:lnTo>
                            <a:pt x="44376" y="23504"/>
                          </a:lnTo>
                          <a:lnTo>
                            <a:pt x="39353" y="17225"/>
                          </a:lnTo>
                          <a:lnTo>
                            <a:pt x="35465" y="16507"/>
                          </a:lnTo>
                          <a:close/>
                          <a:moveTo>
                            <a:pt x="38815" y="36602"/>
                          </a:moveTo>
                          <a:lnTo>
                            <a:pt x="34748" y="35466"/>
                          </a:lnTo>
                          <a:lnTo>
                            <a:pt x="37439" y="39652"/>
                          </a:lnTo>
                          <a:lnTo>
                            <a:pt x="38815" y="36602"/>
                          </a:lnTo>
                          <a:close/>
                          <a:moveTo>
                            <a:pt x="28408" y="14473"/>
                          </a:moveTo>
                          <a:lnTo>
                            <a:pt x="27212" y="16208"/>
                          </a:lnTo>
                          <a:lnTo>
                            <a:pt x="29066" y="15849"/>
                          </a:lnTo>
                          <a:lnTo>
                            <a:pt x="28408" y="14473"/>
                          </a:lnTo>
                          <a:close/>
                          <a:moveTo>
                            <a:pt x="37858" y="40669"/>
                          </a:moveTo>
                          <a:lnTo>
                            <a:pt x="39173" y="44497"/>
                          </a:lnTo>
                          <a:lnTo>
                            <a:pt x="40430" y="43301"/>
                          </a:lnTo>
                          <a:lnTo>
                            <a:pt x="37858" y="40669"/>
                          </a:lnTo>
                          <a:close/>
                          <a:moveTo>
                            <a:pt x="42045" y="44975"/>
                          </a:moveTo>
                          <a:lnTo>
                            <a:pt x="39353" y="44975"/>
                          </a:lnTo>
                          <a:lnTo>
                            <a:pt x="41745" y="49820"/>
                          </a:lnTo>
                          <a:lnTo>
                            <a:pt x="50956" y="54066"/>
                          </a:lnTo>
                          <a:lnTo>
                            <a:pt x="42045" y="44975"/>
                          </a:lnTo>
                          <a:close/>
                          <a:moveTo>
                            <a:pt x="40668" y="43540"/>
                          </a:moveTo>
                          <a:lnTo>
                            <a:pt x="39532" y="44616"/>
                          </a:lnTo>
                          <a:lnTo>
                            <a:pt x="41685" y="44616"/>
                          </a:lnTo>
                          <a:lnTo>
                            <a:pt x="40668" y="43540"/>
                          </a:lnTo>
                          <a:close/>
                          <a:moveTo>
                            <a:pt x="42403" y="37619"/>
                          </a:moveTo>
                          <a:lnTo>
                            <a:pt x="37918" y="40011"/>
                          </a:lnTo>
                          <a:lnTo>
                            <a:pt x="42343" y="41506"/>
                          </a:lnTo>
                          <a:lnTo>
                            <a:pt x="45991" y="37978"/>
                          </a:lnTo>
                          <a:lnTo>
                            <a:pt x="42403" y="37619"/>
                          </a:lnTo>
                          <a:close/>
                          <a:moveTo>
                            <a:pt x="42045" y="41746"/>
                          </a:moveTo>
                          <a:lnTo>
                            <a:pt x="38037" y="40430"/>
                          </a:lnTo>
                          <a:lnTo>
                            <a:pt x="40609" y="43061"/>
                          </a:lnTo>
                          <a:lnTo>
                            <a:pt x="42045" y="41746"/>
                          </a:lnTo>
                          <a:close/>
                          <a:moveTo>
                            <a:pt x="39113" y="36722"/>
                          </a:moveTo>
                          <a:lnTo>
                            <a:pt x="37798" y="39652"/>
                          </a:lnTo>
                          <a:lnTo>
                            <a:pt x="41865" y="37499"/>
                          </a:lnTo>
                          <a:lnTo>
                            <a:pt x="39113" y="36722"/>
                          </a:lnTo>
                          <a:close/>
                          <a:moveTo>
                            <a:pt x="29186" y="12141"/>
                          </a:moveTo>
                          <a:lnTo>
                            <a:pt x="26853" y="10526"/>
                          </a:lnTo>
                          <a:lnTo>
                            <a:pt x="28408" y="13756"/>
                          </a:lnTo>
                          <a:lnTo>
                            <a:pt x="29126" y="12679"/>
                          </a:lnTo>
                          <a:lnTo>
                            <a:pt x="29186" y="12141"/>
                          </a:lnTo>
                          <a:close/>
                          <a:moveTo>
                            <a:pt x="29246" y="8433"/>
                          </a:moveTo>
                          <a:lnTo>
                            <a:pt x="26794" y="10048"/>
                          </a:lnTo>
                          <a:lnTo>
                            <a:pt x="29246" y="11722"/>
                          </a:lnTo>
                          <a:lnTo>
                            <a:pt x="29246" y="8433"/>
                          </a:lnTo>
                          <a:close/>
                          <a:moveTo>
                            <a:pt x="29306" y="1376"/>
                          </a:moveTo>
                          <a:lnTo>
                            <a:pt x="26794" y="9629"/>
                          </a:lnTo>
                          <a:lnTo>
                            <a:pt x="29246" y="8014"/>
                          </a:lnTo>
                          <a:lnTo>
                            <a:pt x="29306" y="1376"/>
                          </a:lnTo>
                          <a:close/>
                          <a:moveTo>
                            <a:pt x="29186" y="13337"/>
                          </a:moveTo>
                          <a:lnTo>
                            <a:pt x="28647" y="14174"/>
                          </a:lnTo>
                          <a:lnTo>
                            <a:pt x="29186" y="15311"/>
                          </a:lnTo>
                          <a:lnTo>
                            <a:pt x="29186" y="13337"/>
                          </a:lnTo>
                          <a:close/>
                          <a:moveTo>
                            <a:pt x="29544" y="12859"/>
                          </a:moveTo>
                          <a:lnTo>
                            <a:pt x="29544" y="15849"/>
                          </a:lnTo>
                          <a:lnTo>
                            <a:pt x="34867" y="16148"/>
                          </a:lnTo>
                          <a:lnTo>
                            <a:pt x="29784" y="12619"/>
                          </a:lnTo>
                          <a:lnTo>
                            <a:pt x="29544" y="12859"/>
                          </a:lnTo>
                          <a:close/>
                          <a:moveTo>
                            <a:pt x="42403" y="41865"/>
                          </a:moveTo>
                          <a:lnTo>
                            <a:pt x="40908" y="43301"/>
                          </a:lnTo>
                          <a:lnTo>
                            <a:pt x="42164" y="44616"/>
                          </a:lnTo>
                          <a:lnTo>
                            <a:pt x="48324" y="44556"/>
                          </a:lnTo>
                          <a:lnTo>
                            <a:pt x="48085" y="43779"/>
                          </a:lnTo>
                          <a:lnTo>
                            <a:pt x="42403" y="41865"/>
                          </a:lnTo>
                          <a:close/>
                          <a:moveTo>
                            <a:pt x="48444" y="44915"/>
                          </a:moveTo>
                          <a:lnTo>
                            <a:pt x="42523" y="44975"/>
                          </a:lnTo>
                          <a:lnTo>
                            <a:pt x="51374" y="53946"/>
                          </a:lnTo>
                          <a:lnTo>
                            <a:pt x="48444" y="44915"/>
                          </a:lnTo>
                          <a:close/>
                          <a:moveTo>
                            <a:pt x="29544" y="8253"/>
                          </a:moveTo>
                          <a:lnTo>
                            <a:pt x="29544" y="12021"/>
                          </a:lnTo>
                          <a:lnTo>
                            <a:pt x="29664" y="12081"/>
                          </a:lnTo>
                          <a:lnTo>
                            <a:pt x="32296" y="8253"/>
                          </a:lnTo>
                          <a:lnTo>
                            <a:pt x="31757" y="6818"/>
                          </a:lnTo>
                          <a:lnTo>
                            <a:pt x="29544" y="8253"/>
                          </a:lnTo>
                          <a:close/>
                          <a:moveTo>
                            <a:pt x="40430" y="33731"/>
                          </a:moveTo>
                          <a:lnTo>
                            <a:pt x="39233" y="36423"/>
                          </a:lnTo>
                          <a:lnTo>
                            <a:pt x="42224" y="37260"/>
                          </a:lnTo>
                          <a:lnTo>
                            <a:pt x="43241" y="34987"/>
                          </a:lnTo>
                          <a:lnTo>
                            <a:pt x="40430" y="33731"/>
                          </a:lnTo>
                          <a:close/>
                          <a:moveTo>
                            <a:pt x="32415" y="8672"/>
                          </a:moveTo>
                          <a:lnTo>
                            <a:pt x="29963" y="12261"/>
                          </a:lnTo>
                          <a:lnTo>
                            <a:pt x="35107" y="15849"/>
                          </a:lnTo>
                          <a:lnTo>
                            <a:pt x="32415" y="8672"/>
                          </a:lnTo>
                          <a:close/>
                          <a:moveTo>
                            <a:pt x="46291" y="38157"/>
                          </a:moveTo>
                          <a:lnTo>
                            <a:pt x="42702" y="41626"/>
                          </a:lnTo>
                          <a:lnTo>
                            <a:pt x="47966" y="43360"/>
                          </a:lnTo>
                          <a:lnTo>
                            <a:pt x="46291" y="38157"/>
                          </a:lnTo>
                          <a:close/>
                          <a:moveTo>
                            <a:pt x="29604" y="1136"/>
                          </a:moveTo>
                          <a:lnTo>
                            <a:pt x="29544" y="7835"/>
                          </a:lnTo>
                          <a:lnTo>
                            <a:pt x="31578" y="6519"/>
                          </a:lnTo>
                          <a:lnTo>
                            <a:pt x="29604" y="1136"/>
                          </a:lnTo>
                          <a:close/>
                          <a:moveTo>
                            <a:pt x="44436" y="24760"/>
                          </a:moveTo>
                          <a:lnTo>
                            <a:pt x="40609" y="33432"/>
                          </a:lnTo>
                          <a:lnTo>
                            <a:pt x="43420" y="34688"/>
                          </a:lnTo>
                          <a:lnTo>
                            <a:pt x="44436" y="24760"/>
                          </a:lnTo>
                          <a:close/>
                          <a:moveTo>
                            <a:pt x="43659" y="35047"/>
                          </a:moveTo>
                          <a:lnTo>
                            <a:pt x="42583" y="37320"/>
                          </a:lnTo>
                          <a:lnTo>
                            <a:pt x="46171" y="37679"/>
                          </a:lnTo>
                          <a:lnTo>
                            <a:pt x="45932" y="32894"/>
                          </a:lnTo>
                          <a:lnTo>
                            <a:pt x="43659" y="35047"/>
                          </a:lnTo>
                          <a:close/>
                          <a:moveTo>
                            <a:pt x="32655" y="8313"/>
                          </a:moveTo>
                          <a:lnTo>
                            <a:pt x="35465" y="15909"/>
                          </a:lnTo>
                          <a:lnTo>
                            <a:pt x="36722" y="13815"/>
                          </a:lnTo>
                          <a:lnTo>
                            <a:pt x="35047" y="4844"/>
                          </a:lnTo>
                          <a:lnTo>
                            <a:pt x="32655" y="8313"/>
                          </a:lnTo>
                          <a:close/>
                          <a:moveTo>
                            <a:pt x="36901" y="14174"/>
                          </a:moveTo>
                          <a:lnTo>
                            <a:pt x="35705" y="16208"/>
                          </a:lnTo>
                          <a:lnTo>
                            <a:pt x="39054" y="16806"/>
                          </a:lnTo>
                          <a:lnTo>
                            <a:pt x="36901" y="14174"/>
                          </a:lnTo>
                          <a:close/>
                          <a:moveTo>
                            <a:pt x="31997" y="6639"/>
                          </a:moveTo>
                          <a:lnTo>
                            <a:pt x="32475" y="7895"/>
                          </a:lnTo>
                          <a:lnTo>
                            <a:pt x="34449" y="5024"/>
                          </a:lnTo>
                          <a:lnTo>
                            <a:pt x="31997" y="6639"/>
                          </a:lnTo>
                          <a:close/>
                          <a:moveTo>
                            <a:pt x="29844" y="718"/>
                          </a:moveTo>
                          <a:lnTo>
                            <a:pt x="31937" y="6340"/>
                          </a:lnTo>
                          <a:lnTo>
                            <a:pt x="34867" y="4426"/>
                          </a:lnTo>
                          <a:lnTo>
                            <a:pt x="29844" y="718"/>
                          </a:lnTo>
                          <a:close/>
                          <a:moveTo>
                            <a:pt x="44736" y="25000"/>
                          </a:moveTo>
                          <a:lnTo>
                            <a:pt x="43719" y="34509"/>
                          </a:lnTo>
                          <a:lnTo>
                            <a:pt x="45872" y="32475"/>
                          </a:lnTo>
                          <a:lnTo>
                            <a:pt x="44736" y="25000"/>
                          </a:lnTo>
                          <a:close/>
                          <a:moveTo>
                            <a:pt x="48803" y="44915"/>
                          </a:moveTo>
                          <a:lnTo>
                            <a:pt x="51494" y="53408"/>
                          </a:lnTo>
                          <a:lnTo>
                            <a:pt x="51254" y="44915"/>
                          </a:lnTo>
                          <a:lnTo>
                            <a:pt x="48803" y="44915"/>
                          </a:lnTo>
                          <a:close/>
                          <a:moveTo>
                            <a:pt x="48504" y="43898"/>
                          </a:moveTo>
                          <a:lnTo>
                            <a:pt x="48743" y="44556"/>
                          </a:lnTo>
                          <a:lnTo>
                            <a:pt x="50477" y="44556"/>
                          </a:lnTo>
                          <a:lnTo>
                            <a:pt x="48504" y="43898"/>
                          </a:lnTo>
                          <a:close/>
                          <a:moveTo>
                            <a:pt x="46829" y="38755"/>
                          </a:moveTo>
                          <a:lnTo>
                            <a:pt x="48324" y="43480"/>
                          </a:lnTo>
                          <a:lnTo>
                            <a:pt x="50956" y="44377"/>
                          </a:lnTo>
                          <a:lnTo>
                            <a:pt x="46829" y="38755"/>
                          </a:lnTo>
                          <a:close/>
                          <a:moveTo>
                            <a:pt x="43241" y="17583"/>
                          </a:moveTo>
                          <a:lnTo>
                            <a:pt x="40130" y="16148"/>
                          </a:lnTo>
                          <a:lnTo>
                            <a:pt x="37678" y="14593"/>
                          </a:lnTo>
                          <a:lnTo>
                            <a:pt x="39532" y="16926"/>
                          </a:lnTo>
                          <a:lnTo>
                            <a:pt x="43241" y="17583"/>
                          </a:lnTo>
                          <a:close/>
                          <a:moveTo>
                            <a:pt x="46291" y="32535"/>
                          </a:moveTo>
                          <a:lnTo>
                            <a:pt x="46530" y="36602"/>
                          </a:lnTo>
                          <a:lnTo>
                            <a:pt x="48264" y="28708"/>
                          </a:lnTo>
                          <a:lnTo>
                            <a:pt x="46291" y="32535"/>
                          </a:lnTo>
                          <a:close/>
                          <a:moveTo>
                            <a:pt x="44376" y="18122"/>
                          </a:moveTo>
                          <a:lnTo>
                            <a:pt x="39832" y="17284"/>
                          </a:lnTo>
                          <a:lnTo>
                            <a:pt x="44556" y="23146"/>
                          </a:lnTo>
                          <a:lnTo>
                            <a:pt x="44376" y="18122"/>
                          </a:lnTo>
                          <a:close/>
                          <a:moveTo>
                            <a:pt x="44975" y="24162"/>
                          </a:moveTo>
                          <a:lnTo>
                            <a:pt x="46171" y="31997"/>
                          </a:lnTo>
                          <a:lnTo>
                            <a:pt x="48444" y="27451"/>
                          </a:lnTo>
                          <a:lnTo>
                            <a:pt x="44975" y="24162"/>
                          </a:lnTo>
                          <a:close/>
                          <a:moveTo>
                            <a:pt x="44736" y="18839"/>
                          </a:moveTo>
                          <a:lnTo>
                            <a:pt x="44915" y="23564"/>
                          </a:lnTo>
                          <a:lnTo>
                            <a:pt x="48204" y="26674"/>
                          </a:lnTo>
                          <a:lnTo>
                            <a:pt x="44736" y="18839"/>
                          </a:lnTo>
                          <a:close/>
                        </a:path>
                      </a:pathLst>
                    </a:custGeom>
                    <a:noFill/>
                    <a:ln w="6350" cap="flat">
                      <a:solidFill>
                        <a:schemeClr val="bg1">
                          <a:alpha val="80000"/>
                        </a:schemeClr>
                      </a:solidFill>
                      <a:prstDash val="solid"/>
                      <a:miter/>
                    </a:ln>
                  </p:spPr>
                  <p:txBody>
                    <a:bodyPr rtlCol="0" anchor="ctr"/>
                    <a:lstStyle/>
                    <a:p>
                      <a:endParaRPr lang="en-GB"/>
                    </a:p>
                  </p:txBody>
                </p:sp>
                <p:sp>
                  <p:nvSpPr>
                    <p:cNvPr id="5864" name="Vrije vorm: vorm 5863">
                      <a:extLst>
                        <a:ext uri="{FF2B5EF4-FFF2-40B4-BE49-F238E27FC236}">
                          <a16:creationId xmlns:a16="http://schemas.microsoft.com/office/drawing/2014/main" id="{0E5A661C-840D-4710-AD30-8D60B93DC3F0}"/>
                        </a:ext>
                      </a:extLst>
                    </p:cNvPr>
                    <p:cNvSpPr/>
                    <p:nvPr/>
                  </p:nvSpPr>
                  <p:spPr>
                    <a:xfrm>
                      <a:off x="7739672" y="3062887"/>
                      <a:ext cx="6040" cy="10346"/>
                    </a:xfrm>
                    <a:custGeom>
                      <a:avLst/>
                      <a:gdLst>
                        <a:gd name="connsiteX0" fmla="*/ 3110 w 6040"/>
                        <a:gd name="connsiteY0" fmla="*/ 10287 h 10346"/>
                        <a:gd name="connsiteX1" fmla="*/ 0 w 6040"/>
                        <a:gd name="connsiteY1" fmla="*/ 179 h 10346"/>
                        <a:gd name="connsiteX2" fmla="*/ 239 w 6040"/>
                        <a:gd name="connsiteY2" fmla="*/ 0 h 10346"/>
                        <a:gd name="connsiteX3" fmla="*/ 5981 w 6040"/>
                        <a:gd name="connsiteY3" fmla="*/ 5024 h 10346"/>
                        <a:gd name="connsiteX4" fmla="*/ 6041 w 6040"/>
                        <a:gd name="connsiteY4" fmla="*/ 5263 h 10346"/>
                        <a:gd name="connsiteX5" fmla="*/ 3409 w 6040"/>
                        <a:gd name="connsiteY5" fmla="*/ 10347 h 10346"/>
                        <a:gd name="connsiteX6" fmla="*/ 3110 w 6040"/>
                        <a:gd name="connsiteY6" fmla="*/ 10287 h 10346"/>
                        <a:gd name="connsiteX7" fmla="*/ 538 w 6040"/>
                        <a:gd name="connsiteY7" fmla="*/ 598 h 10346"/>
                        <a:gd name="connsiteX8" fmla="*/ 3349 w 6040"/>
                        <a:gd name="connsiteY8" fmla="*/ 9748 h 10346"/>
                        <a:gd name="connsiteX9" fmla="*/ 5741 w 6040"/>
                        <a:gd name="connsiteY9" fmla="*/ 5143 h 10346"/>
                        <a:gd name="connsiteX10" fmla="*/ 538 w 6040"/>
                        <a:gd name="connsiteY10" fmla="*/ 598 h 1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40" h="10346">
                          <a:moveTo>
                            <a:pt x="3110" y="10287"/>
                          </a:moveTo>
                          <a:lnTo>
                            <a:pt x="0" y="179"/>
                          </a:lnTo>
                          <a:lnTo>
                            <a:pt x="239" y="0"/>
                          </a:lnTo>
                          <a:lnTo>
                            <a:pt x="5981" y="5024"/>
                          </a:lnTo>
                          <a:lnTo>
                            <a:pt x="6041" y="5263"/>
                          </a:lnTo>
                          <a:lnTo>
                            <a:pt x="3409" y="10347"/>
                          </a:lnTo>
                          <a:lnTo>
                            <a:pt x="3110" y="10287"/>
                          </a:lnTo>
                          <a:close/>
                          <a:moveTo>
                            <a:pt x="538" y="598"/>
                          </a:moveTo>
                          <a:lnTo>
                            <a:pt x="3349" y="9748"/>
                          </a:lnTo>
                          <a:lnTo>
                            <a:pt x="5741" y="5143"/>
                          </a:lnTo>
                          <a:lnTo>
                            <a:pt x="538" y="598"/>
                          </a:lnTo>
                          <a:close/>
                        </a:path>
                      </a:pathLst>
                    </a:custGeom>
                    <a:noFill/>
                    <a:ln w="6350" cap="flat">
                      <a:solidFill>
                        <a:schemeClr val="bg1">
                          <a:alpha val="80000"/>
                        </a:schemeClr>
                      </a:solidFill>
                      <a:prstDash val="solid"/>
                      <a:miter/>
                    </a:ln>
                  </p:spPr>
                  <p:txBody>
                    <a:bodyPr rtlCol="0" anchor="ctr"/>
                    <a:lstStyle/>
                    <a:p>
                      <a:endParaRPr lang="en-GB"/>
                    </a:p>
                  </p:txBody>
                </p:sp>
                <p:sp>
                  <p:nvSpPr>
                    <p:cNvPr id="5865" name="Vrije vorm: vorm 5864">
                      <a:extLst>
                        <a:ext uri="{FF2B5EF4-FFF2-40B4-BE49-F238E27FC236}">
                          <a16:creationId xmlns:a16="http://schemas.microsoft.com/office/drawing/2014/main" id="{B9537BC1-9244-4EEF-962A-59FF90B70C28}"/>
                        </a:ext>
                      </a:extLst>
                    </p:cNvPr>
                    <p:cNvSpPr/>
                    <p:nvPr/>
                  </p:nvSpPr>
                  <p:spPr>
                    <a:xfrm>
                      <a:off x="7808091" y="2863550"/>
                      <a:ext cx="6997" cy="15609"/>
                    </a:xfrm>
                    <a:custGeom>
                      <a:avLst/>
                      <a:gdLst>
                        <a:gd name="connsiteX0" fmla="*/ 0 w 6997"/>
                        <a:gd name="connsiteY0" fmla="*/ 7655 h 15609"/>
                        <a:gd name="connsiteX1" fmla="*/ 1795 w 6997"/>
                        <a:gd name="connsiteY1" fmla="*/ 4187 h 15609"/>
                        <a:gd name="connsiteX2" fmla="*/ 6758 w 6997"/>
                        <a:gd name="connsiteY2" fmla="*/ 0 h 15609"/>
                        <a:gd name="connsiteX3" fmla="*/ 6998 w 6997"/>
                        <a:gd name="connsiteY3" fmla="*/ 239 h 15609"/>
                        <a:gd name="connsiteX4" fmla="*/ 4964 w 6997"/>
                        <a:gd name="connsiteY4" fmla="*/ 4067 h 15609"/>
                        <a:gd name="connsiteX5" fmla="*/ 4665 w 6997"/>
                        <a:gd name="connsiteY5" fmla="*/ 9749 h 15609"/>
                        <a:gd name="connsiteX6" fmla="*/ 4307 w 6997"/>
                        <a:gd name="connsiteY6" fmla="*/ 9749 h 15609"/>
                        <a:gd name="connsiteX7" fmla="*/ 4545 w 6997"/>
                        <a:gd name="connsiteY7" fmla="*/ 4426 h 15609"/>
                        <a:gd name="connsiteX8" fmla="*/ 2392 w 6997"/>
                        <a:gd name="connsiteY8" fmla="*/ 6160 h 15609"/>
                        <a:gd name="connsiteX9" fmla="*/ 4545 w 6997"/>
                        <a:gd name="connsiteY9" fmla="*/ 15550 h 15609"/>
                        <a:gd name="connsiteX10" fmla="*/ 4247 w 6997"/>
                        <a:gd name="connsiteY10" fmla="*/ 15610 h 15609"/>
                        <a:gd name="connsiteX11" fmla="*/ 2093 w 6997"/>
                        <a:gd name="connsiteY11" fmla="*/ 6399 h 15609"/>
                        <a:gd name="connsiteX12" fmla="*/ 180 w 6997"/>
                        <a:gd name="connsiteY12" fmla="*/ 7895 h 15609"/>
                        <a:gd name="connsiteX13" fmla="*/ 0 w 6997"/>
                        <a:gd name="connsiteY13" fmla="*/ 7655 h 15609"/>
                        <a:gd name="connsiteX14" fmla="*/ 1795 w 6997"/>
                        <a:gd name="connsiteY14" fmla="*/ 4785 h 15609"/>
                        <a:gd name="connsiteX15" fmla="*/ 658 w 6997"/>
                        <a:gd name="connsiteY15" fmla="*/ 7057 h 15609"/>
                        <a:gd name="connsiteX16" fmla="*/ 2093 w 6997"/>
                        <a:gd name="connsiteY16" fmla="*/ 5921 h 15609"/>
                        <a:gd name="connsiteX17" fmla="*/ 1795 w 6997"/>
                        <a:gd name="connsiteY17" fmla="*/ 4785 h 15609"/>
                        <a:gd name="connsiteX18" fmla="*/ 2093 w 6997"/>
                        <a:gd name="connsiteY18" fmla="*/ 4486 h 15609"/>
                        <a:gd name="connsiteX19" fmla="*/ 2392 w 6997"/>
                        <a:gd name="connsiteY19" fmla="*/ 5741 h 15609"/>
                        <a:gd name="connsiteX20" fmla="*/ 4247 w 6997"/>
                        <a:gd name="connsiteY20" fmla="*/ 4246 h 15609"/>
                        <a:gd name="connsiteX21" fmla="*/ 2093 w 6997"/>
                        <a:gd name="connsiteY21" fmla="*/ 4486 h 15609"/>
                        <a:gd name="connsiteX22" fmla="*/ 6280 w 6997"/>
                        <a:gd name="connsiteY22" fmla="*/ 837 h 15609"/>
                        <a:gd name="connsiteX23" fmla="*/ 2392 w 6997"/>
                        <a:gd name="connsiteY23" fmla="*/ 4067 h 15609"/>
                        <a:gd name="connsiteX24" fmla="*/ 4665 w 6997"/>
                        <a:gd name="connsiteY24" fmla="*/ 3828 h 15609"/>
                        <a:gd name="connsiteX25" fmla="*/ 6280 w 6997"/>
                        <a:gd name="connsiteY25" fmla="*/ 837 h 1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997" h="15609">
                          <a:moveTo>
                            <a:pt x="0" y="7655"/>
                          </a:moveTo>
                          <a:lnTo>
                            <a:pt x="1795" y="4187"/>
                          </a:lnTo>
                          <a:lnTo>
                            <a:pt x="6758" y="0"/>
                          </a:lnTo>
                          <a:lnTo>
                            <a:pt x="6998" y="239"/>
                          </a:lnTo>
                          <a:lnTo>
                            <a:pt x="4964" y="4067"/>
                          </a:lnTo>
                          <a:lnTo>
                            <a:pt x="4665" y="9749"/>
                          </a:lnTo>
                          <a:lnTo>
                            <a:pt x="4307" y="9749"/>
                          </a:lnTo>
                          <a:lnTo>
                            <a:pt x="4545" y="4426"/>
                          </a:lnTo>
                          <a:lnTo>
                            <a:pt x="2392" y="6160"/>
                          </a:lnTo>
                          <a:lnTo>
                            <a:pt x="4545" y="15550"/>
                          </a:lnTo>
                          <a:lnTo>
                            <a:pt x="4247" y="15610"/>
                          </a:lnTo>
                          <a:lnTo>
                            <a:pt x="2093" y="6399"/>
                          </a:lnTo>
                          <a:lnTo>
                            <a:pt x="180" y="7895"/>
                          </a:lnTo>
                          <a:lnTo>
                            <a:pt x="0" y="7655"/>
                          </a:lnTo>
                          <a:close/>
                          <a:moveTo>
                            <a:pt x="1795" y="4785"/>
                          </a:moveTo>
                          <a:lnTo>
                            <a:pt x="658" y="7057"/>
                          </a:lnTo>
                          <a:lnTo>
                            <a:pt x="2093" y="5921"/>
                          </a:lnTo>
                          <a:lnTo>
                            <a:pt x="1795" y="4785"/>
                          </a:lnTo>
                          <a:close/>
                          <a:moveTo>
                            <a:pt x="2093" y="4486"/>
                          </a:moveTo>
                          <a:lnTo>
                            <a:pt x="2392" y="5741"/>
                          </a:lnTo>
                          <a:lnTo>
                            <a:pt x="4247" y="4246"/>
                          </a:lnTo>
                          <a:lnTo>
                            <a:pt x="2093" y="4486"/>
                          </a:lnTo>
                          <a:close/>
                          <a:moveTo>
                            <a:pt x="6280" y="837"/>
                          </a:moveTo>
                          <a:lnTo>
                            <a:pt x="2392" y="4067"/>
                          </a:lnTo>
                          <a:lnTo>
                            <a:pt x="4665" y="3828"/>
                          </a:lnTo>
                          <a:lnTo>
                            <a:pt x="6280" y="837"/>
                          </a:lnTo>
                          <a:close/>
                        </a:path>
                      </a:pathLst>
                    </a:custGeom>
                    <a:noFill/>
                    <a:ln w="6350" cap="flat">
                      <a:solidFill>
                        <a:schemeClr val="bg1">
                          <a:alpha val="80000"/>
                        </a:schemeClr>
                      </a:solidFill>
                      <a:prstDash val="solid"/>
                      <a:miter/>
                    </a:ln>
                  </p:spPr>
                  <p:txBody>
                    <a:bodyPr rtlCol="0" anchor="ctr"/>
                    <a:lstStyle/>
                    <a:p>
                      <a:endParaRPr lang="en-GB"/>
                    </a:p>
                  </p:txBody>
                </p:sp>
                <p:sp>
                  <p:nvSpPr>
                    <p:cNvPr id="5866" name="Vrije vorm: vorm 5865">
                      <a:extLst>
                        <a:ext uri="{FF2B5EF4-FFF2-40B4-BE49-F238E27FC236}">
                          <a16:creationId xmlns:a16="http://schemas.microsoft.com/office/drawing/2014/main" id="{9A3151EB-928C-4AF9-A941-941A03F830F4}"/>
                        </a:ext>
                      </a:extLst>
                    </p:cNvPr>
                    <p:cNvSpPr/>
                    <p:nvPr/>
                  </p:nvSpPr>
                  <p:spPr>
                    <a:xfrm>
                      <a:off x="7814132" y="2882509"/>
                      <a:ext cx="11483" cy="7535"/>
                    </a:xfrm>
                    <a:custGeom>
                      <a:avLst/>
                      <a:gdLst>
                        <a:gd name="connsiteX0" fmla="*/ 0 w 11483"/>
                        <a:gd name="connsiteY0" fmla="*/ 5442 h 7535"/>
                        <a:gd name="connsiteX1" fmla="*/ 0 w 11483"/>
                        <a:gd name="connsiteY1" fmla="*/ 5084 h 7535"/>
                        <a:gd name="connsiteX2" fmla="*/ 6220 w 11483"/>
                        <a:gd name="connsiteY2" fmla="*/ 4246 h 7535"/>
                        <a:gd name="connsiteX3" fmla="*/ 2452 w 11483"/>
                        <a:gd name="connsiteY3" fmla="*/ 239 h 7535"/>
                        <a:gd name="connsiteX4" fmla="*/ 2692 w 11483"/>
                        <a:gd name="connsiteY4" fmla="*/ 0 h 7535"/>
                        <a:gd name="connsiteX5" fmla="*/ 6639 w 11483"/>
                        <a:gd name="connsiteY5" fmla="*/ 4186 h 7535"/>
                        <a:gd name="connsiteX6" fmla="*/ 11423 w 11483"/>
                        <a:gd name="connsiteY6" fmla="*/ 4964 h 7535"/>
                        <a:gd name="connsiteX7" fmla="*/ 11483 w 11483"/>
                        <a:gd name="connsiteY7" fmla="*/ 5323 h 7535"/>
                        <a:gd name="connsiteX8" fmla="*/ 5682 w 11483"/>
                        <a:gd name="connsiteY8" fmla="*/ 7536 h 7535"/>
                        <a:gd name="connsiteX9" fmla="*/ 5562 w 11483"/>
                        <a:gd name="connsiteY9" fmla="*/ 7536 h 7535"/>
                        <a:gd name="connsiteX10" fmla="*/ 0 w 11483"/>
                        <a:gd name="connsiteY10" fmla="*/ 5442 h 7535"/>
                        <a:gd name="connsiteX11" fmla="*/ 6340 w 11483"/>
                        <a:gd name="connsiteY11" fmla="*/ 4605 h 7535"/>
                        <a:gd name="connsiteX12" fmla="*/ 718 w 11483"/>
                        <a:gd name="connsiteY12" fmla="*/ 5383 h 7535"/>
                        <a:gd name="connsiteX13" fmla="*/ 5503 w 11483"/>
                        <a:gd name="connsiteY13" fmla="*/ 7177 h 7535"/>
                        <a:gd name="connsiteX14" fmla="*/ 6340 w 11483"/>
                        <a:gd name="connsiteY14" fmla="*/ 4605 h 7535"/>
                        <a:gd name="connsiteX15" fmla="*/ 6698 w 11483"/>
                        <a:gd name="connsiteY15" fmla="*/ 4605 h 7535"/>
                        <a:gd name="connsiteX16" fmla="*/ 5921 w 11483"/>
                        <a:gd name="connsiteY16" fmla="*/ 7117 h 7535"/>
                        <a:gd name="connsiteX17" fmla="*/ 10766 w 11483"/>
                        <a:gd name="connsiteY17" fmla="*/ 5263 h 7535"/>
                        <a:gd name="connsiteX18" fmla="*/ 6698 w 11483"/>
                        <a:gd name="connsiteY18" fmla="*/ 4605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83" h="7535">
                          <a:moveTo>
                            <a:pt x="0" y="5442"/>
                          </a:moveTo>
                          <a:lnTo>
                            <a:pt x="0" y="5084"/>
                          </a:lnTo>
                          <a:lnTo>
                            <a:pt x="6220" y="4246"/>
                          </a:lnTo>
                          <a:lnTo>
                            <a:pt x="2452" y="239"/>
                          </a:lnTo>
                          <a:lnTo>
                            <a:pt x="2692" y="0"/>
                          </a:lnTo>
                          <a:lnTo>
                            <a:pt x="6639" y="4186"/>
                          </a:lnTo>
                          <a:lnTo>
                            <a:pt x="11423" y="4964"/>
                          </a:lnTo>
                          <a:lnTo>
                            <a:pt x="11483" y="5323"/>
                          </a:lnTo>
                          <a:lnTo>
                            <a:pt x="5682" y="7536"/>
                          </a:lnTo>
                          <a:lnTo>
                            <a:pt x="5562" y="7536"/>
                          </a:lnTo>
                          <a:lnTo>
                            <a:pt x="0" y="5442"/>
                          </a:lnTo>
                          <a:close/>
                          <a:moveTo>
                            <a:pt x="6340" y="4605"/>
                          </a:moveTo>
                          <a:lnTo>
                            <a:pt x="718" y="5383"/>
                          </a:lnTo>
                          <a:lnTo>
                            <a:pt x="5503" y="7177"/>
                          </a:lnTo>
                          <a:lnTo>
                            <a:pt x="6340" y="4605"/>
                          </a:lnTo>
                          <a:close/>
                          <a:moveTo>
                            <a:pt x="6698" y="4605"/>
                          </a:moveTo>
                          <a:lnTo>
                            <a:pt x="5921" y="7117"/>
                          </a:lnTo>
                          <a:lnTo>
                            <a:pt x="10766" y="5263"/>
                          </a:lnTo>
                          <a:lnTo>
                            <a:pt x="6698" y="4605"/>
                          </a:lnTo>
                          <a:close/>
                        </a:path>
                      </a:pathLst>
                    </a:custGeom>
                    <a:noFill/>
                    <a:ln w="6350" cap="flat">
                      <a:solidFill>
                        <a:schemeClr val="bg1">
                          <a:alpha val="80000"/>
                        </a:schemeClr>
                      </a:solidFill>
                      <a:prstDash val="solid"/>
                      <a:miter/>
                    </a:ln>
                  </p:spPr>
                  <p:txBody>
                    <a:bodyPr rtlCol="0" anchor="ctr"/>
                    <a:lstStyle/>
                    <a:p>
                      <a:endParaRPr lang="en-GB"/>
                    </a:p>
                  </p:txBody>
                </p:sp>
                <p:sp>
                  <p:nvSpPr>
                    <p:cNvPr id="5867" name="Vrije vorm: vorm 5866">
                      <a:extLst>
                        <a:ext uri="{FF2B5EF4-FFF2-40B4-BE49-F238E27FC236}">
                          <a16:creationId xmlns:a16="http://schemas.microsoft.com/office/drawing/2014/main" id="{228CEA30-E76E-45B8-8182-EF7BAF3B8F35}"/>
                        </a:ext>
                      </a:extLst>
                    </p:cNvPr>
                    <p:cNvSpPr/>
                    <p:nvPr/>
                  </p:nvSpPr>
                  <p:spPr>
                    <a:xfrm>
                      <a:off x="7772566" y="2966956"/>
                      <a:ext cx="35166" cy="45453"/>
                    </a:xfrm>
                    <a:custGeom>
                      <a:avLst/>
                      <a:gdLst>
                        <a:gd name="connsiteX0" fmla="*/ 0 w 35166"/>
                        <a:gd name="connsiteY0" fmla="*/ 299 h 45453"/>
                        <a:gd name="connsiteX1" fmla="*/ 120 w 35166"/>
                        <a:gd name="connsiteY1" fmla="*/ 0 h 45453"/>
                        <a:gd name="connsiteX2" fmla="*/ 35047 w 35166"/>
                        <a:gd name="connsiteY2" fmla="*/ 14354 h 45453"/>
                        <a:gd name="connsiteX3" fmla="*/ 35167 w 35166"/>
                        <a:gd name="connsiteY3" fmla="*/ 14593 h 45453"/>
                        <a:gd name="connsiteX4" fmla="*/ 18122 w 35166"/>
                        <a:gd name="connsiteY4" fmla="*/ 45454 h 45453"/>
                        <a:gd name="connsiteX5" fmla="*/ 17822 w 35166"/>
                        <a:gd name="connsiteY5" fmla="*/ 45274 h 45453"/>
                        <a:gd name="connsiteX6" fmla="*/ 34748 w 35166"/>
                        <a:gd name="connsiteY6" fmla="*/ 14593 h 4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66" h="45453">
                          <a:moveTo>
                            <a:pt x="0" y="299"/>
                          </a:moveTo>
                          <a:lnTo>
                            <a:pt x="120" y="0"/>
                          </a:lnTo>
                          <a:lnTo>
                            <a:pt x="35047" y="14354"/>
                          </a:lnTo>
                          <a:lnTo>
                            <a:pt x="35167" y="14593"/>
                          </a:lnTo>
                          <a:lnTo>
                            <a:pt x="18122" y="45454"/>
                          </a:lnTo>
                          <a:lnTo>
                            <a:pt x="17822" y="45274"/>
                          </a:lnTo>
                          <a:lnTo>
                            <a:pt x="34748" y="14593"/>
                          </a:lnTo>
                          <a:close/>
                        </a:path>
                      </a:pathLst>
                    </a:custGeom>
                    <a:noFill/>
                    <a:ln w="6350" cap="flat">
                      <a:solidFill>
                        <a:schemeClr val="bg1">
                          <a:alpha val="80000"/>
                        </a:schemeClr>
                      </a:solidFill>
                      <a:prstDash val="solid"/>
                      <a:miter/>
                    </a:ln>
                  </p:spPr>
                  <p:txBody>
                    <a:bodyPr rtlCol="0" anchor="ctr"/>
                    <a:lstStyle/>
                    <a:p>
                      <a:endParaRPr lang="en-GB"/>
                    </a:p>
                  </p:txBody>
                </p:sp>
              </p:grpSp>
              <p:sp>
                <p:nvSpPr>
                  <p:cNvPr id="5861" name="Vrije vorm: vorm 5860">
                    <a:extLst>
                      <a:ext uri="{FF2B5EF4-FFF2-40B4-BE49-F238E27FC236}">
                        <a16:creationId xmlns:a16="http://schemas.microsoft.com/office/drawing/2014/main" id="{4C05B543-90A1-4F87-A5BE-E0AEA917625D}"/>
                      </a:ext>
                    </a:extLst>
                  </p:cNvPr>
                  <p:cNvSpPr/>
                  <p:nvPr/>
                </p:nvSpPr>
                <p:spPr>
                  <a:xfrm>
                    <a:off x="7792302" y="2872162"/>
                    <a:ext cx="1256" cy="1913"/>
                  </a:xfrm>
                  <a:custGeom>
                    <a:avLst/>
                    <a:gdLst>
                      <a:gd name="connsiteX0" fmla="*/ 0 w 1256"/>
                      <a:gd name="connsiteY0" fmla="*/ 120 h 1913"/>
                      <a:gd name="connsiteX1" fmla="*/ 299 w 1256"/>
                      <a:gd name="connsiteY1" fmla="*/ 0 h 1913"/>
                      <a:gd name="connsiteX2" fmla="*/ 1256 w 1256"/>
                      <a:gd name="connsiteY2" fmla="*/ 1734 h 1913"/>
                      <a:gd name="connsiteX3" fmla="*/ 957 w 1256"/>
                      <a:gd name="connsiteY3" fmla="*/ 1914 h 1913"/>
                    </a:gdLst>
                    <a:ahLst/>
                    <a:cxnLst>
                      <a:cxn ang="0">
                        <a:pos x="connsiteX0" y="connsiteY0"/>
                      </a:cxn>
                      <a:cxn ang="0">
                        <a:pos x="connsiteX1" y="connsiteY1"/>
                      </a:cxn>
                      <a:cxn ang="0">
                        <a:pos x="connsiteX2" y="connsiteY2"/>
                      </a:cxn>
                      <a:cxn ang="0">
                        <a:pos x="connsiteX3" y="connsiteY3"/>
                      </a:cxn>
                    </a:cxnLst>
                    <a:rect l="l" t="t" r="r" b="b"/>
                    <a:pathLst>
                      <a:path w="1256" h="1913">
                        <a:moveTo>
                          <a:pt x="0" y="120"/>
                        </a:moveTo>
                        <a:lnTo>
                          <a:pt x="299" y="0"/>
                        </a:lnTo>
                        <a:lnTo>
                          <a:pt x="1256" y="1734"/>
                        </a:lnTo>
                        <a:lnTo>
                          <a:pt x="957" y="1914"/>
                        </a:lnTo>
                        <a:close/>
                      </a:path>
                    </a:pathLst>
                  </a:custGeom>
                  <a:noFill/>
                  <a:ln w="6350" cap="flat">
                    <a:solidFill>
                      <a:schemeClr val="bg1">
                        <a:alpha val="80000"/>
                      </a:schemeClr>
                    </a:solidFill>
                    <a:prstDash val="solid"/>
                    <a:miter/>
                  </a:ln>
                </p:spPr>
                <p:txBody>
                  <a:bodyPr rtlCol="0" anchor="ctr"/>
                  <a:lstStyle/>
                  <a:p>
                    <a:endParaRPr lang="en-GB"/>
                  </a:p>
                </p:txBody>
              </p:sp>
            </p:grpSp>
            <p:sp>
              <p:nvSpPr>
                <p:cNvPr id="5859" name="Vrije vorm: vorm 5858">
                  <a:extLst>
                    <a:ext uri="{FF2B5EF4-FFF2-40B4-BE49-F238E27FC236}">
                      <a16:creationId xmlns:a16="http://schemas.microsoft.com/office/drawing/2014/main" id="{7A55E934-CCB4-4F78-833F-655BF9B12602}"/>
                    </a:ext>
                  </a:extLst>
                </p:cNvPr>
                <p:cNvSpPr/>
                <p:nvPr/>
              </p:nvSpPr>
              <p:spPr>
                <a:xfrm>
                  <a:off x="7769576" y="3015400"/>
                  <a:ext cx="32594" cy="32475"/>
                </a:xfrm>
                <a:custGeom>
                  <a:avLst/>
                  <a:gdLst>
                    <a:gd name="connsiteX0" fmla="*/ 2333 w 32594"/>
                    <a:gd name="connsiteY0" fmla="*/ 26255 h 32475"/>
                    <a:gd name="connsiteX1" fmla="*/ 2273 w 32594"/>
                    <a:gd name="connsiteY1" fmla="*/ 26016 h 32475"/>
                    <a:gd name="connsiteX2" fmla="*/ 2751 w 32594"/>
                    <a:gd name="connsiteY2" fmla="*/ 24880 h 32475"/>
                    <a:gd name="connsiteX3" fmla="*/ 2811 w 32594"/>
                    <a:gd name="connsiteY3" fmla="*/ 24880 h 32475"/>
                    <a:gd name="connsiteX4" fmla="*/ 2811 w 32594"/>
                    <a:gd name="connsiteY4" fmla="*/ 24820 h 32475"/>
                    <a:gd name="connsiteX5" fmla="*/ 6818 w 32594"/>
                    <a:gd name="connsiteY5" fmla="*/ 21949 h 32475"/>
                    <a:gd name="connsiteX6" fmla="*/ 7057 w 32594"/>
                    <a:gd name="connsiteY6" fmla="*/ 22188 h 32475"/>
                    <a:gd name="connsiteX7" fmla="*/ 5083 w 32594"/>
                    <a:gd name="connsiteY7" fmla="*/ 25179 h 32475"/>
                    <a:gd name="connsiteX8" fmla="*/ 8074 w 32594"/>
                    <a:gd name="connsiteY8" fmla="*/ 25777 h 32475"/>
                    <a:gd name="connsiteX9" fmla="*/ 9509 w 32594"/>
                    <a:gd name="connsiteY9" fmla="*/ 22308 h 32475"/>
                    <a:gd name="connsiteX10" fmla="*/ 4605 w 32594"/>
                    <a:gd name="connsiteY10" fmla="*/ 12201 h 32475"/>
                    <a:gd name="connsiteX11" fmla="*/ 3170 w 32594"/>
                    <a:gd name="connsiteY11" fmla="*/ 14653 h 32475"/>
                    <a:gd name="connsiteX12" fmla="*/ 4784 w 32594"/>
                    <a:gd name="connsiteY12" fmla="*/ 15370 h 32475"/>
                    <a:gd name="connsiteX13" fmla="*/ 4784 w 32594"/>
                    <a:gd name="connsiteY13" fmla="*/ 15669 h 32475"/>
                    <a:gd name="connsiteX14" fmla="*/ 2093 w 32594"/>
                    <a:gd name="connsiteY14" fmla="*/ 16447 h 32475"/>
                    <a:gd name="connsiteX15" fmla="*/ 2033 w 32594"/>
                    <a:gd name="connsiteY15" fmla="*/ 16387 h 32475"/>
                    <a:gd name="connsiteX16" fmla="*/ 1973 w 32594"/>
                    <a:gd name="connsiteY16" fmla="*/ 16447 h 32475"/>
                    <a:gd name="connsiteX17" fmla="*/ 120 w 32594"/>
                    <a:gd name="connsiteY17" fmla="*/ 15729 h 32475"/>
                    <a:gd name="connsiteX18" fmla="*/ 0 w 32594"/>
                    <a:gd name="connsiteY18" fmla="*/ 15550 h 32475"/>
                    <a:gd name="connsiteX19" fmla="*/ 299 w 32594"/>
                    <a:gd name="connsiteY19" fmla="*/ 13576 h 32475"/>
                    <a:gd name="connsiteX20" fmla="*/ 358 w 32594"/>
                    <a:gd name="connsiteY20" fmla="*/ 13516 h 32475"/>
                    <a:gd name="connsiteX21" fmla="*/ 358 w 32594"/>
                    <a:gd name="connsiteY21" fmla="*/ 13397 h 32475"/>
                    <a:gd name="connsiteX22" fmla="*/ 4486 w 32594"/>
                    <a:gd name="connsiteY22" fmla="*/ 11662 h 32475"/>
                    <a:gd name="connsiteX23" fmla="*/ 8672 w 32594"/>
                    <a:gd name="connsiteY23" fmla="*/ 0 h 32475"/>
                    <a:gd name="connsiteX24" fmla="*/ 8971 w 32594"/>
                    <a:gd name="connsiteY24" fmla="*/ 0 h 32475"/>
                    <a:gd name="connsiteX25" fmla="*/ 14593 w 32594"/>
                    <a:gd name="connsiteY25" fmla="*/ 9749 h 32475"/>
                    <a:gd name="connsiteX26" fmla="*/ 17942 w 32594"/>
                    <a:gd name="connsiteY26" fmla="*/ 1495 h 32475"/>
                    <a:gd name="connsiteX27" fmla="*/ 18241 w 32594"/>
                    <a:gd name="connsiteY27" fmla="*/ 1555 h 32475"/>
                    <a:gd name="connsiteX28" fmla="*/ 19437 w 32594"/>
                    <a:gd name="connsiteY28" fmla="*/ 9928 h 32475"/>
                    <a:gd name="connsiteX29" fmla="*/ 32475 w 32594"/>
                    <a:gd name="connsiteY29" fmla="*/ 8433 h 32475"/>
                    <a:gd name="connsiteX30" fmla="*/ 32595 w 32594"/>
                    <a:gd name="connsiteY30" fmla="*/ 8732 h 32475"/>
                    <a:gd name="connsiteX31" fmla="*/ 20513 w 32594"/>
                    <a:gd name="connsiteY31" fmla="*/ 17344 h 32475"/>
                    <a:gd name="connsiteX32" fmla="*/ 21052 w 32594"/>
                    <a:gd name="connsiteY32" fmla="*/ 21052 h 32475"/>
                    <a:gd name="connsiteX33" fmla="*/ 20992 w 32594"/>
                    <a:gd name="connsiteY33" fmla="*/ 21052 h 32475"/>
                    <a:gd name="connsiteX34" fmla="*/ 20992 w 32594"/>
                    <a:gd name="connsiteY34" fmla="*/ 21172 h 32475"/>
                    <a:gd name="connsiteX35" fmla="*/ 14533 w 32594"/>
                    <a:gd name="connsiteY35" fmla="*/ 32415 h 32475"/>
                    <a:gd name="connsiteX36" fmla="*/ 14294 w 32594"/>
                    <a:gd name="connsiteY36" fmla="*/ 32415 h 32475"/>
                    <a:gd name="connsiteX37" fmla="*/ 14234 w 32594"/>
                    <a:gd name="connsiteY37" fmla="*/ 32475 h 32475"/>
                    <a:gd name="connsiteX38" fmla="*/ 8014 w 32594"/>
                    <a:gd name="connsiteY38" fmla="*/ 26196 h 32475"/>
                    <a:gd name="connsiteX39" fmla="*/ 3648 w 32594"/>
                    <a:gd name="connsiteY39" fmla="*/ 27093 h 32475"/>
                    <a:gd name="connsiteX40" fmla="*/ 3588 w 32594"/>
                    <a:gd name="connsiteY40" fmla="*/ 27033 h 32475"/>
                    <a:gd name="connsiteX41" fmla="*/ 3528 w 32594"/>
                    <a:gd name="connsiteY41" fmla="*/ 27033 h 32475"/>
                    <a:gd name="connsiteX42" fmla="*/ 2333 w 32594"/>
                    <a:gd name="connsiteY42" fmla="*/ 26255 h 32475"/>
                    <a:gd name="connsiteX43" fmla="*/ 2930 w 32594"/>
                    <a:gd name="connsiteY43" fmla="*/ 25358 h 32475"/>
                    <a:gd name="connsiteX44" fmla="*/ 2691 w 32594"/>
                    <a:gd name="connsiteY44" fmla="*/ 26016 h 32475"/>
                    <a:gd name="connsiteX45" fmla="*/ 3409 w 32594"/>
                    <a:gd name="connsiteY45" fmla="*/ 26435 h 32475"/>
                    <a:gd name="connsiteX46" fmla="*/ 2930 w 32594"/>
                    <a:gd name="connsiteY46" fmla="*/ 25358 h 32475"/>
                    <a:gd name="connsiteX47" fmla="*/ 4486 w 32594"/>
                    <a:gd name="connsiteY47" fmla="*/ 25418 h 32475"/>
                    <a:gd name="connsiteX48" fmla="*/ 3170 w 32594"/>
                    <a:gd name="connsiteY48" fmla="*/ 25179 h 32475"/>
                    <a:gd name="connsiteX49" fmla="*/ 3768 w 32594"/>
                    <a:gd name="connsiteY49" fmla="*/ 26554 h 32475"/>
                    <a:gd name="connsiteX50" fmla="*/ 4486 w 32594"/>
                    <a:gd name="connsiteY50" fmla="*/ 25418 h 32475"/>
                    <a:gd name="connsiteX51" fmla="*/ 6219 w 32594"/>
                    <a:gd name="connsiteY51" fmla="*/ 22727 h 32475"/>
                    <a:gd name="connsiteX52" fmla="*/ 3289 w 32594"/>
                    <a:gd name="connsiteY52" fmla="*/ 24820 h 32475"/>
                    <a:gd name="connsiteX53" fmla="*/ 4665 w 32594"/>
                    <a:gd name="connsiteY53" fmla="*/ 25059 h 32475"/>
                    <a:gd name="connsiteX54" fmla="*/ 6219 w 32594"/>
                    <a:gd name="connsiteY54" fmla="*/ 22727 h 32475"/>
                    <a:gd name="connsiteX55" fmla="*/ 4844 w 32594"/>
                    <a:gd name="connsiteY55" fmla="*/ 25478 h 32475"/>
                    <a:gd name="connsiteX56" fmla="*/ 4066 w 32594"/>
                    <a:gd name="connsiteY56" fmla="*/ 26614 h 32475"/>
                    <a:gd name="connsiteX57" fmla="*/ 7236 w 32594"/>
                    <a:gd name="connsiteY57" fmla="*/ 25956 h 32475"/>
                    <a:gd name="connsiteX58" fmla="*/ 4844 w 32594"/>
                    <a:gd name="connsiteY58" fmla="*/ 25478 h 32475"/>
                    <a:gd name="connsiteX59" fmla="*/ 538 w 32594"/>
                    <a:gd name="connsiteY59" fmla="*/ 14055 h 32475"/>
                    <a:gd name="connsiteX60" fmla="*/ 358 w 32594"/>
                    <a:gd name="connsiteY60" fmla="*/ 15430 h 32475"/>
                    <a:gd name="connsiteX61" fmla="*/ 1675 w 32594"/>
                    <a:gd name="connsiteY61" fmla="*/ 15909 h 32475"/>
                    <a:gd name="connsiteX62" fmla="*/ 538 w 32594"/>
                    <a:gd name="connsiteY62" fmla="*/ 14055 h 32475"/>
                    <a:gd name="connsiteX63" fmla="*/ 2691 w 32594"/>
                    <a:gd name="connsiteY63" fmla="*/ 14772 h 32475"/>
                    <a:gd name="connsiteX64" fmla="*/ 837 w 32594"/>
                    <a:gd name="connsiteY64" fmla="*/ 13935 h 32475"/>
                    <a:gd name="connsiteX65" fmla="*/ 2033 w 32594"/>
                    <a:gd name="connsiteY65" fmla="*/ 15909 h 32475"/>
                    <a:gd name="connsiteX66" fmla="*/ 2691 w 32594"/>
                    <a:gd name="connsiteY66" fmla="*/ 14772 h 32475"/>
                    <a:gd name="connsiteX67" fmla="*/ 4186 w 32594"/>
                    <a:gd name="connsiteY67" fmla="*/ 12141 h 32475"/>
                    <a:gd name="connsiteX68" fmla="*/ 837 w 32594"/>
                    <a:gd name="connsiteY68" fmla="*/ 13576 h 32475"/>
                    <a:gd name="connsiteX69" fmla="*/ 2811 w 32594"/>
                    <a:gd name="connsiteY69" fmla="*/ 14473 h 32475"/>
                    <a:gd name="connsiteX70" fmla="*/ 4186 w 32594"/>
                    <a:gd name="connsiteY70" fmla="*/ 12141 h 32475"/>
                    <a:gd name="connsiteX71" fmla="*/ 2990 w 32594"/>
                    <a:gd name="connsiteY71" fmla="*/ 14952 h 32475"/>
                    <a:gd name="connsiteX72" fmla="*/ 2392 w 32594"/>
                    <a:gd name="connsiteY72" fmla="*/ 16028 h 32475"/>
                    <a:gd name="connsiteX73" fmla="*/ 4246 w 32594"/>
                    <a:gd name="connsiteY73" fmla="*/ 15490 h 32475"/>
                    <a:gd name="connsiteX74" fmla="*/ 2990 w 32594"/>
                    <a:gd name="connsiteY74" fmla="*/ 14952 h 32475"/>
                    <a:gd name="connsiteX75" fmla="*/ 10526 w 32594"/>
                    <a:gd name="connsiteY75" fmla="*/ 24521 h 32475"/>
                    <a:gd name="connsiteX76" fmla="*/ 8433 w 32594"/>
                    <a:gd name="connsiteY76" fmla="*/ 26016 h 32475"/>
                    <a:gd name="connsiteX77" fmla="*/ 13875 w 32594"/>
                    <a:gd name="connsiteY77" fmla="*/ 31458 h 32475"/>
                    <a:gd name="connsiteX78" fmla="*/ 10526 w 32594"/>
                    <a:gd name="connsiteY78" fmla="*/ 24521 h 32475"/>
                    <a:gd name="connsiteX79" fmla="*/ 9689 w 32594"/>
                    <a:gd name="connsiteY79" fmla="*/ 22727 h 32475"/>
                    <a:gd name="connsiteX80" fmla="*/ 8552 w 32594"/>
                    <a:gd name="connsiteY80" fmla="*/ 25478 h 32475"/>
                    <a:gd name="connsiteX81" fmla="*/ 10347 w 32594"/>
                    <a:gd name="connsiteY81" fmla="*/ 24162 h 32475"/>
                    <a:gd name="connsiteX82" fmla="*/ 9689 w 32594"/>
                    <a:gd name="connsiteY82" fmla="*/ 22727 h 32475"/>
                    <a:gd name="connsiteX83" fmla="*/ 11961 w 32594"/>
                    <a:gd name="connsiteY83" fmla="*/ 16208 h 32475"/>
                    <a:gd name="connsiteX84" fmla="*/ 4964 w 32594"/>
                    <a:gd name="connsiteY84" fmla="*/ 12260 h 32475"/>
                    <a:gd name="connsiteX85" fmla="*/ 9629 w 32594"/>
                    <a:gd name="connsiteY85" fmla="*/ 21949 h 32475"/>
                    <a:gd name="connsiteX86" fmla="*/ 11961 w 32594"/>
                    <a:gd name="connsiteY86" fmla="*/ 16208 h 32475"/>
                    <a:gd name="connsiteX87" fmla="*/ 8851 w 32594"/>
                    <a:gd name="connsiteY87" fmla="*/ 478 h 32475"/>
                    <a:gd name="connsiteX88" fmla="*/ 4844 w 32594"/>
                    <a:gd name="connsiteY88" fmla="*/ 11603 h 32475"/>
                    <a:gd name="connsiteX89" fmla="*/ 14234 w 32594"/>
                    <a:gd name="connsiteY89" fmla="*/ 10526 h 32475"/>
                    <a:gd name="connsiteX90" fmla="*/ 14414 w 32594"/>
                    <a:gd name="connsiteY90" fmla="*/ 10167 h 32475"/>
                    <a:gd name="connsiteX91" fmla="*/ 8851 w 32594"/>
                    <a:gd name="connsiteY91" fmla="*/ 478 h 32475"/>
                    <a:gd name="connsiteX92" fmla="*/ 14114 w 32594"/>
                    <a:gd name="connsiteY92" fmla="*/ 10885 h 32475"/>
                    <a:gd name="connsiteX93" fmla="*/ 5143 w 32594"/>
                    <a:gd name="connsiteY93" fmla="*/ 11902 h 32475"/>
                    <a:gd name="connsiteX94" fmla="*/ 12081 w 32594"/>
                    <a:gd name="connsiteY94" fmla="*/ 15849 h 32475"/>
                    <a:gd name="connsiteX95" fmla="*/ 14114 w 32594"/>
                    <a:gd name="connsiteY95" fmla="*/ 10885 h 32475"/>
                    <a:gd name="connsiteX96" fmla="*/ 12260 w 32594"/>
                    <a:gd name="connsiteY96" fmla="*/ 16327 h 32475"/>
                    <a:gd name="connsiteX97" fmla="*/ 9868 w 32594"/>
                    <a:gd name="connsiteY97" fmla="*/ 22248 h 32475"/>
                    <a:gd name="connsiteX98" fmla="*/ 10705 w 32594"/>
                    <a:gd name="connsiteY98" fmla="*/ 23923 h 32475"/>
                    <a:gd name="connsiteX99" fmla="*/ 17344 w 32594"/>
                    <a:gd name="connsiteY99" fmla="*/ 19138 h 32475"/>
                    <a:gd name="connsiteX100" fmla="*/ 12260 w 32594"/>
                    <a:gd name="connsiteY100" fmla="*/ 16327 h 32475"/>
                    <a:gd name="connsiteX101" fmla="*/ 17643 w 32594"/>
                    <a:gd name="connsiteY101" fmla="*/ 19377 h 32475"/>
                    <a:gd name="connsiteX102" fmla="*/ 10765 w 32594"/>
                    <a:gd name="connsiteY102" fmla="*/ 24282 h 32475"/>
                    <a:gd name="connsiteX103" fmla="*/ 14414 w 32594"/>
                    <a:gd name="connsiteY103" fmla="*/ 31877 h 32475"/>
                    <a:gd name="connsiteX104" fmla="*/ 20633 w 32594"/>
                    <a:gd name="connsiteY104" fmla="*/ 21052 h 32475"/>
                    <a:gd name="connsiteX105" fmla="*/ 17643 w 32594"/>
                    <a:gd name="connsiteY105" fmla="*/ 19377 h 32475"/>
                    <a:gd name="connsiteX106" fmla="*/ 14473 w 32594"/>
                    <a:gd name="connsiteY106" fmla="*/ 10825 h 32475"/>
                    <a:gd name="connsiteX107" fmla="*/ 12380 w 32594"/>
                    <a:gd name="connsiteY107" fmla="*/ 16028 h 32475"/>
                    <a:gd name="connsiteX108" fmla="*/ 17643 w 32594"/>
                    <a:gd name="connsiteY108" fmla="*/ 19019 h 32475"/>
                    <a:gd name="connsiteX109" fmla="*/ 19018 w 32594"/>
                    <a:gd name="connsiteY109" fmla="*/ 18062 h 32475"/>
                    <a:gd name="connsiteX110" fmla="*/ 14832 w 32594"/>
                    <a:gd name="connsiteY110" fmla="*/ 10825 h 32475"/>
                    <a:gd name="connsiteX111" fmla="*/ 14473 w 32594"/>
                    <a:gd name="connsiteY111" fmla="*/ 10825 h 32475"/>
                    <a:gd name="connsiteX112" fmla="*/ 19138 w 32594"/>
                    <a:gd name="connsiteY112" fmla="*/ 18361 h 32475"/>
                    <a:gd name="connsiteX113" fmla="*/ 17942 w 32594"/>
                    <a:gd name="connsiteY113" fmla="*/ 19198 h 32475"/>
                    <a:gd name="connsiteX114" fmla="*/ 20454 w 32594"/>
                    <a:gd name="connsiteY114" fmla="*/ 20633 h 32475"/>
                    <a:gd name="connsiteX115" fmla="*/ 19138 w 32594"/>
                    <a:gd name="connsiteY115" fmla="*/ 18361 h 32475"/>
                    <a:gd name="connsiteX116" fmla="*/ 18002 w 32594"/>
                    <a:gd name="connsiteY116" fmla="*/ 2213 h 32475"/>
                    <a:gd name="connsiteX117" fmla="*/ 14772 w 32594"/>
                    <a:gd name="connsiteY117" fmla="*/ 10107 h 32475"/>
                    <a:gd name="connsiteX118" fmla="*/ 14952 w 32594"/>
                    <a:gd name="connsiteY118" fmla="*/ 10406 h 32475"/>
                    <a:gd name="connsiteX119" fmla="*/ 19078 w 32594"/>
                    <a:gd name="connsiteY119" fmla="*/ 9928 h 32475"/>
                    <a:gd name="connsiteX120" fmla="*/ 18002 w 32594"/>
                    <a:gd name="connsiteY120" fmla="*/ 2213 h 32475"/>
                    <a:gd name="connsiteX121" fmla="*/ 19198 w 32594"/>
                    <a:gd name="connsiteY121" fmla="*/ 10287 h 32475"/>
                    <a:gd name="connsiteX122" fmla="*/ 15191 w 32594"/>
                    <a:gd name="connsiteY122" fmla="*/ 10765 h 32475"/>
                    <a:gd name="connsiteX123" fmla="*/ 19258 w 32594"/>
                    <a:gd name="connsiteY123" fmla="*/ 17822 h 32475"/>
                    <a:gd name="connsiteX124" fmla="*/ 20215 w 32594"/>
                    <a:gd name="connsiteY124" fmla="*/ 17165 h 32475"/>
                    <a:gd name="connsiteX125" fmla="*/ 19198 w 32594"/>
                    <a:gd name="connsiteY125" fmla="*/ 10287 h 32475"/>
                    <a:gd name="connsiteX126" fmla="*/ 20215 w 32594"/>
                    <a:gd name="connsiteY126" fmla="*/ 17583 h 32475"/>
                    <a:gd name="connsiteX127" fmla="*/ 19377 w 32594"/>
                    <a:gd name="connsiteY127" fmla="*/ 18181 h 32475"/>
                    <a:gd name="connsiteX128" fmla="*/ 20573 w 32594"/>
                    <a:gd name="connsiteY128" fmla="*/ 20275 h 32475"/>
                    <a:gd name="connsiteX129" fmla="*/ 20215 w 32594"/>
                    <a:gd name="connsiteY129" fmla="*/ 17583 h 32475"/>
                    <a:gd name="connsiteX130" fmla="*/ 19497 w 32594"/>
                    <a:gd name="connsiteY130" fmla="*/ 10227 h 32475"/>
                    <a:gd name="connsiteX131" fmla="*/ 20454 w 32594"/>
                    <a:gd name="connsiteY131" fmla="*/ 16925 h 32475"/>
                    <a:gd name="connsiteX132" fmla="*/ 31877 w 32594"/>
                    <a:gd name="connsiteY132" fmla="*/ 8792 h 32475"/>
                    <a:gd name="connsiteX133" fmla="*/ 19497 w 32594"/>
                    <a:gd name="connsiteY133" fmla="*/ 10227 h 3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32594" h="32475">
                      <a:moveTo>
                        <a:pt x="2333" y="26255"/>
                      </a:moveTo>
                      <a:lnTo>
                        <a:pt x="2273" y="26016"/>
                      </a:lnTo>
                      <a:lnTo>
                        <a:pt x="2751" y="24880"/>
                      </a:lnTo>
                      <a:lnTo>
                        <a:pt x="2811" y="24880"/>
                      </a:lnTo>
                      <a:lnTo>
                        <a:pt x="2811" y="24820"/>
                      </a:lnTo>
                      <a:lnTo>
                        <a:pt x="6818" y="21949"/>
                      </a:lnTo>
                      <a:lnTo>
                        <a:pt x="7057" y="22188"/>
                      </a:lnTo>
                      <a:lnTo>
                        <a:pt x="5083" y="25179"/>
                      </a:lnTo>
                      <a:lnTo>
                        <a:pt x="8074" y="25777"/>
                      </a:lnTo>
                      <a:lnTo>
                        <a:pt x="9509" y="22308"/>
                      </a:lnTo>
                      <a:lnTo>
                        <a:pt x="4605" y="12201"/>
                      </a:lnTo>
                      <a:lnTo>
                        <a:pt x="3170" y="14653"/>
                      </a:lnTo>
                      <a:lnTo>
                        <a:pt x="4784" y="15370"/>
                      </a:lnTo>
                      <a:lnTo>
                        <a:pt x="4784" y="15669"/>
                      </a:lnTo>
                      <a:lnTo>
                        <a:pt x="2093" y="16447"/>
                      </a:lnTo>
                      <a:lnTo>
                        <a:pt x="2033" y="16387"/>
                      </a:lnTo>
                      <a:lnTo>
                        <a:pt x="1973" y="16447"/>
                      </a:lnTo>
                      <a:lnTo>
                        <a:pt x="120" y="15729"/>
                      </a:lnTo>
                      <a:lnTo>
                        <a:pt x="0" y="15550"/>
                      </a:lnTo>
                      <a:lnTo>
                        <a:pt x="299" y="13576"/>
                      </a:lnTo>
                      <a:lnTo>
                        <a:pt x="358" y="13516"/>
                      </a:lnTo>
                      <a:lnTo>
                        <a:pt x="358" y="13397"/>
                      </a:lnTo>
                      <a:lnTo>
                        <a:pt x="4486" y="11662"/>
                      </a:lnTo>
                      <a:lnTo>
                        <a:pt x="8672" y="0"/>
                      </a:lnTo>
                      <a:lnTo>
                        <a:pt x="8971" y="0"/>
                      </a:lnTo>
                      <a:lnTo>
                        <a:pt x="14593" y="9749"/>
                      </a:lnTo>
                      <a:lnTo>
                        <a:pt x="17942" y="1495"/>
                      </a:lnTo>
                      <a:lnTo>
                        <a:pt x="18241" y="1555"/>
                      </a:lnTo>
                      <a:lnTo>
                        <a:pt x="19437" y="9928"/>
                      </a:lnTo>
                      <a:lnTo>
                        <a:pt x="32475" y="8433"/>
                      </a:lnTo>
                      <a:lnTo>
                        <a:pt x="32595" y="8732"/>
                      </a:lnTo>
                      <a:lnTo>
                        <a:pt x="20513" y="17344"/>
                      </a:lnTo>
                      <a:lnTo>
                        <a:pt x="21052" y="21052"/>
                      </a:lnTo>
                      <a:lnTo>
                        <a:pt x="20992" y="21052"/>
                      </a:lnTo>
                      <a:lnTo>
                        <a:pt x="20992" y="21172"/>
                      </a:lnTo>
                      <a:lnTo>
                        <a:pt x="14533" y="32415"/>
                      </a:lnTo>
                      <a:lnTo>
                        <a:pt x="14294" y="32415"/>
                      </a:lnTo>
                      <a:lnTo>
                        <a:pt x="14234" y="32475"/>
                      </a:lnTo>
                      <a:lnTo>
                        <a:pt x="8014" y="26196"/>
                      </a:lnTo>
                      <a:lnTo>
                        <a:pt x="3648" y="27093"/>
                      </a:lnTo>
                      <a:lnTo>
                        <a:pt x="3588" y="27033"/>
                      </a:lnTo>
                      <a:lnTo>
                        <a:pt x="3528" y="27033"/>
                      </a:lnTo>
                      <a:lnTo>
                        <a:pt x="2333" y="26255"/>
                      </a:lnTo>
                      <a:close/>
                      <a:moveTo>
                        <a:pt x="2930" y="25358"/>
                      </a:moveTo>
                      <a:lnTo>
                        <a:pt x="2691" y="26016"/>
                      </a:lnTo>
                      <a:lnTo>
                        <a:pt x="3409" y="26435"/>
                      </a:lnTo>
                      <a:lnTo>
                        <a:pt x="2930" y="25358"/>
                      </a:lnTo>
                      <a:close/>
                      <a:moveTo>
                        <a:pt x="4486" y="25418"/>
                      </a:moveTo>
                      <a:lnTo>
                        <a:pt x="3170" y="25179"/>
                      </a:lnTo>
                      <a:lnTo>
                        <a:pt x="3768" y="26554"/>
                      </a:lnTo>
                      <a:lnTo>
                        <a:pt x="4486" y="25418"/>
                      </a:lnTo>
                      <a:close/>
                      <a:moveTo>
                        <a:pt x="6219" y="22727"/>
                      </a:moveTo>
                      <a:lnTo>
                        <a:pt x="3289" y="24820"/>
                      </a:lnTo>
                      <a:lnTo>
                        <a:pt x="4665" y="25059"/>
                      </a:lnTo>
                      <a:lnTo>
                        <a:pt x="6219" y="22727"/>
                      </a:lnTo>
                      <a:close/>
                      <a:moveTo>
                        <a:pt x="4844" y="25478"/>
                      </a:moveTo>
                      <a:lnTo>
                        <a:pt x="4066" y="26614"/>
                      </a:lnTo>
                      <a:lnTo>
                        <a:pt x="7236" y="25956"/>
                      </a:lnTo>
                      <a:lnTo>
                        <a:pt x="4844" y="25478"/>
                      </a:lnTo>
                      <a:close/>
                      <a:moveTo>
                        <a:pt x="538" y="14055"/>
                      </a:moveTo>
                      <a:lnTo>
                        <a:pt x="358" y="15430"/>
                      </a:lnTo>
                      <a:lnTo>
                        <a:pt x="1675" y="15909"/>
                      </a:lnTo>
                      <a:lnTo>
                        <a:pt x="538" y="14055"/>
                      </a:lnTo>
                      <a:close/>
                      <a:moveTo>
                        <a:pt x="2691" y="14772"/>
                      </a:moveTo>
                      <a:lnTo>
                        <a:pt x="837" y="13935"/>
                      </a:lnTo>
                      <a:lnTo>
                        <a:pt x="2033" y="15909"/>
                      </a:lnTo>
                      <a:lnTo>
                        <a:pt x="2691" y="14772"/>
                      </a:lnTo>
                      <a:close/>
                      <a:moveTo>
                        <a:pt x="4186" y="12141"/>
                      </a:moveTo>
                      <a:lnTo>
                        <a:pt x="837" y="13576"/>
                      </a:lnTo>
                      <a:lnTo>
                        <a:pt x="2811" y="14473"/>
                      </a:lnTo>
                      <a:lnTo>
                        <a:pt x="4186" y="12141"/>
                      </a:lnTo>
                      <a:close/>
                      <a:moveTo>
                        <a:pt x="2990" y="14952"/>
                      </a:moveTo>
                      <a:lnTo>
                        <a:pt x="2392" y="16028"/>
                      </a:lnTo>
                      <a:lnTo>
                        <a:pt x="4246" y="15490"/>
                      </a:lnTo>
                      <a:lnTo>
                        <a:pt x="2990" y="14952"/>
                      </a:lnTo>
                      <a:close/>
                      <a:moveTo>
                        <a:pt x="10526" y="24521"/>
                      </a:moveTo>
                      <a:lnTo>
                        <a:pt x="8433" y="26016"/>
                      </a:lnTo>
                      <a:lnTo>
                        <a:pt x="13875" y="31458"/>
                      </a:lnTo>
                      <a:lnTo>
                        <a:pt x="10526" y="24521"/>
                      </a:lnTo>
                      <a:close/>
                      <a:moveTo>
                        <a:pt x="9689" y="22727"/>
                      </a:moveTo>
                      <a:lnTo>
                        <a:pt x="8552" y="25478"/>
                      </a:lnTo>
                      <a:lnTo>
                        <a:pt x="10347" y="24162"/>
                      </a:lnTo>
                      <a:lnTo>
                        <a:pt x="9689" y="22727"/>
                      </a:lnTo>
                      <a:close/>
                      <a:moveTo>
                        <a:pt x="11961" y="16208"/>
                      </a:moveTo>
                      <a:lnTo>
                        <a:pt x="4964" y="12260"/>
                      </a:lnTo>
                      <a:lnTo>
                        <a:pt x="9629" y="21949"/>
                      </a:lnTo>
                      <a:lnTo>
                        <a:pt x="11961" y="16208"/>
                      </a:lnTo>
                      <a:close/>
                      <a:moveTo>
                        <a:pt x="8851" y="478"/>
                      </a:moveTo>
                      <a:lnTo>
                        <a:pt x="4844" y="11603"/>
                      </a:lnTo>
                      <a:lnTo>
                        <a:pt x="14234" y="10526"/>
                      </a:lnTo>
                      <a:lnTo>
                        <a:pt x="14414" y="10167"/>
                      </a:lnTo>
                      <a:lnTo>
                        <a:pt x="8851" y="478"/>
                      </a:lnTo>
                      <a:close/>
                      <a:moveTo>
                        <a:pt x="14114" y="10885"/>
                      </a:moveTo>
                      <a:lnTo>
                        <a:pt x="5143" y="11902"/>
                      </a:lnTo>
                      <a:lnTo>
                        <a:pt x="12081" y="15849"/>
                      </a:lnTo>
                      <a:lnTo>
                        <a:pt x="14114" y="10885"/>
                      </a:lnTo>
                      <a:close/>
                      <a:moveTo>
                        <a:pt x="12260" y="16327"/>
                      </a:moveTo>
                      <a:lnTo>
                        <a:pt x="9868" y="22248"/>
                      </a:lnTo>
                      <a:lnTo>
                        <a:pt x="10705" y="23923"/>
                      </a:lnTo>
                      <a:lnTo>
                        <a:pt x="17344" y="19138"/>
                      </a:lnTo>
                      <a:lnTo>
                        <a:pt x="12260" y="16327"/>
                      </a:lnTo>
                      <a:close/>
                      <a:moveTo>
                        <a:pt x="17643" y="19377"/>
                      </a:moveTo>
                      <a:lnTo>
                        <a:pt x="10765" y="24282"/>
                      </a:lnTo>
                      <a:lnTo>
                        <a:pt x="14414" y="31877"/>
                      </a:lnTo>
                      <a:lnTo>
                        <a:pt x="20633" y="21052"/>
                      </a:lnTo>
                      <a:lnTo>
                        <a:pt x="17643" y="19377"/>
                      </a:lnTo>
                      <a:close/>
                      <a:moveTo>
                        <a:pt x="14473" y="10825"/>
                      </a:moveTo>
                      <a:lnTo>
                        <a:pt x="12380" y="16028"/>
                      </a:lnTo>
                      <a:lnTo>
                        <a:pt x="17643" y="19019"/>
                      </a:lnTo>
                      <a:lnTo>
                        <a:pt x="19018" y="18062"/>
                      </a:lnTo>
                      <a:lnTo>
                        <a:pt x="14832" y="10825"/>
                      </a:lnTo>
                      <a:lnTo>
                        <a:pt x="14473" y="10825"/>
                      </a:lnTo>
                      <a:close/>
                      <a:moveTo>
                        <a:pt x="19138" y="18361"/>
                      </a:moveTo>
                      <a:lnTo>
                        <a:pt x="17942" y="19198"/>
                      </a:lnTo>
                      <a:lnTo>
                        <a:pt x="20454" y="20633"/>
                      </a:lnTo>
                      <a:lnTo>
                        <a:pt x="19138" y="18361"/>
                      </a:lnTo>
                      <a:close/>
                      <a:moveTo>
                        <a:pt x="18002" y="2213"/>
                      </a:moveTo>
                      <a:lnTo>
                        <a:pt x="14772" y="10107"/>
                      </a:lnTo>
                      <a:lnTo>
                        <a:pt x="14952" y="10406"/>
                      </a:lnTo>
                      <a:lnTo>
                        <a:pt x="19078" y="9928"/>
                      </a:lnTo>
                      <a:lnTo>
                        <a:pt x="18002" y="2213"/>
                      </a:lnTo>
                      <a:close/>
                      <a:moveTo>
                        <a:pt x="19198" y="10287"/>
                      </a:moveTo>
                      <a:lnTo>
                        <a:pt x="15191" y="10765"/>
                      </a:lnTo>
                      <a:lnTo>
                        <a:pt x="19258" y="17822"/>
                      </a:lnTo>
                      <a:lnTo>
                        <a:pt x="20215" y="17165"/>
                      </a:lnTo>
                      <a:lnTo>
                        <a:pt x="19198" y="10287"/>
                      </a:lnTo>
                      <a:close/>
                      <a:moveTo>
                        <a:pt x="20215" y="17583"/>
                      </a:moveTo>
                      <a:lnTo>
                        <a:pt x="19377" y="18181"/>
                      </a:lnTo>
                      <a:lnTo>
                        <a:pt x="20573" y="20275"/>
                      </a:lnTo>
                      <a:lnTo>
                        <a:pt x="20215" y="17583"/>
                      </a:lnTo>
                      <a:close/>
                      <a:moveTo>
                        <a:pt x="19497" y="10227"/>
                      </a:moveTo>
                      <a:lnTo>
                        <a:pt x="20454" y="16925"/>
                      </a:lnTo>
                      <a:lnTo>
                        <a:pt x="31877" y="8792"/>
                      </a:lnTo>
                      <a:lnTo>
                        <a:pt x="19497" y="10227"/>
                      </a:lnTo>
                      <a:close/>
                    </a:path>
                  </a:pathLst>
                </a:custGeom>
                <a:noFill/>
                <a:ln w="6350" cap="flat">
                  <a:solidFill>
                    <a:schemeClr val="bg1">
                      <a:alpha val="80000"/>
                    </a:schemeClr>
                  </a:solidFill>
                  <a:prstDash val="solid"/>
                  <a:miter/>
                </a:ln>
              </p:spPr>
              <p:txBody>
                <a:bodyPr rtlCol="0" anchor="ctr"/>
                <a:lstStyle/>
                <a:p>
                  <a:endParaRPr lang="en-GB"/>
                </a:p>
              </p:txBody>
            </p:sp>
          </p:grpSp>
          <p:grpSp>
            <p:nvGrpSpPr>
              <p:cNvPr id="5853" name="Graphic 3">
                <a:extLst>
                  <a:ext uri="{FF2B5EF4-FFF2-40B4-BE49-F238E27FC236}">
                    <a16:creationId xmlns:a16="http://schemas.microsoft.com/office/drawing/2014/main" id="{2D4E3D56-DEA5-4CCC-BB56-FCB45AF066B0}"/>
                  </a:ext>
                </a:extLst>
              </p:cNvPr>
              <p:cNvGrpSpPr/>
              <p:nvPr/>
            </p:nvGrpSpPr>
            <p:grpSpPr>
              <a:xfrm>
                <a:off x="7837795" y="2857194"/>
                <a:ext cx="24426" cy="37642"/>
                <a:chOff x="7837795" y="2857194"/>
                <a:chExt cx="24426" cy="37642"/>
              </a:xfrm>
              <a:solidFill>
                <a:srgbClr val="FFFFFF"/>
              </a:solidFill>
            </p:grpSpPr>
            <p:sp>
              <p:nvSpPr>
                <p:cNvPr id="5854" name="Vrije vorm: vorm 5853">
                  <a:extLst>
                    <a:ext uri="{FF2B5EF4-FFF2-40B4-BE49-F238E27FC236}">
                      <a16:creationId xmlns:a16="http://schemas.microsoft.com/office/drawing/2014/main" id="{BE674566-4076-477D-95C5-5576763193C3}"/>
                    </a:ext>
                  </a:extLst>
                </p:cNvPr>
                <p:cNvSpPr/>
                <p:nvPr/>
              </p:nvSpPr>
              <p:spPr>
                <a:xfrm>
                  <a:off x="7837795" y="2876200"/>
                  <a:ext cx="5915" cy="9799"/>
                </a:xfrm>
                <a:custGeom>
                  <a:avLst/>
                  <a:gdLst>
                    <a:gd name="connsiteX0" fmla="*/ 2891 w 5915"/>
                    <a:gd name="connsiteY0" fmla="*/ 9000 h 9799"/>
                    <a:gd name="connsiteX1" fmla="*/ 2831 w 5915"/>
                    <a:gd name="connsiteY1" fmla="*/ 8880 h 9799"/>
                    <a:gd name="connsiteX2" fmla="*/ 139 w 5915"/>
                    <a:gd name="connsiteY2" fmla="*/ 2122 h 9799"/>
                    <a:gd name="connsiteX3" fmla="*/ 917 w 5915"/>
                    <a:gd name="connsiteY3" fmla="*/ 208 h 9799"/>
                    <a:gd name="connsiteX4" fmla="*/ 3011 w 5915"/>
                    <a:gd name="connsiteY4" fmla="*/ 687 h 9799"/>
                    <a:gd name="connsiteX5" fmla="*/ 5881 w 5915"/>
                    <a:gd name="connsiteY5" fmla="*/ 7923 h 9799"/>
                    <a:gd name="connsiteX6" fmla="*/ 4685 w 5915"/>
                    <a:gd name="connsiteY6" fmla="*/ 9718 h 9799"/>
                    <a:gd name="connsiteX7" fmla="*/ 2891 w 5915"/>
                    <a:gd name="connsiteY7" fmla="*/ 9000 h 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15" h="9799">
                      <a:moveTo>
                        <a:pt x="2891" y="9000"/>
                      </a:moveTo>
                      <a:cubicBezTo>
                        <a:pt x="2891" y="8940"/>
                        <a:pt x="2831" y="8940"/>
                        <a:pt x="2831" y="8880"/>
                      </a:cubicBezTo>
                      <a:cubicBezTo>
                        <a:pt x="2114" y="6069"/>
                        <a:pt x="1575" y="4694"/>
                        <a:pt x="139" y="2122"/>
                      </a:cubicBezTo>
                      <a:cubicBezTo>
                        <a:pt x="-219" y="1464"/>
                        <a:pt x="139" y="627"/>
                        <a:pt x="917" y="208"/>
                      </a:cubicBezTo>
                      <a:cubicBezTo>
                        <a:pt x="1695" y="-210"/>
                        <a:pt x="2652" y="29"/>
                        <a:pt x="3011" y="687"/>
                      </a:cubicBezTo>
                      <a:cubicBezTo>
                        <a:pt x="4506" y="3438"/>
                        <a:pt x="5104" y="4933"/>
                        <a:pt x="5881" y="7923"/>
                      </a:cubicBezTo>
                      <a:cubicBezTo>
                        <a:pt x="6060" y="8641"/>
                        <a:pt x="5522" y="9419"/>
                        <a:pt x="4685" y="9718"/>
                      </a:cubicBezTo>
                      <a:cubicBezTo>
                        <a:pt x="3967" y="9957"/>
                        <a:pt x="3130" y="9658"/>
                        <a:pt x="2891" y="9000"/>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855" name="Vrije vorm: vorm 5854">
                  <a:extLst>
                    <a:ext uri="{FF2B5EF4-FFF2-40B4-BE49-F238E27FC236}">
                      <a16:creationId xmlns:a16="http://schemas.microsoft.com/office/drawing/2014/main" id="{807FCF54-A663-46FF-8715-A87A631226F3}"/>
                    </a:ext>
                  </a:extLst>
                </p:cNvPr>
                <p:cNvSpPr/>
                <p:nvPr/>
              </p:nvSpPr>
              <p:spPr>
                <a:xfrm>
                  <a:off x="7841023" y="2870333"/>
                  <a:ext cx="9068" cy="17718"/>
                </a:xfrm>
                <a:custGeom>
                  <a:avLst/>
                  <a:gdLst>
                    <a:gd name="connsiteX0" fmla="*/ 82 w 9068"/>
                    <a:gd name="connsiteY0" fmla="*/ 2008 h 17718"/>
                    <a:gd name="connsiteX1" fmla="*/ 800 w 9068"/>
                    <a:gd name="connsiteY1" fmla="*/ 274 h 17718"/>
                    <a:gd name="connsiteX2" fmla="*/ 2953 w 9068"/>
                    <a:gd name="connsiteY2" fmla="*/ 573 h 17718"/>
                    <a:gd name="connsiteX3" fmla="*/ 6900 w 9068"/>
                    <a:gd name="connsiteY3" fmla="*/ 7929 h 17718"/>
                    <a:gd name="connsiteX4" fmla="*/ 9053 w 9068"/>
                    <a:gd name="connsiteY4" fmla="*/ 16003 h 17718"/>
                    <a:gd name="connsiteX5" fmla="*/ 7678 w 9068"/>
                    <a:gd name="connsiteY5" fmla="*/ 17678 h 17718"/>
                    <a:gd name="connsiteX6" fmla="*/ 5943 w 9068"/>
                    <a:gd name="connsiteY6" fmla="*/ 16661 h 17718"/>
                    <a:gd name="connsiteX7" fmla="*/ 3910 w 9068"/>
                    <a:gd name="connsiteY7" fmla="*/ 9065 h 17718"/>
                    <a:gd name="connsiteX8" fmla="*/ 202 w 9068"/>
                    <a:gd name="connsiteY8" fmla="*/ 2128 h 17718"/>
                    <a:gd name="connsiteX9" fmla="*/ 82 w 9068"/>
                    <a:gd name="connsiteY9" fmla="*/ 2008 h 1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68" h="17718">
                      <a:moveTo>
                        <a:pt x="82" y="2008"/>
                      </a:moveTo>
                      <a:cubicBezTo>
                        <a:pt x="-158" y="1410"/>
                        <a:pt x="142" y="692"/>
                        <a:pt x="800" y="274"/>
                      </a:cubicBezTo>
                      <a:cubicBezTo>
                        <a:pt x="1577" y="-205"/>
                        <a:pt x="2534" y="-25"/>
                        <a:pt x="2953" y="573"/>
                      </a:cubicBezTo>
                      <a:cubicBezTo>
                        <a:pt x="4627" y="3025"/>
                        <a:pt x="5823" y="5178"/>
                        <a:pt x="6900" y="7929"/>
                      </a:cubicBezTo>
                      <a:cubicBezTo>
                        <a:pt x="7977" y="10680"/>
                        <a:pt x="8635" y="13073"/>
                        <a:pt x="9053" y="16003"/>
                      </a:cubicBezTo>
                      <a:cubicBezTo>
                        <a:pt x="9173" y="16721"/>
                        <a:pt x="8575" y="17498"/>
                        <a:pt x="7678" y="17678"/>
                      </a:cubicBezTo>
                      <a:cubicBezTo>
                        <a:pt x="6840" y="17857"/>
                        <a:pt x="6003" y="17439"/>
                        <a:pt x="5943" y="16661"/>
                      </a:cubicBezTo>
                      <a:cubicBezTo>
                        <a:pt x="5405" y="13192"/>
                        <a:pt x="4627" y="10919"/>
                        <a:pt x="3910" y="9065"/>
                      </a:cubicBezTo>
                      <a:cubicBezTo>
                        <a:pt x="3192" y="7271"/>
                        <a:pt x="2175" y="4999"/>
                        <a:pt x="202" y="2128"/>
                      </a:cubicBezTo>
                      <a:cubicBezTo>
                        <a:pt x="142" y="2188"/>
                        <a:pt x="82" y="2128"/>
                        <a:pt x="82" y="2008"/>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856" name="Vrije vorm: vorm 5855">
                  <a:extLst>
                    <a:ext uri="{FF2B5EF4-FFF2-40B4-BE49-F238E27FC236}">
                      <a16:creationId xmlns:a16="http://schemas.microsoft.com/office/drawing/2014/main" id="{9297B194-818C-4248-B3A4-306E547BCA19}"/>
                    </a:ext>
                  </a:extLst>
                </p:cNvPr>
                <p:cNvSpPr/>
                <p:nvPr/>
              </p:nvSpPr>
              <p:spPr>
                <a:xfrm>
                  <a:off x="7843150" y="2863540"/>
                  <a:ext cx="13145" cy="28022"/>
                </a:xfrm>
                <a:custGeom>
                  <a:avLst/>
                  <a:gdLst>
                    <a:gd name="connsiteX0" fmla="*/ 10096 w 13145"/>
                    <a:gd name="connsiteY0" fmla="*/ 27222 h 28022"/>
                    <a:gd name="connsiteX1" fmla="*/ 10036 w 13145"/>
                    <a:gd name="connsiteY1" fmla="*/ 26864 h 28022"/>
                    <a:gd name="connsiteX2" fmla="*/ 8600 w 13145"/>
                    <a:gd name="connsiteY2" fmla="*/ 17593 h 28022"/>
                    <a:gd name="connsiteX3" fmla="*/ 5610 w 13145"/>
                    <a:gd name="connsiteY3" fmla="*/ 10058 h 28022"/>
                    <a:gd name="connsiteX4" fmla="*/ 287 w 13145"/>
                    <a:gd name="connsiteY4" fmla="*/ 2343 h 28022"/>
                    <a:gd name="connsiteX5" fmla="*/ 646 w 13145"/>
                    <a:gd name="connsiteY5" fmla="*/ 369 h 28022"/>
                    <a:gd name="connsiteX6" fmla="*/ 2859 w 13145"/>
                    <a:gd name="connsiteY6" fmla="*/ 489 h 28022"/>
                    <a:gd name="connsiteX7" fmla="*/ 8481 w 13145"/>
                    <a:gd name="connsiteY7" fmla="*/ 8682 h 28022"/>
                    <a:gd name="connsiteX8" fmla="*/ 11651 w 13145"/>
                    <a:gd name="connsiteY8" fmla="*/ 16636 h 28022"/>
                    <a:gd name="connsiteX9" fmla="*/ 13146 w 13145"/>
                    <a:gd name="connsiteY9" fmla="*/ 26445 h 28022"/>
                    <a:gd name="connsiteX10" fmla="*/ 11591 w 13145"/>
                    <a:gd name="connsiteY10" fmla="*/ 28000 h 28022"/>
                    <a:gd name="connsiteX11" fmla="*/ 10096 w 13145"/>
                    <a:gd name="connsiteY11" fmla="*/ 27222 h 28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145" h="28022">
                      <a:moveTo>
                        <a:pt x="10096" y="27222"/>
                      </a:moveTo>
                      <a:cubicBezTo>
                        <a:pt x="10036" y="27103"/>
                        <a:pt x="10036" y="26983"/>
                        <a:pt x="10036" y="26864"/>
                      </a:cubicBezTo>
                      <a:cubicBezTo>
                        <a:pt x="9916" y="23634"/>
                        <a:pt x="9498" y="20703"/>
                        <a:pt x="8600" y="17593"/>
                      </a:cubicBezTo>
                      <a:cubicBezTo>
                        <a:pt x="7883" y="14902"/>
                        <a:pt x="6926" y="12510"/>
                        <a:pt x="5610" y="10058"/>
                      </a:cubicBezTo>
                      <a:cubicBezTo>
                        <a:pt x="4115" y="7247"/>
                        <a:pt x="2440" y="4795"/>
                        <a:pt x="287" y="2343"/>
                      </a:cubicBezTo>
                      <a:cubicBezTo>
                        <a:pt x="-191" y="1804"/>
                        <a:pt x="-72" y="907"/>
                        <a:pt x="646" y="369"/>
                      </a:cubicBezTo>
                      <a:cubicBezTo>
                        <a:pt x="1364" y="-169"/>
                        <a:pt x="2320" y="-109"/>
                        <a:pt x="2859" y="489"/>
                      </a:cubicBezTo>
                      <a:cubicBezTo>
                        <a:pt x="5132" y="3060"/>
                        <a:pt x="6926" y="5632"/>
                        <a:pt x="8481" y="8682"/>
                      </a:cubicBezTo>
                      <a:cubicBezTo>
                        <a:pt x="9856" y="11314"/>
                        <a:pt x="10873" y="13826"/>
                        <a:pt x="11651" y="16636"/>
                      </a:cubicBezTo>
                      <a:cubicBezTo>
                        <a:pt x="12548" y="19926"/>
                        <a:pt x="13026" y="23036"/>
                        <a:pt x="13146" y="26445"/>
                      </a:cubicBezTo>
                      <a:cubicBezTo>
                        <a:pt x="13146" y="27222"/>
                        <a:pt x="12488" y="27880"/>
                        <a:pt x="11591" y="28000"/>
                      </a:cubicBezTo>
                      <a:cubicBezTo>
                        <a:pt x="10933" y="28120"/>
                        <a:pt x="10275" y="27761"/>
                        <a:pt x="10096" y="27222"/>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857" name="Vrije vorm: vorm 5856">
                  <a:extLst>
                    <a:ext uri="{FF2B5EF4-FFF2-40B4-BE49-F238E27FC236}">
                      <a16:creationId xmlns:a16="http://schemas.microsoft.com/office/drawing/2014/main" id="{C4367F15-375A-4087-AD1C-BE88102E8090}"/>
                    </a:ext>
                  </a:extLst>
                </p:cNvPr>
                <p:cNvSpPr/>
                <p:nvPr/>
              </p:nvSpPr>
              <p:spPr>
                <a:xfrm>
                  <a:off x="7845173" y="2857194"/>
                  <a:ext cx="17049" cy="37642"/>
                </a:xfrm>
                <a:custGeom>
                  <a:avLst/>
                  <a:gdLst>
                    <a:gd name="connsiteX0" fmla="*/ 13814 w 17049"/>
                    <a:gd name="connsiteY0" fmla="*/ 36857 h 37642"/>
                    <a:gd name="connsiteX1" fmla="*/ 13755 w 17049"/>
                    <a:gd name="connsiteY1" fmla="*/ 36379 h 37642"/>
                    <a:gd name="connsiteX2" fmla="*/ 12559 w 17049"/>
                    <a:gd name="connsiteY2" fmla="*/ 23281 h 37642"/>
                    <a:gd name="connsiteX3" fmla="*/ 8432 w 17049"/>
                    <a:gd name="connsiteY3" fmla="*/ 12815 h 37642"/>
                    <a:gd name="connsiteX4" fmla="*/ 358 w 17049"/>
                    <a:gd name="connsiteY4" fmla="*/ 2408 h 37642"/>
                    <a:gd name="connsiteX5" fmla="*/ 597 w 17049"/>
                    <a:gd name="connsiteY5" fmla="*/ 435 h 37642"/>
                    <a:gd name="connsiteX6" fmla="*/ 2810 w 17049"/>
                    <a:gd name="connsiteY6" fmla="*/ 375 h 37642"/>
                    <a:gd name="connsiteX7" fmla="*/ 11303 w 17049"/>
                    <a:gd name="connsiteY7" fmla="*/ 11320 h 37642"/>
                    <a:gd name="connsiteX8" fmla="*/ 15669 w 17049"/>
                    <a:gd name="connsiteY8" fmla="*/ 22324 h 37642"/>
                    <a:gd name="connsiteX9" fmla="*/ 16984 w 17049"/>
                    <a:gd name="connsiteY9" fmla="*/ 36140 h 37642"/>
                    <a:gd name="connsiteX10" fmla="*/ 15310 w 17049"/>
                    <a:gd name="connsiteY10" fmla="*/ 37635 h 37642"/>
                    <a:gd name="connsiteX11" fmla="*/ 13814 w 17049"/>
                    <a:gd name="connsiteY11" fmla="*/ 36857 h 3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49" h="37642">
                      <a:moveTo>
                        <a:pt x="13814" y="36857"/>
                      </a:moveTo>
                      <a:cubicBezTo>
                        <a:pt x="13755" y="36678"/>
                        <a:pt x="13755" y="36558"/>
                        <a:pt x="13755" y="36379"/>
                      </a:cubicBezTo>
                      <a:cubicBezTo>
                        <a:pt x="13994" y="31774"/>
                        <a:pt x="13635" y="27647"/>
                        <a:pt x="12559" y="23281"/>
                      </a:cubicBezTo>
                      <a:cubicBezTo>
                        <a:pt x="11602" y="19513"/>
                        <a:pt x="10286" y="16224"/>
                        <a:pt x="8432" y="12815"/>
                      </a:cubicBezTo>
                      <a:cubicBezTo>
                        <a:pt x="6219" y="8927"/>
                        <a:pt x="3707" y="5578"/>
                        <a:pt x="358" y="2408"/>
                      </a:cubicBezTo>
                      <a:cubicBezTo>
                        <a:pt x="-180" y="1870"/>
                        <a:pt x="-120" y="1033"/>
                        <a:pt x="597" y="435"/>
                      </a:cubicBezTo>
                      <a:cubicBezTo>
                        <a:pt x="1255" y="-103"/>
                        <a:pt x="2272" y="-163"/>
                        <a:pt x="2810" y="375"/>
                      </a:cubicBezTo>
                      <a:cubicBezTo>
                        <a:pt x="6339" y="3724"/>
                        <a:pt x="9030" y="7193"/>
                        <a:pt x="11303" y="11320"/>
                      </a:cubicBezTo>
                      <a:cubicBezTo>
                        <a:pt x="13276" y="14908"/>
                        <a:pt x="14712" y="18377"/>
                        <a:pt x="15669" y="22324"/>
                      </a:cubicBezTo>
                      <a:cubicBezTo>
                        <a:pt x="16805" y="26929"/>
                        <a:pt x="17224" y="31295"/>
                        <a:pt x="16984" y="36140"/>
                      </a:cubicBezTo>
                      <a:cubicBezTo>
                        <a:pt x="16925" y="36917"/>
                        <a:pt x="16207" y="37575"/>
                        <a:pt x="15310" y="37635"/>
                      </a:cubicBezTo>
                      <a:cubicBezTo>
                        <a:pt x="14592" y="37695"/>
                        <a:pt x="14054" y="37396"/>
                        <a:pt x="13814" y="36857"/>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grpSp>
        </p:grpSp>
        <p:grpSp>
          <p:nvGrpSpPr>
            <p:cNvPr id="5363" name="Graphic 3">
              <a:extLst>
                <a:ext uri="{FF2B5EF4-FFF2-40B4-BE49-F238E27FC236}">
                  <a16:creationId xmlns:a16="http://schemas.microsoft.com/office/drawing/2014/main" id="{4ABB2244-0F64-469A-80D4-15C16D439F01}"/>
                </a:ext>
              </a:extLst>
            </p:cNvPr>
            <p:cNvGrpSpPr/>
            <p:nvPr/>
          </p:nvGrpSpPr>
          <p:grpSpPr>
            <a:xfrm>
              <a:off x="7496128" y="1970000"/>
              <a:ext cx="34433" cy="32454"/>
              <a:chOff x="7496128" y="1970000"/>
              <a:chExt cx="34433" cy="32454"/>
            </a:xfrm>
            <a:solidFill>
              <a:srgbClr val="FFFFFF"/>
            </a:solidFill>
          </p:grpSpPr>
          <p:sp>
            <p:nvSpPr>
              <p:cNvPr id="5848" name="Vrije vorm: vorm 5847">
                <a:extLst>
                  <a:ext uri="{FF2B5EF4-FFF2-40B4-BE49-F238E27FC236}">
                    <a16:creationId xmlns:a16="http://schemas.microsoft.com/office/drawing/2014/main" id="{050A68A4-2A7C-44DC-AE6E-CD4906213CD0}"/>
                  </a:ext>
                </a:extLst>
              </p:cNvPr>
              <p:cNvSpPr/>
              <p:nvPr/>
            </p:nvSpPr>
            <p:spPr>
              <a:xfrm>
                <a:off x="7497445" y="1993659"/>
                <a:ext cx="9647" cy="8796"/>
              </a:xfrm>
              <a:custGeom>
                <a:avLst/>
                <a:gdLst>
                  <a:gd name="connsiteX0" fmla="*/ 6646 w 9647"/>
                  <a:gd name="connsiteY0" fmla="*/ 8547 h 8796"/>
                  <a:gd name="connsiteX1" fmla="*/ 6527 w 9647"/>
                  <a:gd name="connsiteY1" fmla="*/ 8427 h 8796"/>
                  <a:gd name="connsiteX2" fmla="*/ 546 w 9647"/>
                  <a:gd name="connsiteY2" fmla="*/ 3404 h 8796"/>
                  <a:gd name="connsiteX3" fmla="*/ 486 w 9647"/>
                  <a:gd name="connsiteY3" fmla="*/ 1011 h 8796"/>
                  <a:gd name="connsiteX4" fmla="*/ 2879 w 9647"/>
                  <a:gd name="connsiteY4" fmla="*/ 174 h 8796"/>
                  <a:gd name="connsiteX5" fmla="*/ 9337 w 9647"/>
                  <a:gd name="connsiteY5" fmla="*/ 5557 h 8796"/>
                  <a:gd name="connsiteX6" fmla="*/ 8919 w 9647"/>
                  <a:gd name="connsiteY6" fmla="*/ 8069 h 8796"/>
                  <a:gd name="connsiteX7" fmla="*/ 6646 w 9647"/>
                  <a:gd name="connsiteY7" fmla="*/ 8547 h 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47" h="8796">
                    <a:moveTo>
                      <a:pt x="6646" y="8547"/>
                    </a:moveTo>
                    <a:cubicBezTo>
                      <a:pt x="6587" y="8487"/>
                      <a:pt x="6587" y="8487"/>
                      <a:pt x="6527" y="8427"/>
                    </a:cubicBezTo>
                    <a:cubicBezTo>
                      <a:pt x="4374" y="6095"/>
                      <a:pt x="3237" y="5078"/>
                      <a:pt x="546" y="3404"/>
                    </a:cubicBezTo>
                    <a:cubicBezTo>
                      <a:pt x="-172" y="2985"/>
                      <a:pt x="-172" y="1908"/>
                      <a:pt x="486" y="1011"/>
                    </a:cubicBezTo>
                    <a:cubicBezTo>
                      <a:pt x="1144" y="114"/>
                      <a:pt x="2221" y="-245"/>
                      <a:pt x="2879" y="174"/>
                    </a:cubicBezTo>
                    <a:cubicBezTo>
                      <a:pt x="5749" y="1968"/>
                      <a:pt x="7065" y="3045"/>
                      <a:pt x="9337" y="5557"/>
                    </a:cubicBezTo>
                    <a:cubicBezTo>
                      <a:pt x="9876" y="6155"/>
                      <a:pt x="9697" y="7291"/>
                      <a:pt x="8919" y="8069"/>
                    </a:cubicBezTo>
                    <a:cubicBezTo>
                      <a:pt x="8201" y="8786"/>
                      <a:pt x="7184" y="9026"/>
                      <a:pt x="6646" y="8547"/>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849" name="Vrije vorm: vorm 5848">
                <a:extLst>
                  <a:ext uri="{FF2B5EF4-FFF2-40B4-BE49-F238E27FC236}">
                    <a16:creationId xmlns:a16="http://schemas.microsoft.com/office/drawing/2014/main" id="{D563CB6E-228A-458A-B969-ECBC77A61455}"/>
                  </a:ext>
                </a:extLst>
              </p:cNvPr>
              <p:cNvSpPr/>
              <p:nvPr/>
            </p:nvSpPr>
            <p:spPr>
              <a:xfrm>
                <a:off x="7497998" y="1985760"/>
                <a:ext cx="16727" cy="14811"/>
              </a:xfrm>
              <a:custGeom>
                <a:avLst/>
                <a:gdLst>
                  <a:gd name="connsiteX0" fmla="*/ 412 w 16727"/>
                  <a:gd name="connsiteY0" fmla="*/ 3349 h 14811"/>
                  <a:gd name="connsiteX1" fmla="*/ 352 w 16727"/>
                  <a:gd name="connsiteY1" fmla="*/ 1196 h 14811"/>
                  <a:gd name="connsiteX2" fmla="*/ 2744 w 16727"/>
                  <a:gd name="connsiteY2" fmla="*/ 119 h 14811"/>
                  <a:gd name="connsiteX3" fmla="*/ 10399 w 16727"/>
                  <a:gd name="connsiteY3" fmla="*/ 4964 h 14811"/>
                  <a:gd name="connsiteX4" fmla="*/ 16500 w 16727"/>
                  <a:gd name="connsiteY4" fmla="*/ 11662 h 14811"/>
                  <a:gd name="connsiteX5" fmla="*/ 15842 w 16727"/>
                  <a:gd name="connsiteY5" fmla="*/ 14234 h 14811"/>
                  <a:gd name="connsiteX6" fmla="*/ 13509 w 16727"/>
                  <a:gd name="connsiteY6" fmla="*/ 14353 h 14811"/>
                  <a:gd name="connsiteX7" fmla="*/ 7768 w 16727"/>
                  <a:gd name="connsiteY7" fmla="*/ 8074 h 14811"/>
                  <a:gd name="connsiteX8" fmla="*/ 591 w 16727"/>
                  <a:gd name="connsiteY8" fmla="*/ 3528 h 14811"/>
                  <a:gd name="connsiteX9" fmla="*/ 412 w 16727"/>
                  <a:gd name="connsiteY9" fmla="*/ 3349 h 14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27" h="14811">
                    <a:moveTo>
                      <a:pt x="412" y="3349"/>
                    </a:moveTo>
                    <a:cubicBezTo>
                      <a:pt x="-127" y="2930"/>
                      <a:pt x="-127" y="2033"/>
                      <a:pt x="352" y="1196"/>
                    </a:cubicBezTo>
                    <a:cubicBezTo>
                      <a:pt x="950" y="239"/>
                      <a:pt x="2026" y="-240"/>
                      <a:pt x="2744" y="119"/>
                    </a:cubicBezTo>
                    <a:cubicBezTo>
                      <a:pt x="5674" y="1495"/>
                      <a:pt x="7947" y="2930"/>
                      <a:pt x="10399" y="4964"/>
                    </a:cubicBezTo>
                    <a:cubicBezTo>
                      <a:pt x="12852" y="6997"/>
                      <a:pt x="14645" y="9030"/>
                      <a:pt x="16500" y="11662"/>
                    </a:cubicBezTo>
                    <a:cubicBezTo>
                      <a:pt x="16978" y="12320"/>
                      <a:pt x="16679" y="13456"/>
                      <a:pt x="15842" y="14234"/>
                    </a:cubicBezTo>
                    <a:cubicBezTo>
                      <a:pt x="15005" y="14951"/>
                      <a:pt x="13988" y="15011"/>
                      <a:pt x="13509" y="14353"/>
                    </a:cubicBezTo>
                    <a:cubicBezTo>
                      <a:pt x="11356" y="11243"/>
                      <a:pt x="9383" y="9449"/>
                      <a:pt x="7768" y="8074"/>
                    </a:cubicBezTo>
                    <a:cubicBezTo>
                      <a:pt x="6153" y="6698"/>
                      <a:pt x="4060" y="5143"/>
                      <a:pt x="591" y="3528"/>
                    </a:cubicBezTo>
                    <a:cubicBezTo>
                      <a:pt x="591" y="3468"/>
                      <a:pt x="471" y="3409"/>
                      <a:pt x="412" y="3349"/>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850" name="Vrije vorm: vorm 5849">
                <a:extLst>
                  <a:ext uri="{FF2B5EF4-FFF2-40B4-BE49-F238E27FC236}">
                    <a16:creationId xmlns:a16="http://schemas.microsoft.com/office/drawing/2014/main" id="{F8DFA220-0E83-4F42-B6CC-F9E50E66AA99}"/>
                  </a:ext>
                </a:extLst>
              </p:cNvPr>
              <p:cNvSpPr/>
              <p:nvPr/>
            </p:nvSpPr>
            <p:spPr>
              <a:xfrm>
                <a:off x="7497087" y="1977573"/>
                <a:ext cx="25802" cy="22467"/>
              </a:xfrm>
              <a:custGeom>
                <a:avLst/>
                <a:gdLst>
                  <a:gd name="connsiteX0" fmla="*/ 22794 w 25802"/>
                  <a:gd name="connsiteY0" fmla="*/ 22241 h 22467"/>
                  <a:gd name="connsiteX1" fmla="*/ 22554 w 25802"/>
                  <a:gd name="connsiteY1" fmla="*/ 21882 h 22467"/>
                  <a:gd name="connsiteX2" fmla="*/ 16693 w 25802"/>
                  <a:gd name="connsiteY2" fmla="*/ 13509 h 22467"/>
                  <a:gd name="connsiteX3" fmla="*/ 9995 w 25802"/>
                  <a:gd name="connsiteY3" fmla="*/ 7887 h 22467"/>
                  <a:gd name="connsiteX4" fmla="*/ 784 w 25802"/>
                  <a:gd name="connsiteY4" fmla="*/ 3581 h 22467"/>
                  <a:gd name="connsiteX5" fmla="*/ 246 w 25802"/>
                  <a:gd name="connsiteY5" fmla="*/ 1369 h 22467"/>
                  <a:gd name="connsiteX6" fmla="*/ 2579 w 25802"/>
                  <a:gd name="connsiteY6" fmla="*/ 53 h 22467"/>
                  <a:gd name="connsiteX7" fmla="*/ 12387 w 25802"/>
                  <a:gd name="connsiteY7" fmla="*/ 4658 h 22467"/>
                  <a:gd name="connsiteX8" fmla="*/ 19444 w 25802"/>
                  <a:gd name="connsiteY8" fmla="*/ 10579 h 22467"/>
                  <a:gd name="connsiteX9" fmla="*/ 25664 w 25802"/>
                  <a:gd name="connsiteY9" fmla="*/ 19430 h 22467"/>
                  <a:gd name="connsiteX10" fmla="*/ 24827 w 25802"/>
                  <a:gd name="connsiteY10" fmla="*/ 22002 h 22467"/>
                  <a:gd name="connsiteX11" fmla="*/ 22794 w 25802"/>
                  <a:gd name="connsiteY11" fmla="*/ 22241 h 22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802" h="22467">
                    <a:moveTo>
                      <a:pt x="22794" y="22241"/>
                    </a:moveTo>
                    <a:cubicBezTo>
                      <a:pt x="22674" y="22181"/>
                      <a:pt x="22614" y="22062"/>
                      <a:pt x="22554" y="21882"/>
                    </a:cubicBezTo>
                    <a:cubicBezTo>
                      <a:pt x="20939" y="18713"/>
                      <a:pt x="19026" y="16081"/>
                      <a:pt x="16693" y="13509"/>
                    </a:cubicBezTo>
                    <a:cubicBezTo>
                      <a:pt x="14660" y="11296"/>
                      <a:pt x="12507" y="9502"/>
                      <a:pt x="9995" y="7887"/>
                    </a:cubicBezTo>
                    <a:cubicBezTo>
                      <a:pt x="7064" y="5974"/>
                      <a:pt x="4134" y="4598"/>
                      <a:pt x="784" y="3581"/>
                    </a:cubicBezTo>
                    <a:cubicBezTo>
                      <a:pt x="7" y="3342"/>
                      <a:pt x="-232" y="2325"/>
                      <a:pt x="246" y="1369"/>
                    </a:cubicBezTo>
                    <a:cubicBezTo>
                      <a:pt x="724" y="412"/>
                      <a:pt x="1801" y="-187"/>
                      <a:pt x="2579" y="53"/>
                    </a:cubicBezTo>
                    <a:cubicBezTo>
                      <a:pt x="6167" y="1189"/>
                      <a:pt x="9277" y="2624"/>
                      <a:pt x="12387" y="4658"/>
                    </a:cubicBezTo>
                    <a:cubicBezTo>
                      <a:pt x="15078" y="6392"/>
                      <a:pt x="17291" y="8306"/>
                      <a:pt x="19444" y="10579"/>
                    </a:cubicBezTo>
                    <a:cubicBezTo>
                      <a:pt x="21956" y="13270"/>
                      <a:pt x="23930" y="16081"/>
                      <a:pt x="25664" y="19430"/>
                    </a:cubicBezTo>
                    <a:cubicBezTo>
                      <a:pt x="26023" y="20148"/>
                      <a:pt x="25664" y="21284"/>
                      <a:pt x="24827" y="22002"/>
                    </a:cubicBezTo>
                    <a:cubicBezTo>
                      <a:pt x="24109" y="22540"/>
                      <a:pt x="23272" y="22600"/>
                      <a:pt x="22794" y="22241"/>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851" name="Vrije vorm: vorm 5850">
                <a:extLst>
                  <a:ext uri="{FF2B5EF4-FFF2-40B4-BE49-F238E27FC236}">
                    <a16:creationId xmlns:a16="http://schemas.microsoft.com/office/drawing/2014/main" id="{05E85710-BDAA-4263-BFE4-4889FABA04DE}"/>
                  </a:ext>
                </a:extLst>
              </p:cNvPr>
              <p:cNvSpPr/>
              <p:nvPr/>
            </p:nvSpPr>
            <p:spPr>
              <a:xfrm>
                <a:off x="7496128" y="1970000"/>
                <a:ext cx="34433" cy="29644"/>
              </a:xfrm>
              <a:custGeom>
                <a:avLst/>
                <a:gdLst>
                  <a:gd name="connsiteX0" fmla="*/ 31408 w 34433"/>
                  <a:gd name="connsiteY0" fmla="*/ 29395 h 29644"/>
                  <a:gd name="connsiteX1" fmla="*/ 31108 w 34433"/>
                  <a:gd name="connsiteY1" fmla="*/ 28976 h 29644"/>
                  <a:gd name="connsiteX2" fmla="*/ 23632 w 34433"/>
                  <a:gd name="connsiteY2" fmla="*/ 16656 h 29644"/>
                  <a:gd name="connsiteX3" fmla="*/ 14302 w 34433"/>
                  <a:gd name="connsiteY3" fmla="*/ 8821 h 29644"/>
                  <a:gd name="connsiteX4" fmla="*/ 905 w 34433"/>
                  <a:gd name="connsiteY4" fmla="*/ 3558 h 29644"/>
                  <a:gd name="connsiteX5" fmla="*/ 188 w 34433"/>
                  <a:gd name="connsiteY5" fmla="*/ 1465 h 29644"/>
                  <a:gd name="connsiteX6" fmla="*/ 2520 w 34433"/>
                  <a:gd name="connsiteY6" fmla="*/ 30 h 29644"/>
                  <a:gd name="connsiteX7" fmla="*/ 16635 w 34433"/>
                  <a:gd name="connsiteY7" fmla="*/ 5532 h 29644"/>
                  <a:gd name="connsiteX8" fmla="*/ 26443 w 34433"/>
                  <a:gd name="connsiteY8" fmla="*/ 13785 h 29644"/>
                  <a:gd name="connsiteX9" fmla="*/ 34338 w 34433"/>
                  <a:gd name="connsiteY9" fmla="*/ 26704 h 29644"/>
                  <a:gd name="connsiteX10" fmla="*/ 33321 w 34433"/>
                  <a:gd name="connsiteY10" fmla="*/ 29215 h 29644"/>
                  <a:gd name="connsiteX11" fmla="*/ 31408 w 34433"/>
                  <a:gd name="connsiteY11" fmla="*/ 29395 h 2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433" h="29644">
                    <a:moveTo>
                      <a:pt x="31408" y="29395"/>
                    </a:moveTo>
                    <a:cubicBezTo>
                      <a:pt x="31288" y="29275"/>
                      <a:pt x="31168" y="29156"/>
                      <a:pt x="31108" y="28976"/>
                    </a:cubicBezTo>
                    <a:cubicBezTo>
                      <a:pt x="29195" y="24251"/>
                      <a:pt x="26802" y="20304"/>
                      <a:pt x="23632" y="16656"/>
                    </a:cubicBezTo>
                    <a:cubicBezTo>
                      <a:pt x="20882" y="13486"/>
                      <a:pt x="17891" y="11034"/>
                      <a:pt x="14302" y="8821"/>
                    </a:cubicBezTo>
                    <a:cubicBezTo>
                      <a:pt x="10176" y="6309"/>
                      <a:pt x="5870" y="4635"/>
                      <a:pt x="905" y="3558"/>
                    </a:cubicBezTo>
                    <a:cubicBezTo>
                      <a:pt x="68" y="3379"/>
                      <a:pt x="-231" y="2422"/>
                      <a:pt x="188" y="1465"/>
                    </a:cubicBezTo>
                    <a:cubicBezTo>
                      <a:pt x="607" y="508"/>
                      <a:pt x="1683" y="-150"/>
                      <a:pt x="2520" y="30"/>
                    </a:cubicBezTo>
                    <a:cubicBezTo>
                      <a:pt x="7783" y="1166"/>
                      <a:pt x="12269" y="2900"/>
                      <a:pt x="16635" y="5532"/>
                    </a:cubicBezTo>
                    <a:cubicBezTo>
                      <a:pt x="20403" y="7804"/>
                      <a:pt x="23513" y="10436"/>
                      <a:pt x="26443" y="13785"/>
                    </a:cubicBezTo>
                    <a:cubicBezTo>
                      <a:pt x="29793" y="17613"/>
                      <a:pt x="32304" y="21740"/>
                      <a:pt x="34338" y="26704"/>
                    </a:cubicBezTo>
                    <a:cubicBezTo>
                      <a:pt x="34637" y="27481"/>
                      <a:pt x="34218" y="28617"/>
                      <a:pt x="33321" y="29215"/>
                    </a:cubicBezTo>
                    <a:cubicBezTo>
                      <a:pt x="32604" y="29754"/>
                      <a:pt x="31826" y="29754"/>
                      <a:pt x="31408" y="29395"/>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grpSp>
        <p:grpSp>
          <p:nvGrpSpPr>
            <p:cNvPr id="5364" name="Graphic 3">
              <a:extLst>
                <a:ext uri="{FF2B5EF4-FFF2-40B4-BE49-F238E27FC236}">
                  <a16:creationId xmlns:a16="http://schemas.microsoft.com/office/drawing/2014/main" id="{664BBE12-676C-4452-922C-2CEA1CD0740C}"/>
                </a:ext>
              </a:extLst>
            </p:cNvPr>
            <p:cNvGrpSpPr/>
            <p:nvPr/>
          </p:nvGrpSpPr>
          <p:grpSpPr>
            <a:xfrm>
              <a:off x="6367634" y="1527516"/>
              <a:ext cx="329358" cy="365063"/>
              <a:chOff x="6367634" y="1527516"/>
              <a:chExt cx="329358" cy="365063"/>
            </a:xfrm>
            <a:noFill/>
          </p:grpSpPr>
          <p:sp>
            <p:nvSpPr>
              <p:cNvPr id="5370" name="Vrije vorm: vorm 5369">
                <a:extLst>
                  <a:ext uri="{FF2B5EF4-FFF2-40B4-BE49-F238E27FC236}">
                    <a16:creationId xmlns:a16="http://schemas.microsoft.com/office/drawing/2014/main" id="{6B179E7B-906F-4683-9058-907C50DC9542}"/>
                  </a:ext>
                </a:extLst>
              </p:cNvPr>
              <p:cNvSpPr/>
              <p:nvPr/>
            </p:nvSpPr>
            <p:spPr>
              <a:xfrm>
                <a:off x="6539042" y="1873262"/>
                <a:ext cx="1255" cy="2093"/>
              </a:xfrm>
              <a:custGeom>
                <a:avLst/>
                <a:gdLst>
                  <a:gd name="connsiteX0" fmla="*/ 1256 w 1255"/>
                  <a:gd name="connsiteY0" fmla="*/ 0 h 2093"/>
                  <a:gd name="connsiteX1" fmla="*/ 1256 w 1255"/>
                  <a:gd name="connsiteY1" fmla="*/ 0 h 2093"/>
                  <a:gd name="connsiteX2" fmla="*/ 778 w 1255"/>
                  <a:gd name="connsiteY2" fmla="*/ 777 h 2093"/>
                  <a:gd name="connsiteX3" fmla="*/ 0 w 1255"/>
                  <a:gd name="connsiteY3" fmla="*/ 2093 h 2093"/>
                </a:gdLst>
                <a:ahLst/>
                <a:cxnLst>
                  <a:cxn ang="0">
                    <a:pos x="connsiteX0" y="connsiteY0"/>
                  </a:cxn>
                  <a:cxn ang="0">
                    <a:pos x="connsiteX1" y="connsiteY1"/>
                  </a:cxn>
                  <a:cxn ang="0">
                    <a:pos x="connsiteX2" y="connsiteY2"/>
                  </a:cxn>
                  <a:cxn ang="0">
                    <a:pos x="connsiteX3" y="connsiteY3"/>
                  </a:cxn>
                </a:cxnLst>
                <a:rect l="l" t="t" r="r" b="b"/>
                <a:pathLst>
                  <a:path w="1255" h="2093">
                    <a:moveTo>
                      <a:pt x="1256" y="0"/>
                    </a:moveTo>
                    <a:lnTo>
                      <a:pt x="1256" y="0"/>
                    </a:lnTo>
                    <a:lnTo>
                      <a:pt x="778" y="777"/>
                    </a:lnTo>
                    <a:lnTo>
                      <a:pt x="0" y="2093"/>
                    </a:lnTo>
                  </a:path>
                </a:pathLst>
              </a:custGeom>
              <a:noFill/>
              <a:ln w="6350" cap="rnd">
                <a:solidFill>
                  <a:schemeClr val="bg1">
                    <a:alpha val="80000"/>
                  </a:schemeClr>
                </a:solidFill>
                <a:prstDash val="solid"/>
                <a:round/>
              </a:ln>
            </p:spPr>
            <p:txBody>
              <a:bodyPr rtlCol="0" anchor="ctr"/>
              <a:lstStyle/>
              <a:p>
                <a:endParaRPr lang="en-GB"/>
              </a:p>
            </p:txBody>
          </p:sp>
          <p:sp>
            <p:nvSpPr>
              <p:cNvPr id="5371" name="Vrije vorm: vorm 5370">
                <a:extLst>
                  <a:ext uri="{FF2B5EF4-FFF2-40B4-BE49-F238E27FC236}">
                    <a16:creationId xmlns:a16="http://schemas.microsoft.com/office/drawing/2014/main" id="{293F8626-F20C-4084-822C-59268FBD3615}"/>
                  </a:ext>
                </a:extLst>
              </p:cNvPr>
              <p:cNvSpPr/>
              <p:nvPr/>
            </p:nvSpPr>
            <p:spPr>
              <a:xfrm>
                <a:off x="6539640" y="187661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372" name="Vrije vorm: vorm 5371">
                <a:extLst>
                  <a:ext uri="{FF2B5EF4-FFF2-40B4-BE49-F238E27FC236}">
                    <a16:creationId xmlns:a16="http://schemas.microsoft.com/office/drawing/2014/main" id="{8361CD47-2CC2-4CF3-AF7A-004F20B560B4}"/>
                  </a:ext>
                </a:extLst>
              </p:cNvPr>
              <p:cNvSpPr/>
              <p:nvPr/>
            </p:nvSpPr>
            <p:spPr>
              <a:xfrm>
                <a:off x="6534138" y="1837677"/>
                <a:ext cx="2571" cy="4365"/>
              </a:xfrm>
              <a:custGeom>
                <a:avLst/>
                <a:gdLst>
                  <a:gd name="connsiteX0" fmla="*/ 0 w 2571"/>
                  <a:gd name="connsiteY0" fmla="*/ 4366 h 4365"/>
                  <a:gd name="connsiteX1" fmla="*/ 179 w 2571"/>
                  <a:gd name="connsiteY1" fmla="*/ 4067 h 4365"/>
                  <a:gd name="connsiteX2" fmla="*/ 299 w 2571"/>
                  <a:gd name="connsiteY2" fmla="*/ 3888 h 4365"/>
                  <a:gd name="connsiteX3" fmla="*/ 1196 w 2571"/>
                  <a:gd name="connsiteY3" fmla="*/ 2332 h 4365"/>
                  <a:gd name="connsiteX4" fmla="*/ 2572 w 2571"/>
                  <a:gd name="connsiteY4" fmla="*/ 0 h 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 h="4365">
                    <a:moveTo>
                      <a:pt x="0" y="4366"/>
                    </a:moveTo>
                    <a:lnTo>
                      <a:pt x="179" y="4067"/>
                    </a:lnTo>
                    <a:lnTo>
                      <a:pt x="299" y="3888"/>
                    </a:lnTo>
                    <a:lnTo>
                      <a:pt x="1196" y="2332"/>
                    </a:lnTo>
                    <a:lnTo>
                      <a:pt x="2572" y="0"/>
                    </a:lnTo>
                  </a:path>
                </a:pathLst>
              </a:custGeom>
              <a:noFill/>
              <a:ln w="6350" cap="rnd">
                <a:solidFill>
                  <a:schemeClr val="bg1">
                    <a:alpha val="80000"/>
                  </a:schemeClr>
                </a:solidFill>
                <a:prstDash val="solid"/>
                <a:round/>
              </a:ln>
            </p:spPr>
            <p:txBody>
              <a:bodyPr rtlCol="0" anchor="ctr"/>
              <a:lstStyle/>
              <a:p>
                <a:endParaRPr lang="en-GB"/>
              </a:p>
            </p:txBody>
          </p:sp>
          <p:sp>
            <p:nvSpPr>
              <p:cNvPr id="5373" name="Vrije vorm: vorm 5372">
                <a:extLst>
                  <a:ext uri="{FF2B5EF4-FFF2-40B4-BE49-F238E27FC236}">
                    <a16:creationId xmlns:a16="http://schemas.microsoft.com/office/drawing/2014/main" id="{F1EEC780-DC9F-4B7C-93C8-AC568EA79FAD}"/>
                  </a:ext>
                </a:extLst>
              </p:cNvPr>
              <p:cNvSpPr/>
              <p:nvPr/>
            </p:nvSpPr>
            <p:spPr>
              <a:xfrm>
                <a:off x="6407526" y="1761303"/>
                <a:ext cx="1734" cy="2990"/>
              </a:xfrm>
              <a:custGeom>
                <a:avLst/>
                <a:gdLst>
                  <a:gd name="connsiteX0" fmla="*/ 1735 w 1734"/>
                  <a:gd name="connsiteY0" fmla="*/ 0 h 2990"/>
                  <a:gd name="connsiteX1" fmla="*/ 1615 w 1734"/>
                  <a:gd name="connsiteY1" fmla="*/ 179 h 2990"/>
                  <a:gd name="connsiteX2" fmla="*/ 1077 w 1734"/>
                  <a:gd name="connsiteY2" fmla="*/ 1136 h 2990"/>
                  <a:gd name="connsiteX3" fmla="*/ 1017 w 1734"/>
                  <a:gd name="connsiteY3" fmla="*/ 1256 h 2990"/>
                  <a:gd name="connsiteX4" fmla="*/ 0 w 1734"/>
                  <a:gd name="connsiteY4" fmla="*/ 299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4" h="2990">
                    <a:moveTo>
                      <a:pt x="1735" y="0"/>
                    </a:moveTo>
                    <a:lnTo>
                      <a:pt x="1615" y="179"/>
                    </a:lnTo>
                    <a:lnTo>
                      <a:pt x="1077" y="1136"/>
                    </a:lnTo>
                    <a:lnTo>
                      <a:pt x="1017" y="1256"/>
                    </a:lnTo>
                    <a:lnTo>
                      <a:pt x="0" y="2990"/>
                    </a:lnTo>
                  </a:path>
                </a:pathLst>
              </a:custGeom>
              <a:noFill/>
              <a:ln w="6350" cap="rnd">
                <a:solidFill>
                  <a:schemeClr val="bg1">
                    <a:alpha val="80000"/>
                  </a:schemeClr>
                </a:solidFill>
                <a:prstDash val="solid"/>
                <a:round/>
              </a:ln>
            </p:spPr>
            <p:txBody>
              <a:bodyPr rtlCol="0" anchor="ctr"/>
              <a:lstStyle/>
              <a:p>
                <a:endParaRPr lang="en-GB"/>
              </a:p>
            </p:txBody>
          </p:sp>
          <p:sp>
            <p:nvSpPr>
              <p:cNvPr id="5374" name="Vrije vorm: vorm 5373">
                <a:extLst>
                  <a:ext uri="{FF2B5EF4-FFF2-40B4-BE49-F238E27FC236}">
                    <a16:creationId xmlns:a16="http://schemas.microsoft.com/office/drawing/2014/main" id="{486B8681-229B-4759-95AC-12CD17C86422}"/>
                  </a:ext>
                </a:extLst>
              </p:cNvPr>
              <p:cNvSpPr/>
              <p:nvPr/>
            </p:nvSpPr>
            <p:spPr>
              <a:xfrm>
                <a:off x="6513983" y="1845332"/>
                <a:ext cx="657" cy="1076"/>
              </a:xfrm>
              <a:custGeom>
                <a:avLst/>
                <a:gdLst>
                  <a:gd name="connsiteX0" fmla="*/ 658 w 657"/>
                  <a:gd name="connsiteY0" fmla="*/ 0 h 1076"/>
                  <a:gd name="connsiteX1" fmla="*/ 0 w 657"/>
                  <a:gd name="connsiteY1" fmla="*/ 1077 h 1076"/>
                </a:gdLst>
                <a:ahLst/>
                <a:cxnLst>
                  <a:cxn ang="0">
                    <a:pos x="connsiteX0" y="connsiteY0"/>
                  </a:cxn>
                  <a:cxn ang="0">
                    <a:pos x="connsiteX1" y="connsiteY1"/>
                  </a:cxn>
                </a:cxnLst>
                <a:rect l="l" t="t" r="r" b="b"/>
                <a:pathLst>
                  <a:path w="657" h="1076">
                    <a:moveTo>
                      <a:pt x="658" y="0"/>
                    </a:moveTo>
                    <a:lnTo>
                      <a:pt x="0" y="1077"/>
                    </a:lnTo>
                  </a:path>
                </a:pathLst>
              </a:custGeom>
              <a:noFill/>
              <a:ln w="6350" cap="rnd">
                <a:solidFill>
                  <a:schemeClr val="bg1">
                    <a:alpha val="80000"/>
                  </a:schemeClr>
                </a:solidFill>
                <a:prstDash val="solid"/>
                <a:round/>
              </a:ln>
            </p:spPr>
            <p:txBody>
              <a:bodyPr rtlCol="0" anchor="ctr"/>
              <a:lstStyle/>
              <a:p>
                <a:endParaRPr lang="en-GB"/>
              </a:p>
            </p:txBody>
          </p:sp>
          <p:sp>
            <p:nvSpPr>
              <p:cNvPr id="5375" name="Vrije vorm: vorm 5374">
                <a:extLst>
                  <a:ext uri="{FF2B5EF4-FFF2-40B4-BE49-F238E27FC236}">
                    <a16:creationId xmlns:a16="http://schemas.microsoft.com/office/drawing/2014/main" id="{FDDA138A-97A5-4B0D-B917-E8E30B0A8B46}"/>
                  </a:ext>
                </a:extLst>
              </p:cNvPr>
              <p:cNvSpPr/>
              <p:nvPr/>
            </p:nvSpPr>
            <p:spPr>
              <a:xfrm>
                <a:off x="6500885" y="1693840"/>
                <a:ext cx="21650" cy="12559"/>
              </a:xfrm>
              <a:custGeom>
                <a:avLst/>
                <a:gdLst>
                  <a:gd name="connsiteX0" fmla="*/ 21650 w 21650"/>
                  <a:gd name="connsiteY0" fmla="*/ 12559 h 12559"/>
                  <a:gd name="connsiteX1" fmla="*/ 20274 w 21650"/>
                  <a:gd name="connsiteY1" fmla="*/ 11722 h 12559"/>
                  <a:gd name="connsiteX2" fmla="*/ 19258 w 21650"/>
                  <a:gd name="connsiteY2" fmla="*/ 11124 h 12559"/>
                  <a:gd name="connsiteX3" fmla="*/ 16686 w 21650"/>
                  <a:gd name="connsiteY3" fmla="*/ 9629 h 12559"/>
                  <a:gd name="connsiteX4" fmla="*/ 15729 w 21650"/>
                  <a:gd name="connsiteY4" fmla="*/ 9091 h 12559"/>
                  <a:gd name="connsiteX5" fmla="*/ 13995 w 21650"/>
                  <a:gd name="connsiteY5" fmla="*/ 8074 h 12559"/>
                  <a:gd name="connsiteX6" fmla="*/ 11423 w 21650"/>
                  <a:gd name="connsiteY6" fmla="*/ 6579 h 12559"/>
                  <a:gd name="connsiteX7" fmla="*/ 8851 w 21650"/>
                  <a:gd name="connsiteY7" fmla="*/ 5084 h 12559"/>
                  <a:gd name="connsiteX8" fmla="*/ 8732 w 21650"/>
                  <a:gd name="connsiteY8" fmla="*/ 5024 h 12559"/>
                  <a:gd name="connsiteX9" fmla="*/ 8014 w 21650"/>
                  <a:gd name="connsiteY9" fmla="*/ 4605 h 12559"/>
                  <a:gd name="connsiteX10" fmla="*/ 6399 w 21650"/>
                  <a:gd name="connsiteY10" fmla="*/ 3648 h 12559"/>
                  <a:gd name="connsiteX11" fmla="*/ 4605 w 21650"/>
                  <a:gd name="connsiteY11" fmla="*/ 2631 h 12559"/>
                  <a:gd name="connsiteX12" fmla="*/ 2033 w 21650"/>
                  <a:gd name="connsiteY12" fmla="*/ 1136 h 12559"/>
                  <a:gd name="connsiteX13" fmla="*/ 60 w 21650"/>
                  <a:gd name="connsiteY13" fmla="*/ 0 h 12559"/>
                  <a:gd name="connsiteX14" fmla="*/ 0 w 21650"/>
                  <a:gd name="connsiteY14"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650" h="12559">
                    <a:moveTo>
                      <a:pt x="21650" y="12559"/>
                    </a:moveTo>
                    <a:lnTo>
                      <a:pt x="20274" y="11722"/>
                    </a:lnTo>
                    <a:lnTo>
                      <a:pt x="19258" y="11124"/>
                    </a:lnTo>
                    <a:lnTo>
                      <a:pt x="16686" y="9629"/>
                    </a:lnTo>
                    <a:lnTo>
                      <a:pt x="15729" y="9091"/>
                    </a:lnTo>
                    <a:lnTo>
                      <a:pt x="13995" y="8074"/>
                    </a:lnTo>
                    <a:lnTo>
                      <a:pt x="11423" y="6579"/>
                    </a:lnTo>
                    <a:lnTo>
                      <a:pt x="8851" y="5084"/>
                    </a:lnTo>
                    <a:lnTo>
                      <a:pt x="8732" y="5024"/>
                    </a:lnTo>
                    <a:lnTo>
                      <a:pt x="8014" y="4605"/>
                    </a:lnTo>
                    <a:lnTo>
                      <a:pt x="6399" y="3648"/>
                    </a:lnTo>
                    <a:lnTo>
                      <a:pt x="4605" y="2631"/>
                    </a:lnTo>
                    <a:lnTo>
                      <a:pt x="2033" y="1136"/>
                    </a:lnTo>
                    <a:lnTo>
                      <a:pt x="60" y="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376" name="Vrije vorm: vorm 5375">
                <a:extLst>
                  <a:ext uri="{FF2B5EF4-FFF2-40B4-BE49-F238E27FC236}">
                    <a16:creationId xmlns:a16="http://schemas.microsoft.com/office/drawing/2014/main" id="{F2E7221D-D628-4A3E-AF57-A2B3EDD3C5E9}"/>
                  </a:ext>
                </a:extLst>
              </p:cNvPr>
              <p:cNvSpPr/>
              <p:nvPr/>
            </p:nvSpPr>
            <p:spPr>
              <a:xfrm>
                <a:off x="6458541" y="1668721"/>
                <a:ext cx="597" cy="239"/>
              </a:xfrm>
              <a:custGeom>
                <a:avLst/>
                <a:gdLst>
                  <a:gd name="connsiteX0" fmla="*/ 598 w 597"/>
                  <a:gd name="connsiteY0" fmla="*/ 239 h 239"/>
                  <a:gd name="connsiteX1" fmla="*/ 538 w 597"/>
                  <a:gd name="connsiteY1" fmla="*/ 179 h 239"/>
                  <a:gd name="connsiteX2" fmla="*/ 0 w 597"/>
                  <a:gd name="connsiteY2" fmla="*/ 0 h 239"/>
                </a:gdLst>
                <a:ahLst/>
                <a:cxnLst>
                  <a:cxn ang="0">
                    <a:pos x="connsiteX0" y="connsiteY0"/>
                  </a:cxn>
                  <a:cxn ang="0">
                    <a:pos x="connsiteX1" y="connsiteY1"/>
                  </a:cxn>
                  <a:cxn ang="0">
                    <a:pos x="connsiteX2" y="connsiteY2"/>
                  </a:cxn>
                </a:cxnLst>
                <a:rect l="l" t="t" r="r" b="b"/>
                <a:pathLst>
                  <a:path w="597" h="239">
                    <a:moveTo>
                      <a:pt x="598" y="239"/>
                    </a:moveTo>
                    <a:lnTo>
                      <a:pt x="538" y="17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377" name="Vrije vorm: vorm 5376">
                <a:extLst>
                  <a:ext uri="{FF2B5EF4-FFF2-40B4-BE49-F238E27FC236}">
                    <a16:creationId xmlns:a16="http://schemas.microsoft.com/office/drawing/2014/main" id="{3792EA46-20CC-44FF-BAA6-B7E3255BC42D}"/>
                  </a:ext>
                </a:extLst>
              </p:cNvPr>
              <p:cNvSpPr/>
              <p:nvPr/>
            </p:nvSpPr>
            <p:spPr>
              <a:xfrm>
                <a:off x="6367634" y="1735885"/>
                <a:ext cx="192340" cy="156694"/>
              </a:xfrm>
              <a:custGeom>
                <a:avLst/>
                <a:gdLst>
                  <a:gd name="connsiteX0" fmla="*/ 171587 w 192340"/>
                  <a:gd name="connsiteY0" fmla="*/ 131875 h 156694"/>
                  <a:gd name="connsiteX1" fmla="*/ 173740 w 192340"/>
                  <a:gd name="connsiteY1" fmla="*/ 133908 h 156694"/>
                  <a:gd name="connsiteX2" fmla="*/ 175893 w 192340"/>
                  <a:gd name="connsiteY2" fmla="*/ 135942 h 156694"/>
                  <a:gd name="connsiteX3" fmla="*/ 178046 w 192340"/>
                  <a:gd name="connsiteY3" fmla="*/ 137975 h 156694"/>
                  <a:gd name="connsiteX4" fmla="*/ 180199 w 192340"/>
                  <a:gd name="connsiteY4" fmla="*/ 140009 h 156694"/>
                  <a:gd name="connsiteX5" fmla="*/ 182352 w 192340"/>
                  <a:gd name="connsiteY5" fmla="*/ 142042 h 156694"/>
                  <a:gd name="connsiteX6" fmla="*/ 184506 w 192340"/>
                  <a:gd name="connsiteY6" fmla="*/ 144076 h 156694"/>
                  <a:gd name="connsiteX7" fmla="*/ 186658 w 192340"/>
                  <a:gd name="connsiteY7" fmla="*/ 146109 h 156694"/>
                  <a:gd name="connsiteX8" fmla="*/ 188811 w 192340"/>
                  <a:gd name="connsiteY8" fmla="*/ 148142 h 156694"/>
                  <a:gd name="connsiteX9" fmla="*/ 190964 w 192340"/>
                  <a:gd name="connsiteY9" fmla="*/ 150176 h 156694"/>
                  <a:gd name="connsiteX10" fmla="*/ 192340 w 192340"/>
                  <a:gd name="connsiteY10" fmla="*/ 151492 h 156694"/>
                  <a:gd name="connsiteX11" fmla="*/ 190905 w 192340"/>
                  <a:gd name="connsiteY11" fmla="*/ 153944 h 156694"/>
                  <a:gd name="connsiteX12" fmla="*/ 189469 w 192340"/>
                  <a:gd name="connsiteY12" fmla="*/ 156396 h 156694"/>
                  <a:gd name="connsiteX13" fmla="*/ 189290 w 192340"/>
                  <a:gd name="connsiteY13" fmla="*/ 156695 h 156694"/>
                  <a:gd name="connsiteX14" fmla="*/ 186479 w 192340"/>
                  <a:gd name="connsiteY14" fmla="*/ 155738 h 156694"/>
                  <a:gd name="connsiteX15" fmla="*/ 183668 w 192340"/>
                  <a:gd name="connsiteY15" fmla="*/ 154781 h 156694"/>
                  <a:gd name="connsiteX16" fmla="*/ 180857 w 192340"/>
                  <a:gd name="connsiteY16" fmla="*/ 153824 h 156694"/>
                  <a:gd name="connsiteX17" fmla="*/ 178046 w 192340"/>
                  <a:gd name="connsiteY17" fmla="*/ 152867 h 156694"/>
                  <a:gd name="connsiteX18" fmla="*/ 175235 w 192340"/>
                  <a:gd name="connsiteY18" fmla="*/ 151910 h 156694"/>
                  <a:gd name="connsiteX19" fmla="*/ 172424 w 192340"/>
                  <a:gd name="connsiteY19" fmla="*/ 150953 h 156694"/>
                  <a:gd name="connsiteX20" fmla="*/ 169613 w 192340"/>
                  <a:gd name="connsiteY20" fmla="*/ 149996 h 156694"/>
                  <a:gd name="connsiteX21" fmla="*/ 166802 w 192340"/>
                  <a:gd name="connsiteY21" fmla="*/ 149040 h 156694"/>
                  <a:gd name="connsiteX22" fmla="*/ 163991 w 192340"/>
                  <a:gd name="connsiteY22" fmla="*/ 148083 h 156694"/>
                  <a:gd name="connsiteX23" fmla="*/ 161181 w 192340"/>
                  <a:gd name="connsiteY23" fmla="*/ 147126 h 156694"/>
                  <a:gd name="connsiteX24" fmla="*/ 158369 w 192340"/>
                  <a:gd name="connsiteY24" fmla="*/ 146169 h 156694"/>
                  <a:gd name="connsiteX25" fmla="*/ 155559 w 192340"/>
                  <a:gd name="connsiteY25" fmla="*/ 145212 h 156694"/>
                  <a:gd name="connsiteX26" fmla="*/ 152748 w 192340"/>
                  <a:gd name="connsiteY26" fmla="*/ 144255 h 156694"/>
                  <a:gd name="connsiteX27" fmla="*/ 149937 w 192340"/>
                  <a:gd name="connsiteY27" fmla="*/ 143298 h 156694"/>
                  <a:gd name="connsiteX28" fmla="*/ 147126 w 192340"/>
                  <a:gd name="connsiteY28" fmla="*/ 142341 h 156694"/>
                  <a:gd name="connsiteX29" fmla="*/ 144315 w 192340"/>
                  <a:gd name="connsiteY29" fmla="*/ 141384 h 156694"/>
                  <a:gd name="connsiteX30" fmla="*/ 141504 w 192340"/>
                  <a:gd name="connsiteY30" fmla="*/ 140427 h 156694"/>
                  <a:gd name="connsiteX31" fmla="*/ 138693 w 192340"/>
                  <a:gd name="connsiteY31" fmla="*/ 139470 h 156694"/>
                  <a:gd name="connsiteX32" fmla="*/ 135882 w 192340"/>
                  <a:gd name="connsiteY32" fmla="*/ 138513 h 156694"/>
                  <a:gd name="connsiteX33" fmla="*/ 133071 w 192340"/>
                  <a:gd name="connsiteY33" fmla="*/ 137557 h 156694"/>
                  <a:gd name="connsiteX34" fmla="*/ 130260 w 192340"/>
                  <a:gd name="connsiteY34" fmla="*/ 136600 h 156694"/>
                  <a:gd name="connsiteX35" fmla="*/ 127449 w 192340"/>
                  <a:gd name="connsiteY35" fmla="*/ 135643 h 156694"/>
                  <a:gd name="connsiteX36" fmla="*/ 124638 w 192340"/>
                  <a:gd name="connsiteY36" fmla="*/ 134686 h 156694"/>
                  <a:gd name="connsiteX37" fmla="*/ 121827 w 192340"/>
                  <a:gd name="connsiteY37" fmla="*/ 133729 h 156694"/>
                  <a:gd name="connsiteX38" fmla="*/ 119017 w 192340"/>
                  <a:gd name="connsiteY38" fmla="*/ 132772 h 156694"/>
                  <a:gd name="connsiteX39" fmla="*/ 116205 w 192340"/>
                  <a:gd name="connsiteY39" fmla="*/ 131815 h 156694"/>
                  <a:gd name="connsiteX40" fmla="*/ 113395 w 192340"/>
                  <a:gd name="connsiteY40" fmla="*/ 130858 h 156694"/>
                  <a:gd name="connsiteX41" fmla="*/ 110584 w 192340"/>
                  <a:gd name="connsiteY41" fmla="*/ 129901 h 156694"/>
                  <a:gd name="connsiteX42" fmla="*/ 107773 w 192340"/>
                  <a:gd name="connsiteY42" fmla="*/ 128944 h 156694"/>
                  <a:gd name="connsiteX43" fmla="*/ 104962 w 192340"/>
                  <a:gd name="connsiteY43" fmla="*/ 127987 h 156694"/>
                  <a:gd name="connsiteX44" fmla="*/ 102151 w 192340"/>
                  <a:gd name="connsiteY44" fmla="*/ 127030 h 156694"/>
                  <a:gd name="connsiteX45" fmla="*/ 99340 w 192340"/>
                  <a:gd name="connsiteY45" fmla="*/ 126074 h 156694"/>
                  <a:gd name="connsiteX46" fmla="*/ 96529 w 192340"/>
                  <a:gd name="connsiteY46" fmla="*/ 125117 h 156694"/>
                  <a:gd name="connsiteX47" fmla="*/ 93718 w 192340"/>
                  <a:gd name="connsiteY47" fmla="*/ 124160 h 156694"/>
                  <a:gd name="connsiteX48" fmla="*/ 90907 w 192340"/>
                  <a:gd name="connsiteY48" fmla="*/ 123203 h 156694"/>
                  <a:gd name="connsiteX49" fmla="*/ 88096 w 192340"/>
                  <a:gd name="connsiteY49" fmla="*/ 122246 h 156694"/>
                  <a:gd name="connsiteX50" fmla="*/ 85285 w 192340"/>
                  <a:gd name="connsiteY50" fmla="*/ 121289 h 156694"/>
                  <a:gd name="connsiteX51" fmla="*/ 82474 w 192340"/>
                  <a:gd name="connsiteY51" fmla="*/ 120332 h 156694"/>
                  <a:gd name="connsiteX52" fmla="*/ 79663 w 192340"/>
                  <a:gd name="connsiteY52" fmla="*/ 119375 h 156694"/>
                  <a:gd name="connsiteX53" fmla="*/ 76853 w 192340"/>
                  <a:gd name="connsiteY53" fmla="*/ 118418 h 156694"/>
                  <a:gd name="connsiteX54" fmla="*/ 75716 w 192340"/>
                  <a:gd name="connsiteY54" fmla="*/ 118059 h 156694"/>
                  <a:gd name="connsiteX55" fmla="*/ 73802 w 192340"/>
                  <a:gd name="connsiteY55" fmla="*/ 115787 h 156694"/>
                  <a:gd name="connsiteX56" fmla="*/ 71888 w 192340"/>
                  <a:gd name="connsiteY56" fmla="*/ 113514 h 156694"/>
                  <a:gd name="connsiteX57" fmla="*/ 69975 w 192340"/>
                  <a:gd name="connsiteY57" fmla="*/ 111241 h 156694"/>
                  <a:gd name="connsiteX58" fmla="*/ 68061 w 192340"/>
                  <a:gd name="connsiteY58" fmla="*/ 108969 h 156694"/>
                  <a:gd name="connsiteX59" fmla="*/ 66147 w 192340"/>
                  <a:gd name="connsiteY59" fmla="*/ 106696 h 156694"/>
                  <a:gd name="connsiteX60" fmla="*/ 64233 w 192340"/>
                  <a:gd name="connsiteY60" fmla="*/ 104423 h 156694"/>
                  <a:gd name="connsiteX61" fmla="*/ 62319 w 192340"/>
                  <a:gd name="connsiteY61" fmla="*/ 102151 h 156694"/>
                  <a:gd name="connsiteX62" fmla="*/ 60406 w 192340"/>
                  <a:gd name="connsiteY62" fmla="*/ 99878 h 156694"/>
                  <a:gd name="connsiteX63" fmla="*/ 58492 w 192340"/>
                  <a:gd name="connsiteY63" fmla="*/ 97605 h 156694"/>
                  <a:gd name="connsiteX64" fmla="*/ 56578 w 192340"/>
                  <a:gd name="connsiteY64" fmla="*/ 95333 h 156694"/>
                  <a:gd name="connsiteX65" fmla="*/ 54664 w 192340"/>
                  <a:gd name="connsiteY65" fmla="*/ 93060 h 156694"/>
                  <a:gd name="connsiteX66" fmla="*/ 52750 w 192340"/>
                  <a:gd name="connsiteY66" fmla="*/ 90787 h 156694"/>
                  <a:gd name="connsiteX67" fmla="*/ 50836 w 192340"/>
                  <a:gd name="connsiteY67" fmla="*/ 88515 h 156694"/>
                  <a:gd name="connsiteX68" fmla="*/ 48922 w 192340"/>
                  <a:gd name="connsiteY68" fmla="*/ 86242 h 156694"/>
                  <a:gd name="connsiteX69" fmla="*/ 47008 w 192340"/>
                  <a:gd name="connsiteY69" fmla="*/ 83969 h 156694"/>
                  <a:gd name="connsiteX70" fmla="*/ 45095 w 192340"/>
                  <a:gd name="connsiteY70" fmla="*/ 81697 h 156694"/>
                  <a:gd name="connsiteX71" fmla="*/ 43181 w 192340"/>
                  <a:gd name="connsiteY71" fmla="*/ 79424 h 156694"/>
                  <a:gd name="connsiteX72" fmla="*/ 41267 w 192340"/>
                  <a:gd name="connsiteY72" fmla="*/ 77151 h 156694"/>
                  <a:gd name="connsiteX73" fmla="*/ 39353 w 192340"/>
                  <a:gd name="connsiteY73" fmla="*/ 74879 h 156694"/>
                  <a:gd name="connsiteX74" fmla="*/ 37439 w 192340"/>
                  <a:gd name="connsiteY74" fmla="*/ 72606 h 156694"/>
                  <a:gd name="connsiteX75" fmla="*/ 35526 w 192340"/>
                  <a:gd name="connsiteY75" fmla="*/ 70333 h 156694"/>
                  <a:gd name="connsiteX76" fmla="*/ 33612 w 192340"/>
                  <a:gd name="connsiteY76" fmla="*/ 68061 h 156694"/>
                  <a:gd name="connsiteX77" fmla="*/ 31698 w 192340"/>
                  <a:gd name="connsiteY77" fmla="*/ 65788 h 156694"/>
                  <a:gd name="connsiteX78" fmla="*/ 29784 w 192340"/>
                  <a:gd name="connsiteY78" fmla="*/ 63515 h 156694"/>
                  <a:gd name="connsiteX79" fmla="*/ 27870 w 192340"/>
                  <a:gd name="connsiteY79" fmla="*/ 61243 h 156694"/>
                  <a:gd name="connsiteX80" fmla="*/ 25956 w 192340"/>
                  <a:gd name="connsiteY80" fmla="*/ 58970 h 156694"/>
                  <a:gd name="connsiteX81" fmla="*/ 24043 w 192340"/>
                  <a:gd name="connsiteY81" fmla="*/ 56697 h 156694"/>
                  <a:gd name="connsiteX82" fmla="*/ 22129 w 192340"/>
                  <a:gd name="connsiteY82" fmla="*/ 54425 h 156694"/>
                  <a:gd name="connsiteX83" fmla="*/ 20215 w 192340"/>
                  <a:gd name="connsiteY83" fmla="*/ 52152 h 156694"/>
                  <a:gd name="connsiteX84" fmla="*/ 18301 w 192340"/>
                  <a:gd name="connsiteY84" fmla="*/ 49879 h 156694"/>
                  <a:gd name="connsiteX85" fmla="*/ 16387 w 192340"/>
                  <a:gd name="connsiteY85" fmla="*/ 47606 h 156694"/>
                  <a:gd name="connsiteX86" fmla="*/ 14473 w 192340"/>
                  <a:gd name="connsiteY86" fmla="*/ 45334 h 156694"/>
                  <a:gd name="connsiteX87" fmla="*/ 12560 w 192340"/>
                  <a:gd name="connsiteY87" fmla="*/ 43061 h 156694"/>
                  <a:gd name="connsiteX88" fmla="*/ 10646 w 192340"/>
                  <a:gd name="connsiteY88" fmla="*/ 40788 h 156694"/>
                  <a:gd name="connsiteX89" fmla="*/ 8732 w 192340"/>
                  <a:gd name="connsiteY89" fmla="*/ 38516 h 156694"/>
                  <a:gd name="connsiteX90" fmla="*/ 6818 w 192340"/>
                  <a:gd name="connsiteY90" fmla="*/ 36243 h 156694"/>
                  <a:gd name="connsiteX91" fmla="*/ 4904 w 192340"/>
                  <a:gd name="connsiteY91" fmla="*/ 33970 h 156694"/>
                  <a:gd name="connsiteX92" fmla="*/ 2990 w 192340"/>
                  <a:gd name="connsiteY92" fmla="*/ 31698 h 156694"/>
                  <a:gd name="connsiteX93" fmla="*/ 1076 w 192340"/>
                  <a:gd name="connsiteY93" fmla="*/ 29425 h 156694"/>
                  <a:gd name="connsiteX94" fmla="*/ 0 w 192340"/>
                  <a:gd name="connsiteY94" fmla="*/ 28109 h 156694"/>
                  <a:gd name="connsiteX95" fmla="*/ 1316 w 192340"/>
                  <a:gd name="connsiteY95" fmla="*/ 25896 h 156694"/>
                  <a:gd name="connsiteX96" fmla="*/ 1675 w 192340"/>
                  <a:gd name="connsiteY96" fmla="*/ 23086 h 156694"/>
                  <a:gd name="connsiteX97" fmla="*/ 2034 w 192340"/>
                  <a:gd name="connsiteY97" fmla="*/ 20275 h 156694"/>
                  <a:gd name="connsiteX98" fmla="*/ 2392 w 192340"/>
                  <a:gd name="connsiteY98" fmla="*/ 17464 h 156694"/>
                  <a:gd name="connsiteX99" fmla="*/ 2751 w 192340"/>
                  <a:gd name="connsiteY99" fmla="*/ 14653 h 156694"/>
                  <a:gd name="connsiteX100" fmla="*/ 3110 w 192340"/>
                  <a:gd name="connsiteY100" fmla="*/ 11842 h 156694"/>
                  <a:gd name="connsiteX101" fmla="*/ 3289 w 192340"/>
                  <a:gd name="connsiteY101" fmla="*/ 10526 h 156694"/>
                  <a:gd name="connsiteX102" fmla="*/ 4725 w 192340"/>
                  <a:gd name="connsiteY102" fmla="*/ 8074 h 156694"/>
                  <a:gd name="connsiteX103" fmla="*/ 6160 w 192340"/>
                  <a:gd name="connsiteY103" fmla="*/ 5622 h 156694"/>
                  <a:gd name="connsiteX104" fmla="*/ 7596 w 192340"/>
                  <a:gd name="connsiteY104" fmla="*/ 3170 h 156694"/>
                  <a:gd name="connsiteX105" fmla="*/ 9031 w 192340"/>
                  <a:gd name="connsiteY105" fmla="*/ 718 h 156694"/>
                  <a:gd name="connsiteX106" fmla="*/ 9450 w 192340"/>
                  <a:gd name="connsiteY106" fmla="*/ 0 h 156694"/>
                  <a:gd name="connsiteX107" fmla="*/ 12141 w 192340"/>
                  <a:gd name="connsiteY107" fmla="*/ 1196 h 156694"/>
                  <a:gd name="connsiteX108" fmla="*/ 13815 w 192340"/>
                  <a:gd name="connsiteY108" fmla="*/ 1914 h 15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92340" h="156694">
                    <a:moveTo>
                      <a:pt x="171587" y="131875"/>
                    </a:moveTo>
                    <a:lnTo>
                      <a:pt x="173740" y="133908"/>
                    </a:lnTo>
                    <a:lnTo>
                      <a:pt x="175893" y="135942"/>
                    </a:lnTo>
                    <a:lnTo>
                      <a:pt x="178046" y="137975"/>
                    </a:lnTo>
                    <a:lnTo>
                      <a:pt x="180199" y="140009"/>
                    </a:lnTo>
                    <a:lnTo>
                      <a:pt x="182352" y="142042"/>
                    </a:lnTo>
                    <a:lnTo>
                      <a:pt x="184506" y="144076"/>
                    </a:lnTo>
                    <a:lnTo>
                      <a:pt x="186658" y="146109"/>
                    </a:lnTo>
                    <a:lnTo>
                      <a:pt x="188811" y="148142"/>
                    </a:lnTo>
                    <a:lnTo>
                      <a:pt x="190964" y="150176"/>
                    </a:lnTo>
                    <a:lnTo>
                      <a:pt x="192340" y="151492"/>
                    </a:lnTo>
                    <a:lnTo>
                      <a:pt x="190905" y="153944"/>
                    </a:lnTo>
                    <a:lnTo>
                      <a:pt x="189469" y="156396"/>
                    </a:lnTo>
                    <a:lnTo>
                      <a:pt x="189290" y="156695"/>
                    </a:lnTo>
                    <a:lnTo>
                      <a:pt x="186479" y="155738"/>
                    </a:lnTo>
                    <a:lnTo>
                      <a:pt x="183668" y="154781"/>
                    </a:lnTo>
                    <a:lnTo>
                      <a:pt x="180857" y="153824"/>
                    </a:lnTo>
                    <a:lnTo>
                      <a:pt x="178046" y="152867"/>
                    </a:lnTo>
                    <a:lnTo>
                      <a:pt x="175235" y="151910"/>
                    </a:lnTo>
                    <a:lnTo>
                      <a:pt x="172424" y="150953"/>
                    </a:lnTo>
                    <a:lnTo>
                      <a:pt x="169613" y="149996"/>
                    </a:lnTo>
                    <a:lnTo>
                      <a:pt x="166802" y="149040"/>
                    </a:lnTo>
                    <a:lnTo>
                      <a:pt x="163991" y="148083"/>
                    </a:lnTo>
                    <a:lnTo>
                      <a:pt x="161181" y="147126"/>
                    </a:lnTo>
                    <a:lnTo>
                      <a:pt x="158369" y="146169"/>
                    </a:lnTo>
                    <a:lnTo>
                      <a:pt x="155559" y="145212"/>
                    </a:lnTo>
                    <a:lnTo>
                      <a:pt x="152748" y="144255"/>
                    </a:lnTo>
                    <a:lnTo>
                      <a:pt x="149937" y="143298"/>
                    </a:lnTo>
                    <a:lnTo>
                      <a:pt x="147126" y="142341"/>
                    </a:lnTo>
                    <a:lnTo>
                      <a:pt x="144315" y="141384"/>
                    </a:lnTo>
                    <a:lnTo>
                      <a:pt x="141504" y="140427"/>
                    </a:lnTo>
                    <a:lnTo>
                      <a:pt x="138693" y="139470"/>
                    </a:lnTo>
                    <a:lnTo>
                      <a:pt x="135882" y="138513"/>
                    </a:lnTo>
                    <a:lnTo>
                      <a:pt x="133071" y="137557"/>
                    </a:lnTo>
                    <a:lnTo>
                      <a:pt x="130260" y="136600"/>
                    </a:lnTo>
                    <a:lnTo>
                      <a:pt x="127449" y="135643"/>
                    </a:lnTo>
                    <a:lnTo>
                      <a:pt x="124638" y="134686"/>
                    </a:lnTo>
                    <a:lnTo>
                      <a:pt x="121827" y="133729"/>
                    </a:lnTo>
                    <a:lnTo>
                      <a:pt x="119017" y="132772"/>
                    </a:lnTo>
                    <a:lnTo>
                      <a:pt x="116205" y="131815"/>
                    </a:lnTo>
                    <a:lnTo>
                      <a:pt x="113395" y="130858"/>
                    </a:lnTo>
                    <a:lnTo>
                      <a:pt x="110584" y="129901"/>
                    </a:lnTo>
                    <a:lnTo>
                      <a:pt x="107773" y="128944"/>
                    </a:lnTo>
                    <a:lnTo>
                      <a:pt x="104962" y="127987"/>
                    </a:lnTo>
                    <a:lnTo>
                      <a:pt x="102151" y="127030"/>
                    </a:lnTo>
                    <a:lnTo>
                      <a:pt x="99340" y="126074"/>
                    </a:lnTo>
                    <a:lnTo>
                      <a:pt x="96529" y="125117"/>
                    </a:lnTo>
                    <a:lnTo>
                      <a:pt x="93718" y="124160"/>
                    </a:lnTo>
                    <a:lnTo>
                      <a:pt x="90907" y="123203"/>
                    </a:lnTo>
                    <a:lnTo>
                      <a:pt x="88096" y="122246"/>
                    </a:lnTo>
                    <a:lnTo>
                      <a:pt x="85285" y="121289"/>
                    </a:lnTo>
                    <a:lnTo>
                      <a:pt x="82474" y="120332"/>
                    </a:lnTo>
                    <a:lnTo>
                      <a:pt x="79663" y="119375"/>
                    </a:lnTo>
                    <a:lnTo>
                      <a:pt x="76853" y="118418"/>
                    </a:lnTo>
                    <a:lnTo>
                      <a:pt x="75716" y="118059"/>
                    </a:lnTo>
                    <a:lnTo>
                      <a:pt x="73802" y="115787"/>
                    </a:lnTo>
                    <a:lnTo>
                      <a:pt x="71888" y="113514"/>
                    </a:lnTo>
                    <a:lnTo>
                      <a:pt x="69975" y="111241"/>
                    </a:lnTo>
                    <a:lnTo>
                      <a:pt x="68061" y="108969"/>
                    </a:lnTo>
                    <a:lnTo>
                      <a:pt x="66147" y="106696"/>
                    </a:lnTo>
                    <a:lnTo>
                      <a:pt x="64233" y="104423"/>
                    </a:lnTo>
                    <a:lnTo>
                      <a:pt x="62319" y="102151"/>
                    </a:lnTo>
                    <a:lnTo>
                      <a:pt x="60406" y="99878"/>
                    </a:lnTo>
                    <a:lnTo>
                      <a:pt x="58492" y="97605"/>
                    </a:lnTo>
                    <a:lnTo>
                      <a:pt x="56578" y="95333"/>
                    </a:lnTo>
                    <a:lnTo>
                      <a:pt x="54664" y="93060"/>
                    </a:lnTo>
                    <a:lnTo>
                      <a:pt x="52750" y="90787"/>
                    </a:lnTo>
                    <a:lnTo>
                      <a:pt x="50836" y="88515"/>
                    </a:lnTo>
                    <a:lnTo>
                      <a:pt x="48922" y="86242"/>
                    </a:lnTo>
                    <a:lnTo>
                      <a:pt x="47008" y="83969"/>
                    </a:lnTo>
                    <a:lnTo>
                      <a:pt x="45095" y="81697"/>
                    </a:lnTo>
                    <a:lnTo>
                      <a:pt x="43181" y="79424"/>
                    </a:lnTo>
                    <a:lnTo>
                      <a:pt x="41267" y="77151"/>
                    </a:lnTo>
                    <a:lnTo>
                      <a:pt x="39353" y="74879"/>
                    </a:lnTo>
                    <a:lnTo>
                      <a:pt x="37439" y="72606"/>
                    </a:lnTo>
                    <a:lnTo>
                      <a:pt x="35526" y="70333"/>
                    </a:lnTo>
                    <a:lnTo>
                      <a:pt x="33612" y="68061"/>
                    </a:lnTo>
                    <a:lnTo>
                      <a:pt x="31698" y="65788"/>
                    </a:lnTo>
                    <a:lnTo>
                      <a:pt x="29784" y="63515"/>
                    </a:lnTo>
                    <a:lnTo>
                      <a:pt x="27870" y="61243"/>
                    </a:lnTo>
                    <a:lnTo>
                      <a:pt x="25956" y="58970"/>
                    </a:lnTo>
                    <a:lnTo>
                      <a:pt x="24043" y="56697"/>
                    </a:lnTo>
                    <a:lnTo>
                      <a:pt x="22129" y="54425"/>
                    </a:lnTo>
                    <a:lnTo>
                      <a:pt x="20215" y="52152"/>
                    </a:lnTo>
                    <a:lnTo>
                      <a:pt x="18301" y="49879"/>
                    </a:lnTo>
                    <a:lnTo>
                      <a:pt x="16387" y="47606"/>
                    </a:lnTo>
                    <a:lnTo>
                      <a:pt x="14473" y="45334"/>
                    </a:lnTo>
                    <a:lnTo>
                      <a:pt x="12560" y="43061"/>
                    </a:lnTo>
                    <a:lnTo>
                      <a:pt x="10646" y="40788"/>
                    </a:lnTo>
                    <a:lnTo>
                      <a:pt x="8732" y="38516"/>
                    </a:lnTo>
                    <a:lnTo>
                      <a:pt x="6818" y="36243"/>
                    </a:lnTo>
                    <a:lnTo>
                      <a:pt x="4904" y="33970"/>
                    </a:lnTo>
                    <a:lnTo>
                      <a:pt x="2990" y="31698"/>
                    </a:lnTo>
                    <a:lnTo>
                      <a:pt x="1076" y="29425"/>
                    </a:lnTo>
                    <a:lnTo>
                      <a:pt x="0" y="28109"/>
                    </a:lnTo>
                    <a:lnTo>
                      <a:pt x="1316" y="25896"/>
                    </a:lnTo>
                    <a:lnTo>
                      <a:pt x="1675" y="23086"/>
                    </a:lnTo>
                    <a:lnTo>
                      <a:pt x="2034" y="20275"/>
                    </a:lnTo>
                    <a:lnTo>
                      <a:pt x="2392" y="17464"/>
                    </a:lnTo>
                    <a:lnTo>
                      <a:pt x="2751" y="14653"/>
                    </a:lnTo>
                    <a:lnTo>
                      <a:pt x="3110" y="11842"/>
                    </a:lnTo>
                    <a:lnTo>
                      <a:pt x="3289" y="10526"/>
                    </a:lnTo>
                    <a:lnTo>
                      <a:pt x="4725" y="8074"/>
                    </a:lnTo>
                    <a:lnTo>
                      <a:pt x="6160" y="5622"/>
                    </a:lnTo>
                    <a:lnTo>
                      <a:pt x="7596" y="3170"/>
                    </a:lnTo>
                    <a:lnTo>
                      <a:pt x="9031" y="718"/>
                    </a:lnTo>
                    <a:lnTo>
                      <a:pt x="9450" y="0"/>
                    </a:lnTo>
                    <a:lnTo>
                      <a:pt x="12141" y="1196"/>
                    </a:lnTo>
                    <a:lnTo>
                      <a:pt x="13815" y="1914"/>
                    </a:lnTo>
                  </a:path>
                </a:pathLst>
              </a:custGeom>
              <a:noFill/>
              <a:ln w="6350" cap="rnd">
                <a:solidFill>
                  <a:schemeClr val="bg1">
                    <a:alpha val="80000"/>
                  </a:schemeClr>
                </a:solidFill>
                <a:prstDash val="solid"/>
                <a:round/>
              </a:ln>
            </p:spPr>
            <p:txBody>
              <a:bodyPr rtlCol="0" anchor="ctr"/>
              <a:lstStyle/>
              <a:p>
                <a:endParaRPr lang="en-GB"/>
              </a:p>
            </p:txBody>
          </p:sp>
          <p:sp>
            <p:nvSpPr>
              <p:cNvPr id="5378" name="Vrije vorm: vorm 5377">
                <a:extLst>
                  <a:ext uri="{FF2B5EF4-FFF2-40B4-BE49-F238E27FC236}">
                    <a16:creationId xmlns:a16="http://schemas.microsoft.com/office/drawing/2014/main" id="{DAA77D28-1F0B-4B39-B686-EEAF0551B77B}"/>
                  </a:ext>
                </a:extLst>
              </p:cNvPr>
              <p:cNvSpPr/>
              <p:nvPr/>
            </p:nvSpPr>
            <p:spPr>
              <a:xfrm>
                <a:off x="6531088" y="1826313"/>
                <a:ext cx="17343" cy="52211"/>
              </a:xfrm>
              <a:custGeom>
                <a:avLst/>
                <a:gdLst>
                  <a:gd name="connsiteX0" fmla="*/ 0 w 17343"/>
                  <a:gd name="connsiteY0" fmla="*/ 0 h 52211"/>
                  <a:gd name="connsiteX1" fmla="*/ 2213 w 17343"/>
                  <a:gd name="connsiteY1" fmla="*/ 1974 h 52211"/>
                  <a:gd name="connsiteX2" fmla="*/ 4426 w 17343"/>
                  <a:gd name="connsiteY2" fmla="*/ 3947 h 52211"/>
                  <a:gd name="connsiteX3" fmla="*/ 6639 w 17343"/>
                  <a:gd name="connsiteY3" fmla="*/ 5921 h 52211"/>
                  <a:gd name="connsiteX4" fmla="*/ 8851 w 17343"/>
                  <a:gd name="connsiteY4" fmla="*/ 7895 h 52211"/>
                  <a:gd name="connsiteX5" fmla="*/ 11064 w 17343"/>
                  <a:gd name="connsiteY5" fmla="*/ 9868 h 52211"/>
                  <a:gd name="connsiteX6" fmla="*/ 13277 w 17343"/>
                  <a:gd name="connsiteY6" fmla="*/ 11842 h 52211"/>
                  <a:gd name="connsiteX7" fmla="*/ 14294 w 17343"/>
                  <a:gd name="connsiteY7" fmla="*/ 12739 h 52211"/>
                  <a:gd name="connsiteX8" fmla="*/ 12858 w 17343"/>
                  <a:gd name="connsiteY8" fmla="*/ 15191 h 52211"/>
                  <a:gd name="connsiteX9" fmla="*/ 11782 w 17343"/>
                  <a:gd name="connsiteY9" fmla="*/ 16985 h 52211"/>
                  <a:gd name="connsiteX10" fmla="*/ 13995 w 17343"/>
                  <a:gd name="connsiteY10" fmla="*/ 18959 h 52211"/>
                  <a:gd name="connsiteX11" fmla="*/ 16208 w 17343"/>
                  <a:gd name="connsiteY11" fmla="*/ 20933 h 52211"/>
                  <a:gd name="connsiteX12" fmla="*/ 17344 w 17343"/>
                  <a:gd name="connsiteY12" fmla="*/ 21949 h 52211"/>
                  <a:gd name="connsiteX13" fmla="*/ 16327 w 17343"/>
                  <a:gd name="connsiteY13" fmla="*/ 24581 h 52211"/>
                  <a:gd name="connsiteX14" fmla="*/ 15311 w 17343"/>
                  <a:gd name="connsiteY14" fmla="*/ 27212 h 52211"/>
                  <a:gd name="connsiteX15" fmla="*/ 14294 w 17343"/>
                  <a:gd name="connsiteY15" fmla="*/ 29844 h 52211"/>
                  <a:gd name="connsiteX16" fmla="*/ 13516 w 17343"/>
                  <a:gd name="connsiteY16" fmla="*/ 31937 h 52211"/>
                  <a:gd name="connsiteX17" fmla="*/ 12081 w 17343"/>
                  <a:gd name="connsiteY17" fmla="*/ 34389 h 52211"/>
                  <a:gd name="connsiteX18" fmla="*/ 10645 w 17343"/>
                  <a:gd name="connsiteY18" fmla="*/ 36841 h 52211"/>
                  <a:gd name="connsiteX19" fmla="*/ 9210 w 17343"/>
                  <a:gd name="connsiteY19" fmla="*/ 39293 h 52211"/>
                  <a:gd name="connsiteX20" fmla="*/ 7835 w 17343"/>
                  <a:gd name="connsiteY20" fmla="*/ 41626 h 52211"/>
                  <a:gd name="connsiteX21" fmla="*/ 6399 w 17343"/>
                  <a:gd name="connsiteY21" fmla="*/ 44078 h 52211"/>
                  <a:gd name="connsiteX22" fmla="*/ 4964 w 17343"/>
                  <a:gd name="connsiteY22" fmla="*/ 46530 h 52211"/>
                  <a:gd name="connsiteX23" fmla="*/ 4904 w 17343"/>
                  <a:gd name="connsiteY23" fmla="*/ 46590 h 52211"/>
                  <a:gd name="connsiteX24" fmla="*/ 3469 w 17343"/>
                  <a:gd name="connsiteY24" fmla="*/ 49042 h 52211"/>
                  <a:gd name="connsiteX25" fmla="*/ 2033 w 17343"/>
                  <a:gd name="connsiteY25" fmla="*/ 51494 h 52211"/>
                  <a:gd name="connsiteX26" fmla="*/ 1615 w 17343"/>
                  <a:gd name="connsiteY26" fmla="*/ 52212 h 5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343" h="52211">
                    <a:moveTo>
                      <a:pt x="0" y="0"/>
                    </a:moveTo>
                    <a:lnTo>
                      <a:pt x="2213" y="1974"/>
                    </a:lnTo>
                    <a:lnTo>
                      <a:pt x="4426" y="3947"/>
                    </a:lnTo>
                    <a:lnTo>
                      <a:pt x="6639" y="5921"/>
                    </a:lnTo>
                    <a:lnTo>
                      <a:pt x="8851" y="7895"/>
                    </a:lnTo>
                    <a:lnTo>
                      <a:pt x="11064" y="9868"/>
                    </a:lnTo>
                    <a:lnTo>
                      <a:pt x="13277" y="11842"/>
                    </a:lnTo>
                    <a:lnTo>
                      <a:pt x="14294" y="12739"/>
                    </a:lnTo>
                    <a:lnTo>
                      <a:pt x="12858" y="15191"/>
                    </a:lnTo>
                    <a:lnTo>
                      <a:pt x="11782" y="16985"/>
                    </a:lnTo>
                    <a:lnTo>
                      <a:pt x="13995" y="18959"/>
                    </a:lnTo>
                    <a:lnTo>
                      <a:pt x="16208" y="20933"/>
                    </a:lnTo>
                    <a:lnTo>
                      <a:pt x="17344" y="21949"/>
                    </a:lnTo>
                    <a:lnTo>
                      <a:pt x="16327" y="24581"/>
                    </a:lnTo>
                    <a:lnTo>
                      <a:pt x="15311" y="27212"/>
                    </a:lnTo>
                    <a:lnTo>
                      <a:pt x="14294" y="29844"/>
                    </a:lnTo>
                    <a:lnTo>
                      <a:pt x="13516" y="31937"/>
                    </a:lnTo>
                    <a:lnTo>
                      <a:pt x="12081" y="34389"/>
                    </a:lnTo>
                    <a:lnTo>
                      <a:pt x="10645" y="36841"/>
                    </a:lnTo>
                    <a:lnTo>
                      <a:pt x="9210" y="39293"/>
                    </a:lnTo>
                    <a:lnTo>
                      <a:pt x="7835" y="41626"/>
                    </a:lnTo>
                    <a:lnTo>
                      <a:pt x="6399" y="44078"/>
                    </a:lnTo>
                    <a:lnTo>
                      <a:pt x="4964" y="46530"/>
                    </a:lnTo>
                    <a:lnTo>
                      <a:pt x="4904" y="46590"/>
                    </a:lnTo>
                    <a:lnTo>
                      <a:pt x="3469" y="49042"/>
                    </a:lnTo>
                    <a:lnTo>
                      <a:pt x="2033" y="51494"/>
                    </a:lnTo>
                    <a:lnTo>
                      <a:pt x="1615" y="52212"/>
                    </a:lnTo>
                  </a:path>
                </a:pathLst>
              </a:custGeom>
              <a:noFill/>
              <a:ln w="6350" cap="rnd">
                <a:solidFill>
                  <a:schemeClr val="bg1">
                    <a:alpha val="80000"/>
                  </a:schemeClr>
                </a:solidFill>
                <a:prstDash val="solid"/>
                <a:round/>
              </a:ln>
            </p:spPr>
            <p:txBody>
              <a:bodyPr rtlCol="0" anchor="ctr"/>
              <a:lstStyle/>
              <a:p>
                <a:endParaRPr lang="en-GB"/>
              </a:p>
            </p:txBody>
          </p:sp>
          <p:sp>
            <p:nvSpPr>
              <p:cNvPr id="5379" name="Vrije vorm: vorm 5378">
                <a:extLst>
                  <a:ext uri="{FF2B5EF4-FFF2-40B4-BE49-F238E27FC236}">
                    <a16:creationId xmlns:a16="http://schemas.microsoft.com/office/drawing/2014/main" id="{0A27D07E-DD03-4537-B136-A494CCBF5511}"/>
                  </a:ext>
                </a:extLst>
              </p:cNvPr>
              <p:cNvSpPr/>
              <p:nvPr/>
            </p:nvSpPr>
            <p:spPr>
              <a:xfrm>
                <a:off x="6524628" y="1850116"/>
                <a:ext cx="20274" cy="7954"/>
              </a:xfrm>
              <a:custGeom>
                <a:avLst/>
                <a:gdLst>
                  <a:gd name="connsiteX0" fmla="*/ 20275 w 20274"/>
                  <a:gd name="connsiteY0" fmla="*/ 7954 h 7954"/>
                  <a:gd name="connsiteX1" fmla="*/ 17523 w 20274"/>
                  <a:gd name="connsiteY1" fmla="*/ 6878 h 7954"/>
                  <a:gd name="connsiteX2" fmla="*/ 14773 w 20274"/>
                  <a:gd name="connsiteY2" fmla="*/ 5801 h 7954"/>
                  <a:gd name="connsiteX3" fmla="*/ 12021 w 20274"/>
                  <a:gd name="connsiteY3" fmla="*/ 4725 h 7954"/>
                  <a:gd name="connsiteX4" fmla="*/ 9270 w 20274"/>
                  <a:gd name="connsiteY4" fmla="*/ 3648 h 7954"/>
                  <a:gd name="connsiteX5" fmla="*/ 6519 w 20274"/>
                  <a:gd name="connsiteY5" fmla="*/ 2572 h 7954"/>
                  <a:gd name="connsiteX6" fmla="*/ 3768 w 20274"/>
                  <a:gd name="connsiteY6" fmla="*/ 1495 h 7954"/>
                  <a:gd name="connsiteX7" fmla="*/ 1017 w 20274"/>
                  <a:gd name="connsiteY7" fmla="*/ 419 h 7954"/>
                  <a:gd name="connsiteX8" fmla="*/ 0 w 20274"/>
                  <a:gd name="connsiteY8" fmla="*/ 0 h 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4" h="7954">
                    <a:moveTo>
                      <a:pt x="20275" y="7954"/>
                    </a:moveTo>
                    <a:lnTo>
                      <a:pt x="17523" y="6878"/>
                    </a:lnTo>
                    <a:lnTo>
                      <a:pt x="14773" y="5801"/>
                    </a:lnTo>
                    <a:lnTo>
                      <a:pt x="12021" y="4725"/>
                    </a:lnTo>
                    <a:lnTo>
                      <a:pt x="9270" y="3648"/>
                    </a:lnTo>
                    <a:lnTo>
                      <a:pt x="6519" y="2572"/>
                    </a:lnTo>
                    <a:lnTo>
                      <a:pt x="3768" y="1495"/>
                    </a:lnTo>
                    <a:lnTo>
                      <a:pt x="1017" y="41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380" name="Vrije vorm: vorm 5379">
                <a:extLst>
                  <a:ext uri="{FF2B5EF4-FFF2-40B4-BE49-F238E27FC236}">
                    <a16:creationId xmlns:a16="http://schemas.microsoft.com/office/drawing/2014/main" id="{5C524A71-97B1-4810-84BC-F63931FBDFDB}"/>
                  </a:ext>
                </a:extLst>
              </p:cNvPr>
              <p:cNvSpPr/>
              <p:nvPr/>
            </p:nvSpPr>
            <p:spPr>
              <a:xfrm>
                <a:off x="6506148" y="1844973"/>
                <a:ext cx="18241" cy="21231"/>
              </a:xfrm>
              <a:custGeom>
                <a:avLst/>
                <a:gdLst>
                  <a:gd name="connsiteX0" fmla="*/ 0 w 18241"/>
                  <a:gd name="connsiteY0" fmla="*/ 18241 h 21231"/>
                  <a:gd name="connsiteX1" fmla="*/ 1076 w 18241"/>
                  <a:gd name="connsiteY1" fmla="*/ 16447 h 21231"/>
                  <a:gd name="connsiteX2" fmla="*/ 2512 w 18241"/>
                  <a:gd name="connsiteY2" fmla="*/ 13995 h 21231"/>
                  <a:gd name="connsiteX3" fmla="*/ 3947 w 18241"/>
                  <a:gd name="connsiteY3" fmla="*/ 11543 h 21231"/>
                  <a:gd name="connsiteX4" fmla="*/ 5382 w 18241"/>
                  <a:gd name="connsiteY4" fmla="*/ 9091 h 21231"/>
                  <a:gd name="connsiteX5" fmla="*/ 6818 w 18241"/>
                  <a:gd name="connsiteY5" fmla="*/ 6639 h 21231"/>
                  <a:gd name="connsiteX6" fmla="*/ 7416 w 18241"/>
                  <a:gd name="connsiteY6" fmla="*/ 5562 h 21231"/>
                  <a:gd name="connsiteX7" fmla="*/ 8851 w 18241"/>
                  <a:gd name="connsiteY7" fmla="*/ 3110 h 21231"/>
                  <a:gd name="connsiteX8" fmla="*/ 9509 w 18241"/>
                  <a:gd name="connsiteY8" fmla="*/ 1974 h 21231"/>
                  <a:gd name="connsiteX9" fmla="*/ 8791 w 18241"/>
                  <a:gd name="connsiteY9" fmla="*/ 1196 h 21231"/>
                  <a:gd name="connsiteX10" fmla="*/ 8433 w 18241"/>
                  <a:gd name="connsiteY10" fmla="*/ 598 h 21231"/>
                  <a:gd name="connsiteX11" fmla="*/ 8433 w 18241"/>
                  <a:gd name="connsiteY11" fmla="*/ 179 h 21231"/>
                  <a:gd name="connsiteX12" fmla="*/ 8791 w 18241"/>
                  <a:gd name="connsiteY12" fmla="*/ 0 h 21231"/>
                  <a:gd name="connsiteX13" fmla="*/ 9509 w 18241"/>
                  <a:gd name="connsiteY13" fmla="*/ 60 h 21231"/>
                  <a:gd name="connsiteX14" fmla="*/ 10526 w 18241"/>
                  <a:gd name="connsiteY14" fmla="*/ 359 h 21231"/>
                  <a:gd name="connsiteX15" fmla="*/ 11782 w 18241"/>
                  <a:gd name="connsiteY15" fmla="*/ 897 h 21231"/>
                  <a:gd name="connsiteX16" fmla="*/ 13157 w 18241"/>
                  <a:gd name="connsiteY16" fmla="*/ 1615 h 21231"/>
                  <a:gd name="connsiteX17" fmla="*/ 14593 w 18241"/>
                  <a:gd name="connsiteY17" fmla="*/ 2452 h 21231"/>
                  <a:gd name="connsiteX18" fmla="*/ 15968 w 18241"/>
                  <a:gd name="connsiteY18" fmla="*/ 3349 h 21231"/>
                  <a:gd name="connsiteX19" fmla="*/ 17225 w 18241"/>
                  <a:gd name="connsiteY19" fmla="*/ 4246 h 21231"/>
                  <a:gd name="connsiteX20" fmla="*/ 18241 w 18241"/>
                  <a:gd name="connsiteY20" fmla="*/ 5143 h 21231"/>
                  <a:gd name="connsiteX21" fmla="*/ 16806 w 18241"/>
                  <a:gd name="connsiteY21" fmla="*/ 7596 h 21231"/>
                  <a:gd name="connsiteX22" fmla="*/ 15370 w 18241"/>
                  <a:gd name="connsiteY22" fmla="*/ 10048 h 21231"/>
                  <a:gd name="connsiteX23" fmla="*/ 13935 w 18241"/>
                  <a:gd name="connsiteY23" fmla="*/ 12500 h 21231"/>
                  <a:gd name="connsiteX24" fmla="*/ 12500 w 18241"/>
                  <a:gd name="connsiteY24" fmla="*/ 14952 h 21231"/>
                  <a:gd name="connsiteX25" fmla="*/ 11064 w 18241"/>
                  <a:gd name="connsiteY25" fmla="*/ 17404 h 21231"/>
                  <a:gd name="connsiteX26" fmla="*/ 9629 w 18241"/>
                  <a:gd name="connsiteY26" fmla="*/ 19856 h 21231"/>
                  <a:gd name="connsiteX27" fmla="*/ 8851 w 18241"/>
                  <a:gd name="connsiteY27" fmla="*/ 21232 h 21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241" h="21231">
                    <a:moveTo>
                      <a:pt x="0" y="18241"/>
                    </a:moveTo>
                    <a:lnTo>
                      <a:pt x="1076" y="16447"/>
                    </a:lnTo>
                    <a:lnTo>
                      <a:pt x="2512" y="13995"/>
                    </a:lnTo>
                    <a:lnTo>
                      <a:pt x="3947" y="11543"/>
                    </a:lnTo>
                    <a:lnTo>
                      <a:pt x="5382" y="9091"/>
                    </a:lnTo>
                    <a:lnTo>
                      <a:pt x="6818" y="6639"/>
                    </a:lnTo>
                    <a:lnTo>
                      <a:pt x="7416" y="5562"/>
                    </a:lnTo>
                    <a:lnTo>
                      <a:pt x="8851" y="3110"/>
                    </a:lnTo>
                    <a:lnTo>
                      <a:pt x="9509" y="1974"/>
                    </a:lnTo>
                    <a:lnTo>
                      <a:pt x="8791" y="1196"/>
                    </a:lnTo>
                    <a:lnTo>
                      <a:pt x="8433" y="598"/>
                    </a:lnTo>
                    <a:lnTo>
                      <a:pt x="8433" y="179"/>
                    </a:lnTo>
                    <a:lnTo>
                      <a:pt x="8791" y="0"/>
                    </a:lnTo>
                    <a:lnTo>
                      <a:pt x="9509" y="60"/>
                    </a:lnTo>
                    <a:lnTo>
                      <a:pt x="10526" y="359"/>
                    </a:lnTo>
                    <a:lnTo>
                      <a:pt x="11782" y="897"/>
                    </a:lnTo>
                    <a:lnTo>
                      <a:pt x="13157" y="1615"/>
                    </a:lnTo>
                    <a:lnTo>
                      <a:pt x="14593" y="2452"/>
                    </a:lnTo>
                    <a:lnTo>
                      <a:pt x="15968" y="3349"/>
                    </a:lnTo>
                    <a:lnTo>
                      <a:pt x="17225" y="4246"/>
                    </a:lnTo>
                    <a:lnTo>
                      <a:pt x="18241" y="5143"/>
                    </a:lnTo>
                    <a:lnTo>
                      <a:pt x="16806" y="7596"/>
                    </a:lnTo>
                    <a:lnTo>
                      <a:pt x="15370" y="10048"/>
                    </a:lnTo>
                    <a:lnTo>
                      <a:pt x="13935" y="12500"/>
                    </a:lnTo>
                    <a:lnTo>
                      <a:pt x="12500" y="14952"/>
                    </a:lnTo>
                    <a:lnTo>
                      <a:pt x="11064" y="17404"/>
                    </a:lnTo>
                    <a:lnTo>
                      <a:pt x="9629" y="19856"/>
                    </a:lnTo>
                    <a:lnTo>
                      <a:pt x="8851" y="21232"/>
                    </a:lnTo>
                  </a:path>
                </a:pathLst>
              </a:custGeom>
              <a:noFill/>
              <a:ln w="6350" cap="rnd">
                <a:solidFill>
                  <a:schemeClr val="bg1">
                    <a:alpha val="80000"/>
                  </a:schemeClr>
                </a:solidFill>
                <a:prstDash val="solid"/>
                <a:round/>
              </a:ln>
            </p:spPr>
            <p:txBody>
              <a:bodyPr rtlCol="0" anchor="ctr"/>
              <a:lstStyle/>
              <a:p>
                <a:endParaRPr lang="en-GB"/>
              </a:p>
            </p:txBody>
          </p:sp>
          <p:sp>
            <p:nvSpPr>
              <p:cNvPr id="5381" name="Vrije vorm: vorm 5380">
                <a:extLst>
                  <a:ext uri="{FF2B5EF4-FFF2-40B4-BE49-F238E27FC236}">
                    <a16:creationId xmlns:a16="http://schemas.microsoft.com/office/drawing/2014/main" id="{0F84B643-1F5E-4A51-8567-A935281F9E6F}"/>
                  </a:ext>
                </a:extLst>
              </p:cNvPr>
              <p:cNvSpPr/>
              <p:nvPr/>
            </p:nvSpPr>
            <p:spPr>
              <a:xfrm>
                <a:off x="6506208" y="1861420"/>
                <a:ext cx="8851" cy="4904"/>
              </a:xfrm>
              <a:custGeom>
                <a:avLst/>
                <a:gdLst>
                  <a:gd name="connsiteX0" fmla="*/ 1017 w 8851"/>
                  <a:gd name="connsiteY0" fmla="*/ 0 h 4904"/>
                  <a:gd name="connsiteX1" fmla="*/ 1136 w 8851"/>
                  <a:gd name="connsiteY1" fmla="*/ 60 h 4904"/>
                  <a:gd name="connsiteX2" fmla="*/ 2392 w 8851"/>
                  <a:gd name="connsiteY2" fmla="*/ 598 h 4904"/>
                  <a:gd name="connsiteX3" fmla="*/ 3768 w 8851"/>
                  <a:gd name="connsiteY3" fmla="*/ 1316 h 4904"/>
                  <a:gd name="connsiteX4" fmla="*/ 5204 w 8851"/>
                  <a:gd name="connsiteY4" fmla="*/ 2153 h 4904"/>
                  <a:gd name="connsiteX5" fmla="*/ 6579 w 8851"/>
                  <a:gd name="connsiteY5" fmla="*/ 3050 h 4904"/>
                  <a:gd name="connsiteX6" fmla="*/ 7835 w 8851"/>
                  <a:gd name="connsiteY6" fmla="*/ 4007 h 4904"/>
                  <a:gd name="connsiteX7" fmla="*/ 8852 w 8851"/>
                  <a:gd name="connsiteY7" fmla="*/ 4904 h 4904"/>
                  <a:gd name="connsiteX8" fmla="*/ 6041 w 8851"/>
                  <a:gd name="connsiteY8" fmla="*/ 3947 h 4904"/>
                  <a:gd name="connsiteX9" fmla="*/ 3230 w 8851"/>
                  <a:gd name="connsiteY9" fmla="*/ 2990 h 4904"/>
                  <a:gd name="connsiteX10" fmla="*/ 419 w 8851"/>
                  <a:gd name="connsiteY10" fmla="*/ 2033 h 4904"/>
                  <a:gd name="connsiteX11" fmla="*/ 0 w 8851"/>
                  <a:gd name="connsiteY11" fmla="*/ 1854 h 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1" h="4904">
                    <a:moveTo>
                      <a:pt x="1017" y="0"/>
                    </a:moveTo>
                    <a:lnTo>
                      <a:pt x="1136" y="60"/>
                    </a:lnTo>
                    <a:lnTo>
                      <a:pt x="2392" y="598"/>
                    </a:lnTo>
                    <a:lnTo>
                      <a:pt x="3768" y="1316"/>
                    </a:lnTo>
                    <a:lnTo>
                      <a:pt x="5204" y="2153"/>
                    </a:lnTo>
                    <a:lnTo>
                      <a:pt x="6579" y="3050"/>
                    </a:lnTo>
                    <a:lnTo>
                      <a:pt x="7835" y="4007"/>
                    </a:lnTo>
                    <a:lnTo>
                      <a:pt x="8852" y="4904"/>
                    </a:lnTo>
                    <a:lnTo>
                      <a:pt x="6041" y="3947"/>
                    </a:lnTo>
                    <a:lnTo>
                      <a:pt x="3230" y="2990"/>
                    </a:lnTo>
                    <a:lnTo>
                      <a:pt x="419" y="2033"/>
                    </a:lnTo>
                    <a:lnTo>
                      <a:pt x="0" y="1854"/>
                    </a:lnTo>
                  </a:path>
                </a:pathLst>
              </a:custGeom>
              <a:noFill/>
              <a:ln w="6350" cap="rnd">
                <a:solidFill>
                  <a:schemeClr val="bg1">
                    <a:alpha val="80000"/>
                  </a:schemeClr>
                </a:solidFill>
                <a:prstDash val="solid"/>
                <a:round/>
              </a:ln>
            </p:spPr>
            <p:txBody>
              <a:bodyPr rtlCol="0" anchor="ctr"/>
              <a:lstStyle/>
              <a:p>
                <a:endParaRPr lang="en-GB"/>
              </a:p>
            </p:txBody>
          </p:sp>
          <p:sp>
            <p:nvSpPr>
              <p:cNvPr id="5382" name="Vrije vorm: vorm 5381">
                <a:extLst>
                  <a:ext uri="{FF2B5EF4-FFF2-40B4-BE49-F238E27FC236}">
                    <a16:creationId xmlns:a16="http://schemas.microsoft.com/office/drawing/2014/main" id="{AC42D63F-7ABB-4C15-BDBC-BCCDE90317B7}"/>
                  </a:ext>
                </a:extLst>
              </p:cNvPr>
              <p:cNvSpPr/>
              <p:nvPr/>
            </p:nvSpPr>
            <p:spPr>
              <a:xfrm>
                <a:off x="6435516" y="1800417"/>
                <a:ext cx="80141" cy="46649"/>
              </a:xfrm>
              <a:custGeom>
                <a:avLst/>
                <a:gdLst>
                  <a:gd name="connsiteX0" fmla="*/ 80141 w 80141"/>
                  <a:gd name="connsiteY0" fmla="*/ 46650 h 46649"/>
                  <a:gd name="connsiteX1" fmla="*/ 78407 w 80141"/>
                  <a:gd name="connsiteY1" fmla="*/ 45992 h 46649"/>
                  <a:gd name="connsiteX2" fmla="*/ 75656 w 80141"/>
                  <a:gd name="connsiteY2" fmla="*/ 44915 h 46649"/>
                  <a:gd name="connsiteX3" fmla="*/ 72905 w 80141"/>
                  <a:gd name="connsiteY3" fmla="*/ 43839 h 46649"/>
                  <a:gd name="connsiteX4" fmla="*/ 70154 w 80141"/>
                  <a:gd name="connsiteY4" fmla="*/ 42762 h 46649"/>
                  <a:gd name="connsiteX5" fmla="*/ 67402 w 80141"/>
                  <a:gd name="connsiteY5" fmla="*/ 41686 h 46649"/>
                  <a:gd name="connsiteX6" fmla="*/ 64652 w 80141"/>
                  <a:gd name="connsiteY6" fmla="*/ 40609 h 46649"/>
                  <a:gd name="connsiteX7" fmla="*/ 61900 w 80141"/>
                  <a:gd name="connsiteY7" fmla="*/ 39533 h 46649"/>
                  <a:gd name="connsiteX8" fmla="*/ 59149 w 80141"/>
                  <a:gd name="connsiteY8" fmla="*/ 38456 h 46649"/>
                  <a:gd name="connsiteX9" fmla="*/ 58132 w 80141"/>
                  <a:gd name="connsiteY9" fmla="*/ 38097 h 46649"/>
                  <a:gd name="connsiteX10" fmla="*/ 55621 w 80141"/>
                  <a:gd name="connsiteY10" fmla="*/ 36542 h 46649"/>
                  <a:gd name="connsiteX11" fmla="*/ 53108 w 80141"/>
                  <a:gd name="connsiteY11" fmla="*/ 34987 h 46649"/>
                  <a:gd name="connsiteX12" fmla="*/ 50597 w 80141"/>
                  <a:gd name="connsiteY12" fmla="*/ 33432 h 46649"/>
                  <a:gd name="connsiteX13" fmla="*/ 48085 w 80141"/>
                  <a:gd name="connsiteY13" fmla="*/ 31877 h 46649"/>
                  <a:gd name="connsiteX14" fmla="*/ 45573 w 80141"/>
                  <a:gd name="connsiteY14" fmla="*/ 30322 h 46649"/>
                  <a:gd name="connsiteX15" fmla="*/ 43061 w 80141"/>
                  <a:gd name="connsiteY15" fmla="*/ 28767 h 46649"/>
                  <a:gd name="connsiteX16" fmla="*/ 40549 w 80141"/>
                  <a:gd name="connsiteY16" fmla="*/ 27212 h 46649"/>
                  <a:gd name="connsiteX17" fmla="*/ 38037 w 80141"/>
                  <a:gd name="connsiteY17" fmla="*/ 25657 h 46649"/>
                  <a:gd name="connsiteX18" fmla="*/ 35526 w 80141"/>
                  <a:gd name="connsiteY18" fmla="*/ 24102 h 46649"/>
                  <a:gd name="connsiteX19" fmla="*/ 33013 w 80141"/>
                  <a:gd name="connsiteY19" fmla="*/ 22547 h 46649"/>
                  <a:gd name="connsiteX20" fmla="*/ 30502 w 80141"/>
                  <a:gd name="connsiteY20" fmla="*/ 20992 h 46649"/>
                  <a:gd name="connsiteX21" fmla="*/ 27990 w 80141"/>
                  <a:gd name="connsiteY21" fmla="*/ 19437 h 46649"/>
                  <a:gd name="connsiteX22" fmla="*/ 25478 w 80141"/>
                  <a:gd name="connsiteY22" fmla="*/ 17882 h 46649"/>
                  <a:gd name="connsiteX23" fmla="*/ 22966 w 80141"/>
                  <a:gd name="connsiteY23" fmla="*/ 16327 h 46649"/>
                  <a:gd name="connsiteX24" fmla="*/ 20454 w 80141"/>
                  <a:gd name="connsiteY24" fmla="*/ 14772 h 46649"/>
                  <a:gd name="connsiteX25" fmla="*/ 17942 w 80141"/>
                  <a:gd name="connsiteY25" fmla="*/ 13217 h 46649"/>
                  <a:gd name="connsiteX26" fmla="*/ 15430 w 80141"/>
                  <a:gd name="connsiteY26" fmla="*/ 11662 h 46649"/>
                  <a:gd name="connsiteX27" fmla="*/ 12918 w 80141"/>
                  <a:gd name="connsiteY27" fmla="*/ 10107 h 46649"/>
                  <a:gd name="connsiteX28" fmla="*/ 10406 w 80141"/>
                  <a:gd name="connsiteY28" fmla="*/ 8552 h 46649"/>
                  <a:gd name="connsiteX29" fmla="*/ 7894 w 80141"/>
                  <a:gd name="connsiteY29" fmla="*/ 6997 h 46649"/>
                  <a:gd name="connsiteX30" fmla="*/ 5382 w 80141"/>
                  <a:gd name="connsiteY30" fmla="*/ 5442 h 46649"/>
                  <a:gd name="connsiteX31" fmla="*/ 4844 w 80141"/>
                  <a:gd name="connsiteY31" fmla="*/ 5084 h 46649"/>
                  <a:gd name="connsiteX32" fmla="*/ 2811 w 80141"/>
                  <a:gd name="connsiteY32" fmla="*/ 2931 h 46649"/>
                  <a:gd name="connsiteX33" fmla="*/ 777 w 80141"/>
                  <a:gd name="connsiteY33" fmla="*/ 778 h 46649"/>
                  <a:gd name="connsiteX34" fmla="*/ 0 w 80141"/>
                  <a:gd name="connsiteY34" fmla="*/ 0 h 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141" h="46649">
                    <a:moveTo>
                      <a:pt x="80141" y="46650"/>
                    </a:moveTo>
                    <a:lnTo>
                      <a:pt x="78407" y="45992"/>
                    </a:lnTo>
                    <a:lnTo>
                      <a:pt x="75656" y="44915"/>
                    </a:lnTo>
                    <a:lnTo>
                      <a:pt x="72905" y="43839"/>
                    </a:lnTo>
                    <a:lnTo>
                      <a:pt x="70154" y="42762"/>
                    </a:lnTo>
                    <a:lnTo>
                      <a:pt x="67402" y="41686"/>
                    </a:lnTo>
                    <a:lnTo>
                      <a:pt x="64652" y="40609"/>
                    </a:lnTo>
                    <a:lnTo>
                      <a:pt x="61900" y="39533"/>
                    </a:lnTo>
                    <a:lnTo>
                      <a:pt x="59149" y="38456"/>
                    </a:lnTo>
                    <a:lnTo>
                      <a:pt x="58132" y="38097"/>
                    </a:lnTo>
                    <a:lnTo>
                      <a:pt x="55621" y="36542"/>
                    </a:lnTo>
                    <a:lnTo>
                      <a:pt x="53108" y="34987"/>
                    </a:lnTo>
                    <a:lnTo>
                      <a:pt x="50597" y="33432"/>
                    </a:lnTo>
                    <a:lnTo>
                      <a:pt x="48085" y="31877"/>
                    </a:lnTo>
                    <a:lnTo>
                      <a:pt x="45573" y="30322"/>
                    </a:lnTo>
                    <a:lnTo>
                      <a:pt x="43061" y="28767"/>
                    </a:lnTo>
                    <a:lnTo>
                      <a:pt x="40549" y="27212"/>
                    </a:lnTo>
                    <a:lnTo>
                      <a:pt x="38037" y="25657"/>
                    </a:lnTo>
                    <a:lnTo>
                      <a:pt x="35526" y="24102"/>
                    </a:lnTo>
                    <a:lnTo>
                      <a:pt x="33013" y="22547"/>
                    </a:lnTo>
                    <a:lnTo>
                      <a:pt x="30502" y="20992"/>
                    </a:lnTo>
                    <a:lnTo>
                      <a:pt x="27990" y="19437"/>
                    </a:lnTo>
                    <a:lnTo>
                      <a:pt x="25478" y="17882"/>
                    </a:lnTo>
                    <a:lnTo>
                      <a:pt x="22966" y="16327"/>
                    </a:lnTo>
                    <a:lnTo>
                      <a:pt x="20454" y="14772"/>
                    </a:lnTo>
                    <a:lnTo>
                      <a:pt x="17942" y="13217"/>
                    </a:lnTo>
                    <a:lnTo>
                      <a:pt x="15430" y="11662"/>
                    </a:lnTo>
                    <a:lnTo>
                      <a:pt x="12918" y="10107"/>
                    </a:lnTo>
                    <a:lnTo>
                      <a:pt x="10406" y="8552"/>
                    </a:lnTo>
                    <a:lnTo>
                      <a:pt x="7894" y="6997"/>
                    </a:lnTo>
                    <a:lnTo>
                      <a:pt x="5382" y="5442"/>
                    </a:lnTo>
                    <a:lnTo>
                      <a:pt x="4844" y="5084"/>
                    </a:lnTo>
                    <a:lnTo>
                      <a:pt x="2811" y="2931"/>
                    </a:lnTo>
                    <a:lnTo>
                      <a:pt x="777" y="77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383" name="Vrije vorm: vorm 5382">
                <a:extLst>
                  <a:ext uri="{FF2B5EF4-FFF2-40B4-BE49-F238E27FC236}">
                    <a16:creationId xmlns:a16="http://schemas.microsoft.com/office/drawing/2014/main" id="{65F76D20-6C1C-4DBD-8779-BF27B4637C39}"/>
                  </a:ext>
                </a:extLst>
              </p:cNvPr>
              <p:cNvSpPr/>
              <p:nvPr/>
            </p:nvSpPr>
            <p:spPr>
              <a:xfrm>
                <a:off x="6427681" y="1826672"/>
                <a:ext cx="53288" cy="34269"/>
              </a:xfrm>
              <a:custGeom>
                <a:avLst/>
                <a:gdLst>
                  <a:gd name="connsiteX0" fmla="*/ 15430 w 53288"/>
                  <a:gd name="connsiteY0" fmla="*/ 28229 h 34269"/>
                  <a:gd name="connsiteX1" fmla="*/ 16865 w 53288"/>
                  <a:gd name="connsiteY1" fmla="*/ 25777 h 34269"/>
                  <a:gd name="connsiteX2" fmla="*/ 18301 w 53288"/>
                  <a:gd name="connsiteY2" fmla="*/ 23325 h 34269"/>
                  <a:gd name="connsiteX3" fmla="*/ 19019 w 53288"/>
                  <a:gd name="connsiteY3" fmla="*/ 22069 h 34269"/>
                  <a:gd name="connsiteX4" fmla="*/ 18181 w 53288"/>
                  <a:gd name="connsiteY4" fmla="*/ 21112 h 34269"/>
                  <a:gd name="connsiteX5" fmla="*/ 18002 w 53288"/>
                  <a:gd name="connsiteY5" fmla="*/ 20933 h 34269"/>
                  <a:gd name="connsiteX6" fmla="*/ 16865 w 53288"/>
                  <a:gd name="connsiteY6" fmla="*/ 19557 h 34269"/>
                  <a:gd name="connsiteX7" fmla="*/ 14952 w 53288"/>
                  <a:gd name="connsiteY7" fmla="*/ 17344 h 34269"/>
                  <a:gd name="connsiteX8" fmla="*/ 13038 w 53288"/>
                  <a:gd name="connsiteY8" fmla="*/ 15131 h 34269"/>
                  <a:gd name="connsiteX9" fmla="*/ 12380 w 53288"/>
                  <a:gd name="connsiteY9" fmla="*/ 14354 h 34269"/>
                  <a:gd name="connsiteX10" fmla="*/ 10466 w 53288"/>
                  <a:gd name="connsiteY10" fmla="*/ 12141 h 34269"/>
                  <a:gd name="connsiteX11" fmla="*/ 8552 w 53288"/>
                  <a:gd name="connsiteY11" fmla="*/ 9928 h 34269"/>
                  <a:gd name="connsiteX12" fmla="*/ 6639 w 53288"/>
                  <a:gd name="connsiteY12" fmla="*/ 7715 h 34269"/>
                  <a:gd name="connsiteX13" fmla="*/ 4725 w 53288"/>
                  <a:gd name="connsiteY13" fmla="*/ 5502 h 34269"/>
                  <a:gd name="connsiteX14" fmla="*/ 2811 w 53288"/>
                  <a:gd name="connsiteY14" fmla="*/ 3289 h 34269"/>
                  <a:gd name="connsiteX15" fmla="*/ 897 w 53288"/>
                  <a:gd name="connsiteY15" fmla="*/ 1077 h 34269"/>
                  <a:gd name="connsiteX16" fmla="*/ 0 w 53288"/>
                  <a:gd name="connsiteY16" fmla="*/ 0 h 34269"/>
                  <a:gd name="connsiteX17" fmla="*/ 2512 w 53288"/>
                  <a:gd name="connsiteY17" fmla="*/ 1615 h 34269"/>
                  <a:gd name="connsiteX18" fmla="*/ 5024 w 53288"/>
                  <a:gd name="connsiteY18" fmla="*/ 3230 h 34269"/>
                  <a:gd name="connsiteX19" fmla="*/ 7535 w 53288"/>
                  <a:gd name="connsiteY19" fmla="*/ 4844 h 34269"/>
                  <a:gd name="connsiteX20" fmla="*/ 10048 w 53288"/>
                  <a:gd name="connsiteY20" fmla="*/ 6459 h 34269"/>
                  <a:gd name="connsiteX21" fmla="*/ 12559 w 53288"/>
                  <a:gd name="connsiteY21" fmla="*/ 8074 h 34269"/>
                  <a:gd name="connsiteX22" fmla="*/ 15071 w 53288"/>
                  <a:gd name="connsiteY22" fmla="*/ 9689 h 34269"/>
                  <a:gd name="connsiteX23" fmla="*/ 17583 w 53288"/>
                  <a:gd name="connsiteY23" fmla="*/ 11304 h 34269"/>
                  <a:gd name="connsiteX24" fmla="*/ 20095 w 53288"/>
                  <a:gd name="connsiteY24" fmla="*/ 12918 h 34269"/>
                  <a:gd name="connsiteX25" fmla="*/ 22607 w 53288"/>
                  <a:gd name="connsiteY25" fmla="*/ 14533 h 34269"/>
                  <a:gd name="connsiteX26" fmla="*/ 25119 w 53288"/>
                  <a:gd name="connsiteY26" fmla="*/ 16148 h 34269"/>
                  <a:gd name="connsiteX27" fmla="*/ 27631 w 53288"/>
                  <a:gd name="connsiteY27" fmla="*/ 17763 h 34269"/>
                  <a:gd name="connsiteX28" fmla="*/ 30143 w 53288"/>
                  <a:gd name="connsiteY28" fmla="*/ 19378 h 34269"/>
                  <a:gd name="connsiteX29" fmla="*/ 32655 w 53288"/>
                  <a:gd name="connsiteY29" fmla="*/ 20992 h 34269"/>
                  <a:gd name="connsiteX30" fmla="*/ 35166 w 53288"/>
                  <a:gd name="connsiteY30" fmla="*/ 22607 h 34269"/>
                  <a:gd name="connsiteX31" fmla="*/ 37678 w 53288"/>
                  <a:gd name="connsiteY31" fmla="*/ 24222 h 34269"/>
                  <a:gd name="connsiteX32" fmla="*/ 40190 w 53288"/>
                  <a:gd name="connsiteY32" fmla="*/ 25837 h 34269"/>
                  <a:gd name="connsiteX33" fmla="*/ 42702 w 53288"/>
                  <a:gd name="connsiteY33" fmla="*/ 27451 h 34269"/>
                  <a:gd name="connsiteX34" fmla="*/ 45214 w 53288"/>
                  <a:gd name="connsiteY34" fmla="*/ 29066 h 34269"/>
                  <a:gd name="connsiteX35" fmla="*/ 47726 w 53288"/>
                  <a:gd name="connsiteY35" fmla="*/ 30681 h 34269"/>
                  <a:gd name="connsiteX36" fmla="*/ 50238 w 53288"/>
                  <a:gd name="connsiteY36" fmla="*/ 32296 h 34269"/>
                  <a:gd name="connsiteX37" fmla="*/ 52750 w 53288"/>
                  <a:gd name="connsiteY37" fmla="*/ 33911 h 34269"/>
                  <a:gd name="connsiteX38" fmla="*/ 53288 w 53288"/>
                  <a:gd name="connsiteY38" fmla="*/ 34270 h 34269"/>
                  <a:gd name="connsiteX39" fmla="*/ 50477 w 53288"/>
                  <a:gd name="connsiteY39" fmla="*/ 33313 h 34269"/>
                  <a:gd name="connsiteX40" fmla="*/ 47666 w 53288"/>
                  <a:gd name="connsiteY40" fmla="*/ 32356 h 34269"/>
                  <a:gd name="connsiteX41" fmla="*/ 44855 w 53288"/>
                  <a:gd name="connsiteY41" fmla="*/ 31399 h 34269"/>
                  <a:gd name="connsiteX42" fmla="*/ 42044 w 53288"/>
                  <a:gd name="connsiteY42" fmla="*/ 30442 h 34269"/>
                  <a:gd name="connsiteX43" fmla="*/ 39234 w 53288"/>
                  <a:gd name="connsiteY43" fmla="*/ 29485 h 34269"/>
                  <a:gd name="connsiteX44" fmla="*/ 36422 w 53288"/>
                  <a:gd name="connsiteY44" fmla="*/ 28528 h 34269"/>
                  <a:gd name="connsiteX45" fmla="*/ 33612 w 53288"/>
                  <a:gd name="connsiteY45" fmla="*/ 27571 h 34269"/>
                  <a:gd name="connsiteX46" fmla="*/ 33253 w 53288"/>
                  <a:gd name="connsiteY46" fmla="*/ 27451 h 34269"/>
                  <a:gd name="connsiteX47" fmla="*/ 30442 w 53288"/>
                  <a:gd name="connsiteY47" fmla="*/ 26495 h 34269"/>
                  <a:gd name="connsiteX48" fmla="*/ 27631 w 53288"/>
                  <a:gd name="connsiteY48" fmla="*/ 25538 h 34269"/>
                  <a:gd name="connsiteX49" fmla="*/ 24999 w 53288"/>
                  <a:gd name="connsiteY49" fmla="*/ 24641 h 34269"/>
                  <a:gd name="connsiteX50" fmla="*/ 22188 w 53288"/>
                  <a:gd name="connsiteY50" fmla="*/ 23684 h 34269"/>
                  <a:gd name="connsiteX51" fmla="*/ 19377 w 53288"/>
                  <a:gd name="connsiteY51" fmla="*/ 22727 h 34269"/>
                  <a:gd name="connsiteX52" fmla="*/ 19198 w 53288"/>
                  <a:gd name="connsiteY52" fmla="*/ 22667 h 34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3288" h="34269">
                    <a:moveTo>
                      <a:pt x="15430" y="28229"/>
                    </a:moveTo>
                    <a:lnTo>
                      <a:pt x="16865" y="25777"/>
                    </a:lnTo>
                    <a:lnTo>
                      <a:pt x="18301" y="23325"/>
                    </a:lnTo>
                    <a:lnTo>
                      <a:pt x="19019" y="22069"/>
                    </a:lnTo>
                    <a:lnTo>
                      <a:pt x="18181" y="21112"/>
                    </a:lnTo>
                    <a:lnTo>
                      <a:pt x="18002" y="20933"/>
                    </a:lnTo>
                    <a:lnTo>
                      <a:pt x="16865" y="19557"/>
                    </a:lnTo>
                    <a:lnTo>
                      <a:pt x="14952" y="17344"/>
                    </a:lnTo>
                    <a:lnTo>
                      <a:pt x="13038" y="15131"/>
                    </a:lnTo>
                    <a:lnTo>
                      <a:pt x="12380" y="14354"/>
                    </a:lnTo>
                    <a:lnTo>
                      <a:pt x="10466" y="12141"/>
                    </a:lnTo>
                    <a:lnTo>
                      <a:pt x="8552" y="9928"/>
                    </a:lnTo>
                    <a:lnTo>
                      <a:pt x="6639" y="7715"/>
                    </a:lnTo>
                    <a:lnTo>
                      <a:pt x="4725" y="5502"/>
                    </a:lnTo>
                    <a:lnTo>
                      <a:pt x="2811" y="3289"/>
                    </a:lnTo>
                    <a:lnTo>
                      <a:pt x="897" y="1077"/>
                    </a:lnTo>
                    <a:lnTo>
                      <a:pt x="0" y="0"/>
                    </a:lnTo>
                    <a:lnTo>
                      <a:pt x="2512" y="1615"/>
                    </a:lnTo>
                    <a:lnTo>
                      <a:pt x="5024" y="3230"/>
                    </a:lnTo>
                    <a:lnTo>
                      <a:pt x="7535" y="4844"/>
                    </a:lnTo>
                    <a:lnTo>
                      <a:pt x="10048" y="6459"/>
                    </a:lnTo>
                    <a:lnTo>
                      <a:pt x="12559" y="8074"/>
                    </a:lnTo>
                    <a:lnTo>
                      <a:pt x="15071" y="9689"/>
                    </a:lnTo>
                    <a:lnTo>
                      <a:pt x="17583" y="11304"/>
                    </a:lnTo>
                    <a:lnTo>
                      <a:pt x="20095" y="12918"/>
                    </a:lnTo>
                    <a:lnTo>
                      <a:pt x="22607" y="14533"/>
                    </a:lnTo>
                    <a:lnTo>
                      <a:pt x="25119" y="16148"/>
                    </a:lnTo>
                    <a:lnTo>
                      <a:pt x="27631" y="17763"/>
                    </a:lnTo>
                    <a:lnTo>
                      <a:pt x="30143" y="19378"/>
                    </a:lnTo>
                    <a:lnTo>
                      <a:pt x="32655" y="20992"/>
                    </a:lnTo>
                    <a:lnTo>
                      <a:pt x="35166" y="22607"/>
                    </a:lnTo>
                    <a:lnTo>
                      <a:pt x="37678" y="24222"/>
                    </a:lnTo>
                    <a:lnTo>
                      <a:pt x="40190" y="25837"/>
                    </a:lnTo>
                    <a:lnTo>
                      <a:pt x="42702" y="27451"/>
                    </a:lnTo>
                    <a:lnTo>
                      <a:pt x="45214" y="29066"/>
                    </a:lnTo>
                    <a:lnTo>
                      <a:pt x="47726" y="30681"/>
                    </a:lnTo>
                    <a:lnTo>
                      <a:pt x="50238" y="32296"/>
                    </a:lnTo>
                    <a:lnTo>
                      <a:pt x="52750" y="33911"/>
                    </a:lnTo>
                    <a:lnTo>
                      <a:pt x="53288" y="34270"/>
                    </a:lnTo>
                    <a:lnTo>
                      <a:pt x="50477" y="33313"/>
                    </a:lnTo>
                    <a:lnTo>
                      <a:pt x="47666" y="32356"/>
                    </a:lnTo>
                    <a:lnTo>
                      <a:pt x="44855" y="31399"/>
                    </a:lnTo>
                    <a:lnTo>
                      <a:pt x="42044" y="30442"/>
                    </a:lnTo>
                    <a:lnTo>
                      <a:pt x="39234" y="29485"/>
                    </a:lnTo>
                    <a:lnTo>
                      <a:pt x="36422" y="28528"/>
                    </a:lnTo>
                    <a:lnTo>
                      <a:pt x="33612" y="27571"/>
                    </a:lnTo>
                    <a:lnTo>
                      <a:pt x="33253" y="27451"/>
                    </a:lnTo>
                    <a:lnTo>
                      <a:pt x="30442" y="26495"/>
                    </a:lnTo>
                    <a:lnTo>
                      <a:pt x="27631" y="25538"/>
                    </a:lnTo>
                    <a:lnTo>
                      <a:pt x="24999" y="24641"/>
                    </a:lnTo>
                    <a:lnTo>
                      <a:pt x="22188" y="23684"/>
                    </a:lnTo>
                    <a:lnTo>
                      <a:pt x="19377" y="22727"/>
                    </a:lnTo>
                    <a:lnTo>
                      <a:pt x="19198" y="22667"/>
                    </a:lnTo>
                  </a:path>
                </a:pathLst>
              </a:custGeom>
              <a:noFill/>
              <a:ln w="6350" cap="rnd">
                <a:solidFill>
                  <a:schemeClr val="bg1">
                    <a:alpha val="80000"/>
                  </a:schemeClr>
                </a:solidFill>
                <a:prstDash val="solid"/>
                <a:round/>
              </a:ln>
            </p:spPr>
            <p:txBody>
              <a:bodyPr rtlCol="0" anchor="ctr"/>
              <a:lstStyle/>
              <a:p>
                <a:endParaRPr lang="en-GB"/>
              </a:p>
            </p:txBody>
          </p:sp>
          <p:sp>
            <p:nvSpPr>
              <p:cNvPr id="5384" name="Vrije vorm: vorm 5383">
                <a:extLst>
                  <a:ext uri="{FF2B5EF4-FFF2-40B4-BE49-F238E27FC236}">
                    <a16:creationId xmlns:a16="http://schemas.microsoft.com/office/drawing/2014/main" id="{5B2A261B-0482-4411-88C3-C2C53F73BF42}"/>
                  </a:ext>
                </a:extLst>
              </p:cNvPr>
              <p:cNvSpPr/>
              <p:nvPr/>
            </p:nvSpPr>
            <p:spPr>
              <a:xfrm>
                <a:off x="6533001" y="1878226"/>
                <a:ext cx="26913" cy="9150"/>
              </a:xfrm>
              <a:custGeom>
                <a:avLst/>
                <a:gdLst>
                  <a:gd name="connsiteX0" fmla="*/ 26913 w 26913"/>
                  <a:gd name="connsiteY0" fmla="*/ 9150 h 9150"/>
                  <a:gd name="connsiteX1" fmla="*/ 24102 w 26913"/>
                  <a:gd name="connsiteY1" fmla="*/ 8194 h 9150"/>
                  <a:gd name="connsiteX2" fmla="*/ 21291 w 26913"/>
                  <a:gd name="connsiteY2" fmla="*/ 7237 h 9150"/>
                  <a:gd name="connsiteX3" fmla="*/ 18480 w 26913"/>
                  <a:gd name="connsiteY3" fmla="*/ 6280 h 9150"/>
                  <a:gd name="connsiteX4" fmla="*/ 15669 w 26913"/>
                  <a:gd name="connsiteY4" fmla="*/ 5323 h 9150"/>
                  <a:gd name="connsiteX5" fmla="*/ 12858 w 26913"/>
                  <a:gd name="connsiteY5" fmla="*/ 4366 h 9150"/>
                  <a:gd name="connsiteX6" fmla="*/ 10526 w 26913"/>
                  <a:gd name="connsiteY6" fmla="*/ 3588 h 9150"/>
                  <a:gd name="connsiteX7" fmla="*/ 10107 w 26913"/>
                  <a:gd name="connsiteY7" fmla="*/ 3469 h 9150"/>
                  <a:gd name="connsiteX8" fmla="*/ 9808 w 26913"/>
                  <a:gd name="connsiteY8" fmla="*/ 3349 h 9150"/>
                  <a:gd name="connsiteX9" fmla="*/ 6997 w 26913"/>
                  <a:gd name="connsiteY9" fmla="*/ 2392 h 9150"/>
                  <a:gd name="connsiteX10" fmla="*/ 4725 w 26913"/>
                  <a:gd name="connsiteY10" fmla="*/ 1615 h 9150"/>
                  <a:gd name="connsiteX11" fmla="*/ 1914 w 26913"/>
                  <a:gd name="connsiteY11" fmla="*/ 658 h 9150"/>
                  <a:gd name="connsiteX12" fmla="*/ 0 w 26913"/>
                  <a:gd name="connsiteY12" fmla="*/ 0 h 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13" h="9150">
                    <a:moveTo>
                      <a:pt x="26913" y="9150"/>
                    </a:moveTo>
                    <a:lnTo>
                      <a:pt x="24102" y="8194"/>
                    </a:lnTo>
                    <a:lnTo>
                      <a:pt x="21291" y="7237"/>
                    </a:lnTo>
                    <a:lnTo>
                      <a:pt x="18480" y="6280"/>
                    </a:lnTo>
                    <a:lnTo>
                      <a:pt x="15669" y="5323"/>
                    </a:lnTo>
                    <a:lnTo>
                      <a:pt x="12858" y="4366"/>
                    </a:lnTo>
                    <a:lnTo>
                      <a:pt x="10526" y="3588"/>
                    </a:lnTo>
                    <a:lnTo>
                      <a:pt x="10107" y="3469"/>
                    </a:lnTo>
                    <a:lnTo>
                      <a:pt x="9808" y="3349"/>
                    </a:lnTo>
                    <a:lnTo>
                      <a:pt x="6997" y="2392"/>
                    </a:lnTo>
                    <a:lnTo>
                      <a:pt x="4725" y="1615"/>
                    </a:lnTo>
                    <a:lnTo>
                      <a:pt x="1914" y="65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385" name="Vrije vorm: vorm 5384">
                <a:extLst>
                  <a:ext uri="{FF2B5EF4-FFF2-40B4-BE49-F238E27FC236}">
                    <a16:creationId xmlns:a16="http://schemas.microsoft.com/office/drawing/2014/main" id="{0B60C160-6D2E-4ADB-99C8-F9368EFE9CC7}"/>
                  </a:ext>
                </a:extLst>
              </p:cNvPr>
              <p:cNvSpPr/>
              <p:nvPr/>
            </p:nvSpPr>
            <p:spPr>
              <a:xfrm>
                <a:off x="6388088" y="1760765"/>
                <a:ext cx="21052" cy="20095"/>
              </a:xfrm>
              <a:custGeom>
                <a:avLst/>
                <a:gdLst>
                  <a:gd name="connsiteX0" fmla="*/ 0 w 21052"/>
                  <a:gd name="connsiteY0" fmla="*/ 20095 h 20095"/>
                  <a:gd name="connsiteX1" fmla="*/ 897 w 21052"/>
                  <a:gd name="connsiteY1" fmla="*/ 18540 h 20095"/>
                  <a:gd name="connsiteX2" fmla="*/ 2333 w 21052"/>
                  <a:gd name="connsiteY2" fmla="*/ 16088 h 20095"/>
                  <a:gd name="connsiteX3" fmla="*/ 3409 w 21052"/>
                  <a:gd name="connsiteY3" fmla="*/ 14234 h 20095"/>
                  <a:gd name="connsiteX4" fmla="*/ 3828 w 21052"/>
                  <a:gd name="connsiteY4" fmla="*/ 13516 h 20095"/>
                  <a:gd name="connsiteX5" fmla="*/ 4007 w 21052"/>
                  <a:gd name="connsiteY5" fmla="*/ 13217 h 20095"/>
                  <a:gd name="connsiteX6" fmla="*/ 4127 w 21052"/>
                  <a:gd name="connsiteY6" fmla="*/ 12978 h 20095"/>
                  <a:gd name="connsiteX7" fmla="*/ 5383 w 21052"/>
                  <a:gd name="connsiteY7" fmla="*/ 10825 h 20095"/>
                  <a:gd name="connsiteX8" fmla="*/ 5742 w 21052"/>
                  <a:gd name="connsiteY8" fmla="*/ 10287 h 20095"/>
                  <a:gd name="connsiteX9" fmla="*/ 6818 w 21052"/>
                  <a:gd name="connsiteY9" fmla="*/ 8493 h 20095"/>
                  <a:gd name="connsiteX10" fmla="*/ 8253 w 21052"/>
                  <a:gd name="connsiteY10" fmla="*/ 6041 h 20095"/>
                  <a:gd name="connsiteX11" fmla="*/ 9689 w 21052"/>
                  <a:gd name="connsiteY11" fmla="*/ 3588 h 20095"/>
                  <a:gd name="connsiteX12" fmla="*/ 11124 w 21052"/>
                  <a:gd name="connsiteY12" fmla="*/ 1136 h 20095"/>
                  <a:gd name="connsiteX13" fmla="*/ 11782 w 21052"/>
                  <a:gd name="connsiteY13" fmla="*/ 0 h 20095"/>
                  <a:gd name="connsiteX14" fmla="*/ 14713 w 21052"/>
                  <a:gd name="connsiteY14" fmla="*/ 179 h 20095"/>
                  <a:gd name="connsiteX15" fmla="*/ 17643 w 21052"/>
                  <a:gd name="connsiteY15" fmla="*/ 359 h 20095"/>
                  <a:gd name="connsiteX16" fmla="*/ 20574 w 21052"/>
                  <a:gd name="connsiteY16" fmla="*/ 538 h 20095"/>
                  <a:gd name="connsiteX17" fmla="*/ 21052 w 21052"/>
                  <a:gd name="connsiteY17" fmla="*/ 598 h 2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052" h="20095">
                    <a:moveTo>
                      <a:pt x="0" y="20095"/>
                    </a:moveTo>
                    <a:lnTo>
                      <a:pt x="897" y="18540"/>
                    </a:lnTo>
                    <a:lnTo>
                      <a:pt x="2333" y="16088"/>
                    </a:lnTo>
                    <a:lnTo>
                      <a:pt x="3409" y="14234"/>
                    </a:lnTo>
                    <a:lnTo>
                      <a:pt x="3828" y="13516"/>
                    </a:lnTo>
                    <a:lnTo>
                      <a:pt x="4007" y="13217"/>
                    </a:lnTo>
                    <a:lnTo>
                      <a:pt x="4127" y="12978"/>
                    </a:lnTo>
                    <a:lnTo>
                      <a:pt x="5383" y="10825"/>
                    </a:lnTo>
                    <a:lnTo>
                      <a:pt x="5742" y="10287"/>
                    </a:lnTo>
                    <a:lnTo>
                      <a:pt x="6818" y="8493"/>
                    </a:lnTo>
                    <a:lnTo>
                      <a:pt x="8253" y="6041"/>
                    </a:lnTo>
                    <a:lnTo>
                      <a:pt x="9689" y="3588"/>
                    </a:lnTo>
                    <a:lnTo>
                      <a:pt x="11124" y="1136"/>
                    </a:lnTo>
                    <a:lnTo>
                      <a:pt x="11782" y="0"/>
                    </a:lnTo>
                    <a:lnTo>
                      <a:pt x="14713" y="179"/>
                    </a:lnTo>
                    <a:lnTo>
                      <a:pt x="17643" y="359"/>
                    </a:lnTo>
                    <a:lnTo>
                      <a:pt x="20574" y="538"/>
                    </a:lnTo>
                    <a:lnTo>
                      <a:pt x="21052" y="598"/>
                    </a:lnTo>
                  </a:path>
                </a:pathLst>
              </a:custGeom>
              <a:noFill/>
              <a:ln w="6350" cap="rnd">
                <a:solidFill>
                  <a:schemeClr val="bg1">
                    <a:alpha val="80000"/>
                  </a:schemeClr>
                </a:solidFill>
                <a:prstDash val="solid"/>
                <a:round/>
              </a:ln>
            </p:spPr>
            <p:txBody>
              <a:bodyPr rtlCol="0" anchor="ctr"/>
              <a:lstStyle/>
              <a:p>
                <a:endParaRPr lang="en-GB"/>
              </a:p>
            </p:txBody>
          </p:sp>
          <p:sp>
            <p:nvSpPr>
              <p:cNvPr id="5386" name="Vrije vorm: vorm 5385">
                <a:extLst>
                  <a:ext uri="{FF2B5EF4-FFF2-40B4-BE49-F238E27FC236}">
                    <a16:creationId xmlns:a16="http://schemas.microsoft.com/office/drawing/2014/main" id="{6103603A-7D00-4251-9535-A8E921A9F76D}"/>
                  </a:ext>
                </a:extLst>
              </p:cNvPr>
              <p:cNvSpPr/>
              <p:nvPr/>
            </p:nvSpPr>
            <p:spPr>
              <a:xfrm>
                <a:off x="6399930" y="1760765"/>
                <a:ext cx="8313" cy="8791"/>
              </a:xfrm>
              <a:custGeom>
                <a:avLst/>
                <a:gdLst>
                  <a:gd name="connsiteX0" fmla="*/ 6818 w 8313"/>
                  <a:gd name="connsiteY0" fmla="*/ 4486 h 8791"/>
                  <a:gd name="connsiteX1" fmla="*/ 7775 w 8313"/>
                  <a:gd name="connsiteY1" fmla="*/ 7237 h 8791"/>
                  <a:gd name="connsiteX2" fmla="*/ 8313 w 8313"/>
                  <a:gd name="connsiteY2" fmla="*/ 8792 h 8791"/>
                  <a:gd name="connsiteX3" fmla="*/ 6280 w 8313"/>
                  <a:gd name="connsiteY3" fmla="*/ 6639 h 8791"/>
                  <a:gd name="connsiteX4" fmla="*/ 4246 w 8313"/>
                  <a:gd name="connsiteY4" fmla="*/ 4486 h 8791"/>
                  <a:gd name="connsiteX5" fmla="*/ 2213 w 8313"/>
                  <a:gd name="connsiteY5" fmla="*/ 2332 h 8791"/>
                  <a:gd name="connsiteX6" fmla="*/ 179 w 8313"/>
                  <a:gd name="connsiteY6" fmla="*/ 179 h 8791"/>
                  <a:gd name="connsiteX7" fmla="*/ 0 w 8313"/>
                  <a:gd name="connsiteY7"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13" h="8791">
                    <a:moveTo>
                      <a:pt x="6818" y="4486"/>
                    </a:moveTo>
                    <a:lnTo>
                      <a:pt x="7775" y="7237"/>
                    </a:lnTo>
                    <a:lnTo>
                      <a:pt x="8313" y="8792"/>
                    </a:lnTo>
                    <a:lnTo>
                      <a:pt x="6280" y="6639"/>
                    </a:lnTo>
                    <a:lnTo>
                      <a:pt x="4246" y="4486"/>
                    </a:lnTo>
                    <a:lnTo>
                      <a:pt x="2213" y="2332"/>
                    </a:lnTo>
                    <a:lnTo>
                      <a:pt x="179" y="17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387" name="Vrije vorm: vorm 5386">
                <a:extLst>
                  <a:ext uri="{FF2B5EF4-FFF2-40B4-BE49-F238E27FC236}">
                    <a16:creationId xmlns:a16="http://schemas.microsoft.com/office/drawing/2014/main" id="{8835C6AF-D691-4F28-B23F-FB5C0ABF14DA}"/>
                  </a:ext>
                </a:extLst>
              </p:cNvPr>
              <p:cNvSpPr/>
              <p:nvPr/>
            </p:nvSpPr>
            <p:spPr>
              <a:xfrm>
                <a:off x="6435276" y="1795572"/>
                <a:ext cx="99040" cy="48144"/>
              </a:xfrm>
              <a:custGeom>
                <a:avLst/>
                <a:gdLst>
                  <a:gd name="connsiteX0" fmla="*/ 99041 w 99040"/>
                  <a:gd name="connsiteY0" fmla="*/ 46351 h 48144"/>
                  <a:gd name="connsiteX1" fmla="*/ 97426 w 99040"/>
                  <a:gd name="connsiteY1" fmla="*/ 47726 h 48144"/>
                  <a:gd name="connsiteX2" fmla="*/ 94555 w 99040"/>
                  <a:gd name="connsiteY2" fmla="*/ 48085 h 48144"/>
                  <a:gd name="connsiteX3" fmla="*/ 94196 w 99040"/>
                  <a:gd name="connsiteY3" fmla="*/ 48145 h 48144"/>
                  <a:gd name="connsiteX4" fmla="*/ 91266 w 99040"/>
                  <a:gd name="connsiteY4" fmla="*/ 47786 h 48144"/>
                  <a:gd name="connsiteX5" fmla="*/ 89412 w 99040"/>
                  <a:gd name="connsiteY5" fmla="*/ 47547 h 48144"/>
                  <a:gd name="connsiteX6" fmla="*/ 86541 w 99040"/>
                  <a:gd name="connsiteY6" fmla="*/ 46769 h 48144"/>
                  <a:gd name="connsiteX7" fmla="*/ 83670 w 99040"/>
                  <a:gd name="connsiteY7" fmla="*/ 45992 h 48144"/>
                  <a:gd name="connsiteX8" fmla="*/ 83072 w 99040"/>
                  <a:gd name="connsiteY8" fmla="*/ 45872 h 48144"/>
                  <a:gd name="connsiteX9" fmla="*/ 80261 w 99040"/>
                  <a:gd name="connsiteY9" fmla="*/ 44915 h 48144"/>
                  <a:gd name="connsiteX10" fmla="*/ 77450 w 99040"/>
                  <a:gd name="connsiteY10" fmla="*/ 43958 h 48144"/>
                  <a:gd name="connsiteX11" fmla="*/ 75357 w 99040"/>
                  <a:gd name="connsiteY11" fmla="*/ 43241 h 48144"/>
                  <a:gd name="connsiteX12" fmla="*/ 72606 w 99040"/>
                  <a:gd name="connsiteY12" fmla="*/ 42104 h 48144"/>
                  <a:gd name="connsiteX13" fmla="*/ 69855 w 99040"/>
                  <a:gd name="connsiteY13" fmla="*/ 40968 h 48144"/>
                  <a:gd name="connsiteX14" fmla="*/ 67104 w 99040"/>
                  <a:gd name="connsiteY14" fmla="*/ 39832 h 48144"/>
                  <a:gd name="connsiteX15" fmla="*/ 66446 w 99040"/>
                  <a:gd name="connsiteY15" fmla="*/ 39592 h 48144"/>
                  <a:gd name="connsiteX16" fmla="*/ 63755 w 99040"/>
                  <a:gd name="connsiteY16" fmla="*/ 38336 h 48144"/>
                  <a:gd name="connsiteX17" fmla="*/ 61063 w 99040"/>
                  <a:gd name="connsiteY17" fmla="*/ 37080 h 48144"/>
                  <a:gd name="connsiteX18" fmla="*/ 58372 w 99040"/>
                  <a:gd name="connsiteY18" fmla="*/ 35825 h 48144"/>
                  <a:gd name="connsiteX19" fmla="*/ 56638 w 99040"/>
                  <a:gd name="connsiteY19" fmla="*/ 35047 h 48144"/>
                  <a:gd name="connsiteX20" fmla="*/ 54006 w 99040"/>
                  <a:gd name="connsiteY20" fmla="*/ 33671 h 48144"/>
                  <a:gd name="connsiteX21" fmla="*/ 51375 w 99040"/>
                  <a:gd name="connsiteY21" fmla="*/ 32296 h 48144"/>
                  <a:gd name="connsiteX22" fmla="*/ 48743 w 99040"/>
                  <a:gd name="connsiteY22" fmla="*/ 30920 h 48144"/>
                  <a:gd name="connsiteX23" fmla="*/ 46291 w 99040"/>
                  <a:gd name="connsiteY23" fmla="*/ 29664 h 48144"/>
                  <a:gd name="connsiteX24" fmla="*/ 43719 w 99040"/>
                  <a:gd name="connsiteY24" fmla="*/ 28229 h 48144"/>
                  <a:gd name="connsiteX25" fmla="*/ 41147 w 99040"/>
                  <a:gd name="connsiteY25" fmla="*/ 26794 h 48144"/>
                  <a:gd name="connsiteX26" fmla="*/ 38576 w 99040"/>
                  <a:gd name="connsiteY26" fmla="*/ 25358 h 48144"/>
                  <a:gd name="connsiteX27" fmla="*/ 36004 w 99040"/>
                  <a:gd name="connsiteY27" fmla="*/ 23923 h 48144"/>
                  <a:gd name="connsiteX28" fmla="*/ 35765 w 99040"/>
                  <a:gd name="connsiteY28" fmla="*/ 23803 h 48144"/>
                  <a:gd name="connsiteX29" fmla="*/ 33253 w 99040"/>
                  <a:gd name="connsiteY29" fmla="*/ 22248 h 48144"/>
                  <a:gd name="connsiteX30" fmla="*/ 30741 w 99040"/>
                  <a:gd name="connsiteY30" fmla="*/ 20693 h 48144"/>
                  <a:gd name="connsiteX31" fmla="*/ 28229 w 99040"/>
                  <a:gd name="connsiteY31" fmla="*/ 19138 h 48144"/>
                  <a:gd name="connsiteX32" fmla="*/ 25717 w 99040"/>
                  <a:gd name="connsiteY32" fmla="*/ 17583 h 48144"/>
                  <a:gd name="connsiteX33" fmla="*/ 25358 w 99040"/>
                  <a:gd name="connsiteY33" fmla="*/ 17404 h 48144"/>
                  <a:gd name="connsiteX34" fmla="*/ 22846 w 99040"/>
                  <a:gd name="connsiteY34" fmla="*/ 15789 h 48144"/>
                  <a:gd name="connsiteX35" fmla="*/ 20335 w 99040"/>
                  <a:gd name="connsiteY35" fmla="*/ 14174 h 48144"/>
                  <a:gd name="connsiteX36" fmla="*/ 17823 w 99040"/>
                  <a:gd name="connsiteY36" fmla="*/ 12559 h 48144"/>
                  <a:gd name="connsiteX37" fmla="*/ 15251 w 99040"/>
                  <a:gd name="connsiteY37" fmla="*/ 10885 h 48144"/>
                  <a:gd name="connsiteX38" fmla="*/ 12500 w 99040"/>
                  <a:gd name="connsiteY38" fmla="*/ 9808 h 48144"/>
                  <a:gd name="connsiteX39" fmla="*/ 9749 w 99040"/>
                  <a:gd name="connsiteY39" fmla="*/ 8732 h 48144"/>
                  <a:gd name="connsiteX40" fmla="*/ 6997 w 99040"/>
                  <a:gd name="connsiteY40" fmla="*/ 7655 h 48144"/>
                  <a:gd name="connsiteX41" fmla="*/ 4246 w 99040"/>
                  <a:gd name="connsiteY41" fmla="*/ 6579 h 48144"/>
                  <a:gd name="connsiteX42" fmla="*/ 1495 w 99040"/>
                  <a:gd name="connsiteY42" fmla="*/ 5502 h 48144"/>
                  <a:gd name="connsiteX43" fmla="*/ 0 w 99040"/>
                  <a:gd name="connsiteY43" fmla="*/ 4904 h 48144"/>
                  <a:gd name="connsiteX44" fmla="*/ 1435 w 99040"/>
                  <a:gd name="connsiteY44" fmla="*/ 2452 h 48144"/>
                  <a:gd name="connsiteX45" fmla="*/ 2871 w 99040"/>
                  <a:gd name="connsiteY45" fmla="*/ 0 h 48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9040" h="48144">
                    <a:moveTo>
                      <a:pt x="99041" y="46351"/>
                    </a:moveTo>
                    <a:lnTo>
                      <a:pt x="97426" y="47726"/>
                    </a:lnTo>
                    <a:lnTo>
                      <a:pt x="94555" y="48085"/>
                    </a:lnTo>
                    <a:lnTo>
                      <a:pt x="94196" y="48145"/>
                    </a:lnTo>
                    <a:lnTo>
                      <a:pt x="91266" y="47786"/>
                    </a:lnTo>
                    <a:lnTo>
                      <a:pt x="89412" y="47547"/>
                    </a:lnTo>
                    <a:lnTo>
                      <a:pt x="86541" y="46769"/>
                    </a:lnTo>
                    <a:lnTo>
                      <a:pt x="83670" y="45992"/>
                    </a:lnTo>
                    <a:lnTo>
                      <a:pt x="83072" y="45872"/>
                    </a:lnTo>
                    <a:lnTo>
                      <a:pt x="80261" y="44915"/>
                    </a:lnTo>
                    <a:lnTo>
                      <a:pt x="77450" y="43958"/>
                    </a:lnTo>
                    <a:lnTo>
                      <a:pt x="75357" y="43241"/>
                    </a:lnTo>
                    <a:lnTo>
                      <a:pt x="72606" y="42104"/>
                    </a:lnTo>
                    <a:lnTo>
                      <a:pt x="69855" y="40968"/>
                    </a:lnTo>
                    <a:lnTo>
                      <a:pt x="67104" y="39832"/>
                    </a:lnTo>
                    <a:lnTo>
                      <a:pt x="66446" y="39592"/>
                    </a:lnTo>
                    <a:lnTo>
                      <a:pt x="63755" y="38336"/>
                    </a:lnTo>
                    <a:lnTo>
                      <a:pt x="61063" y="37080"/>
                    </a:lnTo>
                    <a:lnTo>
                      <a:pt x="58372" y="35825"/>
                    </a:lnTo>
                    <a:lnTo>
                      <a:pt x="56638" y="35047"/>
                    </a:lnTo>
                    <a:lnTo>
                      <a:pt x="54006" y="33671"/>
                    </a:lnTo>
                    <a:lnTo>
                      <a:pt x="51375" y="32296"/>
                    </a:lnTo>
                    <a:lnTo>
                      <a:pt x="48743" y="30920"/>
                    </a:lnTo>
                    <a:lnTo>
                      <a:pt x="46291" y="29664"/>
                    </a:lnTo>
                    <a:lnTo>
                      <a:pt x="43719" y="28229"/>
                    </a:lnTo>
                    <a:lnTo>
                      <a:pt x="41147" y="26794"/>
                    </a:lnTo>
                    <a:lnTo>
                      <a:pt x="38576" y="25358"/>
                    </a:lnTo>
                    <a:lnTo>
                      <a:pt x="36004" y="23923"/>
                    </a:lnTo>
                    <a:lnTo>
                      <a:pt x="35765" y="23803"/>
                    </a:lnTo>
                    <a:lnTo>
                      <a:pt x="33253" y="22248"/>
                    </a:lnTo>
                    <a:lnTo>
                      <a:pt x="30741" y="20693"/>
                    </a:lnTo>
                    <a:lnTo>
                      <a:pt x="28229" y="19138"/>
                    </a:lnTo>
                    <a:lnTo>
                      <a:pt x="25717" y="17583"/>
                    </a:lnTo>
                    <a:lnTo>
                      <a:pt x="25358" y="17404"/>
                    </a:lnTo>
                    <a:lnTo>
                      <a:pt x="22846" y="15789"/>
                    </a:lnTo>
                    <a:lnTo>
                      <a:pt x="20335" y="14174"/>
                    </a:lnTo>
                    <a:lnTo>
                      <a:pt x="17823" y="12559"/>
                    </a:lnTo>
                    <a:lnTo>
                      <a:pt x="15251" y="10885"/>
                    </a:lnTo>
                    <a:lnTo>
                      <a:pt x="12500" y="9808"/>
                    </a:lnTo>
                    <a:lnTo>
                      <a:pt x="9749" y="8732"/>
                    </a:lnTo>
                    <a:lnTo>
                      <a:pt x="6997" y="7655"/>
                    </a:lnTo>
                    <a:lnTo>
                      <a:pt x="4246" y="6579"/>
                    </a:lnTo>
                    <a:lnTo>
                      <a:pt x="1495" y="5502"/>
                    </a:lnTo>
                    <a:lnTo>
                      <a:pt x="0" y="4904"/>
                    </a:lnTo>
                    <a:lnTo>
                      <a:pt x="1435" y="2452"/>
                    </a:lnTo>
                    <a:lnTo>
                      <a:pt x="2871" y="0"/>
                    </a:lnTo>
                  </a:path>
                </a:pathLst>
              </a:custGeom>
              <a:noFill/>
              <a:ln w="6350" cap="rnd">
                <a:solidFill>
                  <a:schemeClr val="bg1">
                    <a:alpha val="80000"/>
                  </a:schemeClr>
                </a:solidFill>
                <a:prstDash val="solid"/>
                <a:round/>
              </a:ln>
            </p:spPr>
            <p:txBody>
              <a:bodyPr rtlCol="0" anchor="ctr"/>
              <a:lstStyle/>
              <a:p>
                <a:endParaRPr lang="en-GB"/>
              </a:p>
            </p:txBody>
          </p:sp>
          <p:sp>
            <p:nvSpPr>
              <p:cNvPr id="5388" name="Vrije vorm: vorm 5387">
                <a:extLst>
                  <a:ext uri="{FF2B5EF4-FFF2-40B4-BE49-F238E27FC236}">
                    <a16:creationId xmlns:a16="http://schemas.microsoft.com/office/drawing/2014/main" id="{2EA061CE-7323-409B-8238-0EE6E76E15BA}"/>
                  </a:ext>
                </a:extLst>
              </p:cNvPr>
              <p:cNvSpPr/>
              <p:nvPr/>
            </p:nvSpPr>
            <p:spPr>
              <a:xfrm>
                <a:off x="6408244" y="1760047"/>
                <a:ext cx="128704" cy="79184"/>
              </a:xfrm>
              <a:custGeom>
                <a:avLst/>
                <a:gdLst>
                  <a:gd name="connsiteX0" fmla="*/ 128705 w 128704"/>
                  <a:gd name="connsiteY0" fmla="*/ 75357 h 79184"/>
                  <a:gd name="connsiteX1" fmla="*/ 128645 w 128704"/>
                  <a:gd name="connsiteY1" fmla="*/ 77510 h 79184"/>
                  <a:gd name="connsiteX2" fmla="*/ 127030 w 128704"/>
                  <a:gd name="connsiteY2" fmla="*/ 78826 h 79184"/>
                  <a:gd name="connsiteX3" fmla="*/ 126612 w 128704"/>
                  <a:gd name="connsiteY3" fmla="*/ 78886 h 79184"/>
                  <a:gd name="connsiteX4" fmla="*/ 123861 w 128704"/>
                  <a:gd name="connsiteY4" fmla="*/ 79185 h 79184"/>
                  <a:gd name="connsiteX5" fmla="*/ 120930 w 128704"/>
                  <a:gd name="connsiteY5" fmla="*/ 78766 h 79184"/>
                  <a:gd name="connsiteX6" fmla="*/ 119076 w 128704"/>
                  <a:gd name="connsiteY6" fmla="*/ 78527 h 79184"/>
                  <a:gd name="connsiteX7" fmla="*/ 116205 w 128704"/>
                  <a:gd name="connsiteY7" fmla="*/ 77749 h 79184"/>
                  <a:gd name="connsiteX8" fmla="*/ 113334 w 128704"/>
                  <a:gd name="connsiteY8" fmla="*/ 76972 h 79184"/>
                  <a:gd name="connsiteX9" fmla="*/ 112796 w 128704"/>
                  <a:gd name="connsiteY9" fmla="*/ 76792 h 79184"/>
                  <a:gd name="connsiteX10" fmla="*/ 109985 w 128704"/>
                  <a:gd name="connsiteY10" fmla="*/ 75776 h 79184"/>
                  <a:gd name="connsiteX11" fmla="*/ 107174 w 128704"/>
                  <a:gd name="connsiteY11" fmla="*/ 74759 h 79184"/>
                  <a:gd name="connsiteX12" fmla="*/ 105141 w 128704"/>
                  <a:gd name="connsiteY12" fmla="*/ 74041 h 79184"/>
                  <a:gd name="connsiteX13" fmla="*/ 102390 w 128704"/>
                  <a:gd name="connsiteY13" fmla="*/ 72905 h 79184"/>
                  <a:gd name="connsiteX14" fmla="*/ 99639 w 128704"/>
                  <a:gd name="connsiteY14" fmla="*/ 71769 h 79184"/>
                  <a:gd name="connsiteX15" fmla="*/ 96887 w 128704"/>
                  <a:gd name="connsiteY15" fmla="*/ 70632 h 79184"/>
                  <a:gd name="connsiteX16" fmla="*/ 96289 w 128704"/>
                  <a:gd name="connsiteY16" fmla="*/ 70393 h 79184"/>
                  <a:gd name="connsiteX17" fmla="*/ 93598 w 128704"/>
                  <a:gd name="connsiteY17" fmla="*/ 69137 h 79184"/>
                  <a:gd name="connsiteX18" fmla="*/ 90907 w 128704"/>
                  <a:gd name="connsiteY18" fmla="*/ 67881 h 79184"/>
                  <a:gd name="connsiteX19" fmla="*/ 88216 w 128704"/>
                  <a:gd name="connsiteY19" fmla="*/ 66625 h 79184"/>
                  <a:gd name="connsiteX20" fmla="*/ 86541 w 128704"/>
                  <a:gd name="connsiteY20" fmla="*/ 65788 h 79184"/>
                  <a:gd name="connsiteX21" fmla="*/ 83909 w 128704"/>
                  <a:gd name="connsiteY21" fmla="*/ 64412 h 79184"/>
                  <a:gd name="connsiteX22" fmla="*/ 81278 w 128704"/>
                  <a:gd name="connsiteY22" fmla="*/ 63037 h 79184"/>
                  <a:gd name="connsiteX23" fmla="*/ 78646 w 128704"/>
                  <a:gd name="connsiteY23" fmla="*/ 61661 h 79184"/>
                  <a:gd name="connsiteX24" fmla="*/ 76194 w 128704"/>
                  <a:gd name="connsiteY24" fmla="*/ 60405 h 79184"/>
                  <a:gd name="connsiteX25" fmla="*/ 73623 w 128704"/>
                  <a:gd name="connsiteY25" fmla="*/ 58970 h 79184"/>
                  <a:gd name="connsiteX26" fmla="*/ 71051 w 128704"/>
                  <a:gd name="connsiteY26" fmla="*/ 57535 h 79184"/>
                  <a:gd name="connsiteX27" fmla="*/ 68479 w 128704"/>
                  <a:gd name="connsiteY27" fmla="*/ 56099 h 79184"/>
                  <a:gd name="connsiteX28" fmla="*/ 65907 w 128704"/>
                  <a:gd name="connsiteY28" fmla="*/ 54664 h 79184"/>
                  <a:gd name="connsiteX29" fmla="*/ 65668 w 128704"/>
                  <a:gd name="connsiteY29" fmla="*/ 54544 h 79184"/>
                  <a:gd name="connsiteX30" fmla="*/ 63156 w 128704"/>
                  <a:gd name="connsiteY30" fmla="*/ 52989 h 79184"/>
                  <a:gd name="connsiteX31" fmla="*/ 60644 w 128704"/>
                  <a:gd name="connsiteY31" fmla="*/ 51434 h 79184"/>
                  <a:gd name="connsiteX32" fmla="*/ 58132 w 128704"/>
                  <a:gd name="connsiteY32" fmla="*/ 49879 h 79184"/>
                  <a:gd name="connsiteX33" fmla="*/ 55621 w 128704"/>
                  <a:gd name="connsiteY33" fmla="*/ 48324 h 79184"/>
                  <a:gd name="connsiteX34" fmla="*/ 55262 w 128704"/>
                  <a:gd name="connsiteY34" fmla="*/ 48145 h 79184"/>
                  <a:gd name="connsiteX35" fmla="*/ 52750 w 128704"/>
                  <a:gd name="connsiteY35" fmla="*/ 46530 h 79184"/>
                  <a:gd name="connsiteX36" fmla="*/ 50238 w 128704"/>
                  <a:gd name="connsiteY36" fmla="*/ 44915 h 79184"/>
                  <a:gd name="connsiteX37" fmla="*/ 47726 w 128704"/>
                  <a:gd name="connsiteY37" fmla="*/ 43300 h 79184"/>
                  <a:gd name="connsiteX38" fmla="*/ 45154 w 128704"/>
                  <a:gd name="connsiteY38" fmla="*/ 41626 h 79184"/>
                  <a:gd name="connsiteX39" fmla="*/ 42403 w 128704"/>
                  <a:gd name="connsiteY39" fmla="*/ 40490 h 79184"/>
                  <a:gd name="connsiteX40" fmla="*/ 39652 w 128704"/>
                  <a:gd name="connsiteY40" fmla="*/ 39353 h 79184"/>
                  <a:gd name="connsiteX41" fmla="*/ 36901 w 128704"/>
                  <a:gd name="connsiteY41" fmla="*/ 38217 h 79184"/>
                  <a:gd name="connsiteX42" fmla="*/ 34150 w 128704"/>
                  <a:gd name="connsiteY42" fmla="*/ 37080 h 79184"/>
                  <a:gd name="connsiteX43" fmla="*/ 31399 w 128704"/>
                  <a:gd name="connsiteY43" fmla="*/ 35944 h 79184"/>
                  <a:gd name="connsiteX44" fmla="*/ 29904 w 128704"/>
                  <a:gd name="connsiteY44" fmla="*/ 35346 h 79184"/>
                  <a:gd name="connsiteX45" fmla="*/ 27810 w 128704"/>
                  <a:gd name="connsiteY45" fmla="*/ 33253 h 79184"/>
                  <a:gd name="connsiteX46" fmla="*/ 25717 w 128704"/>
                  <a:gd name="connsiteY46" fmla="*/ 31160 h 79184"/>
                  <a:gd name="connsiteX47" fmla="*/ 23624 w 128704"/>
                  <a:gd name="connsiteY47" fmla="*/ 29066 h 79184"/>
                  <a:gd name="connsiteX48" fmla="*/ 21530 w 128704"/>
                  <a:gd name="connsiteY48" fmla="*/ 26973 h 79184"/>
                  <a:gd name="connsiteX49" fmla="*/ 19437 w 128704"/>
                  <a:gd name="connsiteY49" fmla="*/ 24880 h 79184"/>
                  <a:gd name="connsiteX50" fmla="*/ 17344 w 128704"/>
                  <a:gd name="connsiteY50" fmla="*/ 22787 h 79184"/>
                  <a:gd name="connsiteX51" fmla="*/ 15251 w 128704"/>
                  <a:gd name="connsiteY51" fmla="*/ 20693 h 79184"/>
                  <a:gd name="connsiteX52" fmla="*/ 13157 w 128704"/>
                  <a:gd name="connsiteY52" fmla="*/ 18600 h 79184"/>
                  <a:gd name="connsiteX53" fmla="*/ 11064 w 128704"/>
                  <a:gd name="connsiteY53" fmla="*/ 16507 h 79184"/>
                  <a:gd name="connsiteX54" fmla="*/ 8971 w 128704"/>
                  <a:gd name="connsiteY54" fmla="*/ 14414 h 79184"/>
                  <a:gd name="connsiteX55" fmla="*/ 6878 w 128704"/>
                  <a:gd name="connsiteY55" fmla="*/ 12320 h 79184"/>
                  <a:gd name="connsiteX56" fmla="*/ 4844 w 128704"/>
                  <a:gd name="connsiteY56" fmla="*/ 10227 h 79184"/>
                  <a:gd name="connsiteX57" fmla="*/ 2751 w 128704"/>
                  <a:gd name="connsiteY57" fmla="*/ 8134 h 79184"/>
                  <a:gd name="connsiteX58" fmla="*/ 1555 w 128704"/>
                  <a:gd name="connsiteY58" fmla="*/ 6878 h 79184"/>
                  <a:gd name="connsiteX59" fmla="*/ 538 w 128704"/>
                  <a:gd name="connsiteY59" fmla="*/ 4127 h 79184"/>
                  <a:gd name="connsiteX60" fmla="*/ 239 w 128704"/>
                  <a:gd name="connsiteY60" fmla="*/ 3289 h 79184"/>
                  <a:gd name="connsiteX61" fmla="*/ 60 w 128704"/>
                  <a:gd name="connsiteY61" fmla="*/ 2811 h 79184"/>
                  <a:gd name="connsiteX62" fmla="*/ 0 w 128704"/>
                  <a:gd name="connsiteY62" fmla="*/ 2632 h 79184"/>
                  <a:gd name="connsiteX63" fmla="*/ 598 w 128704"/>
                  <a:gd name="connsiteY63" fmla="*/ 1854 h 79184"/>
                  <a:gd name="connsiteX64" fmla="*/ 1734 w 128704"/>
                  <a:gd name="connsiteY64" fmla="*/ 359 h 79184"/>
                  <a:gd name="connsiteX65" fmla="*/ 4665 w 128704"/>
                  <a:gd name="connsiteY65" fmla="*/ 120 h 79184"/>
                  <a:gd name="connsiteX66" fmla="*/ 6399 w 128704"/>
                  <a:gd name="connsiteY66" fmla="*/ 0 h 79184"/>
                  <a:gd name="connsiteX67" fmla="*/ 9270 w 128704"/>
                  <a:gd name="connsiteY67" fmla="*/ 598 h 79184"/>
                  <a:gd name="connsiteX68" fmla="*/ 12141 w 128704"/>
                  <a:gd name="connsiteY68" fmla="*/ 1196 h 79184"/>
                  <a:gd name="connsiteX69" fmla="*/ 13457 w 128704"/>
                  <a:gd name="connsiteY69" fmla="*/ 1435 h 79184"/>
                  <a:gd name="connsiteX70" fmla="*/ 16267 w 128704"/>
                  <a:gd name="connsiteY70" fmla="*/ 2332 h 79184"/>
                  <a:gd name="connsiteX71" fmla="*/ 19078 w 128704"/>
                  <a:gd name="connsiteY71" fmla="*/ 3230 h 79184"/>
                  <a:gd name="connsiteX72" fmla="*/ 21889 w 128704"/>
                  <a:gd name="connsiteY72" fmla="*/ 4127 h 79184"/>
                  <a:gd name="connsiteX73" fmla="*/ 22428 w 128704"/>
                  <a:gd name="connsiteY73" fmla="*/ 4306 h 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8704" h="79184">
                    <a:moveTo>
                      <a:pt x="128705" y="75357"/>
                    </a:moveTo>
                    <a:lnTo>
                      <a:pt x="128645" y="77510"/>
                    </a:lnTo>
                    <a:lnTo>
                      <a:pt x="127030" y="78826"/>
                    </a:lnTo>
                    <a:lnTo>
                      <a:pt x="126612" y="78886"/>
                    </a:lnTo>
                    <a:lnTo>
                      <a:pt x="123861" y="79185"/>
                    </a:lnTo>
                    <a:lnTo>
                      <a:pt x="120930" y="78766"/>
                    </a:lnTo>
                    <a:lnTo>
                      <a:pt x="119076" y="78527"/>
                    </a:lnTo>
                    <a:lnTo>
                      <a:pt x="116205" y="77749"/>
                    </a:lnTo>
                    <a:lnTo>
                      <a:pt x="113334" y="76972"/>
                    </a:lnTo>
                    <a:lnTo>
                      <a:pt x="112796" y="76792"/>
                    </a:lnTo>
                    <a:lnTo>
                      <a:pt x="109985" y="75776"/>
                    </a:lnTo>
                    <a:lnTo>
                      <a:pt x="107174" y="74759"/>
                    </a:lnTo>
                    <a:lnTo>
                      <a:pt x="105141" y="74041"/>
                    </a:lnTo>
                    <a:lnTo>
                      <a:pt x="102390" y="72905"/>
                    </a:lnTo>
                    <a:lnTo>
                      <a:pt x="99639" y="71769"/>
                    </a:lnTo>
                    <a:lnTo>
                      <a:pt x="96887" y="70632"/>
                    </a:lnTo>
                    <a:lnTo>
                      <a:pt x="96289" y="70393"/>
                    </a:lnTo>
                    <a:lnTo>
                      <a:pt x="93598" y="69137"/>
                    </a:lnTo>
                    <a:lnTo>
                      <a:pt x="90907" y="67881"/>
                    </a:lnTo>
                    <a:lnTo>
                      <a:pt x="88216" y="66625"/>
                    </a:lnTo>
                    <a:lnTo>
                      <a:pt x="86541" y="65788"/>
                    </a:lnTo>
                    <a:lnTo>
                      <a:pt x="83909" y="64412"/>
                    </a:lnTo>
                    <a:lnTo>
                      <a:pt x="81278" y="63037"/>
                    </a:lnTo>
                    <a:lnTo>
                      <a:pt x="78646" y="61661"/>
                    </a:lnTo>
                    <a:lnTo>
                      <a:pt x="76194" y="60405"/>
                    </a:lnTo>
                    <a:lnTo>
                      <a:pt x="73623" y="58970"/>
                    </a:lnTo>
                    <a:lnTo>
                      <a:pt x="71051" y="57535"/>
                    </a:lnTo>
                    <a:lnTo>
                      <a:pt x="68479" y="56099"/>
                    </a:lnTo>
                    <a:lnTo>
                      <a:pt x="65907" y="54664"/>
                    </a:lnTo>
                    <a:lnTo>
                      <a:pt x="65668" y="54544"/>
                    </a:lnTo>
                    <a:lnTo>
                      <a:pt x="63156" y="52989"/>
                    </a:lnTo>
                    <a:lnTo>
                      <a:pt x="60644" y="51434"/>
                    </a:lnTo>
                    <a:lnTo>
                      <a:pt x="58132" y="49879"/>
                    </a:lnTo>
                    <a:lnTo>
                      <a:pt x="55621" y="48324"/>
                    </a:lnTo>
                    <a:lnTo>
                      <a:pt x="55262" y="48145"/>
                    </a:lnTo>
                    <a:lnTo>
                      <a:pt x="52750" y="46530"/>
                    </a:lnTo>
                    <a:lnTo>
                      <a:pt x="50238" y="44915"/>
                    </a:lnTo>
                    <a:lnTo>
                      <a:pt x="47726" y="43300"/>
                    </a:lnTo>
                    <a:lnTo>
                      <a:pt x="45154" y="41626"/>
                    </a:lnTo>
                    <a:lnTo>
                      <a:pt x="42403" y="40490"/>
                    </a:lnTo>
                    <a:lnTo>
                      <a:pt x="39652" y="39353"/>
                    </a:lnTo>
                    <a:lnTo>
                      <a:pt x="36901" y="38217"/>
                    </a:lnTo>
                    <a:lnTo>
                      <a:pt x="34150" y="37080"/>
                    </a:lnTo>
                    <a:lnTo>
                      <a:pt x="31399" y="35944"/>
                    </a:lnTo>
                    <a:lnTo>
                      <a:pt x="29904" y="35346"/>
                    </a:lnTo>
                    <a:lnTo>
                      <a:pt x="27810" y="33253"/>
                    </a:lnTo>
                    <a:lnTo>
                      <a:pt x="25717" y="31160"/>
                    </a:lnTo>
                    <a:lnTo>
                      <a:pt x="23624" y="29066"/>
                    </a:lnTo>
                    <a:lnTo>
                      <a:pt x="21530" y="26973"/>
                    </a:lnTo>
                    <a:lnTo>
                      <a:pt x="19437" y="24880"/>
                    </a:lnTo>
                    <a:lnTo>
                      <a:pt x="17344" y="22787"/>
                    </a:lnTo>
                    <a:lnTo>
                      <a:pt x="15251" y="20693"/>
                    </a:lnTo>
                    <a:lnTo>
                      <a:pt x="13157" y="18600"/>
                    </a:lnTo>
                    <a:lnTo>
                      <a:pt x="11064" y="16507"/>
                    </a:lnTo>
                    <a:lnTo>
                      <a:pt x="8971" y="14414"/>
                    </a:lnTo>
                    <a:lnTo>
                      <a:pt x="6878" y="12320"/>
                    </a:lnTo>
                    <a:lnTo>
                      <a:pt x="4844" y="10227"/>
                    </a:lnTo>
                    <a:lnTo>
                      <a:pt x="2751" y="8134"/>
                    </a:lnTo>
                    <a:lnTo>
                      <a:pt x="1555" y="6878"/>
                    </a:lnTo>
                    <a:lnTo>
                      <a:pt x="538" y="4127"/>
                    </a:lnTo>
                    <a:lnTo>
                      <a:pt x="239" y="3289"/>
                    </a:lnTo>
                    <a:lnTo>
                      <a:pt x="60" y="2811"/>
                    </a:lnTo>
                    <a:lnTo>
                      <a:pt x="0" y="2632"/>
                    </a:lnTo>
                    <a:lnTo>
                      <a:pt x="598" y="1854"/>
                    </a:lnTo>
                    <a:lnTo>
                      <a:pt x="1734" y="359"/>
                    </a:lnTo>
                    <a:lnTo>
                      <a:pt x="4665" y="120"/>
                    </a:lnTo>
                    <a:lnTo>
                      <a:pt x="6399" y="0"/>
                    </a:lnTo>
                    <a:lnTo>
                      <a:pt x="9270" y="598"/>
                    </a:lnTo>
                    <a:lnTo>
                      <a:pt x="12141" y="1196"/>
                    </a:lnTo>
                    <a:lnTo>
                      <a:pt x="13457" y="1435"/>
                    </a:lnTo>
                    <a:lnTo>
                      <a:pt x="16267" y="2332"/>
                    </a:lnTo>
                    <a:lnTo>
                      <a:pt x="19078" y="3230"/>
                    </a:lnTo>
                    <a:lnTo>
                      <a:pt x="21889" y="4127"/>
                    </a:lnTo>
                    <a:lnTo>
                      <a:pt x="22428" y="4306"/>
                    </a:lnTo>
                  </a:path>
                </a:pathLst>
              </a:custGeom>
              <a:noFill/>
              <a:ln w="6350" cap="rnd">
                <a:solidFill>
                  <a:schemeClr val="bg1">
                    <a:alpha val="80000"/>
                  </a:schemeClr>
                </a:solidFill>
                <a:prstDash val="solid"/>
                <a:round/>
              </a:ln>
            </p:spPr>
            <p:txBody>
              <a:bodyPr rtlCol="0" anchor="ctr"/>
              <a:lstStyle/>
              <a:p>
                <a:endParaRPr lang="en-GB"/>
              </a:p>
            </p:txBody>
          </p:sp>
          <p:sp>
            <p:nvSpPr>
              <p:cNvPr id="5389" name="Vrije vorm: vorm 5388">
                <a:extLst>
                  <a:ext uri="{FF2B5EF4-FFF2-40B4-BE49-F238E27FC236}">
                    <a16:creationId xmlns:a16="http://schemas.microsoft.com/office/drawing/2014/main" id="{92FD3B02-4AF4-423F-B720-3EAF01B7456B}"/>
                  </a:ext>
                </a:extLst>
              </p:cNvPr>
              <p:cNvSpPr/>
              <p:nvPr/>
            </p:nvSpPr>
            <p:spPr>
              <a:xfrm>
                <a:off x="6375170" y="1765908"/>
                <a:ext cx="12918" cy="14951"/>
              </a:xfrm>
              <a:custGeom>
                <a:avLst/>
                <a:gdLst>
                  <a:gd name="connsiteX0" fmla="*/ 12918 w 12918"/>
                  <a:gd name="connsiteY0" fmla="*/ 14952 h 14951"/>
                  <a:gd name="connsiteX1" fmla="*/ 11005 w 12918"/>
                  <a:gd name="connsiteY1" fmla="*/ 12739 h 14951"/>
                  <a:gd name="connsiteX2" fmla="*/ 9210 w 12918"/>
                  <a:gd name="connsiteY2" fmla="*/ 10646 h 14951"/>
                  <a:gd name="connsiteX3" fmla="*/ 7296 w 12918"/>
                  <a:gd name="connsiteY3" fmla="*/ 8433 h 14951"/>
                  <a:gd name="connsiteX4" fmla="*/ 5383 w 12918"/>
                  <a:gd name="connsiteY4" fmla="*/ 6220 h 14951"/>
                  <a:gd name="connsiteX5" fmla="*/ 3469 w 12918"/>
                  <a:gd name="connsiteY5" fmla="*/ 4007 h 14951"/>
                  <a:gd name="connsiteX6" fmla="*/ 1555 w 12918"/>
                  <a:gd name="connsiteY6" fmla="*/ 1794 h 14951"/>
                  <a:gd name="connsiteX7" fmla="*/ 0 w 12918"/>
                  <a:gd name="connsiteY7" fmla="*/ 0 h 1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18" h="14951">
                    <a:moveTo>
                      <a:pt x="12918" y="14952"/>
                    </a:moveTo>
                    <a:lnTo>
                      <a:pt x="11005" y="12739"/>
                    </a:lnTo>
                    <a:lnTo>
                      <a:pt x="9210" y="10646"/>
                    </a:lnTo>
                    <a:lnTo>
                      <a:pt x="7296" y="8433"/>
                    </a:lnTo>
                    <a:lnTo>
                      <a:pt x="5383" y="6220"/>
                    </a:lnTo>
                    <a:lnTo>
                      <a:pt x="3469" y="4007"/>
                    </a:lnTo>
                    <a:lnTo>
                      <a:pt x="1555" y="1794"/>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390" name="Vrije vorm: vorm 5389">
                <a:extLst>
                  <a:ext uri="{FF2B5EF4-FFF2-40B4-BE49-F238E27FC236}">
                    <a16:creationId xmlns:a16="http://schemas.microsoft.com/office/drawing/2014/main" id="{856E3E29-E922-4DCC-865E-7A343F660AD1}"/>
                  </a:ext>
                </a:extLst>
              </p:cNvPr>
              <p:cNvSpPr/>
              <p:nvPr/>
            </p:nvSpPr>
            <p:spPr>
              <a:xfrm>
                <a:off x="6375110" y="1746590"/>
                <a:ext cx="11243" cy="20992"/>
              </a:xfrm>
              <a:custGeom>
                <a:avLst/>
                <a:gdLst>
                  <a:gd name="connsiteX0" fmla="*/ 3768 w 11243"/>
                  <a:gd name="connsiteY0" fmla="*/ 20992 h 20992"/>
                  <a:gd name="connsiteX1" fmla="*/ 1076 w 11243"/>
                  <a:gd name="connsiteY1" fmla="*/ 19736 h 20992"/>
                  <a:gd name="connsiteX2" fmla="*/ 0 w 11243"/>
                  <a:gd name="connsiteY2" fmla="*/ 19258 h 20992"/>
                  <a:gd name="connsiteX3" fmla="*/ 1435 w 11243"/>
                  <a:gd name="connsiteY3" fmla="*/ 16806 h 20992"/>
                  <a:gd name="connsiteX4" fmla="*/ 2871 w 11243"/>
                  <a:gd name="connsiteY4" fmla="*/ 14354 h 20992"/>
                  <a:gd name="connsiteX5" fmla="*/ 4306 w 11243"/>
                  <a:gd name="connsiteY5" fmla="*/ 11902 h 20992"/>
                  <a:gd name="connsiteX6" fmla="*/ 5742 w 11243"/>
                  <a:gd name="connsiteY6" fmla="*/ 9450 h 20992"/>
                  <a:gd name="connsiteX7" fmla="*/ 7177 w 11243"/>
                  <a:gd name="connsiteY7" fmla="*/ 6997 h 20992"/>
                  <a:gd name="connsiteX8" fmla="*/ 8612 w 11243"/>
                  <a:gd name="connsiteY8" fmla="*/ 4545 h 20992"/>
                  <a:gd name="connsiteX9" fmla="*/ 10048 w 11243"/>
                  <a:gd name="connsiteY9" fmla="*/ 2093 h 20992"/>
                  <a:gd name="connsiteX10" fmla="*/ 11244 w 11243"/>
                  <a:gd name="connsiteY10" fmla="*/ 0 h 2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43" h="20992">
                    <a:moveTo>
                      <a:pt x="3768" y="20992"/>
                    </a:moveTo>
                    <a:lnTo>
                      <a:pt x="1076" y="19736"/>
                    </a:lnTo>
                    <a:lnTo>
                      <a:pt x="0" y="19258"/>
                    </a:lnTo>
                    <a:lnTo>
                      <a:pt x="1435" y="16806"/>
                    </a:lnTo>
                    <a:lnTo>
                      <a:pt x="2871" y="14354"/>
                    </a:lnTo>
                    <a:lnTo>
                      <a:pt x="4306" y="11902"/>
                    </a:lnTo>
                    <a:lnTo>
                      <a:pt x="5742" y="9450"/>
                    </a:lnTo>
                    <a:lnTo>
                      <a:pt x="7177" y="6997"/>
                    </a:lnTo>
                    <a:lnTo>
                      <a:pt x="8612" y="4545"/>
                    </a:lnTo>
                    <a:lnTo>
                      <a:pt x="10048" y="2093"/>
                    </a:lnTo>
                    <a:lnTo>
                      <a:pt x="11244" y="0"/>
                    </a:lnTo>
                  </a:path>
                </a:pathLst>
              </a:custGeom>
              <a:noFill/>
              <a:ln w="6350" cap="rnd">
                <a:solidFill>
                  <a:schemeClr val="bg1">
                    <a:alpha val="80000"/>
                  </a:schemeClr>
                </a:solidFill>
                <a:prstDash val="solid"/>
                <a:round/>
              </a:ln>
            </p:spPr>
            <p:txBody>
              <a:bodyPr rtlCol="0" anchor="ctr"/>
              <a:lstStyle/>
              <a:p>
                <a:endParaRPr lang="en-GB"/>
              </a:p>
            </p:txBody>
          </p:sp>
          <p:sp>
            <p:nvSpPr>
              <p:cNvPr id="5391" name="Vrije vorm: vorm 5390">
                <a:extLst>
                  <a:ext uri="{FF2B5EF4-FFF2-40B4-BE49-F238E27FC236}">
                    <a16:creationId xmlns:a16="http://schemas.microsoft.com/office/drawing/2014/main" id="{7CBB713B-FBCF-4380-8684-08AE3E358FD2}"/>
                  </a:ext>
                </a:extLst>
              </p:cNvPr>
              <p:cNvSpPr/>
              <p:nvPr/>
            </p:nvSpPr>
            <p:spPr>
              <a:xfrm>
                <a:off x="6377323" y="1737260"/>
                <a:ext cx="12141" cy="11004"/>
              </a:xfrm>
              <a:custGeom>
                <a:avLst/>
                <a:gdLst>
                  <a:gd name="connsiteX0" fmla="*/ 12141 w 12141"/>
                  <a:gd name="connsiteY0" fmla="*/ 11005 h 11004"/>
                  <a:gd name="connsiteX1" fmla="*/ 9450 w 12141"/>
                  <a:gd name="connsiteY1" fmla="*/ 9689 h 11004"/>
                  <a:gd name="connsiteX2" fmla="*/ 8971 w 12141"/>
                  <a:gd name="connsiteY2" fmla="*/ 9450 h 11004"/>
                  <a:gd name="connsiteX3" fmla="*/ 6938 w 12141"/>
                  <a:gd name="connsiteY3" fmla="*/ 7296 h 11004"/>
                  <a:gd name="connsiteX4" fmla="*/ 4904 w 12141"/>
                  <a:gd name="connsiteY4" fmla="*/ 5143 h 11004"/>
                  <a:gd name="connsiteX5" fmla="*/ 2871 w 12141"/>
                  <a:gd name="connsiteY5" fmla="*/ 2990 h 11004"/>
                  <a:gd name="connsiteX6" fmla="*/ 837 w 12141"/>
                  <a:gd name="connsiteY6" fmla="*/ 837 h 11004"/>
                  <a:gd name="connsiteX7" fmla="*/ 0 w 12141"/>
                  <a:gd name="connsiteY7" fmla="*/ 0 h 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41" h="11004">
                    <a:moveTo>
                      <a:pt x="12141" y="11005"/>
                    </a:moveTo>
                    <a:lnTo>
                      <a:pt x="9450" y="9689"/>
                    </a:lnTo>
                    <a:lnTo>
                      <a:pt x="8971" y="9450"/>
                    </a:lnTo>
                    <a:lnTo>
                      <a:pt x="6938" y="7296"/>
                    </a:lnTo>
                    <a:lnTo>
                      <a:pt x="4904" y="5143"/>
                    </a:lnTo>
                    <a:lnTo>
                      <a:pt x="2871" y="2990"/>
                    </a:lnTo>
                    <a:lnTo>
                      <a:pt x="837" y="83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392" name="Vrije vorm: vorm 5391">
                <a:extLst>
                  <a:ext uri="{FF2B5EF4-FFF2-40B4-BE49-F238E27FC236}">
                    <a16:creationId xmlns:a16="http://schemas.microsoft.com/office/drawing/2014/main" id="{628B7E1E-E8FA-4A74-8434-EE78D9267923}"/>
                  </a:ext>
                </a:extLst>
              </p:cNvPr>
              <p:cNvSpPr/>
              <p:nvPr/>
            </p:nvSpPr>
            <p:spPr>
              <a:xfrm>
                <a:off x="6539640" y="1876611"/>
                <a:ext cx="5083" cy="3349"/>
              </a:xfrm>
              <a:custGeom>
                <a:avLst/>
                <a:gdLst>
                  <a:gd name="connsiteX0" fmla="*/ 0 w 5083"/>
                  <a:gd name="connsiteY0" fmla="*/ 0 h 3349"/>
                  <a:gd name="connsiteX1" fmla="*/ 0 w 5083"/>
                  <a:gd name="connsiteY1" fmla="*/ 0 h 3349"/>
                  <a:gd name="connsiteX2" fmla="*/ 0 w 5083"/>
                  <a:gd name="connsiteY2" fmla="*/ 239 h 3349"/>
                  <a:gd name="connsiteX3" fmla="*/ 180 w 5083"/>
                  <a:gd name="connsiteY3" fmla="*/ 538 h 3349"/>
                  <a:gd name="connsiteX4" fmla="*/ 538 w 5083"/>
                  <a:gd name="connsiteY4" fmla="*/ 957 h 3349"/>
                  <a:gd name="connsiteX5" fmla="*/ 1017 w 5083"/>
                  <a:gd name="connsiteY5" fmla="*/ 1376 h 3349"/>
                  <a:gd name="connsiteX6" fmla="*/ 1615 w 5083"/>
                  <a:gd name="connsiteY6" fmla="*/ 1854 h 3349"/>
                  <a:gd name="connsiteX7" fmla="*/ 2273 w 5083"/>
                  <a:gd name="connsiteY7" fmla="*/ 2273 h 3349"/>
                  <a:gd name="connsiteX8" fmla="*/ 2930 w 5083"/>
                  <a:gd name="connsiteY8" fmla="*/ 2691 h 3349"/>
                  <a:gd name="connsiteX9" fmla="*/ 3588 w 5083"/>
                  <a:gd name="connsiteY9" fmla="*/ 2990 h 3349"/>
                  <a:gd name="connsiteX10" fmla="*/ 3888 w 5083"/>
                  <a:gd name="connsiteY10" fmla="*/ 3110 h 3349"/>
                  <a:gd name="connsiteX11" fmla="*/ 4187 w 5083"/>
                  <a:gd name="connsiteY11" fmla="*/ 3230 h 3349"/>
                  <a:gd name="connsiteX12" fmla="*/ 4545 w 5083"/>
                  <a:gd name="connsiteY12" fmla="*/ 3289 h 3349"/>
                  <a:gd name="connsiteX13" fmla="*/ 4665 w 5083"/>
                  <a:gd name="connsiteY13" fmla="*/ 3349 h 3349"/>
                  <a:gd name="connsiteX14" fmla="*/ 4964 w 5083"/>
                  <a:gd name="connsiteY14" fmla="*/ 3349 h 3349"/>
                  <a:gd name="connsiteX15" fmla="*/ 5083 w 5083"/>
                  <a:gd name="connsiteY15" fmla="*/ 3230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83" h="3349">
                    <a:moveTo>
                      <a:pt x="0" y="0"/>
                    </a:moveTo>
                    <a:lnTo>
                      <a:pt x="0" y="0"/>
                    </a:lnTo>
                    <a:lnTo>
                      <a:pt x="0" y="239"/>
                    </a:lnTo>
                    <a:lnTo>
                      <a:pt x="180" y="538"/>
                    </a:lnTo>
                    <a:lnTo>
                      <a:pt x="538" y="957"/>
                    </a:lnTo>
                    <a:lnTo>
                      <a:pt x="1017" y="1376"/>
                    </a:lnTo>
                    <a:lnTo>
                      <a:pt x="1615" y="1854"/>
                    </a:lnTo>
                    <a:lnTo>
                      <a:pt x="2273" y="2273"/>
                    </a:lnTo>
                    <a:lnTo>
                      <a:pt x="2930" y="2691"/>
                    </a:lnTo>
                    <a:lnTo>
                      <a:pt x="3588" y="2990"/>
                    </a:lnTo>
                    <a:lnTo>
                      <a:pt x="3888" y="3110"/>
                    </a:lnTo>
                    <a:lnTo>
                      <a:pt x="4187" y="3230"/>
                    </a:lnTo>
                    <a:lnTo>
                      <a:pt x="4545" y="3289"/>
                    </a:lnTo>
                    <a:lnTo>
                      <a:pt x="4665" y="3349"/>
                    </a:lnTo>
                    <a:lnTo>
                      <a:pt x="4964" y="3349"/>
                    </a:lnTo>
                    <a:lnTo>
                      <a:pt x="5083" y="3230"/>
                    </a:lnTo>
                  </a:path>
                </a:pathLst>
              </a:custGeom>
              <a:noFill/>
              <a:ln w="6350" cap="rnd">
                <a:solidFill>
                  <a:schemeClr val="bg1">
                    <a:alpha val="80000"/>
                  </a:schemeClr>
                </a:solidFill>
                <a:prstDash val="solid"/>
                <a:round/>
              </a:ln>
            </p:spPr>
            <p:txBody>
              <a:bodyPr rtlCol="0" anchor="ctr"/>
              <a:lstStyle/>
              <a:p>
                <a:endParaRPr lang="en-GB"/>
              </a:p>
            </p:txBody>
          </p:sp>
          <p:sp>
            <p:nvSpPr>
              <p:cNvPr id="5393" name="Vrije vorm: vorm 5392">
                <a:extLst>
                  <a:ext uri="{FF2B5EF4-FFF2-40B4-BE49-F238E27FC236}">
                    <a16:creationId xmlns:a16="http://schemas.microsoft.com/office/drawing/2014/main" id="{5895024C-ECF3-4792-A9C2-DF95B4A85079}"/>
                  </a:ext>
                </a:extLst>
              </p:cNvPr>
              <p:cNvSpPr/>
              <p:nvPr/>
            </p:nvSpPr>
            <p:spPr>
              <a:xfrm>
                <a:off x="6539640" y="1876491"/>
                <a:ext cx="5083" cy="3408"/>
              </a:xfrm>
              <a:custGeom>
                <a:avLst/>
                <a:gdLst>
                  <a:gd name="connsiteX0" fmla="*/ 0 w 5083"/>
                  <a:gd name="connsiteY0" fmla="*/ 120 h 3408"/>
                  <a:gd name="connsiteX1" fmla="*/ 120 w 5083"/>
                  <a:gd name="connsiteY1" fmla="*/ 0 h 3408"/>
                  <a:gd name="connsiteX2" fmla="*/ 419 w 5083"/>
                  <a:gd name="connsiteY2" fmla="*/ 0 h 3408"/>
                  <a:gd name="connsiteX3" fmla="*/ 897 w 5083"/>
                  <a:gd name="connsiteY3" fmla="*/ 120 h 3408"/>
                  <a:gd name="connsiteX4" fmla="*/ 1435 w 5083"/>
                  <a:gd name="connsiteY4" fmla="*/ 359 h 3408"/>
                  <a:gd name="connsiteX5" fmla="*/ 2093 w 5083"/>
                  <a:gd name="connsiteY5" fmla="*/ 658 h 3408"/>
                  <a:gd name="connsiteX6" fmla="*/ 2751 w 5083"/>
                  <a:gd name="connsiteY6" fmla="*/ 1076 h 3408"/>
                  <a:gd name="connsiteX7" fmla="*/ 3409 w 5083"/>
                  <a:gd name="connsiteY7" fmla="*/ 1495 h 3408"/>
                  <a:gd name="connsiteX8" fmla="*/ 4007 w 5083"/>
                  <a:gd name="connsiteY8" fmla="*/ 1974 h 3408"/>
                  <a:gd name="connsiteX9" fmla="*/ 4486 w 5083"/>
                  <a:gd name="connsiteY9" fmla="*/ 2392 h 3408"/>
                  <a:gd name="connsiteX10" fmla="*/ 4844 w 5083"/>
                  <a:gd name="connsiteY10" fmla="*/ 2811 h 3408"/>
                  <a:gd name="connsiteX11" fmla="*/ 4844 w 5083"/>
                  <a:gd name="connsiteY11" fmla="*/ 2871 h 3408"/>
                  <a:gd name="connsiteX12" fmla="*/ 5024 w 5083"/>
                  <a:gd name="connsiteY12" fmla="*/ 3170 h 3408"/>
                  <a:gd name="connsiteX13" fmla="*/ 5083 w 5083"/>
                  <a:gd name="connsiteY13" fmla="*/ 3409 h 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3" h="3408">
                    <a:moveTo>
                      <a:pt x="0" y="120"/>
                    </a:moveTo>
                    <a:lnTo>
                      <a:pt x="120" y="0"/>
                    </a:lnTo>
                    <a:lnTo>
                      <a:pt x="419" y="0"/>
                    </a:lnTo>
                    <a:lnTo>
                      <a:pt x="897" y="120"/>
                    </a:lnTo>
                    <a:lnTo>
                      <a:pt x="1435" y="359"/>
                    </a:lnTo>
                    <a:lnTo>
                      <a:pt x="2093" y="658"/>
                    </a:lnTo>
                    <a:lnTo>
                      <a:pt x="2751" y="1076"/>
                    </a:lnTo>
                    <a:lnTo>
                      <a:pt x="3409" y="1495"/>
                    </a:lnTo>
                    <a:lnTo>
                      <a:pt x="4007" y="1974"/>
                    </a:lnTo>
                    <a:lnTo>
                      <a:pt x="4486" y="2392"/>
                    </a:lnTo>
                    <a:lnTo>
                      <a:pt x="4844" y="2811"/>
                    </a:lnTo>
                    <a:lnTo>
                      <a:pt x="4844" y="2871"/>
                    </a:lnTo>
                    <a:lnTo>
                      <a:pt x="5024" y="3170"/>
                    </a:lnTo>
                    <a:lnTo>
                      <a:pt x="5083" y="3409"/>
                    </a:lnTo>
                  </a:path>
                </a:pathLst>
              </a:custGeom>
              <a:noFill/>
              <a:ln w="6350" cap="rnd">
                <a:solidFill>
                  <a:schemeClr val="bg1">
                    <a:alpha val="80000"/>
                  </a:schemeClr>
                </a:solidFill>
                <a:prstDash val="solid"/>
                <a:round/>
              </a:ln>
            </p:spPr>
            <p:txBody>
              <a:bodyPr rtlCol="0" anchor="ctr"/>
              <a:lstStyle/>
              <a:p>
                <a:endParaRPr lang="en-GB"/>
              </a:p>
            </p:txBody>
          </p:sp>
          <p:sp>
            <p:nvSpPr>
              <p:cNvPr id="5394" name="Vrije vorm: vorm 5393">
                <a:extLst>
                  <a:ext uri="{FF2B5EF4-FFF2-40B4-BE49-F238E27FC236}">
                    <a16:creationId xmlns:a16="http://schemas.microsoft.com/office/drawing/2014/main" id="{175BD5CD-B5D8-4937-BBA9-C362DF067E9C}"/>
                  </a:ext>
                </a:extLst>
              </p:cNvPr>
              <p:cNvSpPr/>
              <p:nvPr/>
            </p:nvSpPr>
            <p:spPr>
              <a:xfrm>
                <a:off x="6540238" y="1873322"/>
                <a:ext cx="5801" cy="3588"/>
              </a:xfrm>
              <a:custGeom>
                <a:avLst/>
                <a:gdLst>
                  <a:gd name="connsiteX0" fmla="*/ 0 w 5801"/>
                  <a:gd name="connsiteY0" fmla="*/ 0 h 3588"/>
                  <a:gd name="connsiteX1" fmla="*/ 0 w 5801"/>
                  <a:gd name="connsiteY1" fmla="*/ 0 h 3588"/>
                  <a:gd name="connsiteX2" fmla="*/ 60 w 5801"/>
                  <a:gd name="connsiteY2" fmla="*/ 239 h 3588"/>
                  <a:gd name="connsiteX3" fmla="*/ 299 w 5801"/>
                  <a:gd name="connsiteY3" fmla="*/ 598 h 3588"/>
                  <a:gd name="connsiteX4" fmla="*/ 718 w 5801"/>
                  <a:gd name="connsiteY4" fmla="*/ 1017 h 3588"/>
                  <a:gd name="connsiteX5" fmla="*/ 1256 w 5801"/>
                  <a:gd name="connsiteY5" fmla="*/ 1495 h 3588"/>
                  <a:gd name="connsiteX6" fmla="*/ 1914 w 5801"/>
                  <a:gd name="connsiteY6" fmla="*/ 1974 h 3588"/>
                  <a:gd name="connsiteX7" fmla="*/ 2632 w 5801"/>
                  <a:gd name="connsiteY7" fmla="*/ 2452 h 3588"/>
                  <a:gd name="connsiteX8" fmla="*/ 3409 w 5801"/>
                  <a:gd name="connsiteY8" fmla="*/ 2871 h 3588"/>
                  <a:gd name="connsiteX9" fmla="*/ 4127 w 5801"/>
                  <a:gd name="connsiteY9" fmla="*/ 3230 h 3588"/>
                  <a:gd name="connsiteX10" fmla="*/ 4785 w 5801"/>
                  <a:gd name="connsiteY10" fmla="*/ 3469 h 3588"/>
                  <a:gd name="connsiteX11" fmla="*/ 5263 w 5801"/>
                  <a:gd name="connsiteY11" fmla="*/ 3588 h 3588"/>
                  <a:gd name="connsiteX12" fmla="*/ 5622 w 5801"/>
                  <a:gd name="connsiteY12" fmla="*/ 3588 h 3588"/>
                  <a:gd name="connsiteX13" fmla="*/ 5801 w 5801"/>
                  <a:gd name="connsiteY13" fmla="*/ 3469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01" h="3588">
                    <a:moveTo>
                      <a:pt x="0" y="0"/>
                    </a:moveTo>
                    <a:lnTo>
                      <a:pt x="0" y="0"/>
                    </a:lnTo>
                    <a:lnTo>
                      <a:pt x="60" y="239"/>
                    </a:lnTo>
                    <a:lnTo>
                      <a:pt x="299" y="598"/>
                    </a:lnTo>
                    <a:lnTo>
                      <a:pt x="718" y="1017"/>
                    </a:lnTo>
                    <a:lnTo>
                      <a:pt x="1256" y="1495"/>
                    </a:lnTo>
                    <a:lnTo>
                      <a:pt x="1914" y="1974"/>
                    </a:lnTo>
                    <a:lnTo>
                      <a:pt x="2632" y="2452"/>
                    </a:lnTo>
                    <a:lnTo>
                      <a:pt x="3409" y="2871"/>
                    </a:lnTo>
                    <a:lnTo>
                      <a:pt x="4127" y="3230"/>
                    </a:lnTo>
                    <a:lnTo>
                      <a:pt x="4785" y="3469"/>
                    </a:lnTo>
                    <a:lnTo>
                      <a:pt x="5263" y="3588"/>
                    </a:lnTo>
                    <a:lnTo>
                      <a:pt x="5622" y="3588"/>
                    </a:lnTo>
                    <a:lnTo>
                      <a:pt x="5801" y="3469"/>
                    </a:lnTo>
                  </a:path>
                </a:pathLst>
              </a:custGeom>
              <a:noFill/>
              <a:ln w="6350" cap="rnd">
                <a:solidFill>
                  <a:schemeClr val="bg1">
                    <a:alpha val="80000"/>
                  </a:schemeClr>
                </a:solidFill>
                <a:prstDash val="solid"/>
                <a:round/>
              </a:ln>
            </p:spPr>
            <p:txBody>
              <a:bodyPr rtlCol="0" anchor="ctr"/>
              <a:lstStyle/>
              <a:p>
                <a:endParaRPr lang="en-GB"/>
              </a:p>
            </p:txBody>
          </p:sp>
          <p:sp>
            <p:nvSpPr>
              <p:cNvPr id="5395" name="Vrije vorm: vorm 5394">
                <a:extLst>
                  <a:ext uri="{FF2B5EF4-FFF2-40B4-BE49-F238E27FC236}">
                    <a16:creationId xmlns:a16="http://schemas.microsoft.com/office/drawing/2014/main" id="{9557CF54-833B-4775-8225-7EC37E6D04C1}"/>
                  </a:ext>
                </a:extLst>
              </p:cNvPr>
              <p:cNvSpPr/>
              <p:nvPr/>
            </p:nvSpPr>
            <p:spPr>
              <a:xfrm>
                <a:off x="6540238" y="1873202"/>
                <a:ext cx="5741" cy="3588"/>
              </a:xfrm>
              <a:custGeom>
                <a:avLst/>
                <a:gdLst>
                  <a:gd name="connsiteX0" fmla="*/ 0 w 5741"/>
                  <a:gd name="connsiteY0" fmla="*/ 120 h 3588"/>
                  <a:gd name="connsiteX1" fmla="*/ 180 w 5741"/>
                  <a:gd name="connsiteY1" fmla="*/ 0 h 3588"/>
                  <a:gd name="connsiteX2" fmla="*/ 538 w 5741"/>
                  <a:gd name="connsiteY2" fmla="*/ 0 h 3588"/>
                  <a:gd name="connsiteX3" fmla="*/ 1017 w 5741"/>
                  <a:gd name="connsiteY3" fmla="*/ 120 h 3588"/>
                  <a:gd name="connsiteX4" fmla="*/ 1675 w 5741"/>
                  <a:gd name="connsiteY4" fmla="*/ 359 h 3588"/>
                  <a:gd name="connsiteX5" fmla="*/ 2392 w 5741"/>
                  <a:gd name="connsiteY5" fmla="*/ 718 h 3588"/>
                  <a:gd name="connsiteX6" fmla="*/ 3110 w 5741"/>
                  <a:gd name="connsiteY6" fmla="*/ 1136 h 3588"/>
                  <a:gd name="connsiteX7" fmla="*/ 3828 w 5741"/>
                  <a:gd name="connsiteY7" fmla="*/ 1615 h 3588"/>
                  <a:gd name="connsiteX8" fmla="*/ 4486 w 5741"/>
                  <a:gd name="connsiteY8" fmla="*/ 2093 h 3588"/>
                  <a:gd name="connsiteX9" fmla="*/ 5024 w 5741"/>
                  <a:gd name="connsiteY9" fmla="*/ 2572 h 3588"/>
                  <a:gd name="connsiteX10" fmla="*/ 5443 w 5741"/>
                  <a:gd name="connsiteY10" fmla="*/ 2990 h 3588"/>
                  <a:gd name="connsiteX11" fmla="*/ 5682 w 5741"/>
                  <a:gd name="connsiteY11" fmla="*/ 3349 h 3588"/>
                  <a:gd name="connsiteX12" fmla="*/ 5742 w 5741"/>
                  <a:gd name="connsiteY12" fmla="*/ 3588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41" h="3588">
                    <a:moveTo>
                      <a:pt x="0" y="120"/>
                    </a:moveTo>
                    <a:lnTo>
                      <a:pt x="180" y="0"/>
                    </a:lnTo>
                    <a:lnTo>
                      <a:pt x="538" y="0"/>
                    </a:lnTo>
                    <a:lnTo>
                      <a:pt x="1017" y="120"/>
                    </a:lnTo>
                    <a:lnTo>
                      <a:pt x="1675" y="359"/>
                    </a:lnTo>
                    <a:lnTo>
                      <a:pt x="2392" y="718"/>
                    </a:lnTo>
                    <a:lnTo>
                      <a:pt x="3110" y="1136"/>
                    </a:lnTo>
                    <a:lnTo>
                      <a:pt x="3828" y="1615"/>
                    </a:lnTo>
                    <a:lnTo>
                      <a:pt x="4486" y="2093"/>
                    </a:lnTo>
                    <a:lnTo>
                      <a:pt x="5024" y="2572"/>
                    </a:lnTo>
                    <a:lnTo>
                      <a:pt x="5443" y="2990"/>
                    </a:lnTo>
                    <a:lnTo>
                      <a:pt x="5682" y="3349"/>
                    </a:lnTo>
                    <a:lnTo>
                      <a:pt x="5742" y="3588"/>
                    </a:lnTo>
                  </a:path>
                </a:pathLst>
              </a:custGeom>
              <a:noFill/>
              <a:ln w="6350" cap="rnd">
                <a:solidFill>
                  <a:schemeClr val="bg1">
                    <a:alpha val="80000"/>
                  </a:schemeClr>
                </a:solidFill>
                <a:prstDash val="solid"/>
                <a:round/>
              </a:ln>
            </p:spPr>
            <p:txBody>
              <a:bodyPr rtlCol="0" anchor="ctr"/>
              <a:lstStyle/>
              <a:p>
                <a:endParaRPr lang="en-GB"/>
              </a:p>
            </p:txBody>
          </p:sp>
          <p:sp>
            <p:nvSpPr>
              <p:cNvPr id="5396" name="Vrije vorm: vorm 5395">
                <a:extLst>
                  <a:ext uri="{FF2B5EF4-FFF2-40B4-BE49-F238E27FC236}">
                    <a16:creationId xmlns:a16="http://schemas.microsoft.com/office/drawing/2014/main" id="{FE19C485-2417-4471-B6E6-B77C5C61A71F}"/>
                  </a:ext>
                </a:extLst>
              </p:cNvPr>
              <p:cNvSpPr/>
              <p:nvPr/>
            </p:nvSpPr>
            <p:spPr>
              <a:xfrm>
                <a:off x="6454953" y="1846408"/>
                <a:ext cx="7236" cy="4844"/>
              </a:xfrm>
              <a:custGeom>
                <a:avLst/>
                <a:gdLst>
                  <a:gd name="connsiteX0" fmla="*/ 119 w 7236"/>
                  <a:gd name="connsiteY0" fmla="*/ 0 h 4844"/>
                  <a:gd name="connsiteX1" fmla="*/ 60 w 7236"/>
                  <a:gd name="connsiteY1" fmla="*/ 120 h 4844"/>
                  <a:gd name="connsiteX2" fmla="*/ 0 w 7236"/>
                  <a:gd name="connsiteY2" fmla="*/ 299 h 4844"/>
                  <a:gd name="connsiteX3" fmla="*/ 119 w 7236"/>
                  <a:gd name="connsiteY3" fmla="*/ 718 h 4844"/>
                  <a:gd name="connsiteX4" fmla="*/ 478 w 7236"/>
                  <a:gd name="connsiteY4" fmla="*/ 1256 h 4844"/>
                  <a:gd name="connsiteX5" fmla="*/ 1076 w 7236"/>
                  <a:gd name="connsiteY5" fmla="*/ 1854 h 4844"/>
                  <a:gd name="connsiteX6" fmla="*/ 1854 w 7236"/>
                  <a:gd name="connsiteY6" fmla="*/ 2512 h 4844"/>
                  <a:gd name="connsiteX7" fmla="*/ 2751 w 7236"/>
                  <a:gd name="connsiteY7" fmla="*/ 3110 h 4844"/>
                  <a:gd name="connsiteX8" fmla="*/ 3708 w 7236"/>
                  <a:gd name="connsiteY8" fmla="*/ 3708 h 4844"/>
                  <a:gd name="connsiteX9" fmla="*/ 4665 w 7236"/>
                  <a:gd name="connsiteY9" fmla="*/ 4186 h 4844"/>
                  <a:gd name="connsiteX10" fmla="*/ 5562 w 7236"/>
                  <a:gd name="connsiteY10" fmla="*/ 4545 h 4844"/>
                  <a:gd name="connsiteX11" fmla="*/ 6340 w 7236"/>
                  <a:gd name="connsiteY11" fmla="*/ 4785 h 4844"/>
                  <a:gd name="connsiteX12" fmla="*/ 6937 w 7236"/>
                  <a:gd name="connsiteY12" fmla="*/ 4844 h 4844"/>
                  <a:gd name="connsiteX13" fmla="*/ 7236 w 7236"/>
                  <a:gd name="connsiteY13" fmla="*/ 4725 h 4844"/>
                  <a:gd name="connsiteX14" fmla="*/ 7236 w 7236"/>
                  <a:gd name="connsiteY14" fmla="*/ 4725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6" h="4844">
                    <a:moveTo>
                      <a:pt x="119" y="0"/>
                    </a:moveTo>
                    <a:lnTo>
                      <a:pt x="60" y="120"/>
                    </a:lnTo>
                    <a:lnTo>
                      <a:pt x="0" y="299"/>
                    </a:lnTo>
                    <a:lnTo>
                      <a:pt x="119" y="718"/>
                    </a:lnTo>
                    <a:lnTo>
                      <a:pt x="478" y="1256"/>
                    </a:lnTo>
                    <a:lnTo>
                      <a:pt x="1076" y="1854"/>
                    </a:lnTo>
                    <a:lnTo>
                      <a:pt x="1854" y="2512"/>
                    </a:lnTo>
                    <a:lnTo>
                      <a:pt x="2751" y="3110"/>
                    </a:lnTo>
                    <a:lnTo>
                      <a:pt x="3708" y="3708"/>
                    </a:lnTo>
                    <a:lnTo>
                      <a:pt x="4665" y="4186"/>
                    </a:lnTo>
                    <a:lnTo>
                      <a:pt x="5562" y="4545"/>
                    </a:lnTo>
                    <a:lnTo>
                      <a:pt x="6340" y="4785"/>
                    </a:lnTo>
                    <a:lnTo>
                      <a:pt x="6937" y="4844"/>
                    </a:lnTo>
                    <a:lnTo>
                      <a:pt x="7236" y="4725"/>
                    </a:lnTo>
                    <a:lnTo>
                      <a:pt x="7236" y="4725"/>
                    </a:lnTo>
                  </a:path>
                </a:pathLst>
              </a:custGeom>
              <a:noFill/>
              <a:ln w="6350" cap="rnd">
                <a:solidFill>
                  <a:schemeClr val="bg1">
                    <a:alpha val="80000"/>
                  </a:schemeClr>
                </a:solidFill>
                <a:prstDash val="solid"/>
                <a:round/>
              </a:ln>
            </p:spPr>
            <p:txBody>
              <a:bodyPr rtlCol="0" anchor="ctr"/>
              <a:lstStyle/>
              <a:p>
                <a:endParaRPr lang="en-GB"/>
              </a:p>
            </p:txBody>
          </p:sp>
          <p:sp>
            <p:nvSpPr>
              <p:cNvPr id="5397" name="Vrije vorm: vorm 5396">
                <a:extLst>
                  <a:ext uri="{FF2B5EF4-FFF2-40B4-BE49-F238E27FC236}">
                    <a16:creationId xmlns:a16="http://schemas.microsoft.com/office/drawing/2014/main" id="{232C0891-0A65-46C8-A910-450DB579C047}"/>
                  </a:ext>
                </a:extLst>
              </p:cNvPr>
              <p:cNvSpPr/>
              <p:nvPr/>
            </p:nvSpPr>
            <p:spPr>
              <a:xfrm>
                <a:off x="6455072" y="1846289"/>
                <a:ext cx="7416" cy="4724"/>
              </a:xfrm>
              <a:custGeom>
                <a:avLst/>
                <a:gdLst>
                  <a:gd name="connsiteX0" fmla="*/ 0 w 7416"/>
                  <a:gd name="connsiteY0" fmla="*/ 120 h 4724"/>
                  <a:gd name="connsiteX1" fmla="*/ 359 w 7416"/>
                  <a:gd name="connsiteY1" fmla="*/ 0 h 4724"/>
                  <a:gd name="connsiteX2" fmla="*/ 957 w 7416"/>
                  <a:gd name="connsiteY2" fmla="*/ 60 h 4724"/>
                  <a:gd name="connsiteX3" fmla="*/ 1735 w 7416"/>
                  <a:gd name="connsiteY3" fmla="*/ 299 h 4724"/>
                  <a:gd name="connsiteX4" fmla="*/ 2632 w 7416"/>
                  <a:gd name="connsiteY4" fmla="*/ 658 h 4724"/>
                  <a:gd name="connsiteX5" fmla="*/ 3589 w 7416"/>
                  <a:gd name="connsiteY5" fmla="*/ 1136 h 4724"/>
                  <a:gd name="connsiteX6" fmla="*/ 4545 w 7416"/>
                  <a:gd name="connsiteY6" fmla="*/ 1675 h 4724"/>
                  <a:gd name="connsiteX7" fmla="*/ 5443 w 7416"/>
                  <a:gd name="connsiteY7" fmla="*/ 2273 h 4724"/>
                  <a:gd name="connsiteX8" fmla="*/ 6220 w 7416"/>
                  <a:gd name="connsiteY8" fmla="*/ 2871 h 4724"/>
                  <a:gd name="connsiteX9" fmla="*/ 6818 w 7416"/>
                  <a:gd name="connsiteY9" fmla="*/ 3469 h 4724"/>
                  <a:gd name="connsiteX10" fmla="*/ 7237 w 7416"/>
                  <a:gd name="connsiteY10" fmla="*/ 4007 h 4724"/>
                  <a:gd name="connsiteX11" fmla="*/ 7416 w 7416"/>
                  <a:gd name="connsiteY11" fmla="*/ 4426 h 4724"/>
                  <a:gd name="connsiteX12" fmla="*/ 7297 w 7416"/>
                  <a:gd name="connsiteY12"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16" h="4724">
                    <a:moveTo>
                      <a:pt x="0" y="120"/>
                    </a:moveTo>
                    <a:lnTo>
                      <a:pt x="359" y="0"/>
                    </a:lnTo>
                    <a:lnTo>
                      <a:pt x="957" y="60"/>
                    </a:lnTo>
                    <a:lnTo>
                      <a:pt x="1735" y="299"/>
                    </a:lnTo>
                    <a:lnTo>
                      <a:pt x="2632" y="658"/>
                    </a:lnTo>
                    <a:lnTo>
                      <a:pt x="3589" y="1136"/>
                    </a:lnTo>
                    <a:lnTo>
                      <a:pt x="4545" y="1675"/>
                    </a:lnTo>
                    <a:lnTo>
                      <a:pt x="5443" y="2273"/>
                    </a:lnTo>
                    <a:lnTo>
                      <a:pt x="6220" y="2871"/>
                    </a:lnTo>
                    <a:lnTo>
                      <a:pt x="6818" y="3469"/>
                    </a:lnTo>
                    <a:lnTo>
                      <a:pt x="7237" y="4007"/>
                    </a:lnTo>
                    <a:lnTo>
                      <a:pt x="7416" y="4426"/>
                    </a:lnTo>
                    <a:lnTo>
                      <a:pt x="7297" y="4725"/>
                    </a:lnTo>
                  </a:path>
                </a:pathLst>
              </a:custGeom>
              <a:noFill/>
              <a:ln w="6350" cap="rnd">
                <a:solidFill>
                  <a:schemeClr val="bg1">
                    <a:alpha val="80000"/>
                  </a:schemeClr>
                </a:solidFill>
                <a:prstDash val="solid"/>
                <a:round/>
              </a:ln>
            </p:spPr>
            <p:txBody>
              <a:bodyPr rtlCol="0" anchor="ctr"/>
              <a:lstStyle/>
              <a:p>
                <a:endParaRPr lang="en-GB"/>
              </a:p>
            </p:txBody>
          </p:sp>
          <p:sp>
            <p:nvSpPr>
              <p:cNvPr id="5398" name="Vrije vorm: vorm 5397">
                <a:extLst>
                  <a:ext uri="{FF2B5EF4-FFF2-40B4-BE49-F238E27FC236}">
                    <a16:creationId xmlns:a16="http://schemas.microsoft.com/office/drawing/2014/main" id="{63726F8D-6FA0-462C-85AB-F7C670353991}"/>
                  </a:ext>
                </a:extLst>
              </p:cNvPr>
              <p:cNvSpPr/>
              <p:nvPr/>
            </p:nvSpPr>
            <p:spPr>
              <a:xfrm>
                <a:off x="6441795" y="1837736"/>
                <a:ext cx="7416" cy="4724"/>
              </a:xfrm>
              <a:custGeom>
                <a:avLst/>
                <a:gdLst>
                  <a:gd name="connsiteX0" fmla="*/ 119 w 7416"/>
                  <a:gd name="connsiteY0" fmla="*/ 120 h 4724"/>
                  <a:gd name="connsiteX1" fmla="*/ 478 w 7416"/>
                  <a:gd name="connsiteY1" fmla="*/ 0 h 4724"/>
                  <a:gd name="connsiteX2" fmla="*/ 1076 w 7416"/>
                  <a:gd name="connsiteY2" fmla="*/ 60 h 4724"/>
                  <a:gd name="connsiteX3" fmla="*/ 1854 w 7416"/>
                  <a:gd name="connsiteY3" fmla="*/ 299 h 4724"/>
                  <a:gd name="connsiteX4" fmla="*/ 2751 w 7416"/>
                  <a:gd name="connsiteY4" fmla="*/ 658 h 4724"/>
                  <a:gd name="connsiteX5" fmla="*/ 3708 w 7416"/>
                  <a:gd name="connsiteY5" fmla="*/ 1136 h 4724"/>
                  <a:gd name="connsiteX6" fmla="*/ 4665 w 7416"/>
                  <a:gd name="connsiteY6" fmla="*/ 1675 h 4724"/>
                  <a:gd name="connsiteX7" fmla="*/ 5562 w 7416"/>
                  <a:gd name="connsiteY7" fmla="*/ 2273 h 4724"/>
                  <a:gd name="connsiteX8" fmla="*/ 6340 w 7416"/>
                  <a:gd name="connsiteY8" fmla="*/ 2871 h 4724"/>
                  <a:gd name="connsiteX9" fmla="*/ 6937 w 7416"/>
                  <a:gd name="connsiteY9" fmla="*/ 3469 h 4724"/>
                  <a:gd name="connsiteX10" fmla="*/ 7296 w 7416"/>
                  <a:gd name="connsiteY10" fmla="*/ 3947 h 4724"/>
                  <a:gd name="connsiteX11" fmla="*/ 7416 w 7416"/>
                  <a:gd name="connsiteY11" fmla="*/ 4366 h 4724"/>
                  <a:gd name="connsiteX12" fmla="*/ 7356 w 7416"/>
                  <a:gd name="connsiteY12" fmla="*/ 4486 h 4724"/>
                  <a:gd name="connsiteX13" fmla="*/ 7296 w 7416"/>
                  <a:gd name="connsiteY13" fmla="*/ 4605 h 4724"/>
                  <a:gd name="connsiteX14" fmla="*/ 7296 w 7416"/>
                  <a:gd name="connsiteY14" fmla="*/ 4605 h 4724"/>
                  <a:gd name="connsiteX15" fmla="*/ 6937 w 7416"/>
                  <a:gd name="connsiteY15" fmla="*/ 4725 h 4724"/>
                  <a:gd name="connsiteX16" fmla="*/ 6340 w 7416"/>
                  <a:gd name="connsiteY16" fmla="*/ 4665 h 4724"/>
                  <a:gd name="connsiteX17" fmla="*/ 5562 w 7416"/>
                  <a:gd name="connsiteY17" fmla="*/ 4426 h 4724"/>
                  <a:gd name="connsiteX18" fmla="*/ 4665 w 7416"/>
                  <a:gd name="connsiteY18" fmla="*/ 4067 h 4724"/>
                  <a:gd name="connsiteX19" fmla="*/ 3708 w 7416"/>
                  <a:gd name="connsiteY19" fmla="*/ 3588 h 4724"/>
                  <a:gd name="connsiteX20" fmla="*/ 2751 w 7416"/>
                  <a:gd name="connsiteY20" fmla="*/ 2990 h 4724"/>
                  <a:gd name="connsiteX21" fmla="*/ 1854 w 7416"/>
                  <a:gd name="connsiteY21" fmla="*/ 2392 h 4724"/>
                  <a:gd name="connsiteX22" fmla="*/ 1076 w 7416"/>
                  <a:gd name="connsiteY22" fmla="*/ 1794 h 4724"/>
                  <a:gd name="connsiteX23" fmla="*/ 478 w 7416"/>
                  <a:gd name="connsiteY23" fmla="*/ 1196 h 4724"/>
                  <a:gd name="connsiteX24" fmla="*/ 119 w 7416"/>
                  <a:gd name="connsiteY24" fmla="*/ 718 h 4724"/>
                  <a:gd name="connsiteX25" fmla="*/ 0 w 7416"/>
                  <a:gd name="connsiteY25" fmla="*/ 359 h 4724"/>
                  <a:gd name="connsiteX26" fmla="*/ 60 w 7416"/>
                  <a:gd name="connsiteY26" fmla="*/ 239 h 4724"/>
                  <a:gd name="connsiteX27" fmla="*/ 119 w 7416"/>
                  <a:gd name="connsiteY27" fmla="*/ 120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416" h="4724">
                    <a:moveTo>
                      <a:pt x="119" y="120"/>
                    </a:moveTo>
                    <a:lnTo>
                      <a:pt x="478" y="0"/>
                    </a:lnTo>
                    <a:lnTo>
                      <a:pt x="1076" y="60"/>
                    </a:lnTo>
                    <a:lnTo>
                      <a:pt x="1854" y="299"/>
                    </a:lnTo>
                    <a:lnTo>
                      <a:pt x="2751" y="658"/>
                    </a:lnTo>
                    <a:lnTo>
                      <a:pt x="3708" y="1136"/>
                    </a:lnTo>
                    <a:lnTo>
                      <a:pt x="4665" y="1675"/>
                    </a:lnTo>
                    <a:lnTo>
                      <a:pt x="5562" y="2273"/>
                    </a:lnTo>
                    <a:lnTo>
                      <a:pt x="6340" y="2871"/>
                    </a:lnTo>
                    <a:lnTo>
                      <a:pt x="6937" y="3469"/>
                    </a:lnTo>
                    <a:lnTo>
                      <a:pt x="7296" y="3947"/>
                    </a:lnTo>
                    <a:lnTo>
                      <a:pt x="7416" y="4366"/>
                    </a:lnTo>
                    <a:lnTo>
                      <a:pt x="7356" y="4486"/>
                    </a:lnTo>
                    <a:lnTo>
                      <a:pt x="7296" y="4605"/>
                    </a:lnTo>
                    <a:lnTo>
                      <a:pt x="7296" y="4605"/>
                    </a:lnTo>
                    <a:lnTo>
                      <a:pt x="6937" y="4725"/>
                    </a:lnTo>
                    <a:lnTo>
                      <a:pt x="6340" y="4665"/>
                    </a:lnTo>
                    <a:lnTo>
                      <a:pt x="5562" y="4426"/>
                    </a:lnTo>
                    <a:lnTo>
                      <a:pt x="4665" y="4067"/>
                    </a:lnTo>
                    <a:lnTo>
                      <a:pt x="3708" y="3588"/>
                    </a:lnTo>
                    <a:lnTo>
                      <a:pt x="2751" y="2990"/>
                    </a:lnTo>
                    <a:lnTo>
                      <a:pt x="1854" y="2392"/>
                    </a:lnTo>
                    <a:lnTo>
                      <a:pt x="1076" y="1794"/>
                    </a:lnTo>
                    <a:lnTo>
                      <a:pt x="478" y="1196"/>
                    </a:lnTo>
                    <a:lnTo>
                      <a:pt x="119" y="718"/>
                    </a:lnTo>
                    <a:lnTo>
                      <a:pt x="0" y="359"/>
                    </a:lnTo>
                    <a:lnTo>
                      <a:pt x="60" y="239"/>
                    </a:lnTo>
                    <a:lnTo>
                      <a:pt x="119" y="120"/>
                    </a:lnTo>
                  </a:path>
                </a:pathLst>
              </a:custGeom>
              <a:noFill/>
              <a:ln w="6350" cap="rnd">
                <a:solidFill>
                  <a:schemeClr val="bg1">
                    <a:alpha val="80000"/>
                  </a:schemeClr>
                </a:solidFill>
                <a:prstDash val="solid"/>
                <a:round/>
              </a:ln>
            </p:spPr>
            <p:txBody>
              <a:bodyPr rtlCol="0" anchor="ctr"/>
              <a:lstStyle/>
              <a:p>
                <a:endParaRPr lang="en-GB"/>
              </a:p>
            </p:txBody>
          </p:sp>
          <p:sp>
            <p:nvSpPr>
              <p:cNvPr id="5399" name="Vrije vorm: vorm 5398">
                <a:extLst>
                  <a:ext uri="{FF2B5EF4-FFF2-40B4-BE49-F238E27FC236}">
                    <a16:creationId xmlns:a16="http://schemas.microsoft.com/office/drawing/2014/main" id="{8964C382-5329-4848-8215-86F6DC28A01D}"/>
                  </a:ext>
                </a:extLst>
              </p:cNvPr>
              <p:cNvSpPr/>
              <p:nvPr/>
            </p:nvSpPr>
            <p:spPr>
              <a:xfrm>
                <a:off x="6536949" y="1835284"/>
                <a:ext cx="8612" cy="3588"/>
              </a:xfrm>
              <a:custGeom>
                <a:avLst/>
                <a:gdLst>
                  <a:gd name="connsiteX0" fmla="*/ 8612 w 8612"/>
                  <a:gd name="connsiteY0" fmla="*/ 3588 h 3588"/>
                  <a:gd name="connsiteX1" fmla="*/ 5861 w 8612"/>
                  <a:gd name="connsiteY1" fmla="*/ 2452 h 3588"/>
                  <a:gd name="connsiteX2" fmla="*/ 3110 w 8612"/>
                  <a:gd name="connsiteY2" fmla="*/ 1316 h 3588"/>
                  <a:gd name="connsiteX3" fmla="*/ 359 w 8612"/>
                  <a:gd name="connsiteY3" fmla="*/ 179 h 3588"/>
                  <a:gd name="connsiteX4" fmla="*/ 0 w 8612"/>
                  <a:gd name="connsiteY4" fmla="*/ 0 h 3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2" h="3588">
                    <a:moveTo>
                      <a:pt x="8612" y="3588"/>
                    </a:moveTo>
                    <a:lnTo>
                      <a:pt x="5861" y="2452"/>
                    </a:lnTo>
                    <a:lnTo>
                      <a:pt x="3110" y="1316"/>
                    </a:lnTo>
                    <a:lnTo>
                      <a:pt x="359" y="17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00" name="Vrije vorm: vorm 5399">
                <a:extLst>
                  <a:ext uri="{FF2B5EF4-FFF2-40B4-BE49-F238E27FC236}">
                    <a16:creationId xmlns:a16="http://schemas.microsoft.com/office/drawing/2014/main" id="{81981282-D49D-41E6-8588-FC02CF83CBDE}"/>
                  </a:ext>
                </a:extLst>
              </p:cNvPr>
              <p:cNvSpPr/>
              <p:nvPr/>
            </p:nvSpPr>
            <p:spPr>
              <a:xfrm>
                <a:off x="6429953" y="1781637"/>
                <a:ext cx="100057" cy="52211"/>
              </a:xfrm>
              <a:custGeom>
                <a:avLst/>
                <a:gdLst>
                  <a:gd name="connsiteX0" fmla="*/ 100058 w 100057"/>
                  <a:gd name="connsiteY0" fmla="*/ 50657 h 52211"/>
                  <a:gd name="connsiteX1" fmla="*/ 97605 w 100057"/>
                  <a:gd name="connsiteY1" fmla="*/ 51913 h 52211"/>
                  <a:gd name="connsiteX2" fmla="*/ 97008 w 100057"/>
                  <a:gd name="connsiteY2" fmla="*/ 52212 h 52211"/>
                  <a:gd name="connsiteX3" fmla="*/ 94077 w 100057"/>
                  <a:gd name="connsiteY3" fmla="*/ 51853 h 52211"/>
                  <a:gd name="connsiteX4" fmla="*/ 91147 w 100057"/>
                  <a:gd name="connsiteY4" fmla="*/ 51494 h 52211"/>
                  <a:gd name="connsiteX5" fmla="*/ 90010 w 100057"/>
                  <a:gd name="connsiteY5" fmla="*/ 51374 h 52211"/>
                  <a:gd name="connsiteX6" fmla="*/ 87199 w 100057"/>
                  <a:gd name="connsiteY6" fmla="*/ 50477 h 52211"/>
                  <a:gd name="connsiteX7" fmla="*/ 84388 w 100057"/>
                  <a:gd name="connsiteY7" fmla="*/ 49580 h 52211"/>
                  <a:gd name="connsiteX8" fmla="*/ 81577 w 100057"/>
                  <a:gd name="connsiteY8" fmla="*/ 48683 h 52211"/>
                  <a:gd name="connsiteX9" fmla="*/ 79424 w 100057"/>
                  <a:gd name="connsiteY9" fmla="*/ 47965 h 52211"/>
                  <a:gd name="connsiteX10" fmla="*/ 76673 w 100057"/>
                  <a:gd name="connsiteY10" fmla="*/ 46769 h 52211"/>
                  <a:gd name="connsiteX11" fmla="*/ 73922 w 100057"/>
                  <a:gd name="connsiteY11" fmla="*/ 45573 h 52211"/>
                  <a:gd name="connsiteX12" fmla="*/ 71171 w 100057"/>
                  <a:gd name="connsiteY12" fmla="*/ 44377 h 52211"/>
                  <a:gd name="connsiteX13" fmla="*/ 68419 w 100057"/>
                  <a:gd name="connsiteY13" fmla="*/ 43181 h 52211"/>
                  <a:gd name="connsiteX14" fmla="*/ 65728 w 100057"/>
                  <a:gd name="connsiteY14" fmla="*/ 41985 h 52211"/>
                  <a:gd name="connsiteX15" fmla="*/ 63097 w 100057"/>
                  <a:gd name="connsiteY15" fmla="*/ 40609 h 52211"/>
                  <a:gd name="connsiteX16" fmla="*/ 60465 w 100057"/>
                  <a:gd name="connsiteY16" fmla="*/ 39234 h 52211"/>
                  <a:gd name="connsiteX17" fmla="*/ 57834 w 100057"/>
                  <a:gd name="connsiteY17" fmla="*/ 37858 h 52211"/>
                  <a:gd name="connsiteX18" fmla="*/ 55202 w 100057"/>
                  <a:gd name="connsiteY18" fmla="*/ 36482 h 52211"/>
                  <a:gd name="connsiteX19" fmla="*/ 52571 w 100057"/>
                  <a:gd name="connsiteY19" fmla="*/ 35107 h 52211"/>
                  <a:gd name="connsiteX20" fmla="*/ 50298 w 100057"/>
                  <a:gd name="connsiteY20" fmla="*/ 33970 h 52211"/>
                  <a:gd name="connsiteX21" fmla="*/ 47726 w 100057"/>
                  <a:gd name="connsiteY21" fmla="*/ 32475 h 52211"/>
                  <a:gd name="connsiteX22" fmla="*/ 45155 w 100057"/>
                  <a:gd name="connsiteY22" fmla="*/ 30980 h 52211"/>
                  <a:gd name="connsiteX23" fmla="*/ 43241 w 100057"/>
                  <a:gd name="connsiteY23" fmla="*/ 29844 h 52211"/>
                  <a:gd name="connsiteX24" fmla="*/ 40669 w 100057"/>
                  <a:gd name="connsiteY24" fmla="*/ 28349 h 52211"/>
                  <a:gd name="connsiteX25" fmla="*/ 38098 w 100057"/>
                  <a:gd name="connsiteY25" fmla="*/ 26853 h 52211"/>
                  <a:gd name="connsiteX26" fmla="*/ 35526 w 100057"/>
                  <a:gd name="connsiteY26" fmla="*/ 25358 h 52211"/>
                  <a:gd name="connsiteX27" fmla="*/ 34330 w 100057"/>
                  <a:gd name="connsiteY27" fmla="*/ 24641 h 52211"/>
                  <a:gd name="connsiteX28" fmla="*/ 31817 w 100057"/>
                  <a:gd name="connsiteY28" fmla="*/ 23026 h 52211"/>
                  <a:gd name="connsiteX29" fmla="*/ 29306 w 100057"/>
                  <a:gd name="connsiteY29" fmla="*/ 21411 h 52211"/>
                  <a:gd name="connsiteX30" fmla="*/ 27512 w 100057"/>
                  <a:gd name="connsiteY30" fmla="*/ 20275 h 52211"/>
                  <a:gd name="connsiteX31" fmla="*/ 25000 w 100057"/>
                  <a:gd name="connsiteY31" fmla="*/ 18660 h 52211"/>
                  <a:gd name="connsiteX32" fmla="*/ 22488 w 100057"/>
                  <a:gd name="connsiteY32" fmla="*/ 17045 h 52211"/>
                  <a:gd name="connsiteX33" fmla="*/ 19976 w 100057"/>
                  <a:gd name="connsiteY33" fmla="*/ 15430 h 52211"/>
                  <a:gd name="connsiteX34" fmla="*/ 19138 w 100057"/>
                  <a:gd name="connsiteY34" fmla="*/ 14892 h 52211"/>
                  <a:gd name="connsiteX35" fmla="*/ 16746 w 100057"/>
                  <a:gd name="connsiteY35" fmla="*/ 13158 h 52211"/>
                  <a:gd name="connsiteX36" fmla="*/ 14354 w 100057"/>
                  <a:gd name="connsiteY36" fmla="*/ 11423 h 52211"/>
                  <a:gd name="connsiteX37" fmla="*/ 11961 w 100057"/>
                  <a:gd name="connsiteY37" fmla="*/ 9689 h 52211"/>
                  <a:gd name="connsiteX38" fmla="*/ 9569 w 100057"/>
                  <a:gd name="connsiteY38" fmla="*/ 7954 h 52211"/>
                  <a:gd name="connsiteX39" fmla="*/ 7177 w 100057"/>
                  <a:gd name="connsiteY39" fmla="*/ 6220 h 52211"/>
                  <a:gd name="connsiteX40" fmla="*/ 6340 w 100057"/>
                  <a:gd name="connsiteY40" fmla="*/ 5562 h 52211"/>
                  <a:gd name="connsiteX41" fmla="*/ 4127 w 100057"/>
                  <a:gd name="connsiteY41" fmla="*/ 3588 h 52211"/>
                  <a:gd name="connsiteX42" fmla="*/ 1914 w 100057"/>
                  <a:gd name="connsiteY42" fmla="*/ 1675 h 52211"/>
                  <a:gd name="connsiteX43" fmla="*/ 0 w 100057"/>
                  <a:gd name="connsiteY43" fmla="*/ 0 h 5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0057" h="52211">
                    <a:moveTo>
                      <a:pt x="100058" y="50657"/>
                    </a:moveTo>
                    <a:lnTo>
                      <a:pt x="97605" y="51913"/>
                    </a:lnTo>
                    <a:lnTo>
                      <a:pt x="97008" y="52212"/>
                    </a:lnTo>
                    <a:lnTo>
                      <a:pt x="94077" y="51853"/>
                    </a:lnTo>
                    <a:lnTo>
                      <a:pt x="91147" y="51494"/>
                    </a:lnTo>
                    <a:lnTo>
                      <a:pt x="90010" y="51374"/>
                    </a:lnTo>
                    <a:lnTo>
                      <a:pt x="87199" y="50477"/>
                    </a:lnTo>
                    <a:lnTo>
                      <a:pt x="84388" y="49580"/>
                    </a:lnTo>
                    <a:lnTo>
                      <a:pt x="81577" y="48683"/>
                    </a:lnTo>
                    <a:lnTo>
                      <a:pt x="79424" y="47965"/>
                    </a:lnTo>
                    <a:lnTo>
                      <a:pt x="76673" y="46769"/>
                    </a:lnTo>
                    <a:lnTo>
                      <a:pt x="73922" y="45573"/>
                    </a:lnTo>
                    <a:lnTo>
                      <a:pt x="71171" y="44377"/>
                    </a:lnTo>
                    <a:lnTo>
                      <a:pt x="68419" y="43181"/>
                    </a:lnTo>
                    <a:lnTo>
                      <a:pt x="65728" y="41985"/>
                    </a:lnTo>
                    <a:lnTo>
                      <a:pt x="63097" y="40609"/>
                    </a:lnTo>
                    <a:lnTo>
                      <a:pt x="60465" y="39234"/>
                    </a:lnTo>
                    <a:lnTo>
                      <a:pt x="57834" y="37858"/>
                    </a:lnTo>
                    <a:lnTo>
                      <a:pt x="55202" y="36482"/>
                    </a:lnTo>
                    <a:lnTo>
                      <a:pt x="52571" y="35107"/>
                    </a:lnTo>
                    <a:lnTo>
                      <a:pt x="50298" y="33970"/>
                    </a:lnTo>
                    <a:lnTo>
                      <a:pt x="47726" y="32475"/>
                    </a:lnTo>
                    <a:lnTo>
                      <a:pt x="45155" y="30980"/>
                    </a:lnTo>
                    <a:lnTo>
                      <a:pt x="43241" y="29844"/>
                    </a:lnTo>
                    <a:lnTo>
                      <a:pt x="40669" y="28349"/>
                    </a:lnTo>
                    <a:lnTo>
                      <a:pt x="38098" y="26853"/>
                    </a:lnTo>
                    <a:lnTo>
                      <a:pt x="35526" y="25358"/>
                    </a:lnTo>
                    <a:lnTo>
                      <a:pt x="34330" y="24641"/>
                    </a:lnTo>
                    <a:lnTo>
                      <a:pt x="31817" y="23026"/>
                    </a:lnTo>
                    <a:lnTo>
                      <a:pt x="29306" y="21411"/>
                    </a:lnTo>
                    <a:lnTo>
                      <a:pt x="27512" y="20275"/>
                    </a:lnTo>
                    <a:lnTo>
                      <a:pt x="25000" y="18660"/>
                    </a:lnTo>
                    <a:lnTo>
                      <a:pt x="22488" y="17045"/>
                    </a:lnTo>
                    <a:lnTo>
                      <a:pt x="19976" y="15430"/>
                    </a:lnTo>
                    <a:lnTo>
                      <a:pt x="19138" y="14892"/>
                    </a:lnTo>
                    <a:lnTo>
                      <a:pt x="16746" y="13158"/>
                    </a:lnTo>
                    <a:lnTo>
                      <a:pt x="14354" y="11423"/>
                    </a:lnTo>
                    <a:lnTo>
                      <a:pt x="11961" y="9689"/>
                    </a:lnTo>
                    <a:lnTo>
                      <a:pt x="9569" y="7954"/>
                    </a:lnTo>
                    <a:lnTo>
                      <a:pt x="7177" y="6220"/>
                    </a:lnTo>
                    <a:lnTo>
                      <a:pt x="6340" y="5562"/>
                    </a:lnTo>
                    <a:lnTo>
                      <a:pt x="4127" y="3588"/>
                    </a:lnTo>
                    <a:lnTo>
                      <a:pt x="1914" y="167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01" name="Vrije vorm: vorm 5400">
                <a:extLst>
                  <a:ext uri="{FF2B5EF4-FFF2-40B4-BE49-F238E27FC236}">
                    <a16:creationId xmlns:a16="http://schemas.microsoft.com/office/drawing/2014/main" id="{BA5220B4-9863-4BFD-AC9C-97C050CFA46F}"/>
                  </a:ext>
                </a:extLst>
              </p:cNvPr>
              <p:cNvSpPr/>
              <p:nvPr/>
            </p:nvSpPr>
            <p:spPr>
              <a:xfrm>
                <a:off x="6419009" y="1766028"/>
                <a:ext cx="6758" cy="11542"/>
              </a:xfrm>
              <a:custGeom>
                <a:avLst/>
                <a:gdLst>
                  <a:gd name="connsiteX0" fmla="*/ 6758 w 6758"/>
                  <a:gd name="connsiteY0" fmla="*/ 11543 h 11542"/>
                  <a:gd name="connsiteX1" fmla="*/ 6399 w 6758"/>
                  <a:gd name="connsiteY1" fmla="*/ 11184 h 11542"/>
                  <a:gd name="connsiteX2" fmla="*/ 4426 w 6758"/>
                  <a:gd name="connsiteY2" fmla="*/ 8971 h 11542"/>
                  <a:gd name="connsiteX3" fmla="*/ 2452 w 6758"/>
                  <a:gd name="connsiteY3" fmla="*/ 6758 h 11542"/>
                  <a:gd name="connsiteX4" fmla="*/ 478 w 6758"/>
                  <a:gd name="connsiteY4" fmla="*/ 4545 h 11542"/>
                  <a:gd name="connsiteX5" fmla="*/ 0 w 6758"/>
                  <a:gd name="connsiteY5" fmla="*/ 3947 h 11542"/>
                  <a:gd name="connsiteX6" fmla="*/ 0 w 6758"/>
                  <a:gd name="connsiteY6" fmla="*/ 3947 h 11542"/>
                  <a:gd name="connsiteX7" fmla="*/ 299 w 6758"/>
                  <a:gd name="connsiteY7" fmla="*/ 1136 h 11542"/>
                  <a:gd name="connsiteX8" fmla="*/ 419 w 6758"/>
                  <a:gd name="connsiteY8" fmla="*/ 0 h 1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58" h="11542">
                    <a:moveTo>
                      <a:pt x="6758" y="11543"/>
                    </a:moveTo>
                    <a:lnTo>
                      <a:pt x="6399" y="11184"/>
                    </a:lnTo>
                    <a:lnTo>
                      <a:pt x="4426" y="8971"/>
                    </a:lnTo>
                    <a:lnTo>
                      <a:pt x="2452" y="6758"/>
                    </a:lnTo>
                    <a:lnTo>
                      <a:pt x="478" y="4545"/>
                    </a:lnTo>
                    <a:lnTo>
                      <a:pt x="0" y="3947"/>
                    </a:lnTo>
                    <a:lnTo>
                      <a:pt x="0" y="3947"/>
                    </a:lnTo>
                    <a:lnTo>
                      <a:pt x="299" y="1136"/>
                    </a:lnTo>
                    <a:lnTo>
                      <a:pt x="419" y="0"/>
                    </a:lnTo>
                  </a:path>
                </a:pathLst>
              </a:custGeom>
              <a:noFill/>
              <a:ln w="6350" cap="rnd">
                <a:solidFill>
                  <a:schemeClr val="bg1">
                    <a:alpha val="80000"/>
                  </a:schemeClr>
                </a:solidFill>
                <a:prstDash val="solid"/>
                <a:round/>
              </a:ln>
            </p:spPr>
            <p:txBody>
              <a:bodyPr rtlCol="0" anchor="ctr"/>
              <a:lstStyle/>
              <a:p>
                <a:endParaRPr lang="en-GB"/>
              </a:p>
            </p:txBody>
          </p:sp>
          <p:sp>
            <p:nvSpPr>
              <p:cNvPr id="5402" name="Vrije vorm: vorm 5401">
                <a:extLst>
                  <a:ext uri="{FF2B5EF4-FFF2-40B4-BE49-F238E27FC236}">
                    <a16:creationId xmlns:a16="http://schemas.microsoft.com/office/drawing/2014/main" id="{47F4376E-7694-4709-BABA-BFB57271DCC0}"/>
                  </a:ext>
                </a:extLst>
              </p:cNvPr>
              <p:cNvSpPr/>
              <p:nvPr/>
            </p:nvSpPr>
            <p:spPr>
              <a:xfrm>
                <a:off x="6392275" y="1734270"/>
                <a:ext cx="62438" cy="30800"/>
              </a:xfrm>
              <a:custGeom>
                <a:avLst/>
                <a:gdLst>
                  <a:gd name="connsiteX0" fmla="*/ 62439 w 62438"/>
                  <a:gd name="connsiteY0" fmla="*/ 30801 h 30800"/>
                  <a:gd name="connsiteX1" fmla="*/ 59747 w 62438"/>
                  <a:gd name="connsiteY1" fmla="*/ 29485 h 30800"/>
                  <a:gd name="connsiteX2" fmla="*/ 57056 w 62438"/>
                  <a:gd name="connsiteY2" fmla="*/ 28169 h 30800"/>
                  <a:gd name="connsiteX3" fmla="*/ 54365 w 62438"/>
                  <a:gd name="connsiteY3" fmla="*/ 26853 h 30800"/>
                  <a:gd name="connsiteX4" fmla="*/ 51674 w 62438"/>
                  <a:gd name="connsiteY4" fmla="*/ 25538 h 30800"/>
                  <a:gd name="connsiteX5" fmla="*/ 49640 w 62438"/>
                  <a:gd name="connsiteY5" fmla="*/ 24521 h 30800"/>
                  <a:gd name="connsiteX6" fmla="*/ 46889 w 62438"/>
                  <a:gd name="connsiteY6" fmla="*/ 23385 h 30800"/>
                  <a:gd name="connsiteX7" fmla="*/ 44138 w 62438"/>
                  <a:gd name="connsiteY7" fmla="*/ 22248 h 30800"/>
                  <a:gd name="connsiteX8" fmla="*/ 41387 w 62438"/>
                  <a:gd name="connsiteY8" fmla="*/ 21112 h 30800"/>
                  <a:gd name="connsiteX9" fmla="*/ 38636 w 62438"/>
                  <a:gd name="connsiteY9" fmla="*/ 19976 h 30800"/>
                  <a:gd name="connsiteX10" fmla="*/ 37678 w 62438"/>
                  <a:gd name="connsiteY10" fmla="*/ 19557 h 30800"/>
                  <a:gd name="connsiteX11" fmla="*/ 34868 w 62438"/>
                  <a:gd name="connsiteY11" fmla="*/ 18600 h 30800"/>
                  <a:gd name="connsiteX12" fmla="*/ 32057 w 62438"/>
                  <a:gd name="connsiteY12" fmla="*/ 17643 h 30800"/>
                  <a:gd name="connsiteX13" fmla="*/ 29246 w 62438"/>
                  <a:gd name="connsiteY13" fmla="*/ 16686 h 30800"/>
                  <a:gd name="connsiteX14" fmla="*/ 28588 w 62438"/>
                  <a:gd name="connsiteY14" fmla="*/ 16447 h 30800"/>
                  <a:gd name="connsiteX15" fmla="*/ 25897 w 62438"/>
                  <a:gd name="connsiteY15" fmla="*/ 15131 h 30800"/>
                  <a:gd name="connsiteX16" fmla="*/ 23205 w 62438"/>
                  <a:gd name="connsiteY16" fmla="*/ 13815 h 30800"/>
                  <a:gd name="connsiteX17" fmla="*/ 20514 w 62438"/>
                  <a:gd name="connsiteY17" fmla="*/ 12500 h 30800"/>
                  <a:gd name="connsiteX18" fmla="*/ 17823 w 62438"/>
                  <a:gd name="connsiteY18" fmla="*/ 11184 h 30800"/>
                  <a:gd name="connsiteX19" fmla="*/ 15131 w 62438"/>
                  <a:gd name="connsiteY19" fmla="*/ 9868 h 30800"/>
                  <a:gd name="connsiteX20" fmla="*/ 12440 w 62438"/>
                  <a:gd name="connsiteY20" fmla="*/ 8552 h 30800"/>
                  <a:gd name="connsiteX21" fmla="*/ 9749 w 62438"/>
                  <a:gd name="connsiteY21" fmla="*/ 7237 h 30800"/>
                  <a:gd name="connsiteX22" fmla="*/ 7057 w 62438"/>
                  <a:gd name="connsiteY22" fmla="*/ 5921 h 30800"/>
                  <a:gd name="connsiteX23" fmla="*/ 5024 w 62438"/>
                  <a:gd name="connsiteY23" fmla="*/ 4904 h 30800"/>
                  <a:gd name="connsiteX24" fmla="*/ 2871 w 62438"/>
                  <a:gd name="connsiteY24" fmla="*/ 2811 h 30800"/>
                  <a:gd name="connsiteX25" fmla="*/ 718 w 62438"/>
                  <a:gd name="connsiteY25" fmla="*/ 718 h 30800"/>
                  <a:gd name="connsiteX26" fmla="*/ 0 w 62438"/>
                  <a:gd name="connsiteY26" fmla="*/ 0 h 30800"/>
                  <a:gd name="connsiteX27" fmla="*/ 2691 w 62438"/>
                  <a:gd name="connsiteY27" fmla="*/ 1256 h 30800"/>
                  <a:gd name="connsiteX28" fmla="*/ 5383 w 62438"/>
                  <a:gd name="connsiteY28" fmla="*/ 2512 h 30800"/>
                  <a:gd name="connsiteX29" fmla="*/ 8074 w 62438"/>
                  <a:gd name="connsiteY29" fmla="*/ 3768 h 30800"/>
                  <a:gd name="connsiteX30" fmla="*/ 10765 w 62438"/>
                  <a:gd name="connsiteY30" fmla="*/ 5024 h 30800"/>
                  <a:gd name="connsiteX31" fmla="*/ 13457 w 62438"/>
                  <a:gd name="connsiteY31" fmla="*/ 6280 h 30800"/>
                  <a:gd name="connsiteX32" fmla="*/ 16148 w 62438"/>
                  <a:gd name="connsiteY32" fmla="*/ 7536 h 30800"/>
                  <a:gd name="connsiteX33" fmla="*/ 18839 w 62438"/>
                  <a:gd name="connsiteY33" fmla="*/ 8792 h 30800"/>
                  <a:gd name="connsiteX34" fmla="*/ 21531 w 62438"/>
                  <a:gd name="connsiteY34" fmla="*/ 10048 h 30800"/>
                  <a:gd name="connsiteX35" fmla="*/ 24222 w 62438"/>
                  <a:gd name="connsiteY35" fmla="*/ 11304 h 30800"/>
                  <a:gd name="connsiteX36" fmla="*/ 26913 w 62438"/>
                  <a:gd name="connsiteY36" fmla="*/ 12559 h 30800"/>
                  <a:gd name="connsiteX37" fmla="*/ 29605 w 62438"/>
                  <a:gd name="connsiteY37" fmla="*/ 13815 h 30800"/>
                  <a:gd name="connsiteX38" fmla="*/ 32296 w 62438"/>
                  <a:gd name="connsiteY38" fmla="*/ 15071 h 30800"/>
                  <a:gd name="connsiteX39" fmla="*/ 34987 w 62438"/>
                  <a:gd name="connsiteY39" fmla="*/ 16327 h 30800"/>
                  <a:gd name="connsiteX40" fmla="*/ 37678 w 62438"/>
                  <a:gd name="connsiteY40" fmla="*/ 17583 h 30800"/>
                  <a:gd name="connsiteX41" fmla="*/ 40370 w 62438"/>
                  <a:gd name="connsiteY41" fmla="*/ 18839 h 30800"/>
                  <a:gd name="connsiteX42" fmla="*/ 43061 w 62438"/>
                  <a:gd name="connsiteY42" fmla="*/ 20095 h 30800"/>
                  <a:gd name="connsiteX43" fmla="*/ 45753 w 62438"/>
                  <a:gd name="connsiteY43" fmla="*/ 21351 h 30800"/>
                  <a:gd name="connsiteX44" fmla="*/ 48444 w 62438"/>
                  <a:gd name="connsiteY44" fmla="*/ 22607 h 30800"/>
                  <a:gd name="connsiteX45" fmla="*/ 51135 w 62438"/>
                  <a:gd name="connsiteY45" fmla="*/ 23863 h 30800"/>
                  <a:gd name="connsiteX46" fmla="*/ 53827 w 62438"/>
                  <a:gd name="connsiteY46" fmla="*/ 25119 h 30800"/>
                  <a:gd name="connsiteX47" fmla="*/ 56518 w 62438"/>
                  <a:gd name="connsiteY47" fmla="*/ 26375 h 30800"/>
                  <a:gd name="connsiteX48" fmla="*/ 59209 w 62438"/>
                  <a:gd name="connsiteY48" fmla="*/ 27631 h 30800"/>
                  <a:gd name="connsiteX49" fmla="*/ 60406 w 62438"/>
                  <a:gd name="connsiteY49" fmla="*/ 28169 h 3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2438" h="30800">
                    <a:moveTo>
                      <a:pt x="62439" y="30801"/>
                    </a:moveTo>
                    <a:lnTo>
                      <a:pt x="59747" y="29485"/>
                    </a:lnTo>
                    <a:lnTo>
                      <a:pt x="57056" y="28169"/>
                    </a:lnTo>
                    <a:lnTo>
                      <a:pt x="54365" y="26853"/>
                    </a:lnTo>
                    <a:lnTo>
                      <a:pt x="51674" y="25538"/>
                    </a:lnTo>
                    <a:lnTo>
                      <a:pt x="49640" y="24521"/>
                    </a:lnTo>
                    <a:lnTo>
                      <a:pt x="46889" y="23385"/>
                    </a:lnTo>
                    <a:lnTo>
                      <a:pt x="44138" y="22248"/>
                    </a:lnTo>
                    <a:lnTo>
                      <a:pt x="41387" y="21112"/>
                    </a:lnTo>
                    <a:lnTo>
                      <a:pt x="38636" y="19976"/>
                    </a:lnTo>
                    <a:lnTo>
                      <a:pt x="37678" y="19557"/>
                    </a:lnTo>
                    <a:lnTo>
                      <a:pt x="34868" y="18600"/>
                    </a:lnTo>
                    <a:lnTo>
                      <a:pt x="32057" y="17643"/>
                    </a:lnTo>
                    <a:lnTo>
                      <a:pt x="29246" y="16686"/>
                    </a:lnTo>
                    <a:lnTo>
                      <a:pt x="28588" y="16447"/>
                    </a:lnTo>
                    <a:lnTo>
                      <a:pt x="25897" y="15131"/>
                    </a:lnTo>
                    <a:lnTo>
                      <a:pt x="23205" y="13815"/>
                    </a:lnTo>
                    <a:lnTo>
                      <a:pt x="20514" y="12500"/>
                    </a:lnTo>
                    <a:lnTo>
                      <a:pt x="17823" y="11184"/>
                    </a:lnTo>
                    <a:lnTo>
                      <a:pt x="15131" y="9868"/>
                    </a:lnTo>
                    <a:lnTo>
                      <a:pt x="12440" y="8552"/>
                    </a:lnTo>
                    <a:lnTo>
                      <a:pt x="9749" y="7237"/>
                    </a:lnTo>
                    <a:lnTo>
                      <a:pt x="7057" y="5921"/>
                    </a:lnTo>
                    <a:lnTo>
                      <a:pt x="5024" y="4904"/>
                    </a:lnTo>
                    <a:lnTo>
                      <a:pt x="2871" y="2811"/>
                    </a:lnTo>
                    <a:lnTo>
                      <a:pt x="718" y="718"/>
                    </a:lnTo>
                    <a:lnTo>
                      <a:pt x="0" y="0"/>
                    </a:lnTo>
                    <a:lnTo>
                      <a:pt x="2691" y="1256"/>
                    </a:lnTo>
                    <a:lnTo>
                      <a:pt x="5383" y="2512"/>
                    </a:lnTo>
                    <a:lnTo>
                      <a:pt x="8074" y="3768"/>
                    </a:lnTo>
                    <a:lnTo>
                      <a:pt x="10765" y="5024"/>
                    </a:lnTo>
                    <a:lnTo>
                      <a:pt x="13457" y="6280"/>
                    </a:lnTo>
                    <a:lnTo>
                      <a:pt x="16148" y="7536"/>
                    </a:lnTo>
                    <a:lnTo>
                      <a:pt x="18839" y="8792"/>
                    </a:lnTo>
                    <a:lnTo>
                      <a:pt x="21531" y="10048"/>
                    </a:lnTo>
                    <a:lnTo>
                      <a:pt x="24222" y="11304"/>
                    </a:lnTo>
                    <a:lnTo>
                      <a:pt x="26913" y="12559"/>
                    </a:lnTo>
                    <a:lnTo>
                      <a:pt x="29605" y="13815"/>
                    </a:lnTo>
                    <a:lnTo>
                      <a:pt x="32296" y="15071"/>
                    </a:lnTo>
                    <a:lnTo>
                      <a:pt x="34987" y="16327"/>
                    </a:lnTo>
                    <a:lnTo>
                      <a:pt x="37678" y="17583"/>
                    </a:lnTo>
                    <a:lnTo>
                      <a:pt x="40370" y="18839"/>
                    </a:lnTo>
                    <a:lnTo>
                      <a:pt x="43061" y="20095"/>
                    </a:lnTo>
                    <a:lnTo>
                      <a:pt x="45753" y="21351"/>
                    </a:lnTo>
                    <a:lnTo>
                      <a:pt x="48444" y="22607"/>
                    </a:lnTo>
                    <a:lnTo>
                      <a:pt x="51135" y="23863"/>
                    </a:lnTo>
                    <a:lnTo>
                      <a:pt x="53827" y="25119"/>
                    </a:lnTo>
                    <a:lnTo>
                      <a:pt x="56518" y="26375"/>
                    </a:lnTo>
                    <a:lnTo>
                      <a:pt x="59209" y="27631"/>
                    </a:lnTo>
                    <a:lnTo>
                      <a:pt x="60406" y="28169"/>
                    </a:lnTo>
                  </a:path>
                </a:pathLst>
              </a:custGeom>
              <a:noFill/>
              <a:ln w="6350" cap="rnd">
                <a:solidFill>
                  <a:schemeClr val="bg1">
                    <a:alpha val="80000"/>
                  </a:schemeClr>
                </a:solidFill>
                <a:prstDash val="solid"/>
                <a:round/>
              </a:ln>
            </p:spPr>
            <p:txBody>
              <a:bodyPr rtlCol="0" anchor="ctr"/>
              <a:lstStyle/>
              <a:p>
                <a:endParaRPr lang="en-GB"/>
              </a:p>
            </p:txBody>
          </p:sp>
          <p:sp>
            <p:nvSpPr>
              <p:cNvPr id="5403" name="Vrije vorm: vorm 5402">
                <a:extLst>
                  <a:ext uri="{FF2B5EF4-FFF2-40B4-BE49-F238E27FC236}">
                    <a16:creationId xmlns:a16="http://schemas.microsoft.com/office/drawing/2014/main" id="{B96D7647-4B04-4DA7-A916-EC8A3F56C198}"/>
                  </a:ext>
                </a:extLst>
              </p:cNvPr>
              <p:cNvSpPr/>
              <p:nvPr/>
            </p:nvSpPr>
            <p:spPr>
              <a:xfrm>
                <a:off x="6381330" y="1730562"/>
                <a:ext cx="71230" cy="30681"/>
              </a:xfrm>
              <a:custGeom>
                <a:avLst/>
                <a:gdLst>
                  <a:gd name="connsiteX0" fmla="*/ 0 w 71230"/>
                  <a:gd name="connsiteY0" fmla="*/ 9270 h 30681"/>
                  <a:gd name="connsiteX1" fmla="*/ 299 w 71230"/>
                  <a:gd name="connsiteY1" fmla="*/ 8732 h 30681"/>
                  <a:gd name="connsiteX2" fmla="*/ 1734 w 71230"/>
                  <a:gd name="connsiteY2" fmla="*/ 6280 h 30681"/>
                  <a:gd name="connsiteX3" fmla="*/ 3170 w 71230"/>
                  <a:gd name="connsiteY3" fmla="*/ 3828 h 30681"/>
                  <a:gd name="connsiteX4" fmla="*/ 4605 w 71230"/>
                  <a:gd name="connsiteY4" fmla="*/ 1376 h 30681"/>
                  <a:gd name="connsiteX5" fmla="*/ 5442 w 71230"/>
                  <a:gd name="connsiteY5" fmla="*/ 0 h 30681"/>
                  <a:gd name="connsiteX6" fmla="*/ 8134 w 71230"/>
                  <a:gd name="connsiteY6" fmla="*/ 1256 h 30681"/>
                  <a:gd name="connsiteX7" fmla="*/ 10825 w 71230"/>
                  <a:gd name="connsiteY7" fmla="*/ 2512 h 30681"/>
                  <a:gd name="connsiteX8" fmla="*/ 13516 w 71230"/>
                  <a:gd name="connsiteY8" fmla="*/ 3768 h 30681"/>
                  <a:gd name="connsiteX9" fmla="*/ 16208 w 71230"/>
                  <a:gd name="connsiteY9" fmla="*/ 5024 h 30681"/>
                  <a:gd name="connsiteX10" fmla="*/ 18899 w 71230"/>
                  <a:gd name="connsiteY10" fmla="*/ 6280 h 30681"/>
                  <a:gd name="connsiteX11" fmla="*/ 21590 w 71230"/>
                  <a:gd name="connsiteY11" fmla="*/ 7536 h 30681"/>
                  <a:gd name="connsiteX12" fmla="*/ 24282 w 71230"/>
                  <a:gd name="connsiteY12" fmla="*/ 8792 h 30681"/>
                  <a:gd name="connsiteX13" fmla="*/ 26973 w 71230"/>
                  <a:gd name="connsiteY13" fmla="*/ 10048 h 30681"/>
                  <a:gd name="connsiteX14" fmla="*/ 29664 w 71230"/>
                  <a:gd name="connsiteY14" fmla="*/ 11304 h 30681"/>
                  <a:gd name="connsiteX15" fmla="*/ 32356 w 71230"/>
                  <a:gd name="connsiteY15" fmla="*/ 12559 h 30681"/>
                  <a:gd name="connsiteX16" fmla="*/ 35047 w 71230"/>
                  <a:gd name="connsiteY16" fmla="*/ 13815 h 30681"/>
                  <a:gd name="connsiteX17" fmla="*/ 37738 w 71230"/>
                  <a:gd name="connsiteY17" fmla="*/ 15071 h 30681"/>
                  <a:gd name="connsiteX18" fmla="*/ 40429 w 71230"/>
                  <a:gd name="connsiteY18" fmla="*/ 16327 h 30681"/>
                  <a:gd name="connsiteX19" fmla="*/ 43121 w 71230"/>
                  <a:gd name="connsiteY19" fmla="*/ 17583 h 30681"/>
                  <a:gd name="connsiteX20" fmla="*/ 45812 w 71230"/>
                  <a:gd name="connsiteY20" fmla="*/ 18839 h 30681"/>
                  <a:gd name="connsiteX21" fmla="*/ 48504 w 71230"/>
                  <a:gd name="connsiteY21" fmla="*/ 20095 h 30681"/>
                  <a:gd name="connsiteX22" fmla="*/ 51195 w 71230"/>
                  <a:gd name="connsiteY22" fmla="*/ 21351 h 30681"/>
                  <a:gd name="connsiteX23" fmla="*/ 53886 w 71230"/>
                  <a:gd name="connsiteY23" fmla="*/ 22607 h 30681"/>
                  <a:gd name="connsiteX24" fmla="*/ 56577 w 71230"/>
                  <a:gd name="connsiteY24" fmla="*/ 23863 h 30681"/>
                  <a:gd name="connsiteX25" fmla="*/ 59269 w 71230"/>
                  <a:gd name="connsiteY25" fmla="*/ 25119 h 30681"/>
                  <a:gd name="connsiteX26" fmla="*/ 61960 w 71230"/>
                  <a:gd name="connsiteY26" fmla="*/ 26375 h 30681"/>
                  <a:gd name="connsiteX27" fmla="*/ 64652 w 71230"/>
                  <a:gd name="connsiteY27" fmla="*/ 27631 h 30681"/>
                  <a:gd name="connsiteX28" fmla="*/ 67343 w 71230"/>
                  <a:gd name="connsiteY28" fmla="*/ 28887 h 30681"/>
                  <a:gd name="connsiteX29" fmla="*/ 70034 w 71230"/>
                  <a:gd name="connsiteY29" fmla="*/ 30143 h 30681"/>
                  <a:gd name="connsiteX30" fmla="*/ 71230 w 71230"/>
                  <a:gd name="connsiteY30" fmla="*/ 30681 h 3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230" h="30681">
                    <a:moveTo>
                      <a:pt x="0" y="9270"/>
                    </a:moveTo>
                    <a:lnTo>
                      <a:pt x="299" y="8732"/>
                    </a:lnTo>
                    <a:lnTo>
                      <a:pt x="1734" y="6280"/>
                    </a:lnTo>
                    <a:lnTo>
                      <a:pt x="3170" y="3828"/>
                    </a:lnTo>
                    <a:lnTo>
                      <a:pt x="4605" y="1376"/>
                    </a:lnTo>
                    <a:lnTo>
                      <a:pt x="5442" y="0"/>
                    </a:lnTo>
                    <a:lnTo>
                      <a:pt x="8134" y="1256"/>
                    </a:lnTo>
                    <a:lnTo>
                      <a:pt x="10825" y="2512"/>
                    </a:lnTo>
                    <a:lnTo>
                      <a:pt x="13516" y="3768"/>
                    </a:lnTo>
                    <a:lnTo>
                      <a:pt x="16208" y="5024"/>
                    </a:lnTo>
                    <a:lnTo>
                      <a:pt x="18899" y="6280"/>
                    </a:lnTo>
                    <a:lnTo>
                      <a:pt x="21590" y="7536"/>
                    </a:lnTo>
                    <a:lnTo>
                      <a:pt x="24282" y="8792"/>
                    </a:lnTo>
                    <a:lnTo>
                      <a:pt x="26973" y="10048"/>
                    </a:lnTo>
                    <a:lnTo>
                      <a:pt x="29664" y="11304"/>
                    </a:lnTo>
                    <a:lnTo>
                      <a:pt x="32356" y="12559"/>
                    </a:lnTo>
                    <a:lnTo>
                      <a:pt x="35047" y="13815"/>
                    </a:lnTo>
                    <a:lnTo>
                      <a:pt x="37738" y="15071"/>
                    </a:lnTo>
                    <a:lnTo>
                      <a:pt x="40429" y="16327"/>
                    </a:lnTo>
                    <a:lnTo>
                      <a:pt x="43121" y="17583"/>
                    </a:lnTo>
                    <a:lnTo>
                      <a:pt x="45812" y="18839"/>
                    </a:lnTo>
                    <a:lnTo>
                      <a:pt x="48504" y="20095"/>
                    </a:lnTo>
                    <a:lnTo>
                      <a:pt x="51195" y="21351"/>
                    </a:lnTo>
                    <a:lnTo>
                      <a:pt x="53886" y="22607"/>
                    </a:lnTo>
                    <a:lnTo>
                      <a:pt x="56577" y="23863"/>
                    </a:lnTo>
                    <a:lnTo>
                      <a:pt x="59269" y="25119"/>
                    </a:lnTo>
                    <a:lnTo>
                      <a:pt x="61960" y="26375"/>
                    </a:lnTo>
                    <a:lnTo>
                      <a:pt x="64652" y="27631"/>
                    </a:lnTo>
                    <a:lnTo>
                      <a:pt x="67343" y="28887"/>
                    </a:lnTo>
                    <a:lnTo>
                      <a:pt x="70034" y="30143"/>
                    </a:lnTo>
                    <a:lnTo>
                      <a:pt x="71230" y="30681"/>
                    </a:lnTo>
                  </a:path>
                </a:pathLst>
              </a:custGeom>
              <a:noFill/>
              <a:ln w="6350" cap="rnd">
                <a:solidFill>
                  <a:schemeClr val="bg1">
                    <a:alpha val="80000"/>
                  </a:schemeClr>
                </a:solidFill>
                <a:prstDash val="solid"/>
                <a:round/>
              </a:ln>
            </p:spPr>
            <p:txBody>
              <a:bodyPr rtlCol="0" anchor="ctr"/>
              <a:lstStyle/>
              <a:p>
                <a:endParaRPr lang="en-GB"/>
              </a:p>
            </p:txBody>
          </p:sp>
          <p:sp>
            <p:nvSpPr>
              <p:cNvPr id="5404" name="Vrije vorm: vorm 5403">
                <a:extLst>
                  <a:ext uri="{FF2B5EF4-FFF2-40B4-BE49-F238E27FC236}">
                    <a16:creationId xmlns:a16="http://schemas.microsoft.com/office/drawing/2014/main" id="{88188E33-7ED3-43B5-86E1-03803ED242A8}"/>
                  </a:ext>
                </a:extLst>
              </p:cNvPr>
              <p:cNvSpPr/>
              <p:nvPr/>
            </p:nvSpPr>
            <p:spPr>
              <a:xfrm>
                <a:off x="6386773" y="1730622"/>
                <a:ext cx="8253" cy="8193"/>
              </a:xfrm>
              <a:custGeom>
                <a:avLst/>
                <a:gdLst>
                  <a:gd name="connsiteX0" fmla="*/ 0 w 8253"/>
                  <a:gd name="connsiteY0" fmla="*/ 0 h 8193"/>
                  <a:gd name="connsiteX1" fmla="*/ 2093 w 8253"/>
                  <a:gd name="connsiteY1" fmla="*/ 2093 h 8193"/>
                  <a:gd name="connsiteX2" fmla="*/ 4187 w 8253"/>
                  <a:gd name="connsiteY2" fmla="*/ 4186 h 8193"/>
                  <a:gd name="connsiteX3" fmla="*/ 5083 w 8253"/>
                  <a:gd name="connsiteY3" fmla="*/ 5024 h 8193"/>
                  <a:gd name="connsiteX4" fmla="*/ 7177 w 8253"/>
                  <a:gd name="connsiteY4" fmla="*/ 7117 h 8193"/>
                  <a:gd name="connsiteX5" fmla="*/ 8253 w 8253"/>
                  <a:gd name="connsiteY5" fmla="*/ 8194 h 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 h="8193">
                    <a:moveTo>
                      <a:pt x="0" y="0"/>
                    </a:moveTo>
                    <a:lnTo>
                      <a:pt x="2093" y="2093"/>
                    </a:lnTo>
                    <a:lnTo>
                      <a:pt x="4187" y="4186"/>
                    </a:lnTo>
                    <a:lnTo>
                      <a:pt x="5083" y="5024"/>
                    </a:lnTo>
                    <a:lnTo>
                      <a:pt x="7177" y="7117"/>
                    </a:lnTo>
                    <a:lnTo>
                      <a:pt x="8253" y="8194"/>
                    </a:lnTo>
                  </a:path>
                </a:pathLst>
              </a:custGeom>
              <a:noFill/>
              <a:ln w="6350" cap="rnd">
                <a:solidFill>
                  <a:schemeClr val="bg1">
                    <a:alpha val="80000"/>
                  </a:schemeClr>
                </a:solidFill>
                <a:prstDash val="solid"/>
                <a:round/>
              </a:ln>
            </p:spPr>
            <p:txBody>
              <a:bodyPr rtlCol="0" anchor="ctr"/>
              <a:lstStyle/>
              <a:p>
                <a:endParaRPr lang="en-GB"/>
              </a:p>
            </p:txBody>
          </p:sp>
          <p:sp>
            <p:nvSpPr>
              <p:cNvPr id="5405" name="Vrije vorm: vorm 5404">
                <a:extLst>
                  <a:ext uri="{FF2B5EF4-FFF2-40B4-BE49-F238E27FC236}">
                    <a16:creationId xmlns:a16="http://schemas.microsoft.com/office/drawing/2014/main" id="{B44DCE1A-B5EE-4CB6-A1F0-D36F55E06AAE}"/>
                  </a:ext>
                </a:extLst>
              </p:cNvPr>
              <p:cNvSpPr/>
              <p:nvPr/>
            </p:nvSpPr>
            <p:spPr>
              <a:xfrm>
                <a:off x="6381330" y="1738755"/>
                <a:ext cx="73323" cy="26913"/>
              </a:xfrm>
              <a:custGeom>
                <a:avLst/>
                <a:gdLst>
                  <a:gd name="connsiteX0" fmla="*/ 0 w 73323"/>
                  <a:gd name="connsiteY0" fmla="*/ 1076 h 26913"/>
                  <a:gd name="connsiteX1" fmla="*/ 2033 w 73323"/>
                  <a:gd name="connsiteY1" fmla="*/ 3230 h 26913"/>
                  <a:gd name="connsiteX2" fmla="*/ 4067 w 73323"/>
                  <a:gd name="connsiteY2" fmla="*/ 5383 h 26913"/>
                  <a:gd name="connsiteX3" fmla="*/ 6100 w 73323"/>
                  <a:gd name="connsiteY3" fmla="*/ 7536 h 26913"/>
                  <a:gd name="connsiteX4" fmla="*/ 8074 w 73323"/>
                  <a:gd name="connsiteY4" fmla="*/ 9569 h 26913"/>
                  <a:gd name="connsiteX5" fmla="*/ 9509 w 73323"/>
                  <a:gd name="connsiteY5" fmla="*/ 7117 h 26913"/>
                  <a:gd name="connsiteX6" fmla="*/ 10287 w 73323"/>
                  <a:gd name="connsiteY6" fmla="*/ 5741 h 26913"/>
                  <a:gd name="connsiteX7" fmla="*/ 10586 w 73323"/>
                  <a:gd name="connsiteY7" fmla="*/ 5203 h 26913"/>
                  <a:gd name="connsiteX8" fmla="*/ 12021 w 73323"/>
                  <a:gd name="connsiteY8" fmla="*/ 2751 h 26913"/>
                  <a:gd name="connsiteX9" fmla="*/ 12260 w 73323"/>
                  <a:gd name="connsiteY9" fmla="*/ 2392 h 26913"/>
                  <a:gd name="connsiteX10" fmla="*/ 13636 w 73323"/>
                  <a:gd name="connsiteY10" fmla="*/ 0 h 26913"/>
                  <a:gd name="connsiteX11" fmla="*/ 16327 w 73323"/>
                  <a:gd name="connsiteY11" fmla="*/ 1316 h 26913"/>
                  <a:gd name="connsiteX12" fmla="*/ 19019 w 73323"/>
                  <a:gd name="connsiteY12" fmla="*/ 2632 h 26913"/>
                  <a:gd name="connsiteX13" fmla="*/ 21710 w 73323"/>
                  <a:gd name="connsiteY13" fmla="*/ 3947 h 26913"/>
                  <a:gd name="connsiteX14" fmla="*/ 24401 w 73323"/>
                  <a:gd name="connsiteY14" fmla="*/ 5263 h 26913"/>
                  <a:gd name="connsiteX15" fmla="*/ 27092 w 73323"/>
                  <a:gd name="connsiteY15" fmla="*/ 6579 h 26913"/>
                  <a:gd name="connsiteX16" fmla="*/ 29784 w 73323"/>
                  <a:gd name="connsiteY16" fmla="*/ 7895 h 26913"/>
                  <a:gd name="connsiteX17" fmla="*/ 32475 w 73323"/>
                  <a:gd name="connsiteY17" fmla="*/ 9210 h 26913"/>
                  <a:gd name="connsiteX18" fmla="*/ 35166 w 73323"/>
                  <a:gd name="connsiteY18" fmla="*/ 10526 h 26913"/>
                  <a:gd name="connsiteX19" fmla="*/ 37858 w 73323"/>
                  <a:gd name="connsiteY19" fmla="*/ 11842 h 26913"/>
                  <a:gd name="connsiteX20" fmla="*/ 40549 w 73323"/>
                  <a:gd name="connsiteY20" fmla="*/ 13158 h 26913"/>
                  <a:gd name="connsiteX21" fmla="*/ 42224 w 73323"/>
                  <a:gd name="connsiteY21" fmla="*/ 13995 h 26913"/>
                  <a:gd name="connsiteX22" fmla="*/ 45035 w 73323"/>
                  <a:gd name="connsiteY22" fmla="*/ 14952 h 26913"/>
                  <a:gd name="connsiteX23" fmla="*/ 47846 w 73323"/>
                  <a:gd name="connsiteY23" fmla="*/ 15909 h 26913"/>
                  <a:gd name="connsiteX24" fmla="*/ 50657 w 73323"/>
                  <a:gd name="connsiteY24" fmla="*/ 16866 h 26913"/>
                  <a:gd name="connsiteX25" fmla="*/ 51793 w 73323"/>
                  <a:gd name="connsiteY25" fmla="*/ 17284 h 26913"/>
                  <a:gd name="connsiteX26" fmla="*/ 54544 w 73323"/>
                  <a:gd name="connsiteY26" fmla="*/ 18421 h 26913"/>
                  <a:gd name="connsiteX27" fmla="*/ 57295 w 73323"/>
                  <a:gd name="connsiteY27" fmla="*/ 19557 h 26913"/>
                  <a:gd name="connsiteX28" fmla="*/ 60046 w 73323"/>
                  <a:gd name="connsiteY28" fmla="*/ 20693 h 26913"/>
                  <a:gd name="connsiteX29" fmla="*/ 62798 w 73323"/>
                  <a:gd name="connsiteY29" fmla="*/ 21830 h 26913"/>
                  <a:gd name="connsiteX30" fmla="*/ 62977 w 73323"/>
                  <a:gd name="connsiteY30" fmla="*/ 21889 h 26913"/>
                  <a:gd name="connsiteX31" fmla="*/ 65668 w 73323"/>
                  <a:gd name="connsiteY31" fmla="*/ 23205 h 26913"/>
                  <a:gd name="connsiteX32" fmla="*/ 68360 w 73323"/>
                  <a:gd name="connsiteY32" fmla="*/ 24521 h 26913"/>
                  <a:gd name="connsiteX33" fmla="*/ 71051 w 73323"/>
                  <a:gd name="connsiteY33" fmla="*/ 25837 h 26913"/>
                  <a:gd name="connsiteX34" fmla="*/ 73323 w 73323"/>
                  <a:gd name="connsiteY34" fmla="*/ 26913 h 2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3323" h="26913">
                    <a:moveTo>
                      <a:pt x="0" y="1076"/>
                    </a:moveTo>
                    <a:lnTo>
                      <a:pt x="2033" y="3230"/>
                    </a:lnTo>
                    <a:lnTo>
                      <a:pt x="4067" y="5383"/>
                    </a:lnTo>
                    <a:lnTo>
                      <a:pt x="6100" y="7536"/>
                    </a:lnTo>
                    <a:lnTo>
                      <a:pt x="8074" y="9569"/>
                    </a:lnTo>
                    <a:lnTo>
                      <a:pt x="9509" y="7117"/>
                    </a:lnTo>
                    <a:lnTo>
                      <a:pt x="10287" y="5741"/>
                    </a:lnTo>
                    <a:lnTo>
                      <a:pt x="10586" y="5203"/>
                    </a:lnTo>
                    <a:lnTo>
                      <a:pt x="12021" y="2751"/>
                    </a:lnTo>
                    <a:lnTo>
                      <a:pt x="12260" y="2392"/>
                    </a:lnTo>
                    <a:lnTo>
                      <a:pt x="13636" y="0"/>
                    </a:lnTo>
                    <a:lnTo>
                      <a:pt x="16327" y="1316"/>
                    </a:lnTo>
                    <a:lnTo>
                      <a:pt x="19019" y="2632"/>
                    </a:lnTo>
                    <a:lnTo>
                      <a:pt x="21710" y="3947"/>
                    </a:lnTo>
                    <a:lnTo>
                      <a:pt x="24401" y="5263"/>
                    </a:lnTo>
                    <a:lnTo>
                      <a:pt x="27092" y="6579"/>
                    </a:lnTo>
                    <a:lnTo>
                      <a:pt x="29784" y="7895"/>
                    </a:lnTo>
                    <a:lnTo>
                      <a:pt x="32475" y="9210"/>
                    </a:lnTo>
                    <a:lnTo>
                      <a:pt x="35166" y="10526"/>
                    </a:lnTo>
                    <a:lnTo>
                      <a:pt x="37858" y="11842"/>
                    </a:lnTo>
                    <a:lnTo>
                      <a:pt x="40549" y="13158"/>
                    </a:lnTo>
                    <a:lnTo>
                      <a:pt x="42224" y="13995"/>
                    </a:lnTo>
                    <a:lnTo>
                      <a:pt x="45035" y="14952"/>
                    </a:lnTo>
                    <a:lnTo>
                      <a:pt x="47846" y="15909"/>
                    </a:lnTo>
                    <a:lnTo>
                      <a:pt x="50657" y="16866"/>
                    </a:lnTo>
                    <a:lnTo>
                      <a:pt x="51793" y="17284"/>
                    </a:lnTo>
                    <a:lnTo>
                      <a:pt x="54544" y="18421"/>
                    </a:lnTo>
                    <a:lnTo>
                      <a:pt x="57295" y="19557"/>
                    </a:lnTo>
                    <a:lnTo>
                      <a:pt x="60046" y="20693"/>
                    </a:lnTo>
                    <a:lnTo>
                      <a:pt x="62798" y="21830"/>
                    </a:lnTo>
                    <a:lnTo>
                      <a:pt x="62977" y="21889"/>
                    </a:lnTo>
                    <a:lnTo>
                      <a:pt x="65668" y="23205"/>
                    </a:lnTo>
                    <a:lnTo>
                      <a:pt x="68360" y="24521"/>
                    </a:lnTo>
                    <a:lnTo>
                      <a:pt x="71051" y="25837"/>
                    </a:lnTo>
                    <a:lnTo>
                      <a:pt x="73323" y="26913"/>
                    </a:lnTo>
                  </a:path>
                </a:pathLst>
              </a:custGeom>
              <a:noFill/>
              <a:ln w="6350" cap="rnd">
                <a:solidFill>
                  <a:schemeClr val="bg1">
                    <a:alpha val="80000"/>
                  </a:schemeClr>
                </a:solidFill>
                <a:prstDash val="solid"/>
                <a:round/>
              </a:ln>
            </p:spPr>
            <p:txBody>
              <a:bodyPr rtlCol="0" anchor="ctr"/>
              <a:lstStyle/>
              <a:p>
                <a:endParaRPr lang="en-GB"/>
              </a:p>
            </p:txBody>
          </p:sp>
          <p:sp>
            <p:nvSpPr>
              <p:cNvPr id="5406" name="Vrije vorm: vorm 5405">
                <a:extLst>
                  <a:ext uri="{FF2B5EF4-FFF2-40B4-BE49-F238E27FC236}">
                    <a16:creationId xmlns:a16="http://schemas.microsoft.com/office/drawing/2014/main" id="{00C55AD7-3AC3-4A99-8AA9-75285866512F}"/>
                  </a:ext>
                </a:extLst>
              </p:cNvPr>
              <p:cNvSpPr/>
              <p:nvPr/>
            </p:nvSpPr>
            <p:spPr>
              <a:xfrm>
                <a:off x="6378639" y="1763097"/>
                <a:ext cx="16327" cy="16207"/>
              </a:xfrm>
              <a:custGeom>
                <a:avLst/>
                <a:gdLst>
                  <a:gd name="connsiteX0" fmla="*/ 9629 w 16327"/>
                  <a:gd name="connsiteY0" fmla="*/ 16208 h 16207"/>
                  <a:gd name="connsiteX1" fmla="*/ 7715 w 16327"/>
                  <a:gd name="connsiteY1" fmla="*/ 13995 h 16207"/>
                  <a:gd name="connsiteX2" fmla="*/ 6340 w 16327"/>
                  <a:gd name="connsiteY2" fmla="*/ 12440 h 16207"/>
                  <a:gd name="connsiteX3" fmla="*/ 4426 w 16327"/>
                  <a:gd name="connsiteY3" fmla="*/ 10227 h 16207"/>
                  <a:gd name="connsiteX4" fmla="*/ 2512 w 16327"/>
                  <a:gd name="connsiteY4" fmla="*/ 8014 h 16207"/>
                  <a:gd name="connsiteX5" fmla="*/ 598 w 16327"/>
                  <a:gd name="connsiteY5" fmla="*/ 5801 h 16207"/>
                  <a:gd name="connsiteX6" fmla="*/ 0 w 16327"/>
                  <a:gd name="connsiteY6" fmla="*/ 5143 h 16207"/>
                  <a:gd name="connsiteX7" fmla="*/ 299 w 16327"/>
                  <a:gd name="connsiteY7" fmla="*/ 4605 h 16207"/>
                  <a:gd name="connsiteX8" fmla="*/ 1734 w 16327"/>
                  <a:gd name="connsiteY8" fmla="*/ 2153 h 16207"/>
                  <a:gd name="connsiteX9" fmla="*/ 2990 w 16327"/>
                  <a:gd name="connsiteY9" fmla="*/ 0 h 16207"/>
                  <a:gd name="connsiteX10" fmla="*/ 5682 w 16327"/>
                  <a:gd name="connsiteY10" fmla="*/ 1256 h 16207"/>
                  <a:gd name="connsiteX11" fmla="*/ 8373 w 16327"/>
                  <a:gd name="connsiteY11" fmla="*/ 2512 h 16207"/>
                  <a:gd name="connsiteX12" fmla="*/ 11064 w 16327"/>
                  <a:gd name="connsiteY12" fmla="*/ 3768 h 16207"/>
                  <a:gd name="connsiteX13" fmla="*/ 13756 w 16327"/>
                  <a:gd name="connsiteY13" fmla="*/ 5024 h 16207"/>
                  <a:gd name="connsiteX14" fmla="*/ 16327 w 16327"/>
                  <a:gd name="connsiteY14" fmla="*/ 6220 h 1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27" h="16207">
                    <a:moveTo>
                      <a:pt x="9629" y="16208"/>
                    </a:moveTo>
                    <a:lnTo>
                      <a:pt x="7715" y="13995"/>
                    </a:lnTo>
                    <a:lnTo>
                      <a:pt x="6340" y="12440"/>
                    </a:lnTo>
                    <a:lnTo>
                      <a:pt x="4426" y="10227"/>
                    </a:lnTo>
                    <a:lnTo>
                      <a:pt x="2512" y="8014"/>
                    </a:lnTo>
                    <a:lnTo>
                      <a:pt x="598" y="5801"/>
                    </a:lnTo>
                    <a:lnTo>
                      <a:pt x="0" y="5143"/>
                    </a:lnTo>
                    <a:lnTo>
                      <a:pt x="299" y="4605"/>
                    </a:lnTo>
                    <a:lnTo>
                      <a:pt x="1734" y="2153"/>
                    </a:lnTo>
                    <a:lnTo>
                      <a:pt x="2990" y="0"/>
                    </a:lnTo>
                    <a:lnTo>
                      <a:pt x="5682" y="1256"/>
                    </a:lnTo>
                    <a:lnTo>
                      <a:pt x="8373" y="2512"/>
                    </a:lnTo>
                    <a:lnTo>
                      <a:pt x="11064" y="3768"/>
                    </a:lnTo>
                    <a:lnTo>
                      <a:pt x="13756" y="5024"/>
                    </a:lnTo>
                    <a:lnTo>
                      <a:pt x="16327" y="6220"/>
                    </a:lnTo>
                  </a:path>
                </a:pathLst>
              </a:custGeom>
              <a:noFill/>
              <a:ln w="6350" cap="rnd">
                <a:solidFill>
                  <a:schemeClr val="bg1">
                    <a:alpha val="80000"/>
                  </a:schemeClr>
                </a:solidFill>
                <a:prstDash val="solid"/>
                <a:round/>
              </a:ln>
            </p:spPr>
            <p:txBody>
              <a:bodyPr rtlCol="0" anchor="ctr"/>
              <a:lstStyle/>
              <a:p>
                <a:endParaRPr lang="en-GB"/>
              </a:p>
            </p:txBody>
          </p:sp>
          <p:sp>
            <p:nvSpPr>
              <p:cNvPr id="5407" name="Vrije vorm: vorm 5406">
                <a:extLst>
                  <a:ext uri="{FF2B5EF4-FFF2-40B4-BE49-F238E27FC236}">
                    <a16:creationId xmlns:a16="http://schemas.microsoft.com/office/drawing/2014/main" id="{81AC9443-9815-49C2-BDDC-3FC7A5F27C73}"/>
                  </a:ext>
                </a:extLst>
              </p:cNvPr>
              <p:cNvSpPr/>
              <p:nvPr/>
            </p:nvSpPr>
            <p:spPr>
              <a:xfrm>
                <a:off x="6391019" y="1769556"/>
                <a:ext cx="657" cy="1076"/>
              </a:xfrm>
              <a:custGeom>
                <a:avLst/>
                <a:gdLst>
                  <a:gd name="connsiteX0" fmla="*/ 658 w 657"/>
                  <a:gd name="connsiteY0" fmla="*/ 0 h 1076"/>
                  <a:gd name="connsiteX1" fmla="*/ 0 w 657"/>
                  <a:gd name="connsiteY1" fmla="*/ 1077 h 1076"/>
                </a:gdLst>
                <a:ahLst/>
                <a:cxnLst>
                  <a:cxn ang="0">
                    <a:pos x="connsiteX0" y="connsiteY0"/>
                  </a:cxn>
                  <a:cxn ang="0">
                    <a:pos x="connsiteX1" y="connsiteY1"/>
                  </a:cxn>
                </a:cxnLst>
                <a:rect l="l" t="t" r="r" b="b"/>
                <a:pathLst>
                  <a:path w="657" h="1076">
                    <a:moveTo>
                      <a:pt x="658" y="0"/>
                    </a:moveTo>
                    <a:lnTo>
                      <a:pt x="0" y="1077"/>
                    </a:lnTo>
                  </a:path>
                </a:pathLst>
              </a:custGeom>
              <a:noFill/>
              <a:ln w="6350" cap="rnd">
                <a:solidFill>
                  <a:schemeClr val="bg1">
                    <a:alpha val="80000"/>
                  </a:schemeClr>
                </a:solidFill>
                <a:prstDash val="solid"/>
                <a:round/>
              </a:ln>
            </p:spPr>
            <p:txBody>
              <a:bodyPr rtlCol="0" anchor="ctr"/>
              <a:lstStyle/>
              <a:p>
                <a:endParaRPr lang="en-GB"/>
              </a:p>
            </p:txBody>
          </p:sp>
          <p:sp>
            <p:nvSpPr>
              <p:cNvPr id="5408" name="Vrije vorm: vorm 5407">
                <a:extLst>
                  <a:ext uri="{FF2B5EF4-FFF2-40B4-BE49-F238E27FC236}">
                    <a16:creationId xmlns:a16="http://schemas.microsoft.com/office/drawing/2014/main" id="{1915275A-4374-459B-B1F7-953E428DCF29}"/>
                  </a:ext>
                </a:extLst>
              </p:cNvPr>
              <p:cNvSpPr/>
              <p:nvPr/>
            </p:nvSpPr>
            <p:spPr>
              <a:xfrm>
                <a:off x="6388806" y="1768480"/>
                <a:ext cx="5023" cy="3169"/>
              </a:xfrm>
              <a:custGeom>
                <a:avLst/>
                <a:gdLst>
                  <a:gd name="connsiteX0" fmla="*/ 5024 w 5023"/>
                  <a:gd name="connsiteY0" fmla="*/ 2632 h 3169"/>
                  <a:gd name="connsiteX1" fmla="*/ 2871 w 5023"/>
                  <a:gd name="connsiteY1" fmla="*/ 1076 h 3169"/>
                  <a:gd name="connsiteX2" fmla="*/ 299 w 5023"/>
                  <a:gd name="connsiteY2" fmla="*/ 0 h 3169"/>
                  <a:gd name="connsiteX3" fmla="*/ 0 w 5023"/>
                  <a:gd name="connsiteY3" fmla="*/ 538 h 3169"/>
                  <a:gd name="connsiteX4" fmla="*/ 2213 w 5023"/>
                  <a:gd name="connsiteY4" fmla="*/ 2153 h 3169"/>
                  <a:gd name="connsiteX5" fmla="*/ 2272 w 5023"/>
                  <a:gd name="connsiteY5" fmla="*/ 2153 h 3169"/>
                  <a:gd name="connsiteX6" fmla="*/ 4725 w 5023"/>
                  <a:gd name="connsiteY6" fmla="*/ 3170 h 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3169">
                    <a:moveTo>
                      <a:pt x="5024" y="2632"/>
                    </a:moveTo>
                    <a:lnTo>
                      <a:pt x="2871" y="1076"/>
                    </a:lnTo>
                    <a:lnTo>
                      <a:pt x="299" y="0"/>
                    </a:lnTo>
                    <a:lnTo>
                      <a:pt x="0" y="538"/>
                    </a:lnTo>
                    <a:lnTo>
                      <a:pt x="2213" y="2153"/>
                    </a:lnTo>
                    <a:lnTo>
                      <a:pt x="2272" y="2153"/>
                    </a:lnTo>
                    <a:lnTo>
                      <a:pt x="4725" y="3170"/>
                    </a:lnTo>
                  </a:path>
                </a:pathLst>
              </a:custGeom>
              <a:noFill/>
              <a:ln w="6350" cap="rnd">
                <a:solidFill>
                  <a:schemeClr val="bg1">
                    <a:alpha val="80000"/>
                  </a:schemeClr>
                </a:solidFill>
                <a:prstDash val="solid"/>
                <a:round/>
              </a:ln>
            </p:spPr>
            <p:txBody>
              <a:bodyPr rtlCol="0" anchor="ctr"/>
              <a:lstStyle/>
              <a:p>
                <a:endParaRPr lang="en-GB"/>
              </a:p>
            </p:txBody>
          </p:sp>
          <p:sp>
            <p:nvSpPr>
              <p:cNvPr id="5409" name="Vrije vorm: vorm 5408">
                <a:extLst>
                  <a:ext uri="{FF2B5EF4-FFF2-40B4-BE49-F238E27FC236}">
                    <a16:creationId xmlns:a16="http://schemas.microsoft.com/office/drawing/2014/main" id="{3BBC5A9B-9A9A-4F8F-B1EC-9E152F615DF7}"/>
                  </a:ext>
                </a:extLst>
              </p:cNvPr>
              <p:cNvSpPr/>
              <p:nvPr/>
            </p:nvSpPr>
            <p:spPr>
              <a:xfrm>
                <a:off x="6381569" y="1763037"/>
                <a:ext cx="9867" cy="11064"/>
              </a:xfrm>
              <a:custGeom>
                <a:avLst/>
                <a:gdLst>
                  <a:gd name="connsiteX0" fmla="*/ 0 w 9867"/>
                  <a:gd name="connsiteY0" fmla="*/ 0 h 11064"/>
                  <a:gd name="connsiteX1" fmla="*/ 1974 w 9867"/>
                  <a:gd name="connsiteY1" fmla="*/ 2213 h 11064"/>
                  <a:gd name="connsiteX2" fmla="*/ 3947 w 9867"/>
                  <a:gd name="connsiteY2" fmla="*/ 4426 h 11064"/>
                  <a:gd name="connsiteX3" fmla="*/ 5921 w 9867"/>
                  <a:gd name="connsiteY3" fmla="*/ 6639 h 11064"/>
                  <a:gd name="connsiteX4" fmla="*/ 6519 w 9867"/>
                  <a:gd name="connsiteY4" fmla="*/ 7296 h 11064"/>
                  <a:gd name="connsiteX5" fmla="*/ 8493 w 9867"/>
                  <a:gd name="connsiteY5" fmla="*/ 9509 h 11064"/>
                  <a:gd name="connsiteX6" fmla="*/ 9868 w 9867"/>
                  <a:gd name="connsiteY6" fmla="*/ 11064 h 1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67" h="11064">
                    <a:moveTo>
                      <a:pt x="0" y="0"/>
                    </a:moveTo>
                    <a:lnTo>
                      <a:pt x="1974" y="2213"/>
                    </a:lnTo>
                    <a:lnTo>
                      <a:pt x="3947" y="4426"/>
                    </a:lnTo>
                    <a:lnTo>
                      <a:pt x="5921" y="6639"/>
                    </a:lnTo>
                    <a:lnTo>
                      <a:pt x="6519" y="7296"/>
                    </a:lnTo>
                    <a:lnTo>
                      <a:pt x="8493" y="9509"/>
                    </a:lnTo>
                    <a:lnTo>
                      <a:pt x="9868" y="11064"/>
                    </a:lnTo>
                  </a:path>
                </a:pathLst>
              </a:custGeom>
              <a:noFill/>
              <a:ln w="6350" cap="rnd">
                <a:solidFill>
                  <a:schemeClr val="bg1">
                    <a:alpha val="80000"/>
                  </a:schemeClr>
                </a:solidFill>
                <a:prstDash val="solid"/>
                <a:round/>
              </a:ln>
            </p:spPr>
            <p:txBody>
              <a:bodyPr rtlCol="0" anchor="ctr"/>
              <a:lstStyle/>
              <a:p>
                <a:endParaRPr lang="en-GB"/>
              </a:p>
            </p:txBody>
          </p:sp>
          <p:sp>
            <p:nvSpPr>
              <p:cNvPr id="5410" name="Vrije vorm: vorm 5409">
                <a:extLst>
                  <a:ext uri="{FF2B5EF4-FFF2-40B4-BE49-F238E27FC236}">
                    <a16:creationId xmlns:a16="http://schemas.microsoft.com/office/drawing/2014/main" id="{4D3F4052-D03B-4748-A4AC-D5703F07AFD2}"/>
                  </a:ext>
                </a:extLst>
              </p:cNvPr>
              <p:cNvSpPr/>
              <p:nvPr/>
            </p:nvSpPr>
            <p:spPr>
              <a:xfrm>
                <a:off x="6388268" y="1773982"/>
                <a:ext cx="3827" cy="5322"/>
              </a:xfrm>
              <a:custGeom>
                <a:avLst/>
                <a:gdLst>
                  <a:gd name="connsiteX0" fmla="*/ 718 w 3827"/>
                  <a:gd name="connsiteY0" fmla="*/ 5323 h 5322"/>
                  <a:gd name="connsiteX1" fmla="*/ 0 w 3827"/>
                  <a:gd name="connsiteY1" fmla="*/ 5323 h 5322"/>
                  <a:gd name="connsiteX2" fmla="*/ 1435 w 3827"/>
                  <a:gd name="connsiteY2" fmla="*/ 2871 h 5322"/>
                  <a:gd name="connsiteX3" fmla="*/ 2871 w 3827"/>
                  <a:gd name="connsiteY3" fmla="*/ 419 h 5322"/>
                  <a:gd name="connsiteX4" fmla="*/ 3110 w 3827"/>
                  <a:gd name="connsiteY4" fmla="*/ 0 h 5322"/>
                  <a:gd name="connsiteX5" fmla="*/ 3110 w 3827"/>
                  <a:gd name="connsiteY5" fmla="*/ 0 h 5322"/>
                  <a:gd name="connsiteX6" fmla="*/ 3828 w 3827"/>
                  <a:gd name="connsiteY6" fmla="*/ 0 h 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7" h="5322">
                    <a:moveTo>
                      <a:pt x="718" y="5323"/>
                    </a:moveTo>
                    <a:lnTo>
                      <a:pt x="0" y="5323"/>
                    </a:lnTo>
                    <a:lnTo>
                      <a:pt x="1435" y="2871"/>
                    </a:lnTo>
                    <a:lnTo>
                      <a:pt x="2871" y="419"/>
                    </a:lnTo>
                    <a:lnTo>
                      <a:pt x="3110" y="0"/>
                    </a:lnTo>
                    <a:lnTo>
                      <a:pt x="3110" y="0"/>
                    </a:lnTo>
                    <a:lnTo>
                      <a:pt x="3828" y="0"/>
                    </a:lnTo>
                  </a:path>
                </a:pathLst>
              </a:custGeom>
              <a:noFill/>
              <a:ln w="6350" cap="rnd">
                <a:solidFill>
                  <a:schemeClr val="bg1">
                    <a:alpha val="80000"/>
                  </a:schemeClr>
                </a:solidFill>
                <a:prstDash val="solid"/>
                <a:round/>
              </a:ln>
            </p:spPr>
            <p:txBody>
              <a:bodyPr rtlCol="0" anchor="ctr"/>
              <a:lstStyle/>
              <a:p>
                <a:endParaRPr lang="en-GB"/>
              </a:p>
            </p:txBody>
          </p:sp>
          <p:sp>
            <p:nvSpPr>
              <p:cNvPr id="5411" name="Vrije vorm: vorm 5410">
                <a:extLst>
                  <a:ext uri="{FF2B5EF4-FFF2-40B4-BE49-F238E27FC236}">
                    <a16:creationId xmlns:a16="http://schemas.microsoft.com/office/drawing/2014/main" id="{0130E491-51EF-4A33-9EE1-32191D6870D6}"/>
                  </a:ext>
                </a:extLst>
              </p:cNvPr>
              <p:cNvSpPr/>
              <p:nvPr/>
            </p:nvSpPr>
            <p:spPr>
              <a:xfrm>
                <a:off x="6407047" y="1668243"/>
                <a:ext cx="1375" cy="1913"/>
              </a:xfrm>
              <a:custGeom>
                <a:avLst/>
                <a:gdLst>
                  <a:gd name="connsiteX0" fmla="*/ 419 w 1375"/>
                  <a:gd name="connsiteY0" fmla="*/ 1914 h 1913"/>
                  <a:gd name="connsiteX1" fmla="*/ 119 w 1375"/>
                  <a:gd name="connsiteY1" fmla="*/ 1734 h 1913"/>
                  <a:gd name="connsiteX2" fmla="*/ 60 w 1375"/>
                  <a:gd name="connsiteY2" fmla="*/ 1615 h 1913"/>
                  <a:gd name="connsiteX3" fmla="*/ 0 w 1375"/>
                  <a:gd name="connsiteY3" fmla="*/ 1495 h 1913"/>
                  <a:gd name="connsiteX4" fmla="*/ 0 w 1375"/>
                  <a:gd name="connsiteY4" fmla="*/ 1435 h 1913"/>
                  <a:gd name="connsiteX5" fmla="*/ 0 w 1375"/>
                  <a:gd name="connsiteY5" fmla="*/ 1316 h 1913"/>
                  <a:gd name="connsiteX6" fmla="*/ 60 w 1375"/>
                  <a:gd name="connsiteY6" fmla="*/ 1077 h 1913"/>
                  <a:gd name="connsiteX7" fmla="*/ 119 w 1375"/>
                  <a:gd name="connsiteY7" fmla="*/ 837 h 1913"/>
                  <a:gd name="connsiteX8" fmla="*/ 239 w 1375"/>
                  <a:gd name="connsiteY8" fmla="*/ 598 h 1913"/>
                  <a:gd name="connsiteX9" fmla="*/ 359 w 1375"/>
                  <a:gd name="connsiteY9" fmla="*/ 359 h 1913"/>
                  <a:gd name="connsiteX10" fmla="*/ 419 w 1375"/>
                  <a:gd name="connsiteY10" fmla="*/ 239 h 1913"/>
                  <a:gd name="connsiteX11" fmla="*/ 478 w 1375"/>
                  <a:gd name="connsiteY11" fmla="*/ 180 h 1913"/>
                  <a:gd name="connsiteX12" fmla="*/ 658 w 1375"/>
                  <a:gd name="connsiteY12" fmla="*/ 60 h 1913"/>
                  <a:gd name="connsiteX13" fmla="*/ 837 w 1375"/>
                  <a:gd name="connsiteY13" fmla="*/ 0 h 1913"/>
                  <a:gd name="connsiteX14" fmla="*/ 897 w 1375"/>
                  <a:gd name="connsiteY14" fmla="*/ 0 h 1913"/>
                  <a:gd name="connsiteX15" fmla="*/ 957 w 1375"/>
                  <a:gd name="connsiteY15" fmla="*/ 0 h 1913"/>
                  <a:gd name="connsiteX16" fmla="*/ 1076 w 1375"/>
                  <a:gd name="connsiteY16" fmla="*/ 60 h 1913"/>
                  <a:gd name="connsiteX17" fmla="*/ 1375 w 1375"/>
                  <a:gd name="connsiteY17" fmla="*/ 239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5" h="1913">
                    <a:moveTo>
                      <a:pt x="419" y="1914"/>
                    </a:moveTo>
                    <a:lnTo>
                      <a:pt x="119" y="1734"/>
                    </a:lnTo>
                    <a:lnTo>
                      <a:pt x="60" y="1615"/>
                    </a:lnTo>
                    <a:lnTo>
                      <a:pt x="0" y="1495"/>
                    </a:lnTo>
                    <a:lnTo>
                      <a:pt x="0" y="1435"/>
                    </a:lnTo>
                    <a:lnTo>
                      <a:pt x="0" y="1316"/>
                    </a:lnTo>
                    <a:lnTo>
                      <a:pt x="60" y="1077"/>
                    </a:lnTo>
                    <a:lnTo>
                      <a:pt x="119" y="837"/>
                    </a:lnTo>
                    <a:lnTo>
                      <a:pt x="239" y="598"/>
                    </a:lnTo>
                    <a:lnTo>
                      <a:pt x="359" y="359"/>
                    </a:lnTo>
                    <a:lnTo>
                      <a:pt x="419" y="239"/>
                    </a:lnTo>
                    <a:lnTo>
                      <a:pt x="478" y="180"/>
                    </a:lnTo>
                    <a:lnTo>
                      <a:pt x="658" y="60"/>
                    </a:lnTo>
                    <a:lnTo>
                      <a:pt x="837" y="0"/>
                    </a:lnTo>
                    <a:lnTo>
                      <a:pt x="897" y="0"/>
                    </a:lnTo>
                    <a:lnTo>
                      <a:pt x="957" y="0"/>
                    </a:lnTo>
                    <a:lnTo>
                      <a:pt x="1076" y="60"/>
                    </a:lnTo>
                    <a:lnTo>
                      <a:pt x="1375" y="239"/>
                    </a:lnTo>
                  </a:path>
                </a:pathLst>
              </a:custGeom>
              <a:noFill/>
              <a:ln w="6350" cap="rnd">
                <a:solidFill>
                  <a:schemeClr val="bg1">
                    <a:alpha val="80000"/>
                  </a:schemeClr>
                </a:solidFill>
                <a:prstDash val="solid"/>
                <a:round/>
              </a:ln>
            </p:spPr>
            <p:txBody>
              <a:bodyPr rtlCol="0" anchor="ctr"/>
              <a:lstStyle/>
              <a:p>
                <a:endParaRPr lang="en-GB"/>
              </a:p>
            </p:txBody>
          </p:sp>
          <p:sp>
            <p:nvSpPr>
              <p:cNvPr id="5412" name="Vrije vorm: vorm 5411">
                <a:extLst>
                  <a:ext uri="{FF2B5EF4-FFF2-40B4-BE49-F238E27FC236}">
                    <a16:creationId xmlns:a16="http://schemas.microsoft.com/office/drawing/2014/main" id="{B85C52AF-018C-4C79-8E4A-79381D4EB825}"/>
                  </a:ext>
                </a:extLst>
              </p:cNvPr>
              <p:cNvSpPr/>
              <p:nvPr/>
            </p:nvSpPr>
            <p:spPr>
              <a:xfrm>
                <a:off x="6406090" y="1667645"/>
                <a:ext cx="1196" cy="1854"/>
              </a:xfrm>
              <a:custGeom>
                <a:avLst/>
                <a:gdLst>
                  <a:gd name="connsiteX0" fmla="*/ 120 w 1196"/>
                  <a:gd name="connsiteY0" fmla="*/ 1675 h 1854"/>
                  <a:gd name="connsiteX1" fmla="*/ 239 w 1196"/>
                  <a:gd name="connsiteY1" fmla="*/ 1734 h 1854"/>
                  <a:gd name="connsiteX2" fmla="*/ 359 w 1196"/>
                  <a:gd name="connsiteY2" fmla="*/ 1734 h 1854"/>
                  <a:gd name="connsiteX3" fmla="*/ 538 w 1196"/>
                  <a:gd name="connsiteY3" fmla="*/ 1675 h 1854"/>
                  <a:gd name="connsiteX4" fmla="*/ 718 w 1196"/>
                  <a:gd name="connsiteY4" fmla="*/ 1555 h 1854"/>
                  <a:gd name="connsiteX5" fmla="*/ 778 w 1196"/>
                  <a:gd name="connsiteY5" fmla="*/ 1495 h 1854"/>
                  <a:gd name="connsiteX6" fmla="*/ 837 w 1196"/>
                  <a:gd name="connsiteY6" fmla="*/ 1376 h 1854"/>
                  <a:gd name="connsiteX7" fmla="*/ 957 w 1196"/>
                  <a:gd name="connsiteY7" fmla="*/ 1136 h 1854"/>
                  <a:gd name="connsiteX8" fmla="*/ 1076 w 1196"/>
                  <a:gd name="connsiteY8" fmla="*/ 897 h 1854"/>
                  <a:gd name="connsiteX9" fmla="*/ 1136 w 1196"/>
                  <a:gd name="connsiteY9" fmla="*/ 718 h 1854"/>
                  <a:gd name="connsiteX10" fmla="*/ 1136 w 1196"/>
                  <a:gd name="connsiteY10" fmla="*/ 718 h 1854"/>
                  <a:gd name="connsiteX11" fmla="*/ 1196 w 1196"/>
                  <a:gd name="connsiteY11" fmla="*/ 478 h 1854"/>
                  <a:gd name="connsiteX12" fmla="*/ 1196 w 1196"/>
                  <a:gd name="connsiteY12" fmla="*/ 299 h 1854"/>
                  <a:gd name="connsiteX13" fmla="*/ 1196 w 1196"/>
                  <a:gd name="connsiteY13" fmla="*/ 239 h 1854"/>
                  <a:gd name="connsiteX14" fmla="*/ 1196 w 1196"/>
                  <a:gd name="connsiteY14" fmla="*/ 179 h 1854"/>
                  <a:gd name="connsiteX15" fmla="*/ 1136 w 1196"/>
                  <a:gd name="connsiteY15" fmla="*/ 60 h 1854"/>
                  <a:gd name="connsiteX16" fmla="*/ 1017 w 1196"/>
                  <a:gd name="connsiteY16" fmla="*/ 0 h 1854"/>
                  <a:gd name="connsiteX17" fmla="*/ 897 w 1196"/>
                  <a:gd name="connsiteY17" fmla="*/ 0 h 1854"/>
                  <a:gd name="connsiteX18" fmla="*/ 718 w 1196"/>
                  <a:gd name="connsiteY18" fmla="*/ 60 h 1854"/>
                  <a:gd name="connsiteX19" fmla="*/ 538 w 1196"/>
                  <a:gd name="connsiteY19" fmla="*/ 179 h 1854"/>
                  <a:gd name="connsiteX20" fmla="*/ 359 w 1196"/>
                  <a:gd name="connsiteY20" fmla="*/ 359 h 1854"/>
                  <a:gd name="connsiteX21" fmla="*/ 239 w 1196"/>
                  <a:gd name="connsiteY21" fmla="*/ 598 h 1854"/>
                  <a:gd name="connsiteX22" fmla="*/ 120 w 1196"/>
                  <a:gd name="connsiteY22" fmla="*/ 837 h 1854"/>
                  <a:gd name="connsiteX23" fmla="*/ 60 w 1196"/>
                  <a:gd name="connsiteY23" fmla="*/ 1076 h 1854"/>
                  <a:gd name="connsiteX24" fmla="*/ 0 w 1196"/>
                  <a:gd name="connsiteY24" fmla="*/ 1316 h 1854"/>
                  <a:gd name="connsiteX25" fmla="*/ 0 w 1196"/>
                  <a:gd name="connsiteY25" fmla="*/ 1495 h 1854"/>
                  <a:gd name="connsiteX26" fmla="*/ 60 w 1196"/>
                  <a:gd name="connsiteY26" fmla="*/ 1615 h 1854"/>
                  <a:gd name="connsiteX27" fmla="*/ 120 w 1196"/>
                  <a:gd name="connsiteY27" fmla="*/ 1675 h 1854"/>
                  <a:gd name="connsiteX28" fmla="*/ 419 w 1196"/>
                  <a:gd name="connsiteY28"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96" h="1854">
                    <a:moveTo>
                      <a:pt x="120" y="1675"/>
                    </a:moveTo>
                    <a:lnTo>
                      <a:pt x="239" y="1734"/>
                    </a:lnTo>
                    <a:lnTo>
                      <a:pt x="359" y="1734"/>
                    </a:lnTo>
                    <a:lnTo>
                      <a:pt x="538" y="1675"/>
                    </a:lnTo>
                    <a:lnTo>
                      <a:pt x="718" y="1555"/>
                    </a:lnTo>
                    <a:lnTo>
                      <a:pt x="778" y="1495"/>
                    </a:lnTo>
                    <a:lnTo>
                      <a:pt x="837" y="1376"/>
                    </a:lnTo>
                    <a:lnTo>
                      <a:pt x="957" y="1136"/>
                    </a:lnTo>
                    <a:lnTo>
                      <a:pt x="1076" y="897"/>
                    </a:lnTo>
                    <a:lnTo>
                      <a:pt x="1136" y="718"/>
                    </a:lnTo>
                    <a:lnTo>
                      <a:pt x="1136" y="718"/>
                    </a:lnTo>
                    <a:lnTo>
                      <a:pt x="1196" y="478"/>
                    </a:lnTo>
                    <a:lnTo>
                      <a:pt x="1196" y="299"/>
                    </a:lnTo>
                    <a:lnTo>
                      <a:pt x="1196" y="239"/>
                    </a:lnTo>
                    <a:lnTo>
                      <a:pt x="1196" y="179"/>
                    </a:lnTo>
                    <a:lnTo>
                      <a:pt x="1136" y="60"/>
                    </a:lnTo>
                    <a:lnTo>
                      <a:pt x="1017" y="0"/>
                    </a:lnTo>
                    <a:lnTo>
                      <a:pt x="897" y="0"/>
                    </a:lnTo>
                    <a:lnTo>
                      <a:pt x="718" y="60"/>
                    </a:lnTo>
                    <a:lnTo>
                      <a:pt x="538" y="179"/>
                    </a:lnTo>
                    <a:lnTo>
                      <a:pt x="359" y="359"/>
                    </a:lnTo>
                    <a:lnTo>
                      <a:pt x="239" y="598"/>
                    </a:lnTo>
                    <a:lnTo>
                      <a:pt x="120" y="837"/>
                    </a:lnTo>
                    <a:lnTo>
                      <a:pt x="60" y="1076"/>
                    </a:lnTo>
                    <a:lnTo>
                      <a:pt x="0" y="1316"/>
                    </a:lnTo>
                    <a:lnTo>
                      <a:pt x="0" y="1495"/>
                    </a:lnTo>
                    <a:lnTo>
                      <a:pt x="60" y="1615"/>
                    </a:lnTo>
                    <a:lnTo>
                      <a:pt x="120" y="1675"/>
                    </a:lnTo>
                    <a:lnTo>
                      <a:pt x="419" y="1854"/>
                    </a:lnTo>
                  </a:path>
                </a:pathLst>
              </a:custGeom>
              <a:noFill/>
              <a:ln w="6350" cap="rnd">
                <a:solidFill>
                  <a:schemeClr val="bg1">
                    <a:alpha val="80000"/>
                  </a:schemeClr>
                </a:solidFill>
                <a:prstDash val="solid"/>
                <a:round/>
              </a:ln>
            </p:spPr>
            <p:txBody>
              <a:bodyPr rtlCol="0" anchor="ctr"/>
              <a:lstStyle/>
              <a:p>
                <a:endParaRPr lang="en-GB"/>
              </a:p>
            </p:txBody>
          </p:sp>
          <p:sp>
            <p:nvSpPr>
              <p:cNvPr id="5413" name="Vrije vorm: vorm 5412">
                <a:extLst>
                  <a:ext uri="{FF2B5EF4-FFF2-40B4-BE49-F238E27FC236}">
                    <a16:creationId xmlns:a16="http://schemas.microsoft.com/office/drawing/2014/main" id="{A518DFF9-F5E2-4CAF-9944-510C1BD48D70}"/>
                  </a:ext>
                </a:extLst>
              </p:cNvPr>
              <p:cNvSpPr/>
              <p:nvPr/>
            </p:nvSpPr>
            <p:spPr>
              <a:xfrm>
                <a:off x="6407466" y="1667884"/>
                <a:ext cx="119" cy="657"/>
              </a:xfrm>
              <a:custGeom>
                <a:avLst/>
                <a:gdLst>
                  <a:gd name="connsiteX0" fmla="*/ 119 w 119"/>
                  <a:gd name="connsiteY0" fmla="*/ 0 h 657"/>
                  <a:gd name="connsiteX1" fmla="*/ 119 w 119"/>
                  <a:gd name="connsiteY1" fmla="*/ 60 h 657"/>
                  <a:gd name="connsiteX2" fmla="*/ 119 w 119"/>
                  <a:gd name="connsiteY2" fmla="*/ 120 h 657"/>
                  <a:gd name="connsiteX3" fmla="*/ 119 w 119"/>
                  <a:gd name="connsiteY3" fmla="*/ 299 h 657"/>
                  <a:gd name="connsiteX4" fmla="*/ 60 w 119"/>
                  <a:gd name="connsiteY4" fmla="*/ 538 h 657"/>
                  <a:gd name="connsiteX5" fmla="*/ 0 w 119"/>
                  <a:gd name="connsiteY5" fmla="*/ 658 h 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 h="657">
                    <a:moveTo>
                      <a:pt x="119" y="0"/>
                    </a:moveTo>
                    <a:lnTo>
                      <a:pt x="119" y="60"/>
                    </a:lnTo>
                    <a:lnTo>
                      <a:pt x="119" y="120"/>
                    </a:lnTo>
                    <a:lnTo>
                      <a:pt x="119" y="299"/>
                    </a:lnTo>
                    <a:lnTo>
                      <a:pt x="60" y="538"/>
                    </a:lnTo>
                    <a:lnTo>
                      <a:pt x="0" y="658"/>
                    </a:lnTo>
                  </a:path>
                </a:pathLst>
              </a:custGeom>
              <a:noFill/>
              <a:ln w="6350" cap="rnd">
                <a:solidFill>
                  <a:schemeClr val="bg1">
                    <a:alpha val="80000"/>
                  </a:schemeClr>
                </a:solidFill>
                <a:prstDash val="solid"/>
                <a:round/>
              </a:ln>
            </p:spPr>
            <p:txBody>
              <a:bodyPr rtlCol="0" anchor="ctr"/>
              <a:lstStyle/>
              <a:p>
                <a:endParaRPr lang="en-GB"/>
              </a:p>
            </p:txBody>
          </p:sp>
          <p:sp>
            <p:nvSpPr>
              <p:cNvPr id="5414" name="Vrije vorm: vorm 5413">
                <a:extLst>
                  <a:ext uri="{FF2B5EF4-FFF2-40B4-BE49-F238E27FC236}">
                    <a16:creationId xmlns:a16="http://schemas.microsoft.com/office/drawing/2014/main" id="{3F50CCCB-9051-44BE-B085-7676E0C249E1}"/>
                  </a:ext>
                </a:extLst>
              </p:cNvPr>
              <p:cNvSpPr/>
              <p:nvPr/>
            </p:nvSpPr>
            <p:spPr>
              <a:xfrm>
                <a:off x="6407227" y="1667645"/>
                <a:ext cx="298" cy="179"/>
              </a:xfrm>
              <a:custGeom>
                <a:avLst/>
                <a:gdLst>
                  <a:gd name="connsiteX0" fmla="*/ 0 w 298"/>
                  <a:gd name="connsiteY0" fmla="*/ 0 h 179"/>
                  <a:gd name="connsiteX1" fmla="*/ 299 w 298"/>
                  <a:gd name="connsiteY1" fmla="*/ 179 h 179"/>
                </a:gdLst>
                <a:ahLst/>
                <a:cxnLst>
                  <a:cxn ang="0">
                    <a:pos x="connsiteX0" y="connsiteY0"/>
                  </a:cxn>
                  <a:cxn ang="0">
                    <a:pos x="connsiteX1" y="connsiteY1"/>
                  </a:cxn>
                </a:cxnLst>
                <a:rect l="l" t="t" r="r" b="b"/>
                <a:pathLst>
                  <a:path w="298" h="179">
                    <a:moveTo>
                      <a:pt x="0" y="0"/>
                    </a:moveTo>
                    <a:lnTo>
                      <a:pt x="299" y="179"/>
                    </a:lnTo>
                  </a:path>
                </a:pathLst>
              </a:custGeom>
              <a:noFill/>
              <a:ln w="6350" cap="rnd">
                <a:solidFill>
                  <a:schemeClr val="bg1">
                    <a:alpha val="80000"/>
                  </a:schemeClr>
                </a:solidFill>
                <a:prstDash val="solid"/>
                <a:round/>
              </a:ln>
            </p:spPr>
            <p:txBody>
              <a:bodyPr rtlCol="0" anchor="ctr"/>
              <a:lstStyle/>
              <a:p>
                <a:endParaRPr lang="en-GB"/>
              </a:p>
            </p:txBody>
          </p:sp>
          <p:sp>
            <p:nvSpPr>
              <p:cNvPr id="5415" name="Vrije vorm: vorm 5414">
                <a:extLst>
                  <a:ext uri="{FF2B5EF4-FFF2-40B4-BE49-F238E27FC236}">
                    <a16:creationId xmlns:a16="http://schemas.microsoft.com/office/drawing/2014/main" id="{0E369BF2-DB05-4919-A61E-84941520200E}"/>
                  </a:ext>
                </a:extLst>
              </p:cNvPr>
              <p:cNvSpPr/>
              <p:nvPr/>
            </p:nvSpPr>
            <p:spPr>
              <a:xfrm>
                <a:off x="6406509" y="1669439"/>
                <a:ext cx="418" cy="59"/>
              </a:xfrm>
              <a:custGeom>
                <a:avLst/>
                <a:gdLst>
                  <a:gd name="connsiteX0" fmla="*/ 419 w 418"/>
                  <a:gd name="connsiteY0" fmla="*/ 0 h 59"/>
                  <a:gd name="connsiteX1" fmla="*/ 239 w 418"/>
                  <a:gd name="connsiteY1" fmla="*/ 60 h 59"/>
                  <a:gd name="connsiteX2" fmla="*/ 239 w 418"/>
                  <a:gd name="connsiteY2" fmla="*/ 60 h 59"/>
                  <a:gd name="connsiteX3" fmla="*/ 120 w 418"/>
                  <a:gd name="connsiteY3" fmla="*/ 60 h 59"/>
                  <a:gd name="connsiteX4" fmla="*/ 0 w 418"/>
                  <a:gd name="connsiteY4" fmla="*/ 0 h 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 h="59">
                    <a:moveTo>
                      <a:pt x="419" y="0"/>
                    </a:moveTo>
                    <a:lnTo>
                      <a:pt x="239" y="60"/>
                    </a:lnTo>
                    <a:lnTo>
                      <a:pt x="239" y="60"/>
                    </a:lnTo>
                    <a:lnTo>
                      <a:pt x="120" y="6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16" name="Vrije vorm: vorm 5415">
                <a:extLst>
                  <a:ext uri="{FF2B5EF4-FFF2-40B4-BE49-F238E27FC236}">
                    <a16:creationId xmlns:a16="http://schemas.microsoft.com/office/drawing/2014/main" id="{518CEE37-2809-4A93-B02D-07C97C48CE69}"/>
                  </a:ext>
                </a:extLst>
              </p:cNvPr>
              <p:cNvSpPr/>
              <p:nvPr/>
            </p:nvSpPr>
            <p:spPr>
              <a:xfrm>
                <a:off x="6405134" y="1671532"/>
                <a:ext cx="657" cy="239"/>
              </a:xfrm>
              <a:custGeom>
                <a:avLst/>
                <a:gdLst>
                  <a:gd name="connsiteX0" fmla="*/ 658 w 657"/>
                  <a:gd name="connsiteY0" fmla="*/ 0 h 239"/>
                  <a:gd name="connsiteX1" fmla="*/ 598 w 657"/>
                  <a:gd name="connsiteY1" fmla="*/ 60 h 239"/>
                  <a:gd name="connsiteX2" fmla="*/ 419 w 657"/>
                  <a:gd name="connsiteY2" fmla="*/ 179 h 239"/>
                  <a:gd name="connsiteX3" fmla="*/ 239 w 657"/>
                  <a:gd name="connsiteY3" fmla="*/ 239 h 239"/>
                  <a:gd name="connsiteX4" fmla="*/ 239 w 657"/>
                  <a:gd name="connsiteY4" fmla="*/ 239 h 239"/>
                  <a:gd name="connsiteX5" fmla="*/ 120 w 657"/>
                  <a:gd name="connsiteY5" fmla="*/ 239 h 239"/>
                  <a:gd name="connsiteX6" fmla="*/ 0 w 657"/>
                  <a:gd name="connsiteY6" fmla="*/ 179 h 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 h="239">
                    <a:moveTo>
                      <a:pt x="658" y="0"/>
                    </a:moveTo>
                    <a:lnTo>
                      <a:pt x="598" y="60"/>
                    </a:lnTo>
                    <a:lnTo>
                      <a:pt x="419" y="179"/>
                    </a:lnTo>
                    <a:lnTo>
                      <a:pt x="239" y="239"/>
                    </a:lnTo>
                    <a:lnTo>
                      <a:pt x="239" y="239"/>
                    </a:lnTo>
                    <a:lnTo>
                      <a:pt x="120" y="239"/>
                    </a:lnTo>
                    <a:lnTo>
                      <a:pt x="0" y="179"/>
                    </a:lnTo>
                  </a:path>
                </a:pathLst>
              </a:custGeom>
              <a:noFill/>
              <a:ln w="6350" cap="rnd">
                <a:solidFill>
                  <a:schemeClr val="bg1">
                    <a:alpha val="80000"/>
                  </a:schemeClr>
                </a:solidFill>
                <a:prstDash val="solid"/>
                <a:round/>
              </a:ln>
            </p:spPr>
            <p:txBody>
              <a:bodyPr rtlCol="0" anchor="ctr"/>
              <a:lstStyle/>
              <a:p>
                <a:endParaRPr lang="en-GB"/>
              </a:p>
            </p:txBody>
          </p:sp>
          <p:sp>
            <p:nvSpPr>
              <p:cNvPr id="5417" name="Vrije vorm: vorm 5416">
                <a:extLst>
                  <a:ext uri="{FF2B5EF4-FFF2-40B4-BE49-F238E27FC236}">
                    <a16:creationId xmlns:a16="http://schemas.microsoft.com/office/drawing/2014/main" id="{B31767EF-3EB0-4373-8CA7-4ECAAAD2CEF0}"/>
                  </a:ext>
                </a:extLst>
              </p:cNvPr>
              <p:cNvSpPr/>
              <p:nvPr/>
            </p:nvSpPr>
            <p:spPr>
              <a:xfrm>
                <a:off x="6404655" y="1669977"/>
                <a:ext cx="1256" cy="1854"/>
              </a:xfrm>
              <a:custGeom>
                <a:avLst/>
                <a:gdLst>
                  <a:gd name="connsiteX0" fmla="*/ 180 w 1256"/>
                  <a:gd name="connsiteY0" fmla="*/ 1675 h 1854"/>
                  <a:gd name="connsiteX1" fmla="*/ 299 w 1256"/>
                  <a:gd name="connsiteY1" fmla="*/ 1734 h 1854"/>
                  <a:gd name="connsiteX2" fmla="*/ 419 w 1256"/>
                  <a:gd name="connsiteY2" fmla="*/ 1734 h 1854"/>
                  <a:gd name="connsiteX3" fmla="*/ 419 w 1256"/>
                  <a:gd name="connsiteY3" fmla="*/ 1734 h 1854"/>
                  <a:gd name="connsiteX4" fmla="*/ 598 w 1256"/>
                  <a:gd name="connsiteY4" fmla="*/ 1675 h 1854"/>
                  <a:gd name="connsiteX5" fmla="*/ 778 w 1256"/>
                  <a:gd name="connsiteY5" fmla="*/ 1555 h 1854"/>
                  <a:gd name="connsiteX6" fmla="*/ 837 w 1256"/>
                  <a:gd name="connsiteY6" fmla="*/ 1495 h 1854"/>
                  <a:gd name="connsiteX7" fmla="*/ 897 w 1256"/>
                  <a:gd name="connsiteY7" fmla="*/ 1376 h 1854"/>
                  <a:gd name="connsiteX8" fmla="*/ 1017 w 1256"/>
                  <a:gd name="connsiteY8" fmla="*/ 1136 h 1854"/>
                  <a:gd name="connsiteX9" fmla="*/ 1136 w 1256"/>
                  <a:gd name="connsiteY9" fmla="*/ 897 h 1854"/>
                  <a:gd name="connsiteX10" fmla="*/ 1196 w 1256"/>
                  <a:gd name="connsiteY10" fmla="*/ 718 h 1854"/>
                  <a:gd name="connsiteX11" fmla="*/ 1196 w 1256"/>
                  <a:gd name="connsiteY11" fmla="*/ 718 h 1854"/>
                  <a:gd name="connsiteX12" fmla="*/ 1256 w 1256"/>
                  <a:gd name="connsiteY12" fmla="*/ 478 h 1854"/>
                  <a:gd name="connsiteX13" fmla="*/ 1256 w 1256"/>
                  <a:gd name="connsiteY13" fmla="*/ 299 h 1854"/>
                  <a:gd name="connsiteX14" fmla="*/ 1196 w 1256"/>
                  <a:gd name="connsiteY14" fmla="*/ 179 h 1854"/>
                  <a:gd name="connsiteX15" fmla="*/ 1136 w 1256"/>
                  <a:gd name="connsiteY15" fmla="*/ 60 h 1854"/>
                  <a:gd name="connsiteX16" fmla="*/ 1017 w 1256"/>
                  <a:gd name="connsiteY16" fmla="*/ 0 h 1854"/>
                  <a:gd name="connsiteX17" fmla="*/ 897 w 1256"/>
                  <a:gd name="connsiteY17" fmla="*/ 0 h 1854"/>
                  <a:gd name="connsiteX18" fmla="*/ 718 w 1256"/>
                  <a:gd name="connsiteY18" fmla="*/ 60 h 1854"/>
                  <a:gd name="connsiteX19" fmla="*/ 538 w 1256"/>
                  <a:gd name="connsiteY19" fmla="*/ 179 h 1854"/>
                  <a:gd name="connsiteX20" fmla="*/ 359 w 1256"/>
                  <a:gd name="connsiteY20" fmla="*/ 359 h 1854"/>
                  <a:gd name="connsiteX21" fmla="*/ 239 w 1256"/>
                  <a:gd name="connsiteY21" fmla="*/ 598 h 1854"/>
                  <a:gd name="connsiteX22" fmla="*/ 120 w 1256"/>
                  <a:gd name="connsiteY22" fmla="*/ 837 h 1854"/>
                  <a:gd name="connsiteX23" fmla="*/ 60 w 1256"/>
                  <a:gd name="connsiteY23" fmla="*/ 1076 h 1854"/>
                  <a:gd name="connsiteX24" fmla="*/ 0 w 1256"/>
                  <a:gd name="connsiteY24" fmla="*/ 1316 h 1854"/>
                  <a:gd name="connsiteX25" fmla="*/ 0 w 1256"/>
                  <a:gd name="connsiteY25" fmla="*/ 1316 h 1854"/>
                  <a:gd name="connsiteX26" fmla="*/ 0 w 1256"/>
                  <a:gd name="connsiteY26" fmla="*/ 1376 h 1854"/>
                  <a:gd name="connsiteX27" fmla="*/ 0 w 1256"/>
                  <a:gd name="connsiteY27" fmla="*/ 1495 h 1854"/>
                  <a:gd name="connsiteX28" fmla="*/ 60 w 1256"/>
                  <a:gd name="connsiteY28" fmla="*/ 1615 h 1854"/>
                  <a:gd name="connsiteX29" fmla="*/ 180 w 1256"/>
                  <a:gd name="connsiteY29" fmla="*/ 1675 h 1854"/>
                  <a:gd name="connsiteX30" fmla="*/ 180 w 1256"/>
                  <a:gd name="connsiteY30" fmla="*/ 1675 h 1854"/>
                  <a:gd name="connsiteX31" fmla="*/ 479 w 1256"/>
                  <a:gd name="connsiteY31"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56" h="1854">
                    <a:moveTo>
                      <a:pt x="180" y="1675"/>
                    </a:moveTo>
                    <a:lnTo>
                      <a:pt x="299" y="1734"/>
                    </a:lnTo>
                    <a:lnTo>
                      <a:pt x="419" y="1734"/>
                    </a:lnTo>
                    <a:lnTo>
                      <a:pt x="419" y="1734"/>
                    </a:lnTo>
                    <a:lnTo>
                      <a:pt x="598" y="1675"/>
                    </a:lnTo>
                    <a:lnTo>
                      <a:pt x="778" y="1555"/>
                    </a:lnTo>
                    <a:lnTo>
                      <a:pt x="837" y="1495"/>
                    </a:lnTo>
                    <a:lnTo>
                      <a:pt x="897" y="1376"/>
                    </a:lnTo>
                    <a:lnTo>
                      <a:pt x="1017" y="1136"/>
                    </a:lnTo>
                    <a:lnTo>
                      <a:pt x="1136" y="897"/>
                    </a:lnTo>
                    <a:lnTo>
                      <a:pt x="1196" y="718"/>
                    </a:lnTo>
                    <a:lnTo>
                      <a:pt x="1196" y="718"/>
                    </a:lnTo>
                    <a:lnTo>
                      <a:pt x="1256" y="478"/>
                    </a:lnTo>
                    <a:lnTo>
                      <a:pt x="1256" y="299"/>
                    </a:lnTo>
                    <a:lnTo>
                      <a:pt x="1196" y="179"/>
                    </a:lnTo>
                    <a:lnTo>
                      <a:pt x="1136" y="60"/>
                    </a:lnTo>
                    <a:lnTo>
                      <a:pt x="1017" y="0"/>
                    </a:lnTo>
                    <a:lnTo>
                      <a:pt x="897" y="0"/>
                    </a:lnTo>
                    <a:lnTo>
                      <a:pt x="718" y="60"/>
                    </a:lnTo>
                    <a:lnTo>
                      <a:pt x="538" y="179"/>
                    </a:lnTo>
                    <a:lnTo>
                      <a:pt x="359" y="359"/>
                    </a:lnTo>
                    <a:lnTo>
                      <a:pt x="239" y="598"/>
                    </a:lnTo>
                    <a:lnTo>
                      <a:pt x="120" y="837"/>
                    </a:lnTo>
                    <a:lnTo>
                      <a:pt x="60" y="1076"/>
                    </a:lnTo>
                    <a:lnTo>
                      <a:pt x="0" y="1316"/>
                    </a:lnTo>
                    <a:lnTo>
                      <a:pt x="0" y="1316"/>
                    </a:lnTo>
                    <a:lnTo>
                      <a:pt x="0" y="1376"/>
                    </a:lnTo>
                    <a:lnTo>
                      <a:pt x="0" y="1495"/>
                    </a:lnTo>
                    <a:lnTo>
                      <a:pt x="60" y="1615"/>
                    </a:lnTo>
                    <a:lnTo>
                      <a:pt x="180" y="1675"/>
                    </a:lnTo>
                    <a:lnTo>
                      <a:pt x="180" y="1675"/>
                    </a:lnTo>
                    <a:lnTo>
                      <a:pt x="479" y="1854"/>
                    </a:lnTo>
                  </a:path>
                </a:pathLst>
              </a:custGeom>
              <a:noFill/>
              <a:ln w="6350" cap="rnd">
                <a:solidFill>
                  <a:schemeClr val="bg1">
                    <a:alpha val="80000"/>
                  </a:schemeClr>
                </a:solidFill>
                <a:prstDash val="solid"/>
                <a:round/>
              </a:ln>
            </p:spPr>
            <p:txBody>
              <a:bodyPr rtlCol="0" anchor="ctr"/>
              <a:lstStyle/>
              <a:p>
                <a:endParaRPr lang="en-GB"/>
              </a:p>
            </p:txBody>
          </p:sp>
          <p:sp>
            <p:nvSpPr>
              <p:cNvPr id="5418" name="Vrije vorm: vorm 5417">
                <a:extLst>
                  <a:ext uri="{FF2B5EF4-FFF2-40B4-BE49-F238E27FC236}">
                    <a16:creationId xmlns:a16="http://schemas.microsoft.com/office/drawing/2014/main" id="{8AA6222E-1C7B-4DBA-8C0E-DCC8BDEB4C97}"/>
                  </a:ext>
                </a:extLst>
              </p:cNvPr>
              <p:cNvSpPr/>
              <p:nvPr/>
            </p:nvSpPr>
            <p:spPr>
              <a:xfrm>
                <a:off x="6406150" y="1670157"/>
                <a:ext cx="59" cy="418"/>
              </a:xfrm>
              <a:custGeom>
                <a:avLst/>
                <a:gdLst>
                  <a:gd name="connsiteX0" fmla="*/ 0 w 59"/>
                  <a:gd name="connsiteY0" fmla="*/ 0 h 418"/>
                  <a:gd name="connsiteX1" fmla="*/ 60 w 59"/>
                  <a:gd name="connsiteY1" fmla="*/ 120 h 418"/>
                  <a:gd name="connsiteX2" fmla="*/ 60 w 59"/>
                  <a:gd name="connsiteY2" fmla="*/ 179 h 418"/>
                  <a:gd name="connsiteX3" fmla="*/ 60 w 59"/>
                  <a:gd name="connsiteY3" fmla="*/ 239 h 418"/>
                  <a:gd name="connsiteX4" fmla="*/ 60 w 59"/>
                  <a:gd name="connsiteY4" fmla="*/ 419 h 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 h="418">
                    <a:moveTo>
                      <a:pt x="0" y="0"/>
                    </a:moveTo>
                    <a:lnTo>
                      <a:pt x="60" y="120"/>
                    </a:lnTo>
                    <a:lnTo>
                      <a:pt x="60" y="179"/>
                    </a:lnTo>
                    <a:lnTo>
                      <a:pt x="60" y="239"/>
                    </a:lnTo>
                    <a:lnTo>
                      <a:pt x="60" y="419"/>
                    </a:lnTo>
                  </a:path>
                </a:pathLst>
              </a:custGeom>
              <a:noFill/>
              <a:ln w="6350" cap="rnd">
                <a:solidFill>
                  <a:schemeClr val="bg1">
                    <a:alpha val="80000"/>
                  </a:schemeClr>
                </a:solidFill>
                <a:prstDash val="solid"/>
                <a:round/>
              </a:ln>
            </p:spPr>
            <p:txBody>
              <a:bodyPr rtlCol="0" anchor="ctr"/>
              <a:lstStyle/>
              <a:p>
                <a:endParaRPr lang="en-GB"/>
              </a:p>
            </p:txBody>
          </p:sp>
          <p:sp>
            <p:nvSpPr>
              <p:cNvPr id="5419" name="Vrije vorm: vorm 5418">
                <a:extLst>
                  <a:ext uri="{FF2B5EF4-FFF2-40B4-BE49-F238E27FC236}">
                    <a16:creationId xmlns:a16="http://schemas.microsoft.com/office/drawing/2014/main" id="{4EF9E1FE-36F7-4E03-8F29-D587E16B76B7}"/>
                  </a:ext>
                </a:extLst>
              </p:cNvPr>
              <p:cNvSpPr/>
              <p:nvPr/>
            </p:nvSpPr>
            <p:spPr>
              <a:xfrm>
                <a:off x="6405851" y="1669977"/>
                <a:ext cx="298" cy="179"/>
              </a:xfrm>
              <a:custGeom>
                <a:avLst/>
                <a:gdLst>
                  <a:gd name="connsiteX0" fmla="*/ 0 w 298"/>
                  <a:gd name="connsiteY0" fmla="*/ 0 h 179"/>
                  <a:gd name="connsiteX1" fmla="*/ 299 w 298"/>
                  <a:gd name="connsiteY1" fmla="*/ 179 h 179"/>
                </a:gdLst>
                <a:ahLst/>
                <a:cxnLst>
                  <a:cxn ang="0">
                    <a:pos x="connsiteX0" y="connsiteY0"/>
                  </a:cxn>
                  <a:cxn ang="0">
                    <a:pos x="connsiteX1" y="connsiteY1"/>
                  </a:cxn>
                </a:cxnLst>
                <a:rect l="l" t="t" r="r" b="b"/>
                <a:pathLst>
                  <a:path w="298" h="179">
                    <a:moveTo>
                      <a:pt x="0" y="0"/>
                    </a:moveTo>
                    <a:lnTo>
                      <a:pt x="299" y="179"/>
                    </a:lnTo>
                  </a:path>
                </a:pathLst>
              </a:custGeom>
              <a:noFill/>
              <a:ln w="6350" cap="rnd">
                <a:solidFill>
                  <a:schemeClr val="bg1">
                    <a:alpha val="80000"/>
                  </a:schemeClr>
                </a:solidFill>
                <a:prstDash val="solid"/>
                <a:round/>
              </a:ln>
            </p:spPr>
            <p:txBody>
              <a:bodyPr rtlCol="0" anchor="ctr"/>
              <a:lstStyle/>
              <a:p>
                <a:endParaRPr lang="en-GB"/>
              </a:p>
            </p:txBody>
          </p:sp>
          <p:sp>
            <p:nvSpPr>
              <p:cNvPr id="5420" name="Vrije vorm: vorm 5419">
                <a:extLst>
                  <a:ext uri="{FF2B5EF4-FFF2-40B4-BE49-F238E27FC236}">
                    <a16:creationId xmlns:a16="http://schemas.microsoft.com/office/drawing/2014/main" id="{C7E21CBF-E73F-49A2-9BC4-7B7AE773E5C7}"/>
                  </a:ext>
                </a:extLst>
              </p:cNvPr>
              <p:cNvSpPr/>
              <p:nvPr/>
            </p:nvSpPr>
            <p:spPr>
              <a:xfrm>
                <a:off x="6408303" y="1668063"/>
                <a:ext cx="777" cy="1016"/>
              </a:xfrm>
              <a:custGeom>
                <a:avLst/>
                <a:gdLst>
                  <a:gd name="connsiteX0" fmla="*/ 419 w 777"/>
                  <a:gd name="connsiteY0" fmla="*/ 1017 h 1016"/>
                  <a:gd name="connsiteX1" fmla="*/ 180 w 777"/>
                  <a:gd name="connsiteY1" fmla="*/ 897 h 1016"/>
                  <a:gd name="connsiteX2" fmla="*/ 60 w 777"/>
                  <a:gd name="connsiteY2" fmla="*/ 837 h 1016"/>
                  <a:gd name="connsiteX3" fmla="*/ 0 w 777"/>
                  <a:gd name="connsiteY3" fmla="*/ 778 h 1016"/>
                  <a:gd name="connsiteX4" fmla="*/ 0 w 777"/>
                  <a:gd name="connsiteY4" fmla="*/ 718 h 1016"/>
                  <a:gd name="connsiteX5" fmla="*/ 0 w 777"/>
                  <a:gd name="connsiteY5" fmla="*/ 658 h 1016"/>
                  <a:gd name="connsiteX6" fmla="*/ 0 w 777"/>
                  <a:gd name="connsiteY6" fmla="*/ 658 h 1016"/>
                  <a:gd name="connsiteX7" fmla="*/ 0 w 777"/>
                  <a:gd name="connsiteY7" fmla="*/ 538 h 1016"/>
                  <a:gd name="connsiteX8" fmla="*/ 60 w 777"/>
                  <a:gd name="connsiteY8" fmla="*/ 419 h 1016"/>
                  <a:gd name="connsiteX9" fmla="*/ 120 w 777"/>
                  <a:gd name="connsiteY9" fmla="*/ 359 h 1016"/>
                  <a:gd name="connsiteX10" fmla="*/ 120 w 777"/>
                  <a:gd name="connsiteY10" fmla="*/ 359 h 1016"/>
                  <a:gd name="connsiteX11" fmla="*/ 120 w 777"/>
                  <a:gd name="connsiteY11" fmla="*/ 299 h 1016"/>
                  <a:gd name="connsiteX12" fmla="*/ 180 w 777"/>
                  <a:gd name="connsiteY12" fmla="*/ 179 h 1016"/>
                  <a:gd name="connsiteX13" fmla="*/ 239 w 777"/>
                  <a:gd name="connsiteY13" fmla="*/ 120 h 1016"/>
                  <a:gd name="connsiteX14" fmla="*/ 299 w 777"/>
                  <a:gd name="connsiteY14" fmla="*/ 60 h 1016"/>
                  <a:gd name="connsiteX15" fmla="*/ 359 w 777"/>
                  <a:gd name="connsiteY15" fmla="*/ 0 h 1016"/>
                  <a:gd name="connsiteX16" fmla="*/ 419 w 777"/>
                  <a:gd name="connsiteY16" fmla="*/ 0 h 1016"/>
                  <a:gd name="connsiteX17" fmla="*/ 479 w 777"/>
                  <a:gd name="connsiteY17" fmla="*/ 0 h 1016"/>
                  <a:gd name="connsiteX18" fmla="*/ 778 w 777"/>
                  <a:gd name="connsiteY18" fmla="*/ 179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7" h="1016">
                    <a:moveTo>
                      <a:pt x="419" y="1017"/>
                    </a:moveTo>
                    <a:lnTo>
                      <a:pt x="180" y="897"/>
                    </a:lnTo>
                    <a:lnTo>
                      <a:pt x="60" y="837"/>
                    </a:lnTo>
                    <a:lnTo>
                      <a:pt x="0" y="778"/>
                    </a:lnTo>
                    <a:lnTo>
                      <a:pt x="0" y="718"/>
                    </a:lnTo>
                    <a:lnTo>
                      <a:pt x="0" y="658"/>
                    </a:lnTo>
                    <a:lnTo>
                      <a:pt x="0" y="658"/>
                    </a:lnTo>
                    <a:lnTo>
                      <a:pt x="0" y="538"/>
                    </a:lnTo>
                    <a:lnTo>
                      <a:pt x="60" y="419"/>
                    </a:lnTo>
                    <a:lnTo>
                      <a:pt x="120" y="359"/>
                    </a:lnTo>
                    <a:lnTo>
                      <a:pt x="120" y="359"/>
                    </a:lnTo>
                    <a:lnTo>
                      <a:pt x="120" y="299"/>
                    </a:lnTo>
                    <a:lnTo>
                      <a:pt x="180" y="179"/>
                    </a:lnTo>
                    <a:lnTo>
                      <a:pt x="239" y="120"/>
                    </a:lnTo>
                    <a:lnTo>
                      <a:pt x="299" y="60"/>
                    </a:lnTo>
                    <a:lnTo>
                      <a:pt x="359" y="0"/>
                    </a:lnTo>
                    <a:lnTo>
                      <a:pt x="419" y="0"/>
                    </a:lnTo>
                    <a:lnTo>
                      <a:pt x="479" y="0"/>
                    </a:lnTo>
                    <a:lnTo>
                      <a:pt x="778" y="179"/>
                    </a:lnTo>
                  </a:path>
                </a:pathLst>
              </a:custGeom>
              <a:noFill/>
              <a:ln w="6350" cap="rnd">
                <a:solidFill>
                  <a:schemeClr val="bg1">
                    <a:alpha val="80000"/>
                  </a:schemeClr>
                </a:solidFill>
                <a:prstDash val="solid"/>
                <a:round/>
              </a:ln>
            </p:spPr>
            <p:txBody>
              <a:bodyPr rtlCol="0" anchor="ctr"/>
              <a:lstStyle/>
              <a:p>
                <a:endParaRPr lang="en-GB"/>
              </a:p>
            </p:txBody>
          </p:sp>
          <p:sp>
            <p:nvSpPr>
              <p:cNvPr id="5421" name="Vrije vorm: vorm 5420">
                <a:extLst>
                  <a:ext uri="{FF2B5EF4-FFF2-40B4-BE49-F238E27FC236}">
                    <a16:creationId xmlns:a16="http://schemas.microsoft.com/office/drawing/2014/main" id="{2349DA10-9BF3-441E-8479-5EA0D39864DD}"/>
                  </a:ext>
                </a:extLst>
              </p:cNvPr>
              <p:cNvSpPr/>
              <p:nvPr/>
            </p:nvSpPr>
            <p:spPr>
              <a:xfrm>
                <a:off x="6403937" y="1671054"/>
                <a:ext cx="717" cy="1016"/>
              </a:xfrm>
              <a:custGeom>
                <a:avLst/>
                <a:gdLst>
                  <a:gd name="connsiteX0" fmla="*/ 419 w 717"/>
                  <a:gd name="connsiteY0" fmla="*/ 1017 h 1016"/>
                  <a:gd name="connsiteX1" fmla="*/ 239 w 717"/>
                  <a:gd name="connsiteY1" fmla="*/ 957 h 1016"/>
                  <a:gd name="connsiteX2" fmla="*/ 239 w 717"/>
                  <a:gd name="connsiteY2" fmla="*/ 957 h 1016"/>
                  <a:gd name="connsiteX3" fmla="*/ 60 w 717"/>
                  <a:gd name="connsiteY3" fmla="*/ 837 h 1016"/>
                  <a:gd name="connsiteX4" fmla="*/ 0 w 717"/>
                  <a:gd name="connsiteY4" fmla="*/ 778 h 1016"/>
                  <a:gd name="connsiteX5" fmla="*/ 0 w 717"/>
                  <a:gd name="connsiteY5" fmla="*/ 718 h 1016"/>
                  <a:gd name="connsiteX6" fmla="*/ 0 w 717"/>
                  <a:gd name="connsiteY6" fmla="*/ 658 h 1016"/>
                  <a:gd name="connsiteX7" fmla="*/ 0 w 717"/>
                  <a:gd name="connsiteY7" fmla="*/ 538 h 1016"/>
                  <a:gd name="connsiteX8" fmla="*/ 60 w 717"/>
                  <a:gd name="connsiteY8" fmla="*/ 419 h 1016"/>
                  <a:gd name="connsiteX9" fmla="*/ 120 w 717"/>
                  <a:gd name="connsiteY9" fmla="*/ 299 h 1016"/>
                  <a:gd name="connsiteX10" fmla="*/ 180 w 717"/>
                  <a:gd name="connsiteY10" fmla="*/ 179 h 1016"/>
                  <a:gd name="connsiteX11" fmla="*/ 239 w 717"/>
                  <a:gd name="connsiteY11" fmla="*/ 120 h 1016"/>
                  <a:gd name="connsiteX12" fmla="*/ 299 w 717"/>
                  <a:gd name="connsiteY12" fmla="*/ 60 h 1016"/>
                  <a:gd name="connsiteX13" fmla="*/ 359 w 717"/>
                  <a:gd name="connsiteY13" fmla="*/ 0 h 1016"/>
                  <a:gd name="connsiteX14" fmla="*/ 419 w 717"/>
                  <a:gd name="connsiteY14" fmla="*/ 0 h 1016"/>
                  <a:gd name="connsiteX15" fmla="*/ 419 w 717"/>
                  <a:gd name="connsiteY15" fmla="*/ 0 h 1016"/>
                  <a:gd name="connsiteX16" fmla="*/ 419 w 717"/>
                  <a:gd name="connsiteY16" fmla="*/ 0 h 1016"/>
                  <a:gd name="connsiteX17" fmla="*/ 479 w 717"/>
                  <a:gd name="connsiteY17" fmla="*/ 0 h 1016"/>
                  <a:gd name="connsiteX18" fmla="*/ 718 w 717"/>
                  <a:gd name="connsiteY18" fmla="*/ 120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17" h="1016">
                    <a:moveTo>
                      <a:pt x="419" y="1017"/>
                    </a:moveTo>
                    <a:lnTo>
                      <a:pt x="239" y="957"/>
                    </a:lnTo>
                    <a:lnTo>
                      <a:pt x="239" y="957"/>
                    </a:lnTo>
                    <a:lnTo>
                      <a:pt x="60" y="837"/>
                    </a:lnTo>
                    <a:lnTo>
                      <a:pt x="0" y="778"/>
                    </a:lnTo>
                    <a:lnTo>
                      <a:pt x="0" y="718"/>
                    </a:lnTo>
                    <a:lnTo>
                      <a:pt x="0" y="658"/>
                    </a:lnTo>
                    <a:lnTo>
                      <a:pt x="0" y="538"/>
                    </a:lnTo>
                    <a:lnTo>
                      <a:pt x="60" y="419"/>
                    </a:lnTo>
                    <a:lnTo>
                      <a:pt x="120" y="299"/>
                    </a:lnTo>
                    <a:lnTo>
                      <a:pt x="180" y="179"/>
                    </a:lnTo>
                    <a:lnTo>
                      <a:pt x="239" y="120"/>
                    </a:lnTo>
                    <a:lnTo>
                      <a:pt x="299" y="60"/>
                    </a:lnTo>
                    <a:lnTo>
                      <a:pt x="359" y="0"/>
                    </a:lnTo>
                    <a:lnTo>
                      <a:pt x="419" y="0"/>
                    </a:lnTo>
                    <a:lnTo>
                      <a:pt x="419" y="0"/>
                    </a:lnTo>
                    <a:lnTo>
                      <a:pt x="419" y="0"/>
                    </a:lnTo>
                    <a:lnTo>
                      <a:pt x="479" y="0"/>
                    </a:lnTo>
                    <a:lnTo>
                      <a:pt x="718" y="120"/>
                    </a:lnTo>
                  </a:path>
                </a:pathLst>
              </a:custGeom>
              <a:noFill/>
              <a:ln w="6350" cap="rnd">
                <a:solidFill>
                  <a:schemeClr val="bg1">
                    <a:alpha val="80000"/>
                  </a:schemeClr>
                </a:solidFill>
                <a:prstDash val="solid"/>
                <a:round/>
              </a:ln>
            </p:spPr>
            <p:txBody>
              <a:bodyPr rtlCol="0" anchor="ctr"/>
              <a:lstStyle/>
              <a:p>
                <a:endParaRPr lang="en-GB"/>
              </a:p>
            </p:txBody>
          </p:sp>
          <p:sp>
            <p:nvSpPr>
              <p:cNvPr id="5422" name="Vrije vorm: vorm 5421">
                <a:extLst>
                  <a:ext uri="{FF2B5EF4-FFF2-40B4-BE49-F238E27FC236}">
                    <a16:creationId xmlns:a16="http://schemas.microsoft.com/office/drawing/2014/main" id="{BC6856B7-0215-46B4-96F3-7838792B7160}"/>
                  </a:ext>
                </a:extLst>
              </p:cNvPr>
              <p:cNvSpPr/>
              <p:nvPr/>
            </p:nvSpPr>
            <p:spPr>
              <a:xfrm>
                <a:off x="6403758" y="1665671"/>
                <a:ext cx="6100" cy="8911"/>
              </a:xfrm>
              <a:custGeom>
                <a:avLst/>
                <a:gdLst>
                  <a:gd name="connsiteX0" fmla="*/ 718 w 6100"/>
                  <a:gd name="connsiteY0" fmla="*/ 8732 h 8911"/>
                  <a:gd name="connsiteX1" fmla="*/ 837 w 6100"/>
                  <a:gd name="connsiteY1" fmla="*/ 8732 h 8911"/>
                  <a:gd name="connsiteX2" fmla="*/ 837 w 6100"/>
                  <a:gd name="connsiteY2" fmla="*/ 8732 h 8911"/>
                  <a:gd name="connsiteX3" fmla="*/ 1316 w 6100"/>
                  <a:gd name="connsiteY3" fmla="*/ 8792 h 8911"/>
                  <a:gd name="connsiteX4" fmla="*/ 2033 w 6100"/>
                  <a:gd name="connsiteY4" fmla="*/ 8552 h 8911"/>
                  <a:gd name="connsiteX5" fmla="*/ 2811 w 6100"/>
                  <a:gd name="connsiteY5" fmla="*/ 8014 h 8911"/>
                  <a:gd name="connsiteX6" fmla="*/ 3588 w 6100"/>
                  <a:gd name="connsiteY6" fmla="*/ 7237 h 8911"/>
                  <a:gd name="connsiteX7" fmla="*/ 4366 w 6100"/>
                  <a:gd name="connsiteY7" fmla="*/ 6280 h 8911"/>
                  <a:gd name="connsiteX8" fmla="*/ 5024 w 6100"/>
                  <a:gd name="connsiteY8" fmla="*/ 5143 h 8911"/>
                  <a:gd name="connsiteX9" fmla="*/ 5562 w 6100"/>
                  <a:gd name="connsiteY9" fmla="*/ 4007 h 8911"/>
                  <a:gd name="connsiteX10" fmla="*/ 5921 w 6100"/>
                  <a:gd name="connsiteY10" fmla="*/ 2871 h 8911"/>
                  <a:gd name="connsiteX11" fmla="*/ 6100 w 6100"/>
                  <a:gd name="connsiteY11" fmla="*/ 1854 h 8911"/>
                  <a:gd name="connsiteX12" fmla="*/ 6040 w 6100"/>
                  <a:gd name="connsiteY12" fmla="*/ 1017 h 8911"/>
                  <a:gd name="connsiteX13" fmla="*/ 5801 w 6100"/>
                  <a:gd name="connsiteY13" fmla="*/ 419 h 8911"/>
                  <a:gd name="connsiteX14" fmla="*/ 5622 w 6100"/>
                  <a:gd name="connsiteY14" fmla="*/ 239 h 8911"/>
                  <a:gd name="connsiteX15" fmla="*/ 5622 w 6100"/>
                  <a:gd name="connsiteY15" fmla="*/ 239 h 8911"/>
                  <a:gd name="connsiteX16" fmla="*/ 5382 w 6100"/>
                  <a:gd name="connsiteY16" fmla="*/ 60 h 8911"/>
                  <a:gd name="connsiteX17" fmla="*/ 4785 w 6100"/>
                  <a:gd name="connsiteY17" fmla="*/ 0 h 8911"/>
                  <a:gd name="connsiteX18" fmla="*/ 4067 w 6100"/>
                  <a:gd name="connsiteY18" fmla="*/ 239 h 8911"/>
                  <a:gd name="connsiteX19" fmla="*/ 3289 w 6100"/>
                  <a:gd name="connsiteY19" fmla="*/ 778 h 8911"/>
                  <a:gd name="connsiteX20" fmla="*/ 2512 w 6100"/>
                  <a:gd name="connsiteY20" fmla="*/ 1555 h 8911"/>
                  <a:gd name="connsiteX21" fmla="*/ 1734 w 6100"/>
                  <a:gd name="connsiteY21" fmla="*/ 2512 h 8911"/>
                  <a:gd name="connsiteX22" fmla="*/ 1076 w 6100"/>
                  <a:gd name="connsiteY22" fmla="*/ 3588 h 8911"/>
                  <a:gd name="connsiteX23" fmla="*/ 538 w 6100"/>
                  <a:gd name="connsiteY23" fmla="*/ 4725 h 8911"/>
                  <a:gd name="connsiteX24" fmla="*/ 179 w 6100"/>
                  <a:gd name="connsiteY24" fmla="*/ 5861 h 8911"/>
                  <a:gd name="connsiteX25" fmla="*/ 0 w 6100"/>
                  <a:gd name="connsiteY25" fmla="*/ 6878 h 8911"/>
                  <a:gd name="connsiteX26" fmla="*/ 60 w 6100"/>
                  <a:gd name="connsiteY26" fmla="*/ 7715 h 8911"/>
                  <a:gd name="connsiteX27" fmla="*/ 299 w 6100"/>
                  <a:gd name="connsiteY27" fmla="*/ 8313 h 8911"/>
                  <a:gd name="connsiteX28" fmla="*/ 359 w 6100"/>
                  <a:gd name="connsiteY28" fmla="*/ 8313 h 8911"/>
                  <a:gd name="connsiteX29" fmla="*/ 418 w 6100"/>
                  <a:gd name="connsiteY29" fmla="*/ 8373 h 8911"/>
                  <a:gd name="connsiteX30" fmla="*/ 718 w 6100"/>
                  <a:gd name="connsiteY30" fmla="*/ 8732 h 8911"/>
                  <a:gd name="connsiteX31" fmla="*/ 1017 w 6100"/>
                  <a:gd name="connsiteY31" fmla="*/ 8911 h 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00" h="8911">
                    <a:moveTo>
                      <a:pt x="718" y="8732"/>
                    </a:moveTo>
                    <a:lnTo>
                      <a:pt x="837" y="8732"/>
                    </a:lnTo>
                    <a:lnTo>
                      <a:pt x="837" y="8732"/>
                    </a:lnTo>
                    <a:lnTo>
                      <a:pt x="1316" y="8792"/>
                    </a:lnTo>
                    <a:lnTo>
                      <a:pt x="2033" y="8552"/>
                    </a:lnTo>
                    <a:lnTo>
                      <a:pt x="2811" y="8014"/>
                    </a:lnTo>
                    <a:lnTo>
                      <a:pt x="3588" y="7237"/>
                    </a:lnTo>
                    <a:lnTo>
                      <a:pt x="4366" y="6280"/>
                    </a:lnTo>
                    <a:lnTo>
                      <a:pt x="5024" y="5143"/>
                    </a:lnTo>
                    <a:lnTo>
                      <a:pt x="5562" y="4007"/>
                    </a:lnTo>
                    <a:lnTo>
                      <a:pt x="5921" y="2871"/>
                    </a:lnTo>
                    <a:lnTo>
                      <a:pt x="6100" y="1854"/>
                    </a:lnTo>
                    <a:lnTo>
                      <a:pt x="6040" y="1017"/>
                    </a:lnTo>
                    <a:lnTo>
                      <a:pt x="5801" y="419"/>
                    </a:lnTo>
                    <a:lnTo>
                      <a:pt x="5622" y="239"/>
                    </a:lnTo>
                    <a:lnTo>
                      <a:pt x="5622" y="239"/>
                    </a:lnTo>
                    <a:lnTo>
                      <a:pt x="5382" y="60"/>
                    </a:lnTo>
                    <a:lnTo>
                      <a:pt x="4785" y="0"/>
                    </a:lnTo>
                    <a:lnTo>
                      <a:pt x="4067" y="239"/>
                    </a:lnTo>
                    <a:lnTo>
                      <a:pt x="3289" y="778"/>
                    </a:lnTo>
                    <a:lnTo>
                      <a:pt x="2512" y="1555"/>
                    </a:lnTo>
                    <a:lnTo>
                      <a:pt x="1734" y="2512"/>
                    </a:lnTo>
                    <a:lnTo>
                      <a:pt x="1076" y="3588"/>
                    </a:lnTo>
                    <a:lnTo>
                      <a:pt x="538" y="4725"/>
                    </a:lnTo>
                    <a:lnTo>
                      <a:pt x="179" y="5861"/>
                    </a:lnTo>
                    <a:lnTo>
                      <a:pt x="0" y="6878"/>
                    </a:lnTo>
                    <a:lnTo>
                      <a:pt x="60" y="7715"/>
                    </a:lnTo>
                    <a:lnTo>
                      <a:pt x="299" y="8313"/>
                    </a:lnTo>
                    <a:lnTo>
                      <a:pt x="359" y="8313"/>
                    </a:lnTo>
                    <a:lnTo>
                      <a:pt x="418" y="8373"/>
                    </a:lnTo>
                    <a:lnTo>
                      <a:pt x="718" y="8732"/>
                    </a:lnTo>
                    <a:lnTo>
                      <a:pt x="1017" y="8911"/>
                    </a:lnTo>
                  </a:path>
                </a:pathLst>
              </a:custGeom>
              <a:noFill/>
              <a:ln w="6350" cap="rnd">
                <a:solidFill>
                  <a:schemeClr val="bg1">
                    <a:alpha val="80000"/>
                  </a:schemeClr>
                </a:solidFill>
                <a:prstDash val="solid"/>
                <a:round/>
              </a:ln>
            </p:spPr>
            <p:txBody>
              <a:bodyPr rtlCol="0" anchor="ctr"/>
              <a:lstStyle/>
              <a:p>
                <a:endParaRPr lang="en-GB"/>
              </a:p>
            </p:txBody>
          </p:sp>
          <p:sp>
            <p:nvSpPr>
              <p:cNvPr id="5423" name="Vrije vorm: vorm 5422">
                <a:extLst>
                  <a:ext uri="{FF2B5EF4-FFF2-40B4-BE49-F238E27FC236}">
                    <a16:creationId xmlns:a16="http://schemas.microsoft.com/office/drawing/2014/main" id="{B23DB9A5-8213-49B3-961A-A2F07BC148A0}"/>
                  </a:ext>
                </a:extLst>
              </p:cNvPr>
              <p:cNvSpPr/>
              <p:nvPr/>
            </p:nvSpPr>
            <p:spPr>
              <a:xfrm>
                <a:off x="6409380" y="1665850"/>
                <a:ext cx="658" cy="956"/>
              </a:xfrm>
              <a:custGeom>
                <a:avLst/>
                <a:gdLst>
                  <a:gd name="connsiteX0" fmla="*/ 0 w 658"/>
                  <a:gd name="connsiteY0" fmla="*/ 0 h 956"/>
                  <a:gd name="connsiteX1" fmla="*/ 419 w 658"/>
                  <a:gd name="connsiteY1" fmla="*/ 359 h 956"/>
                  <a:gd name="connsiteX2" fmla="*/ 598 w 658"/>
                  <a:gd name="connsiteY2" fmla="*/ 778 h 956"/>
                  <a:gd name="connsiteX3" fmla="*/ 658 w 658"/>
                  <a:gd name="connsiteY3" fmla="*/ 957 h 956"/>
                </a:gdLst>
                <a:ahLst/>
                <a:cxnLst>
                  <a:cxn ang="0">
                    <a:pos x="connsiteX0" y="connsiteY0"/>
                  </a:cxn>
                  <a:cxn ang="0">
                    <a:pos x="connsiteX1" y="connsiteY1"/>
                  </a:cxn>
                  <a:cxn ang="0">
                    <a:pos x="connsiteX2" y="connsiteY2"/>
                  </a:cxn>
                  <a:cxn ang="0">
                    <a:pos x="connsiteX3" y="connsiteY3"/>
                  </a:cxn>
                </a:cxnLst>
                <a:rect l="l" t="t" r="r" b="b"/>
                <a:pathLst>
                  <a:path w="658" h="956">
                    <a:moveTo>
                      <a:pt x="0" y="0"/>
                    </a:moveTo>
                    <a:lnTo>
                      <a:pt x="419" y="359"/>
                    </a:lnTo>
                    <a:lnTo>
                      <a:pt x="598" y="778"/>
                    </a:lnTo>
                    <a:lnTo>
                      <a:pt x="658" y="957"/>
                    </a:lnTo>
                  </a:path>
                </a:pathLst>
              </a:custGeom>
              <a:noFill/>
              <a:ln w="6350" cap="rnd">
                <a:solidFill>
                  <a:schemeClr val="bg1">
                    <a:alpha val="80000"/>
                  </a:schemeClr>
                </a:solidFill>
                <a:prstDash val="solid"/>
                <a:round/>
              </a:ln>
            </p:spPr>
            <p:txBody>
              <a:bodyPr rtlCol="0" anchor="ctr"/>
              <a:lstStyle/>
              <a:p>
                <a:endParaRPr lang="en-GB"/>
              </a:p>
            </p:txBody>
          </p:sp>
          <p:sp>
            <p:nvSpPr>
              <p:cNvPr id="5424" name="Vrije vorm: vorm 5423">
                <a:extLst>
                  <a:ext uri="{FF2B5EF4-FFF2-40B4-BE49-F238E27FC236}">
                    <a16:creationId xmlns:a16="http://schemas.microsoft.com/office/drawing/2014/main" id="{48C10158-37C4-4F80-9E8F-25756378A868}"/>
                  </a:ext>
                </a:extLst>
              </p:cNvPr>
              <p:cNvSpPr/>
              <p:nvPr/>
            </p:nvSpPr>
            <p:spPr>
              <a:xfrm>
                <a:off x="6410098" y="1666807"/>
                <a:ext cx="59" cy="837"/>
              </a:xfrm>
              <a:custGeom>
                <a:avLst/>
                <a:gdLst>
                  <a:gd name="connsiteX0" fmla="*/ 0 w 59"/>
                  <a:gd name="connsiteY0" fmla="*/ 0 h 837"/>
                  <a:gd name="connsiteX1" fmla="*/ 60 w 59"/>
                  <a:gd name="connsiteY1" fmla="*/ 837 h 837"/>
                </a:gdLst>
                <a:ahLst/>
                <a:cxnLst>
                  <a:cxn ang="0">
                    <a:pos x="connsiteX0" y="connsiteY0"/>
                  </a:cxn>
                  <a:cxn ang="0">
                    <a:pos x="connsiteX1" y="connsiteY1"/>
                  </a:cxn>
                </a:cxnLst>
                <a:rect l="l" t="t" r="r" b="b"/>
                <a:pathLst>
                  <a:path w="59" h="837">
                    <a:moveTo>
                      <a:pt x="0" y="0"/>
                    </a:moveTo>
                    <a:lnTo>
                      <a:pt x="60" y="837"/>
                    </a:lnTo>
                  </a:path>
                </a:pathLst>
              </a:custGeom>
              <a:noFill/>
              <a:ln w="6350" cap="rnd">
                <a:solidFill>
                  <a:schemeClr val="bg1">
                    <a:alpha val="80000"/>
                  </a:schemeClr>
                </a:solidFill>
                <a:prstDash val="solid"/>
                <a:round/>
              </a:ln>
            </p:spPr>
            <p:txBody>
              <a:bodyPr rtlCol="0" anchor="ctr"/>
              <a:lstStyle/>
              <a:p>
                <a:endParaRPr lang="en-GB"/>
              </a:p>
            </p:txBody>
          </p:sp>
          <p:sp>
            <p:nvSpPr>
              <p:cNvPr id="5425" name="Vrije vorm: vorm 5424">
                <a:extLst>
                  <a:ext uri="{FF2B5EF4-FFF2-40B4-BE49-F238E27FC236}">
                    <a16:creationId xmlns:a16="http://schemas.microsoft.com/office/drawing/2014/main" id="{67B720B8-E371-49FB-9A79-5F47AB225875}"/>
                  </a:ext>
                </a:extLst>
              </p:cNvPr>
              <p:cNvSpPr/>
              <p:nvPr/>
            </p:nvSpPr>
            <p:spPr>
              <a:xfrm>
                <a:off x="6407645" y="1668362"/>
                <a:ext cx="2392" cy="4664"/>
              </a:xfrm>
              <a:custGeom>
                <a:avLst/>
                <a:gdLst>
                  <a:gd name="connsiteX0" fmla="*/ 2392 w 2392"/>
                  <a:gd name="connsiteY0" fmla="*/ 0 h 4664"/>
                  <a:gd name="connsiteX1" fmla="*/ 2333 w 2392"/>
                  <a:gd name="connsiteY1" fmla="*/ 299 h 4664"/>
                  <a:gd name="connsiteX2" fmla="*/ 1974 w 2392"/>
                  <a:gd name="connsiteY2" fmla="*/ 1435 h 4664"/>
                  <a:gd name="connsiteX3" fmla="*/ 1974 w 2392"/>
                  <a:gd name="connsiteY3" fmla="*/ 1435 h 4664"/>
                  <a:gd name="connsiteX4" fmla="*/ 1435 w 2392"/>
                  <a:gd name="connsiteY4" fmla="*/ 2572 h 4664"/>
                  <a:gd name="connsiteX5" fmla="*/ 778 w 2392"/>
                  <a:gd name="connsiteY5" fmla="*/ 3708 h 4664"/>
                  <a:gd name="connsiteX6" fmla="*/ 0 w 2392"/>
                  <a:gd name="connsiteY6" fmla="*/ 4665 h 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2" h="4664">
                    <a:moveTo>
                      <a:pt x="2392" y="0"/>
                    </a:moveTo>
                    <a:lnTo>
                      <a:pt x="2333" y="299"/>
                    </a:lnTo>
                    <a:lnTo>
                      <a:pt x="1974" y="1435"/>
                    </a:lnTo>
                    <a:lnTo>
                      <a:pt x="1974" y="1435"/>
                    </a:lnTo>
                    <a:lnTo>
                      <a:pt x="1435" y="2572"/>
                    </a:lnTo>
                    <a:lnTo>
                      <a:pt x="778" y="3708"/>
                    </a:lnTo>
                    <a:lnTo>
                      <a:pt x="0" y="4665"/>
                    </a:lnTo>
                  </a:path>
                </a:pathLst>
              </a:custGeom>
              <a:noFill/>
              <a:ln w="6350" cap="rnd">
                <a:solidFill>
                  <a:schemeClr val="bg1">
                    <a:alpha val="80000"/>
                  </a:schemeClr>
                </a:solidFill>
                <a:prstDash val="solid"/>
                <a:round/>
              </a:ln>
            </p:spPr>
            <p:txBody>
              <a:bodyPr rtlCol="0" anchor="ctr"/>
              <a:lstStyle/>
              <a:p>
                <a:endParaRPr lang="en-GB"/>
              </a:p>
            </p:txBody>
          </p:sp>
          <p:sp>
            <p:nvSpPr>
              <p:cNvPr id="5426" name="Vrije vorm: vorm 5425">
                <a:extLst>
                  <a:ext uri="{FF2B5EF4-FFF2-40B4-BE49-F238E27FC236}">
                    <a16:creationId xmlns:a16="http://schemas.microsoft.com/office/drawing/2014/main" id="{9DF41C63-EC98-477D-9FD7-A357289D4318}"/>
                  </a:ext>
                </a:extLst>
              </p:cNvPr>
              <p:cNvSpPr/>
              <p:nvPr/>
            </p:nvSpPr>
            <p:spPr>
              <a:xfrm>
                <a:off x="6405851" y="1672369"/>
                <a:ext cx="777" cy="1016"/>
              </a:xfrm>
              <a:custGeom>
                <a:avLst/>
                <a:gdLst>
                  <a:gd name="connsiteX0" fmla="*/ 359 w 777"/>
                  <a:gd name="connsiteY0" fmla="*/ 1017 h 1016"/>
                  <a:gd name="connsiteX1" fmla="*/ 60 w 777"/>
                  <a:gd name="connsiteY1" fmla="*/ 837 h 1016"/>
                  <a:gd name="connsiteX2" fmla="*/ 0 w 777"/>
                  <a:gd name="connsiteY2" fmla="*/ 778 h 1016"/>
                  <a:gd name="connsiteX3" fmla="*/ 0 w 777"/>
                  <a:gd name="connsiteY3" fmla="*/ 718 h 1016"/>
                  <a:gd name="connsiteX4" fmla="*/ 0 w 777"/>
                  <a:gd name="connsiteY4" fmla="*/ 658 h 1016"/>
                  <a:gd name="connsiteX5" fmla="*/ 0 w 777"/>
                  <a:gd name="connsiteY5" fmla="*/ 538 h 1016"/>
                  <a:gd name="connsiteX6" fmla="*/ 60 w 777"/>
                  <a:gd name="connsiteY6" fmla="*/ 419 h 1016"/>
                  <a:gd name="connsiteX7" fmla="*/ 120 w 777"/>
                  <a:gd name="connsiteY7" fmla="*/ 299 h 1016"/>
                  <a:gd name="connsiteX8" fmla="*/ 179 w 777"/>
                  <a:gd name="connsiteY8" fmla="*/ 179 h 1016"/>
                  <a:gd name="connsiteX9" fmla="*/ 239 w 777"/>
                  <a:gd name="connsiteY9" fmla="*/ 120 h 1016"/>
                  <a:gd name="connsiteX10" fmla="*/ 239 w 777"/>
                  <a:gd name="connsiteY10" fmla="*/ 120 h 1016"/>
                  <a:gd name="connsiteX11" fmla="*/ 299 w 777"/>
                  <a:gd name="connsiteY11" fmla="*/ 60 h 1016"/>
                  <a:gd name="connsiteX12" fmla="*/ 359 w 777"/>
                  <a:gd name="connsiteY12" fmla="*/ 0 h 1016"/>
                  <a:gd name="connsiteX13" fmla="*/ 419 w 777"/>
                  <a:gd name="connsiteY13" fmla="*/ 0 h 1016"/>
                  <a:gd name="connsiteX14" fmla="*/ 419 w 777"/>
                  <a:gd name="connsiteY14" fmla="*/ 0 h 1016"/>
                  <a:gd name="connsiteX15" fmla="*/ 479 w 777"/>
                  <a:gd name="connsiteY15" fmla="*/ 0 h 1016"/>
                  <a:gd name="connsiteX16" fmla="*/ 778 w 777"/>
                  <a:gd name="connsiteY16" fmla="*/ 179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 h="1016">
                    <a:moveTo>
                      <a:pt x="359" y="1017"/>
                    </a:moveTo>
                    <a:lnTo>
                      <a:pt x="60" y="837"/>
                    </a:lnTo>
                    <a:lnTo>
                      <a:pt x="0" y="778"/>
                    </a:lnTo>
                    <a:lnTo>
                      <a:pt x="0" y="718"/>
                    </a:lnTo>
                    <a:lnTo>
                      <a:pt x="0" y="658"/>
                    </a:lnTo>
                    <a:lnTo>
                      <a:pt x="0" y="538"/>
                    </a:lnTo>
                    <a:lnTo>
                      <a:pt x="60" y="419"/>
                    </a:lnTo>
                    <a:lnTo>
                      <a:pt x="120" y="299"/>
                    </a:lnTo>
                    <a:lnTo>
                      <a:pt x="179" y="179"/>
                    </a:lnTo>
                    <a:lnTo>
                      <a:pt x="239" y="120"/>
                    </a:lnTo>
                    <a:lnTo>
                      <a:pt x="239" y="120"/>
                    </a:lnTo>
                    <a:lnTo>
                      <a:pt x="299" y="60"/>
                    </a:lnTo>
                    <a:lnTo>
                      <a:pt x="359" y="0"/>
                    </a:lnTo>
                    <a:lnTo>
                      <a:pt x="419" y="0"/>
                    </a:lnTo>
                    <a:lnTo>
                      <a:pt x="419" y="0"/>
                    </a:lnTo>
                    <a:lnTo>
                      <a:pt x="479" y="0"/>
                    </a:lnTo>
                    <a:lnTo>
                      <a:pt x="778" y="179"/>
                    </a:lnTo>
                  </a:path>
                </a:pathLst>
              </a:custGeom>
              <a:noFill/>
              <a:ln w="6350" cap="rnd">
                <a:solidFill>
                  <a:schemeClr val="bg1">
                    <a:alpha val="80000"/>
                  </a:schemeClr>
                </a:solidFill>
                <a:prstDash val="solid"/>
                <a:round/>
              </a:ln>
            </p:spPr>
            <p:txBody>
              <a:bodyPr rtlCol="0" anchor="ctr"/>
              <a:lstStyle/>
              <a:p>
                <a:endParaRPr lang="en-GB"/>
              </a:p>
            </p:txBody>
          </p:sp>
          <p:sp>
            <p:nvSpPr>
              <p:cNvPr id="5427" name="Vrije vorm: vorm 5426">
                <a:extLst>
                  <a:ext uri="{FF2B5EF4-FFF2-40B4-BE49-F238E27FC236}">
                    <a16:creationId xmlns:a16="http://schemas.microsoft.com/office/drawing/2014/main" id="{DA0A9A75-4AB0-4D8C-95ED-267DF0D95224}"/>
                  </a:ext>
                </a:extLst>
              </p:cNvPr>
              <p:cNvSpPr/>
              <p:nvPr/>
            </p:nvSpPr>
            <p:spPr>
              <a:xfrm>
                <a:off x="6405911" y="1672429"/>
                <a:ext cx="538" cy="777"/>
              </a:xfrm>
              <a:custGeom>
                <a:avLst/>
                <a:gdLst>
                  <a:gd name="connsiteX0" fmla="*/ 0 w 538"/>
                  <a:gd name="connsiteY0" fmla="*/ 777 h 777"/>
                  <a:gd name="connsiteX1" fmla="*/ 0 w 538"/>
                  <a:gd name="connsiteY1" fmla="*/ 777 h 777"/>
                  <a:gd name="connsiteX2" fmla="*/ 119 w 538"/>
                  <a:gd name="connsiteY2" fmla="*/ 777 h 777"/>
                  <a:gd name="connsiteX3" fmla="*/ 179 w 538"/>
                  <a:gd name="connsiteY3" fmla="*/ 718 h 777"/>
                  <a:gd name="connsiteX4" fmla="*/ 239 w 538"/>
                  <a:gd name="connsiteY4" fmla="*/ 658 h 777"/>
                  <a:gd name="connsiteX5" fmla="*/ 299 w 538"/>
                  <a:gd name="connsiteY5" fmla="*/ 598 h 777"/>
                  <a:gd name="connsiteX6" fmla="*/ 359 w 538"/>
                  <a:gd name="connsiteY6" fmla="*/ 538 h 777"/>
                  <a:gd name="connsiteX7" fmla="*/ 419 w 538"/>
                  <a:gd name="connsiteY7" fmla="*/ 478 h 777"/>
                  <a:gd name="connsiteX8" fmla="*/ 478 w 538"/>
                  <a:gd name="connsiteY8" fmla="*/ 419 h 777"/>
                  <a:gd name="connsiteX9" fmla="*/ 478 w 538"/>
                  <a:gd name="connsiteY9" fmla="*/ 419 h 777"/>
                  <a:gd name="connsiteX10" fmla="*/ 538 w 538"/>
                  <a:gd name="connsiteY10" fmla="*/ 299 h 777"/>
                  <a:gd name="connsiteX11" fmla="*/ 538 w 538"/>
                  <a:gd name="connsiteY11" fmla="*/ 239 h 777"/>
                  <a:gd name="connsiteX12" fmla="*/ 538 w 538"/>
                  <a:gd name="connsiteY12" fmla="*/ 239 h 777"/>
                  <a:gd name="connsiteX13" fmla="*/ 538 w 538"/>
                  <a:gd name="connsiteY13" fmla="*/ 179 h 777"/>
                  <a:gd name="connsiteX14" fmla="*/ 538 w 538"/>
                  <a:gd name="connsiteY14" fmla="*/ 120 h 777"/>
                  <a:gd name="connsiteX15" fmla="*/ 538 w 538"/>
                  <a:gd name="connsiteY15" fmla="*/ 60 h 777"/>
                  <a:gd name="connsiteX16" fmla="*/ 478 w 538"/>
                  <a:gd name="connsiteY16" fmla="*/ 0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8" h="777">
                    <a:moveTo>
                      <a:pt x="0" y="777"/>
                    </a:moveTo>
                    <a:lnTo>
                      <a:pt x="0" y="777"/>
                    </a:lnTo>
                    <a:lnTo>
                      <a:pt x="119" y="777"/>
                    </a:lnTo>
                    <a:lnTo>
                      <a:pt x="179" y="718"/>
                    </a:lnTo>
                    <a:lnTo>
                      <a:pt x="239" y="658"/>
                    </a:lnTo>
                    <a:lnTo>
                      <a:pt x="299" y="598"/>
                    </a:lnTo>
                    <a:lnTo>
                      <a:pt x="359" y="538"/>
                    </a:lnTo>
                    <a:lnTo>
                      <a:pt x="419" y="478"/>
                    </a:lnTo>
                    <a:lnTo>
                      <a:pt x="478" y="419"/>
                    </a:lnTo>
                    <a:lnTo>
                      <a:pt x="478" y="419"/>
                    </a:lnTo>
                    <a:lnTo>
                      <a:pt x="538" y="299"/>
                    </a:lnTo>
                    <a:lnTo>
                      <a:pt x="538" y="239"/>
                    </a:lnTo>
                    <a:lnTo>
                      <a:pt x="538" y="239"/>
                    </a:lnTo>
                    <a:lnTo>
                      <a:pt x="538" y="179"/>
                    </a:lnTo>
                    <a:lnTo>
                      <a:pt x="538" y="120"/>
                    </a:lnTo>
                    <a:lnTo>
                      <a:pt x="538" y="60"/>
                    </a:lnTo>
                    <a:lnTo>
                      <a:pt x="478" y="0"/>
                    </a:lnTo>
                  </a:path>
                </a:pathLst>
              </a:custGeom>
              <a:noFill/>
              <a:ln w="6350" cap="rnd">
                <a:solidFill>
                  <a:schemeClr val="bg1">
                    <a:alpha val="80000"/>
                  </a:schemeClr>
                </a:solidFill>
                <a:prstDash val="solid"/>
                <a:round/>
              </a:ln>
            </p:spPr>
            <p:txBody>
              <a:bodyPr rtlCol="0" anchor="ctr"/>
              <a:lstStyle/>
              <a:p>
                <a:endParaRPr lang="en-GB"/>
              </a:p>
            </p:txBody>
          </p:sp>
          <p:sp>
            <p:nvSpPr>
              <p:cNvPr id="5428" name="Vrije vorm: vorm 5427">
                <a:extLst>
                  <a:ext uri="{FF2B5EF4-FFF2-40B4-BE49-F238E27FC236}">
                    <a16:creationId xmlns:a16="http://schemas.microsoft.com/office/drawing/2014/main" id="{E3D319D4-63EF-4F5E-918A-83098E1C7A52}"/>
                  </a:ext>
                </a:extLst>
              </p:cNvPr>
              <p:cNvSpPr/>
              <p:nvPr/>
            </p:nvSpPr>
            <p:spPr>
              <a:xfrm>
                <a:off x="6406270" y="1672609"/>
                <a:ext cx="478" cy="837"/>
              </a:xfrm>
              <a:custGeom>
                <a:avLst/>
                <a:gdLst>
                  <a:gd name="connsiteX0" fmla="*/ 419 w 478"/>
                  <a:gd name="connsiteY0" fmla="*/ 0 h 837"/>
                  <a:gd name="connsiteX1" fmla="*/ 419 w 478"/>
                  <a:gd name="connsiteY1" fmla="*/ 0 h 837"/>
                  <a:gd name="connsiteX2" fmla="*/ 419 w 478"/>
                  <a:gd name="connsiteY2" fmla="*/ 0 h 837"/>
                  <a:gd name="connsiteX3" fmla="*/ 479 w 478"/>
                  <a:gd name="connsiteY3" fmla="*/ 120 h 837"/>
                  <a:gd name="connsiteX4" fmla="*/ 479 w 478"/>
                  <a:gd name="connsiteY4" fmla="*/ 179 h 837"/>
                  <a:gd name="connsiteX5" fmla="*/ 479 w 478"/>
                  <a:gd name="connsiteY5" fmla="*/ 299 h 837"/>
                  <a:gd name="connsiteX6" fmla="*/ 419 w 478"/>
                  <a:gd name="connsiteY6" fmla="*/ 419 h 837"/>
                  <a:gd name="connsiteX7" fmla="*/ 359 w 478"/>
                  <a:gd name="connsiteY7" fmla="*/ 538 h 837"/>
                  <a:gd name="connsiteX8" fmla="*/ 299 w 478"/>
                  <a:gd name="connsiteY8" fmla="*/ 658 h 837"/>
                  <a:gd name="connsiteX9" fmla="*/ 239 w 478"/>
                  <a:gd name="connsiteY9" fmla="*/ 718 h 837"/>
                  <a:gd name="connsiteX10" fmla="*/ 179 w 478"/>
                  <a:gd name="connsiteY10" fmla="*/ 777 h 837"/>
                  <a:gd name="connsiteX11" fmla="*/ 119 w 478"/>
                  <a:gd name="connsiteY11" fmla="*/ 837 h 837"/>
                  <a:gd name="connsiteX12" fmla="*/ 60 w 478"/>
                  <a:gd name="connsiteY12" fmla="*/ 837 h 837"/>
                  <a:gd name="connsiteX13" fmla="*/ 0 w 478"/>
                  <a:gd name="connsiteY13" fmla="*/ 837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 h="837">
                    <a:moveTo>
                      <a:pt x="419" y="0"/>
                    </a:moveTo>
                    <a:lnTo>
                      <a:pt x="419" y="0"/>
                    </a:lnTo>
                    <a:lnTo>
                      <a:pt x="419" y="0"/>
                    </a:lnTo>
                    <a:lnTo>
                      <a:pt x="479" y="120"/>
                    </a:lnTo>
                    <a:lnTo>
                      <a:pt x="479" y="179"/>
                    </a:lnTo>
                    <a:lnTo>
                      <a:pt x="479" y="299"/>
                    </a:lnTo>
                    <a:lnTo>
                      <a:pt x="419" y="419"/>
                    </a:lnTo>
                    <a:lnTo>
                      <a:pt x="359" y="538"/>
                    </a:lnTo>
                    <a:lnTo>
                      <a:pt x="299" y="658"/>
                    </a:lnTo>
                    <a:lnTo>
                      <a:pt x="239" y="718"/>
                    </a:lnTo>
                    <a:lnTo>
                      <a:pt x="179" y="777"/>
                    </a:lnTo>
                    <a:lnTo>
                      <a:pt x="119" y="837"/>
                    </a:lnTo>
                    <a:lnTo>
                      <a:pt x="60" y="837"/>
                    </a:lnTo>
                    <a:lnTo>
                      <a:pt x="0" y="837"/>
                    </a:lnTo>
                  </a:path>
                </a:pathLst>
              </a:custGeom>
              <a:noFill/>
              <a:ln w="6350" cap="rnd">
                <a:solidFill>
                  <a:schemeClr val="bg1">
                    <a:alpha val="80000"/>
                  </a:schemeClr>
                </a:solidFill>
                <a:prstDash val="solid"/>
                <a:round/>
              </a:ln>
            </p:spPr>
            <p:txBody>
              <a:bodyPr rtlCol="0" anchor="ctr"/>
              <a:lstStyle/>
              <a:p>
                <a:endParaRPr lang="en-GB"/>
              </a:p>
            </p:txBody>
          </p:sp>
          <p:sp>
            <p:nvSpPr>
              <p:cNvPr id="5429" name="Vrije vorm: vorm 5428">
                <a:extLst>
                  <a:ext uri="{FF2B5EF4-FFF2-40B4-BE49-F238E27FC236}">
                    <a16:creationId xmlns:a16="http://schemas.microsoft.com/office/drawing/2014/main" id="{1128638E-6A92-421B-805F-1F7B7E92B785}"/>
                  </a:ext>
                </a:extLst>
              </p:cNvPr>
              <p:cNvSpPr/>
              <p:nvPr/>
            </p:nvSpPr>
            <p:spPr>
              <a:xfrm>
                <a:off x="6408423" y="1668123"/>
                <a:ext cx="478" cy="777"/>
              </a:xfrm>
              <a:custGeom>
                <a:avLst/>
                <a:gdLst>
                  <a:gd name="connsiteX0" fmla="*/ 0 w 478"/>
                  <a:gd name="connsiteY0" fmla="*/ 777 h 777"/>
                  <a:gd name="connsiteX1" fmla="*/ 0 w 478"/>
                  <a:gd name="connsiteY1" fmla="*/ 777 h 777"/>
                  <a:gd name="connsiteX2" fmla="*/ 120 w 478"/>
                  <a:gd name="connsiteY2" fmla="*/ 777 h 777"/>
                  <a:gd name="connsiteX3" fmla="*/ 180 w 478"/>
                  <a:gd name="connsiteY3" fmla="*/ 718 h 777"/>
                  <a:gd name="connsiteX4" fmla="*/ 239 w 478"/>
                  <a:gd name="connsiteY4" fmla="*/ 658 h 777"/>
                  <a:gd name="connsiteX5" fmla="*/ 299 w 478"/>
                  <a:gd name="connsiteY5" fmla="*/ 598 h 777"/>
                  <a:gd name="connsiteX6" fmla="*/ 359 w 478"/>
                  <a:gd name="connsiteY6" fmla="*/ 538 h 777"/>
                  <a:gd name="connsiteX7" fmla="*/ 359 w 478"/>
                  <a:gd name="connsiteY7" fmla="*/ 478 h 777"/>
                  <a:gd name="connsiteX8" fmla="*/ 359 w 478"/>
                  <a:gd name="connsiteY8" fmla="*/ 478 h 777"/>
                  <a:gd name="connsiteX9" fmla="*/ 419 w 478"/>
                  <a:gd name="connsiteY9" fmla="*/ 419 h 777"/>
                  <a:gd name="connsiteX10" fmla="*/ 419 w 478"/>
                  <a:gd name="connsiteY10" fmla="*/ 419 h 777"/>
                  <a:gd name="connsiteX11" fmla="*/ 479 w 478"/>
                  <a:gd name="connsiteY11" fmla="*/ 299 h 777"/>
                  <a:gd name="connsiteX12" fmla="*/ 479 w 478"/>
                  <a:gd name="connsiteY12" fmla="*/ 179 h 777"/>
                  <a:gd name="connsiteX13" fmla="*/ 479 w 478"/>
                  <a:gd name="connsiteY13" fmla="*/ 120 h 777"/>
                  <a:gd name="connsiteX14" fmla="*/ 479 w 478"/>
                  <a:gd name="connsiteY14" fmla="*/ 60 h 777"/>
                  <a:gd name="connsiteX15" fmla="*/ 419 w 478"/>
                  <a:gd name="connsiteY15" fmla="*/ 0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8" h="777">
                    <a:moveTo>
                      <a:pt x="0" y="777"/>
                    </a:moveTo>
                    <a:lnTo>
                      <a:pt x="0" y="777"/>
                    </a:lnTo>
                    <a:lnTo>
                      <a:pt x="120" y="777"/>
                    </a:lnTo>
                    <a:lnTo>
                      <a:pt x="180" y="718"/>
                    </a:lnTo>
                    <a:lnTo>
                      <a:pt x="239" y="658"/>
                    </a:lnTo>
                    <a:lnTo>
                      <a:pt x="299" y="598"/>
                    </a:lnTo>
                    <a:lnTo>
                      <a:pt x="359" y="538"/>
                    </a:lnTo>
                    <a:lnTo>
                      <a:pt x="359" y="478"/>
                    </a:lnTo>
                    <a:lnTo>
                      <a:pt x="359" y="478"/>
                    </a:lnTo>
                    <a:lnTo>
                      <a:pt x="419" y="419"/>
                    </a:lnTo>
                    <a:lnTo>
                      <a:pt x="419" y="419"/>
                    </a:lnTo>
                    <a:lnTo>
                      <a:pt x="479" y="299"/>
                    </a:lnTo>
                    <a:lnTo>
                      <a:pt x="479" y="179"/>
                    </a:lnTo>
                    <a:lnTo>
                      <a:pt x="479" y="120"/>
                    </a:lnTo>
                    <a:lnTo>
                      <a:pt x="479" y="60"/>
                    </a:lnTo>
                    <a:lnTo>
                      <a:pt x="419" y="0"/>
                    </a:lnTo>
                  </a:path>
                </a:pathLst>
              </a:custGeom>
              <a:noFill/>
              <a:ln w="6350" cap="rnd">
                <a:solidFill>
                  <a:schemeClr val="bg1">
                    <a:alpha val="80000"/>
                  </a:schemeClr>
                </a:solidFill>
                <a:prstDash val="solid"/>
                <a:round/>
              </a:ln>
            </p:spPr>
            <p:txBody>
              <a:bodyPr rtlCol="0" anchor="ctr"/>
              <a:lstStyle/>
              <a:p>
                <a:endParaRPr lang="en-GB"/>
              </a:p>
            </p:txBody>
          </p:sp>
          <p:sp>
            <p:nvSpPr>
              <p:cNvPr id="5430" name="Vrije vorm: vorm 5429">
                <a:extLst>
                  <a:ext uri="{FF2B5EF4-FFF2-40B4-BE49-F238E27FC236}">
                    <a16:creationId xmlns:a16="http://schemas.microsoft.com/office/drawing/2014/main" id="{4BE98690-3C37-4133-95E1-952DDBDAB425}"/>
                  </a:ext>
                </a:extLst>
              </p:cNvPr>
              <p:cNvSpPr/>
              <p:nvPr/>
            </p:nvSpPr>
            <p:spPr>
              <a:xfrm>
                <a:off x="6408782" y="1668303"/>
                <a:ext cx="478" cy="837"/>
              </a:xfrm>
              <a:custGeom>
                <a:avLst/>
                <a:gdLst>
                  <a:gd name="connsiteX0" fmla="*/ 419 w 478"/>
                  <a:gd name="connsiteY0" fmla="*/ 0 h 837"/>
                  <a:gd name="connsiteX1" fmla="*/ 419 w 478"/>
                  <a:gd name="connsiteY1" fmla="*/ 0 h 837"/>
                  <a:gd name="connsiteX2" fmla="*/ 479 w 478"/>
                  <a:gd name="connsiteY2" fmla="*/ 120 h 837"/>
                  <a:gd name="connsiteX3" fmla="*/ 479 w 478"/>
                  <a:gd name="connsiteY3" fmla="*/ 179 h 837"/>
                  <a:gd name="connsiteX4" fmla="*/ 479 w 478"/>
                  <a:gd name="connsiteY4" fmla="*/ 299 h 837"/>
                  <a:gd name="connsiteX5" fmla="*/ 419 w 478"/>
                  <a:gd name="connsiteY5" fmla="*/ 419 h 837"/>
                  <a:gd name="connsiteX6" fmla="*/ 359 w 478"/>
                  <a:gd name="connsiteY6" fmla="*/ 538 h 837"/>
                  <a:gd name="connsiteX7" fmla="*/ 299 w 478"/>
                  <a:gd name="connsiteY7" fmla="*/ 658 h 837"/>
                  <a:gd name="connsiteX8" fmla="*/ 239 w 478"/>
                  <a:gd name="connsiteY8" fmla="*/ 718 h 837"/>
                  <a:gd name="connsiteX9" fmla="*/ 180 w 478"/>
                  <a:gd name="connsiteY9" fmla="*/ 777 h 837"/>
                  <a:gd name="connsiteX10" fmla="*/ 120 w 478"/>
                  <a:gd name="connsiteY10" fmla="*/ 837 h 837"/>
                  <a:gd name="connsiteX11" fmla="*/ 120 w 478"/>
                  <a:gd name="connsiteY11" fmla="*/ 837 h 837"/>
                  <a:gd name="connsiteX12" fmla="*/ 60 w 478"/>
                  <a:gd name="connsiteY12" fmla="*/ 837 h 837"/>
                  <a:gd name="connsiteX13" fmla="*/ 0 w 478"/>
                  <a:gd name="connsiteY13" fmla="*/ 837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 h="837">
                    <a:moveTo>
                      <a:pt x="419" y="0"/>
                    </a:moveTo>
                    <a:lnTo>
                      <a:pt x="419" y="0"/>
                    </a:lnTo>
                    <a:lnTo>
                      <a:pt x="479" y="120"/>
                    </a:lnTo>
                    <a:lnTo>
                      <a:pt x="479" y="179"/>
                    </a:lnTo>
                    <a:lnTo>
                      <a:pt x="479" y="299"/>
                    </a:lnTo>
                    <a:lnTo>
                      <a:pt x="419" y="419"/>
                    </a:lnTo>
                    <a:lnTo>
                      <a:pt x="359" y="538"/>
                    </a:lnTo>
                    <a:lnTo>
                      <a:pt x="299" y="658"/>
                    </a:lnTo>
                    <a:lnTo>
                      <a:pt x="239" y="718"/>
                    </a:lnTo>
                    <a:lnTo>
                      <a:pt x="180" y="777"/>
                    </a:lnTo>
                    <a:lnTo>
                      <a:pt x="120" y="837"/>
                    </a:lnTo>
                    <a:lnTo>
                      <a:pt x="120" y="837"/>
                    </a:lnTo>
                    <a:lnTo>
                      <a:pt x="60" y="837"/>
                    </a:lnTo>
                    <a:lnTo>
                      <a:pt x="0" y="837"/>
                    </a:lnTo>
                  </a:path>
                </a:pathLst>
              </a:custGeom>
              <a:noFill/>
              <a:ln w="6350" cap="rnd">
                <a:solidFill>
                  <a:schemeClr val="bg1">
                    <a:alpha val="80000"/>
                  </a:schemeClr>
                </a:solidFill>
                <a:prstDash val="solid"/>
                <a:round/>
              </a:ln>
            </p:spPr>
            <p:txBody>
              <a:bodyPr rtlCol="0" anchor="ctr"/>
              <a:lstStyle/>
              <a:p>
                <a:endParaRPr lang="en-GB"/>
              </a:p>
            </p:txBody>
          </p:sp>
          <p:sp>
            <p:nvSpPr>
              <p:cNvPr id="5431" name="Vrije vorm: vorm 5430">
                <a:extLst>
                  <a:ext uri="{FF2B5EF4-FFF2-40B4-BE49-F238E27FC236}">
                    <a16:creationId xmlns:a16="http://schemas.microsoft.com/office/drawing/2014/main" id="{933F906A-EC0A-4121-9925-35BF50417777}"/>
                  </a:ext>
                </a:extLst>
              </p:cNvPr>
              <p:cNvSpPr/>
              <p:nvPr/>
            </p:nvSpPr>
            <p:spPr>
              <a:xfrm>
                <a:off x="6406689" y="1666449"/>
                <a:ext cx="538" cy="956"/>
              </a:xfrm>
              <a:custGeom>
                <a:avLst/>
                <a:gdLst>
                  <a:gd name="connsiteX0" fmla="*/ 60 w 538"/>
                  <a:gd name="connsiteY0" fmla="*/ 777 h 956"/>
                  <a:gd name="connsiteX1" fmla="*/ 60 w 538"/>
                  <a:gd name="connsiteY1" fmla="*/ 777 h 956"/>
                  <a:gd name="connsiteX2" fmla="*/ 179 w 538"/>
                  <a:gd name="connsiteY2" fmla="*/ 777 h 956"/>
                  <a:gd name="connsiteX3" fmla="*/ 239 w 538"/>
                  <a:gd name="connsiteY3" fmla="*/ 718 h 956"/>
                  <a:gd name="connsiteX4" fmla="*/ 299 w 538"/>
                  <a:gd name="connsiteY4" fmla="*/ 658 h 956"/>
                  <a:gd name="connsiteX5" fmla="*/ 359 w 538"/>
                  <a:gd name="connsiteY5" fmla="*/ 598 h 956"/>
                  <a:gd name="connsiteX6" fmla="*/ 419 w 538"/>
                  <a:gd name="connsiteY6" fmla="*/ 538 h 956"/>
                  <a:gd name="connsiteX7" fmla="*/ 419 w 538"/>
                  <a:gd name="connsiteY7" fmla="*/ 538 h 956"/>
                  <a:gd name="connsiteX8" fmla="*/ 478 w 538"/>
                  <a:gd name="connsiteY8" fmla="*/ 478 h 956"/>
                  <a:gd name="connsiteX9" fmla="*/ 478 w 538"/>
                  <a:gd name="connsiteY9" fmla="*/ 419 h 956"/>
                  <a:gd name="connsiteX10" fmla="*/ 538 w 538"/>
                  <a:gd name="connsiteY10" fmla="*/ 299 h 956"/>
                  <a:gd name="connsiteX11" fmla="*/ 538 w 538"/>
                  <a:gd name="connsiteY11" fmla="*/ 239 h 956"/>
                  <a:gd name="connsiteX12" fmla="*/ 538 w 538"/>
                  <a:gd name="connsiteY12" fmla="*/ 239 h 956"/>
                  <a:gd name="connsiteX13" fmla="*/ 538 w 538"/>
                  <a:gd name="connsiteY13" fmla="*/ 179 h 956"/>
                  <a:gd name="connsiteX14" fmla="*/ 538 w 538"/>
                  <a:gd name="connsiteY14" fmla="*/ 120 h 956"/>
                  <a:gd name="connsiteX15" fmla="*/ 538 w 538"/>
                  <a:gd name="connsiteY15" fmla="*/ 60 h 956"/>
                  <a:gd name="connsiteX16" fmla="*/ 478 w 538"/>
                  <a:gd name="connsiteY16" fmla="*/ 0 h 956"/>
                  <a:gd name="connsiteX17" fmla="*/ 419 w 538"/>
                  <a:gd name="connsiteY17" fmla="*/ 0 h 956"/>
                  <a:gd name="connsiteX18" fmla="*/ 359 w 538"/>
                  <a:gd name="connsiteY18" fmla="*/ 0 h 956"/>
                  <a:gd name="connsiteX19" fmla="*/ 299 w 538"/>
                  <a:gd name="connsiteY19" fmla="*/ 60 h 956"/>
                  <a:gd name="connsiteX20" fmla="*/ 239 w 538"/>
                  <a:gd name="connsiteY20" fmla="*/ 120 h 956"/>
                  <a:gd name="connsiteX21" fmla="*/ 179 w 538"/>
                  <a:gd name="connsiteY21" fmla="*/ 179 h 956"/>
                  <a:gd name="connsiteX22" fmla="*/ 119 w 538"/>
                  <a:gd name="connsiteY22" fmla="*/ 299 h 956"/>
                  <a:gd name="connsiteX23" fmla="*/ 60 w 538"/>
                  <a:gd name="connsiteY23" fmla="*/ 419 h 956"/>
                  <a:gd name="connsiteX24" fmla="*/ 0 w 538"/>
                  <a:gd name="connsiteY24" fmla="*/ 538 h 956"/>
                  <a:gd name="connsiteX25" fmla="*/ 0 w 538"/>
                  <a:gd name="connsiteY25" fmla="*/ 658 h 956"/>
                  <a:gd name="connsiteX26" fmla="*/ 0 w 538"/>
                  <a:gd name="connsiteY26" fmla="*/ 718 h 956"/>
                  <a:gd name="connsiteX27" fmla="*/ 60 w 538"/>
                  <a:gd name="connsiteY27" fmla="*/ 777 h 956"/>
                  <a:gd name="connsiteX28" fmla="*/ 60 w 538"/>
                  <a:gd name="connsiteY28" fmla="*/ 777 h 956"/>
                  <a:gd name="connsiteX29" fmla="*/ 60 w 538"/>
                  <a:gd name="connsiteY29" fmla="*/ 777 h 956"/>
                  <a:gd name="connsiteX30" fmla="*/ 60 w 538"/>
                  <a:gd name="connsiteY30" fmla="*/ 777 h 956"/>
                  <a:gd name="connsiteX31" fmla="*/ 359 w 538"/>
                  <a:gd name="connsiteY31" fmla="*/ 957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8" h="956">
                    <a:moveTo>
                      <a:pt x="60" y="777"/>
                    </a:moveTo>
                    <a:lnTo>
                      <a:pt x="60" y="777"/>
                    </a:lnTo>
                    <a:lnTo>
                      <a:pt x="179" y="777"/>
                    </a:lnTo>
                    <a:lnTo>
                      <a:pt x="239" y="718"/>
                    </a:lnTo>
                    <a:lnTo>
                      <a:pt x="299" y="658"/>
                    </a:lnTo>
                    <a:lnTo>
                      <a:pt x="359" y="598"/>
                    </a:lnTo>
                    <a:lnTo>
                      <a:pt x="419" y="538"/>
                    </a:lnTo>
                    <a:lnTo>
                      <a:pt x="419" y="538"/>
                    </a:lnTo>
                    <a:lnTo>
                      <a:pt x="478" y="478"/>
                    </a:lnTo>
                    <a:lnTo>
                      <a:pt x="478" y="419"/>
                    </a:lnTo>
                    <a:lnTo>
                      <a:pt x="538" y="299"/>
                    </a:lnTo>
                    <a:lnTo>
                      <a:pt x="538" y="239"/>
                    </a:lnTo>
                    <a:lnTo>
                      <a:pt x="538" y="239"/>
                    </a:lnTo>
                    <a:lnTo>
                      <a:pt x="538" y="179"/>
                    </a:lnTo>
                    <a:lnTo>
                      <a:pt x="538" y="120"/>
                    </a:lnTo>
                    <a:lnTo>
                      <a:pt x="538" y="60"/>
                    </a:lnTo>
                    <a:lnTo>
                      <a:pt x="478" y="0"/>
                    </a:lnTo>
                    <a:lnTo>
                      <a:pt x="419" y="0"/>
                    </a:lnTo>
                    <a:lnTo>
                      <a:pt x="359" y="0"/>
                    </a:lnTo>
                    <a:lnTo>
                      <a:pt x="299" y="60"/>
                    </a:lnTo>
                    <a:lnTo>
                      <a:pt x="239" y="120"/>
                    </a:lnTo>
                    <a:lnTo>
                      <a:pt x="179" y="179"/>
                    </a:lnTo>
                    <a:lnTo>
                      <a:pt x="119" y="299"/>
                    </a:lnTo>
                    <a:lnTo>
                      <a:pt x="60" y="419"/>
                    </a:lnTo>
                    <a:lnTo>
                      <a:pt x="0" y="538"/>
                    </a:lnTo>
                    <a:lnTo>
                      <a:pt x="0" y="658"/>
                    </a:lnTo>
                    <a:lnTo>
                      <a:pt x="0" y="718"/>
                    </a:lnTo>
                    <a:lnTo>
                      <a:pt x="60" y="777"/>
                    </a:lnTo>
                    <a:lnTo>
                      <a:pt x="60" y="777"/>
                    </a:lnTo>
                    <a:lnTo>
                      <a:pt x="60" y="777"/>
                    </a:lnTo>
                    <a:lnTo>
                      <a:pt x="60" y="777"/>
                    </a:lnTo>
                    <a:lnTo>
                      <a:pt x="359" y="957"/>
                    </a:lnTo>
                  </a:path>
                </a:pathLst>
              </a:custGeom>
              <a:noFill/>
              <a:ln w="6350" cap="rnd">
                <a:solidFill>
                  <a:schemeClr val="bg1">
                    <a:alpha val="80000"/>
                  </a:schemeClr>
                </a:solidFill>
                <a:prstDash val="solid"/>
                <a:round/>
              </a:ln>
            </p:spPr>
            <p:txBody>
              <a:bodyPr rtlCol="0" anchor="ctr"/>
              <a:lstStyle/>
              <a:p>
                <a:endParaRPr lang="en-GB"/>
              </a:p>
            </p:txBody>
          </p:sp>
          <p:sp>
            <p:nvSpPr>
              <p:cNvPr id="5432" name="Vrije vorm: vorm 5431">
                <a:extLst>
                  <a:ext uri="{FF2B5EF4-FFF2-40B4-BE49-F238E27FC236}">
                    <a16:creationId xmlns:a16="http://schemas.microsoft.com/office/drawing/2014/main" id="{E112D8BF-4261-4E75-95E1-9F0E36DDE975}"/>
                  </a:ext>
                </a:extLst>
              </p:cNvPr>
              <p:cNvSpPr/>
              <p:nvPr/>
            </p:nvSpPr>
            <p:spPr>
              <a:xfrm>
                <a:off x="6407167" y="1666628"/>
                <a:ext cx="478" cy="837"/>
              </a:xfrm>
              <a:custGeom>
                <a:avLst/>
                <a:gdLst>
                  <a:gd name="connsiteX0" fmla="*/ 419 w 478"/>
                  <a:gd name="connsiteY0" fmla="*/ 0 h 837"/>
                  <a:gd name="connsiteX1" fmla="*/ 419 w 478"/>
                  <a:gd name="connsiteY1" fmla="*/ 0 h 837"/>
                  <a:gd name="connsiteX2" fmla="*/ 479 w 478"/>
                  <a:gd name="connsiteY2" fmla="*/ 120 h 837"/>
                  <a:gd name="connsiteX3" fmla="*/ 479 w 478"/>
                  <a:gd name="connsiteY3" fmla="*/ 179 h 837"/>
                  <a:gd name="connsiteX4" fmla="*/ 479 w 478"/>
                  <a:gd name="connsiteY4" fmla="*/ 299 h 837"/>
                  <a:gd name="connsiteX5" fmla="*/ 419 w 478"/>
                  <a:gd name="connsiteY5" fmla="*/ 419 h 837"/>
                  <a:gd name="connsiteX6" fmla="*/ 359 w 478"/>
                  <a:gd name="connsiteY6" fmla="*/ 538 h 837"/>
                  <a:gd name="connsiteX7" fmla="*/ 299 w 478"/>
                  <a:gd name="connsiteY7" fmla="*/ 658 h 837"/>
                  <a:gd name="connsiteX8" fmla="*/ 239 w 478"/>
                  <a:gd name="connsiteY8" fmla="*/ 718 h 837"/>
                  <a:gd name="connsiteX9" fmla="*/ 180 w 478"/>
                  <a:gd name="connsiteY9" fmla="*/ 777 h 837"/>
                  <a:gd name="connsiteX10" fmla="*/ 120 w 478"/>
                  <a:gd name="connsiteY10" fmla="*/ 837 h 837"/>
                  <a:gd name="connsiteX11" fmla="*/ 60 w 478"/>
                  <a:gd name="connsiteY11" fmla="*/ 837 h 837"/>
                  <a:gd name="connsiteX12" fmla="*/ 0 w 478"/>
                  <a:gd name="connsiteY12" fmla="*/ 837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8" h="837">
                    <a:moveTo>
                      <a:pt x="419" y="0"/>
                    </a:moveTo>
                    <a:lnTo>
                      <a:pt x="419" y="0"/>
                    </a:lnTo>
                    <a:lnTo>
                      <a:pt x="479" y="120"/>
                    </a:lnTo>
                    <a:lnTo>
                      <a:pt x="479" y="179"/>
                    </a:lnTo>
                    <a:lnTo>
                      <a:pt x="479" y="299"/>
                    </a:lnTo>
                    <a:lnTo>
                      <a:pt x="419" y="419"/>
                    </a:lnTo>
                    <a:lnTo>
                      <a:pt x="359" y="538"/>
                    </a:lnTo>
                    <a:lnTo>
                      <a:pt x="299" y="658"/>
                    </a:lnTo>
                    <a:lnTo>
                      <a:pt x="239" y="718"/>
                    </a:lnTo>
                    <a:lnTo>
                      <a:pt x="180" y="777"/>
                    </a:lnTo>
                    <a:lnTo>
                      <a:pt x="120" y="837"/>
                    </a:lnTo>
                    <a:lnTo>
                      <a:pt x="60" y="837"/>
                    </a:lnTo>
                    <a:lnTo>
                      <a:pt x="0" y="837"/>
                    </a:lnTo>
                  </a:path>
                </a:pathLst>
              </a:custGeom>
              <a:noFill/>
              <a:ln w="6350" cap="rnd">
                <a:solidFill>
                  <a:schemeClr val="bg1">
                    <a:alpha val="80000"/>
                  </a:schemeClr>
                </a:solidFill>
                <a:prstDash val="solid"/>
                <a:round/>
              </a:ln>
            </p:spPr>
            <p:txBody>
              <a:bodyPr rtlCol="0" anchor="ctr"/>
              <a:lstStyle/>
              <a:p>
                <a:endParaRPr lang="en-GB"/>
              </a:p>
            </p:txBody>
          </p:sp>
          <p:sp>
            <p:nvSpPr>
              <p:cNvPr id="5433" name="Vrije vorm: vorm 5432">
                <a:extLst>
                  <a:ext uri="{FF2B5EF4-FFF2-40B4-BE49-F238E27FC236}">
                    <a16:creationId xmlns:a16="http://schemas.microsoft.com/office/drawing/2014/main" id="{2B46E1B6-F8DD-406E-B8D9-2C3E20FA17A7}"/>
                  </a:ext>
                </a:extLst>
              </p:cNvPr>
              <p:cNvSpPr/>
              <p:nvPr/>
            </p:nvSpPr>
            <p:spPr>
              <a:xfrm>
                <a:off x="6407227" y="1666449"/>
                <a:ext cx="298" cy="179"/>
              </a:xfrm>
              <a:custGeom>
                <a:avLst/>
                <a:gdLst>
                  <a:gd name="connsiteX0" fmla="*/ 0 w 298"/>
                  <a:gd name="connsiteY0" fmla="*/ 0 h 179"/>
                  <a:gd name="connsiteX1" fmla="*/ 180 w 298"/>
                  <a:gd name="connsiteY1" fmla="*/ 120 h 179"/>
                  <a:gd name="connsiteX2" fmla="*/ 180 w 298"/>
                  <a:gd name="connsiteY2" fmla="*/ 120 h 179"/>
                  <a:gd name="connsiteX3" fmla="*/ 299 w 298"/>
                  <a:gd name="connsiteY3" fmla="*/ 179 h 179"/>
                </a:gdLst>
                <a:ahLst/>
                <a:cxnLst>
                  <a:cxn ang="0">
                    <a:pos x="connsiteX0" y="connsiteY0"/>
                  </a:cxn>
                  <a:cxn ang="0">
                    <a:pos x="connsiteX1" y="connsiteY1"/>
                  </a:cxn>
                  <a:cxn ang="0">
                    <a:pos x="connsiteX2" y="connsiteY2"/>
                  </a:cxn>
                  <a:cxn ang="0">
                    <a:pos x="connsiteX3" y="connsiteY3"/>
                  </a:cxn>
                </a:cxnLst>
                <a:rect l="l" t="t" r="r" b="b"/>
                <a:pathLst>
                  <a:path w="298" h="179">
                    <a:moveTo>
                      <a:pt x="0" y="0"/>
                    </a:moveTo>
                    <a:lnTo>
                      <a:pt x="180" y="120"/>
                    </a:lnTo>
                    <a:lnTo>
                      <a:pt x="180" y="120"/>
                    </a:lnTo>
                    <a:lnTo>
                      <a:pt x="299" y="179"/>
                    </a:lnTo>
                  </a:path>
                </a:pathLst>
              </a:custGeom>
              <a:noFill/>
              <a:ln w="6350" cap="rnd">
                <a:solidFill>
                  <a:schemeClr val="bg1">
                    <a:alpha val="80000"/>
                  </a:schemeClr>
                </a:solidFill>
                <a:prstDash val="solid"/>
                <a:round/>
              </a:ln>
            </p:spPr>
            <p:txBody>
              <a:bodyPr rtlCol="0" anchor="ctr"/>
              <a:lstStyle/>
              <a:p>
                <a:endParaRPr lang="en-GB"/>
              </a:p>
            </p:txBody>
          </p:sp>
          <p:sp>
            <p:nvSpPr>
              <p:cNvPr id="5434" name="Vrije vorm: vorm 5433">
                <a:extLst>
                  <a:ext uri="{FF2B5EF4-FFF2-40B4-BE49-F238E27FC236}">
                    <a16:creationId xmlns:a16="http://schemas.microsoft.com/office/drawing/2014/main" id="{CC333FCB-2320-4A7E-9D5D-85D8828796B1}"/>
                  </a:ext>
                </a:extLst>
              </p:cNvPr>
              <p:cNvSpPr/>
              <p:nvPr/>
            </p:nvSpPr>
            <p:spPr>
              <a:xfrm>
                <a:off x="6407466" y="1669379"/>
                <a:ext cx="1016" cy="837"/>
              </a:xfrm>
              <a:custGeom>
                <a:avLst/>
                <a:gdLst>
                  <a:gd name="connsiteX0" fmla="*/ 0 w 1016"/>
                  <a:gd name="connsiteY0" fmla="*/ 778 h 837"/>
                  <a:gd name="connsiteX1" fmla="*/ 119 w 1016"/>
                  <a:gd name="connsiteY1" fmla="*/ 837 h 837"/>
                  <a:gd name="connsiteX2" fmla="*/ 239 w 1016"/>
                  <a:gd name="connsiteY2" fmla="*/ 837 h 837"/>
                  <a:gd name="connsiteX3" fmla="*/ 239 w 1016"/>
                  <a:gd name="connsiteY3" fmla="*/ 837 h 837"/>
                  <a:gd name="connsiteX4" fmla="*/ 418 w 1016"/>
                  <a:gd name="connsiteY4" fmla="*/ 778 h 837"/>
                  <a:gd name="connsiteX5" fmla="*/ 598 w 1016"/>
                  <a:gd name="connsiteY5" fmla="*/ 658 h 837"/>
                  <a:gd name="connsiteX6" fmla="*/ 778 w 1016"/>
                  <a:gd name="connsiteY6" fmla="*/ 478 h 837"/>
                  <a:gd name="connsiteX7" fmla="*/ 897 w 1016"/>
                  <a:gd name="connsiteY7" fmla="*/ 239 h 837"/>
                  <a:gd name="connsiteX8" fmla="*/ 1017 w 1016"/>
                  <a:gd name="connsiteY8" fmla="*/ 0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6" h="837">
                    <a:moveTo>
                      <a:pt x="0" y="778"/>
                    </a:moveTo>
                    <a:lnTo>
                      <a:pt x="119" y="837"/>
                    </a:lnTo>
                    <a:lnTo>
                      <a:pt x="239" y="837"/>
                    </a:lnTo>
                    <a:lnTo>
                      <a:pt x="239" y="837"/>
                    </a:lnTo>
                    <a:lnTo>
                      <a:pt x="418" y="778"/>
                    </a:lnTo>
                    <a:lnTo>
                      <a:pt x="598" y="658"/>
                    </a:lnTo>
                    <a:lnTo>
                      <a:pt x="778" y="478"/>
                    </a:lnTo>
                    <a:lnTo>
                      <a:pt x="897" y="239"/>
                    </a:lnTo>
                    <a:lnTo>
                      <a:pt x="1017" y="0"/>
                    </a:lnTo>
                  </a:path>
                </a:pathLst>
              </a:custGeom>
              <a:noFill/>
              <a:ln w="6350" cap="rnd">
                <a:solidFill>
                  <a:schemeClr val="bg1">
                    <a:alpha val="80000"/>
                  </a:schemeClr>
                </a:solidFill>
                <a:prstDash val="solid"/>
                <a:round/>
              </a:ln>
            </p:spPr>
            <p:txBody>
              <a:bodyPr rtlCol="0" anchor="ctr"/>
              <a:lstStyle/>
              <a:p>
                <a:endParaRPr lang="en-GB"/>
              </a:p>
            </p:txBody>
          </p:sp>
          <p:sp>
            <p:nvSpPr>
              <p:cNvPr id="5435" name="Vrije vorm: vorm 5434">
                <a:extLst>
                  <a:ext uri="{FF2B5EF4-FFF2-40B4-BE49-F238E27FC236}">
                    <a16:creationId xmlns:a16="http://schemas.microsoft.com/office/drawing/2014/main" id="{6D4CC396-8A58-4850-85EB-260F519A92AB}"/>
                  </a:ext>
                </a:extLst>
              </p:cNvPr>
              <p:cNvSpPr/>
              <p:nvPr/>
            </p:nvSpPr>
            <p:spPr>
              <a:xfrm>
                <a:off x="6407167" y="1670874"/>
                <a:ext cx="5980" cy="119"/>
              </a:xfrm>
              <a:custGeom>
                <a:avLst/>
                <a:gdLst>
                  <a:gd name="connsiteX0" fmla="*/ 0 w 5980"/>
                  <a:gd name="connsiteY0" fmla="*/ 120 h 119"/>
                  <a:gd name="connsiteX1" fmla="*/ 0 w 5980"/>
                  <a:gd name="connsiteY1" fmla="*/ 60 h 119"/>
                  <a:gd name="connsiteX2" fmla="*/ 0 w 5980"/>
                  <a:gd name="connsiteY2" fmla="*/ 0 h 119"/>
                </a:gdLst>
                <a:ahLst/>
                <a:cxnLst>
                  <a:cxn ang="0">
                    <a:pos x="connsiteX0" y="connsiteY0"/>
                  </a:cxn>
                  <a:cxn ang="0">
                    <a:pos x="connsiteX1" y="connsiteY1"/>
                  </a:cxn>
                  <a:cxn ang="0">
                    <a:pos x="connsiteX2" y="connsiteY2"/>
                  </a:cxn>
                </a:cxnLst>
                <a:rect l="l" t="t" r="r" b="b"/>
                <a:pathLst>
                  <a:path w="5980" h="119">
                    <a:moveTo>
                      <a:pt x="0" y="120"/>
                    </a:moveTo>
                    <a:lnTo>
                      <a:pt x="0" y="6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36" name="Vrije vorm: vorm 5435">
                <a:extLst>
                  <a:ext uri="{FF2B5EF4-FFF2-40B4-BE49-F238E27FC236}">
                    <a16:creationId xmlns:a16="http://schemas.microsoft.com/office/drawing/2014/main" id="{10C714E4-F1C8-4926-8AEB-49301D0EB889}"/>
                  </a:ext>
                </a:extLst>
              </p:cNvPr>
              <p:cNvSpPr/>
              <p:nvPr/>
            </p:nvSpPr>
            <p:spPr>
              <a:xfrm>
                <a:off x="6406629" y="1671592"/>
                <a:ext cx="418" cy="657"/>
              </a:xfrm>
              <a:custGeom>
                <a:avLst/>
                <a:gdLst>
                  <a:gd name="connsiteX0" fmla="*/ 0 w 418"/>
                  <a:gd name="connsiteY0" fmla="*/ 658 h 657"/>
                  <a:gd name="connsiteX1" fmla="*/ 179 w 418"/>
                  <a:gd name="connsiteY1" fmla="*/ 478 h 657"/>
                  <a:gd name="connsiteX2" fmla="*/ 299 w 418"/>
                  <a:gd name="connsiteY2" fmla="*/ 239 h 657"/>
                  <a:gd name="connsiteX3" fmla="*/ 419 w 418"/>
                  <a:gd name="connsiteY3" fmla="*/ 0 h 657"/>
                </a:gdLst>
                <a:ahLst/>
                <a:cxnLst>
                  <a:cxn ang="0">
                    <a:pos x="connsiteX0" y="connsiteY0"/>
                  </a:cxn>
                  <a:cxn ang="0">
                    <a:pos x="connsiteX1" y="connsiteY1"/>
                  </a:cxn>
                  <a:cxn ang="0">
                    <a:pos x="connsiteX2" y="connsiteY2"/>
                  </a:cxn>
                  <a:cxn ang="0">
                    <a:pos x="connsiteX3" y="connsiteY3"/>
                  </a:cxn>
                </a:cxnLst>
                <a:rect l="l" t="t" r="r" b="b"/>
                <a:pathLst>
                  <a:path w="418" h="657">
                    <a:moveTo>
                      <a:pt x="0" y="658"/>
                    </a:moveTo>
                    <a:lnTo>
                      <a:pt x="179" y="478"/>
                    </a:lnTo>
                    <a:lnTo>
                      <a:pt x="299" y="239"/>
                    </a:lnTo>
                    <a:lnTo>
                      <a:pt x="419" y="0"/>
                    </a:lnTo>
                  </a:path>
                </a:pathLst>
              </a:custGeom>
              <a:noFill/>
              <a:ln w="6350" cap="rnd">
                <a:solidFill>
                  <a:schemeClr val="bg1">
                    <a:alpha val="80000"/>
                  </a:schemeClr>
                </a:solidFill>
                <a:prstDash val="solid"/>
                <a:round/>
              </a:ln>
            </p:spPr>
            <p:txBody>
              <a:bodyPr rtlCol="0" anchor="ctr"/>
              <a:lstStyle/>
              <a:p>
                <a:endParaRPr lang="en-GB"/>
              </a:p>
            </p:txBody>
          </p:sp>
          <p:sp>
            <p:nvSpPr>
              <p:cNvPr id="5437" name="Vrije vorm: vorm 5436">
                <a:extLst>
                  <a:ext uri="{FF2B5EF4-FFF2-40B4-BE49-F238E27FC236}">
                    <a16:creationId xmlns:a16="http://schemas.microsoft.com/office/drawing/2014/main" id="{B86D043C-A019-4D62-81BE-BDF790303503}"/>
                  </a:ext>
                </a:extLst>
              </p:cNvPr>
              <p:cNvSpPr/>
              <p:nvPr/>
            </p:nvSpPr>
            <p:spPr>
              <a:xfrm>
                <a:off x="6408483" y="1668960"/>
                <a:ext cx="5980" cy="119"/>
              </a:xfrm>
              <a:custGeom>
                <a:avLst/>
                <a:gdLst>
                  <a:gd name="connsiteX0" fmla="*/ 0 w 5980"/>
                  <a:gd name="connsiteY0" fmla="*/ 120 h 119"/>
                  <a:gd name="connsiteX1" fmla="*/ 0 w 5980"/>
                  <a:gd name="connsiteY1" fmla="*/ 0 h 119"/>
                </a:gdLst>
                <a:ahLst/>
                <a:cxnLst>
                  <a:cxn ang="0">
                    <a:pos x="connsiteX0" y="connsiteY0"/>
                  </a:cxn>
                  <a:cxn ang="0">
                    <a:pos x="connsiteX1" y="connsiteY1"/>
                  </a:cxn>
                </a:cxnLst>
                <a:rect l="l" t="t" r="r" b="b"/>
                <a:pathLst>
                  <a:path w="5980" h="119">
                    <a:moveTo>
                      <a:pt x="0" y="12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38" name="Vrije vorm: vorm 5437">
                <a:extLst>
                  <a:ext uri="{FF2B5EF4-FFF2-40B4-BE49-F238E27FC236}">
                    <a16:creationId xmlns:a16="http://schemas.microsoft.com/office/drawing/2014/main" id="{F1F6E695-D586-4CD5-B17C-58D4802A01CF}"/>
                  </a:ext>
                </a:extLst>
              </p:cNvPr>
              <p:cNvSpPr/>
              <p:nvPr/>
            </p:nvSpPr>
            <p:spPr>
              <a:xfrm>
                <a:off x="6404356" y="1671592"/>
                <a:ext cx="418" cy="478"/>
              </a:xfrm>
              <a:custGeom>
                <a:avLst/>
                <a:gdLst>
                  <a:gd name="connsiteX0" fmla="*/ 0 w 418"/>
                  <a:gd name="connsiteY0" fmla="*/ 478 h 478"/>
                  <a:gd name="connsiteX1" fmla="*/ 0 w 418"/>
                  <a:gd name="connsiteY1" fmla="*/ 478 h 478"/>
                  <a:gd name="connsiteX2" fmla="*/ 120 w 418"/>
                  <a:gd name="connsiteY2" fmla="*/ 478 h 478"/>
                  <a:gd name="connsiteX3" fmla="*/ 179 w 418"/>
                  <a:gd name="connsiteY3" fmla="*/ 419 h 478"/>
                  <a:gd name="connsiteX4" fmla="*/ 239 w 418"/>
                  <a:gd name="connsiteY4" fmla="*/ 359 h 478"/>
                  <a:gd name="connsiteX5" fmla="*/ 299 w 418"/>
                  <a:gd name="connsiteY5" fmla="*/ 299 h 478"/>
                  <a:gd name="connsiteX6" fmla="*/ 359 w 418"/>
                  <a:gd name="connsiteY6" fmla="*/ 179 h 478"/>
                  <a:gd name="connsiteX7" fmla="*/ 419 w 418"/>
                  <a:gd name="connsiteY7" fmla="*/ 60 h 478"/>
                  <a:gd name="connsiteX8" fmla="*/ 419 w 418"/>
                  <a:gd name="connsiteY8" fmla="*/ 0 h 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8" h="478">
                    <a:moveTo>
                      <a:pt x="0" y="478"/>
                    </a:moveTo>
                    <a:lnTo>
                      <a:pt x="0" y="478"/>
                    </a:lnTo>
                    <a:lnTo>
                      <a:pt x="120" y="478"/>
                    </a:lnTo>
                    <a:lnTo>
                      <a:pt x="179" y="419"/>
                    </a:lnTo>
                    <a:lnTo>
                      <a:pt x="239" y="359"/>
                    </a:lnTo>
                    <a:lnTo>
                      <a:pt x="299" y="299"/>
                    </a:lnTo>
                    <a:lnTo>
                      <a:pt x="359" y="179"/>
                    </a:lnTo>
                    <a:lnTo>
                      <a:pt x="419" y="60"/>
                    </a:lnTo>
                    <a:lnTo>
                      <a:pt x="419" y="0"/>
                    </a:lnTo>
                  </a:path>
                </a:pathLst>
              </a:custGeom>
              <a:noFill/>
              <a:ln w="6350" cap="rnd">
                <a:solidFill>
                  <a:schemeClr val="bg1">
                    <a:alpha val="80000"/>
                  </a:schemeClr>
                </a:solidFill>
                <a:prstDash val="solid"/>
                <a:round/>
              </a:ln>
            </p:spPr>
            <p:txBody>
              <a:bodyPr rtlCol="0" anchor="ctr"/>
              <a:lstStyle/>
              <a:p>
                <a:endParaRPr lang="en-GB"/>
              </a:p>
            </p:txBody>
          </p:sp>
          <p:sp>
            <p:nvSpPr>
              <p:cNvPr id="5439" name="Vrije vorm: vorm 5438">
                <a:extLst>
                  <a:ext uri="{FF2B5EF4-FFF2-40B4-BE49-F238E27FC236}">
                    <a16:creationId xmlns:a16="http://schemas.microsoft.com/office/drawing/2014/main" id="{4C7EAE44-9DCD-4B1E-95C8-33706A5512C7}"/>
                  </a:ext>
                </a:extLst>
              </p:cNvPr>
              <p:cNvSpPr/>
              <p:nvPr/>
            </p:nvSpPr>
            <p:spPr>
              <a:xfrm>
                <a:off x="6404775" y="1674582"/>
                <a:ext cx="597" cy="59"/>
              </a:xfrm>
              <a:custGeom>
                <a:avLst/>
                <a:gdLst>
                  <a:gd name="connsiteX0" fmla="*/ 598 w 597"/>
                  <a:gd name="connsiteY0" fmla="*/ 60 h 59"/>
                  <a:gd name="connsiteX1" fmla="*/ 0 w 597"/>
                  <a:gd name="connsiteY1" fmla="*/ 0 h 59"/>
                </a:gdLst>
                <a:ahLst/>
                <a:cxnLst>
                  <a:cxn ang="0">
                    <a:pos x="connsiteX0" y="connsiteY0"/>
                  </a:cxn>
                  <a:cxn ang="0">
                    <a:pos x="connsiteX1" y="connsiteY1"/>
                  </a:cxn>
                </a:cxnLst>
                <a:rect l="l" t="t" r="r" b="b"/>
                <a:pathLst>
                  <a:path w="597" h="59">
                    <a:moveTo>
                      <a:pt x="598" y="6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40" name="Vrije vorm: vorm 5439">
                <a:extLst>
                  <a:ext uri="{FF2B5EF4-FFF2-40B4-BE49-F238E27FC236}">
                    <a16:creationId xmlns:a16="http://schemas.microsoft.com/office/drawing/2014/main" id="{3A2B08A0-FE52-4B2C-8302-5BE7558E7237}"/>
                  </a:ext>
                </a:extLst>
              </p:cNvPr>
              <p:cNvSpPr/>
              <p:nvPr/>
            </p:nvSpPr>
            <p:spPr>
              <a:xfrm>
                <a:off x="6409081" y="1665671"/>
                <a:ext cx="298" cy="179"/>
              </a:xfrm>
              <a:custGeom>
                <a:avLst/>
                <a:gdLst>
                  <a:gd name="connsiteX0" fmla="*/ 0 w 298"/>
                  <a:gd name="connsiteY0" fmla="*/ 0 h 179"/>
                  <a:gd name="connsiteX1" fmla="*/ 299 w 298"/>
                  <a:gd name="connsiteY1" fmla="*/ 179 h 179"/>
                  <a:gd name="connsiteX2" fmla="*/ 299 w 298"/>
                  <a:gd name="connsiteY2" fmla="*/ 179 h 179"/>
                </a:gdLst>
                <a:ahLst/>
                <a:cxnLst>
                  <a:cxn ang="0">
                    <a:pos x="connsiteX0" y="connsiteY0"/>
                  </a:cxn>
                  <a:cxn ang="0">
                    <a:pos x="connsiteX1" y="connsiteY1"/>
                  </a:cxn>
                  <a:cxn ang="0">
                    <a:pos x="connsiteX2" y="connsiteY2"/>
                  </a:cxn>
                </a:cxnLst>
                <a:rect l="l" t="t" r="r" b="b"/>
                <a:pathLst>
                  <a:path w="298" h="179">
                    <a:moveTo>
                      <a:pt x="0" y="0"/>
                    </a:moveTo>
                    <a:lnTo>
                      <a:pt x="299" y="179"/>
                    </a:lnTo>
                    <a:lnTo>
                      <a:pt x="299" y="179"/>
                    </a:lnTo>
                  </a:path>
                </a:pathLst>
              </a:custGeom>
              <a:noFill/>
              <a:ln w="6350" cap="rnd">
                <a:solidFill>
                  <a:schemeClr val="bg1">
                    <a:alpha val="80000"/>
                  </a:schemeClr>
                </a:solidFill>
                <a:prstDash val="solid"/>
                <a:round/>
              </a:ln>
            </p:spPr>
            <p:txBody>
              <a:bodyPr rtlCol="0" anchor="ctr"/>
              <a:lstStyle/>
              <a:p>
                <a:endParaRPr lang="en-GB"/>
              </a:p>
            </p:txBody>
          </p:sp>
          <p:sp>
            <p:nvSpPr>
              <p:cNvPr id="5441" name="Vrije vorm: vorm 5440">
                <a:extLst>
                  <a:ext uri="{FF2B5EF4-FFF2-40B4-BE49-F238E27FC236}">
                    <a16:creationId xmlns:a16="http://schemas.microsoft.com/office/drawing/2014/main" id="{3BD9FE03-00E4-4E9D-BE4B-6B9A5B71E70E}"/>
                  </a:ext>
                </a:extLst>
              </p:cNvPr>
              <p:cNvSpPr/>
              <p:nvPr/>
            </p:nvSpPr>
            <p:spPr>
              <a:xfrm>
                <a:off x="6407107" y="1668303"/>
                <a:ext cx="1136" cy="1734"/>
              </a:xfrm>
              <a:custGeom>
                <a:avLst/>
                <a:gdLst>
                  <a:gd name="connsiteX0" fmla="*/ 0 w 1136"/>
                  <a:gd name="connsiteY0" fmla="*/ 1675 h 1734"/>
                  <a:gd name="connsiteX1" fmla="*/ 119 w 1136"/>
                  <a:gd name="connsiteY1" fmla="*/ 1734 h 1734"/>
                  <a:gd name="connsiteX2" fmla="*/ 239 w 1136"/>
                  <a:gd name="connsiteY2" fmla="*/ 1734 h 1734"/>
                  <a:gd name="connsiteX3" fmla="*/ 418 w 1136"/>
                  <a:gd name="connsiteY3" fmla="*/ 1675 h 1734"/>
                  <a:gd name="connsiteX4" fmla="*/ 598 w 1136"/>
                  <a:gd name="connsiteY4" fmla="*/ 1555 h 1734"/>
                  <a:gd name="connsiteX5" fmla="*/ 658 w 1136"/>
                  <a:gd name="connsiteY5" fmla="*/ 1495 h 1734"/>
                  <a:gd name="connsiteX6" fmla="*/ 777 w 1136"/>
                  <a:gd name="connsiteY6" fmla="*/ 1376 h 1734"/>
                  <a:gd name="connsiteX7" fmla="*/ 897 w 1136"/>
                  <a:gd name="connsiteY7" fmla="*/ 1136 h 1734"/>
                  <a:gd name="connsiteX8" fmla="*/ 1017 w 1136"/>
                  <a:gd name="connsiteY8" fmla="*/ 897 h 1734"/>
                  <a:gd name="connsiteX9" fmla="*/ 1076 w 1136"/>
                  <a:gd name="connsiteY9" fmla="*/ 658 h 1734"/>
                  <a:gd name="connsiteX10" fmla="*/ 1076 w 1136"/>
                  <a:gd name="connsiteY10" fmla="*/ 658 h 1734"/>
                  <a:gd name="connsiteX11" fmla="*/ 1136 w 1136"/>
                  <a:gd name="connsiteY11" fmla="*/ 419 h 1734"/>
                  <a:gd name="connsiteX12" fmla="*/ 1136 w 1136"/>
                  <a:gd name="connsiteY12" fmla="*/ 239 h 1734"/>
                  <a:gd name="connsiteX13" fmla="*/ 1136 w 1136"/>
                  <a:gd name="connsiteY13" fmla="*/ 179 h 1734"/>
                  <a:gd name="connsiteX14" fmla="*/ 1136 w 1136"/>
                  <a:gd name="connsiteY14" fmla="*/ 120 h 1734"/>
                  <a:gd name="connsiteX15" fmla="*/ 1076 w 1136"/>
                  <a:gd name="connsiteY15" fmla="*/ 0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6" h="1734">
                    <a:moveTo>
                      <a:pt x="0" y="1675"/>
                    </a:moveTo>
                    <a:lnTo>
                      <a:pt x="119" y="1734"/>
                    </a:lnTo>
                    <a:lnTo>
                      <a:pt x="239" y="1734"/>
                    </a:lnTo>
                    <a:lnTo>
                      <a:pt x="418" y="1675"/>
                    </a:lnTo>
                    <a:lnTo>
                      <a:pt x="598" y="1555"/>
                    </a:lnTo>
                    <a:lnTo>
                      <a:pt x="658" y="1495"/>
                    </a:lnTo>
                    <a:lnTo>
                      <a:pt x="777" y="1376"/>
                    </a:lnTo>
                    <a:lnTo>
                      <a:pt x="897" y="1136"/>
                    </a:lnTo>
                    <a:lnTo>
                      <a:pt x="1017" y="897"/>
                    </a:lnTo>
                    <a:lnTo>
                      <a:pt x="1076" y="658"/>
                    </a:lnTo>
                    <a:lnTo>
                      <a:pt x="1076" y="658"/>
                    </a:lnTo>
                    <a:lnTo>
                      <a:pt x="1136" y="419"/>
                    </a:lnTo>
                    <a:lnTo>
                      <a:pt x="1136" y="239"/>
                    </a:lnTo>
                    <a:lnTo>
                      <a:pt x="1136" y="179"/>
                    </a:lnTo>
                    <a:lnTo>
                      <a:pt x="1136" y="120"/>
                    </a:lnTo>
                    <a:lnTo>
                      <a:pt x="1076" y="0"/>
                    </a:lnTo>
                  </a:path>
                </a:pathLst>
              </a:custGeom>
              <a:noFill/>
              <a:ln w="6350" cap="rnd">
                <a:solidFill>
                  <a:schemeClr val="bg1">
                    <a:alpha val="80000"/>
                  </a:schemeClr>
                </a:solidFill>
                <a:prstDash val="solid"/>
                <a:round/>
              </a:ln>
            </p:spPr>
            <p:txBody>
              <a:bodyPr rtlCol="0" anchor="ctr"/>
              <a:lstStyle/>
              <a:p>
                <a:endParaRPr lang="en-GB"/>
              </a:p>
            </p:txBody>
          </p:sp>
          <p:sp>
            <p:nvSpPr>
              <p:cNvPr id="5442" name="Vrije vorm: vorm 5441">
                <a:extLst>
                  <a:ext uri="{FF2B5EF4-FFF2-40B4-BE49-F238E27FC236}">
                    <a16:creationId xmlns:a16="http://schemas.microsoft.com/office/drawing/2014/main" id="{30821235-5341-41B9-AEEB-BD4C3502D149}"/>
                  </a:ext>
                </a:extLst>
              </p:cNvPr>
              <p:cNvSpPr/>
              <p:nvPr/>
            </p:nvSpPr>
            <p:spPr>
              <a:xfrm>
                <a:off x="6405612" y="1670575"/>
                <a:ext cx="1255" cy="1913"/>
              </a:xfrm>
              <a:custGeom>
                <a:avLst/>
                <a:gdLst>
                  <a:gd name="connsiteX0" fmla="*/ 119 w 1255"/>
                  <a:gd name="connsiteY0" fmla="*/ 1734 h 1913"/>
                  <a:gd name="connsiteX1" fmla="*/ 239 w 1255"/>
                  <a:gd name="connsiteY1" fmla="*/ 1794 h 1913"/>
                  <a:gd name="connsiteX2" fmla="*/ 359 w 1255"/>
                  <a:gd name="connsiteY2" fmla="*/ 1794 h 1913"/>
                  <a:gd name="connsiteX3" fmla="*/ 538 w 1255"/>
                  <a:gd name="connsiteY3" fmla="*/ 1734 h 1913"/>
                  <a:gd name="connsiteX4" fmla="*/ 718 w 1255"/>
                  <a:gd name="connsiteY4" fmla="*/ 1615 h 1913"/>
                  <a:gd name="connsiteX5" fmla="*/ 777 w 1255"/>
                  <a:gd name="connsiteY5" fmla="*/ 1555 h 1913"/>
                  <a:gd name="connsiteX6" fmla="*/ 897 w 1255"/>
                  <a:gd name="connsiteY6" fmla="*/ 1435 h 1913"/>
                  <a:gd name="connsiteX7" fmla="*/ 1017 w 1255"/>
                  <a:gd name="connsiteY7" fmla="*/ 1196 h 1913"/>
                  <a:gd name="connsiteX8" fmla="*/ 1136 w 1255"/>
                  <a:gd name="connsiteY8" fmla="*/ 957 h 1913"/>
                  <a:gd name="connsiteX9" fmla="*/ 1196 w 1255"/>
                  <a:gd name="connsiteY9" fmla="*/ 718 h 1913"/>
                  <a:gd name="connsiteX10" fmla="*/ 1196 w 1255"/>
                  <a:gd name="connsiteY10" fmla="*/ 718 h 1913"/>
                  <a:gd name="connsiteX11" fmla="*/ 1256 w 1255"/>
                  <a:gd name="connsiteY11" fmla="*/ 478 h 1913"/>
                  <a:gd name="connsiteX12" fmla="*/ 1256 w 1255"/>
                  <a:gd name="connsiteY12" fmla="*/ 299 h 1913"/>
                  <a:gd name="connsiteX13" fmla="*/ 1256 w 1255"/>
                  <a:gd name="connsiteY13" fmla="*/ 239 h 1913"/>
                  <a:gd name="connsiteX14" fmla="*/ 1256 w 1255"/>
                  <a:gd name="connsiteY14" fmla="*/ 180 h 1913"/>
                  <a:gd name="connsiteX15" fmla="*/ 1196 w 1255"/>
                  <a:gd name="connsiteY15" fmla="*/ 60 h 1913"/>
                  <a:gd name="connsiteX16" fmla="*/ 1076 w 1255"/>
                  <a:gd name="connsiteY16" fmla="*/ 0 h 1913"/>
                  <a:gd name="connsiteX17" fmla="*/ 1017 w 1255"/>
                  <a:gd name="connsiteY17" fmla="*/ 0 h 1913"/>
                  <a:gd name="connsiteX18" fmla="*/ 957 w 1255"/>
                  <a:gd name="connsiteY18" fmla="*/ 0 h 1913"/>
                  <a:gd name="connsiteX19" fmla="*/ 777 w 1255"/>
                  <a:gd name="connsiteY19" fmla="*/ 60 h 1913"/>
                  <a:gd name="connsiteX20" fmla="*/ 598 w 1255"/>
                  <a:gd name="connsiteY20" fmla="*/ 180 h 1913"/>
                  <a:gd name="connsiteX21" fmla="*/ 418 w 1255"/>
                  <a:gd name="connsiteY21" fmla="*/ 359 h 1913"/>
                  <a:gd name="connsiteX22" fmla="*/ 299 w 1255"/>
                  <a:gd name="connsiteY22" fmla="*/ 598 h 1913"/>
                  <a:gd name="connsiteX23" fmla="*/ 179 w 1255"/>
                  <a:gd name="connsiteY23" fmla="*/ 837 h 1913"/>
                  <a:gd name="connsiteX24" fmla="*/ 119 w 1255"/>
                  <a:gd name="connsiteY24" fmla="*/ 957 h 1913"/>
                  <a:gd name="connsiteX25" fmla="*/ 60 w 1255"/>
                  <a:gd name="connsiteY25" fmla="*/ 1077 h 1913"/>
                  <a:gd name="connsiteX26" fmla="*/ 0 w 1255"/>
                  <a:gd name="connsiteY26" fmla="*/ 1316 h 1913"/>
                  <a:gd name="connsiteX27" fmla="*/ 0 w 1255"/>
                  <a:gd name="connsiteY27" fmla="*/ 1435 h 1913"/>
                  <a:gd name="connsiteX28" fmla="*/ 0 w 1255"/>
                  <a:gd name="connsiteY28" fmla="*/ 1495 h 1913"/>
                  <a:gd name="connsiteX29" fmla="*/ 60 w 1255"/>
                  <a:gd name="connsiteY29" fmla="*/ 1615 h 1913"/>
                  <a:gd name="connsiteX30" fmla="*/ 119 w 1255"/>
                  <a:gd name="connsiteY30" fmla="*/ 1734 h 1913"/>
                  <a:gd name="connsiteX31" fmla="*/ 418 w 1255"/>
                  <a:gd name="connsiteY31" fmla="*/ 1914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55" h="1913">
                    <a:moveTo>
                      <a:pt x="119" y="1734"/>
                    </a:moveTo>
                    <a:lnTo>
                      <a:pt x="239" y="1794"/>
                    </a:lnTo>
                    <a:lnTo>
                      <a:pt x="359" y="1794"/>
                    </a:lnTo>
                    <a:lnTo>
                      <a:pt x="538" y="1734"/>
                    </a:lnTo>
                    <a:lnTo>
                      <a:pt x="718" y="1615"/>
                    </a:lnTo>
                    <a:lnTo>
                      <a:pt x="777" y="1555"/>
                    </a:lnTo>
                    <a:lnTo>
                      <a:pt x="897" y="1435"/>
                    </a:lnTo>
                    <a:lnTo>
                      <a:pt x="1017" y="1196"/>
                    </a:lnTo>
                    <a:lnTo>
                      <a:pt x="1136" y="957"/>
                    </a:lnTo>
                    <a:lnTo>
                      <a:pt x="1196" y="718"/>
                    </a:lnTo>
                    <a:lnTo>
                      <a:pt x="1196" y="718"/>
                    </a:lnTo>
                    <a:lnTo>
                      <a:pt x="1256" y="478"/>
                    </a:lnTo>
                    <a:lnTo>
                      <a:pt x="1256" y="299"/>
                    </a:lnTo>
                    <a:lnTo>
                      <a:pt x="1256" y="239"/>
                    </a:lnTo>
                    <a:lnTo>
                      <a:pt x="1256" y="180"/>
                    </a:lnTo>
                    <a:lnTo>
                      <a:pt x="1196" y="60"/>
                    </a:lnTo>
                    <a:lnTo>
                      <a:pt x="1076" y="0"/>
                    </a:lnTo>
                    <a:lnTo>
                      <a:pt x="1017" y="0"/>
                    </a:lnTo>
                    <a:lnTo>
                      <a:pt x="957" y="0"/>
                    </a:lnTo>
                    <a:lnTo>
                      <a:pt x="777" y="60"/>
                    </a:lnTo>
                    <a:lnTo>
                      <a:pt x="598" y="180"/>
                    </a:lnTo>
                    <a:lnTo>
                      <a:pt x="418" y="359"/>
                    </a:lnTo>
                    <a:lnTo>
                      <a:pt x="299" y="598"/>
                    </a:lnTo>
                    <a:lnTo>
                      <a:pt x="179" y="837"/>
                    </a:lnTo>
                    <a:lnTo>
                      <a:pt x="119" y="957"/>
                    </a:lnTo>
                    <a:lnTo>
                      <a:pt x="60" y="1077"/>
                    </a:lnTo>
                    <a:lnTo>
                      <a:pt x="0" y="1316"/>
                    </a:lnTo>
                    <a:lnTo>
                      <a:pt x="0" y="1435"/>
                    </a:lnTo>
                    <a:lnTo>
                      <a:pt x="0" y="1495"/>
                    </a:lnTo>
                    <a:lnTo>
                      <a:pt x="60" y="1615"/>
                    </a:lnTo>
                    <a:lnTo>
                      <a:pt x="119" y="1734"/>
                    </a:lnTo>
                    <a:lnTo>
                      <a:pt x="418" y="1914"/>
                    </a:lnTo>
                  </a:path>
                </a:pathLst>
              </a:custGeom>
              <a:noFill/>
              <a:ln w="6350" cap="rnd">
                <a:solidFill>
                  <a:schemeClr val="bg1">
                    <a:alpha val="80000"/>
                  </a:schemeClr>
                </a:solidFill>
                <a:prstDash val="solid"/>
                <a:round/>
              </a:ln>
            </p:spPr>
            <p:txBody>
              <a:bodyPr rtlCol="0" anchor="ctr"/>
              <a:lstStyle/>
              <a:p>
                <a:endParaRPr lang="en-GB"/>
              </a:p>
            </p:txBody>
          </p:sp>
          <p:sp>
            <p:nvSpPr>
              <p:cNvPr id="5443" name="Vrije vorm: vorm 5442">
                <a:extLst>
                  <a:ext uri="{FF2B5EF4-FFF2-40B4-BE49-F238E27FC236}">
                    <a16:creationId xmlns:a16="http://schemas.microsoft.com/office/drawing/2014/main" id="{EF0685EB-9A85-4C55-A020-546A6925C247}"/>
                  </a:ext>
                </a:extLst>
              </p:cNvPr>
              <p:cNvSpPr/>
              <p:nvPr/>
            </p:nvSpPr>
            <p:spPr>
              <a:xfrm>
                <a:off x="6406748" y="1670575"/>
                <a:ext cx="298" cy="179"/>
              </a:xfrm>
              <a:custGeom>
                <a:avLst/>
                <a:gdLst>
                  <a:gd name="connsiteX0" fmla="*/ 0 w 298"/>
                  <a:gd name="connsiteY0" fmla="*/ 0 h 179"/>
                  <a:gd name="connsiteX1" fmla="*/ 299 w 298"/>
                  <a:gd name="connsiteY1" fmla="*/ 180 h 179"/>
                </a:gdLst>
                <a:ahLst/>
                <a:cxnLst>
                  <a:cxn ang="0">
                    <a:pos x="connsiteX0" y="connsiteY0"/>
                  </a:cxn>
                  <a:cxn ang="0">
                    <a:pos x="connsiteX1" y="connsiteY1"/>
                  </a:cxn>
                </a:cxnLst>
                <a:rect l="l" t="t" r="r" b="b"/>
                <a:pathLst>
                  <a:path w="298" h="179">
                    <a:moveTo>
                      <a:pt x="0" y="0"/>
                    </a:moveTo>
                    <a:lnTo>
                      <a:pt x="299" y="180"/>
                    </a:lnTo>
                  </a:path>
                </a:pathLst>
              </a:custGeom>
              <a:noFill/>
              <a:ln w="6350" cap="rnd">
                <a:solidFill>
                  <a:schemeClr val="bg1">
                    <a:alpha val="80000"/>
                  </a:schemeClr>
                </a:solidFill>
                <a:prstDash val="solid"/>
                <a:round/>
              </a:ln>
            </p:spPr>
            <p:txBody>
              <a:bodyPr rtlCol="0" anchor="ctr"/>
              <a:lstStyle/>
              <a:p>
                <a:endParaRPr lang="en-GB"/>
              </a:p>
            </p:txBody>
          </p:sp>
          <p:sp>
            <p:nvSpPr>
              <p:cNvPr id="5444" name="Vrije vorm: vorm 5443">
                <a:extLst>
                  <a:ext uri="{FF2B5EF4-FFF2-40B4-BE49-F238E27FC236}">
                    <a16:creationId xmlns:a16="http://schemas.microsoft.com/office/drawing/2014/main" id="{B9079C0B-3D59-417A-8F53-EE7FD8711D77}"/>
                  </a:ext>
                </a:extLst>
              </p:cNvPr>
              <p:cNvSpPr/>
              <p:nvPr/>
            </p:nvSpPr>
            <p:spPr>
              <a:xfrm>
                <a:off x="6404057" y="1671114"/>
                <a:ext cx="478" cy="777"/>
              </a:xfrm>
              <a:custGeom>
                <a:avLst/>
                <a:gdLst>
                  <a:gd name="connsiteX0" fmla="*/ 0 w 478"/>
                  <a:gd name="connsiteY0" fmla="*/ 777 h 777"/>
                  <a:gd name="connsiteX1" fmla="*/ 0 w 478"/>
                  <a:gd name="connsiteY1" fmla="*/ 777 h 777"/>
                  <a:gd name="connsiteX2" fmla="*/ 119 w 478"/>
                  <a:gd name="connsiteY2" fmla="*/ 777 h 777"/>
                  <a:gd name="connsiteX3" fmla="*/ 179 w 478"/>
                  <a:gd name="connsiteY3" fmla="*/ 718 h 777"/>
                  <a:gd name="connsiteX4" fmla="*/ 179 w 478"/>
                  <a:gd name="connsiteY4" fmla="*/ 718 h 777"/>
                  <a:gd name="connsiteX5" fmla="*/ 179 w 478"/>
                  <a:gd name="connsiteY5" fmla="*/ 718 h 777"/>
                  <a:gd name="connsiteX6" fmla="*/ 239 w 478"/>
                  <a:gd name="connsiteY6" fmla="*/ 658 h 777"/>
                  <a:gd name="connsiteX7" fmla="*/ 299 w 478"/>
                  <a:gd name="connsiteY7" fmla="*/ 598 h 777"/>
                  <a:gd name="connsiteX8" fmla="*/ 359 w 478"/>
                  <a:gd name="connsiteY8" fmla="*/ 538 h 777"/>
                  <a:gd name="connsiteX9" fmla="*/ 359 w 478"/>
                  <a:gd name="connsiteY9" fmla="*/ 538 h 777"/>
                  <a:gd name="connsiteX10" fmla="*/ 419 w 478"/>
                  <a:gd name="connsiteY10" fmla="*/ 478 h 777"/>
                  <a:gd name="connsiteX11" fmla="*/ 419 w 478"/>
                  <a:gd name="connsiteY11" fmla="*/ 419 h 777"/>
                  <a:gd name="connsiteX12" fmla="*/ 478 w 478"/>
                  <a:gd name="connsiteY12" fmla="*/ 299 h 777"/>
                  <a:gd name="connsiteX13" fmla="*/ 478 w 478"/>
                  <a:gd name="connsiteY13" fmla="*/ 179 h 777"/>
                  <a:gd name="connsiteX14" fmla="*/ 478 w 478"/>
                  <a:gd name="connsiteY14" fmla="*/ 120 h 777"/>
                  <a:gd name="connsiteX15" fmla="*/ 478 w 478"/>
                  <a:gd name="connsiteY15" fmla="*/ 60 h 777"/>
                  <a:gd name="connsiteX16" fmla="*/ 419 w 478"/>
                  <a:gd name="connsiteY16" fmla="*/ 0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8" h="777">
                    <a:moveTo>
                      <a:pt x="0" y="777"/>
                    </a:moveTo>
                    <a:lnTo>
                      <a:pt x="0" y="777"/>
                    </a:lnTo>
                    <a:lnTo>
                      <a:pt x="119" y="777"/>
                    </a:lnTo>
                    <a:lnTo>
                      <a:pt x="179" y="718"/>
                    </a:lnTo>
                    <a:lnTo>
                      <a:pt x="179" y="718"/>
                    </a:lnTo>
                    <a:lnTo>
                      <a:pt x="179" y="718"/>
                    </a:lnTo>
                    <a:lnTo>
                      <a:pt x="239" y="658"/>
                    </a:lnTo>
                    <a:lnTo>
                      <a:pt x="299" y="598"/>
                    </a:lnTo>
                    <a:lnTo>
                      <a:pt x="359" y="538"/>
                    </a:lnTo>
                    <a:lnTo>
                      <a:pt x="359" y="538"/>
                    </a:lnTo>
                    <a:lnTo>
                      <a:pt x="419" y="478"/>
                    </a:lnTo>
                    <a:lnTo>
                      <a:pt x="419" y="419"/>
                    </a:lnTo>
                    <a:lnTo>
                      <a:pt x="478" y="299"/>
                    </a:lnTo>
                    <a:lnTo>
                      <a:pt x="478" y="179"/>
                    </a:lnTo>
                    <a:lnTo>
                      <a:pt x="478" y="120"/>
                    </a:lnTo>
                    <a:lnTo>
                      <a:pt x="478" y="60"/>
                    </a:lnTo>
                    <a:lnTo>
                      <a:pt x="419" y="0"/>
                    </a:lnTo>
                  </a:path>
                </a:pathLst>
              </a:custGeom>
              <a:noFill/>
              <a:ln w="6350" cap="rnd">
                <a:solidFill>
                  <a:schemeClr val="bg1">
                    <a:alpha val="80000"/>
                  </a:schemeClr>
                </a:solidFill>
                <a:prstDash val="solid"/>
                <a:round/>
              </a:ln>
            </p:spPr>
            <p:txBody>
              <a:bodyPr rtlCol="0" anchor="ctr"/>
              <a:lstStyle/>
              <a:p>
                <a:endParaRPr lang="en-GB"/>
              </a:p>
            </p:txBody>
          </p:sp>
          <p:sp>
            <p:nvSpPr>
              <p:cNvPr id="5445" name="Vrije vorm: vorm 5444">
                <a:extLst>
                  <a:ext uri="{FF2B5EF4-FFF2-40B4-BE49-F238E27FC236}">
                    <a16:creationId xmlns:a16="http://schemas.microsoft.com/office/drawing/2014/main" id="{156A2DFB-D15D-4E85-AB8F-7018990D4B84}"/>
                  </a:ext>
                </a:extLst>
              </p:cNvPr>
              <p:cNvSpPr/>
              <p:nvPr/>
            </p:nvSpPr>
            <p:spPr>
              <a:xfrm>
                <a:off x="6453218" y="1741985"/>
                <a:ext cx="22846" cy="9449"/>
              </a:xfrm>
              <a:custGeom>
                <a:avLst/>
                <a:gdLst>
                  <a:gd name="connsiteX0" fmla="*/ 22846 w 22846"/>
                  <a:gd name="connsiteY0" fmla="*/ 8552 h 9449"/>
                  <a:gd name="connsiteX1" fmla="*/ 21411 w 22846"/>
                  <a:gd name="connsiteY1" fmla="*/ 9270 h 9449"/>
                  <a:gd name="connsiteX2" fmla="*/ 19796 w 22846"/>
                  <a:gd name="connsiteY2" fmla="*/ 9450 h 9449"/>
                  <a:gd name="connsiteX3" fmla="*/ 19557 w 22846"/>
                  <a:gd name="connsiteY3" fmla="*/ 9390 h 9449"/>
                  <a:gd name="connsiteX4" fmla="*/ 18421 w 22846"/>
                  <a:gd name="connsiteY4" fmla="*/ 8971 h 9449"/>
                  <a:gd name="connsiteX5" fmla="*/ 15729 w 22846"/>
                  <a:gd name="connsiteY5" fmla="*/ 7655 h 9449"/>
                  <a:gd name="connsiteX6" fmla="*/ 13038 w 22846"/>
                  <a:gd name="connsiteY6" fmla="*/ 6340 h 9449"/>
                  <a:gd name="connsiteX7" fmla="*/ 12799 w 22846"/>
                  <a:gd name="connsiteY7" fmla="*/ 6220 h 9449"/>
                  <a:gd name="connsiteX8" fmla="*/ 10107 w 22846"/>
                  <a:gd name="connsiteY8" fmla="*/ 4904 h 9449"/>
                  <a:gd name="connsiteX9" fmla="*/ 7416 w 22846"/>
                  <a:gd name="connsiteY9" fmla="*/ 3588 h 9449"/>
                  <a:gd name="connsiteX10" fmla="*/ 4725 w 22846"/>
                  <a:gd name="connsiteY10" fmla="*/ 2273 h 9449"/>
                  <a:gd name="connsiteX11" fmla="*/ 2034 w 22846"/>
                  <a:gd name="connsiteY11" fmla="*/ 957 h 9449"/>
                  <a:gd name="connsiteX12" fmla="*/ 0 w 22846"/>
                  <a:gd name="connsiteY12" fmla="*/ 0 h 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46" h="9449">
                    <a:moveTo>
                      <a:pt x="22846" y="8552"/>
                    </a:moveTo>
                    <a:lnTo>
                      <a:pt x="21411" y="9270"/>
                    </a:lnTo>
                    <a:lnTo>
                      <a:pt x="19796" y="9450"/>
                    </a:lnTo>
                    <a:lnTo>
                      <a:pt x="19557" y="9390"/>
                    </a:lnTo>
                    <a:lnTo>
                      <a:pt x="18421" y="8971"/>
                    </a:lnTo>
                    <a:lnTo>
                      <a:pt x="15729" y="7655"/>
                    </a:lnTo>
                    <a:lnTo>
                      <a:pt x="13038" y="6340"/>
                    </a:lnTo>
                    <a:lnTo>
                      <a:pt x="12799" y="6220"/>
                    </a:lnTo>
                    <a:lnTo>
                      <a:pt x="10107" y="4904"/>
                    </a:lnTo>
                    <a:lnTo>
                      <a:pt x="7416" y="3588"/>
                    </a:lnTo>
                    <a:lnTo>
                      <a:pt x="4725" y="2273"/>
                    </a:lnTo>
                    <a:lnTo>
                      <a:pt x="2034" y="95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46" name="Vrije vorm: vorm 5445">
                <a:extLst>
                  <a:ext uri="{FF2B5EF4-FFF2-40B4-BE49-F238E27FC236}">
                    <a16:creationId xmlns:a16="http://schemas.microsoft.com/office/drawing/2014/main" id="{DC913655-3740-49AB-9FEC-E104B73F91A9}"/>
                  </a:ext>
                </a:extLst>
              </p:cNvPr>
              <p:cNvSpPr/>
              <p:nvPr/>
            </p:nvSpPr>
            <p:spPr>
              <a:xfrm>
                <a:off x="6451604" y="1738875"/>
                <a:ext cx="8013" cy="3528"/>
              </a:xfrm>
              <a:custGeom>
                <a:avLst/>
                <a:gdLst>
                  <a:gd name="connsiteX0" fmla="*/ 8014 w 8013"/>
                  <a:gd name="connsiteY0" fmla="*/ 1076 h 3528"/>
                  <a:gd name="connsiteX1" fmla="*/ 6340 w 8013"/>
                  <a:gd name="connsiteY1" fmla="*/ 2512 h 3528"/>
                  <a:gd name="connsiteX2" fmla="*/ 4605 w 8013"/>
                  <a:gd name="connsiteY2" fmla="*/ 3349 h 3528"/>
                  <a:gd name="connsiteX3" fmla="*/ 2990 w 8013"/>
                  <a:gd name="connsiteY3" fmla="*/ 3529 h 3528"/>
                  <a:gd name="connsiteX4" fmla="*/ 1615 w 8013"/>
                  <a:gd name="connsiteY4" fmla="*/ 3050 h 3528"/>
                  <a:gd name="connsiteX5" fmla="*/ 598 w 8013"/>
                  <a:gd name="connsiteY5" fmla="*/ 1974 h 3528"/>
                  <a:gd name="connsiteX6" fmla="*/ 0 w 8013"/>
                  <a:gd name="connsiteY6" fmla="*/ 359 h 3528"/>
                  <a:gd name="connsiteX7" fmla="*/ 0 w 8013"/>
                  <a:gd name="connsiteY7" fmla="*/ 0 h 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13" h="3528">
                    <a:moveTo>
                      <a:pt x="8014" y="1076"/>
                    </a:moveTo>
                    <a:lnTo>
                      <a:pt x="6340" y="2512"/>
                    </a:lnTo>
                    <a:lnTo>
                      <a:pt x="4605" y="3349"/>
                    </a:lnTo>
                    <a:lnTo>
                      <a:pt x="2990" y="3529"/>
                    </a:lnTo>
                    <a:lnTo>
                      <a:pt x="1615" y="3050"/>
                    </a:lnTo>
                    <a:lnTo>
                      <a:pt x="598" y="1974"/>
                    </a:lnTo>
                    <a:lnTo>
                      <a:pt x="0" y="35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47" name="Vrije vorm: vorm 5446">
                <a:extLst>
                  <a:ext uri="{FF2B5EF4-FFF2-40B4-BE49-F238E27FC236}">
                    <a16:creationId xmlns:a16="http://schemas.microsoft.com/office/drawing/2014/main" id="{46D9ABBF-6D3C-4186-8C0A-A8D1447FCAC1}"/>
                  </a:ext>
                </a:extLst>
              </p:cNvPr>
              <p:cNvSpPr/>
              <p:nvPr/>
            </p:nvSpPr>
            <p:spPr>
              <a:xfrm>
                <a:off x="6483660" y="1705742"/>
                <a:ext cx="21111" cy="43898"/>
              </a:xfrm>
              <a:custGeom>
                <a:avLst/>
                <a:gdLst>
                  <a:gd name="connsiteX0" fmla="*/ 0 w 21111"/>
                  <a:gd name="connsiteY0" fmla="*/ 43898 h 43898"/>
                  <a:gd name="connsiteX1" fmla="*/ 2213 w 21111"/>
                  <a:gd name="connsiteY1" fmla="*/ 41566 h 43898"/>
                  <a:gd name="connsiteX2" fmla="*/ 4007 w 21111"/>
                  <a:gd name="connsiteY2" fmla="*/ 39712 h 43898"/>
                  <a:gd name="connsiteX3" fmla="*/ 6220 w 21111"/>
                  <a:gd name="connsiteY3" fmla="*/ 37380 h 43898"/>
                  <a:gd name="connsiteX4" fmla="*/ 6519 w 21111"/>
                  <a:gd name="connsiteY4" fmla="*/ 37080 h 43898"/>
                  <a:gd name="connsiteX5" fmla="*/ 4067 w 21111"/>
                  <a:gd name="connsiteY5" fmla="*/ 35825 h 43898"/>
                  <a:gd name="connsiteX6" fmla="*/ 3110 w 21111"/>
                  <a:gd name="connsiteY6" fmla="*/ 34090 h 43898"/>
                  <a:gd name="connsiteX7" fmla="*/ 2572 w 21111"/>
                  <a:gd name="connsiteY7" fmla="*/ 33133 h 43898"/>
                  <a:gd name="connsiteX8" fmla="*/ 2572 w 21111"/>
                  <a:gd name="connsiteY8" fmla="*/ 33073 h 43898"/>
                  <a:gd name="connsiteX9" fmla="*/ 2153 w 21111"/>
                  <a:gd name="connsiteY9" fmla="*/ 32296 h 43898"/>
                  <a:gd name="connsiteX10" fmla="*/ 1256 w 21111"/>
                  <a:gd name="connsiteY10" fmla="*/ 30681 h 43898"/>
                  <a:gd name="connsiteX11" fmla="*/ 1256 w 21111"/>
                  <a:gd name="connsiteY11" fmla="*/ 30621 h 43898"/>
                  <a:gd name="connsiteX12" fmla="*/ 1256 w 21111"/>
                  <a:gd name="connsiteY12" fmla="*/ 30621 h 43898"/>
                  <a:gd name="connsiteX13" fmla="*/ 2811 w 21111"/>
                  <a:gd name="connsiteY13" fmla="*/ 28408 h 43898"/>
                  <a:gd name="connsiteX14" fmla="*/ 4067 w 21111"/>
                  <a:gd name="connsiteY14" fmla="*/ 26614 h 43898"/>
                  <a:gd name="connsiteX15" fmla="*/ 5562 w 21111"/>
                  <a:gd name="connsiteY15" fmla="*/ 24401 h 43898"/>
                  <a:gd name="connsiteX16" fmla="*/ 6698 w 21111"/>
                  <a:gd name="connsiteY16" fmla="*/ 22069 h 43898"/>
                  <a:gd name="connsiteX17" fmla="*/ 8134 w 21111"/>
                  <a:gd name="connsiteY17" fmla="*/ 19138 h 43898"/>
                  <a:gd name="connsiteX18" fmla="*/ 8971 w 21111"/>
                  <a:gd name="connsiteY18" fmla="*/ 17464 h 43898"/>
                  <a:gd name="connsiteX19" fmla="*/ 9988 w 21111"/>
                  <a:gd name="connsiteY19" fmla="*/ 14354 h 43898"/>
                  <a:gd name="connsiteX20" fmla="*/ 10705 w 21111"/>
                  <a:gd name="connsiteY20" fmla="*/ 12141 h 43898"/>
                  <a:gd name="connsiteX21" fmla="*/ 11304 w 21111"/>
                  <a:gd name="connsiteY21" fmla="*/ 10406 h 43898"/>
                  <a:gd name="connsiteX22" fmla="*/ 11662 w 21111"/>
                  <a:gd name="connsiteY22" fmla="*/ 7954 h 43898"/>
                  <a:gd name="connsiteX23" fmla="*/ 11722 w 21111"/>
                  <a:gd name="connsiteY23" fmla="*/ 7536 h 43898"/>
                  <a:gd name="connsiteX24" fmla="*/ 12081 w 21111"/>
                  <a:gd name="connsiteY24" fmla="*/ 5143 h 43898"/>
                  <a:gd name="connsiteX25" fmla="*/ 12260 w 21111"/>
                  <a:gd name="connsiteY25" fmla="*/ 3828 h 43898"/>
                  <a:gd name="connsiteX26" fmla="*/ 14413 w 21111"/>
                  <a:gd name="connsiteY26" fmla="*/ 2512 h 43898"/>
                  <a:gd name="connsiteX27" fmla="*/ 15311 w 21111"/>
                  <a:gd name="connsiteY27" fmla="*/ 1974 h 43898"/>
                  <a:gd name="connsiteX28" fmla="*/ 15490 w 21111"/>
                  <a:gd name="connsiteY28" fmla="*/ 1854 h 43898"/>
                  <a:gd name="connsiteX29" fmla="*/ 15550 w 21111"/>
                  <a:gd name="connsiteY29" fmla="*/ 1854 h 43898"/>
                  <a:gd name="connsiteX30" fmla="*/ 15610 w 21111"/>
                  <a:gd name="connsiteY30" fmla="*/ 1794 h 43898"/>
                  <a:gd name="connsiteX31" fmla="*/ 15849 w 21111"/>
                  <a:gd name="connsiteY31" fmla="*/ 1675 h 43898"/>
                  <a:gd name="connsiteX32" fmla="*/ 16686 w 21111"/>
                  <a:gd name="connsiteY32" fmla="*/ 1136 h 43898"/>
                  <a:gd name="connsiteX33" fmla="*/ 16686 w 21111"/>
                  <a:gd name="connsiteY33" fmla="*/ 1136 h 43898"/>
                  <a:gd name="connsiteX34" fmla="*/ 16686 w 21111"/>
                  <a:gd name="connsiteY34" fmla="*/ 1136 h 43898"/>
                  <a:gd name="connsiteX35" fmla="*/ 16746 w 21111"/>
                  <a:gd name="connsiteY35" fmla="*/ 1136 h 43898"/>
                  <a:gd name="connsiteX36" fmla="*/ 16925 w 21111"/>
                  <a:gd name="connsiteY36" fmla="*/ 1017 h 43898"/>
                  <a:gd name="connsiteX37" fmla="*/ 18181 w 21111"/>
                  <a:gd name="connsiteY37" fmla="*/ 299 h 43898"/>
                  <a:gd name="connsiteX38" fmla="*/ 18361 w 21111"/>
                  <a:gd name="connsiteY38" fmla="*/ 179 h 43898"/>
                  <a:gd name="connsiteX39" fmla="*/ 18660 w 21111"/>
                  <a:gd name="connsiteY39" fmla="*/ 0 h 43898"/>
                  <a:gd name="connsiteX40" fmla="*/ 19138 w 21111"/>
                  <a:gd name="connsiteY40" fmla="*/ 239 h 43898"/>
                  <a:gd name="connsiteX41" fmla="*/ 19198 w 21111"/>
                  <a:gd name="connsiteY41" fmla="*/ 239 h 43898"/>
                  <a:gd name="connsiteX42" fmla="*/ 19377 w 21111"/>
                  <a:gd name="connsiteY42" fmla="*/ 359 h 43898"/>
                  <a:gd name="connsiteX43" fmla="*/ 19916 w 21111"/>
                  <a:gd name="connsiteY43" fmla="*/ 658 h 43898"/>
                  <a:gd name="connsiteX44" fmla="*/ 21112 w 21111"/>
                  <a:gd name="connsiteY44" fmla="*/ 1316 h 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111" h="43898">
                    <a:moveTo>
                      <a:pt x="0" y="43898"/>
                    </a:moveTo>
                    <a:lnTo>
                      <a:pt x="2213" y="41566"/>
                    </a:lnTo>
                    <a:lnTo>
                      <a:pt x="4007" y="39712"/>
                    </a:lnTo>
                    <a:lnTo>
                      <a:pt x="6220" y="37380"/>
                    </a:lnTo>
                    <a:lnTo>
                      <a:pt x="6519" y="37080"/>
                    </a:lnTo>
                    <a:lnTo>
                      <a:pt x="4067" y="35825"/>
                    </a:lnTo>
                    <a:lnTo>
                      <a:pt x="3110" y="34090"/>
                    </a:lnTo>
                    <a:lnTo>
                      <a:pt x="2572" y="33133"/>
                    </a:lnTo>
                    <a:lnTo>
                      <a:pt x="2572" y="33073"/>
                    </a:lnTo>
                    <a:lnTo>
                      <a:pt x="2153" y="32296"/>
                    </a:lnTo>
                    <a:lnTo>
                      <a:pt x="1256" y="30681"/>
                    </a:lnTo>
                    <a:lnTo>
                      <a:pt x="1256" y="30621"/>
                    </a:lnTo>
                    <a:lnTo>
                      <a:pt x="1256" y="30621"/>
                    </a:lnTo>
                    <a:lnTo>
                      <a:pt x="2811" y="28408"/>
                    </a:lnTo>
                    <a:lnTo>
                      <a:pt x="4067" y="26614"/>
                    </a:lnTo>
                    <a:lnTo>
                      <a:pt x="5562" y="24401"/>
                    </a:lnTo>
                    <a:lnTo>
                      <a:pt x="6698" y="22069"/>
                    </a:lnTo>
                    <a:lnTo>
                      <a:pt x="8134" y="19138"/>
                    </a:lnTo>
                    <a:lnTo>
                      <a:pt x="8971" y="17464"/>
                    </a:lnTo>
                    <a:lnTo>
                      <a:pt x="9988" y="14354"/>
                    </a:lnTo>
                    <a:lnTo>
                      <a:pt x="10705" y="12141"/>
                    </a:lnTo>
                    <a:lnTo>
                      <a:pt x="11304" y="10406"/>
                    </a:lnTo>
                    <a:lnTo>
                      <a:pt x="11662" y="7954"/>
                    </a:lnTo>
                    <a:lnTo>
                      <a:pt x="11722" y="7536"/>
                    </a:lnTo>
                    <a:lnTo>
                      <a:pt x="12081" y="5143"/>
                    </a:lnTo>
                    <a:lnTo>
                      <a:pt x="12260" y="3828"/>
                    </a:lnTo>
                    <a:lnTo>
                      <a:pt x="14413" y="2512"/>
                    </a:lnTo>
                    <a:lnTo>
                      <a:pt x="15311" y="1974"/>
                    </a:lnTo>
                    <a:lnTo>
                      <a:pt x="15490" y="1854"/>
                    </a:lnTo>
                    <a:lnTo>
                      <a:pt x="15550" y="1854"/>
                    </a:lnTo>
                    <a:lnTo>
                      <a:pt x="15610" y="1794"/>
                    </a:lnTo>
                    <a:lnTo>
                      <a:pt x="15849" y="1675"/>
                    </a:lnTo>
                    <a:lnTo>
                      <a:pt x="16686" y="1136"/>
                    </a:lnTo>
                    <a:lnTo>
                      <a:pt x="16686" y="1136"/>
                    </a:lnTo>
                    <a:lnTo>
                      <a:pt x="16686" y="1136"/>
                    </a:lnTo>
                    <a:lnTo>
                      <a:pt x="16746" y="1136"/>
                    </a:lnTo>
                    <a:lnTo>
                      <a:pt x="16925" y="1017"/>
                    </a:lnTo>
                    <a:lnTo>
                      <a:pt x="18181" y="299"/>
                    </a:lnTo>
                    <a:lnTo>
                      <a:pt x="18361" y="179"/>
                    </a:lnTo>
                    <a:lnTo>
                      <a:pt x="18660" y="0"/>
                    </a:lnTo>
                    <a:lnTo>
                      <a:pt x="19138" y="239"/>
                    </a:lnTo>
                    <a:lnTo>
                      <a:pt x="19198" y="239"/>
                    </a:lnTo>
                    <a:lnTo>
                      <a:pt x="19377" y="359"/>
                    </a:lnTo>
                    <a:lnTo>
                      <a:pt x="19916" y="658"/>
                    </a:lnTo>
                    <a:lnTo>
                      <a:pt x="21112" y="1316"/>
                    </a:lnTo>
                  </a:path>
                </a:pathLst>
              </a:custGeom>
              <a:noFill/>
              <a:ln w="6350" cap="rnd">
                <a:solidFill>
                  <a:schemeClr val="bg1">
                    <a:alpha val="80000"/>
                  </a:schemeClr>
                </a:solidFill>
                <a:prstDash val="solid"/>
                <a:round/>
              </a:ln>
            </p:spPr>
            <p:txBody>
              <a:bodyPr rtlCol="0" anchor="ctr"/>
              <a:lstStyle/>
              <a:p>
                <a:endParaRPr lang="en-GB"/>
              </a:p>
            </p:txBody>
          </p:sp>
          <p:sp>
            <p:nvSpPr>
              <p:cNvPr id="5448" name="Vrije vorm: vorm 5447">
                <a:extLst>
                  <a:ext uri="{FF2B5EF4-FFF2-40B4-BE49-F238E27FC236}">
                    <a16:creationId xmlns:a16="http://schemas.microsoft.com/office/drawing/2014/main" id="{13C33DEB-7E8C-4009-9836-09D981AFD835}"/>
                  </a:ext>
                </a:extLst>
              </p:cNvPr>
              <p:cNvSpPr/>
              <p:nvPr/>
            </p:nvSpPr>
            <p:spPr>
              <a:xfrm>
                <a:off x="6453996" y="1695874"/>
                <a:ext cx="70273" cy="70991"/>
              </a:xfrm>
              <a:custGeom>
                <a:avLst/>
                <a:gdLst>
                  <a:gd name="connsiteX0" fmla="*/ 65968 w 70273"/>
                  <a:gd name="connsiteY0" fmla="*/ 0 h 70991"/>
                  <a:gd name="connsiteX1" fmla="*/ 66207 w 70273"/>
                  <a:gd name="connsiteY1" fmla="*/ 1017 h 70991"/>
                  <a:gd name="connsiteX2" fmla="*/ 66805 w 70273"/>
                  <a:gd name="connsiteY2" fmla="*/ 3349 h 70991"/>
                  <a:gd name="connsiteX3" fmla="*/ 67522 w 70273"/>
                  <a:gd name="connsiteY3" fmla="*/ 6399 h 70991"/>
                  <a:gd name="connsiteX4" fmla="*/ 67702 w 70273"/>
                  <a:gd name="connsiteY4" fmla="*/ 7057 h 70991"/>
                  <a:gd name="connsiteX5" fmla="*/ 68121 w 70273"/>
                  <a:gd name="connsiteY5" fmla="*/ 8851 h 70991"/>
                  <a:gd name="connsiteX6" fmla="*/ 68838 w 70273"/>
                  <a:gd name="connsiteY6" fmla="*/ 11902 h 70991"/>
                  <a:gd name="connsiteX7" fmla="*/ 68898 w 70273"/>
                  <a:gd name="connsiteY7" fmla="*/ 12201 h 70991"/>
                  <a:gd name="connsiteX8" fmla="*/ 69257 w 70273"/>
                  <a:gd name="connsiteY8" fmla="*/ 13696 h 70991"/>
                  <a:gd name="connsiteX9" fmla="*/ 69496 w 70273"/>
                  <a:gd name="connsiteY9" fmla="*/ 14653 h 70991"/>
                  <a:gd name="connsiteX10" fmla="*/ 69556 w 70273"/>
                  <a:gd name="connsiteY10" fmla="*/ 14892 h 70991"/>
                  <a:gd name="connsiteX11" fmla="*/ 69676 w 70273"/>
                  <a:gd name="connsiteY11" fmla="*/ 15909 h 70991"/>
                  <a:gd name="connsiteX12" fmla="*/ 69795 w 70273"/>
                  <a:gd name="connsiteY12" fmla="*/ 16925 h 70991"/>
                  <a:gd name="connsiteX13" fmla="*/ 69855 w 70273"/>
                  <a:gd name="connsiteY13" fmla="*/ 17404 h 70991"/>
                  <a:gd name="connsiteX14" fmla="*/ 70034 w 70273"/>
                  <a:gd name="connsiteY14" fmla="*/ 19377 h 70991"/>
                  <a:gd name="connsiteX15" fmla="*/ 70034 w 70273"/>
                  <a:gd name="connsiteY15" fmla="*/ 19677 h 70991"/>
                  <a:gd name="connsiteX16" fmla="*/ 70094 w 70273"/>
                  <a:gd name="connsiteY16" fmla="*/ 20275 h 70991"/>
                  <a:gd name="connsiteX17" fmla="*/ 70273 w 70273"/>
                  <a:gd name="connsiteY17" fmla="*/ 22368 h 70991"/>
                  <a:gd name="connsiteX18" fmla="*/ 69855 w 70273"/>
                  <a:gd name="connsiteY18" fmla="*/ 25538 h 70991"/>
                  <a:gd name="connsiteX19" fmla="*/ 69795 w 70273"/>
                  <a:gd name="connsiteY19" fmla="*/ 25837 h 70991"/>
                  <a:gd name="connsiteX20" fmla="*/ 69496 w 70273"/>
                  <a:gd name="connsiteY20" fmla="*/ 28229 h 70991"/>
                  <a:gd name="connsiteX21" fmla="*/ 69257 w 70273"/>
                  <a:gd name="connsiteY21" fmla="*/ 30382 h 70991"/>
                  <a:gd name="connsiteX22" fmla="*/ 69197 w 70273"/>
                  <a:gd name="connsiteY22" fmla="*/ 30980 h 70991"/>
                  <a:gd name="connsiteX23" fmla="*/ 69137 w 70273"/>
                  <a:gd name="connsiteY23" fmla="*/ 31100 h 70991"/>
                  <a:gd name="connsiteX24" fmla="*/ 68958 w 70273"/>
                  <a:gd name="connsiteY24" fmla="*/ 31638 h 70991"/>
                  <a:gd name="connsiteX25" fmla="*/ 68001 w 70273"/>
                  <a:gd name="connsiteY25" fmla="*/ 34748 h 70991"/>
                  <a:gd name="connsiteX26" fmla="*/ 67044 w 70273"/>
                  <a:gd name="connsiteY26" fmla="*/ 37858 h 70991"/>
                  <a:gd name="connsiteX27" fmla="*/ 66326 w 70273"/>
                  <a:gd name="connsiteY27" fmla="*/ 40190 h 70991"/>
                  <a:gd name="connsiteX28" fmla="*/ 64891 w 70273"/>
                  <a:gd name="connsiteY28" fmla="*/ 43121 h 70991"/>
                  <a:gd name="connsiteX29" fmla="*/ 63515 w 70273"/>
                  <a:gd name="connsiteY29" fmla="*/ 45992 h 70991"/>
                  <a:gd name="connsiteX30" fmla="*/ 63336 w 70273"/>
                  <a:gd name="connsiteY30" fmla="*/ 46351 h 70991"/>
                  <a:gd name="connsiteX31" fmla="*/ 61960 w 70273"/>
                  <a:gd name="connsiteY31" fmla="*/ 49162 h 70991"/>
                  <a:gd name="connsiteX32" fmla="*/ 61960 w 70273"/>
                  <a:gd name="connsiteY32" fmla="*/ 49162 h 70991"/>
                  <a:gd name="connsiteX33" fmla="*/ 61901 w 70273"/>
                  <a:gd name="connsiteY33" fmla="*/ 49221 h 70991"/>
                  <a:gd name="connsiteX34" fmla="*/ 61422 w 70273"/>
                  <a:gd name="connsiteY34" fmla="*/ 49939 h 70991"/>
                  <a:gd name="connsiteX35" fmla="*/ 61422 w 70273"/>
                  <a:gd name="connsiteY35" fmla="*/ 49939 h 70991"/>
                  <a:gd name="connsiteX36" fmla="*/ 61362 w 70273"/>
                  <a:gd name="connsiteY36" fmla="*/ 49999 h 70991"/>
                  <a:gd name="connsiteX37" fmla="*/ 61302 w 70273"/>
                  <a:gd name="connsiteY37" fmla="*/ 50059 h 70991"/>
                  <a:gd name="connsiteX38" fmla="*/ 61003 w 70273"/>
                  <a:gd name="connsiteY38" fmla="*/ 50477 h 70991"/>
                  <a:gd name="connsiteX39" fmla="*/ 60884 w 70273"/>
                  <a:gd name="connsiteY39" fmla="*/ 50657 h 70991"/>
                  <a:gd name="connsiteX40" fmla="*/ 59030 w 70273"/>
                  <a:gd name="connsiteY40" fmla="*/ 53348 h 70991"/>
                  <a:gd name="connsiteX41" fmla="*/ 57176 w 70273"/>
                  <a:gd name="connsiteY41" fmla="*/ 56039 h 70991"/>
                  <a:gd name="connsiteX42" fmla="*/ 56279 w 70273"/>
                  <a:gd name="connsiteY42" fmla="*/ 57295 h 70991"/>
                  <a:gd name="connsiteX43" fmla="*/ 54006 w 70273"/>
                  <a:gd name="connsiteY43" fmla="*/ 59628 h 70991"/>
                  <a:gd name="connsiteX44" fmla="*/ 51733 w 70273"/>
                  <a:gd name="connsiteY44" fmla="*/ 61960 h 70991"/>
                  <a:gd name="connsiteX45" fmla="*/ 51614 w 70273"/>
                  <a:gd name="connsiteY45" fmla="*/ 62080 h 70991"/>
                  <a:gd name="connsiteX46" fmla="*/ 49820 w 70273"/>
                  <a:gd name="connsiteY46" fmla="*/ 63934 h 70991"/>
                  <a:gd name="connsiteX47" fmla="*/ 47188 w 70273"/>
                  <a:gd name="connsiteY47" fmla="*/ 65728 h 70991"/>
                  <a:gd name="connsiteX48" fmla="*/ 46949 w 70273"/>
                  <a:gd name="connsiteY48" fmla="*/ 65907 h 70991"/>
                  <a:gd name="connsiteX49" fmla="*/ 46171 w 70273"/>
                  <a:gd name="connsiteY49" fmla="*/ 66446 h 70991"/>
                  <a:gd name="connsiteX50" fmla="*/ 45095 w 70273"/>
                  <a:gd name="connsiteY50" fmla="*/ 67163 h 70991"/>
                  <a:gd name="connsiteX51" fmla="*/ 44317 w 70273"/>
                  <a:gd name="connsiteY51" fmla="*/ 67702 h 70991"/>
                  <a:gd name="connsiteX52" fmla="*/ 43061 w 70273"/>
                  <a:gd name="connsiteY52" fmla="*/ 68599 h 70991"/>
                  <a:gd name="connsiteX53" fmla="*/ 42702 w 70273"/>
                  <a:gd name="connsiteY53" fmla="*/ 68718 h 70991"/>
                  <a:gd name="connsiteX54" fmla="*/ 39772 w 70273"/>
                  <a:gd name="connsiteY54" fmla="*/ 69795 h 70991"/>
                  <a:gd name="connsiteX55" fmla="*/ 39413 w 70273"/>
                  <a:gd name="connsiteY55" fmla="*/ 69915 h 70991"/>
                  <a:gd name="connsiteX56" fmla="*/ 38875 w 70273"/>
                  <a:gd name="connsiteY56" fmla="*/ 70094 h 70991"/>
                  <a:gd name="connsiteX57" fmla="*/ 38755 w 70273"/>
                  <a:gd name="connsiteY57" fmla="*/ 70154 h 70991"/>
                  <a:gd name="connsiteX58" fmla="*/ 37260 w 70273"/>
                  <a:gd name="connsiteY58" fmla="*/ 70692 h 70991"/>
                  <a:gd name="connsiteX59" fmla="*/ 36483 w 70273"/>
                  <a:gd name="connsiteY59" fmla="*/ 70991 h 70991"/>
                  <a:gd name="connsiteX60" fmla="*/ 34748 w 70273"/>
                  <a:gd name="connsiteY60" fmla="*/ 70991 h 70991"/>
                  <a:gd name="connsiteX61" fmla="*/ 34748 w 70273"/>
                  <a:gd name="connsiteY61" fmla="*/ 70991 h 70991"/>
                  <a:gd name="connsiteX62" fmla="*/ 33014 w 70273"/>
                  <a:gd name="connsiteY62" fmla="*/ 70991 h 70991"/>
                  <a:gd name="connsiteX63" fmla="*/ 32774 w 70273"/>
                  <a:gd name="connsiteY63" fmla="*/ 70991 h 70991"/>
                  <a:gd name="connsiteX64" fmla="*/ 31997 w 70273"/>
                  <a:gd name="connsiteY64" fmla="*/ 70991 h 70991"/>
                  <a:gd name="connsiteX65" fmla="*/ 30621 w 70273"/>
                  <a:gd name="connsiteY65" fmla="*/ 70991 h 70991"/>
                  <a:gd name="connsiteX66" fmla="*/ 29784 w 70273"/>
                  <a:gd name="connsiteY66" fmla="*/ 70632 h 70991"/>
                  <a:gd name="connsiteX67" fmla="*/ 29724 w 70273"/>
                  <a:gd name="connsiteY67" fmla="*/ 70573 h 70991"/>
                  <a:gd name="connsiteX68" fmla="*/ 27033 w 70273"/>
                  <a:gd name="connsiteY68" fmla="*/ 69317 h 70991"/>
                  <a:gd name="connsiteX69" fmla="*/ 24641 w 70273"/>
                  <a:gd name="connsiteY69" fmla="*/ 68180 h 70991"/>
                  <a:gd name="connsiteX70" fmla="*/ 21949 w 70273"/>
                  <a:gd name="connsiteY70" fmla="*/ 66924 h 70991"/>
                  <a:gd name="connsiteX71" fmla="*/ 19258 w 70273"/>
                  <a:gd name="connsiteY71" fmla="*/ 65668 h 70991"/>
                  <a:gd name="connsiteX72" fmla="*/ 16567 w 70273"/>
                  <a:gd name="connsiteY72" fmla="*/ 64412 h 70991"/>
                  <a:gd name="connsiteX73" fmla="*/ 16387 w 70273"/>
                  <a:gd name="connsiteY73" fmla="*/ 64353 h 70991"/>
                  <a:gd name="connsiteX74" fmla="*/ 14653 w 70273"/>
                  <a:gd name="connsiteY74" fmla="*/ 63515 h 70991"/>
                  <a:gd name="connsiteX75" fmla="*/ 11961 w 70273"/>
                  <a:gd name="connsiteY75" fmla="*/ 62259 h 70991"/>
                  <a:gd name="connsiteX76" fmla="*/ 10287 w 70273"/>
                  <a:gd name="connsiteY76" fmla="*/ 61482 h 70991"/>
                  <a:gd name="connsiteX77" fmla="*/ 10107 w 70273"/>
                  <a:gd name="connsiteY77" fmla="*/ 61422 h 70991"/>
                  <a:gd name="connsiteX78" fmla="*/ 7954 w 70273"/>
                  <a:gd name="connsiteY78" fmla="*/ 60405 h 70991"/>
                  <a:gd name="connsiteX79" fmla="*/ 7954 w 70273"/>
                  <a:gd name="connsiteY79" fmla="*/ 60405 h 70991"/>
                  <a:gd name="connsiteX80" fmla="*/ 7356 w 70273"/>
                  <a:gd name="connsiteY80" fmla="*/ 60106 h 70991"/>
                  <a:gd name="connsiteX81" fmla="*/ 4665 w 70273"/>
                  <a:gd name="connsiteY81" fmla="*/ 58791 h 70991"/>
                  <a:gd name="connsiteX82" fmla="*/ 3289 w 70273"/>
                  <a:gd name="connsiteY82" fmla="*/ 58133 h 70991"/>
                  <a:gd name="connsiteX83" fmla="*/ 1495 w 70273"/>
                  <a:gd name="connsiteY83" fmla="*/ 55740 h 70991"/>
                  <a:gd name="connsiteX84" fmla="*/ 0 w 70273"/>
                  <a:gd name="connsiteY84" fmla="*/ 53767 h 7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70273" h="70991">
                    <a:moveTo>
                      <a:pt x="65968" y="0"/>
                    </a:moveTo>
                    <a:lnTo>
                      <a:pt x="66207" y="1017"/>
                    </a:lnTo>
                    <a:lnTo>
                      <a:pt x="66805" y="3349"/>
                    </a:lnTo>
                    <a:lnTo>
                      <a:pt x="67522" y="6399"/>
                    </a:lnTo>
                    <a:lnTo>
                      <a:pt x="67702" y="7057"/>
                    </a:lnTo>
                    <a:lnTo>
                      <a:pt x="68121" y="8851"/>
                    </a:lnTo>
                    <a:lnTo>
                      <a:pt x="68838" y="11902"/>
                    </a:lnTo>
                    <a:lnTo>
                      <a:pt x="68898" y="12201"/>
                    </a:lnTo>
                    <a:lnTo>
                      <a:pt x="69257" y="13696"/>
                    </a:lnTo>
                    <a:lnTo>
                      <a:pt x="69496" y="14653"/>
                    </a:lnTo>
                    <a:lnTo>
                      <a:pt x="69556" y="14892"/>
                    </a:lnTo>
                    <a:lnTo>
                      <a:pt x="69676" y="15909"/>
                    </a:lnTo>
                    <a:lnTo>
                      <a:pt x="69795" y="16925"/>
                    </a:lnTo>
                    <a:lnTo>
                      <a:pt x="69855" y="17404"/>
                    </a:lnTo>
                    <a:lnTo>
                      <a:pt x="70034" y="19377"/>
                    </a:lnTo>
                    <a:lnTo>
                      <a:pt x="70034" y="19677"/>
                    </a:lnTo>
                    <a:lnTo>
                      <a:pt x="70094" y="20275"/>
                    </a:lnTo>
                    <a:lnTo>
                      <a:pt x="70273" y="22368"/>
                    </a:lnTo>
                    <a:lnTo>
                      <a:pt x="69855" y="25538"/>
                    </a:lnTo>
                    <a:lnTo>
                      <a:pt x="69795" y="25837"/>
                    </a:lnTo>
                    <a:lnTo>
                      <a:pt x="69496" y="28229"/>
                    </a:lnTo>
                    <a:lnTo>
                      <a:pt x="69257" y="30382"/>
                    </a:lnTo>
                    <a:lnTo>
                      <a:pt x="69197" y="30980"/>
                    </a:lnTo>
                    <a:lnTo>
                      <a:pt x="69137" y="31100"/>
                    </a:lnTo>
                    <a:lnTo>
                      <a:pt x="68958" y="31638"/>
                    </a:lnTo>
                    <a:lnTo>
                      <a:pt x="68001" y="34748"/>
                    </a:lnTo>
                    <a:lnTo>
                      <a:pt x="67044" y="37858"/>
                    </a:lnTo>
                    <a:lnTo>
                      <a:pt x="66326" y="40190"/>
                    </a:lnTo>
                    <a:lnTo>
                      <a:pt x="64891" y="43121"/>
                    </a:lnTo>
                    <a:lnTo>
                      <a:pt x="63515" y="45992"/>
                    </a:lnTo>
                    <a:lnTo>
                      <a:pt x="63336" y="46351"/>
                    </a:lnTo>
                    <a:lnTo>
                      <a:pt x="61960" y="49162"/>
                    </a:lnTo>
                    <a:lnTo>
                      <a:pt x="61960" y="49162"/>
                    </a:lnTo>
                    <a:lnTo>
                      <a:pt x="61901" y="49221"/>
                    </a:lnTo>
                    <a:lnTo>
                      <a:pt x="61422" y="49939"/>
                    </a:lnTo>
                    <a:lnTo>
                      <a:pt x="61422" y="49939"/>
                    </a:lnTo>
                    <a:lnTo>
                      <a:pt x="61362" y="49999"/>
                    </a:lnTo>
                    <a:lnTo>
                      <a:pt x="61302" y="50059"/>
                    </a:lnTo>
                    <a:lnTo>
                      <a:pt x="61003" y="50477"/>
                    </a:lnTo>
                    <a:lnTo>
                      <a:pt x="60884" y="50657"/>
                    </a:lnTo>
                    <a:lnTo>
                      <a:pt x="59030" y="53348"/>
                    </a:lnTo>
                    <a:lnTo>
                      <a:pt x="57176" y="56039"/>
                    </a:lnTo>
                    <a:lnTo>
                      <a:pt x="56279" y="57295"/>
                    </a:lnTo>
                    <a:lnTo>
                      <a:pt x="54006" y="59628"/>
                    </a:lnTo>
                    <a:lnTo>
                      <a:pt x="51733" y="61960"/>
                    </a:lnTo>
                    <a:lnTo>
                      <a:pt x="51614" y="62080"/>
                    </a:lnTo>
                    <a:lnTo>
                      <a:pt x="49820" y="63934"/>
                    </a:lnTo>
                    <a:lnTo>
                      <a:pt x="47188" y="65728"/>
                    </a:lnTo>
                    <a:lnTo>
                      <a:pt x="46949" y="65907"/>
                    </a:lnTo>
                    <a:lnTo>
                      <a:pt x="46171" y="66446"/>
                    </a:lnTo>
                    <a:lnTo>
                      <a:pt x="45095" y="67163"/>
                    </a:lnTo>
                    <a:lnTo>
                      <a:pt x="44317" y="67702"/>
                    </a:lnTo>
                    <a:lnTo>
                      <a:pt x="43061" y="68599"/>
                    </a:lnTo>
                    <a:lnTo>
                      <a:pt x="42702" y="68718"/>
                    </a:lnTo>
                    <a:lnTo>
                      <a:pt x="39772" y="69795"/>
                    </a:lnTo>
                    <a:lnTo>
                      <a:pt x="39413" y="69915"/>
                    </a:lnTo>
                    <a:lnTo>
                      <a:pt x="38875" y="70094"/>
                    </a:lnTo>
                    <a:lnTo>
                      <a:pt x="38755" y="70154"/>
                    </a:lnTo>
                    <a:lnTo>
                      <a:pt x="37260" y="70692"/>
                    </a:lnTo>
                    <a:lnTo>
                      <a:pt x="36483" y="70991"/>
                    </a:lnTo>
                    <a:lnTo>
                      <a:pt x="34748" y="70991"/>
                    </a:lnTo>
                    <a:lnTo>
                      <a:pt x="34748" y="70991"/>
                    </a:lnTo>
                    <a:lnTo>
                      <a:pt x="33014" y="70991"/>
                    </a:lnTo>
                    <a:lnTo>
                      <a:pt x="32774" y="70991"/>
                    </a:lnTo>
                    <a:lnTo>
                      <a:pt x="31997" y="70991"/>
                    </a:lnTo>
                    <a:lnTo>
                      <a:pt x="30621" y="70991"/>
                    </a:lnTo>
                    <a:lnTo>
                      <a:pt x="29784" y="70632"/>
                    </a:lnTo>
                    <a:lnTo>
                      <a:pt x="29724" y="70573"/>
                    </a:lnTo>
                    <a:lnTo>
                      <a:pt x="27033" y="69317"/>
                    </a:lnTo>
                    <a:lnTo>
                      <a:pt x="24641" y="68180"/>
                    </a:lnTo>
                    <a:lnTo>
                      <a:pt x="21949" y="66924"/>
                    </a:lnTo>
                    <a:lnTo>
                      <a:pt x="19258" y="65668"/>
                    </a:lnTo>
                    <a:lnTo>
                      <a:pt x="16567" y="64412"/>
                    </a:lnTo>
                    <a:lnTo>
                      <a:pt x="16387" y="64353"/>
                    </a:lnTo>
                    <a:lnTo>
                      <a:pt x="14653" y="63515"/>
                    </a:lnTo>
                    <a:lnTo>
                      <a:pt x="11961" y="62259"/>
                    </a:lnTo>
                    <a:lnTo>
                      <a:pt x="10287" y="61482"/>
                    </a:lnTo>
                    <a:lnTo>
                      <a:pt x="10107" y="61422"/>
                    </a:lnTo>
                    <a:lnTo>
                      <a:pt x="7954" y="60405"/>
                    </a:lnTo>
                    <a:lnTo>
                      <a:pt x="7954" y="60405"/>
                    </a:lnTo>
                    <a:lnTo>
                      <a:pt x="7356" y="60106"/>
                    </a:lnTo>
                    <a:lnTo>
                      <a:pt x="4665" y="58791"/>
                    </a:lnTo>
                    <a:lnTo>
                      <a:pt x="3289" y="58133"/>
                    </a:lnTo>
                    <a:lnTo>
                      <a:pt x="1495" y="55740"/>
                    </a:lnTo>
                    <a:lnTo>
                      <a:pt x="0" y="53767"/>
                    </a:lnTo>
                  </a:path>
                </a:pathLst>
              </a:custGeom>
              <a:noFill/>
              <a:ln w="6350" cap="rnd">
                <a:solidFill>
                  <a:schemeClr val="bg1">
                    <a:alpha val="80000"/>
                  </a:schemeClr>
                </a:solidFill>
                <a:prstDash val="solid"/>
                <a:round/>
              </a:ln>
            </p:spPr>
            <p:txBody>
              <a:bodyPr rtlCol="0" anchor="ctr"/>
              <a:lstStyle/>
              <a:p>
                <a:endParaRPr lang="en-GB"/>
              </a:p>
            </p:txBody>
          </p:sp>
          <p:sp>
            <p:nvSpPr>
              <p:cNvPr id="5449" name="Vrije vorm: vorm 5448">
                <a:extLst>
                  <a:ext uri="{FF2B5EF4-FFF2-40B4-BE49-F238E27FC236}">
                    <a16:creationId xmlns:a16="http://schemas.microsoft.com/office/drawing/2014/main" id="{2A3A64B1-F9B0-4210-9C9E-1A4DA02C7771}"/>
                  </a:ext>
                </a:extLst>
              </p:cNvPr>
              <p:cNvSpPr/>
              <p:nvPr/>
            </p:nvSpPr>
            <p:spPr>
              <a:xfrm>
                <a:off x="6487787" y="1705562"/>
                <a:ext cx="14712" cy="35944"/>
              </a:xfrm>
              <a:custGeom>
                <a:avLst/>
                <a:gdLst>
                  <a:gd name="connsiteX0" fmla="*/ 0 w 14712"/>
                  <a:gd name="connsiteY0" fmla="*/ 35944 h 35944"/>
                  <a:gd name="connsiteX1" fmla="*/ 957 w 14712"/>
                  <a:gd name="connsiteY1" fmla="*/ 34569 h 35944"/>
                  <a:gd name="connsiteX2" fmla="*/ 1854 w 14712"/>
                  <a:gd name="connsiteY2" fmla="*/ 33253 h 35944"/>
                  <a:gd name="connsiteX3" fmla="*/ 3708 w 14712"/>
                  <a:gd name="connsiteY3" fmla="*/ 30561 h 35944"/>
                  <a:gd name="connsiteX4" fmla="*/ 5562 w 14712"/>
                  <a:gd name="connsiteY4" fmla="*/ 27870 h 35944"/>
                  <a:gd name="connsiteX5" fmla="*/ 5801 w 14712"/>
                  <a:gd name="connsiteY5" fmla="*/ 27571 h 35944"/>
                  <a:gd name="connsiteX6" fmla="*/ 7236 w 14712"/>
                  <a:gd name="connsiteY6" fmla="*/ 24641 h 35944"/>
                  <a:gd name="connsiteX7" fmla="*/ 8672 w 14712"/>
                  <a:gd name="connsiteY7" fmla="*/ 21710 h 35944"/>
                  <a:gd name="connsiteX8" fmla="*/ 10107 w 14712"/>
                  <a:gd name="connsiteY8" fmla="*/ 18779 h 35944"/>
                  <a:gd name="connsiteX9" fmla="*/ 10347 w 14712"/>
                  <a:gd name="connsiteY9" fmla="*/ 18301 h 35944"/>
                  <a:gd name="connsiteX10" fmla="*/ 11363 w 14712"/>
                  <a:gd name="connsiteY10" fmla="*/ 15191 h 35944"/>
                  <a:gd name="connsiteX11" fmla="*/ 12380 w 14712"/>
                  <a:gd name="connsiteY11" fmla="*/ 12081 h 35944"/>
                  <a:gd name="connsiteX12" fmla="*/ 13397 w 14712"/>
                  <a:gd name="connsiteY12" fmla="*/ 8971 h 35944"/>
                  <a:gd name="connsiteX13" fmla="*/ 13457 w 14712"/>
                  <a:gd name="connsiteY13" fmla="*/ 8851 h 35944"/>
                  <a:gd name="connsiteX14" fmla="*/ 13696 w 14712"/>
                  <a:gd name="connsiteY14" fmla="*/ 6997 h 35944"/>
                  <a:gd name="connsiteX15" fmla="*/ 13995 w 14712"/>
                  <a:gd name="connsiteY15" fmla="*/ 4964 h 35944"/>
                  <a:gd name="connsiteX16" fmla="*/ 14174 w 14712"/>
                  <a:gd name="connsiteY16" fmla="*/ 3529 h 35944"/>
                  <a:gd name="connsiteX17" fmla="*/ 14234 w 14712"/>
                  <a:gd name="connsiteY17" fmla="*/ 3050 h 35944"/>
                  <a:gd name="connsiteX18" fmla="*/ 14354 w 14712"/>
                  <a:gd name="connsiteY18" fmla="*/ 2332 h 35944"/>
                  <a:gd name="connsiteX19" fmla="*/ 14354 w 14712"/>
                  <a:gd name="connsiteY19" fmla="*/ 2213 h 35944"/>
                  <a:gd name="connsiteX20" fmla="*/ 14413 w 14712"/>
                  <a:gd name="connsiteY20" fmla="*/ 1914 h 35944"/>
                  <a:gd name="connsiteX21" fmla="*/ 14712 w 14712"/>
                  <a:gd name="connsiteY21" fmla="*/ 0 h 3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12" h="35944">
                    <a:moveTo>
                      <a:pt x="0" y="35944"/>
                    </a:moveTo>
                    <a:lnTo>
                      <a:pt x="957" y="34569"/>
                    </a:lnTo>
                    <a:lnTo>
                      <a:pt x="1854" y="33253"/>
                    </a:lnTo>
                    <a:lnTo>
                      <a:pt x="3708" y="30561"/>
                    </a:lnTo>
                    <a:lnTo>
                      <a:pt x="5562" y="27870"/>
                    </a:lnTo>
                    <a:lnTo>
                      <a:pt x="5801" y="27571"/>
                    </a:lnTo>
                    <a:lnTo>
                      <a:pt x="7236" y="24641"/>
                    </a:lnTo>
                    <a:lnTo>
                      <a:pt x="8672" y="21710"/>
                    </a:lnTo>
                    <a:lnTo>
                      <a:pt x="10107" y="18779"/>
                    </a:lnTo>
                    <a:lnTo>
                      <a:pt x="10347" y="18301"/>
                    </a:lnTo>
                    <a:lnTo>
                      <a:pt x="11363" y="15191"/>
                    </a:lnTo>
                    <a:lnTo>
                      <a:pt x="12380" y="12081"/>
                    </a:lnTo>
                    <a:lnTo>
                      <a:pt x="13397" y="8971"/>
                    </a:lnTo>
                    <a:lnTo>
                      <a:pt x="13457" y="8851"/>
                    </a:lnTo>
                    <a:lnTo>
                      <a:pt x="13696" y="6997"/>
                    </a:lnTo>
                    <a:lnTo>
                      <a:pt x="13995" y="4964"/>
                    </a:lnTo>
                    <a:lnTo>
                      <a:pt x="14174" y="3529"/>
                    </a:lnTo>
                    <a:lnTo>
                      <a:pt x="14234" y="3050"/>
                    </a:lnTo>
                    <a:lnTo>
                      <a:pt x="14354" y="2332"/>
                    </a:lnTo>
                    <a:lnTo>
                      <a:pt x="14354" y="2213"/>
                    </a:lnTo>
                    <a:lnTo>
                      <a:pt x="14413" y="1914"/>
                    </a:lnTo>
                    <a:lnTo>
                      <a:pt x="14712" y="0"/>
                    </a:lnTo>
                  </a:path>
                </a:pathLst>
              </a:custGeom>
              <a:noFill/>
              <a:ln w="6350" cap="rnd">
                <a:solidFill>
                  <a:schemeClr val="bg1">
                    <a:alpha val="80000"/>
                  </a:schemeClr>
                </a:solidFill>
                <a:prstDash val="solid"/>
                <a:round/>
              </a:ln>
            </p:spPr>
            <p:txBody>
              <a:bodyPr rtlCol="0" anchor="ctr"/>
              <a:lstStyle/>
              <a:p>
                <a:endParaRPr lang="en-GB"/>
              </a:p>
            </p:txBody>
          </p:sp>
          <p:sp>
            <p:nvSpPr>
              <p:cNvPr id="5450" name="Vrije vorm: vorm 5449">
                <a:extLst>
                  <a:ext uri="{FF2B5EF4-FFF2-40B4-BE49-F238E27FC236}">
                    <a16:creationId xmlns:a16="http://schemas.microsoft.com/office/drawing/2014/main" id="{E520E246-A362-4448-B8C1-A82E6EA93364}"/>
                  </a:ext>
                </a:extLst>
              </p:cNvPr>
              <p:cNvSpPr/>
              <p:nvPr/>
            </p:nvSpPr>
            <p:spPr>
              <a:xfrm>
                <a:off x="6432107" y="1540315"/>
                <a:ext cx="69794" cy="157711"/>
              </a:xfrm>
              <a:custGeom>
                <a:avLst/>
                <a:gdLst>
                  <a:gd name="connsiteX0" fmla="*/ 69795 w 69794"/>
                  <a:gd name="connsiteY0" fmla="*/ 157712 h 157711"/>
                  <a:gd name="connsiteX1" fmla="*/ 69795 w 69794"/>
                  <a:gd name="connsiteY1" fmla="*/ 157712 h 157711"/>
                  <a:gd name="connsiteX2" fmla="*/ 69137 w 69794"/>
                  <a:gd name="connsiteY2" fmla="*/ 154602 h 157711"/>
                  <a:gd name="connsiteX3" fmla="*/ 68838 w 69794"/>
                  <a:gd name="connsiteY3" fmla="*/ 153286 h 157711"/>
                  <a:gd name="connsiteX4" fmla="*/ 68180 w 69794"/>
                  <a:gd name="connsiteY4" fmla="*/ 150236 h 157711"/>
                  <a:gd name="connsiteX5" fmla="*/ 67522 w 69794"/>
                  <a:gd name="connsiteY5" fmla="*/ 147186 h 157711"/>
                  <a:gd name="connsiteX6" fmla="*/ 67163 w 69794"/>
                  <a:gd name="connsiteY6" fmla="*/ 145571 h 157711"/>
                  <a:gd name="connsiteX7" fmla="*/ 67104 w 69794"/>
                  <a:gd name="connsiteY7" fmla="*/ 145212 h 157711"/>
                  <a:gd name="connsiteX8" fmla="*/ 66446 w 69794"/>
                  <a:gd name="connsiteY8" fmla="*/ 142162 h 157711"/>
                  <a:gd name="connsiteX9" fmla="*/ 65788 w 69794"/>
                  <a:gd name="connsiteY9" fmla="*/ 139112 h 157711"/>
                  <a:gd name="connsiteX10" fmla="*/ 65130 w 69794"/>
                  <a:gd name="connsiteY10" fmla="*/ 136061 h 157711"/>
                  <a:gd name="connsiteX11" fmla="*/ 64652 w 69794"/>
                  <a:gd name="connsiteY11" fmla="*/ 133789 h 157711"/>
                  <a:gd name="connsiteX12" fmla="*/ 63515 w 69794"/>
                  <a:gd name="connsiteY12" fmla="*/ 130918 h 157711"/>
                  <a:gd name="connsiteX13" fmla="*/ 62379 w 69794"/>
                  <a:gd name="connsiteY13" fmla="*/ 128047 h 157711"/>
                  <a:gd name="connsiteX14" fmla="*/ 61243 w 69794"/>
                  <a:gd name="connsiteY14" fmla="*/ 125177 h 157711"/>
                  <a:gd name="connsiteX15" fmla="*/ 60106 w 69794"/>
                  <a:gd name="connsiteY15" fmla="*/ 122306 h 157711"/>
                  <a:gd name="connsiteX16" fmla="*/ 58970 w 69794"/>
                  <a:gd name="connsiteY16" fmla="*/ 119435 h 157711"/>
                  <a:gd name="connsiteX17" fmla="*/ 57833 w 69794"/>
                  <a:gd name="connsiteY17" fmla="*/ 116564 h 157711"/>
                  <a:gd name="connsiteX18" fmla="*/ 56697 w 69794"/>
                  <a:gd name="connsiteY18" fmla="*/ 113694 h 157711"/>
                  <a:gd name="connsiteX19" fmla="*/ 55561 w 69794"/>
                  <a:gd name="connsiteY19" fmla="*/ 110823 h 157711"/>
                  <a:gd name="connsiteX20" fmla="*/ 54424 w 69794"/>
                  <a:gd name="connsiteY20" fmla="*/ 107952 h 157711"/>
                  <a:gd name="connsiteX21" fmla="*/ 53288 w 69794"/>
                  <a:gd name="connsiteY21" fmla="*/ 105081 h 157711"/>
                  <a:gd name="connsiteX22" fmla="*/ 52630 w 69794"/>
                  <a:gd name="connsiteY22" fmla="*/ 103407 h 157711"/>
                  <a:gd name="connsiteX23" fmla="*/ 52032 w 69794"/>
                  <a:gd name="connsiteY23" fmla="*/ 100356 h 157711"/>
                  <a:gd name="connsiteX24" fmla="*/ 51434 w 69794"/>
                  <a:gd name="connsiteY24" fmla="*/ 97306 h 157711"/>
                  <a:gd name="connsiteX25" fmla="*/ 50836 w 69794"/>
                  <a:gd name="connsiteY25" fmla="*/ 94256 h 157711"/>
                  <a:gd name="connsiteX26" fmla="*/ 50238 w 69794"/>
                  <a:gd name="connsiteY26" fmla="*/ 91206 h 157711"/>
                  <a:gd name="connsiteX27" fmla="*/ 49640 w 69794"/>
                  <a:gd name="connsiteY27" fmla="*/ 88156 h 157711"/>
                  <a:gd name="connsiteX28" fmla="*/ 49042 w 69794"/>
                  <a:gd name="connsiteY28" fmla="*/ 85106 h 157711"/>
                  <a:gd name="connsiteX29" fmla="*/ 48444 w 69794"/>
                  <a:gd name="connsiteY29" fmla="*/ 82056 h 157711"/>
                  <a:gd name="connsiteX30" fmla="*/ 47846 w 69794"/>
                  <a:gd name="connsiteY30" fmla="*/ 79005 h 157711"/>
                  <a:gd name="connsiteX31" fmla="*/ 47427 w 69794"/>
                  <a:gd name="connsiteY31" fmla="*/ 76912 h 157711"/>
                  <a:gd name="connsiteX32" fmla="*/ 47247 w 69794"/>
                  <a:gd name="connsiteY32" fmla="*/ 75955 h 157711"/>
                  <a:gd name="connsiteX33" fmla="*/ 46650 w 69794"/>
                  <a:gd name="connsiteY33" fmla="*/ 72905 h 157711"/>
                  <a:gd name="connsiteX34" fmla="*/ 46051 w 69794"/>
                  <a:gd name="connsiteY34" fmla="*/ 69855 h 157711"/>
                  <a:gd name="connsiteX35" fmla="*/ 45752 w 69794"/>
                  <a:gd name="connsiteY35" fmla="*/ 68419 h 157711"/>
                  <a:gd name="connsiteX36" fmla="*/ 45154 w 69794"/>
                  <a:gd name="connsiteY36" fmla="*/ 65668 h 157711"/>
                  <a:gd name="connsiteX37" fmla="*/ 44855 w 69794"/>
                  <a:gd name="connsiteY37" fmla="*/ 64233 h 157711"/>
                  <a:gd name="connsiteX38" fmla="*/ 44377 w 69794"/>
                  <a:gd name="connsiteY38" fmla="*/ 61781 h 157711"/>
                  <a:gd name="connsiteX39" fmla="*/ 44317 w 69794"/>
                  <a:gd name="connsiteY39" fmla="*/ 61362 h 157711"/>
                  <a:gd name="connsiteX40" fmla="*/ 44018 w 69794"/>
                  <a:gd name="connsiteY40" fmla="*/ 59807 h 157711"/>
                  <a:gd name="connsiteX41" fmla="*/ 43420 w 69794"/>
                  <a:gd name="connsiteY41" fmla="*/ 56757 h 157711"/>
                  <a:gd name="connsiteX42" fmla="*/ 42882 w 69794"/>
                  <a:gd name="connsiteY42" fmla="*/ 54245 h 157711"/>
                  <a:gd name="connsiteX43" fmla="*/ 42583 w 69794"/>
                  <a:gd name="connsiteY43" fmla="*/ 52870 h 157711"/>
                  <a:gd name="connsiteX44" fmla="*/ 42523 w 69794"/>
                  <a:gd name="connsiteY44" fmla="*/ 52630 h 157711"/>
                  <a:gd name="connsiteX45" fmla="*/ 42403 w 69794"/>
                  <a:gd name="connsiteY45" fmla="*/ 51972 h 157711"/>
                  <a:gd name="connsiteX46" fmla="*/ 42044 w 69794"/>
                  <a:gd name="connsiteY46" fmla="*/ 50238 h 157711"/>
                  <a:gd name="connsiteX47" fmla="*/ 41446 w 69794"/>
                  <a:gd name="connsiteY47" fmla="*/ 47188 h 157711"/>
                  <a:gd name="connsiteX48" fmla="*/ 41386 w 69794"/>
                  <a:gd name="connsiteY48" fmla="*/ 47008 h 157711"/>
                  <a:gd name="connsiteX49" fmla="*/ 40789 w 69794"/>
                  <a:gd name="connsiteY49" fmla="*/ 43958 h 157711"/>
                  <a:gd name="connsiteX50" fmla="*/ 40190 w 69794"/>
                  <a:gd name="connsiteY50" fmla="*/ 40908 h 157711"/>
                  <a:gd name="connsiteX51" fmla="*/ 39592 w 69794"/>
                  <a:gd name="connsiteY51" fmla="*/ 37858 h 157711"/>
                  <a:gd name="connsiteX52" fmla="*/ 39473 w 69794"/>
                  <a:gd name="connsiteY52" fmla="*/ 37380 h 157711"/>
                  <a:gd name="connsiteX53" fmla="*/ 39054 w 69794"/>
                  <a:gd name="connsiteY53" fmla="*/ 35226 h 157711"/>
                  <a:gd name="connsiteX54" fmla="*/ 38396 w 69794"/>
                  <a:gd name="connsiteY54" fmla="*/ 32176 h 157711"/>
                  <a:gd name="connsiteX55" fmla="*/ 38157 w 69794"/>
                  <a:gd name="connsiteY55" fmla="*/ 30980 h 157711"/>
                  <a:gd name="connsiteX56" fmla="*/ 39054 w 69794"/>
                  <a:gd name="connsiteY56" fmla="*/ 27870 h 157711"/>
                  <a:gd name="connsiteX57" fmla="*/ 39951 w 69794"/>
                  <a:gd name="connsiteY57" fmla="*/ 24760 h 157711"/>
                  <a:gd name="connsiteX58" fmla="*/ 40250 w 69794"/>
                  <a:gd name="connsiteY58" fmla="*/ 23803 h 157711"/>
                  <a:gd name="connsiteX59" fmla="*/ 40310 w 69794"/>
                  <a:gd name="connsiteY59" fmla="*/ 23624 h 157711"/>
                  <a:gd name="connsiteX60" fmla="*/ 40848 w 69794"/>
                  <a:gd name="connsiteY60" fmla="*/ 21830 h 157711"/>
                  <a:gd name="connsiteX61" fmla="*/ 40190 w 69794"/>
                  <a:gd name="connsiteY61" fmla="*/ 18779 h 157711"/>
                  <a:gd name="connsiteX62" fmla="*/ 39891 w 69794"/>
                  <a:gd name="connsiteY62" fmla="*/ 17464 h 157711"/>
                  <a:gd name="connsiteX63" fmla="*/ 39473 w 69794"/>
                  <a:gd name="connsiteY63" fmla="*/ 15490 h 157711"/>
                  <a:gd name="connsiteX64" fmla="*/ 38815 w 69794"/>
                  <a:gd name="connsiteY64" fmla="*/ 12440 h 157711"/>
                  <a:gd name="connsiteX65" fmla="*/ 38157 w 69794"/>
                  <a:gd name="connsiteY65" fmla="*/ 9390 h 157711"/>
                  <a:gd name="connsiteX66" fmla="*/ 37499 w 69794"/>
                  <a:gd name="connsiteY66" fmla="*/ 6340 h 157711"/>
                  <a:gd name="connsiteX67" fmla="*/ 37140 w 69794"/>
                  <a:gd name="connsiteY67" fmla="*/ 4725 h 157711"/>
                  <a:gd name="connsiteX68" fmla="*/ 35824 w 69794"/>
                  <a:gd name="connsiteY68" fmla="*/ 1974 h 157711"/>
                  <a:gd name="connsiteX69" fmla="*/ 35645 w 69794"/>
                  <a:gd name="connsiteY69" fmla="*/ 1555 h 157711"/>
                  <a:gd name="connsiteX70" fmla="*/ 33073 w 69794"/>
                  <a:gd name="connsiteY70" fmla="*/ 60 h 157711"/>
                  <a:gd name="connsiteX71" fmla="*/ 33013 w 69794"/>
                  <a:gd name="connsiteY71" fmla="*/ 0 h 157711"/>
                  <a:gd name="connsiteX72" fmla="*/ 29963 w 69794"/>
                  <a:gd name="connsiteY72" fmla="*/ 179 h 157711"/>
                  <a:gd name="connsiteX73" fmla="*/ 29425 w 69794"/>
                  <a:gd name="connsiteY73" fmla="*/ 239 h 157711"/>
                  <a:gd name="connsiteX74" fmla="*/ 26554 w 69794"/>
                  <a:gd name="connsiteY74" fmla="*/ 1495 h 157711"/>
                  <a:gd name="connsiteX75" fmla="*/ 25179 w 69794"/>
                  <a:gd name="connsiteY75" fmla="*/ 2093 h 157711"/>
                  <a:gd name="connsiteX76" fmla="*/ 22547 w 69794"/>
                  <a:gd name="connsiteY76" fmla="*/ 3947 h 157711"/>
                  <a:gd name="connsiteX77" fmla="*/ 20454 w 69794"/>
                  <a:gd name="connsiteY77" fmla="*/ 5442 h 157711"/>
                  <a:gd name="connsiteX78" fmla="*/ 18121 w 69794"/>
                  <a:gd name="connsiteY78" fmla="*/ 7715 h 157711"/>
                  <a:gd name="connsiteX79" fmla="*/ 15789 w 69794"/>
                  <a:gd name="connsiteY79" fmla="*/ 9988 h 157711"/>
                  <a:gd name="connsiteX80" fmla="*/ 15669 w 69794"/>
                  <a:gd name="connsiteY80" fmla="*/ 10107 h 157711"/>
                  <a:gd name="connsiteX81" fmla="*/ 13636 w 69794"/>
                  <a:gd name="connsiteY81" fmla="*/ 12619 h 157711"/>
                  <a:gd name="connsiteX82" fmla="*/ 11603 w 69794"/>
                  <a:gd name="connsiteY82" fmla="*/ 15131 h 157711"/>
                  <a:gd name="connsiteX83" fmla="*/ 11184 w 69794"/>
                  <a:gd name="connsiteY83" fmla="*/ 15670 h 157711"/>
                  <a:gd name="connsiteX84" fmla="*/ 9390 w 69794"/>
                  <a:gd name="connsiteY84" fmla="*/ 18421 h 157711"/>
                  <a:gd name="connsiteX85" fmla="*/ 7595 w 69794"/>
                  <a:gd name="connsiteY85" fmla="*/ 21172 h 157711"/>
                  <a:gd name="connsiteX86" fmla="*/ 7117 w 69794"/>
                  <a:gd name="connsiteY86" fmla="*/ 21889 h 157711"/>
                  <a:gd name="connsiteX87" fmla="*/ 5622 w 69794"/>
                  <a:gd name="connsiteY87" fmla="*/ 24760 h 157711"/>
                  <a:gd name="connsiteX88" fmla="*/ 4127 w 69794"/>
                  <a:gd name="connsiteY88" fmla="*/ 27631 h 157711"/>
                  <a:gd name="connsiteX89" fmla="*/ 3827 w 69794"/>
                  <a:gd name="connsiteY89" fmla="*/ 28229 h 157711"/>
                  <a:gd name="connsiteX90" fmla="*/ 2632 w 69794"/>
                  <a:gd name="connsiteY90" fmla="*/ 31279 h 157711"/>
                  <a:gd name="connsiteX91" fmla="*/ 1435 w 69794"/>
                  <a:gd name="connsiteY91" fmla="*/ 34329 h 157711"/>
                  <a:gd name="connsiteX92" fmla="*/ 1375 w 69794"/>
                  <a:gd name="connsiteY92" fmla="*/ 34449 h 157711"/>
                  <a:gd name="connsiteX93" fmla="*/ 658 w 69794"/>
                  <a:gd name="connsiteY93" fmla="*/ 37619 h 157711"/>
                  <a:gd name="connsiteX94" fmla="*/ 60 w 69794"/>
                  <a:gd name="connsiteY94" fmla="*/ 40131 h 157711"/>
                  <a:gd name="connsiteX95" fmla="*/ 0 w 69794"/>
                  <a:gd name="connsiteY95" fmla="*/ 43300 h 157711"/>
                  <a:gd name="connsiteX96" fmla="*/ 0 w 69794"/>
                  <a:gd name="connsiteY96" fmla="*/ 44855 h 157711"/>
                  <a:gd name="connsiteX97" fmla="*/ 957 w 69794"/>
                  <a:gd name="connsiteY97" fmla="*/ 47786 h 157711"/>
                  <a:gd name="connsiteX98" fmla="*/ 1136 w 69794"/>
                  <a:gd name="connsiteY98" fmla="*/ 48324 h 157711"/>
                  <a:gd name="connsiteX99" fmla="*/ 3409 w 69794"/>
                  <a:gd name="connsiteY99" fmla="*/ 50238 h 157711"/>
                  <a:gd name="connsiteX100" fmla="*/ 3469 w 69794"/>
                  <a:gd name="connsiteY100" fmla="*/ 50298 h 157711"/>
                  <a:gd name="connsiteX101" fmla="*/ 5921 w 69794"/>
                  <a:gd name="connsiteY101" fmla="*/ 51972 h 157711"/>
                  <a:gd name="connsiteX102" fmla="*/ 8373 w 69794"/>
                  <a:gd name="connsiteY102" fmla="*/ 53647 h 157711"/>
                  <a:gd name="connsiteX103" fmla="*/ 10825 w 69794"/>
                  <a:gd name="connsiteY103" fmla="*/ 55322 h 157711"/>
                  <a:gd name="connsiteX104" fmla="*/ 12141 w 69794"/>
                  <a:gd name="connsiteY104" fmla="*/ 56219 h 15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9794" h="157711">
                    <a:moveTo>
                      <a:pt x="69795" y="157712"/>
                    </a:moveTo>
                    <a:lnTo>
                      <a:pt x="69795" y="157712"/>
                    </a:lnTo>
                    <a:lnTo>
                      <a:pt x="69137" y="154602"/>
                    </a:lnTo>
                    <a:lnTo>
                      <a:pt x="68838" y="153286"/>
                    </a:lnTo>
                    <a:lnTo>
                      <a:pt x="68180" y="150236"/>
                    </a:lnTo>
                    <a:lnTo>
                      <a:pt x="67522" y="147186"/>
                    </a:lnTo>
                    <a:lnTo>
                      <a:pt x="67163" y="145571"/>
                    </a:lnTo>
                    <a:lnTo>
                      <a:pt x="67104" y="145212"/>
                    </a:lnTo>
                    <a:lnTo>
                      <a:pt x="66446" y="142162"/>
                    </a:lnTo>
                    <a:lnTo>
                      <a:pt x="65788" y="139112"/>
                    </a:lnTo>
                    <a:lnTo>
                      <a:pt x="65130" y="136061"/>
                    </a:lnTo>
                    <a:lnTo>
                      <a:pt x="64652" y="133789"/>
                    </a:lnTo>
                    <a:lnTo>
                      <a:pt x="63515" y="130918"/>
                    </a:lnTo>
                    <a:lnTo>
                      <a:pt x="62379" y="128047"/>
                    </a:lnTo>
                    <a:lnTo>
                      <a:pt x="61243" y="125177"/>
                    </a:lnTo>
                    <a:lnTo>
                      <a:pt x="60106" y="122306"/>
                    </a:lnTo>
                    <a:lnTo>
                      <a:pt x="58970" y="119435"/>
                    </a:lnTo>
                    <a:lnTo>
                      <a:pt x="57833" y="116564"/>
                    </a:lnTo>
                    <a:lnTo>
                      <a:pt x="56697" y="113694"/>
                    </a:lnTo>
                    <a:lnTo>
                      <a:pt x="55561" y="110823"/>
                    </a:lnTo>
                    <a:lnTo>
                      <a:pt x="54424" y="107952"/>
                    </a:lnTo>
                    <a:lnTo>
                      <a:pt x="53288" y="105081"/>
                    </a:lnTo>
                    <a:lnTo>
                      <a:pt x="52630" y="103407"/>
                    </a:lnTo>
                    <a:lnTo>
                      <a:pt x="52032" y="100356"/>
                    </a:lnTo>
                    <a:lnTo>
                      <a:pt x="51434" y="97306"/>
                    </a:lnTo>
                    <a:lnTo>
                      <a:pt x="50836" y="94256"/>
                    </a:lnTo>
                    <a:lnTo>
                      <a:pt x="50238" y="91206"/>
                    </a:lnTo>
                    <a:lnTo>
                      <a:pt x="49640" y="88156"/>
                    </a:lnTo>
                    <a:lnTo>
                      <a:pt x="49042" y="85106"/>
                    </a:lnTo>
                    <a:lnTo>
                      <a:pt x="48444" y="82056"/>
                    </a:lnTo>
                    <a:lnTo>
                      <a:pt x="47846" y="79005"/>
                    </a:lnTo>
                    <a:lnTo>
                      <a:pt x="47427" y="76912"/>
                    </a:lnTo>
                    <a:lnTo>
                      <a:pt x="47247" y="75955"/>
                    </a:lnTo>
                    <a:lnTo>
                      <a:pt x="46650" y="72905"/>
                    </a:lnTo>
                    <a:lnTo>
                      <a:pt x="46051" y="69855"/>
                    </a:lnTo>
                    <a:lnTo>
                      <a:pt x="45752" y="68419"/>
                    </a:lnTo>
                    <a:lnTo>
                      <a:pt x="45154" y="65668"/>
                    </a:lnTo>
                    <a:lnTo>
                      <a:pt x="44855" y="64233"/>
                    </a:lnTo>
                    <a:lnTo>
                      <a:pt x="44377" y="61781"/>
                    </a:lnTo>
                    <a:lnTo>
                      <a:pt x="44317" y="61362"/>
                    </a:lnTo>
                    <a:lnTo>
                      <a:pt x="44018" y="59807"/>
                    </a:lnTo>
                    <a:lnTo>
                      <a:pt x="43420" y="56757"/>
                    </a:lnTo>
                    <a:lnTo>
                      <a:pt x="42882" y="54245"/>
                    </a:lnTo>
                    <a:lnTo>
                      <a:pt x="42583" y="52870"/>
                    </a:lnTo>
                    <a:lnTo>
                      <a:pt x="42523" y="52630"/>
                    </a:lnTo>
                    <a:lnTo>
                      <a:pt x="42403" y="51972"/>
                    </a:lnTo>
                    <a:lnTo>
                      <a:pt x="42044" y="50238"/>
                    </a:lnTo>
                    <a:lnTo>
                      <a:pt x="41446" y="47188"/>
                    </a:lnTo>
                    <a:lnTo>
                      <a:pt x="41386" y="47008"/>
                    </a:lnTo>
                    <a:lnTo>
                      <a:pt x="40789" y="43958"/>
                    </a:lnTo>
                    <a:lnTo>
                      <a:pt x="40190" y="40908"/>
                    </a:lnTo>
                    <a:lnTo>
                      <a:pt x="39592" y="37858"/>
                    </a:lnTo>
                    <a:lnTo>
                      <a:pt x="39473" y="37380"/>
                    </a:lnTo>
                    <a:lnTo>
                      <a:pt x="39054" y="35226"/>
                    </a:lnTo>
                    <a:lnTo>
                      <a:pt x="38396" y="32176"/>
                    </a:lnTo>
                    <a:lnTo>
                      <a:pt x="38157" y="30980"/>
                    </a:lnTo>
                    <a:lnTo>
                      <a:pt x="39054" y="27870"/>
                    </a:lnTo>
                    <a:lnTo>
                      <a:pt x="39951" y="24760"/>
                    </a:lnTo>
                    <a:lnTo>
                      <a:pt x="40250" y="23803"/>
                    </a:lnTo>
                    <a:lnTo>
                      <a:pt x="40310" y="23624"/>
                    </a:lnTo>
                    <a:lnTo>
                      <a:pt x="40848" y="21830"/>
                    </a:lnTo>
                    <a:lnTo>
                      <a:pt x="40190" y="18779"/>
                    </a:lnTo>
                    <a:lnTo>
                      <a:pt x="39891" y="17464"/>
                    </a:lnTo>
                    <a:lnTo>
                      <a:pt x="39473" y="15490"/>
                    </a:lnTo>
                    <a:lnTo>
                      <a:pt x="38815" y="12440"/>
                    </a:lnTo>
                    <a:lnTo>
                      <a:pt x="38157" y="9390"/>
                    </a:lnTo>
                    <a:lnTo>
                      <a:pt x="37499" y="6340"/>
                    </a:lnTo>
                    <a:lnTo>
                      <a:pt x="37140" y="4725"/>
                    </a:lnTo>
                    <a:lnTo>
                      <a:pt x="35824" y="1974"/>
                    </a:lnTo>
                    <a:lnTo>
                      <a:pt x="35645" y="1555"/>
                    </a:lnTo>
                    <a:lnTo>
                      <a:pt x="33073" y="60"/>
                    </a:lnTo>
                    <a:lnTo>
                      <a:pt x="33013" y="0"/>
                    </a:lnTo>
                    <a:lnTo>
                      <a:pt x="29963" y="179"/>
                    </a:lnTo>
                    <a:lnTo>
                      <a:pt x="29425" y="239"/>
                    </a:lnTo>
                    <a:lnTo>
                      <a:pt x="26554" y="1495"/>
                    </a:lnTo>
                    <a:lnTo>
                      <a:pt x="25179" y="2093"/>
                    </a:lnTo>
                    <a:lnTo>
                      <a:pt x="22547" y="3947"/>
                    </a:lnTo>
                    <a:lnTo>
                      <a:pt x="20454" y="5442"/>
                    </a:lnTo>
                    <a:lnTo>
                      <a:pt x="18121" y="7715"/>
                    </a:lnTo>
                    <a:lnTo>
                      <a:pt x="15789" y="9988"/>
                    </a:lnTo>
                    <a:lnTo>
                      <a:pt x="15669" y="10107"/>
                    </a:lnTo>
                    <a:lnTo>
                      <a:pt x="13636" y="12619"/>
                    </a:lnTo>
                    <a:lnTo>
                      <a:pt x="11603" y="15131"/>
                    </a:lnTo>
                    <a:lnTo>
                      <a:pt x="11184" y="15670"/>
                    </a:lnTo>
                    <a:lnTo>
                      <a:pt x="9390" y="18421"/>
                    </a:lnTo>
                    <a:lnTo>
                      <a:pt x="7595" y="21172"/>
                    </a:lnTo>
                    <a:lnTo>
                      <a:pt x="7117" y="21889"/>
                    </a:lnTo>
                    <a:lnTo>
                      <a:pt x="5622" y="24760"/>
                    </a:lnTo>
                    <a:lnTo>
                      <a:pt x="4127" y="27631"/>
                    </a:lnTo>
                    <a:lnTo>
                      <a:pt x="3827" y="28229"/>
                    </a:lnTo>
                    <a:lnTo>
                      <a:pt x="2632" y="31279"/>
                    </a:lnTo>
                    <a:lnTo>
                      <a:pt x="1435" y="34329"/>
                    </a:lnTo>
                    <a:lnTo>
                      <a:pt x="1375" y="34449"/>
                    </a:lnTo>
                    <a:lnTo>
                      <a:pt x="658" y="37619"/>
                    </a:lnTo>
                    <a:lnTo>
                      <a:pt x="60" y="40131"/>
                    </a:lnTo>
                    <a:lnTo>
                      <a:pt x="0" y="43300"/>
                    </a:lnTo>
                    <a:lnTo>
                      <a:pt x="0" y="44855"/>
                    </a:lnTo>
                    <a:lnTo>
                      <a:pt x="957" y="47786"/>
                    </a:lnTo>
                    <a:lnTo>
                      <a:pt x="1136" y="48324"/>
                    </a:lnTo>
                    <a:lnTo>
                      <a:pt x="3409" y="50238"/>
                    </a:lnTo>
                    <a:lnTo>
                      <a:pt x="3469" y="50298"/>
                    </a:lnTo>
                    <a:lnTo>
                      <a:pt x="5921" y="51972"/>
                    </a:lnTo>
                    <a:lnTo>
                      <a:pt x="8373" y="53647"/>
                    </a:lnTo>
                    <a:lnTo>
                      <a:pt x="10825" y="55322"/>
                    </a:lnTo>
                    <a:lnTo>
                      <a:pt x="12141" y="56219"/>
                    </a:lnTo>
                  </a:path>
                </a:pathLst>
              </a:custGeom>
              <a:noFill/>
              <a:ln w="6350" cap="rnd">
                <a:solidFill>
                  <a:schemeClr val="bg1">
                    <a:alpha val="80000"/>
                  </a:schemeClr>
                </a:solidFill>
                <a:prstDash val="solid"/>
                <a:round/>
              </a:ln>
            </p:spPr>
            <p:txBody>
              <a:bodyPr rtlCol="0" anchor="ctr"/>
              <a:lstStyle/>
              <a:p>
                <a:endParaRPr lang="en-GB"/>
              </a:p>
            </p:txBody>
          </p:sp>
          <p:sp>
            <p:nvSpPr>
              <p:cNvPr id="5451" name="Vrije vorm: vorm 5450">
                <a:extLst>
                  <a:ext uri="{FF2B5EF4-FFF2-40B4-BE49-F238E27FC236}">
                    <a16:creationId xmlns:a16="http://schemas.microsoft.com/office/drawing/2014/main" id="{B82FAA7B-BB41-4FEC-ABE7-D3D286BEF84A}"/>
                  </a:ext>
                </a:extLst>
              </p:cNvPr>
              <p:cNvSpPr/>
              <p:nvPr/>
            </p:nvSpPr>
            <p:spPr>
              <a:xfrm>
                <a:off x="6467692" y="1541930"/>
                <a:ext cx="20693" cy="23265"/>
              </a:xfrm>
              <a:custGeom>
                <a:avLst/>
                <a:gdLst>
                  <a:gd name="connsiteX0" fmla="*/ 0 w 20693"/>
                  <a:gd name="connsiteY0" fmla="*/ 0 h 23265"/>
                  <a:gd name="connsiteX1" fmla="*/ 2333 w 20693"/>
                  <a:gd name="connsiteY1" fmla="*/ 1794 h 23265"/>
                  <a:gd name="connsiteX2" fmla="*/ 4665 w 20693"/>
                  <a:gd name="connsiteY2" fmla="*/ 3588 h 23265"/>
                  <a:gd name="connsiteX3" fmla="*/ 6998 w 20693"/>
                  <a:gd name="connsiteY3" fmla="*/ 5383 h 23265"/>
                  <a:gd name="connsiteX4" fmla="*/ 9330 w 20693"/>
                  <a:gd name="connsiteY4" fmla="*/ 7177 h 23265"/>
                  <a:gd name="connsiteX5" fmla="*/ 11662 w 20693"/>
                  <a:gd name="connsiteY5" fmla="*/ 8971 h 23265"/>
                  <a:gd name="connsiteX6" fmla="*/ 12919 w 20693"/>
                  <a:gd name="connsiteY6" fmla="*/ 9928 h 23265"/>
                  <a:gd name="connsiteX7" fmla="*/ 15251 w 20693"/>
                  <a:gd name="connsiteY7" fmla="*/ 11722 h 23265"/>
                  <a:gd name="connsiteX8" fmla="*/ 16328 w 20693"/>
                  <a:gd name="connsiteY8" fmla="*/ 12560 h 23265"/>
                  <a:gd name="connsiteX9" fmla="*/ 16328 w 20693"/>
                  <a:gd name="connsiteY9" fmla="*/ 12560 h 23265"/>
                  <a:gd name="connsiteX10" fmla="*/ 18660 w 20693"/>
                  <a:gd name="connsiteY10" fmla="*/ 14354 h 23265"/>
                  <a:gd name="connsiteX11" fmla="*/ 18720 w 20693"/>
                  <a:gd name="connsiteY11" fmla="*/ 14354 h 23265"/>
                  <a:gd name="connsiteX12" fmla="*/ 20096 w 20693"/>
                  <a:gd name="connsiteY12" fmla="*/ 17105 h 23265"/>
                  <a:gd name="connsiteX13" fmla="*/ 20335 w 20693"/>
                  <a:gd name="connsiteY13" fmla="*/ 17583 h 23265"/>
                  <a:gd name="connsiteX14" fmla="*/ 20574 w 20693"/>
                  <a:gd name="connsiteY14" fmla="*/ 20753 h 23265"/>
                  <a:gd name="connsiteX15" fmla="*/ 20693 w 20693"/>
                  <a:gd name="connsiteY15" fmla="*/ 22248 h 23265"/>
                  <a:gd name="connsiteX16" fmla="*/ 20514 w 20693"/>
                  <a:gd name="connsiteY16" fmla="*/ 23265 h 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93" h="23265">
                    <a:moveTo>
                      <a:pt x="0" y="0"/>
                    </a:moveTo>
                    <a:lnTo>
                      <a:pt x="2333" y="1794"/>
                    </a:lnTo>
                    <a:lnTo>
                      <a:pt x="4665" y="3588"/>
                    </a:lnTo>
                    <a:lnTo>
                      <a:pt x="6998" y="5383"/>
                    </a:lnTo>
                    <a:lnTo>
                      <a:pt x="9330" y="7177"/>
                    </a:lnTo>
                    <a:lnTo>
                      <a:pt x="11662" y="8971"/>
                    </a:lnTo>
                    <a:lnTo>
                      <a:pt x="12919" y="9928"/>
                    </a:lnTo>
                    <a:lnTo>
                      <a:pt x="15251" y="11722"/>
                    </a:lnTo>
                    <a:lnTo>
                      <a:pt x="16328" y="12560"/>
                    </a:lnTo>
                    <a:lnTo>
                      <a:pt x="16328" y="12560"/>
                    </a:lnTo>
                    <a:lnTo>
                      <a:pt x="18660" y="14354"/>
                    </a:lnTo>
                    <a:lnTo>
                      <a:pt x="18720" y="14354"/>
                    </a:lnTo>
                    <a:lnTo>
                      <a:pt x="20096" y="17105"/>
                    </a:lnTo>
                    <a:lnTo>
                      <a:pt x="20335" y="17583"/>
                    </a:lnTo>
                    <a:lnTo>
                      <a:pt x="20574" y="20753"/>
                    </a:lnTo>
                    <a:lnTo>
                      <a:pt x="20693" y="22248"/>
                    </a:lnTo>
                    <a:lnTo>
                      <a:pt x="20514" y="23265"/>
                    </a:lnTo>
                  </a:path>
                </a:pathLst>
              </a:custGeom>
              <a:noFill/>
              <a:ln w="6350" cap="rnd">
                <a:solidFill>
                  <a:schemeClr val="bg1">
                    <a:alpha val="80000"/>
                  </a:schemeClr>
                </a:solidFill>
                <a:prstDash val="solid"/>
                <a:round/>
              </a:ln>
            </p:spPr>
            <p:txBody>
              <a:bodyPr rtlCol="0" anchor="ctr"/>
              <a:lstStyle/>
              <a:p>
                <a:endParaRPr lang="en-GB"/>
              </a:p>
            </p:txBody>
          </p:sp>
          <p:sp>
            <p:nvSpPr>
              <p:cNvPr id="5452" name="Vrije vorm: vorm 5451">
                <a:extLst>
                  <a:ext uri="{FF2B5EF4-FFF2-40B4-BE49-F238E27FC236}">
                    <a16:creationId xmlns:a16="http://schemas.microsoft.com/office/drawing/2014/main" id="{98F5EF44-C40B-46B0-8556-BC997433388A}"/>
                  </a:ext>
                </a:extLst>
              </p:cNvPr>
              <p:cNvSpPr/>
              <p:nvPr/>
            </p:nvSpPr>
            <p:spPr>
              <a:xfrm>
                <a:off x="6462070" y="1748564"/>
                <a:ext cx="19257" cy="7475"/>
              </a:xfrm>
              <a:custGeom>
                <a:avLst/>
                <a:gdLst>
                  <a:gd name="connsiteX0" fmla="*/ 0 w 19257"/>
                  <a:gd name="connsiteY0" fmla="*/ 7476 h 7475"/>
                  <a:gd name="connsiteX1" fmla="*/ 3050 w 19257"/>
                  <a:gd name="connsiteY1" fmla="*/ 7416 h 7475"/>
                  <a:gd name="connsiteX2" fmla="*/ 5681 w 19257"/>
                  <a:gd name="connsiteY2" fmla="*/ 7356 h 7475"/>
                  <a:gd name="connsiteX3" fmla="*/ 5681 w 19257"/>
                  <a:gd name="connsiteY3" fmla="*/ 7356 h 7475"/>
                  <a:gd name="connsiteX4" fmla="*/ 5801 w 19257"/>
                  <a:gd name="connsiteY4" fmla="*/ 7356 h 7475"/>
                  <a:gd name="connsiteX5" fmla="*/ 8732 w 19257"/>
                  <a:gd name="connsiteY5" fmla="*/ 6220 h 7475"/>
                  <a:gd name="connsiteX6" fmla="*/ 9389 w 19257"/>
                  <a:gd name="connsiteY6" fmla="*/ 5981 h 7475"/>
                  <a:gd name="connsiteX7" fmla="*/ 12320 w 19257"/>
                  <a:gd name="connsiteY7" fmla="*/ 4844 h 7475"/>
                  <a:gd name="connsiteX8" fmla="*/ 12380 w 19257"/>
                  <a:gd name="connsiteY8" fmla="*/ 4844 h 7475"/>
                  <a:gd name="connsiteX9" fmla="*/ 13157 w 19257"/>
                  <a:gd name="connsiteY9" fmla="*/ 4306 h 7475"/>
                  <a:gd name="connsiteX10" fmla="*/ 13696 w 19257"/>
                  <a:gd name="connsiteY10" fmla="*/ 3947 h 7475"/>
                  <a:gd name="connsiteX11" fmla="*/ 13756 w 19257"/>
                  <a:gd name="connsiteY11" fmla="*/ 3887 h 7475"/>
                  <a:gd name="connsiteX12" fmla="*/ 14712 w 19257"/>
                  <a:gd name="connsiteY12" fmla="*/ 3230 h 7475"/>
                  <a:gd name="connsiteX13" fmla="*/ 17344 w 19257"/>
                  <a:gd name="connsiteY13" fmla="*/ 1376 h 7475"/>
                  <a:gd name="connsiteX14" fmla="*/ 19258 w 19257"/>
                  <a:gd name="connsiteY14" fmla="*/ 0 h 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257" h="7475">
                    <a:moveTo>
                      <a:pt x="0" y="7476"/>
                    </a:moveTo>
                    <a:lnTo>
                      <a:pt x="3050" y="7416"/>
                    </a:lnTo>
                    <a:lnTo>
                      <a:pt x="5681" y="7356"/>
                    </a:lnTo>
                    <a:lnTo>
                      <a:pt x="5681" y="7356"/>
                    </a:lnTo>
                    <a:lnTo>
                      <a:pt x="5801" y="7356"/>
                    </a:lnTo>
                    <a:lnTo>
                      <a:pt x="8732" y="6220"/>
                    </a:lnTo>
                    <a:lnTo>
                      <a:pt x="9389" y="5981"/>
                    </a:lnTo>
                    <a:lnTo>
                      <a:pt x="12320" y="4844"/>
                    </a:lnTo>
                    <a:lnTo>
                      <a:pt x="12380" y="4844"/>
                    </a:lnTo>
                    <a:lnTo>
                      <a:pt x="13157" y="4306"/>
                    </a:lnTo>
                    <a:lnTo>
                      <a:pt x="13696" y="3947"/>
                    </a:lnTo>
                    <a:lnTo>
                      <a:pt x="13756" y="3887"/>
                    </a:lnTo>
                    <a:lnTo>
                      <a:pt x="14712" y="3230"/>
                    </a:lnTo>
                    <a:lnTo>
                      <a:pt x="17344" y="1376"/>
                    </a:lnTo>
                    <a:lnTo>
                      <a:pt x="19258" y="0"/>
                    </a:lnTo>
                  </a:path>
                </a:pathLst>
              </a:custGeom>
              <a:noFill/>
              <a:ln w="6350" cap="rnd">
                <a:solidFill>
                  <a:schemeClr val="bg1">
                    <a:alpha val="80000"/>
                  </a:schemeClr>
                </a:solidFill>
                <a:prstDash val="solid"/>
                <a:round/>
              </a:ln>
            </p:spPr>
            <p:txBody>
              <a:bodyPr rtlCol="0" anchor="ctr"/>
              <a:lstStyle/>
              <a:p>
                <a:endParaRPr lang="en-GB"/>
              </a:p>
            </p:txBody>
          </p:sp>
          <p:sp>
            <p:nvSpPr>
              <p:cNvPr id="5453" name="Vrije vorm: vorm 5452">
                <a:extLst>
                  <a:ext uri="{FF2B5EF4-FFF2-40B4-BE49-F238E27FC236}">
                    <a16:creationId xmlns:a16="http://schemas.microsoft.com/office/drawing/2014/main" id="{802718FF-B74A-4058-8A66-75E3744ABC84}"/>
                  </a:ext>
                </a:extLst>
              </p:cNvPr>
              <p:cNvSpPr/>
              <p:nvPr/>
            </p:nvSpPr>
            <p:spPr>
              <a:xfrm>
                <a:off x="6480072" y="1741566"/>
                <a:ext cx="3588" cy="8073"/>
              </a:xfrm>
              <a:custGeom>
                <a:avLst/>
                <a:gdLst>
                  <a:gd name="connsiteX0" fmla="*/ 0 w 3588"/>
                  <a:gd name="connsiteY0" fmla="*/ 0 h 8073"/>
                  <a:gd name="connsiteX1" fmla="*/ 120 w 3588"/>
                  <a:gd name="connsiteY1" fmla="*/ 837 h 8073"/>
                  <a:gd name="connsiteX2" fmla="*/ 658 w 3588"/>
                  <a:gd name="connsiteY2" fmla="*/ 3947 h 8073"/>
                  <a:gd name="connsiteX3" fmla="*/ 1136 w 3588"/>
                  <a:gd name="connsiteY3" fmla="*/ 6878 h 8073"/>
                  <a:gd name="connsiteX4" fmla="*/ 3589 w 3588"/>
                  <a:gd name="connsiteY4" fmla="*/ 8074 h 8073"/>
                  <a:gd name="connsiteX5" fmla="*/ 3050 w 3588"/>
                  <a:gd name="connsiteY5" fmla="*/ 4964 h 8073"/>
                  <a:gd name="connsiteX6" fmla="*/ 2811 w 3588"/>
                  <a:gd name="connsiteY6" fmla="*/ 3469 h 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8" h="8073">
                    <a:moveTo>
                      <a:pt x="0" y="0"/>
                    </a:moveTo>
                    <a:lnTo>
                      <a:pt x="120" y="837"/>
                    </a:lnTo>
                    <a:lnTo>
                      <a:pt x="658" y="3947"/>
                    </a:lnTo>
                    <a:lnTo>
                      <a:pt x="1136" y="6878"/>
                    </a:lnTo>
                    <a:lnTo>
                      <a:pt x="3589" y="8074"/>
                    </a:lnTo>
                    <a:lnTo>
                      <a:pt x="3050" y="4964"/>
                    </a:lnTo>
                    <a:lnTo>
                      <a:pt x="2811" y="3469"/>
                    </a:lnTo>
                  </a:path>
                </a:pathLst>
              </a:custGeom>
              <a:noFill/>
              <a:ln w="6350" cap="rnd">
                <a:solidFill>
                  <a:schemeClr val="bg1">
                    <a:alpha val="80000"/>
                  </a:schemeClr>
                </a:solidFill>
                <a:prstDash val="solid"/>
                <a:round/>
              </a:ln>
            </p:spPr>
            <p:txBody>
              <a:bodyPr rtlCol="0" anchor="ctr"/>
              <a:lstStyle/>
              <a:p>
                <a:endParaRPr lang="en-GB"/>
              </a:p>
            </p:txBody>
          </p:sp>
          <p:sp>
            <p:nvSpPr>
              <p:cNvPr id="5454" name="Vrije vorm: vorm 5453">
                <a:extLst>
                  <a:ext uri="{FF2B5EF4-FFF2-40B4-BE49-F238E27FC236}">
                    <a16:creationId xmlns:a16="http://schemas.microsoft.com/office/drawing/2014/main" id="{F5679D29-A792-4238-A791-EE22FC71679F}"/>
                  </a:ext>
                </a:extLst>
              </p:cNvPr>
              <p:cNvSpPr/>
              <p:nvPr/>
            </p:nvSpPr>
            <p:spPr>
              <a:xfrm>
                <a:off x="6453817" y="1727871"/>
                <a:ext cx="8612" cy="13576"/>
              </a:xfrm>
              <a:custGeom>
                <a:avLst/>
                <a:gdLst>
                  <a:gd name="connsiteX0" fmla="*/ 0 w 8612"/>
                  <a:gd name="connsiteY0" fmla="*/ 13158 h 13576"/>
                  <a:gd name="connsiteX1" fmla="*/ 1196 w 8612"/>
                  <a:gd name="connsiteY1" fmla="*/ 13576 h 13576"/>
                  <a:gd name="connsiteX2" fmla="*/ 2572 w 8612"/>
                  <a:gd name="connsiteY2" fmla="*/ 13397 h 13576"/>
                  <a:gd name="connsiteX3" fmla="*/ 4067 w 8612"/>
                  <a:gd name="connsiteY3" fmla="*/ 12679 h 13576"/>
                  <a:gd name="connsiteX4" fmla="*/ 5502 w 8612"/>
                  <a:gd name="connsiteY4" fmla="*/ 11423 h 13576"/>
                  <a:gd name="connsiteX5" fmla="*/ 6220 w 8612"/>
                  <a:gd name="connsiteY5" fmla="*/ 10526 h 13576"/>
                  <a:gd name="connsiteX6" fmla="*/ 6519 w 8612"/>
                  <a:gd name="connsiteY6" fmla="*/ 10107 h 13576"/>
                  <a:gd name="connsiteX7" fmla="*/ 7416 w 8612"/>
                  <a:gd name="connsiteY7" fmla="*/ 8612 h 13576"/>
                  <a:gd name="connsiteX8" fmla="*/ 7655 w 8612"/>
                  <a:gd name="connsiteY8" fmla="*/ 8014 h 13576"/>
                  <a:gd name="connsiteX9" fmla="*/ 8074 w 8612"/>
                  <a:gd name="connsiteY9" fmla="*/ 7057 h 13576"/>
                  <a:gd name="connsiteX10" fmla="*/ 8194 w 8612"/>
                  <a:gd name="connsiteY10" fmla="*/ 6639 h 13576"/>
                  <a:gd name="connsiteX11" fmla="*/ 8493 w 8612"/>
                  <a:gd name="connsiteY11" fmla="*/ 5442 h 13576"/>
                  <a:gd name="connsiteX12" fmla="*/ 8612 w 8612"/>
                  <a:gd name="connsiteY12" fmla="*/ 3888 h 13576"/>
                  <a:gd name="connsiteX13" fmla="*/ 8493 w 8612"/>
                  <a:gd name="connsiteY13" fmla="*/ 2512 h 13576"/>
                  <a:gd name="connsiteX14" fmla="*/ 8433 w 8612"/>
                  <a:gd name="connsiteY14" fmla="*/ 2273 h 13576"/>
                  <a:gd name="connsiteX15" fmla="*/ 8433 w 8612"/>
                  <a:gd name="connsiteY15" fmla="*/ 2213 h 13576"/>
                  <a:gd name="connsiteX16" fmla="*/ 8134 w 8612"/>
                  <a:gd name="connsiteY16" fmla="*/ 1376 h 13576"/>
                  <a:gd name="connsiteX17" fmla="*/ 7476 w 8612"/>
                  <a:gd name="connsiteY17" fmla="*/ 538 h 13576"/>
                  <a:gd name="connsiteX18" fmla="*/ 6639 w 8612"/>
                  <a:gd name="connsiteY18" fmla="*/ 0 h 13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612" h="13576">
                    <a:moveTo>
                      <a:pt x="0" y="13158"/>
                    </a:moveTo>
                    <a:lnTo>
                      <a:pt x="1196" y="13576"/>
                    </a:lnTo>
                    <a:lnTo>
                      <a:pt x="2572" y="13397"/>
                    </a:lnTo>
                    <a:lnTo>
                      <a:pt x="4067" y="12679"/>
                    </a:lnTo>
                    <a:lnTo>
                      <a:pt x="5502" y="11423"/>
                    </a:lnTo>
                    <a:lnTo>
                      <a:pt x="6220" y="10526"/>
                    </a:lnTo>
                    <a:lnTo>
                      <a:pt x="6519" y="10107"/>
                    </a:lnTo>
                    <a:lnTo>
                      <a:pt x="7416" y="8612"/>
                    </a:lnTo>
                    <a:lnTo>
                      <a:pt x="7655" y="8014"/>
                    </a:lnTo>
                    <a:lnTo>
                      <a:pt x="8074" y="7057"/>
                    </a:lnTo>
                    <a:lnTo>
                      <a:pt x="8194" y="6639"/>
                    </a:lnTo>
                    <a:lnTo>
                      <a:pt x="8493" y="5442"/>
                    </a:lnTo>
                    <a:lnTo>
                      <a:pt x="8612" y="3888"/>
                    </a:lnTo>
                    <a:lnTo>
                      <a:pt x="8493" y="2512"/>
                    </a:lnTo>
                    <a:lnTo>
                      <a:pt x="8433" y="2273"/>
                    </a:lnTo>
                    <a:lnTo>
                      <a:pt x="8433" y="2213"/>
                    </a:lnTo>
                    <a:lnTo>
                      <a:pt x="8134" y="1376"/>
                    </a:lnTo>
                    <a:lnTo>
                      <a:pt x="7476" y="538"/>
                    </a:lnTo>
                    <a:lnTo>
                      <a:pt x="6639" y="0"/>
                    </a:lnTo>
                  </a:path>
                </a:pathLst>
              </a:custGeom>
              <a:noFill/>
              <a:ln w="6350" cap="rnd">
                <a:solidFill>
                  <a:schemeClr val="bg1">
                    <a:alpha val="80000"/>
                  </a:schemeClr>
                </a:solidFill>
                <a:prstDash val="solid"/>
                <a:round/>
              </a:ln>
            </p:spPr>
            <p:txBody>
              <a:bodyPr rtlCol="0" anchor="ctr"/>
              <a:lstStyle/>
              <a:p>
                <a:endParaRPr lang="en-GB"/>
              </a:p>
            </p:txBody>
          </p:sp>
          <p:sp>
            <p:nvSpPr>
              <p:cNvPr id="5455" name="Vrije vorm: vorm 5454">
                <a:extLst>
                  <a:ext uri="{FF2B5EF4-FFF2-40B4-BE49-F238E27FC236}">
                    <a16:creationId xmlns:a16="http://schemas.microsoft.com/office/drawing/2014/main" id="{3AAF7E8F-8F7F-417C-965D-DD20035B4366}"/>
                  </a:ext>
                </a:extLst>
              </p:cNvPr>
              <p:cNvSpPr/>
              <p:nvPr/>
            </p:nvSpPr>
            <p:spPr>
              <a:xfrm>
                <a:off x="6452322" y="1669738"/>
                <a:ext cx="9210" cy="65847"/>
              </a:xfrm>
              <a:custGeom>
                <a:avLst/>
                <a:gdLst>
                  <a:gd name="connsiteX0" fmla="*/ 0 w 9210"/>
                  <a:gd name="connsiteY0" fmla="*/ 65848 h 65847"/>
                  <a:gd name="connsiteX1" fmla="*/ 60 w 9210"/>
                  <a:gd name="connsiteY1" fmla="*/ 65609 h 65847"/>
                  <a:gd name="connsiteX2" fmla="*/ 658 w 9210"/>
                  <a:gd name="connsiteY2" fmla="*/ 62439 h 65847"/>
                  <a:gd name="connsiteX3" fmla="*/ 837 w 9210"/>
                  <a:gd name="connsiteY3" fmla="*/ 61422 h 65847"/>
                  <a:gd name="connsiteX4" fmla="*/ 1375 w 9210"/>
                  <a:gd name="connsiteY4" fmla="*/ 58432 h 65847"/>
                  <a:gd name="connsiteX5" fmla="*/ 1495 w 9210"/>
                  <a:gd name="connsiteY5" fmla="*/ 57654 h 65847"/>
                  <a:gd name="connsiteX6" fmla="*/ 1794 w 9210"/>
                  <a:gd name="connsiteY6" fmla="*/ 56817 h 65847"/>
                  <a:gd name="connsiteX7" fmla="*/ 2811 w 9210"/>
                  <a:gd name="connsiteY7" fmla="*/ 53826 h 65847"/>
                  <a:gd name="connsiteX8" fmla="*/ 3887 w 9210"/>
                  <a:gd name="connsiteY8" fmla="*/ 50776 h 65847"/>
                  <a:gd name="connsiteX9" fmla="*/ 4486 w 9210"/>
                  <a:gd name="connsiteY9" fmla="*/ 49042 h 65847"/>
                  <a:gd name="connsiteX10" fmla="*/ 5981 w 9210"/>
                  <a:gd name="connsiteY10" fmla="*/ 46111 h 65847"/>
                  <a:gd name="connsiteX11" fmla="*/ 7356 w 9210"/>
                  <a:gd name="connsiteY11" fmla="*/ 43420 h 65847"/>
                  <a:gd name="connsiteX12" fmla="*/ 8791 w 9210"/>
                  <a:gd name="connsiteY12" fmla="*/ 40609 h 65847"/>
                  <a:gd name="connsiteX13" fmla="*/ 9210 w 9210"/>
                  <a:gd name="connsiteY13" fmla="*/ 37679 h 65847"/>
                  <a:gd name="connsiteX14" fmla="*/ 8672 w 9210"/>
                  <a:gd name="connsiteY14" fmla="*/ 34569 h 65847"/>
                  <a:gd name="connsiteX15" fmla="*/ 8433 w 9210"/>
                  <a:gd name="connsiteY15" fmla="*/ 33193 h 65847"/>
                  <a:gd name="connsiteX16" fmla="*/ 7894 w 9210"/>
                  <a:gd name="connsiteY16" fmla="*/ 30083 h 65847"/>
                  <a:gd name="connsiteX17" fmla="*/ 7356 w 9210"/>
                  <a:gd name="connsiteY17" fmla="*/ 26973 h 65847"/>
                  <a:gd name="connsiteX18" fmla="*/ 7117 w 9210"/>
                  <a:gd name="connsiteY18" fmla="*/ 25717 h 65847"/>
                  <a:gd name="connsiteX19" fmla="*/ 6579 w 9210"/>
                  <a:gd name="connsiteY19" fmla="*/ 22607 h 65847"/>
                  <a:gd name="connsiteX20" fmla="*/ 6459 w 9210"/>
                  <a:gd name="connsiteY20" fmla="*/ 21889 h 65847"/>
                  <a:gd name="connsiteX21" fmla="*/ 5921 w 9210"/>
                  <a:gd name="connsiteY21" fmla="*/ 18779 h 65847"/>
                  <a:gd name="connsiteX22" fmla="*/ 5382 w 9210"/>
                  <a:gd name="connsiteY22" fmla="*/ 15670 h 65847"/>
                  <a:gd name="connsiteX23" fmla="*/ 5203 w 9210"/>
                  <a:gd name="connsiteY23" fmla="*/ 14533 h 65847"/>
                  <a:gd name="connsiteX24" fmla="*/ 4665 w 9210"/>
                  <a:gd name="connsiteY24" fmla="*/ 11603 h 65847"/>
                  <a:gd name="connsiteX25" fmla="*/ 4127 w 9210"/>
                  <a:gd name="connsiteY25" fmla="*/ 8493 h 65847"/>
                  <a:gd name="connsiteX26" fmla="*/ 3588 w 9210"/>
                  <a:gd name="connsiteY26" fmla="*/ 5383 h 65847"/>
                  <a:gd name="connsiteX27" fmla="*/ 3409 w 9210"/>
                  <a:gd name="connsiteY27" fmla="*/ 4426 h 65847"/>
                  <a:gd name="connsiteX28" fmla="*/ 3229 w 9210"/>
                  <a:gd name="connsiteY28" fmla="*/ 3888 h 65847"/>
                  <a:gd name="connsiteX29" fmla="*/ 2990 w 9210"/>
                  <a:gd name="connsiteY29" fmla="*/ 3110 h 65847"/>
                  <a:gd name="connsiteX30" fmla="*/ 2811 w 9210"/>
                  <a:gd name="connsiteY30" fmla="*/ 1734 h 65847"/>
                  <a:gd name="connsiteX31" fmla="*/ 2691 w 9210"/>
                  <a:gd name="connsiteY31" fmla="*/ 778 h 65847"/>
                  <a:gd name="connsiteX32" fmla="*/ 2572 w 9210"/>
                  <a:gd name="connsiteY32" fmla="*/ 0 h 6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210" h="65847">
                    <a:moveTo>
                      <a:pt x="0" y="65848"/>
                    </a:moveTo>
                    <a:lnTo>
                      <a:pt x="60" y="65609"/>
                    </a:lnTo>
                    <a:lnTo>
                      <a:pt x="658" y="62439"/>
                    </a:lnTo>
                    <a:lnTo>
                      <a:pt x="837" y="61422"/>
                    </a:lnTo>
                    <a:lnTo>
                      <a:pt x="1375" y="58432"/>
                    </a:lnTo>
                    <a:lnTo>
                      <a:pt x="1495" y="57654"/>
                    </a:lnTo>
                    <a:lnTo>
                      <a:pt x="1794" y="56817"/>
                    </a:lnTo>
                    <a:lnTo>
                      <a:pt x="2811" y="53826"/>
                    </a:lnTo>
                    <a:lnTo>
                      <a:pt x="3887" y="50776"/>
                    </a:lnTo>
                    <a:lnTo>
                      <a:pt x="4486" y="49042"/>
                    </a:lnTo>
                    <a:lnTo>
                      <a:pt x="5981" y="46111"/>
                    </a:lnTo>
                    <a:lnTo>
                      <a:pt x="7356" y="43420"/>
                    </a:lnTo>
                    <a:lnTo>
                      <a:pt x="8791" y="40609"/>
                    </a:lnTo>
                    <a:lnTo>
                      <a:pt x="9210" y="37679"/>
                    </a:lnTo>
                    <a:lnTo>
                      <a:pt x="8672" y="34569"/>
                    </a:lnTo>
                    <a:lnTo>
                      <a:pt x="8433" y="33193"/>
                    </a:lnTo>
                    <a:lnTo>
                      <a:pt x="7894" y="30083"/>
                    </a:lnTo>
                    <a:lnTo>
                      <a:pt x="7356" y="26973"/>
                    </a:lnTo>
                    <a:lnTo>
                      <a:pt x="7117" y="25717"/>
                    </a:lnTo>
                    <a:lnTo>
                      <a:pt x="6579" y="22607"/>
                    </a:lnTo>
                    <a:lnTo>
                      <a:pt x="6459" y="21889"/>
                    </a:lnTo>
                    <a:lnTo>
                      <a:pt x="5921" y="18779"/>
                    </a:lnTo>
                    <a:lnTo>
                      <a:pt x="5382" y="15670"/>
                    </a:lnTo>
                    <a:lnTo>
                      <a:pt x="5203" y="14533"/>
                    </a:lnTo>
                    <a:lnTo>
                      <a:pt x="4665" y="11603"/>
                    </a:lnTo>
                    <a:lnTo>
                      <a:pt x="4127" y="8493"/>
                    </a:lnTo>
                    <a:lnTo>
                      <a:pt x="3588" y="5383"/>
                    </a:lnTo>
                    <a:lnTo>
                      <a:pt x="3409" y="4426"/>
                    </a:lnTo>
                    <a:lnTo>
                      <a:pt x="3229" y="3888"/>
                    </a:lnTo>
                    <a:lnTo>
                      <a:pt x="2990" y="3110"/>
                    </a:lnTo>
                    <a:lnTo>
                      <a:pt x="2811" y="1734"/>
                    </a:lnTo>
                    <a:lnTo>
                      <a:pt x="2691" y="778"/>
                    </a:lnTo>
                    <a:lnTo>
                      <a:pt x="2572" y="0"/>
                    </a:lnTo>
                  </a:path>
                </a:pathLst>
              </a:custGeom>
              <a:noFill/>
              <a:ln w="6350" cap="rnd">
                <a:solidFill>
                  <a:schemeClr val="bg1">
                    <a:alpha val="80000"/>
                  </a:schemeClr>
                </a:solidFill>
                <a:prstDash val="solid"/>
                <a:round/>
              </a:ln>
            </p:spPr>
            <p:txBody>
              <a:bodyPr rtlCol="0" anchor="ctr"/>
              <a:lstStyle/>
              <a:p>
                <a:endParaRPr lang="en-GB"/>
              </a:p>
            </p:txBody>
          </p:sp>
          <p:sp>
            <p:nvSpPr>
              <p:cNvPr id="5456" name="Vrije vorm: vorm 5455">
                <a:extLst>
                  <a:ext uri="{FF2B5EF4-FFF2-40B4-BE49-F238E27FC236}">
                    <a16:creationId xmlns:a16="http://schemas.microsoft.com/office/drawing/2014/main" id="{671D0B2D-3AD7-4ADA-88E7-A4B1B43CCB33}"/>
                  </a:ext>
                </a:extLst>
              </p:cNvPr>
              <p:cNvSpPr/>
              <p:nvPr/>
            </p:nvSpPr>
            <p:spPr>
              <a:xfrm>
                <a:off x="6460335" y="1722548"/>
                <a:ext cx="3648" cy="24162"/>
              </a:xfrm>
              <a:custGeom>
                <a:avLst/>
                <a:gdLst>
                  <a:gd name="connsiteX0" fmla="*/ 3349 w 3648"/>
                  <a:gd name="connsiteY0" fmla="*/ 1734 h 24162"/>
                  <a:gd name="connsiteX1" fmla="*/ 2093 w 3648"/>
                  <a:gd name="connsiteY1" fmla="*/ 1077 h 24162"/>
                  <a:gd name="connsiteX2" fmla="*/ 1794 w 3648"/>
                  <a:gd name="connsiteY2" fmla="*/ 957 h 24162"/>
                  <a:gd name="connsiteX3" fmla="*/ 598 w 3648"/>
                  <a:gd name="connsiteY3" fmla="*/ 299 h 24162"/>
                  <a:gd name="connsiteX4" fmla="*/ 0 w 3648"/>
                  <a:gd name="connsiteY4" fmla="*/ 0 h 24162"/>
                  <a:gd name="connsiteX5" fmla="*/ 60 w 3648"/>
                  <a:gd name="connsiteY5" fmla="*/ 598 h 24162"/>
                  <a:gd name="connsiteX6" fmla="*/ 299 w 3648"/>
                  <a:gd name="connsiteY6" fmla="*/ 2213 h 24162"/>
                  <a:gd name="connsiteX7" fmla="*/ 359 w 3648"/>
                  <a:gd name="connsiteY7" fmla="*/ 2811 h 24162"/>
                  <a:gd name="connsiteX8" fmla="*/ 837 w 3648"/>
                  <a:gd name="connsiteY8" fmla="*/ 5921 h 24162"/>
                  <a:gd name="connsiteX9" fmla="*/ 1316 w 3648"/>
                  <a:gd name="connsiteY9" fmla="*/ 9031 h 24162"/>
                  <a:gd name="connsiteX10" fmla="*/ 1794 w 3648"/>
                  <a:gd name="connsiteY10" fmla="*/ 12141 h 24162"/>
                  <a:gd name="connsiteX11" fmla="*/ 1974 w 3648"/>
                  <a:gd name="connsiteY11" fmla="*/ 13277 h 24162"/>
                  <a:gd name="connsiteX12" fmla="*/ 2333 w 3648"/>
                  <a:gd name="connsiteY12" fmla="*/ 15729 h 24162"/>
                  <a:gd name="connsiteX13" fmla="*/ 2751 w 3648"/>
                  <a:gd name="connsiteY13" fmla="*/ 18480 h 24162"/>
                  <a:gd name="connsiteX14" fmla="*/ 3230 w 3648"/>
                  <a:gd name="connsiteY14" fmla="*/ 21590 h 24162"/>
                  <a:gd name="connsiteX15" fmla="*/ 3289 w 3648"/>
                  <a:gd name="connsiteY15" fmla="*/ 21949 h 24162"/>
                  <a:gd name="connsiteX16" fmla="*/ 3349 w 3648"/>
                  <a:gd name="connsiteY16" fmla="*/ 22248 h 24162"/>
                  <a:gd name="connsiteX17" fmla="*/ 3648 w 3648"/>
                  <a:gd name="connsiteY17" fmla="*/ 24162 h 2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48" h="24162">
                    <a:moveTo>
                      <a:pt x="3349" y="1734"/>
                    </a:moveTo>
                    <a:lnTo>
                      <a:pt x="2093" y="1077"/>
                    </a:lnTo>
                    <a:lnTo>
                      <a:pt x="1794" y="957"/>
                    </a:lnTo>
                    <a:lnTo>
                      <a:pt x="598" y="299"/>
                    </a:lnTo>
                    <a:lnTo>
                      <a:pt x="0" y="0"/>
                    </a:lnTo>
                    <a:lnTo>
                      <a:pt x="60" y="598"/>
                    </a:lnTo>
                    <a:lnTo>
                      <a:pt x="299" y="2213"/>
                    </a:lnTo>
                    <a:lnTo>
                      <a:pt x="359" y="2811"/>
                    </a:lnTo>
                    <a:lnTo>
                      <a:pt x="837" y="5921"/>
                    </a:lnTo>
                    <a:lnTo>
                      <a:pt x="1316" y="9031"/>
                    </a:lnTo>
                    <a:lnTo>
                      <a:pt x="1794" y="12141"/>
                    </a:lnTo>
                    <a:lnTo>
                      <a:pt x="1974" y="13277"/>
                    </a:lnTo>
                    <a:lnTo>
                      <a:pt x="2333" y="15729"/>
                    </a:lnTo>
                    <a:lnTo>
                      <a:pt x="2751" y="18480"/>
                    </a:lnTo>
                    <a:lnTo>
                      <a:pt x="3230" y="21590"/>
                    </a:lnTo>
                    <a:lnTo>
                      <a:pt x="3289" y="21949"/>
                    </a:lnTo>
                    <a:lnTo>
                      <a:pt x="3349" y="22248"/>
                    </a:lnTo>
                    <a:lnTo>
                      <a:pt x="3648" y="24162"/>
                    </a:lnTo>
                  </a:path>
                </a:pathLst>
              </a:custGeom>
              <a:noFill/>
              <a:ln w="6350" cap="rnd">
                <a:solidFill>
                  <a:schemeClr val="bg1">
                    <a:alpha val="80000"/>
                  </a:schemeClr>
                </a:solidFill>
                <a:prstDash val="solid"/>
                <a:round/>
              </a:ln>
            </p:spPr>
            <p:txBody>
              <a:bodyPr rtlCol="0" anchor="ctr"/>
              <a:lstStyle/>
              <a:p>
                <a:endParaRPr lang="en-GB"/>
              </a:p>
            </p:txBody>
          </p:sp>
          <p:sp>
            <p:nvSpPr>
              <p:cNvPr id="5457" name="Vrije vorm: vorm 5456">
                <a:extLst>
                  <a:ext uri="{FF2B5EF4-FFF2-40B4-BE49-F238E27FC236}">
                    <a16:creationId xmlns:a16="http://schemas.microsoft.com/office/drawing/2014/main" id="{0E3AB60E-2D4C-491A-A9C3-CAA6F7E88851}"/>
                  </a:ext>
                </a:extLst>
              </p:cNvPr>
              <p:cNvSpPr/>
              <p:nvPr/>
            </p:nvSpPr>
            <p:spPr>
              <a:xfrm>
                <a:off x="6460455" y="1695276"/>
                <a:ext cx="37618" cy="27152"/>
              </a:xfrm>
              <a:custGeom>
                <a:avLst/>
                <a:gdLst>
                  <a:gd name="connsiteX0" fmla="*/ 37619 w 37618"/>
                  <a:gd name="connsiteY0" fmla="*/ 10945 h 27152"/>
                  <a:gd name="connsiteX1" fmla="*/ 37559 w 37618"/>
                  <a:gd name="connsiteY1" fmla="*/ 10048 h 27152"/>
                  <a:gd name="connsiteX2" fmla="*/ 37559 w 37618"/>
                  <a:gd name="connsiteY2" fmla="*/ 9928 h 27152"/>
                  <a:gd name="connsiteX3" fmla="*/ 37559 w 37618"/>
                  <a:gd name="connsiteY3" fmla="*/ 9808 h 27152"/>
                  <a:gd name="connsiteX4" fmla="*/ 35884 w 37618"/>
                  <a:gd name="connsiteY4" fmla="*/ 8851 h 27152"/>
                  <a:gd name="connsiteX5" fmla="*/ 35824 w 37618"/>
                  <a:gd name="connsiteY5" fmla="*/ 8792 h 27152"/>
                  <a:gd name="connsiteX6" fmla="*/ 35286 w 37618"/>
                  <a:gd name="connsiteY6" fmla="*/ 8493 h 27152"/>
                  <a:gd name="connsiteX7" fmla="*/ 35286 w 37618"/>
                  <a:gd name="connsiteY7" fmla="*/ 8433 h 27152"/>
                  <a:gd name="connsiteX8" fmla="*/ 34210 w 37618"/>
                  <a:gd name="connsiteY8" fmla="*/ 5562 h 27152"/>
                  <a:gd name="connsiteX9" fmla="*/ 34150 w 37618"/>
                  <a:gd name="connsiteY9" fmla="*/ 5383 h 27152"/>
                  <a:gd name="connsiteX10" fmla="*/ 34030 w 37618"/>
                  <a:gd name="connsiteY10" fmla="*/ 5024 h 27152"/>
                  <a:gd name="connsiteX11" fmla="*/ 34030 w 37618"/>
                  <a:gd name="connsiteY11" fmla="*/ 5024 h 27152"/>
                  <a:gd name="connsiteX12" fmla="*/ 33671 w 37618"/>
                  <a:gd name="connsiteY12" fmla="*/ 4067 h 27152"/>
                  <a:gd name="connsiteX13" fmla="*/ 31578 w 37618"/>
                  <a:gd name="connsiteY13" fmla="*/ 1914 h 27152"/>
                  <a:gd name="connsiteX14" fmla="*/ 30860 w 37618"/>
                  <a:gd name="connsiteY14" fmla="*/ 1136 h 27152"/>
                  <a:gd name="connsiteX15" fmla="*/ 29246 w 37618"/>
                  <a:gd name="connsiteY15" fmla="*/ 658 h 27152"/>
                  <a:gd name="connsiteX16" fmla="*/ 27092 w 37618"/>
                  <a:gd name="connsiteY16" fmla="*/ 0 h 27152"/>
                  <a:gd name="connsiteX17" fmla="*/ 26495 w 37618"/>
                  <a:gd name="connsiteY17" fmla="*/ 60 h 27152"/>
                  <a:gd name="connsiteX18" fmla="*/ 24222 w 37618"/>
                  <a:gd name="connsiteY18" fmla="*/ 359 h 27152"/>
                  <a:gd name="connsiteX19" fmla="*/ 22667 w 37618"/>
                  <a:gd name="connsiteY19" fmla="*/ 538 h 27152"/>
                  <a:gd name="connsiteX20" fmla="*/ 22368 w 37618"/>
                  <a:gd name="connsiteY20" fmla="*/ 658 h 27152"/>
                  <a:gd name="connsiteX21" fmla="*/ 21829 w 37618"/>
                  <a:gd name="connsiteY21" fmla="*/ 897 h 27152"/>
                  <a:gd name="connsiteX22" fmla="*/ 21590 w 37618"/>
                  <a:gd name="connsiteY22" fmla="*/ 1017 h 27152"/>
                  <a:gd name="connsiteX23" fmla="*/ 18720 w 37618"/>
                  <a:gd name="connsiteY23" fmla="*/ 2392 h 27152"/>
                  <a:gd name="connsiteX24" fmla="*/ 17882 w 37618"/>
                  <a:gd name="connsiteY24" fmla="*/ 2811 h 27152"/>
                  <a:gd name="connsiteX25" fmla="*/ 15311 w 37618"/>
                  <a:gd name="connsiteY25" fmla="*/ 4785 h 27152"/>
                  <a:gd name="connsiteX26" fmla="*/ 14055 w 37618"/>
                  <a:gd name="connsiteY26" fmla="*/ 5742 h 27152"/>
                  <a:gd name="connsiteX27" fmla="*/ 13038 w 37618"/>
                  <a:gd name="connsiteY27" fmla="*/ 6519 h 27152"/>
                  <a:gd name="connsiteX28" fmla="*/ 12500 w 37618"/>
                  <a:gd name="connsiteY28" fmla="*/ 7117 h 27152"/>
                  <a:gd name="connsiteX29" fmla="*/ 12320 w 37618"/>
                  <a:gd name="connsiteY29" fmla="*/ 7296 h 27152"/>
                  <a:gd name="connsiteX30" fmla="*/ 11902 w 37618"/>
                  <a:gd name="connsiteY30" fmla="*/ 7775 h 27152"/>
                  <a:gd name="connsiteX31" fmla="*/ 9689 w 37618"/>
                  <a:gd name="connsiteY31" fmla="*/ 10167 h 27152"/>
                  <a:gd name="connsiteX32" fmla="*/ 8493 w 37618"/>
                  <a:gd name="connsiteY32" fmla="*/ 11483 h 27152"/>
                  <a:gd name="connsiteX33" fmla="*/ 8313 w 37618"/>
                  <a:gd name="connsiteY33" fmla="*/ 11722 h 27152"/>
                  <a:gd name="connsiteX34" fmla="*/ 6459 w 37618"/>
                  <a:gd name="connsiteY34" fmla="*/ 14414 h 27152"/>
                  <a:gd name="connsiteX35" fmla="*/ 4605 w 37618"/>
                  <a:gd name="connsiteY35" fmla="*/ 17105 h 27152"/>
                  <a:gd name="connsiteX36" fmla="*/ 4426 w 37618"/>
                  <a:gd name="connsiteY36" fmla="*/ 17344 h 27152"/>
                  <a:gd name="connsiteX37" fmla="*/ 2930 w 37618"/>
                  <a:gd name="connsiteY37" fmla="*/ 20275 h 27152"/>
                  <a:gd name="connsiteX38" fmla="*/ 1435 w 37618"/>
                  <a:gd name="connsiteY38" fmla="*/ 23205 h 27152"/>
                  <a:gd name="connsiteX39" fmla="*/ 1136 w 37618"/>
                  <a:gd name="connsiteY39" fmla="*/ 23863 h 27152"/>
                  <a:gd name="connsiteX40" fmla="*/ 60 w 37618"/>
                  <a:gd name="connsiteY40" fmla="*/ 26913 h 27152"/>
                  <a:gd name="connsiteX41" fmla="*/ 0 w 37618"/>
                  <a:gd name="connsiteY41" fmla="*/ 27153 h 2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7618" h="27152">
                    <a:moveTo>
                      <a:pt x="37619" y="10945"/>
                    </a:moveTo>
                    <a:lnTo>
                      <a:pt x="37559" y="10048"/>
                    </a:lnTo>
                    <a:lnTo>
                      <a:pt x="37559" y="9928"/>
                    </a:lnTo>
                    <a:lnTo>
                      <a:pt x="37559" y="9808"/>
                    </a:lnTo>
                    <a:lnTo>
                      <a:pt x="35884" y="8851"/>
                    </a:lnTo>
                    <a:lnTo>
                      <a:pt x="35824" y="8792"/>
                    </a:lnTo>
                    <a:lnTo>
                      <a:pt x="35286" y="8493"/>
                    </a:lnTo>
                    <a:lnTo>
                      <a:pt x="35286" y="8433"/>
                    </a:lnTo>
                    <a:lnTo>
                      <a:pt x="34210" y="5562"/>
                    </a:lnTo>
                    <a:lnTo>
                      <a:pt x="34150" y="5383"/>
                    </a:lnTo>
                    <a:lnTo>
                      <a:pt x="34030" y="5024"/>
                    </a:lnTo>
                    <a:lnTo>
                      <a:pt x="34030" y="5024"/>
                    </a:lnTo>
                    <a:lnTo>
                      <a:pt x="33671" y="4067"/>
                    </a:lnTo>
                    <a:lnTo>
                      <a:pt x="31578" y="1914"/>
                    </a:lnTo>
                    <a:lnTo>
                      <a:pt x="30860" y="1136"/>
                    </a:lnTo>
                    <a:lnTo>
                      <a:pt x="29246" y="658"/>
                    </a:lnTo>
                    <a:lnTo>
                      <a:pt x="27092" y="0"/>
                    </a:lnTo>
                    <a:lnTo>
                      <a:pt x="26495" y="60"/>
                    </a:lnTo>
                    <a:lnTo>
                      <a:pt x="24222" y="359"/>
                    </a:lnTo>
                    <a:lnTo>
                      <a:pt x="22667" y="538"/>
                    </a:lnTo>
                    <a:lnTo>
                      <a:pt x="22368" y="658"/>
                    </a:lnTo>
                    <a:lnTo>
                      <a:pt x="21829" y="897"/>
                    </a:lnTo>
                    <a:lnTo>
                      <a:pt x="21590" y="1017"/>
                    </a:lnTo>
                    <a:lnTo>
                      <a:pt x="18720" y="2392"/>
                    </a:lnTo>
                    <a:lnTo>
                      <a:pt x="17882" y="2811"/>
                    </a:lnTo>
                    <a:lnTo>
                      <a:pt x="15311" y="4785"/>
                    </a:lnTo>
                    <a:lnTo>
                      <a:pt x="14055" y="5742"/>
                    </a:lnTo>
                    <a:lnTo>
                      <a:pt x="13038" y="6519"/>
                    </a:lnTo>
                    <a:lnTo>
                      <a:pt x="12500" y="7117"/>
                    </a:lnTo>
                    <a:lnTo>
                      <a:pt x="12320" y="7296"/>
                    </a:lnTo>
                    <a:lnTo>
                      <a:pt x="11902" y="7775"/>
                    </a:lnTo>
                    <a:lnTo>
                      <a:pt x="9689" y="10167"/>
                    </a:lnTo>
                    <a:lnTo>
                      <a:pt x="8493" y="11483"/>
                    </a:lnTo>
                    <a:lnTo>
                      <a:pt x="8313" y="11722"/>
                    </a:lnTo>
                    <a:lnTo>
                      <a:pt x="6459" y="14414"/>
                    </a:lnTo>
                    <a:lnTo>
                      <a:pt x="4605" y="17105"/>
                    </a:lnTo>
                    <a:lnTo>
                      <a:pt x="4426" y="17344"/>
                    </a:lnTo>
                    <a:lnTo>
                      <a:pt x="2930" y="20275"/>
                    </a:lnTo>
                    <a:lnTo>
                      <a:pt x="1435" y="23205"/>
                    </a:lnTo>
                    <a:lnTo>
                      <a:pt x="1136" y="23863"/>
                    </a:lnTo>
                    <a:lnTo>
                      <a:pt x="60" y="26913"/>
                    </a:lnTo>
                    <a:lnTo>
                      <a:pt x="0" y="27153"/>
                    </a:lnTo>
                  </a:path>
                </a:pathLst>
              </a:custGeom>
              <a:noFill/>
              <a:ln w="6350" cap="rnd">
                <a:solidFill>
                  <a:schemeClr val="bg1">
                    <a:alpha val="80000"/>
                  </a:schemeClr>
                </a:solidFill>
                <a:prstDash val="solid"/>
                <a:round/>
              </a:ln>
            </p:spPr>
            <p:txBody>
              <a:bodyPr rtlCol="0" anchor="ctr"/>
              <a:lstStyle/>
              <a:p>
                <a:endParaRPr lang="en-GB"/>
              </a:p>
            </p:txBody>
          </p:sp>
          <p:sp>
            <p:nvSpPr>
              <p:cNvPr id="5458" name="Vrije vorm: vorm 5457">
                <a:extLst>
                  <a:ext uri="{FF2B5EF4-FFF2-40B4-BE49-F238E27FC236}">
                    <a16:creationId xmlns:a16="http://schemas.microsoft.com/office/drawing/2014/main" id="{FB6B46FF-7EE9-475B-AFA7-CF42586A28FF}"/>
                  </a:ext>
                </a:extLst>
              </p:cNvPr>
              <p:cNvSpPr/>
              <p:nvPr/>
            </p:nvSpPr>
            <p:spPr>
              <a:xfrm>
                <a:off x="6495622" y="1698027"/>
                <a:ext cx="8612" cy="5681"/>
              </a:xfrm>
              <a:custGeom>
                <a:avLst/>
                <a:gdLst>
                  <a:gd name="connsiteX0" fmla="*/ 8612 w 8612"/>
                  <a:gd name="connsiteY0" fmla="*/ 1376 h 5681"/>
                  <a:gd name="connsiteX1" fmla="*/ 6280 w 8612"/>
                  <a:gd name="connsiteY1" fmla="*/ 0 h 5681"/>
                  <a:gd name="connsiteX2" fmla="*/ 3887 w 8612"/>
                  <a:gd name="connsiteY2" fmla="*/ 2153 h 5681"/>
                  <a:gd name="connsiteX3" fmla="*/ 3170 w 8612"/>
                  <a:gd name="connsiteY3" fmla="*/ 2811 h 5681"/>
                  <a:gd name="connsiteX4" fmla="*/ 1734 w 8612"/>
                  <a:gd name="connsiteY4" fmla="*/ 4127 h 5681"/>
                  <a:gd name="connsiteX5" fmla="*/ 598 w 8612"/>
                  <a:gd name="connsiteY5" fmla="*/ 5143 h 5681"/>
                  <a:gd name="connsiteX6" fmla="*/ 0 w 8612"/>
                  <a:gd name="connsiteY6" fmla="*/ 5682 h 5681"/>
                  <a:gd name="connsiteX7" fmla="*/ 0 w 8612"/>
                  <a:gd name="connsiteY7" fmla="*/ 5682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2" h="5681">
                    <a:moveTo>
                      <a:pt x="8612" y="1376"/>
                    </a:moveTo>
                    <a:lnTo>
                      <a:pt x="6280" y="0"/>
                    </a:lnTo>
                    <a:lnTo>
                      <a:pt x="3887" y="2153"/>
                    </a:lnTo>
                    <a:lnTo>
                      <a:pt x="3170" y="2811"/>
                    </a:lnTo>
                    <a:lnTo>
                      <a:pt x="1734" y="4127"/>
                    </a:lnTo>
                    <a:lnTo>
                      <a:pt x="598" y="5143"/>
                    </a:lnTo>
                    <a:lnTo>
                      <a:pt x="0" y="5682"/>
                    </a:lnTo>
                    <a:lnTo>
                      <a:pt x="0" y="5682"/>
                    </a:lnTo>
                  </a:path>
                </a:pathLst>
              </a:custGeom>
              <a:noFill/>
              <a:ln w="6350" cap="rnd">
                <a:solidFill>
                  <a:schemeClr val="bg1">
                    <a:alpha val="80000"/>
                  </a:schemeClr>
                </a:solidFill>
                <a:prstDash val="solid"/>
                <a:round/>
              </a:ln>
            </p:spPr>
            <p:txBody>
              <a:bodyPr rtlCol="0" anchor="ctr"/>
              <a:lstStyle/>
              <a:p>
                <a:endParaRPr lang="en-GB"/>
              </a:p>
            </p:txBody>
          </p:sp>
          <p:sp>
            <p:nvSpPr>
              <p:cNvPr id="5459" name="Vrije vorm: vorm 5458">
                <a:extLst>
                  <a:ext uri="{FF2B5EF4-FFF2-40B4-BE49-F238E27FC236}">
                    <a16:creationId xmlns:a16="http://schemas.microsoft.com/office/drawing/2014/main" id="{E5482EA3-F7D3-49A5-BEB3-285B83C3D43F}"/>
                  </a:ext>
                </a:extLst>
              </p:cNvPr>
              <p:cNvSpPr/>
              <p:nvPr/>
            </p:nvSpPr>
            <p:spPr>
              <a:xfrm>
                <a:off x="6463864" y="1741626"/>
                <a:ext cx="18779" cy="5801"/>
              </a:xfrm>
              <a:custGeom>
                <a:avLst/>
                <a:gdLst>
                  <a:gd name="connsiteX0" fmla="*/ 0 w 18779"/>
                  <a:gd name="connsiteY0" fmla="*/ 4964 h 5801"/>
                  <a:gd name="connsiteX1" fmla="*/ 1794 w 18779"/>
                  <a:gd name="connsiteY1" fmla="*/ 5801 h 5801"/>
                  <a:gd name="connsiteX2" fmla="*/ 3887 w 18779"/>
                  <a:gd name="connsiteY2" fmla="*/ 5742 h 5801"/>
                  <a:gd name="connsiteX3" fmla="*/ 5981 w 18779"/>
                  <a:gd name="connsiteY3" fmla="*/ 5682 h 5801"/>
                  <a:gd name="connsiteX4" fmla="*/ 6220 w 18779"/>
                  <a:gd name="connsiteY4" fmla="*/ 5682 h 5801"/>
                  <a:gd name="connsiteX5" fmla="*/ 6698 w 18779"/>
                  <a:gd name="connsiteY5" fmla="*/ 5502 h 5801"/>
                  <a:gd name="connsiteX6" fmla="*/ 7536 w 18779"/>
                  <a:gd name="connsiteY6" fmla="*/ 5143 h 5801"/>
                  <a:gd name="connsiteX7" fmla="*/ 10466 w 18779"/>
                  <a:gd name="connsiteY7" fmla="*/ 3947 h 5801"/>
                  <a:gd name="connsiteX8" fmla="*/ 10526 w 18779"/>
                  <a:gd name="connsiteY8" fmla="*/ 3947 h 5801"/>
                  <a:gd name="connsiteX9" fmla="*/ 10645 w 18779"/>
                  <a:gd name="connsiteY9" fmla="*/ 3888 h 5801"/>
                  <a:gd name="connsiteX10" fmla="*/ 11124 w 18779"/>
                  <a:gd name="connsiteY10" fmla="*/ 3708 h 5801"/>
                  <a:gd name="connsiteX11" fmla="*/ 12918 w 18779"/>
                  <a:gd name="connsiteY11" fmla="*/ 2392 h 5801"/>
                  <a:gd name="connsiteX12" fmla="*/ 12978 w 18779"/>
                  <a:gd name="connsiteY12" fmla="*/ 2332 h 5801"/>
                  <a:gd name="connsiteX13" fmla="*/ 13756 w 18779"/>
                  <a:gd name="connsiteY13" fmla="*/ 1734 h 5801"/>
                  <a:gd name="connsiteX14" fmla="*/ 14712 w 18779"/>
                  <a:gd name="connsiteY14" fmla="*/ 1077 h 5801"/>
                  <a:gd name="connsiteX15" fmla="*/ 15311 w 18779"/>
                  <a:gd name="connsiteY15" fmla="*/ 658 h 5801"/>
                  <a:gd name="connsiteX16" fmla="*/ 16208 w 18779"/>
                  <a:gd name="connsiteY16" fmla="*/ 0 h 5801"/>
                  <a:gd name="connsiteX17" fmla="*/ 17165 w 18779"/>
                  <a:gd name="connsiteY17" fmla="*/ 478 h 5801"/>
                  <a:gd name="connsiteX18" fmla="*/ 17225 w 18779"/>
                  <a:gd name="connsiteY18" fmla="*/ 538 h 5801"/>
                  <a:gd name="connsiteX19" fmla="*/ 18600 w 18779"/>
                  <a:gd name="connsiteY19" fmla="*/ 1256 h 5801"/>
                  <a:gd name="connsiteX20" fmla="*/ 18779 w 18779"/>
                  <a:gd name="connsiteY20" fmla="*/ 1077 h 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779" h="5801">
                    <a:moveTo>
                      <a:pt x="0" y="4964"/>
                    </a:moveTo>
                    <a:lnTo>
                      <a:pt x="1794" y="5801"/>
                    </a:lnTo>
                    <a:lnTo>
                      <a:pt x="3887" y="5742"/>
                    </a:lnTo>
                    <a:lnTo>
                      <a:pt x="5981" y="5682"/>
                    </a:lnTo>
                    <a:lnTo>
                      <a:pt x="6220" y="5682"/>
                    </a:lnTo>
                    <a:lnTo>
                      <a:pt x="6698" y="5502"/>
                    </a:lnTo>
                    <a:lnTo>
                      <a:pt x="7536" y="5143"/>
                    </a:lnTo>
                    <a:lnTo>
                      <a:pt x="10466" y="3947"/>
                    </a:lnTo>
                    <a:lnTo>
                      <a:pt x="10526" y="3947"/>
                    </a:lnTo>
                    <a:lnTo>
                      <a:pt x="10645" y="3888"/>
                    </a:lnTo>
                    <a:lnTo>
                      <a:pt x="11124" y="3708"/>
                    </a:lnTo>
                    <a:lnTo>
                      <a:pt x="12918" y="2392"/>
                    </a:lnTo>
                    <a:lnTo>
                      <a:pt x="12978" y="2332"/>
                    </a:lnTo>
                    <a:lnTo>
                      <a:pt x="13756" y="1734"/>
                    </a:lnTo>
                    <a:lnTo>
                      <a:pt x="14712" y="1077"/>
                    </a:lnTo>
                    <a:lnTo>
                      <a:pt x="15311" y="658"/>
                    </a:lnTo>
                    <a:lnTo>
                      <a:pt x="16208" y="0"/>
                    </a:lnTo>
                    <a:lnTo>
                      <a:pt x="17165" y="478"/>
                    </a:lnTo>
                    <a:lnTo>
                      <a:pt x="17225" y="538"/>
                    </a:lnTo>
                    <a:lnTo>
                      <a:pt x="18600" y="1256"/>
                    </a:lnTo>
                    <a:lnTo>
                      <a:pt x="18779" y="1077"/>
                    </a:lnTo>
                  </a:path>
                </a:pathLst>
              </a:custGeom>
              <a:noFill/>
              <a:ln w="6350" cap="rnd">
                <a:solidFill>
                  <a:schemeClr val="bg1">
                    <a:alpha val="80000"/>
                  </a:schemeClr>
                </a:solidFill>
                <a:prstDash val="solid"/>
                <a:round/>
              </a:ln>
            </p:spPr>
            <p:txBody>
              <a:bodyPr rtlCol="0" anchor="ctr"/>
              <a:lstStyle/>
              <a:p>
                <a:endParaRPr lang="en-GB"/>
              </a:p>
            </p:txBody>
          </p:sp>
          <p:sp>
            <p:nvSpPr>
              <p:cNvPr id="5460" name="Vrije vorm: vorm 5459">
                <a:extLst>
                  <a:ext uri="{FF2B5EF4-FFF2-40B4-BE49-F238E27FC236}">
                    <a16:creationId xmlns:a16="http://schemas.microsoft.com/office/drawing/2014/main" id="{5BE6780E-D479-462F-81F3-8BDCF903523A}"/>
                  </a:ext>
                </a:extLst>
              </p:cNvPr>
              <p:cNvSpPr/>
              <p:nvPr/>
            </p:nvSpPr>
            <p:spPr>
              <a:xfrm>
                <a:off x="6435516" y="1590673"/>
                <a:ext cx="8911" cy="9748"/>
              </a:xfrm>
              <a:custGeom>
                <a:avLst/>
                <a:gdLst>
                  <a:gd name="connsiteX0" fmla="*/ 0 w 8911"/>
                  <a:gd name="connsiteY0" fmla="*/ 0 h 9748"/>
                  <a:gd name="connsiteX1" fmla="*/ 2990 w 8911"/>
                  <a:gd name="connsiteY1" fmla="*/ 239 h 9748"/>
                  <a:gd name="connsiteX2" fmla="*/ 3349 w 8911"/>
                  <a:gd name="connsiteY2" fmla="*/ 239 h 9748"/>
                  <a:gd name="connsiteX3" fmla="*/ 6220 w 8911"/>
                  <a:gd name="connsiteY3" fmla="*/ 1076 h 9748"/>
                  <a:gd name="connsiteX4" fmla="*/ 8791 w 8911"/>
                  <a:gd name="connsiteY4" fmla="*/ 1794 h 9748"/>
                  <a:gd name="connsiteX5" fmla="*/ 8732 w 8911"/>
                  <a:gd name="connsiteY5" fmla="*/ 4964 h 9748"/>
                  <a:gd name="connsiteX6" fmla="*/ 8732 w 8911"/>
                  <a:gd name="connsiteY6" fmla="*/ 5861 h 9748"/>
                  <a:gd name="connsiteX7" fmla="*/ 8672 w 8911"/>
                  <a:gd name="connsiteY7" fmla="*/ 8074 h 9748"/>
                  <a:gd name="connsiteX8" fmla="*/ 8911 w 8911"/>
                  <a:gd name="connsiteY8" fmla="*/ 9749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11" h="9748">
                    <a:moveTo>
                      <a:pt x="0" y="0"/>
                    </a:moveTo>
                    <a:lnTo>
                      <a:pt x="2990" y="239"/>
                    </a:lnTo>
                    <a:lnTo>
                      <a:pt x="3349" y="239"/>
                    </a:lnTo>
                    <a:lnTo>
                      <a:pt x="6220" y="1076"/>
                    </a:lnTo>
                    <a:lnTo>
                      <a:pt x="8791" y="1794"/>
                    </a:lnTo>
                    <a:lnTo>
                      <a:pt x="8732" y="4964"/>
                    </a:lnTo>
                    <a:lnTo>
                      <a:pt x="8732" y="5861"/>
                    </a:lnTo>
                    <a:lnTo>
                      <a:pt x="8672" y="8074"/>
                    </a:lnTo>
                    <a:lnTo>
                      <a:pt x="8911" y="9749"/>
                    </a:lnTo>
                  </a:path>
                </a:pathLst>
              </a:custGeom>
              <a:noFill/>
              <a:ln w="6350" cap="rnd">
                <a:solidFill>
                  <a:schemeClr val="bg1">
                    <a:alpha val="80000"/>
                  </a:schemeClr>
                </a:solidFill>
                <a:prstDash val="solid"/>
                <a:round/>
              </a:ln>
            </p:spPr>
            <p:txBody>
              <a:bodyPr rtlCol="0" anchor="ctr"/>
              <a:lstStyle/>
              <a:p>
                <a:endParaRPr lang="en-GB"/>
              </a:p>
            </p:txBody>
          </p:sp>
          <p:sp>
            <p:nvSpPr>
              <p:cNvPr id="5461" name="Vrije vorm: vorm 5460">
                <a:extLst>
                  <a:ext uri="{FF2B5EF4-FFF2-40B4-BE49-F238E27FC236}">
                    <a16:creationId xmlns:a16="http://schemas.microsoft.com/office/drawing/2014/main" id="{70300152-5346-4893-9C4A-FA72785746EC}"/>
                  </a:ext>
                </a:extLst>
              </p:cNvPr>
              <p:cNvSpPr/>
              <p:nvPr/>
            </p:nvSpPr>
            <p:spPr>
              <a:xfrm>
                <a:off x="6494187" y="1589537"/>
                <a:ext cx="38037" cy="85404"/>
              </a:xfrm>
              <a:custGeom>
                <a:avLst/>
                <a:gdLst>
                  <a:gd name="connsiteX0" fmla="*/ 0 w 38037"/>
                  <a:gd name="connsiteY0" fmla="*/ 0 h 85404"/>
                  <a:gd name="connsiteX1" fmla="*/ 1794 w 38037"/>
                  <a:gd name="connsiteY1" fmla="*/ 1316 h 85404"/>
                  <a:gd name="connsiteX2" fmla="*/ 1973 w 38037"/>
                  <a:gd name="connsiteY2" fmla="*/ 1435 h 85404"/>
                  <a:gd name="connsiteX3" fmla="*/ 2033 w 38037"/>
                  <a:gd name="connsiteY3" fmla="*/ 1495 h 85404"/>
                  <a:gd name="connsiteX4" fmla="*/ 2213 w 38037"/>
                  <a:gd name="connsiteY4" fmla="*/ 1615 h 85404"/>
                  <a:gd name="connsiteX5" fmla="*/ 4605 w 38037"/>
                  <a:gd name="connsiteY5" fmla="*/ 3349 h 85404"/>
                  <a:gd name="connsiteX6" fmla="*/ 4904 w 38037"/>
                  <a:gd name="connsiteY6" fmla="*/ 3588 h 85404"/>
                  <a:gd name="connsiteX7" fmla="*/ 5083 w 38037"/>
                  <a:gd name="connsiteY7" fmla="*/ 3708 h 85404"/>
                  <a:gd name="connsiteX8" fmla="*/ 5263 w 38037"/>
                  <a:gd name="connsiteY8" fmla="*/ 3887 h 85404"/>
                  <a:gd name="connsiteX9" fmla="*/ 5442 w 38037"/>
                  <a:gd name="connsiteY9" fmla="*/ 4067 h 85404"/>
                  <a:gd name="connsiteX10" fmla="*/ 5562 w 38037"/>
                  <a:gd name="connsiteY10" fmla="*/ 4246 h 85404"/>
                  <a:gd name="connsiteX11" fmla="*/ 5681 w 38037"/>
                  <a:gd name="connsiteY11" fmla="*/ 4426 h 85404"/>
                  <a:gd name="connsiteX12" fmla="*/ 5801 w 38037"/>
                  <a:gd name="connsiteY12" fmla="*/ 4665 h 85404"/>
                  <a:gd name="connsiteX13" fmla="*/ 5921 w 38037"/>
                  <a:gd name="connsiteY13" fmla="*/ 4904 h 85404"/>
                  <a:gd name="connsiteX14" fmla="*/ 6040 w 38037"/>
                  <a:gd name="connsiteY14" fmla="*/ 5143 h 85404"/>
                  <a:gd name="connsiteX15" fmla="*/ 6100 w 38037"/>
                  <a:gd name="connsiteY15" fmla="*/ 5383 h 85404"/>
                  <a:gd name="connsiteX16" fmla="*/ 6160 w 38037"/>
                  <a:gd name="connsiteY16" fmla="*/ 5622 h 85404"/>
                  <a:gd name="connsiteX17" fmla="*/ 6937 w 38037"/>
                  <a:gd name="connsiteY17" fmla="*/ 8612 h 85404"/>
                  <a:gd name="connsiteX18" fmla="*/ 7715 w 38037"/>
                  <a:gd name="connsiteY18" fmla="*/ 11603 h 85404"/>
                  <a:gd name="connsiteX19" fmla="*/ 8373 w 38037"/>
                  <a:gd name="connsiteY19" fmla="*/ 14234 h 85404"/>
                  <a:gd name="connsiteX20" fmla="*/ 8373 w 38037"/>
                  <a:gd name="connsiteY20" fmla="*/ 14234 h 85404"/>
                  <a:gd name="connsiteX21" fmla="*/ 8433 w 38037"/>
                  <a:gd name="connsiteY21" fmla="*/ 14413 h 85404"/>
                  <a:gd name="connsiteX22" fmla="*/ 8552 w 38037"/>
                  <a:gd name="connsiteY22" fmla="*/ 14892 h 85404"/>
                  <a:gd name="connsiteX23" fmla="*/ 8612 w 38037"/>
                  <a:gd name="connsiteY23" fmla="*/ 15012 h 85404"/>
                  <a:gd name="connsiteX24" fmla="*/ 8612 w 38037"/>
                  <a:gd name="connsiteY24" fmla="*/ 15012 h 85404"/>
                  <a:gd name="connsiteX25" fmla="*/ 8971 w 38037"/>
                  <a:gd name="connsiteY25" fmla="*/ 16387 h 85404"/>
                  <a:gd name="connsiteX26" fmla="*/ 9330 w 38037"/>
                  <a:gd name="connsiteY26" fmla="*/ 17823 h 85404"/>
                  <a:gd name="connsiteX27" fmla="*/ 9629 w 38037"/>
                  <a:gd name="connsiteY27" fmla="*/ 19079 h 85404"/>
                  <a:gd name="connsiteX28" fmla="*/ 9928 w 38037"/>
                  <a:gd name="connsiteY28" fmla="*/ 20215 h 85404"/>
                  <a:gd name="connsiteX29" fmla="*/ 10167 w 38037"/>
                  <a:gd name="connsiteY29" fmla="*/ 21052 h 85404"/>
                  <a:gd name="connsiteX30" fmla="*/ 10526 w 38037"/>
                  <a:gd name="connsiteY30" fmla="*/ 22607 h 85404"/>
                  <a:gd name="connsiteX31" fmla="*/ 10645 w 38037"/>
                  <a:gd name="connsiteY31" fmla="*/ 23145 h 85404"/>
                  <a:gd name="connsiteX32" fmla="*/ 10825 w 38037"/>
                  <a:gd name="connsiteY32" fmla="*/ 23863 h 85404"/>
                  <a:gd name="connsiteX33" fmla="*/ 11603 w 38037"/>
                  <a:gd name="connsiteY33" fmla="*/ 26853 h 85404"/>
                  <a:gd name="connsiteX34" fmla="*/ 12380 w 38037"/>
                  <a:gd name="connsiteY34" fmla="*/ 29844 h 85404"/>
                  <a:gd name="connsiteX35" fmla="*/ 13157 w 38037"/>
                  <a:gd name="connsiteY35" fmla="*/ 32834 h 85404"/>
                  <a:gd name="connsiteX36" fmla="*/ 13875 w 38037"/>
                  <a:gd name="connsiteY36" fmla="*/ 35705 h 85404"/>
                  <a:gd name="connsiteX37" fmla="*/ 14473 w 38037"/>
                  <a:gd name="connsiteY37" fmla="*/ 38157 h 85404"/>
                  <a:gd name="connsiteX38" fmla="*/ 15071 w 38037"/>
                  <a:gd name="connsiteY38" fmla="*/ 40489 h 85404"/>
                  <a:gd name="connsiteX39" fmla="*/ 15311 w 38037"/>
                  <a:gd name="connsiteY39" fmla="*/ 40968 h 85404"/>
                  <a:gd name="connsiteX40" fmla="*/ 15729 w 38037"/>
                  <a:gd name="connsiteY40" fmla="*/ 41805 h 85404"/>
                  <a:gd name="connsiteX41" fmla="*/ 16148 w 38037"/>
                  <a:gd name="connsiteY41" fmla="*/ 42642 h 85404"/>
                  <a:gd name="connsiteX42" fmla="*/ 16148 w 38037"/>
                  <a:gd name="connsiteY42" fmla="*/ 42642 h 85404"/>
                  <a:gd name="connsiteX43" fmla="*/ 17523 w 38037"/>
                  <a:gd name="connsiteY43" fmla="*/ 45334 h 85404"/>
                  <a:gd name="connsiteX44" fmla="*/ 18121 w 38037"/>
                  <a:gd name="connsiteY44" fmla="*/ 46470 h 85404"/>
                  <a:gd name="connsiteX45" fmla="*/ 19497 w 38037"/>
                  <a:gd name="connsiteY45" fmla="*/ 49162 h 85404"/>
                  <a:gd name="connsiteX46" fmla="*/ 20873 w 38037"/>
                  <a:gd name="connsiteY46" fmla="*/ 51853 h 85404"/>
                  <a:gd name="connsiteX47" fmla="*/ 22248 w 38037"/>
                  <a:gd name="connsiteY47" fmla="*/ 54544 h 85404"/>
                  <a:gd name="connsiteX48" fmla="*/ 23624 w 38037"/>
                  <a:gd name="connsiteY48" fmla="*/ 57235 h 85404"/>
                  <a:gd name="connsiteX49" fmla="*/ 24999 w 38037"/>
                  <a:gd name="connsiteY49" fmla="*/ 59927 h 85404"/>
                  <a:gd name="connsiteX50" fmla="*/ 26375 w 38037"/>
                  <a:gd name="connsiteY50" fmla="*/ 62618 h 85404"/>
                  <a:gd name="connsiteX51" fmla="*/ 27750 w 38037"/>
                  <a:gd name="connsiteY51" fmla="*/ 65309 h 85404"/>
                  <a:gd name="connsiteX52" fmla="*/ 29126 w 38037"/>
                  <a:gd name="connsiteY52" fmla="*/ 68001 h 85404"/>
                  <a:gd name="connsiteX53" fmla="*/ 30502 w 38037"/>
                  <a:gd name="connsiteY53" fmla="*/ 70692 h 85404"/>
                  <a:gd name="connsiteX54" fmla="*/ 31877 w 38037"/>
                  <a:gd name="connsiteY54" fmla="*/ 73383 h 85404"/>
                  <a:gd name="connsiteX55" fmla="*/ 33253 w 38037"/>
                  <a:gd name="connsiteY55" fmla="*/ 76075 h 85404"/>
                  <a:gd name="connsiteX56" fmla="*/ 34628 w 38037"/>
                  <a:gd name="connsiteY56" fmla="*/ 78766 h 85404"/>
                  <a:gd name="connsiteX57" fmla="*/ 36004 w 38037"/>
                  <a:gd name="connsiteY57" fmla="*/ 81457 h 85404"/>
                  <a:gd name="connsiteX58" fmla="*/ 37380 w 38037"/>
                  <a:gd name="connsiteY58" fmla="*/ 84149 h 85404"/>
                  <a:gd name="connsiteX59" fmla="*/ 38037 w 38037"/>
                  <a:gd name="connsiteY59" fmla="*/ 85405 h 8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037" h="85404">
                    <a:moveTo>
                      <a:pt x="0" y="0"/>
                    </a:moveTo>
                    <a:lnTo>
                      <a:pt x="1794" y="1316"/>
                    </a:lnTo>
                    <a:lnTo>
                      <a:pt x="1973" y="1435"/>
                    </a:lnTo>
                    <a:lnTo>
                      <a:pt x="2033" y="1495"/>
                    </a:lnTo>
                    <a:lnTo>
                      <a:pt x="2213" y="1615"/>
                    </a:lnTo>
                    <a:lnTo>
                      <a:pt x="4605" y="3349"/>
                    </a:lnTo>
                    <a:lnTo>
                      <a:pt x="4904" y="3588"/>
                    </a:lnTo>
                    <a:lnTo>
                      <a:pt x="5083" y="3708"/>
                    </a:lnTo>
                    <a:lnTo>
                      <a:pt x="5263" y="3887"/>
                    </a:lnTo>
                    <a:lnTo>
                      <a:pt x="5442" y="4067"/>
                    </a:lnTo>
                    <a:lnTo>
                      <a:pt x="5562" y="4246"/>
                    </a:lnTo>
                    <a:lnTo>
                      <a:pt x="5681" y="4426"/>
                    </a:lnTo>
                    <a:lnTo>
                      <a:pt x="5801" y="4665"/>
                    </a:lnTo>
                    <a:lnTo>
                      <a:pt x="5921" y="4904"/>
                    </a:lnTo>
                    <a:lnTo>
                      <a:pt x="6040" y="5143"/>
                    </a:lnTo>
                    <a:lnTo>
                      <a:pt x="6100" y="5383"/>
                    </a:lnTo>
                    <a:lnTo>
                      <a:pt x="6160" y="5622"/>
                    </a:lnTo>
                    <a:lnTo>
                      <a:pt x="6937" y="8612"/>
                    </a:lnTo>
                    <a:lnTo>
                      <a:pt x="7715" y="11603"/>
                    </a:lnTo>
                    <a:lnTo>
                      <a:pt x="8373" y="14234"/>
                    </a:lnTo>
                    <a:lnTo>
                      <a:pt x="8373" y="14234"/>
                    </a:lnTo>
                    <a:lnTo>
                      <a:pt x="8433" y="14413"/>
                    </a:lnTo>
                    <a:lnTo>
                      <a:pt x="8552" y="14892"/>
                    </a:lnTo>
                    <a:lnTo>
                      <a:pt x="8612" y="15012"/>
                    </a:lnTo>
                    <a:lnTo>
                      <a:pt x="8612" y="15012"/>
                    </a:lnTo>
                    <a:lnTo>
                      <a:pt x="8971" y="16387"/>
                    </a:lnTo>
                    <a:lnTo>
                      <a:pt x="9330" y="17823"/>
                    </a:lnTo>
                    <a:lnTo>
                      <a:pt x="9629" y="19079"/>
                    </a:lnTo>
                    <a:lnTo>
                      <a:pt x="9928" y="20215"/>
                    </a:lnTo>
                    <a:lnTo>
                      <a:pt x="10167" y="21052"/>
                    </a:lnTo>
                    <a:lnTo>
                      <a:pt x="10526" y="22607"/>
                    </a:lnTo>
                    <a:lnTo>
                      <a:pt x="10645" y="23145"/>
                    </a:lnTo>
                    <a:lnTo>
                      <a:pt x="10825" y="23863"/>
                    </a:lnTo>
                    <a:lnTo>
                      <a:pt x="11603" y="26853"/>
                    </a:lnTo>
                    <a:lnTo>
                      <a:pt x="12380" y="29844"/>
                    </a:lnTo>
                    <a:lnTo>
                      <a:pt x="13157" y="32834"/>
                    </a:lnTo>
                    <a:lnTo>
                      <a:pt x="13875" y="35705"/>
                    </a:lnTo>
                    <a:lnTo>
                      <a:pt x="14473" y="38157"/>
                    </a:lnTo>
                    <a:lnTo>
                      <a:pt x="15071" y="40489"/>
                    </a:lnTo>
                    <a:lnTo>
                      <a:pt x="15311" y="40968"/>
                    </a:lnTo>
                    <a:lnTo>
                      <a:pt x="15729" y="41805"/>
                    </a:lnTo>
                    <a:lnTo>
                      <a:pt x="16148" y="42642"/>
                    </a:lnTo>
                    <a:lnTo>
                      <a:pt x="16148" y="42642"/>
                    </a:lnTo>
                    <a:lnTo>
                      <a:pt x="17523" y="45334"/>
                    </a:lnTo>
                    <a:lnTo>
                      <a:pt x="18121" y="46470"/>
                    </a:lnTo>
                    <a:lnTo>
                      <a:pt x="19497" y="49162"/>
                    </a:lnTo>
                    <a:lnTo>
                      <a:pt x="20873" y="51853"/>
                    </a:lnTo>
                    <a:lnTo>
                      <a:pt x="22248" y="54544"/>
                    </a:lnTo>
                    <a:lnTo>
                      <a:pt x="23624" y="57235"/>
                    </a:lnTo>
                    <a:lnTo>
                      <a:pt x="24999" y="59927"/>
                    </a:lnTo>
                    <a:lnTo>
                      <a:pt x="26375" y="62618"/>
                    </a:lnTo>
                    <a:lnTo>
                      <a:pt x="27750" y="65309"/>
                    </a:lnTo>
                    <a:lnTo>
                      <a:pt x="29126" y="68001"/>
                    </a:lnTo>
                    <a:lnTo>
                      <a:pt x="30502" y="70692"/>
                    </a:lnTo>
                    <a:lnTo>
                      <a:pt x="31877" y="73383"/>
                    </a:lnTo>
                    <a:lnTo>
                      <a:pt x="33253" y="76075"/>
                    </a:lnTo>
                    <a:lnTo>
                      <a:pt x="34628" y="78766"/>
                    </a:lnTo>
                    <a:lnTo>
                      <a:pt x="36004" y="81457"/>
                    </a:lnTo>
                    <a:lnTo>
                      <a:pt x="37380" y="84149"/>
                    </a:lnTo>
                    <a:lnTo>
                      <a:pt x="38037" y="85405"/>
                    </a:lnTo>
                  </a:path>
                </a:pathLst>
              </a:custGeom>
              <a:noFill/>
              <a:ln w="6350" cap="rnd">
                <a:solidFill>
                  <a:schemeClr val="bg1">
                    <a:alpha val="80000"/>
                  </a:schemeClr>
                </a:solidFill>
                <a:prstDash val="solid"/>
                <a:round/>
              </a:ln>
            </p:spPr>
            <p:txBody>
              <a:bodyPr rtlCol="0" anchor="ctr"/>
              <a:lstStyle/>
              <a:p>
                <a:endParaRPr lang="en-GB"/>
              </a:p>
            </p:txBody>
          </p:sp>
          <p:sp>
            <p:nvSpPr>
              <p:cNvPr id="5462" name="Vrije vorm: vorm 5461">
                <a:extLst>
                  <a:ext uri="{FF2B5EF4-FFF2-40B4-BE49-F238E27FC236}">
                    <a16:creationId xmlns:a16="http://schemas.microsoft.com/office/drawing/2014/main" id="{D54BC3C6-DE41-4FC3-96B8-98F8A3821D32}"/>
                  </a:ext>
                </a:extLst>
              </p:cNvPr>
              <p:cNvSpPr/>
              <p:nvPr/>
            </p:nvSpPr>
            <p:spPr>
              <a:xfrm>
                <a:off x="6476663" y="1656162"/>
                <a:ext cx="4665" cy="12320"/>
              </a:xfrm>
              <a:custGeom>
                <a:avLst/>
                <a:gdLst>
                  <a:gd name="connsiteX0" fmla="*/ 4665 w 4665"/>
                  <a:gd name="connsiteY0" fmla="*/ 12320 h 12320"/>
                  <a:gd name="connsiteX1" fmla="*/ 4306 w 4665"/>
                  <a:gd name="connsiteY1" fmla="*/ 11363 h 12320"/>
                  <a:gd name="connsiteX2" fmla="*/ 3888 w 4665"/>
                  <a:gd name="connsiteY2" fmla="*/ 10227 h 12320"/>
                  <a:gd name="connsiteX3" fmla="*/ 3529 w 4665"/>
                  <a:gd name="connsiteY3" fmla="*/ 9270 h 12320"/>
                  <a:gd name="connsiteX4" fmla="*/ 2452 w 4665"/>
                  <a:gd name="connsiteY4" fmla="*/ 6459 h 12320"/>
                  <a:gd name="connsiteX5" fmla="*/ 2392 w 4665"/>
                  <a:gd name="connsiteY5" fmla="*/ 6399 h 12320"/>
                  <a:gd name="connsiteX6" fmla="*/ 1914 w 4665"/>
                  <a:gd name="connsiteY6" fmla="*/ 5143 h 12320"/>
                  <a:gd name="connsiteX7" fmla="*/ 837 w 4665"/>
                  <a:gd name="connsiteY7" fmla="*/ 2273 h 12320"/>
                  <a:gd name="connsiteX8" fmla="*/ 0 w 4665"/>
                  <a:gd name="connsiteY8" fmla="*/ 0 h 1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5" h="12320">
                    <a:moveTo>
                      <a:pt x="4665" y="12320"/>
                    </a:moveTo>
                    <a:lnTo>
                      <a:pt x="4306" y="11363"/>
                    </a:lnTo>
                    <a:lnTo>
                      <a:pt x="3888" y="10227"/>
                    </a:lnTo>
                    <a:lnTo>
                      <a:pt x="3529" y="9270"/>
                    </a:lnTo>
                    <a:lnTo>
                      <a:pt x="2452" y="6459"/>
                    </a:lnTo>
                    <a:lnTo>
                      <a:pt x="2392" y="6399"/>
                    </a:lnTo>
                    <a:lnTo>
                      <a:pt x="1914" y="5143"/>
                    </a:lnTo>
                    <a:lnTo>
                      <a:pt x="837" y="2273"/>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63" name="Vrije vorm: vorm 5462">
                <a:extLst>
                  <a:ext uri="{FF2B5EF4-FFF2-40B4-BE49-F238E27FC236}">
                    <a16:creationId xmlns:a16="http://schemas.microsoft.com/office/drawing/2014/main" id="{C0169A41-97CB-4DEC-A5EC-A32B17D9A5C2}"/>
                  </a:ext>
                </a:extLst>
              </p:cNvPr>
              <p:cNvSpPr/>
              <p:nvPr/>
            </p:nvSpPr>
            <p:spPr>
              <a:xfrm>
                <a:off x="6465300" y="1667047"/>
                <a:ext cx="5382" cy="12499"/>
              </a:xfrm>
              <a:custGeom>
                <a:avLst/>
                <a:gdLst>
                  <a:gd name="connsiteX0" fmla="*/ 5382 w 5382"/>
                  <a:gd name="connsiteY0" fmla="*/ 10586 h 12499"/>
                  <a:gd name="connsiteX1" fmla="*/ 5083 w 5382"/>
                  <a:gd name="connsiteY1" fmla="*/ 11184 h 12499"/>
                  <a:gd name="connsiteX2" fmla="*/ 4426 w 5382"/>
                  <a:gd name="connsiteY2" fmla="*/ 12500 h 12499"/>
                  <a:gd name="connsiteX3" fmla="*/ 3648 w 5382"/>
                  <a:gd name="connsiteY3" fmla="*/ 10347 h 12499"/>
                  <a:gd name="connsiteX4" fmla="*/ 2632 w 5382"/>
                  <a:gd name="connsiteY4" fmla="*/ 7416 h 12499"/>
                  <a:gd name="connsiteX5" fmla="*/ 2512 w 5382"/>
                  <a:gd name="connsiteY5" fmla="*/ 7177 h 12499"/>
                  <a:gd name="connsiteX6" fmla="*/ 2452 w 5382"/>
                  <a:gd name="connsiteY6" fmla="*/ 7057 h 12499"/>
                  <a:gd name="connsiteX7" fmla="*/ 2392 w 5382"/>
                  <a:gd name="connsiteY7" fmla="*/ 6818 h 12499"/>
                  <a:gd name="connsiteX8" fmla="*/ 1375 w 5382"/>
                  <a:gd name="connsiteY8" fmla="*/ 3888 h 12499"/>
                  <a:gd name="connsiteX9" fmla="*/ 359 w 5382"/>
                  <a:gd name="connsiteY9" fmla="*/ 957 h 12499"/>
                  <a:gd name="connsiteX10" fmla="*/ 0 w 5382"/>
                  <a:gd name="connsiteY10" fmla="*/ 0 h 1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82" h="12499">
                    <a:moveTo>
                      <a:pt x="5382" y="10586"/>
                    </a:moveTo>
                    <a:lnTo>
                      <a:pt x="5083" y="11184"/>
                    </a:lnTo>
                    <a:lnTo>
                      <a:pt x="4426" y="12500"/>
                    </a:lnTo>
                    <a:lnTo>
                      <a:pt x="3648" y="10347"/>
                    </a:lnTo>
                    <a:lnTo>
                      <a:pt x="2632" y="7416"/>
                    </a:lnTo>
                    <a:lnTo>
                      <a:pt x="2512" y="7177"/>
                    </a:lnTo>
                    <a:lnTo>
                      <a:pt x="2452" y="7057"/>
                    </a:lnTo>
                    <a:lnTo>
                      <a:pt x="2392" y="6818"/>
                    </a:lnTo>
                    <a:lnTo>
                      <a:pt x="1375" y="3888"/>
                    </a:lnTo>
                    <a:lnTo>
                      <a:pt x="359" y="95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64" name="Vrije vorm: vorm 5463">
                <a:extLst>
                  <a:ext uri="{FF2B5EF4-FFF2-40B4-BE49-F238E27FC236}">
                    <a16:creationId xmlns:a16="http://schemas.microsoft.com/office/drawing/2014/main" id="{D58C0071-C0DD-45D4-86B3-704A44BA2B9F}"/>
                  </a:ext>
                </a:extLst>
              </p:cNvPr>
              <p:cNvSpPr/>
              <p:nvPr/>
            </p:nvSpPr>
            <p:spPr>
              <a:xfrm>
                <a:off x="6465300" y="1656042"/>
                <a:ext cx="11423" cy="12679"/>
              </a:xfrm>
              <a:custGeom>
                <a:avLst/>
                <a:gdLst>
                  <a:gd name="connsiteX0" fmla="*/ 11423 w 11423"/>
                  <a:gd name="connsiteY0" fmla="*/ 0 h 12679"/>
                  <a:gd name="connsiteX1" fmla="*/ 9091 w 11423"/>
                  <a:gd name="connsiteY1" fmla="*/ 2273 h 12679"/>
                  <a:gd name="connsiteX2" fmla="*/ 6758 w 11423"/>
                  <a:gd name="connsiteY2" fmla="*/ 4545 h 12679"/>
                  <a:gd name="connsiteX3" fmla="*/ 4486 w 11423"/>
                  <a:gd name="connsiteY3" fmla="*/ 6758 h 12679"/>
                  <a:gd name="connsiteX4" fmla="*/ 2153 w 11423"/>
                  <a:gd name="connsiteY4" fmla="*/ 9031 h 12679"/>
                  <a:gd name="connsiteX5" fmla="*/ 1076 w 11423"/>
                  <a:gd name="connsiteY5" fmla="*/ 10048 h 12679"/>
                  <a:gd name="connsiteX6" fmla="*/ 0 w 11423"/>
                  <a:gd name="connsiteY6" fmla="*/ 11064 h 12679"/>
                  <a:gd name="connsiteX7" fmla="*/ 2273 w 11423"/>
                  <a:gd name="connsiteY7" fmla="*/ 12380 h 12679"/>
                  <a:gd name="connsiteX8" fmla="*/ 2751 w 11423"/>
                  <a:gd name="connsiteY8" fmla="*/ 12679 h 1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3" h="12679">
                    <a:moveTo>
                      <a:pt x="11423" y="0"/>
                    </a:moveTo>
                    <a:lnTo>
                      <a:pt x="9091" y="2273"/>
                    </a:lnTo>
                    <a:lnTo>
                      <a:pt x="6758" y="4545"/>
                    </a:lnTo>
                    <a:lnTo>
                      <a:pt x="4486" y="6758"/>
                    </a:lnTo>
                    <a:lnTo>
                      <a:pt x="2153" y="9031"/>
                    </a:lnTo>
                    <a:lnTo>
                      <a:pt x="1076" y="10048"/>
                    </a:lnTo>
                    <a:lnTo>
                      <a:pt x="0" y="11064"/>
                    </a:lnTo>
                    <a:lnTo>
                      <a:pt x="2273" y="12380"/>
                    </a:lnTo>
                    <a:lnTo>
                      <a:pt x="2751" y="12679"/>
                    </a:lnTo>
                  </a:path>
                </a:pathLst>
              </a:custGeom>
              <a:noFill/>
              <a:ln w="6350" cap="rnd">
                <a:solidFill>
                  <a:schemeClr val="bg1">
                    <a:alpha val="80000"/>
                  </a:schemeClr>
                </a:solidFill>
                <a:prstDash val="solid"/>
                <a:round/>
              </a:ln>
            </p:spPr>
            <p:txBody>
              <a:bodyPr rtlCol="0" anchor="ctr"/>
              <a:lstStyle/>
              <a:p>
                <a:endParaRPr lang="en-GB"/>
              </a:p>
            </p:txBody>
          </p:sp>
          <p:sp>
            <p:nvSpPr>
              <p:cNvPr id="5465" name="Vrije vorm: vorm 5464">
                <a:extLst>
                  <a:ext uri="{FF2B5EF4-FFF2-40B4-BE49-F238E27FC236}">
                    <a16:creationId xmlns:a16="http://schemas.microsoft.com/office/drawing/2014/main" id="{BA4018EE-FD07-4D90-A079-5EE5E37ADA47}"/>
                  </a:ext>
                </a:extLst>
              </p:cNvPr>
              <p:cNvSpPr/>
              <p:nvPr/>
            </p:nvSpPr>
            <p:spPr>
              <a:xfrm>
                <a:off x="6470443" y="1660049"/>
                <a:ext cx="8193" cy="6100"/>
              </a:xfrm>
              <a:custGeom>
                <a:avLst/>
                <a:gdLst>
                  <a:gd name="connsiteX0" fmla="*/ 8194 w 8193"/>
                  <a:gd name="connsiteY0" fmla="*/ 1136 h 6100"/>
                  <a:gd name="connsiteX1" fmla="*/ 6280 w 8193"/>
                  <a:gd name="connsiteY1" fmla="*/ 0 h 6100"/>
                  <a:gd name="connsiteX2" fmla="*/ 3947 w 8193"/>
                  <a:gd name="connsiteY2" fmla="*/ 2273 h 6100"/>
                  <a:gd name="connsiteX3" fmla="*/ 2273 w 8193"/>
                  <a:gd name="connsiteY3" fmla="*/ 3947 h 6100"/>
                  <a:gd name="connsiteX4" fmla="*/ 0 w 8193"/>
                  <a:gd name="connsiteY4" fmla="*/ 6100 h 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3" h="6100">
                    <a:moveTo>
                      <a:pt x="8194" y="1136"/>
                    </a:moveTo>
                    <a:lnTo>
                      <a:pt x="6280" y="0"/>
                    </a:lnTo>
                    <a:lnTo>
                      <a:pt x="3947" y="2273"/>
                    </a:lnTo>
                    <a:lnTo>
                      <a:pt x="2273" y="3947"/>
                    </a:lnTo>
                    <a:lnTo>
                      <a:pt x="0" y="6100"/>
                    </a:lnTo>
                  </a:path>
                </a:pathLst>
              </a:custGeom>
              <a:noFill/>
              <a:ln w="6350" cap="rnd">
                <a:solidFill>
                  <a:schemeClr val="bg1">
                    <a:alpha val="80000"/>
                  </a:schemeClr>
                </a:solidFill>
                <a:prstDash val="solid"/>
                <a:round/>
              </a:ln>
            </p:spPr>
            <p:txBody>
              <a:bodyPr rtlCol="0" anchor="ctr"/>
              <a:lstStyle/>
              <a:p>
                <a:endParaRPr lang="en-GB"/>
              </a:p>
            </p:txBody>
          </p:sp>
          <p:sp>
            <p:nvSpPr>
              <p:cNvPr id="5466" name="Vrije vorm: vorm 5465">
                <a:extLst>
                  <a:ext uri="{FF2B5EF4-FFF2-40B4-BE49-F238E27FC236}">
                    <a16:creationId xmlns:a16="http://schemas.microsoft.com/office/drawing/2014/main" id="{388C0DEF-61AC-4530-99F9-FE0C21CD4C7B}"/>
                  </a:ext>
                </a:extLst>
              </p:cNvPr>
              <p:cNvSpPr/>
              <p:nvPr/>
            </p:nvSpPr>
            <p:spPr>
              <a:xfrm>
                <a:off x="6469307" y="1673506"/>
                <a:ext cx="1495" cy="4784"/>
              </a:xfrm>
              <a:custGeom>
                <a:avLst/>
                <a:gdLst>
                  <a:gd name="connsiteX0" fmla="*/ 1495 w 1495"/>
                  <a:gd name="connsiteY0" fmla="*/ 4785 h 4784"/>
                  <a:gd name="connsiteX1" fmla="*/ 1375 w 1495"/>
                  <a:gd name="connsiteY1" fmla="*/ 4127 h 4784"/>
                  <a:gd name="connsiteX2" fmla="*/ 1076 w 1495"/>
                  <a:gd name="connsiteY2" fmla="*/ 2572 h 4784"/>
                  <a:gd name="connsiteX3" fmla="*/ 419 w 1495"/>
                  <a:gd name="connsiteY3" fmla="*/ 2213 h 4784"/>
                  <a:gd name="connsiteX4" fmla="*/ 359 w 1495"/>
                  <a:gd name="connsiteY4" fmla="*/ 1794 h 4784"/>
                  <a:gd name="connsiteX5" fmla="*/ 359 w 1495"/>
                  <a:gd name="connsiteY5" fmla="*/ 1734 h 4784"/>
                  <a:gd name="connsiteX6" fmla="*/ 299 w 1495"/>
                  <a:gd name="connsiteY6" fmla="*/ 1495 h 4784"/>
                  <a:gd name="connsiteX7" fmla="*/ 180 w 1495"/>
                  <a:gd name="connsiteY7" fmla="*/ 897 h 4784"/>
                  <a:gd name="connsiteX8" fmla="*/ 0 w 1495"/>
                  <a:gd name="connsiteY8" fmla="*/ 0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 h="4784">
                    <a:moveTo>
                      <a:pt x="1495" y="4785"/>
                    </a:moveTo>
                    <a:lnTo>
                      <a:pt x="1375" y="4127"/>
                    </a:lnTo>
                    <a:lnTo>
                      <a:pt x="1076" y="2572"/>
                    </a:lnTo>
                    <a:lnTo>
                      <a:pt x="419" y="2213"/>
                    </a:lnTo>
                    <a:lnTo>
                      <a:pt x="359" y="1794"/>
                    </a:lnTo>
                    <a:lnTo>
                      <a:pt x="359" y="1734"/>
                    </a:lnTo>
                    <a:lnTo>
                      <a:pt x="299" y="1495"/>
                    </a:lnTo>
                    <a:lnTo>
                      <a:pt x="180" y="89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67" name="Vrije vorm: vorm 5466">
                <a:extLst>
                  <a:ext uri="{FF2B5EF4-FFF2-40B4-BE49-F238E27FC236}">
                    <a16:creationId xmlns:a16="http://schemas.microsoft.com/office/drawing/2014/main" id="{9E5C8E6B-A843-4FC2-9F14-B322BBB415DA}"/>
                  </a:ext>
                </a:extLst>
              </p:cNvPr>
              <p:cNvSpPr/>
              <p:nvPr/>
            </p:nvSpPr>
            <p:spPr>
              <a:xfrm>
                <a:off x="6453458" y="1627993"/>
                <a:ext cx="6219" cy="44735"/>
              </a:xfrm>
              <a:custGeom>
                <a:avLst/>
                <a:gdLst>
                  <a:gd name="connsiteX0" fmla="*/ 4844 w 6219"/>
                  <a:gd name="connsiteY0" fmla="*/ 0 h 44735"/>
                  <a:gd name="connsiteX1" fmla="*/ 2572 w 6219"/>
                  <a:gd name="connsiteY1" fmla="*/ 2332 h 44735"/>
                  <a:gd name="connsiteX2" fmla="*/ 2213 w 6219"/>
                  <a:gd name="connsiteY2" fmla="*/ 2691 h 44735"/>
                  <a:gd name="connsiteX3" fmla="*/ 1854 w 6219"/>
                  <a:gd name="connsiteY3" fmla="*/ 3050 h 44735"/>
                  <a:gd name="connsiteX4" fmla="*/ 1555 w 6219"/>
                  <a:gd name="connsiteY4" fmla="*/ 3469 h 44735"/>
                  <a:gd name="connsiteX5" fmla="*/ 1256 w 6219"/>
                  <a:gd name="connsiteY5" fmla="*/ 3888 h 44735"/>
                  <a:gd name="connsiteX6" fmla="*/ 957 w 6219"/>
                  <a:gd name="connsiteY6" fmla="*/ 4366 h 44735"/>
                  <a:gd name="connsiteX7" fmla="*/ 718 w 6219"/>
                  <a:gd name="connsiteY7" fmla="*/ 4844 h 44735"/>
                  <a:gd name="connsiteX8" fmla="*/ 478 w 6219"/>
                  <a:gd name="connsiteY8" fmla="*/ 5323 h 44735"/>
                  <a:gd name="connsiteX9" fmla="*/ 299 w 6219"/>
                  <a:gd name="connsiteY9" fmla="*/ 5801 h 44735"/>
                  <a:gd name="connsiteX10" fmla="*/ 179 w 6219"/>
                  <a:gd name="connsiteY10" fmla="*/ 6280 h 44735"/>
                  <a:gd name="connsiteX11" fmla="*/ 60 w 6219"/>
                  <a:gd name="connsiteY11" fmla="*/ 6698 h 44735"/>
                  <a:gd name="connsiteX12" fmla="*/ 0 w 6219"/>
                  <a:gd name="connsiteY12" fmla="*/ 7117 h 44735"/>
                  <a:gd name="connsiteX13" fmla="*/ 0 w 6219"/>
                  <a:gd name="connsiteY13" fmla="*/ 7476 h 44735"/>
                  <a:gd name="connsiteX14" fmla="*/ 0 w 6219"/>
                  <a:gd name="connsiteY14" fmla="*/ 7835 h 44735"/>
                  <a:gd name="connsiteX15" fmla="*/ 478 w 6219"/>
                  <a:gd name="connsiteY15" fmla="*/ 10945 h 44735"/>
                  <a:gd name="connsiteX16" fmla="*/ 957 w 6219"/>
                  <a:gd name="connsiteY16" fmla="*/ 14055 h 44735"/>
                  <a:gd name="connsiteX17" fmla="*/ 1435 w 6219"/>
                  <a:gd name="connsiteY17" fmla="*/ 16985 h 44735"/>
                  <a:gd name="connsiteX18" fmla="*/ 1914 w 6219"/>
                  <a:gd name="connsiteY18" fmla="*/ 20095 h 44735"/>
                  <a:gd name="connsiteX19" fmla="*/ 2392 w 6219"/>
                  <a:gd name="connsiteY19" fmla="*/ 23205 h 44735"/>
                  <a:gd name="connsiteX20" fmla="*/ 2871 w 6219"/>
                  <a:gd name="connsiteY20" fmla="*/ 26315 h 44735"/>
                  <a:gd name="connsiteX21" fmla="*/ 3349 w 6219"/>
                  <a:gd name="connsiteY21" fmla="*/ 29425 h 44735"/>
                  <a:gd name="connsiteX22" fmla="*/ 3827 w 6219"/>
                  <a:gd name="connsiteY22" fmla="*/ 32535 h 44735"/>
                  <a:gd name="connsiteX23" fmla="*/ 4306 w 6219"/>
                  <a:gd name="connsiteY23" fmla="*/ 35645 h 44735"/>
                  <a:gd name="connsiteX24" fmla="*/ 4785 w 6219"/>
                  <a:gd name="connsiteY24" fmla="*/ 38755 h 44735"/>
                  <a:gd name="connsiteX25" fmla="*/ 4964 w 6219"/>
                  <a:gd name="connsiteY25" fmla="*/ 40011 h 44735"/>
                  <a:gd name="connsiteX26" fmla="*/ 5083 w 6219"/>
                  <a:gd name="connsiteY26" fmla="*/ 40908 h 44735"/>
                  <a:gd name="connsiteX27" fmla="*/ 5203 w 6219"/>
                  <a:gd name="connsiteY27" fmla="*/ 41686 h 44735"/>
                  <a:gd name="connsiteX28" fmla="*/ 6220 w 6219"/>
                  <a:gd name="connsiteY28" fmla="*/ 44616 h 44735"/>
                  <a:gd name="connsiteX29" fmla="*/ 6220 w 6219"/>
                  <a:gd name="connsiteY29" fmla="*/ 44676 h 44735"/>
                  <a:gd name="connsiteX30" fmla="*/ 6220 w 6219"/>
                  <a:gd name="connsiteY30" fmla="*/ 44736 h 44735"/>
                  <a:gd name="connsiteX31" fmla="*/ 6220 w 6219"/>
                  <a:gd name="connsiteY31" fmla="*/ 44676 h 44735"/>
                  <a:gd name="connsiteX32" fmla="*/ 5741 w 6219"/>
                  <a:gd name="connsiteY32" fmla="*/ 41566 h 44735"/>
                  <a:gd name="connsiteX33" fmla="*/ 5562 w 6219"/>
                  <a:gd name="connsiteY33" fmla="*/ 40490 h 44735"/>
                  <a:gd name="connsiteX34" fmla="*/ 5083 w 6219"/>
                  <a:gd name="connsiteY34" fmla="*/ 37380 h 44735"/>
                  <a:gd name="connsiteX35" fmla="*/ 4605 w 6219"/>
                  <a:gd name="connsiteY35" fmla="*/ 34270 h 44735"/>
                  <a:gd name="connsiteX36" fmla="*/ 4127 w 6219"/>
                  <a:gd name="connsiteY36" fmla="*/ 31160 h 44735"/>
                  <a:gd name="connsiteX37" fmla="*/ 3648 w 6219"/>
                  <a:gd name="connsiteY37" fmla="*/ 28050 h 44735"/>
                  <a:gd name="connsiteX38" fmla="*/ 3170 w 6219"/>
                  <a:gd name="connsiteY38" fmla="*/ 24940 h 44735"/>
                  <a:gd name="connsiteX39" fmla="*/ 2691 w 6219"/>
                  <a:gd name="connsiteY39" fmla="*/ 21830 h 44735"/>
                  <a:gd name="connsiteX40" fmla="*/ 2213 w 6219"/>
                  <a:gd name="connsiteY40" fmla="*/ 18720 h 44735"/>
                  <a:gd name="connsiteX41" fmla="*/ 2093 w 6219"/>
                  <a:gd name="connsiteY41" fmla="*/ 17823 h 44735"/>
                  <a:gd name="connsiteX42" fmla="*/ 1615 w 6219"/>
                  <a:gd name="connsiteY42" fmla="*/ 14713 h 44735"/>
                  <a:gd name="connsiteX43" fmla="*/ 1136 w 6219"/>
                  <a:gd name="connsiteY43" fmla="*/ 11603 h 44735"/>
                  <a:gd name="connsiteX44" fmla="*/ 658 w 6219"/>
                  <a:gd name="connsiteY44" fmla="*/ 8493 h 44735"/>
                  <a:gd name="connsiteX45" fmla="*/ 598 w 6219"/>
                  <a:gd name="connsiteY45" fmla="*/ 8194 h 44735"/>
                  <a:gd name="connsiteX46" fmla="*/ 598 w 6219"/>
                  <a:gd name="connsiteY46" fmla="*/ 7835 h 44735"/>
                  <a:gd name="connsiteX47" fmla="*/ 598 w 6219"/>
                  <a:gd name="connsiteY47" fmla="*/ 7476 h 44735"/>
                  <a:gd name="connsiteX48" fmla="*/ 658 w 6219"/>
                  <a:gd name="connsiteY48" fmla="*/ 7057 h 44735"/>
                  <a:gd name="connsiteX49" fmla="*/ 777 w 6219"/>
                  <a:gd name="connsiteY49" fmla="*/ 6639 h 44735"/>
                  <a:gd name="connsiteX50" fmla="*/ 897 w 6219"/>
                  <a:gd name="connsiteY50" fmla="*/ 6160 h 44735"/>
                  <a:gd name="connsiteX51" fmla="*/ 1076 w 6219"/>
                  <a:gd name="connsiteY51" fmla="*/ 5682 h 44735"/>
                  <a:gd name="connsiteX52" fmla="*/ 1316 w 6219"/>
                  <a:gd name="connsiteY52" fmla="*/ 5203 h 44735"/>
                  <a:gd name="connsiteX53" fmla="*/ 1555 w 6219"/>
                  <a:gd name="connsiteY53" fmla="*/ 4725 h 44735"/>
                  <a:gd name="connsiteX54" fmla="*/ 1854 w 6219"/>
                  <a:gd name="connsiteY54" fmla="*/ 4246 h 44735"/>
                  <a:gd name="connsiteX55" fmla="*/ 2153 w 6219"/>
                  <a:gd name="connsiteY55" fmla="*/ 3828 h 44735"/>
                  <a:gd name="connsiteX56" fmla="*/ 2452 w 6219"/>
                  <a:gd name="connsiteY56" fmla="*/ 3409 h 44735"/>
                  <a:gd name="connsiteX57" fmla="*/ 2811 w 6219"/>
                  <a:gd name="connsiteY57" fmla="*/ 3050 h 44735"/>
                  <a:gd name="connsiteX58" fmla="*/ 5083 w 6219"/>
                  <a:gd name="connsiteY58" fmla="*/ 718 h 44735"/>
                  <a:gd name="connsiteX59" fmla="*/ 5442 w 6219"/>
                  <a:gd name="connsiteY59" fmla="*/ 359 h 4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219" h="44735">
                    <a:moveTo>
                      <a:pt x="4844" y="0"/>
                    </a:moveTo>
                    <a:lnTo>
                      <a:pt x="2572" y="2332"/>
                    </a:lnTo>
                    <a:lnTo>
                      <a:pt x="2213" y="2691"/>
                    </a:lnTo>
                    <a:lnTo>
                      <a:pt x="1854" y="3050"/>
                    </a:lnTo>
                    <a:lnTo>
                      <a:pt x="1555" y="3469"/>
                    </a:lnTo>
                    <a:lnTo>
                      <a:pt x="1256" y="3888"/>
                    </a:lnTo>
                    <a:lnTo>
                      <a:pt x="957" y="4366"/>
                    </a:lnTo>
                    <a:lnTo>
                      <a:pt x="718" y="4844"/>
                    </a:lnTo>
                    <a:lnTo>
                      <a:pt x="478" y="5323"/>
                    </a:lnTo>
                    <a:lnTo>
                      <a:pt x="299" y="5801"/>
                    </a:lnTo>
                    <a:lnTo>
                      <a:pt x="179" y="6280"/>
                    </a:lnTo>
                    <a:lnTo>
                      <a:pt x="60" y="6698"/>
                    </a:lnTo>
                    <a:lnTo>
                      <a:pt x="0" y="7117"/>
                    </a:lnTo>
                    <a:lnTo>
                      <a:pt x="0" y="7476"/>
                    </a:lnTo>
                    <a:lnTo>
                      <a:pt x="0" y="7835"/>
                    </a:lnTo>
                    <a:lnTo>
                      <a:pt x="478" y="10945"/>
                    </a:lnTo>
                    <a:lnTo>
                      <a:pt x="957" y="14055"/>
                    </a:lnTo>
                    <a:lnTo>
                      <a:pt x="1435" y="16985"/>
                    </a:lnTo>
                    <a:lnTo>
                      <a:pt x="1914" y="20095"/>
                    </a:lnTo>
                    <a:lnTo>
                      <a:pt x="2392" y="23205"/>
                    </a:lnTo>
                    <a:lnTo>
                      <a:pt x="2871" y="26315"/>
                    </a:lnTo>
                    <a:lnTo>
                      <a:pt x="3349" y="29425"/>
                    </a:lnTo>
                    <a:lnTo>
                      <a:pt x="3827" y="32535"/>
                    </a:lnTo>
                    <a:lnTo>
                      <a:pt x="4306" y="35645"/>
                    </a:lnTo>
                    <a:lnTo>
                      <a:pt x="4785" y="38755"/>
                    </a:lnTo>
                    <a:lnTo>
                      <a:pt x="4964" y="40011"/>
                    </a:lnTo>
                    <a:lnTo>
                      <a:pt x="5083" y="40908"/>
                    </a:lnTo>
                    <a:lnTo>
                      <a:pt x="5203" y="41686"/>
                    </a:lnTo>
                    <a:lnTo>
                      <a:pt x="6220" y="44616"/>
                    </a:lnTo>
                    <a:lnTo>
                      <a:pt x="6220" y="44676"/>
                    </a:lnTo>
                    <a:lnTo>
                      <a:pt x="6220" y="44736"/>
                    </a:lnTo>
                    <a:lnTo>
                      <a:pt x="6220" y="44676"/>
                    </a:lnTo>
                    <a:lnTo>
                      <a:pt x="5741" y="41566"/>
                    </a:lnTo>
                    <a:lnTo>
                      <a:pt x="5562" y="40490"/>
                    </a:lnTo>
                    <a:lnTo>
                      <a:pt x="5083" y="37380"/>
                    </a:lnTo>
                    <a:lnTo>
                      <a:pt x="4605" y="34270"/>
                    </a:lnTo>
                    <a:lnTo>
                      <a:pt x="4127" y="31160"/>
                    </a:lnTo>
                    <a:lnTo>
                      <a:pt x="3648" y="28050"/>
                    </a:lnTo>
                    <a:lnTo>
                      <a:pt x="3170" y="24940"/>
                    </a:lnTo>
                    <a:lnTo>
                      <a:pt x="2691" y="21830"/>
                    </a:lnTo>
                    <a:lnTo>
                      <a:pt x="2213" y="18720"/>
                    </a:lnTo>
                    <a:lnTo>
                      <a:pt x="2093" y="17823"/>
                    </a:lnTo>
                    <a:lnTo>
                      <a:pt x="1615" y="14713"/>
                    </a:lnTo>
                    <a:lnTo>
                      <a:pt x="1136" y="11603"/>
                    </a:lnTo>
                    <a:lnTo>
                      <a:pt x="658" y="8493"/>
                    </a:lnTo>
                    <a:lnTo>
                      <a:pt x="598" y="8194"/>
                    </a:lnTo>
                    <a:lnTo>
                      <a:pt x="598" y="7835"/>
                    </a:lnTo>
                    <a:lnTo>
                      <a:pt x="598" y="7476"/>
                    </a:lnTo>
                    <a:lnTo>
                      <a:pt x="658" y="7057"/>
                    </a:lnTo>
                    <a:lnTo>
                      <a:pt x="777" y="6639"/>
                    </a:lnTo>
                    <a:lnTo>
                      <a:pt x="897" y="6160"/>
                    </a:lnTo>
                    <a:lnTo>
                      <a:pt x="1076" y="5682"/>
                    </a:lnTo>
                    <a:lnTo>
                      <a:pt x="1316" y="5203"/>
                    </a:lnTo>
                    <a:lnTo>
                      <a:pt x="1555" y="4725"/>
                    </a:lnTo>
                    <a:lnTo>
                      <a:pt x="1854" y="4246"/>
                    </a:lnTo>
                    <a:lnTo>
                      <a:pt x="2153" y="3828"/>
                    </a:lnTo>
                    <a:lnTo>
                      <a:pt x="2452" y="3409"/>
                    </a:lnTo>
                    <a:lnTo>
                      <a:pt x="2811" y="3050"/>
                    </a:lnTo>
                    <a:lnTo>
                      <a:pt x="5083" y="718"/>
                    </a:lnTo>
                    <a:lnTo>
                      <a:pt x="5442" y="359"/>
                    </a:lnTo>
                  </a:path>
                </a:pathLst>
              </a:custGeom>
              <a:noFill/>
              <a:ln w="6350" cap="rnd">
                <a:solidFill>
                  <a:schemeClr val="bg1">
                    <a:alpha val="80000"/>
                  </a:schemeClr>
                </a:solidFill>
                <a:prstDash val="solid"/>
                <a:round/>
              </a:ln>
            </p:spPr>
            <p:txBody>
              <a:bodyPr rtlCol="0" anchor="ctr"/>
              <a:lstStyle/>
              <a:p>
                <a:endParaRPr lang="en-GB"/>
              </a:p>
            </p:txBody>
          </p:sp>
          <p:sp>
            <p:nvSpPr>
              <p:cNvPr id="5468" name="Vrije vorm: vorm 5467">
                <a:extLst>
                  <a:ext uri="{FF2B5EF4-FFF2-40B4-BE49-F238E27FC236}">
                    <a16:creationId xmlns:a16="http://schemas.microsoft.com/office/drawing/2014/main" id="{E03A4199-3CD9-4D70-8DC2-4215DF70CE65}"/>
                  </a:ext>
                </a:extLst>
              </p:cNvPr>
              <p:cNvSpPr/>
              <p:nvPr/>
            </p:nvSpPr>
            <p:spPr>
              <a:xfrm>
                <a:off x="6480789" y="1644320"/>
                <a:ext cx="1734" cy="6100"/>
              </a:xfrm>
              <a:custGeom>
                <a:avLst/>
                <a:gdLst>
                  <a:gd name="connsiteX0" fmla="*/ 1735 w 1734"/>
                  <a:gd name="connsiteY0" fmla="*/ 6100 h 6100"/>
                  <a:gd name="connsiteX1" fmla="*/ 658 w 1734"/>
                  <a:gd name="connsiteY1" fmla="*/ 3230 h 6100"/>
                  <a:gd name="connsiteX2" fmla="*/ 598 w 1734"/>
                  <a:gd name="connsiteY2" fmla="*/ 3110 h 6100"/>
                  <a:gd name="connsiteX3" fmla="*/ 0 w 1734"/>
                  <a:gd name="connsiteY3" fmla="*/ 0 h 6100"/>
                </a:gdLst>
                <a:ahLst/>
                <a:cxnLst>
                  <a:cxn ang="0">
                    <a:pos x="connsiteX0" y="connsiteY0"/>
                  </a:cxn>
                  <a:cxn ang="0">
                    <a:pos x="connsiteX1" y="connsiteY1"/>
                  </a:cxn>
                  <a:cxn ang="0">
                    <a:pos x="connsiteX2" y="connsiteY2"/>
                  </a:cxn>
                  <a:cxn ang="0">
                    <a:pos x="connsiteX3" y="connsiteY3"/>
                  </a:cxn>
                </a:cxnLst>
                <a:rect l="l" t="t" r="r" b="b"/>
                <a:pathLst>
                  <a:path w="1734" h="6100">
                    <a:moveTo>
                      <a:pt x="1735" y="6100"/>
                    </a:moveTo>
                    <a:lnTo>
                      <a:pt x="658" y="3230"/>
                    </a:lnTo>
                    <a:lnTo>
                      <a:pt x="598" y="311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69" name="Vrije vorm: vorm 5468">
                <a:extLst>
                  <a:ext uri="{FF2B5EF4-FFF2-40B4-BE49-F238E27FC236}">
                    <a16:creationId xmlns:a16="http://schemas.microsoft.com/office/drawing/2014/main" id="{86AD3044-7D94-46D7-B215-8B7E7BF0DC0D}"/>
                  </a:ext>
                </a:extLst>
              </p:cNvPr>
              <p:cNvSpPr/>
              <p:nvPr/>
            </p:nvSpPr>
            <p:spPr>
              <a:xfrm>
                <a:off x="6501184" y="1699343"/>
                <a:ext cx="3648" cy="7595"/>
              </a:xfrm>
              <a:custGeom>
                <a:avLst/>
                <a:gdLst>
                  <a:gd name="connsiteX0" fmla="*/ 3648 w 3648"/>
                  <a:gd name="connsiteY0" fmla="*/ 7595 h 7595"/>
                  <a:gd name="connsiteX1" fmla="*/ 3648 w 3648"/>
                  <a:gd name="connsiteY1" fmla="*/ 7356 h 7595"/>
                  <a:gd name="connsiteX2" fmla="*/ 3648 w 3648"/>
                  <a:gd name="connsiteY2" fmla="*/ 7057 h 7595"/>
                  <a:gd name="connsiteX3" fmla="*/ 3469 w 3648"/>
                  <a:gd name="connsiteY3" fmla="*/ 4844 h 7595"/>
                  <a:gd name="connsiteX4" fmla="*/ 3289 w 3648"/>
                  <a:gd name="connsiteY4" fmla="*/ 2093 h 7595"/>
                  <a:gd name="connsiteX5" fmla="*/ 3110 w 3648"/>
                  <a:gd name="connsiteY5" fmla="*/ 0 h 7595"/>
                  <a:gd name="connsiteX6" fmla="*/ 718 w 3648"/>
                  <a:gd name="connsiteY6" fmla="*/ 2153 h 7595"/>
                  <a:gd name="connsiteX7" fmla="*/ 0 w 3648"/>
                  <a:gd name="connsiteY7" fmla="*/ 2811 h 7595"/>
                  <a:gd name="connsiteX8" fmla="*/ 0 w 3648"/>
                  <a:gd name="connsiteY8" fmla="*/ 2811 h 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8" h="7595">
                    <a:moveTo>
                      <a:pt x="3648" y="7595"/>
                    </a:moveTo>
                    <a:lnTo>
                      <a:pt x="3648" y="7356"/>
                    </a:lnTo>
                    <a:lnTo>
                      <a:pt x="3648" y="7057"/>
                    </a:lnTo>
                    <a:lnTo>
                      <a:pt x="3469" y="4844"/>
                    </a:lnTo>
                    <a:lnTo>
                      <a:pt x="3289" y="2093"/>
                    </a:lnTo>
                    <a:lnTo>
                      <a:pt x="3110" y="0"/>
                    </a:lnTo>
                    <a:lnTo>
                      <a:pt x="718" y="2153"/>
                    </a:lnTo>
                    <a:lnTo>
                      <a:pt x="0" y="2811"/>
                    </a:lnTo>
                    <a:lnTo>
                      <a:pt x="0" y="2811"/>
                    </a:lnTo>
                  </a:path>
                </a:pathLst>
              </a:custGeom>
              <a:noFill/>
              <a:ln w="6350" cap="rnd">
                <a:solidFill>
                  <a:schemeClr val="bg1">
                    <a:alpha val="80000"/>
                  </a:schemeClr>
                </a:solidFill>
                <a:prstDash val="solid"/>
                <a:round/>
              </a:ln>
            </p:spPr>
            <p:txBody>
              <a:bodyPr rtlCol="0" anchor="ctr"/>
              <a:lstStyle/>
              <a:p>
                <a:endParaRPr lang="en-GB"/>
              </a:p>
            </p:txBody>
          </p:sp>
          <p:sp>
            <p:nvSpPr>
              <p:cNvPr id="5470" name="Vrije vorm: vorm 5469">
                <a:extLst>
                  <a:ext uri="{FF2B5EF4-FFF2-40B4-BE49-F238E27FC236}">
                    <a16:creationId xmlns:a16="http://schemas.microsoft.com/office/drawing/2014/main" id="{D60AEFAD-0D39-46EC-8CBA-79754C0143F2}"/>
                  </a:ext>
                </a:extLst>
              </p:cNvPr>
              <p:cNvSpPr/>
              <p:nvPr/>
            </p:nvSpPr>
            <p:spPr>
              <a:xfrm>
                <a:off x="6458900" y="1609392"/>
                <a:ext cx="10645" cy="18958"/>
              </a:xfrm>
              <a:custGeom>
                <a:avLst/>
                <a:gdLst>
                  <a:gd name="connsiteX0" fmla="*/ 0 w 10645"/>
                  <a:gd name="connsiteY0" fmla="*/ 18959 h 18958"/>
                  <a:gd name="connsiteX1" fmla="*/ 2273 w 10645"/>
                  <a:gd name="connsiteY1" fmla="*/ 16626 h 18958"/>
                  <a:gd name="connsiteX2" fmla="*/ 2392 w 10645"/>
                  <a:gd name="connsiteY2" fmla="*/ 16507 h 18958"/>
                  <a:gd name="connsiteX3" fmla="*/ 3170 w 10645"/>
                  <a:gd name="connsiteY3" fmla="*/ 15729 h 18958"/>
                  <a:gd name="connsiteX4" fmla="*/ 4486 w 10645"/>
                  <a:gd name="connsiteY4" fmla="*/ 14414 h 18958"/>
                  <a:gd name="connsiteX5" fmla="*/ 6758 w 10645"/>
                  <a:gd name="connsiteY5" fmla="*/ 12081 h 18958"/>
                  <a:gd name="connsiteX6" fmla="*/ 9031 w 10645"/>
                  <a:gd name="connsiteY6" fmla="*/ 9749 h 18958"/>
                  <a:gd name="connsiteX7" fmla="*/ 9569 w 10645"/>
                  <a:gd name="connsiteY7" fmla="*/ 9210 h 18958"/>
                  <a:gd name="connsiteX8" fmla="*/ 10646 w 10645"/>
                  <a:gd name="connsiteY8" fmla="*/ 8134 h 18958"/>
                  <a:gd name="connsiteX9" fmla="*/ 10048 w 10645"/>
                  <a:gd name="connsiteY9" fmla="*/ 7715 h 18958"/>
                  <a:gd name="connsiteX10" fmla="*/ 9808 w 10645"/>
                  <a:gd name="connsiteY10" fmla="*/ 6579 h 18958"/>
                  <a:gd name="connsiteX11" fmla="*/ 9749 w 10645"/>
                  <a:gd name="connsiteY11" fmla="*/ 6220 h 18958"/>
                  <a:gd name="connsiteX12" fmla="*/ 9151 w 10645"/>
                  <a:gd name="connsiteY12" fmla="*/ 3170 h 18958"/>
                  <a:gd name="connsiteX13" fmla="*/ 8911 w 10645"/>
                  <a:gd name="connsiteY13" fmla="*/ 1794 h 18958"/>
                  <a:gd name="connsiteX14" fmla="*/ 8552 w 10645"/>
                  <a:gd name="connsiteY14" fmla="*/ 0 h 1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45" h="18958">
                    <a:moveTo>
                      <a:pt x="0" y="18959"/>
                    </a:moveTo>
                    <a:lnTo>
                      <a:pt x="2273" y="16626"/>
                    </a:lnTo>
                    <a:lnTo>
                      <a:pt x="2392" y="16507"/>
                    </a:lnTo>
                    <a:lnTo>
                      <a:pt x="3170" y="15729"/>
                    </a:lnTo>
                    <a:lnTo>
                      <a:pt x="4486" y="14414"/>
                    </a:lnTo>
                    <a:lnTo>
                      <a:pt x="6758" y="12081"/>
                    </a:lnTo>
                    <a:lnTo>
                      <a:pt x="9031" y="9749"/>
                    </a:lnTo>
                    <a:lnTo>
                      <a:pt x="9569" y="9210"/>
                    </a:lnTo>
                    <a:lnTo>
                      <a:pt x="10646" y="8134"/>
                    </a:lnTo>
                    <a:lnTo>
                      <a:pt x="10048" y="7715"/>
                    </a:lnTo>
                    <a:lnTo>
                      <a:pt x="9808" y="6579"/>
                    </a:lnTo>
                    <a:lnTo>
                      <a:pt x="9749" y="6220"/>
                    </a:lnTo>
                    <a:lnTo>
                      <a:pt x="9151" y="3170"/>
                    </a:lnTo>
                    <a:lnTo>
                      <a:pt x="8911" y="1794"/>
                    </a:lnTo>
                    <a:lnTo>
                      <a:pt x="8552" y="0"/>
                    </a:lnTo>
                  </a:path>
                </a:pathLst>
              </a:custGeom>
              <a:noFill/>
              <a:ln w="6350" cap="rnd">
                <a:solidFill>
                  <a:schemeClr val="bg1">
                    <a:alpha val="80000"/>
                  </a:schemeClr>
                </a:solidFill>
                <a:prstDash val="solid"/>
                <a:round/>
              </a:ln>
            </p:spPr>
            <p:txBody>
              <a:bodyPr rtlCol="0" anchor="ctr"/>
              <a:lstStyle/>
              <a:p>
                <a:endParaRPr lang="en-GB"/>
              </a:p>
            </p:txBody>
          </p:sp>
          <p:sp>
            <p:nvSpPr>
              <p:cNvPr id="5471" name="Vrije vorm: vorm 5470">
                <a:extLst>
                  <a:ext uri="{FF2B5EF4-FFF2-40B4-BE49-F238E27FC236}">
                    <a16:creationId xmlns:a16="http://schemas.microsoft.com/office/drawing/2014/main" id="{B611E627-E6E3-4EC2-8078-04E7B46FC4EB}"/>
                  </a:ext>
                </a:extLst>
              </p:cNvPr>
              <p:cNvSpPr/>
              <p:nvPr/>
            </p:nvSpPr>
            <p:spPr>
              <a:xfrm>
                <a:off x="6519784" y="1695694"/>
                <a:ext cx="21769" cy="13157"/>
              </a:xfrm>
              <a:custGeom>
                <a:avLst/>
                <a:gdLst>
                  <a:gd name="connsiteX0" fmla="*/ 21770 w 21769"/>
                  <a:gd name="connsiteY0" fmla="*/ 13158 h 13157"/>
                  <a:gd name="connsiteX1" fmla="*/ 19198 w 21769"/>
                  <a:gd name="connsiteY1" fmla="*/ 11603 h 13157"/>
                  <a:gd name="connsiteX2" fmla="*/ 16627 w 21769"/>
                  <a:gd name="connsiteY2" fmla="*/ 10048 h 13157"/>
                  <a:gd name="connsiteX3" fmla="*/ 14055 w 21769"/>
                  <a:gd name="connsiteY3" fmla="*/ 8493 h 13157"/>
                  <a:gd name="connsiteX4" fmla="*/ 11483 w 21769"/>
                  <a:gd name="connsiteY4" fmla="*/ 6938 h 13157"/>
                  <a:gd name="connsiteX5" fmla="*/ 8911 w 21769"/>
                  <a:gd name="connsiteY5" fmla="*/ 5383 h 13157"/>
                  <a:gd name="connsiteX6" fmla="*/ 6340 w 21769"/>
                  <a:gd name="connsiteY6" fmla="*/ 3828 h 13157"/>
                  <a:gd name="connsiteX7" fmla="*/ 5742 w 21769"/>
                  <a:gd name="connsiteY7" fmla="*/ 3469 h 13157"/>
                  <a:gd name="connsiteX8" fmla="*/ 3170 w 21769"/>
                  <a:gd name="connsiteY8" fmla="*/ 1914 h 13157"/>
                  <a:gd name="connsiteX9" fmla="*/ 2990 w 21769"/>
                  <a:gd name="connsiteY9" fmla="*/ 1794 h 13157"/>
                  <a:gd name="connsiteX10" fmla="*/ 1196 w 21769"/>
                  <a:gd name="connsiteY10" fmla="*/ 718 h 13157"/>
                  <a:gd name="connsiteX11" fmla="*/ 0 w 21769"/>
                  <a:gd name="connsiteY11" fmla="*/ 0 h 1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69" h="13157">
                    <a:moveTo>
                      <a:pt x="21770" y="13158"/>
                    </a:moveTo>
                    <a:lnTo>
                      <a:pt x="19198" y="11603"/>
                    </a:lnTo>
                    <a:lnTo>
                      <a:pt x="16627" y="10048"/>
                    </a:lnTo>
                    <a:lnTo>
                      <a:pt x="14055" y="8493"/>
                    </a:lnTo>
                    <a:lnTo>
                      <a:pt x="11483" y="6938"/>
                    </a:lnTo>
                    <a:lnTo>
                      <a:pt x="8911" y="5383"/>
                    </a:lnTo>
                    <a:lnTo>
                      <a:pt x="6340" y="3828"/>
                    </a:lnTo>
                    <a:lnTo>
                      <a:pt x="5742" y="3469"/>
                    </a:lnTo>
                    <a:lnTo>
                      <a:pt x="3170" y="1914"/>
                    </a:lnTo>
                    <a:lnTo>
                      <a:pt x="2990" y="1794"/>
                    </a:lnTo>
                    <a:lnTo>
                      <a:pt x="1196" y="71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72" name="Vrije vorm: vorm 5471">
                <a:extLst>
                  <a:ext uri="{FF2B5EF4-FFF2-40B4-BE49-F238E27FC236}">
                    <a16:creationId xmlns:a16="http://schemas.microsoft.com/office/drawing/2014/main" id="{9AAA9625-D7B7-4F89-81C2-8A9E4D47FB97}"/>
                  </a:ext>
                </a:extLst>
              </p:cNvPr>
              <p:cNvSpPr/>
              <p:nvPr/>
            </p:nvSpPr>
            <p:spPr>
              <a:xfrm>
                <a:off x="6532523" y="1675360"/>
                <a:ext cx="9270" cy="33432"/>
              </a:xfrm>
              <a:custGeom>
                <a:avLst/>
                <a:gdLst>
                  <a:gd name="connsiteX0" fmla="*/ 0 w 9270"/>
                  <a:gd name="connsiteY0" fmla="*/ 0 h 33432"/>
                  <a:gd name="connsiteX1" fmla="*/ 837 w 9270"/>
                  <a:gd name="connsiteY1" fmla="*/ 2990 h 33432"/>
                  <a:gd name="connsiteX2" fmla="*/ 1675 w 9270"/>
                  <a:gd name="connsiteY2" fmla="*/ 5981 h 33432"/>
                  <a:gd name="connsiteX3" fmla="*/ 2512 w 9270"/>
                  <a:gd name="connsiteY3" fmla="*/ 8971 h 33432"/>
                  <a:gd name="connsiteX4" fmla="*/ 3349 w 9270"/>
                  <a:gd name="connsiteY4" fmla="*/ 11961 h 33432"/>
                  <a:gd name="connsiteX5" fmla="*/ 3588 w 9270"/>
                  <a:gd name="connsiteY5" fmla="*/ 12799 h 33432"/>
                  <a:gd name="connsiteX6" fmla="*/ 4246 w 9270"/>
                  <a:gd name="connsiteY6" fmla="*/ 15131 h 33432"/>
                  <a:gd name="connsiteX7" fmla="*/ 4366 w 9270"/>
                  <a:gd name="connsiteY7" fmla="*/ 15490 h 33432"/>
                  <a:gd name="connsiteX8" fmla="*/ 4904 w 9270"/>
                  <a:gd name="connsiteY8" fmla="*/ 17524 h 33432"/>
                  <a:gd name="connsiteX9" fmla="*/ 5742 w 9270"/>
                  <a:gd name="connsiteY9" fmla="*/ 20514 h 33432"/>
                  <a:gd name="connsiteX10" fmla="*/ 6579 w 9270"/>
                  <a:gd name="connsiteY10" fmla="*/ 23504 h 33432"/>
                  <a:gd name="connsiteX11" fmla="*/ 6818 w 9270"/>
                  <a:gd name="connsiteY11" fmla="*/ 24461 h 33432"/>
                  <a:gd name="connsiteX12" fmla="*/ 6878 w 9270"/>
                  <a:gd name="connsiteY12" fmla="*/ 24760 h 33432"/>
                  <a:gd name="connsiteX13" fmla="*/ 7715 w 9270"/>
                  <a:gd name="connsiteY13" fmla="*/ 27751 h 33432"/>
                  <a:gd name="connsiteX14" fmla="*/ 7775 w 9270"/>
                  <a:gd name="connsiteY14" fmla="*/ 27930 h 33432"/>
                  <a:gd name="connsiteX15" fmla="*/ 8612 w 9270"/>
                  <a:gd name="connsiteY15" fmla="*/ 30920 h 33432"/>
                  <a:gd name="connsiteX16" fmla="*/ 9031 w 9270"/>
                  <a:gd name="connsiteY16" fmla="*/ 32595 h 33432"/>
                  <a:gd name="connsiteX17" fmla="*/ 9270 w 9270"/>
                  <a:gd name="connsiteY17" fmla="*/ 33432 h 3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70" h="33432">
                    <a:moveTo>
                      <a:pt x="0" y="0"/>
                    </a:moveTo>
                    <a:lnTo>
                      <a:pt x="837" y="2990"/>
                    </a:lnTo>
                    <a:lnTo>
                      <a:pt x="1675" y="5981"/>
                    </a:lnTo>
                    <a:lnTo>
                      <a:pt x="2512" y="8971"/>
                    </a:lnTo>
                    <a:lnTo>
                      <a:pt x="3349" y="11961"/>
                    </a:lnTo>
                    <a:lnTo>
                      <a:pt x="3588" y="12799"/>
                    </a:lnTo>
                    <a:lnTo>
                      <a:pt x="4246" y="15131"/>
                    </a:lnTo>
                    <a:lnTo>
                      <a:pt x="4366" y="15490"/>
                    </a:lnTo>
                    <a:lnTo>
                      <a:pt x="4904" y="17524"/>
                    </a:lnTo>
                    <a:lnTo>
                      <a:pt x="5742" y="20514"/>
                    </a:lnTo>
                    <a:lnTo>
                      <a:pt x="6579" y="23504"/>
                    </a:lnTo>
                    <a:lnTo>
                      <a:pt x="6818" y="24461"/>
                    </a:lnTo>
                    <a:lnTo>
                      <a:pt x="6878" y="24760"/>
                    </a:lnTo>
                    <a:lnTo>
                      <a:pt x="7715" y="27751"/>
                    </a:lnTo>
                    <a:lnTo>
                      <a:pt x="7775" y="27930"/>
                    </a:lnTo>
                    <a:lnTo>
                      <a:pt x="8612" y="30920"/>
                    </a:lnTo>
                    <a:lnTo>
                      <a:pt x="9031" y="32595"/>
                    </a:lnTo>
                    <a:lnTo>
                      <a:pt x="9270" y="33432"/>
                    </a:lnTo>
                  </a:path>
                </a:pathLst>
              </a:custGeom>
              <a:noFill/>
              <a:ln w="6350" cap="rnd">
                <a:solidFill>
                  <a:schemeClr val="bg1">
                    <a:alpha val="80000"/>
                  </a:schemeClr>
                </a:solidFill>
                <a:prstDash val="solid"/>
                <a:round/>
              </a:ln>
            </p:spPr>
            <p:txBody>
              <a:bodyPr rtlCol="0" anchor="ctr"/>
              <a:lstStyle/>
              <a:p>
                <a:endParaRPr lang="en-GB"/>
              </a:p>
            </p:txBody>
          </p:sp>
          <p:sp>
            <p:nvSpPr>
              <p:cNvPr id="5473" name="Vrije vorm: vorm 5472">
                <a:extLst>
                  <a:ext uri="{FF2B5EF4-FFF2-40B4-BE49-F238E27FC236}">
                    <a16:creationId xmlns:a16="http://schemas.microsoft.com/office/drawing/2014/main" id="{1F8A6316-5B73-406C-9B20-DED75DEA2512}"/>
                  </a:ext>
                </a:extLst>
              </p:cNvPr>
              <p:cNvSpPr/>
              <p:nvPr/>
            </p:nvSpPr>
            <p:spPr>
              <a:xfrm>
                <a:off x="6486651" y="1558497"/>
                <a:ext cx="7715" cy="32535"/>
              </a:xfrm>
              <a:custGeom>
                <a:avLst/>
                <a:gdLst>
                  <a:gd name="connsiteX0" fmla="*/ 0 w 7715"/>
                  <a:gd name="connsiteY0" fmla="*/ 0 h 32535"/>
                  <a:gd name="connsiteX1" fmla="*/ 718 w 7715"/>
                  <a:gd name="connsiteY1" fmla="*/ 3050 h 32535"/>
                  <a:gd name="connsiteX2" fmla="*/ 1435 w 7715"/>
                  <a:gd name="connsiteY2" fmla="*/ 6100 h 32535"/>
                  <a:gd name="connsiteX3" fmla="*/ 1615 w 7715"/>
                  <a:gd name="connsiteY3" fmla="*/ 6878 h 32535"/>
                  <a:gd name="connsiteX4" fmla="*/ 2033 w 7715"/>
                  <a:gd name="connsiteY4" fmla="*/ 8493 h 32535"/>
                  <a:gd name="connsiteX5" fmla="*/ 2452 w 7715"/>
                  <a:gd name="connsiteY5" fmla="*/ 10167 h 32535"/>
                  <a:gd name="connsiteX6" fmla="*/ 2452 w 7715"/>
                  <a:gd name="connsiteY6" fmla="*/ 10167 h 32535"/>
                  <a:gd name="connsiteX7" fmla="*/ 3050 w 7715"/>
                  <a:gd name="connsiteY7" fmla="*/ 12679 h 32535"/>
                  <a:gd name="connsiteX8" fmla="*/ 3229 w 7715"/>
                  <a:gd name="connsiteY8" fmla="*/ 13457 h 32535"/>
                  <a:gd name="connsiteX9" fmla="*/ 3349 w 7715"/>
                  <a:gd name="connsiteY9" fmla="*/ 13935 h 32535"/>
                  <a:gd name="connsiteX10" fmla="*/ 4067 w 7715"/>
                  <a:gd name="connsiteY10" fmla="*/ 16985 h 32535"/>
                  <a:gd name="connsiteX11" fmla="*/ 4366 w 7715"/>
                  <a:gd name="connsiteY11" fmla="*/ 18181 h 32535"/>
                  <a:gd name="connsiteX12" fmla="*/ 4665 w 7715"/>
                  <a:gd name="connsiteY12" fmla="*/ 19497 h 32535"/>
                  <a:gd name="connsiteX13" fmla="*/ 5382 w 7715"/>
                  <a:gd name="connsiteY13" fmla="*/ 22547 h 32535"/>
                  <a:gd name="connsiteX14" fmla="*/ 5622 w 7715"/>
                  <a:gd name="connsiteY14" fmla="*/ 23504 h 32535"/>
                  <a:gd name="connsiteX15" fmla="*/ 5921 w 7715"/>
                  <a:gd name="connsiteY15" fmla="*/ 24820 h 32535"/>
                  <a:gd name="connsiteX16" fmla="*/ 6399 w 7715"/>
                  <a:gd name="connsiteY16" fmla="*/ 26794 h 32535"/>
                  <a:gd name="connsiteX17" fmla="*/ 6399 w 7715"/>
                  <a:gd name="connsiteY17" fmla="*/ 26794 h 32535"/>
                  <a:gd name="connsiteX18" fmla="*/ 7117 w 7715"/>
                  <a:gd name="connsiteY18" fmla="*/ 29844 h 32535"/>
                  <a:gd name="connsiteX19" fmla="*/ 7236 w 7715"/>
                  <a:gd name="connsiteY19" fmla="*/ 30442 h 32535"/>
                  <a:gd name="connsiteX20" fmla="*/ 7296 w 7715"/>
                  <a:gd name="connsiteY20" fmla="*/ 30741 h 32535"/>
                  <a:gd name="connsiteX21" fmla="*/ 7296 w 7715"/>
                  <a:gd name="connsiteY21" fmla="*/ 30741 h 32535"/>
                  <a:gd name="connsiteX22" fmla="*/ 7416 w 7715"/>
                  <a:gd name="connsiteY22" fmla="*/ 31160 h 32535"/>
                  <a:gd name="connsiteX23" fmla="*/ 7715 w 7715"/>
                  <a:gd name="connsiteY23" fmla="*/ 32535 h 32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715" h="32535">
                    <a:moveTo>
                      <a:pt x="0" y="0"/>
                    </a:moveTo>
                    <a:lnTo>
                      <a:pt x="718" y="3050"/>
                    </a:lnTo>
                    <a:lnTo>
                      <a:pt x="1435" y="6100"/>
                    </a:lnTo>
                    <a:lnTo>
                      <a:pt x="1615" y="6878"/>
                    </a:lnTo>
                    <a:lnTo>
                      <a:pt x="2033" y="8493"/>
                    </a:lnTo>
                    <a:lnTo>
                      <a:pt x="2452" y="10167"/>
                    </a:lnTo>
                    <a:lnTo>
                      <a:pt x="2452" y="10167"/>
                    </a:lnTo>
                    <a:lnTo>
                      <a:pt x="3050" y="12679"/>
                    </a:lnTo>
                    <a:lnTo>
                      <a:pt x="3229" y="13457"/>
                    </a:lnTo>
                    <a:lnTo>
                      <a:pt x="3349" y="13935"/>
                    </a:lnTo>
                    <a:lnTo>
                      <a:pt x="4067" y="16985"/>
                    </a:lnTo>
                    <a:lnTo>
                      <a:pt x="4366" y="18181"/>
                    </a:lnTo>
                    <a:lnTo>
                      <a:pt x="4665" y="19497"/>
                    </a:lnTo>
                    <a:lnTo>
                      <a:pt x="5382" y="22547"/>
                    </a:lnTo>
                    <a:lnTo>
                      <a:pt x="5622" y="23504"/>
                    </a:lnTo>
                    <a:lnTo>
                      <a:pt x="5921" y="24820"/>
                    </a:lnTo>
                    <a:lnTo>
                      <a:pt x="6399" y="26794"/>
                    </a:lnTo>
                    <a:lnTo>
                      <a:pt x="6399" y="26794"/>
                    </a:lnTo>
                    <a:lnTo>
                      <a:pt x="7117" y="29844"/>
                    </a:lnTo>
                    <a:lnTo>
                      <a:pt x="7236" y="30442"/>
                    </a:lnTo>
                    <a:lnTo>
                      <a:pt x="7296" y="30741"/>
                    </a:lnTo>
                    <a:lnTo>
                      <a:pt x="7296" y="30741"/>
                    </a:lnTo>
                    <a:lnTo>
                      <a:pt x="7416" y="31160"/>
                    </a:lnTo>
                    <a:lnTo>
                      <a:pt x="7715" y="32535"/>
                    </a:lnTo>
                  </a:path>
                </a:pathLst>
              </a:custGeom>
              <a:noFill/>
              <a:ln w="6350" cap="rnd">
                <a:solidFill>
                  <a:schemeClr val="bg1">
                    <a:alpha val="80000"/>
                  </a:schemeClr>
                </a:solidFill>
                <a:prstDash val="solid"/>
                <a:round/>
              </a:ln>
            </p:spPr>
            <p:txBody>
              <a:bodyPr rtlCol="0" anchor="ctr"/>
              <a:lstStyle/>
              <a:p>
                <a:endParaRPr lang="en-GB"/>
              </a:p>
            </p:txBody>
          </p:sp>
          <p:sp>
            <p:nvSpPr>
              <p:cNvPr id="5474" name="Vrije vorm: vorm 5473">
                <a:extLst>
                  <a:ext uri="{FF2B5EF4-FFF2-40B4-BE49-F238E27FC236}">
                    <a16:creationId xmlns:a16="http://schemas.microsoft.com/office/drawing/2014/main" id="{0D593A4B-2562-4A50-8E37-99B55C31F8B8}"/>
                  </a:ext>
                </a:extLst>
              </p:cNvPr>
              <p:cNvSpPr/>
              <p:nvPr/>
            </p:nvSpPr>
            <p:spPr>
              <a:xfrm>
                <a:off x="6438147" y="1546116"/>
                <a:ext cx="27929" cy="40250"/>
              </a:xfrm>
              <a:custGeom>
                <a:avLst/>
                <a:gdLst>
                  <a:gd name="connsiteX0" fmla="*/ 0 w 27929"/>
                  <a:gd name="connsiteY0" fmla="*/ 40071 h 40250"/>
                  <a:gd name="connsiteX1" fmla="*/ 299 w 27929"/>
                  <a:gd name="connsiteY1" fmla="*/ 40071 h 40250"/>
                  <a:gd name="connsiteX2" fmla="*/ 2811 w 27929"/>
                  <a:gd name="connsiteY2" fmla="*/ 40250 h 40250"/>
                  <a:gd name="connsiteX3" fmla="*/ 5741 w 27929"/>
                  <a:gd name="connsiteY3" fmla="*/ 39174 h 40250"/>
                  <a:gd name="connsiteX4" fmla="*/ 6280 w 27929"/>
                  <a:gd name="connsiteY4" fmla="*/ 38994 h 40250"/>
                  <a:gd name="connsiteX5" fmla="*/ 8971 w 27929"/>
                  <a:gd name="connsiteY5" fmla="*/ 37200 h 40250"/>
                  <a:gd name="connsiteX6" fmla="*/ 10227 w 27929"/>
                  <a:gd name="connsiteY6" fmla="*/ 36363 h 40250"/>
                  <a:gd name="connsiteX7" fmla="*/ 10645 w 27929"/>
                  <a:gd name="connsiteY7" fmla="*/ 36004 h 40250"/>
                  <a:gd name="connsiteX8" fmla="*/ 13038 w 27929"/>
                  <a:gd name="connsiteY8" fmla="*/ 33791 h 40250"/>
                  <a:gd name="connsiteX9" fmla="*/ 14413 w 27929"/>
                  <a:gd name="connsiteY9" fmla="*/ 32535 h 40250"/>
                  <a:gd name="connsiteX10" fmla="*/ 14832 w 27929"/>
                  <a:gd name="connsiteY10" fmla="*/ 31997 h 40250"/>
                  <a:gd name="connsiteX11" fmla="*/ 16925 w 27929"/>
                  <a:gd name="connsiteY11" fmla="*/ 29485 h 40250"/>
                  <a:gd name="connsiteX12" fmla="*/ 18420 w 27929"/>
                  <a:gd name="connsiteY12" fmla="*/ 27691 h 40250"/>
                  <a:gd name="connsiteX13" fmla="*/ 20215 w 27929"/>
                  <a:gd name="connsiteY13" fmla="*/ 24940 h 40250"/>
                  <a:gd name="connsiteX14" fmla="*/ 22009 w 27929"/>
                  <a:gd name="connsiteY14" fmla="*/ 22248 h 40250"/>
                  <a:gd name="connsiteX15" fmla="*/ 23504 w 27929"/>
                  <a:gd name="connsiteY15" fmla="*/ 19318 h 40250"/>
                  <a:gd name="connsiteX16" fmla="*/ 24461 w 27929"/>
                  <a:gd name="connsiteY16" fmla="*/ 17524 h 40250"/>
                  <a:gd name="connsiteX17" fmla="*/ 24940 w 27929"/>
                  <a:gd name="connsiteY17" fmla="*/ 16626 h 40250"/>
                  <a:gd name="connsiteX18" fmla="*/ 26076 w 27929"/>
                  <a:gd name="connsiteY18" fmla="*/ 13576 h 40250"/>
                  <a:gd name="connsiteX19" fmla="*/ 26674 w 27929"/>
                  <a:gd name="connsiteY19" fmla="*/ 11961 h 40250"/>
                  <a:gd name="connsiteX20" fmla="*/ 26973 w 27929"/>
                  <a:gd name="connsiteY20" fmla="*/ 11244 h 40250"/>
                  <a:gd name="connsiteX21" fmla="*/ 27631 w 27929"/>
                  <a:gd name="connsiteY21" fmla="*/ 8074 h 40250"/>
                  <a:gd name="connsiteX22" fmla="*/ 27930 w 27929"/>
                  <a:gd name="connsiteY22" fmla="*/ 6459 h 40250"/>
                  <a:gd name="connsiteX23" fmla="*/ 27810 w 27929"/>
                  <a:gd name="connsiteY23" fmla="*/ 3289 h 40250"/>
                  <a:gd name="connsiteX24" fmla="*/ 27810 w 27929"/>
                  <a:gd name="connsiteY24" fmla="*/ 2632 h 40250"/>
                  <a:gd name="connsiteX25" fmla="*/ 26794 w 27929"/>
                  <a:gd name="connsiteY25" fmla="*/ 359 h 40250"/>
                  <a:gd name="connsiteX26" fmla="*/ 26614 w 27929"/>
                  <a:gd name="connsiteY26" fmla="*/ 0 h 4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929" h="40250">
                    <a:moveTo>
                      <a:pt x="0" y="40071"/>
                    </a:moveTo>
                    <a:lnTo>
                      <a:pt x="299" y="40071"/>
                    </a:lnTo>
                    <a:lnTo>
                      <a:pt x="2811" y="40250"/>
                    </a:lnTo>
                    <a:lnTo>
                      <a:pt x="5741" y="39174"/>
                    </a:lnTo>
                    <a:lnTo>
                      <a:pt x="6280" y="38994"/>
                    </a:lnTo>
                    <a:lnTo>
                      <a:pt x="8971" y="37200"/>
                    </a:lnTo>
                    <a:lnTo>
                      <a:pt x="10227" y="36363"/>
                    </a:lnTo>
                    <a:lnTo>
                      <a:pt x="10645" y="36004"/>
                    </a:lnTo>
                    <a:lnTo>
                      <a:pt x="13038" y="33791"/>
                    </a:lnTo>
                    <a:lnTo>
                      <a:pt x="14413" y="32535"/>
                    </a:lnTo>
                    <a:lnTo>
                      <a:pt x="14832" y="31997"/>
                    </a:lnTo>
                    <a:lnTo>
                      <a:pt x="16925" y="29485"/>
                    </a:lnTo>
                    <a:lnTo>
                      <a:pt x="18420" y="27691"/>
                    </a:lnTo>
                    <a:lnTo>
                      <a:pt x="20215" y="24940"/>
                    </a:lnTo>
                    <a:lnTo>
                      <a:pt x="22009" y="22248"/>
                    </a:lnTo>
                    <a:lnTo>
                      <a:pt x="23504" y="19318"/>
                    </a:lnTo>
                    <a:lnTo>
                      <a:pt x="24461" y="17524"/>
                    </a:lnTo>
                    <a:lnTo>
                      <a:pt x="24940" y="16626"/>
                    </a:lnTo>
                    <a:lnTo>
                      <a:pt x="26076" y="13576"/>
                    </a:lnTo>
                    <a:lnTo>
                      <a:pt x="26674" y="11961"/>
                    </a:lnTo>
                    <a:lnTo>
                      <a:pt x="26973" y="11244"/>
                    </a:lnTo>
                    <a:lnTo>
                      <a:pt x="27631" y="8074"/>
                    </a:lnTo>
                    <a:lnTo>
                      <a:pt x="27930" y="6459"/>
                    </a:lnTo>
                    <a:lnTo>
                      <a:pt x="27810" y="3289"/>
                    </a:lnTo>
                    <a:lnTo>
                      <a:pt x="27810" y="2632"/>
                    </a:lnTo>
                    <a:lnTo>
                      <a:pt x="26794" y="359"/>
                    </a:lnTo>
                    <a:lnTo>
                      <a:pt x="26614" y="0"/>
                    </a:lnTo>
                  </a:path>
                </a:pathLst>
              </a:custGeom>
              <a:noFill/>
              <a:ln w="6350" cap="rnd">
                <a:solidFill>
                  <a:schemeClr val="bg1">
                    <a:alpha val="80000"/>
                  </a:schemeClr>
                </a:solidFill>
                <a:prstDash val="solid"/>
                <a:round/>
              </a:ln>
            </p:spPr>
            <p:txBody>
              <a:bodyPr rtlCol="0" anchor="ctr"/>
              <a:lstStyle/>
              <a:p>
                <a:endParaRPr lang="en-GB"/>
              </a:p>
            </p:txBody>
          </p:sp>
          <p:sp>
            <p:nvSpPr>
              <p:cNvPr id="5475" name="Vrije vorm: vorm 5474">
                <a:extLst>
                  <a:ext uri="{FF2B5EF4-FFF2-40B4-BE49-F238E27FC236}">
                    <a16:creationId xmlns:a16="http://schemas.microsoft.com/office/drawing/2014/main" id="{2873AFE3-C74E-49A2-A1C3-C8968CBFE76B}"/>
                  </a:ext>
                </a:extLst>
              </p:cNvPr>
              <p:cNvSpPr/>
              <p:nvPr/>
            </p:nvSpPr>
            <p:spPr>
              <a:xfrm>
                <a:off x="6435276" y="1544861"/>
                <a:ext cx="29305" cy="41266"/>
              </a:xfrm>
              <a:custGeom>
                <a:avLst/>
                <a:gdLst>
                  <a:gd name="connsiteX0" fmla="*/ 29306 w 29305"/>
                  <a:gd name="connsiteY0" fmla="*/ 1316 h 41266"/>
                  <a:gd name="connsiteX1" fmla="*/ 27153 w 29305"/>
                  <a:gd name="connsiteY1" fmla="*/ 0 h 41266"/>
                  <a:gd name="connsiteX2" fmla="*/ 24222 w 29305"/>
                  <a:gd name="connsiteY2" fmla="*/ 120 h 41266"/>
                  <a:gd name="connsiteX3" fmla="*/ 21351 w 29305"/>
                  <a:gd name="connsiteY3" fmla="*/ 1376 h 41266"/>
                  <a:gd name="connsiteX4" fmla="*/ 20753 w 29305"/>
                  <a:gd name="connsiteY4" fmla="*/ 1615 h 41266"/>
                  <a:gd name="connsiteX5" fmla="*/ 18122 w 29305"/>
                  <a:gd name="connsiteY5" fmla="*/ 3469 h 41266"/>
                  <a:gd name="connsiteX6" fmla="*/ 16866 w 29305"/>
                  <a:gd name="connsiteY6" fmla="*/ 4366 h 41266"/>
                  <a:gd name="connsiteX7" fmla="*/ 14533 w 29305"/>
                  <a:gd name="connsiteY7" fmla="*/ 6639 h 41266"/>
                  <a:gd name="connsiteX8" fmla="*/ 12919 w 29305"/>
                  <a:gd name="connsiteY8" fmla="*/ 8194 h 41266"/>
                  <a:gd name="connsiteX9" fmla="*/ 10885 w 29305"/>
                  <a:gd name="connsiteY9" fmla="*/ 10705 h 41266"/>
                  <a:gd name="connsiteX10" fmla="*/ 9151 w 29305"/>
                  <a:gd name="connsiteY10" fmla="*/ 12799 h 41266"/>
                  <a:gd name="connsiteX11" fmla="*/ 7357 w 29305"/>
                  <a:gd name="connsiteY11" fmla="*/ 15550 h 41266"/>
                  <a:gd name="connsiteX12" fmla="*/ 5801 w 29305"/>
                  <a:gd name="connsiteY12" fmla="*/ 17942 h 41266"/>
                  <a:gd name="connsiteX13" fmla="*/ 4306 w 29305"/>
                  <a:gd name="connsiteY13" fmla="*/ 20813 h 41266"/>
                  <a:gd name="connsiteX14" fmla="*/ 3050 w 29305"/>
                  <a:gd name="connsiteY14" fmla="*/ 23205 h 41266"/>
                  <a:gd name="connsiteX15" fmla="*/ 1914 w 29305"/>
                  <a:gd name="connsiteY15" fmla="*/ 26255 h 41266"/>
                  <a:gd name="connsiteX16" fmla="*/ 1136 w 29305"/>
                  <a:gd name="connsiteY16" fmla="*/ 28349 h 41266"/>
                  <a:gd name="connsiteX17" fmla="*/ 419 w 29305"/>
                  <a:gd name="connsiteY17" fmla="*/ 31518 h 41266"/>
                  <a:gd name="connsiteX18" fmla="*/ 60 w 29305"/>
                  <a:gd name="connsiteY18" fmla="*/ 33014 h 41266"/>
                  <a:gd name="connsiteX19" fmla="*/ 0 w 29305"/>
                  <a:gd name="connsiteY19" fmla="*/ 36183 h 41266"/>
                  <a:gd name="connsiteX20" fmla="*/ 0 w 29305"/>
                  <a:gd name="connsiteY20" fmla="*/ 36901 h 41266"/>
                  <a:gd name="connsiteX21" fmla="*/ 957 w 29305"/>
                  <a:gd name="connsiteY21" fmla="*/ 39712 h 41266"/>
                  <a:gd name="connsiteX22" fmla="*/ 2871 w 29305"/>
                  <a:gd name="connsiteY22" fmla="*/ 41267 h 4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305" h="41266">
                    <a:moveTo>
                      <a:pt x="29306" y="1316"/>
                    </a:moveTo>
                    <a:lnTo>
                      <a:pt x="27153" y="0"/>
                    </a:lnTo>
                    <a:lnTo>
                      <a:pt x="24222" y="120"/>
                    </a:lnTo>
                    <a:lnTo>
                      <a:pt x="21351" y="1376"/>
                    </a:lnTo>
                    <a:lnTo>
                      <a:pt x="20753" y="1615"/>
                    </a:lnTo>
                    <a:lnTo>
                      <a:pt x="18122" y="3469"/>
                    </a:lnTo>
                    <a:lnTo>
                      <a:pt x="16866" y="4366"/>
                    </a:lnTo>
                    <a:lnTo>
                      <a:pt x="14533" y="6639"/>
                    </a:lnTo>
                    <a:lnTo>
                      <a:pt x="12919" y="8194"/>
                    </a:lnTo>
                    <a:lnTo>
                      <a:pt x="10885" y="10705"/>
                    </a:lnTo>
                    <a:lnTo>
                      <a:pt x="9151" y="12799"/>
                    </a:lnTo>
                    <a:lnTo>
                      <a:pt x="7357" y="15550"/>
                    </a:lnTo>
                    <a:lnTo>
                      <a:pt x="5801" y="17942"/>
                    </a:lnTo>
                    <a:lnTo>
                      <a:pt x="4306" y="20813"/>
                    </a:lnTo>
                    <a:lnTo>
                      <a:pt x="3050" y="23205"/>
                    </a:lnTo>
                    <a:lnTo>
                      <a:pt x="1914" y="26255"/>
                    </a:lnTo>
                    <a:lnTo>
                      <a:pt x="1136" y="28349"/>
                    </a:lnTo>
                    <a:lnTo>
                      <a:pt x="419" y="31518"/>
                    </a:lnTo>
                    <a:lnTo>
                      <a:pt x="60" y="33014"/>
                    </a:lnTo>
                    <a:lnTo>
                      <a:pt x="0" y="36183"/>
                    </a:lnTo>
                    <a:lnTo>
                      <a:pt x="0" y="36901"/>
                    </a:lnTo>
                    <a:lnTo>
                      <a:pt x="957" y="39712"/>
                    </a:lnTo>
                    <a:lnTo>
                      <a:pt x="2871" y="41267"/>
                    </a:lnTo>
                  </a:path>
                </a:pathLst>
              </a:custGeom>
              <a:noFill/>
              <a:ln w="6350" cap="rnd">
                <a:solidFill>
                  <a:schemeClr val="bg1">
                    <a:alpha val="80000"/>
                  </a:schemeClr>
                </a:solidFill>
                <a:prstDash val="solid"/>
                <a:round/>
              </a:ln>
            </p:spPr>
            <p:txBody>
              <a:bodyPr rtlCol="0" anchor="ctr"/>
              <a:lstStyle/>
              <a:p>
                <a:endParaRPr lang="en-GB"/>
              </a:p>
            </p:txBody>
          </p:sp>
          <p:sp>
            <p:nvSpPr>
              <p:cNvPr id="5476" name="Vrije vorm: vorm 5475">
                <a:extLst>
                  <a:ext uri="{FF2B5EF4-FFF2-40B4-BE49-F238E27FC236}">
                    <a16:creationId xmlns:a16="http://schemas.microsoft.com/office/drawing/2014/main" id="{46A20B19-A1C2-4480-A30B-3BD95EF366B9}"/>
                  </a:ext>
                </a:extLst>
              </p:cNvPr>
              <p:cNvSpPr/>
              <p:nvPr/>
            </p:nvSpPr>
            <p:spPr>
              <a:xfrm>
                <a:off x="6465240" y="1616031"/>
                <a:ext cx="1196" cy="1854"/>
              </a:xfrm>
              <a:custGeom>
                <a:avLst/>
                <a:gdLst>
                  <a:gd name="connsiteX0" fmla="*/ 120 w 1196"/>
                  <a:gd name="connsiteY0" fmla="*/ 1495 h 1854"/>
                  <a:gd name="connsiteX1" fmla="*/ 239 w 1196"/>
                  <a:gd name="connsiteY1" fmla="*/ 1495 h 1854"/>
                  <a:gd name="connsiteX2" fmla="*/ 299 w 1196"/>
                  <a:gd name="connsiteY2" fmla="*/ 1495 h 1854"/>
                  <a:gd name="connsiteX3" fmla="*/ 359 w 1196"/>
                  <a:gd name="connsiteY3" fmla="*/ 1495 h 1854"/>
                  <a:gd name="connsiteX4" fmla="*/ 419 w 1196"/>
                  <a:gd name="connsiteY4" fmla="*/ 1495 h 1854"/>
                  <a:gd name="connsiteX5" fmla="*/ 598 w 1196"/>
                  <a:gd name="connsiteY5" fmla="*/ 1435 h 1854"/>
                  <a:gd name="connsiteX6" fmla="*/ 598 w 1196"/>
                  <a:gd name="connsiteY6" fmla="*/ 1435 h 1854"/>
                  <a:gd name="connsiteX7" fmla="*/ 778 w 1196"/>
                  <a:gd name="connsiteY7" fmla="*/ 1316 h 1854"/>
                  <a:gd name="connsiteX8" fmla="*/ 897 w 1196"/>
                  <a:gd name="connsiteY8" fmla="*/ 1136 h 1854"/>
                  <a:gd name="connsiteX9" fmla="*/ 1017 w 1196"/>
                  <a:gd name="connsiteY9" fmla="*/ 957 h 1854"/>
                  <a:gd name="connsiteX10" fmla="*/ 1076 w 1196"/>
                  <a:gd name="connsiteY10" fmla="*/ 897 h 1854"/>
                  <a:gd name="connsiteX11" fmla="*/ 1136 w 1196"/>
                  <a:gd name="connsiteY11" fmla="*/ 778 h 1854"/>
                  <a:gd name="connsiteX12" fmla="*/ 1196 w 1196"/>
                  <a:gd name="connsiteY12" fmla="*/ 538 h 1854"/>
                  <a:gd name="connsiteX13" fmla="*/ 1196 w 1196"/>
                  <a:gd name="connsiteY13" fmla="*/ 419 h 1854"/>
                  <a:gd name="connsiteX14" fmla="*/ 1196 w 1196"/>
                  <a:gd name="connsiteY14" fmla="*/ 359 h 1854"/>
                  <a:gd name="connsiteX15" fmla="*/ 1196 w 1196"/>
                  <a:gd name="connsiteY15" fmla="*/ 179 h 1854"/>
                  <a:gd name="connsiteX16" fmla="*/ 1136 w 1196"/>
                  <a:gd name="connsiteY16" fmla="*/ 60 h 1854"/>
                  <a:gd name="connsiteX17" fmla="*/ 1017 w 1196"/>
                  <a:gd name="connsiteY17" fmla="*/ 0 h 1854"/>
                  <a:gd name="connsiteX18" fmla="*/ 1017 w 1196"/>
                  <a:gd name="connsiteY18" fmla="*/ 0 h 1854"/>
                  <a:gd name="connsiteX19" fmla="*/ 897 w 1196"/>
                  <a:gd name="connsiteY19" fmla="*/ 0 h 1854"/>
                  <a:gd name="connsiteX20" fmla="*/ 778 w 1196"/>
                  <a:gd name="connsiteY20" fmla="*/ 60 h 1854"/>
                  <a:gd name="connsiteX21" fmla="*/ 598 w 1196"/>
                  <a:gd name="connsiteY21" fmla="*/ 120 h 1854"/>
                  <a:gd name="connsiteX22" fmla="*/ 419 w 1196"/>
                  <a:gd name="connsiteY22" fmla="*/ 239 h 1854"/>
                  <a:gd name="connsiteX23" fmla="*/ 299 w 1196"/>
                  <a:gd name="connsiteY23" fmla="*/ 419 h 1854"/>
                  <a:gd name="connsiteX24" fmla="*/ 180 w 1196"/>
                  <a:gd name="connsiteY24" fmla="*/ 598 h 1854"/>
                  <a:gd name="connsiteX25" fmla="*/ 60 w 1196"/>
                  <a:gd name="connsiteY25" fmla="*/ 837 h 1854"/>
                  <a:gd name="connsiteX26" fmla="*/ 0 w 1196"/>
                  <a:gd name="connsiteY26" fmla="*/ 1017 h 1854"/>
                  <a:gd name="connsiteX27" fmla="*/ 0 w 1196"/>
                  <a:gd name="connsiteY27" fmla="*/ 1017 h 1854"/>
                  <a:gd name="connsiteX28" fmla="*/ 0 w 1196"/>
                  <a:gd name="connsiteY28" fmla="*/ 1017 h 1854"/>
                  <a:gd name="connsiteX29" fmla="*/ 0 w 1196"/>
                  <a:gd name="connsiteY29" fmla="*/ 1196 h 1854"/>
                  <a:gd name="connsiteX30" fmla="*/ 0 w 1196"/>
                  <a:gd name="connsiteY30" fmla="*/ 1376 h 1854"/>
                  <a:gd name="connsiteX31" fmla="*/ 0 w 1196"/>
                  <a:gd name="connsiteY31" fmla="*/ 1376 h 1854"/>
                  <a:gd name="connsiteX32" fmla="*/ 60 w 1196"/>
                  <a:gd name="connsiteY32" fmla="*/ 1495 h 1854"/>
                  <a:gd name="connsiteX33" fmla="*/ 120 w 1196"/>
                  <a:gd name="connsiteY33" fmla="*/ 1495 h 1854"/>
                  <a:gd name="connsiteX34" fmla="*/ 239 w 1196"/>
                  <a:gd name="connsiteY34" fmla="*/ 1555 h 1854"/>
                  <a:gd name="connsiteX35" fmla="*/ 299 w 1196"/>
                  <a:gd name="connsiteY35" fmla="*/ 1615 h 1854"/>
                  <a:gd name="connsiteX36" fmla="*/ 658 w 1196"/>
                  <a:gd name="connsiteY36"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96" h="1854">
                    <a:moveTo>
                      <a:pt x="120" y="1495"/>
                    </a:moveTo>
                    <a:lnTo>
                      <a:pt x="239" y="1495"/>
                    </a:lnTo>
                    <a:lnTo>
                      <a:pt x="299" y="1495"/>
                    </a:lnTo>
                    <a:lnTo>
                      <a:pt x="359" y="1495"/>
                    </a:lnTo>
                    <a:lnTo>
                      <a:pt x="419" y="1495"/>
                    </a:lnTo>
                    <a:lnTo>
                      <a:pt x="598" y="1435"/>
                    </a:lnTo>
                    <a:lnTo>
                      <a:pt x="598" y="1435"/>
                    </a:lnTo>
                    <a:lnTo>
                      <a:pt x="778" y="1316"/>
                    </a:lnTo>
                    <a:lnTo>
                      <a:pt x="897" y="1136"/>
                    </a:lnTo>
                    <a:lnTo>
                      <a:pt x="1017" y="957"/>
                    </a:lnTo>
                    <a:lnTo>
                      <a:pt x="1076" y="897"/>
                    </a:lnTo>
                    <a:lnTo>
                      <a:pt x="1136" y="778"/>
                    </a:lnTo>
                    <a:lnTo>
                      <a:pt x="1196" y="538"/>
                    </a:lnTo>
                    <a:lnTo>
                      <a:pt x="1196" y="419"/>
                    </a:lnTo>
                    <a:lnTo>
                      <a:pt x="1196" y="359"/>
                    </a:lnTo>
                    <a:lnTo>
                      <a:pt x="1196" y="179"/>
                    </a:lnTo>
                    <a:lnTo>
                      <a:pt x="1136" y="60"/>
                    </a:lnTo>
                    <a:lnTo>
                      <a:pt x="1017" y="0"/>
                    </a:lnTo>
                    <a:lnTo>
                      <a:pt x="1017" y="0"/>
                    </a:lnTo>
                    <a:lnTo>
                      <a:pt x="897" y="0"/>
                    </a:lnTo>
                    <a:lnTo>
                      <a:pt x="778" y="60"/>
                    </a:lnTo>
                    <a:lnTo>
                      <a:pt x="598" y="120"/>
                    </a:lnTo>
                    <a:lnTo>
                      <a:pt x="419" y="239"/>
                    </a:lnTo>
                    <a:lnTo>
                      <a:pt x="299" y="419"/>
                    </a:lnTo>
                    <a:lnTo>
                      <a:pt x="180" y="598"/>
                    </a:lnTo>
                    <a:lnTo>
                      <a:pt x="60" y="837"/>
                    </a:lnTo>
                    <a:lnTo>
                      <a:pt x="0" y="1017"/>
                    </a:lnTo>
                    <a:lnTo>
                      <a:pt x="0" y="1017"/>
                    </a:lnTo>
                    <a:lnTo>
                      <a:pt x="0" y="1017"/>
                    </a:lnTo>
                    <a:lnTo>
                      <a:pt x="0" y="1196"/>
                    </a:lnTo>
                    <a:lnTo>
                      <a:pt x="0" y="1376"/>
                    </a:lnTo>
                    <a:lnTo>
                      <a:pt x="0" y="1376"/>
                    </a:lnTo>
                    <a:lnTo>
                      <a:pt x="60" y="1495"/>
                    </a:lnTo>
                    <a:lnTo>
                      <a:pt x="120" y="1495"/>
                    </a:lnTo>
                    <a:lnTo>
                      <a:pt x="239" y="1555"/>
                    </a:lnTo>
                    <a:lnTo>
                      <a:pt x="299" y="1615"/>
                    </a:lnTo>
                    <a:lnTo>
                      <a:pt x="658" y="1854"/>
                    </a:lnTo>
                  </a:path>
                </a:pathLst>
              </a:custGeom>
              <a:noFill/>
              <a:ln w="6350" cap="rnd">
                <a:solidFill>
                  <a:schemeClr val="bg1">
                    <a:alpha val="80000"/>
                  </a:schemeClr>
                </a:solidFill>
                <a:prstDash val="solid"/>
                <a:round/>
              </a:ln>
            </p:spPr>
            <p:txBody>
              <a:bodyPr rtlCol="0" anchor="ctr"/>
              <a:lstStyle/>
              <a:p>
                <a:endParaRPr lang="en-GB"/>
              </a:p>
            </p:txBody>
          </p:sp>
          <p:sp>
            <p:nvSpPr>
              <p:cNvPr id="5477" name="Vrije vorm: vorm 5476">
                <a:extLst>
                  <a:ext uri="{FF2B5EF4-FFF2-40B4-BE49-F238E27FC236}">
                    <a16:creationId xmlns:a16="http://schemas.microsoft.com/office/drawing/2014/main" id="{662C3B1F-BDAB-4CF7-BF99-C3DD23DD5193}"/>
                  </a:ext>
                </a:extLst>
              </p:cNvPr>
              <p:cNvSpPr/>
              <p:nvPr/>
            </p:nvSpPr>
            <p:spPr>
              <a:xfrm>
                <a:off x="6465957" y="1616270"/>
                <a:ext cx="1016" cy="1614"/>
              </a:xfrm>
              <a:custGeom>
                <a:avLst/>
                <a:gdLst>
                  <a:gd name="connsiteX0" fmla="*/ 837 w 1016"/>
                  <a:gd name="connsiteY0" fmla="*/ 0 h 1614"/>
                  <a:gd name="connsiteX1" fmla="*/ 957 w 1016"/>
                  <a:gd name="connsiteY1" fmla="*/ 60 h 1614"/>
                  <a:gd name="connsiteX2" fmla="*/ 1017 w 1016"/>
                  <a:gd name="connsiteY2" fmla="*/ 179 h 1614"/>
                  <a:gd name="connsiteX3" fmla="*/ 1017 w 1016"/>
                  <a:gd name="connsiteY3" fmla="*/ 359 h 1614"/>
                  <a:gd name="connsiteX4" fmla="*/ 1017 w 1016"/>
                  <a:gd name="connsiteY4" fmla="*/ 538 h 1614"/>
                  <a:gd name="connsiteX5" fmla="*/ 957 w 1016"/>
                  <a:gd name="connsiteY5" fmla="*/ 777 h 1614"/>
                  <a:gd name="connsiteX6" fmla="*/ 837 w 1016"/>
                  <a:gd name="connsiteY6" fmla="*/ 1017 h 1614"/>
                  <a:gd name="connsiteX7" fmla="*/ 718 w 1016"/>
                  <a:gd name="connsiteY7" fmla="*/ 1196 h 1614"/>
                  <a:gd name="connsiteX8" fmla="*/ 598 w 1016"/>
                  <a:gd name="connsiteY8" fmla="*/ 1376 h 1614"/>
                  <a:gd name="connsiteX9" fmla="*/ 419 w 1016"/>
                  <a:gd name="connsiteY9" fmla="*/ 1495 h 1614"/>
                  <a:gd name="connsiteX10" fmla="*/ 239 w 1016"/>
                  <a:gd name="connsiteY10" fmla="*/ 1555 h 1614"/>
                  <a:gd name="connsiteX11" fmla="*/ 120 w 1016"/>
                  <a:gd name="connsiteY11" fmla="*/ 1615 h 1614"/>
                  <a:gd name="connsiteX12" fmla="*/ 0 w 1016"/>
                  <a:gd name="connsiteY12" fmla="*/ 1615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6" h="1614">
                    <a:moveTo>
                      <a:pt x="837" y="0"/>
                    </a:moveTo>
                    <a:lnTo>
                      <a:pt x="957" y="60"/>
                    </a:lnTo>
                    <a:lnTo>
                      <a:pt x="1017" y="179"/>
                    </a:lnTo>
                    <a:lnTo>
                      <a:pt x="1017" y="359"/>
                    </a:lnTo>
                    <a:lnTo>
                      <a:pt x="1017" y="538"/>
                    </a:lnTo>
                    <a:lnTo>
                      <a:pt x="957" y="777"/>
                    </a:lnTo>
                    <a:lnTo>
                      <a:pt x="837" y="1017"/>
                    </a:lnTo>
                    <a:lnTo>
                      <a:pt x="718" y="1196"/>
                    </a:lnTo>
                    <a:lnTo>
                      <a:pt x="598" y="1376"/>
                    </a:lnTo>
                    <a:lnTo>
                      <a:pt x="419" y="1495"/>
                    </a:lnTo>
                    <a:lnTo>
                      <a:pt x="239" y="1555"/>
                    </a:lnTo>
                    <a:lnTo>
                      <a:pt x="120" y="1615"/>
                    </a:lnTo>
                    <a:lnTo>
                      <a:pt x="0" y="1615"/>
                    </a:lnTo>
                  </a:path>
                </a:pathLst>
              </a:custGeom>
              <a:noFill/>
              <a:ln w="6350" cap="rnd">
                <a:solidFill>
                  <a:schemeClr val="bg1">
                    <a:alpha val="80000"/>
                  </a:schemeClr>
                </a:solidFill>
                <a:prstDash val="solid"/>
                <a:round/>
              </a:ln>
            </p:spPr>
            <p:txBody>
              <a:bodyPr rtlCol="0" anchor="ctr"/>
              <a:lstStyle/>
              <a:p>
                <a:endParaRPr lang="en-GB"/>
              </a:p>
            </p:txBody>
          </p:sp>
          <p:sp>
            <p:nvSpPr>
              <p:cNvPr id="5478" name="Vrije vorm: vorm 5477">
                <a:extLst>
                  <a:ext uri="{FF2B5EF4-FFF2-40B4-BE49-F238E27FC236}">
                    <a16:creationId xmlns:a16="http://schemas.microsoft.com/office/drawing/2014/main" id="{78F7D126-5AB9-4CD4-B4B0-FC89F4105365}"/>
                  </a:ext>
                </a:extLst>
              </p:cNvPr>
              <p:cNvSpPr/>
              <p:nvPr/>
            </p:nvSpPr>
            <p:spPr>
              <a:xfrm>
                <a:off x="6449211" y="1631162"/>
                <a:ext cx="2810" cy="4724"/>
              </a:xfrm>
              <a:custGeom>
                <a:avLst/>
                <a:gdLst>
                  <a:gd name="connsiteX0" fmla="*/ 419 w 2810"/>
                  <a:gd name="connsiteY0" fmla="*/ 3947 h 4724"/>
                  <a:gd name="connsiteX1" fmla="*/ 658 w 2810"/>
                  <a:gd name="connsiteY1" fmla="*/ 4007 h 4724"/>
                  <a:gd name="connsiteX2" fmla="*/ 957 w 2810"/>
                  <a:gd name="connsiteY2" fmla="*/ 3947 h 4724"/>
                  <a:gd name="connsiteX3" fmla="*/ 1316 w 2810"/>
                  <a:gd name="connsiteY3" fmla="*/ 3708 h 4724"/>
                  <a:gd name="connsiteX4" fmla="*/ 1316 w 2810"/>
                  <a:gd name="connsiteY4" fmla="*/ 3708 h 4724"/>
                  <a:gd name="connsiteX5" fmla="*/ 1674 w 2810"/>
                  <a:gd name="connsiteY5" fmla="*/ 3349 h 4724"/>
                  <a:gd name="connsiteX6" fmla="*/ 2033 w 2810"/>
                  <a:gd name="connsiteY6" fmla="*/ 2931 h 4724"/>
                  <a:gd name="connsiteX7" fmla="*/ 2333 w 2810"/>
                  <a:gd name="connsiteY7" fmla="*/ 2452 h 4724"/>
                  <a:gd name="connsiteX8" fmla="*/ 2572 w 2810"/>
                  <a:gd name="connsiteY8" fmla="*/ 1914 h 4724"/>
                  <a:gd name="connsiteX9" fmla="*/ 2751 w 2810"/>
                  <a:gd name="connsiteY9" fmla="*/ 1376 h 4724"/>
                  <a:gd name="connsiteX10" fmla="*/ 2811 w 2810"/>
                  <a:gd name="connsiteY10" fmla="*/ 1077 h 4724"/>
                  <a:gd name="connsiteX11" fmla="*/ 2811 w 2810"/>
                  <a:gd name="connsiteY11" fmla="*/ 957 h 4724"/>
                  <a:gd name="connsiteX12" fmla="*/ 2811 w 2810"/>
                  <a:gd name="connsiteY12" fmla="*/ 538 h 4724"/>
                  <a:gd name="connsiteX13" fmla="*/ 2691 w 2810"/>
                  <a:gd name="connsiteY13" fmla="*/ 239 h 4724"/>
                  <a:gd name="connsiteX14" fmla="*/ 2512 w 2810"/>
                  <a:gd name="connsiteY14" fmla="*/ 60 h 4724"/>
                  <a:gd name="connsiteX15" fmla="*/ 2213 w 2810"/>
                  <a:gd name="connsiteY15" fmla="*/ 0 h 4724"/>
                  <a:gd name="connsiteX16" fmla="*/ 1914 w 2810"/>
                  <a:gd name="connsiteY16" fmla="*/ 60 h 4724"/>
                  <a:gd name="connsiteX17" fmla="*/ 1555 w 2810"/>
                  <a:gd name="connsiteY17" fmla="*/ 299 h 4724"/>
                  <a:gd name="connsiteX18" fmla="*/ 1196 w 2810"/>
                  <a:gd name="connsiteY18" fmla="*/ 658 h 4724"/>
                  <a:gd name="connsiteX19" fmla="*/ 837 w 2810"/>
                  <a:gd name="connsiteY19" fmla="*/ 1077 h 4724"/>
                  <a:gd name="connsiteX20" fmla="*/ 538 w 2810"/>
                  <a:gd name="connsiteY20" fmla="*/ 1555 h 4724"/>
                  <a:gd name="connsiteX21" fmla="*/ 299 w 2810"/>
                  <a:gd name="connsiteY21" fmla="*/ 2093 h 4724"/>
                  <a:gd name="connsiteX22" fmla="*/ 120 w 2810"/>
                  <a:gd name="connsiteY22" fmla="*/ 2632 h 4724"/>
                  <a:gd name="connsiteX23" fmla="*/ 60 w 2810"/>
                  <a:gd name="connsiteY23" fmla="*/ 2931 h 4724"/>
                  <a:gd name="connsiteX24" fmla="*/ 0 w 2810"/>
                  <a:gd name="connsiteY24" fmla="*/ 3110 h 4724"/>
                  <a:gd name="connsiteX25" fmla="*/ 0 w 2810"/>
                  <a:gd name="connsiteY25" fmla="*/ 3529 h 4724"/>
                  <a:gd name="connsiteX26" fmla="*/ 120 w 2810"/>
                  <a:gd name="connsiteY26" fmla="*/ 3828 h 4724"/>
                  <a:gd name="connsiteX27" fmla="*/ 179 w 2810"/>
                  <a:gd name="connsiteY27" fmla="*/ 3888 h 4724"/>
                  <a:gd name="connsiteX28" fmla="*/ 419 w 2810"/>
                  <a:gd name="connsiteY28" fmla="*/ 3947 h 4724"/>
                  <a:gd name="connsiteX29" fmla="*/ 1615 w 2810"/>
                  <a:gd name="connsiteY29"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10" h="4724">
                    <a:moveTo>
                      <a:pt x="419" y="3947"/>
                    </a:moveTo>
                    <a:lnTo>
                      <a:pt x="658" y="4007"/>
                    </a:lnTo>
                    <a:lnTo>
                      <a:pt x="957" y="3947"/>
                    </a:lnTo>
                    <a:lnTo>
                      <a:pt x="1316" y="3708"/>
                    </a:lnTo>
                    <a:lnTo>
                      <a:pt x="1316" y="3708"/>
                    </a:lnTo>
                    <a:lnTo>
                      <a:pt x="1674" y="3349"/>
                    </a:lnTo>
                    <a:lnTo>
                      <a:pt x="2033" y="2931"/>
                    </a:lnTo>
                    <a:lnTo>
                      <a:pt x="2333" y="2452"/>
                    </a:lnTo>
                    <a:lnTo>
                      <a:pt x="2572" y="1914"/>
                    </a:lnTo>
                    <a:lnTo>
                      <a:pt x="2751" y="1376"/>
                    </a:lnTo>
                    <a:lnTo>
                      <a:pt x="2811" y="1077"/>
                    </a:lnTo>
                    <a:lnTo>
                      <a:pt x="2811" y="957"/>
                    </a:lnTo>
                    <a:lnTo>
                      <a:pt x="2811" y="538"/>
                    </a:lnTo>
                    <a:lnTo>
                      <a:pt x="2691" y="239"/>
                    </a:lnTo>
                    <a:lnTo>
                      <a:pt x="2512" y="60"/>
                    </a:lnTo>
                    <a:lnTo>
                      <a:pt x="2213" y="0"/>
                    </a:lnTo>
                    <a:lnTo>
                      <a:pt x="1914" y="60"/>
                    </a:lnTo>
                    <a:lnTo>
                      <a:pt x="1555" y="299"/>
                    </a:lnTo>
                    <a:lnTo>
                      <a:pt x="1196" y="658"/>
                    </a:lnTo>
                    <a:lnTo>
                      <a:pt x="837" y="1077"/>
                    </a:lnTo>
                    <a:lnTo>
                      <a:pt x="538" y="1555"/>
                    </a:lnTo>
                    <a:lnTo>
                      <a:pt x="299" y="2093"/>
                    </a:lnTo>
                    <a:lnTo>
                      <a:pt x="120" y="2632"/>
                    </a:lnTo>
                    <a:lnTo>
                      <a:pt x="60" y="2931"/>
                    </a:lnTo>
                    <a:lnTo>
                      <a:pt x="0" y="3110"/>
                    </a:lnTo>
                    <a:lnTo>
                      <a:pt x="0" y="3529"/>
                    </a:lnTo>
                    <a:lnTo>
                      <a:pt x="120" y="3828"/>
                    </a:lnTo>
                    <a:lnTo>
                      <a:pt x="179" y="3888"/>
                    </a:lnTo>
                    <a:lnTo>
                      <a:pt x="419" y="3947"/>
                    </a:lnTo>
                    <a:lnTo>
                      <a:pt x="1615" y="4725"/>
                    </a:lnTo>
                  </a:path>
                </a:pathLst>
              </a:custGeom>
              <a:noFill/>
              <a:ln w="6350" cap="rnd">
                <a:solidFill>
                  <a:schemeClr val="bg1">
                    <a:alpha val="80000"/>
                  </a:schemeClr>
                </a:solidFill>
                <a:prstDash val="solid"/>
                <a:round/>
              </a:ln>
            </p:spPr>
            <p:txBody>
              <a:bodyPr rtlCol="0" anchor="ctr"/>
              <a:lstStyle/>
              <a:p>
                <a:endParaRPr lang="en-GB"/>
              </a:p>
            </p:txBody>
          </p:sp>
          <p:sp>
            <p:nvSpPr>
              <p:cNvPr id="5479" name="Vrije vorm: vorm 5478">
                <a:extLst>
                  <a:ext uri="{FF2B5EF4-FFF2-40B4-BE49-F238E27FC236}">
                    <a16:creationId xmlns:a16="http://schemas.microsoft.com/office/drawing/2014/main" id="{9DAE0635-B15C-4566-928A-B749C210299C}"/>
                  </a:ext>
                </a:extLst>
              </p:cNvPr>
              <p:cNvSpPr/>
              <p:nvPr/>
            </p:nvSpPr>
            <p:spPr>
              <a:xfrm>
                <a:off x="6451006" y="1632000"/>
                <a:ext cx="2452" cy="4007"/>
              </a:xfrm>
              <a:custGeom>
                <a:avLst/>
                <a:gdLst>
                  <a:gd name="connsiteX0" fmla="*/ 2153 w 2452"/>
                  <a:gd name="connsiteY0" fmla="*/ 0 h 4007"/>
                  <a:gd name="connsiteX1" fmla="*/ 2333 w 2452"/>
                  <a:gd name="connsiteY1" fmla="*/ 179 h 4007"/>
                  <a:gd name="connsiteX2" fmla="*/ 2452 w 2452"/>
                  <a:gd name="connsiteY2" fmla="*/ 478 h 4007"/>
                  <a:gd name="connsiteX3" fmla="*/ 2452 w 2452"/>
                  <a:gd name="connsiteY3" fmla="*/ 897 h 4007"/>
                  <a:gd name="connsiteX4" fmla="*/ 2333 w 2452"/>
                  <a:gd name="connsiteY4" fmla="*/ 1376 h 4007"/>
                  <a:gd name="connsiteX5" fmla="*/ 2153 w 2452"/>
                  <a:gd name="connsiteY5" fmla="*/ 1914 h 4007"/>
                  <a:gd name="connsiteX6" fmla="*/ 1914 w 2452"/>
                  <a:gd name="connsiteY6" fmla="*/ 2452 h 4007"/>
                  <a:gd name="connsiteX7" fmla="*/ 1615 w 2452"/>
                  <a:gd name="connsiteY7" fmla="*/ 2931 h 4007"/>
                  <a:gd name="connsiteX8" fmla="*/ 1256 w 2452"/>
                  <a:gd name="connsiteY8" fmla="*/ 3349 h 4007"/>
                  <a:gd name="connsiteX9" fmla="*/ 897 w 2452"/>
                  <a:gd name="connsiteY9" fmla="*/ 3708 h 4007"/>
                  <a:gd name="connsiteX10" fmla="*/ 538 w 2452"/>
                  <a:gd name="connsiteY10" fmla="*/ 3947 h 4007"/>
                  <a:gd name="connsiteX11" fmla="*/ 239 w 2452"/>
                  <a:gd name="connsiteY11" fmla="*/ 4007 h 4007"/>
                  <a:gd name="connsiteX12" fmla="*/ 0 w 2452"/>
                  <a:gd name="connsiteY12" fmla="*/ 3947 h 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2" h="4007">
                    <a:moveTo>
                      <a:pt x="2153" y="0"/>
                    </a:moveTo>
                    <a:lnTo>
                      <a:pt x="2333" y="179"/>
                    </a:lnTo>
                    <a:lnTo>
                      <a:pt x="2452" y="478"/>
                    </a:lnTo>
                    <a:lnTo>
                      <a:pt x="2452" y="897"/>
                    </a:lnTo>
                    <a:lnTo>
                      <a:pt x="2333" y="1376"/>
                    </a:lnTo>
                    <a:lnTo>
                      <a:pt x="2153" y="1914"/>
                    </a:lnTo>
                    <a:lnTo>
                      <a:pt x="1914" y="2452"/>
                    </a:lnTo>
                    <a:lnTo>
                      <a:pt x="1615" y="2931"/>
                    </a:lnTo>
                    <a:lnTo>
                      <a:pt x="1256" y="3349"/>
                    </a:lnTo>
                    <a:lnTo>
                      <a:pt x="897" y="3708"/>
                    </a:lnTo>
                    <a:lnTo>
                      <a:pt x="538" y="3947"/>
                    </a:lnTo>
                    <a:lnTo>
                      <a:pt x="239" y="4007"/>
                    </a:lnTo>
                    <a:lnTo>
                      <a:pt x="0" y="3947"/>
                    </a:lnTo>
                  </a:path>
                </a:pathLst>
              </a:custGeom>
              <a:noFill/>
              <a:ln w="6350" cap="rnd">
                <a:solidFill>
                  <a:schemeClr val="bg1">
                    <a:alpha val="80000"/>
                  </a:schemeClr>
                </a:solidFill>
                <a:prstDash val="solid"/>
                <a:round/>
              </a:ln>
            </p:spPr>
            <p:txBody>
              <a:bodyPr rtlCol="0" anchor="ctr"/>
              <a:lstStyle/>
              <a:p>
                <a:endParaRPr lang="en-GB"/>
              </a:p>
            </p:txBody>
          </p:sp>
          <p:sp>
            <p:nvSpPr>
              <p:cNvPr id="5480" name="Vrije vorm: vorm 5479">
                <a:extLst>
                  <a:ext uri="{FF2B5EF4-FFF2-40B4-BE49-F238E27FC236}">
                    <a16:creationId xmlns:a16="http://schemas.microsoft.com/office/drawing/2014/main" id="{38C14C9D-381C-486C-B92F-283025258270}"/>
                  </a:ext>
                </a:extLst>
              </p:cNvPr>
              <p:cNvSpPr/>
              <p:nvPr/>
            </p:nvSpPr>
            <p:spPr>
              <a:xfrm>
                <a:off x="6466855" y="1574106"/>
                <a:ext cx="3767" cy="3708"/>
              </a:xfrm>
              <a:custGeom>
                <a:avLst/>
                <a:gdLst>
                  <a:gd name="connsiteX0" fmla="*/ 2632 w 3767"/>
                  <a:gd name="connsiteY0" fmla="*/ 120 h 3708"/>
                  <a:gd name="connsiteX1" fmla="*/ 2751 w 3767"/>
                  <a:gd name="connsiteY1" fmla="*/ 359 h 3708"/>
                  <a:gd name="connsiteX2" fmla="*/ 2751 w 3767"/>
                  <a:gd name="connsiteY2" fmla="*/ 718 h 3708"/>
                  <a:gd name="connsiteX3" fmla="*/ 2691 w 3767"/>
                  <a:gd name="connsiteY3" fmla="*/ 1136 h 3708"/>
                  <a:gd name="connsiteX4" fmla="*/ 2691 w 3767"/>
                  <a:gd name="connsiteY4" fmla="*/ 1136 h 3708"/>
                  <a:gd name="connsiteX5" fmla="*/ 2512 w 3767"/>
                  <a:gd name="connsiteY5" fmla="*/ 1615 h 3708"/>
                  <a:gd name="connsiteX6" fmla="*/ 2273 w 3767"/>
                  <a:gd name="connsiteY6" fmla="*/ 2093 h 3708"/>
                  <a:gd name="connsiteX7" fmla="*/ 1973 w 3767"/>
                  <a:gd name="connsiteY7" fmla="*/ 2572 h 3708"/>
                  <a:gd name="connsiteX8" fmla="*/ 1615 w 3767"/>
                  <a:gd name="connsiteY8" fmla="*/ 2990 h 3708"/>
                  <a:gd name="connsiteX9" fmla="*/ 1256 w 3767"/>
                  <a:gd name="connsiteY9" fmla="*/ 3349 h 3708"/>
                  <a:gd name="connsiteX10" fmla="*/ 1196 w 3767"/>
                  <a:gd name="connsiteY10" fmla="*/ 3409 h 3708"/>
                  <a:gd name="connsiteX11" fmla="*/ 897 w 3767"/>
                  <a:gd name="connsiteY11" fmla="*/ 3588 h 3708"/>
                  <a:gd name="connsiteX12" fmla="*/ 598 w 3767"/>
                  <a:gd name="connsiteY12" fmla="*/ 3708 h 3708"/>
                  <a:gd name="connsiteX13" fmla="*/ 299 w 3767"/>
                  <a:gd name="connsiteY13" fmla="*/ 3708 h 3708"/>
                  <a:gd name="connsiteX14" fmla="*/ 119 w 3767"/>
                  <a:gd name="connsiteY14" fmla="*/ 3588 h 3708"/>
                  <a:gd name="connsiteX15" fmla="*/ 0 w 3767"/>
                  <a:gd name="connsiteY15" fmla="*/ 3349 h 3708"/>
                  <a:gd name="connsiteX16" fmla="*/ 0 w 3767"/>
                  <a:gd name="connsiteY16" fmla="*/ 2990 h 3708"/>
                  <a:gd name="connsiteX17" fmla="*/ 60 w 3767"/>
                  <a:gd name="connsiteY17" fmla="*/ 2691 h 3708"/>
                  <a:gd name="connsiteX18" fmla="*/ 60 w 3767"/>
                  <a:gd name="connsiteY18" fmla="*/ 2572 h 3708"/>
                  <a:gd name="connsiteX19" fmla="*/ 239 w 3767"/>
                  <a:gd name="connsiteY19" fmla="*/ 2093 h 3708"/>
                  <a:gd name="connsiteX20" fmla="*/ 478 w 3767"/>
                  <a:gd name="connsiteY20" fmla="*/ 1615 h 3708"/>
                  <a:gd name="connsiteX21" fmla="*/ 778 w 3767"/>
                  <a:gd name="connsiteY21" fmla="*/ 1136 h 3708"/>
                  <a:gd name="connsiteX22" fmla="*/ 1136 w 3767"/>
                  <a:gd name="connsiteY22" fmla="*/ 718 h 3708"/>
                  <a:gd name="connsiteX23" fmla="*/ 1495 w 3767"/>
                  <a:gd name="connsiteY23" fmla="*/ 359 h 3708"/>
                  <a:gd name="connsiteX24" fmla="*/ 1854 w 3767"/>
                  <a:gd name="connsiteY24" fmla="*/ 120 h 3708"/>
                  <a:gd name="connsiteX25" fmla="*/ 2033 w 3767"/>
                  <a:gd name="connsiteY25" fmla="*/ 60 h 3708"/>
                  <a:gd name="connsiteX26" fmla="*/ 2213 w 3767"/>
                  <a:gd name="connsiteY26" fmla="*/ 0 h 3708"/>
                  <a:gd name="connsiteX27" fmla="*/ 2512 w 3767"/>
                  <a:gd name="connsiteY27" fmla="*/ 0 h 3708"/>
                  <a:gd name="connsiteX28" fmla="*/ 2632 w 3767"/>
                  <a:gd name="connsiteY28" fmla="*/ 120 h 3708"/>
                  <a:gd name="connsiteX29" fmla="*/ 3768 w 3767"/>
                  <a:gd name="connsiteY29" fmla="*/ 957 h 3708"/>
                  <a:gd name="connsiteX30" fmla="*/ 3768 w 3767"/>
                  <a:gd name="connsiteY30" fmla="*/ 957 h 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67" h="3708">
                    <a:moveTo>
                      <a:pt x="2632" y="120"/>
                    </a:moveTo>
                    <a:lnTo>
                      <a:pt x="2751" y="359"/>
                    </a:lnTo>
                    <a:lnTo>
                      <a:pt x="2751" y="718"/>
                    </a:lnTo>
                    <a:lnTo>
                      <a:pt x="2691" y="1136"/>
                    </a:lnTo>
                    <a:lnTo>
                      <a:pt x="2691" y="1136"/>
                    </a:lnTo>
                    <a:lnTo>
                      <a:pt x="2512" y="1615"/>
                    </a:lnTo>
                    <a:lnTo>
                      <a:pt x="2273" y="2093"/>
                    </a:lnTo>
                    <a:lnTo>
                      <a:pt x="1973" y="2572"/>
                    </a:lnTo>
                    <a:lnTo>
                      <a:pt x="1615" y="2990"/>
                    </a:lnTo>
                    <a:lnTo>
                      <a:pt x="1256" y="3349"/>
                    </a:lnTo>
                    <a:lnTo>
                      <a:pt x="1196" y="3409"/>
                    </a:lnTo>
                    <a:lnTo>
                      <a:pt x="897" y="3588"/>
                    </a:lnTo>
                    <a:lnTo>
                      <a:pt x="598" y="3708"/>
                    </a:lnTo>
                    <a:lnTo>
                      <a:pt x="299" y="3708"/>
                    </a:lnTo>
                    <a:lnTo>
                      <a:pt x="119" y="3588"/>
                    </a:lnTo>
                    <a:lnTo>
                      <a:pt x="0" y="3349"/>
                    </a:lnTo>
                    <a:lnTo>
                      <a:pt x="0" y="2990"/>
                    </a:lnTo>
                    <a:lnTo>
                      <a:pt x="60" y="2691"/>
                    </a:lnTo>
                    <a:lnTo>
                      <a:pt x="60" y="2572"/>
                    </a:lnTo>
                    <a:lnTo>
                      <a:pt x="239" y="2093"/>
                    </a:lnTo>
                    <a:lnTo>
                      <a:pt x="478" y="1615"/>
                    </a:lnTo>
                    <a:lnTo>
                      <a:pt x="778" y="1136"/>
                    </a:lnTo>
                    <a:lnTo>
                      <a:pt x="1136" y="718"/>
                    </a:lnTo>
                    <a:lnTo>
                      <a:pt x="1495" y="359"/>
                    </a:lnTo>
                    <a:lnTo>
                      <a:pt x="1854" y="120"/>
                    </a:lnTo>
                    <a:lnTo>
                      <a:pt x="2033" y="60"/>
                    </a:lnTo>
                    <a:lnTo>
                      <a:pt x="2213" y="0"/>
                    </a:lnTo>
                    <a:lnTo>
                      <a:pt x="2512" y="0"/>
                    </a:lnTo>
                    <a:lnTo>
                      <a:pt x="2632" y="120"/>
                    </a:lnTo>
                    <a:lnTo>
                      <a:pt x="3768" y="957"/>
                    </a:lnTo>
                    <a:lnTo>
                      <a:pt x="3768" y="957"/>
                    </a:lnTo>
                  </a:path>
                </a:pathLst>
              </a:custGeom>
              <a:noFill/>
              <a:ln w="6350" cap="rnd">
                <a:solidFill>
                  <a:schemeClr val="bg1">
                    <a:alpha val="80000"/>
                  </a:schemeClr>
                </a:solidFill>
                <a:prstDash val="solid"/>
                <a:round/>
              </a:ln>
            </p:spPr>
            <p:txBody>
              <a:bodyPr rtlCol="0" anchor="ctr"/>
              <a:lstStyle/>
              <a:p>
                <a:endParaRPr lang="en-GB"/>
              </a:p>
            </p:txBody>
          </p:sp>
          <p:sp>
            <p:nvSpPr>
              <p:cNvPr id="5481" name="Vrije vorm: vorm 5480">
                <a:extLst>
                  <a:ext uri="{FF2B5EF4-FFF2-40B4-BE49-F238E27FC236}">
                    <a16:creationId xmlns:a16="http://schemas.microsoft.com/office/drawing/2014/main" id="{99C06DE2-4D6B-4ED4-B1CA-1780FF61F47E}"/>
                  </a:ext>
                </a:extLst>
              </p:cNvPr>
              <p:cNvSpPr/>
              <p:nvPr/>
            </p:nvSpPr>
            <p:spPr>
              <a:xfrm>
                <a:off x="6468110" y="1575063"/>
                <a:ext cx="2631" cy="3648"/>
              </a:xfrm>
              <a:custGeom>
                <a:avLst/>
                <a:gdLst>
                  <a:gd name="connsiteX0" fmla="*/ 2512 w 2631"/>
                  <a:gd name="connsiteY0" fmla="*/ 0 h 3648"/>
                  <a:gd name="connsiteX1" fmla="*/ 2632 w 2631"/>
                  <a:gd name="connsiteY1" fmla="*/ 239 h 3648"/>
                  <a:gd name="connsiteX2" fmla="*/ 2632 w 2631"/>
                  <a:gd name="connsiteY2" fmla="*/ 598 h 3648"/>
                  <a:gd name="connsiteX3" fmla="*/ 2572 w 2631"/>
                  <a:gd name="connsiteY3" fmla="*/ 957 h 3648"/>
                  <a:gd name="connsiteX4" fmla="*/ 2572 w 2631"/>
                  <a:gd name="connsiteY4" fmla="*/ 1076 h 3648"/>
                  <a:gd name="connsiteX5" fmla="*/ 2392 w 2631"/>
                  <a:gd name="connsiteY5" fmla="*/ 1555 h 3648"/>
                  <a:gd name="connsiteX6" fmla="*/ 2153 w 2631"/>
                  <a:gd name="connsiteY6" fmla="*/ 2033 h 3648"/>
                  <a:gd name="connsiteX7" fmla="*/ 1854 w 2631"/>
                  <a:gd name="connsiteY7" fmla="*/ 2512 h 3648"/>
                  <a:gd name="connsiteX8" fmla="*/ 1495 w 2631"/>
                  <a:gd name="connsiteY8" fmla="*/ 2930 h 3648"/>
                  <a:gd name="connsiteX9" fmla="*/ 1136 w 2631"/>
                  <a:gd name="connsiteY9" fmla="*/ 3289 h 3648"/>
                  <a:gd name="connsiteX10" fmla="*/ 778 w 2631"/>
                  <a:gd name="connsiteY10" fmla="*/ 3529 h 3648"/>
                  <a:gd name="connsiteX11" fmla="*/ 778 w 2631"/>
                  <a:gd name="connsiteY11" fmla="*/ 3529 h 3648"/>
                  <a:gd name="connsiteX12" fmla="*/ 479 w 2631"/>
                  <a:gd name="connsiteY12" fmla="*/ 3648 h 3648"/>
                  <a:gd name="connsiteX13" fmla="*/ 180 w 2631"/>
                  <a:gd name="connsiteY13" fmla="*/ 3648 h 3648"/>
                  <a:gd name="connsiteX14" fmla="*/ 0 w 2631"/>
                  <a:gd name="connsiteY14" fmla="*/ 3529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31" h="3648">
                    <a:moveTo>
                      <a:pt x="2512" y="0"/>
                    </a:moveTo>
                    <a:lnTo>
                      <a:pt x="2632" y="239"/>
                    </a:lnTo>
                    <a:lnTo>
                      <a:pt x="2632" y="598"/>
                    </a:lnTo>
                    <a:lnTo>
                      <a:pt x="2572" y="957"/>
                    </a:lnTo>
                    <a:lnTo>
                      <a:pt x="2572" y="1076"/>
                    </a:lnTo>
                    <a:lnTo>
                      <a:pt x="2392" y="1555"/>
                    </a:lnTo>
                    <a:lnTo>
                      <a:pt x="2153" y="2033"/>
                    </a:lnTo>
                    <a:lnTo>
                      <a:pt x="1854" y="2512"/>
                    </a:lnTo>
                    <a:lnTo>
                      <a:pt x="1495" y="2930"/>
                    </a:lnTo>
                    <a:lnTo>
                      <a:pt x="1136" y="3289"/>
                    </a:lnTo>
                    <a:lnTo>
                      <a:pt x="778" y="3529"/>
                    </a:lnTo>
                    <a:lnTo>
                      <a:pt x="778" y="3529"/>
                    </a:lnTo>
                    <a:lnTo>
                      <a:pt x="479" y="3648"/>
                    </a:lnTo>
                    <a:lnTo>
                      <a:pt x="180" y="3648"/>
                    </a:lnTo>
                    <a:lnTo>
                      <a:pt x="0" y="3529"/>
                    </a:lnTo>
                  </a:path>
                </a:pathLst>
              </a:custGeom>
              <a:noFill/>
              <a:ln w="6350" cap="rnd">
                <a:solidFill>
                  <a:schemeClr val="bg1">
                    <a:alpha val="80000"/>
                  </a:schemeClr>
                </a:solidFill>
                <a:prstDash val="solid"/>
                <a:round/>
              </a:ln>
            </p:spPr>
            <p:txBody>
              <a:bodyPr rtlCol="0" anchor="ctr"/>
              <a:lstStyle/>
              <a:p>
                <a:endParaRPr lang="en-GB"/>
              </a:p>
            </p:txBody>
          </p:sp>
          <p:sp>
            <p:nvSpPr>
              <p:cNvPr id="5482" name="Vrije vorm: vorm 5481">
                <a:extLst>
                  <a:ext uri="{FF2B5EF4-FFF2-40B4-BE49-F238E27FC236}">
                    <a16:creationId xmlns:a16="http://schemas.microsoft.com/office/drawing/2014/main" id="{6525D830-8ADF-4C49-8A74-C80EEFF9D5A2}"/>
                  </a:ext>
                </a:extLst>
              </p:cNvPr>
              <p:cNvSpPr/>
              <p:nvPr/>
            </p:nvSpPr>
            <p:spPr>
              <a:xfrm>
                <a:off x="6444367" y="1597610"/>
                <a:ext cx="3588" cy="4545"/>
              </a:xfrm>
              <a:custGeom>
                <a:avLst/>
                <a:gdLst>
                  <a:gd name="connsiteX0" fmla="*/ 1435 w 3588"/>
                  <a:gd name="connsiteY0" fmla="*/ 4545 h 4545"/>
                  <a:gd name="connsiteX1" fmla="*/ 299 w 3588"/>
                  <a:gd name="connsiteY1" fmla="*/ 3768 h 4545"/>
                  <a:gd name="connsiteX2" fmla="*/ 179 w 3588"/>
                  <a:gd name="connsiteY2" fmla="*/ 3648 h 4545"/>
                  <a:gd name="connsiteX3" fmla="*/ 120 w 3588"/>
                  <a:gd name="connsiteY3" fmla="*/ 3588 h 4545"/>
                  <a:gd name="connsiteX4" fmla="*/ 0 w 3588"/>
                  <a:gd name="connsiteY4" fmla="*/ 3349 h 4545"/>
                  <a:gd name="connsiteX5" fmla="*/ 0 w 3588"/>
                  <a:gd name="connsiteY5" fmla="*/ 2990 h 4545"/>
                  <a:gd name="connsiteX6" fmla="*/ 60 w 3588"/>
                  <a:gd name="connsiteY6" fmla="*/ 2811 h 4545"/>
                  <a:gd name="connsiteX7" fmla="*/ 120 w 3588"/>
                  <a:gd name="connsiteY7" fmla="*/ 2512 h 4545"/>
                  <a:gd name="connsiteX8" fmla="*/ 299 w 3588"/>
                  <a:gd name="connsiteY8" fmla="*/ 2034 h 4545"/>
                  <a:gd name="connsiteX9" fmla="*/ 538 w 3588"/>
                  <a:gd name="connsiteY9" fmla="*/ 1555 h 4545"/>
                  <a:gd name="connsiteX10" fmla="*/ 837 w 3588"/>
                  <a:gd name="connsiteY10" fmla="*/ 1077 h 4545"/>
                  <a:gd name="connsiteX11" fmla="*/ 1196 w 3588"/>
                  <a:gd name="connsiteY11" fmla="*/ 658 h 4545"/>
                  <a:gd name="connsiteX12" fmla="*/ 1555 w 3588"/>
                  <a:gd name="connsiteY12" fmla="*/ 359 h 4545"/>
                  <a:gd name="connsiteX13" fmla="*/ 1854 w 3588"/>
                  <a:gd name="connsiteY13" fmla="*/ 179 h 4545"/>
                  <a:gd name="connsiteX14" fmla="*/ 1914 w 3588"/>
                  <a:gd name="connsiteY14" fmla="*/ 120 h 4545"/>
                  <a:gd name="connsiteX15" fmla="*/ 2213 w 3588"/>
                  <a:gd name="connsiteY15" fmla="*/ 0 h 4545"/>
                  <a:gd name="connsiteX16" fmla="*/ 2452 w 3588"/>
                  <a:gd name="connsiteY16" fmla="*/ 0 h 4545"/>
                  <a:gd name="connsiteX17" fmla="*/ 3588 w 3588"/>
                  <a:gd name="connsiteY17" fmla="*/ 778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88" h="4545">
                    <a:moveTo>
                      <a:pt x="1435" y="4545"/>
                    </a:moveTo>
                    <a:lnTo>
                      <a:pt x="299" y="3768"/>
                    </a:lnTo>
                    <a:lnTo>
                      <a:pt x="179" y="3648"/>
                    </a:lnTo>
                    <a:lnTo>
                      <a:pt x="120" y="3588"/>
                    </a:lnTo>
                    <a:lnTo>
                      <a:pt x="0" y="3349"/>
                    </a:lnTo>
                    <a:lnTo>
                      <a:pt x="0" y="2990"/>
                    </a:lnTo>
                    <a:lnTo>
                      <a:pt x="60" y="2811"/>
                    </a:lnTo>
                    <a:lnTo>
                      <a:pt x="120" y="2512"/>
                    </a:lnTo>
                    <a:lnTo>
                      <a:pt x="299" y="2034"/>
                    </a:lnTo>
                    <a:lnTo>
                      <a:pt x="538" y="1555"/>
                    </a:lnTo>
                    <a:lnTo>
                      <a:pt x="837" y="1077"/>
                    </a:lnTo>
                    <a:lnTo>
                      <a:pt x="1196" y="658"/>
                    </a:lnTo>
                    <a:lnTo>
                      <a:pt x="1555" y="359"/>
                    </a:lnTo>
                    <a:lnTo>
                      <a:pt x="1854" y="179"/>
                    </a:lnTo>
                    <a:lnTo>
                      <a:pt x="1914" y="120"/>
                    </a:lnTo>
                    <a:lnTo>
                      <a:pt x="2213" y="0"/>
                    </a:lnTo>
                    <a:lnTo>
                      <a:pt x="2452" y="0"/>
                    </a:lnTo>
                    <a:lnTo>
                      <a:pt x="3588" y="778"/>
                    </a:lnTo>
                  </a:path>
                </a:pathLst>
              </a:custGeom>
              <a:noFill/>
              <a:ln w="6350" cap="rnd">
                <a:solidFill>
                  <a:schemeClr val="bg1">
                    <a:alpha val="80000"/>
                  </a:schemeClr>
                </a:solidFill>
                <a:prstDash val="solid"/>
                <a:round/>
              </a:ln>
            </p:spPr>
            <p:txBody>
              <a:bodyPr rtlCol="0" anchor="ctr"/>
              <a:lstStyle/>
              <a:p>
                <a:endParaRPr lang="en-GB"/>
              </a:p>
            </p:txBody>
          </p:sp>
          <p:sp>
            <p:nvSpPr>
              <p:cNvPr id="5483" name="Vrije vorm: vorm 5482">
                <a:extLst>
                  <a:ext uri="{FF2B5EF4-FFF2-40B4-BE49-F238E27FC236}">
                    <a16:creationId xmlns:a16="http://schemas.microsoft.com/office/drawing/2014/main" id="{B1638794-9CBB-4FB6-98FC-139DDECEFCB1}"/>
                  </a:ext>
                </a:extLst>
              </p:cNvPr>
              <p:cNvSpPr/>
              <p:nvPr/>
            </p:nvSpPr>
            <p:spPr>
              <a:xfrm>
                <a:off x="6436771" y="1546116"/>
                <a:ext cx="27929" cy="40190"/>
              </a:xfrm>
              <a:custGeom>
                <a:avLst/>
                <a:gdLst>
                  <a:gd name="connsiteX0" fmla="*/ 27930 w 27929"/>
                  <a:gd name="connsiteY0" fmla="*/ 419 h 40190"/>
                  <a:gd name="connsiteX1" fmla="*/ 27212 w 27929"/>
                  <a:gd name="connsiteY1" fmla="*/ 0 h 40190"/>
                  <a:gd name="connsiteX2" fmla="*/ 24282 w 27929"/>
                  <a:gd name="connsiteY2" fmla="*/ 120 h 40190"/>
                  <a:gd name="connsiteX3" fmla="*/ 21351 w 27929"/>
                  <a:gd name="connsiteY3" fmla="*/ 1376 h 40190"/>
                  <a:gd name="connsiteX4" fmla="*/ 20753 w 27929"/>
                  <a:gd name="connsiteY4" fmla="*/ 1615 h 40190"/>
                  <a:gd name="connsiteX5" fmla="*/ 18122 w 27929"/>
                  <a:gd name="connsiteY5" fmla="*/ 3469 h 40190"/>
                  <a:gd name="connsiteX6" fmla="*/ 16866 w 27929"/>
                  <a:gd name="connsiteY6" fmla="*/ 4366 h 40190"/>
                  <a:gd name="connsiteX7" fmla="*/ 14533 w 27929"/>
                  <a:gd name="connsiteY7" fmla="*/ 6639 h 40190"/>
                  <a:gd name="connsiteX8" fmla="*/ 12919 w 27929"/>
                  <a:gd name="connsiteY8" fmla="*/ 8194 h 40190"/>
                  <a:gd name="connsiteX9" fmla="*/ 10825 w 27929"/>
                  <a:gd name="connsiteY9" fmla="*/ 10706 h 40190"/>
                  <a:gd name="connsiteX10" fmla="*/ 9151 w 27929"/>
                  <a:gd name="connsiteY10" fmla="*/ 12799 h 40190"/>
                  <a:gd name="connsiteX11" fmla="*/ 7357 w 27929"/>
                  <a:gd name="connsiteY11" fmla="*/ 15550 h 40190"/>
                  <a:gd name="connsiteX12" fmla="*/ 5801 w 27929"/>
                  <a:gd name="connsiteY12" fmla="*/ 17942 h 40190"/>
                  <a:gd name="connsiteX13" fmla="*/ 4306 w 27929"/>
                  <a:gd name="connsiteY13" fmla="*/ 20813 h 40190"/>
                  <a:gd name="connsiteX14" fmla="*/ 3050 w 27929"/>
                  <a:gd name="connsiteY14" fmla="*/ 23205 h 40190"/>
                  <a:gd name="connsiteX15" fmla="*/ 1914 w 27929"/>
                  <a:gd name="connsiteY15" fmla="*/ 26255 h 40190"/>
                  <a:gd name="connsiteX16" fmla="*/ 1136 w 27929"/>
                  <a:gd name="connsiteY16" fmla="*/ 28349 h 40190"/>
                  <a:gd name="connsiteX17" fmla="*/ 419 w 27929"/>
                  <a:gd name="connsiteY17" fmla="*/ 31518 h 40190"/>
                  <a:gd name="connsiteX18" fmla="*/ 60 w 27929"/>
                  <a:gd name="connsiteY18" fmla="*/ 33014 h 40190"/>
                  <a:gd name="connsiteX19" fmla="*/ 0 w 27929"/>
                  <a:gd name="connsiteY19" fmla="*/ 36183 h 40190"/>
                  <a:gd name="connsiteX20" fmla="*/ 0 w 27929"/>
                  <a:gd name="connsiteY20" fmla="*/ 36901 h 40190"/>
                  <a:gd name="connsiteX21" fmla="*/ 957 w 27929"/>
                  <a:gd name="connsiteY21" fmla="*/ 39712 h 40190"/>
                  <a:gd name="connsiteX22" fmla="*/ 1555 w 27929"/>
                  <a:gd name="connsiteY22" fmla="*/ 40190 h 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929" h="40190">
                    <a:moveTo>
                      <a:pt x="27930" y="419"/>
                    </a:moveTo>
                    <a:lnTo>
                      <a:pt x="27212" y="0"/>
                    </a:lnTo>
                    <a:lnTo>
                      <a:pt x="24282" y="120"/>
                    </a:lnTo>
                    <a:lnTo>
                      <a:pt x="21351" y="1376"/>
                    </a:lnTo>
                    <a:lnTo>
                      <a:pt x="20753" y="1615"/>
                    </a:lnTo>
                    <a:lnTo>
                      <a:pt x="18122" y="3469"/>
                    </a:lnTo>
                    <a:lnTo>
                      <a:pt x="16866" y="4366"/>
                    </a:lnTo>
                    <a:lnTo>
                      <a:pt x="14533" y="6639"/>
                    </a:lnTo>
                    <a:lnTo>
                      <a:pt x="12919" y="8194"/>
                    </a:lnTo>
                    <a:lnTo>
                      <a:pt x="10825" y="10706"/>
                    </a:lnTo>
                    <a:lnTo>
                      <a:pt x="9151" y="12799"/>
                    </a:lnTo>
                    <a:lnTo>
                      <a:pt x="7357" y="15550"/>
                    </a:lnTo>
                    <a:lnTo>
                      <a:pt x="5801" y="17942"/>
                    </a:lnTo>
                    <a:lnTo>
                      <a:pt x="4306" y="20813"/>
                    </a:lnTo>
                    <a:lnTo>
                      <a:pt x="3050" y="23205"/>
                    </a:lnTo>
                    <a:lnTo>
                      <a:pt x="1914" y="26255"/>
                    </a:lnTo>
                    <a:lnTo>
                      <a:pt x="1136" y="28349"/>
                    </a:lnTo>
                    <a:lnTo>
                      <a:pt x="419" y="31518"/>
                    </a:lnTo>
                    <a:lnTo>
                      <a:pt x="60" y="33014"/>
                    </a:lnTo>
                    <a:lnTo>
                      <a:pt x="0" y="36183"/>
                    </a:lnTo>
                    <a:lnTo>
                      <a:pt x="0" y="36901"/>
                    </a:lnTo>
                    <a:lnTo>
                      <a:pt x="957" y="39712"/>
                    </a:lnTo>
                    <a:lnTo>
                      <a:pt x="1555" y="40190"/>
                    </a:lnTo>
                  </a:path>
                </a:pathLst>
              </a:custGeom>
              <a:noFill/>
              <a:ln w="6350" cap="rnd">
                <a:solidFill>
                  <a:schemeClr val="bg1">
                    <a:alpha val="80000"/>
                  </a:schemeClr>
                </a:solidFill>
                <a:prstDash val="solid"/>
                <a:round/>
              </a:ln>
            </p:spPr>
            <p:txBody>
              <a:bodyPr rtlCol="0" anchor="ctr"/>
              <a:lstStyle/>
              <a:p>
                <a:endParaRPr lang="en-GB"/>
              </a:p>
            </p:txBody>
          </p:sp>
          <p:sp>
            <p:nvSpPr>
              <p:cNvPr id="5484" name="Vrije vorm: vorm 5483">
                <a:extLst>
                  <a:ext uri="{FF2B5EF4-FFF2-40B4-BE49-F238E27FC236}">
                    <a16:creationId xmlns:a16="http://schemas.microsoft.com/office/drawing/2014/main" id="{2CCBA307-6B24-4E26-9670-18968079A608}"/>
                  </a:ext>
                </a:extLst>
              </p:cNvPr>
              <p:cNvSpPr/>
              <p:nvPr/>
            </p:nvSpPr>
            <p:spPr>
              <a:xfrm>
                <a:off x="6471220" y="1716627"/>
                <a:ext cx="6160" cy="24042"/>
              </a:xfrm>
              <a:custGeom>
                <a:avLst/>
                <a:gdLst>
                  <a:gd name="connsiteX0" fmla="*/ 2093 w 6160"/>
                  <a:gd name="connsiteY0" fmla="*/ 24042 h 24042"/>
                  <a:gd name="connsiteX1" fmla="*/ 1256 w 6160"/>
                  <a:gd name="connsiteY1" fmla="*/ 22966 h 24042"/>
                  <a:gd name="connsiteX2" fmla="*/ 1136 w 6160"/>
                  <a:gd name="connsiteY2" fmla="*/ 22846 h 24042"/>
                  <a:gd name="connsiteX3" fmla="*/ 957 w 6160"/>
                  <a:gd name="connsiteY3" fmla="*/ 22368 h 24042"/>
                  <a:gd name="connsiteX4" fmla="*/ 120 w 6160"/>
                  <a:gd name="connsiteY4" fmla="*/ 19736 h 24042"/>
                  <a:gd name="connsiteX5" fmla="*/ 60 w 6160"/>
                  <a:gd name="connsiteY5" fmla="*/ 17823 h 24042"/>
                  <a:gd name="connsiteX6" fmla="*/ 0 w 6160"/>
                  <a:gd name="connsiteY6" fmla="*/ 15909 h 24042"/>
                  <a:gd name="connsiteX7" fmla="*/ 60 w 6160"/>
                  <a:gd name="connsiteY7" fmla="*/ 15430 h 24042"/>
                  <a:gd name="connsiteX8" fmla="*/ 299 w 6160"/>
                  <a:gd name="connsiteY8" fmla="*/ 14055 h 24042"/>
                  <a:gd name="connsiteX9" fmla="*/ 538 w 6160"/>
                  <a:gd name="connsiteY9" fmla="*/ 12440 h 24042"/>
                  <a:gd name="connsiteX10" fmla="*/ 658 w 6160"/>
                  <a:gd name="connsiteY10" fmla="*/ 11902 h 24042"/>
                  <a:gd name="connsiteX11" fmla="*/ 658 w 6160"/>
                  <a:gd name="connsiteY11" fmla="*/ 11902 h 24042"/>
                  <a:gd name="connsiteX12" fmla="*/ 718 w 6160"/>
                  <a:gd name="connsiteY12" fmla="*/ 11543 h 24042"/>
                  <a:gd name="connsiteX13" fmla="*/ 1316 w 6160"/>
                  <a:gd name="connsiteY13" fmla="*/ 9749 h 24042"/>
                  <a:gd name="connsiteX14" fmla="*/ 1675 w 6160"/>
                  <a:gd name="connsiteY14" fmla="*/ 8612 h 24042"/>
                  <a:gd name="connsiteX15" fmla="*/ 2213 w 6160"/>
                  <a:gd name="connsiteY15" fmla="*/ 7057 h 24042"/>
                  <a:gd name="connsiteX16" fmla="*/ 2392 w 6160"/>
                  <a:gd name="connsiteY16" fmla="*/ 6698 h 24042"/>
                  <a:gd name="connsiteX17" fmla="*/ 3828 w 6160"/>
                  <a:gd name="connsiteY17" fmla="*/ 3768 h 24042"/>
                  <a:gd name="connsiteX18" fmla="*/ 3888 w 6160"/>
                  <a:gd name="connsiteY18" fmla="*/ 3648 h 24042"/>
                  <a:gd name="connsiteX19" fmla="*/ 4366 w 6160"/>
                  <a:gd name="connsiteY19" fmla="*/ 2632 h 24042"/>
                  <a:gd name="connsiteX20" fmla="*/ 6160 w 6160"/>
                  <a:gd name="connsiteY20" fmla="*/ 0 h 24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60" h="24042">
                    <a:moveTo>
                      <a:pt x="2093" y="24042"/>
                    </a:moveTo>
                    <a:lnTo>
                      <a:pt x="1256" y="22966"/>
                    </a:lnTo>
                    <a:lnTo>
                      <a:pt x="1136" y="22846"/>
                    </a:lnTo>
                    <a:lnTo>
                      <a:pt x="957" y="22368"/>
                    </a:lnTo>
                    <a:lnTo>
                      <a:pt x="120" y="19736"/>
                    </a:lnTo>
                    <a:lnTo>
                      <a:pt x="60" y="17823"/>
                    </a:lnTo>
                    <a:lnTo>
                      <a:pt x="0" y="15909"/>
                    </a:lnTo>
                    <a:lnTo>
                      <a:pt x="60" y="15430"/>
                    </a:lnTo>
                    <a:lnTo>
                      <a:pt x="299" y="14055"/>
                    </a:lnTo>
                    <a:lnTo>
                      <a:pt x="538" y="12440"/>
                    </a:lnTo>
                    <a:lnTo>
                      <a:pt x="658" y="11902"/>
                    </a:lnTo>
                    <a:lnTo>
                      <a:pt x="658" y="11902"/>
                    </a:lnTo>
                    <a:lnTo>
                      <a:pt x="718" y="11543"/>
                    </a:lnTo>
                    <a:lnTo>
                      <a:pt x="1316" y="9749"/>
                    </a:lnTo>
                    <a:lnTo>
                      <a:pt x="1675" y="8612"/>
                    </a:lnTo>
                    <a:lnTo>
                      <a:pt x="2213" y="7057"/>
                    </a:lnTo>
                    <a:lnTo>
                      <a:pt x="2392" y="6698"/>
                    </a:lnTo>
                    <a:lnTo>
                      <a:pt x="3828" y="3768"/>
                    </a:lnTo>
                    <a:lnTo>
                      <a:pt x="3888" y="3648"/>
                    </a:lnTo>
                    <a:lnTo>
                      <a:pt x="4366" y="2632"/>
                    </a:lnTo>
                    <a:lnTo>
                      <a:pt x="6160" y="0"/>
                    </a:lnTo>
                  </a:path>
                </a:pathLst>
              </a:custGeom>
              <a:noFill/>
              <a:ln w="6350" cap="rnd">
                <a:solidFill>
                  <a:schemeClr val="bg1">
                    <a:alpha val="80000"/>
                  </a:schemeClr>
                </a:solidFill>
                <a:prstDash val="solid"/>
                <a:round/>
              </a:ln>
            </p:spPr>
            <p:txBody>
              <a:bodyPr rtlCol="0" anchor="ctr"/>
              <a:lstStyle/>
              <a:p>
                <a:endParaRPr lang="en-GB"/>
              </a:p>
            </p:txBody>
          </p:sp>
          <p:sp>
            <p:nvSpPr>
              <p:cNvPr id="5485" name="Vrije vorm: vorm 5484">
                <a:extLst>
                  <a:ext uri="{FF2B5EF4-FFF2-40B4-BE49-F238E27FC236}">
                    <a16:creationId xmlns:a16="http://schemas.microsoft.com/office/drawing/2014/main" id="{EE8914D0-4B38-47DC-A390-9F71693B9455}"/>
                  </a:ext>
                </a:extLst>
              </p:cNvPr>
              <p:cNvSpPr/>
              <p:nvPr/>
            </p:nvSpPr>
            <p:spPr>
              <a:xfrm>
                <a:off x="6480431" y="1712261"/>
                <a:ext cx="4126" cy="6339"/>
              </a:xfrm>
              <a:custGeom>
                <a:avLst/>
                <a:gdLst>
                  <a:gd name="connsiteX0" fmla="*/ 0 w 4126"/>
                  <a:gd name="connsiteY0" fmla="*/ 6160 h 6339"/>
                  <a:gd name="connsiteX1" fmla="*/ 479 w 4126"/>
                  <a:gd name="connsiteY1" fmla="*/ 6340 h 6339"/>
                  <a:gd name="connsiteX2" fmla="*/ 1017 w 4126"/>
                  <a:gd name="connsiteY2" fmla="*/ 6280 h 6339"/>
                  <a:gd name="connsiteX3" fmla="*/ 1615 w 4126"/>
                  <a:gd name="connsiteY3" fmla="*/ 6041 h 6339"/>
                  <a:gd name="connsiteX4" fmla="*/ 2213 w 4126"/>
                  <a:gd name="connsiteY4" fmla="*/ 5562 h 6339"/>
                  <a:gd name="connsiteX5" fmla="*/ 2691 w 4126"/>
                  <a:gd name="connsiteY5" fmla="*/ 5084 h 6339"/>
                  <a:gd name="connsiteX6" fmla="*/ 2751 w 4126"/>
                  <a:gd name="connsiteY6" fmla="*/ 4964 h 6339"/>
                  <a:gd name="connsiteX7" fmla="*/ 2751 w 4126"/>
                  <a:gd name="connsiteY7" fmla="*/ 4964 h 6339"/>
                  <a:gd name="connsiteX8" fmla="*/ 2811 w 4126"/>
                  <a:gd name="connsiteY8" fmla="*/ 4904 h 6339"/>
                  <a:gd name="connsiteX9" fmla="*/ 3349 w 4126"/>
                  <a:gd name="connsiteY9" fmla="*/ 4127 h 6339"/>
                  <a:gd name="connsiteX10" fmla="*/ 3768 w 4126"/>
                  <a:gd name="connsiteY10" fmla="*/ 3289 h 6339"/>
                  <a:gd name="connsiteX11" fmla="*/ 3828 w 4126"/>
                  <a:gd name="connsiteY11" fmla="*/ 3050 h 6339"/>
                  <a:gd name="connsiteX12" fmla="*/ 3828 w 4126"/>
                  <a:gd name="connsiteY12" fmla="*/ 3050 h 6339"/>
                  <a:gd name="connsiteX13" fmla="*/ 4007 w 4126"/>
                  <a:gd name="connsiteY13" fmla="*/ 2452 h 6339"/>
                  <a:gd name="connsiteX14" fmla="*/ 4067 w 4126"/>
                  <a:gd name="connsiteY14" fmla="*/ 2093 h 6339"/>
                  <a:gd name="connsiteX15" fmla="*/ 4127 w 4126"/>
                  <a:gd name="connsiteY15" fmla="*/ 1615 h 6339"/>
                  <a:gd name="connsiteX16" fmla="*/ 4127 w 4126"/>
                  <a:gd name="connsiteY16" fmla="*/ 1555 h 6339"/>
                  <a:gd name="connsiteX17" fmla="*/ 4127 w 4126"/>
                  <a:gd name="connsiteY17" fmla="*/ 957 h 6339"/>
                  <a:gd name="connsiteX18" fmla="*/ 4127 w 4126"/>
                  <a:gd name="connsiteY18" fmla="*/ 897 h 6339"/>
                  <a:gd name="connsiteX19" fmla="*/ 3947 w 4126"/>
                  <a:gd name="connsiteY19" fmla="*/ 359 h 6339"/>
                  <a:gd name="connsiteX20" fmla="*/ 3589 w 4126"/>
                  <a:gd name="connsiteY20" fmla="*/ 0 h 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26" h="6339">
                    <a:moveTo>
                      <a:pt x="0" y="6160"/>
                    </a:moveTo>
                    <a:lnTo>
                      <a:pt x="479" y="6340"/>
                    </a:lnTo>
                    <a:lnTo>
                      <a:pt x="1017" y="6280"/>
                    </a:lnTo>
                    <a:lnTo>
                      <a:pt x="1615" y="6041"/>
                    </a:lnTo>
                    <a:lnTo>
                      <a:pt x="2213" y="5562"/>
                    </a:lnTo>
                    <a:lnTo>
                      <a:pt x="2691" y="5084"/>
                    </a:lnTo>
                    <a:lnTo>
                      <a:pt x="2751" y="4964"/>
                    </a:lnTo>
                    <a:lnTo>
                      <a:pt x="2751" y="4964"/>
                    </a:lnTo>
                    <a:lnTo>
                      <a:pt x="2811" y="4904"/>
                    </a:lnTo>
                    <a:lnTo>
                      <a:pt x="3349" y="4127"/>
                    </a:lnTo>
                    <a:lnTo>
                      <a:pt x="3768" y="3289"/>
                    </a:lnTo>
                    <a:lnTo>
                      <a:pt x="3828" y="3050"/>
                    </a:lnTo>
                    <a:lnTo>
                      <a:pt x="3828" y="3050"/>
                    </a:lnTo>
                    <a:lnTo>
                      <a:pt x="4007" y="2452"/>
                    </a:lnTo>
                    <a:lnTo>
                      <a:pt x="4067" y="2093"/>
                    </a:lnTo>
                    <a:lnTo>
                      <a:pt x="4127" y="1615"/>
                    </a:lnTo>
                    <a:lnTo>
                      <a:pt x="4127" y="1555"/>
                    </a:lnTo>
                    <a:lnTo>
                      <a:pt x="4127" y="957"/>
                    </a:lnTo>
                    <a:lnTo>
                      <a:pt x="4127" y="897"/>
                    </a:lnTo>
                    <a:lnTo>
                      <a:pt x="3947" y="359"/>
                    </a:lnTo>
                    <a:lnTo>
                      <a:pt x="3589" y="0"/>
                    </a:lnTo>
                  </a:path>
                </a:pathLst>
              </a:custGeom>
              <a:noFill/>
              <a:ln w="6350" cap="rnd">
                <a:solidFill>
                  <a:schemeClr val="bg1">
                    <a:alpha val="80000"/>
                  </a:schemeClr>
                </a:solidFill>
                <a:prstDash val="solid"/>
                <a:round/>
              </a:ln>
            </p:spPr>
            <p:txBody>
              <a:bodyPr rtlCol="0" anchor="ctr"/>
              <a:lstStyle/>
              <a:p>
                <a:endParaRPr lang="en-GB"/>
              </a:p>
            </p:txBody>
          </p:sp>
          <p:sp>
            <p:nvSpPr>
              <p:cNvPr id="5486" name="Vrije vorm: vorm 5485">
                <a:extLst>
                  <a:ext uri="{FF2B5EF4-FFF2-40B4-BE49-F238E27FC236}">
                    <a16:creationId xmlns:a16="http://schemas.microsoft.com/office/drawing/2014/main" id="{80062886-A19E-47CB-9EBA-A334C4799A56}"/>
                  </a:ext>
                </a:extLst>
              </p:cNvPr>
              <p:cNvSpPr/>
              <p:nvPr/>
            </p:nvSpPr>
            <p:spPr>
              <a:xfrm>
                <a:off x="6482225" y="1707596"/>
                <a:ext cx="8911" cy="3767"/>
              </a:xfrm>
              <a:custGeom>
                <a:avLst/>
                <a:gdLst>
                  <a:gd name="connsiteX0" fmla="*/ 0 w 8911"/>
                  <a:gd name="connsiteY0" fmla="*/ 3768 h 3767"/>
                  <a:gd name="connsiteX1" fmla="*/ 598 w 8911"/>
                  <a:gd name="connsiteY1" fmla="*/ 3349 h 3767"/>
                  <a:gd name="connsiteX2" fmla="*/ 2691 w 8911"/>
                  <a:gd name="connsiteY2" fmla="*/ 1734 h 3767"/>
                  <a:gd name="connsiteX3" fmla="*/ 3170 w 8911"/>
                  <a:gd name="connsiteY3" fmla="*/ 1555 h 3767"/>
                  <a:gd name="connsiteX4" fmla="*/ 5024 w 8911"/>
                  <a:gd name="connsiteY4" fmla="*/ 718 h 3767"/>
                  <a:gd name="connsiteX5" fmla="*/ 5981 w 8911"/>
                  <a:gd name="connsiteY5" fmla="*/ 299 h 3767"/>
                  <a:gd name="connsiteX6" fmla="*/ 8911 w 8911"/>
                  <a:gd name="connsiteY6" fmla="*/ 0 h 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1" h="3767">
                    <a:moveTo>
                      <a:pt x="0" y="3768"/>
                    </a:moveTo>
                    <a:lnTo>
                      <a:pt x="598" y="3349"/>
                    </a:lnTo>
                    <a:lnTo>
                      <a:pt x="2691" y="1734"/>
                    </a:lnTo>
                    <a:lnTo>
                      <a:pt x="3170" y="1555"/>
                    </a:lnTo>
                    <a:lnTo>
                      <a:pt x="5024" y="718"/>
                    </a:lnTo>
                    <a:lnTo>
                      <a:pt x="5981" y="299"/>
                    </a:lnTo>
                    <a:lnTo>
                      <a:pt x="8911" y="0"/>
                    </a:lnTo>
                  </a:path>
                </a:pathLst>
              </a:custGeom>
              <a:noFill/>
              <a:ln w="6350" cap="rnd">
                <a:solidFill>
                  <a:schemeClr val="bg1">
                    <a:alpha val="80000"/>
                  </a:schemeClr>
                </a:solidFill>
                <a:prstDash val="solid"/>
                <a:round/>
              </a:ln>
            </p:spPr>
            <p:txBody>
              <a:bodyPr rtlCol="0" anchor="ctr"/>
              <a:lstStyle/>
              <a:p>
                <a:endParaRPr lang="en-GB"/>
              </a:p>
            </p:txBody>
          </p:sp>
          <p:sp>
            <p:nvSpPr>
              <p:cNvPr id="5487" name="Vrije vorm: vorm 5486">
                <a:extLst>
                  <a:ext uri="{FF2B5EF4-FFF2-40B4-BE49-F238E27FC236}">
                    <a16:creationId xmlns:a16="http://schemas.microsoft.com/office/drawing/2014/main" id="{76508FC2-980C-4B1A-A165-5B87AE6025D6}"/>
                  </a:ext>
                </a:extLst>
              </p:cNvPr>
              <p:cNvSpPr/>
              <p:nvPr/>
            </p:nvSpPr>
            <p:spPr>
              <a:xfrm>
                <a:off x="6482225" y="1722727"/>
                <a:ext cx="3408" cy="4605"/>
              </a:xfrm>
              <a:custGeom>
                <a:avLst/>
                <a:gdLst>
                  <a:gd name="connsiteX0" fmla="*/ 2990 w 3408"/>
                  <a:gd name="connsiteY0" fmla="*/ 120 h 4605"/>
                  <a:gd name="connsiteX1" fmla="*/ 2871 w 3408"/>
                  <a:gd name="connsiteY1" fmla="*/ 60 h 4605"/>
                  <a:gd name="connsiteX2" fmla="*/ 2632 w 3408"/>
                  <a:gd name="connsiteY2" fmla="*/ 0 h 4605"/>
                  <a:gd name="connsiteX3" fmla="*/ 2213 w 3408"/>
                  <a:gd name="connsiteY3" fmla="*/ 60 h 4605"/>
                  <a:gd name="connsiteX4" fmla="*/ 1794 w 3408"/>
                  <a:gd name="connsiteY4" fmla="*/ 239 h 4605"/>
                  <a:gd name="connsiteX5" fmla="*/ 1375 w 3408"/>
                  <a:gd name="connsiteY5" fmla="*/ 538 h 4605"/>
                  <a:gd name="connsiteX6" fmla="*/ 957 w 3408"/>
                  <a:gd name="connsiteY6" fmla="*/ 957 h 4605"/>
                  <a:gd name="connsiteX7" fmla="*/ 598 w 3408"/>
                  <a:gd name="connsiteY7" fmla="*/ 1495 h 4605"/>
                  <a:gd name="connsiteX8" fmla="*/ 299 w 3408"/>
                  <a:gd name="connsiteY8" fmla="*/ 2093 h 4605"/>
                  <a:gd name="connsiteX9" fmla="*/ 119 w 3408"/>
                  <a:gd name="connsiteY9" fmla="*/ 2691 h 4605"/>
                  <a:gd name="connsiteX10" fmla="*/ 0 w 3408"/>
                  <a:gd name="connsiteY10" fmla="*/ 3289 h 4605"/>
                  <a:gd name="connsiteX11" fmla="*/ 0 w 3408"/>
                  <a:gd name="connsiteY11" fmla="*/ 3529 h 4605"/>
                  <a:gd name="connsiteX12" fmla="*/ 0 w 3408"/>
                  <a:gd name="connsiteY12" fmla="*/ 3768 h 4605"/>
                  <a:gd name="connsiteX13" fmla="*/ 119 w 3408"/>
                  <a:gd name="connsiteY13" fmla="*/ 4187 h 4605"/>
                  <a:gd name="connsiteX14" fmla="*/ 359 w 3408"/>
                  <a:gd name="connsiteY14" fmla="*/ 4486 h 4605"/>
                  <a:gd name="connsiteX15" fmla="*/ 418 w 3408"/>
                  <a:gd name="connsiteY15" fmla="*/ 4486 h 4605"/>
                  <a:gd name="connsiteX16" fmla="*/ 718 w 3408"/>
                  <a:gd name="connsiteY16" fmla="*/ 4605 h 4605"/>
                  <a:gd name="connsiteX17" fmla="*/ 778 w 3408"/>
                  <a:gd name="connsiteY17" fmla="*/ 4605 h 4605"/>
                  <a:gd name="connsiteX18" fmla="*/ 1136 w 3408"/>
                  <a:gd name="connsiteY18" fmla="*/ 4605 h 4605"/>
                  <a:gd name="connsiteX19" fmla="*/ 1375 w 3408"/>
                  <a:gd name="connsiteY19" fmla="*/ 4486 h 4605"/>
                  <a:gd name="connsiteX20" fmla="*/ 1615 w 3408"/>
                  <a:gd name="connsiteY20" fmla="*/ 4366 h 4605"/>
                  <a:gd name="connsiteX21" fmla="*/ 2033 w 3408"/>
                  <a:gd name="connsiteY21" fmla="*/ 4067 h 4605"/>
                  <a:gd name="connsiteX22" fmla="*/ 2452 w 3408"/>
                  <a:gd name="connsiteY22" fmla="*/ 3588 h 4605"/>
                  <a:gd name="connsiteX23" fmla="*/ 2811 w 3408"/>
                  <a:gd name="connsiteY23" fmla="*/ 3050 h 4605"/>
                  <a:gd name="connsiteX24" fmla="*/ 3110 w 3408"/>
                  <a:gd name="connsiteY24" fmla="*/ 2452 h 4605"/>
                  <a:gd name="connsiteX25" fmla="*/ 3289 w 3408"/>
                  <a:gd name="connsiteY25" fmla="*/ 1854 h 4605"/>
                  <a:gd name="connsiteX26" fmla="*/ 3409 w 3408"/>
                  <a:gd name="connsiteY26" fmla="*/ 1256 h 4605"/>
                  <a:gd name="connsiteX27" fmla="*/ 3409 w 3408"/>
                  <a:gd name="connsiteY27" fmla="*/ 778 h 4605"/>
                  <a:gd name="connsiteX28" fmla="*/ 3409 w 3408"/>
                  <a:gd name="connsiteY28" fmla="*/ 778 h 4605"/>
                  <a:gd name="connsiteX29" fmla="*/ 3289 w 3408"/>
                  <a:gd name="connsiteY29" fmla="*/ 359 h 4605"/>
                  <a:gd name="connsiteX30" fmla="*/ 2990 w 3408"/>
                  <a:gd name="connsiteY30" fmla="*/ 120 h 4605"/>
                  <a:gd name="connsiteX31" fmla="*/ 2990 w 3408"/>
                  <a:gd name="connsiteY31" fmla="*/ 120 h 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8" h="4605">
                    <a:moveTo>
                      <a:pt x="2990" y="120"/>
                    </a:moveTo>
                    <a:lnTo>
                      <a:pt x="2871" y="60"/>
                    </a:lnTo>
                    <a:lnTo>
                      <a:pt x="2632" y="0"/>
                    </a:lnTo>
                    <a:lnTo>
                      <a:pt x="2213" y="60"/>
                    </a:lnTo>
                    <a:lnTo>
                      <a:pt x="1794" y="239"/>
                    </a:lnTo>
                    <a:lnTo>
                      <a:pt x="1375" y="538"/>
                    </a:lnTo>
                    <a:lnTo>
                      <a:pt x="957" y="957"/>
                    </a:lnTo>
                    <a:lnTo>
                      <a:pt x="598" y="1495"/>
                    </a:lnTo>
                    <a:lnTo>
                      <a:pt x="299" y="2093"/>
                    </a:lnTo>
                    <a:lnTo>
                      <a:pt x="119" y="2691"/>
                    </a:lnTo>
                    <a:lnTo>
                      <a:pt x="0" y="3289"/>
                    </a:lnTo>
                    <a:lnTo>
                      <a:pt x="0" y="3529"/>
                    </a:lnTo>
                    <a:lnTo>
                      <a:pt x="0" y="3768"/>
                    </a:lnTo>
                    <a:lnTo>
                      <a:pt x="119" y="4187"/>
                    </a:lnTo>
                    <a:lnTo>
                      <a:pt x="359" y="4486"/>
                    </a:lnTo>
                    <a:lnTo>
                      <a:pt x="418" y="4486"/>
                    </a:lnTo>
                    <a:lnTo>
                      <a:pt x="718" y="4605"/>
                    </a:lnTo>
                    <a:lnTo>
                      <a:pt x="778" y="4605"/>
                    </a:lnTo>
                    <a:lnTo>
                      <a:pt x="1136" y="4605"/>
                    </a:lnTo>
                    <a:lnTo>
                      <a:pt x="1375" y="4486"/>
                    </a:lnTo>
                    <a:lnTo>
                      <a:pt x="1615" y="4366"/>
                    </a:lnTo>
                    <a:lnTo>
                      <a:pt x="2033" y="4067"/>
                    </a:lnTo>
                    <a:lnTo>
                      <a:pt x="2452" y="3588"/>
                    </a:lnTo>
                    <a:lnTo>
                      <a:pt x="2811" y="3050"/>
                    </a:lnTo>
                    <a:lnTo>
                      <a:pt x="3110" y="2452"/>
                    </a:lnTo>
                    <a:lnTo>
                      <a:pt x="3289" y="1854"/>
                    </a:lnTo>
                    <a:lnTo>
                      <a:pt x="3409" y="1256"/>
                    </a:lnTo>
                    <a:lnTo>
                      <a:pt x="3409" y="778"/>
                    </a:lnTo>
                    <a:lnTo>
                      <a:pt x="3409" y="778"/>
                    </a:lnTo>
                    <a:lnTo>
                      <a:pt x="3289" y="359"/>
                    </a:lnTo>
                    <a:lnTo>
                      <a:pt x="2990" y="120"/>
                    </a:lnTo>
                    <a:lnTo>
                      <a:pt x="2990" y="120"/>
                    </a:lnTo>
                  </a:path>
                </a:pathLst>
              </a:custGeom>
              <a:noFill/>
              <a:ln w="6350" cap="rnd">
                <a:solidFill>
                  <a:schemeClr val="bg1">
                    <a:alpha val="80000"/>
                  </a:schemeClr>
                </a:solidFill>
                <a:prstDash val="solid"/>
                <a:round/>
              </a:ln>
            </p:spPr>
            <p:txBody>
              <a:bodyPr rtlCol="0" anchor="ctr"/>
              <a:lstStyle/>
              <a:p>
                <a:endParaRPr lang="en-GB"/>
              </a:p>
            </p:txBody>
          </p:sp>
          <p:sp>
            <p:nvSpPr>
              <p:cNvPr id="5488" name="Vrije vorm: vorm 5487">
                <a:extLst>
                  <a:ext uri="{FF2B5EF4-FFF2-40B4-BE49-F238E27FC236}">
                    <a16:creationId xmlns:a16="http://schemas.microsoft.com/office/drawing/2014/main" id="{15DA4305-6F8B-4027-A7CE-F9ED0B59E4FB}"/>
                  </a:ext>
                </a:extLst>
              </p:cNvPr>
              <p:cNvSpPr/>
              <p:nvPr/>
            </p:nvSpPr>
            <p:spPr>
              <a:xfrm>
                <a:off x="6535932" y="1688159"/>
                <a:ext cx="6578" cy="11602"/>
              </a:xfrm>
              <a:custGeom>
                <a:avLst/>
                <a:gdLst>
                  <a:gd name="connsiteX0" fmla="*/ 0 w 6578"/>
                  <a:gd name="connsiteY0" fmla="*/ 0 h 11602"/>
                  <a:gd name="connsiteX1" fmla="*/ 2213 w 6578"/>
                  <a:gd name="connsiteY1" fmla="*/ 1376 h 11602"/>
                  <a:gd name="connsiteX2" fmla="*/ 3888 w 6578"/>
                  <a:gd name="connsiteY2" fmla="*/ 3888 h 11602"/>
                  <a:gd name="connsiteX3" fmla="*/ 5562 w 6578"/>
                  <a:gd name="connsiteY3" fmla="*/ 6399 h 11602"/>
                  <a:gd name="connsiteX4" fmla="*/ 6579 w 6578"/>
                  <a:gd name="connsiteY4" fmla="*/ 7954 h 11602"/>
                  <a:gd name="connsiteX5" fmla="*/ 4366 w 6578"/>
                  <a:gd name="connsiteY5" fmla="*/ 10347 h 11602"/>
                  <a:gd name="connsiteX6" fmla="*/ 3170 w 6578"/>
                  <a:gd name="connsiteY6" fmla="*/ 1160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 h="11602">
                    <a:moveTo>
                      <a:pt x="0" y="0"/>
                    </a:moveTo>
                    <a:lnTo>
                      <a:pt x="2213" y="1376"/>
                    </a:lnTo>
                    <a:lnTo>
                      <a:pt x="3888" y="3888"/>
                    </a:lnTo>
                    <a:lnTo>
                      <a:pt x="5562" y="6399"/>
                    </a:lnTo>
                    <a:lnTo>
                      <a:pt x="6579" y="7954"/>
                    </a:lnTo>
                    <a:lnTo>
                      <a:pt x="4366" y="10347"/>
                    </a:lnTo>
                    <a:lnTo>
                      <a:pt x="3170" y="11603"/>
                    </a:lnTo>
                  </a:path>
                </a:pathLst>
              </a:custGeom>
              <a:noFill/>
              <a:ln w="6350" cap="rnd">
                <a:solidFill>
                  <a:schemeClr val="bg1">
                    <a:alpha val="80000"/>
                  </a:schemeClr>
                </a:solidFill>
                <a:prstDash val="solid"/>
                <a:round/>
              </a:ln>
            </p:spPr>
            <p:txBody>
              <a:bodyPr rtlCol="0" anchor="ctr"/>
              <a:lstStyle/>
              <a:p>
                <a:endParaRPr lang="en-GB"/>
              </a:p>
            </p:txBody>
          </p:sp>
          <p:sp>
            <p:nvSpPr>
              <p:cNvPr id="5489" name="Vrije vorm: vorm 5488">
                <a:extLst>
                  <a:ext uri="{FF2B5EF4-FFF2-40B4-BE49-F238E27FC236}">
                    <a16:creationId xmlns:a16="http://schemas.microsoft.com/office/drawing/2014/main" id="{4B77E8FA-F0B1-4435-9485-C61477BDAF07}"/>
                  </a:ext>
                </a:extLst>
              </p:cNvPr>
              <p:cNvSpPr/>
              <p:nvPr/>
            </p:nvSpPr>
            <p:spPr>
              <a:xfrm>
                <a:off x="6537247" y="1693003"/>
                <a:ext cx="5263" cy="3229"/>
              </a:xfrm>
              <a:custGeom>
                <a:avLst/>
                <a:gdLst>
                  <a:gd name="connsiteX0" fmla="*/ 5263 w 5263"/>
                  <a:gd name="connsiteY0" fmla="*/ 3230 h 3229"/>
                  <a:gd name="connsiteX1" fmla="*/ 2751 w 5263"/>
                  <a:gd name="connsiteY1" fmla="*/ 1675 h 3229"/>
                  <a:gd name="connsiteX2" fmla="*/ 239 w 5263"/>
                  <a:gd name="connsiteY2" fmla="*/ 120 h 3229"/>
                  <a:gd name="connsiteX3" fmla="*/ 0 w 5263"/>
                  <a:gd name="connsiteY3" fmla="*/ 0 h 3229"/>
                </a:gdLst>
                <a:ahLst/>
                <a:cxnLst>
                  <a:cxn ang="0">
                    <a:pos x="connsiteX0" y="connsiteY0"/>
                  </a:cxn>
                  <a:cxn ang="0">
                    <a:pos x="connsiteX1" y="connsiteY1"/>
                  </a:cxn>
                  <a:cxn ang="0">
                    <a:pos x="connsiteX2" y="connsiteY2"/>
                  </a:cxn>
                  <a:cxn ang="0">
                    <a:pos x="connsiteX3" y="connsiteY3"/>
                  </a:cxn>
                </a:cxnLst>
                <a:rect l="l" t="t" r="r" b="b"/>
                <a:pathLst>
                  <a:path w="5263" h="3229">
                    <a:moveTo>
                      <a:pt x="5263" y="3230"/>
                    </a:moveTo>
                    <a:lnTo>
                      <a:pt x="2751" y="1675"/>
                    </a:lnTo>
                    <a:lnTo>
                      <a:pt x="239"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490" name="Vrije vorm: vorm 5489">
                <a:extLst>
                  <a:ext uri="{FF2B5EF4-FFF2-40B4-BE49-F238E27FC236}">
                    <a16:creationId xmlns:a16="http://schemas.microsoft.com/office/drawing/2014/main" id="{B55E3337-4AF9-41FC-AFD5-791E2F8720F9}"/>
                  </a:ext>
                </a:extLst>
              </p:cNvPr>
              <p:cNvSpPr/>
              <p:nvPr/>
            </p:nvSpPr>
            <p:spPr>
              <a:xfrm>
                <a:off x="6480670" y="1730442"/>
                <a:ext cx="6040" cy="6638"/>
              </a:xfrm>
              <a:custGeom>
                <a:avLst/>
                <a:gdLst>
                  <a:gd name="connsiteX0" fmla="*/ 6041 w 6040"/>
                  <a:gd name="connsiteY0" fmla="*/ 1136 h 6638"/>
                  <a:gd name="connsiteX1" fmla="*/ 4246 w 6040"/>
                  <a:gd name="connsiteY1" fmla="*/ 179 h 6638"/>
                  <a:gd name="connsiteX2" fmla="*/ 3947 w 6040"/>
                  <a:gd name="connsiteY2" fmla="*/ 60 h 6638"/>
                  <a:gd name="connsiteX3" fmla="*/ 3768 w 6040"/>
                  <a:gd name="connsiteY3" fmla="*/ 0 h 6638"/>
                  <a:gd name="connsiteX4" fmla="*/ 3229 w 6040"/>
                  <a:gd name="connsiteY4" fmla="*/ 60 h 6638"/>
                  <a:gd name="connsiteX5" fmla="*/ 2632 w 6040"/>
                  <a:gd name="connsiteY5" fmla="*/ 299 h 6638"/>
                  <a:gd name="connsiteX6" fmla="*/ 2452 w 6040"/>
                  <a:gd name="connsiteY6" fmla="*/ 419 h 6638"/>
                  <a:gd name="connsiteX7" fmla="*/ 1973 w 6040"/>
                  <a:gd name="connsiteY7" fmla="*/ 778 h 6638"/>
                  <a:gd name="connsiteX8" fmla="*/ 1375 w 6040"/>
                  <a:gd name="connsiteY8" fmla="*/ 1435 h 6638"/>
                  <a:gd name="connsiteX9" fmla="*/ 837 w 6040"/>
                  <a:gd name="connsiteY9" fmla="*/ 2213 h 6638"/>
                  <a:gd name="connsiteX10" fmla="*/ 478 w 6040"/>
                  <a:gd name="connsiteY10" fmla="*/ 2871 h 6638"/>
                  <a:gd name="connsiteX11" fmla="*/ 419 w 6040"/>
                  <a:gd name="connsiteY11" fmla="*/ 3050 h 6638"/>
                  <a:gd name="connsiteX12" fmla="*/ 119 w 6040"/>
                  <a:gd name="connsiteY12" fmla="*/ 3887 h 6638"/>
                  <a:gd name="connsiteX13" fmla="*/ 0 w 6040"/>
                  <a:gd name="connsiteY13" fmla="*/ 4725 h 6638"/>
                  <a:gd name="connsiteX14" fmla="*/ 60 w 6040"/>
                  <a:gd name="connsiteY14" fmla="*/ 5442 h 6638"/>
                  <a:gd name="connsiteX15" fmla="*/ 239 w 6040"/>
                  <a:gd name="connsiteY15" fmla="*/ 6040 h 6638"/>
                  <a:gd name="connsiteX16" fmla="*/ 598 w 6040"/>
                  <a:gd name="connsiteY16" fmla="*/ 6459 h 6638"/>
                  <a:gd name="connsiteX17" fmla="*/ 1076 w 6040"/>
                  <a:gd name="connsiteY17" fmla="*/ 6639 h 6638"/>
                  <a:gd name="connsiteX18" fmla="*/ 1136 w 6040"/>
                  <a:gd name="connsiteY18" fmla="*/ 6639 h 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40" h="6638">
                    <a:moveTo>
                      <a:pt x="6041" y="1136"/>
                    </a:moveTo>
                    <a:lnTo>
                      <a:pt x="4246" y="179"/>
                    </a:lnTo>
                    <a:lnTo>
                      <a:pt x="3947" y="60"/>
                    </a:lnTo>
                    <a:lnTo>
                      <a:pt x="3768" y="0"/>
                    </a:lnTo>
                    <a:lnTo>
                      <a:pt x="3229" y="60"/>
                    </a:lnTo>
                    <a:lnTo>
                      <a:pt x="2632" y="299"/>
                    </a:lnTo>
                    <a:lnTo>
                      <a:pt x="2452" y="419"/>
                    </a:lnTo>
                    <a:lnTo>
                      <a:pt x="1973" y="778"/>
                    </a:lnTo>
                    <a:lnTo>
                      <a:pt x="1375" y="1435"/>
                    </a:lnTo>
                    <a:lnTo>
                      <a:pt x="837" y="2213"/>
                    </a:lnTo>
                    <a:lnTo>
                      <a:pt x="478" y="2871"/>
                    </a:lnTo>
                    <a:lnTo>
                      <a:pt x="419" y="3050"/>
                    </a:lnTo>
                    <a:lnTo>
                      <a:pt x="119" y="3887"/>
                    </a:lnTo>
                    <a:lnTo>
                      <a:pt x="0" y="4725"/>
                    </a:lnTo>
                    <a:lnTo>
                      <a:pt x="60" y="5442"/>
                    </a:lnTo>
                    <a:lnTo>
                      <a:pt x="239" y="6040"/>
                    </a:lnTo>
                    <a:lnTo>
                      <a:pt x="598" y="6459"/>
                    </a:lnTo>
                    <a:lnTo>
                      <a:pt x="1076" y="6639"/>
                    </a:lnTo>
                    <a:lnTo>
                      <a:pt x="1136" y="6639"/>
                    </a:lnTo>
                  </a:path>
                </a:pathLst>
              </a:custGeom>
              <a:noFill/>
              <a:ln w="6350" cap="rnd">
                <a:solidFill>
                  <a:schemeClr val="bg1">
                    <a:alpha val="80000"/>
                  </a:schemeClr>
                </a:solidFill>
                <a:prstDash val="solid"/>
                <a:round/>
              </a:ln>
            </p:spPr>
            <p:txBody>
              <a:bodyPr rtlCol="0" anchor="ctr"/>
              <a:lstStyle/>
              <a:p>
                <a:endParaRPr lang="en-GB"/>
              </a:p>
            </p:txBody>
          </p:sp>
          <p:sp>
            <p:nvSpPr>
              <p:cNvPr id="5491" name="Vrije vorm: vorm 5490">
                <a:extLst>
                  <a:ext uri="{FF2B5EF4-FFF2-40B4-BE49-F238E27FC236}">
                    <a16:creationId xmlns:a16="http://schemas.microsoft.com/office/drawing/2014/main" id="{A2542681-DF2C-4CB7-B495-3CD59804CD56}"/>
                  </a:ext>
                </a:extLst>
              </p:cNvPr>
              <p:cNvSpPr/>
              <p:nvPr/>
            </p:nvSpPr>
            <p:spPr>
              <a:xfrm>
                <a:off x="6477261" y="1710706"/>
                <a:ext cx="4664" cy="7715"/>
              </a:xfrm>
              <a:custGeom>
                <a:avLst/>
                <a:gdLst>
                  <a:gd name="connsiteX0" fmla="*/ 538 w 4664"/>
                  <a:gd name="connsiteY0" fmla="*/ 6280 h 7715"/>
                  <a:gd name="connsiteX1" fmla="*/ 1017 w 4664"/>
                  <a:gd name="connsiteY1" fmla="*/ 6459 h 7715"/>
                  <a:gd name="connsiteX2" fmla="*/ 1555 w 4664"/>
                  <a:gd name="connsiteY2" fmla="*/ 6399 h 7715"/>
                  <a:gd name="connsiteX3" fmla="*/ 2153 w 4664"/>
                  <a:gd name="connsiteY3" fmla="*/ 6160 h 7715"/>
                  <a:gd name="connsiteX4" fmla="*/ 2691 w 4664"/>
                  <a:gd name="connsiteY4" fmla="*/ 5742 h 7715"/>
                  <a:gd name="connsiteX5" fmla="*/ 2751 w 4664"/>
                  <a:gd name="connsiteY5" fmla="*/ 5682 h 7715"/>
                  <a:gd name="connsiteX6" fmla="*/ 3170 w 4664"/>
                  <a:gd name="connsiteY6" fmla="*/ 5263 h 7715"/>
                  <a:gd name="connsiteX7" fmla="*/ 3349 w 4664"/>
                  <a:gd name="connsiteY7" fmla="*/ 5084 h 7715"/>
                  <a:gd name="connsiteX8" fmla="*/ 3887 w 4664"/>
                  <a:gd name="connsiteY8" fmla="*/ 4306 h 7715"/>
                  <a:gd name="connsiteX9" fmla="*/ 4306 w 4664"/>
                  <a:gd name="connsiteY9" fmla="*/ 3469 h 7715"/>
                  <a:gd name="connsiteX10" fmla="*/ 4486 w 4664"/>
                  <a:gd name="connsiteY10" fmla="*/ 2871 h 7715"/>
                  <a:gd name="connsiteX11" fmla="*/ 4545 w 4664"/>
                  <a:gd name="connsiteY11" fmla="*/ 2632 h 7715"/>
                  <a:gd name="connsiteX12" fmla="*/ 4605 w 4664"/>
                  <a:gd name="connsiteY12" fmla="*/ 2213 h 7715"/>
                  <a:gd name="connsiteX13" fmla="*/ 4665 w 4664"/>
                  <a:gd name="connsiteY13" fmla="*/ 1794 h 7715"/>
                  <a:gd name="connsiteX14" fmla="*/ 4605 w 4664"/>
                  <a:gd name="connsiteY14" fmla="*/ 1077 h 7715"/>
                  <a:gd name="connsiteX15" fmla="*/ 4426 w 4664"/>
                  <a:gd name="connsiteY15" fmla="*/ 538 h 7715"/>
                  <a:gd name="connsiteX16" fmla="*/ 4306 w 4664"/>
                  <a:gd name="connsiteY16" fmla="*/ 359 h 7715"/>
                  <a:gd name="connsiteX17" fmla="*/ 4127 w 4664"/>
                  <a:gd name="connsiteY17" fmla="*/ 179 h 7715"/>
                  <a:gd name="connsiteX18" fmla="*/ 3648 w 4664"/>
                  <a:gd name="connsiteY18" fmla="*/ 0 h 7715"/>
                  <a:gd name="connsiteX19" fmla="*/ 3110 w 4664"/>
                  <a:gd name="connsiteY19" fmla="*/ 60 h 7715"/>
                  <a:gd name="connsiteX20" fmla="*/ 2512 w 4664"/>
                  <a:gd name="connsiteY20" fmla="*/ 359 h 7715"/>
                  <a:gd name="connsiteX21" fmla="*/ 1914 w 4664"/>
                  <a:gd name="connsiteY21" fmla="*/ 837 h 7715"/>
                  <a:gd name="connsiteX22" fmla="*/ 1316 w 4664"/>
                  <a:gd name="connsiteY22" fmla="*/ 1435 h 7715"/>
                  <a:gd name="connsiteX23" fmla="*/ 1316 w 4664"/>
                  <a:gd name="connsiteY23" fmla="*/ 1495 h 7715"/>
                  <a:gd name="connsiteX24" fmla="*/ 1136 w 4664"/>
                  <a:gd name="connsiteY24" fmla="*/ 1734 h 7715"/>
                  <a:gd name="connsiteX25" fmla="*/ 957 w 4664"/>
                  <a:gd name="connsiteY25" fmla="*/ 2033 h 7715"/>
                  <a:gd name="connsiteX26" fmla="*/ 837 w 4664"/>
                  <a:gd name="connsiteY26" fmla="*/ 2153 h 7715"/>
                  <a:gd name="connsiteX27" fmla="*/ 837 w 4664"/>
                  <a:gd name="connsiteY27" fmla="*/ 2213 h 7715"/>
                  <a:gd name="connsiteX28" fmla="*/ 419 w 4664"/>
                  <a:gd name="connsiteY28" fmla="*/ 3050 h 7715"/>
                  <a:gd name="connsiteX29" fmla="*/ 179 w 4664"/>
                  <a:gd name="connsiteY29" fmla="*/ 3708 h 7715"/>
                  <a:gd name="connsiteX30" fmla="*/ 120 w 4664"/>
                  <a:gd name="connsiteY30" fmla="*/ 3887 h 7715"/>
                  <a:gd name="connsiteX31" fmla="*/ 0 w 4664"/>
                  <a:gd name="connsiteY31" fmla="*/ 4665 h 7715"/>
                  <a:gd name="connsiteX32" fmla="*/ 0 w 4664"/>
                  <a:gd name="connsiteY32" fmla="*/ 5383 h 7715"/>
                  <a:gd name="connsiteX33" fmla="*/ 179 w 4664"/>
                  <a:gd name="connsiteY33" fmla="*/ 5921 h 7715"/>
                  <a:gd name="connsiteX34" fmla="*/ 179 w 4664"/>
                  <a:gd name="connsiteY34" fmla="*/ 5921 h 7715"/>
                  <a:gd name="connsiteX35" fmla="*/ 538 w 4664"/>
                  <a:gd name="connsiteY35" fmla="*/ 6280 h 7715"/>
                  <a:gd name="connsiteX36" fmla="*/ 2751 w 4664"/>
                  <a:gd name="connsiteY36" fmla="*/ 7476 h 7715"/>
                  <a:gd name="connsiteX37" fmla="*/ 3170 w 4664"/>
                  <a:gd name="connsiteY37" fmla="*/ 7715 h 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664" h="7715">
                    <a:moveTo>
                      <a:pt x="538" y="6280"/>
                    </a:moveTo>
                    <a:lnTo>
                      <a:pt x="1017" y="6459"/>
                    </a:lnTo>
                    <a:lnTo>
                      <a:pt x="1555" y="6399"/>
                    </a:lnTo>
                    <a:lnTo>
                      <a:pt x="2153" y="6160"/>
                    </a:lnTo>
                    <a:lnTo>
                      <a:pt x="2691" y="5742"/>
                    </a:lnTo>
                    <a:lnTo>
                      <a:pt x="2751" y="5682"/>
                    </a:lnTo>
                    <a:lnTo>
                      <a:pt x="3170" y="5263"/>
                    </a:lnTo>
                    <a:lnTo>
                      <a:pt x="3349" y="5084"/>
                    </a:lnTo>
                    <a:lnTo>
                      <a:pt x="3887" y="4306"/>
                    </a:lnTo>
                    <a:lnTo>
                      <a:pt x="4306" y="3469"/>
                    </a:lnTo>
                    <a:lnTo>
                      <a:pt x="4486" y="2871"/>
                    </a:lnTo>
                    <a:lnTo>
                      <a:pt x="4545" y="2632"/>
                    </a:lnTo>
                    <a:lnTo>
                      <a:pt x="4605" y="2213"/>
                    </a:lnTo>
                    <a:lnTo>
                      <a:pt x="4665" y="1794"/>
                    </a:lnTo>
                    <a:lnTo>
                      <a:pt x="4605" y="1077"/>
                    </a:lnTo>
                    <a:lnTo>
                      <a:pt x="4426" y="538"/>
                    </a:lnTo>
                    <a:lnTo>
                      <a:pt x="4306" y="359"/>
                    </a:lnTo>
                    <a:lnTo>
                      <a:pt x="4127" y="179"/>
                    </a:lnTo>
                    <a:lnTo>
                      <a:pt x="3648" y="0"/>
                    </a:lnTo>
                    <a:lnTo>
                      <a:pt x="3110" y="60"/>
                    </a:lnTo>
                    <a:lnTo>
                      <a:pt x="2512" y="359"/>
                    </a:lnTo>
                    <a:lnTo>
                      <a:pt x="1914" y="837"/>
                    </a:lnTo>
                    <a:lnTo>
                      <a:pt x="1316" y="1435"/>
                    </a:lnTo>
                    <a:lnTo>
                      <a:pt x="1316" y="1495"/>
                    </a:lnTo>
                    <a:lnTo>
                      <a:pt x="1136" y="1734"/>
                    </a:lnTo>
                    <a:lnTo>
                      <a:pt x="957" y="2033"/>
                    </a:lnTo>
                    <a:lnTo>
                      <a:pt x="837" y="2153"/>
                    </a:lnTo>
                    <a:lnTo>
                      <a:pt x="837" y="2213"/>
                    </a:lnTo>
                    <a:lnTo>
                      <a:pt x="419" y="3050"/>
                    </a:lnTo>
                    <a:lnTo>
                      <a:pt x="179" y="3708"/>
                    </a:lnTo>
                    <a:lnTo>
                      <a:pt x="120" y="3887"/>
                    </a:lnTo>
                    <a:lnTo>
                      <a:pt x="0" y="4665"/>
                    </a:lnTo>
                    <a:lnTo>
                      <a:pt x="0" y="5383"/>
                    </a:lnTo>
                    <a:lnTo>
                      <a:pt x="179" y="5921"/>
                    </a:lnTo>
                    <a:lnTo>
                      <a:pt x="179" y="5921"/>
                    </a:lnTo>
                    <a:lnTo>
                      <a:pt x="538" y="6280"/>
                    </a:lnTo>
                    <a:lnTo>
                      <a:pt x="2751" y="7476"/>
                    </a:lnTo>
                    <a:lnTo>
                      <a:pt x="3170" y="7715"/>
                    </a:lnTo>
                  </a:path>
                </a:pathLst>
              </a:custGeom>
              <a:noFill/>
              <a:ln w="6350" cap="rnd">
                <a:solidFill>
                  <a:schemeClr val="bg1">
                    <a:alpha val="80000"/>
                  </a:schemeClr>
                </a:solidFill>
                <a:prstDash val="solid"/>
                <a:round/>
              </a:ln>
            </p:spPr>
            <p:txBody>
              <a:bodyPr rtlCol="0" anchor="ctr"/>
              <a:lstStyle/>
              <a:p>
                <a:endParaRPr lang="en-GB"/>
              </a:p>
            </p:txBody>
          </p:sp>
          <p:sp>
            <p:nvSpPr>
              <p:cNvPr id="5492" name="Vrije vorm: vorm 5491">
                <a:extLst>
                  <a:ext uri="{FF2B5EF4-FFF2-40B4-BE49-F238E27FC236}">
                    <a16:creationId xmlns:a16="http://schemas.microsoft.com/office/drawing/2014/main" id="{EBC7A9F1-2626-4809-9E7D-A270D80EE3D9}"/>
                  </a:ext>
                </a:extLst>
              </p:cNvPr>
              <p:cNvSpPr/>
              <p:nvPr/>
            </p:nvSpPr>
            <p:spPr>
              <a:xfrm>
                <a:off x="6478756" y="1712799"/>
                <a:ext cx="1854" cy="2332"/>
              </a:xfrm>
              <a:custGeom>
                <a:avLst/>
                <a:gdLst>
                  <a:gd name="connsiteX0" fmla="*/ 179 w 1854"/>
                  <a:gd name="connsiteY0" fmla="*/ 2332 h 2332"/>
                  <a:gd name="connsiteX1" fmla="*/ 60 w 1854"/>
                  <a:gd name="connsiteY1" fmla="*/ 2213 h 2332"/>
                  <a:gd name="connsiteX2" fmla="*/ 0 w 1854"/>
                  <a:gd name="connsiteY2" fmla="*/ 1974 h 2332"/>
                  <a:gd name="connsiteX3" fmla="*/ 0 w 1854"/>
                  <a:gd name="connsiteY3" fmla="*/ 1734 h 2332"/>
                  <a:gd name="connsiteX4" fmla="*/ 60 w 1854"/>
                  <a:gd name="connsiteY4" fmla="*/ 1435 h 2332"/>
                  <a:gd name="connsiteX5" fmla="*/ 179 w 1854"/>
                  <a:gd name="connsiteY5" fmla="*/ 1136 h 2332"/>
                  <a:gd name="connsiteX6" fmla="*/ 359 w 1854"/>
                  <a:gd name="connsiteY6" fmla="*/ 837 h 2332"/>
                  <a:gd name="connsiteX7" fmla="*/ 538 w 1854"/>
                  <a:gd name="connsiteY7" fmla="*/ 538 h 2332"/>
                  <a:gd name="connsiteX8" fmla="*/ 778 w 1854"/>
                  <a:gd name="connsiteY8" fmla="*/ 299 h 2332"/>
                  <a:gd name="connsiteX9" fmla="*/ 1017 w 1854"/>
                  <a:gd name="connsiteY9" fmla="*/ 120 h 2332"/>
                  <a:gd name="connsiteX10" fmla="*/ 1256 w 1854"/>
                  <a:gd name="connsiteY10" fmla="*/ 0 h 2332"/>
                  <a:gd name="connsiteX11" fmla="*/ 1495 w 1854"/>
                  <a:gd name="connsiteY11" fmla="*/ 0 h 2332"/>
                  <a:gd name="connsiteX12" fmla="*/ 1674 w 1854"/>
                  <a:gd name="connsiteY12" fmla="*/ 60 h 2332"/>
                  <a:gd name="connsiteX13" fmla="*/ 1794 w 1854"/>
                  <a:gd name="connsiteY13" fmla="*/ 179 h 2332"/>
                  <a:gd name="connsiteX14" fmla="*/ 1854 w 1854"/>
                  <a:gd name="connsiteY14" fmla="*/ 299 h 2332"/>
                  <a:gd name="connsiteX15" fmla="*/ 1854 w 1854"/>
                  <a:gd name="connsiteY15" fmla="*/ 359 h 2332"/>
                  <a:gd name="connsiteX16" fmla="*/ 1854 w 1854"/>
                  <a:gd name="connsiteY16" fmla="*/ 598 h 2332"/>
                  <a:gd name="connsiteX17" fmla="*/ 1794 w 1854"/>
                  <a:gd name="connsiteY17" fmla="*/ 897 h 2332"/>
                  <a:gd name="connsiteX18" fmla="*/ 1674 w 1854"/>
                  <a:gd name="connsiteY18" fmla="*/ 1196 h 2332"/>
                  <a:gd name="connsiteX19" fmla="*/ 1495 w 1854"/>
                  <a:gd name="connsiteY19" fmla="*/ 1495 h 2332"/>
                  <a:gd name="connsiteX20" fmla="*/ 1316 w 1854"/>
                  <a:gd name="connsiteY20" fmla="*/ 1794 h 2332"/>
                  <a:gd name="connsiteX21" fmla="*/ 1076 w 1854"/>
                  <a:gd name="connsiteY21" fmla="*/ 2033 h 2332"/>
                  <a:gd name="connsiteX22" fmla="*/ 837 w 1854"/>
                  <a:gd name="connsiteY22" fmla="*/ 2213 h 2332"/>
                  <a:gd name="connsiteX23" fmla="*/ 598 w 1854"/>
                  <a:gd name="connsiteY23" fmla="*/ 2332 h 2332"/>
                  <a:gd name="connsiteX24" fmla="*/ 359 w 1854"/>
                  <a:gd name="connsiteY24" fmla="*/ 2332 h 2332"/>
                  <a:gd name="connsiteX25" fmla="*/ 179 w 1854"/>
                  <a:gd name="connsiteY25" fmla="*/ 2332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54" h="2332">
                    <a:moveTo>
                      <a:pt x="179" y="2332"/>
                    </a:moveTo>
                    <a:lnTo>
                      <a:pt x="60" y="2213"/>
                    </a:lnTo>
                    <a:lnTo>
                      <a:pt x="0" y="1974"/>
                    </a:lnTo>
                    <a:lnTo>
                      <a:pt x="0" y="1734"/>
                    </a:lnTo>
                    <a:lnTo>
                      <a:pt x="60" y="1435"/>
                    </a:lnTo>
                    <a:lnTo>
                      <a:pt x="179" y="1136"/>
                    </a:lnTo>
                    <a:lnTo>
                      <a:pt x="359" y="837"/>
                    </a:lnTo>
                    <a:lnTo>
                      <a:pt x="538" y="538"/>
                    </a:lnTo>
                    <a:lnTo>
                      <a:pt x="778" y="299"/>
                    </a:lnTo>
                    <a:lnTo>
                      <a:pt x="1017" y="120"/>
                    </a:lnTo>
                    <a:lnTo>
                      <a:pt x="1256" y="0"/>
                    </a:lnTo>
                    <a:lnTo>
                      <a:pt x="1495" y="0"/>
                    </a:lnTo>
                    <a:lnTo>
                      <a:pt x="1674" y="60"/>
                    </a:lnTo>
                    <a:lnTo>
                      <a:pt x="1794" y="179"/>
                    </a:lnTo>
                    <a:lnTo>
                      <a:pt x="1854" y="299"/>
                    </a:lnTo>
                    <a:lnTo>
                      <a:pt x="1854" y="359"/>
                    </a:lnTo>
                    <a:lnTo>
                      <a:pt x="1854" y="598"/>
                    </a:lnTo>
                    <a:lnTo>
                      <a:pt x="1794" y="897"/>
                    </a:lnTo>
                    <a:lnTo>
                      <a:pt x="1674" y="1196"/>
                    </a:lnTo>
                    <a:lnTo>
                      <a:pt x="1495" y="1495"/>
                    </a:lnTo>
                    <a:lnTo>
                      <a:pt x="1316" y="1794"/>
                    </a:lnTo>
                    <a:lnTo>
                      <a:pt x="1076" y="2033"/>
                    </a:lnTo>
                    <a:lnTo>
                      <a:pt x="837" y="2213"/>
                    </a:lnTo>
                    <a:lnTo>
                      <a:pt x="598" y="2332"/>
                    </a:lnTo>
                    <a:lnTo>
                      <a:pt x="359" y="2332"/>
                    </a:lnTo>
                    <a:lnTo>
                      <a:pt x="179" y="2332"/>
                    </a:lnTo>
                  </a:path>
                </a:pathLst>
              </a:custGeom>
              <a:noFill/>
              <a:ln w="6350" cap="rnd">
                <a:solidFill>
                  <a:schemeClr val="bg1">
                    <a:alpha val="80000"/>
                  </a:schemeClr>
                </a:solidFill>
                <a:prstDash val="solid"/>
                <a:round/>
              </a:ln>
            </p:spPr>
            <p:txBody>
              <a:bodyPr rtlCol="0" anchor="ctr"/>
              <a:lstStyle/>
              <a:p>
                <a:endParaRPr lang="en-GB"/>
              </a:p>
            </p:txBody>
          </p:sp>
          <p:sp>
            <p:nvSpPr>
              <p:cNvPr id="5493" name="Vrije vorm: vorm 5492">
                <a:extLst>
                  <a:ext uri="{FF2B5EF4-FFF2-40B4-BE49-F238E27FC236}">
                    <a16:creationId xmlns:a16="http://schemas.microsoft.com/office/drawing/2014/main" id="{822B44B6-AFCB-4F5B-A4B1-5BC1A805E8EC}"/>
                  </a:ext>
                </a:extLst>
              </p:cNvPr>
              <p:cNvSpPr/>
              <p:nvPr/>
            </p:nvSpPr>
            <p:spPr>
              <a:xfrm>
                <a:off x="6473254" y="1606701"/>
                <a:ext cx="3827" cy="4904"/>
              </a:xfrm>
              <a:custGeom>
                <a:avLst/>
                <a:gdLst>
                  <a:gd name="connsiteX0" fmla="*/ 1555 w 3827"/>
                  <a:gd name="connsiteY0" fmla="*/ 4904 h 4904"/>
                  <a:gd name="connsiteX1" fmla="*/ 359 w 3827"/>
                  <a:gd name="connsiteY1" fmla="*/ 4067 h 4904"/>
                  <a:gd name="connsiteX2" fmla="*/ 119 w 3827"/>
                  <a:gd name="connsiteY2" fmla="*/ 3887 h 4904"/>
                  <a:gd name="connsiteX3" fmla="*/ 0 w 3827"/>
                  <a:gd name="connsiteY3" fmla="*/ 3588 h 4904"/>
                  <a:gd name="connsiteX4" fmla="*/ 0 w 3827"/>
                  <a:gd name="connsiteY4" fmla="*/ 3170 h 4904"/>
                  <a:gd name="connsiteX5" fmla="*/ 0 w 3827"/>
                  <a:gd name="connsiteY5" fmla="*/ 3110 h 4904"/>
                  <a:gd name="connsiteX6" fmla="*/ 60 w 3827"/>
                  <a:gd name="connsiteY6" fmla="*/ 2691 h 4904"/>
                  <a:gd name="connsiteX7" fmla="*/ 239 w 3827"/>
                  <a:gd name="connsiteY7" fmla="*/ 2153 h 4904"/>
                  <a:gd name="connsiteX8" fmla="*/ 478 w 3827"/>
                  <a:gd name="connsiteY8" fmla="*/ 1615 h 4904"/>
                  <a:gd name="connsiteX9" fmla="*/ 837 w 3827"/>
                  <a:gd name="connsiteY9" fmla="*/ 1136 h 4904"/>
                  <a:gd name="connsiteX10" fmla="*/ 1196 w 3827"/>
                  <a:gd name="connsiteY10" fmla="*/ 718 h 4904"/>
                  <a:gd name="connsiteX11" fmla="*/ 1435 w 3827"/>
                  <a:gd name="connsiteY11" fmla="*/ 538 h 4904"/>
                  <a:gd name="connsiteX12" fmla="*/ 1615 w 3827"/>
                  <a:gd name="connsiteY12" fmla="*/ 359 h 4904"/>
                  <a:gd name="connsiteX13" fmla="*/ 1973 w 3827"/>
                  <a:gd name="connsiteY13" fmla="*/ 120 h 4904"/>
                  <a:gd name="connsiteX14" fmla="*/ 2332 w 3827"/>
                  <a:gd name="connsiteY14" fmla="*/ 0 h 4904"/>
                  <a:gd name="connsiteX15" fmla="*/ 2632 w 3827"/>
                  <a:gd name="connsiteY15" fmla="*/ 60 h 4904"/>
                  <a:gd name="connsiteX16" fmla="*/ 3827 w 3827"/>
                  <a:gd name="connsiteY16" fmla="*/ 897 h 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27" h="4904">
                    <a:moveTo>
                      <a:pt x="1555" y="4904"/>
                    </a:moveTo>
                    <a:lnTo>
                      <a:pt x="359" y="4067"/>
                    </a:lnTo>
                    <a:lnTo>
                      <a:pt x="119" y="3887"/>
                    </a:lnTo>
                    <a:lnTo>
                      <a:pt x="0" y="3588"/>
                    </a:lnTo>
                    <a:lnTo>
                      <a:pt x="0" y="3170"/>
                    </a:lnTo>
                    <a:lnTo>
                      <a:pt x="0" y="3110"/>
                    </a:lnTo>
                    <a:lnTo>
                      <a:pt x="60" y="2691"/>
                    </a:lnTo>
                    <a:lnTo>
                      <a:pt x="239" y="2153"/>
                    </a:lnTo>
                    <a:lnTo>
                      <a:pt x="478" y="1615"/>
                    </a:lnTo>
                    <a:lnTo>
                      <a:pt x="837" y="1136"/>
                    </a:lnTo>
                    <a:lnTo>
                      <a:pt x="1196" y="718"/>
                    </a:lnTo>
                    <a:lnTo>
                      <a:pt x="1435" y="538"/>
                    </a:lnTo>
                    <a:lnTo>
                      <a:pt x="1615" y="359"/>
                    </a:lnTo>
                    <a:lnTo>
                      <a:pt x="1973" y="120"/>
                    </a:lnTo>
                    <a:lnTo>
                      <a:pt x="2332" y="0"/>
                    </a:lnTo>
                    <a:lnTo>
                      <a:pt x="2632" y="60"/>
                    </a:lnTo>
                    <a:lnTo>
                      <a:pt x="3827" y="897"/>
                    </a:lnTo>
                  </a:path>
                </a:pathLst>
              </a:custGeom>
              <a:noFill/>
              <a:ln w="6350" cap="rnd">
                <a:solidFill>
                  <a:schemeClr val="bg1">
                    <a:alpha val="80000"/>
                  </a:schemeClr>
                </a:solidFill>
                <a:prstDash val="solid"/>
                <a:round/>
              </a:ln>
            </p:spPr>
            <p:txBody>
              <a:bodyPr rtlCol="0" anchor="ctr"/>
              <a:lstStyle/>
              <a:p>
                <a:endParaRPr lang="en-GB"/>
              </a:p>
            </p:txBody>
          </p:sp>
          <p:sp>
            <p:nvSpPr>
              <p:cNvPr id="5494" name="Vrije vorm: vorm 5493">
                <a:extLst>
                  <a:ext uri="{FF2B5EF4-FFF2-40B4-BE49-F238E27FC236}">
                    <a16:creationId xmlns:a16="http://schemas.microsoft.com/office/drawing/2014/main" id="{746C2A9F-DD61-4B41-890F-6952074688E4}"/>
                  </a:ext>
                </a:extLst>
              </p:cNvPr>
              <p:cNvSpPr/>
              <p:nvPr/>
            </p:nvSpPr>
            <p:spPr>
              <a:xfrm>
                <a:off x="6473613" y="1606761"/>
                <a:ext cx="2691" cy="4066"/>
              </a:xfrm>
              <a:custGeom>
                <a:avLst/>
                <a:gdLst>
                  <a:gd name="connsiteX0" fmla="*/ 0 w 2691"/>
                  <a:gd name="connsiteY0" fmla="*/ 4007 h 4066"/>
                  <a:gd name="connsiteX1" fmla="*/ 299 w 2691"/>
                  <a:gd name="connsiteY1" fmla="*/ 4067 h 4066"/>
                  <a:gd name="connsiteX2" fmla="*/ 658 w 2691"/>
                  <a:gd name="connsiteY2" fmla="*/ 3947 h 4066"/>
                  <a:gd name="connsiteX3" fmla="*/ 897 w 2691"/>
                  <a:gd name="connsiteY3" fmla="*/ 3768 h 4066"/>
                  <a:gd name="connsiteX4" fmla="*/ 1017 w 2691"/>
                  <a:gd name="connsiteY4" fmla="*/ 3708 h 4066"/>
                  <a:gd name="connsiteX5" fmla="*/ 1435 w 2691"/>
                  <a:gd name="connsiteY5" fmla="*/ 3349 h 4066"/>
                  <a:gd name="connsiteX6" fmla="*/ 1794 w 2691"/>
                  <a:gd name="connsiteY6" fmla="*/ 2931 h 4066"/>
                  <a:gd name="connsiteX7" fmla="*/ 2153 w 2691"/>
                  <a:gd name="connsiteY7" fmla="*/ 2452 h 4066"/>
                  <a:gd name="connsiteX8" fmla="*/ 2153 w 2691"/>
                  <a:gd name="connsiteY8" fmla="*/ 2392 h 4066"/>
                  <a:gd name="connsiteX9" fmla="*/ 2392 w 2691"/>
                  <a:gd name="connsiteY9" fmla="*/ 1914 h 4066"/>
                  <a:gd name="connsiteX10" fmla="*/ 2572 w 2691"/>
                  <a:gd name="connsiteY10" fmla="*/ 1376 h 4066"/>
                  <a:gd name="connsiteX11" fmla="*/ 2632 w 2691"/>
                  <a:gd name="connsiteY11" fmla="*/ 1136 h 4066"/>
                  <a:gd name="connsiteX12" fmla="*/ 2691 w 2691"/>
                  <a:gd name="connsiteY12" fmla="*/ 957 h 4066"/>
                  <a:gd name="connsiteX13" fmla="*/ 2691 w 2691"/>
                  <a:gd name="connsiteY13" fmla="*/ 897 h 4066"/>
                  <a:gd name="connsiteX14" fmla="*/ 2691 w 2691"/>
                  <a:gd name="connsiteY14" fmla="*/ 478 h 4066"/>
                  <a:gd name="connsiteX15" fmla="*/ 2572 w 2691"/>
                  <a:gd name="connsiteY15" fmla="*/ 179 h 4066"/>
                  <a:gd name="connsiteX16" fmla="*/ 2332 w 2691"/>
                  <a:gd name="connsiteY16" fmla="*/ 0 h 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91" h="4066">
                    <a:moveTo>
                      <a:pt x="0" y="4007"/>
                    </a:moveTo>
                    <a:lnTo>
                      <a:pt x="299" y="4067"/>
                    </a:lnTo>
                    <a:lnTo>
                      <a:pt x="658" y="3947"/>
                    </a:lnTo>
                    <a:lnTo>
                      <a:pt x="897" y="3768"/>
                    </a:lnTo>
                    <a:lnTo>
                      <a:pt x="1017" y="3708"/>
                    </a:lnTo>
                    <a:lnTo>
                      <a:pt x="1435" y="3349"/>
                    </a:lnTo>
                    <a:lnTo>
                      <a:pt x="1794" y="2931"/>
                    </a:lnTo>
                    <a:lnTo>
                      <a:pt x="2153" y="2452"/>
                    </a:lnTo>
                    <a:lnTo>
                      <a:pt x="2153" y="2392"/>
                    </a:lnTo>
                    <a:lnTo>
                      <a:pt x="2392" y="1914"/>
                    </a:lnTo>
                    <a:lnTo>
                      <a:pt x="2572" y="1376"/>
                    </a:lnTo>
                    <a:lnTo>
                      <a:pt x="2632" y="1136"/>
                    </a:lnTo>
                    <a:lnTo>
                      <a:pt x="2691" y="957"/>
                    </a:lnTo>
                    <a:lnTo>
                      <a:pt x="2691" y="897"/>
                    </a:lnTo>
                    <a:lnTo>
                      <a:pt x="2691" y="478"/>
                    </a:lnTo>
                    <a:lnTo>
                      <a:pt x="2572" y="179"/>
                    </a:lnTo>
                    <a:lnTo>
                      <a:pt x="2332" y="0"/>
                    </a:lnTo>
                  </a:path>
                </a:pathLst>
              </a:custGeom>
              <a:noFill/>
              <a:ln w="6350" cap="rnd">
                <a:solidFill>
                  <a:schemeClr val="bg1">
                    <a:alpha val="80000"/>
                  </a:schemeClr>
                </a:solidFill>
                <a:prstDash val="solid"/>
                <a:round/>
              </a:ln>
            </p:spPr>
            <p:txBody>
              <a:bodyPr rtlCol="0" anchor="ctr"/>
              <a:lstStyle/>
              <a:p>
                <a:endParaRPr lang="en-GB"/>
              </a:p>
            </p:txBody>
          </p:sp>
          <p:sp>
            <p:nvSpPr>
              <p:cNvPr id="5495" name="Vrije vorm: vorm 5494">
                <a:extLst>
                  <a:ext uri="{FF2B5EF4-FFF2-40B4-BE49-F238E27FC236}">
                    <a16:creationId xmlns:a16="http://schemas.microsoft.com/office/drawing/2014/main" id="{E151FA96-A238-4BCB-8622-4DDB89BCEC8F}"/>
                  </a:ext>
                </a:extLst>
              </p:cNvPr>
              <p:cNvSpPr/>
              <p:nvPr/>
            </p:nvSpPr>
            <p:spPr>
              <a:xfrm>
                <a:off x="6474809" y="1607658"/>
                <a:ext cx="2691" cy="4066"/>
              </a:xfrm>
              <a:custGeom>
                <a:avLst/>
                <a:gdLst>
                  <a:gd name="connsiteX0" fmla="*/ 2333 w 2691"/>
                  <a:gd name="connsiteY0" fmla="*/ 0 h 4066"/>
                  <a:gd name="connsiteX1" fmla="*/ 2572 w 2691"/>
                  <a:gd name="connsiteY1" fmla="*/ 179 h 4066"/>
                  <a:gd name="connsiteX2" fmla="*/ 2691 w 2691"/>
                  <a:gd name="connsiteY2" fmla="*/ 478 h 4066"/>
                  <a:gd name="connsiteX3" fmla="*/ 2691 w 2691"/>
                  <a:gd name="connsiteY3" fmla="*/ 897 h 4066"/>
                  <a:gd name="connsiteX4" fmla="*/ 2691 w 2691"/>
                  <a:gd name="connsiteY4" fmla="*/ 957 h 4066"/>
                  <a:gd name="connsiteX5" fmla="*/ 2632 w 2691"/>
                  <a:gd name="connsiteY5" fmla="*/ 1376 h 4066"/>
                  <a:gd name="connsiteX6" fmla="*/ 2452 w 2691"/>
                  <a:gd name="connsiteY6" fmla="*/ 1914 h 4066"/>
                  <a:gd name="connsiteX7" fmla="*/ 2213 w 2691"/>
                  <a:gd name="connsiteY7" fmla="*/ 2452 h 4066"/>
                  <a:gd name="connsiteX8" fmla="*/ 1854 w 2691"/>
                  <a:gd name="connsiteY8" fmla="*/ 2930 h 4066"/>
                  <a:gd name="connsiteX9" fmla="*/ 1495 w 2691"/>
                  <a:gd name="connsiteY9" fmla="*/ 3349 h 4066"/>
                  <a:gd name="connsiteX10" fmla="*/ 1077 w 2691"/>
                  <a:gd name="connsiteY10" fmla="*/ 3708 h 4066"/>
                  <a:gd name="connsiteX11" fmla="*/ 718 w 2691"/>
                  <a:gd name="connsiteY11" fmla="*/ 3887 h 4066"/>
                  <a:gd name="connsiteX12" fmla="*/ 658 w 2691"/>
                  <a:gd name="connsiteY12" fmla="*/ 3947 h 4066"/>
                  <a:gd name="connsiteX13" fmla="*/ 299 w 2691"/>
                  <a:gd name="connsiteY13" fmla="*/ 4067 h 4066"/>
                  <a:gd name="connsiteX14" fmla="*/ 0 w 2691"/>
                  <a:gd name="connsiteY14" fmla="*/ 4007 h 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1" h="4066">
                    <a:moveTo>
                      <a:pt x="2333" y="0"/>
                    </a:moveTo>
                    <a:lnTo>
                      <a:pt x="2572" y="179"/>
                    </a:lnTo>
                    <a:lnTo>
                      <a:pt x="2691" y="478"/>
                    </a:lnTo>
                    <a:lnTo>
                      <a:pt x="2691" y="897"/>
                    </a:lnTo>
                    <a:lnTo>
                      <a:pt x="2691" y="957"/>
                    </a:lnTo>
                    <a:lnTo>
                      <a:pt x="2632" y="1376"/>
                    </a:lnTo>
                    <a:lnTo>
                      <a:pt x="2452" y="1914"/>
                    </a:lnTo>
                    <a:lnTo>
                      <a:pt x="2213" y="2452"/>
                    </a:lnTo>
                    <a:lnTo>
                      <a:pt x="1854" y="2930"/>
                    </a:lnTo>
                    <a:lnTo>
                      <a:pt x="1495" y="3349"/>
                    </a:lnTo>
                    <a:lnTo>
                      <a:pt x="1077" y="3708"/>
                    </a:lnTo>
                    <a:lnTo>
                      <a:pt x="718" y="3887"/>
                    </a:lnTo>
                    <a:lnTo>
                      <a:pt x="658" y="3947"/>
                    </a:lnTo>
                    <a:lnTo>
                      <a:pt x="299" y="4067"/>
                    </a:lnTo>
                    <a:lnTo>
                      <a:pt x="0" y="4007"/>
                    </a:lnTo>
                  </a:path>
                </a:pathLst>
              </a:custGeom>
              <a:noFill/>
              <a:ln w="6350" cap="rnd">
                <a:solidFill>
                  <a:schemeClr val="bg1">
                    <a:alpha val="80000"/>
                  </a:schemeClr>
                </a:solidFill>
                <a:prstDash val="solid"/>
                <a:round/>
              </a:ln>
            </p:spPr>
            <p:txBody>
              <a:bodyPr rtlCol="0" anchor="ctr"/>
              <a:lstStyle/>
              <a:p>
                <a:endParaRPr lang="en-GB"/>
              </a:p>
            </p:txBody>
          </p:sp>
          <p:sp>
            <p:nvSpPr>
              <p:cNvPr id="5496" name="Vrije vorm: vorm 5495">
                <a:extLst>
                  <a:ext uri="{FF2B5EF4-FFF2-40B4-BE49-F238E27FC236}">
                    <a16:creationId xmlns:a16="http://schemas.microsoft.com/office/drawing/2014/main" id="{47D5ECE5-90F3-4023-9734-EBAF5D78E60B}"/>
                  </a:ext>
                </a:extLst>
              </p:cNvPr>
              <p:cNvSpPr/>
              <p:nvPr/>
            </p:nvSpPr>
            <p:spPr>
              <a:xfrm>
                <a:off x="6456986" y="1620098"/>
                <a:ext cx="4306" cy="8253"/>
              </a:xfrm>
              <a:custGeom>
                <a:avLst/>
                <a:gdLst>
                  <a:gd name="connsiteX0" fmla="*/ 1914 w 4306"/>
                  <a:gd name="connsiteY0" fmla="*/ 8253 h 8253"/>
                  <a:gd name="connsiteX1" fmla="*/ 1316 w 4306"/>
                  <a:gd name="connsiteY1" fmla="*/ 7835 h 8253"/>
                  <a:gd name="connsiteX2" fmla="*/ 778 w 4306"/>
                  <a:gd name="connsiteY2" fmla="*/ 4725 h 8253"/>
                  <a:gd name="connsiteX3" fmla="*/ 239 w 4306"/>
                  <a:gd name="connsiteY3" fmla="*/ 1615 h 8253"/>
                  <a:gd name="connsiteX4" fmla="*/ 0 w 4306"/>
                  <a:gd name="connsiteY4" fmla="*/ 0 h 8253"/>
                  <a:gd name="connsiteX5" fmla="*/ 1794 w 4306"/>
                  <a:gd name="connsiteY5" fmla="*/ 2392 h 8253"/>
                  <a:gd name="connsiteX6" fmla="*/ 3589 w 4306"/>
                  <a:gd name="connsiteY6" fmla="*/ 4785 h 8253"/>
                  <a:gd name="connsiteX7" fmla="*/ 4306 w 4306"/>
                  <a:gd name="connsiteY7" fmla="*/ 5741 h 8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6" h="8253">
                    <a:moveTo>
                      <a:pt x="1914" y="8253"/>
                    </a:moveTo>
                    <a:lnTo>
                      <a:pt x="1316" y="7835"/>
                    </a:lnTo>
                    <a:lnTo>
                      <a:pt x="778" y="4725"/>
                    </a:lnTo>
                    <a:lnTo>
                      <a:pt x="239" y="1615"/>
                    </a:lnTo>
                    <a:lnTo>
                      <a:pt x="0" y="0"/>
                    </a:lnTo>
                    <a:lnTo>
                      <a:pt x="1794" y="2392"/>
                    </a:lnTo>
                    <a:lnTo>
                      <a:pt x="3589" y="4785"/>
                    </a:lnTo>
                    <a:lnTo>
                      <a:pt x="4306" y="5741"/>
                    </a:lnTo>
                  </a:path>
                </a:pathLst>
              </a:custGeom>
              <a:noFill/>
              <a:ln w="6350" cap="rnd">
                <a:solidFill>
                  <a:schemeClr val="bg1">
                    <a:alpha val="80000"/>
                  </a:schemeClr>
                </a:solidFill>
                <a:prstDash val="solid"/>
                <a:round/>
              </a:ln>
            </p:spPr>
            <p:txBody>
              <a:bodyPr rtlCol="0" anchor="ctr"/>
              <a:lstStyle/>
              <a:p>
                <a:endParaRPr lang="en-GB"/>
              </a:p>
            </p:txBody>
          </p:sp>
          <p:sp>
            <p:nvSpPr>
              <p:cNvPr id="5497" name="Vrije vorm: vorm 5496">
                <a:extLst>
                  <a:ext uri="{FF2B5EF4-FFF2-40B4-BE49-F238E27FC236}">
                    <a16:creationId xmlns:a16="http://schemas.microsoft.com/office/drawing/2014/main" id="{2F15AA6D-0C50-47E7-B53D-21416772126C}"/>
                  </a:ext>
                </a:extLst>
              </p:cNvPr>
              <p:cNvSpPr/>
              <p:nvPr/>
            </p:nvSpPr>
            <p:spPr>
              <a:xfrm>
                <a:off x="6481388" y="1640552"/>
                <a:ext cx="2810" cy="4246"/>
              </a:xfrm>
              <a:custGeom>
                <a:avLst/>
                <a:gdLst>
                  <a:gd name="connsiteX0" fmla="*/ 0 w 2810"/>
                  <a:gd name="connsiteY0" fmla="*/ 4186 h 4246"/>
                  <a:gd name="connsiteX1" fmla="*/ 299 w 2810"/>
                  <a:gd name="connsiteY1" fmla="*/ 4246 h 4246"/>
                  <a:gd name="connsiteX2" fmla="*/ 658 w 2810"/>
                  <a:gd name="connsiteY2" fmla="*/ 4186 h 4246"/>
                  <a:gd name="connsiteX3" fmla="*/ 1076 w 2810"/>
                  <a:gd name="connsiteY3" fmla="*/ 3947 h 4246"/>
                  <a:gd name="connsiteX4" fmla="*/ 1495 w 2810"/>
                  <a:gd name="connsiteY4" fmla="*/ 3588 h 4246"/>
                  <a:gd name="connsiteX5" fmla="*/ 1914 w 2810"/>
                  <a:gd name="connsiteY5" fmla="*/ 3110 h 4246"/>
                  <a:gd name="connsiteX6" fmla="*/ 2273 w 2810"/>
                  <a:gd name="connsiteY6" fmla="*/ 2572 h 4246"/>
                  <a:gd name="connsiteX7" fmla="*/ 2572 w 2810"/>
                  <a:gd name="connsiteY7" fmla="*/ 2033 h 4246"/>
                  <a:gd name="connsiteX8" fmla="*/ 2751 w 2810"/>
                  <a:gd name="connsiteY8" fmla="*/ 1495 h 4246"/>
                  <a:gd name="connsiteX9" fmla="*/ 2811 w 2810"/>
                  <a:gd name="connsiteY9" fmla="*/ 957 h 4246"/>
                  <a:gd name="connsiteX10" fmla="*/ 2811 w 2810"/>
                  <a:gd name="connsiteY10" fmla="*/ 538 h 4246"/>
                  <a:gd name="connsiteX11" fmla="*/ 2691 w 2810"/>
                  <a:gd name="connsiteY11" fmla="*/ 179 h 4246"/>
                  <a:gd name="connsiteX12" fmla="*/ 2452 w 2810"/>
                  <a:gd name="connsiteY12" fmla="*/ 0 h 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0" h="4246">
                    <a:moveTo>
                      <a:pt x="0" y="4186"/>
                    </a:moveTo>
                    <a:lnTo>
                      <a:pt x="299" y="4246"/>
                    </a:lnTo>
                    <a:lnTo>
                      <a:pt x="658" y="4186"/>
                    </a:lnTo>
                    <a:lnTo>
                      <a:pt x="1076" y="3947"/>
                    </a:lnTo>
                    <a:lnTo>
                      <a:pt x="1495" y="3588"/>
                    </a:lnTo>
                    <a:lnTo>
                      <a:pt x="1914" y="3110"/>
                    </a:lnTo>
                    <a:lnTo>
                      <a:pt x="2273" y="2572"/>
                    </a:lnTo>
                    <a:lnTo>
                      <a:pt x="2572" y="2033"/>
                    </a:lnTo>
                    <a:lnTo>
                      <a:pt x="2751" y="1495"/>
                    </a:lnTo>
                    <a:lnTo>
                      <a:pt x="2811" y="957"/>
                    </a:lnTo>
                    <a:lnTo>
                      <a:pt x="2811" y="538"/>
                    </a:lnTo>
                    <a:lnTo>
                      <a:pt x="2691" y="179"/>
                    </a:lnTo>
                    <a:lnTo>
                      <a:pt x="2452" y="0"/>
                    </a:lnTo>
                  </a:path>
                </a:pathLst>
              </a:custGeom>
              <a:noFill/>
              <a:ln w="6350" cap="rnd">
                <a:solidFill>
                  <a:schemeClr val="bg1">
                    <a:alpha val="80000"/>
                  </a:schemeClr>
                </a:solidFill>
                <a:prstDash val="solid"/>
                <a:round/>
              </a:ln>
            </p:spPr>
            <p:txBody>
              <a:bodyPr rtlCol="0" anchor="ctr"/>
              <a:lstStyle/>
              <a:p>
                <a:endParaRPr lang="en-GB"/>
              </a:p>
            </p:txBody>
          </p:sp>
          <p:sp>
            <p:nvSpPr>
              <p:cNvPr id="5498" name="Vrije vorm: vorm 5497">
                <a:extLst>
                  <a:ext uri="{FF2B5EF4-FFF2-40B4-BE49-F238E27FC236}">
                    <a16:creationId xmlns:a16="http://schemas.microsoft.com/office/drawing/2014/main" id="{4790AC71-3078-49D3-8470-B130F23A9E9C}"/>
                  </a:ext>
                </a:extLst>
              </p:cNvPr>
              <p:cNvSpPr/>
              <p:nvPr/>
            </p:nvSpPr>
            <p:spPr>
              <a:xfrm>
                <a:off x="6468948" y="1613459"/>
                <a:ext cx="11243" cy="28109"/>
              </a:xfrm>
              <a:custGeom>
                <a:avLst/>
                <a:gdLst>
                  <a:gd name="connsiteX0" fmla="*/ 11244 w 11243"/>
                  <a:gd name="connsiteY0" fmla="*/ 28109 h 28109"/>
                  <a:gd name="connsiteX1" fmla="*/ 10646 w 11243"/>
                  <a:gd name="connsiteY1" fmla="*/ 25059 h 28109"/>
                  <a:gd name="connsiteX2" fmla="*/ 10048 w 11243"/>
                  <a:gd name="connsiteY2" fmla="*/ 22009 h 28109"/>
                  <a:gd name="connsiteX3" fmla="*/ 9450 w 11243"/>
                  <a:gd name="connsiteY3" fmla="*/ 18959 h 28109"/>
                  <a:gd name="connsiteX4" fmla="*/ 8851 w 11243"/>
                  <a:gd name="connsiteY4" fmla="*/ 15909 h 28109"/>
                  <a:gd name="connsiteX5" fmla="*/ 8253 w 11243"/>
                  <a:gd name="connsiteY5" fmla="*/ 12859 h 28109"/>
                  <a:gd name="connsiteX6" fmla="*/ 7656 w 11243"/>
                  <a:gd name="connsiteY6" fmla="*/ 9808 h 28109"/>
                  <a:gd name="connsiteX7" fmla="*/ 7536 w 11243"/>
                  <a:gd name="connsiteY7" fmla="*/ 9330 h 28109"/>
                  <a:gd name="connsiteX8" fmla="*/ 7356 w 11243"/>
                  <a:gd name="connsiteY8" fmla="*/ 8493 h 28109"/>
                  <a:gd name="connsiteX9" fmla="*/ 7237 w 11243"/>
                  <a:gd name="connsiteY9" fmla="*/ 7895 h 28109"/>
                  <a:gd name="connsiteX10" fmla="*/ 6639 w 11243"/>
                  <a:gd name="connsiteY10" fmla="*/ 4844 h 28109"/>
                  <a:gd name="connsiteX11" fmla="*/ 6280 w 11243"/>
                  <a:gd name="connsiteY11" fmla="*/ 2930 h 28109"/>
                  <a:gd name="connsiteX12" fmla="*/ 5861 w 11243"/>
                  <a:gd name="connsiteY12" fmla="*/ 897 h 28109"/>
                  <a:gd name="connsiteX13" fmla="*/ 5801 w 11243"/>
                  <a:gd name="connsiteY13" fmla="*/ 598 h 28109"/>
                  <a:gd name="connsiteX14" fmla="*/ 5682 w 11243"/>
                  <a:gd name="connsiteY14" fmla="*/ 419 h 28109"/>
                  <a:gd name="connsiteX15" fmla="*/ 5682 w 11243"/>
                  <a:gd name="connsiteY15" fmla="*/ 359 h 28109"/>
                  <a:gd name="connsiteX16" fmla="*/ 5502 w 11243"/>
                  <a:gd name="connsiteY16" fmla="*/ 179 h 28109"/>
                  <a:gd name="connsiteX17" fmla="*/ 5263 w 11243"/>
                  <a:gd name="connsiteY17" fmla="*/ 60 h 28109"/>
                  <a:gd name="connsiteX18" fmla="*/ 5024 w 11243"/>
                  <a:gd name="connsiteY18" fmla="*/ 0 h 28109"/>
                  <a:gd name="connsiteX19" fmla="*/ 4725 w 11243"/>
                  <a:gd name="connsiteY19" fmla="*/ 0 h 28109"/>
                  <a:gd name="connsiteX20" fmla="*/ 4426 w 11243"/>
                  <a:gd name="connsiteY20" fmla="*/ 60 h 28109"/>
                  <a:gd name="connsiteX21" fmla="*/ 4127 w 11243"/>
                  <a:gd name="connsiteY21" fmla="*/ 179 h 28109"/>
                  <a:gd name="connsiteX22" fmla="*/ 3768 w 11243"/>
                  <a:gd name="connsiteY22" fmla="*/ 359 h 28109"/>
                  <a:gd name="connsiteX23" fmla="*/ 3409 w 11243"/>
                  <a:gd name="connsiteY23" fmla="*/ 598 h 28109"/>
                  <a:gd name="connsiteX24" fmla="*/ 3050 w 11243"/>
                  <a:gd name="connsiteY24" fmla="*/ 897 h 28109"/>
                  <a:gd name="connsiteX25" fmla="*/ 2691 w 11243"/>
                  <a:gd name="connsiteY25" fmla="*/ 1256 h 28109"/>
                  <a:gd name="connsiteX26" fmla="*/ 2452 w 11243"/>
                  <a:gd name="connsiteY26" fmla="*/ 1495 h 28109"/>
                  <a:gd name="connsiteX27" fmla="*/ 180 w 11243"/>
                  <a:gd name="connsiteY27" fmla="*/ 3828 h 28109"/>
                  <a:gd name="connsiteX28" fmla="*/ 0 w 11243"/>
                  <a:gd name="connsiteY28" fmla="*/ 4007 h 2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243" h="28109">
                    <a:moveTo>
                      <a:pt x="11244" y="28109"/>
                    </a:moveTo>
                    <a:lnTo>
                      <a:pt x="10646" y="25059"/>
                    </a:lnTo>
                    <a:lnTo>
                      <a:pt x="10048" y="22009"/>
                    </a:lnTo>
                    <a:lnTo>
                      <a:pt x="9450" y="18959"/>
                    </a:lnTo>
                    <a:lnTo>
                      <a:pt x="8851" y="15909"/>
                    </a:lnTo>
                    <a:lnTo>
                      <a:pt x="8253" y="12859"/>
                    </a:lnTo>
                    <a:lnTo>
                      <a:pt x="7656" y="9808"/>
                    </a:lnTo>
                    <a:lnTo>
                      <a:pt x="7536" y="9330"/>
                    </a:lnTo>
                    <a:lnTo>
                      <a:pt x="7356" y="8493"/>
                    </a:lnTo>
                    <a:lnTo>
                      <a:pt x="7237" y="7895"/>
                    </a:lnTo>
                    <a:lnTo>
                      <a:pt x="6639" y="4844"/>
                    </a:lnTo>
                    <a:lnTo>
                      <a:pt x="6280" y="2930"/>
                    </a:lnTo>
                    <a:lnTo>
                      <a:pt x="5861" y="897"/>
                    </a:lnTo>
                    <a:lnTo>
                      <a:pt x="5801" y="598"/>
                    </a:lnTo>
                    <a:lnTo>
                      <a:pt x="5682" y="419"/>
                    </a:lnTo>
                    <a:lnTo>
                      <a:pt x="5682" y="359"/>
                    </a:lnTo>
                    <a:lnTo>
                      <a:pt x="5502" y="179"/>
                    </a:lnTo>
                    <a:lnTo>
                      <a:pt x="5263" y="60"/>
                    </a:lnTo>
                    <a:lnTo>
                      <a:pt x="5024" y="0"/>
                    </a:lnTo>
                    <a:lnTo>
                      <a:pt x="4725" y="0"/>
                    </a:lnTo>
                    <a:lnTo>
                      <a:pt x="4426" y="60"/>
                    </a:lnTo>
                    <a:lnTo>
                      <a:pt x="4127" y="179"/>
                    </a:lnTo>
                    <a:lnTo>
                      <a:pt x="3768" y="359"/>
                    </a:lnTo>
                    <a:lnTo>
                      <a:pt x="3409" y="598"/>
                    </a:lnTo>
                    <a:lnTo>
                      <a:pt x="3050" y="897"/>
                    </a:lnTo>
                    <a:lnTo>
                      <a:pt x="2691" y="1256"/>
                    </a:lnTo>
                    <a:lnTo>
                      <a:pt x="2452" y="1495"/>
                    </a:lnTo>
                    <a:lnTo>
                      <a:pt x="180" y="3828"/>
                    </a:lnTo>
                    <a:lnTo>
                      <a:pt x="0" y="4007"/>
                    </a:lnTo>
                  </a:path>
                </a:pathLst>
              </a:custGeom>
              <a:noFill/>
              <a:ln w="6350" cap="rnd">
                <a:solidFill>
                  <a:schemeClr val="bg1">
                    <a:alpha val="80000"/>
                  </a:schemeClr>
                </a:solidFill>
                <a:prstDash val="solid"/>
                <a:round/>
              </a:ln>
            </p:spPr>
            <p:txBody>
              <a:bodyPr rtlCol="0" anchor="ctr"/>
              <a:lstStyle/>
              <a:p>
                <a:endParaRPr lang="en-GB"/>
              </a:p>
            </p:txBody>
          </p:sp>
          <p:sp>
            <p:nvSpPr>
              <p:cNvPr id="5499" name="Vrije vorm: vorm 5498">
                <a:extLst>
                  <a:ext uri="{FF2B5EF4-FFF2-40B4-BE49-F238E27FC236}">
                    <a16:creationId xmlns:a16="http://schemas.microsoft.com/office/drawing/2014/main" id="{B96F2CA9-FDC5-4CFA-8F86-27ED3A5FBEFD}"/>
                  </a:ext>
                </a:extLst>
              </p:cNvPr>
              <p:cNvSpPr/>
              <p:nvPr/>
            </p:nvSpPr>
            <p:spPr>
              <a:xfrm>
                <a:off x="6455312" y="1666090"/>
                <a:ext cx="2750" cy="4186"/>
              </a:xfrm>
              <a:custGeom>
                <a:avLst/>
                <a:gdLst>
                  <a:gd name="connsiteX0" fmla="*/ 0 w 2750"/>
                  <a:gd name="connsiteY0" fmla="*/ 4127 h 4186"/>
                  <a:gd name="connsiteX1" fmla="*/ 299 w 2750"/>
                  <a:gd name="connsiteY1" fmla="*/ 4187 h 4186"/>
                  <a:gd name="connsiteX2" fmla="*/ 658 w 2750"/>
                  <a:gd name="connsiteY2" fmla="*/ 4127 h 4186"/>
                  <a:gd name="connsiteX3" fmla="*/ 1076 w 2750"/>
                  <a:gd name="connsiteY3" fmla="*/ 3947 h 4186"/>
                  <a:gd name="connsiteX4" fmla="*/ 1495 w 2750"/>
                  <a:gd name="connsiteY4" fmla="*/ 3588 h 4186"/>
                  <a:gd name="connsiteX5" fmla="*/ 1854 w 2750"/>
                  <a:gd name="connsiteY5" fmla="*/ 3170 h 4186"/>
                  <a:gd name="connsiteX6" fmla="*/ 2213 w 2750"/>
                  <a:gd name="connsiteY6" fmla="*/ 2632 h 4186"/>
                  <a:gd name="connsiteX7" fmla="*/ 2512 w 2750"/>
                  <a:gd name="connsiteY7" fmla="*/ 2093 h 4186"/>
                  <a:gd name="connsiteX8" fmla="*/ 2691 w 2750"/>
                  <a:gd name="connsiteY8" fmla="*/ 1555 h 4186"/>
                  <a:gd name="connsiteX9" fmla="*/ 2691 w 2750"/>
                  <a:gd name="connsiteY9" fmla="*/ 1435 h 4186"/>
                  <a:gd name="connsiteX10" fmla="*/ 2751 w 2750"/>
                  <a:gd name="connsiteY10" fmla="*/ 1017 h 4186"/>
                  <a:gd name="connsiteX11" fmla="*/ 2751 w 2750"/>
                  <a:gd name="connsiteY11" fmla="*/ 598 h 4186"/>
                  <a:gd name="connsiteX12" fmla="*/ 2632 w 2750"/>
                  <a:gd name="connsiteY12" fmla="*/ 239 h 4186"/>
                  <a:gd name="connsiteX13" fmla="*/ 2452 w 2750"/>
                  <a:gd name="connsiteY13" fmla="*/ 0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0" h="4186">
                    <a:moveTo>
                      <a:pt x="0" y="4127"/>
                    </a:moveTo>
                    <a:lnTo>
                      <a:pt x="299" y="4187"/>
                    </a:lnTo>
                    <a:lnTo>
                      <a:pt x="658" y="4127"/>
                    </a:lnTo>
                    <a:lnTo>
                      <a:pt x="1076" y="3947"/>
                    </a:lnTo>
                    <a:lnTo>
                      <a:pt x="1495" y="3588"/>
                    </a:lnTo>
                    <a:lnTo>
                      <a:pt x="1854" y="3170"/>
                    </a:lnTo>
                    <a:lnTo>
                      <a:pt x="2213" y="2632"/>
                    </a:lnTo>
                    <a:lnTo>
                      <a:pt x="2512" y="2093"/>
                    </a:lnTo>
                    <a:lnTo>
                      <a:pt x="2691" y="1555"/>
                    </a:lnTo>
                    <a:lnTo>
                      <a:pt x="2691" y="1435"/>
                    </a:lnTo>
                    <a:lnTo>
                      <a:pt x="2751" y="1017"/>
                    </a:lnTo>
                    <a:lnTo>
                      <a:pt x="2751" y="598"/>
                    </a:lnTo>
                    <a:lnTo>
                      <a:pt x="2632" y="239"/>
                    </a:lnTo>
                    <a:lnTo>
                      <a:pt x="2452" y="0"/>
                    </a:lnTo>
                  </a:path>
                </a:pathLst>
              </a:custGeom>
              <a:noFill/>
              <a:ln w="6350" cap="rnd">
                <a:solidFill>
                  <a:schemeClr val="bg1">
                    <a:alpha val="80000"/>
                  </a:schemeClr>
                </a:solidFill>
                <a:prstDash val="solid"/>
                <a:round/>
              </a:ln>
            </p:spPr>
            <p:txBody>
              <a:bodyPr rtlCol="0" anchor="ctr"/>
              <a:lstStyle/>
              <a:p>
                <a:endParaRPr lang="en-GB"/>
              </a:p>
            </p:txBody>
          </p:sp>
          <p:sp>
            <p:nvSpPr>
              <p:cNvPr id="5500" name="Vrije vorm: vorm 5499">
                <a:extLst>
                  <a:ext uri="{FF2B5EF4-FFF2-40B4-BE49-F238E27FC236}">
                    <a16:creationId xmlns:a16="http://schemas.microsoft.com/office/drawing/2014/main" id="{D87470AD-B241-4669-B1F6-5EC1F7F9EDD6}"/>
                  </a:ext>
                </a:extLst>
              </p:cNvPr>
              <p:cNvSpPr/>
              <p:nvPr/>
            </p:nvSpPr>
            <p:spPr>
              <a:xfrm>
                <a:off x="6445802" y="1598508"/>
                <a:ext cx="2392" cy="3648"/>
              </a:xfrm>
              <a:custGeom>
                <a:avLst/>
                <a:gdLst>
                  <a:gd name="connsiteX0" fmla="*/ 0 w 2392"/>
                  <a:gd name="connsiteY0" fmla="*/ 3648 h 3648"/>
                  <a:gd name="connsiteX1" fmla="*/ 239 w 2392"/>
                  <a:gd name="connsiteY1" fmla="*/ 3648 h 3648"/>
                  <a:gd name="connsiteX2" fmla="*/ 538 w 2392"/>
                  <a:gd name="connsiteY2" fmla="*/ 3529 h 3648"/>
                  <a:gd name="connsiteX3" fmla="*/ 897 w 2392"/>
                  <a:gd name="connsiteY3" fmla="*/ 3289 h 3648"/>
                  <a:gd name="connsiteX4" fmla="*/ 1256 w 2392"/>
                  <a:gd name="connsiteY4" fmla="*/ 2990 h 3648"/>
                  <a:gd name="connsiteX5" fmla="*/ 1615 w 2392"/>
                  <a:gd name="connsiteY5" fmla="*/ 2572 h 3648"/>
                  <a:gd name="connsiteX6" fmla="*/ 1914 w 2392"/>
                  <a:gd name="connsiteY6" fmla="*/ 2093 h 3648"/>
                  <a:gd name="connsiteX7" fmla="*/ 2153 w 2392"/>
                  <a:gd name="connsiteY7" fmla="*/ 1615 h 3648"/>
                  <a:gd name="connsiteX8" fmla="*/ 2333 w 2392"/>
                  <a:gd name="connsiteY8" fmla="*/ 1136 h 3648"/>
                  <a:gd name="connsiteX9" fmla="*/ 2392 w 2392"/>
                  <a:gd name="connsiteY9" fmla="*/ 718 h 3648"/>
                  <a:gd name="connsiteX10" fmla="*/ 2392 w 2392"/>
                  <a:gd name="connsiteY10" fmla="*/ 658 h 3648"/>
                  <a:gd name="connsiteX11" fmla="*/ 2392 w 2392"/>
                  <a:gd name="connsiteY11" fmla="*/ 359 h 3648"/>
                  <a:gd name="connsiteX12" fmla="*/ 2273 w 2392"/>
                  <a:gd name="connsiteY12" fmla="*/ 120 h 3648"/>
                  <a:gd name="connsiteX13" fmla="*/ 2093 w 2392"/>
                  <a:gd name="connsiteY13" fmla="*/ 0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92" h="3648">
                    <a:moveTo>
                      <a:pt x="0" y="3648"/>
                    </a:moveTo>
                    <a:lnTo>
                      <a:pt x="239" y="3648"/>
                    </a:lnTo>
                    <a:lnTo>
                      <a:pt x="538" y="3529"/>
                    </a:lnTo>
                    <a:lnTo>
                      <a:pt x="897" y="3289"/>
                    </a:lnTo>
                    <a:lnTo>
                      <a:pt x="1256" y="2990"/>
                    </a:lnTo>
                    <a:lnTo>
                      <a:pt x="1615" y="2572"/>
                    </a:lnTo>
                    <a:lnTo>
                      <a:pt x="1914" y="2093"/>
                    </a:lnTo>
                    <a:lnTo>
                      <a:pt x="2153" y="1615"/>
                    </a:lnTo>
                    <a:lnTo>
                      <a:pt x="2333" y="1136"/>
                    </a:lnTo>
                    <a:lnTo>
                      <a:pt x="2392" y="718"/>
                    </a:lnTo>
                    <a:lnTo>
                      <a:pt x="2392" y="658"/>
                    </a:lnTo>
                    <a:lnTo>
                      <a:pt x="2392" y="359"/>
                    </a:lnTo>
                    <a:lnTo>
                      <a:pt x="2273" y="120"/>
                    </a:lnTo>
                    <a:lnTo>
                      <a:pt x="2093" y="0"/>
                    </a:lnTo>
                  </a:path>
                </a:pathLst>
              </a:custGeom>
              <a:noFill/>
              <a:ln w="6350" cap="rnd">
                <a:solidFill>
                  <a:schemeClr val="bg1">
                    <a:alpha val="80000"/>
                  </a:schemeClr>
                </a:solidFill>
                <a:prstDash val="solid"/>
                <a:round/>
              </a:ln>
            </p:spPr>
            <p:txBody>
              <a:bodyPr rtlCol="0" anchor="ctr"/>
              <a:lstStyle/>
              <a:p>
                <a:endParaRPr lang="en-GB"/>
              </a:p>
            </p:txBody>
          </p:sp>
          <p:sp>
            <p:nvSpPr>
              <p:cNvPr id="5501" name="Vrije vorm: vorm 5500">
                <a:extLst>
                  <a:ext uri="{FF2B5EF4-FFF2-40B4-BE49-F238E27FC236}">
                    <a16:creationId xmlns:a16="http://schemas.microsoft.com/office/drawing/2014/main" id="{09C20764-E79D-45FA-A30D-D15909DC916F}"/>
                  </a:ext>
                </a:extLst>
              </p:cNvPr>
              <p:cNvSpPr/>
              <p:nvPr/>
            </p:nvSpPr>
            <p:spPr>
              <a:xfrm>
                <a:off x="6469486" y="1613699"/>
                <a:ext cx="5083" cy="4007"/>
              </a:xfrm>
              <a:custGeom>
                <a:avLst/>
                <a:gdLst>
                  <a:gd name="connsiteX0" fmla="*/ 5083 w 5083"/>
                  <a:gd name="connsiteY0" fmla="*/ 0 h 4007"/>
                  <a:gd name="connsiteX1" fmla="*/ 5083 w 5083"/>
                  <a:gd name="connsiteY1" fmla="*/ 0 h 4007"/>
                  <a:gd name="connsiteX2" fmla="*/ 4725 w 5083"/>
                  <a:gd name="connsiteY2" fmla="*/ 0 h 4007"/>
                  <a:gd name="connsiteX3" fmla="*/ 4426 w 5083"/>
                  <a:gd name="connsiteY3" fmla="*/ 60 h 4007"/>
                  <a:gd name="connsiteX4" fmla="*/ 4127 w 5083"/>
                  <a:gd name="connsiteY4" fmla="*/ 179 h 4007"/>
                  <a:gd name="connsiteX5" fmla="*/ 3768 w 5083"/>
                  <a:gd name="connsiteY5" fmla="*/ 359 h 4007"/>
                  <a:gd name="connsiteX6" fmla="*/ 3409 w 5083"/>
                  <a:gd name="connsiteY6" fmla="*/ 598 h 4007"/>
                  <a:gd name="connsiteX7" fmla="*/ 3050 w 5083"/>
                  <a:gd name="connsiteY7" fmla="*/ 897 h 4007"/>
                  <a:gd name="connsiteX8" fmla="*/ 2691 w 5083"/>
                  <a:gd name="connsiteY8" fmla="*/ 1256 h 4007"/>
                  <a:gd name="connsiteX9" fmla="*/ 2273 w 5083"/>
                  <a:gd name="connsiteY9" fmla="*/ 1675 h 4007"/>
                  <a:gd name="connsiteX10" fmla="*/ 0 w 5083"/>
                  <a:gd name="connsiteY10" fmla="*/ 4007 h 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83" h="4007">
                    <a:moveTo>
                      <a:pt x="5083" y="0"/>
                    </a:moveTo>
                    <a:lnTo>
                      <a:pt x="5083" y="0"/>
                    </a:lnTo>
                    <a:lnTo>
                      <a:pt x="4725" y="0"/>
                    </a:lnTo>
                    <a:lnTo>
                      <a:pt x="4426" y="60"/>
                    </a:lnTo>
                    <a:lnTo>
                      <a:pt x="4127" y="179"/>
                    </a:lnTo>
                    <a:lnTo>
                      <a:pt x="3768" y="359"/>
                    </a:lnTo>
                    <a:lnTo>
                      <a:pt x="3409" y="598"/>
                    </a:lnTo>
                    <a:lnTo>
                      <a:pt x="3050" y="897"/>
                    </a:lnTo>
                    <a:lnTo>
                      <a:pt x="2691" y="1256"/>
                    </a:lnTo>
                    <a:lnTo>
                      <a:pt x="2273" y="1675"/>
                    </a:lnTo>
                    <a:lnTo>
                      <a:pt x="0" y="4007"/>
                    </a:lnTo>
                  </a:path>
                </a:pathLst>
              </a:custGeom>
              <a:noFill/>
              <a:ln w="6350" cap="rnd">
                <a:solidFill>
                  <a:schemeClr val="bg1">
                    <a:alpha val="80000"/>
                  </a:schemeClr>
                </a:solidFill>
                <a:prstDash val="solid"/>
                <a:round/>
              </a:ln>
            </p:spPr>
            <p:txBody>
              <a:bodyPr rtlCol="0" anchor="ctr"/>
              <a:lstStyle/>
              <a:p>
                <a:endParaRPr lang="en-GB"/>
              </a:p>
            </p:txBody>
          </p:sp>
          <p:sp>
            <p:nvSpPr>
              <p:cNvPr id="5502" name="Vrije vorm: vorm 5501">
                <a:extLst>
                  <a:ext uri="{FF2B5EF4-FFF2-40B4-BE49-F238E27FC236}">
                    <a16:creationId xmlns:a16="http://schemas.microsoft.com/office/drawing/2014/main" id="{5832506D-0752-4958-98A7-3B56BD4D3601}"/>
                  </a:ext>
                </a:extLst>
              </p:cNvPr>
              <p:cNvSpPr/>
              <p:nvPr/>
            </p:nvSpPr>
            <p:spPr>
              <a:xfrm>
                <a:off x="6479594" y="1667286"/>
                <a:ext cx="1435" cy="2212"/>
              </a:xfrm>
              <a:custGeom>
                <a:avLst/>
                <a:gdLst>
                  <a:gd name="connsiteX0" fmla="*/ 0 w 1435"/>
                  <a:gd name="connsiteY0" fmla="*/ 0 h 2212"/>
                  <a:gd name="connsiteX1" fmla="*/ 0 w 1435"/>
                  <a:gd name="connsiteY1" fmla="*/ 0 h 2212"/>
                  <a:gd name="connsiteX2" fmla="*/ 478 w 1435"/>
                  <a:gd name="connsiteY2" fmla="*/ 2213 h 2212"/>
                  <a:gd name="connsiteX3" fmla="*/ 1435 w 1435"/>
                  <a:gd name="connsiteY3" fmla="*/ 239 h 2212"/>
                </a:gdLst>
                <a:ahLst/>
                <a:cxnLst>
                  <a:cxn ang="0">
                    <a:pos x="connsiteX0" y="connsiteY0"/>
                  </a:cxn>
                  <a:cxn ang="0">
                    <a:pos x="connsiteX1" y="connsiteY1"/>
                  </a:cxn>
                  <a:cxn ang="0">
                    <a:pos x="connsiteX2" y="connsiteY2"/>
                  </a:cxn>
                  <a:cxn ang="0">
                    <a:pos x="connsiteX3" y="connsiteY3"/>
                  </a:cxn>
                </a:cxnLst>
                <a:rect l="l" t="t" r="r" b="b"/>
                <a:pathLst>
                  <a:path w="1435" h="2212">
                    <a:moveTo>
                      <a:pt x="0" y="0"/>
                    </a:moveTo>
                    <a:lnTo>
                      <a:pt x="0" y="0"/>
                    </a:lnTo>
                    <a:lnTo>
                      <a:pt x="478" y="2213"/>
                    </a:lnTo>
                    <a:lnTo>
                      <a:pt x="1435" y="239"/>
                    </a:lnTo>
                  </a:path>
                </a:pathLst>
              </a:custGeom>
              <a:noFill/>
              <a:ln w="6350" cap="rnd">
                <a:solidFill>
                  <a:schemeClr val="bg1">
                    <a:alpha val="80000"/>
                  </a:schemeClr>
                </a:solidFill>
                <a:prstDash val="solid"/>
                <a:round/>
              </a:ln>
            </p:spPr>
            <p:txBody>
              <a:bodyPr rtlCol="0" anchor="ctr"/>
              <a:lstStyle/>
              <a:p>
                <a:endParaRPr lang="en-GB"/>
              </a:p>
            </p:txBody>
          </p:sp>
          <p:sp>
            <p:nvSpPr>
              <p:cNvPr id="5503" name="Vrije vorm: vorm 5502">
                <a:extLst>
                  <a:ext uri="{FF2B5EF4-FFF2-40B4-BE49-F238E27FC236}">
                    <a16:creationId xmlns:a16="http://schemas.microsoft.com/office/drawing/2014/main" id="{E38DAF00-51F0-4B49-A8A6-27927F08CD05}"/>
                  </a:ext>
                </a:extLst>
              </p:cNvPr>
              <p:cNvSpPr/>
              <p:nvPr/>
            </p:nvSpPr>
            <p:spPr>
              <a:xfrm>
                <a:off x="6474928" y="1662142"/>
                <a:ext cx="4246" cy="3468"/>
              </a:xfrm>
              <a:custGeom>
                <a:avLst/>
                <a:gdLst>
                  <a:gd name="connsiteX0" fmla="*/ 0 w 4246"/>
                  <a:gd name="connsiteY0" fmla="*/ 3469 h 3468"/>
                  <a:gd name="connsiteX1" fmla="*/ 2333 w 4246"/>
                  <a:gd name="connsiteY1" fmla="*/ 1196 h 3468"/>
                  <a:gd name="connsiteX2" fmla="*/ 3589 w 4246"/>
                  <a:gd name="connsiteY2" fmla="*/ 0 h 3468"/>
                  <a:gd name="connsiteX3" fmla="*/ 4187 w 4246"/>
                  <a:gd name="connsiteY3" fmla="*/ 419 h 3468"/>
                  <a:gd name="connsiteX4" fmla="*/ 4246 w 4246"/>
                  <a:gd name="connsiteY4" fmla="*/ 478 h 3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6" h="3468">
                    <a:moveTo>
                      <a:pt x="0" y="3469"/>
                    </a:moveTo>
                    <a:lnTo>
                      <a:pt x="2333" y="1196"/>
                    </a:lnTo>
                    <a:lnTo>
                      <a:pt x="3589" y="0"/>
                    </a:lnTo>
                    <a:lnTo>
                      <a:pt x="4187" y="419"/>
                    </a:lnTo>
                    <a:lnTo>
                      <a:pt x="4246" y="478"/>
                    </a:lnTo>
                  </a:path>
                </a:pathLst>
              </a:custGeom>
              <a:noFill/>
              <a:ln w="6350" cap="rnd">
                <a:solidFill>
                  <a:schemeClr val="bg1">
                    <a:alpha val="80000"/>
                  </a:schemeClr>
                </a:solidFill>
                <a:prstDash val="solid"/>
                <a:round/>
              </a:ln>
            </p:spPr>
            <p:txBody>
              <a:bodyPr rtlCol="0" anchor="ctr"/>
              <a:lstStyle/>
              <a:p>
                <a:endParaRPr lang="en-GB"/>
              </a:p>
            </p:txBody>
          </p:sp>
          <p:sp>
            <p:nvSpPr>
              <p:cNvPr id="5504" name="Vrije vorm: vorm 5503">
                <a:extLst>
                  <a:ext uri="{FF2B5EF4-FFF2-40B4-BE49-F238E27FC236}">
                    <a16:creationId xmlns:a16="http://schemas.microsoft.com/office/drawing/2014/main" id="{98AEF12B-A52A-482C-87FD-CB3984D6CFF9}"/>
                  </a:ext>
                </a:extLst>
              </p:cNvPr>
              <p:cNvSpPr/>
              <p:nvPr/>
            </p:nvSpPr>
            <p:spPr>
              <a:xfrm>
                <a:off x="6475945" y="1663877"/>
                <a:ext cx="3050" cy="2332"/>
              </a:xfrm>
              <a:custGeom>
                <a:avLst/>
                <a:gdLst>
                  <a:gd name="connsiteX0" fmla="*/ 0 w 3050"/>
                  <a:gd name="connsiteY0" fmla="*/ 2332 h 2332"/>
                  <a:gd name="connsiteX1" fmla="*/ 2333 w 3050"/>
                  <a:gd name="connsiteY1" fmla="*/ 60 h 2332"/>
                  <a:gd name="connsiteX2" fmla="*/ 2392 w 3050"/>
                  <a:gd name="connsiteY2" fmla="*/ 0 h 2332"/>
                  <a:gd name="connsiteX3" fmla="*/ 3050 w 3050"/>
                  <a:gd name="connsiteY3" fmla="*/ 359 h 2332"/>
                </a:gdLst>
                <a:ahLst/>
                <a:cxnLst>
                  <a:cxn ang="0">
                    <a:pos x="connsiteX0" y="connsiteY0"/>
                  </a:cxn>
                  <a:cxn ang="0">
                    <a:pos x="connsiteX1" y="connsiteY1"/>
                  </a:cxn>
                  <a:cxn ang="0">
                    <a:pos x="connsiteX2" y="connsiteY2"/>
                  </a:cxn>
                  <a:cxn ang="0">
                    <a:pos x="connsiteX3" y="connsiteY3"/>
                  </a:cxn>
                </a:cxnLst>
                <a:rect l="l" t="t" r="r" b="b"/>
                <a:pathLst>
                  <a:path w="3050" h="2332">
                    <a:moveTo>
                      <a:pt x="0" y="2332"/>
                    </a:moveTo>
                    <a:lnTo>
                      <a:pt x="2333" y="60"/>
                    </a:lnTo>
                    <a:lnTo>
                      <a:pt x="2392" y="0"/>
                    </a:lnTo>
                    <a:lnTo>
                      <a:pt x="3050" y="359"/>
                    </a:lnTo>
                  </a:path>
                </a:pathLst>
              </a:custGeom>
              <a:noFill/>
              <a:ln w="6350" cap="rnd">
                <a:solidFill>
                  <a:schemeClr val="bg1">
                    <a:alpha val="80000"/>
                  </a:schemeClr>
                </a:solidFill>
                <a:prstDash val="solid"/>
                <a:round/>
              </a:ln>
            </p:spPr>
            <p:txBody>
              <a:bodyPr rtlCol="0" anchor="ctr"/>
              <a:lstStyle/>
              <a:p>
                <a:endParaRPr lang="en-GB"/>
              </a:p>
            </p:txBody>
          </p:sp>
          <p:sp>
            <p:nvSpPr>
              <p:cNvPr id="5505" name="Vrije vorm: vorm 5504">
                <a:extLst>
                  <a:ext uri="{FF2B5EF4-FFF2-40B4-BE49-F238E27FC236}">
                    <a16:creationId xmlns:a16="http://schemas.microsoft.com/office/drawing/2014/main" id="{36508A02-AE9E-47F4-A349-48B66AA0781F}"/>
                  </a:ext>
                </a:extLst>
              </p:cNvPr>
              <p:cNvSpPr/>
              <p:nvPr/>
            </p:nvSpPr>
            <p:spPr>
              <a:xfrm>
                <a:off x="6470383" y="1666927"/>
                <a:ext cx="9270" cy="9150"/>
              </a:xfrm>
              <a:custGeom>
                <a:avLst/>
                <a:gdLst>
                  <a:gd name="connsiteX0" fmla="*/ 0 w 9270"/>
                  <a:gd name="connsiteY0" fmla="*/ 9150 h 9150"/>
                  <a:gd name="connsiteX1" fmla="*/ 239 w 9270"/>
                  <a:gd name="connsiteY1" fmla="*/ 8911 h 9150"/>
                  <a:gd name="connsiteX2" fmla="*/ 299 w 9270"/>
                  <a:gd name="connsiteY2" fmla="*/ 8851 h 9150"/>
                  <a:gd name="connsiteX3" fmla="*/ 419 w 9270"/>
                  <a:gd name="connsiteY3" fmla="*/ 8732 h 9150"/>
                  <a:gd name="connsiteX4" fmla="*/ 897 w 9270"/>
                  <a:gd name="connsiteY4" fmla="*/ 8313 h 9150"/>
                  <a:gd name="connsiteX5" fmla="*/ 1316 w 9270"/>
                  <a:gd name="connsiteY5" fmla="*/ 7895 h 9150"/>
                  <a:gd name="connsiteX6" fmla="*/ 3649 w 9270"/>
                  <a:gd name="connsiteY6" fmla="*/ 5682 h 9150"/>
                  <a:gd name="connsiteX7" fmla="*/ 5981 w 9270"/>
                  <a:gd name="connsiteY7" fmla="*/ 3469 h 9150"/>
                  <a:gd name="connsiteX8" fmla="*/ 8313 w 9270"/>
                  <a:gd name="connsiteY8" fmla="*/ 1256 h 9150"/>
                  <a:gd name="connsiteX9" fmla="*/ 9270 w 9270"/>
                  <a:gd name="connsiteY9" fmla="*/ 359 h 9150"/>
                  <a:gd name="connsiteX10" fmla="*/ 8612 w 9270"/>
                  <a:gd name="connsiteY10" fmla="*/ 0 h 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70" h="9150">
                    <a:moveTo>
                      <a:pt x="0" y="9150"/>
                    </a:moveTo>
                    <a:lnTo>
                      <a:pt x="239" y="8911"/>
                    </a:lnTo>
                    <a:lnTo>
                      <a:pt x="299" y="8851"/>
                    </a:lnTo>
                    <a:lnTo>
                      <a:pt x="419" y="8732"/>
                    </a:lnTo>
                    <a:lnTo>
                      <a:pt x="897" y="8313"/>
                    </a:lnTo>
                    <a:lnTo>
                      <a:pt x="1316" y="7895"/>
                    </a:lnTo>
                    <a:lnTo>
                      <a:pt x="3649" y="5682"/>
                    </a:lnTo>
                    <a:lnTo>
                      <a:pt x="5981" y="3469"/>
                    </a:lnTo>
                    <a:lnTo>
                      <a:pt x="8313" y="1256"/>
                    </a:lnTo>
                    <a:lnTo>
                      <a:pt x="9270" y="359"/>
                    </a:lnTo>
                    <a:lnTo>
                      <a:pt x="8612" y="0"/>
                    </a:lnTo>
                  </a:path>
                </a:pathLst>
              </a:custGeom>
              <a:noFill/>
              <a:ln w="6350" cap="rnd">
                <a:solidFill>
                  <a:schemeClr val="bg1">
                    <a:alpha val="80000"/>
                  </a:schemeClr>
                </a:solidFill>
                <a:prstDash val="solid"/>
                <a:round/>
              </a:ln>
            </p:spPr>
            <p:txBody>
              <a:bodyPr rtlCol="0" anchor="ctr"/>
              <a:lstStyle/>
              <a:p>
                <a:endParaRPr lang="en-GB"/>
              </a:p>
            </p:txBody>
          </p:sp>
          <p:sp>
            <p:nvSpPr>
              <p:cNvPr id="5506" name="Vrije vorm: vorm 5505">
                <a:extLst>
                  <a:ext uri="{FF2B5EF4-FFF2-40B4-BE49-F238E27FC236}">
                    <a16:creationId xmlns:a16="http://schemas.microsoft.com/office/drawing/2014/main" id="{7AA699ED-9B54-4CAA-891E-9CA42C46F625}"/>
                  </a:ext>
                </a:extLst>
              </p:cNvPr>
              <p:cNvSpPr/>
              <p:nvPr/>
            </p:nvSpPr>
            <p:spPr>
              <a:xfrm>
                <a:off x="6469725" y="1663757"/>
                <a:ext cx="9210" cy="11961"/>
              </a:xfrm>
              <a:custGeom>
                <a:avLst/>
                <a:gdLst>
                  <a:gd name="connsiteX0" fmla="*/ 0 w 9210"/>
                  <a:gd name="connsiteY0" fmla="*/ 11961 h 11961"/>
                  <a:gd name="connsiteX1" fmla="*/ 239 w 9210"/>
                  <a:gd name="connsiteY1" fmla="*/ 11722 h 11961"/>
                  <a:gd name="connsiteX2" fmla="*/ 299 w 9210"/>
                  <a:gd name="connsiteY2" fmla="*/ 11662 h 11961"/>
                  <a:gd name="connsiteX3" fmla="*/ 419 w 9210"/>
                  <a:gd name="connsiteY3" fmla="*/ 11543 h 11961"/>
                  <a:gd name="connsiteX4" fmla="*/ 1076 w 9210"/>
                  <a:gd name="connsiteY4" fmla="*/ 10885 h 11961"/>
                  <a:gd name="connsiteX5" fmla="*/ 1136 w 9210"/>
                  <a:gd name="connsiteY5" fmla="*/ 10825 h 11961"/>
                  <a:gd name="connsiteX6" fmla="*/ 3469 w 9210"/>
                  <a:gd name="connsiteY6" fmla="*/ 8552 h 11961"/>
                  <a:gd name="connsiteX7" fmla="*/ 5801 w 9210"/>
                  <a:gd name="connsiteY7" fmla="*/ 6280 h 11961"/>
                  <a:gd name="connsiteX8" fmla="*/ 8134 w 9210"/>
                  <a:gd name="connsiteY8" fmla="*/ 4007 h 11961"/>
                  <a:gd name="connsiteX9" fmla="*/ 9210 w 9210"/>
                  <a:gd name="connsiteY9" fmla="*/ 2990 h 11961"/>
                  <a:gd name="connsiteX10" fmla="*/ 8732 w 9210"/>
                  <a:gd name="connsiteY10" fmla="*/ 837 h 11961"/>
                  <a:gd name="connsiteX11" fmla="*/ 8552 w 9210"/>
                  <a:gd name="connsiteY11" fmla="*/ 0 h 1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10" h="11961">
                    <a:moveTo>
                      <a:pt x="0" y="11961"/>
                    </a:moveTo>
                    <a:lnTo>
                      <a:pt x="239" y="11722"/>
                    </a:lnTo>
                    <a:lnTo>
                      <a:pt x="299" y="11662"/>
                    </a:lnTo>
                    <a:lnTo>
                      <a:pt x="419" y="11543"/>
                    </a:lnTo>
                    <a:lnTo>
                      <a:pt x="1076" y="10885"/>
                    </a:lnTo>
                    <a:lnTo>
                      <a:pt x="1136" y="10825"/>
                    </a:lnTo>
                    <a:lnTo>
                      <a:pt x="3469" y="8552"/>
                    </a:lnTo>
                    <a:lnTo>
                      <a:pt x="5801" y="6280"/>
                    </a:lnTo>
                    <a:lnTo>
                      <a:pt x="8134" y="4007"/>
                    </a:lnTo>
                    <a:lnTo>
                      <a:pt x="9210" y="2990"/>
                    </a:lnTo>
                    <a:lnTo>
                      <a:pt x="8732" y="837"/>
                    </a:lnTo>
                    <a:lnTo>
                      <a:pt x="8552" y="0"/>
                    </a:lnTo>
                  </a:path>
                </a:pathLst>
              </a:custGeom>
              <a:noFill/>
              <a:ln w="6350" cap="rnd">
                <a:solidFill>
                  <a:schemeClr val="bg1">
                    <a:alpha val="80000"/>
                  </a:schemeClr>
                </a:solidFill>
                <a:prstDash val="solid"/>
                <a:round/>
              </a:ln>
            </p:spPr>
            <p:txBody>
              <a:bodyPr rtlCol="0" anchor="ctr"/>
              <a:lstStyle/>
              <a:p>
                <a:endParaRPr lang="en-GB"/>
              </a:p>
            </p:txBody>
          </p:sp>
          <p:sp>
            <p:nvSpPr>
              <p:cNvPr id="5507" name="Vrije vorm: vorm 5506">
                <a:extLst>
                  <a:ext uri="{FF2B5EF4-FFF2-40B4-BE49-F238E27FC236}">
                    <a16:creationId xmlns:a16="http://schemas.microsoft.com/office/drawing/2014/main" id="{63231868-F1A9-4030-AE81-5795F8902D36}"/>
                  </a:ext>
                </a:extLst>
              </p:cNvPr>
              <p:cNvSpPr/>
              <p:nvPr/>
            </p:nvSpPr>
            <p:spPr>
              <a:xfrm>
                <a:off x="6478457" y="1662142"/>
                <a:ext cx="478" cy="2153"/>
              </a:xfrm>
              <a:custGeom>
                <a:avLst/>
                <a:gdLst>
                  <a:gd name="connsiteX0" fmla="*/ 478 w 478"/>
                  <a:gd name="connsiteY0" fmla="*/ 2153 h 2153"/>
                  <a:gd name="connsiteX1" fmla="*/ 0 w 478"/>
                  <a:gd name="connsiteY1" fmla="*/ 0 h 2153"/>
                </a:gdLst>
                <a:ahLst/>
                <a:cxnLst>
                  <a:cxn ang="0">
                    <a:pos x="connsiteX0" y="connsiteY0"/>
                  </a:cxn>
                  <a:cxn ang="0">
                    <a:pos x="connsiteX1" y="connsiteY1"/>
                  </a:cxn>
                </a:cxnLst>
                <a:rect l="l" t="t" r="r" b="b"/>
                <a:pathLst>
                  <a:path w="478" h="2153">
                    <a:moveTo>
                      <a:pt x="478" y="2153"/>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08" name="Vrije vorm: vorm 5507">
                <a:extLst>
                  <a:ext uri="{FF2B5EF4-FFF2-40B4-BE49-F238E27FC236}">
                    <a16:creationId xmlns:a16="http://schemas.microsoft.com/office/drawing/2014/main" id="{19C8DC5B-015A-4EE2-882E-792485C5228D}"/>
                  </a:ext>
                </a:extLst>
              </p:cNvPr>
              <p:cNvSpPr/>
              <p:nvPr/>
            </p:nvSpPr>
            <p:spPr>
              <a:xfrm>
                <a:off x="6472656" y="1664296"/>
                <a:ext cx="478" cy="2392"/>
              </a:xfrm>
              <a:custGeom>
                <a:avLst/>
                <a:gdLst>
                  <a:gd name="connsiteX0" fmla="*/ 0 w 478"/>
                  <a:gd name="connsiteY0" fmla="*/ 0 h 2392"/>
                  <a:gd name="connsiteX1" fmla="*/ 479 w 478"/>
                  <a:gd name="connsiteY1" fmla="*/ 2392 h 2392"/>
                </a:gdLst>
                <a:ahLst/>
                <a:cxnLst>
                  <a:cxn ang="0">
                    <a:pos x="connsiteX0" y="connsiteY0"/>
                  </a:cxn>
                  <a:cxn ang="0">
                    <a:pos x="connsiteX1" y="connsiteY1"/>
                  </a:cxn>
                </a:cxnLst>
                <a:rect l="l" t="t" r="r" b="b"/>
                <a:pathLst>
                  <a:path w="478" h="2392">
                    <a:moveTo>
                      <a:pt x="0" y="0"/>
                    </a:moveTo>
                    <a:lnTo>
                      <a:pt x="479" y="2392"/>
                    </a:lnTo>
                  </a:path>
                </a:pathLst>
              </a:custGeom>
              <a:noFill/>
              <a:ln w="6350" cap="rnd">
                <a:solidFill>
                  <a:schemeClr val="bg1">
                    <a:alpha val="80000"/>
                  </a:schemeClr>
                </a:solidFill>
                <a:prstDash val="solid"/>
                <a:round/>
              </a:ln>
            </p:spPr>
            <p:txBody>
              <a:bodyPr rtlCol="0" anchor="ctr"/>
              <a:lstStyle/>
              <a:p>
                <a:endParaRPr lang="en-GB"/>
              </a:p>
            </p:txBody>
          </p:sp>
          <p:sp>
            <p:nvSpPr>
              <p:cNvPr id="5509" name="Vrije vorm: vorm 5508">
                <a:extLst>
                  <a:ext uri="{FF2B5EF4-FFF2-40B4-BE49-F238E27FC236}">
                    <a16:creationId xmlns:a16="http://schemas.microsoft.com/office/drawing/2014/main" id="{FF9DC932-ED49-4A01-B10D-E4798E96CC7E}"/>
                  </a:ext>
                </a:extLst>
              </p:cNvPr>
              <p:cNvSpPr/>
              <p:nvPr/>
            </p:nvSpPr>
            <p:spPr>
              <a:xfrm>
                <a:off x="6468290" y="1666688"/>
                <a:ext cx="8372" cy="4724"/>
              </a:xfrm>
              <a:custGeom>
                <a:avLst/>
                <a:gdLst>
                  <a:gd name="connsiteX0" fmla="*/ 8373 w 8372"/>
                  <a:gd name="connsiteY0" fmla="*/ 2033 h 4724"/>
                  <a:gd name="connsiteX1" fmla="*/ 7835 w 8372"/>
                  <a:gd name="connsiteY1" fmla="*/ 1734 h 4724"/>
                  <a:gd name="connsiteX2" fmla="*/ 6937 w 8372"/>
                  <a:gd name="connsiteY2" fmla="*/ 1196 h 4724"/>
                  <a:gd name="connsiteX3" fmla="*/ 6280 w 8372"/>
                  <a:gd name="connsiteY3" fmla="*/ 837 h 4724"/>
                  <a:gd name="connsiteX4" fmla="*/ 5263 w 8372"/>
                  <a:gd name="connsiteY4" fmla="*/ 239 h 4724"/>
                  <a:gd name="connsiteX5" fmla="*/ 4844 w 8372"/>
                  <a:gd name="connsiteY5" fmla="*/ 0 h 4724"/>
                  <a:gd name="connsiteX6" fmla="*/ 2512 w 8372"/>
                  <a:gd name="connsiteY6" fmla="*/ 2273 h 4724"/>
                  <a:gd name="connsiteX7" fmla="*/ 1794 w 8372"/>
                  <a:gd name="connsiteY7" fmla="*/ 2990 h 4724"/>
                  <a:gd name="connsiteX8" fmla="*/ 718 w 8372"/>
                  <a:gd name="connsiteY8" fmla="*/ 4007 h 4724"/>
                  <a:gd name="connsiteX9" fmla="*/ 538 w 8372"/>
                  <a:gd name="connsiteY9" fmla="*/ 4186 h 4724"/>
                  <a:gd name="connsiteX10" fmla="*/ 0 w 8372"/>
                  <a:gd name="connsiteY10"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72" h="4724">
                    <a:moveTo>
                      <a:pt x="8373" y="2033"/>
                    </a:moveTo>
                    <a:lnTo>
                      <a:pt x="7835" y="1734"/>
                    </a:lnTo>
                    <a:lnTo>
                      <a:pt x="6937" y="1196"/>
                    </a:lnTo>
                    <a:lnTo>
                      <a:pt x="6280" y="837"/>
                    </a:lnTo>
                    <a:lnTo>
                      <a:pt x="5263" y="239"/>
                    </a:lnTo>
                    <a:lnTo>
                      <a:pt x="4844" y="0"/>
                    </a:lnTo>
                    <a:lnTo>
                      <a:pt x="2512" y="2273"/>
                    </a:lnTo>
                    <a:lnTo>
                      <a:pt x="1794" y="2990"/>
                    </a:lnTo>
                    <a:lnTo>
                      <a:pt x="718" y="4007"/>
                    </a:lnTo>
                    <a:lnTo>
                      <a:pt x="538" y="4186"/>
                    </a:lnTo>
                    <a:lnTo>
                      <a:pt x="0" y="4725"/>
                    </a:lnTo>
                  </a:path>
                </a:pathLst>
              </a:custGeom>
              <a:noFill/>
              <a:ln w="6350" cap="rnd">
                <a:solidFill>
                  <a:schemeClr val="bg1">
                    <a:alpha val="80000"/>
                  </a:schemeClr>
                </a:solidFill>
                <a:prstDash val="solid"/>
                <a:round/>
              </a:ln>
            </p:spPr>
            <p:txBody>
              <a:bodyPr rtlCol="0" anchor="ctr"/>
              <a:lstStyle/>
              <a:p>
                <a:endParaRPr lang="en-GB"/>
              </a:p>
            </p:txBody>
          </p:sp>
          <p:sp>
            <p:nvSpPr>
              <p:cNvPr id="5510" name="Vrije vorm: vorm 5509">
                <a:extLst>
                  <a:ext uri="{FF2B5EF4-FFF2-40B4-BE49-F238E27FC236}">
                    <a16:creationId xmlns:a16="http://schemas.microsoft.com/office/drawing/2014/main" id="{704F48B5-DD77-4CC1-AB60-59ACAB47D194}"/>
                  </a:ext>
                </a:extLst>
              </p:cNvPr>
              <p:cNvSpPr/>
              <p:nvPr/>
            </p:nvSpPr>
            <p:spPr>
              <a:xfrm>
                <a:off x="6467931" y="1664236"/>
                <a:ext cx="8313" cy="9090"/>
              </a:xfrm>
              <a:custGeom>
                <a:avLst/>
                <a:gdLst>
                  <a:gd name="connsiteX0" fmla="*/ 3947 w 8313"/>
                  <a:gd name="connsiteY0" fmla="*/ 9091 h 9090"/>
                  <a:gd name="connsiteX1" fmla="*/ 3229 w 8313"/>
                  <a:gd name="connsiteY1" fmla="*/ 8672 h 9090"/>
                  <a:gd name="connsiteX2" fmla="*/ 2572 w 8313"/>
                  <a:gd name="connsiteY2" fmla="*/ 8313 h 9090"/>
                  <a:gd name="connsiteX3" fmla="*/ 2512 w 8313"/>
                  <a:gd name="connsiteY3" fmla="*/ 8253 h 9090"/>
                  <a:gd name="connsiteX4" fmla="*/ 2512 w 8313"/>
                  <a:gd name="connsiteY4" fmla="*/ 8253 h 9090"/>
                  <a:gd name="connsiteX5" fmla="*/ 1914 w 8313"/>
                  <a:gd name="connsiteY5" fmla="*/ 7895 h 9090"/>
                  <a:gd name="connsiteX6" fmla="*/ 1914 w 8313"/>
                  <a:gd name="connsiteY6" fmla="*/ 7895 h 9090"/>
                  <a:gd name="connsiteX7" fmla="*/ 1734 w 8313"/>
                  <a:gd name="connsiteY7" fmla="*/ 7775 h 9090"/>
                  <a:gd name="connsiteX8" fmla="*/ 1615 w 8313"/>
                  <a:gd name="connsiteY8" fmla="*/ 7715 h 9090"/>
                  <a:gd name="connsiteX9" fmla="*/ 479 w 8313"/>
                  <a:gd name="connsiteY9" fmla="*/ 7057 h 9090"/>
                  <a:gd name="connsiteX10" fmla="*/ 0 w 8313"/>
                  <a:gd name="connsiteY10" fmla="*/ 4665 h 9090"/>
                  <a:gd name="connsiteX11" fmla="*/ 0 w 8313"/>
                  <a:gd name="connsiteY11" fmla="*/ 4665 h 9090"/>
                  <a:gd name="connsiteX12" fmla="*/ 239 w 8313"/>
                  <a:gd name="connsiteY12" fmla="*/ 4426 h 9090"/>
                  <a:gd name="connsiteX13" fmla="*/ 2572 w 8313"/>
                  <a:gd name="connsiteY13" fmla="*/ 2153 h 9090"/>
                  <a:gd name="connsiteX14" fmla="*/ 2751 w 8313"/>
                  <a:gd name="connsiteY14" fmla="*/ 1974 h 9090"/>
                  <a:gd name="connsiteX15" fmla="*/ 4785 w 8313"/>
                  <a:gd name="connsiteY15" fmla="*/ 0 h 9090"/>
                  <a:gd name="connsiteX16" fmla="*/ 4904 w 8313"/>
                  <a:gd name="connsiteY16" fmla="*/ 60 h 9090"/>
                  <a:gd name="connsiteX17" fmla="*/ 7057 w 8313"/>
                  <a:gd name="connsiteY17" fmla="*/ 1316 h 9090"/>
                  <a:gd name="connsiteX18" fmla="*/ 7655 w 8313"/>
                  <a:gd name="connsiteY18" fmla="*/ 1675 h 9090"/>
                  <a:gd name="connsiteX19" fmla="*/ 8074 w 8313"/>
                  <a:gd name="connsiteY19" fmla="*/ 1914 h 9090"/>
                  <a:gd name="connsiteX20" fmla="*/ 8313 w 8313"/>
                  <a:gd name="connsiteY20" fmla="*/ 2034 h 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13" h="9090">
                    <a:moveTo>
                      <a:pt x="3947" y="9091"/>
                    </a:moveTo>
                    <a:lnTo>
                      <a:pt x="3229" y="8672"/>
                    </a:lnTo>
                    <a:lnTo>
                      <a:pt x="2572" y="8313"/>
                    </a:lnTo>
                    <a:lnTo>
                      <a:pt x="2512" y="8253"/>
                    </a:lnTo>
                    <a:lnTo>
                      <a:pt x="2512" y="8253"/>
                    </a:lnTo>
                    <a:lnTo>
                      <a:pt x="1914" y="7895"/>
                    </a:lnTo>
                    <a:lnTo>
                      <a:pt x="1914" y="7895"/>
                    </a:lnTo>
                    <a:lnTo>
                      <a:pt x="1734" y="7775"/>
                    </a:lnTo>
                    <a:lnTo>
                      <a:pt x="1615" y="7715"/>
                    </a:lnTo>
                    <a:lnTo>
                      <a:pt x="479" y="7057"/>
                    </a:lnTo>
                    <a:lnTo>
                      <a:pt x="0" y="4665"/>
                    </a:lnTo>
                    <a:lnTo>
                      <a:pt x="0" y="4665"/>
                    </a:lnTo>
                    <a:lnTo>
                      <a:pt x="239" y="4426"/>
                    </a:lnTo>
                    <a:lnTo>
                      <a:pt x="2572" y="2153"/>
                    </a:lnTo>
                    <a:lnTo>
                      <a:pt x="2751" y="1974"/>
                    </a:lnTo>
                    <a:lnTo>
                      <a:pt x="4785" y="0"/>
                    </a:lnTo>
                    <a:lnTo>
                      <a:pt x="4904" y="60"/>
                    </a:lnTo>
                    <a:lnTo>
                      <a:pt x="7057" y="1316"/>
                    </a:lnTo>
                    <a:lnTo>
                      <a:pt x="7655" y="1675"/>
                    </a:lnTo>
                    <a:lnTo>
                      <a:pt x="8074" y="1914"/>
                    </a:lnTo>
                    <a:lnTo>
                      <a:pt x="8313" y="2034"/>
                    </a:lnTo>
                  </a:path>
                </a:pathLst>
              </a:custGeom>
              <a:noFill/>
              <a:ln w="6350" cap="rnd">
                <a:solidFill>
                  <a:schemeClr val="bg1">
                    <a:alpha val="80000"/>
                  </a:schemeClr>
                </a:solidFill>
                <a:prstDash val="solid"/>
                <a:round/>
              </a:ln>
            </p:spPr>
            <p:txBody>
              <a:bodyPr rtlCol="0" anchor="ctr"/>
              <a:lstStyle/>
              <a:p>
                <a:endParaRPr lang="en-GB"/>
              </a:p>
            </p:txBody>
          </p:sp>
          <p:sp>
            <p:nvSpPr>
              <p:cNvPr id="5511" name="Vrije vorm: vorm 5510">
                <a:extLst>
                  <a:ext uri="{FF2B5EF4-FFF2-40B4-BE49-F238E27FC236}">
                    <a16:creationId xmlns:a16="http://schemas.microsoft.com/office/drawing/2014/main" id="{DE0BC91E-888A-4A0C-8386-626AC2FC11F3}"/>
                  </a:ext>
                </a:extLst>
              </p:cNvPr>
              <p:cNvSpPr/>
              <p:nvPr/>
            </p:nvSpPr>
            <p:spPr>
              <a:xfrm>
                <a:off x="6476185" y="1666329"/>
                <a:ext cx="5980" cy="119"/>
              </a:xfrm>
              <a:custGeom>
                <a:avLst/>
                <a:gdLst>
                  <a:gd name="connsiteX0" fmla="*/ 0 w 5980"/>
                  <a:gd name="connsiteY0" fmla="*/ 0 h 119"/>
                  <a:gd name="connsiteX1" fmla="*/ 0 w 5980"/>
                  <a:gd name="connsiteY1" fmla="*/ 120 h 119"/>
                </a:gdLst>
                <a:ahLst/>
                <a:cxnLst>
                  <a:cxn ang="0">
                    <a:pos x="connsiteX0" y="connsiteY0"/>
                  </a:cxn>
                  <a:cxn ang="0">
                    <a:pos x="connsiteX1" y="connsiteY1"/>
                  </a:cxn>
                </a:cxnLst>
                <a:rect l="l" t="t" r="r" b="b"/>
                <a:pathLst>
                  <a:path w="5980" h="119">
                    <a:moveTo>
                      <a:pt x="0" y="0"/>
                    </a:moveTo>
                    <a:lnTo>
                      <a:pt x="0" y="120"/>
                    </a:lnTo>
                  </a:path>
                </a:pathLst>
              </a:custGeom>
              <a:noFill/>
              <a:ln w="6350" cap="rnd">
                <a:solidFill>
                  <a:schemeClr val="bg1">
                    <a:alpha val="80000"/>
                  </a:schemeClr>
                </a:solidFill>
                <a:prstDash val="solid"/>
                <a:round/>
              </a:ln>
            </p:spPr>
            <p:txBody>
              <a:bodyPr rtlCol="0" anchor="ctr"/>
              <a:lstStyle/>
              <a:p>
                <a:endParaRPr lang="en-GB"/>
              </a:p>
            </p:txBody>
          </p:sp>
          <p:sp>
            <p:nvSpPr>
              <p:cNvPr id="5512" name="Vrije vorm: vorm 5511">
                <a:extLst>
                  <a:ext uri="{FF2B5EF4-FFF2-40B4-BE49-F238E27FC236}">
                    <a16:creationId xmlns:a16="http://schemas.microsoft.com/office/drawing/2014/main" id="{A35D8E7B-EBBC-4098-A3D8-085CB29B44A3}"/>
                  </a:ext>
                </a:extLst>
              </p:cNvPr>
              <p:cNvSpPr/>
              <p:nvPr/>
            </p:nvSpPr>
            <p:spPr>
              <a:xfrm>
                <a:off x="6469127" y="1672190"/>
                <a:ext cx="597" cy="1016"/>
              </a:xfrm>
              <a:custGeom>
                <a:avLst/>
                <a:gdLst>
                  <a:gd name="connsiteX0" fmla="*/ 119 w 597"/>
                  <a:gd name="connsiteY0" fmla="*/ 1017 h 1016"/>
                  <a:gd name="connsiteX1" fmla="*/ 0 w 597"/>
                  <a:gd name="connsiteY1" fmla="*/ 538 h 1016"/>
                  <a:gd name="connsiteX2" fmla="*/ 478 w 597"/>
                  <a:gd name="connsiteY2" fmla="*/ 120 h 1016"/>
                  <a:gd name="connsiteX3" fmla="*/ 478 w 597"/>
                  <a:gd name="connsiteY3" fmla="*/ 120 h 1016"/>
                  <a:gd name="connsiteX4" fmla="*/ 598 w 597"/>
                  <a:gd name="connsiteY4" fmla="*/ 0 h 1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 h="1016">
                    <a:moveTo>
                      <a:pt x="119" y="1017"/>
                    </a:moveTo>
                    <a:lnTo>
                      <a:pt x="0" y="538"/>
                    </a:lnTo>
                    <a:lnTo>
                      <a:pt x="478" y="120"/>
                    </a:lnTo>
                    <a:lnTo>
                      <a:pt x="478" y="120"/>
                    </a:lnTo>
                    <a:lnTo>
                      <a:pt x="598" y="0"/>
                    </a:lnTo>
                  </a:path>
                </a:pathLst>
              </a:custGeom>
              <a:noFill/>
              <a:ln w="6350" cap="rnd">
                <a:solidFill>
                  <a:schemeClr val="bg1">
                    <a:alpha val="80000"/>
                  </a:schemeClr>
                </a:solidFill>
                <a:prstDash val="solid"/>
                <a:round/>
              </a:ln>
            </p:spPr>
            <p:txBody>
              <a:bodyPr rtlCol="0" anchor="ctr"/>
              <a:lstStyle/>
              <a:p>
                <a:endParaRPr lang="en-GB"/>
              </a:p>
            </p:txBody>
          </p:sp>
          <p:sp>
            <p:nvSpPr>
              <p:cNvPr id="5513" name="Vrije vorm: vorm 5512">
                <a:extLst>
                  <a:ext uri="{FF2B5EF4-FFF2-40B4-BE49-F238E27FC236}">
                    <a16:creationId xmlns:a16="http://schemas.microsoft.com/office/drawing/2014/main" id="{5C168439-F0F5-4A46-A567-29159A9E9D09}"/>
                  </a:ext>
                </a:extLst>
              </p:cNvPr>
              <p:cNvSpPr/>
              <p:nvPr/>
            </p:nvSpPr>
            <p:spPr>
              <a:xfrm>
                <a:off x="6477022" y="1665611"/>
                <a:ext cx="1195" cy="1734"/>
              </a:xfrm>
              <a:custGeom>
                <a:avLst/>
                <a:gdLst>
                  <a:gd name="connsiteX0" fmla="*/ 0 w 1195"/>
                  <a:gd name="connsiteY0" fmla="*/ 1675 h 1734"/>
                  <a:gd name="connsiteX1" fmla="*/ 119 w 1195"/>
                  <a:gd name="connsiteY1" fmla="*/ 1734 h 1734"/>
                  <a:gd name="connsiteX2" fmla="*/ 299 w 1195"/>
                  <a:gd name="connsiteY2" fmla="*/ 1734 h 1734"/>
                  <a:gd name="connsiteX3" fmla="*/ 478 w 1195"/>
                  <a:gd name="connsiteY3" fmla="*/ 1675 h 1734"/>
                  <a:gd name="connsiteX4" fmla="*/ 658 w 1195"/>
                  <a:gd name="connsiteY4" fmla="*/ 1555 h 1734"/>
                  <a:gd name="connsiteX5" fmla="*/ 837 w 1195"/>
                  <a:gd name="connsiteY5" fmla="*/ 1376 h 1734"/>
                  <a:gd name="connsiteX6" fmla="*/ 957 w 1195"/>
                  <a:gd name="connsiteY6" fmla="*/ 1136 h 1734"/>
                  <a:gd name="connsiteX7" fmla="*/ 1076 w 1195"/>
                  <a:gd name="connsiteY7" fmla="*/ 897 h 1734"/>
                  <a:gd name="connsiteX8" fmla="*/ 1136 w 1195"/>
                  <a:gd name="connsiteY8" fmla="*/ 658 h 1734"/>
                  <a:gd name="connsiteX9" fmla="*/ 1196 w 1195"/>
                  <a:gd name="connsiteY9" fmla="*/ 419 h 1734"/>
                  <a:gd name="connsiteX10" fmla="*/ 1196 w 1195"/>
                  <a:gd name="connsiteY10" fmla="*/ 239 h 1734"/>
                  <a:gd name="connsiteX11" fmla="*/ 1136 w 1195"/>
                  <a:gd name="connsiteY11" fmla="*/ 120 h 1734"/>
                  <a:gd name="connsiteX12" fmla="*/ 1017 w 1195"/>
                  <a:gd name="connsiteY12" fmla="*/ 0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5" h="1734">
                    <a:moveTo>
                      <a:pt x="0" y="1675"/>
                    </a:moveTo>
                    <a:lnTo>
                      <a:pt x="119" y="1734"/>
                    </a:lnTo>
                    <a:lnTo>
                      <a:pt x="299" y="1734"/>
                    </a:lnTo>
                    <a:lnTo>
                      <a:pt x="478" y="1675"/>
                    </a:lnTo>
                    <a:lnTo>
                      <a:pt x="658" y="1555"/>
                    </a:lnTo>
                    <a:lnTo>
                      <a:pt x="837" y="1376"/>
                    </a:lnTo>
                    <a:lnTo>
                      <a:pt x="957" y="1136"/>
                    </a:lnTo>
                    <a:lnTo>
                      <a:pt x="1076" y="897"/>
                    </a:lnTo>
                    <a:lnTo>
                      <a:pt x="1136" y="658"/>
                    </a:lnTo>
                    <a:lnTo>
                      <a:pt x="1196" y="419"/>
                    </a:lnTo>
                    <a:lnTo>
                      <a:pt x="1196" y="239"/>
                    </a:lnTo>
                    <a:lnTo>
                      <a:pt x="1136" y="120"/>
                    </a:lnTo>
                    <a:lnTo>
                      <a:pt x="1017" y="0"/>
                    </a:lnTo>
                  </a:path>
                </a:pathLst>
              </a:custGeom>
              <a:noFill/>
              <a:ln w="6350" cap="rnd">
                <a:solidFill>
                  <a:schemeClr val="bg1">
                    <a:alpha val="80000"/>
                  </a:schemeClr>
                </a:solidFill>
                <a:prstDash val="solid"/>
                <a:round/>
              </a:ln>
            </p:spPr>
            <p:txBody>
              <a:bodyPr rtlCol="0" anchor="ctr"/>
              <a:lstStyle/>
              <a:p>
                <a:endParaRPr lang="en-GB"/>
              </a:p>
            </p:txBody>
          </p:sp>
          <p:sp>
            <p:nvSpPr>
              <p:cNvPr id="5514" name="Vrije vorm: vorm 5513">
                <a:extLst>
                  <a:ext uri="{FF2B5EF4-FFF2-40B4-BE49-F238E27FC236}">
                    <a16:creationId xmlns:a16="http://schemas.microsoft.com/office/drawing/2014/main" id="{264B64CA-C7A3-42D9-9082-7CA0E905F1FB}"/>
                  </a:ext>
                </a:extLst>
              </p:cNvPr>
              <p:cNvSpPr/>
              <p:nvPr/>
            </p:nvSpPr>
            <p:spPr>
              <a:xfrm>
                <a:off x="6470024" y="1672968"/>
                <a:ext cx="1136" cy="1076"/>
              </a:xfrm>
              <a:custGeom>
                <a:avLst/>
                <a:gdLst>
                  <a:gd name="connsiteX0" fmla="*/ 0 w 1136"/>
                  <a:gd name="connsiteY0" fmla="*/ 1017 h 1076"/>
                  <a:gd name="connsiteX1" fmla="*/ 120 w 1136"/>
                  <a:gd name="connsiteY1" fmla="*/ 1076 h 1076"/>
                  <a:gd name="connsiteX2" fmla="*/ 299 w 1136"/>
                  <a:gd name="connsiteY2" fmla="*/ 1076 h 1076"/>
                  <a:gd name="connsiteX3" fmla="*/ 479 w 1136"/>
                  <a:gd name="connsiteY3" fmla="*/ 1017 h 1076"/>
                  <a:gd name="connsiteX4" fmla="*/ 479 w 1136"/>
                  <a:gd name="connsiteY4" fmla="*/ 1017 h 1076"/>
                  <a:gd name="connsiteX5" fmla="*/ 658 w 1136"/>
                  <a:gd name="connsiteY5" fmla="*/ 897 h 1076"/>
                  <a:gd name="connsiteX6" fmla="*/ 837 w 1136"/>
                  <a:gd name="connsiteY6" fmla="*/ 718 h 1076"/>
                  <a:gd name="connsiteX7" fmla="*/ 957 w 1136"/>
                  <a:gd name="connsiteY7" fmla="*/ 538 h 1076"/>
                  <a:gd name="connsiteX8" fmla="*/ 1076 w 1136"/>
                  <a:gd name="connsiteY8" fmla="*/ 299 h 1076"/>
                  <a:gd name="connsiteX9" fmla="*/ 1136 w 1136"/>
                  <a:gd name="connsiteY9" fmla="*/ 60 h 1076"/>
                  <a:gd name="connsiteX10" fmla="*/ 1136 w 1136"/>
                  <a:gd name="connsiteY10" fmla="*/ 0 h 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6" h="1076">
                    <a:moveTo>
                      <a:pt x="0" y="1017"/>
                    </a:moveTo>
                    <a:lnTo>
                      <a:pt x="120" y="1076"/>
                    </a:lnTo>
                    <a:lnTo>
                      <a:pt x="299" y="1076"/>
                    </a:lnTo>
                    <a:lnTo>
                      <a:pt x="479" y="1017"/>
                    </a:lnTo>
                    <a:lnTo>
                      <a:pt x="479" y="1017"/>
                    </a:lnTo>
                    <a:lnTo>
                      <a:pt x="658" y="897"/>
                    </a:lnTo>
                    <a:lnTo>
                      <a:pt x="837" y="718"/>
                    </a:lnTo>
                    <a:lnTo>
                      <a:pt x="957" y="538"/>
                    </a:lnTo>
                    <a:lnTo>
                      <a:pt x="1076" y="299"/>
                    </a:lnTo>
                    <a:lnTo>
                      <a:pt x="1136" y="60"/>
                    </a:lnTo>
                    <a:lnTo>
                      <a:pt x="1136" y="0"/>
                    </a:lnTo>
                  </a:path>
                </a:pathLst>
              </a:custGeom>
              <a:noFill/>
              <a:ln w="6350" cap="rnd">
                <a:solidFill>
                  <a:schemeClr val="bg1">
                    <a:alpha val="80000"/>
                  </a:schemeClr>
                </a:solidFill>
                <a:prstDash val="solid"/>
                <a:round/>
              </a:ln>
            </p:spPr>
            <p:txBody>
              <a:bodyPr rtlCol="0" anchor="ctr"/>
              <a:lstStyle/>
              <a:p>
                <a:endParaRPr lang="en-GB"/>
              </a:p>
            </p:txBody>
          </p:sp>
          <p:sp>
            <p:nvSpPr>
              <p:cNvPr id="5515" name="Vrije vorm: vorm 5514">
                <a:extLst>
                  <a:ext uri="{FF2B5EF4-FFF2-40B4-BE49-F238E27FC236}">
                    <a16:creationId xmlns:a16="http://schemas.microsoft.com/office/drawing/2014/main" id="{CF998E1C-F74E-492F-BC40-BF0BC086D775}"/>
                  </a:ext>
                </a:extLst>
              </p:cNvPr>
              <p:cNvSpPr/>
              <p:nvPr/>
            </p:nvSpPr>
            <p:spPr>
              <a:xfrm>
                <a:off x="6471818" y="1672968"/>
                <a:ext cx="418" cy="418"/>
              </a:xfrm>
              <a:custGeom>
                <a:avLst/>
                <a:gdLst>
                  <a:gd name="connsiteX0" fmla="*/ 419 w 418"/>
                  <a:gd name="connsiteY0" fmla="*/ 0 h 418"/>
                  <a:gd name="connsiteX1" fmla="*/ 0 w 418"/>
                  <a:gd name="connsiteY1" fmla="*/ 419 h 418"/>
                </a:gdLst>
                <a:ahLst/>
                <a:cxnLst>
                  <a:cxn ang="0">
                    <a:pos x="connsiteX0" y="connsiteY0"/>
                  </a:cxn>
                  <a:cxn ang="0">
                    <a:pos x="connsiteX1" y="connsiteY1"/>
                  </a:cxn>
                </a:cxnLst>
                <a:rect l="l" t="t" r="r" b="b"/>
                <a:pathLst>
                  <a:path w="418" h="418">
                    <a:moveTo>
                      <a:pt x="419" y="0"/>
                    </a:moveTo>
                    <a:lnTo>
                      <a:pt x="0" y="419"/>
                    </a:lnTo>
                  </a:path>
                </a:pathLst>
              </a:custGeom>
              <a:noFill/>
              <a:ln w="6350" cap="rnd">
                <a:solidFill>
                  <a:schemeClr val="bg1">
                    <a:alpha val="80000"/>
                  </a:schemeClr>
                </a:solidFill>
                <a:prstDash val="solid"/>
                <a:round/>
              </a:ln>
            </p:spPr>
            <p:txBody>
              <a:bodyPr rtlCol="0" anchor="ctr"/>
              <a:lstStyle/>
              <a:p>
                <a:endParaRPr lang="en-GB"/>
              </a:p>
            </p:txBody>
          </p:sp>
          <p:sp>
            <p:nvSpPr>
              <p:cNvPr id="5516" name="Vrije vorm: vorm 5515">
                <a:extLst>
                  <a:ext uri="{FF2B5EF4-FFF2-40B4-BE49-F238E27FC236}">
                    <a16:creationId xmlns:a16="http://schemas.microsoft.com/office/drawing/2014/main" id="{41BD0A11-F8C2-44FC-A9D0-08893C0CF633}"/>
                  </a:ext>
                </a:extLst>
              </p:cNvPr>
              <p:cNvSpPr/>
              <p:nvPr/>
            </p:nvSpPr>
            <p:spPr>
              <a:xfrm>
                <a:off x="6469127" y="1667286"/>
                <a:ext cx="7176" cy="5741"/>
              </a:xfrm>
              <a:custGeom>
                <a:avLst/>
                <a:gdLst>
                  <a:gd name="connsiteX0" fmla="*/ 7177 w 7176"/>
                  <a:gd name="connsiteY0" fmla="*/ 1794 h 5741"/>
                  <a:gd name="connsiteX1" fmla="*/ 5741 w 7176"/>
                  <a:gd name="connsiteY1" fmla="*/ 957 h 5741"/>
                  <a:gd name="connsiteX2" fmla="*/ 5083 w 7176"/>
                  <a:gd name="connsiteY2" fmla="*/ 598 h 5741"/>
                  <a:gd name="connsiteX3" fmla="*/ 4665 w 7176"/>
                  <a:gd name="connsiteY3" fmla="*/ 359 h 5741"/>
                  <a:gd name="connsiteX4" fmla="*/ 4246 w 7176"/>
                  <a:gd name="connsiteY4" fmla="*/ 120 h 5741"/>
                  <a:gd name="connsiteX5" fmla="*/ 4007 w 7176"/>
                  <a:gd name="connsiteY5" fmla="*/ 0 h 5741"/>
                  <a:gd name="connsiteX6" fmla="*/ 4007 w 7176"/>
                  <a:gd name="connsiteY6" fmla="*/ 0 h 5741"/>
                  <a:gd name="connsiteX7" fmla="*/ 3708 w 7176"/>
                  <a:gd name="connsiteY7" fmla="*/ 299 h 5741"/>
                  <a:gd name="connsiteX8" fmla="*/ 1375 w 7176"/>
                  <a:gd name="connsiteY8" fmla="*/ 2572 h 5741"/>
                  <a:gd name="connsiteX9" fmla="*/ 1375 w 7176"/>
                  <a:gd name="connsiteY9" fmla="*/ 2572 h 5741"/>
                  <a:gd name="connsiteX10" fmla="*/ 1196 w 7176"/>
                  <a:gd name="connsiteY10" fmla="*/ 2751 h 5741"/>
                  <a:gd name="connsiteX11" fmla="*/ 957 w 7176"/>
                  <a:gd name="connsiteY11" fmla="*/ 2990 h 5741"/>
                  <a:gd name="connsiteX12" fmla="*/ 0 w 7176"/>
                  <a:gd name="connsiteY12" fmla="*/ 3947 h 5741"/>
                  <a:gd name="connsiteX13" fmla="*/ 299 w 7176"/>
                  <a:gd name="connsiteY13" fmla="*/ 4127 h 5741"/>
                  <a:gd name="connsiteX14" fmla="*/ 1017 w 7176"/>
                  <a:gd name="connsiteY14" fmla="*/ 4545 h 5741"/>
                  <a:gd name="connsiteX15" fmla="*/ 1674 w 7176"/>
                  <a:gd name="connsiteY15" fmla="*/ 4904 h 5741"/>
                  <a:gd name="connsiteX16" fmla="*/ 2572 w 7176"/>
                  <a:gd name="connsiteY16" fmla="*/ 5442 h 5741"/>
                  <a:gd name="connsiteX17" fmla="*/ 3110 w 7176"/>
                  <a:gd name="connsiteY17" fmla="*/ 5741 h 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76" h="5741">
                    <a:moveTo>
                      <a:pt x="7177" y="1794"/>
                    </a:moveTo>
                    <a:lnTo>
                      <a:pt x="5741" y="957"/>
                    </a:lnTo>
                    <a:lnTo>
                      <a:pt x="5083" y="598"/>
                    </a:lnTo>
                    <a:lnTo>
                      <a:pt x="4665" y="359"/>
                    </a:lnTo>
                    <a:lnTo>
                      <a:pt x="4246" y="120"/>
                    </a:lnTo>
                    <a:lnTo>
                      <a:pt x="4007" y="0"/>
                    </a:lnTo>
                    <a:lnTo>
                      <a:pt x="4007" y="0"/>
                    </a:lnTo>
                    <a:lnTo>
                      <a:pt x="3708" y="299"/>
                    </a:lnTo>
                    <a:lnTo>
                      <a:pt x="1375" y="2572"/>
                    </a:lnTo>
                    <a:lnTo>
                      <a:pt x="1375" y="2572"/>
                    </a:lnTo>
                    <a:lnTo>
                      <a:pt x="1196" y="2751"/>
                    </a:lnTo>
                    <a:lnTo>
                      <a:pt x="957" y="2990"/>
                    </a:lnTo>
                    <a:lnTo>
                      <a:pt x="0" y="3947"/>
                    </a:lnTo>
                    <a:lnTo>
                      <a:pt x="299" y="4127"/>
                    </a:lnTo>
                    <a:lnTo>
                      <a:pt x="1017" y="4545"/>
                    </a:lnTo>
                    <a:lnTo>
                      <a:pt x="1674" y="4904"/>
                    </a:lnTo>
                    <a:lnTo>
                      <a:pt x="2572" y="5442"/>
                    </a:lnTo>
                    <a:lnTo>
                      <a:pt x="3110" y="5741"/>
                    </a:lnTo>
                  </a:path>
                </a:pathLst>
              </a:custGeom>
              <a:noFill/>
              <a:ln w="6350" cap="rnd">
                <a:solidFill>
                  <a:schemeClr val="bg1">
                    <a:alpha val="80000"/>
                  </a:schemeClr>
                </a:solidFill>
                <a:prstDash val="solid"/>
                <a:round/>
              </a:ln>
            </p:spPr>
            <p:txBody>
              <a:bodyPr rtlCol="0" anchor="ctr"/>
              <a:lstStyle/>
              <a:p>
                <a:endParaRPr lang="en-GB"/>
              </a:p>
            </p:txBody>
          </p:sp>
          <p:sp>
            <p:nvSpPr>
              <p:cNvPr id="5517" name="Vrije vorm: vorm 5516">
                <a:extLst>
                  <a:ext uri="{FF2B5EF4-FFF2-40B4-BE49-F238E27FC236}">
                    <a16:creationId xmlns:a16="http://schemas.microsoft.com/office/drawing/2014/main" id="{05CC5E0A-0553-4DD1-9B3B-5127162D04B4}"/>
                  </a:ext>
                </a:extLst>
              </p:cNvPr>
              <p:cNvSpPr/>
              <p:nvPr/>
            </p:nvSpPr>
            <p:spPr>
              <a:xfrm>
                <a:off x="6476244" y="1666867"/>
                <a:ext cx="418" cy="2212"/>
              </a:xfrm>
              <a:custGeom>
                <a:avLst/>
                <a:gdLst>
                  <a:gd name="connsiteX0" fmla="*/ 60 w 418"/>
                  <a:gd name="connsiteY0" fmla="*/ 0 h 2212"/>
                  <a:gd name="connsiteX1" fmla="*/ 418 w 418"/>
                  <a:gd name="connsiteY1" fmla="*/ 1794 h 2212"/>
                  <a:gd name="connsiteX2" fmla="*/ 0 w 418"/>
                  <a:gd name="connsiteY2" fmla="*/ 2213 h 2212"/>
                </a:gdLst>
                <a:ahLst/>
                <a:cxnLst>
                  <a:cxn ang="0">
                    <a:pos x="connsiteX0" y="connsiteY0"/>
                  </a:cxn>
                  <a:cxn ang="0">
                    <a:pos x="connsiteX1" y="connsiteY1"/>
                  </a:cxn>
                  <a:cxn ang="0">
                    <a:pos x="connsiteX2" y="connsiteY2"/>
                  </a:cxn>
                </a:cxnLst>
                <a:rect l="l" t="t" r="r" b="b"/>
                <a:pathLst>
                  <a:path w="418" h="2212">
                    <a:moveTo>
                      <a:pt x="60" y="0"/>
                    </a:moveTo>
                    <a:lnTo>
                      <a:pt x="418" y="1794"/>
                    </a:lnTo>
                    <a:lnTo>
                      <a:pt x="0" y="2213"/>
                    </a:lnTo>
                  </a:path>
                </a:pathLst>
              </a:custGeom>
              <a:noFill/>
              <a:ln w="6350" cap="rnd">
                <a:solidFill>
                  <a:schemeClr val="bg1">
                    <a:alpha val="80000"/>
                  </a:schemeClr>
                </a:solidFill>
                <a:prstDash val="solid"/>
                <a:round/>
              </a:ln>
            </p:spPr>
            <p:txBody>
              <a:bodyPr rtlCol="0" anchor="ctr"/>
              <a:lstStyle/>
              <a:p>
                <a:endParaRPr lang="en-GB"/>
              </a:p>
            </p:txBody>
          </p:sp>
          <p:sp>
            <p:nvSpPr>
              <p:cNvPr id="5518" name="Vrije vorm: vorm 5517">
                <a:extLst>
                  <a:ext uri="{FF2B5EF4-FFF2-40B4-BE49-F238E27FC236}">
                    <a16:creationId xmlns:a16="http://schemas.microsoft.com/office/drawing/2014/main" id="{FA57022F-895A-49D7-AE65-2A0BF5869CB4}"/>
                  </a:ext>
                </a:extLst>
              </p:cNvPr>
              <p:cNvSpPr/>
              <p:nvPr/>
            </p:nvSpPr>
            <p:spPr>
              <a:xfrm>
                <a:off x="6498911" y="1703290"/>
                <a:ext cx="2152" cy="2870"/>
              </a:xfrm>
              <a:custGeom>
                <a:avLst/>
                <a:gdLst>
                  <a:gd name="connsiteX0" fmla="*/ 299 w 2152"/>
                  <a:gd name="connsiteY0" fmla="*/ 2811 h 2870"/>
                  <a:gd name="connsiteX1" fmla="*/ 179 w 2152"/>
                  <a:gd name="connsiteY1" fmla="*/ 2691 h 2870"/>
                  <a:gd name="connsiteX2" fmla="*/ 120 w 2152"/>
                  <a:gd name="connsiteY2" fmla="*/ 2632 h 2870"/>
                  <a:gd name="connsiteX3" fmla="*/ 60 w 2152"/>
                  <a:gd name="connsiteY3" fmla="*/ 2512 h 2870"/>
                  <a:gd name="connsiteX4" fmla="*/ 0 w 2152"/>
                  <a:gd name="connsiteY4" fmla="*/ 2392 h 2870"/>
                  <a:gd name="connsiteX5" fmla="*/ 0 w 2152"/>
                  <a:gd name="connsiteY5" fmla="*/ 2332 h 2870"/>
                  <a:gd name="connsiteX6" fmla="*/ 0 w 2152"/>
                  <a:gd name="connsiteY6" fmla="*/ 2213 h 2870"/>
                  <a:gd name="connsiteX7" fmla="*/ 0 w 2152"/>
                  <a:gd name="connsiteY7" fmla="*/ 2034 h 2870"/>
                  <a:gd name="connsiteX8" fmla="*/ 60 w 2152"/>
                  <a:gd name="connsiteY8" fmla="*/ 1675 h 2870"/>
                  <a:gd name="connsiteX9" fmla="*/ 179 w 2152"/>
                  <a:gd name="connsiteY9" fmla="*/ 1316 h 2870"/>
                  <a:gd name="connsiteX10" fmla="*/ 359 w 2152"/>
                  <a:gd name="connsiteY10" fmla="*/ 957 h 2870"/>
                  <a:gd name="connsiteX11" fmla="*/ 598 w 2152"/>
                  <a:gd name="connsiteY11" fmla="*/ 598 h 2870"/>
                  <a:gd name="connsiteX12" fmla="*/ 837 w 2152"/>
                  <a:gd name="connsiteY12" fmla="*/ 299 h 2870"/>
                  <a:gd name="connsiteX13" fmla="*/ 837 w 2152"/>
                  <a:gd name="connsiteY13" fmla="*/ 299 h 2870"/>
                  <a:gd name="connsiteX14" fmla="*/ 1076 w 2152"/>
                  <a:gd name="connsiteY14" fmla="*/ 120 h 2870"/>
                  <a:gd name="connsiteX15" fmla="*/ 1375 w 2152"/>
                  <a:gd name="connsiteY15" fmla="*/ 0 h 2870"/>
                  <a:gd name="connsiteX16" fmla="*/ 1615 w 2152"/>
                  <a:gd name="connsiteY16" fmla="*/ 0 h 2870"/>
                  <a:gd name="connsiteX17" fmla="*/ 1854 w 2152"/>
                  <a:gd name="connsiteY17" fmla="*/ 60 h 2870"/>
                  <a:gd name="connsiteX18" fmla="*/ 2034 w 2152"/>
                  <a:gd name="connsiteY18" fmla="*/ 239 h 2870"/>
                  <a:gd name="connsiteX19" fmla="*/ 2093 w 2152"/>
                  <a:gd name="connsiteY19" fmla="*/ 299 h 2870"/>
                  <a:gd name="connsiteX20" fmla="*/ 2153 w 2152"/>
                  <a:gd name="connsiteY20" fmla="*/ 478 h 2870"/>
                  <a:gd name="connsiteX21" fmla="*/ 2153 w 2152"/>
                  <a:gd name="connsiteY21" fmla="*/ 658 h 2870"/>
                  <a:gd name="connsiteX22" fmla="*/ 2153 w 2152"/>
                  <a:gd name="connsiteY22" fmla="*/ 778 h 2870"/>
                  <a:gd name="connsiteX23" fmla="*/ 2153 w 2152"/>
                  <a:gd name="connsiteY23" fmla="*/ 957 h 2870"/>
                  <a:gd name="connsiteX24" fmla="*/ 2153 w 2152"/>
                  <a:gd name="connsiteY24" fmla="*/ 1077 h 2870"/>
                  <a:gd name="connsiteX25" fmla="*/ 2153 w 2152"/>
                  <a:gd name="connsiteY25" fmla="*/ 1136 h 2870"/>
                  <a:gd name="connsiteX26" fmla="*/ 2093 w 2152"/>
                  <a:gd name="connsiteY26" fmla="*/ 1256 h 2870"/>
                  <a:gd name="connsiteX27" fmla="*/ 2093 w 2152"/>
                  <a:gd name="connsiteY27" fmla="*/ 1316 h 2870"/>
                  <a:gd name="connsiteX28" fmla="*/ 2034 w 2152"/>
                  <a:gd name="connsiteY28" fmla="*/ 1495 h 2870"/>
                  <a:gd name="connsiteX29" fmla="*/ 1854 w 2152"/>
                  <a:gd name="connsiteY29" fmla="*/ 1854 h 2870"/>
                  <a:gd name="connsiteX30" fmla="*/ 1615 w 2152"/>
                  <a:gd name="connsiteY30" fmla="*/ 2213 h 2870"/>
                  <a:gd name="connsiteX31" fmla="*/ 1495 w 2152"/>
                  <a:gd name="connsiteY31" fmla="*/ 2332 h 2870"/>
                  <a:gd name="connsiteX32" fmla="*/ 1375 w 2152"/>
                  <a:gd name="connsiteY32" fmla="*/ 2512 h 2870"/>
                  <a:gd name="connsiteX33" fmla="*/ 1076 w 2152"/>
                  <a:gd name="connsiteY33" fmla="*/ 2751 h 2870"/>
                  <a:gd name="connsiteX34" fmla="*/ 897 w 2152"/>
                  <a:gd name="connsiteY34" fmla="*/ 2811 h 2870"/>
                  <a:gd name="connsiteX35" fmla="*/ 837 w 2152"/>
                  <a:gd name="connsiteY35" fmla="*/ 2871 h 2870"/>
                  <a:gd name="connsiteX36" fmla="*/ 718 w 2152"/>
                  <a:gd name="connsiteY36" fmla="*/ 2871 h 2870"/>
                  <a:gd name="connsiteX37" fmla="*/ 718 w 2152"/>
                  <a:gd name="connsiteY37" fmla="*/ 2871 h 2870"/>
                  <a:gd name="connsiteX38" fmla="*/ 598 w 2152"/>
                  <a:gd name="connsiteY38" fmla="*/ 2871 h 2870"/>
                  <a:gd name="connsiteX39" fmla="*/ 538 w 2152"/>
                  <a:gd name="connsiteY39" fmla="*/ 2871 h 2870"/>
                  <a:gd name="connsiteX40" fmla="*/ 299 w 2152"/>
                  <a:gd name="connsiteY40" fmla="*/ 2811 h 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152" h="2870">
                    <a:moveTo>
                      <a:pt x="299" y="2811"/>
                    </a:moveTo>
                    <a:lnTo>
                      <a:pt x="179" y="2691"/>
                    </a:lnTo>
                    <a:lnTo>
                      <a:pt x="120" y="2632"/>
                    </a:lnTo>
                    <a:lnTo>
                      <a:pt x="60" y="2512"/>
                    </a:lnTo>
                    <a:lnTo>
                      <a:pt x="0" y="2392"/>
                    </a:lnTo>
                    <a:lnTo>
                      <a:pt x="0" y="2332"/>
                    </a:lnTo>
                    <a:lnTo>
                      <a:pt x="0" y="2213"/>
                    </a:lnTo>
                    <a:lnTo>
                      <a:pt x="0" y="2034"/>
                    </a:lnTo>
                    <a:lnTo>
                      <a:pt x="60" y="1675"/>
                    </a:lnTo>
                    <a:lnTo>
                      <a:pt x="179" y="1316"/>
                    </a:lnTo>
                    <a:lnTo>
                      <a:pt x="359" y="957"/>
                    </a:lnTo>
                    <a:lnTo>
                      <a:pt x="598" y="598"/>
                    </a:lnTo>
                    <a:lnTo>
                      <a:pt x="837" y="299"/>
                    </a:lnTo>
                    <a:lnTo>
                      <a:pt x="837" y="299"/>
                    </a:lnTo>
                    <a:lnTo>
                      <a:pt x="1076" y="120"/>
                    </a:lnTo>
                    <a:lnTo>
                      <a:pt x="1375" y="0"/>
                    </a:lnTo>
                    <a:lnTo>
                      <a:pt x="1615" y="0"/>
                    </a:lnTo>
                    <a:lnTo>
                      <a:pt x="1854" y="60"/>
                    </a:lnTo>
                    <a:lnTo>
                      <a:pt x="2034" y="239"/>
                    </a:lnTo>
                    <a:lnTo>
                      <a:pt x="2093" y="299"/>
                    </a:lnTo>
                    <a:lnTo>
                      <a:pt x="2153" y="478"/>
                    </a:lnTo>
                    <a:lnTo>
                      <a:pt x="2153" y="658"/>
                    </a:lnTo>
                    <a:lnTo>
                      <a:pt x="2153" y="778"/>
                    </a:lnTo>
                    <a:lnTo>
                      <a:pt x="2153" y="957"/>
                    </a:lnTo>
                    <a:lnTo>
                      <a:pt x="2153" y="1077"/>
                    </a:lnTo>
                    <a:lnTo>
                      <a:pt x="2153" y="1136"/>
                    </a:lnTo>
                    <a:lnTo>
                      <a:pt x="2093" y="1256"/>
                    </a:lnTo>
                    <a:lnTo>
                      <a:pt x="2093" y="1316"/>
                    </a:lnTo>
                    <a:lnTo>
                      <a:pt x="2034" y="1495"/>
                    </a:lnTo>
                    <a:lnTo>
                      <a:pt x="1854" y="1854"/>
                    </a:lnTo>
                    <a:lnTo>
                      <a:pt x="1615" y="2213"/>
                    </a:lnTo>
                    <a:lnTo>
                      <a:pt x="1495" y="2332"/>
                    </a:lnTo>
                    <a:lnTo>
                      <a:pt x="1375" y="2512"/>
                    </a:lnTo>
                    <a:lnTo>
                      <a:pt x="1076" y="2751"/>
                    </a:lnTo>
                    <a:lnTo>
                      <a:pt x="897" y="2811"/>
                    </a:lnTo>
                    <a:lnTo>
                      <a:pt x="837" y="2871"/>
                    </a:lnTo>
                    <a:lnTo>
                      <a:pt x="718" y="2871"/>
                    </a:lnTo>
                    <a:lnTo>
                      <a:pt x="718" y="2871"/>
                    </a:lnTo>
                    <a:lnTo>
                      <a:pt x="598" y="2871"/>
                    </a:lnTo>
                    <a:lnTo>
                      <a:pt x="538" y="2871"/>
                    </a:lnTo>
                    <a:lnTo>
                      <a:pt x="299" y="2811"/>
                    </a:lnTo>
                  </a:path>
                </a:pathLst>
              </a:custGeom>
              <a:noFill/>
              <a:ln w="6350" cap="rnd">
                <a:solidFill>
                  <a:schemeClr val="bg1">
                    <a:alpha val="80000"/>
                  </a:schemeClr>
                </a:solidFill>
                <a:prstDash val="solid"/>
                <a:round/>
              </a:ln>
            </p:spPr>
            <p:txBody>
              <a:bodyPr rtlCol="0" anchor="ctr"/>
              <a:lstStyle/>
              <a:p>
                <a:endParaRPr lang="en-GB"/>
              </a:p>
            </p:txBody>
          </p:sp>
          <p:sp>
            <p:nvSpPr>
              <p:cNvPr id="5519" name="Vrije vorm: vorm 5518">
                <a:extLst>
                  <a:ext uri="{FF2B5EF4-FFF2-40B4-BE49-F238E27FC236}">
                    <a16:creationId xmlns:a16="http://schemas.microsoft.com/office/drawing/2014/main" id="{326EC7B6-D814-4B03-8662-D944B85FFBAA}"/>
                  </a:ext>
                </a:extLst>
              </p:cNvPr>
              <p:cNvSpPr/>
              <p:nvPr/>
            </p:nvSpPr>
            <p:spPr>
              <a:xfrm>
                <a:off x="6500406" y="1704606"/>
                <a:ext cx="597" cy="1076"/>
              </a:xfrm>
              <a:custGeom>
                <a:avLst/>
                <a:gdLst>
                  <a:gd name="connsiteX0" fmla="*/ 598 w 597"/>
                  <a:gd name="connsiteY0" fmla="*/ 0 h 1076"/>
                  <a:gd name="connsiteX1" fmla="*/ 479 w 597"/>
                  <a:gd name="connsiteY1" fmla="*/ 120 h 1076"/>
                  <a:gd name="connsiteX2" fmla="*/ 239 w 597"/>
                  <a:gd name="connsiteY2" fmla="*/ 478 h 1076"/>
                  <a:gd name="connsiteX3" fmla="*/ 60 w 597"/>
                  <a:gd name="connsiteY3" fmla="*/ 837 h 1076"/>
                  <a:gd name="connsiteX4" fmla="*/ 0 w 597"/>
                  <a:gd name="connsiteY4" fmla="*/ 1077 h 1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 h="1076">
                    <a:moveTo>
                      <a:pt x="598" y="0"/>
                    </a:moveTo>
                    <a:lnTo>
                      <a:pt x="479" y="120"/>
                    </a:lnTo>
                    <a:lnTo>
                      <a:pt x="239" y="478"/>
                    </a:lnTo>
                    <a:lnTo>
                      <a:pt x="60" y="837"/>
                    </a:lnTo>
                    <a:lnTo>
                      <a:pt x="0" y="1077"/>
                    </a:lnTo>
                  </a:path>
                </a:pathLst>
              </a:custGeom>
              <a:noFill/>
              <a:ln w="6350" cap="rnd">
                <a:solidFill>
                  <a:schemeClr val="bg1">
                    <a:alpha val="80000"/>
                  </a:schemeClr>
                </a:solidFill>
                <a:prstDash val="solid"/>
                <a:round/>
              </a:ln>
            </p:spPr>
            <p:txBody>
              <a:bodyPr rtlCol="0" anchor="ctr"/>
              <a:lstStyle/>
              <a:p>
                <a:endParaRPr lang="en-GB"/>
              </a:p>
            </p:txBody>
          </p:sp>
          <p:sp>
            <p:nvSpPr>
              <p:cNvPr id="5520" name="Vrije vorm: vorm 5519">
                <a:extLst>
                  <a:ext uri="{FF2B5EF4-FFF2-40B4-BE49-F238E27FC236}">
                    <a16:creationId xmlns:a16="http://schemas.microsoft.com/office/drawing/2014/main" id="{425BBFC0-87AE-4B83-AAF5-D15BA54F2B5F}"/>
                  </a:ext>
                </a:extLst>
              </p:cNvPr>
              <p:cNvSpPr/>
              <p:nvPr/>
            </p:nvSpPr>
            <p:spPr>
              <a:xfrm>
                <a:off x="6476244" y="1665312"/>
                <a:ext cx="1734" cy="1973"/>
              </a:xfrm>
              <a:custGeom>
                <a:avLst/>
                <a:gdLst>
                  <a:gd name="connsiteX0" fmla="*/ 778 w 1734"/>
                  <a:gd name="connsiteY0" fmla="*/ 1974 h 1973"/>
                  <a:gd name="connsiteX1" fmla="*/ 119 w 1734"/>
                  <a:gd name="connsiteY1" fmla="*/ 1615 h 1973"/>
                  <a:gd name="connsiteX2" fmla="*/ 60 w 1734"/>
                  <a:gd name="connsiteY2" fmla="*/ 1555 h 1973"/>
                  <a:gd name="connsiteX3" fmla="*/ 60 w 1734"/>
                  <a:gd name="connsiteY3" fmla="*/ 1555 h 1973"/>
                  <a:gd name="connsiteX4" fmla="*/ 60 w 1734"/>
                  <a:gd name="connsiteY4" fmla="*/ 1555 h 1973"/>
                  <a:gd name="connsiteX5" fmla="*/ 0 w 1734"/>
                  <a:gd name="connsiteY5" fmla="*/ 1435 h 1973"/>
                  <a:gd name="connsiteX6" fmla="*/ 0 w 1734"/>
                  <a:gd name="connsiteY6" fmla="*/ 1256 h 1973"/>
                  <a:gd name="connsiteX7" fmla="*/ 0 w 1734"/>
                  <a:gd name="connsiteY7" fmla="*/ 1196 h 1973"/>
                  <a:gd name="connsiteX8" fmla="*/ 0 w 1734"/>
                  <a:gd name="connsiteY8" fmla="*/ 1076 h 1973"/>
                  <a:gd name="connsiteX9" fmla="*/ 60 w 1734"/>
                  <a:gd name="connsiteY9" fmla="*/ 837 h 1973"/>
                  <a:gd name="connsiteX10" fmla="*/ 179 w 1734"/>
                  <a:gd name="connsiteY10" fmla="*/ 598 h 1973"/>
                  <a:gd name="connsiteX11" fmla="*/ 299 w 1734"/>
                  <a:gd name="connsiteY11" fmla="*/ 359 h 1973"/>
                  <a:gd name="connsiteX12" fmla="*/ 478 w 1734"/>
                  <a:gd name="connsiteY12" fmla="*/ 179 h 1973"/>
                  <a:gd name="connsiteX13" fmla="*/ 658 w 1734"/>
                  <a:gd name="connsiteY13" fmla="*/ 60 h 1973"/>
                  <a:gd name="connsiteX14" fmla="*/ 837 w 1734"/>
                  <a:gd name="connsiteY14" fmla="*/ 0 h 1973"/>
                  <a:gd name="connsiteX15" fmla="*/ 1017 w 1734"/>
                  <a:gd name="connsiteY15" fmla="*/ 0 h 1973"/>
                  <a:gd name="connsiteX16" fmla="*/ 1136 w 1734"/>
                  <a:gd name="connsiteY16" fmla="*/ 60 h 1973"/>
                  <a:gd name="connsiteX17" fmla="*/ 1495 w 1734"/>
                  <a:gd name="connsiteY17" fmla="*/ 299 h 1973"/>
                  <a:gd name="connsiteX18" fmla="*/ 1734 w 1734"/>
                  <a:gd name="connsiteY18" fmla="*/ 478 h 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34" h="1973">
                    <a:moveTo>
                      <a:pt x="778" y="1974"/>
                    </a:moveTo>
                    <a:lnTo>
                      <a:pt x="119" y="1615"/>
                    </a:lnTo>
                    <a:lnTo>
                      <a:pt x="60" y="1555"/>
                    </a:lnTo>
                    <a:lnTo>
                      <a:pt x="60" y="1555"/>
                    </a:lnTo>
                    <a:lnTo>
                      <a:pt x="60" y="1555"/>
                    </a:lnTo>
                    <a:lnTo>
                      <a:pt x="0" y="1435"/>
                    </a:lnTo>
                    <a:lnTo>
                      <a:pt x="0" y="1256"/>
                    </a:lnTo>
                    <a:lnTo>
                      <a:pt x="0" y="1196"/>
                    </a:lnTo>
                    <a:lnTo>
                      <a:pt x="0" y="1076"/>
                    </a:lnTo>
                    <a:lnTo>
                      <a:pt x="60" y="837"/>
                    </a:lnTo>
                    <a:lnTo>
                      <a:pt x="179" y="598"/>
                    </a:lnTo>
                    <a:lnTo>
                      <a:pt x="299" y="359"/>
                    </a:lnTo>
                    <a:lnTo>
                      <a:pt x="478" y="179"/>
                    </a:lnTo>
                    <a:lnTo>
                      <a:pt x="658" y="60"/>
                    </a:lnTo>
                    <a:lnTo>
                      <a:pt x="837" y="0"/>
                    </a:lnTo>
                    <a:lnTo>
                      <a:pt x="1017" y="0"/>
                    </a:lnTo>
                    <a:lnTo>
                      <a:pt x="1136" y="60"/>
                    </a:lnTo>
                    <a:lnTo>
                      <a:pt x="1495" y="299"/>
                    </a:lnTo>
                    <a:lnTo>
                      <a:pt x="1734" y="478"/>
                    </a:lnTo>
                  </a:path>
                </a:pathLst>
              </a:custGeom>
              <a:noFill/>
              <a:ln w="6350" cap="rnd">
                <a:solidFill>
                  <a:schemeClr val="bg1">
                    <a:alpha val="80000"/>
                  </a:schemeClr>
                </a:solidFill>
                <a:prstDash val="solid"/>
                <a:round/>
              </a:ln>
            </p:spPr>
            <p:txBody>
              <a:bodyPr rtlCol="0" anchor="ctr"/>
              <a:lstStyle/>
              <a:p>
                <a:endParaRPr lang="en-GB"/>
              </a:p>
            </p:txBody>
          </p:sp>
          <p:sp>
            <p:nvSpPr>
              <p:cNvPr id="5521" name="Vrije vorm: vorm 5520">
                <a:extLst>
                  <a:ext uri="{FF2B5EF4-FFF2-40B4-BE49-F238E27FC236}">
                    <a16:creationId xmlns:a16="http://schemas.microsoft.com/office/drawing/2014/main" id="{9469FAAA-145F-4D1E-8E1A-6825EEB1AEBD}"/>
                  </a:ext>
                </a:extLst>
              </p:cNvPr>
              <p:cNvSpPr/>
              <p:nvPr/>
            </p:nvSpPr>
            <p:spPr>
              <a:xfrm>
                <a:off x="6476364" y="1665252"/>
                <a:ext cx="1136" cy="1734"/>
              </a:xfrm>
              <a:custGeom>
                <a:avLst/>
                <a:gdLst>
                  <a:gd name="connsiteX0" fmla="*/ 0 w 1136"/>
                  <a:gd name="connsiteY0" fmla="*/ 1675 h 1734"/>
                  <a:gd name="connsiteX1" fmla="*/ 120 w 1136"/>
                  <a:gd name="connsiteY1" fmla="*/ 1734 h 1734"/>
                  <a:gd name="connsiteX2" fmla="*/ 299 w 1136"/>
                  <a:gd name="connsiteY2" fmla="*/ 1734 h 1734"/>
                  <a:gd name="connsiteX3" fmla="*/ 479 w 1136"/>
                  <a:gd name="connsiteY3" fmla="*/ 1675 h 1734"/>
                  <a:gd name="connsiteX4" fmla="*/ 538 w 1136"/>
                  <a:gd name="connsiteY4" fmla="*/ 1615 h 1734"/>
                  <a:gd name="connsiteX5" fmla="*/ 658 w 1136"/>
                  <a:gd name="connsiteY5" fmla="*/ 1495 h 1734"/>
                  <a:gd name="connsiteX6" fmla="*/ 837 w 1136"/>
                  <a:gd name="connsiteY6" fmla="*/ 1316 h 1734"/>
                  <a:gd name="connsiteX7" fmla="*/ 957 w 1136"/>
                  <a:gd name="connsiteY7" fmla="*/ 1077 h 1734"/>
                  <a:gd name="connsiteX8" fmla="*/ 1076 w 1136"/>
                  <a:gd name="connsiteY8" fmla="*/ 837 h 1734"/>
                  <a:gd name="connsiteX9" fmla="*/ 1136 w 1136"/>
                  <a:gd name="connsiteY9" fmla="*/ 598 h 1734"/>
                  <a:gd name="connsiteX10" fmla="*/ 1136 w 1136"/>
                  <a:gd name="connsiteY10" fmla="*/ 478 h 1734"/>
                  <a:gd name="connsiteX11" fmla="*/ 1136 w 1136"/>
                  <a:gd name="connsiteY11" fmla="*/ 419 h 1734"/>
                  <a:gd name="connsiteX12" fmla="*/ 1136 w 1136"/>
                  <a:gd name="connsiteY12" fmla="*/ 419 h 1734"/>
                  <a:gd name="connsiteX13" fmla="*/ 1136 w 1136"/>
                  <a:gd name="connsiteY13" fmla="*/ 239 h 1734"/>
                  <a:gd name="connsiteX14" fmla="*/ 1076 w 1136"/>
                  <a:gd name="connsiteY14" fmla="*/ 120 h 1734"/>
                  <a:gd name="connsiteX15" fmla="*/ 957 w 1136"/>
                  <a:gd name="connsiteY15" fmla="*/ 0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6" h="1734">
                    <a:moveTo>
                      <a:pt x="0" y="1675"/>
                    </a:moveTo>
                    <a:lnTo>
                      <a:pt x="120" y="1734"/>
                    </a:lnTo>
                    <a:lnTo>
                      <a:pt x="299" y="1734"/>
                    </a:lnTo>
                    <a:lnTo>
                      <a:pt x="479" y="1675"/>
                    </a:lnTo>
                    <a:lnTo>
                      <a:pt x="538" y="1615"/>
                    </a:lnTo>
                    <a:lnTo>
                      <a:pt x="658" y="1495"/>
                    </a:lnTo>
                    <a:lnTo>
                      <a:pt x="837" y="1316"/>
                    </a:lnTo>
                    <a:lnTo>
                      <a:pt x="957" y="1077"/>
                    </a:lnTo>
                    <a:lnTo>
                      <a:pt x="1076" y="837"/>
                    </a:lnTo>
                    <a:lnTo>
                      <a:pt x="1136" y="598"/>
                    </a:lnTo>
                    <a:lnTo>
                      <a:pt x="1136" y="478"/>
                    </a:lnTo>
                    <a:lnTo>
                      <a:pt x="1136" y="419"/>
                    </a:lnTo>
                    <a:lnTo>
                      <a:pt x="1136" y="419"/>
                    </a:lnTo>
                    <a:lnTo>
                      <a:pt x="1136" y="239"/>
                    </a:lnTo>
                    <a:lnTo>
                      <a:pt x="1076" y="120"/>
                    </a:lnTo>
                    <a:lnTo>
                      <a:pt x="957" y="0"/>
                    </a:lnTo>
                  </a:path>
                </a:pathLst>
              </a:custGeom>
              <a:noFill/>
              <a:ln w="6350" cap="rnd">
                <a:solidFill>
                  <a:schemeClr val="bg1">
                    <a:alpha val="80000"/>
                  </a:schemeClr>
                </a:solidFill>
                <a:prstDash val="solid"/>
                <a:round/>
              </a:ln>
            </p:spPr>
            <p:txBody>
              <a:bodyPr rtlCol="0" anchor="ctr"/>
              <a:lstStyle/>
              <a:p>
                <a:endParaRPr lang="en-GB"/>
              </a:p>
            </p:txBody>
          </p:sp>
          <p:sp>
            <p:nvSpPr>
              <p:cNvPr id="5522" name="Vrije vorm: vorm 5521">
                <a:extLst>
                  <a:ext uri="{FF2B5EF4-FFF2-40B4-BE49-F238E27FC236}">
                    <a16:creationId xmlns:a16="http://schemas.microsoft.com/office/drawing/2014/main" id="{7F1495A8-16E4-4CF1-8E07-1A9BF69E6663}"/>
                  </a:ext>
                </a:extLst>
              </p:cNvPr>
              <p:cNvSpPr/>
              <p:nvPr/>
            </p:nvSpPr>
            <p:spPr>
              <a:xfrm>
                <a:off x="6469307" y="1672130"/>
                <a:ext cx="1196" cy="1554"/>
              </a:xfrm>
              <a:custGeom>
                <a:avLst/>
                <a:gdLst>
                  <a:gd name="connsiteX0" fmla="*/ 1196 w 1196"/>
                  <a:gd name="connsiteY0" fmla="*/ 419 h 1554"/>
                  <a:gd name="connsiteX1" fmla="*/ 1196 w 1196"/>
                  <a:gd name="connsiteY1" fmla="*/ 419 h 1554"/>
                  <a:gd name="connsiteX2" fmla="*/ 1136 w 1196"/>
                  <a:gd name="connsiteY2" fmla="*/ 658 h 1554"/>
                  <a:gd name="connsiteX3" fmla="*/ 1017 w 1196"/>
                  <a:gd name="connsiteY3" fmla="*/ 897 h 1554"/>
                  <a:gd name="connsiteX4" fmla="*/ 897 w 1196"/>
                  <a:gd name="connsiteY4" fmla="*/ 1136 h 1554"/>
                  <a:gd name="connsiteX5" fmla="*/ 897 w 1196"/>
                  <a:gd name="connsiteY5" fmla="*/ 1136 h 1554"/>
                  <a:gd name="connsiteX6" fmla="*/ 778 w 1196"/>
                  <a:gd name="connsiteY6" fmla="*/ 1316 h 1554"/>
                  <a:gd name="connsiteX7" fmla="*/ 658 w 1196"/>
                  <a:gd name="connsiteY7" fmla="*/ 1435 h 1554"/>
                  <a:gd name="connsiteX8" fmla="*/ 598 w 1196"/>
                  <a:gd name="connsiteY8" fmla="*/ 1495 h 1554"/>
                  <a:gd name="connsiteX9" fmla="*/ 419 w 1196"/>
                  <a:gd name="connsiteY9" fmla="*/ 1555 h 1554"/>
                  <a:gd name="connsiteX10" fmla="*/ 239 w 1196"/>
                  <a:gd name="connsiteY10" fmla="*/ 1555 h 1554"/>
                  <a:gd name="connsiteX11" fmla="*/ 120 w 1196"/>
                  <a:gd name="connsiteY11" fmla="*/ 1495 h 1554"/>
                  <a:gd name="connsiteX12" fmla="*/ 60 w 1196"/>
                  <a:gd name="connsiteY12" fmla="*/ 1435 h 1554"/>
                  <a:gd name="connsiteX13" fmla="*/ 60 w 1196"/>
                  <a:gd name="connsiteY13" fmla="*/ 1435 h 1554"/>
                  <a:gd name="connsiteX14" fmla="*/ 0 w 1196"/>
                  <a:gd name="connsiteY14" fmla="*/ 1316 h 1554"/>
                  <a:gd name="connsiteX15" fmla="*/ 0 w 1196"/>
                  <a:gd name="connsiteY15" fmla="*/ 1136 h 1554"/>
                  <a:gd name="connsiteX16" fmla="*/ 0 w 1196"/>
                  <a:gd name="connsiteY16" fmla="*/ 1076 h 1554"/>
                  <a:gd name="connsiteX17" fmla="*/ 0 w 1196"/>
                  <a:gd name="connsiteY17" fmla="*/ 897 h 1554"/>
                  <a:gd name="connsiteX18" fmla="*/ 60 w 1196"/>
                  <a:gd name="connsiteY18" fmla="*/ 718 h 1554"/>
                  <a:gd name="connsiteX19" fmla="*/ 60 w 1196"/>
                  <a:gd name="connsiteY19" fmla="*/ 658 h 1554"/>
                  <a:gd name="connsiteX20" fmla="*/ 180 w 1196"/>
                  <a:gd name="connsiteY20" fmla="*/ 419 h 1554"/>
                  <a:gd name="connsiteX21" fmla="*/ 299 w 1196"/>
                  <a:gd name="connsiteY21" fmla="*/ 179 h 1554"/>
                  <a:gd name="connsiteX22" fmla="*/ 359 w 1196"/>
                  <a:gd name="connsiteY22" fmla="*/ 120 h 1554"/>
                  <a:gd name="connsiteX23" fmla="*/ 359 w 1196"/>
                  <a:gd name="connsiteY23" fmla="*/ 120 h 1554"/>
                  <a:gd name="connsiteX24" fmla="*/ 479 w 1196"/>
                  <a:gd name="connsiteY24" fmla="*/ 0 h 1554"/>
                  <a:gd name="connsiteX25" fmla="*/ 479 w 1196"/>
                  <a:gd name="connsiteY25" fmla="*/ 0 h 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6" h="1554">
                    <a:moveTo>
                      <a:pt x="1196" y="419"/>
                    </a:moveTo>
                    <a:lnTo>
                      <a:pt x="1196" y="419"/>
                    </a:lnTo>
                    <a:lnTo>
                      <a:pt x="1136" y="658"/>
                    </a:lnTo>
                    <a:lnTo>
                      <a:pt x="1017" y="897"/>
                    </a:lnTo>
                    <a:lnTo>
                      <a:pt x="897" y="1136"/>
                    </a:lnTo>
                    <a:lnTo>
                      <a:pt x="897" y="1136"/>
                    </a:lnTo>
                    <a:lnTo>
                      <a:pt x="778" y="1316"/>
                    </a:lnTo>
                    <a:lnTo>
                      <a:pt x="658" y="1435"/>
                    </a:lnTo>
                    <a:lnTo>
                      <a:pt x="598" y="1495"/>
                    </a:lnTo>
                    <a:lnTo>
                      <a:pt x="419" y="1555"/>
                    </a:lnTo>
                    <a:lnTo>
                      <a:pt x="239" y="1555"/>
                    </a:lnTo>
                    <a:lnTo>
                      <a:pt x="120" y="1495"/>
                    </a:lnTo>
                    <a:lnTo>
                      <a:pt x="60" y="1435"/>
                    </a:lnTo>
                    <a:lnTo>
                      <a:pt x="60" y="1435"/>
                    </a:lnTo>
                    <a:lnTo>
                      <a:pt x="0" y="1316"/>
                    </a:lnTo>
                    <a:lnTo>
                      <a:pt x="0" y="1136"/>
                    </a:lnTo>
                    <a:lnTo>
                      <a:pt x="0" y="1076"/>
                    </a:lnTo>
                    <a:lnTo>
                      <a:pt x="0" y="897"/>
                    </a:lnTo>
                    <a:lnTo>
                      <a:pt x="60" y="718"/>
                    </a:lnTo>
                    <a:lnTo>
                      <a:pt x="60" y="658"/>
                    </a:lnTo>
                    <a:lnTo>
                      <a:pt x="180" y="419"/>
                    </a:lnTo>
                    <a:lnTo>
                      <a:pt x="299" y="179"/>
                    </a:lnTo>
                    <a:lnTo>
                      <a:pt x="359" y="120"/>
                    </a:lnTo>
                    <a:lnTo>
                      <a:pt x="359" y="120"/>
                    </a:lnTo>
                    <a:lnTo>
                      <a:pt x="479" y="0"/>
                    </a:lnTo>
                    <a:lnTo>
                      <a:pt x="479" y="0"/>
                    </a:lnTo>
                  </a:path>
                </a:pathLst>
              </a:custGeom>
              <a:noFill/>
              <a:ln w="6350" cap="rnd">
                <a:solidFill>
                  <a:schemeClr val="bg1">
                    <a:alpha val="80000"/>
                  </a:schemeClr>
                </a:solidFill>
                <a:prstDash val="solid"/>
                <a:round/>
              </a:ln>
            </p:spPr>
            <p:txBody>
              <a:bodyPr rtlCol="0" anchor="ctr"/>
              <a:lstStyle/>
              <a:p>
                <a:endParaRPr lang="en-GB"/>
              </a:p>
            </p:txBody>
          </p:sp>
          <p:sp>
            <p:nvSpPr>
              <p:cNvPr id="5523" name="Vrije vorm: vorm 5522">
                <a:extLst>
                  <a:ext uri="{FF2B5EF4-FFF2-40B4-BE49-F238E27FC236}">
                    <a16:creationId xmlns:a16="http://schemas.microsoft.com/office/drawing/2014/main" id="{F5F36C90-BDA7-410A-8778-39D568E9BE09}"/>
                  </a:ext>
                </a:extLst>
              </p:cNvPr>
              <p:cNvSpPr/>
              <p:nvPr/>
            </p:nvSpPr>
            <p:spPr>
              <a:xfrm>
                <a:off x="6471759" y="1670575"/>
                <a:ext cx="59" cy="299"/>
              </a:xfrm>
              <a:custGeom>
                <a:avLst/>
                <a:gdLst>
                  <a:gd name="connsiteX0" fmla="*/ 0 w 59"/>
                  <a:gd name="connsiteY0" fmla="*/ 0 h 299"/>
                  <a:gd name="connsiteX1" fmla="*/ 60 w 59"/>
                  <a:gd name="connsiteY1" fmla="*/ 299 h 299"/>
                </a:gdLst>
                <a:ahLst/>
                <a:cxnLst>
                  <a:cxn ang="0">
                    <a:pos x="connsiteX0" y="connsiteY0"/>
                  </a:cxn>
                  <a:cxn ang="0">
                    <a:pos x="connsiteX1" y="connsiteY1"/>
                  </a:cxn>
                </a:cxnLst>
                <a:rect l="l" t="t" r="r" b="b"/>
                <a:pathLst>
                  <a:path w="59" h="299">
                    <a:moveTo>
                      <a:pt x="0" y="0"/>
                    </a:moveTo>
                    <a:lnTo>
                      <a:pt x="60" y="299"/>
                    </a:lnTo>
                  </a:path>
                </a:pathLst>
              </a:custGeom>
              <a:noFill/>
              <a:ln w="6350" cap="rnd">
                <a:solidFill>
                  <a:schemeClr val="bg1">
                    <a:alpha val="80000"/>
                  </a:schemeClr>
                </a:solidFill>
                <a:prstDash val="solid"/>
                <a:round/>
              </a:ln>
            </p:spPr>
            <p:txBody>
              <a:bodyPr rtlCol="0" anchor="ctr"/>
              <a:lstStyle/>
              <a:p>
                <a:endParaRPr lang="en-GB"/>
              </a:p>
            </p:txBody>
          </p:sp>
          <p:sp>
            <p:nvSpPr>
              <p:cNvPr id="5524" name="Vrije vorm: vorm 5523">
                <a:extLst>
                  <a:ext uri="{FF2B5EF4-FFF2-40B4-BE49-F238E27FC236}">
                    <a16:creationId xmlns:a16="http://schemas.microsoft.com/office/drawing/2014/main" id="{FCA0EDEB-A06B-44D5-9E2A-A1F42714DEC9}"/>
                  </a:ext>
                </a:extLst>
              </p:cNvPr>
              <p:cNvSpPr/>
              <p:nvPr/>
            </p:nvSpPr>
            <p:spPr>
              <a:xfrm>
                <a:off x="6469366" y="1673625"/>
                <a:ext cx="657" cy="358"/>
              </a:xfrm>
              <a:custGeom>
                <a:avLst/>
                <a:gdLst>
                  <a:gd name="connsiteX0" fmla="*/ 658 w 657"/>
                  <a:gd name="connsiteY0" fmla="*/ 359 h 358"/>
                  <a:gd name="connsiteX1" fmla="*/ 0 w 657"/>
                  <a:gd name="connsiteY1" fmla="*/ 0 h 358"/>
                </a:gdLst>
                <a:ahLst/>
                <a:cxnLst>
                  <a:cxn ang="0">
                    <a:pos x="connsiteX0" y="connsiteY0"/>
                  </a:cxn>
                  <a:cxn ang="0">
                    <a:pos x="connsiteX1" y="connsiteY1"/>
                  </a:cxn>
                </a:cxnLst>
                <a:rect l="l" t="t" r="r" b="b"/>
                <a:pathLst>
                  <a:path w="657" h="358">
                    <a:moveTo>
                      <a:pt x="658" y="359"/>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25" name="Vrije vorm: vorm 5524">
                <a:extLst>
                  <a:ext uri="{FF2B5EF4-FFF2-40B4-BE49-F238E27FC236}">
                    <a16:creationId xmlns:a16="http://schemas.microsoft.com/office/drawing/2014/main" id="{5FA90F5E-7C13-459B-B2DA-F1DA782E248A}"/>
                  </a:ext>
                </a:extLst>
              </p:cNvPr>
              <p:cNvSpPr/>
              <p:nvPr/>
            </p:nvSpPr>
            <p:spPr>
              <a:xfrm>
                <a:off x="6468110" y="1617526"/>
                <a:ext cx="299" cy="1196"/>
              </a:xfrm>
              <a:custGeom>
                <a:avLst/>
                <a:gdLst>
                  <a:gd name="connsiteX0" fmla="*/ 0 w 299"/>
                  <a:gd name="connsiteY0" fmla="*/ 0 h 1196"/>
                  <a:gd name="connsiteX1" fmla="*/ 299 w 299"/>
                  <a:gd name="connsiteY1" fmla="*/ 1196 h 1196"/>
                </a:gdLst>
                <a:ahLst/>
                <a:cxnLst>
                  <a:cxn ang="0">
                    <a:pos x="connsiteX0" y="connsiteY0"/>
                  </a:cxn>
                  <a:cxn ang="0">
                    <a:pos x="connsiteX1" y="connsiteY1"/>
                  </a:cxn>
                </a:cxnLst>
                <a:rect l="l" t="t" r="r" b="b"/>
                <a:pathLst>
                  <a:path w="299" h="1196">
                    <a:moveTo>
                      <a:pt x="0" y="0"/>
                    </a:moveTo>
                    <a:lnTo>
                      <a:pt x="299" y="1196"/>
                    </a:lnTo>
                  </a:path>
                </a:pathLst>
              </a:custGeom>
              <a:noFill/>
              <a:ln w="6350" cap="rnd">
                <a:solidFill>
                  <a:schemeClr val="bg1">
                    <a:alpha val="80000"/>
                  </a:schemeClr>
                </a:solidFill>
                <a:prstDash val="solid"/>
                <a:round/>
              </a:ln>
            </p:spPr>
            <p:txBody>
              <a:bodyPr rtlCol="0" anchor="ctr"/>
              <a:lstStyle/>
              <a:p>
                <a:endParaRPr lang="en-GB"/>
              </a:p>
            </p:txBody>
          </p:sp>
          <p:sp>
            <p:nvSpPr>
              <p:cNvPr id="5526" name="Vrije vorm: vorm 5525">
                <a:extLst>
                  <a:ext uri="{FF2B5EF4-FFF2-40B4-BE49-F238E27FC236}">
                    <a16:creationId xmlns:a16="http://schemas.microsoft.com/office/drawing/2014/main" id="{DA4CE7C4-E418-4803-B2A8-018212BEA4AA}"/>
                  </a:ext>
                </a:extLst>
              </p:cNvPr>
              <p:cNvSpPr/>
              <p:nvPr/>
            </p:nvSpPr>
            <p:spPr>
              <a:xfrm>
                <a:off x="6461711" y="1617108"/>
                <a:ext cx="6339" cy="6877"/>
              </a:xfrm>
              <a:custGeom>
                <a:avLst/>
                <a:gdLst>
                  <a:gd name="connsiteX0" fmla="*/ 0 w 6339"/>
                  <a:gd name="connsiteY0" fmla="*/ 6878 h 6877"/>
                  <a:gd name="connsiteX1" fmla="*/ 957 w 6339"/>
                  <a:gd name="connsiteY1" fmla="*/ 5861 h 6877"/>
                  <a:gd name="connsiteX2" fmla="*/ 3230 w 6339"/>
                  <a:gd name="connsiteY2" fmla="*/ 3529 h 6877"/>
                  <a:gd name="connsiteX3" fmla="*/ 5503 w 6339"/>
                  <a:gd name="connsiteY3" fmla="*/ 1196 h 6877"/>
                  <a:gd name="connsiteX4" fmla="*/ 6340 w 6339"/>
                  <a:gd name="connsiteY4" fmla="*/ 359 h 6877"/>
                  <a:gd name="connsiteX5" fmla="*/ 5742 w 6339"/>
                  <a:gd name="connsiteY5" fmla="*/ 0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9" h="6877">
                    <a:moveTo>
                      <a:pt x="0" y="6878"/>
                    </a:moveTo>
                    <a:lnTo>
                      <a:pt x="957" y="5861"/>
                    </a:lnTo>
                    <a:lnTo>
                      <a:pt x="3230" y="3529"/>
                    </a:lnTo>
                    <a:lnTo>
                      <a:pt x="5503" y="1196"/>
                    </a:lnTo>
                    <a:lnTo>
                      <a:pt x="6340" y="359"/>
                    </a:lnTo>
                    <a:lnTo>
                      <a:pt x="5742" y="0"/>
                    </a:lnTo>
                  </a:path>
                </a:pathLst>
              </a:custGeom>
              <a:noFill/>
              <a:ln w="6350" cap="rnd">
                <a:solidFill>
                  <a:schemeClr val="bg1">
                    <a:alpha val="80000"/>
                  </a:schemeClr>
                </a:solidFill>
                <a:prstDash val="solid"/>
                <a:round/>
              </a:ln>
            </p:spPr>
            <p:txBody>
              <a:bodyPr rtlCol="0" anchor="ctr"/>
              <a:lstStyle/>
              <a:p>
                <a:endParaRPr lang="en-GB"/>
              </a:p>
            </p:txBody>
          </p:sp>
          <p:sp>
            <p:nvSpPr>
              <p:cNvPr id="5527" name="Vrije vorm: vorm 5526">
                <a:extLst>
                  <a:ext uri="{FF2B5EF4-FFF2-40B4-BE49-F238E27FC236}">
                    <a16:creationId xmlns:a16="http://schemas.microsoft.com/office/drawing/2014/main" id="{112ECDFA-3572-44D2-99AE-2EEE4DBC2F58}"/>
                  </a:ext>
                </a:extLst>
              </p:cNvPr>
              <p:cNvSpPr/>
              <p:nvPr/>
            </p:nvSpPr>
            <p:spPr>
              <a:xfrm>
                <a:off x="6461113" y="1615134"/>
                <a:ext cx="6399" cy="8552"/>
              </a:xfrm>
              <a:custGeom>
                <a:avLst/>
                <a:gdLst>
                  <a:gd name="connsiteX0" fmla="*/ 0 w 6399"/>
                  <a:gd name="connsiteY0" fmla="*/ 8552 h 8552"/>
                  <a:gd name="connsiteX1" fmla="*/ 1196 w 6399"/>
                  <a:gd name="connsiteY1" fmla="*/ 7356 h 8552"/>
                  <a:gd name="connsiteX2" fmla="*/ 3469 w 6399"/>
                  <a:gd name="connsiteY2" fmla="*/ 5024 h 8552"/>
                  <a:gd name="connsiteX3" fmla="*/ 5742 w 6399"/>
                  <a:gd name="connsiteY3" fmla="*/ 2691 h 8552"/>
                  <a:gd name="connsiteX4" fmla="*/ 6399 w 6399"/>
                  <a:gd name="connsiteY4" fmla="*/ 2033 h 8552"/>
                  <a:gd name="connsiteX5" fmla="*/ 6041 w 6399"/>
                  <a:gd name="connsiteY5" fmla="*/ 718 h 8552"/>
                  <a:gd name="connsiteX6" fmla="*/ 5861 w 6399"/>
                  <a:gd name="connsiteY6" fmla="*/ 0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9" h="8552">
                    <a:moveTo>
                      <a:pt x="0" y="8552"/>
                    </a:moveTo>
                    <a:lnTo>
                      <a:pt x="1196" y="7356"/>
                    </a:lnTo>
                    <a:lnTo>
                      <a:pt x="3469" y="5024"/>
                    </a:lnTo>
                    <a:lnTo>
                      <a:pt x="5742" y="2691"/>
                    </a:lnTo>
                    <a:lnTo>
                      <a:pt x="6399" y="2033"/>
                    </a:lnTo>
                    <a:lnTo>
                      <a:pt x="6041" y="718"/>
                    </a:lnTo>
                    <a:lnTo>
                      <a:pt x="5861" y="0"/>
                    </a:lnTo>
                  </a:path>
                </a:pathLst>
              </a:custGeom>
              <a:noFill/>
              <a:ln w="6350" cap="rnd">
                <a:solidFill>
                  <a:schemeClr val="bg1">
                    <a:alpha val="80000"/>
                  </a:schemeClr>
                </a:solidFill>
                <a:prstDash val="solid"/>
                <a:round/>
              </a:ln>
            </p:spPr>
            <p:txBody>
              <a:bodyPr rtlCol="0" anchor="ctr"/>
              <a:lstStyle/>
              <a:p>
                <a:endParaRPr lang="en-GB"/>
              </a:p>
            </p:txBody>
          </p:sp>
          <p:sp>
            <p:nvSpPr>
              <p:cNvPr id="5528" name="Vrije vorm: vorm 5527">
                <a:extLst>
                  <a:ext uri="{FF2B5EF4-FFF2-40B4-BE49-F238E27FC236}">
                    <a16:creationId xmlns:a16="http://schemas.microsoft.com/office/drawing/2014/main" id="{01A6BE2B-9934-40F7-B582-EFD68C6E5AF1}"/>
                  </a:ext>
                </a:extLst>
              </p:cNvPr>
              <p:cNvSpPr/>
              <p:nvPr/>
            </p:nvSpPr>
            <p:spPr>
              <a:xfrm>
                <a:off x="6466196" y="1615134"/>
                <a:ext cx="1315" cy="777"/>
              </a:xfrm>
              <a:custGeom>
                <a:avLst/>
                <a:gdLst>
                  <a:gd name="connsiteX0" fmla="*/ 0 w 1315"/>
                  <a:gd name="connsiteY0" fmla="*/ 777 h 777"/>
                  <a:gd name="connsiteX1" fmla="*/ 718 w 1315"/>
                  <a:gd name="connsiteY1" fmla="*/ 0 h 777"/>
                  <a:gd name="connsiteX2" fmla="*/ 1316 w 1315"/>
                  <a:gd name="connsiteY2" fmla="*/ 359 h 777"/>
                </a:gdLst>
                <a:ahLst/>
                <a:cxnLst>
                  <a:cxn ang="0">
                    <a:pos x="connsiteX0" y="connsiteY0"/>
                  </a:cxn>
                  <a:cxn ang="0">
                    <a:pos x="connsiteX1" y="connsiteY1"/>
                  </a:cxn>
                  <a:cxn ang="0">
                    <a:pos x="connsiteX2" y="connsiteY2"/>
                  </a:cxn>
                </a:cxnLst>
                <a:rect l="l" t="t" r="r" b="b"/>
                <a:pathLst>
                  <a:path w="1315" h="777">
                    <a:moveTo>
                      <a:pt x="0" y="777"/>
                    </a:moveTo>
                    <a:lnTo>
                      <a:pt x="718" y="0"/>
                    </a:lnTo>
                    <a:lnTo>
                      <a:pt x="1316" y="359"/>
                    </a:lnTo>
                  </a:path>
                </a:pathLst>
              </a:custGeom>
              <a:noFill/>
              <a:ln w="6350" cap="rnd">
                <a:solidFill>
                  <a:schemeClr val="bg1">
                    <a:alpha val="80000"/>
                  </a:schemeClr>
                </a:solidFill>
                <a:prstDash val="solid"/>
                <a:round/>
              </a:ln>
            </p:spPr>
            <p:txBody>
              <a:bodyPr rtlCol="0" anchor="ctr"/>
              <a:lstStyle/>
              <a:p>
                <a:endParaRPr lang="en-GB"/>
              </a:p>
            </p:txBody>
          </p:sp>
          <p:sp>
            <p:nvSpPr>
              <p:cNvPr id="5529" name="Vrije vorm: vorm 5528">
                <a:extLst>
                  <a:ext uri="{FF2B5EF4-FFF2-40B4-BE49-F238E27FC236}">
                    <a16:creationId xmlns:a16="http://schemas.microsoft.com/office/drawing/2014/main" id="{780DAC3D-C1C2-4A09-A03B-9DE13FA53E79}"/>
                  </a:ext>
                </a:extLst>
              </p:cNvPr>
              <p:cNvSpPr/>
              <p:nvPr/>
            </p:nvSpPr>
            <p:spPr>
              <a:xfrm>
                <a:off x="6467154" y="1613938"/>
                <a:ext cx="1555" cy="2093"/>
              </a:xfrm>
              <a:custGeom>
                <a:avLst/>
                <a:gdLst>
                  <a:gd name="connsiteX0" fmla="*/ 419 w 1555"/>
                  <a:gd name="connsiteY0" fmla="*/ 1555 h 2093"/>
                  <a:gd name="connsiteX1" fmla="*/ 0 w 1555"/>
                  <a:gd name="connsiteY1" fmla="*/ 0 h 2093"/>
                  <a:gd name="connsiteX2" fmla="*/ 1555 w 1555"/>
                  <a:gd name="connsiteY2" fmla="*/ 2093 h 2093"/>
                </a:gdLst>
                <a:ahLst/>
                <a:cxnLst>
                  <a:cxn ang="0">
                    <a:pos x="connsiteX0" y="connsiteY0"/>
                  </a:cxn>
                  <a:cxn ang="0">
                    <a:pos x="connsiteX1" y="connsiteY1"/>
                  </a:cxn>
                  <a:cxn ang="0">
                    <a:pos x="connsiteX2" y="connsiteY2"/>
                  </a:cxn>
                </a:cxnLst>
                <a:rect l="l" t="t" r="r" b="b"/>
                <a:pathLst>
                  <a:path w="1555" h="2093">
                    <a:moveTo>
                      <a:pt x="419" y="1555"/>
                    </a:moveTo>
                    <a:lnTo>
                      <a:pt x="0" y="0"/>
                    </a:lnTo>
                    <a:lnTo>
                      <a:pt x="1555" y="2093"/>
                    </a:lnTo>
                  </a:path>
                </a:pathLst>
              </a:custGeom>
              <a:noFill/>
              <a:ln w="6350" cap="rnd">
                <a:solidFill>
                  <a:schemeClr val="bg1">
                    <a:alpha val="80000"/>
                  </a:schemeClr>
                </a:solidFill>
                <a:prstDash val="solid"/>
                <a:round/>
              </a:ln>
            </p:spPr>
            <p:txBody>
              <a:bodyPr rtlCol="0" anchor="ctr"/>
              <a:lstStyle/>
              <a:p>
                <a:endParaRPr lang="en-GB"/>
              </a:p>
            </p:txBody>
          </p:sp>
          <p:sp>
            <p:nvSpPr>
              <p:cNvPr id="5530" name="Vrije vorm: vorm 5529">
                <a:extLst>
                  <a:ext uri="{FF2B5EF4-FFF2-40B4-BE49-F238E27FC236}">
                    <a16:creationId xmlns:a16="http://schemas.microsoft.com/office/drawing/2014/main" id="{1171F9E2-873D-4C64-9C1E-284E110CD700}"/>
                  </a:ext>
                </a:extLst>
              </p:cNvPr>
              <p:cNvSpPr/>
              <p:nvPr/>
            </p:nvSpPr>
            <p:spPr>
              <a:xfrm>
                <a:off x="6462189" y="1615134"/>
                <a:ext cx="418" cy="1495"/>
              </a:xfrm>
              <a:custGeom>
                <a:avLst/>
                <a:gdLst>
                  <a:gd name="connsiteX0" fmla="*/ 0 w 418"/>
                  <a:gd name="connsiteY0" fmla="*/ 0 h 1495"/>
                  <a:gd name="connsiteX1" fmla="*/ 419 w 418"/>
                  <a:gd name="connsiteY1" fmla="*/ 1495 h 1495"/>
                </a:gdLst>
                <a:ahLst/>
                <a:cxnLst>
                  <a:cxn ang="0">
                    <a:pos x="connsiteX0" y="connsiteY0"/>
                  </a:cxn>
                  <a:cxn ang="0">
                    <a:pos x="connsiteX1" y="connsiteY1"/>
                  </a:cxn>
                </a:cxnLst>
                <a:rect l="l" t="t" r="r" b="b"/>
                <a:pathLst>
                  <a:path w="418" h="1495">
                    <a:moveTo>
                      <a:pt x="0" y="0"/>
                    </a:moveTo>
                    <a:lnTo>
                      <a:pt x="419" y="1495"/>
                    </a:lnTo>
                  </a:path>
                </a:pathLst>
              </a:custGeom>
              <a:noFill/>
              <a:ln w="6350" cap="rnd">
                <a:solidFill>
                  <a:schemeClr val="bg1">
                    <a:alpha val="80000"/>
                  </a:schemeClr>
                </a:solidFill>
                <a:prstDash val="solid"/>
                <a:round/>
              </a:ln>
            </p:spPr>
            <p:txBody>
              <a:bodyPr rtlCol="0" anchor="ctr"/>
              <a:lstStyle/>
              <a:p>
                <a:endParaRPr lang="en-GB"/>
              </a:p>
            </p:txBody>
          </p:sp>
          <p:sp>
            <p:nvSpPr>
              <p:cNvPr id="5531" name="Vrije vorm: vorm 5530">
                <a:extLst>
                  <a:ext uri="{FF2B5EF4-FFF2-40B4-BE49-F238E27FC236}">
                    <a16:creationId xmlns:a16="http://schemas.microsoft.com/office/drawing/2014/main" id="{B3953EF3-E261-4B7B-8418-A03DA13ABE0A}"/>
                  </a:ext>
                </a:extLst>
              </p:cNvPr>
              <p:cNvSpPr/>
              <p:nvPr/>
            </p:nvSpPr>
            <p:spPr>
              <a:xfrm>
                <a:off x="6459379" y="1616629"/>
                <a:ext cx="6458" cy="3229"/>
              </a:xfrm>
              <a:custGeom>
                <a:avLst/>
                <a:gdLst>
                  <a:gd name="connsiteX0" fmla="*/ 6459 w 6458"/>
                  <a:gd name="connsiteY0" fmla="*/ 1914 h 3229"/>
                  <a:gd name="connsiteX1" fmla="*/ 6041 w 6458"/>
                  <a:gd name="connsiteY1" fmla="*/ 1675 h 3229"/>
                  <a:gd name="connsiteX2" fmla="*/ 5622 w 6458"/>
                  <a:gd name="connsiteY2" fmla="*/ 1435 h 3229"/>
                  <a:gd name="connsiteX3" fmla="*/ 5024 w 6458"/>
                  <a:gd name="connsiteY3" fmla="*/ 1076 h 3229"/>
                  <a:gd name="connsiteX4" fmla="*/ 3170 w 6458"/>
                  <a:gd name="connsiteY4" fmla="*/ 0 h 3229"/>
                  <a:gd name="connsiteX5" fmla="*/ 1017 w 6458"/>
                  <a:gd name="connsiteY5" fmla="*/ 2213 h 3229"/>
                  <a:gd name="connsiteX6" fmla="*/ 419 w 6458"/>
                  <a:gd name="connsiteY6" fmla="*/ 2811 h 3229"/>
                  <a:gd name="connsiteX7" fmla="*/ 0 w 6458"/>
                  <a:gd name="connsiteY7" fmla="*/ 3230 h 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8" h="3229">
                    <a:moveTo>
                      <a:pt x="6459" y="1914"/>
                    </a:moveTo>
                    <a:lnTo>
                      <a:pt x="6041" y="1675"/>
                    </a:lnTo>
                    <a:lnTo>
                      <a:pt x="5622" y="1435"/>
                    </a:lnTo>
                    <a:lnTo>
                      <a:pt x="5024" y="1076"/>
                    </a:lnTo>
                    <a:lnTo>
                      <a:pt x="3170" y="0"/>
                    </a:lnTo>
                    <a:lnTo>
                      <a:pt x="1017" y="2213"/>
                    </a:lnTo>
                    <a:lnTo>
                      <a:pt x="419" y="2811"/>
                    </a:lnTo>
                    <a:lnTo>
                      <a:pt x="0" y="3230"/>
                    </a:lnTo>
                  </a:path>
                </a:pathLst>
              </a:custGeom>
              <a:noFill/>
              <a:ln w="6350" cap="rnd">
                <a:solidFill>
                  <a:schemeClr val="bg1">
                    <a:alpha val="80000"/>
                  </a:schemeClr>
                </a:solidFill>
                <a:prstDash val="solid"/>
                <a:round/>
              </a:ln>
            </p:spPr>
            <p:txBody>
              <a:bodyPr rtlCol="0" anchor="ctr"/>
              <a:lstStyle/>
              <a:p>
                <a:endParaRPr lang="en-GB"/>
              </a:p>
            </p:txBody>
          </p:sp>
          <p:sp>
            <p:nvSpPr>
              <p:cNvPr id="5532" name="Vrije vorm: vorm 5531">
                <a:extLst>
                  <a:ext uri="{FF2B5EF4-FFF2-40B4-BE49-F238E27FC236}">
                    <a16:creationId xmlns:a16="http://schemas.microsoft.com/office/drawing/2014/main" id="{8DA886C7-F87A-482A-B88A-FDCCFFFA7FE3}"/>
                  </a:ext>
                </a:extLst>
              </p:cNvPr>
              <p:cNvSpPr/>
              <p:nvPr/>
            </p:nvSpPr>
            <p:spPr>
              <a:xfrm>
                <a:off x="6459020" y="1615074"/>
                <a:ext cx="6219" cy="6698"/>
              </a:xfrm>
              <a:custGeom>
                <a:avLst/>
                <a:gdLst>
                  <a:gd name="connsiteX0" fmla="*/ 3648 w 6219"/>
                  <a:gd name="connsiteY0" fmla="*/ 6698 h 6698"/>
                  <a:gd name="connsiteX1" fmla="*/ 3289 w 6219"/>
                  <a:gd name="connsiteY1" fmla="*/ 6519 h 6698"/>
                  <a:gd name="connsiteX2" fmla="*/ 2811 w 6219"/>
                  <a:gd name="connsiteY2" fmla="*/ 6220 h 6698"/>
                  <a:gd name="connsiteX3" fmla="*/ 2691 w 6219"/>
                  <a:gd name="connsiteY3" fmla="*/ 6160 h 6698"/>
                  <a:gd name="connsiteX4" fmla="*/ 2572 w 6219"/>
                  <a:gd name="connsiteY4" fmla="*/ 6100 h 6698"/>
                  <a:gd name="connsiteX5" fmla="*/ 2213 w 6219"/>
                  <a:gd name="connsiteY5" fmla="*/ 5861 h 6698"/>
                  <a:gd name="connsiteX6" fmla="*/ 2093 w 6219"/>
                  <a:gd name="connsiteY6" fmla="*/ 5801 h 6698"/>
                  <a:gd name="connsiteX7" fmla="*/ 2033 w 6219"/>
                  <a:gd name="connsiteY7" fmla="*/ 5742 h 6698"/>
                  <a:gd name="connsiteX8" fmla="*/ 1854 w 6219"/>
                  <a:gd name="connsiteY8" fmla="*/ 5622 h 6698"/>
                  <a:gd name="connsiteX9" fmla="*/ 359 w 6219"/>
                  <a:gd name="connsiteY9" fmla="*/ 4785 h 6698"/>
                  <a:gd name="connsiteX10" fmla="*/ 0 w 6219"/>
                  <a:gd name="connsiteY10" fmla="*/ 3289 h 6698"/>
                  <a:gd name="connsiteX11" fmla="*/ 2273 w 6219"/>
                  <a:gd name="connsiteY11" fmla="*/ 957 h 6698"/>
                  <a:gd name="connsiteX12" fmla="*/ 3170 w 6219"/>
                  <a:gd name="connsiteY12" fmla="*/ 0 h 6698"/>
                  <a:gd name="connsiteX13" fmla="*/ 5741 w 6219"/>
                  <a:gd name="connsiteY13" fmla="*/ 1495 h 6698"/>
                  <a:gd name="connsiteX14" fmla="*/ 6220 w 6219"/>
                  <a:gd name="connsiteY14" fmla="*/ 1794 h 6698"/>
                  <a:gd name="connsiteX15" fmla="*/ 6220 w 6219"/>
                  <a:gd name="connsiteY15" fmla="*/ 1794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 h="6698">
                    <a:moveTo>
                      <a:pt x="3648" y="6698"/>
                    </a:moveTo>
                    <a:lnTo>
                      <a:pt x="3289" y="6519"/>
                    </a:lnTo>
                    <a:lnTo>
                      <a:pt x="2811" y="6220"/>
                    </a:lnTo>
                    <a:lnTo>
                      <a:pt x="2691" y="6160"/>
                    </a:lnTo>
                    <a:lnTo>
                      <a:pt x="2572" y="6100"/>
                    </a:lnTo>
                    <a:lnTo>
                      <a:pt x="2213" y="5861"/>
                    </a:lnTo>
                    <a:lnTo>
                      <a:pt x="2093" y="5801"/>
                    </a:lnTo>
                    <a:lnTo>
                      <a:pt x="2033" y="5742"/>
                    </a:lnTo>
                    <a:lnTo>
                      <a:pt x="1854" y="5622"/>
                    </a:lnTo>
                    <a:lnTo>
                      <a:pt x="359" y="4785"/>
                    </a:lnTo>
                    <a:lnTo>
                      <a:pt x="0" y="3289"/>
                    </a:lnTo>
                    <a:lnTo>
                      <a:pt x="2273" y="957"/>
                    </a:lnTo>
                    <a:lnTo>
                      <a:pt x="3170" y="0"/>
                    </a:lnTo>
                    <a:lnTo>
                      <a:pt x="5741" y="1495"/>
                    </a:lnTo>
                    <a:lnTo>
                      <a:pt x="6220" y="1794"/>
                    </a:lnTo>
                    <a:lnTo>
                      <a:pt x="6220" y="1794"/>
                    </a:lnTo>
                  </a:path>
                </a:pathLst>
              </a:custGeom>
              <a:noFill/>
              <a:ln w="6350" cap="rnd">
                <a:solidFill>
                  <a:schemeClr val="bg1">
                    <a:alpha val="80000"/>
                  </a:schemeClr>
                </a:solidFill>
                <a:prstDash val="solid"/>
                <a:round/>
              </a:ln>
            </p:spPr>
            <p:txBody>
              <a:bodyPr rtlCol="0" anchor="ctr"/>
              <a:lstStyle/>
              <a:p>
                <a:endParaRPr lang="en-GB"/>
              </a:p>
            </p:txBody>
          </p:sp>
          <p:sp>
            <p:nvSpPr>
              <p:cNvPr id="5533" name="Vrije vorm: vorm 5532">
                <a:extLst>
                  <a:ext uri="{FF2B5EF4-FFF2-40B4-BE49-F238E27FC236}">
                    <a16:creationId xmlns:a16="http://schemas.microsoft.com/office/drawing/2014/main" id="{A65A05AA-5036-40B3-A1F4-6F05DD12AC8E}"/>
                  </a:ext>
                </a:extLst>
              </p:cNvPr>
              <p:cNvSpPr/>
              <p:nvPr/>
            </p:nvSpPr>
            <p:spPr>
              <a:xfrm>
                <a:off x="6460754" y="1622191"/>
                <a:ext cx="1256" cy="2990"/>
              </a:xfrm>
              <a:custGeom>
                <a:avLst/>
                <a:gdLst>
                  <a:gd name="connsiteX0" fmla="*/ 1256 w 1256"/>
                  <a:gd name="connsiteY0" fmla="*/ 2990 h 2990"/>
                  <a:gd name="connsiteX1" fmla="*/ 957 w 1256"/>
                  <a:gd name="connsiteY1" fmla="*/ 1794 h 2990"/>
                  <a:gd name="connsiteX2" fmla="*/ 359 w 1256"/>
                  <a:gd name="connsiteY2" fmla="*/ 1435 h 2990"/>
                  <a:gd name="connsiteX3" fmla="*/ 0 w 1256"/>
                  <a:gd name="connsiteY3" fmla="*/ 0 h 2990"/>
                </a:gdLst>
                <a:ahLst/>
                <a:cxnLst>
                  <a:cxn ang="0">
                    <a:pos x="connsiteX0" y="connsiteY0"/>
                  </a:cxn>
                  <a:cxn ang="0">
                    <a:pos x="connsiteX1" y="connsiteY1"/>
                  </a:cxn>
                  <a:cxn ang="0">
                    <a:pos x="connsiteX2" y="connsiteY2"/>
                  </a:cxn>
                  <a:cxn ang="0">
                    <a:pos x="connsiteX3" y="connsiteY3"/>
                  </a:cxn>
                </a:cxnLst>
                <a:rect l="l" t="t" r="r" b="b"/>
                <a:pathLst>
                  <a:path w="1256" h="2990">
                    <a:moveTo>
                      <a:pt x="1256" y="2990"/>
                    </a:moveTo>
                    <a:lnTo>
                      <a:pt x="957" y="1794"/>
                    </a:lnTo>
                    <a:lnTo>
                      <a:pt x="359" y="143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34" name="Vrije vorm: vorm 5533">
                <a:extLst>
                  <a:ext uri="{FF2B5EF4-FFF2-40B4-BE49-F238E27FC236}">
                    <a16:creationId xmlns:a16="http://schemas.microsoft.com/office/drawing/2014/main" id="{D9194EB1-BA03-4453-989C-0A962608739B}"/>
                  </a:ext>
                </a:extLst>
              </p:cNvPr>
              <p:cNvSpPr/>
              <p:nvPr/>
            </p:nvSpPr>
            <p:spPr>
              <a:xfrm>
                <a:off x="6459917" y="1616988"/>
                <a:ext cx="5681" cy="2691"/>
              </a:xfrm>
              <a:custGeom>
                <a:avLst/>
                <a:gdLst>
                  <a:gd name="connsiteX0" fmla="*/ 5682 w 5681"/>
                  <a:gd name="connsiteY0" fmla="*/ 1794 h 2691"/>
                  <a:gd name="connsiteX1" fmla="*/ 4904 w 5681"/>
                  <a:gd name="connsiteY1" fmla="*/ 1316 h 2691"/>
                  <a:gd name="connsiteX2" fmla="*/ 4306 w 5681"/>
                  <a:gd name="connsiteY2" fmla="*/ 957 h 2691"/>
                  <a:gd name="connsiteX3" fmla="*/ 2691 w 5681"/>
                  <a:gd name="connsiteY3" fmla="*/ 0 h 2691"/>
                  <a:gd name="connsiteX4" fmla="*/ 778 w 5681"/>
                  <a:gd name="connsiteY4" fmla="*/ 1914 h 2691"/>
                  <a:gd name="connsiteX5" fmla="*/ 538 w 5681"/>
                  <a:gd name="connsiteY5" fmla="*/ 2153 h 2691"/>
                  <a:gd name="connsiteX6" fmla="*/ 0 w 5681"/>
                  <a:gd name="connsiteY6" fmla="*/ 2691 h 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1" h="2691">
                    <a:moveTo>
                      <a:pt x="5682" y="1794"/>
                    </a:moveTo>
                    <a:lnTo>
                      <a:pt x="4904" y="1316"/>
                    </a:lnTo>
                    <a:lnTo>
                      <a:pt x="4306" y="957"/>
                    </a:lnTo>
                    <a:lnTo>
                      <a:pt x="2691" y="0"/>
                    </a:lnTo>
                    <a:lnTo>
                      <a:pt x="778" y="1914"/>
                    </a:lnTo>
                    <a:lnTo>
                      <a:pt x="538" y="2153"/>
                    </a:lnTo>
                    <a:lnTo>
                      <a:pt x="0" y="2691"/>
                    </a:lnTo>
                  </a:path>
                </a:pathLst>
              </a:custGeom>
              <a:noFill/>
              <a:ln w="6350" cap="rnd">
                <a:solidFill>
                  <a:schemeClr val="bg1">
                    <a:alpha val="80000"/>
                  </a:schemeClr>
                </a:solidFill>
                <a:prstDash val="solid"/>
                <a:round/>
              </a:ln>
            </p:spPr>
            <p:txBody>
              <a:bodyPr rtlCol="0" anchor="ctr"/>
              <a:lstStyle/>
              <a:p>
                <a:endParaRPr lang="en-GB"/>
              </a:p>
            </p:txBody>
          </p:sp>
          <p:sp>
            <p:nvSpPr>
              <p:cNvPr id="5535" name="Vrije vorm: vorm 5534">
                <a:extLst>
                  <a:ext uri="{FF2B5EF4-FFF2-40B4-BE49-F238E27FC236}">
                    <a16:creationId xmlns:a16="http://schemas.microsoft.com/office/drawing/2014/main" id="{1C9E465A-D49A-467A-8910-7F7366B8B7DE}"/>
                  </a:ext>
                </a:extLst>
              </p:cNvPr>
              <p:cNvSpPr/>
              <p:nvPr/>
            </p:nvSpPr>
            <p:spPr>
              <a:xfrm>
                <a:off x="6459917" y="1619799"/>
                <a:ext cx="2990" cy="1734"/>
              </a:xfrm>
              <a:custGeom>
                <a:avLst/>
                <a:gdLst>
                  <a:gd name="connsiteX0" fmla="*/ 2990 w 2990"/>
                  <a:gd name="connsiteY0" fmla="*/ 1734 h 1734"/>
                  <a:gd name="connsiteX1" fmla="*/ 2632 w 2990"/>
                  <a:gd name="connsiteY1" fmla="*/ 1495 h 1734"/>
                  <a:gd name="connsiteX2" fmla="*/ 2213 w 2990"/>
                  <a:gd name="connsiteY2" fmla="*/ 1256 h 1734"/>
                  <a:gd name="connsiteX3" fmla="*/ 2093 w 2990"/>
                  <a:gd name="connsiteY3" fmla="*/ 1196 h 1734"/>
                  <a:gd name="connsiteX4" fmla="*/ 1615 w 2990"/>
                  <a:gd name="connsiteY4" fmla="*/ 897 h 1734"/>
                  <a:gd name="connsiteX5" fmla="*/ 1495 w 2990"/>
                  <a:gd name="connsiteY5" fmla="*/ 837 h 1734"/>
                  <a:gd name="connsiteX6" fmla="*/ 0 w 2990"/>
                  <a:gd name="connsiteY6" fmla="*/ 0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 h="1734">
                    <a:moveTo>
                      <a:pt x="2990" y="1734"/>
                    </a:moveTo>
                    <a:lnTo>
                      <a:pt x="2632" y="1495"/>
                    </a:lnTo>
                    <a:lnTo>
                      <a:pt x="2213" y="1256"/>
                    </a:lnTo>
                    <a:lnTo>
                      <a:pt x="2093" y="1196"/>
                    </a:lnTo>
                    <a:lnTo>
                      <a:pt x="1615" y="897"/>
                    </a:lnTo>
                    <a:lnTo>
                      <a:pt x="1495" y="83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36" name="Vrije vorm: vorm 5535">
                <a:extLst>
                  <a:ext uri="{FF2B5EF4-FFF2-40B4-BE49-F238E27FC236}">
                    <a16:creationId xmlns:a16="http://schemas.microsoft.com/office/drawing/2014/main" id="{204EFE37-505A-4F21-9A2E-004FD7A75ACC}"/>
                  </a:ext>
                </a:extLst>
              </p:cNvPr>
              <p:cNvSpPr/>
              <p:nvPr/>
            </p:nvSpPr>
            <p:spPr>
              <a:xfrm>
                <a:off x="6461352" y="1621533"/>
                <a:ext cx="1016" cy="1016"/>
              </a:xfrm>
              <a:custGeom>
                <a:avLst/>
                <a:gdLst>
                  <a:gd name="connsiteX0" fmla="*/ 0 w 1016"/>
                  <a:gd name="connsiteY0" fmla="*/ 1017 h 1016"/>
                  <a:gd name="connsiteX1" fmla="*/ 120 w 1016"/>
                  <a:gd name="connsiteY1" fmla="*/ 1017 h 1016"/>
                  <a:gd name="connsiteX2" fmla="*/ 239 w 1016"/>
                  <a:gd name="connsiteY2" fmla="*/ 957 h 1016"/>
                  <a:gd name="connsiteX3" fmla="*/ 419 w 1016"/>
                  <a:gd name="connsiteY3" fmla="*/ 897 h 1016"/>
                  <a:gd name="connsiteX4" fmla="*/ 598 w 1016"/>
                  <a:gd name="connsiteY4" fmla="*/ 778 h 1016"/>
                  <a:gd name="connsiteX5" fmla="*/ 718 w 1016"/>
                  <a:gd name="connsiteY5" fmla="*/ 598 h 1016"/>
                  <a:gd name="connsiteX6" fmla="*/ 718 w 1016"/>
                  <a:gd name="connsiteY6" fmla="*/ 598 h 1016"/>
                  <a:gd name="connsiteX7" fmla="*/ 837 w 1016"/>
                  <a:gd name="connsiteY7" fmla="*/ 419 h 1016"/>
                  <a:gd name="connsiteX8" fmla="*/ 957 w 1016"/>
                  <a:gd name="connsiteY8" fmla="*/ 179 h 1016"/>
                  <a:gd name="connsiteX9" fmla="*/ 1017 w 1016"/>
                  <a:gd name="connsiteY9" fmla="*/ 0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6" h="1016">
                    <a:moveTo>
                      <a:pt x="0" y="1017"/>
                    </a:moveTo>
                    <a:lnTo>
                      <a:pt x="120" y="1017"/>
                    </a:lnTo>
                    <a:lnTo>
                      <a:pt x="239" y="957"/>
                    </a:lnTo>
                    <a:lnTo>
                      <a:pt x="419" y="897"/>
                    </a:lnTo>
                    <a:lnTo>
                      <a:pt x="598" y="778"/>
                    </a:lnTo>
                    <a:lnTo>
                      <a:pt x="718" y="598"/>
                    </a:lnTo>
                    <a:lnTo>
                      <a:pt x="718" y="598"/>
                    </a:lnTo>
                    <a:lnTo>
                      <a:pt x="837" y="419"/>
                    </a:lnTo>
                    <a:lnTo>
                      <a:pt x="957" y="179"/>
                    </a:lnTo>
                    <a:lnTo>
                      <a:pt x="1017" y="0"/>
                    </a:lnTo>
                  </a:path>
                </a:pathLst>
              </a:custGeom>
              <a:noFill/>
              <a:ln w="6350" cap="rnd">
                <a:solidFill>
                  <a:schemeClr val="bg1">
                    <a:alpha val="80000"/>
                  </a:schemeClr>
                </a:solidFill>
                <a:prstDash val="solid"/>
                <a:round/>
              </a:ln>
            </p:spPr>
            <p:txBody>
              <a:bodyPr rtlCol="0" anchor="ctr"/>
              <a:lstStyle/>
              <a:p>
                <a:endParaRPr lang="en-GB"/>
              </a:p>
            </p:txBody>
          </p:sp>
          <p:sp>
            <p:nvSpPr>
              <p:cNvPr id="5537" name="Vrije vorm: vorm 5536">
                <a:extLst>
                  <a:ext uri="{FF2B5EF4-FFF2-40B4-BE49-F238E27FC236}">
                    <a16:creationId xmlns:a16="http://schemas.microsoft.com/office/drawing/2014/main" id="{BFAEBB9B-BB6E-41B4-917C-01A6F8E9916F}"/>
                  </a:ext>
                </a:extLst>
              </p:cNvPr>
              <p:cNvSpPr/>
              <p:nvPr/>
            </p:nvSpPr>
            <p:spPr>
              <a:xfrm>
                <a:off x="6460575" y="1620816"/>
                <a:ext cx="777" cy="1734"/>
              </a:xfrm>
              <a:custGeom>
                <a:avLst/>
                <a:gdLst>
                  <a:gd name="connsiteX0" fmla="*/ 777 w 777"/>
                  <a:gd name="connsiteY0" fmla="*/ 1734 h 1734"/>
                  <a:gd name="connsiteX1" fmla="*/ 179 w 777"/>
                  <a:gd name="connsiteY1" fmla="*/ 1376 h 1734"/>
                  <a:gd name="connsiteX2" fmla="*/ 179 w 777"/>
                  <a:gd name="connsiteY2" fmla="*/ 1376 h 1734"/>
                  <a:gd name="connsiteX3" fmla="*/ 60 w 777"/>
                  <a:gd name="connsiteY3" fmla="*/ 1316 h 1734"/>
                  <a:gd name="connsiteX4" fmla="*/ 0 w 777"/>
                  <a:gd name="connsiteY4" fmla="*/ 1196 h 1734"/>
                  <a:gd name="connsiteX5" fmla="*/ 0 w 777"/>
                  <a:gd name="connsiteY5" fmla="*/ 1017 h 1734"/>
                  <a:gd name="connsiteX6" fmla="*/ 0 w 777"/>
                  <a:gd name="connsiteY6" fmla="*/ 837 h 1734"/>
                  <a:gd name="connsiteX7" fmla="*/ 60 w 777"/>
                  <a:gd name="connsiteY7" fmla="*/ 598 h 1734"/>
                  <a:gd name="connsiteX8" fmla="*/ 179 w 777"/>
                  <a:gd name="connsiteY8" fmla="*/ 359 h 1734"/>
                  <a:gd name="connsiteX9" fmla="*/ 299 w 777"/>
                  <a:gd name="connsiteY9" fmla="*/ 179 h 1734"/>
                  <a:gd name="connsiteX10" fmla="*/ 359 w 777"/>
                  <a:gd name="connsiteY10" fmla="*/ 120 h 1734"/>
                  <a:gd name="connsiteX11" fmla="*/ 418 w 777"/>
                  <a:gd name="connsiteY11" fmla="*/ 0 h 1734"/>
                  <a:gd name="connsiteX12" fmla="*/ 418 w 777"/>
                  <a:gd name="connsiteY12" fmla="*/ 0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7" h="1734">
                    <a:moveTo>
                      <a:pt x="777" y="1734"/>
                    </a:moveTo>
                    <a:lnTo>
                      <a:pt x="179" y="1376"/>
                    </a:lnTo>
                    <a:lnTo>
                      <a:pt x="179" y="1376"/>
                    </a:lnTo>
                    <a:lnTo>
                      <a:pt x="60" y="1316"/>
                    </a:lnTo>
                    <a:lnTo>
                      <a:pt x="0" y="1196"/>
                    </a:lnTo>
                    <a:lnTo>
                      <a:pt x="0" y="1017"/>
                    </a:lnTo>
                    <a:lnTo>
                      <a:pt x="0" y="837"/>
                    </a:lnTo>
                    <a:lnTo>
                      <a:pt x="60" y="598"/>
                    </a:lnTo>
                    <a:lnTo>
                      <a:pt x="179" y="359"/>
                    </a:lnTo>
                    <a:lnTo>
                      <a:pt x="299" y="179"/>
                    </a:lnTo>
                    <a:lnTo>
                      <a:pt x="359" y="120"/>
                    </a:lnTo>
                    <a:lnTo>
                      <a:pt x="418" y="0"/>
                    </a:lnTo>
                    <a:lnTo>
                      <a:pt x="418" y="0"/>
                    </a:lnTo>
                  </a:path>
                </a:pathLst>
              </a:custGeom>
              <a:noFill/>
              <a:ln w="6350" cap="rnd">
                <a:solidFill>
                  <a:schemeClr val="bg1">
                    <a:alpha val="80000"/>
                  </a:schemeClr>
                </a:solidFill>
                <a:prstDash val="solid"/>
                <a:round/>
              </a:ln>
            </p:spPr>
            <p:txBody>
              <a:bodyPr rtlCol="0" anchor="ctr"/>
              <a:lstStyle/>
              <a:p>
                <a:endParaRPr lang="en-GB"/>
              </a:p>
            </p:txBody>
          </p:sp>
          <p:sp>
            <p:nvSpPr>
              <p:cNvPr id="5538" name="Vrije vorm: vorm 5537">
                <a:extLst>
                  <a:ext uri="{FF2B5EF4-FFF2-40B4-BE49-F238E27FC236}">
                    <a16:creationId xmlns:a16="http://schemas.microsoft.com/office/drawing/2014/main" id="{2AA79627-4F40-40B0-A059-C6C8D74F259D}"/>
                  </a:ext>
                </a:extLst>
              </p:cNvPr>
              <p:cNvSpPr/>
              <p:nvPr/>
            </p:nvSpPr>
            <p:spPr>
              <a:xfrm>
                <a:off x="6460754" y="1621234"/>
                <a:ext cx="956" cy="956"/>
              </a:xfrm>
              <a:custGeom>
                <a:avLst/>
                <a:gdLst>
                  <a:gd name="connsiteX0" fmla="*/ 0 w 956"/>
                  <a:gd name="connsiteY0" fmla="*/ 957 h 956"/>
                  <a:gd name="connsiteX1" fmla="*/ 0 w 956"/>
                  <a:gd name="connsiteY1" fmla="*/ 957 h 956"/>
                  <a:gd name="connsiteX2" fmla="*/ 120 w 956"/>
                  <a:gd name="connsiteY2" fmla="*/ 957 h 956"/>
                  <a:gd name="connsiteX3" fmla="*/ 239 w 956"/>
                  <a:gd name="connsiteY3" fmla="*/ 897 h 956"/>
                  <a:gd name="connsiteX4" fmla="*/ 419 w 956"/>
                  <a:gd name="connsiteY4" fmla="*/ 837 h 956"/>
                  <a:gd name="connsiteX5" fmla="*/ 419 w 956"/>
                  <a:gd name="connsiteY5" fmla="*/ 837 h 956"/>
                  <a:gd name="connsiteX6" fmla="*/ 538 w 956"/>
                  <a:gd name="connsiteY6" fmla="*/ 718 h 956"/>
                  <a:gd name="connsiteX7" fmla="*/ 658 w 956"/>
                  <a:gd name="connsiteY7" fmla="*/ 538 h 956"/>
                  <a:gd name="connsiteX8" fmla="*/ 778 w 956"/>
                  <a:gd name="connsiteY8" fmla="*/ 359 h 956"/>
                  <a:gd name="connsiteX9" fmla="*/ 837 w 956"/>
                  <a:gd name="connsiteY9" fmla="*/ 299 h 956"/>
                  <a:gd name="connsiteX10" fmla="*/ 837 w 956"/>
                  <a:gd name="connsiteY10" fmla="*/ 299 h 956"/>
                  <a:gd name="connsiteX11" fmla="*/ 897 w 956"/>
                  <a:gd name="connsiteY11" fmla="*/ 180 h 956"/>
                  <a:gd name="connsiteX12" fmla="*/ 957 w 956"/>
                  <a:gd name="connsiteY12" fmla="*/ 0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6" h="956">
                    <a:moveTo>
                      <a:pt x="0" y="957"/>
                    </a:moveTo>
                    <a:lnTo>
                      <a:pt x="0" y="957"/>
                    </a:lnTo>
                    <a:lnTo>
                      <a:pt x="120" y="957"/>
                    </a:lnTo>
                    <a:lnTo>
                      <a:pt x="239" y="897"/>
                    </a:lnTo>
                    <a:lnTo>
                      <a:pt x="419" y="837"/>
                    </a:lnTo>
                    <a:lnTo>
                      <a:pt x="419" y="837"/>
                    </a:lnTo>
                    <a:lnTo>
                      <a:pt x="538" y="718"/>
                    </a:lnTo>
                    <a:lnTo>
                      <a:pt x="658" y="538"/>
                    </a:lnTo>
                    <a:lnTo>
                      <a:pt x="778" y="359"/>
                    </a:lnTo>
                    <a:lnTo>
                      <a:pt x="837" y="299"/>
                    </a:lnTo>
                    <a:lnTo>
                      <a:pt x="837" y="299"/>
                    </a:lnTo>
                    <a:lnTo>
                      <a:pt x="897" y="180"/>
                    </a:lnTo>
                    <a:lnTo>
                      <a:pt x="957" y="0"/>
                    </a:lnTo>
                  </a:path>
                </a:pathLst>
              </a:custGeom>
              <a:noFill/>
              <a:ln w="6350" cap="rnd">
                <a:solidFill>
                  <a:schemeClr val="bg1">
                    <a:alpha val="80000"/>
                  </a:schemeClr>
                </a:solidFill>
                <a:prstDash val="solid"/>
                <a:round/>
              </a:ln>
            </p:spPr>
            <p:txBody>
              <a:bodyPr rtlCol="0" anchor="ctr"/>
              <a:lstStyle/>
              <a:p>
                <a:endParaRPr lang="en-GB"/>
              </a:p>
            </p:txBody>
          </p:sp>
          <p:sp>
            <p:nvSpPr>
              <p:cNvPr id="5539" name="Vrije vorm: vorm 5538">
                <a:extLst>
                  <a:ext uri="{FF2B5EF4-FFF2-40B4-BE49-F238E27FC236}">
                    <a16:creationId xmlns:a16="http://schemas.microsoft.com/office/drawing/2014/main" id="{58D14EB8-CD62-445B-924E-FD002A87CA59}"/>
                  </a:ext>
                </a:extLst>
              </p:cNvPr>
              <p:cNvSpPr/>
              <p:nvPr/>
            </p:nvSpPr>
            <p:spPr>
              <a:xfrm>
                <a:off x="6462668" y="1620517"/>
                <a:ext cx="239" cy="1255"/>
              </a:xfrm>
              <a:custGeom>
                <a:avLst/>
                <a:gdLst>
                  <a:gd name="connsiteX0" fmla="*/ 0 w 239"/>
                  <a:gd name="connsiteY0" fmla="*/ 0 h 1255"/>
                  <a:gd name="connsiteX1" fmla="*/ 239 w 239"/>
                  <a:gd name="connsiteY1" fmla="*/ 1017 h 1255"/>
                  <a:gd name="connsiteX2" fmla="*/ 0 w 239"/>
                  <a:gd name="connsiteY2" fmla="*/ 1256 h 1255"/>
                </a:gdLst>
                <a:ahLst/>
                <a:cxnLst>
                  <a:cxn ang="0">
                    <a:pos x="connsiteX0" y="connsiteY0"/>
                  </a:cxn>
                  <a:cxn ang="0">
                    <a:pos x="connsiteX1" y="connsiteY1"/>
                  </a:cxn>
                  <a:cxn ang="0">
                    <a:pos x="connsiteX2" y="connsiteY2"/>
                  </a:cxn>
                </a:cxnLst>
                <a:rect l="l" t="t" r="r" b="b"/>
                <a:pathLst>
                  <a:path w="239" h="1255">
                    <a:moveTo>
                      <a:pt x="0" y="0"/>
                    </a:moveTo>
                    <a:lnTo>
                      <a:pt x="239" y="1017"/>
                    </a:lnTo>
                    <a:lnTo>
                      <a:pt x="0" y="1256"/>
                    </a:lnTo>
                  </a:path>
                </a:pathLst>
              </a:custGeom>
              <a:noFill/>
              <a:ln w="6350" cap="rnd">
                <a:solidFill>
                  <a:schemeClr val="bg1">
                    <a:alpha val="80000"/>
                  </a:schemeClr>
                </a:solidFill>
                <a:prstDash val="solid"/>
                <a:round/>
              </a:ln>
            </p:spPr>
            <p:txBody>
              <a:bodyPr rtlCol="0" anchor="ctr"/>
              <a:lstStyle/>
              <a:p>
                <a:endParaRPr lang="en-GB"/>
              </a:p>
            </p:txBody>
          </p:sp>
          <p:sp>
            <p:nvSpPr>
              <p:cNvPr id="5540" name="Vrije vorm: vorm 5539">
                <a:extLst>
                  <a:ext uri="{FF2B5EF4-FFF2-40B4-BE49-F238E27FC236}">
                    <a16:creationId xmlns:a16="http://schemas.microsoft.com/office/drawing/2014/main" id="{CDD066D5-90F9-4D13-B501-B971F9A3C848}"/>
                  </a:ext>
                </a:extLst>
              </p:cNvPr>
              <p:cNvSpPr/>
              <p:nvPr/>
            </p:nvSpPr>
            <p:spPr>
              <a:xfrm>
                <a:off x="6465599" y="1617646"/>
                <a:ext cx="239" cy="1136"/>
              </a:xfrm>
              <a:custGeom>
                <a:avLst/>
                <a:gdLst>
                  <a:gd name="connsiteX0" fmla="*/ 0 w 239"/>
                  <a:gd name="connsiteY0" fmla="*/ 0 h 1136"/>
                  <a:gd name="connsiteX1" fmla="*/ 239 w 239"/>
                  <a:gd name="connsiteY1" fmla="*/ 897 h 1136"/>
                  <a:gd name="connsiteX2" fmla="*/ 0 w 239"/>
                  <a:gd name="connsiteY2" fmla="*/ 1136 h 1136"/>
                </a:gdLst>
                <a:ahLst/>
                <a:cxnLst>
                  <a:cxn ang="0">
                    <a:pos x="connsiteX0" y="connsiteY0"/>
                  </a:cxn>
                  <a:cxn ang="0">
                    <a:pos x="connsiteX1" y="connsiteY1"/>
                  </a:cxn>
                  <a:cxn ang="0">
                    <a:pos x="connsiteX2" y="connsiteY2"/>
                  </a:cxn>
                </a:cxnLst>
                <a:rect l="l" t="t" r="r" b="b"/>
                <a:pathLst>
                  <a:path w="239" h="1136">
                    <a:moveTo>
                      <a:pt x="0" y="0"/>
                    </a:moveTo>
                    <a:lnTo>
                      <a:pt x="239" y="897"/>
                    </a:lnTo>
                    <a:lnTo>
                      <a:pt x="0" y="1136"/>
                    </a:lnTo>
                  </a:path>
                </a:pathLst>
              </a:custGeom>
              <a:noFill/>
              <a:ln w="6350" cap="rnd">
                <a:solidFill>
                  <a:schemeClr val="bg1">
                    <a:alpha val="80000"/>
                  </a:schemeClr>
                </a:solidFill>
                <a:prstDash val="solid"/>
                <a:round/>
              </a:ln>
            </p:spPr>
            <p:txBody>
              <a:bodyPr rtlCol="0" anchor="ctr"/>
              <a:lstStyle/>
              <a:p>
                <a:endParaRPr lang="en-GB"/>
              </a:p>
            </p:txBody>
          </p:sp>
          <p:sp>
            <p:nvSpPr>
              <p:cNvPr id="5541" name="Vrije vorm: vorm 5540">
                <a:extLst>
                  <a:ext uri="{FF2B5EF4-FFF2-40B4-BE49-F238E27FC236}">
                    <a16:creationId xmlns:a16="http://schemas.microsoft.com/office/drawing/2014/main" id="{CE690862-DEB8-4AC9-867E-FBF22E19F222}"/>
                  </a:ext>
                </a:extLst>
              </p:cNvPr>
              <p:cNvSpPr/>
              <p:nvPr/>
            </p:nvSpPr>
            <p:spPr>
              <a:xfrm>
                <a:off x="6466256" y="1615911"/>
                <a:ext cx="598" cy="358"/>
              </a:xfrm>
              <a:custGeom>
                <a:avLst/>
                <a:gdLst>
                  <a:gd name="connsiteX0" fmla="*/ 0 w 598"/>
                  <a:gd name="connsiteY0" fmla="*/ 0 h 358"/>
                  <a:gd name="connsiteX1" fmla="*/ 598 w 598"/>
                  <a:gd name="connsiteY1" fmla="*/ 359 h 358"/>
                  <a:gd name="connsiteX2" fmla="*/ 598 w 598"/>
                  <a:gd name="connsiteY2" fmla="*/ 359 h 358"/>
                </a:gdLst>
                <a:ahLst/>
                <a:cxnLst>
                  <a:cxn ang="0">
                    <a:pos x="connsiteX0" y="connsiteY0"/>
                  </a:cxn>
                  <a:cxn ang="0">
                    <a:pos x="connsiteX1" y="connsiteY1"/>
                  </a:cxn>
                  <a:cxn ang="0">
                    <a:pos x="connsiteX2" y="connsiteY2"/>
                  </a:cxn>
                </a:cxnLst>
                <a:rect l="l" t="t" r="r" b="b"/>
                <a:pathLst>
                  <a:path w="598" h="358">
                    <a:moveTo>
                      <a:pt x="0" y="0"/>
                    </a:moveTo>
                    <a:lnTo>
                      <a:pt x="598" y="359"/>
                    </a:lnTo>
                    <a:lnTo>
                      <a:pt x="598" y="359"/>
                    </a:lnTo>
                  </a:path>
                </a:pathLst>
              </a:custGeom>
              <a:noFill/>
              <a:ln w="6350" cap="rnd">
                <a:solidFill>
                  <a:schemeClr val="bg1">
                    <a:alpha val="80000"/>
                  </a:schemeClr>
                </a:solidFill>
                <a:prstDash val="solid"/>
                <a:round/>
              </a:ln>
            </p:spPr>
            <p:txBody>
              <a:bodyPr rtlCol="0" anchor="ctr"/>
              <a:lstStyle/>
              <a:p>
                <a:endParaRPr lang="en-GB"/>
              </a:p>
            </p:txBody>
          </p:sp>
          <p:sp>
            <p:nvSpPr>
              <p:cNvPr id="5542" name="Vrije vorm: vorm 5541">
                <a:extLst>
                  <a:ext uri="{FF2B5EF4-FFF2-40B4-BE49-F238E27FC236}">
                    <a16:creationId xmlns:a16="http://schemas.microsoft.com/office/drawing/2014/main" id="{B41FA769-BF0A-41F9-BFEC-8E2761B4D960}"/>
                  </a:ext>
                </a:extLst>
              </p:cNvPr>
              <p:cNvSpPr/>
              <p:nvPr/>
            </p:nvSpPr>
            <p:spPr>
              <a:xfrm>
                <a:off x="6482464" y="1742763"/>
                <a:ext cx="59" cy="299"/>
              </a:xfrm>
              <a:custGeom>
                <a:avLst/>
                <a:gdLst>
                  <a:gd name="connsiteX0" fmla="*/ 0 w 59"/>
                  <a:gd name="connsiteY0" fmla="*/ 0 h 299"/>
                  <a:gd name="connsiteX1" fmla="*/ 60 w 59"/>
                  <a:gd name="connsiteY1" fmla="*/ 299 h 299"/>
                </a:gdLst>
                <a:ahLst/>
                <a:cxnLst>
                  <a:cxn ang="0">
                    <a:pos x="connsiteX0" y="connsiteY0"/>
                  </a:cxn>
                  <a:cxn ang="0">
                    <a:pos x="connsiteX1" y="connsiteY1"/>
                  </a:cxn>
                </a:cxnLst>
                <a:rect l="l" t="t" r="r" b="b"/>
                <a:pathLst>
                  <a:path w="59" h="299">
                    <a:moveTo>
                      <a:pt x="0" y="0"/>
                    </a:moveTo>
                    <a:lnTo>
                      <a:pt x="60" y="299"/>
                    </a:lnTo>
                  </a:path>
                </a:pathLst>
              </a:custGeom>
              <a:noFill/>
              <a:ln w="6350" cap="rnd">
                <a:solidFill>
                  <a:schemeClr val="bg1">
                    <a:alpha val="80000"/>
                  </a:schemeClr>
                </a:solidFill>
                <a:prstDash val="solid"/>
                <a:round/>
              </a:ln>
            </p:spPr>
            <p:txBody>
              <a:bodyPr rtlCol="0" anchor="ctr"/>
              <a:lstStyle/>
              <a:p>
                <a:endParaRPr lang="en-GB"/>
              </a:p>
            </p:txBody>
          </p:sp>
          <p:sp>
            <p:nvSpPr>
              <p:cNvPr id="5543" name="Vrije vorm: vorm 5542">
                <a:extLst>
                  <a:ext uri="{FF2B5EF4-FFF2-40B4-BE49-F238E27FC236}">
                    <a16:creationId xmlns:a16="http://schemas.microsoft.com/office/drawing/2014/main" id="{32814127-3CFC-48D3-9919-A7F7BDDE0EF5}"/>
                  </a:ext>
                </a:extLst>
              </p:cNvPr>
              <p:cNvSpPr/>
              <p:nvPr/>
            </p:nvSpPr>
            <p:spPr>
              <a:xfrm>
                <a:off x="6463685" y="1720933"/>
                <a:ext cx="1136" cy="3289"/>
              </a:xfrm>
              <a:custGeom>
                <a:avLst/>
                <a:gdLst>
                  <a:gd name="connsiteX0" fmla="*/ 1136 w 1136"/>
                  <a:gd name="connsiteY0" fmla="*/ 0 h 3289"/>
                  <a:gd name="connsiteX1" fmla="*/ 60 w 1136"/>
                  <a:gd name="connsiteY1" fmla="*/ 3050 h 3289"/>
                  <a:gd name="connsiteX2" fmla="*/ 0 w 1136"/>
                  <a:gd name="connsiteY2" fmla="*/ 3289 h 3289"/>
                </a:gdLst>
                <a:ahLst/>
                <a:cxnLst>
                  <a:cxn ang="0">
                    <a:pos x="connsiteX0" y="connsiteY0"/>
                  </a:cxn>
                  <a:cxn ang="0">
                    <a:pos x="connsiteX1" y="connsiteY1"/>
                  </a:cxn>
                  <a:cxn ang="0">
                    <a:pos x="connsiteX2" y="connsiteY2"/>
                  </a:cxn>
                </a:cxnLst>
                <a:rect l="l" t="t" r="r" b="b"/>
                <a:pathLst>
                  <a:path w="1136" h="3289">
                    <a:moveTo>
                      <a:pt x="1136" y="0"/>
                    </a:moveTo>
                    <a:lnTo>
                      <a:pt x="60" y="3050"/>
                    </a:lnTo>
                    <a:lnTo>
                      <a:pt x="0" y="3289"/>
                    </a:lnTo>
                  </a:path>
                </a:pathLst>
              </a:custGeom>
              <a:noFill/>
              <a:ln w="6350" cap="rnd">
                <a:solidFill>
                  <a:schemeClr val="bg1">
                    <a:alpha val="80000"/>
                  </a:schemeClr>
                </a:solidFill>
                <a:prstDash val="solid"/>
                <a:round/>
              </a:ln>
            </p:spPr>
            <p:txBody>
              <a:bodyPr rtlCol="0" anchor="ctr"/>
              <a:lstStyle/>
              <a:p>
                <a:endParaRPr lang="en-GB"/>
              </a:p>
            </p:txBody>
          </p:sp>
          <p:sp>
            <p:nvSpPr>
              <p:cNvPr id="5544" name="Vrije vorm: vorm 5543">
                <a:extLst>
                  <a:ext uri="{FF2B5EF4-FFF2-40B4-BE49-F238E27FC236}">
                    <a16:creationId xmlns:a16="http://schemas.microsoft.com/office/drawing/2014/main" id="{37A90717-57C4-4E75-BB5C-022D37B42C16}"/>
                  </a:ext>
                </a:extLst>
              </p:cNvPr>
              <p:cNvSpPr/>
              <p:nvPr/>
            </p:nvSpPr>
            <p:spPr>
              <a:xfrm>
                <a:off x="6467213" y="1705562"/>
                <a:ext cx="25717" cy="35405"/>
              </a:xfrm>
              <a:custGeom>
                <a:avLst/>
                <a:gdLst>
                  <a:gd name="connsiteX0" fmla="*/ 2871 w 25717"/>
                  <a:gd name="connsiteY0" fmla="*/ 34090 h 35405"/>
                  <a:gd name="connsiteX1" fmla="*/ 1076 w 25717"/>
                  <a:gd name="connsiteY1" fmla="*/ 31937 h 35405"/>
                  <a:gd name="connsiteX2" fmla="*/ 179 w 25717"/>
                  <a:gd name="connsiteY2" fmla="*/ 29007 h 35405"/>
                  <a:gd name="connsiteX3" fmla="*/ 119 w 25717"/>
                  <a:gd name="connsiteY3" fmla="*/ 28827 h 35405"/>
                  <a:gd name="connsiteX4" fmla="*/ 119 w 25717"/>
                  <a:gd name="connsiteY4" fmla="*/ 28767 h 35405"/>
                  <a:gd name="connsiteX5" fmla="*/ 60 w 25717"/>
                  <a:gd name="connsiteY5" fmla="*/ 27212 h 35405"/>
                  <a:gd name="connsiteX6" fmla="*/ 60 w 25717"/>
                  <a:gd name="connsiteY6" fmla="*/ 26913 h 35405"/>
                  <a:gd name="connsiteX7" fmla="*/ 0 w 25717"/>
                  <a:gd name="connsiteY7" fmla="*/ 24999 h 35405"/>
                  <a:gd name="connsiteX8" fmla="*/ 538 w 25717"/>
                  <a:gd name="connsiteY8" fmla="*/ 21830 h 35405"/>
                  <a:gd name="connsiteX9" fmla="*/ 658 w 25717"/>
                  <a:gd name="connsiteY9" fmla="*/ 21052 h 35405"/>
                  <a:gd name="connsiteX10" fmla="*/ 718 w 25717"/>
                  <a:gd name="connsiteY10" fmla="*/ 20693 h 35405"/>
                  <a:gd name="connsiteX11" fmla="*/ 957 w 25717"/>
                  <a:gd name="connsiteY11" fmla="*/ 19976 h 35405"/>
                  <a:gd name="connsiteX12" fmla="*/ 1316 w 25717"/>
                  <a:gd name="connsiteY12" fmla="*/ 18959 h 35405"/>
                  <a:gd name="connsiteX13" fmla="*/ 1674 w 25717"/>
                  <a:gd name="connsiteY13" fmla="*/ 17823 h 35405"/>
                  <a:gd name="connsiteX14" fmla="*/ 2213 w 25717"/>
                  <a:gd name="connsiteY14" fmla="*/ 16208 h 35405"/>
                  <a:gd name="connsiteX15" fmla="*/ 3050 w 25717"/>
                  <a:gd name="connsiteY15" fmla="*/ 14533 h 35405"/>
                  <a:gd name="connsiteX16" fmla="*/ 4426 w 25717"/>
                  <a:gd name="connsiteY16" fmla="*/ 11782 h 35405"/>
                  <a:gd name="connsiteX17" fmla="*/ 6280 w 25717"/>
                  <a:gd name="connsiteY17" fmla="*/ 9091 h 35405"/>
                  <a:gd name="connsiteX18" fmla="*/ 7117 w 25717"/>
                  <a:gd name="connsiteY18" fmla="*/ 7895 h 35405"/>
                  <a:gd name="connsiteX19" fmla="*/ 7236 w 25717"/>
                  <a:gd name="connsiteY19" fmla="*/ 7775 h 35405"/>
                  <a:gd name="connsiteX20" fmla="*/ 8552 w 25717"/>
                  <a:gd name="connsiteY20" fmla="*/ 6340 h 35405"/>
                  <a:gd name="connsiteX21" fmla="*/ 8552 w 25717"/>
                  <a:gd name="connsiteY21" fmla="*/ 6340 h 35405"/>
                  <a:gd name="connsiteX22" fmla="*/ 8911 w 25717"/>
                  <a:gd name="connsiteY22" fmla="*/ 5921 h 35405"/>
                  <a:gd name="connsiteX23" fmla="*/ 9988 w 25717"/>
                  <a:gd name="connsiteY23" fmla="*/ 4725 h 35405"/>
                  <a:gd name="connsiteX24" fmla="*/ 10347 w 25717"/>
                  <a:gd name="connsiteY24" fmla="*/ 4366 h 35405"/>
                  <a:gd name="connsiteX25" fmla="*/ 12918 w 25717"/>
                  <a:gd name="connsiteY25" fmla="*/ 2392 h 35405"/>
                  <a:gd name="connsiteX26" fmla="*/ 13576 w 25717"/>
                  <a:gd name="connsiteY26" fmla="*/ 1914 h 35405"/>
                  <a:gd name="connsiteX27" fmla="*/ 13696 w 25717"/>
                  <a:gd name="connsiteY27" fmla="*/ 1854 h 35405"/>
                  <a:gd name="connsiteX28" fmla="*/ 16267 w 25717"/>
                  <a:gd name="connsiteY28" fmla="*/ 658 h 35405"/>
                  <a:gd name="connsiteX29" fmla="*/ 16925 w 25717"/>
                  <a:gd name="connsiteY29" fmla="*/ 359 h 35405"/>
                  <a:gd name="connsiteX30" fmla="*/ 17822 w 25717"/>
                  <a:gd name="connsiteY30" fmla="*/ 239 h 35405"/>
                  <a:gd name="connsiteX31" fmla="*/ 18959 w 25717"/>
                  <a:gd name="connsiteY31" fmla="*/ 120 h 35405"/>
                  <a:gd name="connsiteX32" fmla="*/ 19916 w 25717"/>
                  <a:gd name="connsiteY32" fmla="*/ 0 h 35405"/>
                  <a:gd name="connsiteX33" fmla="*/ 21471 w 25717"/>
                  <a:gd name="connsiteY33" fmla="*/ 538 h 35405"/>
                  <a:gd name="connsiteX34" fmla="*/ 22488 w 25717"/>
                  <a:gd name="connsiteY34" fmla="*/ 897 h 35405"/>
                  <a:gd name="connsiteX35" fmla="*/ 23205 w 25717"/>
                  <a:gd name="connsiteY35" fmla="*/ 1675 h 35405"/>
                  <a:gd name="connsiteX36" fmla="*/ 23803 w 25717"/>
                  <a:gd name="connsiteY36" fmla="*/ 2273 h 35405"/>
                  <a:gd name="connsiteX37" fmla="*/ 24401 w 25717"/>
                  <a:gd name="connsiteY37" fmla="*/ 2931 h 35405"/>
                  <a:gd name="connsiteX38" fmla="*/ 24820 w 25717"/>
                  <a:gd name="connsiteY38" fmla="*/ 4127 h 35405"/>
                  <a:gd name="connsiteX39" fmla="*/ 25478 w 25717"/>
                  <a:gd name="connsiteY39" fmla="*/ 5981 h 35405"/>
                  <a:gd name="connsiteX40" fmla="*/ 25537 w 25717"/>
                  <a:gd name="connsiteY40" fmla="*/ 6639 h 35405"/>
                  <a:gd name="connsiteX41" fmla="*/ 25717 w 25717"/>
                  <a:gd name="connsiteY41" fmla="*/ 9808 h 35405"/>
                  <a:gd name="connsiteX42" fmla="*/ 25717 w 25717"/>
                  <a:gd name="connsiteY42" fmla="*/ 9868 h 35405"/>
                  <a:gd name="connsiteX43" fmla="*/ 25657 w 25717"/>
                  <a:gd name="connsiteY43" fmla="*/ 10406 h 35405"/>
                  <a:gd name="connsiteX44" fmla="*/ 25537 w 25717"/>
                  <a:gd name="connsiteY44" fmla="*/ 11304 h 35405"/>
                  <a:gd name="connsiteX45" fmla="*/ 25059 w 25717"/>
                  <a:gd name="connsiteY45" fmla="*/ 14354 h 35405"/>
                  <a:gd name="connsiteX46" fmla="*/ 24282 w 25717"/>
                  <a:gd name="connsiteY46" fmla="*/ 16806 h 35405"/>
                  <a:gd name="connsiteX47" fmla="*/ 23564 w 25717"/>
                  <a:gd name="connsiteY47" fmla="*/ 19079 h 35405"/>
                  <a:gd name="connsiteX48" fmla="*/ 22129 w 25717"/>
                  <a:gd name="connsiteY48" fmla="*/ 22009 h 35405"/>
                  <a:gd name="connsiteX49" fmla="*/ 21291 w 25717"/>
                  <a:gd name="connsiteY49" fmla="*/ 23743 h 35405"/>
                  <a:gd name="connsiteX50" fmla="*/ 19437 w 25717"/>
                  <a:gd name="connsiteY50" fmla="*/ 26375 h 35405"/>
                  <a:gd name="connsiteX51" fmla="*/ 19198 w 25717"/>
                  <a:gd name="connsiteY51" fmla="*/ 26734 h 35405"/>
                  <a:gd name="connsiteX52" fmla="*/ 18361 w 25717"/>
                  <a:gd name="connsiteY52" fmla="*/ 27930 h 35405"/>
                  <a:gd name="connsiteX53" fmla="*/ 18121 w 25717"/>
                  <a:gd name="connsiteY53" fmla="*/ 28169 h 35405"/>
                  <a:gd name="connsiteX54" fmla="*/ 17942 w 25717"/>
                  <a:gd name="connsiteY54" fmla="*/ 28349 h 35405"/>
                  <a:gd name="connsiteX55" fmla="*/ 16327 w 25717"/>
                  <a:gd name="connsiteY55" fmla="*/ 30023 h 35405"/>
                  <a:gd name="connsiteX56" fmla="*/ 16088 w 25717"/>
                  <a:gd name="connsiteY56" fmla="*/ 30262 h 35405"/>
                  <a:gd name="connsiteX57" fmla="*/ 15191 w 25717"/>
                  <a:gd name="connsiteY57" fmla="*/ 31219 h 35405"/>
                  <a:gd name="connsiteX58" fmla="*/ 15012 w 25717"/>
                  <a:gd name="connsiteY58" fmla="*/ 31399 h 35405"/>
                  <a:gd name="connsiteX59" fmla="*/ 14413 w 25717"/>
                  <a:gd name="connsiteY59" fmla="*/ 31817 h 35405"/>
                  <a:gd name="connsiteX60" fmla="*/ 14354 w 25717"/>
                  <a:gd name="connsiteY60" fmla="*/ 31877 h 35405"/>
                  <a:gd name="connsiteX61" fmla="*/ 12021 w 25717"/>
                  <a:gd name="connsiteY61" fmla="*/ 33552 h 35405"/>
                  <a:gd name="connsiteX62" fmla="*/ 11543 w 25717"/>
                  <a:gd name="connsiteY62" fmla="*/ 33911 h 35405"/>
                  <a:gd name="connsiteX63" fmla="*/ 11064 w 25717"/>
                  <a:gd name="connsiteY63" fmla="*/ 34090 h 35405"/>
                  <a:gd name="connsiteX64" fmla="*/ 8373 w 25717"/>
                  <a:gd name="connsiteY64" fmla="*/ 35226 h 35405"/>
                  <a:gd name="connsiteX65" fmla="*/ 8194 w 25717"/>
                  <a:gd name="connsiteY65" fmla="*/ 35286 h 35405"/>
                  <a:gd name="connsiteX66" fmla="*/ 7895 w 25717"/>
                  <a:gd name="connsiteY66" fmla="*/ 35286 h 35405"/>
                  <a:gd name="connsiteX67" fmla="*/ 7895 w 25717"/>
                  <a:gd name="connsiteY67" fmla="*/ 35286 h 35405"/>
                  <a:gd name="connsiteX68" fmla="*/ 6220 w 25717"/>
                  <a:gd name="connsiteY68" fmla="*/ 35346 h 35405"/>
                  <a:gd name="connsiteX69" fmla="*/ 5981 w 25717"/>
                  <a:gd name="connsiteY69" fmla="*/ 35346 h 35405"/>
                  <a:gd name="connsiteX70" fmla="*/ 5203 w 25717"/>
                  <a:gd name="connsiteY70" fmla="*/ 35406 h 35405"/>
                  <a:gd name="connsiteX71" fmla="*/ 4964 w 25717"/>
                  <a:gd name="connsiteY71" fmla="*/ 35286 h 35405"/>
                  <a:gd name="connsiteX72" fmla="*/ 3588 w 25717"/>
                  <a:gd name="connsiteY72" fmla="*/ 34688 h 35405"/>
                  <a:gd name="connsiteX73" fmla="*/ 2871 w 25717"/>
                  <a:gd name="connsiteY73" fmla="*/ 34090 h 3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5717" h="35405">
                    <a:moveTo>
                      <a:pt x="2871" y="34090"/>
                    </a:moveTo>
                    <a:lnTo>
                      <a:pt x="1076" y="31937"/>
                    </a:lnTo>
                    <a:lnTo>
                      <a:pt x="179" y="29007"/>
                    </a:lnTo>
                    <a:lnTo>
                      <a:pt x="119" y="28827"/>
                    </a:lnTo>
                    <a:lnTo>
                      <a:pt x="119" y="28767"/>
                    </a:lnTo>
                    <a:lnTo>
                      <a:pt x="60" y="27212"/>
                    </a:lnTo>
                    <a:lnTo>
                      <a:pt x="60" y="26913"/>
                    </a:lnTo>
                    <a:lnTo>
                      <a:pt x="0" y="24999"/>
                    </a:lnTo>
                    <a:lnTo>
                      <a:pt x="538" y="21830"/>
                    </a:lnTo>
                    <a:lnTo>
                      <a:pt x="658" y="21052"/>
                    </a:lnTo>
                    <a:lnTo>
                      <a:pt x="718" y="20693"/>
                    </a:lnTo>
                    <a:lnTo>
                      <a:pt x="957" y="19976"/>
                    </a:lnTo>
                    <a:lnTo>
                      <a:pt x="1316" y="18959"/>
                    </a:lnTo>
                    <a:lnTo>
                      <a:pt x="1674" y="17823"/>
                    </a:lnTo>
                    <a:lnTo>
                      <a:pt x="2213" y="16208"/>
                    </a:lnTo>
                    <a:lnTo>
                      <a:pt x="3050" y="14533"/>
                    </a:lnTo>
                    <a:lnTo>
                      <a:pt x="4426" y="11782"/>
                    </a:lnTo>
                    <a:lnTo>
                      <a:pt x="6280" y="9091"/>
                    </a:lnTo>
                    <a:lnTo>
                      <a:pt x="7117" y="7895"/>
                    </a:lnTo>
                    <a:lnTo>
                      <a:pt x="7236" y="7775"/>
                    </a:lnTo>
                    <a:lnTo>
                      <a:pt x="8552" y="6340"/>
                    </a:lnTo>
                    <a:lnTo>
                      <a:pt x="8552" y="6340"/>
                    </a:lnTo>
                    <a:lnTo>
                      <a:pt x="8911" y="5921"/>
                    </a:lnTo>
                    <a:lnTo>
                      <a:pt x="9988" y="4725"/>
                    </a:lnTo>
                    <a:lnTo>
                      <a:pt x="10347" y="4366"/>
                    </a:lnTo>
                    <a:lnTo>
                      <a:pt x="12918" y="2392"/>
                    </a:lnTo>
                    <a:lnTo>
                      <a:pt x="13576" y="1914"/>
                    </a:lnTo>
                    <a:lnTo>
                      <a:pt x="13696" y="1854"/>
                    </a:lnTo>
                    <a:lnTo>
                      <a:pt x="16267" y="658"/>
                    </a:lnTo>
                    <a:lnTo>
                      <a:pt x="16925" y="359"/>
                    </a:lnTo>
                    <a:lnTo>
                      <a:pt x="17822" y="239"/>
                    </a:lnTo>
                    <a:lnTo>
                      <a:pt x="18959" y="120"/>
                    </a:lnTo>
                    <a:lnTo>
                      <a:pt x="19916" y="0"/>
                    </a:lnTo>
                    <a:lnTo>
                      <a:pt x="21471" y="538"/>
                    </a:lnTo>
                    <a:lnTo>
                      <a:pt x="22488" y="897"/>
                    </a:lnTo>
                    <a:lnTo>
                      <a:pt x="23205" y="1675"/>
                    </a:lnTo>
                    <a:lnTo>
                      <a:pt x="23803" y="2273"/>
                    </a:lnTo>
                    <a:lnTo>
                      <a:pt x="24401" y="2931"/>
                    </a:lnTo>
                    <a:lnTo>
                      <a:pt x="24820" y="4127"/>
                    </a:lnTo>
                    <a:lnTo>
                      <a:pt x="25478" y="5981"/>
                    </a:lnTo>
                    <a:lnTo>
                      <a:pt x="25537" y="6639"/>
                    </a:lnTo>
                    <a:lnTo>
                      <a:pt x="25717" y="9808"/>
                    </a:lnTo>
                    <a:lnTo>
                      <a:pt x="25717" y="9868"/>
                    </a:lnTo>
                    <a:lnTo>
                      <a:pt x="25657" y="10406"/>
                    </a:lnTo>
                    <a:lnTo>
                      <a:pt x="25537" y="11304"/>
                    </a:lnTo>
                    <a:lnTo>
                      <a:pt x="25059" y="14354"/>
                    </a:lnTo>
                    <a:lnTo>
                      <a:pt x="24282" y="16806"/>
                    </a:lnTo>
                    <a:lnTo>
                      <a:pt x="23564" y="19079"/>
                    </a:lnTo>
                    <a:lnTo>
                      <a:pt x="22129" y="22009"/>
                    </a:lnTo>
                    <a:lnTo>
                      <a:pt x="21291" y="23743"/>
                    </a:lnTo>
                    <a:lnTo>
                      <a:pt x="19437" y="26375"/>
                    </a:lnTo>
                    <a:lnTo>
                      <a:pt x="19198" y="26734"/>
                    </a:lnTo>
                    <a:lnTo>
                      <a:pt x="18361" y="27930"/>
                    </a:lnTo>
                    <a:lnTo>
                      <a:pt x="18121" y="28169"/>
                    </a:lnTo>
                    <a:lnTo>
                      <a:pt x="17942" y="28349"/>
                    </a:lnTo>
                    <a:lnTo>
                      <a:pt x="16327" y="30023"/>
                    </a:lnTo>
                    <a:lnTo>
                      <a:pt x="16088" y="30262"/>
                    </a:lnTo>
                    <a:lnTo>
                      <a:pt x="15191" y="31219"/>
                    </a:lnTo>
                    <a:lnTo>
                      <a:pt x="15012" y="31399"/>
                    </a:lnTo>
                    <a:lnTo>
                      <a:pt x="14413" y="31817"/>
                    </a:lnTo>
                    <a:lnTo>
                      <a:pt x="14354" y="31877"/>
                    </a:lnTo>
                    <a:lnTo>
                      <a:pt x="12021" y="33552"/>
                    </a:lnTo>
                    <a:lnTo>
                      <a:pt x="11543" y="33911"/>
                    </a:lnTo>
                    <a:lnTo>
                      <a:pt x="11064" y="34090"/>
                    </a:lnTo>
                    <a:lnTo>
                      <a:pt x="8373" y="35226"/>
                    </a:lnTo>
                    <a:lnTo>
                      <a:pt x="8194" y="35286"/>
                    </a:lnTo>
                    <a:lnTo>
                      <a:pt x="7895" y="35286"/>
                    </a:lnTo>
                    <a:lnTo>
                      <a:pt x="7895" y="35286"/>
                    </a:lnTo>
                    <a:lnTo>
                      <a:pt x="6220" y="35346"/>
                    </a:lnTo>
                    <a:lnTo>
                      <a:pt x="5981" y="35346"/>
                    </a:lnTo>
                    <a:lnTo>
                      <a:pt x="5203" y="35406"/>
                    </a:lnTo>
                    <a:lnTo>
                      <a:pt x="4964" y="35286"/>
                    </a:lnTo>
                    <a:lnTo>
                      <a:pt x="3588" y="34688"/>
                    </a:lnTo>
                    <a:lnTo>
                      <a:pt x="2871" y="34090"/>
                    </a:lnTo>
                  </a:path>
                </a:pathLst>
              </a:custGeom>
              <a:noFill/>
              <a:ln w="6350" cap="rnd">
                <a:solidFill>
                  <a:schemeClr val="bg1">
                    <a:alpha val="80000"/>
                  </a:schemeClr>
                </a:solidFill>
                <a:prstDash val="solid"/>
                <a:round/>
              </a:ln>
            </p:spPr>
            <p:txBody>
              <a:bodyPr rtlCol="0" anchor="ctr"/>
              <a:lstStyle/>
              <a:p>
                <a:endParaRPr lang="en-GB"/>
              </a:p>
            </p:txBody>
          </p:sp>
          <p:sp>
            <p:nvSpPr>
              <p:cNvPr id="5545" name="Vrije vorm: vorm 5544">
                <a:extLst>
                  <a:ext uri="{FF2B5EF4-FFF2-40B4-BE49-F238E27FC236}">
                    <a16:creationId xmlns:a16="http://schemas.microsoft.com/office/drawing/2014/main" id="{A6295E99-DF66-4525-9C87-C7D5CFF8F6B6}"/>
                  </a:ext>
                </a:extLst>
              </p:cNvPr>
              <p:cNvSpPr/>
              <p:nvPr/>
            </p:nvSpPr>
            <p:spPr>
              <a:xfrm>
                <a:off x="6453757" y="1665372"/>
                <a:ext cx="4006" cy="4186"/>
              </a:xfrm>
              <a:custGeom>
                <a:avLst/>
                <a:gdLst>
                  <a:gd name="connsiteX0" fmla="*/ 2691 w 4006"/>
                  <a:gd name="connsiteY0" fmla="*/ 0 h 4186"/>
                  <a:gd name="connsiteX1" fmla="*/ 2871 w 4006"/>
                  <a:gd name="connsiteY1" fmla="*/ 239 h 4186"/>
                  <a:gd name="connsiteX2" fmla="*/ 2990 w 4006"/>
                  <a:gd name="connsiteY2" fmla="*/ 598 h 4186"/>
                  <a:gd name="connsiteX3" fmla="*/ 2990 w 4006"/>
                  <a:gd name="connsiteY3" fmla="*/ 957 h 4186"/>
                  <a:gd name="connsiteX4" fmla="*/ 2990 w 4006"/>
                  <a:gd name="connsiteY4" fmla="*/ 1017 h 4186"/>
                  <a:gd name="connsiteX5" fmla="*/ 2930 w 4006"/>
                  <a:gd name="connsiteY5" fmla="*/ 1376 h 4186"/>
                  <a:gd name="connsiteX6" fmla="*/ 2930 w 4006"/>
                  <a:gd name="connsiteY6" fmla="*/ 1495 h 4186"/>
                  <a:gd name="connsiteX7" fmla="*/ 2751 w 4006"/>
                  <a:gd name="connsiteY7" fmla="*/ 2033 h 4186"/>
                  <a:gd name="connsiteX8" fmla="*/ 2452 w 4006"/>
                  <a:gd name="connsiteY8" fmla="*/ 2572 h 4186"/>
                  <a:gd name="connsiteX9" fmla="*/ 2093 w 4006"/>
                  <a:gd name="connsiteY9" fmla="*/ 3110 h 4186"/>
                  <a:gd name="connsiteX10" fmla="*/ 1734 w 4006"/>
                  <a:gd name="connsiteY10" fmla="*/ 3529 h 4186"/>
                  <a:gd name="connsiteX11" fmla="*/ 1316 w 4006"/>
                  <a:gd name="connsiteY11" fmla="*/ 3888 h 4186"/>
                  <a:gd name="connsiteX12" fmla="*/ 1256 w 4006"/>
                  <a:gd name="connsiteY12" fmla="*/ 3947 h 4186"/>
                  <a:gd name="connsiteX13" fmla="*/ 957 w 4006"/>
                  <a:gd name="connsiteY13" fmla="*/ 4127 h 4186"/>
                  <a:gd name="connsiteX14" fmla="*/ 897 w 4006"/>
                  <a:gd name="connsiteY14" fmla="*/ 4127 h 4186"/>
                  <a:gd name="connsiteX15" fmla="*/ 598 w 4006"/>
                  <a:gd name="connsiteY15" fmla="*/ 4186 h 4186"/>
                  <a:gd name="connsiteX16" fmla="*/ 299 w 4006"/>
                  <a:gd name="connsiteY16" fmla="*/ 4127 h 4186"/>
                  <a:gd name="connsiteX17" fmla="*/ 119 w 4006"/>
                  <a:gd name="connsiteY17" fmla="*/ 3888 h 4186"/>
                  <a:gd name="connsiteX18" fmla="*/ 0 w 4006"/>
                  <a:gd name="connsiteY18" fmla="*/ 3529 h 4186"/>
                  <a:gd name="connsiteX19" fmla="*/ 0 w 4006"/>
                  <a:gd name="connsiteY19" fmla="*/ 3110 h 4186"/>
                  <a:gd name="connsiteX20" fmla="*/ 119 w 4006"/>
                  <a:gd name="connsiteY20" fmla="*/ 2572 h 4186"/>
                  <a:gd name="connsiteX21" fmla="*/ 299 w 4006"/>
                  <a:gd name="connsiteY21" fmla="*/ 2033 h 4186"/>
                  <a:gd name="connsiteX22" fmla="*/ 538 w 4006"/>
                  <a:gd name="connsiteY22" fmla="*/ 1555 h 4186"/>
                  <a:gd name="connsiteX23" fmla="*/ 598 w 4006"/>
                  <a:gd name="connsiteY23" fmla="*/ 1495 h 4186"/>
                  <a:gd name="connsiteX24" fmla="*/ 957 w 4006"/>
                  <a:gd name="connsiteY24" fmla="*/ 1017 h 4186"/>
                  <a:gd name="connsiteX25" fmla="*/ 1316 w 4006"/>
                  <a:gd name="connsiteY25" fmla="*/ 598 h 4186"/>
                  <a:gd name="connsiteX26" fmla="*/ 1375 w 4006"/>
                  <a:gd name="connsiteY26" fmla="*/ 538 h 4186"/>
                  <a:gd name="connsiteX27" fmla="*/ 1674 w 4006"/>
                  <a:gd name="connsiteY27" fmla="*/ 239 h 4186"/>
                  <a:gd name="connsiteX28" fmla="*/ 2033 w 4006"/>
                  <a:gd name="connsiteY28" fmla="*/ 60 h 4186"/>
                  <a:gd name="connsiteX29" fmla="*/ 2392 w 4006"/>
                  <a:gd name="connsiteY29" fmla="*/ 0 h 4186"/>
                  <a:gd name="connsiteX30" fmla="*/ 2691 w 4006"/>
                  <a:gd name="connsiteY30" fmla="*/ 0 h 4186"/>
                  <a:gd name="connsiteX31" fmla="*/ 3409 w 4006"/>
                  <a:gd name="connsiteY31" fmla="*/ 419 h 4186"/>
                  <a:gd name="connsiteX32" fmla="*/ 4007 w 4006"/>
                  <a:gd name="connsiteY32" fmla="*/ 778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06" h="4186">
                    <a:moveTo>
                      <a:pt x="2691" y="0"/>
                    </a:moveTo>
                    <a:lnTo>
                      <a:pt x="2871" y="239"/>
                    </a:lnTo>
                    <a:lnTo>
                      <a:pt x="2990" y="598"/>
                    </a:lnTo>
                    <a:lnTo>
                      <a:pt x="2990" y="957"/>
                    </a:lnTo>
                    <a:lnTo>
                      <a:pt x="2990" y="1017"/>
                    </a:lnTo>
                    <a:lnTo>
                      <a:pt x="2930" y="1376"/>
                    </a:lnTo>
                    <a:lnTo>
                      <a:pt x="2930" y="1495"/>
                    </a:lnTo>
                    <a:lnTo>
                      <a:pt x="2751" y="2033"/>
                    </a:lnTo>
                    <a:lnTo>
                      <a:pt x="2452" y="2572"/>
                    </a:lnTo>
                    <a:lnTo>
                      <a:pt x="2093" y="3110"/>
                    </a:lnTo>
                    <a:lnTo>
                      <a:pt x="1734" y="3529"/>
                    </a:lnTo>
                    <a:lnTo>
                      <a:pt x="1316" y="3888"/>
                    </a:lnTo>
                    <a:lnTo>
                      <a:pt x="1256" y="3947"/>
                    </a:lnTo>
                    <a:lnTo>
                      <a:pt x="957" y="4127"/>
                    </a:lnTo>
                    <a:lnTo>
                      <a:pt x="897" y="4127"/>
                    </a:lnTo>
                    <a:lnTo>
                      <a:pt x="598" y="4186"/>
                    </a:lnTo>
                    <a:lnTo>
                      <a:pt x="299" y="4127"/>
                    </a:lnTo>
                    <a:lnTo>
                      <a:pt x="119" y="3888"/>
                    </a:lnTo>
                    <a:lnTo>
                      <a:pt x="0" y="3529"/>
                    </a:lnTo>
                    <a:lnTo>
                      <a:pt x="0" y="3110"/>
                    </a:lnTo>
                    <a:lnTo>
                      <a:pt x="119" y="2572"/>
                    </a:lnTo>
                    <a:lnTo>
                      <a:pt x="299" y="2033"/>
                    </a:lnTo>
                    <a:lnTo>
                      <a:pt x="538" y="1555"/>
                    </a:lnTo>
                    <a:lnTo>
                      <a:pt x="598" y="1495"/>
                    </a:lnTo>
                    <a:lnTo>
                      <a:pt x="957" y="1017"/>
                    </a:lnTo>
                    <a:lnTo>
                      <a:pt x="1316" y="598"/>
                    </a:lnTo>
                    <a:lnTo>
                      <a:pt x="1375" y="538"/>
                    </a:lnTo>
                    <a:lnTo>
                      <a:pt x="1674" y="239"/>
                    </a:lnTo>
                    <a:lnTo>
                      <a:pt x="2033" y="60"/>
                    </a:lnTo>
                    <a:lnTo>
                      <a:pt x="2392" y="0"/>
                    </a:lnTo>
                    <a:lnTo>
                      <a:pt x="2691" y="0"/>
                    </a:lnTo>
                    <a:lnTo>
                      <a:pt x="3409" y="419"/>
                    </a:lnTo>
                    <a:lnTo>
                      <a:pt x="4007" y="778"/>
                    </a:lnTo>
                  </a:path>
                </a:pathLst>
              </a:custGeom>
              <a:noFill/>
              <a:ln w="6350" cap="rnd">
                <a:solidFill>
                  <a:schemeClr val="bg1">
                    <a:alpha val="80000"/>
                  </a:schemeClr>
                </a:solidFill>
                <a:prstDash val="solid"/>
                <a:round/>
              </a:ln>
            </p:spPr>
            <p:txBody>
              <a:bodyPr rtlCol="0" anchor="ctr"/>
              <a:lstStyle/>
              <a:p>
                <a:endParaRPr lang="en-GB"/>
              </a:p>
            </p:txBody>
          </p:sp>
          <p:sp>
            <p:nvSpPr>
              <p:cNvPr id="5546" name="Vrije vorm: vorm 5545">
                <a:extLst>
                  <a:ext uri="{FF2B5EF4-FFF2-40B4-BE49-F238E27FC236}">
                    <a16:creationId xmlns:a16="http://schemas.microsoft.com/office/drawing/2014/main" id="{488166B9-7BB2-4091-ABCB-7A97309D75A7}"/>
                  </a:ext>
                </a:extLst>
              </p:cNvPr>
              <p:cNvSpPr/>
              <p:nvPr/>
            </p:nvSpPr>
            <p:spPr>
              <a:xfrm>
                <a:off x="6454056" y="1669439"/>
                <a:ext cx="1256" cy="777"/>
              </a:xfrm>
              <a:custGeom>
                <a:avLst/>
                <a:gdLst>
                  <a:gd name="connsiteX0" fmla="*/ 1256 w 1256"/>
                  <a:gd name="connsiteY0" fmla="*/ 777 h 777"/>
                  <a:gd name="connsiteX1" fmla="*/ 1017 w 1256"/>
                  <a:gd name="connsiteY1" fmla="*/ 598 h 777"/>
                  <a:gd name="connsiteX2" fmla="*/ 658 w 1256"/>
                  <a:gd name="connsiteY2" fmla="*/ 359 h 777"/>
                  <a:gd name="connsiteX3" fmla="*/ 0 w 1256"/>
                  <a:gd name="connsiteY3" fmla="*/ 0 h 777"/>
                </a:gdLst>
                <a:ahLst/>
                <a:cxnLst>
                  <a:cxn ang="0">
                    <a:pos x="connsiteX0" y="connsiteY0"/>
                  </a:cxn>
                  <a:cxn ang="0">
                    <a:pos x="connsiteX1" y="connsiteY1"/>
                  </a:cxn>
                  <a:cxn ang="0">
                    <a:pos x="connsiteX2" y="connsiteY2"/>
                  </a:cxn>
                  <a:cxn ang="0">
                    <a:pos x="connsiteX3" y="connsiteY3"/>
                  </a:cxn>
                </a:cxnLst>
                <a:rect l="l" t="t" r="r" b="b"/>
                <a:pathLst>
                  <a:path w="1256" h="777">
                    <a:moveTo>
                      <a:pt x="1256" y="777"/>
                    </a:moveTo>
                    <a:lnTo>
                      <a:pt x="1017" y="598"/>
                    </a:lnTo>
                    <a:lnTo>
                      <a:pt x="658" y="35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47" name="Vrije vorm: vorm 5546">
                <a:extLst>
                  <a:ext uri="{FF2B5EF4-FFF2-40B4-BE49-F238E27FC236}">
                    <a16:creationId xmlns:a16="http://schemas.microsoft.com/office/drawing/2014/main" id="{11880995-829A-49E9-AA61-BBF2447FE17D}"/>
                  </a:ext>
                </a:extLst>
              </p:cNvPr>
              <p:cNvSpPr/>
              <p:nvPr/>
            </p:nvSpPr>
            <p:spPr>
              <a:xfrm>
                <a:off x="6479773" y="1639715"/>
                <a:ext cx="4066" cy="4306"/>
              </a:xfrm>
              <a:custGeom>
                <a:avLst/>
                <a:gdLst>
                  <a:gd name="connsiteX0" fmla="*/ 2811 w 4066"/>
                  <a:gd name="connsiteY0" fmla="*/ 0 h 4306"/>
                  <a:gd name="connsiteX1" fmla="*/ 3050 w 4066"/>
                  <a:gd name="connsiteY1" fmla="*/ 179 h 4306"/>
                  <a:gd name="connsiteX2" fmla="*/ 3170 w 4066"/>
                  <a:gd name="connsiteY2" fmla="*/ 538 h 4306"/>
                  <a:gd name="connsiteX3" fmla="*/ 3170 w 4066"/>
                  <a:gd name="connsiteY3" fmla="*/ 957 h 4306"/>
                  <a:gd name="connsiteX4" fmla="*/ 3170 w 4066"/>
                  <a:gd name="connsiteY4" fmla="*/ 957 h 4306"/>
                  <a:gd name="connsiteX5" fmla="*/ 3110 w 4066"/>
                  <a:gd name="connsiteY5" fmla="*/ 1495 h 4306"/>
                  <a:gd name="connsiteX6" fmla="*/ 2930 w 4066"/>
                  <a:gd name="connsiteY6" fmla="*/ 2033 h 4306"/>
                  <a:gd name="connsiteX7" fmla="*/ 2632 w 4066"/>
                  <a:gd name="connsiteY7" fmla="*/ 2572 h 4306"/>
                  <a:gd name="connsiteX8" fmla="*/ 2273 w 4066"/>
                  <a:gd name="connsiteY8" fmla="*/ 3110 h 4306"/>
                  <a:gd name="connsiteX9" fmla="*/ 1854 w 4066"/>
                  <a:gd name="connsiteY9" fmla="*/ 3588 h 4306"/>
                  <a:gd name="connsiteX10" fmla="*/ 1435 w 4066"/>
                  <a:gd name="connsiteY10" fmla="*/ 3947 h 4306"/>
                  <a:gd name="connsiteX11" fmla="*/ 1375 w 4066"/>
                  <a:gd name="connsiteY11" fmla="*/ 4007 h 4306"/>
                  <a:gd name="connsiteX12" fmla="*/ 1256 w 4066"/>
                  <a:gd name="connsiteY12" fmla="*/ 4067 h 4306"/>
                  <a:gd name="connsiteX13" fmla="*/ 1076 w 4066"/>
                  <a:gd name="connsiteY13" fmla="*/ 4186 h 4306"/>
                  <a:gd name="connsiteX14" fmla="*/ 897 w 4066"/>
                  <a:gd name="connsiteY14" fmla="*/ 4246 h 4306"/>
                  <a:gd name="connsiteX15" fmla="*/ 658 w 4066"/>
                  <a:gd name="connsiteY15" fmla="*/ 4306 h 4306"/>
                  <a:gd name="connsiteX16" fmla="*/ 359 w 4066"/>
                  <a:gd name="connsiteY16" fmla="*/ 4246 h 4306"/>
                  <a:gd name="connsiteX17" fmla="*/ 120 w 4066"/>
                  <a:gd name="connsiteY17" fmla="*/ 4067 h 4306"/>
                  <a:gd name="connsiteX18" fmla="*/ 0 w 4066"/>
                  <a:gd name="connsiteY18" fmla="*/ 3708 h 4306"/>
                  <a:gd name="connsiteX19" fmla="*/ 0 w 4066"/>
                  <a:gd name="connsiteY19" fmla="*/ 3289 h 4306"/>
                  <a:gd name="connsiteX20" fmla="*/ 60 w 4066"/>
                  <a:gd name="connsiteY20" fmla="*/ 2751 h 4306"/>
                  <a:gd name="connsiteX21" fmla="*/ 239 w 4066"/>
                  <a:gd name="connsiteY21" fmla="*/ 2213 h 4306"/>
                  <a:gd name="connsiteX22" fmla="*/ 419 w 4066"/>
                  <a:gd name="connsiteY22" fmla="*/ 1914 h 4306"/>
                  <a:gd name="connsiteX23" fmla="*/ 538 w 4066"/>
                  <a:gd name="connsiteY23" fmla="*/ 1675 h 4306"/>
                  <a:gd name="connsiteX24" fmla="*/ 837 w 4066"/>
                  <a:gd name="connsiteY24" fmla="*/ 1256 h 4306"/>
                  <a:gd name="connsiteX25" fmla="*/ 897 w 4066"/>
                  <a:gd name="connsiteY25" fmla="*/ 1136 h 4306"/>
                  <a:gd name="connsiteX26" fmla="*/ 1316 w 4066"/>
                  <a:gd name="connsiteY26" fmla="*/ 658 h 4306"/>
                  <a:gd name="connsiteX27" fmla="*/ 1735 w 4066"/>
                  <a:gd name="connsiteY27" fmla="*/ 299 h 4306"/>
                  <a:gd name="connsiteX28" fmla="*/ 2153 w 4066"/>
                  <a:gd name="connsiteY28" fmla="*/ 60 h 4306"/>
                  <a:gd name="connsiteX29" fmla="*/ 2512 w 4066"/>
                  <a:gd name="connsiteY29" fmla="*/ 0 h 4306"/>
                  <a:gd name="connsiteX30" fmla="*/ 2811 w 4066"/>
                  <a:gd name="connsiteY30" fmla="*/ 0 h 4306"/>
                  <a:gd name="connsiteX31" fmla="*/ 4067 w 4066"/>
                  <a:gd name="connsiteY31" fmla="*/ 837 h 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66" h="4306">
                    <a:moveTo>
                      <a:pt x="2811" y="0"/>
                    </a:moveTo>
                    <a:lnTo>
                      <a:pt x="3050" y="179"/>
                    </a:lnTo>
                    <a:lnTo>
                      <a:pt x="3170" y="538"/>
                    </a:lnTo>
                    <a:lnTo>
                      <a:pt x="3170" y="957"/>
                    </a:lnTo>
                    <a:lnTo>
                      <a:pt x="3170" y="957"/>
                    </a:lnTo>
                    <a:lnTo>
                      <a:pt x="3110" y="1495"/>
                    </a:lnTo>
                    <a:lnTo>
                      <a:pt x="2930" y="2033"/>
                    </a:lnTo>
                    <a:lnTo>
                      <a:pt x="2632" y="2572"/>
                    </a:lnTo>
                    <a:lnTo>
                      <a:pt x="2273" y="3110"/>
                    </a:lnTo>
                    <a:lnTo>
                      <a:pt x="1854" y="3588"/>
                    </a:lnTo>
                    <a:lnTo>
                      <a:pt x="1435" y="3947"/>
                    </a:lnTo>
                    <a:lnTo>
                      <a:pt x="1375" y="4007"/>
                    </a:lnTo>
                    <a:lnTo>
                      <a:pt x="1256" y="4067"/>
                    </a:lnTo>
                    <a:lnTo>
                      <a:pt x="1076" y="4186"/>
                    </a:lnTo>
                    <a:lnTo>
                      <a:pt x="897" y="4246"/>
                    </a:lnTo>
                    <a:lnTo>
                      <a:pt x="658" y="4306"/>
                    </a:lnTo>
                    <a:lnTo>
                      <a:pt x="359" y="4246"/>
                    </a:lnTo>
                    <a:lnTo>
                      <a:pt x="120" y="4067"/>
                    </a:lnTo>
                    <a:lnTo>
                      <a:pt x="0" y="3708"/>
                    </a:lnTo>
                    <a:lnTo>
                      <a:pt x="0" y="3289"/>
                    </a:lnTo>
                    <a:lnTo>
                      <a:pt x="60" y="2751"/>
                    </a:lnTo>
                    <a:lnTo>
                      <a:pt x="239" y="2213"/>
                    </a:lnTo>
                    <a:lnTo>
                      <a:pt x="419" y="1914"/>
                    </a:lnTo>
                    <a:lnTo>
                      <a:pt x="538" y="1675"/>
                    </a:lnTo>
                    <a:lnTo>
                      <a:pt x="837" y="1256"/>
                    </a:lnTo>
                    <a:lnTo>
                      <a:pt x="897" y="1136"/>
                    </a:lnTo>
                    <a:lnTo>
                      <a:pt x="1316" y="658"/>
                    </a:lnTo>
                    <a:lnTo>
                      <a:pt x="1735" y="299"/>
                    </a:lnTo>
                    <a:lnTo>
                      <a:pt x="2153" y="60"/>
                    </a:lnTo>
                    <a:lnTo>
                      <a:pt x="2512" y="0"/>
                    </a:lnTo>
                    <a:lnTo>
                      <a:pt x="2811" y="0"/>
                    </a:lnTo>
                    <a:lnTo>
                      <a:pt x="4067" y="837"/>
                    </a:lnTo>
                  </a:path>
                </a:pathLst>
              </a:custGeom>
              <a:noFill/>
              <a:ln w="6350" cap="rnd">
                <a:solidFill>
                  <a:schemeClr val="bg1">
                    <a:alpha val="80000"/>
                  </a:schemeClr>
                </a:solidFill>
                <a:prstDash val="solid"/>
                <a:round/>
              </a:ln>
            </p:spPr>
            <p:txBody>
              <a:bodyPr rtlCol="0" anchor="ctr"/>
              <a:lstStyle/>
              <a:p>
                <a:endParaRPr lang="en-GB"/>
              </a:p>
            </p:txBody>
          </p:sp>
          <p:sp>
            <p:nvSpPr>
              <p:cNvPr id="5548" name="Vrije vorm: vorm 5547">
                <a:extLst>
                  <a:ext uri="{FF2B5EF4-FFF2-40B4-BE49-F238E27FC236}">
                    <a16:creationId xmlns:a16="http://schemas.microsoft.com/office/drawing/2014/main" id="{7649C821-4A49-44DF-8561-C6A24E378832}"/>
                  </a:ext>
                </a:extLst>
              </p:cNvPr>
              <p:cNvSpPr/>
              <p:nvPr/>
            </p:nvSpPr>
            <p:spPr>
              <a:xfrm>
                <a:off x="6480132" y="1643961"/>
                <a:ext cx="1256" cy="777"/>
              </a:xfrm>
              <a:custGeom>
                <a:avLst/>
                <a:gdLst>
                  <a:gd name="connsiteX0" fmla="*/ 1256 w 1256"/>
                  <a:gd name="connsiteY0" fmla="*/ 778 h 777"/>
                  <a:gd name="connsiteX1" fmla="*/ 1256 w 1256"/>
                  <a:gd name="connsiteY1" fmla="*/ 778 h 777"/>
                  <a:gd name="connsiteX2" fmla="*/ 598 w 1256"/>
                  <a:gd name="connsiteY2" fmla="*/ 359 h 777"/>
                  <a:gd name="connsiteX3" fmla="*/ 0 w 1256"/>
                  <a:gd name="connsiteY3" fmla="*/ 0 h 777"/>
                </a:gdLst>
                <a:ahLst/>
                <a:cxnLst>
                  <a:cxn ang="0">
                    <a:pos x="connsiteX0" y="connsiteY0"/>
                  </a:cxn>
                  <a:cxn ang="0">
                    <a:pos x="connsiteX1" y="connsiteY1"/>
                  </a:cxn>
                  <a:cxn ang="0">
                    <a:pos x="connsiteX2" y="connsiteY2"/>
                  </a:cxn>
                  <a:cxn ang="0">
                    <a:pos x="connsiteX3" y="connsiteY3"/>
                  </a:cxn>
                </a:cxnLst>
                <a:rect l="l" t="t" r="r" b="b"/>
                <a:pathLst>
                  <a:path w="1256" h="777">
                    <a:moveTo>
                      <a:pt x="1256" y="778"/>
                    </a:moveTo>
                    <a:lnTo>
                      <a:pt x="1256" y="778"/>
                    </a:lnTo>
                    <a:lnTo>
                      <a:pt x="598" y="35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49" name="Vrije vorm: vorm 5548">
                <a:extLst>
                  <a:ext uri="{FF2B5EF4-FFF2-40B4-BE49-F238E27FC236}">
                    <a16:creationId xmlns:a16="http://schemas.microsoft.com/office/drawing/2014/main" id="{2546FD40-06E3-4240-86FC-3F7AEF40C198}"/>
                  </a:ext>
                </a:extLst>
              </p:cNvPr>
              <p:cNvSpPr/>
              <p:nvPr/>
            </p:nvSpPr>
            <p:spPr>
              <a:xfrm>
                <a:off x="6451903" y="1631222"/>
                <a:ext cx="1196" cy="777"/>
              </a:xfrm>
              <a:custGeom>
                <a:avLst/>
                <a:gdLst>
                  <a:gd name="connsiteX0" fmla="*/ 0 w 1196"/>
                  <a:gd name="connsiteY0" fmla="*/ 0 h 777"/>
                  <a:gd name="connsiteX1" fmla="*/ 1196 w 1196"/>
                  <a:gd name="connsiteY1" fmla="*/ 777 h 777"/>
                </a:gdLst>
                <a:ahLst/>
                <a:cxnLst>
                  <a:cxn ang="0">
                    <a:pos x="connsiteX0" y="connsiteY0"/>
                  </a:cxn>
                  <a:cxn ang="0">
                    <a:pos x="connsiteX1" y="connsiteY1"/>
                  </a:cxn>
                </a:cxnLst>
                <a:rect l="l" t="t" r="r" b="b"/>
                <a:pathLst>
                  <a:path w="1196" h="777">
                    <a:moveTo>
                      <a:pt x="0" y="0"/>
                    </a:moveTo>
                    <a:lnTo>
                      <a:pt x="1196" y="777"/>
                    </a:lnTo>
                  </a:path>
                </a:pathLst>
              </a:custGeom>
              <a:noFill/>
              <a:ln w="6350" cap="rnd">
                <a:solidFill>
                  <a:schemeClr val="bg1">
                    <a:alpha val="80000"/>
                  </a:schemeClr>
                </a:solidFill>
                <a:prstDash val="solid"/>
                <a:round/>
              </a:ln>
            </p:spPr>
            <p:txBody>
              <a:bodyPr rtlCol="0" anchor="ctr"/>
              <a:lstStyle/>
              <a:p>
                <a:endParaRPr lang="en-GB"/>
              </a:p>
            </p:txBody>
          </p:sp>
          <p:sp>
            <p:nvSpPr>
              <p:cNvPr id="5550" name="Vrije vorm: vorm 5549">
                <a:extLst>
                  <a:ext uri="{FF2B5EF4-FFF2-40B4-BE49-F238E27FC236}">
                    <a16:creationId xmlns:a16="http://schemas.microsoft.com/office/drawing/2014/main" id="{E9CAEDCF-7FB4-47B9-B5DC-8DFB67AAADD6}"/>
                  </a:ext>
                </a:extLst>
              </p:cNvPr>
              <p:cNvSpPr/>
              <p:nvPr/>
            </p:nvSpPr>
            <p:spPr>
              <a:xfrm>
                <a:off x="6466915" y="1577635"/>
                <a:ext cx="1136" cy="837"/>
              </a:xfrm>
              <a:custGeom>
                <a:avLst/>
                <a:gdLst>
                  <a:gd name="connsiteX0" fmla="*/ 1136 w 1136"/>
                  <a:gd name="connsiteY0" fmla="*/ 837 h 837"/>
                  <a:gd name="connsiteX1" fmla="*/ 0 w 1136"/>
                  <a:gd name="connsiteY1" fmla="*/ 0 h 837"/>
                </a:gdLst>
                <a:ahLst/>
                <a:cxnLst>
                  <a:cxn ang="0">
                    <a:pos x="connsiteX0" y="connsiteY0"/>
                  </a:cxn>
                  <a:cxn ang="0">
                    <a:pos x="connsiteX1" y="connsiteY1"/>
                  </a:cxn>
                </a:cxnLst>
                <a:rect l="l" t="t" r="r" b="b"/>
                <a:pathLst>
                  <a:path w="1136" h="837">
                    <a:moveTo>
                      <a:pt x="1136" y="837"/>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51" name="Vrije vorm: vorm 5550">
                <a:extLst>
                  <a:ext uri="{FF2B5EF4-FFF2-40B4-BE49-F238E27FC236}">
                    <a16:creationId xmlns:a16="http://schemas.microsoft.com/office/drawing/2014/main" id="{13ADC2E2-A4E1-4B37-911A-E5B00666C9DD}"/>
                  </a:ext>
                </a:extLst>
              </p:cNvPr>
              <p:cNvSpPr/>
              <p:nvPr/>
            </p:nvSpPr>
            <p:spPr>
              <a:xfrm>
                <a:off x="6444726" y="1597730"/>
                <a:ext cx="2392" cy="3648"/>
              </a:xfrm>
              <a:custGeom>
                <a:avLst/>
                <a:gdLst>
                  <a:gd name="connsiteX0" fmla="*/ 2093 w 2392"/>
                  <a:gd name="connsiteY0" fmla="*/ 0 h 3648"/>
                  <a:gd name="connsiteX1" fmla="*/ 2273 w 2392"/>
                  <a:gd name="connsiteY1" fmla="*/ 120 h 3648"/>
                  <a:gd name="connsiteX2" fmla="*/ 2392 w 2392"/>
                  <a:gd name="connsiteY2" fmla="*/ 359 h 3648"/>
                  <a:gd name="connsiteX3" fmla="*/ 2392 w 2392"/>
                  <a:gd name="connsiteY3" fmla="*/ 658 h 3648"/>
                  <a:gd name="connsiteX4" fmla="*/ 2392 w 2392"/>
                  <a:gd name="connsiteY4" fmla="*/ 718 h 3648"/>
                  <a:gd name="connsiteX5" fmla="*/ 2333 w 2392"/>
                  <a:gd name="connsiteY5" fmla="*/ 1076 h 3648"/>
                  <a:gd name="connsiteX6" fmla="*/ 2333 w 2392"/>
                  <a:gd name="connsiteY6" fmla="*/ 1136 h 3648"/>
                  <a:gd name="connsiteX7" fmla="*/ 2153 w 2392"/>
                  <a:gd name="connsiteY7" fmla="*/ 1615 h 3648"/>
                  <a:gd name="connsiteX8" fmla="*/ 1914 w 2392"/>
                  <a:gd name="connsiteY8" fmla="*/ 2093 h 3648"/>
                  <a:gd name="connsiteX9" fmla="*/ 1615 w 2392"/>
                  <a:gd name="connsiteY9" fmla="*/ 2572 h 3648"/>
                  <a:gd name="connsiteX10" fmla="*/ 1256 w 2392"/>
                  <a:gd name="connsiteY10" fmla="*/ 2990 h 3648"/>
                  <a:gd name="connsiteX11" fmla="*/ 957 w 2392"/>
                  <a:gd name="connsiteY11" fmla="*/ 3230 h 3648"/>
                  <a:gd name="connsiteX12" fmla="*/ 897 w 2392"/>
                  <a:gd name="connsiteY12" fmla="*/ 3289 h 3648"/>
                  <a:gd name="connsiteX13" fmla="*/ 538 w 2392"/>
                  <a:gd name="connsiteY13" fmla="*/ 3529 h 3648"/>
                  <a:gd name="connsiteX14" fmla="*/ 239 w 2392"/>
                  <a:gd name="connsiteY14" fmla="*/ 3648 h 3648"/>
                  <a:gd name="connsiteX15" fmla="*/ 0 w 2392"/>
                  <a:gd name="connsiteY15" fmla="*/ 3648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2" h="3648">
                    <a:moveTo>
                      <a:pt x="2093" y="0"/>
                    </a:moveTo>
                    <a:lnTo>
                      <a:pt x="2273" y="120"/>
                    </a:lnTo>
                    <a:lnTo>
                      <a:pt x="2392" y="359"/>
                    </a:lnTo>
                    <a:lnTo>
                      <a:pt x="2392" y="658"/>
                    </a:lnTo>
                    <a:lnTo>
                      <a:pt x="2392" y="718"/>
                    </a:lnTo>
                    <a:lnTo>
                      <a:pt x="2333" y="1076"/>
                    </a:lnTo>
                    <a:lnTo>
                      <a:pt x="2333" y="1136"/>
                    </a:lnTo>
                    <a:lnTo>
                      <a:pt x="2153" y="1615"/>
                    </a:lnTo>
                    <a:lnTo>
                      <a:pt x="1914" y="2093"/>
                    </a:lnTo>
                    <a:lnTo>
                      <a:pt x="1615" y="2572"/>
                    </a:lnTo>
                    <a:lnTo>
                      <a:pt x="1256" y="2990"/>
                    </a:lnTo>
                    <a:lnTo>
                      <a:pt x="957" y="3230"/>
                    </a:lnTo>
                    <a:lnTo>
                      <a:pt x="897" y="3289"/>
                    </a:lnTo>
                    <a:lnTo>
                      <a:pt x="538" y="3529"/>
                    </a:lnTo>
                    <a:lnTo>
                      <a:pt x="239" y="3648"/>
                    </a:lnTo>
                    <a:lnTo>
                      <a:pt x="0" y="3648"/>
                    </a:lnTo>
                  </a:path>
                </a:pathLst>
              </a:custGeom>
              <a:noFill/>
              <a:ln w="6350" cap="rnd">
                <a:solidFill>
                  <a:schemeClr val="bg1">
                    <a:alpha val="80000"/>
                  </a:schemeClr>
                </a:solidFill>
                <a:prstDash val="solid"/>
                <a:round/>
              </a:ln>
            </p:spPr>
            <p:txBody>
              <a:bodyPr rtlCol="0" anchor="ctr"/>
              <a:lstStyle/>
              <a:p>
                <a:endParaRPr lang="en-GB"/>
              </a:p>
            </p:txBody>
          </p:sp>
          <p:sp>
            <p:nvSpPr>
              <p:cNvPr id="5552" name="Vrije vorm: vorm 5551">
                <a:extLst>
                  <a:ext uri="{FF2B5EF4-FFF2-40B4-BE49-F238E27FC236}">
                    <a16:creationId xmlns:a16="http://schemas.microsoft.com/office/drawing/2014/main" id="{71BEC354-831C-4AC5-99F3-0108B66A639B}"/>
                  </a:ext>
                </a:extLst>
              </p:cNvPr>
              <p:cNvSpPr/>
              <p:nvPr/>
            </p:nvSpPr>
            <p:spPr>
              <a:xfrm>
                <a:off x="6445982" y="1556164"/>
                <a:ext cx="15848" cy="23803"/>
              </a:xfrm>
              <a:custGeom>
                <a:avLst/>
                <a:gdLst>
                  <a:gd name="connsiteX0" fmla="*/ 0 w 15848"/>
                  <a:gd name="connsiteY0" fmla="*/ 23803 h 23803"/>
                  <a:gd name="connsiteX1" fmla="*/ 2213 w 15848"/>
                  <a:gd name="connsiteY1" fmla="*/ 22966 h 23803"/>
                  <a:gd name="connsiteX2" fmla="*/ 4007 w 15848"/>
                  <a:gd name="connsiteY2" fmla="*/ 21770 h 23803"/>
                  <a:gd name="connsiteX3" fmla="*/ 4725 w 15848"/>
                  <a:gd name="connsiteY3" fmla="*/ 21291 h 23803"/>
                  <a:gd name="connsiteX4" fmla="*/ 7117 w 15848"/>
                  <a:gd name="connsiteY4" fmla="*/ 19079 h 23803"/>
                  <a:gd name="connsiteX5" fmla="*/ 7356 w 15848"/>
                  <a:gd name="connsiteY5" fmla="*/ 18839 h 23803"/>
                  <a:gd name="connsiteX6" fmla="*/ 9330 w 15848"/>
                  <a:gd name="connsiteY6" fmla="*/ 16447 h 23803"/>
                  <a:gd name="connsiteX7" fmla="*/ 9868 w 15848"/>
                  <a:gd name="connsiteY7" fmla="*/ 15789 h 23803"/>
                  <a:gd name="connsiteX8" fmla="*/ 11662 w 15848"/>
                  <a:gd name="connsiteY8" fmla="*/ 13038 h 23803"/>
                  <a:gd name="connsiteX9" fmla="*/ 12141 w 15848"/>
                  <a:gd name="connsiteY9" fmla="*/ 12380 h 23803"/>
                  <a:gd name="connsiteX10" fmla="*/ 12440 w 15848"/>
                  <a:gd name="connsiteY10" fmla="*/ 11782 h 23803"/>
                  <a:gd name="connsiteX11" fmla="*/ 13935 w 15848"/>
                  <a:gd name="connsiteY11" fmla="*/ 8851 h 23803"/>
                  <a:gd name="connsiteX12" fmla="*/ 15071 w 15848"/>
                  <a:gd name="connsiteY12" fmla="*/ 5801 h 23803"/>
                  <a:gd name="connsiteX13" fmla="*/ 15191 w 15848"/>
                  <a:gd name="connsiteY13" fmla="*/ 5442 h 23803"/>
                  <a:gd name="connsiteX14" fmla="*/ 15370 w 15848"/>
                  <a:gd name="connsiteY14" fmla="*/ 4725 h 23803"/>
                  <a:gd name="connsiteX15" fmla="*/ 15849 w 15848"/>
                  <a:gd name="connsiteY15" fmla="*/ 2452 h 23803"/>
                  <a:gd name="connsiteX16" fmla="*/ 15789 w 15848"/>
                  <a:gd name="connsiteY16" fmla="*/ 0 h 2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848" h="23803">
                    <a:moveTo>
                      <a:pt x="0" y="23803"/>
                    </a:moveTo>
                    <a:lnTo>
                      <a:pt x="2213" y="22966"/>
                    </a:lnTo>
                    <a:lnTo>
                      <a:pt x="4007" y="21770"/>
                    </a:lnTo>
                    <a:lnTo>
                      <a:pt x="4725" y="21291"/>
                    </a:lnTo>
                    <a:lnTo>
                      <a:pt x="7117" y="19079"/>
                    </a:lnTo>
                    <a:lnTo>
                      <a:pt x="7356" y="18839"/>
                    </a:lnTo>
                    <a:lnTo>
                      <a:pt x="9330" y="16447"/>
                    </a:lnTo>
                    <a:lnTo>
                      <a:pt x="9868" y="15789"/>
                    </a:lnTo>
                    <a:lnTo>
                      <a:pt x="11662" y="13038"/>
                    </a:lnTo>
                    <a:lnTo>
                      <a:pt x="12141" y="12380"/>
                    </a:lnTo>
                    <a:lnTo>
                      <a:pt x="12440" y="11782"/>
                    </a:lnTo>
                    <a:lnTo>
                      <a:pt x="13935" y="8851"/>
                    </a:lnTo>
                    <a:lnTo>
                      <a:pt x="15071" y="5801"/>
                    </a:lnTo>
                    <a:lnTo>
                      <a:pt x="15191" y="5442"/>
                    </a:lnTo>
                    <a:lnTo>
                      <a:pt x="15370" y="4725"/>
                    </a:lnTo>
                    <a:lnTo>
                      <a:pt x="15849" y="2452"/>
                    </a:lnTo>
                    <a:lnTo>
                      <a:pt x="15789" y="0"/>
                    </a:lnTo>
                  </a:path>
                </a:pathLst>
              </a:custGeom>
              <a:noFill/>
              <a:ln w="6350" cap="rnd">
                <a:solidFill>
                  <a:schemeClr val="bg1">
                    <a:alpha val="80000"/>
                  </a:schemeClr>
                </a:solidFill>
                <a:prstDash val="solid"/>
                <a:round/>
              </a:ln>
            </p:spPr>
            <p:txBody>
              <a:bodyPr rtlCol="0" anchor="ctr"/>
              <a:lstStyle/>
              <a:p>
                <a:endParaRPr lang="en-GB"/>
              </a:p>
            </p:txBody>
          </p:sp>
          <p:sp>
            <p:nvSpPr>
              <p:cNvPr id="5553" name="Vrije vorm: vorm 5552">
                <a:extLst>
                  <a:ext uri="{FF2B5EF4-FFF2-40B4-BE49-F238E27FC236}">
                    <a16:creationId xmlns:a16="http://schemas.microsoft.com/office/drawing/2014/main" id="{B63E1FC0-CBED-49C7-B746-4357A9B35CCB}"/>
                  </a:ext>
                </a:extLst>
              </p:cNvPr>
              <p:cNvSpPr/>
              <p:nvPr/>
            </p:nvSpPr>
            <p:spPr>
              <a:xfrm>
                <a:off x="6451245" y="1727213"/>
                <a:ext cx="9090" cy="13815"/>
              </a:xfrm>
              <a:custGeom>
                <a:avLst/>
                <a:gdLst>
                  <a:gd name="connsiteX0" fmla="*/ 2572 w 9090"/>
                  <a:gd name="connsiteY0" fmla="*/ 13816 h 13815"/>
                  <a:gd name="connsiteX1" fmla="*/ 1555 w 9090"/>
                  <a:gd name="connsiteY1" fmla="*/ 13337 h 13815"/>
                  <a:gd name="connsiteX2" fmla="*/ 658 w 9090"/>
                  <a:gd name="connsiteY2" fmla="*/ 12380 h 13815"/>
                  <a:gd name="connsiteX3" fmla="*/ 419 w 9090"/>
                  <a:gd name="connsiteY3" fmla="*/ 11722 h 13815"/>
                  <a:gd name="connsiteX4" fmla="*/ 359 w 9090"/>
                  <a:gd name="connsiteY4" fmla="*/ 11543 h 13815"/>
                  <a:gd name="connsiteX5" fmla="*/ 120 w 9090"/>
                  <a:gd name="connsiteY5" fmla="*/ 10945 h 13815"/>
                  <a:gd name="connsiteX6" fmla="*/ 0 w 9090"/>
                  <a:gd name="connsiteY6" fmla="*/ 9210 h 13815"/>
                  <a:gd name="connsiteX7" fmla="*/ 0 w 9090"/>
                  <a:gd name="connsiteY7" fmla="*/ 7536 h 13815"/>
                  <a:gd name="connsiteX8" fmla="*/ 239 w 9090"/>
                  <a:gd name="connsiteY8" fmla="*/ 6280 h 13815"/>
                  <a:gd name="connsiteX9" fmla="*/ 239 w 9090"/>
                  <a:gd name="connsiteY9" fmla="*/ 6220 h 13815"/>
                  <a:gd name="connsiteX10" fmla="*/ 718 w 9090"/>
                  <a:gd name="connsiteY10" fmla="*/ 4964 h 13815"/>
                  <a:gd name="connsiteX11" fmla="*/ 1017 w 9090"/>
                  <a:gd name="connsiteY11" fmla="*/ 4426 h 13815"/>
                  <a:gd name="connsiteX12" fmla="*/ 1376 w 9090"/>
                  <a:gd name="connsiteY12" fmla="*/ 3768 h 13815"/>
                  <a:gd name="connsiteX13" fmla="*/ 2213 w 9090"/>
                  <a:gd name="connsiteY13" fmla="*/ 2751 h 13815"/>
                  <a:gd name="connsiteX14" fmla="*/ 3170 w 9090"/>
                  <a:gd name="connsiteY14" fmla="*/ 1974 h 13815"/>
                  <a:gd name="connsiteX15" fmla="*/ 4785 w 9090"/>
                  <a:gd name="connsiteY15" fmla="*/ 718 h 13815"/>
                  <a:gd name="connsiteX16" fmla="*/ 5742 w 9090"/>
                  <a:gd name="connsiteY16" fmla="*/ 239 h 13815"/>
                  <a:gd name="connsiteX17" fmla="*/ 5861 w 9090"/>
                  <a:gd name="connsiteY17" fmla="*/ 179 h 13815"/>
                  <a:gd name="connsiteX18" fmla="*/ 5921 w 9090"/>
                  <a:gd name="connsiteY18" fmla="*/ 179 h 13815"/>
                  <a:gd name="connsiteX19" fmla="*/ 7058 w 9090"/>
                  <a:gd name="connsiteY19" fmla="*/ 0 h 13815"/>
                  <a:gd name="connsiteX20" fmla="*/ 8074 w 9090"/>
                  <a:gd name="connsiteY20" fmla="*/ 179 h 13815"/>
                  <a:gd name="connsiteX21" fmla="*/ 9091 w 9090"/>
                  <a:gd name="connsiteY21" fmla="*/ 718 h 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90" h="13815">
                    <a:moveTo>
                      <a:pt x="2572" y="13816"/>
                    </a:moveTo>
                    <a:lnTo>
                      <a:pt x="1555" y="13337"/>
                    </a:lnTo>
                    <a:lnTo>
                      <a:pt x="658" y="12380"/>
                    </a:lnTo>
                    <a:lnTo>
                      <a:pt x="419" y="11722"/>
                    </a:lnTo>
                    <a:lnTo>
                      <a:pt x="359" y="11543"/>
                    </a:lnTo>
                    <a:lnTo>
                      <a:pt x="120" y="10945"/>
                    </a:lnTo>
                    <a:lnTo>
                      <a:pt x="0" y="9210"/>
                    </a:lnTo>
                    <a:lnTo>
                      <a:pt x="0" y="7536"/>
                    </a:lnTo>
                    <a:lnTo>
                      <a:pt x="239" y="6280"/>
                    </a:lnTo>
                    <a:lnTo>
                      <a:pt x="239" y="6220"/>
                    </a:lnTo>
                    <a:lnTo>
                      <a:pt x="718" y="4964"/>
                    </a:lnTo>
                    <a:lnTo>
                      <a:pt x="1017" y="4426"/>
                    </a:lnTo>
                    <a:lnTo>
                      <a:pt x="1376" y="3768"/>
                    </a:lnTo>
                    <a:lnTo>
                      <a:pt x="2213" y="2751"/>
                    </a:lnTo>
                    <a:lnTo>
                      <a:pt x="3170" y="1974"/>
                    </a:lnTo>
                    <a:lnTo>
                      <a:pt x="4785" y="718"/>
                    </a:lnTo>
                    <a:lnTo>
                      <a:pt x="5742" y="239"/>
                    </a:lnTo>
                    <a:lnTo>
                      <a:pt x="5861" y="179"/>
                    </a:lnTo>
                    <a:lnTo>
                      <a:pt x="5921" y="179"/>
                    </a:lnTo>
                    <a:lnTo>
                      <a:pt x="7058" y="0"/>
                    </a:lnTo>
                    <a:lnTo>
                      <a:pt x="8074" y="179"/>
                    </a:lnTo>
                    <a:lnTo>
                      <a:pt x="9091" y="718"/>
                    </a:lnTo>
                  </a:path>
                </a:pathLst>
              </a:custGeom>
              <a:noFill/>
              <a:ln w="6350" cap="rnd">
                <a:solidFill>
                  <a:schemeClr val="bg1">
                    <a:alpha val="80000"/>
                  </a:schemeClr>
                </a:solidFill>
                <a:prstDash val="solid"/>
                <a:round/>
              </a:ln>
            </p:spPr>
            <p:txBody>
              <a:bodyPr rtlCol="0" anchor="ctr"/>
              <a:lstStyle/>
              <a:p>
                <a:endParaRPr lang="en-GB"/>
              </a:p>
            </p:txBody>
          </p:sp>
          <p:sp>
            <p:nvSpPr>
              <p:cNvPr id="5554" name="Vrije vorm: vorm 5553">
                <a:extLst>
                  <a:ext uri="{FF2B5EF4-FFF2-40B4-BE49-F238E27FC236}">
                    <a16:creationId xmlns:a16="http://schemas.microsoft.com/office/drawing/2014/main" id="{D17FF206-6170-4042-B8A2-36D41EAF0870}"/>
                  </a:ext>
                </a:extLst>
              </p:cNvPr>
              <p:cNvSpPr/>
              <p:nvPr/>
            </p:nvSpPr>
            <p:spPr>
              <a:xfrm>
                <a:off x="6452860" y="1739533"/>
                <a:ext cx="3708" cy="8612"/>
              </a:xfrm>
              <a:custGeom>
                <a:avLst/>
                <a:gdLst>
                  <a:gd name="connsiteX0" fmla="*/ 3708 w 3708"/>
                  <a:gd name="connsiteY0" fmla="*/ 0 h 8612"/>
                  <a:gd name="connsiteX1" fmla="*/ 3469 w 3708"/>
                  <a:gd name="connsiteY1" fmla="*/ 1734 h 8612"/>
                  <a:gd name="connsiteX2" fmla="*/ 2930 w 3708"/>
                  <a:gd name="connsiteY2" fmla="*/ 3529 h 8612"/>
                  <a:gd name="connsiteX3" fmla="*/ 2871 w 3708"/>
                  <a:gd name="connsiteY3" fmla="*/ 3708 h 8612"/>
                  <a:gd name="connsiteX4" fmla="*/ 2572 w 3708"/>
                  <a:gd name="connsiteY4" fmla="*/ 4366 h 8612"/>
                  <a:gd name="connsiteX5" fmla="*/ 2153 w 3708"/>
                  <a:gd name="connsiteY5" fmla="*/ 5383 h 8612"/>
                  <a:gd name="connsiteX6" fmla="*/ 1136 w 3708"/>
                  <a:gd name="connsiteY6" fmla="*/ 7117 h 8612"/>
                  <a:gd name="connsiteX7" fmla="*/ 60 w 3708"/>
                  <a:gd name="connsiteY7" fmla="*/ 8493 h 8612"/>
                  <a:gd name="connsiteX8" fmla="*/ 0 w 3708"/>
                  <a:gd name="connsiteY8" fmla="*/ 8612 h 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8" h="8612">
                    <a:moveTo>
                      <a:pt x="3708" y="0"/>
                    </a:moveTo>
                    <a:lnTo>
                      <a:pt x="3469" y="1734"/>
                    </a:lnTo>
                    <a:lnTo>
                      <a:pt x="2930" y="3529"/>
                    </a:lnTo>
                    <a:lnTo>
                      <a:pt x="2871" y="3708"/>
                    </a:lnTo>
                    <a:lnTo>
                      <a:pt x="2572" y="4366"/>
                    </a:lnTo>
                    <a:lnTo>
                      <a:pt x="2153" y="5383"/>
                    </a:lnTo>
                    <a:lnTo>
                      <a:pt x="1136" y="7117"/>
                    </a:lnTo>
                    <a:lnTo>
                      <a:pt x="60" y="8493"/>
                    </a:lnTo>
                    <a:lnTo>
                      <a:pt x="0" y="8612"/>
                    </a:lnTo>
                  </a:path>
                </a:pathLst>
              </a:custGeom>
              <a:noFill/>
              <a:ln w="6350" cap="rnd">
                <a:solidFill>
                  <a:schemeClr val="bg1">
                    <a:alpha val="80000"/>
                  </a:schemeClr>
                </a:solidFill>
                <a:prstDash val="solid"/>
                <a:round/>
              </a:ln>
            </p:spPr>
            <p:txBody>
              <a:bodyPr rtlCol="0" anchor="ctr"/>
              <a:lstStyle/>
              <a:p>
                <a:endParaRPr lang="en-GB"/>
              </a:p>
            </p:txBody>
          </p:sp>
          <p:sp>
            <p:nvSpPr>
              <p:cNvPr id="5555" name="Vrije vorm: vorm 5554">
                <a:extLst>
                  <a:ext uri="{FF2B5EF4-FFF2-40B4-BE49-F238E27FC236}">
                    <a16:creationId xmlns:a16="http://schemas.microsoft.com/office/drawing/2014/main" id="{4F296001-216D-4DB4-9AA5-23A9F716BDB3}"/>
                  </a:ext>
                </a:extLst>
              </p:cNvPr>
              <p:cNvSpPr/>
              <p:nvPr/>
            </p:nvSpPr>
            <p:spPr>
              <a:xfrm>
                <a:off x="6452800" y="1740011"/>
                <a:ext cx="4066" cy="956"/>
              </a:xfrm>
              <a:custGeom>
                <a:avLst/>
                <a:gdLst>
                  <a:gd name="connsiteX0" fmla="*/ 4067 w 4066"/>
                  <a:gd name="connsiteY0" fmla="*/ 0 h 956"/>
                  <a:gd name="connsiteX1" fmla="*/ 2572 w 4066"/>
                  <a:gd name="connsiteY1" fmla="*/ 778 h 956"/>
                  <a:gd name="connsiteX2" fmla="*/ 1196 w 4066"/>
                  <a:gd name="connsiteY2" fmla="*/ 957 h 956"/>
                  <a:gd name="connsiteX3" fmla="*/ 837 w 4066"/>
                  <a:gd name="connsiteY3" fmla="*/ 837 h 956"/>
                  <a:gd name="connsiteX4" fmla="*/ 0 w 4066"/>
                  <a:gd name="connsiteY4" fmla="*/ 538 h 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956">
                    <a:moveTo>
                      <a:pt x="4067" y="0"/>
                    </a:moveTo>
                    <a:lnTo>
                      <a:pt x="2572" y="778"/>
                    </a:lnTo>
                    <a:lnTo>
                      <a:pt x="1196" y="957"/>
                    </a:lnTo>
                    <a:lnTo>
                      <a:pt x="837" y="837"/>
                    </a:lnTo>
                    <a:lnTo>
                      <a:pt x="0" y="538"/>
                    </a:lnTo>
                  </a:path>
                </a:pathLst>
              </a:custGeom>
              <a:noFill/>
              <a:ln w="6350" cap="rnd">
                <a:solidFill>
                  <a:schemeClr val="bg1">
                    <a:alpha val="80000"/>
                  </a:schemeClr>
                </a:solidFill>
                <a:prstDash val="solid"/>
                <a:round/>
              </a:ln>
            </p:spPr>
            <p:txBody>
              <a:bodyPr rtlCol="0" anchor="ctr"/>
              <a:lstStyle/>
              <a:p>
                <a:endParaRPr lang="en-GB"/>
              </a:p>
            </p:txBody>
          </p:sp>
          <p:sp>
            <p:nvSpPr>
              <p:cNvPr id="5556" name="Vrije vorm: vorm 5555">
                <a:extLst>
                  <a:ext uri="{FF2B5EF4-FFF2-40B4-BE49-F238E27FC236}">
                    <a16:creationId xmlns:a16="http://schemas.microsoft.com/office/drawing/2014/main" id="{AE70B6E7-5DAC-413C-B93D-D5755A761FA4}"/>
                  </a:ext>
                </a:extLst>
              </p:cNvPr>
              <p:cNvSpPr/>
              <p:nvPr/>
            </p:nvSpPr>
            <p:spPr>
              <a:xfrm>
                <a:off x="6454714" y="1735287"/>
                <a:ext cx="1435" cy="1435"/>
              </a:xfrm>
              <a:custGeom>
                <a:avLst/>
                <a:gdLst>
                  <a:gd name="connsiteX0" fmla="*/ 0 w 1435"/>
                  <a:gd name="connsiteY0" fmla="*/ 0 h 1435"/>
                  <a:gd name="connsiteX1" fmla="*/ 778 w 1435"/>
                  <a:gd name="connsiteY1" fmla="*/ 478 h 1435"/>
                  <a:gd name="connsiteX2" fmla="*/ 837 w 1435"/>
                  <a:gd name="connsiteY2" fmla="*/ 538 h 1435"/>
                  <a:gd name="connsiteX3" fmla="*/ 1435 w 1435"/>
                  <a:gd name="connsiteY3" fmla="*/ 1435 h 1435"/>
                </a:gdLst>
                <a:ahLst/>
                <a:cxnLst>
                  <a:cxn ang="0">
                    <a:pos x="connsiteX0" y="connsiteY0"/>
                  </a:cxn>
                  <a:cxn ang="0">
                    <a:pos x="connsiteX1" y="connsiteY1"/>
                  </a:cxn>
                  <a:cxn ang="0">
                    <a:pos x="connsiteX2" y="connsiteY2"/>
                  </a:cxn>
                  <a:cxn ang="0">
                    <a:pos x="connsiteX3" y="connsiteY3"/>
                  </a:cxn>
                </a:cxnLst>
                <a:rect l="l" t="t" r="r" b="b"/>
                <a:pathLst>
                  <a:path w="1435" h="1435">
                    <a:moveTo>
                      <a:pt x="0" y="0"/>
                    </a:moveTo>
                    <a:lnTo>
                      <a:pt x="778" y="478"/>
                    </a:lnTo>
                    <a:lnTo>
                      <a:pt x="837" y="538"/>
                    </a:lnTo>
                    <a:lnTo>
                      <a:pt x="1435" y="1435"/>
                    </a:lnTo>
                  </a:path>
                </a:pathLst>
              </a:custGeom>
              <a:noFill/>
              <a:ln w="6350" cap="rnd">
                <a:solidFill>
                  <a:schemeClr val="bg1">
                    <a:alpha val="80000"/>
                  </a:schemeClr>
                </a:solidFill>
                <a:prstDash val="solid"/>
                <a:round/>
              </a:ln>
            </p:spPr>
            <p:txBody>
              <a:bodyPr rtlCol="0" anchor="ctr"/>
              <a:lstStyle/>
              <a:p>
                <a:endParaRPr lang="en-GB"/>
              </a:p>
            </p:txBody>
          </p:sp>
          <p:sp>
            <p:nvSpPr>
              <p:cNvPr id="5557" name="Vrije vorm: vorm 5556">
                <a:extLst>
                  <a:ext uri="{FF2B5EF4-FFF2-40B4-BE49-F238E27FC236}">
                    <a16:creationId xmlns:a16="http://schemas.microsoft.com/office/drawing/2014/main" id="{447BF50C-311C-47E3-935D-4C21FEC879C5}"/>
                  </a:ext>
                </a:extLst>
              </p:cNvPr>
              <p:cNvSpPr/>
              <p:nvPr/>
            </p:nvSpPr>
            <p:spPr>
              <a:xfrm>
                <a:off x="6497895" y="1701974"/>
                <a:ext cx="5562" cy="5681"/>
              </a:xfrm>
              <a:custGeom>
                <a:avLst/>
                <a:gdLst>
                  <a:gd name="connsiteX0" fmla="*/ 5024 w 5562"/>
                  <a:gd name="connsiteY0" fmla="*/ 3888 h 5681"/>
                  <a:gd name="connsiteX1" fmla="*/ 5083 w 5562"/>
                  <a:gd name="connsiteY1" fmla="*/ 3768 h 5681"/>
                  <a:gd name="connsiteX2" fmla="*/ 5083 w 5562"/>
                  <a:gd name="connsiteY2" fmla="*/ 3648 h 5681"/>
                  <a:gd name="connsiteX3" fmla="*/ 5143 w 5562"/>
                  <a:gd name="connsiteY3" fmla="*/ 3469 h 5681"/>
                  <a:gd name="connsiteX4" fmla="*/ 5562 w 5562"/>
                  <a:gd name="connsiteY4" fmla="*/ 1675 h 5681"/>
                  <a:gd name="connsiteX5" fmla="*/ 4486 w 5562"/>
                  <a:gd name="connsiteY5" fmla="*/ 1017 h 5681"/>
                  <a:gd name="connsiteX6" fmla="*/ 4067 w 5562"/>
                  <a:gd name="connsiteY6" fmla="*/ 778 h 5681"/>
                  <a:gd name="connsiteX7" fmla="*/ 3170 w 5562"/>
                  <a:gd name="connsiteY7" fmla="*/ 239 h 5681"/>
                  <a:gd name="connsiteX8" fmla="*/ 2751 w 5562"/>
                  <a:gd name="connsiteY8" fmla="*/ 0 h 5681"/>
                  <a:gd name="connsiteX9" fmla="*/ 1316 w 5562"/>
                  <a:gd name="connsiteY9" fmla="*/ 1316 h 5681"/>
                  <a:gd name="connsiteX10" fmla="*/ 1256 w 5562"/>
                  <a:gd name="connsiteY10" fmla="*/ 1376 h 5681"/>
                  <a:gd name="connsiteX11" fmla="*/ 1076 w 5562"/>
                  <a:gd name="connsiteY11" fmla="*/ 1555 h 5681"/>
                  <a:gd name="connsiteX12" fmla="*/ 658 w 5562"/>
                  <a:gd name="connsiteY12" fmla="*/ 1974 h 5681"/>
                  <a:gd name="connsiteX13" fmla="*/ 478 w 5562"/>
                  <a:gd name="connsiteY13" fmla="*/ 2811 h 5681"/>
                  <a:gd name="connsiteX14" fmla="*/ 299 w 5562"/>
                  <a:gd name="connsiteY14" fmla="*/ 3469 h 5681"/>
                  <a:gd name="connsiteX15" fmla="*/ 299 w 5562"/>
                  <a:gd name="connsiteY15" fmla="*/ 3529 h 5681"/>
                  <a:gd name="connsiteX16" fmla="*/ 119 w 5562"/>
                  <a:gd name="connsiteY16" fmla="*/ 4306 h 5681"/>
                  <a:gd name="connsiteX17" fmla="*/ 60 w 5562"/>
                  <a:gd name="connsiteY17" fmla="*/ 4545 h 5681"/>
                  <a:gd name="connsiteX18" fmla="*/ 0 w 5562"/>
                  <a:gd name="connsiteY18" fmla="*/ 4785 h 5681"/>
                  <a:gd name="connsiteX19" fmla="*/ 119 w 5562"/>
                  <a:gd name="connsiteY19" fmla="*/ 4904 h 5681"/>
                  <a:gd name="connsiteX20" fmla="*/ 1136 w 5562"/>
                  <a:gd name="connsiteY20" fmla="*/ 5562 h 5681"/>
                  <a:gd name="connsiteX21" fmla="*/ 1375 w 5562"/>
                  <a:gd name="connsiteY21" fmla="*/ 5682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62" h="5681">
                    <a:moveTo>
                      <a:pt x="5024" y="3888"/>
                    </a:moveTo>
                    <a:lnTo>
                      <a:pt x="5083" y="3768"/>
                    </a:lnTo>
                    <a:lnTo>
                      <a:pt x="5083" y="3648"/>
                    </a:lnTo>
                    <a:lnTo>
                      <a:pt x="5143" y="3469"/>
                    </a:lnTo>
                    <a:lnTo>
                      <a:pt x="5562" y="1675"/>
                    </a:lnTo>
                    <a:lnTo>
                      <a:pt x="4486" y="1017"/>
                    </a:lnTo>
                    <a:lnTo>
                      <a:pt x="4067" y="778"/>
                    </a:lnTo>
                    <a:lnTo>
                      <a:pt x="3170" y="239"/>
                    </a:lnTo>
                    <a:lnTo>
                      <a:pt x="2751" y="0"/>
                    </a:lnTo>
                    <a:lnTo>
                      <a:pt x="1316" y="1316"/>
                    </a:lnTo>
                    <a:lnTo>
                      <a:pt x="1256" y="1376"/>
                    </a:lnTo>
                    <a:lnTo>
                      <a:pt x="1076" y="1555"/>
                    </a:lnTo>
                    <a:lnTo>
                      <a:pt x="658" y="1974"/>
                    </a:lnTo>
                    <a:lnTo>
                      <a:pt x="478" y="2811"/>
                    </a:lnTo>
                    <a:lnTo>
                      <a:pt x="299" y="3469"/>
                    </a:lnTo>
                    <a:lnTo>
                      <a:pt x="299" y="3529"/>
                    </a:lnTo>
                    <a:lnTo>
                      <a:pt x="119" y="4306"/>
                    </a:lnTo>
                    <a:lnTo>
                      <a:pt x="60" y="4545"/>
                    </a:lnTo>
                    <a:lnTo>
                      <a:pt x="0" y="4785"/>
                    </a:lnTo>
                    <a:lnTo>
                      <a:pt x="119" y="4904"/>
                    </a:lnTo>
                    <a:lnTo>
                      <a:pt x="1136" y="5562"/>
                    </a:lnTo>
                    <a:lnTo>
                      <a:pt x="1375" y="5682"/>
                    </a:lnTo>
                  </a:path>
                </a:pathLst>
              </a:custGeom>
              <a:noFill/>
              <a:ln w="6350" cap="rnd">
                <a:solidFill>
                  <a:schemeClr val="bg1">
                    <a:alpha val="80000"/>
                  </a:schemeClr>
                </a:solidFill>
                <a:prstDash val="solid"/>
                <a:round/>
              </a:ln>
            </p:spPr>
            <p:txBody>
              <a:bodyPr rtlCol="0" anchor="ctr"/>
              <a:lstStyle/>
              <a:p>
                <a:endParaRPr lang="en-GB"/>
              </a:p>
            </p:txBody>
          </p:sp>
          <p:sp>
            <p:nvSpPr>
              <p:cNvPr id="5558" name="Vrije vorm: vorm 5557">
                <a:extLst>
                  <a:ext uri="{FF2B5EF4-FFF2-40B4-BE49-F238E27FC236}">
                    <a16:creationId xmlns:a16="http://schemas.microsoft.com/office/drawing/2014/main" id="{E3665E6C-8D9D-47B5-A7DD-0BFE74F7C8A6}"/>
                  </a:ext>
                </a:extLst>
              </p:cNvPr>
              <p:cNvSpPr/>
              <p:nvPr/>
            </p:nvSpPr>
            <p:spPr>
              <a:xfrm>
                <a:off x="6482165" y="1739832"/>
                <a:ext cx="5621" cy="6519"/>
              </a:xfrm>
              <a:custGeom>
                <a:avLst/>
                <a:gdLst>
                  <a:gd name="connsiteX0" fmla="*/ 4904 w 5621"/>
                  <a:gd name="connsiteY0" fmla="*/ 4605 h 6519"/>
                  <a:gd name="connsiteX1" fmla="*/ 5263 w 5621"/>
                  <a:gd name="connsiteY1" fmla="*/ 3170 h 6519"/>
                  <a:gd name="connsiteX2" fmla="*/ 5622 w 5621"/>
                  <a:gd name="connsiteY2" fmla="*/ 1734 h 6519"/>
                  <a:gd name="connsiteX3" fmla="*/ 5024 w 5621"/>
                  <a:gd name="connsiteY3" fmla="*/ 1316 h 6519"/>
                  <a:gd name="connsiteX4" fmla="*/ 4187 w 5621"/>
                  <a:gd name="connsiteY4" fmla="*/ 718 h 6519"/>
                  <a:gd name="connsiteX5" fmla="*/ 4067 w 5621"/>
                  <a:gd name="connsiteY5" fmla="*/ 658 h 6519"/>
                  <a:gd name="connsiteX6" fmla="*/ 3050 w 5621"/>
                  <a:gd name="connsiteY6" fmla="*/ 120 h 6519"/>
                  <a:gd name="connsiteX7" fmla="*/ 2811 w 5621"/>
                  <a:gd name="connsiteY7" fmla="*/ 0 h 6519"/>
                  <a:gd name="connsiteX8" fmla="*/ 718 w 5621"/>
                  <a:gd name="connsiteY8" fmla="*/ 1854 h 6519"/>
                  <a:gd name="connsiteX9" fmla="*/ 478 w 5621"/>
                  <a:gd name="connsiteY9" fmla="*/ 2811 h 6519"/>
                  <a:gd name="connsiteX10" fmla="*/ 359 w 5621"/>
                  <a:gd name="connsiteY10" fmla="*/ 3289 h 6519"/>
                  <a:gd name="connsiteX11" fmla="*/ 359 w 5621"/>
                  <a:gd name="connsiteY11" fmla="*/ 3289 h 6519"/>
                  <a:gd name="connsiteX12" fmla="*/ 0 w 5621"/>
                  <a:gd name="connsiteY12" fmla="*/ 4725 h 6519"/>
                  <a:gd name="connsiteX13" fmla="*/ 718 w 5621"/>
                  <a:gd name="connsiteY13" fmla="*/ 5263 h 6519"/>
                  <a:gd name="connsiteX14" fmla="*/ 1435 w 5621"/>
                  <a:gd name="connsiteY14" fmla="*/ 5801 h 6519"/>
                  <a:gd name="connsiteX15" fmla="*/ 2811 w 5621"/>
                  <a:gd name="connsiteY15" fmla="*/ 6519 h 6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21" h="6519">
                    <a:moveTo>
                      <a:pt x="4904" y="4605"/>
                    </a:moveTo>
                    <a:lnTo>
                      <a:pt x="5263" y="3170"/>
                    </a:lnTo>
                    <a:lnTo>
                      <a:pt x="5622" y="1734"/>
                    </a:lnTo>
                    <a:lnTo>
                      <a:pt x="5024" y="1316"/>
                    </a:lnTo>
                    <a:lnTo>
                      <a:pt x="4187" y="718"/>
                    </a:lnTo>
                    <a:lnTo>
                      <a:pt x="4067" y="658"/>
                    </a:lnTo>
                    <a:lnTo>
                      <a:pt x="3050" y="120"/>
                    </a:lnTo>
                    <a:lnTo>
                      <a:pt x="2811" y="0"/>
                    </a:lnTo>
                    <a:lnTo>
                      <a:pt x="718" y="1854"/>
                    </a:lnTo>
                    <a:lnTo>
                      <a:pt x="478" y="2811"/>
                    </a:lnTo>
                    <a:lnTo>
                      <a:pt x="359" y="3289"/>
                    </a:lnTo>
                    <a:lnTo>
                      <a:pt x="359" y="3289"/>
                    </a:lnTo>
                    <a:lnTo>
                      <a:pt x="0" y="4725"/>
                    </a:lnTo>
                    <a:lnTo>
                      <a:pt x="718" y="5263"/>
                    </a:lnTo>
                    <a:lnTo>
                      <a:pt x="1435" y="5801"/>
                    </a:lnTo>
                    <a:lnTo>
                      <a:pt x="2811" y="6519"/>
                    </a:lnTo>
                  </a:path>
                </a:pathLst>
              </a:custGeom>
              <a:noFill/>
              <a:ln w="6350" cap="rnd">
                <a:solidFill>
                  <a:schemeClr val="bg1">
                    <a:alpha val="80000"/>
                  </a:schemeClr>
                </a:solidFill>
                <a:prstDash val="solid"/>
                <a:round/>
              </a:ln>
            </p:spPr>
            <p:txBody>
              <a:bodyPr rtlCol="0" anchor="ctr"/>
              <a:lstStyle/>
              <a:p>
                <a:endParaRPr lang="en-GB"/>
              </a:p>
            </p:txBody>
          </p:sp>
          <p:sp>
            <p:nvSpPr>
              <p:cNvPr id="5559" name="Vrije vorm: vorm 5558">
                <a:extLst>
                  <a:ext uri="{FF2B5EF4-FFF2-40B4-BE49-F238E27FC236}">
                    <a16:creationId xmlns:a16="http://schemas.microsoft.com/office/drawing/2014/main" id="{7D422EA7-1216-4A56-A60E-E7952C061657}"/>
                  </a:ext>
                </a:extLst>
              </p:cNvPr>
              <p:cNvSpPr/>
              <p:nvPr/>
            </p:nvSpPr>
            <p:spPr>
              <a:xfrm>
                <a:off x="6484916" y="1743720"/>
                <a:ext cx="2093" cy="2571"/>
              </a:xfrm>
              <a:custGeom>
                <a:avLst/>
                <a:gdLst>
                  <a:gd name="connsiteX0" fmla="*/ 0 w 2093"/>
                  <a:gd name="connsiteY0" fmla="*/ 2572 h 2571"/>
                  <a:gd name="connsiteX1" fmla="*/ 1615 w 2093"/>
                  <a:gd name="connsiteY1" fmla="*/ 1136 h 2571"/>
                  <a:gd name="connsiteX2" fmla="*/ 2093 w 2093"/>
                  <a:gd name="connsiteY2" fmla="*/ 718 h 2571"/>
                  <a:gd name="connsiteX3" fmla="*/ 1316 w 2093"/>
                  <a:gd name="connsiteY3" fmla="*/ 299 h 2571"/>
                  <a:gd name="connsiteX4" fmla="*/ 718 w 2093"/>
                  <a:gd name="connsiteY4" fmla="*/ 0 h 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 h="2571">
                    <a:moveTo>
                      <a:pt x="0" y="2572"/>
                    </a:moveTo>
                    <a:lnTo>
                      <a:pt x="1615" y="1136"/>
                    </a:lnTo>
                    <a:lnTo>
                      <a:pt x="2093" y="718"/>
                    </a:lnTo>
                    <a:lnTo>
                      <a:pt x="1316" y="299"/>
                    </a:lnTo>
                    <a:lnTo>
                      <a:pt x="718" y="0"/>
                    </a:lnTo>
                  </a:path>
                </a:pathLst>
              </a:custGeom>
              <a:noFill/>
              <a:ln w="6350" cap="rnd">
                <a:solidFill>
                  <a:schemeClr val="bg1">
                    <a:alpha val="80000"/>
                  </a:schemeClr>
                </a:solidFill>
                <a:prstDash val="solid"/>
                <a:round/>
              </a:ln>
            </p:spPr>
            <p:txBody>
              <a:bodyPr rtlCol="0" anchor="ctr"/>
              <a:lstStyle/>
              <a:p>
                <a:endParaRPr lang="en-GB"/>
              </a:p>
            </p:txBody>
          </p:sp>
          <p:sp>
            <p:nvSpPr>
              <p:cNvPr id="5560" name="Vrije vorm: vorm 5559">
                <a:extLst>
                  <a:ext uri="{FF2B5EF4-FFF2-40B4-BE49-F238E27FC236}">
                    <a16:creationId xmlns:a16="http://schemas.microsoft.com/office/drawing/2014/main" id="{F6F48FFB-A665-455D-9DDF-9B32C7937527}"/>
                  </a:ext>
                </a:extLst>
              </p:cNvPr>
              <p:cNvSpPr/>
              <p:nvPr/>
            </p:nvSpPr>
            <p:spPr>
              <a:xfrm>
                <a:off x="6484617" y="1742404"/>
                <a:ext cx="657" cy="1255"/>
              </a:xfrm>
              <a:custGeom>
                <a:avLst/>
                <a:gdLst>
                  <a:gd name="connsiteX0" fmla="*/ 0 w 657"/>
                  <a:gd name="connsiteY0" fmla="*/ 1256 h 1255"/>
                  <a:gd name="connsiteX1" fmla="*/ 0 w 657"/>
                  <a:gd name="connsiteY1" fmla="*/ 1256 h 1255"/>
                  <a:gd name="connsiteX2" fmla="*/ 120 w 657"/>
                  <a:gd name="connsiteY2" fmla="*/ 837 h 1255"/>
                  <a:gd name="connsiteX3" fmla="*/ 299 w 657"/>
                  <a:gd name="connsiteY3" fmla="*/ 478 h 1255"/>
                  <a:gd name="connsiteX4" fmla="*/ 538 w 657"/>
                  <a:gd name="connsiteY4" fmla="*/ 120 h 1255"/>
                  <a:gd name="connsiteX5" fmla="*/ 658 w 657"/>
                  <a:gd name="connsiteY5" fmla="*/ 0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7" h="1255">
                    <a:moveTo>
                      <a:pt x="0" y="1256"/>
                    </a:moveTo>
                    <a:lnTo>
                      <a:pt x="0" y="1256"/>
                    </a:lnTo>
                    <a:lnTo>
                      <a:pt x="120" y="837"/>
                    </a:lnTo>
                    <a:lnTo>
                      <a:pt x="299" y="478"/>
                    </a:lnTo>
                    <a:lnTo>
                      <a:pt x="538" y="120"/>
                    </a:lnTo>
                    <a:lnTo>
                      <a:pt x="658" y="0"/>
                    </a:lnTo>
                  </a:path>
                </a:pathLst>
              </a:custGeom>
              <a:noFill/>
              <a:ln w="6350" cap="rnd">
                <a:solidFill>
                  <a:schemeClr val="bg1">
                    <a:alpha val="80000"/>
                  </a:schemeClr>
                </a:solidFill>
                <a:prstDash val="solid"/>
                <a:round/>
              </a:ln>
            </p:spPr>
            <p:txBody>
              <a:bodyPr rtlCol="0" anchor="ctr"/>
              <a:lstStyle/>
              <a:p>
                <a:endParaRPr lang="en-GB"/>
              </a:p>
            </p:txBody>
          </p:sp>
          <p:sp>
            <p:nvSpPr>
              <p:cNvPr id="5561" name="Vrije vorm: vorm 5560">
                <a:extLst>
                  <a:ext uri="{FF2B5EF4-FFF2-40B4-BE49-F238E27FC236}">
                    <a16:creationId xmlns:a16="http://schemas.microsoft.com/office/drawing/2014/main" id="{4CFEA1DD-F403-40BE-B261-DEB7181E2E99}"/>
                  </a:ext>
                </a:extLst>
              </p:cNvPr>
              <p:cNvSpPr/>
              <p:nvPr/>
            </p:nvSpPr>
            <p:spPr>
              <a:xfrm>
                <a:off x="6483242" y="1741267"/>
                <a:ext cx="2152" cy="2810"/>
              </a:xfrm>
              <a:custGeom>
                <a:avLst/>
                <a:gdLst>
                  <a:gd name="connsiteX0" fmla="*/ 1854 w 2152"/>
                  <a:gd name="connsiteY0" fmla="*/ 60 h 2810"/>
                  <a:gd name="connsiteX1" fmla="*/ 1674 w 2152"/>
                  <a:gd name="connsiteY1" fmla="*/ 0 h 2810"/>
                  <a:gd name="connsiteX2" fmla="*/ 1435 w 2152"/>
                  <a:gd name="connsiteY2" fmla="*/ 0 h 2810"/>
                  <a:gd name="connsiteX3" fmla="*/ 1136 w 2152"/>
                  <a:gd name="connsiteY3" fmla="*/ 120 h 2810"/>
                  <a:gd name="connsiteX4" fmla="*/ 837 w 2152"/>
                  <a:gd name="connsiteY4" fmla="*/ 299 h 2810"/>
                  <a:gd name="connsiteX5" fmla="*/ 598 w 2152"/>
                  <a:gd name="connsiteY5" fmla="*/ 598 h 2810"/>
                  <a:gd name="connsiteX6" fmla="*/ 359 w 2152"/>
                  <a:gd name="connsiteY6" fmla="*/ 957 h 2810"/>
                  <a:gd name="connsiteX7" fmla="*/ 179 w 2152"/>
                  <a:gd name="connsiteY7" fmla="*/ 1316 h 2810"/>
                  <a:gd name="connsiteX8" fmla="*/ 60 w 2152"/>
                  <a:gd name="connsiteY8" fmla="*/ 1675 h 2810"/>
                  <a:gd name="connsiteX9" fmla="*/ 0 w 2152"/>
                  <a:gd name="connsiteY9" fmla="*/ 2033 h 2810"/>
                  <a:gd name="connsiteX10" fmla="*/ 0 w 2152"/>
                  <a:gd name="connsiteY10" fmla="*/ 2332 h 2810"/>
                  <a:gd name="connsiteX11" fmla="*/ 60 w 2152"/>
                  <a:gd name="connsiteY11" fmla="*/ 2572 h 2810"/>
                  <a:gd name="connsiteX12" fmla="*/ 239 w 2152"/>
                  <a:gd name="connsiteY12" fmla="*/ 2751 h 2810"/>
                  <a:gd name="connsiteX13" fmla="*/ 419 w 2152"/>
                  <a:gd name="connsiteY13" fmla="*/ 2811 h 2810"/>
                  <a:gd name="connsiteX14" fmla="*/ 598 w 2152"/>
                  <a:gd name="connsiteY14" fmla="*/ 2811 h 2810"/>
                  <a:gd name="connsiteX15" fmla="*/ 718 w 2152"/>
                  <a:gd name="connsiteY15" fmla="*/ 2811 h 2810"/>
                  <a:gd name="connsiteX16" fmla="*/ 1017 w 2152"/>
                  <a:gd name="connsiteY16" fmla="*/ 2691 h 2810"/>
                  <a:gd name="connsiteX17" fmla="*/ 1316 w 2152"/>
                  <a:gd name="connsiteY17" fmla="*/ 2512 h 2810"/>
                  <a:gd name="connsiteX18" fmla="*/ 1316 w 2152"/>
                  <a:gd name="connsiteY18" fmla="*/ 2512 h 2810"/>
                  <a:gd name="connsiteX19" fmla="*/ 1435 w 2152"/>
                  <a:gd name="connsiteY19" fmla="*/ 2332 h 2810"/>
                  <a:gd name="connsiteX20" fmla="*/ 1555 w 2152"/>
                  <a:gd name="connsiteY20" fmla="*/ 2213 h 2810"/>
                  <a:gd name="connsiteX21" fmla="*/ 1794 w 2152"/>
                  <a:gd name="connsiteY21" fmla="*/ 1854 h 2810"/>
                  <a:gd name="connsiteX22" fmla="*/ 1974 w 2152"/>
                  <a:gd name="connsiteY22" fmla="*/ 1495 h 2810"/>
                  <a:gd name="connsiteX23" fmla="*/ 2093 w 2152"/>
                  <a:gd name="connsiteY23" fmla="*/ 1136 h 2810"/>
                  <a:gd name="connsiteX24" fmla="*/ 2093 w 2152"/>
                  <a:gd name="connsiteY24" fmla="*/ 1136 h 2810"/>
                  <a:gd name="connsiteX25" fmla="*/ 2153 w 2152"/>
                  <a:gd name="connsiteY25" fmla="*/ 778 h 2810"/>
                  <a:gd name="connsiteX26" fmla="*/ 2153 w 2152"/>
                  <a:gd name="connsiteY26" fmla="*/ 478 h 2810"/>
                  <a:gd name="connsiteX27" fmla="*/ 2093 w 2152"/>
                  <a:gd name="connsiteY27" fmla="*/ 239 h 2810"/>
                  <a:gd name="connsiteX28" fmla="*/ 2093 w 2152"/>
                  <a:gd name="connsiteY28" fmla="*/ 239 h 2810"/>
                  <a:gd name="connsiteX29" fmla="*/ 2093 w 2152"/>
                  <a:gd name="connsiteY29" fmla="*/ 239 h 2810"/>
                  <a:gd name="connsiteX30" fmla="*/ 1854 w 2152"/>
                  <a:gd name="connsiteY30" fmla="*/ 60 h 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52" h="2810">
                    <a:moveTo>
                      <a:pt x="1854" y="60"/>
                    </a:moveTo>
                    <a:lnTo>
                      <a:pt x="1674" y="0"/>
                    </a:lnTo>
                    <a:lnTo>
                      <a:pt x="1435" y="0"/>
                    </a:lnTo>
                    <a:lnTo>
                      <a:pt x="1136" y="120"/>
                    </a:lnTo>
                    <a:lnTo>
                      <a:pt x="837" y="299"/>
                    </a:lnTo>
                    <a:lnTo>
                      <a:pt x="598" y="598"/>
                    </a:lnTo>
                    <a:lnTo>
                      <a:pt x="359" y="957"/>
                    </a:lnTo>
                    <a:lnTo>
                      <a:pt x="179" y="1316"/>
                    </a:lnTo>
                    <a:lnTo>
                      <a:pt x="60" y="1675"/>
                    </a:lnTo>
                    <a:lnTo>
                      <a:pt x="0" y="2033"/>
                    </a:lnTo>
                    <a:lnTo>
                      <a:pt x="0" y="2332"/>
                    </a:lnTo>
                    <a:lnTo>
                      <a:pt x="60" y="2572"/>
                    </a:lnTo>
                    <a:lnTo>
                      <a:pt x="239" y="2751"/>
                    </a:lnTo>
                    <a:lnTo>
                      <a:pt x="419" y="2811"/>
                    </a:lnTo>
                    <a:lnTo>
                      <a:pt x="598" y="2811"/>
                    </a:lnTo>
                    <a:lnTo>
                      <a:pt x="718" y="2811"/>
                    </a:lnTo>
                    <a:lnTo>
                      <a:pt x="1017" y="2691"/>
                    </a:lnTo>
                    <a:lnTo>
                      <a:pt x="1316" y="2512"/>
                    </a:lnTo>
                    <a:lnTo>
                      <a:pt x="1316" y="2512"/>
                    </a:lnTo>
                    <a:lnTo>
                      <a:pt x="1435" y="2332"/>
                    </a:lnTo>
                    <a:lnTo>
                      <a:pt x="1555" y="2213"/>
                    </a:lnTo>
                    <a:lnTo>
                      <a:pt x="1794" y="1854"/>
                    </a:lnTo>
                    <a:lnTo>
                      <a:pt x="1974" y="1495"/>
                    </a:lnTo>
                    <a:lnTo>
                      <a:pt x="2093" y="1136"/>
                    </a:lnTo>
                    <a:lnTo>
                      <a:pt x="2093" y="1136"/>
                    </a:lnTo>
                    <a:lnTo>
                      <a:pt x="2153" y="778"/>
                    </a:lnTo>
                    <a:lnTo>
                      <a:pt x="2153" y="478"/>
                    </a:lnTo>
                    <a:lnTo>
                      <a:pt x="2093" y="239"/>
                    </a:lnTo>
                    <a:lnTo>
                      <a:pt x="2093" y="239"/>
                    </a:lnTo>
                    <a:lnTo>
                      <a:pt x="2093" y="239"/>
                    </a:lnTo>
                    <a:lnTo>
                      <a:pt x="1854" y="60"/>
                    </a:lnTo>
                  </a:path>
                </a:pathLst>
              </a:custGeom>
              <a:noFill/>
              <a:ln w="6350" cap="rnd">
                <a:solidFill>
                  <a:schemeClr val="bg1">
                    <a:alpha val="80000"/>
                  </a:schemeClr>
                </a:solidFill>
                <a:prstDash val="solid"/>
                <a:round/>
              </a:ln>
            </p:spPr>
            <p:txBody>
              <a:bodyPr rtlCol="0" anchor="ctr"/>
              <a:lstStyle/>
              <a:p>
                <a:endParaRPr lang="en-GB"/>
              </a:p>
            </p:txBody>
          </p:sp>
          <p:sp>
            <p:nvSpPr>
              <p:cNvPr id="5562" name="Vrije vorm: vorm 5561">
                <a:extLst>
                  <a:ext uri="{FF2B5EF4-FFF2-40B4-BE49-F238E27FC236}">
                    <a16:creationId xmlns:a16="http://schemas.microsoft.com/office/drawing/2014/main" id="{5CD84A6F-DE8D-42D9-8159-39962C559FBD}"/>
                  </a:ext>
                </a:extLst>
              </p:cNvPr>
              <p:cNvSpPr/>
              <p:nvPr/>
            </p:nvSpPr>
            <p:spPr>
              <a:xfrm>
                <a:off x="6483601" y="1739772"/>
                <a:ext cx="2810" cy="5741"/>
              </a:xfrm>
              <a:custGeom>
                <a:avLst/>
                <a:gdLst>
                  <a:gd name="connsiteX0" fmla="*/ 1375 w 2810"/>
                  <a:gd name="connsiteY0" fmla="*/ 0 h 5741"/>
                  <a:gd name="connsiteX1" fmla="*/ 1555 w 2810"/>
                  <a:gd name="connsiteY1" fmla="*/ 120 h 5741"/>
                  <a:gd name="connsiteX2" fmla="*/ 2213 w 2810"/>
                  <a:gd name="connsiteY2" fmla="*/ 598 h 5741"/>
                  <a:gd name="connsiteX3" fmla="*/ 2572 w 2810"/>
                  <a:gd name="connsiteY3" fmla="*/ 837 h 5741"/>
                  <a:gd name="connsiteX4" fmla="*/ 2811 w 2810"/>
                  <a:gd name="connsiteY4" fmla="*/ 1017 h 5741"/>
                  <a:gd name="connsiteX5" fmla="*/ 2572 w 2810"/>
                  <a:gd name="connsiteY5" fmla="*/ 2033 h 5741"/>
                  <a:gd name="connsiteX6" fmla="*/ 2452 w 2810"/>
                  <a:gd name="connsiteY6" fmla="*/ 2452 h 5741"/>
                  <a:gd name="connsiteX7" fmla="*/ 2093 w 2810"/>
                  <a:gd name="connsiteY7" fmla="*/ 3887 h 5741"/>
                  <a:gd name="connsiteX8" fmla="*/ 1615 w 2810"/>
                  <a:gd name="connsiteY8" fmla="*/ 4306 h 5741"/>
                  <a:gd name="connsiteX9" fmla="*/ 1076 w 2810"/>
                  <a:gd name="connsiteY9" fmla="*/ 4785 h 5741"/>
                  <a:gd name="connsiteX10" fmla="*/ 239 w 2810"/>
                  <a:gd name="connsiteY10" fmla="*/ 5562 h 5741"/>
                  <a:gd name="connsiteX11" fmla="*/ 0 w 2810"/>
                  <a:gd name="connsiteY11" fmla="*/ 5742 h 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10" h="5741">
                    <a:moveTo>
                      <a:pt x="1375" y="0"/>
                    </a:moveTo>
                    <a:lnTo>
                      <a:pt x="1555" y="120"/>
                    </a:lnTo>
                    <a:lnTo>
                      <a:pt x="2213" y="598"/>
                    </a:lnTo>
                    <a:lnTo>
                      <a:pt x="2572" y="837"/>
                    </a:lnTo>
                    <a:lnTo>
                      <a:pt x="2811" y="1017"/>
                    </a:lnTo>
                    <a:lnTo>
                      <a:pt x="2572" y="2033"/>
                    </a:lnTo>
                    <a:lnTo>
                      <a:pt x="2452" y="2452"/>
                    </a:lnTo>
                    <a:lnTo>
                      <a:pt x="2093" y="3887"/>
                    </a:lnTo>
                    <a:lnTo>
                      <a:pt x="1615" y="4306"/>
                    </a:lnTo>
                    <a:lnTo>
                      <a:pt x="1076" y="4785"/>
                    </a:lnTo>
                    <a:lnTo>
                      <a:pt x="239" y="5562"/>
                    </a:lnTo>
                    <a:lnTo>
                      <a:pt x="0" y="5742"/>
                    </a:lnTo>
                  </a:path>
                </a:pathLst>
              </a:custGeom>
              <a:noFill/>
              <a:ln w="6350" cap="rnd">
                <a:solidFill>
                  <a:schemeClr val="bg1">
                    <a:alpha val="80000"/>
                  </a:schemeClr>
                </a:solidFill>
                <a:prstDash val="solid"/>
                <a:round/>
              </a:ln>
            </p:spPr>
            <p:txBody>
              <a:bodyPr rtlCol="0" anchor="ctr"/>
              <a:lstStyle/>
              <a:p>
                <a:endParaRPr lang="en-GB"/>
              </a:p>
            </p:txBody>
          </p:sp>
          <p:sp>
            <p:nvSpPr>
              <p:cNvPr id="5563" name="Vrije vorm: vorm 5562">
                <a:extLst>
                  <a:ext uri="{FF2B5EF4-FFF2-40B4-BE49-F238E27FC236}">
                    <a16:creationId xmlns:a16="http://schemas.microsoft.com/office/drawing/2014/main" id="{9CF508E6-F483-40F7-99C7-3B537F23AB64}"/>
                  </a:ext>
                </a:extLst>
              </p:cNvPr>
              <p:cNvSpPr/>
              <p:nvPr/>
            </p:nvSpPr>
            <p:spPr>
              <a:xfrm>
                <a:off x="6500705" y="1701974"/>
                <a:ext cx="1435" cy="3648"/>
              </a:xfrm>
              <a:custGeom>
                <a:avLst/>
                <a:gdLst>
                  <a:gd name="connsiteX0" fmla="*/ 0 w 1435"/>
                  <a:gd name="connsiteY0" fmla="*/ 0 h 3648"/>
                  <a:gd name="connsiteX1" fmla="*/ 1316 w 1435"/>
                  <a:gd name="connsiteY1" fmla="*/ 778 h 3648"/>
                  <a:gd name="connsiteX2" fmla="*/ 1435 w 1435"/>
                  <a:gd name="connsiteY2" fmla="*/ 837 h 3648"/>
                  <a:gd name="connsiteX3" fmla="*/ 1316 w 1435"/>
                  <a:gd name="connsiteY3" fmla="*/ 1256 h 3648"/>
                  <a:gd name="connsiteX4" fmla="*/ 1136 w 1435"/>
                  <a:gd name="connsiteY4" fmla="*/ 1974 h 3648"/>
                  <a:gd name="connsiteX5" fmla="*/ 957 w 1435"/>
                  <a:gd name="connsiteY5" fmla="*/ 2811 h 3648"/>
                  <a:gd name="connsiteX6" fmla="*/ 778 w 1435"/>
                  <a:gd name="connsiteY6" fmla="*/ 3648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5" h="3648">
                    <a:moveTo>
                      <a:pt x="0" y="0"/>
                    </a:moveTo>
                    <a:lnTo>
                      <a:pt x="1316" y="778"/>
                    </a:lnTo>
                    <a:lnTo>
                      <a:pt x="1435" y="837"/>
                    </a:lnTo>
                    <a:lnTo>
                      <a:pt x="1316" y="1256"/>
                    </a:lnTo>
                    <a:lnTo>
                      <a:pt x="1136" y="1974"/>
                    </a:lnTo>
                    <a:lnTo>
                      <a:pt x="957" y="2811"/>
                    </a:lnTo>
                    <a:lnTo>
                      <a:pt x="778" y="3648"/>
                    </a:lnTo>
                  </a:path>
                </a:pathLst>
              </a:custGeom>
              <a:noFill/>
              <a:ln w="6350" cap="rnd">
                <a:solidFill>
                  <a:schemeClr val="bg1">
                    <a:alpha val="80000"/>
                  </a:schemeClr>
                </a:solidFill>
                <a:prstDash val="solid"/>
                <a:round/>
              </a:ln>
            </p:spPr>
            <p:txBody>
              <a:bodyPr rtlCol="0" anchor="ctr"/>
              <a:lstStyle/>
              <a:p>
                <a:endParaRPr lang="en-GB"/>
              </a:p>
            </p:txBody>
          </p:sp>
          <p:sp>
            <p:nvSpPr>
              <p:cNvPr id="5564" name="Vrije vorm: vorm 5563">
                <a:extLst>
                  <a:ext uri="{FF2B5EF4-FFF2-40B4-BE49-F238E27FC236}">
                    <a16:creationId xmlns:a16="http://schemas.microsoft.com/office/drawing/2014/main" id="{77AE4F35-2DE1-49F7-B386-8A6D508C8300}"/>
                  </a:ext>
                </a:extLst>
              </p:cNvPr>
              <p:cNvSpPr/>
              <p:nvPr/>
            </p:nvSpPr>
            <p:spPr>
              <a:xfrm>
                <a:off x="6499629" y="1705622"/>
                <a:ext cx="2332" cy="1674"/>
              </a:xfrm>
              <a:custGeom>
                <a:avLst/>
                <a:gdLst>
                  <a:gd name="connsiteX0" fmla="*/ 2333 w 2332"/>
                  <a:gd name="connsiteY0" fmla="*/ 299 h 1674"/>
                  <a:gd name="connsiteX1" fmla="*/ 1854 w 2332"/>
                  <a:gd name="connsiteY1" fmla="*/ 0 h 1674"/>
                  <a:gd name="connsiteX2" fmla="*/ 897 w 2332"/>
                  <a:gd name="connsiteY2" fmla="*/ 897 h 1674"/>
                  <a:gd name="connsiteX3" fmla="*/ 718 w 2332"/>
                  <a:gd name="connsiteY3" fmla="*/ 1017 h 1674"/>
                  <a:gd name="connsiteX4" fmla="*/ 658 w 2332"/>
                  <a:gd name="connsiteY4" fmla="*/ 1077 h 1674"/>
                  <a:gd name="connsiteX5" fmla="*/ 658 w 2332"/>
                  <a:gd name="connsiteY5" fmla="*/ 1077 h 1674"/>
                  <a:gd name="connsiteX6" fmla="*/ 0 w 2332"/>
                  <a:gd name="connsiteY6" fmla="*/ 1675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2" h="1674">
                    <a:moveTo>
                      <a:pt x="2333" y="299"/>
                    </a:moveTo>
                    <a:lnTo>
                      <a:pt x="1854" y="0"/>
                    </a:lnTo>
                    <a:lnTo>
                      <a:pt x="897" y="897"/>
                    </a:lnTo>
                    <a:lnTo>
                      <a:pt x="718" y="1017"/>
                    </a:lnTo>
                    <a:lnTo>
                      <a:pt x="658" y="1077"/>
                    </a:lnTo>
                    <a:lnTo>
                      <a:pt x="658" y="1077"/>
                    </a:lnTo>
                    <a:lnTo>
                      <a:pt x="0" y="1675"/>
                    </a:lnTo>
                  </a:path>
                </a:pathLst>
              </a:custGeom>
              <a:noFill/>
              <a:ln w="6350" cap="rnd">
                <a:solidFill>
                  <a:schemeClr val="bg1">
                    <a:alpha val="80000"/>
                  </a:schemeClr>
                </a:solidFill>
                <a:prstDash val="solid"/>
                <a:round/>
              </a:ln>
            </p:spPr>
            <p:txBody>
              <a:bodyPr rtlCol="0" anchor="ctr"/>
              <a:lstStyle/>
              <a:p>
                <a:endParaRPr lang="en-GB"/>
              </a:p>
            </p:txBody>
          </p:sp>
          <p:sp>
            <p:nvSpPr>
              <p:cNvPr id="5565" name="Vrije vorm: vorm 5564">
                <a:extLst>
                  <a:ext uri="{FF2B5EF4-FFF2-40B4-BE49-F238E27FC236}">
                    <a16:creationId xmlns:a16="http://schemas.microsoft.com/office/drawing/2014/main" id="{7C516A7B-7876-4FEC-9DA5-12190EE2B117}"/>
                  </a:ext>
                </a:extLst>
              </p:cNvPr>
              <p:cNvSpPr/>
              <p:nvPr/>
            </p:nvSpPr>
            <p:spPr>
              <a:xfrm>
                <a:off x="6484916" y="1730622"/>
                <a:ext cx="598" cy="2930"/>
              </a:xfrm>
              <a:custGeom>
                <a:avLst/>
                <a:gdLst>
                  <a:gd name="connsiteX0" fmla="*/ 0 w 598"/>
                  <a:gd name="connsiteY0" fmla="*/ 0 h 2930"/>
                  <a:gd name="connsiteX1" fmla="*/ 359 w 598"/>
                  <a:gd name="connsiteY1" fmla="*/ 419 h 2930"/>
                  <a:gd name="connsiteX2" fmla="*/ 538 w 598"/>
                  <a:gd name="connsiteY2" fmla="*/ 1017 h 2930"/>
                  <a:gd name="connsiteX3" fmla="*/ 598 w 598"/>
                  <a:gd name="connsiteY3" fmla="*/ 1734 h 2930"/>
                  <a:gd name="connsiteX4" fmla="*/ 598 w 598"/>
                  <a:gd name="connsiteY4" fmla="*/ 1854 h 2930"/>
                  <a:gd name="connsiteX5" fmla="*/ 479 w 598"/>
                  <a:gd name="connsiteY5" fmla="*/ 2572 h 2930"/>
                  <a:gd name="connsiteX6" fmla="*/ 419 w 598"/>
                  <a:gd name="connsiteY6" fmla="*/ 2751 h 2930"/>
                  <a:gd name="connsiteX7" fmla="*/ 359 w 598"/>
                  <a:gd name="connsiteY7" fmla="*/ 2931 h 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 h="2930">
                    <a:moveTo>
                      <a:pt x="0" y="0"/>
                    </a:moveTo>
                    <a:lnTo>
                      <a:pt x="359" y="419"/>
                    </a:lnTo>
                    <a:lnTo>
                      <a:pt x="538" y="1017"/>
                    </a:lnTo>
                    <a:lnTo>
                      <a:pt x="598" y="1734"/>
                    </a:lnTo>
                    <a:lnTo>
                      <a:pt x="598" y="1854"/>
                    </a:lnTo>
                    <a:lnTo>
                      <a:pt x="479" y="2572"/>
                    </a:lnTo>
                    <a:lnTo>
                      <a:pt x="419" y="2751"/>
                    </a:lnTo>
                    <a:lnTo>
                      <a:pt x="359" y="2931"/>
                    </a:lnTo>
                  </a:path>
                </a:pathLst>
              </a:custGeom>
              <a:noFill/>
              <a:ln w="6350" cap="rnd">
                <a:solidFill>
                  <a:schemeClr val="bg1">
                    <a:alpha val="80000"/>
                  </a:schemeClr>
                </a:solidFill>
                <a:prstDash val="solid"/>
                <a:round/>
              </a:ln>
            </p:spPr>
            <p:txBody>
              <a:bodyPr rtlCol="0" anchor="ctr"/>
              <a:lstStyle/>
              <a:p>
                <a:endParaRPr lang="en-GB"/>
              </a:p>
            </p:txBody>
          </p:sp>
          <p:sp>
            <p:nvSpPr>
              <p:cNvPr id="5566" name="Vrije vorm: vorm 5565">
                <a:extLst>
                  <a:ext uri="{FF2B5EF4-FFF2-40B4-BE49-F238E27FC236}">
                    <a16:creationId xmlns:a16="http://schemas.microsoft.com/office/drawing/2014/main" id="{AAB2E2DB-9FE7-410E-B0B4-EA7E4299853D}"/>
                  </a:ext>
                </a:extLst>
              </p:cNvPr>
              <p:cNvSpPr/>
              <p:nvPr/>
            </p:nvSpPr>
            <p:spPr>
              <a:xfrm>
                <a:off x="6482345" y="1732595"/>
                <a:ext cx="1674" cy="2452"/>
              </a:xfrm>
              <a:custGeom>
                <a:avLst/>
                <a:gdLst>
                  <a:gd name="connsiteX0" fmla="*/ 0 w 1674"/>
                  <a:gd name="connsiteY0" fmla="*/ 2392 h 2452"/>
                  <a:gd name="connsiteX1" fmla="*/ 180 w 1674"/>
                  <a:gd name="connsiteY1" fmla="*/ 2452 h 2452"/>
                  <a:gd name="connsiteX2" fmla="*/ 419 w 1674"/>
                  <a:gd name="connsiteY2" fmla="*/ 2452 h 2452"/>
                  <a:gd name="connsiteX3" fmla="*/ 658 w 1674"/>
                  <a:gd name="connsiteY3" fmla="*/ 2332 h 2452"/>
                  <a:gd name="connsiteX4" fmla="*/ 658 w 1674"/>
                  <a:gd name="connsiteY4" fmla="*/ 2332 h 2452"/>
                  <a:gd name="connsiteX5" fmla="*/ 897 w 1674"/>
                  <a:gd name="connsiteY5" fmla="*/ 2153 h 2452"/>
                  <a:gd name="connsiteX6" fmla="*/ 1136 w 1674"/>
                  <a:gd name="connsiteY6" fmla="*/ 1914 h 2452"/>
                  <a:gd name="connsiteX7" fmla="*/ 1316 w 1674"/>
                  <a:gd name="connsiteY7" fmla="*/ 1615 h 2452"/>
                  <a:gd name="connsiteX8" fmla="*/ 1495 w 1674"/>
                  <a:gd name="connsiteY8" fmla="*/ 1316 h 2452"/>
                  <a:gd name="connsiteX9" fmla="*/ 1615 w 1674"/>
                  <a:gd name="connsiteY9" fmla="*/ 957 h 2452"/>
                  <a:gd name="connsiteX10" fmla="*/ 1675 w 1674"/>
                  <a:gd name="connsiteY10" fmla="*/ 658 h 2452"/>
                  <a:gd name="connsiteX11" fmla="*/ 1675 w 1674"/>
                  <a:gd name="connsiteY11" fmla="*/ 359 h 2452"/>
                  <a:gd name="connsiteX12" fmla="*/ 1615 w 1674"/>
                  <a:gd name="connsiteY12" fmla="*/ 120 h 2452"/>
                  <a:gd name="connsiteX13" fmla="*/ 1495 w 1674"/>
                  <a:gd name="connsiteY13" fmla="*/ 0 h 2452"/>
                  <a:gd name="connsiteX14" fmla="*/ 1495 w 1674"/>
                  <a:gd name="connsiteY14" fmla="*/ 0 h 2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4" h="2452">
                    <a:moveTo>
                      <a:pt x="0" y="2392"/>
                    </a:moveTo>
                    <a:lnTo>
                      <a:pt x="180" y="2452"/>
                    </a:lnTo>
                    <a:lnTo>
                      <a:pt x="419" y="2452"/>
                    </a:lnTo>
                    <a:lnTo>
                      <a:pt x="658" y="2332"/>
                    </a:lnTo>
                    <a:lnTo>
                      <a:pt x="658" y="2332"/>
                    </a:lnTo>
                    <a:lnTo>
                      <a:pt x="897" y="2153"/>
                    </a:lnTo>
                    <a:lnTo>
                      <a:pt x="1136" y="1914"/>
                    </a:lnTo>
                    <a:lnTo>
                      <a:pt x="1316" y="1615"/>
                    </a:lnTo>
                    <a:lnTo>
                      <a:pt x="1495" y="1316"/>
                    </a:lnTo>
                    <a:lnTo>
                      <a:pt x="1615" y="957"/>
                    </a:lnTo>
                    <a:lnTo>
                      <a:pt x="1675" y="658"/>
                    </a:lnTo>
                    <a:lnTo>
                      <a:pt x="1675" y="359"/>
                    </a:lnTo>
                    <a:lnTo>
                      <a:pt x="1615" y="120"/>
                    </a:lnTo>
                    <a:lnTo>
                      <a:pt x="1495" y="0"/>
                    </a:lnTo>
                    <a:lnTo>
                      <a:pt x="1495" y="0"/>
                    </a:lnTo>
                  </a:path>
                </a:pathLst>
              </a:custGeom>
              <a:noFill/>
              <a:ln w="6350" cap="rnd">
                <a:solidFill>
                  <a:schemeClr val="bg1">
                    <a:alpha val="80000"/>
                  </a:schemeClr>
                </a:solidFill>
                <a:prstDash val="solid"/>
                <a:round/>
              </a:ln>
            </p:spPr>
            <p:txBody>
              <a:bodyPr rtlCol="0" anchor="ctr"/>
              <a:lstStyle/>
              <a:p>
                <a:endParaRPr lang="en-GB"/>
              </a:p>
            </p:txBody>
          </p:sp>
          <p:sp>
            <p:nvSpPr>
              <p:cNvPr id="5567" name="Vrije vorm: vorm 5566">
                <a:extLst>
                  <a:ext uri="{FF2B5EF4-FFF2-40B4-BE49-F238E27FC236}">
                    <a16:creationId xmlns:a16="http://schemas.microsoft.com/office/drawing/2014/main" id="{E3F28C39-5355-4D9B-B408-96B4CB7D652C}"/>
                  </a:ext>
                </a:extLst>
              </p:cNvPr>
              <p:cNvSpPr/>
              <p:nvPr/>
            </p:nvSpPr>
            <p:spPr>
              <a:xfrm>
                <a:off x="6482165" y="1734569"/>
                <a:ext cx="179" cy="418"/>
              </a:xfrm>
              <a:custGeom>
                <a:avLst/>
                <a:gdLst>
                  <a:gd name="connsiteX0" fmla="*/ 0 w 179"/>
                  <a:gd name="connsiteY0" fmla="*/ 0 h 418"/>
                  <a:gd name="connsiteX1" fmla="*/ 60 w 179"/>
                  <a:gd name="connsiteY1" fmla="*/ 239 h 418"/>
                  <a:gd name="connsiteX2" fmla="*/ 179 w 179"/>
                  <a:gd name="connsiteY2" fmla="*/ 419 h 418"/>
                </a:gdLst>
                <a:ahLst/>
                <a:cxnLst>
                  <a:cxn ang="0">
                    <a:pos x="connsiteX0" y="connsiteY0"/>
                  </a:cxn>
                  <a:cxn ang="0">
                    <a:pos x="connsiteX1" y="connsiteY1"/>
                  </a:cxn>
                  <a:cxn ang="0">
                    <a:pos x="connsiteX2" y="connsiteY2"/>
                  </a:cxn>
                </a:cxnLst>
                <a:rect l="l" t="t" r="r" b="b"/>
                <a:pathLst>
                  <a:path w="179" h="418">
                    <a:moveTo>
                      <a:pt x="0" y="0"/>
                    </a:moveTo>
                    <a:lnTo>
                      <a:pt x="60" y="239"/>
                    </a:lnTo>
                    <a:lnTo>
                      <a:pt x="179" y="419"/>
                    </a:lnTo>
                  </a:path>
                </a:pathLst>
              </a:custGeom>
              <a:noFill/>
              <a:ln w="6350" cap="rnd">
                <a:solidFill>
                  <a:schemeClr val="bg1">
                    <a:alpha val="80000"/>
                  </a:schemeClr>
                </a:solidFill>
                <a:prstDash val="solid"/>
                <a:round/>
              </a:ln>
            </p:spPr>
            <p:txBody>
              <a:bodyPr rtlCol="0" anchor="ctr"/>
              <a:lstStyle/>
              <a:p>
                <a:endParaRPr lang="en-GB"/>
              </a:p>
            </p:txBody>
          </p:sp>
          <p:sp>
            <p:nvSpPr>
              <p:cNvPr id="5568" name="Vrije vorm: vorm 5567">
                <a:extLst>
                  <a:ext uri="{FF2B5EF4-FFF2-40B4-BE49-F238E27FC236}">
                    <a16:creationId xmlns:a16="http://schemas.microsoft.com/office/drawing/2014/main" id="{05DC0824-CBB9-4845-B9E0-1CD510E07D47}"/>
                  </a:ext>
                </a:extLst>
              </p:cNvPr>
              <p:cNvSpPr/>
              <p:nvPr/>
            </p:nvSpPr>
            <p:spPr>
              <a:xfrm>
                <a:off x="6482165" y="1732476"/>
                <a:ext cx="1614" cy="1495"/>
              </a:xfrm>
              <a:custGeom>
                <a:avLst/>
                <a:gdLst>
                  <a:gd name="connsiteX0" fmla="*/ 1615 w 1614"/>
                  <a:gd name="connsiteY0" fmla="*/ 60 h 1495"/>
                  <a:gd name="connsiteX1" fmla="*/ 1435 w 1614"/>
                  <a:gd name="connsiteY1" fmla="*/ 0 h 1495"/>
                  <a:gd name="connsiteX2" fmla="*/ 1196 w 1614"/>
                  <a:gd name="connsiteY2" fmla="*/ 0 h 1495"/>
                  <a:gd name="connsiteX3" fmla="*/ 957 w 1614"/>
                  <a:gd name="connsiteY3" fmla="*/ 120 h 1495"/>
                  <a:gd name="connsiteX4" fmla="*/ 718 w 1614"/>
                  <a:gd name="connsiteY4" fmla="*/ 299 h 1495"/>
                  <a:gd name="connsiteX5" fmla="*/ 478 w 1614"/>
                  <a:gd name="connsiteY5" fmla="*/ 538 h 1495"/>
                  <a:gd name="connsiteX6" fmla="*/ 299 w 1614"/>
                  <a:gd name="connsiteY6" fmla="*/ 837 h 1495"/>
                  <a:gd name="connsiteX7" fmla="*/ 119 w 1614"/>
                  <a:gd name="connsiteY7" fmla="*/ 1136 h 1495"/>
                  <a:gd name="connsiteX8" fmla="*/ 0 w 1614"/>
                  <a:gd name="connsiteY8" fmla="*/ 1495 h 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4" h="1495">
                    <a:moveTo>
                      <a:pt x="1615" y="60"/>
                    </a:moveTo>
                    <a:lnTo>
                      <a:pt x="1435" y="0"/>
                    </a:lnTo>
                    <a:lnTo>
                      <a:pt x="1196" y="0"/>
                    </a:lnTo>
                    <a:lnTo>
                      <a:pt x="957" y="120"/>
                    </a:lnTo>
                    <a:lnTo>
                      <a:pt x="718" y="299"/>
                    </a:lnTo>
                    <a:lnTo>
                      <a:pt x="478" y="538"/>
                    </a:lnTo>
                    <a:lnTo>
                      <a:pt x="299" y="837"/>
                    </a:lnTo>
                    <a:lnTo>
                      <a:pt x="119" y="1136"/>
                    </a:lnTo>
                    <a:lnTo>
                      <a:pt x="0" y="1495"/>
                    </a:lnTo>
                  </a:path>
                </a:pathLst>
              </a:custGeom>
              <a:noFill/>
              <a:ln w="6350" cap="rnd">
                <a:solidFill>
                  <a:schemeClr val="bg1">
                    <a:alpha val="80000"/>
                  </a:schemeClr>
                </a:solidFill>
                <a:prstDash val="solid"/>
                <a:round/>
              </a:ln>
            </p:spPr>
            <p:txBody>
              <a:bodyPr rtlCol="0" anchor="ctr"/>
              <a:lstStyle/>
              <a:p>
                <a:endParaRPr lang="en-GB"/>
              </a:p>
            </p:txBody>
          </p:sp>
          <p:sp>
            <p:nvSpPr>
              <p:cNvPr id="5569" name="Vrije vorm: vorm 5568">
                <a:extLst>
                  <a:ext uri="{FF2B5EF4-FFF2-40B4-BE49-F238E27FC236}">
                    <a16:creationId xmlns:a16="http://schemas.microsoft.com/office/drawing/2014/main" id="{433B667B-590D-4CD1-8403-78A79E3DB9D8}"/>
                  </a:ext>
                </a:extLst>
              </p:cNvPr>
              <p:cNvSpPr/>
              <p:nvPr/>
            </p:nvSpPr>
            <p:spPr>
              <a:xfrm>
                <a:off x="6481388" y="1710945"/>
                <a:ext cx="2571" cy="1375"/>
              </a:xfrm>
              <a:custGeom>
                <a:avLst/>
                <a:gdLst>
                  <a:gd name="connsiteX0" fmla="*/ 0 w 2571"/>
                  <a:gd name="connsiteY0" fmla="*/ 0 h 1375"/>
                  <a:gd name="connsiteX1" fmla="*/ 0 w 2571"/>
                  <a:gd name="connsiteY1" fmla="*/ 0 h 1375"/>
                  <a:gd name="connsiteX2" fmla="*/ 239 w 2571"/>
                  <a:gd name="connsiteY2" fmla="*/ 120 h 1375"/>
                  <a:gd name="connsiteX3" fmla="*/ 837 w 2571"/>
                  <a:gd name="connsiteY3" fmla="*/ 419 h 1375"/>
                  <a:gd name="connsiteX4" fmla="*/ 1017 w 2571"/>
                  <a:gd name="connsiteY4" fmla="*/ 538 h 1375"/>
                  <a:gd name="connsiteX5" fmla="*/ 1196 w 2571"/>
                  <a:gd name="connsiteY5" fmla="*/ 658 h 1375"/>
                  <a:gd name="connsiteX6" fmla="*/ 1555 w 2571"/>
                  <a:gd name="connsiteY6" fmla="*/ 837 h 1375"/>
                  <a:gd name="connsiteX7" fmla="*/ 1555 w 2571"/>
                  <a:gd name="connsiteY7" fmla="*/ 837 h 1375"/>
                  <a:gd name="connsiteX8" fmla="*/ 1794 w 2571"/>
                  <a:gd name="connsiteY8" fmla="*/ 957 h 1375"/>
                  <a:gd name="connsiteX9" fmla="*/ 2572 w 2571"/>
                  <a:gd name="connsiteY9" fmla="*/ 1376 h 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1" h="1375">
                    <a:moveTo>
                      <a:pt x="0" y="0"/>
                    </a:moveTo>
                    <a:lnTo>
                      <a:pt x="0" y="0"/>
                    </a:lnTo>
                    <a:lnTo>
                      <a:pt x="239" y="120"/>
                    </a:lnTo>
                    <a:lnTo>
                      <a:pt x="837" y="419"/>
                    </a:lnTo>
                    <a:lnTo>
                      <a:pt x="1017" y="538"/>
                    </a:lnTo>
                    <a:lnTo>
                      <a:pt x="1196" y="658"/>
                    </a:lnTo>
                    <a:lnTo>
                      <a:pt x="1555" y="837"/>
                    </a:lnTo>
                    <a:lnTo>
                      <a:pt x="1555" y="837"/>
                    </a:lnTo>
                    <a:lnTo>
                      <a:pt x="1794" y="957"/>
                    </a:lnTo>
                    <a:lnTo>
                      <a:pt x="2572" y="1376"/>
                    </a:lnTo>
                  </a:path>
                </a:pathLst>
              </a:custGeom>
              <a:noFill/>
              <a:ln w="6350" cap="rnd">
                <a:solidFill>
                  <a:schemeClr val="bg1">
                    <a:alpha val="80000"/>
                  </a:schemeClr>
                </a:solidFill>
                <a:prstDash val="solid"/>
                <a:round/>
              </a:ln>
            </p:spPr>
            <p:txBody>
              <a:bodyPr rtlCol="0" anchor="ctr"/>
              <a:lstStyle/>
              <a:p>
                <a:endParaRPr lang="en-GB"/>
              </a:p>
            </p:txBody>
          </p:sp>
          <p:sp>
            <p:nvSpPr>
              <p:cNvPr id="5570" name="Vrije vorm: vorm 5569">
                <a:extLst>
                  <a:ext uri="{FF2B5EF4-FFF2-40B4-BE49-F238E27FC236}">
                    <a16:creationId xmlns:a16="http://schemas.microsoft.com/office/drawing/2014/main" id="{3B5C3572-C9B1-487F-B326-CFB4D6CD00A2}"/>
                  </a:ext>
                </a:extLst>
              </p:cNvPr>
              <p:cNvSpPr/>
              <p:nvPr/>
            </p:nvSpPr>
            <p:spPr>
              <a:xfrm>
                <a:off x="6483601" y="1723564"/>
                <a:ext cx="2093" cy="3648"/>
              </a:xfrm>
              <a:custGeom>
                <a:avLst/>
                <a:gdLst>
                  <a:gd name="connsiteX0" fmla="*/ 0 w 2093"/>
                  <a:gd name="connsiteY0" fmla="*/ 3648 h 3648"/>
                  <a:gd name="connsiteX1" fmla="*/ 0 w 2093"/>
                  <a:gd name="connsiteY1" fmla="*/ 3409 h 3648"/>
                  <a:gd name="connsiteX2" fmla="*/ 0 w 2093"/>
                  <a:gd name="connsiteY2" fmla="*/ 3170 h 3648"/>
                  <a:gd name="connsiteX3" fmla="*/ 120 w 2093"/>
                  <a:gd name="connsiteY3" fmla="*/ 2572 h 3648"/>
                  <a:gd name="connsiteX4" fmla="*/ 239 w 2093"/>
                  <a:gd name="connsiteY4" fmla="*/ 2273 h 3648"/>
                  <a:gd name="connsiteX5" fmla="*/ 359 w 2093"/>
                  <a:gd name="connsiteY5" fmla="*/ 1974 h 3648"/>
                  <a:gd name="connsiteX6" fmla="*/ 658 w 2093"/>
                  <a:gd name="connsiteY6" fmla="*/ 1376 h 3648"/>
                  <a:gd name="connsiteX7" fmla="*/ 837 w 2093"/>
                  <a:gd name="connsiteY7" fmla="*/ 1136 h 3648"/>
                  <a:gd name="connsiteX8" fmla="*/ 1017 w 2093"/>
                  <a:gd name="connsiteY8" fmla="*/ 837 h 3648"/>
                  <a:gd name="connsiteX9" fmla="*/ 1435 w 2093"/>
                  <a:gd name="connsiteY9" fmla="*/ 419 h 3648"/>
                  <a:gd name="connsiteX10" fmla="*/ 1854 w 2093"/>
                  <a:gd name="connsiteY10" fmla="*/ 120 h 3648"/>
                  <a:gd name="connsiteX11" fmla="*/ 2093 w 2093"/>
                  <a:gd name="connsiteY11" fmla="*/ 0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93" h="3648">
                    <a:moveTo>
                      <a:pt x="0" y="3648"/>
                    </a:moveTo>
                    <a:lnTo>
                      <a:pt x="0" y="3409"/>
                    </a:lnTo>
                    <a:lnTo>
                      <a:pt x="0" y="3170"/>
                    </a:lnTo>
                    <a:lnTo>
                      <a:pt x="120" y="2572"/>
                    </a:lnTo>
                    <a:lnTo>
                      <a:pt x="239" y="2273"/>
                    </a:lnTo>
                    <a:lnTo>
                      <a:pt x="359" y="1974"/>
                    </a:lnTo>
                    <a:lnTo>
                      <a:pt x="658" y="1376"/>
                    </a:lnTo>
                    <a:lnTo>
                      <a:pt x="837" y="1136"/>
                    </a:lnTo>
                    <a:lnTo>
                      <a:pt x="1017" y="837"/>
                    </a:lnTo>
                    <a:lnTo>
                      <a:pt x="1435" y="419"/>
                    </a:lnTo>
                    <a:lnTo>
                      <a:pt x="1854" y="120"/>
                    </a:lnTo>
                    <a:lnTo>
                      <a:pt x="2093" y="0"/>
                    </a:lnTo>
                  </a:path>
                </a:pathLst>
              </a:custGeom>
              <a:noFill/>
              <a:ln w="6350" cap="rnd">
                <a:solidFill>
                  <a:schemeClr val="bg1">
                    <a:alpha val="80000"/>
                  </a:schemeClr>
                </a:solidFill>
                <a:prstDash val="solid"/>
                <a:round/>
              </a:ln>
            </p:spPr>
            <p:txBody>
              <a:bodyPr rtlCol="0" anchor="ctr"/>
              <a:lstStyle/>
              <a:p>
                <a:endParaRPr lang="en-GB"/>
              </a:p>
            </p:txBody>
          </p:sp>
          <p:sp>
            <p:nvSpPr>
              <p:cNvPr id="5571" name="Vrije vorm: vorm 5570">
                <a:extLst>
                  <a:ext uri="{FF2B5EF4-FFF2-40B4-BE49-F238E27FC236}">
                    <a16:creationId xmlns:a16="http://schemas.microsoft.com/office/drawing/2014/main" id="{7690418E-A03D-40B4-BBD8-C580988EB7EE}"/>
                  </a:ext>
                </a:extLst>
              </p:cNvPr>
              <p:cNvSpPr/>
              <p:nvPr/>
            </p:nvSpPr>
            <p:spPr>
              <a:xfrm>
                <a:off x="6452322" y="1565793"/>
                <a:ext cx="3109" cy="4724"/>
              </a:xfrm>
              <a:custGeom>
                <a:avLst/>
                <a:gdLst>
                  <a:gd name="connsiteX0" fmla="*/ 0 w 3109"/>
                  <a:gd name="connsiteY0" fmla="*/ 4725 h 4724"/>
                  <a:gd name="connsiteX1" fmla="*/ 0 w 3109"/>
                  <a:gd name="connsiteY1" fmla="*/ 4246 h 4724"/>
                  <a:gd name="connsiteX2" fmla="*/ 119 w 3109"/>
                  <a:gd name="connsiteY2" fmla="*/ 3648 h 4724"/>
                  <a:gd name="connsiteX3" fmla="*/ 359 w 3109"/>
                  <a:gd name="connsiteY3" fmla="*/ 2990 h 4724"/>
                  <a:gd name="connsiteX4" fmla="*/ 718 w 3109"/>
                  <a:gd name="connsiteY4" fmla="*/ 2273 h 4724"/>
                  <a:gd name="connsiteX5" fmla="*/ 1136 w 3109"/>
                  <a:gd name="connsiteY5" fmla="*/ 1615 h 4724"/>
                  <a:gd name="connsiteX6" fmla="*/ 1615 w 3109"/>
                  <a:gd name="connsiteY6" fmla="*/ 1017 h 4724"/>
                  <a:gd name="connsiteX7" fmla="*/ 2153 w 3109"/>
                  <a:gd name="connsiteY7" fmla="*/ 538 h 4724"/>
                  <a:gd name="connsiteX8" fmla="*/ 2632 w 3109"/>
                  <a:gd name="connsiteY8" fmla="*/ 179 h 4724"/>
                  <a:gd name="connsiteX9" fmla="*/ 3110 w 3109"/>
                  <a:gd name="connsiteY9" fmla="*/ 0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9" h="4724">
                    <a:moveTo>
                      <a:pt x="0" y="4725"/>
                    </a:moveTo>
                    <a:lnTo>
                      <a:pt x="0" y="4246"/>
                    </a:lnTo>
                    <a:lnTo>
                      <a:pt x="119" y="3648"/>
                    </a:lnTo>
                    <a:lnTo>
                      <a:pt x="359" y="2990"/>
                    </a:lnTo>
                    <a:lnTo>
                      <a:pt x="718" y="2273"/>
                    </a:lnTo>
                    <a:lnTo>
                      <a:pt x="1136" y="1615"/>
                    </a:lnTo>
                    <a:lnTo>
                      <a:pt x="1615" y="1017"/>
                    </a:lnTo>
                    <a:lnTo>
                      <a:pt x="2153" y="538"/>
                    </a:lnTo>
                    <a:lnTo>
                      <a:pt x="2632" y="179"/>
                    </a:lnTo>
                    <a:lnTo>
                      <a:pt x="3110" y="0"/>
                    </a:lnTo>
                  </a:path>
                </a:pathLst>
              </a:custGeom>
              <a:noFill/>
              <a:ln w="6350" cap="rnd">
                <a:solidFill>
                  <a:schemeClr val="bg1">
                    <a:alpha val="80000"/>
                  </a:schemeClr>
                </a:solidFill>
                <a:prstDash val="solid"/>
                <a:round/>
              </a:ln>
            </p:spPr>
            <p:txBody>
              <a:bodyPr rtlCol="0" anchor="ctr"/>
              <a:lstStyle/>
              <a:p>
                <a:endParaRPr lang="en-GB"/>
              </a:p>
            </p:txBody>
          </p:sp>
          <p:sp>
            <p:nvSpPr>
              <p:cNvPr id="5572" name="Vrije vorm: vorm 5571">
                <a:extLst>
                  <a:ext uri="{FF2B5EF4-FFF2-40B4-BE49-F238E27FC236}">
                    <a16:creationId xmlns:a16="http://schemas.microsoft.com/office/drawing/2014/main" id="{8B9E650D-0B02-4AEB-9B1F-E6F9947B6413}"/>
                  </a:ext>
                </a:extLst>
              </p:cNvPr>
              <p:cNvSpPr/>
              <p:nvPr/>
            </p:nvSpPr>
            <p:spPr>
              <a:xfrm>
                <a:off x="6451663" y="1565374"/>
                <a:ext cx="3767" cy="5143"/>
              </a:xfrm>
              <a:custGeom>
                <a:avLst/>
                <a:gdLst>
                  <a:gd name="connsiteX0" fmla="*/ 0 w 3767"/>
                  <a:gd name="connsiteY0" fmla="*/ 4964 h 5143"/>
                  <a:gd name="connsiteX1" fmla="*/ 239 w 3767"/>
                  <a:gd name="connsiteY1" fmla="*/ 5143 h 5143"/>
                  <a:gd name="connsiteX2" fmla="*/ 598 w 3767"/>
                  <a:gd name="connsiteY2" fmla="*/ 5143 h 5143"/>
                  <a:gd name="connsiteX3" fmla="*/ 598 w 3767"/>
                  <a:gd name="connsiteY3" fmla="*/ 5143 h 5143"/>
                  <a:gd name="connsiteX4" fmla="*/ 1017 w 3767"/>
                  <a:gd name="connsiteY4" fmla="*/ 4964 h 5143"/>
                  <a:gd name="connsiteX5" fmla="*/ 1555 w 3767"/>
                  <a:gd name="connsiteY5" fmla="*/ 4605 h 5143"/>
                  <a:gd name="connsiteX6" fmla="*/ 2093 w 3767"/>
                  <a:gd name="connsiteY6" fmla="*/ 4127 h 5143"/>
                  <a:gd name="connsiteX7" fmla="*/ 2572 w 3767"/>
                  <a:gd name="connsiteY7" fmla="*/ 3529 h 5143"/>
                  <a:gd name="connsiteX8" fmla="*/ 3050 w 3767"/>
                  <a:gd name="connsiteY8" fmla="*/ 2871 h 5143"/>
                  <a:gd name="connsiteX9" fmla="*/ 3409 w 3767"/>
                  <a:gd name="connsiteY9" fmla="*/ 2153 h 5143"/>
                  <a:gd name="connsiteX10" fmla="*/ 3649 w 3767"/>
                  <a:gd name="connsiteY10" fmla="*/ 1495 h 5143"/>
                  <a:gd name="connsiteX11" fmla="*/ 3768 w 3767"/>
                  <a:gd name="connsiteY11" fmla="*/ 897 h 5143"/>
                  <a:gd name="connsiteX12" fmla="*/ 3768 w 3767"/>
                  <a:gd name="connsiteY12" fmla="*/ 419 h 5143"/>
                  <a:gd name="connsiteX13" fmla="*/ 3768 w 3767"/>
                  <a:gd name="connsiteY13" fmla="*/ 359 h 5143"/>
                  <a:gd name="connsiteX14" fmla="*/ 3649 w 3767"/>
                  <a:gd name="connsiteY14" fmla="*/ 0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7" h="5143">
                    <a:moveTo>
                      <a:pt x="0" y="4964"/>
                    </a:moveTo>
                    <a:lnTo>
                      <a:pt x="239" y="5143"/>
                    </a:lnTo>
                    <a:lnTo>
                      <a:pt x="598" y="5143"/>
                    </a:lnTo>
                    <a:lnTo>
                      <a:pt x="598" y="5143"/>
                    </a:lnTo>
                    <a:lnTo>
                      <a:pt x="1017" y="4964"/>
                    </a:lnTo>
                    <a:lnTo>
                      <a:pt x="1555" y="4605"/>
                    </a:lnTo>
                    <a:lnTo>
                      <a:pt x="2093" y="4127"/>
                    </a:lnTo>
                    <a:lnTo>
                      <a:pt x="2572" y="3529"/>
                    </a:lnTo>
                    <a:lnTo>
                      <a:pt x="3050" y="2871"/>
                    </a:lnTo>
                    <a:lnTo>
                      <a:pt x="3409" y="2153"/>
                    </a:lnTo>
                    <a:lnTo>
                      <a:pt x="3649" y="1495"/>
                    </a:lnTo>
                    <a:lnTo>
                      <a:pt x="3768" y="897"/>
                    </a:lnTo>
                    <a:lnTo>
                      <a:pt x="3768" y="419"/>
                    </a:lnTo>
                    <a:lnTo>
                      <a:pt x="3768" y="359"/>
                    </a:lnTo>
                    <a:lnTo>
                      <a:pt x="3649" y="0"/>
                    </a:lnTo>
                  </a:path>
                </a:pathLst>
              </a:custGeom>
              <a:noFill/>
              <a:ln w="6350" cap="rnd">
                <a:solidFill>
                  <a:schemeClr val="bg1">
                    <a:alpha val="80000"/>
                  </a:schemeClr>
                </a:solidFill>
                <a:prstDash val="solid"/>
                <a:round/>
              </a:ln>
            </p:spPr>
            <p:txBody>
              <a:bodyPr rtlCol="0" anchor="ctr"/>
              <a:lstStyle/>
              <a:p>
                <a:endParaRPr lang="en-GB"/>
              </a:p>
            </p:txBody>
          </p:sp>
          <p:sp>
            <p:nvSpPr>
              <p:cNvPr id="5573" name="Vrije vorm: vorm 5572">
                <a:extLst>
                  <a:ext uri="{FF2B5EF4-FFF2-40B4-BE49-F238E27FC236}">
                    <a16:creationId xmlns:a16="http://schemas.microsoft.com/office/drawing/2014/main" id="{E7273BD3-3B3B-406C-A817-9EC9A2735E7E}"/>
                  </a:ext>
                </a:extLst>
              </p:cNvPr>
              <p:cNvSpPr/>
              <p:nvPr/>
            </p:nvSpPr>
            <p:spPr>
              <a:xfrm>
                <a:off x="6451544" y="1565255"/>
                <a:ext cx="3767" cy="5083"/>
              </a:xfrm>
              <a:custGeom>
                <a:avLst/>
                <a:gdLst>
                  <a:gd name="connsiteX0" fmla="*/ 119 w 3767"/>
                  <a:gd name="connsiteY0" fmla="*/ 5084 h 5083"/>
                  <a:gd name="connsiteX1" fmla="*/ 0 w 3767"/>
                  <a:gd name="connsiteY1" fmla="*/ 4725 h 5083"/>
                  <a:gd name="connsiteX2" fmla="*/ 0 w 3767"/>
                  <a:gd name="connsiteY2" fmla="*/ 4246 h 5083"/>
                  <a:gd name="connsiteX3" fmla="*/ 119 w 3767"/>
                  <a:gd name="connsiteY3" fmla="*/ 3648 h 5083"/>
                  <a:gd name="connsiteX4" fmla="*/ 359 w 3767"/>
                  <a:gd name="connsiteY4" fmla="*/ 2990 h 5083"/>
                  <a:gd name="connsiteX5" fmla="*/ 718 w 3767"/>
                  <a:gd name="connsiteY5" fmla="*/ 2273 h 5083"/>
                  <a:gd name="connsiteX6" fmla="*/ 1136 w 3767"/>
                  <a:gd name="connsiteY6" fmla="*/ 1615 h 5083"/>
                  <a:gd name="connsiteX7" fmla="*/ 1615 w 3767"/>
                  <a:gd name="connsiteY7" fmla="*/ 1017 h 5083"/>
                  <a:gd name="connsiteX8" fmla="*/ 2153 w 3767"/>
                  <a:gd name="connsiteY8" fmla="*/ 538 h 5083"/>
                  <a:gd name="connsiteX9" fmla="*/ 2632 w 3767"/>
                  <a:gd name="connsiteY9" fmla="*/ 179 h 5083"/>
                  <a:gd name="connsiteX10" fmla="*/ 3110 w 3767"/>
                  <a:gd name="connsiteY10" fmla="*/ 0 h 5083"/>
                  <a:gd name="connsiteX11" fmla="*/ 3469 w 3767"/>
                  <a:gd name="connsiteY11" fmla="*/ 0 h 5083"/>
                  <a:gd name="connsiteX12" fmla="*/ 3768 w 3767"/>
                  <a:gd name="connsiteY12" fmla="*/ 179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67" h="5083">
                    <a:moveTo>
                      <a:pt x="119" y="5084"/>
                    </a:moveTo>
                    <a:lnTo>
                      <a:pt x="0" y="4725"/>
                    </a:lnTo>
                    <a:lnTo>
                      <a:pt x="0" y="4246"/>
                    </a:lnTo>
                    <a:lnTo>
                      <a:pt x="119" y="3648"/>
                    </a:lnTo>
                    <a:lnTo>
                      <a:pt x="359" y="2990"/>
                    </a:lnTo>
                    <a:lnTo>
                      <a:pt x="718" y="2273"/>
                    </a:lnTo>
                    <a:lnTo>
                      <a:pt x="1136" y="1615"/>
                    </a:lnTo>
                    <a:lnTo>
                      <a:pt x="1615" y="1017"/>
                    </a:lnTo>
                    <a:lnTo>
                      <a:pt x="2153" y="538"/>
                    </a:lnTo>
                    <a:lnTo>
                      <a:pt x="2632" y="179"/>
                    </a:lnTo>
                    <a:lnTo>
                      <a:pt x="3110" y="0"/>
                    </a:lnTo>
                    <a:lnTo>
                      <a:pt x="3469" y="0"/>
                    </a:lnTo>
                    <a:lnTo>
                      <a:pt x="3768" y="179"/>
                    </a:lnTo>
                  </a:path>
                </a:pathLst>
              </a:custGeom>
              <a:noFill/>
              <a:ln w="6350" cap="rnd">
                <a:solidFill>
                  <a:schemeClr val="bg1">
                    <a:alpha val="80000"/>
                  </a:schemeClr>
                </a:solidFill>
                <a:prstDash val="solid"/>
                <a:round/>
              </a:ln>
            </p:spPr>
            <p:txBody>
              <a:bodyPr rtlCol="0" anchor="ctr"/>
              <a:lstStyle/>
              <a:p>
                <a:endParaRPr lang="en-GB"/>
              </a:p>
            </p:txBody>
          </p:sp>
          <p:sp>
            <p:nvSpPr>
              <p:cNvPr id="5574" name="Vrije vorm: vorm 5573">
                <a:extLst>
                  <a:ext uri="{FF2B5EF4-FFF2-40B4-BE49-F238E27FC236}">
                    <a16:creationId xmlns:a16="http://schemas.microsoft.com/office/drawing/2014/main" id="{849D1F0D-859F-433F-B5CE-8850C7CBC31B}"/>
                  </a:ext>
                </a:extLst>
              </p:cNvPr>
              <p:cNvSpPr/>
              <p:nvPr/>
            </p:nvSpPr>
            <p:spPr>
              <a:xfrm>
                <a:off x="6524030" y="1715431"/>
                <a:ext cx="5562" cy="4724"/>
              </a:xfrm>
              <a:custGeom>
                <a:avLst/>
                <a:gdLst>
                  <a:gd name="connsiteX0" fmla="*/ 0 w 5562"/>
                  <a:gd name="connsiteY0" fmla="*/ 0 h 4724"/>
                  <a:gd name="connsiteX1" fmla="*/ 2392 w 5562"/>
                  <a:gd name="connsiteY1" fmla="*/ 1376 h 4724"/>
                  <a:gd name="connsiteX2" fmla="*/ 4545 w 5562"/>
                  <a:gd name="connsiteY2" fmla="*/ 3469 h 4724"/>
                  <a:gd name="connsiteX3" fmla="*/ 4844 w 5562"/>
                  <a:gd name="connsiteY3" fmla="*/ 3768 h 4724"/>
                  <a:gd name="connsiteX4" fmla="*/ 5382 w 5562"/>
                  <a:gd name="connsiteY4" fmla="*/ 4306 h 4724"/>
                  <a:gd name="connsiteX5" fmla="*/ 5502 w 5562"/>
                  <a:gd name="connsiteY5" fmla="*/ 4605 h 4724"/>
                  <a:gd name="connsiteX6" fmla="*/ 5562 w 5562"/>
                  <a:gd name="connsiteY6"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 h="4724">
                    <a:moveTo>
                      <a:pt x="0" y="0"/>
                    </a:moveTo>
                    <a:lnTo>
                      <a:pt x="2392" y="1376"/>
                    </a:lnTo>
                    <a:lnTo>
                      <a:pt x="4545" y="3469"/>
                    </a:lnTo>
                    <a:lnTo>
                      <a:pt x="4844" y="3768"/>
                    </a:lnTo>
                    <a:lnTo>
                      <a:pt x="5382" y="4306"/>
                    </a:lnTo>
                    <a:lnTo>
                      <a:pt x="5502" y="4605"/>
                    </a:lnTo>
                    <a:lnTo>
                      <a:pt x="5562" y="4725"/>
                    </a:lnTo>
                  </a:path>
                </a:pathLst>
              </a:custGeom>
              <a:noFill/>
              <a:ln w="6350" cap="rnd">
                <a:solidFill>
                  <a:schemeClr val="bg1">
                    <a:alpha val="80000"/>
                  </a:schemeClr>
                </a:solidFill>
                <a:prstDash val="solid"/>
                <a:round/>
              </a:ln>
            </p:spPr>
            <p:txBody>
              <a:bodyPr rtlCol="0" anchor="ctr"/>
              <a:lstStyle/>
              <a:p>
                <a:endParaRPr lang="en-GB"/>
              </a:p>
            </p:txBody>
          </p:sp>
          <p:sp>
            <p:nvSpPr>
              <p:cNvPr id="5575" name="Vrije vorm: vorm 5574">
                <a:extLst>
                  <a:ext uri="{FF2B5EF4-FFF2-40B4-BE49-F238E27FC236}">
                    <a16:creationId xmlns:a16="http://schemas.microsoft.com/office/drawing/2014/main" id="{42419AFC-A1BB-4A54-8F3D-E2F9C743432B}"/>
                  </a:ext>
                </a:extLst>
              </p:cNvPr>
              <p:cNvSpPr/>
              <p:nvPr/>
            </p:nvSpPr>
            <p:spPr>
              <a:xfrm>
                <a:off x="6498373" y="1763456"/>
                <a:ext cx="4126" cy="1973"/>
              </a:xfrm>
              <a:custGeom>
                <a:avLst/>
                <a:gdLst>
                  <a:gd name="connsiteX0" fmla="*/ 4127 w 4126"/>
                  <a:gd name="connsiteY0" fmla="*/ 1974 h 1973"/>
                  <a:gd name="connsiteX1" fmla="*/ 2273 w 4126"/>
                  <a:gd name="connsiteY1" fmla="*/ 1136 h 1973"/>
                  <a:gd name="connsiteX2" fmla="*/ 1196 w 4126"/>
                  <a:gd name="connsiteY2" fmla="*/ 598 h 1973"/>
                  <a:gd name="connsiteX3" fmla="*/ 359 w 4126"/>
                  <a:gd name="connsiteY3" fmla="*/ 179 h 1973"/>
                  <a:gd name="connsiteX4" fmla="*/ 0 w 4126"/>
                  <a:gd name="connsiteY4" fmla="*/ 0 h 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6" h="1973">
                    <a:moveTo>
                      <a:pt x="4127" y="1974"/>
                    </a:moveTo>
                    <a:lnTo>
                      <a:pt x="2273" y="1136"/>
                    </a:lnTo>
                    <a:lnTo>
                      <a:pt x="1196" y="598"/>
                    </a:lnTo>
                    <a:lnTo>
                      <a:pt x="359" y="17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76" name="Vrije vorm: vorm 5575">
                <a:extLst>
                  <a:ext uri="{FF2B5EF4-FFF2-40B4-BE49-F238E27FC236}">
                    <a16:creationId xmlns:a16="http://schemas.microsoft.com/office/drawing/2014/main" id="{787BDDB3-17A9-4712-A8CA-694271D15704}"/>
                  </a:ext>
                </a:extLst>
              </p:cNvPr>
              <p:cNvSpPr/>
              <p:nvPr/>
            </p:nvSpPr>
            <p:spPr>
              <a:xfrm>
                <a:off x="6424750" y="1691568"/>
                <a:ext cx="33910" cy="28946"/>
              </a:xfrm>
              <a:custGeom>
                <a:avLst/>
                <a:gdLst>
                  <a:gd name="connsiteX0" fmla="*/ 0 w 33910"/>
                  <a:gd name="connsiteY0" fmla="*/ 28947 h 28946"/>
                  <a:gd name="connsiteX1" fmla="*/ 419 w 33910"/>
                  <a:gd name="connsiteY1" fmla="*/ 27033 h 28946"/>
                  <a:gd name="connsiteX2" fmla="*/ 1854 w 33910"/>
                  <a:gd name="connsiteY2" fmla="*/ 24102 h 28946"/>
                  <a:gd name="connsiteX3" fmla="*/ 3290 w 33910"/>
                  <a:gd name="connsiteY3" fmla="*/ 21172 h 28946"/>
                  <a:gd name="connsiteX4" fmla="*/ 4187 w 33910"/>
                  <a:gd name="connsiteY4" fmla="*/ 19437 h 28946"/>
                  <a:gd name="connsiteX5" fmla="*/ 6280 w 33910"/>
                  <a:gd name="connsiteY5" fmla="*/ 16925 h 28946"/>
                  <a:gd name="connsiteX6" fmla="*/ 8373 w 33910"/>
                  <a:gd name="connsiteY6" fmla="*/ 14414 h 28946"/>
                  <a:gd name="connsiteX7" fmla="*/ 9988 w 33910"/>
                  <a:gd name="connsiteY7" fmla="*/ 12440 h 28946"/>
                  <a:gd name="connsiteX8" fmla="*/ 12500 w 33910"/>
                  <a:gd name="connsiteY8" fmla="*/ 10406 h 28946"/>
                  <a:gd name="connsiteX9" fmla="*/ 15012 w 33910"/>
                  <a:gd name="connsiteY9" fmla="*/ 8373 h 28946"/>
                  <a:gd name="connsiteX10" fmla="*/ 17284 w 33910"/>
                  <a:gd name="connsiteY10" fmla="*/ 6579 h 28946"/>
                  <a:gd name="connsiteX11" fmla="*/ 20096 w 33910"/>
                  <a:gd name="connsiteY11" fmla="*/ 5143 h 28946"/>
                  <a:gd name="connsiteX12" fmla="*/ 22488 w 33910"/>
                  <a:gd name="connsiteY12" fmla="*/ 3887 h 28946"/>
                  <a:gd name="connsiteX13" fmla="*/ 25299 w 33910"/>
                  <a:gd name="connsiteY13" fmla="*/ 2452 h 28946"/>
                  <a:gd name="connsiteX14" fmla="*/ 25478 w 33910"/>
                  <a:gd name="connsiteY14" fmla="*/ 2332 h 28946"/>
                  <a:gd name="connsiteX15" fmla="*/ 28468 w 33910"/>
                  <a:gd name="connsiteY15" fmla="*/ 1495 h 28946"/>
                  <a:gd name="connsiteX16" fmla="*/ 29784 w 33910"/>
                  <a:gd name="connsiteY16" fmla="*/ 1136 h 28946"/>
                  <a:gd name="connsiteX17" fmla="*/ 32775 w 33910"/>
                  <a:gd name="connsiteY17" fmla="*/ 299 h 28946"/>
                  <a:gd name="connsiteX18" fmla="*/ 33911 w 33910"/>
                  <a:gd name="connsiteY18" fmla="*/ 0 h 2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910" h="28946">
                    <a:moveTo>
                      <a:pt x="0" y="28947"/>
                    </a:moveTo>
                    <a:lnTo>
                      <a:pt x="419" y="27033"/>
                    </a:lnTo>
                    <a:lnTo>
                      <a:pt x="1854" y="24102"/>
                    </a:lnTo>
                    <a:lnTo>
                      <a:pt x="3290" y="21172"/>
                    </a:lnTo>
                    <a:lnTo>
                      <a:pt x="4187" y="19437"/>
                    </a:lnTo>
                    <a:lnTo>
                      <a:pt x="6280" y="16925"/>
                    </a:lnTo>
                    <a:lnTo>
                      <a:pt x="8373" y="14414"/>
                    </a:lnTo>
                    <a:lnTo>
                      <a:pt x="9988" y="12440"/>
                    </a:lnTo>
                    <a:lnTo>
                      <a:pt x="12500" y="10406"/>
                    </a:lnTo>
                    <a:lnTo>
                      <a:pt x="15012" y="8373"/>
                    </a:lnTo>
                    <a:lnTo>
                      <a:pt x="17284" y="6579"/>
                    </a:lnTo>
                    <a:lnTo>
                      <a:pt x="20096" y="5143"/>
                    </a:lnTo>
                    <a:lnTo>
                      <a:pt x="22488" y="3887"/>
                    </a:lnTo>
                    <a:lnTo>
                      <a:pt x="25299" y="2452"/>
                    </a:lnTo>
                    <a:lnTo>
                      <a:pt x="25478" y="2332"/>
                    </a:lnTo>
                    <a:lnTo>
                      <a:pt x="28468" y="1495"/>
                    </a:lnTo>
                    <a:lnTo>
                      <a:pt x="29784" y="1136"/>
                    </a:lnTo>
                    <a:lnTo>
                      <a:pt x="32775" y="299"/>
                    </a:lnTo>
                    <a:lnTo>
                      <a:pt x="33911" y="0"/>
                    </a:lnTo>
                  </a:path>
                </a:pathLst>
              </a:custGeom>
              <a:noFill/>
              <a:ln w="6350" cap="rnd">
                <a:solidFill>
                  <a:schemeClr val="bg1">
                    <a:alpha val="80000"/>
                  </a:schemeClr>
                </a:solidFill>
                <a:prstDash val="solid"/>
                <a:round/>
              </a:ln>
            </p:spPr>
            <p:txBody>
              <a:bodyPr rtlCol="0" anchor="ctr"/>
              <a:lstStyle/>
              <a:p>
                <a:endParaRPr lang="en-GB"/>
              </a:p>
            </p:txBody>
          </p:sp>
          <p:sp>
            <p:nvSpPr>
              <p:cNvPr id="5577" name="Vrije vorm: vorm 5576">
                <a:extLst>
                  <a:ext uri="{FF2B5EF4-FFF2-40B4-BE49-F238E27FC236}">
                    <a16:creationId xmlns:a16="http://schemas.microsoft.com/office/drawing/2014/main" id="{A39E3EA5-225D-4126-B30B-1B9B4CFFD059}"/>
                  </a:ext>
                </a:extLst>
              </p:cNvPr>
              <p:cNvSpPr/>
              <p:nvPr/>
            </p:nvSpPr>
            <p:spPr>
              <a:xfrm>
                <a:off x="6447477" y="1712919"/>
                <a:ext cx="12140" cy="12798"/>
              </a:xfrm>
              <a:custGeom>
                <a:avLst/>
                <a:gdLst>
                  <a:gd name="connsiteX0" fmla="*/ 12141 w 12140"/>
                  <a:gd name="connsiteY0" fmla="*/ 120 h 12798"/>
                  <a:gd name="connsiteX1" fmla="*/ 11423 w 12140"/>
                  <a:gd name="connsiteY1" fmla="*/ 0 h 12798"/>
                  <a:gd name="connsiteX2" fmla="*/ 9270 w 12140"/>
                  <a:gd name="connsiteY2" fmla="*/ 120 h 12798"/>
                  <a:gd name="connsiteX3" fmla="*/ 7057 w 12140"/>
                  <a:gd name="connsiteY3" fmla="*/ 778 h 12798"/>
                  <a:gd name="connsiteX4" fmla="*/ 4904 w 12140"/>
                  <a:gd name="connsiteY4" fmla="*/ 1914 h 12798"/>
                  <a:gd name="connsiteX5" fmla="*/ 2990 w 12140"/>
                  <a:gd name="connsiteY5" fmla="*/ 3409 h 12798"/>
                  <a:gd name="connsiteX6" fmla="*/ 1495 w 12140"/>
                  <a:gd name="connsiteY6" fmla="*/ 5203 h 12798"/>
                  <a:gd name="connsiteX7" fmla="*/ 478 w 12140"/>
                  <a:gd name="connsiteY7" fmla="*/ 7177 h 12798"/>
                  <a:gd name="connsiteX8" fmla="*/ 0 w 12140"/>
                  <a:gd name="connsiteY8" fmla="*/ 9210 h 12798"/>
                  <a:gd name="connsiteX9" fmla="*/ 119 w 12140"/>
                  <a:gd name="connsiteY9" fmla="*/ 11124 h 12798"/>
                  <a:gd name="connsiteX10" fmla="*/ 837 w 12140"/>
                  <a:gd name="connsiteY10" fmla="*/ 12799 h 1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40" h="12798">
                    <a:moveTo>
                      <a:pt x="12141" y="120"/>
                    </a:moveTo>
                    <a:lnTo>
                      <a:pt x="11423" y="0"/>
                    </a:lnTo>
                    <a:lnTo>
                      <a:pt x="9270" y="120"/>
                    </a:lnTo>
                    <a:lnTo>
                      <a:pt x="7057" y="778"/>
                    </a:lnTo>
                    <a:lnTo>
                      <a:pt x="4904" y="1914"/>
                    </a:lnTo>
                    <a:lnTo>
                      <a:pt x="2990" y="3409"/>
                    </a:lnTo>
                    <a:lnTo>
                      <a:pt x="1495" y="5203"/>
                    </a:lnTo>
                    <a:lnTo>
                      <a:pt x="478" y="7177"/>
                    </a:lnTo>
                    <a:lnTo>
                      <a:pt x="0" y="9210"/>
                    </a:lnTo>
                    <a:lnTo>
                      <a:pt x="119" y="11124"/>
                    </a:lnTo>
                    <a:lnTo>
                      <a:pt x="837" y="12799"/>
                    </a:lnTo>
                  </a:path>
                </a:pathLst>
              </a:custGeom>
              <a:noFill/>
              <a:ln w="6350" cap="rnd">
                <a:solidFill>
                  <a:schemeClr val="bg1">
                    <a:alpha val="80000"/>
                  </a:schemeClr>
                </a:solidFill>
                <a:prstDash val="solid"/>
                <a:round/>
              </a:ln>
            </p:spPr>
            <p:txBody>
              <a:bodyPr rtlCol="0" anchor="ctr"/>
              <a:lstStyle/>
              <a:p>
                <a:endParaRPr lang="en-GB"/>
              </a:p>
            </p:txBody>
          </p:sp>
          <p:sp>
            <p:nvSpPr>
              <p:cNvPr id="5578" name="Vrije vorm: vorm 5577">
                <a:extLst>
                  <a:ext uri="{FF2B5EF4-FFF2-40B4-BE49-F238E27FC236}">
                    <a16:creationId xmlns:a16="http://schemas.microsoft.com/office/drawing/2014/main" id="{BE2F14C1-F1D8-44A8-9476-97B6913620A0}"/>
                  </a:ext>
                </a:extLst>
              </p:cNvPr>
              <p:cNvSpPr/>
              <p:nvPr/>
            </p:nvSpPr>
            <p:spPr>
              <a:xfrm>
                <a:off x="6437609" y="1733911"/>
                <a:ext cx="13995" cy="4844"/>
              </a:xfrm>
              <a:custGeom>
                <a:avLst/>
                <a:gdLst>
                  <a:gd name="connsiteX0" fmla="*/ 13995 w 13995"/>
                  <a:gd name="connsiteY0" fmla="*/ 4844 h 4844"/>
                  <a:gd name="connsiteX1" fmla="*/ 13516 w 13995"/>
                  <a:gd name="connsiteY1" fmla="*/ 4844 h 4844"/>
                  <a:gd name="connsiteX2" fmla="*/ 10645 w 13995"/>
                  <a:gd name="connsiteY2" fmla="*/ 4246 h 4844"/>
                  <a:gd name="connsiteX3" fmla="*/ 7775 w 13995"/>
                  <a:gd name="connsiteY3" fmla="*/ 3648 h 4844"/>
                  <a:gd name="connsiteX4" fmla="*/ 6399 w 13995"/>
                  <a:gd name="connsiteY4" fmla="*/ 3349 h 4844"/>
                  <a:gd name="connsiteX5" fmla="*/ 3768 w 13995"/>
                  <a:gd name="connsiteY5" fmla="*/ 2033 h 4844"/>
                  <a:gd name="connsiteX6" fmla="*/ 1136 w 13995"/>
                  <a:gd name="connsiteY6" fmla="*/ 718 h 4844"/>
                  <a:gd name="connsiteX7" fmla="*/ 239 w 13995"/>
                  <a:gd name="connsiteY7" fmla="*/ 239 h 4844"/>
                  <a:gd name="connsiteX8" fmla="*/ 0 w 13995"/>
                  <a:gd name="connsiteY8" fmla="*/ 0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5" h="4844">
                    <a:moveTo>
                      <a:pt x="13995" y="4844"/>
                    </a:moveTo>
                    <a:lnTo>
                      <a:pt x="13516" y="4844"/>
                    </a:lnTo>
                    <a:lnTo>
                      <a:pt x="10645" y="4246"/>
                    </a:lnTo>
                    <a:lnTo>
                      <a:pt x="7775" y="3648"/>
                    </a:lnTo>
                    <a:lnTo>
                      <a:pt x="6399" y="3349"/>
                    </a:lnTo>
                    <a:lnTo>
                      <a:pt x="3768" y="2033"/>
                    </a:lnTo>
                    <a:lnTo>
                      <a:pt x="1136" y="718"/>
                    </a:lnTo>
                    <a:lnTo>
                      <a:pt x="239" y="23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79" name="Vrije vorm: vorm 5578">
                <a:extLst>
                  <a:ext uri="{FF2B5EF4-FFF2-40B4-BE49-F238E27FC236}">
                    <a16:creationId xmlns:a16="http://schemas.microsoft.com/office/drawing/2014/main" id="{F3D955B2-662E-48B8-ACB1-AA5626E5985A}"/>
                  </a:ext>
                </a:extLst>
              </p:cNvPr>
              <p:cNvSpPr/>
              <p:nvPr/>
            </p:nvSpPr>
            <p:spPr>
              <a:xfrm>
                <a:off x="6401784" y="1636306"/>
                <a:ext cx="48503" cy="35944"/>
              </a:xfrm>
              <a:custGeom>
                <a:avLst/>
                <a:gdLst>
                  <a:gd name="connsiteX0" fmla="*/ 598 w 48503"/>
                  <a:gd name="connsiteY0" fmla="*/ 35944 h 35944"/>
                  <a:gd name="connsiteX1" fmla="*/ 239 w 48503"/>
                  <a:gd name="connsiteY1" fmla="*/ 32834 h 35944"/>
                  <a:gd name="connsiteX2" fmla="*/ 0 w 48503"/>
                  <a:gd name="connsiteY2" fmla="*/ 30861 h 35944"/>
                  <a:gd name="connsiteX3" fmla="*/ 598 w 48503"/>
                  <a:gd name="connsiteY3" fmla="*/ 27691 h 35944"/>
                  <a:gd name="connsiteX4" fmla="*/ 1196 w 48503"/>
                  <a:gd name="connsiteY4" fmla="*/ 24521 h 35944"/>
                  <a:gd name="connsiteX5" fmla="*/ 1316 w 48503"/>
                  <a:gd name="connsiteY5" fmla="*/ 23803 h 35944"/>
                  <a:gd name="connsiteX6" fmla="*/ 2691 w 48503"/>
                  <a:gd name="connsiteY6" fmla="*/ 20873 h 35944"/>
                  <a:gd name="connsiteX7" fmla="*/ 4067 w 48503"/>
                  <a:gd name="connsiteY7" fmla="*/ 17942 h 35944"/>
                  <a:gd name="connsiteX8" fmla="*/ 4545 w 48503"/>
                  <a:gd name="connsiteY8" fmla="*/ 16925 h 35944"/>
                  <a:gd name="connsiteX9" fmla="*/ 6579 w 48503"/>
                  <a:gd name="connsiteY9" fmla="*/ 14354 h 35944"/>
                  <a:gd name="connsiteX10" fmla="*/ 8612 w 48503"/>
                  <a:gd name="connsiteY10" fmla="*/ 11782 h 35944"/>
                  <a:gd name="connsiteX11" fmla="*/ 9509 w 48503"/>
                  <a:gd name="connsiteY11" fmla="*/ 10646 h 35944"/>
                  <a:gd name="connsiteX12" fmla="*/ 12021 w 48503"/>
                  <a:gd name="connsiteY12" fmla="*/ 8612 h 35944"/>
                  <a:gd name="connsiteX13" fmla="*/ 14533 w 48503"/>
                  <a:gd name="connsiteY13" fmla="*/ 6579 h 35944"/>
                  <a:gd name="connsiteX14" fmla="*/ 15849 w 48503"/>
                  <a:gd name="connsiteY14" fmla="*/ 5502 h 35944"/>
                  <a:gd name="connsiteX15" fmla="*/ 18660 w 48503"/>
                  <a:gd name="connsiteY15" fmla="*/ 4067 h 35944"/>
                  <a:gd name="connsiteX16" fmla="*/ 21471 w 48503"/>
                  <a:gd name="connsiteY16" fmla="*/ 2632 h 35944"/>
                  <a:gd name="connsiteX17" fmla="*/ 23086 w 48503"/>
                  <a:gd name="connsiteY17" fmla="*/ 1854 h 35944"/>
                  <a:gd name="connsiteX18" fmla="*/ 26076 w 48503"/>
                  <a:gd name="connsiteY18" fmla="*/ 1136 h 35944"/>
                  <a:gd name="connsiteX19" fmla="*/ 29066 w 48503"/>
                  <a:gd name="connsiteY19" fmla="*/ 419 h 35944"/>
                  <a:gd name="connsiteX20" fmla="*/ 30681 w 48503"/>
                  <a:gd name="connsiteY20" fmla="*/ 0 h 35944"/>
                  <a:gd name="connsiteX21" fmla="*/ 33731 w 48503"/>
                  <a:gd name="connsiteY21" fmla="*/ 0 h 35944"/>
                  <a:gd name="connsiteX22" fmla="*/ 36781 w 48503"/>
                  <a:gd name="connsiteY22" fmla="*/ 0 h 35944"/>
                  <a:gd name="connsiteX23" fmla="*/ 38157 w 48503"/>
                  <a:gd name="connsiteY23" fmla="*/ 0 h 35944"/>
                  <a:gd name="connsiteX24" fmla="*/ 41028 w 48503"/>
                  <a:gd name="connsiteY24" fmla="*/ 778 h 35944"/>
                  <a:gd name="connsiteX25" fmla="*/ 43898 w 48503"/>
                  <a:gd name="connsiteY25" fmla="*/ 1555 h 35944"/>
                  <a:gd name="connsiteX26" fmla="*/ 44855 w 48503"/>
                  <a:gd name="connsiteY26" fmla="*/ 1794 h 35944"/>
                  <a:gd name="connsiteX27" fmla="*/ 47367 w 48503"/>
                  <a:gd name="connsiteY27" fmla="*/ 3409 h 35944"/>
                  <a:gd name="connsiteX28" fmla="*/ 48504 w 48503"/>
                  <a:gd name="connsiteY28" fmla="*/ 4127 h 3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8503" h="35944">
                    <a:moveTo>
                      <a:pt x="598" y="35944"/>
                    </a:moveTo>
                    <a:lnTo>
                      <a:pt x="239" y="32834"/>
                    </a:lnTo>
                    <a:lnTo>
                      <a:pt x="0" y="30861"/>
                    </a:lnTo>
                    <a:lnTo>
                      <a:pt x="598" y="27691"/>
                    </a:lnTo>
                    <a:lnTo>
                      <a:pt x="1196" y="24521"/>
                    </a:lnTo>
                    <a:lnTo>
                      <a:pt x="1316" y="23803"/>
                    </a:lnTo>
                    <a:lnTo>
                      <a:pt x="2691" y="20873"/>
                    </a:lnTo>
                    <a:lnTo>
                      <a:pt x="4067" y="17942"/>
                    </a:lnTo>
                    <a:lnTo>
                      <a:pt x="4545" y="16925"/>
                    </a:lnTo>
                    <a:lnTo>
                      <a:pt x="6579" y="14354"/>
                    </a:lnTo>
                    <a:lnTo>
                      <a:pt x="8612" y="11782"/>
                    </a:lnTo>
                    <a:lnTo>
                      <a:pt x="9509" y="10646"/>
                    </a:lnTo>
                    <a:lnTo>
                      <a:pt x="12021" y="8612"/>
                    </a:lnTo>
                    <a:lnTo>
                      <a:pt x="14533" y="6579"/>
                    </a:lnTo>
                    <a:lnTo>
                      <a:pt x="15849" y="5502"/>
                    </a:lnTo>
                    <a:lnTo>
                      <a:pt x="18660" y="4067"/>
                    </a:lnTo>
                    <a:lnTo>
                      <a:pt x="21471" y="2632"/>
                    </a:lnTo>
                    <a:lnTo>
                      <a:pt x="23086" y="1854"/>
                    </a:lnTo>
                    <a:lnTo>
                      <a:pt x="26076" y="1136"/>
                    </a:lnTo>
                    <a:lnTo>
                      <a:pt x="29066" y="419"/>
                    </a:lnTo>
                    <a:lnTo>
                      <a:pt x="30681" y="0"/>
                    </a:lnTo>
                    <a:lnTo>
                      <a:pt x="33731" y="0"/>
                    </a:lnTo>
                    <a:lnTo>
                      <a:pt x="36781" y="0"/>
                    </a:lnTo>
                    <a:lnTo>
                      <a:pt x="38157" y="0"/>
                    </a:lnTo>
                    <a:lnTo>
                      <a:pt x="41028" y="778"/>
                    </a:lnTo>
                    <a:lnTo>
                      <a:pt x="43898" y="1555"/>
                    </a:lnTo>
                    <a:lnTo>
                      <a:pt x="44855" y="1794"/>
                    </a:lnTo>
                    <a:lnTo>
                      <a:pt x="47367" y="3409"/>
                    </a:lnTo>
                    <a:lnTo>
                      <a:pt x="48504" y="4127"/>
                    </a:lnTo>
                  </a:path>
                </a:pathLst>
              </a:custGeom>
              <a:noFill/>
              <a:ln w="6350" cap="rnd">
                <a:solidFill>
                  <a:schemeClr val="bg1">
                    <a:alpha val="80000"/>
                  </a:schemeClr>
                </a:solidFill>
                <a:prstDash val="solid"/>
                <a:round/>
              </a:ln>
            </p:spPr>
            <p:txBody>
              <a:bodyPr rtlCol="0" anchor="ctr"/>
              <a:lstStyle/>
              <a:p>
                <a:endParaRPr lang="en-GB"/>
              </a:p>
            </p:txBody>
          </p:sp>
          <p:sp>
            <p:nvSpPr>
              <p:cNvPr id="5580" name="Vrije vorm: vorm 5579">
                <a:extLst>
                  <a:ext uri="{FF2B5EF4-FFF2-40B4-BE49-F238E27FC236}">
                    <a16:creationId xmlns:a16="http://schemas.microsoft.com/office/drawing/2014/main" id="{24B87E4F-9D7C-4ADB-8331-FBC3BE4E5CEB}"/>
                  </a:ext>
                </a:extLst>
              </p:cNvPr>
              <p:cNvSpPr/>
              <p:nvPr/>
            </p:nvSpPr>
            <p:spPr>
              <a:xfrm>
                <a:off x="6423255" y="1684271"/>
                <a:ext cx="34150" cy="24939"/>
              </a:xfrm>
              <a:custGeom>
                <a:avLst/>
                <a:gdLst>
                  <a:gd name="connsiteX0" fmla="*/ 34150 w 34150"/>
                  <a:gd name="connsiteY0" fmla="*/ 0 h 24939"/>
                  <a:gd name="connsiteX1" fmla="*/ 32176 w 34150"/>
                  <a:gd name="connsiteY1" fmla="*/ 60 h 24939"/>
                  <a:gd name="connsiteX2" fmla="*/ 29186 w 34150"/>
                  <a:gd name="connsiteY2" fmla="*/ 897 h 24939"/>
                  <a:gd name="connsiteX3" fmla="*/ 26196 w 34150"/>
                  <a:gd name="connsiteY3" fmla="*/ 1734 h 24939"/>
                  <a:gd name="connsiteX4" fmla="*/ 23744 w 34150"/>
                  <a:gd name="connsiteY4" fmla="*/ 2392 h 24939"/>
                  <a:gd name="connsiteX5" fmla="*/ 22009 w 34150"/>
                  <a:gd name="connsiteY5" fmla="*/ 3289 h 24939"/>
                  <a:gd name="connsiteX6" fmla="*/ 19198 w 34150"/>
                  <a:gd name="connsiteY6" fmla="*/ 4725 h 24939"/>
                  <a:gd name="connsiteX7" fmla="*/ 16387 w 34150"/>
                  <a:gd name="connsiteY7" fmla="*/ 6160 h 24939"/>
                  <a:gd name="connsiteX8" fmla="*/ 15610 w 34150"/>
                  <a:gd name="connsiteY8" fmla="*/ 6579 h 24939"/>
                  <a:gd name="connsiteX9" fmla="*/ 15550 w 34150"/>
                  <a:gd name="connsiteY9" fmla="*/ 6639 h 24939"/>
                  <a:gd name="connsiteX10" fmla="*/ 13038 w 34150"/>
                  <a:gd name="connsiteY10" fmla="*/ 8672 h 24939"/>
                  <a:gd name="connsiteX11" fmla="*/ 10526 w 34150"/>
                  <a:gd name="connsiteY11" fmla="*/ 10705 h 24939"/>
                  <a:gd name="connsiteX12" fmla="*/ 8433 w 34150"/>
                  <a:gd name="connsiteY12" fmla="*/ 12380 h 24939"/>
                  <a:gd name="connsiteX13" fmla="*/ 6399 w 34150"/>
                  <a:gd name="connsiteY13" fmla="*/ 14892 h 24939"/>
                  <a:gd name="connsiteX14" fmla="*/ 4306 w 34150"/>
                  <a:gd name="connsiteY14" fmla="*/ 17404 h 24939"/>
                  <a:gd name="connsiteX15" fmla="*/ 2811 w 34150"/>
                  <a:gd name="connsiteY15" fmla="*/ 19258 h 24939"/>
                  <a:gd name="connsiteX16" fmla="*/ 1376 w 34150"/>
                  <a:gd name="connsiteY16" fmla="*/ 22188 h 24939"/>
                  <a:gd name="connsiteX17" fmla="*/ 0 w 34150"/>
                  <a:gd name="connsiteY17" fmla="*/ 24940 h 2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150" h="24939">
                    <a:moveTo>
                      <a:pt x="34150" y="0"/>
                    </a:moveTo>
                    <a:lnTo>
                      <a:pt x="32176" y="60"/>
                    </a:lnTo>
                    <a:lnTo>
                      <a:pt x="29186" y="897"/>
                    </a:lnTo>
                    <a:lnTo>
                      <a:pt x="26196" y="1734"/>
                    </a:lnTo>
                    <a:lnTo>
                      <a:pt x="23744" y="2392"/>
                    </a:lnTo>
                    <a:lnTo>
                      <a:pt x="22009" y="3289"/>
                    </a:lnTo>
                    <a:lnTo>
                      <a:pt x="19198" y="4725"/>
                    </a:lnTo>
                    <a:lnTo>
                      <a:pt x="16387" y="6160"/>
                    </a:lnTo>
                    <a:lnTo>
                      <a:pt x="15610" y="6579"/>
                    </a:lnTo>
                    <a:lnTo>
                      <a:pt x="15550" y="6639"/>
                    </a:lnTo>
                    <a:lnTo>
                      <a:pt x="13038" y="8672"/>
                    </a:lnTo>
                    <a:lnTo>
                      <a:pt x="10526" y="10705"/>
                    </a:lnTo>
                    <a:lnTo>
                      <a:pt x="8433" y="12380"/>
                    </a:lnTo>
                    <a:lnTo>
                      <a:pt x="6399" y="14892"/>
                    </a:lnTo>
                    <a:lnTo>
                      <a:pt x="4306" y="17404"/>
                    </a:lnTo>
                    <a:lnTo>
                      <a:pt x="2811" y="19258"/>
                    </a:lnTo>
                    <a:lnTo>
                      <a:pt x="1376" y="22188"/>
                    </a:lnTo>
                    <a:lnTo>
                      <a:pt x="0" y="24940"/>
                    </a:lnTo>
                  </a:path>
                </a:pathLst>
              </a:custGeom>
              <a:noFill/>
              <a:ln w="6350" cap="rnd">
                <a:solidFill>
                  <a:schemeClr val="bg1">
                    <a:alpha val="80000"/>
                  </a:schemeClr>
                </a:solidFill>
                <a:prstDash val="solid"/>
                <a:round/>
              </a:ln>
            </p:spPr>
            <p:txBody>
              <a:bodyPr rtlCol="0" anchor="ctr"/>
              <a:lstStyle/>
              <a:p>
                <a:endParaRPr lang="en-GB"/>
              </a:p>
            </p:txBody>
          </p:sp>
          <p:sp>
            <p:nvSpPr>
              <p:cNvPr id="5581" name="Vrije vorm: vorm 5580">
                <a:extLst>
                  <a:ext uri="{FF2B5EF4-FFF2-40B4-BE49-F238E27FC236}">
                    <a16:creationId xmlns:a16="http://schemas.microsoft.com/office/drawing/2014/main" id="{155BD35C-AB48-4934-A308-AF4BAFDA030E}"/>
                  </a:ext>
                </a:extLst>
              </p:cNvPr>
              <p:cNvSpPr/>
              <p:nvPr/>
            </p:nvSpPr>
            <p:spPr>
              <a:xfrm>
                <a:off x="6422418" y="1680025"/>
                <a:ext cx="34448" cy="22966"/>
              </a:xfrm>
              <a:custGeom>
                <a:avLst/>
                <a:gdLst>
                  <a:gd name="connsiteX0" fmla="*/ 0 w 34448"/>
                  <a:gd name="connsiteY0" fmla="*/ 22966 h 22966"/>
                  <a:gd name="connsiteX1" fmla="*/ 2452 w 34448"/>
                  <a:gd name="connsiteY1" fmla="*/ 20873 h 22966"/>
                  <a:gd name="connsiteX2" fmla="*/ 4904 w 34448"/>
                  <a:gd name="connsiteY2" fmla="*/ 18779 h 22966"/>
                  <a:gd name="connsiteX3" fmla="*/ 7356 w 34448"/>
                  <a:gd name="connsiteY3" fmla="*/ 16686 h 22966"/>
                  <a:gd name="connsiteX4" fmla="*/ 9808 w 34448"/>
                  <a:gd name="connsiteY4" fmla="*/ 14593 h 22966"/>
                  <a:gd name="connsiteX5" fmla="*/ 12260 w 34448"/>
                  <a:gd name="connsiteY5" fmla="*/ 12500 h 22966"/>
                  <a:gd name="connsiteX6" fmla="*/ 14712 w 34448"/>
                  <a:gd name="connsiteY6" fmla="*/ 10406 h 22966"/>
                  <a:gd name="connsiteX7" fmla="*/ 15011 w 34448"/>
                  <a:gd name="connsiteY7" fmla="*/ 10167 h 22966"/>
                  <a:gd name="connsiteX8" fmla="*/ 17464 w 34448"/>
                  <a:gd name="connsiteY8" fmla="*/ 8074 h 22966"/>
                  <a:gd name="connsiteX9" fmla="*/ 19916 w 34448"/>
                  <a:gd name="connsiteY9" fmla="*/ 5981 h 22966"/>
                  <a:gd name="connsiteX10" fmla="*/ 22368 w 34448"/>
                  <a:gd name="connsiteY10" fmla="*/ 3888 h 22966"/>
                  <a:gd name="connsiteX11" fmla="*/ 24820 w 34448"/>
                  <a:gd name="connsiteY11" fmla="*/ 1794 h 22966"/>
                  <a:gd name="connsiteX12" fmla="*/ 26913 w 34448"/>
                  <a:gd name="connsiteY12" fmla="*/ 0 h 22966"/>
                  <a:gd name="connsiteX13" fmla="*/ 29844 w 34448"/>
                  <a:gd name="connsiteY13" fmla="*/ 598 h 22966"/>
                  <a:gd name="connsiteX14" fmla="*/ 32774 w 34448"/>
                  <a:gd name="connsiteY14" fmla="*/ 1196 h 22966"/>
                  <a:gd name="connsiteX15" fmla="*/ 34449 w 34448"/>
                  <a:gd name="connsiteY15" fmla="*/ 1495 h 2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448" h="22966">
                    <a:moveTo>
                      <a:pt x="0" y="22966"/>
                    </a:moveTo>
                    <a:lnTo>
                      <a:pt x="2452" y="20873"/>
                    </a:lnTo>
                    <a:lnTo>
                      <a:pt x="4904" y="18779"/>
                    </a:lnTo>
                    <a:lnTo>
                      <a:pt x="7356" y="16686"/>
                    </a:lnTo>
                    <a:lnTo>
                      <a:pt x="9808" y="14593"/>
                    </a:lnTo>
                    <a:lnTo>
                      <a:pt x="12260" y="12500"/>
                    </a:lnTo>
                    <a:lnTo>
                      <a:pt x="14712" y="10406"/>
                    </a:lnTo>
                    <a:lnTo>
                      <a:pt x="15011" y="10167"/>
                    </a:lnTo>
                    <a:lnTo>
                      <a:pt x="17464" y="8074"/>
                    </a:lnTo>
                    <a:lnTo>
                      <a:pt x="19916" y="5981"/>
                    </a:lnTo>
                    <a:lnTo>
                      <a:pt x="22368" y="3888"/>
                    </a:lnTo>
                    <a:lnTo>
                      <a:pt x="24820" y="1794"/>
                    </a:lnTo>
                    <a:lnTo>
                      <a:pt x="26913" y="0"/>
                    </a:lnTo>
                    <a:lnTo>
                      <a:pt x="29844" y="598"/>
                    </a:lnTo>
                    <a:lnTo>
                      <a:pt x="32774" y="1196"/>
                    </a:lnTo>
                    <a:lnTo>
                      <a:pt x="34449" y="1495"/>
                    </a:lnTo>
                  </a:path>
                </a:pathLst>
              </a:custGeom>
              <a:noFill/>
              <a:ln w="6350" cap="rnd">
                <a:solidFill>
                  <a:schemeClr val="bg1">
                    <a:alpha val="80000"/>
                  </a:schemeClr>
                </a:solidFill>
                <a:prstDash val="solid"/>
                <a:round/>
              </a:ln>
            </p:spPr>
            <p:txBody>
              <a:bodyPr rtlCol="0" anchor="ctr"/>
              <a:lstStyle/>
              <a:p>
                <a:endParaRPr lang="en-GB"/>
              </a:p>
            </p:txBody>
          </p:sp>
          <p:sp>
            <p:nvSpPr>
              <p:cNvPr id="5582" name="Vrije vorm: vorm 5581">
                <a:extLst>
                  <a:ext uri="{FF2B5EF4-FFF2-40B4-BE49-F238E27FC236}">
                    <a16:creationId xmlns:a16="http://schemas.microsoft.com/office/drawing/2014/main" id="{D5D62001-F82C-427F-B21C-D36E7127F9DB}"/>
                  </a:ext>
                </a:extLst>
              </p:cNvPr>
              <p:cNvSpPr/>
              <p:nvPr/>
            </p:nvSpPr>
            <p:spPr>
              <a:xfrm>
                <a:off x="6420623" y="1669499"/>
                <a:ext cx="34269" cy="20394"/>
              </a:xfrm>
              <a:custGeom>
                <a:avLst/>
                <a:gdLst>
                  <a:gd name="connsiteX0" fmla="*/ 0 w 34269"/>
                  <a:gd name="connsiteY0" fmla="*/ 20394 h 20394"/>
                  <a:gd name="connsiteX1" fmla="*/ 1077 w 34269"/>
                  <a:gd name="connsiteY1" fmla="*/ 19437 h 20394"/>
                  <a:gd name="connsiteX2" fmla="*/ 2632 w 34269"/>
                  <a:gd name="connsiteY2" fmla="*/ 18122 h 20394"/>
                  <a:gd name="connsiteX3" fmla="*/ 4187 w 34269"/>
                  <a:gd name="connsiteY3" fmla="*/ 16806 h 20394"/>
                  <a:gd name="connsiteX4" fmla="*/ 6340 w 34269"/>
                  <a:gd name="connsiteY4" fmla="*/ 14952 h 20394"/>
                  <a:gd name="connsiteX5" fmla="*/ 8792 w 34269"/>
                  <a:gd name="connsiteY5" fmla="*/ 12859 h 20394"/>
                  <a:gd name="connsiteX6" fmla="*/ 10407 w 34269"/>
                  <a:gd name="connsiteY6" fmla="*/ 11483 h 20394"/>
                  <a:gd name="connsiteX7" fmla="*/ 11304 w 34269"/>
                  <a:gd name="connsiteY7" fmla="*/ 10705 h 20394"/>
                  <a:gd name="connsiteX8" fmla="*/ 13457 w 34269"/>
                  <a:gd name="connsiteY8" fmla="*/ 8851 h 20394"/>
                  <a:gd name="connsiteX9" fmla="*/ 15012 w 34269"/>
                  <a:gd name="connsiteY9" fmla="*/ 7536 h 20394"/>
                  <a:gd name="connsiteX10" fmla="*/ 17464 w 34269"/>
                  <a:gd name="connsiteY10" fmla="*/ 5442 h 20394"/>
                  <a:gd name="connsiteX11" fmla="*/ 19916 w 34269"/>
                  <a:gd name="connsiteY11" fmla="*/ 3349 h 20394"/>
                  <a:gd name="connsiteX12" fmla="*/ 22368 w 34269"/>
                  <a:gd name="connsiteY12" fmla="*/ 1256 h 20394"/>
                  <a:gd name="connsiteX13" fmla="*/ 23804 w 34269"/>
                  <a:gd name="connsiteY13" fmla="*/ 0 h 20394"/>
                  <a:gd name="connsiteX14" fmla="*/ 26495 w 34269"/>
                  <a:gd name="connsiteY14" fmla="*/ 538 h 20394"/>
                  <a:gd name="connsiteX15" fmla="*/ 29425 w 34269"/>
                  <a:gd name="connsiteY15" fmla="*/ 1136 h 20394"/>
                  <a:gd name="connsiteX16" fmla="*/ 32356 w 34269"/>
                  <a:gd name="connsiteY16" fmla="*/ 1734 h 20394"/>
                  <a:gd name="connsiteX17" fmla="*/ 33731 w 34269"/>
                  <a:gd name="connsiteY17" fmla="*/ 2033 h 20394"/>
                  <a:gd name="connsiteX18" fmla="*/ 34270 w 34269"/>
                  <a:gd name="connsiteY18" fmla="*/ 2153 h 2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69" h="20394">
                    <a:moveTo>
                      <a:pt x="0" y="20394"/>
                    </a:moveTo>
                    <a:lnTo>
                      <a:pt x="1077" y="19437"/>
                    </a:lnTo>
                    <a:lnTo>
                      <a:pt x="2632" y="18122"/>
                    </a:lnTo>
                    <a:lnTo>
                      <a:pt x="4187" y="16806"/>
                    </a:lnTo>
                    <a:lnTo>
                      <a:pt x="6340" y="14952"/>
                    </a:lnTo>
                    <a:lnTo>
                      <a:pt x="8792" y="12859"/>
                    </a:lnTo>
                    <a:lnTo>
                      <a:pt x="10407" y="11483"/>
                    </a:lnTo>
                    <a:lnTo>
                      <a:pt x="11304" y="10705"/>
                    </a:lnTo>
                    <a:lnTo>
                      <a:pt x="13457" y="8851"/>
                    </a:lnTo>
                    <a:lnTo>
                      <a:pt x="15012" y="7536"/>
                    </a:lnTo>
                    <a:lnTo>
                      <a:pt x="17464" y="5442"/>
                    </a:lnTo>
                    <a:lnTo>
                      <a:pt x="19916" y="3349"/>
                    </a:lnTo>
                    <a:lnTo>
                      <a:pt x="22368" y="1256"/>
                    </a:lnTo>
                    <a:lnTo>
                      <a:pt x="23804" y="0"/>
                    </a:lnTo>
                    <a:lnTo>
                      <a:pt x="26495" y="538"/>
                    </a:lnTo>
                    <a:lnTo>
                      <a:pt x="29425" y="1136"/>
                    </a:lnTo>
                    <a:lnTo>
                      <a:pt x="32356" y="1734"/>
                    </a:lnTo>
                    <a:lnTo>
                      <a:pt x="33731" y="2033"/>
                    </a:lnTo>
                    <a:lnTo>
                      <a:pt x="34270" y="2153"/>
                    </a:lnTo>
                  </a:path>
                </a:pathLst>
              </a:custGeom>
              <a:noFill/>
              <a:ln w="6350" cap="rnd">
                <a:solidFill>
                  <a:schemeClr val="bg1">
                    <a:alpha val="80000"/>
                  </a:schemeClr>
                </a:solidFill>
                <a:prstDash val="solid"/>
                <a:round/>
              </a:ln>
            </p:spPr>
            <p:txBody>
              <a:bodyPr rtlCol="0" anchor="ctr"/>
              <a:lstStyle/>
              <a:p>
                <a:endParaRPr lang="en-GB"/>
              </a:p>
            </p:txBody>
          </p:sp>
          <p:sp>
            <p:nvSpPr>
              <p:cNvPr id="5583" name="Vrije vorm: vorm 5582">
                <a:extLst>
                  <a:ext uri="{FF2B5EF4-FFF2-40B4-BE49-F238E27FC236}">
                    <a16:creationId xmlns:a16="http://schemas.microsoft.com/office/drawing/2014/main" id="{2241F1D3-BD24-4174-8ECB-656657A006C3}"/>
                  </a:ext>
                </a:extLst>
              </p:cNvPr>
              <p:cNvSpPr/>
              <p:nvPr/>
            </p:nvSpPr>
            <p:spPr>
              <a:xfrm>
                <a:off x="6484258" y="1698146"/>
                <a:ext cx="50417" cy="65429"/>
              </a:xfrm>
              <a:custGeom>
                <a:avLst/>
                <a:gdLst>
                  <a:gd name="connsiteX0" fmla="*/ 0 w 50417"/>
                  <a:gd name="connsiteY0" fmla="*/ 56398 h 65429"/>
                  <a:gd name="connsiteX1" fmla="*/ 419 w 50417"/>
                  <a:gd name="connsiteY1" fmla="*/ 57475 h 65429"/>
                  <a:gd name="connsiteX2" fmla="*/ 2213 w 50417"/>
                  <a:gd name="connsiteY2" fmla="*/ 59568 h 65429"/>
                  <a:gd name="connsiteX3" fmla="*/ 4127 w 50417"/>
                  <a:gd name="connsiteY3" fmla="*/ 61781 h 65429"/>
                  <a:gd name="connsiteX4" fmla="*/ 4545 w 50417"/>
                  <a:gd name="connsiteY4" fmla="*/ 62259 h 65429"/>
                  <a:gd name="connsiteX5" fmla="*/ 7177 w 50417"/>
                  <a:gd name="connsiteY5" fmla="*/ 63575 h 65429"/>
                  <a:gd name="connsiteX6" fmla="*/ 8134 w 50417"/>
                  <a:gd name="connsiteY6" fmla="*/ 64054 h 65429"/>
                  <a:gd name="connsiteX7" fmla="*/ 9988 w 50417"/>
                  <a:gd name="connsiteY7" fmla="*/ 65011 h 65429"/>
                  <a:gd name="connsiteX8" fmla="*/ 11244 w 50417"/>
                  <a:gd name="connsiteY8" fmla="*/ 65070 h 65429"/>
                  <a:gd name="connsiteX9" fmla="*/ 13277 w 50417"/>
                  <a:gd name="connsiteY9" fmla="*/ 65190 h 65429"/>
                  <a:gd name="connsiteX10" fmla="*/ 15311 w 50417"/>
                  <a:gd name="connsiteY10" fmla="*/ 65310 h 65429"/>
                  <a:gd name="connsiteX11" fmla="*/ 15909 w 50417"/>
                  <a:gd name="connsiteY11" fmla="*/ 65369 h 65429"/>
                  <a:gd name="connsiteX12" fmla="*/ 16507 w 50417"/>
                  <a:gd name="connsiteY12" fmla="*/ 65429 h 65429"/>
                  <a:gd name="connsiteX13" fmla="*/ 17225 w 50417"/>
                  <a:gd name="connsiteY13" fmla="*/ 65250 h 65429"/>
                  <a:gd name="connsiteX14" fmla="*/ 18361 w 50417"/>
                  <a:gd name="connsiteY14" fmla="*/ 64951 h 65429"/>
                  <a:gd name="connsiteX15" fmla="*/ 18780 w 50417"/>
                  <a:gd name="connsiteY15" fmla="*/ 64831 h 65429"/>
                  <a:gd name="connsiteX16" fmla="*/ 18780 w 50417"/>
                  <a:gd name="connsiteY16" fmla="*/ 64831 h 65429"/>
                  <a:gd name="connsiteX17" fmla="*/ 19079 w 50417"/>
                  <a:gd name="connsiteY17" fmla="*/ 64711 h 65429"/>
                  <a:gd name="connsiteX18" fmla="*/ 19976 w 50417"/>
                  <a:gd name="connsiteY18" fmla="*/ 64472 h 65429"/>
                  <a:gd name="connsiteX19" fmla="*/ 22787 w 50417"/>
                  <a:gd name="connsiteY19" fmla="*/ 63695 h 65429"/>
                  <a:gd name="connsiteX20" fmla="*/ 23086 w 50417"/>
                  <a:gd name="connsiteY20" fmla="*/ 63635 h 65429"/>
                  <a:gd name="connsiteX21" fmla="*/ 23325 w 50417"/>
                  <a:gd name="connsiteY21" fmla="*/ 63575 h 65429"/>
                  <a:gd name="connsiteX22" fmla="*/ 23624 w 50417"/>
                  <a:gd name="connsiteY22" fmla="*/ 63515 h 65429"/>
                  <a:gd name="connsiteX23" fmla="*/ 25059 w 50417"/>
                  <a:gd name="connsiteY23" fmla="*/ 62618 h 65429"/>
                  <a:gd name="connsiteX24" fmla="*/ 26674 w 50417"/>
                  <a:gd name="connsiteY24" fmla="*/ 61661 h 65429"/>
                  <a:gd name="connsiteX25" fmla="*/ 29126 w 50417"/>
                  <a:gd name="connsiteY25" fmla="*/ 60226 h 65429"/>
                  <a:gd name="connsiteX26" fmla="*/ 30801 w 50417"/>
                  <a:gd name="connsiteY26" fmla="*/ 59209 h 65429"/>
                  <a:gd name="connsiteX27" fmla="*/ 31937 w 50417"/>
                  <a:gd name="connsiteY27" fmla="*/ 58133 h 65429"/>
                  <a:gd name="connsiteX28" fmla="*/ 33970 w 50417"/>
                  <a:gd name="connsiteY28" fmla="*/ 56159 h 65429"/>
                  <a:gd name="connsiteX29" fmla="*/ 35107 w 50417"/>
                  <a:gd name="connsiteY29" fmla="*/ 55082 h 65429"/>
                  <a:gd name="connsiteX30" fmla="*/ 37140 w 50417"/>
                  <a:gd name="connsiteY30" fmla="*/ 53109 h 65429"/>
                  <a:gd name="connsiteX31" fmla="*/ 37499 w 50417"/>
                  <a:gd name="connsiteY31" fmla="*/ 52750 h 65429"/>
                  <a:gd name="connsiteX32" fmla="*/ 38097 w 50417"/>
                  <a:gd name="connsiteY32" fmla="*/ 51853 h 65429"/>
                  <a:gd name="connsiteX33" fmla="*/ 39772 w 50417"/>
                  <a:gd name="connsiteY33" fmla="*/ 49580 h 65429"/>
                  <a:gd name="connsiteX34" fmla="*/ 41446 w 50417"/>
                  <a:gd name="connsiteY34" fmla="*/ 47308 h 65429"/>
                  <a:gd name="connsiteX35" fmla="*/ 42344 w 50417"/>
                  <a:gd name="connsiteY35" fmla="*/ 46052 h 65429"/>
                  <a:gd name="connsiteX36" fmla="*/ 43241 w 50417"/>
                  <a:gd name="connsiteY36" fmla="*/ 44796 h 65429"/>
                  <a:gd name="connsiteX37" fmla="*/ 44437 w 50417"/>
                  <a:gd name="connsiteY37" fmla="*/ 42224 h 65429"/>
                  <a:gd name="connsiteX38" fmla="*/ 45633 w 50417"/>
                  <a:gd name="connsiteY38" fmla="*/ 39652 h 65429"/>
                  <a:gd name="connsiteX39" fmla="*/ 46829 w 50417"/>
                  <a:gd name="connsiteY39" fmla="*/ 37081 h 65429"/>
                  <a:gd name="connsiteX40" fmla="*/ 47427 w 50417"/>
                  <a:gd name="connsiteY40" fmla="*/ 35825 h 65429"/>
                  <a:gd name="connsiteX41" fmla="*/ 48145 w 50417"/>
                  <a:gd name="connsiteY41" fmla="*/ 33073 h 65429"/>
                  <a:gd name="connsiteX42" fmla="*/ 48862 w 50417"/>
                  <a:gd name="connsiteY42" fmla="*/ 30322 h 65429"/>
                  <a:gd name="connsiteX43" fmla="*/ 49341 w 50417"/>
                  <a:gd name="connsiteY43" fmla="*/ 28588 h 65429"/>
                  <a:gd name="connsiteX44" fmla="*/ 49461 w 50417"/>
                  <a:gd name="connsiteY44" fmla="*/ 28050 h 65429"/>
                  <a:gd name="connsiteX45" fmla="*/ 49640 w 50417"/>
                  <a:gd name="connsiteY45" fmla="*/ 27392 h 65429"/>
                  <a:gd name="connsiteX46" fmla="*/ 49640 w 50417"/>
                  <a:gd name="connsiteY46" fmla="*/ 27392 h 65429"/>
                  <a:gd name="connsiteX47" fmla="*/ 49700 w 50417"/>
                  <a:gd name="connsiteY47" fmla="*/ 27093 h 65429"/>
                  <a:gd name="connsiteX48" fmla="*/ 49820 w 50417"/>
                  <a:gd name="connsiteY48" fmla="*/ 26614 h 65429"/>
                  <a:gd name="connsiteX49" fmla="*/ 49879 w 50417"/>
                  <a:gd name="connsiteY49" fmla="*/ 26016 h 65429"/>
                  <a:gd name="connsiteX50" fmla="*/ 50059 w 50417"/>
                  <a:gd name="connsiteY50" fmla="*/ 23145 h 65429"/>
                  <a:gd name="connsiteX51" fmla="*/ 50178 w 50417"/>
                  <a:gd name="connsiteY51" fmla="*/ 21471 h 65429"/>
                  <a:gd name="connsiteX52" fmla="*/ 50238 w 50417"/>
                  <a:gd name="connsiteY52" fmla="*/ 20155 h 65429"/>
                  <a:gd name="connsiteX53" fmla="*/ 50358 w 50417"/>
                  <a:gd name="connsiteY53" fmla="*/ 18480 h 65429"/>
                  <a:gd name="connsiteX54" fmla="*/ 50417 w 50417"/>
                  <a:gd name="connsiteY54" fmla="*/ 17823 h 65429"/>
                  <a:gd name="connsiteX55" fmla="*/ 50358 w 50417"/>
                  <a:gd name="connsiteY55" fmla="*/ 17643 h 65429"/>
                  <a:gd name="connsiteX56" fmla="*/ 50358 w 50417"/>
                  <a:gd name="connsiteY56" fmla="*/ 17583 h 65429"/>
                  <a:gd name="connsiteX57" fmla="*/ 49879 w 50417"/>
                  <a:gd name="connsiteY57" fmla="*/ 15012 h 65429"/>
                  <a:gd name="connsiteX58" fmla="*/ 49341 w 50417"/>
                  <a:gd name="connsiteY58" fmla="*/ 12201 h 65429"/>
                  <a:gd name="connsiteX59" fmla="*/ 48982 w 50417"/>
                  <a:gd name="connsiteY59" fmla="*/ 10406 h 65429"/>
                  <a:gd name="connsiteX60" fmla="*/ 48922 w 50417"/>
                  <a:gd name="connsiteY60" fmla="*/ 10167 h 65429"/>
                  <a:gd name="connsiteX61" fmla="*/ 48205 w 50417"/>
                  <a:gd name="connsiteY61" fmla="*/ 8852 h 65429"/>
                  <a:gd name="connsiteX62" fmla="*/ 46829 w 50417"/>
                  <a:gd name="connsiteY62" fmla="*/ 6280 h 65429"/>
                  <a:gd name="connsiteX63" fmla="*/ 45693 w 50417"/>
                  <a:gd name="connsiteY63" fmla="*/ 4127 h 65429"/>
                  <a:gd name="connsiteX64" fmla="*/ 43480 w 50417"/>
                  <a:gd name="connsiteY64" fmla="*/ 2153 h 65429"/>
                  <a:gd name="connsiteX65" fmla="*/ 41267 w 50417"/>
                  <a:gd name="connsiteY65" fmla="*/ 180 h 65429"/>
                  <a:gd name="connsiteX66" fmla="*/ 41088 w 50417"/>
                  <a:gd name="connsiteY66" fmla="*/ 0 h 6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0417" h="65429">
                    <a:moveTo>
                      <a:pt x="0" y="56398"/>
                    </a:moveTo>
                    <a:lnTo>
                      <a:pt x="419" y="57475"/>
                    </a:lnTo>
                    <a:lnTo>
                      <a:pt x="2213" y="59568"/>
                    </a:lnTo>
                    <a:lnTo>
                      <a:pt x="4127" y="61781"/>
                    </a:lnTo>
                    <a:lnTo>
                      <a:pt x="4545" y="62259"/>
                    </a:lnTo>
                    <a:lnTo>
                      <a:pt x="7177" y="63575"/>
                    </a:lnTo>
                    <a:lnTo>
                      <a:pt x="8134" y="64054"/>
                    </a:lnTo>
                    <a:lnTo>
                      <a:pt x="9988" y="65011"/>
                    </a:lnTo>
                    <a:lnTo>
                      <a:pt x="11244" y="65070"/>
                    </a:lnTo>
                    <a:lnTo>
                      <a:pt x="13277" y="65190"/>
                    </a:lnTo>
                    <a:lnTo>
                      <a:pt x="15311" y="65310"/>
                    </a:lnTo>
                    <a:lnTo>
                      <a:pt x="15909" y="65369"/>
                    </a:lnTo>
                    <a:lnTo>
                      <a:pt x="16507" y="65429"/>
                    </a:lnTo>
                    <a:lnTo>
                      <a:pt x="17225" y="65250"/>
                    </a:lnTo>
                    <a:lnTo>
                      <a:pt x="18361" y="64951"/>
                    </a:lnTo>
                    <a:lnTo>
                      <a:pt x="18780" y="64831"/>
                    </a:lnTo>
                    <a:lnTo>
                      <a:pt x="18780" y="64831"/>
                    </a:lnTo>
                    <a:lnTo>
                      <a:pt x="19079" y="64711"/>
                    </a:lnTo>
                    <a:lnTo>
                      <a:pt x="19976" y="64472"/>
                    </a:lnTo>
                    <a:lnTo>
                      <a:pt x="22787" y="63695"/>
                    </a:lnTo>
                    <a:lnTo>
                      <a:pt x="23086" y="63635"/>
                    </a:lnTo>
                    <a:lnTo>
                      <a:pt x="23325" y="63575"/>
                    </a:lnTo>
                    <a:lnTo>
                      <a:pt x="23624" y="63515"/>
                    </a:lnTo>
                    <a:lnTo>
                      <a:pt x="25059" y="62618"/>
                    </a:lnTo>
                    <a:lnTo>
                      <a:pt x="26674" y="61661"/>
                    </a:lnTo>
                    <a:lnTo>
                      <a:pt x="29126" y="60226"/>
                    </a:lnTo>
                    <a:lnTo>
                      <a:pt x="30801" y="59209"/>
                    </a:lnTo>
                    <a:lnTo>
                      <a:pt x="31937" y="58133"/>
                    </a:lnTo>
                    <a:lnTo>
                      <a:pt x="33970" y="56159"/>
                    </a:lnTo>
                    <a:lnTo>
                      <a:pt x="35107" y="55082"/>
                    </a:lnTo>
                    <a:lnTo>
                      <a:pt x="37140" y="53109"/>
                    </a:lnTo>
                    <a:lnTo>
                      <a:pt x="37499" y="52750"/>
                    </a:lnTo>
                    <a:lnTo>
                      <a:pt x="38097" y="51853"/>
                    </a:lnTo>
                    <a:lnTo>
                      <a:pt x="39772" y="49580"/>
                    </a:lnTo>
                    <a:lnTo>
                      <a:pt x="41446" y="47308"/>
                    </a:lnTo>
                    <a:lnTo>
                      <a:pt x="42344" y="46052"/>
                    </a:lnTo>
                    <a:lnTo>
                      <a:pt x="43241" y="44796"/>
                    </a:lnTo>
                    <a:lnTo>
                      <a:pt x="44437" y="42224"/>
                    </a:lnTo>
                    <a:lnTo>
                      <a:pt x="45633" y="39652"/>
                    </a:lnTo>
                    <a:lnTo>
                      <a:pt x="46829" y="37081"/>
                    </a:lnTo>
                    <a:lnTo>
                      <a:pt x="47427" y="35825"/>
                    </a:lnTo>
                    <a:lnTo>
                      <a:pt x="48145" y="33073"/>
                    </a:lnTo>
                    <a:lnTo>
                      <a:pt x="48862" y="30322"/>
                    </a:lnTo>
                    <a:lnTo>
                      <a:pt x="49341" y="28588"/>
                    </a:lnTo>
                    <a:lnTo>
                      <a:pt x="49461" y="28050"/>
                    </a:lnTo>
                    <a:lnTo>
                      <a:pt x="49640" y="27392"/>
                    </a:lnTo>
                    <a:lnTo>
                      <a:pt x="49640" y="27392"/>
                    </a:lnTo>
                    <a:lnTo>
                      <a:pt x="49700" y="27093"/>
                    </a:lnTo>
                    <a:lnTo>
                      <a:pt x="49820" y="26614"/>
                    </a:lnTo>
                    <a:lnTo>
                      <a:pt x="49879" y="26016"/>
                    </a:lnTo>
                    <a:lnTo>
                      <a:pt x="50059" y="23145"/>
                    </a:lnTo>
                    <a:lnTo>
                      <a:pt x="50178" y="21471"/>
                    </a:lnTo>
                    <a:lnTo>
                      <a:pt x="50238" y="20155"/>
                    </a:lnTo>
                    <a:lnTo>
                      <a:pt x="50358" y="18480"/>
                    </a:lnTo>
                    <a:lnTo>
                      <a:pt x="50417" y="17823"/>
                    </a:lnTo>
                    <a:lnTo>
                      <a:pt x="50358" y="17643"/>
                    </a:lnTo>
                    <a:lnTo>
                      <a:pt x="50358" y="17583"/>
                    </a:lnTo>
                    <a:lnTo>
                      <a:pt x="49879" y="15012"/>
                    </a:lnTo>
                    <a:lnTo>
                      <a:pt x="49341" y="12201"/>
                    </a:lnTo>
                    <a:lnTo>
                      <a:pt x="48982" y="10406"/>
                    </a:lnTo>
                    <a:lnTo>
                      <a:pt x="48922" y="10167"/>
                    </a:lnTo>
                    <a:lnTo>
                      <a:pt x="48205" y="8852"/>
                    </a:lnTo>
                    <a:lnTo>
                      <a:pt x="46829" y="6280"/>
                    </a:lnTo>
                    <a:lnTo>
                      <a:pt x="45693" y="4127"/>
                    </a:lnTo>
                    <a:lnTo>
                      <a:pt x="43480" y="2153"/>
                    </a:lnTo>
                    <a:lnTo>
                      <a:pt x="41267" y="180"/>
                    </a:lnTo>
                    <a:lnTo>
                      <a:pt x="41088" y="0"/>
                    </a:lnTo>
                  </a:path>
                </a:pathLst>
              </a:custGeom>
              <a:noFill/>
              <a:ln w="6350" cap="rnd">
                <a:solidFill>
                  <a:schemeClr val="bg1">
                    <a:alpha val="80000"/>
                  </a:schemeClr>
                </a:solidFill>
                <a:prstDash val="solid"/>
                <a:round/>
              </a:ln>
            </p:spPr>
            <p:txBody>
              <a:bodyPr rtlCol="0" anchor="ctr"/>
              <a:lstStyle/>
              <a:p>
                <a:endParaRPr lang="en-GB"/>
              </a:p>
            </p:txBody>
          </p:sp>
          <p:sp>
            <p:nvSpPr>
              <p:cNvPr id="5584" name="Vrije vorm: vorm 5583">
                <a:extLst>
                  <a:ext uri="{FF2B5EF4-FFF2-40B4-BE49-F238E27FC236}">
                    <a16:creationId xmlns:a16="http://schemas.microsoft.com/office/drawing/2014/main" id="{7C00CD91-A4A0-462C-8F9B-C259CE4A8535}"/>
                  </a:ext>
                </a:extLst>
              </p:cNvPr>
              <p:cNvSpPr/>
              <p:nvPr/>
            </p:nvSpPr>
            <p:spPr>
              <a:xfrm>
                <a:off x="6529413" y="1707955"/>
                <a:ext cx="24700" cy="68897"/>
              </a:xfrm>
              <a:custGeom>
                <a:avLst/>
                <a:gdLst>
                  <a:gd name="connsiteX0" fmla="*/ 11902 w 24700"/>
                  <a:gd name="connsiteY0" fmla="*/ 0 h 68897"/>
                  <a:gd name="connsiteX1" fmla="*/ 14474 w 24700"/>
                  <a:gd name="connsiteY1" fmla="*/ 1555 h 68897"/>
                  <a:gd name="connsiteX2" fmla="*/ 15729 w 24700"/>
                  <a:gd name="connsiteY2" fmla="*/ 2333 h 68897"/>
                  <a:gd name="connsiteX3" fmla="*/ 17942 w 24700"/>
                  <a:gd name="connsiteY3" fmla="*/ 4366 h 68897"/>
                  <a:gd name="connsiteX4" fmla="*/ 20155 w 24700"/>
                  <a:gd name="connsiteY4" fmla="*/ 6399 h 68897"/>
                  <a:gd name="connsiteX5" fmla="*/ 20454 w 24700"/>
                  <a:gd name="connsiteY5" fmla="*/ 6639 h 68897"/>
                  <a:gd name="connsiteX6" fmla="*/ 21770 w 24700"/>
                  <a:gd name="connsiteY6" fmla="*/ 9390 h 68897"/>
                  <a:gd name="connsiteX7" fmla="*/ 23086 w 24700"/>
                  <a:gd name="connsiteY7" fmla="*/ 12141 h 68897"/>
                  <a:gd name="connsiteX8" fmla="*/ 23564 w 24700"/>
                  <a:gd name="connsiteY8" fmla="*/ 13098 h 68897"/>
                  <a:gd name="connsiteX9" fmla="*/ 23983 w 24700"/>
                  <a:gd name="connsiteY9" fmla="*/ 16208 h 68897"/>
                  <a:gd name="connsiteX10" fmla="*/ 24401 w 24700"/>
                  <a:gd name="connsiteY10" fmla="*/ 19318 h 68897"/>
                  <a:gd name="connsiteX11" fmla="*/ 24700 w 24700"/>
                  <a:gd name="connsiteY11" fmla="*/ 21411 h 68897"/>
                  <a:gd name="connsiteX12" fmla="*/ 24401 w 24700"/>
                  <a:gd name="connsiteY12" fmla="*/ 24581 h 68897"/>
                  <a:gd name="connsiteX13" fmla="*/ 24282 w 24700"/>
                  <a:gd name="connsiteY13" fmla="*/ 25538 h 68897"/>
                  <a:gd name="connsiteX14" fmla="*/ 23983 w 24700"/>
                  <a:gd name="connsiteY14" fmla="*/ 28707 h 68897"/>
                  <a:gd name="connsiteX15" fmla="*/ 23863 w 24700"/>
                  <a:gd name="connsiteY15" fmla="*/ 29844 h 68897"/>
                  <a:gd name="connsiteX16" fmla="*/ 23744 w 24700"/>
                  <a:gd name="connsiteY16" fmla="*/ 30980 h 68897"/>
                  <a:gd name="connsiteX17" fmla="*/ 22846 w 24700"/>
                  <a:gd name="connsiteY17" fmla="*/ 34090 h 68897"/>
                  <a:gd name="connsiteX18" fmla="*/ 22727 w 24700"/>
                  <a:gd name="connsiteY18" fmla="*/ 34509 h 68897"/>
                  <a:gd name="connsiteX19" fmla="*/ 21830 w 24700"/>
                  <a:gd name="connsiteY19" fmla="*/ 37619 h 68897"/>
                  <a:gd name="connsiteX20" fmla="*/ 20933 w 24700"/>
                  <a:gd name="connsiteY20" fmla="*/ 40729 h 68897"/>
                  <a:gd name="connsiteX21" fmla="*/ 20813 w 24700"/>
                  <a:gd name="connsiteY21" fmla="*/ 41147 h 68897"/>
                  <a:gd name="connsiteX22" fmla="*/ 19378 w 24700"/>
                  <a:gd name="connsiteY22" fmla="*/ 44078 h 68897"/>
                  <a:gd name="connsiteX23" fmla="*/ 17942 w 24700"/>
                  <a:gd name="connsiteY23" fmla="*/ 47008 h 68897"/>
                  <a:gd name="connsiteX24" fmla="*/ 16507 w 24700"/>
                  <a:gd name="connsiteY24" fmla="*/ 49939 h 68897"/>
                  <a:gd name="connsiteX25" fmla="*/ 15969 w 24700"/>
                  <a:gd name="connsiteY25" fmla="*/ 51075 h 68897"/>
                  <a:gd name="connsiteX26" fmla="*/ 14115 w 24700"/>
                  <a:gd name="connsiteY26" fmla="*/ 53767 h 68897"/>
                  <a:gd name="connsiteX27" fmla="*/ 13098 w 24700"/>
                  <a:gd name="connsiteY27" fmla="*/ 55202 h 68897"/>
                  <a:gd name="connsiteX28" fmla="*/ 11244 w 24700"/>
                  <a:gd name="connsiteY28" fmla="*/ 57893 h 68897"/>
                  <a:gd name="connsiteX29" fmla="*/ 9749 w 24700"/>
                  <a:gd name="connsiteY29" fmla="*/ 60046 h 68897"/>
                  <a:gd name="connsiteX30" fmla="*/ 7476 w 24700"/>
                  <a:gd name="connsiteY30" fmla="*/ 62319 h 68897"/>
                  <a:gd name="connsiteX31" fmla="*/ 5203 w 24700"/>
                  <a:gd name="connsiteY31" fmla="*/ 64592 h 68897"/>
                  <a:gd name="connsiteX32" fmla="*/ 2931 w 24700"/>
                  <a:gd name="connsiteY32" fmla="*/ 66865 h 68897"/>
                  <a:gd name="connsiteX33" fmla="*/ 2512 w 24700"/>
                  <a:gd name="connsiteY33" fmla="*/ 67283 h 68897"/>
                  <a:gd name="connsiteX34" fmla="*/ 2093 w 24700"/>
                  <a:gd name="connsiteY34" fmla="*/ 67582 h 68897"/>
                  <a:gd name="connsiteX35" fmla="*/ 1316 w 24700"/>
                  <a:gd name="connsiteY35" fmla="*/ 68061 h 68897"/>
                  <a:gd name="connsiteX36" fmla="*/ 718 w 24700"/>
                  <a:gd name="connsiteY36" fmla="*/ 68419 h 68897"/>
                  <a:gd name="connsiteX37" fmla="*/ 0 w 24700"/>
                  <a:gd name="connsiteY37" fmla="*/ 68898 h 6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700" h="68897">
                    <a:moveTo>
                      <a:pt x="11902" y="0"/>
                    </a:moveTo>
                    <a:lnTo>
                      <a:pt x="14474" y="1555"/>
                    </a:lnTo>
                    <a:lnTo>
                      <a:pt x="15729" y="2333"/>
                    </a:lnTo>
                    <a:lnTo>
                      <a:pt x="17942" y="4366"/>
                    </a:lnTo>
                    <a:lnTo>
                      <a:pt x="20155" y="6399"/>
                    </a:lnTo>
                    <a:lnTo>
                      <a:pt x="20454" y="6639"/>
                    </a:lnTo>
                    <a:lnTo>
                      <a:pt x="21770" y="9390"/>
                    </a:lnTo>
                    <a:lnTo>
                      <a:pt x="23086" y="12141"/>
                    </a:lnTo>
                    <a:lnTo>
                      <a:pt x="23564" y="13098"/>
                    </a:lnTo>
                    <a:lnTo>
                      <a:pt x="23983" y="16208"/>
                    </a:lnTo>
                    <a:lnTo>
                      <a:pt x="24401" y="19318"/>
                    </a:lnTo>
                    <a:lnTo>
                      <a:pt x="24700" y="21411"/>
                    </a:lnTo>
                    <a:lnTo>
                      <a:pt x="24401" y="24581"/>
                    </a:lnTo>
                    <a:lnTo>
                      <a:pt x="24282" y="25538"/>
                    </a:lnTo>
                    <a:lnTo>
                      <a:pt x="23983" y="28707"/>
                    </a:lnTo>
                    <a:lnTo>
                      <a:pt x="23863" y="29844"/>
                    </a:lnTo>
                    <a:lnTo>
                      <a:pt x="23744" y="30980"/>
                    </a:lnTo>
                    <a:lnTo>
                      <a:pt x="22846" y="34090"/>
                    </a:lnTo>
                    <a:lnTo>
                      <a:pt x="22727" y="34509"/>
                    </a:lnTo>
                    <a:lnTo>
                      <a:pt x="21830" y="37619"/>
                    </a:lnTo>
                    <a:lnTo>
                      <a:pt x="20933" y="40729"/>
                    </a:lnTo>
                    <a:lnTo>
                      <a:pt x="20813" y="41147"/>
                    </a:lnTo>
                    <a:lnTo>
                      <a:pt x="19378" y="44078"/>
                    </a:lnTo>
                    <a:lnTo>
                      <a:pt x="17942" y="47008"/>
                    </a:lnTo>
                    <a:lnTo>
                      <a:pt x="16507" y="49939"/>
                    </a:lnTo>
                    <a:lnTo>
                      <a:pt x="15969" y="51075"/>
                    </a:lnTo>
                    <a:lnTo>
                      <a:pt x="14115" y="53767"/>
                    </a:lnTo>
                    <a:lnTo>
                      <a:pt x="13098" y="55202"/>
                    </a:lnTo>
                    <a:lnTo>
                      <a:pt x="11244" y="57893"/>
                    </a:lnTo>
                    <a:lnTo>
                      <a:pt x="9749" y="60046"/>
                    </a:lnTo>
                    <a:lnTo>
                      <a:pt x="7476" y="62319"/>
                    </a:lnTo>
                    <a:lnTo>
                      <a:pt x="5203" y="64592"/>
                    </a:lnTo>
                    <a:lnTo>
                      <a:pt x="2931" y="66865"/>
                    </a:lnTo>
                    <a:lnTo>
                      <a:pt x="2512" y="67283"/>
                    </a:lnTo>
                    <a:lnTo>
                      <a:pt x="2093" y="67582"/>
                    </a:lnTo>
                    <a:lnTo>
                      <a:pt x="1316" y="68061"/>
                    </a:lnTo>
                    <a:lnTo>
                      <a:pt x="718" y="68419"/>
                    </a:lnTo>
                    <a:lnTo>
                      <a:pt x="0" y="68898"/>
                    </a:lnTo>
                  </a:path>
                </a:pathLst>
              </a:custGeom>
              <a:noFill/>
              <a:ln w="6350" cap="rnd">
                <a:solidFill>
                  <a:schemeClr val="bg1">
                    <a:alpha val="80000"/>
                  </a:schemeClr>
                </a:solidFill>
                <a:prstDash val="solid"/>
                <a:round/>
              </a:ln>
            </p:spPr>
            <p:txBody>
              <a:bodyPr rtlCol="0" anchor="ctr"/>
              <a:lstStyle/>
              <a:p>
                <a:endParaRPr lang="en-GB"/>
              </a:p>
            </p:txBody>
          </p:sp>
          <p:sp>
            <p:nvSpPr>
              <p:cNvPr id="5585" name="Vrije vorm: vorm 5584">
                <a:extLst>
                  <a:ext uri="{FF2B5EF4-FFF2-40B4-BE49-F238E27FC236}">
                    <a16:creationId xmlns:a16="http://schemas.microsoft.com/office/drawing/2014/main" id="{F54E9A54-3FEA-450E-9993-8D7E9187014B}"/>
                  </a:ext>
                </a:extLst>
              </p:cNvPr>
              <p:cNvSpPr/>
              <p:nvPr/>
            </p:nvSpPr>
            <p:spPr>
              <a:xfrm>
                <a:off x="6523911" y="1774520"/>
                <a:ext cx="5203" cy="2511"/>
              </a:xfrm>
              <a:custGeom>
                <a:avLst/>
                <a:gdLst>
                  <a:gd name="connsiteX0" fmla="*/ 5203 w 5203"/>
                  <a:gd name="connsiteY0" fmla="*/ 2512 h 2511"/>
                  <a:gd name="connsiteX1" fmla="*/ 3349 w 5203"/>
                  <a:gd name="connsiteY1" fmla="*/ 1615 h 2511"/>
                  <a:gd name="connsiteX2" fmla="*/ 2751 w 5203"/>
                  <a:gd name="connsiteY2" fmla="*/ 1316 h 2511"/>
                  <a:gd name="connsiteX3" fmla="*/ 2751 w 5203"/>
                  <a:gd name="connsiteY3" fmla="*/ 1316 h 2511"/>
                  <a:gd name="connsiteX4" fmla="*/ 60 w 5203"/>
                  <a:gd name="connsiteY4" fmla="*/ 0 h 2511"/>
                  <a:gd name="connsiteX5" fmla="*/ 0 w 5203"/>
                  <a:gd name="connsiteY5" fmla="*/ 0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03" h="2511">
                    <a:moveTo>
                      <a:pt x="5203" y="2512"/>
                    </a:moveTo>
                    <a:lnTo>
                      <a:pt x="3349" y="1615"/>
                    </a:lnTo>
                    <a:lnTo>
                      <a:pt x="2751" y="1316"/>
                    </a:lnTo>
                    <a:lnTo>
                      <a:pt x="2751" y="1316"/>
                    </a:lnTo>
                    <a:lnTo>
                      <a:pt x="60" y="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86" name="Vrije vorm: vorm 5585">
                <a:extLst>
                  <a:ext uri="{FF2B5EF4-FFF2-40B4-BE49-F238E27FC236}">
                    <a16:creationId xmlns:a16="http://schemas.microsoft.com/office/drawing/2014/main" id="{76B3B3E6-E241-4138-8FF5-ADECF50FE03D}"/>
                  </a:ext>
                </a:extLst>
              </p:cNvPr>
              <p:cNvSpPr/>
              <p:nvPr/>
            </p:nvSpPr>
            <p:spPr>
              <a:xfrm>
                <a:off x="6492871" y="1765908"/>
                <a:ext cx="1315" cy="1734"/>
              </a:xfrm>
              <a:custGeom>
                <a:avLst/>
                <a:gdLst>
                  <a:gd name="connsiteX0" fmla="*/ 1316 w 1315"/>
                  <a:gd name="connsiteY0" fmla="*/ 1734 h 1734"/>
                  <a:gd name="connsiteX1" fmla="*/ 60 w 1315"/>
                  <a:gd name="connsiteY1" fmla="*/ 239 h 1734"/>
                  <a:gd name="connsiteX2" fmla="*/ 0 w 1315"/>
                  <a:gd name="connsiteY2" fmla="*/ 0 h 1734"/>
                </a:gdLst>
                <a:ahLst/>
                <a:cxnLst>
                  <a:cxn ang="0">
                    <a:pos x="connsiteX0" y="connsiteY0"/>
                  </a:cxn>
                  <a:cxn ang="0">
                    <a:pos x="connsiteX1" y="connsiteY1"/>
                  </a:cxn>
                  <a:cxn ang="0">
                    <a:pos x="connsiteX2" y="connsiteY2"/>
                  </a:cxn>
                </a:cxnLst>
                <a:rect l="l" t="t" r="r" b="b"/>
                <a:pathLst>
                  <a:path w="1315" h="1734">
                    <a:moveTo>
                      <a:pt x="1316" y="1734"/>
                    </a:moveTo>
                    <a:lnTo>
                      <a:pt x="60" y="23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87" name="Vrije vorm: vorm 5586">
                <a:extLst>
                  <a:ext uri="{FF2B5EF4-FFF2-40B4-BE49-F238E27FC236}">
                    <a16:creationId xmlns:a16="http://schemas.microsoft.com/office/drawing/2014/main" id="{341DE6BA-6814-4D84-B584-3F6125376137}"/>
                  </a:ext>
                </a:extLst>
              </p:cNvPr>
              <p:cNvSpPr/>
              <p:nvPr/>
            </p:nvSpPr>
            <p:spPr>
              <a:xfrm>
                <a:off x="6488804" y="1702991"/>
                <a:ext cx="40668" cy="64591"/>
              </a:xfrm>
              <a:custGeom>
                <a:avLst/>
                <a:gdLst>
                  <a:gd name="connsiteX0" fmla="*/ 0 w 40668"/>
                  <a:gd name="connsiteY0" fmla="*/ 63754 h 64591"/>
                  <a:gd name="connsiteX1" fmla="*/ 1794 w 40668"/>
                  <a:gd name="connsiteY1" fmla="*/ 64592 h 64591"/>
                  <a:gd name="connsiteX2" fmla="*/ 2871 w 40668"/>
                  <a:gd name="connsiteY2" fmla="*/ 64592 h 64591"/>
                  <a:gd name="connsiteX3" fmla="*/ 5383 w 40668"/>
                  <a:gd name="connsiteY3" fmla="*/ 64592 h 64591"/>
                  <a:gd name="connsiteX4" fmla="*/ 5861 w 40668"/>
                  <a:gd name="connsiteY4" fmla="*/ 64592 h 64591"/>
                  <a:gd name="connsiteX5" fmla="*/ 6041 w 40668"/>
                  <a:gd name="connsiteY5" fmla="*/ 64592 h 64591"/>
                  <a:gd name="connsiteX6" fmla="*/ 6758 w 40668"/>
                  <a:gd name="connsiteY6" fmla="*/ 64592 h 64591"/>
                  <a:gd name="connsiteX7" fmla="*/ 7536 w 40668"/>
                  <a:gd name="connsiteY7" fmla="*/ 64592 h 64591"/>
                  <a:gd name="connsiteX8" fmla="*/ 7596 w 40668"/>
                  <a:gd name="connsiteY8" fmla="*/ 64592 h 64591"/>
                  <a:gd name="connsiteX9" fmla="*/ 8911 w 40668"/>
                  <a:gd name="connsiteY9" fmla="*/ 64113 h 64591"/>
                  <a:gd name="connsiteX10" fmla="*/ 11842 w 40668"/>
                  <a:gd name="connsiteY10" fmla="*/ 63037 h 64591"/>
                  <a:gd name="connsiteX11" fmla="*/ 13636 w 40668"/>
                  <a:gd name="connsiteY11" fmla="*/ 62379 h 64591"/>
                  <a:gd name="connsiteX12" fmla="*/ 14055 w 40668"/>
                  <a:gd name="connsiteY12" fmla="*/ 62199 h 64591"/>
                  <a:gd name="connsiteX13" fmla="*/ 16507 w 40668"/>
                  <a:gd name="connsiteY13" fmla="*/ 60525 h 64591"/>
                  <a:gd name="connsiteX14" fmla="*/ 19138 w 40668"/>
                  <a:gd name="connsiteY14" fmla="*/ 58731 h 64591"/>
                  <a:gd name="connsiteX15" fmla="*/ 20215 w 40668"/>
                  <a:gd name="connsiteY15" fmla="*/ 58013 h 64591"/>
                  <a:gd name="connsiteX16" fmla="*/ 20693 w 40668"/>
                  <a:gd name="connsiteY16" fmla="*/ 57654 h 64591"/>
                  <a:gd name="connsiteX17" fmla="*/ 22727 w 40668"/>
                  <a:gd name="connsiteY17" fmla="*/ 55561 h 64591"/>
                  <a:gd name="connsiteX18" fmla="*/ 24999 w 40668"/>
                  <a:gd name="connsiteY18" fmla="*/ 53228 h 64591"/>
                  <a:gd name="connsiteX19" fmla="*/ 27033 w 40668"/>
                  <a:gd name="connsiteY19" fmla="*/ 51135 h 64591"/>
                  <a:gd name="connsiteX20" fmla="*/ 28887 w 40668"/>
                  <a:gd name="connsiteY20" fmla="*/ 48444 h 64591"/>
                  <a:gd name="connsiteX21" fmla="*/ 30621 w 40668"/>
                  <a:gd name="connsiteY21" fmla="*/ 45932 h 64591"/>
                  <a:gd name="connsiteX22" fmla="*/ 30681 w 40668"/>
                  <a:gd name="connsiteY22" fmla="*/ 45812 h 64591"/>
                  <a:gd name="connsiteX23" fmla="*/ 30980 w 40668"/>
                  <a:gd name="connsiteY23" fmla="*/ 45394 h 64591"/>
                  <a:gd name="connsiteX24" fmla="*/ 31160 w 40668"/>
                  <a:gd name="connsiteY24" fmla="*/ 45154 h 64591"/>
                  <a:gd name="connsiteX25" fmla="*/ 31219 w 40668"/>
                  <a:gd name="connsiteY25" fmla="*/ 45095 h 64591"/>
                  <a:gd name="connsiteX26" fmla="*/ 31459 w 40668"/>
                  <a:gd name="connsiteY26" fmla="*/ 44736 h 64591"/>
                  <a:gd name="connsiteX27" fmla="*/ 31519 w 40668"/>
                  <a:gd name="connsiteY27" fmla="*/ 44676 h 64591"/>
                  <a:gd name="connsiteX28" fmla="*/ 32595 w 40668"/>
                  <a:gd name="connsiteY28" fmla="*/ 43181 h 64591"/>
                  <a:gd name="connsiteX29" fmla="*/ 33731 w 40668"/>
                  <a:gd name="connsiteY29" fmla="*/ 40908 h 64591"/>
                  <a:gd name="connsiteX30" fmla="*/ 35167 w 40668"/>
                  <a:gd name="connsiteY30" fmla="*/ 37978 h 64591"/>
                  <a:gd name="connsiteX31" fmla="*/ 36602 w 40668"/>
                  <a:gd name="connsiteY31" fmla="*/ 35047 h 64591"/>
                  <a:gd name="connsiteX32" fmla="*/ 36961 w 40668"/>
                  <a:gd name="connsiteY32" fmla="*/ 34389 h 64591"/>
                  <a:gd name="connsiteX33" fmla="*/ 37260 w 40668"/>
                  <a:gd name="connsiteY33" fmla="*/ 33372 h 64591"/>
                  <a:gd name="connsiteX34" fmla="*/ 38217 w 40668"/>
                  <a:gd name="connsiteY34" fmla="*/ 30262 h 64591"/>
                  <a:gd name="connsiteX35" fmla="*/ 38336 w 40668"/>
                  <a:gd name="connsiteY35" fmla="*/ 29904 h 64591"/>
                  <a:gd name="connsiteX36" fmla="*/ 38516 w 40668"/>
                  <a:gd name="connsiteY36" fmla="*/ 29365 h 64591"/>
                  <a:gd name="connsiteX37" fmla="*/ 39473 w 40668"/>
                  <a:gd name="connsiteY37" fmla="*/ 26255 h 64591"/>
                  <a:gd name="connsiteX38" fmla="*/ 39712 w 40668"/>
                  <a:gd name="connsiteY38" fmla="*/ 25418 h 64591"/>
                  <a:gd name="connsiteX39" fmla="*/ 39712 w 40668"/>
                  <a:gd name="connsiteY39" fmla="*/ 25298 h 64591"/>
                  <a:gd name="connsiteX40" fmla="*/ 40071 w 40668"/>
                  <a:gd name="connsiteY40" fmla="*/ 22129 h 64591"/>
                  <a:gd name="connsiteX41" fmla="*/ 40310 w 40668"/>
                  <a:gd name="connsiteY41" fmla="*/ 20155 h 64591"/>
                  <a:gd name="connsiteX42" fmla="*/ 40370 w 40668"/>
                  <a:gd name="connsiteY42" fmla="*/ 19437 h 64591"/>
                  <a:gd name="connsiteX43" fmla="*/ 40430 w 40668"/>
                  <a:gd name="connsiteY43" fmla="*/ 19019 h 64591"/>
                  <a:gd name="connsiteX44" fmla="*/ 40669 w 40668"/>
                  <a:gd name="connsiteY44" fmla="*/ 17224 h 64591"/>
                  <a:gd name="connsiteX45" fmla="*/ 40669 w 40668"/>
                  <a:gd name="connsiteY45" fmla="*/ 17045 h 64591"/>
                  <a:gd name="connsiteX46" fmla="*/ 40669 w 40668"/>
                  <a:gd name="connsiteY46" fmla="*/ 16985 h 64591"/>
                  <a:gd name="connsiteX47" fmla="*/ 40549 w 40668"/>
                  <a:gd name="connsiteY47" fmla="*/ 16028 h 64591"/>
                  <a:gd name="connsiteX48" fmla="*/ 40190 w 40668"/>
                  <a:gd name="connsiteY48" fmla="*/ 12918 h 64591"/>
                  <a:gd name="connsiteX49" fmla="*/ 40071 w 40668"/>
                  <a:gd name="connsiteY49" fmla="*/ 11722 h 64591"/>
                  <a:gd name="connsiteX50" fmla="*/ 40071 w 40668"/>
                  <a:gd name="connsiteY50" fmla="*/ 11662 h 64591"/>
                  <a:gd name="connsiteX51" fmla="*/ 39951 w 40668"/>
                  <a:gd name="connsiteY51" fmla="*/ 10466 h 64591"/>
                  <a:gd name="connsiteX52" fmla="*/ 39891 w 40668"/>
                  <a:gd name="connsiteY52" fmla="*/ 9689 h 64591"/>
                  <a:gd name="connsiteX53" fmla="*/ 39473 w 40668"/>
                  <a:gd name="connsiteY53" fmla="*/ 8732 h 64591"/>
                  <a:gd name="connsiteX54" fmla="*/ 39473 w 40668"/>
                  <a:gd name="connsiteY54" fmla="*/ 8732 h 64591"/>
                  <a:gd name="connsiteX55" fmla="*/ 39174 w 40668"/>
                  <a:gd name="connsiteY55" fmla="*/ 8014 h 64591"/>
                  <a:gd name="connsiteX56" fmla="*/ 38277 w 40668"/>
                  <a:gd name="connsiteY56" fmla="*/ 5981 h 64591"/>
                  <a:gd name="connsiteX57" fmla="*/ 37738 w 40668"/>
                  <a:gd name="connsiteY57" fmla="*/ 4725 h 64591"/>
                  <a:gd name="connsiteX58" fmla="*/ 37380 w 40668"/>
                  <a:gd name="connsiteY58" fmla="*/ 3947 h 64591"/>
                  <a:gd name="connsiteX59" fmla="*/ 35227 w 40668"/>
                  <a:gd name="connsiteY59" fmla="*/ 1914 h 64591"/>
                  <a:gd name="connsiteX60" fmla="*/ 34150 w 40668"/>
                  <a:gd name="connsiteY60" fmla="*/ 897 h 64591"/>
                  <a:gd name="connsiteX61" fmla="*/ 33432 w 40668"/>
                  <a:gd name="connsiteY61" fmla="*/ 239 h 64591"/>
                  <a:gd name="connsiteX62" fmla="*/ 32655 w 40668"/>
                  <a:gd name="connsiteY62" fmla="*/ 0 h 6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0668" h="64591">
                    <a:moveTo>
                      <a:pt x="0" y="63754"/>
                    </a:moveTo>
                    <a:lnTo>
                      <a:pt x="1794" y="64592"/>
                    </a:lnTo>
                    <a:lnTo>
                      <a:pt x="2871" y="64592"/>
                    </a:lnTo>
                    <a:lnTo>
                      <a:pt x="5383" y="64592"/>
                    </a:lnTo>
                    <a:lnTo>
                      <a:pt x="5861" y="64592"/>
                    </a:lnTo>
                    <a:lnTo>
                      <a:pt x="6041" y="64592"/>
                    </a:lnTo>
                    <a:lnTo>
                      <a:pt x="6758" y="64592"/>
                    </a:lnTo>
                    <a:lnTo>
                      <a:pt x="7536" y="64592"/>
                    </a:lnTo>
                    <a:lnTo>
                      <a:pt x="7596" y="64592"/>
                    </a:lnTo>
                    <a:lnTo>
                      <a:pt x="8911" y="64113"/>
                    </a:lnTo>
                    <a:lnTo>
                      <a:pt x="11842" y="63037"/>
                    </a:lnTo>
                    <a:lnTo>
                      <a:pt x="13636" y="62379"/>
                    </a:lnTo>
                    <a:lnTo>
                      <a:pt x="14055" y="62199"/>
                    </a:lnTo>
                    <a:lnTo>
                      <a:pt x="16507" y="60525"/>
                    </a:lnTo>
                    <a:lnTo>
                      <a:pt x="19138" y="58731"/>
                    </a:lnTo>
                    <a:lnTo>
                      <a:pt x="20215" y="58013"/>
                    </a:lnTo>
                    <a:lnTo>
                      <a:pt x="20693" y="57654"/>
                    </a:lnTo>
                    <a:lnTo>
                      <a:pt x="22727" y="55561"/>
                    </a:lnTo>
                    <a:lnTo>
                      <a:pt x="24999" y="53228"/>
                    </a:lnTo>
                    <a:lnTo>
                      <a:pt x="27033" y="51135"/>
                    </a:lnTo>
                    <a:lnTo>
                      <a:pt x="28887" y="48444"/>
                    </a:lnTo>
                    <a:lnTo>
                      <a:pt x="30621" y="45932"/>
                    </a:lnTo>
                    <a:lnTo>
                      <a:pt x="30681" y="45812"/>
                    </a:lnTo>
                    <a:lnTo>
                      <a:pt x="30980" y="45394"/>
                    </a:lnTo>
                    <a:lnTo>
                      <a:pt x="31160" y="45154"/>
                    </a:lnTo>
                    <a:lnTo>
                      <a:pt x="31219" y="45095"/>
                    </a:lnTo>
                    <a:lnTo>
                      <a:pt x="31459" y="44736"/>
                    </a:lnTo>
                    <a:lnTo>
                      <a:pt x="31519" y="44676"/>
                    </a:lnTo>
                    <a:lnTo>
                      <a:pt x="32595" y="43181"/>
                    </a:lnTo>
                    <a:lnTo>
                      <a:pt x="33731" y="40908"/>
                    </a:lnTo>
                    <a:lnTo>
                      <a:pt x="35167" y="37978"/>
                    </a:lnTo>
                    <a:lnTo>
                      <a:pt x="36602" y="35047"/>
                    </a:lnTo>
                    <a:lnTo>
                      <a:pt x="36961" y="34389"/>
                    </a:lnTo>
                    <a:lnTo>
                      <a:pt x="37260" y="33372"/>
                    </a:lnTo>
                    <a:lnTo>
                      <a:pt x="38217" y="30262"/>
                    </a:lnTo>
                    <a:lnTo>
                      <a:pt x="38336" y="29904"/>
                    </a:lnTo>
                    <a:lnTo>
                      <a:pt x="38516" y="29365"/>
                    </a:lnTo>
                    <a:lnTo>
                      <a:pt x="39473" y="26255"/>
                    </a:lnTo>
                    <a:lnTo>
                      <a:pt x="39712" y="25418"/>
                    </a:lnTo>
                    <a:lnTo>
                      <a:pt x="39712" y="25298"/>
                    </a:lnTo>
                    <a:lnTo>
                      <a:pt x="40071" y="22129"/>
                    </a:lnTo>
                    <a:lnTo>
                      <a:pt x="40310" y="20155"/>
                    </a:lnTo>
                    <a:lnTo>
                      <a:pt x="40370" y="19437"/>
                    </a:lnTo>
                    <a:lnTo>
                      <a:pt x="40430" y="19019"/>
                    </a:lnTo>
                    <a:lnTo>
                      <a:pt x="40669" y="17224"/>
                    </a:lnTo>
                    <a:lnTo>
                      <a:pt x="40669" y="17045"/>
                    </a:lnTo>
                    <a:lnTo>
                      <a:pt x="40669" y="16985"/>
                    </a:lnTo>
                    <a:lnTo>
                      <a:pt x="40549" y="16028"/>
                    </a:lnTo>
                    <a:lnTo>
                      <a:pt x="40190" y="12918"/>
                    </a:lnTo>
                    <a:lnTo>
                      <a:pt x="40071" y="11722"/>
                    </a:lnTo>
                    <a:lnTo>
                      <a:pt x="40071" y="11662"/>
                    </a:lnTo>
                    <a:lnTo>
                      <a:pt x="39951" y="10466"/>
                    </a:lnTo>
                    <a:lnTo>
                      <a:pt x="39891" y="9689"/>
                    </a:lnTo>
                    <a:lnTo>
                      <a:pt x="39473" y="8732"/>
                    </a:lnTo>
                    <a:lnTo>
                      <a:pt x="39473" y="8732"/>
                    </a:lnTo>
                    <a:lnTo>
                      <a:pt x="39174" y="8014"/>
                    </a:lnTo>
                    <a:lnTo>
                      <a:pt x="38277" y="5981"/>
                    </a:lnTo>
                    <a:lnTo>
                      <a:pt x="37738" y="4725"/>
                    </a:lnTo>
                    <a:lnTo>
                      <a:pt x="37380" y="3947"/>
                    </a:lnTo>
                    <a:lnTo>
                      <a:pt x="35227" y="1914"/>
                    </a:lnTo>
                    <a:lnTo>
                      <a:pt x="34150" y="897"/>
                    </a:lnTo>
                    <a:lnTo>
                      <a:pt x="33432" y="239"/>
                    </a:lnTo>
                    <a:lnTo>
                      <a:pt x="32655" y="0"/>
                    </a:lnTo>
                  </a:path>
                </a:pathLst>
              </a:custGeom>
              <a:noFill/>
              <a:ln w="6350" cap="rnd">
                <a:solidFill>
                  <a:schemeClr val="bg1">
                    <a:alpha val="80000"/>
                  </a:schemeClr>
                </a:solidFill>
                <a:prstDash val="solid"/>
                <a:round/>
              </a:ln>
            </p:spPr>
            <p:txBody>
              <a:bodyPr rtlCol="0" anchor="ctr"/>
              <a:lstStyle/>
              <a:p>
                <a:endParaRPr lang="en-GB"/>
              </a:p>
            </p:txBody>
          </p:sp>
          <p:sp>
            <p:nvSpPr>
              <p:cNvPr id="5588" name="Vrije vorm: vorm 5587">
                <a:extLst>
                  <a:ext uri="{FF2B5EF4-FFF2-40B4-BE49-F238E27FC236}">
                    <a16:creationId xmlns:a16="http://schemas.microsoft.com/office/drawing/2014/main" id="{CE3CF13F-450C-480A-A4F9-3E559F0450FD}"/>
                  </a:ext>
                </a:extLst>
              </p:cNvPr>
              <p:cNvSpPr/>
              <p:nvPr/>
            </p:nvSpPr>
            <p:spPr>
              <a:xfrm>
                <a:off x="6526662" y="1780680"/>
                <a:ext cx="4186" cy="6698"/>
              </a:xfrm>
              <a:custGeom>
                <a:avLst/>
                <a:gdLst>
                  <a:gd name="connsiteX0" fmla="*/ 0 w 4186"/>
                  <a:gd name="connsiteY0" fmla="*/ 598 h 6698"/>
                  <a:gd name="connsiteX1" fmla="*/ 1076 w 4186"/>
                  <a:gd name="connsiteY1" fmla="*/ 60 h 6698"/>
                  <a:gd name="connsiteX2" fmla="*/ 1555 w 4186"/>
                  <a:gd name="connsiteY2" fmla="*/ 0 h 6698"/>
                  <a:gd name="connsiteX3" fmla="*/ 2093 w 4186"/>
                  <a:gd name="connsiteY3" fmla="*/ 179 h 6698"/>
                  <a:gd name="connsiteX4" fmla="*/ 2632 w 4186"/>
                  <a:gd name="connsiteY4" fmla="*/ 538 h 6698"/>
                  <a:gd name="connsiteX5" fmla="*/ 3110 w 4186"/>
                  <a:gd name="connsiteY5" fmla="*/ 1077 h 6698"/>
                  <a:gd name="connsiteX6" fmla="*/ 3170 w 4186"/>
                  <a:gd name="connsiteY6" fmla="*/ 1196 h 6698"/>
                  <a:gd name="connsiteX7" fmla="*/ 3528 w 4186"/>
                  <a:gd name="connsiteY7" fmla="*/ 1794 h 6698"/>
                  <a:gd name="connsiteX8" fmla="*/ 3768 w 4186"/>
                  <a:gd name="connsiteY8" fmla="*/ 2332 h 6698"/>
                  <a:gd name="connsiteX9" fmla="*/ 3887 w 4186"/>
                  <a:gd name="connsiteY9" fmla="*/ 2572 h 6698"/>
                  <a:gd name="connsiteX10" fmla="*/ 4067 w 4186"/>
                  <a:gd name="connsiteY10" fmla="*/ 3230 h 6698"/>
                  <a:gd name="connsiteX11" fmla="*/ 4127 w 4186"/>
                  <a:gd name="connsiteY11" fmla="*/ 3349 h 6698"/>
                  <a:gd name="connsiteX12" fmla="*/ 4187 w 4186"/>
                  <a:gd name="connsiteY12" fmla="*/ 4127 h 6698"/>
                  <a:gd name="connsiteX13" fmla="*/ 4127 w 4186"/>
                  <a:gd name="connsiteY13" fmla="*/ 4844 h 6698"/>
                  <a:gd name="connsiteX14" fmla="*/ 3947 w 4186"/>
                  <a:gd name="connsiteY14" fmla="*/ 5442 h 6698"/>
                  <a:gd name="connsiteX15" fmla="*/ 3947 w 4186"/>
                  <a:gd name="connsiteY15" fmla="*/ 5442 h 6698"/>
                  <a:gd name="connsiteX16" fmla="*/ 3827 w 4186"/>
                  <a:gd name="connsiteY16" fmla="*/ 5562 h 6698"/>
                  <a:gd name="connsiteX17" fmla="*/ 3588 w 4186"/>
                  <a:gd name="connsiteY17" fmla="*/ 5861 h 6698"/>
                  <a:gd name="connsiteX18" fmla="*/ 3229 w 4186"/>
                  <a:gd name="connsiteY18" fmla="*/ 6100 h 6698"/>
                  <a:gd name="connsiteX19" fmla="*/ 3170 w 4186"/>
                  <a:gd name="connsiteY19" fmla="*/ 6160 h 6698"/>
                  <a:gd name="connsiteX20" fmla="*/ 2093 w 4186"/>
                  <a:gd name="connsiteY20" fmla="*/ 6698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6" h="6698">
                    <a:moveTo>
                      <a:pt x="0" y="598"/>
                    </a:moveTo>
                    <a:lnTo>
                      <a:pt x="1076" y="60"/>
                    </a:lnTo>
                    <a:lnTo>
                      <a:pt x="1555" y="0"/>
                    </a:lnTo>
                    <a:lnTo>
                      <a:pt x="2093" y="179"/>
                    </a:lnTo>
                    <a:lnTo>
                      <a:pt x="2632" y="538"/>
                    </a:lnTo>
                    <a:lnTo>
                      <a:pt x="3110" y="1077"/>
                    </a:lnTo>
                    <a:lnTo>
                      <a:pt x="3170" y="1196"/>
                    </a:lnTo>
                    <a:lnTo>
                      <a:pt x="3528" y="1794"/>
                    </a:lnTo>
                    <a:lnTo>
                      <a:pt x="3768" y="2332"/>
                    </a:lnTo>
                    <a:lnTo>
                      <a:pt x="3887" y="2572"/>
                    </a:lnTo>
                    <a:lnTo>
                      <a:pt x="4067" y="3230"/>
                    </a:lnTo>
                    <a:lnTo>
                      <a:pt x="4127" y="3349"/>
                    </a:lnTo>
                    <a:lnTo>
                      <a:pt x="4187" y="4127"/>
                    </a:lnTo>
                    <a:lnTo>
                      <a:pt x="4127" y="4844"/>
                    </a:lnTo>
                    <a:lnTo>
                      <a:pt x="3947" y="5442"/>
                    </a:lnTo>
                    <a:lnTo>
                      <a:pt x="3947" y="5442"/>
                    </a:lnTo>
                    <a:lnTo>
                      <a:pt x="3827" y="5562"/>
                    </a:lnTo>
                    <a:lnTo>
                      <a:pt x="3588" y="5861"/>
                    </a:lnTo>
                    <a:lnTo>
                      <a:pt x="3229" y="6100"/>
                    </a:lnTo>
                    <a:lnTo>
                      <a:pt x="3170" y="6160"/>
                    </a:lnTo>
                    <a:lnTo>
                      <a:pt x="2093" y="6698"/>
                    </a:lnTo>
                  </a:path>
                </a:pathLst>
              </a:custGeom>
              <a:noFill/>
              <a:ln w="6350" cap="rnd">
                <a:solidFill>
                  <a:schemeClr val="bg1">
                    <a:alpha val="80000"/>
                  </a:schemeClr>
                </a:solidFill>
                <a:prstDash val="solid"/>
                <a:round/>
              </a:ln>
            </p:spPr>
            <p:txBody>
              <a:bodyPr rtlCol="0" anchor="ctr"/>
              <a:lstStyle/>
              <a:p>
                <a:endParaRPr lang="en-GB"/>
              </a:p>
            </p:txBody>
          </p:sp>
          <p:sp>
            <p:nvSpPr>
              <p:cNvPr id="5589" name="Vrije vorm: vorm 5588">
                <a:extLst>
                  <a:ext uri="{FF2B5EF4-FFF2-40B4-BE49-F238E27FC236}">
                    <a16:creationId xmlns:a16="http://schemas.microsoft.com/office/drawing/2014/main" id="{BB35B334-E478-41E7-9C13-2E193CC44CD4}"/>
                  </a:ext>
                </a:extLst>
              </p:cNvPr>
              <p:cNvSpPr/>
              <p:nvPr/>
            </p:nvSpPr>
            <p:spPr>
              <a:xfrm>
                <a:off x="6522954" y="1775716"/>
                <a:ext cx="8432" cy="14892"/>
              </a:xfrm>
              <a:custGeom>
                <a:avLst/>
                <a:gdLst>
                  <a:gd name="connsiteX0" fmla="*/ 8253 w 8432"/>
                  <a:gd name="connsiteY0" fmla="*/ 0 h 14892"/>
                  <a:gd name="connsiteX1" fmla="*/ 8313 w 8432"/>
                  <a:gd name="connsiteY1" fmla="*/ 3170 h 14892"/>
                  <a:gd name="connsiteX2" fmla="*/ 8373 w 8432"/>
                  <a:gd name="connsiteY2" fmla="*/ 6340 h 14892"/>
                  <a:gd name="connsiteX3" fmla="*/ 8373 w 8432"/>
                  <a:gd name="connsiteY3" fmla="*/ 8074 h 14892"/>
                  <a:gd name="connsiteX4" fmla="*/ 8373 w 8432"/>
                  <a:gd name="connsiteY4" fmla="*/ 10945 h 14892"/>
                  <a:gd name="connsiteX5" fmla="*/ 8433 w 8432"/>
                  <a:gd name="connsiteY5" fmla="*/ 14115 h 14892"/>
                  <a:gd name="connsiteX6" fmla="*/ 8433 w 8432"/>
                  <a:gd name="connsiteY6" fmla="*/ 14354 h 14892"/>
                  <a:gd name="connsiteX7" fmla="*/ 7356 w 8432"/>
                  <a:gd name="connsiteY7" fmla="*/ 14892 h 14892"/>
                  <a:gd name="connsiteX8" fmla="*/ 4665 w 8432"/>
                  <a:gd name="connsiteY8" fmla="*/ 13636 h 14892"/>
                  <a:gd name="connsiteX9" fmla="*/ 1973 w 8432"/>
                  <a:gd name="connsiteY9" fmla="*/ 12380 h 14892"/>
                  <a:gd name="connsiteX10" fmla="*/ 0 w 8432"/>
                  <a:gd name="connsiteY10" fmla="*/ 11423 h 1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32" h="14892">
                    <a:moveTo>
                      <a:pt x="8253" y="0"/>
                    </a:moveTo>
                    <a:lnTo>
                      <a:pt x="8313" y="3170"/>
                    </a:lnTo>
                    <a:lnTo>
                      <a:pt x="8373" y="6340"/>
                    </a:lnTo>
                    <a:lnTo>
                      <a:pt x="8373" y="8074"/>
                    </a:lnTo>
                    <a:lnTo>
                      <a:pt x="8373" y="10945"/>
                    </a:lnTo>
                    <a:lnTo>
                      <a:pt x="8433" y="14115"/>
                    </a:lnTo>
                    <a:lnTo>
                      <a:pt x="8433" y="14354"/>
                    </a:lnTo>
                    <a:lnTo>
                      <a:pt x="7356" y="14892"/>
                    </a:lnTo>
                    <a:lnTo>
                      <a:pt x="4665" y="13636"/>
                    </a:lnTo>
                    <a:lnTo>
                      <a:pt x="1973" y="12380"/>
                    </a:lnTo>
                    <a:lnTo>
                      <a:pt x="0" y="11423"/>
                    </a:lnTo>
                  </a:path>
                </a:pathLst>
              </a:custGeom>
              <a:noFill/>
              <a:ln w="6350" cap="rnd">
                <a:solidFill>
                  <a:schemeClr val="bg1">
                    <a:alpha val="80000"/>
                  </a:schemeClr>
                </a:solidFill>
                <a:prstDash val="solid"/>
                <a:round/>
              </a:ln>
            </p:spPr>
            <p:txBody>
              <a:bodyPr rtlCol="0" anchor="ctr"/>
              <a:lstStyle/>
              <a:p>
                <a:endParaRPr lang="en-GB"/>
              </a:p>
            </p:txBody>
          </p:sp>
          <p:sp>
            <p:nvSpPr>
              <p:cNvPr id="5590" name="Vrije vorm: vorm 5589">
                <a:extLst>
                  <a:ext uri="{FF2B5EF4-FFF2-40B4-BE49-F238E27FC236}">
                    <a16:creationId xmlns:a16="http://schemas.microsoft.com/office/drawing/2014/main" id="{867957B1-2F2A-48E3-868C-3112DEC1E988}"/>
                  </a:ext>
                </a:extLst>
              </p:cNvPr>
              <p:cNvSpPr/>
              <p:nvPr/>
            </p:nvSpPr>
            <p:spPr>
              <a:xfrm>
                <a:off x="6513504" y="1774700"/>
                <a:ext cx="10466" cy="12439"/>
              </a:xfrm>
              <a:custGeom>
                <a:avLst/>
                <a:gdLst>
                  <a:gd name="connsiteX0" fmla="*/ 0 w 10466"/>
                  <a:gd name="connsiteY0" fmla="*/ 5024 h 12439"/>
                  <a:gd name="connsiteX1" fmla="*/ 2333 w 10466"/>
                  <a:gd name="connsiteY1" fmla="*/ 6878 h 12439"/>
                  <a:gd name="connsiteX2" fmla="*/ 4665 w 10466"/>
                  <a:gd name="connsiteY2" fmla="*/ 8732 h 12439"/>
                  <a:gd name="connsiteX3" fmla="*/ 6997 w 10466"/>
                  <a:gd name="connsiteY3" fmla="*/ 10586 h 12439"/>
                  <a:gd name="connsiteX4" fmla="*/ 9390 w 10466"/>
                  <a:gd name="connsiteY4" fmla="*/ 12440 h 12439"/>
                  <a:gd name="connsiteX5" fmla="*/ 10466 w 10466"/>
                  <a:gd name="connsiteY5" fmla="*/ 11902 h 12439"/>
                  <a:gd name="connsiteX6" fmla="*/ 10466 w 10466"/>
                  <a:gd name="connsiteY6" fmla="*/ 11662 h 12439"/>
                  <a:gd name="connsiteX7" fmla="*/ 10466 w 10466"/>
                  <a:gd name="connsiteY7" fmla="*/ 11423 h 12439"/>
                  <a:gd name="connsiteX8" fmla="*/ 10466 w 10466"/>
                  <a:gd name="connsiteY8" fmla="*/ 11005 h 12439"/>
                  <a:gd name="connsiteX9" fmla="*/ 10466 w 10466"/>
                  <a:gd name="connsiteY9" fmla="*/ 9868 h 12439"/>
                  <a:gd name="connsiteX10" fmla="*/ 10466 w 10466"/>
                  <a:gd name="connsiteY10" fmla="*/ 9689 h 12439"/>
                  <a:gd name="connsiteX11" fmla="*/ 10466 w 10466"/>
                  <a:gd name="connsiteY11" fmla="*/ 7356 h 12439"/>
                  <a:gd name="connsiteX12" fmla="*/ 10466 w 10466"/>
                  <a:gd name="connsiteY12" fmla="*/ 7177 h 12439"/>
                  <a:gd name="connsiteX13" fmla="*/ 10466 w 10466"/>
                  <a:gd name="connsiteY13" fmla="*/ 5801 h 12439"/>
                  <a:gd name="connsiteX14" fmla="*/ 10466 w 10466"/>
                  <a:gd name="connsiteY14" fmla="*/ 5682 h 12439"/>
                  <a:gd name="connsiteX15" fmla="*/ 10466 w 10466"/>
                  <a:gd name="connsiteY15" fmla="*/ 4665 h 12439"/>
                  <a:gd name="connsiteX16" fmla="*/ 10466 w 10466"/>
                  <a:gd name="connsiteY16" fmla="*/ 4665 h 12439"/>
                  <a:gd name="connsiteX17" fmla="*/ 10466 w 10466"/>
                  <a:gd name="connsiteY17" fmla="*/ 1495 h 12439"/>
                  <a:gd name="connsiteX18" fmla="*/ 10466 w 10466"/>
                  <a:gd name="connsiteY18" fmla="*/ 837 h 12439"/>
                  <a:gd name="connsiteX19" fmla="*/ 10466 w 10466"/>
                  <a:gd name="connsiteY19" fmla="*/ 0 h 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466" h="12439">
                    <a:moveTo>
                      <a:pt x="0" y="5024"/>
                    </a:moveTo>
                    <a:lnTo>
                      <a:pt x="2333" y="6878"/>
                    </a:lnTo>
                    <a:lnTo>
                      <a:pt x="4665" y="8732"/>
                    </a:lnTo>
                    <a:lnTo>
                      <a:pt x="6997" y="10586"/>
                    </a:lnTo>
                    <a:lnTo>
                      <a:pt x="9390" y="12440"/>
                    </a:lnTo>
                    <a:lnTo>
                      <a:pt x="10466" y="11902"/>
                    </a:lnTo>
                    <a:lnTo>
                      <a:pt x="10466" y="11662"/>
                    </a:lnTo>
                    <a:lnTo>
                      <a:pt x="10466" y="11423"/>
                    </a:lnTo>
                    <a:lnTo>
                      <a:pt x="10466" y="11005"/>
                    </a:lnTo>
                    <a:lnTo>
                      <a:pt x="10466" y="9868"/>
                    </a:lnTo>
                    <a:lnTo>
                      <a:pt x="10466" y="9689"/>
                    </a:lnTo>
                    <a:lnTo>
                      <a:pt x="10466" y="7356"/>
                    </a:lnTo>
                    <a:lnTo>
                      <a:pt x="10466" y="7177"/>
                    </a:lnTo>
                    <a:lnTo>
                      <a:pt x="10466" y="5801"/>
                    </a:lnTo>
                    <a:lnTo>
                      <a:pt x="10466" y="5682"/>
                    </a:lnTo>
                    <a:lnTo>
                      <a:pt x="10466" y="4665"/>
                    </a:lnTo>
                    <a:lnTo>
                      <a:pt x="10466" y="4665"/>
                    </a:lnTo>
                    <a:lnTo>
                      <a:pt x="10466" y="1495"/>
                    </a:lnTo>
                    <a:lnTo>
                      <a:pt x="10466" y="837"/>
                    </a:lnTo>
                    <a:lnTo>
                      <a:pt x="10466" y="0"/>
                    </a:lnTo>
                  </a:path>
                </a:pathLst>
              </a:custGeom>
              <a:noFill/>
              <a:ln w="6350" cap="rnd">
                <a:solidFill>
                  <a:schemeClr val="bg1">
                    <a:alpha val="80000"/>
                  </a:schemeClr>
                </a:solidFill>
                <a:prstDash val="solid"/>
                <a:round/>
              </a:ln>
            </p:spPr>
            <p:txBody>
              <a:bodyPr rtlCol="0" anchor="ctr"/>
              <a:lstStyle/>
              <a:p>
                <a:endParaRPr lang="en-GB"/>
              </a:p>
            </p:txBody>
          </p:sp>
          <p:sp>
            <p:nvSpPr>
              <p:cNvPr id="5591" name="Vrije vorm: vorm 5590">
                <a:extLst>
                  <a:ext uri="{FF2B5EF4-FFF2-40B4-BE49-F238E27FC236}">
                    <a16:creationId xmlns:a16="http://schemas.microsoft.com/office/drawing/2014/main" id="{8477B27B-CC7D-453A-96C2-CEF297CB5840}"/>
                  </a:ext>
                </a:extLst>
              </p:cNvPr>
              <p:cNvSpPr/>
              <p:nvPr/>
            </p:nvSpPr>
            <p:spPr>
              <a:xfrm>
                <a:off x="6525645" y="1781278"/>
                <a:ext cx="3169" cy="6100"/>
              </a:xfrm>
              <a:custGeom>
                <a:avLst/>
                <a:gdLst>
                  <a:gd name="connsiteX0" fmla="*/ 1017 w 3169"/>
                  <a:gd name="connsiteY0" fmla="*/ 0 h 6100"/>
                  <a:gd name="connsiteX1" fmla="*/ 598 w 3169"/>
                  <a:gd name="connsiteY1" fmla="*/ 239 h 6100"/>
                  <a:gd name="connsiteX2" fmla="*/ 239 w 3169"/>
                  <a:gd name="connsiteY2" fmla="*/ 718 h 6100"/>
                  <a:gd name="connsiteX3" fmla="*/ 60 w 3169"/>
                  <a:gd name="connsiteY3" fmla="*/ 1316 h 6100"/>
                  <a:gd name="connsiteX4" fmla="*/ 0 w 3169"/>
                  <a:gd name="connsiteY4" fmla="*/ 2033 h 6100"/>
                  <a:gd name="connsiteX5" fmla="*/ 60 w 3169"/>
                  <a:gd name="connsiteY5" fmla="*/ 2811 h 6100"/>
                  <a:gd name="connsiteX6" fmla="*/ 299 w 3169"/>
                  <a:gd name="connsiteY6" fmla="*/ 3648 h 6100"/>
                  <a:gd name="connsiteX7" fmla="*/ 658 w 3169"/>
                  <a:gd name="connsiteY7" fmla="*/ 4426 h 6100"/>
                  <a:gd name="connsiteX8" fmla="*/ 1077 w 3169"/>
                  <a:gd name="connsiteY8" fmla="*/ 5084 h 6100"/>
                  <a:gd name="connsiteX9" fmla="*/ 1256 w 3169"/>
                  <a:gd name="connsiteY9" fmla="*/ 5263 h 6100"/>
                  <a:gd name="connsiteX10" fmla="*/ 1615 w 3169"/>
                  <a:gd name="connsiteY10" fmla="*/ 5622 h 6100"/>
                  <a:gd name="connsiteX11" fmla="*/ 2153 w 3169"/>
                  <a:gd name="connsiteY11" fmla="*/ 5981 h 6100"/>
                  <a:gd name="connsiteX12" fmla="*/ 2213 w 3169"/>
                  <a:gd name="connsiteY12" fmla="*/ 5981 h 6100"/>
                  <a:gd name="connsiteX13" fmla="*/ 2691 w 3169"/>
                  <a:gd name="connsiteY13" fmla="*/ 6100 h 6100"/>
                  <a:gd name="connsiteX14" fmla="*/ 3170 w 3169"/>
                  <a:gd name="connsiteY14" fmla="*/ 6040 h 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69" h="6100">
                    <a:moveTo>
                      <a:pt x="1017" y="0"/>
                    </a:moveTo>
                    <a:lnTo>
                      <a:pt x="598" y="239"/>
                    </a:lnTo>
                    <a:lnTo>
                      <a:pt x="239" y="718"/>
                    </a:lnTo>
                    <a:lnTo>
                      <a:pt x="60" y="1316"/>
                    </a:lnTo>
                    <a:lnTo>
                      <a:pt x="0" y="2033"/>
                    </a:lnTo>
                    <a:lnTo>
                      <a:pt x="60" y="2811"/>
                    </a:lnTo>
                    <a:lnTo>
                      <a:pt x="299" y="3648"/>
                    </a:lnTo>
                    <a:lnTo>
                      <a:pt x="658" y="4426"/>
                    </a:lnTo>
                    <a:lnTo>
                      <a:pt x="1077" y="5084"/>
                    </a:lnTo>
                    <a:lnTo>
                      <a:pt x="1256" y="5263"/>
                    </a:lnTo>
                    <a:lnTo>
                      <a:pt x="1615" y="5622"/>
                    </a:lnTo>
                    <a:lnTo>
                      <a:pt x="2153" y="5981"/>
                    </a:lnTo>
                    <a:lnTo>
                      <a:pt x="2213" y="5981"/>
                    </a:lnTo>
                    <a:lnTo>
                      <a:pt x="2691" y="6100"/>
                    </a:lnTo>
                    <a:lnTo>
                      <a:pt x="3170" y="6040"/>
                    </a:lnTo>
                  </a:path>
                </a:pathLst>
              </a:custGeom>
              <a:noFill/>
              <a:ln w="6350" cap="rnd">
                <a:solidFill>
                  <a:schemeClr val="bg1">
                    <a:alpha val="80000"/>
                  </a:schemeClr>
                </a:solidFill>
                <a:prstDash val="solid"/>
                <a:round/>
              </a:ln>
            </p:spPr>
            <p:txBody>
              <a:bodyPr rtlCol="0" anchor="ctr"/>
              <a:lstStyle/>
              <a:p>
                <a:endParaRPr lang="en-GB"/>
              </a:p>
            </p:txBody>
          </p:sp>
          <p:sp>
            <p:nvSpPr>
              <p:cNvPr id="5592" name="Vrije vorm: vorm 5591">
                <a:extLst>
                  <a:ext uri="{FF2B5EF4-FFF2-40B4-BE49-F238E27FC236}">
                    <a16:creationId xmlns:a16="http://schemas.microsoft.com/office/drawing/2014/main" id="{C3742ED2-3C88-472F-B874-326E9C0BED9E}"/>
                  </a:ext>
                </a:extLst>
              </p:cNvPr>
              <p:cNvSpPr/>
              <p:nvPr/>
            </p:nvSpPr>
            <p:spPr>
              <a:xfrm>
                <a:off x="6523970" y="1786541"/>
                <a:ext cx="7356" cy="3468"/>
              </a:xfrm>
              <a:custGeom>
                <a:avLst/>
                <a:gdLst>
                  <a:gd name="connsiteX0" fmla="*/ 7356 w 7356"/>
                  <a:gd name="connsiteY0" fmla="*/ 3469 h 3468"/>
                  <a:gd name="connsiteX1" fmla="*/ 4665 w 7356"/>
                  <a:gd name="connsiteY1" fmla="*/ 2213 h 3468"/>
                  <a:gd name="connsiteX2" fmla="*/ 1974 w 7356"/>
                  <a:gd name="connsiteY2" fmla="*/ 957 h 3468"/>
                  <a:gd name="connsiteX3" fmla="*/ 0 w 7356"/>
                  <a:gd name="connsiteY3" fmla="*/ 0 h 3468"/>
                </a:gdLst>
                <a:ahLst/>
                <a:cxnLst>
                  <a:cxn ang="0">
                    <a:pos x="connsiteX0" y="connsiteY0"/>
                  </a:cxn>
                  <a:cxn ang="0">
                    <a:pos x="connsiteX1" y="connsiteY1"/>
                  </a:cxn>
                  <a:cxn ang="0">
                    <a:pos x="connsiteX2" y="connsiteY2"/>
                  </a:cxn>
                  <a:cxn ang="0">
                    <a:pos x="connsiteX3" y="connsiteY3"/>
                  </a:cxn>
                </a:cxnLst>
                <a:rect l="l" t="t" r="r" b="b"/>
                <a:pathLst>
                  <a:path w="7356" h="3468">
                    <a:moveTo>
                      <a:pt x="7356" y="3469"/>
                    </a:moveTo>
                    <a:lnTo>
                      <a:pt x="4665" y="2213"/>
                    </a:lnTo>
                    <a:lnTo>
                      <a:pt x="1974" y="95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93" name="Vrije vorm: vorm 5592">
                <a:extLst>
                  <a:ext uri="{FF2B5EF4-FFF2-40B4-BE49-F238E27FC236}">
                    <a16:creationId xmlns:a16="http://schemas.microsoft.com/office/drawing/2014/main" id="{104A3307-A46B-4897-9798-7DDE359A015B}"/>
                  </a:ext>
                </a:extLst>
              </p:cNvPr>
              <p:cNvSpPr/>
              <p:nvPr/>
            </p:nvSpPr>
            <p:spPr>
              <a:xfrm>
                <a:off x="6523133" y="1775118"/>
                <a:ext cx="59" cy="10825"/>
              </a:xfrm>
              <a:custGeom>
                <a:avLst/>
                <a:gdLst>
                  <a:gd name="connsiteX0" fmla="*/ 60 w 59"/>
                  <a:gd name="connsiteY0" fmla="*/ 10825 h 10825"/>
                  <a:gd name="connsiteX1" fmla="*/ 60 w 59"/>
                  <a:gd name="connsiteY1" fmla="*/ 10347 h 10825"/>
                  <a:gd name="connsiteX2" fmla="*/ 60 w 59"/>
                  <a:gd name="connsiteY2" fmla="*/ 9928 h 10825"/>
                  <a:gd name="connsiteX3" fmla="*/ 60 w 59"/>
                  <a:gd name="connsiteY3" fmla="*/ 8792 h 10825"/>
                  <a:gd name="connsiteX4" fmla="*/ 60 w 59"/>
                  <a:gd name="connsiteY4" fmla="*/ 8612 h 10825"/>
                  <a:gd name="connsiteX5" fmla="*/ 60 w 59"/>
                  <a:gd name="connsiteY5" fmla="*/ 6519 h 10825"/>
                  <a:gd name="connsiteX6" fmla="*/ 60 w 59"/>
                  <a:gd name="connsiteY6" fmla="*/ 6160 h 10825"/>
                  <a:gd name="connsiteX7" fmla="*/ 60 w 59"/>
                  <a:gd name="connsiteY7" fmla="*/ 5801 h 10825"/>
                  <a:gd name="connsiteX8" fmla="*/ 60 w 59"/>
                  <a:gd name="connsiteY8" fmla="*/ 5622 h 10825"/>
                  <a:gd name="connsiteX9" fmla="*/ 60 w 59"/>
                  <a:gd name="connsiteY9" fmla="*/ 5143 h 10825"/>
                  <a:gd name="connsiteX10" fmla="*/ 60 w 59"/>
                  <a:gd name="connsiteY10" fmla="*/ 5143 h 10825"/>
                  <a:gd name="connsiteX11" fmla="*/ 60 w 59"/>
                  <a:gd name="connsiteY11" fmla="*/ 1974 h 10825"/>
                  <a:gd name="connsiteX12" fmla="*/ 60 w 59"/>
                  <a:gd name="connsiteY12" fmla="*/ 897 h 10825"/>
                  <a:gd name="connsiteX13" fmla="*/ 60 w 59"/>
                  <a:gd name="connsiteY13" fmla="*/ 658 h 10825"/>
                  <a:gd name="connsiteX14" fmla="*/ 0 w 59"/>
                  <a:gd name="connsiteY14" fmla="*/ 0 h 1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 h="10825">
                    <a:moveTo>
                      <a:pt x="60" y="10825"/>
                    </a:moveTo>
                    <a:lnTo>
                      <a:pt x="60" y="10347"/>
                    </a:lnTo>
                    <a:lnTo>
                      <a:pt x="60" y="9928"/>
                    </a:lnTo>
                    <a:lnTo>
                      <a:pt x="60" y="8792"/>
                    </a:lnTo>
                    <a:lnTo>
                      <a:pt x="60" y="8612"/>
                    </a:lnTo>
                    <a:lnTo>
                      <a:pt x="60" y="6519"/>
                    </a:lnTo>
                    <a:lnTo>
                      <a:pt x="60" y="6160"/>
                    </a:lnTo>
                    <a:lnTo>
                      <a:pt x="60" y="5801"/>
                    </a:lnTo>
                    <a:lnTo>
                      <a:pt x="60" y="5622"/>
                    </a:lnTo>
                    <a:lnTo>
                      <a:pt x="60" y="5143"/>
                    </a:lnTo>
                    <a:lnTo>
                      <a:pt x="60" y="5143"/>
                    </a:lnTo>
                    <a:lnTo>
                      <a:pt x="60" y="1974"/>
                    </a:lnTo>
                    <a:lnTo>
                      <a:pt x="60" y="897"/>
                    </a:lnTo>
                    <a:lnTo>
                      <a:pt x="60" y="65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594" name="Vrije vorm: vorm 5593">
                <a:extLst>
                  <a:ext uri="{FF2B5EF4-FFF2-40B4-BE49-F238E27FC236}">
                    <a16:creationId xmlns:a16="http://schemas.microsoft.com/office/drawing/2014/main" id="{083406CE-69EC-4D39-A752-DCDD3B34C51B}"/>
                  </a:ext>
                </a:extLst>
              </p:cNvPr>
              <p:cNvSpPr/>
              <p:nvPr/>
            </p:nvSpPr>
            <p:spPr>
              <a:xfrm>
                <a:off x="6513504" y="1779245"/>
                <a:ext cx="9688" cy="6698"/>
              </a:xfrm>
              <a:custGeom>
                <a:avLst/>
                <a:gdLst>
                  <a:gd name="connsiteX0" fmla="*/ 9689 w 9688"/>
                  <a:gd name="connsiteY0" fmla="*/ 6698 h 6698"/>
                  <a:gd name="connsiteX1" fmla="*/ 7356 w 9688"/>
                  <a:gd name="connsiteY1" fmla="*/ 4844 h 6698"/>
                  <a:gd name="connsiteX2" fmla="*/ 5024 w 9688"/>
                  <a:gd name="connsiteY2" fmla="*/ 2990 h 6698"/>
                  <a:gd name="connsiteX3" fmla="*/ 4366 w 9688"/>
                  <a:gd name="connsiteY3" fmla="*/ 2512 h 6698"/>
                  <a:gd name="connsiteX4" fmla="*/ 2033 w 9688"/>
                  <a:gd name="connsiteY4" fmla="*/ 658 h 6698"/>
                  <a:gd name="connsiteX5" fmla="*/ 1196 w 9688"/>
                  <a:gd name="connsiteY5" fmla="*/ 0 h 6698"/>
                  <a:gd name="connsiteX6" fmla="*/ 0 w 9688"/>
                  <a:gd name="connsiteY6" fmla="*/ 419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8" h="6698">
                    <a:moveTo>
                      <a:pt x="9689" y="6698"/>
                    </a:moveTo>
                    <a:lnTo>
                      <a:pt x="7356" y="4844"/>
                    </a:lnTo>
                    <a:lnTo>
                      <a:pt x="5024" y="2990"/>
                    </a:lnTo>
                    <a:lnTo>
                      <a:pt x="4366" y="2512"/>
                    </a:lnTo>
                    <a:lnTo>
                      <a:pt x="2033" y="658"/>
                    </a:lnTo>
                    <a:lnTo>
                      <a:pt x="1196" y="0"/>
                    </a:lnTo>
                    <a:lnTo>
                      <a:pt x="0" y="419"/>
                    </a:lnTo>
                  </a:path>
                </a:pathLst>
              </a:custGeom>
              <a:noFill/>
              <a:ln w="6350" cap="rnd">
                <a:solidFill>
                  <a:schemeClr val="bg1">
                    <a:alpha val="80000"/>
                  </a:schemeClr>
                </a:solidFill>
                <a:prstDash val="solid"/>
                <a:round/>
              </a:ln>
            </p:spPr>
            <p:txBody>
              <a:bodyPr rtlCol="0" anchor="ctr"/>
              <a:lstStyle/>
              <a:p>
                <a:endParaRPr lang="en-GB"/>
              </a:p>
            </p:txBody>
          </p:sp>
          <p:sp>
            <p:nvSpPr>
              <p:cNvPr id="5595" name="Vrije vorm: vorm 5594">
                <a:extLst>
                  <a:ext uri="{FF2B5EF4-FFF2-40B4-BE49-F238E27FC236}">
                    <a16:creationId xmlns:a16="http://schemas.microsoft.com/office/drawing/2014/main" id="{CF6CE0AB-2791-4F0C-A044-99B19898BE3A}"/>
                  </a:ext>
                </a:extLst>
              </p:cNvPr>
              <p:cNvSpPr/>
              <p:nvPr/>
            </p:nvSpPr>
            <p:spPr>
              <a:xfrm>
                <a:off x="6514700" y="1778707"/>
                <a:ext cx="5562" cy="1315"/>
              </a:xfrm>
              <a:custGeom>
                <a:avLst/>
                <a:gdLst>
                  <a:gd name="connsiteX0" fmla="*/ 0 w 5562"/>
                  <a:gd name="connsiteY0" fmla="*/ 598 h 1315"/>
                  <a:gd name="connsiteX1" fmla="*/ 1555 w 5562"/>
                  <a:gd name="connsiteY1" fmla="*/ 1316 h 1315"/>
                  <a:gd name="connsiteX2" fmla="*/ 3708 w 5562"/>
                  <a:gd name="connsiteY2" fmla="*/ 598 h 1315"/>
                  <a:gd name="connsiteX3" fmla="*/ 5562 w 5562"/>
                  <a:gd name="connsiteY3" fmla="*/ 0 h 1315"/>
                </a:gdLst>
                <a:ahLst/>
                <a:cxnLst>
                  <a:cxn ang="0">
                    <a:pos x="connsiteX0" y="connsiteY0"/>
                  </a:cxn>
                  <a:cxn ang="0">
                    <a:pos x="connsiteX1" y="connsiteY1"/>
                  </a:cxn>
                  <a:cxn ang="0">
                    <a:pos x="connsiteX2" y="connsiteY2"/>
                  </a:cxn>
                  <a:cxn ang="0">
                    <a:pos x="connsiteX3" y="connsiteY3"/>
                  </a:cxn>
                </a:cxnLst>
                <a:rect l="l" t="t" r="r" b="b"/>
                <a:pathLst>
                  <a:path w="5562" h="1315">
                    <a:moveTo>
                      <a:pt x="0" y="598"/>
                    </a:moveTo>
                    <a:lnTo>
                      <a:pt x="1555" y="1316"/>
                    </a:lnTo>
                    <a:lnTo>
                      <a:pt x="3708" y="598"/>
                    </a:lnTo>
                    <a:lnTo>
                      <a:pt x="5562" y="0"/>
                    </a:lnTo>
                  </a:path>
                </a:pathLst>
              </a:custGeom>
              <a:noFill/>
              <a:ln w="6350" cap="rnd">
                <a:solidFill>
                  <a:schemeClr val="bg1">
                    <a:alpha val="80000"/>
                  </a:schemeClr>
                </a:solidFill>
                <a:prstDash val="solid"/>
                <a:round/>
              </a:ln>
            </p:spPr>
            <p:txBody>
              <a:bodyPr rtlCol="0" anchor="ctr"/>
              <a:lstStyle/>
              <a:p>
                <a:endParaRPr lang="en-GB"/>
              </a:p>
            </p:txBody>
          </p:sp>
          <p:sp>
            <p:nvSpPr>
              <p:cNvPr id="5596" name="Vrije vorm: vorm 5595">
                <a:extLst>
                  <a:ext uri="{FF2B5EF4-FFF2-40B4-BE49-F238E27FC236}">
                    <a16:creationId xmlns:a16="http://schemas.microsoft.com/office/drawing/2014/main" id="{8870AE9B-87B8-4C59-AA61-813C63C326FD}"/>
                  </a:ext>
                </a:extLst>
              </p:cNvPr>
              <p:cNvSpPr/>
              <p:nvPr/>
            </p:nvSpPr>
            <p:spPr>
              <a:xfrm>
                <a:off x="6516255" y="1780022"/>
                <a:ext cx="6937" cy="5502"/>
              </a:xfrm>
              <a:custGeom>
                <a:avLst/>
                <a:gdLst>
                  <a:gd name="connsiteX0" fmla="*/ 0 w 6937"/>
                  <a:gd name="connsiteY0" fmla="*/ 0 h 5502"/>
                  <a:gd name="connsiteX1" fmla="*/ 2332 w 6937"/>
                  <a:gd name="connsiteY1" fmla="*/ 1854 h 5502"/>
                  <a:gd name="connsiteX2" fmla="*/ 2632 w 6937"/>
                  <a:gd name="connsiteY2" fmla="*/ 2093 h 5502"/>
                  <a:gd name="connsiteX3" fmla="*/ 3170 w 6937"/>
                  <a:gd name="connsiteY3" fmla="*/ 2512 h 5502"/>
                  <a:gd name="connsiteX4" fmla="*/ 5502 w 6937"/>
                  <a:gd name="connsiteY4" fmla="*/ 4366 h 5502"/>
                  <a:gd name="connsiteX5" fmla="*/ 6937 w 6937"/>
                  <a:gd name="connsiteY5" fmla="*/ 5502 h 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7" h="5502">
                    <a:moveTo>
                      <a:pt x="0" y="0"/>
                    </a:moveTo>
                    <a:lnTo>
                      <a:pt x="2332" y="1854"/>
                    </a:lnTo>
                    <a:lnTo>
                      <a:pt x="2632" y="2093"/>
                    </a:lnTo>
                    <a:lnTo>
                      <a:pt x="3170" y="2512"/>
                    </a:lnTo>
                    <a:lnTo>
                      <a:pt x="5502" y="4366"/>
                    </a:lnTo>
                    <a:lnTo>
                      <a:pt x="6937" y="5502"/>
                    </a:lnTo>
                  </a:path>
                </a:pathLst>
              </a:custGeom>
              <a:noFill/>
              <a:ln w="6350" cap="rnd">
                <a:solidFill>
                  <a:schemeClr val="bg1">
                    <a:alpha val="80000"/>
                  </a:schemeClr>
                </a:solidFill>
                <a:prstDash val="solid"/>
                <a:round/>
              </a:ln>
            </p:spPr>
            <p:txBody>
              <a:bodyPr rtlCol="0" anchor="ctr"/>
              <a:lstStyle/>
              <a:p>
                <a:endParaRPr lang="en-GB"/>
              </a:p>
            </p:txBody>
          </p:sp>
          <p:sp>
            <p:nvSpPr>
              <p:cNvPr id="5597" name="Vrije vorm: vorm 5596">
                <a:extLst>
                  <a:ext uri="{FF2B5EF4-FFF2-40B4-BE49-F238E27FC236}">
                    <a16:creationId xmlns:a16="http://schemas.microsoft.com/office/drawing/2014/main" id="{E89D6EF0-76B6-4821-87A5-25B3337184C9}"/>
                  </a:ext>
                </a:extLst>
              </p:cNvPr>
              <p:cNvSpPr/>
              <p:nvPr/>
            </p:nvSpPr>
            <p:spPr>
              <a:xfrm>
                <a:off x="6526662" y="1780800"/>
                <a:ext cx="3229" cy="6100"/>
              </a:xfrm>
              <a:custGeom>
                <a:avLst/>
                <a:gdLst>
                  <a:gd name="connsiteX0" fmla="*/ 3229 w 3229"/>
                  <a:gd name="connsiteY0" fmla="*/ 6040 h 6100"/>
                  <a:gd name="connsiteX1" fmla="*/ 2751 w 3229"/>
                  <a:gd name="connsiteY1" fmla="*/ 6100 h 6100"/>
                  <a:gd name="connsiteX2" fmla="*/ 2691 w 3229"/>
                  <a:gd name="connsiteY2" fmla="*/ 6100 h 6100"/>
                  <a:gd name="connsiteX3" fmla="*/ 2153 w 3229"/>
                  <a:gd name="connsiteY3" fmla="*/ 5921 h 6100"/>
                  <a:gd name="connsiteX4" fmla="*/ 1615 w 3229"/>
                  <a:gd name="connsiteY4" fmla="*/ 5562 h 6100"/>
                  <a:gd name="connsiteX5" fmla="*/ 1076 w 3229"/>
                  <a:gd name="connsiteY5" fmla="*/ 5024 h 6100"/>
                  <a:gd name="connsiteX6" fmla="*/ 658 w 3229"/>
                  <a:gd name="connsiteY6" fmla="*/ 4366 h 6100"/>
                  <a:gd name="connsiteX7" fmla="*/ 299 w 3229"/>
                  <a:gd name="connsiteY7" fmla="*/ 3588 h 6100"/>
                  <a:gd name="connsiteX8" fmla="*/ 60 w 3229"/>
                  <a:gd name="connsiteY8" fmla="*/ 2751 h 6100"/>
                  <a:gd name="connsiteX9" fmla="*/ 0 w 3229"/>
                  <a:gd name="connsiteY9" fmla="*/ 1974 h 6100"/>
                  <a:gd name="connsiteX10" fmla="*/ 60 w 3229"/>
                  <a:gd name="connsiteY10" fmla="*/ 1256 h 6100"/>
                  <a:gd name="connsiteX11" fmla="*/ 239 w 3229"/>
                  <a:gd name="connsiteY11" fmla="*/ 658 h 6100"/>
                  <a:gd name="connsiteX12" fmla="*/ 419 w 3229"/>
                  <a:gd name="connsiteY12" fmla="*/ 478 h 6100"/>
                  <a:gd name="connsiteX13" fmla="*/ 598 w 3229"/>
                  <a:gd name="connsiteY13" fmla="*/ 239 h 6100"/>
                  <a:gd name="connsiteX14" fmla="*/ 1017 w 3229"/>
                  <a:gd name="connsiteY14" fmla="*/ 0 h 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29" h="6100">
                    <a:moveTo>
                      <a:pt x="3229" y="6040"/>
                    </a:moveTo>
                    <a:lnTo>
                      <a:pt x="2751" y="6100"/>
                    </a:lnTo>
                    <a:lnTo>
                      <a:pt x="2691" y="6100"/>
                    </a:lnTo>
                    <a:lnTo>
                      <a:pt x="2153" y="5921"/>
                    </a:lnTo>
                    <a:lnTo>
                      <a:pt x="1615" y="5562"/>
                    </a:lnTo>
                    <a:lnTo>
                      <a:pt x="1076" y="5024"/>
                    </a:lnTo>
                    <a:lnTo>
                      <a:pt x="658" y="4366"/>
                    </a:lnTo>
                    <a:lnTo>
                      <a:pt x="299" y="3588"/>
                    </a:lnTo>
                    <a:lnTo>
                      <a:pt x="60" y="2751"/>
                    </a:lnTo>
                    <a:lnTo>
                      <a:pt x="0" y="1974"/>
                    </a:lnTo>
                    <a:lnTo>
                      <a:pt x="60" y="1256"/>
                    </a:lnTo>
                    <a:lnTo>
                      <a:pt x="239" y="658"/>
                    </a:lnTo>
                    <a:lnTo>
                      <a:pt x="419" y="478"/>
                    </a:lnTo>
                    <a:lnTo>
                      <a:pt x="598" y="239"/>
                    </a:lnTo>
                    <a:lnTo>
                      <a:pt x="1017" y="0"/>
                    </a:lnTo>
                  </a:path>
                </a:pathLst>
              </a:custGeom>
              <a:noFill/>
              <a:ln w="6350" cap="rnd">
                <a:solidFill>
                  <a:schemeClr val="bg1">
                    <a:alpha val="80000"/>
                  </a:schemeClr>
                </a:solidFill>
                <a:prstDash val="solid"/>
                <a:round/>
              </a:ln>
            </p:spPr>
            <p:txBody>
              <a:bodyPr rtlCol="0" anchor="ctr"/>
              <a:lstStyle/>
              <a:p>
                <a:endParaRPr lang="en-GB"/>
              </a:p>
            </p:txBody>
          </p:sp>
          <p:sp>
            <p:nvSpPr>
              <p:cNvPr id="5598" name="Vrije vorm: vorm 5597">
                <a:extLst>
                  <a:ext uri="{FF2B5EF4-FFF2-40B4-BE49-F238E27FC236}">
                    <a16:creationId xmlns:a16="http://schemas.microsoft.com/office/drawing/2014/main" id="{932FEEFA-BEF2-4E16-A7F7-79DD9B2D52F0}"/>
                  </a:ext>
                </a:extLst>
              </p:cNvPr>
              <p:cNvSpPr/>
              <p:nvPr/>
            </p:nvSpPr>
            <p:spPr>
              <a:xfrm>
                <a:off x="6529054" y="1792642"/>
                <a:ext cx="3947" cy="4425"/>
              </a:xfrm>
              <a:custGeom>
                <a:avLst/>
                <a:gdLst>
                  <a:gd name="connsiteX0" fmla="*/ 2213 w 3947"/>
                  <a:gd name="connsiteY0" fmla="*/ 0 h 4425"/>
                  <a:gd name="connsiteX1" fmla="*/ 2632 w 3947"/>
                  <a:gd name="connsiteY1" fmla="*/ 1077 h 4425"/>
                  <a:gd name="connsiteX2" fmla="*/ 3708 w 3947"/>
                  <a:gd name="connsiteY2" fmla="*/ 3768 h 4425"/>
                  <a:gd name="connsiteX3" fmla="*/ 3947 w 3947"/>
                  <a:gd name="connsiteY3" fmla="*/ 4426 h 4425"/>
                  <a:gd name="connsiteX4" fmla="*/ 2691 w 3947"/>
                  <a:gd name="connsiteY4" fmla="*/ 3828 h 4425"/>
                  <a:gd name="connsiteX5" fmla="*/ 0 w 3947"/>
                  <a:gd name="connsiteY5" fmla="*/ 2572 h 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47" h="4425">
                    <a:moveTo>
                      <a:pt x="2213" y="0"/>
                    </a:moveTo>
                    <a:lnTo>
                      <a:pt x="2632" y="1077"/>
                    </a:lnTo>
                    <a:lnTo>
                      <a:pt x="3708" y="3768"/>
                    </a:lnTo>
                    <a:lnTo>
                      <a:pt x="3947" y="4426"/>
                    </a:lnTo>
                    <a:lnTo>
                      <a:pt x="2691" y="3828"/>
                    </a:lnTo>
                    <a:lnTo>
                      <a:pt x="0" y="2572"/>
                    </a:lnTo>
                  </a:path>
                </a:pathLst>
              </a:custGeom>
              <a:noFill/>
              <a:ln w="6350" cap="rnd">
                <a:solidFill>
                  <a:schemeClr val="bg1">
                    <a:alpha val="80000"/>
                  </a:schemeClr>
                </a:solidFill>
                <a:prstDash val="solid"/>
                <a:round/>
              </a:ln>
            </p:spPr>
            <p:txBody>
              <a:bodyPr rtlCol="0" anchor="ctr"/>
              <a:lstStyle/>
              <a:p>
                <a:endParaRPr lang="en-GB"/>
              </a:p>
            </p:txBody>
          </p:sp>
          <p:sp>
            <p:nvSpPr>
              <p:cNvPr id="5599" name="Vrije vorm: vorm 5598">
                <a:extLst>
                  <a:ext uri="{FF2B5EF4-FFF2-40B4-BE49-F238E27FC236}">
                    <a16:creationId xmlns:a16="http://schemas.microsoft.com/office/drawing/2014/main" id="{979D7B81-A545-4866-9A99-C3B3292EE961}"/>
                  </a:ext>
                </a:extLst>
              </p:cNvPr>
              <p:cNvSpPr/>
              <p:nvPr/>
            </p:nvSpPr>
            <p:spPr>
              <a:xfrm>
                <a:off x="6476304" y="1756518"/>
                <a:ext cx="64412" cy="40549"/>
              </a:xfrm>
              <a:custGeom>
                <a:avLst/>
                <a:gdLst>
                  <a:gd name="connsiteX0" fmla="*/ 64412 w 64412"/>
                  <a:gd name="connsiteY0" fmla="*/ 24820 h 40549"/>
                  <a:gd name="connsiteX1" fmla="*/ 64293 w 64412"/>
                  <a:gd name="connsiteY1" fmla="*/ 24999 h 40549"/>
                  <a:gd name="connsiteX2" fmla="*/ 62499 w 64412"/>
                  <a:gd name="connsiteY2" fmla="*/ 27152 h 40549"/>
                  <a:gd name="connsiteX3" fmla="*/ 60704 w 64412"/>
                  <a:gd name="connsiteY3" fmla="*/ 29305 h 40549"/>
                  <a:gd name="connsiteX4" fmla="*/ 58910 w 64412"/>
                  <a:gd name="connsiteY4" fmla="*/ 31459 h 40549"/>
                  <a:gd name="connsiteX5" fmla="*/ 57116 w 64412"/>
                  <a:gd name="connsiteY5" fmla="*/ 33612 h 40549"/>
                  <a:gd name="connsiteX6" fmla="*/ 56638 w 64412"/>
                  <a:gd name="connsiteY6" fmla="*/ 34150 h 40549"/>
                  <a:gd name="connsiteX7" fmla="*/ 56458 w 64412"/>
                  <a:gd name="connsiteY7" fmla="*/ 34389 h 40549"/>
                  <a:gd name="connsiteX8" fmla="*/ 55083 w 64412"/>
                  <a:gd name="connsiteY8" fmla="*/ 36064 h 40549"/>
                  <a:gd name="connsiteX9" fmla="*/ 54545 w 64412"/>
                  <a:gd name="connsiteY9" fmla="*/ 36722 h 40549"/>
                  <a:gd name="connsiteX10" fmla="*/ 53946 w 64412"/>
                  <a:gd name="connsiteY10" fmla="*/ 37439 h 40549"/>
                  <a:gd name="connsiteX11" fmla="*/ 53886 w 64412"/>
                  <a:gd name="connsiteY11" fmla="*/ 37499 h 40549"/>
                  <a:gd name="connsiteX12" fmla="*/ 53348 w 64412"/>
                  <a:gd name="connsiteY12" fmla="*/ 38097 h 40549"/>
                  <a:gd name="connsiteX13" fmla="*/ 52870 w 64412"/>
                  <a:gd name="connsiteY13" fmla="*/ 38695 h 40549"/>
                  <a:gd name="connsiteX14" fmla="*/ 52092 w 64412"/>
                  <a:gd name="connsiteY14" fmla="*/ 39652 h 40549"/>
                  <a:gd name="connsiteX15" fmla="*/ 51434 w 64412"/>
                  <a:gd name="connsiteY15" fmla="*/ 40430 h 40549"/>
                  <a:gd name="connsiteX16" fmla="*/ 51315 w 64412"/>
                  <a:gd name="connsiteY16" fmla="*/ 40549 h 40549"/>
                  <a:gd name="connsiteX17" fmla="*/ 49461 w 64412"/>
                  <a:gd name="connsiteY17" fmla="*/ 39712 h 40549"/>
                  <a:gd name="connsiteX18" fmla="*/ 46769 w 64412"/>
                  <a:gd name="connsiteY18" fmla="*/ 38456 h 40549"/>
                  <a:gd name="connsiteX19" fmla="*/ 44078 w 64412"/>
                  <a:gd name="connsiteY19" fmla="*/ 37200 h 40549"/>
                  <a:gd name="connsiteX20" fmla="*/ 41387 w 64412"/>
                  <a:gd name="connsiteY20" fmla="*/ 35944 h 40549"/>
                  <a:gd name="connsiteX21" fmla="*/ 40848 w 64412"/>
                  <a:gd name="connsiteY21" fmla="*/ 35705 h 40549"/>
                  <a:gd name="connsiteX22" fmla="*/ 40669 w 64412"/>
                  <a:gd name="connsiteY22" fmla="*/ 35645 h 40549"/>
                  <a:gd name="connsiteX23" fmla="*/ 39054 w 64412"/>
                  <a:gd name="connsiteY23" fmla="*/ 34927 h 40549"/>
                  <a:gd name="connsiteX24" fmla="*/ 36363 w 64412"/>
                  <a:gd name="connsiteY24" fmla="*/ 33671 h 40549"/>
                  <a:gd name="connsiteX25" fmla="*/ 33671 w 64412"/>
                  <a:gd name="connsiteY25" fmla="*/ 32415 h 40549"/>
                  <a:gd name="connsiteX26" fmla="*/ 30980 w 64412"/>
                  <a:gd name="connsiteY26" fmla="*/ 31160 h 40549"/>
                  <a:gd name="connsiteX27" fmla="*/ 28289 w 64412"/>
                  <a:gd name="connsiteY27" fmla="*/ 29904 h 40549"/>
                  <a:gd name="connsiteX28" fmla="*/ 27392 w 64412"/>
                  <a:gd name="connsiteY28" fmla="*/ 29485 h 40549"/>
                  <a:gd name="connsiteX29" fmla="*/ 25119 w 64412"/>
                  <a:gd name="connsiteY29" fmla="*/ 27571 h 40549"/>
                  <a:gd name="connsiteX30" fmla="*/ 22846 w 64412"/>
                  <a:gd name="connsiteY30" fmla="*/ 25657 h 40549"/>
                  <a:gd name="connsiteX31" fmla="*/ 20574 w 64412"/>
                  <a:gd name="connsiteY31" fmla="*/ 23743 h 40549"/>
                  <a:gd name="connsiteX32" fmla="*/ 18301 w 64412"/>
                  <a:gd name="connsiteY32" fmla="*/ 21830 h 40549"/>
                  <a:gd name="connsiteX33" fmla="*/ 16029 w 64412"/>
                  <a:gd name="connsiteY33" fmla="*/ 19916 h 40549"/>
                  <a:gd name="connsiteX34" fmla="*/ 13756 w 64412"/>
                  <a:gd name="connsiteY34" fmla="*/ 18002 h 40549"/>
                  <a:gd name="connsiteX35" fmla="*/ 11483 w 64412"/>
                  <a:gd name="connsiteY35" fmla="*/ 16088 h 40549"/>
                  <a:gd name="connsiteX36" fmla="*/ 9211 w 64412"/>
                  <a:gd name="connsiteY36" fmla="*/ 14174 h 40549"/>
                  <a:gd name="connsiteX37" fmla="*/ 6938 w 64412"/>
                  <a:gd name="connsiteY37" fmla="*/ 12260 h 40549"/>
                  <a:gd name="connsiteX38" fmla="*/ 4904 w 64412"/>
                  <a:gd name="connsiteY38" fmla="*/ 10586 h 40549"/>
                  <a:gd name="connsiteX39" fmla="*/ 2632 w 64412"/>
                  <a:gd name="connsiteY39" fmla="*/ 8672 h 40549"/>
                  <a:gd name="connsiteX40" fmla="*/ 538 w 64412"/>
                  <a:gd name="connsiteY40" fmla="*/ 6938 h 40549"/>
                  <a:gd name="connsiteX41" fmla="*/ 0 w 64412"/>
                  <a:gd name="connsiteY41" fmla="*/ 6519 h 40549"/>
                  <a:gd name="connsiteX42" fmla="*/ 1436 w 64412"/>
                  <a:gd name="connsiteY42" fmla="*/ 4067 h 40549"/>
                  <a:gd name="connsiteX43" fmla="*/ 1615 w 64412"/>
                  <a:gd name="connsiteY43" fmla="*/ 3768 h 40549"/>
                  <a:gd name="connsiteX44" fmla="*/ 1914 w 64412"/>
                  <a:gd name="connsiteY44" fmla="*/ 3230 h 40549"/>
                  <a:gd name="connsiteX45" fmla="*/ 2392 w 64412"/>
                  <a:gd name="connsiteY45" fmla="*/ 2392 h 40549"/>
                  <a:gd name="connsiteX46" fmla="*/ 2512 w 64412"/>
                  <a:gd name="connsiteY46" fmla="*/ 2213 h 40549"/>
                  <a:gd name="connsiteX47" fmla="*/ 2931 w 64412"/>
                  <a:gd name="connsiteY47" fmla="*/ 1495 h 40549"/>
                  <a:gd name="connsiteX48" fmla="*/ 2931 w 64412"/>
                  <a:gd name="connsiteY48" fmla="*/ 1495 h 40549"/>
                  <a:gd name="connsiteX49" fmla="*/ 3828 w 64412"/>
                  <a:gd name="connsiteY49" fmla="*/ 0 h 40549"/>
                  <a:gd name="connsiteX50" fmla="*/ 3947 w 64412"/>
                  <a:gd name="connsiteY50" fmla="*/ 0 h 40549"/>
                  <a:gd name="connsiteX51" fmla="*/ 4785 w 64412"/>
                  <a:gd name="connsiteY51" fmla="*/ 120 h 40549"/>
                  <a:gd name="connsiteX52" fmla="*/ 7715 w 64412"/>
                  <a:gd name="connsiteY52" fmla="*/ 478 h 40549"/>
                  <a:gd name="connsiteX53" fmla="*/ 10466 w 64412"/>
                  <a:gd name="connsiteY53" fmla="*/ 837 h 4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4412" h="40549">
                    <a:moveTo>
                      <a:pt x="64412" y="24820"/>
                    </a:moveTo>
                    <a:lnTo>
                      <a:pt x="64293" y="24999"/>
                    </a:lnTo>
                    <a:lnTo>
                      <a:pt x="62499" y="27152"/>
                    </a:lnTo>
                    <a:lnTo>
                      <a:pt x="60704" y="29305"/>
                    </a:lnTo>
                    <a:lnTo>
                      <a:pt x="58910" y="31459"/>
                    </a:lnTo>
                    <a:lnTo>
                      <a:pt x="57116" y="33612"/>
                    </a:lnTo>
                    <a:lnTo>
                      <a:pt x="56638" y="34150"/>
                    </a:lnTo>
                    <a:lnTo>
                      <a:pt x="56458" y="34389"/>
                    </a:lnTo>
                    <a:lnTo>
                      <a:pt x="55083" y="36064"/>
                    </a:lnTo>
                    <a:lnTo>
                      <a:pt x="54545" y="36722"/>
                    </a:lnTo>
                    <a:lnTo>
                      <a:pt x="53946" y="37439"/>
                    </a:lnTo>
                    <a:lnTo>
                      <a:pt x="53886" y="37499"/>
                    </a:lnTo>
                    <a:lnTo>
                      <a:pt x="53348" y="38097"/>
                    </a:lnTo>
                    <a:lnTo>
                      <a:pt x="52870" y="38695"/>
                    </a:lnTo>
                    <a:lnTo>
                      <a:pt x="52092" y="39652"/>
                    </a:lnTo>
                    <a:lnTo>
                      <a:pt x="51434" y="40430"/>
                    </a:lnTo>
                    <a:lnTo>
                      <a:pt x="51315" y="40549"/>
                    </a:lnTo>
                    <a:lnTo>
                      <a:pt x="49461" y="39712"/>
                    </a:lnTo>
                    <a:lnTo>
                      <a:pt x="46769" y="38456"/>
                    </a:lnTo>
                    <a:lnTo>
                      <a:pt x="44078" y="37200"/>
                    </a:lnTo>
                    <a:lnTo>
                      <a:pt x="41387" y="35944"/>
                    </a:lnTo>
                    <a:lnTo>
                      <a:pt x="40848" y="35705"/>
                    </a:lnTo>
                    <a:lnTo>
                      <a:pt x="40669" y="35645"/>
                    </a:lnTo>
                    <a:lnTo>
                      <a:pt x="39054" y="34927"/>
                    </a:lnTo>
                    <a:lnTo>
                      <a:pt x="36363" y="33671"/>
                    </a:lnTo>
                    <a:lnTo>
                      <a:pt x="33671" y="32415"/>
                    </a:lnTo>
                    <a:lnTo>
                      <a:pt x="30980" y="31160"/>
                    </a:lnTo>
                    <a:lnTo>
                      <a:pt x="28289" y="29904"/>
                    </a:lnTo>
                    <a:lnTo>
                      <a:pt x="27392" y="29485"/>
                    </a:lnTo>
                    <a:lnTo>
                      <a:pt x="25119" y="27571"/>
                    </a:lnTo>
                    <a:lnTo>
                      <a:pt x="22846" y="25657"/>
                    </a:lnTo>
                    <a:lnTo>
                      <a:pt x="20574" y="23743"/>
                    </a:lnTo>
                    <a:lnTo>
                      <a:pt x="18301" y="21830"/>
                    </a:lnTo>
                    <a:lnTo>
                      <a:pt x="16029" y="19916"/>
                    </a:lnTo>
                    <a:lnTo>
                      <a:pt x="13756" y="18002"/>
                    </a:lnTo>
                    <a:lnTo>
                      <a:pt x="11483" y="16088"/>
                    </a:lnTo>
                    <a:lnTo>
                      <a:pt x="9211" y="14174"/>
                    </a:lnTo>
                    <a:lnTo>
                      <a:pt x="6938" y="12260"/>
                    </a:lnTo>
                    <a:lnTo>
                      <a:pt x="4904" y="10586"/>
                    </a:lnTo>
                    <a:lnTo>
                      <a:pt x="2632" y="8672"/>
                    </a:lnTo>
                    <a:lnTo>
                      <a:pt x="538" y="6938"/>
                    </a:lnTo>
                    <a:lnTo>
                      <a:pt x="0" y="6519"/>
                    </a:lnTo>
                    <a:lnTo>
                      <a:pt x="1436" y="4067"/>
                    </a:lnTo>
                    <a:lnTo>
                      <a:pt x="1615" y="3768"/>
                    </a:lnTo>
                    <a:lnTo>
                      <a:pt x="1914" y="3230"/>
                    </a:lnTo>
                    <a:lnTo>
                      <a:pt x="2392" y="2392"/>
                    </a:lnTo>
                    <a:lnTo>
                      <a:pt x="2512" y="2213"/>
                    </a:lnTo>
                    <a:lnTo>
                      <a:pt x="2931" y="1495"/>
                    </a:lnTo>
                    <a:lnTo>
                      <a:pt x="2931" y="1495"/>
                    </a:lnTo>
                    <a:lnTo>
                      <a:pt x="3828" y="0"/>
                    </a:lnTo>
                    <a:lnTo>
                      <a:pt x="3947" y="0"/>
                    </a:lnTo>
                    <a:lnTo>
                      <a:pt x="4785" y="120"/>
                    </a:lnTo>
                    <a:lnTo>
                      <a:pt x="7715" y="478"/>
                    </a:lnTo>
                    <a:lnTo>
                      <a:pt x="10466" y="837"/>
                    </a:lnTo>
                  </a:path>
                </a:pathLst>
              </a:custGeom>
              <a:noFill/>
              <a:ln w="6350" cap="rnd">
                <a:solidFill>
                  <a:schemeClr val="bg1">
                    <a:alpha val="80000"/>
                  </a:schemeClr>
                </a:solidFill>
                <a:prstDash val="solid"/>
                <a:round/>
              </a:ln>
            </p:spPr>
            <p:txBody>
              <a:bodyPr rtlCol="0" anchor="ctr"/>
              <a:lstStyle/>
              <a:p>
                <a:endParaRPr lang="en-GB"/>
              </a:p>
            </p:txBody>
          </p:sp>
          <p:sp>
            <p:nvSpPr>
              <p:cNvPr id="5600" name="Vrije vorm: vorm 5599">
                <a:extLst>
                  <a:ext uri="{FF2B5EF4-FFF2-40B4-BE49-F238E27FC236}">
                    <a16:creationId xmlns:a16="http://schemas.microsoft.com/office/drawing/2014/main" id="{071D5445-EB9A-4E6D-BEF6-77243615F011}"/>
                  </a:ext>
                </a:extLst>
              </p:cNvPr>
              <p:cNvSpPr/>
              <p:nvPr/>
            </p:nvSpPr>
            <p:spPr>
              <a:xfrm>
                <a:off x="6503576" y="1774580"/>
                <a:ext cx="9509" cy="11542"/>
              </a:xfrm>
              <a:custGeom>
                <a:avLst/>
                <a:gdLst>
                  <a:gd name="connsiteX0" fmla="*/ 0 w 9509"/>
                  <a:gd name="connsiteY0" fmla="*/ 11543 h 11542"/>
                  <a:gd name="connsiteX1" fmla="*/ 1795 w 9509"/>
                  <a:gd name="connsiteY1" fmla="*/ 9390 h 11542"/>
                  <a:gd name="connsiteX2" fmla="*/ 2632 w 9509"/>
                  <a:gd name="connsiteY2" fmla="*/ 8313 h 11542"/>
                  <a:gd name="connsiteX3" fmla="*/ 4127 w 9509"/>
                  <a:gd name="connsiteY3" fmla="*/ 6519 h 11542"/>
                  <a:gd name="connsiteX4" fmla="*/ 4127 w 9509"/>
                  <a:gd name="connsiteY4" fmla="*/ 6519 h 11542"/>
                  <a:gd name="connsiteX5" fmla="*/ 5801 w 9509"/>
                  <a:gd name="connsiteY5" fmla="*/ 4486 h 11542"/>
                  <a:gd name="connsiteX6" fmla="*/ 7058 w 9509"/>
                  <a:gd name="connsiteY6" fmla="*/ 2990 h 11542"/>
                  <a:gd name="connsiteX7" fmla="*/ 7536 w 9509"/>
                  <a:gd name="connsiteY7" fmla="*/ 2392 h 11542"/>
                  <a:gd name="connsiteX8" fmla="*/ 7596 w 9509"/>
                  <a:gd name="connsiteY8" fmla="*/ 2332 h 11542"/>
                  <a:gd name="connsiteX9" fmla="*/ 7715 w 9509"/>
                  <a:gd name="connsiteY9" fmla="*/ 2213 h 11542"/>
                  <a:gd name="connsiteX10" fmla="*/ 8553 w 9509"/>
                  <a:gd name="connsiteY10" fmla="*/ 1196 h 11542"/>
                  <a:gd name="connsiteX11" fmla="*/ 9510 w 9509"/>
                  <a:gd name="connsiteY11" fmla="*/ 0 h 1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09" h="11542">
                    <a:moveTo>
                      <a:pt x="0" y="11543"/>
                    </a:moveTo>
                    <a:lnTo>
                      <a:pt x="1795" y="9390"/>
                    </a:lnTo>
                    <a:lnTo>
                      <a:pt x="2632" y="8313"/>
                    </a:lnTo>
                    <a:lnTo>
                      <a:pt x="4127" y="6519"/>
                    </a:lnTo>
                    <a:lnTo>
                      <a:pt x="4127" y="6519"/>
                    </a:lnTo>
                    <a:lnTo>
                      <a:pt x="5801" y="4486"/>
                    </a:lnTo>
                    <a:lnTo>
                      <a:pt x="7058" y="2990"/>
                    </a:lnTo>
                    <a:lnTo>
                      <a:pt x="7536" y="2392"/>
                    </a:lnTo>
                    <a:lnTo>
                      <a:pt x="7596" y="2332"/>
                    </a:lnTo>
                    <a:lnTo>
                      <a:pt x="7715" y="2213"/>
                    </a:lnTo>
                    <a:lnTo>
                      <a:pt x="8553" y="1196"/>
                    </a:lnTo>
                    <a:lnTo>
                      <a:pt x="9510" y="0"/>
                    </a:lnTo>
                  </a:path>
                </a:pathLst>
              </a:custGeom>
              <a:noFill/>
              <a:ln w="6350" cap="rnd">
                <a:solidFill>
                  <a:schemeClr val="bg1">
                    <a:alpha val="80000"/>
                  </a:schemeClr>
                </a:solidFill>
                <a:prstDash val="solid"/>
                <a:round/>
              </a:ln>
            </p:spPr>
            <p:txBody>
              <a:bodyPr rtlCol="0" anchor="ctr"/>
              <a:lstStyle/>
              <a:p>
                <a:endParaRPr lang="en-GB"/>
              </a:p>
            </p:txBody>
          </p:sp>
          <p:sp>
            <p:nvSpPr>
              <p:cNvPr id="5601" name="Vrije vorm: vorm 5600">
                <a:extLst>
                  <a:ext uri="{FF2B5EF4-FFF2-40B4-BE49-F238E27FC236}">
                    <a16:creationId xmlns:a16="http://schemas.microsoft.com/office/drawing/2014/main" id="{82055A29-D4DF-4EC3-9287-FE8CAEE26869}"/>
                  </a:ext>
                </a:extLst>
              </p:cNvPr>
              <p:cNvSpPr/>
              <p:nvPr/>
            </p:nvSpPr>
            <p:spPr>
              <a:xfrm>
                <a:off x="6508181" y="1769975"/>
                <a:ext cx="8731" cy="4724"/>
              </a:xfrm>
              <a:custGeom>
                <a:avLst/>
                <a:gdLst>
                  <a:gd name="connsiteX0" fmla="*/ 4785 w 8731"/>
                  <a:gd name="connsiteY0" fmla="*/ 4725 h 4724"/>
                  <a:gd name="connsiteX1" fmla="*/ 4785 w 8731"/>
                  <a:gd name="connsiteY1" fmla="*/ 4725 h 4724"/>
                  <a:gd name="connsiteX2" fmla="*/ 6519 w 8731"/>
                  <a:gd name="connsiteY2" fmla="*/ 2572 h 4724"/>
                  <a:gd name="connsiteX3" fmla="*/ 6519 w 8731"/>
                  <a:gd name="connsiteY3" fmla="*/ 2572 h 4724"/>
                  <a:gd name="connsiteX4" fmla="*/ 7237 w 8731"/>
                  <a:gd name="connsiteY4" fmla="*/ 1734 h 4724"/>
                  <a:gd name="connsiteX5" fmla="*/ 7476 w 8731"/>
                  <a:gd name="connsiteY5" fmla="*/ 1495 h 4724"/>
                  <a:gd name="connsiteX6" fmla="*/ 8732 w 8731"/>
                  <a:gd name="connsiteY6" fmla="*/ 0 h 4724"/>
                  <a:gd name="connsiteX7" fmla="*/ 6698 w 8731"/>
                  <a:gd name="connsiteY7" fmla="*/ 538 h 4724"/>
                  <a:gd name="connsiteX8" fmla="*/ 6579 w 8731"/>
                  <a:gd name="connsiteY8" fmla="*/ 538 h 4724"/>
                  <a:gd name="connsiteX9" fmla="*/ 6160 w 8731"/>
                  <a:gd name="connsiteY9" fmla="*/ 478 h 4724"/>
                  <a:gd name="connsiteX10" fmla="*/ 5622 w 8731"/>
                  <a:gd name="connsiteY10" fmla="*/ 419 h 4724"/>
                  <a:gd name="connsiteX11" fmla="*/ 5622 w 8731"/>
                  <a:gd name="connsiteY11" fmla="*/ 419 h 4724"/>
                  <a:gd name="connsiteX12" fmla="*/ 5143 w 8731"/>
                  <a:gd name="connsiteY12" fmla="*/ 359 h 4724"/>
                  <a:gd name="connsiteX13" fmla="*/ 3529 w 8731"/>
                  <a:gd name="connsiteY13" fmla="*/ 239 h 4724"/>
                  <a:gd name="connsiteX14" fmla="*/ 1435 w 8731"/>
                  <a:gd name="connsiteY14" fmla="*/ 60 h 4724"/>
                  <a:gd name="connsiteX15" fmla="*/ 359 w 8731"/>
                  <a:gd name="connsiteY15" fmla="*/ 0 h 4724"/>
                  <a:gd name="connsiteX16" fmla="*/ 0 w 8731"/>
                  <a:gd name="connsiteY16" fmla="*/ 0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31" h="4724">
                    <a:moveTo>
                      <a:pt x="4785" y="4725"/>
                    </a:moveTo>
                    <a:lnTo>
                      <a:pt x="4785" y="4725"/>
                    </a:lnTo>
                    <a:lnTo>
                      <a:pt x="6519" y="2572"/>
                    </a:lnTo>
                    <a:lnTo>
                      <a:pt x="6519" y="2572"/>
                    </a:lnTo>
                    <a:lnTo>
                      <a:pt x="7237" y="1734"/>
                    </a:lnTo>
                    <a:lnTo>
                      <a:pt x="7476" y="1495"/>
                    </a:lnTo>
                    <a:lnTo>
                      <a:pt x="8732" y="0"/>
                    </a:lnTo>
                    <a:lnTo>
                      <a:pt x="6698" y="538"/>
                    </a:lnTo>
                    <a:lnTo>
                      <a:pt x="6579" y="538"/>
                    </a:lnTo>
                    <a:lnTo>
                      <a:pt x="6160" y="478"/>
                    </a:lnTo>
                    <a:lnTo>
                      <a:pt x="5622" y="419"/>
                    </a:lnTo>
                    <a:lnTo>
                      <a:pt x="5622" y="419"/>
                    </a:lnTo>
                    <a:lnTo>
                      <a:pt x="5143" y="359"/>
                    </a:lnTo>
                    <a:lnTo>
                      <a:pt x="3529" y="239"/>
                    </a:lnTo>
                    <a:lnTo>
                      <a:pt x="1435" y="60"/>
                    </a:lnTo>
                    <a:lnTo>
                      <a:pt x="359" y="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02" name="Vrije vorm: vorm 5601">
                <a:extLst>
                  <a:ext uri="{FF2B5EF4-FFF2-40B4-BE49-F238E27FC236}">
                    <a16:creationId xmlns:a16="http://schemas.microsoft.com/office/drawing/2014/main" id="{3FFCDF28-8151-4A37-9597-11A289179077}"/>
                  </a:ext>
                </a:extLst>
              </p:cNvPr>
              <p:cNvSpPr/>
              <p:nvPr/>
            </p:nvSpPr>
            <p:spPr>
              <a:xfrm>
                <a:off x="6494127" y="1763037"/>
                <a:ext cx="14114" cy="6877"/>
              </a:xfrm>
              <a:custGeom>
                <a:avLst/>
                <a:gdLst>
                  <a:gd name="connsiteX0" fmla="*/ 14114 w 14114"/>
                  <a:gd name="connsiteY0" fmla="*/ 6878 h 6877"/>
                  <a:gd name="connsiteX1" fmla="*/ 11423 w 14114"/>
                  <a:gd name="connsiteY1" fmla="*/ 5562 h 6877"/>
                  <a:gd name="connsiteX2" fmla="*/ 10705 w 14114"/>
                  <a:gd name="connsiteY2" fmla="*/ 5203 h 6877"/>
                  <a:gd name="connsiteX3" fmla="*/ 8014 w 14114"/>
                  <a:gd name="connsiteY3" fmla="*/ 3887 h 6877"/>
                  <a:gd name="connsiteX4" fmla="*/ 5323 w 14114"/>
                  <a:gd name="connsiteY4" fmla="*/ 2572 h 6877"/>
                  <a:gd name="connsiteX5" fmla="*/ 4964 w 14114"/>
                  <a:gd name="connsiteY5" fmla="*/ 2392 h 6877"/>
                  <a:gd name="connsiteX6" fmla="*/ 2273 w 14114"/>
                  <a:gd name="connsiteY6" fmla="*/ 1077 h 6877"/>
                  <a:gd name="connsiteX7" fmla="*/ 1017 w 14114"/>
                  <a:gd name="connsiteY7" fmla="*/ 478 h 6877"/>
                  <a:gd name="connsiteX8" fmla="*/ 0 w 14114"/>
                  <a:gd name="connsiteY8" fmla="*/ 0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14" h="6877">
                    <a:moveTo>
                      <a:pt x="14114" y="6878"/>
                    </a:moveTo>
                    <a:lnTo>
                      <a:pt x="11423" y="5562"/>
                    </a:lnTo>
                    <a:lnTo>
                      <a:pt x="10705" y="5203"/>
                    </a:lnTo>
                    <a:lnTo>
                      <a:pt x="8014" y="3887"/>
                    </a:lnTo>
                    <a:lnTo>
                      <a:pt x="5323" y="2572"/>
                    </a:lnTo>
                    <a:lnTo>
                      <a:pt x="4964" y="2392"/>
                    </a:lnTo>
                    <a:lnTo>
                      <a:pt x="2273" y="1077"/>
                    </a:lnTo>
                    <a:lnTo>
                      <a:pt x="1017" y="47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03" name="Vrije vorm: vorm 5602">
                <a:extLst>
                  <a:ext uri="{FF2B5EF4-FFF2-40B4-BE49-F238E27FC236}">
                    <a16:creationId xmlns:a16="http://schemas.microsoft.com/office/drawing/2014/main" id="{232C47BA-F5F6-451D-B9C4-91FD7D800722}"/>
                  </a:ext>
                </a:extLst>
              </p:cNvPr>
              <p:cNvSpPr/>
              <p:nvPr/>
            </p:nvSpPr>
            <p:spPr>
              <a:xfrm>
                <a:off x="6535633" y="1733552"/>
                <a:ext cx="19257" cy="56158"/>
              </a:xfrm>
              <a:custGeom>
                <a:avLst/>
                <a:gdLst>
                  <a:gd name="connsiteX0" fmla="*/ 17942 w 19257"/>
                  <a:gd name="connsiteY0" fmla="*/ 0 h 56158"/>
                  <a:gd name="connsiteX1" fmla="*/ 18600 w 19257"/>
                  <a:gd name="connsiteY1" fmla="*/ 3050 h 56158"/>
                  <a:gd name="connsiteX2" fmla="*/ 19079 w 19257"/>
                  <a:gd name="connsiteY2" fmla="*/ 5203 h 56158"/>
                  <a:gd name="connsiteX3" fmla="*/ 19138 w 19257"/>
                  <a:gd name="connsiteY3" fmla="*/ 8373 h 56158"/>
                  <a:gd name="connsiteX4" fmla="*/ 19198 w 19257"/>
                  <a:gd name="connsiteY4" fmla="*/ 10586 h 56158"/>
                  <a:gd name="connsiteX5" fmla="*/ 19258 w 19257"/>
                  <a:gd name="connsiteY5" fmla="*/ 12559 h 56158"/>
                  <a:gd name="connsiteX6" fmla="*/ 18779 w 19257"/>
                  <a:gd name="connsiteY6" fmla="*/ 15729 h 56158"/>
                  <a:gd name="connsiteX7" fmla="*/ 18301 w 19257"/>
                  <a:gd name="connsiteY7" fmla="*/ 18899 h 56158"/>
                  <a:gd name="connsiteX8" fmla="*/ 18181 w 19257"/>
                  <a:gd name="connsiteY8" fmla="*/ 19497 h 56158"/>
                  <a:gd name="connsiteX9" fmla="*/ 18062 w 19257"/>
                  <a:gd name="connsiteY9" fmla="*/ 20334 h 56158"/>
                  <a:gd name="connsiteX10" fmla="*/ 18062 w 19257"/>
                  <a:gd name="connsiteY10" fmla="*/ 20394 h 56158"/>
                  <a:gd name="connsiteX11" fmla="*/ 17284 w 19257"/>
                  <a:gd name="connsiteY11" fmla="*/ 22966 h 56158"/>
                  <a:gd name="connsiteX12" fmla="*/ 16327 w 19257"/>
                  <a:gd name="connsiteY12" fmla="*/ 26076 h 56158"/>
                  <a:gd name="connsiteX13" fmla="*/ 15729 w 19257"/>
                  <a:gd name="connsiteY13" fmla="*/ 27990 h 56158"/>
                  <a:gd name="connsiteX14" fmla="*/ 15071 w 19257"/>
                  <a:gd name="connsiteY14" fmla="*/ 29305 h 56158"/>
                  <a:gd name="connsiteX15" fmla="*/ 14533 w 19257"/>
                  <a:gd name="connsiteY15" fmla="*/ 30322 h 56158"/>
                  <a:gd name="connsiteX16" fmla="*/ 13995 w 19257"/>
                  <a:gd name="connsiteY16" fmla="*/ 31399 h 56158"/>
                  <a:gd name="connsiteX17" fmla="*/ 13158 w 19257"/>
                  <a:gd name="connsiteY17" fmla="*/ 33073 h 56158"/>
                  <a:gd name="connsiteX18" fmla="*/ 12260 w 19257"/>
                  <a:gd name="connsiteY18" fmla="*/ 34868 h 56158"/>
                  <a:gd name="connsiteX19" fmla="*/ 10645 w 19257"/>
                  <a:gd name="connsiteY19" fmla="*/ 37678 h 56158"/>
                  <a:gd name="connsiteX20" fmla="*/ 9031 w 19257"/>
                  <a:gd name="connsiteY20" fmla="*/ 40489 h 56158"/>
                  <a:gd name="connsiteX21" fmla="*/ 7416 w 19257"/>
                  <a:gd name="connsiteY21" fmla="*/ 43300 h 56158"/>
                  <a:gd name="connsiteX22" fmla="*/ 5981 w 19257"/>
                  <a:gd name="connsiteY22" fmla="*/ 45812 h 56158"/>
                  <a:gd name="connsiteX23" fmla="*/ 4366 w 19257"/>
                  <a:gd name="connsiteY23" fmla="*/ 48623 h 56158"/>
                  <a:gd name="connsiteX24" fmla="*/ 2751 w 19257"/>
                  <a:gd name="connsiteY24" fmla="*/ 51434 h 56158"/>
                  <a:gd name="connsiteX25" fmla="*/ 1136 w 19257"/>
                  <a:gd name="connsiteY25" fmla="*/ 54245 h 56158"/>
                  <a:gd name="connsiteX26" fmla="*/ 0 w 19257"/>
                  <a:gd name="connsiteY26" fmla="*/ 56159 h 56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257" h="56158">
                    <a:moveTo>
                      <a:pt x="17942" y="0"/>
                    </a:moveTo>
                    <a:lnTo>
                      <a:pt x="18600" y="3050"/>
                    </a:lnTo>
                    <a:lnTo>
                      <a:pt x="19079" y="5203"/>
                    </a:lnTo>
                    <a:lnTo>
                      <a:pt x="19138" y="8373"/>
                    </a:lnTo>
                    <a:lnTo>
                      <a:pt x="19198" y="10586"/>
                    </a:lnTo>
                    <a:lnTo>
                      <a:pt x="19258" y="12559"/>
                    </a:lnTo>
                    <a:lnTo>
                      <a:pt x="18779" y="15729"/>
                    </a:lnTo>
                    <a:lnTo>
                      <a:pt x="18301" y="18899"/>
                    </a:lnTo>
                    <a:lnTo>
                      <a:pt x="18181" y="19497"/>
                    </a:lnTo>
                    <a:lnTo>
                      <a:pt x="18062" y="20334"/>
                    </a:lnTo>
                    <a:lnTo>
                      <a:pt x="18062" y="20394"/>
                    </a:lnTo>
                    <a:lnTo>
                      <a:pt x="17284" y="22966"/>
                    </a:lnTo>
                    <a:lnTo>
                      <a:pt x="16327" y="26076"/>
                    </a:lnTo>
                    <a:lnTo>
                      <a:pt x="15729" y="27990"/>
                    </a:lnTo>
                    <a:lnTo>
                      <a:pt x="15071" y="29305"/>
                    </a:lnTo>
                    <a:lnTo>
                      <a:pt x="14533" y="30322"/>
                    </a:lnTo>
                    <a:lnTo>
                      <a:pt x="13995" y="31399"/>
                    </a:lnTo>
                    <a:lnTo>
                      <a:pt x="13158" y="33073"/>
                    </a:lnTo>
                    <a:lnTo>
                      <a:pt x="12260" y="34868"/>
                    </a:lnTo>
                    <a:lnTo>
                      <a:pt x="10645" y="37678"/>
                    </a:lnTo>
                    <a:lnTo>
                      <a:pt x="9031" y="40489"/>
                    </a:lnTo>
                    <a:lnTo>
                      <a:pt x="7416" y="43300"/>
                    </a:lnTo>
                    <a:lnTo>
                      <a:pt x="5981" y="45812"/>
                    </a:lnTo>
                    <a:lnTo>
                      <a:pt x="4366" y="48623"/>
                    </a:lnTo>
                    <a:lnTo>
                      <a:pt x="2751" y="51434"/>
                    </a:lnTo>
                    <a:lnTo>
                      <a:pt x="1136" y="54245"/>
                    </a:lnTo>
                    <a:lnTo>
                      <a:pt x="0" y="56159"/>
                    </a:lnTo>
                  </a:path>
                </a:pathLst>
              </a:custGeom>
              <a:noFill/>
              <a:ln w="6350" cap="rnd">
                <a:solidFill>
                  <a:schemeClr val="bg1">
                    <a:alpha val="80000"/>
                  </a:schemeClr>
                </a:solidFill>
                <a:prstDash val="solid"/>
                <a:round/>
              </a:ln>
            </p:spPr>
            <p:txBody>
              <a:bodyPr rtlCol="0" anchor="ctr"/>
              <a:lstStyle/>
              <a:p>
                <a:endParaRPr lang="en-GB"/>
              </a:p>
            </p:txBody>
          </p:sp>
          <p:sp>
            <p:nvSpPr>
              <p:cNvPr id="5604" name="Vrije vorm: vorm 5603">
                <a:extLst>
                  <a:ext uri="{FF2B5EF4-FFF2-40B4-BE49-F238E27FC236}">
                    <a16:creationId xmlns:a16="http://schemas.microsoft.com/office/drawing/2014/main" id="{39C2B213-EBC3-433F-B9E9-B2E1A0BE58AE}"/>
                  </a:ext>
                </a:extLst>
              </p:cNvPr>
              <p:cNvSpPr/>
              <p:nvPr/>
            </p:nvSpPr>
            <p:spPr>
              <a:xfrm>
                <a:off x="6403280" y="1730323"/>
                <a:ext cx="144254" cy="73802"/>
              </a:xfrm>
              <a:custGeom>
                <a:avLst/>
                <a:gdLst>
                  <a:gd name="connsiteX0" fmla="*/ 144255 w 144254"/>
                  <a:gd name="connsiteY0" fmla="*/ 71230 h 73802"/>
                  <a:gd name="connsiteX1" fmla="*/ 142820 w 144254"/>
                  <a:gd name="connsiteY1" fmla="*/ 73683 h 73802"/>
                  <a:gd name="connsiteX2" fmla="*/ 142760 w 144254"/>
                  <a:gd name="connsiteY2" fmla="*/ 73802 h 73802"/>
                  <a:gd name="connsiteX3" fmla="*/ 140068 w 144254"/>
                  <a:gd name="connsiteY3" fmla="*/ 72546 h 73802"/>
                  <a:gd name="connsiteX4" fmla="*/ 137377 w 144254"/>
                  <a:gd name="connsiteY4" fmla="*/ 71290 h 73802"/>
                  <a:gd name="connsiteX5" fmla="*/ 136002 w 144254"/>
                  <a:gd name="connsiteY5" fmla="*/ 70632 h 73802"/>
                  <a:gd name="connsiteX6" fmla="*/ 133190 w 144254"/>
                  <a:gd name="connsiteY6" fmla="*/ 71350 h 73802"/>
                  <a:gd name="connsiteX7" fmla="*/ 130380 w 144254"/>
                  <a:gd name="connsiteY7" fmla="*/ 72068 h 73802"/>
                  <a:gd name="connsiteX8" fmla="*/ 128944 w 144254"/>
                  <a:gd name="connsiteY8" fmla="*/ 72427 h 73802"/>
                  <a:gd name="connsiteX9" fmla="*/ 126253 w 144254"/>
                  <a:gd name="connsiteY9" fmla="*/ 71230 h 73802"/>
                  <a:gd name="connsiteX10" fmla="*/ 123562 w 144254"/>
                  <a:gd name="connsiteY10" fmla="*/ 70034 h 73802"/>
                  <a:gd name="connsiteX11" fmla="*/ 122665 w 144254"/>
                  <a:gd name="connsiteY11" fmla="*/ 69616 h 73802"/>
                  <a:gd name="connsiteX12" fmla="*/ 119973 w 144254"/>
                  <a:gd name="connsiteY12" fmla="*/ 68419 h 73802"/>
                  <a:gd name="connsiteX13" fmla="*/ 117282 w 144254"/>
                  <a:gd name="connsiteY13" fmla="*/ 67223 h 73802"/>
                  <a:gd name="connsiteX14" fmla="*/ 114590 w 144254"/>
                  <a:gd name="connsiteY14" fmla="*/ 66027 h 73802"/>
                  <a:gd name="connsiteX15" fmla="*/ 114531 w 144254"/>
                  <a:gd name="connsiteY15" fmla="*/ 65967 h 73802"/>
                  <a:gd name="connsiteX16" fmla="*/ 111840 w 144254"/>
                  <a:gd name="connsiteY16" fmla="*/ 64771 h 73802"/>
                  <a:gd name="connsiteX17" fmla="*/ 110404 w 144254"/>
                  <a:gd name="connsiteY17" fmla="*/ 64113 h 73802"/>
                  <a:gd name="connsiteX18" fmla="*/ 110344 w 144254"/>
                  <a:gd name="connsiteY18" fmla="*/ 64113 h 73802"/>
                  <a:gd name="connsiteX19" fmla="*/ 107653 w 144254"/>
                  <a:gd name="connsiteY19" fmla="*/ 62917 h 73802"/>
                  <a:gd name="connsiteX20" fmla="*/ 104962 w 144254"/>
                  <a:gd name="connsiteY20" fmla="*/ 61721 h 73802"/>
                  <a:gd name="connsiteX21" fmla="*/ 102270 w 144254"/>
                  <a:gd name="connsiteY21" fmla="*/ 60525 h 73802"/>
                  <a:gd name="connsiteX22" fmla="*/ 99579 w 144254"/>
                  <a:gd name="connsiteY22" fmla="*/ 59329 h 73802"/>
                  <a:gd name="connsiteX23" fmla="*/ 98742 w 144254"/>
                  <a:gd name="connsiteY23" fmla="*/ 58970 h 73802"/>
                  <a:gd name="connsiteX24" fmla="*/ 96230 w 144254"/>
                  <a:gd name="connsiteY24" fmla="*/ 57415 h 73802"/>
                  <a:gd name="connsiteX25" fmla="*/ 93718 w 144254"/>
                  <a:gd name="connsiteY25" fmla="*/ 55860 h 73802"/>
                  <a:gd name="connsiteX26" fmla="*/ 91206 w 144254"/>
                  <a:gd name="connsiteY26" fmla="*/ 54305 h 73802"/>
                  <a:gd name="connsiteX27" fmla="*/ 88694 w 144254"/>
                  <a:gd name="connsiteY27" fmla="*/ 52750 h 73802"/>
                  <a:gd name="connsiteX28" fmla="*/ 86182 w 144254"/>
                  <a:gd name="connsiteY28" fmla="*/ 51195 h 73802"/>
                  <a:gd name="connsiteX29" fmla="*/ 83670 w 144254"/>
                  <a:gd name="connsiteY29" fmla="*/ 49640 h 73802"/>
                  <a:gd name="connsiteX30" fmla="*/ 82414 w 144254"/>
                  <a:gd name="connsiteY30" fmla="*/ 48862 h 73802"/>
                  <a:gd name="connsiteX31" fmla="*/ 79902 w 144254"/>
                  <a:gd name="connsiteY31" fmla="*/ 47308 h 73802"/>
                  <a:gd name="connsiteX32" fmla="*/ 77391 w 144254"/>
                  <a:gd name="connsiteY32" fmla="*/ 45753 h 73802"/>
                  <a:gd name="connsiteX33" fmla="*/ 76673 w 144254"/>
                  <a:gd name="connsiteY33" fmla="*/ 45334 h 73802"/>
                  <a:gd name="connsiteX34" fmla="*/ 74699 w 144254"/>
                  <a:gd name="connsiteY34" fmla="*/ 44078 h 73802"/>
                  <a:gd name="connsiteX35" fmla="*/ 73982 w 144254"/>
                  <a:gd name="connsiteY35" fmla="*/ 43659 h 73802"/>
                  <a:gd name="connsiteX36" fmla="*/ 71470 w 144254"/>
                  <a:gd name="connsiteY36" fmla="*/ 42104 h 73802"/>
                  <a:gd name="connsiteX37" fmla="*/ 70871 w 144254"/>
                  <a:gd name="connsiteY37" fmla="*/ 41745 h 73802"/>
                  <a:gd name="connsiteX38" fmla="*/ 68360 w 144254"/>
                  <a:gd name="connsiteY38" fmla="*/ 40190 h 73802"/>
                  <a:gd name="connsiteX39" fmla="*/ 65848 w 144254"/>
                  <a:gd name="connsiteY39" fmla="*/ 38576 h 73802"/>
                  <a:gd name="connsiteX40" fmla="*/ 63336 w 144254"/>
                  <a:gd name="connsiteY40" fmla="*/ 37021 h 73802"/>
                  <a:gd name="connsiteX41" fmla="*/ 60824 w 144254"/>
                  <a:gd name="connsiteY41" fmla="*/ 35466 h 73802"/>
                  <a:gd name="connsiteX42" fmla="*/ 59149 w 144254"/>
                  <a:gd name="connsiteY42" fmla="*/ 34389 h 73802"/>
                  <a:gd name="connsiteX43" fmla="*/ 56936 w 144254"/>
                  <a:gd name="connsiteY43" fmla="*/ 33014 h 73802"/>
                  <a:gd name="connsiteX44" fmla="*/ 54245 w 144254"/>
                  <a:gd name="connsiteY44" fmla="*/ 31758 h 73802"/>
                  <a:gd name="connsiteX45" fmla="*/ 51554 w 144254"/>
                  <a:gd name="connsiteY45" fmla="*/ 30502 h 73802"/>
                  <a:gd name="connsiteX46" fmla="*/ 51255 w 144254"/>
                  <a:gd name="connsiteY46" fmla="*/ 30382 h 73802"/>
                  <a:gd name="connsiteX47" fmla="*/ 48862 w 144254"/>
                  <a:gd name="connsiteY47" fmla="*/ 29306 h 73802"/>
                  <a:gd name="connsiteX48" fmla="*/ 46171 w 144254"/>
                  <a:gd name="connsiteY48" fmla="*/ 28050 h 73802"/>
                  <a:gd name="connsiteX49" fmla="*/ 43480 w 144254"/>
                  <a:gd name="connsiteY49" fmla="*/ 26794 h 73802"/>
                  <a:gd name="connsiteX50" fmla="*/ 40789 w 144254"/>
                  <a:gd name="connsiteY50" fmla="*/ 25538 h 73802"/>
                  <a:gd name="connsiteX51" fmla="*/ 38097 w 144254"/>
                  <a:gd name="connsiteY51" fmla="*/ 24282 h 73802"/>
                  <a:gd name="connsiteX52" fmla="*/ 35406 w 144254"/>
                  <a:gd name="connsiteY52" fmla="*/ 23026 h 73802"/>
                  <a:gd name="connsiteX53" fmla="*/ 32714 w 144254"/>
                  <a:gd name="connsiteY53" fmla="*/ 21770 h 73802"/>
                  <a:gd name="connsiteX54" fmla="*/ 30023 w 144254"/>
                  <a:gd name="connsiteY54" fmla="*/ 20514 h 73802"/>
                  <a:gd name="connsiteX55" fmla="*/ 27332 w 144254"/>
                  <a:gd name="connsiteY55" fmla="*/ 19258 h 73802"/>
                  <a:gd name="connsiteX56" fmla="*/ 24641 w 144254"/>
                  <a:gd name="connsiteY56" fmla="*/ 18002 h 73802"/>
                  <a:gd name="connsiteX57" fmla="*/ 21949 w 144254"/>
                  <a:gd name="connsiteY57" fmla="*/ 16746 h 73802"/>
                  <a:gd name="connsiteX58" fmla="*/ 20574 w 144254"/>
                  <a:gd name="connsiteY58" fmla="*/ 16088 h 73802"/>
                  <a:gd name="connsiteX59" fmla="*/ 18361 w 144254"/>
                  <a:gd name="connsiteY59" fmla="*/ 14115 h 73802"/>
                  <a:gd name="connsiteX60" fmla="*/ 16148 w 144254"/>
                  <a:gd name="connsiteY60" fmla="*/ 12141 h 73802"/>
                  <a:gd name="connsiteX61" fmla="*/ 15729 w 144254"/>
                  <a:gd name="connsiteY61" fmla="*/ 11782 h 73802"/>
                  <a:gd name="connsiteX62" fmla="*/ 14653 w 144254"/>
                  <a:gd name="connsiteY62" fmla="*/ 13636 h 73802"/>
                  <a:gd name="connsiteX63" fmla="*/ 11961 w 144254"/>
                  <a:gd name="connsiteY63" fmla="*/ 12380 h 73802"/>
                  <a:gd name="connsiteX64" fmla="*/ 9270 w 144254"/>
                  <a:gd name="connsiteY64" fmla="*/ 11124 h 73802"/>
                  <a:gd name="connsiteX65" fmla="*/ 7536 w 144254"/>
                  <a:gd name="connsiteY65" fmla="*/ 10287 h 73802"/>
                  <a:gd name="connsiteX66" fmla="*/ 5382 w 144254"/>
                  <a:gd name="connsiteY66" fmla="*/ 8253 h 73802"/>
                  <a:gd name="connsiteX67" fmla="*/ 3229 w 144254"/>
                  <a:gd name="connsiteY67" fmla="*/ 6220 h 73802"/>
                  <a:gd name="connsiteX68" fmla="*/ 1076 w 144254"/>
                  <a:gd name="connsiteY68" fmla="*/ 4186 h 73802"/>
                  <a:gd name="connsiteX69" fmla="*/ 0 w 144254"/>
                  <a:gd name="connsiteY69" fmla="*/ 3170 h 73802"/>
                  <a:gd name="connsiteX70" fmla="*/ 179 w 144254"/>
                  <a:gd name="connsiteY70" fmla="*/ 2871 h 73802"/>
                  <a:gd name="connsiteX71" fmla="*/ 1196 w 144254"/>
                  <a:gd name="connsiteY71" fmla="*/ 1136 h 73802"/>
                  <a:gd name="connsiteX72" fmla="*/ 1854 w 144254"/>
                  <a:gd name="connsiteY72" fmla="*/ 0 h 73802"/>
                  <a:gd name="connsiteX73" fmla="*/ 2930 w 144254"/>
                  <a:gd name="connsiteY73" fmla="*/ 478 h 7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44254" h="73802">
                    <a:moveTo>
                      <a:pt x="144255" y="71230"/>
                    </a:moveTo>
                    <a:lnTo>
                      <a:pt x="142820" y="73683"/>
                    </a:lnTo>
                    <a:lnTo>
                      <a:pt x="142760" y="73802"/>
                    </a:lnTo>
                    <a:lnTo>
                      <a:pt x="140068" y="72546"/>
                    </a:lnTo>
                    <a:lnTo>
                      <a:pt x="137377" y="71290"/>
                    </a:lnTo>
                    <a:lnTo>
                      <a:pt x="136002" y="70632"/>
                    </a:lnTo>
                    <a:lnTo>
                      <a:pt x="133190" y="71350"/>
                    </a:lnTo>
                    <a:lnTo>
                      <a:pt x="130380" y="72068"/>
                    </a:lnTo>
                    <a:lnTo>
                      <a:pt x="128944" y="72427"/>
                    </a:lnTo>
                    <a:lnTo>
                      <a:pt x="126253" y="71230"/>
                    </a:lnTo>
                    <a:lnTo>
                      <a:pt x="123562" y="70034"/>
                    </a:lnTo>
                    <a:lnTo>
                      <a:pt x="122665" y="69616"/>
                    </a:lnTo>
                    <a:lnTo>
                      <a:pt x="119973" y="68419"/>
                    </a:lnTo>
                    <a:lnTo>
                      <a:pt x="117282" y="67223"/>
                    </a:lnTo>
                    <a:lnTo>
                      <a:pt x="114590" y="66027"/>
                    </a:lnTo>
                    <a:lnTo>
                      <a:pt x="114531" y="65967"/>
                    </a:lnTo>
                    <a:lnTo>
                      <a:pt x="111840" y="64771"/>
                    </a:lnTo>
                    <a:lnTo>
                      <a:pt x="110404" y="64113"/>
                    </a:lnTo>
                    <a:lnTo>
                      <a:pt x="110344" y="64113"/>
                    </a:lnTo>
                    <a:lnTo>
                      <a:pt x="107653" y="62917"/>
                    </a:lnTo>
                    <a:lnTo>
                      <a:pt x="104962" y="61721"/>
                    </a:lnTo>
                    <a:lnTo>
                      <a:pt x="102270" y="60525"/>
                    </a:lnTo>
                    <a:lnTo>
                      <a:pt x="99579" y="59329"/>
                    </a:lnTo>
                    <a:lnTo>
                      <a:pt x="98742" y="58970"/>
                    </a:lnTo>
                    <a:lnTo>
                      <a:pt x="96230" y="57415"/>
                    </a:lnTo>
                    <a:lnTo>
                      <a:pt x="93718" y="55860"/>
                    </a:lnTo>
                    <a:lnTo>
                      <a:pt x="91206" y="54305"/>
                    </a:lnTo>
                    <a:lnTo>
                      <a:pt x="88694" y="52750"/>
                    </a:lnTo>
                    <a:lnTo>
                      <a:pt x="86182" y="51195"/>
                    </a:lnTo>
                    <a:lnTo>
                      <a:pt x="83670" y="49640"/>
                    </a:lnTo>
                    <a:lnTo>
                      <a:pt x="82414" y="48862"/>
                    </a:lnTo>
                    <a:lnTo>
                      <a:pt x="79902" y="47308"/>
                    </a:lnTo>
                    <a:lnTo>
                      <a:pt x="77391" y="45753"/>
                    </a:lnTo>
                    <a:lnTo>
                      <a:pt x="76673" y="45334"/>
                    </a:lnTo>
                    <a:lnTo>
                      <a:pt x="74699" y="44078"/>
                    </a:lnTo>
                    <a:lnTo>
                      <a:pt x="73982" y="43659"/>
                    </a:lnTo>
                    <a:lnTo>
                      <a:pt x="71470" y="42104"/>
                    </a:lnTo>
                    <a:lnTo>
                      <a:pt x="70871" y="41745"/>
                    </a:lnTo>
                    <a:lnTo>
                      <a:pt x="68360" y="40190"/>
                    </a:lnTo>
                    <a:lnTo>
                      <a:pt x="65848" y="38576"/>
                    </a:lnTo>
                    <a:lnTo>
                      <a:pt x="63336" y="37021"/>
                    </a:lnTo>
                    <a:lnTo>
                      <a:pt x="60824" y="35466"/>
                    </a:lnTo>
                    <a:lnTo>
                      <a:pt x="59149" y="34389"/>
                    </a:lnTo>
                    <a:lnTo>
                      <a:pt x="56936" y="33014"/>
                    </a:lnTo>
                    <a:lnTo>
                      <a:pt x="54245" y="31758"/>
                    </a:lnTo>
                    <a:lnTo>
                      <a:pt x="51554" y="30502"/>
                    </a:lnTo>
                    <a:lnTo>
                      <a:pt x="51255" y="30382"/>
                    </a:lnTo>
                    <a:lnTo>
                      <a:pt x="48862" y="29306"/>
                    </a:lnTo>
                    <a:lnTo>
                      <a:pt x="46171" y="28050"/>
                    </a:lnTo>
                    <a:lnTo>
                      <a:pt x="43480" y="26794"/>
                    </a:lnTo>
                    <a:lnTo>
                      <a:pt x="40789" y="25538"/>
                    </a:lnTo>
                    <a:lnTo>
                      <a:pt x="38097" y="24282"/>
                    </a:lnTo>
                    <a:lnTo>
                      <a:pt x="35406" y="23026"/>
                    </a:lnTo>
                    <a:lnTo>
                      <a:pt x="32714" y="21770"/>
                    </a:lnTo>
                    <a:lnTo>
                      <a:pt x="30023" y="20514"/>
                    </a:lnTo>
                    <a:lnTo>
                      <a:pt x="27332" y="19258"/>
                    </a:lnTo>
                    <a:lnTo>
                      <a:pt x="24641" y="18002"/>
                    </a:lnTo>
                    <a:lnTo>
                      <a:pt x="21949" y="16746"/>
                    </a:lnTo>
                    <a:lnTo>
                      <a:pt x="20574" y="16088"/>
                    </a:lnTo>
                    <a:lnTo>
                      <a:pt x="18361" y="14115"/>
                    </a:lnTo>
                    <a:lnTo>
                      <a:pt x="16148" y="12141"/>
                    </a:lnTo>
                    <a:lnTo>
                      <a:pt x="15729" y="11782"/>
                    </a:lnTo>
                    <a:lnTo>
                      <a:pt x="14653" y="13636"/>
                    </a:lnTo>
                    <a:lnTo>
                      <a:pt x="11961" y="12380"/>
                    </a:lnTo>
                    <a:lnTo>
                      <a:pt x="9270" y="11124"/>
                    </a:lnTo>
                    <a:lnTo>
                      <a:pt x="7536" y="10287"/>
                    </a:lnTo>
                    <a:lnTo>
                      <a:pt x="5382" y="8253"/>
                    </a:lnTo>
                    <a:lnTo>
                      <a:pt x="3229" y="6220"/>
                    </a:lnTo>
                    <a:lnTo>
                      <a:pt x="1076" y="4186"/>
                    </a:lnTo>
                    <a:lnTo>
                      <a:pt x="0" y="3170"/>
                    </a:lnTo>
                    <a:lnTo>
                      <a:pt x="179" y="2871"/>
                    </a:lnTo>
                    <a:lnTo>
                      <a:pt x="1196" y="1136"/>
                    </a:lnTo>
                    <a:lnTo>
                      <a:pt x="1854" y="0"/>
                    </a:lnTo>
                    <a:lnTo>
                      <a:pt x="2930" y="478"/>
                    </a:lnTo>
                  </a:path>
                </a:pathLst>
              </a:custGeom>
              <a:noFill/>
              <a:ln w="6350" cap="rnd">
                <a:solidFill>
                  <a:schemeClr val="bg1">
                    <a:alpha val="80000"/>
                  </a:schemeClr>
                </a:solidFill>
                <a:prstDash val="solid"/>
                <a:round/>
              </a:ln>
            </p:spPr>
            <p:txBody>
              <a:bodyPr rtlCol="0" anchor="ctr"/>
              <a:lstStyle/>
              <a:p>
                <a:endParaRPr lang="en-GB"/>
              </a:p>
            </p:txBody>
          </p:sp>
          <p:sp>
            <p:nvSpPr>
              <p:cNvPr id="5605" name="Vrije vorm: vorm 5604">
                <a:extLst>
                  <a:ext uri="{FF2B5EF4-FFF2-40B4-BE49-F238E27FC236}">
                    <a16:creationId xmlns:a16="http://schemas.microsoft.com/office/drawing/2014/main" id="{4AD8C079-522D-4CDD-801E-09C90D3ED259}"/>
                  </a:ext>
                </a:extLst>
              </p:cNvPr>
              <p:cNvSpPr/>
              <p:nvPr/>
            </p:nvSpPr>
            <p:spPr>
              <a:xfrm>
                <a:off x="6453936" y="1760166"/>
                <a:ext cx="70512" cy="40011"/>
              </a:xfrm>
              <a:custGeom>
                <a:avLst/>
                <a:gdLst>
                  <a:gd name="connsiteX0" fmla="*/ 70513 w 70512"/>
                  <a:gd name="connsiteY0" fmla="*/ 40011 h 40011"/>
                  <a:gd name="connsiteX1" fmla="*/ 67642 w 70512"/>
                  <a:gd name="connsiteY1" fmla="*/ 39293 h 40011"/>
                  <a:gd name="connsiteX2" fmla="*/ 65669 w 70512"/>
                  <a:gd name="connsiteY2" fmla="*/ 38815 h 40011"/>
                  <a:gd name="connsiteX3" fmla="*/ 62917 w 70512"/>
                  <a:gd name="connsiteY3" fmla="*/ 37738 h 40011"/>
                  <a:gd name="connsiteX4" fmla="*/ 62798 w 70512"/>
                  <a:gd name="connsiteY4" fmla="*/ 37679 h 40011"/>
                  <a:gd name="connsiteX5" fmla="*/ 62678 w 70512"/>
                  <a:gd name="connsiteY5" fmla="*/ 37619 h 40011"/>
                  <a:gd name="connsiteX6" fmla="*/ 59927 w 70512"/>
                  <a:gd name="connsiteY6" fmla="*/ 36542 h 40011"/>
                  <a:gd name="connsiteX7" fmla="*/ 58791 w 70512"/>
                  <a:gd name="connsiteY7" fmla="*/ 36124 h 40011"/>
                  <a:gd name="connsiteX8" fmla="*/ 58372 w 70512"/>
                  <a:gd name="connsiteY8" fmla="*/ 35944 h 40011"/>
                  <a:gd name="connsiteX9" fmla="*/ 55681 w 70512"/>
                  <a:gd name="connsiteY9" fmla="*/ 34688 h 40011"/>
                  <a:gd name="connsiteX10" fmla="*/ 52989 w 70512"/>
                  <a:gd name="connsiteY10" fmla="*/ 33432 h 40011"/>
                  <a:gd name="connsiteX11" fmla="*/ 50298 w 70512"/>
                  <a:gd name="connsiteY11" fmla="*/ 32176 h 40011"/>
                  <a:gd name="connsiteX12" fmla="*/ 49162 w 70512"/>
                  <a:gd name="connsiteY12" fmla="*/ 31638 h 40011"/>
                  <a:gd name="connsiteX13" fmla="*/ 46530 w 70512"/>
                  <a:gd name="connsiteY13" fmla="*/ 30262 h 40011"/>
                  <a:gd name="connsiteX14" fmla="*/ 43899 w 70512"/>
                  <a:gd name="connsiteY14" fmla="*/ 28887 h 40011"/>
                  <a:gd name="connsiteX15" fmla="*/ 41267 w 70512"/>
                  <a:gd name="connsiteY15" fmla="*/ 27511 h 40011"/>
                  <a:gd name="connsiteX16" fmla="*/ 38755 w 70512"/>
                  <a:gd name="connsiteY16" fmla="*/ 26136 h 40011"/>
                  <a:gd name="connsiteX17" fmla="*/ 36183 w 70512"/>
                  <a:gd name="connsiteY17" fmla="*/ 24641 h 40011"/>
                  <a:gd name="connsiteX18" fmla="*/ 33612 w 70512"/>
                  <a:gd name="connsiteY18" fmla="*/ 23145 h 40011"/>
                  <a:gd name="connsiteX19" fmla="*/ 33074 w 70512"/>
                  <a:gd name="connsiteY19" fmla="*/ 22846 h 40011"/>
                  <a:gd name="connsiteX20" fmla="*/ 30502 w 70512"/>
                  <a:gd name="connsiteY20" fmla="*/ 21351 h 40011"/>
                  <a:gd name="connsiteX21" fmla="*/ 27930 w 70512"/>
                  <a:gd name="connsiteY21" fmla="*/ 19856 h 40011"/>
                  <a:gd name="connsiteX22" fmla="*/ 27870 w 70512"/>
                  <a:gd name="connsiteY22" fmla="*/ 19856 h 40011"/>
                  <a:gd name="connsiteX23" fmla="*/ 25358 w 70512"/>
                  <a:gd name="connsiteY23" fmla="*/ 18241 h 40011"/>
                  <a:gd name="connsiteX24" fmla="*/ 22846 w 70512"/>
                  <a:gd name="connsiteY24" fmla="*/ 16626 h 40011"/>
                  <a:gd name="connsiteX25" fmla="*/ 22488 w 70512"/>
                  <a:gd name="connsiteY25" fmla="*/ 16387 h 40011"/>
                  <a:gd name="connsiteX26" fmla="*/ 22189 w 70512"/>
                  <a:gd name="connsiteY26" fmla="*/ 16208 h 40011"/>
                  <a:gd name="connsiteX27" fmla="*/ 21471 w 70512"/>
                  <a:gd name="connsiteY27" fmla="*/ 15789 h 40011"/>
                  <a:gd name="connsiteX28" fmla="*/ 18959 w 70512"/>
                  <a:gd name="connsiteY28" fmla="*/ 14174 h 40011"/>
                  <a:gd name="connsiteX29" fmla="*/ 18002 w 70512"/>
                  <a:gd name="connsiteY29" fmla="*/ 13576 h 40011"/>
                  <a:gd name="connsiteX30" fmla="*/ 17583 w 70512"/>
                  <a:gd name="connsiteY30" fmla="*/ 13277 h 40011"/>
                  <a:gd name="connsiteX31" fmla="*/ 15131 w 70512"/>
                  <a:gd name="connsiteY31" fmla="*/ 11603 h 40011"/>
                  <a:gd name="connsiteX32" fmla="*/ 12679 w 70512"/>
                  <a:gd name="connsiteY32" fmla="*/ 9928 h 40011"/>
                  <a:gd name="connsiteX33" fmla="*/ 10227 w 70512"/>
                  <a:gd name="connsiteY33" fmla="*/ 8253 h 40011"/>
                  <a:gd name="connsiteX34" fmla="*/ 8612 w 70512"/>
                  <a:gd name="connsiteY34" fmla="*/ 7117 h 40011"/>
                  <a:gd name="connsiteX35" fmla="*/ 6340 w 70512"/>
                  <a:gd name="connsiteY35" fmla="*/ 5323 h 40011"/>
                  <a:gd name="connsiteX36" fmla="*/ 4007 w 70512"/>
                  <a:gd name="connsiteY36" fmla="*/ 3469 h 40011"/>
                  <a:gd name="connsiteX37" fmla="*/ 3708 w 70512"/>
                  <a:gd name="connsiteY37" fmla="*/ 3230 h 40011"/>
                  <a:gd name="connsiteX38" fmla="*/ 1735 w 70512"/>
                  <a:gd name="connsiteY38" fmla="*/ 1675 h 40011"/>
                  <a:gd name="connsiteX39" fmla="*/ 0 w 70512"/>
                  <a:gd name="connsiteY39" fmla="*/ 0 h 4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0512" h="40011">
                    <a:moveTo>
                      <a:pt x="70513" y="40011"/>
                    </a:moveTo>
                    <a:lnTo>
                      <a:pt x="67642" y="39293"/>
                    </a:lnTo>
                    <a:lnTo>
                      <a:pt x="65669" y="38815"/>
                    </a:lnTo>
                    <a:lnTo>
                      <a:pt x="62917" y="37738"/>
                    </a:lnTo>
                    <a:lnTo>
                      <a:pt x="62798" y="37679"/>
                    </a:lnTo>
                    <a:lnTo>
                      <a:pt x="62678" y="37619"/>
                    </a:lnTo>
                    <a:lnTo>
                      <a:pt x="59927" y="36542"/>
                    </a:lnTo>
                    <a:lnTo>
                      <a:pt x="58791" y="36124"/>
                    </a:lnTo>
                    <a:lnTo>
                      <a:pt x="58372" y="35944"/>
                    </a:lnTo>
                    <a:lnTo>
                      <a:pt x="55681" y="34688"/>
                    </a:lnTo>
                    <a:lnTo>
                      <a:pt x="52989" y="33432"/>
                    </a:lnTo>
                    <a:lnTo>
                      <a:pt x="50298" y="32176"/>
                    </a:lnTo>
                    <a:lnTo>
                      <a:pt x="49162" y="31638"/>
                    </a:lnTo>
                    <a:lnTo>
                      <a:pt x="46530" y="30262"/>
                    </a:lnTo>
                    <a:lnTo>
                      <a:pt x="43899" y="28887"/>
                    </a:lnTo>
                    <a:lnTo>
                      <a:pt x="41267" y="27511"/>
                    </a:lnTo>
                    <a:lnTo>
                      <a:pt x="38755" y="26136"/>
                    </a:lnTo>
                    <a:lnTo>
                      <a:pt x="36183" y="24641"/>
                    </a:lnTo>
                    <a:lnTo>
                      <a:pt x="33612" y="23145"/>
                    </a:lnTo>
                    <a:lnTo>
                      <a:pt x="33074" y="22846"/>
                    </a:lnTo>
                    <a:lnTo>
                      <a:pt x="30502" y="21351"/>
                    </a:lnTo>
                    <a:lnTo>
                      <a:pt x="27930" y="19856"/>
                    </a:lnTo>
                    <a:lnTo>
                      <a:pt x="27870" y="19856"/>
                    </a:lnTo>
                    <a:lnTo>
                      <a:pt x="25358" y="18241"/>
                    </a:lnTo>
                    <a:lnTo>
                      <a:pt x="22846" y="16626"/>
                    </a:lnTo>
                    <a:lnTo>
                      <a:pt x="22488" y="16387"/>
                    </a:lnTo>
                    <a:lnTo>
                      <a:pt x="22189" y="16208"/>
                    </a:lnTo>
                    <a:lnTo>
                      <a:pt x="21471" y="15789"/>
                    </a:lnTo>
                    <a:lnTo>
                      <a:pt x="18959" y="14174"/>
                    </a:lnTo>
                    <a:lnTo>
                      <a:pt x="18002" y="13576"/>
                    </a:lnTo>
                    <a:lnTo>
                      <a:pt x="17583" y="13277"/>
                    </a:lnTo>
                    <a:lnTo>
                      <a:pt x="15131" y="11603"/>
                    </a:lnTo>
                    <a:lnTo>
                      <a:pt x="12679" y="9928"/>
                    </a:lnTo>
                    <a:lnTo>
                      <a:pt x="10227" y="8253"/>
                    </a:lnTo>
                    <a:lnTo>
                      <a:pt x="8612" y="7117"/>
                    </a:lnTo>
                    <a:lnTo>
                      <a:pt x="6340" y="5323"/>
                    </a:lnTo>
                    <a:lnTo>
                      <a:pt x="4007" y="3469"/>
                    </a:lnTo>
                    <a:lnTo>
                      <a:pt x="3708" y="3230"/>
                    </a:lnTo>
                    <a:lnTo>
                      <a:pt x="1735" y="167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06" name="Vrije vorm: vorm 5605">
                <a:extLst>
                  <a:ext uri="{FF2B5EF4-FFF2-40B4-BE49-F238E27FC236}">
                    <a16:creationId xmlns:a16="http://schemas.microsoft.com/office/drawing/2014/main" id="{741C7358-433C-40F4-B775-3C7228E26B5F}"/>
                  </a:ext>
                </a:extLst>
              </p:cNvPr>
              <p:cNvSpPr/>
              <p:nvPr/>
            </p:nvSpPr>
            <p:spPr>
              <a:xfrm>
                <a:off x="6436472" y="1735526"/>
                <a:ext cx="29664" cy="13994"/>
              </a:xfrm>
              <a:custGeom>
                <a:avLst/>
                <a:gdLst>
                  <a:gd name="connsiteX0" fmla="*/ 0 w 29664"/>
                  <a:gd name="connsiteY0" fmla="*/ 0 h 13994"/>
                  <a:gd name="connsiteX1" fmla="*/ 2691 w 29664"/>
                  <a:gd name="connsiteY1" fmla="*/ 1316 h 13994"/>
                  <a:gd name="connsiteX2" fmla="*/ 5383 w 29664"/>
                  <a:gd name="connsiteY2" fmla="*/ 2632 h 13994"/>
                  <a:gd name="connsiteX3" fmla="*/ 8074 w 29664"/>
                  <a:gd name="connsiteY3" fmla="*/ 3947 h 13994"/>
                  <a:gd name="connsiteX4" fmla="*/ 10765 w 29664"/>
                  <a:gd name="connsiteY4" fmla="*/ 5263 h 13994"/>
                  <a:gd name="connsiteX5" fmla="*/ 13457 w 29664"/>
                  <a:gd name="connsiteY5" fmla="*/ 6579 h 13994"/>
                  <a:gd name="connsiteX6" fmla="*/ 16148 w 29664"/>
                  <a:gd name="connsiteY6" fmla="*/ 7895 h 13994"/>
                  <a:gd name="connsiteX7" fmla="*/ 18839 w 29664"/>
                  <a:gd name="connsiteY7" fmla="*/ 9210 h 13994"/>
                  <a:gd name="connsiteX8" fmla="*/ 21530 w 29664"/>
                  <a:gd name="connsiteY8" fmla="*/ 10526 h 13994"/>
                  <a:gd name="connsiteX9" fmla="*/ 24222 w 29664"/>
                  <a:gd name="connsiteY9" fmla="*/ 11842 h 13994"/>
                  <a:gd name="connsiteX10" fmla="*/ 26913 w 29664"/>
                  <a:gd name="connsiteY10" fmla="*/ 13158 h 13994"/>
                  <a:gd name="connsiteX11" fmla="*/ 28588 w 29664"/>
                  <a:gd name="connsiteY11" fmla="*/ 13995 h 13994"/>
                  <a:gd name="connsiteX12" fmla="*/ 29665 w 29664"/>
                  <a:gd name="connsiteY12" fmla="*/ 12859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664" h="13994">
                    <a:moveTo>
                      <a:pt x="0" y="0"/>
                    </a:moveTo>
                    <a:lnTo>
                      <a:pt x="2691" y="1316"/>
                    </a:lnTo>
                    <a:lnTo>
                      <a:pt x="5383" y="2632"/>
                    </a:lnTo>
                    <a:lnTo>
                      <a:pt x="8074" y="3947"/>
                    </a:lnTo>
                    <a:lnTo>
                      <a:pt x="10765" y="5263"/>
                    </a:lnTo>
                    <a:lnTo>
                      <a:pt x="13457" y="6579"/>
                    </a:lnTo>
                    <a:lnTo>
                      <a:pt x="16148" y="7895"/>
                    </a:lnTo>
                    <a:lnTo>
                      <a:pt x="18839" y="9210"/>
                    </a:lnTo>
                    <a:lnTo>
                      <a:pt x="21530" y="10526"/>
                    </a:lnTo>
                    <a:lnTo>
                      <a:pt x="24222" y="11842"/>
                    </a:lnTo>
                    <a:lnTo>
                      <a:pt x="26913" y="13158"/>
                    </a:lnTo>
                    <a:lnTo>
                      <a:pt x="28588" y="13995"/>
                    </a:lnTo>
                    <a:lnTo>
                      <a:pt x="29665" y="12859"/>
                    </a:lnTo>
                  </a:path>
                </a:pathLst>
              </a:custGeom>
              <a:noFill/>
              <a:ln w="6350" cap="rnd">
                <a:solidFill>
                  <a:schemeClr val="bg1">
                    <a:alpha val="80000"/>
                  </a:schemeClr>
                </a:solidFill>
                <a:prstDash val="solid"/>
                <a:round/>
              </a:ln>
            </p:spPr>
            <p:txBody>
              <a:bodyPr rtlCol="0" anchor="ctr"/>
              <a:lstStyle/>
              <a:p>
                <a:endParaRPr lang="en-GB"/>
              </a:p>
            </p:txBody>
          </p:sp>
          <p:sp>
            <p:nvSpPr>
              <p:cNvPr id="5607" name="Vrije vorm: vorm 5606">
                <a:extLst>
                  <a:ext uri="{FF2B5EF4-FFF2-40B4-BE49-F238E27FC236}">
                    <a16:creationId xmlns:a16="http://schemas.microsoft.com/office/drawing/2014/main" id="{CE18A4C7-E78F-4E68-AB87-C8B79A0DDD61}"/>
                  </a:ext>
                </a:extLst>
              </p:cNvPr>
              <p:cNvSpPr/>
              <p:nvPr/>
            </p:nvSpPr>
            <p:spPr>
              <a:xfrm>
                <a:off x="6469067" y="1753588"/>
                <a:ext cx="8552" cy="6997"/>
              </a:xfrm>
              <a:custGeom>
                <a:avLst/>
                <a:gdLst>
                  <a:gd name="connsiteX0" fmla="*/ 8552 w 8552"/>
                  <a:gd name="connsiteY0" fmla="*/ 6997 h 6997"/>
                  <a:gd name="connsiteX1" fmla="*/ 6280 w 8552"/>
                  <a:gd name="connsiteY1" fmla="*/ 5143 h 6997"/>
                  <a:gd name="connsiteX2" fmla="*/ 4007 w 8552"/>
                  <a:gd name="connsiteY2" fmla="*/ 3289 h 6997"/>
                  <a:gd name="connsiteX3" fmla="*/ 1734 w 8552"/>
                  <a:gd name="connsiteY3" fmla="*/ 1435 h 6997"/>
                  <a:gd name="connsiteX4" fmla="*/ 0 w 8552"/>
                  <a:gd name="connsiteY4" fmla="*/ 0 h 6997"/>
                  <a:gd name="connsiteX5" fmla="*/ 0 w 8552"/>
                  <a:gd name="connsiteY5" fmla="*/ 0 h 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2" h="6997">
                    <a:moveTo>
                      <a:pt x="8552" y="6997"/>
                    </a:moveTo>
                    <a:lnTo>
                      <a:pt x="6280" y="5143"/>
                    </a:lnTo>
                    <a:lnTo>
                      <a:pt x="4007" y="3289"/>
                    </a:lnTo>
                    <a:lnTo>
                      <a:pt x="1734" y="1435"/>
                    </a:lnTo>
                    <a:lnTo>
                      <a:pt x="0" y="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08" name="Vrije vorm: vorm 5607">
                <a:extLst>
                  <a:ext uri="{FF2B5EF4-FFF2-40B4-BE49-F238E27FC236}">
                    <a16:creationId xmlns:a16="http://schemas.microsoft.com/office/drawing/2014/main" id="{D4040951-F4B2-4178-B564-C728C8DEAC90}"/>
                  </a:ext>
                </a:extLst>
              </p:cNvPr>
              <p:cNvSpPr/>
              <p:nvPr/>
            </p:nvSpPr>
            <p:spPr>
              <a:xfrm>
                <a:off x="6527559" y="1793778"/>
                <a:ext cx="19975" cy="7774"/>
              </a:xfrm>
              <a:custGeom>
                <a:avLst/>
                <a:gdLst>
                  <a:gd name="connsiteX0" fmla="*/ 11782 w 19975"/>
                  <a:gd name="connsiteY0" fmla="*/ 0 h 7774"/>
                  <a:gd name="connsiteX1" fmla="*/ 14115 w 19975"/>
                  <a:gd name="connsiteY1" fmla="*/ 1794 h 7774"/>
                  <a:gd name="connsiteX2" fmla="*/ 16447 w 19975"/>
                  <a:gd name="connsiteY2" fmla="*/ 3588 h 7774"/>
                  <a:gd name="connsiteX3" fmla="*/ 17583 w 19975"/>
                  <a:gd name="connsiteY3" fmla="*/ 4486 h 7774"/>
                  <a:gd name="connsiteX4" fmla="*/ 19318 w 19975"/>
                  <a:gd name="connsiteY4" fmla="*/ 6878 h 7774"/>
                  <a:gd name="connsiteX5" fmla="*/ 19976 w 19975"/>
                  <a:gd name="connsiteY5" fmla="*/ 7775 h 7774"/>
                  <a:gd name="connsiteX6" fmla="*/ 17284 w 19975"/>
                  <a:gd name="connsiteY6" fmla="*/ 6519 h 7774"/>
                  <a:gd name="connsiteX7" fmla="*/ 14593 w 19975"/>
                  <a:gd name="connsiteY7" fmla="*/ 5263 h 7774"/>
                  <a:gd name="connsiteX8" fmla="*/ 13218 w 19975"/>
                  <a:gd name="connsiteY8" fmla="*/ 4605 h 7774"/>
                  <a:gd name="connsiteX9" fmla="*/ 11662 w 19975"/>
                  <a:gd name="connsiteY9" fmla="*/ 4964 h 7774"/>
                  <a:gd name="connsiteX10" fmla="*/ 8852 w 19975"/>
                  <a:gd name="connsiteY10" fmla="*/ 5622 h 7774"/>
                  <a:gd name="connsiteX11" fmla="*/ 6280 w 19975"/>
                  <a:gd name="connsiteY11" fmla="*/ 6220 h 7774"/>
                  <a:gd name="connsiteX12" fmla="*/ 5144 w 19975"/>
                  <a:gd name="connsiteY12" fmla="*/ 5682 h 7774"/>
                  <a:gd name="connsiteX13" fmla="*/ 2452 w 19975"/>
                  <a:gd name="connsiteY13" fmla="*/ 4426 h 7774"/>
                  <a:gd name="connsiteX14" fmla="*/ 479 w 19975"/>
                  <a:gd name="connsiteY14" fmla="*/ 3529 h 7774"/>
                  <a:gd name="connsiteX15" fmla="*/ 239 w 19975"/>
                  <a:gd name="connsiteY15" fmla="*/ 3409 h 7774"/>
                  <a:gd name="connsiteX16" fmla="*/ 0 w 19975"/>
                  <a:gd name="connsiteY16" fmla="*/ 3289 h 7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975" h="7774">
                    <a:moveTo>
                      <a:pt x="11782" y="0"/>
                    </a:moveTo>
                    <a:lnTo>
                      <a:pt x="14115" y="1794"/>
                    </a:lnTo>
                    <a:lnTo>
                      <a:pt x="16447" y="3588"/>
                    </a:lnTo>
                    <a:lnTo>
                      <a:pt x="17583" y="4486"/>
                    </a:lnTo>
                    <a:lnTo>
                      <a:pt x="19318" y="6878"/>
                    </a:lnTo>
                    <a:lnTo>
                      <a:pt x="19976" y="7775"/>
                    </a:lnTo>
                    <a:lnTo>
                      <a:pt x="17284" y="6519"/>
                    </a:lnTo>
                    <a:lnTo>
                      <a:pt x="14593" y="5263"/>
                    </a:lnTo>
                    <a:lnTo>
                      <a:pt x="13218" y="4605"/>
                    </a:lnTo>
                    <a:lnTo>
                      <a:pt x="11662" y="4964"/>
                    </a:lnTo>
                    <a:lnTo>
                      <a:pt x="8852" y="5622"/>
                    </a:lnTo>
                    <a:lnTo>
                      <a:pt x="6280" y="6220"/>
                    </a:lnTo>
                    <a:lnTo>
                      <a:pt x="5144" y="5682"/>
                    </a:lnTo>
                    <a:lnTo>
                      <a:pt x="2452" y="4426"/>
                    </a:lnTo>
                    <a:lnTo>
                      <a:pt x="479" y="3529"/>
                    </a:lnTo>
                    <a:lnTo>
                      <a:pt x="239" y="3409"/>
                    </a:lnTo>
                    <a:lnTo>
                      <a:pt x="0" y="3289"/>
                    </a:lnTo>
                  </a:path>
                </a:pathLst>
              </a:custGeom>
              <a:noFill/>
              <a:ln w="6350" cap="rnd">
                <a:solidFill>
                  <a:schemeClr val="bg1">
                    <a:alpha val="80000"/>
                  </a:schemeClr>
                </a:solidFill>
                <a:prstDash val="solid"/>
                <a:round/>
              </a:ln>
            </p:spPr>
            <p:txBody>
              <a:bodyPr rtlCol="0" anchor="ctr"/>
              <a:lstStyle/>
              <a:p>
                <a:endParaRPr lang="en-GB"/>
              </a:p>
            </p:txBody>
          </p:sp>
          <p:sp>
            <p:nvSpPr>
              <p:cNvPr id="5609" name="Vrije vorm: vorm 5608">
                <a:extLst>
                  <a:ext uri="{FF2B5EF4-FFF2-40B4-BE49-F238E27FC236}">
                    <a16:creationId xmlns:a16="http://schemas.microsoft.com/office/drawing/2014/main" id="{4D63DC0B-6C88-4110-A4AB-398888A357C0}"/>
                  </a:ext>
                </a:extLst>
              </p:cNvPr>
              <p:cNvSpPr/>
              <p:nvPr/>
            </p:nvSpPr>
            <p:spPr>
              <a:xfrm>
                <a:off x="6420623" y="1738935"/>
                <a:ext cx="82952" cy="47187"/>
              </a:xfrm>
              <a:custGeom>
                <a:avLst/>
                <a:gdLst>
                  <a:gd name="connsiteX0" fmla="*/ 82953 w 82952"/>
                  <a:gd name="connsiteY0" fmla="*/ 47188 h 47187"/>
                  <a:gd name="connsiteX1" fmla="*/ 80441 w 82952"/>
                  <a:gd name="connsiteY1" fmla="*/ 45633 h 47187"/>
                  <a:gd name="connsiteX2" fmla="*/ 77929 w 82952"/>
                  <a:gd name="connsiteY2" fmla="*/ 44078 h 47187"/>
                  <a:gd name="connsiteX3" fmla="*/ 75417 w 82952"/>
                  <a:gd name="connsiteY3" fmla="*/ 42523 h 47187"/>
                  <a:gd name="connsiteX4" fmla="*/ 72905 w 82952"/>
                  <a:gd name="connsiteY4" fmla="*/ 40968 h 47187"/>
                  <a:gd name="connsiteX5" fmla="*/ 70393 w 82952"/>
                  <a:gd name="connsiteY5" fmla="*/ 39413 h 47187"/>
                  <a:gd name="connsiteX6" fmla="*/ 67881 w 82952"/>
                  <a:gd name="connsiteY6" fmla="*/ 37858 h 47187"/>
                  <a:gd name="connsiteX7" fmla="*/ 65370 w 82952"/>
                  <a:gd name="connsiteY7" fmla="*/ 36303 h 47187"/>
                  <a:gd name="connsiteX8" fmla="*/ 62857 w 82952"/>
                  <a:gd name="connsiteY8" fmla="*/ 34748 h 47187"/>
                  <a:gd name="connsiteX9" fmla="*/ 60346 w 82952"/>
                  <a:gd name="connsiteY9" fmla="*/ 33193 h 47187"/>
                  <a:gd name="connsiteX10" fmla="*/ 57834 w 82952"/>
                  <a:gd name="connsiteY10" fmla="*/ 31638 h 47187"/>
                  <a:gd name="connsiteX11" fmla="*/ 55322 w 82952"/>
                  <a:gd name="connsiteY11" fmla="*/ 30083 h 47187"/>
                  <a:gd name="connsiteX12" fmla="*/ 52810 w 82952"/>
                  <a:gd name="connsiteY12" fmla="*/ 28528 h 47187"/>
                  <a:gd name="connsiteX13" fmla="*/ 50298 w 82952"/>
                  <a:gd name="connsiteY13" fmla="*/ 26973 h 47187"/>
                  <a:gd name="connsiteX14" fmla="*/ 47786 w 82952"/>
                  <a:gd name="connsiteY14" fmla="*/ 25418 h 47187"/>
                  <a:gd name="connsiteX15" fmla="*/ 45274 w 82952"/>
                  <a:gd name="connsiteY15" fmla="*/ 23863 h 47187"/>
                  <a:gd name="connsiteX16" fmla="*/ 42762 w 82952"/>
                  <a:gd name="connsiteY16" fmla="*/ 22308 h 47187"/>
                  <a:gd name="connsiteX17" fmla="*/ 41147 w 82952"/>
                  <a:gd name="connsiteY17" fmla="*/ 21291 h 47187"/>
                  <a:gd name="connsiteX18" fmla="*/ 38755 w 82952"/>
                  <a:gd name="connsiteY18" fmla="*/ 20155 h 47187"/>
                  <a:gd name="connsiteX19" fmla="*/ 38157 w 82952"/>
                  <a:gd name="connsiteY19" fmla="*/ 19856 h 47187"/>
                  <a:gd name="connsiteX20" fmla="*/ 35466 w 82952"/>
                  <a:gd name="connsiteY20" fmla="*/ 18600 h 47187"/>
                  <a:gd name="connsiteX21" fmla="*/ 32775 w 82952"/>
                  <a:gd name="connsiteY21" fmla="*/ 17344 h 47187"/>
                  <a:gd name="connsiteX22" fmla="*/ 30083 w 82952"/>
                  <a:gd name="connsiteY22" fmla="*/ 16088 h 47187"/>
                  <a:gd name="connsiteX23" fmla="*/ 29605 w 82952"/>
                  <a:gd name="connsiteY23" fmla="*/ 15849 h 47187"/>
                  <a:gd name="connsiteX24" fmla="*/ 29545 w 82952"/>
                  <a:gd name="connsiteY24" fmla="*/ 15849 h 47187"/>
                  <a:gd name="connsiteX25" fmla="*/ 26854 w 82952"/>
                  <a:gd name="connsiteY25" fmla="*/ 14593 h 47187"/>
                  <a:gd name="connsiteX26" fmla="*/ 24162 w 82952"/>
                  <a:gd name="connsiteY26" fmla="*/ 13337 h 47187"/>
                  <a:gd name="connsiteX27" fmla="*/ 21471 w 82952"/>
                  <a:gd name="connsiteY27" fmla="*/ 12081 h 47187"/>
                  <a:gd name="connsiteX28" fmla="*/ 18780 w 82952"/>
                  <a:gd name="connsiteY28" fmla="*/ 10825 h 47187"/>
                  <a:gd name="connsiteX29" fmla="*/ 16088 w 82952"/>
                  <a:gd name="connsiteY29" fmla="*/ 9569 h 47187"/>
                  <a:gd name="connsiteX30" fmla="*/ 13397 w 82952"/>
                  <a:gd name="connsiteY30" fmla="*/ 8313 h 47187"/>
                  <a:gd name="connsiteX31" fmla="*/ 10706 w 82952"/>
                  <a:gd name="connsiteY31" fmla="*/ 7057 h 47187"/>
                  <a:gd name="connsiteX32" fmla="*/ 8014 w 82952"/>
                  <a:gd name="connsiteY32" fmla="*/ 5801 h 47187"/>
                  <a:gd name="connsiteX33" fmla="*/ 5323 w 82952"/>
                  <a:gd name="connsiteY33" fmla="*/ 4545 h 47187"/>
                  <a:gd name="connsiteX34" fmla="*/ 4785 w 82952"/>
                  <a:gd name="connsiteY34" fmla="*/ 4306 h 47187"/>
                  <a:gd name="connsiteX35" fmla="*/ 2572 w 82952"/>
                  <a:gd name="connsiteY35" fmla="*/ 2332 h 47187"/>
                  <a:gd name="connsiteX36" fmla="*/ 359 w 82952"/>
                  <a:gd name="connsiteY36" fmla="*/ 359 h 47187"/>
                  <a:gd name="connsiteX37" fmla="*/ 0 w 82952"/>
                  <a:gd name="connsiteY37" fmla="*/ 0 h 4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2952" h="47187">
                    <a:moveTo>
                      <a:pt x="82953" y="47188"/>
                    </a:moveTo>
                    <a:lnTo>
                      <a:pt x="80441" y="45633"/>
                    </a:lnTo>
                    <a:lnTo>
                      <a:pt x="77929" y="44078"/>
                    </a:lnTo>
                    <a:lnTo>
                      <a:pt x="75417" y="42523"/>
                    </a:lnTo>
                    <a:lnTo>
                      <a:pt x="72905" y="40968"/>
                    </a:lnTo>
                    <a:lnTo>
                      <a:pt x="70393" y="39413"/>
                    </a:lnTo>
                    <a:lnTo>
                      <a:pt x="67881" y="37858"/>
                    </a:lnTo>
                    <a:lnTo>
                      <a:pt x="65370" y="36303"/>
                    </a:lnTo>
                    <a:lnTo>
                      <a:pt x="62857" y="34748"/>
                    </a:lnTo>
                    <a:lnTo>
                      <a:pt x="60346" y="33193"/>
                    </a:lnTo>
                    <a:lnTo>
                      <a:pt x="57834" y="31638"/>
                    </a:lnTo>
                    <a:lnTo>
                      <a:pt x="55322" y="30083"/>
                    </a:lnTo>
                    <a:lnTo>
                      <a:pt x="52810" y="28528"/>
                    </a:lnTo>
                    <a:lnTo>
                      <a:pt x="50298" y="26973"/>
                    </a:lnTo>
                    <a:lnTo>
                      <a:pt x="47786" y="25418"/>
                    </a:lnTo>
                    <a:lnTo>
                      <a:pt x="45274" y="23863"/>
                    </a:lnTo>
                    <a:lnTo>
                      <a:pt x="42762" y="22308"/>
                    </a:lnTo>
                    <a:lnTo>
                      <a:pt x="41147" y="21291"/>
                    </a:lnTo>
                    <a:lnTo>
                      <a:pt x="38755" y="20155"/>
                    </a:lnTo>
                    <a:lnTo>
                      <a:pt x="38157" y="19856"/>
                    </a:lnTo>
                    <a:lnTo>
                      <a:pt x="35466" y="18600"/>
                    </a:lnTo>
                    <a:lnTo>
                      <a:pt x="32775" y="17344"/>
                    </a:lnTo>
                    <a:lnTo>
                      <a:pt x="30083" y="16088"/>
                    </a:lnTo>
                    <a:lnTo>
                      <a:pt x="29605" y="15849"/>
                    </a:lnTo>
                    <a:lnTo>
                      <a:pt x="29545" y="15849"/>
                    </a:lnTo>
                    <a:lnTo>
                      <a:pt x="26854" y="14593"/>
                    </a:lnTo>
                    <a:lnTo>
                      <a:pt x="24162" y="13337"/>
                    </a:lnTo>
                    <a:lnTo>
                      <a:pt x="21471" y="12081"/>
                    </a:lnTo>
                    <a:lnTo>
                      <a:pt x="18780" y="10825"/>
                    </a:lnTo>
                    <a:lnTo>
                      <a:pt x="16088" y="9569"/>
                    </a:lnTo>
                    <a:lnTo>
                      <a:pt x="13397" y="8313"/>
                    </a:lnTo>
                    <a:lnTo>
                      <a:pt x="10706" y="7057"/>
                    </a:lnTo>
                    <a:lnTo>
                      <a:pt x="8014" y="5801"/>
                    </a:lnTo>
                    <a:lnTo>
                      <a:pt x="5323" y="4545"/>
                    </a:lnTo>
                    <a:lnTo>
                      <a:pt x="4785" y="4306"/>
                    </a:lnTo>
                    <a:lnTo>
                      <a:pt x="2572" y="2332"/>
                    </a:lnTo>
                    <a:lnTo>
                      <a:pt x="359" y="35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10" name="Vrije vorm: vorm 5609">
                <a:extLst>
                  <a:ext uri="{FF2B5EF4-FFF2-40B4-BE49-F238E27FC236}">
                    <a16:creationId xmlns:a16="http://schemas.microsoft.com/office/drawing/2014/main" id="{61B8B397-435C-496E-A8CC-45D4D6A0EB5E}"/>
                  </a:ext>
                </a:extLst>
              </p:cNvPr>
              <p:cNvSpPr/>
              <p:nvPr/>
            </p:nvSpPr>
            <p:spPr>
              <a:xfrm>
                <a:off x="6423494" y="1743002"/>
                <a:ext cx="1794" cy="2990"/>
              </a:xfrm>
              <a:custGeom>
                <a:avLst/>
                <a:gdLst>
                  <a:gd name="connsiteX0" fmla="*/ 1794 w 1794"/>
                  <a:gd name="connsiteY0" fmla="*/ 0 h 2990"/>
                  <a:gd name="connsiteX1" fmla="*/ 359 w 1794"/>
                  <a:gd name="connsiteY1" fmla="*/ 2452 h 2990"/>
                  <a:gd name="connsiteX2" fmla="*/ 0 w 1794"/>
                  <a:gd name="connsiteY2" fmla="*/ 2990 h 2990"/>
                </a:gdLst>
                <a:ahLst/>
                <a:cxnLst>
                  <a:cxn ang="0">
                    <a:pos x="connsiteX0" y="connsiteY0"/>
                  </a:cxn>
                  <a:cxn ang="0">
                    <a:pos x="connsiteX1" y="connsiteY1"/>
                  </a:cxn>
                  <a:cxn ang="0">
                    <a:pos x="connsiteX2" y="connsiteY2"/>
                  </a:cxn>
                </a:cxnLst>
                <a:rect l="l" t="t" r="r" b="b"/>
                <a:pathLst>
                  <a:path w="1794" h="2990">
                    <a:moveTo>
                      <a:pt x="1794" y="0"/>
                    </a:moveTo>
                    <a:lnTo>
                      <a:pt x="359" y="2452"/>
                    </a:lnTo>
                    <a:lnTo>
                      <a:pt x="0" y="2990"/>
                    </a:lnTo>
                  </a:path>
                </a:pathLst>
              </a:custGeom>
              <a:noFill/>
              <a:ln w="6350" cap="rnd">
                <a:solidFill>
                  <a:schemeClr val="bg1">
                    <a:alpha val="80000"/>
                  </a:schemeClr>
                </a:solidFill>
                <a:prstDash val="solid"/>
                <a:round/>
              </a:ln>
            </p:spPr>
            <p:txBody>
              <a:bodyPr rtlCol="0" anchor="ctr"/>
              <a:lstStyle/>
              <a:p>
                <a:endParaRPr lang="en-GB"/>
              </a:p>
            </p:txBody>
          </p:sp>
          <p:sp>
            <p:nvSpPr>
              <p:cNvPr id="5611" name="Vrije vorm: vorm 5610">
                <a:extLst>
                  <a:ext uri="{FF2B5EF4-FFF2-40B4-BE49-F238E27FC236}">
                    <a16:creationId xmlns:a16="http://schemas.microsoft.com/office/drawing/2014/main" id="{153C74E1-643D-483D-8916-FD53B83BE070}"/>
                  </a:ext>
                </a:extLst>
              </p:cNvPr>
              <p:cNvSpPr/>
              <p:nvPr/>
            </p:nvSpPr>
            <p:spPr>
              <a:xfrm>
                <a:off x="6401724" y="1662980"/>
                <a:ext cx="24221" cy="67342"/>
              </a:xfrm>
              <a:custGeom>
                <a:avLst/>
                <a:gdLst>
                  <a:gd name="connsiteX0" fmla="*/ 3409 w 24221"/>
                  <a:gd name="connsiteY0" fmla="*/ 16268 h 67342"/>
                  <a:gd name="connsiteX1" fmla="*/ 3170 w 24221"/>
                  <a:gd name="connsiteY1" fmla="*/ 16148 h 67342"/>
                  <a:gd name="connsiteX2" fmla="*/ 2632 w 24221"/>
                  <a:gd name="connsiteY2" fmla="*/ 15849 h 67342"/>
                  <a:gd name="connsiteX3" fmla="*/ 1435 w 24221"/>
                  <a:gd name="connsiteY3" fmla="*/ 15251 h 67342"/>
                  <a:gd name="connsiteX4" fmla="*/ 1017 w 24221"/>
                  <a:gd name="connsiteY4" fmla="*/ 15012 h 67342"/>
                  <a:gd name="connsiteX5" fmla="*/ 479 w 24221"/>
                  <a:gd name="connsiteY5" fmla="*/ 14653 h 67342"/>
                  <a:gd name="connsiteX6" fmla="*/ 0 w 24221"/>
                  <a:gd name="connsiteY6" fmla="*/ 13337 h 67342"/>
                  <a:gd name="connsiteX7" fmla="*/ 60 w 24221"/>
                  <a:gd name="connsiteY7" fmla="*/ 11483 h 67342"/>
                  <a:gd name="connsiteX8" fmla="*/ 598 w 24221"/>
                  <a:gd name="connsiteY8" fmla="*/ 9270 h 67342"/>
                  <a:gd name="connsiteX9" fmla="*/ 598 w 24221"/>
                  <a:gd name="connsiteY9" fmla="*/ 9210 h 67342"/>
                  <a:gd name="connsiteX10" fmla="*/ 1196 w 24221"/>
                  <a:gd name="connsiteY10" fmla="*/ 7655 h 67342"/>
                  <a:gd name="connsiteX11" fmla="*/ 1974 w 24221"/>
                  <a:gd name="connsiteY11" fmla="*/ 6040 h 67342"/>
                  <a:gd name="connsiteX12" fmla="*/ 2930 w 24221"/>
                  <a:gd name="connsiteY12" fmla="*/ 4545 h 67342"/>
                  <a:gd name="connsiteX13" fmla="*/ 3947 w 24221"/>
                  <a:gd name="connsiteY13" fmla="*/ 3170 h 67342"/>
                  <a:gd name="connsiteX14" fmla="*/ 5024 w 24221"/>
                  <a:gd name="connsiteY14" fmla="*/ 1974 h 67342"/>
                  <a:gd name="connsiteX15" fmla="*/ 6100 w 24221"/>
                  <a:gd name="connsiteY15" fmla="*/ 1017 h 67342"/>
                  <a:gd name="connsiteX16" fmla="*/ 7177 w 24221"/>
                  <a:gd name="connsiteY16" fmla="*/ 359 h 67342"/>
                  <a:gd name="connsiteX17" fmla="*/ 8134 w 24221"/>
                  <a:gd name="connsiteY17" fmla="*/ 0 h 67342"/>
                  <a:gd name="connsiteX18" fmla="*/ 8971 w 24221"/>
                  <a:gd name="connsiteY18" fmla="*/ 0 h 67342"/>
                  <a:gd name="connsiteX19" fmla="*/ 9091 w 24221"/>
                  <a:gd name="connsiteY19" fmla="*/ 60 h 67342"/>
                  <a:gd name="connsiteX20" fmla="*/ 9629 w 24221"/>
                  <a:gd name="connsiteY20" fmla="*/ 359 h 67342"/>
                  <a:gd name="connsiteX21" fmla="*/ 12201 w 24221"/>
                  <a:gd name="connsiteY21" fmla="*/ 1794 h 67342"/>
                  <a:gd name="connsiteX22" fmla="*/ 14772 w 24221"/>
                  <a:gd name="connsiteY22" fmla="*/ 3230 h 67342"/>
                  <a:gd name="connsiteX23" fmla="*/ 15072 w 24221"/>
                  <a:gd name="connsiteY23" fmla="*/ 3409 h 67342"/>
                  <a:gd name="connsiteX24" fmla="*/ 15550 w 24221"/>
                  <a:gd name="connsiteY24" fmla="*/ 4067 h 67342"/>
                  <a:gd name="connsiteX25" fmla="*/ 15789 w 24221"/>
                  <a:gd name="connsiteY25" fmla="*/ 5024 h 67342"/>
                  <a:gd name="connsiteX26" fmla="*/ 15968 w 24221"/>
                  <a:gd name="connsiteY26" fmla="*/ 6160 h 67342"/>
                  <a:gd name="connsiteX27" fmla="*/ 16387 w 24221"/>
                  <a:gd name="connsiteY27" fmla="*/ 9270 h 67342"/>
                  <a:gd name="connsiteX28" fmla="*/ 16447 w 24221"/>
                  <a:gd name="connsiteY28" fmla="*/ 9509 h 67342"/>
                  <a:gd name="connsiteX29" fmla="*/ 16866 w 24221"/>
                  <a:gd name="connsiteY29" fmla="*/ 12619 h 67342"/>
                  <a:gd name="connsiteX30" fmla="*/ 16985 w 24221"/>
                  <a:gd name="connsiteY30" fmla="*/ 13457 h 67342"/>
                  <a:gd name="connsiteX31" fmla="*/ 17165 w 24221"/>
                  <a:gd name="connsiteY31" fmla="*/ 14892 h 67342"/>
                  <a:gd name="connsiteX32" fmla="*/ 17464 w 24221"/>
                  <a:gd name="connsiteY32" fmla="*/ 17165 h 67342"/>
                  <a:gd name="connsiteX33" fmla="*/ 17464 w 24221"/>
                  <a:gd name="connsiteY33" fmla="*/ 17165 h 67342"/>
                  <a:gd name="connsiteX34" fmla="*/ 17882 w 24221"/>
                  <a:gd name="connsiteY34" fmla="*/ 20155 h 67342"/>
                  <a:gd name="connsiteX35" fmla="*/ 17942 w 24221"/>
                  <a:gd name="connsiteY35" fmla="*/ 20454 h 67342"/>
                  <a:gd name="connsiteX36" fmla="*/ 18121 w 24221"/>
                  <a:gd name="connsiteY36" fmla="*/ 21650 h 67342"/>
                  <a:gd name="connsiteX37" fmla="*/ 18301 w 24221"/>
                  <a:gd name="connsiteY37" fmla="*/ 22787 h 67342"/>
                  <a:gd name="connsiteX38" fmla="*/ 18660 w 24221"/>
                  <a:gd name="connsiteY38" fmla="*/ 25538 h 67342"/>
                  <a:gd name="connsiteX39" fmla="*/ 18839 w 24221"/>
                  <a:gd name="connsiteY39" fmla="*/ 26734 h 67342"/>
                  <a:gd name="connsiteX40" fmla="*/ 19258 w 24221"/>
                  <a:gd name="connsiteY40" fmla="*/ 29844 h 67342"/>
                  <a:gd name="connsiteX41" fmla="*/ 19377 w 24221"/>
                  <a:gd name="connsiteY41" fmla="*/ 30561 h 67342"/>
                  <a:gd name="connsiteX42" fmla="*/ 19796 w 24221"/>
                  <a:gd name="connsiteY42" fmla="*/ 33671 h 67342"/>
                  <a:gd name="connsiteX43" fmla="*/ 20215 w 24221"/>
                  <a:gd name="connsiteY43" fmla="*/ 36781 h 67342"/>
                  <a:gd name="connsiteX44" fmla="*/ 20634 w 24221"/>
                  <a:gd name="connsiteY44" fmla="*/ 39832 h 67342"/>
                  <a:gd name="connsiteX45" fmla="*/ 21052 w 24221"/>
                  <a:gd name="connsiteY45" fmla="*/ 42942 h 67342"/>
                  <a:gd name="connsiteX46" fmla="*/ 21471 w 24221"/>
                  <a:gd name="connsiteY46" fmla="*/ 45992 h 67342"/>
                  <a:gd name="connsiteX47" fmla="*/ 21889 w 24221"/>
                  <a:gd name="connsiteY47" fmla="*/ 49102 h 67342"/>
                  <a:gd name="connsiteX48" fmla="*/ 22308 w 24221"/>
                  <a:gd name="connsiteY48" fmla="*/ 52212 h 67342"/>
                  <a:gd name="connsiteX49" fmla="*/ 22727 w 24221"/>
                  <a:gd name="connsiteY49" fmla="*/ 55322 h 67342"/>
                  <a:gd name="connsiteX50" fmla="*/ 23026 w 24221"/>
                  <a:gd name="connsiteY50" fmla="*/ 57355 h 67342"/>
                  <a:gd name="connsiteX51" fmla="*/ 23444 w 24221"/>
                  <a:gd name="connsiteY51" fmla="*/ 60465 h 67342"/>
                  <a:gd name="connsiteX52" fmla="*/ 23684 w 24221"/>
                  <a:gd name="connsiteY52" fmla="*/ 62439 h 67342"/>
                  <a:gd name="connsiteX53" fmla="*/ 24102 w 24221"/>
                  <a:gd name="connsiteY53" fmla="*/ 65549 h 67342"/>
                  <a:gd name="connsiteX54" fmla="*/ 24162 w 24221"/>
                  <a:gd name="connsiteY54" fmla="*/ 65967 h 67342"/>
                  <a:gd name="connsiteX55" fmla="*/ 24222 w 24221"/>
                  <a:gd name="connsiteY55" fmla="*/ 66207 h 67342"/>
                  <a:gd name="connsiteX56" fmla="*/ 23983 w 24221"/>
                  <a:gd name="connsiteY56" fmla="*/ 66565 h 67342"/>
                  <a:gd name="connsiteX57" fmla="*/ 23863 w 24221"/>
                  <a:gd name="connsiteY57" fmla="*/ 66805 h 67342"/>
                  <a:gd name="connsiteX58" fmla="*/ 23564 w 24221"/>
                  <a:gd name="connsiteY58" fmla="*/ 67343 h 6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4221" h="67342">
                    <a:moveTo>
                      <a:pt x="3409" y="16268"/>
                    </a:moveTo>
                    <a:lnTo>
                      <a:pt x="3170" y="16148"/>
                    </a:lnTo>
                    <a:lnTo>
                      <a:pt x="2632" y="15849"/>
                    </a:lnTo>
                    <a:lnTo>
                      <a:pt x="1435" y="15251"/>
                    </a:lnTo>
                    <a:lnTo>
                      <a:pt x="1017" y="15012"/>
                    </a:lnTo>
                    <a:lnTo>
                      <a:pt x="479" y="14653"/>
                    </a:lnTo>
                    <a:lnTo>
                      <a:pt x="0" y="13337"/>
                    </a:lnTo>
                    <a:lnTo>
                      <a:pt x="60" y="11483"/>
                    </a:lnTo>
                    <a:lnTo>
                      <a:pt x="598" y="9270"/>
                    </a:lnTo>
                    <a:lnTo>
                      <a:pt x="598" y="9210"/>
                    </a:lnTo>
                    <a:lnTo>
                      <a:pt x="1196" y="7655"/>
                    </a:lnTo>
                    <a:lnTo>
                      <a:pt x="1974" y="6040"/>
                    </a:lnTo>
                    <a:lnTo>
                      <a:pt x="2930" y="4545"/>
                    </a:lnTo>
                    <a:lnTo>
                      <a:pt x="3947" y="3170"/>
                    </a:lnTo>
                    <a:lnTo>
                      <a:pt x="5024" y="1974"/>
                    </a:lnTo>
                    <a:lnTo>
                      <a:pt x="6100" y="1017"/>
                    </a:lnTo>
                    <a:lnTo>
                      <a:pt x="7177" y="359"/>
                    </a:lnTo>
                    <a:lnTo>
                      <a:pt x="8134" y="0"/>
                    </a:lnTo>
                    <a:lnTo>
                      <a:pt x="8971" y="0"/>
                    </a:lnTo>
                    <a:lnTo>
                      <a:pt x="9091" y="60"/>
                    </a:lnTo>
                    <a:lnTo>
                      <a:pt x="9629" y="359"/>
                    </a:lnTo>
                    <a:lnTo>
                      <a:pt x="12201" y="1794"/>
                    </a:lnTo>
                    <a:lnTo>
                      <a:pt x="14772" y="3230"/>
                    </a:lnTo>
                    <a:lnTo>
                      <a:pt x="15072" y="3409"/>
                    </a:lnTo>
                    <a:lnTo>
                      <a:pt x="15550" y="4067"/>
                    </a:lnTo>
                    <a:lnTo>
                      <a:pt x="15789" y="5024"/>
                    </a:lnTo>
                    <a:lnTo>
                      <a:pt x="15968" y="6160"/>
                    </a:lnTo>
                    <a:lnTo>
                      <a:pt x="16387" y="9270"/>
                    </a:lnTo>
                    <a:lnTo>
                      <a:pt x="16447" y="9509"/>
                    </a:lnTo>
                    <a:lnTo>
                      <a:pt x="16866" y="12619"/>
                    </a:lnTo>
                    <a:lnTo>
                      <a:pt x="16985" y="13457"/>
                    </a:lnTo>
                    <a:lnTo>
                      <a:pt x="17165" y="14892"/>
                    </a:lnTo>
                    <a:lnTo>
                      <a:pt x="17464" y="17165"/>
                    </a:lnTo>
                    <a:lnTo>
                      <a:pt x="17464" y="17165"/>
                    </a:lnTo>
                    <a:lnTo>
                      <a:pt x="17882" y="20155"/>
                    </a:lnTo>
                    <a:lnTo>
                      <a:pt x="17942" y="20454"/>
                    </a:lnTo>
                    <a:lnTo>
                      <a:pt x="18121" y="21650"/>
                    </a:lnTo>
                    <a:lnTo>
                      <a:pt x="18301" y="22787"/>
                    </a:lnTo>
                    <a:lnTo>
                      <a:pt x="18660" y="25538"/>
                    </a:lnTo>
                    <a:lnTo>
                      <a:pt x="18839" y="26734"/>
                    </a:lnTo>
                    <a:lnTo>
                      <a:pt x="19258" y="29844"/>
                    </a:lnTo>
                    <a:lnTo>
                      <a:pt x="19377" y="30561"/>
                    </a:lnTo>
                    <a:lnTo>
                      <a:pt x="19796" y="33671"/>
                    </a:lnTo>
                    <a:lnTo>
                      <a:pt x="20215" y="36781"/>
                    </a:lnTo>
                    <a:lnTo>
                      <a:pt x="20634" y="39832"/>
                    </a:lnTo>
                    <a:lnTo>
                      <a:pt x="21052" y="42942"/>
                    </a:lnTo>
                    <a:lnTo>
                      <a:pt x="21471" y="45992"/>
                    </a:lnTo>
                    <a:lnTo>
                      <a:pt x="21889" y="49102"/>
                    </a:lnTo>
                    <a:lnTo>
                      <a:pt x="22308" y="52212"/>
                    </a:lnTo>
                    <a:lnTo>
                      <a:pt x="22727" y="55322"/>
                    </a:lnTo>
                    <a:lnTo>
                      <a:pt x="23026" y="57355"/>
                    </a:lnTo>
                    <a:lnTo>
                      <a:pt x="23444" y="60465"/>
                    </a:lnTo>
                    <a:lnTo>
                      <a:pt x="23684" y="62439"/>
                    </a:lnTo>
                    <a:lnTo>
                      <a:pt x="24102" y="65549"/>
                    </a:lnTo>
                    <a:lnTo>
                      <a:pt x="24162" y="65967"/>
                    </a:lnTo>
                    <a:lnTo>
                      <a:pt x="24222" y="66207"/>
                    </a:lnTo>
                    <a:lnTo>
                      <a:pt x="23983" y="66565"/>
                    </a:lnTo>
                    <a:lnTo>
                      <a:pt x="23863" y="66805"/>
                    </a:lnTo>
                    <a:lnTo>
                      <a:pt x="23564" y="67343"/>
                    </a:lnTo>
                  </a:path>
                </a:pathLst>
              </a:custGeom>
              <a:noFill/>
              <a:ln w="6350" cap="rnd">
                <a:solidFill>
                  <a:schemeClr val="bg1">
                    <a:alpha val="80000"/>
                  </a:schemeClr>
                </a:solidFill>
                <a:prstDash val="solid"/>
                <a:round/>
              </a:ln>
            </p:spPr>
            <p:txBody>
              <a:bodyPr rtlCol="0" anchor="ctr"/>
              <a:lstStyle/>
              <a:p>
                <a:endParaRPr lang="en-GB"/>
              </a:p>
            </p:txBody>
          </p:sp>
          <p:sp>
            <p:nvSpPr>
              <p:cNvPr id="5612" name="Vrije vorm: vorm 5611">
                <a:extLst>
                  <a:ext uri="{FF2B5EF4-FFF2-40B4-BE49-F238E27FC236}">
                    <a16:creationId xmlns:a16="http://schemas.microsoft.com/office/drawing/2014/main" id="{57B2CD06-85AA-458B-B869-0A4AAD4DC2AA}"/>
                  </a:ext>
                </a:extLst>
              </p:cNvPr>
              <p:cNvSpPr/>
              <p:nvPr/>
            </p:nvSpPr>
            <p:spPr>
              <a:xfrm>
                <a:off x="6403220" y="1663398"/>
                <a:ext cx="8971" cy="14712"/>
              </a:xfrm>
              <a:custGeom>
                <a:avLst/>
                <a:gdLst>
                  <a:gd name="connsiteX0" fmla="*/ 8253 w 8971"/>
                  <a:gd name="connsiteY0" fmla="*/ 0 h 14712"/>
                  <a:gd name="connsiteX1" fmla="*/ 8732 w 8971"/>
                  <a:gd name="connsiteY1" fmla="*/ 658 h 14712"/>
                  <a:gd name="connsiteX2" fmla="*/ 8971 w 8971"/>
                  <a:gd name="connsiteY2" fmla="*/ 1615 h 14712"/>
                  <a:gd name="connsiteX3" fmla="*/ 8911 w 8971"/>
                  <a:gd name="connsiteY3" fmla="*/ 3469 h 14712"/>
                  <a:gd name="connsiteX4" fmla="*/ 8373 w 8971"/>
                  <a:gd name="connsiteY4" fmla="*/ 5682 h 14712"/>
                  <a:gd name="connsiteX5" fmla="*/ 7655 w 8971"/>
                  <a:gd name="connsiteY5" fmla="*/ 7356 h 14712"/>
                  <a:gd name="connsiteX6" fmla="*/ 7356 w 8971"/>
                  <a:gd name="connsiteY6" fmla="*/ 8074 h 14712"/>
                  <a:gd name="connsiteX7" fmla="*/ 5981 w 8971"/>
                  <a:gd name="connsiteY7" fmla="*/ 10347 h 14712"/>
                  <a:gd name="connsiteX8" fmla="*/ 4426 w 8971"/>
                  <a:gd name="connsiteY8" fmla="*/ 12320 h 14712"/>
                  <a:gd name="connsiteX9" fmla="*/ 2811 w 8971"/>
                  <a:gd name="connsiteY9" fmla="*/ 13815 h 14712"/>
                  <a:gd name="connsiteX10" fmla="*/ 1256 w 8971"/>
                  <a:gd name="connsiteY10" fmla="*/ 14653 h 14712"/>
                  <a:gd name="connsiteX11" fmla="*/ 897 w 8971"/>
                  <a:gd name="connsiteY11" fmla="*/ 14653 h 14712"/>
                  <a:gd name="connsiteX12" fmla="*/ 837 w 8971"/>
                  <a:gd name="connsiteY12" fmla="*/ 14653 h 14712"/>
                  <a:gd name="connsiteX13" fmla="*/ 0 w 8971"/>
                  <a:gd name="connsiteY13" fmla="*/ 14713 h 1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71" h="14712">
                    <a:moveTo>
                      <a:pt x="8253" y="0"/>
                    </a:moveTo>
                    <a:lnTo>
                      <a:pt x="8732" y="658"/>
                    </a:lnTo>
                    <a:lnTo>
                      <a:pt x="8971" y="1615"/>
                    </a:lnTo>
                    <a:lnTo>
                      <a:pt x="8911" y="3469"/>
                    </a:lnTo>
                    <a:lnTo>
                      <a:pt x="8373" y="5682"/>
                    </a:lnTo>
                    <a:lnTo>
                      <a:pt x="7655" y="7356"/>
                    </a:lnTo>
                    <a:lnTo>
                      <a:pt x="7356" y="8074"/>
                    </a:lnTo>
                    <a:lnTo>
                      <a:pt x="5981" y="10347"/>
                    </a:lnTo>
                    <a:lnTo>
                      <a:pt x="4426" y="12320"/>
                    </a:lnTo>
                    <a:lnTo>
                      <a:pt x="2811" y="13815"/>
                    </a:lnTo>
                    <a:lnTo>
                      <a:pt x="1256" y="14653"/>
                    </a:lnTo>
                    <a:lnTo>
                      <a:pt x="897" y="14653"/>
                    </a:lnTo>
                    <a:lnTo>
                      <a:pt x="837" y="14653"/>
                    </a:lnTo>
                    <a:lnTo>
                      <a:pt x="0" y="14713"/>
                    </a:lnTo>
                  </a:path>
                </a:pathLst>
              </a:custGeom>
              <a:noFill/>
              <a:ln w="6350" cap="rnd">
                <a:solidFill>
                  <a:schemeClr val="bg1">
                    <a:alpha val="80000"/>
                  </a:schemeClr>
                </a:solidFill>
                <a:prstDash val="solid"/>
                <a:round/>
              </a:ln>
            </p:spPr>
            <p:txBody>
              <a:bodyPr rtlCol="0" anchor="ctr"/>
              <a:lstStyle/>
              <a:p>
                <a:endParaRPr lang="en-GB"/>
              </a:p>
            </p:txBody>
          </p:sp>
          <p:sp>
            <p:nvSpPr>
              <p:cNvPr id="5613" name="Vrije vorm: vorm 5612">
                <a:extLst>
                  <a:ext uri="{FF2B5EF4-FFF2-40B4-BE49-F238E27FC236}">
                    <a16:creationId xmlns:a16="http://schemas.microsoft.com/office/drawing/2014/main" id="{3A2D249A-8786-4D56-8E0F-5049E6A8D7FA}"/>
                  </a:ext>
                </a:extLst>
              </p:cNvPr>
              <p:cNvSpPr/>
              <p:nvPr/>
            </p:nvSpPr>
            <p:spPr>
              <a:xfrm>
                <a:off x="6409439" y="1665850"/>
                <a:ext cx="717" cy="1794"/>
              </a:xfrm>
              <a:custGeom>
                <a:avLst/>
                <a:gdLst>
                  <a:gd name="connsiteX0" fmla="*/ 718 w 717"/>
                  <a:gd name="connsiteY0" fmla="*/ 1794 h 1794"/>
                  <a:gd name="connsiteX1" fmla="*/ 658 w 717"/>
                  <a:gd name="connsiteY1" fmla="*/ 957 h 1794"/>
                  <a:gd name="connsiteX2" fmla="*/ 658 w 717"/>
                  <a:gd name="connsiteY2" fmla="*/ 957 h 1794"/>
                  <a:gd name="connsiteX3" fmla="*/ 598 w 717"/>
                  <a:gd name="connsiteY3" fmla="*/ 778 h 1794"/>
                  <a:gd name="connsiteX4" fmla="*/ 419 w 717"/>
                  <a:gd name="connsiteY4" fmla="*/ 359 h 1794"/>
                  <a:gd name="connsiteX5" fmla="*/ 0 w 717"/>
                  <a:gd name="connsiteY5" fmla="*/ 0 h 1794"/>
                  <a:gd name="connsiteX6" fmla="*/ 0 w 717"/>
                  <a:gd name="connsiteY6" fmla="*/ 0 h 1794"/>
                  <a:gd name="connsiteX7" fmla="*/ 0 w 717"/>
                  <a:gd name="connsiteY7" fmla="*/ 0 h 1794"/>
                  <a:gd name="connsiteX8" fmla="*/ 0 w 717"/>
                  <a:gd name="connsiteY8" fmla="*/ 0 h 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 h="1794">
                    <a:moveTo>
                      <a:pt x="718" y="1794"/>
                    </a:moveTo>
                    <a:lnTo>
                      <a:pt x="658" y="957"/>
                    </a:lnTo>
                    <a:lnTo>
                      <a:pt x="658" y="957"/>
                    </a:lnTo>
                    <a:lnTo>
                      <a:pt x="598" y="778"/>
                    </a:lnTo>
                    <a:lnTo>
                      <a:pt x="419" y="359"/>
                    </a:lnTo>
                    <a:lnTo>
                      <a:pt x="0" y="0"/>
                    </a:lnTo>
                    <a:lnTo>
                      <a:pt x="0" y="0"/>
                    </a:lnTo>
                    <a:lnTo>
                      <a:pt x="0" y="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14" name="Vrije vorm: vorm 5613">
                <a:extLst>
                  <a:ext uri="{FF2B5EF4-FFF2-40B4-BE49-F238E27FC236}">
                    <a16:creationId xmlns:a16="http://schemas.microsoft.com/office/drawing/2014/main" id="{9E218165-C698-4100-AFC2-2E1F9F4AD865}"/>
                  </a:ext>
                </a:extLst>
              </p:cNvPr>
              <p:cNvSpPr/>
              <p:nvPr/>
            </p:nvSpPr>
            <p:spPr>
              <a:xfrm>
                <a:off x="6409619" y="1668362"/>
                <a:ext cx="418" cy="1435"/>
              </a:xfrm>
              <a:custGeom>
                <a:avLst/>
                <a:gdLst>
                  <a:gd name="connsiteX0" fmla="*/ 0 w 418"/>
                  <a:gd name="connsiteY0" fmla="*/ 1435 h 1435"/>
                  <a:gd name="connsiteX1" fmla="*/ 359 w 418"/>
                  <a:gd name="connsiteY1" fmla="*/ 299 h 1435"/>
                  <a:gd name="connsiteX2" fmla="*/ 419 w 418"/>
                  <a:gd name="connsiteY2" fmla="*/ 0 h 1435"/>
                </a:gdLst>
                <a:ahLst/>
                <a:cxnLst>
                  <a:cxn ang="0">
                    <a:pos x="connsiteX0" y="connsiteY0"/>
                  </a:cxn>
                  <a:cxn ang="0">
                    <a:pos x="connsiteX1" y="connsiteY1"/>
                  </a:cxn>
                  <a:cxn ang="0">
                    <a:pos x="connsiteX2" y="connsiteY2"/>
                  </a:cxn>
                </a:cxnLst>
                <a:rect l="l" t="t" r="r" b="b"/>
                <a:pathLst>
                  <a:path w="418" h="1435">
                    <a:moveTo>
                      <a:pt x="0" y="1435"/>
                    </a:moveTo>
                    <a:lnTo>
                      <a:pt x="359" y="299"/>
                    </a:lnTo>
                    <a:lnTo>
                      <a:pt x="419" y="0"/>
                    </a:lnTo>
                  </a:path>
                </a:pathLst>
              </a:custGeom>
              <a:noFill/>
              <a:ln w="6350" cap="rnd">
                <a:solidFill>
                  <a:schemeClr val="bg1">
                    <a:alpha val="80000"/>
                  </a:schemeClr>
                </a:solidFill>
                <a:prstDash val="solid"/>
                <a:round/>
              </a:ln>
            </p:spPr>
            <p:txBody>
              <a:bodyPr rtlCol="0" anchor="ctr"/>
              <a:lstStyle/>
              <a:p>
                <a:endParaRPr lang="en-GB"/>
              </a:p>
            </p:txBody>
          </p:sp>
          <p:sp>
            <p:nvSpPr>
              <p:cNvPr id="5615" name="Vrije vorm: vorm 5614">
                <a:extLst>
                  <a:ext uri="{FF2B5EF4-FFF2-40B4-BE49-F238E27FC236}">
                    <a16:creationId xmlns:a16="http://schemas.microsoft.com/office/drawing/2014/main" id="{6761E1F1-D58A-4346-9C7E-32A3B4B2660C}"/>
                  </a:ext>
                </a:extLst>
              </p:cNvPr>
              <p:cNvSpPr/>
              <p:nvPr/>
            </p:nvSpPr>
            <p:spPr>
              <a:xfrm>
                <a:off x="6407645" y="1670994"/>
                <a:ext cx="1435" cy="2093"/>
              </a:xfrm>
              <a:custGeom>
                <a:avLst/>
                <a:gdLst>
                  <a:gd name="connsiteX0" fmla="*/ 0 w 1435"/>
                  <a:gd name="connsiteY0" fmla="*/ 2093 h 2093"/>
                  <a:gd name="connsiteX1" fmla="*/ 778 w 1435"/>
                  <a:gd name="connsiteY1" fmla="*/ 1136 h 2093"/>
                  <a:gd name="connsiteX2" fmla="*/ 1435 w 1435"/>
                  <a:gd name="connsiteY2" fmla="*/ 0 h 2093"/>
                </a:gdLst>
                <a:ahLst/>
                <a:cxnLst>
                  <a:cxn ang="0">
                    <a:pos x="connsiteX0" y="connsiteY0"/>
                  </a:cxn>
                  <a:cxn ang="0">
                    <a:pos x="connsiteX1" y="connsiteY1"/>
                  </a:cxn>
                  <a:cxn ang="0">
                    <a:pos x="connsiteX2" y="connsiteY2"/>
                  </a:cxn>
                </a:cxnLst>
                <a:rect l="l" t="t" r="r" b="b"/>
                <a:pathLst>
                  <a:path w="1435" h="2093">
                    <a:moveTo>
                      <a:pt x="0" y="2093"/>
                    </a:moveTo>
                    <a:lnTo>
                      <a:pt x="778" y="1136"/>
                    </a:lnTo>
                    <a:lnTo>
                      <a:pt x="1435" y="0"/>
                    </a:lnTo>
                  </a:path>
                </a:pathLst>
              </a:custGeom>
              <a:noFill/>
              <a:ln w="6350" cap="rnd">
                <a:solidFill>
                  <a:schemeClr val="bg1">
                    <a:alpha val="80000"/>
                  </a:schemeClr>
                </a:solidFill>
                <a:prstDash val="solid"/>
                <a:round/>
              </a:ln>
            </p:spPr>
            <p:txBody>
              <a:bodyPr rtlCol="0" anchor="ctr"/>
              <a:lstStyle/>
              <a:p>
                <a:endParaRPr lang="en-GB"/>
              </a:p>
            </p:txBody>
          </p:sp>
          <p:sp>
            <p:nvSpPr>
              <p:cNvPr id="5616" name="Vrije vorm: vorm 5615">
                <a:extLst>
                  <a:ext uri="{FF2B5EF4-FFF2-40B4-BE49-F238E27FC236}">
                    <a16:creationId xmlns:a16="http://schemas.microsoft.com/office/drawing/2014/main" id="{ED94F31A-272E-4D5E-AC57-151F914059E1}"/>
                  </a:ext>
                </a:extLst>
              </p:cNvPr>
              <p:cNvSpPr/>
              <p:nvPr/>
            </p:nvSpPr>
            <p:spPr>
              <a:xfrm>
                <a:off x="6404775" y="1674582"/>
                <a:ext cx="597" cy="59"/>
              </a:xfrm>
              <a:custGeom>
                <a:avLst/>
                <a:gdLst>
                  <a:gd name="connsiteX0" fmla="*/ 0 w 597"/>
                  <a:gd name="connsiteY0" fmla="*/ 0 h 59"/>
                  <a:gd name="connsiteX1" fmla="*/ 598 w 597"/>
                  <a:gd name="connsiteY1" fmla="*/ 60 h 59"/>
                </a:gdLst>
                <a:ahLst/>
                <a:cxnLst>
                  <a:cxn ang="0">
                    <a:pos x="connsiteX0" y="connsiteY0"/>
                  </a:cxn>
                  <a:cxn ang="0">
                    <a:pos x="connsiteX1" y="connsiteY1"/>
                  </a:cxn>
                </a:cxnLst>
                <a:rect l="l" t="t" r="r" b="b"/>
                <a:pathLst>
                  <a:path w="597" h="59">
                    <a:moveTo>
                      <a:pt x="0" y="0"/>
                    </a:moveTo>
                    <a:lnTo>
                      <a:pt x="598" y="60"/>
                    </a:lnTo>
                  </a:path>
                </a:pathLst>
              </a:custGeom>
              <a:noFill/>
              <a:ln w="6350" cap="rnd">
                <a:solidFill>
                  <a:schemeClr val="bg1">
                    <a:alpha val="80000"/>
                  </a:schemeClr>
                </a:solidFill>
                <a:prstDash val="solid"/>
                <a:round/>
              </a:ln>
            </p:spPr>
            <p:txBody>
              <a:bodyPr rtlCol="0" anchor="ctr"/>
              <a:lstStyle/>
              <a:p>
                <a:endParaRPr lang="en-GB"/>
              </a:p>
            </p:txBody>
          </p:sp>
          <p:sp>
            <p:nvSpPr>
              <p:cNvPr id="5617" name="Vrije vorm: vorm 5616">
                <a:extLst>
                  <a:ext uri="{FF2B5EF4-FFF2-40B4-BE49-F238E27FC236}">
                    <a16:creationId xmlns:a16="http://schemas.microsoft.com/office/drawing/2014/main" id="{91758A85-EEE1-468A-B018-BD8E7977389B}"/>
                  </a:ext>
                </a:extLst>
              </p:cNvPr>
              <p:cNvSpPr/>
              <p:nvPr/>
            </p:nvSpPr>
            <p:spPr>
              <a:xfrm>
                <a:off x="6394847" y="1677812"/>
                <a:ext cx="8014" cy="17523"/>
              </a:xfrm>
              <a:custGeom>
                <a:avLst/>
                <a:gdLst>
                  <a:gd name="connsiteX0" fmla="*/ 0 w 8014"/>
                  <a:gd name="connsiteY0" fmla="*/ 17524 h 17523"/>
                  <a:gd name="connsiteX1" fmla="*/ 1017 w 8014"/>
                  <a:gd name="connsiteY1" fmla="*/ 14414 h 17523"/>
                  <a:gd name="connsiteX2" fmla="*/ 2034 w 8014"/>
                  <a:gd name="connsiteY2" fmla="*/ 11304 h 17523"/>
                  <a:gd name="connsiteX3" fmla="*/ 3050 w 8014"/>
                  <a:gd name="connsiteY3" fmla="*/ 8194 h 17523"/>
                  <a:gd name="connsiteX4" fmla="*/ 4067 w 8014"/>
                  <a:gd name="connsiteY4" fmla="*/ 5084 h 17523"/>
                  <a:gd name="connsiteX5" fmla="*/ 5084 w 8014"/>
                  <a:gd name="connsiteY5" fmla="*/ 1974 h 17523"/>
                  <a:gd name="connsiteX6" fmla="*/ 5562 w 8014"/>
                  <a:gd name="connsiteY6" fmla="*/ 419 h 17523"/>
                  <a:gd name="connsiteX7" fmla="*/ 7536 w 8014"/>
                  <a:gd name="connsiteY7" fmla="*/ 1435 h 17523"/>
                  <a:gd name="connsiteX8" fmla="*/ 8014 w 8014"/>
                  <a:gd name="connsiteY8" fmla="*/ 0 h 1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14" h="17523">
                    <a:moveTo>
                      <a:pt x="0" y="17524"/>
                    </a:moveTo>
                    <a:lnTo>
                      <a:pt x="1017" y="14414"/>
                    </a:lnTo>
                    <a:lnTo>
                      <a:pt x="2034" y="11304"/>
                    </a:lnTo>
                    <a:lnTo>
                      <a:pt x="3050" y="8194"/>
                    </a:lnTo>
                    <a:lnTo>
                      <a:pt x="4067" y="5084"/>
                    </a:lnTo>
                    <a:lnTo>
                      <a:pt x="5084" y="1974"/>
                    </a:lnTo>
                    <a:lnTo>
                      <a:pt x="5562" y="419"/>
                    </a:lnTo>
                    <a:lnTo>
                      <a:pt x="7536" y="1435"/>
                    </a:lnTo>
                    <a:lnTo>
                      <a:pt x="8014" y="0"/>
                    </a:lnTo>
                  </a:path>
                </a:pathLst>
              </a:custGeom>
              <a:noFill/>
              <a:ln w="6350" cap="rnd">
                <a:solidFill>
                  <a:schemeClr val="bg1">
                    <a:alpha val="80000"/>
                  </a:schemeClr>
                </a:solidFill>
                <a:prstDash val="solid"/>
                <a:round/>
              </a:ln>
            </p:spPr>
            <p:txBody>
              <a:bodyPr rtlCol="0" anchor="ctr"/>
              <a:lstStyle/>
              <a:p>
                <a:endParaRPr lang="en-GB"/>
              </a:p>
            </p:txBody>
          </p:sp>
          <p:sp>
            <p:nvSpPr>
              <p:cNvPr id="5618" name="Vrije vorm: vorm 5617">
                <a:extLst>
                  <a:ext uri="{FF2B5EF4-FFF2-40B4-BE49-F238E27FC236}">
                    <a16:creationId xmlns:a16="http://schemas.microsoft.com/office/drawing/2014/main" id="{E5129D60-969B-425A-86D7-191D22CBC3AC}"/>
                  </a:ext>
                </a:extLst>
              </p:cNvPr>
              <p:cNvSpPr/>
              <p:nvPr/>
            </p:nvSpPr>
            <p:spPr>
              <a:xfrm>
                <a:off x="6419966" y="1726375"/>
                <a:ext cx="6040" cy="2990"/>
              </a:xfrm>
              <a:custGeom>
                <a:avLst/>
                <a:gdLst>
                  <a:gd name="connsiteX0" fmla="*/ 6041 w 6040"/>
                  <a:gd name="connsiteY0" fmla="*/ 2990 h 2990"/>
                  <a:gd name="connsiteX1" fmla="*/ 3349 w 6040"/>
                  <a:gd name="connsiteY1" fmla="*/ 1675 h 2990"/>
                  <a:gd name="connsiteX2" fmla="*/ 2273 w 6040"/>
                  <a:gd name="connsiteY2" fmla="*/ 1136 h 2990"/>
                  <a:gd name="connsiteX3" fmla="*/ 2034 w 6040"/>
                  <a:gd name="connsiteY3" fmla="*/ 1017 h 2990"/>
                  <a:gd name="connsiteX4" fmla="*/ 0 w 6040"/>
                  <a:gd name="connsiteY4" fmla="*/ 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0" h="2990">
                    <a:moveTo>
                      <a:pt x="6041" y="2990"/>
                    </a:moveTo>
                    <a:lnTo>
                      <a:pt x="3349" y="1675"/>
                    </a:lnTo>
                    <a:lnTo>
                      <a:pt x="2273" y="1136"/>
                    </a:lnTo>
                    <a:lnTo>
                      <a:pt x="2034" y="101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19" name="Vrije vorm: vorm 5618">
                <a:extLst>
                  <a:ext uri="{FF2B5EF4-FFF2-40B4-BE49-F238E27FC236}">
                    <a16:creationId xmlns:a16="http://schemas.microsoft.com/office/drawing/2014/main" id="{7D8F4990-27EE-4CD6-9741-434E96B6C829}"/>
                  </a:ext>
                </a:extLst>
              </p:cNvPr>
              <p:cNvSpPr/>
              <p:nvPr/>
            </p:nvSpPr>
            <p:spPr>
              <a:xfrm>
                <a:off x="6412310" y="1668960"/>
                <a:ext cx="7655" cy="57474"/>
              </a:xfrm>
              <a:custGeom>
                <a:avLst/>
                <a:gdLst>
                  <a:gd name="connsiteX0" fmla="*/ 7655 w 7655"/>
                  <a:gd name="connsiteY0" fmla="*/ 57475 h 57474"/>
                  <a:gd name="connsiteX1" fmla="*/ 7236 w 7655"/>
                  <a:gd name="connsiteY1" fmla="*/ 54365 h 57474"/>
                  <a:gd name="connsiteX2" fmla="*/ 6818 w 7655"/>
                  <a:gd name="connsiteY2" fmla="*/ 51255 h 57474"/>
                  <a:gd name="connsiteX3" fmla="*/ 6698 w 7655"/>
                  <a:gd name="connsiteY3" fmla="*/ 50358 h 57474"/>
                  <a:gd name="connsiteX4" fmla="*/ 6280 w 7655"/>
                  <a:gd name="connsiteY4" fmla="*/ 47248 h 57474"/>
                  <a:gd name="connsiteX5" fmla="*/ 5861 w 7655"/>
                  <a:gd name="connsiteY5" fmla="*/ 44138 h 57474"/>
                  <a:gd name="connsiteX6" fmla="*/ 5442 w 7655"/>
                  <a:gd name="connsiteY6" fmla="*/ 41028 h 57474"/>
                  <a:gd name="connsiteX7" fmla="*/ 5024 w 7655"/>
                  <a:gd name="connsiteY7" fmla="*/ 37918 h 57474"/>
                  <a:gd name="connsiteX8" fmla="*/ 4725 w 7655"/>
                  <a:gd name="connsiteY8" fmla="*/ 35645 h 57474"/>
                  <a:gd name="connsiteX9" fmla="*/ 4306 w 7655"/>
                  <a:gd name="connsiteY9" fmla="*/ 32535 h 57474"/>
                  <a:gd name="connsiteX10" fmla="*/ 3887 w 7655"/>
                  <a:gd name="connsiteY10" fmla="*/ 29425 h 57474"/>
                  <a:gd name="connsiteX11" fmla="*/ 3469 w 7655"/>
                  <a:gd name="connsiteY11" fmla="*/ 26315 h 57474"/>
                  <a:gd name="connsiteX12" fmla="*/ 3349 w 7655"/>
                  <a:gd name="connsiteY12" fmla="*/ 25179 h 57474"/>
                  <a:gd name="connsiteX13" fmla="*/ 2930 w 7655"/>
                  <a:gd name="connsiteY13" fmla="*/ 22069 h 57474"/>
                  <a:gd name="connsiteX14" fmla="*/ 2512 w 7655"/>
                  <a:gd name="connsiteY14" fmla="*/ 18959 h 57474"/>
                  <a:gd name="connsiteX15" fmla="*/ 2093 w 7655"/>
                  <a:gd name="connsiteY15" fmla="*/ 15849 h 57474"/>
                  <a:gd name="connsiteX16" fmla="*/ 1674 w 7655"/>
                  <a:gd name="connsiteY16" fmla="*/ 12739 h 57474"/>
                  <a:gd name="connsiteX17" fmla="*/ 1555 w 7655"/>
                  <a:gd name="connsiteY17" fmla="*/ 11782 h 57474"/>
                  <a:gd name="connsiteX18" fmla="*/ 1256 w 7655"/>
                  <a:gd name="connsiteY18" fmla="*/ 9509 h 57474"/>
                  <a:gd name="connsiteX19" fmla="*/ 1136 w 7655"/>
                  <a:gd name="connsiteY19" fmla="*/ 8493 h 57474"/>
                  <a:gd name="connsiteX20" fmla="*/ 1017 w 7655"/>
                  <a:gd name="connsiteY20" fmla="*/ 7775 h 57474"/>
                  <a:gd name="connsiteX21" fmla="*/ 1017 w 7655"/>
                  <a:gd name="connsiteY21" fmla="*/ 7775 h 57474"/>
                  <a:gd name="connsiteX22" fmla="*/ 957 w 7655"/>
                  <a:gd name="connsiteY22" fmla="*/ 7177 h 57474"/>
                  <a:gd name="connsiteX23" fmla="*/ 598 w 7655"/>
                  <a:gd name="connsiteY23" fmla="*/ 4426 h 57474"/>
                  <a:gd name="connsiteX24" fmla="*/ 179 w 7655"/>
                  <a:gd name="connsiteY24" fmla="*/ 1316 h 57474"/>
                  <a:gd name="connsiteX25" fmla="*/ 0 w 7655"/>
                  <a:gd name="connsiteY25" fmla="*/ 0 h 5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655" h="57474">
                    <a:moveTo>
                      <a:pt x="7655" y="57475"/>
                    </a:moveTo>
                    <a:lnTo>
                      <a:pt x="7236" y="54365"/>
                    </a:lnTo>
                    <a:lnTo>
                      <a:pt x="6818" y="51255"/>
                    </a:lnTo>
                    <a:lnTo>
                      <a:pt x="6698" y="50358"/>
                    </a:lnTo>
                    <a:lnTo>
                      <a:pt x="6280" y="47248"/>
                    </a:lnTo>
                    <a:lnTo>
                      <a:pt x="5861" y="44138"/>
                    </a:lnTo>
                    <a:lnTo>
                      <a:pt x="5442" y="41028"/>
                    </a:lnTo>
                    <a:lnTo>
                      <a:pt x="5024" y="37918"/>
                    </a:lnTo>
                    <a:lnTo>
                      <a:pt x="4725" y="35645"/>
                    </a:lnTo>
                    <a:lnTo>
                      <a:pt x="4306" y="32535"/>
                    </a:lnTo>
                    <a:lnTo>
                      <a:pt x="3887" y="29425"/>
                    </a:lnTo>
                    <a:lnTo>
                      <a:pt x="3469" y="26315"/>
                    </a:lnTo>
                    <a:lnTo>
                      <a:pt x="3349" y="25179"/>
                    </a:lnTo>
                    <a:lnTo>
                      <a:pt x="2930" y="22069"/>
                    </a:lnTo>
                    <a:lnTo>
                      <a:pt x="2512" y="18959"/>
                    </a:lnTo>
                    <a:lnTo>
                      <a:pt x="2093" y="15849"/>
                    </a:lnTo>
                    <a:lnTo>
                      <a:pt x="1674" y="12739"/>
                    </a:lnTo>
                    <a:lnTo>
                      <a:pt x="1555" y="11782"/>
                    </a:lnTo>
                    <a:lnTo>
                      <a:pt x="1256" y="9509"/>
                    </a:lnTo>
                    <a:lnTo>
                      <a:pt x="1136" y="8493"/>
                    </a:lnTo>
                    <a:lnTo>
                      <a:pt x="1017" y="7775"/>
                    </a:lnTo>
                    <a:lnTo>
                      <a:pt x="1017" y="7775"/>
                    </a:lnTo>
                    <a:lnTo>
                      <a:pt x="957" y="7177"/>
                    </a:lnTo>
                    <a:lnTo>
                      <a:pt x="598" y="4426"/>
                    </a:lnTo>
                    <a:lnTo>
                      <a:pt x="179" y="131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20" name="Vrije vorm: vorm 5619">
                <a:extLst>
                  <a:ext uri="{FF2B5EF4-FFF2-40B4-BE49-F238E27FC236}">
                    <a16:creationId xmlns:a16="http://schemas.microsoft.com/office/drawing/2014/main" id="{DCA6E041-3F21-47E7-A8EC-A6007EC02774}"/>
                  </a:ext>
                </a:extLst>
              </p:cNvPr>
              <p:cNvSpPr/>
              <p:nvPr/>
            </p:nvSpPr>
            <p:spPr>
              <a:xfrm>
                <a:off x="6401426" y="1668661"/>
                <a:ext cx="13217" cy="11841"/>
              </a:xfrm>
              <a:custGeom>
                <a:avLst/>
                <a:gdLst>
                  <a:gd name="connsiteX0" fmla="*/ 0 w 13217"/>
                  <a:gd name="connsiteY0" fmla="*/ 11483 h 11841"/>
                  <a:gd name="connsiteX1" fmla="*/ 897 w 13217"/>
                  <a:gd name="connsiteY1" fmla="*/ 11842 h 11841"/>
                  <a:gd name="connsiteX2" fmla="*/ 1316 w 13217"/>
                  <a:gd name="connsiteY2" fmla="*/ 11782 h 11841"/>
                  <a:gd name="connsiteX3" fmla="*/ 1973 w 13217"/>
                  <a:gd name="connsiteY3" fmla="*/ 11722 h 11841"/>
                  <a:gd name="connsiteX4" fmla="*/ 3170 w 13217"/>
                  <a:gd name="connsiteY4" fmla="*/ 11244 h 11841"/>
                  <a:gd name="connsiteX5" fmla="*/ 3289 w 13217"/>
                  <a:gd name="connsiteY5" fmla="*/ 11124 h 11841"/>
                  <a:gd name="connsiteX6" fmla="*/ 3708 w 13217"/>
                  <a:gd name="connsiteY6" fmla="*/ 10885 h 11841"/>
                  <a:gd name="connsiteX7" fmla="*/ 4187 w 13217"/>
                  <a:gd name="connsiteY7" fmla="*/ 10586 h 11841"/>
                  <a:gd name="connsiteX8" fmla="*/ 4486 w 13217"/>
                  <a:gd name="connsiteY8" fmla="*/ 10406 h 11841"/>
                  <a:gd name="connsiteX9" fmla="*/ 5502 w 13217"/>
                  <a:gd name="connsiteY9" fmla="*/ 9450 h 11841"/>
                  <a:gd name="connsiteX10" fmla="*/ 5861 w 13217"/>
                  <a:gd name="connsiteY10" fmla="*/ 9150 h 11841"/>
                  <a:gd name="connsiteX11" fmla="*/ 7177 w 13217"/>
                  <a:gd name="connsiteY11" fmla="*/ 7655 h 11841"/>
                  <a:gd name="connsiteX12" fmla="*/ 8134 w 13217"/>
                  <a:gd name="connsiteY12" fmla="*/ 6340 h 11841"/>
                  <a:gd name="connsiteX13" fmla="*/ 8433 w 13217"/>
                  <a:gd name="connsiteY13" fmla="*/ 5921 h 11841"/>
                  <a:gd name="connsiteX14" fmla="*/ 9569 w 13217"/>
                  <a:gd name="connsiteY14" fmla="*/ 4007 h 11841"/>
                  <a:gd name="connsiteX15" fmla="*/ 9928 w 13217"/>
                  <a:gd name="connsiteY15" fmla="*/ 3230 h 11841"/>
                  <a:gd name="connsiteX16" fmla="*/ 10526 w 13217"/>
                  <a:gd name="connsiteY16" fmla="*/ 1974 h 11841"/>
                  <a:gd name="connsiteX17" fmla="*/ 10765 w 13217"/>
                  <a:gd name="connsiteY17" fmla="*/ 1316 h 11841"/>
                  <a:gd name="connsiteX18" fmla="*/ 11244 w 13217"/>
                  <a:gd name="connsiteY18" fmla="*/ 0 h 11841"/>
                  <a:gd name="connsiteX19" fmla="*/ 11782 w 13217"/>
                  <a:gd name="connsiteY19" fmla="*/ 299 h 11841"/>
                  <a:gd name="connsiteX20" fmla="*/ 12380 w 13217"/>
                  <a:gd name="connsiteY20" fmla="*/ 598 h 11841"/>
                  <a:gd name="connsiteX21" fmla="*/ 13098 w 13217"/>
                  <a:gd name="connsiteY21" fmla="*/ 957 h 11841"/>
                  <a:gd name="connsiteX22" fmla="*/ 13217 w 13217"/>
                  <a:gd name="connsiteY22" fmla="*/ 1017 h 1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217" h="11841">
                    <a:moveTo>
                      <a:pt x="0" y="11483"/>
                    </a:moveTo>
                    <a:lnTo>
                      <a:pt x="897" y="11842"/>
                    </a:lnTo>
                    <a:lnTo>
                      <a:pt x="1316" y="11782"/>
                    </a:lnTo>
                    <a:lnTo>
                      <a:pt x="1973" y="11722"/>
                    </a:lnTo>
                    <a:lnTo>
                      <a:pt x="3170" y="11244"/>
                    </a:lnTo>
                    <a:lnTo>
                      <a:pt x="3289" y="11124"/>
                    </a:lnTo>
                    <a:lnTo>
                      <a:pt x="3708" y="10885"/>
                    </a:lnTo>
                    <a:lnTo>
                      <a:pt x="4187" y="10586"/>
                    </a:lnTo>
                    <a:lnTo>
                      <a:pt x="4486" y="10406"/>
                    </a:lnTo>
                    <a:lnTo>
                      <a:pt x="5502" y="9450"/>
                    </a:lnTo>
                    <a:lnTo>
                      <a:pt x="5861" y="9150"/>
                    </a:lnTo>
                    <a:lnTo>
                      <a:pt x="7177" y="7655"/>
                    </a:lnTo>
                    <a:lnTo>
                      <a:pt x="8134" y="6340"/>
                    </a:lnTo>
                    <a:lnTo>
                      <a:pt x="8433" y="5921"/>
                    </a:lnTo>
                    <a:lnTo>
                      <a:pt x="9569" y="4007"/>
                    </a:lnTo>
                    <a:lnTo>
                      <a:pt x="9928" y="3230"/>
                    </a:lnTo>
                    <a:lnTo>
                      <a:pt x="10526" y="1974"/>
                    </a:lnTo>
                    <a:lnTo>
                      <a:pt x="10765" y="1316"/>
                    </a:lnTo>
                    <a:lnTo>
                      <a:pt x="11244" y="0"/>
                    </a:lnTo>
                    <a:lnTo>
                      <a:pt x="11782" y="299"/>
                    </a:lnTo>
                    <a:lnTo>
                      <a:pt x="12380" y="598"/>
                    </a:lnTo>
                    <a:lnTo>
                      <a:pt x="13098" y="957"/>
                    </a:lnTo>
                    <a:lnTo>
                      <a:pt x="13217" y="1017"/>
                    </a:lnTo>
                  </a:path>
                </a:pathLst>
              </a:custGeom>
              <a:noFill/>
              <a:ln w="6350" cap="rnd">
                <a:solidFill>
                  <a:schemeClr val="bg1">
                    <a:alpha val="80000"/>
                  </a:schemeClr>
                </a:solidFill>
                <a:prstDash val="solid"/>
                <a:round/>
              </a:ln>
            </p:spPr>
            <p:txBody>
              <a:bodyPr rtlCol="0" anchor="ctr"/>
              <a:lstStyle/>
              <a:p>
                <a:endParaRPr lang="en-GB"/>
              </a:p>
            </p:txBody>
          </p:sp>
          <p:sp>
            <p:nvSpPr>
              <p:cNvPr id="5621" name="Vrije vorm: vorm 5620">
                <a:extLst>
                  <a:ext uri="{FF2B5EF4-FFF2-40B4-BE49-F238E27FC236}">
                    <a16:creationId xmlns:a16="http://schemas.microsoft.com/office/drawing/2014/main" id="{9718B2C0-0712-4F42-9F36-DE34E5EB3601}"/>
                  </a:ext>
                </a:extLst>
              </p:cNvPr>
              <p:cNvSpPr/>
              <p:nvPr/>
            </p:nvSpPr>
            <p:spPr>
              <a:xfrm>
                <a:off x="6413746" y="1666150"/>
                <a:ext cx="837" cy="3588"/>
              </a:xfrm>
              <a:custGeom>
                <a:avLst/>
                <a:gdLst>
                  <a:gd name="connsiteX0" fmla="*/ 837 w 837"/>
                  <a:gd name="connsiteY0" fmla="*/ 3588 h 3588"/>
                  <a:gd name="connsiteX1" fmla="*/ 419 w 837"/>
                  <a:gd name="connsiteY1" fmla="*/ 478 h 3588"/>
                  <a:gd name="connsiteX2" fmla="*/ 359 w 837"/>
                  <a:gd name="connsiteY2" fmla="*/ 0 h 3588"/>
                  <a:gd name="connsiteX3" fmla="*/ 299 w 837"/>
                  <a:gd name="connsiteY3" fmla="*/ 1854 h 3588"/>
                  <a:gd name="connsiteX4" fmla="*/ 0 w 837"/>
                  <a:gd name="connsiteY4" fmla="*/ 3170 h 3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7" h="3588">
                    <a:moveTo>
                      <a:pt x="837" y="3588"/>
                    </a:moveTo>
                    <a:lnTo>
                      <a:pt x="419" y="478"/>
                    </a:lnTo>
                    <a:lnTo>
                      <a:pt x="359" y="0"/>
                    </a:lnTo>
                    <a:lnTo>
                      <a:pt x="299" y="1854"/>
                    </a:lnTo>
                    <a:lnTo>
                      <a:pt x="0" y="3170"/>
                    </a:lnTo>
                  </a:path>
                </a:pathLst>
              </a:custGeom>
              <a:noFill/>
              <a:ln w="6350" cap="rnd">
                <a:solidFill>
                  <a:schemeClr val="bg1">
                    <a:alpha val="80000"/>
                  </a:schemeClr>
                </a:solidFill>
                <a:prstDash val="solid"/>
                <a:round/>
              </a:ln>
            </p:spPr>
            <p:txBody>
              <a:bodyPr rtlCol="0" anchor="ctr"/>
              <a:lstStyle/>
              <a:p>
                <a:endParaRPr lang="en-GB"/>
              </a:p>
            </p:txBody>
          </p:sp>
          <p:sp>
            <p:nvSpPr>
              <p:cNvPr id="5622" name="Vrije vorm: vorm 5621">
                <a:extLst>
                  <a:ext uri="{FF2B5EF4-FFF2-40B4-BE49-F238E27FC236}">
                    <a16:creationId xmlns:a16="http://schemas.microsoft.com/office/drawing/2014/main" id="{1DBD539D-7A3D-486F-8B8A-60404B3DE888}"/>
                  </a:ext>
                </a:extLst>
              </p:cNvPr>
              <p:cNvSpPr/>
              <p:nvPr/>
            </p:nvSpPr>
            <p:spPr>
              <a:xfrm>
                <a:off x="6450946" y="1759030"/>
                <a:ext cx="64173" cy="48503"/>
              </a:xfrm>
              <a:custGeom>
                <a:avLst/>
                <a:gdLst>
                  <a:gd name="connsiteX0" fmla="*/ 64173 w 64173"/>
                  <a:gd name="connsiteY0" fmla="*/ 41686 h 48503"/>
                  <a:gd name="connsiteX1" fmla="*/ 62738 w 64173"/>
                  <a:gd name="connsiteY1" fmla="*/ 44138 h 48503"/>
                  <a:gd name="connsiteX2" fmla="*/ 62618 w 64173"/>
                  <a:gd name="connsiteY2" fmla="*/ 44377 h 48503"/>
                  <a:gd name="connsiteX3" fmla="*/ 61183 w 64173"/>
                  <a:gd name="connsiteY3" fmla="*/ 46829 h 48503"/>
                  <a:gd name="connsiteX4" fmla="*/ 60465 w 64173"/>
                  <a:gd name="connsiteY4" fmla="*/ 48025 h 48503"/>
                  <a:gd name="connsiteX5" fmla="*/ 60346 w 64173"/>
                  <a:gd name="connsiteY5" fmla="*/ 48085 h 48503"/>
                  <a:gd name="connsiteX6" fmla="*/ 60226 w 64173"/>
                  <a:gd name="connsiteY6" fmla="*/ 48085 h 48503"/>
                  <a:gd name="connsiteX7" fmla="*/ 58492 w 64173"/>
                  <a:gd name="connsiteY7" fmla="*/ 48504 h 48503"/>
                  <a:gd name="connsiteX8" fmla="*/ 57475 w 64173"/>
                  <a:gd name="connsiteY8" fmla="*/ 48264 h 48503"/>
                  <a:gd name="connsiteX9" fmla="*/ 54604 w 64173"/>
                  <a:gd name="connsiteY9" fmla="*/ 47666 h 48503"/>
                  <a:gd name="connsiteX10" fmla="*/ 54544 w 64173"/>
                  <a:gd name="connsiteY10" fmla="*/ 47666 h 48503"/>
                  <a:gd name="connsiteX11" fmla="*/ 54185 w 64173"/>
                  <a:gd name="connsiteY11" fmla="*/ 47547 h 48503"/>
                  <a:gd name="connsiteX12" fmla="*/ 54185 w 64173"/>
                  <a:gd name="connsiteY12" fmla="*/ 47547 h 48503"/>
                  <a:gd name="connsiteX13" fmla="*/ 54006 w 64173"/>
                  <a:gd name="connsiteY13" fmla="*/ 47487 h 48503"/>
                  <a:gd name="connsiteX14" fmla="*/ 51793 w 64173"/>
                  <a:gd name="connsiteY14" fmla="*/ 46650 h 48503"/>
                  <a:gd name="connsiteX15" fmla="*/ 48982 w 64173"/>
                  <a:gd name="connsiteY15" fmla="*/ 45633 h 48503"/>
                  <a:gd name="connsiteX16" fmla="*/ 48743 w 64173"/>
                  <a:gd name="connsiteY16" fmla="*/ 45513 h 48503"/>
                  <a:gd name="connsiteX17" fmla="*/ 47547 w 64173"/>
                  <a:gd name="connsiteY17" fmla="*/ 44975 h 48503"/>
                  <a:gd name="connsiteX18" fmla="*/ 44855 w 64173"/>
                  <a:gd name="connsiteY18" fmla="*/ 43719 h 48503"/>
                  <a:gd name="connsiteX19" fmla="*/ 42164 w 64173"/>
                  <a:gd name="connsiteY19" fmla="*/ 42463 h 48503"/>
                  <a:gd name="connsiteX20" fmla="*/ 41506 w 64173"/>
                  <a:gd name="connsiteY20" fmla="*/ 42164 h 48503"/>
                  <a:gd name="connsiteX21" fmla="*/ 38875 w 64173"/>
                  <a:gd name="connsiteY21" fmla="*/ 40788 h 48503"/>
                  <a:gd name="connsiteX22" fmla="*/ 36243 w 64173"/>
                  <a:gd name="connsiteY22" fmla="*/ 39413 h 48503"/>
                  <a:gd name="connsiteX23" fmla="*/ 33612 w 64173"/>
                  <a:gd name="connsiteY23" fmla="*/ 38037 h 48503"/>
                  <a:gd name="connsiteX24" fmla="*/ 33373 w 64173"/>
                  <a:gd name="connsiteY24" fmla="*/ 37918 h 48503"/>
                  <a:gd name="connsiteX25" fmla="*/ 30801 w 64173"/>
                  <a:gd name="connsiteY25" fmla="*/ 36423 h 48503"/>
                  <a:gd name="connsiteX26" fmla="*/ 28229 w 64173"/>
                  <a:gd name="connsiteY26" fmla="*/ 34927 h 48503"/>
                  <a:gd name="connsiteX27" fmla="*/ 25658 w 64173"/>
                  <a:gd name="connsiteY27" fmla="*/ 33432 h 48503"/>
                  <a:gd name="connsiteX28" fmla="*/ 24940 w 64173"/>
                  <a:gd name="connsiteY28" fmla="*/ 33014 h 48503"/>
                  <a:gd name="connsiteX29" fmla="*/ 22428 w 64173"/>
                  <a:gd name="connsiteY29" fmla="*/ 31399 h 48503"/>
                  <a:gd name="connsiteX30" fmla="*/ 19916 w 64173"/>
                  <a:gd name="connsiteY30" fmla="*/ 29784 h 48503"/>
                  <a:gd name="connsiteX31" fmla="*/ 18959 w 64173"/>
                  <a:gd name="connsiteY31" fmla="*/ 29186 h 48503"/>
                  <a:gd name="connsiteX32" fmla="*/ 16926 w 64173"/>
                  <a:gd name="connsiteY32" fmla="*/ 27870 h 48503"/>
                  <a:gd name="connsiteX33" fmla="*/ 14533 w 64173"/>
                  <a:gd name="connsiteY33" fmla="*/ 26136 h 48503"/>
                  <a:gd name="connsiteX34" fmla="*/ 12141 w 64173"/>
                  <a:gd name="connsiteY34" fmla="*/ 24401 h 48503"/>
                  <a:gd name="connsiteX35" fmla="*/ 10048 w 64173"/>
                  <a:gd name="connsiteY35" fmla="*/ 22906 h 48503"/>
                  <a:gd name="connsiteX36" fmla="*/ 7775 w 64173"/>
                  <a:gd name="connsiteY36" fmla="*/ 21052 h 48503"/>
                  <a:gd name="connsiteX37" fmla="*/ 7715 w 64173"/>
                  <a:gd name="connsiteY37" fmla="*/ 20992 h 48503"/>
                  <a:gd name="connsiteX38" fmla="*/ 5622 w 64173"/>
                  <a:gd name="connsiteY38" fmla="*/ 19258 h 48503"/>
                  <a:gd name="connsiteX39" fmla="*/ 4725 w 64173"/>
                  <a:gd name="connsiteY39" fmla="*/ 18540 h 48503"/>
                  <a:gd name="connsiteX40" fmla="*/ 3649 w 64173"/>
                  <a:gd name="connsiteY40" fmla="*/ 17404 h 48503"/>
                  <a:gd name="connsiteX41" fmla="*/ 3649 w 64173"/>
                  <a:gd name="connsiteY41" fmla="*/ 17404 h 48503"/>
                  <a:gd name="connsiteX42" fmla="*/ 3649 w 64173"/>
                  <a:gd name="connsiteY42" fmla="*/ 17404 h 48503"/>
                  <a:gd name="connsiteX43" fmla="*/ 1555 w 64173"/>
                  <a:gd name="connsiteY43" fmla="*/ 15311 h 48503"/>
                  <a:gd name="connsiteX44" fmla="*/ 1316 w 64173"/>
                  <a:gd name="connsiteY44" fmla="*/ 15071 h 48503"/>
                  <a:gd name="connsiteX45" fmla="*/ 718 w 64173"/>
                  <a:gd name="connsiteY45" fmla="*/ 13935 h 48503"/>
                  <a:gd name="connsiteX46" fmla="*/ 0 w 64173"/>
                  <a:gd name="connsiteY46" fmla="*/ 12619 h 48503"/>
                  <a:gd name="connsiteX47" fmla="*/ 180 w 64173"/>
                  <a:gd name="connsiteY47" fmla="*/ 12260 h 48503"/>
                  <a:gd name="connsiteX48" fmla="*/ 419 w 64173"/>
                  <a:gd name="connsiteY48" fmla="*/ 11902 h 48503"/>
                  <a:gd name="connsiteX49" fmla="*/ 718 w 64173"/>
                  <a:gd name="connsiteY49" fmla="*/ 11423 h 48503"/>
                  <a:gd name="connsiteX50" fmla="*/ 1854 w 64173"/>
                  <a:gd name="connsiteY50" fmla="*/ 9509 h 48503"/>
                  <a:gd name="connsiteX51" fmla="*/ 2452 w 64173"/>
                  <a:gd name="connsiteY51" fmla="*/ 8433 h 48503"/>
                  <a:gd name="connsiteX52" fmla="*/ 2990 w 64173"/>
                  <a:gd name="connsiteY52" fmla="*/ 7536 h 48503"/>
                  <a:gd name="connsiteX53" fmla="*/ 3529 w 64173"/>
                  <a:gd name="connsiteY53" fmla="*/ 6639 h 48503"/>
                  <a:gd name="connsiteX54" fmla="*/ 3947 w 64173"/>
                  <a:gd name="connsiteY54" fmla="*/ 5981 h 48503"/>
                  <a:gd name="connsiteX55" fmla="*/ 3947 w 64173"/>
                  <a:gd name="connsiteY55" fmla="*/ 5981 h 48503"/>
                  <a:gd name="connsiteX56" fmla="*/ 2691 w 64173"/>
                  <a:gd name="connsiteY56" fmla="*/ 3349 h 48503"/>
                  <a:gd name="connsiteX57" fmla="*/ 2512 w 64173"/>
                  <a:gd name="connsiteY57" fmla="*/ 2990 h 48503"/>
                  <a:gd name="connsiteX58" fmla="*/ 1974 w 64173"/>
                  <a:gd name="connsiteY58" fmla="*/ 1914 h 48503"/>
                  <a:gd name="connsiteX59" fmla="*/ 1076 w 64173"/>
                  <a:gd name="connsiteY59" fmla="*/ 0 h 48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4173" h="48503">
                    <a:moveTo>
                      <a:pt x="64173" y="41686"/>
                    </a:moveTo>
                    <a:lnTo>
                      <a:pt x="62738" y="44138"/>
                    </a:lnTo>
                    <a:lnTo>
                      <a:pt x="62618" y="44377"/>
                    </a:lnTo>
                    <a:lnTo>
                      <a:pt x="61183" y="46829"/>
                    </a:lnTo>
                    <a:lnTo>
                      <a:pt x="60465" y="48025"/>
                    </a:lnTo>
                    <a:lnTo>
                      <a:pt x="60346" y="48085"/>
                    </a:lnTo>
                    <a:lnTo>
                      <a:pt x="60226" y="48085"/>
                    </a:lnTo>
                    <a:lnTo>
                      <a:pt x="58492" y="48504"/>
                    </a:lnTo>
                    <a:lnTo>
                      <a:pt x="57475" y="48264"/>
                    </a:lnTo>
                    <a:lnTo>
                      <a:pt x="54604" y="47666"/>
                    </a:lnTo>
                    <a:lnTo>
                      <a:pt x="54544" y="47666"/>
                    </a:lnTo>
                    <a:lnTo>
                      <a:pt x="54185" y="47547"/>
                    </a:lnTo>
                    <a:lnTo>
                      <a:pt x="54185" y="47547"/>
                    </a:lnTo>
                    <a:lnTo>
                      <a:pt x="54006" y="47487"/>
                    </a:lnTo>
                    <a:lnTo>
                      <a:pt x="51793" y="46650"/>
                    </a:lnTo>
                    <a:lnTo>
                      <a:pt x="48982" y="45633"/>
                    </a:lnTo>
                    <a:lnTo>
                      <a:pt x="48743" y="45513"/>
                    </a:lnTo>
                    <a:lnTo>
                      <a:pt x="47547" y="44975"/>
                    </a:lnTo>
                    <a:lnTo>
                      <a:pt x="44855" y="43719"/>
                    </a:lnTo>
                    <a:lnTo>
                      <a:pt x="42164" y="42463"/>
                    </a:lnTo>
                    <a:lnTo>
                      <a:pt x="41506" y="42164"/>
                    </a:lnTo>
                    <a:lnTo>
                      <a:pt x="38875" y="40788"/>
                    </a:lnTo>
                    <a:lnTo>
                      <a:pt x="36243" y="39413"/>
                    </a:lnTo>
                    <a:lnTo>
                      <a:pt x="33612" y="38037"/>
                    </a:lnTo>
                    <a:lnTo>
                      <a:pt x="33373" y="37918"/>
                    </a:lnTo>
                    <a:lnTo>
                      <a:pt x="30801" y="36423"/>
                    </a:lnTo>
                    <a:lnTo>
                      <a:pt x="28229" y="34927"/>
                    </a:lnTo>
                    <a:lnTo>
                      <a:pt x="25658" y="33432"/>
                    </a:lnTo>
                    <a:lnTo>
                      <a:pt x="24940" y="33014"/>
                    </a:lnTo>
                    <a:lnTo>
                      <a:pt x="22428" y="31399"/>
                    </a:lnTo>
                    <a:lnTo>
                      <a:pt x="19916" y="29784"/>
                    </a:lnTo>
                    <a:lnTo>
                      <a:pt x="18959" y="29186"/>
                    </a:lnTo>
                    <a:lnTo>
                      <a:pt x="16926" y="27870"/>
                    </a:lnTo>
                    <a:lnTo>
                      <a:pt x="14533" y="26136"/>
                    </a:lnTo>
                    <a:lnTo>
                      <a:pt x="12141" y="24401"/>
                    </a:lnTo>
                    <a:lnTo>
                      <a:pt x="10048" y="22906"/>
                    </a:lnTo>
                    <a:lnTo>
                      <a:pt x="7775" y="21052"/>
                    </a:lnTo>
                    <a:lnTo>
                      <a:pt x="7715" y="20992"/>
                    </a:lnTo>
                    <a:lnTo>
                      <a:pt x="5622" y="19258"/>
                    </a:lnTo>
                    <a:lnTo>
                      <a:pt x="4725" y="18540"/>
                    </a:lnTo>
                    <a:lnTo>
                      <a:pt x="3649" y="17404"/>
                    </a:lnTo>
                    <a:lnTo>
                      <a:pt x="3649" y="17404"/>
                    </a:lnTo>
                    <a:lnTo>
                      <a:pt x="3649" y="17404"/>
                    </a:lnTo>
                    <a:lnTo>
                      <a:pt x="1555" y="15311"/>
                    </a:lnTo>
                    <a:lnTo>
                      <a:pt x="1316" y="15071"/>
                    </a:lnTo>
                    <a:lnTo>
                      <a:pt x="718" y="13935"/>
                    </a:lnTo>
                    <a:lnTo>
                      <a:pt x="0" y="12619"/>
                    </a:lnTo>
                    <a:lnTo>
                      <a:pt x="180" y="12260"/>
                    </a:lnTo>
                    <a:lnTo>
                      <a:pt x="419" y="11902"/>
                    </a:lnTo>
                    <a:lnTo>
                      <a:pt x="718" y="11423"/>
                    </a:lnTo>
                    <a:lnTo>
                      <a:pt x="1854" y="9509"/>
                    </a:lnTo>
                    <a:lnTo>
                      <a:pt x="2452" y="8433"/>
                    </a:lnTo>
                    <a:lnTo>
                      <a:pt x="2990" y="7536"/>
                    </a:lnTo>
                    <a:lnTo>
                      <a:pt x="3529" y="6639"/>
                    </a:lnTo>
                    <a:lnTo>
                      <a:pt x="3947" y="5981"/>
                    </a:lnTo>
                    <a:lnTo>
                      <a:pt x="3947" y="5981"/>
                    </a:lnTo>
                    <a:lnTo>
                      <a:pt x="2691" y="3349"/>
                    </a:lnTo>
                    <a:lnTo>
                      <a:pt x="2512" y="2990"/>
                    </a:lnTo>
                    <a:lnTo>
                      <a:pt x="1974" y="1914"/>
                    </a:lnTo>
                    <a:lnTo>
                      <a:pt x="1076" y="0"/>
                    </a:lnTo>
                  </a:path>
                </a:pathLst>
              </a:custGeom>
              <a:noFill/>
              <a:ln w="6350" cap="rnd">
                <a:solidFill>
                  <a:schemeClr val="bg1">
                    <a:alpha val="80000"/>
                  </a:schemeClr>
                </a:solidFill>
                <a:prstDash val="solid"/>
                <a:round/>
              </a:ln>
            </p:spPr>
            <p:txBody>
              <a:bodyPr rtlCol="0" anchor="ctr"/>
              <a:lstStyle/>
              <a:p>
                <a:endParaRPr lang="en-GB"/>
              </a:p>
            </p:txBody>
          </p:sp>
          <p:sp>
            <p:nvSpPr>
              <p:cNvPr id="5623" name="Vrije vorm: vorm 5622">
                <a:extLst>
                  <a:ext uri="{FF2B5EF4-FFF2-40B4-BE49-F238E27FC236}">
                    <a16:creationId xmlns:a16="http://schemas.microsoft.com/office/drawing/2014/main" id="{08F7D9E5-E890-4FD7-83D6-FCFFBD86B6CF}"/>
                  </a:ext>
                </a:extLst>
              </p:cNvPr>
              <p:cNvSpPr/>
              <p:nvPr/>
            </p:nvSpPr>
            <p:spPr>
              <a:xfrm>
                <a:off x="6385636" y="1714175"/>
                <a:ext cx="17463" cy="18600"/>
              </a:xfrm>
              <a:custGeom>
                <a:avLst/>
                <a:gdLst>
                  <a:gd name="connsiteX0" fmla="*/ 17464 w 17463"/>
                  <a:gd name="connsiteY0" fmla="*/ 18600 h 18600"/>
                  <a:gd name="connsiteX1" fmla="*/ 15311 w 17463"/>
                  <a:gd name="connsiteY1" fmla="*/ 16567 h 18600"/>
                  <a:gd name="connsiteX2" fmla="*/ 13158 w 17463"/>
                  <a:gd name="connsiteY2" fmla="*/ 14533 h 18600"/>
                  <a:gd name="connsiteX3" fmla="*/ 11005 w 17463"/>
                  <a:gd name="connsiteY3" fmla="*/ 12500 h 18600"/>
                  <a:gd name="connsiteX4" fmla="*/ 8851 w 17463"/>
                  <a:gd name="connsiteY4" fmla="*/ 10466 h 18600"/>
                  <a:gd name="connsiteX5" fmla="*/ 6698 w 17463"/>
                  <a:gd name="connsiteY5" fmla="*/ 8433 h 18600"/>
                  <a:gd name="connsiteX6" fmla="*/ 4904 w 17463"/>
                  <a:gd name="connsiteY6" fmla="*/ 6758 h 18600"/>
                  <a:gd name="connsiteX7" fmla="*/ 3170 w 17463"/>
                  <a:gd name="connsiteY7" fmla="*/ 5921 h 18600"/>
                  <a:gd name="connsiteX8" fmla="*/ 1017 w 17463"/>
                  <a:gd name="connsiteY8" fmla="*/ 3887 h 18600"/>
                  <a:gd name="connsiteX9" fmla="*/ 180 w 17463"/>
                  <a:gd name="connsiteY9" fmla="*/ 3110 h 18600"/>
                  <a:gd name="connsiteX10" fmla="*/ 60 w 17463"/>
                  <a:gd name="connsiteY10" fmla="*/ 2931 h 18600"/>
                  <a:gd name="connsiteX11" fmla="*/ 0 w 17463"/>
                  <a:gd name="connsiteY11" fmla="*/ 2632 h 18600"/>
                  <a:gd name="connsiteX12" fmla="*/ 0 w 17463"/>
                  <a:gd name="connsiteY12" fmla="*/ 2273 h 18600"/>
                  <a:gd name="connsiteX13" fmla="*/ 60 w 17463"/>
                  <a:gd name="connsiteY13" fmla="*/ 1854 h 18600"/>
                  <a:gd name="connsiteX14" fmla="*/ 180 w 17463"/>
                  <a:gd name="connsiteY14" fmla="*/ 1435 h 18600"/>
                  <a:gd name="connsiteX15" fmla="*/ 359 w 17463"/>
                  <a:gd name="connsiteY15" fmla="*/ 1017 h 18600"/>
                  <a:gd name="connsiteX16" fmla="*/ 598 w 17463"/>
                  <a:gd name="connsiteY16" fmla="*/ 658 h 18600"/>
                  <a:gd name="connsiteX17" fmla="*/ 897 w 17463"/>
                  <a:gd name="connsiteY17" fmla="*/ 359 h 18600"/>
                  <a:gd name="connsiteX18" fmla="*/ 1196 w 17463"/>
                  <a:gd name="connsiteY18" fmla="*/ 120 h 18600"/>
                  <a:gd name="connsiteX19" fmla="*/ 1435 w 17463"/>
                  <a:gd name="connsiteY19" fmla="*/ 0 h 18600"/>
                  <a:gd name="connsiteX20" fmla="*/ 1495 w 17463"/>
                  <a:gd name="connsiteY20" fmla="*/ 0 h 18600"/>
                  <a:gd name="connsiteX21" fmla="*/ 1734 w 17463"/>
                  <a:gd name="connsiteY21" fmla="*/ 0 h 18600"/>
                  <a:gd name="connsiteX22" fmla="*/ 3409 w 17463"/>
                  <a:gd name="connsiteY22" fmla="*/ 837 h 1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63" h="18600">
                    <a:moveTo>
                      <a:pt x="17464" y="18600"/>
                    </a:moveTo>
                    <a:lnTo>
                      <a:pt x="15311" y="16567"/>
                    </a:lnTo>
                    <a:lnTo>
                      <a:pt x="13158" y="14533"/>
                    </a:lnTo>
                    <a:lnTo>
                      <a:pt x="11005" y="12500"/>
                    </a:lnTo>
                    <a:lnTo>
                      <a:pt x="8851" y="10466"/>
                    </a:lnTo>
                    <a:lnTo>
                      <a:pt x="6698" y="8433"/>
                    </a:lnTo>
                    <a:lnTo>
                      <a:pt x="4904" y="6758"/>
                    </a:lnTo>
                    <a:lnTo>
                      <a:pt x="3170" y="5921"/>
                    </a:lnTo>
                    <a:lnTo>
                      <a:pt x="1017" y="3887"/>
                    </a:lnTo>
                    <a:lnTo>
                      <a:pt x="180" y="3110"/>
                    </a:lnTo>
                    <a:lnTo>
                      <a:pt x="60" y="2931"/>
                    </a:lnTo>
                    <a:lnTo>
                      <a:pt x="0" y="2632"/>
                    </a:lnTo>
                    <a:lnTo>
                      <a:pt x="0" y="2273"/>
                    </a:lnTo>
                    <a:lnTo>
                      <a:pt x="60" y="1854"/>
                    </a:lnTo>
                    <a:lnTo>
                      <a:pt x="180" y="1435"/>
                    </a:lnTo>
                    <a:lnTo>
                      <a:pt x="359" y="1017"/>
                    </a:lnTo>
                    <a:lnTo>
                      <a:pt x="598" y="658"/>
                    </a:lnTo>
                    <a:lnTo>
                      <a:pt x="897" y="359"/>
                    </a:lnTo>
                    <a:lnTo>
                      <a:pt x="1196" y="120"/>
                    </a:lnTo>
                    <a:lnTo>
                      <a:pt x="1435" y="0"/>
                    </a:lnTo>
                    <a:lnTo>
                      <a:pt x="1495" y="0"/>
                    </a:lnTo>
                    <a:lnTo>
                      <a:pt x="1734" y="0"/>
                    </a:lnTo>
                    <a:lnTo>
                      <a:pt x="3409" y="837"/>
                    </a:lnTo>
                  </a:path>
                </a:pathLst>
              </a:custGeom>
              <a:noFill/>
              <a:ln w="6350" cap="rnd">
                <a:solidFill>
                  <a:schemeClr val="bg1">
                    <a:alpha val="80000"/>
                  </a:schemeClr>
                </a:solidFill>
                <a:prstDash val="solid"/>
                <a:round/>
              </a:ln>
            </p:spPr>
            <p:txBody>
              <a:bodyPr rtlCol="0" anchor="ctr"/>
              <a:lstStyle/>
              <a:p>
                <a:endParaRPr lang="en-GB"/>
              </a:p>
            </p:txBody>
          </p:sp>
          <p:sp>
            <p:nvSpPr>
              <p:cNvPr id="5624" name="Vrije vorm: vorm 5623">
                <a:extLst>
                  <a:ext uri="{FF2B5EF4-FFF2-40B4-BE49-F238E27FC236}">
                    <a16:creationId xmlns:a16="http://schemas.microsoft.com/office/drawing/2014/main" id="{CE837DAC-FE96-482B-BB68-7996723C91FB}"/>
                  </a:ext>
                </a:extLst>
              </p:cNvPr>
              <p:cNvSpPr/>
              <p:nvPr/>
            </p:nvSpPr>
            <p:spPr>
              <a:xfrm>
                <a:off x="6399452" y="1698685"/>
                <a:ext cx="13695" cy="15310"/>
              </a:xfrm>
              <a:custGeom>
                <a:avLst/>
                <a:gdLst>
                  <a:gd name="connsiteX0" fmla="*/ 5442 w 13695"/>
                  <a:gd name="connsiteY0" fmla="*/ 60 h 15310"/>
                  <a:gd name="connsiteX1" fmla="*/ 5562 w 13695"/>
                  <a:gd name="connsiteY1" fmla="*/ 179 h 15310"/>
                  <a:gd name="connsiteX2" fmla="*/ 6639 w 13695"/>
                  <a:gd name="connsiteY2" fmla="*/ 1076 h 15310"/>
                  <a:gd name="connsiteX3" fmla="*/ 8971 w 13695"/>
                  <a:gd name="connsiteY3" fmla="*/ 2930 h 15310"/>
                  <a:gd name="connsiteX4" fmla="*/ 11304 w 13695"/>
                  <a:gd name="connsiteY4" fmla="*/ 4785 h 15310"/>
                  <a:gd name="connsiteX5" fmla="*/ 13457 w 13695"/>
                  <a:gd name="connsiteY5" fmla="*/ 6519 h 15310"/>
                  <a:gd name="connsiteX6" fmla="*/ 13516 w 13695"/>
                  <a:gd name="connsiteY6" fmla="*/ 6639 h 15310"/>
                  <a:gd name="connsiteX7" fmla="*/ 13576 w 13695"/>
                  <a:gd name="connsiteY7" fmla="*/ 6758 h 15310"/>
                  <a:gd name="connsiteX8" fmla="*/ 13636 w 13695"/>
                  <a:gd name="connsiteY8" fmla="*/ 6878 h 15310"/>
                  <a:gd name="connsiteX9" fmla="*/ 13696 w 13695"/>
                  <a:gd name="connsiteY9" fmla="*/ 7057 h 15310"/>
                  <a:gd name="connsiteX10" fmla="*/ 13696 w 13695"/>
                  <a:gd name="connsiteY10" fmla="*/ 7237 h 15310"/>
                  <a:gd name="connsiteX11" fmla="*/ 13696 w 13695"/>
                  <a:gd name="connsiteY11" fmla="*/ 7416 h 15310"/>
                  <a:gd name="connsiteX12" fmla="*/ 13696 w 13695"/>
                  <a:gd name="connsiteY12" fmla="*/ 7595 h 15310"/>
                  <a:gd name="connsiteX13" fmla="*/ 13636 w 13695"/>
                  <a:gd name="connsiteY13" fmla="*/ 7835 h 15310"/>
                  <a:gd name="connsiteX14" fmla="*/ 13576 w 13695"/>
                  <a:gd name="connsiteY14" fmla="*/ 8074 h 15310"/>
                  <a:gd name="connsiteX15" fmla="*/ 13516 w 13695"/>
                  <a:gd name="connsiteY15" fmla="*/ 8313 h 15310"/>
                  <a:gd name="connsiteX16" fmla="*/ 13397 w 13695"/>
                  <a:gd name="connsiteY16" fmla="*/ 8552 h 15310"/>
                  <a:gd name="connsiteX17" fmla="*/ 13277 w 13695"/>
                  <a:gd name="connsiteY17" fmla="*/ 8732 h 15310"/>
                  <a:gd name="connsiteX18" fmla="*/ 11842 w 13695"/>
                  <a:gd name="connsiteY18" fmla="*/ 11184 h 15310"/>
                  <a:gd name="connsiteX19" fmla="*/ 10406 w 13695"/>
                  <a:gd name="connsiteY19" fmla="*/ 13636 h 15310"/>
                  <a:gd name="connsiteX20" fmla="*/ 10048 w 13695"/>
                  <a:gd name="connsiteY20" fmla="*/ 14294 h 15310"/>
                  <a:gd name="connsiteX21" fmla="*/ 9928 w 13695"/>
                  <a:gd name="connsiteY21" fmla="*/ 14473 h 15310"/>
                  <a:gd name="connsiteX22" fmla="*/ 9808 w 13695"/>
                  <a:gd name="connsiteY22" fmla="*/ 14653 h 15310"/>
                  <a:gd name="connsiteX23" fmla="*/ 9689 w 13695"/>
                  <a:gd name="connsiteY23" fmla="*/ 14832 h 15310"/>
                  <a:gd name="connsiteX24" fmla="*/ 9510 w 13695"/>
                  <a:gd name="connsiteY24" fmla="*/ 15012 h 15310"/>
                  <a:gd name="connsiteX25" fmla="*/ 9330 w 13695"/>
                  <a:gd name="connsiteY25" fmla="*/ 15131 h 15310"/>
                  <a:gd name="connsiteX26" fmla="*/ 9210 w 13695"/>
                  <a:gd name="connsiteY26" fmla="*/ 15191 h 15310"/>
                  <a:gd name="connsiteX27" fmla="*/ 9210 w 13695"/>
                  <a:gd name="connsiteY27" fmla="*/ 15191 h 15310"/>
                  <a:gd name="connsiteX28" fmla="*/ 9031 w 13695"/>
                  <a:gd name="connsiteY28" fmla="*/ 15251 h 15310"/>
                  <a:gd name="connsiteX29" fmla="*/ 8851 w 13695"/>
                  <a:gd name="connsiteY29" fmla="*/ 15311 h 15310"/>
                  <a:gd name="connsiteX30" fmla="*/ 8732 w 13695"/>
                  <a:gd name="connsiteY30" fmla="*/ 15311 h 15310"/>
                  <a:gd name="connsiteX31" fmla="*/ 8612 w 13695"/>
                  <a:gd name="connsiteY31" fmla="*/ 15311 h 15310"/>
                  <a:gd name="connsiteX32" fmla="*/ 8493 w 13695"/>
                  <a:gd name="connsiteY32" fmla="*/ 15251 h 15310"/>
                  <a:gd name="connsiteX33" fmla="*/ 8373 w 13695"/>
                  <a:gd name="connsiteY33" fmla="*/ 15191 h 15310"/>
                  <a:gd name="connsiteX34" fmla="*/ 6100 w 13695"/>
                  <a:gd name="connsiteY34" fmla="*/ 13277 h 15310"/>
                  <a:gd name="connsiteX35" fmla="*/ 3828 w 13695"/>
                  <a:gd name="connsiteY35" fmla="*/ 11363 h 15310"/>
                  <a:gd name="connsiteX36" fmla="*/ 1555 w 13695"/>
                  <a:gd name="connsiteY36" fmla="*/ 9450 h 15310"/>
                  <a:gd name="connsiteX37" fmla="*/ 359 w 13695"/>
                  <a:gd name="connsiteY37" fmla="*/ 8433 h 15310"/>
                  <a:gd name="connsiteX38" fmla="*/ 239 w 13695"/>
                  <a:gd name="connsiteY38" fmla="*/ 8313 h 15310"/>
                  <a:gd name="connsiteX39" fmla="*/ 120 w 13695"/>
                  <a:gd name="connsiteY39" fmla="*/ 8134 h 15310"/>
                  <a:gd name="connsiteX40" fmla="*/ 60 w 13695"/>
                  <a:gd name="connsiteY40" fmla="*/ 7954 h 15310"/>
                  <a:gd name="connsiteX41" fmla="*/ 0 w 13695"/>
                  <a:gd name="connsiteY41" fmla="*/ 7715 h 15310"/>
                  <a:gd name="connsiteX42" fmla="*/ 0 w 13695"/>
                  <a:gd name="connsiteY42" fmla="*/ 7476 h 15310"/>
                  <a:gd name="connsiteX43" fmla="*/ 0 w 13695"/>
                  <a:gd name="connsiteY43" fmla="*/ 7177 h 15310"/>
                  <a:gd name="connsiteX44" fmla="*/ 60 w 13695"/>
                  <a:gd name="connsiteY44" fmla="*/ 6878 h 15310"/>
                  <a:gd name="connsiteX45" fmla="*/ 60 w 13695"/>
                  <a:gd name="connsiteY45" fmla="*/ 6758 h 15310"/>
                  <a:gd name="connsiteX46" fmla="*/ 120 w 13695"/>
                  <a:gd name="connsiteY46" fmla="*/ 6579 h 15310"/>
                  <a:gd name="connsiteX47" fmla="*/ 239 w 13695"/>
                  <a:gd name="connsiteY47" fmla="*/ 6280 h 15310"/>
                  <a:gd name="connsiteX48" fmla="*/ 359 w 13695"/>
                  <a:gd name="connsiteY48" fmla="*/ 5981 h 15310"/>
                  <a:gd name="connsiteX49" fmla="*/ 479 w 13695"/>
                  <a:gd name="connsiteY49" fmla="*/ 5682 h 15310"/>
                  <a:gd name="connsiteX50" fmla="*/ 658 w 13695"/>
                  <a:gd name="connsiteY50" fmla="*/ 5383 h 15310"/>
                  <a:gd name="connsiteX51" fmla="*/ 2093 w 13695"/>
                  <a:gd name="connsiteY51" fmla="*/ 2930 h 15310"/>
                  <a:gd name="connsiteX52" fmla="*/ 2452 w 13695"/>
                  <a:gd name="connsiteY52" fmla="*/ 2273 h 15310"/>
                  <a:gd name="connsiteX53" fmla="*/ 3050 w 13695"/>
                  <a:gd name="connsiteY53" fmla="*/ 1196 h 15310"/>
                  <a:gd name="connsiteX54" fmla="*/ 3289 w 13695"/>
                  <a:gd name="connsiteY54" fmla="*/ 957 h 15310"/>
                  <a:gd name="connsiteX55" fmla="*/ 3529 w 13695"/>
                  <a:gd name="connsiteY55" fmla="*/ 718 h 15310"/>
                  <a:gd name="connsiteX56" fmla="*/ 3768 w 13695"/>
                  <a:gd name="connsiteY56" fmla="*/ 538 h 15310"/>
                  <a:gd name="connsiteX57" fmla="*/ 4007 w 13695"/>
                  <a:gd name="connsiteY57" fmla="*/ 359 h 15310"/>
                  <a:gd name="connsiteX58" fmla="*/ 4246 w 13695"/>
                  <a:gd name="connsiteY58" fmla="*/ 239 h 15310"/>
                  <a:gd name="connsiteX59" fmla="*/ 4486 w 13695"/>
                  <a:gd name="connsiteY59" fmla="*/ 120 h 15310"/>
                  <a:gd name="connsiteX60" fmla="*/ 4725 w 13695"/>
                  <a:gd name="connsiteY60" fmla="*/ 60 h 15310"/>
                  <a:gd name="connsiteX61" fmla="*/ 4904 w 13695"/>
                  <a:gd name="connsiteY61" fmla="*/ 0 h 15310"/>
                  <a:gd name="connsiteX62" fmla="*/ 5083 w 13695"/>
                  <a:gd name="connsiteY62" fmla="*/ 0 h 15310"/>
                  <a:gd name="connsiteX63" fmla="*/ 5263 w 13695"/>
                  <a:gd name="connsiteY63" fmla="*/ 60 h 15310"/>
                  <a:gd name="connsiteX64" fmla="*/ 5442 w 13695"/>
                  <a:gd name="connsiteY64" fmla="*/ 60 h 15310"/>
                  <a:gd name="connsiteX65" fmla="*/ 7476 w 13695"/>
                  <a:gd name="connsiteY65" fmla="*/ 1076 h 1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695" h="15310">
                    <a:moveTo>
                      <a:pt x="5442" y="60"/>
                    </a:moveTo>
                    <a:lnTo>
                      <a:pt x="5562" y="179"/>
                    </a:lnTo>
                    <a:lnTo>
                      <a:pt x="6639" y="1076"/>
                    </a:lnTo>
                    <a:lnTo>
                      <a:pt x="8971" y="2930"/>
                    </a:lnTo>
                    <a:lnTo>
                      <a:pt x="11304" y="4785"/>
                    </a:lnTo>
                    <a:lnTo>
                      <a:pt x="13457" y="6519"/>
                    </a:lnTo>
                    <a:lnTo>
                      <a:pt x="13516" y="6639"/>
                    </a:lnTo>
                    <a:lnTo>
                      <a:pt x="13576" y="6758"/>
                    </a:lnTo>
                    <a:lnTo>
                      <a:pt x="13636" y="6878"/>
                    </a:lnTo>
                    <a:lnTo>
                      <a:pt x="13696" y="7057"/>
                    </a:lnTo>
                    <a:lnTo>
                      <a:pt x="13696" y="7237"/>
                    </a:lnTo>
                    <a:lnTo>
                      <a:pt x="13696" y="7416"/>
                    </a:lnTo>
                    <a:lnTo>
                      <a:pt x="13696" y="7595"/>
                    </a:lnTo>
                    <a:lnTo>
                      <a:pt x="13636" y="7835"/>
                    </a:lnTo>
                    <a:lnTo>
                      <a:pt x="13576" y="8074"/>
                    </a:lnTo>
                    <a:lnTo>
                      <a:pt x="13516" y="8313"/>
                    </a:lnTo>
                    <a:lnTo>
                      <a:pt x="13397" y="8552"/>
                    </a:lnTo>
                    <a:lnTo>
                      <a:pt x="13277" y="8732"/>
                    </a:lnTo>
                    <a:lnTo>
                      <a:pt x="11842" y="11184"/>
                    </a:lnTo>
                    <a:lnTo>
                      <a:pt x="10406" y="13636"/>
                    </a:lnTo>
                    <a:lnTo>
                      <a:pt x="10048" y="14294"/>
                    </a:lnTo>
                    <a:lnTo>
                      <a:pt x="9928" y="14473"/>
                    </a:lnTo>
                    <a:lnTo>
                      <a:pt x="9808" y="14653"/>
                    </a:lnTo>
                    <a:lnTo>
                      <a:pt x="9689" y="14832"/>
                    </a:lnTo>
                    <a:lnTo>
                      <a:pt x="9510" y="15012"/>
                    </a:lnTo>
                    <a:lnTo>
                      <a:pt x="9330" y="15131"/>
                    </a:lnTo>
                    <a:lnTo>
                      <a:pt x="9210" y="15191"/>
                    </a:lnTo>
                    <a:lnTo>
                      <a:pt x="9210" y="15191"/>
                    </a:lnTo>
                    <a:lnTo>
                      <a:pt x="9031" y="15251"/>
                    </a:lnTo>
                    <a:lnTo>
                      <a:pt x="8851" y="15311"/>
                    </a:lnTo>
                    <a:lnTo>
                      <a:pt x="8732" y="15311"/>
                    </a:lnTo>
                    <a:lnTo>
                      <a:pt x="8612" y="15311"/>
                    </a:lnTo>
                    <a:lnTo>
                      <a:pt x="8493" y="15251"/>
                    </a:lnTo>
                    <a:lnTo>
                      <a:pt x="8373" y="15191"/>
                    </a:lnTo>
                    <a:lnTo>
                      <a:pt x="6100" y="13277"/>
                    </a:lnTo>
                    <a:lnTo>
                      <a:pt x="3828" y="11363"/>
                    </a:lnTo>
                    <a:lnTo>
                      <a:pt x="1555" y="9450"/>
                    </a:lnTo>
                    <a:lnTo>
                      <a:pt x="359" y="8433"/>
                    </a:lnTo>
                    <a:lnTo>
                      <a:pt x="239" y="8313"/>
                    </a:lnTo>
                    <a:lnTo>
                      <a:pt x="120" y="8134"/>
                    </a:lnTo>
                    <a:lnTo>
                      <a:pt x="60" y="7954"/>
                    </a:lnTo>
                    <a:lnTo>
                      <a:pt x="0" y="7715"/>
                    </a:lnTo>
                    <a:lnTo>
                      <a:pt x="0" y="7476"/>
                    </a:lnTo>
                    <a:lnTo>
                      <a:pt x="0" y="7177"/>
                    </a:lnTo>
                    <a:lnTo>
                      <a:pt x="60" y="6878"/>
                    </a:lnTo>
                    <a:lnTo>
                      <a:pt x="60" y="6758"/>
                    </a:lnTo>
                    <a:lnTo>
                      <a:pt x="120" y="6579"/>
                    </a:lnTo>
                    <a:lnTo>
                      <a:pt x="239" y="6280"/>
                    </a:lnTo>
                    <a:lnTo>
                      <a:pt x="359" y="5981"/>
                    </a:lnTo>
                    <a:lnTo>
                      <a:pt x="479" y="5682"/>
                    </a:lnTo>
                    <a:lnTo>
                      <a:pt x="658" y="5383"/>
                    </a:lnTo>
                    <a:lnTo>
                      <a:pt x="2093" y="2930"/>
                    </a:lnTo>
                    <a:lnTo>
                      <a:pt x="2452" y="2273"/>
                    </a:lnTo>
                    <a:lnTo>
                      <a:pt x="3050" y="1196"/>
                    </a:lnTo>
                    <a:lnTo>
                      <a:pt x="3289" y="957"/>
                    </a:lnTo>
                    <a:lnTo>
                      <a:pt x="3529" y="718"/>
                    </a:lnTo>
                    <a:lnTo>
                      <a:pt x="3768" y="538"/>
                    </a:lnTo>
                    <a:lnTo>
                      <a:pt x="4007" y="359"/>
                    </a:lnTo>
                    <a:lnTo>
                      <a:pt x="4246" y="239"/>
                    </a:lnTo>
                    <a:lnTo>
                      <a:pt x="4486" y="120"/>
                    </a:lnTo>
                    <a:lnTo>
                      <a:pt x="4725" y="60"/>
                    </a:lnTo>
                    <a:lnTo>
                      <a:pt x="4904" y="0"/>
                    </a:lnTo>
                    <a:lnTo>
                      <a:pt x="5083" y="0"/>
                    </a:lnTo>
                    <a:lnTo>
                      <a:pt x="5263" y="60"/>
                    </a:lnTo>
                    <a:lnTo>
                      <a:pt x="5442" y="60"/>
                    </a:lnTo>
                    <a:lnTo>
                      <a:pt x="7476" y="1076"/>
                    </a:lnTo>
                  </a:path>
                </a:pathLst>
              </a:custGeom>
              <a:noFill/>
              <a:ln w="6350" cap="rnd">
                <a:solidFill>
                  <a:schemeClr val="bg1">
                    <a:alpha val="80000"/>
                  </a:schemeClr>
                </a:solidFill>
                <a:prstDash val="solid"/>
                <a:round/>
              </a:ln>
            </p:spPr>
            <p:txBody>
              <a:bodyPr rtlCol="0" anchor="ctr"/>
              <a:lstStyle/>
              <a:p>
                <a:endParaRPr lang="en-GB"/>
              </a:p>
            </p:txBody>
          </p:sp>
          <p:sp>
            <p:nvSpPr>
              <p:cNvPr id="5625" name="Vrije vorm: vorm 5624">
                <a:extLst>
                  <a:ext uri="{FF2B5EF4-FFF2-40B4-BE49-F238E27FC236}">
                    <a16:creationId xmlns:a16="http://schemas.microsoft.com/office/drawing/2014/main" id="{3EB77E85-E048-4171-B53C-67DE34DA29F5}"/>
                  </a:ext>
                </a:extLst>
              </p:cNvPr>
              <p:cNvSpPr/>
              <p:nvPr/>
            </p:nvSpPr>
            <p:spPr>
              <a:xfrm>
                <a:off x="6437190" y="1765250"/>
                <a:ext cx="16148" cy="7236"/>
              </a:xfrm>
              <a:custGeom>
                <a:avLst/>
                <a:gdLst>
                  <a:gd name="connsiteX0" fmla="*/ 0 w 16148"/>
                  <a:gd name="connsiteY0" fmla="*/ 7237 h 7236"/>
                  <a:gd name="connsiteX1" fmla="*/ 1256 w 16148"/>
                  <a:gd name="connsiteY1" fmla="*/ 5084 h 7236"/>
                  <a:gd name="connsiteX2" fmla="*/ 1615 w 16148"/>
                  <a:gd name="connsiteY2" fmla="*/ 4486 h 7236"/>
                  <a:gd name="connsiteX3" fmla="*/ 1615 w 16148"/>
                  <a:gd name="connsiteY3" fmla="*/ 4486 h 7236"/>
                  <a:gd name="connsiteX4" fmla="*/ 1615 w 16148"/>
                  <a:gd name="connsiteY4" fmla="*/ 4486 h 7236"/>
                  <a:gd name="connsiteX5" fmla="*/ 2811 w 16148"/>
                  <a:gd name="connsiteY5" fmla="*/ 2392 h 7236"/>
                  <a:gd name="connsiteX6" fmla="*/ 3229 w 16148"/>
                  <a:gd name="connsiteY6" fmla="*/ 1675 h 7236"/>
                  <a:gd name="connsiteX7" fmla="*/ 3588 w 16148"/>
                  <a:gd name="connsiteY7" fmla="*/ 1077 h 7236"/>
                  <a:gd name="connsiteX8" fmla="*/ 3888 w 16148"/>
                  <a:gd name="connsiteY8" fmla="*/ 538 h 7236"/>
                  <a:gd name="connsiteX9" fmla="*/ 4246 w 16148"/>
                  <a:gd name="connsiteY9" fmla="*/ 0 h 7236"/>
                  <a:gd name="connsiteX10" fmla="*/ 7177 w 16148"/>
                  <a:gd name="connsiteY10" fmla="*/ 120 h 7236"/>
                  <a:gd name="connsiteX11" fmla="*/ 8971 w 16148"/>
                  <a:gd name="connsiteY11" fmla="*/ 179 h 7236"/>
                  <a:gd name="connsiteX12" fmla="*/ 9031 w 16148"/>
                  <a:gd name="connsiteY12" fmla="*/ 179 h 7236"/>
                  <a:gd name="connsiteX13" fmla="*/ 9569 w 16148"/>
                  <a:gd name="connsiteY13" fmla="*/ 179 h 7236"/>
                  <a:gd name="connsiteX14" fmla="*/ 12440 w 16148"/>
                  <a:gd name="connsiteY14" fmla="*/ 1017 h 7236"/>
                  <a:gd name="connsiteX15" fmla="*/ 15311 w 16148"/>
                  <a:gd name="connsiteY15" fmla="*/ 1854 h 7236"/>
                  <a:gd name="connsiteX16" fmla="*/ 15371 w 16148"/>
                  <a:gd name="connsiteY16" fmla="*/ 1854 h 7236"/>
                  <a:gd name="connsiteX17" fmla="*/ 16148 w 16148"/>
                  <a:gd name="connsiteY17" fmla="*/ 2153 h 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148" h="7236">
                    <a:moveTo>
                      <a:pt x="0" y="7237"/>
                    </a:moveTo>
                    <a:lnTo>
                      <a:pt x="1256" y="5084"/>
                    </a:lnTo>
                    <a:lnTo>
                      <a:pt x="1615" y="4486"/>
                    </a:lnTo>
                    <a:lnTo>
                      <a:pt x="1615" y="4486"/>
                    </a:lnTo>
                    <a:lnTo>
                      <a:pt x="1615" y="4486"/>
                    </a:lnTo>
                    <a:lnTo>
                      <a:pt x="2811" y="2392"/>
                    </a:lnTo>
                    <a:lnTo>
                      <a:pt x="3229" y="1675"/>
                    </a:lnTo>
                    <a:lnTo>
                      <a:pt x="3588" y="1077"/>
                    </a:lnTo>
                    <a:lnTo>
                      <a:pt x="3888" y="538"/>
                    </a:lnTo>
                    <a:lnTo>
                      <a:pt x="4246" y="0"/>
                    </a:lnTo>
                    <a:lnTo>
                      <a:pt x="7177" y="120"/>
                    </a:lnTo>
                    <a:lnTo>
                      <a:pt x="8971" y="179"/>
                    </a:lnTo>
                    <a:lnTo>
                      <a:pt x="9031" y="179"/>
                    </a:lnTo>
                    <a:lnTo>
                      <a:pt x="9569" y="179"/>
                    </a:lnTo>
                    <a:lnTo>
                      <a:pt x="12440" y="1017"/>
                    </a:lnTo>
                    <a:lnTo>
                      <a:pt x="15311" y="1854"/>
                    </a:lnTo>
                    <a:lnTo>
                      <a:pt x="15371" y="1854"/>
                    </a:lnTo>
                    <a:lnTo>
                      <a:pt x="16148" y="2153"/>
                    </a:lnTo>
                  </a:path>
                </a:pathLst>
              </a:custGeom>
              <a:noFill/>
              <a:ln w="6350" cap="rnd">
                <a:solidFill>
                  <a:schemeClr val="bg1">
                    <a:alpha val="80000"/>
                  </a:schemeClr>
                </a:solidFill>
                <a:prstDash val="solid"/>
                <a:round/>
              </a:ln>
            </p:spPr>
            <p:txBody>
              <a:bodyPr rtlCol="0" anchor="ctr"/>
              <a:lstStyle/>
              <a:p>
                <a:endParaRPr lang="en-GB"/>
              </a:p>
            </p:txBody>
          </p:sp>
          <p:sp>
            <p:nvSpPr>
              <p:cNvPr id="5626" name="Vrije vorm: vorm 5625">
                <a:extLst>
                  <a:ext uri="{FF2B5EF4-FFF2-40B4-BE49-F238E27FC236}">
                    <a16:creationId xmlns:a16="http://schemas.microsoft.com/office/drawing/2014/main" id="{BB61F064-5151-4FA0-9FB6-C3275C1B9157}"/>
                  </a:ext>
                </a:extLst>
              </p:cNvPr>
              <p:cNvSpPr/>
              <p:nvPr/>
            </p:nvSpPr>
            <p:spPr>
              <a:xfrm>
                <a:off x="6513564" y="1803407"/>
                <a:ext cx="6578" cy="16147"/>
              </a:xfrm>
              <a:custGeom>
                <a:avLst/>
                <a:gdLst>
                  <a:gd name="connsiteX0" fmla="*/ 0 w 6578"/>
                  <a:gd name="connsiteY0" fmla="*/ 0 h 16147"/>
                  <a:gd name="connsiteX1" fmla="*/ 2213 w 6578"/>
                  <a:gd name="connsiteY1" fmla="*/ 1974 h 16147"/>
                  <a:gd name="connsiteX2" fmla="*/ 3349 w 6578"/>
                  <a:gd name="connsiteY2" fmla="*/ 2990 h 16147"/>
                  <a:gd name="connsiteX3" fmla="*/ 5203 w 6578"/>
                  <a:gd name="connsiteY3" fmla="*/ 5323 h 16147"/>
                  <a:gd name="connsiteX4" fmla="*/ 6220 w 6578"/>
                  <a:gd name="connsiteY4" fmla="*/ 6639 h 16147"/>
                  <a:gd name="connsiteX5" fmla="*/ 6579 w 6578"/>
                  <a:gd name="connsiteY5" fmla="*/ 8911 h 16147"/>
                  <a:gd name="connsiteX6" fmla="*/ 5861 w 6578"/>
                  <a:gd name="connsiteY6" fmla="*/ 10107 h 16147"/>
                  <a:gd name="connsiteX7" fmla="*/ 4844 w 6578"/>
                  <a:gd name="connsiteY7" fmla="*/ 11842 h 16147"/>
                  <a:gd name="connsiteX8" fmla="*/ 4246 w 6578"/>
                  <a:gd name="connsiteY8" fmla="*/ 12859 h 16147"/>
                  <a:gd name="connsiteX9" fmla="*/ 4246 w 6578"/>
                  <a:gd name="connsiteY9" fmla="*/ 12859 h 16147"/>
                  <a:gd name="connsiteX10" fmla="*/ 2811 w 6578"/>
                  <a:gd name="connsiteY10" fmla="*/ 15311 h 16147"/>
                  <a:gd name="connsiteX11" fmla="*/ 2273 w 6578"/>
                  <a:gd name="connsiteY11" fmla="*/ 16148 h 16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78" h="16147">
                    <a:moveTo>
                      <a:pt x="0" y="0"/>
                    </a:moveTo>
                    <a:lnTo>
                      <a:pt x="2213" y="1974"/>
                    </a:lnTo>
                    <a:lnTo>
                      <a:pt x="3349" y="2990"/>
                    </a:lnTo>
                    <a:lnTo>
                      <a:pt x="5203" y="5323"/>
                    </a:lnTo>
                    <a:lnTo>
                      <a:pt x="6220" y="6639"/>
                    </a:lnTo>
                    <a:lnTo>
                      <a:pt x="6579" y="8911"/>
                    </a:lnTo>
                    <a:lnTo>
                      <a:pt x="5861" y="10107"/>
                    </a:lnTo>
                    <a:lnTo>
                      <a:pt x="4844" y="11842"/>
                    </a:lnTo>
                    <a:lnTo>
                      <a:pt x="4246" y="12859"/>
                    </a:lnTo>
                    <a:lnTo>
                      <a:pt x="4246" y="12859"/>
                    </a:lnTo>
                    <a:lnTo>
                      <a:pt x="2811" y="15311"/>
                    </a:lnTo>
                    <a:lnTo>
                      <a:pt x="2273" y="16148"/>
                    </a:lnTo>
                  </a:path>
                </a:pathLst>
              </a:custGeom>
              <a:noFill/>
              <a:ln w="6350" cap="rnd">
                <a:solidFill>
                  <a:schemeClr val="bg1">
                    <a:alpha val="80000"/>
                  </a:schemeClr>
                </a:solidFill>
                <a:prstDash val="solid"/>
                <a:round/>
              </a:ln>
            </p:spPr>
            <p:txBody>
              <a:bodyPr rtlCol="0" anchor="ctr"/>
              <a:lstStyle/>
              <a:p>
                <a:endParaRPr lang="en-GB"/>
              </a:p>
            </p:txBody>
          </p:sp>
          <p:sp>
            <p:nvSpPr>
              <p:cNvPr id="5627" name="Vrije vorm: vorm 5626">
                <a:extLst>
                  <a:ext uri="{FF2B5EF4-FFF2-40B4-BE49-F238E27FC236}">
                    <a16:creationId xmlns:a16="http://schemas.microsoft.com/office/drawing/2014/main" id="{966DCDFB-1756-4B84-A647-DC4354D1DBDC}"/>
                  </a:ext>
                </a:extLst>
              </p:cNvPr>
              <p:cNvSpPr/>
              <p:nvPr/>
            </p:nvSpPr>
            <p:spPr>
              <a:xfrm>
                <a:off x="6441556" y="1765250"/>
                <a:ext cx="78526" cy="47785"/>
              </a:xfrm>
              <a:custGeom>
                <a:avLst/>
                <a:gdLst>
                  <a:gd name="connsiteX0" fmla="*/ 78527 w 78526"/>
                  <a:gd name="connsiteY0" fmla="*/ 47068 h 47785"/>
                  <a:gd name="connsiteX1" fmla="*/ 76912 w 78526"/>
                  <a:gd name="connsiteY1" fmla="*/ 47547 h 47785"/>
                  <a:gd name="connsiteX2" fmla="*/ 76195 w 78526"/>
                  <a:gd name="connsiteY2" fmla="*/ 47786 h 47785"/>
                  <a:gd name="connsiteX3" fmla="*/ 73683 w 78526"/>
                  <a:gd name="connsiteY3" fmla="*/ 47308 h 47785"/>
                  <a:gd name="connsiteX4" fmla="*/ 71171 w 78526"/>
                  <a:gd name="connsiteY4" fmla="*/ 46829 h 47785"/>
                  <a:gd name="connsiteX5" fmla="*/ 70632 w 78526"/>
                  <a:gd name="connsiteY5" fmla="*/ 46650 h 47785"/>
                  <a:gd name="connsiteX6" fmla="*/ 68898 w 78526"/>
                  <a:gd name="connsiteY6" fmla="*/ 45992 h 47785"/>
                  <a:gd name="connsiteX7" fmla="*/ 67702 w 78526"/>
                  <a:gd name="connsiteY7" fmla="*/ 45573 h 47785"/>
                  <a:gd name="connsiteX8" fmla="*/ 66625 w 78526"/>
                  <a:gd name="connsiteY8" fmla="*/ 45154 h 47785"/>
                  <a:gd name="connsiteX9" fmla="*/ 65310 w 78526"/>
                  <a:gd name="connsiteY9" fmla="*/ 44676 h 47785"/>
                  <a:gd name="connsiteX10" fmla="*/ 63815 w 78526"/>
                  <a:gd name="connsiteY10" fmla="*/ 44138 h 47785"/>
                  <a:gd name="connsiteX11" fmla="*/ 61123 w 78526"/>
                  <a:gd name="connsiteY11" fmla="*/ 42882 h 47785"/>
                  <a:gd name="connsiteX12" fmla="*/ 58432 w 78526"/>
                  <a:gd name="connsiteY12" fmla="*/ 41626 h 47785"/>
                  <a:gd name="connsiteX13" fmla="*/ 55740 w 78526"/>
                  <a:gd name="connsiteY13" fmla="*/ 40370 h 47785"/>
                  <a:gd name="connsiteX14" fmla="*/ 54425 w 78526"/>
                  <a:gd name="connsiteY14" fmla="*/ 39772 h 47785"/>
                  <a:gd name="connsiteX15" fmla="*/ 51793 w 78526"/>
                  <a:gd name="connsiteY15" fmla="*/ 38396 h 47785"/>
                  <a:gd name="connsiteX16" fmla="*/ 50956 w 78526"/>
                  <a:gd name="connsiteY16" fmla="*/ 37978 h 47785"/>
                  <a:gd name="connsiteX17" fmla="*/ 48324 w 78526"/>
                  <a:gd name="connsiteY17" fmla="*/ 36602 h 47785"/>
                  <a:gd name="connsiteX18" fmla="*/ 45693 w 78526"/>
                  <a:gd name="connsiteY18" fmla="*/ 35226 h 47785"/>
                  <a:gd name="connsiteX19" fmla="*/ 43779 w 78526"/>
                  <a:gd name="connsiteY19" fmla="*/ 34210 h 47785"/>
                  <a:gd name="connsiteX20" fmla="*/ 41207 w 78526"/>
                  <a:gd name="connsiteY20" fmla="*/ 32715 h 47785"/>
                  <a:gd name="connsiteX21" fmla="*/ 38636 w 78526"/>
                  <a:gd name="connsiteY21" fmla="*/ 31219 h 47785"/>
                  <a:gd name="connsiteX22" fmla="*/ 36064 w 78526"/>
                  <a:gd name="connsiteY22" fmla="*/ 29724 h 47785"/>
                  <a:gd name="connsiteX23" fmla="*/ 33492 w 78526"/>
                  <a:gd name="connsiteY23" fmla="*/ 28229 h 47785"/>
                  <a:gd name="connsiteX24" fmla="*/ 32775 w 78526"/>
                  <a:gd name="connsiteY24" fmla="*/ 27810 h 47785"/>
                  <a:gd name="connsiteX25" fmla="*/ 30262 w 78526"/>
                  <a:gd name="connsiteY25" fmla="*/ 26196 h 47785"/>
                  <a:gd name="connsiteX26" fmla="*/ 27751 w 78526"/>
                  <a:gd name="connsiteY26" fmla="*/ 24581 h 47785"/>
                  <a:gd name="connsiteX27" fmla="*/ 25239 w 78526"/>
                  <a:gd name="connsiteY27" fmla="*/ 22966 h 47785"/>
                  <a:gd name="connsiteX28" fmla="*/ 22727 w 78526"/>
                  <a:gd name="connsiteY28" fmla="*/ 21351 h 47785"/>
                  <a:gd name="connsiteX29" fmla="*/ 22308 w 78526"/>
                  <a:gd name="connsiteY29" fmla="*/ 21052 h 47785"/>
                  <a:gd name="connsiteX30" fmla="*/ 21591 w 78526"/>
                  <a:gd name="connsiteY30" fmla="*/ 20514 h 47785"/>
                  <a:gd name="connsiteX31" fmla="*/ 19198 w 78526"/>
                  <a:gd name="connsiteY31" fmla="*/ 18779 h 47785"/>
                  <a:gd name="connsiteX32" fmla="*/ 16806 w 78526"/>
                  <a:gd name="connsiteY32" fmla="*/ 17045 h 47785"/>
                  <a:gd name="connsiteX33" fmla="*/ 14414 w 78526"/>
                  <a:gd name="connsiteY33" fmla="*/ 15311 h 47785"/>
                  <a:gd name="connsiteX34" fmla="*/ 13397 w 78526"/>
                  <a:gd name="connsiteY34" fmla="*/ 14593 h 47785"/>
                  <a:gd name="connsiteX35" fmla="*/ 11124 w 78526"/>
                  <a:gd name="connsiteY35" fmla="*/ 12739 h 47785"/>
                  <a:gd name="connsiteX36" fmla="*/ 8852 w 78526"/>
                  <a:gd name="connsiteY36" fmla="*/ 10885 h 47785"/>
                  <a:gd name="connsiteX37" fmla="*/ 7656 w 78526"/>
                  <a:gd name="connsiteY37" fmla="*/ 9928 h 47785"/>
                  <a:gd name="connsiteX38" fmla="*/ 7476 w 78526"/>
                  <a:gd name="connsiteY38" fmla="*/ 9808 h 47785"/>
                  <a:gd name="connsiteX39" fmla="*/ 6519 w 78526"/>
                  <a:gd name="connsiteY39" fmla="*/ 9031 h 47785"/>
                  <a:gd name="connsiteX40" fmla="*/ 6100 w 78526"/>
                  <a:gd name="connsiteY40" fmla="*/ 8612 h 47785"/>
                  <a:gd name="connsiteX41" fmla="*/ 5742 w 78526"/>
                  <a:gd name="connsiteY41" fmla="*/ 8253 h 47785"/>
                  <a:gd name="connsiteX42" fmla="*/ 4904 w 78526"/>
                  <a:gd name="connsiteY42" fmla="*/ 7356 h 47785"/>
                  <a:gd name="connsiteX43" fmla="*/ 2871 w 78526"/>
                  <a:gd name="connsiteY43" fmla="*/ 5203 h 47785"/>
                  <a:gd name="connsiteX44" fmla="*/ 1136 w 78526"/>
                  <a:gd name="connsiteY44" fmla="*/ 3409 h 47785"/>
                  <a:gd name="connsiteX45" fmla="*/ 239 w 78526"/>
                  <a:gd name="connsiteY45" fmla="*/ 2512 h 47785"/>
                  <a:gd name="connsiteX46" fmla="*/ 180 w 78526"/>
                  <a:gd name="connsiteY46" fmla="*/ 2093 h 47785"/>
                  <a:gd name="connsiteX47" fmla="*/ 120 w 78526"/>
                  <a:gd name="connsiteY47" fmla="*/ 1376 h 47785"/>
                  <a:gd name="connsiteX48" fmla="*/ 60 w 78526"/>
                  <a:gd name="connsiteY48" fmla="*/ 718 h 47785"/>
                  <a:gd name="connsiteX49" fmla="*/ 0 w 78526"/>
                  <a:gd name="connsiteY49" fmla="*/ 0 h 4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8526" h="47785">
                    <a:moveTo>
                      <a:pt x="78527" y="47068"/>
                    </a:moveTo>
                    <a:lnTo>
                      <a:pt x="76912" y="47547"/>
                    </a:lnTo>
                    <a:lnTo>
                      <a:pt x="76195" y="47786"/>
                    </a:lnTo>
                    <a:lnTo>
                      <a:pt x="73683" y="47308"/>
                    </a:lnTo>
                    <a:lnTo>
                      <a:pt x="71171" y="46829"/>
                    </a:lnTo>
                    <a:lnTo>
                      <a:pt x="70632" y="46650"/>
                    </a:lnTo>
                    <a:lnTo>
                      <a:pt x="68898" y="45992"/>
                    </a:lnTo>
                    <a:lnTo>
                      <a:pt x="67702" y="45573"/>
                    </a:lnTo>
                    <a:lnTo>
                      <a:pt x="66625" y="45154"/>
                    </a:lnTo>
                    <a:lnTo>
                      <a:pt x="65310" y="44676"/>
                    </a:lnTo>
                    <a:lnTo>
                      <a:pt x="63815" y="44138"/>
                    </a:lnTo>
                    <a:lnTo>
                      <a:pt x="61123" y="42882"/>
                    </a:lnTo>
                    <a:lnTo>
                      <a:pt x="58432" y="41626"/>
                    </a:lnTo>
                    <a:lnTo>
                      <a:pt x="55740" y="40370"/>
                    </a:lnTo>
                    <a:lnTo>
                      <a:pt x="54425" y="39772"/>
                    </a:lnTo>
                    <a:lnTo>
                      <a:pt x="51793" y="38396"/>
                    </a:lnTo>
                    <a:lnTo>
                      <a:pt x="50956" y="37978"/>
                    </a:lnTo>
                    <a:lnTo>
                      <a:pt x="48324" y="36602"/>
                    </a:lnTo>
                    <a:lnTo>
                      <a:pt x="45693" y="35226"/>
                    </a:lnTo>
                    <a:lnTo>
                      <a:pt x="43779" y="34210"/>
                    </a:lnTo>
                    <a:lnTo>
                      <a:pt x="41207" y="32715"/>
                    </a:lnTo>
                    <a:lnTo>
                      <a:pt x="38636" y="31219"/>
                    </a:lnTo>
                    <a:lnTo>
                      <a:pt x="36064" y="29724"/>
                    </a:lnTo>
                    <a:lnTo>
                      <a:pt x="33492" y="28229"/>
                    </a:lnTo>
                    <a:lnTo>
                      <a:pt x="32775" y="27810"/>
                    </a:lnTo>
                    <a:lnTo>
                      <a:pt x="30262" y="26196"/>
                    </a:lnTo>
                    <a:lnTo>
                      <a:pt x="27751" y="24581"/>
                    </a:lnTo>
                    <a:lnTo>
                      <a:pt x="25239" y="22966"/>
                    </a:lnTo>
                    <a:lnTo>
                      <a:pt x="22727" y="21351"/>
                    </a:lnTo>
                    <a:lnTo>
                      <a:pt x="22308" y="21052"/>
                    </a:lnTo>
                    <a:lnTo>
                      <a:pt x="21591" y="20514"/>
                    </a:lnTo>
                    <a:lnTo>
                      <a:pt x="19198" y="18779"/>
                    </a:lnTo>
                    <a:lnTo>
                      <a:pt x="16806" y="17045"/>
                    </a:lnTo>
                    <a:lnTo>
                      <a:pt x="14414" y="15311"/>
                    </a:lnTo>
                    <a:lnTo>
                      <a:pt x="13397" y="14593"/>
                    </a:lnTo>
                    <a:lnTo>
                      <a:pt x="11124" y="12739"/>
                    </a:lnTo>
                    <a:lnTo>
                      <a:pt x="8852" y="10885"/>
                    </a:lnTo>
                    <a:lnTo>
                      <a:pt x="7656" y="9928"/>
                    </a:lnTo>
                    <a:lnTo>
                      <a:pt x="7476" y="9808"/>
                    </a:lnTo>
                    <a:lnTo>
                      <a:pt x="6519" y="9031"/>
                    </a:lnTo>
                    <a:lnTo>
                      <a:pt x="6100" y="8612"/>
                    </a:lnTo>
                    <a:lnTo>
                      <a:pt x="5742" y="8253"/>
                    </a:lnTo>
                    <a:lnTo>
                      <a:pt x="4904" y="7356"/>
                    </a:lnTo>
                    <a:lnTo>
                      <a:pt x="2871" y="5203"/>
                    </a:lnTo>
                    <a:lnTo>
                      <a:pt x="1136" y="3409"/>
                    </a:lnTo>
                    <a:lnTo>
                      <a:pt x="239" y="2512"/>
                    </a:lnTo>
                    <a:lnTo>
                      <a:pt x="180" y="2093"/>
                    </a:lnTo>
                    <a:lnTo>
                      <a:pt x="120" y="1376"/>
                    </a:lnTo>
                    <a:lnTo>
                      <a:pt x="60" y="71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28" name="Vrije vorm: vorm 5627">
                <a:extLst>
                  <a:ext uri="{FF2B5EF4-FFF2-40B4-BE49-F238E27FC236}">
                    <a16:creationId xmlns:a16="http://schemas.microsoft.com/office/drawing/2014/main" id="{64CE165F-659B-4084-A4C8-99A442411005}"/>
                  </a:ext>
                </a:extLst>
              </p:cNvPr>
              <p:cNvSpPr/>
              <p:nvPr/>
            </p:nvSpPr>
            <p:spPr>
              <a:xfrm>
                <a:off x="6513325" y="1799878"/>
                <a:ext cx="12559" cy="1016"/>
              </a:xfrm>
              <a:custGeom>
                <a:avLst/>
                <a:gdLst>
                  <a:gd name="connsiteX0" fmla="*/ 12560 w 12559"/>
                  <a:gd name="connsiteY0" fmla="*/ 0 h 1016"/>
                  <a:gd name="connsiteX1" fmla="*/ 11124 w 12559"/>
                  <a:gd name="connsiteY1" fmla="*/ 299 h 1016"/>
                  <a:gd name="connsiteX2" fmla="*/ 8194 w 12559"/>
                  <a:gd name="connsiteY2" fmla="*/ 478 h 1016"/>
                  <a:gd name="connsiteX3" fmla="*/ 5263 w 12559"/>
                  <a:gd name="connsiteY3" fmla="*/ 658 h 1016"/>
                  <a:gd name="connsiteX4" fmla="*/ 2333 w 12559"/>
                  <a:gd name="connsiteY4" fmla="*/ 837 h 1016"/>
                  <a:gd name="connsiteX5" fmla="*/ 1735 w 12559"/>
                  <a:gd name="connsiteY5" fmla="*/ 897 h 1016"/>
                  <a:gd name="connsiteX6" fmla="*/ 0 w 12559"/>
                  <a:gd name="connsiteY6" fmla="*/ 1017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9" h="1016">
                    <a:moveTo>
                      <a:pt x="12560" y="0"/>
                    </a:moveTo>
                    <a:lnTo>
                      <a:pt x="11124" y="299"/>
                    </a:lnTo>
                    <a:lnTo>
                      <a:pt x="8194" y="478"/>
                    </a:lnTo>
                    <a:lnTo>
                      <a:pt x="5263" y="658"/>
                    </a:lnTo>
                    <a:lnTo>
                      <a:pt x="2333" y="837"/>
                    </a:lnTo>
                    <a:lnTo>
                      <a:pt x="1735" y="897"/>
                    </a:lnTo>
                    <a:lnTo>
                      <a:pt x="0" y="1017"/>
                    </a:lnTo>
                  </a:path>
                </a:pathLst>
              </a:custGeom>
              <a:noFill/>
              <a:ln w="6350" cap="rnd">
                <a:solidFill>
                  <a:schemeClr val="bg1">
                    <a:alpha val="80000"/>
                  </a:schemeClr>
                </a:solidFill>
                <a:prstDash val="solid"/>
                <a:round/>
              </a:ln>
            </p:spPr>
            <p:txBody>
              <a:bodyPr rtlCol="0" anchor="ctr"/>
              <a:lstStyle/>
              <a:p>
                <a:endParaRPr lang="en-GB"/>
              </a:p>
            </p:txBody>
          </p:sp>
          <p:sp>
            <p:nvSpPr>
              <p:cNvPr id="5629" name="Vrije vorm: vorm 5628">
                <a:extLst>
                  <a:ext uri="{FF2B5EF4-FFF2-40B4-BE49-F238E27FC236}">
                    <a16:creationId xmlns:a16="http://schemas.microsoft.com/office/drawing/2014/main" id="{DE760690-5DE1-4EC7-810D-1067A28E0DA0}"/>
                  </a:ext>
                </a:extLst>
              </p:cNvPr>
              <p:cNvSpPr/>
              <p:nvPr/>
            </p:nvSpPr>
            <p:spPr>
              <a:xfrm>
                <a:off x="6419906" y="1671293"/>
                <a:ext cx="6519" cy="13456"/>
              </a:xfrm>
              <a:custGeom>
                <a:avLst/>
                <a:gdLst>
                  <a:gd name="connsiteX0" fmla="*/ 0 w 6519"/>
                  <a:gd name="connsiteY0" fmla="*/ 13457 h 13456"/>
                  <a:gd name="connsiteX1" fmla="*/ 1017 w 6519"/>
                  <a:gd name="connsiteY1" fmla="*/ 12918 h 13456"/>
                  <a:gd name="connsiteX2" fmla="*/ 1017 w 6519"/>
                  <a:gd name="connsiteY2" fmla="*/ 12918 h 13456"/>
                  <a:gd name="connsiteX3" fmla="*/ 2273 w 6519"/>
                  <a:gd name="connsiteY3" fmla="*/ 11842 h 13456"/>
                  <a:gd name="connsiteX4" fmla="*/ 2990 w 6519"/>
                  <a:gd name="connsiteY4" fmla="*/ 11005 h 13456"/>
                  <a:gd name="connsiteX5" fmla="*/ 3469 w 6519"/>
                  <a:gd name="connsiteY5" fmla="*/ 10466 h 13456"/>
                  <a:gd name="connsiteX6" fmla="*/ 3708 w 6519"/>
                  <a:gd name="connsiteY6" fmla="*/ 10167 h 13456"/>
                  <a:gd name="connsiteX7" fmla="*/ 4605 w 6519"/>
                  <a:gd name="connsiteY7" fmla="*/ 8851 h 13456"/>
                  <a:gd name="connsiteX8" fmla="*/ 5503 w 6519"/>
                  <a:gd name="connsiteY8" fmla="*/ 7057 h 13456"/>
                  <a:gd name="connsiteX9" fmla="*/ 5981 w 6519"/>
                  <a:gd name="connsiteY9" fmla="*/ 5741 h 13456"/>
                  <a:gd name="connsiteX10" fmla="*/ 6160 w 6519"/>
                  <a:gd name="connsiteY10" fmla="*/ 5263 h 13456"/>
                  <a:gd name="connsiteX11" fmla="*/ 6519 w 6519"/>
                  <a:gd name="connsiteY11" fmla="*/ 3588 h 13456"/>
                  <a:gd name="connsiteX12" fmla="*/ 6519 w 6519"/>
                  <a:gd name="connsiteY12" fmla="*/ 2990 h 13456"/>
                  <a:gd name="connsiteX13" fmla="*/ 6519 w 6519"/>
                  <a:gd name="connsiteY13" fmla="*/ 2093 h 13456"/>
                  <a:gd name="connsiteX14" fmla="*/ 6220 w 6519"/>
                  <a:gd name="connsiteY14" fmla="*/ 957 h 13456"/>
                  <a:gd name="connsiteX15" fmla="*/ 5622 w 6519"/>
                  <a:gd name="connsiteY15" fmla="*/ 239 h 13456"/>
                  <a:gd name="connsiteX16" fmla="*/ 4785 w 6519"/>
                  <a:gd name="connsiteY16" fmla="*/ 0 h 13456"/>
                  <a:gd name="connsiteX17" fmla="*/ 3708 w 6519"/>
                  <a:gd name="connsiteY17" fmla="*/ 239 h 13456"/>
                  <a:gd name="connsiteX18" fmla="*/ 2632 w 6519"/>
                  <a:gd name="connsiteY18" fmla="*/ 837 h 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19" h="13456">
                    <a:moveTo>
                      <a:pt x="0" y="13457"/>
                    </a:moveTo>
                    <a:lnTo>
                      <a:pt x="1017" y="12918"/>
                    </a:lnTo>
                    <a:lnTo>
                      <a:pt x="1017" y="12918"/>
                    </a:lnTo>
                    <a:lnTo>
                      <a:pt x="2273" y="11842"/>
                    </a:lnTo>
                    <a:lnTo>
                      <a:pt x="2990" y="11005"/>
                    </a:lnTo>
                    <a:lnTo>
                      <a:pt x="3469" y="10466"/>
                    </a:lnTo>
                    <a:lnTo>
                      <a:pt x="3708" y="10167"/>
                    </a:lnTo>
                    <a:lnTo>
                      <a:pt x="4605" y="8851"/>
                    </a:lnTo>
                    <a:lnTo>
                      <a:pt x="5503" y="7057"/>
                    </a:lnTo>
                    <a:lnTo>
                      <a:pt x="5981" y="5741"/>
                    </a:lnTo>
                    <a:lnTo>
                      <a:pt x="6160" y="5263"/>
                    </a:lnTo>
                    <a:lnTo>
                      <a:pt x="6519" y="3588"/>
                    </a:lnTo>
                    <a:lnTo>
                      <a:pt x="6519" y="2990"/>
                    </a:lnTo>
                    <a:lnTo>
                      <a:pt x="6519" y="2093"/>
                    </a:lnTo>
                    <a:lnTo>
                      <a:pt x="6220" y="957"/>
                    </a:lnTo>
                    <a:lnTo>
                      <a:pt x="5622" y="239"/>
                    </a:lnTo>
                    <a:lnTo>
                      <a:pt x="4785" y="0"/>
                    </a:lnTo>
                    <a:lnTo>
                      <a:pt x="3708" y="239"/>
                    </a:lnTo>
                    <a:lnTo>
                      <a:pt x="2632" y="837"/>
                    </a:lnTo>
                  </a:path>
                </a:pathLst>
              </a:custGeom>
              <a:noFill/>
              <a:ln w="6350" cap="rnd">
                <a:solidFill>
                  <a:schemeClr val="bg1">
                    <a:alpha val="80000"/>
                  </a:schemeClr>
                </a:solidFill>
                <a:prstDash val="solid"/>
                <a:round/>
              </a:ln>
            </p:spPr>
            <p:txBody>
              <a:bodyPr rtlCol="0" anchor="ctr"/>
              <a:lstStyle/>
              <a:p>
                <a:endParaRPr lang="en-GB"/>
              </a:p>
            </p:txBody>
          </p:sp>
          <p:sp>
            <p:nvSpPr>
              <p:cNvPr id="5630" name="Vrije vorm: vorm 5629">
                <a:extLst>
                  <a:ext uri="{FF2B5EF4-FFF2-40B4-BE49-F238E27FC236}">
                    <a16:creationId xmlns:a16="http://schemas.microsoft.com/office/drawing/2014/main" id="{F56E8F76-5E2B-4FF7-B076-7BD1D0B5E558}"/>
                  </a:ext>
                </a:extLst>
              </p:cNvPr>
              <p:cNvSpPr/>
              <p:nvPr/>
            </p:nvSpPr>
            <p:spPr>
              <a:xfrm>
                <a:off x="6417753" y="1669260"/>
                <a:ext cx="7595" cy="13994"/>
              </a:xfrm>
              <a:custGeom>
                <a:avLst/>
                <a:gdLst>
                  <a:gd name="connsiteX0" fmla="*/ 1974 w 7595"/>
                  <a:gd name="connsiteY0" fmla="*/ 13995 h 13994"/>
                  <a:gd name="connsiteX1" fmla="*/ 2512 w 7595"/>
                  <a:gd name="connsiteY1" fmla="*/ 13875 h 13994"/>
                  <a:gd name="connsiteX2" fmla="*/ 3409 w 7595"/>
                  <a:gd name="connsiteY2" fmla="*/ 13397 h 13994"/>
                  <a:gd name="connsiteX3" fmla="*/ 4366 w 7595"/>
                  <a:gd name="connsiteY3" fmla="*/ 12619 h 13994"/>
                  <a:gd name="connsiteX4" fmla="*/ 4426 w 7595"/>
                  <a:gd name="connsiteY4" fmla="*/ 12559 h 13994"/>
                  <a:gd name="connsiteX5" fmla="*/ 5024 w 7595"/>
                  <a:gd name="connsiteY5" fmla="*/ 11902 h 13994"/>
                  <a:gd name="connsiteX6" fmla="*/ 5323 w 7595"/>
                  <a:gd name="connsiteY6" fmla="*/ 11543 h 13994"/>
                  <a:gd name="connsiteX7" fmla="*/ 6160 w 7595"/>
                  <a:gd name="connsiteY7" fmla="*/ 10287 h 13994"/>
                  <a:gd name="connsiteX8" fmla="*/ 6878 w 7595"/>
                  <a:gd name="connsiteY8" fmla="*/ 8911 h 13994"/>
                  <a:gd name="connsiteX9" fmla="*/ 7356 w 7595"/>
                  <a:gd name="connsiteY9" fmla="*/ 7536 h 13994"/>
                  <a:gd name="connsiteX10" fmla="*/ 7416 w 7595"/>
                  <a:gd name="connsiteY10" fmla="*/ 7117 h 13994"/>
                  <a:gd name="connsiteX11" fmla="*/ 7596 w 7595"/>
                  <a:gd name="connsiteY11" fmla="*/ 6280 h 13994"/>
                  <a:gd name="connsiteX12" fmla="*/ 7596 w 7595"/>
                  <a:gd name="connsiteY12" fmla="*/ 5203 h 13994"/>
                  <a:gd name="connsiteX13" fmla="*/ 7356 w 7595"/>
                  <a:gd name="connsiteY13" fmla="*/ 4366 h 13994"/>
                  <a:gd name="connsiteX14" fmla="*/ 6878 w 7595"/>
                  <a:gd name="connsiteY14" fmla="*/ 3828 h 13994"/>
                  <a:gd name="connsiteX15" fmla="*/ 4844 w 7595"/>
                  <a:gd name="connsiteY15" fmla="*/ 2691 h 13994"/>
                  <a:gd name="connsiteX16" fmla="*/ 2273 w 7595"/>
                  <a:gd name="connsiteY16" fmla="*/ 1256 h 13994"/>
                  <a:gd name="connsiteX17" fmla="*/ 0 w 7595"/>
                  <a:gd name="connsiteY17" fmla="*/ 0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95" h="13994">
                    <a:moveTo>
                      <a:pt x="1974" y="13995"/>
                    </a:moveTo>
                    <a:lnTo>
                      <a:pt x="2512" y="13875"/>
                    </a:lnTo>
                    <a:lnTo>
                      <a:pt x="3409" y="13397"/>
                    </a:lnTo>
                    <a:lnTo>
                      <a:pt x="4366" y="12619"/>
                    </a:lnTo>
                    <a:lnTo>
                      <a:pt x="4426" y="12559"/>
                    </a:lnTo>
                    <a:lnTo>
                      <a:pt x="5024" y="11902"/>
                    </a:lnTo>
                    <a:lnTo>
                      <a:pt x="5323" y="11543"/>
                    </a:lnTo>
                    <a:lnTo>
                      <a:pt x="6160" y="10287"/>
                    </a:lnTo>
                    <a:lnTo>
                      <a:pt x="6878" y="8911"/>
                    </a:lnTo>
                    <a:lnTo>
                      <a:pt x="7356" y="7536"/>
                    </a:lnTo>
                    <a:lnTo>
                      <a:pt x="7416" y="7117"/>
                    </a:lnTo>
                    <a:lnTo>
                      <a:pt x="7596" y="6280"/>
                    </a:lnTo>
                    <a:lnTo>
                      <a:pt x="7596" y="5203"/>
                    </a:lnTo>
                    <a:lnTo>
                      <a:pt x="7356" y="4366"/>
                    </a:lnTo>
                    <a:lnTo>
                      <a:pt x="6878" y="3828"/>
                    </a:lnTo>
                    <a:lnTo>
                      <a:pt x="4844" y="2691"/>
                    </a:lnTo>
                    <a:lnTo>
                      <a:pt x="2273" y="125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31" name="Vrije vorm: vorm 5630">
                <a:extLst>
                  <a:ext uri="{FF2B5EF4-FFF2-40B4-BE49-F238E27FC236}">
                    <a16:creationId xmlns:a16="http://schemas.microsoft.com/office/drawing/2014/main" id="{EE1FEBCB-517F-49A1-98E6-C6964DB8AA54}"/>
                  </a:ext>
                </a:extLst>
              </p:cNvPr>
              <p:cNvSpPr/>
              <p:nvPr/>
            </p:nvSpPr>
            <p:spPr>
              <a:xfrm>
                <a:off x="6437130" y="1772547"/>
                <a:ext cx="78706" cy="47845"/>
              </a:xfrm>
              <a:custGeom>
                <a:avLst/>
                <a:gdLst>
                  <a:gd name="connsiteX0" fmla="*/ 78707 w 78706"/>
                  <a:gd name="connsiteY0" fmla="*/ 47008 h 47845"/>
                  <a:gd name="connsiteX1" fmla="*/ 76254 w 78706"/>
                  <a:gd name="connsiteY1" fmla="*/ 47846 h 47845"/>
                  <a:gd name="connsiteX2" fmla="*/ 73324 w 78706"/>
                  <a:gd name="connsiteY2" fmla="*/ 47367 h 47845"/>
                  <a:gd name="connsiteX3" fmla="*/ 71111 w 78706"/>
                  <a:gd name="connsiteY3" fmla="*/ 47008 h 47845"/>
                  <a:gd name="connsiteX4" fmla="*/ 68300 w 78706"/>
                  <a:gd name="connsiteY4" fmla="*/ 46052 h 47845"/>
                  <a:gd name="connsiteX5" fmla="*/ 65489 w 78706"/>
                  <a:gd name="connsiteY5" fmla="*/ 45095 h 47845"/>
                  <a:gd name="connsiteX6" fmla="*/ 63575 w 78706"/>
                  <a:gd name="connsiteY6" fmla="*/ 44437 h 47845"/>
                  <a:gd name="connsiteX7" fmla="*/ 60884 w 78706"/>
                  <a:gd name="connsiteY7" fmla="*/ 43241 h 47845"/>
                  <a:gd name="connsiteX8" fmla="*/ 58193 w 78706"/>
                  <a:gd name="connsiteY8" fmla="*/ 42044 h 47845"/>
                  <a:gd name="connsiteX9" fmla="*/ 55501 w 78706"/>
                  <a:gd name="connsiteY9" fmla="*/ 40848 h 47845"/>
                  <a:gd name="connsiteX10" fmla="*/ 54185 w 78706"/>
                  <a:gd name="connsiteY10" fmla="*/ 40250 h 47845"/>
                  <a:gd name="connsiteX11" fmla="*/ 51554 w 78706"/>
                  <a:gd name="connsiteY11" fmla="*/ 38875 h 47845"/>
                  <a:gd name="connsiteX12" fmla="*/ 48922 w 78706"/>
                  <a:gd name="connsiteY12" fmla="*/ 37499 h 47845"/>
                  <a:gd name="connsiteX13" fmla="*/ 46291 w 78706"/>
                  <a:gd name="connsiteY13" fmla="*/ 36124 h 47845"/>
                  <a:gd name="connsiteX14" fmla="*/ 43659 w 78706"/>
                  <a:gd name="connsiteY14" fmla="*/ 34748 h 47845"/>
                  <a:gd name="connsiteX15" fmla="*/ 43540 w 78706"/>
                  <a:gd name="connsiteY15" fmla="*/ 34688 h 47845"/>
                  <a:gd name="connsiteX16" fmla="*/ 40968 w 78706"/>
                  <a:gd name="connsiteY16" fmla="*/ 33193 h 47845"/>
                  <a:gd name="connsiteX17" fmla="*/ 38397 w 78706"/>
                  <a:gd name="connsiteY17" fmla="*/ 31698 h 47845"/>
                  <a:gd name="connsiteX18" fmla="*/ 35824 w 78706"/>
                  <a:gd name="connsiteY18" fmla="*/ 30203 h 47845"/>
                  <a:gd name="connsiteX19" fmla="*/ 33253 w 78706"/>
                  <a:gd name="connsiteY19" fmla="*/ 28707 h 47845"/>
                  <a:gd name="connsiteX20" fmla="*/ 32535 w 78706"/>
                  <a:gd name="connsiteY20" fmla="*/ 28289 h 47845"/>
                  <a:gd name="connsiteX21" fmla="*/ 30023 w 78706"/>
                  <a:gd name="connsiteY21" fmla="*/ 26674 h 47845"/>
                  <a:gd name="connsiteX22" fmla="*/ 27512 w 78706"/>
                  <a:gd name="connsiteY22" fmla="*/ 25059 h 47845"/>
                  <a:gd name="connsiteX23" fmla="*/ 24999 w 78706"/>
                  <a:gd name="connsiteY23" fmla="*/ 23444 h 47845"/>
                  <a:gd name="connsiteX24" fmla="*/ 22488 w 78706"/>
                  <a:gd name="connsiteY24" fmla="*/ 21830 h 47845"/>
                  <a:gd name="connsiteX25" fmla="*/ 22069 w 78706"/>
                  <a:gd name="connsiteY25" fmla="*/ 21531 h 47845"/>
                  <a:gd name="connsiteX26" fmla="*/ 19677 w 78706"/>
                  <a:gd name="connsiteY26" fmla="*/ 19796 h 47845"/>
                  <a:gd name="connsiteX27" fmla="*/ 17284 w 78706"/>
                  <a:gd name="connsiteY27" fmla="*/ 18062 h 47845"/>
                  <a:gd name="connsiteX28" fmla="*/ 14892 w 78706"/>
                  <a:gd name="connsiteY28" fmla="*/ 16327 h 47845"/>
                  <a:gd name="connsiteX29" fmla="*/ 13158 w 78706"/>
                  <a:gd name="connsiteY29" fmla="*/ 15071 h 47845"/>
                  <a:gd name="connsiteX30" fmla="*/ 10885 w 78706"/>
                  <a:gd name="connsiteY30" fmla="*/ 13158 h 47845"/>
                  <a:gd name="connsiteX31" fmla="*/ 8612 w 78706"/>
                  <a:gd name="connsiteY31" fmla="*/ 11244 h 47845"/>
                  <a:gd name="connsiteX32" fmla="*/ 6340 w 78706"/>
                  <a:gd name="connsiteY32" fmla="*/ 9330 h 47845"/>
                  <a:gd name="connsiteX33" fmla="*/ 5622 w 78706"/>
                  <a:gd name="connsiteY33" fmla="*/ 8552 h 47845"/>
                  <a:gd name="connsiteX34" fmla="*/ 3589 w 78706"/>
                  <a:gd name="connsiteY34" fmla="*/ 6399 h 47845"/>
                  <a:gd name="connsiteX35" fmla="*/ 1555 w 78706"/>
                  <a:gd name="connsiteY35" fmla="*/ 4246 h 47845"/>
                  <a:gd name="connsiteX36" fmla="*/ 120 w 78706"/>
                  <a:gd name="connsiteY36" fmla="*/ 2691 h 47845"/>
                  <a:gd name="connsiteX37" fmla="*/ 0 w 78706"/>
                  <a:gd name="connsiteY37" fmla="*/ 0 h 4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8706" h="47845">
                    <a:moveTo>
                      <a:pt x="78707" y="47008"/>
                    </a:moveTo>
                    <a:lnTo>
                      <a:pt x="76254" y="47846"/>
                    </a:lnTo>
                    <a:lnTo>
                      <a:pt x="73324" y="47367"/>
                    </a:lnTo>
                    <a:lnTo>
                      <a:pt x="71111" y="47008"/>
                    </a:lnTo>
                    <a:lnTo>
                      <a:pt x="68300" y="46052"/>
                    </a:lnTo>
                    <a:lnTo>
                      <a:pt x="65489" y="45095"/>
                    </a:lnTo>
                    <a:lnTo>
                      <a:pt x="63575" y="44437"/>
                    </a:lnTo>
                    <a:lnTo>
                      <a:pt x="60884" y="43241"/>
                    </a:lnTo>
                    <a:lnTo>
                      <a:pt x="58193" y="42044"/>
                    </a:lnTo>
                    <a:lnTo>
                      <a:pt x="55501" y="40848"/>
                    </a:lnTo>
                    <a:lnTo>
                      <a:pt x="54185" y="40250"/>
                    </a:lnTo>
                    <a:lnTo>
                      <a:pt x="51554" y="38875"/>
                    </a:lnTo>
                    <a:lnTo>
                      <a:pt x="48922" y="37499"/>
                    </a:lnTo>
                    <a:lnTo>
                      <a:pt x="46291" y="36124"/>
                    </a:lnTo>
                    <a:lnTo>
                      <a:pt x="43659" y="34748"/>
                    </a:lnTo>
                    <a:lnTo>
                      <a:pt x="43540" y="34688"/>
                    </a:lnTo>
                    <a:lnTo>
                      <a:pt x="40968" y="33193"/>
                    </a:lnTo>
                    <a:lnTo>
                      <a:pt x="38397" y="31698"/>
                    </a:lnTo>
                    <a:lnTo>
                      <a:pt x="35824" y="30203"/>
                    </a:lnTo>
                    <a:lnTo>
                      <a:pt x="33253" y="28707"/>
                    </a:lnTo>
                    <a:lnTo>
                      <a:pt x="32535" y="28289"/>
                    </a:lnTo>
                    <a:lnTo>
                      <a:pt x="30023" y="26674"/>
                    </a:lnTo>
                    <a:lnTo>
                      <a:pt x="27512" y="25059"/>
                    </a:lnTo>
                    <a:lnTo>
                      <a:pt x="24999" y="23444"/>
                    </a:lnTo>
                    <a:lnTo>
                      <a:pt x="22488" y="21830"/>
                    </a:lnTo>
                    <a:lnTo>
                      <a:pt x="22069" y="21531"/>
                    </a:lnTo>
                    <a:lnTo>
                      <a:pt x="19677" y="19796"/>
                    </a:lnTo>
                    <a:lnTo>
                      <a:pt x="17284" y="18062"/>
                    </a:lnTo>
                    <a:lnTo>
                      <a:pt x="14892" y="16327"/>
                    </a:lnTo>
                    <a:lnTo>
                      <a:pt x="13158" y="15071"/>
                    </a:lnTo>
                    <a:lnTo>
                      <a:pt x="10885" y="13158"/>
                    </a:lnTo>
                    <a:lnTo>
                      <a:pt x="8612" y="11244"/>
                    </a:lnTo>
                    <a:lnTo>
                      <a:pt x="6340" y="9330"/>
                    </a:lnTo>
                    <a:lnTo>
                      <a:pt x="5622" y="8552"/>
                    </a:lnTo>
                    <a:lnTo>
                      <a:pt x="3589" y="6399"/>
                    </a:lnTo>
                    <a:lnTo>
                      <a:pt x="1555" y="4246"/>
                    </a:lnTo>
                    <a:lnTo>
                      <a:pt x="120" y="2691"/>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32" name="Vrije vorm: vorm 5631">
                <a:extLst>
                  <a:ext uri="{FF2B5EF4-FFF2-40B4-BE49-F238E27FC236}">
                    <a16:creationId xmlns:a16="http://schemas.microsoft.com/office/drawing/2014/main" id="{E1B3F011-8121-44C2-9A89-FDA9C2BD36F5}"/>
                  </a:ext>
                </a:extLst>
              </p:cNvPr>
              <p:cNvSpPr/>
              <p:nvPr/>
            </p:nvSpPr>
            <p:spPr>
              <a:xfrm>
                <a:off x="6400409" y="1678350"/>
                <a:ext cx="1016" cy="1794"/>
              </a:xfrm>
              <a:custGeom>
                <a:avLst/>
                <a:gdLst>
                  <a:gd name="connsiteX0" fmla="*/ 1017 w 1016"/>
                  <a:gd name="connsiteY0" fmla="*/ 1794 h 1794"/>
                  <a:gd name="connsiteX1" fmla="*/ 359 w 1016"/>
                  <a:gd name="connsiteY1" fmla="*/ 1077 h 1794"/>
                  <a:gd name="connsiteX2" fmla="*/ 0 w 1016"/>
                  <a:gd name="connsiteY2" fmla="*/ 0 h 1794"/>
                </a:gdLst>
                <a:ahLst/>
                <a:cxnLst>
                  <a:cxn ang="0">
                    <a:pos x="connsiteX0" y="connsiteY0"/>
                  </a:cxn>
                  <a:cxn ang="0">
                    <a:pos x="connsiteX1" y="connsiteY1"/>
                  </a:cxn>
                  <a:cxn ang="0">
                    <a:pos x="connsiteX2" y="connsiteY2"/>
                  </a:cxn>
                </a:cxnLst>
                <a:rect l="l" t="t" r="r" b="b"/>
                <a:pathLst>
                  <a:path w="1016" h="1794">
                    <a:moveTo>
                      <a:pt x="1017" y="1794"/>
                    </a:moveTo>
                    <a:lnTo>
                      <a:pt x="359" y="107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33" name="Vrije vorm: vorm 5632">
                <a:extLst>
                  <a:ext uri="{FF2B5EF4-FFF2-40B4-BE49-F238E27FC236}">
                    <a16:creationId xmlns:a16="http://schemas.microsoft.com/office/drawing/2014/main" id="{BD41C990-0F82-4CD9-B9C6-CA95AD983AA3}"/>
                  </a:ext>
                </a:extLst>
              </p:cNvPr>
              <p:cNvSpPr/>
              <p:nvPr/>
            </p:nvSpPr>
            <p:spPr>
              <a:xfrm>
                <a:off x="6402322" y="1679367"/>
                <a:ext cx="358" cy="1076"/>
              </a:xfrm>
              <a:custGeom>
                <a:avLst/>
                <a:gdLst>
                  <a:gd name="connsiteX0" fmla="*/ 0 w 358"/>
                  <a:gd name="connsiteY0" fmla="*/ 0 h 1076"/>
                  <a:gd name="connsiteX1" fmla="*/ 359 w 358"/>
                  <a:gd name="connsiteY1" fmla="*/ 1077 h 1076"/>
                </a:gdLst>
                <a:ahLst/>
                <a:cxnLst>
                  <a:cxn ang="0">
                    <a:pos x="connsiteX0" y="connsiteY0"/>
                  </a:cxn>
                  <a:cxn ang="0">
                    <a:pos x="connsiteX1" y="connsiteY1"/>
                  </a:cxn>
                </a:cxnLst>
                <a:rect l="l" t="t" r="r" b="b"/>
                <a:pathLst>
                  <a:path w="358" h="1076">
                    <a:moveTo>
                      <a:pt x="0" y="0"/>
                    </a:moveTo>
                    <a:lnTo>
                      <a:pt x="359" y="1077"/>
                    </a:lnTo>
                  </a:path>
                </a:pathLst>
              </a:custGeom>
              <a:noFill/>
              <a:ln w="6350" cap="rnd">
                <a:solidFill>
                  <a:schemeClr val="bg1">
                    <a:alpha val="80000"/>
                  </a:schemeClr>
                </a:solidFill>
                <a:prstDash val="solid"/>
                <a:round/>
              </a:ln>
            </p:spPr>
            <p:txBody>
              <a:bodyPr rtlCol="0" anchor="ctr"/>
              <a:lstStyle/>
              <a:p>
                <a:endParaRPr lang="en-GB"/>
              </a:p>
            </p:txBody>
          </p:sp>
          <p:sp>
            <p:nvSpPr>
              <p:cNvPr id="5634" name="Vrije vorm: vorm 5633">
                <a:extLst>
                  <a:ext uri="{FF2B5EF4-FFF2-40B4-BE49-F238E27FC236}">
                    <a16:creationId xmlns:a16="http://schemas.microsoft.com/office/drawing/2014/main" id="{5800F6C6-8A9A-40D9-9CA9-EC57710B8E51}"/>
                  </a:ext>
                </a:extLst>
              </p:cNvPr>
              <p:cNvSpPr/>
              <p:nvPr/>
            </p:nvSpPr>
            <p:spPr>
              <a:xfrm>
                <a:off x="6406928" y="1699761"/>
                <a:ext cx="8432" cy="15250"/>
              </a:xfrm>
              <a:custGeom>
                <a:avLst/>
                <a:gdLst>
                  <a:gd name="connsiteX0" fmla="*/ 0 w 8432"/>
                  <a:gd name="connsiteY0" fmla="*/ 0 h 15250"/>
                  <a:gd name="connsiteX1" fmla="*/ 180 w 8432"/>
                  <a:gd name="connsiteY1" fmla="*/ 120 h 15250"/>
                  <a:gd name="connsiteX2" fmla="*/ 2512 w 8432"/>
                  <a:gd name="connsiteY2" fmla="*/ 1974 h 15250"/>
                  <a:gd name="connsiteX3" fmla="*/ 4844 w 8432"/>
                  <a:gd name="connsiteY3" fmla="*/ 3828 h 15250"/>
                  <a:gd name="connsiteX4" fmla="*/ 7177 w 8432"/>
                  <a:gd name="connsiteY4" fmla="*/ 5682 h 15250"/>
                  <a:gd name="connsiteX5" fmla="*/ 8194 w 8432"/>
                  <a:gd name="connsiteY5" fmla="*/ 6459 h 15250"/>
                  <a:gd name="connsiteX6" fmla="*/ 8253 w 8432"/>
                  <a:gd name="connsiteY6" fmla="*/ 6579 h 15250"/>
                  <a:gd name="connsiteX7" fmla="*/ 8313 w 8432"/>
                  <a:gd name="connsiteY7" fmla="*/ 6698 h 15250"/>
                  <a:gd name="connsiteX8" fmla="*/ 8373 w 8432"/>
                  <a:gd name="connsiteY8" fmla="*/ 6818 h 15250"/>
                  <a:gd name="connsiteX9" fmla="*/ 8433 w 8432"/>
                  <a:gd name="connsiteY9" fmla="*/ 6997 h 15250"/>
                  <a:gd name="connsiteX10" fmla="*/ 8433 w 8432"/>
                  <a:gd name="connsiteY10" fmla="*/ 7177 h 15250"/>
                  <a:gd name="connsiteX11" fmla="*/ 8433 w 8432"/>
                  <a:gd name="connsiteY11" fmla="*/ 7356 h 15250"/>
                  <a:gd name="connsiteX12" fmla="*/ 8433 w 8432"/>
                  <a:gd name="connsiteY12" fmla="*/ 7536 h 15250"/>
                  <a:gd name="connsiteX13" fmla="*/ 8373 w 8432"/>
                  <a:gd name="connsiteY13" fmla="*/ 7775 h 15250"/>
                  <a:gd name="connsiteX14" fmla="*/ 8313 w 8432"/>
                  <a:gd name="connsiteY14" fmla="*/ 8014 h 15250"/>
                  <a:gd name="connsiteX15" fmla="*/ 8253 w 8432"/>
                  <a:gd name="connsiteY15" fmla="*/ 8253 h 15250"/>
                  <a:gd name="connsiteX16" fmla="*/ 8134 w 8432"/>
                  <a:gd name="connsiteY16" fmla="*/ 8493 h 15250"/>
                  <a:gd name="connsiteX17" fmla="*/ 8014 w 8432"/>
                  <a:gd name="connsiteY17" fmla="*/ 8672 h 15250"/>
                  <a:gd name="connsiteX18" fmla="*/ 6579 w 8432"/>
                  <a:gd name="connsiteY18" fmla="*/ 11124 h 15250"/>
                  <a:gd name="connsiteX19" fmla="*/ 5143 w 8432"/>
                  <a:gd name="connsiteY19" fmla="*/ 13576 h 15250"/>
                  <a:gd name="connsiteX20" fmla="*/ 4785 w 8432"/>
                  <a:gd name="connsiteY20" fmla="*/ 14174 h 15250"/>
                  <a:gd name="connsiteX21" fmla="*/ 4665 w 8432"/>
                  <a:gd name="connsiteY21" fmla="*/ 14354 h 15250"/>
                  <a:gd name="connsiteX22" fmla="*/ 4545 w 8432"/>
                  <a:gd name="connsiteY22" fmla="*/ 14533 h 15250"/>
                  <a:gd name="connsiteX23" fmla="*/ 4426 w 8432"/>
                  <a:gd name="connsiteY23" fmla="*/ 14713 h 15250"/>
                  <a:gd name="connsiteX24" fmla="*/ 4246 w 8432"/>
                  <a:gd name="connsiteY24" fmla="*/ 14892 h 15250"/>
                  <a:gd name="connsiteX25" fmla="*/ 4067 w 8432"/>
                  <a:gd name="connsiteY25" fmla="*/ 15012 h 15250"/>
                  <a:gd name="connsiteX26" fmla="*/ 3888 w 8432"/>
                  <a:gd name="connsiteY26" fmla="*/ 15131 h 15250"/>
                  <a:gd name="connsiteX27" fmla="*/ 3708 w 8432"/>
                  <a:gd name="connsiteY27" fmla="*/ 15191 h 15250"/>
                  <a:gd name="connsiteX28" fmla="*/ 3529 w 8432"/>
                  <a:gd name="connsiteY28" fmla="*/ 15251 h 15250"/>
                  <a:gd name="connsiteX29" fmla="*/ 3409 w 8432"/>
                  <a:gd name="connsiteY29" fmla="*/ 15251 h 15250"/>
                  <a:gd name="connsiteX30" fmla="*/ 3289 w 8432"/>
                  <a:gd name="connsiteY30" fmla="*/ 15251 h 15250"/>
                  <a:gd name="connsiteX31" fmla="*/ 3170 w 8432"/>
                  <a:gd name="connsiteY31" fmla="*/ 15191 h 1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32" h="15250">
                    <a:moveTo>
                      <a:pt x="0" y="0"/>
                    </a:moveTo>
                    <a:lnTo>
                      <a:pt x="180" y="120"/>
                    </a:lnTo>
                    <a:lnTo>
                      <a:pt x="2512" y="1974"/>
                    </a:lnTo>
                    <a:lnTo>
                      <a:pt x="4844" y="3828"/>
                    </a:lnTo>
                    <a:lnTo>
                      <a:pt x="7177" y="5682"/>
                    </a:lnTo>
                    <a:lnTo>
                      <a:pt x="8194" y="6459"/>
                    </a:lnTo>
                    <a:lnTo>
                      <a:pt x="8253" y="6579"/>
                    </a:lnTo>
                    <a:lnTo>
                      <a:pt x="8313" y="6698"/>
                    </a:lnTo>
                    <a:lnTo>
                      <a:pt x="8373" y="6818"/>
                    </a:lnTo>
                    <a:lnTo>
                      <a:pt x="8433" y="6997"/>
                    </a:lnTo>
                    <a:lnTo>
                      <a:pt x="8433" y="7177"/>
                    </a:lnTo>
                    <a:lnTo>
                      <a:pt x="8433" y="7356"/>
                    </a:lnTo>
                    <a:lnTo>
                      <a:pt x="8433" y="7536"/>
                    </a:lnTo>
                    <a:lnTo>
                      <a:pt x="8373" y="7775"/>
                    </a:lnTo>
                    <a:lnTo>
                      <a:pt x="8313" y="8014"/>
                    </a:lnTo>
                    <a:lnTo>
                      <a:pt x="8253" y="8253"/>
                    </a:lnTo>
                    <a:lnTo>
                      <a:pt x="8134" y="8493"/>
                    </a:lnTo>
                    <a:lnTo>
                      <a:pt x="8014" y="8672"/>
                    </a:lnTo>
                    <a:lnTo>
                      <a:pt x="6579" y="11124"/>
                    </a:lnTo>
                    <a:lnTo>
                      <a:pt x="5143" y="13576"/>
                    </a:lnTo>
                    <a:lnTo>
                      <a:pt x="4785" y="14174"/>
                    </a:lnTo>
                    <a:lnTo>
                      <a:pt x="4665" y="14354"/>
                    </a:lnTo>
                    <a:lnTo>
                      <a:pt x="4545" y="14533"/>
                    </a:lnTo>
                    <a:lnTo>
                      <a:pt x="4426" y="14713"/>
                    </a:lnTo>
                    <a:lnTo>
                      <a:pt x="4246" y="14892"/>
                    </a:lnTo>
                    <a:lnTo>
                      <a:pt x="4067" y="15012"/>
                    </a:lnTo>
                    <a:lnTo>
                      <a:pt x="3888" y="15131"/>
                    </a:lnTo>
                    <a:lnTo>
                      <a:pt x="3708" y="15191"/>
                    </a:lnTo>
                    <a:lnTo>
                      <a:pt x="3529" y="15251"/>
                    </a:lnTo>
                    <a:lnTo>
                      <a:pt x="3409" y="15251"/>
                    </a:lnTo>
                    <a:lnTo>
                      <a:pt x="3289" y="15251"/>
                    </a:lnTo>
                    <a:lnTo>
                      <a:pt x="3170" y="15191"/>
                    </a:lnTo>
                  </a:path>
                </a:pathLst>
              </a:custGeom>
              <a:noFill/>
              <a:ln w="6350" cap="rnd">
                <a:solidFill>
                  <a:schemeClr val="bg1">
                    <a:alpha val="80000"/>
                  </a:schemeClr>
                </a:solidFill>
                <a:prstDash val="solid"/>
                <a:round/>
              </a:ln>
            </p:spPr>
            <p:txBody>
              <a:bodyPr rtlCol="0" anchor="ctr"/>
              <a:lstStyle/>
              <a:p>
                <a:endParaRPr lang="en-GB"/>
              </a:p>
            </p:txBody>
          </p:sp>
          <p:sp>
            <p:nvSpPr>
              <p:cNvPr id="5635" name="Vrije vorm: vorm 5634">
                <a:extLst>
                  <a:ext uri="{FF2B5EF4-FFF2-40B4-BE49-F238E27FC236}">
                    <a16:creationId xmlns:a16="http://schemas.microsoft.com/office/drawing/2014/main" id="{B59D6C7C-72F1-49AB-B9AA-6119D8B35F60}"/>
                  </a:ext>
                </a:extLst>
              </p:cNvPr>
              <p:cNvSpPr/>
              <p:nvPr/>
            </p:nvSpPr>
            <p:spPr>
              <a:xfrm>
                <a:off x="6407884" y="1713876"/>
                <a:ext cx="2093" cy="1016"/>
              </a:xfrm>
              <a:custGeom>
                <a:avLst/>
                <a:gdLst>
                  <a:gd name="connsiteX0" fmla="*/ 2093 w 2093"/>
                  <a:gd name="connsiteY0" fmla="*/ 1017 h 1016"/>
                  <a:gd name="connsiteX1" fmla="*/ 0 w 2093"/>
                  <a:gd name="connsiteY1" fmla="*/ 0 h 1016"/>
                </a:gdLst>
                <a:ahLst/>
                <a:cxnLst>
                  <a:cxn ang="0">
                    <a:pos x="connsiteX0" y="connsiteY0"/>
                  </a:cxn>
                  <a:cxn ang="0">
                    <a:pos x="connsiteX1" y="connsiteY1"/>
                  </a:cxn>
                </a:cxnLst>
                <a:rect l="l" t="t" r="r" b="b"/>
                <a:pathLst>
                  <a:path w="2093" h="1016">
                    <a:moveTo>
                      <a:pt x="2093" y="1017"/>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36" name="Vrije vorm: vorm 5635">
                <a:extLst>
                  <a:ext uri="{FF2B5EF4-FFF2-40B4-BE49-F238E27FC236}">
                    <a16:creationId xmlns:a16="http://schemas.microsoft.com/office/drawing/2014/main" id="{052370D6-2A6C-4A40-AF0E-4C0A25B4D4F5}"/>
                  </a:ext>
                </a:extLst>
              </p:cNvPr>
              <p:cNvSpPr/>
              <p:nvPr/>
            </p:nvSpPr>
            <p:spPr>
              <a:xfrm>
                <a:off x="6404835" y="1729904"/>
                <a:ext cx="7715" cy="6877"/>
              </a:xfrm>
              <a:custGeom>
                <a:avLst/>
                <a:gdLst>
                  <a:gd name="connsiteX0" fmla="*/ 0 w 7715"/>
                  <a:gd name="connsiteY0" fmla="*/ 0 h 6877"/>
                  <a:gd name="connsiteX1" fmla="*/ 897 w 7715"/>
                  <a:gd name="connsiteY1" fmla="*/ 777 h 6877"/>
                  <a:gd name="connsiteX2" fmla="*/ 3110 w 7715"/>
                  <a:gd name="connsiteY2" fmla="*/ 2751 h 6877"/>
                  <a:gd name="connsiteX3" fmla="*/ 5323 w 7715"/>
                  <a:gd name="connsiteY3" fmla="*/ 4725 h 6877"/>
                  <a:gd name="connsiteX4" fmla="*/ 7535 w 7715"/>
                  <a:gd name="connsiteY4" fmla="*/ 6698 h 6877"/>
                  <a:gd name="connsiteX5" fmla="*/ 7715 w 7715"/>
                  <a:gd name="connsiteY5" fmla="*/ 6878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5" h="6877">
                    <a:moveTo>
                      <a:pt x="0" y="0"/>
                    </a:moveTo>
                    <a:lnTo>
                      <a:pt x="897" y="777"/>
                    </a:lnTo>
                    <a:lnTo>
                      <a:pt x="3110" y="2751"/>
                    </a:lnTo>
                    <a:lnTo>
                      <a:pt x="5323" y="4725"/>
                    </a:lnTo>
                    <a:lnTo>
                      <a:pt x="7535" y="6698"/>
                    </a:lnTo>
                    <a:lnTo>
                      <a:pt x="7715" y="6878"/>
                    </a:lnTo>
                  </a:path>
                </a:pathLst>
              </a:custGeom>
              <a:noFill/>
              <a:ln w="6350" cap="rnd">
                <a:solidFill>
                  <a:schemeClr val="bg1">
                    <a:alpha val="80000"/>
                  </a:schemeClr>
                </a:solidFill>
                <a:prstDash val="solid"/>
                <a:round/>
              </a:ln>
            </p:spPr>
            <p:txBody>
              <a:bodyPr rtlCol="0" anchor="ctr"/>
              <a:lstStyle/>
              <a:p>
                <a:endParaRPr lang="en-GB"/>
              </a:p>
            </p:txBody>
          </p:sp>
          <p:sp>
            <p:nvSpPr>
              <p:cNvPr id="5637" name="Vrije vorm: vorm 5636">
                <a:extLst>
                  <a:ext uri="{FF2B5EF4-FFF2-40B4-BE49-F238E27FC236}">
                    <a16:creationId xmlns:a16="http://schemas.microsoft.com/office/drawing/2014/main" id="{D97D1700-7C70-422E-B10F-9D65D476DCD4}"/>
                  </a:ext>
                </a:extLst>
              </p:cNvPr>
              <p:cNvSpPr/>
              <p:nvPr/>
            </p:nvSpPr>
            <p:spPr>
              <a:xfrm>
                <a:off x="6409978" y="1736782"/>
                <a:ext cx="837" cy="1674"/>
              </a:xfrm>
              <a:custGeom>
                <a:avLst/>
                <a:gdLst>
                  <a:gd name="connsiteX0" fmla="*/ 0 w 837"/>
                  <a:gd name="connsiteY0" fmla="*/ 1675 h 1674"/>
                  <a:gd name="connsiteX1" fmla="*/ 120 w 837"/>
                  <a:gd name="connsiteY1" fmla="*/ 1675 h 1674"/>
                  <a:gd name="connsiteX2" fmla="*/ 239 w 837"/>
                  <a:gd name="connsiteY2" fmla="*/ 1615 h 1674"/>
                  <a:gd name="connsiteX3" fmla="*/ 359 w 837"/>
                  <a:gd name="connsiteY3" fmla="*/ 1495 h 1674"/>
                  <a:gd name="connsiteX4" fmla="*/ 479 w 837"/>
                  <a:gd name="connsiteY4" fmla="*/ 1376 h 1674"/>
                  <a:gd name="connsiteX5" fmla="*/ 598 w 837"/>
                  <a:gd name="connsiteY5" fmla="*/ 1196 h 1674"/>
                  <a:gd name="connsiteX6" fmla="*/ 718 w 837"/>
                  <a:gd name="connsiteY6" fmla="*/ 1017 h 1674"/>
                  <a:gd name="connsiteX7" fmla="*/ 778 w 837"/>
                  <a:gd name="connsiteY7" fmla="*/ 778 h 1674"/>
                  <a:gd name="connsiteX8" fmla="*/ 837 w 837"/>
                  <a:gd name="connsiteY8" fmla="*/ 598 h 1674"/>
                  <a:gd name="connsiteX9" fmla="*/ 837 w 837"/>
                  <a:gd name="connsiteY9" fmla="*/ 478 h 1674"/>
                  <a:gd name="connsiteX10" fmla="*/ 837 w 837"/>
                  <a:gd name="connsiteY10" fmla="*/ 359 h 1674"/>
                  <a:gd name="connsiteX11" fmla="*/ 778 w 837"/>
                  <a:gd name="connsiteY11" fmla="*/ 179 h 1674"/>
                  <a:gd name="connsiteX12" fmla="*/ 718 w 837"/>
                  <a:gd name="connsiteY12" fmla="*/ 60 h 1674"/>
                  <a:gd name="connsiteX13" fmla="*/ 598 w 837"/>
                  <a:gd name="connsiteY13" fmla="*/ 0 h 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 h="1674">
                    <a:moveTo>
                      <a:pt x="0" y="1675"/>
                    </a:moveTo>
                    <a:lnTo>
                      <a:pt x="120" y="1675"/>
                    </a:lnTo>
                    <a:lnTo>
                      <a:pt x="239" y="1615"/>
                    </a:lnTo>
                    <a:lnTo>
                      <a:pt x="359" y="1495"/>
                    </a:lnTo>
                    <a:lnTo>
                      <a:pt x="479" y="1376"/>
                    </a:lnTo>
                    <a:lnTo>
                      <a:pt x="598" y="1196"/>
                    </a:lnTo>
                    <a:lnTo>
                      <a:pt x="718" y="1017"/>
                    </a:lnTo>
                    <a:lnTo>
                      <a:pt x="778" y="778"/>
                    </a:lnTo>
                    <a:lnTo>
                      <a:pt x="837" y="598"/>
                    </a:lnTo>
                    <a:lnTo>
                      <a:pt x="837" y="478"/>
                    </a:lnTo>
                    <a:lnTo>
                      <a:pt x="837" y="359"/>
                    </a:lnTo>
                    <a:lnTo>
                      <a:pt x="778" y="179"/>
                    </a:lnTo>
                    <a:lnTo>
                      <a:pt x="718" y="60"/>
                    </a:lnTo>
                    <a:lnTo>
                      <a:pt x="598" y="0"/>
                    </a:lnTo>
                  </a:path>
                </a:pathLst>
              </a:custGeom>
              <a:noFill/>
              <a:ln w="6350" cap="rnd">
                <a:solidFill>
                  <a:schemeClr val="bg1">
                    <a:alpha val="80000"/>
                  </a:schemeClr>
                </a:solidFill>
                <a:prstDash val="solid"/>
                <a:round/>
              </a:ln>
            </p:spPr>
            <p:txBody>
              <a:bodyPr rtlCol="0" anchor="ctr"/>
              <a:lstStyle/>
              <a:p>
                <a:endParaRPr lang="en-GB"/>
              </a:p>
            </p:txBody>
          </p:sp>
          <p:sp>
            <p:nvSpPr>
              <p:cNvPr id="5638" name="Vrije vorm: vorm 5637">
                <a:extLst>
                  <a:ext uri="{FF2B5EF4-FFF2-40B4-BE49-F238E27FC236}">
                    <a16:creationId xmlns:a16="http://schemas.microsoft.com/office/drawing/2014/main" id="{321F31C3-870D-45D1-8030-DD8C46F67C36}"/>
                  </a:ext>
                </a:extLst>
              </p:cNvPr>
              <p:cNvSpPr/>
              <p:nvPr/>
            </p:nvSpPr>
            <p:spPr>
              <a:xfrm>
                <a:off x="6405851" y="1730382"/>
                <a:ext cx="7715" cy="9748"/>
              </a:xfrm>
              <a:custGeom>
                <a:avLst/>
                <a:gdLst>
                  <a:gd name="connsiteX0" fmla="*/ 0 w 7715"/>
                  <a:gd name="connsiteY0" fmla="*/ 0 h 9748"/>
                  <a:gd name="connsiteX1" fmla="*/ 2213 w 7715"/>
                  <a:gd name="connsiteY1" fmla="*/ 1974 h 9748"/>
                  <a:gd name="connsiteX2" fmla="*/ 4426 w 7715"/>
                  <a:gd name="connsiteY2" fmla="*/ 3947 h 9748"/>
                  <a:gd name="connsiteX3" fmla="*/ 6639 w 7715"/>
                  <a:gd name="connsiteY3" fmla="*/ 5921 h 9748"/>
                  <a:gd name="connsiteX4" fmla="*/ 7715 w 7715"/>
                  <a:gd name="connsiteY4" fmla="*/ 6938 h 9748"/>
                  <a:gd name="connsiteX5" fmla="*/ 6639 w 7715"/>
                  <a:gd name="connsiteY5" fmla="*/ 6459 h 9748"/>
                  <a:gd name="connsiteX6" fmla="*/ 6160 w 7715"/>
                  <a:gd name="connsiteY6" fmla="*/ 7296 h 9748"/>
                  <a:gd name="connsiteX7" fmla="*/ 5442 w 7715"/>
                  <a:gd name="connsiteY7" fmla="*/ 8493 h 9748"/>
                  <a:gd name="connsiteX8" fmla="*/ 4725 w 7715"/>
                  <a:gd name="connsiteY8" fmla="*/ 9749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5" h="9748">
                    <a:moveTo>
                      <a:pt x="0" y="0"/>
                    </a:moveTo>
                    <a:lnTo>
                      <a:pt x="2213" y="1974"/>
                    </a:lnTo>
                    <a:lnTo>
                      <a:pt x="4426" y="3947"/>
                    </a:lnTo>
                    <a:lnTo>
                      <a:pt x="6639" y="5921"/>
                    </a:lnTo>
                    <a:lnTo>
                      <a:pt x="7715" y="6938"/>
                    </a:lnTo>
                    <a:lnTo>
                      <a:pt x="6639" y="6459"/>
                    </a:lnTo>
                    <a:lnTo>
                      <a:pt x="6160" y="7296"/>
                    </a:lnTo>
                    <a:lnTo>
                      <a:pt x="5442" y="8493"/>
                    </a:lnTo>
                    <a:lnTo>
                      <a:pt x="4725" y="9749"/>
                    </a:lnTo>
                  </a:path>
                </a:pathLst>
              </a:custGeom>
              <a:noFill/>
              <a:ln w="6350" cap="rnd">
                <a:solidFill>
                  <a:schemeClr val="bg1">
                    <a:alpha val="80000"/>
                  </a:schemeClr>
                </a:solidFill>
                <a:prstDash val="solid"/>
                <a:round/>
              </a:ln>
            </p:spPr>
            <p:txBody>
              <a:bodyPr rtlCol="0" anchor="ctr"/>
              <a:lstStyle/>
              <a:p>
                <a:endParaRPr lang="en-GB"/>
              </a:p>
            </p:txBody>
          </p:sp>
          <p:sp>
            <p:nvSpPr>
              <p:cNvPr id="5639" name="Vrije vorm: vorm 5638">
                <a:extLst>
                  <a:ext uri="{FF2B5EF4-FFF2-40B4-BE49-F238E27FC236}">
                    <a16:creationId xmlns:a16="http://schemas.microsoft.com/office/drawing/2014/main" id="{CF823CD8-826D-40F1-88BB-A1481FC3107E}"/>
                  </a:ext>
                </a:extLst>
              </p:cNvPr>
              <p:cNvSpPr/>
              <p:nvPr/>
            </p:nvSpPr>
            <p:spPr>
              <a:xfrm>
                <a:off x="6409858" y="1736842"/>
                <a:ext cx="837" cy="1614"/>
              </a:xfrm>
              <a:custGeom>
                <a:avLst/>
                <a:gdLst>
                  <a:gd name="connsiteX0" fmla="*/ 837 w 837"/>
                  <a:gd name="connsiteY0" fmla="*/ 0 h 1614"/>
                  <a:gd name="connsiteX1" fmla="*/ 718 w 837"/>
                  <a:gd name="connsiteY1" fmla="*/ 0 h 1614"/>
                  <a:gd name="connsiteX2" fmla="*/ 598 w 837"/>
                  <a:gd name="connsiteY2" fmla="*/ 60 h 1614"/>
                  <a:gd name="connsiteX3" fmla="*/ 479 w 837"/>
                  <a:gd name="connsiteY3" fmla="*/ 179 h 1614"/>
                  <a:gd name="connsiteX4" fmla="*/ 359 w 837"/>
                  <a:gd name="connsiteY4" fmla="*/ 299 h 1614"/>
                  <a:gd name="connsiteX5" fmla="*/ 239 w 837"/>
                  <a:gd name="connsiteY5" fmla="*/ 478 h 1614"/>
                  <a:gd name="connsiteX6" fmla="*/ 120 w 837"/>
                  <a:gd name="connsiteY6" fmla="*/ 658 h 1614"/>
                  <a:gd name="connsiteX7" fmla="*/ 60 w 837"/>
                  <a:gd name="connsiteY7" fmla="*/ 897 h 1614"/>
                  <a:gd name="connsiteX8" fmla="*/ 0 w 837"/>
                  <a:gd name="connsiteY8" fmla="*/ 1077 h 1614"/>
                  <a:gd name="connsiteX9" fmla="*/ 0 w 837"/>
                  <a:gd name="connsiteY9" fmla="*/ 1256 h 1614"/>
                  <a:gd name="connsiteX10" fmla="*/ 60 w 837"/>
                  <a:gd name="connsiteY10" fmla="*/ 1435 h 1614"/>
                  <a:gd name="connsiteX11" fmla="*/ 120 w 837"/>
                  <a:gd name="connsiteY11" fmla="*/ 1555 h 1614"/>
                  <a:gd name="connsiteX12" fmla="*/ 239 w 837"/>
                  <a:gd name="connsiteY12" fmla="*/ 1615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7" h="1614">
                    <a:moveTo>
                      <a:pt x="837" y="0"/>
                    </a:moveTo>
                    <a:lnTo>
                      <a:pt x="718" y="0"/>
                    </a:lnTo>
                    <a:lnTo>
                      <a:pt x="598" y="60"/>
                    </a:lnTo>
                    <a:lnTo>
                      <a:pt x="479" y="179"/>
                    </a:lnTo>
                    <a:lnTo>
                      <a:pt x="359" y="299"/>
                    </a:lnTo>
                    <a:lnTo>
                      <a:pt x="239" y="478"/>
                    </a:lnTo>
                    <a:lnTo>
                      <a:pt x="120" y="658"/>
                    </a:lnTo>
                    <a:lnTo>
                      <a:pt x="60" y="897"/>
                    </a:lnTo>
                    <a:lnTo>
                      <a:pt x="0" y="1077"/>
                    </a:lnTo>
                    <a:lnTo>
                      <a:pt x="0" y="1256"/>
                    </a:lnTo>
                    <a:lnTo>
                      <a:pt x="60" y="1435"/>
                    </a:lnTo>
                    <a:lnTo>
                      <a:pt x="120" y="1555"/>
                    </a:lnTo>
                    <a:lnTo>
                      <a:pt x="239" y="1615"/>
                    </a:lnTo>
                  </a:path>
                </a:pathLst>
              </a:custGeom>
              <a:noFill/>
              <a:ln w="6350" cap="rnd">
                <a:solidFill>
                  <a:schemeClr val="bg1">
                    <a:alpha val="80000"/>
                  </a:schemeClr>
                </a:solidFill>
                <a:prstDash val="solid"/>
                <a:round/>
              </a:ln>
            </p:spPr>
            <p:txBody>
              <a:bodyPr rtlCol="0" anchor="ctr"/>
              <a:lstStyle/>
              <a:p>
                <a:endParaRPr lang="en-GB"/>
              </a:p>
            </p:txBody>
          </p:sp>
          <p:sp>
            <p:nvSpPr>
              <p:cNvPr id="5640" name="Vrije vorm: vorm 5639">
                <a:extLst>
                  <a:ext uri="{FF2B5EF4-FFF2-40B4-BE49-F238E27FC236}">
                    <a16:creationId xmlns:a16="http://schemas.microsoft.com/office/drawing/2014/main" id="{611A1E51-FCCD-4227-8235-7216617FA12B}"/>
                  </a:ext>
                </a:extLst>
              </p:cNvPr>
              <p:cNvSpPr/>
              <p:nvPr/>
            </p:nvSpPr>
            <p:spPr>
              <a:xfrm>
                <a:off x="6404715" y="1732117"/>
                <a:ext cx="1076" cy="1495"/>
              </a:xfrm>
              <a:custGeom>
                <a:avLst/>
                <a:gdLst>
                  <a:gd name="connsiteX0" fmla="*/ 837 w 1076"/>
                  <a:gd name="connsiteY0" fmla="*/ 0 h 1495"/>
                  <a:gd name="connsiteX1" fmla="*/ 718 w 1076"/>
                  <a:gd name="connsiteY1" fmla="*/ 0 h 1495"/>
                  <a:gd name="connsiteX2" fmla="*/ 598 w 1076"/>
                  <a:gd name="connsiteY2" fmla="*/ 60 h 1495"/>
                  <a:gd name="connsiteX3" fmla="*/ 479 w 1076"/>
                  <a:gd name="connsiteY3" fmla="*/ 179 h 1495"/>
                  <a:gd name="connsiteX4" fmla="*/ 359 w 1076"/>
                  <a:gd name="connsiteY4" fmla="*/ 299 h 1495"/>
                  <a:gd name="connsiteX5" fmla="*/ 239 w 1076"/>
                  <a:gd name="connsiteY5" fmla="*/ 478 h 1495"/>
                  <a:gd name="connsiteX6" fmla="*/ 120 w 1076"/>
                  <a:gd name="connsiteY6" fmla="*/ 658 h 1495"/>
                  <a:gd name="connsiteX7" fmla="*/ 60 w 1076"/>
                  <a:gd name="connsiteY7" fmla="*/ 837 h 1495"/>
                  <a:gd name="connsiteX8" fmla="*/ 0 w 1076"/>
                  <a:gd name="connsiteY8" fmla="*/ 1017 h 1495"/>
                  <a:gd name="connsiteX9" fmla="*/ 0 w 1076"/>
                  <a:gd name="connsiteY9" fmla="*/ 1196 h 1495"/>
                  <a:gd name="connsiteX10" fmla="*/ 60 w 1076"/>
                  <a:gd name="connsiteY10" fmla="*/ 1316 h 1495"/>
                  <a:gd name="connsiteX11" fmla="*/ 120 w 1076"/>
                  <a:gd name="connsiteY11" fmla="*/ 1435 h 1495"/>
                  <a:gd name="connsiteX12" fmla="*/ 239 w 1076"/>
                  <a:gd name="connsiteY12" fmla="*/ 1495 h 1495"/>
                  <a:gd name="connsiteX13" fmla="*/ 359 w 1076"/>
                  <a:gd name="connsiteY13" fmla="*/ 1495 h 1495"/>
                  <a:gd name="connsiteX14" fmla="*/ 479 w 1076"/>
                  <a:gd name="connsiteY14" fmla="*/ 1435 h 1495"/>
                  <a:gd name="connsiteX15" fmla="*/ 598 w 1076"/>
                  <a:gd name="connsiteY15" fmla="*/ 1316 h 1495"/>
                  <a:gd name="connsiteX16" fmla="*/ 718 w 1076"/>
                  <a:gd name="connsiteY16" fmla="*/ 1196 h 1495"/>
                  <a:gd name="connsiteX17" fmla="*/ 837 w 1076"/>
                  <a:gd name="connsiteY17" fmla="*/ 1017 h 1495"/>
                  <a:gd name="connsiteX18" fmla="*/ 957 w 1076"/>
                  <a:gd name="connsiteY18" fmla="*/ 837 h 1495"/>
                  <a:gd name="connsiteX19" fmla="*/ 1017 w 1076"/>
                  <a:gd name="connsiteY19" fmla="*/ 658 h 1495"/>
                  <a:gd name="connsiteX20" fmla="*/ 1076 w 1076"/>
                  <a:gd name="connsiteY20" fmla="*/ 478 h 1495"/>
                  <a:gd name="connsiteX21" fmla="*/ 1076 w 1076"/>
                  <a:gd name="connsiteY21" fmla="*/ 419 h 1495"/>
                  <a:gd name="connsiteX22" fmla="*/ 1076 w 1076"/>
                  <a:gd name="connsiteY22" fmla="*/ 299 h 1495"/>
                  <a:gd name="connsiteX23" fmla="*/ 1017 w 1076"/>
                  <a:gd name="connsiteY23" fmla="*/ 179 h 1495"/>
                  <a:gd name="connsiteX24" fmla="*/ 957 w 1076"/>
                  <a:gd name="connsiteY24" fmla="*/ 60 h 1495"/>
                  <a:gd name="connsiteX25" fmla="*/ 837 w 1076"/>
                  <a:gd name="connsiteY25" fmla="*/ 0 h 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76" h="1495">
                    <a:moveTo>
                      <a:pt x="837" y="0"/>
                    </a:moveTo>
                    <a:lnTo>
                      <a:pt x="718" y="0"/>
                    </a:lnTo>
                    <a:lnTo>
                      <a:pt x="598" y="60"/>
                    </a:lnTo>
                    <a:lnTo>
                      <a:pt x="479" y="179"/>
                    </a:lnTo>
                    <a:lnTo>
                      <a:pt x="359" y="299"/>
                    </a:lnTo>
                    <a:lnTo>
                      <a:pt x="239" y="478"/>
                    </a:lnTo>
                    <a:lnTo>
                      <a:pt x="120" y="658"/>
                    </a:lnTo>
                    <a:lnTo>
                      <a:pt x="60" y="837"/>
                    </a:lnTo>
                    <a:lnTo>
                      <a:pt x="0" y="1017"/>
                    </a:lnTo>
                    <a:lnTo>
                      <a:pt x="0" y="1196"/>
                    </a:lnTo>
                    <a:lnTo>
                      <a:pt x="60" y="1316"/>
                    </a:lnTo>
                    <a:lnTo>
                      <a:pt x="120" y="1435"/>
                    </a:lnTo>
                    <a:lnTo>
                      <a:pt x="239" y="1495"/>
                    </a:lnTo>
                    <a:lnTo>
                      <a:pt x="359" y="1495"/>
                    </a:lnTo>
                    <a:lnTo>
                      <a:pt x="479" y="1435"/>
                    </a:lnTo>
                    <a:lnTo>
                      <a:pt x="598" y="1316"/>
                    </a:lnTo>
                    <a:lnTo>
                      <a:pt x="718" y="1196"/>
                    </a:lnTo>
                    <a:lnTo>
                      <a:pt x="837" y="1017"/>
                    </a:lnTo>
                    <a:lnTo>
                      <a:pt x="957" y="837"/>
                    </a:lnTo>
                    <a:lnTo>
                      <a:pt x="1017" y="658"/>
                    </a:lnTo>
                    <a:lnTo>
                      <a:pt x="1076" y="478"/>
                    </a:lnTo>
                    <a:lnTo>
                      <a:pt x="1076" y="419"/>
                    </a:lnTo>
                    <a:lnTo>
                      <a:pt x="1076" y="299"/>
                    </a:lnTo>
                    <a:lnTo>
                      <a:pt x="1017" y="179"/>
                    </a:lnTo>
                    <a:lnTo>
                      <a:pt x="957" y="60"/>
                    </a:lnTo>
                    <a:lnTo>
                      <a:pt x="837" y="0"/>
                    </a:lnTo>
                  </a:path>
                </a:pathLst>
              </a:custGeom>
              <a:noFill/>
              <a:ln w="6350" cap="rnd">
                <a:solidFill>
                  <a:schemeClr val="bg1">
                    <a:alpha val="80000"/>
                  </a:schemeClr>
                </a:solidFill>
                <a:prstDash val="solid"/>
                <a:round/>
              </a:ln>
            </p:spPr>
            <p:txBody>
              <a:bodyPr rtlCol="0" anchor="ctr"/>
              <a:lstStyle/>
              <a:p>
                <a:endParaRPr lang="en-GB"/>
              </a:p>
            </p:txBody>
          </p:sp>
          <p:sp>
            <p:nvSpPr>
              <p:cNvPr id="5641" name="Vrije vorm: vorm 5640">
                <a:extLst>
                  <a:ext uri="{FF2B5EF4-FFF2-40B4-BE49-F238E27FC236}">
                    <a16:creationId xmlns:a16="http://schemas.microsoft.com/office/drawing/2014/main" id="{29C7E121-E077-4CA2-B132-7BFFFC8BDEB9}"/>
                  </a:ext>
                </a:extLst>
              </p:cNvPr>
              <p:cNvSpPr/>
              <p:nvPr/>
            </p:nvSpPr>
            <p:spPr>
              <a:xfrm>
                <a:off x="6407227" y="1734270"/>
                <a:ext cx="837" cy="1614"/>
              </a:xfrm>
              <a:custGeom>
                <a:avLst/>
                <a:gdLst>
                  <a:gd name="connsiteX0" fmla="*/ 0 w 837"/>
                  <a:gd name="connsiteY0" fmla="*/ 1615 h 1614"/>
                  <a:gd name="connsiteX1" fmla="*/ 120 w 837"/>
                  <a:gd name="connsiteY1" fmla="*/ 1615 h 1614"/>
                  <a:gd name="connsiteX2" fmla="*/ 239 w 837"/>
                  <a:gd name="connsiteY2" fmla="*/ 1555 h 1614"/>
                  <a:gd name="connsiteX3" fmla="*/ 359 w 837"/>
                  <a:gd name="connsiteY3" fmla="*/ 1435 h 1614"/>
                  <a:gd name="connsiteX4" fmla="*/ 479 w 837"/>
                  <a:gd name="connsiteY4" fmla="*/ 1316 h 1614"/>
                  <a:gd name="connsiteX5" fmla="*/ 598 w 837"/>
                  <a:gd name="connsiteY5" fmla="*/ 1136 h 1614"/>
                  <a:gd name="connsiteX6" fmla="*/ 718 w 837"/>
                  <a:gd name="connsiteY6" fmla="*/ 957 h 1614"/>
                  <a:gd name="connsiteX7" fmla="*/ 778 w 837"/>
                  <a:gd name="connsiteY7" fmla="*/ 778 h 1614"/>
                  <a:gd name="connsiteX8" fmla="*/ 837 w 837"/>
                  <a:gd name="connsiteY8" fmla="*/ 598 h 1614"/>
                  <a:gd name="connsiteX9" fmla="*/ 837 w 837"/>
                  <a:gd name="connsiteY9" fmla="*/ 478 h 1614"/>
                  <a:gd name="connsiteX10" fmla="*/ 837 w 837"/>
                  <a:gd name="connsiteY10" fmla="*/ 359 h 1614"/>
                  <a:gd name="connsiteX11" fmla="*/ 778 w 837"/>
                  <a:gd name="connsiteY11" fmla="*/ 179 h 1614"/>
                  <a:gd name="connsiteX12" fmla="*/ 718 w 837"/>
                  <a:gd name="connsiteY12" fmla="*/ 60 h 1614"/>
                  <a:gd name="connsiteX13" fmla="*/ 598 w 837"/>
                  <a:gd name="connsiteY13" fmla="*/ 0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 h="1614">
                    <a:moveTo>
                      <a:pt x="0" y="1615"/>
                    </a:moveTo>
                    <a:lnTo>
                      <a:pt x="120" y="1615"/>
                    </a:lnTo>
                    <a:lnTo>
                      <a:pt x="239" y="1555"/>
                    </a:lnTo>
                    <a:lnTo>
                      <a:pt x="359" y="1435"/>
                    </a:lnTo>
                    <a:lnTo>
                      <a:pt x="479" y="1316"/>
                    </a:lnTo>
                    <a:lnTo>
                      <a:pt x="598" y="1136"/>
                    </a:lnTo>
                    <a:lnTo>
                      <a:pt x="718" y="957"/>
                    </a:lnTo>
                    <a:lnTo>
                      <a:pt x="778" y="778"/>
                    </a:lnTo>
                    <a:lnTo>
                      <a:pt x="837" y="598"/>
                    </a:lnTo>
                    <a:lnTo>
                      <a:pt x="837" y="478"/>
                    </a:lnTo>
                    <a:lnTo>
                      <a:pt x="837" y="359"/>
                    </a:lnTo>
                    <a:lnTo>
                      <a:pt x="778" y="179"/>
                    </a:lnTo>
                    <a:lnTo>
                      <a:pt x="718" y="60"/>
                    </a:lnTo>
                    <a:lnTo>
                      <a:pt x="598" y="0"/>
                    </a:lnTo>
                  </a:path>
                </a:pathLst>
              </a:custGeom>
              <a:noFill/>
              <a:ln w="6350" cap="rnd">
                <a:solidFill>
                  <a:schemeClr val="bg1">
                    <a:alpha val="80000"/>
                  </a:schemeClr>
                </a:solidFill>
                <a:prstDash val="solid"/>
                <a:round/>
              </a:ln>
            </p:spPr>
            <p:txBody>
              <a:bodyPr rtlCol="0" anchor="ctr"/>
              <a:lstStyle/>
              <a:p>
                <a:endParaRPr lang="en-GB"/>
              </a:p>
            </p:txBody>
          </p:sp>
          <p:sp>
            <p:nvSpPr>
              <p:cNvPr id="5642" name="Vrije vorm: vorm 5641">
                <a:extLst>
                  <a:ext uri="{FF2B5EF4-FFF2-40B4-BE49-F238E27FC236}">
                    <a16:creationId xmlns:a16="http://schemas.microsoft.com/office/drawing/2014/main" id="{E66F4312-5E3D-4A54-B806-A3B618969DC2}"/>
                  </a:ext>
                </a:extLst>
              </p:cNvPr>
              <p:cNvSpPr/>
              <p:nvPr/>
            </p:nvSpPr>
            <p:spPr>
              <a:xfrm>
                <a:off x="6407047" y="1734270"/>
                <a:ext cx="837" cy="1554"/>
              </a:xfrm>
              <a:custGeom>
                <a:avLst/>
                <a:gdLst>
                  <a:gd name="connsiteX0" fmla="*/ 837 w 837"/>
                  <a:gd name="connsiteY0" fmla="*/ 0 h 1554"/>
                  <a:gd name="connsiteX1" fmla="*/ 718 w 837"/>
                  <a:gd name="connsiteY1" fmla="*/ 0 h 1554"/>
                  <a:gd name="connsiteX2" fmla="*/ 598 w 837"/>
                  <a:gd name="connsiteY2" fmla="*/ 60 h 1554"/>
                  <a:gd name="connsiteX3" fmla="*/ 478 w 837"/>
                  <a:gd name="connsiteY3" fmla="*/ 179 h 1554"/>
                  <a:gd name="connsiteX4" fmla="*/ 359 w 837"/>
                  <a:gd name="connsiteY4" fmla="*/ 299 h 1554"/>
                  <a:gd name="connsiteX5" fmla="*/ 239 w 837"/>
                  <a:gd name="connsiteY5" fmla="*/ 478 h 1554"/>
                  <a:gd name="connsiteX6" fmla="*/ 119 w 837"/>
                  <a:gd name="connsiteY6" fmla="*/ 658 h 1554"/>
                  <a:gd name="connsiteX7" fmla="*/ 60 w 837"/>
                  <a:gd name="connsiteY7" fmla="*/ 837 h 1554"/>
                  <a:gd name="connsiteX8" fmla="*/ 0 w 837"/>
                  <a:gd name="connsiteY8" fmla="*/ 1017 h 1554"/>
                  <a:gd name="connsiteX9" fmla="*/ 0 w 837"/>
                  <a:gd name="connsiteY9" fmla="*/ 1196 h 1554"/>
                  <a:gd name="connsiteX10" fmla="*/ 60 w 837"/>
                  <a:gd name="connsiteY10" fmla="*/ 1376 h 1554"/>
                  <a:gd name="connsiteX11" fmla="*/ 119 w 837"/>
                  <a:gd name="connsiteY11" fmla="*/ 1495 h 1554"/>
                  <a:gd name="connsiteX12" fmla="*/ 239 w 837"/>
                  <a:gd name="connsiteY12" fmla="*/ 1555 h 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7" h="1554">
                    <a:moveTo>
                      <a:pt x="837" y="0"/>
                    </a:moveTo>
                    <a:lnTo>
                      <a:pt x="718" y="0"/>
                    </a:lnTo>
                    <a:lnTo>
                      <a:pt x="598" y="60"/>
                    </a:lnTo>
                    <a:lnTo>
                      <a:pt x="478" y="179"/>
                    </a:lnTo>
                    <a:lnTo>
                      <a:pt x="359" y="299"/>
                    </a:lnTo>
                    <a:lnTo>
                      <a:pt x="239" y="478"/>
                    </a:lnTo>
                    <a:lnTo>
                      <a:pt x="119" y="658"/>
                    </a:lnTo>
                    <a:lnTo>
                      <a:pt x="60" y="837"/>
                    </a:lnTo>
                    <a:lnTo>
                      <a:pt x="0" y="1017"/>
                    </a:lnTo>
                    <a:lnTo>
                      <a:pt x="0" y="1196"/>
                    </a:lnTo>
                    <a:lnTo>
                      <a:pt x="60" y="1376"/>
                    </a:lnTo>
                    <a:lnTo>
                      <a:pt x="119" y="1495"/>
                    </a:lnTo>
                    <a:lnTo>
                      <a:pt x="239" y="1555"/>
                    </a:lnTo>
                  </a:path>
                </a:pathLst>
              </a:custGeom>
              <a:noFill/>
              <a:ln w="6350" cap="rnd">
                <a:solidFill>
                  <a:schemeClr val="bg1">
                    <a:alpha val="80000"/>
                  </a:schemeClr>
                </a:solidFill>
                <a:prstDash val="solid"/>
                <a:round/>
              </a:ln>
            </p:spPr>
            <p:txBody>
              <a:bodyPr rtlCol="0" anchor="ctr"/>
              <a:lstStyle/>
              <a:p>
                <a:endParaRPr lang="en-GB"/>
              </a:p>
            </p:txBody>
          </p:sp>
          <p:sp>
            <p:nvSpPr>
              <p:cNvPr id="5643" name="Vrije vorm: vorm 5642">
                <a:extLst>
                  <a:ext uri="{FF2B5EF4-FFF2-40B4-BE49-F238E27FC236}">
                    <a16:creationId xmlns:a16="http://schemas.microsoft.com/office/drawing/2014/main" id="{7AA399B8-480E-434D-BE5F-262B2EA6F225}"/>
                  </a:ext>
                </a:extLst>
              </p:cNvPr>
              <p:cNvSpPr/>
              <p:nvPr/>
            </p:nvSpPr>
            <p:spPr>
              <a:xfrm>
                <a:off x="6390481" y="1717105"/>
                <a:ext cx="1734" cy="837"/>
              </a:xfrm>
              <a:custGeom>
                <a:avLst/>
                <a:gdLst>
                  <a:gd name="connsiteX0" fmla="*/ 1734 w 1734"/>
                  <a:gd name="connsiteY0" fmla="*/ 837 h 837"/>
                  <a:gd name="connsiteX1" fmla="*/ 0 w 1734"/>
                  <a:gd name="connsiteY1" fmla="*/ 0 h 837"/>
                </a:gdLst>
                <a:ahLst/>
                <a:cxnLst>
                  <a:cxn ang="0">
                    <a:pos x="connsiteX0" y="connsiteY0"/>
                  </a:cxn>
                  <a:cxn ang="0">
                    <a:pos x="connsiteX1" y="connsiteY1"/>
                  </a:cxn>
                </a:cxnLst>
                <a:rect l="l" t="t" r="r" b="b"/>
                <a:pathLst>
                  <a:path w="1734" h="837">
                    <a:moveTo>
                      <a:pt x="1734" y="837"/>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44" name="Vrije vorm: vorm 5643">
                <a:extLst>
                  <a:ext uri="{FF2B5EF4-FFF2-40B4-BE49-F238E27FC236}">
                    <a16:creationId xmlns:a16="http://schemas.microsoft.com/office/drawing/2014/main" id="{140E671F-EB84-4DA7-B501-86DC7D327E18}"/>
                  </a:ext>
                </a:extLst>
              </p:cNvPr>
              <p:cNvSpPr/>
              <p:nvPr/>
            </p:nvSpPr>
            <p:spPr>
              <a:xfrm>
                <a:off x="6387311" y="1714234"/>
                <a:ext cx="3229" cy="5920"/>
              </a:xfrm>
              <a:custGeom>
                <a:avLst/>
                <a:gdLst>
                  <a:gd name="connsiteX0" fmla="*/ 1435 w 3229"/>
                  <a:gd name="connsiteY0" fmla="*/ 5921 h 5920"/>
                  <a:gd name="connsiteX1" fmla="*/ 2871 w 3229"/>
                  <a:gd name="connsiteY1" fmla="*/ 3469 h 5920"/>
                  <a:gd name="connsiteX2" fmla="*/ 3229 w 3229"/>
                  <a:gd name="connsiteY2" fmla="*/ 2871 h 5920"/>
                  <a:gd name="connsiteX3" fmla="*/ 1136 w 3229"/>
                  <a:gd name="connsiteY3" fmla="*/ 957 h 5920"/>
                  <a:gd name="connsiteX4" fmla="*/ 179 w 3229"/>
                  <a:gd name="connsiteY4" fmla="*/ 120 h 5920"/>
                  <a:gd name="connsiteX5" fmla="*/ 0 w 3229"/>
                  <a:gd name="connsiteY5" fmla="*/ 0 h 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9" h="5920">
                    <a:moveTo>
                      <a:pt x="1435" y="5921"/>
                    </a:moveTo>
                    <a:lnTo>
                      <a:pt x="2871" y="3469"/>
                    </a:lnTo>
                    <a:lnTo>
                      <a:pt x="3229" y="2871"/>
                    </a:lnTo>
                    <a:lnTo>
                      <a:pt x="1136" y="957"/>
                    </a:lnTo>
                    <a:lnTo>
                      <a:pt x="179"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45" name="Vrije vorm: vorm 5644">
                <a:extLst>
                  <a:ext uri="{FF2B5EF4-FFF2-40B4-BE49-F238E27FC236}">
                    <a16:creationId xmlns:a16="http://schemas.microsoft.com/office/drawing/2014/main" id="{CE05F24A-820A-4786-94A7-ECD3FA35CEF4}"/>
                  </a:ext>
                </a:extLst>
              </p:cNvPr>
              <p:cNvSpPr/>
              <p:nvPr/>
            </p:nvSpPr>
            <p:spPr>
              <a:xfrm>
                <a:off x="6388986" y="1715072"/>
                <a:ext cx="3229" cy="5920"/>
              </a:xfrm>
              <a:custGeom>
                <a:avLst/>
                <a:gdLst>
                  <a:gd name="connsiteX0" fmla="*/ 0 w 3229"/>
                  <a:gd name="connsiteY0" fmla="*/ 0 h 5920"/>
                  <a:gd name="connsiteX1" fmla="*/ 180 w 3229"/>
                  <a:gd name="connsiteY1" fmla="*/ 120 h 5920"/>
                  <a:gd name="connsiteX2" fmla="*/ 2392 w 3229"/>
                  <a:gd name="connsiteY2" fmla="*/ 2093 h 5920"/>
                  <a:gd name="connsiteX3" fmla="*/ 3229 w 3229"/>
                  <a:gd name="connsiteY3" fmla="*/ 2871 h 5920"/>
                  <a:gd name="connsiteX4" fmla="*/ 1794 w 3229"/>
                  <a:gd name="connsiteY4" fmla="*/ 5323 h 5920"/>
                  <a:gd name="connsiteX5" fmla="*/ 1435 w 3229"/>
                  <a:gd name="connsiteY5" fmla="*/ 5921 h 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9" h="5920">
                    <a:moveTo>
                      <a:pt x="0" y="0"/>
                    </a:moveTo>
                    <a:lnTo>
                      <a:pt x="180" y="120"/>
                    </a:lnTo>
                    <a:lnTo>
                      <a:pt x="2392" y="2093"/>
                    </a:lnTo>
                    <a:lnTo>
                      <a:pt x="3229" y="2871"/>
                    </a:lnTo>
                    <a:lnTo>
                      <a:pt x="1794" y="5323"/>
                    </a:lnTo>
                    <a:lnTo>
                      <a:pt x="1435" y="5921"/>
                    </a:lnTo>
                  </a:path>
                </a:pathLst>
              </a:custGeom>
              <a:noFill/>
              <a:ln w="6350" cap="rnd">
                <a:solidFill>
                  <a:schemeClr val="bg1">
                    <a:alpha val="80000"/>
                  </a:schemeClr>
                </a:solidFill>
                <a:prstDash val="solid"/>
                <a:round/>
              </a:ln>
            </p:spPr>
            <p:txBody>
              <a:bodyPr rtlCol="0" anchor="ctr"/>
              <a:lstStyle/>
              <a:p>
                <a:endParaRPr lang="en-GB"/>
              </a:p>
            </p:txBody>
          </p:sp>
          <p:sp>
            <p:nvSpPr>
              <p:cNvPr id="5646" name="Vrije vorm: vorm 5645">
                <a:extLst>
                  <a:ext uri="{FF2B5EF4-FFF2-40B4-BE49-F238E27FC236}">
                    <a16:creationId xmlns:a16="http://schemas.microsoft.com/office/drawing/2014/main" id="{2B5BBCA1-4105-4114-8EFC-67A9514DDCB3}"/>
                  </a:ext>
                </a:extLst>
              </p:cNvPr>
              <p:cNvSpPr/>
              <p:nvPr/>
            </p:nvSpPr>
            <p:spPr>
              <a:xfrm>
                <a:off x="6399153" y="1691747"/>
                <a:ext cx="4844" cy="3229"/>
              </a:xfrm>
              <a:custGeom>
                <a:avLst/>
                <a:gdLst>
                  <a:gd name="connsiteX0" fmla="*/ 4844 w 4844"/>
                  <a:gd name="connsiteY0" fmla="*/ 3230 h 3229"/>
                  <a:gd name="connsiteX1" fmla="*/ 2512 w 4844"/>
                  <a:gd name="connsiteY1" fmla="*/ 1376 h 3229"/>
                  <a:gd name="connsiteX2" fmla="*/ 2033 w 4844"/>
                  <a:gd name="connsiteY2" fmla="*/ 1017 h 3229"/>
                  <a:gd name="connsiteX3" fmla="*/ 0 w 4844"/>
                  <a:gd name="connsiteY3" fmla="*/ 0 h 3229"/>
                </a:gdLst>
                <a:ahLst/>
                <a:cxnLst>
                  <a:cxn ang="0">
                    <a:pos x="connsiteX0" y="connsiteY0"/>
                  </a:cxn>
                  <a:cxn ang="0">
                    <a:pos x="connsiteX1" y="connsiteY1"/>
                  </a:cxn>
                  <a:cxn ang="0">
                    <a:pos x="connsiteX2" y="connsiteY2"/>
                  </a:cxn>
                  <a:cxn ang="0">
                    <a:pos x="connsiteX3" y="connsiteY3"/>
                  </a:cxn>
                </a:cxnLst>
                <a:rect l="l" t="t" r="r" b="b"/>
                <a:pathLst>
                  <a:path w="4844" h="3229">
                    <a:moveTo>
                      <a:pt x="4844" y="3230"/>
                    </a:moveTo>
                    <a:lnTo>
                      <a:pt x="2512" y="1376"/>
                    </a:lnTo>
                    <a:lnTo>
                      <a:pt x="2033" y="1017"/>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47" name="Vrije vorm: vorm 5646">
                <a:extLst>
                  <a:ext uri="{FF2B5EF4-FFF2-40B4-BE49-F238E27FC236}">
                    <a16:creationId xmlns:a16="http://schemas.microsoft.com/office/drawing/2014/main" id="{483E56FA-4563-43EE-ABF8-7B355B46808E}"/>
                  </a:ext>
                </a:extLst>
              </p:cNvPr>
              <p:cNvSpPr/>
              <p:nvPr/>
            </p:nvSpPr>
            <p:spPr>
              <a:xfrm>
                <a:off x="6413746" y="1723564"/>
                <a:ext cx="20394" cy="11243"/>
              </a:xfrm>
              <a:custGeom>
                <a:avLst/>
                <a:gdLst>
                  <a:gd name="connsiteX0" fmla="*/ 20394 w 20394"/>
                  <a:gd name="connsiteY0" fmla="*/ 11244 h 11243"/>
                  <a:gd name="connsiteX1" fmla="*/ 17703 w 20394"/>
                  <a:gd name="connsiteY1" fmla="*/ 9928 h 11243"/>
                  <a:gd name="connsiteX2" fmla="*/ 15012 w 20394"/>
                  <a:gd name="connsiteY2" fmla="*/ 8612 h 11243"/>
                  <a:gd name="connsiteX3" fmla="*/ 14892 w 20394"/>
                  <a:gd name="connsiteY3" fmla="*/ 8552 h 11243"/>
                  <a:gd name="connsiteX4" fmla="*/ 14174 w 20394"/>
                  <a:gd name="connsiteY4" fmla="*/ 8194 h 11243"/>
                  <a:gd name="connsiteX5" fmla="*/ 13815 w 20394"/>
                  <a:gd name="connsiteY5" fmla="*/ 8014 h 11243"/>
                  <a:gd name="connsiteX6" fmla="*/ 13756 w 20394"/>
                  <a:gd name="connsiteY6" fmla="*/ 7954 h 11243"/>
                  <a:gd name="connsiteX7" fmla="*/ 12799 w 20394"/>
                  <a:gd name="connsiteY7" fmla="*/ 7476 h 11243"/>
                  <a:gd name="connsiteX8" fmla="*/ 12380 w 20394"/>
                  <a:gd name="connsiteY8" fmla="*/ 7296 h 11243"/>
                  <a:gd name="connsiteX9" fmla="*/ 11543 w 20394"/>
                  <a:gd name="connsiteY9" fmla="*/ 6878 h 11243"/>
                  <a:gd name="connsiteX10" fmla="*/ 10227 w 20394"/>
                  <a:gd name="connsiteY10" fmla="*/ 6280 h 11243"/>
                  <a:gd name="connsiteX11" fmla="*/ 10107 w 20394"/>
                  <a:gd name="connsiteY11" fmla="*/ 6160 h 11243"/>
                  <a:gd name="connsiteX12" fmla="*/ 9090 w 20394"/>
                  <a:gd name="connsiteY12" fmla="*/ 5323 h 11243"/>
                  <a:gd name="connsiteX13" fmla="*/ 9090 w 20394"/>
                  <a:gd name="connsiteY13" fmla="*/ 5323 h 11243"/>
                  <a:gd name="connsiteX14" fmla="*/ 8791 w 20394"/>
                  <a:gd name="connsiteY14" fmla="*/ 5084 h 11243"/>
                  <a:gd name="connsiteX15" fmla="*/ 8672 w 20394"/>
                  <a:gd name="connsiteY15" fmla="*/ 4964 h 11243"/>
                  <a:gd name="connsiteX16" fmla="*/ 8253 w 20394"/>
                  <a:gd name="connsiteY16" fmla="*/ 4605 h 11243"/>
                  <a:gd name="connsiteX17" fmla="*/ 6280 w 20394"/>
                  <a:gd name="connsiteY17" fmla="*/ 2931 h 11243"/>
                  <a:gd name="connsiteX18" fmla="*/ 6220 w 20394"/>
                  <a:gd name="connsiteY18" fmla="*/ 2871 h 11243"/>
                  <a:gd name="connsiteX19" fmla="*/ 4067 w 20394"/>
                  <a:gd name="connsiteY19" fmla="*/ 1017 h 11243"/>
                  <a:gd name="connsiteX20" fmla="*/ 3528 w 20394"/>
                  <a:gd name="connsiteY20" fmla="*/ 778 h 11243"/>
                  <a:gd name="connsiteX21" fmla="*/ 1914 w 20394"/>
                  <a:gd name="connsiteY21" fmla="*/ 0 h 11243"/>
                  <a:gd name="connsiteX22" fmla="*/ 239 w 20394"/>
                  <a:gd name="connsiteY22" fmla="*/ 2811 h 11243"/>
                  <a:gd name="connsiteX23" fmla="*/ 0 w 20394"/>
                  <a:gd name="connsiteY23" fmla="*/ 3289 h 1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394" h="11243">
                    <a:moveTo>
                      <a:pt x="20394" y="11244"/>
                    </a:moveTo>
                    <a:lnTo>
                      <a:pt x="17703" y="9928"/>
                    </a:lnTo>
                    <a:lnTo>
                      <a:pt x="15012" y="8612"/>
                    </a:lnTo>
                    <a:lnTo>
                      <a:pt x="14892" y="8552"/>
                    </a:lnTo>
                    <a:lnTo>
                      <a:pt x="14174" y="8194"/>
                    </a:lnTo>
                    <a:lnTo>
                      <a:pt x="13815" y="8014"/>
                    </a:lnTo>
                    <a:lnTo>
                      <a:pt x="13756" y="7954"/>
                    </a:lnTo>
                    <a:lnTo>
                      <a:pt x="12799" y="7476"/>
                    </a:lnTo>
                    <a:lnTo>
                      <a:pt x="12380" y="7296"/>
                    </a:lnTo>
                    <a:lnTo>
                      <a:pt x="11543" y="6878"/>
                    </a:lnTo>
                    <a:lnTo>
                      <a:pt x="10227" y="6280"/>
                    </a:lnTo>
                    <a:lnTo>
                      <a:pt x="10107" y="6160"/>
                    </a:lnTo>
                    <a:lnTo>
                      <a:pt x="9090" y="5323"/>
                    </a:lnTo>
                    <a:lnTo>
                      <a:pt x="9090" y="5323"/>
                    </a:lnTo>
                    <a:lnTo>
                      <a:pt x="8791" y="5084"/>
                    </a:lnTo>
                    <a:lnTo>
                      <a:pt x="8672" y="4964"/>
                    </a:lnTo>
                    <a:lnTo>
                      <a:pt x="8253" y="4605"/>
                    </a:lnTo>
                    <a:lnTo>
                      <a:pt x="6280" y="2931"/>
                    </a:lnTo>
                    <a:lnTo>
                      <a:pt x="6220" y="2871"/>
                    </a:lnTo>
                    <a:lnTo>
                      <a:pt x="4067" y="1017"/>
                    </a:lnTo>
                    <a:lnTo>
                      <a:pt x="3528" y="778"/>
                    </a:lnTo>
                    <a:lnTo>
                      <a:pt x="1914" y="0"/>
                    </a:lnTo>
                    <a:lnTo>
                      <a:pt x="239" y="2811"/>
                    </a:lnTo>
                    <a:lnTo>
                      <a:pt x="0" y="3289"/>
                    </a:lnTo>
                  </a:path>
                </a:pathLst>
              </a:custGeom>
              <a:noFill/>
              <a:ln w="6350" cap="rnd">
                <a:solidFill>
                  <a:schemeClr val="bg1">
                    <a:alpha val="80000"/>
                  </a:schemeClr>
                </a:solidFill>
                <a:prstDash val="solid"/>
                <a:round/>
              </a:ln>
            </p:spPr>
            <p:txBody>
              <a:bodyPr rtlCol="0" anchor="ctr"/>
              <a:lstStyle/>
              <a:p>
                <a:endParaRPr lang="en-GB"/>
              </a:p>
            </p:txBody>
          </p:sp>
          <p:sp>
            <p:nvSpPr>
              <p:cNvPr id="5648" name="Vrije vorm: vorm 5647">
                <a:extLst>
                  <a:ext uri="{FF2B5EF4-FFF2-40B4-BE49-F238E27FC236}">
                    <a16:creationId xmlns:a16="http://schemas.microsoft.com/office/drawing/2014/main" id="{7912C5D8-EAB2-46E8-8654-B4F7BCCEFE14}"/>
                  </a:ext>
                </a:extLst>
              </p:cNvPr>
              <p:cNvSpPr/>
              <p:nvPr/>
            </p:nvSpPr>
            <p:spPr>
              <a:xfrm>
                <a:off x="6388926" y="1692824"/>
                <a:ext cx="15131" cy="19676"/>
              </a:xfrm>
              <a:custGeom>
                <a:avLst/>
                <a:gdLst>
                  <a:gd name="connsiteX0" fmla="*/ 0 w 15131"/>
                  <a:gd name="connsiteY0" fmla="*/ 16268 h 19676"/>
                  <a:gd name="connsiteX1" fmla="*/ 718 w 15131"/>
                  <a:gd name="connsiteY1" fmla="*/ 16925 h 19676"/>
                  <a:gd name="connsiteX2" fmla="*/ 2691 w 15131"/>
                  <a:gd name="connsiteY2" fmla="*/ 18660 h 19676"/>
                  <a:gd name="connsiteX3" fmla="*/ 4725 w 15131"/>
                  <a:gd name="connsiteY3" fmla="*/ 19677 h 19676"/>
                  <a:gd name="connsiteX4" fmla="*/ 6399 w 15131"/>
                  <a:gd name="connsiteY4" fmla="*/ 16866 h 19676"/>
                  <a:gd name="connsiteX5" fmla="*/ 8074 w 15131"/>
                  <a:gd name="connsiteY5" fmla="*/ 14055 h 19676"/>
                  <a:gd name="connsiteX6" fmla="*/ 9749 w 15131"/>
                  <a:gd name="connsiteY6" fmla="*/ 11244 h 19676"/>
                  <a:gd name="connsiteX7" fmla="*/ 11423 w 15131"/>
                  <a:gd name="connsiteY7" fmla="*/ 8433 h 19676"/>
                  <a:gd name="connsiteX8" fmla="*/ 13098 w 15131"/>
                  <a:gd name="connsiteY8" fmla="*/ 5622 h 19676"/>
                  <a:gd name="connsiteX9" fmla="*/ 14773 w 15131"/>
                  <a:gd name="connsiteY9" fmla="*/ 2811 h 19676"/>
                  <a:gd name="connsiteX10" fmla="*/ 15131 w 15131"/>
                  <a:gd name="connsiteY10" fmla="*/ 2153 h 19676"/>
                  <a:gd name="connsiteX11" fmla="*/ 13098 w 15131"/>
                  <a:gd name="connsiteY11" fmla="*/ 1136 h 19676"/>
                  <a:gd name="connsiteX12" fmla="*/ 12081 w 15131"/>
                  <a:gd name="connsiteY12" fmla="*/ 299 h 19676"/>
                  <a:gd name="connsiteX13" fmla="*/ 11662 w 15131"/>
                  <a:gd name="connsiteY13" fmla="*/ 0 h 1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31" h="19676">
                    <a:moveTo>
                      <a:pt x="0" y="16268"/>
                    </a:moveTo>
                    <a:lnTo>
                      <a:pt x="718" y="16925"/>
                    </a:lnTo>
                    <a:lnTo>
                      <a:pt x="2691" y="18660"/>
                    </a:lnTo>
                    <a:lnTo>
                      <a:pt x="4725" y="19677"/>
                    </a:lnTo>
                    <a:lnTo>
                      <a:pt x="6399" y="16866"/>
                    </a:lnTo>
                    <a:lnTo>
                      <a:pt x="8074" y="14055"/>
                    </a:lnTo>
                    <a:lnTo>
                      <a:pt x="9749" y="11244"/>
                    </a:lnTo>
                    <a:lnTo>
                      <a:pt x="11423" y="8433"/>
                    </a:lnTo>
                    <a:lnTo>
                      <a:pt x="13098" y="5622"/>
                    </a:lnTo>
                    <a:lnTo>
                      <a:pt x="14773" y="2811"/>
                    </a:lnTo>
                    <a:lnTo>
                      <a:pt x="15131" y="2153"/>
                    </a:lnTo>
                    <a:lnTo>
                      <a:pt x="13098" y="1136"/>
                    </a:lnTo>
                    <a:lnTo>
                      <a:pt x="12081" y="299"/>
                    </a:lnTo>
                    <a:lnTo>
                      <a:pt x="11662" y="0"/>
                    </a:lnTo>
                  </a:path>
                </a:pathLst>
              </a:custGeom>
              <a:noFill/>
              <a:ln w="6350" cap="rnd">
                <a:solidFill>
                  <a:schemeClr val="bg1">
                    <a:alpha val="80000"/>
                  </a:schemeClr>
                </a:solidFill>
                <a:prstDash val="solid"/>
                <a:round/>
              </a:ln>
            </p:spPr>
            <p:txBody>
              <a:bodyPr rtlCol="0" anchor="ctr"/>
              <a:lstStyle/>
              <a:p>
                <a:endParaRPr lang="en-GB"/>
              </a:p>
            </p:txBody>
          </p:sp>
          <p:sp>
            <p:nvSpPr>
              <p:cNvPr id="5649" name="Vrije vorm: vorm 5648">
                <a:extLst>
                  <a:ext uri="{FF2B5EF4-FFF2-40B4-BE49-F238E27FC236}">
                    <a16:creationId xmlns:a16="http://schemas.microsoft.com/office/drawing/2014/main" id="{F59E31C0-8CBA-4D61-8B40-078E05187D4B}"/>
                  </a:ext>
                </a:extLst>
              </p:cNvPr>
              <p:cNvSpPr/>
              <p:nvPr/>
            </p:nvSpPr>
            <p:spPr>
              <a:xfrm>
                <a:off x="6413686" y="1726076"/>
                <a:ext cx="2212" cy="2990"/>
              </a:xfrm>
              <a:custGeom>
                <a:avLst/>
                <a:gdLst>
                  <a:gd name="connsiteX0" fmla="*/ 2213 w 2212"/>
                  <a:gd name="connsiteY0" fmla="*/ 2990 h 2990"/>
                  <a:gd name="connsiteX1" fmla="*/ 0 w 2212"/>
                  <a:gd name="connsiteY1" fmla="*/ 1017 h 2990"/>
                  <a:gd name="connsiteX2" fmla="*/ 0 w 2212"/>
                  <a:gd name="connsiteY2" fmla="*/ 1017 h 2990"/>
                  <a:gd name="connsiteX3" fmla="*/ 60 w 2212"/>
                  <a:gd name="connsiteY3" fmla="*/ 897 h 2990"/>
                  <a:gd name="connsiteX4" fmla="*/ 598 w 2212"/>
                  <a:gd name="connsiteY4" fmla="*/ 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2" h="2990">
                    <a:moveTo>
                      <a:pt x="2213" y="2990"/>
                    </a:moveTo>
                    <a:lnTo>
                      <a:pt x="0" y="1017"/>
                    </a:lnTo>
                    <a:lnTo>
                      <a:pt x="0" y="1017"/>
                    </a:lnTo>
                    <a:lnTo>
                      <a:pt x="60" y="897"/>
                    </a:lnTo>
                    <a:lnTo>
                      <a:pt x="598" y="0"/>
                    </a:lnTo>
                  </a:path>
                </a:pathLst>
              </a:custGeom>
              <a:noFill/>
              <a:ln w="6350" cap="rnd">
                <a:solidFill>
                  <a:schemeClr val="bg1">
                    <a:alpha val="80000"/>
                  </a:schemeClr>
                </a:solidFill>
                <a:prstDash val="solid"/>
                <a:round/>
              </a:ln>
            </p:spPr>
            <p:txBody>
              <a:bodyPr rtlCol="0" anchor="ctr"/>
              <a:lstStyle/>
              <a:p>
                <a:endParaRPr lang="en-GB"/>
              </a:p>
            </p:txBody>
          </p:sp>
          <p:sp>
            <p:nvSpPr>
              <p:cNvPr id="5650" name="Vrije vorm: vorm 5649">
                <a:extLst>
                  <a:ext uri="{FF2B5EF4-FFF2-40B4-BE49-F238E27FC236}">
                    <a16:creationId xmlns:a16="http://schemas.microsoft.com/office/drawing/2014/main" id="{A34E40DD-6AFB-4F00-A445-3C132A2D964B}"/>
                  </a:ext>
                </a:extLst>
              </p:cNvPr>
              <p:cNvSpPr/>
              <p:nvPr/>
            </p:nvSpPr>
            <p:spPr>
              <a:xfrm>
                <a:off x="6428698" y="1730442"/>
                <a:ext cx="717" cy="358"/>
              </a:xfrm>
              <a:custGeom>
                <a:avLst/>
                <a:gdLst>
                  <a:gd name="connsiteX0" fmla="*/ 718 w 717"/>
                  <a:gd name="connsiteY0" fmla="*/ 359 h 358"/>
                  <a:gd name="connsiteX1" fmla="*/ 0 w 717"/>
                  <a:gd name="connsiteY1" fmla="*/ 0 h 358"/>
                </a:gdLst>
                <a:ahLst/>
                <a:cxnLst>
                  <a:cxn ang="0">
                    <a:pos x="connsiteX0" y="connsiteY0"/>
                  </a:cxn>
                  <a:cxn ang="0">
                    <a:pos x="connsiteX1" y="connsiteY1"/>
                  </a:cxn>
                </a:cxnLst>
                <a:rect l="l" t="t" r="r" b="b"/>
                <a:pathLst>
                  <a:path w="717" h="358">
                    <a:moveTo>
                      <a:pt x="718" y="359"/>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51" name="Vrije vorm: vorm 5650">
                <a:extLst>
                  <a:ext uri="{FF2B5EF4-FFF2-40B4-BE49-F238E27FC236}">
                    <a16:creationId xmlns:a16="http://schemas.microsoft.com/office/drawing/2014/main" id="{884E4349-6476-44F4-B962-4C65A315F8E2}"/>
                  </a:ext>
                </a:extLst>
              </p:cNvPr>
              <p:cNvSpPr/>
              <p:nvPr/>
            </p:nvSpPr>
            <p:spPr>
              <a:xfrm>
                <a:off x="6427202" y="1729186"/>
                <a:ext cx="1555" cy="2631"/>
              </a:xfrm>
              <a:custGeom>
                <a:avLst/>
                <a:gdLst>
                  <a:gd name="connsiteX0" fmla="*/ 778 w 1555"/>
                  <a:gd name="connsiteY0" fmla="*/ 2632 h 2631"/>
                  <a:gd name="connsiteX1" fmla="*/ 1555 w 1555"/>
                  <a:gd name="connsiteY1" fmla="*/ 1316 h 2631"/>
                  <a:gd name="connsiteX2" fmla="*/ 0 w 1555"/>
                  <a:gd name="connsiteY2" fmla="*/ 0 h 2631"/>
                </a:gdLst>
                <a:ahLst/>
                <a:cxnLst>
                  <a:cxn ang="0">
                    <a:pos x="connsiteX0" y="connsiteY0"/>
                  </a:cxn>
                  <a:cxn ang="0">
                    <a:pos x="connsiteX1" y="connsiteY1"/>
                  </a:cxn>
                  <a:cxn ang="0">
                    <a:pos x="connsiteX2" y="connsiteY2"/>
                  </a:cxn>
                </a:cxnLst>
                <a:rect l="l" t="t" r="r" b="b"/>
                <a:pathLst>
                  <a:path w="1555" h="2631">
                    <a:moveTo>
                      <a:pt x="778" y="2632"/>
                    </a:moveTo>
                    <a:lnTo>
                      <a:pt x="1555" y="131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52" name="Vrije vorm: vorm 5651">
                <a:extLst>
                  <a:ext uri="{FF2B5EF4-FFF2-40B4-BE49-F238E27FC236}">
                    <a16:creationId xmlns:a16="http://schemas.microsoft.com/office/drawing/2014/main" id="{A86BF823-9FB5-47A0-94F0-F80ED9E3A5CD}"/>
                  </a:ext>
                </a:extLst>
              </p:cNvPr>
              <p:cNvSpPr/>
              <p:nvPr/>
            </p:nvSpPr>
            <p:spPr>
              <a:xfrm>
                <a:off x="6415839" y="1715909"/>
                <a:ext cx="25657" cy="23324"/>
              </a:xfrm>
              <a:custGeom>
                <a:avLst/>
                <a:gdLst>
                  <a:gd name="connsiteX0" fmla="*/ 16088 w 25657"/>
                  <a:gd name="connsiteY0" fmla="*/ 5143 h 23324"/>
                  <a:gd name="connsiteX1" fmla="*/ 16507 w 25657"/>
                  <a:gd name="connsiteY1" fmla="*/ 4426 h 23324"/>
                  <a:gd name="connsiteX2" fmla="*/ 16567 w 25657"/>
                  <a:gd name="connsiteY2" fmla="*/ 4306 h 23324"/>
                  <a:gd name="connsiteX3" fmla="*/ 16985 w 25657"/>
                  <a:gd name="connsiteY3" fmla="*/ 4486 h 23324"/>
                  <a:gd name="connsiteX4" fmla="*/ 18062 w 25657"/>
                  <a:gd name="connsiteY4" fmla="*/ 5024 h 23324"/>
                  <a:gd name="connsiteX5" fmla="*/ 20394 w 25657"/>
                  <a:gd name="connsiteY5" fmla="*/ 6878 h 23324"/>
                  <a:gd name="connsiteX6" fmla="*/ 22727 w 25657"/>
                  <a:gd name="connsiteY6" fmla="*/ 8732 h 23324"/>
                  <a:gd name="connsiteX7" fmla="*/ 25059 w 25657"/>
                  <a:gd name="connsiteY7" fmla="*/ 10586 h 23324"/>
                  <a:gd name="connsiteX8" fmla="*/ 25658 w 25657"/>
                  <a:gd name="connsiteY8" fmla="*/ 11064 h 23324"/>
                  <a:gd name="connsiteX9" fmla="*/ 24222 w 25657"/>
                  <a:gd name="connsiteY9" fmla="*/ 13516 h 23324"/>
                  <a:gd name="connsiteX10" fmla="*/ 24102 w 25657"/>
                  <a:gd name="connsiteY10" fmla="*/ 13756 h 23324"/>
                  <a:gd name="connsiteX11" fmla="*/ 23265 w 25657"/>
                  <a:gd name="connsiteY11" fmla="*/ 15191 h 23324"/>
                  <a:gd name="connsiteX12" fmla="*/ 21830 w 25657"/>
                  <a:gd name="connsiteY12" fmla="*/ 17643 h 23324"/>
                  <a:gd name="connsiteX13" fmla="*/ 21710 w 25657"/>
                  <a:gd name="connsiteY13" fmla="*/ 17882 h 23324"/>
                  <a:gd name="connsiteX14" fmla="*/ 20693 w 25657"/>
                  <a:gd name="connsiteY14" fmla="*/ 19617 h 23324"/>
                  <a:gd name="connsiteX15" fmla="*/ 20574 w 25657"/>
                  <a:gd name="connsiteY15" fmla="*/ 19856 h 23324"/>
                  <a:gd name="connsiteX16" fmla="*/ 20574 w 25657"/>
                  <a:gd name="connsiteY16" fmla="*/ 19916 h 23324"/>
                  <a:gd name="connsiteX17" fmla="*/ 19617 w 25657"/>
                  <a:gd name="connsiteY17" fmla="*/ 21531 h 23324"/>
                  <a:gd name="connsiteX18" fmla="*/ 19198 w 25657"/>
                  <a:gd name="connsiteY18" fmla="*/ 22248 h 23324"/>
                  <a:gd name="connsiteX19" fmla="*/ 17703 w 25657"/>
                  <a:gd name="connsiteY19" fmla="*/ 23325 h 23324"/>
                  <a:gd name="connsiteX20" fmla="*/ 15012 w 25657"/>
                  <a:gd name="connsiteY20" fmla="*/ 22069 h 23324"/>
                  <a:gd name="connsiteX21" fmla="*/ 12320 w 25657"/>
                  <a:gd name="connsiteY21" fmla="*/ 20813 h 23324"/>
                  <a:gd name="connsiteX22" fmla="*/ 9629 w 25657"/>
                  <a:gd name="connsiteY22" fmla="*/ 19557 h 23324"/>
                  <a:gd name="connsiteX23" fmla="*/ 7297 w 25657"/>
                  <a:gd name="connsiteY23" fmla="*/ 18480 h 23324"/>
                  <a:gd name="connsiteX24" fmla="*/ 4605 w 25657"/>
                  <a:gd name="connsiteY24" fmla="*/ 17225 h 23324"/>
                  <a:gd name="connsiteX25" fmla="*/ 4486 w 25657"/>
                  <a:gd name="connsiteY25" fmla="*/ 17165 h 23324"/>
                  <a:gd name="connsiteX26" fmla="*/ 2273 w 25657"/>
                  <a:gd name="connsiteY26" fmla="*/ 15191 h 23324"/>
                  <a:gd name="connsiteX27" fmla="*/ 1794 w 25657"/>
                  <a:gd name="connsiteY27" fmla="*/ 14772 h 23324"/>
                  <a:gd name="connsiteX28" fmla="*/ 1794 w 25657"/>
                  <a:gd name="connsiteY28" fmla="*/ 14772 h 23324"/>
                  <a:gd name="connsiteX29" fmla="*/ 120 w 25657"/>
                  <a:gd name="connsiteY29" fmla="*/ 13277 h 23324"/>
                  <a:gd name="connsiteX30" fmla="*/ 60 w 25657"/>
                  <a:gd name="connsiteY30" fmla="*/ 12260 h 23324"/>
                  <a:gd name="connsiteX31" fmla="*/ 60 w 25657"/>
                  <a:gd name="connsiteY31" fmla="*/ 12201 h 23324"/>
                  <a:gd name="connsiteX32" fmla="*/ 0 w 25657"/>
                  <a:gd name="connsiteY32" fmla="*/ 11304 h 23324"/>
                  <a:gd name="connsiteX33" fmla="*/ 0 w 25657"/>
                  <a:gd name="connsiteY33" fmla="*/ 11124 h 23324"/>
                  <a:gd name="connsiteX34" fmla="*/ 538 w 25657"/>
                  <a:gd name="connsiteY34" fmla="*/ 10227 h 23324"/>
                  <a:gd name="connsiteX35" fmla="*/ 718 w 25657"/>
                  <a:gd name="connsiteY35" fmla="*/ 9988 h 23324"/>
                  <a:gd name="connsiteX36" fmla="*/ 718 w 25657"/>
                  <a:gd name="connsiteY36" fmla="*/ 9988 h 23324"/>
                  <a:gd name="connsiteX37" fmla="*/ 778 w 25657"/>
                  <a:gd name="connsiteY37" fmla="*/ 9928 h 23324"/>
                  <a:gd name="connsiteX38" fmla="*/ 2213 w 25657"/>
                  <a:gd name="connsiteY38" fmla="*/ 7476 h 23324"/>
                  <a:gd name="connsiteX39" fmla="*/ 3648 w 25657"/>
                  <a:gd name="connsiteY39" fmla="*/ 5024 h 23324"/>
                  <a:gd name="connsiteX40" fmla="*/ 4545 w 25657"/>
                  <a:gd name="connsiteY40" fmla="*/ 3469 h 23324"/>
                  <a:gd name="connsiteX41" fmla="*/ 5323 w 25657"/>
                  <a:gd name="connsiteY41" fmla="*/ 2153 h 23324"/>
                  <a:gd name="connsiteX42" fmla="*/ 6579 w 25657"/>
                  <a:gd name="connsiteY42" fmla="*/ 0 h 23324"/>
                  <a:gd name="connsiteX43" fmla="*/ 7117 w 25657"/>
                  <a:gd name="connsiteY43" fmla="*/ 299 h 23324"/>
                  <a:gd name="connsiteX44" fmla="*/ 7117 w 25657"/>
                  <a:gd name="connsiteY44" fmla="*/ 299 h 23324"/>
                  <a:gd name="connsiteX45" fmla="*/ 7656 w 25657"/>
                  <a:gd name="connsiteY45" fmla="*/ 538 h 2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657" h="23324">
                    <a:moveTo>
                      <a:pt x="16088" y="5143"/>
                    </a:moveTo>
                    <a:lnTo>
                      <a:pt x="16507" y="4426"/>
                    </a:lnTo>
                    <a:lnTo>
                      <a:pt x="16567" y="4306"/>
                    </a:lnTo>
                    <a:lnTo>
                      <a:pt x="16985" y="4486"/>
                    </a:lnTo>
                    <a:lnTo>
                      <a:pt x="18062" y="5024"/>
                    </a:lnTo>
                    <a:lnTo>
                      <a:pt x="20394" y="6878"/>
                    </a:lnTo>
                    <a:lnTo>
                      <a:pt x="22727" y="8732"/>
                    </a:lnTo>
                    <a:lnTo>
                      <a:pt x="25059" y="10586"/>
                    </a:lnTo>
                    <a:lnTo>
                      <a:pt x="25658" y="11064"/>
                    </a:lnTo>
                    <a:lnTo>
                      <a:pt x="24222" y="13516"/>
                    </a:lnTo>
                    <a:lnTo>
                      <a:pt x="24102" y="13756"/>
                    </a:lnTo>
                    <a:lnTo>
                      <a:pt x="23265" y="15191"/>
                    </a:lnTo>
                    <a:lnTo>
                      <a:pt x="21830" y="17643"/>
                    </a:lnTo>
                    <a:lnTo>
                      <a:pt x="21710" y="17882"/>
                    </a:lnTo>
                    <a:lnTo>
                      <a:pt x="20693" y="19617"/>
                    </a:lnTo>
                    <a:lnTo>
                      <a:pt x="20574" y="19856"/>
                    </a:lnTo>
                    <a:lnTo>
                      <a:pt x="20574" y="19916"/>
                    </a:lnTo>
                    <a:lnTo>
                      <a:pt x="19617" y="21531"/>
                    </a:lnTo>
                    <a:lnTo>
                      <a:pt x="19198" y="22248"/>
                    </a:lnTo>
                    <a:lnTo>
                      <a:pt x="17703" y="23325"/>
                    </a:lnTo>
                    <a:lnTo>
                      <a:pt x="15012" y="22069"/>
                    </a:lnTo>
                    <a:lnTo>
                      <a:pt x="12320" y="20813"/>
                    </a:lnTo>
                    <a:lnTo>
                      <a:pt x="9629" y="19557"/>
                    </a:lnTo>
                    <a:lnTo>
                      <a:pt x="7297" y="18480"/>
                    </a:lnTo>
                    <a:lnTo>
                      <a:pt x="4605" y="17225"/>
                    </a:lnTo>
                    <a:lnTo>
                      <a:pt x="4486" y="17165"/>
                    </a:lnTo>
                    <a:lnTo>
                      <a:pt x="2273" y="15191"/>
                    </a:lnTo>
                    <a:lnTo>
                      <a:pt x="1794" y="14772"/>
                    </a:lnTo>
                    <a:lnTo>
                      <a:pt x="1794" y="14772"/>
                    </a:lnTo>
                    <a:lnTo>
                      <a:pt x="120" y="13277"/>
                    </a:lnTo>
                    <a:lnTo>
                      <a:pt x="60" y="12260"/>
                    </a:lnTo>
                    <a:lnTo>
                      <a:pt x="60" y="12201"/>
                    </a:lnTo>
                    <a:lnTo>
                      <a:pt x="0" y="11304"/>
                    </a:lnTo>
                    <a:lnTo>
                      <a:pt x="0" y="11124"/>
                    </a:lnTo>
                    <a:lnTo>
                      <a:pt x="538" y="10227"/>
                    </a:lnTo>
                    <a:lnTo>
                      <a:pt x="718" y="9988"/>
                    </a:lnTo>
                    <a:lnTo>
                      <a:pt x="718" y="9988"/>
                    </a:lnTo>
                    <a:lnTo>
                      <a:pt x="778" y="9928"/>
                    </a:lnTo>
                    <a:lnTo>
                      <a:pt x="2213" y="7476"/>
                    </a:lnTo>
                    <a:lnTo>
                      <a:pt x="3648" y="5024"/>
                    </a:lnTo>
                    <a:lnTo>
                      <a:pt x="4545" y="3469"/>
                    </a:lnTo>
                    <a:lnTo>
                      <a:pt x="5323" y="2153"/>
                    </a:lnTo>
                    <a:lnTo>
                      <a:pt x="6579" y="0"/>
                    </a:lnTo>
                    <a:lnTo>
                      <a:pt x="7117" y="299"/>
                    </a:lnTo>
                    <a:lnTo>
                      <a:pt x="7117" y="299"/>
                    </a:lnTo>
                    <a:lnTo>
                      <a:pt x="7656" y="538"/>
                    </a:lnTo>
                  </a:path>
                </a:pathLst>
              </a:custGeom>
              <a:noFill/>
              <a:ln w="6350" cap="rnd">
                <a:solidFill>
                  <a:schemeClr val="bg1">
                    <a:alpha val="80000"/>
                  </a:schemeClr>
                </a:solidFill>
                <a:prstDash val="solid"/>
                <a:round/>
              </a:ln>
            </p:spPr>
            <p:txBody>
              <a:bodyPr rtlCol="0" anchor="ctr"/>
              <a:lstStyle/>
              <a:p>
                <a:endParaRPr lang="en-GB"/>
              </a:p>
            </p:txBody>
          </p:sp>
          <p:sp>
            <p:nvSpPr>
              <p:cNvPr id="5653" name="Vrije vorm: vorm 5652">
                <a:extLst>
                  <a:ext uri="{FF2B5EF4-FFF2-40B4-BE49-F238E27FC236}">
                    <a16:creationId xmlns:a16="http://schemas.microsoft.com/office/drawing/2014/main" id="{76B1791E-E596-4F94-8882-9DA8DF740D5C}"/>
                  </a:ext>
                </a:extLst>
              </p:cNvPr>
              <p:cNvSpPr/>
              <p:nvPr/>
            </p:nvSpPr>
            <p:spPr>
              <a:xfrm>
                <a:off x="6428638" y="1730861"/>
                <a:ext cx="5502" cy="3947"/>
              </a:xfrm>
              <a:custGeom>
                <a:avLst/>
                <a:gdLst>
                  <a:gd name="connsiteX0" fmla="*/ 5502 w 5502"/>
                  <a:gd name="connsiteY0" fmla="*/ 3947 h 3947"/>
                  <a:gd name="connsiteX1" fmla="*/ 3229 w 5502"/>
                  <a:gd name="connsiteY1" fmla="*/ 2034 h 3947"/>
                  <a:gd name="connsiteX2" fmla="*/ 957 w 5502"/>
                  <a:gd name="connsiteY2" fmla="*/ 120 h 3947"/>
                  <a:gd name="connsiteX3" fmla="*/ 778 w 5502"/>
                  <a:gd name="connsiteY3" fmla="*/ 0 h 3947"/>
                  <a:gd name="connsiteX4" fmla="*/ 0 w 5502"/>
                  <a:gd name="connsiteY4" fmla="*/ 1316 h 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2" h="3947">
                    <a:moveTo>
                      <a:pt x="5502" y="3947"/>
                    </a:moveTo>
                    <a:lnTo>
                      <a:pt x="3229" y="2034"/>
                    </a:lnTo>
                    <a:lnTo>
                      <a:pt x="957" y="120"/>
                    </a:lnTo>
                    <a:lnTo>
                      <a:pt x="778" y="0"/>
                    </a:lnTo>
                    <a:lnTo>
                      <a:pt x="0" y="1316"/>
                    </a:lnTo>
                  </a:path>
                </a:pathLst>
              </a:custGeom>
              <a:noFill/>
              <a:ln w="6350" cap="rnd">
                <a:solidFill>
                  <a:schemeClr val="bg1">
                    <a:alpha val="80000"/>
                  </a:schemeClr>
                </a:solidFill>
                <a:prstDash val="solid"/>
                <a:round/>
              </a:ln>
            </p:spPr>
            <p:txBody>
              <a:bodyPr rtlCol="0" anchor="ctr"/>
              <a:lstStyle/>
              <a:p>
                <a:endParaRPr lang="en-GB"/>
              </a:p>
            </p:txBody>
          </p:sp>
          <p:sp>
            <p:nvSpPr>
              <p:cNvPr id="5654" name="Vrije vorm: vorm 5653">
                <a:extLst>
                  <a:ext uri="{FF2B5EF4-FFF2-40B4-BE49-F238E27FC236}">
                    <a16:creationId xmlns:a16="http://schemas.microsoft.com/office/drawing/2014/main" id="{0A10E929-4727-4FE0-8E3F-56F81BC32ABD}"/>
                  </a:ext>
                </a:extLst>
              </p:cNvPr>
              <p:cNvSpPr/>
              <p:nvPr/>
            </p:nvSpPr>
            <p:spPr>
              <a:xfrm>
                <a:off x="6421879" y="1729246"/>
                <a:ext cx="14234" cy="6877"/>
              </a:xfrm>
              <a:custGeom>
                <a:avLst/>
                <a:gdLst>
                  <a:gd name="connsiteX0" fmla="*/ 14234 w 14234"/>
                  <a:gd name="connsiteY0" fmla="*/ 6878 h 6877"/>
                  <a:gd name="connsiteX1" fmla="*/ 12141 w 14234"/>
                  <a:gd name="connsiteY1" fmla="*/ 5861 h 6877"/>
                  <a:gd name="connsiteX2" fmla="*/ 9450 w 14234"/>
                  <a:gd name="connsiteY2" fmla="*/ 4545 h 6877"/>
                  <a:gd name="connsiteX3" fmla="*/ 6758 w 14234"/>
                  <a:gd name="connsiteY3" fmla="*/ 3230 h 6877"/>
                  <a:gd name="connsiteX4" fmla="*/ 4486 w 14234"/>
                  <a:gd name="connsiteY4" fmla="*/ 2153 h 6877"/>
                  <a:gd name="connsiteX5" fmla="*/ 4067 w 14234"/>
                  <a:gd name="connsiteY5" fmla="*/ 1974 h 6877"/>
                  <a:gd name="connsiteX6" fmla="*/ 3229 w 14234"/>
                  <a:gd name="connsiteY6" fmla="*/ 1555 h 6877"/>
                  <a:gd name="connsiteX7" fmla="*/ 1495 w 14234"/>
                  <a:gd name="connsiteY7" fmla="*/ 718 h 6877"/>
                  <a:gd name="connsiteX8" fmla="*/ 1017 w 14234"/>
                  <a:gd name="connsiteY8" fmla="*/ 478 h 6877"/>
                  <a:gd name="connsiteX9" fmla="*/ 0 w 14234"/>
                  <a:gd name="connsiteY9" fmla="*/ 0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4" h="6877">
                    <a:moveTo>
                      <a:pt x="14234" y="6878"/>
                    </a:moveTo>
                    <a:lnTo>
                      <a:pt x="12141" y="5861"/>
                    </a:lnTo>
                    <a:lnTo>
                      <a:pt x="9450" y="4545"/>
                    </a:lnTo>
                    <a:lnTo>
                      <a:pt x="6758" y="3230"/>
                    </a:lnTo>
                    <a:lnTo>
                      <a:pt x="4486" y="2153"/>
                    </a:lnTo>
                    <a:lnTo>
                      <a:pt x="4067" y="1974"/>
                    </a:lnTo>
                    <a:lnTo>
                      <a:pt x="3229" y="1555"/>
                    </a:lnTo>
                    <a:lnTo>
                      <a:pt x="1495" y="718"/>
                    </a:lnTo>
                    <a:lnTo>
                      <a:pt x="1017" y="47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55" name="Vrije vorm: vorm 5654">
                <a:extLst>
                  <a:ext uri="{FF2B5EF4-FFF2-40B4-BE49-F238E27FC236}">
                    <a16:creationId xmlns:a16="http://schemas.microsoft.com/office/drawing/2014/main" id="{16DF4C1E-752F-444E-9C5B-37FAA72103A5}"/>
                  </a:ext>
                </a:extLst>
              </p:cNvPr>
              <p:cNvSpPr/>
              <p:nvPr/>
            </p:nvSpPr>
            <p:spPr>
              <a:xfrm>
                <a:off x="6420265" y="1715849"/>
                <a:ext cx="7117" cy="17104"/>
              </a:xfrm>
              <a:custGeom>
                <a:avLst/>
                <a:gdLst>
                  <a:gd name="connsiteX0" fmla="*/ 0 w 7117"/>
                  <a:gd name="connsiteY0" fmla="*/ 17105 h 17104"/>
                  <a:gd name="connsiteX1" fmla="*/ 419 w 7117"/>
                  <a:gd name="connsiteY1" fmla="*/ 15430 h 17104"/>
                  <a:gd name="connsiteX2" fmla="*/ 837 w 7117"/>
                  <a:gd name="connsiteY2" fmla="*/ 14713 h 17104"/>
                  <a:gd name="connsiteX3" fmla="*/ 1076 w 7117"/>
                  <a:gd name="connsiteY3" fmla="*/ 14294 h 17104"/>
                  <a:gd name="connsiteX4" fmla="*/ 1795 w 7117"/>
                  <a:gd name="connsiteY4" fmla="*/ 13098 h 17104"/>
                  <a:gd name="connsiteX5" fmla="*/ 1974 w 7117"/>
                  <a:gd name="connsiteY5" fmla="*/ 12859 h 17104"/>
                  <a:gd name="connsiteX6" fmla="*/ 2034 w 7117"/>
                  <a:gd name="connsiteY6" fmla="*/ 12799 h 17104"/>
                  <a:gd name="connsiteX7" fmla="*/ 3469 w 7117"/>
                  <a:gd name="connsiteY7" fmla="*/ 10347 h 17104"/>
                  <a:gd name="connsiteX8" fmla="*/ 4904 w 7117"/>
                  <a:gd name="connsiteY8" fmla="*/ 7895 h 17104"/>
                  <a:gd name="connsiteX9" fmla="*/ 5203 w 7117"/>
                  <a:gd name="connsiteY9" fmla="*/ 7416 h 17104"/>
                  <a:gd name="connsiteX10" fmla="*/ 6639 w 7117"/>
                  <a:gd name="connsiteY10" fmla="*/ 4964 h 17104"/>
                  <a:gd name="connsiteX11" fmla="*/ 7117 w 7117"/>
                  <a:gd name="connsiteY11" fmla="*/ 4127 h 17104"/>
                  <a:gd name="connsiteX12" fmla="*/ 6818 w 7117"/>
                  <a:gd name="connsiteY12" fmla="*/ 3887 h 17104"/>
                  <a:gd name="connsiteX13" fmla="*/ 4725 w 7117"/>
                  <a:gd name="connsiteY13" fmla="*/ 2213 h 17104"/>
                  <a:gd name="connsiteX14" fmla="*/ 4725 w 7117"/>
                  <a:gd name="connsiteY14" fmla="*/ 2213 h 17104"/>
                  <a:gd name="connsiteX15" fmla="*/ 2990 w 7117"/>
                  <a:gd name="connsiteY15" fmla="*/ 778 h 17104"/>
                  <a:gd name="connsiteX16" fmla="*/ 2632 w 7117"/>
                  <a:gd name="connsiteY16" fmla="*/ 478 h 17104"/>
                  <a:gd name="connsiteX17" fmla="*/ 2512 w 7117"/>
                  <a:gd name="connsiteY17" fmla="*/ 359 h 17104"/>
                  <a:gd name="connsiteX18" fmla="*/ 2034 w 7117"/>
                  <a:gd name="connsiteY18" fmla="*/ 0 h 1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117" h="17104">
                    <a:moveTo>
                      <a:pt x="0" y="17105"/>
                    </a:moveTo>
                    <a:lnTo>
                      <a:pt x="419" y="15430"/>
                    </a:lnTo>
                    <a:lnTo>
                      <a:pt x="837" y="14713"/>
                    </a:lnTo>
                    <a:lnTo>
                      <a:pt x="1076" y="14294"/>
                    </a:lnTo>
                    <a:lnTo>
                      <a:pt x="1795" y="13098"/>
                    </a:lnTo>
                    <a:lnTo>
                      <a:pt x="1974" y="12859"/>
                    </a:lnTo>
                    <a:lnTo>
                      <a:pt x="2034" y="12799"/>
                    </a:lnTo>
                    <a:lnTo>
                      <a:pt x="3469" y="10347"/>
                    </a:lnTo>
                    <a:lnTo>
                      <a:pt x="4904" y="7895"/>
                    </a:lnTo>
                    <a:lnTo>
                      <a:pt x="5203" y="7416"/>
                    </a:lnTo>
                    <a:lnTo>
                      <a:pt x="6639" y="4964"/>
                    </a:lnTo>
                    <a:lnTo>
                      <a:pt x="7117" y="4127"/>
                    </a:lnTo>
                    <a:lnTo>
                      <a:pt x="6818" y="3887"/>
                    </a:lnTo>
                    <a:lnTo>
                      <a:pt x="4725" y="2213"/>
                    </a:lnTo>
                    <a:lnTo>
                      <a:pt x="4725" y="2213"/>
                    </a:lnTo>
                    <a:lnTo>
                      <a:pt x="2990" y="778"/>
                    </a:lnTo>
                    <a:lnTo>
                      <a:pt x="2632" y="478"/>
                    </a:lnTo>
                    <a:lnTo>
                      <a:pt x="2512" y="359"/>
                    </a:lnTo>
                    <a:lnTo>
                      <a:pt x="2034" y="0"/>
                    </a:lnTo>
                  </a:path>
                </a:pathLst>
              </a:custGeom>
              <a:noFill/>
              <a:ln w="6350" cap="rnd">
                <a:solidFill>
                  <a:schemeClr val="bg1">
                    <a:alpha val="80000"/>
                  </a:schemeClr>
                </a:solidFill>
                <a:prstDash val="solid"/>
                <a:round/>
              </a:ln>
            </p:spPr>
            <p:txBody>
              <a:bodyPr rtlCol="0" anchor="ctr"/>
              <a:lstStyle/>
              <a:p>
                <a:endParaRPr lang="en-GB"/>
              </a:p>
            </p:txBody>
          </p:sp>
          <p:sp>
            <p:nvSpPr>
              <p:cNvPr id="5656" name="Vrije vorm: vorm 5655">
                <a:extLst>
                  <a:ext uri="{FF2B5EF4-FFF2-40B4-BE49-F238E27FC236}">
                    <a16:creationId xmlns:a16="http://schemas.microsoft.com/office/drawing/2014/main" id="{53E120CB-4B62-4E81-8EA4-C8C6C01DBCDE}"/>
                  </a:ext>
                </a:extLst>
              </p:cNvPr>
              <p:cNvSpPr/>
              <p:nvPr/>
            </p:nvSpPr>
            <p:spPr>
              <a:xfrm>
                <a:off x="6415660" y="1723564"/>
                <a:ext cx="2332" cy="1913"/>
              </a:xfrm>
              <a:custGeom>
                <a:avLst/>
                <a:gdLst>
                  <a:gd name="connsiteX0" fmla="*/ 2332 w 2332"/>
                  <a:gd name="connsiteY0" fmla="*/ 1914 h 1913"/>
                  <a:gd name="connsiteX1" fmla="*/ 1854 w 2332"/>
                  <a:gd name="connsiteY1" fmla="*/ 1555 h 1913"/>
                  <a:gd name="connsiteX2" fmla="*/ 1734 w 2332"/>
                  <a:gd name="connsiteY2" fmla="*/ 1495 h 1913"/>
                  <a:gd name="connsiteX3" fmla="*/ 0 w 2332"/>
                  <a:gd name="connsiteY3" fmla="*/ 0 h 1913"/>
                </a:gdLst>
                <a:ahLst/>
                <a:cxnLst>
                  <a:cxn ang="0">
                    <a:pos x="connsiteX0" y="connsiteY0"/>
                  </a:cxn>
                  <a:cxn ang="0">
                    <a:pos x="connsiteX1" y="connsiteY1"/>
                  </a:cxn>
                  <a:cxn ang="0">
                    <a:pos x="connsiteX2" y="connsiteY2"/>
                  </a:cxn>
                  <a:cxn ang="0">
                    <a:pos x="connsiteX3" y="connsiteY3"/>
                  </a:cxn>
                </a:cxnLst>
                <a:rect l="l" t="t" r="r" b="b"/>
                <a:pathLst>
                  <a:path w="2332" h="1913">
                    <a:moveTo>
                      <a:pt x="2332" y="1914"/>
                    </a:moveTo>
                    <a:lnTo>
                      <a:pt x="1854" y="1555"/>
                    </a:lnTo>
                    <a:lnTo>
                      <a:pt x="1734" y="149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57" name="Vrije vorm: vorm 5656">
                <a:extLst>
                  <a:ext uri="{FF2B5EF4-FFF2-40B4-BE49-F238E27FC236}">
                    <a16:creationId xmlns:a16="http://schemas.microsoft.com/office/drawing/2014/main" id="{533BAFCA-329E-48C4-AAFF-8FA122DC703A}"/>
                  </a:ext>
                </a:extLst>
              </p:cNvPr>
              <p:cNvSpPr/>
              <p:nvPr/>
            </p:nvSpPr>
            <p:spPr>
              <a:xfrm>
                <a:off x="6413566" y="1730562"/>
                <a:ext cx="4007" cy="6937"/>
              </a:xfrm>
              <a:custGeom>
                <a:avLst/>
                <a:gdLst>
                  <a:gd name="connsiteX0" fmla="*/ 4007 w 4007"/>
                  <a:gd name="connsiteY0" fmla="*/ 0 h 6937"/>
                  <a:gd name="connsiteX1" fmla="*/ 3469 w 4007"/>
                  <a:gd name="connsiteY1" fmla="*/ 957 h 6937"/>
                  <a:gd name="connsiteX2" fmla="*/ 3289 w 4007"/>
                  <a:gd name="connsiteY2" fmla="*/ 1316 h 6937"/>
                  <a:gd name="connsiteX3" fmla="*/ 1854 w 4007"/>
                  <a:gd name="connsiteY3" fmla="*/ 3768 h 6937"/>
                  <a:gd name="connsiteX4" fmla="*/ 419 w 4007"/>
                  <a:gd name="connsiteY4" fmla="*/ 6220 h 6937"/>
                  <a:gd name="connsiteX5" fmla="*/ 0 w 4007"/>
                  <a:gd name="connsiteY5" fmla="*/ 6938 h 6937"/>
                  <a:gd name="connsiteX6" fmla="*/ 1435 w 4007"/>
                  <a:gd name="connsiteY6" fmla="*/ 4486 h 6937"/>
                  <a:gd name="connsiteX7" fmla="*/ 2871 w 4007"/>
                  <a:gd name="connsiteY7" fmla="*/ 2033 h 6937"/>
                  <a:gd name="connsiteX8" fmla="*/ 3289 w 4007"/>
                  <a:gd name="connsiteY8" fmla="*/ 1316 h 6937"/>
                  <a:gd name="connsiteX9" fmla="*/ 3469 w 4007"/>
                  <a:gd name="connsiteY9" fmla="*/ 957 h 6937"/>
                  <a:gd name="connsiteX10" fmla="*/ 4007 w 4007"/>
                  <a:gd name="connsiteY10" fmla="*/ 0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7" h="6937">
                    <a:moveTo>
                      <a:pt x="4007" y="0"/>
                    </a:moveTo>
                    <a:lnTo>
                      <a:pt x="3469" y="957"/>
                    </a:lnTo>
                    <a:lnTo>
                      <a:pt x="3289" y="1316"/>
                    </a:lnTo>
                    <a:lnTo>
                      <a:pt x="1854" y="3768"/>
                    </a:lnTo>
                    <a:lnTo>
                      <a:pt x="419" y="6220"/>
                    </a:lnTo>
                    <a:lnTo>
                      <a:pt x="0" y="6938"/>
                    </a:lnTo>
                    <a:lnTo>
                      <a:pt x="1435" y="4486"/>
                    </a:lnTo>
                    <a:lnTo>
                      <a:pt x="2871" y="2033"/>
                    </a:lnTo>
                    <a:lnTo>
                      <a:pt x="3289" y="1316"/>
                    </a:lnTo>
                    <a:lnTo>
                      <a:pt x="3469" y="957"/>
                    </a:lnTo>
                    <a:lnTo>
                      <a:pt x="4007" y="0"/>
                    </a:lnTo>
                  </a:path>
                </a:pathLst>
              </a:custGeom>
              <a:noFill/>
              <a:ln w="6350" cap="rnd">
                <a:solidFill>
                  <a:schemeClr val="bg1">
                    <a:alpha val="80000"/>
                  </a:schemeClr>
                </a:solidFill>
                <a:prstDash val="solid"/>
                <a:round/>
              </a:ln>
            </p:spPr>
            <p:txBody>
              <a:bodyPr rtlCol="0" anchor="ctr"/>
              <a:lstStyle/>
              <a:p>
                <a:endParaRPr lang="en-GB"/>
              </a:p>
            </p:txBody>
          </p:sp>
          <p:sp>
            <p:nvSpPr>
              <p:cNvPr id="5658" name="Vrije vorm: vorm 5657">
                <a:extLst>
                  <a:ext uri="{FF2B5EF4-FFF2-40B4-BE49-F238E27FC236}">
                    <a16:creationId xmlns:a16="http://schemas.microsoft.com/office/drawing/2014/main" id="{5374709B-4C11-478B-876C-79893E6DB507}"/>
                  </a:ext>
                </a:extLst>
              </p:cNvPr>
              <p:cNvSpPr/>
              <p:nvPr/>
            </p:nvSpPr>
            <p:spPr>
              <a:xfrm>
                <a:off x="6415360" y="1727273"/>
                <a:ext cx="59" cy="239"/>
              </a:xfrm>
              <a:custGeom>
                <a:avLst/>
                <a:gdLst>
                  <a:gd name="connsiteX0" fmla="*/ 60 w 59"/>
                  <a:gd name="connsiteY0" fmla="*/ 239 h 239"/>
                  <a:gd name="connsiteX1" fmla="*/ 60 w 59"/>
                  <a:gd name="connsiteY1" fmla="*/ 120 h 239"/>
                  <a:gd name="connsiteX2" fmla="*/ 0 w 59"/>
                  <a:gd name="connsiteY2" fmla="*/ 0 h 239"/>
                </a:gdLst>
                <a:ahLst/>
                <a:cxnLst>
                  <a:cxn ang="0">
                    <a:pos x="connsiteX0" y="connsiteY0"/>
                  </a:cxn>
                  <a:cxn ang="0">
                    <a:pos x="connsiteX1" y="connsiteY1"/>
                  </a:cxn>
                  <a:cxn ang="0">
                    <a:pos x="connsiteX2" y="connsiteY2"/>
                  </a:cxn>
                </a:cxnLst>
                <a:rect l="l" t="t" r="r" b="b"/>
                <a:pathLst>
                  <a:path w="59" h="239">
                    <a:moveTo>
                      <a:pt x="60" y="239"/>
                    </a:moveTo>
                    <a:lnTo>
                      <a:pt x="60"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59" name="Vrije vorm: vorm 5658">
                <a:extLst>
                  <a:ext uri="{FF2B5EF4-FFF2-40B4-BE49-F238E27FC236}">
                    <a16:creationId xmlns:a16="http://schemas.microsoft.com/office/drawing/2014/main" id="{D070AF51-1BBC-4461-8653-B580D66902A3}"/>
                  </a:ext>
                </a:extLst>
              </p:cNvPr>
              <p:cNvSpPr/>
              <p:nvPr/>
            </p:nvSpPr>
            <p:spPr>
              <a:xfrm>
                <a:off x="6414284" y="1728947"/>
                <a:ext cx="239" cy="59"/>
              </a:xfrm>
              <a:custGeom>
                <a:avLst/>
                <a:gdLst>
                  <a:gd name="connsiteX0" fmla="*/ 0 w 239"/>
                  <a:gd name="connsiteY0" fmla="*/ 0 h 59"/>
                  <a:gd name="connsiteX1" fmla="*/ 120 w 239"/>
                  <a:gd name="connsiteY1" fmla="*/ 60 h 59"/>
                  <a:gd name="connsiteX2" fmla="*/ 239 w 239"/>
                  <a:gd name="connsiteY2" fmla="*/ 60 h 59"/>
                </a:gdLst>
                <a:ahLst/>
                <a:cxnLst>
                  <a:cxn ang="0">
                    <a:pos x="connsiteX0" y="connsiteY0"/>
                  </a:cxn>
                  <a:cxn ang="0">
                    <a:pos x="connsiteX1" y="connsiteY1"/>
                  </a:cxn>
                  <a:cxn ang="0">
                    <a:pos x="connsiteX2" y="connsiteY2"/>
                  </a:cxn>
                </a:cxnLst>
                <a:rect l="l" t="t" r="r" b="b"/>
                <a:pathLst>
                  <a:path w="239" h="59">
                    <a:moveTo>
                      <a:pt x="0" y="0"/>
                    </a:moveTo>
                    <a:lnTo>
                      <a:pt x="120" y="60"/>
                    </a:lnTo>
                    <a:lnTo>
                      <a:pt x="239" y="60"/>
                    </a:lnTo>
                  </a:path>
                </a:pathLst>
              </a:custGeom>
              <a:noFill/>
              <a:ln w="6350" cap="rnd">
                <a:solidFill>
                  <a:schemeClr val="bg1">
                    <a:alpha val="80000"/>
                  </a:schemeClr>
                </a:solidFill>
                <a:prstDash val="solid"/>
                <a:round/>
              </a:ln>
            </p:spPr>
            <p:txBody>
              <a:bodyPr rtlCol="0" anchor="ctr"/>
              <a:lstStyle/>
              <a:p>
                <a:endParaRPr lang="en-GB"/>
              </a:p>
            </p:txBody>
          </p:sp>
          <p:sp>
            <p:nvSpPr>
              <p:cNvPr id="5660" name="Vrije vorm: vorm 5659">
                <a:extLst>
                  <a:ext uri="{FF2B5EF4-FFF2-40B4-BE49-F238E27FC236}">
                    <a16:creationId xmlns:a16="http://schemas.microsoft.com/office/drawing/2014/main" id="{ED96AB77-DD7D-4305-A4D4-D135E6F38EFE}"/>
                  </a:ext>
                </a:extLst>
              </p:cNvPr>
              <p:cNvSpPr/>
              <p:nvPr/>
            </p:nvSpPr>
            <p:spPr>
              <a:xfrm>
                <a:off x="6416138" y="1725538"/>
                <a:ext cx="239" cy="299"/>
              </a:xfrm>
              <a:custGeom>
                <a:avLst/>
                <a:gdLst>
                  <a:gd name="connsiteX0" fmla="*/ 239 w 239"/>
                  <a:gd name="connsiteY0" fmla="*/ 299 h 299"/>
                  <a:gd name="connsiteX1" fmla="*/ 239 w 239"/>
                  <a:gd name="connsiteY1" fmla="*/ 299 h 299"/>
                  <a:gd name="connsiteX2" fmla="*/ 180 w 239"/>
                  <a:gd name="connsiteY2" fmla="*/ 179 h 299"/>
                  <a:gd name="connsiteX3" fmla="*/ 180 w 239"/>
                  <a:gd name="connsiteY3" fmla="*/ 179 h 299"/>
                  <a:gd name="connsiteX4" fmla="*/ 120 w 239"/>
                  <a:gd name="connsiteY4" fmla="*/ 60 h 299"/>
                  <a:gd name="connsiteX5" fmla="*/ 0 w 239"/>
                  <a:gd name="connsiteY5" fmla="*/ 0 h 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 h="299">
                    <a:moveTo>
                      <a:pt x="239" y="299"/>
                    </a:moveTo>
                    <a:lnTo>
                      <a:pt x="239" y="299"/>
                    </a:lnTo>
                    <a:lnTo>
                      <a:pt x="180" y="179"/>
                    </a:lnTo>
                    <a:lnTo>
                      <a:pt x="180" y="179"/>
                    </a:lnTo>
                    <a:lnTo>
                      <a:pt x="120" y="6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61" name="Vrije vorm: vorm 5660">
                <a:extLst>
                  <a:ext uri="{FF2B5EF4-FFF2-40B4-BE49-F238E27FC236}">
                    <a16:creationId xmlns:a16="http://schemas.microsoft.com/office/drawing/2014/main" id="{0BC748D7-D800-4675-A191-683C72133CAC}"/>
                  </a:ext>
                </a:extLst>
              </p:cNvPr>
              <p:cNvSpPr/>
              <p:nvPr/>
            </p:nvSpPr>
            <p:spPr>
              <a:xfrm>
                <a:off x="6415540" y="1727093"/>
                <a:ext cx="239" cy="59"/>
              </a:xfrm>
              <a:custGeom>
                <a:avLst/>
                <a:gdLst>
                  <a:gd name="connsiteX0" fmla="*/ 0 w 239"/>
                  <a:gd name="connsiteY0" fmla="*/ 60 h 59"/>
                  <a:gd name="connsiteX1" fmla="*/ 120 w 239"/>
                  <a:gd name="connsiteY1" fmla="*/ 60 h 59"/>
                  <a:gd name="connsiteX2" fmla="*/ 239 w 239"/>
                  <a:gd name="connsiteY2" fmla="*/ 0 h 59"/>
                </a:gdLst>
                <a:ahLst/>
                <a:cxnLst>
                  <a:cxn ang="0">
                    <a:pos x="connsiteX0" y="connsiteY0"/>
                  </a:cxn>
                  <a:cxn ang="0">
                    <a:pos x="connsiteX1" y="connsiteY1"/>
                  </a:cxn>
                  <a:cxn ang="0">
                    <a:pos x="connsiteX2" y="connsiteY2"/>
                  </a:cxn>
                </a:cxnLst>
                <a:rect l="l" t="t" r="r" b="b"/>
                <a:pathLst>
                  <a:path w="239" h="59">
                    <a:moveTo>
                      <a:pt x="0" y="60"/>
                    </a:moveTo>
                    <a:lnTo>
                      <a:pt x="120" y="60"/>
                    </a:lnTo>
                    <a:lnTo>
                      <a:pt x="239" y="0"/>
                    </a:lnTo>
                  </a:path>
                </a:pathLst>
              </a:custGeom>
              <a:noFill/>
              <a:ln w="6350" cap="rnd">
                <a:solidFill>
                  <a:schemeClr val="bg1">
                    <a:alpha val="80000"/>
                  </a:schemeClr>
                </a:solidFill>
                <a:prstDash val="solid"/>
                <a:round/>
              </a:ln>
            </p:spPr>
            <p:txBody>
              <a:bodyPr rtlCol="0" anchor="ctr"/>
              <a:lstStyle/>
              <a:p>
                <a:endParaRPr lang="en-GB"/>
              </a:p>
            </p:txBody>
          </p:sp>
          <p:sp>
            <p:nvSpPr>
              <p:cNvPr id="5662" name="Vrije vorm: vorm 5661">
                <a:extLst>
                  <a:ext uri="{FF2B5EF4-FFF2-40B4-BE49-F238E27FC236}">
                    <a16:creationId xmlns:a16="http://schemas.microsoft.com/office/drawing/2014/main" id="{FF68E4CF-B83F-4BAD-9CA2-CF112EC8DAFA}"/>
                  </a:ext>
                </a:extLst>
              </p:cNvPr>
              <p:cNvSpPr/>
              <p:nvPr/>
            </p:nvSpPr>
            <p:spPr>
              <a:xfrm>
                <a:off x="6413088" y="1726674"/>
                <a:ext cx="2212" cy="2272"/>
              </a:xfrm>
              <a:custGeom>
                <a:avLst/>
                <a:gdLst>
                  <a:gd name="connsiteX0" fmla="*/ 1196 w 2212"/>
                  <a:gd name="connsiteY0" fmla="*/ 2273 h 2272"/>
                  <a:gd name="connsiteX1" fmla="*/ 119 w 2212"/>
                  <a:gd name="connsiteY1" fmla="*/ 1734 h 2272"/>
                  <a:gd name="connsiteX2" fmla="*/ 60 w 2212"/>
                  <a:gd name="connsiteY2" fmla="*/ 1615 h 2272"/>
                  <a:gd name="connsiteX3" fmla="*/ 0 w 2212"/>
                  <a:gd name="connsiteY3" fmla="*/ 1435 h 2272"/>
                  <a:gd name="connsiteX4" fmla="*/ 0 w 2212"/>
                  <a:gd name="connsiteY4" fmla="*/ 1256 h 2272"/>
                  <a:gd name="connsiteX5" fmla="*/ 0 w 2212"/>
                  <a:gd name="connsiteY5" fmla="*/ 1196 h 2272"/>
                  <a:gd name="connsiteX6" fmla="*/ 60 w 2212"/>
                  <a:gd name="connsiteY6" fmla="*/ 1077 h 2272"/>
                  <a:gd name="connsiteX7" fmla="*/ 119 w 2212"/>
                  <a:gd name="connsiteY7" fmla="*/ 837 h 2272"/>
                  <a:gd name="connsiteX8" fmla="*/ 239 w 2212"/>
                  <a:gd name="connsiteY8" fmla="*/ 598 h 2272"/>
                  <a:gd name="connsiteX9" fmla="*/ 359 w 2212"/>
                  <a:gd name="connsiteY9" fmla="*/ 359 h 2272"/>
                  <a:gd name="connsiteX10" fmla="*/ 538 w 2212"/>
                  <a:gd name="connsiteY10" fmla="*/ 179 h 2272"/>
                  <a:gd name="connsiteX11" fmla="*/ 658 w 2212"/>
                  <a:gd name="connsiteY11" fmla="*/ 120 h 2272"/>
                  <a:gd name="connsiteX12" fmla="*/ 718 w 2212"/>
                  <a:gd name="connsiteY12" fmla="*/ 60 h 2272"/>
                  <a:gd name="connsiteX13" fmla="*/ 897 w 2212"/>
                  <a:gd name="connsiteY13" fmla="*/ 0 h 2272"/>
                  <a:gd name="connsiteX14" fmla="*/ 1017 w 2212"/>
                  <a:gd name="connsiteY14" fmla="*/ 0 h 2272"/>
                  <a:gd name="connsiteX15" fmla="*/ 1136 w 2212"/>
                  <a:gd name="connsiteY15" fmla="*/ 60 h 2272"/>
                  <a:gd name="connsiteX16" fmla="*/ 2213 w 2212"/>
                  <a:gd name="connsiteY16" fmla="*/ 598 h 2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12" h="2272">
                    <a:moveTo>
                      <a:pt x="1196" y="2273"/>
                    </a:moveTo>
                    <a:lnTo>
                      <a:pt x="119" y="1734"/>
                    </a:lnTo>
                    <a:lnTo>
                      <a:pt x="60" y="1615"/>
                    </a:lnTo>
                    <a:lnTo>
                      <a:pt x="0" y="1435"/>
                    </a:lnTo>
                    <a:lnTo>
                      <a:pt x="0" y="1256"/>
                    </a:lnTo>
                    <a:lnTo>
                      <a:pt x="0" y="1196"/>
                    </a:lnTo>
                    <a:lnTo>
                      <a:pt x="60" y="1077"/>
                    </a:lnTo>
                    <a:lnTo>
                      <a:pt x="119" y="837"/>
                    </a:lnTo>
                    <a:lnTo>
                      <a:pt x="239" y="598"/>
                    </a:lnTo>
                    <a:lnTo>
                      <a:pt x="359" y="359"/>
                    </a:lnTo>
                    <a:lnTo>
                      <a:pt x="538" y="179"/>
                    </a:lnTo>
                    <a:lnTo>
                      <a:pt x="658" y="120"/>
                    </a:lnTo>
                    <a:lnTo>
                      <a:pt x="718" y="60"/>
                    </a:lnTo>
                    <a:lnTo>
                      <a:pt x="897" y="0"/>
                    </a:lnTo>
                    <a:lnTo>
                      <a:pt x="1017" y="0"/>
                    </a:lnTo>
                    <a:lnTo>
                      <a:pt x="1136" y="60"/>
                    </a:lnTo>
                    <a:lnTo>
                      <a:pt x="2213" y="598"/>
                    </a:lnTo>
                  </a:path>
                </a:pathLst>
              </a:custGeom>
              <a:noFill/>
              <a:ln w="6350" cap="rnd">
                <a:solidFill>
                  <a:schemeClr val="bg1">
                    <a:alpha val="80000"/>
                  </a:schemeClr>
                </a:solidFill>
                <a:prstDash val="solid"/>
                <a:round/>
              </a:ln>
            </p:spPr>
            <p:txBody>
              <a:bodyPr rtlCol="0" anchor="ctr"/>
              <a:lstStyle/>
              <a:p>
                <a:endParaRPr lang="en-GB"/>
              </a:p>
            </p:txBody>
          </p:sp>
          <p:sp>
            <p:nvSpPr>
              <p:cNvPr id="5663" name="Vrije vorm: vorm 5662">
                <a:extLst>
                  <a:ext uri="{FF2B5EF4-FFF2-40B4-BE49-F238E27FC236}">
                    <a16:creationId xmlns:a16="http://schemas.microsoft.com/office/drawing/2014/main" id="{C4539BEB-80CE-4863-820E-53991ED3721D}"/>
                  </a:ext>
                </a:extLst>
              </p:cNvPr>
              <p:cNvSpPr/>
              <p:nvPr/>
            </p:nvSpPr>
            <p:spPr>
              <a:xfrm>
                <a:off x="6413207" y="1726734"/>
                <a:ext cx="1136" cy="1794"/>
              </a:xfrm>
              <a:custGeom>
                <a:avLst/>
                <a:gdLst>
                  <a:gd name="connsiteX0" fmla="*/ 1017 w 1136"/>
                  <a:gd name="connsiteY0" fmla="*/ 0 h 1794"/>
                  <a:gd name="connsiteX1" fmla="*/ 1076 w 1136"/>
                  <a:gd name="connsiteY1" fmla="*/ 120 h 1794"/>
                  <a:gd name="connsiteX2" fmla="*/ 1136 w 1136"/>
                  <a:gd name="connsiteY2" fmla="*/ 299 h 1794"/>
                  <a:gd name="connsiteX3" fmla="*/ 1136 w 1136"/>
                  <a:gd name="connsiteY3" fmla="*/ 478 h 1794"/>
                  <a:gd name="connsiteX4" fmla="*/ 1076 w 1136"/>
                  <a:gd name="connsiteY4" fmla="*/ 718 h 1794"/>
                  <a:gd name="connsiteX5" fmla="*/ 1017 w 1136"/>
                  <a:gd name="connsiteY5" fmla="*/ 957 h 1794"/>
                  <a:gd name="connsiteX6" fmla="*/ 897 w 1136"/>
                  <a:gd name="connsiteY6" fmla="*/ 1196 h 1794"/>
                  <a:gd name="connsiteX7" fmla="*/ 778 w 1136"/>
                  <a:gd name="connsiteY7" fmla="*/ 1435 h 1794"/>
                  <a:gd name="connsiteX8" fmla="*/ 598 w 1136"/>
                  <a:gd name="connsiteY8" fmla="*/ 1615 h 1794"/>
                  <a:gd name="connsiteX9" fmla="*/ 419 w 1136"/>
                  <a:gd name="connsiteY9" fmla="*/ 1734 h 1794"/>
                  <a:gd name="connsiteX10" fmla="*/ 239 w 1136"/>
                  <a:gd name="connsiteY10" fmla="*/ 1794 h 1794"/>
                  <a:gd name="connsiteX11" fmla="*/ 120 w 1136"/>
                  <a:gd name="connsiteY11" fmla="*/ 1794 h 1794"/>
                  <a:gd name="connsiteX12" fmla="*/ 0 w 1136"/>
                  <a:gd name="connsiteY12" fmla="*/ 1734 h 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6" h="1794">
                    <a:moveTo>
                      <a:pt x="1017" y="0"/>
                    </a:moveTo>
                    <a:lnTo>
                      <a:pt x="1076" y="120"/>
                    </a:lnTo>
                    <a:lnTo>
                      <a:pt x="1136" y="299"/>
                    </a:lnTo>
                    <a:lnTo>
                      <a:pt x="1136" y="478"/>
                    </a:lnTo>
                    <a:lnTo>
                      <a:pt x="1076" y="718"/>
                    </a:lnTo>
                    <a:lnTo>
                      <a:pt x="1017" y="957"/>
                    </a:lnTo>
                    <a:lnTo>
                      <a:pt x="897" y="1196"/>
                    </a:lnTo>
                    <a:lnTo>
                      <a:pt x="778" y="1435"/>
                    </a:lnTo>
                    <a:lnTo>
                      <a:pt x="598" y="1615"/>
                    </a:lnTo>
                    <a:lnTo>
                      <a:pt x="419" y="1734"/>
                    </a:lnTo>
                    <a:lnTo>
                      <a:pt x="239" y="1794"/>
                    </a:lnTo>
                    <a:lnTo>
                      <a:pt x="120" y="1794"/>
                    </a:lnTo>
                    <a:lnTo>
                      <a:pt x="0" y="1734"/>
                    </a:lnTo>
                  </a:path>
                </a:pathLst>
              </a:custGeom>
              <a:noFill/>
              <a:ln w="6350" cap="rnd">
                <a:solidFill>
                  <a:schemeClr val="bg1">
                    <a:alpha val="80000"/>
                  </a:schemeClr>
                </a:solidFill>
                <a:prstDash val="solid"/>
                <a:round/>
              </a:ln>
            </p:spPr>
            <p:txBody>
              <a:bodyPr rtlCol="0" anchor="ctr"/>
              <a:lstStyle/>
              <a:p>
                <a:endParaRPr lang="en-GB"/>
              </a:p>
            </p:txBody>
          </p:sp>
          <p:sp>
            <p:nvSpPr>
              <p:cNvPr id="5664" name="Vrije vorm: vorm 5663">
                <a:extLst>
                  <a:ext uri="{FF2B5EF4-FFF2-40B4-BE49-F238E27FC236}">
                    <a16:creationId xmlns:a16="http://schemas.microsoft.com/office/drawing/2014/main" id="{4D10008E-0500-41F6-8356-76E727D7696C}"/>
                  </a:ext>
                </a:extLst>
              </p:cNvPr>
              <p:cNvSpPr/>
              <p:nvPr/>
            </p:nvSpPr>
            <p:spPr>
              <a:xfrm>
                <a:off x="6414284" y="1725060"/>
                <a:ext cx="1913" cy="1614"/>
              </a:xfrm>
              <a:custGeom>
                <a:avLst/>
                <a:gdLst>
                  <a:gd name="connsiteX0" fmla="*/ 837 w 1913"/>
                  <a:gd name="connsiteY0" fmla="*/ 0 h 1614"/>
                  <a:gd name="connsiteX1" fmla="*/ 957 w 1913"/>
                  <a:gd name="connsiteY1" fmla="*/ 60 h 1614"/>
                  <a:gd name="connsiteX2" fmla="*/ 1017 w 1913"/>
                  <a:gd name="connsiteY2" fmla="*/ 180 h 1614"/>
                  <a:gd name="connsiteX3" fmla="*/ 1017 w 1913"/>
                  <a:gd name="connsiteY3" fmla="*/ 180 h 1614"/>
                  <a:gd name="connsiteX4" fmla="*/ 1017 w 1913"/>
                  <a:gd name="connsiteY4" fmla="*/ 299 h 1614"/>
                  <a:gd name="connsiteX5" fmla="*/ 1017 w 1913"/>
                  <a:gd name="connsiteY5" fmla="*/ 359 h 1614"/>
                  <a:gd name="connsiteX6" fmla="*/ 1017 w 1913"/>
                  <a:gd name="connsiteY6" fmla="*/ 538 h 1614"/>
                  <a:gd name="connsiteX7" fmla="*/ 1017 w 1913"/>
                  <a:gd name="connsiteY7" fmla="*/ 658 h 1614"/>
                  <a:gd name="connsiteX8" fmla="*/ 1017 w 1913"/>
                  <a:gd name="connsiteY8" fmla="*/ 718 h 1614"/>
                  <a:gd name="connsiteX9" fmla="*/ 957 w 1913"/>
                  <a:gd name="connsiteY9" fmla="*/ 957 h 1614"/>
                  <a:gd name="connsiteX10" fmla="*/ 837 w 1913"/>
                  <a:gd name="connsiteY10" fmla="*/ 1136 h 1614"/>
                  <a:gd name="connsiteX11" fmla="*/ 718 w 1913"/>
                  <a:gd name="connsiteY11" fmla="*/ 1316 h 1614"/>
                  <a:gd name="connsiteX12" fmla="*/ 598 w 1913"/>
                  <a:gd name="connsiteY12" fmla="*/ 1435 h 1614"/>
                  <a:gd name="connsiteX13" fmla="*/ 479 w 1913"/>
                  <a:gd name="connsiteY13" fmla="*/ 1555 h 1614"/>
                  <a:gd name="connsiteX14" fmla="*/ 359 w 1913"/>
                  <a:gd name="connsiteY14" fmla="*/ 1615 h 1614"/>
                  <a:gd name="connsiteX15" fmla="*/ 239 w 1913"/>
                  <a:gd name="connsiteY15" fmla="*/ 1615 h 1614"/>
                  <a:gd name="connsiteX16" fmla="*/ 120 w 1913"/>
                  <a:gd name="connsiteY16" fmla="*/ 1555 h 1614"/>
                  <a:gd name="connsiteX17" fmla="*/ 60 w 1913"/>
                  <a:gd name="connsiteY17" fmla="*/ 1435 h 1614"/>
                  <a:gd name="connsiteX18" fmla="*/ 0 w 1913"/>
                  <a:gd name="connsiteY18" fmla="*/ 1316 h 1614"/>
                  <a:gd name="connsiteX19" fmla="*/ 0 w 1913"/>
                  <a:gd name="connsiteY19" fmla="*/ 1136 h 1614"/>
                  <a:gd name="connsiteX20" fmla="*/ 0 w 1913"/>
                  <a:gd name="connsiteY20" fmla="*/ 1077 h 1614"/>
                  <a:gd name="connsiteX21" fmla="*/ 0 w 1913"/>
                  <a:gd name="connsiteY21" fmla="*/ 957 h 1614"/>
                  <a:gd name="connsiteX22" fmla="*/ 60 w 1913"/>
                  <a:gd name="connsiteY22" fmla="*/ 718 h 1614"/>
                  <a:gd name="connsiteX23" fmla="*/ 180 w 1913"/>
                  <a:gd name="connsiteY23" fmla="*/ 538 h 1614"/>
                  <a:gd name="connsiteX24" fmla="*/ 299 w 1913"/>
                  <a:gd name="connsiteY24" fmla="*/ 359 h 1614"/>
                  <a:gd name="connsiteX25" fmla="*/ 359 w 1913"/>
                  <a:gd name="connsiteY25" fmla="*/ 299 h 1614"/>
                  <a:gd name="connsiteX26" fmla="*/ 479 w 1913"/>
                  <a:gd name="connsiteY26" fmla="*/ 180 h 1614"/>
                  <a:gd name="connsiteX27" fmla="*/ 598 w 1913"/>
                  <a:gd name="connsiteY27" fmla="*/ 120 h 1614"/>
                  <a:gd name="connsiteX28" fmla="*/ 658 w 1913"/>
                  <a:gd name="connsiteY28" fmla="*/ 60 h 1614"/>
                  <a:gd name="connsiteX29" fmla="*/ 658 w 1913"/>
                  <a:gd name="connsiteY29" fmla="*/ 60 h 1614"/>
                  <a:gd name="connsiteX30" fmla="*/ 778 w 1913"/>
                  <a:gd name="connsiteY30" fmla="*/ 0 h 1614"/>
                  <a:gd name="connsiteX31" fmla="*/ 778 w 1913"/>
                  <a:gd name="connsiteY31" fmla="*/ 0 h 1614"/>
                  <a:gd name="connsiteX32" fmla="*/ 837 w 1913"/>
                  <a:gd name="connsiteY32" fmla="*/ 0 h 1614"/>
                  <a:gd name="connsiteX33" fmla="*/ 1914 w 1913"/>
                  <a:gd name="connsiteY33" fmla="*/ 538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13" h="1614">
                    <a:moveTo>
                      <a:pt x="837" y="0"/>
                    </a:moveTo>
                    <a:lnTo>
                      <a:pt x="957" y="60"/>
                    </a:lnTo>
                    <a:lnTo>
                      <a:pt x="1017" y="180"/>
                    </a:lnTo>
                    <a:lnTo>
                      <a:pt x="1017" y="180"/>
                    </a:lnTo>
                    <a:lnTo>
                      <a:pt x="1017" y="299"/>
                    </a:lnTo>
                    <a:lnTo>
                      <a:pt x="1017" y="359"/>
                    </a:lnTo>
                    <a:lnTo>
                      <a:pt x="1017" y="538"/>
                    </a:lnTo>
                    <a:lnTo>
                      <a:pt x="1017" y="658"/>
                    </a:lnTo>
                    <a:lnTo>
                      <a:pt x="1017" y="718"/>
                    </a:lnTo>
                    <a:lnTo>
                      <a:pt x="957" y="957"/>
                    </a:lnTo>
                    <a:lnTo>
                      <a:pt x="837" y="1136"/>
                    </a:lnTo>
                    <a:lnTo>
                      <a:pt x="718" y="1316"/>
                    </a:lnTo>
                    <a:lnTo>
                      <a:pt x="598" y="1435"/>
                    </a:lnTo>
                    <a:lnTo>
                      <a:pt x="479" y="1555"/>
                    </a:lnTo>
                    <a:lnTo>
                      <a:pt x="359" y="1615"/>
                    </a:lnTo>
                    <a:lnTo>
                      <a:pt x="239" y="1615"/>
                    </a:lnTo>
                    <a:lnTo>
                      <a:pt x="120" y="1555"/>
                    </a:lnTo>
                    <a:lnTo>
                      <a:pt x="60" y="1435"/>
                    </a:lnTo>
                    <a:lnTo>
                      <a:pt x="0" y="1316"/>
                    </a:lnTo>
                    <a:lnTo>
                      <a:pt x="0" y="1136"/>
                    </a:lnTo>
                    <a:lnTo>
                      <a:pt x="0" y="1077"/>
                    </a:lnTo>
                    <a:lnTo>
                      <a:pt x="0" y="957"/>
                    </a:lnTo>
                    <a:lnTo>
                      <a:pt x="60" y="718"/>
                    </a:lnTo>
                    <a:lnTo>
                      <a:pt x="180" y="538"/>
                    </a:lnTo>
                    <a:lnTo>
                      <a:pt x="299" y="359"/>
                    </a:lnTo>
                    <a:lnTo>
                      <a:pt x="359" y="299"/>
                    </a:lnTo>
                    <a:lnTo>
                      <a:pt x="479" y="180"/>
                    </a:lnTo>
                    <a:lnTo>
                      <a:pt x="598" y="120"/>
                    </a:lnTo>
                    <a:lnTo>
                      <a:pt x="658" y="60"/>
                    </a:lnTo>
                    <a:lnTo>
                      <a:pt x="658" y="60"/>
                    </a:lnTo>
                    <a:lnTo>
                      <a:pt x="778" y="0"/>
                    </a:lnTo>
                    <a:lnTo>
                      <a:pt x="778" y="0"/>
                    </a:lnTo>
                    <a:lnTo>
                      <a:pt x="837" y="0"/>
                    </a:lnTo>
                    <a:lnTo>
                      <a:pt x="1914" y="538"/>
                    </a:lnTo>
                  </a:path>
                </a:pathLst>
              </a:custGeom>
              <a:noFill/>
              <a:ln w="6350" cap="rnd">
                <a:solidFill>
                  <a:schemeClr val="bg1">
                    <a:alpha val="80000"/>
                  </a:schemeClr>
                </a:solidFill>
                <a:prstDash val="solid"/>
                <a:round/>
              </a:ln>
            </p:spPr>
            <p:txBody>
              <a:bodyPr rtlCol="0" anchor="ctr"/>
              <a:lstStyle/>
              <a:p>
                <a:endParaRPr lang="en-GB"/>
              </a:p>
            </p:txBody>
          </p:sp>
          <p:sp>
            <p:nvSpPr>
              <p:cNvPr id="5665" name="Vrije vorm: vorm 5664">
                <a:extLst>
                  <a:ext uri="{FF2B5EF4-FFF2-40B4-BE49-F238E27FC236}">
                    <a16:creationId xmlns:a16="http://schemas.microsoft.com/office/drawing/2014/main" id="{3C8E5CA5-35DE-4745-9184-30D81607B5B4}"/>
                  </a:ext>
                </a:extLst>
              </p:cNvPr>
              <p:cNvSpPr/>
              <p:nvPr/>
            </p:nvSpPr>
            <p:spPr>
              <a:xfrm>
                <a:off x="6414463" y="1726615"/>
                <a:ext cx="1076" cy="538"/>
              </a:xfrm>
              <a:custGeom>
                <a:avLst/>
                <a:gdLst>
                  <a:gd name="connsiteX0" fmla="*/ 1076 w 1076"/>
                  <a:gd name="connsiteY0" fmla="*/ 538 h 538"/>
                  <a:gd name="connsiteX1" fmla="*/ 0 w 1076"/>
                  <a:gd name="connsiteY1" fmla="*/ 0 h 538"/>
                </a:gdLst>
                <a:ahLst/>
                <a:cxnLst>
                  <a:cxn ang="0">
                    <a:pos x="connsiteX0" y="connsiteY0"/>
                  </a:cxn>
                  <a:cxn ang="0">
                    <a:pos x="connsiteX1" y="connsiteY1"/>
                  </a:cxn>
                </a:cxnLst>
                <a:rect l="l" t="t" r="r" b="b"/>
                <a:pathLst>
                  <a:path w="1076" h="538">
                    <a:moveTo>
                      <a:pt x="1076" y="538"/>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66" name="Vrije vorm: vorm 5665">
                <a:extLst>
                  <a:ext uri="{FF2B5EF4-FFF2-40B4-BE49-F238E27FC236}">
                    <a16:creationId xmlns:a16="http://schemas.microsoft.com/office/drawing/2014/main" id="{FFA9F261-4ED1-47B3-875B-77655127EF1C}"/>
                  </a:ext>
                </a:extLst>
              </p:cNvPr>
              <p:cNvSpPr/>
              <p:nvPr/>
            </p:nvSpPr>
            <p:spPr>
              <a:xfrm>
                <a:off x="6425767" y="1729665"/>
                <a:ext cx="2093" cy="1375"/>
              </a:xfrm>
              <a:custGeom>
                <a:avLst/>
                <a:gdLst>
                  <a:gd name="connsiteX0" fmla="*/ 2093 w 2093"/>
                  <a:gd name="connsiteY0" fmla="*/ 1376 h 1375"/>
                  <a:gd name="connsiteX1" fmla="*/ 1256 w 2093"/>
                  <a:gd name="connsiteY1" fmla="*/ 658 h 1375"/>
                  <a:gd name="connsiteX2" fmla="*/ 837 w 2093"/>
                  <a:gd name="connsiteY2" fmla="*/ 419 h 1375"/>
                  <a:gd name="connsiteX3" fmla="*/ 0 w 2093"/>
                  <a:gd name="connsiteY3" fmla="*/ 0 h 1375"/>
                </a:gdLst>
                <a:ahLst/>
                <a:cxnLst>
                  <a:cxn ang="0">
                    <a:pos x="connsiteX0" y="connsiteY0"/>
                  </a:cxn>
                  <a:cxn ang="0">
                    <a:pos x="connsiteX1" y="connsiteY1"/>
                  </a:cxn>
                  <a:cxn ang="0">
                    <a:pos x="connsiteX2" y="connsiteY2"/>
                  </a:cxn>
                  <a:cxn ang="0">
                    <a:pos x="connsiteX3" y="connsiteY3"/>
                  </a:cxn>
                </a:cxnLst>
                <a:rect l="l" t="t" r="r" b="b"/>
                <a:pathLst>
                  <a:path w="2093" h="1375">
                    <a:moveTo>
                      <a:pt x="2093" y="1376"/>
                    </a:moveTo>
                    <a:lnTo>
                      <a:pt x="1256" y="658"/>
                    </a:lnTo>
                    <a:lnTo>
                      <a:pt x="837" y="41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67" name="Vrije vorm: vorm 5666">
                <a:extLst>
                  <a:ext uri="{FF2B5EF4-FFF2-40B4-BE49-F238E27FC236}">
                    <a16:creationId xmlns:a16="http://schemas.microsoft.com/office/drawing/2014/main" id="{1FFB5510-E32C-41B5-B94D-DD326DF977C0}"/>
                  </a:ext>
                </a:extLst>
              </p:cNvPr>
              <p:cNvSpPr/>
              <p:nvPr/>
            </p:nvSpPr>
            <p:spPr>
              <a:xfrm>
                <a:off x="6399213" y="1691687"/>
                <a:ext cx="1794" cy="4425"/>
              </a:xfrm>
              <a:custGeom>
                <a:avLst/>
                <a:gdLst>
                  <a:gd name="connsiteX0" fmla="*/ 1495 w 1794"/>
                  <a:gd name="connsiteY0" fmla="*/ 4426 h 4425"/>
                  <a:gd name="connsiteX1" fmla="*/ 1674 w 1794"/>
                  <a:gd name="connsiteY1" fmla="*/ 3708 h 4425"/>
                  <a:gd name="connsiteX2" fmla="*/ 1794 w 1794"/>
                  <a:gd name="connsiteY2" fmla="*/ 2990 h 4425"/>
                  <a:gd name="connsiteX3" fmla="*/ 1794 w 1794"/>
                  <a:gd name="connsiteY3" fmla="*/ 2392 h 4425"/>
                  <a:gd name="connsiteX4" fmla="*/ 1734 w 1794"/>
                  <a:gd name="connsiteY4" fmla="*/ 1854 h 4425"/>
                  <a:gd name="connsiteX5" fmla="*/ 1615 w 1794"/>
                  <a:gd name="connsiteY5" fmla="*/ 1615 h 4425"/>
                  <a:gd name="connsiteX6" fmla="*/ 1555 w 1794"/>
                  <a:gd name="connsiteY6" fmla="*/ 1435 h 4425"/>
                  <a:gd name="connsiteX7" fmla="*/ 1375 w 1794"/>
                  <a:gd name="connsiteY7" fmla="*/ 1136 h 4425"/>
                  <a:gd name="connsiteX8" fmla="*/ 0 w 1794"/>
                  <a:gd name="connsiteY8" fmla="*/ 0 h 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4" h="4425">
                    <a:moveTo>
                      <a:pt x="1495" y="4426"/>
                    </a:moveTo>
                    <a:lnTo>
                      <a:pt x="1674" y="3708"/>
                    </a:lnTo>
                    <a:lnTo>
                      <a:pt x="1794" y="2990"/>
                    </a:lnTo>
                    <a:lnTo>
                      <a:pt x="1794" y="2392"/>
                    </a:lnTo>
                    <a:lnTo>
                      <a:pt x="1734" y="1854"/>
                    </a:lnTo>
                    <a:lnTo>
                      <a:pt x="1615" y="1615"/>
                    </a:lnTo>
                    <a:lnTo>
                      <a:pt x="1555" y="1435"/>
                    </a:lnTo>
                    <a:lnTo>
                      <a:pt x="1375" y="113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68" name="Vrije vorm: vorm 5667">
                <a:extLst>
                  <a:ext uri="{FF2B5EF4-FFF2-40B4-BE49-F238E27FC236}">
                    <a16:creationId xmlns:a16="http://schemas.microsoft.com/office/drawing/2014/main" id="{C78BC2D2-E0F4-4736-A4FF-9D9CAEED6C18}"/>
                  </a:ext>
                </a:extLst>
              </p:cNvPr>
              <p:cNvSpPr/>
              <p:nvPr/>
            </p:nvSpPr>
            <p:spPr>
              <a:xfrm>
                <a:off x="6391497" y="1693900"/>
                <a:ext cx="10466" cy="17583"/>
              </a:xfrm>
              <a:custGeom>
                <a:avLst/>
                <a:gdLst>
                  <a:gd name="connsiteX0" fmla="*/ 10466 w 10466"/>
                  <a:gd name="connsiteY0" fmla="*/ 0 h 17583"/>
                  <a:gd name="connsiteX1" fmla="*/ 10107 w 10466"/>
                  <a:gd name="connsiteY1" fmla="*/ 598 h 17583"/>
                  <a:gd name="connsiteX2" fmla="*/ 9151 w 10466"/>
                  <a:gd name="connsiteY2" fmla="*/ 2213 h 17583"/>
                  <a:gd name="connsiteX3" fmla="*/ 7476 w 10466"/>
                  <a:gd name="connsiteY3" fmla="*/ 5024 h 17583"/>
                  <a:gd name="connsiteX4" fmla="*/ 5801 w 10466"/>
                  <a:gd name="connsiteY4" fmla="*/ 7835 h 17583"/>
                  <a:gd name="connsiteX5" fmla="*/ 4127 w 10466"/>
                  <a:gd name="connsiteY5" fmla="*/ 10646 h 17583"/>
                  <a:gd name="connsiteX6" fmla="*/ 2512 w 10466"/>
                  <a:gd name="connsiteY6" fmla="*/ 13337 h 17583"/>
                  <a:gd name="connsiteX7" fmla="*/ 837 w 10466"/>
                  <a:gd name="connsiteY7" fmla="*/ 16148 h 17583"/>
                  <a:gd name="connsiteX8" fmla="*/ 299 w 10466"/>
                  <a:gd name="connsiteY8" fmla="*/ 17045 h 17583"/>
                  <a:gd name="connsiteX9" fmla="*/ 0 w 10466"/>
                  <a:gd name="connsiteY9" fmla="*/ 17583 h 17583"/>
                  <a:gd name="connsiteX10" fmla="*/ 299 w 10466"/>
                  <a:gd name="connsiteY10" fmla="*/ 17045 h 17583"/>
                  <a:gd name="connsiteX11" fmla="*/ 1974 w 10466"/>
                  <a:gd name="connsiteY11" fmla="*/ 14234 h 17583"/>
                  <a:gd name="connsiteX12" fmla="*/ 3649 w 10466"/>
                  <a:gd name="connsiteY12" fmla="*/ 11423 h 17583"/>
                  <a:gd name="connsiteX13" fmla="*/ 5323 w 10466"/>
                  <a:gd name="connsiteY13" fmla="*/ 8612 h 17583"/>
                  <a:gd name="connsiteX14" fmla="*/ 6998 w 10466"/>
                  <a:gd name="connsiteY14" fmla="*/ 5801 h 17583"/>
                  <a:gd name="connsiteX15" fmla="*/ 8672 w 10466"/>
                  <a:gd name="connsiteY15" fmla="*/ 2990 h 17583"/>
                  <a:gd name="connsiteX16" fmla="*/ 10107 w 10466"/>
                  <a:gd name="connsiteY16" fmla="*/ 598 h 17583"/>
                  <a:gd name="connsiteX17" fmla="*/ 10466 w 10466"/>
                  <a:gd name="connsiteY17" fmla="*/ 0 h 1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466" h="17583">
                    <a:moveTo>
                      <a:pt x="10466" y="0"/>
                    </a:moveTo>
                    <a:lnTo>
                      <a:pt x="10107" y="598"/>
                    </a:lnTo>
                    <a:lnTo>
                      <a:pt x="9151" y="2213"/>
                    </a:lnTo>
                    <a:lnTo>
                      <a:pt x="7476" y="5024"/>
                    </a:lnTo>
                    <a:lnTo>
                      <a:pt x="5801" y="7835"/>
                    </a:lnTo>
                    <a:lnTo>
                      <a:pt x="4127" y="10646"/>
                    </a:lnTo>
                    <a:lnTo>
                      <a:pt x="2512" y="13337"/>
                    </a:lnTo>
                    <a:lnTo>
                      <a:pt x="837" y="16148"/>
                    </a:lnTo>
                    <a:lnTo>
                      <a:pt x="299" y="17045"/>
                    </a:lnTo>
                    <a:lnTo>
                      <a:pt x="0" y="17583"/>
                    </a:lnTo>
                    <a:lnTo>
                      <a:pt x="299" y="17045"/>
                    </a:lnTo>
                    <a:lnTo>
                      <a:pt x="1974" y="14234"/>
                    </a:lnTo>
                    <a:lnTo>
                      <a:pt x="3649" y="11423"/>
                    </a:lnTo>
                    <a:lnTo>
                      <a:pt x="5323" y="8612"/>
                    </a:lnTo>
                    <a:lnTo>
                      <a:pt x="6998" y="5801"/>
                    </a:lnTo>
                    <a:lnTo>
                      <a:pt x="8672" y="2990"/>
                    </a:lnTo>
                    <a:lnTo>
                      <a:pt x="10107" y="598"/>
                    </a:lnTo>
                    <a:lnTo>
                      <a:pt x="10466" y="0"/>
                    </a:lnTo>
                  </a:path>
                </a:pathLst>
              </a:custGeom>
              <a:noFill/>
              <a:ln w="6350" cap="rnd">
                <a:solidFill>
                  <a:schemeClr val="bg1">
                    <a:alpha val="80000"/>
                  </a:schemeClr>
                </a:solidFill>
                <a:prstDash val="solid"/>
                <a:round/>
              </a:ln>
            </p:spPr>
            <p:txBody>
              <a:bodyPr rtlCol="0" anchor="ctr"/>
              <a:lstStyle/>
              <a:p>
                <a:endParaRPr lang="en-GB"/>
              </a:p>
            </p:txBody>
          </p:sp>
          <p:sp>
            <p:nvSpPr>
              <p:cNvPr id="5669" name="Vrije vorm: vorm 5668">
                <a:extLst>
                  <a:ext uri="{FF2B5EF4-FFF2-40B4-BE49-F238E27FC236}">
                    <a16:creationId xmlns:a16="http://schemas.microsoft.com/office/drawing/2014/main" id="{8673DBF0-527F-4EA7-B439-9077D2363343}"/>
                  </a:ext>
                </a:extLst>
              </p:cNvPr>
              <p:cNvSpPr/>
              <p:nvPr/>
            </p:nvSpPr>
            <p:spPr>
              <a:xfrm>
                <a:off x="6388627" y="1691747"/>
                <a:ext cx="10825" cy="17882"/>
              </a:xfrm>
              <a:custGeom>
                <a:avLst/>
                <a:gdLst>
                  <a:gd name="connsiteX0" fmla="*/ 359 w 10825"/>
                  <a:gd name="connsiteY0" fmla="*/ 17045 h 17882"/>
                  <a:gd name="connsiteX1" fmla="*/ 479 w 10825"/>
                  <a:gd name="connsiteY1" fmla="*/ 17105 h 17882"/>
                  <a:gd name="connsiteX2" fmla="*/ 479 w 10825"/>
                  <a:gd name="connsiteY2" fmla="*/ 17105 h 17882"/>
                  <a:gd name="connsiteX3" fmla="*/ 778 w 10825"/>
                  <a:gd name="connsiteY3" fmla="*/ 17225 h 17882"/>
                  <a:gd name="connsiteX4" fmla="*/ 1316 w 10825"/>
                  <a:gd name="connsiteY4" fmla="*/ 17165 h 17882"/>
                  <a:gd name="connsiteX5" fmla="*/ 1615 w 10825"/>
                  <a:gd name="connsiteY5" fmla="*/ 16985 h 17882"/>
                  <a:gd name="connsiteX6" fmla="*/ 1675 w 10825"/>
                  <a:gd name="connsiteY6" fmla="*/ 16925 h 17882"/>
                  <a:gd name="connsiteX7" fmla="*/ 1914 w 10825"/>
                  <a:gd name="connsiteY7" fmla="*/ 16806 h 17882"/>
                  <a:gd name="connsiteX8" fmla="*/ 2572 w 10825"/>
                  <a:gd name="connsiteY8" fmla="*/ 16268 h 17882"/>
                  <a:gd name="connsiteX9" fmla="*/ 3229 w 10825"/>
                  <a:gd name="connsiteY9" fmla="*/ 15490 h 17882"/>
                  <a:gd name="connsiteX10" fmla="*/ 3828 w 10825"/>
                  <a:gd name="connsiteY10" fmla="*/ 14593 h 17882"/>
                  <a:gd name="connsiteX11" fmla="*/ 5502 w 10825"/>
                  <a:gd name="connsiteY11" fmla="*/ 11782 h 17882"/>
                  <a:gd name="connsiteX12" fmla="*/ 7177 w 10825"/>
                  <a:gd name="connsiteY12" fmla="*/ 8971 h 17882"/>
                  <a:gd name="connsiteX13" fmla="*/ 8851 w 10825"/>
                  <a:gd name="connsiteY13" fmla="*/ 6160 h 17882"/>
                  <a:gd name="connsiteX14" fmla="*/ 10466 w 10825"/>
                  <a:gd name="connsiteY14" fmla="*/ 3409 h 17882"/>
                  <a:gd name="connsiteX15" fmla="*/ 10705 w 10825"/>
                  <a:gd name="connsiteY15" fmla="*/ 2691 h 17882"/>
                  <a:gd name="connsiteX16" fmla="*/ 10825 w 10825"/>
                  <a:gd name="connsiteY16" fmla="*/ 1974 h 17882"/>
                  <a:gd name="connsiteX17" fmla="*/ 10825 w 10825"/>
                  <a:gd name="connsiteY17" fmla="*/ 1376 h 17882"/>
                  <a:gd name="connsiteX18" fmla="*/ 10765 w 10825"/>
                  <a:gd name="connsiteY18" fmla="*/ 1017 h 17882"/>
                  <a:gd name="connsiteX19" fmla="*/ 10765 w 10825"/>
                  <a:gd name="connsiteY19" fmla="*/ 897 h 17882"/>
                  <a:gd name="connsiteX20" fmla="*/ 10586 w 10825"/>
                  <a:gd name="connsiteY20" fmla="*/ 478 h 17882"/>
                  <a:gd name="connsiteX21" fmla="*/ 10406 w 10825"/>
                  <a:gd name="connsiteY21" fmla="*/ 299 h 17882"/>
                  <a:gd name="connsiteX22" fmla="*/ 10406 w 10825"/>
                  <a:gd name="connsiteY22" fmla="*/ 299 h 17882"/>
                  <a:gd name="connsiteX23" fmla="*/ 10347 w 10825"/>
                  <a:gd name="connsiteY23" fmla="*/ 179 h 17882"/>
                  <a:gd name="connsiteX24" fmla="*/ 10048 w 10825"/>
                  <a:gd name="connsiteY24" fmla="*/ 0 h 17882"/>
                  <a:gd name="connsiteX25" fmla="*/ 9629 w 10825"/>
                  <a:gd name="connsiteY25" fmla="*/ 0 h 17882"/>
                  <a:gd name="connsiteX26" fmla="*/ 9210 w 10825"/>
                  <a:gd name="connsiteY26" fmla="*/ 120 h 17882"/>
                  <a:gd name="connsiteX27" fmla="*/ 8732 w 10825"/>
                  <a:gd name="connsiteY27" fmla="*/ 359 h 17882"/>
                  <a:gd name="connsiteX28" fmla="*/ 8253 w 10825"/>
                  <a:gd name="connsiteY28" fmla="*/ 718 h 17882"/>
                  <a:gd name="connsiteX29" fmla="*/ 7715 w 10825"/>
                  <a:gd name="connsiteY29" fmla="*/ 1196 h 17882"/>
                  <a:gd name="connsiteX30" fmla="*/ 6340 w 10825"/>
                  <a:gd name="connsiteY30" fmla="*/ 3529 h 17882"/>
                  <a:gd name="connsiteX31" fmla="*/ 4665 w 10825"/>
                  <a:gd name="connsiteY31" fmla="*/ 6340 h 17882"/>
                  <a:gd name="connsiteX32" fmla="*/ 2990 w 10825"/>
                  <a:gd name="connsiteY32" fmla="*/ 9150 h 17882"/>
                  <a:gd name="connsiteX33" fmla="*/ 1316 w 10825"/>
                  <a:gd name="connsiteY33" fmla="*/ 11961 h 17882"/>
                  <a:gd name="connsiteX34" fmla="*/ 1136 w 10825"/>
                  <a:gd name="connsiteY34" fmla="*/ 12260 h 17882"/>
                  <a:gd name="connsiteX35" fmla="*/ 658 w 10825"/>
                  <a:gd name="connsiteY35" fmla="*/ 13217 h 17882"/>
                  <a:gd name="connsiteX36" fmla="*/ 299 w 10825"/>
                  <a:gd name="connsiteY36" fmla="*/ 14174 h 17882"/>
                  <a:gd name="connsiteX37" fmla="*/ 60 w 10825"/>
                  <a:gd name="connsiteY37" fmla="*/ 15071 h 17882"/>
                  <a:gd name="connsiteX38" fmla="*/ 0 w 10825"/>
                  <a:gd name="connsiteY38" fmla="*/ 15909 h 17882"/>
                  <a:gd name="connsiteX39" fmla="*/ 120 w 10825"/>
                  <a:gd name="connsiteY39" fmla="*/ 16567 h 17882"/>
                  <a:gd name="connsiteX40" fmla="*/ 359 w 10825"/>
                  <a:gd name="connsiteY40" fmla="*/ 17045 h 17882"/>
                  <a:gd name="connsiteX41" fmla="*/ 479 w 10825"/>
                  <a:gd name="connsiteY41" fmla="*/ 17105 h 17882"/>
                  <a:gd name="connsiteX42" fmla="*/ 479 w 10825"/>
                  <a:gd name="connsiteY42" fmla="*/ 17105 h 17882"/>
                  <a:gd name="connsiteX43" fmla="*/ 1316 w 10825"/>
                  <a:gd name="connsiteY43" fmla="*/ 17523 h 17882"/>
                  <a:gd name="connsiteX44" fmla="*/ 2034 w 10825"/>
                  <a:gd name="connsiteY44" fmla="*/ 17882 h 1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825" h="17882">
                    <a:moveTo>
                      <a:pt x="359" y="17045"/>
                    </a:moveTo>
                    <a:lnTo>
                      <a:pt x="479" y="17105"/>
                    </a:lnTo>
                    <a:lnTo>
                      <a:pt x="479" y="17105"/>
                    </a:lnTo>
                    <a:lnTo>
                      <a:pt x="778" y="17225"/>
                    </a:lnTo>
                    <a:lnTo>
                      <a:pt x="1316" y="17165"/>
                    </a:lnTo>
                    <a:lnTo>
                      <a:pt x="1615" y="16985"/>
                    </a:lnTo>
                    <a:lnTo>
                      <a:pt x="1675" y="16925"/>
                    </a:lnTo>
                    <a:lnTo>
                      <a:pt x="1914" y="16806"/>
                    </a:lnTo>
                    <a:lnTo>
                      <a:pt x="2572" y="16268"/>
                    </a:lnTo>
                    <a:lnTo>
                      <a:pt x="3229" y="15490"/>
                    </a:lnTo>
                    <a:lnTo>
                      <a:pt x="3828" y="14593"/>
                    </a:lnTo>
                    <a:lnTo>
                      <a:pt x="5502" y="11782"/>
                    </a:lnTo>
                    <a:lnTo>
                      <a:pt x="7177" y="8971"/>
                    </a:lnTo>
                    <a:lnTo>
                      <a:pt x="8851" y="6160"/>
                    </a:lnTo>
                    <a:lnTo>
                      <a:pt x="10466" y="3409"/>
                    </a:lnTo>
                    <a:lnTo>
                      <a:pt x="10705" y="2691"/>
                    </a:lnTo>
                    <a:lnTo>
                      <a:pt x="10825" y="1974"/>
                    </a:lnTo>
                    <a:lnTo>
                      <a:pt x="10825" y="1376"/>
                    </a:lnTo>
                    <a:lnTo>
                      <a:pt x="10765" y="1017"/>
                    </a:lnTo>
                    <a:lnTo>
                      <a:pt x="10765" y="897"/>
                    </a:lnTo>
                    <a:lnTo>
                      <a:pt x="10586" y="478"/>
                    </a:lnTo>
                    <a:lnTo>
                      <a:pt x="10406" y="299"/>
                    </a:lnTo>
                    <a:lnTo>
                      <a:pt x="10406" y="299"/>
                    </a:lnTo>
                    <a:lnTo>
                      <a:pt x="10347" y="179"/>
                    </a:lnTo>
                    <a:lnTo>
                      <a:pt x="10048" y="0"/>
                    </a:lnTo>
                    <a:lnTo>
                      <a:pt x="9629" y="0"/>
                    </a:lnTo>
                    <a:lnTo>
                      <a:pt x="9210" y="120"/>
                    </a:lnTo>
                    <a:lnTo>
                      <a:pt x="8732" y="359"/>
                    </a:lnTo>
                    <a:lnTo>
                      <a:pt x="8253" y="718"/>
                    </a:lnTo>
                    <a:lnTo>
                      <a:pt x="7715" y="1196"/>
                    </a:lnTo>
                    <a:lnTo>
                      <a:pt x="6340" y="3529"/>
                    </a:lnTo>
                    <a:lnTo>
                      <a:pt x="4665" y="6340"/>
                    </a:lnTo>
                    <a:lnTo>
                      <a:pt x="2990" y="9150"/>
                    </a:lnTo>
                    <a:lnTo>
                      <a:pt x="1316" y="11961"/>
                    </a:lnTo>
                    <a:lnTo>
                      <a:pt x="1136" y="12260"/>
                    </a:lnTo>
                    <a:lnTo>
                      <a:pt x="658" y="13217"/>
                    </a:lnTo>
                    <a:lnTo>
                      <a:pt x="299" y="14174"/>
                    </a:lnTo>
                    <a:lnTo>
                      <a:pt x="60" y="15071"/>
                    </a:lnTo>
                    <a:lnTo>
                      <a:pt x="0" y="15909"/>
                    </a:lnTo>
                    <a:lnTo>
                      <a:pt x="120" y="16567"/>
                    </a:lnTo>
                    <a:lnTo>
                      <a:pt x="359" y="17045"/>
                    </a:lnTo>
                    <a:lnTo>
                      <a:pt x="479" y="17105"/>
                    </a:lnTo>
                    <a:lnTo>
                      <a:pt x="479" y="17105"/>
                    </a:lnTo>
                    <a:lnTo>
                      <a:pt x="1316" y="17523"/>
                    </a:lnTo>
                    <a:lnTo>
                      <a:pt x="2034" y="17882"/>
                    </a:lnTo>
                  </a:path>
                </a:pathLst>
              </a:custGeom>
              <a:noFill/>
              <a:ln w="6350" cap="rnd">
                <a:solidFill>
                  <a:schemeClr val="bg1">
                    <a:alpha val="80000"/>
                  </a:schemeClr>
                </a:solidFill>
                <a:prstDash val="solid"/>
                <a:round/>
              </a:ln>
            </p:spPr>
            <p:txBody>
              <a:bodyPr rtlCol="0" anchor="ctr"/>
              <a:lstStyle/>
              <a:p>
                <a:endParaRPr lang="en-GB"/>
              </a:p>
            </p:txBody>
          </p:sp>
          <p:sp>
            <p:nvSpPr>
              <p:cNvPr id="5670" name="Vrije vorm: vorm 5669">
                <a:extLst>
                  <a:ext uri="{FF2B5EF4-FFF2-40B4-BE49-F238E27FC236}">
                    <a16:creationId xmlns:a16="http://schemas.microsoft.com/office/drawing/2014/main" id="{B65B85CE-2D99-476A-8B06-3998CEA6485F}"/>
                  </a:ext>
                </a:extLst>
              </p:cNvPr>
              <p:cNvSpPr/>
              <p:nvPr/>
            </p:nvSpPr>
            <p:spPr>
              <a:xfrm>
                <a:off x="6399033" y="1691687"/>
                <a:ext cx="179" cy="298"/>
              </a:xfrm>
              <a:custGeom>
                <a:avLst/>
                <a:gdLst>
                  <a:gd name="connsiteX0" fmla="*/ 0 w 179"/>
                  <a:gd name="connsiteY0" fmla="*/ 299 h 298"/>
                  <a:gd name="connsiteX1" fmla="*/ 180 w 179"/>
                  <a:gd name="connsiteY1" fmla="*/ 0 h 298"/>
                  <a:gd name="connsiteX2" fmla="*/ 0 w 179"/>
                  <a:gd name="connsiteY2" fmla="*/ 299 h 298"/>
                </a:gdLst>
                <a:ahLst/>
                <a:cxnLst>
                  <a:cxn ang="0">
                    <a:pos x="connsiteX0" y="connsiteY0"/>
                  </a:cxn>
                  <a:cxn ang="0">
                    <a:pos x="connsiteX1" y="connsiteY1"/>
                  </a:cxn>
                  <a:cxn ang="0">
                    <a:pos x="connsiteX2" y="connsiteY2"/>
                  </a:cxn>
                </a:cxnLst>
                <a:rect l="l" t="t" r="r" b="b"/>
                <a:pathLst>
                  <a:path w="179" h="298">
                    <a:moveTo>
                      <a:pt x="0" y="299"/>
                    </a:moveTo>
                    <a:lnTo>
                      <a:pt x="180" y="0"/>
                    </a:lnTo>
                    <a:lnTo>
                      <a:pt x="0" y="299"/>
                    </a:lnTo>
                  </a:path>
                </a:pathLst>
              </a:custGeom>
              <a:noFill/>
              <a:ln w="6350" cap="rnd">
                <a:solidFill>
                  <a:schemeClr val="bg1">
                    <a:alpha val="80000"/>
                  </a:schemeClr>
                </a:solidFill>
                <a:prstDash val="solid"/>
                <a:round/>
              </a:ln>
            </p:spPr>
            <p:txBody>
              <a:bodyPr rtlCol="0" anchor="ctr"/>
              <a:lstStyle/>
              <a:p>
                <a:endParaRPr lang="en-GB"/>
              </a:p>
            </p:txBody>
          </p:sp>
          <p:sp>
            <p:nvSpPr>
              <p:cNvPr id="5671" name="Vrije vorm: vorm 5670">
                <a:extLst>
                  <a:ext uri="{FF2B5EF4-FFF2-40B4-BE49-F238E27FC236}">
                    <a16:creationId xmlns:a16="http://schemas.microsoft.com/office/drawing/2014/main" id="{589D1A69-BC0E-49E6-9D7C-D8B453612480}"/>
                  </a:ext>
                </a:extLst>
              </p:cNvPr>
              <p:cNvSpPr/>
              <p:nvPr/>
            </p:nvSpPr>
            <p:spPr>
              <a:xfrm>
                <a:off x="6388986" y="1708852"/>
                <a:ext cx="119" cy="239"/>
              </a:xfrm>
              <a:custGeom>
                <a:avLst/>
                <a:gdLst>
                  <a:gd name="connsiteX0" fmla="*/ 120 w 119"/>
                  <a:gd name="connsiteY0" fmla="*/ 0 h 239"/>
                  <a:gd name="connsiteX1" fmla="*/ 0 w 119"/>
                  <a:gd name="connsiteY1" fmla="*/ 239 h 239"/>
                  <a:gd name="connsiteX2" fmla="*/ 120 w 119"/>
                  <a:gd name="connsiteY2" fmla="*/ 0 h 239"/>
                </a:gdLst>
                <a:ahLst/>
                <a:cxnLst>
                  <a:cxn ang="0">
                    <a:pos x="connsiteX0" y="connsiteY0"/>
                  </a:cxn>
                  <a:cxn ang="0">
                    <a:pos x="connsiteX1" y="connsiteY1"/>
                  </a:cxn>
                  <a:cxn ang="0">
                    <a:pos x="connsiteX2" y="connsiteY2"/>
                  </a:cxn>
                </a:cxnLst>
                <a:rect l="l" t="t" r="r" b="b"/>
                <a:pathLst>
                  <a:path w="119" h="239">
                    <a:moveTo>
                      <a:pt x="120" y="0"/>
                    </a:moveTo>
                    <a:lnTo>
                      <a:pt x="0" y="239"/>
                    </a:lnTo>
                    <a:lnTo>
                      <a:pt x="120" y="0"/>
                    </a:lnTo>
                  </a:path>
                </a:pathLst>
              </a:custGeom>
              <a:noFill/>
              <a:ln w="6350" cap="rnd">
                <a:solidFill>
                  <a:schemeClr val="bg1">
                    <a:alpha val="80000"/>
                  </a:schemeClr>
                </a:solidFill>
                <a:prstDash val="solid"/>
                <a:round/>
              </a:ln>
            </p:spPr>
            <p:txBody>
              <a:bodyPr rtlCol="0" anchor="ctr"/>
              <a:lstStyle/>
              <a:p>
                <a:endParaRPr lang="en-GB"/>
              </a:p>
            </p:txBody>
          </p:sp>
          <p:sp>
            <p:nvSpPr>
              <p:cNvPr id="5672" name="Vrije vorm: vorm 5671">
                <a:extLst>
                  <a:ext uri="{FF2B5EF4-FFF2-40B4-BE49-F238E27FC236}">
                    <a16:creationId xmlns:a16="http://schemas.microsoft.com/office/drawing/2014/main" id="{78E68A38-CC26-4B7F-82AC-8103E6EADF77}"/>
                  </a:ext>
                </a:extLst>
              </p:cNvPr>
              <p:cNvSpPr/>
              <p:nvPr/>
            </p:nvSpPr>
            <p:spPr>
              <a:xfrm>
                <a:off x="6390660" y="1707297"/>
                <a:ext cx="3468" cy="2511"/>
              </a:xfrm>
              <a:custGeom>
                <a:avLst/>
                <a:gdLst>
                  <a:gd name="connsiteX0" fmla="*/ 0 w 3468"/>
                  <a:gd name="connsiteY0" fmla="*/ 2332 h 2511"/>
                  <a:gd name="connsiteX1" fmla="*/ 418 w 3468"/>
                  <a:gd name="connsiteY1" fmla="*/ 2512 h 2511"/>
                  <a:gd name="connsiteX2" fmla="*/ 478 w 3468"/>
                  <a:gd name="connsiteY2" fmla="*/ 2512 h 2511"/>
                  <a:gd name="connsiteX3" fmla="*/ 957 w 3468"/>
                  <a:gd name="connsiteY3" fmla="*/ 2452 h 2511"/>
                  <a:gd name="connsiteX4" fmla="*/ 1555 w 3468"/>
                  <a:gd name="connsiteY4" fmla="*/ 2153 h 2511"/>
                  <a:gd name="connsiteX5" fmla="*/ 2213 w 3468"/>
                  <a:gd name="connsiteY5" fmla="*/ 1615 h 2511"/>
                  <a:gd name="connsiteX6" fmla="*/ 2871 w 3468"/>
                  <a:gd name="connsiteY6" fmla="*/ 897 h 2511"/>
                  <a:gd name="connsiteX7" fmla="*/ 3469 w 3468"/>
                  <a:gd name="connsiteY7" fmla="*/ 0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8" h="2511">
                    <a:moveTo>
                      <a:pt x="0" y="2332"/>
                    </a:moveTo>
                    <a:lnTo>
                      <a:pt x="418" y="2512"/>
                    </a:lnTo>
                    <a:lnTo>
                      <a:pt x="478" y="2512"/>
                    </a:lnTo>
                    <a:lnTo>
                      <a:pt x="957" y="2452"/>
                    </a:lnTo>
                    <a:lnTo>
                      <a:pt x="1555" y="2153"/>
                    </a:lnTo>
                    <a:lnTo>
                      <a:pt x="2213" y="1615"/>
                    </a:lnTo>
                    <a:lnTo>
                      <a:pt x="2871" y="897"/>
                    </a:lnTo>
                    <a:lnTo>
                      <a:pt x="3469" y="0"/>
                    </a:lnTo>
                  </a:path>
                </a:pathLst>
              </a:custGeom>
              <a:noFill/>
              <a:ln w="6350" cap="rnd">
                <a:solidFill>
                  <a:schemeClr val="bg1">
                    <a:alpha val="80000"/>
                  </a:schemeClr>
                </a:solidFill>
                <a:prstDash val="solid"/>
                <a:round/>
              </a:ln>
            </p:spPr>
            <p:txBody>
              <a:bodyPr rtlCol="0" anchor="ctr"/>
              <a:lstStyle/>
              <a:p>
                <a:endParaRPr lang="en-GB"/>
              </a:p>
            </p:txBody>
          </p:sp>
          <p:sp>
            <p:nvSpPr>
              <p:cNvPr id="5673" name="Vrije vorm: vorm 5672">
                <a:extLst>
                  <a:ext uri="{FF2B5EF4-FFF2-40B4-BE49-F238E27FC236}">
                    <a16:creationId xmlns:a16="http://schemas.microsoft.com/office/drawing/2014/main" id="{89AF9337-9E25-473B-8A9A-114D0562FB2E}"/>
                  </a:ext>
                </a:extLst>
              </p:cNvPr>
              <p:cNvSpPr/>
              <p:nvPr/>
            </p:nvSpPr>
            <p:spPr>
              <a:xfrm>
                <a:off x="6398913" y="1691926"/>
                <a:ext cx="1674" cy="897"/>
              </a:xfrm>
              <a:custGeom>
                <a:avLst/>
                <a:gdLst>
                  <a:gd name="connsiteX0" fmla="*/ 0 w 1674"/>
                  <a:gd name="connsiteY0" fmla="*/ 0 h 897"/>
                  <a:gd name="connsiteX1" fmla="*/ 120 w 1674"/>
                  <a:gd name="connsiteY1" fmla="*/ 60 h 897"/>
                  <a:gd name="connsiteX2" fmla="*/ 120 w 1674"/>
                  <a:gd name="connsiteY2" fmla="*/ 60 h 897"/>
                  <a:gd name="connsiteX3" fmla="*/ 1675 w 1674"/>
                  <a:gd name="connsiteY3" fmla="*/ 897 h 897"/>
                </a:gdLst>
                <a:ahLst/>
                <a:cxnLst>
                  <a:cxn ang="0">
                    <a:pos x="connsiteX0" y="connsiteY0"/>
                  </a:cxn>
                  <a:cxn ang="0">
                    <a:pos x="connsiteX1" y="connsiteY1"/>
                  </a:cxn>
                  <a:cxn ang="0">
                    <a:pos x="connsiteX2" y="connsiteY2"/>
                  </a:cxn>
                  <a:cxn ang="0">
                    <a:pos x="connsiteX3" y="connsiteY3"/>
                  </a:cxn>
                </a:cxnLst>
                <a:rect l="l" t="t" r="r" b="b"/>
                <a:pathLst>
                  <a:path w="1674" h="897">
                    <a:moveTo>
                      <a:pt x="0" y="0"/>
                    </a:moveTo>
                    <a:lnTo>
                      <a:pt x="120" y="60"/>
                    </a:lnTo>
                    <a:lnTo>
                      <a:pt x="120" y="60"/>
                    </a:lnTo>
                    <a:lnTo>
                      <a:pt x="1675" y="897"/>
                    </a:lnTo>
                  </a:path>
                </a:pathLst>
              </a:custGeom>
              <a:noFill/>
              <a:ln w="6350" cap="rnd">
                <a:solidFill>
                  <a:schemeClr val="bg1">
                    <a:alpha val="80000"/>
                  </a:schemeClr>
                </a:solidFill>
                <a:prstDash val="solid"/>
                <a:round/>
              </a:ln>
            </p:spPr>
            <p:txBody>
              <a:bodyPr rtlCol="0" anchor="ctr"/>
              <a:lstStyle/>
              <a:p>
                <a:endParaRPr lang="en-GB"/>
              </a:p>
            </p:txBody>
          </p:sp>
          <p:sp>
            <p:nvSpPr>
              <p:cNvPr id="5674" name="Vrije vorm: vorm 5673">
                <a:extLst>
                  <a:ext uri="{FF2B5EF4-FFF2-40B4-BE49-F238E27FC236}">
                    <a16:creationId xmlns:a16="http://schemas.microsoft.com/office/drawing/2014/main" id="{E0BBD04D-0482-4C3B-9712-AD275D162CFF}"/>
                  </a:ext>
                </a:extLst>
              </p:cNvPr>
              <p:cNvSpPr/>
              <p:nvPr/>
            </p:nvSpPr>
            <p:spPr>
              <a:xfrm>
                <a:off x="6418829" y="1763217"/>
                <a:ext cx="112856" cy="70692"/>
              </a:xfrm>
              <a:custGeom>
                <a:avLst/>
                <a:gdLst>
                  <a:gd name="connsiteX0" fmla="*/ 100536 w 112856"/>
                  <a:gd name="connsiteY0" fmla="*/ 50298 h 70692"/>
                  <a:gd name="connsiteX1" fmla="*/ 100536 w 112856"/>
                  <a:gd name="connsiteY1" fmla="*/ 50298 h 70692"/>
                  <a:gd name="connsiteX2" fmla="*/ 102749 w 112856"/>
                  <a:gd name="connsiteY2" fmla="*/ 52331 h 70692"/>
                  <a:gd name="connsiteX3" fmla="*/ 104902 w 112856"/>
                  <a:gd name="connsiteY3" fmla="*/ 54365 h 70692"/>
                  <a:gd name="connsiteX4" fmla="*/ 107055 w 112856"/>
                  <a:gd name="connsiteY4" fmla="*/ 56398 h 70692"/>
                  <a:gd name="connsiteX5" fmla="*/ 107773 w 112856"/>
                  <a:gd name="connsiteY5" fmla="*/ 57056 h 70692"/>
                  <a:gd name="connsiteX6" fmla="*/ 109627 w 112856"/>
                  <a:gd name="connsiteY6" fmla="*/ 59389 h 70692"/>
                  <a:gd name="connsiteX7" fmla="*/ 111481 w 112856"/>
                  <a:gd name="connsiteY7" fmla="*/ 61721 h 70692"/>
                  <a:gd name="connsiteX8" fmla="*/ 112079 w 112856"/>
                  <a:gd name="connsiteY8" fmla="*/ 62499 h 70692"/>
                  <a:gd name="connsiteX9" fmla="*/ 112198 w 112856"/>
                  <a:gd name="connsiteY9" fmla="*/ 63156 h 70692"/>
                  <a:gd name="connsiteX10" fmla="*/ 112796 w 112856"/>
                  <a:gd name="connsiteY10" fmla="*/ 65967 h 70692"/>
                  <a:gd name="connsiteX11" fmla="*/ 112856 w 112856"/>
                  <a:gd name="connsiteY11" fmla="*/ 66147 h 70692"/>
                  <a:gd name="connsiteX12" fmla="*/ 111421 w 112856"/>
                  <a:gd name="connsiteY12" fmla="*/ 68599 h 70692"/>
                  <a:gd name="connsiteX13" fmla="*/ 111122 w 112856"/>
                  <a:gd name="connsiteY13" fmla="*/ 69137 h 70692"/>
                  <a:gd name="connsiteX14" fmla="*/ 108670 w 112856"/>
                  <a:gd name="connsiteY14" fmla="*/ 70393 h 70692"/>
                  <a:gd name="connsiteX15" fmla="*/ 108072 w 112856"/>
                  <a:gd name="connsiteY15" fmla="*/ 70692 h 70692"/>
                  <a:gd name="connsiteX16" fmla="*/ 105141 w 112856"/>
                  <a:gd name="connsiteY16" fmla="*/ 70333 h 70692"/>
                  <a:gd name="connsiteX17" fmla="*/ 102211 w 112856"/>
                  <a:gd name="connsiteY17" fmla="*/ 69974 h 70692"/>
                  <a:gd name="connsiteX18" fmla="*/ 101074 w 112856"/>
                  <a:gd name="connsiteY18" fmla="*/ 69855 h 70692"/>
                  <a:gd name="connsiteX19" fmla="*/ 98263 w 112856"/>
                  <a:gd name="connsiteY19" fmla="*/ 68958 h 70692"/>
                  <a:gd name="connsiteX20" fmla="*/ 95452 w 112856"/>
                  <a:gd name="connsiteY20" fmla="*/ 68061 h 70692"/>
                  <a:gd name="connsiteX21" fmla="*/ 92641 w 112856"/>
                  <a:gd name="connsiteY21" fmla="*/ 67163 h 70692"/>
                  <a:gd name="connsiteX22" fmla="*/ 90488 w 112856"/>
                  <a:gd name="connsiteY22" fmla="*/ 66446 h 70692"/>
                  <a:gd name="connsiteX23" fmla="*/ 87737 w 112856"/>
                  <a:gd name="connsiteY23" fmla="*/ 65250 h 70692"/>
                  <a:gd name="connsiteX24" fmla="*/ 84986 w 112856"/>
                  <a:gd name="connsiteY24" fmla="*/ 64054 h 70692"/>
                  <a:gd name="connsiteX25" fmla="*/ 82235 w 112856"/>
                  <a:gd name="connsiteY25" fmla="*/ 62857 h 70692"/>
                  <a:gd name="connsiteX26" fmla="*/ 79484 w 112856"/>
                  <a:gd name="connsiteY26" fmla="*/ 61661 h 70692"/>
                  <a:gd name="connsiteX27" fmla="*/ 76793 w 112856"/>
                  <a:gd name="connsiteY27" fmla="*/ 60465 h 70692"/>
                  <a:gd name="connsiteX28" fmla="*/ 74161 w 112856"/>
                  <a:gd name="connsiteY28" fmla="*/ 59090 h 70692"/>
                  <a:gd name="connsiteX29" fmla="*/ 71530 w 112856"/>
                  <a:gd name="connsiteY29" fmla="*/ 57714 h 70692"/>
                  <a:gd name="connsiteX30" fmla="*/ 68898 w 112856"/>
                  <a:gd name="connsiteY30" fmla="*/ 56338 h 70692"/>
                  <a:gd name="connsiteX31" fmla="*/ 66267 w 112856"/>
                  <a:gd name="connsiteY31" fmla="*/ 54963 h 70692"/>
                  <a:gd name="connsiteX32" fmla="*/ 63635 w 112856"/>
                  <a:gd name="connsiteY32" fmla="*/ 53587 h 70692"/>
                  <a:gd name="connsiteX33" fmla="*/ 61362 w 112856"/>
                  <a:gd name="connsiteY33" fmla="*/ 52451 h 70692"/>
                  <a:gd name="connsiteX34" fmla="*/ 58791 w 112856"/>
                  <a:gd name="connsiteY34" fmla="*/ 50956 h 70692"/>
                  <a:gd name="connsiteX35" fmla="*/ 56219 w 112856"/>
                  <a:gd name="connsiteY35" fmla="*/ 49461 h 70692"/>
                  <a:gd name="connsiteX36" fmla="*/ 54305 w 112856"/>
                  <a:gd name="connsiteY36" fmla="*/ 48324 h 70692"/>
                  <a:gd name="connsiteX37" fmla="*/ 51733 w 112856"/>
                  <a:gd name="connsiteY37" fmla="*/ 46829 h 70692"/>
                  <a:gd name="connsiteX38" fmla="*/ 49162 w 112856"/>
                  <a:gd name="connsiteY38" fmla="*/ 45334 h 70692"/>
                  <a:gd name="connsiteX39" fmla="*/ 46590 w 112856"/>
                  <a:gd name="connsiteY39" fmla="*/ 43839 h 70692"/>
                  <a:gd name="connsiteX40" fmla="*/ 45394 w 112856"/>
                  <a:gd name="connsiteY40" fmla="*/ 43121 h 70692"/>
                  <a:gd name="connsiteX41" fmla="*/ 42882 w 112856"/>
                  <a:gd name="connsiteY41" fmla="*/ 41506 h 70692"/>
                  <a:gd name="connsiteX42" fmla="*/ 40370 w 112856"/>
                  <a:gd name="connsiteY42" fmla="*/ 39891 h 70692"/>
                  <a:gd name="connsiteX43" fmla="*/ 38576 w 112856"/>
                  <a:gd name="connsiteY43" fmla="*/ 38755 h 70692"/>
                  <a:gd name="connsiteX44" fmla="*/ 36064 w 112856"/>
                  <a:gd name="connsiteY44" fmla="*/ 37140 h 70692"/>
                  <a:gd name="connsiteX45" fmla="*/ 33552 w 112856"/>
                  <a:gd name="connsiteY45" fmla="*/ 35526 h 70692"/>
                  <a:gd name="connsiteX46" fmla="*/ 31040 w 112856"/>
                  <a:gd name="connsiteY46" fmla="*/ 33911 h 70692"/>
                  <a:gd name="connsiteX47" fmla="*/ 30203 w 112856"/>
                  <a:gd name="connsiteY47" fmla="*/ 33372 h 70692"/>
                  <a:gd name="connsiteX48" fmla="*/ 27811 w 112856"/>
                  <a:gd name="connsiteY48" fmla="*/ 31638 h 70692"/>
                  <a:gd name="connsiteX49" fmla="*/ 25418 w 112856"/>
                  <a:gd name="connsiteY49" fmla="*/ 29904 h 70692"/>
                  <a:gd name="connsiteX50" fmla="*/ 23026 w 112856"/>
                  <a:gd name="connsiteY50" fmla="*/ 28169 h 70692"/>
                  <a:gd name="connsiteX51" fmla="*/ 20634 w 112856"/>
                  <a:gd name="connsiteY51" fmla="*/ 26435 h 70692"/>
                  <a:gd name="connsiteX52" fmla="*/ 18241 w 112856"/>
                  <a:gd name="connsiteY52" fmla="*/ 24700 h 70692"/>
                  <a:gd name="connsiteX53" fmla="*/ 17404 w 112856"/>
                  <a:gd name="connsiteY53" fmla="*/ 24043 h 70692"/>
                  <a:gd name="connsiteX54" fmla="*/ 15191 w 112856"/>
                  <a:gd name="connsiteY54" fmla="*/ 22069 h 70692"/>
                  <a:gd name="connsiteX55" fmla="*/ 12978 w 112856"/>
                  <a:gd name="connsiteY55" fmla="*/ 20155 h 70692"/>
                  <a:gd name="connsiteX56" fmla="*/ 11065 w 112856"/>
                  <a:gd name="connsiteY56" fmla="*/ 18480 h 70692"/>
                  <a:gd name="connsiteX57" fmla="*/ 8852 w 112856"/>
                  <a:gd name="connsiteY57" fmla="*/ 16567 h 70692"/>
                  <a:gd name="connsiteX58" fmla="*/ 7954 w 112856"/>
                  <a:gd name="connsiteY58" fmla="*/ 15789 h 70692"/>
                  <a:gd name="connsiteX59" fmla="*/ 6758 w 112856"/>
                  <a:gd name="connsiteY59" fmla="*/ 14473 h 70692"/>
                  <a:gd name="connsiteX60" fmla="*/ 6399 w 112856"/>
                  <a:gd name="connsiteY60" fmla="*/ 14115 h 70692"/>
                  <a:gd name="connsiteX61" fmla="*/ 4426 w 112856"/>
                  <a:gd name="connsiteY61" fmla="*/ 11902 h 70692"/>
                  <a:gd name="connsiteX62" fmla="*/ 2452 w 112856"/>
                  <a:gd name="connsiteY62" fmla="*/ 9689 h 70692"/>
                  <a:gd name="connsiteX63" fmla="*/ 479 w 112856"/>
                  <a:gd name="connsiteY63" fmla="*/ 7476 h 70692"/>
                  <a:gd name="connsiteX64" fmla="*/ 0 w 112856"/>
                  <a:gd name="connsiteY64" fmla="*/ 6878 h 70692"/>
                  <a:gd name="connsiteX65" fmla="*/ 0 w 112856"/>
                  <a:gd name="connsiteY65" fmla="*/ 6878 h 70692"/>
                  <a:gd name="connsiteX66" fmla="*/ 299 w 112856"/>
                  <a:gd name="connsiteY66" fmla="*/ 4067 h 70692"/>
                  <a:gd name="connsiteX67" fmla="*/ 419 w 112856"/>
                  <a:gd name="connsiteY67" fmla="*/ 2931 h 70692"/>
                  <a:gd name="connsiteX68" fmla="*/ 1615 w 112856"/>
                  <a:gd name="connsiteY68" fmla="*/ 897 h 70692"/>
                  <a:gd name="connsiteX69" fmla="*/ 2093 w 112856"/>
                  <a:gd name="connsiteY69" fmla="*/ 120 h 70692"/>
                  <a:gd name="connsiteX70" fmla="*/ 2153 w 112856"/>
                  <a:gd name="connsiteY70" fmla="*/ 0 h 70692"/>
                  <a:gd name="connsiteX71" fmla="*/ 5084 w 112856"/>
                  <a:gd name="connsiteY71" fmla="*/ 179 h 70692"/>
                  <a:gd name="connsiteX72" fmla="*/ 8014 w 112856"/>
                  <a:gd name="connsiteY72" fmla="*/ 359 h 70692"/>
                  <a:gd name="connsiteX73" fmla="*/ 8552 w 112856"/>
                  <a:gd name="connsiteY73" fmla="*/ 419 h 70692"/>
                  <a:gd name="connsiteX74" fmla="*/ 9988 w 112856"/>
                  <a:gd name="connsiteY74" fmla="*/ 478 h 70692"/>
                  <a:gd name="connsiteX75" fmla="*/ 11842 w 112856"/>
                  <a:gd name="connsiteY75" fmla="*/ 1017 h 70692"/>
                  <a:gd name="connsiteX76" fmla="*/ 14713 w 112856"/>
                  <a:gd name="connsiteY76" fmla="*/ 1794 h 70692"/>
                  <a:gd name="connsiteX77" fmla="*/ 17583 w 112856"/>
                  <a:gd name="connsiteY77" fmla="*/ 2572 h 70692"/>
                  <a:gd name="connsiteX78" fmla="*/ 18361 w 112856"/>
                  <a:gd name="connsiteY78" fmla="*/ 2811 h 70692"/>
                  <a:gd name="connsiteX79" fmla="*/ 21112 w 112856"/>
                  <a:gd name="connsiteY79" fmla="*/ 3888 h 70692"/>
                  <a:gd name="connsiteX80" fmla="*/ 21291 w 112856"/>
                  <a:gd name="connsiteY80" fmla="*/ 3947 h 7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12856" h="70692">
                    <a:moveTo>
                      <a:pt x="100536" y="50298"/>
                    </a:moveTo>
                    <a:lnTo>
                      <a:pt x="100536" y="50298"/>
                    </a:lnTo>
                    <a:lnTo>
                      <a:pt x="102749" y="52331"/>
                    </a:lnTo>
                    <a:lnTo>
                      <a:pt x="104902" y="54365"/>
                    </a:lnTo>
                    <a:lnTo>
                      <a:pt x="107055" y="56398"/>
                    </a:lnTo>
                    <a:lnTo>
                      <a:pt x="107773" y="57056"/>
                    </a:lnTo>
                    <a:lnTo>
                      <a:pt x="109627" y="59389"/>
                    </a:lnTo>
                    <a:lnTo>
                      <a:pt x="111481" y="61721"/>
                    </a:lnTo>
                    <a:lnTo>
                      <a:pt x="112079" y="62499"/>
                    </a:lnTo>
                    <a:lnTo>
                      <a:pt x="112198" y="63156"/>
                    </a:lnTo>
                    <a:lnTo>
                      <a:pt x="112796" y="65967"/>
                    </a:lnTo>
                    <a:lnTo>
                      <a:pt x="112856" y="66147"/>
                    </a:lnTo>
                    <a:lnTo>
                      <a:pt x="111421" y="68599"/>
                    </a:lnTo>
                    <a:lnTo>
                      <a:pt x="111122" y="69137"/>
                    </a:lnTo>
                    <a:lnTo>
                      <a:pt x="108670" y="70393"/>
                    </a:lnTo>
                    <a:lnTo>
                      <a:pt x="108072" y="70692"/>
                    </a:lnTo>
                    <a:lnTo>
                      <a:pt x="105141" y="70333"/>
                    </a:lnTo>
                    <a:lnTo>
                      <a:pt x="102211" y="69974"/>
                    </a:lnTo>
                    <a:lnTo>
                      <a:pt x="101074" y="69855"/>
                    </a:lnTo>
                    <a:lnTo>
                      <a:pt x="98263" y="68958"/>
                    </a:lnTo>
                    <a:lnTo>
                      <a:pt x="95452" y="68061"/>
                    </a:lnTo>
                    <a:lnTo>
                      <a:pt x="92641" y="67163"/>
                    </a:lnTo>
                    <a:lnTo>
                      <a:pt x="90488" y="66446"/>
                    </a:lnTo>
                    <a:lnTo>
                      <a:pt x="87737" y="65250"/>
                    </a:lnTo>
                    <a:lnTo>
                      <a:pt x="84986" y="64054"/>
                    </a:lnTo>
                    <a:lnTo>
                      <a:pt x="82235" y="62857"/>
                    </a:lnTo>
                    <a:lnTo>
                      <a:pt x="79484" y="61661"/>
                    </a:lnTo>
                    <a:lnTo>
                      <a:pt x="76793" y="60465"/>
                    </a:lnTo>
                    <a:lnTo>
                      <a:pt x="74161" y="59090"/>
                    </a:lnTo>
                    <a:lnTo>
                      <a:pt x="71530" y="57714"/>
                    </a:lnTo>
                    <a:lnTo>
                      <a:pt x="68898" y="56338"/>
                    </a:lnTo>
                    <a:lnTo>
                      <a:pt x="66267" y="54963"/>
                    </a:lnTo>
                    <a:lnTo>
                      <a:pt x="63635" y="53587"/>
                    </a:lnTo>
                    <a:lnTo>
                      <a:pt x="61362" y="52451"/>
                    </a:lnTo>
                    <a:lnTo>
                      <a:pt x="58791" y="50956"/>
                    </a:lnTo>
                    <a:lnTo>
                      <a:pt x="56219" y="49461"/>
                    </a:lnTo>
                    <a:lnTo>
                      <a:pt x="54305" y="48324"/>
                    </a:lnTo>
                    <a:lnTo>
                      <a:pt x="51733" y="46829"/>
                    </a:lnTo>
                    <a:lnTo>
                      <a:pt x="49162" y="45334"/>
                    </a:lnTo>
                    <a:lnTo>
                      <a:pt x="46590" y="43839"/>
                    </a:lnTo>
                    <a:lnTo>
                      <a:pt x="45394" y="43121"/>
                    </a:lnTo>
                    <a:lnTo>
                      <a:pt x="42882" y="41506"/>
                    </a:lnTo>
                    <a:lnTo>
                      <a:pt x="40370" y="39891"/>
                    </a:lnTo>
                    <a:lnTo>
                      <a:pt x="38576" y="38755"/>
                    </a:lnTo>
                    <a:lnTo>
                      <a:pt x="36064" y="37140"/>
                    </a:lnTo>
                    <a:lnTo>
                      <a:pt x="33552" y="35526"/>
                    </a:lnTo>
                    <a:lnTo>
                      <a:pt x="31040" y="33911"/>
                    </a:lnTo>
                    <a:lnTo>
                      <a:pt x="30203" y="33372"/>
                    </a:lnTo>
                    <a:lnTo>
                      <a:pt x="27811" y="31638"/>
                    </a:lnTo>
                    <a:lnTo>
                      <a:pt x="25418" y="29904"/>
                    </a:lnTo>
                    <a:lnTo>
                      <a:pt x="23026" y="28169"/>
                    </a:lnTo>
                    <a:lnTo>
                      <a:pt x="20634" y="26435"/>
                    </a:lnTo>
                    <a:lnTo>
                      <a:pt x="18241" y="24700"/>
                    </a:lnTo>
                    <a:lnTo>
                      <a:pt x="17404" y="24043"/>
                    </a:lnTo>
                    <a:lnTo>
                      <a:pt x="15191" y="22069"/>
                    </a:lnTo>
                    <a:lnTo>
                      <a:pt x="12978" y="20155"/>
                    </a:lnTo>
                    <a:lnTo>
                      <a:pt x="11065" y="18480"/>
                    </a:lnTo>
                    <a:lnTo>
                      <a:pt x="8852" y="16567"/>
                    </a:lnTo>
                    <a:lnTo>
                      <a:pt x="7954" y="15789"/>
                    </a:lnTo>
                    <a:lnTo>
                      <a:pt x="6758" y="14473"/>
                    </a:lnTo>
                    <a:lnTo>
                      <a:pt x="6399" y="14115"/>
                    </a:lnTo>
                    <a:lnTo>
                      <a:pt x="4426" y="11902"/>
                    </a:lnTo>
                    <a:lnTo>
                      <a:pt x="2452" y="9689"/>
                    </a:lnTo>
                    <a:lnTo>
                      <a:pt x="479" y="7476"/>
                    </a:lnTo>
                    <a:lnTo>
                      <a:pt x="0" y="6878"/>
                    </a:lnTo>
                    <a:lnTo>
                      <a:pt x="0" y="6878"/>
                    </a:lnTo>
                    <a:lnTo>
                      <a:pt x="299" y="4067"/>
                    </a:lnTo>
                    <a:lnTo>
                      <a:pt x="419" y="2931"/>
                    </a:lnTo>
                    <a:lnTo>
                      <a:pt x="1615" y="897"/>
                    </a:lnTo>
                    <a:lnTo>
                      <a:pt x="2093" y="120"/>
                    </a:lnTo>
                    <a:lnTo>
                      <a:pt x="2153" y="0"/>
                    </a:lnTo>
                    <a:lnTo>
                      <a:pt x="5084" y="179"/>
                    </a:lnTo>
                    <a:lnTo>
                      <a:pt x="8014" y="359"/>
                    </a:lnTo>
                    <a:lnTo>
                      <a:pt x="8552" y="419"/>
                    </a:lnTo>
                    <a:lnTo>
                      <a:pt x="9988" y="478"/>
                    </a:lnTo>
                    <a:lnTo>
                      <a:pt x="11842" y="1017"/>
                    </a:lnTo>
                    <a:lnTo>
                      <a:pt x="14713" y="1794"/>
                    </a:lnTo>
                    <a:lnTo>
                      <a:pt x="17583" y="2572"/>
                    </a:lnTo>
                    <a:lnTo>
                      <a:pt x="18361" y="2811"/>
                    </a:lnTo>
                    <a:lnTo>
                      <a:pt x="21112" y="3888"/>
                    </a:lnTo>
                    <a:lnTo>
                      <a:pt x="21291" y="3947"/>
                    </a:lnTo>
                  </a:path>
                </a:pathLst>
              </a:custGeom>
              <a:noFill/>
              <a:ln w="6350" cap="rnd">
                <a:solidFill>
                  <a:schemeClr val="bg1">
                    <a:alpha val="80000"/>
                  </a:schemeClr>
                </a:solidFill>
                <a:prstDash val="solid"/>
                <a:round/>
              </a:ln>
            </p:spPr>
            <p:txBody>
              <a:bodyPr rtlCol="0" anchor="ctr"/>
              <a:lstStyle/>
              <a:p>
                <a:endParaRPr lang="en-GB"/>
              </a:p>
            </p:txBody>
          </p:sp>
          <p:sp>
            <p:nvSpPr>
              <p:cNvPr id="5675" name="Vrije vorm: vorm 5674">
                <a:extLst>
                  <a:ext uri="{FF2B5EF4-FFF2-40B4-BE49-F238E27FC236}">
                    <a16:creationId xmlns:a16="http://schemas.microsoft.com/office/drawing/2014/main" id="{41C2F841-9987-4B74-A9F7-EE5AA7539631}"/>
                  </a:ext>
                </a:extLst>
              </p:cNvPr>
              <p:cNvSpPr/>
              <p:nvPr/>
            </p:nvSpPr>
            <p:spPr>
              <a:xfrm>
                <a:off x="6420863" y="1762977"/>
                <a:ext cx="110942" cy="67881"/>
              </a:xfrm>
              <a:custGeom>
                <a:avLst/>
                <a:gdLst>
                  <a:gd name="connsiteX0" fmla="*/ 359 w 110942"/>
                  <a:gd name="connsiteY0" fmla="*/ 0 h 67881"/>
                  <a:gd name="connsiteX1" fmla="*/ 239 w 110942"/>
                  <a:gd name="connsiteY1" fmla="*/ 1076 h 67881"/>
                  <a:gd name="connsiteX2" fmla="*/ 60 w 110942"/>
                  <a:gd name="connsiteY2" fmla="*/ 3050 h 67881"/>
                  <a:gd name="connsiteX3" fmla="*/ 0 w 110942"/>
                  <a:gd name="connsiteY3" fmla="*/ 3887 h 67881"/>
                  <a:gd name="connsiteX4" fmla="*/ 1973 w 110942"/>
                  <a:gd name="connsiteY4" fmla="*/ 6100 h 67881"/>
                  <a:gd name="connsiteX5" fmla="*/ 3947 w 110942"/>
                  <a:gd name="connsiteY5" fmla="*/ 8313 h 67881"/>
                  <a:gd name="connsiteX6" fmla="*/ 5921 w 110942"/>
                  <a:gd name="connsiteY6" fmla="*/ 10526 h 67881"/>
                  <a:gd name="connsiteX7" fmla="*/ 6399 w 110942"/>
                  <a:gd name="connsiteY7" fmla="*/ 11064 h 67881"/>
                  <a:gd name="connsiteX8" fmla="*/ 7895 w 110942"/>
                  <a:gd name="connsiteY8" fmla="*/ 12799 h 67881"/>
                  <a:gd name="connsiteX9" fmla="*/ 10167 w 110942"/>
                  <a:gd name="connsiteY9" fmla="*/ 14713 h 67881"/>
                  <a:gd name="connsiteX10" fmla="*/ 12440 w 110942"/>
                  <a:gd name="connsiteY10" fmla="*/ 16626 h 67881"/>
                  <a:gd name="connsiteX11" fmla="*/ 14712 w 110942"/>
                  <a:gd name="connsiteY11" fmla="*/ 18540 h 67881"/>
                  <a:gd name="connsiteX12" fmla="*/ 16985 w 110942"/>
                  <a:gd name="connsiteY12" fmla="*/ 20454 h 67881"/>
                  <a:gd name="connsiteX13" fmla="*/ 17523 w 110942"/>
                  <a:gd name="connsiteY13" fmla="*/ 20933 h 67881"/>
                  <a:gd name="connsiteX14" fmla="*/ 19916 w 110942"/>
                  <a:gd name="connsiteY14" fmla="*/ 22667 h 67881"/>
                  <a:gd name="connsiteX15" fmla="*/ 22308 w 110942"/>
                  <a:gd name="connsiteY15" fmla="*/ 24401 h 67881"/>
                  <a:gd name="connsiteX16" fmla="*/ 24700 w 110942"/>
                  <a:gd name="connsiteY16" fmla="*/ 26136 h 67881"/>
                  <a:gd name="connsiteX17" fmla="*/ 27092 w 110942"/>
                  <a:gd name="connsiteY17" fmla="*/ 27870 h 67881"/>
                  <a:gd name="connsiteX18" fmla="*/ 29485 w 110942"/>
                  <a:gd name="connsiteY18" fmla="*/ 29605 h 67881"/>
                  <a:gd name="connsiteX19" fmla="*/ 30322 w 110942"/>
                  <a:gd name="connsiteY19" fmla="*/ 30203 h 67881"/>
                  <a:gd name="connsiteX20" fmla="*/ 32834 w 110942"/>
                  <a:gd name="connsiteY20" fmla="*/ 31817 h 67881"/>
                  <a:gd name="connsiteX21" fmla="*/ 35346 w 110942"/>
                  <a:gd name="connsiteY21" fmla="*/ 33432 h 67881"/>
                  <a:gd name="connsiteX22" fmla="*/ 37858 w 110942"/>
                  <a:gd name="connsiteY22" fmla="*/ 35047 h 67881"/>
                  <a:gd name="connsiteX23" fmla="*/ 40370 w 110942"/>
                  <a:gd name="connsiteY23" fmla="*/ 36662 h 67881"/>
                  <a:gd name="connsiteX24" fmla="*/ 42882 w 110942"/>
                  <a:gd name="connsiteY24" fmla="*/ 38277 h 67881"/>
                  <a:gd name="connsiteX25" fmla="*/ 45513 w 110942"/>
                  <a:gd name="connsiteY25" fmla="*/ 39951 h 67881"/>
                  <a:gd name="connsiteX26" fmla="*/ 48085 w 110942"/>
                  <a:gd name="connsiteY26" fmla="*/ 41446 h 67881"/>
                  <a:gd name="connsiteX27" fmla="*/ 50657 w 110942"/>
                  <a:gd name="connsiteY27" fmla="*/ 42942 h 67881"/>
                  <a:gd name="connsiteX28" fmla="*/ 53228 w 110942"/>
                  <a:gd name="connsiteY28" fmla="*/ 44437 h 67881"/>
                  <a:gd name="connsiteX29" fmla="*/ 55800 w 110942"/>
                  <a:gd name="connsiteY29" fmla="*/ 45932 h 67881"/>
                  <a:gd name="connsiteX30" fmla="*/ 58372 w 110942"/>
                  <a:gd name="connsiteY30" fmla="*/ 47427 h 67881"/>
                  <a:gd name="connsiteX31" fmla="*/ 60944 w 110942"/>
                  <a:gd name="connsiteY31" fmla="*/ 48922 h 67881"/>
                  <a:gd name="connsiteX32" fmla="*/ 61542 w 110942"/>
                  <a:gd name="connsiteY32" fmla="*/ 49281 h 67881"/>
                  <a:gd name="connsiteX33" fmla="*/ 64173 w 110942"/>
                  <a:gd name="connsiteY33" fmla="*/ 50657 h 67881"/>
                  <a:gd name="connsiteX34" fmla="*/ 66805 w 110942"/>
                  <a:gd name="connsiteY34" fmla="*/ 52032 h 67881"/>
                  <a:gd name="connsiteX35" fmla="*/ 69436 w 110942"/>
                  <a:gd name="connsiteY35" fmla="*/ 53408 h 67881"/>
                  <a:gd name="connsiteX36" fmla="*/ 72068 w 110942"/>
                  <a:gd name="connsiteY36" fmla="*/ 54783 h 67881"/>
                  <a:gd name="connsiteX37" fmla="*/ 74699 w 110942"/>
                  <a:gd name="connsiteY37" fmla="*/ 56159 h 67881"/>
                  <a:gd name="connsiteX38" fmla="*/ 76972 w 110942"/>
                  <a:gd name="connsiteY38" fmla="*/ 57295 h 67881"/>
                  <a:gd name="connsiteX39" fmla="*/ 79663 w 110942"/>
                  <a:gd name="connsiteY39" fmla="*/ 58491 h 67881"/>
                  <a:gd name="connsiteX40" fmla="*/ 82354 w 110942"/>
                  <a:gd name="connsiteY40" fmla="*/ 59688 h 67881"/>
                  <a:gd name="connsiteX41" fmla="*/ 85046 w 110942"/>
                  <a:gd name="connsiteY41" fmla="*/ 60884 h 67881"/>
                  <a:gd name="connsiteX42" fmla="*/ 87737 w 110942"/>
                  <a:gd name="connsiteY42" fmla="*/ 62080 h 67881"/>
                  <a:gd name="connsiteX43" fmla="*/ 90428 w 110942"/>
                  <a:gd name="connsiteY43" fmla="*/ 63276 h 67881"/>
                  <a:gd name="connsiteX44" fmla="*/ 93239 w 110942"/>
                  <a:gd name="connsiteY44" fmla="*/ 64233 h 67881"/>
                  <a:gd name="connsiteX45" fmla="*/ 96050 w 110942"/>
                  <a:gd name="connsiteY45" fmla="*/ 65190 h 67881"/>
                  <a:gd name="connsiteX46" fmla="*/ 98861 w 110942"/>
                  <a:gd name="connsiteY46" fmla="*/ 66147 h 67881"/>
                  <a:gd name="connsiteX47" fmla="*/ 101014 w 110942"/>
                  <a:gd name="connsiteY47" fmla="*/ 66864 h 67881"/>
                  <a:gd name="connsiteX48" fmla="*/ 103945 w 110942"/>
                  <a:gd name="connsiteY48" fmla="*/ 67283 h 67881"/>
                  <a:gd name="connsiteX49" fmla="*/ 106875 w 110942"/>
                  <a:gd name="connsiteY49" fmla="*/ 67702 h 67881"/>
                  <a:gd name="connsiteX50" fmla="*/ 107952 w 110942"/>
                  <a:gd name="connsiteY50" fmla="*/ 67881 h 67881"/>
                  <a:gd name="connsiteX51" fmla="*/ 108789 w 110942"/>
                  <a:gd name="connsiteY51" fmla="*/ 67463 h 67881"/>
                  <a:gd name="connsiteX52" fmla="*/ 110942 w 110942"/>
                  <a:gd name="connsiteY52" fmla="*/ 66386 h 6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0942" h="67881">
                    <a:moveTo>
                      <a:pt x="359" y="0"/>
                    </a:moveTo>
                    <a:lnTo>
                      <a:pt x="239" y="1076"/>
                    </a:lnTo>
                    <a:lnTo>
                      <a:pt x="60" y="3050"/>
                    </a:lnTo>
                    <a:lnTo>
                      <a:pt x="0" y="3887"/>
                    </a:lnTo>
                    <a:lnTo>
                      <a:pt x="1973" y="6100"/>
                    </a:lnTo>
                    <a:lnTo>
                      <a:pt x="3947" y="8313"/>
                    </a:lnTo>
                    <a:lnTo>
                      <a:pt x="5921" y="10526"/>
                    </a:lnTo>
                    <a:lnTo>
                      <a:pt x="6399" y="11064"/>
                    </a:lnTo>
                    <a:lnTo>
                      <a:pt x="7895" y="12799"/>
                    </a:lnTo>
                    <a:lnTo>
                      <a:pt x="10167" y="14713"/>
                    </a:lnTo>
                    <a:lnTo>
                      <a:pt x="12440" y="16626"/>
                    </a:lnTo>
                    <a:lnTo>
                      <a:pt x="14712" y="18540"/>
                    </a:lnTo>
                    <a:lnTo>
                      <a:pt x="16985" y="20454"/>
                    </a:lnTo>
                    <a:lnTo>
                      <a:pt x="17523" y="20933"/>
                    </a:lnTo>
                    <a:lnTo>
                      <a:pt x="19916" y="22667"/>
                    </a:lnTo>
                    <a:lnTo>
                      <a:pt x="22308" y="24401"/>
                    </a:lnTo>
                    <a:lnTo>
                      <a:pt x="24700" y="26136"/>
                    </a:lnTo>
                    <a:lnTo>
                      <a:pt x="27092" y="27870"/>
                    </a:lnTo>
                    <a:lnTo>
                      <a:pt x="29485" y="29605"/>
                    </a:lnTo>
                    <a:lnTo>
                      <a:pt x="30322" y="30203"/>
                    </a:lnTo>
                    <a:lnTo>
                      <a:pt x="32834" y="31817"/>
                    </a:lnTo>
                    <a:lnTo>
                      <a:pt x="35346" y="33432"/>
                    </a:lnTo>
                    <a:lnTo>
                      <a:pt x="37858" y="35047"/>
                    </a:lnTo>
                    <a:lnTo>
                      <a:pt x="40370" y="36662"/>
                    </a:lnTo>
                    <a:lnTo>
                      <a:pt x="42882" y="38277"/>
                    </a:lnTo>
                    <a:lnTo>
                      <a:pt x="45513" y="39951"/>
                    </a:lnTo>
                    <a:lnTo>
                      <a:pt x="48085" y="41446"/>
                    </a:lnTo>
                    <a:lnTo>
                      <a:pt x="50657" y="42942"/>
                    </a:lnTo>
                    <a:lnTo>
                      <a:pt x="53228" y="44437"/>
                    </a:lnTo>
                    <a:lnTo>
                      <a:pt x="55800" y="45932"/>
                    </a:lnTo>
                    <a:lnTo>
                      <a:pt x="58372" y="47427"/>
                    </a:lnTo>
                    <a:lnTo>
                      <a:pt x="60944" y="48922"/>
                    </a:lnTo>
                    <a:lnTo>
                      <a:pt x="61542" y="49281"/>
                    </a:lnTo>
                    <a:lnTo>
                      <a:pt x="64173" y="50657"/>
                    </a:lnTo>
                    <a:lnTo>
                      <a:pt x="66805" y="52032"/>
                    </a:lnTo>
                    <a:lnTo>
                      <a:pt x="69436" y="53408"/>
                    </a:lnTo>
                    <a:lnTo>
                      <a:pt x="72068" y="54783"/>
                    </a:lnTo>
                    <a:lnTo>
                      <a:pt x="74699" y="56159"/>
                    </a:lnTo>
                    <a:lnTo>
                      <a:pt x="76972" y="57295"/>
                    </a:lnTo>
                    <a:lnTo>
                      <a:pt x="79663" y="58491"/>
                    </a:lnTo>
                    <a:lnTo>
                      <a:pt x="82354" y="59688"/>
                    </a:lnTo>
                    <a:lnTo>
                      <a:pt x="85046" y="60884"/>
                    </a:lnTo>
                    <a:lnTo>
                      <a:pt x="87737" y="62080"/>
                    </a:lnTo>
                    <a:lnTo>
                      <a:pt x="90428" y="63276"/>
                    </a:lnTo>
                    <a:lnTo>
                      <a:pt x="93239" y="64233"/>
                    </a:lnTo>
                    <a:lnTo>
                      <a:pt x="96050" y="65190"/>
                    </a:lnTo>
                    <a:lnTo>
                      <a:pt x="98861" y="66147"/>
                    </a:lnTo>
                    <a:lnTo>
                      <a:pt x="101014" y="66864"/>
                    </a:lnTo>
                    <a:lnTo>
                      <a:pt x="103945" y="67283"/>
                    </a:lnTo>
                    <a:lnTo>
                      <a:pt x="106875" y="67702"/>
                    </a:lnTo>
                    <a:lnTo>
                      <a:pt x="107952" y="67881"/>
                    </a:lnTo>
                    <a:lnTo>
                      <a:pt x="108789" y="67463"/>
                    </a:lnTo>
                    <a:lnTo>
                      <a:pt x="110942" y="66386"/>
                    </a:lnTo>
                  </a:path>
                </a:pathLst>
              </a:custGeom>
              <a:noFill/>
              <a:ln w="6350" cap="rnd">
                <a:solidFill>
                  <a:schemeClr val="bg1">
                    <a:alpha val="80000"/>
                  </a:schemeClr>
                </a:solidFill>
                <a:prstDash val="solid"/>
                <a:round/>
              </a:ln>
            </p:spPr>
            <p:txBody>
              <a:bodyPr rtlCol="0" anchor="ctr"/>
              <a:lstStyle/>
              <a:p>
                <a:endParaRPr lang="en-GB"/>
              </a:p>
            </p:txBody>
          </p:sp>
          <p:sp>
            <p:nvSpPr>
              <p:cNvPr id="5676" name="Vrije vorm: vorm 5675">
                <a:extLst>
                  <a:ext uri="{FF2B5EF4-FFF2-40B4-BE49-F238E27FC236}">
                    <a16:creationId xmlns:a16="http://schemas.microsoft.com/office/drawing/2014/main" id="{AE8BA710-A60D-4607-9225-74B4D255F44F}"/>
                  </a:ext>
                </a:extLst>
              </p:cNvPr>
              <p:cNvSpPr/>
              <p:nvPr/>
            </p:nvSpPr>
            <p:spPr>
              <a:xfrm>
                <a:off x="6492093" y="1544741"/>
                <a:ext cx="11423" cy="19018"/>
              </a:xfrm>
              <a:custGeom>
                <a:avLst/>
                <a:gdLst>
                  <a:gd name="connsiteX0" fmla="*/ 7954 w 11423"/>
                  <a:gd name="connsiteY0" fmla="*/ 19019 h 19018"/>
                  <a:gd name="connsiteX1" fmla="*/ 6160 w 11423"/>
                  <a:gd name="connsiteY1" fmla="*/ 17643 h 19018"/>
                  <a:gd name="connsiteX2" fmla="*/ 4545 w 11423"/>
                  <a:gd name="connsiteY2" fmla="*/ 16387 h 19018"/>
                  <a:gd name="connsiteX3" fmla="*/ 4545 w 11423"/>
                  <a:gd name="connsiteY3" fmla="*/ 16387 h 19018"/>
                  <a:gd name="connsiteX4" fmla="*/ 4486 w 11423"/>
                  <a:gd name="connsiteY4" fmla="*/ 16327 h 19018"/>
                  <a:gd name="connsiteX5" fmla="*/ 2691 w 11423"/>
                  <a:gd name="connsiteY5" fmla="*/ 14892 h 19018"/>
                  <a:gd name="connsiteX6" fmla="*/ 1854 w 11423"/>
                  <a:gd name="connsiteY6" fmla="*/ 14234 h 19018"/>
                  <a:gd name="connsiteX7" fmla="*/ 1854 w 11423"/>
                  <a:gd name="connsiteY7" fmla="*/ 14234 h 19018"/>
                  <a:gd name="connsiteX8" fmla="*/ 1017 w 11423"/>
                  <a:gd name="connsiteY8" fmla="*/ 13576 h 19018"/>
                  <a:gd name="connsiteX9" fmla="*/ 658 w 11423"/>
                  <a:gd name="connsiteY9" fmla="*/ 13277 h 19018"/>
                  <a:gd name="connsiteX10" fmla="*/ 359 w 11423"/>
                  <a:gd name="connsiteY10" fmla="*/ 13038 h 19018"/>
                  <a:gd name="connsiteX11" fmla="*/ 479 w 11423"/>
                  <a:gd name="connsiteY11" fmla="*/ 12081 h 19018"/>
                  <a:gd name="connsiteX12" fmla="*/ 598 w 11423"/>
                  <a:gd name="connsiteY12" fmla="*/ 11184 h 19018"/>
                  <a:gd name="connsiteX13" fmla="*/ 658 w 11423"/>
                  <a:gd name="connsiteY13" fmla="*/ 10287 h 19018"/>
                  <a:gd name="connsiteX14" fmla="*/ 718 w 11423"/>
                  <a:gd name="connsiteY14" fmla="*/ 9450 h 19018"/>
                  <a:gd name="connsiteX15" fmla="*/ 718 w 11423"/>
                  <a:gd name="connsiteY15" fmla="*/ 8612 h 19018"/>
                  <a:gd name="connsiteX16" fmla="*/ 718 w 11423"/>
                  <a:gd name="connsiteY16" fmla="*/ 8433 h 19018"/>
                  <a:gd name="connsiteX17" fmla="*/ 718 w 11423"/>
                  <a:gd name="connsiteY17" fmla="*/ 8194 h 19018"/>
                  <a:gd name="connsiteX18" fmla="*/ 718 w 11423"/>
                  <a:gd name="connsiteY18" fmla="*/ 7835 h 19018"/>
                  <a:gd name="connsiteX19" fmla="*/ 718 w 11423"/>
                  <a:gd name="connsiteY19" fmla="*/ 7775 h 19018"/>
                  <a:gd name="connsiteX20" fmla="*/ 658 w 11423"/>
                  <a:gd name="connsiteY20" fmla="*/ 7057 h 19018"/>
                  <a:gd name="connsiteX21" fmla="*/ 598 w 11423"/>
                  <a:gd name="connsiteY21" fmla="*/ 6340 h 19018"/>
                  <a:gd name="connsiteX22" fmla="*/ 479 w 11423"/>
                  <a:gd name="connsiteY22" fmla="*/ 5622 h 19018"/>
                  <a:gd name="connsiteX23" fmla="*/ 359 w 11423"/>
                  <a:gd name="connsiteY23" fmla="*/ 4964 h 19018"/>
                  <a:gd name="connsiteX24" fmla="*/ 180 w 11423"/>
                  <a:gd name="connsiteY24" fmla="*/ 4306 h 19018"/>
                  <a:gd name="connsiteX25" fmla="*/ 120 w 11423"/>
                  <a:gd name="connsiteY25" fmla="*/ 4067 h 19018"/>
                  <a:gd name="connsiteX26" fmla="*/ 0 w 11423"/>
                  <a:gd name="connsiteY26" fmla="*/ 3648 h 19018"/>
                  <a:gd name="connsiteX27" fmla="*/ 1017 w 11423"/>
                  <a:gd name="connsiteY27" fmla="*/ 2392 h 19018"/>
                  <a:gd name="connsiteX28" fmla="*/ 2333 w 11423"/>
                  <a:gd name="connsiteY28" fmla="*/ 718 h 19018"/>
                  <a:gd name="connsiteX29" fmla="*/ 2871 w 11423"/>
                  <a:gd name="connsiteY29" fmla="*/ 0 h 19018"/>
                  <a:gd name="connsiteX30" fmla="*/ 4306 w 11423"/>
                  <a:gd name="connsiteY30" fmla="*/ 1136 h 19018"/>
                  <a:gd name="connsiteX31" fmla="*/ 5203 w 11423"/>
                  <a:gd name="connsiteY31" fmla="*/ 1854 h 19018"/>
                  <a:gd name="connsiteX32" fmla="*/ 6100 w 11423"/>
                  <a:gd name="connsiteY32" fmla="*/ 2572 h 19018"/>
                  <a:gd name="connsiteX33" fmla="*/ 6459 w 11423"/>
                  <a:gd name="connsiteY33" fmla="*/ 2871 h 19018"/>
                  <a:gd name="connsiteX34" fmla="*/ 7117 w 11423"/>
                  <a:gd name="connsiteY34" fmla="*/ 3409 h 19018"/>
                  <a:gd name="connsiteX35" fmla="*/ 7476 w 11423"/>
                  <a:gd name="connsiteY35" fmla="*/ 3708 h 19018"/>
                  <a:gd name="connsiteX36" fmla="*/ 7775 w 11423"/>
                  <a:gd name="connsiteY36" fmla="*/ 3947 h 19018"/>
                  <a:gd name="connsiteX37" fmla="*/ 9629 w 11423"/>
                  <a:gd name="connsiteY37" fmla="*/ 5442 h 19018"/>
                  <a:gd name="connsiteX38" fmla="*/ 10406 w 11423"/>
                  <a:gd name="connsiteY38" fmla="*/ 6100 h 19018"/>
                  <a:gd name="connsiteX39" fmla="*/ 10706 w 11423"/>
                  <a:gd name="connsiteY39" fmla="*/ 6698 h 19018"/>
                  <a:gd name="connsiteX40" fmla="*/ 10765 w 11423"/>
                  <a:gd name="connsiteY40" fmla="*/ 6878 h 19018"/>
                  <a:gd name="connsiteX41" fmla="*/ 10945 w 11423"/>
                  <a:gd name="connsiteY41" fmla="*/ 7356 h 19018"/>
                  <a:gd name="connsiteX42" fmla="*/ 11124 w 11423"/>
                  <a:gd name="connsiteY42" fmla="*/ 8074 h 19018"/>
                  <a:gd name="connsiteX43" fmla="*/ 11244 w 11423"/>
                  <a:gd name="connsiteY43" fmla="*/ 8851 h 19018"/>
                  <a:gd name="connsiteX44" fmla="*/ 11364 w 11423"/>
                  <a:gd name="connsiteY44" fmla="*/ 9629 h 19018"/>
                  <a:gd name="connsiteX45" fmla="*/ 11423 w 11423"/>
                  <a:gd name="connsiteY45" fmla="*/ 10466 h 19018"/>
                  <a:gd name="connsiteX46" fmla="*/ 11423 w 11423"/>
                  <a:gd name="connsiteY46" fmla="*/ 11363 h 19018"/>
                  <a:gd name="connsiteX47" fmla="*/ 11423 w 11423"/>
                  <a:gd name="connsiteY47" fmla="*/ 12201 h 19018"/>
                  <a:gd name="connsiteX48" fmla="*/ 11423 w 11423"/>
                  <a:gd name="connsiteY48" fmla="*/ 12260 h 19018"/>
                  <a:gd name="connsiteX49" fmla="*/ 11364 w 11423"/>
                  <a:gd name="connsiteY49" fmla="*/ 13217 h 19018"/>
                  <a:gd name="connsiteX50" fmla="*/ 11244 w 11423"/>
                  <a:gd name="connsiteY50" fmla="*/ 14234 h 19018"/>
                  <a:gd name="connsiteX51" fmla="*/ 11065 w 11423"/>
                  <a:gd name="connsiteY51" fmla="*/ 15251 h 19018"/>
                  <a:gd name="connsiteX52" fmla="*/ 10825 w 11423"/>
                  <a:gd name="connsiteY52" fmla="*/ 16327 h 1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423" h="19018">
                    <a:moveTo>
                      <a:pt x="7954" y="19019"/>
                    </a:moveTo>
                    <a:lnTo>
                      <a:pt x="6160" y="17643"/>
                    </a:lnTo>
                    <a:lnTo>
                      <a:pt x="4545" y="16387"/>
                    </a:lnTo>
                    <a:lnTo>
                      <a:pt x="4545" y="16387"/>
                    </a:lnTo>
                    <a:lnTo>
                      <a:pt x="4486" y="16327"/>
                    </a:lnTo>
                    <a:lnTo>
                      <a:pt x="2691" y="14892"/>
                    </a:lnTo>
                    <a:lnTo>
                      <a:pt x="1854" y="14234"/>
                    </a:lnTo>
                    <a:lnTo>
                      <a:pt x="1854" y="14234"/>
                    </a:lnTo>
                    <a:lnTo>
                      <a:pt x="1017" y="13576"/>
                    </a:lnTo>
                    <a:lnTo>
                      <a:pt x="658" y="13277"/>
                    </a:lnTo>
                    <a:lnTo>
                      <a:pt x="359" y="13038"/>
                    </a:lnTo>
                    <a:lnTo>
                      <a:pt x="479" y="12081"/>
                    </a:lnTo>
                    <a:lnTo>
                      <a:pt x="598" y="11184"/>
                    </a:lnTo>
                    <a:lnTo>
                      <a:pt x="658" y="10287"/>
                    </a:lnTo>
                    <a:lnTo>
                      <a:pt x="718" y="9450"/>
                    </a:lnTo>
                    <a:lnTo>
                      <a:pt x="718" y="8612"/>
                    </a:lnTo>
                    <a:lnTo>
                      <a:pt x="718" y="8433"/>
                    </a:lnTo>
                    <a:lnTo>
                      <a:pt x="718" y="8194"/>
                    </a:lnTo>
                    <a:lnTo>
                      <a:pt x="718" y="7835"/>
                    </a:lnTo>
                    <a:lnTo>
                      <a:pt x="718" y="7775"/>
                    </a:lnTo>
                    <a:lnTo>
                      <a:pt x="658" y="7057"/>
                    </a:lnTo>
                    <a:lnTo>
                      <a:pt x="598" y="6340"/>
                    </a:lnTo>
                    <a:lnTo>
                      <a:pt x="479" y="5622"/>
                    </a:lnTo>
                    <a:lnTo>
                      <a:pt x="359" y="4964"/>
                    </a:lnTo>
                    <a:lnTo>
                      <a:pt x="180" y="4306"/>
                    </a:lnTo>
                    <a:lnTo>
                      <a:pt x="120" y="4067"/>
                    </a:lnTo>
                    <a:lnTo>
                      <a:pt x="0" y="3648"/>
                    </a:lnTo>
                    <a:lnTo>
                      <a:pt x="1017" y="2392"/>
                    </a:lnTo>
                    <a:lnTo>
                      <a:pt x="2333" y="718"/>
                    </a:lnTo>
                    <a:lnTo>
                      <a:pt x="2871" y="0"/>
                    </a:lnTo>
                    <a:lnTo>
                      <a:pt x="4306" y="1136"/>
                    </a:lnTo>
                    <a:lnTo>
                      <a:pt x="5203" y="1854"/>
                    </a:lnTo>
                    <a:lnTo>
                      <a:pt x="6100" y="2572"/>
                    </a:lnTo>
                    <a:lnTo>
                      <a:pt x="6459" y="2871"/>
                    </a:lnTo>
                    <a:lnTo>
                      <a:pt x="7117" y="3409"/>
                    </a:lnTo>
                    <a:lnTo>
                      <a:pt x="7476" y="3708"/>
                    </a:lnTo>
                    <a:lnTo>
                      <a:pt x="7775" y="3947"/>
                    </a:lnTo>
                    <a:lnTo>
                      <a:pt x="9629" y="5442"/>
                    </a:lnTo>
                    <a:lnTo>
                      <a:pt x="10406" y="6100"/>
                    </a:lnTo>
                    <a:lnTo>
                      <a:pt x="10706" y="6698"/>
                    </a:lnTo>
                    <a:lnTo>
                      <a:pt x="10765" y="6878"/>
                    </a:lnTo>
                    <a:lnTo>
                      <a:pt x="10945" y="7356"/>
                    </a:lnTo>
                    <a:lnTo>
                      <a:pt x="11124" y="8074"/>
                    </a:lnTo>
                    <a:lnTo>
                      <a:pt x="11244" y="8851"/>
                    </a:lnTo>
                    <a:lnTo>
                      <a:pt x="11364" y="9629"/>
                    </a:lnTo>
                    <a:lnTo>
                      <a:pt x="11423" y="10466"/>
                    </a:lnTo>
                    <a:lnTo>
                      <a:pt x="11423" y="11363"/>
                    </a:lnTo>
                    <a:lnTo>
                      <a:pt x="11423" y="12201"/>
                    </a:lnTo>
                    <a:lnTo>
                      <a:pt x="11423" y="12260"/>
                    </a:lnTo>
                    <a:lnTo>
                      <a:pt x="11364" y="13217"/>
                    </a:lnTo>
                    <a:lnTo>
                      <a:pt x="11244" y="14234"/>
                    </a:lnTo>
                    <a:lnTo>
                      <a:pt x="11065" y="15251"/>
                    </a:lnTo>
                    <a:lnTo>
                      <a:pt x="10825" y="16327"/>
                    </a:lnTo>
                  </a:path>
                </a:pathLst>
              </a:custGeom>
              <a:noFill/>
              <a:ln w="6350" cap="rnd">
                <a:solidFill>
                  <a:schemeClr val="bg1">
                    <a:alpha val="80000"/>
                  </a:schemeClr>
                </a:solidFill>
                <a:prstDash val="solid"/>
                <a:round/>
              </a:ln>
            </p:spPr>
            <p:txBody>
              <a:bodyPr rtlCol="0" anchor="ctr"/>
              <a:lstStyle/>
              <a:p>
                <a:endParaRPr lang="en-GB"/>
              </a:p>
            </p:txBody>
          </p:sp>
          <p:sp>
            <p:nvSpPr>
              <p:cNvPr id="5677" name="Vrije vorm: vorm 5676">
                <a:extLst>
                  <a:ext uri="{FF2B5EF4-FFF2-40B4-BE49-F238E27FC236}">
                    <a16:creationId xmlns:a16="http://schemas.microsoft.com/office/drawing/2014/main" id="{9BFECF74-E97D-462A-9AD1-BABED86766DF}"/>
                  </a:ext>
                </a:extLst>
              </p:cNvPr>
              <p:cNvSpPr/>
              <p:nvPr/>
            </p:nvSpPr>
            <p:spPr>
              <a:xfrm>
                <a:off x="6494964" y="1544741"/>
                <a:ext cx="1016" cy="10227"/>
              </a:xfrm>
              <a:custGeom>
                <a:avLst/>
                <a:gdLst>
                  <a:gd name="connsiteX0" fmla="*/ 418 w 1016"/>
                  <a:gd name="connsiteY0" fmla="*/ 10227 h 10227"/>
                  <a:gd name="connsiteX1" fmla="*/ 478 w 1016"/>
                  <a:gd name="connsiteY1" fmla="*/ 9868 h 10227"/>
                  <a:gd name="connsiteX2" fmla="*/ 478 w 1016"/>
                  <a:gd name="connsiteY2" fmla="*/ 9868 h 10227"/>
                  <a:gd name="connsiteX3" fmla="*/ 598 w 1016"/>
                  <a:gd name="connsiteY3" fmla="*/ 9150 h 10227"/>
                  <a:gd name="connsiteX4" fmla="*/ 777 w 1016"/>
                  <a:gd name="connsiteY4" fmla="*/ 8134 h 10227"/>
                  <a:gd name="connsiteX5" fmla="*/ 897 w 1016"/>
                  <a:gd name="connsiteY5" fmla="*/ 7117 h 10227"/>
                  <a:gd name="connsiteX6" fmla="*/ 957 w 1016"/>
                  <a:gd name="connsiteY6" fmla="*/ 6160 h 10227"/>
                  <a:gd name="connsiteX7" fmla="*/ 1017 w 1016"/>
                  <a:gd name="connsiteY7" fmla="*/ 5263 h 10227"/>
                  <a:gd name="connsiteX8" fmla="*/ 1017 w 1016"/>
                  <a:gd name="connsiteY8" fmla="*/ 4366 h 10227"/>
                  <a:gd name="connsiteX9" fmla="*/ 957 w 1016"/>
                  <a:gd name="connsiteY9" fmla="*/ 3529 h 10227"/>
                  <a:gd name="connsiteX10" fmla="*/ 837 w 1016"/>
                  <a:gd name="connsiteY10" fmla="*/ 2751 h 10227"/>
                  <a:gd name="connsiteX11" fmla="*/ 718 w 1016"/>
                  <a:gd name="connsiteY11" fmla="*/ 1974 h 10227"/>
                  <a:gd name="connsiteX12" fmla="*/ 538 w 1016"/>
                  <a:gd name="connsiteY12" fmla="*/ 1256 h 10227"/>
                  <a:gd name="connsiteX13" fmla="*/ 418 w 1016"/>
                  <a:gd name="connsiteY13" fmla="*/ 897 h 10227"/>
                  <a:gd name="connsiteX14" fmla="*/ 299 w 1016"/>
                  <a:gd name="connsiteY14" fmla="*/ 598 h 10227"/>
                  <a:gd name="connsiteX15" fmla="*/ 0 w 1016"/>
                  <a:gd name="connsiteY15" fmla="*/ 0 h 1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6" h="10227">
                    <a:moveTo>
                      <a:pt x="418" y="10227"/>
                    </a:moveTo>
                    <a:lnTo>
                      <a:pt x="478" y="9868"/>
                    </a:lnTo>
                    <a:lnTo>
                      <a:pt x="478" y="9868"/>
                    </a:lnTo>
                    <a:lnTo>
                      <a:pt x="598" y="9150"/>
                    </a:lnTo>
                    <a:lnTo>
                      <a:pt x="777" y="8134"/>
                    </a:lnTo>
                    <a:lnTo>
                      <a:pt x="897" y="7117"/>
                    </a:lnTo>
                    <a:lnTo>
                      <a:pt x="957" y="6160"/>
                    </a:lnTo>
                    <a:lnTo>
                      <a:pt x="1017" y="5263"/>
                    </a:lnTo>
                    <a:lnTo>
                      <a:pt x="1017" y="4366"/>
                    </a:lnTo>
                    <a:lnTo>
                      <a:pt x="957" y="3529"/>
                    </a:lnTo>
                    <a:lnTo>
                      <a:pt x="837" y="2751"/>
                    </a:lnTo>
                    <a:lnTo>
                      <a:pt x="718" y="1974"/>
                    </a:lnTo>
                    <a:lnTo>
                      <a:pt x="538" y="1256"/>
                    </a:lnTo>
                    <a:lnTo>
                      <a:pt x="418" y="897"/>
                    </a:lnTo>
                    <a:lnTo>
                      <a:pt x="299" y="59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678" name="Vrije vorm: vorm 5677">
                <a:extLst>
                  <a:ext uri="{FF2B5EF4-FFF2-40B4-BE49-F238E27FC236}">
                    <a16:creationId xmlns:a16="http://schemas.microsoft.com/office/drawing/2014/main" id="{D10F729C-1E2E-4F21-8C79-676E6D5D94E4}"/>
                  </a:ext>
                </a:extLst>
              </p:cNvPr>
              <p:cNvSpPr/>
              <p:nvPr/>
            </p:nvSpPr>
            <p:spPr>
              <a:xfrm>
                <a:off x="6492392" y="1554908"/>
                <a:ext cx="10585" cy="8851"/>
              </a:xfrm>
              <a:custGeom>
                <a:avLst/>
                <a:gdLst>
                  <a:gd name="connsiteX0" fmla="*/ 7656 w 10585"/>
                  <a:gd name="connsiteY0" fmla="*/ 8852 h 8851"/>
                  <a:gd name="connsiteX1" fmla="*/ 9988 w 10585"/>
                  <a:gd name="connsiteY1" fmla="*/ 6579 h 8851"/>
                  <a:gd name="connsiteX2" fmla="*/ 10586 w 10585"/>
                  <a:gd name="connsiteY2" fmla="*/ 5981 h 8851"/>
                  <a:gd name="connsiteX3" fmla="*/ 8253 w 10585"/>
                  <a:gd name="connsiteY3" fmla="*/ 4127 h 8851"/>
                  <a:gd name="connsiteX4" fmla="*/ 8014 w 10585"/>
                  <a:gd name="connsiteY4" fmla="*/ 3947 h 8851"/>
                  <a:gd name="connsiteX5" fmla="*/ 5682 w 10585"/>
                  <a:gd name="connsiteY5" fmla="*/ 2093 h 8851"/>
                  <a:gd name="connsiteX6" fmla="*/ 5383 w 10585"/>
                  <a:gd name="connsiteY6" fmla="*/ 1854 h 8851"/>
                  <a:gd name="connsiteX7" fmla="*/ 3888 w 10585"/>
                  <a:gd name="connsiteY7" fmla="*/ 718 h 8851"/>
                  <a:gd name="connsiteX8" fmla="*/ 3349 w 10585"/>
                  <a:gd name="connsiteY8" fmla="*/ 299 h 8851"/>
                  <a:gd name="connsiteX9" fmla="*/ 2931 w 10585"/>
                  <a:gd name="connsiteY9" fmla="*/ 0 h 8851"/>
                  <a:gd name="connsiteX10" fmla="*/ 2632 w 10585"/>
                  <a:gd name="connsiteY10" fmla="*/ 299 h 8851"/>
                  <a:gd name="connsiteX11" fmla="*/ 2153 w 10585"/>
                  <a:gd name="connsiteY11" fmla="*/ 718 h 8851"/>
                  <a:gd name="connsiteX12" fmla="*/ 2153 w 10585"/>
                  <a:gd name="connsiteY12" fmla="*/ 718 h 8851"/>
                  <a:gd name="connsiteX13" fmla="*/ 2153 w 10585"/>
                  <a:gd name="connsiteY13" fmla="*/ 718 h 8851"/>
                  <a:gd name="connsiteX14" fmla="*/ 2093 w 10585"/>
                  <a:gd name="connsiteY14" fmla="*/ 778 h 8851"/>
                  <a:gd name="connsiteX15" fmla="*/ 658 w 10585"/>
                  <a:gd name="connsiteY15" fmla="*/ 2213 h 8851"/>
                  <a:gd name="connsiteX16" fmla="*/ 0 w 10585"/>
                  <a:gd name="connsiteY16" fmla="*/ 2871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85" h="8851">
                    <a:moveTo>
                      <a:pt x="7656" y="8852"/>
                    </a:moveTo>
                    <a:lnTo>
                      <a:pt x="9988" y="6579"/>
                    </a:lnTo>
                    <a:lnTo>
                      <a:pt x="10586" y="5981"/>
                    </a:lnTo>
                    <a:lnTo>
                      <a:pt x="8253" y="4127"/>
                    </a:lnTo>
                    <a:lnTo>
                      <a:pt x="8014" y="3947"/>
                    </a:lnTo>
                    <a:lnTo>
                      <a:pt x="5682" y="2093"/>
                    </a:lnTo>
                    <a:lnTo>
                      <a:pt x="5383" y="1854"/>
                    </a:lnTo>
                    <a:lnTo>
                      <a:pt x="3888" y="718"/>
                    </a:lnTo>
                    <a:lnTo>
                      <a:pt x="3349" y="299"/>
                    </a:lnTo>
                    <a:lnTo>
                      <a:pt x="2931" y="0"/>
                    </a:lnTo>
                    <a:lnTo>
                      <a:pt x="2632" y="299"/>
                    </a:lnTo>
                    <a:lnTo>
                      <a:pt x="2153" y="718"/>
                    </a:lnTo>
                    <a:lnTo>
                      <a:pt x="2153" y="718"/>
                    </a:lnTo>
                    <a:lnTo>
                      <a:pt x="2153" y="718"/>
                    </a:lnTo>
                    <a:lnTo>
                      <a:pt x="2093" y="778"/>
                    </a:lnTo>
                    <a:lnTo>
                      <a:pt x="658" y="2213"/>
                    </a:lnTo>
                    <a:lnTo>
                      <a:pt x="0" y="2871"/>
                    </a:lnTo>
                  </a:path>
                </a:pathLst>
              </a:custGeom>
              <a:noFill/>
              <a:ln w="6350" cap="rnd">
                <a:solidFill>
                  <a:schemeClr val="bg1">
                    <a:alpha val="80000"/>
                  </a:schemeClr>
                </a:solidFill>
                <a:prstDash val="solid"/>
                <a:round/>
              </a:ln>
            </p:spPr>
            <p:txBody>
              <a:bodyPr rtlCol="0" anchor="ctr"/>
              <a:lstStyle/>
              <a:p>
                <a:endParaRPr lang="en-GB"/>
              </a:p>
            </p:txBody>
          </p:sp>
          <p:sp>
            <p:nvSpPr>
              <p:cNvPr id="5679" name="Vrije vorm: vorm 5678">
                <a:extLst>
                  <a:ext uri="{FF2B5EF4-FFF2-40B4-BE49-F238E27FC236}">
                    <a16:creationId xmlns:a16="http://schemas.microsoft.com/office/drawing/2014/main" id="{7FCBD54A-384C-448D-876A-DC2B3271F7D0}"/>
                  </a:ext>
                </a:extLst>
              </p:cNvPr>
              <p:cNvSpPr/>
              <p:nvPr/>
            </p:nvSpPr>
            <p:spPr>
              <a:xfrm>
                <a:off x="6515059" y="1530567"/>
                <a:ext cx="32116" cy="18480"/>
              </a:xfrm>
              <a:custGeom>
                <a:avLst/>
                <a:gdLst>
                  <a:gd name="connsiteX0" fmla="*/ 0 w 32116"/>
                  <a:gd name="connsiteY0" fmla="*/ 0 h 18480"/>
                  <a:gd name="connsiteX1" fmla="*/ 2990 w 32116"/>
                  <a:gd name="connsiteY1" fmla="*/ 478 h 18480"/>
                  <a:gd name="connsiteX2" fmla="*/ 5981 w 32116"/>
                  <a:gd name="connsiteY2" fmla="*/ 957 h 18480"/>
                  <a:gd name="connsiteX3" fmla="*/ 8971 w 32116"/>
                  <a:gd name="connsiteY3" fmla="*/ 1435 h 18480"/>
                  <a:gd name="connsiteX4" fmla="*/ 11961 w 32116"/>
                  <a:gd name="connsiteY4" fmla="*/ 1914 h 18480"/>
                  <a:gd name="connsiteX5" fmla="*/ 12500 w 32116"/>
                  <a:gd name="connsiteY5" fmla="*/ 1974 h 18480"/>
                  <a:gd name="connsiteX6" fmla="*/ 14772 w 32116"/>
                  <a:gd name="connsiteY6" fmla="*/ 3887 h 18480"/>
                  <a:gd name="connsiteX7" fmla="*/ 17045 w 32116"/>
                  <a:gd name="connsiteY7" fmla="*/ 5801 h 18480"/>
                  <a:gd name="connsiteX8" fmla="*/ 19318 w 32116"/>
                  <a:gd name="connsiteY8" fmla="*/ 7715 h 18480"/>
                  <a:gd name="connsiteX9" fmla="*/ 21590 w 32116"/>
                  <a:gd name="connsiteY9" fmla="*/ 9629 h 18480"/>
                  <a:gd name="connsiteX10" fmla="*/ 23863 w 32116"/>
                  <a:gd name="connsiteY10" fmla="*/ 11543 h 18480"/>
                  <a:gd name="connsiteX11" fmla="*/ 26136 w 32116"/>
                  <a:gd name="connsiteY11" fmla="*/ 13457 h 18480"/>
                  <a:gd name="connsiteX12" fmla="*/ 28408 w 32116"/>
                  <a:gd name="connsiteY12" fmla="*/ 15370 h 18480"/>
                  <a:gd name="connsiteX13" fmla="*/ 30681 w 32116"/>
                  <a:gd name="connsiteY13" fmla="*/ 17284 h 18480"/>
                  <a:gd name="connsiteX14" fmla="*/ 32116 w 32116"/>
                  <a:gd name="connsiteY14" fmla="*/ 18480 h 1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116" h="18480">
                    <a:moveTo>
                      <a:pt x="0" y="0"/>
                    </a:moveTo>
                    <a:lnTo>
                      <a:pt x="2990" y="478"/>
                    </a:lnTo>
                    <a:lnTo>
                      <a:pt x="5981" y="957"/>
                    </a:lnTo>
                    <a:lnTo>
                      <a:pt x="8971" y="1435"/>
                    </a:lnTo>
                    <a:lnTo>
                      <a:pt x="11961" y="1914"/>
                    </a:lnTo>
                    <a:lnTo>
                      <a:pt x="12500" y="1974"/>
                    </a:lnTo>
                    <a:lnTo>
                      <a:pt x="14772" y="3887"/>
                    </a:lnTo>
                    <a:lnTo>
                      <a:pt x="17045" y="5801"/>
                    </a:lnTo>
                    <a:lnTo>
                      <a:pt x="19318" y="7715"/>
                    </a:lnTo>
                    <a:lnTo>
                      <a:pt x="21590" y="9629"/>
                    </a:lnTo>
                    <a:lnTo>
                      <a:pt x="23863" y="11543"/>
                    </a:lnTo>
                    <a:lnTo>
                      <a:pt x="26136" y="13457"/>
                    </a:lnTo>
                    <a:lnTo>
                      <a:pt x="28408" y="15370"/>
                    </a:lnTo>
                    <a:lnTo>
                      <a:pt x="30681" y="17284"/>
                    </a:lnTo>
                    <a:lnTo>
                      <a:pt x="32116" y="18480"/>
                    </a:lnTo>
                  </a:path>
                </a:pathLst>
              </a:custGeom>
              <a:noFill/>
              <a:ln w="6350" cap="rnd">
                <a:solidFill>
                  <a:schemeClr val="bg1">
                    <a:alpha val="80000"/>
                  </a:schemeClr>
                </a:solidFill>
                <a:prstDash val="solid"/>
                <a:round/>
              </a:ln>
            </p:spPr>
            <p:txBody>
              <a:bodyPr rtlCol="0" anchor="ctr"/>
              <a:lstStyle/>
              <a:p>
                <a:endParaRPr lang="en-GB"/>
              </a:p>
            </p:txBody>
          </p:sp>
          <p:sp>
            <p:nvSpPr>
              <p:cNvPr id="5680" name="Vrije vorm: vorm 5679">
                <a:extLst>
                  <a:ext uri="{FF2B5EF4-FFF2-40B4-BE49-F238E27FC236}">
                    <a16:creationId xmlns:a16="http://schemas.microsoft.com/office/drawing/2014/main" id="{405F3A17-C063-4CE9-9873-FA0DD333C547}"/>
                  </a:ext>
                </a:extLst>
              </p:cNvPr>
              <p:cNvSpPr/>
              <p:nvPr/>
            </p:nvSpPr>
            <p:spPr>
              <a:xfrm>
                <a:off x="6486292" y="1544502"/>
                <a:ext cx="8253" cy="5920"/>
              </a:xfrm>
              <a:custGeom>
                <a:avLst/>
                <a:gdLst>
                  <a:gd name="connsiteX0" fmla="*/ 0 w 8253"/>
                  <a:gd name="connsiteY0" fmla="*/ 5921 h 5920"/>
                  <a:gd name="connsiteX1" fmla="*/ 1674 w 8253"/>
                  <a:gd name="connsiteY1" fmla="*/ 3110 h 5920"/>
                  <a:gd name="connsiteX2" fmla="*/ 3349 w 8253"/>
                  <a:gd name="connsiteY2" fmla="*/ 299 h 5920"/>
                  <a:gd name="connsiteX3" fmla="*/ 3528 w 8253"/>
                  <a:gd name="connsiteY3" fmla="*/ 0 h 5920"/>
                  <a:gd name="connsiteX4" fmla="*/ 6459 w 8253"/>
                  <a:gd name="connsiteY4" fmla="*/ 598 h 5920"/>
                  <a:gd name="connsiteX5" fmla="*/ 8253 w 8253"/>
                  <a:gd name="connsiteY5" fmla="*/ 957 h 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 h="5920">
                    <a:moveTo>
                      <a:pt x="0" y="5921"/>
                    </a:moveTo>
                    <a:lnTo>
                      <a:pt x="1674" y="3110"/>
                    </a:lnTo>
                    <a:lnTo>
                      <a:pt x="3349" y="299"/>
                    </a:lnTo>
                    <a:lnTo>
                      <a:pt x="3528" y="0"/>
                    </a:lnTo>
                    <a:lnTo>
                      <a:pt x="6459" y="598"/>
                    </a:lnTo>
                    <a:lnTo>
                      <a:pt x="8253" y="957"/>
                    </a:lnTo>
                  </a:path>
                </a:pathLst>
              </a:custGeom>
              <a:noFill/>
              <a:ln w="6350" cap="rnd">
                <a:solidFill>
                  <a:schemeClr val="bg1">
                    <a:alpha val="80000"/>
                  </a:schemeClr>
                </a:solidFill>
                <a:prstDash val="solid"/>
                <a:round/>
              </a:ln>
            </p:spPr>
            <p:txBody>
              <a:bodyPr rtlCol="0" anchor="ctr"/>
              <a:lstStyle/>
              <a:p>
                <a:endParaRPr lang="en-GB"/>
              </a:p>
            </p:txBody>
          </p:sp>
          <p:sp>
            <p:nvSpPr>
              <p:cNvPr id="5681" name="Vrije vorm: vorm 5680">
                <a:extLst>
                  <a:ext uri="{FF2B5EF4-FFF2-40B4-BE49-F238E27FC236}">
                    <a16:creationId xmlns:a16="http://schemas.microsoft.com/office/drawing/2014/main" id="{F50437C8-0C0F-4515-B06D-9688D885C1B0}"/>
                  </a:ext>
                </a:extLst>
              </p:cNvPr>
              <p:cNvSpPr/>
              <p:nvPr/>
            </p:nvSpPr>
            <p:spPr>
              <a:xfrm>
                <a:off x="6499270" y="1546655"/>
                <a:ext cx="3349" cy="1973"/>
              </a:xfrm>
              <a:custGeom>
                <a:avLst/>
                <a:gdLst>
                  <a:gd name="connsiteX0" fmla="*/ 3349 w 3349"/>
                  <a:gd name="connsiteY0" fmla="*/ 1974 h 1973"/>
                  <a:gd name="connsiteX1" fmla="*/ 2093 w 3349"/>
                  <a:gd name="connsiteY1" fmla="*/ 957 h 1973"/>
                  <a:gd name="connsiteX2" fmla="*/ 897 w 3349"/>
                  <a:gd name="connsiteY2" fmla="*/ 0 h 1973"/>
                  <a:gd name="connsiteX3" fmla="*/ 299 w 3349"/>
                  <a:gd name="connsiteY3" fmla="*/ 1017 h 1973"/>
                  <a:gd name="connsiteX4" fmla="*/ 0 w 3349"/>
                  <a:gd name="connsiteY4" fmla="*/ 1495 h 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9" h="1973">
                    <a:moveTo>
                      <a:pt x="3349" y="1974"/>
                    </a:moveTo>
                    <a:lnTo>
                      <a:pt x="2093" y="957"/>
                    </a:lnTo>
                    <a:lnTo>
                      <a:pt x="897" y="0"/>
                    </a:lnTo>
                    <a:lnTo>
                      <a:pt x="299" y="1017"/>
                    </a:lnTo>
                    <a:lnTo>
                      <a:pt x="0" y="1495"/>
                    </a:lnTo>
                  </a:path>
                </a:pathLst>
              </a:custGeom>
              <a:noFill/>
              <a:ln w="6350" cap="rnd">
                <a:solidFill>
                  <a:schemeClr val="bg1">
                    <a:alpha val="80000"/>
                  </a:schemeClr>
                </a:solidFill>
                <a:prstDash val="solid"/>
                <a:round/>
              </a:ln>
            </p:spPr>
            <p:txBody>
              <a:bodyPr rtlCol="0" anchor="ctr"/>
              <a:lstStyle/>
              <a:p>
                <a:endParaRPr lang="en-GB"/>
              </a:p>
            </p:txBody>
          </p:sp>
          <p:sp>
            <p:nvSpPr>
              <p:cNvPr id="5682" name="Vrije vorm: vorm 5681">
                <a:extLst>
                  <a:ext uri="{FF2B5EF4-FFF2-40B4-BE49-F238E27FC236}">
                    <a16:creationId xmlns:a16="http://schemas.microsoft.com/office/drawing/2014/main" id="{70F70318-6EEB-4197-BD6B-2435BD16EC27}"/>
                  </a:ext>
                </a:extLst>
              </p:cNvPr>
              <p:cNvSpPr/>
              <p:nvPr/>
            </p:nvSpPr>
            <p:spPr>
              <a:xfrm>
                <a:off x="6491076" y="1559633"/>
                <a:ext cx="3887" cy="16985"/>
              </a:xfrm>
              <a:custGeom>
                <a:avLst/>
                <a:gdLst>
                  <a:gd name="connsiteX0" fmla="*/ 3708 w 3887"/>
                  <a:gd name="connsiteY0" fmla="*/ 0 h 16985"/>
                  <a:gd name="connsiteX1" fmla="*/ 3768 w 3887"/>
                  <a:gd name="connsiteY1" fmla="*/ 598 h 16985"/>
                  <a:gd name="connsiteX2" fmla="*/ 3768 w 3887"/>
                  <a:gd name="connsiteY2" fmla="*/ 837 h 16985"/>
                  <a:gd name="connsiteX3" fmla="*/ 3888 w 3887"/>
                  <a:gd name="connsiteY3" fmla="*/ 2332 h 16985"/>
                  <a:gd name="connsiteX4" fmla="*/ 3768 w 3887"/>
                  <a:gd name="connsiteY4" fmla="*/ 2871 h 16985"/>
                  <a:gd name="connsiteX5" fmla="*/ 3409 w 3887"/>
                  <a:gd name="connsiteY5" fmla="*/ 5024 h 16985"/>
                  <a:gd name="connsiteX6" fmla="*/ 2871 w 3887"/>
                  <a:gd name="connsiteY6" fmla="*/ 8194 h 16985"/>
                  <a:gd name="connsiteX7" fmla="*/ 2632 w 3887"/>
                  <a:gd name="connsiteY7" fmla="*/ 9450 h 16985"/>
                  <a:gd name="connsiteX8" fmla="*/ 1555 w 3887"/>
                  <a:gd name="connsiteY8" fmla="*/ 12500 h 16985"/>
                  <a:gd name="connsiteX9" fmla="*/ 1017 w 3887"/>
                  <a:gd name="connsiteY9" fmla="*/ 14115 h 16985"/>
                  <a:gd name="connsiteX10" fmla="*/ 897 w 3887"/>
                  <a:gd name="connsiteY10" fmla="*/ 14354 h 16985"/>
                  <a:gd name="connsiteX11" fmla="*/ 0 w 3887"/>
                  <a:gd name="connsiteY11" fmla="*/ 16985 h 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87" h="16985">
                    <a:moveTo>
                      <a:pt x="3708" y="0"/>
                    </a:moveTo>
                    <a:lnTo>
                      <a:pt x="3768" y="598"/>
                    </a:lnTo>
                    <a:lnTo>
                      <a:pt x="3768" y="837"/>
                    </a:lnTo>
                    <a:lnTo>
                      <a:pt x="3888" y="2332"/>
                    </a:lnTo>
                    <a:lnTo>
                      <a:pt x="3768" y="2871"/>
                    </a:lnTo>
                    <a:lnTo>
                      <a:pt x="3409" y="5024"/>
                    </a:lnTo>
                    <a:lnTo>
                      <a:pt x="2871" y="8194"/>
                    </a:lnTo>
                    <a:lnTo>
                      <a:pt x="2632" y="9450"/>
                    </a:lnTo>
                    <a:lnTo>
                      <a:pt x="1555" y="12500"/>
                    </a:lnTo>
                    <a:lnTo>
                      <a:pt x="1017" y="14115"/>
                    </a:lnTo>
                    <a:lnTo>
                      <a:pt x="897" y="14354"/>
                    </a:lnTo>
                    <a:lnTo>
                      <a:pt x="0" y="16985"/>
                    </a:lnTo>
                  </a:path>
                </a:pathLst>
              </a:custGeom>
              <a:noFill/>
              <a:ln w="6350" cap="rnd">
                <a:solidFill>
                  <a:schemeClr val="bg1">
                    <a:alpha val="80000"/>
                  </a:schemeClr>
                </a:solidFill>
                <a:prstDash val="solid"/>
                <a:round/>
              </a:ln>
            </p:spPr>
            <p:txBody>
              <a:bodyPr rtlCol="0" anchor="ctr"/>
              <a:lstStyle/>
              <a:p>
                <a:endParaRPr lang="en-GB"/>
              </a:p>
            </p:txBody>
          </p:sp>
          <p:sp>
            <p:nvSpPr>
              <p:cNvPr id="5683" name="Vrije vorm: vorm 5682">
                <a:extLst>
                  <a:ext uri="{FF2B5EF4-FFF2-40B4-BE49-F238E27FC236}">
                    <a16:creationId xmlns:a16="http://schemas.microsoft.com/office/drawing/2014/main" id="{F4A102C7-9013-4F43-89A7-5925618FB829}"/>
                  </a:ext>
                </a:extLst>
              </p:cNvPr>
              <p:cNvSpPr/>
              <p:nvPr/>
            </p:nvSpPr>
            <p:spPr>
              <a:xfrm>
                <a:off x="6480789" y="1550423"/>
                <a:ext cx="12021" cy="2631"/>
              </a:xfrm>
              <a:custGeom>
                <a:avLst/>
                <a:gdLst>
                  <a:gd name="connsiteX0" fmla="*/ 0 w 12021"/>
                  <a:gd name="connsiteY0" fmla="*/ 1555 h 2631"/>
                  <a:gd name="connsiteX1" fmla="*/ 2931 w 12021"/>
                  <a:gd name="connsiteY1" fmla="*/ 419 h 2631"/>
                  <a:gd name="connsiteX2" fmla="*/ 3708 w 12021"/>
                  <a:gd name="connsiteY2" fmla="*/ 120 h 2631"/>
                  <a:gd name="connsiteX3" fmla="*/ 5503 w 12021"/>
                  <a:gd name="connsiteY3" fmla="*/ 60 h 2631"/>
                  <a:gd name="connsiteX4" fmla="*/ 8253 w 12021"/>
                  <a:gd name="connsiteY4" fmla="*/ 0 h 2631"/>
                  <a:gd name="connsiteX5" fmla="*/ 9988 w 12021"/>
                  <a:gd name="connsiteY5" fmla="*/ 957 h 2631"/>
                  <a:gd name="connsiteX6" fmla="*/ 11662 w 12021"/>
                  <a:gd name="connsiteY6" fmla="*/ 1914 h 2631"/>
                  <a:gd name="connsiteX7" fmla="*/ 12021 w 12021"/>
                  <a:gd name="connsiteY7" fmla="*/ 2632 h 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21" h="2631">
                    <a:moveTo>
                      <a:pt x="0" y="1555"/>
                    </a:moveTo>
                    <a:lnTo>
                      <a:pt x="2931" y="419"/>
                    </a:lnTo>
                    <a:lnTo>
                      <a:pt x="3708" y="120"/>
                    </a:lnTo>
                    <a:lnTo>
                      <a:pt x="5503" y="60"/>
                    </a:lnTo>
                    <a:lnTo>
                      <a:pt x="8253" y="0"/>
                    </a:lnTo>
                    <a:lnTo>
                      <a:pt x="9988" y="957"/>
                    </a:lnTo>
                    <a:lnTo>
                      <a:pt x="11662" y="1914"/>
                    </a:lnTo>
                    <a:lnTo>
                      <a:pt x="12021" y="2632"/>
                    </a:lnTo>
                  </a:path>
                </a:pathLst>
              </a:custGeom>
              <a:noFill/>
              <a:ln w="6350" cap="rnd">
                <a:solidFill>
                  <a:schemeClr val="bg1">
                    <a:alpha val="80000"/>
                  </a:schemeClr>
                </a:solidFill>
                <a:prstDash val="solid"/>
                <a:round/>
              </a:ln>
            </p:spPr>
            <p:txBody>
              <a:bodyPr rtlCol="0" anchor="ctr"/>
              <a:lstStyle/>
              <a:p>
                <a:endParaRPr lang="en-GB"/>
              </a:p>
            </p:txBody>
          </p:sp>
          <p:sp>
            <p:nvSpPr>
              <p:cNvPr id="5684" name="Vrije vorm: vorm 5683">
                <a:extLst>
                  <a:ext uri="{FF2B5EF4-FFF2-40B4-BE49-F238E27FC236}">
                    <a16:creationId xmlns:a16="http://schemas.microsoft.com/office/drawing/2014/main" id="{DD14F845-0F6A-4783-A267-76C850B386B4}"/>
                  </a:ext>
                </a:extLst>
              </p:cNvPr>
              <p:cNvSpPr/>
              <p:nvPr/>
            </p:nvSpPr>
            <p:spPr>
              <a:xfrm>
                <a:off x="6512188" y="1592826"/>
                <a:ext cx="33731" cy="44855"/>
              </a:xfrm>
              <a:custGeom>
                <a:avLst/>
                <a:gdLst>
                  <a:gd name="connsiteX0" fmla="*/ 33731 w 33731"/>
                  <a:gd name="connsiteY0" fmla="*/ 0 h 44855"/>
                  <a:gd name="connsiteX1" fmla="*/ 32057 w 33731"/>
                  <a:gd name="connsiteY1" fmla="*/ 2811 h 44855"/>
                  <a:gd name="connsiteX2" fmla="*/ 31698 w 33731"/>
                  <a:gd name="connsiteY2" fmla="*/ 3409 h 44855"/>
                  <a:gd name="connsiteX3" fmla="*/ 31399 w 33731"/>
                  <a:gd name="connsiteY3" fmla="*/ 3947 h 44855"/>
                  <a:gd name="connsiteX4" fmla="*/ 29724 w 33731"/>
                  <a:gd name="connsiteY4" fmla="*/ 6758 h 44855"/>
                  <a:gd name="connsiteX5" fmla="*/ 29186 w 33731"/>
                  <a:gd name="connsiteY5" fmla="*/ 7655 h 44855"/>
                  <a:gd name="connsiteX6" fmla="*/ 28887 w 33731"/>
                  <a:gd name="connsiteY6" fmla="*/ 8194 h 44855"/>
                  <a:gd name="connsiteX7" fmla="*/ 27213 w 33731"/>
                  <a:gd name="connsiteY7" fmla="*/ 11005 h 44855"/>
                  <a:gd name="connsiteX8" fmla="*/ 25538 w 33731"/>
                  <a:gd name="connsiteY8" fmla="*/ 13816 h 44855"/>
                  <a:gd name="connsiteX9" fmla="*/ 23863 w 33731"/>
                  <a:gd name="connsiteY9" fmla="*/ 16626 h 44855"/>
                  <a:gd name="connsiteX10" fmla="*/ 22248 w 33731"/>
                  <a:gd name="connsiteY10" fmla="*/ 19318 h 44855"/>
                  <a:gd name="connsiteX11" fmla="*/ 22009 w 33731"/>
                  <a:gd name="connsiteY11" fmla="*/ 19736 h 44855"/>
                  <a:gd name="connsiteX12" fmla="*/ 20335 w 33731"/>
                  <a:gd name="connsiteY12" fmla="*/ 22547 h 44855"/>
                  <a:gd name="connsiteX13" fmla="*/ 19378 w 33731"/>
                  <a:gd name="connsiteY13" fmla="*/ 24162 h 44855"/>
                  <a:gd name="connsiteX14" fmla="*/ 19138 w 33731"/>
                  <a:gd name="connsiteY14" fmla="*/ 24581 h 44855"/>
                  <a:gd name="connsiteX15" fmla="*/ 17464 w 33731"/>
                  <a:gd name="connsiteY15" fmla="*/ 27392 h 44855"/>
                  <a:gd name="connsiteX16" fmla="*/ 15789 w 33731"/>
                  <a:gd name="connsiteY16" fmla="*/ 30203 h 44855"/>
                  <a:gd name="connsiteX17" fmla="*/ 14115 w 33731"/>
                  <a:gd name="connsiteY17" fmla="*/ 33014 h 44855"/>
                  <a:gd name="connsiteX18" fmla="*/ 12440 w 33731"/>
                  <a:gd name="connsiteY18" fmla="*/ 35825 h 44855"/>
                  <a:gd name="connsiteX19" fmla="*/ 10766 w 33731"/>
                  <a:gd name="connsiteY19" fmla="*/ 38636 h 44855"/>
                  <a:gd name="connsiteX20" fmla="*/ 9808 w 33731"/>
                  <a:gd name="connsiteY20" fmla="*/ 40250 h 44855"/>
                  <a:gd name="connsiteX21" fmla="*/ 9330 w 33731"/>
                  <a:gd name="connsiteY21" fmla="*/ 40968 h 44855"/>
                  <a:gd name="connsiteX22" fmla="*/ 8792 w 33731"/>
                  <a:gd name="connsiteY22" fmla="*/ 41686 h 44855"/>
                  <a:gd name="connsiteX23" fmla="*/ 8253 w 33731"/>
                  <a:gd name="connsiteY23" fmla="*/ 42344 h 44855"/>
                  <a:gd name="connsiteX24" fmla="*/ 7656 w 33731"/>
                  <a:gd name="connsiteY24" fmla="*/ 42942 h 44855"/>
                  <a:gd name="connsiteX25" fmla="*/ 7058 w 33731"/>
                  <a:gd name="connsiteY25" fmla="*/ 43480 h 44855"/>
                  <a:gd name="connsiteX26" fmla="*/ 6459 w 33731"/>
                  <a:gd name="connsiteY26" fmla="*/ 43958 h 44855"/>
                  <a:gd name="connsiteX27" fmla="*/ 5861 w 33731"/>
                  <a:gd name="connsiteY27" fmla="*/ 44317 h 44855"/>
                  <a:gd name="connsiteX28" fmla="*/ 5263 w 33731"/>
                  <a:gd name="connsiteY28" fmla="*/ 44616 h 44855"/>
                  <a:gd name="connsiteX29" fmla="*/ 4665 w 33731"/>
                  <a:gd name="connsiteY29" fmla="*/ 44796 h 44855"/>
                  <a:gd name="connsiteX30" fmla="*/ 4127 w 33731"/>
                  <a:gd name="connsiteY30" fmla="*/ 44855 h 44855"/>
                  <a:gd name="connsiteX31" fmla="*/ 3649 w 33731"/>
                  <a:gd name="connsiteY31" fmla="*/ 44855 h 44855"/>
                  <a:gd name="connsiteX32" fmla="*/ 3230 w 33731"/>
                  <a:gd name="connsiteY32" fmla="*/ 44736 h 44855"/>
                  <a:gd name="connsiteX33" fmla="*/ 479 w 33731"/>
                  <a:gd name="connsiteY33" fmla="*/ 43540 h 44855"/>
                  <a:gd name="connsiteX34" fmla="*/ 0 w 33731"/>
                  <a:gd name="connsiteY34" fmla="*/ 43300 h 4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731" h="44855">
                    <a:moveTo>
                      <a:pt x="33731" y="0"/>
                    </a:moveTo>
                    <a:lnTo>
                      <a:pt x="32057" y="2811"/>
                    </a:lnTo>
                    <a:lnTo>
                      <a:pt x="31698" y="3409"/>
                    </a:lnTo>
                    <a:lnTo>
                      <a:pt x="31399" y="3947"/>
                    </a:lnTo>
                    <a:lnTo>
                      <a:pt x="29724" y="6758"/>
                    </a:lnTo>
                    <a:lnTo>
                      <a:pt x="29186" y="7655"/>
                    </a:lnTo>
                    <a:lnTo>
                      <a:pt x="28887" y="8194"/>
                    </a:lnTo>
                    <a:lnTo>
                      <a:pt x="27213" y="11005"/>
                    </a:lnTo>
                    <a:lnTo>
                      <a:pt x="25538" y="13816"/>
                    </a:lnTo>
                    <a:lnTo>
                      <a:pt x="23863" y="16626"/>
                    </a:lnTo>
                    <a:lnTo>
                      <a:pt x="22248" y="19318"/>
                    </a:lnTo>
                    <a:lnTo>
                      <a:pt x="22009" y="19736"/>
                    </a:lnTo>
                    <a:lnTo>
                      <a:pt x="20335" y="22547"/>
                    </a:lnTo>
                    <a:lnTo>
                      <a:pt x="19378" y="24162"/>
                    </a:lnTo>
                    <a:lnTo>
                      <a:pt x="19138" y="24581"/>
                    </a:lnTo>
                    <a:lnTo>
                      <a:pt x="17464" y="27392"/>
                    </a:lnTo>
                    <a:lnTo>
                      <a:pt x="15789" y="30203"/>
                    </a:lnTo>
                    <a:lnTo>
                      <a:pt x="14115" y="33014"/>
                    </a:lnTo>
                    <a:lnTo>
                      <a:pt x="12440" y="35825"/>
                    </a:lnTo>
                    <a:lnTo>
                      <a:pt x="10766" y="38636"/>
                    </a:lnTo>
                    <a:lnTo>
                      <a:pt x="9808" y="40250"/>
                    </a:lnTo>
                    <a:lnTo>
                      <a:pt x="9330" y="40968"/>
                    </a:lnTo>
                    <a:lnTo>
                      <a:pt x="8792" y="41686"/>
                    </a:lnTo>
                    <a:lnTo>
                      <a:pt x="8253" y="42344"/>
                    </a:lnTo>
                    <a:lnTo>
                      <a:pt x="7656" y="42942"/>
                    </a:lnTo>
                    <a:lnTo>
                      <a:pt x="7058" y="43480"/>
                    </a:lnTo>
                    <a:lnTo>
                      <a:pt x="6459" y="43958"/>
                    </a:lnTo>
                    <a:lnTo>
                      <a:pt x="5861" y="44317"/>
                    </a:lnTo>
                    <a:lnTo>
                      <a:pt x="5263" y="44616"/>
                    </a:lnTo>
                    <a:lnTo>
                      <a:pt x="4665" y="44796"/>
                    </a:lnTo>
                    <a:lnTo>
                      <a:pt x="4127" y="44855"/>
                    </a:lnTo>
                    <a:lnTo>
                      <a:pt x="3649" y="44855"/>
                    </a:lnTo>
                    <a:lnTo>
                      <a:pt x="3230" y="44736"/>
                    </a:lnTo>
                    <a:lnTo>
                      <a:pt x="479" y="43540"/>
                    </a:lnTo>
                    <a:lnTo>
                      <a:pt x="0" y="43300"/>
                    </a:lnTo>
                  </a:path>
                </a:pathLst>
              </a:custGeom>
              <a:noFill/>
              <a:ln w="6350" cap="rnd">
                <a:solidFill>
                  <a:schemeClr val="bg1">
                    <a:alpha val="80000"/>
                  </a:schemeClr>
                </a:solidFill>
                <a:prstDash val="solid"/>
                <a:round/>
              </a:ln>
            </p:spPr>
            <p:txBody>
              <a:bodyPr rtlCol="0" anchor="ctr"/>
              <a:lstStyle/>
              <a:p>
                <a:endParaRPr lang="en-GB"/>
              </a:p>
            </p:txBody>
          </p:sp>
          <p:sp>
            <p:nvSpPr>
              <p:cNvPr id="5685" name="Vrije vorm: vorm 5684">
                <a:extLst>
                  <a:ext uri="{FF2B5EF4-FFF2-40B4-BE49-F238E27FC236}">
                    <a16:creationId xmlns:a16="http://schemas.microsoft.com/office/drawing/2014/main" id="{88B37328-A136-4A82-94A8-340B862364C9}"/>
                  </a:ext>
                </a:extLst>
              </p:cNvPr>
              <p:cNvSpPr/>
              <p:nvPr/>
            </p:nvSpPr>
            <p:spPr>
              <a:xfrm>
                <a:off x="6492452" y="1552277"/>
                <a:ext cx="358" cy="299"/>
              </a:xfrm>
              <a:custGeom>
                <a:avLst/>
                <a:gdLst>
                  <a:gd name="connsiteX0" fmla="*/ 0 w 358"/>
                  <a:gd name="connsiteY0" fmla="*/ 0 h 299"/>
                  <a:gd name="connsiteX1" fmla="*/ 359 w 358"/>
                  <a:gd name="connsiteY1" fmla="*/ 299 h 299"/>
                </a:gdLst>
                <a:ahLst/>
                <a:cxnLst>
                  <a:cxn ang="0">
                    <a:pos x="connsiteX0" y="connsiteY0"/>
                  </a:cxn>
                  <a:cxn ang="0">
                    <a:pos x="connsiteX1" y="connsiteY1"/>
                  </a:cxn>
                </a:cxnLst>
                <a:rect l="l" t="t" r="r" b="b"/>
                <a:pathLst>
                  <a:path w="358" h="299">
                    <a:moveTo>
                      <a:pt x="0" y="0"/>
                    </a:moveTo>
                    <a:lnTo>
                      <a:pt x="359" y="299"/>
                    </a:lnTo>
                  </a:path>
                </a:pathLst>
              </a:custGeom>
              <a:noFill/>
              <a:ln w="6350" cap="rnd">
                <a:solidFill>
                  <a:schemeClr val="bg1">
                    <a:alpha val="80000"/>
                  </a:schemeClr>
                </a:solidFill>
                <a:prstDash val="solid"/>
                <a:round/>
              </a:ln>
            </p:spPr>
            <p:txBody>
              <a:bodyPr rtlCol="0" anchor="ctr"/>
              <a:lstStyle/>
              <a:p>
                <a:endParaRPr lang="en-GB"/>
              </a:p>
            </p:txBody>
          </p:sp>
          <p:sp>
            <p:nvSpPr>
              <p:cNvPr id="5686" name="Vrije vorm: vorm 5685">
                <a:extLst>
                  <a:ext uri="{FF2B5EF4-FFF2-40B4-BE49-F238E27FC236}">
                    <a16:creationId xmlns:a16="http://schemas.microsoft.com/office/drawing/2014/main" id="{2CE855FF-BC86-488F-A551-22CCA25015B0}"/>
                  </a:ext>
                </a:extLst>
              </p:cNvPr>
              <p:cNvSpPr/>
              <p:nvPr/>
            </p:nvSpPr>
            <p:spPr>
              <a:xfrm>
                <a:off x="6501782" y="1536547"/>
                <a:ext cx="8014" cy="13516"/>
              </a:xfrm>
              <a:custGeom>
                <a:avLst/>
                <a:gdLst>
                  <a:gd name="connsiteX0" fmla="*/ 0 w 8014"/>
                  <a:gd name="connsiteY0" fmla="*/ 13516 h 13516"/>
                  <a:gd name="connsiteX1" fmla="*/ 239 w 8014"/>
                  <a:gd name="connsiteY1" fmla="*/ 13158 h 13516"/>
                  <a:gd name="connsiteX2" fmla="*/ 598 w 8014"/>
                  <a:gd name="connsiteY2" fmla="*/ 12559 h 13516"/>
                  <a:gd name="connsiteX3" fmla="*/ 897 w 8014"/>
                  <a:gd name="connsiteY3" fmla="*/ 12021 h 13516"/>
                  <a:gd name="connsiteX4" fmla="*/ 2572 w 8014"/>
                  <a:gd name="connsiteY4" fmla="*/ 9210 h 13516"/>
                  <a:gd name="connsiteX5" fmla="*/ 4246 w 8014"/>
                  <a:gd name="connsiteY5" fmla="*/ 6399 h 13516"/>
                  <a:gd name="connsiteX6" fmla="*/ 4366 w 8014"/>
                  <a:gd name="connsiteY6" fmla="*/ 6160 h 13516"/>
                  <a:gd name="connsiteX7" fmla="*/ 4844 w 8014"/>
                  <a:gd name="connsiteY7" fmla="*/ 5383 h 13516"/>
                  <a:gd name="connsiteX8" fmla="*/ 6399 w 8014"/>
                  <a:gd name="connsiteY8" fmla="*/ 2691 h 13516"/>
                  <a:gd name="connsiteX9" fmla="*/ 6459 w 8014"/>
                  <a:gd name="connsiteY9" fmla="*/ 2572 h 13516"/>
                  <a:gd name="connsiteX10" fmla="*/ 6998 w 8014"/>
                  <a:gd name="connsiteY10" fmla="*/ 1675 h 13516"/>
                  <a:gd name="connsiteX11" fmla="*/ 7656 w 8014"/>
                  <a:gd name="connsiteY11" fmla="*/ 598 h 13516"/>
                  <a:gd name="connsiteX12" fmla="*/ 8014 w 8014"/>
                  <a:gd name="connsiteY12" fmla="*/ 0 h 1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4" h="13516">
                    <a:moveTo>
                      <a:pt x="0" y="13516"/>
                    </a:moveTo>
                    <a:lnTo>
                      <a:pt x="239" y="13158"/>
                    </a:lnTo>
                    <a:lnTo>
                      <a:pt x="598" y="12559"/>
                    </a:lnTo>
                    <a:lnTo>
                      <a:pt x="897" y="12021"/>
                    </a:lnTo>
                    <a:lnTo>
                      <a:pt x="2572" y="9210"/>
                    </a:lnTo>
                    <a:lnTo>
                      <a:pt x="4246" y="6399"/>
                    </a:lnTo>
                    <a:lnTo>
                      <a:pt x="4366" y="6160"/>
                    </a:lnTo>
                    <a:lnTo>
                      <a:pt x="4844" y="5383"/>
                    </a:lnTo>
                    <a:lnTo>
                      <a:pt x="6399" y="2691"/>
                    </a:lnTo>
                    <a:lnTo>
                      <a:pt x="6459" y="2572"/>
                    </a:lnTo>
                    <a:lnTo>
                      <a:pt x="6998" y="1675"/>
                    </a:lnTo>
                    <a:lnTo>
                      <a:pt x="7656" y="598"/>
                    </a:lnTo>
                    <a:lnTo>
                      <a:pt x="8014" y="0"/>
                    </a:lnTo>
                  </a:path>
                </a:pathLst>
              </a:custGeom>
              <a:noFill/>
              <a:ln w="6350" cap="rnd">
                <a:solidFill>
                  <a:schemeClr val="bg1">
                    <a:alpha val="80000"/>
                  </a:schemeClr>
                </a:solidFill>
                <a:prstDash val="solid"/>
                <a:round/>
              </a:ln>
            </p:spPr>
            <p:txBody>
              <a:bodyPr rtlCol="0" anchor="ctr"/>
              <a:lstStyle/>
              <a:p>
                <a:endParaRPr lang="en-GB"/>
              </a:p>
            </p:txBody>
          </p:sp>
          <p:sp>
            <p:nvSpPr>
              <p:cNvPr id="5687" name="Vrije vorm: vorm 5686">
                <a:extLst>
                  <a:ext uri="{FF2B5EF4-FFF2-40B4-BE49-F238E27FC236}">
                    <a16:creationId xmlns:a16="http://schemas.microsoft.com/office/drawing/2014/main" id="{9CFDF8ED-1C04-409E-AB41-330689CD6F21}"/>
                  </a:ext>
                </a:extLst>
              </p:cNvPr>
              <p:cNvSpPr/>
              <p:nvPr/>
            </p:nvSpPr>
            <p:spPr>
              <a:xfrm>
                <a:off x="6496997" y="1562982"/>
                <a:ext cx="1196" cy="8552"/>
              </a:xfrm>
              <a:custGeom>
                <a:avLst/>
                <a:gdLst>
                  <a:gd name="connsiteX0" fmla="*/ 1076 w 1196"/>
                  <a:gd name="connsiteY0" fmla="*/ 0 h 8552"/>
                  <a:gd name="connsiteX1" fmla="*/ 1076 w 1196"/>
                  <a:gd name="connsiteY1" fmla="*/ 120 h 8552"/>
                  <a:gd name="connsiteX2" fmla="*/ 1076 w 1196"/>
                  <a:gd name="connsiteY2" fmla="*/ 120 h 8552"/>
                  <a:gd name="connsiteX3" fmla="*/ 1196 w 1196"/>
                  <a:gd name="connsiteY3" fmla="*/ 1495 h 8552"/>
                  <a:gd name="connsiteX4" fmla="*/ 658 w 1196"/>
                  <a:gd name="connsiteY4" fmla="*/ 4665 h 8552"/>
                  <a:gd name="connsiteX5" fmla="*/ 120 w 1196"/>
                  <a:gd name="connsiteY5" fmla="*/ 7835 h 8552"/>
                  <a:gd name="connsiteX6" fmla="*/ 0 w 1196"/>
                  <a:gd name="connsiteY6" fmla="*/ 8552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 h="8552">
                    <a:moveTo>
                      <a:pt x="1076" y="0"/>
                    </a:moveTo>
                    <a:lnTo>
                      <a:pt x="1076" y="120"/>
                    </a:lnTo>
                    <a:lnTo>
                      <a:pt x="1076" y="120"/>
                    </a:lnTo>
                    <a:lnTo>
                      <a:pt x="1196" y="1495"/>
                    </a:lnTo>
                    <a:lnTo>
                      <a:pt x="658" y="4665"/>
                    </a:lnTo>
                    <a:lnTo>
                      <a:pt x="120" y="7835"/>
                    </a:lnTo>
                    <a:lnTo>
                      <a:pt x="0" y="8552"/>
                    </a:lnTo>
                  </a:path>
                </a:pathLst>
              </a:custGeom>
              <a:noFill/>
              <a:ln w="6350" cap="rnd">
                <a:solidFill>
                  <a:schemeClr val="bg1">
                    <a:alpha val="80000"/>
                  </a:schemeClr>
                </a:solidFill>
                <a:prstDash val="solid"/>
                <a:round/>
              </a:ln>
            </p:spPr>
            <p:txBody>
              <a:bodyPr rtlCol="0" anchor="ctr"/>
              <a:lstStyle/>
              <a:p>
                <a:endParaRPr lang="en-GB"/>
              </a:p>
            </p:txBody>
          </p:sp>
          <p:sp>
            <p:nvSpPr>
              <p:cNvPr id="5688" name="Vrije vorm: vorm 5687">
                <a:extLst>
                  <a:ext uri="{FF2B5EF4-FFF2-40B4-BE49-F238E27FC236}">
                    <a16:creationId xmlns:a16="http://schemas.microsoft.com/office/drawing/2014/main" id="{DE1E955D-2AAE-4BE1-A8A0-7FC2D4AF8335}"/>
                  </a:ext>
                </a:extLst>
              </p:cNvPr>
              <p:cNvSpPr/>
              <p:nvPr/>
            </p:nvSpPr>
            <p:spPr>
              <a:xfrm>
                <a:off x="6496579" y="1532540"/>
                <a:ext cx="34987" cy="77988"/>
              </a:xfrm>
              <a:custGeom>
                <a:avLst/>
                <a:gdLst>
                  <a:gd name="connsiteX0" fmla="*/ 30861 w 34987"/>
                  <a:gd name="connsiteY0" fmla="*/ 0 h 77988"/>
                  <a:gd name="connsiteX1" fmla="*/ 29186 w 34987"/>
                  <a:gd name="connsiteY1" fmla="*/ 2811 h 77988"/>
                  <a:gd name="connsiteX2" fmla="*/ 27512 w 34987"/>
                  <a:gd name="connsiteY2" fmla="*/ 5622 h 77988"/>
                  <a:gd name="connsiteX3" fmla="*/ 25956 w 34987"/>
                  <a:gd name="connsiteY3" fmla="*/ 8253 h 77988"/>
                  <a:gd name="connsiteX4" fmla="*/ 25956 w 34987"/>
                  <a:gd name="connsiteY4" fmla="*/ 8253 h 77988"/>
                  <a:gd name="connsiteX5" fmla="*/ 24282 w 34987"/>
                  <a:gd name="connsiteY5" fmla="*/ 11064 h 77988"/>
                  <a:gd name="connsiteX6" fmla="*/ 23564 w 34987"/>
                  <a:gd name="connsiteY6" fmla="*/ 12320 h 77988"/>
                  <a:gd name="connsiteX7" fmla="*/ 22966 w 34987"/>
                  <a:gd name="connsiteY7" fmla="*/ 13337 h 77988"/>
                  <a:gd name="connsiteX8" fmla="*/ 21890 w 34987"/>
                  <a:gd name="connsiteY8" fmla="*/ 15131 h 77988"/>
                  <a:gd name="connsiteX9" fmla="*/ 21830 w 34987"/>
                  <a:gd name="connsiteY9" fmla="*/ 15251 h 77988"/>
                  <a:gd name="connsiteX10" fmla="*/ 20753 w 34987"/>
                  <a:gd name="connsiteY10" fmla="*/ 17105 h 77988"/>
                  <a:gd name="connsiteX11" fmla="*/ 19079 w 34987"/>
                  <a:gd name="connsiteY11" fmla="*/ 19916 h 77988"/>
                  <a:gd name="connsiteX12" fmla="*/ 17404 w 34987"/>
                  <a:gd name="connsiteY12" fmla="*/ 22727 h 77988"/>
                  <a:gd name="connsiteX13" fmla="*/ 16567 w 34987"/>
                  <a:gd name="connsiteY13" fmla="*/ 24162 h 77988"/>
                  <a:gd name="connsiteX14" fmla="*/ 16567 w 34987"/>
                  <a:gd name="connsiteY14" fmla="*/ 24162 h 77988"/>
                  <a:gd name="connsiteX15" fmla="*/ 15849 w 34987"/>
                  <a:gd name="connsiteY15" fmla="*/ 25418 h 77988"/>
                  <a:gd name="connsiteX16" fmla="*/ 15430 w 34987"/>
                  <a:gd name="connsiteY16" fmla="*/ 26136 h 77988"/>
                  <a:gd name="connsiteX17" fmla="*/ 15371 w 34987"/>
                  <a:gd name="connsiteY17" fmla="*/ 26195 h 77988"/>
                  <a:gd name="connsiteX18" fmla="*/ 13935 w 34987"/>
                  <a:gd name="connsiteY18" fmla="*/ 28648 h 77988"/>
                  <a:gd name="connsiteX19" fmla="*/ 13516 w 34987"/>
                  <a:gd name="connsiteY19" fmla="*/ 29365 h 77988"/>
                  <a:gd name="connsiteX20" fmla="*/ 12978 w 34987"/>
                  <a:gd name="connsiteY20" fmla="*/ 30262 h 77988"/>
                  <a:gd name="connsiteX21" fmla="*/ 12919 w 34987"/>
                  <a:gd name="connsiteY21" fmla="*/ 30382 h 77988"/>
                  <a:gd name="connsiteX22" fmla="*/ 11244 w 34987"/>
                  <a:gd name="connsiteY22" fmla="*/ 33193 h 77988"/>
                  <a:gd name="connsiteX23" fmla="*/ 9569 w 34987"/>
                  <a:gd name="connsiteY23" fmla="*/ 36004 h 77988"/>
                  <a:gd name="connsiteX24" fmla="*/ 7895 w 34987"/>
                  <a:gd name="connsiteY24" fmla="*/ 38815 h 77988"/>
                  <a:gd name="connsiteX25" fmla="*/ 6818 w 34987"/>
                  <a:gd name="connsiteY25" fmla="*/ 40609 h 77988"/>
                  <a:gd name="connsiteX26" fmla="*/ 6459 w 34987"/>
                  <a:gd name="connsiteY26" fmla="*/ 41207 h 77988"/>
                  <a:gd name="connsiteX27" fmla="*/ 4785 w 34987"/>
                  <a:gd name="connsiteY27" fmla="*/ 44018 h 77988"/>
                  <a:gd name="connsiteX28" fmla="*/ 4486 w 34987"/>
                  <a:gd name="connsiteY28" fmla="*/ 44496 h 77988"/>
                  <a:gd name="connsiteX29" fmla="*/ 2811 w 34987"/>
                  <a:gd name="connsiteY29" fmla="*/ 47307 h 77988"/>
                  <a:gd name="connsiteX30" fmla="*/ 2392 w 34987"/>
                  <a:gd name="connsiteY30" fmla="*/ 47965 h 77988"/>
                  <a:gd name="connsiteX31" fmla="*/ 718 w 34987"/>
                  <a:gd name="connsiteY31" fmla="*/ 50776 h 77988"/>
                  <a:gd name="connsiteX32" fmla="*/ 0 w 34987"/>
                  <a:gd name="connsiteY32" fmla="*/ 51972 h 77988"/>
                  <a:gd name="connsiteX33" fmla="*/ 2213 w 34987"/>
                  <a:gd name="connsiteY33" fmla="*/ 52630 h 77988"/>
                  <a:gd name="connsiteX34" fmla="*/ 2930 w 34987"/>
                  <a:gd name="connsiteY34" fmla="*/ 52870 h 77988"/>
                  <a:gd name="connsiteX35" fmla="*/ 5143 w 34987"/>
                  <a:gd name="connsiteY35" fmla="*/ 54484 h 77988"/>
                  <a:gd name="connsiteX36" fmla="*/ 6878 w 34987"/>
                  <a:gd name="connsiteY36" fmla="*/ 55740 h 77988"/>
                  <a:gd name="connsiteX37" fmla="*/ 9270 w 34987"/>
                  <a:gd name="connsiteY37" fmla="*/ 57535 h 77988"/>
                  <a:gd name="connsiteX38" fmla="*/ 11662 w 34987"/>
                  <a:gd name="connsiteY38" fmla="*/ 59329 h 77988"/>
                  <a:gd name="connsiteX39" fmla="*/ 14055 w 34987"/>
                  <a:gd name="connsiteY39" fmla="*/ 61123 h 77988"/>
                  <a:gd name="connsiteX40" fmla="*/ 16447 w 34987"/>
                  <a:gd name="connsiteY40" fmla="*/ 62917 h 77988"/>
                  <a:gd name="connsiteX41" fmla="*/ 18839 w 34987"/>
                  <a:gd name="connsiteY41" fmla="*/ 64711 h 77988"/>
                  <a:gd name="connsiteX42" fmla="*/ 21231 w 34987"/>
                  <a:gd name="connsiteY42" fmla="*/ 66506 h 77988"/>
                  <a:gd name="connsiteX43" fmla="*/ 23624 w 34987"/>
                  <a:gd name="connsiteY43" fmla="*/ 68300 h 77988"/>
                  <a:gd name="connsiteX44" fmla="*/ 26016 w 34987"/>
                  <a:gd name="connsiteY44" fmla="*/ 70094 h 77988"/>
                  <a:gd name="connsiteX45" fmla="*/ 26794 w 34987"/>
                  <a:gd name="connsiteY45" fmla="*/ 70692 h 77988"/>
                  <a:gd name="connsiteX46" fmla="*/ 27751 w 34987"/>
                  <a:gd name="connsiteY46" fmla="*/ 71410 h 77988"/>
                  <a:gd name="connsiteX47" fmla="*/ 27990 w 34987"/>
                  <a:gd name="connsiteY47" fmla="*/ 71589 h 77988"/>
                  <a:gd name="connsiteX48" fmla="*/ 30023 w 34987"/>
                  <a:gd name="connsiteY48" fmla="*/ 73443 h 77988"/>
                  <a:gd name="connsiteX49" fmla="*/ 32236 w 34987"/>
                  <a:gd name="connsiteY49" fmla="*/ 75477 h 77988"/>
                  <a:gd name="connsiteX50" fmla="*/ 32595 w 34987"/>
                  <a:gd name="connsiteY50" fmla="*/ 75776 h 77988"/>
                  <a:gd name="connsiteX51" fmla="*/ 34808 w 34987"/>
                  <a:gd name="connsiteY51" fmla="*/ 77809 h 77988"/>
                  <a:gd name="connsiteX52" fmla="*/ 34987 w 34987"/>
                  <a:gd name="connsiteY52" fmla="*/ 77989 h 7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987" h="77988">
                    <a:moveTo>
                      <a:pt x="30861" y="0"/>
                    </a:moveTo>
                    <a:lnTo>
                      <a:pt x="29186" y="2811"/>
                    </a:lnTo>
                    <a:lnTo>
                      <a:pt x="27512" y="5622"/>
                    </a:lnTo>
                    <a:lnTo>
                      <a:pt x="25956" y="8253"/>
                    </a:lnTo>
                    <a:lnTo>
                      <a:pt x="25956" y="8253"/>
                    </a:lnTo>
                    <a:lnTo>
                      <a:pt x="24282" y="11064"/>
                    </a:lnTo>
                    <a:lnTo>
                      <a:pt x="23564" y="12320"/>
                    </a:lnTo>
                    <a:lnTo>
                      <a:pt x="22966" y="13337"/>
                    </a:lnTo>
                    <a:lnTo>
                      <a:pt x="21890" y="15131"/>
                    </a:lnTo>
                    <a:lnTo>
                      <a:pt x="21830" y="15251"/>
                    </a:lnTo>
                    <a:lnTo>
                      <a:pt x="20753" y="17105"/>
                    </a:lnTo>
                    <a:lnTo>
                      <a:pt x="19079" y="19916"/>
                    </a:lnTo>
                    <a:lnTo>
                      <a:pt x="17404" y="22727"/>
                    </a:lnTo>
                    <a:lnTo>
                      <a:pt x="16567" y="24162"/>
                    </a:lnTo>
                    <a:lnTo>
                      <a:pt x="16567" y="24162"/>
                    </a:lnTo>
                    <a:lnTo>
                      <a:pt x="15849" y="25418"/>
                    </a:lnTo>
                    <a:lnTo>
                      <a:pt x="15430" y="26136"/>
                    </a:lnTo>
                    <a:lnTo>
                      <a:pt x="15371" y="26195"/>
                    </a:lnTo>
                    <a:lnTo>
                      <a:pt x="13935" y="28648"/>
                    </a:lnTo>
                    <a:lnTo>
                      <a:pt x="13516" y="29365"/>
                    </a:lnTo>
                    <a:lnTo>
                      <a:pt x="12978" y="30262"/>
                    </a:lnTo>
                    <a:lnTo>
                      <a:pt x="12919" y="30382"/>
                    </a:lnTo>
                    <a:lnTo>
                      <a:pt x="11244" y="33193"/>
                    </a:lnTo>
                    <a:lnTo>
                      <a:pt x="9569" y="36004"/>
                    </a:lnTo>
                    <a:lnTo>
                      <a:pt x="7895" y="38815"/>
                    </a:lnTo>
                    <a:lnTo>
                      <a:pt x="6818" y="40609"/>
                    </a:lnTo>
                    <a:lnTo>
                      <a:pt x="6459" y="41207"/>
                    </a:lnTo>
                    <a:lnTo>
                      <a:pt x="4785" y="44018"/>
                    </a:lnTo>
                    <a:lnTo>
                      <a:pt x="4486" y="44496"/>
                    </a:lnTo>
                    <a:lnTo>
                      <a:pt x="2811" y="47307"/>
                    </a:lnTo>
                    <a:lnTo>
                      <a:pt x="2392" y="47965"/>
                    </a:lnTo>
                    <a:lnTo>
                      <a:pt x="718" y="50776"/>
                    </a:lnTo>
                    <a:lnTo>
                      <a:pt x="0" y="51972"/>
                    </a:lnTo>
                    <a:lnTo>
                      <a:pt x="2213" y="52630"/>
                    </a:lnTo>
                    <a:lnTo>
                      <a:pt x="2930" y="52870"/>
                    </a:lnTo>
                    <a:lnTo>
                      <a:pt x="5143" y="54484"/>
                    </a:lnTo>
                    <a:lnTo>
                      <a:pt x="6878" y="55740"/>
                    </a:lnTo>
                    <a:lnTo>
                      <a:pt x="9270" y="57535"/>
                    </a:lnTo>
                    <a:lnTo>
                      <a:pt x="11662" y="59329"/>
                    </a:lnTo>
                    <a:lnTo>
                      <a:pt x="14055" y="61123"/>
                    </a:lnTo>
                    <a:lnTo>
                      <a:pt x="16447" y="62917"/>
                    </a:lnTo>
                    <a:lnTo>
                      <a:pt x="18839" y="64711"/>
                    </a:lnTo>
                    <a:lnTo>
                      <a:pt x="21231" y="66506"/>
                    </a:lnTo>
                    <a:lnTo>
                      <a:pt x="23624" y="68300"/>
                    </a:lnTo>
                    <a:lnTo>
                      <a:pt x="26016" y="70094"/>
                    </a:lnTo>
                    <a:lnTo>
                      <a:pt x="26794" y="70692"/>
                    </a:lnTo>
                    <a:lnTo>
                      <a:pt x="27751" y="71410"/>
                    </a:lnTo>
                    <a:lnTo>
                      <a:pt x="27990" y="71589"/>
                    </a:lnTo>
                    <a:lnTo>
                      <a:pt x="30023" y="73443"/>
                    </a:lnTo>
                    <a:lnTo>
                      <a:pt x="32236" y="75477"/>
                    </a:lnTo>
                    <a:lnTo>
                      <a:pt x="32595" y="75776"/>
                    </a:lnTo>
                    <a:lnTo>
                      <a:pt x="34808" y="77809"/>
                    </a:lnTo>
                    <a:lnTo>
                      <a:pt x="34987" y="77989"/>
                    </a:lnTo>
                  </a:path>
                </a:pathLst>
              </a:custGeom>
              <a:noFill/>
              <a:ln w="6350" cap="rnd">
                <a:solidFill>
                  <a:schemeClr val="bg1">
                    <a:alpha val="80000"/>
                  </a:schemeClr>
                </a:solidFill>
                <a:prstDash val="solid"/>
                <a:round/>
              </a:ln>
            </p:spPr>
            <p:txBody>
              <a:bodyPr rtlCol="0" anchor="ctr"/>
              <a:lstStyle/>
              <a:p>
                <a:endParaRPr lang="en-GB"/>
              </a:p>
            </p:txBody>
          </p:sp>
          <p:sp>
            <p:nvSpPr>
              <p:cNvPr id="5689" name="Vrije vorm: vorm 5688">
                <a:extLst>
                  <a:ext uri="{FF2B5EF4-FFF2-40B4-BE49-F238E27FC236}">
                    <a16:creationId xmlns:a16="http://schemas.microsoft.com/office/drawing/2014/main" id="{D008C023-66F8-47DF-B48E-0B386302A1CA}"/>
                  </a:ext>
                </a:extLst>
              </p:cNvPr>
              <p:cNvSpPr/>
              <p:nvPr/>
            </p:nvSpPr>
            <p:spPr>
              <a:xfrm>
                <a:off x="6505371" y="1538641"/>
                <a:ext cx="9509" cy="9748"/>
              </a:xfrm>
              <a:custGeom>
                <a:avLst/>
                <a:gdLst>
                  <a:gd name="connsiteX0" fmla="*/ 4306 w 9509"/>
                  <a:gd name="connsiteY0" fmla="*/ 0 h 9748"/>
                  <a:gd name="connsiteX1" fmla="*/ 4127 w 9509"/>
                  <a:gd name="connsiteY1" fmla="*/ 239 h 9748"/>
                  <a:gd name="connsiteX2" fmla="*/ 3588 w 9509"/>
                  <a:gd name="connsiteY2" fmla="*/ 1136 h 9748"/>
                  <a:gd name="connsiteX3" fmla="*/ 3528 w 9509"/>
                  <a:gd name="connsiteY3" fmla="*/ 1256 h 9748"/>
                  <a:gd name="connsiteX4" fmla="*/ 1973 w 9509"/>
                  <a:gd name="connsiteY4" fmla="*/ 3888 h 9748"/>
                  <a:gd name="connsiteX5" fmla="*/ 1495 w 9509"/>
                  <a:gd name="connsiteY5" fmla="*/ 4665 h 9748"/>
                  <a:gd name="connsiteX6" fmla="*/ 0 w 9509"/>
                  <a:gd name="connsiteY6" fmla="*/ 7237 h 9748"/>
                  <a:gd name="connsiteX7" fmla="*/ 1017 w 9509"/>
                  <a:gd name="connsiteY7" fmla="*/ 8014 h 9748"/>
                  <a:gd name="connsiteX8" fmla="*/ 3947 w 9509"/>
                  <a:gd name="connsiteY8" fmla="*/ 8612 h 9748"/>
                  <a:gd name="connsiteX9" fmla="*/ 5921 w 9509"/>
                  <a:gd name="connsiteY9" fmla="*/ 9031 h 9748"/>
                  <a:gd name="connsiteX10" fmla="*/ 6280 w 9509"/>
                  <a:gd name="connsiteY10" fmla="*/ 9091 h 9748"/>
                  <a:gd name="connsiteX11" fmla="*/ 6519 w 9509"/>
                  <a:gd name="connsiteY11" fmla="*/ 9150 h 9748"/>
                  <a:gd name="connsiteX12" fmla="*/ 6519 w 9509"/>
                  <a:gd name="connsiteY12" fmla="*/ 9150 h 9748"/>
                  <a:gd name="connsiteX13" fmla="*/ 6937 w 9509"/>
                  <a:gd name="connsiteY13" fmla="*/ 9210 h 9748"/>
                  <a:gd name="connsiteX14" fmla="*/ 9509 w 9509"/>
                  <a:gd name="connsiteY14" fmla="*/ 9749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09" h="9748">
                    <a:moveTo>
                      <a:pt x="4306" y="0"/>
                    </a:moveTo>
                    <a:lnTo>
                      <a:pt x="4127" y="239"/>
                    </a:lnTo>
                    <a:lnTo>
                      <a:pt x="3588" y="1136"/>
                    </a:lnTo>
                    <a:lnTo>
                      <a:pt x="3528" y="1256"/>
                    </a:lnTo>
                    <a:lnTo>
                      <a:pt x="1973" y="3888"/>
                    </a:lnTo>
                    <a:lnTo>
                      <a:pt x="1495" y="4665"/>
                    </a:lnTo>
                    <a:lnTo>
                      <a:pt x="0" y="7237"/>
                    </a:lnTo>
                    <a:lnTo>
                      <a:pt x="1017" y="8014"/>
                    </a:lnTo>
                    <a:lnTo>
                      <a:pt x="3947" y="8612"/>
                    </a:lnTo>
                    <a:lnTo>
                      <a:pt x="5921" y="9031"/>
                    </a:lnTo>
                    <a:lnTo>
                      <a:pt x="6280" y="9091"/>
                    </a:lnTo>
                    <a:lnTo>
                      <a:pt x="6519" y="9150"/>
                    </a:lnTo>
                    <a:lnTo>
                      <a:pt x="6519" y="9150"/>
                    </a:lnTo>
                    <a:lnTo>
                      <a:pt x="6937" y="9210"/>
                    </a:lnTo>
                    <a:lnTo>
                      <a:pt x="9509" y="9749"/>
                    </a:lnTo>
                  </a:path>
                </a:pathLst>
              </a:custGeom>
              <a:noFill/>
              <a:ln w="6350" cap="rnd">
                <a:solidFill>
                  <a:schemeClr val="bg1">
                    <a:alpha val="80000"/>
                  </a:schemeClr>
                </a:solidFill>
                <a:prstDash val="solid"/>
                <a:round/>
              </a:ln>
            </p:spPr>
            <p:txBody>
              <a:bodyPr rtlCol="0" anchor="ctr"/>
              <a:lstStyle/>
              <a:p>
                <a:endParaRPr lang="en-GB"/>
              </a:p>
            </p:txBody>
          </p:sp>
          <p:sp>
            <p:nvSpPr>
              <p:cNvPr id="5690" name="Vrije vorm: vorm 5689">
                <a:extLst>
                  <a:ext uri="{FF2B5EF4-FFF2-40B4-BE49-F238E27FC236}">
                    <a16:creationId xmlns:a16="http://schemas.microsoft.com/office/drawing/2014/main" id="{84FEF0F5-4FEE-400A-BDDA-C81F792186CC}"/>
                  </a:ext>
                </a:extLst>
              </p:cNvPr>
              <p:cNvSpPr/>
              <p:nvPr/>
            </p:nvSpPr>
            <p:spPr>
              <a:xfrm>
                <a:off x="6513863" y="1533318"/>
                <a:ext cx="4365" cy="15250"/>
              </a:xfrm>
              <a:custGeom>
                <a:avLst/>
                <a:gdLst>
                  <a:gd name="connsiteX0" fmla="*/ 0 w 4365"/>
                  <a:gd name="connsiteY0" fmla="*/ 14414 h 15250"/>
                  <a:gd name="connsiteX1" fmla="*/ 1017 w 4365"/>
                  <a:gd name="connsiteY1" fmla="*/ 15251 h 15250"/>
                  <a:gd name="connsiteX2" fmla="*/ 1375 w 4365"/>
                  <a:gd name="connsiteY2" fmla="*/ 14653 h 15250"/>
                  <a:gd name="connsiteX3" fmla="*/ 2333 w 4365"/>
                  <a:gd name="connsiteY3" fmla="*/ 13038 h 15250"/>
                  <a:gd name="connsiteX4" fmla="*/ 2691 w 4365"/>
                  <a:gd name="connsiteY4" fmla="*/ 12500 h 15250"/>
                  <a:gd name="connsiteX5" fmla="*/ 4067 w 4365"/>
                  <a:gd name="connsiteY5" fmla="*/ 10107 h 15250"/>
                  <a:gd name="connsiteX6" fmla="*/ 4067 w 4365"/>
                  <a:gd name="connsiteY6" fmla="*/ 9689 h 15250"/>
                  <a:gd name="connsiteX7" fmla="*/ 4187 w 4365"/>
                  <a:gd name="connsiteY7" fmla="*/ 6519 h 15250"/>
                  <a:gd name="connsiteX8" fmla="*/ 4187 w 4365"/>
                  <a:gd name="connsiteY8" fmla="*/ 6041 h 15250"/>
                  <a:gd name="connsiteX9" fmla="*/ 4187 w 4365"/>
                  <a:gd name="connsiteY9" fmla="*/ 5502 h 15250"/>
                  <a:gd name="connsiteX10" fmla="*/ 4246 w 4365"/>
                  <a:gd name="connsiteY10" fmla="*/ 3768 h 15250"/>
                  <a:gd name="connsiteX11" fmla="*/ 4246 w 4365"/>
                  <a:gd name="connsiteY11" fmla="*/ 3768 h 15250"/>
                  <a:gd name="connsiteX12" fmla="*/ 4246 w 4365"/>
                  <a:gd name="connsiteY12" fmla="*/ 3768 h 15250"/>
                  <a:gd name="connsiteX13" fmla="*/ 4366 w 4365"/>
                  <a:gd name="connsiteY13" fmla="*/ 598 h 15250"/>
                  <a:gd name="connsiteX14" fmla="*/ 4366 w 4365"/>
                  <a:gd name="connsiteY14" fmla="*/ 0 h 1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65" h="15250">
                    <a:moveTo>
                      <a:pt x="0" y="14414"/>
                    </a:moveTo>
                    <a:lnTo>
                      <a:pt x="1017" y="15251"/>
                    </a:lnTo>
                    <a:lnTo>
                      <a:pt x="1375" y="14653"/>
                    </a:lnTo>
                    <a:lnTo>
                      <a:pt x="2333" y="13038"/>
                    </a:lnTo>
                    <a:lnTo>
                      <a:pt x="2691" y="12500"/>
                    </a:lnTo>
                    <a:lnTo>
                      <a:pt x="4067" y="10107"/>
                    </a:lnTo>
                    <a:lnTo>
                      <a:pt x="4067" y="9689"/>
                    </a:lnTo>
                    <a:lnTo>
                      <a:pt x="4187" y="6519"/>
                    </a:lnTo>
                    <a:lnTo>
                      <a:pt x="4187" y="6041"/>
                    </a:lnTo>
                    <a:lnTo>
                      <a:pt x="4187" y="5502"/>
                    </a:lnTo>
                    <a:lnTo>
                      <a:pt x="4246" y="3768"/>
                    </a:lnTo>
                    <a:lnTo>
                      <a:pt x="4246" y="3768"/>
                    </a:lnTo>
                    <a:lnTo>
                      <a:pt x="4246" y="3768"/>
                    </a:lnTo>
                    <a:lnTo>
                      <a:pt x="4366" y="598"/>
                    </a:lnTo>
                    <a:lnTo>
                      <a:pt x="4366" y="0"/>
                    </a:lnTo>
                  </a:path>
                </a:pathLst>
              </a:custGeom>
              <a:noFill/>
              <a:ln w="6350" cap="rnd">
                <a:solidFill>
                  <a:schemeClr val="bg1">
                    <a:alpha val="80000"/>
                  </a:schemeClr>
                </a:solidFill>
                <a:prstDash val="solid"/>
                <a:round/>
              </a:ln>
            </p:spPr>
            <p:txBody>
              <a:bodyPr rtlCol="0" anchor="ctr"/>
              <a:lstStyle/>
              <a:p>
                <a:endParaRPr lang="en-GB"/>
              </a:p>
            </p:txBody>
          </p:sp>
          <p:sp>
            <p:nvSpPr>
              <p:cNvPr id="5691" name="Vrije vorm: vorm 5690">
                <a:extLst>
                  <a:ext uri="{FF2B5EF4-FFF2-40B4-BE49-F238E27FC236}">
                    <a16:creationId xmlns:a16="http://schemas.microsoft.com/office/drawing/2014/main" id="{AF91942F-F49A-4435-B0DC-E2CB934150BD}"/>
                  </a:ext>
                </a:extLst>
              </p:cNvPr>
              <p:cNvSpPr/>
              <p:nvPr/>
            </p:nvSpPr>
            <p:spPr>
              <a:xfrm>
                <a:off x="6496399" y="1585589"/>
                <a:ext cx="3289" cy="5621"/>
              </a:xfrm>
              <a:custGeom>
                <a:avLst/>
                <a:gdLst>
                  <a:gd name="connsiteX0" fmla="*/ 3289 w 3289"/>
                  <a:gd name="connsiteY0" fmla="*/ 0 h 5621"/>
                  <a:gd name="connsiteX1" fmla="*/ 2751 w 3289"/>
                  <a:gd name="connsiteY1" fmla="*/ 897 h 5621"/>
                  <a:gd name="connsiteX2" fmla="*/ 1615 w 3289"/>
                  <a:gd name="connsiteY2" fmla="*/ 2871 h 5621"/>
                  <a:gd name="connsiteX3" fmla="*/ 0 w 3289"/>
                  <a:gd name="connsiteY3" fmla="*/ 5622 h 5621"/>
                </a:gdLst>
                <a:ahLst/>
                <a:cxnLst>
                  <a:cxn ang="0">
                    <a:pos x="connsiteX0" y="connsiteY0"/>
                  </a:cxn>
                  <a:cxn ang="0">
                    <a:pos x="connsiteX1" y="connsiteY1"/>
                  </a:cxn>
                  <a:cxn ang="0">
                    <a:pos x="connsiteX2" y="connsiteY2"/>
                  </a:cxn>
                  <a:cxn ang="0">
                    <a:pos x="connsiteX3" y="connsiteY3"/>
                  </a:cxn>
                </a:cxnLst>
                <a:rect l="l" t="t" r="r" b="b"/>
                <a:pathLst>
                  <a:path w="3289" h="5621">
                    <a:moveTo>
                      <a:pt x="3289" y="0"/>
                    </a:moveTo>
                    <a:lnTo>
                      <a:pt x="2751" y="897"/>
                    </a:lnTo>
                    <a:lnTo>
                      <a:pt x="1615" y="2871"/>
                    </a:lnTo>
                    <a:lnTo>
                      <a:pt x="0" y="5622"/>
                    </a:lnTo>
                  </a:path>
                </a:pathLst>
              </a:custGeom>
              <a:noFill/>
              <a:ln w="6350" cap="rnd">
                <a:solidFill>
                  <a:schemeClr val="bg1">
                    <a:alpha val="80000"/>
                  </a:schemeClr>
                </a:solidFill>
                <a:prstDash val="solid"/>
                <a:round/>
              </a:ln>
            </p:spPr>
            <p:txBody>
              <a:bodyPr rtlCol="0" anchor="ctr"/>
              <a:lstStyle/>
              <a:p>
                <a:endParaRPr lang="en-GB"/>
              </a:p>
            </p:txBody>
          </p:sp>
          <p:sp>
            <p:nvSpPr>
              <p:cNvPr id="5692" name="Vrije vorm: vorm 5691">
                <a:extLst>
                  <a:ext uri="{FF2B5EF4-FFF2-40B4-BE49-F238E27FC236}">
                    <a16:creationId xmlns:a16="http://schemas.microsoft.com/office/drawing/2014/main" id="{79C7DF60-B8F0-4077-AC14-E3B8CE3CDF1B}"/>
                  </a:ext>
                </a:extLst>
              </p:cNvPr>
              <p:cNvSpPr/>
              <p:nvPr/>
            </p:nvSpPr>
            <p:spPr>
              <a:xfrm>
                <a:off x="6541494" y="1550841"/>
                <a:ext cx="11363" cy="8014"/>
              </a:xfrm>
              <a:custGeom>
                <a:avLst/>
                <a:gdLst>
                  <a:gd name="connsiteX0" fmla="*/ 0 w 11363"/>
                  <a:gd name="connsiteY0" fmla="*/ 0 h 8014"/>
                  <a:gd name="connsiteX1" fmla="*/ 2930 w 11363"/>
                  <a:gd name="connsiteY1" fmla="*/ 598 h 8014"/>
                  <a:gd name="connsiteX2" fmla="*/ 3588 w 11363"/>
                  <a:gd name="connsiteY2" fmla="*/ 718 h 8014"/>
                  <a:gd name="connsiteX3" fmla="*/ 6160 w 11363"/>
                  <a:gd name="connsiteY3" fmla="*/ 2213 h 8014"/>
                  <a:gd name="connsiteX4" fmla="*/ 7596 w 11363"/>
                  <a:gd name="connsiteY4" fmla="*/ 3050 h 8014"/>
                  <a:gd name="connsiteX5" fmla="*/ 8971 w 11363"/>
                  <a:gd name="connsiteY5" fmla="*/ 4665 h 8014"/>
                  <a:gd name="connsiteX6" fmla="*/ 9689 w 11363"/>
                  <a:gd name="connsiteY6" fmla="*/ 5442 h 8014"/>
                  <a:gd name="connsiteX7" fmla="*/ 10765 w 11363"/>
                  <a:gd name="connsiteY7" fmla="*/ 6698 h 8014"/>
                  <a:gd name="connsiteX8" fmla="*/ 11364 w 11363"/>
                  <a:gd name="connsiteY8" fmla="*/ 8014 h 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63" h="8014">
                    <a:moveTo>
                      <a:pt x="0" y="0"/>
                    </a:moveTo>
                    <a:lnTo>
                      <a:pt x="2930" y="598"/>
                    </a:lnTo>
                    <a:lnTo>
                      <a:pt x="3588" y="718"/>
                    </a:lnTo>
                    <a:lnTo>
                      <a:pt x="6160" y="2213"/>
                    </a:lnTo>
                    <a:lnTo>
                      <a:pt x="7596" y="3050"/>
                    </a:lnTo>
                    <a:lnTo>
                      <a:pt x="8971" y="4665"/>
                    </a:lnTo>
                    <a:lnTo>
                      <a:pt x="9689" y="5442"/>
                    </a:lnTo>
                    <a:lnTo>
                      <a:pt x="10765" y="6698"/>
                    </a:lnTo>
                    <a:lnTo>
                      <a:pt x="11364" y="8014"/>
                    </a:lnTo>
                  </a:path>
                </a:pathLst>
              </a:custGeom>
              <a:noFill/>
              <a:ln w="6350" cap="rnd">
                <a:solidFill>
                  <a:schemeClr val="bg1">
                    <a:alpha val="80000"/>
                  </a:schemeClr>
                </a:solidFill>
                <a:prstDash val="solid"/>
                <a:round/>
              </a:ln>
            </p:spPr>
            <p:txBody>
              <a:bodyPr rtlCol="0" anchor="ctr"/>
              <a:lstStyle/>
              <a:p>
                <a:endParaRPr lang="en-GB"/>
              </a:p>
            </p:txBody>
          </p:sp>
          <p:sp>
            <p:nvSpPr>
              <p:cNvPr id="5693" name="Vrije vorm: vorm 5692">
                <a:extLst>
                  <a:ext uri="{FF2B5EF4-FFF2-40B4-BE49-F238E27FC236}">
                    <a16:creationId xmlns:a16="http://schemas.microsoft.com/office/drawing/2014/main" id="{BF2AB7F1-8F76-4354-A838-41D3BFDD5770}"/>
                  </a:ext>
                </a:extLst>
              </p:cNvPr>
              <p:cNvSpPr/>
              <p:nvPr/>
            </p:nvSpPr>
            <p:spPr>
              <a:xfrm>
                <a:off x="6526064" y="1593364"/>
                <a:ext cx="17643" cy="3588"/>
              </a:xfrm>
              <a:custGeom>
                <a:avLst/>
                <a:gdLst>
                  <a:gd name="connsiteX0" fmla="*/ 17643 w 17643"/>
                  <a:gd name="connsiteY0" fmla="*/ 0 h 3588"/>
                  <a:gd name="connsiteX1" fmla="*/ 17404 w 17643"/>
                  <a:gd name="connsiteY1" fmla="*/ 179 h 3588"/>
                  <a:gd name="connsiteX2" fmla="*/ 15012 w 17643"/>
                  <a:gd name="connsiteY2" fmla="*/ 1435 h 3588"/>
                  <a:gd name="connsiteX3" fmla="*/ 13875 w 17643"/>
                  <a:gd name="connsiteY3" fmla="*/ 2033 h 3588"/>
                  <a:gd name="connsiteX4" fmla="*/ 13457 w 17643"/>
                  <a:gd name="connsiteY4" fmla="*/ 2273 h 3588"/>
                  <a:gd name="connsiteX5" fmla="*/ 12799 w 17643"/>
                  <a:gd name="connsiteY5" fmla="*/ 2632 h 3588"/>
                  <a:gd name="connsiteX6" fmla="*/ 11065 w 17643"/>
                  <a:gd name="connsiteY6" fmla="*/ 2990 h 3588"/>
                  <a:gd name="connsiteX7" fmla="*/ 8074 w 17643"/>
                  <a:gd name="connsiteY7" fmla="*/ 3588 h 3588"/>
                  <a:gd name="connsiteX8" fmla="*/ 6878 w 17643"/>
                  <a:gd name="connsiteY8" fmla="*/ 3409 h 3588"/>
                  <a:gd name="connsiteX9" fmla="*/ 3888 w 17643"/>
                  <a:gd name="connsiteY9" fmla="*/ 3050 h 3588"/>
                  <a:gd name="connsiteX10" fmla="*/ 3469 w 17643"/>
                  <a:gd name="connsiteY10" fmla="*/ 2990 h 3588"/>
                  <a:gd name="connsiteX11" fmla="*/ 1795 w 17643"/>
                  <a:gd name="connsiteY11" fmla="*/ 2452 h 3588"/>
                  <a:gd name="connsiteX12" fmla="*/ 0 w 17643"/>
                  <a:gd name="connsiteY12" fmla="*/ 1914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643" h="3588">
                    <a:moveTo>
                      <a:pt x="17643" y="0"/>
                    </a:moveTo>
                    <a:lnTo>
                      <a:pt x="17404" y="179"/>
                    </a:lnTo>
                    <a:lnTo>
                      <a:pt x="15012" y="1435"/>
                    </a:lnTo>
                    <a:lnTo>
                      <a:pt x="13875" y="2033"/>
                    </a:lnTo>
                    <a:lnTo>
                      <a:pt x="13457" y="2273"/>
                    </a:lnTo>
                    <a:lnTo>
                      <a:pt x="12799" y="2632"/>
                    </a:lnTo>
                    <a:lnTo>
                      <a:pt x="11065" y="2990"/>
                    </a:lnTo>
                    <a:lnTo>
                      <a:pt x="8074" y="3588"/>
                    </a:lnTo>
                    <a:lnTo>
                      <a:pt x="6878" y="3409"/>
                    </a:lnTo>
                    <a:lnTo>
                      <a:pt x="3888" y="3050"/>
                    </a:lnTo>
                    <a:lnTo>
                      <a:pt x="3469" y="2990"/>
                    </a:lnTo>
                    <a:lnTo>
                      <a:pt x="1795" y="2452"/>
                    </a:lnTo>
                    <a:lnTo>
                      <a:pt x="0" y="1914"/>
                    </a:lnTo>
                  </a:path>
                </a:pathLst>
              </a:custGeom>
              <a:noFill/>
              <a:ln w="6350" cap="rnd">
                <a:solidFill>
                  <a:schemeClr val="bg1">
                    <a:alpha val="80000"/>
                  </a:schemeClr>
                </a:solidFill>
                <a:prstDash val="solid"/>
                <a:round/>
              </a:ln>
            </p:spPr>
            <p:txBody>
              <a:bodyPr rtlCol="0" anchor="ctr"/>
              <a:lstStyle/>
              <a:p>
                <a:endParaRPr lang="en-GB"/>
              </a:p>
            </p:txBody>
          </p:sp>
          <p:sp>
            <p:nvSpPr>
              <p:cNvPr id="5694" name="Vrije vorm: vorm 5693">
                <a:extLst>
                  <a:ext uri="{FF2B5EF4-FFF2-40B4-BE49-F238E27FC236}">
                    <a16:creationId xmlns:a16="http://schemas.microsoft.com/office/drawing/2014/main" id="{E5BC3F5E-ED81-450D-91C7-248D2443B687}"/>
                  </a:ext>
                </a:extLst>
              </p:cNvPr>
              <p:cNvSpPr/>
              <p:nvPr/>
            </p:nvSpPr>
            <p:spPr>
              <a:xfrm>
                <a:off x="6633477" y="1584034"/>
                <a:ext cx="19856" cy="35047"/>
              </a:xfrm>
              <a:custGeom>
                <a:avLst/>
                <a:gdLst>
                  <a:gd name="connsiteX0" fmla="*/ 6639 w 19856"/>
                  <a:gd name="connsiteY0" fmla="*/ 35047 h 35047"/>
                  <a:gd name="connsiteX1" fmla="*/ 5502 w 19856"/>
                  <a:gd name="connsiteY1" fmla="*/ 34389 h 35047"/>
                  <a:gd name="connsiteX2" fmla="*/ 4904 w 19856"/>
                  <a:gd name="connsiteY2" fmla="*/ 34030 h 35047"/>
                  <a:gd name="connsiteX3" fmla="*/ 3888 w 19856"/>
                  <a:gd name="connsiteY3" fmla="*/ 33492 h 35047"/>
                  <a:gd name="connsiteX4" fmla="*/ 3708 w 19856"/>
                  <a:gd name="connsiteY4" fmla="*/ 33253 h 35047"/>
                  <a:gd name="connsiteX5" fmla="*/ 3529 w 19856"/>
                  <a:gd name="connsiteY5" fmla="*/ 33014 h 35047"/>
                  <a:gd name="connsiteX6" fmla="*/ 2990 w 19856"/>
                  <a:gd name="connsiteY6" fmla="*/ 32356 h 35047"/>
                  <a:gd name="connsiteX7" fmla="*/ 2333 w 19856"/>
                  <a:gd name="connsiteY7" fmla="*/ 31518 h 35047"/>
                  <a:gd name="connsiteX8" fmla="*/ 1794 w 19856"/>
                  <a:gd name="connsiteY8" fmla="*/ 30860 h 35047"/>
                  <a:gd name="connsiteX9" fmla="*/ 1734 w 19856"/>
                  <a:gd name="connsiteY9" fmla="*/ 30741 h 35047"/>
                  <a:gd name="connsiteX10" fmla="*/ 658 w 19856"/>
                  <a:gd name="connsiteY10" fmla="*/ 27870 h 35047"/>
                  <a:gd name="connsiteX11" fmla="*/ 479 w 19856"/>
                  <a:gd name="connsiteY11" fmla="*/ 27332 h 35047"/>
                  <a:gd name="connsiteX12" fmla="*/ 120 w 19856"/>
                  <a:gd name="connsiteY12" fmla="*/ 24222 h 35047"/>
                  <a:gd name="connsiteX13" fmla="*/ 0 w 19856"/>
                  <a:gd name="connsiteY13" fmla="*/ 23086 h 35047"/>
                  <a:gd name="connsiteX14" fmla="*/ 299 w 19856"/>
                  <a:gd name="connsiteY14" fmla="*/ 19916 h 35047"/>
                  <a:gd name="connsiteX15" fmla="*/ 419 w 19856"/>
                  <a:gd name="connsiteY15" fmla="*/ 18480 h 35047"/>
                  <a:gd name="connsiteX16" fmla="*/ 1316 w 19856"/>
                  <a:gd name="connsiteY16" fmla="*/ 15370 h 35047"/>
                  <a:gd name="connsiteX17" fmla="*/ 1734 w 19856"/>
                  <a:gd name="connsiteY17" fmla="*/ 13815 h 35047"/>
                  <a:gd name="connsiteX18" fmla="*/ 3110 w 19856"/>
                  <a:gd name="connsiteY18" fmla="*/ 10885 h 35047"/>
                  <a:gd name="connsiteX19" fmla="*/ 3828 w 19856"/>
                  <a:gd name="connsiteY19" fmla="*/ 9390 h 35047"/>
                  <a:gd name="connsiteX20" fmla="*/ 5742 w 19856"/>
                  <a:gd name="connsiteY20" fmla="*/ 6758 h 35047"/>
                  <a:gd name="connsiteX21" fmla="*/ 6579 w 19856"/>
                  <a:gd name="connsiteY21" fmla="*/ 5562 h 35047"/>
                  <a:gd name="connsiteX22" fmla="*/ 8971 w 19856"/>
                  <a:gd name="connsiteY22" fmla="*/ 3349 h 35047"/>
                  <a:gd name="connsiteX23" fmla="*/ 9808 w 19856"/>
                  <a:gd name="connsiteY23" fmla="*/ 2572 h 35047"/>
                  <a:gd name="connsiteX24" fmla="*/ 11603 w 19856"/>
                  <a:gd name="connsiteY24" fmla="*/ 1555 h 35047"/>
                  <a:gd name="connsiteX25" fmla="*/ 12141 w 19856"/>
                  <a:gd name="connsiteY25" fmla="*/ 1256 h 35047"/>
                  <a:gd name="connsiteX26" fmla="*/ 13218 w 19856"/>
                  <a:gd name="connsiteY26" fmla="*/ 658 h 35047"/>
                  <a:gd name="connsiteX27" fmla="*/ 13277 w 19856"/>
                  <a:gd name="connsiteY27" fmla="*/ 658 h 35047"/>
                  <a:gd name="connsiteX28" fmla="*/ 15072 w 19856"/>
                  <a:gd name="connsiteY28" fmla="*/ 299 h 35047"/>
                  <a:gd name="connsiteX29" fmla="*/ 16088 w 19856"/>
                  <a:gd name="connsiteY29" fmla="*/ 120 h 35047"/>
                  <a:gd name="connsiteX30" fmla="*/ 16686 w 19856"/>
                  <a:gd name="connsiteY30" fmla="*/ 0 h 35047"/>
                  <a:gd name="connsiteX31" fmla="*/ 19676 w 19856"/>
                  <a:gd name="connsiteY31" fmla="*/ 478 h 35047"/>
                  <a:gd name="connsiteX32" fmla="*/ 19856 w 19856"/>
                  <a:gd name="connsiteY32" fmla="*/ 478 h 3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856" h="35047">
                    <a:moveTo>
                      <a:pt x="6639" y="35047"/>
                    </a:moveTo>
                    <a:lnTo>
                      <a:pt x="5502" y="34389"/>
                    </a:lnTo>
                    <a:lnTo>
                      <a:pt x="4904" y="34030"/>
                    </a:lnTo>
                    <a:lnTo>
                      <a:pt x="3888" y="33492"/>
                    </a:lnTo>
                    <a:lnTo>
                      <a:pt x="3708" y="33253"/>
                    </a:lnTo>
                    <a:lnTo>
                      <a:pt x="3529" y="33014"/>
                    </a:lnTo>
                    <a:lnTo>
                      <a:pt x="2990" y="32356"/>
                    </a:lnTo>
                    <a:lnTo>
                      <a:pt x="2333" y="31518"/>
                    </a:lnTo>
                    <a:lnTo>
                      <a:pt x="1794" y="30860"/>
                    </a:lnTo>
                    <a:lnTo>
                      <a:pt x="1734" y="30741"/>
                    </a:lnTo>
                    <a:lnTo>
                      <a:pt x="658" y="27870"/>
                    </a:lnTo>
                    <a:lnTo>
                      <a:pt x="479" y="27332"/>
                    </a:lnTo>
                    <a:lnTo>
                      <a:pt x="120" y="24222"/>
                    </a:lnTo>
                    <a:lnTo>
                      <a:pt x="0" y="23086"/>
                    </a:lnTo>
                    <a:lnTo>
                      <a:pt x="299" y="19916"/>
                    </a:lnTo>
                    <a:lnTo>
                      <a:pt x="419" y="18480"/>
                    </a:lnTo>
                    <a:lnTo>
                      <a:pt x="1316" y="15370"/>
                    </a:lnTo>
                    <a:lnTo>
                      <a:pt x="1734" y="13815"/>
                    </a:lnTo>
                    <a:lnTo>
                      <a:pt x="3110" y="10885"/>
                    </a:lnTo>
                    <a:lnTo>
                      <a:pt x="3828" y="9390"/>
                    </a:lnTo>
                    <a:lnTo>
                      <a:pt x="5742" y="6758"/>
                    </a:lnTo>
                    <a:lnTo>
                      <a:pt x="6579" y="5562"/>
                    </a:lnTo>
                    <a:lnTo>
                      <a:pt x="8971" y="3349"/>
                    </a:lnTo>
                    <a:lnTo>
                      <a:pt x="9808" y="2572"/>
                    </a:lnTo>
                    <a:lnTo>
                      <a:pt x="11603" y="1555"/>
                    </a:lnTo>
                    <a:lnTo>
                      <a:pt x="12141" y="1256"/>
                    </a:lnTo>
                    <a:lnTo>
                      <a:pt x="13218" y="658"/>
                    </a:lnTo>
                    <a:lnTo>
                      <a:pt x="13277" y="658"/>
                    </a:lnTo>
                    <a:lnTo>
                      <a:pt x="15072" y="299"/>
                    </a:lnTo>
                    <a:lnTo>
                      <a:pt x="16088" y="120"/>
                    </a:lnTo>
                    <a:lnTo>
                      <a:pt x="16686" y="0"/>
                    </a:lnTo>
                    <a:lnTo>
                      <a:pt x="19676" y="478"/>
                    </a:lnTo>
                    <a:lnTo>
                      <a:pt x="19856" y="478"/>
                    </a:lnTo>
                  </a:path>
                </a:pathLst>
              </a:custGeom>
              <a:noFill/>
              <a:ln w="6350" cap="rnd">
                <a:solidFill>
                  <a:schemeClr val="bg1">
                    <a:alpha val="80000"/>
                  </a:schemeClr>
                </a:solidFill>
                <a:prstDash val="solid"/>
                <a:round/>
              </a:ln>
            </p:spPr>
            <p:txBody>
              <a:bodyPr rtlCol="0" anchor="ctr"/>
              <a:lstStyle/>
              <a:p>
                <a:endParaRPr lang="en-GB"/>
              </a:p>
            </p:txBody>
          </p:sp>
          <p:sp>
            <p:nvSpPr>
              <p:cNvPr id="5695" name="Vrije vorm: vorm 5694">
                <a:extLst>
                  <a:ext uri="{FF2B5EF4-FFF2-40B4-BE49-F238E27FC236}">
                    <a16:creationId xmlns:a16="http://schemas.microsoft.com/office/drawing/2014/main" id="{594F5A58-1482-4937-87C2-8DD4F956C55D}"/>
                  </a:ext>
                </a:extLst>
              </p:cNvPr>
              <p:cNvSpPr/>
              <p:nvPr/>
            </p:nvSpPr>
            <p:spPr>
              <a:xfrm>
                <a:off x="6648489" y="1583436"/>
                <a:ext cx="11124" cy="12559"/>
              </a:xfrm>
              <a:custGeom>
                <a:avLst/>
                <a:gdLst>
                  <a:gd name="connsiteX0" fmla="*/ 0 w 11124"/>
                  <a:gd name="connsiteY0" fmla="*/ 0 h 12559"/>
                  <a:gd name="connsiteX1" fmla="*/ 299 w 11124"/>
                  <a:gd name="connsiteY1" fmla="*/ 60 h 12559"/>
                  <a:gd name="connsiteX2" fmla="*/ 3229 w 11124"/>
                  <a:gd name="connsiteY2" fmla="*/ 718 h 12559"/>
                  <a:gd name="connsiteX3" fmla="*/ 4785 w 11124"/>
                  <a:gd name="connsiteY3" fmla="*/ 1076 h 12559"/>
                  <a:gd name="connsiteX4" fmla="*/ 7296 w 11124"/>
                  <a:gd name="connsiteY4" fmla="*/ 2691 h 12559"/>
                  <a:gd name="connsiteX5" fmla="*/ 7476 w 11124"/>
                  <a:gd name="connsiteY5" fmla="*/ 2811 h 12559"/>
                  <a:gd name="connsiteX6" fmla="*/ 9270 w 11124"/>
                  <a:gd name="connsiteY6" fmla="*/ 5263 h 12559"/>
                  <a:gd name="connsiteX7" fmla="*/ 9509 w 11124"/>
                  <a:gd name="connsiteY7" fmla="*/ 5562 h 12559"/>
                  <a:gd name="connsiteX8" fmla="*/ 10526 w 11124"/>
                  <a:gd name="connsiteY8" fmla="*/ 8493 h 12559"/>
                  <a:gd name="connsiteX9" fmla="*/ 10765 w 11124"/>
                  <a:gd name="connsiteY9" fmla="*/ 9150 h 12559"/>
                  <a:gd name="connsiteX10" fmla="*/ 10945 w 11124"/>
                  <a:gd name="connsiteY10" fmla="*/ 10945 h 12559"/>
                  <a:gd name="connsiteX11" fmla="*/ 11124 w 11124"/>
                  <a:gd name="connsiteY11" fmla="*/ 1256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124" h="12559">
                    <a:moveTo>
                      <a:pt x="0" y="0"/>
                    </a:moveTo>
                    <a:lnTo>
                      <a:pt x="299" y="60"/>
                    </a:lnTo>
                    <a:lnTo>
                      <a:pt x="3229" y="718"/>
                    </a:lnTo>
                    <a:lnTo>
                      <a:pt x="4785" y="1076"/>
                    </a:lnTo>
                    <a:lnTo>
                      <a:pt x="7296" y="2691"/>
                    </a:lnTo>
                    <a:lnTo>
                      <a:pt x="7476" y="2811"/>
                    </a:lnTo>
                    <a:lnTo>
                      <a:pt x="9270" y="5263"/>
                    </a:lnTo>
                    <a:lnTo>
                      <a:pt x="9509" y="5562"/>
                    </a:lnTo>
                    <a:lnTo>
                      <a:pt x="10526" y="8493"/>
                    </a:lnTo>
                    <a:lnTo>
                      <a:pt x="10765" y="9150"/>
                    </a:lnTo>
                    <a:lnTo>
                      <a:pt x="10945" y="10945"/>
                    </a:lnTo>
                    <a:lnTo>
                      <a:pt x="11124" y="12560"/>
                    </a:lnTo>
                  </a:path>
                </a:pathLst>
              </a:custGeom>
              <a:noFill/>
              <a:ln w="6350" cap="rnd">
                <a:solidFill>
                  <a:schemeClr val="bg1">
                    <a:alpha val="80000"/>
                  </a:schemeClr>
                </a:solidFill>
                <a:prstDash val="solid"/>
                <a:round/>
              </a:ln>
            </p:spPr>
            <p:txBody>
              <a:bodyPr rtlCol="0" anchor="ctr"/>
              <a:lstStyle/>
              <a:p>
                <a:endParaRPr lang="en-GB"/>
              </a:p>
            </p:txBody>
          </p:sp>
          <p:sp>
            <p:nvSpPr>
              <p:cNvPr id="5696" name="Vrije vorm: vorm 5695">
                <a:extLst>
                  <a:ext uri="{FF2B5EF4-FFF2-40B4-BE49-F238E27FC236}">
                    <a16:creationId xmlns:a16="http://schemas.microsoft.com/office/drawing/2014/main" id="{FB32B9C4-CBC2-4ED9-8BEF-66D24A3A031E}"/>
                  </a:ext>
                </a:extLst>
              </p:cNvPr>
              <p:cNvSpPr/>
              <p:nvPr/>
            </p:nvSpPr>
            <p:spPr>
              <a:xfrm>
                <a:off x="6635451" y="1612802"/>
                <a:ext cx="18300" cy="6638"/>
              </a:xfrm>
              <a:custGeom>
                <a:avLst/>
                <a:gdLst>
                  <a:gd name="connsiteX0" fmla="*/ 18301 w 18300"/>
                  <a:gd name="connsiteY0" fmla="*/ 0 h 6638"/>
                  <a:gd name="connsiteX1" fmla="*/ 17583 w 18300"/>
                  <a:gd name="connsiteY1" fmla="*/ 957 h 6638"/>
                  <a:gd name="connsiteX2" fmla="*/ 16626 w 18300"/>
                  <a:gd name="connsiteY2" fmla="*/ 1854 h 6638"/>
                  <a:gd name="connsiteX3" fmla="*/ 14473 w 18300"/>
                  <a:gd name="connsiteY3" fmla="*/ 3887 h 6638"/>
                  <a:gd name="connsiteX4" fmla="*/ 11722 w 18300"/>
                  <a:gd name="connsiteY4" fmla="*/ 5502 h 6638"/>
                  <a:gd name="connsiteX5" fmla="*/ 11124 w 18300"/>
                  <a:gd name="connsiteY5" fmla="*/ 5861 h 6638"/>
                  <a:gd name="connsiteX6" fmla="*/ 8134 w 18300"/>
                  <a:gd name="connsiteY6" fmla="*/ 6579 h 6638"/>
                  <a:gd name="connsiteX7" fmla="*/ 7775 w 18300"/>
                  <a:gd name="connsiteY7" fmla="*/ 6639 h 6638"/>
                  <a:gd name="connsiteX8" fmla="*/ 4785 w 18300"/>
                  <a:gd name="connsiteY8" fmla="*/ 6280 h 6638"/>
                  <a:gd name="connsiteX9" fmla="*/ 4605 w 18300"/>
                  <a:gd name="connsiteY9" fmla="*/ 6280 h 6638"/>
                  <a:gd name="connsiteX10" fmla="*/ 3110 w 18300"/>
                  <a:gd name="connsiteY10" fmla="*/ 5861 h 6638"/>
                  <a:gd name="connsiteX11" fmla="*/ 1136 w 18300"/>
                  <a:gd name="connsiteY11" fmla="*/ 5263 h 6638"/>
                  <a:gd name="connsiteX12" fmla="*/ 897 w 18300"/>
                  <a:gd name="connsiteY12" fmla="*/ 5203 h 6638"/>
                  <a:gd name="connsiteX13" fmla="*/ 359 w 18300"/>
                  <a:gd name="connsiteY13" fmla="*/ 5024 h 6638"/>
                  <a:gd name="connsiteX14" fmla="*/ 0 w 18300"/>
                  <a:gd name="connsiteY14" fmla="*/ 4904 h 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300" h="6638">
                    <a:moveTo>
                      <a:pt x="18301" y="0"/>
                    </a:moveTo>
                    <a:lnTo>
                      <a:pt x="17583" y="957"/>
                    </a:lnTo>
                    <a:lnTo>
                      <a:pt x="16626" y="1854"/>
                    </a:lnTo>
                    <a:lnTo>
                      <a:pt x="14473" y="3887"/>
                    </a:lnTo>
                    <a:lnTo>
                      <a:pt x="11722" y="5502"/>
                    </a:lnTo>
                    <a:lnTo>
                      <a:pt x="11124" y="5861"/>
                    </a:lnTo>
                    <a:lnTo>
                      <a:pt x="8134" y="6579"/>
                    </a:lnTo>
                    <a:lnTo>
                      <a:pt x="7775" y="6639"/>
                    </a:lnTo>
                    <a:lnTo>
                      <a:pt x="4785" y="6280"/>
                    </a:lnTo>
                    <a:lnTo>
                      <a:pt x="4605" y="6280"/>
                    </a:lnTo>
                    <a:lnTo>
                      <a:pt x="3110" y="5861"/>
                    </a:lnTo>
                    <a:lnTo>
                      <a:pt x="1136" y="5263"/>
                    </a:lnTo>
                    <a:lnTo>
                      <a:pt x="897" y="5203"/>
                    </a:lnTo>
                    <a:lnTo>
                      <a:pt x="359" y="5024"/>
                    </a:lnTo>
                    <a:lnTo>
                      <a:pt x="0" y="4904"/>
                    </a:lnTo>
                  </a:path>
                </a:pathLst>
              </a:custGeom>
              <a:noFill/>
              <a:ln w="6350" cap="rnd">
                <a:solidFill>
                  <a:schemeClr val="bg1">
                    <a:alpha val="80000"/>
                  </a:schemeClr>
                </a:solidFill>
                <a:prstDash val="solid"/>
                <a:round/>
              </a:ln>
            </p:spPr>
            <p:txBody>
              <a:bodyPr rtlCol="0" anchor="ctr"/>
              <a:lstStyle/>
              <a:p>
                <a:endParaRPr lang="en-GB"/>
              </a:p>
            </p:txBody>
          </p:sp>
          <p:sp>
            <p:nvSpPr>
              <p:cNvPr id="5697" name="Vrije vorm: vorm 5696">
                <a:extLst>
                  <a:ext uri="{FF2B5EF4-FFF2-40B4-BE49-F238E27FC236}">
                    <a16:creationId xmlns:a16="http://schemas.microsoft.com/office/drawing/2014/main" id="{CD6100D1-42D3-4F2B-B0EB-8566155CED47}"/>
                  </a:ext>
                </a:extLst>
              </p:cNvPr>
              <p:cNvSpPr/>
              <p:nvPr/>
            </p:nvSpPr>
            <p:spPr>
              <a:xfrm>
                <a:off x="6657042" y="1595158"/>
                <a:ext cx="5023" cy="1255"/>
              </a:xfrm>
              <a:custGeom>
                <a:avLst/>
                <a:gdLst>
                  <a:gd name="connsiteX0" fmla="*/ 0 w 5023"/>
                  <a:gd name="connsiteY0" fmla="*/ 0 h 1255"/>
                  <a:gd name="connsiteX1" fmla="*/ 299 w 5023"/>
                  <a:gd name="connsiteY1" fmla="*/ 179 h 1255"/>
                  <a:gd name="connsiteX2" fmla="*/ 658 w 5023"/>
                  <a:gd name="connsiteY2" fmla="*/ 299 h 1255"/>
                  <a:gd name="connsiteX3" fmla="*/ 718 w 5023"/>
                  <a:gd name="connsiteY3" fmla="*/ 299 h 1255"/>
                  <a:gd name="connsiteX4" fmla="*/ 778 w 5023"/>
                  <a:gd name="connsiteY4" fmla="*/ 299 h 1255"/>
                  <a:gd name="connsiteX5" fmla="*/ 1076 w 5023"/>
                  <a:gd name="connsiteY5" fmla="*/ 359 h 1255"/>
                  <a:gd name="connsiteX6" fmla="*/ 2153 w 5023"/>
                  <a:gd name="connsiteY6" fmla="*/ 598 h 1255"/>
                  <a:gd name="connsiteX7" fmla="*/ 2452 w 5023"/>
                  <a:gd name="connsiteY7" fmla="*/ 658 h 1255"/>
                  <a:gd name="connsiteX8" fmla="*/ 5024 w 5023"/>
                  <a:gd name="connsiteY8" fmla="*/ 1256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3" h="1255">
                    <a:moveTo>
                      <a:pt x="0" y="0"/>
                    </a:moveTo>
                    <a:lnTo>
                      <a:pt x="299" y="179"/>
                    </a:lnTo>
                    <a:lnTo>
                      <a:pt x="658" y="299"/>
                    </a:lnTo>
                    <a:lnTo>
                      <a:pt x="718" y="299"/>
                    </a:lnTo>
                    <a:lnTo>
                      <a:pt x="778" y="299"/>
                    </a:lnTo>
                    <a:lnTo>
                      <a:pt x="1076" y="359"/>
                    </a:lnTo>
                    <a:lnTo>
                      <a:pt x="2153" y="598"/>
                    </a:lnTo>
                    <a:lnTo>
                      <a:pt x="2452" y="658"/>
                    </a:lnTo>
                    <a:lnTo>
                      <a:pt x="5024" y="1256"/>
                    </a:lnTo>
                  </a:path>
                </a:pathLst>
              </a:custGeom>
              <a:noFill/>
              <a:ln w="6350" cap="rnd">
                <a:solidFill>
                  <a:schemeClr val="bg1">
                    <a:alpha val="80000"/>
                  </a:schemeClr>
                </a:solidFill>
                <a:prstDash val="solid"/>
                <a:round/>
              </a:ln>
            </p:spPr>
            <p:txBody>
              <a:bodyPr rtlCol="0" anchor="ctr"/>
              <a:lstStyle/>
              <a:p>
                <a:endParaRPr lang="en-GB"/>
              </a:p>
            </p:txBody>
          </p:sp>
          <p:sp>
            <p:nvSpPr>
              <p:cNvPr id="5698" name="Vrije vorm: vorm 5697">
                <a:extLst>
                  <a:ext uri="{FF2B5EF4-FFF2-40B4-BE49-F238E27FC236}">
                    <a16:creationId xmlns:a16="http://schemas.microsoft.com/office/drawing/2014/main" id="{E40C7166-39DD-4083-8DAF-0F4CA407D220}"/>
                  </a:ext>
                </a:extLst>
              </p:cNvPr>
              <p:cNvSpPr/>
              <p:nvPr/>
            </p:nvSpPr>
            <p:spPr>
              <a:xfrm>
                <a:off x="6657580" y="1595278"/>
                <a:ext cx="179" cy="239"/>
              </a:xfrm>
              <a:custGeom>
                <a:avLst/>
                <a:gdLst>
                  <a:gd name="connsiteX0" fmla="*/ 0 w 179"/>
                  <a:gd name="connsiteY0" fmla="*/ 0 h 239"/>
                  <a:gd name="connsiteX1" fmla="*/ 180 w 179"/>
                  <a:gd name="connsiteY1" fmla="*/ 239 h 239"/>
                </a:gdLst>
                <a:ahLst/>
                <a:cxnLst>
                  <a:cxn ang="0">
                    <a:pos x="connsiteX0" y="connsiteY0"/>
                  </a:cxn>
                  <a:cxn ang="0">
                    <a:pos x="connsiteX1" y="connsiteY1"/>
                  </a:cxn>
                </a:cxnLst>
                <a:rect l="l" t="t" r="r" b="b"/>
                <a:pathLst>
                  <a:path w="179" h="239">
                    <a:moveTo>
                      <a:pt x="0" y="0"/>
                    </a:moveTo>
                    <a:lnTo>
                      <a:pt x="180" y="239"/>
                    </a:lnTo>
                  </a:path>
                </a:pathLst>
              </a:custGeom>
              <a:noFill/>
              <a:ln w="6350" cap="rnd">
                <a:solidFill>
                  <a:schemeClr val="bg1">
                    <a:alpha val="80000"/>
                  </a:schemeClr>
                </a:solidFill>
                <a:prstDash val="solid"/>
                <a:round/>
              </a:ln>
            </p:spPr>
            <p:txBody>
              <a:bodyPr rtlCol="0" anchor="ctr"/>
              <a:lstStyle/>
              <a:p>
                <a:endParaRPr lang="en-GB"/>
              </a:p>
            </p:txBody>
          </p:sp>
          <p:sp>
            <p:nvSpPr>
              <p:cNvPr id="5699" name="Vrije vorm: vorm 5698">
                <a:extLst>
                  <a:ext uri="{FF2B5EF4-FFF2-40B4-BE49-F238E27FC236}">
                    <a16:creationId xmlns:a16="http://schemas.microsoft.com/office/drawing/2014/main" id="{74869491-B199-437A-828D-4F1ED8C64873}"/>
                  </a:ext>
                </a:extLst>
              </p:cNvPr>
              <p:cNvSpPr/>
              <p:nvPr/>
            </p:nvSpPr>
            <p:spPr>
              <a:xfrm>
                <a:off x="6518707" y="1550722"/>
                <a:ext cx="26374" cy="45453"/>
              </a:xfrm>
              <a:custGeom>
                <a:avLst/>
                <a:gdLst>
                  <a:gd name="connsiteX0" fmla="*/ 26375 w 26374"/>
                  <a:gd name="connsiteY0" fmla="*/ 837 h 45453"/>
                  <a:gd name="connsiteX1" fmla="*/ 23444 w 26374"/>
                  <a:gd name="connsiteY1" fmla="*/ 299 h 45453"/>
                  <a:gd name="connsiteX2" fmla="*/ 22906 w 26374"/>
                  <a:gd name="connsiteY2" fmla="*/ 179 h 45453"/>
                  <a:gd name="connsiteX3" fmla="*/ 21770 w 26374"/>
                  <a:gd name="connsiteY3" fmla="*/ 0 h 45453"/>
                  <a:gd name="connsiteX4" fmla="*/ 18720 w 26374"/>
                  <a:gd name="connsiteY4" fmla="*/ 478 h 45453"/>
                  <a:gd name="connsiteX5" fmla="*/ 16926 w 26374"/>
                  <a:gd name="connsiteY5" fmla="*/ 778 h 45453"/>
                  <a:gd name="connsiteX6" fmla="*/ 16866 w 26374"/>
                  <a:gd name="connsiteY6" fmla="*/ 837 h 45453"/>
                  <a:gd name="connsiteX7" fmla="*/ 16866 w 26374"/>
                  <a:gd name="connsiteY7" fmla="*/ 837 h 45453"/>
                  <a:gd name="connsiteX8" fmla="*/ 13995 w 26374"/>
                  <a:gd name="connsiteY8" fmla="*/ 2213 h 45453"/>
                  <a:gd name="connsiteX9" fmla="*/ 12141 w 26374"/>
                  <a:gd name="connsiteY9" fmla="*/ 3110 h 45453"/>
                  <a:gd name="connsiteX10" fmla="*/ 9689 w 26374"/>
                  <a:gd name="connsiteY10" fmla="*/ 5203 h 45453"/>
                  <a:gd name="connsiteX11" fmla="*/ 7775 w 26374"/>
                  <a:gd name="connsiteY11" fmla="*/ 6878 h 45453"/>
                  <a:gd name="connsiteX12" fmla="*/ 5861 w 26374"/>
                  <a:gd name="connsiteY12" fmla="*/ 9509 h 45453"/>
                  <a:gd name="connsiteX13" fmla="*/ 4187 w 26374"/>
                  <a:gd name="connsiteY13" fmla="*/ 11782 h 45453"/>
                  <a:gd name="connsiteX14" fmla="*/ 3529 w 26374"/>
                  <a:gd name="connsiteY14" fmla="*/ 13217 h 45453"/>
                  <a:gd name="connsiteX15" fmla="*/ 3529 w 26374"/>
                  <a:gd name="connsiteY15" fmla="*/ 13217 h 45453"/>
                  <a:gd name="connsiteX16" fmla="*/ 2213 w 26374"/>
                  <a:gd name="connsiteY16" fmla="*/ 16088 h 45453"/>
                  <a:gd name="connsiteX17" fmla="*/ 1555 w 26374"/>
                  <a:gd name="connsiteY17" fmla="*/ 17464 h 45453"/>
                  <a:gd name="connsiteX18" fmla="*/ 837 w 26374"/>
                  <a:gd name="connsiteY18" fmla="*/ 20633 h 45453"/>
                  <a:gd name="connsiteX19" fmla="*/ 120 w 26374"/>
                  <a:gd name="connsiteY19" fmla="*/ 23564 h 45453"/>
                  <a:gd name="connsiteX20" fmla="*/ 60 w 26374"/>
                  <a:gd name="connsiteY20" fmla="*/ 26734 h 45453"/>
                  <a:gd name="connsiteX21" fmla="*/ 0 w 26374"/>
                  <a:gd name="connsiteY21" fmla="*/ 29605 h 45453"/>
                  <a:gd name="connsiteX22" fmla="*/ 598 w 26374"/>
                  <a:gd name="connsiteY22" fmla="*/ 32655 h 45453"/>
                  <a:gd name="connsiteX23" fmla="*/ 897 w 26374"/>
                  <a:gd name="connsiteY23" fmla="*/ 34030 h 45453"/>
                  <a:gd name="connsiteX24" fmla="*/ 897 w 26374"/>
                  <a:gd name="connsiteY24" fmla="*/ 34030 h 45453"/>
                  <a:gd name="connsiteX25" fmla="*/ 1076 w 26374"/>
                  <a:gd name="connsiteY25" fmla="*/ 34927 h 45453"/>
                  <a:gd name="connsiteX26" fmla="*/ 1136 w 26374"/>
                  <a:gd name="connsiteY26" fmla="*/ 35167 h 45453"/>
                  <a:gd name="connsiteX27" fmla="*/ 2512 w 26374"/>
                  <a:gd name="connsiteY27" fmla="*/ 37918 h 45453"/>
                  <a:gd name="connsiteX28" fmla="*/ 3469 w 26374"/>
                  <a:gd name="connsiteY28" fmla="*/ 39891 h 45453"/>
                  <a:gd name="connsiteX29" fmla="*/ 5502 w 26374"/>
                  <a:gd name="connsiteY29" fmla="*/ 42044 h 45453"/>
                  <a:gd name="connsiteX30" fmla="*/ 6758 w 26374"/>
                  <a:gd name="connsiteY30" fmla="*/ 43360 h 45453"/>
                  <a:gd name="connsiteX31" fmla="*/ 9210 w 26374"/>
                  <a:gd name="connsiteY31" fmla="*/ 44616 h 45453"/>
                  <a:gd name="connsiteX32" fmla="*/ 10825 w 26374"/>
                  <a:gd name="connsiteY32" fmla="*/ 45454 h 4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6374" h="45453">
                    <a:moveTo>
                      <a:pt x="26375" y="837"/>
                    </a:moveTo>
                    <a:lnTo>
                      <a:pt x="23444" y="299"/>
                    </a:lnTo>
                    <a:lnTo>
                      <a:pt x="22906" y="179"/>
                    </a:lnTo>
                    <a:lnTo>
                      <a:pt x="21770" y="0"/>
                    </a:lnTo>
                    <a:lnTo>
                      <a:pt x="18720" y="478"/>
                    </a:lnTo>
                    <a:lnTo>
                      <a:pt x="16926" y="778"/>
                    </a:lnTo>
                    <a:lnTo>
                      <a:pt x="16866" y="837"/>
                    </a:lnTo>
                    <a:lnTo>
                      <a:pt x="16866" y="837"/>
                    </a:lnTo>
                    <a:lnTo>
                      <a:pt x="13995" y="2213"/>
                    </a:lnTo>
                    <a:lnTo>
                      <a:pt x="12141" y="3110"/>
                    </a:lnTo>
                    <a:lnTo>
                      <a:pt x="9689" y="5203"/>
                    </a:lnTo>
                    <a:lnTo>
                      <a:pt x="7775" y="6878"/>
                    </a:lnTo>
                    <a:lnTo>
                      <a:pt x="5861" y="9509"/>
                    </a:lnTo>
                    <a:lnTo>
                      <a:pt x="4187" y="11782"/>
                    </a:lnTo>
                    <a:lnTo>
                      <a:pt x="3529" y="13217"/>
                    </a:lnTo>
                    <a:lnTo>
                      <a:pt x="3529" y="13217"/>
                    </a:lnTo>
                    <a:lnTo>
                      <a:pt x="2213" y="16088"/>
                    </a:lnTo>
                    <a:lnTo>
                      <a:pt x="1555" y="17464"/>
                    </a:lnTo>
                    <a:lnTo>
                      <a:pt x="837" y="20633"/>
                    </a:lnTo>
                    <a:lnTo>
                      <a:pt x="120" y="23564"/>
                    </a:lnTo>
                    <a:lnTo>
                      <a:pt x="60" y="26734"/>
                    </a:lnTo>
                    <a:lnTo>
                      <a:pt x="0" y="29605"/>
                    </a:lnTo>
                    <a:lnTo>
                      <a:pt x="598" y="32655"/>
                    </a:lnTo>
                    <a:lnTo>
                      <a:pt x="897" y="34030"/>
                    </a:lnTo>
                    <a:lnTo>
                      <a:pt x="897" y="34030"/>
                    </a:lnTo>
                    <a:lnTo>
                      <a:pt x="1076" y="34927"/>
                    </a:lnTo>
                    <a:lnTo>
                      <a:pt x="1136" y="35167"/>
                    </a:lnTo>
                    <a:lnTo>
                      <a:pt x="2512" y="37918"/>
                    </a:lnTo>
                    <a:lnTo>
                      <a:pt x="3469" y="39891"/>
                    </a:lnTo>
                    <a:lnTo>
                      <a:pt x="5502" y="42044"/>
                    </a:lnTo>
                    <a:lnTo>
                      <a:pt x="6758" y="43360"/>
                    </a:lnTo>
                    <a:lnTo>
                      <a:pt x="9210" y="44616"/>
                    </a:lnTo>
                    <a:lnTo>
                      <a:pt x="10825" y="45454"/>
                    </a:lnTo>
                  </a:path>
                </a:pathLst>
              </a:custGeom>
              <a:noFill/>
              <a:ln w="6350" cap="rnd">
                <a:solidFill>
                  <a:schemeClr val="bg1">
                    <a:alpha val="80000"/>
                  </a:schemeClr>
                </a:solidFill>
                <a:prstDash val="solid"/>
                <a:round/>
              </a:ln>
            </p:spPr>
            <p:txBody>
              <a:bodyPr rtlCol="0" anchor="ctr"/>
              <a:lstStyle/>
              <a:p>
                <a:endParaRPr lang="en-GB"/>
              </a:p>
            </p:txBody>
          </p:sp>
          <p:sp>
            <p:nvSpPr>
              <p:cNvPr id="5700" name="Vrije vorm: vorm 5699">
                <a:extLst>
                  <a:ext uri="{FF2B5EF4-FFF2-40B4-BE49-F238E27FC236}">
                    <a16:creationId xmlns:a16="http://schemas.microsoft.com/office/drawing/2014/main" id="{093382C7-B3E3-4591-B3B0-9D68EC6AE4C4}"/>
                  </a:ext>
                </a:extLst>
              </p:cNvPr>
              <p:cNvSpPr/>
              <p:nvPr/>
            </p:nvSpPr>
            <p:spPr>
              <a:xfrm>
                <a:off x="6515238" y="1549944"/>
                <a:ext cx="26135" cy="45274"/>
              </a:xfrm>
              <a:custGeom>
                <a:avLst/>
                <a:gdLst>
                  <a:gd name="connsiteX0" fmla="*/ 10825 w 26135"/>
                  <a:gd name="connsiteY0" fmla="*/ 45274 h 45274"/>
                  <a:gd name="connsiteX1" fmla="*/ 8194 w 26135"/>
                  <a:gd name="connsiteY1" fmla="*/ 43899 h 45274"/>
                  <a:gd name="connsiteX2" fmla="*/ 6758 w 26135"/>
                  <a:gd name="connsiteY2" fmla="*/ 43181 h 45274"/>
                  <a:gd name="connsiteX3" fmla="*/ 4725 w 26135"/>
                  <a:gd name="connsiteY3" fmla="*/ 41028 h 45274"/>
                  <a:gd name="connsiteX4" fmla="*/ 3469 w 26135"/>
                  <a:gd name="connsiteY4" fmla="*/ 39712 h 45274"/>
                  <a:gd name="connsiteX5" fmla="*/ 2093 w 26135"/>
                  <a:gd name="connsiteY5" fmla="*/ 36961 h 45274"/>
                  <a:gd name="connsiteX6" fmla="*/ 1136 w 26135"/>
                  <a:gd name="connsiteY6" fmla="*/ 35047 h 45274"/>
                  <a:gd name="connsiteX7" fmla="*/ 837 w 26135"/>
                  <a:gd name="connsiteY7" fmla="*/ 33612 h 45274"/>
                  <a:gd name="connsiteX8" fmla="*/ 479 w 26135"/>
                  <a:gd name="connsiteY8" fmla="*/ 31997 h 45274"/>
                  <a:gd name="connsiteX9" fmla="*/ 479 w 26135"/>
                  <a:gd name="connsiteY9" fmla="*/ 31997 h 45274"/>
                  <a:gd name="connsiteX10" fmla="*/ 0 w 26135"/>
                  <a:gd name="connsiteY10" fmla="*/ 29545 h 45274"/>
                  <a:gd name="connsiteX11" fmla="*/ 60 w 26135"/>
                  <a:gd name="connsiteY11" fmla="*/ 26375 h 45274"/>
                  <a:gd name="connsiteX12" fmla="*/ 120 w 26135"/>
                  <a:gd name="connsiteY12" fmla="*/ 23564 h 45274"/>
                  <a:gd name="connsiteX13" fmla="*/ 837 w 26135"/>
                  <a:gd name="connsiteY13" fmla="*/ 20394 h 45274"/>
                  <a:gd name="connsiteX14" fmla="*/ 1495 w 26135"/>
                  <a:gd name="connsiteY14" fmla="*/ 17464 h 45274"/>
                  <a:gd name="connsiteX15" fmla="*/ 1914 w 26135"/>
                  <a:gd name="connsiteY15" fmla="*/ 16507 h 45274"/>
                  <a:gd name="connsiteX16" fmla="*/ 1914 w 26135"/>
                  <a:gd name="connsiteY16" fmla="*/ 16507 h 45274"/>
                  <a:gd name="connsiteX17" fmla="*/ 2153 w 26135"/>
                  <a:gd name="connsiteY17" fmla="*/ 16028 h 45274"/>
                  <a:gd name="connsiteX18" fmla="*/ 2811 w 26135"/>
                  <a:gd name="connsiteY18" fmla="*/ 14593 h 45274"/>
                  <a:gd name="connsiteX19" fmla="*/ 3409 w 26135"/>
                  <a:gd name="connsiteY19" fmla="*/ 13217 h 45274"/>
                  <a:gd name="connsiteX20" fmla="*/ 3768 w 26135"/>
                  <a:gd name="connsiteY20" fmla="*/ 12380 h 45274"/>
                  <a:gd name="connsiteX21" fmla="*/ 4007 w 26135"/>
                  <a:gd name="connsiteY21" fmla="*/ 11902 h 45274"/>
                  <a:gd name="connsiteX22" fmla="*/ 4007 w 26135"/>
                  <a:gd name="connsiteY22" fmla="*/ 11902 h 45274"/>
                  <a:gd name="connsiteX23" fmla="*/ 4067 w 26135"/>
                  <a:gd name="connsiteY23" fmla="*/ 11722 h 45274"/>
                  <a:gd name="connsiteX24" fmla="*/ 4067 w 26135"/>
                  <a:gd name="connsiteY24" fmla="*/ 11722 h 45274"/>
                  <a:gd name="connsiteX25" fmla="*/ 4067 w 26135"/>
                  <a:gd name="connsiteY25" fmla="*/ 11722 h 45274"/>
                  <a:gd name="connsiteX26" fmla="*/ 4964 w 26135"/>
                  <a:gd name="connsiteY26" fmla="*/ 10466 h 45274"/>
                  <a:gd name="connsiteX27" fmla="*/ 6519 w 26135"/>
                  <a:gd name="connsiteY27" fmla="*/ 8313 h 45274"/>
                  <a:gd name="connsiteX28" fmla="*/ 6519 w 26135"/>
                  <a:gd name="connsiteY28" fmla="*/ 8313 h 45274"/>
                  <a:gd name="connsiteX29" fmla="*/ 7596 w 26135"/>
                  <a:gd name="connsiteY29" fmla="*/ 6818 h 45274"/>
                  <a:gd name="connsiteX30" fmla="*/ 9270 w 26135"/>
                  <a:gd name="connsiteY30" fmla="*/ 5383 h 45274"/>
                  <a:gd name="connsiteX31" fmla="*/ 11722 w 26135"/>
                  <a:gd name="connsiteY31" fmla="*/ 3289 h 45274"/>
                  <a:gd name="connsiteX32" fmla="*/ 11961 w 26135"/>
                  <a:gd name="connsiteY32" fmla="*/ 3110 h 45274"/>
                  <a:gd name="connsiteX33" fmla="*/ 12021 w 26135"/>
                  <a:gd name="connsiteY33" fmla="*/ 3050 h 45274"/>
                  <a:gd name="connsiteX34" fmla="*/ 14892 w 26135"/>
                  <a:gd name="connsiteY34" fmla="*/ 1675 h 45274"/>
                  <a:gd name="connsiteX35" fmla="*/ 16746 w 26135"/>
                  <a:gd name="connsiteY35" fmla="*/ 778 h 45274"/>
                  <a:gd name="connsiteX36" fmla="*/ 18899 w 26135"/>
                  <a:gd name="connsiteY36" fmla="*/ 419 h 45274"/>
                  <a:gd name="connsiteX37" fmla="*/ 18899 w 26135"/>
                  <a:gd name="connsiteY37" fmla="*/ 419 h 45274"/>
                  <a:gd name="connsiteX38" fmla="*/ 21591 w 26135"/>
                  <a:gd name="connsiteY38" fmla="*/ 0 h 45274"/>
                  <a:gd name="connsiteX39" fmla="*/ 24521 w 26135"/>
                  <a:gd name="connsiteY39" fmla="*/ 538 h 45274"/>
                  <a:gd name="connsiteX40" fmla="*/ 26136 w 26135"/>
                  <a:gd name="connsiteY40" fmla="*/ 837 h 4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6135" h="45274">
                    <a:moveTo>
                      <a:pt x="10825" y="45274"/>
                    </a:moveTo>
                    <a:lnTo>
                      <a:pt x="8194" y="43899"/>
                    </a:lnTo>
                    <a:lnTo>
                      <a:pt x="6758" y="43181"/>
                    </a:lnTo>
                    <a:lnTo>
                      <a:pt x="4725" y="41028"/>
                    </a:lnTo>
                    <a:lnTo>
                      <a:pt x="3469" y="39712"/>
                    </a:lnTo>
                    <a:lnTo>
                      <a:pt x="2093" y="36961"/>
                    </a:lnTo>
                    <a:lnTo>
                      <a:pt x="1136" y="35047"/>
                    </a:lnTo>
                    <a:lnTo>
                      <a:pt x="837" y="33612"/>
                    </a:lnTo>
                    <a:lnTo>
                      <a:pt x="479" y="31997"/>
                    </a:lnTo>
                    <a:lnTo>
                      <a:pt x="479" y="31997"/>
                    </a:lnTo>
                    <a:lnTo>
                      <a:pt x="0" y="29545"/>
                    </a:lnTo>
                    <a:lnTo>
                      <a:pt x="60" y="26375"/>
                    </a:lnTo>
                    <a:lnTo>
                      <a:pt x="120" y="23564"/>
                    </a:lnTo>
                    <a:lnTo>
                      <a:pt x="837" y="20394"/>
                    </a:lnTo>
                    <a:lnTo>
                      <a:pt x="1495" y="17464"/>
                    </a:lnTo>
                    <a:lnTo>
                      <a:pt x="1914" y="16507"/>
                    </a:lnTo>
                    <a:lnTo>
                      <a:pt x="1914" y="16507"/>
                    </a:lnTo>
                    <a:lnTo>
                      <a:pt x="2153" y="16028"/>
                    </a:lnTo>
                    <a:lnTo>
                      <a:pt x="2811" y="14593"/>
                    </a:lnTo>
                    <a:lnTo>
                      <a:pt x="3409" y="13217"/>
                    </a:lnTo>
                    <a:lnTo>
                      <a:pt x="3768" y="12380"/>
                    </a:lnTo>
                    <a:lnTo>
                      <a:pt x="4007" y="11902"/>
                    </a:lnTo>
                    <a:lnTo>
                      <a:pt x="4007" y="11902"/>
                    </a:lnTo>
                    <a:lnTo>
                      <a:pt x="4067" y="11722"/>
                    </a:lnTo>
                    <a:lnTo>
                      <a:pt x="4067" y="11722"/>
                    </a:lnTo>
                    <a:lnTo>
                      <a:pt x="4067" y="11722"/>
                    </a:lnTo>
                    <a:lnTo>
                      <a:pt x="4964" y="10466"/>
                    </a:lnTo>
                    <a:lnTo>
                      <a:pt x="6519" y="8313"/>
                    </a:lnTo>
                    <a:lnTo>
                      <a:pt x="6519" y="8313"/>
                    </a:lnTo>
                    <a:lnTo>
                      <a:pt x="7596" y="6818"/>
                    </a:lnTo>
                    <a:lnTo>
                      <a:pt x="9270" y="5383"/>
                    </a:lnTo>
                    <a:lnTo>
                      <a:pt x="11722" y="3289"/>
                    </a:lnTo>
                    <a:lnTo>
                      <a:pt x="11961" y="3110"/>
                    </a:lnTo>
                    <a:lnTo>
                      <a:pt x="12021" y="3050"/>
                    </a:lnTo>
                    <a:lnTo>
                      <a:pt x="14892" y="1675"/>
                    </a:lnTo>
                    <a:lnTo>
                      <a:pt x="16746" y="778"/>
                    </a:lnTo>
                    <a:lnTo>
                      <a:pt x="18899" y="419"/>
                    </a:lnTo>
                    <a:lnTo>
                      <a:pt x="18899" y="419"/>
                    </a:lnTo>
                    <a:lnTo>
                      <a:pt x="21591" y="0"/>
                    </a:lnTo>
                    <a:lnTo>
                      <a:pt x="24521" y="538"/>
                    </a:lnTo>
                    <a:lnTo>
                      <a:pt x="26136" y="837"/>
                    </a:lnTo>
                  </a:path>
                </a:pathLst>
              </a:custGeom>
              <a:noFill/>
              <a:ln w="6350" cap="rnd">
                <a:solidFill>
                  <a:schemeClr val="bg1">
                    <a:alpha val="80000"/>
                  </a:schemeClr>
                </a:solidFill>
                <a:prstDash val="solid"/>
                <a:round/>
              </a:ln>
            </p:spPr>
            <p:txBody>
              <a:bodyPr rtlCol="0" anchor="ctr"/>
              <a:lstStyle/>
              <a:p>
                <a:endParaRPr lang="en-GB"/>
              </a:p>
            </p:txBody>
          </p:sp>
          <p:sp>
            <p:nvSpPr>
              <p:cNvPr id="5701" name="Vrije vorm: vorm 5700">
                <a:extLst>
                  <a:ext uri="{FF2B5EF4-FFF2-40B4-BE49-F238E27FC236}">
                    <a16:creationId xmlns:a16="http://schemas.microsoft.com/office/drawing/2014/main" id="{6ED457BE-6FA2-4AB3-829E-9A6323C45118}"/>
                  </a:ext>
                </a:extLst>
              </p:cNvPr>
              <p:cNvSpPr/>
              <p:nvPr/>
            </p:nvSpPr>
            <p:spPr>
              <a:xfrm>
                <a:off x="6554951" y="1561906"/>
                <a:ext cx="11602" cy="3588"/>
              </a:xfrm>
              <a:custGeom>
                <a:avLst/>
                <a:gdLst>
                  <a:gd name="connsiteX0" fmla="*/ 0 w 11602"/>
                  <a:gd name="connsiteY0" fmla="*/ 0 h 3588"/>
                  <a:gd name="connsiteX1" fmla="*/ 239 w 11602"/>
                  <a:gd name="connsiteY1" fmla="*/ 120 h 3588"/>
                  <a:gd name="connsiteX2" fmla="*/ 718 w 11602"/>
                  <a:gd name="connsiteY2" fmla="*/ 359 h 3588"/>
                  <a:gd name="connsiteX3" fmla="*/ 1256 w 11602"/>
                  <a:gd name="connsiteY3" fmla="*/ 658 h 3588"/>
                  <a:gd name="connsiteX4" fmla="*/ 1555 w 11602"/>
                  <a:gd name="connsiteY4" fmla="*/ 778 h 3588"/>
                  <a:gd name="connsiteX5" fmla="*/ 3170 w 11602"/>
                  <a:gd name="connsiteY5" fmla="*/ 1435 h 3588"/>
                  <a:gd name="connsiteX6" fmla="*/ 3349 w 11602"/>
                  <a:gd name="connsiteY6" fmla="*/ 1495 h 3588"/>
                  <a:gd name="connsiteX7" fmla="*/ 4844 w 11602"/>
                  <a:gd name="connsiteY7" fmla="*/ 2034 h 3588"/>
                  <a:gd name="connsiteX8" fmla="*/ 6579 w 11602"/>
                  <a:gd name="connsiteY8" fmla="*/ 2452 h 3588"/>
                  <a:gd name="connsiteX9" fmla="*/ 9510 w 11602"/>
                  <a:gd name="connsiteY9" fmla="*/ 3110 h 3588"/>
                  <a:gd name="connsiteX10" fmla="*/ 11603 w 11602"/>
                  <a:gd name="connsiteY10" fmla="*/ 3588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02" h="3588">
                    <a:moveTo>
                      <a:pt x="0" y="0"/>
                    </a:moveTo>
                    <a:lnTo>
                      <a:pt x="239" y="120"/>
                    </a:lnTo>
                    <a:lnTo>
                      <a:pt x="718" y="359"/>
                    </a:lnTo>
                    <a:lnTo>
                      <a:pt x="1256" y="658"/>
                    </a:lnTo>
                    <a:lnTo>
                      <a:pt x="1555" y="778"/>
                    </a:lnTo>
                    <a:lnTo>
                      <a:pt x="3170" y="1435"/>
                    </a:lnTo>
                    <a:lnTo>
                      <a:pt x="3349" y="1495"/>
                    </a:lnTo>
                    <a:lnTo>
                      <a:pt x="4844" y="2034"/>
                    </a:lnTo>
                    <a:lnTo>
                      <a:pt x="6579" y="2452"/>
                    </a:lnTo>
                    <a:lnTo>
                      <a:pt x="9510" y="3110"/>
                    </a:lnTo>
                    <a:lnTo>
                      <a:pt x="11603" y="3588"/>
                    </a:lnTo>
                  </a:path>
                </a:pathLst>
              </a:custGeom>
              <a:noFill/>
              <a:ln w="6350" cap="rnd">
                <a:solidFill>
                  <a:schemeClr val="bg1">
                    <a:alpha val="80000"/>
                  </a:schemeClr>
                </a:solidFill>
                <a:prstDash val="solid"/>
                <a:round/>
              </a:ln>
            </p:spPr>
            <p:txBody>
              <a:bodyPr rtlCol="0" anchor="ctr"/>
              <a:lstStyle/>
              <a:p>
                <a:endParaRPr lang="en-GB"/>
              </a:p>
            </p:txBody>
          </p:sp>
          <p:sp>
            <p:nvSpPr>
              <p:cNvPr id="5702" name="Vrije vorm: vorm 5701">
                <a:extLst>
                  <a:ext uri="{FF2B5EF4-FFF2-40B4-BE49-F238E27FC236}">
                    <a16:creationId xmlns:a16="http://schemas.microsoft.com/office/drawing/2014/main" id="{2AF1A872-BA57-49AA-A2D7-CD73C5228711}"/>
                  </a:ext>
                </a:extLst>
              </p:cNvPr>
              <p:cNvSpPr/>
              <p:nvPr/>
            </p:nvSpPr>
            <p:spPr>
              <a:xfrm>
                <a:off x="6552678" y="1559394"/>
                <a:ext cx="3409" cy="3169"/>
              </a:xfrm>
              <a:custGeom>
                <a:avLst/>
                <a:gdLst>
                  <a:gd name="connsiteX0" fmla="*/ 0 w 3409"/>
                  <a:gd name="connsiteY0" fmla="*/ 0 h 3169"/>
                  <a:gd name="connsiteX1" fmla="*/ 778 w 3409"/>
                  <a:gd name="connsiteY1" fmla="*/ 837 h 3169"/>
                  <a:gd name="connsiteX2" fmla="*/ 778 w 3409"/>
                  <a:gd name="connsiteY2" fmla="*/ 837 h 3169"/>
                  <a:gd name="connsiteX3" fmla="*/ 1076 w 3409"/>
                  <a:gd name="connsiteY3" fmla="*/ 1136 h 3169"/>
                  <a:gd name="connsiteX4" fmla="*/ 1196 w 3409"/>
                  <a:gd name="connsiteY4" fmla="*/ 1256 h 3169"/>
                  <a:gd name="connsiteX5" fmla="*/ 1375 w 3409"/>
                  <a:gd name="connsiteY5" fmla="*/ 1435 h 3169"/>
                  <a:gd name="connsiteX6" fmla="*/ 2213 w 3409"/>
                  <a:gd name="connsiteY6" fmla="*/ 2213 h 3169"/>
                  <a:gd name="connsiteX7" fmla="*/ 2333 w 3409"/>
                  <a:gd name="connsiteY7" fmla="*/ 2332 h 3169"/>
                  <a:gd name="connsiteX8" fmla="*/ 2871 w 3409"/>
                  <a:gd name="connsiteY8" fmla="*/ 2751 h 3169"/>
                  <a:gd name="connsiteX9" fmla="*/ 3409 w 3409"/>
                  <a:gd name="connsiteY9" fmla="*/ 3170 h 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9" h="3169">
                    <a:moveTo>
                      <a:pt x="0" y="0"/>
                    </a:moveTo>
                    <a:lnTo>
                      <a:pt x="778" y="837"/>
                    </a:lnTo>
                    <a:lnTo>
                      <a:pt x="778" y="837"/>
                    </a:lnTo>
                    <a:lnTo>
                      <a:pt x="1076" y="1136"/>
                    </a:lnTo>
                    <a:lnTo>
                      <a:pt x="1196" y="1256"/>
                    </a:lnTo>
                    <a:lnTo>
                      <a:pt x="1375" y="1435"/>
                    </a:lnTo>
                    <a:lnTo>
                      <a:pt x="2213" y="2213"/>
                    </a:lnTo>
                    <a:lnTo>
                      <a:pt x="2333" y="2332"/>
                    </a:lnTo>
                    <a:lnTo>
                      <a:pt x="2871" y="2751"/>
                    </a:lnTo>
                    <a:lnTo>
                      <a:pt x="3409" y="3170"/>
                    </a:lnTo>
                  </a:path>
                </a:pathLst>
              </a:custGeom>
              <a:noFill/>
              <a:ln w="6350" cap="rnd">
                <a:solidFill>
                  <a:schemeClr val="bg1">
                    <a:alpha val="80000"/>
                  </a:schemeClr>
                </a:solidFill>
                <a:prstDash val="solid"/>
                <a:round/>
              </a:ln>
            </p:spPr>
            <p:txBody>
              <a:bodyPr rtlCol="0" anchor="ctr"/>
              <a:lstStyle/>
              <a:p>
                <a:endParaRPr lang="en-GB"/>
              </a:p>
            </p:txBody>
          </p:sp>
          <p:sp>
            <p:nvSpPr>
              <p:cNvPr id="5703" name="Vrije vorm: vorm 5702">
                <a:extLst>
                  <a:ext uri="{FF2B5EF4-FFF2-40B4-BE49-F238E27FC236}">
                    <a16:creationId xmlns:a16="http://schemas.microsoft.com/office/drawing/2014/main" id="{5A79563F-03A6-4986-94EC-787E1CA48F1E}"/>
                  </a:ext>
                </a:extLst>
              </p:cNvPr>
              <p:cNvSpPr/>
              <p:nvPr/>
            </p:nvSpPr>
            <p:spPr>
              <a:xfrm>
                <a:off x="6547654" y="1592467"/>
                <a:ext cx="70153" cy="20155"/>
              </a:xfrm>
              <a:custGeom>
                <a:avLst/>
                <a:gdLst>
                  <a:gd name="connsiteX0" fmla="*/ 70154 w 70153"/>
                  <a:gd name="connsiteY0" fmla="*/ 20155 h 20155"/>
                  <a:gd name="connsiteX1" fmla="*/ 67283 w 70153"/>
                  <a:gd name="connsiteY1" fmla="*/ 19318 h 20155"/>
                  <a:gd name="connsiteX2" fmla="*/ 64412 w 70153"/>
                  <a:gd name="connsiteY2" fmla="*/ 18480 h 20155"/>
                  <a:gd name="connsiteX3" fmla="*/ 61542 w 70153"/>
                  <a:gd name="connsiteY3" fmla="*/ 17643 h 20155"/>
                  <a:gd name="connsiteX4" fmla="*/ 58671 w 70153"/>
                  <a:gd name="connsiteY4" fmla="*/ 16806 h 20155"/>
                  <a:gd name="connsiteX5" fmla="*/ 55800 w 70153"/>
                  <a:gd name="connsiteY5" fmla="*/ 15969 h 20155"/>
                  <a:gd name="connsiteX6" fmla="*/ 52929 w 70153"/>
                  <a:gd name="connsiteY6" fmla="*/ 15131 h 20155"/>
                  <a:gd name="connsiteX7" fmla="*/ 50059 w 70153"/>
                  <a:gd name="connsiteY7" fmla="*/ 14294 h 20155"/>
                  <a:gd name="connsiteX8" fmla="*/ 47188 w 70153"/>
                  <a:gd name="connsiteY8" fmla="*/ 13457 h 20155"/>
                  <a:gd name="connsiteX9" fmla="*/ 44317 w 70153"/>
                  <a:gd name="connsiteY9" fmla="*/ 12619 h 20155"/>
                  <a:gd name="connsiteX10" fmla="*/ 41446 w 70153"/>
                  <a:gd name="connsiteY10" fmla="*/ 11782 h 20155"/>
                  <a:gd name="connsiteX11" fmla="*/ 38575 w 70153"/>
                  <a:gd name="connsiteY11" fmla="*/ 10945 h 20155"/>
                  <a:gd name="connsiteX12" fmla="*/ 35705 w 70153"/>
                  <a:gd name="connsiteY12" fmla="*/ 10107 h 20155"/>
                  <a:gd name="connsiteX13" fmla="*/ 32834 w 70153"/>
                  <a:gd name="connsiteY13" fmla="*/ 9270 h 20155"/>
                  <a:gd name="connsiteX14" fmla="*/ 29963 w 70153"/>
                  <a:gd name="connsiteY14" fmla="*/ 8433 h 20155"/>
                  <a:gd name="connsiteX15" fmla="*/ 27092 w 70153"/>
                  <a:gd name="connsiteY15" fmla="*/ 7596 h 20155"/>
                  <a:gd name="connsiteX16" fmla="*/ 24222 w 70153"/>
                  <a:gd name="connsiteY16" fmla="*/ 6758 h 20155"/>
                  <a:gd name="connsiteX17" fmla="*/ 21351 w 70153"/>
                  <a:gd name="connsiteY17" fmla="*/ 5921 h 20155"/>
                  <a:gd name="connsiteX18" fmla="*/ 18480 w 70153"/>
                  <a:gd name="connsiteY18" fmla="*/ 5084 h 20155"/>
                  <a:gd name="connsiteX19" fmla="*/ 15610 w 70153"/>
                  <a:gd name="connsiteY19" fmla="*/ 4246 h 20155"/>
                  <a:gd name="connsiteX20" fmla="*/ 12739 w 70153"/>
                  <a:gd name="connsiteY20" fmla="*/ 3409 h 20155"/>
                  <a:gd name="connsiteX21" fmla="*/ 9868 w 70153"/>
                  <a:gd name="connsiteY21" fmla="*/ 2572 h 20155"/>
                  <a:gd name="connsiteX22" fmla="*/ 6997 w 70153"/>
                  <a:gd name="connsiteY22" fmla="*/ 1734 h 20155"/>
                  <a:gd name="connsiteX23" fmla="*/ 3469 w 70153"/>
                  <a:gd name="connsiteY23" fmla="*/ 718 h 20155"/>
                  <a:gd name="connsiteX24" fmla="*/ 1734 w 70153"/>
                  <a:gd name="connsiteY24" fmla="*/ 299 h 20155"/>
                  <a:gd name="connsiteX25" fmla="*/ 1555 w 70153"/>
                  <a:gd name="connsiteY25" fmla="*/ 239 h 20155"/>
                  <a:gd name="connsiteX26" fmla="*/ 0 w 70153"/>
                  <a:gd name="connsiteY26" fmla="*/ 0 h 2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0153" h="20155">
                    <a:moveTo>
                      <a:pt x="70154" y="20155"/>
                    </a:moveTo>
                    <a:lnTo>
                      <a:pt x="67283" y="19318"/>
                    </a:lnTo>
                    <a:lnTo>
                      <a:pt x="64412" y="18480"/>
                    </a:lnTo>
                    <a:lnTo>
                      <a:pt x="61542" y="17643"/>
                    </a:lnTo>
                    <a:lnTo>
                      <a:pt x="58671" y="16806"/>
                    </a:lnTo>
                    <a:lnTo>
                      <a:pt x="55800" y="15969"/>
                    </a:lnTo>
                    <a:lnTo>
                      <a:pt x="52929" y="15131"/>
                    </a:lnTo>
                    <a:lnTo>
                      <a:pt x="50059" y="14294"/>
                    </a:lnTo>
                    <a:lnTo>
                      <a:pt x="47188" y="13457"/>
                    </a:lnTo>
                    <a:lnTo>
                      <a:pt x="44317" y="12619"/>
                    </a:lnTo>
                    <a:lnTo>
                      <a:pt x="41446" y="11782"/>
                    </a:lnTo>
                    <a:lnTo>
                      <a:pt x="38575" y="10945"/>
                    </a:lnTo>
                    <a:lnTo>
                      <a:pt x="35705" y="10107"/>
                    </a:lnTo>
                    <a:lnTo>
                      <a:pt x="32834" y="9270"/>
                    </a:lnTo>
                    <a:lnTo>
                      <a:pt x="29963" y="8433"/>
                    </a:lnTo>
                    <a:lnTo>
                      <a:pt x="27092" y="7596"/>
                    </a:lnTo>
                    <a:lnTo>
                      <a:pt x="24222" y="6758"/>
                    </a:lnTo>
                    <a:lnTo>
                      <a:pt x="21351" y="5921"/>
                    </a:lnTo>
                    <a:lnTo>
                      <a:pt x="18480" y="5084"/>
                    </a:lnTo>
                    <a:lnTo>
                      <a:pt x="15610" y="4246"/>
                    </a:lnTo>
                    <a:lnTo>
                      <a:pt x="12739" y="3409"/>
                    </a:lnTo>
                    <a:lnTo>
                      <a:pt x="9868" y="2572"/>
                    </a:lnTo>
                    <a:lnTo>
                      <a:pt x="6997" y="1734"/>
                    </a:lnTo>
                    <a:lnTo>
                      <a:pt x="3469" y="718"/>
                    </a:lnTo>
                    <a:lnTo>
                      <a:pt x="1734" y="299"/>
                    </a:lnTo>
                    <a:lnTo>
                      <a:pt x="1555" y="23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04" name="Vrije vorm: vorm 5703">
                <a:extLst>
                  <a:ext uri="{FF2B5EF4-FFF2-40B4-BE49-F238E27FC236}">
                    <a16:creationId xmlns:a16="http://schemas.microsoft.com/office/drawing/2014/main" id="{10C54A88-6EBA-495F-83B3-8AE436900758}"/>
                  </a:ext>
                </a:extLst>
              </p:cNvPr>
              <p:cNvSpPr/>
              <p:nvPr/>
            </p:nvSpPr>
            <p:spPr>
              <a:xfrm>
                <a:off x="6544006" y="1592766"/>
                <a:ext cx="5263" cy="239"/>
              </a:xfrm>
              <a:custGeom>
                <a:avLst/>
                <a:gdLst>
                  <a:gd name="connsiteX0" fmla="*/ 5263 w 5263"/>
                  <a:gd name="connsiteY0" fmla="*/ 60 h 239"/>
                  <a:gd name="connsiteX1" fmla="*/ 4964 w 5263"/>
                  <a:gd name="connsiteY1" fmla="*/ 60 h 239"/>
                  <a:gd name="connsiteX2" fmla="*/ 3290 w 5263"/>
                  <a:gd name="connsiteY2" fmla="*/ 0 h 239"/>
                  <a:gd name="connsiteX3" fmla="*/ 1914 w 5263"/>
                  <a:gd name="connsiteY3" fmla="*/ 60 h 239"/>
                  <a:gd name="connsiteX4" fmla="*/ 1615 w 5263"/>
                  <a:gd name="connsiteY4" fmla="*/ 60 h 239"/>
                  <a:gd name="connsiteX5" fmla="*/ 1076 w 5263"/>
                  <a:gd name="connsiteY5" fmla="*/ 120 h 239"/>
                  <a:gd name="connsiteX6" fmla="*/ 479 w 5263"/>
                  <a:gd name="connsiteY6" fmla="*/ 179 h 239"/>
                  <a:gd name="connsiteX7" fmla="*/ 239 w 5263"/>
                  <a:gd name="connsiteY7" fmla="*/ 239 h 239"/>
                  <a:gd name="connsiteX8" fmla="*/ 60 w 5263"/>
                  <a:gd name="connsiteY8" fmla="*/ 239 h 239"/>
                  <a:gd name="connsiteX9" fmla="*/ 0 w 5263"/>
                  <a:gd name="connsiteY9" fmla="*/ 239 h 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3" h="239">
                    <a:moveTo>
                      <a:pt x="5263" y="60"/>
                    </a:moveTo>
                    <a:lnTo>
                      <a:pt x="4964" y="60"/>
                    </a:lnTo>
                    <a:lnTo>
                      <a:pt x="3290" y="0"/>
                    </a:lnTo>
                    <a:lnTo>
                      <a:pt x="1914" y="60"/>
                    </a:lnTo>
                    <a:lnTo>
                      <a:pt x="1615" y="60"/>
                    </a:lnTo>
                    <a:lnTo>
                      <a:pt x="1076" y="120"/>
                    </a:lnTo>
                    <a:lnTo>
                      <a:pt x="479" y="179"/>
                    </a:lnTo>
                    <a:lnTo>
                      <a:pt x="239" y="239"/>
                    </a:lnTo>
                    <a:lnTo>
                      <a:pt x="60" y="239"/>
                    </a:lnTo>
                    <a:lnTo>
                      <a:pt x="0" y="239"/>
                    </a:lnTo>
                  </a:path>
                </a:pathLst>
              </a:custGeom>
              <a:noFill/>
              <a:ln w="6350" cap="rnd">
                <a:solidFill>
                  <a:schemeClr val="bg1">
                    <a:alpha val="80000"/>
                  </a:schemeClr>
                </a:solidFill>
                <a:prstDash val="solid"/>
                <a:round/>
              </a:ln>
            </p:spPr>
            <p:txBody>
              <a:bodyPr rtlCol="0" anchor="ctr"/>
              <a:lstStyle/>
              <a:p>
                <a:endParaRPr lang="en-GB"/>
              </a:p>
            </p:txBody>
          </p:sp>
          <p:sp>
            <p:nvSpPr>
              <p:cNvPr id="5705" name="Vrije vorm: vorm 5704">
                <a:extLst>
                  <a:ext uri="{FF2B5EF4-FFF2-40B4-BE49-F238E27FC236}">
                    <a16:creationId xmlns:a16="http://schemas.microsoft.com/office/drawing/2014/main" id="{E9E28C23-E0F9-4EC0-8A4F-6729E76BD7CE}"/>
                  </a:ext>
                </a:extLst>
              </p:cNvPr>
              <p:cNvSpPr/>
              <p:nvPr/>
            </p:nvSpPr>
            <p:spPr>
              <a:xfrm>
                <a:off x="6541614" y="1592945"/>
                <a:ext cx="3409" cy="1375"/>
              </a:xfrm>
              <a:custGeom>
                <a:avLst/>
                <a:gdLst>
                  <a:gd name="connsiteX0" fmla="*/ 3409 w 3409"/>
                  <a:gd name="connsiteY0" fmla="*/ 0 h 1375"/>
                  <a:gd name="connsiteX1" fmla="*/ 2751 w 3409"/>
                  <a:gd name="connsiteY1" fmla="*/ 179 h 1375"/>
                  <a:gd name="connsiteX2" fmla="*/ 2632 w 3409"/>
                  <a:gd name="connsiteY2" fmla="*/ 239 h 1375"/>
                  <a:gd name="connsiteX3" fmla="*/ 2093 w 3409"/>
                  <a:gd name="connsiteY3" fmla="*/ 419 h 1375"/>
                  <a:gd name="connsiteX4" fmla="*/ 2033 w 3409"/>
                  <a:gd name="connsiteY4" fmla="*/ 478 h 1375"/>
                  <a:gd name="connsiteX5" fmla="*/ 1375 w 3409"/>
                  <a:gd name="connsiteY5" fmla="*/ 718 h 1375"/>
                  <a:gd name="connsiteX6" fmla="*/ 0 w 3409"/>
                  <a:gd name="connsiteY6" fmla="*/ 1376 h 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09" h="1375">
                    <a:moveTo>
                      <a:pt x="3409" y="0"/>
                    </a:moveTo>
                    <a:lnTo>
                      <a:pt x="2751" y="179"/>
                    </a:lnTo>
                    <a:lnTo>
                      <a:pt x="2632" y="239"/>
                    </a:lnTo>
                    <a:lnTo>
                      <a:pt x="2093" y="419"/>
                    </a:lnTo>
                    <a:lnTo>
                      <a:pt x="2033" y="478"/>
                    </a:lnTo>
                    <a:lnTo>
                      <a:pt x="1375" y="718"/>
                    </a:lnTo>
                    <a:lnTo>
                      <a:pt x="0" y="1376"/>
                    </a:lnTo>
                  </a:path>
                </a:pathLst>
              </a:custGeom>
              <a:noFill/>
              <a:ln w="6350" cap="rnd">
                <a:solidFill>
                  <a:schemeClr val="bg1">
                    <a:alpha val="80000"/>
                  </a:schemeClr>
                </a:solidFill>
                <a:prstDash val="solid"/>
                <a:round/>
              </a:ln>
            </p:spPr>
            <p:txBody>
              <a:bodyPr rtlCol="0" anchor="ctr"/>
              <a:lstStyle/>
              <a:p>
                <a:endParaRPr lang="en-GB"/>
              </a:p>
            </p:txBody>
          </p:sp>
          <p:sp>
            <p:nvSpPr>
              <p:cNvPr id="5706" name="Vrije vorm: vorm 5705">
                <a:extLst>
                  <a:ext uri="{FF2B5EF4-FFF2-40B4-BE49-F238E27FC236}">
                    <a16:creationId xmlns:a16="http://schemas.microsoft.com/office/drawing/2014/main" id="{0FE44304-1D5C-43EA-8AAA-AB0A891271CF}"/>
                  </a:ext>
                </a:extLst>
              </p:cNvPr>
              <p:cNvSpPr/>
              <p:nvPr/>
            </p:nvSpPr>
            <p:spPr>
              <a:xfrm>
                <a:off x="6552857" y="1558915"/>
                <a:ext cx="1016" cy="1734"/>
              </a:xfrm>
              <a:custGeom>
                <a:avLst/>
                <a:gdLst>
                  <a:gd name="connsiteX0" fmla="*/ 0 w 1016"/>
                  <a:gd name="connsiteY0" fmla="*/ 0 h 1734"/>
                  <a:gd name="connsiteX1" fmla="*/ 0 w 1016"/>
                  <a:gd name="connsiteY1" fmla="*/ 0 h 1734"/>
                  <a:gd name="connsiteX2" fmla="*/ 658 w 1016"/>
                  <a:gd name="connsiteY2" fmla="*/ 1196 h 1734"/>
                  <a:gd name="connsiteX3" fmla="*/ 1017 w 1016"/>
                  <a:gd name="connsiteY3" fmla="*/ 1734 h 1734"/>
                </a:gdLst>
                <a:ahLst/>
                <a:cxnLst>
                  <a:cxn ang="0">
                    <a:pos x="connsiteX0" y="connsiteY0"/>
                  </a:cxn>
                  <a:cxn ang="0">
                    <a:pos x="connsiteX1" y="connsiteY1"/>
                  </a:cxn>
                  <a:cxn ang="0">
                    <a:pos x="connsiteX2" y="connsiteY2"/>
                  </a:cxn>
                  <a:cxn ang="0">
                    <a:pos x="connsiteX3" y="connsiteY3"/>
                  </a:cxn>
                </a:cxnLst>
                <a:rect l="l" t="t" r="r" b="b"/>
                <a:pathLst>
                  <a:path w="1016" h="1734">
                    <a:moveTo>
                      <a:pt x="0" y="0"/>
                    </a:moveTo>
                    <a:lnTo>
                      <a:pt x="0" y="0"/>
                    </a:lnTo>
                    <a:lnTo>
                      <a:pt x="658" y="1196"/>
                    </a:lnTo>
                    <a:lnTo>
                      <a:pt x="1017" y="1734"/>
                    </a:lnTo>
                  </a:path>
                </a:pathLst>
              </a:custGeom>
              <a:noFill/>
              <a:ln w="6350" cap="rnd">
                <a:solidFill>
                  <a:schemeClr val="bg1">
                    <a:alpha val="80000"/>
                  </a:schemeClr>
                </a:solidFill>
                <a:prstDash val="solid"/>
                <a:round/>
              </a:ln>
            </p:spPr>
            <p:txBody>
              <a:bodyPr rtlCol="0" anchor="ctr"/>
              <a:lstStyle/>
              <a:p>
                <a:endParaRPr lang="en-GB"/>
              </a:p>
            </p:txBody>
          </p:sp>
          <p:sp>
            <p:nvSpPr>
              <p:cNvPr id="5707" name="Vrije vorm: vorm 5706">
                <a:extLst>
                  <a:ext uri="{FF2B5EF4-FFF2-40B4-BE49-F238E27FC236}">
                    <a16:creationId xmlns:a16="http://schemas.microsoft.com/office/drawing/2014/main" id="{952CD25B-54E3-4272-BC0F-A0435D38E513}"/>
                  </a:ext>
                </a:extLst>
              </p:cNvPr>
              <p:cNvSpPr/>
              <p:nvPr/>
            </p:nvSpPr>
            <p:spPr>
              <a:xfrm>
                <a:off x="6523313" y="1593185"/>
                <a:ext cx="20932" cy="6758"/>
              </a:xfrm>
              <a:custGeom>
                <a:avLst/>
                <a:gdLst>
                  <a:gd name="connsiteX0" fmla="*/ 20933 w 20932"/>
                  <a:gd name="connsiteY0" fmla="*/ 0 h 6758"/>
                  <a:gd name="connsiteX1" fmla="*/ 18779 w 20932"/>
                  <a:gd name="connsiteY1" fmla="*/ 1914 h 6758"/>
                  <a:gd name="connsiteX2" fmla="*/ 17763 w 20932"/>
                  <a:gd name="connsiteY2" fmla="*/ 2811 h 6758"/>
                  <a:gd name="connsiteX3" fmla="*/ 17643 w 20932"/>
                  <a:gd name="connsiteY3" fmla="*/ 2871 h 6758"/>
                  <a:gd name="connsiteX4" fmla="*/ 14832 w 20932"/>
                  <a:gd name="connsiteY4" fmla="*/ 4366 h 6758"/>
                  <a:gd name="connsiteX5" fmla="*/ 13157 w 20932"/>
                  <a:gd name="connsiteY5" fmla="*/ 5263 h 6758"/>
                  <a:gd name="connsiteX6" fmla="*/ 12320 w 20932"/>
                  <a:gd name="connsiteY6" fmla="*/ 5682 h 6758"/>
                  <a:gd name="connsiteX7" fmla="*/ 12320 w 20932"/>
                  <a:gd name="connsiteY7" fmla="*/ 5682 h 6758"/>
                  <a:gd name="connsiteX8" fmla="*/ 11662 w 20932"/>
                  <a:gd name="connsiteY8" fmla="*/ 5801 h 6758"/>
                  <a:gd name="connsiteX9" fmla="*/ 8612 w 20932"/>
                  <a:gd name="connsiteY9" fmla="*/ 6399 h 6758"/>
                  <a:gd name="connsiteX10" fmla="*/ 6758 w 20932"/>
                  <a:gd name="connsiteY10" fmla="*/ 6758 h 6758"/>
                  <a:gd name="connsiteX11" fmla="*/ 3768 w 20932"/>
                  <a:gd name="connsiteY11" fmla="*/ 6399 h 6758"/>
                  <a:gd name="connsiteX12" fmla="*/ 2392 w 20932"/>
                  <a:gd name="connsiteY12" fmla="*/ 6220 h 6758"/>
                  <a:gd name="connsiteX13" fmla="*/ 1316 w 20932"/>
                  <a:gd name="connsiteY13" fmla="*/ 6100 h 6758"/>
                  <a:gd name="connsiteX14" fmla="*/ 0 w 20932"/>
                  <a:gd name="connsiteY14" fmla="*/ 5682 h 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32" h="6758">
                    <a:moveTo>
                      <a:pt x="20933" y="0"/>
                    </a:moveTo>
                    <a:lnTo>
                      <a:pt x="18779" y="1914"/>
                    </a:lnTo>
                    <a:lnTo>
                      <a:pt x="17763" y="2811"/>
                    </a:lnTo>
                    <a:lnTo>
                      <a:pt x="17643" y="2871"/>
                    </a:lnTo>
                    <a:lnTo>
                      <a:pt x="14832" y="4366"/>
                    </a:lnTo>
                    <a:lnTo>
                      <a:pt x="13157" y="5263"/>
                    </a:lnTo>
                    <a:lnTo>
                      <a:pt x="12320" y="5682"/>
                    </a:lnTo>
                    <a:lnTo>
                      <a:pt x="12320" y="5682"/>
                    </a:lnTo>
                    <a:lnTo>
                      <a:pt x="11662" y="5801"/>
                    </a:lnTo>
                    <a:lnTo>
                      <a:pt x="8612" y="6399"/>
                    </a:lnTo>
                    <a:lnTo>
                      <a:pt x="6758" y="6758"/>
                    </a:lnTo>
                    <a:lnTo>
                      <a:pt x="3768" y="6399"/>
                    </a:lnTo>
                    <a:lnTo>
                      <a:pt x="2392" y="6220"/>
                    </a:lnTo>
                    <a:lnTo>
                      <a:pt x="1316" y="6100"/>
                    </a:lnTo>
                    <a:lnTo>
                      <a:pt x="0" y="5682"/>
                    </a:lnTo>
                  </a:path>
                </a:pathLst>
              </a:custGeom>
              <a:noFill/>
              <a:ln w="6350" cap="rnd">
                <a:solidFill>
                  <a:schemeClr val="bg1">
                    <a:alpha val="80000"/>
                  </a:schemeClr>
                </a:solidFill>
                <a:prstDash val="solid"/>
                <a:round/>
              </a:ln>
            </p:spPr>
            <p:txBody>
              <a:bodyPr rtlCol="0" anchor="ctr"/>
              <a:lstStyle/>
              <a:p>
                <a:endParaRPr lang="en-GB"/>
              </a:p>
            </p:txBody>
          </p:sp>
          <p:sp>
            <p:nvSpPr>
              <p:cNvPr id="5708" name="Vrije vorm: vorm 5707">
                <a:extLst>
                  <a:ext uri="{FF2B5EF4-FFF2-40B4-BE49-F238E27FC236}">
                    <a16:creationId xmlns:a16="http://schemas.microsoft.com/office/drawing/2014/main" id="{1B08EF96-1883-4984-B450-534C58EFA2D4}"/>
                  </a:ext>
                </a:extLst>
              </p:cNvPr>
              <p:cNvSpPr/>
              <p:nvPr/>
            </p:nvSpPr>
            <p:spPr>
              <a:xfrm>
                <a:off x="6511770" y="1545518"/>
                <a:ext cx="42343" cy="53706"/>
              </a:xfrm>
              <a:custGeom>
                <a:avLst/>
                <a:gdLst>
                  <a:gd name="connsiteX0" fmla="*/ 12918 w 42343"/>
                  <a:gd name="connsiteY0" fmla="*/ 53707 h 53706"/>
                  <a:gd name="connsiteX1" fmla="*/ 12260 w 42343"/>
                  <a:gd name="connsiteY1" fmla="*/ 53348 h 53706"/>
                  <a:gd name="connsiteX2" fmla="*/ 9629 w 42343"/>
                  <a:gd name="connsiteY2" fmla="*/ 51972 h 53706"/>
                  <a:gd name="connsiteX3" fmla="*/ 8134 w 42343"/>
                  <a:gd name="connsiteY3" fmla="*/ 51195 h 53706"/>
                  <a:gd name="connsiteX4" fmla="*/ 6040 w 42343"/>
                  <a:gd name="connsiteY4" fmla="*/ 49042 h 53706"/>
                  <a:gd name="connsiteX5" fmla="*/ 4186 w 42343"/>
                  <a:gd name="connsiteY5" fmla="*/ 47068 h 53706"/>
                  <a:gd name="connsiteX6" fmla="*/ 2811 w 42343"/>
                  <a:gd name="connsiteY6" fmla="*/ 44317 h 53706"/>
                  <a:gd name="connsiteX7" fmla="*/ 1435 w 42343"/>
                  <a:gd name="connsiteY7" fmla="*/ 41566 h 53706"/>
                  <a:gd name="connsiteX8" fmla="*/ 1375 w 42343"/>
                  <a:gd name="connsiteY8" fmla="*/ 41506 h 53706"/>
                  <a:gd name="connsiteX9" fmla="*/ 718 w 42343"/>
                  <a:gd name="connsiteY9" fmla="*/ 38456 h 53706"/>
                  <a:gd name="connsiteX10" fmla="*/ 359 w 42343"/>
                  <a:gd name="connsiteY10" fmla="*/ 36722 h 53706"/>
                  <a:gd name="connsiteX11" fmla="*/ 0 w 42343"/>
                  <a:gd name="connsiteY11" fmla="*/ 34987 h 53706"/>
                  <a:gd name="connsiteX12" fmla="*/ 60 w 42343"/>
                  <a:gd name="connsiteY12" fmla="*/ 33253 h 53706"/>
                  <a:gd name="connsiteX13" fmla="*/ 60 w 42343"/>
                  <a:gd name="connsiteY13" fmla="*/ 33253 h 53706"/>
                  <a:gd name="connsiteX14" fmla="*/ 119 w 42343"/>
                  <a:gd name="connsiteY14" fmla="*/ 30143 h 53706"/>
                  <a:gd name="connsiteX15" fmla="*/ 119 w 42343"/>
                  <a:gd name="connsiteY15" fmla="*/ 30143 h 53706"/>
                  <a:gd name="connsiteX16" fmla="*/ 179 w 42343"/>
                  <a:gd name="connsiteY16" fmla="*/ 28349 h 53706"/>
                  <a:gd name="connsiteX17" fmla="*/ 179 w 42343"/>
                  <a:gd name="connsiteY17" fmla="*/ 27870 h 53706"/>
                  <a:gd name="connsiteX18" fmla="*/ 239 w 42343"/>
                  <a:gd name="connsiteY18" fmla="*/ 27511 h 53706"/>
                  <a:gd name="connsiteX19" fmla="*/ 957 w 42343"/>
                  <a:gd name="connsiteY19" fmla="*/ 24341 h 53706"/>
                  <a:gd name="connsiteX20" fmla="*/ 1555 w 42343"/>
                  <a:gd name="connsiteY20" fmla="*/ 21830 h 53706"/>
                  <a:gd name="connsiteX21" fmla="*/ 1794 w 42343"/>
                  <a:gd name="connsiteY21" fmla="*/ 20813 h 53706"/>
                  <a:gd name="connsiteX22" fmla="*/ 1854 w 42343"/>
                  <a:gd name="connsiteY22" fmla="*/ 20693 h 53706"/>
                  <a:gd name="connsiteX23" fmla="*/ 2392 w 42343"/>
                  <a:gd name="connsiteY23" fmla="*/ 19497 h 53706"/>
                  <a:gd name="connsiteX24" fmla="*/ 2930 w 42343"/>
                  <a:gd name="connsiteY24" fmla="*/ 18301 h 53706"/>
                  <a:gd name="connsiteX25" fmla="*/ 2990 w 42343"/>
                  <a:gd name="connsiteY25" fmla="*/ 18181 h 53706"/>
                  <a:gd name="connsiteX26" fmla="*/ 3648 w 42343"/>
                  <a:gd name="connsiteY26" fmla="*/ 16746 h 53706"/>
                  <a:gd name="connsiteX27" fmla="*/ 4665 w 42343"/>
                  <a:gd name="connsiteY27" fmla="*/ 14533 h 53706"/>
                  <a:gd name="connsiteX28" fmla="*/ 4964 w 42343"/>
                  <a:gd name="connsiteY28" fmla="*/ 13875 h 53706"/>
                  <a:gd name="connsiteX29" fmla="*/ 4964 w 42343"/>
                  <a:gd name="connsiteY29" fmla="*/ 13875 h 53706"/>
                  <a:gd name="connsiteX30" fmla="*/ 4964 w 42343"/>
                  <a:gd name="connsiteY30" fmla="*/ 13875 h 53706"/>
                  <a:gd name="connsiteX31" fmla="*/ 6878 w 42343"/>
                  <a:gd name="connsiteY31" fmla="*/ 11244 h 53706"/>
                  <a:gd name="connsiteX32" fmla="*/ 8791 w 42343"/>
                  <a:gd name="connsiteY32" fmla="*/ 8612 h 53706"/>
                  <a:gd name="connsiteX33" fmla="*/ 9210 w 42343"/>
                  <a:gd name="connsiteY33" fmla="*/ 8074 h 53706"/>
                  <a:gd name="connsiteX34" fmla="*/ 9928 w 42343"/>
                  <a:gd name="connsiteY34" fmla="*/ 7476 h 53706"/>
                  <a:gd name="connsiteX35" fmla="*/ 10406 w 42343"/>
                  <a:gd name="connsiteY35" fmla="*/ 7057 h 53706"/>
                  <a:gd name="connsiteX36" fmla="*/ 10705 w 42343"/>
                  <a:gd name="connsiteY36" fmla="*/ 6758 h 53706"/>
                  <a:gd name="connsiteX37" fmla="*/ 13157 w 42343"/>
                  <a:gd name="connsiteY37" fmla="*/ 4665 h 53706"/>
                  <a:gd name="connsiteX38" fmla="*/ 14174 w 42343"/>
                  <a:gd name="connsiteY38" fmla="*/ 3828 h 53706"/>
                  <a:gd name="connsiteX39" fmla="*/ 14354 w 42343"/>
                  <a:gd name="connsiteY39" fmla="*/ 3648 h 53706"/>
                  <a:gd name="connsiteX40" fmla="*/ 15669 w 42343"/>
                  <a:gd name="connsiteY40" fmla="*/ 2990 h 53706"/>
                  <a:gd name="connsiteX41" fmla="*/ 15669 w 42343"/>
                  <a:gd name="connsiteY41" fmla="*/ 2990 h 53706"/>
                  <a:gd name="connsiteX42" fmla="*/ 16208 w 42343"/>
                  <a:gd name="connsiteY42" fmla="*/ 2751 h 53706"/>
                  <a:gd name="connsiteX43" fmla="*/ 17643 w 42343"/>
                  <a:gd name="connsiteY43" fmla="*/ 2033 h 53706"/>
                  <a:gd name="connsiteX44" fmla="*/ 18660 w 42343"/>
                  <a:gd name="connsiteY44" fmla="*/ 1555 h 53706"/>
                  <a:gd name="connsiteX45" fmla="*/ 18660 w 42343"/>
                  <a:gd name="connsiteY45" fmla="*/ 1555 h 53706"/>
                  <a:gd name="connsiteX46" fmla="*/ 20035 w 42343"/>
                  <a:gd name="connsiteY46" fmla="*/ 897 h 53706"/>
                  <a:gd name="connsiteX47" fmla="*/ 23086 w 42343"/>
                  <a:gd name="connsiteY47" fmla="*/ 419 h 53706"/>
                  <a:gd name="connsiteX48" fmla="*/ 25777 w 42343"/>
                  <a:gd name="connsiteY48" fmla="*/ 0 h 53706"/>
                  <a:gd name="connsiteX49" fmla="*/ 25777 w 42343"/>
                  <a:gd name="connsiteY49" fmla="*/ 0 h 53706"/>
                  <a:gd name="connsiteX50" fmla="*/ 28707 w 42343"/>
                  <a:gd name="connsiteY50" fmla="*/ 538 h 53706"/>
                  <a:gd name="connsiteX51" fmla="*/ 31159 w 42343"/>
                  <a:gd name="connsiteY51" fmla="*/ 1017 h 53706"/>
                  <a:gd name="connsiteX52" fmla="*/ 33731 w 42343"/>
                  <a:gd name="connsiteY52" fmla="*/ 2512 h 53706"/>
                  <a:gd name="connsiteX53" fmla="*/ 35286 w 42343"/>
                  <a:gd name="connsiteY53" fmla="*/ 3409 h 53706"/>
                  <a:gd name="connsiteX54" fmla="*/ 35884 w 42343"/>
                  <a:gd name="connsiteY54" fmla="*/ 3768 h 53706"/>
                  <a:gd name="connsiteX55" fmla="*/ 36363 w 42343"/>
                  <a:gd name="connsiteY55" fmla="*/ 4366 h 53706"/>
                  <a:gd name="connsiteX56" fmla="*/ 38336 w 42343"/>
                  <a:gd name="connsiteY56" fmla="*/ 6639 h 53706"/>
                  <a:gd name="connsiteX57" fmla="*/ 39592 w 42343"/>
                  <a:gd name="connsiteY57" fmla="*/ 8134 h 53706"/>
                  <a:gd name="connsiteX58" fmla="*/ 39951 w 42343"/>
                  <a:gd name="connsiteY58" fmla="*/ 8911 h 53706"/>
                  <a:gd name="connsiteX59" fmla="*/ 41207 w 42343"/>
                  <a:gd name="connsiteY59" fmla="*/ 11722 h 53706"/>
                  <a:gd name="connsiteX60" fmla="*/ 41327 w 42343"/>
                  <a:gd name="connsiteY60" fmla="*/ 12021 h 53706"/>
                  <a:gd name="connsiteX61" fmla="*/ 42104 w 42343"/>
                  <a:gd name="connsiteY61" fmla="*/ 13756 h 53706"/>
                  <a:gd name="connsiteX62" fmla="*/ 42343 w 42343"/>
                  <a:gd name="connsiteY62" fmla="*/ 15131 h 5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2343" h="53706">
                    <a:moveTo>
                      <a:pt x="12918" y="53707"/>
                    </a:moveTo>
                    <a:lnTo>
                      <a:pt x="12260" y="53348"/>
                    </a:lnTo>
                    <a:lnTo>
                      <a:pt x="9629" y="51972"/>
                    </a:lnTo>
                    <a:lnTo>
                      <a:pt x="8134" y="51195"/>
                    </a:lnTo>
                    <a:lnTo>
                      <a:pt x="6040" y="49042"/>
                    </a:lnTo>
                    <a:lnTo>
                      <a:pt x="4186" y="47068"/>
                    </a:lnTo>
                    <a:lnTo>
                      <a:pt x="2811" y="44317"/>
                    </a:lnTo>
                    <a:lnTo>
                      <a:pt x="1435" y="41566"/>
                    </a:lnTo>
                    <a:lnTo>
                      <a:pt x="1375" y="41506"/>
                    </a:lnTo>
                    <a:lnTo>
                      <a:pt x="718" y="38456"/>
                    </a:lnTo>
                    <a:lnTo>
                      <a:pt x="359" y="36722"/>
                    </a:lnTo>
                    <a:lnTo>
                      <a:pt x="0" y="34987"/>
                    </a:lnTo>
                    <a:lnTo>
                      <a:pt x="60" y="33253"/>
                    </a:lnTo>
                    <a:lnTo>
                      <a:pt x="60" y="33253"/>
                    </a:lnTo>
                    <a:lnTo>
                      <a:pt x="119" y="30143"/>
                    </a:lnTo>
                    <a:lnTo>
                      <a:pt x="119" y="30143"/>
                    </a:lnTo>
                    <a:lnTo>
                      <a:pt x="179" y="28349"/>
                    </a:lnTo>
                    <a:lnTo>
                      <a:pt x="179" y="27870"/>
                    </a:lnTo>
                    <a:lnTo>
                      <a:pt x="239" y="27511"/>
                    </a:lnTo>
                    <a:lnTo>
                      <a:pt x="957" y="24341"/>
                    </a:lnTo>
                    <a:lnTo>
                      <a:pt x="1555" y="21830"/>
                    </a:lnTo>
                    <a:lnTo>
                      <a:pt x="1794" y="20813"/>
                    </a:lnTo>
                    <a:lnTo>
                      <a:pt x="1854" y="20693"/>
                    </a:lnTo>
                    <a:lnTo>
                      <a:pt x="2392" y="19497"/>
                    </a:lnTo>
                    <a:lnTo>
                      <a:pt x="2930" y="18301"/>
                    </a:lnTo>
                    <a:lnTo>
                      <a:pt x="2990" y="18181"/>
                    </a:lnTo>
                    <a:lnTo>
                      <a:pt x="3648" y="16746"/>
                    </a:lnTo>
                    <a:lnTo>
                      <a:pt x="4665" y="14533"/>
                    </a:lnTo>
                    <a:lnTo>
                      <a:pt x="4964" y="13875"/>
                    </a:lnTo>
                    <a:lnTo>
                      <a:pt x="4964" y="13875"/>
                    </a:lnTo>
                    <a:lnTo>
                      <a:pt x="4964" y="13875"/>
                    </a:lnTo>
                    <a:lnTo>
                      <a:pt x="6878" y="11244"/>
                    </a:lnTo>
                    <a:lnTo>
                      <a:pt x="8791" y="8612"/>
                    </a:lnTo>
                    <a:lnTo>
                      <a:pt x="9210" y="8074"/>
                    </a:lnTo>
                    <a:lnTo>
                      <a:pt x="9928" y="7476"/>
                    </a:lnTo>
                    <a:lnTo>
                      <a:pt x="10406" y="7057"/>
                    </a:lnTo>
                    <a:lnTo>
                      <a:pt x="10705" y="6758"/>
                    </a:lnTo>
                    <a:lnTo>
                      <a:pt x="13157" y="4665"/>
                    </a:lnTo>
                    <a:lnTo>
                      <a:pt x="14174" y="3828"/>
                    </a:lnTo>
                    <a:lnTo>
                      <a:pt x="14354" y="3648"/>
                    </a:lnTo>
                    <a:lnTo>
                      <a:pt x="15669" y="2990"/>
                    </a:lnTo>
                    <a:lnTo>
                      <a:pt x="15669" y="2990"/>
                    </a:lnTo>
                    <a:lnTo>
                      <a:pt x="16208" y="2751"/>
                    </a:lnTo>
                    <a:lnTo>
                      <a:pt x="17643" y="2033"/>
                    </a:lnTo>
                    <a:lnTo>
                      <a:pt x="18660" y="1555"/>
                    </a:lnTo>
                    <a:lnTo>
                      <a:pt x="18660" y="1555"/>
                    </a:lnTo>
                    <a:lnTo>
                      <a:pt x="20035" y="897"/>
                    </a:lnTo>
                    <a:lnTo>
                      <a:pt x="23086" y="419"/>
                    </a:lnTo>
                    <a:lnTo>
                      <a:pt x="25777" y="0"/>
                    </a:lnTo>
                    <a:lnTo>
                      <a:pt x="25777" y="0"/>
                    </a:lnTo>
                    <a:lnTo>
                      <a:pt x="28707" y="538"/>
                    </a:lnTo>
                    <a:lnTo>
                      <a:pt x="31159" y="1017"/>
                    </a:lnTo>
                    <a:lnTo>
                      <a:pt x="33731" y="2512"/>
                    </a:lnTo>
                    <a:lnTo>
                      <a:pt x="35286" y="3409"/>
                    </a:lnTo>
                    <a:lnTo>
                      <a:pt x="35884" y="3768"/>
                    </a:lnTo>
                    <a:lnTo>
                      <a:pt x="36363" y="4366"/>
                    </a:lnTo>
                    <a:lnTo>
                      <a:pt x="38336" y="6639"/>
                    </a:lnTo>
                    <a:lnTo>
                      <a:pt x="39592" y="8134"/>
                    </a:lnTo>
                    <a:lnTo>
                      <a:pt x="39951" y="8911"/>
                    </a:lnTo>
                    <a:lnTo>
                      <a:pt x="41207" y="11722"/>
                    </a:lnTo>
                    <a:lnTo>
                      <a:pt x="41327" y="12021"/>
                    </a:lnTo>
                    <a:lnTo>
                      <a:pt x="42104" y="13756"/>
                    </a:lnTo>
                    <a:lnTo>
                      <a:pt x="42343" y="15131"/>
                    </a:lnTo>
                  </a:path>
                </a:pathLst>
              </a:custGeom>
              <a:noFill/>
              <a:ln w="6350" cap="rnd">
                <a:solidFill>
                  <a:schemeClr val="bg1">
                    <a:alpha val="80000"/>
                  </a:schemeClr>
                </a:solidFill>
                <a:prstDash val="solid"/>
                <a:round/>
              </a:ln>
            </p:spPr>
            <p:txBody>
              <a:bodyPr rtlCol="0" anchor="ctr"/>
              <a:lstStyle/>
              <a:p>
                <a:endParaRPr lang="en-GB"/>
              </a:p>
            </p:txBody>
          </p:sp>
          <p:sp>
            <p:nvSpPr>
              <p:cNvPr id="5709" name="Vrije vorm: vorm 5708">
                <a:extLst>
                  <a:ext uri="{FF2B5EF4-FFF2-40B4-BE49-F238E27FC236}">
                    <a16:creationId xmlns:a16="http://schemas.microsoft.com/office/drawing/2014/main" id="{0CB78FB1-8D96-4165-92DE-CA6CCF2E347F}"/>
                  </a:ext>
                </a:extLst>
              </p:cNvPr>
              <p:cNvSpPr/>
              <p:nvPr/>
            </p:nvSpPr>
            <p:spPr>
              <a:xfrm>
                <a:off x="6510454" y="1545279"/>
                <a:ext cx="25657" cy="53527"/>
              </a:xfrm>
              <a:custGeom>
                <a:avLst/>
                <a:gdLst>
                  <a:gd name="connsiteX0" fmla="*/ 12919 w 25657"/>
                  <a:gd name="connsiteY0" fmla="*/ 53527 h 53527"/>
                  <a:gd name="connsiteX1" fmla="*/ 10287 w 25657"/>
                  <a:gd name="connsiteY1" fmla="*/ 52152 h 53527"/>
                  <a:gd name="connsiteX2" fmla="*/ 8074 w 25657"/>
                  <a:gd name="connsiteY2" fmla="*/ 51016 h 53527"/>
                  <a:gd name="connsiteX3" fmla="*/ 5981 w 25657"/>
                  <a:gd name="connsiteY3" fmla="*/ 48862 h 53527"/>
                  <a:gd name="connsiteX4" fmla="*/ 4127 w 25657"/>
                  <a:gd name="connsiteY4" fmla="*/ 46889 h 53527"/>
                  <a:gd name="connsiteX5" fmla="*/ 2751 w 25657"/>
                  <a:gd name="connsiteY5" fmla="*/ 44138 h 53527"/>
                  <a:gd name="connsiteX6" fmla="*/ 1375 w 25657"/>
                  <a:gd name="connsiteY6" fmla="*/ 41387 h 53527"/>
                  <a:gd name="connsiteX7" fmla="*/ 718 w 25657"/>
                  <a:gd name="connsiteY7" fmla="*/ 38336 h 53527"/>
                  <a:gd name="connsiteX8" fmla="*/ 359 w 25657"/>
                  <a:gd name="connsiteY8" fmla="*/ 36602 h 53527"/>
                  <a:gd name="connsiteX9" fmla="*/ 0 w 25657"/>
                  <a:gd name="connsiteY9" fmla="*/ 34868 h 53527"/>
                  <a:gd name="connsiteX10" fmla="*/ 60 w 25657"/>
                  <a:gd name="connsiteY10" fmla="*/ 33253 h 53527"/>
                  <a:gd name="connsiteX11" fmla="*/ 120 w 25657"/>
                  <a:gd name="connsiteY11" fmla="*/ 30920 h 53527"/>
                  <a:gd name="connsiteX12" fmla="*/ 120 w 25657"/>
                  <a:gd name="connsiteY12" fmla="*/ 30203 h 53527"/>
                  <a:gd name="connsiteX13" fmla="*/ 120 w 25657"/>
                  <a:gd name="connsiteY13" fmla="*/ 29365 h 53527"/>
                  <a:gd name="connsiteX14" fmla="*/ 180 w 25657"/>
                  <a:gd name="connsiteY14" fmla="*/ 27691 h 53527"/>
                  <a:gd name="connsiteX15" fmla="*/ 897 w 25657"/>
                  <a:gd name="connsiteY15" fmla="*/ 24521 h 53527"/>
                  <a:gd name="connsiteX16" fmla="*/ 1615 w 25657"/>
                  <a:gd name="connsiteY16" fmla="*/ 21351 h 53527"/>
                  <a:gd name="connsiteX17" fmla="*/ 1794 w 25657"/>
                  <a:gd name="connsiteY17" fmla="*/ 20514 h 53527"/>
                  <a:gd name="connsiteX18" fmla="*/ 2034 w 25657"/>
                  <a:gd name="connsiteY18" fmla="*/ 19916 h 53527"/>
                  <a:gd name="connsiteX19" fmla="*/ 2093 w 25657"/>
                  <a:gd name="connsiteY19" fmla="*/ 19796 h 53527"/>
                  <a:gd name="connsiteX20" fmla="*/ 2572 w 25657"/>
                  <a:gd name="connsiteY20" fmla="*/ 18839 h 53527"/>
                  <a:gd name="connsiteX21" fmla="*/ 3588 w 25657"/>
                  <a:gd name="connsiteY21" fmla="*/ 16686 h 53527"/>
                  <a:gd name="connsiteX22" fmla="*/ 4366 w 25657"/>
                  <a:gd name="connsiteY22" fmla="*/ 15012 h 53527"/>
                  <a:gd name="connsiteX23" fmla="*/ 4545 w 25657"/>
                  <a:gd name="connsiteY23" fmla="*/ 14653 h 53527"/>
                  <a:gd name="connsiteX24" fmla="*/ 4785 w 25657"/>
                  <a:gd name="connsiteY24" fmla="*/ 14174 h 53527"/>
                  <a:gd name="connsiteX25" fmla="*/ 4904 w 25657"/>
                  <a:gd name="connsiteY25" fmla="*/ 13875 h 53527"/>
                  <a:gd name="connsiteX26" fmla="*/ 5263 w 25657"/>
                  <a:gd name="connsiteY26" fmla="*/ 13397 h 53527"/>
                  <a:gd name="connsiteX27" fmla="*/ 5263 w 25657"/>
                  <a:gd name="connsiteY27" fmla="*/ 13397 h 53527"/>
                  <a:gd name="connsiteX28" fmla="*/ 7177 w 25657"/>
                  <a:gd name="connsiteY28" fmla="*/ 10765 h 53527"/>
                  <a:gd name="connsiteX29" fmla="*/ 9151 w 25657"/>
                  <a:gd name="connsiteY29" fmla="*/ 8074 h 53527"/>
                  <a:gd name="connsiteX30" fmla="*/ 10347 w 25657"/>
                  <a:gd name="connsiteY30" fmla="*/ 7057 h 53527"/>
                  <a:gd name="connsiteX31" fmla="*/ 11543 w 25657"/>
                  <a:gd name="connsiteY31" fmla="*/ 6041 h 53527"/>
                  <a:gd name="connsiteX32" fmla="*/ 11842 w 25657"/>
                  <a:gd name="connsiteY32" fmla="*/ 5742 h 53527"/>
                  <a:gd name="connsiteX33" fmla="*/ 14294 w 25657"/>
                  <a:gd name="connsiteY33" fmla="*/ 3648 h 53527"/>
                  <a:gd name="connsiteX34" fmla="*/ 14653 w 25657"/>
                  <a:gd name="connsiteY34" fmla="*/ 3469 h 53527"/>
                  <a:gd name="connsiteX35" fmla="*/ 15131 w 25657"/>
                  <a:gd name="connsiteY35" fmla="*/ 3230 h 53527"/>
                  <a:gd name="connsiteX36" fmla="*/ 17523 w 25657"/>
                  <a:gd name="connsiteY36" fmla="*/ 2034 h 53527"/>
                  <a:gd name="connsiteX37" fmla="*/ 17643 w 25657"/>
                  <a:gd name="connsiteY37" fmla="*/ 1974 h 53527"/>
                  <a:gd name="connsiteX38" fmla="*/ 17643 w 25657"/>
                  <a:gd name="connsiteY38" fmla="*/ 1974 h 53527"/>
                  <a:gd name="connsiteX39" fmla="*/ 19198 w 25657"/>
                  <a:gd name="connsiteY39" fmla="*/ 1256 h 53527"/>
                  <a:gd name="connsiteX40" fmla="*/ 19198 w 25657"/>
                  <a:gd name="connsiteY40" fmla="*/ 1256 h 53527"/>
                  <a:gd name="connsiteX41" fmla="*/ 19916 w 25657"/>
                  <a:gd name="connsiteY41" fmla="*/ 897 h 53527"/>
                  <a:gd name="connsiteX42" fmla="*/ 22966 w 25657"/>
                  <a:gd name="connsiteY42" fmla="*/ 419 h 53527"/>
                  <a:gd name="connsiteX43" fmla="*/ 25657 w 25657"/>
                  <a:gd name="connsiteY43" fmla="*/ 0 h 5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657" h="53527">
                    <a:moveTo>
                      <a:pt x="12919" y="53527"/>
                    </a:moveTo>
                    <a:lnTo>
                      <a:pt x="10287" y="52152"/>
                    </a:lnTo>
                    <a:lnTo>
                      <a:pt x="8074" y="51016"/>
                    </a:lnTo>
                    <a:lnTo>
                      <a:pt x="5981" y="48862"/>
                    </a:lnTo>
                    <a:lnTo>
                      <a:pt x="4127" y="46889"/>
                    </a:lnTo>
                    <a:lnTo>
                      <a:pt x="2751" y="44138"/>
                    </a:lnTo>
                    <a:lnTo>
                      <a:pt x="1375" y="41387"/>
                    </a:lnTo>
                    <a:lnTo>
                      <a:pt x="718" y="38336"/>
                    </a:lnTo>
                    <a:lnTo>
                      <a:pt x="359" y="36602"/>
                    </a:lnTo>
                    <a:lnTo>
                      <a:pt x="0" y="34868"/>
                    </a:lnTo>
                    <a:lnTo>
                      <a:pt x="60" y="33253"/>
                    </a:lnTo>
                    <a:lnTo>
                      <a:pt x="120" y="30920"/>
                    </a:lnTo>
                    <a:lnTo>
                      <a:pt x="120" y="30203"/>
                    </a:lnTo>
                    <a:lnTo>
                      <a:pt x="120" y="29365"/>
                    </a:lnTo>
                    <a:lnTo>
                      <a:pt x="180" y="27691"/>
                    </a:lnTo>
                    <a:lnTo>
                      <a:pt x="897" y="24521"/>
                    </a:lnTo>
                    <a:lnTo>
                      <a:pt x="1615" y="21351"/>
                    </a:lnTo>
                    <a:lnTo>
                      <a:pt x="1794" y="20514"/>
                    </a:lnTo>
                    <a:lnTo>
                      <a:pt x="2034" y="19916"/>
                    </a:lnTo>
                    <a:lnTo>
                      <a:pt x="2093" y="19796"/>
                    </a:lnTo>
                    <a:lnTo>
                      <a:pt x="2572" y="18839"/>
                    </a:lnTo>
                    <a:lnTo>
                      <a:pt x="3588" y="16686"/>
                    </a:lnTo>
                    <a:lnTo>
                      <a:pt x="4366" y="15012"/>
                    </a:lnTo>
                    <a:lnTo>
                      <a:pt x="4545" y="14653"/>
                    </a:lnTo>
                    <a:lnTo>
                      <a:pt x="4785" y="14174"/>
                    </a:lnTo>
                    <a:lnTo>
                      <a:pt x="4904" y="13875"/>
                    </a:lnTo>
                    <a:lnTo>
                      <a:pt x="5263" y="13397"/>
                    </a:lnTo>
                    <a:lnTo>
                      <a:pt x="5263" y="13397"/>
                    </a:lnTo>
                    <a:lnTo>
                      <a:pt x="7177" y="10765"/>
                    </a:lnTo>
                    <a:lnTo>
                      <a:pt x="9151" y="8074"/>
                    </a:lnTo>
                    <a:lnTo>
                      <a:pt x="10347" y="7057"/>
                    </a:lnTo>
                    <a:lnTo>
                      <a:pt x="11543" y="6041"/>
                    </a:lnTo>
                    <a:lnTo>
                      <a:pt x="11842" y="5742"/>
                    </a:lnTo>
                    <a:lnTo>
                      <a:pt x="14294" y="3648"/>
                    </a:lnTo>
                    <a:lnTo>
                      <a:pt x="14653" y="3469"/>
                    </a:lnTo>
                    <a:lnTo>
                      <a:pt x="15131" y="3230"/>
                    </a:lnTo>
                    <a:lnTo>
                      <a:pt x="17523" y="2034"/>
                    </a:lnTo>
                    <a:lnTo>
                      <a:pt x="17643" y="1974"/>
                    </a:lnTo>
                    <a:lnTo>
                      <a:pt x="17643" y="1974"/>
                    </a:lnTo>
                    <a:lnTo>
                      <a:pt x="19198" y="1256"/>
                    </a:lnTo>
                    <a:lnTo>
                      <a:pt x="19198" y="1256"/>
                    </a:lnTo>
                    <a:lnTo>
                      <a:pt x="19916" y="897"/>
                    </a:lnTo>
                    <a:lnTo>
                      <a:pt x="22966" y="419"/>
                    </a:lnTo>
                    <a:lnTo>
                      <a:pt x="25657" y="0"/>
                    </a:lnTo>
                  </a:path>
                </a:pathLst>
              </a:custGeom>
              <a:noFill/>
              <a:ln w="6350" cap="rnd">
                <a:solidFill>
                  <a:schemeClr val="bg1">
                    <a:alpha val="80000"/>
                  </a:schemeClr>
                </a:solidFill>
                <a:prstDash val="solid"/>
                <a:round/>
              </a:ln>
            </p:spPr>
            <p:txBody>
              <a:bodyPr rtlCol="0" anchor="ctr"/>
              <a:lstStyle/>
              <a:p>
                <a:endParaRPr lang="en-GB"/>
              </a:p>
            </p:txBody>
          </p:sp>
          <p:sp>
            <p:nvSpPr>
              <p:cNvPr id="5710" name="Vrije vorm: vorm 5709">
                <a:extLst>
                  <a:ext uri="{FF2B5EF4-FFF2-40B4-BE49-F238E27FC236}">
                    <a16:creationId xmlns:a16="http://schemas.microsoft.com/office/drawing/2014/main" id="{F407CDDE-E3FE-4C39-939E-B137FF717864}"/>
                  </a:ext>
                </a:extLst>
              </p:cNvPr>
              <p:cNvSpPr/>
              <p:nvPr/>
            </p:nvSpPr>
            <p:spPr>
              <a:xfrm>
                <a:off x="6536111" y="1545459"/>
                <a:ext cx="1375" cy="239"/>
              </a:xfrm>
              <a:custGeom>
                <a:avLst/>
                <a:gdLst>
                  <a:gd name="connsiteX0" fmla="*/ 0 w 1375"/>
                  <a:gd name="connsiteY0" fmla="*/ 0 h 239"/>
                  <a:gd name="connsiteX1" fmla="*/ 1376 w 1375"/>
                  <a:gd name="connsiteY1" fmla="*/ 239 h 239"/>
                </a:gdLst>
                <a:ahLst/>
                <a:cxnLst>
                  <a:cxn ang="0">
                    <a:pos x="connsiteX0" y="connsiteY0"/>
                  </a:cxn>
                  <a:cxn ang="0">
                    <a:pos x="connsiteX1" y="connsiteY1"/>
                  </a:cxn>
                </a:cxnLst>
                <a:rect l="l" t="t" r="r" b="b"/>
                <a:pathLst>
                  <a:path w="1375" h="239">
                    <a:moveTo>
                      <a:pt x="0" y="0"/>
                    </a:moveTo>
                    <a:lnTo>
                      <a:pt x="1376" y="239"/>
                    </a:lnTo>
                  </a:path>
                </a:pathLst>
              </a:custGeom>
              <a:noFill/>
              <a:ln w="6350" cap="rnd">
                <a:solidFill>
                  <a:schemeClr val="bg1">
                    <a:alpha val="80000"/>
                  </a:schemeClr>
                </a:solidFill>
                <a:prstDash val="solid"/>
                <a:round/>
              </a:ln>
            </p:spPr>
            <p:txBody>
              <a:bodyPr rtlCol="0" anchor="ctr"/>
              <a:lstStyle/>
              <a:p>
                <a:endParaRPr lang="en-GB"/>
              </a:p>
            </p:txBody>
          </p:sp>
          <p:sp>
            <p:nvSpPr>
              <p:cNvPr id="5711" name="Vrije vorm: vorm 5710">
                <a:extLst>
                  <a:ext uri="{FF2B5EF4-FFF2-40B4-BE49-F238E27FC236}">
                    <a16:creationId xmlns:a16="http://schemas.microsoft.com/office/drawing/2014/main" id="{B3A5D9F7-9777-40A7-97B1-869CE93E6A08}"/>
                  </a:ext>
                </a:extLst>
              </p:cNvPr>
              <p:cNvSpPr/>
              <p:nvPr/>
            </p:nvSpPr>
            <p:spPr>
              <a:xfrm>
                <a:off x="6548132" y="1550123"/>
                <a:ext cx="7535" cy="11961"/>
              </a:xfrm>
              <a:custGeom>
                <a:avLst/>
                <a:gdLst>
                  <a:gd name="connsiteX0" fmla="*/ 0 w 7535"/>
                  <a:gd name="connsiteY0" fmla="*/ 0 h 11961"/>
                  <a:gd name="connsiteX1" fmla="*/ 2273 w 7535"/>
                  <a:gd name="connsiteY1" fmla="*/ 1914 h 11961"/>
                  <a:gd name="connsiteX2" fmla="*/ 4545 w 7535"/>
                  <a:gd name="connsiteY2" fmla="*/ 3828 h 11961"/>
                  <a:gd name="connsiteX3" fmla="*/ 4785 w 7535"/>
                  <a:gd name="connsiteY3" fmla="*/ 4007 h 11961"/>
                  <a:gd name="connsiteX4" fmla="*/ 5622 w 7535"/>
                  <a:gd name="connsiteY4" fmla="*/ 5682 h 11961"/>
                  <a:gd name="connsiteX5" fmla="*/ 5981 w 7535"/>
                  <a:gd name="connsiteY5" fmla="*/ 6519 h 11961"/>
                  <a:gd name="connsiteX6" fmla="*/ 6340 w 7535"/>
                  <a:gd name="connsiteY6" fmla="*/ 7476 h 11961"/>
                  <a:gd name="connsiteX7" fmla="*/ 6938 w 7535"/>
                  <a:gd name="connsiteY7" fmla="*/ 9330 h 11961"/>
                  <a:gd name="connsiteX8" fmla="*/ 7416 w 7535"/>
                  <a:gd name="connsiteY8" fmla="*/ 11304 h 11961"/>
                  <a:gd name="connsiteX9" fmla="*/ 7536 w 7535"/>
                  <a:gd name="connsiteY9" fmla="*/ 11961 h 1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5" h="11961">
                    <a:moveTo>
                      <a:pt x="0" y="0"/>
                    </a:moveTo>
                    <a:lnTo>
                      <a:pt x="2273" y="1914"/>
                    </a:lnTo>
                    <a:lnTo>
                      <a:pt x="4545" y="3828"/>
                    </a:lnTo>
                    <a:lnTo>
                      <a:pt x="4785" y="4007"/>
                    </a:lnTo>
                    <a:lnTo>
                      <a:pt x="5622" y="5682"/>
                    </a:lnTo>
                    <a:lnTo>
                      <a:pt x="5981" y="6519"/>
                    </a:lnTo>
                    <a:lnTo>
                      <a:pt x="6340" y="7476"/>
                    </a:lnTo>
                    <a:lnTo>
                      <a:pt x="6938" y="9330"/>
                    </a:lnTo>
                    <a:lnTo>
                      <a:pt x="7416" y="11304"/>
                    </a:lnTo>
                    <a:lnTo>
                      <a:pt x="7536" y="11961"/>
                    </a:lnTo>
                  </a:path>
                </a:pathLst>
              </a:custGeom>
              <a:noFill/>
              <a:ln w="6350" cap="rnd">
                <a:solidFill>
                  <a:schemeClr val="bg1">
                    <a:alpha val="80000"/>
                  </a:schemeClr>
                </a:solidFill>
                <a:prstDash val="solid"/>
                <a:round/>
              </a:ln>
            </p:spPr>
            <p:txBody>
              <a:bodyPr rtlCol="0" anchor="ctr"/>
              <a:lstStyle/>
              <a:p>
                <a:endParaRPr lang="en-GB"/>
              </a:p>
            </p:txBody>
          </p:sp>
          <p:sp>
            <p:nvSpPr>
              <p:cNvPr id="5712" name="Vrije vorm: vorm 5711">
                <a:extLst>
                  <a:ext uri="{FF2B5EF4-FFF2-40B4-BE49-F238E27FC236}">
                    <a16:creationId xmlns:a16="http://schemas.microsoft.com/office/drawing/2014/main" id="{F8D41587-3B4A-4188-A5F4-1F9AF0006CBE}"/>
                  </a:ext>
                </a:extLst>
              </p:cNvPr>
              <p:cNvSpPr/>
              <p:nvPr/>
            </p:nvSpPr>
            <p:spPr>
              <a:xfrm>
                <a:off x="6554113" y="1556702"/>
                <a:ext cx="4126" cy="6758"/>
              </a:xfrm>
              <a:custGeom>
                <a:avLst/>
                <a:gdLst>
                  <a:gd name="connsiteX0" fmla="*/ 0 w 4126"/>
                  <a:gd name="connsiteY0" fmla="*/ 0 h 6758"/>
                  <a:gd name="connsiteX1" fmla="*/ 1735 w 4126"/>
                  <a:gd name="connsiteY1" fmla="*/ 1495 h 6758"/>
                  <a:gd name="connsiteX2" fmla="*/ 2392 w 4126"/>
                  <a:gd name="connsiteY2" fmla="*/ 2153 h 6758"/>
                  <a:gd name="connsiteX3" fmla="*/ 2930 w 4126"/>
                  <a:gd name="connsiteY3" fmla="*/ 2931 h 6758"/>
                  <a:gd name="connsiteX4" fmla="*/ 3409 w 4126"/>
                  <a:gd name="connsiteY4" fmla="*/ 3828 h 6758"/>
                  <a:gd name="connsiteX5" fmla="*/ 3768 w 4126"/>
                  <a:gd name="connsiteY5" fmla="*/ 4785 h 6758"/>
                  <a:gd name="connsiteX6" fmla="*/ 4007 w 4126"/>
                  <a:gd name="connsiteY6" fmla="*/ 5801 h 6758"/>
                  <a:gd name="connsiteX7" fmla="*/ 4127 w 4126"/>
                  <a:gd name="connsiteY7" fmla="*/ 6758 h 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6" h="6758">
                    <a:moveTo>
                      <a:pt x="0" y="0"/>
                    </a:moveTo>
                    <a:lnTo>
                      <a:pt x="1735" y="1495"/>
                    </a:lnTo>
                    <a:lnTo>
                      <a:pt x="2392" y="2153"/>
                    </a:lnTo>
                    <a:lnTo>
                      <a:pt x="2930" y="2931"/>
                    </a:lnTo>
                    <a:lnTo>
                      <a:pt x="3409" y="3828"/>
                    </a:lnTo>
                    <a:lnTo>
                      <a:pt x="3768" y="4785"/>
                    </a:lnTo>
                    <a:lnTo>
                      <a:pt x="4007" y="5801"/>
                    </a:lnTo>
                    <a:lnTo>
                      <a:pt x="4127" y="6758"/>
                    </a:lnTo>
                  </a:path>
                </a:pathLst>
              </a:custGeom>
              <a:noFill/>
              <a:ln w="6350" cap="rnd">
                <a:solidFill>
                  <a:schemeClr val="bg1">
                    <a:alpha val="80000"/>
                  </a:schemeClr>
                </a:solidFill>
                <a:prstDash val="solid"/>
                <a:round/>
              </a:ln>
            </p:spPr>
            <p:txBody>
              <a:bodyPr rtlCol="0" anchor="ctr"/>
              <a:lstStyle/>
              <a:p>
                <a:endParaRPr lang="en-GB"/>
              </a:p>
            </p:txBody>
          </p:sp>
          <p:sp>
            <p:nvSpPr>
              <p:cNvPr id="5713" name="Vrije vorm: vorm 5712">
                <a:extLst>
                  <a:ext uri="{FF2B5EF4-FFF2-40B4-BE49-F238E27FC236}">
                    <a16:creationId xmlns:a16="http://schemas.microsoft.com/office/drawing/2014/main" id="{F8F86D00-7646-49BC-82A7-E1A6DB9FFE7C}"/>
                  </a:ext>
                </a:extLst>
              </p:cNvPr>
              <p:cNvSpPr/>
              <p:nvPr/>
            </p:nvSpPr>
            <p:spPr>
              <a:xfrm>
                <a:off x="6624267" y="1576558"/>
                <a:ext cx="35345" cy="47845"/>
              </a:xfrm>
              <a:custGeom>
                <a:avLst/>
                <a:gdLst>
                  <a:gd name="connsiteX0" fmla="*/ 27870 w 35345"/>
                  <a:gd name="connsiteY0" fmla="*/ 38157 h 47845"/>
                  <a:gd name="connsiteX1" fmla="*/ 26435 w 35345"/>
                  <a:gd name="connsiteY1" fmla="*/ 40190 h 47845"/>
                  <a:gd name="connsiteX2" fmla="*/ 24102 w 35345"/>
                  <a:gd name="connsiteY2" fmla="*/ 42403 h 47845"/>
                  <a:gd name="connsiteX3" fmla="*/ 22308 w 35345"/>
                  <a:gd name="connsiteY3" fmla="*/ 44138 h 47845"/>
                  <a:gd name="connsiteX4" fmla="*/ 19557 w 35345"/>
                  <a:gd name="connsiteY4" fmla="*/ 45752 h 47845"/>
                  <a:gd name="connsiteX5" fmla="*/ 17822 w 35345"/>
                  <a:gd name="connsiteY5" fmla="*/ 46769 h 47845"/>
                  <a:gd name="connsiteX6" fmla="*/ 14832 w 35345"/>
                  <a:gd name="connsiteY6" fmla="*/ 47487 h 47845"/>
                  <a:gd name="connsiteX7" fmla="*/ 13337 w 35345"/>
                  <a:gd name="connsiteY7" fmla="*/ 47846 h 47845"/>
                  <a:gd name="connsiteX8" fmla="*/ 10347 w 35345"/>
                  <a:gd name="connsiteY8" fmla="*/ 47487 h 47845"/>
                  <a:gd name="connsiteX9" fmla="*/ 9090 w 35345"/>
                  <a:gd name="connsiteY9" fmla="*/ 47367 h 47845"/>
                  <a:gd name="connsiteX10" fmla="*/ 6519 w 35345"/>
                  <a:gd name="connsiteY10" fmla="*/ 45932 h 47845"/>
                  <a:gd name="connsiteX11" fmla="*/ 5921 w 35345"/>
                  <a:gd name="connsiteY11" fmla="*/ 45633 h 47845"/>
                  <a:gd name="connsiteX12" fmla="*/ 5921 w 35345"/>
                  <a:gd name="connsiteY12" fmla="*/ 45633 h 47845"/>
                  <a:gd name="connsiteX13" fmla="*/ 5382 w 35345"/>
                  <a:gd name="connsiteY13" fmla="*/ 45334 h 47845"/>
                  <a:gd name="connsiteX14" fmla="*/ 3588 w 35345"/>
                  <a:gd name="connsiteY14" fmla="*/ 43121 h 47845"/>
                  <a:gd name="connsiteX15" fmla="*/ 2811 w 35345"/>
                  <a:gd name="connsiteY15" fmla="*/ 42164 h 47845"/>
                  <a:gd name="connsiteX16" fmla="*/ 2512 w 35345"/>
                  <a:gd name="connsiteY16" fmla="*/ 41805 h 47845"/>
                  <a:gd name="connsiteX17" fmla="*/ 1973 w 35345"/>
                  <a:gd name="connsiteY17" fmla="*/ 40430 h 47845"/>
                  <a:gd name="connsiteX18" fmla="*/ 1017 w 35345"/>
                  <a:gd name="connsiteY18" fmla="*/ 37978 h 47845"/>
                  <a:gd name="connsiteX19" fmla="*/ 658 w 35345"/>
                  <a:gd name="connsiteY19" fmla="*/ 37021 h 47845"/>
                  <a:gd name="connsiteX20" fmla="*/ 658 w 35345"/>
                  <a:gd name="connsiteY20" fmla="*/ 36781 h 47845"/>
                  <a:gd name="connsiteX21" fmla="*/ 299 w 35345"/>
                  <a:gd name="connsiteY21" fmla="*/ 33671 h 47845"/>
                  <a:gd name="connsiteX22" fmla="*/ 0 w 35345"/>
                  <a:gd name="connsiteY22" fmla="*/ 31279 h 47845"/>
                  <a:gd name="connsiteX23" fmla="*/ 299 w 35345"/>
                  <a:gd name="connsiteY23" fmla="*/ 28109 h 47845"/>
                  <a:gd name="connsiteX24" fmla="*/ 538 w 35345"/>
                  <a:gd name="connsiteY24" fmla="*/ 25059 h 47845"/>
                  <a:gd name="connsiteX25" fmla="*/ 1375 w 35345"/>
                  <a:gd name="connsiteY25" fmla="*/ 21949 h 47845"/>
                  <a:gd name="connsiteX26" fmla="*/ 2213 w 35345"/>
                  <a:gd name="connsiteY26" fmla="*/ 18839 h 47845"/>
                  <a:gd name="connsiteX27" fmla="*/ 2273 w 35345"/>
                  <a:gd name="connsiteY27" fmla="*/ 18720 h 47845"/>
                  <a:gd name="connsiteX28" fmla="*/ 3648 w 35345"/>
                  <a:gd name="connsiteY28" fmla="*/ 15789 h 47845"/>
                  <a:gd name="connsiteX29" fmla="*/ 5024 w 35345"/>
                  <a:gd name="connsiteY29" fmla="*/ 12859 h 47845"/>
                  <a:gd name="connsiteX30" fmla="*/ 5083 w 35345"/>
                  <a:gd name="connsiteY30" fmla="*/ 12739 h 47845"/>
                  <a:gd name="connsiteX31" fmla="*/ 6997 w 35345"/>
                  <a:gd name="connsiteY31" fmla="*/ 10107 h 47845"/>
                  <a:gd name="connsiteX32" fmla="*/ 8851 w 35345"/>
                  <a:gd name="connsiteY32" fmla="*/ 7536 h 47845"/>
                  <a:gd name="connsiteX33" fmla="*/ 11244 w 35345"/>
                  <a:gd name="connsiteY33" fmla="*/ 5323 h 47845"/>
                  <a:gd name="connsiteX34" fmla="*/ 11303 w 35345"/>
                  <a:gd name="connsiteY34" fmla="*/ 5263 h 47845"/>
                  <a:gd name="connsiteX35" fmla="*/ 13217 w 35345"/>
                  <a:gd name="connsiteY35" fmla="*/ 3529 h 47845"/>
                  <a:gd name="connsiteX36" fmla="*/ 13875 w 35345"/>
                  <a:gd name="connsiteY36" fmla="*/ 3170 h 47845"/>
                  <a:gd name="connsiteX37" fmla="*/ 16626 w 35345"/>
                  <a:gd name="connsiteY37" fmla="*/ 1675 h 47845"/>
                  <a:gd name="connsiteX38" fmla="*/ 17882 w 35345"/>
                  <a:gd name="connsiteY38" fmla="*/ 957 h 47845"/>
                  <a:gd name="connsiteX39" fmla="*/ 18360 w 35345"/>
                  <a:gd name="connsiteY39" fmla="*/ 837 h 47845"/>
                  <a:gd name="connsiteX40" fmla="*/ 21411 w 35345"/>
                  <a:gd name="connsiteY40" fmla="*/ 239 h 47845"/>
                  <a:gd name="connsiteX41" fmla="*/ 22487 w 35345"/>
                  <a:gd name="connsiteY41" fmla="*/ 0 h 47845"/>
                  <a:gd name="connsiteX42" fmla="*/ 25418 w 35345"/>
                  <a:gd name="connsiteY42" fmla="*/ 538 h 47845"/>
                  <a:gd name="connsiteX43" fmla="*/ 26734 w 35345"/>
                  <a:gd name="connsiteY43" fmla="*/ 777 h 47845"/>
                  <a:gd name="connsiteX44" fmla="*/ 29245 w 35345"/>
                  <a:gd name="connsiteY44" fmla="*/ 2392 h 47845"/>
                  <a:gd name="connsiteX45" fmla="*/ 30382 w 35345"/>
                  <a:gd name="connsiteY45" fmla="*/ 3110 h 47845"/>
                  <a:gd name="connsiteX46" fmla="*/ 32176 w 35345"/>
                  <a:gd name="connsiteY46" fmla="*/ 5562 h 47845"/>
                  <a:gd name="connsiteX47" fmla="*/ 33133 w 35345"/>
                  <a:gd name="connsiteY47" fmla="*/ 6878 h 47845"/>
                  <a:gd name="connsiteX48" fmla="*/ 34150 w 35345"/>
                  <a:gd name="connsiteY48" fmla="*/ 9808 h 47845"/>
                  <a:gd name="connsiteX49" fmla="*/ 34807 w 35345"/>
                  <a:gd name="connsiteY49" fmla="*/ 11782 h 47845"/>
                  <a:gd name="connsiteX50" fmla="*/ 35107 w 35345"/>
                  <a:gd name="connsiteY50" fmla="*/ 14952 h 47845"/>
                  <a:gd name="connsiteX51" fmla="*/ 35346 w 35345"/>
                  <a:gd name="connsiteY51" fmla="*/ 17464 h 47845"/>
                  <a:gd name="connsiteX52" fmla="*/ 35286 w 35345"/>
                  <a:gd name="connsiteY52" fmla="*/ 17942 h 4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5345" h="47845">
                    <a:moveTo>
                      <a:pt x="27870" y="38157"/>
                    </a:moveTo>
                    <a:lnTo>
                      <a:pt x="26435" y="40190"/>
                    </a:lnTo>
                    <a:lnTo>
                      <a:pt x="24102" y="42403"/>
                    </a:lnTo>
                    <a:lnTo>
                      <a:pt x="22308" y="44138"/>
                    </a:lnTo>
                    <a:lnTo>
                      <a:pt x="19557" y="45752"/>
                    </a:lnTo>
                    <a:lnTo>
                      <a:pt x="17822" y="46769"/>
                    </a:lnTo>
                    <a:lnTo>
                      <a:pt x="14832" y="47487"/>
                    </a:lnTo>
                    <a:lnTo>
                      <a:pt x="13337" y="47846"/>
                    </a:lnTo>
                    <a:lnTo>
                      <a:pt x="10347" y="47487"/>
                    </a:lnTo>
                    <a:lnTo>
                      <a:pt x="9090" y="47367"/>
                    </a:lnTo>
                    <a:lnTo>
                      <a:pt x="6519" y="45932"/>
                    </a:lnTo>
                    <a:lnTo>
                      <a:pt x="5921" y="45633"/>
                    </a:lnTo>
                    <a:lnTo>
                      <a:pt x="5921" y="45633"/>
                    </a:lnTo>
                    <a:lnTo>
                      <a:pt x="5382" y="45334"/>
                    </a:lnTo>
                    <a:lnTo>
                      <a:pt x="3588" y="43121"/>
                    </a:lnTo>
                    <a:lnTo>
                      <a:pt x="2811" y="42164"/>
                    </a:lnTo>
                    <a:lnTo>
                      <a:pt x="2512" y="41805"/>
                    </a:lnTo>
                    <a:lnTo>
                      <a:pt x="1973" y="40430"/>
                    </a:lnTo>
                    <a:lnTo>
                      <a:pt x="1017" y="37978"/>
                    </a:lnTo>
                    <a:lnTo>
                      <a:pt x="658" y="37021"/>
                    </a:lnTo>
                    <a:lnTo>
                      <a:pt x="658" y="36781"/>
                    </a:lnTo>
                    <a:lnTo>
                      <a:pt x="299" y="33671"/>
                    </a:lnTo>
                    <a:lnTo>
                      <a:pt x="0" y="31279"/>
                    </a:lnTo>
                    <a:lnTo>
                      <a:pt x="299" y="28109"/>
                    </a:lnTo>
                    <a:lnTo>
                      <a:pt x="538" y="25059"/>
                    </a:lnTo>
                    <a:lnTo>
                      <a:pt x="1375" y="21949"/>
                    </a:lnTo>
                    <a:lnTo>
                      <a:pt x="2213" y="18839"/>
                    </a:lnTo>
                    <a:lnTo>
                      <a:pt x="2273" y="18720"/>
                    </a:lnTo>
                    <a:lnTo>
                      <a:pt x="3648" y="15789"/>
                    </a:lnTo>
                    <a:lnTo>
                      <a:pt x="5024" y="12859"/>
                    </a:lnTo>
                    <a:lnTo>
                      <a:pt x="5083" y="12739"/>
                    </a:lnTo>
                    <a:lnTo>
                      <a:pt x="6997" y="10107"/>
                    </a:lnTo>
                    <a:lnTo>
                      <a:pt x="8851" y="7536"/>
                    </a:lnTo>
                    <a:lnTo>
                      <a:pt x="11244" y="5323"/>
                    </a:lnTo>
                    <a:lnTo>
                      <a:pt x="11303" y="5263"/>
                    </a:lnTo>
                    <a:lnTo>
                      <a:pt x="13217" y="3529"/>
                    </a:lnTo>
                    <a:lnTo>
                      <a:pt x="13875" y="3170"/>
                    </a:lnTo>
                    <a:lnTo>
                      <a:pt x="16626" y="1675"/>
                    </a:lnTo>
                    <a:lnTo>
                      <a:pt x="17882" y="957"/>
                    </a:lnTo>
                    <a:lnTo>
                      <a:pt x="18360" y="837"/>
                    </a:lnTo>
                    <a:lnTo>
                      <a:pt x="21411" y="239"/>
                    </a:lnTo>
                    <a:lnTo>
                      <a:pt x="22487" y="0"/>
                    </a:lnTo>
                    <a:lnTo>
                      <a:pt x="25418" y="538"/>
                    </a:lnTo>
                    <a:lnTo>
                      <a:pt x="26734" y="777"/>
                    </a:lnTo>
                    <a:lnTo>
                      <a:pt x="29245" y="2392"/>
                    </a:lnTo>
                    <a:lnTo>
                      <a:pt x="30382" y="3110"/>
                    </a:lnTo>
                    <a:lnTo>
                      <a:pt x="32176" y="5562"/>
                    </a:lnTo>
                    <a:lnTo>
                      <a:pt x="33133" y="6878"/>
                    </a:lnTo>
                    <a:lnTo>
                      <a:pt x="34150" y="9808"/>
                    </a:lnTo>
                    <a:lnTo>
                      <a:pt x="34807" y="11782"/>
                    </a:lnTo>
                    <a:lnTo>
                      <a:pt x="35107" y="14952"/>
                    </a:lnTo>
                    <a:lnTo>
                      <a:pt x="35346" y="17464"/>
                    </a:lnTo>
                    <a:lnTo>
                      <a:pt x="35286" y="17942"/>
                    </a:lnTo>
                  </a:path>
                </a:pathLst>
              </a:custGeom>
              <a:noFill/>
              <a:ln w="6350" cap="rnd">
                <a:solidFill>
                  <a:schemeClr val="bg1">
                    <a:alpha val="80000"/>
                  </a:schemeClr>
                </a:solidFill>
                <a:prstDash val="solid"/>
                <a:round/>
              </a:ln>
            </p:spPr>
            <p:txBody>
              <a:bodyPr rtlCol="0" anchor="ctr"/>
              <a:lstStyle/>
              <a:p>
                <a:endParaRPr lang="en-GB"/>
              </a:p>
            </p:txBody>
          </p:sp>
          <p:sp>
            <p:nvSpPr>
              <p:cNvPr id="5714" name="Vrije vorm: vorm 5713">
                <a:extLst>
                  <a:ext uri="{FF2B5EF4-FFF2-40B4-BE49-F238E27FC236}">
                    <a16:creationId xmlns:a16="http://schemas.microsoft.com/office/drawing/2014/main" id="{59FBF4CE-B703-4A1B-8895-E22F385DAD00}"/>
                  </a:ext>
                </a:extLst>
              </p:cNvPr>
              <p:cNvSpPr/>
              <p:nvPr/>
            </p:nvSpPr>
            <p:spPr>
              <a:xfrm>
                <a:off x="6628872" y="1582898"/>
                <a:ext cx="19616" cy="34807"/>
              </a:xfrm>
              <a:custGeom>
                <a:avLst/>
                <a:gdLst>
                  <a:gd name="connsiteX0" fmla="*/ 19617 w 19616"/>
                  <a:gd name="connsiteY0" fmla="*/ 538 h 34807"/>
                  <a:gd name="connsiteX1" fmla="*/ 19019 w 19616"/>
                  <a:gd name="connsiteY1" fmla="*/ 419 h 34807"/>
                  <a:gd name="connsiteX2" fmla="*/ 17045 w 19616"/>
                  <a:gd name="connsiteY2" fmla="*/ 120 h 34807"/>
                  <a:gd name="connsiteX3" fmla="*/ 16507 w 19616"/>
                  <a:gd name="connsiteY3" fmla="*/ 0 h 34807"/>
                  <a:gd name="connsiteX4" fmla="*/ 14653 w 19616"/>
                  <a:gd name="connsiteY4" fmla="*/ 359 h 34807"/>
                  <a:gd name="connsiteX5" fmla="*/ 14474 w 19616"/>
                  <a:gd name="connsiteY5" fmla="*/ 419 h 34807"/>
                  <a:gd name="connsiteX6" fmla="*/ 13158 w 19616"/>
                  <a:gd name="connsiteY6" fmla="*/ 718 h 34807"/>
                  <a:gd name="connsiteX7" fmla="*/ 10347 w 19616"/>
                  <a:gd name="connsiteY7" fmla="*/ 2273 h 34807"/>
                  <a:gd name="connsiteX8" fmla="*/ 9749 w 19616"/>
                  <a:gd name="connsiteY8" fmla="*/ 2632 h 34807"/>
                  <a:gd name="connsiteX9" fmla="*/ 7357 w 19616"/>
                  <a:gd name="connsiteY9" fmla="*/ 4844 h 34807"/>
                  <a:gd name="connsiteX10" fmla="*/ 6519 w 19616"/>
                  <a:gd name="connsiteY10" fmla="*/ 5562 h 34807"/>
                  <a:gd name="connsiteX11" fmla="*/ 4605 w 19616"/>
                  <a:gd name="connsiteY11" fmla="*/ 8194 h 34807"/>
                  <a:gd name="connsiteX12" fmla="*/ 3768 w 19616"/>
                  <a:gd name="connsiteY12" fmla="*/ 9330 h 34807"/>
                  <a:gd name="connsiteX13" fmla="*/ 2392 w 19616"/>
                  <a:gd name="connsiteY13" fmla="*/ 12260 h 34807"/>
                  <a:gd name="connsiteX14" fmla="*/ 1735 w 19616"/>
                  <a:gd name="connsiteY14" fmla="*/ 13696 h 34807"/>
                  <a:gd name="connsiteX15" fmla="*/ 837 w 19616"/>
                  <a:gd name="connsiteY15" fmla="*/ 16806 h 34807"/>
                  <a:gd name="connsiteX16" fmla="*/ 419 w 19616"/>
                  <a:gd name="connsiteY16" fmla="*/ 18361 h 34807"/>
                  <a:gd name="connsiteX17" fmla="*/ 120 w 19616"/>
                  <a:gd name="connsiteY17" fmla="*/ 21531 h 34807"/>
                  <a:gd name="connsiteX18" fmla="*/ 0 w 19616"/>
                  <a:gd name="connsiteY18" fmla="*/ 22906 h 34807"/>
                  <a:gd name="connsiteX19" fmla="*/ 359 w 19616"/>
                  <a:gd name="connsiteY19" fmla="*/ 26016 h 34807"/>
                  <a:gd name="connsiteX20" fmla="*/ 479 w 19616"/>
                  <a:gd name="connsiteY20" fmla="*/ 27093 h 34807"/>
                  <a:gd name="connsiteX21" fmla="*/ 1555 w 19616"/>
                  <a:gd name="connsiteY21" fmla="*/ 29963 h 34807"/>
                  <a:gd name="connsiteX22" fmla="*/ 1794 w 19616"/>
                  <a:gd name="connsiteY22" fmla="*/ 30621 h 34807"/>
                  <a:gd name="connsiteX23" fmla="*/ 3469 w 19616"/>
                  <a:gd name="connsiteY23" fmla="*/ 32715 h 34807"/>
                  <a:gd name="connsiteX24" fmla="*/ 3888 w 19616"/>
                  <a:gd name="connsiteY24" fmla="*/ 33253 h 34807"/>
                  <a:gd name="connsiteX25" fmla="*/ 5503 w 19616"/>
                  <a:gd name="connsiteY25" fmla="*/ 34150 h 34807"/>
                  <a:gd name="connsiteX26" fmla="*/ 6639 w 19616"/>
                  <a:gd name="connsiteY26" fmla="*/ 34808 h 3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16" h="34807">
                    <a:moveTo>
                      <a:pt x="19617" y="538"/>
                    </a:moveTo>
                    <a:lnTo>
                      <a:pt x="19019" y="419"/>
                    </a:lnTo>
                    <a:lnTo>
                      <a:pt x="17045" y="120"/>
                    </a:lnTo>
                    <a:lnTo>
                      <a:pt x="16507" y="0"/>
                    </a:lnTo>
                    <a:lnTo>
                      <a:pt x="14653" y="359"/>
                    </a:lnTo>
                    <a:lnTo>
                      <a:pt x="14474" y="419"/>
                    </a:lnTo>
                    <a:lnTo>
                      <a:pt x="13158" y="718"/>
                    </a:lnTo>
                    <a:lnTo>
                      <a:pt x="10347" y="2273"/>
                    </a:lnTo>
                    <a:lnTo>
                      <a:pt x="9749" y="2632"/>
                    </a:lnTo>
                    <a:lnTo>
                      <a:pt x="7357" y="4844"/>
                    </a:lnTo>
                    <a:lnTo>
                      <a:pt x="6519" y="5562"/>
                    </a:lnTo>
                    <a:lnTo>
                      <a:pt x="4605" y="8194"/>
                    </a:lnTo>
                    <a:lnTo>
                      <a:pt x="3768" y="9330"/>
                    </a:lnTo>
                    <a:lnTo>
                      <a:pt x="2392" y="12260"/>
                    </a:lnTo>
                    <a:lnTo>
                      <a:pt x="1735" y="13696"/>
                    </a:lnTo>
                    <a:lnTo>
                      <a:pt x="837" y="16806"/>
                    </a:lnTo>
                    <a:lnTo>
                      <a:pt x="419" y="18361"/>
                    </a:lnTo>
                    <a:lnTo>
                      <a:pt x="120" y="21531"/>
                    </a:lnTo>
                    <a:lnTo>
                      <a:pt x="0" y="22906"/>
                    </a:lnTo>
                    <a:lnTo>
                      <a:pt x="359" y="26016"/>
                    </a:lnTo>
                    <a:lnTo>
                      <a:pt x="479" y="27093"/>
                    </a:lnTo>
                    <a:lnTo>
                      <a:pt x="1555" y="29963"/>
                    </a:lnTo>
                    <a:lnTo>
                      <a:pt x="1794" y="30621"/>
                    </a:lnTo>
                    <a:lnTo>
                      <a:pt x="3469" y="32715"/>
                    </a:lnTo>
                    <a:lnTo>
                      <a:pt x="3888" y="33253"/>
                    </a:lnTo>
                    <a:lnTo>
                      <a:pt x="5503" y="34150"/>
                    </a:lnTo>
                    <a:lnTo>
                      <a:pt x="6639" y="34808"/>
                    </a:lnTo>
                  </a:path>
                </a:pathLst>
              </a:custGeom>
              <a:noFill/>
              <a:ln w="6350" cap="rnd">
                <a:solidFill>
                  <a:schemeClr val="bg1">
                    <a:alpha val="80000"/>
                  </a:schemeClr>
                </a:solidFill>
                <a:prstDash val="solid"/>
                <a:round/>
              </a:ln>
            </p:spPr>
            <p:txBody>
              <a:bodyPr rtlCol="0" anchor="ctr"/>
              <a:lstStyle/>
              <a:p>
                <a:endParaRPr lang="en-GB"/>
              </a:p>
            </p:txBody>
          </p:sp>
          <p:sp>
            <p:nvSpPr>
              <p:cNvPr id="5715" name="Vrije vorm: vorm 5714">
                <a:extLst>
                  <a:ext uri="{FF2B5EF4-FFF2-40B4-BE49-F238E27FC236}">
                    <a16:creationId xmlns:a16="http://schemas.microsoft.com/office/drawing/2014/main" id="{6DAF46AE-BE29-4EE3-AA23-ABB6414BA527}"/>
                  </a:ext>
                </a:extLst>
              </p:cNvPr>
              <p:cNvSpPr/>
              <p:nvPr/>
            </p:nvSpPr>
            <p:spPr>
              <a:xfrm>
                <a:off x="6616672" y="1574944"/>
                <a:ext cx="34209" cy="48922"/>
              </a:xfrm>
              <a:custGeom>
                <a:avLst/>
                <a:gdLst>
                  <a:gd name="connsiteX0" fmla="*/ 16567 w 34209"/>
                  <a:gd name="connsiteY0" fmla="*/ 48922 h 48922"/>
                  <a:gd name="connsiteX1" fmla="*/ 13696 w 34209"/>
                  <a:gd name="connsiteY1" fmla="*/ 48085 h 48922"/>
                  <a:gd name="connsiteX2" fmla="*/ 10825 w 34209"/>
                  <a:gd name="connsiteY2" fmla="*/ 47248 h 48922"/>
                  <a:gd name="connsiteX3" fmla="*/ 9091 w 34209"/>
                  <a:gd name="connsiteY3" fmla="*/ 46709 h 48922"/>
                  <a:gd name="connsiteX4" fmla="*/ 6519 w 34209"/>
                  <a:gd name="connsiteY4" fmla="*/ 45274 h 48922"/>
                  <a:gd name="connsiteX5" fmla="*/ 5442 w 34209"/>
                  <a:gd name="connsiteY5" fmla="*/ 44676 h 48922"/>
                  <a:gd name="connsiteX6" fmla="*/ 3528 w 34209"/>
                  <a:gd name="connsiteY6" fmla="*/ 42344 h 48922"/>
                  <a:gd name="connsiteX7" fmla="*/ 2572 w 34209"/>
                  <a:gd name="connsiteY7" fmla="*/ 41147 h 48922"/>
                  <a:gd name="connsiteX8" fmla="*/ 1435 w 34209"/>
                  <a:gd name="connsiteY8" fmla="*/ 38277 h 48922"/>
                  <a:gd name="connsiteX9" fmla="*/ 1196 w 34209"/>
                  <a:gd name="connsiteY9" fmla="*/ 37679 h 48922"/>
                  <a:gd name="connsiteX10" fmla="*/ 718 w 34209"/>
                  <a:gd name="connsiteY10" fmla="*/ 36423 h 48922"/>
                  <a:gd name="connsiteX11" fmla="*/ 299 w 34209"/>
                  <a:gd name="connsiteY11" fmla="*/ 33313 h 48922"/>
                  <a:gd name="connsiteX12" fmla="*/ 0 w 34209"/>
                  <a:gd name="connsiteY12" fmla="*/ 30801 h 48922"/>
                  <a:gd name="connsiteX13" fmla="*/ 239 w 34209"/>
                  <a:gd name="connsiteY13" fmla="*/ 27631 h 48922"/>
                  <a:gd name="connsiteX14" fmla="*/ 479 w 34209"/>
                  <a:gd name="connsiteY14" fmla="*/ 24641 h 48922"/>
                  <a:gd name="connsiteX15" fmla="*/ 1316 w 34209"/>
                  <a:gd name="connsiteY15" fmla="*/ 21531 h 48922"/>
                  <a:gd name="connsiteX16" fmla="*/ 2153 w 34209"/>
                  <a:gd name="connsiteY16" fmla="*/ 18361 h 48922"/>
                  <a:gd name="connsiteX17" fmla="*/ 3528 w 34209"/>
                  <a:gd name="connsiteY17" fmla="*/ 15430 h 48922"/>
                  <a:gd name="connsiteX18" fmla="*/ 4964 w 34209"/>
                  <a:gd name="connsiteY18" fmla="*/ 12440 h 48922"/>
                  <a:gd name="connsiteX19" fmla="*/ 6878 w 34209"/>
                  <a:gd name="connsiteY19" fmla="*/ 9808 h 48922"/>
                  <a:gd name="connsiteX20" fmla="*/ 8672 w 34209"/>
                  <a:gd name="connsiteY20" fmla="*/ 7356 h 48922"/>
                  <a:gd name="connsiteX21" fmla="*/ 11064 w 34209"/>
                  <a:gd name="connsiteY21" fmla="*/ 5143 h 48922"/>
                  <a:gd name="connsiteX22" fmla="*/ 12081 w 34209"/>
                  <a:gd name="connsiteY22" fmla="*/ 4246 h 48922"/>
                  <a:gd name="connsiteX23" fmla="*/ 12978 w 34209"/>
                  <a:gd name="connsiteY23" fmla="*/ 3409 h 48922"/>
                  <a:gd name="connsiteX24" fmla="*/ 15789 w 34209"/>
                  <a:gd name="connsiteY24" fmla="*/ 1914 h 48922"/>
                  <a:gd name="connsiteX25" fmla="*/ 17643 w 34209"/>
                  <a:gd name="connsiteY25" fmla="*/ 897 h 48922"/>
                  <a:gd name="connsiteX26" fmla="*/ 20693 w 34209"/>
                  <a:gd name="connsiteY26" fmla="*/ 299 h 48922"/>
                  <a:gd name="connsiteX27" fmla="*/ 22248 w 34209"/>
                  <a:gd name="connsiteY27" fmla="*/ 0 h 48922"/>
                  <a:gd name="connsiteX28" fmla="*/ 25179 w 34209"/>
                  <a:gd name="connsiteY28" fmla="*/ 538 h 48922"/>
                  <a:gd name="connsiteX29" fmla="*/ 26435 w 34209"/>
                  <a:gd name="connsiteY29" fmla="*/ 778 h 48922"/>
                  <a:gd name="connsiteX30" fmla="*/ 29365 w 34209"/>
                  <a:gd name="connsiteY30" fmla="*/ 1376 h 48922"/>
                  <a:gd name="connsiteX31" fmla="*/ 32296 w 34209"/>
                  <a:gd name="connsiteY31" fmla="*/ 1974 h 48922"/>
                  <a:gd name="connsiteX32" fmla="*/ 34210 w 34209"/>
                  <a:gd name="connsiteY32" fmla="*/ 2392 h 4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4209" h="48922">
                    <a:moveTo>
                      <a:pt x="16567" y="48922"/>
                    </a:moveTo>
                    <a:lnTo>
                      <a:pt x="13696" y="48085"/>
                    </a:lnTo>
                    <a:lnTo>
                      <a:pt x="10825" y="47248"/>
                    </a:lnTo>
                    <a:lnTo>
                      <a:pt x="9091" y="46709"/>
                    </a:lnTo>
                    <a:lnTo>
                      <a:pt x="6519" y="45274"/>
                    </a:lnTo>
                    <a:lnTo>
                      <a:pt x="5442" y="44676"/>
                    </a:lnTo>
                    <a:lnTo>
                      <a:pt x="3528" y="42344"/>
                    </a:lnTo>
                    <a:lnTo>
                      <a:pt x="2572" y="41147"/>
                    </a:lnTo>
                    <a:lnTo>
                      <a:pt x="1435" y="38277"/>
                    </a:lnTo>
                    <a:lnTo>
                      <a:pt x="1196" y="37679"/>
                    </a:lnTo>
                    <a:lnTo>
                      <a:pt x="718" y="36423"/>
                    </a:lnTo>
                    <a:lnTo>
                      <a:pt x="299" y="33313"/>
                    </a:lnTo>
                    <a:lnTo>
                      <a:pt x="0" y="30801"/>
                    </a:lnTo>
                    <a:lnTo>
                      <a:pt x="239" y="27631"/>
                    </a:lnTo>
                    <a:lnTo>
                      <a:pt x="479" y="24641"/>
                    </a:lnTo>
                    <a:lnTo>
                      <a:pt x="1316" y="21531"/>
                    </a:lnTo>
                    <a:lnTo>
                      <a:pt x="2153" y="18361"/>
                    </a:lnTo>
                    <a:lnTo>
                      <a:pt x="3528" y="15430"/>
                    </a:lnTo>
                    <a:lnTo>
                      <a:pt x="4964" y="12440"/>
                    </a:lnTo>
                    <a:lnTo>
                      <a:pt x="6878" y="9808"/>
                    </a:lnTo>
                    <a:lnTo>
                      <a:pt x="8672" y="7356"/>
                    </a:lnTo>
                    <a:lnTo>
                      <a:pt x="11064" y="5143"/>
                    </a:lnTo>
                    <a:lnTo>
                      <a:pt x="12081" y="4246"/>
                    </a:lnTo>
                    <a:lnTo>
                      <a:pt x="12978" y="3409"/>
                    </a:lnTo>
                    <a:lnTo>
                      <a:pt x="15789" y="1914"/>
                    </a:lnTo>
                    <a:lnTo>
                      <a:pt x="17643" y="897"/>
                    </a:lnTo>
                    <a:lnTo>
                      <a:pt x="20693" y="299"/>
                    </a:lnTo>
                    <a:lnTo>
                      <a:pt x="22248" y="0"/>
                    </a:lnTo>
                    <a:lnTo>
                      <a:pt x="25179" y="538"/>
                    </a:lnTo>
                    <a:lnTo>
                      <a:pt x="26435" y="778"/>
                    </a:lnTo>
                    <a:lnTo>
                      <a:pt x="29365" y="1376"/>
                    </a:lnTo>
                    <a:lnTo>
                      <a:pt x="32296" y="1974"/>
                    </a:lnTo>
                    <a:lnTo>
                      <a:pt x="34210" y="2392"/>
                    </a:lnTo>
                  </a:path>
                </a:pathLst>
              </a:custGeom>
              <a:noFill/>
              <a:ln w="6350" cap="rnd">
                <a:solidFill>
                  <a:schemeClr val="bg1">
                    <a:alpha val="80000"/>
                  </a:schemeClr>
                </a:solidFill>
                <a:prstDash val="solid"/>
                <a:round/>
              </a:ln>
            </p:spPr>
            <p:txBody>
              <a:bodyPr rtlCol="0" anchor="ctr"/>
              <a:lstStyle/>
              <a:p>
                <a:endParaRPr lang="en-GB"/>
              </a:p>
            </p:txBody>
          </p:sp>
          <p:sp>
            <p:nvSpPr>
              <p:cNvPr id="5716" name="Vrije vorm: vorm 5715">
                <a:extLst>
                  <a:ext uri="{FF2B5EF4-FFF2-40B4-BE49-F238E27FC236}">
                    <a16:creationId xmlns:a16="http://schemas.microsoft.com/office/drawing/2014/main" id="{B0644D04-5CDA-4221-9210-7FE82366E530}"/>
                  </a:ext>
                </a:extLst>
              </p:cNvPr>
              <p:cNvSpPr/>
              <p:nvPr/>
            </p:nvSpPr>
            <p:spPr>
              <a:xfrm>
                <a:off x="6596098" y="1569561"/>
                <a:ext cx="12559" cy="5143"/>
              </a:xfrm>
              <a:custGeom>
                <a:avLst/>
                <a:gdLst>
                  <a:gd name="connsiteX0" fmla="*/ 12559 w 12559"/>
                  <a:gd name="connsiteY0" fmla="*/ 5143 h 5143"/>
                  <a:gd name="connsiteX1" fmla="*/ 11364 w 12559"/>
                  <a:gd name="connsiteY1" fmla="*/ 3648 h 5143"/>
                  <a:gd name="connsiteX2" fmla="*/ 11064 w 12559"/>
                  <a:gd name="connsiteY2" fmla="*/ 3230 h 5143"/>
                  <a:gd name="connsiteX3" fmla="*/ 8552 w 12559"/>
                  <a:gd name="connsiteY3" fmla="*/ 1675 h 5143"/>
                  <a:gd name="connsiteX4" fmla="*/ 8253 w 12559"/>
                  <a:gd name="connsiteY4" fmla="*/ 1495 h 5143"/>
                  <a:gd name="connsiteX5" fmla="*/ 5323 w 12559"/>
                  <a:gd name="connsiteY5" fmla="*/ 897 h 5143"/>
                  <a:gd name="connsiteX6" fmla="*/ 3947 w 12559"/>
                  <a:gd name="connsiteY6" fmla="*/ 598 h 5143"/>
                  <a:gd name="connsiteX7" fmla="*/ 957 w 12559"/>
                  <a:gd name="connsiteY7" fmla="*/ 60 h 5143"/>
                  <a:gd name="connsiteX8" fmla="*/ 658 w 12559"/>
                  <a:gd name="connsiteY8" fmla="*/ 0 h 5143"/>
                  <a:gd name="connsiteX9" fmla="*/ 60 w 12559"/>
                  <a:gd name="connsiteY9" fmla="*/ 2332 h 5143"/>
                  <a:gd name="connsiteX10" fmla="*/ 0 w 12559"/>
                  <a:gd name="connsiteY10" fmla="*/ 2452 h 5143"/>
                  <a:gd name="connsiteX11" fmla="*/ 2930 w 12559"/>
                  <a:gd name="connsiteY11" fmla="*/ 3110 h 5143"/>
                  <a:gd name="connsiteX12" fmla="*/ 4306 w 12559"/>
                  <a:gd name="connsiteY12" fmla="*/ 3409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59" h="5143">
                    <a:moveTo>
                      <a:pt x="12559" y="5143"/>
                    </a:moveTo>
                    <a:lnTo>
                      <a:pt x="11364" y="3648"/>
                    </a:lnTo>
                    <a:lnTo>
                      <a:pt x="11064" y="3230"/>
                    </a:lnTo>
                    <a:lnTo>
                      <a:pt x="8552" y="1675"/>
                    </a:lnTo>
                    <a:lnTo>
                      <a:pt x="8253" y="1495"/>
                    </a:lnTo>
                    <a:lnTo>
                      <a:pt x="5323" y="897"/>
                    </a:lnTo>
                    <a:lnTo>
                      <a:pt x="3947" y="598"/>
                    </a:lnTo>
                    <a:lnTo>
                      <a:pt x="957" y="60"/>
                    </a:lnTo>
                    <a:lnTo>
                      <a:pt x="658" y="0"/>
                    </a:lnTo>
                    <a:lnTo>
                      <a:pt x="60" y="2332"/>
                    </a:lnTo>
                    <a:lnTo>
                      <a:pt x="0" y="2452"/>
                    </a:lnTo>
                    <a:lnTo>
                      <a:pt x="2930" y="3110"/>
                    </a:lnTo>
                    <a:lnTo>
                      <a:pt x="4306" y="3409"/>
                    </a:lnTo>
                  </a:path>
                </a:pathLst>
              </a:custGeom>
              <a:noFill/>
              <a:ln w="6350" cap="rnd">
                <a:solidFill>
                  <a:schemeClr val="bg1">
                    <a:alpha val="80000"/>
                  </a:schemeClr>
                </a:solidFill>
                <a:prstDash val="solid"/>
                <a:round/>
              </a:ln>
            </p:spPr>
            <p:txBody>
              <a:bodyPr rtlCol="0" anchor="ctr"/>
              <a:lstStyle/>
              <a:p>
                <a:endParaRPr lang="en-GB"/>
              </a:p>
            </p:txBody>
          </p:sp>
          <p:sp>
            <p:nvSpPr>
              <p:cNvPr id="5717" name="Vrije vorm: vorm 5716">
                <a:extLst>
                  <a:ext uri="{FF2B5EF4-FFF2-40B4-BE49-F238E27FC236}">
                    <a16:creationId xmlns:a16="http://schemas.microsoft.com/office/drawing/2014/main" id="{DF42CF0C-EB53-4D01-B10C-98BF91FCC9F2}"/>
                  </a:ext>
                </a:extLst>
              </p:cNvPr>
              <p:cNvSpPr/>
              <p:nvPr/>
            </p:nvSpPr>
            <p:spPr>
              <a:xfrm>
                <a:off x="6581565" y="1566570"/>
                <a:ext cx="12260" cy="4904"/>
              </a:xfrm>
              <a:custGeom>
                <a:avLst/>
                <a:gdLst>
                  <a:gd name="connsiteX0" fmla="*/ 12260 w 12260"/>
                  <a:gd name="connsiteY0" fmla="*/ 4904 h 4904"/>
                  <a:gd name="connsiteX1" fmla="*/ 11064 w 12260"/>
                  <a:gd name="connsiteY1" fmla="*/ 3469 h 4904"/>
                  <a:gd name="connsiteX2" fmla="*/ 10765 w 12260"/>
                  <a:gd name="connsiteY2" fmla="*/ 3110 h 4904"/>
                  <a:gd name="connsiteX3" fmla="*/ 8194 w 12260"/>
                  <a:gd name="connsiteY3" fmla="*/ 1555 h 4904"/>
                  <a:gd name="connsiteX4" fmla="*/ 7954 w 12260"/>
                  <a:gd name="connsiteY4" fmla="*/ 1435 h 4904"/>
                  <a:gd name="connsiteX5" fmla="*/ 5024 w 12260"/>
                  <a:gd name="connsiteY5" fmla="*/ 837 h 4904"/>
                  <a:gd name="connsiteX6" fmla="*/ 3887 w 12260"/>
                  <a:gd name="connsiteY6" fmla="*/ 598 h 4904"/>
                  <a:gd name="connsiteX7" fmla="*/ 897 w 12260"/>
                  <a:gd name="connsiteY7" fmla="*/ 60 h 4904"/>
                  <a:gd name="connsiteX8" fmla="*/ 658 w 12260"/>
                  <a:gd name="connsiteY8" fmla="*/ 0 h 4904"/>
                  <a:gd name="connsiteX9" fmla="*/ 60 w 12260"/>
                  <a:gd name="connsiteY9" fmla="*/ 2273 h 4904"/>
                  <a:gd name="connsiteX10" fmla="*/ 0 w 12260"/>
                  <a:gd name="connsiteY10" fmla="*/ 2392 h 4904"/>
                  <a:gd name="connsiteX11" fmla="*/ 2930 w 12260"/>
                  <a:gd name="connsiteY11" fmla="*/ 3050 h 4904"/>
                  <a:gd name="connsiteX12" fmla="*/ 4067 w 12260"/>
                  <a:gd name="connsiteY12" fmla="*/ 3289 h 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60" h="4904">
                    <a:moveTo>
                      <a:pt x="12260" y="4904"/>
                    </a:moveTo>
                    <a:lnTo>
                      <a:pt x="11064" y="3469"/>
                    </a:lnTo>
                    <a:lnTo>
                      <a:pt x="10765" y="3110"/>
                    </a:lnTo>
                    <a:lnTo>
                      <a:pt x="8194" y="1555"/>
                    </a:lnTo>
                    <a:lnTo>
                      <a:pt x="7954" y="1435"/>
                    </a:lnTo>
                    <a:lnTo>
                      <a:pt x="5024" y="837"/>
                    </a:lnTo>
                    <a:lnTo>
                      <a:pt x="3887" y="598"/>
                    </a:lnTo>
                    <a:lnTo>
                      <a:pt x="897" y="60"/>
                    </a:lnTo>
                    <a:lnTo>
                      <a:pt x="658" y="0"/>
                    </a:lnTo>
                    <a:lnTo>
                      <a:pt x="60" y="2273"/>
                    </a:lnTo>
                    <a:lnTo>
                      <a:pt x="0" y="2392"/>
                    </a:lnTo>
                    <a:lnTo>
                      <a:pt x="2930" y="3050"/>
                    </a:lnTo>
                    <a:lnTo>
                      <a:pt x="4067" y="3289"/>
                    </a:lnTo>
                  </a:path>
                </a:pathLst>
              </a:custGeom>
              <a:noFill/>
              <a:ln w="6350" cap="rnd">
                <a:solidFill>
                  <a:schemeClr val="bg1">
                    <a:alpha val="80000"/>
                  </a:schemeClr>
                </a:solidFill>
                <a:prstDash val="solid"/>
                <a:round/>
              </a:ln>
            </p:spPr>
            <p:txBody>
              <a:bodyPr rtlCol="0" anchor="ctr"/>
              <a:lstStyle/>
              <a:p>
                <a:endParaRPr lang="en-GB"/>
              </a:p>
            </p:txBody>
          </p:sp>
          <p:sp>
            <p:nvSpPr>
              <p:cNvPr id="5718" name="Vrije vorm: vorm 5717">
                <a:extLst>
                  <a:ext uri="{FF2B5EF4-FFF2-40B4-BE49-F238E27FC236}">
                    <a16:creationId xmlns:a16="http://schemas.microsoft.com/office/drawing/2014/main" id="{977AC25C-7EA9-44D4-9D61-1CE32850E54A}"/>
                  </a:ext>
                </a:extLst>
              </p:cNvPr>
              <p:cNvSpPr/>
              <p:nvPr/>
            </p:nvSpPr>
            <p:spPr>
              <a:xfrm>
                <a:off x="6566433" y="1563281"/>
                <a:ext cx="11782" cy="4784"/>
              </a:xfrm>
              <a:custGeom>
                <a:avLst/>
                <a:gdLst>
                  <a:gd name="connsiteX0" fmla="*/ 11782 w 11782"/>
                  <a:gd name="connsiteY0" fmla="*/ 4785 h 4784"/>
                  <a:gd name="connsiteX1" fmla="*/ 10586 w 11782"/>
                  <a:gd name="connsiteY1" fmla="*/ 3349 h 4784"/>
                  <a:gd name="connsiteX2" fmla="*/ 10287 w 11782"/>
                  <a:gd name="connsiteY2" fmla="*/ 2990 h 4784"/>
                  <a:gd name="connsiteX3" fmla="*/ 7715 w 11782"/>
                  <a:gd name="connsiteY3" fmla="*/ 1495 h 4784"/>
                  <a:gd name="connsiteX4" fmla="*/ 7536 w 11782"/>
                  <a:gd name="connsiteY4" fmla="*/ 1376 h 4784"/>
                  <a:gd name="connsiteX5" fmla="*/ 4605 w 11782"/>
                  <a:gd name="connsiteY5" fmla="*/ 777 h 4784"/>
                  <a:gd name="connsiteX6" fmla="*/ 3708 w 11782"/>
                  <a:gd name="connsiteY6" fmla="*/ 598 h 4784"/>
                  <a:gd name="connsiteX7" fmla="*/ 778 w 11782"/>
                  <a:gd name="connsiteY7" fmla="*/ 60 h 4784"/>
                  <a:gd name="connsiteX8" fmla="*/ 598 w 11782"/>
                  <a:gd name="connsiteY8" fmla="*/ 0 h 4784"/>
                  <a:gd name="connsiteX9" fmla="*/ 60 w 11782"/>
                  <a:gd name="connsiteY9" fmla="*/ 2213 h 4784"/>
                  <a:gd name="connsiteX10" fmla="*/ 0 w 11782"/>
                  <a:gd name="connsiteY10" fmla="*/ 2332 h 4784"/>
                  <a:gd name="connsiteX11" fmla="*/ 2930 w 11782"/>
                  <a:gd name="connsiteY11" fmla="*/ 2990 h 4784"/>
                  <a:gd name="connsiteX12" fmla="*/ 3768 w 11782"/>
                  <a:gd name="connsiteY12" fmla="*/ 3170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82" h="4784">
                    <a:moveTo>
                      <a:pt x="11782" y="4785"/>
                    </a:moveTo>
                    <a:lnTo>
                      <a:pt x="10586" y="3349"/>
                    </a:lnTo>
                    <a:lnTo>
                      <a:pt x="10287" y="2990"/>
                    </a:lnTo>
                    <a:lnTo>
                      <a:pt x="7715" y="1495"/>
                    </a:lnTo>
                    <a:lnTo>
                      <a:pt x="7536" y="1376"/>
                    </a:lnTo>
                    <a:lnTo>
                      <a:pt x="4605" y="777"/>
                    </a:lnTo>
                    <a:lnTo>
                      <a:pt x="3708" y="598"/>
                    </a:lnTo>
                    <a:lnTo>
                      <a:pt x="778" y="60"/>
                    </a:lnTo>
                    <a:lnTo>
                      <a:pt x="598" y="0"/>
                    </a:lnTo>
                    <a:lnTo>
                      <a:pt x="60" y="2213"/>
                    </a:lnTo>
                    <a:lnTo>
                      <a:pt x="0" y="2332"/>
                    </a:lnTo>
                    <a:lnTo>
                      <a:pt x="2930" y="2990"/>
                    </a:lnTo>
                    <a:lnTo>
                      <a:pt x="3768" y="3170"/>
                    </a:lnTo>
                  </a:path>
                </a:pathLst>
              </a:custGeom>
              <a:noFill/>
              <a:ln w="6350" cap="rnd">
                <a:solidFill>
                  <a:schemeClr val="bg1">
                    <a:alpha val="80000"/>
                  </a:schemeClr>
                </a:solidFill>
                <a:prstDash val="solid"/>
                <a:round/>
              </a:ln>
            </p:spPr>
            <p:txBody>
              <a:bodyPr rtlCol="0" anchor="ctr"/>
              <a:lstStyle/>
              <a:p>
                <a:endParaRPr lang="en-GB"/>
              </a:p>
            </p:txBody>
          </p:sp>
          <p:sp>
            <p:nvSpPr>
              <p:cNvPr id="5719" name="Vrije vorm: vorm 5718">
                <a:extLst>
                  <a:ext uri="{FF2B5EF4-FFF2-40B4-BE49-F238E27FC236}">
                    <a16:creationId xmlns:a16="http://schemas.microsoft.com/office/drawing/2014/main" id="{376E5066-D971-4A0C-BEA3-A016BC60C7EA}"/>
                  </a:ext>
                </a:extLst>
              </p:cNvPr>
              <p:cNvSpPr/>
              <p:nvPr/>
            </p:nvSpPr>
            <p:spPr>
              <a:xfrm>
                <a:off x="6651360" y="1612203"/>
                <a:ext cx="3169" cy="837"/>
              </a:xfrm>
              <a:custGeom>
                <a:avLst/>
                <a:gdLst>
                  <a:gd name="connsiteX0" fmla="*/ 3170 w 3169"/>
                  <a:gd name="connsiteY0" fmla="*/ 837 h 837"/>
                  <a:gd name="connsiteX1" fmla="*/ 2392 w 3169"/>
                  <a:gd name="connsiteY1" fmla="*/ 598 h 837"/>
                  <a:gd name="connsiteX2" fmla="*/ 2153 w 3169"/>
                  <a:gd name="connsiteY2" fmla="*/ 538 h 837"/>
                  <a:gd name="connsiteX3" fmla="*/ 718 w 3169"/>
                  <a:gd name="connsiteY3" fmla="*/ 120 h 837"/>
                  <a:gd name="connsiteX4" fmla="*/ 598 w 3169"/>
                  <a:gd name="connsiteY4" fmla="*/ 120 h 837"/>
                  <a:gd name="connsiteX5" fmla="*/ 359 w 3169"/>
                  <a:gd name="connsiteY5" fmla="*/ 60 h 837"/>
                  <a:gd name="connsiteX6" fmla="*/ 0 w 3169"/>
                  <a:gd name="connsiteY6" fmla="*/ 0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9" h="837">
                    <a:moveTo>
                      <a:pt x="3170" y="837"/>
                    </a:moveTo>
                    <a:lnTo>
                      <a:pt x="2392" y="598"/>
                    </a:lnTo>
                    <a:lnTo>
                      <a:pt x="2153" y="538"/>
                    </a:lnTo>
                    <a:lnTo>
                      <a:pt x="718" y="120"/>
                    </a:lnTo>
                    <a:lnTo>
                      <a:pt x="598" y="120"/>
                    </a:lnTo>
                    <a:lnTo>
                      <a:pt x="359" y="6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20" name="Vrije vorm: vorm 5719">
                <a:extLst>
                  <a:ext uri="{FF2B5EF4-FFF2-40B4-BE49-F238E27FC236}">
                    <a16:creationId xmlns:a16="http://schemas.microsoft.com/office/drawing/2014/main" id="{7CC8DACB-EFB5-4DD9-8511-436410CD816A}"/>
                  </a:ext>
                </a:extLst>
              </p:cNvPr>
              <p:cNvSpPr/>
              <p:nvPr/>
            </p:nvSpPr>
            <p:spPr>
              <a:xfrm>
                <a:off x="6651420" y="1612383"/>
                <a:ext cx="657" cy="119"/>
              </a:xfrm>
              <a:custGeom>
                <a:avLst/>
                <a:gdLst>
                  <a:gd name="connsiteX0" fmla="*/ 658 w 657"/>
                  <a:gd name="connsiteY0" fmla="*/ 0 h 119"/>
                  <a:gd name="connsiteX1" fmla="*/ 359 w 657"/>
                  <a:gd name="connsiteY1" fmla="*/ 60 h 119"/>
                  <a:gd name="connsiteX2" fmla="*/ 0 w 657"/>
                  <a:gd name="connsiteY2" fmla="*/ 120 h 119"/>
                </a:gdLst>
                <a:ahLst/>
                <a:cxnLst>
                  <a:cxn ang="0">
                    <a:pos x="connsiteX0" y="connsiteY0"/>
                  </a:cxn>
                  <a:cxn ang="0">
                    <a:pos x="connsiteX1" y="connsiteY1"/>
                  </a:cxn>
                  <a:cxn ang="0">
                    <a:pos x="connsiteX2" y="connsiteY2"/>
                  </a:cxn>
                </a:cxnLst>
                <a:rect l="l" t="t" r="r" b="b"/>
                <a:pathLst>
                  <a:path w="657" h="119">
                    <a:moveTo>
                      <a:pt x="658" y="0"/>
                    </a:moveTo>
                    <a:lnTo>
                      <a:pt x="359" y="60"/>
                    </a:lnTo>
                    <a:lnTo>
                      <a:pt x="0" y="120"/>
                    </a:lnTo>
                  </a:path>
                </a:pathLst>
              </a:custGeom>
              <a:noFill/>
              <a:ln w="6350" cap="rnd">
                <a:solidFill>
                  <a:schemeClr val="bg1">
                    <a:alpha val="80000"/>
                  </a:schemeClr>
                </a:solidFill>
                <a:prstDash val="solid"/>
                <a:round/>
              </a:ln>
            </p:spPr>
            <p:txBody>
              <a:bodyPr rtlCol="0" anchor="ctr"/>
              <a:lstStyle/>
              <a:p>
                <a:endParaRPr lang="en-GB"/>
              </a:p>
            </p:txBody>
          </p:sp>
          <p:sp>
            <p:nvSpPr>
              <p:cNvPr id="5721" name="Vrije vorm: vorm 5720">
                <a:extLst>
                  <a:ext uri="{FF2B5EF4-FFF2-40B4-BE49-F238E27FC236}">
                    <a16:creationId xmlns:a16="http://schemas.microsoft.com/office/drawing/2014/main" id="{68A6BADE-D988-4C48-8D9D-991B61382173}"/>
                  </a:ext>
                </a:extLst>
              </p:cNvPr>
              <p:cNvSpPr/>
              <p:nvPr/>
            </p:nvSpPr>
            <p:spPr>
              <a:xfrm>
                <a:off x="6672232" y="1607180"/>
                <a:ext cx="21769" cy="18600"/>
              </a:xfrm>
              <a:custGeom>
                <a:avLst/>
                <a:gdLst>
                  <a:gd name="connsiteX0" fmla="*/ 20992 w 21769"/>
                  <a:gd name="connsiteY0" fmla="*/ 0 h 18600"/>
                  <a:gd name="connsiteX1" fmla="*/ 21531 w 21769"/>
                  <a:gd name="connsiteY1" fmla="*/ 1555 h 18600"/>
                  <a:gd name="connsiteX2" fmla="*/ 21591 w 21769"/>
                  <a:gd name="connsiteY2" fmla="*/ 1734 h 18600"/>
                  <a:gd name="connsiteX3" fmla="*/ 21710 w 21769"/>
                  <a:gd name="connsiteY3" fmla="*/ 2093 h 18600"/>
                  <a:gd name="connsiteX4" fmla="*/ 21710 w 21769"/>
                  <a:gd name="connsiteY4" fmla="*/ 2751 h 18600"/>
                  <a:gd name="connsiteX5" fmla="*/ 21770 w 21769"/>
                  <a:gd name="connsiteY5" fmla="*/ 4605 h 18600"/>
                  <a:gd name="connsiteX6" fmla="*/ 21291 w 21769"/>
                  <a:gd name="connsiteY6" fmla="*/ 6639 h 18600"/>
                  <a:gd name="connsiteX7" fmla="*/ 21112 w 21769"/>
                  <a:gd name="connsiteY7" fmla="*/ 7356 h 18600"/>
                  <a:gd name="connsiteX8" fmla="*/ 19796 w 21769"/>
                  <a:gd name="connsiteY8" fmla="*/ 10167 h 18600"/>
                  <a:gd name="connsiteX9" fmla="*/ 17882 w 21769"/>
                  <a:gd name="connsiteY9" fmla="*/ 12799 h 18600"/>
                  <a:gd name="connsiteX10" fmla="*/ 15550 w 21769"/>
                  <a:gd name="connsiteY10" fmla="*/ 15131 h 18600"/>
                  <a:gd name="connsiteX11" fmla="*/ 12978 w 21769"/>
                  <a:gd name="connsiteY11" fmla="*/ 16925 h 18600"/>
                  <a:gd name="connsiteX12" fmla="*/ 10287 w 21769"/>
                  <a:gd name="connsiteY12" fmla="*/ 18122 h 18600"/>
                  <a:gd name="connsiteX13" fmla="*/ 7715 w 21769"/>
                  <a:gd name="connsiteY13" fmla="*/ 18600 h 18600"/>
                  <a:gd name="connsiteX14" fmla="*/ 5443 w 21769"/>
                  <a:gd name="connsiteY14" fmla="*/ 18361 h 18600"/>
                  <a:gd name="connsiteX15" fmla="*/ 3589 w 21769"/>
                  <a:gd name="connsiteY15" fmla="*/ 17404 h 18600"/>
                  <a:gd name="connsiteX16" fmla="*/ 1854 w 21769"/>
                  <a:gd name="connsiteY16" fmla="*/ 15789 h 18600"/>
                  <a:gd name="connsiteX17" fmla="*/ 180 w 21769"/>
                  <a:gd name="connsiteY17" fmla="*/ 14294 h 18600"/>
                  <a:gd name="connsiteX18" fmla="*/ 0 w 21769"/>
                  <a:gd name="connsiteY18" fmla="*/ 14115 h 1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769" h="18600">
                    <a:moveTo>
                      <a:pt x="20992" y="0"/>
                    </a:moveTo>
                    <a:lnTo>
                      <a:pt x="21531" y="1555"/>
                    </a:lnTo>
                    <a:lnTo>
                      <a:pt x="21591" y="1734"/>
                    </a:lnTo>
                    <a:lnTo>
                      <a:pt x="21710" y="2093"/>
                    </a:lnTo>
                    <a:lnTo>
                      <a:pt x="21710" y="2751"/>
                    </a:lnTo>
                    <a:lnTo>
                      <a:pt x="21770" y="4605"/>
                    </a:lnTo>
                    <a:lnTo>
                      <a:pt x="21291" y="6639"/>
                    </a:lnTo>
                    <a:lnTo>
                      <a:pt x="21112" y="7356"/>
                    </a:lnTo>
                    <a:lnTo>
                      <a:pt x="19796" y="10167"/>
                    </a:lnTo>
                    <a:lnTo>
                      <a:pt x="17882" y="12799"/>
                    </a:lnTo>
                    <a:lnTo>
                      <a:pt x="15550" y="15131"/>
                    </a:lnTo>
                    <a:lnTo>
                      <a:pt x="12978" y="16925"/>
                    </a:lnTo>
                    <a:lnTo>
                      <a:pt x="10287" y="18122"/>
                    </a:lnTo>
                    <a:lnTo>
                      <a:pt x="7715" y="18600"/>
                    </a:lnTo>
                    <a:lnTo>
                      <a:pt x="5443" y="18361"/>
                    </a:lnTo>
                    <a:lnTo>
                      <a:pt x="3589" y="17404"/>
                    </a:lnTo>
                    <a:lnTo>
                      <a:pt x="1854" y="15789"/>
                    </a:lnTo>
                    <a:lnTo>
                      <a:pt x="180" y="14294"/>
                    </a:lnTo>
                    <a:lnTo>
                      <a:pt x="0" y="14115"/>
                    </a:lnTo>
                  </a:path>
                </a:pathLst>
              </a:custGeom>
              <a:noFill/>
              <a:ln w="6350" cap="rnd">
                <a:solidFill>
                  <a:schemeClr val="bg1">
                    <a:alpha val="80000"/>
                  </a:schemeClr>
                </a:solidFill>
                <a:prstDash val="solid"/>
                <a:round/>
              </a:ln>
            </p:spPr>
            <p:txBody>
              <a:bodyPr rtlCol="0" anchor="ctr"/>
              <a:lstStyle/>
              <a:p>
                <a:endParaRPr lang="en-GB"/>
              </a:p>
            </p:txBody>
          </p:sp>
          <p:sp>
            <p:nvSpPr>
              <p:cNvPr id="5722" name="Vrije vorm: vorm 5721">
                <a:extLst>
                  <a:ext uri="{FF2B5EF4-FFF2-40B4-BE49-F238E27FC236}">
                    <a16:creationId xmlns:a16="http://schemas.microsoft.com/office/drawing/2014/main" id="{4A3AD6D9-1E87-4E6F-B527-31E3B2E8C501}"/>
                  </a:ext>
                </a:extLst>
              </p:cNvPr>
              <p:cNvSpPr/>
              <p:nvPr/>
            </p:nvSpPr>
            <p:spPr>
              <a:xfrm>
                <a:off x="6687543" y="1601438"/>
                <a:ext cx="4725" cy="4605"/>
              </a:xfrm>
              <a:custGeom>
                <a:avLst/>
                <a:gdLst>
                  <a:gd name="connsiteX0" fmla="*/ 0 w 4725"/>
                  <a:gd name="connsiteY0" fmla="*/ 0 h 4605"/>
                  <a:gd name="connsiteX1" fmla="*/ 2153 w 4725"/>
                  <a:gd name="connsiteY1" fmla="*/ 2093 h 4605"/>
                  <a:gd name="connsiteX2" fmla="*/ 4306 w 4725"/>
                  <a:gd name="connsiteY2" fmla="*/ 4187 h 4605"/>
                  <a:gd name="connsiteX3" fmla="*/ 4725 w 4725"/>
                  <a:gd name="connsiteY3" fmla="*/ 4605 h 4605"/>
                </a:gdLst>
                <a:ahLst/>
                <a:cxnLst>
                  <a:cxn ang="0">
                    <a:pos x="connsiteX0" y="connsiteY0"/>
                  </a:cxn>
                  <a:cxn ang="0">
                    <a:pos x="connsiteX1" y="connsiteY1"/>
                  </a:cxn>
                  <a:cxn ang="0">
                    <a:pos x="connsiteX2" y="connsiteY2"/>
                  </a:cxn>
                  <a:cxn ang="0">
                    <a:pos x="connsiteX3" y="connsiteY3"/>
                  </a:cxn>
                </a:cxnLst>
                <a:rect l="l" t="t" r="r" b="b"/>
                <a:pathLst>
                  <a:path w="4725" h="4605">
                    <a:moveTo>
                      <a:pt x="0" y="0"/>
                    </a:moveTo>
                    <a:lnTo>
                      <a:pt x="2153" y="2093"/>
                    </a:lnTo>
                    <a:lnTo>
                      <a:pt x="4306" y="4187"/>
                    </a:lnTo>
                    <a:lnTo>
                      <a:pt x="4725" y="4605"/>
                    </a:lnTo>
                  </a:path>
                </a:pathLst>
              </a:custGeom>
              <a:noFill/>
              <a:ln w="6350" cap="rnd">
                <a:solidFill>
                  <a:schemeClr val="bg1">
                    <a:alpha val="80000"/>
                  </a:schemeClr>
                </a:solidFill>
                <a:prstDash val="solid"/>
                <a:round/>
              </a:ln>
            </p:spPr>
            <p:txBody>
              <a:bodyPr rtlCol="0" anchor="ctr"/>
              <a:lstStyle/>
              <a:p>
                <a:endParaRPr lang="en-GB"/>
              </a:p>
            </p:txBody>
          </p:sp>
          <p:sp>
            <p:nvSpPr>
              <p:cNvPr id="5723" name="Vrije vorm: vorm 5722">
                <a:extLst>
                  <a:ext uri="{FF2B5EF4-FFF2-40B4-BE49-F238E27FC236}">
                    <a16:creationId xmlns:a16="http://schemas.microsoft.com/office/drawing/2014/main" id="{64172860-8724-4196-A1FB-ACF275FF66B1}"/>
                  </a:ext>
                </a:extLst>
              </p:cNvPr>
              <p:cNvSpPr/>
              <p:nvPr/>
            </p:nvSpPr>
            <p:spPr>
              <a:xfrm>
                <a:off x="6570800" y="1563999"/>
                <a:ext cx="3169" cy="598"/>
              </a:xfrm>
              <a:custGeom>
                <a:avLst/>
                <a:gdLst>
                  <a:gd name="connsiteX0" fmla="*/ 3170 w 3169"/>
                  <a:gd name="connsiteY0" fmla="*/ 598 h 598"/>
                  <a:gd name="connsiteX1" fmla="*/ 239 w 3169"/>
                  <a:gd name="connsiteY1" fmla="*/ 60 h 598"/>
                  <a:gd name="connsiteX2" fmla="*/ 0 w 3169"/>
                  <a:gd name="connsiteY2" fmla="*/ 0 h 598"/>
                </a:gdLst>
                <a:ahLst/>
                <a:cxnLst>
                  <a:cxn ang="0">
                    <a:pos x="connsiteX0" y="connsiteY0"/>
                  </a:cxn>
                  <a:cxn ang="0">
                    <a:pos x="connsiteX1" y="connsiteY1"/>
                  </a:cxn>
                  <a:cxn ang="0">
                    <a:pos x="connsiteX2" y="connsiteY2"/>
                  </a:cxn>
                </a:cxnLst>
                <a:rect l="l" t="t" r="r" b="b"/>
                <a:pathLst>
                  <a:path w="3169" h="598">
                    <a:moveTo>
                      <a:pt x="3170" y="598"/>
                    </a:moveTo>
                    <a:lnTo>
                      <a:pt x="239" y="6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24" name="Vrije vorm: vorm 5723">
                <a:extLst>
                  <a:ext uri="{FF2B5EF4-FFF2-40B4-BE49-F238E27FC236}">
                    <a16:creationId xmlns:a16="http://schemas.microsoft.com/office/drawing/2014/main" id="{6CDFDBB2-107B-4CA9-9E8D-FD0B3C3B1807}"/>
                  </a:ext>
                </a:extLst>
              </p:cNvPr>
              <p:cNvSpPr/>
              <p:nvPr/>
            </p:nvSpPr>
            <p:spPr>
              <a:xfrm>
                <a:off x="6567032" y="1563281"/>
                <a:ext cx="6100" cy="3648"/>
              </a:xfrm>
              <a:custGeom>
                <a:avLst/>
                <a:gdLst>
                  <a:gd name="connsiteX0" fmla="*/ 6100 w 6100"/>
                  <a:gd name="connsiteY0" fmla="*/ 3648 h 3648"/>
                  <a:gd name="connsiteX1" fmla="*/ 3170 w 6100"/>
                  <a:gd name="connsiteY1" fmla="*/ 3170 h 3648"/>
                  <a:gd name="connsiteX2" fmla="*/ 3768 w 6100"/>
                  <a:gd name="connsiteY2" fmla="*/ 777 h 3648"/>
                  <a:gd name="connsiteX3" fmla="*/ 837 w 6100"/>
                  <a:gd name="connsiteY3" fmla="*/ 179 h 3648"/>
                  <a:gd name="connsiteX4" fmla="*/ 0 w 6100"/>
                  <a:gd name="connsiteY4" fmla="*/ 0 h 3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00" h="3648">
                    <a:moveTo>
                      <a:pt x="6100" y="3648"/>
                    </a:moveTo>
                    <a:lnTo>
                      <a:pt x="3170" y="3170"/>
                    </a:lnTo>
                    <a:lnTo>
                      <a:pt x="3768" y="777"/>
                    </a:lnTo>
                    <a:lnTo>
                      <a:pt x="837" y="17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25" name="Vrije vorm: vorm 5724">
                <a:extLst>
                  <a:ext uri="{FF2B5EF4-FFF2-40B4-BE49-F238E27FC236}">
                    <a16:creationId xmlns:a16="http://schemas.microsoft.com/office/drawing/2014/main" id="{93B2DBE7-9289-4076-B23B-CADD785DB077}"/>
                  </a:ext>
                </a:extLst>
              </p:cNvPr>
              <p:cNvSpPr/>
              <p:nvPr/>
            </p:nvSpPr>
            <p:spPr>
              <a:xfrm>
                <a:off x="6573132" y="1566929"/>
                <a:ext cx="8552" cy="1913"/>
              </a:xfrm>
              <a:custGeom>
                <a:avLst/>
                <a:gdLst>
                  <a:gd name="connsiteX0" fmla="*/ 0 w 8552"/>
                  <a:gd name="connsiteY0" fmla="*/ 0 h 1913"/>
                  <a:gd name="connsiteX1" fmla="*/ 1256 w 8552"/>
                  <a:gd name="connsiteY1" fmla="*/ 299 h 1913"/>
                  <a:gd name="connsiteX2" fmla="*/ 4187 w 8552"/>
                  <a:gd name="connsiteY2" fmla="*/ 957 h 1913"/>
                  <a:gd name="connsiteX3" fmla="*/ 5084 w 8552"/>
                  <a:gd name="connsiteY3" fmla="*/ 1136 h 1913"/>
                  <a:gd name="connsiteX4" fmla="*/ 8014 w 8552"/>
                  <a:gd name="connsiteY4" fmla="*/ 1794 h 1913"/>
                  <a:gd name="connsiteX5" fmla="*/ 8553 w 8552"/>
                  <a:gd name="connsiteY5" fmla="*/ 1914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2" h="1913">
                    <a:moveTo>
                      <a:pt x="0" y="0"/>
                    </a:moveTo>
                    <a:lnTo>
                      <a:pt x="1256" y="299"/>
                    </a:lnTo>
                    <a:lnTo>
                      <a:pt x="4187" y="957"/>
                    </a:lnTo>
                    <a:lnTo>
                      <a:pt x="5084" y="1136"/>
                    </a:lnTo>
                    <a:lnTo>
                      <a:pt x="8014" y="1794"/>
                    </a:lnTo>
                    <a:lnTo>
                      <a:pt x="8553" y="1914"/>
                    </a:lnTo>
                  </a:path>
                </a:pathLst>
              </a:custGeom>
              <a:noFill/>
              <a:ln w="6350" cap="rnd">
                <a:solidFill>
                  <a:schemeClr val="bg1">
                    <a:alpha val="80000"/>
                  </a:schemeClr>
                </a:solidFill>
                <a:prstDash val="solid"/>
                <a:round/>
              </a:ln>
            </p:spPr>
            <p:txBody>
              <a:bodyPr rtlCol="0" anchor="ctr"/>
              <a:lstStyle/>
              <a:p>
                <a:endParaRPr lang="en-GB"/>
              </a:p>
            </p:txBody>
          </p:sp>
          <p:sp>
            <p:nvSpPr>
              <p:cNvPr id="5726" name="Vrije vorm: vorm 5725">
                <a:extLst>
                  <a:ext uri="{FF2B5EF4-FFF2-40B4-BE49-F238E27FC236}">
                    <a16:creationId xmlns:a16="http://schemas.microsoft.com/office/drawing/2014/main" id="{65B6EE9C-2696-4790-B98B-F4F9206CE4C5}"/>
                  </a:ext>
                </a:extLst>
              </p:cNvPr>
              <p:cNvSpPr/>
              <p:nvPr/>
            </p:nvSpPr>
            <p:spPr>
              <a:xfrm>
                <a:off x="6588622" y="1570338"/>
                <a:ext cx="7475" cy="1614"/>
              </a:xfrm>
              <a:custGeom>
                <a:avLst/>
                <a:gdLst>
                  <a:gd name="connsiteX0" fmla="*/ 0 w 7475"/>
                  <a:gd name="connsiteY0" fmla="*/ 0 h 1614"/>
                  <a:gd name="connsiteX1" fmla="*/ 1076 w 7475"/>
                  <a:gd name="connsiteY1" fmla="*/ 239 h 1614"/>
                  <a:gd name="connsiteX2" fmla="*/ 4007 w 7475"/>
                  <a:gd name="connsiteY2" fmla="*/ 897 h 1614"/>
                  <a:gd name="connsiteX3" fmla="*/ 5143 w 7475"/>
                  <a:gd name="connsiteY3" fmla="*/ 1136 h 1614"/>
                  <a:gd name="connsiteX4" fmla="*/ 7476 w 7475"/>
                  <a:gd name="connsiteY4" fmla="*/ 1615 h 1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5" h="1614">
                    <a:moveTo>
                      <a:pt x="0" y="0"/>
                    </a:moveTo>
                    <a:lnTo>
                      <a:pt x="1076" y="239"/>
                    </a:lnTo>
                    <a:lnTo>
                      <a:pt x="4007" y="897"/>
                    </a:lnTo>
                    <a:lnTo>
                      <a:pt x="5143" y="1136"/>
                    </a:lnTo>
                    <a:lnTo>
                      <a:pt x="7476" y="1615"/>
                    </a:lnTo>
                  </a:path>
                </a:pathLst>
              </a:custGeom>
              <a:noFill/>
              <a:ln w="6350" cap="rnd">
                <a:solidFill>
                  <a:schemeClr val="bg1">
                    <a:alpha val="80000"/>
                  </a:schemeClr>
                </a:solidFill>
                <a:prstDash val="solid"/>
                <a:round/>
              </a:ln>
            </p:spPr>
            <p:txBody>
              <a:bodyPr rtlCol="0" anchor="ctr"/>
              <a:lstStyle/>
              <a:p>
                <a:endParaRPr lang="en-GB"/>
              </a:p>
            </p:txBody>
          </p:sp>
          <p:sp>
            <p:nvSpPr>
              <p:cNvPr id="5727" name="Vrije vorm: vorm 5726">
                <a:extLst>
                  <a:ext uri="{FF2B5EF4-FFF2-40B4-BE49-F238E27FC236}">
                    <a16:creationId xmlns:a16="http://schemas.microsoft.com/office/drawing/2014/main" id="{081C779F-8EEA-4882-A8AA-03F7B75F1F79}"/>
                  </a:ext>
                </a:extLst>
              </p:cNvPr>
              <p:cNvSpPr/>
              <p:nvPr/>
            </p:nvSpPr>
            <p:spPr>
              <a:xfrm>
                <a:off x="6586349" y="1567348"/>
                <a:ext cx="3169" cy="598"/>
              </a:xfrm>
              <a:custGeom>
                <a:avLst/>
                <a:gdLst>
                  <a:gd name="connsiteX0" fmla="*/ 3170 w 3169"/>
                  <a:gd name="connsiteY0" fmla="*/ 598 h 598"/>
                  <a:gd name="connsiteX1" fmla="*/ 239 w 3169"/>
                  <a:gd name="connsiteY1" fmla="*/ 60 h 598"/>
                  <a:gd name="connsiteX2" fmla="*/ 0 w 3169"/>
                  <a:gd name="connsiteY2" fmla="*/ 0 h 598"/>
                </a:gdLst>
                <a:ahLst/>
                <a:cxnLst>
                  <a:cxn ang="0">
                    <a:pos x="connsiteX0" y="connsiteY0"/>
                  </a:cxn>
                  <a:cxn ang="0">
                    <a:pos x="connsiteX1" y="connsiteY1"/>
                  </a:cxn>
                  <a:cxn ang="0">
                    <a:pos x="connsiteX2" y="connsiteY2"/>
                  </a:cxn>
                </a:cxnLst>
                <a:rect l="l" t="t" r="r" b="b"/>
                <a:pathLst>
                  <a:path w="3169" h="598">
                    <a:moveTo>
                      <a:pt x="3170" y="598"/>
                    </a:moveTo>
                    <a:lnTo>
                      <a:pt x="239" y="6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28" name="Vrije vorm: vorm 5727">
                <a:extLst>
                  <a:ext uri="{FF2B5EF4-FFF2-40B4-BE49-F238E27FC236}">
                    <a16:creationId xmlns:a16="http://schemas.microsoft.com/office/drawing/2014/main" id="{2D7FBCBA-6D3C-4AFA-92F1-3C5225855E6F}"/>
                  </a:ext>
                </a:extLst>
              </p:cNvPr>
              <p:cNvSpPr/>
              <p:nvPr/>
            </p:nvSpPr>
            <p:spPr>
              <a:xfrm>
                <a:off x="6582223" y="1566570"/>
                <a:ext cx="6399" cy="3767"/>
              </a:xfrm>
              <a:custGeom>
                <a:avLst/>
                <a:gdLst>
                  <a:gd name="connsiteX0" fmla="*/ 6399 w 6399"/>
                  <a:gd name="connsiteY0" fmla="*/ 3768 h 3767"/>
                  <a:gd name="connsiteX1" fmla="*/ 3409 w 6399"/>
                  <a:gd name="connsiteY1" fmla="*/ 3289 h 3767"/>
                  <a:gd name="connsiteX2" fmla="*/ 3469 w 6399"/>
                  <a:gd name="connsiteY2" fmla="*/ 3170 h 3767"/>
                  <a:gd name="connsiteX3" fmla="*/ 4067 w 6399"/>
                  <a:gd name="connsiteY3" fmla="*/ 837 h 3767"/>
                  <a:gd name="connsiteX4" fmla="*/ 1136 w 6399"/>
                  <a:gd name="connsiteY4" fmla="*/ 239 h 3767"/>
                  <a:gd name="connsiteX5" fmla="*/ 0 w 6399"/>
                  <a:gd name="connsiteY5" fmla="*/ 0 h 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9" h="3767">
                    <a:moveTo>
                      <a:pt x="6399" y="3768"/>
                    </a:moveTo>
                    <a:lnTo>
                      <a:pt x="3409" y="3289"/>
                    </a:lnTo>
                    <a:lnTo>
                      <a:pt x="3469" y="3170"/>
                    </a:lnTo>
                    <a:lnTo>
                      <a:pt x="4067" y="837"/>
                    </a:lnTo>
                    <a:lnTo>
                      <a:pt x="1136" y="23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29" name="Vrije vorm: vorm 5728">
                <a:extLst>
                  <a:ext uri="{FF2B5EF4-FFF2-40B4-BE49-F238E27FC236}">
                    <a16:creationId xmlns:a16="http://schemas.microsoft.com/office/drawing/2014/main" id="{98AA3BB3-04DB-4709-B555-E496231ECDA7}"/>
                  </a:ext>
                </a:extLst>
              </p:cNvPr>
              <p:cNvSpPr/>
              <p:nvPr/>
            </p:nvSpPr>
            <p:spPr>
              <a:xfrm>
                <a:off x="6600344" y="1570518"/>
                <a:ext cx="3049" cy="2990"/>
              </a:xfrm>
              <a:custGeom>
                <a:avLst/>
                <a:gdLst>
                  <a:gd name="connsiteX0" fmla="*/ 718 w 3049"/>
                  <a:gd name="connsiteY0" fmla="*/ 0 h 2990"/>
                  <a:gd name="connsiteX1" fmla="*/ 60 w 3049"/>
                  <a:gd name="connsiteY1" fmla="*/ 2392 h 2990"/>
                  <a:gd name="connsiteX2" fmla="*/ 0 w 3049"/>
                  <a:gd name="connsiteY2" fmla="*/ 2512 h 2990"/>
                  <a:gd name="connsiteX3" fmla="*/ 2990 w 3049"/>
                  <a:gd name="connsiteY3" fmla="*/ 2990 h 2990"/>
                  <a:gd name="connsiteX4" fmla="*/ 3050 w 3049"/>
                  <a:gd name="connsiteY4" fmla="*/ 299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9" h="2990">
                    <a:moveTo>
                      <a:pt x="718" y="0"/>
                    </a:moveTo>
                    <a:lnTo>
                      <a:pt x="60" y="2392"/>
                    </a:lnTo>
                    <a:lnTo>
                      <a:pt x="0" y="2512"/>
                    </a:lnTo>
                    <a:lnTo>
                      <a:pt x="2990" y="2990"/>
                    </a:lnTo>
                    <a:lnTo>
                      <a:pt x="3050" y="2990"/>
                    </a:lnTo>
                  </a:path>
                </a:pathLst>
              </a:custGeom>
              <a:noFill/>
              <a:ln w="6350" cap="rnd">
                <a:solidFill>
                  <a:schemeClr val="bg1">
                    <a:alpha val="80000"/>
                  </a:schemeClr>
                </a:solidFill>
                <a:prstDash val="solid"/>
                <a:round/>
              </a:ln>
            </p:spPr>
            <p:txBody>
              <a:bodyPr rtlCol="0" anchor="ctr"/>
              <a:lstStyle/>
              <a:p>
                <a:endParaRPr lang="en-GB"/>
              </a:p>
            </p:txBody>
          </p:sp>
          <p:sp>
            <p:nvSpPr>
              <p:cNvPr id="5730" name="Vrije vorm: vorm 5729">
                <a:extLst>
                  <a:ext uri="{FF2B5EF4-FFF2-40B4-BE49-F238E27FC236}">
                    <a16:creationId xmlns:a16="http://schemas.microsoft.com/office/drawing/2014/main" id="{ADBD2490-4F8A-4182-9B24-16FCE030A175}"/>
                  </a:ext>
                </a:extLst>
              </p:cNvPr>
              <p:cNvSpPr/>
              <p:nvPr/>
            </p:nvSpPr>
            <p:spPr>
              <a:xfrm>
                <a:off x="6603394" y="1573568"/>
                <a:ext cx="25298" cy="5621"/>
              </a:xfrm>
              <a:custGeom>
                <a:avLst/>
                <a:gdLst>
                  <a:gd name="connsiteX0" fmla="*/ 0 w 25298"/>
                  <a:gd name="connsiteY0" fmla="*/ 0 h 5621"/>
                  <a:gd name="connsiteX1" fmla="*/ 897 w 25298"/>
                  <a:gd name="connsiteY1" fmla="*/ 179 h 5621"/>
                  <a:gd name="connsiteX2" fmla="*/ 3828 w 25298"/>
                  <a:gd name="connsiteY2" fmla="*/ 837 h 5621"/>
                  <a:gd name="connsiteX3" fmla="*/ 5204 w 25298"/>
                  <a:gd name="connsiteY3" fmla="*/ 1136 h 5621"/>
                  <a:gd name="connsiteX4" fmla="*/ 8134 w 25298"/>
                  <a:gd name="connsiteY4" fmla="*/ 1794 h 5621"/>
                  <a:gd name="connsiteX5" fmla="*/ 11065 w 25298"/>
                  <a:gd name="connsiteY5" fmla="*/ 2452 h 5621"/>
                  <a:gd name="connsiteX6" fmla="*/ 13995 w 25298"/>
                  <a:gd name="connsiteY6" fmla="*/ 3110 h 5621"/>
                  <a:gd name="connsiteX7" fmla="*/ 16926 w 25298"/>
                  <a:gd name="connsiteY7" fmla="*/ 3768 h 5621"/>
                  <a:gd name="connsiteX8" fmla="*/ 19856 w 25298"/>
                  <a:gd name="connsiteY8" fmla="*/ 4426 h 5621"/>
                  <a:gd name="connsiteX9" fmla="*/ 22787 w 25298"/>
                  <a:gd name="connsiteY9" fmla="*/ 5084 h 5621"/>
                  <a:gd name="connsiteX10" fmla="*/ 25299 w 25298"/>
                  <a:gd name="connsiteY10" fmla="*/ 5622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98" h="5621">
                    <a:moveTo>
                      <a:pt x="0" y="0"/>
                    </a:moveTo>
                    <a:lnTo>
                      <a:pt x="897" y="179"/>
                    </a:lnTo>
                    <a:lnTo>
                      <a:pt x="3828" y="837"/>
                    </a:lnTo>
                    <a:lnTo>
                      <a:pt x="5204" y="1136"/>
                    </a:lnTo>
                    <a:lnTo>
                      <a:pt x="8134" y="1794"/>
                    </a:lnTo>
                    <a:lnTo>
                      <a:pt x="11065" y="2452"/>
                    </a:lnTo>
                    <a:lnTo>
                      <a:pt x="13995" y="3110"/>
                    </a:lnTo>
                    <a:lnTo>
                      <a:pt x="16926" y="3768"/>
                    </a:lnTo>
                    <a:lnTo>
                      <a:pt x="19856" y="4426"/>
                    </a:lnTo>
                    <a:lnTo>
                      <a:pt x="22787" y="5084"/>
                    </a:lnTo>
                    <a:lnTo>
                      <a:pt x="25299" y="5622"/>
                    </a:lnTo>
                  </a:path>
                </a:pathLst>
              </a:custGeom>
              <a:noFill/>
              <a:ln w="6350" cap="rnd">
                <a:solidFill>
                  <a:schemeClr val="bg1">
                    <a:alpha val="80000"/>
                  </a:schemeClr>
                </a:solidFill>
                <a:prstDash val="solid"/>
                <a:round/>
              </a:ln>
            </p:spPr>
            <p:txBody>
              <a:bodyPr rtlCol="0" anchor="ctr"/>
              <a:lstStyle/>
              <a:p>
                <a:endParaRPr lang="en-GB"/>
              </a:p>
            </p:txBody>
          </p:sp>
          <p:sp>
            <p:nvSpPr>
              <p:cNvPr id="5731" name="Vrije vorm: vorm 5730">
                <a:extLst>
                  <a:ext uri="{FF2B5EF4-FFF2-40B4-BE49-F238E27FC236}">
                    <a16:creationId xmlns:a16="http://schemas.microsoft.com/office/drawing/2014/main" id="{3F0E601D-25B4-4145-98F5-66257437F0F4}"/>
                  </a:ext>
                </a:extLst>
              </p:cNvPr>
              <p:cNvSpPr/>
              <p:nvPr/>
            </p:nvSpPr>
            <p:spPr>
              <a:xfrm>
                <a:off x="6596696" y="1569621"/>
                <a:ext cx="7595" cy="1435"/>
              </a:xfrm>
              <a:custGeom>
                <a:avLst/>
                <a:gdLst>
                  <a:gd name="connsiteX0" fmla="*/ 7596 w 7595"/>
                  <a:gd name="connsiteY0" fmla="*/ 1435 h 1435"/>
                  <a:gd name="connsiteX1" fmla="*/ 4605 w 7595"/>
                  <a:gd name="connsiteY1" fmla="*/ 957 h 1435"/>
                  <a:gd name="connsiteX2" fmla="*/ 4306 w 7595"/>
                  <a:gd name="connsiteY2" fmla="*/ 897 h 1435"/>
                  <a:gd name="connsiteX3" fmla="*/ 1376 w 7595"/>
                  <a:gd name="connsiteY3" fmla="*/ 299 h 1435"/>
                  <a:gd name="connsiteX4" fmla="*/ 0 w 7595"/>
                  <a:gd name="connsiteY4" fmla="*/ 0 h 1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5" h="1435">
                    <a:moveTo>
                      <a:pt x="7596" y="1435"/>
                    </a:moveTo>
                    <a:lnTo>
                      <a:pt x="4605" y="957"/>
                    </a:lnTo>
                    <a:lnTo>
                      <a:pt x="4306" y="897"/>
                    </a:lnTo>
                    <a:lnTo>
                      <a:pt x="1376" y="29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32" name="Vrije vorm: vorm 5731">
                <a:extLst>
                  <a:ext uri="{FF2B5EF4-FFF2-40B4-BE49-F238E27FC236}">
                    <a16:creationId xmlns:a16="http://schemas.microsoft.com/office/drawing/2014/main" id="{1113F0BF-E450-484F-98AD-E93F58B8B768}"/>
                  </a:ext>
                </a:extLst>
              </p:cNvPr>
              <p:cNvSpPr/>
              <p:nvPr/>
            </p:nvSpPr>
            <p:spPr>
              <a:xfrm>
                <a:off x="6509198" y="1542229"/>
                <a:ext cx="2033" cy="897"/>
              </a:xfrm>
              <a:custGeom>
                <a:avLst/>
                <a:gdLst>
                  <a:gd name="connsiteX0" fmla="*/ 0 w 2033"/>
                  <a:gd name="connsiteY0" fmla="*/ 778 h 897"/>
                  <a:gd name="connsiteX1" fmla="*/ 299 w 2033"/>
                  <a:gd name="connsiteY1" fmla="*/ 897 h 897"/>
                  <a:gd name="connsiteX2" fmla="*/ 299 w 2033"/>
                  <a:gd name="connsiteY2" fmla="*/ 897 h 897"/>
                  <a:gd name="connsiteX3" fmla="*/ 658 w 2033"/>
                  <a:gd name="connsiteY3" fmla="*/ 897 h 897"/>
                  <a:gd name="connsiteX4" fmla="*/ 1136 w 2033"/>
                  <a:gd name="connsiteY4" fmla="*/ 718 h 897"/>
                  <a:gd name="connsiteX5" fmla="*/ 1615 w 2033"/>
                  <a:gd name="connsiteY5" fmla="*/ 419 h 897"/>
                  <a:gd name="connsiteX6" fmla="*/ 2034 w 2033"/>
                  <a:gd name="connsiteY6" fmla="*/ 0 h 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3" h="897">
                    <a:moveTo>
                      <a:pt x="0" y="778"/>
                    </a:moveTo>
                    <a:lnTo>
                      <a:pt x="299" y="897"/>
                    </a:lnTo>
                    <a:lnTo>
                      <a:pt x="299" y="897"/>
                    </a:lnTo>
                    <a:lnTo>
                      <a:pt x="658" y="897"/>
                    </a:lnTo>
                    <a:lnTo>
                      <a:pt x="1136" y="718"/>
                    </a:lnTo>
                    <a:lnTo>
                      <a:pt x="1615" y="419"/>
                    </a:lnTo>
                    <a:lnTo>
                      <a:pt x="2034" y="0"/>
                    </a:lnTo>
                  </a:path>
                </a:pathLst>
              </a:custGeom>
              <a:noFill/>
              <a:ln w="6350" cap="rnd">
                <a:solidFill>
                  <a:schemeClr val="bg1">
                    <a:alpha val="80000"/>
                  </a:schemeClr>
                </a:solidFill>
                <a:prstDash val="solid"/>
                <a:round/>
              </a:ln>
            </p:spPr>
            <p:txBody>
              <a:bodyPr rtlCol="0" anchor="ctr"/>
              <a:lstStyle/>
              <a:p>
                <a:endParaRPr lang="en-GB"/>
              </a:p>
            </p:txBody>
          </p:sp>
          <p:sp>
            <p:nvSpPr>
              <p:cNvPr id="5733" name="Vrije vorm: vorm 5732">
                <a:extLst>
                  <a:ext uri="{FF2B5EF4-FFF2-40B4-BE49-F238E27FC236}">
                    <a16:creationId xmlns:a16="http://schemas.microsoft.com/office/drawing/2014/main" id="{F70F3126-38C8-4F51-8E61-2817887D8614}"/>
                  </a:ext>
                </a:extLst>
              </p:cNvPr>
              <p:cNvSpPr/>
              <p:nvPr/>
            </p:nvSpPr>
            <p:spPr>
              <a:xfrm>
                <a:off x="6508959" y="1540435"/>
                <a:ext cx="597" cy="2571"/>
              </a:xfrm>
              <a:custGeom>
                <a:avLst/>
                <a:gdLst>
                  <a:gd name="connsiteX0" fmla="*/ 239 w 597"/>
                  <a:gd name="connsiteY0" fmla="*/ 2572 h 2571"/>
                  <a:gd name="connsiteX1" fmla="*/ 60 w 597"/>
                  <a:gd name="connsiteY1" fmla="*/ 2273 h 2571"/>
                  <a:gd name="connsiteX2" fmla="*/ 0 w 597"/>
                  <a:gd name="connsiteY2" fmla="*/ 1914 h 2571"/>
                  <a:gd name="connsiteX3" fmla="*/ 0 w 597"/>
                  <a:gd name="connsiteY3" fmla="*/ 1854 h 2571"/>
                  <a:gd name="connsiteX4" fmla="*/ 60 w 597"/>
                  <a:gd name="connsiteY4" fmla="*/ 1316 h 2571"/>
                  <a:gd name="connsiteX5" fmla="*/ 239 w 597"/>
                  <a:gd name="connsiteY5" fmla="*/ 718 h 2571"/>
                  <a:gd name="connsiteX6" fmla="*/ 538 w 597"/>
                  <a:gd name="connsiteY6" fmla="*/ 120 h 2571"/>
                  <a:gd name="connsiteX7" fmla="*/ 538 w 597"/>
                  <a:gd name="connsiteY7" fmla="*/ 120 h 2571"/>
                  <a:gd name="connsiteX8" fmla="*/ 598 w 597"/>
                  <a:gd name="connsiteY8" fmla="*/ 0 h 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 h="2571">
                    <a:moveTo>
                      <a:pt x="239" y="2572"/>
                    </a:moveTo>
                    <a:lnTo>
                      <a:pt x="60" y="2273"/>
                    </a:lnTo>
                    <a:lnTo>
                      <a:pt x="0" y="1914"/>
                    </a:lnTo>
                    <a:lnTo>
                      <a:pt x="0" y="1854"/>
                    </a:lnTo>
                    <a:lnTo>
                      <a:pt x="60" y="1316"/>
                    </a:lnTo>
                    <a:lnTo>
                      <a:pt x="239" y="718"/>
                    </a:lnTo>
                    <a:lnTo>
                      <a:pt x="538" y="120"/>
                    </a:lnTo>
                    <a:lnTo>
                      <a:pt x="538" y="120"/>
                    </a:lnTo>
                    <a:lnTo>
                      <a:pt x="598" y="0"/>
                    </a:lnTo>
                  </a:path>
                </a:pathLst>
              </a:custGeom>
              <a:noFill/>
              <a:ln w="6350" cap="rnd">
                <a:solidFill>
                  <a:schemeClr val="bg1">
                    <a:alpha val="80000"/>
                  </a:schemeClr>
                </a:solidFill>
                <a:prstDash val="solid"/>
                <a:round/>
              </a:ln>
            </p:spPr>
            <p:txBody>
              <a:bodyPr rtlCol="0" anchor="ctr"/>
              <a:lstStyle/>
              <a:p>
                <a:endParaRPr lang="en-GB"/>
              </a:p>
            </p:txBody>
          </p:sp>
          <p:sp>
            <p:nvSpPr>
              <p:cNvPr id="5734" name="Vrije vorm: vorm 5733">
                <a:extLst>
                  <a:ext uri="{FF2B5EF4-FFF2-40B4-BE49-F238E27FC236}">
                    <a16:creationId xmlns:a16="http://schemas.microsoft.com/office/drawing/2014/main" id="{882BDE55-48FA-41A2-BF17-CE7690FA0784}"/>
                  </a:ext>
                </a:extLst>
              </p:cNvPr>
              <p:cNvSpPr/>
              <p:nvPr/>
            </p:nvSpPr>
            <p:spPr>
              <a:xfrm>
                <a:off x="6508301" y="1539897"/>
                <a:ext cx="3169" cy="3947"/>
              </a:xfrm>
              <a:custGeom>
                <a:avLst/>
                <a:gdLst>
                  <a:gd name="connsiteX0" fmla="*/ 3170 w 3169"/>
                  <a:gd name="connsiteY0" fmla="*/ 2572 h 3947"/>
                  <a:gd name="connsiteX1" fmla="*/ 3050 w 3169"/>
                  <a:gd name="connsiteY1" fmla="*/ 2691 h 3947"/>
                  <a:gd name="connsiteX2" fmla="*/ 2392 w 3169"/>
                  <a:gd name="connsiteY2" fmla="*/ 3289 h 3947"/>
                  <a:gd name="connsiteX3" fmla="*/ 1734 w 3169"/>
                  <a:gd name="connsiteY3" fmla="*/ 3708 h 3947"/>
                  <a:gd name="connsiteX4" fmla="*/ 1555 w 3169"/>
                  <a:gd name="connsiteY4" fmla="*/ 3768 h 3947"/>
                  <a:gd name="connsiteX5" fmla="*/ 1136 w 3169"/>
                  <a:gd name="connsiteY5" fmla="*/ 3947 h 3947"/>
                  <a:gd name="connsiteX6" fmla="*/ 1017 w 3169"/>
                  <a:gd name="connsiteY6" fmla="*/ 3947 h 3947"/>
                  <a:gd name="connsiteX7" fmla="*/ 658 w 3169"/>
                  <a:gd name="connsiteY7" fmla="*/ 3947 h 3947"/>
                  <a:gd name="connsiteX8" fmla="*/ 299 w 3169"/>
                  <a:gd name="connsiteY8" fmla="*/ 3768 h 3947"/>
                  <a:gd name="connsiteX9" fmla="*/ 60 w 3169"/>
                  <a:gd name="connsiteY9" fmla="*/ 3409 h 3947"/>
                  <a:gd name="connsiteX10" fmla="*/ 60 w 3169"/>
                  <a:gd name="connsiteY10" fmla="*/ 3349 h 3947"/>
                  <a:gd name="connsiteX11" fmla="*/ 0 w 3169"/>
                  <a:gd name="connsiteY11" fmla="*/ 2871 h 3947"/>
                  <a:gd name="connsiteX12" fmla="*/ 120 w 3169"/>
                  <a:gd name="connsiteY12" fmla="*/ 2213 h 3947"/>
                  <a:gd name="connsiteX13" fmla="*/ 359 w 3169"/>
                  <a:gd name="connsiteY13" fmla="*/ 1435 h 3947"/>
                  <a:gd name="connsiteX14" fmla="*/ 778 w 3169"/>
                  <a:gd name="connsiteY14" fmla="*/ 658 h 3947"/>
                  <a:gd name="connsiteX15" fmla="*/ 897 w 3169"/>
                  <a:gd name="connsiteY15" fmla="*/ 538 h 3947"/>
                  <a:gd name="connsiteX16" fmla="*/ 1017 w 3169"/>
                  <a:gd name="connsiteY16" fmla="*/ 419 h 3947"/>
                  <a:gd name="connsiteX17" fmla="*/ 1256 w 3169"/>
                  <a:gd name="connsiteY17" fmla="*/ 0 h 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69" h="3947">
                    <a:moveTo>
                      <a:pt x="3170" y="2572"/>
                    </a:moveTo>
                    <a:lnTo>
                      <a:pt x="3050" y="2691"/>
                    </a:lnTo>
                    <a:lnTo>
                      <a:pt x="2392" y="3289"/>
                    </a:lnTo>
                    <a:lnTo>
                      <a:pt x="1734" y="3708"/>
                    </a:lnTo>
                    <a:lnTo>
                      <a:pt x="1555" y="3768"/>
                    </a:lnTo>
                    <a:lnTo>
                      <a:pt x="1136" y="3947"/>
                    </a:lnTo>
                    <a:lnTo>
                      <a:pt x="1017" y="3947"/>
                    </a:lnTo>
                    <a:lnTo>
                      <a:pt x="658" y="3947"/>
                    </a:lnTo>
                    <a:lnTo>
                      <a:pt x="299" y="3768"/>
                    </a:lnTo>
                    <a:lnTo>
                      <a:pt x="60" y="3409"/>
                    </a:lnTo>
                    <a:lnTo>
                      <a:pt x="60" y="3349"/>
                    </a:lnTo>
                    <a:lnTo>
                      <a:pt x="0" y="2871"/>
                    </a:lnTo>
                    <a:lnTo>
                      <a:pt x="120" y="2213"/>
                    </a:lnTo>
                    <a:lnTo>
                      <a:pt x="359" y="1435"/>
                    </a:lnTo>
                    <a:lnTo>
                      <a:pt x="778" y="658"/>
                    </a:lnTo>
                    <a:lnTo>
                      <a:pt x="897" y="538"/>
                    </a:lnTo>
                    <a:lnTo>
                      <a:pt x="1017" y="419"/>
                    </a:lnTo>
                    <a:lnTo>
                      <a:pt x="1256" y="0"/>
                    </a:lnTo>
                  </a:path>
                </a:pathLst>
              </a:custGeom>
              <a:noFill/>
              <a:ln w="6350" cap="rnd">
                <a:solidFill>
                  <a:schemeClr val="bg1">
                    <a:alpha val="80000"/>
                  </a:schemeClr>
                </a:solidFill>
                <a:prstDash val="solid"/>
                <a:round/>
              </a:ln>
            </p:spPr>
            <p:txBody>
              <a:bodyPr rtlCol="0" anchor="ctr"/>
              <a:lstStyle/>
              <a:p>
                <a:endParaRPr lang="en-GB"/>
              </a:p>
            </p:txBody>
          </p:sp>
          <p:sp>
            <p:nvSpPr>
              <p:cNvPr id="5735" name="Vrije vorm: vorm 5734">
                <a:extLst>
                  <a:ext uri="{FF2B5EF4-FFF2-40B4-BE49-F238E27FC236}">
                    <a16:creationId xmlns:a16="http://schemas.microsoft.com/office/drawing/2014/main" id="{F9C8D939-1D08-494F-8D04-BA459EF30E44}"/>
                  </a:ext>
                </a:extLst>
              </p:cNvPr>
              <p:cNvSpPr/>
              <p:nvPr/>
            </p:nvSpPr>
            <p:spPr>
              <a:xfrm>
                <a:off x="6509617" y="1543246"/>
                <a:ext cx="2870" cy="1315"/>
              </a:xfrm>
              <a:custGeom>
                <a:avLst/>
                <a:gdLst>
                  <a:gd name="connsiteX0" fmla="*/ 2871 w 2870"/>
                  <a:gd name="connsiteY0" fmla="*/ 0 h 1315"/>
                  <a:gd name="connsiteX1" fmla="*/ 2751 w 2870"/>
                  <a:gd name="connsiteY1" fmla="*/ 120 h 1315"/>
                  <a:gd name="connsiteX2" fmla="*/ 2333 w 2870"/>
                  <a:gd name="connsiteY2" fmla="*/ 478 h 1315"/>
                  <a:gd name="connsiteX3" fmla="*/ 2093 w 2870"/>
                  <a:gd name="connsiteY3" fmla="*/ 658 h 1315"/>
                  <a:gd name="connsiteX4" fmla="*/ 1974 w 2870"/>
                  <a:gd name="connsiteY4" fmla="*/ 718 h 1315"/>
                  <a:gd name="connsiteX5" fmla="*/ 1435 w 2870"/>
                  <a:gd name="connsiteY5" fmla="*/ 1077 h 1315"/>
                  <a:gd name="connsiteX6" fmla="*/ 1256 w 2870"/>
                  <a:gd name="connsiteY6" fmla="*/ 1136 h 1315"/>
                  <a:gd name="connsiteX7" fmla="*/ 837 w 2870"/>
                  <a:gd name="connsiteY7" fmla="*/ 1316 h 1315"/>
                  <a:gd name="connsiteX8" fmla="*/ 359 w 2870"/>
                  <a:gd name="connsiteY8" fmla="*/ 1316 h 1315"/>
                  <a:gd name="connsiteX9" fmla="*/ 0 w 2870"/>
                  <a:gd name="connsiteY9" fmla="*/ 1136 h 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0" h="1315">
                    <a:moveTo>
                      <a:pt x="2871" y="0"/>
                    </a:moveTo>
                    <a:lnTo>
                      <a:pt x="2751" y="120"/>
                    </a:lnTo>
                    <a:lnTo>
                      <a:pt x="2333" y="478"/>
                    </a:lnTo>
                    <a:lnTo>
                      <a:pt x="2093" y="658"/>
                    </a:lnTo>
                    <a:lnTo>
                      <a:pt x="1974" y="718"/>
                    </a:lnTo>
                    <a:lnTo>
                      <a:pt x="1435" y="1077"/>
                    </a:lnTo>
                    <a:lnTo>
                      <a:pt x="1256" y="1136"/>
                    </a:lnTo>
                    <a:lnTo>
                      <a:pt x="837" y="1316"/>
                    </a:lnTo>
                    <a:lnTo>
                      <a:pt x="359" y="1316"/>
                    </a:lnTo>
                    <a:lnTo>
                      <a:pt x="0" y="1136"/>
                    </a:lnTo>
                  </a:path>
                </a:pathLst>
              </a:custGeom>
              <a:noFill/>
              <a:ln w="6350" cap="rnd">
                <a:solidFill>
                  <a:schemeClr val="bg1">
                    <a:alpha val="80000"/>
                  </a:schemeClr>
                </a:solidFill>
                <a:prstDash val="solid"/>
                <a:round/>
              </a:ln>
            </p:spPr>
            <p:txBody>
              <a:bodyPr rtlCol="0" anchor="ctr"/>
              <a:lstStyle/>
              <a:p>
                <a:endParaRPr lang="en-GB"/>
              </a:p>
            </p:txBody>
          </p:sp>
          <p:sp>
            <p:nvSpPr>
              <p:cNvPr id="5736" name="Vrije vorm: vorm 5735">
                <a:extLst>
                  <a:ext uri="{FF2B5EF4-FFF2-40B4-BE49-F238E27FC236}">
                    <a16:creationId xmlns:a16="http://schemas.microsoft.com/office/drawing/2014/main" id="{9D38029C-4209-4B1B-85D0-C93F0AF61A3F}"/>
                  </a:ext>
                </a:extLst>
              </p:cNvPr>
              <p:cNvSpPr/>
              <p:nvPr/>
            </p:nvSpPr>
            <p:spPr>
              <a:xfrm>
                <a:off x="6508660" y="1543664"/>
                <a:ext cx="1016" cy="777"/>
              </a:xfrm>
              <a:custGeom>
                <a:avLst/>
                <a:gdLst>
                  <a:gd name="connsiteX0" fmla="*/ 1017 w 1016"/>
                  <a:gd name="connsiteY0" fmla="*/ 777 h 777"/>
                  <a:gd name="connsiteX1" fmla="*/ 0 w 1016"/>
                  <a:gd name="connsiteY1" fmla="*/ 0 h 777"/>
                </a:gdLst>
                <a:ahLst/>
                <a:cxnLst>
                  <a:cxn ang="0">
                    <a:pos x="connsiteX0" y="connsiteY0"/>
                  </a:cxn>
                  <a:cxn ang="0">
                    <a:pos x="connsiteX1" y="connsiteY1"/>
                  </a:cxn>
                </a:cxnLst>
                <a:rect l="l" t="t" r="r" b="b"/>
                <a:pathLst>
                  <a:path w="1016" h="777">
                    <a:moveTo>
                      <a:pt x="1017" y="777"/>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37" name="Vrije vorm: vorm 5736">
                <a:extLst>
                  <a:ext uri="{FF2B5EF4-FFF2-40B4-BE49-F238E27FC236}">
                    <a16:creationId xmlns:a16="http://schemas.microsoft.com/office/drawing/2014/main" id="{C98D7ECC-93C6-4D8F-A8E9-A874DA542752}"/>
                  </a:ext>
                </a:extLst>
              </p:cNvPr>
              <p:cNvSpPr/>
              <p:nvPr/>
            </p:nvSpPr>
            <p:spPr>
              <a:xfrm>
                <a:off x="6505490" y="1527516"/>
                <a:ext cx="12738" cy="20035"/>
              </a:xfrm>
              <a:custGeom>
                <a:avLst/>
                <a:gdLst>
                  <a:gd name="connsiteX0" fmla="*/ 12739 w 12738"/>
                  <a:gd name="connsiteY0" fmla="*/ 5682 h 20035"/>
                  <a:gd name="connsiteX1" fmla="*/ 10466 w 12738"/>
                  <a:gd name="connsiteY1" fmla="*/ 3768 h 20035"/>
                  <a:gd name="connsiteX2" fmla="*/ 9569 w 12738"/>
                  <a:gd name="connsiteY2" fmla="*/ 2990 h 20035"/>
                  <a:gd name="connsiteX3" fmla="*/ 7297 w 12738"/>
                  <a:gd name="connsiteY3" fmla="*/ 1077 h 20035"/>
                  <a:gd name="connsiteX4" fmla="*/ 6340 w 12738"/>
                  <a:gd name="connsiteY4" fmla="*/ 299 h 20035"/>
                  <a:gd name="connsiteX5" fmla="*/ 4366 w 12738"/>
                  <a:gd name="connsiteY5" fmla="*/ 0 h 20035"/>
                  <a:gd name="connsiteX6" fmla="*/ 4306 w 12738"/>
                  <a:gd name="connsiteY6" fmla="*/ 3170 h 20035"/>
                  <a:gd name="connsiteX7" fmla="*/ 4246 w 12738"/>
                  <a:gd name="connsiteY7" fmla="*/ 6340 h 20035"/>
                  <a:gd name="connsiteX8" fmla="*/ 4187 w 12738"/>
                  <a:gd name="connsiteY8" fmla="*/ 9031 h 20035"/>
                  <a:gd name="connsiteX9" fmla="*/ 4187 w 12738"/>
                  <a:gd name="connsiteY9" fmla="*/ 9689 h 20035"/>
                  <a:gd name="connsiteX10" fmla="*/ 4187 w 12738"/>
                  <a:gd name="connsiteY10" fmla="*/ 11124 h 20035"/>
                  <a:gd name="connsiteX11" fmla="*/ 4187 w 12738"/>
                  <a:gd name="connsiteY11" fmla="*/ 11483 h 20035"/>
                  <a:gd name="connsiteX12" fmla="*/ 4187 w 12738"/>
                  <a:gd name="connsiteY12" fmla="*/ 12201 h 20035"/>
                  <a:gd name="connsiteX13" fmla="*/ 4187 w 12738"/>
                  <a:gd name="connsiteY13" fmla="*/ 12799 h 20035"/>
                  <a:gd name="connsiteX14" fmla="*/ 4187 w 12738"/>
                  <a:gd name="connsiteY14" fmla="*/ 12799 h 20035"/>
                  <a:gd name="connsiteX15" fmla="*/ 4187 w 12738"/>
                  <a:gd name="connsiteY15" fmla="*/ 12978 h 20035"/>
                  <a:gd name="connsiteX16" fmla="*/ 4187 w 12738"/>
                  <a:gd name="connsiteY16" fmla="*/ 13337 h 20035"/>
                  <a:gd name="connsiteX17" fmla="*/ 4306 w 12738"/>
                  <a:gd name="connsiteY17" fmla="*/ 13397 h 20035"/>
                  <a:gd name="connsiteX18" fmla="*/ 4725 w 12738"/>
                  <a:gd name="connsiteY18" fmla="*/ 13696 h 20035"/>
                  <a:gd name="connsiteX19" fmla="*/ 5801 w 12738"/>
                  <a:gd name="connsiteY19" fmla="*/ 14593 h 20035"/>
                  <a:gd name="connsiteX20" fmla="*/ 6100 w 12738"/>
                  <a:gd name="connsiteY20" fmla="*/ 14832 h 20035"/>
                  <a:gd name="connsiteX21" fmla="*/ 6160 w 12738"/>
                  <a:gd name="connsiteY21" fmla="*/ 14832 h 20035"/>
                  <a:gd name="connsiteX22" fmla="*/ 6519 w 12738"/>
                  <a:gd name="connsiteY22" fmla="*/ 15131 h 20035"/>
                  <a:gd name="connsiteX23" fmla="*/ 7117 w 12738"/>
                  <a:gd name="connsiteY23" fmla="*/ 15610 h 20035"/>
                  <a:gd name="connsiteX24" fmla="*/ 7237 w 12738"/>
                  <a:gd name="connsiteY24" fmla="*/ 15729 h 20035"/>
                  <a:gd name="connsiteX25" fmla="*/ 8493 w 12738"/>
                  <a:gd name="connsiteY25" fmla="*/ 16746 h 20035"/>
                  <a:gd name="connsiteX26" fmla="*/ 8493 w 12738"/>
                  <a:gd name="connsiteY26" fmla="*/ 16746 h 20035"/>
                  <a:gd name="connsiteX27" fmla="*/ 9808 w 12738"/>
                  <a:gd name="connsiteY27" fmla="*/ 17823 h 20035"/>
                  <a:gd name="connsiteX28" fmla="*/ 9330 w 12738"/>
                  <a:gd name="connsiteY28" fmla="*/ 18660 h 20035"/>
                  <a:gd name="connsiteX29" fmla="*/ 8852 w 12738"/>
                  <a:gd name="connsiteY29" fmla="*/ 19437 h 20035"/>
                  <a:gd name="connsiteX30" fmla="*/ 8493 w 12738"/>
                  <a:gd name="connsiteY30" fmla="*/ 20035 h 20035"/>
                  <a:gd name="connsiteX31" fmla="*/ 7237 w 12738"/>
                  <a:gd name="connsiteY31" fmla="*/ 19796 h 20035"/>
                  <a:gd name="connsiteX32" fmla="*/ 6818 w 12738"/>
                  <a:gd name="connsiteY32" fmla="*/ 19736 h 20035"/>
                  <a:gd name="connsiteX33" fmla="*/ 6818 w 12738"/>
                  <a:gd name="connsiteY33" fmla="*/ 19736 h 20035"/>
                  <a:gd name="connsiteX34" fmla="*/ 6579 w 12738"/>
                  <a:gd name="connsiteY34" fmla="*/ 19677 h 20035"/>
                  <a:gd name="connsiteX35" fmla="*/ 6220 w 12738"/>
                  <a:gd name="connsiteY35" fmla="*/ 19617 h 20035"/>
                  <a:gd name="connsiteX36" fmla="*/ 3290 w 12738"/>
                  <a:gd name="connsiteY36" fmla="*/ 19019 h 20035"/>
                  <a:gd name="connsiteX37" fmla="*/ 1316 w 12738"/>
                  <a:gd name="connsiteY37" fmla="*/ 18600 h 20035"/>
                  <a:gd name="connsiteX38" fmla="*/ 0 w 12738"/>
                  <a:gd name="connsiteY38" fmla="*/ 18361 h 2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738" h="20035">
                    <a:moveTo>
                      <a:pt x="12739" y="5682"/>
                    </a:moveTo>
                    <a:lnTo>
                      <a:pt x="10466" y="3768"/>
                    </a:lnTo>
                    <a:lnTo>
                      <a:pt x="9569" y="2990"/>
                    </a:lnTo>
                    <a:lnTo>
                      <a:pt x="7297" y="1077"/>
                    </a:lnTo>
                    <a:lnTo>
                      <a:pt x="6340" y="299"/>
                    </a:lnTo>
                    <a:lnTo>
                      <a:pt x="4366" y="0"/>
                    </a:lnTo>
                    <a:lnTo>
                      <a:pt x="4306" y="3170"/>
                    </a:lnTo>
                    <a:lnTo>
                      <a:pt x="4246" y="6340"/>
                    </a:lnTo>
                    <a:lnTo>
                      <a:pt x="4187" y="9031"/>
                    </a:lnTo>
                    <a:lnTo>
                      <a:pt x="4187" y="9689"/>
                    </a:lnTo>
                    <a:lnTo>
                      <a:pt x="4187" y="11124"/>
                    </a:lnTo>
                    <a:lnTo>
                      <a:pt x="4187" y="11483"/>
                    </a:lnTo>
                    <a:lnTo>
                      <a:pt x="4187" y="12201"/>
                    </a:lnTo>
                    <a:lnTo>
                      <a:pt x="4187" y="12799"/>
                    </a:lnTo>
                    <a:lnTo>
                      <a:pt x="4187" y="12799"/>
                    </a:lnTo>
                    <a:lnTo>
                      <a:pt x="4187" y="12978"/>
                    </a:lnTo>
                    <a:lnTo>
                      <a:pt x="4187" y="13337"/>
                    </a:lnTo>
                    <a:lnTo>
                      <a:pt x="4306" y="13397"/>
                    </a:lnTo>
                    <a:lnTo>
                      <a:pt x="4725" y="13696"/>
                    </a:lnTo>
                    <a:lnTo>
                      <a:pt x="5801" y="14593"/>
                    </a:lnTo>
                    <a:lnTo>
                      <a:pt x="6100" y="14832"/>
                    </a:lnTo>
                    <a:lnTo>
                      <a:pt x="6160" y="14832"/>
                    </a:lnTo>
                    <a:lnTo>
                      <a:pt x="6519" y="15131"/>
                    </a:lnTo>
                    <a:lnTo>
                      <a:pt x="7117" y="15610"/>
                    </a:lnTo>
                    <a:lnTo>
                      <a:pt x="7237" y="15729"/>
                    </a:lnTo>
                    <a:lnTo>
                      <a:pt x="8493" y="16746"/>
                    </a:lnTo>
                    <a:lnTo>
                      <a:pt x="8493" y="16746"/>
                    </a:lnTo>
                    <a:lnTo>
                      <a:pt x="9808" y="17823"/>
                    </a:lnTo>
                    <a:lnTo>
                      <a:pt x="9330" y="18660"/>
                    </a:lnTo>
                    <a:lnTo>
                      <a:pt x="8852" y="19437"/>
                    </a:lnTo>
                    <a:lnTo>
                      <a:pt x="8493" y="20035"/>
                    </a:lnTo>
                    <a:lnTo>
                      <a:pt x="7237" y="19796"/>
                    </a:lnTo>
                    <a:lnTo>
                      <a:pt x="6818" y="19736"/>
                    </a:lnTo>
                    <a:lnTo>
                      <a:pt x="6818" y="19736"/>
                    </a:lnTo>
                    <a:lnTo>
                      <a:pt x="6579" y="19677"/>
                    </a:lnTo>
                    <a:lnTo>
                      <a:pt x="6220" y="19617"/>
                    </a:lnTo>
                    <a:lnTo>
                      <a:pt x="3290" y="19019"/>
                    </a:lnTo>
                    <a:lnTo>
                      <a:pt x="1316" y="18600"/>
                    </a:lnTo>
                    <a:lnTo>
                      <a:pt x="0" y="18361"/>
                    </a:lnTo>
                  </a:path>
                </a:pathLst>
              </a:custGeom>
              <a:noFill/>
              <a:ln w="6350" cap="rnd">
                <a:solidFill>
                  <a:schemeClr val="bg1">
                    <a:alpha val="80000"/>
                  </a:schemeClr>
                </a:solidFill>
                <a:prstDash val="solid"/>
                <a:round/>
              </a:ln>
            </p:spPr>
            <p:txBody>
              <a:bodyPr rtlCol="0" anchor="ctr"/>
              <a:lstStyle/>
              <a:p>
                <a:endParaRPr lang="en-GB"/>
              </a:p>
            </p:txBody>
          </p:sp>
          <p:sp>
            <p:nvSpPr>
              <p:cNvPr id="5738" name="Vrije vorm: vorm 5737">
                <a:extLst>
                  <a:ext uri="{FF2B5EF4-FFF2-40B4-BE49-F238E27FC236}">
                    <a16:creationId xmlns:a16="http://schemas.microsoft.com/office/drawing/2014/main" id="{F07A3611-3E8A-4035-95F5-40681CBD349A}"/>
                  </a:ext>
                </a:extLst>
              </p:cNvPr>
              <p:cNvSpPr/>
              <p:nvPr/>
            </p:nvSpPr>
            <p:spPr>
              <a:xfrm>
                <a:off x="6509617" y="1527935"/>
                <a:ext cx="2093" cy="13037"/>
              </a:xfrm>
              <a:custGeom>
                <a:avLst/>
                <a:gdLst>
                  <a:gd name="connsiteX0" fmla="*/ 0 w 2093"/>
                  <a:gd name="connsiteY0" fmla="*/ 13038 h 13037"/>
                  <a:gd name="connsiteX1" fmla="*/ 120 w 2093"/>
                  <a:gd name="connsiteY1" fmla="*/ 12799 h 13037"/>
                  <a:gd name="connsiteX2" fmla="*/ 180 w 2093"/>
                  <a:gd name="connsiteY2" fmla="*/ 12679 h 13037"/>
                  <a:gd name="connsiteX3" fmla="*/ 1615 w 2093"/>
                  <a:gd name="connsiteY3" fmla="*/ 10287 h 13037"/>
                  <a:gd name="connsiteX4" fmla="*/ 1735 w 2093"/>
                  <a:gd name="connsiteY4" fmla="*/ 10107 h 13037"/>
                  <a:gd name="connsiteX5" fmla="*/ 1735 w 2093"/>
                  <a:gd name="connsiteY5" fmla="*/ 9689 h 13037"/>
                  <a:gd name="connsiteX6" fmla="*/ 1795 w 2093"/>
                  <a:gd name="connsiteY6" fmla="*/ 7715 h 13037"/>
                  <a:gd name="connsiteX7" fmla="*/ 1854 w 2093"/>
                  <a:gd name="connsiteY7" fmla="*/ 5562 h 13037"/>
                  <a:gd name="connsiteX8" fmla="*/ 1974 w 2093"/>
                  <a:gd name="connsiteY8" fmla="*/ 2392 h 13037"/>
                  <a:gd name="connsiteX9" fmla="*/ 2093 w 2093"/>
                  <a:gd name="connsiteY9" fmla="*/ 0 h 1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3" h="13037">
                    <a:moveTo>
                      <a:pt x="0" y="13038"/>
                    </a:moveTo>
                    <a:lnTo>
                      <a:pt x="120" y="12799"/>
                    </a:lnTo>
                    <a:lnTo>
                      <a:pt x="180" y="12679"/>
                    </a:lnTo>
                    <a:lnTo>
                      <a:pt x="1615" y="10287"/>
                    </a:lnTo>
                    <a:lnTo>
                      <a:pt x="1735" y="10107"/>
                    </a:lnTo>
                    <a:lnTo>
                      <a:pt x="1735" y="9689"/>
                    </a:lnTo>
                    <a:lnTo>
                      <a:pt x="1795" y="7715"/>
                    </a:lnTo>
                    <a:lnTo>
                      <a:pt x="1854" y="5562"/>
                    </a:lnTo>
                    <a:lnTo>
                      <a:pt x="1974" y="2392"/>
                    </a:lnTo>
                    <a:lnTo>
                      <a:pt x="2093" y="0"/>
                    </a:lnTo>
                  </a:path>
                </a:pathLst>
              </a:custGeom>
              <a:noFill/>
              <a:ln w="6350" cap="rnd">
                <a:solidFill>
                  <a:schemeClr val="bg1">
                    <a:alpha val="80000"/>
                  </a:schemeClr>
                </a:solidFill>
                <a:prstDash val="solid"/>
                <a:round/>
              </a:ln>
            </p:spPr>
            <p:txBody>
              <a:bodyPr rtlCol="0" anchor="ctr"/>
              <a:lstStyle/>
              <a:p>
                <a:endParaRPr lang="en-GB"/>
              </a:p>
            </p:txBody>
          </p:sp>
          <p:sp>
            <p:nvSpPr>
              <p:cNvPr id="5739" name="Vrije vorm: vorm 5738">
                <a:extLst>
                  <a:ext uri="{FF2B5EF4-FFF2-40B4-BE49-F238E27FC236}">
                    <a16:creationId xmlns:a16="http://schemas.microsoft.com/office/drawing/2014/main" id="{C62C45A6-E922-4464-A871-EE81334F34F7}"/>
                  </a:ext>
                </a:extLst>
              </p:cNvPr>
              <p:cNvSpPr/>
              <p:nvPr/>
            </p:nvSpPr>
            <p:spPr>
              <a:xfrm>
                <a:off x="6519664" y="1611366"/>
                <a:ext cx="10705" cy="20334"/>
              </a:xfrm>
              <a:custGeom>
                <a:avLst/>
                <a:gdLst>
                  <a:gd name="connsiteX0" fmla="*/ 718 w 10705"/>
                  <a:gd name="connsiteY0" fmla="*/ 0 h 20334"/>
                  <a:gd name="connsiteX1" fmla="*/ 3110 w 10705"/>
                  <a:gd name="connsiteY1" fmla="*/ 1734 h 20334"/>
                  <a:gd name="connsiteX2" fmla="*/ 3828 w 10705"/>
                  <a:gd name="connsiteY2" fmla="*/ 2273 h 20334"/>
                  <a:gd name="connsiteX3" fmla="*/ 3828 w 10705"/>
                  <a:gd name="connsiteY3" fmla="*/ 2273 h 20334"/>
                  <a:gd name="connsiteX4" fmla="*/ 6220 w 10705"/>
                  <a:gd name="connsiteY4" fmla="*/ 4007 h 20334"/>
                  <a:gd name="connsiteX5" fmla="*/ 6579 w 10705"/>
                  <a:gd name="connsiteY5" fmla="*/ 4246 h 20334"/>
                  <a:gd name="connsiteX6" fmla="*/ 6579 w 10705"/>
                  <a:gd name="connsiteY6" fmla="*/ 4246 h 20334"/>
                  <a:gd name="connsiteX7" fmla="*/ 8134 w 10705"/>
                  <a:gd name="connsiteY7" fmla="*/ 5383 h 20334"/>
                  <a:gd name="connsiteX8" fmla="*/ 8134 w 10705"/>
                  <a:gd name="connsiteY8" fmla="*/ 5383 h 20334"/>
                  <a:gd name="connsiteX9" fmla="*/ 10526 w 10705"/>
                  <a:gd name="connsiteY9" fmla="*/ 7117 h 20334"/>
                  <a:gd name="connsiteX10" fmla="*/ 10706 w 10705"/>
                  <a:gd name="connsiteY10" fmla="*/ 7237 h 20334"/>
                  <a:gd name="connsiteX11" fmla="*/ 9031 w 10705"/>
                  <a:gd name="connsiteY11" fmla="*/ 10048 h 20334"/>
                  <a:gd name="connsiteX12" fmla="*/ 7357 w 10705"/>
                  <a:gd name="connsiteY12" fmla="*/ 12859 h 20334"/>
                  <a:gd name="connsiteX13" fmla="*/ 5682 w 10705"/>
                  <a:gd name="connsiteY13" fmla="*/ 15669 h 20334"/>
                  <a:gd name="connsiteX14" fmla="*/ 4007 w 10705"/>
                  <a:gd name="connsiteY14" fmla="*/ 18480 h 20334"/>
                  <a:gd name="connsiteX15" fmla="*/ 2931 w 10705"/>
                  <a:gd name="connsiteY15" fmla="*/ 20334 h 20334"/>
                  <a:gd name="connsiteX16" fmla="*/ 180 w 10705"/>
                  <a:gd name="connsiteY16" fmla="*/ 19198 h 20334"/>
                  <a:gd name="connsiteX17" fmla="*/ 0 w 10705"/>
                  <a:gd name="connsiteY17" fmla="*/ 19138 h 2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05" h="20334">
                    <a:moveTo>
                      <a:pt x="718" y="0"/>
                    </a:moveTo>
                    <a:lnTo>
                      <a:pt x="3110" y="1734"/>
                    </a:lnTo>
                    <a:lnTo>
                      <a:pt x="3828" y="2273"/>
                    </a:lnTo>
                    <a:lnTo>
                      <a:pt x="3828" y="2273"/>
                    </a:lnTo>
                    <a:lnTo>
                      <a:pt x="6220" y="4007"/>
                    </a:lnTo>
                    <a:lnTo>
                      <a:pt x="6579" y="4246"/>
                    </a:lnTo>
                    <a:lnTo>
                      <a:pt x="6579" y="4246"/>
                    </a:lnTo>
                    <a:lnTo>
                      <a:pt x="8134" y="5383"/>
                    </a:lnTo>
                    <a:lnTo>
                      <a:pt x="8134" y="5383"/>
                    </a:lnTo>
                    <a:lnTo>
                      <a:pt x="10526" y="7117"/>
                    </a:lnTo>
                    <a:lnTo>
                      <a:pt x="10706" y="7237"/>
                    </a:lnTo>
                    <a:lnTo>
                      <a:pt x="9031" y="10048"/>
                    </a:lnTo>
                    <a:lnTo>
                      <a:pt x="7357" y="12859"/>
                    </a:lnTo>
                    <a:lnTo>
                      <a:pt x="5682" y="15669"/>
                    </a:lnTo>
                    <a:lnTo>
                      <a:pt x="4007" y="18480"/>
                    </a:lnTo>
                    <a:lnTo>
                      <a:pt x="2931" y="20334"/>
                    </a:lnTo>
                    <a:lnTo>
                      <a:pt x="180" y="19198"/>
                    </a:lnTo>
                    <a:lnTo>
                      <a:pt x="0" y="19138"/>
                    </a:lnTo>
                  </a:path>
                </a:pathLst>
              </a:custGeom>
              <a:noFill/>
              <a:ln w="6350" cap="rnd">
                <a:solidFill>
                  <a:schemeClr val="bg1">
                    <a:alpha val="80000"/>
                  </a:schemeClr>
                </a:solidFill>
                <a:prstDash val="solid"/>
                <a:round/>
              </a:ln>
            </p:spPr>
            <p:txBody>
              <a:bodyPr rtlCol="0" anchor="ctr"/>
              <a:lstStyle/>
              <a:p>
                <a:endParaRPr lang="en-GB"/>
              </a:p>
            </p:txBody>
          </p:sp>
          <p:sp>
            <p:nvSpPr>
              <p:cNvPr id="5740" name="Vrije vorm: vorm 5739">
                <a:extLst>
                  <a:ext uri="{FF2B5EF4-FFF2-40B4-BE49-F238E27FC236}">
                    <a16:creationId xmlns:a16="http://schemas.microsoft.com/office/drawing/2014/main" id="{341CEEF7-2198-468F-B901-BA236C61D5FB}"/>
                  </a:ext>
                </a:extLst>
              </p:cNvPr>
              <p:cNvSpPr/>
              <p:nvPr/>
            </p:nvSpPr>
            <p:spPr>
              <a:xfrm>
                <a:off x="6531386" y="1612203"/>
                <a:ext cx="4485" cy="5920"/>
              </a:xfrm>
              <a:custGeom>
                <a:avLst/>
                <a:gdLst>
                  <a:gd name="connsiteX0" fmla="*/ 3110 w 4485"/>
                  <a:gd name="connsiteY0" fmla="*/ 0 h 5920"/>
                  <a:gd name="connsiteX1" fmla="*/ 4486 w 4485"/>
                  <a:gd name="connsiteY1" fmla="*/ 1017 h 5920"/>
                  <a:gd name="connsiteX2" fmla="*/ 2811 w 4485"/>
                  <a:gd name="connsiteY2" fmla="*/ 3828 h 5920"/>
                  <a:gd name="connsiteX3" fmla="*/ 1615 w 4485"/>
                  <a:gd name="connsiteY3" fmla="*/ 5921 h 5920"/>
                  <a:gd name="connsiteX4" fmla="*/ 0 w 4485"/>
                  <a:gd name="connsiteY4" fmla="*/ 5323 h 5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5" h="5920">
                    <a:moveTo>
                      <a:pt x="3110" y="0"/>
                    </a:moveTo>
                    <a:lnTo>
                      <a:pt x="4486" y="1017"/>
                    </a:lnTo>
                    <a:lnTo>
                      <a:pt x="2811" y="3828"/>
                    </a:lnTo>
                    <a:lnTo>
                      <a:pt x="1615" y="5921"/>
                    </a:lnTo>
                    <a:lnTo>
                      <a:pt x="0" y="5323"/>
                    </a:lnTo>
                  </a:path>
                </a:pathLst>
              </a:custGeom>
              <a:noFill/>
              <a:ln w="6350" cap="rnd">
                <a:solidFill>
                  <a:schemeClr val="bg1">
                    <a:alpha val="80000"/>
                  </a:schemeClr>
                </a:solidFill>
                <a:prstDash val="solid"/>
                <a:round/>
              </a:ln>
            </p:spPr>
            <p:txBody>
              <a:bodyPr rtlCol="0" anchor="ctr"/>
              <a:lstStyle/>
              <a:p>
                <a:endParaRPr lang="en-GB"/>
              </a:p>
            </p:txBody>
          </p:sp>
          <p:sp>
            <p:nvSpPr>
              <p:cNvPr id="5741" name="Vrije vorm: vorm 5740">
                <a:extLst>
                  <a:ext uri="{FF2B5EF4-FFF2-40B4-BE49-F238E27FC236}">
                    <a16:creationId xmlns:a16="http://schemas.microsoft.com/office/drawing/2014/main" id="{0D3D9EE3-1810-4FCF-9202-97885F6D1C42}"/>
                  </a:ext>
                </a:extLst>
              </p:cNvPr>
              <p:cNvSpPr/>
              <p:nvPr/>
            </p:nvSpPr>
            <p:spPr>
              <a:xfrm>
                <a:off x="6531626" y="1617048"/>
                <a:ext cx="1375" cy="1016"/>
              </a:xfrm>
              <a:custGeom>
                <a:avLst/>
                <a:gdLst>
                  <a:gd name="connsiteX0" fmla="*/ 1376 w 1375"/>
                  <a:gd name="connsiteY0" fmla="*/ 1017 h 1016"/>
                  <a:gd name="connsiteX1" fmla="*/ 0 w 1375"/>
                  <a:gd name="connsiteY1" fmla="*/ 0 h 1016"/>
                </a:gdLst>
                <a:ahLst/>
                <a:cxnLst>
                  <a:cxn ang="0">
                    <a:pos x="connsiteX0" y="connsiteY0"/>
                  </a:cxn>
                  <a:cxn ang="0">
                    <a:pos x="connsiteX1" y="connsiteY1"/>
                  </a:cxn>
                </a:cxnLst>
                <a:rect l="l" t="t" r="r" b="b"/>
                <a:pathLst>
                  <a:path w="1375" h="1016">
                    <a:moveTo>
                      <a:pt x="1376" y="1017"/>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42" name="Vrije vorm: vorm 5741">
                <a:extLst>
                  <a:ext uri="{FF2B5EF4-FFF2-40B4-BE49-F238E27FC236}">
                    <a16:creationId xmlns:a16="http://schemas.microsoft.com/office/drawing/2014/main" id="{73CFF1A3-424E-422B-A413-B71D2561BAEC}"/>
                  </a:ext>
                </a:extLst>
              </p:cNvPr>
              <p:cNvSpPr/>
              <p:nvPr/>
            </p:nvSpPr>
            <p:spPr>
              <a:xfrm>
                <a:off x="6541075" y="1596295"/>
                <a:ext cx="4126" cy="5263"/>
              </a:xfrm>
              <a:custGeom>
                <a:avLst/>
                <a:gdLst>
                  <a:gd name="connsiteX0" fmla="*/ 2811 w 4126"/>
                  <a:gd name="connsiteY0" fmla="*/ 0 h 5263"/>
                  <a:gd name="connsiteX1" fmla="*/ 4127 w 4126"/>
                  <a:gd name="connsiteY1" fmla="*/ 1017 h 5263"/>
                  <a:gd name="connsiteX2" fmla="*/ 2452 w 4126"/>
                  <a:gd name="connsiteY2" fmla="*/ 3828 h 5263"/>
                  <a:gd name="connsiteX3" fmla="*/ 1615 w 4126"/>
                  <a:gd name="connsiteY3" fmla="*/ 5263 h 5263"/>
                  <a:gd name="connsiteX4" fmla="*/ 0 w 4126"/>
                  <a:gd name="connsiteY4" fmla="*/ 4725 h 5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6" h="5263">
                    <a:moveTo>
                      <a:pt x="2811" y="0"/>
                    </a:moveTo>
                    <a:lnTo>
                      <a:pt x="4127" y="1017"/>
                    </a:lnTo>
                    <a:lnTo>
                      <a:pt x="2452" y="3828"/>
                    </a:lnTo>
                    <a:lnTo>
                      <a:pt x="1615" y="5263"/>
                    </a:lnTo>
                    <a:lnTo>
                      <a:pt x="0" y="4725"/>
                    </a:lnTo>
                  </a:path>
                </a:pathLst>
              </a:custGeom>
              <a:noFill/>
              <a:ln w="6350" cap="rnd">
                <a:solidFill>
                  <a:schemeClr val="bg1">
                    <a:alpha val="80000"/>
                  </a:schemeClr>
                </a:solidFill>
                <a:prstDash val="solid"/>
                <a:round/>
              </a:ln>
            </p:spPr>
            <p:txBody>
              <a:bodyPr rtlCol="0" anchor="ctr"/>
              <a:lstStyle/>
              <a:p>
                <a:endParaRPr lang="en-GB"/>
              </a:p>
            </p:txBody>
          </p:sp>
          <p:sp>
            <p:nvSpPr>
              <p:cNvPr id="5743" name="Vrije vorm: vorm 5742">
                <a:extLst>
                  <a:ext uri="{FF2B5EF4-FFF2-40B4-BE49-F238E27FC236}">
                    <a16:creationId xmlns:a16="http://schemas.microsoft.com/office/drawing/2014/main" id="{57698285-4E14-47FF-9598-583B7E84C693}"/>
                  </a:ext>
                </a:extLst>
              </p:cNvPr>
              <p:cNvSpPr/>
              <p:nvPr/>
            </p:nvSpPr>
            <p:spPr>
              <a:xfrm>
                <a:off x="6503756" y="1608675"/>
                <a:ext cx="16028" cy="21829"/>
              </a:xfrm>
              <a:custGeom>
                <a:avLst/>
                <a:gdLst>
                  <a:gd name="connsiteX0" fmla="*/ 0 w 16028"/>
                  <a:gd name="connsiteY0" fmla="*/ 0 h 21829"/>
                  <a:gd name="connsiteX1" fmla="*/ 1316 w 16028"/>
                  <a:gd name="connsiteY1" fmla="*/ 897 h 21829"/>
                  <a:gd name="connsiteX2" fmla="*/ 3708 w 16028"/>
                  <a:gd name="connsiteY2" fmla="*/ 2632 h 21829"/>
                  <a:gd name="connsiteX3" fmla="*/ 3768 w 16028"/>
                  <a:gd name="connsiteY3" fmla="*/ 2691 h 21829"/>
                  <a:gd name="connsiteX4" fmla="*/ 3828 w 16028"/>
                  <a:gd name="connsiteY4" fmla="*/ 2751 h 21829"/>
                  <a:gd name="connsiteX5" fmla="*/ 6220 w 16028"/>
                  <a:gd name="connsiteY5" fmla="*/ 4486 h 21829"/>
                  <a:gd name="connsiteX6" fmla="*/ 8194 w 16028"/>
                  <a:gd name="connsiteY6" fmla="*/ 5861 h 21829"/>
                  <a:gd name="connsiteX7" fmla="*/ 8433 w 16028"/>
                  <a:gd name="connsiteY7" fmla="*/ 9031 h 21829"/>
                  <a:gd name="connsiteX8" fmla="*/ 8672 w 16028"/>
                  <a:gd name="connsiteY8" fmla="*/ 12201 h 21829"/>
                  <a:gd name="connsiteX9" fmla="*/ 8911 w 16028"/>
                  <a:gd name="connsiteY9" fmla="*/ 15370 h 21829"/>
                  <a:gd name="connsiteX10" fmla="*/ 9031 w 16028"/>
                  <a:gd name="connsiteY10" fmla="*/ 17045 h 21829"/>
                  <a:gd name="connsiteX11" fmla="*/ 11483 w 16028"/>
                  <a:gd name="connsiteY11" fmla="*/ 18720 h 21829"/>
                  <a:gd name="connsiteX12" fmla="*/ 13935 w 16028"/>
                  <a:gd name="connsiteY12" fmla="*/ 20394 h 21829"/>
                  <a:gd name="connsiteX13" fmla="*/ 16028 w 16028"/>
                  <a:gd name="connsiteY13" fmla="*/ 21830 h 2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28" h="21829">
                    <a:moveTo>
                      <a:pt x="0" y="0"/>
                    </a:moveTo>
                    <a:lnTo>
                      <a:pt x="1316" y="897"/>
                    </a:lnTo>
                    <a:lnTo>
                      <a:pt x="3708" y="2632"/>
                    </a:lnTo>
                    <a:lnTo>
                      <a:pt x="3768" y="2691"/>
                    </a:lnTo>
                    <a:lnTo>
                      <a:pt x="3828" y="2751"/>
                    </a:lnTo>
                    <a:lnTo>
                      <a:pt x="6220" y="4486"/>
                    </a:lnTo>
                    <a:lnTo>
                      <a:pt x="8194" y="5861"/>
                    </a:lnTo>
                    <a:lnTo>
                      <a:pt x="8433" y="9031"/>
                    </a:lnTo>
                    <a:lnTo>
                      <a:pt x="8672" y="12201"/>
                    </a:lnTo>
                    <a:lnTo>
                      <a:pt x="8911" y="15370"/>
                    </a:lnTo>
                    <a:lnTo>
                      <a:pt x="9031" y="17045"/>
                    </a:lnTo>
                    <a:lnTo>
                      <a:pt x="11483" y="18720"/>
                    </a:lnTo>
                    <a:lnTo>
                      <a:pt x="13935" y="20394"/>
                    </a:lnTo>
                    <a:lnTo>
                      <a:pt x="16028" y="21830"/>
                    </a:lnTo>
                  </a:path>
                </a:pathLst>
              </a:custGeom>
              <a:noFill/>
              <a:ln w="6350" cap="rnd">
                <a:solidFill>
                  <a:schemeClr val="bg1">
                    <a:alpha val="80000"/>
                  </a:schemeClr>
                </a:solidFill>
                <a:prstDash val="solid"/>
                <a:round/>
              </a:ln>
            </p:spPr>
            <p:txBody>
              <a:bodyPr rtlCol="0" anchor="ctr"/>
              <a:lstStyle/>
              <a:p>
                <a:endParaRPr lang="en-GB"/>
              </a:p>
            </p:txBody>
          </p:sp>
          <p:sp>
            <p:nvSpPr>
              <p:cNvPr id="5744" name="Vrije vorm: vorm 5743">
                <a:extLst>
                  <a:ext uri="{FF2B5EF4-FFF2-40B4-BE49-F238E27FC236}">
                    <a16:creationId xmlns:a16="http://schemas.microsoft.com/office/drawing/2014/main" id="{6BB6F32D-5AEA-4A76-A97B-456C9B019B24}"/>
                  </a:ext>
                </a:extLst>
              </p:cNvPr>
              <p:cNvSpPr/>
              <p:nvPr/>
            </p:nvSpPr>
            <p:spPr>
              <a:xfrm>
                <a:off x="6503457" y="1607419"/>
                <a:ext cx="19197" cy="24401"/>
              </a:xfrm>
              <a:custGeom>
                <a:avLst/>
                <a:gdLst>
                  <a:gd name="connsiteX0" fmla="*/ 0 w 19197"/>
                  <a:gd name="connsiteY0" fmla="*/ 0 h 24401"/>
                  <a:gd name="connsiteX1" fmla="*/ 2273 w 19197"/>
                  <a:gd name="connsiteY1" fmla="*/ 1615 h 24401"/>
                  <a:gd name="connsiteX2" fmla="*/ 4486 w 19197"/>
                  <a:gd name="connsiteY2" fmla="*/ 3230 h 24401"/>
                  <a:gd name="connsiteX3" fmla="*/ 4785 w 19197"/>
                  <a:gd name="connsiteY3" fmla="*/ 3469 h 24401"/>
                  <a:gd name="connsiteX4" fmla="*/ 7177 w 19197"/>
                  <a:gd name="connsiteY4" fmla="*/ 5203 h 24401"/>
                  <a:gd name="connsiteX5" fmla="*/ 9569 w 19197"/>
                  <a:gd name="connsiteY5" fmla="*/ 6938 h 24401"/>
                  <a:gd name="connsiteX6" fmla="*/ 11363 w 19197"/>
                  <a:gd name="connsiteY6" fmla="*/ 8253 h 24401"/>
                  <a:gd name="connsiteX7" fmla="*/ 11603 w 19197"/>
                  <a:gd name="connsiteY7" fmla="*/ 11423 h 24401"/>
                  <a:gd name="connsiteX8" fmla="*/ 11842 w 19197"/>
                  <a:gd name="connsiteY8" fmla="*/ 14593 h 24401"/>
                  <a:gd name="connsiteX9" fmla="*/ 12081 w 19197"/>
                  <a:gd name="connsiteY9" fmla="*/ 17763 h 24401"/>
                  <a:gd name="connsiteX10" fmla="*/ 12201 w 19197"/>
                  <a:gd name="connsiteY10" fmla="*/ 19557 h 24401"/>
                  <a:gd name="connsiteX11" fmla="*/ 14653 w 19197"/>
                  <a:gd name="connsiteY11" fmla="*/ 21232 h 24401"/>
                  <a:gd name="connsiteX12" fmla="*/ 16566 w 19197"/>
                  <a:gd name="connsiteY12" fmla="*/ 22607 h 24401"/>
                  <a:gd name="connsiteX13" fmla="*/ 16566 w 19197"/>
                  <a:gd name="connsiteY13" fmla="*/ 22607 h 24401"/>
                  <a:gd name="connsiteX14" fmla="*/ 19019 w 19197"/>
                  <a:gd name="connsiteY14" fmla="*/ 24282 h 24401"/>
                  <a:gd name="connsiteX15" fmla="*/ 19198 w 19197"/>
                  <a:gd name="connsiteY15" fmla="*/ 24401 h 2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197" h="24401">
                    <a:moveTo>
                      <a:pt x="0" y="0"/>
                    </a:moveTo>
                    <a:lnTo>
                      <a:pt x="2273" y="1615"/>
                    </a:lnTo>
                    <a:lnTo>
                      <a:pt x="4486" y="3230"/>
                    </a:lnTo>
                    <a:lnTo>
                      <a:pt x="4785" y="3469"/>
                    </a:lnTo>
                    <a:lnTo>
                      <a:pt x="7177" y="5203"/>
                    </a:lnTo>
                    <a:lnTo>
                      <a:pt x="9569" y="6938"/>
                    </a:lnTo>
                    <a:lnTo>
                      <a:pt x="11363" y="8253"/>
                    </a:lnTo>
                    <a:lnTo>
                      <a:pt x="11603" y="11423"/>
                    </a:lnTo>
                    <a:lnTo>
                      <a:pt x="11842" y="14593"/>
                    </a:lnTo>
                    <a:lnTo>
                      <a:pt x="12081" y="17763"/>
                    </a:lnTo>
                    <a:lnTo>
                      <a:pt x="12201" y="19557"/>
                    </a:lnTo>
                    <a:lnTo>
                      <a:pt x="14653" y="21232"/>
                    </a:lnTo>
                    <a:lnTo>
                      <a:pt x="16566" y="22607"/>
                    </a:lnTo>
                    <a:lnTo>
                      <a:pt x="16566" y="22607"/>
                    </a:lnTo>
                    <a:lnTo>
                      <a:pt x="19019" y="24282"/>
                    </a:lnTo>
                    <a:lnTo>
                      <a:pt x="19198" y="24401"/>
                    </a:lnTo>
                  </a:path>
                </a:pathLst>
              </a:custGeom>
              <a:noFill/>
              <a:ln w="6350" cap="rnd">
                <a:solidFill>
                  <a:schemeClr val="bg1">
                    <a:alpha val="80000"/>
                  </a:schemeClr>
                </a:solidFill>
                <a:prstDash val="solid"/>
                <a:round/>
              </a:ln>
            </p:spPr>
            <p:txBody>
              <a:bodyPr rtlCol="0" anchor="ctr"/>
              <a:lstStyle/>
              <a:p>
                <a:endParaRPr lang="en-GB"/>
              </a:p>
            </p:txBody>
          </p:sp>
          <p:sp>
            <p:nvSpPr>
              <p:cNvPr id="5745" name="Vrije vorm: vorm 5744">
                <a:extLst>
                  <a:ext uri="{FF2B5EF4-FFF2-40B4-BE49-F238E27FC236}">
                    <a16:creationId xmlns:a16="http://schemas.microsoft.com/office/drawing/2014/main" id="{97D790EE-FBAA-41AD-876C-5678698B96FE}"/>
                  </a:ext>
                </a:extLst>
              </p:cNvPr>
              <p:cNvSpPr/>
              <p:nvPr/>
            </p:nvSpPr>
            <p:spPr>
              <a:xfrm>
                <a:off x="6541374" y="1600541"/>
                <a:ext cx="1315" cy="1016"/>
              </a:xfrm>
              <a:custGeom>
                <a:avLst/>
                <a:gdLst>
                  <a:gd name="connsiteX0" fmla="*/ 1316 w 1315"/>
                  <a:gd name="connsiteY0" fmla="*/ 1017 h 1016"/>
                  <a:gd name="connsiteX1" fmla="*/ 0 w 1315"/>
                  <a:gd name="connsiteY1" fmla="*/ 0 h 1016"/>
                </a:gdLst>
                <a:ahLst/>
                <a:cxnLst>
                  <a:cxn ang="0">
                    <a:pos x="connsiteX0" y="connsiteY0"/>
                  </a:cxn>
                  <a:cxn ang="0">
                    <a:pos x="connsiteX1" y="connsiteY1"/>
                  </a:cxn>
                </a:cxnLst>
                <a:rect l="l" t="t" r="r" b="b"/>
                <a:pathLst>
                  <a:path w="1315" h="1016">
                    <a:moveTo>
                      <a:pt x="1316" y="1017"/>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46" name="Vrije vorm: vorm 5745">
                <a:extLst>
                  <a:ext uri="{FF2B5EF4-FFF2-40B4-BE49-F238E27FC236}">
                    <a16:creationId xmlns:a16="http://schemas.microsoft.com/office/drawing/2014/main" id="{B7EB33A1-EDAA-47F1-A71A-0FCD87CE09F4}"/>
                  </a:ext>
                </a:extLst>
              </p:cNvPr>
              <p:cNvSpPr/>
              <p:nvPr/>
            </p:nvSpPr>
            <p:spPr>
              <a:xfrm>
                <a:off x="6502679" y="1600362"/>
                <a:ext cx="10466" cy="9808"/>
              </a:xfrm>
              <a:custGeom>
                <a:avLst/>
                <a:gdLst>
                  <a:gd name="connsiteX0" fmla="*/ 7536 w 10466"/>
                  <a:gd name="connsiteY0" fmla="*/ 9569 h 9808"/>
                  <a:gd name="connsiteX1" fmla="*/ 8253 w 10466"/>
                  <a:gd name="connsiteY1" fmla="*/ 9808 h 9808"/>
                  <a:gd name="connsiteX2" fmla="*/ 9928 w 10466"/>
                  <a:gd name="connsiteY2" fmla="*/ 6997 h 9808"/>
                  <a:gd name="connsiteX3" fmla="*/ 10466 w 10466"/>
                  <a:gd name="connsiteY3" fmla="*/ 6040 h 9808"/>
                  <a:gd name="connsiteX4" fmla="*/ 8672 w 10466"/>
                  <a:gd name="connsiteY4" fmla="*/ 4725 h 9808"/>
                  <a:gd name="connsiteX5" fmla="*/ 8552 w 10466"/>
                  <a:gd name="connsiteY5" fmla="*/ 4605 h 9808"/>
                  <a:gd name="connsiteX6" fmla="*/ 8074 w 10466"/>
                  <a:gd name="connsiteY6" fmla="*/ 4246 h 9808"/>
                  <a:gd name="connsiteX7" fmla="*/ 7596 w 10466"/>
                  <a:gd name="connsiteY7" fmla="*/ 3887 h 9808"/>
                  <a:gd name="connsiteX8" fmla="*/ 6220 w 10466"/>
                  <a:gd name="connsiteY8" fmla="*/ 2871 h 9808"/>
                  <a:gd name="connsiteX9" fmla="*/ 6160 w 10466"/>
                  <a:gd name="connsiteY9" fmla="*/ 2811 h 9808"/>
                  <a:gd name="connsiteX10" fmla="*/ 3768 w 10466"/>
                  <a:gd name="connsiteY10" fmla="*/ 1076 h 9808"/>
                  <a:gd name="connsiteX11" fmla="*/ 3708 w 10466"/>
                  <a:gd name="connsiteY11" fmla="*/ 1017 h 9808"/>
                  <a:gd name="connsiteX12" fmla="*/ 2751 w 10466"/>
                  <a:gd name="connsiteY12" fmla="*/ 299 h 9808"/>
                  <a:gd name="connsiteX13" fmla="*/ 2632 w 10466"/>
                  <a:gd name="connsiteY13" fmla="*/ 239 h 9808"/>
                  <a:gd name="connsiteX14" fmla="*/ 2033 w 10466"/>
                  <a:gd name="connsiteY14" fmla="*/ 0 h 9808"/>
                  <a:gd name="connsiteX15" fmla="*/ 359 w 10466"/>
                  <a:gd name="connsiteY15" fmla="*/ 2811 h 9808"/>
                  <a:gd name="connsiteX16" fmla="*/ 0 w 10466"/>
                  <a:gd name="connsiteY16" fmla="*/ 3469 h 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66" h="9808">
                    <a:moveTo>
                      <a:pt x="7536" y="9569"/>
                    </a:moveTo>
                    <a:lnTo>
                      <a:pt x="8253" y="9808"/>
                    </a:lnTo>
                    <a:lnTo>
                      <a:pt x="9928" y="6997"/>
                    </a:lnTo>
                    <a:lnTo>
                      <a:pt x="10466" y="6040"/>
                    </a:lnTo>
                    <a:lnTo>
                      <a:pt x="8672" y="4725"/>
                    </a:lnTo>
                    <a:lnTo>
                      <a:pt x="8552" y="4605"/>
                    </a:lnTo>
                    <a:lnTo>
                      <a:pt x="8074" y="4246"/>
                    </a:lnTo>
                    <a:lnTo>
                      <a:pt x="7596" y="3887"/>
                    </a:lnTo>
                    <a:lnTo>
                      <a:pt x="6220" y="2871"/>
                    </a:lnTo>
                    <a:lnTo>
                      <a:pt x="6160" y="2811"/>
                    </a:lnTo>
                    <a:lnTo>
                      <a:pt x="3768" y="1076"/>
                    </a:lnTo>
                    <a:lnTo>
                      <a:pt x="3708" y="1017"/>
                    </a:lnTo>
                    <a:lnTo>
                      <a:pt x="2751" y="299"/>
                    </a:lnTo>
                    <a:lnTo>
                      <a:pt x="2632" y="239"/>
                    </a:lnTo>
                    <a:lnTo>
                      <a:pt x="2033" y="0"/>
                    </a:lnTo>
                    <a:lnTo>
                      <a:pt x="359" y="2811"/>
                    </a:lnTo>
                    <a:lnTo>
                      <a:pt x="0" y="3469"/>
                    </a:lnTo>
                  </a:path>
                </a:pathLst>
              </a:custGeom>
              <a:noFill/>
              <a:ln w="6350" cap="rnd">
                <a:solidFill>
                  <a:schemeClr val="bg1">
                    <a:alpha val="80000"/>
                  </a:schemeClr>
                </a:solidFill>
                <a:prstDash val="solid"/>
                <a:round/>
              </a:ln>
            </p:spPr>
            <p:txBody>
              <a:bodyPr rtlCol="0" anchor="ctr"/>
              <a:lstStyle/>
              <a:p>
                <a:endParaRPr lang="en-GB"/>
              </a:p>
            </p:txBody>
          </p:sp>
          <p:sp>
            <p:nvSpPr>
              <p:cNvPr id="5747" name="Vrije vorm: vorm 5746">
                <a:extLst>
                  <a:ext uri="{FF2B5EF4-FFF2-40B4-BE49-F238E27FC236}">
                    <a16:creationId xmlns:a16="http://schemas.microsoft.com/office/drawing/2014/main" id="{088280D5-1B14-417D-B6CF-E0DA65FAB19D}"/>
                  </a:ext>
                </a:extLst>
              </p:cNvPr>
              <p:cNvSpPr/>
              <p:nvPr/>
            </p:nvSpPr>
            <p:spPr>
              <a:xfrm>
                <a:off x="6505968" y="1594919"/>
                <a:ext cx="11064" cy="10466"/>
              </a:xfrm>
              <a:custGeom>
                <a:avLst/>
                <a:gdLst>
                  <a:gd name="connsiteX0" fmla="*/ 0 w 11064"/>
                  <a:gd name="connsiteY0" fmla="*/ 4605 h 10466"/>
                  <a:gd name="connsiteX1" fmla="*/ 0 w 11064"/>
                  <a:gd name="connsiteY1" fmla="*/ 4605 h 10466"/>
                  <a:gd name="connsiteX2" fmla="*/ 479 w 11064"/>
                  <a:gd name="connsiteY2" fmla="*/ 4964 h 10466"/>
                  <a:gd name="connsiteX3" fmla="*/ 2871 w 11064"/>
                  <a:gd name="connsiteY3" fmla="*/ 6698 h 10466"/>
                  <a:gd name="connsiteX4" fmla="*/ 5263 w 11064"/>
                  <a:gd name="connsiteY4" fmla="*/ 8433 h 10466"/>
                  <a:gd name="connsiteX5" fmla="*/ 5921 w 11064"/>
                  <a:gd name="connsiteY5" fmla="*/ 8911 h 10466"/>
                  <a:gd name="connsiteX6" fmla="*/ 7715 w 11064"/>
                  <a:gd name="connsiteY6" fmla="*/ 10227 h 10466"/>
                  <a:gd name="connsiteX7" fmla="*/ 8433 w 11064"/>
                  <a:gd name="connsiteY7" fmla="*/ 10466 h 10466"/>
                  <a:gd name="connsiteX8" fmla="*/ 10107 w 11064"/>
                  <a:gd name="connsiteY8" fmla="*/ 7655 h 10466"/>
                  <a:gd name="connsiteX9" fmla="*/ 10705 w 11064"/>
                  <a:gd name="connsiteY9" fmla="*/ 6639 h 10466"/>
                  <a:gd name="connsiteX10" fmla="*/ 11064 w 11064"/>
                  <a:gd name="connsiteY10" fmla="*/ 6040 h 10466"/>
                  <a:gd name="connsiteX11" fmla="*/ 8672 w 11064"/>
                  <a:gd name="connsiteY11" fmla="*/ 4246 h 10466"/>
                  <a:gd name="connsiteX12" fmla="*/ 6280 w 11064"/>
                  <a:gd name="connsiteY12" fmla="*/ 2452 h 10466"/>
                  <a:gd name="connsiteX13" fmla="*/ 3888 w 11064"/>
                  <a:gd name="connsiteY13" fmla="*/ 658 h 10466"/>
                  <a:gd name="connsiteX14" fmla="*/ 3349 w 11064"/>
                  <a:gd name="connsiteY14" fmla="*/ 239 h 10466"/>
                  <a:gd name="connsiteX15" fmla="*/ 2632 w 11064"/>
                  <a:gd name="connsiteY15" fmla="*/ 0 h 1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64" h="10466">
                    <a:moveTo>
                      <a:pt x="0" y="4605"/>
                    </a:moveTo>
                    <a:lnTo>
                      <a:pt x="0" y="4605"/>
                    </a:lnTo>
                    <a:lnTo>
                      <a:pt x="479" y="4964"/>
                    </a:lnTo>
                    <a:lnTo>
                      <a:pt x="2871" y="6698"/>
                    </a:lnTo>
                    <a:lnTo>
                      <a:pt x="5263" y="8433"/>
                    </a:lnTo>
                    <a:lnTo>
                      <a:pt x="5921" y="8911"/>
                    </a:lnTo>
                    <a:lnTo>
                      <a:pt x="7715" y="10227"/>
                    </a:lnTo>
                    <a:lnTo>
                      <a:pt x="8433" y="10466"/>
                    </a:lnTo>
                    <a:lnTo>
                      <a:pt x="10107" y="7655"/>
                    </a:lnTo>
                    <a:lnTo>
                      <a:pt x="10705" y="6639"/>
                    </a:lnTo>
                    <a:lnTo>
                      <a:pt x="11064" y="6040"/>
                    </a:lnTo>
                    <a:lnTo>
                      <a:pt x="8672" y="4246"/>
                    </a:lnTo>
                    <a:lnTo>
                      <a:pt x="6280" y="2452"/>
                    </a:lnTo>
                    <a:lnTo>
                      <a:pt x="3888" y="658"/>
                    </a:lnTo>
                    <a:lnTo>
                      <a:pt x="3349" y="239"/>
                    </a:lnTo>
                    <a:lnTo>
                      <a:pt x="2632" y="0"/>
                    </a:lnTo>
                  </a:path>
                </a:pathLst>
              </a:custGeom>
              <a:noFill/>
              <a:ln w="6350" cap="rnd">
                <a:solidFill>
                  <a:schemeClr val="bg1">
                    <a:alpha val="80000"/>
                  </a:schemeClr>
                </a:solidFill>
                <a:prstDash val="solid"/>
                <a:round/>
              </a:ln>
            </p:spPr>
            <p:txBody>
              <a:bodyPr rtlCol="0" anchor="ctr"/>
              <a:lstStyle/>
              <a:p>
                <a:endParaRPr lang="en-GB"/>
              </a:p>
            </p:txBody>
          </p:sp>
          <p:sp>
            <p:nvSpPr>
              <p:cNvPr id="5748" name="Vrije vorm: vorm 5747">
                <a:extLst>
                  <a:ext uri="{FF2B5EF4-FFF2-40B4-BE49-F238E27FC236}">
                    <a16:creationId xmlns:a16="http://schemas.microsoft.com/office/drawing/2014/main" id="{36F5106C-5540-43CC-B956-ED532C8885C6}"/>
                  </a:ext>
                </a:extLst>
              </p:cNvPr>
              <p:cNvSpPr/>
              <p:nvPr/>
            </p:nvSpPr>
            <p:spPr>
              <a:xfrm>
                <a:off x="6505909" y="1595039"/>
                <a:ext cx="2691" cy="4724"/>
              </a:xfrm>
              <a:custGeom>
                <a:avLst/>
                <a:gdLst>
                  <a:gd name="connsiteX0" fmla="*/ 2691 w 2691"/>
                  <a:gd name="connsiteY0" fmla="*/ 0 h 4724"/>
                  <a:gd name="connsiteX1" fmla="*/ 2452 w 2691"/>
                  <a:gd name="connsiteY1" fmla="*/ 359 h 4724"/>
                  <a:gd name="connsiteX2" fmla="*/ 2153 w 2691"/>
                  <a:gd name="connsiteY2" fmla="*/ 837 h 4724"/>
                  <a:gd name="connsiteX3" fmla="*/ 479 w 2691"/>
                  <a:gd name="connsiteY3" fmla="*/ 3648 h 4724"/>
                  <a:gd name="connsiteX4" fmla="*/ 0 w 2691"/>
                  <a:gd name="connsiteY4" fmla="*/ 4486 h 4724"/>
                  <a:gd name="connsiteX5" fmla="*/ 60 w 2691"/>
                  <a:gd name="connsiteY5" fmla="*/ 4486 h 4724"/>
                  <a:gd name="connsiteX6" fmla="*/ 658 w 2691"/>
                  <a:gd name="connsiteY6" fmla="*/ 4725 h 4724"/>
                  <a:gd name="connsiteX7" fmla="*/ 718 w 2691"/>
                  <a:gd name="connsiteY7" fmla="*/ 4725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1" h="4724">
                    <a:moveTo>
                      <a:pt x="2691" y="0"/>
                    </a:moveTo>
                    <a:lnTo>
                      <a:pt x="2452" y="359"/>
                    </a:lnTo>
                    <a:lnTo>
                      <a:pt x="2153" y="837"/>
                    </a:lnTo>
                    <a:lnTo>
                      <a:pt x="479" y="3648"/>
                    </a:lnTo>
                    <a:lnTo>
                      <a:pt x="0" y="4486"/>
                    </a:lnTo>
                    <a:lnTo>
                      <a:pt x="60" y="4486"/>
                    </a:lnTo>
                    <a:lnTo>
                      <a:pt x="658" y="4725"/>
                    </a:lnTo>
                    <a:lnTo>
                      <a:pt x="718" y="4725"/>
                    </a:lnTo>
                  </a:path>
                </a:pathLst>
              </a:custGeom>
              <a:noFill/>
              <a:ln w="6350" cap="rnd">
                <a:solidFill>
                  <a:schemeClr val="bg1">
                    <a:alpha val="80000"/>
                  </a:schemeClr>
                </a:solidFill>
                <a:prstDash val="solid"/>
                <a:round/>
              </a:ln>
            </p:spPr>
            <p:txBody>
              <a:bodyPr rtlCol="0" anchor="ctr"/>
              <a:lstStyle/>
              <a:p>
                <a:endParaRPr lang="en-GB"/>
              </a:p>
            </p:txBody>
          </p:sp>
          <p:sp>
            <p:nvSpPr>
              <p:cNvPr id="5749" name="Vrije vorm: vorm 5748">
                <a:extLst>
                  <a:ext uri="{FF2B5EF4-FFF2-40B4-BE49-F238E27FC236}">
                    <a16:creationId xmlns:a16="http://schemas.microsoft.com/office/drawing/2014/main" id="{05452160-111E-4476-BF5F-F80BC24C0814}"/>
                  </a:ext>
                </a:extLst>
              </p:cNvPr>
              <p:cNvSpPr/>
              <p:nvPr/>
            </p:nvSpPr>
            <p:spPr>
              <a:xfrm>
                <a:off x="6527738" y="1610409"/>
                <a:ext cx="3827" cy="6399"/>
              </a:xfrm>
              <a:custGeom>
                <a:avLst/>
                <a:gdLst>
                  <a:gd name="connsiteX0" fmla="*/ 3828 w 3827"/>
                  <a:gd name="connsiteY0" fmla="*/ 0 h 6399"/>
                  <a:gd name="connsiteX1" fmla="*/ 3708 w 3827"/>
                  <a:gd name="connsiteY1" fmla="*/ 179 h 6399"/>
                  <a:gd name="connsiteX2" fmla="*/ 3170 w 3827"/>
                  <a:gd name="connsiteY2" fmla="*/ 1077 h 6399"/>
                  <a:gd name="connsiteX3" fmla="*/ 1495 w 3827"/>
                  <a:gd name="connsiteY3" fmla="*/ 3888 h 6399"/>
                  <a:gd name="connsiteX4" fmla="*/ 778 w 3827"/>
                  <a:gd name="connsiteY4" fmla="*/ 5084 h 6399"/>
                  <a:gd name="connsiteX5" fmla="*/ 299 w 3827"/>
                  <a:gd name="connsiteY5" fmla="*/ 5921 h 6399"/>
                  <a:gd name="connsiteX6" fmla="*/ 0 w 3827"/>
                  <a:gd name="connsiteY6" fmla="*/ 6399 h 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7" h="6399">
                    <a:moveTo>
                      <a:pt x="3828" y="0"/>
                    </a:moveTo>
                    <a:lnTo>
                      <a:pt x="3708" y="179"/>
                    </a:lnTo>
                    <a:lnTo>
                      <a:pt x="3170" y="1077"/>
                    </a:lnTo>
                    <a:lnTo>
                      <a:pt x="1495" y="3888"/>
                    </a:lnTo>
                    <a:lnTo>
                      <a:pt x="778" y="5084"/>
                    </a:lnTo>
                    <a:lnTo>
                      <a:pt x="299" y="5921"/>
                    </a:lnTo>
                    <a:lnTo>
                      <a:pt x="0" y="6399"/>
                    </a:lnTo>
                  </a:path>
                </a:pathLst>
              </a:custGeom>
              <a:noFill/>
              <a:ln w="6350" cap="rnd">
                <a:solidFill>
                  <a:schemeClr val="bg1">
                    <a:alpha val="80000"/>
                  </a:schemeClr>
                </a:solidFill>
                <a:prstDash val="solid"/>
                <a:round/>
              </a:ln>
            </p:spPr>
            <p:txBody>
              <a:bodyPr rtlCol="0" anchor="ctr"/>
              <a:lstStyle/>
              <a:p>
                <a:endParaRPr lang="en-GB"/>
              </a:p>
            </p:txBody>
          </p:sp>
          <p:sp>
            <p:nvSpPr>
              <p:cNvPr id="5750" name="Vrije vorm: vorm 5749">
                <a:extLst>
                  <a:ext uri="{FF2B5EF4-FFF2-40B4-BE49-F238E27FC236}">
                    <a16:creationId xmlns:a16="http://schemas.microsoft.com/office/drawing/2014/main" id="{94F8E049-9D6C-4B74-9A3B-70C573FA5DAB}"/>
                  </a:ext>
                </a:extLst>
              </p:cNvPr>
              <p:cNvSpPr/>
              <p:nvPr/>
            </p:nvSpPr>
            <p:spPr>
              <a:xfrm>
                <a:off x="6506686" y="1595278"/>
                <a:ext cx="7715" cy="10167"/>
              </a:xfrm>
              <a:custGeom>
                <a:avLst/>
                <a:gdLst>
                  <a:gd name="connsiteX0" fmla="*/ 2691 w 7715"/>
                  <a:gd name="connsiteY0" fmla="*/ 0 h 10167"/>
                  <a:gd name="connsiteX1" fmla="*/ 2572 w 7715"/>
                  <a:gd name="connsiteY1" fmla="*/ 239 h 10167"/>
                  <a:gd name="connsiteX2" fmla="*/ 2333 w 7715"/>
                  <a:gd name="connsiteY2" fmla="*/ 598 h 10167"/>
                  <a:gd name="connsiteX3" fmla="*/ 2034 w 7715"/>
                  <a:gd name="connsiteY3" fmla="*/ 1077 h 10167"/>
                  <a:gd name="connsiteX4" fmla="*/ 778 w 7715"/>
                  <a:gd name="connsiteY4" fmla="*/ 3230 h 10167"/>
                  <a:gd name="connsiteX5" fmla="*/ 60 w 7715"/>
                  <a:gd name="connsiteY5" fmla="*/ 4426 h 10167"/>
                  <a:gd name="connsiteX6" fmla="*/ 0 w 7715"/>
                  <a:gd name="connsiteY6" fmla="*/ 4545 h 10167"/>
                  <a:gd name="connsiteX7" fmla="*/ 2392 w 7715"/>
                  <a:gd name="connsiteY7" fmla="*/ 6280 h 10167"/>
                  <a:gd name="connsiteX8" fmla="*/ 4785 w 7715"/>
                  <a:gd name="connsiteY8" fmla="*/ 8014 h 10167"/>
                  <a:gd name="connsiteX9" fmla="*/ 5263 w 7715"/>
                  <a:gd name="connsiteY9" fmla="*/ 8373 h 10167"/>
                  <a:gd name="connsiteX10" fmla="*/ 7057 w 7715"/>
                  <a:gd name="connsiteY10" fmla="*/ 9689 h 10167"/>
                  <a:gd name="connsiteX11" fmla="*/ 7715 w 7715"/>
                  <a:gd name="connsiteY11" fmla="*/ 10167 h 1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 h="10167">
                    <a:moveTo>
                      <a:pt x="2691" y="0"/>
                    </a:moveTo>
                    <a:lnTo>
                      <a:pt x="2572" y="239"/>
                    </a:lnTo>
                    <a:lnTo>
                      <a:pt x="2333" y="598"/>
                    </a:lnTo>
                    <a:lnTo>
                      <a:pt x="2034" y="1077"/>
                    </a:lnTo>
                    <a:lnTo>
                      <a:pt x="778" y="3230"/>
                    </a:lnTo>
                    <a:lnTo>
                      <a:pt x="60" y="4426"/>
                    </a:lnTo>
                    <a:lnTo>
                      <a:pt x="0" y="4545"/>
                    </a:lnTo>
                    <a:lnTo>
                      <a:pt x="2392" y="6280"/>
                    </a:lnTo>
                    <a:lnTo>
                      <a:pt x="4785" y="8014"/>
                    </a:lnTo>
                    <a:lnTo>
                      <a:pt x="5263" y="8373"/>
                    </a:lnTo>
                    <a:lnTo>
                      <a:pt x="7057" y="9689"/>
                    </a:lnTo>
                    <a:lnTo>
                      <a:pt x="7715" y="10167"/>
                    </a:lnTo>
                  </a:path>
                </a:pathLst>
              </a:custGeom>
              <a:noFill/>
              <a:ln w="6350" cap="rnd">
                <a:solidFill>
                  <a:schemeClr val="bg1">
                    <a:alpha val="80000"/>
                  </a:schemeClr>
                </a:solidFill>
                <a:prstDash val="solid"/>
                <a:round/>
              </a:ln>
            </p:spPr>
            <p:txBody>
              <a:bodyPr rtlCol="0" anchor="ctr"/>
              <a:lstStyle/>
              <a:p>
                <a:endParaRPr lang="en-GB"/>
              </a:p>
            </p:txBody>
          </p:sp>
          <p:sp>
            <p:nvSpPr>
              <p:cNvPr id="5751" name="Vrije vorm: vorm 5750">
                <a:extLst>
                  <a:ext uri="{FF2B5EF4-FFF2-40B4-BE49-F238E27FC236}">
                    <a16:creationId xmlns:a16="http://schemas.microsoft.com/office/drawing/2014/main" id="{2FC22FB6-C5E4-4751-A284-8CCAAE98A15A}"/>
                  </a:ext>
                </a:extLst>
              </p:cNvPr>
              <p:cNvSpPr/>
              <p:nvPr/>
            </p:nvSpPr>
            <p:spPr>
              <a:xfrm>
                <a:off x="6503158" y="1604608"/>
                <a:ext cx="7774" cy="5681"/>
              </a:xfrm>
              <a:custGeom>
                <a:avLst/>
                <a:gdLst>
                  <a:gd name="connsiteX0" fmla="*/ 0 w 7774"/>
                  <a:gd name="connsiteY0" fmla="*/ 0 h 5681"/>
                  <a:gd name="connsiteX1" fmla="*/ 2392 w 7774"/>
                  <a:gd name="connsiteY1" fmla="*/ 1734 h 5681"/>
                  <a:gd name="connsiteX2" fmla="*/ 3648 w 7774"/>
                  <a:gd name="connsiteY2" fmla="*/ 2632 h 5681"/>
                  <a:gd name="connsiteX3" fmla="*/ 5861 w 7774"/>
                  <a:gd name="connsiteY3" fmla="*/ 4246 h 5681"/>
                  <a:gd name="connsiteX4" fmla="*/ 6160 w 7774"/>
                  <a:gd name="connsiteY4" fmla="*/ 4486 h 5681"/>
                  <a:gd name="connsiteX5" fmla="*/ 7117 w 7774"/>
                  <a:gd name="connsiteY5" fmla="*/ 5203 h 5681"/>
                  <a:gd name="connsiteX6" fmla="*/ 7775 w 7774"/>
                  <a:gd name="connsiteY6" fmla="*/ 5682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4" h="5681">
                    <a:moveTo>
                      <a:pt x="0" y="0"/>
                    </a:moveTo>
                    <a:lnTo>
                      <a:pt x="2392" y="1734"/>
                    </a:lnTo>
                    <a:lnTo>
                      <a:pt x="3648" y="2632"/>
                    </a:lnTo>
                    <a:lnTo>
                      <a:pt x="5861" y="4246"/>
                    </a:lnTo>
                    <a:lnTo>
                      <a:pt x="6160" y="4486"/>
                    </a:lnTo>
                    <a:lnTo>
                      <a:pt x="7117" y="5203"/>
                    </a:lnTo>
                    <a:lnTo>
                      <a:pt x="7775" y="5682"/>
                    </a:lnTo>
                  </a:path>
                </a:pathLst>
              </a:custGeom>
              <a:noFill/>
              <a:ln w="6350" cap="rnd">
                <a:solidFill>
                  <a:schemeClr val="bg1">
                    <a:alpha val="80000"/>
                  </a:schemeClr>
                </a:solidFill>
                <a:prstDash val="solid"/>
                <a:round/>
              </a:ln>
            </p:spPr>
            <p:txBody>
              <a:bodyPr rtlCol="0" anchor="ctr"/>
              <a:lstStyle/>
              <a:p>
                <a:endParaRPr lang="en-GB"/>
              </a:p>
            </p:txBody>
          </p:sp>
          <p:sp>
            <p:nvSpPr>
              <p:cNvPr id="5752" name="Vrije vorm: vorm 5751">
                <a:extLst>
                  <a:ext uri="{FF2B5EF4-FFF2-40B4-BE49-F238E27FC236}">
                    <a16:creationId xmlns:a16="http://schemas.microsoft.com/office/drawing/2014/main" id="{06E957A9-435A-4BB6-A69D-7F25D887E645}"/>
                  </a:ext>
                </a:extLst>
              </p:cNvPr>
              <p:cNvSpPr/>
              <p:nvPr/>
            </p:nvSpPr>
            <p:spPr>
              <a:xfrm>
                <a:off x="6502679" y="1600840"/>
                <a:ext cx="2691" cy="3767"/>
              </a:xfrm>
              <a:custGeom>
                <a:avLst/>
                <a:gdLst>
                  <a:gd name="connsiteX0" fmla="*/ 2691 w 2691"/>
                  <a:gd name="connsiteY0" fmla="*/ 0 h 3767"/>
                  <a:gd name="connsiteX1" fmla="*/ 2572 w 2691"/>
                  <a:gd name="connsiteY1" fmla="*/ 179 h 3767"/>
                  <a:gd name="connsiteX2" fmla="*/ 897 w 2691"/>
                  <a:gd name="connsiteY2" fmla="*/ 2990 h 3767"/>
                  <a:gd name="connsiteX3" fmla="*/ 419 w 2691"/>
                  <a:gd name="connsiteY3" fmla="*/ 3768 h 3767"/>
                  <a:gd name="connsiteX4" fmla="*/ 120 w 2691"/>
                  <a:gd name="connsiteY4" fmla="*/ 3648 h 3767"/>
                  <a:gd name="connsiteX5" fmla="*/ 0 w 2691"/>
                  <a:gd name="connsiteY5" fmla="*/ 3588 h 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91" h="3767">
                    <a:moveTo>
                      <a:pt x="2691" y="0"/>
                    </a:moveTo>
                    <a:lnTo>
                      <a:pt x="2572" y="179"/>
                    </a:lnTo>
                    <a:lnTo>
                      <a:pt x="897" y="2990"/>
                    </a:lnTo>
                    <a:lnTo>
                      <a:pt x="419" y="3768"/>
                    </a:lnTo>
                    <a:lnTo>
                      <a:pt x="120" y="3648"/>
                    </a:lnTo>
                    <a:lnTo>
                      <a:pt x="0" y="3588"/>
                    </a:lnTo>
                  </a:path>
                </a:pathLst>
              </a:custGeom>
              <a:noFill/>
              <a:ln w="6350" cap="rnd">
                <a:solidFill>
                  <a:schemeClr val="bg1">
                    <a:alpha val="80000"/>
                  </a:schemeClr>
                </a:solidFill>
                <a:prstDash val="solid"/>
                <a:round/>
              </a:ln>
            </p:spPr>
            <p:txBody>
              <a:bodyPr rtlCol="0" anchor="ctr"/>
              <a:lstStyle/>
              <a:p>
                <a:endParaRPr lang="en-GB"/>
              </a:p>
            </p:txBody>
          </p:sp>
          <p:sp>
            <p:nvSpPr>
              <p:cNvPr id="5753" name="Vrije vorm: vorm 5752">
                <a:extLst>
                  <a:ext uri="{FF2B5EF4-FFF2-40B4-BE49-F238E27FC236}">
                    <a16:creationId xmlns:a16="http://schemas.microsoft.com/office/drawing/2014/main" id="{9B1BC7EC-0BEB-477F-9854-AB77D0EA884D}"/>
                  </a:ext>
                </a:extLst>
              </p:cNvPr>
              <p:cNvSpPr/>
              <p:nvPr/>
            </p:nvSpPr>
            <p:spPr>
              <a:xfrm>
                <a:off x="6692208" y="1606103"/>
                <a:ext cx="1555" cy="2631"/>
              </a:xfrm>
              <a:custGeom>
                <a:avLst/>
                <a:gdLst>
                  <a:gd name="connsiteX0" fmla="*/ 0 w 1555"/>
                  <a:gd name="connsiteY0" fmla="*/ 0 h 2631"/>
                  <a:gd name="connsiteX1" fmla="*/ 1136 w 1555"/>
                  <a:gd name="connsiteY1" fmla="*/ 299 h 2631"/>
                  <a:gd name="connsiteX2" fmla="*/ 1555 w 1555"/>
                  <a:gd name="connsiteY2" fmla="*/ 2632 h 2631"/>
                </a:gdLst>
                <a:ahLst/>
                <a:cxnLst>
                  <a:cxn ang="0">
                    <a:pos x="connsiteX0" y="connsiteY0"/>
                  </a:cxn>
                  <a:cxn ang="0">
                    <a:pos x="connsiteX1" y="connsiteY1"/>
                  </a:cxn>
                  <a:cxn ang="0">
                    <a:pos x="connsiteX2" y="connsiteY2"/>
                  </a:cxn>
                </a:cxnLst>
                <a:rect l="l" t="t" r="r" b="b"/>
                <a:pathLst>
                  <a:path w="1555" h="2631">
                    <a:moveTo>
                      <a:pt x="0" y="0"/>
                    </a:moveTo>
                    <a:lnTo>
                      <a:pt x="1136" y="299"/>
                    </a:lnTo>
                    <a:lnTo>
                      <a:pt x="1555" y="2632"/>
                    </a:lnTo>
                  </a:path>
                </a:pathLst>
              </a:custGeom>
              <a:noFill/>
              <a:ln w="6350" cap="rnd">
                <a:solidFill>
                  <a:schemeClr val="bg1">
                    <a:alpha val="80000"/>
                  </a:schemeClr>
                </a:solidFill>
                <a:prstDash val="solid"/>
                <a:round/>
              </a:ln>
            </p:spPr>
            <p:txBody>
              <a:bodyPr rtlCol="0" anchor="ctr"/>
              <a:lstStyle/>
              <a:p>
                <a:endParaRPr lang="en-GB"/>
              </a:p>
            </p:txBody>
          </p:sp>
          <p:sp>
            <p:nvSpPr>
              <p:cNvPr id="5754" name="Vrije vorm: vorm 5753">
                <a:extLst>
                  <a:ext uri="{FF2B5EF4-FFF2-40B4-BE49-F238E27FC236}">
                    <a16:creationId xmlns:a16="http://schemas.microsoft.com/office/drawing/2014/main" id="{8FD5ECE7-5C44-41E5-A475-0DE633FCCA97}"/>
                  </a:ext>
                </a:extLst>
              </p:cNvPr>
              <p:cNvSpPr/>
              <p:nvPr/>
            </p:nvSpPr>
            <p:spPr>
              <a:xfrm>
                <a:off x="6642927" y="1609931"/>
                <a:ext cx="51613" cy="33013"/>
              </a:xfrm>
              <a:custGeom>
                <a:avLst/>
                <a:gdLst>
                  <a:gd name="connsiteX0" fmla="*/ 51015 w 51613"/>
                  <a:gd name="connsiteY0" fmla="*/ 0 h 33013"/>
                  <a:gd name="connsiteX1" fmla="*/ 51554 w 51613"/>
                  <a:gd name="connsiteY1" fmla="*/ 3110 h 33013"/>
                  <a:gd name="connsiteX2" fmla="*/ 51614 w 51613"/>
                  <a:gd name="connsiteY2" fmla="*/ 3289 h 33013"/>
                  <a:gd name="connsiteX3" fmla="*/ 50716 w 51613"/>
                  <a:gd name="connsiteY3" fmla="*/ 4785 h 33013"/>
                  <a:gd name="connsiteX4" fmla="*/ 49042 w 51613"/>
                  <a:gd name="connsiteY4" fmla="*/ 7596 h 33013"/>
                  <a:gd name="connsiteX5" fmla="*/ 47367 w 51613"/>
                  <a:gd name="connsiteY5" fmla="*/ 10406 h 33013"/>
                  <a:gd name="connsiteX6" fmla="*/ 45692 w 51613"/>
                  <a:gd name="connsiteY6" fmla="*/ 13217 h 33013"/>
                  <a:gd name="connsiteX7" fmla="*/ 44018 w 51613"/>
                  <a:gd name="connsiteY7" fmla="*/ 16028 h 33013"/>
                  <a:gd name="connsiteX8" fmla="*/ 42343 w 51613"/>
                  <a:gd name="connsiteY8" fmla="*/ 18839 h 33013"/>
                  <a:gd name="connsiteX9" fmla="*/ 40669 w 51613"/>
                  <a:gd name="connsiteY9" fmla="*/ 21650 h 33013"/>
                  <a:gd name="connsiteX10" fmla="*/ 38994 w 51613"/>
                  <a:gd name="connsiteY10" fmla="*/ 24461 h 33013"/>
                  <a:gd name="connsiteX11" fmla="*/ 37320 w 51613"/>
                  <a:gd name="connsiteY11" fmla="*/ 27272 h 33013"/>
                  <a:gd name="connsiteX12" fmla="*/ 35645 w 51613"/>
                  <a:gd name="connsiteY12" fmla="*/ 30083 h 33013"/>
                  <a:gd name="connsiteX13" fmla="*/ 34150 w 51613"/>
                  <a:gd name="connsiteY13" fmla="*/ 32595 h 33013"/>
                  <a:gd name="connsiteX14" fmla="*/ 33911 w 51613"/>
                  <a:gd name="connsiteY14" fmla="*/ 33014 h 33013"/>
                  <a:gd name="connsiteX15" fmla="*/ 33731 w 51613"/>
                  <a:gd name="connsiteY15" fmla="*/ 32834 h 33013"/>
                  <a:gd name="connsiteX16" fmla="*/ 31518 w 51613"/>
                  <a:gd name="connsiteY16" fmla="*/ 30861 h 33013"/>
                  <a:gd name="connsiteX17" fmla="*/ 29305 w 51613"/>
                  <a:gd name="connsiteY17" fmla="*/ 28887 h 33013"/>
                  <a:gd name="connsiteX18" fmla="*/ 27092 w 51613"/>
                  <a:gd name="connsiteY18" fmla="*/ 26913 h 33013"/>
                  <a:gd name="connsiteX19" fmla="*/ 24880 w 51613"/>
                  <a:gd name="connsiteY19" fmla="*/ 24940 h 33013"/>
                  <a:gd name="connsiteX20" fmla="*/ 24342 w 51613"/>
                  <a:gd name="connsiteY20" fmla="*/ 24461 h 33013"/>
                  <a:gd name="connsiteX21" fmla="*/ 22667 w 51613"/>
                  <a:gd name="connsiteY21" fmla="*/ 22966 h 33013"/>
                  <a:gd name="connsiteX22" fmla="*/ 21650 w 51613"/>
                  <a:gd name="connsiteY22" fmla="*/ 22069 h 33013"/>
                  <a:gd name="connsiteX23" fmla="*/ 20334 w 51613"/>
                  <a:gd name="connsiteY23" fmla="*/ 21351 h 33013"/>
                  <a:gd name="connsiteX24" fmla="*/ 19916 w 51613"/>
                  <a:gd name="connsiteY24" fmla="*/ 21112 h 33013"/>
                  <a:gd name="connsiteX25" fmla="*/ 18959 w 51613"/>
                  <a:gd name="connsiteY25" fmla="*/ 20574 h 33013"/>
                  <a:gd name="connsiteX26" fmla="*/ 17882 w 51613"/>
                  <a:gd name="connsiteY26" fmla="*/ 19976 h 33013"/>
                  <a:gd name="connsiteX27" fmla="*/ 15012 w 51613"/>
                  <a:gd name="connsiteY27" fmla="*/ 19138 h 33013"/>
                  <a:gd name="connsiteX28" fmla="*/ 12141 w 51613"/>
                  <a:gd name="connsiteY28" fmla="*/ 18301 h 33013"/>
                  <a:gd name="connsiteX29" fmla="*/ 9270 w 51613"/>
                  <a:gd name="connsiteY29" fmla="*/ 17464 h 33013"/>
                  <a:gd name="connsiteX30" fmla="*/ 7177 w 51613"/>
                  <a:gd name="connsiteY30" fmla="*/ 16806 h 33013"/>
                  <a:gd name="connsiteX31" fmla="*/ 5921 w 51613"/>
                  <a:gd name="connsiteY31" fmla="*/ 16447 h 33013"/>
                  <a:gd name="connsiteX32" fmla="*/ 4246 w 51613"/>
                  <a:gd name="connsiteY32" fmla="*/ 15909 h 33013"/>
                  <a:gd name="connsiteX33" fmla="*/ 2572 w 51613"/>
                  <a:gd name="connsiteY33" fmla="*/ 18720 h 33013"/>
                  <a:gd name="connsiteX34" fmla="*/ 897 w 51613"/>
                  <a:gd name="connsiteY34" fmla="*/ 21531 h 33013"/>
                  <a:gd name="connsiteX35" fmla="*/ 359 w 51613"/>
                  <a:gd name="connsiteY35" fmla="*/ 22428 h 33013"/>
                  <a:gd name="connsiteX36" fmla="*/ 0 w 51613"/>
                  <a:gd name="connsiteY36" fmla="*/ 23145 h 33013"/>
                  <a:gd name="connsiteX37" fmla="*/ 2033 w 51613"/>
                  <a:gd name="connsiteY37" fmla="*/ 24880 h 33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613" h="33013">
                    <a:moveTo>
                      <a:pt x="51015" y="0"/>
                    </a:moveTo>
                    <a:lnTo>
                      <a:pt x="51554" y="3110"/>
                    </a:lnTo>
                    <a:lnTo>
                      <a:pt x="51614" y="3289"/>
                    </a:lnTo>
                    <a:lnTo>
                      <a:pt x="50716" y="4785"/>
                    </a:lnTo>
                    <a:lnTo>
                      <a:pt x="49042" y="7596"/>
                    </a:lnTo>
                    <a:lnTo>
                      <a:pt x="47367" y="10406"/>
                    </a:lnTo>
                    <a:lnTo>
                      <a:pt x="45692" y="13217"/>
                    </a:lnTo>
                    <a:lnTo>
                      <a:pt x="44018" y="16028"/>
                    </a:lnTo>
                    <a:lnTo>
                      <a:pt x="42343" y="18839"/>
                    </a:lnTo>
                    <a:lnTo>
                      <a:pt x="40669" y="21650"/>
                    </a:lnTo>
                    <a:lnTo>
                      <a:pt x="38994" y="24461"/>
                    </a:lnTo>
                    <a:lnTo>
                      <a:pt x="37320" y="27272"/>
                    </a:lnTo>
                    <a:lnTo>
                      <a:pt x="35645" y="30083"/>
                    </a:lnTo>
                    <a:lnTo>
                      <a:pt x="34150" y="32595"/>
                    </a:lnTo>
                    <a:lnTo>
                      <a:pt x="33911" y="33014"/>
                    </a:lnTo>
                    <a:lnTo>
                      <a:pt x="33731" y="32834"/>
                    </a:lnTo>
                    <a:lnTo>
                      <a:pt x="31518" y="30861"/>
                    </a:lnTo>
                    <a:lnTo>
                      <a:pt x="29305" y="28887"/>
                    </a:lnTo>
                    <a:lnTo>
                      <a:pt x="27092" y="26913"/>
                    </a:lnTo>
                    <a:lnTo>
                      <a:pt x="24880" y="24940"/>
                    </a:lnTo>
                    <a:lnTo>
                      <a:pt x="24342" y="24461"/>
                    </a:lnTo>
                    <a:lnTo>
                      <a:pt x="22667" y="22966"/>
                    </a:lnTo>
                    <a:lnTo>
                      <a:pt x="21650" y="22069"/>
                    </a:lnTo>
                    <a:lnTo>
                      <a:pt x="20334" y="21351"/>
                    </a:lnTo>
                    <a:lnTo>
                      <a:pt x="19916" y="21112"/>
                    </a:lnTo>
                    <a:lnTo>
                      <a:pt x="18959" y="20574"/>
                    </a:lnTo>
                    <a:lnTo>
                      <a:pt x="17882" y="19976"/>
                    </a:lnTo>
                    <a:lnTo>
                      <a:pt x="15012" y="19138"/>
                    </a:lnTo>
                    <a:lnTo>
                      <a:pt x="12141" y="18301"/>
                    </a:lnTo>
                    <a:lnTo>
                      <a:pt x="9270" y="17464"/>
                    </a:lnTo>
                    <a:lnTo>
                      <a:pt x="7177" y="16806"/>
                    </a:lnTo>
                    <a:lnTo>
                      <a:pt x="5921" y="16447"/>
                    </a:lnTo>
                    <a:lnTo>
                      <a:pt x="4246" y="15909"/>
                    </a:lnTo>
                    <a:lnTo>
                      <a:pt x="2572" y="18720"/>
                    </a:lnTo>
                    <a:lnTo>
                      <a:pt x="897" y="21531"/>
                    </a:lnTo>
                    <a:lnTo>
                      <a:pt x="359" y="22428"/>
                    </a:lnTo>
                    <a:lnTo>
                      <a:pt x="0" y="23145"/>
                    </a:lnTo>
                    <a:lnTo>
                      <a:pt x="2033" y="24880"/>
                    </a:lnTo>
                  </a:path>
                </a:pathLst>
              </a:custGeom>
              <a:noFill/>
              <a:ln w="6350" cap="rnd">
                <a:solidFill>
                  <a:schemeClr val="bg1">
                    <a:alpha val="80000"/>
                  </a:schemeClr>
                </a:solidFill>
                <a:prstDash val="solid"/>
                <a:round/>
              </a:ln>
            </p:spPr>
            <p:txBody>
              <a:bodyPr rtlCol="0" anchor="ctr"/>
              <a:lstStyle/>
              <a:p>
                <a:endParaRPr lang="en-GB"/>
              </a:p>
            </p:txBody>
          </p:sp>
          <p:sp>
            <p:nvSpPr>
              <p:cNvPr id="5755" name="Vrije vorm: vorm 5754">
                <a:extLst>
                  <a:ext uri="{FF2B5EF4-FFF2-40B4-BE49-F238E27FC236}">
                    <a16:creationId xmlns:a16="http://schemas.microsoft.com/office/drawing/2014/main" id="{5C01B021-851E-4D87-88B7-0D858DF1725C}"/>
                  </a:ext>
                </a:extLst>
              </p:cNvPr>
              <p:cNvSpPr/>
              <p:nvPr/>
            </p:nvSpPr>
            <p:spPr>
              <a:xfrm>
                <a:off x="6643465" y="1632418"/>
                <a:ext cx="35705" cy="18061"/>
              </a:xfrm>
              <a:custGeom>
                <a:avLst/>
                <a:gdLst>
                  <a:gd name="connsiteX0" fmla="*/ 0 w 35705"/>
                  <a:gd name="connsiteY0" fmla="*/ 0 h 18061"/>
                  <a:gd name="connsiteX1" fmla="*/ 2871 w 35705"/>
                  <a:gd name="connsiteY1" fmla="*/ 897 h 18061"/>
                  <a:gd name="connsiteX2" fmla="*/ 5742 w 35705"/>
                  <a:gd name="connsiteY2" fmla="*/ 1794 h 18061"/>
                  <a:gd name="connsiteX3" fmla="*/ 8612 w 35705"/>
                  <a:gd name="connsiteY3" fmla="*/ 2691 h 18061"/>
                  <a:gd name="connsiteX4" fmla="*/ 11483 w 35705"/>
                  <a:gd name="connsiteY4" fmla="*/ 3588 h 18061"/>
                  <a:gd name="connsiteX5" fmla="*/ 13636 w 35705"/>
                  <a:gd name="connsiteY5" fmla="*/ 4246 h 18061"/>
                  <a:gd name="connsiteX6" fmla="*/ 16208 w 35705"/>
                  <a:gd name="connsiteY6" fmla="*/ 5682 h 18061"/>
                  <a:gd name="connsiteX7" fmla="*/ 17344 w 35705"/>
                  <a:gd name="connsiteY7" fmla="*/ 6280 h 18061"/>
                  <a:gd name="connsiteX8" fmla="*/ 19617 w 35705"/>
                  <a:gd name="connsiteY8" fmla="*/ 8253 h 18061"/>
                  <a:gd name="connsiteX9" fmla="*/ 21471 w 35705"/>
                  <a:gd name="connsiteY9" fmla="*/ 9868 h 18061"/>
                  <a:gd name="connsiteX10" fmla="*/ 23026 w 35705"/>
                  <a:gd name="connsiteY10" fmla="*/ 11244 h 18061"/>
                  <a:gd name="connsiteX11" fmla="*/ 25299 w 35705"/>
                  <a:gd name="connsiteY11" fmla="*/ 13217 h 18061"/>
                  <a:gd name="connsiteX12" fmla="*/ 25837 w 35705"/>
                  <a:gd name="connsiteY12" fmla="*/ 13696 h 18061"/>
                  <a:gd name="connsiteX13" fmla="*/ 26913 w 35705"/>
                  <a:gd name="connsiteY13" fmla="*/ 14653 h 18061"/>
                  <a:gd name="connsiteX14" fmla="*/ 28050 w 35705"/>
                  <a:gd name="connsiteY14" fmla="*/ 15610 h 18061"/>
                  <a:gd name="connsiteX15" fmla="*/ 28468 w 35705"/>
                  <a:gd name="connsiteY15" fmla="*/ 15969 h 18061"/>
                  <a:gd name="connsiteX16" fmla="*/ 30741 w 35705"/>
                  <a:gd name="connsiteY16" fmla="*/ 17942 h 18061"/>
                  <a:gd name="connsiteX17" fmla="*/ 30861 w 35705"/>
                  <a:gd name="connsiteY17" fmla="*/ 18062 h 18061"/>
                  <a:gd name="connsiteX18" fmla="*/ 32535 w 35705"/>
                  <a:gd name="connsiteY18" fmla="*/ 15251 h 18061"/>
                  <a:gd name="connsiteX19" fmla="*/ 33791 w 35705"/>
                  <a:gd name="connsiteY19" fmla="*/ 13098 h 18061"/>
                  <a:gd name="connsiteX20" fmla="*/ 35466 w 35705"/>
                  <a:gd name="connsiteY20" fmla="*/ 10287 h 18061"/>
                  <a:gd name="connsiteX21" fmla="*/ 35705 w 35705"/>
                  <a:gd name="connsiteY21" fmla="*/ 9868 h 1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05" h="18061">
                    <a:moveTo>
                      <a:pt x="0" y="0"/>
                    </a:moveTo>
                    <a:lnTo>
                      <a:pt x="2871" y="897"/>
                    </a:lnTo>
                    <a:lnTo>
                      <a:pt x="5742" y="1794"/>
                    </a:lnTo>
                    <a:lnTo>
                      <a:pt x="8612" y="2691"/>
                    </a:lnTo>
                    <a:lnTo>
                      <a:pt x="11483" y="3588"/>
                    </a:lnTo>
                    <a:lnTo>
                      <a:pt x="13636" y="4246"/>
                    </a:lnTo>
                    <a:lnTo>
                      <a:pt x="16208" y="5682"/>
                    </a:lnTo>
                    <a:lnTo>
                      <a:pt x="17344" y="6280"/>
                    </a:lnTo>
                    <a:lnTo>
                      <a:pt x="19617" y="8253"/>
                    </a:lnTo>
                    <a:lnTo>
                      <a:pt x="21471" y="9868"/>
                    </a:lnTo>
                    <a:lnTo>
                      <a:pt x="23026" y="11244"/>
                    </a:lnTo>
                    <a:lnTo>
                      <a:pt x="25299" y="13217"/>
                    </a:lnTo>
                    <a:lnTo>
                      <a:pt x="25837" y="13696"/>
                    </a:lnTo>
                    <a:lnTo>
                      <a:pt x="26913" y="14653"/>
                    </a:lnTo>
                    <a:lnTo>
                      <a:pt x="28050" y="15610"/>
                    </a:lnTo>
                    <a:lnTo>
                      <a:pt x="28468" y="15969"/>
                    </a:lnTo>
                    <a:lnTo>
                      <a:pt x="30741" y="17942"/>
                    </a:lnTo>
                    <a:lnTo>
                      <a:pt x="30861" y="18062"/>
                    </a:lnTo>
                    <a:lnTo>
                      <a:pt x="32535" y="15251"/>
                    </a:lnTo>
                    <a:lnTo>
                      <a:pt x="33791" y="13098"/>
                    </a:lnTo>
                    <a:lnTo>
                      <a:pt x="35466" y="10287"/>
                    </a:lnTo>
                    <a:lnTo>
                      <a:pt x="35705" y="9868"/>
                    </a:lnTo>
                  </a:path>
                </a:pathLst>
              </a:custGeom>
              <a:noFill/>
              <a:ln w="6350" cap="rnd">
                <a:solidFill>
                  <a:schemeClr val="bg1">
                    <a:alpha val="80000"/>
                  </a:schemeClr>
                </a:solidFill>
                <a:prstDash val="solid"/>
                <a:round/>
              </a:ln>
            </p:spPr>
            <p:txBody>
              <a:bodyPr rtlCol="0" anchor="ctr"/>
              <a:lstStyle/>
              <a:p>
                <a:endParaRPr lang="en-GB"/>
              </a:p>
            </p:txBody>
          </p:sp>
          <p:sp>
            <p:nvSpPr>
              <p:cNvPr id="5756" name="Vrije vorm: vorm 5755">
                <a:extLst>
                  <a:ext uri="{FF2B5EF4-FFF2-40B4-BE49-F238E27FC236}">
                    <a16:creationId xmlns:a16="http://schemas.microsoft.com/office/drawing/2014/main" id="{C3AD88EA-1374-4AFA-90EC-F3DEDFADD9F2}"/>
                  </a:ext>
                </a:extLst>
              </p:cNvPr>
              <p:cNvSpPr/>
              <p:nvPr/>
            </p:nvSpPr>
            <p:spPr>
              <a:xfrm>
                <a:off x="6645499" y="1633913"/>
                <a:ext cx="25238" cy="15968"/>
              </a:xfrm>
              <a:custGeom>
                <a:avLst/>
                <a:gdLst>
                  <a:gd name="connsiteX0" fmla="*/ 24461 w 25238"/>
                  <a:gd name="connsiteY0" fmla="*/ 15969 h 15968"/>
                  <a:gd name="connsiteX1" fmla="*/ 24880 w 25238"/>
                  <a:gd name="connsiteY1" fmla="*/ 15251 h 15968"/>
                  <a:gd name="connsiteX2" fmla="*/ 24880 w 25238"/>
                  <a:gd name="connsiteY2" fmla="*/ 15251 h 15968"/>
                  <a:gd name="connsiteX3" fmla="*/ 24940 w 25238"/>
                  <a:gd name="connsiteY3" fmla="*/ 15191 h 15968"/>
                  <a:gd name="connsiteX4" fmla="*/ 25238 w 25238"/>
                  <a:gd name="connsiteY4" fmla="*/ 14653 h 15968"/>
                  <a:gd name="connsiteX5" fmla="*/ 25238 w 25238"/>
                  <a:gd name="connsiteY5" fmla="*/ 14653 h 15968"/>
                  <a:gd name="connsiteX6" fmla="*/ 23983 w 25238"/>
                  <a:gd name="connsiteY6" fmla="*/ 13576 h 15968"/>
                  <a:gd name="connsiteX7" fmla="*/ 21710 w 25238"/>
                  <a:gd name="connsiteY7" fmla="*/ 11603 h 15968"/>
                  <a:gd name="connsiteX8" fmla="*/ 21650 w 25238"/>
                  <a:gd name="connsiteY8" fmla="*/ 11603 h 15968"/>
                  <a:gd name="connsiteX9" fmla="*/ 20933 w 25238"/>
                  <a:gd name="connsiteY9" fmla="*/ 11005 h 15968"/>
                  <a:gd name="connsiteX10" fmla="*/ 19079 w 25238"/>
                  <a:gd name="connsiteY10" fmla="*/ 9390 h 15968"/>
                  <a:gd name="connsiteX11" fmla="*/ 16806 w 25238"/>
                  <a:gd name="connsiteY11" fmla="*/ 7416 h 15968"/>
                  <a:gd name="connsiteX12" fmla="*/ 14533 w 25238"/>
                  <a:gd name="connsiteY12" fmla="*/ 5442 h 15968"/>
                  <a:gd name="connsiteX13" fmla="*/ 13756 w 25238"/>
                  <a:gd name="connsiteY13" fmla="*/ 4725 h 15968"/>
                  <a:gd name="connsiteX14" fmla="*/ 12081 w 25238"/>
                  <a:gd name="connsiteY14" fmla="*/ 3768 h 15968"/>
                  <a:gd name="connsiteX15" fmla="*/ 9210 w 25238"/>
                  <a:gd name="connsiteY15" fmla="*/ 2871 h 15968"/>
                  <a:gd name="connsiteX16" fmla="*/ 6340 w 25238"/>
                  <a:gd name="connsiteY16" fmla="*/ 1974 h 15968"/>
                  <a:gd name="connsiteX17" fmla="*/ 3469 w 25238"/>
                  <a:gd name="connsiteY17" fmla="*/ 1076 h 15968"/>
                  <a:gd name="connsiteX18" fmla="*/ 598 w 25238"/>
                  <a:gd name="connsiteY18" fmla="*/ 179 h 15968"/>
                  <a:gd name="connsiteX19" fmla="*/ 0 w 25238"/>
                  <a:gd name="connsiteY19" fmla="*/ 0 h 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238" h="15968">
                    <a:moveTo>
                      <a:pt x="24461" y="15969"/>
                    </a:moveTo>
                    <a:lnTo>
                      <a:pt x="24880" y="15251"/>
                    </a:lnTo>
                    <a:lnTo>
                      <a:pt x="24880" y="15251"/>
                    </a:lnTo>
                    <a:lnTo>
                      <a:pt x="24940" y="15191"/>
                    </a:lnTo>
                    <a:lnTo>
                      <a:pt x="25238" y="14653"/>
                    </a:lnTo>
                    <a:lnTo>
                      <a:pt x="25238" y="14653"/>
                    </a:lnTo>
                    <a:lnTo>
                      <a:pt x="23983" y="13576"/>
                    </a:lnTo>
                    <a:lnTo>
                      <a:pt x="21710" y="11603"/>
                    </a:lnTo>
                    <a:lnTo>
                      <a:pt x="21650" y="11603"/>
                    </a:lnTo>
                    <a:lnTo>
                      <a:pt x="20933" y="11005"/>
                    </a:lnTo>
                    <a:lnTo>
                      <a:pt x="19079" y="9390"/>
                    </a:lnTo>
                    <a:lnTo>
                      <a:pt x="16806" y="7416"/>
                    </a:lnTo>
                    <a:lnTo>
                      <a:pt x="14533" y="5442"/>
                    </a:lnTo>
                    <a:lnTo>
                      <a:pt x="13756" y="4725"/>
                    </a:lnTo>
                    <a:lnTo>
                      <a:pt x="12081" y="3768"/>
                    </a:lnTo>
                    <a:lnTo>
                      <a:pt x="9210" y="2871"/>
                    </a:lnTo>
                    <a:lnTo>
                      <a:pt x="6340" y="1974"/>
                    </a:lnTo>
                    <a:lnTo>
                      <a:pt x="3469" y="1076"/>
                    </a:lnTo>
                    <a:lnTo>
                      <a:pt x="598" y="17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57" name="Vrije vorm: vorm 5756">
                <a:extLst>
                  <a:ext uri="{FF2B5EF4-FFF2-40B4-BE49-F238E27FC236}">
                    <a16:creationId xmlns:a16="http://schemas.microsoft.com/office/drawing/2014/main" id="{C72EE3C8-DADC-464A-834A-143010ED7507}"/>
                  </a:ext>
                </a:extLst>
              </p:cNvPr>
              <p:cNvSpPr/>
              <p:nvPr/>
            </p:nvSpPr>
            <p:spPr>
              <a:xfrm>
                <a:off x="6670438" y="1649104"/>
                <a:ext cx="3708" cy="1255"/>
              </a:xfrm>
              <a:custGeom>
                <a:avLst/>
                <a:gdLst>
                  <a:gd name="connsiteX0" fmla="*/ 0 w 3708"/>
                  <a:gd name="connsiteY0" fmla="*/ 0 h 1255"/>
                  <a:gd name="connsiteX1" fmla="*/ 2811 w 3708"/>
                  <a:gd name="connsiteY1" fmla="*/ 957 h 1255"/>
                  <a:gd name="connsiteX2" fmla="*/ 3708 w 3708"/>
                  <a:gd name="connsiteY2" fmla="*/ 1256 h 1255"/>
                  <a:gd name="connsiteX3" fmla="*/ 897 w 3708"/>
                  <a:gd name="connsiteY3" fmla="*/ 299 h 1255"/>
                  <a:gd name="connsiteX4" fmla="*/ 0 w 3708"/>
                  <a:gd name="connsiteY4" fmla="*/ 0 h 1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8" h="1255">
                    <a:moveTo>
                      <a:pt x="0" y="0"/>
                    </a:moveTo>
                    <a:lnTo>
                      <a:pt x="2811" y="957"/>
                    </a:lnTo>
                    <a:lnTo>
                      <a:pt x="3708" y="1256"/>
                    </a:lnTo>
                    <a:lnTo>
                      <a:pt x="897" y="29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58" name="Vrije vorm: vorm 5757">
                <a:extLst>
                  <a:ext uri="{FF2B5EF4-FFF2-40B4-BE49-F238E27FC236}">
                    <a16:creationId xmlns:a16="http://schemas.microsoft.com/office/drawing/2014/main" id="{EB7247C1-27E8-40F8-9E04-1DA0320C7B79}"/>
                  </a:ext>
                </a:extLst>
              </p:cNvPr>
              <p:cNvSpPr/>
              <p:nvPr/>
            </p:nvSpPr>
            <p:spPr>
              <a:xfrm>
                <a:off x="6676957" y="1606402"/>
                <a:ext cx="20035" cy="39113"/>
              </a:xfrm>
              <a:custGeom>
                <a:avLst/>
                <a:gdLst>
                  <a:gd name="connsiteX0" fmla="*/ 16387 w 20035"/>
                  <a:gd name="connsiteY0" fmla="*/ 0 h 39113"/>
                  <a:gd name="connsiteX1" fmla="*/ 18540 w 20035"/>
                  <a:gd name="connsiteY1" fmla="*/ 2093 h 39113"/>
                  <a:gd name="connsiteX2" fmla="*/ 18839 w 20035"/>
                  <a:gd name="connsiteY2" fmla="*/ 2392 h 39113"/>
                  <a:gd name="connsiteX3" fmla="*/ 19377 w 20035"/>
                  <a:gd name="connsiteY3" fmla="*/ 5502 h 39113"/>
                  <a:gd name="connsiteX4" fmla="*/ 19916 w 20035"/>
                  <a:gd name="connsiteY4" fmla="*/ 8612 h 39113"/>
                  <a:gd name="connsiteX5" fmla="*/ 20035 w 20035"/>
                  <a:gd name="connsiteY5" fmla="*/ 9270 h 39113"/>
                  <a:gd name="connsiteX6" fmla="*/ 18361 w 20035"/>
                  <a:gd name="connsiteY6" fmla="*/ 12081 h 39113"/>
                  <a:gd name="connsiteX7" fmla="*/ 16686 w 20035"/>
                  <a:gd name="connsiteY7" fmla="*/ 14892 h 39113"/>
                  <a:gd name="connsiteX8" fmla="*/ 15011 w 20035"/>
                  <a:gd name="connsiteY8" fmla="*/ 17703 h 39113"/>
                  <a:gd name="connsiteX9" fmla="*/ 13337 w 20035"/>
                  <a:gd name="connsiteY9" fmla="*/ 20514 h 39113"/>
                  <a:gd name="connsiteX10" fmla="*/ 11662 w 20035"/>
                  <a:gd name="connsiteY10" fmla="*/ 23325 h 39113"/>
                  <a:gd name="connsiteX11" fmla="*/ 9988 w 20035"/>
                  <a:gd name="connsiteY11" fmla="*/ 26136 h 39113"/>
                  <a:gd name="connsiteX12" fmla="*/ 8313 w 20035"/>
                  <a:gd name="connsiteY12" fmla="*/ 28947 h 39113"/>
                  <a:gd name="connsiteX13" fmla="*/ 6639 w 20035"/>
                  <a:gd name="connsiteY13" fmla="*/ 31758 h 39113"/>
                  <a:gd name="connsiteX14" fmla="*/ 4964 w 20035"/>
                  <a:gd name="connsiteY14" fmla="*/ 34569 h 39113"/>
                  <a:gd name="connsiteX15" fmla="*/ 3409 w 20035"/>
                  <a:gd name="connsiteY15" fmla="*/ 37200 h 39113"/>
                  <a:gd name="connsiteX16" fmla="*/ 598 w 20035"/>
                  <a:gd name="connsiteY16" fmla="*/ 38755 h 39113"/>
                  <a:gd name="connsiteX17" fmla="*/ 0 w 20035"/>
                  <a:gd name="connsiteY17" fmla="*/ 39114 h 3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035" h="39113">
                    <a:moveTo>
                      <a:pt x="16387" y="0"/>
                    </a:moveTo>
                    <a:lnTo>
                      <a:pt x="18540" y="2093"/>
                    </a:lnTo>
                    <a:lnTo>
                      <a:pt x="18839" y="2392"/>
                    </a:lnTo>
                    <a:lnTo>
                      <a:pt x="19377" y="5502"/>
                    </a:lnTo>
                    <a:lnTo>
                      <a:pt x="19916" y="8612"/>
                    </a:lnTo>
                    <a:lnTo>
                      <a:pt x="20035" y="9270"/>
                    </a:lnTo>
                    <a:lnTo>
                      <a:pt x="18361" y="12081"/>
                    </a:lnTo>
                    <a:lnTo>
                      <a:pt x="16686" y="14892"/>
                    </a:lnTo>
                    <a:lnTo>
                      <a:pt x="15011" y="17703"/>
                    </a:lnTo>
                    <a:lnTo>
                      <a:pt x="13337" y="20514"/>
                    </a:lnTo>
                    <a:lnTo>
                      <a:pt x="11662" y="23325"/>
                    </a:lnTo>
                    <a:lnTo>
                      <a:pt x="9988" y="26136"/>
                    </a:lnTo>
                    <a:lnTo>
                      <a:pt x="8313" y="28947"/>
                    </a:lnTo>
                    <a:lnTo>
                      <a:pt x="6639" y="31758"/>
                    </a:lnTo>
                    <a:lnTo>
                      <a:pt x="4964" y="34569"/>
                    </a:lnTo>
                    <a:lnTo>
                      <a:pt x="3409" y="37200"/>
                    </a:lnTo>
                    <a:lnTo>
                      <a:pt x="598" y="38755"/>
                    </a:lnTo>
                    <a:lnTo>
                      <a:pt x="0" y="39114"/>
                    </a:lnTo>
                  </a:path>
                </a:pathLst>
              </a:custGeom>
              <a:noFill/>
              <a:ln w="6350" cap="rnd">
                <a:solidFill>
                  <a:schemeClr val="bg1">
                    <a:alpha val="80000"/>
                  </a:schemeClr>
                </a:solidFill>
                <a:prstDash val="solid"/>
                <a:round/>
              </a:ln>
            </p:spPr>
            <p:txBody>
              <a:bodyPr rtlCol="0" anchor="ctr"/>
              <a:lstStyle/>
              <a:p>
                <a:endParaRPr lang="en-GB"/>
              </a:p>
            </p:txBody>
          </p:sp>
          <p:sp>
            <p:nvSpPr>
              <p:cNvPr id="5759" name="Vrije vorm: vorm 5758">
                <a:extLst>
                  <a:ext uri="{FF2B5EF4-FFF2-40B4-BE49-F238E27FC236}">
                    <a16:creationId xmlns:a16="http://schemas.microsoft.com/office/drawing/2014/main" id="{D62269B4-81FE-4EB8-8304-443829592C22}"/>
                  </a:ext>
                </a:extLst>
              </p:cNvPr>
              <p:cNvSpPr/>
              <p:nvPr/>
            </p:nvSpPr>
            <p:spPr>
              <a:xfrm>
                <a:off x="6661946" y="1618064"/>
                <a:ext cx="10645" cy="12559"/>
              </a:xfrm>
              <a:custGeom>
                <a:avLst/>
                <a:gdLst>
                  <a:gd name="connsiteX0" fmla="*/ 0 w 10645"/>
                  <a:gd name="connsiteY0" fmla="*/ 12560 h 12559"/>
                  <a:gd name="connsiteX1" fmla="*/ 2392 w 10645"/>
                  <a:gd name="connsiteY1" fmla="*/ 10406 h 12559"/>
                  <a:gd name="connsiteX2" fmla="*/ 2691 w 10645"/>
                  <a:gd name="connsiteY2" fmla="*/ 10167 h 12559"/>
                  <a:gd name="connsiteX3" fmla="*/ 5083 w 10645"/>
                  <a:gd name="connsiteY3" fmla="*/ 8014 h 12559"/>
                  <a:gd name="connsiteX4" fmla="*/ 6698 w 10645"/>
                  <a:gd name="connsiteY4" fmla="*/ 6579 h 12559"/>
                  <a:gd name="connsiteX5" fmla="*/ 8373 w 10645"/>
                  <a:gd name="connsiteY5" fmla="*/ 3768 h 12559"/>
                  <a:gd name="connsiteX6" fmla="*/ 9210 w 10645"/>
                  <a:gd name="connsiteY6" fmla="*/ 2332 h 12559"/>
                  <a:gd name="connsiteX7" fmla="*/ 9629 w 10645"/>
                  <a:gd name="connsiteY7" fmla="*/ 1675 h 12559"/>
                  <a:gd name="connsiteX8" fmla="*/ 10645 w 10645"/>
                  <a:gd name="connsiteY8"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5" h="12559">
                    <a:moveTo>
                      <a:pt x="0" y="12560"/>
                    </a:moveTo>
                    <a:lnTo>
                      <a:pt x="2392" y="10406"/>
                    </a:lnTo>
                    <a:lnTo>
                      <a:pt x="2691" y="10167"/>
                    </a:lnTo>
                    <a:lnTo>
                      <a:pt x="5083" y="8014"/>
                    </a:lnTo>
                    <a:lnTo>
                      <a:pt x="6698" y="6579"/>
                    </a:lnTo>
                    <a:lnTo>
                      <a:pt x="8373" y="3768"/>
                    </a:lnTo>
                    <a:lnTo>
                      <a:pt x="9210" y="2332"/>
                    </a:lnTo>
                    <a:lnTo>
                      <a:pt x="9629" y="1675"/>
                    </a:lnTo>
                    <a:lnTo>
                      <a:pt x="10645" y="0"/>
                    </a:lnTo>
                  </a:path>
                </a:pathLst>
              </a:custGeom>
              <a:noFill/>
              <a:ln w="6350" cap="rnd">
                <a:solidFill>
                  <a:schemeClr val="bg1">
                    <a:alpha val="80000"/>
                  </a:schemeClr>
                </a:solidFill>
                <a:prstDash val="solid"/>
                <a:round/>
              </a:ln>
            </p:spPr>
            <p:txBody>
              <a:bodyPr rtlCol="0" anchor="ctr"/>
              <a:lstStyle/>
              <a:p>
                <a:endParaRPr lang="en-GB"/>
              </a:p>
            </p:txBody>
          </p:sp>
          <p:sp>
            <p:nvSpPr>
              <p:cNvPr id="5760" name="Vrije vorm: vorm 5759">
                <a:extLst>
                  <a:ext uri="{FF2B5EF4-FFF2-40B4-BE49-F238E27FC236}">
                    <a16:creationId xmlns:a16="http://schemas.microsoft.com/office/drawing/2014/main" id="{53D89CBB-AEF2-4898-8B39-7BC1948823DE}"/>
                  </a:ext>
                </a:extLst>
              </p:cNvPr>
              <p:cNvSpPr/>
              <p:nvPr/>
            </p:nvSpPr>
            <p:spPr>
              <a:xfrm>
                <a:off x="6656683" y="1587802"/>
                <a:ext cx="31099" cy="30860"/>
              </a:xfrm>
              <a:custGeom>
                <a:avLst/>
                <a:gdLst>
                  <a:gd name="connsiteX0" fmla="*/ 2691 w 31099"/>
                  <a:gd name="connsiteY0" fmla="*/ 28648 h 30860"/>
                  <a:gd name="connsiteX1" fmla="*/ 897 w 31099"/>
                  <a:gd name="connsiteY1" fmla="*/ 26435 h 30860"/>
                  <a:gd name="connsiteX2" fmla="*/ 778 w 31099"/>
                  <a:gd name="connsiteY2" fmla="*/ 26016 h 30860"/>
                  <a:gd name="connsiteX3" fmla="*/ 179 w 31099"/>
                  <a:gd name="connsiteY3" fmla="*/ 24102 h 30860"/>
                  <a:gd name="connsiteX4" fmla="*/ 0 w 31099"/>
                  <a:gd name="connsiteY4" fmla="*/ 23444 h 30860"/>
                  <a:gd name="connsiteX5" fmla="*/ 0 w 31099"/>
                  <a:gd name="connsiteY5" fmla="*/ 21531 h 30860"/>
                  <a:gd name="connsiteX6" fmla="*/ 0 w 31099"/>
                  <a:gd name="connsiteY6" fmla="*/ 20394 h 30860"/>
                  <a:gd name="connsiteX7" fmla="*/ 0 w 31099"/>
                  <a:gd name="connsiteY7" fmla="*/ 20335 h 30860"/>
                  <a:gd name="connsiteX8" fmla="*/ 0 w 31099"/>
                  <a:gd name="connsiteY8" fmla="*/ 20155 h 30860"/>
                  <a:gd name="connsiteX9" fmla="*/ 0 w 31099"/>
                  <a:gd name="connsiteY9" fmla="*/ 19916 h 30860"/>
                  <a:gd name="connsiteX10" fmla="*/ 837 w 31099"/>
                  <a:gd name="connsiteY10" fmla="*/ 16806 h 30860"/>
                  <a:gd name="connsiteX11" fmla="*/ 1017 w 31099"/>
                  <a:gd name="connsiteY11" fmla="*/ 16148 h 30860"/>
                  <a:gd name="connsiteX12" fmla="*/ 2333 w 31099"/>
                  <a:gd name="connsiteY12" fmla="*/ 13457 h 30860"/>
                  <a:gd name="connsiteX13" fmla="*/ 2452 w 31099"/>
                  <a:gd name="connsiteY13" fmla="*/ 13217 h 30860"/>
                  <a:gd name="connsiteX14" fmla="*/ 2930 w 31099"/>
                  <a:gd name="connsiteY14" fmla="*/ 12260 h 30860"/>
                  <a:gd name="connsiteX15" fmla="*/ 4785 w 31099"/>
                  <a:gd name="connsiteY15" fmla="*/ 9569 h 30860"/>
                  <a:gd name="connsiteX16" fmla="*/ 5382 w 31099"/>
                  <a:gd name="connsiteY16" fmla="*/ 8732 h 30860"/>
                  <a:gd name="connsiteX17" fmla="*/ 5502 w 31099"/>
                  <a:gd name="connsiteY17" fmla="*/ 8552 h 30860"/>
                  <a:gd name="connsiteX18" fmla="*/ 7775 w 31099"/>
                  <a:gd name="connsiteY18" fmla="*/ 6220 h 30860"/>
                  <a:gd name="connsiteX19" fmla="*/ 8672 w 31099"/>
                  <a:gd name="connsiteY19" fmla="*/ 5263 h 30860"/>
                  <a:gd name="connsiteX20" fmla="*/ 11244 w 31099"/>
                  <a:gd name="connsiteY20" fmla="*/ 3349 h 30860"/>
                  <a:gd name="connsiteX21" fmla="*/ 12201 w 31099"/>
                  <a:gd name="connsiteY21" fmla="*/ 2632 h 30860"/>
                  <a:gd name="connsiteX22" fmla="*/ 15072 w 31099"/>
                  <a:gd name="connsiteY22" fmla="*/ 1256 h 30860"/>
                  <a:gd name="connsiteX23" fmla="*/ 15968 w 31099"/>
                  <a:gd name="connsiteY23" fmla="*/ 837 h 30860"/>
                  <a:gd name="connsiteX24" fmla="*/ 18959 w 31099"/>
                  <a:gd name="connsiteY24" fmla="*/ 120 h 30860"/>
                  <a:gd name="connsiteX25" fmla="*/ 19557 w 31099"/>
                  <a:gd name="connsiteY25" fmla="*/ 0 h 30860"/>
                  <a:gd name="connsiteX26" fmla="*/ 22607 w 31099"/>
                  <a:gd name="connsiteY26" fmla="*/ 120 h 30860"/>
                  <a:gd name="connsiteX27" fmla="*/ 22846 w 31099"/>
                  <a:gd name="connsiteY27" fmla="*/ 120 h 30860"/>
                  <a:gd name="connsiteX28" fmla="*/ 25538 w 31099"/>
                  <a:gd name="connsiteY28" fmla="*/ 1256 h 30860"/>
                  <a:gd name="connsiteX29" fmla="*/ 27631 w 31099"/>
                  <a:gd name="connsiteY29" fmla="*/ 3349 h 30860"/>
                  <a:gd name="connsiteX30" fmla="*/ 28050 w 31099"/>
                  <a:gd name="connsiteY30" fmla="*/ 3768 h 30860"/>
                  <a:gd name="connsiteX31" fmla="*/ 30023 w 31099"/>
                  <a:gd name="connsiteY31" fmla="*/ 5861 h 30860"/>
                  <a:gd name="connsiteX32" fmla="*/ 31040 w 31099"/>
                  <a:gd name="connsiteY32" fmla="*/ 8792 h 30860"/>
                  <a:gd name="connsiteX33" fmla="*/ 31040 w 31099"/>
                  <a:gd name="connsiteY33" fmla="*/ 8852 h 30860"/>
                  <a:gd name="connsiteX34" fmla="*/ 31100 w 31099"/>
                  <a:gd name="connsiteY34" fmla="*/ 12021 h 30860"/>
                  <a:gd name="connsiteX35" fmla="*/ 31100 w 31099"/>
                  <a:gd name="connsiteY35" fmla="*/ 12380 h 30860"/>
                  <a:gd name="connsiteX36" fmla="*/ 30801 w 31099"/>
                  <a:gd name="connsiteY36" fmla="*/ 13696 h 30860"/>
                  <a:gd name="connsiteX37" fmla="*/ 30143 w 31099"/>
                  <a:gd name="connsiteY37" fmla="*/ 16327 h 30860"/>
                  <a:gd name="connsiteX38" fmla="*/ 29844 w 31099"/>
                  <a:gd name="connsiteY38" fmla="*/ 16985 h 30860"/>
                  <a:gd name="connsiteX39" fmla="*/ 29784 w 31099"/>
                  <a:gd name="connsiteY39" fmla="*/ 17105 h 30860"/>
                  <a:gd name="connsiteX40" fmla="*/ 28946 w 31099"/>
                  <a:gd name="connsiteY40" fmla="*/ 18839 h 30860"/>
                  <a:gd name="connsiteX41" fmla="*/ 28767 w 31099"/>
                  <a:gd name="connsiteY41" fmla="*/ 19198 h 30860"/>
                  <a:gd name="connsiteX42" fmla="*/ 28229 w 31099"/>
                  <a:gd name="connsiteY42" fmla="*/ 20394 h 30860"/>
                  <a:gd name="connsiteX43" fmla="*/ 27631 w 31099"/>
                  <a:gd name="connsiteY43" fmla="*/ 21232 h 30860"/>
                  <a:gd name="connsiteX44" fmla="*/ 26375 w 31099"/>
                  <a:gd name="connsiteY44" fmla="*/ 23026 h 30860"/>
                  <a:gd name="connsiteX45" fmla="*/ 25538 w 31099"/>
                  <a:gd name="connsiteY45" fmla="*/ 24222 h 30860"/>
                  <a:gd name="connsiteX46" fmla="*/ 23265 w 31099"/>
                  <a:gd name="connsiteY46" fmla="*/ 26495 h 30860"/>
                  <a:gd name="connsiteX47" fmla="*/ 22248 w 31099"/>
                  <a:gd name="connsiteY47" fmla="*/ 27571 h 30860"/>
                  <a:gd name="connsiteX48" fmla="*/ 21650 w 31099"/>
                  <a:gd name="connsiteY48" fmla="*/ 27990 h 30860"/>
                  <a:gd name="connsiteX49" fmla="*/ 19019 w 31099"/>
                  <a:gd name="connsiteY49" fmla="*/ 29844 h 30860"/>
                  <a:gd name="connsiteX50" fmla="*/ 18540 w 31099"/>
                  <a:gd name="connsiteY50" fmla="*/ 30203 h 30860"/>
                  <a:gd name="connsiteX51" fmla="*/ 17763 w 31099"/>
                  <a:gd name="connsiteY51" fmla="*/ 30561 h 30860"/>
                  <a:gd name="connsiteX52" fmla="*/ 17583 w 31099"/>
                  <a:gd name="connsiteY52" fmla="*/ 30681 h 30860"/>
                  <a:gd name="connsiteX53" fmla="*/ 17583 w 31099"/>
                  <a:gd name="connsiteY53" fmla="*/ 30681 h 30860"/>
                  <a:gd name="connsiteX54" fmla="*/ 17225 w 31099"/>
                  <a:gd name="connsiteY54" fmla="*/ 30861 h 30860"/>
                  <a:gd name="connsiteX55" fmla="*/ 17225 w 31099"/>
                  <a:gd name="connsiteY55" fmla="*/ 30861 h 3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1099" h="30860">
                    <a:moveTo>
                      <a:pt x="2691" y="28648"/>
                    </a:moveTo>
                    <a:lnTo>
                      <a:pt x="897" y="26435"/>
                    </a:lnTo>
                    <a:lnTo>
                      <a:pt x="778" y="26016"/>
                    </a:lnTo>
                    <a:lnTo>
                      <a:pt x="179" y="24102"/>
                    </a:lnTo>
                    <a:lnTo>
                      <a:pt x="0" y="23444"/>
                    </a:lnTo>
                    <a:lnTo>
                      <a:pt x="0" y="21531"/>
                    </a:lnTo>
                    <a:lnTo>
                      <a:pt x="0" y="20394"/>
                    </a:lnTo>
                    <a:lnTo>
                      <a:pt x="0" y="20335"/>
                    </a:lnTo>
                    <a:lnTo>
                      <a:pt x="0" y="20155"/>
                    </a:lnTo>
                    <a:lnTo>
                      <a:pt x="0" y="19916"/>
                    </a:lnTo>
                    <a:lnTo>
                      <a:pt x="837" y="16806"/>
                    </a:lnTo>
                    <a:lnTo>
                      <a:pt x="1017" y="16148"/>
                    </a:lnTo>
                    <a:lnTo>
                      <a:pt x="2333" y="13457"/>
                    </a:lnTo>
                    <a:lnTo>
                      <a:pt x="2452" y="13217"/>
                    </a:lnTo>
                    <a:lnTo>
                      <a:pt x="2930" y="12260"/>
                    </a:lnTo>
                    <a:lnTo>
                      <a:pt x="4785" y="9569"/>
                    </a:lnTo>
                    <a:lnTo>
                      <a:pt x="5382" y="8732"/>
                    </a:lnTo>
                    <a:lnTo>
                      <a:pt x="5502" y="8552"/>
                    </a:lnTo>
                    <a:lnTo>
                      <a:pt x="7775" y="6220"/>
                    </a:lnTo>
                    <a:lnTo>
                      <a:pt x="8672" y="5263"/>
                    </a:lnTo>
                    <a:lnTo>
                      <a:pt x="11244" y="3349"/>
                    </a:lnTo>
                    <a:lnTo>
                      <a:pt x="12201" y="2632"/>
                    </a:lnTo>
                    <a:lnTo>
                      <a:pt x="15072" y="1256"/>
                    </a:lnTo>
                    <a:lnTo>
                      <a:pt x="15968" y="837"/>
                    </a:lnTo>
                    <a:lnTo>
                      <a:pt x="18959" y="120"/>
                    </a:lnTo>
                    <a:lnTo>
                      <a:pt x="19557" y="0"/>
                    </a:lnTo>
                    <a:lnTo>
                      <a:pt x="22607" y="120"/>
                    </a:lnTo>
                    <a:lnTo>
                      <a:pt x="22846" y="120"/>
                    </a:lnTo>
                    <a:lnTo>
                      <a:pt x="25538" y="1256"/>
                    </a:lnTo>
                    <a:lnTo>
                      <a:pt x="27631" y="3349"/>
                    </a:lnTo>
                    <a:lnTo>
                      <a:pt x="28050" y="3768"/>
                    </a:lnTo>
                    <a:lnTo>
                      <a:pt x="30023" y="5861"/>
                    </a:lnTo>
                    <a:lnTo>
                      <a:pt x="31040" y="8792"/>
                    </a:lnTo>
                    <a:lnTo>
                      <a:pt x="31040" y="8852"/>
                    </a:lnTo>
                    <a:lnTo>
                      <a:pt x="31100" y="12021"/>
                    </a:lnTo>
                    <a:lnTo>
                      <a:pt x="31100" y="12380"/>
                    </a:lnTo>
                    <a:lnTo>
                      <a:pt x="30801" y="13696"/>
                    </a:lnTo>
                    <a:lnTo>
                      <a:pt x="30143" y="16327"/>
                    </a:lnTo>
                    <a:lnTo>
                      <a:pt x="29844" y="16985"/>
                    </a:lnTo>
                    <a:lnTo>
                      <a:pt x="29784" y="17105"/>
                    </a:lnTo>
                    <a:lnTo>
                      <a:pt x="28946" y="18839"/>
                    </a:lnTo>
                    <a:lnTo>
                      <a:pt x="28767" y="19198"/>
                    </a:lnTo>
                    <a:lnTo>
                      <a:pt x="28229" y="20394"/>
                    </a:lnTo>
                    <a:lnTo>
                      <a:pt x="27631" y="21232"/>
                    </a:lnTo>
                    <a:lnTo>
                      <a:pt x="26375" y="23026"/>
                    </a:lnTo>
                    <a:lnTo>
                      <a:pt x="25538" y="24222"/>
                    </a:lnTo>
                    <a:lnTo>
                      <a:pt x="23265" y="26495"/>
                    </a:lnTo>
                    <a:lnTo>
                      <a:pt x="22248" y="27571"/>
                    </a:lnTo>
                    <a:lnTo>
                      <a:pt x="21650" y="27990"/>
                    </a:lnTo>
                    <a:lnTo>
                      <a:pt x="19019" y="29844"/>
                    </a:lnTo>
                    <a:lnTo>
                      <a:pt x="18540" y="30203"/>
                    </a:lnTo>
                    <a:lnTo>
                      <a:pt x="17763" y="30561"/>
                    </a:lnTo>
                    <a:lnTo>
                      <a:pt x="17583" y="30681"/>
                    </a:lnTo>
                    <a:lnTo>
                      <a:pt x="17583" y="30681"/>
                    </a:lnTo>
                    <a:lnTo>
                      <a:pt x="17225" y="30861"/>
                    </a:lnTo>
                    <a:lnTo>
                      <a:pt x="17225" y="30861"/>
                    </a:lnTo>
                  </a:path>
                </a:pathLst>
              </a:custGeom>
              <a:noFill/>
              <a:ln w="6350" cap="rnd">
                <a:solidFill>
                  <a:schemeClr val="bg1">
                    <a:alpha val="80000"/>
                  </a:schemeClr>
                </a:solidFill>
                <a:prstDash val="solid"/>
                <a:round/>
              </a:ln>
            </p:spPr>
            <p:txBody>
              <a:bodyPr rtlCol="0" anchor="ctr"/>
              <a:lstStyle/>
              <a:p>
                <a:endParaRPr lang="en-GB"/>
              </a:p>
            </p:txBody>
          </p:sp>
          <p:sp>
            <p:nvSpPr>
              <p:cNvPr id="5761" name="Vrije vorm: vorm 5760">
                <a:extLst>
                  <a:ext uri="{FF2B5EF4-FFF2-40B4-BE49-F238E27FC236}">
                    <a16:creationId xmlns:a16="http://schemas.microsoft.com/office/drawing/2014/main" id="{814E8BF6-A913-42ED-B935-E1D3304A5F23}"/>
                  </a:ext>
                </a:extLst>
              </p:cNvPr>
              <p:cNvSpPr/>
              <p:nvPr/>
            </p:nvSpPr>
            <p:spPr>
              <a:xfrm>
                <a:off x="6659374" y="1588998"/>
                <a:ext cx="25956" cy="29066"/>
              </a:xfrm>
              <a:custGeom>
                <a:avLst/>
                <a:gdLst>
                  <a:gd name="connsiteX0" fmla="*/ 0 w 25956"/>
                  <a:gd name="connsiteY0" fmla="*/ 27452 h 29066"/>
                  <a:gd name="connsiteX1" fmla="*/ 2572 w 25956"/>
                  <a:gd name="connsiteY1" fmla="*/ 28767 h 29066"/>
                  <a:gd name="connsiteX2" fmla="*/ 5562 w 25956"/>
                  <a:gd name="connsiteY2" fmla="*/ 29066 h 29066"/>
                  <a:gd name="connsiteX3" fmla="*/ 5801 w 25956"/>
                  <a:gd name="connsiteY3" fmla="*/ 29066 h 29066"/>
                  <a:gd name="connsiteX4" fmla="*/ 8672 w 25956"/>
                  <a:gd name="connsiteY4" fmla="*/ 28468 h 29066"/>
                  <a:gd name="connsiteX5" fmla="*/ 9449 w 25956"/>
                  <a:gd name="connsiteY5" fmla="*/ 28289 h 29066"/>
                  <a:gd name="connsiteX6" fmla="*/ 9988 w 25956"/>
                  <a:gd name="connsiteY6" fmla="*/ 28050 h 29066"/>
                  <a:gd name="connsiteX7" fmla="*/ 10048 w 25956"/>
                  <a:gd name="connsiteY7" fmla="*/ 28050 h 29066"/>
                  <a:gd name="connsiteX8" fmla="*/ 12559 w 25956"/>
                  <a:gd name="connsiteY8" fmla="*/ 26853 h 29066"/>
                  <a:gd name="connsiteX9" fmla="*/ 13277 w 25956"/>
                  <a:gd name="connsiteY9" fmla="*/ 26554 h 29066"/>
                  <a:gd name="connsiteX10" fmla="*/ 14712 w 25956"/>
                  <a:gd name="connsiteY10" fmla="*/ 25538 h 29066"/>
                  <a:gd name="connsiteX11" fmla="*/ 16985 w 25956"/>
                  <a:gd name="connsiteY11" fmla="*/ 23923 h 29066"/>
                  <a:gd name="connsiteX12" fmla="*/ 19138 w 25956"/>
                  <a:gd name="connsiteY12" fmla="*/ 21770 h 29066"/>
                  <a:gd name="connsiteX13" fmla="*/ 20334 w 25956"/>
                  <a:gd name="connsiteY13" fmla="*/ 20574 h 29066"/>
                  <a:gd name="connsiteX14" fmla="*/ 22248 w 25956"/>
                  <a:gd name="connsiteY14" fmla="*/ 17882 h 29066"/>
                  <a:gd name="connsiteX15" fmla="*/ 22846 w 25956"/>
                  <a:gd name="connsiteY15" fmla="*/ 17045 h 29066"/>
                  <a:gd name="connsiteX16" fmla="*/ 23086 w 25956"/>
                  <a:gd name="connsiteY16" fmla="*/ 16686 h 29066"/>
                  <a:gd name="connsiteX17" fmla="*/ 23683 w 25956"/>
                  <a:gd name="connsiteY17" fmla="*/ 15430 h 29066"/>
                  <a:gd name="connsiteX18" fmla="*/ 24342 w 25956"/>
                  <a:gd name="connsiteY18" fmla="*/ 14055 h 29066"/>
                  <a:gd name="connsiteX19" fmla="*/ 24999 w 25956"/>
                  <a:gd name="connsiteY19" fmla="*/ 12619 h 29066"/>
                  <a:gd name="connsiteX20" fmla="*/ 25657 w 25956"/>
                  <a:gd name="connsiteY20" fmla="*/ 9988 h 29066"/>
                  <a:gd name="connsiteX21" fmla="*/ 25956 w 25956"/>
                  <a:gd name="connsiteY21" fmla="*/ 8672 h 29066"/>
                  <a:gd name="connsiteX22" fmla="*/ 25896 w 25956"/>
                  <a:gd name="connsiteY22" fmla="*/ 5502 h 29066"/>
                  <a:gd name="connsiteX23" fmla="*/ 25896 w 25956"/>
                  <a:gd name="connsiteY23" fmla="*/ 5084 h 29066"/>
                  <a:gd name="connsiteX24" fmla="*/ 24880 w 25956"/>
                  <a:gd name="connsiteY24" fmla="*/ 2153 h 29066"/>
                  <a:gd name="connsiteX25" fmla="*/ 24880 w 25956"/>
                  <a:gd name="connsiteY25" fmla="*/ 2093 h 29066"/>
                  <a:gd name="connsiteX26" fmla="*/ 22906 w 25956"/>
                  <a:gd name="connsiteY26" fmla="*/ 0 h 2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956" h="29066">
                    <a:moveTo>
                      <a:pt x="0" y="27452"/>
                    </a:moveTo>
                    <a:lnTo>
                      <a:pt x="2572" y="28767"/>
                    </a:lnTo>
                    <a:lnTo>
                      <a:pt x="5562" y="29066"/>
                    </a:lnTo>
                    <a:lnTo>
                      <a:pt x="5801" y="29066"/>
                    </a:lnTo>
                    <a:lnTo>
                      <a:pt x="8672" y="28468"/>
                    </a:lnTo>
                    <a:lnTo>
                      <a:pt x="9449" y="28289"/>
                    </a:lnTo>
                    <a:lnTo>
                      <a:pt x="9988" y="28050"/>
                    </a:lnTo>
                    <a:lnTo>
                      <a:pt x="10048" y="28050"/>
                    </a:lnTo>
                    <a:lnTo>
                      <a:pt x="12559" y="26853"/>
                    </a:lnTo>
                    <a:lnTo>
                      <a:pt x="13277" y="26554"/>
                    </a:lnTo>
                    <a:lnTo>
                      <a:pt x="14712" y="25538"/>
                    </a:lnTo>
                    <a:lnTo>
                      <a:pt x="16985" y="23923"/>
                    </a:lnTo>
                    <a:lnTo>
                      <a:pt x="19138" y="21770"/>
                    </a:lnTo>
                    <a:lnTo>
                      <a:pt x="20334" y="20574"/>
                    </a:lnTo>
                    <a:lnTo>
                      <a:pt x="22248" y="17882"/>
                    </a:lnTo>
                    <a:lnTo>
                      <a:pt x="22846" y="17045"/>
                    </a:lnTo>
                    <a:lnTo>
                      <a:pt x="23086" y="16686"/>
                    </a:lnTo>
                    <a:lnTo>
                      <a:pt x="23683" y="15430"/>
                    </a:lnTo>
                    <a:lnTo>
                      <a:pt x="24342" y="14055"/>
                    </a:lnTo>
                    <a:lnTo>
                      <a:pt x="24999" y="12619"/>
                    </a:lnTo>
                    <a:lnTo>
                      <a:pt x="25657" y="9988"/>
                    </a:lnTo>
                    <a:lnTo>
                      <a:pt x="25956" y="8672"/>
                    </a:lnTo>
                    <a:lnTo>
                      <a:pt x="25896" y="5502"/>
                    </a:lnTo>
                    <a:lnTo>
                      <a:pt x="25896" y="5084"/>
                    </a:lnTo>
                    <a:lnTo>
                      <a:pt x="24880" y="2153"/>
                    </a:lnTo>
                    <a:lnTo>
                      <a:pt x="24880" y="2093"/>
                    </a:lnTo>
                    <a:lnTo>
                      <a:pt x="22906" y="0"/>
                    </a:lnTo>
                  </a:path>
                </a:pathLst>
              </a:custGeom>
              <a:noFill/>
              <a:ln w="6350" cap="rnd">
                <a:solidFill>
                  <a:schemeClr val="bg1">
                    <a:alpha val="80000"/>
                  </a:schemeClr>
                </a:solidFill>
                <a:prstDash val="solid"/>
                <a:round/>
              </a:ln>
            </p:spPr>
            <p:txBody>
              <a:bodyPr rtlCol="0" anchor="ctr"/>
              <a:lstStyle/>
              <a:p>
                <a:endParaRPr lang="en-GB"/>
              </a:p>
            </p:txBody>
          </p:sp>
          <p:sp>
            <p:nvSpPr>
              <p:cNvPr id="5762" name="Vrije vorm: vorm 5761">
                <a:extLst>
                  <a:ext uri="{FF2B5EF4-FFF2-40B4-BE49-F238E27FC236}">
                    <a16:creationId xmlns:a16="http://schemas.microsoft.com/office/drawing/2014/main" id="{AC67EF41-62B4-454A-9C4B-2CE3DEC54DDF}"/>
                  </a:ext>
                </a:extLst>
              </p:cNvPr>
              <p:cNvSpPr/>
              <p:nvPr/>
            </p:nvSpPr>
            <p:spPr>
              <a:xfrm>
                <a:off x="6660331" y="1591450"/>
                <a:ext cx="8971" cy="9389"/>
              </a:xfrm>
              <a:custGeom>
                <a:avLst/>
                <a:gdLst>
                  <a:gd name="connsiteX0" fmla="*/ 0 w 8971"/>
                  <a:gd name="connsiteY0" fmla="*/ 9390 h 9389"/>
                  <a:gd name="connsiteX1" fmla="*/ 479 w 8971"/>
                  <a:gd name="connsiteY1" fmla="*/ 8373 h 9389"/>
                  <a:gd name="connsiteX2" fmla="*/ 1375 w 8971"/>
                  <a:gd name="connsiteY2" fmla="*/ 7057 h 9389"/>
                  <a:gd name="connsiteX3" fmla="*/ 837 w 8971"/>
                  <a:gd name="connsiteY3" fmla="*/ 6579 h 9389"/>
                  <a:gd name="connsiteX4" fmla="*/ 1854 w 8971"/>
                  <a:gd name="connsiteY4" fmla="*/ 5084 h 9389"/>
                  <a:gd name="connsiteX5" fmla="*/ 2034 w 8971"/>
                  <a:gd name="connsiteY5" fmla="*/ 4785 h 9389"/>
                  <a:gd name="connsiteX6" fmla="*/ 4306 w 8971"/>
                  <a:gd name="connsiteY6" fmla="*/ 2452 h 9389"/>
                  <a:gd name="connsiteX7" fmla="*/ 4665 w 8971"/>
                  <a:gd name="connsiteY7" fmla="*/ 2093 h 9389"/>
                  <a:gd name="connsiteX8" fmla="*/ 6399 w 8971"/>
                  <a:gd name="connsiteY8" fmla="*/ 837 h 9389"/>
                  <a:gd name="connsiteX9" fmla="*/ 6938 w 8971"/>
                  <a:gd name="connsiteY9" fmla="*/ 1316 h 9389"/>
                  <a:gd name="connsiteX10" fmla="*/ 8134 w 8971"/>
                  <a:gd name="connsiteY10" fmla="*/ 419 h 9389"/>
                  <a:gd name="connsiteX11" fmla="*/ 8971 w 8971"/>
                  <a:gd name="connsiteY11" fmla="*/ 0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71" h="9389">
                    <a:moveTo>
                      <a:pt x="0" y="9390"/>
                    </a:moveTo>
                    <a:lnTo>
                      <a:pt x="479" y="8373"/>
                    </a:lnTo>
                    <a:lnTo>
                      <a:pt x="1375" y="7057"/>
                    </a:lnTo>
                    <a:lnTo>
                      <a:pt x="837" y="6579"/>
                    </a:lnTo>
                    <a:lnTo>
                      <a:pt x="1854" y="5084"/>
                    </a:lnTo>
                    <a:lnTo>
                      <a:pt x="2034" y="4785"/>
                    </a:lnTo>
                    <a:lnTo>
                      <a:pt x="4306" y="2452"/>
                    </a:lnTo>
                    <a:lnTo>
                      <a:pt x="4665" y="2093"/>
                    </a:lnTo>
                    <a:lnTo>
                      <a:pt x="6399" y="837"/>
                    </a:lnTo>
                    <a:lnTo>
                      <a:pt x="6938" y="1316"/>
                    </a:lnTo>
                    <a:lnTo>
                      <a:pt x="8134" y="419"/>
                    </a:lnTo>
                    <a:lnTo>
                      <a:pt x="8971" y="0"/>
                    </a:lnTo>
                  </a:path>
                </a:pathLst>
              </a:custGeom>
              <a:noFill/>
              <a:ln w="6350" cap="rnd">
                <a:solidFill>
                  <a:schemeClr val="bg1">
                    <a:alpha val="80000"/>
                  </a:schemeClr>
                </a:solidFill>
                <a:prstDash val="solid"/>
                <a:round/>
              </a:ln>
            </p:spPr>
            <p:txBody>
              <a:bodyPr rtlCol="0" anchor="ctr"/>
              <a:lstStyle/>
              <a:p>
                <a:endParaRPr lang="en-GB"/>
              </a:p>
            </p:txBody>
          </p:sp>
          <p:sp>
            <p:nvSpPr>
              <p:cNvPr id="5763" name="Vrije vorm: vorm 5762">
                <a:extLst>
                  <a:ext uri="{FF2B5EF4-FFF2-40B4-BE49-F238E27FC236}">
                    <a16:creationId xmlns:a16="http://schemas.microsoft.com/office/drawing/2014/main" id="{D53B749C-EBC1-4A15-BE56-CD5C4EDC2413}"/>
                  </a:ext>
                </a:extLst>
              </p:cNvPr>
              <p:cNvSpPr/>
              <p:nvPr/>
            </p:nvSpPr>
            <p:spPr>
              <a:xfrm>
                <a:off x="6667508" y="1589178"/>
                <a:ext cx="8073" cy="8492"/>
              </a:xfrm>
              <a:custGeom>
                <a:avLst/>
                <a:gdLst>
                  <a:gd name="connsiteX0" fmla="*/ 0 w 8073"/>
                  <a:gd name="connsiteY0" fmla="*/ 8493 h 8492"/>
                  <a:gd name="connsiteX1" fmla="*/ 419 w 8073"/>
                  <a:gd name="connsiteY1" fmla="*/ 8253 h 8492"/>
                  <a:gd name="connsiteX2" fmla="*/ 2512 w 8073"/>
                  <a:gd name="connsiteY2" fmla="*/ 6997 h 8492"/>
                  <a:gd name="connsiteX3" fmla="*/ 2213 w 8073"/>
                  <a:gd name="connsiteY3" fmla="*/ 4964 h 8492"/>
                  <a:gd name="connsiteX4" fmla="*/ 1974 w 8073"/>
                  <a:gd name="connsiteY4" fmla="*/ 3349 h 8492"/>
                  <a:gd name="connsiteX5" fmla="*/ 1794 w 8073"/>
                  <a:gd name="connsiteY5" fmla="*/ 2332 h 8492"/>
                  <a:gd name="connsiteX6" fmla="*/ 1674 w 8073"/>
                  <a:gd name="connsiteY6" fmla="*/ 1615 h 8492"/>
                  <a:gd name="connsiteX7" fmla="*/ 3469 w 8073"/>
                  <a:gd name="connsiteY7" fmla="*/ 718 h 8492"/>
                  <a:gd name="connsiteX8" fmla="*/ 6399 w 8073"/>
                  <a:gd name="connsiteY8" fmla="*/ 0 h 8492"/>
                  <a:gd name="connsiteX9" fmla="*/ 8074 w 8073"/>
                  <a:gd name="connsiteY9" fmla="*/ 60 h 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3" h="8492">
                    <a:moveTo>
                      <a:pt x="0" y="8493"/>
                    </a:moveTo>
                    <a:lnTo>
                      <a:pt x="419" y="8253"/>
                    </a:lnTo>
                    <a:lnTo>
                      <a:pt x="2512" y="6997"/>
                    </a:lnTo>
                    <a:lnTo>
                      <a:pt x="2213" y="4964"/>
                    </a:lnTo>
                    <a:lnTo>
                      <a:pt x="1974" y="3349"/>
                    </a:lnTo>
                    <a:lnTo>
                      <a:pt x="1794" y="2332"/>
                    </a:lnTo>
                    <a:lnTo>
                      <a:pt x="1674" y="1615"/>
                    </a:lnTo>
                    <a:lnTo>
                      <a:pt x="3469" y="718"/>
                    </a:lnTo>
                    <a:lnTo>
                      <a:pt x="6399" y="0"/>
                    </a:lnTo>
                    <a:lnTo>
                      <a:pt x="8074" y="60"/>
                    </a:lnTo>
                  </a:path>
                </a:pathLst>
              </a:custGeom>
              <a:noFill/>
              <a:ln w="6350" cap="rnd">
                <a:solidFill>
                  <a:schemeClr val="bg1">
                    <a:alpha val="80000"/>
                  </a:schemeClr>
                </a:solidFill>
                <a:prstDash val="solid"/>
                <a:round/>
              </a:ln>
            </p:spPr>
            <p:txBody>
              <a:bodyPr rtlCol="0" anchor="ctr"/>
              <a:lstStyle/>
              <a:p>
                <a:endParaRPr lang="en-GB"/>
              </a:p>
            </p:txBody>
          </p:sp>
          <p:sp>
            <p:nvSpPr>
              <p:cNvPr id="5764" name="Vrije vorm: vorm 5763">
                <a:extLst>
                  <a:ext uri="{FF2B5EF4-FFF2-40B4-BE49-F238E27FC236}">
                    <a16:creationId xmlns:a16="http://schemas.microsoft.com/office/drawing/2014/main" id="{CDEC2679-C31A-40B3-85AD-01BF26335B26}"/>
                  </a:ext>
                </a:extLst>
              </p:cNvPr>
              <p:cNvSpPr/>
              <p:nvPr/>
            </p:nvSpPr>
            <p:spPr>
              <a:xfrm>
                <a:off x="6671874" y="1589297"/>
                <a:ext cx="8253" cy="6877"/>
              </a:xfrm>
              <a:custGeom>
                <a:avLst/>
                <a:gdLst>
                  <a:gd name="connsiteX0" fmla="*/ 8253 w 8253"/>
                  <a:gd name="connsiteY0" fmla="*/ 2273 h 6877"/>
                  <a:gd name="connsiteX1" fmla="*/ 6998 w 8253"/>
                  <a:gd name="connsiteY1" fmla="*/ 1017 h 6877"/>
                  <a:gd name="connsiteX2" fmla="*/ 6878 w 8253"/>
                  <a:gd name="connsiteY2" fmla="*/ 957 h 6877"/>
                  <a:gd name="connsiteX3" fmla="*/ 5682 w 8253"/>
                  <a:gd name="connsiteY3" fmla="*/ 419 h 6877"/>
                  <a:gd name="connsiteX4" fmla="*/ 5562 w 8253"/>
                  <a:gd name="connsiteY4" fmla="*/ 658 h 6877"/>
                  <a:gd name="connsiteX5" fmla="*/ 5203 w 8253"/>
                  <a:gd name="connsiteY5" fmla="*/ 1256 h 6877"/>
                  <a:gd name="connsiteX6" fmla="*/ 5143 w 8253"/>
                  <a:gd name="connsiteY6" fmla="*/ 1376 h 6877"/>
                  <a:gd name="connsiteX7" fmla="*/ 3469 w 8253"/>
                  <a:gd name="connsiteY7" fmla="*/ 4186 h 6877"/>
                  <a:gd name="connsiteX8" fmla="*/ 2333 w 8253"/>
                  <a:gd name="connsiteY8" fmla="*/ 6100 h 6877"/>
                  <a:gd name="connsiteX9" fmla="*/ 2333 w 8253"/>
                  <a:gd name="connsiteY9" fmla="*/ 6100 h 6877"/>
                  <a:gd name="connsiteX10" fmla="*/ 1854 w 8253"/>
                  <a:gd name="connsiteY10" fmla="*/ 6878 h 6877"/>
                  <a:gd name="connsiteX11" fmla="*/ 1076 w 8253"/>
                  <a:gd name="connsiteY11" fmla="*/ 6698 h 6877"/>
                  <a:gd name="connsiteX12" fmla="*/ 1076 w 8253"/>
                  <a:gd name="connsiteY12" fmla="*/ 6698 h 6877"/>
                  <a:gd name="connsiteX13" fmla="*/ 718 w 8253"/>
                  <a:gd name="connsiteY13" fmla="*/ 6639 h 6877"/>
                  <a:gd name="connsiteX14" fmla="*/ 0 w 8253"/>
                  <a:gd name="connsiteY14" fmla="*/ 6459 h 6877"/>
                  <a:gd name="connsiteX15" fmla="*/ 1675 w 8253"/>
                  <a:gd name="connsiteY15" fmla="*/ 3648 h 6877"/>
                  <a:gd name="connsiteX16" fmla="*/ 2512 w 8253"/>
                  <a:gd name="connsiteY16" fmla="*/ 2213 h 6877"/>
                  <a:gd name="connsiteX17" fmla="*/ 3050 w 8253"/>
                  <a:gd name="connsiteY17" fmla="*/ 1256 h 6877"/>
                  <a:gd name="connsiteX18" fmla="*/ 3828 w 8253"/>
                  <a:gd name="connsiteY18" fmla="*/ 0 h 6877"/>
                  <a:gd name="connsiteX19" fmla="*/ 4366 w 8253"/>
                  <a:gd name="connsiteY19" fmla="*/ 478 h 6877"/>
                  <a:gd name="connsiteX20" fmla="*/ 5383 w 8253"/>
                  <a:gd name="connsiteY20" fmla="*/ 538 h 6877"/>
                  <a:gd name="connsiteX21" fmla="*/ 5562 w 8253"/>
                  <a:gd name="connsiteY21" fmla="*/ 598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253" h="6877">
                    <a:moveTo>
                      <a:pt x="8253" y="2273"/>
                    </a:moveTo>
                    <a:lnTo>
                      <a:pt x="6998" y="1017"/>
                    </a:lnTo>
                    <a:lnTo>
                      <a:pt x="6878" y="957"/>
                    </a:lnTo>
                    <a:lnTo>
                      <a:pt x="5682" y="419"/>
                    </a:lnTo>
                    <a:lnTo>
                      <a:pt x="5562" y="658"/>
                    </a:lnTo>
                    <a:lnTo>
                      <a:pt x="5203" y="1256"/>
                    </a:lnTo>
                    <a:lnTo>
                      <a:pt x="5143" y="1376"/>
                    </a:lnTo>
                    <a:lnTo>
                      <a:pt x="3469" y="4186"/>
                    </a:lnTo>
                    <a:lnTo>
                      <a:pt x="2333" y="6100"/>
                    </a:lnTo>
                    <a:lnTo>
                      <a:pt x="2333" y="6100"/>
                    </a:lnTo>
                    <a:lnTo>
                      <a:pt x="1854" y="6878"/>
                    </a:lnTo>
                    <a:lnTo>
                      <a:pt x="1076" y="6698"/>
                    </a:lnTo>
                    <a:lnTo>
                      <a:pt x="1076" y="6698"/>
                    </a:lnTo>
                    <a:lnTo>
                      <a:pt x="718" y="6639"/>
                    </a:lnTo>
                    <a:lnTo>
                      <a:pt x="0" y="6459"/>
                    </a:lnTo>
                    <a:lnTo>
                      <a:pt x="1675" y="3648"/>
                    </a:lnTo>
                    <a:lnTo>
                      <a:pt x="2512" y="2213"/>
                    </a:lnTo>
                    <a:lnTo>
                      <a:pt x="3050" y="1256"/>
                    </a:lnTo>
                    <a:lnTo>
                      <a:pt x="3828" y="0"/>
                    </a:lnTo>
                    <a:lnTo>
                      <a:pt x="4366" y="478"/>
                    </a:lnTo>
                    <a:lnTo>
                      <a:pt x="5383" y="538"/>
                    </a:lnTo>
                    <a:lnTo>
                      <a:pt x="5562" y="598"/>
                    </a:lnTo>
                  </a:path>
                </a:pathLst>
              </a:custGeom>
              <a:noFill/>
              <a:ln w="6350" cap="rnd">
                <a:solidFill>
                  <a:schemeClr val="bg1">
                    <a:alpha val="80000"/>
                  </a:schemeClr>
                </a:solidFill>
                <a:prstDash val="solid"/>
                <a:round/>
              </a:ln>
            </p:spPr>
            <p:txBody>
              <a:bodyPr rtlCol="0" anchor="ctr"/>
              <a:lstStyle/>
              <a:p>
                <a:endParaRPr lang="en-GB"/>
              </a:p>
            </p:txBody>
          </p:sp>
          <p:sp>
            <p:nvSpPr>
              <p:cNvPr id="5765" name="Vrije vorm: vorm 5764">
                <a:extLst>
                  <a:ext uri="{FF2B5EF4-FFF2-40B4-BE49-F238E27FC236}">
                    <a16:creationId xmlns:a16="http://schemas.microsoft.com/office/drawing/2014/main" id="{B0D90220-B9F2-4CB7-8432-CED4439C23D4}"/>
                  </a:ext>
                </a:extLst>
              </p:cNvPr>
              <p:cNvSpPr/>
              <p:nvPr/>
            </p:nvSpPr>
            <p:spPr>
              <a:xfrm>
                <a:off x="6678811" y="1590314"/>
                <a:ext cx="2152" cy="3289"/>
              </a:xfrm>
              <a:custGeom>
                <a:avLst/>
                <a:gdLst>
                  <a:gd name="connsiteX0" fmla="*/ 2153 w 2152"/>
                  <a:gd name="connsiteY0" fmla="*/ 3289 h 3289"/>
                  <a:gd name="connsiteX1" fmla="*/ 1615 w 2152"/>
                  <a:gd name="connsiteY1" fmla="*/ 1734 h 3289"/>
                  <a:gd name="connsiteX2" fmla="*/ 1076 w 2152"/>
                  <a:gd name="connsiteY2" fmla="*/ 1136 h 3289"/>
                  <a:gd name="connsiteX3" fmla="*/ 0 w 2152"/>
                  <a:gd name="connsiteY3" fmla="*/ 0 h 3289"/>
                </a:gdLst>
                <a:ahLst/>
                <a:cxnLst>
                  <a:cxn ang="0">
                    <a:pos x="connsiteX0" y="connsiteY0"/>
                  </a:cxn>
                  <a:cxn ang="0">
                    <a:pos x="connsiteX1" y="connsiteY1"/>
                  </a:cxn>
                  <a:cxn ang="0">
                    <a:pos x="connsiteX2" y="connsiteY2"/>
                  </a:cxn>
                  <a:cxn ang="0">
                    <a:pos x="connsiteX3" y="connsiteY3"/>
                  </a:cxn>
                </a:cxnLst>
                <a:rect l="l" t="t" r="r" b="b"/>
                <a:pathLst>
                  <a:path w="2152" h="3289">
                    <a:moveTo>
                      <a:pt x="2153" y="3289"/>
                    </a:moveTo>
                    <a:lnTo>
                      <a:pt x="1615" y="1734"/>
                    </a:lnTo>
                    <a:lnTo>
                      <a:pt x="1076" y="113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66" name="Vrije vorm: vorm 5765">
                <a:extLst>
                  <a:ext uri="{FF2B5EF4-FFF2-40B4-BE49-F238E27FC236}">
                    <a16:creationId xmlns:a16="http://schemas.microsoft.com/office/drawing/2014/main" id="{EBDFF4A0-B597-4816-9207-968119D0AD7C}"/>
                  </a:ext>
                </a:extLst>
              </p:cNvPr>
              <p:cNvSpPr/>
              <p:nvPr/>
            </p:nvSpPr>
            <p:spPr>
              <a:xfrm>
                <a:off x="6661347" y="1591570"/>
                <a:ext cx="21171" cy="23743"/>
              </a:xfrm>
              <a:custGeom>
                <a:avLst/>
                <a:gdLst>
                  <a:gd name="connsiteX0" fmla="*/ 18780 w 21171"/>
                  <a:gd name="connsiteY0" fmla="*/ 0 h 23743"/>
                  <a:gd name="connsiteX1" fmla="*/ 20335 w 21171"/>
                  <a:gd name="connsiteY1" fmla="*/ 1734 h 23743"/>
                  <a:gd name="connsiteX2" fmla="*/ 21172 w 21171"/>
                  <a:gd name="connsiteY2" fmla="*/ 4127 h 23743"/>
                  <a:gd name="connsiteX3" fmla="*/ 21172 w 21171"/>
                  <a:gd name="connsiteY3" fmla="*/ 5024 h 23743"/>
                  <a:gd name="connsiteX4" fmla="*/ 21172 w 21171"/>
                  <a:gd name="connsiteY4" fmla="*/ 5143 h 23743"/>
                  <a:gd name="connsiteX5" fmla="*/ 21172 w 21171"/>
                  <a:gd name="connsiteY5" fmla="*/ 6997 h 23743"/>
                  <a:gd name="connsiteX6" fmla="*/ 20514 w 21171"/>
                  <a:gd name="connsiteY6" fmla="*/ 9749 h 23743"/>
                  <a:gd name="connsiteX7" fmla="*/ 20394 w 21171"/>
                  <a:gd name="connsiteY7" fmla="*/ 10227 h 23743"/>
                  <a:gd name="connsiteX8" fmla="*/ 19557 w 21171"/>
                  <a:gd name="connsiteY8" fmla="*/ 12021 h 23743"/>
                  <a:gd name="connsiteX9" fmla="*/ 19497 w 21171"/>
                  <a:gd name="connsiteY9" fmla="*/ 12141 h 23743"/>
                  <a:gd name="connsiteX10" fmla="*/ 19198 w 21171"/>
                  <a:gd name="connsiteY10" fmla="*/ 12739 h 23743"/>
                  <a:gd name="connsiteX11" fmla="*/ 18780 w 21171"/>
                  <a:gd name="connsiteY11" fmla="*/ 13576 h 23743"/>
                  <a:gd name="connsiteX12" fmla="*/ 17823 w 21171"/>
                  <a:gd name="connsiteY12" fmla="*/ 14892 h 23743"/>
                  <a:gd name="connsiteX13" fmla="*/ 17643 w 21171"/>
                  <a:gd name="connsiteY13" fmla="*/ 15191 h 23743"/>
                  <a:gd name="connsiteX14" fmla="*/ 16567 w 21171"/>
                  <a:gd name="connsiteY14" fmla="*/ 16686 h 23743"/>
                  <a:gd name="connsiteX15" fmla="*/ 14294 w 21171"/>
                  <a:gd name="connsiteY15" fmla="*/ 19019 h 23743"/>
                  <a:gd name="connsiteX16" fmla="*/ 13875 w 21171"/>
                  <a:gd name="connsiteY16" fmla="*/ 19437 h 23743"/>
                  <a:gd name="connsiteX17" fmla="*/ 12978 w 21171"/>
                  <a:gd name="connsiteY17" fmla="*/ 20095 h 23743"/>
                  <a:gd name="connsiteX18" fmla="*/ 10825 w 21171"/>
                  <a:gd name="connsiteY18" fmla="*/ 21650 h 23743"/>
                  <a:gd name="connsiteX19" fmla="*/ 7954 w 21171"/>
                  <a:gd name="connsiteY19" fmla="*/ 22966 h 23743"/>
                  <a:gd name="connsiteX20" fmla="*/ 7715 w 21171"/>
                  <a:gd name="connsiteY20" fmla="*/ 23086 h 23743"/>
                  <a:gd name="connsiteX21" fmla="*/ 5742 w 21171"/>
                  <a:gd name="connsiteY21" fmla="*/ 23504 h 23743"/>
                  <a:gd name="connsiteX22" fmla="*/ 4725 w 21171"/>
                  <a:gd name="connsiteY22" fmla="*/ 23743 h 23743"/>
                  <a:gd name="connsiteX23" fmla="*/ 4426 w 21171"/>
                  <a:gd name="connsiteY23" fmla="*/ 23743 h 23743"/>
                  <a:gd name="connsiteX24" fmla="*/ 4127 w 21171"/>
                  <a:gd name="connsiteY24" fmla="*/ 23743 h 23743"/>
                  <a:gd name="connsiteX25" fmla="*/ 2153 w 21171"/>
                  <a:gd name="connsiteY25" fmla="*/ 23564 h 23743"/>
                  <a:gd name="connsiteX26" fmla="*/ 0 w 21171"/>
                  <a:gd name="connsiteY26" fmla="*/ 22487 h 2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171" h="23743">
                    <a:moveTo>
                      <a:pt x="18780" y="0"/>
                    </a:moveTo>
                    <a:lnTo>
                      <a:pt x="20335" y="1734"/>
                    </a:lnTo>
                    <a:lnTo>
                      <a:pt x="21172" y="4127"/>
                    </a:lnTo>
                    <a:lnTo>
                      <a:pt x="21172" y="5024"/>
                    </a:lnTo>
                    <a:lnTo>
                      <a:pt x="21172" y="5143"/>
                    </a:lnTo>
                    <a:lnTo>
                      <a:pt x="21172" y="6997"/>
                    </a:lnTo>
                    <a:lnTo>
                      <a:pt x="20514" y="9749"/>
                    </a:lnTo>
                    <a:lnTo>
                      <a:pt x="20394" y="10227"/>
                    </a:lnTo>
                    <a:lnTo>
                      <a:pt x="19557" y="12021"/>
                    </a:lnTo>
                    <a:lnTo>
                      <a:pt x="19497" y="12141"/>
                    </a:lnTo>
                    <a:lnTo>
                      <a:pt x="19198" y="12739"/>
                    </a:lnTo>
                    <a:lnTo>
                      <a:pt x="18780" y="13576"/>
                    </a:lnTo>
                    <a:lnTo>
                      <a:pt x="17823" y="14892"/>
                    </a:lnTo>
                    <a:lnTo>
                      <a:pt x="17643" y="15191"/>
                    </a:lnTo>
                    <a:lnTo>
                      <a:pt x="16567" y="16686"/>
                    </a:lnTo>
                    <a:lnTo>
                      <a:pt x="14294" y="19019"/>
                    </a:lnTo>
                    <a:lnTo>
                      <a:pt x="13875" y="19437"/>
                    </a:lnTo>
                    <a:lnTo>
                      <a:pt x="12978" y="20095"/>
                    </a:lnTo>
                    <a:lnTo>
                      <a:pt x="10825" y="21650"/>
                    </a:lnTo>
                    <a:lnTo>
                      <a:pt x="7954" y="22966"/>
                    </a:lnTo>
                    <a:lnTo>
                      <a:pt x="7715" y="23086"/>
                    </a:lnTo>
                    <a:lnTo>
                      <a:pt x="5742" y="23504"/>
                    </a:lnTo>
                    <a:lnTo>
                      <a:pt x="4725" y="23743"/>
                    </a:lnTo>
                    <a:lnTo>
                      <a:pt x="4426" y="23743"/>
                    </a:lnTo>
                    <a:lnTo>
                      <a:pt x="4127" y="23743"/>
                    </a:lnTo>
                    <a:lnTo>
                      <a:pt x="2153" y="23564"/>
                    </a:lnTo>
                    <a:lnTo>
                      <a:pt x="0" y="22487"/>
                    </a:lnTo>
                  </a:path>
                </a:pathLst>
              </a:custGeom>
              <a:noFill/>
              <a:ln w="6350" cap="rnd">
                <a:solidFill>
                  <a:schemeClr val="bg1">
                    <a:alpha val="80000"/>
                  </a:schemeClr>
                </a:solidFill>
                <a:prstDash val="solid"/>
                <a:round/>
              </a:ln>
            </p:spPr>
            <p:txBody>
              <a:bodyPr rtlCol="0" anchor="ctr"/>
              <a:lstStyle/>
              <a:p>
                <a:endParaRPr lang="en-GB"/>
              </a:p>
            </p:txBody>
          </p:sp>
          <p:sp>
            <p:nvSpPr>
              <p:cNvPr id="5767" name="Vrije vorm: vorm 5766">
                <a:extLst>
                  <a:ext uri="{FF2B5EF4-FFF2-40B4-BE49-F238E27FC236}">
                    <a16:creationId xmlns:a16="http://schemas.microsoft.com/office/drawing/2014/main" id="{C1961464-8174-4A37-8693-55B1642C8330}"/>
                  </a:ext>
                </a:extLst>
              </p:cNvPr>
              <p:cNvSpPr/>
              <p:nvPr/>
            </p:nvSpPr>
            <p:spPr>
              <a:xfrm>
                <a:off x="6674745" y="1593603"/>
                <a:ext cx="6757" cy="3708"/>
              </a:xfrm>
              <a:custGeom>
                <a:avLst/>
                <a:gdLst>
                  <a:gd name="connsiteX0" fmla="*/ 6758 w 6757"/>
                  <a:gd name="connsiteY0" fmla="*/ 478 h 3708"/>
                  <a:gd name="connsiteX1" fmla="*/ 6220 w 6757"/>
                  <a:gd name="connsiteY1" fmla="*/ 0 h 3708"/>
                  <a:gd name="connsiteX2" fmla="*/ 4486 w 6757"/>
                  <a:gd name="connsiteY2" fmla="*/ 1077 h 3708"/>
                  <a:gd name="connsiteX3" fmla="*/ 4486 w 6757"/>
                  <a:gd name="connsiteY3" fmla="*/ 1077 h 3708"/>
                  <a:gd name="connsiteX4" fmla="*/ 1734 w 6757"/>
                  <a:gd name="connsiteY4" fmla="*/ 2691 h 3708"/>
                  <a:gd name="connsiteX5" fmla="*/ 0 w 6757"/>
                  <a:gd name="connsiteY5" fmla="*/ 3708 h 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7" h="3708">
                    <a:moveTo>
                      <a:pt x="6758" y="478"/>
                    </a:moveTo>
                    <a:lnTo>
                      <a:pt x="6220" y="0"/>
                    </a:lnTo>
                    <a:lnTo>
                      <a:pt x="4486" y="1077"/>
                    </a:lnTo>
                    <a:lnTo>
                      <a:pt x="4486" y="1077"/>
                    </a:lnTo>
                    <a:lnTo>
                      <a:pt x="1734" y="2691"/>
                    </a:lnTo>
                    <a:lnTo>
                      <a:pt x="0" y="3708"/>
                    </a:lnTo>
                  </a:path>
                </a:pathLst>
              </a:custGeom>
              <a:noFill/>
              <a:ln w="6350" cap="rnd">
                <a:solidFill>
                  <a:schemeClr val="bg1">
                    <a:alpha val="80000"/>
                  </a:schemeClr>
                </a:solidFill>
                <a:prstDash val="solid"/>
                <a:round/>
              </a:ln>
            </p:spPr>
            <p:txBody>
              <a:bodyPr rtlCol="0" anchor="ctr"/>
              <a:lstStyle/>
              <a:p>
                <a:endParaRPr lang="en-GB"/>
              </a:p>
            </p:txBody>
          </p:sp>
          <p:sp>
            <p:nvSpPr>
              <p:cNvPr id="5768" name="Vrije vorm: vorm 5767">
                <a:extLst>
                  <a:ext uri="{FF2B5EF4-FFF2-40B4-BE49-F238E27FC236}">
                    <a16:creationId xmlns:a16="http://schemas.microsoft.com/office/drawing/2014/main" id="{648DF5D5-3948-4A07-86A3-2BB3ADD82D78}"/>
                  </a:ext>
                </a:extLst>
              </p:cNvPr>
              <p:cNvSpPr/>
              <p:nvPr/>
            </p:nvSpPr>
            <p:spPr>
              <a:xfrm>
                <a:off x="6675044" y="1594082"/>
                <a:ext cx="6818" cy="5083"/>
              </a:xfrm>
              <a:custGeom>
                <a:avLst/>
                <a:gdLst>
                  <a:gd name="connsiteX0" fmla="*/ 0 w 6818"/>
                  <a:gd name="connsiteY0" fmla="*/ 5084 h 5083"/>
                  <a:gd name="connsiteX1" fmla="*/ 419 w 6818"/>
                  <a:gd name="connsiteY1" fmla="*/ 4844 h 5083"/>
                  <a:gd name="connsiteX2" fmla="*/ 3170 w 6818"/>
                  <a:gd name="connsiteY2" fmla="*/ 3170 h 5083"/>
                  <a:gd name="connsiteX3" fmla="*/ 5921 w 6818"/>
                  <a:gd name="connsiteY3" fmla="*/ 1495 h 5083"/>
                  <a:gd name="connsiteX4" fmla="*/ 6280 w 6818"/>
                  <a:gd name="connsiteY4" fmla="*/ 1316 h 5083"/>
                  <a:gd name="connsiteX5" fmla="*/ 6280 w 6818"/>
                  <a:gd name="connsiteY5" fmla="*/ 1316 h 5083"/>
                  <a:gd name="connsiteX6" fmla="*/ 6280 w 6818"/>
                  <a:gd name="connsiteY6" fmla="*/ 1316 h 5083"/>
                  <a:gd name="connsiteX7" fmla="*/ 6340 w 6818"/>
                  <a:gd name="connsiteY7" fmla="*/ 1376 h 5083"/>
                  <a:gd name="connsiteX8" fmla="*/ 6340 w 6818"/>
                  <a:gd name="connsiteY8" fmla="*/ 1376 h 5083"/>
                  <a:gd name="connsiteX9" fmla="*/ 6818 w 6818"/>
                  <a:gd name="connsiteY9" fmla="*/ 1854 h 5083"/>
                  <a:gd name="connsiteX10" fmla="*/ 6818 w 6818"/>
                  <a:gd name="connsiteY10" fmla="*/ 1794 h 5083"/>
                  <a:gd name="connsiteX11" fmla="*/ 6818 w 6818"/>
                  <a:gd name="connsiteY11" fmla="*/ 1734 h 5083"/>
                  <a:gd name="connsiteX12" fmla="*/ 6818 w 6818"/>
                  <a:gd name="connsiteY12" fmla="*/ 837 h 5083"/>
                  <a:gd name="connsiteX13" fmla="*/ 6519 w 6818"/>
                  <a:gd name="connsiteY13" fmla="*/ 0 h 5083"/>
                  <a:gd name="connsiteX14" fmla="*/ 5143 w 6818"/>
                  <a:gd name="connsiteY14" fmla="*/ 837 h 5083"/>
                  <a:gd name="connsiteX15" fmla="*/ 5143 w 6818"/>
                  <a:gd name="connsiteY15" fmla="*/ 837 h 5083"/>
                  <a:gd name="connsiteX16" fmla="*/ 2392 w 6818"/>
                  <a:gd name="connsiteY16" fmla="*/ 2452 h 5083"/>
                  <a:gd name="connsiteX17" fmla="*/ 299 w 6818"/>
                  <a:gd name="connsiteY17" fmla="*/ 3708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18" h="5083">
                    <a:moveTo>
                      <a:pt x="0" y="5084"/>
                    </a:moveTo>
                    <a:lnTo>
                      <a:pt x="419" y="4844"/>
                    </a:lnTo>
                    <a:lnTo>
                      <a:pt x="3170" y="3170"/>
                    </a:lnTo>
                    <a:lnTo>
                      <a:pt x="5921" y="1495"/>
                    </a:lnTo>
                    <a:lnTo>
                      <a:pt x="6280" y="1316"/>
                    </a:lnTo>
                    <a:lnTo>
                      <a:pt x="6280" y="1316"/>
                    </a:lnTo>
                    <a:lnTo>
                      <a:pt x="6280" y="1316"/>
                    </a:lnTo>
                    <a:lnTo>
                      <a:pt x="6340" y="1376"/>
                    </a:lnTo>
                    <a:lnTo>
                      <a:pt x="6340" y="1376"/>
                    </a:lnTo>
                    <a:lnTo>
                      <a:pt x="6818" y="1854"/>
                    </a:lnTo>
                    <a:lnTo>
                      <a:pt x="6818" y="1794"/>
                    </a:lnTo>
                    <a:lnTo>
                      <a:pt x="6818" y="1734"/>
                    </a:lnTo>
                    <a:lnTo>
                      <a:pt x="6818" y="837"/>
                    </a:lnTo>
                    <a:lnTo>
                      <a:pt x="6519" y="0"/>
                    </a:lnTo>
                    <a:lnTo>
                      <a:pt x="5143" y="837"/>
                    </a:lnTo>
                    <a:lnTo>
                      <a:pt x="5143" y="837"/>
                    </a:lnTo>
                    <a:lnTo>
                      <a:pt x="2392" y="2452"/>
                    </a:lnTo>
                    <a:lnTo>
                      <a:pt x="299" y="3708"/>
                    </a:lnTo>
                  </a:path>
                </a:pathLst>
              </a:custGeom>
              <a:noFill/>
              <a:ln w="6350" cap="rnd">
                <a:solidFill>
                  <a:schemeClr val="bg1">
                    <a:alpha val="80000"/>
                  </a:schemeClr>
                </a:solidFill>
                <a:prstDash val="solid"/>
                <a:round/>
              </a:ln>
            </p:spPr>
            <p:txBody>
              <a:bodyPr rtlCol="0" anchor="ctr"/>
              <a:lstStyle/>
              <a:p>
                <a:endParaRPr lang="en-GB"/>
              </a:p>
            </p:txBody>
          </p:sp>
          <p:sp>
            <p:nvSpPr>
              <p:cNvPr id="5769" name="Vrije vorm: vorm 5768">
                <a:extLst>
                  <a:ext uri="{FF2B5EF4-FFF2-40B4-BE49-F238E27FC236}">
                    <a16:creationId xmlns:a16="http://schemas.microsoft.com/office/drawing/2014/main" id="{5A084833-4105-4EA8-A4BA-E6407F7FA15B}"/>
                  </a:ext>
                </a:extLst>
              </p:cNvPr>
              <p:cNvSpPr/>
              <p:nvPr/>
            </p:nvSpPr>
            <p:spPr>
              <a:xfrm>
                <a:off x="6679589" y="1595398"/>
                <a:ext cx="1674" cy="7057"/>
              </a:xfrm>
              <a:custGeom>
                <a:avLst/>
                <a:gdLst>
                  <a:gd name="connsiteX0" fmla="*/ 0 w 1674"/>
                  <a:gd name="connsiteY0" fmla="*/ 7057 h 7057"/>
                  <a:gd name="connsiteX1" fmla="*/ 778 w 1674"/>
                  <a:gd name="connsiteY1" fmla="*/ 5442 h 7057"/>
                  <a:gd name="connsiteX2" fmla="*/ 897 w 1674"/>
                  <a:gd name="connsiteY2" fmla="*/ 5143 h 7057"/>
                  <a:gd name="connsiteX3" fmla="*/ 1674 w 1674"/>
                  <a:gd name="connsiteY3" fmla="*/ 1974 h 7057"/>
                  <a:gd name="connsiteX4" fmla="*/ 1674 w 1674"/>
                  <a:gd name="connsiteY4" fmla="*/ 1914 h 7057"/>
                  <a:gd name="connsiteX5" fmla="*/ 1674 w 1674"/>
                  <a:gd name="connsiteY5" fmla="*/ 778 h 7057"/>
                  <a:gd name="connsiteX6" fmla="*/ 1674 w 1674"/>
                  <a:gd name="connsiteY6" fmla="*/ 0 h 7057"/>
                  <a:gd name="connsiteX7" fmla="*/ 1674 w 1674"/>
                  <a:gd name="connsiteY7" fmla="*/ 0 h 7057"/>
                  <a:gd name="connsiteX8" fmla="*/ 1674 w 1674"/>
                  <a:gd name="connsiteY8" fmla="*/ 0 h 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4" h="7057">
                    <a:moveTo>
                      <a:pt x="0" y="7057"/>
                    </a:moveTo>
                    <a:lnTo>
                      <a:pt x="778" y="5442"/>
                    </a:lnTo>
                    <a:lnTo>
                      <a:pt x="897" y="5143"/>
                    </a:lnTo>
                    <a:lnTo>
                      <a:pt x="1674" y="1974"/>
                    </a:lnTo>
                    <a:lnTo>
                      <a:pt x="1674" y="1914"/>
                    </a:lnTo>
                    <a:lnTo>
                      <a:pt x="1674" y="778"/>
                    </a:lnTo>
                    <a:lnTo>
                      <a:pt x="1674" y="0"/>
                    </a:lnTo>
                    <a:lnTo>
                      <a:pt x="1674" y="0"/>
                    </a:lnTo>
                    <a:lnTo>
                      <a:pt x="1674" y="0"/>
                    </a:lnTo>
                  </a:path>
                </a:pathLst>
              </a:custGeom>
              <a:noFill/>
              <a:ln w="6350" cap="rnd">
                <a:solidFill>
                  <a:schemeClr val="bg1">
                    <a:alpha val="80000"/>
                  </a:schemeClr>
                </a:solidFill>
                <a:prstDash val="solid"/>
                <a:round/>
              </a:ln>
            </p:spPr>
            <p:txBody>
              <a:bodyPr rtlCol="0" anchor="ctr"/>
              <a:lstStyle/>
              <a:p>
                <a:endParaRPr lang="en-GB"/>
              </a:p>
            </p:txBody>
          </p:sp>
          <p:sp>
            <p:nvSpPr>
              <p:cNvPr id="5770" name="Vrije vorm: vorm 5769">
                <a:extLst>
                  <a:ext uri="{FF2B5EF4-FFF2-40B4-BE49-F238E27FC236}">
                    <a16:creationId xmlns:a16="http://schemas.microsoft.com/office/drawing/2014/main" id="{6E3A75D8-55E1-4A69-95DB-5824329C1F13}"/>
                  </a:ext>
                </a:extLst>
              </p:cNvPr>
              <p:cNvSpPr/>
              <p:nvPr/>
            </p:nvSpPr>
            <p:spPr>
              <a:xfrm>
                <a:off x="6674505" y="1601199"/>
                <a:ext cx="5621" cy="1734"/>
              </a:xfrm>
              <a:custGeom>
                <a:avLst/>
                <a:gdLst>
                  <a:gd name="connsiteX0" fmla="*/ 5622 w 5621"/>
                  <a:gd name="connsiteY0" fmla="*/ 1734 h 1734"/>
                  <a:gd name="connsiteX1" fmla="*/ 5084 w 5621"/>
                  <a:gd name="connsiteY1" fmla="*/ 1256 h 1734"/>
                  <a:gd name="connsiteX2" fmla="*/ 2153 w 5621"/>
                  <a:gd name="connsiteY2" fmla="*/ 538 h 1734"/>
                  <a:gd name="connsiteX3" fmla="*/ 0 w 5621"/>
                  <a:gd name="connsiteY3" fmla="*/ 0 h 1734"/>
                </a:gdLst>
                <a:ahLst/>
                <a:cxnLst>
                  <a:cxn ang="0">
                    <a:pos x="connsiteX0" y="connsiteY0"/>
                  </a:cxn>
                  <a:cxn ang="0">
                    <a:pos x="connsiteX1" y="connsiteY1"/>
                  </a:cxn>
                  <a:cxn ang="0">
                    <a:pos x="connsiteX2" y="connsiteY2"/>
                  </a:cxn>
                  <a:cxn ang="0">
                    <a:pos x="connsiteX3" y="connsiteY3"/>
                  </a:cxn>
                </a:cxnLst>
                <a:rect l="l" t="t" r="r" b="b"/>
                <a:pathLst>
                  <a:path w="5621" h="1734">
                    <a:moveTo>
                      <a:pt x="5622" y="1734"/>
                    </a:moveTo>
                    <a:lnTo>
                      <a:pt x="5084" y="1256"/>
                    </a:lnTo>
                    <a:lnTo>
                      <a:pt x="2153" y="53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71" name="Vrije vorm: vorm 5770">
                <a:extLst>
                  <a:ext uri="{FF2B5EF4-FFF2-40B4-BE49-F238E27FC236}">
                    <a16:creationId xmlns:a16="http://schemas.microsoft.com/office/drawing/2014/main" id="{46E59F88-44AB-4897-9C1F-14AA7D28EAC7}"/>
                  </a:ext>
                </a:extLst>
              </p:cNvPr>
              <p:cNvSpPr/>
              <p:nvPr/>
            </p:nvSpPr>
            <p:spPr>
              <a:xfrm>
                <a:off x="6672232" y="1605206"/>
                <a:ext cx="5801" cy="5801"/>
              </a:xfrm>
              <a:custGeom>
                <a:avLst/>
                <a:gdLst>
                  <a:gd name="connsiteX0" fmla="*/ 0 w 5801"/>
                  <a:gd name="connsiteY0" fmla="*/ 5801 h 5801"/>
                  <a:gd name="connsiteX1" fmla="*/ 419 w 5801"/>
                  <a:gd name="connsiteY1" fmla="*/ 5502 h 5801"/>
                  <a:gd name="connsiteX2" fmla="*/ 1794 w 5801"/>
                  <a:gd name="connsiteY2" fmla="*/ 4545 h 5801"/>
                  <a:gd name="connsiteX3" fmla="*/ 4067 w 5801"/>
                  <a:gd name="connsiteY3" fmla="*/ 2213 h 5801"/>
                  <a:gd name="connsiteX4" fmla="*/ 4486 w 5801"/>
                  <a:gd name="connsiteY4" fmla="*/ 1794 h 5801"/>
                  <a:gd name="connsiteX5" fmla="*/ 5562 w 5801"/>
                  <a:gd name="connsiteY5" fmla="*/ 299 h 5801"/>
                  <a:gd name="connsiteX6" fmla="*/ 5801 w 5801"/>
                  <a:gd name="connsiteY6" fmla="*/ 0 h 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1" h="5801">
                    <a:moveTo>
                      <a:pt x="0" y="5801"/>
                    </a:moveTo>
                    <a:lnTo>
                      <a:pt x="419" y="5502"/>
                    </a:lnTo>
                    <a:lnTo>
                      <a:pt x="1794" y="4545"/>
                    </a:lnTo>
                    <a:lnTo>
                      <a:pt x="4067" y="2213"/>
                    </a:lnTo>
                    <a:lnTo>
                      <a:pt x="4486" y="1794"/>
                    </a:lnTo>
                    <a:lnTo>
                      <a:pt x="5562" y="299"/>
                    </a:lnTo>
                    <a:lnTo>
                      <a:pt x="5801" y="0"/>
                    </a:lnTo>
                  </a:path>
                </a:pathLst>
              </a:custGeom>
              <a:noFill/>
              <a:ln w="6350" cap="rnd">
                <a:solidFill>
                  <a:schemeClr val="bg1">
                    <a:alpha val="80000"/>
                  </a:schemeClr>
                </a:solidFill>
                <a:prstDash val="solid"/>
                <a:round/>
              </a:ln>
            </p:spPr>
            <p:txBody>
              <a:bodyPr rtlCol="0" anchor="ctr"/>
              <a:lstStyle/>
              <a:p>
                <a:endParaRPr lang="en-GB"/>
              </a:p>
            </p:txBody>
          </p:sp>
          <p:sp>
            <p:nvSpPr>
              <p:cNvPr id="5772" name="Vrije vorm: vorm 5771">
                <a:extLst>
                  <a:ext uri="{FF2B5EF4-FFF2-40B4-BE49-F238E27FC236}">
                    <a16:creationId xmlns:a16="http://schemas.microsoft.com/office/drawing/2014/main" id="{C6A13961-2FD2-4A17-B1D4-2F6AB6CB7B86}"/>
                  </a:ext>
                </a:extLst>
              </p:cNvPr>
              <p:cNvSpPr/>
              <p:nvPr/>
            </p:nvSpPr>
            <p:spPr>
              <a:xfrm>
                <a:off x="6672891" y="1603950"/>
                <a:ext cx="5621" cy="1734"/>
              </a:xfrm>
              <a:custGeom>
                <a:avLst/>
                <a:gdLst>
                  <a:gd name="connsiteX0" fmla="*/ 0 w 5621"/>
                  <a:gd name="connsiteY0" fmla="*/ 0 h 1734"/>
                  <a:gd name="connsiteX1" fmla="*/ 718 w 5621"/>
                  <a:gd name="connsiteY1" fmla="*/ 180 h 1734"/>
                  <a:gd name="connsiteX2" fmla="*/ 1854 w 5621"/>
                  <a:gd name="connsiteY2" fmla="*/ 478 h 1734"/>
                  <a:gd name="connsiteX3" fmla="*/ 4785 w 5621"/>
                  <a:gd name="connsiteY3" fmla="*/ 1196 h 1734"/>
                  <a:gd name="connsiteX4" fmla="*/ 5024 w 5621"/>
                  <a:gd name="connsiteY4" fmla="*/ 1256 h 1734"/>
                  <a:gd name="connsiteX5" fmla="*/ 5083 w 5621"/>
                  <a:gd name="connsiteY5" fmla="*/ 1256 h 1734"/>
                  <a:gd name="connsiteX6" fmla="*/ 5622 w 5621"/>
                  <a:gd name="connsiteY6" fmla="*/ 1734 h 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1" h="1734">
                    <a:moveTo>
                      <a:pt x="0" y="0"/>
                    </a:moveTo>
                    <a:lnTo>
                      <a:pt x="718" y="180"/>
                    </a:lnTo>
                    <a:lnTo>
                      <a:pt x="1854" y="478"/>
                    </a:lnTo>
                    <a:lnTo>
                      <a:pt x="4785" y="1196"/>
                    </a:lnTo>
                    <a:lnTo>
                      <a:pt x="5024" y="1256"/>
                    </a:lnTo>
                    <a:lnTo>
                      <a:pt x="5083" y="1256"/>
                    </a:lnTo>
                    <a:lnTo>
                      <a:pt x="5622" y="1734"/>
                    </a:lnTo>
                  </a:path>
                </a:pathLst>
              </a:custGeom>
              <a:noFill/>
              <a:ln w="6350" cap="rnd">
                <a:solidFill>
                  <a:schemeClr val="bg1">
                    <a:alpha val="80000"/>
                  </a:schemeClr>
                </a:solidFill>
                <a:prstDash val="solid"/>
                <a:round/>
              </a:ln>
            </p:spPr>
            <p:txBody>
              <a:bodyPr rtlCol="0" anchor="ctr"/>
              <a:lstStyle/>
              <a:p>
                <a:endParaRPr lang="en-GB"/>
              </a:p>
            </p:txBody>
          </p:sp>
          <p:sp>
            <p:nvSpPr>
              <p:cNvPr id="5773" name="Vrije vorm: vorm 5772">
                <a:extLst>
                  <a:ext uri="{FF2B5EF4-FFF2-40B4-BE49-F238E27FC236}">
                    <a16:creationId xmlns:a16="http://schemas.microsoft.com/office/drawing/2014/main" id="{EA086AB4-B4D9-4822-A236-3257B948C48C}"/>
                  </a:ext>
                </a:extLst>
              </p:cNvPr>
              <p:cNvSpPr/>
              <p:nvPr/>
            </p:nvSpPr>
            <p:spPr>
              <a:xfrm>
                <a:off x="6670199" y="1605505"/>
                <a:ext cx="2571" cy="7535"/>
              </a:xfrm>
              <a:custGeom>
                <a:avLst/>
                <a:gdLst>
                  <a:gd name="connsiteX0" fmla="*/ 0 w 2571"/>
                  <a:gd name="connsiteY0" fmla="*/ 7536 h 7535"/>
                  <a:gd name="connsiteX1" fmla="*/ 1316 w 2571"/>
                  <a:gd name="connsiteY1" fmla="*/ 6938 h 7535"/>
                  <a:gd name="connsiteX2" fmla="*/ 2572 w 2571"/>
                  <a:gd name="connsiteY2" fmla="*/ 6040 h 7535"/>
                  <a:gd name="connsiteX3" fmla="*/ 2033 w 2571"/>
                  <a:gd name="connsiteY3" fmla="*/ 5562 h 7535"/>
                  <a:gd name="connsiteX4" fmla="*/ 1914 w 2571"/>
                  <a:gd name="connsiteY4" fmla="*/ 4725 h 7535"/>
                  <a:gd name="connsiteX5" fmla="*/ 1435 w 2571"/>
                  <a:gd name="connsiteY5" fmla="*/ 1615 h 7535"/>
                  <a:gd name="connsiteX6" fmla="*/ 1316 w 2571"/>
                  <a:gd name="connsiteY6" fmla="*/ 718 h 7535"/>
                  <a:gd name="connsiteX7" fmla="*/ 1196 w 2571"/>
                  <a:gd name="connsiteY7"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 h="7535">
                    <a:moveTo>
                      <a:pt x="0" y="7536"/>
                    </a:moveTo>
                    <a:lnTo>
                      <a:pt x="1316" y="6938"/>
                    </a:lnTo>
                    <a:lnTo>
                      <a:pt x="2572" y="6040"/>
                    </a:lnTo>
                    <a:lnTo>
                      <a:pt x="2033" y="5562"/>
                    </a:lnTo>
                    <a:lnTo>
                      <a:pt x="1914" y="4725"/>
                    </a:lnTo>
                    <a:lnTo>
                      <a:pt x="1435" y="1615"/>
                    </a:lnTo>
                    <a:lnTo>
                      <a:pt x="1316" y="718"/>
                    </a:lnTo>
                    <a:lnTo>
                      <a:pt x="1196" y="0"/>
                    </a:lnTo>
                  </a:path>
                </a:pathLst>
              </a:custGeom>
              <a:noFill/>
              <a:ln w="6350" cap="rnd">
                <a:solidFill>
                  <a:schemeClr val="bg1">
                    <a:alpha val="80000"/>
                  </a:schemeClr>
                </a:solidFill>
                <a:prstDash val="solid"/>
                <a:round/>
              </a:ln>
            </p:spPr>
            <p:txBody>
              <a:bodyPr rtlCol="0" anchor="ctr"/>
              <a:lstStyle/>
              <a:p>
                <a:endParaRPr lang="en-GB"/>
              </a:p>
            </p:txBody>
          </p:sp>
          <p:sp>
            <p:nvSpPr>
              <p:cNvPr id="5774" name="Vrije vorm: vorm 5773">
                <a:extLst>
                  <a:ext uri="{FF2B5EF4-FFF2-40B4-BE49-F238E27FC236}">
                    <a16:creationId xmlns:a16="http://schemas.microsoft.com/office/drawing/2014/main" id="{7B8ED105-92B3-44D5-ABE4-3B3C9B152EEB}"/>
                  </a:ext>
                </a:extLst>
              </p:cNvPr>
              <p:cNvSpPr/>
              <p:nvPr/>
            </p:nvSpPr>
            <p:spPr>
              <a:xfrm>
                <a:off x="6663261" y="1612622"/>
                <a:ext cx="6399" cy="1435"/>
              </a:xfrm>
              <a:custGeom>
                <a:avLst/>
                <a:gdLst>
                  <a:gd name="connsiteX0" fmla="*/ 0 w 6399"/>
                  <a:gd name="connsiteY0" fmla="*/ 1256 h 1435"/>
                  <a:gd name="connsiteX1" fmla="*/ 778 w 6399"/>
                  <a:gd name="connsiteY1" fmla="*/ 1316 h 1435"/>
                  <a:gd name="connsiteX2" fmla="*/ 1256 w 6399"/>
                  <a:gd name="connsiteY2" fmla="*/ 1376 h 1435"/>
                  <a:gd name="connsiteX3" fmla="*/ 1256 w 6399"/>
                  <a:gd name="connsiteY3" fmla="*/ 1376 h 1435"/>
                  <a:gd name="connsiteX4" fmla="*/ 1615 w 6399"/>
                  <a:gd name="connsiteY4" fmla="*/ 1435 h 1435"/>
                  <a:gd name="connsiteX5" fmla="*/ 3110 w 6399"/>
                  <a:gd name="connsiteY5" fmla="*/ 1136 h 1435"/>
                  <a:gd name="connsiteX6" fmla="*/ 4605 w 6399"/>
                  <a:gd name="connsiteY6" fmla="*/ 837 h 1435"/>
                  <a:gd name="connsiteX7" fmla="*/ 6399 w 6399"/>
                  <a:gd name="connsiteY7" fmla="*/ 0 h 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99" h="1435">
                    <a:moveTo>
                      <a:pt x="0" y="1256"/>
                    </a:moveTo>
                    <a:lnTo>
                      <a:pt x="778" y="1316"/>
                    </a:lnTo>
                    <a:lnTo>
                      <a:pt x="1256" y="1376"/>
                    </a:lnTo>
                    <a:lnTo>
                      <a:pt x="1256" y="1376"/>
                    </a:lnTo>
                    <a:lnTo>
                      <a:pt x="1615" y="1435"/>
                    </a:lnTo>
                    <a:lnTo>
                      <a:pt x="3110" y="1136"/>
                    </a:lnTo>
                    <a:lnTo>
                      <a:pt x="4605" y="837"/>
                    </a:lnTo>
                    <a:lnTo>
                      <a:pt x="6399" y="0"/>
                    </a:lnTo>
                  </a:path>
                </a:pathLst>
              </a:custGeom>
              <a:noFill/>
              <a:ln w="6350" cap="rnd">
                <a:solidFill>
                  <a:schemeClr val="bg1">
                    <a:alpha val="80000"/>
                  </a:schemeClr>
                </a:solidFill>
                <a:prstDash val="solid"/>
                <a:round/>
              </a:ln>
            </p:spPr>
            <p:txBody>
              <a:bodyPr rtlCol="0" anchor="ctr"/>
              <a:lstStyle/>
              <a:p>
                <a:endParaRPr lang="en-GB"/>
              </a:p>
            </p:txBody>
          </p:sp>
          <p:sp>
            <p:nvSpPr>
              <p:cNvPr id="5775" name="Vrije vorm: vorm 5774">
                <a:extLst>
                  <a:ext uri="{FF2B5EF4-FFF2-40B4-BE49-F238E27FC236}">
                    <a16:creationId xmlns:a16="http://schemas.microsoft.com/office/drawing/2014/main" id="{FA0E2746-079D-4EB0-A2F0-C63C9386156E}"/>
                  </a:ext>
                </a:extLst>
              </p:cNvPr>
              <p:cNvSpPr/>
              <p:nvPr/>
            </p:nvSpPr>
            <p:spPr>
              <a:xfrm>
                <a:off x="6668883" y="1607000"/>
                <a:ext cx="1315" cy="5980"/>
              </a:xfrm>
              <a:custGeom>
                <a:avLst/>
                <a:gdLst>
                  <a:gd name="connsiteX0" fmla="*/ 0 w 1315"/>
                  <a:gd name="connsiteY0" fmla="*/ 0 h 5980"/>
                  <a:gd name="connsiteX1" fmla="*/ 419 w 1315"/>
                  <a:gd name="connsiteY1" fmla="*/ 3110 h 5980"/>
                  <a:gd name="connsiteX2" fmla="*/ 778 w 1315"/>
                  <a:gd name="connsiteY2" fmla="*/ 5502 h 5980"/>
                  <a:gd name="connsiteX3" fmla="*/ 1316 w 1315"/>
                  <a:gd name="connsiteY3" fmla="*/ 5981 h 5980"/>
                  <a:gd name="connsiteX4" fmla="*/ 837 w 1315"/>
                  <a:gd name="connsiteY4" fmla="*/ 2871 h 5980"/>
                  <a:gd name="connsiteX5" fmla="*/ 479 w 1315"/>
                  <a:gd name="connsiteY5" fmla="*/ 478 h 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5" h="5980">
                    <a:moveTo>
                      <a:pt x="0" y="0"/>
                    </a:moveTo>
                    <a:lnTo>
                      <a:pt x="419" y="3110"/>
                    </a:lnTo>
                    <a:lnTo>
                      <a:pt x="778" y="5502"/>
                    </a:lnTo>
                    <a:lnTo>
                      <a:pt x="1316" y="5981"/>
                    </a:lnTo>
                    <a:lnTo>
                      <a:pt x="837" y="2871"/>
                    </a:lnTo>
                    <a:lnTo>
                      <a:pt x="479" y="478"/>
                    </a:lnTo>
                  </a:path>
                </a:pathLst>
              </a:custGeom>
              <a:noFill/>
              <a:ln w="6350" cap="rnd">
                <a:solidFill>
                  <a:schemeClr val="bg1">
                    <a:alpha val="80000"/>
                  </a:schemeClr>
                </a:solidFill>
                <a:prstDash val="solid"/>
                <a:round/>
              </a:ln>
            </p:spPr>
            <p:txBody>
              <a:bodyPr rtlCol="0" anchor="ctr"/>
              <a:lstStyle/>
              <a:p>
                <a:endParaRPr lang="en-GB"/>
              </a:p>
            </p:txBody>
          </p:sp>
          <p:sp>
            <p:nvSpPr>
              <p:cNvPr id="5776" name="Vrije vorm: vorm 5775">
                <a:extLst>
                  <a:ext uri="{FF2B5EF4-FFF2-40B4-BE49-F238E27FC236}">
                    <a16:creationId xmlns:a16="http://schemas.microsoft.com/office/drawing/2014/main" id="{022508C2-9D61-432A-A143-E9D2E08E8967}"/>
                  </a:ext>
                </a:extLst>
              </p:cNvPr>
              <p:cNvSpPr/>
              <p:nvPr/>
            </p:nvSpPr>
            <p:spPr>
              <a:xfrm>
                <a:off x="6663261" y="1607419"/>
                <a:ext cx="3887" cy="6937"/>
              </a:xfrm>
              <a:custGeom>
                <a:avLst/>
                <a:gdLst>
                  <a:gd name="connsiteX0" fmla="*/ 538 w 3887"/>
                  <a:gd name="connsiteY0" fmla="*/ 6938 h 6937"/>
                  <a:gd name="connsiteX1" fmla="*/ 0 w 3887"/>
                  <a:gd name="connsiteY1" fmla="*/ 6459 h 6937"/>
                  <a:gd name="connsiteX2" fmla="*/ 598 w 3887"/>
                  <a:gd name="connsiteY2" fmla="*/ 5502 h 6937"/>
                  <a:gd name="connsiteX3" fmla="*/ 598 w 3887"/>
                  <a:gd name="connsiteY3" fmla="*/ 5502 h 6937"/>
                  <a:gd name="connsiteX4" fmla="*/ 1914 w 3887"/>
                  <a:gd name="connsiteY4" fmla="*/ 3289 h 6937"/>
                  <a:gd name="connsiteX5" fmla="*/ 3589 w 3887"/>
                  <a:gd name="connsiteY5" fmla="*/ 478 h 6937"/>
                  <a:gd name="connsiteX6" fmla="*/ 3708 w 3887"/>
                  <a:gd name="connsiteY6" fmla="*/ 299 h 6937"/>
                  <a:gd name="connsiteX7" fmla="*/ 3888 w 3887"/>
                  <a:gd name="connsiteY7" fmla="*/ 0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7" h="6937">
                    <a:moveTo>
                      <a:pt x="538" y="6938"/>
                    </a:moveTo>
                    <a:lnTo>
                      <a:pt x="0" y="6459"/>
                    </a:lnTo>
                    <a:lnTo>
                      <a:pt x="598" y="5502"/>
                    </a:lnTo>
                    <a:lnTo>
                      <a:pt x="598" y="5502"/>
                    </a:lnTo>
                    <a:lnTo>
                      <a:pt x="1914" y="3289"/>
                    </a:lnTo>
                    <a:lnTo>
                      <a:pt x="3589" y="478"/>
                    </a:lnTo>
                    <a:lnTo>
                      <a:pt x="3708" y="299"/>
                    </a:lnTo>
                    <a:lnTo>
                      <a:pt x="3888" y="0"/>
                    </a:lnTo>
                  </a:path>
                </a:pathLst>
              </a:custGeom>
              <a:noFill/>
              <a:ln w="6350" cap="rnd">
                <a:solidFill>
                  <a:schemeClr val="bg1">
                    <a:alpha val="80000"/>
                  </a:schemeClr>
                </a:solidFill>
                <a:prstDash val="solid"/>
                <a:round/>
              </a:ln>
            </p:spPr>
            <p:txBody>
              <a:bodyPr rtlCol="0" anchor="ctr"/>
              <a:lstStyle/>
              <a:p>
                <a:endParaRPr lang="en-GB"/>
              </a:p>
            </p:txBody>
          </p:sp>
          <p:sp>
            <p:nvSpPr>
              <p:cNvPr id="5777" name="Vrije vorm: vorm 5776">
                <a:extLst>
                  <a:ext uri="{FF2B5EF4-FFF2-40B4-BE49-F238E27FC236}">
                    <a16:creationId xmlns:a16="http://schemas.microsoft.com/office/drawing/2014/main" id="{9A78BD58-7372-4B8F-8CD0-8992BCDB630E}"/>
                  </a:ext>
                </a:extLst>
              </p:cNvPr>
              <p:cNvSpPr/>
              <p:nvPr/>
            </p:nvSpPr>
            <p:spPr>
              <a:xfrm>
                <a:off x="6661946" y="1613878"/>
                <a:ext cx="1854" cy="478"/>
              </a:xfrm>
              <a:custGeom>
                <a:avLst/>
                <a:gdLst>
                  <a:gd name="connsiteX0" fmla="*/ 0 w 1854"/>
                  <a:gd name="connsiteY0" fmla="*/ 0 h 478"/>
                  <a:gd name="connsiteX1" fmla="*/ 837 w 1854"/>
                  <a:gd name="connsiteY1" fmla="*/ 419 h 478"/>
                  <a:gd name="connsiteX2" fmla="*/ 1854 w 1854"/>
                  <a:gd name="connsiteY2" fmla="*/ 478 h 478"/>
                </a:gdLst>
                <a:ahLst/>
                <a:cxnLst>
                  <a:cxn ang="0">
                    <a:pos x="connsiteX0" y="connsiteY0"/>
                  </a:cxn>
                  <a:cxn ang="0">
                    <a:pos x="connsiteX1" y="connsiteY1"/>
                  </a:cxn>
                  <a:cxn ang="0">
                    <a:pos x="connsiteX2" y="connsiteY2"/>
                  </a:cxn>
                </a:cxnLst>
                <a:rect l="l" t="t" r="r" b="b"/>
                <a:pathLst>
                  <a:path w="1854" h="478">
                    <a:moveTo>
                      <a:pt x="0" y="0"/>
                    </a:moveTo>
                    <a:lnTo>
                      <a:pt x="837" y="419"/>
                    </a:lnTo>
                    <a:lnTo>
                      <a:pt x="1854" y="478"/>
                    </a:lnTo>
                  </a:path>
                </a:pathLst>
              </a:custGeom>
              <a:noFill/>
              <a:ln w="6350" cap="rnd">
                <a:solidFill>
                  <a:schemeClr val="bg1">
                    <a:alpha val="80000"/>
                  </a:schemeClr>
                </a:solidFill>
                <a:prstDash val="solid"/>
                <a:round/>
              </a:ln>
            </p:spPr>
            <p:txBody>
              <a:bodyPr rtlCol="0" anchor="ctr"/>
              <a:lstStyle/>
              <a:p>
                <a:endParaRPr lang="en-GB"/>
              </a:p>
            </p:txBody>
          </p:sp>
          <p:sp>
            <p:nvSpPr>
              <p:cNvPr id="5778" name="Vrije vorm: vorm 5777">
                <a:extLst>
                  <a:ext uri="{FF2B5EF4-FFF2-40B4-BE49-F238E27FC236}">
                    <a16:creationId xmlns:a16="http://schemas.microsoft.com/office/drawing/2014/main" id="{E256BE0B-FCED-4895-A80C-FD71AFD40B74}"/>
                  </a:ext>
                </a:extLst>
              </p:cNvPr>
              <p:cNvSpPr/>
              <p:nvPr/>
            </p:nvSpPr>
            <p:spPr>
              <a:xfrm>
                <a:off x="6658058" y="1603771"/>
                <a:ext cx="6100" cy="9569"/>
              </a:xfrm>
              <a:custGeom>
                <a:avLst/>
                <a:gdLst>
                  <a:gd name="connsiteX0" fmla="*/ 5921 w 6100"/>
                  <a:gd name="connsiteY0" fmla="*/ 0 h 9569"/>
                  <a:gd name="connsiteX1" fmla="*/ 5981 w 6100"/>
                  <a:gd name="connsiteY1" fmla="*/ 718 h 9569"/>
                  <a:gd name="connsiteX2" fmla="*/ 6100 w 6100"/>
                  <a:gd name="connsiteY2" fmla="*/ 1794 h 9569"/>
                  <a:gd name="connsiteX3" fmla="*/ 6100 w 6100"/>
                  <a:gd name="connsiteY3" fmla="*/ 1794 h 9569"/>
                  <a:gd name="connsiteX4" fmla="*/ 6100 w 6100"/>
                  <a:gd name="connsiteY4" fmla="*/ 1854 h 9569"/>
                  <a:gd name="connsiteX5" fmla="*/ 6041 w 6100"/>
                  <a:gd name="connsiteY5" fmla="*/ 1854 h 9569"/>
                  <a:gd name="connsiteX6" fmla="*/ 6041 w 6100"/>
                  <a:gd name="connsiteY6" fmla="*/ 1854 h 9569"/>
                  <a:gd name="connsiteX7" fmla="*/ 3289 w 6100"/>
                  <a:gd name="connsiteY7" fmla="*/ 3529 h 9569"/>
                  <a:gd name="connsiteX8" fmla="*/ 1615 w 6100"/>
                  <a:gd name="connsiteY8" fmla="*/ 4545 h 9569"/>
                  <a:gd name="connsiteX9" fmla="*/ 1076 w 6100"/>
                  <a:gd name="connsiteY9" fmla="*/ 4844 h 9569"/>
                  <a:gd name="connsiteX10" fmla="*/ 299 w 6100"/>
                  <a:gd name="connsiteY10" fmla="*/ 5323 h 9569"/>
                  <a:gd name="connsiteX11" fmla="*/ 299 w 6100"/>
                  <a:gd name="connsiteY11" fmla="*/ 5323 h 9569"/>
                  <a:gd name="connsiteX12" fmla="*/ 0 w 6100"/>
                  <a:gd name="connsiteY12" fmla="*/ 5502 h 9569"/>
                  <a:gd name="connsiteX13" fmla="*/ 60 w 6100"/>
                  <a:gd name="connsiteY13" fmla="*/ 5742 h 9569"/>
                  <a:gd name="connsiteX14" fmla="*/ 479 w 6100"/>
                  <a:gd name="connsiteY14" fmla="*/ 7117 h 9569"/>
                  <a:gd name="connsiteX15" fmla="*/ 1136 w 6100"/>
                  <a:gd name="connsiteY15" fmla="*/ 7895 h 9569"/>
                  <a:gd name="connsiteX16" fmla="*/ 1974 w 6100"/>
                  <a:gd name="connsiteY16" fmla="*/ 8911 h 9569"/>
                  <a:gd name="connsiteX17" fmla="*/ 2512 w 6100"/>
                  <a:gd name="connsiteY17" fmla="*/ 9210 h 9569"/>
                  <a:gd name="connsiteX18" fmla="*/ 3289 w 6100"/>
                  <a:gd name="connsiteY18" fmla="*/ 9569 h 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00" h="9569">
                    <a:moveTo>
                      <a:pt x="5921" y="0"/>
                    </a:moveTo>
                    <a:lnTo>
                      <a:pt x="5981" y="718"/>
                    </a:lnTo>
                    <a:lnTo>
                      <a:pt x="6100" y="1794"/>
                    </a:lnTo>
                    <a:lnTo>
                      <a:pt x="6100" y="1794"/>
                    </a:lnTo>
                    <a:lnTo>
                      <a:pt x="6100" y="1854"/>
                    </a:lnTo>
                    <a:lnTo>
                      <a:pt x="6041" y="1854"/>
                    </a:lnTo>
                    <a:lnTo>
                      <a:pt x="6041" y="1854"/>
                    </a:lnTo>
                    <a:lnTo>
                      <a:pt x="3289" y="3529"/>
                    </a:lnTo>
                    <a:lnTo>
                      <a:pt x="1615" y="4545"/>
                    </a:lnTo>
                    <a:lnTo>
                      <a:pt x="1076" y="4844"/>
                    </a:lnTo>
                    <a:lnTo>
                      <a:pt x="299" y="5323"/>
                    </a:lnTo>
                    <a:lnTo>
                      <a:pt x="299" y="5323"/>
                    </a:lnTo>
                    <a:lnTo>
                      <a:pt x="0" y="5502"/>
                    </a:lnTo>
                    <a:lnTo>
                      <a:pt x="60" y="5742"/>
                    </a:lnTo>
                    <a:lnTo>
                      <a:pt x="479" y="7117"/>
                    </a:lnTo>
                    <a:lnTo>
                      <a:pt x="1136" y="7895"/>
                    </a:lnTo>
                    <a:lnTo>
                      <a:pt x="1974" y="8911"/>
                    </a:lnTo>
                    <a:lnTo>
                      <a:pt x="2512" y="9210"/>
                    </a:lnTo>
                    <a:lnTo>
                      <a:pt x="3289" y="9569"/>
                    </a:lnTo>
                  </a:path>
                </a:pathLst>
              </a:custGeom>
              <a:noFill/>
              <a:ln w="6350" cap="rnd">
                <a:solidFill>
                  <a:schemeClr val="bg1">
                    <a:alpha val="80000"/>
                  </a:schemeClr>
                </a:solidFill>
                <a:prstDash val="solid"/>
                <a:round/>
              </a:ln>
            </p:spPr>
            <p:txBody>
              <a:bodyPr rtlCol="0" anchor="ctr"/>
              <a:lstStyle/>
              <a:p>
                <a:endParaRPr lang="en-GB"/>
              </a:p>
            </p:txBody>
          </p:sp>
          <p:sp>
            <p:nvSpPr>
              <p:cNvPr id="5779" name="Vrije vorm: vorm 5778">
                <a:extLst>
                  <a:ext uri="{FF2B5EF4-FFF2-40B4-BE49-F238E27FC236}">
                    <a16:creationId xmlns:a16="http://schemas.microsoft.com/office/drawing/2014/main" id="{58E66102-D5BF-4180-8F24-0EC6A83C3947}"/>
                  </a:ext>
                </a:extLst>
              </p:cNvPr>
              <p:cNvSpPr/>
              <p:nvPr/>
            </p:nvSpPr>
            <p:spPr>
              <a:xfrm>
                <a:off x="6661407" y="1606940"/>
                <a:ext cx="4366" cy="6937"/>
              </a:xfrm>
              <a:custGeom>
                <a:avLst/>
                <a:gdLst>
                  <a:gd name="connsiteX0" fmla="*/ 3828 w 4366"/>
                  <a:gd name="connsiteY0" fmla="*/ 0 h 6937"/>
                  <a:gd name="connsiteX1" fmla="*/ 3409 w 4366"/>
                  <a:gd name="connsiteY1" fmla="*/ 718 h 6937"/>
                  <a:gd name="connsiteX2" fmla="*/ 1914 w 4366"/>
                  <a:gd name="connsiteY2" fmla="*/ 3289 h 6937"/>
                  <a:gd name="connsiteX3" fmla="*/ 1914 w 4366"/>
                  <a:gd name="connsiteY3" fmla="*/ 3289 h 6937"/>
                  <a:gd name="connsiteX4" fmla="*/ 239 w 4366"/>
                  <a:gd name="connsiteY4" fmla="*/ 6100 h 6937"/>
                  <a:gd name="connsiteX5" fmla="*/ 0 w 4366"/>
                  <a:gd name="connsiteY5" fmla="*/ 6459 h 6937"/>
                  <a:gd name="connsiteX6" fmla="*/ 538 w 4366"/>
                  <a:gd name="connsiteY6" fmla="*/ 6938 h 6937"/>
                  <a:gd name="connsiteX7" fmla="*/ 1974 w 4366"/>
                  <a:gd name="connsiteY7" fmla="*/ 4545 h 6937"/>
                  <a:gd name="connsiteX8" fmla="*/ 1974 w 4366"/>
                  <a:gd name="connsiteY8" fmla="*/ 4545 h 6937"/>
                  <a:gd name="connsiteX9" fmla="*/ 3469 w 4366"/>
                  <a:gd name="connsiteY9" fmla="*/ 2034 h 6937"/>
                  <a:gd name="connsiteX10" fmla="*/ 4366 w 4366"/>
                  <a:gd name="connsiteY10" fmla="*/ 478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6" h="6937">
                    <a:moveTo>
                      <a:pt x="3828" y="0"/>
                    </a:moveTo>
                    <a:lnTo>
                      <a:pt x="3409" y="718"/>
                    </a:lnTo>
                    <a:lnTo>
                      <a:pt x="1914" y="3289"/>
                    </a:lnTo>
                    <a:lnTo>
                      <a:pt x="1914" y="3289"/>
                    </a:lnTo>
                    <a:lnTo>
                      <a:pt x="239" y="6100"/>
                    </a:lnTo>
                    <a:lnTo>
                      <a:pt x="0" y="6459"/>
                    </a:lnTo>
                    <a:lnTo>
                      <a:pt x="538" y="6938"/>
                    </a:lnTo>
                    <a:lnTo>
                      <a:pt x="1974" y="4545"/>
                    </a:lnTo>
                    <a:lnTo>
                      <a:pt x="1974" y="4545"/>
                    </a:lnTo>
                    <a:lnTo>
                      <a:pt x="3469" y="2034"/>
                    </a:lnTo>
                    <a:lnTo>
                      <a:pt x="4366" y="478"/>
                    </a:lnTo>
                  </a:path>
                </a:pathLst>
              </a:custGeom>
              <a:noFill/>
              <a:ln w="6350" cap="rnd">
                <a:solidFill>
                  <a:schemeClr val="bg1">
                    <a:alpha val="80000"/>
                  </a:schemeClr>
                </a:solidFill>
                <a:prstDash val="solid"/>
                <a:round/>
              </a:ln>
            </p:spPr>
            <p:txBody>
              <a:bodyPr rtlCol="0" anchor="ctr"/>
              <a:lstStyle/>
              <a:p>
                <a:endParaRPr lang="en-GB"/>
              </a:p>
            </p:txBody>
          </p:sp>
          <p:sp>
            <p:nvSpPr>
              <p:cNvPr id="5780" name="Vrije vorm: vorm 5779">
                <a:extLst>
                  <a:ext uri="{FF2B5EF4-FFF2-40B4-BE49-F238E27FC236}">
                    <a16:creationId xmlns:a16="http://schemas.microsoft.com/office/drawing/2014/main" id="{E89337CF-FEFB-4909-84E2-978EFE50C38C}"/>
                  </a:ext>
                </a:extLst>
              </p:cNvPr>
              <p:cNvSpPr/>
              <p:nvPr/>
            </p:nvSpPr>
            <p:spPr>
              <a:xfrm>
                <a:off x="6660152" y="1612742"/>
                <a:ext cx="1315" cy="1196"/>
              </a:xfrm>
              <a:custGeom>
                <a:avLst/>
                <a:gdLst>
                  <a:gd name="connsiteX0" fmla="*/ 1316 w 1315"/>
                  <a:gd name="connsiteY0" fmla="*/ 1196 h 1196"/>
                  <a:gd name="connsiteX1" fmla="*/ 0 w 1315"/>
                  <a:gd name="connsiteY1" fmla="*/ 0 h 1196"/>
                </a:gdLst>
                <a:ahLst/>
                <a:cxnLst>
                  <a:cxn ang="0">
                    <a:pos x="connsiteX0" y="connsiteY0"/>
                  </a:cxn>
                  <a:cxn ang="0">
                    <a:pos x="connsiteX1" y="connsiteY1"/>
                  </a:cxn>
                </a:cxnLst>
                <a:rect l="l" t="t" r="r" b="b"/>
                <a:pathLst>
                  <a:path w="1315" h="1196">
                    <a:moveTo>
                      <a:pt x="1316" y="1196"/>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81" name="Vrije vorm: vorm 5780">
                <a:extLst>
                  <a:ext uri="{FF2B5EF4-FFF2-40B4-BE49-F238E27FC236}">
                    <a16:creationId xmlns:a16="http://schemas.microsoft.com/office/drawing/2014/main" id="{030090FB-065D-44DD-9556-869D7BC9F1D1}"/>
                  </a:ext>
                </a:extLst>
              </p:cNvPr>
              <p:cNvSpPr/>
              <p:nvPr/>
            </p:nvSpPr>
            <p:spPr>
              <a:xfrm>
                <a:off x="6657879" y="1599225"/>
                <a:ext cx="8013" cy="9928"/>
              </a:xfrm>
              <a:custGeom>
                <a:avLst/>
                <a:gdLst>
                  <a:gd name="connsiteX0" fmla="*/ 598 w 8013"/>
                  <a:gd name="connsiteY0" fmla="*/ 9928 h 9928"/>
                  <a:gd name="connsiteX1" fmla="*/ 598 w 8013"/>
                  <a:gd name="connsiteY1" fmla="*/ 9928 h 9928"/>
                  <a:gd name="connsiteX2" fmla="*/ 538 w 8013"/>
                  <a:gd name="connsiteY2" fmla="*/ 9749 h 9928"/>
                  <a:gd name="connsiteX3" fmla="*/ 538 w 8013"/>
                  <a:gd name="connsiteY3" fmla="*/ 8672 h 9928"/>
                  <a:gd name="connsiteX4" fmla="*/ 0 w 8013"/>
                  <a:gd name="connsiteY4" fmla="*/ 8194 h 9928"/>
                  <a:gd name="connsiteX5" fmla="*/ 0 w 8013"/>
                  <a:gd name="connsiteY5" fmla="*/ 8014 h 9928"/>
                  <a:gd name="connsiteX6" fmla="*/ 0 w 8013"/>
                  <a:gd name="connsiteY6" fmla="*/ 6399 h 9928"/>
                  <a:gd name="connsiteX7" fmla="*/ 0 w 8013"/>
                  <a:gd name="connsiteY7" fmla="*/ 6399 h 9928"/>
                  <a:gd name="connsiteX8" fmla="*/ 0 w 8013"/>
                  <a:gd name="connsiteY8" fmla="*/ 6340 h 9928"/>
                  <a:gd name="connsiteX9" fmla="*/ 778 w 8013"/>
                  <a:gd name="connsiteY9" fmla="*/ 3230 h 9928"/>
                  <a:gd name="connsiteX10" fmla="*/ 897 w 8013"/>
                  <a:gd name="connsiteY10" fmla="*/ 2990 h 9928"/>
                  <a:gd name="connsiteX11" fmla="*/ 957 w 8013"/>
                  <a:gd name="connsiteY11" fmla="*/ 2871 h 9928"/>
                  <a:gd name="connsiteX12" fmla="*/ 1674 w 8013"/>
                  <a:gd name="connsiteY12" fmla="*/ 1435 h 9928"/>
                  <a:gd name="connsiteX13" fmla="*/ 2332 w 8013"/>
                  <a:gd name="connsiteY13" fmla="*/ 1615 h 9928"/>
                  <a:gd name="connsiteX14" fmla="*/ 3349 w 8013"/>
                  <a:gd name="connsiteY14" fmla="*/ 1854 h 9928"/>
                  <a:gd name="connsiteX15" fmla="*/ 3528 w 8013"/>
                  <a:gd name="connsiteY15" fmla="*/ 1914 h 9928"/>
                  <a:gd name="connsiteX16" fmla="*/ 4844 w 8013"/>
                  <a:gd name="connsiteY16" fmla="*/ 2213 h 9928"/>
                  <a:gd name="connsiteX17" fmla="*/ 4964 w 8013"/>
                  <a:gd name="connsiteY17" fmla="*/ 2273 h 9928"/>
                  <a:gd name="connsiteX18" fmla="*/ 6459 w 8013"/>
                  <a:gd name="connsiteY18" fmla="*/ 2632 h 9928"/>
                  <a:gd name="connsiteX19" fmla="*/ 7236 w 8013"/>
                  <a:gd name="connsiteY19" fmla="*/ 1316 h 9928"/>
                  <a:gd name="connsiteX20" fmla="*/ 7595 w 8013"/>
                  <a:gd name="connsiteY20" fmla="*/ 658 h 9928"/>
                  <a:gd name="connsiteX21" fmla="*/ 7835 w 8013"/>
                  <a:gd name="connsiteY21" fmla="*/ 299 h 9928"/>
                  <a:gd name="connsiteX22" fmla="*/ 8014 w 8013"/>
                  <a:gd name="connsiteY22" fmla="*/ 0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13" h="9928">
                    <a:moveTo>
                      <a:pt x="598" y="9928"/>
                    </a:moveTo>
                    <a:lnTo>
                      <a:pt x="598" y="9928"/>
                    </a:lnTo>
                    <a:lnTo>
                      <a:pt x="538" y="9749"/>
                    </a:lnTo>
                    <a:lnTo>
                      <a:pt x="538" y="8672"/>
                    </a:lnTo>
                    <a:lnTo>
                      <a:pt x="0" y="8194"/>
                    </a:lnTo>
                    <a:lnTo>
                      <a:pt x="0" y="8014"/>
                    </a:lnTo>
                    <a:lnTo>
                      <a:pt x="0" y="6399"/>
                    </a:lnTo>
                    <a:lnTo>
                      <a:pt x="0" y="6399"/>
                    </a:lnTo>
                    <a:lnTo>
                      <a:pt x="0" y="6340"/>
                    </a:lnTo>
                    <a:lnTo>
                      <a:pt x="778" y="3230"/>
                    </a:lnTo>
                    <a:lnTo>
                      <a:pt x="897" y="2990"/>
                    </a:lnTo>
                    <a:lnTo>
                      <a:pt x="957" y="2871"/>
                    </a:lnTo>
                    <a:lnTo>
                      <a:pt x="1674" y="1435"/>
                    </a:lnTo>
                    <a:lnTo>
                      <a:pt x="2332" y="1615"/>
                    </a:lnTo>
                    <a:lnTo>
                      <a:pt x="3349" y="1854"/>
                    </a:lnTo>
                    <a:lnTo>
                      <a:pt x="3528" y="1914"/>
                    </a:lnTo>
                    <a:lnTo>
                      <a:pt x="4844" y="2213"/>
                    </a:lnTo>
                    <a:lnTo>
                      <a:pt x="4964" y="2273"/>
                    </a:lnTo>
                    <a:lnTo>
                      <a:pt x="6459" y="2632"/>
                    </a:lnTo>
                    <a:lnTo>
                      <a:pt x="7236" y="1316"/>
                    </a:lnTo>
                    <a:lnTo>
                      <a:pt x="7595" y="658"/>
                    </a:lnTo>
                    <a:lnTo>
                      <a:pt x="7835" y="299"/>
                    </a:lnTo>
                    <a:lnTo>
                      <a:pt x="8014" y="0"/>
                    </a:lnTo>
                  </a:path>
                </a:pathLst>
              </a:custGeom>
              <a:noFill/>
              <a:ln w="6350" cap="rnd">
                <a:solidFill>
                  <a:schemeClr val="bg1">
                    <a:alpha val="80000"/>
                  </a:schemeClr>
                </a:solidFill>
                <a:prstDash val="solid"/>
                <a:round/>
              </a:ln>
            </p:spPr>
            <p:txBody>
              <a:bodyPr rtlCol="0" anchor="ctr"/>
              <a:lstStyle/>
              <a:p>
                <a:endParaRPr lang="en-GB"/>
              </a:p>
            </p:txBody>
          </p:sp>
          <p:sp>
            <p:nvSpPr>
              <p:cNvPr id="5782" name="Vrije vorm: vorm 5781">
                <a:extLst>
                  <a:ext uri="{FF2B5EF4-FFF2-40B4-BE49-F238E27FC236}">
                    <a16:creationId xmlns:a16="http://schemas.microsoft.com/office/drawing/2014/main" id="{4D79CDB8-4B12-4480-B65E-DC3F9E01D877}"/>
                  </a:ext>
                </a:extLst>
              </p:cNvPr>
              <p:cNvSpPr/>
              <p:nvPr/>
            </p:nvSpPr>
            <p:spPr>
              <a:xfrm>
                <a:off x="6663381" y="1618064"/>
                <a:ext cx="10765" cy="13217"/>
              </a:xfrm>
              <a:custGeom>
                <a:avLst/>
                <a:gdLst>
                  <a:gd name="connsiteX0" fmla="*/ 10765 w 10765"/>
                  <a:gd name="connsiteY0" fmla="*/ 0 h 13217"/>
                  <a:gd name="connsiteX1" fmla="*/ 10645 w 10765"/>
                  <a:gd name="connsiteY1" fmla="*/ 239 h 13217"/>
                  <a:gd name="connsiteX2" fmla="*/ 10526 w 10765"/>
                  <a:gd name="connsiteY2" fmla="*/ 478 h 13217"/>
                  <a:gd name="connsiteX3" fmla="*/ 10526 w 10765"/>
                  <a:gd name="connsiteY3" fmla="*/ 478 h 13217"/>
                  <a:gd name="connsiteX4" fmla="*/ 8911 w 10765"/>
                  <a:gd name="connsiteY4" fmla="*/ 3170 h 13217"/>
                  <a:gd name="connsiteX5" fmla="*/ 7237 w 10765"/>
                  <a:gd name="connsiteY5" fmla="*/ 5981 h 13217"/>
                  <a:gd name="connsiteX6" fmla="*/ 6399 w 10765"/>
                  <a:gd name="connsiteY6" fmla="*/ 7416 h 13217"/>
                  <a:gd name="connsiteX7" fmla="*/ 4007 w 10765"/>
                  <a:gd name="connsiteY7" fmla="*/ 9569 h 13217"/>
                  <a:gd name="connsiteX8" fmla="*/ 1615 w 10765"/>
                  <a:gd name="connsiteY8" fmla="*/ 11722 h 13217"/>
                  <a:gd name="connsiteX9" fmla="*/ 0 w 10765"/>
                  <a:gd name="connsiteY9" fmla="*/ 13217 h 1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65" h="13217">
                    <a:moveTo>
                      <a:pt x="10765" y="0"/>
                    </a:moveTo>
                    <a:lnTo>
                      <a:pt x="10645" y="239"/>
                    </a:lnTo>
                    <a:lnTo>
                      <a:pt x="10526" y="478"/>
                    </a:lnTo>
                    <a:lnTo>
                      <a:pt x="10526" y="478"/>
                    </a:lnTo>
                    <a:lnTo>
                      <a:pt x="8911" y="3170"/>
                    </a:lnTo>
                    <a:lnTo>
                      <a:pt x="7237" y="5981"/>
                    </a:lnTo>
                    <a:lnTo>
                      <a:pt x="6399" y="7416"/>
                    </a:lnTo>
                    <a:lnTo>
                      <a:pt x="4007" y="9569"/>
                    </a:lnTo>
                    <a:lnTo>
                      <a:pt x="1615" y="11722"/>
                    </a:lnTo>
                    <a:lnTo>
                      <a:pt x="0" y="13217"/>
                    </a:lnTo>
                  </a:path>
                </a:pathLst>
              </a:custGeom>
              <a:noFill/>
              <a:ln w="6350" cap="rnd">
                <a:solidFill>
                  <a:schemeClr val="bg1">
                    <a:alpha val="80000"/>
                  </a:schemeClr>
                </a:solidFill>
                <a:prstDash val="solid"/>
                <a:round/>
              </a:ln>
            </p:spPr>
            <p:txBody>
              <a:bodyPr rtlCol="0" anchor="ctr"/>
              <a:lstStyle/>
              <a:p>
                <a:endParaRPr lang="en-GB"/>
              </a:p>
            </p:txBody>
          </p:sp>
          <p:sp>
            <p:nvSpPr>
              <p:cNvPr id="5783" name="Vrije vorm: vorm 5782">
                <a:extLst>
                  <a:ext uri="{FF2B5EF4-FFF2-40B4-BE49-F238E27FC236}">
                    <a16:creationId xmlns:a16="http://schemas.microsoft.com/office/drawing/2014/main" id="{3AAB0194-A930-450B-BE95-F05B0C21599F}"/>
                  </a:ext>
                </a:extLst>
              </p:cNvPr>
              <p:cNvSpPr/>
              <p:nvPr/>
            </p:nvSpPr>
            <p:spPr>
              <a:xfrm>
                <a:off x="6648968" y="1609333"/>
                <a:ext cx="7774" cy="17104"/>
              </a:xfrm>
              <a:custGeom>
                <a:avLst/>
                <a:gdLst>
                  <a:gd name="connsiteX0" fmla="*/ 0 w 7774"/>
                  <a:gd name="connsiteY0" fmla="*/ 17105 h 17104"/>
                  <a:gd name="connsiteX1" fmla="*/ 777 w 7774"/>
                  <a:gd name="connsiteY1" fmla="*/ 13935 h 17104"/>
                  <a:gd name="connsiteX2" fmla="*/ 1555 w 7774"/>
                  <a:gd name="connsiteY2" fmla="*/ 10765 h 17104"/>
                  <a:gd name="connsiteX3" fmla="*/ 1734 w 7774"/>
                  <a:gd name="connsiteY3" fmla="*/ 10167 h 17104"/>
                  <a:gd name="connsiteX4" fmla="*/ 3409 w 7774"/>
                  <a:gd name="connsiteY4" fmla="*/ 7356 h 17104"/>
                  <a:gd name="connsiteX5" fmla="*/ 5083 w 7774"/>
                  <a:gd name="connsiteY5" fmla="*/ 4545 h 17104"/>
                  <a:gd name="connsiteX6" fmla="*/ 5622 w 7774"/>
                  <a:gd name="connsiteY6" fmla="*/ 3648 h 17104"/>
                  <a:gd name="connsiteX7" fmla="*/ 7296 w 7774"/>
                  <a:gd name="connsiteY7" fmla="*/ 837 h 17104"/>
                  <a:gd name="connsiteX8" fmla="*/ 7775 w 7774"/>
                  <a:gd name="connsiteY8" fmla="*/ 0 h 1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74" h="17104">
                    <a:moveTo>
                      <a:pt x="0" y="17105"/>
                    </a:moveTo>
                    <a:lnTo>
                      <a:pt x="777" y="13935"/>
                    </a:lnTo>
                    <a:lnTo>
                      <a:pt x="1555" y="10765"/>
                    </a:lnTo>
                    <a:lnTo>
                      <a:pt x="1734" y="10167"/>
                    </a:lnTo>
                    <a:lnTo>
                      <a:pt x="3409" y="7356"/>
                    </a:lnTo>
                    <a:lnTo>
                      <a:pt x="5083" y="4545"/>
                    </a:lnTo>
                    <a:lnTo>
                      <a:pt x="5622" y="3648"/>
                    </a:lnTo>
                    <a:lnTo>
                      <a:pt x="7296" y="837"/>
                    </a:lnTo>
                    <a:lnTo>
                      <a:pt x="7775" y="0"/>
                    </a:lnTo>
                  </a:path>
                </a:pathLst>
              </a:custGeom>
              <a:noFill/>
              <a:ln w="6350" cap="rnd">
                <a:solidFill>
                  <a:schemeClr val="bg1">
                    <a:alpha val="80000"/>
                  </a:schemeClr>
                </a:solidFill>
                <a:prstDash val="solid"/>
                <a:round/>
              </a:ln>
            </p:spPr>
            <p:txBody>
              <a:bodyPr rtlCol="0" anchor="ctr"/>
              <a:lstStyle/>
              <a:p>
                <a:endParaRPr lang="en-GB"/>
              </a:p>
            </p:txBody>
          </p:sp>
          <p:sp>
            <p:nvSpPr>
              <p:cNvPr id="5784" name="Vrije vorm: vorm 5783">
                <a:extLst>
                  <a:ext uri="{FF2B5EF4-FFF2-40B4-BE49-F238E27FC236}">
                    <a16:creationId xmlns:a16="http://schemas.microsoft.com/office/drawing/2014/main" id="{134D997D-F376-4A69-8D6C-82D921B34D93}"/>
                  </a:ext>
                </a:extLst>
              </p:cNvPr>
              <p:cNvSpPr/>
              <p:nvPr/>
            </p:nvSpPr>
            <p:spPr>
              <a:xfrm>
                <a:off x="6644721" y="1635289"/>
                <a:ext cx="25298" cy="14533"/>
              </a:xfrm>
              <a:custGeom>
                <a:avLst/>
                <a:gdLst>
                  <a:gd name="connsiteX0" fmla="*/ 3349 w 25298"/>
                  <a:gd name="connsiteY0" fmla="*/ 3230 h 14533"/>
                  <a:gd name="connsiteX1" fmla="*/ 1076 w 25298"/>
                  <a:gd name="connsiteY1" fmla="*/ 1316 h 14533"/>
                  <a:gd name="connsiteX2" fmla="*/ 0 w 25298"/>
                  <a:gd name="connsiteY2" fmla="*/ 359 h 14533"/>
                  <a:gd name="connsiteX3" fmla="*/ 179 w 25298"/>
                  <a:gd name="connsiteY3" fmla="*/ 0 h 14533"/>
                  <a:gd name="connsiteX4" fmla="*/ 1256 w 25298"/>
                  <a:gd name="connsiteY4" fmla="*/ 359 h 14533"/>
                  <a:gd name="connsiteX5" fmla="*/ 3110 w 25298"/>
                  <a:gd name="connsiteY5" fmla="*/ 957 h 14533"/>
                  <a:gd name="connsiteX6" fmla="*/ 5981 w 25298"/>
                  <a:gd name="connsiteY6" fmla="*/ 1854 h 14533"/>
                  <a:gd name="connsiteX7" fmla="*/ 8851 w 25298"/>
                  <a:gd name="connsiteY7" fmla="*/ 2751 h 14533"/>
                  <a:gd name="connsiteX8" fmla="*/ 11722 w 25298"/>
                  <a:gd name="connsiteY8" fmla="*/ 3648 h 14533"/>
                  <a:gd name="connsiteX9" fmla="*/ 12201 w 25298"/>
                  <a:gd name="connsiteY9" fmla="*/ 3828 h 14533"/>
                  <a:gd name="connsiteX10" fmla="*/ 13875 w 25298"/>
                  <a:gd name="connsiteY10" fmla="*/ 4785 h 14533"/>
                  <a:gd name="connsiteX11" fmla="*/ 16148 w 25298"/>
                  <a:gd name="connsiteY11" fmla="*/ 6698 h 14533"/>
                  <a:gd name="connsiteX12" fmla="*/ 18421 w 25298"/>
                  <a:gd name="connsiteY12" fmla="*/ 8612 h 14533"/>
                  <a:gd name="connsiteX13" fmla="*/ 19736 w 25298"/>
                  <a:gd name="connsiteY13" fmla="*/ 9749 h 14533"/>
                  <a:gd name="connsiteX14" fmla="*/ 22009 w 25298"/>
                  <a:gd name="connsiteY14" fmla="*/ 11662 h 14533"/>
                  <a:gd name="connsiteX15" fmla="*/ 22248 w 25298"/>
                  <a:gd name="connsiteY15" fmla="*/ 11842 h 14533"/>
                  <a:gd name="connsiteX16" fmla="*/ 23444 w 25298"/>
                  <a:gd name="connsiteY16" fmla="*/ 12859 h 14533"/>
                  <a:gd name="connsiteX17" fmla="*/ 23684 w 25298"/>
                  <a:gd name="connsiteY17" fmla="*/ 13098 h 14533"/>
                  <a:gd name="connsiteX18" fmla="*/ 23684 w 25298"/>
                  <a:gd name="connsiteY18" fmla="*/ 13098 h 14533"/>
                  <a:gd name="connsiteX19" fmla="*/ 24940 w 25298"/>
                  <a:gd name="connsiteY19" fmla="*/ 14174 h 14533"/>
                  <a:gd name="connsiteX20" fmla="*/ 24940 w 25298"/>
                  <a:gd name="connsiteY20" fmla="*/ 14174 h 14533"/>
                  <a:gd name="connsiteX21" fmla="*/ 25298 w 25298"/>
                  <a:gd name="connsiteY21" fmla="*/ 14533 h 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298" h="14533">
                    <a:moveTo>
                      <a:pt x="3349" y="3230"/>
                    </a:moveTo>
                    <a:lnTo>
                      <a:pt x="1076" y="1316"/>
                    </a:lnTo>
                    <a:lnTo>
                      <a:pt x="0" y="359"/>
                    </a:lnTo>
                    <a:lnTo>
                      <a:pt x="179" y="0"/>
                    </a:lnTo>
                    <a:lnTo>
                      <a:pt x="1256" y="359"/>
                    </a:lnTo>
                    <a:lnTo>
                      <a:pt x="3110" y="957"/>
                    </a:lnTo>
                    <a:lnTo>
                      <a:pt x="5981" y="1854"/>
                    </a:lnTo>
                    <a:lnTo>
                      <a:pt x="8851" y="2751"/>
                    </a:lnTo>
                    <a:lnTo>
                      <a:pt x="11722" y="3648"/>
                    </a:lnTo>
                    <a:lnTo>
                      <a:pt x="12201" y="3828"/>
                    </a:lnTo>
                    <a:lnTo>
                      <a:pt x="13875" y="4785"/>
                    </a:lnTo>
                    <a:lnTo>
                      <a:pt x="16148" y="6698"/>
                    </a:lnTo>
                    <a:lnTo>
                      <a:pt x="18421" y="8612"/>
                    </a:lnTo>
                    <a:lnTo>
                      <a:pt x="19736" y="9749"/>
                    </a:lnTo>
                    <a:lnTo>
                      <a:pt x="22009" y="11662"/>
                    </a:lnTo>
                    <a:lnTo>
                      <a:pt x="22248" y="11842"/>
                    </a:lnTo>
                    <a:lnTo>
                      <a:pt x="23444" y="12859"/>
                    </a:lnTo>
                    <a:lnTo>
                      <a:pt x="23684" y="13098"/>
                    </a:lnTo>
                    <a:lnTo>
                      <a:pt x="23684" y="13098"/>
                    </a:lnTo>
                    <a:lnTo>
                      <a:pt x="24940" y="14174"/>
                    </a:lnTo>
                    <a:lnTo>
                      <a:pt x="24940" y="14174"/>
                    </a:lnTo>
                    <a:lnTo>
                      <a:pt x="25298" y="14533"/>
                    </a:lnTo>
                  </a:path>
                </a:pathLst>
              </a:custGeom>
              <a:noFill/>
              <a:ln w="6350" cap="rnd">
                <a:solidFill>
                  <a:schemeClr val="bg1">
                    <a:alpha val="80000"/>
                  </a:schemeClr>
                </a:solidFill>
                <a:prstDash val="solid"/>
                <a:round/>
              </a:ln>
            </p:spPr>
            <p:txBody>
              <a:bodyPr rtlCol="0" anchor="ctr"/>
              <a:lstStyle/>
              <a:p>
                <a:endParaRPr lang="en-GB"/>
              </a:p>
            </p:txBody>
          </p:sp>
          <p:sp>
            <p:nvSpPr>
              <p:cNvPr id="5785" name="Vrije vorm: vorm 5784">
                <a:extLst>
                  <a:ext uri="{FF2B5EF4-FFF2-40B4-BE49-F238E27FC236}">
                    <a16:creationId xmlns:a16="http://schemas.microsoft.com/office/drawing/2014/main" id="{467D62C5-391A-4AB0-B84F-91BD454C1178}"/>
                  </a:ext>
                </a:extLst>
              </p:cNvPr>
              <p:cNvSpPr/>
              <p:nvPr/>
            </p:nvSpPr>
            <p:spPr>
              <a:xfrm>
                <a:off x="6648848" y="1637801"/>
                <a:ext cx="16207" cy="9090"/>
              </a:xfrm>
              <a:custGeom>
                <a:avLst/>
                <a:gdLst>
                  <a:gd name="connsiteX0" fmla="*/ 16208 w 16207"/>
                  <a:gd name="connsiteY0" fmla="*/ 9091 h 9090"/>
                  <a:gd name="connsiteX1" fmla="*/ 16148 w 16207"/>
                  <a:gd name="connsiteY1" fmla="*/ 8792 h 9090"/>
                  <a:gd name="connsiteX2" fmla="*/ 16148 w 16207"/>
                  <a:gd name="connsiteY2" fmla="*/ 8792 h 9090"/>
                  <a:gd name="connsiteX3" fmla="*/ 16088 w 16207"/>
                  <a:gd name="connsiteY3" fmla="*/ 8493 h 9090"/>
                  <a:gd name="connsiteX4" fmla="*/ 15490 w 16207"/>
                  <a:gd name="connsiteY4" fmla="*/ 7655 h 9090"/>
                  <a:gd name="connsiteX5" fmla="*/ 15490 w 16207"/>
                  <a:gd name="connsiteY5" fmla="*/ 7655 h 9090"/>
                  <a:gd name="connsiteX6" fmla="*/ 14354 w 16207"/>
                  <a:gd name="connsiteY6" fmla="*/ 6639 h 9090"/>
                  <a:gd name="connsiteX7" fmla="*/ 12799 w 16207"/>
                  <a:gd name="connsiteY7" fmla="*/ 5442 h 9090"/>
                  <a:gd name="connsiteX8" fmla="*/ 10885 w 16207"/>
                  <a:gd name="connsiteY8" fmla="*/ 4186 h 9090"/>
                  <a:gd name="connsiteX9" fmla="*/ 8791 w 16207"/>
                  <a:gd name="connsiteY9" fmla="*/ 2990 h 9090"/>
                  <a:gd name="connsiteX10" fmla="*/ 6639 w 16207"/>
                  <a:gd name="connsiteY10" fmla="*/ 1914 h 9090"/>
                  <a:gd name="connsiteX11" fmla="*/ 4605 w 16207"/>
                  <a:gd name="connsiteY11" fmla="*/ 1017 h 9090"/>
                  <a:gd name="connsiteX12" fmla="*/ 2811 w 16207"/>
                  <a:gd name="connsiteY12" fmla="*/ 359 h 9090"/>
                  <a:gd name="connsiteX13" fmla="*/ 1375 w 16207"/>
                  <a:gd name="connsiteY13" fmla="*/ 0 h 9090"/>
                  <a:gd name="connsiteX14" fmla="*/ 778 w 16207"/>
                  <a:gd name="connsiteY14" fmla="*/ 0 h 9090"/>
                  <a:gd name="connsiteX15" fmla="*/ 419 w 16207"/>
                  <a:gd name="connsiteY15" fmla="*/ 0 h 9090"/>
                  <a:gd name="connsiteX16" fmla="*/ 0 w 16207"/>
                  <a:gd name="connsiteY16" fmla="*/ 299 h 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207" h="9090">
                    <a:moveTo>
                      <a:pt x="16208" y="9091"/>
                    </a:moveTo>
                    <a:lnTo>
                      <a:pt x="16148" y="8792"/>
                    </a:lnTo>
                    <a:lnTo>
                      <a:pt x="16148" y="8792"/>
                    </a:lnTo>
                    <a:lnTo>
                      <a:pt x="16088" y="8493"/>
                    </a:lnTo>
                    <a:lnTo>
                      <a:pt x="15490" y="7655"/>
                    </a:lnTo>
                    <a:lnTo>
                      <a:pt x="15490" y="7655"/>
                    </a:lnTo>
                    <a:lnTo>
                      <a:pt x="14354" y="6639"/>
                    </a:lnTo>
                    <a:lnTo>
                      <a:pt x="12799" y="5442"/>
                    </a:lnTo>
                    <a:lnTo>
                      <a:pt x="10885" y="4186"/>
                    </a:lnTo>
                    <a:lnTo>
                      <a:pt x="8791" y="2990"/>
                    </a:lnTo>
                    <a:lnTo>
                      <a:pt x="6639" y="1914"/>
                    </a:lnTo>
                    <a:lnTo>
                      <a:pt x="4605" y="1017"/>
                    </a:lnTo>
                    <a:lnTo>
                      <a:pt x="2811" y="359"/>
                    </a:lnTo>
                    <a:lnTo>
                      <a:pt x="1375" y="0"/>
                    </a:lnTo>
                    <a:lnTo>
                      <a:pt x="778" y="0"/>
                    </a:lnTo>
                    <a:lnTo>
                      <a:pt x="419" y="0"/>
                    </a:lnTo>
                    <a:lnTo>
                      <a:pt x="0" y="299"/>
                    </a:lnTo>
                  </a:path>
                </a:pathLst>
              </a:custGeom>
              <a:noFill/>
              <a:ln w="6350" cap="rnd">
                <a:solidFill>
                  <a:schemeClr val="bg1">
                    <a:alpha val="80000"/>
                  </a:schemeClr>
                </a:solidFill>
                <a:prstDash val="solid"/>
                <a:round/>
              </a:ln>
            </p:spPr>
            <p:txBody>
              <a:bodyPr rtlCol="0" anchor="ctr"/>
              <a:lstStyle/>
              <a:p>
                <a:endParaRPr lang="en-GB"/>
              </a:p>
            </p:txBody>
          </p:sp>
          <p:sp>
            <p:nvSpPr>
              <p:cNvPr id="5786" name="Vrije vorm: vorm 5785">
                <a:extLst>
                  <a:ext uri="{FF2B5EF4-FFF2-40B4-BE49-F238E27FC236}">
                    <a16:creationId xmlns:a16="http://schemas.microsoft.com/office/drawing/2014/main" id="{1B971861-F415-4682-82F5-1FBC05B4009C}"/>
                  </a:ext>
                </a:extLst>
              </p:cNvPr>
              <p:cNvSpPr/>
              <p:nvPr/>
            </p:nvSpPr>
            <p:spPr>
              <a:xfrm>
                <a:off x="6665654" y="1648447"/>
                <a:ext cx="4305" cy="1435"/>
              </a:xfrm>
              <a:custGeom>
                <a:avLst/>
                <a:gdLst>
                  <a:gd name="connsiteX0" fmla="*/ 0 w 4305"/>
                  <a:gd name="connsiteY0" fmla="*/ 0 h 1435"/>
                  <a:gd name="connsiteX1" fmla="*/ 60 w 4305"/>
                  <a:gd name="connsiteY1" fmla="*/ 0 h 1435"/>
                  <a:gd name="connsiteX2" fmla="*/ 2871 w 4305"/>
                  <a:gd name="connsiteY2" fmla="*/ 957 h 1435"/>
                  <a:gd name="connsiteX3" fmla="*/ 4306 w 4305"/>
                  <a:gd name="connsiteY3" fmla="*/ 1435 h 1435"/>
                  <a:gd name="connsiteX4" fmla="*/ 1495 w 4305"/>
                  <a:gd name="connsiteY4" fmla="*/ 478 h 1435"/>
                  <a:gd name="connsiteX5" fmla="*/ 0 w 4305"/>
                  <a:gd name="connsiteY5" fmla="*/ 0 h 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5" h="1435">
                    <a:moveTo>
                      <a:pt x="0" y="0"/>
                    </a:moveTo>
                    <a:lnTo>
                      <a:pt x="60" y="0"/>
                    </a:lnTo>
                    <a:lnTo>
                      <a:pt x="2871" y="957"/>
                    </a:lnTo>
                    <a:lnTo>
                      <a:pt x="4306" y="1435"/>
                    </a:lnTo>
                    <a:lnTo>
                      <a:pt x="1495" y="47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87" name="Vrije vorm: vorm 5786">
                <a:extLst>
                  <a:ext uri="{FF2B5EF4-FFF2-40B4-BE49-F238E27FC236}">
                    <a16:creationId xmlns:a16="http://schemas.microsoft.com/office/drawing/2014/main" id="{386AA35C-72BF-449E-A67D-D2BC57EF829F}"/>
                  </a:ext>
                </a:extLst>
              </p:cNvPr>
              <p:cNvSpPr/>
              <p:nvPr/>
            </p:nvSpPr>
            <p:spPr>
              <a:xfrm>
                <a:off x="6644900" y="1633913"/>
                <a:ext cx="837" cy="1375"/>
              </a:xfrm>
              <a:custGeom>
                <a:avLst/>
                <a:gdLst>
                  <a:gd name="connsiteX0" fmla="*/ 0 w 837"/>
                  <a:gd name="connsiteY0" fmla="*/ 1376 h 1375"/>
                  <a:gd name="connsiteX1" fmla="*/ 239 w 837"/>
                  <a:gd name="connsiteY1" fmla="*/ 957 h 1375"/>
                  <a:gd name="connsiteX2" fmla="*/ 837 w 837"/>
                  <a:gd name="connsiteY2" fmla="*/ 0 h 1375"/>
                </a:gdLst>
                <a:ahLst/>
                <a:cxnLst>
                  <a:cxn ang="0">
                    <a:pos x="connsiteX0" y="connsiteY0"/>
                  </a:cxn>
                  <a:cxn ang="0">
                    <a:pos x="connsiteX1" y="connsiteY1"/>
                  </a:cxn>
                  <a:cxn ang="0">
                    <a:pos x="connsiteX2" y="connsiteY2"/>
                  </a:cxn>
                </a:cxnLst>
                <a:rect l="l" t="t" r="r" b="b"/>
                <a:pathLst>
                  <a:path w="837" h="1375">
                    <a:moveTo>
                      <a:pt x="0" y="1376"/>
                    </a:moveTo>
                    <a:lnTo>
                      <a:pt x="239" y="957"/>
                    </a:lnTo>
                    <a:lnTo>
                      <a:pt x="837" y="0"/>
                    </a:lnTo>
                  </a:path>
                </a:pathLst>
              </a:custGeom>
              <a:noFill/>
              <a:ln w="6350" cap="rnd">
                <a:solidFill>
                  <a:schemeClr val="bg1">
                    <a:alpha val="80000"/>
                  </a:schemeClr>
                </a:solidFill>
                <a:prstDash val="solid"/>
                <a:round/>
              </a:ln>
            </p:spPr>
            <p:txBody>
              <a:bodyPr rtlCol="0" anchor="ctr"/>
              <a:lstStyle/>
              <a:p>
                <a:endParaRPr lang="en-GB"/>
              </a:p>
            </p:txBody>
          </p:sp>
          <p:sp>
            <p:nvSpPr>
              <p:cNvPr id="5788" name="Vrije vorm: vorm 5787">
                <a:extLst>
                  <a:ext uri="{FF2B5EF4-FFF2-40B4-BE49-F238E27FC236}">
                    <a16:creationId xmlns:a16="http://schemas.microsoft.com/office/drawing/2014/main" id="{3B67C90A-4CAF-4309-8AFA-14DB21188CDB}"/>
                  </a:ext>
                </a:extLst>
              </p:cNvPr>
              <p:cNvSpPr/>
              <p:nvPr/>
            </p:nvSpPr>
            <p:spPr>
              <a:xfrm>
                <a:off x="6649685" y="1637801"/>
                <a:ext cx="597" cy="1136"/>
              </a:xfrm>
              <a:custGeom>
                <a:avLst/>
                <a:gdLst>
                  <a:gd name="connsiteX0" fmla="*/ 598 w 597"/>
                  <a:gd name="connsiteY0" fmla="*/ 0 h 1136"/>
                  <a:gd name="connsiteX1" fmla="*/ 418 w 597"/>
                  <a:gd name="connsiteY1" fmla="*/ 359 h 1136"/>
                  <a:gd name="connsiteX2" fmla="*/ 60 w 597"/>
                  <a:gd name="connsiteY2" fmla="*/ 1017 h 1136"/>
                  <a:gd name="connsiteX3" fmla="*/ 0 w 597"/>
                  <a:gd name="connsiteY3" fmla="*/ 1136 h 1136"/>
                </a:gdLst>
                <a:ahLst/>
                <a:cxnLst>
                  <a:cxn ang="0">
                    <a:pos x="connsiteX0" y="connsiteY0"/>
                  </a:cxn>
                  <a:cxn ang="0">
                    <a:pos x="connsiteX1" y="connsiteY1"/>
                  </a:cxn>
                  <a:cxn ang="0">
                    <a:pos x="connsiteX2" y="connsiteY2"/>
                  </a:cxn>
                  <a:cxn ang="0">
                    <a:pos x="connsiteX3" y="connsiteY3"/>
                  </a:cxn>
                </a:cxnLst>
                <a:rect l="l" t="t" r="r" b="b"/>
                <a:pathLst>
                  <a:path w="597" h="1136">
                    <a:moveTo>
                      <a:pt x="598" y="0"/>
                    </a:moveTo>
                    <a:lnTo>
                      <a:pt x="418" y="359"/>
                    </a:lnTo>
                    <a:lnTo>
                      <a:pt x="60" y="1017"/>
                    </a:lnTo>
                    <a:lnTo>
                      <a:pt x="0" y="1136"/>
                    </a:lnTo>
                  </a:path>
                </a:pathLst>
              </a:custGeom>
              <a:noFill/>
              <a:ln w="6350" cap="rnd">
                <a:solidFill>
                  <a:schemeClr val="bg1">
                    <a:alpha val="80000"/>
                  </a:schemeClr>
                </a:solidFill>
                <a:prstDash val="solid"/>
                <a:round/>
              </a:ln>
            </p:spPr>
            <p:txBody>
              <a:bodyPr rtlCol="0" anchor="ctr"/>
              <a:lstStyle/>
              <a:p>
                <a:endParaRPr lang="en-GB"/>
              </a:p>
            </p:txBody>
          </p:sp>
          <p:sp>
            <p:nvSpPr>
              <p:cNvPr id="5789" name="Vrije vorm: vorm 5788">
                <a:extLst>
                  <a:ext uri="{FF2B5EF4-FFF2-40B4-BE49-F238E27FC236}">
                    <a16:creationId xmlns:a16="http://schemas.microsoft.com/office/drawing/2014/main" id="{16DAA41F-79C8-4639-ADEE-EB1E3C1EEEA5}"/>
                  </a:ext>
                </a:extLst>
              </p:cNvPr>
              <p:cNvSpPr/>
              <p:nvPr/>
            </p:nvSpPr>
            <p:spPr>
              <a:xfrm>
                <a:off x="6664697" y="1646892"/>
                <a:ext cx="358" cy="598"/>
              </a:xfrm>
              <a:custGeom>
                <a:avLst/>
                <a:gdLst>
                  <a:gd name="connsiteX0" fmla="*/ 359 w 358"/>
                  <a:gd name="connsiteY0" fmla="*/ 0 h 598"/>
                  <a:gd name="connsiteX1" fmla="*/ 120 w 358"/>
                  <a:gd name="connsiteY1" fmla="*/ 419 h 598"/>
                  <a:gd name="connsiteX2" fmla="*/ 120 w 358"/>
                  <a:gd name="connsiteY2" fmla="*/ 419 h 598"/>
                  <a:gd name="connsiteX3" fmla="*/ 0 w 358"/>
                  <a:gd name="connsiteY3" fmla="*/ 598 h 598"/>
                </a:gdLst>
                <a:ahLst/>
                <a:cxnLst>
                  <a:cxn ang="0">
                    <a:pos x="connsiteX0" y="connsiteY0"/>
                  </a:cxn>
                  <a:cxn ang="0">
                    <a:pos x="connsiteX1" y="connsiteY1"/>
                  </a:cxn>
                  <a:cxn ang="0">
                    <a:pos x="connsiteX2" y="connsiteY2"/>
                  </a:cxn>
                  <a:cxn ang="0">
                    <a:pos x="connsiteX3" y="connsiteY3"/>
                  </a:cxn>
                </a:cxnLst>
                <a:rect l="l" t="t" r="r" b="b"/>
                <a:pathLst>
                  <a:path w="358" h="598">
                    <a:moveTo>
                      <a:pt x="359" y="0"/>
                    </a:moveTo>
                    <a:lnTo>
                      <a:pt x="120" y="419"/>
                    </a:lnTo>
                    <a:lnTo>
                      <a:pt x="120" y="419"/>
                    </a:lnTo>
                    <a:lnTo>
                      <a:pt x="0" y="598"/>
                    </a:lnTo>
                  </a:path>
                </a:pathLst>
              </a:custGeom>
              <a:noFill/>
              <a:ln w="6350" cap="rnd">
                <a:solidFill>
                  <a:schemeClr val="bg1">
                    <a:alpha val="80000"/>
                  </a:schemeClr>
                </a:solidFill>
                <a:prstDash val="solid"/>
                <a:round/>
              </a:ln>
            </p:spPr>
            <p:txBody>
              <a:bodyPr rtlCol="0" anchor="ctr"/>
              <a:lstStyle/>
              <a:p>
                <a:endParaRPr lang="en-GB"/>
              </a:p>
            </p:txBody>
          </p:sp>
          <p:sp>
            <p:nvSpPr>
              <p:cNvPr id="5790" name="Vrije vorm: vorm 5789">
                <a:extLst>
                  <a:ext uri="{FF2B5EF4-FFF2-40B4-BE49-F238E27FC236}">
                    <a16:creationId xmlns:a16="http://schemas.microsoft.com/office/drawing/2014/main" id="{0E048909-DF59-4D9D-98C2-F08082D5EDAB}"/>
                  </a:ext>
                </a:extLst>
              </p:cNvPr>
              <p:cNvSpPr/>
              <p:nvPr/>
            </p:nvSpPr>
            <p:spPr>
              <a:xfrm>
                <a:off x="6657939" y="1603771"/>
                <a:ext cx="6040" cy="3588"/>
              </a:xfrm>
              <a:custGeom>
                <a:avLst/>
                <a:gdLst>
                  <a:gd name="connsiteX0" fmla="*/ 6040 w 6040"/>
                  <a:gd name="connsiteY0" fmla="*/ 0 h 3588"/>
                  <a:gd name="connsiteX1" fmla="*/ 3289 w 6040"/>
                  <a:gd name="connsiteY1" fmla="*/ 1615 h 3588"/>
                  <a:gd name="connsiteX2" fmla="*/ 1375 w 6040"/>
                  <a:gd name="connsiteY2" fmla="*/ 2751 h 3588"/>
                  <a:gd name="connsiteX3" fmla="*/ 0 w 6040"/>
                  <a:gd name="connsiteY3" fmla="*/ 3588 h 3588"/>
                </a:gdLst>
                <a:ahLst/>
                <a:cxnLst>
                  <a:cxn ang="0">
                    <a:pos x="connsiteX0" y="connsiteY0"/>
                  </a:cxn>
                  <a:cxn ang="0">
                    <a:pos x="connsiteX1" y="connsiteY1"/>
                  </a:cxn>
                  <a:cxn ang="0">
                    <a:pos x="connsiteX2" y="connsiteY2"/>
                  </a:cxn>
                  <a:cxn ang="0">
                    <a:pos x="connsiteX3" y="connsiteY3"/>
                  </a:cxn>
                </a:cxnLst>
                <a:rect l="l" t="t" r="r" b="b"/>
                <a:pathLst>
                  <a:path w="6040" h="3588">
                    <a:moveTo>
                      <a:pt x="6040" y="0"/>
                    </a:moveTo>
                    <a:lnTo>
                      <a:pt x="3289" y="1615"/>
                    </a:lnTo>
                    <a:lnTo>
                      <a:pt x="1375" y="2751"/>
                    </a:lnTo>
                    <a:lnTo>
                      <a:pt x="0" y="3588"/>
                    </a:lnTo>
                  </a:path>
                </a:pathLst>
              </a:custGeom>
              <a:noFill/>
              <a:ln w="6350" cap="rnd">
                <a:solidFill>
                  <a:schemeClr val="bg1">
                    <a:alpha val="80000"/>
                  </a:schemeClr>
                </a:solidFill>
                <a:prstDash val="solid"/>
                <a:round/>
              </a:ln>
            </p:spPr>
            <p:txBody>
              <a:bodyPr rtlCol="0" anchor="ctr"/>
              <a:lstStyle/>
              <a:p>
                <a:endParaRPr lang="en-GB"/>
              </a:p>
            </p:txBody>
          </p:sp>
          <p:sp>
            <p:nvSpPr>
              <p:cNvPr id="5791" name="Vrije vorm: vorm 5790">
                <a:extLst>
                  <a:ext uri="{FF2B5EF4-FFF2-40B4-BE49-F238E27FC236}">
                    <a16:creationId xmlns:a16="http://schemas.microsoft.com/office/drawing/2014/main" id="{4C4138EC-DBFA-4EAB-A076-9400BD58BB66}"/>
                  </a:ext>
                </a:extLst>
              </p:cNvPr>
              <p:cNvSpPr/>
              <p:nvPr/>
            </p:nvSpPr>
            <p:spPr>
              <a:xfrm>
                <a:off x="6666790" y="1592347"/>
                <a:ext cx="777" cy="5322"/>
              </a:xfrm>
              <a:custGeom>
                <a:avLst/>
                <a:gdLst>
                  <a:gd name="connsiteX0" fmla="*/ 0 w 777"/>
                  <a:gd name="connsiteY0" fmla="*/ 0 h 5322"/>
                  <a:gd name="connsiteX1" fmla="*/ 299 w 777"/>
                  <a:gd name="connsiteY1" fmla="*/ 1974 h 5322"/>
                  <a:gd name="connsiteX2" fmla="*/ 718 w 777"/>
                  <a:gd name="connsiteY2" fmla="*/ 5084 h 5322"/>
                  <a:gd name="connsiteX3" fmla="*/ 778 w 777"/>
                  <a:gd name="connsiteY3" fmla="*/ 5323 h 5322"/>
                </a:gdLst>
                <a:ahLst/>
                <a:cxnLst>
                  <a:cxn ang="0">
                    <a:pos x="connsiteX0" y="connsiteY0"/>
                  </a:cxn>
                  <a:cxn ang="0">
                    <a:pos x="connsiteX1" y="connsiteY1"/>
                  </a:cxn>
                  <a:cxn ang="0">
                    <a:pos x="connsiteX2" y="connsiteY2"/>
                  </a:cxn>
                  <a:cxn ang="0">
                    <a:pos x="connsiteX3" y="connsiteY3"/>
                  </a:cxn>
                </a:cxnLst>
                <a:rect l="l" t="t" r="r" b="b"/>
                <a:pathLst>
                  <a:path w="777" h="5322">
                    <a:moveTo>
                      <a:pt x="0" y="0"/>
                    </a:moveTo>
                    <a:lnTo>
                      <a:pt x="299" y="1974"/>
                    </a:lnTo>
                    <a:lnTo>
                      <a:pt x="718" y="5084"/>
                    </a:lnTo>
                    <a:lnTo>
                      <a:pt x="778" y="5323"/>
                    </a:lnTo>
                  </a:path>
                </a:pathLst>
              </a:custGeom>
              <a:noFill/>
              <a:ln w="6350" cap="rnd">
                <a:solidFill>
                  <a:schemeClr val="bg1">
                    <a:alpha val="80000"/>
                  </a:schemeClr>
                </a:solidFill>
                <a:prstDash val="solid"/>
                <a:round/>
              </a:ln>
            </p:spPr>
            <p:txBody>
              <a:bodyPr rtlCol="0" anchor="ctr"/>
              <a:lstStyle/>
              <a:p>
                <a:endParaRPr lang="en-GB"/>
              </a:p>
            </p:txBody>
          </p:sp>
          <p:sp>
            <p:nvSpPr>
              <p:cNvPr id="5792" name="Vrije vorm: vorm 5791">
                <a:extLst>
                  <a:ext uri="{FF2B5EF4-FFF2-40B4-BE49-F238E27FC236}">
                    <a16:creationId xmlns:a16="http://schemas.microsoft.com/office/drawing/2014/main" id="{61C7D05E-9B31-4274-B186-B7093278A165}"/>
                  </a:ext>
                </a:extLst>
              </p:cNvPr>
              <p:cNvSpPr/>
              <p:nvPr/>
            </p:nvSpPr>
            <p:spPr>
              <a:xfrm>
                <a:off x="6661228" y="1598089"/>
                <a:ext cx="4844" cy="1136"/>
              </a:xfrm>
              <a:custGeom>
                <a:avLst/>
                <a:gdLst>
                  <a:gd name="connsiteX0" fmla="*/ 4844 w 4844"/>
                  <a:gd name="connsiteY0" fmla="*/ 1136 h 1136"/>
                  <a:gd name="connsiteX1" fmla="*/ 1914 w 4844"/>
                  <a:gd name="connsiteY1" fmla="*/ 419 h 1136"/>
                  <a:gd name="connsiteX2" fmla="*/ 1854 w 4844"/>
                  <a:gd name="connsiteY2" fmla="*/ 419 h 1136"/>
                  <a:gd name="connsiteX3" fmla="*/ 0 w 4844"/>
                  <a:gd name="connsiteY3" fmla="*/ 0 h 1136"/>
                </a:gdLst>
                <a:ahLst/>
                <a:cxnLst>
                  <a:cxn ang="0">
                    <a:pos x="connsiteX0" y="connsiteY0"/>
                  </a:cxn>
                  <a:cxn ang="0">
                    <a:pos x="connsiteX1" y="connsiteY1"/>
                  </a:cxn>
                  <a:cxn ang="0">
                    <a:pos x="connsiteX2" y="connsiteY2"/>
                  </a:cxn>
                  <a:cxn ang="0">
                    <a:pos x="connsiteX3" y="connsiteY3"/>
                  </a:cxn>
                </a:cxnLst>
                <a:rect l="l" t="t" r="r" b="b"/>
                <a:pathLst>
                  <a:path w="4844" h="1136">
                    <a:moveTo>
                      <a:pt x="4844" y="1136"/>
                    </a:moveTo>
                    <a:lnTo>
                      <a:pt x="1914" y="419"/>
                    </a:lnTo>
                    <a:lnTo>
                      <a:pt x="1854" y="41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793" name="Vrije vorm: vorm 5792">
                <a:extLst>
                  <a:ext uri="{FF2B5EF4-FFF2-40B4-BE49-F238E27FC236}">
                    <a16:creationId xmlns:a16="http://schemas.microsoft.com/office/drawing/2014/main" id="{1C6B1D21-25B8-42EF-93A0-7DFA7D92A10F}"/>
                  </a:ext>
                </a:extLst>
              </p:cNvPr>
              <p:cNvSpPr/>
              <p:nvPr/>
            </p:nvSpPr>
            <p:spPr>
              <a:xfrm>
                <a:off x="6665235" y="1606940"/>
                <a:ext cx="1854" cy="777"/>
              </a:xfrm>
              <a:custGeom>
                <a:avLst/>
                <a:gdLst>
                  <a:gd name="connsiteX0" fmla="*/ 1854 w 1854"/>
                  <a:gd name="connsiteY0" fmla="*/ 478 h 777"/>
                  <a:gd name="connsiteX1" fmla="*/ 0 w 1854"/>
                  <a:gd name="connsiteY1" fmla="*/ 0 h 777"/>
                  <a:gd name="connsiteX2" fmla="*/ 538 w 1854"/>
                  <a:gd name="connsiteY2" fmla="*/ 478 h 777"/>
                  <a:gd name="connsiteX3" fmla="*/ 1675 w 1854"/>
                  <a:gd name="connsiteY3" fmla="*/ 778 h 777"/>
                </a:gdLst>
                <a:ahLst/>
                <a:cxnLst>
                  <a:cxn ang="0">
                    <a:pos x="connsiteX0" y="connsiteY0"/>
                  </a:cxn>
                  <a:cxn ang="0">
                    <a:pos x="connsiteX1" y="connsiteY1"/>
                  </a:cxn>
                  <a:cxn ang="0">
                    <a:pos x="connsiteX2" y="connsiteY2"/>
                  </a:cxn>
                  <a:cxn ang="0">
                    <a:pos x="connsiteX3" y="connsiteY3"/>
                  </a:cxn>
                </a:cxnLst>
                <a:rect l="l" t="t" r="r" b="b"/>
                <a:pathLst>
                  <a:path w="1854" h="777">
                    <a:moveTo>
                      <a:pt x="1854" y="478"/>
                    </a:moveTo>
                    <a:lnTo>
                      <a:pt x="0" y="0"/>
                    </a:lnTo>
                    <a:lnTo>
                      <a:pt x="538" y="478"/>
                    </a:lnTo>
                    <a:lnTo>
                      <a:pt x="1675" y="778"/>
                    </a:lnTo>
                  </a:path>
                </a:pathLst>
              </a:custGeom>
              <a:noFill/>
              <a:ln w="6350" cap="rnd">
                <a:solidFill>
                  <a:schemeClr val="bg1">
                    <a:alpha val="80000"/>
                  </a:schemeClr>
                </a:solidFill>
                <a:prstDash val="solid"/>
                <a:round/>
              </a:ln>
            </p:spPr>
            <p:txBody>
              <a:bodyPr rtlCol="0" anchor="ctr"/>
              <a:lstStyle/>
              <a:p>
                <a:endParaRPr lang="en-GB"/>
              </a:p>
            </p:txBody>
          </p:sp>
          <p:sp>
            <p:nvSpPr>
              <p:cNvPr id="5794" name="Vrije vorm: vorm 5793">
                <a:extLst>
                  <a:ext uri="{FF2B5EF4-FFF2-40B4-BE49-F238E27FC236}">
                    <a16:creationId xmlns:a16="http://schemas.microsoft.com/office/drawing/2014/main" id="{9F98C8FC-1089-4E5B-8D91-B68F0713C1C5}"/>
                  </a:ext>
                </a:extLst>
              </p:cNvPr>
              <p:cNvSpPr/>
              <p:nvPr/>
            </p:nvSpPr>
            <p:spPr>
              <a:xfrm>
                <a:off x="6668883" y="1605505"/>
                <a:ext cx="2631" cy="1973"/>
              </a:xfrm>
              <a:custGeom>
                <a:avLst/>
                <a:gdLst>
                  <a:gd name="connsiteX0" fmla="*/ 2512 w 2631"/>
                  <a:gd name="connsiteY0" fmla="*/ 0 h 1973"/>
                  <a:gd name="connsiteX1" fmla="*/ 0 w 2631"/>
                  <a:gd name="connsiteY1" fmla="*/ 1495 h 1973"/>
                  <a:gd name="connsiteX2" fmla="*/ 538 w 2631"/>
                  <a:gd name="connsiteY2" fmla="*/ 1974 h 1973"/>
                  <a:gd name="connsiteX3" fmla="*/ 2632 w 2631"/>
                  <a:gd name="connsiteY3" fmla="*/ 718 h 1973"/>
                </a:gdLst>
                <a:ahLst/>
                <a:cxnLst>
                  <a:cxn ang="0">
                    <a:pos x="connsiteX0" y="connsiteY0"/>
                  </a:cxn>
                  <a:cxn ang="0">
                    <a:pos x="connsiteX1" y="connsiteY1"/>
                  </a:cxn>
                  <a:cxn ang="0">
                    <a:pos x="connsiteX2" y="connsiteY2"/>
                  </a:cxn>
                  <a:cxn ang="0">
                    <a:pos x="connsiteX3" y="connsiteY3"/>
                  </a:cxn>
                </a:cxnLst>
                <a:rect l="l" t="t" r="r" b="b"/>
                <a:pathLst>
                  <a:path w="2631" h="1973">
                    <a:moveTo>
                      <a:pt x="2512" y="0"/>
                    </a:moveTo>
                    <a:lnTo>
                      <a:pt x="0" y="1495"/>
                    </a:lnTo>
                    <a:lnTo>
                      <a:pt x="538" y="1974"/>
                    </a:lnTo>
                    <a:lnTo>
                      <a:pt x="2632" y="718"/>
                    </a:lnTo>
                  </a:path>
                </a:pathLst>
              </a:custGeom>
              <a:noFill/>
              <a:ln w="6350" cap="rnd">
                <a:solidFill>
                  <a:schemeClr val="bg1">
                    <a:alpha val="80000"/>
                  </a:schemeClr>
                </a:solidFill>
                <a:prstDash val="solid"/>
                <a:round/>
              </a:ln>
            </p:spPr>
            <p:txBody>
              <a:bodyPr rtlCol="0" anchor="ctr"/>
              <a:lstStyle/>
              <a:p>
                <a:endParaRPr lang="en-GB"/>
              </a:p>
            </p:txBody>
          </p:sp>
          <p:sp>
            <p:nvSpPr>
              <p:cNvPr id="5795" name="Vrije vorm: vorm 5794">
                <a:extLst>
                  <a:ext uri="{FF2B5EF4-FFF2-40B4-BE49-F238E27FC236}">
                    <a16:creationId xmlns:a16="http://schemas.microsoft.com/office/drawing/2014/main" id="{F7431E4E-3502-40B8-98FE-857B7D07EF05}"/>
                  </a:ext>
                </a:extLst>
              </p:cNvPr>
              <p:cNvSpPr/>
              <p:nvPr/>
            </p:nvSpPr>
            <p:spPr>
              <a:xfrm>
                <a:off x="6674804" y="1597371"/>
                <a:ext cx="658" cy="1854"/>
              </a:xfrm>
              <a:custGeom>
                <a:avLst/>
                <a:gdLst>
                  <a:gd name="connsiteX0" fmla="*/ 658 w 658"/>
                  <a:gd name="connsiteY0" fmla="*/ 1555 h 1854"/>
                  <a:gd name="connsiteX1" fmla="*/ 538 w 658"/>
                  <a:gd name="connsiteY1" fmla="*/ 478 h 1854"/>
                  <a:gd name="connsiteX2" fmla="*/ 0 w 658"/>
                  <a:gd name="connsiteY2" fmla="*/ 0 h 1854"/>
                  <a:gd name="connsiteX3" fmla="*/ 239 w 658"/>
                  <a:gd name="connsiteY3" fmla="*/ 1854 h 1854"/>
                </a:gdLst>
                <a:ahLst/>
                <a:cxnLst>
                  <a:cxn ang="0">
                    <a:pos x="connsiteX0" y="connsiteY0"/>
                  </a:cxn>
                  <a:cxn ang="0">
                    <a:pos x="connsiteX1" y="connsiteY1"/>
                  </a:cxn>
                  <a:cxn ang="0">
                    <a:pos x="connsiteX2" y="connsiteY2"/>
                  </a:cxn>
                  <a:cxn ang="0">
                    <a:pos x="connsiteX3" y="connsiteY3"/>
                  </a:cxn>
                </a:cxnLst>
                <a:rect l="l" t="t" r="r" b="b"/>
                <a:pathLst>
                  <a:path w="658" h="1854">
                    <a:moveTo>
                      <a:pt x="658" y="1555"/>
                    </a:moveTo>
                    <a:lnTo>
                      <a:pt x="538" y="478"/>
                    </a:lnTo>
                    <a:lnTo>
                      <a:pt x="0" y="0"/>
                    </a:lnTo>
                    <a:lnTo>
                      <a:pt x="239" y="1854"/>
                    </a:lnTo>
                  </a:path>
                </a:pathLst>
              </a:custGeom>
              <a:noFill/>
              <a:ln w="6350" cap="rnd">
                <a:solidFill>
                  <a:schemeClr val="bg1">
                    <a:alpha val="80000"/>
                  </a:schemeClr>
                </a:solidFill>
                <a:prstDash val="solid"/>
                <a:round/>
              </a:ln>
            </p:spPr>
            <p:txBody>
              <a:bodyPr rtlCol="0" anchor="ctr"/>
              <a:lstStyle/>
              <a:p>
                <a:endParaRPr lang="en-GB"/>
              </a:p>
            </p:txBody>
          </p:sp>
          <p:sp>
            <p:nvSpPr>
              <p:cNvPr id="5796" name="Vrije vorm: vorm 5795">
                <a:extLst>
                  <a:ext uri="{FF2B5EF4-FFF2-40B4-BE49-F238E27FC236}">
                    <a16:creationId xmlns:a16="http://schemas.microsoft.com/office/drawing/2014/main" id="{ABC47F94-3ABB-43A5-B94A-BF050A103A21}"/>
                  </a:ext>
                </a:extLst>
              </p:cNvPr>
              <p:cNvSpPr/>
              <p:nvPr/>
            </p:nvSpPr>
            <p:spPr>
              <a:xfrm>
                <a:off x="6672891" y="1601259"/>
                <a:ext cx="2152" cy="2751"/>
              </a:xfrm>
              <a:custGeom>
                <a:avLst/>
                <a:gdLst>
                  <a:gd name="connsiteX0" fmla="*/ 2153 w 2152"/>
                  <a:gd name="connsiteY0" fmla="*/ 478 h 2751"/>
                  <a:gd name="connsiteX1" fmla="*/ 1615 w 2152"/>
                  <a:gd name="connsiteY1" fmla="*/ 0 h 2751"/>
                  <a:gd name="connsiteX2" fmla="*/ 1196 w 2152"/>
                  <a:gd name="connsiteY2" fmla="*/ 718 h 2751"/>
                  <a:gd name="connsiteX3" fmla="*/ 777 w 2152"/>
                  <a:gd name="connsiteY3" fmla="*/ 1376 h 2751"/>
                  <a:gd name="connsiteX4" fmla="*/ 0 w 2152"/>
                  <a:gd name="connsiteY4" fmla="*/ 2751 h 2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 h="2751">
                    <a:moveTo>
                      <a:pt x="2153" y="478"/>
                    </a:moveTo>
                    <a:lnTo>
                      <a:pt x="1615" y="0"/>
                    </a:lnTo>
                    <a:lnTo>
                      <a:pt x="1196" y="718"/>
                    </a:lnTo>
                    <a:lnTo>
                      <a:pt x="777" y="1376"/>
                    </a:lnTo>
                    <a:lnTo>
                      <a:pt x="0" y="2751"/>
                    </a:lnTo>
                  </a:path>
                </a:pathLst>
              </a:custGeom>
              <a:noFill/>
              <a:ln w="6350" cap="rnd">
                <a:solidFill>
                  <a:schemeClr val="bg1">
                    <a:alpha val="80000"/>
                  </a:schemeClr>
                </a:solidFill>
                <a:prstDash val="solid"/>
                <a:round/>
              </a:ln>
            </p:spPr>
            <p:txBody>
              <a:bodyPr rtlCol="0" anchor="ctr"/>
              <a:lstStyle/>
              <a:p>
                <a:endParaRPr lang="en-GB"/>
              </a:p>
            </p:txBody>
          </p:sp>
          <p:sp>
            <p:nvSpPr>
              <p:cNvPr id="5797" name="Vrije vorm: vorm 5796">
                <a:extLst>
                  <a:ext uri="{FF2B5EF4-FFF2-40B4-BE49-F238E27FC236}">
                    <a16:creationId xmlns:a16="http://schemas.microsoft.com/office/drawing/2014/main" id="{4AD13BCA-CBB1-434C-945E-380182B0AE1D}"/>
                  </a:ext>
                </a:extLst>
              </p:cNvPr>
              <p:cNvSpPr/>
              <p:nvPr/>
            </p:nvSpPr>
            <p:spPr>
              <a:xfrm>
                <a:off x="6673608" y="1601677"/>
                <a:ext cx="6518" cy="4007"/>
              </a:xfrm>
              <a:custGeom>
                <a:avLst/>
                <a:gdLst>
                  <a:gd name="connsiteX0" fmla="*/ 4904 w 6518"/>
                  <a:gd name="connsiteY0" fmla="*/ 4007 h 4007"/>
                  <a:gd name="connsiteX1" fmla="*/ 5861 w 6518"/>
                  <a:gd name="connsiteY1" fmla="*/ 2691 h 4007"/>
                  <a:gd name="connsiteX2" fmla="*/ 6040 w 6518"/>
                  <a:gd name="connsiteY2" fmla="*/ 2392 h 4007"/>
                  <a:gd name="connsiteX3" fmla="*/ 6340 w 6518"/>
                  <a:gd name="connsiteY3" fmla="*/ 1675 h 4007"/>
                  <a:gd name="connsiteX4" fmla="*/ 6519 w 6518"/>
                  <a:gd name="connsiteY4" fmla="*/ 1256 h 4007"/>
                  <a:gd name="connsiteX5" fmla="*/ 3588 w 6518"/>
                  <a:gd name="connsiteY5" fmla="*/ 538 h 4007"/>
                  <a:gd name="connsiteX6" fmla="*/ 1435 w 6518"/>
                  <a:gd name="connsiteY6" fmla="*/ 0 h 4007"/>
                  <a:gd name="connsiteX7" fmla="*/ 1196 w 6518"/>
                  <a:gd name="connsiteY7" fmla="*/ 359 h 4007"/>
                  <a:gd name="connsiteX8" fmla="*/ 778 w 6518"/>
                  <a:gd name="connsiteY8" fmla="*/ 1017 h 4007"/>
                  <a:gd name="connsiteX9" fmla="*/ 0 w 6518"/>
                  <a:gd name="connsiteY9" fmla="*/ 2392 h 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8" h="4007">
                    <a:moveTo>
                      <a:pt x="4904" y="4007"/>
                    </a:moveTo>
                    <a:lnTo>
                      <a:pt x="5861" y="2691"/>
                    </a:lnTo>
                    <a:lnTo>
                      <a:pt x="6040" y="2392"/>
                    </a:lnTo>
                    <a:lnTo>
                      <a:pt x="6340" y="1675"/>
                    </a:lnTo>
                    <a:lnTo>
                      <a:pt x="6519" y="1256"/>
                    </a:lnTo>
                    <a:lnTo>
                      <a:pt x="3588" y="538"/>
                    </a:lnTo>
                    <a:lnTo>
                      <a:pt x="1435" y="0"/>
                    </a:lnTo>
                    <a:lnTo>
                      <a:pt x="1196" y="359"/>
                    </a:lnTo>
                    <a:lnTo>
                      <a:pt x="778" y="1017"/>
                    </a:lnTo>
                    <a:lnTo>
                      <a:pt x="0" y="2392"/>
                    </a:lnTo>
                  </a:path>
                </a:pathLst>
              </a:custGeom>
              <a:noFill/>
              <a:ln w="6350" cap="rnd">
                <a:solidFill>
                  <a:schemeClr val="bg1">
                    <a:alpha val="80000"/>
                  </a:schemeClr>
                </a:solidFill>
                <a:prstDash val="solid"/>
                <a:round/>
              </a:ln>
            </p:spPr>
            <p:txBody>
              <a:bodyPr rtlCol="0" anchor="ctr"/>
              <a:lstStyle/>
              <a:p>
                <a:endParaRPr lang="en-GB"/>
              </a:p>
            </p:txBody>
          </p:sp>
          <p:sp>
            <p:nvSpPr>
              <p:cNvPr id="5798" name="Vrije vorm: vorm 5797">
                <a:extLst>
                  <a:ext uri="{FF2B5EF4-FFF2-40B4-BE49-F238E27FC236}">
                    <a16:creationId xmlns:a16="http://schemas.microsoft.com/office/drawing/2014/main" id="{C294D4C0-DCA3-4BA5-8DC2-54A2310E98F8}"/>
                  </a:ext>
                </a:extLst>
              </p:cNvPr>
              <p:cNvSpPr/>
              <p:nvPr/>
            </p:nvSpPr>
            <p:spPr>
              <a:xfrm>
                <a:off x="6658477" y="1604548"/>
                <a:ext cx="5621" cy="3349"/>
              </a:xfrm>
              <a:custGeom>
                <a:avLst/>
                <a:gdLst>
                  <a:gd name="connsiteX0" fmla="*/ 0 w 5621"/>
                  <a:gd name="connsiteY0" fmla="*/ 3349 h 3349"/>
                  <a:gd name="connsiteX1" fmla="*/ 778 w 5621"/>
                  <a:gd name="connsiteY1" fmla="*/ 2871 h 3349"/>
                  <a:gd name="connsiteX2" fmla="*/ 3529 w 5621"/>
                  <a:gd name="connsiteY2" fmla="*/ 1256 h 3349"/>
                  <a:gd name="connsiteX3" fmla="*/ 5622 w 5621"/>
                  <a:gd name="connsiteY3" fmla="*/ 0 h 3349"/>
                </a:gdLst>
                <a:ahLst/>
                <a:cxnLst>
                  <a:cxn ang="0">
                    <a:pos x="connsiteX0" y="connsiteY0"/>
                  </a:cxn>
                  <a:cxn ang="0">
                    <a:pos x="connsiteX1" y="connsiteY1"/>
                  </a:cxn>
                  <a:cxn ang="0">
                    <a:pos x="connsiteX2" y="connsiteY2"/>
                  </a:cxn>
                  <a:cxn ang="0">
                    <a:pos x="connsiteX3" y="connsiteY3"/>
                  </a:cxn>
                </a:cxnLst>
                <a:rect l="l" t="t" r="r" b="b"/>
                <a:pathLst>
                  <a:path w="5621" h="3349">
                    <a:moveTo>
                      <a:pt x="0" y="3349"/>
                    </a:moveTo>
                    <a:lnTo>
                      <a:pt x="778" y="2871"/>
                    </a:lnTo>
                    <a:lnTo>
                      <a:pt x="3529" y="1256"/>
                    </a:lnTo>
                    <a:lnTo>
                      <a:pt x="5622" y="0"/>
                    </a:lnTo>
                  </a:path>
                </a:pathLst>
              </a:custGeom>
              <a:noFill/>
              <a:ln w="6350" cap="rnd">
                <a:solidFill>
                  <a:schemeClr val="bg1">
                    <a:alpha val="80000"/>
                  </a:schemeClr>
                </a:solidFill>
                <a:prstDash val="solid"/>
                <a:round/>
              </a:ln>
            </p:spPr>
            <p:txBody>
              <a:bodyPr rtlCol="0" anchor="ctr"/>
              <a:lstStyle/>
              <a:p>
                <a:endParaRPr lang="en-GB"/>
              </a:p>
            </p:txBody>
          </p:sp>
          <p:sp>
            <p:nvSpPr>
              <p:cNvPr id="5799" name="Vrije vorm: vorm 5798">
                <a:extLst>
                  <a:ext uri="{FF2B5EF4-FFF2-40B4-BE49-F238E27FC236}">
                    <a16:creationId xmlns:a16="http://schemas.microsoft.com/office/drawing/2014/main" id="{C0A18D86-4B3A-44DF-B72B-ACFE206091FB}"/>
                  </a:ext>
                </a:extLst>
              </p:cNvPr>
              <p:cNvSpPr/>
              <p:nvPr/>
            </p:nvSpPr>
            <p:spPr>
              <a:xfrm>
                <a:off x="6661706" y="1598508"/>
                <a:ext cx="4126" cy="956"/>
              </a:xfrm>
              <a:custGeom>
                <a:avLst/>
                <a:gdLst>
                  <a:gd name="connsiteX0" fmla="*/ 0 w 4126"/>
                  <a:gd name="connsiteY0" fmla="*/ 0 h 956"/>
                  <a:gd name="connsiteX1" fmla="*/ 1077 w 4126"/>
                  <a:gd name="connsiteY1" fmla="*/ 239 h 956"/>
                  <a:gd name="connsiteX2" fmla="*/ 4007 w 4126"/>
                  <a:gd name="connsiteY2" fmla="*/ 957 h 956"/>
                  <a:gd name="connsiteX3" fmla="*/ 4127 w 4126"/>
                  <a:gd name="connsiteY3" fmla="*/ 957 h 956"/>
                </a:gdLst>
                <a:ahLst/>
                <a:cxnLst>
                  <a:cxn ang="0">
                    <a:pos x="connsiteX0" y="connsiteY0"/>
                  </a:cxn>
                  <a:cxn ang="0">
                    <a:pos x="connsiteX1" y="connsiteY1"/>
                  </a:cxn>
                  <a:cxn ang="0">
                    <a:pos x="connsiteX2" y="connsiteY2"/>
                  </a:cxn>
                  <a:cxn ang="0">
                    <a:pos x="connsiteX3" y="connsiteY3"/>
                  </a:cxn>
                </a:cxnLst>
                <a:rect l="l" t="t" r="r" b="b"/>
                <a:pathLst>
                  <a:path w="4126" h="956">
                    <a:moveTo>
                      <a:pt x="0" y="0"/>
                    </a:moveTo>
                    <a:lnTo>
                      <a:pt x="1077" y="239"/>
                    </a:lnTo>
                    <a:lnTo>
                      <a:pt x="4007" y="957"/>
                    </a:lnTo>
                    <a:lnTo>
                      <a:pt x="4127" y="957"/>
                    </a:lnTo>
                  </a:path>
                </a:pathLst>
              </a:custGeom>
              <a:noFill/>
              <a:ln w="6350" cap="rnd">
                <a:solidFill>
                  <a:schemeClr val="bg1">
                    <a:alpha val="80000"/>
                  </a:schemeClr>
                </a:solidFill>
                <a:prstDash val="solid"/>
                <a:round/>
              </a:ln>
            </p:spPr>
            <p:txBody>
              <a:bodyPr rtlCol="0" anchor="ctr"/>
              <a:lstStyle/>
              <a:p>
                <a:endParaRPr lang="en-GB"/>
              </a:p>
            </p:txBody>
          </p:sp>
          <p:sp>
            <p:nvSpPr>
              <p:cNvPr id="5800" name="Vrije vorm: vorm 5799">
                <a:extLst>
                  <a:ext uri="{FF2B5EF4-FFF2-40B4-BE49-F238E27FC236}">
                    <a16:creationId xmlns:a16="http://schemas.microsoft.com/office/drawing/2014/main" id="{3D43C5BE-04E0-4273-8F22-6CF2B0455115}"/>
                  </a:ext>
                </a:extLst>
              </p:cNvPr>
              <p:cNvSpPr/>
              <p:nvPr/>
            </p:nvSpPr>
            <p:spPr>
              <a:xfrm>
                <a:off x="6643824" y="1638279"/>
                <a:ext cx="22487" cy="14652"/>
              </a:xfrm>
              <a:custGeom>
                <a:avLst/>
                <a:gdLst>
                  <a:gd name="connsiteX0" fmla="*/ 0 w 22487"/>
                  <a:gd name="connsiteY0" fmla="*/ 3289 h 14652"/>
                  <a:gd name="connsiteX1" fmla="*/ 1675 w 22487"/>
                  <a:gd name="connsiteY1" fmla="*/ 478 h 14652"/>
                  <a:gd name="connsiteX2" fmla="*/ 1735 w 22487"/>
                  <a:gd name="connsiteY2" fmla="*/ 419 h 14652"/>
                  <a:gd name="connsiteX3" fmla="*/ 2273 w 22487"/>
                  <a:gd name="connsiteY3" fmla="*/ 0 h 14652"/>
                  <a:gd name="connsiteX4" fmla="*/ 3469 w 22487"/>
                  <a:gd name="connsiteY4" fmla="*/ 0 h 14652"/>
                  <a:gd name="connsiteX5" fmla="*/ 4306 w 22487"/>
                  <a:gd name="connsiteY5" fmla="*/ 179 h 14652"/>
                  <a:gd name="connsiteX6" fmla="*/ 4785 w 22487"/>
                  <a:gd name="connsiteY6" fmla="*/ 299 h 14652"/>
                  <a:gd name="connsiteX7" fmla="*/ 5203 w 22487"/>
                  <a:gd name="connsiteY7" fmla="*/ 419 h 14652"/>
                  <a:gd name="connsiteX8" fmla="*/ 5263 w 22487"/>
                  <a:gd name="connsiteY8" fmla="*/ 419 h 14652"/>
                  <a:gd name="connsiteX9" fmla="*/ 5801 w 22487"/>
                  <a:gd name="connsiteY9" fmla="*/ 598 h 14652"/>
                  <a:gd name="connsiteX10" fmla="*/ 5801 w 22487"/>
                  <a:gd name="connsiteY10" fmla="*/ 598 h 14652"/>
                  <a:gd name="connsiteX11" fmla="*/ 6220 w 22487"/>
                  <a:gd name="connsiteY11" fmla="*/ 718 h 14652"/>
                  <a:gd name="connsiteX12" fmla="*/ 7596 w 22487"/>
                  <a:gd name="connsiteY12" fmla="*/ 1196 h 14652"/>
                  <a:gd name="connsiteX13" fmla="*/ 8313 w 22487"/>
                  <a:gd name="connsiteY13" fmla="*/ 1495 h 14652"/>
                  <a:gd name="connsiteX14" fmla="*/ 10227 w 22487"/>
                  <a:gd name="connsiteY14" fmla="*/ 2332 h 14652"/>
                  <a:gd name="connsiteX15" fmla="*/ 12859 w 22487"/>
                  <a:gd name="connsiteY15" fmla="*/ 3708 h 14652"/>
                  <a:gd name="connsiteX16" fmla="*/ 12978 w 22487"/>
                  <a:gd name="connsiteY16" fmla="*/ 3768 h 14652"/>
                  <a:gd name="connsiteX17" fmla="*/ 13875 w 22487"/>
                  <a:gd name="connsiteY17" fmla="*/ 4306 h 14652"/>
                  <a:gd name="connsiteX18" fmla="*/ 15669 w 22487"/>
                  <a:gd name="connsiteY18" fmla="*/ 5383 h 14652"/>
                  <a:gd name="connsiteX19" fmla="*/ 18122 w 22487"/>
                  <a:gd name="connsiteY19" fmla="*/ 6997 h 14652"/>
                  <a:gd name="connsiteX20" fmla="*/ 18540 w 22487"/>
                  <a:gd name="connsiteY20" fmla="*/ 7296 h 14652"/>
                  <a:gd name="connsiteX21" fmla="*/ 18839 w 22487"/>
                  <a:gd name="connsiteY21" fmla="*/ 7536 h 14652"/>
                  <a:gd name="connsiteX22" fmla="*/ 18839 w 22487"/>
                  <a:gd name="connsiteY22" fmla="*/ 7536 h 14652"/>
                  <a:gd name="connsiteX23" fmla="*/ 20036 w 22487"/>
                  <a:gd name="connsiteY23" fmla="*/ 8433 h 14652"/>
                  <a:gd name="connsiteX24" fmla="*/ 20155 w 22487"/>
                  <a:gd name="connsiteY24" fmla="*/ 8493 h 14652"/>
                  <a:gd name="connsiteX25" fmla="*/ 20335 w 22487"/>
                  <a:gd name="connsiteY25" fmla="*/ 8612 h 14652"/>
                  <a:gd name="connsiteX26" fmla="*/ 20514 w 22487"/>
                  <a:gd name="connsiteY26" fmla="*/ 8792 h 14652"/>
                  <a:gd name="connsiteX27" fmla="*/ 20514 w 22487"/>
                  <a:gd name="connsiteY27" fmla="*/ 8792 h 14652"/>
                  <a:gd name="connsiteX28" fmla="*/ 20574 w 22487"/>
                  <a:gd name="connsiteY28" fmla="*/ 8792 h 14652"/>
                  <a:gd name="connsiteX29" fmla="*/ 20933 w 22487"/>
                  <a:gd name="connsiteY29" fmla="*/ 9150 h 14652"/>
                  <a:gd name="connsiteX30" fmla="*/ 20933 w 22487"/>
                  <a:gd name="connsiteY30" fmla="*/ 9150 h 14652"/>
                  <a:gd name="connsiteX31" fmla="*/ 21650 w 22487"/>
                  <a:gd name="connsiteY31" fmla="*/ 9808 h 14652"/>
                  <a:gd name="connsiteX32" fmla="*/ 21770 w 22487"/>
                  <a:gd name="connsiteY32" fmla="*/ 9988 h 14652"/>
                  <a:gd name="connsiteX33" fmla="*/ 21830 w 22487"/>
                  <a:gd name="connsiteY33" fmla="*/ 10107 h 14652"/>
                  <a:gd name="connsiteX34" fmla="*/ 21830 w 22487"/>
                  <a:gd name="connsiteY34" fmla="*/ 10107 h 14652"/>
                  <a:gd name="connsiteX35" fmla="*/ 22428 w 22487"/>
                  <a:gd name="connsiteY35" fmla="*/ 10945 h 14652"/>
                  <a:gd name="connsiteX36" fmla="*/ 22488 w 22487"/>
                  <a:gd name="connsiteY36" fmla="*/ 11662 h 14652"/>
                  <a:gd name="connsiteX37" fmla="*/ 20813 w 22487"/>
                  <a:gd name="connsiteY37" fmla="*/ 14473 h 14652"/>
                  <a:gd name="connsiteX38" fmla="*/ 20693 w 22487"/>
                  <a:gd name="connsiteY38" fmla="*/ 14653 h 1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487" h="14652">
                    <a:moveTo>
                      <a:pt x="0" y="3289"/>
                    </a:moveTo>
                    <a:lnTo>
                      <a:pt x="1675" y="478"/>
                    </a:lnTo>
                    <a:lnTo>
                      <a:pt x="1735" y="419"/>
                    </a:lnTo>
                    <a:lnTo>
                      <a:pt x="2273" y="0"/>
                    </a:lnTo>
                    <a:lnTo>
                      <a:pt x="3469" y="0"/>
                    </a:lnTo>
                    <a:lnTo>
                      <a:pt x="4306" y="179"/>
                    </a:lnTo>
                    <a:lnTo>
                      <a:pt x="4785" y="299"/>
                    </a:lnTo>
                    <a:lnTo>
                      <a:pt x="5203" y="419"/>
                    </a:lnTo>
                    <a:lnTo>
                      <a:pt x="5263" y="419"/>
                    </a:lnTo>
                    <a:lnTo>
                      <a:pt x="5801" y="598"/>
                    </a:lnTo>
                    <a:lnTo>
                      <a:pt x="5801" y="598"/>
                    </a:lnTo>
                    <a:lnTo>
                      <a:pt x="6220" y="718"/>
                    </a:lnTo>
                    <a:lnTo>
                      <a:pt x="7596" y="1196"/>
                    </a:lnTo>
                    <a:lnTo>
                      <a:pt x="8313" y="1495"/>
                    </a:lnTo>
                    <a:lnTo>
                      <a:pt x="10227" y="2332"/>
                    </a:lnTo>
                    <a:lnTo>
                      <a:pt x="12859" y="3708"/>
                    </a:lnTo>
                    <a:lnTo>
                      <a:pt x="12978" y="3768"/>
                    </a:lnTo>
                    <a:lnTo>
                      <a:pt x="13875" y="4306"/>
                    </a:lnTo>
                    <a:lnTo>
                      <a:pt x="15669" y="5383"/>
                    </a:lnTo>
                    <a:lnTo>
                      <a:pt x="18122" y="6997"/>
                    </a:lnTo>
                    <a:lnTo>
                      <a:pt x="18540" y="7296"/>
                    </a:lnTo>
                    <a:lnTo>
                      <a:pt x="18839" y="7536"/>
                    </a:lnTo>
                    <a:lnTo>
                      <a:pt x="18839" y="7536"/>
                    </a:lnTo>
                    <a:lnTo>
                      <a:pt x="20036" y="8433"/>
                    </a:lnTo>
                    <a:lnTo>
                      <a:pt x="20155" y="8493"/>
                    </a:lnTo>
                    <a:lnTo>
                      <a:pt x="20335" y="8612"/>
                    </a:lnTo>
                    <a:lnTo>
                      <a:pt x="20514" y="8792"/>
                    </a:lnTo>
                    <a:lnTo>
                      <a:pt x="20514" y="8792"/>
                    </a:lnTo>
                    <a:lnTo>
                      <a:pt x="20574" y="8792"/>
                    </a:lnTo>
                    <a:lnTo>
                      <a:pt x="20933" y="9150"/>
                    </a:lnTo>
                    <a:lnTo>
                      <a:pt x="20933" y="9150"/>
                    </a:lnTo>
                    <a:lnTo>
                      <a:pt x="21650" y="9808"/>
                    </a:lnTo>
                    <a:lnTo>
                      <a:pt x="21770" y="9988"/>
                    </a:lnTo>
                    <a:lnTo>
                      <a:pt x="21830" y="10107"/>
                    </a:lnTo>
                    <a:lnTo>
                      <a:pt x="21830" y="10107"/>
                    </a:lnTo>
                    <a:lnTo>
                      <a:pt x="22428" y="10945"/>
                    </a:lnTo>
                    <a:lnTo>
                      <a:pt x="22488" y="11662"/>
                    </a:lnTo>
                    <a:lnTo>
                      <a:pt x="20813" y="14473"/>
                    </a:lnTo>
                    <a:lnTo>
                      <a:pt x="20693" y="14653"/>
                    </a:lnTo>
                  </a:path>
                </a:pathLst>
              </a:custGeom>
              <a:noFill/>
              <a:ln w="6350" cap="rnd">
                <a:solidFill>
                  <a:schemeClr val="bg1">
                    <a:alpha val="80000"/>
                  </a:schemeClr>
                </a:solidFill>
                <a:prstDash val="solid"/>
                <a:round/>
              </a:ln>
            </p:spPr>
            <p:txBody>
              <a:bodyPr rtlCol="0" anchor="ctr"/>
              <a:lstStyle/>
              <a:p>
                <a:endParaRPr lang="en-GB"/>
              </a:p>
            </p:txBody>
          </p:sp>
          <p:sp>
            <p:nvSpPr>
              <p:cNvPr id="5801" name="Vrije vorm: vorm 5800">
                <a:extLst>
                  <a:ext uri="{FF2B5EF4-FFF2-40B4-BE49-F238E27FC236}">
                    <a16:creationId xmlns:a16="http://schemas.microsoft.com/office/drawing/2014/main" id="{48535196-7C69-4CBD-A9BC-339F1C90BECC}"/>
                  </a:ext>
                </a:extLst>
              </p:cNvPr>
              <p:cNvSpPr/>
              <p:nvPr/>
            </p:nvSpPr>
            <p:spPr>
              <a:xfrm>
                <a:off x="6639398" y="1641509"/>
                <a:ext cx="26195" cy="17523"/>
              </a:xfrm>
              <a:custGeom>
                <a:avLst/>
                <a:gdLst>
                  <a:gd name="connsiteX0" fmla="*/ 26076 w 26195"/>
                  <a:gd name="connsiteY0" fmla="*/ 12679 h 17523"/>
                  <a:gd name="connsiteX1" fmla="*/ 26196 w 26195"/>
                  <a:gd name="connsiteY1" fmla="*/ 13516 h 17523"/>
                  <a:gd name="connsiteX2" fmla="*/ 24521 w 26195"/>
                  <a:gd name="connsiteY2" fmla="*/ 16327 h 17523"/>
                  <a:gd name="connsiteX3" fmla="*/ 24043 w 26195"/>
                  <a:gd name="connsiteY3" fmla="*/ 17165 h 17523"/>
                  <a:gd name="connsiteX4" fmla="*/ 23325 w 26195"/>
                  <a:gd name="connsiteY4" fmla="*/ 17523 h 17523"/>
                  <a:gd name="connsiteX5" fmla="*/ 21830 w 26195"/>
                  <a:gd name="connsiteY5" fmla="*/ 17404 h 17523"/>
                  <a:gd name="connsiteX6" fmla="*/ 19676 w 26195"/>
                  <a:gd name="connsiteY6" fmla="*/ 16806 h 17523"/>
                  <a:gd name="connsiteX7" fmla="*/ 17045 w 26195"/>
                  <a:gd name="connsiteY7" fmla="*/ 15789 h 17523"/>
                  <a:gd name="connsiteX8" fmla="*/ 14354 w 26195"/>
                  <a:gd name="connsiteY8" fmla="*/ 14533 h 17523"/>
                  <a:gd name="connsiteX9" fmla="*/ 14114 w 26195"/>
                  <a:gd name="connsiteY9" fmla="*/ 14413 h 17523"/>
                  <a:gd name="connsiteX10" fmla="*/ 11483 w 26195"/>
                  <a:gd name="connsiteY10" fmla="*/ 13038 h 17523"/>
                  <a:gd name="connsiteX11" fmla="*/ 11065 w 26195"/>
                  <a:gd name="connsiteY11" fmla="*/ 12799 h 17523"/>
                  <a:gd name="connsiteX12" fmla="*/ 8493 w 26195"/>
                  <a:gd name="connsiteY12" fmla="*/ 11304 h 17523"/>
                  <a:gd name="connsiteX13" fmla="*/ 8074 w 26195"/>
                  <a:gd name="connsiteY13" fmla="*/ 11064 h 17523"/>
                  <a:gd name="connsiteX14" fmla="*/ 5562 w 26195"/>
                  <a:gd name="connsiteY14" fmla="*/ 9449 h 17523"/>
                  <a:gd name="connsiteX15" fmla="*/ 5323 w 26195"/>
                  <a:gd name="connsiteY15" fmla="*/ 9270 h 17523"/>
                  <a:gd name="connsiteX16" fmla="*/ 2990 w 26195"/>
                  <a:gd name="connsiteY16" fmla="*/ 7595 h 17523"/>
                  <a:gd name="connsiteX17" fmla="*/ 1256 w 26195"/>
                  <a:gd name="connsiteY17" fmla="*/ 6100 h 17523"/>
                  <a:gd name="connsiteX18" fmla="*/ 239 w 26195"/>
                  <a:gd name="connsiteY18" fmla="*/ 4844 h 17523"/>
                  <a:gd name="connsiteX19" fmla="*/ 0 w 26195"/>
                  <a:gd name="connsiteY19" fmla="*/ 4007 h 17523"/>
                  <a:gd name="connsiteX20" fmla="*/ 1675 w 26195"/>
                  <a:gd name="connsiteY20" fmla="*/ 1196 h 17523"/>
                  <a:gd name="connsiteX21" fmla="*/ 2153 w 26195"/>
                  <a:gd name="connsiteY21" fmla="*/ 419 h 17523"/>
                  <a:gd name="connsiteX22" fmla="*/ 2751 w 26195"/>
                  <a:gd name="connsiteY22" fmla="*/ 0 h 17523"/>
                  <a:gd name="connsiteX23" fmla="*/ 4127 w 26195"/>
                  <a:gd name="connsiteY23" fmla="*/ 60 h 17523"/>
                  <a:gd name="connsiteX24" fmla="*/ 4486 w 26195"/>
                  <a:gd name="connsiteY24" fmla="*/ 179 h 17523"/>
                  <a:gd name="connsiteX25" fmla="*/ 6160 w 26195"/>
                  <a:gd name="connsiteY25" fmla="*/ 598 h 17523"/>
                  <a:gd name="connsiteX26" fmla="*/ 7057 w 26195"/>
                  <a:gd name="connsiteY26" fmla="*/ 897 h 17523"/>
                  <a:gd name="connsiteX27" fmla="*/ 8074 w 26195"/>
                  <a:gd name="connsiteY27" fmla="*/ 1256 h 17523"/>
                  <a:gd name="connsiteX28" fmla="*/ 8074 w 26195"/>
                  <a:gd name="connsiteY28" fmla="*/ 1256 h 17523"/>
                  <a:gd name="connsiteX29" fmla="*/ 8851 w 26195"/>
                  <a:gd name="connsiteY29" fmla="*/ 1555 h 17523"/>
                  <a:gd name="connsiteX30" fmla="*/ 11543 w 26195"/>
                  <a:gd name="connsiteY30" fmla="*/ 2751 h 17523"/>
                  <a:gd name="connsiteX31" fmla="*/ 11842 w 26195"/>
                  <a:gd name="connsiteY31" fmla="*/ 2871 h 17523"/>
                  <a:gd name="connsiteX32" fmla="*/ 12978 w 26195"/>
                  <a:gd name="connsiteY32" fmla="*/ 3469 h 17523"/>
                  <a:gd name="connsiteX33" fmla="*/ 15072 w 26195"/>
                  <a:gd name="connsiteY33" fmla="*/ 4545 h 17523"/>
                  <a:gd name="connsiteX34" fmla="*/ 15669 w 26195"/>
                  <a:gd name="connsiteY34" fmla="*/ 4904 h 17523"/>
                  <a:gd name="connsiteX35" fmla="*/ 15669 w 26195"/>
                  <a:gd name="connsiteY35" fmla="*/ 4904 h 17523"/>
                  <a:gd name="connsiteX36" fmla="*/ 17703 w 26195"/>
                  <a:gd name="connsiteY36" fmla="*/ 6100 h 17523"/>
                  <a:gd name="connsiteX37" fmla="*/ 17703 w 26195"/>
                  <a:gd name="connsiteY37" fmla="*/ 6100 h 17523"/>
                  <a:gd name="connsiteX38" fmla="*/ 17822 w 26195"/>
                  <a:gd name="connsiteY38" fmla="*/ 6160 h 17523"/>
                  <a:gd name="connsiteX39" fmla="*/ 18241 w 26195"/>
                  <a:gd name="connsiteY39" fmla="*/ 6399 h 17523"/>
                  <a:gd name="connsiteX40" fmla="*/ 20753 w 26195"/>
                  <a:gd name="connsiteY40" fmla="*/ 8014 h 17523"/>
                  <a:gd name="connsiteX41" fmla="*/ 21112 w 26195"/>
                  <a:gd name="connsiteY41" fmla="*/ 8253 h 17523"/>
                  <a:gd name="connsiteX42" fmla="*/ 21112 w 26195"/>
                  <a:gd name="connsiteY42" fmla="*/ 8253 h 17523"/>
                  <a:gd name="connsiteX43" fmla="*/ 21112 w 26195"/>
                  <a:gd name="connsiteY43" fmla="*/ 8253 h 17523"/>
                  <a:gd name="connsiteX44" fmla="*/ 23205 w 26195"/>
                  <a:gd name="connsiteY44" fmla="*/ 9808 h 17523"/>
                  <a:gd name="connsiteX45" fmla="*/ 23205 w 26195"/>
                  <a:gd name="connsiteY45" fmla="*/ 9808 h 17523"/>
                  <a:gd name="connsiteX46" fmla="*/ 23504 w 26195"/>
                  <a:gd name="connsiteY46" fmla="*/ 10048 h 17523"/>
                  <a:gd name="connsiteX47" fmla="*/ 25179 w 26195"/>
                  <a:gd name="connsiteY47" fmla="*/ 11603 h 17523"/>
                  <a:gd name="connsiteX48" fmla="*/ 25179 w 26195"/>
                  <a:gd name="connsiteY48" fmla="*/ 11603 h 17523"/>
                  <a:gd name="connsiteX49" fmla="*/ 26076 w 26195"/>
                  <a:gd name="connsiteY49" fmla="*/ 12679 h 1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6195" h="17523">
                    <a:moveTo>
                      <a:pt x="26076" y="12679"/>
                    </a:moveTo>
                    <a:lnTo>
                      <a:pt x="26196" y="13516"/>
                    </a:lnTo>
                    <a:lnTo>
                      <a:pt x="24521" y="16327"/>
                    </a:lnTo>
                    <a:lnTo>
                      <a:pt x="24043" y="17165"/>
                    </a:lnTo>
                    <a:lnTo>
                      <a:pt x="23325" y="17523"/>
                    </a:lnTo>
                    <a:lnTo>
                      <a:pt x="21830" y="17404"/>
                    </a:lnTo>
                    <a:lnTo>
                      <a:pt x="19676" y="16806"/>
                    </a:lnTo>
                    <a:lnTo>
                      <a:pt x="17045" y="15789"/>
                    </a:lnTo>
                    <a:lnTo>
                      <a:pt x="14354" y="14533"/>
                    </a:lnTo>
                    <a:lnTo>
                      <a:pt x="14114" y="14413"/>
                    </a:lnTo>
                    <a:lnTo>
                      <a:pt x="11483" y="13038"/>
                    </a:lnTo>
                    <a:lnTo>
                      <a:pt x="11065" y="12799"/>
                    </a:lnTo>
                    <a:lnTo>
                      <a:pt x="8493" y="11304"/>
                    </a:lnTo>
                    <a:lnTo>
                      <a:pt x="8074" y="11064"/>
                    </a:lnTo>
                    <a:lnTo>
                      <a:pt x="5562" y="9449"/>
                    </a:lnTo>
                    <a:lnTo>
                      <a:pt x="5323" y="9270"/>
                    </a:lnTo>
                    <a:lnTo>
                      <a:pt x="2990" y="7595"/>
                    </a:lnTo>
                    <a:lnTo>
                      <a:pt x="1256" y="6100"/>
                    </a:lnTo>
                    <a:lnTo>
                      <a:pt x="239" y="4844"/>
                    </a:lnTo>
                    <a:lnTo>
                      <a:pt x="0" y="4007"/>
                    </a:lnTo>
                    <a:lnTo>
                      <a:pt x="1675" y="1196"/>
                    </a:lnTo>
                    <a:lnTo>
                      <a:pt x="2153" y="419"/>
                    </a:lnTo>
                    <a:lnTo>
                      <a:pt x="2751" y="0"/>
                    </a:lnTo>
                    <a:lnTo>
                      <a:pt x="4127" y="60"/>
                    </a:lnTo>
                    <a:lnTo>
                      <a:pt x="4486" y="179"/>
                    </a:lnTo>
                    <a:lnTo>
                      <a:pt x="6160" y="598"/>
                    </a:lnTo>
                    <a:lnTo>
                      <a:pt x="7057" y="897"/>
                    </a:lnTo>
                    <a:lnTo>
                      <a:pt x="8074" y="1256"/>
                    </a:lnTo>
                    <a:lnTo>
                      <a:pt x="8074" y="1256"/>
                    </a:lnTo>
                    <a:lnTo>
                      <a:pt x="8851" y="1555"/>
                    </a:lnTo>
                    <a:lnTo>
                      <a:pt x="11543" y="2751"/>
                    </a:lnTo>
                    <a:lnTo>
                      <a:pt x="11842" y="2871"/>
                    </a:lnTo>
                    <a:lnTo>
                      <a:pt x="12978" y="3469"/>
                    </a:lnTo>
                    <a:lnTo>
                      <a:pt x="15072" y="4545"/>
                    </a:lnTo>
                    <a:lnTo>
                      <a:pt x="15669" y="4904"/>
                    </a:lnTo>
                    <a:lnTo>
                      <a:pt x="15669" y="4904"/>
                    </a:lnTo>
                    <a:lnTo>
                      <a:pt x="17703" y="6100"/>
                    </a:lnTo>
                    <a:lnTo>
                      <a:pt x="17703" y="6100"/>
                    </a:lnTo>
                    <a:lnTo>
                      <a:pt x="17822" y="6160"/>
                    </a:lnTo>
                    <a:lnTo>
                      <a:pt x="18241" y="6399"/>
                    </a:lnTo>
                    <a:lnTo>
                      <a:pt x="20753" y="8014"/>
                    </a:lnTo>
                    <a:lnTo>
                      <a:pt x="21112" y="8253"/>
                    </a:lnTo>
                    <a:lnTo>
                      <a:pt x="21112" y="8253"/>
                    </a:lnTo>
                    <a:lnTo>
                      <a:pt x="21112" y="8253"/>
                    </a:lnTo>
                    <a:lnTo>
                      <a:pt x="23205" y="9808"/>
                    </a:lnTo>
                    <a:lnTo>
                      <a:pt x="23205" y="9808"/>
                    </a:lnTo>
                    <a:lnTo>
                      <a:pt x="23504" y="10048"/>
                    </a:lnTo>
                    <a:lnTo>
                      <a:pt x="25179" y="11603"/>
                    </a:lnTo>
                    <a:lnTo>
                      <a:pt x="25179" y="11603"/>
                    </a:lnTo>
                    <a:lnTo>
                      <a:pt x="26076" y="12679"/>
                    </a:lnTo>
                  </a:path>
                </a:pathLst>
              </a:custGeom>
              <a:noFill/>
              <a:ln w="6350" cap="rnd">
                <a:solidFill>
                  <a:schemeClr val="bg1">
                    <a:alpha val="80000"/>
                  </a:schemeClr>
                </a:solidFill>
                <a:prstDash val="solid"/>
                <a:round/>
              </a:ln>
            </p:spPr>
            <p:txBody>
              <a:bodyPr rtlCol="0" anchor="ctr"/>
              <a:lstStyle/>
              <a:p>
                <a:endParaRPr lang="en-GB"/>
              </a:p>
            </p:txBody>
          </p:sp>
          <p:sp>
            <p:nvSpPr>
              <p:cNvPr id="5802" name="Vrije vorm: vorm 5801">
                <a:extLst>
                  <a:ext uri="{FF2B5EF4-FFF2-40B4-BE49-F238E27FC236}">
                    <a16:creationId xmlns:a16="http://schemas.microsoft.com/office/drawing/2014/main" id="{09696982-4E66-46F3-9FBD-378B06C2CD3E}"/>
                  </a:ext>
                </a:extLst>
              </p:cNvPr>
              <p:cNvSpPr/>
              <p:nvPr/>
            </p:nvSpPr>
            <p:spPr>
              <a:xfrm>
                <a:off x="6639338" y="1645038"/>
                <a:ext cx="24221" cy="13576"/>
              </a:xfrm>
              <a:custGeom>
                <a:avLst/>
                <a:gdLst>
                  <a:gd name="connsiteX0" fmla="*/ 0 w 24221"/>
                  <a:gd name="connsiteY0" fmla="*/ 419 h 13576"/>
                  <a:gd name="connsiteX1" fmla="*/ 598 w 24221"/>
                  <a:gd name="connsiteY1" fmla="*/ 0 h 13576"/>
                  <a:gd name="connsiteX2" fmla="*/ 1974 w 24221"/>
                  <a:gd name="connsiteY2" fmla="*/ 60 h 13576"/>
                  <a:gd name="connsiteX3" fmla="*/ 4067 w 24221"/>
                  <a:gd name="connsiteY3" fmla="*/ 598 h 13576"/>
                  <a:gd name="connsiteX4" fmla="*/ 6698 w 24221"/>
                  <a:gd name="connsiteY4" fmla="*/ 1555 h 13576"/>
                  <a:gd name="connsiteX5" fmla="*/ 8433 w 24221"/>
                  <a:gd name="connsiteY5" fmla="*/ 2332 h 13576"/>
                  <a:gd name="connsiteX6" fmla="*/ 9749 w 24221"/>
                  <a:gd name="connsiteY6" fmla="*/ 2930 h 13576"/>
                  <a:gd name="connsiteX7" fmla="*/ 12380 w 24221"/>
                  <a:gd name="connsiteY7" fmla="*/ 4306 h 13576"/>
                  <a:gd name="connsiteX8" fmla="*/ 12978 w 24221"/>
                  <a:gd name="connsiteY8" fmla="*/ 4605 h 13576"/>
                  <a:gd name="connsiteX9" fmla="*/ 15550 w 24221"/>
                  <a:gd name="connsiteY9" fmla="*/ 6100 h 13576"/>
                  <a:gd name="connsiteX10" fmla="*/ 16148 w 24221"/>
                  <a:gd name="connsiteY10" fmla="*/ 6459 h 13576"/>
                  <a:gd name="connsiteX11" fmla="*/ 17942 w 24221"/>
                  <a:gd name="connsiteY11" fmla="*/ 7655 h 13576"/>
                  <a:gd name="connsiteX12" fmla="*/ 19019 w 24221"/>
                  <a:gd name="connsiteY12" fmla="*/ 8313 h 13576"/>
                  <a:gd name="connsiteX13" fmla="*/ 21411 w 24221"/>
                  <a:gd name="connsiteY13" fmla="*/ 10048 h 13576"/>
                  <a:gd name="connsiteX14" fmla="*/ 23145 w 24221"/>
                  <a:gd name="connsiteY14" fmla="*/ 11603 h 13576"/>
                  <a:gd name="connsiteX15" fmla="*/ 24102 w 24221"/>
                  <a:gd name="connsiteY15" fmla="*/ 12799 h 13576"/>
                  <a:gd name="connsiteX16" fmla="*/ 24222 w 24221"/>
                  <a:gd name="connsiteY16" fmla="*/ 13576 h 13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221" h="13576">
                    <a:moveTo>
                      <a:pt x="0" y="419"/>
                    </a:moveTo>
                    <a:lnTo>
                      <a:pt x="598" y="0"/>
                    </a:lnTo>
                    <a:lnTo>
                      <a:pt x="1974" y="60"/>
                    </a:lnTo>
                    <a:lnTo>
                      <a:pt x="4067" y="598"/>
                    </a:lnTo>
                    <a:lnTo>
                      <a:pt x="6698" y="1555"/>
                    </a:lnTo>
                    <a:lnTo>
                      <a:pt x="8433" y="2332"/>
                    </a:lnTo>
                    <a:lnTo>
                      <a:pt x="9749" y="2930"/>
                    </a:lnTo>
                    <a:lnTo>
                      <a:pt x="12380" y="4306"/>
                    </a:lnTo>
                    <a:lnTo>
                      <a:pt x="12978" y="4605"/>
                    </a:lnTo>
                    <a:lnTo>
                      <a:pt x="15550" y="6100"/>
                    </a:lnTo>
                    <a:lnTo>
                      <a:pt x="16148" y="6459"/>
                    </a:lnTo>
                    <a:lnTo>
                      <a:pt x="17942" y="7655"/>
                    </a:lnTo>
                    <a:lnTo>
                      <a:pt x="19019" y="8313"/>
                    </a:lnTo>
                    <a:lnTo>
                      <a:pt x="21411" y="10048"/>
                    </a:lnTo>
                    <a:lnTo>
                      <a:pt x="23145" y="11603"/>
                    </a:lnTo>
                    <a:lnTo>
                      <a:pt x="24102" y="12799"/>
                    </a:lnTo>
                    <a:lnTo>
                      <a:pt x="24222" y="13576"/>
                    </a:lnTo>
                  </a:path>
                </a:pathLst>
              </a:custGeom>
              <a:noFill/>
              <a:ln w="6350" cap="rnd">
                <a:solidFill>
                  <a:schemeClr val="bg1">
                    <a:alpha val="80000"/>
                  </a:schemeClr>
                </a:solidFill>
                <a:prstDash val="solid"/>
                <a:round/>
              </a:ln>
            </p:spPr>
            <p:txBody>
              <a:bodyPr rtlCol="0" anchor="ctr"/>
              <a:lstStyle/>
              <a:p>
                <a:endParaRPr lang="en-GB"/>
              </a:p>
            </p:txBody>
          </p:sp>
          <p:sp>
            <p:nvSpPr>
              <p:cNvPr id="5803" name="Vrije vorm: vorm 5802">
                <a:extLst>
                  <a:ext uri="{FF2B5EF4-FFF2-40B4-BE49-F238E27FC236}">
                    <a16:creationId xmlns:a16="http://schemas.microsoft.com/office/drawing/2014/main" id="{4986CDEC-15BA-4393-8DDF-466524B6B461}"/>
                  </a:ext>
                </a:extLst>
              </p:cNvPr>
              <p:cNvSpPr/>
              <p:nvPr/>
            </p:nvSpPr>
            <p:spPr>
              <a:xfrm>
                <a:off x="6548910" y="1744198"/>
                <a:ext cx="17643" cy="26016"/>
              </a:xfrm>
              <a:custGeom>
                <a:avLst/>
                <a:gdLst>
                  <a:gd name="connsiteX0" fmla="*/ 5981 w 17643"/>
                  <a:gd name="connsiteY0" fmla="*/ 0 h 26016"/>
                  <a:gd name="connsiteX1" fmla="*/ 8552 w 17643"/>
                  <a:gd name="connsiteY1" fmla="*/ 1435 h 26016"/>
                  <a:gd name="connsiteX2" fmla="*/ 11124 w 17643"/>
                  <a:gd name="connsiteY2" fmla="*/ 2871 h 26016"/>
                  <a:gd name="connsiteX3" fmla="*/ 11782 w 17643"/>
                  <a:gd name="connsiteY3" fmla="*/ 3230 h 26016"/>
                  <a:gd name="connsiteX4" fmla="*/ 14294 w 17643"/>
                  <a:gd name="connsiteY4" fmla="*/ 4844 h 26016"/>
                  <a:gd name="connsiteX5" fmla="*/ 16806 w 17643"/>
                  <a:gd name="connsiteY5" fmla="*/ 6459 h 26016"/>
                  <a:gd name="connsiteX6" fmla="*/ 17523 w 17643"/>
                  <a:gd name="connsiteY6" fmla="*/ 6938 h 26016"/>
                  <a:gd name="connsiteX7" fmla="*/ 17583 w 17643"/>
                  <a:gd name="connsiteY7" fmla="*/ 10107 h 26016"/>
                  <a:gd name="connsiteX8" fmla="*/ 17643 w 17643"/>
                  <a:gd name="connsiteY8" fmla="*/ 12978 h 26016"/>
                  <a:gd name="connsiteX9" fmla="*/ 16028 w 17643"/>
                  <a:gd name="connsiteY9" fmla="*/ 15789 h 26016"/>
                  <a:gd name="connsiteX10" fmla="*/ 14414 w 17643"/>
                  <a:gd name="connsiteY10" fmla="*/ 18600 h 26016"/>
                  <a:gd name="connsiteX11" fmla="*/ 12799 w 17643"/>
                  <a:gd name="connsiteY11" fmla="*/ 21411 h 26016"/>
                  <a:gd name="connsiteX12" fmla="*/ 11543 w 17643"/>
                  <a:gd name="connsiteY12" fmla="*/ 23624 h 26016"/>
                  <a:gd name="connsiteX13" fmla="*/ 8732 w 17643"/>
                  <a:gd name="connsiteY13" fmla="*/ 24999 h 26016"/>
                  <a:gd name="connsiteX14" fmla="*/ 6698 w 17643"/>
                  <a:gd name="connsiteY14" fmla="*/ 26016 h 26016"/>
                  <a:gd name="connsiteX15" fmla="*/ 4067 w 17643"/>
                  <a:gd name="connsiteY15" fmla="*/ 24641 h 26016"/>
                  <a:gd name="connsiteX16" fmla="*/ 1435 w 17643"/>
                  <a:gd name="connsiteY16" fmla="*/ 23265 h 26016"/>
                  <a:gd name="connsiteX17" fmla="*/ 0 w 17643"/>
                  <a:gd name="connsiteY17" fmla="*/ 22487 h 2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43" h="26016">
                    <a:moveTo>
                      <a:pt x="5981" y="0"/>
                    </a:moveTo>
                    <a:lnTo>
                      <a:pt x="8552" y="1435"/>
                    </a:lnTo>
                    <a:lnTo>
                      <a:pt x="11124" y="2871"/>
                    </a:lnTo>
                    <a:lnTo>
                      <a:pt x="11782" y="3230"/>
                    </a:lnTo>
                    <a:lnTo>
                      <a:pt x="14294" y="4844"/>
                    </a:lnTo>
                    <a:lnTo>
                      <a:pt x="16806" y="6459"/>
                    </a:lnTo>
                    <a:lnTo>
                      <a:pt x="17523" y="6938"/>
                    </a:lnTo>
                    <a:lnTo>
                      <a:pt x="17583" y="10107"/>
                    </a:lnTo>
                    <a:lnTo>
                      <a:pt x="17643" y="12978"/>
                    </a:lnTo>
                    <a:lnTo>
                      <a:pt x="16028" y="15789"/>
                    </a:lnTo>
                    <a:lnTo>
                      <a:pt x="14414" y="18600"/>
                    </a:lnTo>
                    <a:lnTo>
                      <a:pt x="12799" y="21411"/>
                    </a:lnTo>
                    <a:lnTo>
                      <a:pt x="11543" y="23624"/>
                    </a:lnTo>
                    <a:lnTo>
                      <a:pt x="8732" y="24999"/>
                    </a:lnTo>
                    <a:lnTo>
                      <a:pt x="6698" y="26016"/>
                    </a:lnTo>
                    <a:lnTo>
                      <a:pt x="4067" y="24641"/>
                    </a:lnTo>
                    <a:lnTo>
                      <a:pt x="1435" y="23265"/>
                    </a:lnTo>
                    <a:lnTo>
                      <a:pt x="0" y="22487"/>
                    </a:lnTo>
                  </a:path>
                </a:pathLst>
              </a:custGeom>
              <a:noFill/>
              <a:ln w="6350" cap="rnd">
                <a:solidFill>
                  <a:schemeClr val="bg1">
                    <a:alpha val="80000"/>
                  </a:schemeClr>
                </a:solidFill>
                <a:prstDash val="solid"/>
                <a:round/>
              </a:ln>
            </p:spPr>
            <p:txBody>
              <a:bodyPr rtlCol="0" anchor="ctr"/>
              <a:lstStyle/>
              <a:p>
                <a:endParaRPr lang="en-GB"/>
              </a:p>
            </p:txBody>
          </p:sp>
          <p:sp>
            <p:nvSpPr>
              <p:cNvPr id="5804" name="Vrije vorm: vorm 5803">
                <a:extLst>
                  <a:ext uri="{FF2B5EF4-FFF2-40B4-BE49-F238E27FC236}">
                    <a16:creationId xmlns:a16="http://schemas.microsoft.com/office/drawing/2014/main" id="{E04F007D-CAD6-4CDE-A5A8-08B83E09E81A}"/>
                  </a:ext>
                </a:extLst>
              </p:cNvPr>
              <p:cNvSpPr/>
              <p:nvPr/>
            </p:nvSpPr>
            <p:spPr>
              <a:xfrm>
                <a:off x="6497655" y="1536787"/>
                <a:ext cx="11722" cy="9329"/>
              </a:xfrm>
              <a:custGeom>
                <a:avLst/>
                <a:gdLst>
                  <a:gd name="connsiteX0" fmla="*/ 0 w 11722"/>
                  <a:gd name="connsiteY0" fmla="*/ 9330 h 9329"/>
                  <a:gd name="connsiteX1" fmla="*/ 1615 w 11722"/>
                  <a:gd name="connsiteY1" fmla="*/ 6519 h 9329"/>
                  <a:gd name="connsiteX2" fmla="*/ 3230 w 11722"/>
                  <a:gd name="connsiteY2" fmla="*/ 3708 h 9329"/>
                  <a:gd name="connsiteX3" fmla="*/ 4545 w 11722"/>
                  <a:gd name="connsiteY3" fmla="*/ 1435 h 9329"/>
                  <a:gd name="connsiteX4" fmla="*/ 7536 w 11722"/>
                  <a:gd name="connsiteY4" fmla="*/ 538 h 9329"/>
                  <a:gd name="connsiteX5" fmla="*/ 9211 w 11722"/>
                  <a:gd name="connsiteY5" fmla="*/ 0 h 9329"/>
                  <a:gd name="connsiteX6" fmla="*/ 11722 w 11722"/>
                  <a:gd name="connsiteY6" fmla="*/ 419 h 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22" h="9329">
                    <a:moveTo>
                      <a:pt x="0" y="9330"/>
                    </a:moveTo>
                    <a:lnTo>
                      <a:pt x="1615" y="6519"/>
                    </a:lnTo>
                    <a:lnTo>
                      <a:pt x="3230" y="3708"/>
                    </a:lnTo>
                    <a:lnTo>
                      <a:pt x="4545" y="1435"/>
                    </a:lnTo>
                    <a:lnTo>
                      <a:pt x="7536" y="538"/>
                    </a:lnTo>
                    <a:lnTo>
                      <a:pt x="9211" y="0"/>
                    </a:lnTo>
                    <a:lnTo>
                      <a:pt x="11722" y="419"/>
                    </a:lnTo>
                  </a:path>
                </a:pathLst>
              </a:custGeom>
              <a:noFill/>
              <a:ln w="6350" cap="rnd">
                <a:solidFill>
                  <a:schemeClr val="bg1">
                    <a:alpha val="80000"/>
                  </a:schemeClr>
                </a:solidFill>
                <a:prstDash val="solid"/>
                <a:round/>
              </a:ln>
            </p:spPr>
            <p:txBody>
              <a:bodyPr rtlCol="0" anchor="ctr"/>
              <a:lstStyle/>
              <a:p>
                <a:endParaRPr lang="en-GB"/>
              </a:p>
            </p:txBody>
          </p:sp>
          <p:sp>
            <p:nvSpPr>
              <p:cNvPr id="5805" name="Vrije vorm: vorm 5804">
                <a:extLst>
                  <a:ext uri="{FF2B5EF4-FFF2-40B4-BE49-F238E27FC236}">
                    <a16:creationId xmlns:a16="http://schemas.microsoft.com/office/drawing/2014/main" id="{A5931AB4-A855-4F56-B88C-86A6F1947554}"/>
                  </a:ext>
                </a:extLst>
              </p:cNvPr>
              <p:cNvSpPr/>
              <p:nvPr/>
            </p:nvSpPr>
            <p:spPr>
              <a:xfrm>
                <a:off x="6535334" y="1840009"/>
                <a:ext cx="7715" cy="3050"/>
              </a:xfrm>
              <a:custGeom>
                <a:avLst/>
                <a:gdLst>
                  <a:gd name="connsiteX0" fmla="*/ 0 w 7715"/>
                  <a:gd name="connsiteY0" fmla="*/ 0 h 3050"/>
                  <a:gd name="connsiteX1" fmla="*/ 2751 w 7715"/>
                  <a:gd name="connsiteY1" fmla="*/ 1077 h 3050"/>
                  <a:gd name="connsiteX2" fmla="*/ 5502 w 7715"/>
                  <a:gd name="connsiteY2" fmla="*/ 2153 h 3050"/>
                  <a:gd name="connsiteX3" fmla="*/ 7715 w 7715"/>
                  <a:gd name="connsiteY3" fmla="*/ 3050 h 3050"/>
                </a:gdLst>
                <a:ahLst/>
                <a:cxnLst>
                  <a:cxn ang="0">
                    <a:pos x="connsiteX0" y="connsiteY0"/>
                  </a:cxn>
                  <a:cxn ang="0">
                    <a:pos x="connsiteX1" y="connsiteY1"/>
                  </a:cxn>
                  <a:cxn ang="0">
                    <a:pos x="connsiteX2" y="connsiteY2"/>
                  </a:cxn>
                  <a:cxn ang="0">
                    <a:pos x="connsiteX3" y="connsiteY3"/>
                  </a:cxn>
                </a:cxnLst>
                <a:rect l="l" t="t" r="r" b="b"/>
                <a:pathLst>
                  <a:path w="7715" h="3050">
                    <a:moveTo>
                      <a:pt x="0" y="0"/>
                    </a:moveTo>
                    <a:lnTo>
                      <a:pt x="2751" y="1077"/>
                    </a:lnTo>
                    <a:lnTo>
                      <a:pt x="5502" y="2153"/>
                    </a:lnTo>
                    <a:lnTo>
                      <a:pt x="7715" y="3050"/>
                    </a:lnTo>
                  </a:path>
                </a:pathLst>
              </a:custGeom>
              <a:noFill/>
              <a:ln w="6350" cap="rnd">
                <a:solidFill>
                  <a:schemeClr val="bg1">
                    <a:alpha val="80000"/>
                  </a:schemeClr>
                </a:solidFill>
                <a:prstDash val="solid"/>
                <a:round/>
              </a:ln>
            </p:spPr>
            <p:txBody>
              <a:bodyPr rtlCol="0" anchor="ctr"/>
              <a:lstStyle/>
              <a:p>
                <a:endParaRPr lang="en-GB"/>
              </a:p>
            </p:txBody>
          </p:sp>
          <p:sp>
            <p:nvSpPr>
              <p:cNvPr id="5806" name="Vrije vorm: vorm 5805">
                <a:extLst>
                  <a:ext uri="{FF2B5EF4-FFF2-40B4-BE49-F238E27FC236}">
                    <a16:creationId xmlns:a16="http://schemas.microsoft.com/office/drawing/2014/main" id="{544A50C9-C2C9-4A0F-A59D-DD45D6EAE89F}"/>
                  </a:ext>
                </a:extLst>
              </p:cNvPr>
              <p:cNvSpPr/>
              <p:nvPr/>
            </p:nvSpPr>
            <p:spPr>
              <a:xfrm>
                <a:off x="6648609" y="1638100"/>
                <a:ext cx="299" cy="478"/>
              </a:xfrm>
              <a:custGeom>
                <a:avLst/>
                <a:gdLst>
                  <a:gd name="connsiteX0" fmla="*/ 0 w 299"/>
                  <a:gd name="connsiteY0" fmla="*/ 478 h 478"/>
                  <a:gd name="connsiteX1" fmla="*/ 299 w 299"/>
                  <a:gd name="connsiteY1" fmla="*/ 0 h 478"/>
                  <a:gd name="connsiteX2" fmla="*/ 299 w 299"/>
                  <a:gd name="connsiteY2" fmla="*/ 0 h 478"/>
                </a:gdLst>
                <a:ahLst/>
                <a:cxnLst>
                  <a:cxn ang="0">
                    <a:pos x="connsiteX0" y="connsiteY0"/>
                  </a:cxn>
                  <a:cxn ang="0">
                    <a:pos x="connsiteX1" y="connsiteY1"/>
                  </a:cxn>
                  <a:cxn ang="0">
                    <a:pos x="connsiteX2" y="connsiteY2"/>
                  </a:cxn>
                </a:cxnLst>
                <a:rect l="l" t="t" r="r" b="b"/>
                <a:pathLst>
                  <a:path w="299" h="478">
                    <a:moveTo>
                      <a:pt x="0" y="478"/>
                    </a:moveTo>
                    <a:lnTo>
                      <a:pt x="299" y="0"/>
                    </a:lnTo>
                    <a:lnTo>
                      <a:pt x="299" y="0"/>
                    </a:lnTo>
                  </a:path>
                </a:pathLst>
              </a:custGeom>
              <a:noFill/>
              <a:ln w="6350" cap="rnd">
                <a:solidFill>
                  <a:schemeClr val="bg1">
                    <a:alpha val="80000"/>
                  </a:schemeClr>
                </a:solidFill>
                <a:prstDash val="solid"/>
                <a:round/>
              </a:ln>
            </p:spPr>
            <p:txBody>
              <a:bodyPr rtlCol="0" anchor="ctr"/>
              <a:lstStyle/>
              <a:p>
                <a:endParaRPr lang="en-GB"/>
              </a:p>
            </p:txBody>
          </p:sp>
          <p:sp>
            <p:nvSpPr>
              <p:cNvPr id="5807" name="Vrije vorm: vorm 5806">
                <a:extLst>
                  <a:ext uri="{FF2B5EF4-FFF2-40B4-BE49-F238E27FC236}">
                    <a16:creationId xmlns:a16="http://schemas.microsoft.com/office/drawing/2014/main" id="{04D31A1F-85D8-4097-98B9-4981745FE4F3}"/>
                  </a:ext>
                </a:extLst>
              </p:cNvPr>
              <p:cNvSpPr/>
              <p:nvPr/>
            </p:nvSpPr>
            <p:spPr>
              <a:xfrm>
                <a:off x="6672531" y="1589776"/>
                <a:ext cx="3648" cy="6100"/>
              </a:xfrm>
              <a:custGeom>
                <a:avLst/>
                <a:gdLst>
                  <a:gd name="connsiteX0" fmla="*/ 0 w 3648"/>
                  <a:gd name="connsiteY0" fmla="*/ 6100 h 6100"/>
                  <a:gd name="connsiteX1" fmla="*/ 1675 w 3648"/>
                  <a:gd name="connsiteY1" fmla="*/ 3289 h 6100"/>
                  <a:gd name="connsiteX2" fmla="*/ 3230 w 3648"/>
                  <a:gd name="connsiteY2" fmla="*/ 718 h 6100"/>
                  <a:gd name="connsiteX3" fmla="*/ 3649 w 3648"/>
                  <a:gd name="connsiteY3" fmla="*/ 0 h 6100"/>
                </a:gdLst>
                <a:ahLst/>
                <a:cxnLst>
                  <a:cxn ang="0">
                    <a:pos x="connsiteX0" y="connsiteY0"/>
                  </a:cxn>
                  <a:cxn ang="0">
                    <a:pos x="connsiteX1" y="connsiteY1"/>
                  </a:cxn>
                  <a:cxn ang="0">
                    <a:pos x="connsiteX2" y="connsiteY2"/>
                  </a:cxn>
                  <a:cxn ang="0">
                    <a:pos x="connsiteX3" y="connsiteY3"/>
                  </a:cxn>
                </a:cxnLst>
                <a:rect l="l" t="t" r="r" b="b"/>
                <a:pathLst>
                  <a:path w="3648" h="6100">
                    <a:moveTo>
                      <a:pt x="0" y="6100"/>
                    </a:moveTo>
                    <a:lnTo>
                      <a:pt x="1675" y="3289"/>
                    </a:lnTo>
                    <a:lnTo>
                      <a:pt x="3230" y="718"/>
                    </a:lnTo>
                    <a:lnTo>
                      <a:pt x="3649" y="0"/>
                    </a:lnTo>
                  </a:path>
                </a:pathLst>
              </a:custGeom>
              <a:noFill/>
              <a:ln w="6350" cap="rnd">
                <a:solidFill>
                  <a:schemeClr val="bg1">
                    <a:alpha val="80000"/>
                  </a:schemeClr>
                </a:solidFill>
                <a:prstDash val="solid"/>
                <a:round/>
              </a:ln>
            </p:spPr>
            <p:txBody>
              <a:bodyPr rtlCol="0" anchor="ctr"/>
              <a:lstStyle/>
              <a:p>
                <a:endParaRPr lang="en-GB"/>
              </a:p>
            </p:txBody>
          </p:sp>
          <p:sp>
            <p:nvSpPr>
              <p:cNvPr id="5808" name="Vrije vorm: vorm 5807">
                <a:extLst>
                  <a:ext uri="{FF2B5EF4-FFF2-40B4-BE49-F238E27FC236}">
                    <a16:creationId xmlns:a16="http://schemas.microsoft.com/office/drawing/2014/main" id="{B08DD45D-89AF-4FC0-8513-D865B48EE910}"/>
                  </a:ext>
                </a:extLst>
              </p:cNvPr>
              <p:cNvSpPr/>
              <p:nvPr/>
            </p:nvSpPr>
            <p:spPr>
              <a:xfrm>
                <a:off x="6667209" y="1592826"/>
                <a:ext cx="717" cy="4605"/>
              </a:xfrm>
              <a:custGeom>
                <a:avLst/>
                <a:gdLst>
                  <a:gd name="connsiteX0" fmla="*/ 718 w 717"/>
                  <a:gd name="connsiteY0" fmla="*/ 4605 h 4605"/>
                  <a:gd name="connsiteX1" fmla="*/ 239 w 717"/>
                  <a:gd name="connsiteY1" fmla="*/ 1495 h 4605"/>
                  <a:gd name="connsiteX2" fmla="*/ 179 w 717"/>
                  <a:gd name="connsiteY2" fmla="*/ 1196 h 4605"/>
                  <a:gd name="connsiteX3" fmla="*/ 0 w 717"/>
                  <a:gd name="connsiteY3" fmla="*/ 0 h 4605"/>
                </a:gdLst>
                <a:ahLst/>
                <a:cxnLst>
                  <a:cxn ang="0">
                    <a:pos x="connsiteX0" y="connsiteY0"/>
                  </a:cxn>
                  <a:cxn ang="0">
                    <a:pos x="connsiteX1" y="connsiteY1"/>
                  </a:cxn>
                  <a:cxn ang="0">
                    <a:pos x="connsiteX2" y="connsiteY2"/>
                  </a:cxn>
                  <a:cxn ang="0">
                    <a:pos x="connsiteX3" y="connsiteY3"/>
                  </a:cxn>
                </a:cxnLst>
                <a:rect l="l" t="t" r="r" b="b"/>
                <a:pathLst>
                  <a:path w="717" h="4605">
                    <a:moveTo>
                      <a:pt x="718" y="4605"/>
                    </a:moveTo>
                    <a:lnTo>
                      <a:pt x="239" y="1495"/>
                    </a:lnTo>
                    <a:lnTo>
                      <a:pt x="179" y="1196"/>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09" name="Vrije vorm: vorm 5808">
                <a:extLst>
                  <a:ext uri="{FF2B5EF4-FFF2-40B4-BE49-F238E27FC236}">
                    <a16:creationId xmlns:a16="http://schemas.microsoft.com/office/drawing/2014/main" id="{F06600AC-8789-4B43-85B0-F83B3DD2A682}"/>
                  </a:ext>
                </a:extLst>
              </p:cNvPr>
              <p:cNvSpPr/>
              <p:nvPr/>
            </p:nvSpPr>
            <p:spPr>
              <a:xfrm>
                <a:off x="6532882" y="1790728"/>
                <a:ext cx="6459" cy="2990"/>
              </a:xfrm>
              <a:custGeom>
                <a:avLst/>
                <a:gdLst>
                  <a:gd name="connsiteX0" fmla="*/ 0 w 6459"/>
                  <a:gd name="connsiteY0" fmla="*/ 0 h 2990"/>
                  <a:gd name="connsiteX1" fmla="*/ 2691 w 6459"/>
                  <a:gd name="connsiteY1" fmla="*/ 1256 h 2990"/>
                  <a:gd name="connsiteX2" fmla="*/ 5383 w 6459"/>
                  <a:gd name="connsiteY2" fmla="*/ 2512 h 2990"/>
                  <a:gd name="connsiteX3" fmla="*/ 6459 w 6459"/>
                  <a:gd name="connsiteY3" fmla="*/ 2990 h 2990"/>
                </a:gdLst>
                <a:ahLst/>
                <a:cxnLst>
                  <a:cxn ang="0">
                    <a:pos x="connsiteX0" y="connsiteY0"/>
                  </a:cxn>
                  <a:cxn ang="0">
                    <a:pos x="connsiteX1" y="connsiteY1"/>
                  </a:cxn>
                  <a:cxn ang="0">
                    <a:pos x="connsiteX2" y="connsiteY2"/>
                  </a:cxn>
                  <a:cxn ang="0">
                    <a:pos x="connsiteX3" y="connsiteY3"/>
                  </a:cxn>
                </a:cxnLst>
                <a:rect l="l" t="t" r="r" b="b"/>
                <a:pathLst>
                  <a:path w="6459" h="2990">
                    <a:moveTo>
                      <a:pt x="0" y="0"/>
                    </a:moveTo>
                    <a:lnTo>
                      <a:pt x="2691" y="1256"/>
                    </a:lnTo>
                    <a:lnTo>
                      <a:pt x="5383" y="2512"/>
                    </a:lnTo>
                    <a:lnTo>
                      <a:pt x="6459" y="2990"/>
                    </a:lnTo>
                  </a:path>
                </a:pathLst>
              </a:custGeom>
              <a:noFill/>
              <a:ln w="6350" cap="rnd">
                <a:solidFill>
                  <a:schemeClr val="bg1">
                    <a:alpha val="80000"/>
                  </a:schemeClr>
                </a:solidFill>
                <a:prstDash val="solid"/>
                <a:round/>
              </a:ln>
            </p:spPr>
            <p:txBody>
              <a:bodyPr rtlCol="0" anchor="ctr"/>
              <a:lstStyle/>
              <a:p>
                <a:endParaRPr lang="en-GB"/>
              </a:p>
            </p:txBody>
          </p:sp>
          <p:sp>
            <p:nvSpPr>
              <p:cNvPr id="5810" name="Vrije vorm: vorm 5809">
                <a:extLst>
                  <a:ext uri="{FF2B5EF4-FFF2-40B4-BE49-F238E27FC236}">
                    <a16:creationId xmlns:a16="http://schemas.microsoft.com/office/drawing/2014/main" id="{68F34CCE-7007-4850-88F9-C44EAA186D34}"/>
                  </a:ext>
                </a:extLst>
              </p:cNvPr>
              <p:cNvSpPr/>
              <p:nvPr/>
            </p:nvSpPr>
            <p:spPr>
              <a:xfrm>
                <a:off x="6462309" y="1850894"/>
                <a:ext cx="59" cy="119"/>
              </a:xfrm>
              <a:custGeom>
                <a:avLst/>
                <a:gdLst>
                  <a:gd name="connsiteX0" fmla="*/ 0 w 59"/>
                  <a:gd name="connsiteY0" fmla="*/ 120 h 119"/>
                  <a:gd name="connsiteX1" fmla="*/ 60 w 59"/>
                  <a:gd name="connsiteY1" fmla="*/ 0 h 119"/>
                </a:gdLst>
                <a:ahLst/>
                <a:cxnLst>
                  <a:cxn ang="0">
                    <a:pos x="connsiteX0" y="connsiteY0"/>
                  </a:cxn>
                  <a:cxn ang="0">
                    <a:pos x="connsiteX1" y="connsiteY1"/>
                  </a:cxn>
                </a:cxnLst>
                <a:rect l="l" t="t" r="r" b="b"/>
                <a:pathLst>
                  <a:path w="59" h="119">
                    <a:moveTo>
                      <a:pt x="0" y="120"/>
                    </a:moveTo>
                    <a:lnTo>
                      <a:pt x="60" y="0"/>
                    </a:lnTo>
                  </a:path>
                </a:pathLst>
              </a:custGeom>
              <a:noFill/>
              <a:ln w="6350" cap="rnd">
                <a:solidFill>
                  <a:schemeClr val="bg1">
                    <a:alpha val="80000"/>
                  </a:schemeClr>
                </a:solidFill>
                <a:prstDash val="solid"/>
                <a:round/>
              </a:ln>
            </p:spPr>
            <p:txBody>
              <a:bodyPr rtlCol="0" anchor="ctr"/>
              <a:lstStyle/>
              <a:p>
                <a:endParaRPr lang="en-GB"/>
              </a:p>
            </p:txBody>
          </p:sp>
          <p:sp>
            <p:nvSpPr>
              <p:cNvPr id="5811" name="Vrije vorm: vorm 5810">
                <a:extLst>
                  <a:ext uri="{FF2B5EF4-FFF2-40B4-BE49-F238E27FC236}">
                    <a16:creationId xmlns:a16="http://schemas.microsoft.com/office/drawing/2014/main" id="{60357AD5-2026-4C0F-A5EB-880F7BC32976}"/>
                  </a:ext>
                </a:extLst>
              </p:cNvPr>
              <p:cNvSpPr/>
              <p:nvPr/>
            </p:nvSpPr>
            <p:spPr>
              <a:xfrm>
                <a:off x="6449092" y="1842282"/>
                <a:ext cx="59" cy="119"/>
              </a:xfrm>
              <a:custGeom>
                <a:avLst/>
                <a:gdLst>
                  <a:gd name="connsiteX0" fmla="*/ 0 w 59"/>
                  <a:gd name="connsiteY0" fmla="*/ 120 h 119"/>
                  <a:gd name="connsiteX1" fmla="*/ 60 w 59"/>
                  <a:gd name="connsiteY1" fmla="*/ 0 h 119"/>
                </a:gdLst>
                <a:ahLst/>
                <a:cxnLst>
                  <a:cxn ang="0">
                    <a:pos x="connsiteX0" y="connsiteY0"/>
                  </a:cxn>
                  <a:cxn ang="0">
                    <a:pos x="connsiteX1" y="connsiteY1"/>
                  </a:cxn>
                </a:cxnLst>
                <a:rect l="l" t="t" r="r" b="b"/>
                <a:pathLst>
                  <a:path w="59" h="119">
                    <a:moveTo>
                      <a:pt x="0" y="120"/>
                    </a:moveTo>
                    <a:lnTo>
                      <a:pt x="60" y="0"/>
                    </a:lnTo>
                  </a:path>
                </a:pathLst>
              </a:custGeom>
              <a:noFill/>
              <a:ln w="6350" cap="rnd">
                <a:solidFill>
                  <a:schemeClr val="bg1">
                    <a:alpha val="80000"/>
                  </a:schemeClr>
                </a:solidFill>
                <a:prstDash val="solid"/>
                <a:round/>
              </a:ln>
            </p:spPr>
            <p:txBody>
              <a:bodyPr rtlCol="0" anchor="ctr"/>
              <a:lstStyle/>
              <a:p>
                <a:endParaRPr lang="en-GB"/>
              </a:p>
            </p:txBody>
          </p:sp>
          <p:sp>
            <p:nvSpPr>
              <p:cNvPr id="5812" name="Vrije vorm: vorm 5811">
                <a:extLst>
                  <a:ext uri="{FF2B5EF4-FFF2-40B4-BE49-F238E27FC236}">
                    <a16:creationId xmlns:a16="http://schemas.microsoft.com/office/drawing/2014/main" id="{1624AB46-3EB6-4B80-911A-0C75169381A9}"/>
                  </a:ext>
                </a:extLst>
              </p:cNvPr>
              <p:cNvSpPr/>
              <p:nvPr/>
            </p:nvSpPr>
            <p:spPr>
              <a:xfrm>
                <a:off x="6536530" y="1690551"/>
                <a:ext cx="3528" cy="12798"/>
              </a:xfrm>
              <a:custGeom>
                <a:avLst/>
                <a:gdLst>
                  <a:gd name="connsiteX0" fmla="*/ 3529 w 3528"/>
                  <a:gd name="connsiteY0" fmla="*/ 12799 h 12798"/>
                  <a:gd name="connsiteX1" fmla="*/ 2691 w 3528"/>
                  <a:gd name="connsiteY1" fmla="*/ 9808 h 12798"/>
                  <a:gd name="connsiteX2" fmla="*/ 2572 w 3528"/>
                  <a:gd name="connsiteY2" fmla="*/ 9330 h 12798"/>
                  <a:gd name="connsiteX3" fmla="*/ 1735 w 3528"/>
                  <a:gd name="connsiteY3" fmla="*/ 6340 h 12798"/>
                  <a:gd name="connsiteX4" fmla="*/ 897 w 3528"/>
                  <a:gd name="connsiteY4" fmla="*/ 3349 h 12798"/>
                  <a:gd name="connsiteX5" fmla="*/ 658 w 3528"/>
                  <a:gd name="connsiteY5" fmla="*/ 2392 h 12798"/>
                  <a:gd name="connsiteX6" fmla="*/ 120 w 3528"/>
                  <a:gd name="connsiteY6" fmla="*/ 359 h 12798"/>
                  <a:gd name="connsiteX7" fmla="*/ 0 w 3528"/>
                  <a:gd name="connsiteY7" fmla="*/ 0 h 1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 h="12798">
                    <a:moveTo>
                      <a:pt x="3529" y="12799"/>
                    </a:moveTo>
                    <a:lnTo>
                      <a:pt x="2691" y="9808"/>
                    </a:lnTo>
                    <a:lnTo>
                      <a:pt x="2572" y="9330"/>
                    </a:lnTo>
                    <a:lnTo>
                      <a:pt x="1735" y="6340"/>
                    </a:lnTo>
                    <a:lnTo>
                      <a:pt x="897" y="3349"/>
                    </a:lnTo>
                    <a:lnTo>
                      <a:pt x="658" y="2392"/>
                    </a:lnTo>
                    <a:lnTo>
                      <a:pt x="120" y="35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13" name="Vrije vorm: vorm 5812">
                <a:extLst>
                  <a:ext uri="{FF2B5EF4-FFF2-40B4-BE49-F238E27FC236}">
                    <a16:creationId xmlns:a16="http://schemas.microsoft.com/office/drawing/2014/main" id="{978A7624-0BE8-4C1A-8510-21E63597E31E}"/>
                  </a:ext>
                </a:extLst>
              </p:cNvPr>
              <p:cNvSpPr/>
              <p:nvPr/>
            </p:nvSpPr>
            <p:spPr>
              <a:xfrm>
                <a:off x="6473254" y="181160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14" name="Vrije vorm: vorm 5813">
                <a:extLst>
                  <a:ext uri="{FF2B5EF4-FFF2-40B4-BE49-F238E27FC236}">
                    <a16:creationId xmlns:a16="http://schemas.microsoft.com/office/drawing/2014/main" id="{2385C236-1628-4D91-88EB-2E297B623FD4}"/>
                  </a:ext>
                </a:extLst>
              </p:cNvPr>
              <p:cNvSpPr/>
              <p:nvPr/>
            </p:nvSpPr>
            <p:spPr>
              <a:xfrm>
                <a:off x="6522954" y="1707656"/>
                <a:ext cx="3827" cy="358"/>
              </a:xfrm>
              <a:custGeom>
                <a:avLst/>
                <a:gdLst>
                  <a:gd name="connsiteX0" fmla="*/ 0 w 3827"/>
                  <a:gd name="connsiteY0" fmla="*/ 359 h 358"/>
                  <a:gd name="connsiteX1" fmla="*/ 3050 w 3827"/>
                  <a:gd name="connsiteY1" fmla="*/ 60 h 358"/>
                  <a:gd name="connsiteX2" fmla="*/ 3827 w 3827"/>
                  <a:gd name="connsiteY2" fmla="*/ 0 h 358"/>
                </a:gdLst>
                <a:ahLst/>
                <a:cxnLst>
                  <a:cxn ang="0">
                    <a:pos x="connsiteX0" y="connsiteY0"/>
                  </a:cxn>
                  <a:cxn ang="0">
                    <a:pos x="connsiteX1" y="connsiteY1"/>
                  </a:cxn>
                  <a:cxn ang="0">
                    <a:pos x="connsiteX2" y="connsiteY2"/>
                  </a:cxn>
                </a:cxnLst>
                <a:rect l="l" t="t" r="r" b="b"/>
                <a:pathLst>
                  <a:path w="3827" h="358">
                    <a:moveTo>
                      <a:pt x="0" y="359"/>
                    </a:moveTo>
                    <a:lnTo>
                      <a:pt x="3050" y="60"/>
                    </a:lnTo>
                    <a:lnTo>
                      <a:pt x="3827" y="0"/>
                    </a:lnTo>
                  </a:path>
                </a:pathLst>
              </a:custGeom>
              <a:noFill/>
              <a:ln w="6350" cap="rnd">
                <a:solidFill>
                  <a:schemeClr val="bg1">
                    <a:alpha val="80000"/>
                  </a:schemeClr>
                </a:solidFill>
                <a:prstDash val="solid"/>
                <a:round/>
              </a:ln>
            </p:spPr>
            <p:txBody>
              <a:bodyPr rtlCol="0" anchor="ctr"/>
              <a:lstStyle/>
              <a:p>
                <a:endParaRPr lang="en-GB"/>
              </a:p>
            </p:txBody>
          </p:sp>
          <p:sp>
            <p:nvSpPr>
              <p:cNvPr id="5815" name="Vrije vorm: vorm 5814">
                <a:extLst>
                  <a:ext uri="{FF2B5EF4-FFF2-40B4-BE49-F238E27FC236}">
                    <a16:creationId xmlns:a16="http://schemas.microsoft.com/office/drawing/2014/main" id="{11CBF23C-882F-4828-B57C-D0D0FB2C3171}"/>
                  </a:ext>
                </a:extLst>
              </p:cNvPr>
              <p:cNvSpPr/>
              <p:nvPr/>
            </p:nvSpPr>
            <p:spPr>
              <a:xfrm>
                <a:off x="6485156" y="1738755"/>
                <a:ext cx="1076" cy="1136"/>
              </a:xfrm>
              <a:custGeom>
                <a:avLst/>
                <a:gdLst>
                  <a:gd name="connsiteX0" fmla="*/ 0 w 1076"/>
                  <a:gd name="connsiteY0" fmla="*/ 1136 h 1136"/>
                  <a:gd name="connsiteX1" fmla="*/ 837 w 1076"/>
                  <a:gd name="connsiteY1" fmla="*/ 239 h 1136"/>
                  <a:gd name="connsiteX2" fmla="*/ 1076 w 1076"/>
                  <a:gd name="connsiteY2" fmla="*/ 0 h 1136"/>
                </a:gdLst>
                <a:ahLst/>
                <a:cxnLst>
                  <a:cxn ang="0">
                    <a:pos x="connsiteX0" y="connsiteY0"/>
                  </a:cxn>
                  <a:cxn ang="0">
                    <a:pos x="connsiteX1" y="connsiteY1"/>
                  </a:cxn>
                  <a:cxn ang="0">
                    <a:pos x="connsiteX2" y="connsiteY2"/>
                  </a:cxn>
                </a:cxnLst>
                <a:rect l="l" t="t" r="r" b="b"/>
                <a:pathLst>
                  <a:path w="1076" h="1136">
                    <a:moveTo>
                      <a:pt x="0" y="1136"/>
                    </a:moveTo>
                    <a:lnTo>
                      <a:pt x="837" y="239"/>
                    </a:lnTo>
                    <a:lnTo>
                      <a:pt x="1076" y="0"/>
                    </a:lnTo>
                  </a:path>
                </a:pathLst>
              </a:custGeom>
              <a:noFill/>
              <a:ln w="6350" cap="rnd">
                <a:solidFill>
                  <a:schemeClr val="bg1">
                    <a:alpha val="80000"/>
                  </a:schemeClr>
                </a:solidFill>
                <a:prstDash val="solid"/>
                <a:round/>
              </a:ln>
            </p:spPr>
            <p:txBody>
              <a:bodyPr rtlCol="0" anchor="ctr"/>
              <a:lstStyle/>
              <a:p>
                <a:endParaRPr lang="en-GB"/>
              </a:p>
            </p:txBody>
          </p:sp>
          <p:sp>
            <p:nvSpPr>
              <p:cNvPr id="5816" name="Vrije vorm: vorm 5815">
                <a:extLst>
                  <a:ext uri="{FF2B5EF4-FFF2-40B4-BE49-F238E27FC236}">
                    <a16:creationId xmlns:a16="http://schemas.microsoft.com/office/drawing/2014/main" id="{FCEBB4C4-C32F-45EE-B128-84B619B0B46E}"/>
                  </a:ext>
                </a:extLst>
              </p:cNvPr>
              <p:cNvSpPr/>
              <p:nvPr/>
            </p:nvSpPr>
            <p:spPr>
              <a:xfrm>
                <a:off x="6481208" y="1736901"/>
                <a:ext cx="478" cy="239"/>
              </a:xfrm>
              <a:custGeom>
                <a:avLst/>
                <a:gdLst>
                  <a:gd name="connsiteX0" fmla="*/ 479 w 478"/>
                  <a:gd name="connsiteY0" fmla="*/ 239 h 239"/>
                  <a:gd name="connsiteX1" fmla="*/ 0 w 478"/>
                  <a:gd name="connsiteY1" fmla="*/ 0 h 239"/>
                </a:gdLst>
                <a:ahLst/>
                <a:cxnLst>
                  <a:cxn ang="0">
                    <a:pos x="connsiteX0" y="connsiteY0"/>
                  </a:cxn>
                  <a:cxn ang="0">
                    <a:pos x="connsiteX1" y="connsiteY1"/>
                  </a:cxn>
                </a:cxnLst>
                <a:rect l="l" t="t" r="r" b="b"/>
                <a:pathLst>
                  <a:path w="478" h="239">
                    <a:moveTo>
                      <a:pt x="479" y="239"/>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17" name="Vrije vorm: vorm 5816">
                <a:extLst>
                  <a:ext uri="{FF2B5EF4-FFF2-40B4-BE49-F238E27FC236}">
                    <a16:creationId xmlns:a16="http://schemas.microsoft.com/office/drawing/2014/main" id="{F2517452-8EAC-4F8E-9EDA-2C1C7C38B1A9}"/>
                  </a:ext>
                </a:extLst>
              </p:cNvPr>
              <p:cNvSpPr/>
              <p:nvPr/>
            </p:nvSpPr>
            <p:spPr>
              <a:xfrm>
                <a:off x="6498014" y="1704725"/>
                <a:ext cx="418" cy="418"/>
              </a:xfrm>
              <a:custGeom>
                <a:avLst/>
                <a:gdLst>
                  <a:gd name="connsiteX0" fmla="*/ 419 w 418"/>
                  <a:gd name="connsiteY0" fmla="*/ 0 h 418"/>
                  <a:gd name="connsiteX1" fmla="*/ 0 w 418"/>
                  <a:gd name="connsiteY1" fmla="*/ 419 h 418"/>
                </a:gdLst>
                <a:ahLst/>
                <a:cxnLst>
                  <a:cxn ang="0">
                    <a:pos x="connsiteX0" y="connsiteY0"/>
                  </a:cxn>
                  <a:cxn ang="0">
                    <a:pos x="connsiteX1" y="connsiteY1"/>
                  </a:cxn>
                </a:cxnLst>
                <a:rect l="l" t="t" r="r" b="b"/>
                <a:pathLst>
                  <a:path w="418" h="418">
                    <a:moveTo>
                      <a:pt x="419" y="0"/>
                    </a:moveTo>
                    <a:lnTo>
                      <a:pt x="0" y="419"/>
                    </a:lnTo>
                  </a:path>
                </a:pathLst>
              </a:custGeom>
              <a:noFill/>
              <a:ln w="6350" cap="rnd">
                <a:solidFill>
                  <a:schemeClr val="bg1">
                    <a:alpha val="80000"/>
                  </a:schemeClr>
                </a:solidFill>
                <a:prstDash val="solid"/>
                <a:round/>
              </a:ln>
            </p:spPr>
            <p:txBody>
              <a:bodyPr rtlCol="0" anchor="ctr"/>
              <a:lstStyle/>
              <a:p>
                <a:endParaRPr lang="en-GB"/>
              </a:p>
            </p:txBody>
          </p:sp>
          <p:sp>
            <p:nvSpPr>
              <p:cNvPr id="5818" name="Vrije vorm: vorm 5817">
                <a:extLst>
                  <a:ext uri="{FF2B5EF4-FFF2-40B4-BE49-F238E27FC236}">
                    <a16:creationId xmlns:a16="http://schemas.microsoft.com/office/drawing/2014/main" id="{8FBCC107-DF39-4091-85C8-764C2280E687}"/>
                  </a:ext>
                </a:extLst>
              </p:cNvPr>
              <p:cNvSpPr/>
              <p:nvPr/>
            </p:nvSpPr>
            <p:spPr>
              <a:xfrm>
                <a:off x="6498074" y="1706759"/>
                <a:ext cx="119" cy="1435"/>
              </a:xfrm>
              <a:custGeom>
                <a:avLst/>
                <a:gdLst>
                  <a:gd name="connsiteX0" fmla="*/ 120 w 119"/>
                  <a:gd name="connsiteY0" fmla="*/ 1435 h 1435"/>
                  <a:gd name="connsiteX1" fmla="*/ 0 w 119"/>
                  <a:gd name="connsiteY1" fmla="*/ 120 h 1435"/>
                  <a:gd name="connsiteX2" fmla="*/ 0 w 119"/>
                  <a:gd name="connsiteY2" fmla="*/ 0 h 1435"/>
                </a:gdLst>
                <a:ahLst/>
                <a:cxnLst>
                  <a:cxn ang="0">
                    <a:pos x="connsiteX0" y="connsiteY0"/>
                  </a:cxn>
                  <a:cxn ang="0">
                    <a:pos x="connsiteX1" y="connsiteY1"/>
                  </a:cxn>
                  <a:cxn ang="0">
                    <a:pos x="connsiteX2" y="connsiteY2"/>
                  </a:cxn>
                </a:cxnLst>
                <a:rect l="l" t="t" r="r" b="b"/>
                <a:pathLst>
                  <a:path w="119" h="1435">
                    <a:moveTo>
                      <a:pt x="120" y="1435"/>
                    </a:moveTo>
                    <a:lnTo>
                      <a:pt x="0" y="120"/>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19" name="Vrije vorm: vorm 5818">
                <a:extLst>
                  <a:ext uri="{FF2B5EF4-FFF2-40B4-BE49-F238E27FC236}">
                    <a16:creationId xmlns:a16="http://schemas.microsoft.com/office/drawing/2014/main" id="{AB322D0D-0B48-48CE-A4E2-E774600BBBB9}"/>
                  </a:ext>
                </a:extLst>
              </p:cNvPr>
              <p:cNvSpPr/>
              <p:nvPr/>
            </p:nvSpPr>
            <p:spPr>
              <a:xfrm>
                <a:off x="6448314" y="1725598"/>
                <a:ext cx="4066" cy="9688"/>
              </a:xfrm>
              <a:custGeom>
                <a:avLst/>
                <a:gdLst>
                  <a:gd name="connsiteX0" fmla="*/ 4067 w 4066"/>
                  <a:gd name="connsiteY0" fmla="*/ 9689 h 9688"/>
                  <a:gd name="connsiteX1" fmla="*/ 2990 w 4066"/>
                  <a:gd name="connsiteY1" fmla="*/ 7057 h 9688"/>
                  <a:gd name="connsiteX2" fmla="*/ 1795 w 4066"/>
                  <a:gd name="connsiteY2" fmla="*/ 4246 h 9688"/>
                  <a:gd name="connsiteX3" fmla="*/ 1017 w 4066"/>
                  <a:gd name="connsiteY3" fmla="*/ 2392 h 9688"/>
                  <a:gd name="connsiteX4" fmla="*/ 0 w 4066"/>
                  <a:gd name="connsiteY4" fmla="*/ 0 h 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9688">
                    <a:moveTo>
                      <a:pt x="4067" y="9689"/>
                    </a:moveTo>
                    <a:lnTo>
                      <a:pt x="2990" y="7057"/>
                    </a:lnTo>
                    <a:lnTo>
                      <a:pt x="1795" y="4246"/>
                    </a:lnTo>
                    <a:lnTo>
                      <a:pt x="1017" y="2392"/>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20" name="Vrije vorm: vorm 5819">
                <a:extLst>
                  <a:ext uri="{FF2B5EF4-FFF2-40B4-BE49-F238E27FC236}">
                    <a16:creationId xmlns:a16="http://schemas.microsoft.com/office/drawing/2014/main" id="{9B11AD57-A17C-436F-8941-F2F8CCAE170E}"/>
                  </a:ext>
                </a:extLst>
              </p:cNvPr>
              <p:cNvSpPr/>
              <p:nvPr/>
            </p:nvSpPr>
            <p:spPr>
              <a:xfrm>
                <a:off x="6469725" y="1675360"/>
                <a:ext cx="1973" cy="1136"/>
              </a:xfrm>
              <a:custGeom>
                <a:avLst/>
                <a:gdLst>
                  <a:gd name="connsiteX0" fmla="*/ 1974 w 1973"/>
                  <a:gd name="connsiteY0" fmla="*/ 1136 h 1136"/>
                  <a:gd name="connsiteX1" fmla="*/ 1615 w 1973"/>
                  <a:gd name="connsiteY1" fmla="*/ 957 h 1136"/>
                  <a:gd name="connsiteX2" fmla="*/ 897 w 1973"/>
                  <a:gd name="connsiteY2" fmla="*/ 538 h 1136"/>
                  <a:gd name="connsiteX3" fmla="*/ 897 w 1973"/>
                  <a:gd name="connsiteY3" fmla="*/ 538 h 1136"/>
                  <a:gd name="connsiteX4" fmla="*/ 598 w 1973"/>
                  <a:gd name="connsiteY4" fmla="*/ 359 h 1136"/>
                  <a:gd name="connsiteX5" fmla="*/ 538 w 1973"/>
                  <a:gd name="connsiteY5" fmla="*/ 299 h 1136"/>
                  <a:gd name="connsiteX6" fmla="*/ 299 w 1973"/>
                  <a:gd name="connsiteY6" fmla="*/ 179 h 1136"/>
                  <a:gd name="connsiteX7" fmla="*/ 0 w 1973"/>
                  <a:gd name="connsiteY7" fmla="*/ 0 h 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3" h="1136">
                    <a:moveTo>
                      <a:pt x="1974" y="1136"/>
                    </a:moveTo>
                    <a:lnTo>
                      <a:pt x="1615" y="957"/>
                    </a:lnTo>
                    <a:lnTo>
                      <a:pt x="897" y="538"/>
                    </a:lnTo>
                    <a:lnTo>
                      <a:pt x="897" y="538"/>
                    </a:lnTo>
                    <a:lnTo>
                      <a:pt x="598" y="359"/>
                    </a:lnTo>
                    <a:lnTo>
                      <a:pt x="538" y="299"/>
                    </a:lnTo>
                    <a:lnTo>
                      <a:pt x="299" y="17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21" name="Vrije vorm: vorm 5820">
                <a:extLst>
                  <a:ext uri="{FF2B5EF4-FFF2-40B4-BE49-F238E27FC236}">
                    <a16:creationId xmlns:a16="http://schemas.microsoft.com/office/drawing/2014/main" id="{471E8A77-7773-4946-BEE7-1C962E4AA15E}"/>
                  </a:ext>
                </a:extLst>
              </p:cNvPr>
              <p:cNvSpPr/>
              <p:nvPr/>
            </p:nvSpPr>
            <p:spPr>
              <a:xfrm>
                <a:off x="6479115" y="166250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22" name="Vrije vorm: vorm 5821">
                <a:extLst>
                  <a:ext uri="{FF2B5EF4-FFF2-40B4-BE49-F238E27FC236}">
                    <a16:creationId xmlns:a16="http://schemas.microsoft.com/office/drawing/2014/main" id="{3001C9B3-8848-4CB9-8108-B99D5D84EE2D}"/>
                  </a:ext>
                </a:extLst>
              </p:cNvPr>
              <p:cNvSpPr/>
              <p:nvPr/>
            </p:nvSpPr>
            <p:spPr>
              <a:xfrm>
                <a:off x="6471519" y="1667884"/>
                <a:ext cx="2631" cy="2571"/>
              </a:xfrm>
              <a:custGeom>
                <a:avLst/>
                <a:gdLst>
                  <a:gd name="connsiteX0" fmla="*/ 0 w 2631"/>
                  <a:gd name="connsiteY0" fmla="*/ 2572 h 2571"/>
                  <a:gd name="connsiteX1" fmla="*/ 2333 w 2631"/>
                  <a:gd name="connsiteY1" fmla="*/ 299 h 2571"/>
                  <a:gd name="connsiteX2" fmla="*/ 2632 w 2631"/>
                  <a:gd name="connsiteY2" fmla="*/ 0 h 2571"/>
                </a:gdLst>
                <a:ahLst/>
                <a:cxnLst>
                  <a:cxn ang="0">
                    <a:pos x="connsiteX0" y="connsiteY0"/>
                  </a:cxn>
                  <a:cxn ang="0">
                    <a:pos x="connsiteX1" y="connsiteY1"/>
                  </a:cxn>
                  <a:cxn ang="0">
                    <a:pos x="connsiteX2" y="connsiteY2"/>
                  </a:cxn>
                </a:cxnLst>
                <a:rect l="l" t="t" r="r" b="b"/>
                <a:pathLst>
                  <a:path w="2631" h="2571">
                    <a:moveTo>
                      <a:pt x="0" y="2572"/>
                    </a:moveTo>
                    <a:lnTo>
                      <a:pt x="2333" y="299"/>
                    </a:lnTo>
                    <a:lnTo>
                      <a:pt x="2632" y="0"/>
                    </a:lnTo>
                  </a:path>
                </a:pathLst>
              </a:custGeom>
              <a:noFill/>
              <a:ln w="6350" cap="rnd">
                <a:solidFill>
                  <a:schemeClr val="bg1">
                    <a:alpha val="80000"/>
                  </a:schemeClr>
                </a:solidFill>
                <a:prstDash val="solid"/>
                <a:round/>
              </a:ln>
            </p:spPr>
            <p:txBody>
              <a:bodyPr rtlCol="0" anchor="ctr"/>
              <a:lstStyle/>
              <a:p>
                <a:endParaRPr lang="en-GB"/>
              </a:p>
            </p:txBody>
          </p:sp>
          <p:sp>
            <p:nvSpPr>
              <p:cNvPr id="5823" name="Vrije vorm: vorm 5822">
                <a:extLst>
                  <a:ext uri="{FF2B5EF4-FFF2-40B4-BE49-F238E27FC236}">
                    <a16:creationId xmlns:a16="http://schemas.microsoft.com/office/drawing/2014/main" id="{49322522-0538-440F-98CC-803BB79DFC15}"/>
                  </a:ext>
                </a:extLst>
              </p:cNvPr>
              <p:cNvSpPr/>
              <p:nvPr/>
            </p:nvSpPr>
            <p:spPr>
              <a:xfrm>
                <a:off x="6467871" y="1674164"/>
                <a:ext cx="1794" cy="1076"/>
              </a:xfrm>
              <a:custGeom>
                <a:avLst/>
                <a:gdLst>
                  <a:gd name="connsiteX0" fmla="*/ 1794 w 1794"/>
                  <a:gd name="connsiteY0" fmla="*/ 1077 h 1076"/>
                  <a:gd name="connsiteX1" fmla="*/ 0 w 1794"/>
                  <a:gd name="connsiteY1" fmla="*/ 0 h 1076"/>
                </a:gdLst>
                <a:ahLst/>
                <a:cxnLst>
                  <a:cxn ang="0">
                    <a:pos x="connsiteX0" y="connsiteY0"/>
                  </a:cxn>
                  <a:cxn ang="0">
                    <a:pos x="connsiteX1" y="connsiteY1"/>
                  </a:cxn>
                </a:cxnLst>
                <a:rect l="l" t="t" r="r" b="b"/>
                <a:pathLst>
                  <a:path w="1794" h="1076">
                    <a:moveTo>
                      <a:pt x="1794" y="1077"/>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24" name="Vrije vorm: vorm 5823">
                <a:extLst>
                  <a:ext uri="{FF2B5EF4-FFF2-40B4-BE49-F238E27FC236}">
                    <a16:creationId xmlns:a16="http://schemas.microsoft.com/office/drawing/2014/main" id="{0DFC6E36-F44F-4691-BAC0-71A33A408C43}"/>
                  </a:ext>
                </a:extLst>
              </p:cNvPr>
              <p:cNvSpPr/>
              <p:nvPr/>
            </p:nvSpPr>
            <p:spPr>
              <a:xfrm>
                <a:off x="6469546" y="1672011"/>
                <a:ext cx="59" cy="239"/>
              </a:xfrm>
              <a:custGeom>
                <a:avLst/>
                <a:gdLst>
                  <a:gd name="connsiteX0" fmla="*/ 60 w 59"/>
                  <a:gd name="connsiteY0" fmla="*/ 239 h 239"/>
                  <a:gd name="connsiteX1" fmla="*/ 0 w 59"/>
                  <a:gd name="connsiteY1" fmla="*/ 0 h 239"/>
                </a:gdLst>
                <a:ahLst/>
                <a:cxnLst>
                  <a:cxn ang="0">
                    <a:pos x="connsiteX0" y="connsiteY0"/>
                  </a:cxn>
                  <a:cxn ang="0">
                    <a:pos x="connsiteX1" y="connsiteY1"/>
                  </a:cxn>
                </a:cxnLst>
                <a:rect l="l" t="t" r="r" b="b"/>
                <a:pathLst>
                  <a:path w="59" h="239">
                    <a:moveTo>
                      <a:pt x="60" y="239"/>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25" name="Vrije vorm: vorm 5824">
                <a:extLst>
                  <a:ext uri="{FF2B5EF4-FFF2-40B4-BE49-F238E27FC236}">
                    <a16:creationId xmlns:a16="http://schemas.microsoft.com/office/drawing/2014/main" id="{6A3DF582-BCC8-4529-9A21-A91CA24EDF41}"/>
                  </a:ext>
                </a:extLst>
              </p:cNvPr>
              <p:cNvSpPr/>
              <p:nvPr/>
            </p:nvSpPr>
            <p:spPr>
              <a:xfrm>
                <a:off x="6470503" y="1667286"/>
                <a:ext cx="2631" cy="2571"/>
              </a:xfrm>
              <a:custGeom>
                <a:avLst/>
                <a:gdLst>
                  <a:gd name="connsiteX0" fmla="*/ 0 w 2631"/>
                  <a:gd name="connsiteY0" fmla="*/ 2572 h 2571"/>
                  <a:gd name="connsiteX1" fmla="*/ 2333 w 2631"/>
                  <a:gd name="connsiteY1" fmla="*/ 299 h 2571"/>
                  <a:gd name="connsiteX2" fmla="*/ 2333 w 2631"/>
                  <a:gd name="connsiteY2" fmla="*/ 299 h 2571"/>
                  <a:gd name="connsiteX3" fmla="*/ 2632 w 2631"/>
                  <a:gd name="connsiteY3" fmla="*/ 0 h 2571"/>
                </a:gdLst>
                <a:ahLst/>
                <a:cxnLst>
                  <a:cxn ang="0">
                    <a:pos x="connsiteX0" y="connsiteY0"/>
                  </a:cxn>
                  <a:cxn ang="0">
                    <a:pos x="connsiteX1" y="connsiteY1"/>
                  </a:cxn>
                  <a:cxn ang="0">
                    <a:pos x="connsiteX2" y="connsiteY2"/>
                  </a:cxn>
                  <a:cxn ang="0">
                    <a:pos x="connsiteX3" y="connsiteY3"/>
                  </a:cxn>
                </a:cxnLst>
                <a:rect l="l" t="t" r="r" b="b"/>
                <a:pathLst>
                  <a:path w="2631" h="2571">
                    <a:moveTo>
                      <a:pt x="0" y="2572"/>
                    </a:moveTo>
                    <a:lnTo>
                      <a:pt x="2333" y="299"/>
                    </a:lnTo>
                    <a:lnTo>
                      <a:pt x="2333" y="299"/>
                    </a:lnTo>
                    <a:lnTo>
                      <a:pt x="2632" y="0"/>
                    </a:lnTo>
                  </a:path>
                </a:pathLst>
              </a:custGeom>
              <a:noFill/>
              <a:ln w="6350" cap="rnd">
                <a:solidFill>
                  <a:schemeClr val="bg1">
                    <a:alpha val="80000"/>
                  </a:schemeClr>
                </a:solidFill>
                <a:prstDash val="solid"/>
                <a:round/>
              </a:ln>
            </p:spPr>
            <p:txBody>
              <a:bodyPr rtlCol="0" anchor="ctr"/>
              <a:lstStyle/>
              <a:p>
                <a:endParaRPr lang="en-GB"/>
              </a:p>
            </p:txBody>
          </p:sp>
          <p:sp>
            <p:nvSpPr>
              <p:cNvPr id="5826" name="Vrije vorm: vorm 5825">
                <a:extLst>
                  <a:ext uri="{FF2B5EF4-FFF2-40B4-BE49-F238E27FC236}">
                    <a16:creationId xmlns:a16="http://schemas.microsoft.com/office/drawing/2014/main" id="{AA5E5128-70EB-49CB-B0D7-1479570DBCDF}"/>
                  </a:ext>
                </a:extLst>
              </p:cNvPr>
              <p:cNvSpPr/>
              <p:nvPr/>
            </p:nvSpPr>
            <p:spPr>
              <a:xfrm>
                <a:off x="6470443" y="1666150"/>
                <a:ext cx="179" cy="119"/>
              </a:xfrm>
              <a:custGeom>
                <a:avLst/>
                <a:gdLst>
                  <a:gd name="connsiteX0" fmla="*/ 180 w 179"/>
                  <a:gd name="connsiteY0" fmla="*/ 120 h 119"/>
                  <a:gd name="connsiteX1" fmla="*/ 0 w 179"/>
                  <a:gd name="connsiteY1" fmla="*/ 0 h 119"/>
                </a:gdLst>
                <a:ahLst/>
                <a:cxnLst>
                  <a:cxn ang="0">
                    <a:pos x="connsiteX0" y="connsiteY0"/>
                  </a:cxn>
                  <a:cxn ang="0">
                    <a:pos x="connsiteX1" y="connsiteY1"/>
                  </a:cxn>
                </a:cxnLst>
                <a:rect l="l" t="t" r="r" b="b"/>
                <a:pathLst>
                  <a:path w="179" h="119">
                    <a:moveTo>
                      <a:pt x="180" y="12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27" name="Vrije vorm: vorm 5826">
                <a:extLst>
                  <a:ext uri="{FF2B5EF4-FFF2-40B4-BE49-F238E27FC236}">
                    <a16:creationId xmlns:a16="http://schemas.microsoft.com/office/drawing/2014/main" id="{68B3605E-4D20-4DDF-8529-CA0BE6A279F9}"/>
                  </a:ext>
                </a:extLst>
              </p:cNvPr>
              <p:cNvSpPr/>
              <p:nvPr/>
            </p:nvSpPr>
            <p:spPr>
              <a:xfrm>
                <a:off x="6472895" y="1667585"/>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28" name="Vrije vorm: vorm 5827">
                <a:extLst>
                  <a:ext uri="{FF2B5EF4-FFF2-40B4-BE49-F238E27FC236}">
                    <a16:creationId xmlns:a16="http://schemas.microsoft.com/office/drawing/2014/main" id="{C63C4686-47DA-4DFB-9DD2-F7C209369BC4}"/>
                  </a:ext>
                </a:extLst>
              </p:cNvPr>
              <p:cNvSpPr/>
              <p:nvPr/>
            </p:nvSpPr>
            <p:spPr>
              <a:xfrm>
                <a:off x="6470503" y="1669858"/>
                <a:ext cx="1256" cy="717"/>
              </a:xfrm>
              <a:custGeom>
                <a:avLst/>
                <a:gdLst>
                  <a:gd name="connsiteX0" fmla="*/ 0 w 1256"/>
                  <a:gd name="connsiteY0" fmla="*/ 0 h 717"/>
                  <a:gd name="connsiteX1" fmla="*/ 0 w 1256"/>
                  <a:gd name="connsiteY1" fmla="*/ 0 h 717"/>
                  <a:gd name="connsiteX2" fmla="*/ 1017 w 1256"/>
                  <a:gd name="connsiteY2" fmla="*/ 598 h 717"/>
                  <a:gd name="connsiteX3" fmla="*/ 1256 w 1256"/>
                  <a:gd name="connsiteY3" fmla="*/ 718 h 717"/>
                </a:gdLst>
                <a:ahLst/>
                <a:cxnLst>
                  <a:cxn ang="0">
                    <a:pos x="connsiteX0" y="connsiteY0"/>
                  </a:cxn>
                  <a:cxn ang="0">
                    <a:pos x="connsiteX1" y="connsiteY1"/>
                  </a:cxn>
                  <a:cxn ang="0">
                    <a:pos x="connsiteX2" y="connsiteY2"/>
                  </a:cxn>
                  <a:cxn ang="0">
                    <a:pos x="connsiteX3" y="connsiteY3"/>
                  </a:cxn>
                </a:cxnLst>
                <a:rect l="l" t="t" r="r" b="b"/>
                <a:pathLst>
                  <a:path w="1256" h="717">
                    <a:moveTo>
                      <a:pt x="0" y="0"/>
                    </a:moveTo>
                    <a:lnTo>
                      <a:pt x="0" y="0"/>
                    </a:lnTo>
                    <a:lnTo>
                      <a:pt x="1017" y="598"/>
                    </a:lnTo>
                    <a:lnTo>
                      <a:pt x="1256" y="718"/>
                    </a:lnTo>
                  </a:path>
                </a:pathLst>
              </a:custGeom>
              <a:noFill/>
              <a:ln w="6350" cap="rnd">
                <a:solidFill>
                  <a:schemeClr val="bg1">
                    <a:alpha val="80000"/>
                  </a:schemeClr>
                </a:solidFill>
                <a:prstDash val="solid"/>
                <a:round/>
              </a:ln>
            </p:spPr>
            <p:txBody>
              <a:bodyPr rtlCol="0" anchor="ctr"/>
              <a:lstStyle/>
              <a:p>
                <a:endParaRPr lang="en-GB"/>
              </a:p>
            </p:txBody>
          </p:sp>
          <p:sp>
            <p:nvSpPr>
              <p:cNvPr id="5829" name="Vrije vorm: vorm 5828">
                <a:extLst>
                  <a:ext uri="{FF2B5EF4-FFF2-40B4-BE49-F238E27FC236}">
                    <a16:creationId xmlns:a16="http://schemas.microsoft.com/office/drawing/2014/main" id="{160618DB-E989-468E-B31F-2F51C6251150}"/>
                  </a:ext>
                </a:extLst>
              </p:cNvPr>
              <p:cNvSpPr/>
              <p:nvPr/>
            </p:nvSpPr>
            <p:spPr>
              <a:xfrm>
                <a:off x="6425647" y="1729904"/>
                <a:ext cx="2212" cy="1674"/>
              </a:xfrm>
              <a:custGeom>
                <a:avLst/>
                <a:gdLst>
                  <a:gd name="connsiteX0" fmla="*/ 1914 w 2212"/>
                  <a:gd name="connsiteY0" fmla="*/ 1675 h 1674"/>
                  <a:gd name="connsiteX1" fmla="*/ 2213 w 2212"/>
                  <a:gd name="connsiteY1" fmla="*/ 1136 h 1674"/>
                  <a:gd name="connsiteX2" fmla="*/ 1256 w 2212"/>
                  <a:gd name="connsiteY2" fmla="*/ 658 h 1674"/>
                  <a:gd name="connsiteX3" fmla="*/ 837 w 2212"/>
                  <a:gd name="connsiteY3" fmla="*/ 419 h 1674"/>
                  <a:gd name="connsiteX4" fmla="*/ 0 w 2212"/>
                  <a:gd name="connsiteY4" fmla="*/ 0 h 1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2" h="1674">
                    <a:moveTo>
                      <a:pt x="1914" y="1675"/>
                    </a:moveTo>
                    <a:lnTo>
                      <a:pt x="2213" y="1136"/>
                    </a:lnTo>
                    <a:lnTo>
                      <a:pt x="1256" y="658"/>
                    </a:lnTo>
                    <a:lnTo>
                      <a:pt x="837" y="419"/>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30" name="Vrije vorm: vorm 5829">
                <a:extLst>
                  <a:ext uri="{FF2B5EF4-FFF2-40B4-BE49-F238E27FC236}">
                    <a16:creationId xmlns:a16="http://schemas.microsoft.com/office/drawing/2014/main" id="{BA85AB3D-7057-4814-A01C-E6B87551DB7C}"/>
                  </a:ext>
                </a:extLst>
              </p:cNvPr>
              <p:cNvSpPr/>
              <p:nvPr/>
            </p:nvSpPr>
            <p:spPr>
              <a:xfrm>
                <a:off x="6502739" y="1604608"/>
                <a:ext cx="7416" cy="5382"/>
              </a:xfrm>
              <a:custGeom>
                <a:avLst/>
                <a:gdLst>
                  <a:gd name="connsiteX0" fmla="*/ 0 w 7416"/>
                  <a:gd name="connsiteY0" fmla="*/ 0 h 5382"/>
                  <a:gd name="connsiteX1" fmla="*/ 0 w 7416"/>
                  <a:gd name="connsiteY1" fmla="*/ 0 h 5382"/>
                  <a:gd name="connsiteX2" fmla="*/ 2452 w 7416"/>
                  <a:gd name="connsiteY2" fmla="*/ 1734 h 5382"/>
                  <a:gd name="connsiteX3" fmla="*/ 3947 w 7416"/>
                  <a:gd name="connsiteY3" fmla="*/ 2811 h 5382"/>
                  <a:gd name="connsiteX4" fmla="*/ 6160 w 7416"/>
                  <a:gd name="connsiteY4" fmla="*/ 4426 h 5382"/>
                  <a:gd name="connsiteX5" fmla="*/ 6459 w 7416"/>
                  <a:gd name="connsiteY5" fmla="*/ 4665 h 5382"/>
                  <a:gd name="connsiteX6" fmla="*/ 7416 w 7416"/>
                  <a:gd name="connsiteY6" fmla="*/ 5383 h 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6" h="5382">
                    <a:moveTo>
                      <a:pt x="0" y="0"/>
                    </a:moveTo>
                    <a:lnTo>
                      <a:pt x="0" y="0"/>
                    </a:lnTo>
                    <a:lnTo>
                      <a:pt x="2452" y="1734"/>
                    </a:lnTo>
                    <a:lnTo>
                      <a:pt x="3947" y="2811"/>
                    </a:lnTo>
                    <a:lnTo>
                      <a:pt x="6160" y="4426"/>
                    </a:lnTo>
                    <a:lnTo>
                      <a:pt x="6459" y="4665"/>
                    </a:lnTo>
                    <a:lnTo>
                      <a:pt x="7416" y="5383"/>
                    </a:lnTo>
                  </a:path>
                </a:pathLst>
              </a:custGeom>
              <a:noFill/>
              <a:ln w="6350" cap="rnd">
                <a:solidFill>
                  <a:schemeClr val="bg1">
                    <a:alpha val="80000"/>
                  </a:schemeClr>
                </a:solidFill>
                <a:prstDash val="solid"/>
                <a:round/>
              </a:ln>
            </p:spPr>
            <p:txBody>
              <a:bodyPr rtlCol="0" anchor="ctr"/>
              <a:lstStyle/>
              <a:p>
                <a:endParaRPr lang="en-GB"/>
              </a:p>
            </p:txBody>
          </p:sp>
          <p:sp>
            <p:nvSpPr>
              <p:cNvPr id="5831" name="Vrije vorm: vorm 5830">
                <a:extLst>
                  <a:ext uri="{FF2B5EF4-FFF2-40B4-BE49-F238E27FC236}">
                    <a16:creationId xmlns:a16="http://schemas.microsoft.com/office/drawing/2014/main" id="{A8A8CB60-0232-4348-90F8-6FC26961B7D8}"/>
                  </a:ext>
                </a:extLst>
              </p:cNvPr>
              <p:cNvSpPr/>
              <p:nvPr/>
            </p:nvSpPr>
            <p:spPr>
              <a:xfrm>
                <a:off x="6420504" y="1734270"/>
                <a:ext cx="2571" cy="4425"/>
              </a:xfrm>
              <a:custGeom>
                <a:avLst/>
                <a:gdLst>
                  <a:gd name="connsiteX0" fmla="*/ 2572 w 2571"/>
                  <a:gd name="connsiteY0" fmla="*/ 0 h 4425"/>
                  <a:gd name="connsiteX1" fmla="*/ 2512 w 2571"/>
                  <a:gd name="connsiteY1" fmla="*/ 60 h 4425"/>
                  <a:gd name="connsiteX2" fmla="*/ 2332 w 2571"/>
                  <a:gd name="connsiteY2" fmla="*/ 419 h 4425"/>
                  <a:gd name="connsiteX3" fmla="*/ 897 w 2571"/>
                  <a:gd name="connsiteY3" fmla="*/ 2871 h 4425"/>
                  <a:gd name="connsiteX4" fmla="*/ 0 w 2571"/>
                  <a:gd name="connsiteY4" fmla="*/ 4426 h 4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 h="4425">
                    <a:moveTo>
                      <a:pt x="2572" y="0"/>
                    </a:moveTo>
                    <a:lnTo>
                      <a:pt x="2512" y="60"/>
                    </a:lnTo>
                    <a:lnTo>
                      <a:pt x="2332" y="419"/>
                    </a:lnTo>
                    <a:lnTo>
                      <a:pt x="897" y="2871"/>
                    </a:lnTo>
                    <a:lnTo>
                      <a:pt x="0" y="4426"/>
                    </a:lnTo>
                  </a:path>
                </a:pathLst>
              </a:custGeom>
              <a:noFill/>
              <a:ln w="6350" cap="rnd">
                <a:solidFill>
                  <a:schemeClr val="bg1">
                    <a:alpha val="80000"/>
                  </a:schemeClr>
                </a:solidFill>
                <a:prstDash val="solid"/>
                <a:round/>
              </a:ln>
            </p:spPr>
            <p:txBody>
              <a:bodyPr rtlCol="0" anchor="ctr"/>
              <a:lstStyle/>
              <a:p>
                <a:endParaRPr lang="en-GB"/>
              </a:p>
            </p:txBody>
          </p:sp>
          <p:sp>
            <p:nvSpPr>
              <p:cNvPr id="5832" name="Vrije vorm: vorm 5831">
                <a:extLst>
                  <a:ext uri="{FF2B5EF4-FFF2-40B4-BE49-F238E27FC236}">
                    <a16:creationId xmlns:a16="http://schemas.microsoft.com/office/drawing/2014/main" id="{E6690A25-46BE-47F1-B91E-FC064F4BC721}"/>
                  </a:ext>
                </a:extLst>
              </p:cNvPr>
              <p:cNvSpPr/>
              <p:nvPr/>
            </p:nvSpPr>
            <p:spPr>
              <a:xfrm>
                <a:off x="6414762" y="1718182"/>
                <a:ext cx="4126" cy="6937"/>
              </a:xfrm>
              <a:custGeom>
                <a:avLst/>
                <a:gdLst>
                  <a:gd name="connsiteX0" fmla="*/ 0 w 4126"/>
                  <a:gd name="connsiteY0" fmla="*/ 6938 h 6937"/>
                  <a:gd name="connsiteX1" fmla="*/ 60 w 4126"/>
                  <a:gd name="connsiteY1" fmla="*/ 6878 h 6937"/>
                  <a:gd name="connsiteX2" fmla="*/ 120 w 4126"/>
                  <a:gd name="connsiteY2" fmla="*/ 6818 h 6937"/>
                  <a:gd name="connsiteX3" fmla="*/ 1555 w 4126"/>
                  <a:gd name="connsiteY3" fmla="*/ 4366 h 6937"/>
                  <a:gd name="connsiteX4" fmla="*/ 2990 w 4126"/>
                  <a:gd name="connsiteY4" fmla="*/ 1914 h 6937"/>
                  <a:gd name="connsiteX5" fmla="*/ 4127 w 4126"/>
                  <a:gd name="connsiteY5" fmla="*/ 0 h 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6" h="6937">
                    <a:moveTo>
                      <a:pt x="0" y="6938"/>
                    </a:moveTo>
                    <a:lnTo>
                      <a:pt x="60" y="6878"/>
                    </a:lnTo>
                    <a:lnTo>
                      <a:pt x="120" y="6818"/>
                    </a:lnTo>
                    <a:lnTo>
                      <a:pt x="1555" y="4366"/>
                    </a:lnTo>
                    <a:lnTo>
                      <a:pt x="2990" y="1914"/>
                    </a:lnTo>
                    <a:lnTo>
                      <a:pt x="4127" y="0"/>
                    </a:lnTo>
                  </a:path>
                </a:pathLst>
              </a:custGeom>
              <a:noFill/>
              <a:ln w="6350" cap="rnd">
                <a:solidFill>
                  <a:schemeClr val="bg1">
                    <a:alpha val="80000"/>
                  </a:schemeClr>
                </a:solidFill>
                <a:prstDash val="solid"/>
                <a:round/>
              </a:ln>
            </p:spPr>
            <p:txBody>
              <a:bodyPr rtlCol="0" anchor="ctr"/>
              <a:lstStyle/>
              <a:p>
                <a:endParaRPr lang="en-GB"/>
              </a:p>
            </p:txBody>
          </p:sp>
          <p:sp>
            <p:nvSpPr>
              <p:cNvPr id="5833" name="Vrije vorm: vorm 5832">
                <a:extLst>
                  <a:ext uri="{FF2B5EF4-FFF2-40B4-BE49-F238E27FC236}">
                    <a16:creationId xmlns:a16="http://schemas.microsoft.com/office/drawing/2014/main" id="{17793687-399E-48FB-AB35-2745CA3B4E1F}"/>
                  </a:ext>
                </a:extLst>
              </p:cNvPr>
              <p:cNvSpPr/>
              <p:nvPr/>
            </p:nvSpPr>
            <p:spPr>
              <a:xfrm>
                <a:off x="6472716" y="1663996"/>
                <a:ext cx="59" cy="358"/>
              </a:xfrm>
              <a:custGeom>
                <a:avLst/>
                <a:gdLst>
                  <a:gd name="connsiteX0" fmla="*/ 0 w 59"/>
                  <a:gd name="connsiteY0" fmla="*/ 0 h 358"/>
                  <a:gd name="connsiteX1" fmla="*/ 60 w 59"/>
                  <a:gd name="connsiteY1" fmla="*/ 359 h 358"/>
                </a:gdLst>
                <a:ahLst/>
                <a:cxnLst>
                  <a:cxn ang="0">
                    <a:pos x="connsiteX0" y="connsiteY0"/>
                  </a:cxn>
                  <a:cxn ang="0">
                    <a:pos x="connsiteX1" y="connsiteY1"/>
                  </a:cxn>
                </a:cxnLst>
                <a:rect l="l" t="t" r="r" b="b"/>
                <a:pathLst>
                  <a:path w="59" h="358">
                    <a:moveTo>
                      <a:pt x="0" y="0"/>
                    </a:moveTo>
                    <a:lnTo>
                      <a:pt x="60" y="359"/>
                    </a:lnTo>
                  </a:path>
                </a:pathLst>
              </a:custGeom>
              <a:noFill/>
              <a:ln w="6350" cap="rnd">
                <a:solidFill>
                  <a:schemeClr val="bg1">
                    <a:alpha val="80000"/>
                  </a:schemeClr>
                </a:solidFill>
                <a:prstDash val="solid"/>
                <a:round/>
              </a:ln>
            </p:spPr>
            <p:txBody>
              <a:bodyPr rtlCol="0" anchor="ctr"/>
              <a:lstStyle/>
              <a:p>
                <a:endParaRPr lang="en-GB"/>
              </a:p>
            </p:txBody>
          </p:sp>
          <p:sp>
            <p:nvSpPr>
              <p:cNvPr id="5834" name="Vrije vorm: vorm 5833">
                <a:extLst>
                  <a:ext uri="{FF2B5EF4-FFF2-40B4-BE49-F238E27FC236}">
                    <a16:creationId xmlns:a16="http://schemas.microsoft.com/office/drawing/2014/main" id="{BA32F83B-2A73-4E06-866C-72BAA144AA18}"/>
                  </a:ext>
                </a:extLst>
              </p:cNvPr>
              <p:cNvSpPr/>
              <p:nvPr/>
            </p:nvSpPr>
            <p:spPr>
              <a:xfrm>
                <a:off x="6465240" y="1616928"/>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35" name="Vrije vorm: vorm 5834">
                <a:extLst>
                  <a:ext uri="{FF2B5EF4-FFF2-40B4-BE49-F238E27FC236}">
                    <a16:creationId xmlns:a16="http://schemas.microsoft.com/office/drawing/2014/main" id="{5F45E96E-C030-4B99-9932-D3128507C3E1}"/>
                  </a:ext>
                </a:extLst>
              </p:cNvPr>
              <p:cNvSpPr/>
              <p:nvPr/>
            </p:nvSpPr>
            <p:spPr>
              <a:xfrm>
                <a:off x="6462309" y="1618005"/>
                <a:ext cx="1913" cy="1913"/>
              </a:xfrm>
              <a:custGeom>
                <a:avLst/>
                <a:gdLst>
                  <a:gd name="connsiteX0" fmla="*/ 0 w 1913"/>
                  <a:gd name="connsiteY0" fmla="*/ 1914 h 1913"/>
                  <a:gd name="connsiteX1" fmla="*/ 1914 w 1913"/>
                  <a:gd name="connsiteY1" fmla="*/ 0 h 1913"/>
                </a:gdLst>
                <a:ahLst/>
                <a:cxnLst>
                  <a:cxn ang="0">
                    <a:pos x="connsiteX0" y="connsiteY0"/>
                  </a:cxn>
                  <a:cxn ang="0">
                    <a:pos x="connsiteX1" y="connsiteY1"/>
                  </a:cxn>
                </a:cxnLst>
                <a:rect l="l" t="t" r="r" b="b"/>
                <a:pathLst>
                  <a:path w="1913" h="1913">
                    <a:moveTo>
                      <a:pt x="0" y="1914"/>
                    </a:moveTo>
                    <a:lnTo>
                      <a:pt x="1914" y="0"/>
                    </a:lnTo>
                  </a:path>
                </a:pathLst>
              </a:custGeom>
              <a:noFill/>
              <a:ln w="6350" cap="rnd">
                <a:solidFill>
                  <a:schemeClr val="bg1">
                    <a:alpha val="80000"/>
                  </a:schemeClr>
                </a:solidFill>
                <a:prstDash val="solid"/>
                <a:round/>
              </a:ln>
            </p:spPr>
            <p:txBody>
              <a:bodyPr rtlCol="0" anchor="ctr"/>
              <a:lstStyle/>
              <a:p>
                <a:endParaRPr lang="en-GB"/>
              </a:p>
            </p:txBody>
          </p:sp>
          <p:sp>
            <p:nvSpPr>
              <p:cNvPr id="5836" name="Vrije vorm: vorm 5835">
                <a:extLst>
                  <a:ext uri="{FF2B5EF4-FFF2-40B4-BE49-F238E27FC236}">
                    <a16:creationId xmlns:a16="http://schemas.microsoft.com/office/drawing/2014/main" id="{88B1C4D0-6015-4483-A914-80539D6544E1}"/>
                  </a:ext>
                </a:extLst>
              </p:cNvPr>
              <p:cNvSpPr/>
              <p:nvPr/>
            </p:nvSpPr>
            <p:spPr>
              <a:xfrm>
                <a:off x="6460874" y="1620696"/>
                <a:ext cx="59" cy="239"/>
              </a:xfrm>
              <a:custGeom>
                <a:avLst/>
                <a:gdLst>
                  <a:gd name="connsiteX0" fmla="*/ 60 w 59"/>
                  <a:gd name="connsiteY0" fmla="*/ 239 h 239"/>
                  <a:gd name="connsiteX1" fmla="*/ 0 w 59"/>
                  <a:gd name="connsiteY1" fmla="*/ 0 h 239"/>
                </a:gdLst>
                <a:ahLst/>
                <a:cxnLst>
                  <a:cxn ang="0">
                    <a:pos x="connsiteX0" y="connsiteY0"/>
                  </a:cxn>
                  <a:cxn ang="0">
                    <a:pos x="connsiteX1" y="connsiteY1"/>
                  </a:cxn>
                </a:cxnLst>
                <a:rect l="l" t="t" r="r" b="b"/>
                <a:pathLst>
                  <a:path w="59" h="239">
                    <a:moveTo>
                      <a:pt x="60" y="239"/>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37" name="Vrije vorm: vorm 5836">
                <a:extLst>
                  <a:ext uri="{FF2B5EF4-FFF2-40B4-BE49-F238E27FC236}">
                    <a16:creationId xmlns:a16="http://schemas.microsoft.com/office/drawing/2014/main" id="{05B92C4E-6E1F-42D5-8EA7-22CCF28F6F1A}"/>
                  </a:ext>
                </a:extLst>
              </p:cNvPr>
              <p:cNvSpPr/>
              <p:nvPr/>
            </p:nvSpPr>
            <p:spPr>
              <a:xfrm>
                <a:off x="6435216" y="1737021"/>
                <a:ext cx="33791" cy="16506"/>
              </a:xfrm>
              <a:custGeom>
                <a:avLst/>
                <a:gdLst>
                  <a:gd name="connsiteX0" fmla="*/ 33791 w 33791"/>
                  <a:gd name="connsiteY0" fmla="*/ 16507 h 16506"/>
                  <a:gd name="connsiteX1" fmla="*/ 31100 w 33791"/>
                  <a:gd name="connsiteY1" fmla="*/ 15191 h 16506"/>
                  <a:gd name="connsiteX2" fmla="*/ 28408 w 33791"/>
                  <a:gd name="connsiteY2" fmla="*/ 13875 h 16506"/>
                  <a:gd name="connsiteX3" fmla="*/ 25717 w 33791"/>
                  <a:gd name="connsiteY3" fmla="*/ 12560 h 16506"/>
                  <a:gd name="connsiteX4" fmla="*/ 23026 w 33791"/>
                  <a:gd name="connsiteY4" fmla="*/ 11244 h 16506"/>
                  <a:gd name="connsiteX5" fmla="*/ 20335 w 33791"/>
                  <a:gd name="connsiteY5" fmla="*/ 9928 h 16506"/>
                  <a:gd name="connsiteX6" fmla="*/ 17643 w 33791"/>
                  <a:gd name="connsiteY6" fmla="*/ 8612 h 16506"/>
                  <a:gd name="connsiteX7" fmla="*/ 14952 w 33791"/>
                  <a:gd name="connsiteY7" fmla="*/ 7296 h 16506"/>
                  <a:gd name="connsiteX8" fmla="*/ 12261 w 33791"/>
                  <a:gd name="connsiteY8" fmla="*/ 5981 h 16506"/>
                  <a:gd name="connsiteX9" fmla="*/ 9569 w 33791"/>
                  <a:gd name="connsiteY9" fmla="*/ 4665 h 16506"/>
                  <a:gd name="connsiteX10" fmla="*/ 6878 w 33791"/>
                  <a:gd name="connsiteY10" fmla="*/ 3349 h 16506"/>
                  <a:gd name="connsiteX11" fmla="*/ 4187 w 33791"/>
                  <a:gd name="connsiteY11" fmla="*/ 2034 h 16506"/>
                  <a:gd name="connsiteX12" fmla="*/ 1495 w 33791"/>
                  <a:gd name="connsiteY12" fmla="*/ 718 h 16506"/>
                  <a:gd name="connsiteX13" fmla="*/ 0 w 33791"/>
                  <a:gd name="connsiteY13" fmla="*/ 0 h 16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791" h="16506">
                    <a:moveTo>
                      <a:pt x="33791" y="16507"/>
                    </a:moveTo>
                    <a:lnTo>
                      <a:pt x="31100" y="15191"/>
                    </a:lnTo>
                    <a:lnTo>
                      <a:pt x="28408" y="13875"/>
                    </a:lnTo>
                    <a:lnTo>
                      <a:pt x="25717" y="12560"/>
                    </a:lnTo>
                    <a:lnTo>
                      <a:pt x="23026" y="11244"/>
                    </a:lnTo>
                    <a:lnTo>
                      <a:pt x="20335" y="9928"/>
                    </a:lnTo>
                    <a:lnTo>
                      <a:pt x="17643" y="8612"/>
                    </a:lnTo>
                    <a:lnTo>
                      <a:pt x="14952" y="7296"/>
                    </a:lnTo>
                    <a:lnTo>
                      <a:pt x="12261" y="5981"/>
                    </a:lnTo>
                    <a:lnTo>
                      <a:pt x="9569" y="4665"/>
                    </a:lnTo>
                    <a:lnTo>
                      <a:pt x="6878" y="3349"/>
                    </a:lnTo>
                    <a:lnTo>
                      <a:pt x="4187" y="2034"/>
                    </a:lnTo>
                    <a:lnTo>
                      <a:pt x="1495" y="718"/>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38" name="Vrije vorm: vorm 5837">
                <a:extLst>
                  <a:ext uri="{FF2B5EF4-FFF2-40B4-BE49-F238E27FC236}">
                    <a16:creationId xmlns:a16="http://schemas.microsoft.com/office/drawing/2014/main" id="{E2CA7DD9-A264-49EB-AFE6-0FC6AD53D34F}"/>
                  </a:ext>
                </a:extLst>
              </p:cNvPr>
              <p:cNvSpPr/>
              <p:nvPr/>
            </p:nvSpPr>
            <p:spPr>
              <a:xfrm>
                <a:off x="6460694" y="1618962"/>
                <a:ext cx="1854" cy="1076"/>
              </a:xfrm>
              <a:custGeom>
                <a:avLst/>
                <a:gdLst>
                  <a:gd name="connsiteX0" fmla="*/ 0 w 1854"/>
                  <a:gd name="connsiteY0" fmla="*/ 0 h 1076"/>
                  <a:gd name="connsiteX1" fmla="*/ 1615 w 1854"/>
                  <a:gd name="connsiteY1" fmla="*/ 957 h 1076"/>
                  <a:gd name="connsiteX2" fmla="*/ 1854 w 1854"/>
                  <a:gd name="connsiteY2" fmla="*/ 1076 h 1076"/>
                </a:gdLst>
                <a:ahLst/>
                <a:cxnLst>
                  <a:cxn ang="0">
                    <a:pos x="connsiteX0" y="connsiteY0"/>
                  </a:cxn>
                  <a:cxn ang="0">
                    <a:pos x="connsiteX1" y="connsiteY1"/>
                  </a:cxn>
                  <a:cxn ang="0">
                    <a:pos x="connsiteX2" y="connsiteY2"/>
                  </a:cxn>
                </a:cxnLst>
                <a:rect l="l" t="t" r="r" b="b"/>
                <a:pathLst>
                  <a:path w="1854" h="1076">
                    <a:moveTo>
                      <a:pt x="0" y="0"/>
                    </a:moveTo>
                    <a:lnTo>
                      <a:pt x="1615" y="957"/>
                    </a:lnTo>
                    <a:lnTo>
                      <a:pt x="1854" y="1076"/>
                    </a:lnTo>
                  </a:path>
                </a:pathLst>
              </a:custGeom>
              <a:noFill/>
              <a:ln w="6350" cap="rnd">
                <a:solidFill>
                  <a:schemeClr val="bg1">
                    <a:alpha val="80000"/>
                  </a:schemeClr>
                </a:solidFill>
                <a:prstDash val="solid"/>
                <a:round/>
              </a:ln>
            </p:spPr>
            <p:txBody>
              <a:bodyPr rtlCol="0" anchor="ctr"/>
              <a:lstStyle/>
              <a:p>
                <a:endParaRPr lang="en-GB"/>
              </a:p>
            </p:txBody>
          </p:sp>
          <p:sp>
            <p:nvSpPr>
              <p:cNvPr id="5839" name="Vrije vorm: vorm 5838">
                <a:extLst>
                  <a:ext uri="{FF2B5EF4-FFF2-40B4-BE49-F238E27FC236}">
                    <a16:creationId xmlns:a16="http://schemas.microsoft.com/office/drawing/2014/main" id="{FA0384BB-529D-46B1-BD65-BEC5F6C776F3}"/>
                  </a:ext>
                </a:extLst>
              </p:cNvPr>
              <p:cNvSpPr/>
              <p:nvPr/>
            </p:nvSpPr>
            <p:spPr>
              <a:xfrm>
                <a:off x="6457525" y="1802032"/>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40" name="Vrije vorm: vorm 5839">
                <a:extLst>
                  <a:ext uri="{FF2B5EF4-FFF2-40B4-BE49-F238E27FC236}">
                    <a16:creationId xmlns:a16="http://schemas.microsoft.com/office/drawing/2014/main" id="{98DB2A4D-1DCB-4161-918B-55158175F28B}"/>
                  </a:ext>
                </a:extLst>
              </p:cNvPr>
              <p:cNvSpPr/>
              <p:nvPr/>
            </p:nvSpPr>
            <p:spPr>
              <a:xfrm>
                <a:off x="6496459" y="1545877"/>
                <a:ext cx="3708" cy="777"/>
              </a:xfrm>
              <a:custGeom>
                <a:avLst/>
                <a:gdLst>
                  <a:gd name="connsiteX0" fmla="*/ 0 w 3708"/>
                  <a:gd name="connsiteY0" fmla="*/ 0 h 777"/>
                  <a:gd name="connsiteX1" fmla="*/ 1196 w 3708"/>
                  <a:gd name="connsiteY1" fmla="*/ 239 h 777"/>
                  <a:gd name="connsiteX2" fmla="*/ 2213 w 3708"/>
                  <a:gd name="connsiteY2" fmla="*/ 478 h 777"/>
                  <a:gd name="connsiteX3" fmla="*/ 2572 w 3708"/>
                  <a:gd name="connsiteY3" fmla="*/ 538 h 777"/>
                  <a:gd name="connsiteX4" fmla="*/ 3409 w 3708"/>
                  <a:gd name="connsiteY4" fmla="*/ 718 h 777"/>
                  <a:gd name="connsiteX5" fmla="*/ 3708 w 3708"/>
                  <a:gd name="connsiteY5" fmla="*/ 778 h 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8" h="777">
                    <a:moveTo>
                      <a:pt x="0" y="0"/>
                    </a:moveTo>
                    <a:lnTo>
                      <a:pt x="1196" y="239"/>
                    </a:lnTo>
                    <a:lnTo>
                      <a:pt x="2213" y="478"/>
                    </a:lnTo>
                    <a:lnTo>
                      <a:pt x="2572" y="538"/>
                    </a:lnTo>
                    <a:lnTo>
                      <a:pt x="3409" y="718"/>
                    </a:lnTo>
                    <a:lnTo>
                      <a:pt x="3708" y="778"/>
                    </a:lnTo>
                  </a:path>
                </a:pathLst>
              </a:custGeom>
              <a:noFill/>
              <a:ln w="6350" cap="rnd">
                <a:solidFill>
                  <a:schemeClr val="bg1">
                    <a:alpha val="80000"/>
                  </a:schemeClr>
                </a:solidFill>
                <a:prstDash val="solid"/>
                <a:round/>
              </a:ln>
            </p:spPr>
            <p:txBody>
              <a:bodyPr rtlCol="0" anchor="ctr"/>
              <a:lstStyle/>
              <a:p>
                <a:endParaRPr lang="en-GB"/>
              </a:p>
            </p:txBody>
          </p:sp>
          <p:sp>
            <p:nvSpPr>
              <p:cNvPr id="5841" name="Vrije vorm: vorm 5840">
                <a:extLst>
                  <a:ext uri="{FF2B5EF4-FFF2-40B4-BE49-F238E27FC236}">
                    <a16:creationId xmlns:a16="http://schemas.microsoft.com/office/drawing/2014/main" id="{0CFB228E-55DB-4AB9-8A55-8F3FBE38F91F}"/>
                  </a:ext>
                </a:extLst>
              </p:cNvPr>
              <p:cNvSpPr/>
              <p:nvPr/>
            </p:nvSpPr>
            <p:spPr>
              <a:xfrm>
                <a:off x="6391976" y="1710945"/>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42" name="Vrije vorm: vorm 5841">
                <a:extLst>
                  <a:ext uri="{FF2B5EF4-FFF2-40B4-BE49-F238E27FC236}">
                    <a16:creationId xmlns:a16="http://schemas.microsoft.com/office/drawing/2014/main" id="{A7870B77-DD3A-4E99-BB0E-55ACE9BA6661}"/>
                  </a:ext>
                </a:extLst>
              </p:cNvPr>
              <p:cNvSpPr/>
              <p:nvPr/>
            </p:nvSpPr>
            <p:spPr>
              <a:xfrm>
                <a:off x="6387012" y="1700419"/>
                <a:ext cx="8134" cy="13875"/>
              </a:xfrm>
              <a:custGeom>
                <a:avLst/>
                <a:gdLst>
                  <a:gd name="connsiteX0" fmla="*/ 0 w 8134"/>
                  <a:gd name="connsiteY0" fmla="*/ 13875 h 13875"/>
                  <a:gd name="connsiteX1" fmla="*/ 1435 w 8134"/>
                  <a:gd name="connsiteY1" fmla="*/ 11423 h 13875"/>
                  <a:gd name="connsiteX2" fmla="*/ 2871 w 8134"/>
                  <a:gd name="connsiteY2" fmla="*/ 8971 h 13875"/>
                  <a:gd name="connsiteX3" fmla="*/ 4306 w 8134"/>
                  <a:gd name="connsiteY3" fmla="*/ 6519 h 13875"/>
                  <a:gd name="connsiteX4" fmla="*/ 5742 w 8134"/>
                  <a:gd name="connsiteY4" fmla="*/ 4067 h 13875"/>
                  <a:gd name="connsiteX5" fmla="*/ 7177 w 8134"/>
                  <a:gd name="connsiteY5" fmla="*/ 1615 h 13875"/>
                  <a:gd name="connsiteX6" fmla="*/ 8134 w 8134"/>
                  <a:gd name="connsiteY6" fmla="*/ 0 h 1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34" h="13875">
                    <a:moveTo>
                      <a:pt x="0" y="13875"/>
                    </a:moveTo>
                    <a:lnTo>
                      <a:pt x="1435" y="11423"/>
                    </a:lnTo>
                    <a:lnTo>
                      <a:pt x="2871" y="8971"/>
                    </a:lnTo>
                    <a:lnTo>
                      <a:pt x="4306" y="6519"/>
                    </a:lnTo>
                    <a:lnTo>
                      <a:pt x="5742" y="4067"/>
                    </a:lnTo>
                    <a:lnTo>
                      <a:pt x="7177" y="1615"/>
                    </a:lnTo>
                    <a:lnTo>
                      <a:pt x="8134" y="0"/>
                    </a:lnTo>
                  </a:path>
                </a:pathLst>
              </a:custGeom>
              <a:noFill/>
              <a:ln w="6350" cap="rnd">
                <a:solidFill>
                  <a:schemeClr val="bg1">
                    <a:alpha val="80000"/>
                  </a:schemeClr>
                </a:solidFill>
                <a:prstDash val="solid"/>
                <a:round/>
              </a:ln>
            </p:spPr>
            <p:txBody>
              <a:bodyPr rtlCol="0" anchor="ctr"/>
              <a:lstStyle/>
              <a:p>
                <a:endParaRPr lang="en-GB"/>
              </a:p>
            </p:txBody>
          </p:sp>
          <p:sp>
            <p:nvSpPr>
              <p:cNvPr id="5843" name="Vrije vorm: vorm 5842">
                <a:extLst>
                  <a:ext uri="{FF2B5EF4-FFF2-40B4-BE49-F238E27FC236}">
                    <a16:creationId xmlns:a16="http://schemas.microsoft.com/office/drawing/2014/main" id="{792260F3-11E1-4138-A897-766D7DDE87C2}"/>
                  </a:ext>
                </a:extLst>
              </p:cNvPr>
              <p:cNvSpPr/>
              <p:nvPr/>
            </p:nvSpPr>
            <p:spPr>
              <a:xfrm>
                <a:off x="6401665" y="1694498"/>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44" name="Vrije vorm: vorm 5843">
                <a:extLst>
                  <a:ext uri="{FF2B5EF4-FFF2-40B4-BE49-F238E27FC236}">
                    <a16:creationId xmlns:a16="http://schemas.microsoft.com/office/drawing/2014/main" id="{8D080D1F-CD25-4600-B504-F337FBAA80D5}"/>
                  </a:ext>
                </a:extLst>
              </p:cNvPr>
              <p:cNvSpPr/>
              <p:nvPr/>
            </p:nvSpPr>
            <p:spPr>
              <a:xfrm>
                <a:off x="6405193" y="1679247"/>
                <a:ext cx="418" cy="59"/>
              </a:xfrm>
              <a:custGeom>
                <a:avLst/>
                <a:gdLst>
                  <a:gd name="connsiteX0" fmla="*/ 419 w 418"/>
                  <a:gd name="connsiteY0" fmla="*/ 0 h 59"/>
                  <a:gd name="connsiteX1" fmla="*/ 0 w 418"/>
                  <a:gd name="connsiteY1" fmla="*/ 60 h 59"/>
                </a:gdLst>
                <a:ahLst/>
                <a:cxnLst>
                  <a:cxn ang="0">
                    <a:pos x="connsiteX0" y="connsiteY0"/>
                  </a:cxn>
                  <a:cxn ang="0">
                    <a:pos x="connsiteX1" y="connsiteY1"/>
                  </a:cxn>
                </a:cxnLst>
                <a:rect l="l" t="t" r="r" b="b"/>
                <a:pathLst>
                  <a:path w="418" h="59">
                    <a:moveTo>
                      <a:pt x="419" y="0"/>
                    </a:moveTo>
                    <a:lnTo>
                      <a:pt x="0" y="60"/>
                    </a:lnTo>
                  </a:path>
                </a:pathLst>
              </a:custGeom>
              <a:noFill/>
              <a:ln w="6350" cap="rnd">
                <a:solidFill>
                  <a:schemeClr val="bg1">
                    <a:alpha val="80000"/>
                  </a:schemeClr>
                </a:solidFill>
                <a:prstDash val="solid"/>
                <a:round/>
              </a:ln>
            </p:spPr>
            <p:txBody>
              <a:bodyPr rtlCol="0" anchor="ctr"/>
              <a:lstStyle/>
              <a:p>
                <a:endParaRPr lang="en-GB"/>
              </a:p>
            </p:txBody>
          </p:sp>
          <p:sp>
            <p:nvSpPr>
              <p:cNvPr id="5845" name="Vrije vorm: vorm 5844">
                <a:extLst>
                  <a:ext uri="{FF2B5EF4-FFF2-40B4-BE49-F238E27FC236}">
                    <a16:creationId xmlns:a16="http://schemas.microsoft.com/office/drawing/2014/main" id="{6B8EA8F0-33E7-47EF-B071-A69AD547486C}"/>
                  </a:ext>
                </a:extLst>
              </p:cNvPr>
              <p:cNvSpPr/>
              <p:nvPr/>
            </p:nvSpPr>
            <p:spPr>
              <a:xfrm>
                <a:off x="6408483" y="1668482"/>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46" name="Vrije vorm: vorm 5845">
                <a:extLst>
                  <a:ext uri="{FF2B5EF4-FFF2-40B4-BE49-F238E27FC236}">
                    <a16:creationId xmlns:a16="http://schemas.microsoft.com/office/drawing/2014/main" id="{DA036C38-779E-4A3B-932B-A4DBB182BCEF}"/>
                  </a:ext>
                </a:extLst>
              </p:cNvPr>
              <p:cNvSpPr/>
              <p:nvPr/>
            </p:nvSpPr>
            <p:spPr>
              <a:xfrm>
                <a:off x="6444367" y="1601259"/>
                <a:ext cx="5023" cy="32774"/>
              </a:xfrm>
              <a:custGeom>
                <a:avLst/>
                <a:gdLst>
                  <a:gd name="connsiteX0" fmla="*/ 5024 w 5023"/>
                  <a:gd name="connsiteY0" fmla="*/ 32774 h 32774"/>
                  <a:gd name="connsiteX1" fmla="*/ 4545 w 5023"/>
                  <a:gd name="connsiteY1" fmla="*/ 29664 h 32774"/>
                  <a:gd name="connsiteX2" fmla="*/ 4067 w 5023"/>
                  <a:gd name="connsiteY2" fmla="*/ 26554 h 32774"/>
                  <a:gd name="connsiteX3" fmla="*/ 3588 w 5023"/>
                  <a:gd name="connsiteY3" fmla="*/ 23444 h 32774"/>
                  <a:gd name="connsiteX4" fmla="*/ 3110 w 5023"/>
                  <a:gd name="connsiteY4" fmla="*/ 20335 h 32774"/>
                  <a:gd name="connsiteX5" fmla="*/ 2632 w 5023"/>
                  <a:gd name="connsiteY5" fmla="*/ 17225 h 32774"/>
                  <a:gd name="connsiteX6" fmla="*/ 2153 w 5023"/>
                  <a:gd name="connsiteY6" fmla="*/ 14115 h 32774"/>
                  <a:gd name="connsiteX7" fmla="*/ 1674 w 5023"/>
                  <a:gd name="connsiteY7" fmla="*/ 11005 h 32774"/>
                  <a:gd name="connsiteX8" fmla="*/ 1196 w 5023"/>
                  <a:gd name="connsiteY8" fmla="*/ 7895 h 32774"/>
                  <a:gd name="connsiteX9" fmla="*/ 718 w 5023"/>
                  <a:gd name="connsiteY9" fmla="*/ 4785 h 32774"/>
                  <a:gd name="connsiteX10" fmla="*/ 239 w 5023"/>
                  <a:gd name="connsiteY10" fmla="*/ 1675 h 32774"/>
                  <a:gd name="connsiteX11" fmla="*/ 0 w 5023"/>
                  <a:gd name="connsiteY11" fmla="*/ 0 h 3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3" h="32774">
                    <a:moveTo>
                      <a:pt x="5024" y="32774"/>
                    </a:moveTo>
                    <a:lnTo>
                      <a:pt x="4545" y="29664"/>
                    </a:lnTo>
                    <a:lnTo>
                      <a:pt x="4067" y="26554"/>
                    </a:lnTo>
                    <a:lnTo>
                      <a:pt x="3588" y="23444"/>
                    </a:lnTo>
                    <a:lnTo>
                      <a:pt x="3110" y="20335"/>
                    </a:lnTo>
                    <a:lnTo>
                      <a:pt x="2632" y="17225"/>
                    </a:lnTo>
                    <a:lnTo>
                      <a:pt x="2153" y="14115"/>
                    </a:lnTo>
                    <a:lnTo>
                      <a:pt x="1674" y="11005"/>
                    </a:lnTo>
                    <a:lnTo>
                      <a:pt x="1196" y="7895"/>
                    </a:lnTo>
                    <a:lnTo>
                      <a:pt x="718" y="4785"/>
                    </a:lnTo>
                    <a:lnTo>
                      <a:pt x="239" y="1675"/>
                    </a:lnTo>
                    <a:lnTo>
                      <a:pt x="0" y="0"/>
                    </a:lnTo>
                  </a:path>
                </a:pathLst>
              </a:custGeom>
              <a:noFill/>
              <a:ln w="6350" cap="rnd">
                <a:solidFill>
                  <a:schemeClr val="bg1">
                    <a:alpha val="80000"/>
                  </a:schemeClr>
                </a:solidFill>
                <a:prstDash val="solid"/>
                <a:round/>
              </a:ln>
            </p:spPr>
            <p:txBody>
              <a:bodyPr rtlCol="0" anchor="ctr"/>
              <a:lstStyle/>
              <a:p>
                <a:endParaRPr lang="en-GB"/>
              </a:p>
            </p:txBody>
          </p:sp>
          <p:sp>
            <p:nvSpPr>
              <p:cNvPr id="5847" name="Vrije vorm: vorm 5846">
                <a:extLst>
                  <a:ext uri="{FF2B5EF4-FFF2-40B4-BE49-F238E27FC236}">
                    <a16:creationId xmlns:a16="http://schemas.microsoft.com/office/drawing/2014/main" id="{F5C06118-9D73-44B9-BFE0-B0C292B25249}"/>
                  </a:ext>
                </a:extLst>
              </p:cNvPr>
              <p:cNvSpPr/>
              <p:nvPr/>
            </p:nvSpPr>
            <p:spPr>
              <a:xfrm>
                <a:off x="6449331" y="1634990"/>
                <a:ext cx="4903" cy="31937"/>
              </a:xfrm>
              <a:custGeom>
                <a:avLst/>
                <a:gdLst>
                  <a:gd name="connsiteX0" fmla="*/ 4904 w 4903"/>
                  <a:gd name="connsiteY0" fmla="*/ 31937 h 31937"/>
                  <a:gd name="connsiteX1" fmla="*/ 4665 w 4903"/>
                  <a:gd name="connsiteY1" fmla="*/ 30262 h 31937"/>
                  <a:gd name="connsiteX2" fmla="*/ 4186 w 4903"/>
                  <a:gd name="connsiteY2" fmla="*/ 27153 h 31937"/>
                  <a:gd name="connsiteX3" fmla="*/ 3708 w 4903"/>
                  <a:gd name="connsiteY3" fmla="*/ 24043 h 31937"/>
                  <a:gd name="connsiteX4" fmla="*/ 3229 w 4903"/>
                  <a:gd name="connsiteY4" fmla="*/ 20933 h 31937"/>
                  <a:gd name="connsiteX5" fmla="*/ 2751 w 4903"/>
                  <a:gd name="connsiteY5" fmla="*/ 17823 h 31937"/>
                  <a:gd name="connsiteX6" fmla="*/ 2273 w 4903"/>
                  <a:gd name="connsiteY6" fmla="*/ 14713 h 31937"/>
                  <a:gd name="connsiteX7" fmla="*/ 1794 w 4903"/>
                  <a:gd name="connsiteY7" fmla="*/ 11603 h 31937"/>
                  <a:gd name="connsiteX8" fmla="*/ 1316 w 4903"/>
                  <a:gd name="connsiteY8" fmla="*/ 8493 h 31937"/>
                  <a:gd name="connsiteX9" fmla="*/ 1256 w 4903"/>
                  <a:gd name="connsiteY9" fmla="*/ 8074 h 31937"/>
                  <a:gd name="connsiteX10" fmla="*/ 837 w 4903"/>
                  <a:gd name="connsiteY10" fmla="*/ 5383 h 31937"/>
                  <a:gd name="connsiteX11" fmla="*/ 359 w 4903"/>
                  <a:gd name="connsiteY11" fmla="*/ 2273 h 31937"/>
                  <a:gd name="connsiteX12" fmla="*/ 0 w 4903"/>
                  <a:gd name="connsiteY12" fmla="*/ 0 h 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3" h="31937">
                    <a:moveTo>
                      <a:pt x="4904" y="31937"/>
                    </a:moveTo>
                    <a:lnTo>
                      <a:pt x="4665" y="30262"/>
                    </a:lnTo>
                    <a:lnTo>
                      <a:pt x="4186" y="27153"/>
                    </a:lnTo>
                    <a:lnTo>
                      <a:pt x="3708" y="24043"/>
                    </a:lnTo>
                    <a:lnTo>
                      <a:pt x="3229" y="20933"/>
                    </a:lnTo>
                    <a:lnTo>
                      <a:pt x="2751" y="17823"/>
                    </a:lnTo>
                    <a:lnTo>
                      <a:pt x="2273" y="14713"/>
                    </a:lnTo>
                    <a:lnTo>
                      <a:pt x="1794" y="11603"/>
                    </a:lnTo>
                    <a:lnTo>
                      <a:pt x="1316" y="8493"/>
                    </a:lnTo>
                    <a:lnTo>
                      <a:pt x="1256" y="8074"/>
                    </a:lnTo>
                    <a:lnTo>
                      <a:pt x="837" y="5383"/>
                    </a:lnTo>
                    <a:lnTo>
                      <a:pt x="359" y="2273"/>
                    </a:lnTo>
                    <a:lnTo>
                      <a:pt x="0" y="0"/>
                    </a:lnTo>
                  </a:path>
                </a:pathLst>
              </a:custGeom>
              <a:noFill/>
              <a:ln w="6350" cap="rnd">
                <a:solidFill>
                  <a:schemeClr val="bg1">
                    <a:alpha val="80000"/>
                  </a:schemeClr>
                </a:solidFill>
                <a:prstDash val="solid"/>
                <a:round/>
              </a:ln>
            </p:spPr>
            <p:txBody>
              <a:bodyPr rtlCol="0" anchor="ctr"/>
              <a:lstStyle/>
              <a:p>
                <a:endParaRPr lang="en-GB"/>
              </a:p>
            </p:txBody>
          </p:sp>
        </p:grpSp>
        <p:grpSp>
          <p:nvGrpSpPr>
            <p:cNvPr id="5365" name="Graphic 3">
              <a:extLst>
                <a:ext uri="{FF2B5EF4-FFF2-40B4-BE49-F238E27FC236}">
                  <a16:creationId xmlns:a16="http://schemas.microsoft.com/office/drawing/2014/main" id="{C5095617-5F1A-46F7-BC6E-86AB5A8899E0}"/>
                </a:ext>
              </a:extLst>
            </p:cNvPr>
            <p:cNvGrpSpPr/>
            <p:nvPr/>
          </p:nvGrpSpPr>
          <p:grpSpPr>
            <a:xfrm>
              <a:off x="6711475" y="1489910"/>
              <a:ext cx="60889" cy="57037"/>
              <a:chOff x="6711475" y="1489910"/>
              <a:chExt cx="60889" cy="57037"/>
            </a:xfrm>
            <a:solidFill>
              <a:srgbClr val="FFFFFF"/>
            </a:solidFill>
          </p:grpSpPr>
          <p:sp>
            <p:nvSpPr>
              <p:cNvPr id="5366" name="Vrije vorm: vorm 5365">
                <a:extLst>
                  <a:ext uri="{FF2B5EF4-FFF2-40B4-BE49-F238E27FC236}">
                    <a16:creationId xmlns:a16="http://schemas.microsoft.com/office/drawing/2014/main" id="{0116DADD-F1BA-4928-A5F9-3EA6535BAF0D}"/>
                  </a:ext>
                </a:extLst>
              </p:cNvPr>
              <p:cNvSpPr/>
              <p:nvPr/>
            </p:nvSpPr>
            <p:spPr>
              <a:xfrm>
                <a:off x="6714000" y="1531377"/>
                <a:ext cx="17041" cy="15570"/>
              </a:xfrm>
              <a:custGeom>
                <a:avLst/>
                <a:gdLst>
                  <a:gd name="connsiteX0" fmla="*/ 755 w 17041"/>
                  <a:gd name="connsiteY0" fmla="*/ 5828 h 15570"/>
                  <a:gd name="connsiteX1" fmla="*/ 995 w 17041"/>
                  <a:gd name="connsiteY1" fmla="*/ 6008 h 15570"/>
                  <a:gd name="connsiteX2" fmla="*/ 11581 w 17041"/>
                  <a:gd name="connsiteY2" fmla="*/ 14919 h 15570"/>
                  <a:gd name="connsiteX3" fmla="*/ 15767 w 17041"/>
                  <a:gd name="connsiteY3" fmla="*/ 14321 h 15570"/>
                  <a:gd name="connsiteX4" fmla="*/ 16484 w 17041"/>
                  <a:gd name="connsiteY4" fmla="*/ 9895 h 15570"/>
                  <a:gd name="connsiteX5" fmla="*/ 5061 w 17041"/>
                  <a:gd name="connsiteY5" fmla="*/ 326 h 15570"/>
                  <a:gd name="connsiteX6" fmla="*/ 815 w 17041"/>
                  <a:gd name="connsiteY6" fmla="*/ 1821 h 15570"/>
                  <a:gd name="connsiteX7" fmla="*/ 755 w 17041"/>
                  <a:gd name="connsiteY7" fmla="*/ 5828 h 1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41" h="15570">
                    <a:moveTo>
                      <a:pt x="755" y="5828"/>
                    </a:moveTo>
                    <a:cubicBezTo>
                      <a:pt x="815" y="5888"/>
                      <a:pt x="875" y="5948"/>
                      <a:pt x="995" y="6008"/>
                    </a:cubicBezTo>
                    <a:cubicBezTo>
                      <a:pt x="5779" y="8998"/>
                      <a:pt x="7813" y="10732"/>
                      <a:pt x="11581" y="14919"/>
                    </a:cubicBezTo>
                    <a:cubicBezTo>
                      <a:pt x="12477" y="15996"/>
                      <a:pt x="14391" y="15696"/>
                      <a:pt x="15767" y="14321"/>
                    </a:cubicBezTo>
                    <a:cubicBezTo>
                      <a:pt x="17143" y="12945"/>
                      <a:pt x="17442" y="10912"/>
                      <a:pt x="16484" y="9895"/>
                    </a:cubicBezTo>
                    <a:cubicBezTo>
                      <a:pt x="12477" y="5470"/>
                      <a:pt x="10145" y="3496"/>
                      <a:pt x="5061" y="326"/>
                    </a:cubicBezTo>
                    <a:cubicBezTo>
                      <a:pt x="3865" y="-451"/>
                      <a:pt x="1951" y="206"/>
                      <a:pt x="815" y="1821"/>
                    </a:cubicBezTo>
                    <a:cubicBezTo>
                      <a:pt x="-262" y="3257"/>
                      <a:pt x="-262" y="4991"/>
                      <a:pt x="755" y="5828"/>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367" name="Vrije vorm: vorm 5366">
                <a:extLst>
                  <a:ext uri="{FF2B5EF4-FFF2-40B4-BE49-F238E27FC236}">
                    <a16:creationId xmlns:a16="http://schemas.microsoft.com/office/drawing/2014/main" id="{657CF00D-8AC9-4766-8CB2-6E2F34008399}"/>
                  </a:ext>
                </a:extLst>
              </p:cNvPr>
              <p:cNvSpPr/>
              <p:nvPr/>
            </p:nvSpPr>
            <p:spPr>
              <a:xfrm>
                <a:off x="6714963" y="1517515"/>
                <a:ext cx="29569" cy="26144"/>
              </a:xfrm>
              <a:custGeom>
                <a:avLst/>
                <a:gdLst>
                  <a:gd name="connsiteX0" fmla="*/ 24313 w 29569"/>
                  <a:gd name="connsiteY0" fmla="*/ 25671 h 26144"/>
                  <a:gd name="connsiteX1" fmla="*/ 28081 w 29569"/>
                  <a:gd name="connsiteY1" fmla="*/ 25133 h 26144"/>
                  <a:gd name="connsiteX2" fmla="*/ 29158 w 29569"/>
                  <a:gd name="connsiteY2" fmla="*/ 20647 h 26144"/>
                  <a:gd name="connsiteX3" fmla="*/ 18333 w 29569"/>
                  <a:gd name="connsiteY3" fmla="*/ 8806 h 26144"/>
                  <a:gd name="connsiteX4" fmla="*/ 4816 w 29569"/>
                  <a:gd name="connsiteY4" fmla="*/ 193 h 26144"/>
                  <a:gd name="connsiteX5" fmla="*/ 630 w 29569"/>
                  <a:gd name="connsiteY5" fmla="*/ 2047 h 26144"/>
                  <a:gd name="connsiteX6" fmla="*/ 1168 w 29569"/>
                  <a:gd name="connsiteY6" fmla="*/ 6114 h 26144"/>
                  <a:gd name="connsiteX7" fmla="*/ 13847 w 29569"/>
                  <a:gd name="connsiteY7" fmla="*/ 14188 h 26144"/>
                  <a:gd name="connsiteX8" fmla="*/ 24015 w 29569"/>
                  <a:gd name="connsiteY8" fmla="*/ 25253 h 26144"/>
                  <a:gd name="connsiteX9" fmla="*/ 24313 w 29569"/>
                  <a:gd name="connsiteY9" fmla="*/ 25671 h 2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69" h="26144">
                    <a:moveTo>
                      <a:pt x="24313" y="25671"/>
                    </a:moveTo>
                    <a:cubicBezTo>
                      <a:pt x="25211" y="26449"/>
                      <a:pt x="26825" y="26269"/>
                      <a:pt x="28081" y="25133"/>
                    </a:cubicBezTo>
                    <a:cubicBezTo>
                      <a:pt x="29517" y="23877"/>
                      <a:pt x="29995" y="21844"/>
                      <a:pt x="29158" y="20647"/>
                    </a:cubicBezTo>
                    <a:cubicBezTo>
                      <a:pt x="25869" y="15982"/>
                      <a:pt x="22639" y="12454"/>
                      <a:pt x="18333" y="8806"/>
                    </a:cubicBezTo>
                    <a:cubicBezTo>
                      <a:pt x="14026" y="5217"/>
                      <a:pt x="9960" y="2586"/>
                      <a:pt x="4816" y="193"/>
                    </a:cubicBezTo>
                    <a:cubicBezTo>
                      <a:pt x="3501" y="-405"/>
                      <a:pt x="1647" y="433"/>
                      <a:pt x="630" y="2047"/>
                    </a:cubicBezTo>
                    <a:cubicBezTo>
                      <a:pt x="-387" y="3662"/>
                      <a:pt x="-148" y="5516"/>
                      <a:pt x="1168" y="6114"/>
                    </a:cubicBezTo>
                    <a:cubicBezTo>
                      <a:pt x="7269" y="8985"/>
                      <a:pt x="10977" y="11796"/>
                      <a:pt x="13847" y="14188"/>
                    </a:cubicBezTo>
                    <a:cubicBezTo>
                      <a:pt x="16718" y="16581"/>
                      <a:pt x="20127" y="19750"/>
                      <a:pt x="24015" y="25253"/>
                    </a:cubicBezTo>
                    <a:cubicBezTo>
                      <a:pt x="24074" y="25432"/>
                      <a:pt x="24194" y="25552"/>
                      <a:pt x="24313" y="25671"/>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368" name="Vrije vorm: vorm 5367">
                <a:extLst>
                  <a:ext uri="{FF2B5EF4-FFF2-40B4-BE49-F238E27FC236}">
                    <a16:creationId xmlns:a16="http://schemas.microsoft.com/office/drawing/2014/main" id="{22DF3DCC-7A39-4821-9B10-1559489C4088}"/>
                  </a:ext>
                </a:extLst>
              </p:cNvPr>
              <p:cNvSpPr/>
              <p:nvPr/>
            </p:nvSpPr>
            <p:spPr>
              <a:xfrm>
                <a:off x="6713197" y="1503176"/>
                <a:ext cx="45677" cy="39700"/>
              </a:xfrm>
              <a:custGeom>
                <a:avLst/>
                <a:gdLst>
                  <a:gd name="connsiteX0" fmla="*/ 721 w 45677"/>
                  <a:gd name="connsiteY0" fmla="*/ 5860 h 39700"/>
                  <a:gd name="connsiteX1" fmla="*/ 1379 w 45677"/>
                  <a:gd name="connsiteY1" fmla="*/ 6219 h 39700"/>
                  <a:gd name="connsiteX2" fmla="*/ 17706 w 45677"/>
                  <a:gd name="connsiteY2" fmla="*/ 13934 h 39700"/>
                  <a:gd name="connsiteX3" fmla="*/ 29548 w 45677"/>
                  <a:gd name="connsiteY3" fmla="*/ 23862 h 39700"/>
                  <a:gd name="connsiteX4" fmla="*/ 39955 w 45677"/>
                  <a:gd name="connsiteY4" fmla="*/ 38634 h 39700"/>
                  <a:gd name="connsiteX5" fmla="*/ 43902 w 45677"/>
                  <a:gd name="connsiteY5" fmla="*/ 38873 h 39700"/>
                  <a:gd name="connsiteX6" fmla="*/ 45397 w 45677"/>
                  <a:gd name="connsiteY6" fmla="*/ 34388 h 39700"/>
                  <a:gd name="connsiteX7" fmla="*/ 34393 w 45677"/>
                  <a:gd name="connsiteY7" fmla="*/ 18778 h 39700"/>
                  <a:gd name="connsiteX8" fmla="*/ 21833 w 45677"/>
                  <a:gd name="connsiteY8" fmla="*/ 8252 h 39700"/>
                  <a:gd name="connsiteX9" fmla="*/ 4549 w 45677"/>
                  <a:gd name="connsiteY9" fmla="*/ 118 h 39700"/>
                  <a:gd name="connsiteX10" fmla="*/ 422 w 45677"/>
                  <a:gd name="connsiteY10" fmla="*/ 2391 h 39700"/>
                  <a:gd name="connsiteX11" fmla="*/ 721 w 45677"/>
                  <a:gd name="connsiteY11" fmla="*/ 5860 h 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77" h="39700">
                    <a:moveTo>
                      <a:pt x="721" y="5860"/>
                    </a:moveTo>
                    <a:cubicBezTo>
                      <a:pt x="901" y="6039"/>
                      <a:pt x="1140" y="6159"/>
                      <a:pt x="1379" y="6219"/>
                    </a:cubicBezTo>
                    <a:cubicBezTo>
                      <a:pt x="7360" y="8132"/>
                      <a:pt x="12563" y="10584"/>
                      <a:pt x="17706" y="13934"/>
                    </a:cubicBezTo>
                    <a:cubicBezTo>
                      <a:pt x="22132" y="16804"/>
                      <a:pt x="25900" y="19974"/>
                      <a:pt x="29548" y="23862"/>
                    </a:cubicBezTo>
                    <a:cubicBezTo>
                      <a:pt x="33735" y="28347"/>
                      <a:pt x="37024" y="33012"/>
                      <a:pt x="39955" y="38634"/>
                    </a:cubicBezTo>
                    <a:cubicBezTo>
                      <a:pt x="40613" y="39950"/>
                      <a:pt x="42407" y="40069"/>
                      <a:pt x="43902" y="38873"/>
                    </a:cubicBezTo>
                    <a:cubicBezTo>
                      <a:pt x="45397" y="37737"/>
                      <a:pt x="46115" y="35704"/>
                      <a:pt x="45397" y="34388"/>
                    </a:cubicBezTo>
                    <a:cubicBezTo>
                      <a:pt x="42287" y="28467"/>
                      <a:pt x="38818" y="23503"/>
                      <a:pt x="34393" y="18778"/>
                    </a:cubicBezTo>
                    <a:cubicBezTo>
                      <a:pt x="30565" y="14651"/>
                      <a:pt x="26558" y="11302"/>
                      <a:pt x="21833" y="8252"/>
                    </a:cubicBezTo>
                    <a:cubicBezTo>
                      <a:pt x="16391" y="4723"/>
                      <a:pt x="10889" y="2092"/>
                      <a:pt x="4549" y="118"/>
                    </a:cubicBezTo>
                    <a:cubicBezTo>
                      <a:pt x="3173" y="-360"/>
                      <a:pt x="1259" y="656"/>
                      <a:pt x="422" y="2391"/>
                    </a:cubicBezTo>
                    <a:cubicBezTo>
                      <a:pt x="-236" y="3766"/>
                      <a:pt x="-116" y="5142"/>
                      <a:pt x="721" y="5860"/>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sp>
            <p:nvSpPr>
              <p:cNvPr id="5369" name="Vrije vorm: vorm 5368">
                <a:extLst>
                  <a:ext uri="{FF2B5EF4-FFF2-40B4-BE49-F238E27FC236}">
                    <a16:creationId xmlns:a16="http://schemas.microsoft.com/office/drawing/2014/main" id="{6E2177AA-20A4-41C5-9572-41A6826FB62B}"/>
                  </a:ext>
                </a:extLst>
              </p:cNvPr>
              <p:cNvSpPr/>
              <p:nvPr/>
            </p:nvSpPr>
            <p:spPr>
              <a:xfrm>
                <a:off x="6711475" y="1489910"/>
                <a:ext cx="60889" cy="52372"/>
              </a:xfrm>
              <a:custGeom>
                <a:avLst/>
                <a:gdLst>
                  <a:gd name="connsiteX0" fmla="*/ 769 w 60889"/>
                  <a:gd name="connsiteY0" fmla="*/ 5789 h 52372"/>
                  <a:gd name="connsiteX1" fmla="*/ 1606 w 60889"/>
                  <a:gd name="connsiteY1" fmla="*/ 6208 h 52372"/>
                  <a:gd name="connsiteX2" fmla="*/ 25290 w 60889"/>
                  <a:gd name="connsiteY2" fmla="*/ 15538 h 52372"/>
                  <a:gd name="connsiteX3" fmla="*/ 41796 w 60889"/>
                  <a:gd name="connsiteY3" fmla="*/ 29413 h 52372"/>
                  <a:gd name="connsiteX4" fmla="*/ 55074 w 60889"/>
                  <a:gd name="connsiteY4" fmla="*/ 51123 h 52372"/>
                  <a:gd name="connsiteX5" fmla="*/ 58901 w 60889"/>
                  <a:gd name="connsiteY5" fmla="*/ 51721 h 52372"/>
                  <a:gd name="connsiteX6" fmla="*/ 60696 w 60889"/>
                  <a:gd name="connsiteY6" fmla="*/ 47295 h 52372"/>
                  <a:gd name="connsiteX7" fmla="*/ 46701 w 60889"/>
                  <a:gd name="connsiteY7" fmla="*/ 24449 h 52372"/>
                  <a:gd name="connsiteX8" fmla="*/ 29297 w 60889"/>
                  <a:gd name="connsiteY8" fmla="*/ 9856 h 52372"/>
                  <a:gd name="connsiteX9" fmla="*/ 4357 w 60889"/>
                  <a:gd name="connsiteY9" fmla="*/ 48 h 52372"/>
                  <a:gd name="connsiteX10" fmla="*/ 290 w 60889"/>
                  <a:gd name="connsiteY10" fmla="*/ 2619 h 52372"/>
                  <a:gd name="connsiteX11" fmla="*/ 769 w 60889"/>
                  <a:gd name="connsiteY11" fmla="*/ 5789 h 5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889" h="52372">
                    <a:moveTo>
                      <a:pt x="769" y="5789"/>
                    </a:moveTo>
                    <a:cubicBezTo>
                      <a:pt x="1008" y="5969"/>
                      <a:pt x="1307" y="6148"/>
                      <a:pt x="1606" y="6208"/>
                    </a:cubicBezTo>
                    <a:cubicBezTo>
                      <a:pt x="10398" y="8122"/>
                      <a:pt x="17933" y="11052"/>
                      <a:pt x="25290" y="15538"/>
                    </a:cubicBezTo>
                    <a:cubicBezTo>
                      <a:pt x="31629" y="19365"/>
                      <a:pt x="36892" y="23791"/>
                      <a:pt x="41796" y="29413"/>
                    </a:cubicBezTo>
                    <a:cubicBezTo>
                      <a:pt x="47478" y="35872"/>
                      <a:pt x="51665" y="42750"/>
                      <a:pt x="55074" y="51123"/>
                    </a:cubicBezTo>
                    <a:cubicBezTo>
                      <a:pt x="55672" y="52499"/>
                      <a:pt x="57346" y="52798"/>
                      <a:pt x="58901" y="51721"/>
                    </a:cubicBezTo>
                    <a:cubicBezTo>
                      <a:pt x="60457" y="50645"/>
                      <a:pt x="61294" y="48671"/>
                      <a:pt x="60696" y="47295"/>
                    </a:cubicBezTo>
                    <a:cubicBezTo>
                      <a:pt x="57107" y="38504"/>
                      <a:pt x="52681" y="31207"/>
                      <a:pt x="46701" y="24449"/>
                    </a:cubicBezTo>
                    <a:cubicBezTo>
                      <a:pt x="41557" y="18588"/>
                      <a:pt x="35995" y="13923"/>
                      <a:pt x="29297" y="9856"/>
                    </a:cubicBezTo>
                    <a:cubicBezTo>
                      <a:pt x="21582" y="5131"/>
                      <a:pt x="13627" y="2021"/>
                      <a:pt x="4357" y="48"/>
                    </a:cubicBezTo>
                    <a:cubicBezTo>
                      <a:pt x="2862" y="-251"/>
                      <a:pt x="1068" y="885"/>
                      <a:pt x="290" y="2619"/>
                    </a:cubicBezTo>
                    <a:cubicBezTo>
                      <a:pt x="-248" y="3816"/>
                      <a:pt x="-9" y="5131"/>
                      <a:pt x="769" y="5789"/>
                    </a:cubicBezTo>
                    <a:close/>
                  </a:path>
                </a:pathLst>
              </a:custGeom>
              <a:solidFill>
                <a:srgbClr val="FFFFFF"/>
              </a:solidFill>
              <a:ln w="6350" cap="flat">
                <a:solidFill>
                  <a:schemeClr val="bg1">
                    <a:alpha val="80000"/>
                  </a:schemeClr>
                </a:solidFill>
                <a:prstDash val="solid"/>
                <a:miter/>
              </a:ln>
            </p:spPr>
            <p:txBody>
              <a:bodyPr rtlCol="0" anchor="ctr"/>
              <a:lstStyle/>
              <a:p>
                <a:endParaRPr lang="en-GB"/>
              </a:p>
            </p:txBody>
          </p:sp>
        </p:grpSp>
      </p:grpSp>
      <p:grpSp>
        <p:nvGrpSpPr>
          <p:cNvPr id="7144" name="WERELD_2">
            <a:extLst>
              <a:ext uri="{FF2B5EF4-FFF2-40B4-BE49-F238E27FC236}">
                <a16:creationId xmlns:a16="http://schemas.microsoft.com/office/drawing/2014/main" id="{1AD2B039-549C-43C8-8805-EE4EEBE215D9}"/>
              </a:ext>
            </a:extLst>
          </p:cNvPr>
          <p:cNvGrpSpPr/>
          <p:nvPr userDrawn="1"/>
        </p:nvGrpSpPr>
        <p:grpSpPr>
          <a:xfrm>
            <a:off x="6488193" y="3868581"/>
            <a:ext cx="1822256" cy="2174886"/>
            <a:chOff x="6456099" y="3685061"/>
            <a:chExt cx="1822256" cy="2174886"/>
          </a:xfrm>
          <a:effectLst>
            <a:glow rad="127000">
              <a:srgbClr val="00B0F0">
                <a:alpha val="40000"/>
              </a:srgbClr>
            </a:glow>
          </a:effectLst>
        </p:grpSpPr>
        <p:grpSp>
          <p:nvGrpSpPr>
            <p:cNvPr id="7145" name="Groep 7144">
              <a:extLst>
                <a:ext uri="{FF2B5EF4-FFF2-40B4-BE49-F238E27FC236}">
                  <a16:creationId xmlns:a16="http://schemas.microsoft.com/office/drawing/2014/main" id="{F67CA238-172B-493F-B1D2-4CA78D9E724D}"/>
                </a:ext>
              </a:extLst>
            </p:cNvPr>
            <p:cNvGrpSpPr/>
            <p:nvPr/>
          </p:nvGrpSpPr>
          <p:grpSpPr>
            <a:xfrm>
              <a:off x="8151706" y="4349054"/>
              <a:ext cx="93916" cy="108899"/>
              <a:chOff x="8151706" y="4349054"/>
              <a:chExt cx="93916" cy="108899"/>
            </a:xfrm>
          </p:grpSpPr>
          <p:sp>
            <p:nvSpPr>
              <p:cNvPr id="7298" name="Vrije vorm: vorm 7297">
                <a:extLst>
                  <a:ext uri="{FF2B5EF4-FFF2-40B4-BE49-F238E27FC236}">
                    <a16:creationId xmlns:a16="http://schemas.microsoft.com/office/drawing/2014/main" id="{7C47F5B9-9CAB-4E89-99C1-FDA6CBC7102F}"/>
                  </a:ext>
                </a:extLst>
              </p:cNvPr>
              <p:cNvSpPr/>
              <p:nvPr/>
            </p:nvSpPr>
            <p:spPr>
              <a:xfrm>
                <a:off x="8191814" y="4428824"/>
                <a:ext cx="47128" cy="29129"/>
              </a:xfrm>
              <a:custGeom>
                <a:avLst/>
                <a:gdLst>
                  <a:gd name="connsiteX0" fmla="*/ 47128 w 47128"/>
                  <a:gd name="connsiteY0" fmla="*/ 3529 h 29129"/>
                  <a:gd name="connsiteX1" fmla="*/ 13576 w 47128"/>
                  <a:gd name="connsiteY1" fmla="*/ 0 h 29129"/>
                  <a:gd name="connsiteX2" fmla="*/ 0 w 47128"/>
                  <a:gd name="connsiteY2" fmla="*/ 24282 h 29129"/>
                  <a:gd name="connsiteX3" fmla="*/ 33552 w 47128"/>
                  <a:gd name="connsiteY3" fmla="*/ 27811 h 29129"/>
                </a:gdLst>
                <a:ahLst/>
                <a:cxnLst>
                  <a:cxn ang="0">
                    <a:pos x="connsiteX0" y="connsiteY0"/>
                  </a:cxn>
                  <a:cxn ang="0">
                    <a:pos x="connsiteX1" y="connsiteY1"/>
                  </a:cxn>
                  <a:cxn ang="0">
                    <a:pos x="connsiteX2" y="connsiteY2"/>
                  </a:cxn>
                  <a:cxn ang="0">
                    <a:pos x="connsiteX3" y="connsiteY3"/>
                  </a:cxn>
                </a:cxnLst>
                <a:rect l="l" t="t" r="r" b="b"/>
                <a:pathLst>
                  <a:path w="47128" h="29129">
                    <a:moveTo>
                      <a:pt x="47128" y="3529"/>
                    </a:moveTo>
                    <a:cubicBezTo>
                      <a:pt x="37439" y="6100"/>
                      <a:pt x="26255" y="4964"/>
                      <a:pt x="13576" y="0"/>
                    </a:cubicBezTo>
                    <a:lnTo>
                      <a:pt x="0" y="24282"/>
                    </a:lnTo>
                    <a:cubicBezTo>
                      <a:pt x="12679" y="29186"/>
                      <a:pt x="23863" y="30382"/>
                      <a:pt x="33552" y="27811"/>
                    </a:cubicBezTo>
                  </a:path>
                </a:pathLst>
              </a:custGeom>
              <a:noFill/>
              <a:ln w="6350" cap="flat">
                <a:solidFill>
                  <a:schemeClr val="bg1">
                    <a:alpha val="80000"/>
                  </a:schemeClr>
                </a:solidFill>
                <a:prstDash val="solid"/>
                <a:miter/>
              </a:ln>
            </p:spPr>
            <p:txBody>
              <a:bodyPr rtlCol="0" anchor="ctr"/>
              <a:lstStyle/>
              <a:p>
                <a:endParaRPr lang="en-GB"/>
              </a:p>
            </p:txBody>
          </p:sp>
          <p:sp>
            <p:nvSpPr>
              <p:cNvPr id="7299" name="Vrije vorm: vorm 7298">
                <a:extLst>
                  <a:ext uri="{FF2B5EF4-FFF2-40B4-BE49-F238E27FC236}">
                    <a16:creationId xmlns:a16="http://schemas.microsoft.com/office/drawing/2014/main" id="{6349CA40-9F0D-437E-A3DB-8FAC397DFA3D}"/>
                  </a:ext>
                </a:extLst>
              </p:cNvPr>
              <p:cNvSpPr/>
              <p:nvPr/>
            </p:nvSpPr>
            <p:spPr>
              <a:xfrm>
                <a:off x="8197795" y="4405739"/>
                <a:ext cx="46290" cy="30501"/>
              </a:xfrm>
              <a:custGeom>
                <a:avLst/>
                <a:gdLst>
                  <a:gd name="connsiteX0" fmla="*/ 0 w 46290"/>
                  <a:gd name="connsiteY0" fmla="*/ 30502 h 30501"/>
                  <a:gd name="connsiteX1" fmla="*/ 13576 w 46290"/>
                  <a:gd name="connsiteY1" fmla="*/ 6220 h 30501"/>
                  <a:gd name="connsiteX2" fmla="*/ 46291 w 46290"/>
                  <a:gd name="connsiteY2" fmla="*/ 0 h 30501"/>
                </a:gdLst>
                <a:ahLst/>
                <a:cxnLst>
                  <a:cxn ang="0">
                    <a:pos x="connsiteX0" y="connsiteY0"/>
                  </a:cxn>
                  <a:cxn ang="0">
                    <a:pos x="connsiteX1" y="connsiteY1"/>
                  </a:cxn>
                  <a:cxn ang="0">
                    <a:pos x="connsiteX2" y="connsiteY2"/>
                  </a:cxn>
                </a:cxnLst>
                <a:rect l="l" t="t" r="r" b="b"/>
                <a:pathLst>
                  <a:path w="46290" h="30501">
                    <a:moveTo>
                      <a:pt x="0" y="30502"/>
                    </a:moveTo>
                    <a:lnTo>
                      <a:pt x="13576" y="6220"/>
                    </a:lnTo>
                    <a:cubicBezTo>
                      <a:pt x="30023" y="12260"/>
                      <a:pt x="40908" y="10227"/>
                      <a:pt x="46291" y="0"/>
                    </a:cubicBezTo>
                  </a:path>
                </a:pathLst>
              </a:custGeom>
              <a:noFill/>
              <a:ln w="6350" cap="flat">
                <a:solidFill>
                  <a:schemeClr val="bg1">
                    <a:alpha val="80000"/>
                  </a:schemeClr>
                </a:solidFill>
                <a:prstDash val="solid"/>
                <a:miter/>
              </a:ln>
            </p:spPr>
            <p:txBody>
              <a:bodyPr rtlCol="0" anchor="ctr"/>
              <a:lstStyle/>
              <a:p>
                <a:endParaRPr lang="en-GB"/>
              </a:p>
            </p:txBody>
          </p:sp>
          <p:sp>
            <p:nvSpPr>
              <p:cNvPr id="7300" name="Vrije vorm: vorm 7299">
                <a:extLst>
                  <a:ext uri="{FF2B5EF4-FFF2-40B4-BE49-F238E27FC236}">
                    <a16:creationId xmlns:a16="http://schemas.microsoft.com/office/drawing/2014/main" id="{1F07DD09-C7E9-4585-A1C0-EB01A41A2B35}"/>
                  </a:ext>
                </a:extLst>
              </p:cNvPr>
              <p:cNvSpPr/>
              <p:nvPr/>
            </p:nvSpPr>
            <p:spPr>
              <a:xfrm>
                <a:off x="8243308" y="4390009"/>
                <a:ext cx="2314" cy="15729"/>
              </a:xfrm>
              <a:custGeom>
                <a:avLst/>
                <a:gdLst>
                  <a:gd name="connsiteX0" fmla="*/ 778 w 2314"/>
                  <a:gd name="connsiteY0" fmla="*/ 15729 h 15729"/>
                  <a:gd name="connsiteX1" fmla="*/ 0 w 2314"/>
                  <a:gd name="connsiteY1" fmla="*/ 0 h 15729"/>
                </a:gdLst>
                <a:ahLst/>
                <a:cxnLst>
                  <a:cxn ang="0">
                    <a:pos x="connsiteX0" y="connsiteY0"/>
                  </a:cxn>
                  <a:cxn ang="0">
                    <a:pos x="connsiteX1" y="connsiteY1"/>
                  </a:cxn>
                </a:cxnLst>
                <a:rect l="l" t="t" r="r" b="b"/>
                <a:pathLst>
                  <a:path w="2314" h="15729">
                    <a:moveTo>
                      <a:pt x="778" y="15729"/>
                    </a:moveTo>
                    <a:cubicBezTo>
                      <a:pt x="3050" y="11423"/>
                      <a:pt x="2811" y="6220"/>
                      <a:pt x="0" y="0"/>
                    </a:cubicBezTo>
                  </a:path>
                </a:pathLst>
              </a:custGeom>
              <a:noFill/>
              <a:ln w="6350" cap="flat">
                <a:solidFill>
                  <a:schemeClr val="bg1">
                    <a:alpha val="80000"/>
                  </a:schemeClr>
                </a:solidFill>
                <a:prstDash val="solid"/>
                <a:miter/>
              </a:ln>
            </p:spPr>
            <p:txBody>
              <a:bodyPr rtlCol="0" anchor="ctr"/>
              <a:lstStyle/>
              <a:p>
                <a:endParaRPr lang="en-GB"/>
              </a:p>
            </p:txBody>
          </p:sp>
          <p:sp>
            <p:nvSpPr>
              <p:cNvPr id="7301" name="Vrije vorm: vorm 7300">
                <a:extLst>
                  <a:ext uri="{FF2B5EF4-FFF2-40B4-BE49-F238E27FC236}">
                    <a16:creationId xmlns:a16="http://schemas.microsoft.com/office/drawing/2014/main" id="{7AA50DCF-7ED7-4AD3-9277-E7011D7A340D}"/>
                  </a:ext>
                </a:extLst>
              </p:cNvPr>
              <p:cNvSpPr/>
              <p:nvPr/>
            </p:nvSpPr>
            <p:spPr>
              <a:xfrm>
                <a:off x="8211551" y="4371230"/>
                <a:ext cx="31757" cy="43061"/>
              </a:xfrm>
              <a:custGeom>
                <a:avLst/>
                <a:gdLst>
                  <a:gd name="connsiteX0" fmla="*/ 31757 w 31757"/>
                  <a:gd name="connsiteY0" fmla="*/ 18780 h 43061"/>
                  <a:gd name="connsiteX1" fmla="*/ 13576 w 31757"/>
                  <a:gd name="connsiteY1" fmla="*/ 0 h 43061"/>
                  <a:gd name="connsiteX2" fmla="*/ 0 w 31757"/>
                  <a:gd name="connsiteY2" fmla="*/ 24282 h 43061"/>
                  <a:gd name="connsiteX3" fmla="*/ 18181 w 31757"/>
                  <a:gd name="connsiteY3" fmla="*/ 43061 h 43061"/>
                </a:gdLst>
                <a:ahLst/>
                <a:cxnLst>
                  <a:cxn ang="0">
                    <a:pos x="connsiteX0" y="connsiteY0"/>
                  </a:cxn>
                  <a:cxn ang="0">
                    <a:pos x="connsiteX1" y="connsiteY1"/>
                  </a:cxn>
                  <a:cxn ang="0">
                    <a:pos x="connsiteX2" y="connsiteY2"/>
                  </a:cxn>
                  <a:cxn ang="0">
                    <a:pos x="connsiteX3" y="connsiteY3"/>
                  </a:cxn>
                </a:cxnLst>
                <a:rect l="l" t="t" r="r" b="b"/>
                <a:pathLst>
                  <a:path w="31757" h="43061">
                    <a:moveTo>
                      <a:pt x="31757" y="18780"/>
                    </a:moveTo>
                    <a:cubicBezTo>
                      <a:pt x="29006" y="12560"/>
                      <a:pt x="22906" y="6340"/>
                      <a:pt x="13576" y="0"/>
                    </a:cubicBezTo>
                    <a:lnTo>
                      <a:pt x="0" y="24282"/>
                    </a:lnTo>
                    <a:cubicBezTo>
                      <a:pt x="9330" y="30621"/>
                      <a:pt x="15430" y="36901"/>
                      <a:pt x="18181" y="43061"/>
                    </a:cubicBezTo>
                  </a:path>
                </a:pathLst>
              </a:custGeom>
              <a:noFill/>
              <a:ln w="6350" cap="flat">
                <a:solidFill>
                  <a:schemeClr val="bg1">
                    <a:alpha val="80000"/>
                  </a:schemeClr>
                </a:solidFill>
                <a:prstDash val="solid"/>
                <a:miter/>
              </a:ln>
            </p:spPr>
            <p:txBody>
              <a:bodyPr rtlCol="0" anchor="ctr"/>
              <a:lstStyle/>
              <a:p>
                <a:endParaRPr lang="en-GB"/>
              </a:p>
            </p:txBody>
          </p:sp>
          <p:sp>
            <p:nvSpPr>
              <p:cNvPr id="7302" name="Vrije vorm: vorm 7301">
                <a:extLst>
                  <a:ext uri="{FF2B5EF4-FFF2-40B4-BE49-F238E27FC236}">
                    <a16:creationId xmlns:a16="http://schemas.microsoft.com/office/drawing/2014/main" id="{84928E9E-A063-4C71-815A-9B32947A7F37}"/>
                  </a:ext>
                </a:extLst>
              </p:cNvPr>
              <p:cNvSpPr/>
              <p:nvPr/>
            </p:nvSpPr>
            <p:spPr>
              <a:xfrm>
                <a:off x="8211551" y="4371230"/>
                <a:ext cx="34026" cy="43061"/>
              </a:xfrm>
              <a:custGeom>
                <a:avLst/>
                <a:gdLst>
                  <a:gd name="connsiteX0" fmla="*/ 18181 w 34026"/>
                  <a:gd name="connsiteY0" fmla="*/ 43061 h 43061"/>
                  <a:gd name="connsiteX1" fmla="*/ 0 w 34026"/>
                  <a:gd name="connsiteY1" fmla="*/ 24282 h 43061"/>
                  <a:gd name="connsiteX2" fmla="*/ 13576 w 34026"/>
                  <a:gd name="connsiteY2" fmla="*/ 0 h 43061"/>
                  <a:gd name="connsiteX3" fmla="*/ 31757 w 34026"/>
                  <a:gd name="connsiteY3" fmla="*/ 18780 h 43061"/>
                  <a:gd name="connsiteX4" fmla="*/ 32535 w 34026"/>
                  <a:gd name="connsiteY4" fmla="*/ 34509 h 43061"/>
                  <a:gd name="connsiteX5" fmla="*/ 32235 w 34026"/>
                  <a:gd name="connsiteY5" fmla="*/ 35047 h 4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6" h="43061">
                    <a:moveTo>
                      <a:pt x="18181" y="43061"/>
                    </a:moveTo>
                    <a:cubicBezTo>
                      <a:pt x="15430" y="36841"/>
                      <a:pt x="9330" y="30621"/>
                      <a:pt x="0" y="24282"/>
                    </a:cubicBezTo>
                    <a:lnTo>
                      <a:pt x="13576" y="0"/>
                    </a:lnTo>
                    <a:cubicBezTo>
                      <a:pt x="22906" y="6340"/>
                      <a:pt x="29006" y="12560"/>
                      <a:pt x="31757" y="18780"/>
                    </a:cubicBezTo>
                    <a:cubicBezTo>
                      <a:pt x="34508" y="24999"/>
                      <a:pt x="34748" y="30203"/>
                      <a:pt x="32535" y="34509"/>
                    </a:cubicBezTo>
                    <a:cubicBezTo>
                      <a:pt x="32415" y="34688"/>
                      <a:pt x="32355" y="34868"/>
                      <a:pt x="32235" y="35047"/>
                    </a:cubicBezTo>
                  </a:path>
                </a:pathLst>
              </a:custGeom>
              <a:noFill/>
              <a:ln w="6350" cap="flat">
                <a:solidFill>
                  <a:schemeClr val="bg1">
                    <a:alpha val="80000"/>
                  </a:schemeClr>
                </a:solidFill>
                <a:prstDash val="solid"/>
                <a:miter/>
              </a:ln>
            </p:spPr>
            <p:txBody>
              <a:bodyPr rtlCol="0" anchor="ctr"/>
              <a:lstStyle/>
              <a:p>
                <a:endParaRPr lang="en-GB"/>
              </a:p>
            </p:txBody>
          </p:sp>
          <p:sp>
            <p:nvSpPr>
              <p:cNvPr id="7303" name="Vrije vorm: vorm 7302">
                <a:extLst>
                  <a:ext uri="{FF2B5EF4-FFF2-40B4-BE49-F238E27FC236}">
                    <a16:creationId xmlns:a16="http://schemas.microsoft.com/office/drawing/2014/main" id="{8848F216-EAD8-49D7-A3F5-061D6021A694}"/>
                  </a:ext>
                </a:extLst>
              </p:cNvPr>
              <p:cNvSpPr/>
              <p:nvPr/>
            </p:nvSpPr>
            <p:spPr>
              <a:xfrm>
                <a:off x="8153239" y="4349699"/>
                <a:ext cx="13575" cy="24281"/>
              </a:xfrm>
              <a:custGeom>
                <a:avLst/>
                <a:gdLst>
                  <a:gd name="connsiteX0" fmla="*/ 0 w 13575"/>
                  <a:gd name="connsiteY0" fmla="*/ 24282 h 24281"/>
                  <a:gd name="connsiteX1" fmla="*/ 13576 w 13575"/>
                  <a:gd name="connsiteY1" fmla="*/ 0 h 24281"/>
                  <a:gd name="connsiteX2" fmla="*/ 60 w 13575"/>
                  <a:gd name="connsiteY2" fmla="*/ 8911 h 24281"/>
                </a:gdLst>
                <a:ahLst/>
                <a:cxnLst>
                  <a:cxn ang="0">
                    <a:pos x="connsiteX0" y="connsiteY0"/>
                  </a:cxn>
                  <a:cxn ang="0">
                    <a:pos x="connsiteX1" y="connsiteY1"/>
                  </a:cxn>
                  <a:cxn ang="0">
                    <a:pos x="connsiteX2" y="connsiteY2"/>
                  </a:cxn>
                </a:cxnLst>
                <a:rect l="l" t="t" r="r" b="b"/>
                <a:pathLst>
                  <a:path w="13575" h="24281">
                    <a:moveTo>
                      <a:pt x="0" y="24282"/>
                    </a:moveTo>
                    <a:lnTo>
                      <a:pt x="13576" y="0"/>
                    </a:lnTo>
                    <a:cubicBezTo>
                      <a:pt x="6937" y="1495"/>
                      <a:pt x="2452" y="4486"/>
                      <a:pt x="60" y="8911"/>
                    </a:cubicBezTo>
                  </a:path>
                </a:pathLst>
              </a:custGeom>
              <a:noFill/>
              <a:ln w="6350" cap="flat">
                <a:solidFill>
                  <a:schemeClr val="bg1">
                    <a:alpha val="80000"/>
                  </a:schemeClr>
                </a:solidFill>
                <a:prstDash val="solid"/>
                <a:miter/>
              </a:ln>
            </p:spPr>
            <p:txBody>
              <a:bodyPr rtlCol="0" anchor="ctr"/>
              <a:lstStyle/>
              <a:p>
                <a:endParaRPr lang="en-GB"/>
              </a:p>
            </p:txBody>
          </p:sp>
          <p:sp>
            <p:nvSpPr>
              <p:cNvPr id="7304" name="Vrije vorm: vorm 7303">
                <a:extLst>
                  <a:ext uri="{FF2B5EF4-FFF2-40B4-BE49-F238E27FC236}">
                    <a16:creationId xmlns:a16="http://schemas.microsoft.com/office/drawing/2014/main" id="{5246BDDC-D803-4C5C-AC0A-BA20F3043E85}"/>
                  </a:ext>
                </a:extLst>
              </p:cNvPr>
              <p:cNvSpPr/>
              <p:nvPr/>
            </p:nvSpPr>
            <p:spPr>
              <a:xfrm>
                <a:off x="8151706" y="4358252"/>
                <a:ext cx="16185" cy="54484"/>
              </a:xfrm>
              <a:custGeom>
                <a:avLst/>
                <a:gdLst>
                  <a:gd name="connsiteX0" fmla="*/ 1771 w 16185"/>
                  <a:gd name="connsiteY0" fmla="*/ 0 h 54484"/>
                  <a:gd name="connsiteX1" fmla="*/ 1592 w 16185"/>
                  <a:gd name="connsiteY1" fmla="*/ 359 h 54484"/>
                  <a:gd name="connsiteX2" fmla="*/ 2250 w 16185"/>
                  <a:gd name="connsiteY2" fmla="*/ 15430 h 54484"/>
                  <a:gd name="connsiteX3" fmla="*/ 16185 w 16185"/>
                  <a:gd name="connsiteY3" fmla="*/ 30203 h 54484"/>
                  <a:gd name="connsiteX4" fmla="*/ 2609 w 16185"/>
                  <a:gd name="connsiteY4" fmla="*/ 54484 h 5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85" h="54484">
                    <a:moveTo>
                      <a:pt x="1771" y="0"/>
                    </a:moveTo>
                    <a:cubicBezTo>
                      <a:pt x="1711" y="120"/>
                      <a:pt x="1652" y="239"/>
                      <a:pt x="1592" y="359"/>
                    </a:cubicBezTo>
                    <a:cubicBezTo>
                      <a:pt x="-740" y="4725"/>
                      <a:pt x="-501" y="9808"/>
                      <a:pt x="2250" y="15430"/>
                    </a:cubicBezTo>
                    <a:cubicBezTo>
                      <a:pt x="5001" y="21112"/>
                      <a:pt x="9666" y="26016"/>
                      <a:pt x="16185" y="30203"/>
                    </a:cubicBezTo>
                    <a:lnTo>
                      <a:pt x="2609" y="54484"/>
                    </a:lnTo>
                  </a:path>
                </a:pathLst>
              </a:custGeom>
              <a:noFill/>
              <a:ln w="6350" cap="flat">
                <a:solidFill>
                  <a:schemeClr val="bg1">
                    <a:alpha val="80000"/>
                  </a:schemeClr>
                </a:solidFill>
                <a:prstDash val="solid"/>
                <a:miter/>
              </a:ln>
            </p:spPr>
            <p:txBody>
              <a:bodyPr rtlCol="0" anchor="ctr"/>
              <a:lstStyle/>
              <a:p>
                <a:endParaRPr lang="en-GB"/>
              </a:p>
            </p:txBody>
          </p:sp>
          <p:sp>
            <p:nvSpPr>
              <p:cNvPr id="7305" name="Vrije vorm: vorm 7304">
                <a:extLst>
                  <a:ext uri="{FF2B5EF4-FFF2-40B4-BE49-F238E27FC236}">
                    <a16:creationId xmlns:a16="http://schemas.microsoft.com/office/drawing/2014/main" id="{0909ED4B-B191-4EDB-93E7-98543FDE4CEF}"/>
                  </a:ext>
                </a:extLst>
              </p:cNvPr>
              <p:cNvSpPr/>
              <p:nvPr/>
            </p:nvSpPr>
            <p:spPr>
              <a:xfrm>
                <a:off x="8153239" y="4349054"/>
                <a:ext cx="39532" cy="28933"/>
              </a:xfrm>
              <a:custGeom>
                <a:avLst/>
                <a:gdLst>
                  <a:gd name="connsiteX0" fmla="*/ 239 w 39532"/>
                  <a:gd name="connsiteY0" fmla="*/ 9197 h 28933"/>
                  <a:gd name="connsiteX1" fmla="*/ 13576 w 39532"/>
                  <a:gd name="connsiteY1" fmla="*/ 585 h 28933"/>
                  <a:gd name="connsiteX2" fmla="*/ 39532 w 39532"/>
                  <a:gd name="connsiteY2" fmla="*/ 4652 h 28933"/>
                  <a:gd name="connsiteX3" fmla="*/ 25956 w 39532"/>
                  <a:gd name="connsiteY3" fmla="*/ 28934 h 28933"/>
                  <a:gd name="connsiteX4" fmla="*/ 0 w 39532"/>
                  <a:gd name="connsiteY4" fmla="*/ 24867 h 28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32" h="28933">
                    <a:moveTo>
                      <a:pt x="239" y="9197"/>
                    </a:moveTo>
                    <a:cubicBezTo>
                      <a:pt x="2631" y="4891"/>
                      <a:pt x="7117" y="2020"/>
                      <a:pt x="13576" y="585"/>
                    </a:cubicBezTo>
                    <a:cubicBezTo>
                      <a:pt x="20274" y="-910"/>
                      <a:pt x="28887" y="465"/>
                      <a:pt x="39532" y="4652"/>
                    </a:cubicBezTo>
                    <a:lnTo>
                      <a:pt x="25956" y="28934"/>
                    </a:lnTo>
                    <a:cubicBezTo>
                      <a:pt x="15310" y="24747"/>
                      <a:pt x="6698" y="23372"/>
                      <a:pt x="0" y="24867"/>
                    </a:cubicBezTo>
                  </a:path>
                </a:pathLst>
              </a:custGeom>
              <a:noFill/>
              <a:ln w="6350" cap="flat">
                <a:solidFill>
                  <a:schemeClr val="bg1">
                    <a:alpha val="80000"/>
                  </a:schemeClr>
                </a:solidFill>
                <a:prstDash val="solid"/>
                <a:miter/>
              </a:ln>
            </p:spPr>
            <p:txBody>
              <a:bodyPr rtlCol="0" anchor="ctr"/>
              <a:lstStyle/>
              <a:p>
                <a:endParaRPr lang="en-GB"/>
              </a:p>
            </p:txBody>
          </p:sp>
        </p:grpSp>
        <p:grpSp>
          <p:nvGrpSpPr>
            <p:cNvPr id="7146" name="Groep 7145">
              <a:extLst>
                <a:ext uri="{FF2B5EF4-FFF2-40B4-BE49-F238E27FC236}">
                  <a16:creationId xmlns:a16="http://schemas.microsoft.com/office/drawing/2014/main" id="{D3DE16E8-D4C3-467E-98AF-F32248499B7B}"/>
                </a:ext>
              </a:extLst>
            </p:cNvPr>
            <p:cNvGrpSpPr/>
            <p:nvPr/>
          </p:nvGrpSpPr>
          <p:grpSpPr>
            <a:xfrm>
              <a:off x="6456099" y="3685061"/>
              <a:ext cx="1822256" cy="2174886"/>
              <a:chOff x="6456099" y="3685061"/>
              <a:chExt cx="1822256" cy="2174886"/>
            </a:xfrm>
          </p:grpSpPr>
          <p:grpSp>
            <p:nvGrpSpPr>
              <p:cNvPr id="7147" name="Groep 7146">
                <a:extLst>
                  <a:ext uri="{FF2B5EF4-FFF2-40B4-BE49-F238E27FC236}">
                    <a16:creationId xmlns:a16="http://schemas.microsoft.com/office/drawing/2014/main" id="{D6865B76-3558-4BC2-9DC1-9FFF3F6AAD85}"/>
                  </a:ext>
                </a:extLst>
              </p:cNvPr>
              <p:cNvGrpSpPr/>
              <p:nvPr/>
            </p:nvGrpSpPr>
            <p:grpSpPr>
              <a:xfrm>
                <a:off x="8118696" y="4328168"/>
                <a:ext cx="145248" cy="129859"/>
                <a:chOff x="8118696" y="4328168"/>
                <a:chExt cx="145248" cy="129859"/>
              </a:xfrm>
            </p:grpSpPr>
            <p:grpSp>
              <p:nvGrpSpPr>
                <p:cNvPr id="7265" name="Graphic 3">
                  <a:extLst>
                    <a:ext uri="{FF2B5EF4-FFF2-40B4-BE49-F238E27FC236}">
                      <a16:creationId xmlns:a16="http://schemas.microsoft.com/office/drawing/2014/main" id="{CADEB21E-3E5C-41F1-B453-188AC4F70F13}"/>
                    </a:ext>
                  </a:extLst>
                </p:cNvPr>
                <p:cNvGrpSpPr/>
                <p:nvPr/>
              </p:nvGrpSpPr>
              <p:grpSpPr>
                <a:xfrm>
                  <a:off x="8118696" y="4371349"/>
                  <a:ext cx="128380" cy="85646"/>
                  <a:chOff x="8118696" y="4371349"/>
                  <a:chExt cx="128380" cy="85646"/>
                </a:xfrm>
                <a:solidFill>
                  <a:schemeClr val="accent1"/>
                </a:solidFill>
              </p:grpSpPr>
              <p:sp>
                <p:nvSpPr>
                  <p:cNvPr id="7295" name="Vrije vorm: vorm 7294">
                    <a:extLst>
                      <a:ext uri="{FF2B5EF4-FFF2-40B4-BE49-F238E27FC236}">
                        <a16:creationId xmlns:a16="http://schemas.microsoft.com/office/drawing/2014/main" id="{24F73914-86A5-4200-9434-5A4E5D93EC77}"/>
                      </a:ext>
                    </a:extLst>
                  </p:cNvPr>
                  <p:cNvSpPr/>
                  <p:nvPr/>
                </p:nvSpPr>
                <p:spPr>
                  <a:xfrm>
                    <a:off x="8191695" y="4435283"/>
                    <a:ext cx="55381" cy="21713"/>
                  </a:xfrm>
                  <a:custGeom>
                    <a:avLst/>
                    <a:gdLst>
                      <a:gd name="connsiteX0" fmla="*/ 6041 w 55381"/>
                      <a:gd name="connsiteY0" fmla="*/ 0 h 21713"/>
                      <a:gd name="connsiteX1" fmla="*/ 0 w 55381"/>
                      <a:gd name="connsiteY1" fmla="*/ 16866 h 21713"/>
                      <a:gd name="connsiteX2" fmla="*/ 33552 w 55381"/>
                      <a:gd name="connsiteY2" fmla="*/ 20394 h 21713"/>
                      <a:gd name="connsiteX3" fmla="*/ 55382 w 55381"/>
                      <a:gd name="connsiteY3" fmla="*/ 2572 h 21713"/>
                    </a:gdLst>
                    <a:ahLst/>
                    <a:cxnLst>
                      <a:cxn ang="0">
                        <a:pos x="connsiteX0" y="connsiteY0"/>
                      </a:cxn>
                      <a:cxn ang="0">
                        <a:pos x="connsiteX1" y="connsiteY1"/>
                      </a:cxn>
                      <a:cxn ang="0">
                        <a:pos x="connsiteX2" y="connsiteY2"/>
                      </a:cxn>
                      <a:cxn ang="0">
                        <a:pos x="connsiteX3" y="connsiteY3"/>
                      </a:cxn>
                    </a:cxnLst>
                    <a:rect l="l" t="t" r="r" b="b"/>
                    <a:pathLst>
                      <a:path w="55381" h="21713">
                        <a:moveTo>
                          <a:pt x="6041" y="0"/>
                        </a:moveTo>
                        <a:lnTo>
                          <a:pt x="0" y="16866"/>
                        </a:lnTo>
                        <a:cubicBezTo>
                          <a:pt x="12679" y="21770"/>
                          <a:pt x="23863" y="22966"/>
                          <a:pt x="33552" y="20394"/>
                        </a:cubicBezTo>
                        <a:cubicBezTo>
                          <a:pt x="43181" y="17763"/>
                          <a:pt x="50478" y="11842"/>
                          <a:pt x="55382" y="2572"/>
                        </a:cubicBezTo>
                      </a:path>
                    </a:pathLst>
                  </a:custGeom>
                  <a:noFill/>
                  <a:ln w="6350" cap="flat">
                    <a:solidFill>
                      <a:schemeClr val="bg1">
                        <a:alpha val="80000"/>
                      </a:schemeClr>
                    </a:solidFill>
                    <a:prstDash val="solid"/>
                    <a:miter/>
                  </a:ln>
                </p:spPr>
                <p:txBody>
                  <a:bodyPr rtlCol="0" anchor="ctr"/>
                  <a:lstStyle/>
                  <a:p>
                    <a:endParaRPr lang="en-GB"/>
                  </a:p>
                </p:txBody>
              </p:sp>
              <p:sp>
                <p:nvSpPr>
                  <p:cNvPr id="7296" name="Vrije vorm: vorm 7295">
                    <a:extLst>
                      <a:ext uri="{FF2B5EF4-FFF2-40B4-BE49-F238E27FC236}">
                        <a16:creationId xmlns:a16="http://schemas.microsoft.com/office/drawing/2014/main" id="{2F93C43C-BF4A-456D-A072-FC6D36F09371}"/>
                      </a:ext>
                    </a:extLst>
                  </p:cNvPr>
                  <p:cNvSpPr/>
                  <p:nvPr/>
                </p:nvSpPr>
                <p:spPr>
                  <a:xfrm>
                    <a:off x="8153119" y="4372439"/>
                    <a:ext cx="76552" cy="43287"/>
                  </a:xfrm>
                  <a:custGeom>
                    <a:avLst/>
                    <a:gdLst>
                      <a:gd name="connsiteX0" fmla="*/ 0 w 76552"/>
                      <a:gd name="connsiteY0" fmla="*/ 585 h 43287"/>
                      <a:gd name="connsiteX1" fmla="*/ 25956 w 76552"/>
                      <a:gd name="connsiteY1" fmla="*/ 4652 h 43287"/>
                      <a:gd name="connsiteX2" fmla="*/ 14832 w 76552"/>
                      <a:gd name="connsiteY2" fmla="*/ 25824 h 43287"/>
                      <a:gd name="connsiteX3" fmla="*/ 25657 w 76552"/>
                      <a:gd name="connsiteY3" fmla="*/ 31685 h 43287"/>
                      <a:gd name="connsiteX4" fmla="*/ 37200 w 76552"/>
                      <a:gd name="connsiteY4" fmla="*/ 9736 h 43287"/>
                      <a:gd name="connsiteX5" fmla="*/ 42643 w 76552"/>
                      <a:gd name="connsiteY5" fmla="*/ 12487 h 43287"/>
                      <a:gd name="connsiteX6" fmla="*/ 48025 w 76552"/>
                      <a:gd name="connsiteY6" fmla="*/ 15537 h 43287"/>
                      <a:gd name="connsiteX7" fmla="*/ 36482 w 76552"/>
                      <a:gd name="connsiteY7" fmla="*/ 37486 h 43287"/>
                      <a:gd name="connsiteX8" fmla="*/ 47248 w 76552"/>
                      <a:gd name="connsiteY8" fmla="*/ 43288 h 43287"/>
                      <a:gd name="connsiteX9" fmla="*/ 58372 w 76552"/>
                      <a:gd name="connsiteY9" fmla="*/ 22116 h 43287"/>
                      <a:gd name="connsiteX10" fmla="*/ 76553 w 76552"/>
                      <a:gd name="connsiteY10" fmla="*/ 40895 h 4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52" h="43287">
                        <a:moveTo>
                          <a:pt x="0" y="585"/>
                        </a:moveTo>
                        <a:cubicBezTo>
                          <a:pt x="6698" y="-910"/>
                          <a:pt x="15310" y="466"/>
                          <a:pt x="25956" y="4652"/>
                        </a:cubicBezTo>
                        <a:lnTo>
                          <a:pt x="14832" y="25824"/>
                        </a:lnTo>
                        <a:lnTo>
                          <a:pt x="25657" y="31685"/>
                        </a:lnTo>
                        <a:lnTo>
                          <a:pt x="37200" y="9736"/>
                        </a:lnTo>
                        <a:lnTo>
                          <a:pt x="42643" y="12487"/>
                        </a:lnTo>
                        <a:lnTo>
                          <a:pt x="48025" y="15537"/>
                        </a:lnTo>
                        <a:lnTo>
                          <a:pt x="36482" y="37486"/>
                        </a:lnTo>
                        <a:lnTo>
                          <a:pt x="47248" y="43288"/>
                        </a:lnTo>
                        <a:lnTo>
                          <a:pt x="58372" y="22116"/>
                        </a:lnTo>
                        <a:cubicBezTo>
                          <a:pt x="67701" y="28455"/>
                          <a:pt x="73802" y="34735"/>
                          <a:pt x="76553" y="40895"/>
                        </a:cubicBezTo>
                      </a:path>
                    </a:pathLst>
                  </a:custGeom>
                  <a:noFill/>
                  <a:ln w="6350" cap="flat">
                    <a:solidFill>
                      <a:schemeClr val="bg1">
                        <a:alpha val="80000"/>
                      </a:schemeClr>
                    </a:solidFill>
                    <a:prstDash val="solid"/>
                    <a:miter/>
                  </a:ln>
                </p:spPr>
                <p:txBody>
                  <a:bodyPr rtlCol="0" anchor="ctr"/>
                  <a:lstStyle/>
                  <a:p>
                    <a:endParaRPr lang="en-GB"/>
                  </a:p>
                </p:txBody>
              </p:sp>
              <p:sp>
                <p:nvSpPr>
                  <p:cNvPr id="7297" name="Vrije vorm: vorm 7296">
                    <a:extLst>
                      <a:ext uri="{FF2B5EF4-FFF2-40B4-BE49-F238E27FC236}">
                        <a16:creationId xmlns:a16="http://schemas.microsoft.com/office/drawing/2014/main" id="{6261EFDB-3B7C-4C1F-83D5-9A71C706B2AF}"/>
                      </a:ext>
                    </a:extLst>
                  </p:cNvPr>
                  <p:cNvSpPr/>
                  <p:nvPr/>
                </p:nvSpPr>
                <p:spPr>
                  <a:xfrm>
                    <a:off x="8118696" y="4371349"/>
                    <a:ext cx="35559" cy="55022"/>
                  </a:xfrm>
                  <a:custGeom>
                    <a:avLst/>
                    <a:gdLst>
                      <a:gd name="connsiteX0" fmla="*/ 4341 w 35559"/>
                      <a:gd name="connsiteY0" fmla="*/ 0 h 55022"/>
                      <a:gd name="connsiteX1" fmla="*/ 1948 w 35559"/>
                      <a:gd name="connsiteY1" fmla="*/ 28109 h 55022"/>
                      <a:gd name="connsiteX2" fmla="*/ 25153 w 35559"/>
                      <a:gd name="connsiteY2" fmla="*/ 55023 h 55022"/>
                      <a:gd name="connsiteX3" fmla="*/ 35560 w 35559"/>
                      <a:gd name="connsiteY3" fmla="*/ 40490 h 55022"/>
                    </a:gdLst>
                    <a:ahLst/>
                    <a:cxnLst>
                      <a:cxn ang="0">
                        <a:pos x="connsiteX0" y="connsiteY0"/>
                      </a:cxn>
                      <a:cxn ang="0">
                        <a:pos x="connsiteX1" y="connsiteY1"/>
                      </a:cxn>
                      <a:cxn ang="0">
                        <a:pos x="connsiteX2" y="connsiteY2"/>
                      </a:cxn>
                      <a:cxn ang="0">
                        <a:pos x="connsiteX3" y="connsiteY3"/>
                      </a:cxn>
                    </a:cxnLst>
                    <a:rect l="l" t="t" r="r" b="b"/>
                    <a:pathLst>
                      <a:path w="35559" h="55022">
                        <a:moveTo>
                          <a:pt x="4341" y="0"/>
                        </a:moveTo>
                        <a:cubicBezTo>
                          <a:pt x="-504" y="9210"/>
                          <a:pt x="-1281" y="18540"/>
                          <a:pt x="1948" y="28109"/>
                        </a:cubicBezTo>
                        <a:cubicBezTo>
                          <a:pt x="5178" y="37678"/>
                          <a:pt x="12952" y="46650"/>
                          <a:pt x="25153" y="55023"/>
                        </a:cubicBezTo>
                        <a:lnTo>
                          <a:pt x="35560" y="40490"/>
                        </a:lnTo>
                      </a:path>
                    </a:pathLst>
                  </a:custGeom>
                  <a:noFill/>
                  <a:ln w="6350" cap="flat">
                    <a:solidFill>
                      <a:schemeClr val="bg1">
                        <a:alpha val="80000"/>
                      </a:schemeClr>
                    </a:solidFill>
                    <a:prstDash val="solid"/>
                    <a:miter/>
                  </a:ln>
                </p:spPr>
                <p:txBody>
                  <a:bodyPr rtlCol="0" anchor="ctr"/>
                  <a:lstStyle/>
                  <a:p>
                    <a:endParaRPr lang="en-GB"/>
                  </a:p>
                </p:txBody>
              </p:sp>
            </p:grpSp>
            <p:grpSp>
              <p:nvGrpSpPr>
                <p:cNvPr id="7266" name="Graphic 3">
                  <a:extLst>
                    <a:ext uri="{FF2B5EF4-FFF2-40B4-BE49-F238E27FC236}">
                      <a16:creationId xmlns:a16="http://schemas.microsoft.com/office/drawing/2014/main" id="{53DA0612-0C0C-44F7-8793-0B1A94B9078A}"/>
                    </a:ext>
                  </a:extLst>
                </p:cNvPr>
                <p:cNvGrpSpPr/>
                <p:nvPr/>
              </p:nvGrpSpPr>
              <p:grpSpPr>
                <a:xfrm>
                  <a:off x="8225246" y="4413573"/>
                  <a:ext cx="35406" cy="42104"/>
                  <a:chOff x="8225246" y="4413573"/>
                  <a:chExt cx="35406" cy="42104"/>
                </a:xfrm>
                <a:solidFill>
                  <a:schemeClr val="accent1"/>
                </a:solidFill>
              </p:grpSpPr>
              <p:sp>
                <p:nvSpPr>
                  <p:cNvPr id="7293" name="Vrije vorm: vorm 7292">
                    <a:extLst>
                      <a:ext uri="{FF2B5EF4-FFF2-40B4-BE49-F238E27FC236}">
                        <a16:creationId xmlns:a16="http://schemas.microsoft.com/office/drawing/2014/main" id="{33C58B97-86A6-44CA-A753-5BAE95B44169}"/>
                      </a:ext>
                    </a:extLst>
                  </p:cNvPr>
                  <p:cNvSpPr/>
                  <p:nvPr/>
                </p:nvSpPr>
                <p:spPr>
                  <a:xfrm>
                    <a:off x="8225246" y="4413573"/>
                    <a:ext cx="35406" cy="42104"/>
                  </a:xfrm>
                  <a:custGeom>
                    <a:avLst/>
                    <a:gdLst>
                      <a:gd name="connsiteX0" fmla="*/ 21830 w 35406"/>
                      <a:gd name="connsiteY0" fmla="*/ 24282 h 42104"/>
                      <a:gd name="connsiteX1" fmla="*/ 35406 w 35406"/>
                      <a:gd name="connsiteY1" fmla="*/ 0 h 42104"/>
                      <a:gd name="connsiteX2" fmla="*/ 13576 w 35406"/>
                      <a:gd name="connsiteY2" fmla="*/ 17822 h 42104"/>
                      <a:gd name="connsiteX3" fmla="*/ 0 w 35406"/>
                      <a:gd name="connsiteY3" fmla="*/ 42104 h 42104"/>
                      <a:gd name="connsiteX4" fmla="*/ 21830 w 35406"/>
                      <a:gd name="connsiteY4" fmla="*/ 24282 h 4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6" h="42104">
                        <a:moveTo>
                          <a:pt x="21830" y="24282"/>
                        </a:moveTo>
                        <a:lnTo>
                          <a:pt x="35406" y="0"/>
                        </a:lnTo>
                        <a:cubicBezTo>
                          <a:pt x="30502" y="9270"/>
                          <a:pt x="23265" y="15251"/>
                          <a:pt x="13576" y="17822"/>
                        </a:cubicBezTo>
                        <a:lnTo>
                          <a:pt x="0" y="42104"/>
                        </a:lnTo>
                        <a:cubicBezTo>
                          <a:pt x="9629" y="39532"/>
                          <a:pt x="16926" y="33612"/>
                          <a:pt x="21830" y="24282"/>
                        </a:cubicBezTo>
                        <a:close/>
                      </a:path>
                    </a:pathLst>
                  </a:custGeom>
                  <a:noFill/>
                  <a:ln w="6350" cap="flat">
                    <a:solidFill>
                      <a:schemeClr val="bg1">
                        <a:alpha val="80000"/>
                      </a:schemeClr>
                    </a:solidFill>
                    <a:prstDash val="solid"/>
                    <a:miter/>
                  </a:ln>
                </p:spPr>
                <p:txBody>
                  <a:bodyPr rtlCol="0" anchor="ctr"/>
                  <a:lstStyle/>
                  <a:p>
                    <a:endParaRPr lang="en-GB"/>
                  </a:p>
                </p:txBody>
              </p:sp>
              <p:sp>
                <p:nvSpPr>
                  <p:cNvPr id="7294" name="Vrije vorm: vorm 7293">
                    <a:extLst>
                      <a:ext uri="{FF2B5EF4-FFF2-40B4-BE49-F238E27FC236}">
                        <a16:creationId xmlns:a16="http://schemas.microsoft.com/office/drawing/2014/main" id="{CDC84960-50C9-4279-9D79-6949CA5849BD}"/>
                      </a:ext>
                    </a:extLst>
                  </p:cNvPr>
                  <p:cNvSpPr/>
                  <p:nvPr/>
                </p:nvSpPr>
                <p:spPr>
                  <a:xfrm>
                    <a:off x="8246538" y="4413573"/>
                    <a:ext cx="14114" cy="25298"/>
                  </a:xfrm>
                  <a:custGeom>
                    <a:avLst/>
                    <a:gdLst>
                      <a:gd name="connsiteX0" fmla="*/ 13576 w 14114"/>
                      <a:gd name="connsiteY0" fmla="*/ 1017 h 25298"/>
                      <a:gd name="connsiteX1" fmla="*/ 0 w 14114"/>
                      <a:gd name="connsiteY1" fmla="*/ 25298 h 25298"/>
                      <a:gd name="connsiteX2" fmla="*/ 14114 w 14114"/>
                      <a:gd name="connsiteY2" fmla="*/ 0 h 25298"/>
                      <a:gd name="connsiteX3" fmla="*/ 13576 w 14114"/>
                      <a:gd name="connsiteY3" fmla="*/ 1017 h 25298"/>
                    </a:gdLst>
                    <a:ahLst/>
                    <a:cxnLst>
                      <a:cxn ang="0">
                        <a:pos x="connsiteX0" y="connsiteY0"/>
                      </a:cxn>
                      <a:cxn ang="0">
                        <a:pos x="connsiteX1" y="connsiteY1"/>
                      </a:cxn>
                      <a:cxn ang="0">
                        <a:pos x="connsiteX2" y="connsiteY2"/>
                      </a:cxn>
                      <a:cxn ang="0">
                        <a:pos x="connsiteX3" y="connsiteY3"/>
                      </a:cxn>
                    </a:cxnLst>
                    <a:rect l="l" t="t" r="r" b="b"/>
                    <a:pathLst>
                      <a:path w="14114" h="25298">
                        <a:moveTo>
                          <a:pt x="13576" y="1017"/>
                        </a:moveTo>
                        <a:lnTo>
                          <a:pt x="0" y="25298"/>
                        </a:lnTo>
                        <a:cubicBezTo>
                          <a:pt x="180" y="24999"/>
                          <a:pt x="14114" y="0"/>
                          <a:pt x="14114" y="0"/>
                        </a:cubicBezTo>
                        <a:cubicBezTo>
                          <a:pt x="13935" y="359"/>
                          <a:pt x="13755" y="658"/>
                          <a:pt x="13576" y="1017"/>
                        </a:cubicBezTo>
                        <a:close/>
                      </a:path>
                    </a:pathLst>
                  </a:custGeom>
                  <a:noFill/>
                  <a:ln w="6350" cap="flat">
                    <a:solidFill>
                      <a:schemeClr val="bg1">
                        <a:alpha val="80000"/>
                      </a:schemeClr>
                    </a:solidFill>
                    <a:prstDash val="solid"/>
                    <a:miter/>
                  </a:ln>
                </p:spPr>
                <p:txBody>
                  <a:bodyPr rtlCol="0" anchor="ctr"/>
                  <a:lstStyle/>
                  <a:p>
                    <a:endParaRPr lang="en-GB"/>
                  </a:p>
                </p:txBody>
              </p:sp>
            </p:grpSp>
            <p:sp>
              <p:nvSpPr>
                <p:cNvPr id="7267" name="Vrije vorm: vorm 7266">
                  <a:extLst>
                    <a:ext uri="{FF2B5EF4-FFF2-40B4-BE49-F238E27FC236}">
                      <a16:creationId xmlns:a16="http://schemas.microsoft.com/office/drawing/2014/main" id="{63014E0D-B1D8-4F89-9407-869E7A47F8AF}"/>
                    </a:ext>
                  </a:extLst>
                </p:cNvPr>
                <p:cNvSpPr/>
                <p:nvPr/>
              </p:nvSpPr>
              <p:spPr>
                <a:xfrm>
                  <a:off x="8191695" y="4411002"/>
                  <a:ext cx="19616" cy="41207"/>
                </a:xfrm>
                <a:custGeom>
                  <a:avLst/>
                  <a:gdLst>
                    <a:gd name="connsiteX0" fmla="*/ 0 w 19616"/>
                    <a:gd name="connsiteY0" fmla="*/ 41207 h 41207"/>
                    <a:gd name="connsiteX1" fmla="*/ 6041 w 19616"/>
                    <a:gd name="connsiteY1" fmla="*/ 24282 h 41207"/>
                    <a:gd name="connsiteX2" fmla="*/ 19617 w 19616"/>
                    <a:gd name="connsiteY2" fmla="*/ 0 h 41207"/>
                    <a:gd name="connsiteX3" fmla="*/ 13576 w 19616"/>
                    <a:gd name="connsiteY3" fmla="*/ 16925 h 41207"/>
                  </a:gdLst>
                  <a:ahLst/>
                  <a:cxnLst>
                    <a:cxn ang="0">
                      <a:pos x="connsiteX0" y="connsiteY0"/>
                    </a:cxn>
                    <a:cxn ang="0">
                      <a:pos x="connsiteX1" y="connsiteY1"/>
                    </a:cxn>
                    <a:cxn ang="0">
                      <a:pos x="connsiteX2" y="connsiteY2"/>
                    </a:cxn>
                    <a:cxn ang="0">
                      <a:pos x="connsiteX3" y="connsiteY3"/>
                    </a:cxn>
                  </a:cxnLst>
                  <a:rect l="l" t="t" r="r" b="b"/>
                  <a:pathLst>
                    <a:path w="19616" h="41207">
                      <a:moveTo>
                        <a:pt x="0" y="41207"/>
                      </a:moveTo>
                      <a:lnTo>
                        <a:pt x="6041" y="24282"/>
                      </a:lnTo>
                      <a:lnTo>
                        <a:pt x="19617" y="0"/>
                      </a:lnTo>
                      <a:lnTo>
                        <a:pt x="13576" y="16925"/>
                      </a:lnTo>
                      <a:close/>
                    </a:path>
                  </a:pathLst>
                </a:custGeom>
                <a:noFill/>
                <a:ln w="6350" cap="flat">
                  <a:solidFill>
                    <a:schemeClr val="bg1">
                      <a:alpha val="80000"/>
                    </a:schemeClr>
                  </a:solidFill>
                  <a:prstDash val="solid"/>
                  <a:miter/>
                </a:ln>
              </p:spPr>
              <p:txBody>
                <a:bodyPr rtlCol="0" anchor="ctr"/>
                <a:lstStyle/>
                <a:p>
                  <a:endParaRPr lang="en-GB"/>
                </a:p>
              </p:txBody>
            </p:sp>
            <p:sp>
              <p:nvSpPr>
                <p:cNvPr id="7268" name="Vrije vorm: vorm 7267">
                  <a:extLst>
                    <a:ext uri="{FF2B5EF4-FFF2-40B4-BE49-F238E27FC236}">
                      <a16:creationId xmlns:a16="http://schemas.microsoft.com/office/drawing/2014/main" id="{F8C61EC0-16DB-4CBE-83DF-0F3F8150FC8E}"/>
                    </a:ext>
                  </a:extLst>
                </p:cNvPr>
                <p:cNvSpPr/>
                <p:nvPr/>
              </p:nvSpPr>
              <p:spPr>
                <a:xfrm>
                  <a:off x="8200307" y="4370273"/>
                  <a:ext cx="24760" cy="45513"/>
                </a:xfrm>
                <a:custGeom>
                  <a:avLst/>
                  <a:gdLst>
                    <a:gd name="connsiteX0" fmla="*/ 24760 w 24760"/>
                    <a:gd name="connsiteY0" fmla="*/ 0 h 45513"/>
                    <a:gd name="connsiteX1" fmla="*/ 13635 w 24760"/>
                    <a:gd name="connsiteY1" fmla="*/ 21231 h 45513"/>
                    <a:gd name="connsiteX2" fmla="*/ 0 w 24760"/>
                    <a:gd name="connsiteY2" fmla="*/ 45513 h 45513"/>
                  </a:gdLst>
                  <a:ahLst/>
                  <a:cxnLst>
                    <a:cxn ang="0">
                      <a:pos x="connsiteX0" y="connsiteY0"/>
                    </a:cxn>
                    <a:cxn ang="0">
                      <a:pos x="connsiteX1" y="connsiteY1"/>
                    </a:cxn>
                    <a:cxn ang="0">
                      <a:pos x="connsiteX2" y="connsiteY2"/>
                    </a:cxn>
                  </a:cxnLst>
                  <a:rect l="l" t="t" r="r" b="b"/>
                  <a:pathLst>
                    <a:path w="24760" h="45513">
                      <a:moveTo>
                        <a:pt x="24760" y="0"/>
                      </a:moveTo>
                      <a:lnTo>
                        <a:pt x="13635" y="21231"/>
                      </a:lnTo>
                      <a:lnTo>
                        <a:pt x="0" y="45513"/>
                      </a:lnTo>
                    </a:path>
                  </a:pathLst>
                </a:custGeom>
                <a:noFill/>
                <a:ln w="6350" cap="flat">
                  <a:solidFill>
                    <a:schemeClr val="bg1">
                      <a:alpha val="80000"/>
                    </a:schemeClr>
                  </a:solidFill>
                  <a:prstDash val="solid"/>
                  <a:miter/>
                </a:ln>
              </p:spPr>
              <p:txBody>
                <a:bodyPr rtlCol="0" anchor="ctr"/>
                <a:lstStyle/>
                <a:p>
                  <a:endParaRPr lang="en-GB"/>
                </a:p>
              </p:txBody>
            </p:sp>
            <p:sp>
              <p:nvSpPr>
                <p:cNvPr id="7269" name="Vrije vorm: vorm 7268">
                  <a:extLst>
                    <a:ext uri="{FF2B5EF4-FFF2-40B4-BE49-F238E27FC236}">
                      <a16:creationId xmlns:a16="http://schemas.microsoft.com/office/drawing/2014/main" id="{0BAFB880-3D2C-4EDC-93D3-606577F6AB82}"/>
                    </a:ext>
                  </a:extLst>
                </p:cNvPr>
                <p:cNvSpPr/>
                <p:nvPr/>
              </p:nvSpPr>
              <p:spPr>
                <a:xfrm>
                  <a:off x="8189602" y="4385703"/>
                  <a:ext cx="24341" cy="30083"/>
                </a:xfrm>
                <a:custGeom>
                  <a:avLst/>
                  <a:gdLst>
                    <a:gd name="connsiteX0" fmla="*/ 24341 w 24341"/>
                    <a:gd name="connsiteY0" fmla="*/ 5801 h 30083"/>
                    <a:gd name="connsiteX1" fmla="*/ 10706 w 24341"/>
                    <a:gd name="connsiteY1" fmla="*/ 30083 h 30083"/>
                    <a:gd name="connsiteX2" fmla="*/ 0 w 24341"/>
                    <a:gd name="connsiteY2" fmla="*/ 24282 h 30083"/>
                    <a:gd name="connsiteX3" fmla="*/ 13576 w 24341"/>
                    <a:gd name="connsiteY3" fmla="*/ 0 h 30083"/>
                  </a:gdLst>
                  <a:ahLst/>
                  <a:cxnLst>
                    <a:cxn ang="0">
                      <a:pos x="connsiteX0" y="connsiteY0"/>
                    </a:cxn>
                    <a:cxn ang="0">
                      <a:pos x="connsiteX1" y="connsiteY1"/>
                    </a:cxn>
                    <a:cxn ang="0">
                      <a:pos x="connsiteX2" y="connsiteY2"/>
                    </a:cxn>
                    <a:cxn ang="0">
                      <a:pos x="connsiteX3" y="connsiteY3"/>
                    </a:cxn>
                  </a:cxnLst>
                  <a:rect l="l" t="t" r="r" b="b"/>
                  <a:pathLst>
                    <a:path w="24341" h="30083">
                      <a:moveTo>
                        <a:pt x="24341" y="5801"/>
                      </a:moveTo>
                      <a:lnTo>
                        <a:pt x="10706" y="30083"/>
                      </a:lnTo>
                      <a:lnTo>
                        <a:pt x="0" y="24282"/>
                      </a:lnTo>
                      <a:lnTo>
                        <a:pt x="13576" y="0"/>
                      </a:lnTo>
                    </a:path>
                  </a:pathLst>
                </a:custGeom>
                <a:noFill/>
                <a:ln w="6350" cap="flat">
                  <a:solidFill>
                    <a:schemeClr val="bg1">
                      <a:alpha val="80000"/>
                    </a:schemeClr>
                  </a:solidFill>
                  <a:prstDash val="solid"/>
                  <a:miter/>
                </a:ln>
              </p:spPr>
              <p:txBody>
                <a:bodyPr rtlCol="0" anchor="ctr"/>
                <a:lstStyle/>
                <a:p>
                  <a:endParaRPr lang="en-GB"/>
                </a:p>
              </p:txBody>
            </p:sp>
            <p:sp>
              <p:nvSpPr>
                <p:cNvPr id="7270" name="Vrije vorm: vorm 7269">
                  <a:extLst>
                    <a:ext uri="{FF2B5EF4-FFF2-40B4-BE49-F238E27FC236}">
                      <a16:creationId xmlns:a16="http://schemas.microsoft.com/office/drawing/2014/main" id="{B13DF294-EA98-4F43-B49D-329675C46032}"/>
                    </a:ext>
                  </a:extLst>
                </p:cNvPr>
                <p:cNvSpPr/>
                <p:nvPr/>
              </p:nvSpPr>
              <p:spPr>
                <a:xfrm>
                  <a:off x="8189602" y="4363694"/>
                  <a:ext cx="25118" cy="46290"/>
                </a:xfrm>
                <a:custGeom>
                  <a:avLst/>
                  <a:gdLst>
                    <a:gd name="connsiteX0" fmla="*/ 0 w 25118"/>
                    <a:gd name="connsiteY0" fmla="*/ 46291 h 46290"/>
                    <a:gd name="connsiteX1" fmla="*/ 11543 w 25118"/>
                    <a:gd name="connsiteY1" fmla="*/ 24282 h 46290"/>
                    <a:gd name="connsiteX2" fmla="*/ 25119 w 25118"/>
                    <a:gd name="connsiteY2" fmla="*/ 0 h 46290"/>
                    <a:gd name="connsiteX3" fmla="*/ 13576 w 25118"/>
                    <a:gd name="connsiteY3" fmla="*/ 22009 h 46290"/>
                  </a:gdLst>
                  <a:ahLst/>
                  <a:cxnLst>
                    <a:cxn ang="0">
                      <a:pos x="connsiteX0" y="connsiteY0"/>
                    </a:cxn>
                    <a:cxn ang="0">
                      <a:pos x="connsiteX1" y="connsiteY1"/>
                    </a:cxn>
                    <a:cxn ang="0">
                      <a:pos x="connsiteX2" y="connsiteY2"/>
                    </a:cxn>
                    <a:cxn ang="0">
                      <a:pos x="connsiteX3" y="connsiteY3"/>
                    </a:cxn>
                  </a:cxnLst>
                  <a:rect l="l" t="t" r="r" b="b"/>
                  <a:pathLst>
                    <a:path w="25118" h="46290">
                      <a:moveTo>
                        <a:pt x="0" y="46291"/>
                      </a:moveTo>
                      <a:lnTo>
                        <a:pt x="11543" y="24282"/>
                      </a:lnTo>
                      <a:lnTo>
                        <a:pt x="25119" y="0"/>
                      </a:lnTo>
                      <a:lnTo>
                        <a:pt x="13576" y="22009"/>
                      </a:lnTo>
                      <a:close/>
                    </a:path>
                  </a:pathLst>
                </a:custGeom>
                <a:noFill/>
                <a:ln w="6350" cap="flat">
                  <a:solidFill>
                    <a:schemeClr val="bg1">
                      <a:alpha val="80000"/>
                    </a:schemeClr>
                  </a:solidFill>
                  <a:prstDash val="solid"/>
                  <a:miter/>
                </a:ln>
              </p:spPr>
              <p:txBody>
                <a:bodyPr rtlCol="0" anchor="ctr"/>
                <a:lstStyle/>
                <a:p>
                  <a:endParaRPr lang="en-GB"/>
                </a:p>
              </p:txBody>
            </p:sp>
            <p:sp>
              <p:nvSpPr>
                <p:cNvPr id="7271" name="Vrije vorm: vorm 7270">
                  <a:extLst>
                    <a:ext uri="{FF2B5EF4-FFF2-40B4-BE49-F238E27FC236}">
                      <a16:creationId xmlns:a16="http://schemas.microsoft.com/office/drawing/2014/main" id="{C2893A59-EB06-4E9B-8D90-60AE6E646323}"/>
                    </a:ext>
                  </a:extLst>
                </p:cNvPr>
                <p:cNvSpPr/>
                <p:nvPr/>
              </p:nvSpPr>
              <p:spPr>
                <a:xfrm>
                  <a:off x="8195762" y="4360644"/>
                  <a:ext cx="18958" cy="27331"/>
                </a:xfrm>
                <a:custGeom>
                  <a:avLst/>
                  <a:gdLst>
                    <a:gd name="connsiteX0" fmla="*/ 13576 w 18958"/>
                    <a:gd name="connsiteY0" fmla="*/ 0 h 27331"/>
                    <a:gd name="connsiteX1" fmla="*/ 18958 w 18958"/>
                    <a:gd name="connsiteY1" fmla="*/ 3050 h 27331"/>
                    <a:gd name="connsiteX2" fmla="*/ 5383 w 18958"/>
                    <a:gd name="connsiteY2" fmla="*/ 27332 h 27331"/>
                    <a:gd name="connsiteX3" fmla="*/ 0 w 18958"/>
                    <a:gd name="connsiteY3" fmla="*/ 24282 h 27331"/>
                  </a:gdLst>
                  <a:ahLst/>
                  <a:cxnLst>
                    <a:cxn ang="0">
                      <a:pos x="connsiteX0" y="connsiteY0"/>
                    </a:cxn>
                    <a:cxn ang="0">
                      <a:pos x="connsiteX1" y="connsiteY1"/>
                    </a:cxn>
                    <a:cxn ang="0">
                      <a:pos x="connsiteX2" y="connsiteY2"/>
                    </a:cxn>
                    <a:cxn ang="0">
                      <a:pos x="connsiteX3" y="connsiteY3"/>
                    </a:cxn>
                  </a:cxnLst>
                  <a:rect l="l" t="t" r="r" b="b"/>
                  <a:pathLst>
                    <a:path w="18958" h="27331">
                      <a:moveTo>
                        <a:pt x="13576" y="0"/>
                      </a:moveTo>
                      <a:lnTo>
                        <a:pt x="18958" y="3050"/>
                      </a:lnTo>
                      <a:lnTo>
                        <a:pt x="5383" y="27332"/>
                      </a:lnTo>
                      <a:lnTo>
                        <a:pt x="0" y="24282"/>
                      </a:lnTo>
                    </a:path>
                  </a:pathLst>
                </a:custGeom>
                <a:noFill/>
                <a:ln w="6350" cap="flat">
                  <a:solidFill>
                    <a:schemeClr val="bg1">
                      <a:alpha val="80000"/>
                    </a:schemeClr>
                  </a:solidFill>
                  <a:prstDash val="solid"/>
                  <a:miter/>
                </a:ln>
              </p:spPr>
              <p:txBody>
                <a:bodyPr rtlCol="0" anchor="ctr"/>
                <a:lstStyle/>
                <a:p>
                  <a:endParaRPr lang="en-GB"/>
                </a:p>
              </p:txBody>
            </p:sp>
            <p:sp>
              <p:nvSpPr>
                <p:cNvPr id="7272" name="Vrije vorm: vorm 7271">
                  <a:extLst>
                    <a:ext uri="{FF2B5EF4-FFF2-40B4-BE49-F238E27FC236}">
                      <a16:creationId xmlns:a16="http://schemas.microsoft.com/office/drawing/2014/main" id="{7AE4D2A6-9538-4D79-9FBC-327BE9D613D9}"/>
                    </a:ext>
                  </a:extLst>
                </p:cNvPr>
                <p:cNvSpPr/>
                <p:nvPr/>
              </p:nvSpPr>
              <p:spPr>
                <a:xfrm>
                  <a:off x="8190319" y="4357893"/>
                  <a:ext cx="19019" cy="27032"/>
                </a:xfrm>
                <a:custGeom>
                  <a:avLst/>
                  <a:gdLst>
                    <a:gd name="connsiteX0" fmla="*/ 5443 w 19019"/>
                    <a:gd name="connsiteY0" fmla="*/ 27033 h 27032"/>
                    <a:gd name="connsiteX1" fmla="*/ 0 w 19019"/>
                    <a:gd name="connsiteY1" fmla="*/ 24282 h 27032"/>
                    <a:gd name="connsiteX2" fmla="*/ 13576 w 19019"/>
                    <a:gd name="connsiteY2" fmla="*/ 0 h 27032"/>
                    <a:gd name="connsiteX3" fmla="*/ 19019 w 19019"/>
                    <a:gd name="connsiteY3" fmla="*/ 2751 h 27032"/>
                  </a:gdLst>
                  <a:ahLst/>
                  <a:cxnLst>
                    <a:cxn ang="0">
                      <a:pos x="connsiteX0" y="connsiteY0"/>
                    </a:cxn>
                    <a:cxn ang="0">
                      <a:pos x="connsiteX1" y="connsiteY1"/>
                    </a:cxn>
                    <a:cxn ang="0">
                      <a:pos x="connsiteX2" y="connsiteY2"/>
                    </a:cxn>
                    <a:cxn ang="0">
                      <a:pos x="connsiteX3" y="connsiteY3"/>
                    </a:cxn>
                  </a:cxnLst>
                  <a:rect l="l" t="t" r="r" b="b"/>
                  <a:pathLst>
                    <a:path w="19019" h="27032">
                      <a:moveTo>
                        <a:pt x="5443" y="27033"/>
                      </a:moveTo>
                      <a:lnTo>
                        <a:pt x="0" y="24282"/>
                      </a:lnTo>
                      <a:lnTo>
                        <a:pt x="13576" y="0"/>
                      </a:lnTo>
                      <a:lnTo>
                        <a:pt x="19019" y="2751"/>
                      </a:lnTo>
                    </a:path>
                  </a:pathLst>
                </a:custGeom>
                <a:noFill/>
                <a:ln w="6350" cap="flat">
                  <a:solidFill>
                    <a:schemeClr val="bg1">
                      <a:alpha val="80000"/>
                    </a:schemeClr>
                  </a:solidFill>
                  <a:prstDash val="solid"/>
                  <a:miter/>
                </a:ln>
              </p:spPr>
              <p:txBody>
                <a:bodyPr rtlCol="0" anchor="ctr"/>
                <a:lstStyle/>
                <a:p>
                  <a:endParaRPr lang="en-GB"/>
                </a:p>
              </p:txBody>
            </p:sp>
            <p:sp>
              <p:nvSpPr>
                <p:cNvPr id="7273" name="Vrije vorm: vorm 7272">
                  <a:extLst>
                    <a:ext uri="{FF2B5EF4-FFF2-40B4-BE49-F238E27FC236}">
                      <a16:creationId xmlns:a16="http://schemas.microsoft.com/office/drawing/2014/main" id="{5C6FE8C3-60AA-44AD-9244-42BD1397BA5C}"/>
                    </a:ext>
                  </a:extLst>
                </p:cNvPr>
                <p:cNvSpPr/>
                <p:nvPr/>
              </p:nvSpPr>
              <p:spPr>
                <a:xfrm>
                  <a:off x="8178776" y="4357893"/>
                  <a:ext cx="25119" cy="46230"/>
                </a:xfrm>
                <a:custGeom>
                  <a:avLst/>
                  <a:gdLst>
                    <a:gd name="connsiteX0" fmla="*/ 11543 w 25119"/>
                    <a:gd name="connsiteY0" fmla="*/ 24282 h 46230"/>
                    <a:gd name="connsiteX1" fmla="*/ 25119 w 25119"/>
                    <a:gd name="connsiteY1" fmla="*/ 0 h 46230"/>
                    <a:gd name="connsiteX2" fmla="*/ 13576 w 25119"/>
                    <a:gd name="connsiteY2" fmla="*/ 21949 h 46230"/>
                    <a:gd name="connsiteX3" fmla="*/ 0 w 25119"/>
                    <a:gd name="connsiteY3" fmla="*/ 46231 h 46230"/>
                  </a:gdLst>
                  <a:ahLst/>
                  <a:cxnLst>
                    <a:cxn ang="0">
                      <a:pos x="connsiteX0" y="connsiteY0"/>
                    </a:cxn>
                    <a:cxn ang="0">
                      <a:pos x="connsiteX1" y="connsiteY1"/>
                    </a:cxn>
                    <a:cxn ang="0">
                      <a:pos x="connsiteX2" y="connsiteY2"/>
                    </a:cxn>
                    <a:cxn ang="0">
                      <a:pos x="connsiteX3" y="connsiteY3"/>
                    </a:cxn>
                  </a:cxnLst>
                  <a:rect l="l" t="t" r="r" b="b"/>
                  <a:pathLst>
                    <a:path w="25119" h="46230">
                      <a:moveTo>
                        <a:pt x="11543" y="24282"/>
                      </a:moveTo>
                      <a:lnTo>
                        <a:pt x="25119" y="0"/>
                      </a:lnTo>
                      <a:lnTo>
                        <a:pt x="13576" y="21949"/>
                      </a:lnTo>
                      <a:lnTo>
                        <a:pt x="0" y="46231"/>
                      </a:lnTo>
                      <a:close/>
                    </a:path>
                  </a:pathLst>
                </a:custGeom>
                <a:noFill/>
                <a:ln w="6350" cap="flat">
                  <a:solidFill>
                    <a:schemeClr val="bg1">
                      <a:alpha val="80000"/>
                    </a:schemeClr>
                  </a:solidFill>
                  <a:prstDash val="solid"/>
                  <a:miter/>
                </a:ln>
              </p:spPr>
              <p:txBody>
                <a:bodyPr rtlCol="0" anchor="ctr"/>
                <a:lstStyle/>
                <a:p>
                  <a:endParaRPr lang="en-GB"/>
                </a:p>
              </p:txBody>
            </p:sp>
            <p:sp>
              <p:nvSpPr>
                <p:cNvPr id="7274" name="Vrije vorm: vorm 7273">
                  <a:extLst>
                    <a:ext uri="{FF2B5EF4-FFF2-40B4-BE49-F238E27FC236}">
                      <a16:creationId xmlns:a16="http://schemas.microsoft.com/office/drawing/2014/main" id="{F1AF3C43-E580-4291-8E79-9384901DAED3}"/>
                    </a:ext>
                  </a:extLst>
                </p:cNvPr>
                <p:cNvSpPr/>
                <p:nvPr/>
              </p:nvSpPr>
              <p:spPr>
                <a:xfrm>
                  <a:off x="8167892" y="4373981"/>
                  <a:ext cx="24460" cy="30142"/>
                </a:xfrm>
                <a:custGeom>
                  <a:avLst/>
                  <a:gdLst>
                    <a:gd name="connsiteX0" fmla="*/ 24461 w 24460"/>
                    <a:gd name="connsiteY0" fmla="*/ 5861 h 30142"/>
                    <a:gd name="connsiteX1" fmla="*/ 10885 w 24460"/>
                    <a:gd name="connsiteY1" fmla="*/ 30143 h 30142"/>
                    <a:gd name="connsiteX2" fmla="*/ 0 w 24460"/>
                    <a:gd name="connsiteY2" fmla="*/ 24282 h 30142"/>
                    <a:gd name="connsiteX3" fmla="*/ 13636 w 24460"/>
                    <a:gd name="connsiteY3" fmla="*/ 0 h 30142"/>
                  </a:gdLst>
                  <a:ahLst/>
                  <a:cxnLst>
                    <a:cxn ang="0">
                      <a:pos x="connsiteX0" y="connsiteY0"/>
                    </a:cxn>
                    <a:cxn ang="0">
                      <a:pos x="connsiteX1" y="connsiteY1"/>
                    </a:cxn>
                    <a:cxn ang="0">
                      <a:pos x="connsiteX2" y="connsiteY2"/>
                    </a:cxn>
                    <a:cxn ang="0">
                      <a:pos x="connsiteX3" y="connsiteY3"/>
                    </a:cxn>
                  </a:cxnLst>
                  <a:rect l="l" t="t" r="r" b="b"/>
                  <a:pathLst>
                    <a:path w="24460" h="30142">
                      <a:moveTo>
                        <a:pt x="24461" y="5861"/>
                      </a:moveTo>
                      <a:lnTo>
                        <a:pt x="10885" y="30143"/>
                      </a:lnTo>
                      <a:lnTo>
                        <a:pt x="0" y="24282"/>
                      </a:lnTo>
                      <a:lnTo>
                        <a:pt x="13636" y="0"/>
                      </a:lnTo>
                    </a:path>
                  </a:pathLst>
                </a:custGeom>
                <a:noFill/>
                <a:ln w="6350" cap="flat">
                  <a:solidFill>
                    <a:schemeClr val="bg1">
                      <a:alpha val="80000"/>
                    </a:schemeClr>
                  </a:solidFill>
                  <a:prstDash val="solid"/>
                  <a:miter/>
                </a:ln>
              </p:spPr>
              <p:txBody>
                <a:bodyPr rtlCol="0" anchor="ctr"/>
                <a:lstStyle/>
                <a:p>
                  <a:endParaRPr lang="en-GB"/>
                </a:p>
              </p:txBody>
            </p:sp>
            <p:sp>
              <p:nvSpPr>
                <p:cNvPr id="7275" name="Vrije vorm: vorm 7274">
                  <a:extLst>
                    <a:ext uri="{FF2B5EF4-FFF2-40B4-BE49-F238E27FC236}">
                      <a16:creationId xmlns:a16="http://schemas.microsoft.com/office/drawing/2014/main" id="{5C791809-FB45-487A-9C15-AC1CC7457FFA}"/>
                    </a:ext>
                  </a:extLst>
                </p:cNvPr>
                <p:cNvSpPr/>
                <p:nvPr/>
              </p:nvSpPr>
              <p:spPr>
                <a:xfrm>
                  <a:off x="8167892" y="4352809"/>
                  <a:ext cx="24760" cy="45453"/>
                </a:xfrm>
                <a:custGeom>
                  <a:avLst/>
                  <a:gdLst>
                    <a:gd name="connsiteX0" fmla="*/ 0 w 24760"/>
                    <a:gd name="connsiteY0" fmla="*/ 45454 h 45453"/>
                    <a:gd name="connsiteX1" fmla="*/ 11184 w 24760"/>
                    <a:gd name="connsiteY1" fmla="*/ 24282 h 45453"/>
                    <a:gd name="connsiteX2" fmla="*/ 24760 w 24760"/>
                    <a:gd name="connsiteY2" fmla="*/ 0 h 45453"/>
                    <a:gd name="connsiteX3" fmla="*/ 13636 w 24760"/>
                    <a:gd name="connsiteY3" fmla="*/ 21172 h 45453"/>
                  </a:gdLst>
                  <a:ahLst/>
                  <a:cxnLst>
                    <a:cxn ang="0">
                      <a:pos x="connsiteX0" y="connsiteY0"/>
                    </a:cxn>
                    <a:cxn ang="0">
                      <a:pos x="connsiteX1" y="connsiteY1"/>
                    </a:cxn>
                    <a:cxn ang="0">
                      <a:pos x="connsiteX2" y="connsiteY2"/>
                    </a:cxn>
                    <a:cxn ang="0">
                      <a:pos x="connsiteX3" y="connsiteY3"/>
                    </a:cxn>
                  </a:cxnLst>
                  <a:rect l="l" t="t" r="r" b="b"/>
                  <a:pathLst>
                    <a:path w="24760" h="45453">
                      <a:moveTo>
                        <a:pt x="0" y="45454"/>
                      </a:moveTo>
                      <a:lnTo>
                        <a:pt x="11184" y="24282"/>
                      </a:lnTo>
                      <a:lnTo>
                        <a:pt x="24760" y="0"/>
                      </a:lnTo>
                      <a:lnTo>
                        <a:pt x="13636" y="21172"/>
                      </a:lnTo>
                      <a:close/>
                    </a:path>
                  </a:pathLst>
                </a:custGeom>
                <a:noFill/>
                <a:ln w="6350" cap="flat">
                  <a:solidFill>
                    <a:schemeClr val="bg1">
                      <a:alpha val="80000"/>
                    </a:schemeClr>
                  </a:solidFill>
                  <a:prstDash val="solid"/>
                  <a:miter/>
                </a:ln>
              </p:spPr>
              <p:txBody>
                <a:bodyPr rtlCol="0" anchor="ctr"/>
                <a:lstStyle/>
                <a:p>
                  <a:endParaRPr lang="en-GB"/>
                </a:p>
              </p:txBody>
            </p:sp>
            <p:sp>
              <p:nvSpPr>
                <p:cNvPr id="7276" name="Vrije vorm: vorm 7275">
                  <a:extLst>
                    <a:ext uri="{FF2B5EF4-FFF2-40B4-BE49-F238E27FC236}">
                      <a16:creationId xmlns:a16="http://schemas.microsoft.com/office/drawing/2014/main" id="{7973132C-69AC-44C2-A3D6-02965185548C}"/>
                    </a:ext>
                  </a:extLst>
                </p:cNvPr>
                <p:cNvSpPr/>
                <p:nvPr/>
              </p:nvSpPr>
              <p:spPr>
                <a:xfrm>
                  <a:off x="8143849" y="4387557"/>
                  <a:ext cx="23922" cy="38815"/>
                </a:xfrm>
                <a:custGeom>
                  <a:avLst/>
                  <a:gdLst>
                    <a:gd name="connsiteX0" fmla="*/ 10347 w 23922"/>
                    <a:gd name="connsiteY0" fmla="*/ 24282 h 38815"/>
                    <a:gd name="connsiteX1" fmla="*/ 0 w 23922"/>
                    <a:gd name="connsiteY1" fmla="*/ 38815 h 38815"/>
                    <a:gd name="connsiteX2" fmla="*/ 13576 w 23922"/>
                    <a:gd name="connsiteY2" fmla="*/ 14533 h 38815"/>
                    <a:gd name="connsiteX3" fmla="*/ 23923 w 23922"/>
                    <a:gd name="connsiteY3" fmla="*/ 0 h 38815"/>
                  </a:gdLst>
                  <a:ahLst/>
                  <a:cxnLst>
                    <a:cxn ang="0">
                      <a:pos x="connsiteX0" y="connsiteY0"/>
                    </a:cxn>
                    <a:cxn ang="0">
                      <a:pos x="connsiteX1" y="connsiteY1"/>
                    </a:cxn>
                    <a:cxn ang="0">
                      <a:pos x="connsiteX2" y="connsiteY2"/>
                    </a:cxn>
                    <a:cxn ang="0">
                      <a:pos x="connsiteX3" y="connsiteY3"/>
                    </a:cxn>
                  </a:cxnLst>
                  <a:rect l="l" t="t" r="r" b="b"/>
                  <a:pathLst>
                    <a:path w="23922" h="38815">
                      <a:moveTo>
                        <a:pt x="10347" y="24282"/>
                      </a:moveTo>
                      <a:lnTo>
                        <a:pt x="0" y="38815"/>
                      </a:lnTo>
                      <a:lnTo>
                        <a:pt x="13576" y="14533"/>
                      </a:lnTo>
                      <a:lnTo>
                        <a:pt x="23923" y="0"/>
                      </a:lnTo>
                      <a:close/>
                    </a:path>
                  </a:pathLst>
                </a:custGeom>
                <a:noFill/>
                <a:ln w="6350" cap="flat">
                  <a:solidFill>
                    <a:schemeClr val="bg1">
                      <a:alpha val="80000"/>
                    </a:schemeClr>
                  </a:solidFill>
                  <a:prstDash val="solid"/>
                  <a:miter/>
                </a:ln>
              </p:spPr>
              <p:txBody>
                <a:bodyPr rtlCol="0" anchor="ctr"/>
                <a:lstStyle/>
                <a:p>
                  <a:endParaRPr lang="en-GB"/>
                </a:p>
              </p:txBody>
            </p:sp>
            <p:sp>
              <p:nvSpPr>
                <p:cNvPr id="7277" name="Vrije vorm: vorm 7276">
                  <a:extLst>
                    <a:ext uri="{FF2B5EF4-FFF2-40B4-BE49-F238E27FC236}">
                      <a16:creationId xmlns:a16="http://schemas.microsoft.com/office/drawing/2014/main" id="{8A76A828-B95E-49D0-9973-8E6C1D0FC2BA}"/>
                    </a:ext>
                  </a:extLst>
                </p:cNvPr>
                <p:cNvSpPr/>
                <p:nvPr/>
              </p:nvSpPr>
              <p:spPr>
                <a:xfrm>
                  <a:off x="8187927" y="4328168"/>
                  <a:ext cx="17703" cy="32056"/>
                </a:xfrm>
                <a:custGeom>
                  <a:avLst/>
                  <a:gdLst>
                    <a:gd name="connsiteX0" fmla="*/ 0 w 17703"/>
                    <a:gd name="connsiteY0" fmla="*/ 32057 h 32056"/>
                    <a:gd name="connsiteX1" fmla="*/ 4127 w 17703"/>
                    <a:gd name="connsiteY1" fmla="*/ 24282 h 32056"/>
                    <a:gd name="connsiteX2" fmla="*/ 17703 w 17703"/>
                    <a:gd name="connsiteY2" fmla="*/ 0 h 32056"/>
                    <a:gd name="connsiteX3" fmla="*/ 13636 w 17703"/>
                    <a:gd name="connsiteY3" fmla="*/ 7775 h 32056"/>
                  </a:gdLst>
                  <a:ahLst/>
                  <a:cxnLst>
                    <a:cxn ang="0">
                      <a:pos x="connsiteX0" y="connsiteY0"/>
                    </a:cxn>
                    <a:cxn ang="0">
                      <a:pos x="connsiteX1" y="connsiteY1"/>
                    </a:cxn>
                    <a:cxn ang="0">
                      <a:pos x="connsiteX2" y="connsiteY2"/>
                    </a:cxn>
                    <a:cxn ang="0">
                      <a:pos x="connsiteX3" y="connsiteY3"/>
                    </a:cxn>
                  </a:cxnLst>
                  <a:rect l="l" t="t" r="r" b="b"/>
                  <a:pathLst>
                    <a:path w="17703" h="32056">
                      <a:moveTo>
                        <a:pt x="0" y="32057"/>
                      </a:moveTo>
                      <a:lnTo>
                        <a:pt x="4127" y="24282"/>
                      </a:lnTo>
                      <a:lnTo>
                        <a:pt x="17703" y="0"/>
                      </a:lnTo>
                      <a:lnTo>
                        <a:pt x="13636" y="7775"/>
                      </a:lnTo>
                      <a:close/>
                    </a:path>
                  </a:pathLst>
                </a:custGeom>
                <a:noFill/>
                <a:ln w="6350" cap="flat">
                  <a:solidFill>
                    <a:schemeClr val="bg1">
                      <a:alpha val="80000"/>
                    </a:schemeClr>
                  </a:solidFill>
                  <a:prstDash val="solid"/>
                  <a:miter/>
                </a:ln>
              </p:spPr>
              <p:txBody>
                <a:bodyPr rtlCol="0" anchor="ctr"/>
                <a:lstStyle/>
                <a:p>
                  <a:endParaRPr lang="en-GB"/>
                </a:p>
              </p:txBody>
            </p:sp>
            <p:sp>
              <p:nvSpPr>
                <p:cNvPr id="7278" name="Vrije vorm: vorm 7277">
                  <a:extLst>
                    <a:ext uri="{FF2B5EF4-FFF2-40B4-BE49-F238E27FC236}">
                      <a16:creationId xmlns:a16="http://schemas.microsoft.com/office/drawing/2014/main" id="{47D38769-BC4D-4BF4-B248-E42F9727B6A2}"/>
                    </a:ext>
                  </a:extLst>
                </p:cNvPr>
                <p:cNvSpPr/>
                <p:nvPr/>
              </p:nvSpPr>
              <p:spPr>
                <a:xfrm>
                  <a:off x="8192054" y="4328168"/>
                  <a:ext cx="24401" cy="30143"/>
                </a:xfrm>
                <a:custGeom>
                  <a:avLst/>
                  <a:gdLst>
                    <a:gd name="connsiteX0" fmla="*/ 0 w 24401"/>
                    <a:gd name="connsiteY0" fmla="*/ 24282 h 30143"/>
                    <a:gd name="connsiteX1" fmla="*/ 13576 w 24401"/>
                    <a:gd name="connsiteY1" fmla="*/ 0 h 30143"/>
                    <a:gd name="connsiteX2" fmla="*/ 24401 w 24401"/>
                    <a:gd name="connsiteY2" fmla="*/ 5861 h 30143"/>
                    <a:gd name="connsiteX3" fmla="*/ 10825 w 24401"/>
                    <a:gd name="connsiteY3" fmla="*/ 30143 h 30143"/>
                  </a:gdLst>
                  <a:ahLst/>
                  <a:cxnLst>
                    <a:cxn ang="0">
                      <a:pos x="connsiteX0" y="connsiteY0"/>
                    </a:cxn>
                    <a:cxn ang="0">
                      <a:pos x="connsiteX1" y="connsiteY1"/>
                    </a:cxn>
                    <a:cxn ang="0">
                      <a:pos x="connsiteX2" y="connsiteY2"/>
                    </a:cxn>
                    <a:cxn ang="0">
                      <a:pos x="connsiteX3" y="connsiteY3"/>
                    </a:cxn>
                  </a:cxnLst>
                  <a:rect l="l" t="t" r="r" b="b"/>
                  <a:pathLst>
                    <a:path w="24401" h="30143">
                      <a:moveTo>
                        <a:pt x="0" y="24282"/>
                      </a:moveTo>
                      <a:lnTo>
                        <a:pt x="13576" y="0"/>
                      </a:lnTo>
                      <a:lnTo>
                        <a:pt x="24401" y="5861"/>
                      </a:lnTo>
                      <a:lnTo>
                        <a:pt x="10825" y="30143"/>
                      </a:lnTo>
                    </a:path>
                  </a:pathLst>
                </a:custGeom>
                <a:noFill/>
                <a:ln w="6350" cap="flat">
                  <a:solidFill>
                    <a:schemeClr val="bg1">
                      <a:alpha val="80000"/>
                    </a:schemeClr>
                  </a:solidFill>
                  <a:prstDash val="solid"/>
                  <a:miter/>
                </a:ln>
              </p:spPr>
              <p:txBody>
                <a:bodyPr rtlCol="0" anchor="ctr"/>
                <a:lstStyle/>
                <a:p>
                  <a:endParaRPr lang="en-GB"/>
                </a:p>
              </p:txBody>
            </p:sp>
            <p:sp>
              <p:nvSpPr>
                <p:cNvPr id="7279" name="Vrije vorm: vorm 7278">
                  <a:extLst>
                    <a:ext uri="{FF2B5EF4-FFF2-40B4-BE49-F238E27FC236}">
                      <a16:creationId xmlns:a16="http://schemas.microsoft.com/office/drawing/2014/main" id="{48335B17-72EF-415A-BE13-C212D7718D5B}"/>
                    </a:ext>
                  </a:extLst>
                </p:cNvPr>
                <p:cNvSpPr/>
                <p:nvPr/>
              </p:nvSpPr>
              <p:spPr>
                <a:xfrm>
                  <a:off x="8199230" y="4334030"/>
                  <a:ext cx="17224" cy="31219"/>
                </a:xfrm>
                <a:custGeom>
                  <a:avLst/>
                  <a:gdLst>
                    <a:gd name="connsiteX0" fmla="*/ 3648 w 17224"/>
                    <a:gd name="connsiteY0" fmla="*/ 24282 h 31219"/>
                    <a:gd name="connsiteX1" fmla="*/ 17225 w 17224"/>
                    <a:gd name="connsiteY1" fmla="*/ 0 h 31219"/>
                    <a:gd name="connsiteX2" fmla="*/ 13576 w 17224"/>
                    <a:gd name="connsiteY2" fmla="*/ 6937 h 31219"/>
                    <a:gd name="connsiteX3" fmla="*/ 0 w 17224"/>
                    <a:gd name="connsiteY3" fmla="*/ 31219 h 31219"/>
                  </a:gdLst>
                  <a:ahLst/>
                  <a:cxnLst>
                    <a:cxn ang="0">
                      <a:pos x="connsiteX0" y="connsiteY0"/>
                    </a:cxn>
                    <a:cxn ang="0">
                      <a:pos x="connsiteX1" y="connsiteY1"/>
                    </a:cxn>
                    <a:cxn ang="0">
                      <a:pos x="connsiteX2" y="connsiteY2"/>
                    </a:cxn>
                    <a:cxn ang="0">
                      <a:pos x="connsiteX3" y="connsiteY3"/>
                    </a:cxn>
                  </a:cxnLst>
                  <a:rect l="l" t="t" r="r" b="b"/>
                  <a:pathLst>
                    <a:path w="17224" h="31219">
                      <a:moveTo>
                        <a:pt x="3648" y="24282"/>
                      </a:moveTo>
                      <a:lnTo>
                        <a:pt x="17225" y="0"/>
                      </a:lnTo>
                      <a:lnTo>
                        <a:pt x="13576" y="6937"/>
                      </a:lnTo>
                      <a:lnTo>
                        <a:pt x="0" y="31219"/>
                      </a:lnTo>
                      <a:close/>
                    </a:path>
                  </a:pathLst>
                </a:custGeom>
                <a:noFill/>
                <a:ln w="6350" cap="flat">
                  <a:solidFill>
                    <a:schemeClr val="bg1">
                      <a:alpha val="80000"/>
                    </a:schemeClr>
                  </a:solidFill>
                  <a:prstDash val="solid"/>
                  <a:miter/>
                </a:ln>
              </p:spPr>
              <p:txBody>
                <a:bodyPr rtlCol="0" anchor="ctr"/>
                <a:lstStyle/>
                <a:p>
                  <a:endParaRPr lang="en-GB"/>
                </a:p>
              </p:txBody>
            </p:sp>
            <p:sp>
              <p:nvSpPr>
                <p:cNvPr id="7280" name="Vrije vorm: vorm 7279">
                  <a:extLst>
                    <a:ext uri="{FF2B5EF4-FFF2-40B4-BE49-F238E27FC236}">
                      <a16:creationId xmlns:a16="http://schemas.microsoft.com/office/drawing/2014/main" id="{6D5BFA1A-CAAD-474B-A796-7459D1ADF818}"/>
                    </a:ext>
                  </a:extLst>
                </p:cNvPr>
                <p:cNvSpPr/>
                <p:nvPr/>
              </p:nvSpPr>
              <p:spPr>
                <a:xfrm>
                  <a:off x="8210056" y="4339831"/>
                  <a:ext cx="17224" cy="31219"/>
                </a:xfrm>
                <a:custGeom>
                  <a:avLst/>
                  <a:gdLst>
                    <a:gd name="connsiteX0" fmla="*/ 0 w 17224"/>
                    <a:gd name="connsiteY0" fmla="*/ 31220 h 31219"/>
                    <a:gd name="connsiteX1" fmla="*/ 3648 w 17224"/>
                    <a:gd name="connsiteY1" fmla="*/ 24282 h 31219"/>
                    <a:gd name="connsiteX2" fmla="*/ 17225 w 17224"/>
                    <a:gd name="connsiteY2" fmla="*/ 0 h 31219"/>
                    <a:gd name="connsiteX3" fmla="*/ 13576 w 17224"/>
                    <a:gd name="connsiteY3" fmla="*/ 6938 h 31219"/>
                  </a:gdLst>
                  <a:ahLst/>
                  <a:cxnLst>
                    <a:cxn ang="0">
                      <a:pos x="connsiteX0" y="connsiteY0"/>
                    </a:cxn>
                    <a:cxn ang="0">
                      <a:pos x="connsiteX1" y="connsiteY1"/>
                    </a:cxn>
                    <a:cxn ang="0">
                      <a:pos x="connsiteX2" y="connsiteY2"/>
                    </a:cxn>
                    <a:cxn ang="0">
                      <a:pos x="connsiteX3" y="connsiteY3"/>
                    </a:cxn>
                  </a:cxnLst>
                  <a:rect l="l" t="t" r="r" b="b"/>
                  <a:pathLst>
                    <a:path w="17224" h="31219">
                      <a:moveTo>
                        <a:pt x="0" y="31220"/>
                      </a:moveTo>
                      <a:lnTo>
                        <a:pt x="3648" y="24282"/>
                      </a:lnTo>
                      <a:lnTo>
                        <a:pt x="17225" y="0"/>
                      </a:lnTo>
                      <a:lnTo>
                        <a:pt x="13576" y="6938"/>
                      </a:lnTo>
                      <a:close/>
                    </a:path>
                  </a:pathLst>
                </a:custGeom>
                <a:noFill/>
                <a:ln w="6350" cap="flat">
                  <a:solidFill>
                    <a:schemeClr val="bg1">
                      <a:alpha val="80000"/>
                    </a:schemeClr>
                  </a:solidFill>
                  <a:prstDash val="solid"/>
                  <a:miter/>
                </a:ln>
              </p:spPr>
              <p:txBody>
                <a:bodyPr rtlCol="0" anchor="ctr"/>
                <a:lstStyle/>
                <a:p>
                  <a:endParaRPr lang="en-GB"/>
                </a:p>
              </p:txBody>
            </p:sp>
            <p:sp>
              <p:nvSpPr>
                <p:cNvPr id="7281" name="Vrije vorm: vorm 7280">
                  <a:extLst>
                    <a:ext uri="{FF2B5EF4-FFF2-40B4-BE49-F238E27FC236}">
                      <a16:creationId xmlns:a16="http://schemas.microsoft.com/office/drawing/2014/main" id="{4BED18B9-16A4-4A7B-B8B4-85026F4018AF}"/>
                    </a:ext>
                  </a:extLst>
                </p:cNvPr>
                <p:cNvSpPr/>
                <p:nvPr/>
              </p:nvSpPr>
              <p:spPr>
                <a:xfrm>
                  <a:off x="8213704" y="4339831"/>
                  <a:ext cx="24341" cy="30083"/>
                </a:xfrm>
                <a:custGeom>
                  <a:avLst/>
                  <a:gdLst>
                    <a:gd name="connsiteX0" fmla="*/ 0 w 24341"/>
                    <a:gd name="connsiteY0" fmla="*/ 24282 h 30083"/>
                    <a:gd name="connsiteX1" fmla="*/ 13576 w 24341"/>
                    <a:gd name="connsiteY1" fmla="*/ 0 h 30083"/>
                    <a:gd name="connsiteX2" fmla="*/ 24341 w 24341"/>
                    <a:gd name="connsiteY2" fmla="*/ 5801 h 30083"/>
                    <a:gd name="connsiteX3" fmla="*/ 10765 w 24341"/>
                    <a:gd name="connsiteY3" fmla="*/ 30083 h 30083"/>
                  </a:gdLst>
                  <a:ahLst/>
                  <a:cxnLst>
                    <a:cxn ang="0">
                      <a:pos x="connsiteX0" y="connsiteY0"/>
                    </a:cxn>
                    <a:cxn ang="0">
                      <a:pos x="connsiteX1" y="connsiteY1"/>
                    </a:cxn>
                    <a:cxn ang="0">
                      <a:pos x="connsiteX2" y="connsiteY2"/>
                    </a:cxn>
                    <a:cxn ang="0">
                      <a:pos x="connsiteX3" y="connsiteY3"/>
                    </a:cxn>
                  </a:cxnLst>
                  <a:rect l="l" t="t" r="r" b="b"/>
                  <a:pathLst>
                    <a:path w="24341" h="30083">
                      <a:moveTo>
                        <a:pt x="0" y="24282"/>
                      </a:moveTo>
                      <a:lnTo>
                        <a:pt x="13576" y="0"/>
                      </a:lnTo>
                      <a:lnTo>
                        <a:pt x="24341" y="5801"/>
                      </a:lnTo>
                      <a:lnTo>
                        <a:pt x="10765" y="30083"/>
                      </a:lnTo>
                      <a:close/>
                    </a:path>
                  </a:pathLst>
                </a:custGeom>
                <a:noFill/>
                <a:ln w="6350" cap="flat">
                  <a:solidFill>
                    <a:schemeClr val="bg1">
                      <a:alpha val="80000"/>
                    </a:schemeClr>
                  </a:solidFill>
                  <a:prstDash val="solid"/>
                  <a:miter/>
                </a:ln>
              </p:spPr>
              <p:txBody>
                <a:bodyPr rtlCol="0" anchor="ctr"/>
                <a:lstStyle/>
                <a:p>
                  <a:endParaRPr lang="en-GB"/>
                </a:p>
              </p:txBody>
            </p:sp>
            <p:sp>
              <p:nvSpPr>
                <p:cNvPr id="7282" name="Vrije vorm: vorm 7281">
                  <a:extLst>
                    <a:ext uri="{FF2B5EF4-FFF2-40B4-BE49-F238E27FC236}">
                      <a16:creationId xmlns:a16="http://schemas.microsoft.com/office/drawing/2014/main" id="{FA944A14-BCCC-49C5-9628-4B33E4200FF9}"/>
                    </a:ext>
                  </a:extLst>
                </p:cNvPr>
                <p:cNvSpPr/>
                <p:nvPr/>
              </p:nvSpPr>
              <p:spPr>
                <a:xfrm>
                  <a:off x="8225366" y="4414530"/>
                  <a:ext cx="35406" cy="42104"/>
                </a:xfrm>
                <a:custGeom>
                  <a:avLst/>
                  <a:gdLst>
                    <a:gd name="connsiteX0" fmla="*/ 0 w 35406"/>
                    <a:gd name="connsiteY0" fmla="*/ 42105 h 42104"/>
                    <a:gd name="connsiteX1" fmla="*/ 21830 w 35406"/>
                    <a:gd name="connsiteY1" fmla="*/ 24282 h 42104"/>
                    <a:gd name="connsiteX2" fmla="*/ 35406 w 35406"/>
                    <a:gd name="connsiteY2" fmla="*/ 0 h 42104"/>
                    <a:gd name="connsiteX3" fmla="*/ 13576 w 35406"/>
                    <a:gd name="connsiteY3" fmla="*/ 17823 h 42104"/>
                  </a:gdLst>
                  <a:ahLst/>
                  <a:cxnLst>
                    <a:cxn ang="0">
                      <a:pos x="connsiteX0" y="connsiteY0"/>
                    </a:cxn>
                    <a:cxn ang="0">
                      <a:pos x="connsiteX1" y="connsiteY1"/>
                    </a:cxn>
                    <a:cxn ang="0">
                      <a:pos x="connsiteX2" y="connsiteY2"/>
                    </a:cxn>
                    <a:cxn ang="0">
                      <a:pos x="connsiteX3" y="connsiteY3"/>
                    </a:cxn>
                  </a:cxnLst>
                  <a:rect l="l" t="t" r="r" b="b"/>
                  <a:pathLst>
                    <a:path w="35406" h="42104">
                      <a:moveTo>
                        <a:pt x="0" y="42105"/>
                      </a:moveTo>
                      <a:cubicBezTo>
                        <a:pt x="9629" y="39473"/>
                        <a:pt x="16925" y="33552"/>
                        <a:pt x="21830" y="24282"/>
                      </a:cubicBezTo>
                      <a:lnTo>
                        <a:pt x="35406" y="0"/>
                      </a:lnTo>
                      <a:cubicBezTo>
                        <a:pt x="30502" y="9270"/>
                        <a:pt x="23265" y="15251"/>
                        <a:pt x="13576" y="17823"/>
                      </a:cubicBezTo>
                    </a:path>
                  </a:pathLst>
                </a:custGeom>
                <a:noFill/>
                <a:ln w="6350" cap="flat">
                  <a:solidFill>
                    <a:schemeClr val="bg1">
                      <a:alpha val="80000"/>
                    </a:schemeClr>
                  </a:solidFill>
                  <a:prstDash val="solid"/>
                  <a:miter/>
                </a:ln>
              </p:spPr>
              <p:txBody>
                <a:bodyPr rtlCol="0" anchor="ctr"/>
                <a:lstStyle/>
                <a:p>
                  <a:endParaRPr lang="en-GB"/>
                </a:p>
              </p:txBody>
            </p:sp>
            <p:sp>
              <p:nvSpPr>
                <p:cNvPr id="7283" name="Vrije vorm: vorm 7282">
                  <a:extLst>
                    <a:ext uri="{FF2B5EF4-FFF2-40B4-BE49-F238E27FC236}">
                      <a16:creationId xmlns:a16="http://schemas.microsoft.com/office/drawing/2014/main" id="{4D6699BF-BDB3-4B90-9F5F-63FC304FA8D9}"/>
                    </a:ext>
                  </a:extLst>
                </p:cNvPr>
                <p:cNvSpPr/>
                <p:nvPr/>
              </p:nvSpPr>
              <p:spPr>
                <a:xfrm>
                  <a:off x="8191755" y="4415547"/>
                  <a:ext cx="68419" cy="42480"/>
                </a:xfrm>
                <a:custGeom>
                  <a:avLst/>
                  <a:gdLst>
                    <a:gd name="connsiteX0" fmla="*/ 54843 w 68419"/>
                    <a:gd name="connsiteY0" fmla="*/ 24282 h 42480"/>
                    <a:gd name="connsiteX1" fmla="*/ 33552 w 68419"/>
                    <a:gd name="connsiteY1" fmla="*/ 41147 h 42480"/>
                    <a:gd name="connsiteX2" fmla="*/ 0 w 68419"/>
                    <a:gd name="connsiteY2" fmla="*/ 37619 h 42480"/>
                    <a:gd name="connsiteX3" fmla="*/ 13576 w 68419"/>
                    <a:gd name="connsiteY3" fmla="*/ 13337 h 42480"/>
                    <a:gd name="connsiteX4" fmla="*/ 47128 w 68419"/>
                    <a:gd name="connsiteY4" fmla="*/ 16865 h 42480"/>
                    <a:gd name="connsiteX5" fmla="*/ 68420 w 68419"/>
                    <a:gd name="connsiteY5" fmla="*/ 0 h 42480"/>
                    <a:gd name="connsiteX6" fmla="*/ 54843 w 68419"/>
                    <a:gd name="connsiteY6" fmla="*/ 24282 h 4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419" h="42480">
                      <a:moveTo>
                        <a:pt x="54843" y="24282"/>
                      </a:moveTo>
                      <a:cubicBezTo>
                        <a:pt x="49939" y="33013"/>
                        <a:pt x="42882" y="38575"/>
                        <a:pt x="33552" y="41147"/>
                      </a:cubicBezTo>
                      <a:cubicBezTo>
                        <a:pt x="23863" y="43719"/>
                        <a:pt x="12679" y="42583"/>
                        <a:pt x="0" y="37619"/>
                      </a:cubicBezTo>
                      <a:lnTo>
                        <a:pt x="13576" y="13337"/>
                      </a:lnTo>
                      <a:cubicBezTo>
                        <a:pt x="26255" y="18241"/>
                        <a:pt x="37439" y="19437"/>
                        <a:pt x="47128" y="16865"/>
                      </a:cubicBezTo>
                      <a:cubicBezTo>
                        <a:pt x="56399" y="14354"/>
                        <a:pt x="63515" y="8732"/>
                        <a:pt x="68420" y="0"/>
                      </a:cubicBezTo>
                      <a:cubicBezTo>
                        <a:pt x="64353" y="7236"/>
                        <a:pt x="58910" y="16985"/>
                        <a:pt x="54843" y="24282"/>
                      </a:cubicBezTo>
                      <a:close/>
                    </a:path>
                  </a:pathLst>
                </a:custGeom>
                <a:noFill/>
                <a:ln w="6350" cap="flat">
                  <a:solidFill>
                    <a:schemeClr val="bg1">
                      <a:alpha val="80000"/>
                    </a:schemeClr>
                  </a:solidFill>
                  <a:prstDash val="solid"/>
                  <a:miter/>
                </a:ln>
              </p:spPr>
              <p:txBody>
                <a:bodyPr rtlCol="0" anchor="ctr"/>
                <a:lstStyle/>
                <a:p>
                  <a:endParaRPr lang="en-GB"/>
                </a:p>
              </p:txBody>
            </p:sp>
            <p:sp>
              <p:nvSpPr>
                <p:cNvPr id="7284" name="Vrije vorm: vorm 7283">
                  <a:extLst>
                    <a:ext uri="{FF2B5EF4-FFF2-40B4-BE49-F238E27FC236}">
                      <a16:creationId xmlns:a16="http://schemas.microsoft.com/office/drawing/2014/main" id="{BB892872-3365-4DED-9FF5-DE0FB402F3FF}"/>
                    </a:ext>
                  </a:extLst>
                </p:cNvPr>
                <p:cNvSpPr/>
                <p:nvPr/>
              </p:nvSpPr>
              <p:spPr>
                <a:xfrm>
                  <a:off x="8197795" y="4405739"/>
                  <a:ext cx="46290" cy="30501"/>
                </a:xfrm>
                <a:custGeom>
                  <a:avLst/>
                  <a:gdLst>
                    <a:gd name="connsiteX0" fmla="*/ 0 w 46290"/>
                    <a:gd name="connsiteY0" fmla="*/ 30502 h 30501"/>
                    <a:gd name="connsiteX1" fmla="*/ 13576 w 46290"/>
                    <a:gd name="connsiteY1" fmla="*/ 6220 h 30501"/>
                    <a:gd name="connsiteX2" fmla="*/ 46291 w 46290"/>
                    <a:gd name="connsiteY2" fmla="*/ 0 h 30501"/>
                  </a:gdLst>
                  <a:ahLst/>
                  <a:cxnLst>
                    <a:cxn ang="0">
                      <a:pos x="connsiteX0" y="connsiteY0"/>
                    </a:cxn>
                    <a:cxn ang="0">
                      <a:pos x="connsiteX1" y="connsiteY1"/>
                    </a:cxn>
                    <a:cxn ang="0">
                      <a:pos x="connsiteX2" y="connsiteY2"/>
                    </a:cxn>
                  </a:cxnLst>
                  <a:rect l="l" t="t" r="r" b="b"/>
                  <a:pathLst>
                    <a:path w="46290" h="30501">
                      <a:moveTo>
                        <a:pt x="0" y="30502"/>
                      </a:moveTo>
                      <a:lnTo>
                        <a:pt x="13576" y="6220"/>
                      </a:lnTo>
                      <a:cubicBezTo>
                        <a:pt x="30023" y="12260"/>
                        <a:pt x="40908" y="10227"/>
                        <a:pt x="46291" y="0"/>
                      </a:cubicBezTo>
                    </a:path>
                  </a:pathLst>
                </a:custGeom>
                <a:noFill/>
                <a:ln w="6350" cap="flat">
                  <a:solidFill>
                    <a:schemeClr val="bg1">
                      <a:alpha val="80000"/>
                    </a:schemeClr>
                  </a:solidFill>
                  <a:prstDash val="solid"/>
                  <a:miter/>
                </a:ln>
              </p:spPr>
              <p:txBody>
                <a:bodyPr rtlCol="0" anchor="ctr"/>
                <a:lstStyle/>
                <a:p>
                  <a:endParaRPr lang="en-GB"/>
                </a:p>
              </p:txBody>
            </p:sp>
            <p:sp>
              <p:nvSpPr>
                <p:cNvPr id="7285" name="Vrije vorm: vorm 7284">
                  <a:extLst>
                    <a:ext uri="{FF2B5EF4-FFF2-40B4-BE49-F238E27FC236}">
                      <a16:creationId xmlns:a16="http://schemas.microsoft.com/office/drawing/2014/main" id="{47570023-3CD6-4179-B559-B72A02B7828A}"/>
                    </a:ext>
                  </a:extLst>
                </p:cNvPr>
                <p:cNvSpPr/>
                <p:nvPr/>
              </p:nvSpPr>
              <p:spPr>
                <a:xfrm>
                  <a:off x="8197795" y="4406217"/>
                  <a:ext cx="45991" cy="30022"/>
                </a:xfrm>
                <a:custGeom>
                  <a:avLst/>
                  <a:gdLst>
                    <a:gd name="connsiteX0" fmla="*/ 0 w 45991"/>
                    <a:gd name="connsiteY0" fmla="*/ 30023 h 30022"/>
                    <a:gd name="connsiteX1" fmla="*/ 13576 w 45991"/>
                    <a:gd name="connsiteY1" fmla="*/ 5741 h 30022"/>
                    <a:gd name="connsiteX2" fmla="*/ 45991 w 45991"/>
                    <a:gd name="connsiteY2" fmla="*/ 0 h 30022"/>
                  </a:gdLst>
                  <a:ahLst/>
                  <a:cxnLst>
                    <a:cxn ang="0">
                      <a:pos x="connsiteX0" y="connsiteY0"/>
                    </a:cxn>
                    <a:cxn ang="0">
                      <a:pos x="connsiteX1" y="connsiteY1"/>
                    </a:cxn>
                    <a:cxn ang="0">
                      <a:pos x="connsiteX2" y="connsiteY2"/>
                    </a:cxn>
                  </a:cxnLst>
                  <a:rect l="l" t="t" r="r" b="b"/>
                  <a:pathLst>
                    <a:path w="45991" h="30022">
                      <a:moveTo>
                        <a:pt x="0" y="30023"/>
                      </a:moveTo>
                      <a:lnTo>
                        <a:pt x="13576" y="5741"/>
                      </a:lnTo>
                      <a:cubicBezTo>
                        <a:pt x="29724" y="11662"/>
                        <a:pt x="40549" y="9808"/>
                        <a:pt x="45991" y="0"/>
                      </a:cubicBezTo>
                    </a:path>
                  </a:pathLst>
                </a:custGeom>
                <a:noFill/>
                <a:ln w="6350" cap="flat">
                  <a:solidFill>
                    <a:schemeClr val="bg1">
                      <a:alpha val="80000"/>
                    </a:schemeClr>
                  </a:solidFill>
                  <a:prstDash val="solid"/>
                  <a:miter/>
                </a:ln>
              </p:spPr>
              <p:txBody>
                <a:bodyPr rtlCol="0" anchor="ctr"/>
                <a:lstStyle/>
                <a:p>
                  <a:endParaRPr lang="en-GB"/>
                </a:p>
              </p:txBody>
            </p:sp>
            <p:sp>
              <p:nvSpPr>
                <p:cNvPr id="7286" name="Vrije vorm: vorm 7285">
                  <a:extLst>
                    <a:ext uri="{FF2B5EF4-FFF2-40B4-BE49-F238E27FC236}">
                      <a16:creationId xmlns:a16="http://schemas.microsoft.com/office/drawing/2014/main" id="{1931C4EB-0712-45F0-9F3B-7F39EF4234C3}"/>
                    </a:ext>
                  </a:extLst>
                </p:cNvPr>
                <p:cNvSpPr/>
                <p:nvPr/>
              </p:nvSpPr>
              <p:spPr>
                <a:xfrm>
                  <a:off x="8123634" y="4329920"/>
                  <a:ext cx="77928" cy="41369"/>
                </a:xfrm>
                <a:custGeom>
                  <a:avLst/>
                  <a:gdLst>
                    <a:gd name="connsiteX0" fmla="*/ 0 w 77928"/>
                    <a:gd name="connsiteY0" fmla="*/ 41369 h 41369"/>
                    <a:gd name="connsiteX1" fmla="*/ 13576 w 77928"/>
                    <a:gd name="connsiteY1" fmla="*/ 17087 h 41369"/>
                    <a:gd name="connsiteX2" fmla="*/ 39174 w 77928"/>
                    <a:gd name="connsiteY2" fmla="*/ 341 h 41369"/>
                    <a:gd name="connsiteX3" fmla="*/ 77929 w 77928"/>
                    <a:gd name="connsiteY3" fmla="*/ 6920 h 41369"/>
                    <a:gd name="connsiteX4" fmla="*/ 64353 w 77928"/>
                    <a:gd name="connsiteY4" fmla="*/ 31202 h 41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28" h="41369">
                      <a:moveTo>
                        <a:pt x="0" y="41369"/>
                      </a:moveTo>
                      <a:lnTo>
                        <a:pt x="13576" y="17087"/>
                      </a:lnTo>
                      <a:cubicBezTo>
                        <a:pt x="19139" y="7100"/>
                        <a:pt x="27691" y="1478"/>
                        <a:pt x="39174" y="341"/>
                      </a:cubicBezTo>
                      <a:cubicBezTo>
                        <a:pt x="51016" y="-915"/>
                        <a:pt x="63934" y="1298"/>
                        <a:pt x="77929" y="6920"/>
                      </a:cubicBezTo>
                      <a:lnTo>
                        <a:pt x="64353" y="31202"/>
                      </a:lnTo>
                    </a:path>
                  </a:pathLst>
                </a:custGeom>
                <a:noFill/>
                <a:ln w="6350" cap="flat">
                  <a:solidFill>
                    <a:schemeClr val="bg1">
                      <a:alpha val="80000"/>
                    </a:schemeClr>
                  </a:solidFill>
                  <a:prstDash val="solid"/>
                  <a:miter/>
                </a:ln>
              </p:spPr>
              <p:txBody>
                <a:bodyPr rtlCol="0" anchor="ctr"/>
                <a:lstStyle/>
                <a:p>
                  <a:endParaRPr lang="en-GB"/>
                </a:p>
              </p:txBody>
            </p:sp>
            <p:sp>
              <p:nvSpPr>
                <p:cNvPr id="7287" name="Vrije vorm: vorm 7286">
                  <a:extLst>
                    <a:ext uri="{FF2B5EF4-FFF2-40B4-BE49-F238E27FC236}">
                      <a16:creationId xmlns:a16="http://schemas.microsoft.com/office/drawing/2014/main" id="{AA3C282D-96D6-4287-A390-0E1720457693}"/>
                    </a:ext>
                  </a:extLst>
                </p:cNvPr>
                <p:cNvSpPr/>
                <p:nvPr/>
              </p:nvSpPr>
              <p:spPr>
                <a:xfrm>
                  <a:off x="8120704" y="4376134"/>
                  <a:ext cx="36781" cy="51194"/>
                </a:xfrm>
                <a:custGeom>
                  <a:avLst/>
                  <a:gdLst>
                    <a:gd name="connsiteX0" fmla="*/ 0 w 36781"/>
                    <a:gd name="connsiteY0" fmla="*/ 24282 h 51194"/>
                    <a:gd name="connsiteX1" fmla="*/ 23205 w 36781"/>
                    <a:gd name="connsiteY1" fmla="*/ 51195 h 51194"/>
                    <a:gd name="connsiteX2" fmla="*/ 36782 w 36781"/>
                    <a:gd name="connsiteY2" fmla="*/ 26913 h 51194"/>
                    <a:gd name="connsiteX3" fmla="*/ 13576 w 36781"/>
                    <a:gd name="connsiteY3" fmla="*/ 0 h 51194"/>
                  </a:gdLst>
                  <a:ahLst/>
                  <a:cxnLst>
                    <a:cxn ang="0">
                      <a:pos x="connsiteX0" y="connsiteY0"/>
                    </a:cxn>
                    <a:cxn ang="0">
                      <a:pos x="connsiteX1" y="connsiteY1"/>
                    </a:cxn>
                    <a:cxn ang="0">
                      <a:pos x="connsiteX2" y="connsiteY2"/>
                    </a:cxn>
                    <a:cxn ang="0">
                      <a:pos x="connsiteX3" y="connsiteY3"/>
                    </a:cxn>
                  </a:cxnLst>
                  <a:rect l="l" t="t" r="r" b="b"/>
                  <a:pathLst>
                    <a:path w="36781" h="51194">
                      <a:moveTo>
                        <a:pt x="0" y="24282"/>
                      </a:moveTo>
                      <a:cubicBezTo>
                        <a:pt x="3230" y="33851"/>
                        <a:pt x="11004" y="42822"/>
                        <a:pt x="23205" y="51195"/>
                      </a:cubicBezTo>
                      <a:lnTo>
                        <a:pt x="36782" y="26913"/>
                      </a:lnTo>
                      <a:cubicBezTo>
                        <a:pt x="24581" y="18540"/>
                        <a:pt x="16806" y="9569"/>
                        <a:pt x="13576" y="0"/>
                      </a:cubicBezTo>
                    </a:path>
                  </a:pathLst>
                </a:custGeom>
                <a:noFill/>
                <a:ln w="6350" cap="flat">
                  <a:solidFill>
                    <a:schemeClr val="bg1">
                      <a:alpha val="80000"/>
                    </a:schemeClr>
                  </a:solidFill>
                  <a:prstDash val="solid"/>
                  <a:miter/>
                </a:ln>
              </p:spPr>
              <p:txBody>
                <a:bodyPr rtlCol="0" anchor="ctr"/>
                <a:lstStyle/>
                <a:p>
                  <a:endParaRPr lang="en-GB"/>
                </a:p>
              </p:txBody>
            </p:sp>
            <p:sp>
              <p:nvSpPr>
                <p:cNvPr id="7288" name="Vrije vorm: vorm 7287">
                  <a:extLst>
                    <a:ext uri="{FF2B5EF4-FFF2-40B4-BE49-F238E27FC236}">
                      <a16:creationId xmlns:a16="http://schemas.microsoft.com/office/drawing/2014/main" id="{42518A41-E3F9-4169-9B16-9A5A50D61540}"/>
                    </a:ext>
                  </a:extLst>
                </p:cNvPr>
                <p:cNvSpPr/>
                <p:nvPr/>
              </p:nvSpPr>
              <p:spPr>
                <a:xfrm>
                  <a:off x="8118755" y="4348024"/>
                  <a:ext cx="17917" cy="52391"/>
                </a:xfrm>
                <a:custGeom>
                  <a:avLst/>
                  <a:gdLst>
                    <a:gd name="connsiteX0" fmla="*/ 15525 w 17917"/>
                    <a:gd name="connsiteY0" fmla="*/ 28109 h 52391"/>
                    <a:gd name="connsiteX1" fmla="*/ 17917 w 17917"/>
                    <a:gd name="connsiteY1" fmla="*/ 0 h 52391"/>
                    <a:gd name="connsiteX2" fmla="*/ 4341 w 17917"/>
                    <a:gd name="connsiteY2" fmla="*/ 24282 h 52391"/>
                    <a:gd name="connsiteX3" fmla="*/ 1948 w 17917"/>
                    <a:gd name="connsiteY3" fmla="*/ 52391 h 52391"/>
                  </a:gdLst>
                  <a:ahLst/>
                  <a:cxnLst>
                    <a:cxn ang="0">
                      <a:pos x="connsiteX0" y="connsiteY0"/>
                    </a:cxn>
                    <a:cxn ang="0">
                      <a:pos x="connsiteX1" y="connsiteY1"/>
                    </a:cxn>
                    <a:cxn ang="0">
                      <a:pos x="connsiteX2" y="connsiteY2"/>
                    </a:cxn>
                    <a:cxn ang="0">
                      <a:pos x="connsiteX3" y="connsiteY3"/>
                    </a:cxn>
                  </a:cxnLst>
                  <a:rect l="l" t="t" r="r" b="b"/>
                  <a:pathLst>
                    <a:path w="17917" h="52391">
                      <a:moveTo>
                        <a:pt x="15525" y="28109"/>
                      </a:moveTo>
                      <a:cubicBezTo>
                        <a:pt x="12295" y="18540"/>
                        <a:pt x="13132" y="9151"/>
                        <a:pt x="17917" y="0"/>
                      </a:cubicBezTo>
                      <a:lnTo>
                        <a:pt x="4341" y="24282"/>
                      </a:lnTo>
                      <a:cubicBezTo>
                        <a:pt x="-504" y="33492"/>
                        <a:pt x="-1281" y="42822"/>
                        <a:pt x="1948" y="52391"/>
                      </a:cubicBezTo>
                    </a:path>
                  </a:pathLst>
                </a:custGeom>
                <a:noFill/>
                <a:ln w="6350" cap="flat">
                  <a:solidFill>
                    <a:schemeClr val="bg1">
                      <a:alpha val="80000"/>
                    </a:schemeClr>
                  </a:solidFill>
                  <a:prstDash val="solid"/>
                  <a:miter/>
                </a:ln>
              </p:spPr>
              <p:txBody>
                <a:bodyPr rtlCol="0" anchor="ctr"/>
                <a:lstStyle/>
                <a:p>
                  <a:endParaRPr lang="en-GB"/>
                </a:p>
              </p:txBody>
            </p:sp>
            <p:sp>
              <p:nvSpPr>
                <p:cNvPr id="7289" name="Vrije vorm: vorm 7288">
                  <a:extLst>
                    <a:ext uri="{FF2B5EF4-FFF2-40B4-BE49-F238E27FC236}">
                      <a16:creationId xmlns:a16="http://schemas.microsoft.com/office/drawing/2014/main" id="{E8CFD1C5-33D9-416E-9911-06EBFD537747}"/>
                    </a:ext>
                  </a:extLst>
                </p:cNvPr>
                <p:cNvSpPr/>
                <p:nvPr/>
              </p:nvSpPr>
              <p:spPr>
                <a:xfrm>
                  <a:off x="8123156" y="4330262"/>
                  <a:ext cx="39712" cy="41984"/>
                </a:xfrm>
                <a:custGeom>
                  <a:avLst/>
                  <a:gdLst>
                    <a:gd name="connsiteX0" fmla="*/ 0 w 39712"/>
                    <a:gd name="connsiteY0" fmla="*/ 41984 h 41984"/>
                    <a:gd name="connsiteX1" fmla="*/ 13576 w 39712"/>
                    <a:gd name="connsiteY1" fmla="*/ 17703 h 41984"/>
                    <a:gd name="connsiteX2" fmla="*/ 39712 w 39712"/>
                    <a:gd name="connsiteY2" fmla="*/ 0 h 41984"/>
                    <a:gd name="connsiteX3" fmla="*/ 26136 w 39712"/>
                    <a:gd name="connsiteY3" fmla="*/ 24282 h 41984"/>
                  </a:gdLst>
                  <a:ahLst/>
                  <a:cxnLst>
                    <a:cxn ang="0">
                      <a:pos x="connsiteX0" y="connsiteY0"/>
                    </a:cxn>
                    <a:cxn ang="0">
                      <a:pos x="connsiteX1" y="connsiteY1"/>
                    </a:cxn>
                    <a:cxn ang="0">
                      <a:pos x="connsiteX2" y="connsiteY2"/>
                    </a:cxn>
                    <a:cxn ang="0">
                      <a:pos x="connsiteX3" y="connsiteY3"/>
                    </a:cxn>
                  </a:cxnLst>
                  <a:rect l="l" t="t" r="r" b="b"/>
                  <a:pathLst>
                    <a:path w="39712" h="41984">
                      <a:moveTo>
                        <a:pt x="0" y="41984"/>
                      </a:moveTo>
                      <a:lnTo>
                        <a:pt x="13576" y="17703"/>
                      </a:lnTo>
                      <a:cubicBezTo>
                        <a:pt x="19138" y="7117"/>
                        <a:pt x="27870" y="1196"/>
                        <a:pt x="39712" y="0"/>
                      </a:cubicBezTo>
                      <a:lnTo>
                        <a:pt x="26136" y="24282"/>
                      </a:lnTo>
                    </a:path>
                  </a:pathLst>
                </a:custGeom>
                <a:noFill/>
                <a:ln w="6350" cap="flat">
                  <a:solidFill>
                    <a:schemeClr val="bg1">
                      <a:alpha val="80000"/>
                    </a:schemeClr>
                  </a:solidFill>
                  <a:prstDash val="solid"/>
                  <a:miter/>
                </a:ln>
              </p:spPr>
              <p:txBody>
                <a:bodyPr rtlCol="0" anchor="ctr"/>
                <a:lstStyle/>
                <a:p>
                  <a:endParaRPr lang="en-GB"/>
                </a:p>
              </p:txBody>
            </p:sp>
            <p:sp>
              <p:nvSpPr>
                <p:cNvPr id="7290" name="Vrije vorm: vorm 7289">
                  <a:extLst>
                    <a:ext uri="{FF2B5EF4-FFF2-40B4-BE49-F238E27FC236}">
                      <a16:creationId xmlns:a16="http://schemas.microsoft.com/office/drawing/2014/main" id="{1BBC3ADB-1186-4031-8EE3-A51FC4E870E6}"/>
                    </a:ext>
                  </a:extLst>
                </p:cNvPr>
                <p:cNvSpPr/>
                <p:nvPr/>
              </p:nvSpPr>
              <p:spPr>
                <a:xfrm>
                  <a:off x="8118832" y="4347008"/>
                  <a:ext cx="38712" cy="80261"/>
                </a:xfrm>
                <a:custGeom>
                  <a:avLst/>
                  <a:gdLst>
                    <a:gd name="connsiteX0" fmla="*/ 18438 w 38712"/>
                    <a:gd name="connsiteY0" fmla="*/ 0 h 80261"/>
                    <a:gd name="connsiteX1" fmla="*/ 17900 w 38712"/>
                    <a:gd name="connsiteY1" fmla="*/ 957 h 80261"/>
                    <a:gd name="connsiteX2" fmla="*/ 15508 w 38712"/>
                    <a:gd name="connsiteY2" fmla="*/ 29066 h 80261"/>
                    <a:gd name="connsiteX3" fmla="*/ 38713 w 38712"/>
                    <a:gd name="connsiteY3" fmla="*/ 55979 h 80261"/>
                    <a:gd name="connsiteX4" fmla="*/ 25136 w 38712"/>
                    <a:gd name="connsiteY4" fmla="*/ 80261 h 80261"/>
                    <a:gd name="connsiteX5" fmla="*/ 1931 w 38712"/>
                    <a:gd name="connsiteY5" fmla="*/ 53348 h 80261"/>
                    <a:gd name="connsiteX6" fmla="*/ 4324 w 38712"/>
                    <a:gd name="connsiteY6" fmla="*/ 25238 h 80261"/>
                    <a:gd name="connsiteX7" fmla="*/ 4862 w 38712"/>
                    <a:gd name="connsiteY7" fmla="*/ 24282 h 80261"/>
                    <a:gd name="connsiteX8" fmla="*/ 18438 w 38712"/>
                    <a:gd name="connsiteY8" fmla="*/ 0 h 80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12" h="80261">
                      <a:moveTo>
                        <a:pt x="18438" y="0"/>
                      </a:moveTo>
                      <a:cubicBezTo>
                        <a:pt x="18258" y="299"/>
                        <a:pt x="18079" y="658"/>
                        <a:pt x="17900" y="957"/>
                      </a:cubicBezTo>
                      <a:cubicBezTo>
                        <a:pt x="13055" y="10167"/>
                        <a:pt x="12278" y="19497"/>
                        <a:pt x="15508" y="29066"/>
                      </a:cubicBezTo>
                      <a:cubicBezTo>
                        <a:pt x="18737" y="38636"/>
                        <a:pt x="26512" y="47607"/>
                        <a:pt x="38713" y="55979"/>
                      </a:cubicBezTo>
                      <a:lnTo>
                        <a:pt x="25136" y="80261"/>
                      </a:lnTo>
                      <a:cubicBezTo>
                        <a:pt x="12936" y="71888"/>
                        <a:pt x="5161" y="62917"/>
                        <a:pt x="1931" y="53348"/>
                      </a:cubicBezTo>
                      <a:cubicBezTo>
                        <a:pt x="-1299" y="43779"/>
                        <a:pt x="-461" y="34389"/>
                        <a:pt x="4324" y="25238"/>
                      </a:cubicBezTo>
                      <a:cubicBezTo>
                        <a:pt x="4503" y="24940"/>
                        <a:pt x="4682" y="24581"/>
                        <a:pt x="4862" y="24282"/>
                      </a:cubicBezTo>
                      <a:cubicBezTo>
                        <a:pt x="8929" y="17045"/>
                        <a:pt x="14311" y="7296"/>
                        <a:pt x="18438" y="0"/>
                      </a:cubicBezTo>
                      <a:close/>
                    </a:path>
                  </a:pathLst>
                </a:custGeom>
                <a:noFill/>
                <a:ln w="6350" cap="flat">
                  <a:solidFill>
                    <a:schemeClr val="bg1">
                      <a:alpha val="80000"/>
                    </a:schemeClr>
                  </a:solidFill>
                  <a:prstDash val="solid"/>
                  <a:miter/>
                </a:ln>
              </p:spPr>
              <p:txBody>
                <a:bodyPr rtlCol="0" anchor="ctr"/>
                <a:lstStyle/>
                <a:p>
                  <a:endParaRPr lang="en-GB"/>
                </a:p>
              </p:txBody>
            </p:sp>
            <p:sp>
              <p:nvSpPr>
                <p:cNvPr id="7291" name="Vrije vorm: vorm 7290">
                  <a:extLst>
                    <a:ext uri="{FF2B5EF4-FFF2-40B4-BE49-F238E27FC236}">
                      <a16:creationId xmlns:a16="http://schemas.microsoft.com/office/drawing/2014/main" id="{4536D1A4-0496-4671-B58C-052A60DE79D7}"/>
                    </a:ext>
                  </a:extLst>
                </p:cNvPr>
                <p:cNvSpPr/>
                <p:nvPr/>
              </p:nvSpPr>
              <p:spPr>
                <a:xfrm>
                  <a:off x="8220522" y="4354185"/>
                  <a:ext cx="40548" cy="31458"/>
                </a:xfrm>
                <a:custGeom>
                  <a:avLst/>
                  <a:gdLst>
                    <a:gd name="connsiteX0" fmla="*/ 0 w 40548"/>
                    <a:gd name="connsiteY0" fmla="*/ 24282 h 31458"/>
                    <a:gd name="connsiteX1" fmla="*/ 13576 w 40548"/>
                    <a:gd name="connsiteY1" fmla="*/ 0 h 31458"/>
                    <a:gd name="connsiteX2" fmla="*/ 40549 w 40548"/>
                    <a:gd name="connsiteY2" fmla="*/ 31459 h 31458"/>
                  </a:gdLst>
                  <a:ahLst/>
                  <a:cxnLst>
                    <a:cxn ang="0">
                      <a:pos x="connsiteX0" y="connsiteY0"/>
                    </a:cxn>
                    <a:cxn ang="0">
                      <a:pos x="connsiteX1" y="connsiteY1"/>
                    </a:cxn>
                    <a:cxn ang="0">
                      <a:pos x="connsiteX2" y="connsiteY2"/>
                    </a:cxn>
                  </a:cxnLst>
                  <a:rect l="l" t="t" r="r" b="b"/>
                  <a:pathLst>
                    <a:path w="40548" h="31458">
                      <a:moveTo>
                        <a:pt x="0" y="24282"/>
                      </a:moveTo>
                      <a:lnTo>
                        <a:pt x="13576" y="0"/>
                      </a:lnTo>
                      <a:cubicBezTo>
                        <a:pt x="27631" y="9689"/>
                        <a:pt x="36602" y="20155"/>
                        <a:pt x="40549" y="31459"/>
                      </a:cubicBezTo>
                    </a:path>
                  </a:pathLst>
                </a:custGeom>
                <a:noFill/>
                <a:ln w="6350" cap="flat">
                  <a:solidFill>
                    <a:schemeClr val="bg1">
                      <a:alpha val="80000"/>
                    </a:schemeClr>
                  </a:solidFill>
                  <a:prstDash val="solid"/>
                  <a:miter/>
                </a:ln>
              </p:spPr>
              <p:txBody>
                <a:bodyPr rtlCol="0" anchor="ctr"/>
                <a:lstStyle/>
                <a:p>
                  <a:endParaRPr lang="en-GB"/>
                </a:p>
              </p:txBody>
            </p:sp>
            <p:sp>
              <p:nvSpPr>
                <p:cNvPr id="7292" name="Vrije vorm: vorm 7291">
                  <a:extLst>
                    <a:ext uri="{FF2B5EF4-FFF2-40B4-BE49-F238E27FC236}">
                      <a16:creationId xmlns:a16="http://schemas.microsoft.com/office/drawing/2014/main" id="{AE328CDA-A63A-451D-9DBB-85DD2B7EFC90}"/>
                    </a:ext>
                  </a:extLst>
                </p:cNvPr>
                <p:cNvSpPr/>
                <p:nvPr/>
              </p:nvSpPr>
              <p:spPr>
                <a:xfrm>
                  <a:off x="8247136" y="4385703"/>
                  <a:ext cx="16808" cy="53108"/>
                </a:xfrm>
                <a:custGeom>
                  <a:avLst/>
                  <a:gdLst>
                    <a:gd name="connsiteX0" fmla="*/ 13935 w 16808"/>
                    <a:gd name="connsiteY0" fmla="*/ 0 h 53108"/>
                    <a:gd name="connsiteX1" fmla="*/ 13576 w 16808"/>
                    <a:gd name="connsiteY1" fmla="*/ 28827 h 53108"/>
                    <a:gd name="connsiteX2" fmla="*/ 0 w 16808"/>
                    <a:gd name="connsiteY2" fmla="*/ 53109 h 53108"/>
                  </a:gdLst>
                  <a:ahLst/>
                  <a:cxnLst>
                    <a:cxn ang="0">
                      <a:pos x="connsiteX0" y="connsiteY0"/>
                    </a:cxn>
                    <a:cxn ang="0">
                      <a:pos x="connsiteX1" y="connsiteY1"/>
                    </a:cxn>
                    <a:cxn ang="0">
                      <a:pos x="connsiteX2" y="connsiteY2"/>
                    </a:cxn>
                  </a:cxnLst>
                  <a:rect l="l" t="t" r="r" b="b"/>
                  <a:pathLst>
                    <a:path w="16808" h="53108">
                      <a:moveTo>
                        <a:pt x="13935" y="0"/>
                      </a:moveTo>
                      <a:cubicBezTo>
                        <a:pt x="17882" y="11304"/>
                        <a:pt x="17763" y="20933"/>
                        <a:pt x="13576" y="28827"/>
                      </a:cubicBezTo>
                      <a:lnTo>
                        <a:pt x="0" y="53109"/>
                      </a:lnTo>
                    </a:path>
                  </a:pathLst>
                </a:custGeom>
                <a:noFill/>
                <a:ln w="6350" cap="flat">
                  <a:solidFill>
                    <a:schemeClr val="bg1">
                      <a:alpha val="80000"/>
                    </a:schemeClr>
                  </a:solidFill>
                  <a:prstDash val="solid"/>
                  <a:miter/>
                </a:ln>
              </p:spPr>
              <p:txBody>
                <a:bodyPr rtlCol="0" anchor="ctr"/>
                <a:lstStyle/>
                <a:p>
                  <a:endParaRPr lang="en-GB"/>
                </a:p>
              </p:txBody>
            </p:sp>
          </p:grpSp>
          <p:grpSp>
            <p:nvGrpSpPr>
              <p:cNvPr id="7148" name="Groep 7147">
                <a:extLst>
                  <a:ext uri="{FF2B5EF4-FFF2-40B4-BE49-F238E27FC236}">
                    <a16:creationId xmlns:a16="http://schemas.microsoft.com/office/drawing/2014/main" id="{73F78BC4-DD1A-4FA0-9A6A-0DCD6EB97CEC}"/>
                  </a:ext>
                </a:extLst>
              </p:cNvPr>
              <p:cNvGrpSpPr/>
              <p:nvPr/>
            </p:nvGrpSpPr>
            <p:grpSpPr>
              <a:xfrm>
                <a:off x="7001830" y="4321590"/>
                <a:ext cx="439224" cy="780056"/>
                <a:chOff x="7001830" y="4321590"/>
                <a:chExt cx="439224" cy="780056"/>
              </a:xfrm>
              <a:noFill/>
            </p:grpSpPr>
            <p:grpSp>
              <p:nvGrpSpPr>
                <p:cNvPr id="7221" name="Graphic 3">
                  <a:extLst>
                    <a:ext uri="{FF2B5EF4-FFF2-40B4-BE49-F238E27FC236}">
                      <a16:creationId xmlns:a16="http://schemas.microsoft.com/office/drawing/2014/main" id="{92226683-457A-40BD-A3E8-54EC018448BA}"/>
                    </a:ext>
                  </a:extLst>
                </p:cNvPr>
                <p:cNvGrpSpPr/>
                <p:nvPr/>
              </p:nvGrpSpPr>
              <p:grpSpPr>
                <a:xfrm>
                  <a:off x="7132569" y="4618353"/>
                  <a:ext cx="116420" cy="224043"/>
                  <a:chOff x="7132569" y="4618353"/>
                  <a:chExt cx="116420" cy="224043"/>
                </a:xfrm>
                <a:grpFill/>
              </p:grpSpPr>
              <p:sp>
                <p:nvSpPr>
                  <p:cNvPr id="7258" name="Vrije vorm: vorm 7257">
                    <a:extLst>
                      <a:ext uri="{FF2B5EF4-FFF2-40B4-BE49-F238E27FC236}">
                        <a16:creationId xmlns:a16="http://schemas.microsoft.com/office/drawing/2014/main" id="{AEA93440-46FA-4C39-93A0-450C30CA45AD}"/>
                      </a:ext>
                    </a:extLst>
                  </p:cNvPr>
                  <p:cNvSpPr/>
                  <p:nvPr/>
                </p:nvSpPr>
                <p:spPr>
                  <a:xfrm>
                    <a:off x="7189625" y="4703937"/>
                    <a:ext cx="53706" cy="75117"/>
                  </a:xfrm>
                  <a:custGeom>
                    <a:avLst/>
                    <a:gdLst>
                      <a:gd name="connsiteX0" fmla="*/ 53707 w 53706"/>
                      <a:gd name="connsiteY0" fmla="*/ 75118 h 75117"/>
                      <a:gd name="connsiteX1" fmla="*/ 0 w 53706"/>
                      <a:gd name="connsiteY1" fmla="*/ 0 h 75117"/>
                    </a:gdLst>
                    <a:ahLst/>
                    <a:cxnLst>
                      <a:cxn ang="0">
                        <a:pos x="connsiteX0" y="connsiteY0"/>
                      </a:cxn>
                      <a:cxn ang="0">
                        <a:pos x="connsiteX1" y="connsiteY1"/>
                      </a:cxn>
                    </a:cxnLst>
                    <a:rect l="l" t="t" r="r" b="b"/>
                    <a:pathLst>
                      <a:path w="53706" h="75117">
                        <a:moveTo>
                          <a:pt x="53707" y="75118"/>
                        </a:moveTo>
                        <a:lnTo>
                          <a:pt x="0" y="0"/>
                        </a:lnTo>
                      </a:path>
                    </a:pathLst>
                  </a:custGeom>
                  <a:grpFill/>
                  <a:ln w="6350" cap="flat">
                    <a:solidFill>
                      <a:schemeClr val="bg1">
                        <a:alpha val="80000"/>
                      </a:schemeClr>
                    </a:solidFill>
                    <a:prstDash val="solid"/>
                    <a:miter/>
                  </a:ln>
                </p:spPr>
                <p:txBody>
                  <a:bodyPr rtlCol="0" anchor="ctr"/>
                  <a:lstStyle/>
                  <a:p>
                    <a:endParaRPr lang="en-GB"/>
                  </a:p>
                </p:txBody>
              </p:sp>
              <p:grpSp>
                <p:nvGrpSpPr>
                  <p:cNvPr id="7259" name="Graphic 3">
                    <a:extLst>
                      <a:ext uri="{FF2B5EF4-FFF2-40B4-BE49-F238E27FC236}">
                        <a16:creationId xmlns:a16="http://schemas.microsoft.com/office/drawing/2014/main" id="{5628CD3E-F748-436E-A55D-775314BB6506}"/>
                      </a:ext>
                    </a:extLst>
                  </p:cNvPr>
                  <p:cNvGrpSpPr/>
                  <p:nvPr/>
                </p:nvGrpSpPr>
                <p:grpSpPr>
                  <a:xfrm>
                    <a:off x="7132569" y="4618353"/>
                    <a:ext cx="116420" cy="224043"/>
                    <a:chOff x="7132569" y="4618353"/>
                    <a:chExt cx="116420" cy="224043"/>
                  </a:xfrm>
                  <a:grpFill/>
                </p:grpSpPr>
                <p:sp>
                  <p:nvSpPr>
                    <p:cNvPr id="7260" name="Vrije vorm: vorm 7259">
                      <a:extLst>
                        <a:ext uri="{FF2B5EF4-FFF2-40B4-BE49-F238E27FC236}">
                          <a16:creationId xmlns:a16="http://schemas.microsoft.com/office/drawing/2014/main" id="{C7F67EDA-8D20-44CC-9EEB-95356EDA5A33}"/>
                        </a:ext>
                      </a:extLst>
                    </p:cNvPr>
                    <p:cNvSpPr/>
                    <p:nvPr/>
                  </p:nvSpPr>
                  <p:spPr>
                    <a:xfrm>
                      <a:off x="7161873" y="4772205"/>
                      <a:ext cx="87116" cy="70192"/>
                    </a:xfrm>
                    <a:custGeom>
                      <a:avLst/>
                      <a:gdLst>
                        <a:gd name="connsiteX0" fmla="*/ 81619 w 87116"/>
                        <a:gd name="connsiteY0" fmla="*/ 7612 h 70192"/>
                        <a:gd name="connsiteX1" fmla="*/ 49055 w 87116"/>
                        <a:gd name="connsiteY1" fmla="*/ 42708 h 70192"/>
                        <a:gd name="connsiteX2" fmla="*/ 5497 w 87116"/>
                        <a:gd name="connsiteY2" fmla="*/ 62580 h 70192"/>
                        <a:gd name="connsiteX3" fmla="*/ 38061 w 87116"/>
                        <a:gd name="connsiteY3" fmla="*/ 27484 h 70192"/>
                        <a:gd name="connsiteX4" fmla="*/ 81619 w 87116"/>
                        <a:gd name="connsiteY4" fmla="*/ 7612 h 7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16" h="70192">
                          <a:moveTo>
                            <a:pt x="81619" y="7612"/>
                          </a:moveTo>
                          <a:cubicBezTo>
                            <a:pt x="84655" y="11816"/>
                            <a:pt x="70076" y="27529"/>
                            <a:pt x="49055" y="42708"/>
                          </a:cubicBezTo>
                          <a:cubicBezTo>
                            <a:pt x="28034" y="57887"/>
                            <a:pt x="8533" y="66784"/>
                            <a:pt x="5497" y="62580"/>
                          </a:cubicBezTo>
                          <a:cubicBezTo>
                            <a:pt x="2461" y="58376"/>
                            <a:pt x="17040" y="42663"/>
                            <a:pt x="38061" y="27484"/>
                          </a:cubicBezTo>
                          <a:cubicBezTo>
                            <a:pt x="59082" y="12305"/>
                            <a:pt x="78583" y="3408"/>
                            <a:pt x="81619" y="761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61" name="Vrije vorm: vorm 7260">
                      <a:extLst>
                        <a:ext uri="{FF2B5EF4-FFF2-40B4-BE49-F238E27FC236}">
                          <a16:creationId xmlns:a16="http://schemas.microsoft.com/office/drawing/2014/main" id="{8F7A28AC-E584-43F5-A787-6BC4D19DF86D}"/>
                        </a:ext>
                      </a:extLst>
                    </p:cNvPr>
                    <p:cNvSpPr/>
                    <p:nvPr/>
                  </p:nvSpPr>
                  <p:spPr>
                    <a:xfrm>
                      <a:off x="7166001" y="4752487"/>
                      <a:ext cx="58371" cy="32907"/>
                    </a:xfrm>
                    <a:custGeom>
                      <a:avLst/>
                      <a:gdLst>
                        <a:gd name="connsiteX0" fmla="*/ 0 w 58371"/>
                        <a:gd name="connsiteY0" fmla="*/ 32908 h 32907"/>
                        <a:gd name="connsiteX1" fmla="*/ 58372 w 58371"/>
                        <a:gd name="connsiteY1" fmla="*/ 1150 h 32907"/>
                      </a:gdLst>
                      <a:ahLst/>
                      <a:cxnLst>
                        <a:cxn ang="0">
                          <a:pos x="connsiteX0" y="connsiteY0"/>
                        </a:cxn>
                        <a:cxn ang="0">
                          <a:pos x="connsiteX1" y="connsiteY1"/>
                        </a:cxn>
                      </a:cxnLst>
                      <a:rect l="l" t="t" r="r" b="b"/>
                      <a:pathLst>
                        <a:path w="58371" h="32907">
                          <a:moveTo>
                            <a:pt x="0" y="32908"/>
                          </a:moveTo>
                          <a:cubicBezTo>
                            <a:pt x="9629" y="24774"/>
                            <a:pt x="44198" y="-6326"/>
                            <a:pt x="58372" y="1150"/>
                          </a:cubicBezTo>
                        </a:path>
                      </a:pathLst>
                    </a:custGeom>
                    <a:grpFill/>
                    <a:ln w="6350" cap="flat">
                      <a:solidFill>
                        <a:schemeClr val="bg1">
                          <a:alpha val="80000"/>
                        </a:schemeClr>
                      </a:solidFill>
                      <a:prstDash val="solid"/>
                      <a:miter/>
                    </a:ln>
                  </p:spPr>
                  <p:txBody>
                    <a:bodyPr rtlCol="0" anchor="ctr"/>
                    <a:lstStyle/>
                    <a:p>
                      <a:endParaRPr lang="en-GB"/>
                    </a:p>
                  </p:txBody>
                </p:sp>
                <p:sp>
                  <p:nvSpPr>
                    <p:cNvPr id="7262" name="Vrije vorm: vorm 7261">
                      <a:extLst>
                        <a:ext uri="{FF2B5EF4-FFF2-40B4-BE49-F238E27FC236}">
                          <a16:creationId xmlns:a16="http://schemas.microsoft.com/office/drawing/2014/main" id="{A8FA5A23-2A8D-4089-8CCF-08BD9D6713A6}"/>
                        </a:ext>
                      </a:extLst>
                    </p:cNvPr>
                    <p:cNvSpPr/>
                    <p:nvPr/>
                  </p:nvSpPr>
                  <p:spPr>
                    <a:xfrm>
                      <a:off x="7148956" y="4728439"/>
                      <a:ext cx="58072" cy="32794"/>
                    </a:xfrm>
                    <a:custGeom>
                      <a:avLst/>
                      <a:gdLst>
                        <a:gd name="connsiteX0" fmla="*/ 0 w 58072"/>
                        <a:gd name="connsiteY0" fmla="*/ 32794 h 32794"/>
                        <a:gd name="connsiteX1" fmla="*/ 58073 w 58072"/>
                        <a:gd name="connsiteY1" fmla="*/ 1156 h 32794"/>
                      </a:gdLst>
                      <a:ahLst/>
                      <a:cxnLst>
                        <a:cxn ang="0">
                          <a:pos x="connsiteX0" y="connsiteY0"/>
                        </a:cxn>
                        <a:cxn ang="0">
                          <a:pos x="connsiteX1" y="connsiteY1"/>
                        </a:cxn>
                      </a:cxnLst>
                      <a:rect l="l" t="t" r="r" b="b"/>
                      <a:pathLst>
                        <a:path w="58072" h="32794">
                          <a:moveTo>
                            <a:pt x="0" y="32794"/>
                          </a:moveTo>
                          <a:cubicBezTo>
                            <a:pt x="9749" y="24601"/>
                            <a:pt x="43779" y="-6320"/>
                            <a:pt x="58073" y="1156"/>
                          </a:cubicBezTo>
                        </a:path>
                      </a:pathLst>
                    </a:custGeom>
                    <a:grpFill/>
                    <a:ln w="6350" cap="flat">
                      <a:solidFill>
                        <a:schemeClr val="bg1">
                          <a:alpha val="80000"/>
                        </a:schemeClr>
                      </a:solidFill>
                      <a:prstDash val="solid"/>
                      <a:miter/>
                    </a:ln>
                  </p:spPr>
                  <p:txBody>
                    <a:bodyPr rtlCol="0" anchor="ctr"/>
                    <a:lstStyle/>
                    <a:p>
                      <a:endParaRPr lang="en-GB"/>
                    </a:p>
                  </p:txBody>
                </p:sp>
                <p:sp>
                  <p:nvSpPr>
                    <p:cNvPr id="7263" name="Vrije vorm: vorm 7262">
                      <a:extLst>
                        <a:ext uri="{FF2B5EF4-FFF2-40B4-BE49-F238E27FC236}">
                          <a16:creationId xmlns:a16="http://schemas.microsoft.com/office/drawing/2014/main" id="{32A6E484-4333-40FC-93A2-7042061EB1F0}"/>
                        </a:ext>
                      </a:extLst>
                    </p:cNvPr>
                    <p:cNvSpPr/>
                    <p:nvPr/>
                  </p:nvSpPr>
                  <p:spPr>
                    <a:xfrm>
                      <a:off x="7132569" y="4618353"/>
                      <a:ext cx="87916" cy="119016"/>
                    </a:xfrm>
                    <a:custGeom>
                      <a:avLst/>
                      <a:gdLst>
                        <a:gd name="connsiteX0" fmla="*/ 0 w 87916"/>
                        <a:gd name="connsiteY0" fmla="*/ 119017 h 119016"/>
                        <a:gd name="connsiteX1" fmla="*/ 58372 w 87916"/>
                        <a:gd name="connsiteY1" fmla="*/ 87438 h 119016"/>
                        <a:gd name="connsiteX2" fmla="*/ 87916 w 87916"/>
                        <a:gd name="connsiteY2" fmla="*/ 0 h 119016"/>
                      </a:gdLst>
                      <a:ahLst/>
                      <a:cxnLst>
                        <a:cxn ang="0">
                          <a:pos x="connsiteX0" y="connsiteY0"/>
                        </a:cxn>
                        <a:cxn ang="0">
                          <a:pos x="connsiteX1" y="connsiteY1"/>
                        </a:cxn>
                        <a:cxn ang="0">
                          <a:pos x="connsiteX2" y="connsiteY2"/>
                        </a:cxn>
                      </a:cxnLst>
                      <a:rect l="l" t="t" r="r" b="b"/>
                      <a:pathLst>
                        <a:path w="87916" h="119016">
                          <a:moveTo>
                            <a:pt x="0" y="119017"/>
                          </a:moveTo>
                          <a:cubicBezTo>
                            <a:pt x="9629" y="110703"/>
                            <a:pt x="43838" y="79723"/>
                            <a:pt x="58372" y="87438"/>
                          </a:cubicBezTo>
                          <a:cubicBezTo>
                            <a:pt x="68240" y="58312"/>
                            <a:pt x="78048" y="29126"/>
                            <a:pt x="87916" y="0"/>
                          </a:cubicBezTo>
                        </a:path>
                      </a:pathLst>
                    </a:custGeom>
                    <a:grpFill/>
                    <a:ln w="6350" cap="flat">
                      <a:solidFill>
                        <a:schemeClr val="bg1">
                          <a:alpha val="80000"/>
                        </a:schemeClr>
                      </a:solidFill>
                      <a:prstDash val="solid"/>
                      <a:miter/>
                    </a:ln>
                  </p:spPr>
                  <p:txBody>
                    <a:bodyPr rtlCol="0" anchor="ctr"/>
                    <a:lstStyle/>
                    <a:p>
                      <a:endParaRPr lang="en-GB"/>
                    </a:p>
                  </p:txBody>
                </p:sp>
                <p:sp>
                  <p:nvSpPr>
                    <p:cNvPr id="7264" name="Vrije vorm: vorm 7263">
                      <a:extLst>
                        <a:ext uri="{FF2B5EF4-FFF2-40B4-BE49-F238E27FC236}">
                          <a16:creationId xmlns:a16="http://schemas.microsoft.com/office/drawing/2014/main" id="{CF6DA650-F914-425D-AF1E-33FA39D91CA8}"/>
                        </a:ext>
                      </a:extLst>
                    </p:cNvPr>
                    <p:cNvSpPr/>
                    <p:nvPr/>
                  </p:nvSpPr>
                  <p:spPr>
                    <a:xfrm>
                      <a:off x="7159243" y="4822774"/>
                      <a:ext cx="9450" cy="13217"/>
                    </a:xfrm>
                    <a:custGeom>
                      <a:avLst/>
                      <a:gdLst>
                        <a:gd name="connsiteX0" fmla="*/ 9450 w 9450"/>
                        <a:gd name="connsiteY0" fmla="*/ 13218 h 13217"/>
                        <a:gd name="connsiteX1" fmla="*/ 0 w 9450"/>
                        <a:gd name="connsiteY1" fmla="*/ 0 h 13217"/>
                      </a:gdLst>
                      <a:ahLst/>
                      <a:cxnLst>
                        <a:cxn ang="0">
                          <a:pos x="connsiteX0" y="connsiteY0"/>
                        </a:cxn>
                        <a:cxn ang="0">
                          <a:pos x="connsiteX1" y="connsiteY1"/>
                        </a:cxn>
                      </a:cxnLst>
                      <a:rect l="l" t="t" r="r" b="b"/>
                      <a:pathLst>
                        <a:path w="9450" h="13217">
                          <a:moveTo>
                            <a:pt x="9450" y="13218"/>
                          </a:moveTo>
                          <a:cubicBezTo>
                            <a:pt x="6280" y="8792"/>
                            <a:pt x="3170" y="4426"/>
                            <a:pt x="0" y="0"/>
                          </a:cubicBezTo>
                        </a:path>
                      </a:pathLst>
                    </a:custGeom>
                    <a:grpFill/>
                    <a:ln w="6350" cap="flat">
                      <a:solidFill>
                        <a:schemeClr val="bg1">
                          <a:alpha val="80000"/>
                        </a:schemeClr>
                      </a:solidFill>
                      <a:prstDash val="solid"/>
                      <a:miter/>
                    </a:ln>
                  </p:spPr>
                  <p:txBody>
                    <a:bodyPr rtlCol="0" anchor="ctr"/>
                    <a:lstStyle/>
                    <a:p>
                      <a:endParaRPr lang="en-GB"/>
                    </a:p>
                  </p:txBody>
                </p:sp>
              </p:grpSp>
            </p:grpSp>
            <p:grpSp>
              <p:nvGrpSpPr>
                <p:cNvPr id="7222" name="Graphic 3">
                  <a:extLst>
                    <a:ext uri="{FF2B5EF4-FFF2-40B4-BE49-F238E27FC236}">
                      <a16:creationId xmlns:a16="http://schemas.microsoft.com/office/drawing/2014/main" id="{BDA6A962-9B99-435B-A04B-AD45062A4368}"/>
                    </a:ext>
                  </a:extLst>
                </p:cNvPr>
                <p:cNvGrpSpPr/>
                <p:nvPr/>
              </p:nvGrpSpPr>
              <p:grpSpPr>
                <a:xfrm>
                  <a:off x="7028583" y="4713028"/>
                  <a:ext cx="152689" cy="157066"/>
                  <a:chOff x="7028583" y="4713028"/>
                  <a:chExt cx="152689" cy="157066"/>
                </a:xfrm>
                <a:grpFill/>
              </p:grpSpPr>
              <p:sp>
                <p:nvSpPr>
                  <p:cNvPr id="7251" name="Vrije vorm: vorm 7250">
                    <a:extLst>
                      <a:ext uri="{FF2B5EF4-FFF2-40B4-BE49-F238E27FC236}">
                        <a16:creationId xmlns:a16="http://schemas.microsoft.com/office/drawing/2014/main" id="{4812E0F2-CFC6-49E1-BEC0-DB0FB1ABFF00}"/>
                      </a:ext>
                    </a:extLst>
                  </p:cNvPr>
                  <p:cNvSpPr/>
                  <p:nvPr/>
                </p:nvSpPr>
                <p:spPr>
                  <a:xfrm>
                    <a:off x="7113909" y="4713028"/>
                    <a:ext cx="60883" cy="85225"/>
                  </a:xfrm>
                  <a:custGeom>
                    <a:avLst/>
                    <a:gdLst>
                      <a:gd name="connsiteX0" fmla="*/ 60883 w 60883"/>
                      <a:gd name="connsiteY0" fmla="*/ 85225 h 85225"/>
                      <a:gd name="connsiteX1" fmla="*/ 0 w 60883"/>
                      <a:gd name="connsiteY1" fmla="*/ 0 h 85225"/>
                    </a:gdLst>
                    <a:ahLst/>
                    <a:cxnLst>
                      <a:cxn ang="0">
                        <a:pos x="connsiteX0" y="connsiteY0"/>
                      </a:cxn>
                      <a:cxn ang="0">
                        <a:pos x="connsiteX1" y="connsiteY1"/>
                      </a:cxn>
                    </a:cxnLst>
                    <a:rect l="l" t="t" r="r" b="b"/>
                    <a:pathLst>
                      <a:path w="60883" h="85225">
                        <a:moveTo>
                          <a:pt x="60883" y="85225"/>
                        </a:moveTo>
                        <a:lnTo>
                          <a:pt x="0" y="0"/>
                        </a:lnTo>
                      </a:path>
                    </a:pathLst>
                  </a:custGeom>
                  <a:grpFill/>
                  <a:ln w="6350" cap="flat">
                    <a:solidFill>
                      <a:schemeClr val="bg1">
                        <a:alpha val="80000"/>
                      </a:schemeClr>
                    </a:solidFill>
                    <a:prstDash val="solid"/>
                    <a:miter/>
                  </a:ln>
                </p:spPr>
                <p:txBody>
                  <a:bodyPr rtlCol="0" anchor="ctr"/>
                  <a:lstStyle/>
                  <a:p>
                    <a:endParaRPr lang="en-GB"/>
                  </a:p>
                </p:txBody>
              </p:sp>
              <p:grpSp>
                <p:nvGrpSpPr>
                  <p:cNvPr id="7252" name="Graphic 3">
                    <a:extLst>
                      <a:ext uri="{FF2B5EF4-FFF2-40B4-BE49-F238E27FC236}">
                        <a16:creationId xmlns:a16="http://schemas.microsoft.com/office/drawing/2014/main" id="{B6994FB6-7DF2-4F71-B92C-0918D92F562E}"/>
                      </a:ext>
                    </a:extLst>
                  </p:cNvPr>
                  <p:cNvGrpSpPr/>
                  <p:nvPr/>
                </p:nvGrpSpPr>
                <p:grpSpPr>
                  <a:xfrm>
                    <a:off x="7028583" y="4713998"/>
                    <a:ext cx="152689" cy="156096"/>
                    <a:chOff x="7028583" y="4713998"/>
                    <a:chExt cx="152689" cy="156096"/>
                  </a:xfrm>
                  <a:grpFill/>
                </p:grpSpPr>
                <p:sp>
                  <p:nvSpPr>
                    <p:cNvPr id="7253" name="Vrije vorm: vorm 7252">
                      <a:extLst>
                        <a:ext uri="{FF2B5EF4-FFF2-40B4-BE49-F238E27FC236}">
                          <a16:creationId xmlns:a16="http://schemas.microsoft.com/office/drawing/2014/main" id="{0349BB28-FD0D-4ACE-8613-EABC6AFBCA34}"/>
                        </a:ext>
                      </a:extLst>
                    </p:cNvPr>
                    <p:cNvSpPr/>
                    <p:nvPr/>
                  </p:nvSpPr>
                  <p:spPr>
                    <a:xfrm>
                      <a:off x="7082504" y="4790514"/>
                      <a:ext cx="98768" cy="79580"/>
                    </a:xfrm>
                    <a:custGeom>
                      <a:avLst/>
                      <a:gdLst>
                        <a:gd name="connsiteX0" fmla="*/ 92536 w 98768"/>
                        <a:gd name="connsiteY0" fmla="*/ 8630 h 79580"/>
                        <a:gd name="connsiteX1" fmla="*/ 55616 w 98768"/>
                        <a:gd name="connsiteY1" fmla="*/ 48421 h 79580"/>
                        <a:gd name="connsiteX2" fmla="*/ 6232 w 98768"/>
                        <a:gd name="connsiteY2" fmla="*/ 70950 h 79580"/>
                        <a:gd name="connsiteX3" fmla="*/ 43152 w 98768"/>
                        <a:gd name="connsiteY3" fmla="*/ 31160 h 79580"/>
                        <a:gd name="connsiteX4" fmla="*/ 92536 w 98768"/>
                        <a:gd name="connsiteY4" fmla="*/ 8630 h 79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68" h="79580">
                          <a:moveTo>
                            <a:pt x="92536" y="8630"/>
                          </a:moveTo>
                          <a:cubicBezTo>
                            <a:pt x="95978" y="13397"/>
                            <a:pt x="79449" y="31212"/>
                            <a:pt x="55616" y="48421"/>
                          </a:cubicBezTo>
                          <a:cubicBezTo>
                            <a:pt x="31784" y="65630"/>
                            <a:pt x="9673" y="75717"/>
                            <a:pt x="6232" y="70950"/>
                          </a:cubicBezTo>
                          <a:cubicBezTo>
                            <a:pt x="2790" y="66184"/>
                            <a:pt x="19319" y="48369"/>
                            <a:pt x="43152" y="31160"/>
                          </a:cubicBezTo>
                          <a:cubicBezTo>
                            <a:pt x="66984" y="13951"/>
                            <a:pt x="89094" y="3864"/>
                            <a:pt x="92536" y="863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54" name="Vrije vorm: vorm 7253">
                      <a:extLst>
                        <a:ext uri="{FF2B5EF4-FFF2-40B4-BE49-F238E27FC236}">
                          <a16:creationId xmlns:a16="http://schemas.microsoft.com/office/drawing/2014/main" id="{973152C5-AC11-43B7-B133-47AE87FA00D9}"/>
                        </a:ext>
                      </a:extLst>
                    </p:cNvPr>
                    <p:cNvSpPr/>
                    <p:nvPr/>
                  </p:nvSpPr>
                  <p:spPr>
                    <a:xfrm>
                      <a:off x="7067394" y="4768224"/>
                      <a:ext cx="85868" cy="62863"/>
                    </a:xfrm>
                    <a:custGeom>
                      <a:avLst/>
                      <a:gdLst>
                        <a:gd name="connsiteX0" fmla="*/ 463 w 85868"/>
                        <a:gd name="connsiteY0" fmla="*/ 62863 h 62863"/>
                        <a:gd name="connsiteX1" fmla="*/ 36946 w 85868"/>
                        <a:gd name="connsiteY1" fmla="*/ 23390 h 62863"/>
                        <a:gd name="connsiteX2" fmla="*/ 85868 w 85868"/>
                        <a:gd name="connsiteY2" fmla="*/ 1202 h 62863"/>
                      </a:gdLst>
                      <a:ahLst/>
                      <a:cxnLst>
                        <a:cxn ang="0">
                          <a:pos x="connsiteX0" y="connsiteY0"/>
                        </a:cxn>
                        <a:cxn ang="0">
                          <a:pos x="connsiteX1" y="connsiteY1"/>
                        </a:cxn>
                        <a:cxn ang="0">
                          <a:pos x="connsiteX2" y="connsiteY2"/>
                        </a:cxn>
                      </a:cxnLst>
                      <a:rect l="l" t="t" r="r" b="b"/>
                      <a:pathLst>
                        <a:path w="85868" h="62863">
                          <a:moveTo>
                            <a:pt x="463" y="62863"/>
                          </a:moveTo>
                          <a:cubicBezTo>
                            <a:pt x="-3005" y="58079"/>
                            <a:pt x="13382" y="40435"/>
                            <a:pt x="36946" y="23390"/>
                          </a:cubicBezTo>
                          <a:cubicBezTo>
                            <a:pt x="60510" y="6345"/>
                            <a:pt x="82459" y="-3583"/>
                            <a:pt x="85868" y="1202"/>
                          </a:cubicBezTo>
                        </a:path>
                      </a:pathLst>
                    </a:custGeom>
                    <a:grpFill/>
                    <a:ln w="6350" cap="flat">
                      <a:solidFill>
                        <a:schemeClr val="bg1">
                          <a:alpha val="80000"/>
                        </a:schemeClr>
                      </a:solidFill>
                      <a:prstDash val="solid"/>
                      <a:miter/>
                    </a:ln>
                  </p:spPr>
                  <p:txBody>
                    <a:bodyPr rtlCol="0" anchor="ctr"/>
                    <a:lstStyle/>
                    <a:p>
                      <a:endParaRPr lang="en-GB"/>
                    </a:p>
                  </p:txBody>
                </p:sp>
                <p:sp>
                  <p:nvSpPr>
                    <p:cNvPr id="7255" name="Vrije vorm: vorm 7254">
                      <a:extLst>
                        <a:ext uri="{FF2B5EF4-FFF2-40B4-BE49-F238E27FC236}">
                          <a16:creationId xmlns:a16="http://schemas.microsoft.com/office/drawing/2014/main" id="{9FCE5458-A99B-4838-AF24-360232ECFF4C}"/>
                        </a:ext>
                      </a:extLst>
                    </p:cNvPr>
                    <p:cNvSpPr/>
                    <p:nvPr/>
                  </p:nvSpPr>
                  <p:spPr>
                    <a:xfrm>
                      <a:off x="7047003" y="4740987"/>
                      <a:ext cx="86583" cy="63366"/>
                    </a:xfrm>
                    <a:custGeom>
                      <a:avLst/>
                      <a:gdLst>
                        <a:gd name="connsiteX0" fmla="*/ 461 w 86583"/>
                        <a:gd name="connsiteY0" fmla="*/ 63366 h 63366"/>
                        <a:gd name="connsiteX1" fmla="*/ 37301 w 86583"/>
                        <a:gd name="connsiteY1" fmla="*/ 23654 h 63366"/>
                        <a:gd name="connsiteX2" fmla="*/ 86583 w 86583"/>
                        <a:gd name="connsiteY2" fmla="*/ 1167 h 63366"/>
                      </a:gdLst>
                      <a:ahLst/>
                      <a:cxnLst>
                        <a:cxn ang="0">
                          <a:pos x="connsiteX0" y="connsiteY0"/>
                        </a:cxn>
                        <a:cxn ang="0">
                          <a:pos x="connsiteX1" y="connsiteY1"/>
                        </a:cxn>
                        <a:cxn ang="0">
                          <a:pos x="connsiteX2" y="connsiteY2"/>
                        </a:cxn>
                      </a:cxnLst>
                      <a:rect l="l" t="t" r="r" b="b"/>
                      <a:pathLst>
                        <a:path w="86583" h="63366">
                          <a:moveTo>
                            <a:pt x="461" y="63366"/>
                          </a:moveTo>
                          <a:cubicBezTo>
                            <a:pt x="-3009" y="58582"/>
                            <a:pt x="13498" y="40819"/>
                            <a:pt x="37301" y="23654"/>
                          </a:cubicBezTo>
                          <a:cubicBezTo>
                            <a:pt x="61105" y="6490"/>
                            <a:pt x="83174" y="-3558"/>
                            <a:pt x="86583" y="1167"/>
                          </a:cubicBezTo>
                        </a:path>
                      </a:pathLst>
                    </a:custGeom>
                    <a:grpFill/>
                    <a:ln w="6350" cap="flat">
                      <a:solidFill>
                        <a:schemeClr val="bg1">
                          <a:alpha val="80000"/>
                        </a:schemeClr>
                      </a:solidFill>
                      <a:prstDash val="solid"/>
                      <a:miter/>
                    </a:ln>
                  </p:spPr>
                  <p:txBody>
                    <a:bodyPr rtlCol="0" anchor="ctr"/>
                    <a:lstStyle/>
                    <a:p>
                      <a:endParaRPr lang="en-GB"/>
                    </a:p>
                  </p:txBody>
                </p:sp>
                <p:sp>
                  <p:nvSpPr>
                    <p:cNvPr id="7256" name="Vrije vorm: vorm 7255">
                      <a:extLst>
                        <a:ext uri="{FF2B5EF4-FFF2-40B4-BE49-F238E27FC236}">
                          <a16:creationId xmlns:a16="http://schemas.microsoft.com/office/drawing/2014/main" id="{7ADC1054-2D8C-46FC-B049-4B9325369124}"/>
                        </a:ext>
                      </a:extLst>
                    </p:cNvPr>
                    <p:cNvSpPr/>
                    <p:nvPr/>
                  </p:nvSpPr>
                  <p:spPr>
                    <a:xfrm>
                      <a:off x="7028583" y="4713998"/>
                      <a:ext cx="86761" cy="63502"/>
                    </a:xfrm>
                    <a:custGeom>
                      <a:avLst/>
                      <a:gdLst>
                        <a:gd name="connsiteX0" fmla="*/ 459 w 86761"/>
                        <a:gd name="connsiteY0" fmla="*/ 63502 h 63502"/>
                        <a:gd name="connsiteX1" fmla="*/ 37360 w 86761"/>
                        <a:gd name="connsiteY1" fmla="*/ 23731 h 63502"/>
                        <a:gd name="connsiteX2" fmla="*/ 86761 w 86761"/>
                        <a:gd name="connsiteY2" fmla="*/ 1183 h 63502"/>
                      </a:gdLst>
                      <a:ahLst/>
                      <a:cxnLst>
                        <a:cxn ang="0">
                          <a:pos x="connsiteX0" y="connsiteY0"/>
                        </a:cxn>
                        <a:cxn ang="0">
                          <a:pos x="connsiteX1" y="connsiteY1"/>
                        </a:cxn>
                        <a:cxn ang="0">
                          <a:pos x="connsiteX2" y="connsiteY2"/>
                        </a:cxn>
                      </a:cxnLst>
                      <a:rect l="l" t="t" r="r" b="b"/>
                      <a:pathLst>
                        <a:path w="86761" h="63502">
                          <a:moveTo>
                            <a:pt x="459" y="63502"/>
                          </a:moveTo>
                          <a:cubicBezTo>
                            <a:pt x="-3010" y="58718"/>
                            <a:pt x="13557" y="40895"/>
                            <a:pt x="37360" y="23731"/>
                          </a:cubicBezTo>
                          <a:cubicBezTo>
                            <a:pt x="61164" y="6566"/>
                            <a:pt x="83293" y="-3601"/>
                            <a:pt x="86761" y="1183"/>
                          </a:cubicBezTo>
                        </a:path>
                      </a:pathLst>
                    </a:custGeom>
                    <a:grpFill/>
                    <a:ln w="6350" cap="flat">
                      <a:solidFill>
                        <a:schemeClr val="bg1">
                          <a:alpha val="80000"/>
                        </a:schemeClr>
                      </a:solidFill>
                      <a:prstDash val="solid"/>
                      <a:miter/>
                    </a:ln>
                  </p:spPr>
                  <p:txBody>
                    <a:bodyPr rtlCol="0" anchor="ctr"/>
                    <a:lstStyle/>
                    <a:p>
                      <a:endParaRPr lang="en-GB"/>
                    </a:p>
                  </p:txBody>
                </p:sp>
                <p:sp>
                  <p:nvSpPr>
                    <p:cNvPr id="7257" name="Vrije vorm: vorm 7256">
                      <a:extLst>
                        <a:ext uri="{FF2B5EF4-FFF2-40B4-BE49-F238E27FC236}">
                          <a16:creationId xmlns:a16="http://schemas.microsoft.com/office/drawing/2014/main" id="{EAA1F6B6-EEA7-4A38-B044-5447AD81BF73}"/>
                        </a:ext>
                      </a:extLst>
                    </p:cNvPr>
                    <p:cNvSpPr/>
                    <p:nvPr/>
                  </p:nvSpPr>
                  <p:spPr>
                    <a:xfrm>
                      <a:off x="7028743" y="4776902"/>
                      <a:ext cx="61362" cy="85942"/>
                    </a:xfrm>
                    <a:custGeom>
                      <a:avLst/>
                      <a:gdLst>
                        <a:gd name="connsiteX0" fmla="*/ 61362 w 61362"/>
                        <a:gd name="connsiteY0" fmla="*/ 85943 h 85942"/>
                        <a:gd name="connsiteX1" fmla="*/ 0 w 61362"/>
                        <a:gd name="connsiteY1" fmla="*/ 0 h 85942"/>
                      </a:gdLst>
                      <a:ahLst/>
                      <a:cxnLst>
                        <a:cxn ang="0">
                          <a:pos x="connsiteX0" y="connsiteY0"/>
                        </a:cxn>
                        <a:cxn ang="0">
                          <a:pos x="connsiteX1" y="connsiteY1"/>
                        </a:cxn>
                      </a:cxnLst>
                      <a:rect l="l" t="t" r="r" b="b"/>
                      <a:pathLst>
                        <a:path w="61362" h="85942">
                          <a:moveTo>
                            <a:pt x="61362" y="85943"/>
                          </a:moveTo>
                          <a:lnTo>
                            <a:pt x="0" y="0"/>
                          </a:lnTo>
                        </a:path>
                      </a:pathLst>
                    </a:custGeom>
                    <a:grpFill/>
                    <a:ln w="6350" cap="flat">
                      <a:solidFill>
                        <a:schemeClr val="bg1">
                          <a:alpha val="80000"/>
                        </a:schemeClr>
                      </a:solidFill>
                      <a:prstDash val="solid"/>
                      <a:miter/>
                    </a:ln>
                  </p:spPr>
                  <p:txBody>
                    <a:bodyPr rtlCol="0" anchor="ctr"/>
                    <a:lstStyle/>
                    <a:p>
                      <a:endParaRPr lang="en-GB"/>
                    </a:p>
                  </p:txBody>
                </p:sp>
              </p:grpSp>
            </p:grpSp>
            <p:grpSp>
              <p:nvGrpSpPr>
                <p:cNvPr id="7223" name="Graphic 3">
                  <a:extLst>
                    <a:ext uri="{FF2B5EF4-FFF2-40B4-BE49-F238E27FC236}">
                      <a16:creationId xmlns:a16="http://schemas.microsoft.com/office/drawing/2014/main" id="{05B0669D-7AD6-4B51-B337-2E6ADBED15E4}"/>
                    </a:ext>
                  </a:extLst>
                </p:cNvPr>
                <p:cNvGrpSpPr/>
                <p:nvPr/>
              </p:nvGrpSpPr>
              <p:grpSpPr>
                <a:xfrm>
                  <a:off x="7001830" y="4802978"/>
                  <a:ext cx="134437" cy="124462"/>
                  <a:chOff x="7001830" y="4802978"/>
                  <a:chExt cx="134437" cy="124462"/>
                </a:xfrm>
                <a:grpFill/>
              </p:grpSpPr>
              <p:sp>
                <p:nvSpPr>
                  <p:cNvPr id="7244" name="Vrije vorm: vorm 7243">
                    <a:extLst>
                      <a:ext uri="{FF2B5EF4-FFF2-40B4-BE49-F238E27FC236}">
                        <a16:creationId xmlns:a16="http://schemas.microsoft.com/office/drawing/2014/main" id="{D61DEFF6-EBF8-47E4-9337-EFD1D04886E5}"/>
                      </a:ext>
                    </a:extLst>
                  </p:cNvPr>
                  <p:cNvSpPr/>
                  <p:nvPr/>
                </p:nvSpPr>
                <p:spPr>
                  <a:xfrm>
                    <a:off x="7121743" y="4851601"/>
                    <a:ext cx="8852" cy="12440"/>
                  </a:xfrm>
                  <a:custGeom>
                    <a:avLst/>
                    <a:gdLst>
                      <a:gd name="connsiteX0" fmla="*/ 8852 w 8852"/>
                      <a:gd name="connsiteY0" fmla="*/ 12440 h 12440"/>
                      <a:gd name="connsiteX1" fmla="*/ 0 w 8852"/>
                      <a:gd name="connsiteY1" fmla="*/ 0 h 12440"/>
                    </a:gdLst>
                    <a:ahLst/>
                    <a:cxnLst>
                      <a:cxn ang="0">
                        <a:pos x="connsiteX0" y="connsiteY0"/>
                      </a:cxn>
                      <a:cxn ang="0">
                        <a:pos x="connsiteX1" y="connsiteY1"/>
                      </a:cxn>
                    </a:cxnLst>
                    <a:rect l="l" t="t" r="r" b="b"/>
                    <a:pathLst>
                      <a:path w="8852" h="12440">
                        <a:moveTo>
                          <a:pt x="8852" y="12440"/>
                        </a:moveTo>
                        <a:cubicBezTo>
                          <a:pt x="5921" y="8313"/>
                          <a:pt x="2930" y="4127"/>
                          <a:pt x="0" y="0"/>
                        </a:cubicBezTo>
                      </a:path>
                    </a:pathLst>
                  </a:custGeom>
                  <a:grpFill/>
                  <a:ln w="6350" cap="flat">
                    <a:solidFill>
                      <a:schemeClr val="bg1">
                        <a:alpha val="80000"/>
                      </a:schemeClr>
                    </a:solidFill>
                    <a:prstDash val="solid"/>
                    <a:miter/>
                  </a:ln>
                </p:spPr>
                <p:txBody>
                  <a:bodyPr rtlCol="0" anchor="ctr"/>
                  <a:lstStyle/>
                  <a:p>
                    <a:endParaRPr lang="en-GB"/>
                  </a:p>
                </p:txBody>
              </p:sp>
              <p:grpSp>
                <p:nvGrpSpPr>
                  <p:cNvPr id="7245" name="Graphic 3">
                    <a:extLst>
                      <a:ext uri="{FF2B5EF4-FFF2-40B4-BE49-F238E27FC236}">
                        <a16:creationId xmlns:a16="http://schemas.microsoft.com/office/drawing/2014/main" id="{641A4DD8-BCF8-4A80-8CC5-5814AA0FC8B0}"/>
                      </a:ext>
                    </a:extLst>
                  </p:cNvPr>
                  <p:cNvGrpSpPr/>
                  <p:nvPr/>
                </p:nvGrpSpPr>
                <p:grpSpPr>
                  <a:xfrm>
                    <a:off x="7001830" y="4802978"/>
                    <a:ext cx="134437" cy="124462"/>
                    <a:chOff x="7001830" y="4802978"/>
                    <a:chExt cx="134437" cy="124462"/>
                  </a:xfrm>
                  <a:grpFill/>
                </p:grpSpPr>
                <p:sp>
                  <p:nvSpPr>
                    <p:cNvPr id="7246" name="Vrije vorm: vorm 7245">
                      <a:extLst>
                        <a:ext uri="{FF2B5EF4-FFF2-40B4-BE49-F238E27FC236}">
                          <a16:creationId xmlns:a16="http://schemas.microsoft.com/office/drawing/2014/main" id="{399B0FC2-FCCB-435F-AAC3-5A42F53398B5}"/>
                        </a:ext>
                      </a:extLst>
                    </p:cNvPr>
                    <p:cNvSpPr/>
                    <p:nvPr/>
                  </p:nvSpPr>
                  <p:spPr>
                    <a:xfrm>
                      <a:off x="7049151" y="4857248"/>
                      <a:ext cx="87116" cy="70192"/>
                    </a:xfrm>
                    <a:custGeom>
                      <a:avLst/>
                      <a:gdLst>
                        <a:gd name="connsiteX0" fmla="*/ 81619 w 87116"/>
                        <a:gd name="connsiteY0" fmla="*/ 7612 h 70192"/>
                        <a:gd name="connsiteX1" fmla="*/ 49055 w 87116"/>
                        <a:gd name="connsiteY1" fmla="*/ 42708 h 70192"/>
                        <a:gd name="connsiteX2" fmla="*/ 5497 w 87116"/>
                        <a:gd name="connsiteY2" fmla="*/ 62580 h 70192"/>
                        <a:gd name="connsiteX3" fmla="*/ 38061 w 87116"/>
                        <a:gd name="connsiteY3" fmla="*/ 27484 h 70192"/>
                        <a:gd name="connsiteX4" fmla="*/ 81619 w 87116"/>
                        <a:gd name="connsiteY4" fmla="*/ 7612 h 7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16" h="70192">
                          <a:moveTo>
                            <a:pt x="81619" y="7612"/>
                          </a:moveTo>
                          <a:cubicBezTo>
                            <a:pt x="84655" y="11816"/>
                            <a:pt x="70076" y="27529"/>
                            <a:pt x="49055" y="42708"/>
                          </a:cubicBezTo>
                          <a:cubicBezTo>
                            <a:pt x="28034" y="57887"/>
                            <a:pt x="8533" y="66784"/>
                            <a:pt x="5497" y="62580"/>
                          </a:cubicBezTo>
                          <a:cubicBezTo>
                            <a:pt x="2461" y="58376"/>
                            <a:pt x="17041" y="42663"/>
                            <a:pt x="38061" y="27484"/>
                          </a:cubicBezTo>
                          <a:cubicBezTo>
                            <a:pt x="59082" y="12305"/>
                            <a:pt x="78584" y="3408"/>
                            <a:pt x="81619" y="761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47" name="Vrije vorm: vorm 7246">
                      <a:extLst>
                        <a:ext uri="{FF2B5EF4-FFF2-40B4-BE49-F238E27FC236}">
                          <a16:creationId xmlns:a16="http://schemas.microsoft.com/office/drawing/2014/main" id="{237738E7-8535-47A8-A5C7-48D733B74575}"/>
                        </a:ext>
                      </a:extLst>
                    </p:cNvPr>
                    <p:cNvSpPr/>
                    <p:nvPr/>
                  </p:nvSpPr>
                  <p:spPr>
                    <a:xfrm>
                      <a:off x="7036250" y="4850644"/>
                      <a:ext cx="43210" cy="42403"/>
                    </a:xfrm>
                    <a:custGeom>
                      <a:avLst/>
                      <a:gdLst>
                        <a:gd name="connsiteX0" fmla="*/ 89 w 43210"/>
                        <a:gd name="connsiteY0" fmla="*/ 42403 h 42403"/>
                        <a:gd name="connsiteX1" fmla="*/ 43210 w 43210"/>
                        <a:gd name="connsiteY1" fmla="*/ 0 h 42403"/>
                      </a:gdLst>
                      <a:ahLst/>
                      <a:cxnLst>
                        <a:cxn ang="0">
                          <a:pos x="connsiteX0" y="connsiteY0"/>
                        </a:cxn>
                        <a:cxn ang="0">
                          <a:pos x="connsiteX1" y="connsiteY1"/>
                        </a:cxn>
                      </a:cxnLst>
                      <a:rect l="l" t="t" r="r" b="b"/>
                      <a:pathLst>
                        <a:path w="43210" h="42403">
                          <a:moveTo>
                            <a:pt x="89" y="42403"/>
                          </a:moveTo>
                          <a:cubicBezTo>
                            <a:pt x="-2005" y="27451"/>
                            <a:pt x="33342" y="6399"/>
                            <a:pt x="43210" y="0"/>
                          </a:cubicBezTo>
                        </a:path>
                      </a:pathLst>
                    </a:custGeom>
                    <a:grpFill/>
                    <a:ln w="6350" cap="flat">
                      <a:solidFill>
                        <a:schemeClr val="bg1">
                          <a:alpha val="80000"/>
                        </a:schemeClr>
                      </a:solidFill>
                      <a:prstDash val="solid"/>
                      <a:miter/>
                    </a:ln>
                  </p:spPr>
                  <p:txBody>
                    <a:bodyPr rtlCol="0" anchor="ctr"/>
                    <a:lstStyle/>
                    <a:p>
                      <a:endParaRPr lang="en-GB"/>
                    </a:p>
                  </p:txBody>
                </p:sp>
                <p:sp>
                  <p:nvSpPr>
                    <p:cNvPr id="7248" name="Vrije vorm: vorm 7247">
                      <a:extLst>
                        <a:ext uri="{FF2B5EF4-FFF2-40B4-BE49-F238E27FC236}">
                          <a16:creationId xmlns:a16="http://schemas.microsoft.com/office/drawing/2014/main" id="{535E3942-15BF-404A-9F6D-89C693EE01AA}"/>
                        </a:ext>
                      </a:extLst>
                    </p:cNvPr>
                    <p:cNvSpPr/>
                    <p:nvPr/>
                  </p:nvSpPr>
                  <p:spPr>
                    <a:xfrm>
                      <a:off x="7018256" y="4826482"/>
                      <a:ext cx="44936" cy="42941"/>
                    </a:xfrm>
                    <a:custGeom>
                      <a:avLst/>
                      <a:gdLst>
                        <a:gd name="connsiteX0" fmla="*/ 81 w 44936"/>
                        <a:gd name="connsiteY0" fmla="*/ 42942 h 42941"/>
                        <a:gd name="connsiteX1" fmla="*/ 44936 w 44936"/>
                        <a:gd name="connsiteY1" fmla="*/ 0 h 42941"/>
                      </a:gdLst>
                      <a:ahLst/>
                      <a:cxnLst>
                        <a:cxn ang="0">
                          <a:pos x="connsiteX0" y="connsiteY0"/>
                        </a:cxn>
                        <a:cxn ang="0">
                          <a:pos x="connsiteX1" y="connsiteY1"/>
                        </a:cxn>
                      </a:cxnLst>
                      <a:rect l="l" t="t" r="r" b="b"/>
                      <a:pathLst>
                        <a:path w="44936" h="42941">
                          <a:moveTo>
                            <a:pt x="81" y="42942"/>
                          </a:moveTo>
                          <a:cubicBezTo>
                            <a:pt x="-1953" y="27930"/>
                            <a:pt x="34948" y="6459"/>
                            <a:pt x="44936" y="0"/>
                          </a:cubicBezTo>
                        </a:path>
                      </a:pathLst>
                    </a:custGeom>
                    <a:grpFill/>
                    <a:ln w="6350" cap="flat">
                      <a:solidFill>
                        <a:schemeClr val="bg1">
                          <a:alpha val="80000"/>
                        </a:schemeClr>
                      </a:solidFill>
                      <a:prstDash val="solid"/>
                      <a:miter/>
                    </a:ln>
                  </p:spPr>
                  <p:txBody>
                    <a:bodyPr rtlCol="0" anchor="ctr"/>
                    <a:lstStyle/>
                    <a:p>
                      <a:endParaRPr lang="en-GB"/>
                    </a:p>
                  </p:txBody>
                </p:sp>
                <p:sp>
                  <p:nvSpPr>
                    <p:cNvPr id="7249" name="Vrije vorm: vorm 7248">
                      <a:extLst>
                        <a:ext uri="{FF2B5EF4-FFF2-40B4-BE49-F238E27FC236}">
                          <a16:creationId xmlns:a16="http://schemas.microsoft.com/office/drawing/2014/main" id="{D5E616D9-1303-4AE3-A41E-0BE95FAB0408}"/>
                        </a:ext>
                      </a:extLst>
                    </p:cNvPr>
                    <p:cNvSpPr/>
                    <p:nvPr/>
                  </p:nvSpPr>
                  <p:spPr>
                    <a:xfrm>
                      <a:off x="7002040" y="4802978"/>
                      <a:ext cx="44047" cy="42822"/>
                    </a:xfrm>
                    <a:custGeom>
                      <a:avLst/>
                      <a:gdLst>
                        <a:gd name="connsiteX0" fmla="*/ 89 w 44047"/>
                        <a:gd name="connsiteY0" fmla="*/ 42822 h 42822"/>
                        <a:gd name="connsiteX1" fmla="*/ 44048 w 44047"/>
                        <a:gd name="connsiteY1" fmla="*/ 0 h 42822"/>
                      </a:gdLst>
                      <a:ahLst/>
                      <a:cxnLst>
                        <a:cxn ang="0">
                          <a:pos x="connsiteX0" y="connsiteY0"/>
                        </a:cxn>
                        <a:cxn ang="0">
                          <a:pos x="connsiteX1" y="connsiteY1"/>
                        </a:cxn>
                      </a:cxnLst>
                      <a:rect l="l" t="t" r="r" b="b"/>
                      <a:pathLst>
                        <a:path w="44047" h="42822">
                          <a:moveTo>
                            <a:pt x="89" y="42822"/>
                          </a:moveTo>
                          <a:cubicBezTo>
                            <a:pt x="-2004" y="27152"/>
                            <a:pt x="33462" y="6698"/>
                            <a:pt x="44048" y="0"/>
                          </a:cubicBezTo>
                        </a:path>
                      </a:pathLst>
                    </a:custGeom>
                    <a:grpFill/>
                    <a:ln w="6350" cap="flat">
                      <a:solidFill>
                        <a:schemeClr val="bg1">
                          <a:alpha val="80000"/>
                        </a:schemeClr>
                      </a:solidFill>
                      <a:prstDash val="solid"/>
                      <a:miter/>
                    </a:ln>
                  </p:spPr>
                  <p:txBody>
                    <a:bodyPr rtlCol="0" anchor="ctr"/>
                    <a:lstStyle/>
                    <a:p>
                      <a:endParaRPr lang="en-GB"/>
                    </a:p>
                  </p:txBody>
                </p:sp>
                <p:sp>
                  <p:nvSpPr>
                    <p:cNvPr id="7250" name="Vrije vorm: vorm 7249">
                      <a:extLst>
                        <a:ext uri="{FF2B5EF4-FFF2-40B4-BE49-F238E27FC236}">
                          <a16:creationId xmlns:a16="http://schemas.microsoft.com/office/drawing/2014/main" id="{34D7590F-C9A2-493B-877F-FB1D8C7AC72C}"/>
                        </a:ext>
                      </a:extLst>
                    </p:cNvPr>
                    <p:cNvSpPr/>
                    <p:nvPr/>
                  </p:nvSpPr>
                  <p:spPr>
                    <a:xfrm>
                      <a:off x="7001830" y="4845262"/>
                      <a:ext cx="54125" cy="75715"/>
                    </a:xfrm>
                    <a:custGeom>
                      <a:avLst/>
                      <a:gdLst>
                        <a:gd name="connsiteX0" fmla="*/ 54125 w 54125"/>
                        <a:gd name="connsiteY0" fmla="*/ 75716 h 75715"/>
                        <a:gd name="connsiteX1" fmla="*/ 0 w 54125"/>
                        <a:gd name="connsiteY1" fmla="*/ 0 h 75715"/>
                      </a:gdLst>
                      <a:ahLst/>
                      <a:cxnLst>
                        <a:cxn ang="0">
                          <a:pos x="connsiteX0" y="connsiteY0"/>
                        </a:cxn>
                        <a:cxn ang="0">
                          <a:pos x="connsiteX1" y="connsiteY1"/>
                        </a:cxn>
                      </a:cxnLst>
                      <a:rect l="l" t="t" r="r" b="b"/>
                      <a:pathLst>
                        <a:path w="54125" h="75715">
                          <a:moveTo>
                            <a:pt x="54125" y="75716"/>
                          </a:moveTo>
                          <a:lnTo>
                            <a:pt x="0" y="0"/>
                          </a:lnTo>
                        </a:path>
                      </a:pathLst>
                    </a:custGeom>
                    <a:grpFill/>
                    <a:ln w="6350" cap="flat">
                      <a:solidFill>
                        <a:schemeClr val="bg1">
                          <a:alpha val="80000"/>
                        </a:schemeClr>
                      </a:solidFill>
                      <a:prstDash val="solid"/>
                      <a:miter/>
                    </a:ln>
                  </p:spPr>
                  <p:txBody>
                    <a:bodyPr rtlCol="0" anchor="ctr"/>
                    <a:lstStyle/>
                    <a:p>
                      <a:endParaRPr lang="en-GB"/>
                    </a:p>
                  </p:txBody>
                </p:sp>
              </p:grpSp>
            </p:grpSp>
            <p:grpSp>
              <p:nvGrpSpPr>
                <p:cNvPr id="7224" name="Groep 7223">
                  <a:extLst>
                    <a:ext uri="{FF2B5EF4-FFF2-40B4-BE49-F238E27FC236}">
                      <a16:creationId xmlns:a16="http://schemas.microsoft.com/office/drawing/2014/main" id="{FF48FA17-7BA5-4D2F-89CD-853CD69CDBDF}"/>
                    </a:ext>
                  </a:extLst>
                </p:cNvPr>
                <p:cNvGrpSpPr/>
                <p:nvPr/>
              </p:nvGrpSpPr>
              <p:grpSpPr>
                <a:xfrm>
                  <a:off x="7090584" y="4321590"/>
                  <a:ext cx="350470" cy="780056"/>
                  <a:chOff x="7090584" y="4321590"/>
                  <a:chExt cx="350470" cy="780056"/>
                </a:xfrm>
                <a:grpFill/>
              </p:grpSpPr>
              <p:grpSp>
                <p:nvGrpSpPr>
                  <p:cNvPr id="7225" name="Graphic 3">
                    <a:extLst>
                      <a:ext uri="{FF2B5EF4-FFF2-40B4-BE49-F238E27FC236}">
                        <a16:creationId xmlns:a16="http://schemas.microsoft.com/office/drawing/2014/main" id="{21215555-BCBD-401B-B1AE-082F6264539F}"/>
                      </a:ext>
                    </a:extLst>
                  </p:cNvPr>
                  <p:cNvGrpSpPr/>
                  <p:nvPr/>
                </p:nvGrpSpPr>
                <p:grpSpPr>
                  <a:xfrm>
                    <a:off x="7211103" y="4937664"/>
                    <a:ext cx="176212" cy="163982"/>
                    <a:chOff x="7211103" y="4937664"/>
                    <a:chExt cx="176212" cy="163982"/>
                  </a:xfrm>
                  <a:grpFill/>
                </p:grpSpPr>
                <p:sp>
                  <p:nvSpPr>
                    <p:cNvPr id="7239" name="Vrije vorm: vorm 7238">
                      <a:extLst>
                        <a:ext uri="{FF2B5EF4-FFF2-40B4-BE49-F238E27FC236}">
                          <a16:creationId xmlns:a16="http://schemas.microsoft.com/office/drawing/2014/main" id="{5C8A267F-4C32-490D-80BB-57E899F4A606}"/>
                        </a:ext>
                      </a:extLst>
                    </p:cNvPr>
                    <p:cNvSpPr/>
                    <p:nvPr/>
                  </p:nvSpPr>
                  <p:spPr>
                    <a:xfrm>
                      <a:off x="7211103" y="4937664"/>
                      <a:ext cx="176212" cy="163982"/>
                    </a:xfrm>
                    <a:custGeom>
                      <a:avLst/>
                      <a:gdLst>
                        <a:gd name="connsiteX0" fmla="*/ 71044 w 176212"/>
                        <a:gd name="connsiteY0" fmla="*/ 4246 h 163982"/>
                        <a:gd name="connsiteX1" fmla="*/ 49513 w 176212"/>
                        <a:gd name="connsiteY1" fmla="*/ 0 h 163982"/>
                        <a:gd name="connsiteX2" fmla="*/ 63329 w 176212"/>
                        <a:gd name="connsiteY2" fmla="*/ 20454 h 163982"/>
                        <a:gd name="connsiteX3" fmla="*/ 110157 w 176212"/>
                        <a:gd name="connsiteY3" fmla="*/ 15131 h 163982"/>
                        <a:gd name="connsiteX4" fmla="*/ 168529 w 176212"/>
                        <a:gd name="connsiteY4" fmla="*/ 26076 h 163982"/>
                        <a:gd name="connsiteX5" fmla="*/ 152980 w 176212"/>
                        <a:gd name="connsiteY5" fmla="*/ 90010 h 163982"/>
                        <a:gd name="connsiteX6" fmla="*/ 145025 w 176212"/>
                        <a:gd name="connsiteY6" fmla="*/ 94256 h 163982"/>
                        <a:gd name="connsiteX7" fmla="*/ 126724 w 176212"/>
                        <a:gd name="connsiteY7" fmla="*/ 155200 h 163982"/>
                        <a:gd name="connsiteX8" fmla="*/ 74273 w 176212"/>
                        <a:gd name="connsiteY8" fmla="*/ 156695 h 163982"/>
                        <a:gd name="connsiteX9" fmla="*/ 7589 w 176212"/>
                        <a:gd name="connsiteY9" fmla="*/ 142281 h 163982"/>
                        <a:gd name="connsiteX10" fmla="*/ 22002 w 176212"/>
                        <a:gd name="connsiteY10" fmla="*/ 74161 h 163982"/>
                        <a:gd name="connsiteX11" fmla="*/ 76307 w 176212"/>
                        <a:gd name="connsiteY11" fmla="*/ 80381 h 16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6212" h="163982">
                          <a:moveTo>
                            <a:pt x="71044" y="4246"/>
                          </a:moveTo>
                          <a:lnTo>
                            <a:pt x="49513" y="0"/>
                          </a:lnTo>
                          <a:lnTo>
                            <a:pt x="63329" y="20454"/>
                          </a:lnTo>
                          <a:cubicBezTo>
                            <a:pt x="80433" y="46291"/>
                            <a:pt x="110157" y="15131"/>
                            <a:pt x="110157" y="15131"/>
                          </a:cubicBezTo>
                          <a:cubicBezTo>
                            <a:pt x="133004" y="60"/>
                            <a:pt x="153637" y="3528"/>
                            <a:pt x="168529" y="26076"/>
                          </a:cubicBezTo>
                          <a:cubicBezTo>
                            <a:pt x="183421" y="48623"/>
                            <a:pt x="175826" y="74878"/>
                            <a:pt x="152980" y="90010"/>
                          </a:cubicBezTo>
                          <a:cubicBezTo>
                            <a:pt x="150408" y="91685"/>
                            <a:pt x="147716" y="93120"/>
                            <a:pt x="145025" y="94256"/>
                          </a:cubicBezTo>
                          <a:cubicBezTo>
                            <a:pt x="154475" y="115727"/>
                            <a:pt x="147238" y="141683"/>
                            <a:pt x="126724" y="155200"/>
                          </a:cubicBezTo>
                          <a:cubicBezTo>
                            <a:pt x="110337" y="166025"/>
                            <a:pt x="90002" y="165905"/>
                            <a:pt x="74273" y="156695"/>
                          </a:cubicBezTo>
                          <a:cubicBezTo>
                            <a:pt x="51607" y="170451"/>
                            <a:pt x="22121" y="164230"/>
                            <a:pt x="7589" y="142281"/>
                          </a:cubicBezTo>
                          <a:cubicBezTo>
                            <a:pt x="-7303" y="119734"/>
                            <a:pt x="890" y="91565"/>
                            <a:pt x="22002" y="74161"/>
                          </a:cubicBezTo>
                          <a:cubicBezTo>
                            <a:pt x="39585" y="59687"/>
                            <a:pt x="62252" y="64113"/>
                            <a:pt x="76307" y="80381"/>
                          </a:cubicBezTo>
                        </a:path>
                      </a:pathLst>
                    </a:custGeom>
                    <a:grpFill/>
                    <a:ln w="6350" cap="rnd">
                      <a:solidFill>
                        <a:schemeClr val="bg1">
                          <a:alpha val="80000"/>
                        </a:schemeClr>
                      </a:solidFill>
                      <a:prstDash val="solid"/>
                      <a:round/>
                    </a:ln>
                  </p:spPr>
                  <p:txBody>
                    <a:bodyPr rtlCol="0" anchor="ctr"/>
                    <a:lstStyle/>
                    <a:p>
                      <a:endParaRPr lang="en-GB"/>
                    </a:p>
                  </p:txBody>
                </p:sp>
                <p:sp>
                  <p:nvSpPr>
                    <p:cNvPr id="7240" name="Vrije vorm: vorm 7239">
                      <a:extLst>
                        <a:ext uri="{FF2B5EF4-FFF2-40B4-BE49-F238E27FC236}">
                          <a16:creationId xmlns:a16="http://schemas.microsoft.com/office/drawing/2014/main" id="{A448539E-240E-4B6D-9CF4-7160BFC40B02}"/>
                        </a:ext>
                      </a:extLst>
                    </p:cNvPr>
                    <p:cNvSpPr/>
                    <p:nvPr/>
                  </p:nvSpPr>
                  <p:spPr>
                    <a:xfrm>
                      <a:off x="7259121" y="4937724"/>
                      <a:ext cx="1435" cy="21171"/>
                    </a:xfrm>
                    <a:custGeom>
                      <a:avLst/>
                      <a:gdLst>
                        <a:gd name="connsiteX0" fmla="*/ 0 w 1435"/>
                        <a:gd name="connsiteY0" fmla="*/ 21172 h 21171"/>
                        <a:gd name="connsiteX1" fmla="*/ 1436 w 1435"/>
                        <a:gd name="connsiteY1" fmla="*/ 0 h 21171"/>
                      </a:gdLst>
                      <a:ahLst/>
                      <a:cxnLst>
                        <a:cxn ang="0">
                          <a:pos x="connsiteX0" y="connsiteY0"/>
                        </a:cxn>
                        <a:cxn ang="0">
                          <a:pos x="connsiteX1" y="connsiteY1"/>
                        </a:cxn>
                      </a:cxnLst>
                      <a:rect l="l" t="t" r="r" b="b"/>
                      <a:pathLst>
                        <a:path w="1435" h="21171">
                          <a:moveTo>
                            <a:pt x="0" y="21172"/>
                          </a:moveTo>
                          <a:lnTo>
                            <a:pt x="1436" y="0"/>
                          </a:lnTo>
                        </a:path>
                      </a:pathLst>
                    </a:custGeom>
                    <a:grpFill/>
                    <a:ln w="6350" cap="rnd">
                      <a:solidFill>
                        <a:schemeClr val="bg1">
                          <a:alpha val="80000"/>
                        </a:schemeClr>
                      </a:solidFill>
                      <a:prstDash val="solid"/>
                      <a:round/>
                    </a:ln>
                  </p:spPr>
                  <p:txBody>
                    <a:bodyPr rtlCol="0" anchor="ctr"/>
                    <a:lstStyle/>
                    <a:p>
                      <a:endParaRPr lang="en-GB"/>
                    </a:p>
                  </p:txBody>
                </p:sp>
                <p:sp>
                  <p:nvSpPr>
                    <p:cNvPr id="7241" name="Vrije vorm: vorm 7240">
                      <a:extLst>
                        <a:ext uri="{FF2B5EF4-FFF2-40B4-BE49-F238E27FC236}">
                          <a16:creationId xmlns:a16="http://schemas.microsoft.com/office/drawing/2014/main" id="{55CF59F2-BA2F-4D8C-B8EF-CE384B03A90E}"/>
                        </a:ext>
                      </a:extLst>
                    </p:cNvPr>
                    <p:cNvSpPr/>
                    <p:nvPr/>
                  </p:nvSpPr>
                  <p:spPr>
                    <a:xfrm>
                      <a:off x="7286273" y="4998368"/>
                      <a:ext cx="2810" cy="21470"/>
                    </a:xfrm>
                    <a:custGeom>
                      <a:avLst/>
                      <a:gdLst>
                        <a:gd name="connsiteX0" fmla="*/ 2811 w 2810"/>
                        <a:gd name="connsiteY0" fmla="*/ 21471 h 21470"/>
                        <a:gd name="connsiteX1" fmla="*/ 0 w 2810"/>
                        <a:gd name="connsiteY1" fmla="*/ 0 h 21470"/>
                      </a:gdLst>
                      <a:ahLst/>
                      <a:cxnLst>
                        <a:cxn ang="0">
                          <a:pos x="connsiteX0" y="connsiteY0"/>
                        </a:cxn>
                        <a:cxn ang="0">
                          <a:pos x="connsiteX1" y="connsiteY1"/>
                        </a:cxn>
                      </a:cxnLst>
                      <a:rect l="l" t="t" r="r" b="b"/>
                      <a:pathLst>
                        <a:path w="2810" h="21470">
                          <a:moveTo>
                            <a:pt x="2811" y="21471"/>
                          </a:moveTo>
                          <a:lnTo>
                            <a:pt x="0" y="0"/>
                          </a:lnTo>
                        </a:path>
                      </a:pathLst>
                    </a:custGeom>
                    <a:grpFill/>
                    <a:ln w="6350" cap="rnd">
                      <a:solidFill>
                        <a:schemeClr val="bg1">
                          <a:alpha val="80000"/>
                        </a:schemeClr>
                      </a:solidFill>
                      <a:prstDash val="solid"/>
                      <a:round/>
                    </a:ln>
                  </p:spPr>
                  <p:txBody>
                    <a:bodyPr rtlCol="0" anchor="ctr"/>
                    <a:lstStyle/>
                    <a:p>
                      <a:endParaRPr lang="en-GB"/>
                    </a:p>
                  </p:txBody>
                </p:sp>
                <p:sp>
                  <p:nvSpPr>
                    <p:cNvPr id="7242" name="Vrije vorm: vorm 7241">
                      <a:extLst>
                        <a:ext uri="{FF2B5EF4-FFF2-40B4-BE49-F238E27FC236}">
                          <a16:creationId xmlns:a16="http://schemas.microsoft.com/office/drawing/2014/main" id="{210BD588-068B-4D3B-A95F-C7F030E66BA4}"/>
                        </a:ext>
                      </a:extLst>
                    </p:cNvPr>
                    <p:cNvSpPr/>
                    <p:nvPr/>
                  </p:nvSpPr>
                  <p:spPr>
                    <a:xfrm>
                      <a:off x="7267972" y="5015294"/>
                      <a:ext cx="21111" cy="4963"/>
                    </a:xfrm>
                    <a:custGeom>
                      <a:avLst/>
                      <a:gdLst>
                        <a:gd name="connsiteX0" fmla="*/ 21112 w 21111"/>
                        <a:gd name="connsiteY0" fmla="*/ 4964 h 4963"/>
                        <a:gd name="connsiteX1" fmla="*/ 0 w 21111"/>
                        <a:gd name="connsiteY1" fmla="*/ 0 h 4963"/>
                      </a:gdLst>
                      <a:ahLst/>
                      <a:cxnLst>
                        <a:cxn ang="0">
                          <a:pos x="connsiteX0" y="connsiteY0"/>
                        </a:cxn>
                        <a:cxn ang="0">
                          <a:pos x="connsiteX1" y="connsiteY1"/>
                        </a:cxn>
                      </a:cxnLst>
                      <a:rect l="l" t="t" r="r" b="b"/>
                      <a:pathLst>
                        <a:path w="21111" h="4963">
                          <a:moveTo>
                            <a:pt x="21112" y="4964"/>
                          </a:moveTo>
                          <a:lnTo>
                            <a:pt x="0" y="0"/>
                          </a:lnTo>
                        </a:path>
                      </a:pathLst>
                    </a:custGeom>
                    <a:grpFill/>
                    <a:ln w="6350" cap="rnd">
                      <a:solidFill>
                        <a:schemeClr val="bg1">
                          <a:alpha val="80000"/>
                        </a:schemeClr>
                      </a:solidFill>
                      <a:prstDash val="solid"/>
                      <a:round/>
                    </a:ln>
                  </p:spPr>
                  <p:txBody>
                    <a:bodyPr rtlCol="0" anchor="ctr"/>
                    <a:lstStyle/>
                    <a:p>
                      <a:endParaRPr lang="en-GB"/>
                    </a:p>
                  </p:txBody>
                </p:sp>
                <p:sp>
                  <p:nvSpPr>
                    <p:cNvPr id="7243" name="Vrije vorm: vorm 7242">
                      <a:extLst>
                        <a:ext uri="{FF2B5EF4-FFF2-40B4-BE49-F238E27FC236}">
                          <a16:creationId xmlns:a16="http://schemas.microsoft.com/office/drawing/2014/main" id="{E265C605-9A58-4B74-BE88-644B3AD8A8AC}"/>
                        </a:ext>
                      </a:extLst>
                    </p:cNvPr>
                    <p:cNvSpPr/>
                    <p:nvPr/>
                  </p:nvSpPr>
                  <p:spPr>
                    <a:xfrm>
                      <a:off x="7327660" y="5021214"/>
                      <a:ext cx="28468" cy="10858"/>
                    </a:xfrm>
                    <a:custGeom>
                      <a:avLst/>
                      <a:gdLst>
                        <a:gd name="connsiteX0" fmla="*/ 28468 w 28468"/>
                        <a:gd name="connsiteY0" fmla="*/ 10706 h 10858"/>
                        <a:gd name="connsiteX1" fmla="*/ 0 w 28468"/>
                        <a:gd name="connsiteY1" fmla="*/ 0 h 10858"/>
                      </a:gdLst>
                      <a:ahLst/>
                      <a:cxnLst>
                        <a:cxn ang="0">
                          <a:pos x="connsiteX0" y="connsiteY0"/>
                        </a:cxn>
                        <a:cxn ang="0">
                          <a:pos x="connsiteX1" y="connsiteY1"/>
                        </a:cxn>
                      </a:cxnLst>
                      <a:rect l="l" t="t" r="r" b="b"/>
                      <a:pathLst>
                        <a:path w="28468" h="10858">
                          <a:moveTo>
                            <a:pt x="28468" y="10706"/>
                          </a:moveTo>
                          <a:cubicBezTo>
                            <a:pt x="28468" y="10706"/>
                            <a:pt x="5263" y="12978"/>
                            <a:pt x="0" y="0"/>
                          </a:cubicBezTo>
                        </a:path>
                      </a:pathLst>
                    </a:custGeom>
                    <a:grpFill/>
                    <a:ln w="6350" cap="rnd">
                      <a:solidFill>
                        <a:schemeClr val="bg1">
                          <a:alpha val="80000"/>
                        </a:schemeClr>
                      </a:solidFill>
                      <a:prstDash val="solid"/>
                      <a:round/>
                    </a:ln>
                  </p:spPr>
                  <p:txBody>
                    <a:bodyPr rtlCol="0" anchor="ctr"/>
                    <a:lstStyle/>
                    <a:p>
                      <a:endParaRPr lang="en-GB"/>
                    </a:p>
                  </p:txBody>
                </p:sp>
              </p:grpSp>
              <p:grpSp>
                <p:nvGrpSpPr>
                  <p:cNvPr id="7226" name="Groep 7225">
                    <a:extLst>
                      <a:ext uri="{FF2B5EF4-FFF2-40B4-BE49-F238E27FC236}">
                        <a16:creationId xmlns:a16="http://schemas.microsoft.com/office/drawing/2014/main" id="{1EAC19C2-4B5B-42F8-B6CD-67D8B0614EAD}"/>
                      </a:ext>
                    </a:extLst>
                  </p:cNvPr>
                  <p:cNvGrpSpPr/>
                  <p:nvPr/>
                </p:nvGrpSpPr>
                <p:grpSpPr>
                  <a:xfrm>
                    <a:off x="7090584" y="4321590"/>
                    <a:ext cx="350470" cy="647233"/>
                    <a:chOff x="7090584" y="4321590"/>
                    <a:chExt cx="350470" cy="647233"/>
                  </a:xfrm>
                  <a:grpFill/>
                </p:grpSpPr>
                <p:grpSp>
                  <p:nvGrpSpPr>
                    <p:cNvPr id="7227" name="Graphic 3">
                      <a:extLst>
                        <a:ext uri="{FF2B5EF4-FFF2-40B4-BE49-F238E27FC236}">
                          <a16:creationId xmlns:a16="http://schemas.microsoft.com/office/drawing/2014/main" id="{7E885442-B6CD-45CA-84FE-411172411CE0}"/>
                        </a:ext>
                      </a:extLst>
                    </p:cNvPr>
                    <p:cNvGrpSpPr/>
                    <p:nvPr/>
                  </p:nvGrpSpPr>
                  <p:grpSpPr>
                    <a:xfrm>
                      <a:off x="7211955" y="4823916"/>
                      <a:ext cx="52433" cy="54180"/>
                      <a:chOff x="7211955" y="4823916"/>
                      <a:chExt cx="52433" cy="54180"/>
                    </a:xfrm>
                    <a:grpFill/>
                  </p:grpSpPr>
                  <p:sp>
                    <p:nvSpPr>
                      <p:cNvPr id="7237" name="Vrije vorm: vorm 7236">
                        <a:extLst>
                          <a:ext uri="{FF2B5EF4-FFF2-40B4-BE49-F238E27FC236}">
                            <a16:creationId xmlns:a16="http://schemas.microsoft.com/office/drawing/2014/main" id="{340FD90C-1D70-41EA-A2E3-249C64F60413}"/>
                          </a:ext>
                        </a:extLst>
                      </p:cNvPr>
                      <p:cNvSpPr/>
                      <p:nvPr/>
                    </p:nvSpPr>
                    <p:spPr>
                      <a:xfrm>
                        <a:off x="7211955" y="4823916"/>
                        <a:ext cx="52433" cy="54180"/>
                      </a:xfrm>
                      <a:custGeom>
                        <a:avLst/>
                        <a:gdLst>
                          <a:gd name="connsiteX0" fmla="*/ 23004 w 52433"/>
                          <a:gd name="connsiteY0" fmla="*/ 54180 h 54180"/>
                          <a:gd name="connsiteX1" fmla="*/ 29583 w 52433"/>
                          <a:gd name="connsiteY1" fmla="*/ 47721 h 54180"/>
                          <a:gd name="connsiteX2" fmla="*/ 39511 w 52433"/>
                          <a:gd name="connsiteY2" fmla="*/ 45449 h 54180"/>
                          <a:gd name="connsiteX3" fmla="*/ 44295 w 52433"/>
                          <a:gd name="connsiteY3" fmla="*/ 37075 h 54180"/>
                          <a:gd name="connsiteX4" fmla="*/ 52429 w 52433"/>
                          <a:gd name="connsiteY4" fmla="*/ 32889 h 54180"/>
                          <a:gd name="connsiteX5" fmla="*/ 46568 w 52433"/>
                          <a:gd name="connsiteY5" fmla="*/ 13033 h 54180"/>
                          <a:gd name="connsiteX6" fmla="*/ 8052 w 52433"/>
                          <a:gd name="connsiteY6" fmla="*/ 2507 h 54180"/>
                          <a:gd name="connsiteX7" fmla="*/ 5959 w 52433"/>
                          <a:gd name="connsiteY7" fmla="*/ 42398 h 54180"/>
                          <a:gd name="connsiteX8" fmla="*/ 23004 w 52433"/>
                          <a:gd name="connsiteY8" fmla="*/ 54180 h 5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33" h="54180">
                            <a:moveTo>
                              <a:pt x="23004" y="54180"/>
                            </a:moveTo>
                            <a:cubicBezTo>
                              <a:pt x="24200" y="52326"/>
                              <a:pt x="26592" y="49874"/>
                              <a:pt x="29583" y="47721"/>
                            </a:cubicBezTo>
                            <a:cubicBezTo>
                              <a:pt x="31556" y="46286"/>
                              <a:pt x="38793" y="45329"/>
                              <a:pt x="39511" y="45449"/>
                            </a:cubicBezTo>
                            <a:cubicBezTo>
                              <a:pt x="39511" y="44611"/>
                              <a:pt x="42621" y="38332"/>
                              <a:pt x="44295" y="37075"/>
                            </a:cubicBezTo>
                            <a:cubicBezTo>
                              <a:pt x="47226" y="34922"/>
                              <a:pt x="50276" y="33427"/>
                              <a:pt x="52429" y="32889"/>
                            </a:cubicBezTo>
                            <a:cubicBezTo>
                              <a:pt x="52548" y="24456"/>
                              <a:pt x="50217" y="18057"/>
                              <a:pt x="46568" y="13033"/>
                            </a:cubicBezTo>
                            <a:cubicBezTo>
                              <a:pt x="42920" y="8009"/>
                              <a:pt x="29642" y="-5567"/>
                              <a:pt x="8052" y="2507"/>
                            </a:cubicBezTo>
                            <a:cubicBezTo>
                              <a:pt x="-6421" y="20449"/>
                              <a:pt x="2311" y="37374"/>
                              <a:pt x="5959" y="42398"/>
                            </a:cubicBezTo>
                            <a:cubicBezTo>
                              <a:pt x="9607" y="47422"/>
                              <a:pt x="14930" y="51609"/>
                              <a:pt x="23004" y="5418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38" name="Vrije vorm: vorm 7237">
                        <a:extLst>
                          <a:ext uri="{FF2B5EF4-FFF2-40B4-BE49-F238E27FC236}">
                            <a16:creationId xmlns:a16="http://schemas.microsoft.com/office/drawing/2014/main" id="{D3EBF680-5E1E-498A-9D77-49CDC5B721A7}"/>
                          </a:ext>
                        </a:extLst>
                      </p:cNvPr>
                      <p:cNvSpPr/>
                      <p:nvPr/>
                    </p:nvSpPr>
                    <p:spPr>
                      <a:xfrm>
                        <a:off x="7227446" y="4837442"/>
                        <a:ext cx="18503" cy="25739"/>
                      </a:xfrm>
                      <a:custGeom>
                        <a:avLst/>
                        <a:gdLst>
                          <a:gd name="connsiteX0" fmla="*/ 3327 w 18503"/>
                          <a:gd name="connsiteY0" fmla="*/ 25702 h 25739"/>
                          <a:gd name="connsiteX1" fmla="*/ 5001 w 18503"/>
                          <a:gd name="connsiteY1" fmla="*/ 25283 h 25739"/>
                          <a:gd name="connsiteX2" fmla="*/ 5898 w 18503"/>
                          <a:gd name="connsiteY2" fmla="*/ 23788 h 25739"/>
                          <a:gd name="connsiteX3" fmla="*/ 8948 w 18503"/>
                          <a:gd name="connsiteY3" fmla="*/ 6504 h 25739"/>
                          <a:gd name="connsiteX4" fmla="*/ 16424 w 18503"/>
                          <a:gd name="connsiteY4" fmla="*/ 7940 h 25739"/>
                          <a:gd name="connsiteX5" fmla="*/ 16424 w 18503"/>
                          <a:gd name="connsiteY5" fmla="*/ 7940 h 25739"/>
                          <a:gd name="connsiteX6" fmla="*/ 16424 w 18503"/>
                          <a:gd name="connsiteY6" fmla="*/ 7940 h 25739"/>
                          <a:gd name="connsiteX7" fmla="*/ 17381 w 18503"/>
                          <a:gd name="connsiteY7" fmla="*/ 7700 h 25739"/>
                          <a:gd name="connsiteX8" fmla="*/ 18278 w 18503"/>
                          <a:gd name="connsiteY8" fmla="*/ 5966 h 25739"/>
                          <a:gd name="connsiteX9" fmla="*/ 18457 w 18503"/>
                          <a:gd name="connsiteY9" fmla="*/ 4650 h 25739"/>
                          <a:gd name="connsiteX10" fmla="*/ 18159 w 18503"/>
                          <a:gd name="connsiteY10" fmla="*/ 2676 h 25739"/>
                          <a:gd name="connsiteX11" fmla="*/ 17321 w 18503"/>
                          <a:gd name="connsiteY11" fmla="*/ 2138 h 25739"/>
                          <a:gd name="connsiteX12" fmla="*/ 6257 w 18503"/>
                          <a:gd name="connsiteY12" fmla="*/ 45 h 25739"/>
                          <a:gd name="connsiteX13" fmla="*/ 4522 w 18503"/>
                          <a:gd name="connsiteY13" fmla="*/ 404 h 25739"/>
                          <a:gd name="connsiteX14" fmla="*/ 3625 w 18503"/>
                          <a:gd name="connsiteY14" fmla="*/ 1899 h 25739"/>
                          <a:gd name="connsiteX15" fmla="*/ 37 w 18503"/>
                          <a:gd name="connsiteY15" fmla="*/ 22831 h 25739"/>
                          <a:gd name="connsiteX16" fmla="*/ 455 w 18503"/>
                          <a:gd name="connsiteY16" fmla="*/ 24506 h 25739"/>
                          <a:gd name="connsiteX17" fmla="*/ 1950 w 18503"/>
                          <a:gd name="connsiteY17" fmla="*/ 25403 h 25739"/>
                          <a:gd name="connsiteX18" fmla="*/ 3327 w 18503"/>
                          <a:gd name="connsiteY18" fmla="*/ 25702 h 2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503" h="25739">
                            <a:moveTo>
                              <a:pt x="3327" y="25702"/>
                            </a:moveTo>
                            <a:cubicBezTo>
                              <a:pt x="3925" y="25822"/>
                              <a:pt x="4522" y="25642"/>
                              <a:pt x="5001" y="25283"/>
                            </a:cubicBezTo>
                            <a:cubicBezTo>
                              <a:pt x="5480" y="24925"/>
                              <a:pt x="5838" y="24386"/>
                              <a:pt x="5898" y="23788"/>
                            </a:cubicBezTo>
                            <a:lnTo>
                              <a:pt x="8948" y="6504"/>
                            </a:lnTo>
                            <a:lnTo>
                              <a:pt x="16424" y="7940"/>
                            </a:lnTo>
                            <a:lnTo>
                              <a:pt x="16424" y="7940"/>
                            </a:lnTo>
                            <a:lnTo>
                              <a:pt x="16424" y="7940"/>
                            </a:lnTo>
                            <a:cubicBezTo>
                              <a:pt x="16783" y="7999"/>
                              <a:pt x="17082" y="7880"/>
                              <a:pt x="17381" y="7700"/>
                            </a:cubicBezTo>
                            <a:cubicBezTo>
                              <a:pt x="17859" y="7341"/>
                              <a:pt x="18159" y="6743"/>
                              <a:pt x="18278" y="5966"/>
                            </a:cubicBezTo>
                            <a:lnTo>
                              <a:pt x="18457" y="4650"/>
                            </a:lnTo>
                            <a:cubicBezTo>
                              <a:pt x="18577" y="3873"/>
                              <a:pt x="18457" y="3155"/>
                              <a:pt x="18159" y="2676"/>
                            </a:cubicBezTo>
                            <a:cubicBezTo>
                              <a:pt x="17919" y="2377"/>
                              <a:pt x="17680" y="2198"/>
                              <a:pt x="17321" y="2138"/>
                            </a:cubicBezTo>
                            <a:lnTo>
                              <a:pt x="6257" y="45"/>
                            </a:lnTo>
                            <a:cubicBezTo>
                              <a:pt x="5658" y="-75"/>
                              <a:pt x="5001" y="45"/>
                              <a:pt x="4522" y="404"/>
                            </a:cubicBezTo>
                            <a:cubicBezTo>
                              <a:pt x="4044" y="763"/>
                              <a:pt x="3685" y="1301"/>
                              <a:pt x="3625" y="1899"/>
                            </a:cubicBezTo>
                            <a:lnTo>
                              <a:pt x="37" y="22831"/>
                            </a:lnTo>
                            <a:cubicBezTo>
                              <a:pt x="-83" y="23429"/>
                              <a:pt x="97" y="24028"/>
                              <a:pt x="455" y="24506"/>
                            </a:cubicBezTo>
                            <a:cubicBezTo>
                              <a:pt x="814" y="24984"/>
                              <a:pt x="1353" y="25343"/>
                              <a:pt x="1950" y="25403"/>
                            </a:cubicBezTo>
                            <a:lnTo>
                              <a:pt x="3327" y="25702"/>
                            </a:ln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7228" name="Graphic 3">
                      <a:extLst>
                        <a:ext uri="{FF2B5EF4-FFF2-40B4-BE49-F238E27FC236}">
                          <a16:creationId xmlns:a16="http://schemas.microsoft.com/office/drawing/2014/main" id="{54DBA8E7-AF77-4FA6-8DD1-35D4024497C9}"/>
                        </a:ext>
                      </a:extLst>
                    </p:cNvPr>
                    <p:cNvGrpSpPr/>
                    <p:nvPr/>
                  </p:nvGrpSpPr>
                  <p:grpSpPr>
                    <a:xfrm>
                      <a:off x="7095784" y="4915317"/>
                      <a:ext cx="51857" cy="53506"/>
                      <a:chOff x="7095784" y="4915317"/>
                      <a:chExt cx="51857" cy="53506"/>
                    </a:xfrm>
                    <a:grpFill/>
                  </p:grpSpPr>
                  <p:sp>
                    <p:nvSpPr>
                      <p:cNvPr id="7235" name="Vrije vorm: vorm 7234">
                        <a:extLst>
                          <a:ext uri="{FF2B5EF4-FFF2-40B4-BE49-F238E27FC236}">
                            <a16:creationId xmlns:a16="http://schemas.microsoft.com/office/drawing/2014/main" id="{8EC27155-E717-4A86-A7F0-CAFF5DFEE961}"/>
                          </a:ext>
                        </a:extLst>
                      </p:cNvPr>
                      <p:cNvSpPr/>
                      <p:nvPr/>
                    </p:nvSpPr>
                    <p:spPr>
                      <a:xfrm>
                        <a:off x="7095784" y="4915317"/>
                        <a:ext cx="51857" cy="53506"/>
                      </a:xfrm>
                      <a:custGeom>
                        <a:avLst/>
                        <a:gdLst>
                          <a:gd name="connsiteX0" fmla="*/ 22670 w 51857"/>
                          <a:gd name="connsiteY0" fmla="*/ 53506 h 53506"/>
                          <a:gd name="connsiteX1" fmla="*/ 29189 w 51857"/>
                          <a:gd name="connsiteY1" fmla="*/ 47167 h 53506"/>
                          <a:gd name="connsiteX2" fmla="*/ 38998 w 51857"/>
                          <a:gd name="connsiteY2" fmla="*/ 44954 h 53506"/>
                          <a:gd name="connsiteX3" fmla="*/ 43783 w 51857"/>
                          <a:gd name="connsiteY3" fmla="*/ 36700 h 53506"/>
                          <a:gd name="connsiteX4" fmla="*/ 51856 w 51857"/>
                          <a:gd name="connsiteY4" fmla="*/ 32574 h 53506"/>
                          <a:gd name="connsiteX5" fmla="*/ 46055 w 51857"/>
                          <a:gd name="connsiteY5" fmla="*/ 12897 h 53506"/>
                          <a:gd name="connsiteX6" fmla="*/ 7957 w 51857"/>
                          <a:gd name="connsiteY6" fmla="*/ 2491 h 53506"/>
                          <a:gd name="connsiteX7" fmla="*/ 5864 w 51857"/>
                          <a:gd name="connsiteY7" fmla="*/ 41904 h 53506"/>
                          <a:gd name="connsiteX8" fmla="*/ 22670 w 51857"/>
                          <a:gd name="connsiteY8" fmla="*/ 53506 h 5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57" h="53506">
                            <a:moveTo>
                              <a:pt x="22670" y="53506"/>
                            </a:moveTo>
                            <a:cubicBezTo>
                              <a:pt x="23866" y="51652"/>
                              <a:pt x="26259" y="49260"/>
                              <a:pt x="29189" y="47167"/>
                            </a:cubicBezTo>
                            <a:cubicBezTo>
                              <a:pt x="31163" y="45731"/>
                              <a:pt x="38280" y="44835"/>
                              <a:pt x="38998" y="44954"/>
                            </a:cubicBezTo>
                            <a:cubicBezTo>
                              <a:pt x="38998" y="44117"/>
                              <a:pt x="42048" y="37897"/>
                              <a:pt x="43783" y="36700"/>
                            </a:cubicBezTo>
                            <a:cubicBezTo>
                              <a:pt x="46713" y="34607"/>
                              <a:pt x="49703" y="33112"/>
                              <a:pt x="51856" y="32574"/>
                            </a:cubicBezTo>
                            <a:cubicBezTo>
                              <a:pt x="51916" y="24201"/>
                              <a:pt x="49703" y="17861"/>
                              <a:pt x="46055" y="12897"/>
                            </a:cubicBezTo>
                            <a:cubicBezTo>
                              <a:pt x="42466" y="7933"/>
                              <a:pt x="29309" y="-5523"/>
                              <a:pt x="7957" y="2491"/>
                            </a:cubicBezTo>
                            <a:cubicBezTo>
                              <a:pt x="-6336" y="20254"/>
                              <a:pt x="2276" y="36940"/>
                              <a:pt x="5864" y="41904"/>
                            </a:cubicBezTo>
                            <a:cubicBezTo>
                              <a:pt x="9453" y="46808"/>
                              <a:pt x="14775" y="50935"/>
                              <a:pt x="22670" y="5350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36" name="Vrije vorm: vorm 7235">
                        <a:extLst>
                          <a:ext uri="{FF2B5EF4-FFF2-40B4-BE49-F238E27FC236}">
                            <a16:creationId xmlns:a16="http://schemas.microsoft.com/office/drawing/2014/main" id="{ED0758C4-4E83-4474-8DEB-3575FD5528B3}"/>
                          </a:ext>
                        </a:extLst>
                      </p:cNvPr>
                      <p:cNvSpPr/>
                      <p:nvPr/>
                    </p:nvSpPr>
                    <p:spPr>
                      <a:xfrm>
                        <a:off x="7111181" y="4928708"/>
                        <a:ext cx="18324" cy="25320"/>
                      </a:xfrm>
                      <a:custGeom>
                        <a:avLst/>
                        <a:gdLst>
                          <a:gd name="connsiteX0" fmla="*/ 3207 w 18324"/>
                          <a:gd name="connsiteY0" fmla="*/ 25283 h 25320"/>
                          <a:gd name="connsiteX1" fmla="*/ 4881 w 18324"/>
                          <a:gd name="connsiteY1" fmla="*/ 24865 h 25320"/>
                          <a:gd name="connsiteX2" fmla="*/ 5779 w 18324"/>
                          <a:gd name="connsiteY2" fmla="*/ 23429 h 25320"/>
                          <a:gd name="connsiteX3" fmla="*/ 8829 w 18324"/>
                          <a:gd name="connsiteY3" fmla="*/ 6325 h 25320"/>
                          <a:gd name="connsiteX4" fmla="*/ 16245 w 18324"/>
                          <a:gd name="connsiteY4" fmla="*/ 7760 h 25320"/>
                          <a:gd name="connsiteX5" fmla="*/ 16245 w 18324"/>
                          <a:gd name="connsiteY5" fmla="*/ 7760 h 25320"/>
                          <a:gd name="connsiteX6" fmla="*/ 16245 w 18324"/>
                          <a:gd name="connsiteY6" fmla="*/ 7760 h 25320"/>
                          <a:gd name="connsiteX7" fmla="*/ 17201 w 18324"/>
                          <a:gd name="connsiteY7" fmla="*/ 7521 h 25320"/>
                          <a:gd name="connsiteX8" fmla="*/ 18099 w 18324"/>
                          <a:gd name="connsiteY8" fmla="*/ 5786 h 25320"/>
                          <a:gd name="connsiteX9" fmla="*/ 18278 w 18324"/>
                          <a:gd name="connsiteY9" fmla="*/ 4530 h 25320"/>
                          <a:gd name="connsiteX10" fmla="*/ 17979 w 18324"/>
                          <a:gd name="connsiteY10" fmla="*/ 2617 h 25320"/>
                          <a:gd name="connsiteX11" fmla="*/ 17142 w 18324"/>
                          <a:gd name="connsiteY11" fmla="*/ 2078 h 25320"/>
                          <a:gd name="connsiteX12" fmla="*/ 6197 w 18324"/>
                          <a:gd name="connsiteY12" fmla="*/ 45 h 25320"/>
                          <a:gd name="connsiteX13" fmla="*/ 4463 w 18324"/>
                          <a:gd name="connsiteY13" fmla="*/ 404 h 25320"/>
                          <a:gd name="connsiteX14" fmla="*/ 3566 w 18324"/>
                          <a:gd name="connsiteY14" fmla="*/ 1899 h 25320"/>
                          <a:gd name="connsiteX15" fmla="*/ 37 w 18324"/>
                          <a:gd name="connsiteY15" fmla="*/ 22592 h 25320"/>
                          <a:gd name="connsiteX16" fmla="*/ 456 w 18324"/>
                          <a:gd name="connsiteY16" fmla="*/ 24267 h 25320"/>
                          <a:gd name="connsiteX17" fmla="*/ 1891 w 18324"/>
                          <a:gd name="connsiteY17" fmla="*/ 25164 h 25320"/>
                          <a:gd name="connsiteX18" fmla="*/ 3207 w 18324"/>
                          <a:gd name="connsiteY18" fmla="*/ 25283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324" h="25320">
                            <a:moveTo>
                              <a:pt x="3207" y="25283"/>
                            </a:moveTo>
                            <a:cubicBezTo>
                              <a:pt x="3805" y="25403"/>
                              <a:pt x="4403" y="25224"/>
                              <a:pt x="4881" y="24865"/>
                            </a:cubicBezTo>
                            <a:cubicBezTo>
                              <a:pt x="5360" y="24506"/>
                              <a:pt x="5719" y="23968"/>
                              <a:pt x="5779" y="23429"/>
                            </a:cubicBezTo>
                            <a:lnTo>
                              <a:pt x="8829" y="6325"/>
                            </a:lnTo>
                            <a:lnTo>
                              <a:pt x="16245" y="7760"/>
                            </a:lnTo>
                            <a:lnTo>
                              <a:pt x="16245" y="7760"/>
                            </a:lnTo>
                            <a:lnTo>
                              <a:pt x="16245" y="7760"/>
                            </a:lnTo>
                            <a:cubicBezTo>
                              <a:pt x="16603" y="7820"/>
                              <a:pt x="16903" y="7700"/>
                              <a:pt x="17201" y="7521"/>
                            </a:cubicBezTo>
                            <a:cubicBezTo>
                              <a:pt x="17680" y="7221"/>
                              <a:pt x="17979" y="6564"/>
                              <a:pt x="18099" y="5786"/>
                            </a:cubicBezTo>
                            <a:lnTo>
                              <a:pt x="18278" y="4530"/>
                            </a:lnTo>
                            <a:cubicBezTo>
                              <a:pt x="18398" y="3753"/>
                              <a:pt x="18278" y="3035"/>
                              <a:pt x="17979" y="2617"/>
                            </a:cubicBezTo>
                            <a:cubicBezTo>
                              <a:pt x="17800" y="2318"/>
                              <a:pt x="17501" y="2138"/>
                              <a:pt x="17142" y="2078"/>
                            </a:cubicBezTo>
                            <a:lnTo>
                              <a:pt x="6197" y="45"/>
                            </a:lnTo>
                            <a:cubicBezTo>
                              <a:pt x="5599" y="-75"/>
                              <a:pt x="5001" y="45"/>
                              <a:pt x="4463" y="404"/>
                            </a:cubicBezTo>
                            <a:cubicBezTo>
                              <a:pt x="3984" y="763"/>
                              <a:pt x="3686" y="1301"/>
                              <a:pt x="3566" y="1899"/>
                            </a:cubicBezTo>
                            <a:lnTo>
                              <a:pt x="37" y="22592"/>
                            </a:lnTo>
                            <a:cubicBezTo>
                              <a:pt x="-82" y="23190"/>
                              <a:pt x="97" y="23788"/>
                              <a:pt x="456" y="24267"/>
                            </a:cubicBezTo>
                            <a:cubicBezTo>
                              <a:pt x="814" y="24745"/>
                              <a:pt x="1353" y="25104"/>
                              <a:pt x="1891" y="25164"/>
                            </a:cubicBezTo>
                            <a:lnTo>
                              <a:pt x="3207" y="25283"/>
                            </a:ln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7229" name="Graphic 3">
                      <a:extLst>
                        <a:ext uri="{FF2B5EF4-FFF2-40B4-BE49-F238E27FC236}">
                          <a16:creationId xmlns:a16="http://schemas.microsoft.com/office/drawing/2014/main" id="{900DB310-7F43-4F93-A2D2-B93EA6DFDF6A}"/>
                        </a:ext>
                      </a:extLst>
                    </p:cNvPr>
                    <p:cNvGrpSpPr/>
                    <p:nvPr/>
                  </p:nvGrpSpPr>
                  <p:grpSpPr>
                    <a:xfrm>
                      <a:off x="7143429" y="4855593"/>
                      <a:ext cx="58938" cy="60899"/>
                      <a:chOff x="7143429" y="4855593"/>
                      <a:chExt cx="58938" cy="60899"/>
                    </a:xfrm>
                    <a:grpFill/>
                  </p:grpSpPr>
                  <p:sp>
                    <p:nvSpPr>
                      <p:cNvPr id="7232" name="Vrije vorm: vorm 7231">
                        <a:extLst>
                          <a:ext uri="{FF2B5EF4-FFF2-40B4-BE49-F238E27FC236}">
                            <a16:creationId xmlns:a16="http://schemas.microsoft.com/office/drawing/2014/main" id="{90C5C5FF-BB0C-449F-9BD1-FF47C3204255}"/>
                          </a:ext>
                        </a:extLst>
                      </p:cNvPr>
                      <p:cNvSpPr/>
                      <p:nvPr/>
                    </p:nvSpPr>
                    <p:spPr>
                      <a:xfrm>
                        <a:off x="7143429" y="4855593"/>
                        <a:ext cx="58938" cy="60899"/>
                      </a:xfrm>
                      <a:custGeom>
                        <a:avLst/>
                        <a:gdLst>
                          <a:gd name="connsiteX0" fmla="*/ 25921 w 58938"/>
                          <a:gd name="connsiteY0" fmla="*/ 60899 h 60899"/>
                          <a:gd name="connsiteX1" fmla="*/ 33277 w 58938"/>
                          <a:gd name="connsiteY1" fmla="*/ 53663 h 60899"/>
                          <a:gd name="connsiteX2" fmla="*/ 44401 w 58938"/>
                          <a:gd name="connsiteY2" fmla="*/ 51151 h 60899"/>
                          <a:gd name="connsiteX3" fmla="*/ 49784 w 58938"/>
                          <a:gd name="connsiteY3" fmla="*/ 41761 h 60899"/>
                          <a:gd name="connsiteX4" fmla="*/ 58935 w 58938"/>
                          <a:gd name="connsiteY4" fmla="*/ 37036 h 60899"/>
                          <a:gd name="connsiteX5" fmla="*/ 52355 w 58938"/>
                          <a:gd name="connsiteY5" fmla="*/ 14668 h 60899"/>
                          <a:gd name="connsiteX6" fmla="*/ 9055 w 58938"/>
                          <a:gd name="connsiteY6" fmla="*/ 2827 h 60899"/>
                          <a:gd name="connsiteX7" fmla="*/ 6662 w 58938"/>
                          <a:gd name="connsiteY7" fmla="*/ 47682 h 60899"/>
                          <a:gd name="connsiteX8" fmla="*/ 25921 w 58938"/>
                          <a:gd name="connsiteY8" fmla="*/ 60899 h 6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38" h="60899">
                            <a:moveTo>
                              <a:pt x="25921" y="60899"/>
                            </a:moveTo>
                            <a:cubicBezTo>
                              <a:pt x="27237" y="58806"/>
                              <a:pt x="29987" y="56055"/>
                              <a:pt x="33277" y="53663"/>
                            </a:cubicBezTo>
                            <a:cubicBezTo>
                              <a:pt x="35490" y="52048"/>
                              <a:pt x="43624" y="51031"/>
                              <a:pt x="44401" y="51151"/>
                            </a:cubicBezTo>
                            <a:cubicBezTo>
                              <a:pt x="44461" y="50194"/>
                              <a:pt x="47870" y="43137"/>
                              <a:pt x="49784" y="41761"/>
                            </a:cubicBezTo>
                            <a:cubicBezTo>
                              <a:pt x="53133" y="39369"/>
                              <a:pt x="56542" y="37694"/>
                              <a:pt x="58935" y="37036"/>
                            </a:cubicBezTo>
                            <a:cubicBezTo>
                              <a:pt x="59054" y="27527"/>
                              <a:pt x="56482" y="20350"/>
                              <a:pt x="52355" y="14668"/>
                            </a:cubicBezTo>
                            <a:cubicBezTo>
                              <a:pt x="48289" y="8987"/>
                              <a:pt x="33277" y="-6264"/>
                              <a:pt x="9055" y="2827"/>
                            </a:cubicBezTo>
                            <a:cubicBezTo>
                              <a:pt x="-7212" y="22982"/>
                              <a:pt x="2596" y="42000"/>
                              <a:pt x="6662" y="47682"/>
                            </a:cubicBezTo>
                            <a:cubicBezTo>
                              <a:pt x="10849" y="53304"/>
                              <a:pt x="16890" y="58029"/>
                              <a:pt x="25921" y="6089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33" name="Vrije vorm: vorm 7232">
                        <a:extLst>
                          <a:ext uri="{FF2B5EF4-FFF2-40B4-BE49-F238E27FC236}">
                            <a16:creationId xmlns:a16="http://schemas.microsoft.com/office/drawing/2014/main" id="{EBABE18F-C78F-412B-8477-FD39B98C64F4}"/>
                          </a:ext>
                        </a:extLst>
                      </p:cNvPr>
                      <p:cNvSpPr/>
                      <p:nvPr/>
                    </p:nvSpPr>
                    <p:spPr>
                      <a:xfrm>
                        <a:off x="7166234" y="4877774"/>
                        <a:ext cx="14741" cy="18047"/>
                      </a:xfrm>
                      <a:custGeom>
                        <a:avLst/>
                        <a:gdLst>
                          <a:gd name="connsiteX0" fmla="*/ 1262 w 14741"/>
                          <a:gd name="connsiteY0" fmla="*/ 561 h 18047"/>
                          <a:gd name="connsiteX1" fmla="*/ 1262 w 14741"/>
                          <a:gd name="connsiteY1" fmla="*/ 561 h 18047"/>
                          <a:gd name="connsiteX2" fmla="*/ 5449 w 14741"/>
                          <a:gd name="connsiteY2" fmla="*/ 1219 h 18047"/>
                          <a:gd name="connsiteX3" fmla="*/ 14180 w 14741"/>
                          <a:gd name="connsiteY3" fmla="*/ 13300 h 18047"/>
                          <a:gd name="connsiteX4" fmla="*/ 13522 w 14741"/>
                          <a:gd name="connsiteY4" fmla="*/ 17486 h 18047"/>
                          <a:gd name="connsiteX5" fmla="*/ 13522 w 14741"/>
                          <a:gd name="connsiteY5" fmla="*/ 17486 h 18047"/>
                          <a:gd name="connsiteX6" fmla="*/ 9336 w 14741"/>
                          <a:gd name="connsiteY6" fmla="*/ 16828 h 18047"/>
                          <a:gd name="connsiteX7" fmla="*/ 604 w 14741"/>
                          <a:gd name="connsiteY7" fmla="*/ 4747 h 18047"/>
                          <a:gd name="connsiteX8" fmla="*/ 1262 w 14741"/>
                          <a:gd name="connsiteY8" fmla="*/ 561 h 18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41" h="18047">
                            <a:moveTo>
                              <a:pt x="1262" y="561"/>
                            </a:moveTo>
                            <a:lnTo>
                              <a:pt x="1262" y="561"/>
                            </a:lnTo>
                            <a:cubicBezTo>
                              <a:pt x="2577" y="-396"/>
                              <a:pt x="4492" y="-97"/>
                              <a:pt x="5449" y="1219"/>
                            </a:cubicBezTo>
                            <a:lnTo>
                              <a:pt x="14180" y="13300"/>
                            </a:lnTo>
                            <a:cubicBezTo>
                              <a:pt x="15137" y="14616"/>
                              <a:pt x="14838" y="16529"/>
                              <a:pt x="13522" y="17486"/>
                            </a:cubicBezTo>
                            <a:lnTo>
                              <a:pt x="13522" y="17486"/>
                            </a:lnTo>
                            <a:cubicBezTo>
                              <a:pt x="12207" y="18443"/>
                              <a:pt x="10293" y="18144"/>
                              <a:pt x="9336" y="16828"/>
                            </a:cubicBezTo>
                            <a:lnTo>
                              <a:pt x="604" y="4747"/>
                            </a:lnTo>
                            <a:cubicBezTo>
                              <a:pt x="-413" y="3432"/>
                              <a:pt x="-114" y="1518"/>
                              <a:pt x="1262" y="56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34" name="Vrije vorm: vorm 7233">
                        <a:extLst>
                          <a:ext uri="{FF2B5EF4-FFF2-40B4-BE49-F238E27FC236}">
                            <a16:creationId xmlns:a16="http://schemas.microsoft.com/office/drawing/2014/main" id="{5FFA680C-3698-4791-A96E-DDDDB3AB5C1D}"/>
                          </a:ext>
                        </a:extLst>
                      </p:cNvPr>
                      <p:cNvSpPr/>
                      <p:nvPr/>
                    </p:nvSpPr>
                    <p:spPr>
                      <a:xfrm>
                        <a:off x="7159044" y="4868176"/>
                        <a:ext cx="7530" cy="7665"/>
                      </a:xfrm>
                      <a:custGeom>
                        <a:avLst/>
                        <a:gdLst>
                          <a:gd name="connsiteX0" fmla="*/ 5851 w 7530"/>
                          <a:gd name="connsiteY0" fmla="*/ 2327 h 7665"/>
                          <a:gd name="connsiteX1" fmla="*/ 5446 w 7530"/>
                          <a:gd name="connsiteY1" fmla="*/ 6160 h 7665"/>
                          <a:gd name="connsiteX2" fmla="*/ 1680 w 7530"/>
                          <a:gd name="connsiteY2" fmla="*/ 5339 h 7665"/>
                          <a:gd name="connsiteX3" fmla="*/ 2085 w 7530"/>
                          <a:gd name="connsiteY3" fmla="*/ 1506 h 7665"/>
                          <a:gd name="connsiteX4" fmla="*/ 5851 w 7530"/>
                          <a:gd name="connsiteY4" fmla="*/ 2327 h 7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0" h="7665">
                            <a:moveTo>
                              <a:pt x="5851" y="2327"/>
                            </a:moveTo>
                            <a:cubicBezTo>
                              <a:pt x="6779" y="3612"/>
                              <a:pt x="6598" y="5328"/>
                              <a:pt x="5446" y="6160"/>
                            </a:cubicBezTo>
                            <a:cubicBezTo>
                              <a:pt x="4295" y="6991"/>
                              <a:pt x="2608" y="6624"/>
                              <a:pt x="1680" y="5339"/>
                            </a:cubicBezTo>
                            <a:cubicBezTo>
                              <a:pt x="752" y="4053"/>
                              <a:pt x="933" y="2337"/>
                              <a:pt x="2085" y="1506"/>
                            </a:cubicBezTo>
                            <a:cubicBezTo>
                              <a:pt x="3236" y="674"/>
                              <a:pt x="4922" y="1042"/>
                              <a:pt x="5851" y="2327"/>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7230" name="Vrije vorm: vorm 7229">
                      <a:extLst>
                        <a:ext uri="{FF2B5EF4-FFF2-40B4-BE49-F238E27FC236}">
                          <a16:creationId xmlns:a16="http://schemas.microsoft.com/office/drawing/2014/main" id="{2E97AAA2-E8C4-4C98-BF64-9AEE179392BE}"/>
                        </a:ext>
                      </a:extLst>
                    </p:cNvPr>
                    <p:cNvSpPr/>
                    <p:nvPr/>
                  </p:nvSpPr>
                  <p:spPr>
                    <a:xfrm>
                      <a:off x="7090584" y="4321590"/>
                      <a:ext cx="350470" cy="400528"/>
                    </a:xfrm>
                    <a:custGeom>
                      <a:avLst/>
                      <a:gdLst>
                        <a:gd name="connsiteX0" fmla="*/ 350470 w 350470"/>
                        <a:gd name="connsiteY0" fmla="*/ 0 h 400528"/>
                        <a:gd name="connsiteX1" fmla="*/ 28648 w 350470"/>
                        <a:gd name="connsiteY1" fmla="*/ 325052 h 400528"/>
                        <a:gd name="connsiteX2" fmla="*/ 0 w 350470"/>
                        <a:gd name="connsiteY2" fmla="*/ 400529 h 400528"/>
                      </a:gdLst>
                      <a:ahLst/>
                      <a:cxnLst>
                        <a:cxn ang="0">
                          <a:pos x="connsiteX0" y="connsiteY0"/>
                        </a:cxn>
                        <a:cxn ang="0">
                          <a:pos x="connsiteX1" y="connsiteY1"/>
                        </a:cxn>
                        <a:cxn ang="0">
                          <a:pos x="connsiteX2" y="connsiteY2"/>
                        </a:cxn>
                      </a:cxnLst>
                      <a:rect l="l" t="t" r="r" b="b"/>
                      <a:pathLst>
                        <a:path w="350470" h="400528">
                          <a:moveTo>
                            <a:pt x="350470" y="0"/>
                          </a:moveTo>
                          <a:lnTo>
                            <a:pt x="28648" y="325052"/>
                          </a:lnTo>
                          <a:lnTo>
                            <a:pt x="0" y="400529"/>
                          </a:lnTo>
                        </a:path>
                      </a:pathLst>
                    </a:custGeom>
                    <a:grpFill/>
                    <a:ln w="6350" cap="flat">
                      <a:solidFill>
                        <a:schemeClr val="bg1">
                          <a:alpha val="80000"/>
                        </a:schemeClr>
                      </a:solidFill>
                      <a:prstDash val="solid"/>
                      <a:miter/>
                    </a:ln>
                  </p:spPr>
                  <p:txBody>
                    <a:bodyPr rtlCol="0" anchor="ctr"/>
                    <a:lstStyle/>
                    <a:p>
                      <a:endParaRPr lang="en-GB"/>
                    </a:p>
                  </p:txBody>
                </p:sp>
                <p:sp>
                  <p:nvSpPr>
                    <p:cNvPr id="7231" name="Vrije vorm: vorm 7230">
                      <a:extLst>
                        <a:ext uri="{FF2B5EF4-FFF2-40B4-BE49-F238E27FC236}">
                          <a16:creationId xmlns:a16="http://schemas.microsoft.com/office/drawing/2014/main" id="{B2A5B529-0F96-4761-9C94-2CB27C7A420B}"/>
                        </a:ext>
                      </a:extLst>
                    </p:cNvPr>
                    <p:cNvSpPr/>
                    <p:nvPr/>
                  </p:nvSpPr>
                  <p:spPr>
                    <a:xfrm>
                      <a:off x="7130416" y="4633006"/>
                      <a:ext cx="38934" cy="103885"/>
                    </a:xfrm>
                    <a:custGeom>
                      <a:avLst/>
                      <a:gdLst>
                        <a:gd name="connsiteX0" fmla="*/ 38935 w 38934"/>
                        <a:gd name="connsiteY0" fmla="*/ 0 h 103885"/>
                        <a:gd name="connsiteX1" fmla="*/ 0 w 38934"/>
                        <a:gd name="connsiteY1" fmla="*/ 103885 h 103885"/>
                      </a:gdLst>
                      <a:ahLst/>
                      <a:cxnLst>
                        <a:cxn ang="0">
                          <a:pos x="connsiteX0" y="connsiteY0"/>
                        </a:cxn>
                        <a:cxn ang="0">
                          <a:pos x="connsiteX1" y="connsiteY1"/>
                        </a:cxn>
                      </a:cxnLst>
                      <a:rect l="l" t="t" r="r" b="b"/>
                      <a:pathLst>
                        <a:path w="38934" h="103885">
                          <a:moveTo>
                            <a:pt x="38935" y="0"/>
                          </a:moveTo>
                          <a:lnTo>
                            <a:pt x="0" y="103885"/>
                          </a:lnTo>
                        </a:path>
                      </a:pathLst>
                    </a:custGeom>
                    <a:grpFill/>
                    <a:ln w="6350" cap="flat">
                      <a:solidFill>
                        <a:schemeClr val="bg1">
                          <a:alpha val="80000"/>
                        </a:schemeClr>
                      </a:solidFill>
                      <a:prstDash val="solid"/>
                      <a:miter/>
                    </a:ln>
                  </p:spPr>
                  <p:txBody>
                    <a:bodyPr rtlCol="0" anchor="ctr"/>
                    <a:lstStyle/>
                    <a:p>
                      <a:endParaRPr lang="en-GB"/>
                    </a:p>
                  </p:txBody>
                </p:sp>
              </p:grpSp>
            </p:grpSp>
          </p:grpSp>
          <p:grpSp>
            <p:nvGrpSpPr>
              <p:cNvPr id="7149" name="Graphic 3">
                <a:extLst>
                  <a:ext uri="{FF2B5EF4-FFF2-40B4-BE49-F238E27FC236}">
                    <a16:creationId xmlns:a16="http://schemas.microsoft.com/office/drawing/2014/main" id="{BDF7F6A0-7B1B-4E3F-8DB5-3C0AB2F07B6A}"/>
                  </a:ext>
                </a:extLst>
              </p:cNvPr>
              <p:cNvGrpSpPr/>
              <p:nvPr/>
            </p:nvGrpSpPr>
            <p:grpSpPr>
              <a:xfrm>
                <a:off x="7667246" y="4608365"/>
                <a:ext cx="174836" cy="238143"/>
                <a:chOff x="7667246" y="4608365"/>
                <a:chExt cx="174836" cy="238143"/>
              </a:xfrm>
              <a:noFill/>
            </p:grpSpPr>
            <p:sp>
              <p:nvSpPr>
                <p:cNvPr id="7218" name="Vrije vorm: vorm 7217">
                  <a:extLst>
                    <a:ext uri="{FF2B5EF4-FFF2-40B4-BE49-F238E27FC236}">
                      <a16:creationId xmlns:a16="http://schemas.microsoft.com/office/drawing/2014/main" id="{57F4B149-B5AE-4DF7-AC6D-2E024DA13063}"/>
                    </a:ext>
                  </a:extLst>
                </p:cNvPr>
                <p:cNvSpPr/>
                <p:nvPr/>
              </p:nvSpPr>
              <p:spPr>
                <a:xfrm>
                  <a:off x="7697508" y="4726480"/>
                  <a:ext cx="144574" cy="120028"/>
                </a:xfrm>
                <a:custGeom>
                  <a:avLst/>
                  <a:gdLst>
                    <a:gd name="connsiteX0" fmla="*/ 118239 w 144574"/>
                    <a:gd name="connsiteY0" fmla="*/ 543 h 120028"/>
                    <a:gd name="connsiteX1" fmla="*/ 15849 w 144574"/>
                    <a:gd name="connsiteY1" fmla="*/ 59334 h 120028"/>
                    <a:gd name="connsiteX2" fmla="*/ 0 w 144574"/>
                    <a:gd name="connsiteY2" fmla="*/ 114476 h 120028"/>
                    <a:gd name="connsiteX3" fmla="*/ 2033 w 144574"/>
                    <a:gd name="connsiteY3" fmla="*/ 117945 h 120028"/>
                    <a:gd name="connsiteX4" fmla="*/ 7476 w 144574"/>
                    <a:gd name="connsiteY4" fmla="*/ 119500 h 120028"/>
                    <a:gd name="connsiteX5" fmla="*/ 142580 w 144574"/>
                    <a:gd name="connsiteY5" fmla="*/ 41870 h 120028"/>
                    <a:gd name="connsiteX6" fmla="*/ 144016 w 144574"/>
                    <a:gd name="connsiteY6" fmla="*/ 36367 h 120028"/>
                    <a:gd name="connsiteX7" fmla="*/ 123801 w 144574"/>
                    <a:gd name="connsiteY7" fmla="*/ 2038 h 120028"/>
                    <a:gd name="connsiteX8" fmla="*/ 118239 w 144574"/>
                    <a:gd name="connsiteY8" fmla="*/ 543 h 12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574" h="120028">
                      <a:moveTo>
                        <a:pt x="118239" y="543"/>
                      </a:moveTo>
                      <a:lnTo>
                        <a:pt x="15849" y="59334"/>
                      </a:lnTo>
                      <a:lnTo>
                        <a:pt x="0" y="114476"/>
                      </a:lnTo>
                      <a:lnTo>
                        <a:pt x="2033" y="117945"/>
                      </a:lnTo>
                      <a:cubicBezTo>
                        <a:pt x="3170" y="119858"/>
                        <a:pt x="5503" y="120636"/>
                        <a:pt x="7476" y="119500"/>
                      </a:cubicBezTo>
                      <a:lnTo>
                        <a:pt x="142580" y="41870"/>
                      </a:lnTo>
                      <a:cubicBezTo>
                        <a:pt x="144494" y="40794"/>
                        <a:pt x="145152" y="38281"/>
                        <a:pt x="144016" y="36367"/>
                      </a:cubicBezTo>
                      <a:lnTo>
                        <a:pt x="123801" y="2038"/>
                      </a:lnTo>
                      <a:cubicBezTo>
                        <a:pt x="122665" y="124"/>
                        <a:pt x="120153" y="-593"/>
                        <a:pt x="118239" y="54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19" name="Vrije vorm: vorm 7218">
                  <a:extLst>
                    <a:ext uri="{FF2B5EF4-FFF2-40B4-BE49-F238E27FC236}">
                      <a16:creationId xmlns:a16="http://schemas.microsoft.com/office/drawing/2014/main" id="{A28A2928-88BA-4055-BEBC-3F5BC651BD31}"/>
                    </a:ext>
                  </a:extLst>
                </p:cNvPr>
                <p:cNvSpPr/>
                <p:nvPr/>
              </p:nvSpPr>
              <p:spPr>
                <a:xfrm>
                  <a:off x="7682341" y="4608365"/>
                  <a:ext cx="133585" cy="207351"/>
                </a:xfrm>
                <a:custGeom>
                  <a:avLst/>
                  <a:gdLst>
                    <a:gd name="connsiteX0" fmla="*/ 23899 w 133585"/>
                    <a:gd name="connsiteY0" fmla="*/ 173979 h 207351"/>
                    <a:gd name="connsiteX1" fmla="*/ 133586 w 133585"/>
                    <a:gd name="connsiteY1" fmla="*/ 110942 h 207351"/>
                    <a:gd name="connsiteX2" fmla="*/ 131492 w 133585"/>
                    <a:gd name="connsiteY2" fmla="*/ 107414 h 207351"/>
                    <a:gd name="connsiteX3" fmla="*/ 125930 w 133585"/>
                    <a:gd name="connsiteY3" fmla="*/ 105918 h 207351"/>
                    <a:gd name="connsiteX4" fmla="*/ 71027 w 133585"/>
                    <a:gd name="connsiteY4" fmla="*/ 137437 h 207351"/>
                    <a:gd name="connsiteX5" fmla="*/ 52906 w 133585"/>
                    <a:gd name="connsiteY5" fmla="*/ 93658 h 207351"/>
                    <a:gd name="connsiteX6" fmla="*/ 55836 w 133585"/>
                    <a:gd name="connsiteY6" fmla="*/ 75596 h 207351"/>
                    <a:gd name="connsiteX7" fmla="*/ 51231 w 133585"/>
                    <a:gd name="connsiteY7" fmla="*/ 69137 h 207351"/>
                    <a:gd name="connsiteX8" fmla="*/ 60022 w 133585"/>
                    <a:gd name="connsiteY8" fmla="*/ 48145 h 207351"/>
                    <a:gd name="connsiteX9" fmla="*/ 85740 w 133585"/>
                    <a:gd name="connsiteY9" fmla="*/ 64711 h 207351"/>
                    <a:gd name="connsiteX10" fmla="*/ 97462 w 133585"/>
                    <a:gd name="connsiteY10" fmla="*/ 60525 h 207351"/>
                    <a:gd name="connsiteX11" fmla="*/ 104400 w 133585"/>
                    <a:gd name="connsiteY11" fmla="*/ 49760 h 207351"/>
                    <a:gd name="connsiteX12" fmla="*/ 27188 w 133585"/>
                    <a:gd name="connsiteY12" fmla="*/ 0 h 207351"/>
                    <a:gd name="connsiteX13" fmla="*/ 20250 w 133585"/>
                    <a:gd name="connsiteY13" fmla="*/ 10765 h 207351"/>
                    <a:gd name="connsiteX14" fmla="*/ 21507 w 133585"/>
                    <a:gd name="connsiteY14" fmla="*/ 23325 h 207351"/>
                    <a:gd name="connsiteX15" fmla="*/ 46506 w 133585"/>
                    <a:gd name="connsiteY15" fmla="*/ 39413 h 207351"/>
                    <a:gd name="connsiteX16" fmla="*/ 35801 w 133585"/>
                    <a:gd name="connsiteY16" fmla="*/ 64951 h 207351"/>
                    <a:gd name="connsiteX17" fmla="*/ 32870 w 133585"/>
                    <a:gd name="connsiteY17" fmla="*/ 65848 h 207351"/>
                    <a:gd name="connsiteX18" fmla="*/ 23301 w 133585"/>
                    <a:gd name="connsiteY18" fmla="*/ 88574 h 207351"/>
                    <a:gd name="connsiteX19" fmla="*/ 38252 w 133585"/>
                    <a:gd name="connsiteY19" fmla="*/ 99519 h 207351"/>
                    <a:gd name="connsiteX20" fmla="*/ 57212 w 133585"/>
                    <a:gd name="connsiteY20" fmla="*/ 145391 h 207351"/>
                    <a:gd name="connsiteX21" fmla="*/ 1950 w 133585"/>
                    <a:gd name="connsiteY21" fmla="*/ 177149 h 207351"/>
                    <a:gd name="connsiteX22" fmla="*/ 574 w 133585"/>
                    <a:gd name="connsiteY22" fmla="*/ 182591 h 207351"/>
                    <a:gd name="connsiteX23" fmla="*/ 15167 w 133585"/>
                    <a:gd name="connsiteY23" fmla="*/ 207352 h 207351"/>
                    <a:gd name="connsiteX24" fmla="*/ 23899 w 133585"/>
                    <a:gd name="connsiteY24" fmla="*/ 173979 h 20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3585" h="207351">
                      <a:moveTo>
                        <a:pt x="23899" y="173979"/>
                      </a:moveTo>
                      <a:lnTo>
                        <a:pt x="133586" y="110942"/>
                      </a:lnTo>
                      <a:lnTo>
                        <a:pt x="131492" y="107414"/>
                      </a:lnTo>
                      <a:cubicBezTo>
                        <a:pt x="130356" y="105500"/>
                        <a:pt x="127903" y="104842"/>
                        <a:pt x="125930" y="105918"/>
                      </a:cubicBezTo>
                      <a:lnTo>
                        <a:pt x="71027" y="137437"/>
                      </a:lnTo>
                      <a:lnTo>
                        <a:pt x="52906" y="93658"/>
                      </a:lnTo>
                      <a:cubicBezTo>
                        <a:pt x="57092" y="88873"/>
                        <a:pt x="58467" y="81936"/>
                        <a:pt x="55836" y="75596"/>
                      </a:cubicBezTo>
                      <a:cubicBezTo>
                        <a:pt x="54759" y="73024"/>
                        <a:pt x="53204" y="70871"/>
                        <a:pt x="51231" y="69137"/>
                      </a:cubicBezTo>
                      <a:lnTo>
                        <a:pt x="60022" y="48145"/>
                      </a:lnTo>
                      <a:lnTo>
                        <a:pt x="85740" y="64711"/>
                      </a:lnTo>
                      <a:cubicBezTo>
                        <a:pt x="89328" y="67044"/>
                        <a:pt x="94471" y="65130"/>
                        <a:pt x="97462" y="60525"/>
                      </a:cubicBezTo>
                      <a:lnTo>
                        <a:pt x="104400" y="49760"/>
                      </a:lnTo>
                      <a:lnTo>
                        <a:pt x="27188" y="0"/>
                      </a:lnTo>
                      <a:lnTo>
                        <a:pt x="20250" y="10765"/>
                      </a:lnTo>
                      <a:cubicBezTo>
                        <a:pt x="17320" y="15311"/>
                        <a:pt x="17919" y="20992"/>
                        <a:pt x="21507" y="23325"/>
                      </a:cubicBezTo>
                      <a:lnTo>
                        <a:pt x="46506" y="39413"/>
                      </a:lnTo>
                      <a:lnTo>
                        <a:pt x="35801" y="64951"/>
                      </a:lnTo>
                      <a:cubicBezTo>
                        <a:pt x="34844" y="65130"/>
                        <a:pt x="33827" y="65429"/>
                        <a:pt x="32870" y="65848"/>
                      </a:cubicBezTo>
                      <a:cubicBezTo>
                        <a:pt x="23899" y="69436"/>
                        <a:pt x="19593" y="79603"/>
                        <a:pt x="23301" y="88574"/>
                      </a:cubicBezTo>
                      <a:cubicBezTo>
                        <a:pt x="25933" y="94914"/>
                        <a:pt x="31853" y="98981"/>
                        <a:pt x="38252" y="99519"/>
                      </a:cubicBezTo>
                      <a:lnTo>
                        <a:pt x="57212" y="145391"/>
                      </a:lnTo>
                      <a:lnTo>
                        <a:pt x="1950" y="177149"/>
                      </a:lnTo>
                      <a:cubicBezTo>
                        <a:pt x="36" y="178225"/>
                        <a:pt x="-562" y="180677"/>
                        <a:pt x="574" y="182591"/>
                      </a:cubicBezTo>
                      <a:lnTo>
                        <a:pt x="15167" y="207352"/>
                      </a:lnTo>
                      <a:lnTo>
                        <a:pt x="23899" y="173979"/>
                      </a:lnTo>
                      <a:close/>
                    </a:path>
                  </a:pathLst>
                </a:custGeom>
                <a:grpFill/>
                <a:ln w="6350" cap="flat">
                  <a:solidFill>
                    <a:schemeClr val="bg1">
                      <a:alpha val="80000"/>
                    </a:schemeClr>
                  </a:solidFill>
                  <a:prstDash val="solid"/>
                  <a:miter/>
                </a:ln>
              </p:spPr>
              <p:txBody>
                <a:bodyPr rtlCol="0" anchor="ctr"/>
                <a:lstStyle/>
                <a:p>
                  <a:endParaRPr lang="en-GB"/>
                </a:p>
              </p:txBody>
            </p:sp>
            <p:sp>
              <p:nvSpPr>
                <p:cNvPr id="7220" name="Vrije vorm: vorm 7219">
                  <a:extLst>
                    <a:ext uri="{FF2B5EF4-FFF2-40B4-BE49-F238E27FC236}">
                      <a16:creationId xmlns:a16="http://schemas.microsoft.com/office/drawing/2014/main" id="{921DCAF6-407F-459D-8FE1-39D849CBD52A}"/>
                    </a:ext>
                  </a:extLst>
                </p:cNvPr>
                <p:cNvSpPr/>
                <p:nvPr/>
              </p:nvSpPr>
              <p:spPr>
                <a:xfrm>
                  <a:off x="7667246" y="4803217"/>
                  <a:ext cx="28587" cy="32176"/>
                </a:xfrm>
                <a:custGeom>
                  <a:avLst/>
                  <a:gdLst>
                    <a:gd name="connsiteX0" fmla="*/ 28587 w 28587"/>
                    <a:gd name="connsiteY0" fmla="*/ 23804 h 32176"/>
                    <a:gd name="connsiteX1" fmla="*/ 14593 w 28587"/>
                    <a:gd name="connsiteY1" fmla="*/ 0 h 32176"/>
                    <a:gd name="connsiteX2" fmla="*/ 0 w 28587"/>
                    <a:gd name="connsiteY2" fmla="*/ 8373 h 32176"/>
                    <a:gd name="connsiteX3" fmla="*/ 13995 w 28587"/>
                    <a:gd name="connsiteY3" fmla="*/ 32176 h 32176"/>
                  </a:gdLst>
                  <a:ahLst/>
                  <a:cxnLst>
                    <a:cxn ang="0">
                      <a:pos x="connsiteX0" y="connsiteY0"/>
                    </a:cxn>
                    <a:cxn ang="0">
                      <a:pos x="connsiteX1" y="connsiteY1"/>
                    </a:cxn>
                    <a:cxn ang="0">
                      <a:pos x="connsiteX2" y="connsiteY2"/>
                    </a:cxn>
                    <a:cxn ang="0">
                      <a:pos x="connsiteX3" y="connsiteY3"/>
                    </a:cxn>
                  </a:cxnLst>
                  <a:rect l="l" t="t" r="r" b="b"/>
                  <a:pathLst>
                    <a:path w="28587" h="32176">
                      <a:moveTo>
                        <a:pt x="28587" y="23804"/>
                      </a:moveTo>
                      <a:lnTo>
                        <a:pt x="14593" y="0"/>
                      </a:lnTo>
                      <a:lnTo>
                        <a:pt x="0" y="8373"/>
                      </a:lnTo>
                      <a:lnTo>
                        <a:pt x="13995" y="32176"/>
                      </a:ln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7150" name="Graphic 3">
                <a:extLst>
                  <a:ext uri="{FF2B5EF4-FFF2-40B4-BE49-F238E27FC236}">
                    <a16:creationId xmlns:a16="http://schemas.microsoft.com/office/drawing/2014/main" id="{A33357D4-F40F-4C04-90E4-5EEE9103D3C8}"/>
                  </a:ext>
                </a:extLst>
              </p:cNvPr>
              <p:cNvGrpSpPr/>
              <p:nvPr/>
            </p:nvGrpSpPr>
            <p:grpSpPr>
              <a:xfrm>
                <a:off x="8017860" y="3685061"/>
                <a:ext cx="220787" cy="227388"/>
                <a:chOff x="8017860" y="3685061"/>
                <a:chExt cx="220787" cy="227388"/>
              </a:xfrm>
              <a:noFill/>
            </p:grpSpPr>
            <p:grpSp>
              <p:nvGrpSpPr>
                <p:cNvPr id="7195" name="Graphic 3">
                  <a:extLst>
                    <a:ext uri="{FF2B5EF4-FFF2-40B4-BE49-F238E27FC236}">
                      <a16:creationId xmlns:a16="http://schemas.microsoft.com/office/drawing/2014/main" id="{D2F69658-C763-4E44-ACB2-48819112E9A5}"/>
                    </a:ext>
                  </a:extLst>
                </p:cNvPr>
                <p:cNvGrpSpPr/>
                <p:nvPr/>
              </p:nvGrpSpPr>
              <p:grpSpPr>
                <a:xfrm>
                  <a:off x="8032800" y="3870631"/>
                  <a:ext cx="72818" cy="41818"/>
                  <a:chOff x="8032800" y="3870631"/>
                  <a:chExt cx="72818" cy="41818"/>
                </a:xfrm>
                <a:grpFill/>
              </p:grpSpPr>
              <p:sp>
                <p:nvSpPr>
                  <p:cNvPr id="7210" name="Vrije vorm: vorm 7209">
                    <a:extLst>
                      <a:ext uri="{FF2B5EF4-FFF2-40B4-BE49-F238E27FC236}">
                        <a16:creationId xmlns:a16="http://schemas.microsoft.com/office/drawing/2014/main" id="{1180236F-35EB-4B12-B330-B4406C77563F}"/>
                      </a:ext>
                    </a:extLst>
                  </p:cNvPr>
                  <p:cNvSpPr/>
                  <p:nvPr/>
                </p:nvSpPr>
                <p:spPr>
                  <a:xfrm>
                    <a:off x="8032800" y="3870631"/>
                    <a:ext cx="72818" cy="41818"/>
                  </a:xfrm>
                  <a:custGeom>
                    <a:avLst/>
                    <a:gdLst>
                      <a:gd name="connsiteX0" fmla="*/ 71277 w 72818"/>
                      <a:gd name="connsiteY0" fmla="*/ 23158 h 41818"/>
                      <a:gd name="connsiteX1" fmla="*/ 72114 w 72818"/>
                      <a:gd name="connsiteY1" fmla="*/ 26148 h 41818"/>
                      <a:gd name="connsiteX2" fmla="*/ 48131 w 72818"/>
                      <a:gd name="connsiteY2" fmla="*/ 41459 h 41818"/>
                      <a:gd name="connsiteX3" fmla="*/ 42988 w 72818"/>
                      <a:gd name="connsiteY3" fmla="*/ 40741 h 41818"/>
                      <a:gd name="connsiteX4" fmla="*/ 1542 w 72818"/>
                      <a:gd name="connsiteY4" fmla="*/ 18314 h 41818"/>
                      <a:gd name="connsiteX5" fmla="*/ 705 w 72818"/>
                      <a:gd name="connsiteY5" fmla="*/ 15323 h 41818"/>
                      <a:gd name="connsiteX6" fmla="*/ 24627 w 72818"/>
                      <a:gd name="connsiteY6" fmla="*/ 491 h 41818"/>
                      <a:gd name="connsiteX7" fmla="*/ 29831 w 72818"/>
                      <a:gd name="connsiteY7" fmla="*/ 790 h 41818"/>
                      <a:gd name="connsiteX8" fmla="*/ 71277 w 72818"/>
                      <a:gd name="connsiteY8" fmla="*/ 23158 h 41818"/>
                      <a:gd name="connsiteX9" fmla="*/ 15776 w 72818"/>
                      <a:gd name="connsiteY9" fmla="*/ 12094 h 41818"/>
                      <a:gd name="connsiteX10" fmla="*/ 14460 w 72818"/>
                      <a:gd name="connsiteY10" fmla="*/ 12094 h 41818"/>
                      <a:gd name="connsiteX11" fmla="*/ 8001 w 72818"/>
                      <a:gd name="connsiteY11" fmla="*/ 16101 h 41818"/>
                      <a:gd name="connsiteX12" fmla="*/ 8001 w 72818"/>
                      <a:gd name="connsiteY12" fmla="*/ 16878 h 41818"/>
                      <a:gd name="connsiteX13" fmla="*/ 9316 w 72818"/>
                      <a:gd name="connsiteY13" fmla="*/ 17596 h 41818"/>
                      <a:gd name="connsiteX14" fmla="*/ 10632 w 72818"/>
                      <a:gd name="connsiteY14" fmla="*/ 17536 h 41818"/>
                      <a:gd name="connsiteX15" fmla="*/ 17092 w 72818"/>
                      <a:gd name="connsiteY15" fmla="*/ 13529 h 41818"/>
                      <a:gd name="connsiteX16" fmla="*/ 17092 w 72818"/>
                      <a:gd name="connsiteY16" fmla="*/ 12811 h 41818"/>
                      <a:gd name="connsiteX17" fmla="*/ 15776 w 72818"/>
                      <a:gd name="connsiteY17" fmla="*/ 12094 h 41818"/>
                      <a:gd name="connsiteX18" fmla="*/ 27916 w 72818"/>
                      <a:gd name="connsiteY18" fmla="*/ 4558 h 41818"/>
                      <a:gd name="connsiteX19" fmla="*/ 26601 w 72818"/>
                      <a:gd name="connsiteY19" fmla="*/ 4558 h 41818"/>
                      <a:gd name="connsiteX20" fmla="*/ 20142 w 72818"/>
                      <a:gd name="connsiteY20" fmla="*/ 8565 h 41818"/>
                      <a:gd name="connsiteX21" fmla="*/ 20142 w 72818"/>
                      <a:gd name="connsiteY21" fmla="*/ 9343 h 41818"/>
                      <a:gd name="connsiteX22" fmla="*/ 21457 w 72818"/>
                      <a:gd name="connsiteY22" fmla="*/ 10060 h 41818"/>
                      <a:gd name="connsiteX23" fmla="*/ 22773 w 72818"/>
                      <a:gd name="connsiteY23" fmla="*/ 10001 h 41818"/>
                      <a:gd name="connsiteX24" fmla="*/ 29233 w 72818"/>
                      <a:gd name="connsiteY24" fmla="*/ 5993 h 41818"/>
                      <a:gd name="connsiteX25" fmla="*/ 29233 w 72818"/>
                      <a:gd name="connsiteY25" fmla="*/ 5276 h 41818"/>
                      <a:gd name="connsiteX26" fmla="*/ 27916 w 72818"/>
                      <a:gd name="connsiteY26" fmla="*/ 4558 h 41818"/>
                      <a:gd name="connsiteX27" fmla="*/ 36170 w 72818"/>
                      <a:gd name="connsiteY27" fmla="*/ 6651 h 41818"/>
                      <a:gd name="connsiteX28" fmla="*/ 12187 w 72818"/>
                      <a:gd name="connsiteY28" fmla="*/ 21543 h 41818"/>
                      <a:gd name="connsiteX29" fmla="*/ 45560 w 72818"/>
                      <a:gd name="connsiteY29" fmla="*/ 39366 h 41818"/>
                      <a:gd name="connsiteX30" fmla="*/ 69243 w 72818"/>
                      <a:gd name="connsiteY30" fmla="*/ 24534 h 41818"/>
                      <a:gd name="connsiteX31" fmla="*/ 36170 w 72818"/>
                      <a:gd name="connsiteY31" fmla="*/ 6651 h 4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2818" h="41818">
                        <a:moveTo>
                          <a:pt x="71277" y="23158"/>
                        </a:moveTo>
                        <a:cubicBezTo>
                          <a:pt x="72951" y="24055"/>
                          <a:pt x="73311" y="25371"/>
                          <a:pt x="72114" y="26148"/>
                        </a:cubicBezTo>
                        <a:lnTo>
                          <a:pt x="48131" y="41459"/>
                        </a:lnTo>
                        <a:cubicBezTo>
                          <a:pt x="46935" y="42236"/>
                          <a:pt x="44663" y="41639"/>
                          <a:pt x="42988" y="40741"/>
                        </a:cubicBezTo>
                        <a:lnTo>
                          <a:pt x="1542" y="18314"/>
                        </a:lnTo>
                        <a:cubicBezTo>
                          <a:pt x="-133" y="17417"/>
                          <a:pt x="-492" y="16101"/>
                          <a:pt x="705" y="15323"/>
                        </a:cubicBezTo>
                        <a:lnTo>
                          <a:pt x="24627" y="491"/>
                        </a:lnTo>
                        <a:cubicBezTo>
                          <a:pt x="25823" y="-286"/>
                          <a:pt x="28156" y="-107"/>
                          <a:pt x="29831" y="790"/>
                        </a:cubicBezTo>
                        <a:lnTo>
                          <a:pt x="71277" y="23158"/>
                        </a:lnTo>
                        <a:close/>
                        <a:moveTo>
                          <a:pt x="15776" y="12094"/>
                        </a:moveTo>
                        <a:cubicBezTo>
                          <a:pt x="15417" y="11915"/>
                          <a:pt x="14819" y="11915"/>
                          <a:pt x="14460" y="12094"/>
                        </a:cubicBezTo>
                        <a:lnTo>
                          <a:pt x="8001" y="16101"/>
                        </a:lnTo>
                        <a:cubicBezTo>
                          <a:pt x="7642" y="16340"/>
                          <a:pt x="7642" y="16699"/>
                          <a:pt x="8001" y="16878"/>
                        </a:cubicBezTo>
                        <a:lnTo>
                          <a:pt x="9316" y="17596"/>
                        </a:lnTo>
                        <a:cubicBezTo>
                          <a:pt x="9676" y="17776"/>
                          <a:pt x="10274" y="17716"/>
                          <a:pt x="10632" y="17536"/>
                        </a:cubicBezTo>
                        <a:lnTo>
                          <a:pt x="17092" y="13529"/>
                        </a:lnTo>
                        <a:cubicBezTo>
                          <a:pt x="17450" y="13290"/>
                          <a:pt x="17450" y="12991"/>
                          <a:pt x="17092" y="12811"/>
                        </a:cubicBezTo>
                        <a:lnTo>
                          <a:pt x="15776" y="12094"/>
                        </a:lnTo>
                        <a:close/>
                        <a:moveTo>
                          <a:pt x="27916" y="4558"/>
                        </a:moveTo>
                        <a:cubicBezTo>
                          <a:pt x="27558" y="4379"/>
                          <a:pt x="26960" y="4379"/>
                          <a:pt x="26601" y="4558"/>
                        </a:cubicBezTo>
                        <a:lnTo>
                          <a:pt x="20142" y="8565"/>
                        </a:lnTo>
                        <a:cubicBezTo>
                          <a:pt x="19783" y="8804"/>
                          <a:pt x="19783" y="9163"/>
                          <a:pt x="20142" y="9343"/>
                        </a:cubicBezTo>
                        <a:lnTo>
                          <a:pt x="21457" y="10060"/>
                        </a:lnTo>
                        <a:cubicBezTo>
                          <a:pt x="21817" y="10240"/>
                          <a:pt x="22415" y="10180"/>
                          <a:pt x="22773" y="10001"/>
                        </a:cubicBezTo>
                        <a:lnTo>
                          <a:pt x="29233" y="5993"/>
                        </a:lnTo>
                        <a:cubicBezTo>
                          <a:pt x="29591" y="5754"/>
                          <a:pt x="29591" y="5455"/>
                          <a:pt x="29233" y="5276"/>
                        </a:cubicBezTo>
                        <a:lnTo>
                          <a:pt x="27916" y="4558"/>
                        </a:lnTo>
                        <a:close/>
                        <a:moveTo>
                          <a:pt x="36170" y="6651"/>
                        </a:moveTo>
                        <a:lnTo>
                          <a:pt x="12187" y="21543"/>
                        </a:lnTo>
                        <a:lnTo>
                          <a:pt x="45560" y="39366"/>
                        </a:lnTo>
                        <a:lnTo>
                          <a:pt x="69243" y="24534"/>
                        </a:lnTo>
                        <a:lnTo>
                          <a:pt x="36170" y="6651"/>
                        </a:lnTo>
                        <a:close/>
                      </a:path>
                    </a:pathLst>
                  </a:custGeom>
                  <a:grpFill/>
                  <a:ln w="6350" cap="flat">
                    <a:solidFill>
                      <a:schemeClr val="bg1">
                        <a:alpha val="80000"/>
                      </a:schemeClr>
                    </a:solidFill>
                    <a:prstDash val="solid"/>
                    <a:miter/>
                  </a:ln>
                </p:spPr>
                <p:txBody>
                  <a:bodyPr rtlCol="0" anchor="ctr"/>
                  <a:lstStyle/>
                  <a:p>
                    <a:endParaRPr lang="en-GB"/>
                  </a:p>
                </p:txBody>
              </p:sp>
              <p:sp>
                <p:nvSpPr>
                  <p:cNvPr id="7211" name="Vrije vorm: vorm 7210">
                    <a:extLst>
                      <a:ext uri="{FF2B5EF4-FFF2-40B4-BE49-F238E27FC236}">
                        <a16:creationId xmlns:a16="http://schemas.microsoft.com/office/drawing/2014/main" id="{79A0569A-BBD8-456E-A5C9-B6AC4782981D}"/>
                      </a:ext>
                    </a:extLst>
                  </p:cNvPr>
                  <p:cNvSpPr/>
                  <p:nvPr/>
                </p:nvSpPr>
                <p:spPr>
                  <a:xfrm>
                    <a:off x="8082399" y="3894865"/>
                    <a:ext cx="4726" cy="5346"/>
                  </a:xfrm>
                  <a:custGeom>
                    <a:avLst/>
                    <a:gdLst>
                      <a:gd name="connsiteX0" fmla="*/ 148 w 4726"/>
                      <a:gd name="connsiteY0" fmla="*/ 4605 h 5346"/>
                      <a:gd name="connsiteX1" fmla="*/ 3198 w 4726"/>
                      <a:gd name="connsiteY1" fmla="*/ 359 h 5346"/>
                      <a:gd name="connsiteX2" fmla="*/ 3318 w 4726"/>
                      <a:gd name="connsiteY2" fmla="*/ 119 h 5346"/>
                      <a:gd name="connsiteX3" fmla="*/ 3856 w 4726"/>
                      <a:gd name="connsiteY3" fmla="*/ 0 h 5346"/>
                      <a:gd name="connsiteX4" fmla="*/ 4693 w 4726"/>
                      <a:gd name="connsiteY4" fmla="*/ 478 h 5346"/>
                      <a:gd name="connsiteX5" fmla="*/ 1344 w 4726"/>
                      <a:gd name="connsiteY5" fmla="*/ 5263 h 5346"/>
                      <a:gd name="connsiteX6" fmla="*/ 267 w 4726"/>
                      <a:gd name="connsiteY6" fmla="*/ 5203 h 5346"/>
                      <a:gd name="connsiteX7" fmla="*/ 148 w 4726"/>
                      <a:gd name="connsiteY7" fmla="*/ 4605 h 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6" h="5346">
                        <a:moveTo>
                          <a:pt x="148" y="4605"/>
                        </a:moveTo>
                        <a:cubicBezTo>
                          <a:pt x="208" y="4605"/>
                          <a:pt x="3617" y="2572"/>
                          <a:pt x="3198" y="359"/>
                        </a:cubicBezTo>
                        <a:cubicBezTo>
                          <a:pt x="3198" y="239"/>
                          <a:pt x="3258" y="179"/>
                          <a:pt x="3318" y="119"/>
                        </a:cubicBezTo>
                        <a:cubicBezTo>
                          <a:pt x="3437" y="60"/>
                          <a:pt x="3617" y="0"/>
                          <a:pt x="3856" y="0"/>
                        </a:cubicBezTo>
                        <a:cubicBezTo>
                          <a:pt x="4275" y="60"/>
                          <a:pt x="4633" y="239"/>
                          <a:pt x="4693" y="478"/>
                        </a:cubicBezTo>
                        <a:cubicBezTo>
                          <a:pt x="5112" y="2990"/>
                          <a:pt x="1463" y="5203"/>
                          <a:pt x="1344" y="5263"/>
                        </a:cubicBezTo>
                        <a:cubicBezTo>
                          <a:pt x="1105" y="5382"/>
                          <a:pt x="627" y="5382"/>
                          <a:pt x="267" y="5203"/>
                        </a:cubicBezTo>
                        <a:cubicBezTo>
                          <a:pt x="-32" y="5024"/>
                          <a:pt x="-92" y="4785"/>
                          <a:pt x="148" y="460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12" name="Vrije vorm: vorm 7211">
                    <a:extLst>
                      <a:ext uri="{FF2B5EF4-FFF2-40B4-BE49-F238E27FC236}">
                        <a16:creationId xmlns:a16="http://schemas.microsoft.com/office/drawing/2014/main" id="{4787013F-91AB-4336-BF2E-32421B3E588F}"/>
                      </a:ext>
                    </a:extLst>
                  </p:cNvPr>
                  <p:cNvSpPr/>
                  <p:nvPr/>
                </p:nvSpPr>
                <p:spPr>
                  <a:xfrm>
                    <a:off x="8060598" y="3892061"/>
                    <a:ext cx="10534" cy="1534"/>
                  </a:xfrm>
                  <a:custGeom>
                    <a:avLst/>
                    <a:gdLst>
                      <a:gd name="connsiteX0" fmla="*/ 9928 w 10534"/>
                      <a:gd name="connsiteY0" fmla="*/ 471 h 1534"/>
                      <a:gd name="connsiteX1" fmla="*/ 10526 w 10534"/>
                      <a:gd name="connsiteY1" fmla="*/ 1069 h 1534"/>
                      <a:gd name="connsiteX2" fmla="*/ 9629 w 10534"/>
                      <a:gd name="connsiteY2" fmla="*/ 1249 h 1534"/>
                      <a:gd name="connsiteX3" fmla="*/ 1256 w 10534"/>
                      <a:gd name="connsiteY3" fmla="*/ 1488 h 1534"/>
                      <a:gd name="connsiteX4" fmla="*/ 179 w 10534"/>
                      <a:gd name="connsiteY4" fmla="*/ 1249 h 1534"/>
                      <a:gd name="connsiteX5" fmla="*/ 179 w 10534"/>
                      <a:gd name="connsiteY5" fmla="*/ 710 h 1534"/>
                      <a:gd name="connsiteX6" fmla="*/ 299 w 10534"/>
                      <a:gd name="connsiteY6" fmla="*/ 651 h 1534"/>
                      <a:gd name="connsiteX7" fmla="*/ 9928 w 10534"/>
                      <a:gd name="connsiteY7" fmla="*/ 471 h 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34" h="1534">
                        <a:moveTo>
                          <a:pt x="9928" y="471"/>
                        </a:moveTo>
                        <a:cubicBezTo>
                          <a:pt x="10347" y="591"/>
                          <a:pt x="10585" y="830"/>
                          <a:pt x="10526" y="1069"/>
                        </a:cubicBezTo>
                        <a:cubicBezTo>
                          <a:pt x="10466" y="1309"/>
                          <a:pt x="10047" y="1368"/>
                          <a:pt x="9629" y="1249"/>
                        </a:cubicBezTo>
                        <a:cubicBezTo>
                          <a:pt x="9569" y="1249"/>
                          <a:pt x="5382" y="232"/>
                          <a:pt x="1256" y="1488"/>
                        </a:cubicBezTo>
                        <a:cubicBezTo>
                          <a:pt x="957" y="1608"/>
                          <a:pt x="478" y="1488"/>
                          <a:pt x="179" y="1249"/>
                        </a:cubicBezTo>
                        <a:cubicBezTo>
                          <a:pt x="-60" y="1069"/>
                          <a:pt x="-60" y="830"/>
                          <a:pt x="179" y="710"/>
                        </a:cubicBezTo>
                        <a:cubicBezTo>
                          <a:pt x="239" y="710"/>
                          <a:pt x="239" y="651"/>
                          <a:pt x="299" y="651"/>
                        </a:cubicBezTo>
                        <a:cubicBezTo>
                          <a:pt x="5024" y="-665"/>
                          <a:pt x="9748" y="412"/>
                          <a:pt x="9928" y="47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13" name="Vrije vorm: vorm 7212">
                    <a:extLst>
                      <a:ext uri="{FF2B5EF4-FFF2-40B4-BE49-F238E27FC236}">
                        <a16:creationId xmlns:a16="http://schemas.microsoft.com/office/drawing/2014/main" id="{3A6254AC-B6CA-46E3-B168-8AFE2EA2E735}"/>
                      </a:ext>
                    </a:extLst>
                  </p:cNvPr>
                  <p:cNvSpPr/>
                  <p:nvPr/>
                </p:nvSpPr>
                <p:spPr>
                  <a:xfrm>
                    <a:off x="8060224" y="3890704"/>
                    <a:ext cx="13831" cy="4400"/>
                  </a:xfrm>
                  <a:custGeom>
                    <a:avLst/>
                    <a:gdLst>
                      <a:gd name="connsiteX0" fmla="*/ 12096 w 13831"/>
                      <a:gd name="connsiteY0" fmla="*/ 1111 h 4400"/>
                      <a:gd name="connsiteX1" fmla="*/ 13831 w 13831"/>
                      <a:gd name="connsiteY1" fmla="*/ 2666 h 4400"/>
                      <a:gd name="connsiteX2" fmla="*/ 8986 w 13831"/>
                      <a:gd name="connsiteY2" fmla="*/ 3922 h 4400"/>
                      <a:gd name="connsiteX3" fmla="*/ 8388 w 13831"/>
                      <a:gd name="connsiteY3" fmla="*/ 3862 h 4400"/>
                      <a:gd name="connsiteX4" fmla="*/ 3424 w 13831"/>
                      <a:gd name="connsiteY4" fmla="*/ 4341 h 4400"/>
                      <a:gd name="connsiteX5" fmla="*/ 2348 w 13831"/>
                      <a:gd name="connsiteY5" fmla="*/ 4162 h 4400"/>
                      <a:gd name="connsiteX6" fmla="*/ 2348 w 13831"/>
                      <a:gd name="connsiteY6" fmla="*/ 3563 h 4400"/>
                      <a:gd name="connsiteX7" fmla="*/ 8209 w 13831"/>
                      <a:gd name="connsiteY7" fmla="*/ 2965 h 4400"/>
                      <a:gd name="connsiteX8" fmla="*/ 8806 w 13831"/>
                      <a:gd name="connsiteY8" fmla="*/ 3025 h 4400"/>
                      <a:gd name="connsiteX9" fmla="*/ 12336 w 13831"/>
                      <a:gd name="connsiteY9" fmla="*/ 2427 h 4400"/>
                      <a:gd name="connsiteX10" fmla="*/ 11438 w 13831"/>
                      <a:gd name="connsiteY10" fmla="*/ 1709 h 4400"/>
                      <a:gd name="connsiteX11" fmla="*/ 1211 w 13831"/>
                      <a:gd name="connsiteY11" fmla="*/ 1410 h 4400"/>
                      <a:gd name="connsiteX12" fmla="*/ 135 w 13831"/>
                      <a:gd name="connsiteY12" fmla="*/ 1171 h 4400"/>
                      <a:gd name="connsiteX13" fmla="*/ 135 w 13831"/>
                      <a:gd name="connsiteY13" fmla="*/ 693 h 4400"/>
                      <a:gd name="connsiteX14" fmla="*/ 314 w 13831"/>
                      <a:gd name="connsiteY14" fmla="*/ 633 h 4400"/>
                      <a:gd name="connsiteX15" fmla="*/ 12096 w 13831"/>
                      <a:gd name="connsiteY15" fmla="*/ 1111 h 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31" h="4400">
                        <a:moveTo>
                          <a:pt x="12096" y="1111"/>
                        </a:moveTo>
                        <a:cubicBezTo>
                          <a:pt x="13232" y="1590"/>
                          <a:pt x="13831" y="2128"/>
                          <a:pt x="13831" y="2666"/>
                        </a:cubicBezTo>
                        <a:cubicBezTo>
                          <a:pt x="13890" y="4281"/>
                          <a:pt x="11139" y="4102"/>
                          <a:pt x="8986" y="3922"/>
                        </a:cubicBezTo>
                        <a:cubicBezTo>
                          <a:pt x="8806" y="3922"/>
                          <a:pt x="8568" y="3862"/>
                          <a:pt x="8388" y="3862"/>
                        </a:cubicBezTo>
                        <a:cubicBezTo>
                          <a:pt x="5278" y="3623"/>
                          <a:pt x="3424" y="4341"/>
                          <a:pt x="3424" y="4341"/>
                        </a:cubicBezTo>
                        <a:cubicBezTo>
                          <a:pt x="3125" y="4461"/>
                          <a:pt x="2646" y="4401"/>
                          <a:pt x="2348" y="4162"/>
                        </a:cubicBezTo>
                        <a:cubicBezTo>
                          <a:pt x="2048" y="3982"/>
                          <a:pt x="2048" y="3683"/>
                          <a:pt x="2348" y="3563"/>
                        </a:cubicBezTo>
                        <a:cubicBezTo>
                          <a:pt x="2467" y="3503"/>
                          <a:pt x="4560" y="2726"/>
                          <a:pt x="8209" y="2965"/>
                        </a:cubicBezTo>
                        <a:cubicBezTo>
                          <a:pt x="8388" y="2965"/>
                          <a:pt x="8627" y="3025"/>
                          <a:pt x="8806" y="3025"/>
                        </a:cubicBezTo>
                        <a:cubicBezTo>
                          <a:pt x="11319" y="3204"/>
                          <a:pt x="12336" y="3264"/>
                          <a:pt x="12336" y="2427"/>
                        </a:cubicBezTo>
                        <a:cubicBezTo>
                          <a:pt x="12336" y="2128"/>
                          <a:pt x="11737" y="1829"/>
                          <a:pt x="11438" y="1709"/>
                        </a:cubicBezTo>
                        <a:cubicBezTo>
                          <a:pt x="9345" y="812"/>
                          <a:pt x="5098" y="453"/>
                          <a:pt x="1211" y="1410"/>
                        </a:cubicBezTo>
                        <a:cubicBezTo>
                          <a:pt x="852" y="1470"/>
                          <a:pt x="374" y="1410"/>
                          <a:pt x="135" y="1171"/>
                        </a:cubicBezTo>
                        <a:cubicBezTo>
                          <a:pt x="-45" y="992"/>
                          <a:pt x="-45" y="812"/>
                          <a:pt x="135" y="693"/>
                        </a:cubicBezTo>
                        <a:cubicBezTo>
                          <a:pt x="195" y="693"/>
                          <a:pt x="254" y="633"/>
                          <a:pt x="314" y="633"/>
                        </a:cubicBezTo>
                        <a:cubicBezTo>
                          <a:pt x="4680" y="-504"/>
                          <a:pt x="9524" y="35"/>
                          <a:pt x="12096" y="111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14" name="Vrije vorm: vorm 7213">
                    <a:extLst>
                      <a:ext uri="{FF2B5EF4-FFF2-40B4-BE49-F238E27FC236}">
                        <a16:creationId xmlns:a16="http://schemas.microsoft.com/office/drawing/2014/main" id="{1AB332FD-3A8B-4546-A1A5-C08B98625F54}"/>
                      </a:ext>
                    </a:extLst>
                  </p:cNvPr>
                  <p:cNvSpPr/>
                  <p:nvPr/>
                </p:nvSpPr>
                <p:spPr>
                  <a:xfrm>
                    <a:off x="8060176" y="3889459"/>
                    <a:ext cx="16296" cy="6856"/>
                  </a:xfrm>
                  <a:custGeom>
                    <a:avLst/>
                    <a:gdLst>
                      <a:gd name="connsiteX0" fmla="*/ 4130 w 16296"/>
                      <a:gd name="connsiteY0" fmla="*/ 6004 h 6856"/>
                      <a:gd name="connsiteX1" fmla="*/ 9931 w 16296"/>
                      <a:gd name="connsiteY1" fmla="*/ 5825 h 6856"/>
                      <a:gd name="connsiteX2" fmla="*/ 13758 w 16296"/>
                      <a:gd name="connsiteY2" fmla="*/ 5466 h 6856"/>
                      <a:gd name="connsiteX3" fmla="*/ 14416 w 16296"/>
                      <a:gd name="connsiteY3" fmla="*/ 3313 h 6856"/>
                      <a:gd name="connsiteX4" fmla="*/ 10110 w 16296"/>
                      <a:gd name="connsiteY4" fmla="*/ 1040 h 6856"/>
                      <a:gd name="connsiteX5" fmla="*/ 1019 w 16296"/>
                      <a:gd name="connsiteY5" fmla="*/ 980 h 6856"/>
                      <a:gd name="connsiteX6" fmla="*/ 62 w 16296"/>
                      <a:gd name="connsiteY6" fmla="*/ 621 h 6856"/>
                      <a:gd name="connsiteX7" fmla="*/ 182 w 16296"/>
                      <a:gd name="connsiteY7" fmla="*/ 263 h 6856"/>
                      <a:gd name="connsiteX8" fmla="*/ 540 w 16296"/>
                      <a:gd name="connsiteY8" fmla="*/ 143 h 6856"/>
                      <a:gd name="connsiteX9" fmla="*/ 10110 w 16296"/>
                      <a:gd name="connsiteY9" fmla="*/ 203 h 6856"/>
                      <a:gd name="connsiteX10" fmla="*/ 15792 w 16296"/>
                      <a:gd name="connsiteY10" fmla="*/ 3193 h 6856"/>
                      <a:gd name="connsiteX11" fmla="*/ 14894 w 16296"/>
                      <a:gd name="connsiteY11" fmla="*/ 6183 h 6856"/>
                      <a:gd name="connsiteX12" fmla="*/ 10050 w 16296"/>
                      <a:gd name="connsiteY12" fmla="*/ 6662 h 6856"/>
                      <a:gd name="connsiteX13" fmla="*/ 4966 w 16296"/>
                      <a:gd name="connsiteY13" fmla="*/ 6842 h 6856"/>
                      <a:gd name="connsiteX14" fmla="*/ 3890 w 16296"/>
                      <a:gd name="connsiteY14" fmla="*/ 6543 h 6856"/>
                      <a:gd name="connsiteX15" fmla="*/ 4130 w 16296"/>
                      <a:gd name="connsiteY15" fmla="*/ 6004 h 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296" h="6856">
                        <a:moveTo>
                          <a:pt x="4130" y="6004"/>
                        </a:moveTo>
                        <a:cubicBezTo>
                          <a:pt x="6521" y="5466"/>
                          <a:pt x="8376" y="5645"/>
                          <a:pt x="9931" y="5825"/>
                        </a:cubicBezTo>
                        <a:cubicBezTo>
                          <a:pt x="11426" y="5944"/>
                          <a:pt x="12502" y="6064"/>
                          <a:pt x="13758" y="5466"/>
                        </a:cubicBezTo>
                        <a:cubicBezTo>
                          <a:pt x="15134" y="4808"/>
                          <a:pt x="14894" y="3971"/>
                          <a:pt x="14416" y="3313"/>
                        </a:cubicBezTo>
                        <a:cubicBezTo>
                          <a:pt x="13639" y="2236"/>
                          <a:pt x="11724" y="1220"/>
                          <a:pt x="10110" y="1040"/>
                        </a:cubicBezTo>
                        <a:cubicBezTo>
                          <a:pt x="7060" y="621"/>
                          <a:pt x="1079" y="980"/>
                          <a:pt x="1019" y="980"/>
                        </a:cubicBezTo>
                        <a:cubicBezTo>
                          <a:pt x="600" y="980"/>
                          <a:pt x="182" y="801"/>
                          <a:pt x="62" y="621"/>
                        </a:cubicBezTo>
                        <a:cubicBezTo>
                          <a:pt x="-57" y="502"/>
                          <a:pt x="2" y="322"/>
                          <a:pt x="182" y="263"/>
                        </a:cubicBezTo>
                        <a:cubicBezTo>
                          <a:pt x="242" y="203"/>
                          <a:pt x="362" y="203"/>
                          <a:pt x="540" y="143"/>
                        </a:cubicBezTo>
                        <a:cubicBezTo>
                          <a:pt x="780" y="143"/>
                          <a:pt x="6821" y="-216"/>
                          <a:pt x="10110" y="203"/>
                        </a:cubicBezTo>
                        <a:cubicBezTo>
                          <a:pt x="12323" y="502"/>
                          <a:pt x="14775" y="1758"/>
                          <a:pt x="15792" y="3193"/>
                        </a:cubicBezTo>
                        <a:cubicBezTo>
                          <a:pt x="16689" y="4449"/>
                          <a:pt x="16390" y="5526"/>
                          <a:pt x="14894" y="6183"/>
                        </a:cubicBezTo>
                        <a:cubicBezTo>
                          <a:pt x="13220" y="6961"/>
                          <a:pt x="11665" y="6782"/>
                          <a:pt x="10050" y="6662"/>
                        </a:cubicBezTo>
                        <a:cubicBezTo>
                          <a:pt x="8555" y="6543"/>
                          <a:pt x="7060" y="6363"/>
                          <a:pt x="4966" y="6842"/>
                        </a:cubicBezTo>
                        <a:cubicBezTo>
                          <a:pt x="4608" y="6901"/>
                          <a:pt x="4130" y="6782"/>
                          <a:pt x="3890" y="6543"/>
                        </a:cubicBezTo>
                        <a:cubicBezTo>
                          <a:pt x="3651" y="6363"/>
                          <a:pt x="3770" y="6124"/>
                          <a:pt x="4130" y="600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15" name="Vrije vorm: vorm 7214">
                    <a:extLst>
                      <a:ext uri="{FF2B5EF4-FFF2-40B4-BE49-F238E27FC236}">
                        <a16:creationId xmlns:a16="http://schemas.microsoft.com/office/drawing/2014/main" id="{FB5FFEE2-EDE8-4ED0-8920-4D1995DE67AD}"/>
                      </a:ext>
                    </a:extLst>
                  </p:cNvPr>
                  <p:cNvSpPr/>
                  <p:nvPr/>
                </p:nvSpPr>
                <p:spPr>
                  <a:xfrm>
                    <a:off x="8063061" y="3887687"/>
                    <a:ext cx="16172" cy="10110"/>
                  </a:xfrm>
                  <a:custGeom>
                    <a:avLst/>
                    <a:gdLst>
                      <a:gd name="connsiteX0" fmla="*/ 3518 w 16172"/>
                      <a:gd name="connsiteY0" fmla="*/ 9152 h 10110"/>
                      <a:gd name="connsiteX1" fmla="*/ 4295 w 16172"/>
                      <a:gd name="connsiteY1" fmla="*/ 8853 h 10110"/>
                      <a:gd name="connsiteX2" fmla="*/ 13266 w 16172"/>
                      <a:gd name="connsiteY2" fmla="*/ 8434 h 10110"/>
                      <a:gd name="connsiteX3" fmla="*/ 14402 w 16172"/>
                      <a:gd name="connsiteY3" fmla="*/ 5444 h 10110"/>
                      <a:gd name="connsiteX4" fmla="*/ 9499 w 16172"/>
                      <a:gd name="connsiteY4" fmla="*/ 2035 h 10110"/>
                      <a:gd name="connsiteX5" fmla="*/ 1125 w 16172"/>
                      <a:gd name="connsiteY5" fmla="*/ 1018 h 10110"/>
                      <a:gd name="connsiteX6" fmla="*/ 108 w 16172"/>
                      <a:gd name="connsiteY6" fmla="*/ 719 h 10110"/>
                      <a:gd name="connsiteX7" fmla="*/ 168 w 16172"/>
                      <a:gd name="connsiteY7" fmla="*/ 241 h 10110"/>
                      <a:gd name="connsiteX8" fmla="*/ 408 w 16172"/>
                      <a:gd name="connsiteY8" fmla="*/ 181 h 10110"/>
                      <a:gd name="connsiteX9" fmla="*/ 10097 w 16172"/>
                      <a:gd name="connsiteY9" fmla="*/ 1317 h 10110"/>
                      <a:gd name="connsiteX10" fmla="*/ 15898 w 16172"/>
                      <a:gd name="connsiteY10" fmla="*/ 5444 h 10110"/>
                      <a:gd name="connsiteX11" fmla="*/ 14462 w 16172"/>
                      <a:gd name="connsiteY11" fmla="*/ 9152 h 10110"/>
                      <a:gd name="connsiteX12" fmla="*/ 4236 w 16172"/>
                      <a:gd name="connsiteY12" fmla="*/ 9690 h 10110"/>
                      <a:gd name="connsiteX13" fmla="*/ 3518 w 16172"/>
                      <a:gd name="connsiteY13" fmla="*/ 9152 h 10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72" h="10110">
                        <a:moveTo>
                          <a:pt x="3518" y="9152"/>
                        </a:moveTo>
                        <a:cubicBezTo>
                          <a:pt x="3518" y="8913"/>
                          <a:pt x="3876" y="8793"/>
                          <a:pt x="4295" y="8853"/>
                        </a:cubicBezTo>
                        <a:cubicBezTo>
                          <a:pt x="4355" y="8853"/>
                          <a:pt x="10515" y="9929"/>
                          <a:pt x="13266" y="8434"/>
                        </a:cubicBezTo>
                        <a:cubicBezTo>
                          <a:pt x="14462" y="7777"/>
                          <a:pt x="14941" y="6580"/>
                          <a:pt x="14402" y="5444"/>
                        </a:cubicBezTo>
                        <a:cubicBezTo>
                          <a:pt x="13984" y="4487"/>
                          <a:pt x="12788" y="3171"/>
                          <a:pt x="9499" y="2035"/>
                        </a:cubicBezTo>
                        <a:cubicBezTo>
                          <a:pt x="4714" y="360"/>
                          <a:pt x="1304" y="958"/>
                          <a:pt x="1125" y="1018"/>
                        </a:cubicBezTo>
                        <a:cubicBezTo>
                          <a:pt x="766" y="1078"/>
                          <a:pt x="288" y="958"/>
                          <a:pt x="108" y="719"/>
                        </a:cubicBezTo>
                        <a:cubicBezTo>
                          <a:pt x="-71" y="540"/>
                          <a:pt x="-11" y="360"/>
                          <a:pt x="168" y="241"/>
                        </a:cubicBezTo>
                        <a:cubicBezTo>
                          <a:pt x="228" y="181"/>
                          <a:pt x="288" y="181"/>
                          <a:pt x="408" y="181"/>
                        </a:cubicBezTo>
                        <a:cubicBezTo>
                          <a:pt x="587" y="121"/>
                          <a:pt x="4594" y="-597"/>
                          <a:pt x="10097" y="1317"/>
                        </a:cubicBezTo>
                        <a:cubicBezTo>
                          <a:pt x="13147" y="2394"/>
                          <a:pt x="15180" y="3829"/>
                          <a:pt x="15898" y="5444"/>
                        </a:cubicBezTo>
                        <a:cubicBezTo>
                          <a:pt x="16555" y="6939"/>
                          <a:pt x="16017" y="8315"/>
                          <a:pt x="14462" y="9152"/>
                        </a:cubicBezTo>
                        <a:cubicBezTo>
                          <a:pt x="11173" y="10887"/>
                          <a:pt x="4534" y="9750"/>
                          <a:pt x="4236" y="9690"/>
                        </a:cubicBezTo>
                        <a:cubicBezTo>
                          <a:pt x="3816" y="9571"/>
                          <a:pt x="3518" y="9332"/>
                          <a:pt x="3518" y="915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16" name="Vrije vorm: vorm 7215">
                    <a:extLst>
                      <a:ext uri="{FF2B5EF4-FFF2-40B4-BE49-F238E27FC236}">
                        <a16:creationId xmlns:a16="http://schemas.microsoft.com/office/drawing/2014/main" id="{05B1EB7B-6673-4213-A92D-9325B194DA25}"/>
                      </a:ext>
                    </a:extLst>
                  </p:cNvPr>
                  <p:cNvSpPr/>
                  <p:nvPr/>
                </p:nvSpPr>
                <p:spPr>
                  <a:xfrm>
                    <a:off x="8069621" y="3886692"/>
                    <a:ext cx="12355" cy="12419"/>
                  </a:xfrm>
                  <a:custGeom>
                    <a:avLst/>
                    <a:gdLst>
                      <a:gd name="connsiteX0" fmla="*/ 2998 w 12355"/>
                      <a:gd name="connsiteY0" fmla="*/ 11702 h 12419"/>
                      <a:gd name="connsiteX1" fmla="*/ 10534 w 12355"/>
                      <a:gd name="connsiteY1" fmla="*/ 8891 h 12419"/>
                      <a:gd name="connsiteX2" fmla="*/ 9457 w 12355"/>
                      <a:gd name="connsiteY2" fmla="*/ 4824 h 12419"/>
                      <a:gd name="connsiteX3" fmla="*/ 666 w 12355"/>
                      <a:gd name="connsiteY3" fmla="*/ 877 h 12419"/>
                      <a:gd name="connsiteX4" fmla="*/ 7 w 12355"/>
                      <a:gd name="connsiteY4" fmla="*/ 279 h 12419"/>
                      <a:gd name="connsiteX5" fmla="*/ 127 w 12355"/>
                      <a:gd name="connsiteY5" fmla="*/ 99 h 12419"/>
                      <a:gd name="connsiteX6" fmla="*/ 845 w 12355"/>
                      <a:gd name="connsiteY6" fmla="*/ 39 h 12419"/>
                      <a:gd name="connsiteX7" fmla="*/ 10713 w 12355"/>
                      <a:gd name="connsiteY7" fmla="*/ 4465 h 12419"/>
                      <a:gd name="connsiteX8" fmla="*/ 12029 w 12355"/>
                      <a:gd name="connsiteY8" fmla="*/ 9190 h 12419"/>
                      <a:gd name="connsiteX9" fmla="*/ 3417 w 12355"/>
                      <a:gd name="connsiteY9" fmla="*/ 12419 h 12419"/>
                      <a:gd name="connsiteX10" fmla="*/ 2520 w 12355"/>
                      <a:gd name="connsiteY10" fmla="*/ 12001 h 12419"/>
                      <a:gd name="connsiteX11" fmla="*/ 2998 w 12355"/>
                      <a:gd name="connsiteY11" fmla="*/ 11702 h 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55" h="12419">
                        <a:moveTo>
                          <a:pt x="2998" y="11702"/>
                        </a:moveTo>
                        <a:cubicBezTo>
                          <a:pt x="3058" y="11702"/>
                          <a:pt x="9218" y="11642"/>
                          <a:pt x="10534" y="8891"/>
                        </a:cubicBezTo>
                        <a:cubicBezTo>
                          <a:pt x="11191" y="7575"/>
                          <a:pt x="10773" y="6140"/>
                          <a:pt x="9457" y="4824"/>
                        </a:cubicBezTo>
                        <a:cubicBezTo>
                          <a:pt x="7783" y="3209"/>
                          <a:pt x="4732" y="1834"/>
                          <a:pt x="666" y="877"/>
                        </a:cubicBezTo>
                        <a:cubicBezTo>
                          <a:pt x="247" y="757"/>
                          <a:pt x="-52" y="518"/>
                          <a:pt x="7" y="279"/>
                        </a:cubicBezTo>
                        <a:cubicBezTo>
                          <a:pt x="7" y="219"/>
                          <a:pt x="67" y="159"/>
                          <a:pt x="127" y="99"/>
                        </a:cubicBezTo>
                        <a:cubicBezTo>
                          <a:pt x="307" y="-21"/>
                          <a:pt x="546" y="-21"/>
                          <a:pt x="845" y="39"/>
                        </a:cubicBezTo>
                        <a:cubicBezTo>
                          <a:pt x="5390" y="1056"/>
                          <a:pt x="8740" y="2611"/>
                          <a:pt x="10713" y="4465"/>
                        </a:cubicBezTo>
                        <a:cubicBezTo>
                          <a:pt x="12268" y="5960"/>
                          <a:pt x="12746" y="7695"/>
                          <a:pt x="12029" y="9190"/>
                        </a:cubicBezTo>
                        <a:cubicBezTo>
                          <a:pt x="10534" y="12419"/>
                          <a:pt x="3656" y="12419"/>
                          <a:pt x="3417" y="12419"/>
                        </a:cubicBezTo>
                        <a:cubicBezTo>
                          <a:pt x="2998" y="12419"/>
                          <a:pt x="2580" y="12240"/>
                          <a:pt x="2520" y="12001"/>
                        </a:cubicBezTo>
                        <a:cubicBezTo>
                          <a:pt x="2340" y="11941"/>
                          <a:pt x="2580" y="11702"/>
                          <a:pt x="2998" y="1170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17" name="Vrije vorm: vorm 7216">
                    <a:extLst>
                      <a:ext uri="{FF2B5EF4-FFF2-40B4-BE49-F238E27FC236}">
                        <a16:creationId xmlns:a16="http://schemas.microsoft.com/office/drawing/2014/main" id="{4F3CAE80-6C94-4595-9BE4-865DC3982593}"/>
                      </a:ext>
                    </a:extLst>
                  </p:cNvPr>
                  <p:cNvSpPr/>
                  <p:nvPr/>
                </p:nvSpPr>
                <p:spPr>
                  <a:xfrm>
                    <a:off x="8077854" y="3890798"/>
                    <a:ext cx="6788" cy="9317"/>
                  </a:xfrm>
                  <a:custGeom>
                    <a:avLst/>
                    <a:gdLst>
                      <a:gd name="connsiteX0" fmla="*/ 267 w 6788"/>
                      <a:gd name="connsiteY0" fmla="*/ 8493 h 9317"/>
                      <a:gd name="connsiteX1" fmla="*/ 5052 w 6788"/>
                      <a:gd name="connsiteY1" fmla="*/ 5203 h 9317"/>
                      <a:gd name="connsiteX2" fmla="*/ 3497 w 6788"/>
                      <a:gd name="connsiteY2" fmla="*/ 658 h 9317"/>
                      <a:gd name="connsiteX3" fmla="*/ 3437 w 6788"/>
                      <a:gd name="connsiteY3" fmla="*/ 120 h 9317"/>
                      <a:gd name="connsiteX4" fmla="*/ 3557 w 6788"/>
                      <a:gd name="connsiteY4" fmla="*/ 60 h 9317"/>
                      <a:gd name="connsiteX5" fmla="*/ 4633 w 6788"/>
                      <a:gd name="connsiteY5" fmla="*/ 239 h 9317"/>
                      <a:gd name="connsiteX6" fmla="*/ 6547 w 6788"/>
                      <a:gd name="connsiteY6" fmla="*/ 5562 h 9317"/>
                      <a:gd name="connsiteX7" fmla="*/ 1224 w 6788"/>
                      <a:gd name="connsiteY7" fmla="*/ 9270 h 9317"/>
                      <a:gd name="connsiteX8" fmla="*/ 147 w 6788"/>
                      <a:gd name="connsiteY8" fmla="*/ 9031 h 9317"/>
                      <a:gd name="connsiteX9" fmla="*/ 267 w 6788"/>
                      <a:gd name="connsiteY9" fmla="*/ 8493 h 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88" h="9317">
                        <a:moveTo>
                          <a:pt x="267" y="8493"/>
                        </a:moveTo>
                        <a:cubicBezTo>
                          <a:pt x="327" y="8493"/>
                          <a:pt x="4334" y="7237"/>
                          <a:pt x="5052" y="5203"/>
                        </a:cubicBezTo>
                        <a:cubicBezTo>
                          <a:pt x="5949" y="2512"/>
                          <a:pt x="3617" y="718"/>
                          <a:pt x="3497" y="658"/>
                        </a:cubicBezTo>
                        <a:cubicBezTo>
                          <a:pt x="3258" y="478"/>
                          <a:pt x="3198" y="239"/>
                          <a:pt x="3437" y="120"/>
                        </a:cubicBezTo>
                        <a:cubicBezTo>
                          <a:pt x="3437" y="120"/>
                          <a:pt x="3497" y="60"/>
                          <a:pt x="3557" y="60"/>
                        </a:cubicBezTo>
                        <a:cubicBezTo>
                          <a:pt x="3855" y="-60"/>
                          <a:pt x="4334" y="0"/>
                          <a:pt x="4633" y="239"/>
                        </a:cubicBezTo>
                        <a:cubicBezTo>
                          <a:pt x="4753" y="299"/>
                          <a:pt x="7623" y="2452"/>
                          <a:pt x="6547" y="5562"/>
                        </a:cubicBezTo>
                        <a:cubicBezTo>
                          <a:pt x="5710" y="7954"/>
                          <a:pt x="1404" y="9270"/>
                          <a:pt x="1224" y="9270"/>
                        </a:cubicBezTo>
                        <a:cubicBezTo>
                          <a:pt x="925" y="9390"/>
                          <a:pt x="447" y="9270"/>
                          <a:pt x="147" y="9031"/>
                        </a:cubicBezTo>
                        <a:cubicBezTo>
                          <a:pt x="-91" y="8852"/>
                          <a:pt x="-32" y="8612"/>
                          <a:pt x="267" y="8493"/>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7196" name="Vrije vorm: vorm 7195">
                  <a:extLst>
                    <a:ext uri="{FF2B5EF4-FFF2-40B4-BE49-F238E27FC236}">
                      <a16:creationId xmlns:a16="http://schemas.microsoft.com/office/drawing/2014/main" id="{CE7429B0-417F-4F83-8045-309664B408A1}"/>
                    </a:ext>
                  </a:extLst>
                </p:cNvPr>
                <p:cNvSpPr/>
                <p:nvPr/>
              </p:nvSpPr>
              <p:spPr>
                <a:xfrm>
                  <a:off x="8078360" y="3788289"/>
                  <a:ext cx="94914" cy="123023"/>
                </a:xfrm>
                <a:custGeom>
                  <a:avLst/>
                  <a:gdLst>
                    <a:gd name="connsiteX0" fmla="*/ 0 w 94914"/>
                    <a:gd name="connsiteY0" fmla="*/ 123024 h 123023"/>
                    <a:gd name="connsiteX1" fmla="*/ 94914 w 94914"/>
                    <a:gd name="connsiteY1" fmla="*/ 0 h 123023"/>
                  </a:gdLst>
                  <a:ahLst/>
                  <a:cxnLst>
                    <a:cxn ang="0">
                      <a:pos x="connsiteX0" y="connsiteY0"/>
                    </a:cxn>
                    <a:cxn ang="0">
                      <a:pos x="connsiteX1" y="connsiteY1"/>
                    </a:cxn>
                  </a:cxnLst>
                  <a:rect l="l" t="t" r="r" b="b"/>
                  <a:pathLst>
                    <a:path w="94914" h="123023">
                      <a:moveTo>
                        <a:pt x="0" y="123024"/>
                      </a:moveTo>
                      <a:lnTo>
                        <a:pt x="94914" y="0"/>
                      </a:lnTo>
                    </a:path>
                  </a:pathLst>
                </a:custGeom>
                <a:grpFill/>
                <a:ln w="6350" cap="flat">
                  <a:solidFill>
                    <a:schemeClr val="bg1">
                      <a:alpha val="80000"/>
                    </a:schemeClr>
                  </a:solidFill>
                  <a:prstDash val="solid"/>
                  <a:miter/>
                </a:ln>
              </p:spPr>
              <p:txBody>
                <a:bodyPr rtlCol="0" anchor="ctr"/>
                <a:lstStyle/>
                <a:p>
                  <a:endParaRPr lang="en-GB"/>
                </a:p>
              </p:txBody>
            </p:sp>
            <p:sp>
              <p:nvSpPr>
                <p:cNvPr id="7197" name="Vrije vorm: vorm 7196">
                  <a:extLst>
                    <a:ext uri="{FF2B5EF4-FFF2-40B4-BE49-F238E27FC236}">
                      <a16:creationId xmlns:a16="http://schemas.microsoft.com/office/drawing/2014/main" id="{98F20FFB-6DF8-4D6F-AFE0-1575B03F4DEF}"/>
                    </a:ext>
                  </a:extLst>
                </p:cNvPr>
                <p:cNvSpPr/>
                <p:nvPr/>
              </p:nvSpPr>
              <p:spPr>
                <a:xfrm>
                  <a:off x="8044836" y="3704977"/>
                  <a:ext cx="4696" cy="186957"/>
                </a:xfrm>
                <a:custGeom>
                  <a:avLst/>
                  <a:gdLst>
                    <a:gd name="connsiteX0" fmla="*/ 1228 w 4696"/>
                    <a:gd name="connsiteY0" fmla="*/ 186957 h 186957"/>
                    <a:gd name="connsiteX1" fmla="*/ 4697 w 4696"/>
                    <a:gd name="connsiteY1" fmla="*/ 0 h 186957"/>
                  </a:gdLst>
                  <a:ahLst/>
                  <a:cxnLst>
                    <a:cxn ang="0">
                      <a:pos x="connsiteX0" y="connsiteY0"/>
                    </a:cxn>
                    <a:cxn ang="0">
                      <a:pos x="connsiteX1" y="connsiteY1"/>
                    </a:cxn>
                  </a:cxnLst>
                  <a:rect l="l" t="t" r="r" b="b"/>
                  <a:pathLst>
                    <a:path w="4696" h="186957">
                      <a:moveTo>
                        <a:pt x="1228" y="186957"/>
                      </a:moveTo>
                      <a:cubicBezTo>
                        <a:pt x="-2899" y="175594"/>
                        <a:pt x="4697" y="0"/>
                        <a:pt x="4697" y="0"/>
                      </a:cubicBezTo>
                    </a:path>
                  </a:pathLst>
                </a:custGeom>
                <a:grpFill/>
                <a:ln w="6350" cap="flat">
                  <a:solidFill>
                    <a:schemeClr val="bg1">
                      <a:alpha val="80000"/>
                    </a:schemeClr>
                  </a:solidFill>
                  <a:prstDash val="solid"/>
                  <a:miter/>
                </a:ln>
              </p:spPr>
              <p:txBody>
                <a:bodyPr rtlCol="0" anchor="ctr"/>
                <a:lstStyle/>
                <a:p>
                  <a:endParaRPr lang="en-GB"/>
                </a:p>
              </p:txBody>
            </p:sp>
            <p:grpSp>
              <p:nvGrpSpPr>
                <p:cNvPr id="7198" name="Graphic 3">
                  <a:extLst>
                    <a:ext uri="{FF2B5EF4-FFF2-40B4-BE49-F238E27FC236}">
                      <a16:creationId xmlns:a16="http://schemas.microsoft.com/office/drawing/2014/main" id="{DF7D8AD1-92BA-4D1B-BC13-0376BED378AC}"/>
                    </a:ext>
                  </a:extLst>
                </p:cNvPr>
                <p:cNvGrpSpPr/>
                <p:nvPr/>
              </p:nvGrpSpPr>
              <p:grpSpPr>
                <a:xfrm>
                  <a:off x="8017860" y="3685061"/>
                  <a:ext cx="220787" cy="109348"/>
                  <a:chOff x="8017860" y="3685061"/>
                  <a:chExt cx="220787" cy="109348"/>
                </a:xfrm>
                <a:grpFill/>
              </p:grpSpPr>
              <p:sp>
                <p:nvSpPr>
                  <p:cNvPr id="7201" name="Vrije vorm: vorm 7200">
                    <a:extLst>
                      <a:ext uri="{FF2B5EF4-FFF2-40B4-BE49-F238E27FC236}">
                        <a16:creationId xmlns:a16="http://schemas.microsoft.com/office/drawing/2014/main" id="{041BBC36-F1A3-4FDD-A15E-01886330756D}"/>
                      </a:ext>
                    </a:extLst>
                  </p:cNvPr>
                  <p:cNvSpPr/>
                  <p:nvPr/>
                </p:nvSpPr>
                <p:spPr>
                  <a:xfrm>
                    <a:off x="8196591" y="3759116"/>
                    <a:ext cx="42056" cy="35293"/>
                  </a:xfrm>
                  <a:custGeom>
                    <a:avLst/>
                    <a:gdLst>
                      <a:gd name="connsiteX0" fmla="*/ 1564 w 42056"/>
                      <a:gd name="connsiteY0" fmla="*/ 29292 h 35293"/>
                      <a:gd name="connsiteX1" fmla="*/ 31108 w 42056"/>
                      <a:gd name="connsiteY1" fmla="*/ 2140 h 35293"/>
                      <a:gd name="connsiteX2" fmla="*/ 32543 w 42056"/>
                      <a:gd name="connsiteY2" fmla="*/ 405 h 35293"/>
                      <a:gd name="connsiteX3" fmla="*/ 36730 w 42056"/>
                      <a:gd name="connsiteY3" fmla="*/ 166 h 35293"/>
                      <a:gd name="connsiteX4" fmla="*/ 42053 w 42056"/>
                      <a:gd name="connsiteY4" fmla="*/ 4233 h 35293"/>
                      <a:gd name="connsiteX5" fmla="*/ 9398 w 42056"/>
                      <a:gd name="connsiteY5" fmla="*/ 34914 h 35293"/>
                      <a:gd name="connsiteX6" fmla="*/ 1623 w 42056"/>
                      <a:gd name="connsiteY6" fmla="*/ 33598 h 35293"/>
                      <a:gd name="connsiteX7" fmla="*/ 1564 w 42056"/>
                      <a:gd name="connsiteY7" fmla="*/ 29292 h 35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56" h="35293">
                        <a:moveTo>
                          <a:pt x="1564" y="29292"/>
                        </a:moveTo>
                        <a:cubicBezTo>
                          <a:pt x="1862" y="29173"/>
                          <a:pt x="30331" y="17749"/>
                          <a:pt x="31108" y="2140"/>
                        </a:cubicBezTo>
                        <a:cubicBezTo>
                          <a:pt x="31168" y="1362"/>
                          <a:pt x="31706" y="764"/>
                          <a:pt x="32543" y="405"/>
                        </a:cubicBezTo>
                        <a:cubicBezTo>
                          <a:pt x="33560" y="-13"/>
                          <a:pt x="35056" y="-133"/>
                          <a:pt x="36730" y="166"/>
                        </a:cubicBezTo>
                        <a:cubicBezTo>
                          <a:pt x="39780" y="764"/>
                          <a:pt x="42172" y="2558"/>
                          <a:pt x="42053" y="4233"/>
                        </a:cubicBezTo>
                        <a:cubicBezTo>
                          <a:pt x="41156" y="22175"/>
                          <a:pt x="10714" y="34376"/>
                          <a:pt x="9398" y="34914"/>
                        </a:cubicBezTo>
                        <a:cubicBezTo>
                          <a:pt x="7305" y="35751"/>
                          <a:pt x="3836" y="35153"/>
                          <a:pt x="1623" y="33598"/>
                        </a:cubicBezTo>
                        <a:cubicBezTo>
                          <a:pt x="-470" y="32103"/>
                          <a:pt x="-590" y="30129"/>
                          <a:pt x="1564" y="2929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02" name="Vrije vorm: vorm 7201">
                    <a:extLst>
                      <a:ext uri="{FF2B5EF4-FFF2-40B4-BE49-F238E27FC236}">
                        <a16:creationId xmlns:a16="http://schemas.microsoft.com/office/drawing/2014/main" id="{8867E200-90B6-4019-AA9A-34D0520ADF77}"/>
                      </a:ext>
                    </a:extLst>
                  </p:cNvPr>
                  <p:cNvSpPr/>
                  <p:nvPr/>
                </p:nvSpPr>
                <p:spPr>
                  <a:xfrm>
                    <a:off x="8163135" y="3727668"/>
                    <a:ext cx="58279" cy="62386"/>
                  </a:xfrm>
                  <a:custGeom>
                    <a:avLst/>
                    <a:gdLst>
                      <a:gd name="connsiteX0" fmla="*/ 2603 w 58279"/>
                      <a:gd name="connsiteY0" fmla="*/ 56076 h 62386"/>
                      <a:gd name="connsiteX1" fmla="*/ 43153 w 58279"/>
                      <a:gd name="connsiteY1" fmla="*/ 36878 h 62386"/>
                      <a:gd name="connsiteX2" fmla="*/ 38966 w 58279"/>
                      <a:gd name="connsiteY2" fmla="*/ 4223 h 62386"/>
                      <a:gd name="connsiteX3" fmla="*/ 39385 w 58279"/>
                      <a:gd name="connsiteY3" fmla="*/ 395 h 62386"/>
                      <a:gd name="connsiteX4" fmla="*/ 40162 w 58279"/>
                      <a:gd name="connsiteY4" fmla="*/ 156 h 62386"/>
                      <a:gd name="connsiteX5" fmla="*/ 47817 w 58279"/>
                      <a:gd name="connsiteY5" fmla="*/ 2189 h 62386"/>
                      <a:gd name="connsiteX6" fmla="*/ 53679 w 58279"/>
                      <a:gd name="connsiteY6" fmla="*/ 40526 h 62386"/>
                      <a:gd name="connsiteX7" fmla="*/ 8404 w 58279"/>
                      <a:gd name="connsiteY7" fmla="*/ 62296 h 62386"/>
                      <a:gd name="connsiteX8" fmla="*/ 869 w 58279"/>
                      <a:gd name="connsiteY8" fmla="*/ 59963 h 62386"/>
                      <a:gd name="connsiteX9" fmla="*/ 2603 w 58279"/>
                      <a:gd name="connsiteY9" fmla="*/ 56076 h 6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79" h="62386">
                        <a:moveTo>
                          <a:pt x="2603" y="56076"/>
                        </a:moveTo>
                        <a:cubicBezTo>
                          <a:pt x="2902" y="56016"/>
                          <a:pt x="34540" y="50753"/>
                          <a:pt x="43153" y="36878"/>
                        </a:cubicBezTo>
                        <a:cubicBezTo>
                          <a:pt x="54217" y="19055"/>
                          <a:pt x="39564" y="4821"/>
                          <a:pt x="38966" y="4223"/>
                        </a:cubicBezTo>
                        <a:cubicBezTo>
                          <a:pt x="37351" y="2728"/>
                          <a:pt x="37590" y="1173"/>
                          <a:pt x="39385" y="395"/>
                        </a:cubicBezTo>
                        <a:cubicBezTo>
                          <a:pt x="39624" y="276"/>
                          <a:pt x="39863" y="216"/>
                          <a:pt x="40162" y="156"/>
                        </a:cubicBezTo>
                        <a:cubicBezTo>
                          <a:pt x="42614" y="-382"/>
                          <a:pt x="46023" y="515"/>
                          <a:pt x="47817" y="2189"/>
                        </a:cubicBezTo>
                        <a:cubicBezTo>
                          <a:pt x="48595" y="2907"/>
                          <a:pt x="66477" y="19892"/>
                          <a:pt x="53679" y="40526"/>
                        </a:cubicBezTo>
                        <a:cubicBezTo>
                          <a:pt x="43870" y="56375"/>
                          <a:pt x="9840" y="62057"/>
                          <a:pt x="8404" y="62296"/>
                        </a:cubicBezTo>
                        <a:cubicBezTo>
                          <a:pt x="5833" y="62714"/>
                          <a:pt x="2424" y="61638"/>
                          <a:pt x="869" y="59963"/>
                        </a:cubicBezTo>
                        <a:cubicBezTo>
                          <a:pt x="-806" y="58229"/>
                          <a:pt x="31" y="56494"/>
                          <a:pt x="2603" y="5607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03" name="Vrije vorm: vorm 7202">
                    <a:extLst>
                      <a:ext uri="{FF2B5EF4-FFF2-40B4-BE49-F238E27FC236}">
                        <a16:creationId xmlns:a16="http://schemas.microsoft.com/office/drawing/2014/main" id="{60E7D944-8A1E-47EC-AF43-77B4B391094B}"/>
                      </a:ext>
                    </a:extLst>
                  </p:cNvPr>
                  <p:cNvSpPr/>
                  <p:nvPr/>
                </p:nvSpPr>
                <p:spPr>
                  <a:xfrm>
                    <a:off x="8017860" y="3685061"/>
                    <a:ext cx="219383" cy="95142"/>
                  </a:xfrm>
                  <a:custGeom>
                    <a:avLst/>
                    <a:gdLst>
                      <a:gd name="connsiteX0" fmla="*/ 217255 w 219383"/>
                      <a:gd name="connsiteY0" fmla="*/ 8792 h 95142"/>
                      <a:gd name="connsiteX1" fmla="*/ 162890 w 219383"/>
                      <a:gd name="connsiteY1" fmla="*/ 31579 h 95142"/>
                      <a:gd name="connsiteX2" fmla="*/ 177005 w 219383"/>
                      <a:gd name="connsiteY2" fmla="*/ 44916 h 95142"/>
                      <a:gd name="connsiteX3" fmla="*/ 179098 w 219383"/>
                      <a:gd name="connsiteY3" fmla="*/ 78707 h 95142"/>
                      <a:gd name="connsiteX4" fmla="*/ 109841 w 219383"/>
                      <a:gd name="connsiteY4" fmla="*/ 94436 h 95142"/>
                      <a:gd name="connsiteX5" fmla="*/ 103681 w 219383"/>
                      <a:gd name="connsiteY5" fmla="*/ 90728 h 95142"/>
                      <a:gd name="connsiteX6" fmla="*/ 108406 w 219383"/>
                      <a:gd name="connsiteY6" fmla="*/ 88157 h 95142"/>
                      <a:gd name="connsiteX7" fmla="*/ 168811 w 219383"/>
                      <a:gd name="connsiteY7" fmla="*/ 74700 h 95142"/>
                      <a:gd name="connsiteX8" fmla="*/ 167196 w 219383"/>
                      <a:gd name="connsiteY8" fmla="*/ 45873 h 95142"/>
                      <a:gd name="connsiteX9" fmla="*/ 155414 w 219383"/>
                      <a:gd name="connsiteY9" fmla="*/ 34689 h 95142"/>
                      <a:gd name="connsiteX10" fmla="*/ 150092 w 219383"/>
                      <a:gd name="connsiteY10" fmla="*/ 36902 h 95142"/>
                      <a:gd name="connsiteX11" fmla="*/ 164026 w 219383"/>
                      <a:gd name="connsiteY11" fmla="*/ 56279 h 95142"/>
                      <a:gd name="connsiteX12" fmla="*/ 147460 w 219383"/>
                      <a:gd name="connsiteY12" fmla="*/ 80920 h 95142"/>
                      <a:gd name="connsiteX13" fmla="*/ 70727 w 219383"/>
                      <a:gd name="connsiteY13" fmla="*/ 76614 h 95142"/>
                      <a:gd name="connsiteX14" fmla="*/ 66361 w 219383"/>
                      <a:gd name="connsiteY14" fmla="*/ 72308 h 95142"/>
                      <a:gd name="connsiteX15" fmla="*/ 66601 w 219383"/>
                      <a:gd name="connsiteY15" fmla="*/ 71889 h 95142"/>
                      <a:gd name="connsiteX16" fmla="*/ 13791 w 219383"/>
                      <a:gd name="connsiteY16" fmla="*/ 94018 h 95142"/>
                      <a:gd name="connsiteX17" fmla="*/ 2547 w 219383"/>
                      <a:gd name="connsiteY17" fmla="*/ 92223 h 95142"/>
                      <a:gd name="connsiteX18" fmla="*/ 2129 w 219383"/>
                      <a:gd name="connsiteY18" fmla="*/ 85884 h 95142"/>
                      <a:gd name="connsiteX19" fmla="*/ 205593 w 219383"/>
                      <a:gd name="connsiteY19" fmla="*/ 599 h 95142"/>
                      <a:gd name="connsiteX20" fmla="*/ 216837 w 219383"/>
                      <a:gd name="connsiteY20" fmla="*/ 2393 h 95142"/>
                      <a:gd name="connsiteX21" fmla="*/ 217255 w 219383"/>
                      <a:gd name="connsiteY21" fmla="*/ 8792 h 95142"/>
                      <a:gd name="connsiteX22" fmla="*/ 72760 w 219383"/>
                      <a:gd name="connsiteY22" fmla="*/ 70992 h 95142"/>
                      <a:gd name="connsiteX23" fmla="*/ 139925 w 219383"/>
                      <a:gd name="connsiteY23" fmla="*/ 75178 h 95142"/>
                      <a:gd name="connsiteX24" fmla="*/ 153142 w 219383"/>
                      <a:gd name="connsiteY24" fmla="*/ 55203 h 95142"/>
                      <a:gd name="connsiteX25" fmla="*/ 142616 w 219383"/>
                      <a:gd name="connsiteY25" fmla="*/ 40071 h 95142"/>
                      <a:gd name="connsiteX26" fmla="*/ 136395 w 219383"/>
                      <a:gd name="connsiteY26" fmla="*/ 42703 h 95142"/>
                      <a:gd name="connsiteX27" fmla="*/ 142616 w 219383"/>
                      <a:gd name="connsiteY27" fmla="*/ 50897 h 95142"/>
                      <a:gd name="connsiteX28" fmla="*/ 131013 w 219383"/>
                      <a:gd name="connsiteY28" fmla="*/ 71052 h 95142"/>
                      <a:gd name="connsiteX29" fmla="*/ 94411 w 219383"/>
                      <a:gd name="connsiteY29" fmla="*/ 70454 h 95142"/>
                      <a:gd name="connsiteX30" fmla="*/ 76768 w 219383"/>
                      <a:gd name="connsiteY30" fmla="*/ 67643 h 95142"/>
                      <a:gd name="connsiteX31" fmla="*/ 69591 w 219383"/>
                      <a:gd name="connsiteY31" fmla="*/ 70633 h 95142"/>
                      <a:gd name="connsiteX32" fmla="*/ 72760 w 219383"/>
                      <a:gd name="connsiteY32" fmla="*/ 70992 h 95142"/>
                      <a:gd name="connsiteX33" fmla="*/ 105774 w 219383"/>
                      <a:gd name="connsiteY33" fmla="*/ 55502 h 95142"/>
                      <a:gd name="connsiteX34" fmla="*/ 116240 w 219383"/>
                      <a:gd name="connsiteY34" fmla="*/ 51614 h 95142"/>
                      <a:gd name="connsiteX35" fmla="*/ 116240 w 219383"/>
                      <a:gd name="connsiteY35" fmla="*/ 51076 h 95142"/>
                      <a:gd name="connsiteX36" fmla="*/ 105774 w 219383"/>
                      <a:gd name="connsiteY36" fmla="*/ 55502 h 95142"/>
                      <a:gd name="connsiteX37" fmla="*/ 127186 w 219383"/>
                      <a:gd name="connsiteY37" fmla="*/ 54246 h 95142"/>
                      <a:gd name="connsiteX38" fmla="*/ 94890 w 219383"/>
                      <a:gd name="connsiteY38" fmla="*/ 60047 h 95142"/>
                      <a:gd name="connsiteX39" fmla="*/ 87593 w 219383"/>
                      <a:gd name="connsiteY39" fmla="*/ 63097 h 95142"/>
                      <a:gd name="connsiteX40" fmla="*/ 94770 w 219383"/>
                      <a:gd name="connsiteY40" fmla="*/ 64473 h 95142"/>
                      <a:gd name="connsiteX41" fmla="*/ 123836 w 219383"/>
                      <a:gd name="connsiteY41" fmla="*/ 65191 h 95142"/>
                      <a:gd name="connsiteX42" fmla="*/ 132090 w 219383"/>
                      <a:gd name="connsiteY42" fmla="*/ 50897 h 95142"/>
                      <a:gd name="connsiteX43" fmla="*/ 128621 w 219383"/>
                      <a:gd name="connsiteY43" fmla="*/ 45933 h 95142"/>
                      <a:gd name="connsiteX44" fmla="*/ 124494 w 219383"/>
                      <a:gd name="connsiteY44" fmla="*/ 47667 h 95142"/>
                      <a:gd name="connsiteX45" fmla="*/ 127186 w 219383"/>
                      <a:gd name="connsiteY45" fmla="*/ 54246 h 95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19383" h="95142">
                        <a:moveTo>
                          <a:pt x="217255" y="8792"/>
                        </a:moveTo>
                        <a:lnTo>
                          <a:pt x="162890" y="31579"/>
                        </a:lnTo>
                        <a:cubicBezTo>
                          <a:pt x="168751" y="35945"/>
                          <a:pt x="173417" y="40371"/>
                          <a:pt x="177005" y="44916"/>
                        </a:cubicBezTo>
                        <a:cubicBezTo>
                          <a:pt x="186155" y="56698"/>
                          <a:pt x="186873" y="68659"/>
                          <a:pt x="179098" y="78707"/>
                        </a:cubicBezTo>
                        <a:cubicBezTo>
                          <a:pt x="162711" y="99759"/>
                          <a:pt x="111994" y="94675"/>
                          <a:pt x="109841" y="94436"/>
                        </a:cubicBezTo>
                        <a:cubicBezTo>
                          <a:pt x="106851" y="94137"/>
                          <a:pt x="104040" y="92463"/>
                          <a:pt x="103681" y="90728"/>
                        </a:cubicBezTo>
                        <a:cubicBezTo>
                          <a:pt x="103263" y="88994"/>
                          <a:pt x="105416" y="87858"/>
                          <a:pt x="108406" y="88157"/>
                        </a:cubicBezTo>
                        <a:cubicBezTo>
                          <a:pt x="108884" y="88216"/>
                          <a:pt x="154757" y="92762"/>
                          <a:pt x="168811" y="74700"/>
                        </a:cubicBezTo>
                        <a:cubicBezTo>
                          <a:pt x="175629" y="65968"/>
                          <a:pt x="175091" y="55980"/>
                          <a:pt x="167196" y="45873"/>
                        </a:cubicBezTo>
                        <a:cubicBezTo>
                          <a:pt x="164206" y="42045"/>
                          <a:pt x="160199" y="38217"/>
                          <a:pt x="155414" y="34689"/>
                        </a:cubicBezTo>
                        <a:lnTo>
                          <a:pt x="150092" y="36902"/>
                        </a:lnTo>
                        <a:cubicBezTo>
                          <a:pt x="157567" y="43062"/>
                          <a:pt x="162411" y="49701"/>
                          <a:pt x="164026" y="56279"/>
                        </a:cubicBezTo>
                        <a:cubicBezTo>
                          <a:pt x="166598" y="67045"/>
                          <a:pt x="160258" y="76494"/>
                          <a:pt x="147460" y="80920"/>
                        </a:cubicBezTo>
                        <a:cubicBezTo>
                          <a:pt x="120487" y="90369"/>
                          <a:pt x="72760" y="77152"/>
                          <a:pt x="70727" y="76614"/>
                        </a:cubicBezTo>
                        <a:cubicBezTo>
                          <a:pt x="67737" y="75776"/>
                          <a:pt x="65823" y="73863"/>
                          <a:pt x="66361" y="72308"/>
                        </a:cubicBezTo>
                        <a:cubicBezTo>
                          <a:pt x="66421" y="72128"/>
                          <a:pt x="66421" y="72009"/>
                          <a:pt x="66601" y="71889"/>
                        </a:cubicBezTo>
                        <a:lnTo>
                          <a:pt x="13791" y="94018"/>
                        </a:lnTo>
                        <a:cubicBezTo>
                          <a:pt x="10800" y="95274"/>
                          <a:pt x="5777" y="94496"/>
                          <a:pt x="2547" y="92223"/>
                        </a:cubicBezTo>
                        <a:cubicBezTo>
                          <a:pt x="-682" y="89951"/>
                          <a:pt x="-862" y="87140"/>
                          <a:pt x="2129" y="85884"/>
                        </a:cubicBezTo>
                        <a:lnTo>
                          <a:pt x="205593" y="599"/>
                        </a:lnTo>
                        <a:cubicBezTo>
                          <a:pt x="208583" y="-657"/>
                          <a:pt x="213607" y="120"/>
                          <a:pt x="216837" y="2393"/>
                        </a:cubicBezTo>
                        <a:cubicBezTo>
                          <a:pt x="220066" y="4666"/>
                          <a:pt x="220245" y="7536"/>
                          <a:pt x="217255" y="8792"/>
                        </a:cubicBezTo>
                        <a:close/>
                        <a:moveTo>
                          <a:pt x="72760" y="70992"/>
                        </a:moveTo>
                        <a:cubicBezTo>
                          <a:pt x="73180" y="71111"/>
                          <a:pt x="117018" y="83193"/>
                          <a:pt x="139925" y="75178"/>
                        </a:cubicBezTo>
                        <a:cubicBezTo>
                          <a:pt x="150032" y="71650"/>
                          <a:pt x="155235" y="63815"/>
                          <a:pt x="153142" y="55203"/>
                        </a:cubicBezTo>
                        <a:cubicBezTo>
                          <a:pt x="152185" y="51196"/>
                          <a:pt x="149374" y="45873"/>
                          <a:pt x="142616" y="40071"/>
                        </a:cubicBezTo>
                        <a:lnTo>
                          <a:pt x="136395" y="42703"/>
                        </a:lnTo>
                        <a:cubicBezTo>
                          <a:pt x="139027" y="45335"/>
                          <a:pt x="141240" y="48145"/>
                          <a:pt x="142616" y="50897"/>
                        </a:cubicBezTo>
                        <a:cubicBezTo>
                          <a:pt x="147341" y="60167"/>
                          <a:pt x="143094" y="67523"/>
                          <a:pt x="131013" y="71052"/>
                        </a:cubicBezTo>
                        <a:cubicBezTo>
                          <a:pt x="117556" y="74999"/>
                          <a:pt x="106312" y="72786"/>
                          <a:pt x="94411" y="70454"/>
                        </a:cubicBezTo>
                        <a:cubicBezTo>
                          <a:pt x="88849" y="69377"/>
                          <a:pt x="82988" y="68121"/>
                          <a:pt x="76768" y="67643"/>
                        </a:cubicBezTo>
                        <a:lnTo>
                          <a:pt x="69591" y="70633"/>
                        </a:lnTo>
                        <a:cubicBezTo>
                          <a:pt x="70249" y="70394"/>
                          <a:pt x="71624" y="70693"/>
                          <a:pt x="72760" y="70992"/>
                        </a:cubicBezTo>
                        <a:close/>
                        <a:moveTo>
                          <a:pt x="105774" y="55502"/>
                        </a:moveTo>
                        <a:cubicBezTo>
                          <a:pt x="112174" y="55920"/>
                          <a:pt x="115583" y="55083"/>
                          <a:pt x="116240" y="51614"/>
                        </a:cubicBezTo>
                        <a:cubicBezTo>
                          <a:pt x="116300" y="51435"/>
                          <a:pt x="116121" y="51136"/>
                          <a:pt x="116240" y="51076"/>
                        </a:cubicBezTo>
                        <a:lnTo>
                          <a:pt x="105774" y="55502"/>
                        </a:lnTo>
                        <a:close/>
                        <a:moveTo>
                          <a:pt x="127186" y="54246"/>
                        </a:moveTo>
                        <a:cubicBezTo>
                          <a:pt x="125152" y="64353"/>
                          <a:pt x="109482" y="62619"/>
                          <a:pt x="94890" y="60047"/>
                        </a:cubicBezTo>
                        <a:lnTo>
                          <a:pt x="87593" y="63097"/>
                        </a:lnTo>
                        <a:cubicBezTo>
                          <a:pt x="89865" y="63396"/>
                          <a:pt x="92497" y="63994"/>
                          <a:pt x="94770" y="64473"/>
                        </a:cubicBezTo>
                        <a:cubicBezTo>
                          <a:pt x="105714" y="66626"/>
                          <a:pt x="113609" y="68181"/>
                          <a:pt x="123836" y="65191"/>
                        </a:cubicBezTo>
                        <a:cubicBezTo>
                          <a:pt x="135080" y="61901"/>
                          <a:pt x="134542" y="55621"/>
                          <a:pt x="132090" y="50897"/>
                        </a:cubicBezTo>
                        <a:cubicBezTo>
                          <a:pt x="131252" y="49222"/>
                          <a:pt x="129697" y="47368"/>
                          <a:pt x="128621" y="45933"/>
                        </a:cubicBezTo>
                        <a:lnTo>
                          <a:pt x="124494" y="47667"/>
                        </a:lnTo>
                        <a:cubicBezTo>
                          <a:pt x="126587" y="49880"/>
                          <a:pt x="127604" y="52153"/>
                          <a:pt x="127186" y="5424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04" name="Vrije vorm: vorm 7203">
                    <a:extLst>
                      <a:ext uri="{FF2B5EF4-FFF2-40B4-BE49-F238E27FC236}">
                        <a16:creationId xmlns:a16="http://schemas.microsoft.com/office/drawing/2014/main" id="{5A98AD90-F65C-4FA2-9376-D72E3A92A890}"/>
                      </a:ext>
                    </a:extLst>
                  </p:cNvPr>
                  <p:cNvSpPr/>
                  <p:nvPr/>
                </p:nvSpPr>
                <p:spPr>
                  <a:xfrm>
                    <a:off x="8121983" y="3690934"/>
                    <a:ext cx="36099" cy="15598"/>
                  </a:xfrm>
                  <a:custGeom>
                    <a:avLst/>
                    <a:gdLst>
                      <a:gd name="connsiteX0" fmla="*/ 3983 w 36099"/>
                      <a:gd name="connsiteY0" fmla="*/ 5850 h 15598"/>
                      <a:gd name="connsiteX1" fmla="*/ 216 w 36099"/>
                      <a:gd name="connsiteY1" fmla="*/ 1425 h 15598"/>
                      <a:gd name="connsiteX2" fmla="*/ 1471 w 36099"/>
                      <a:gd name="connsiteY2" fmla="*/ 408 h 15598"/>
                      <a:gd name="connsiteX3" fmla="*/ 7034 w 36099"/>
                      <a:gd name="connsiteY3" fmla="*/ 587 h 15598"/>
                      <a:gd name="connsiteX4" fmla="*/ 36100 w 36099"/>
                      <a:gd name="connsiteY4" fmla="*/ 12369 h 15598"/>
                      <a:gd name="connsiteX5" fmla="*/ 28385 w 36099"/>
                      <a:gd name="connsiteY5" fmla="*/ 15599 h 15598"/>
                      <a:gd name="connsiteX6" fmla="*/ 3983 w 36099"/>
                      <a:gd name="connsiteY6" fmla="*/ 5850 h 1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99" h="15598">
                        <a:moveTo>
                          <a:pt x="3983" y="5850"/>
                        </a:moveTo>
                        <a:cubicBezTo>
                          <a:pt x="1053" y="4893"/>
                          <a:pt x="-622" y="2860"/>
                          <a:pt x="216" y="1425"/>
                        </a:cubicBezTo>
                        <a:cubicBezTo>
                          <a:pt x="455" y="1006"/>
                          <a:pt x="873" y="647"/>
                          <a:pt x="1471" y="408"/>
                        </a:cubicBezTo>
                        <a:cubicBezTo>
                          <a:pt x="2847" y="-190"/>
                          <a:pt x="5000" y="-130"/>
                          <a:pt x="7034" y="587"/>
                        </a:cubicBezTo>
                        <a:cubicBezTo>
                          <a:pt x="17799" y="4236"/>
                          <a:pt x="27308" y="8003"/>
                          <a:pt x="36100" y="12369"/>
                        </a:cubicBezTo>
                        <a:lnTo>
                          <a:pt x="28385" y="15599"/>
                        </a:lnTo>
                        <a:cubicBezTo>
                          <a:pt x="20849" y="11891"/>
                          <a:pt x="12955" y="8841"/>
                          <a:pt x="3983" y="585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05" name="Vrije vorm: vorm 7204">
                    <a:extLst>
                      <a:ext uri="{FF2B5EF4-FFF2-40B4-BE49-F238E27FC236}">
                        <a16:creationId xmlns:a16="http://schemas.microsoft.com/office/drawing/2014/main" id="{44562FB1-8F45-4530-B9A7-5B8073D3A332}"/>
                      </a:ext>
                    </a:extLst>
                  </p:cNvPr>
                  <p:cNvSpPr/>
                  <p:nvPr/>
                </p:nvSpPr>
                <p:spPr>
                  <a:xfrm>
                    <a:off x="8072181" y="3692409"/>
                    <a:ext cx="73582" cy="19206"/>
                  </a:xfrm>
                  <a:custGeom>
                    <a:avLst/>
                    <a:gdLst>
                      <a:gd name="connsiteX0" fmla="*/ 73583 w 73582"/>
                      <a:gd name="connsiteY0" fmla="*/ 15977 h 19206"/>
                      <a:gd name="connsiteX1" fmla="*/ 65807 w 73582"/>
                      <a:gd name="connsiteY1" fmla="*/ 19207 h 19206"/>
                      <a:gd name="connsiteX2" fmla="*/ 7795 w 73582"/>
                      <a:gd name="connsiteY2" fmla="*/ 6528 h 19206"/>
                      <a:gd name="connsiteX3" fmla="*/ 498 w 73582"/>
                      <a:gd name="connsiteY3" fmla="*/ 3717 h 19206"/>
                      <a:gd name="connsiteX4" fmla="*/ 1455 w 73582"/>
                      <a:gd name="connsiteY4" fmla="*/ 547 h 19206"/>
                      <a:gd name="connsiteX5" fmla="*/ 3189 w 73582"/>
                      <a:gd name="connsiteY5" fmla="*/ 128 h 19206"/>
                      <a:gd name="connsiteX6" fmla="*/ 73163 w 73582"/>
                      <a:gd name="connsiteY6" fmla="*/ 15678 h 19206"/>
                      <a:gd name="connsiteX7" fmla="*/ 73583 w 73582"/>
                      <a:gd name="connsiteY7" fmla="*/ 15977 h 19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82" h="19206">
                        <a:moveTo>
                          <a:pt x="73583" y="15977"/>
                        </a:moveTo>
                        <a:lnTo>
                          <a:pt x="65807" y="19207"/>
                        </a:lnTo>
                        <a:cubicBezTo>
                          <a:pt x="33870" y="4733"/>
                          <a:pt x="8871" y="6468"/>
                          <a:pt x="7795" y="6528"/>
                        </a:cubicBezTo>
                        <a:cubicBezTo>
                          <a:pt x="5043" y="6707"/>
                          <a:pt x="1754" y="5451"/>
                          <a:pt x="498" y="3717"/>
                        </a:cubicBezTo>
                        <a:cubicBezTo>
                          <a:pt x="-459" y="2401"/>
                          <a:pt x="19" y="1145"/>
                          <a:pt x="1455" y="547"/>
                        </a:cubicBezTo>
                        <a:cubicBezTo>
                          <a:pt x="1933" y="367"/>
                          <a:pt x="2532" y="188"/>
                          <a:pt x="3189" y="128"/>
                        </a:cubicBezTo>
                        <a:cubicBezTo>
                          <a:pt x="4505" y="9"/>
                          <a:pt x="35425" y="-2025"/>
                          <a:pt x="73163" y="15678"/>
                        </a:cubicBezTo>
                        <a:cubicBezTo>
                          <a:pt x="73283" y="15858"/>
                          <a:pt x="73523" y="15977"/>
                          <a:pt x="73583" y="1597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06" name="Vrije vorm: vorm 7205">
                    <a:extLst>
                      <a:ext uri="{FF2B5EF4-FFF2-40B4-BE49-F238E27FC236}">
                        <a16:creationId xmlns:a16="http://schemas.microsoft.com/office/drawing/2014/main" id="{8CCC1EB7-B134-4BF9-957C-FDCC03032DA0}"/>
                      </a:ext>
                    </a:extLst>
                  </p:cNvPr>
                  <p:cNvSpPr/>
                  <p:nvPr/>
                </p:nvSpPr>
                <p:spPr>
                  <a:xfrm>
                    <a:off x="8047837" y="3702809"/>
                    <a:ext cx="84767" cy="14548"/>
                  </a:xfrm>
                  <a:custGeom>
                    <a:avLst/>
                    <a:gdLst>
                      <a:gd name="connsiteX0" fmla="*/ 75079 w 84767"/>
                      <a:gd name="connsiteY0" fmla="*/ 7969 h 14548"/>
                      <a:gd name="connsiteX1" fmla="*/ 84768 w 84767"/>
                      <a:gd name="connsiteY1" fmla="*/ 11079 h 14548"/>
                      <a:gd name="connsiteX2" fmla="*/ 76514 w 84767"/>
                      <a:gd name="connsiteY2" fmla="*/ 14548 h 14548"/>
                      <a:gd name="connsiteX3" fmla="*/ 74003 w 84767"/>
                      <a:gd name="connsiteY3" fmla="*/ 13830 h 14548"/>
                      <a:gd name="connsiteX4" fmla="*/ 6720 w 84767"/>
                      <a:gd name="connsiteY4" fmla="*/ 6355 h 14548"/>
                      <a:gd name="connsiteX5" fmla="*/ 141 w 84767"/>
                      <a:gd name="connsiteY5" fmla="*/ 2886 h 14548"/>
                      <a:gd name="connsiteX6" fmla="*/ 1457 w 84767"/>
                      <a:gd name="connsiteY6" fmla="*/ 374 h 14548"/>
                      <a:gd name="connsiteX7" fmla="*/ 4268 w 84767"/>
                      <a:gd name="connsiteY7" fmla="*/ 15 h 14548"/>
                      <a:gd name="connsiteX8" fmla="*/ 75079 w 84767"/>
                      <a:gd name="connsiteY8" fmla="*/ 7969 h 1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67" h="14548">
                        <a:moveTo>
                          <a:pt x="75079" y="7969"/>
                        </a:moveTo>
                        <a:cubicBezTo>
                          <a:pt x="78309" y="8747"/>
                          <a:pt x="81718" y="9883"/>
                          <a:pt x="84768" y="11079"/>
                        </a:cubicBezTo>
                        <a:lnTo>
                          <a:pt x="76514" y="14548"/>
                        </a:lnTo>
                        <a:cubicBezTo>
                          <a:pt x="75677" y="14309"/>
                          <a:pt x="74840" y="14070"/>
                          <a:pt x="74003" y="13830"/>
                        </a:cubicBezTo>
                        <a:cubicBezTo>
                          <a:pt x="51994" y="8687"/>
                          <a:pt x="7198" y="6414"/>
                          <a:pt x="6720" y="6355"/>
                        </a:cubicBezTo>
                        <a:cubicBezTo>
                          <a:pt x="3789" y="6235"/>
                          <a:pt x="799" y="4680"/>
                          <a:pt x="141" y="2886"/>
                        </a:cubicBezTo>
                        <a:cubicBezTo>
                          <a:pt x="-278" y="1809"/>
                          <a:pt x="260" y="852"/>
                          <a:pt x="1457" y="374"/>
                        </a:cubicBezTo>
                        <a:cubicBezTo>
                          <a:pt x="2174" y="75"/>
                          <a:pt x="3131" y="-45"/>
                          <a:pt x="4268" y="15"/>
                        </a:cubicBezTo>
                        <a:cubicBezTo>
                          <a:pt x="6181" y="135"/>
                          <a:pt x="51276" y="2407"/>
                          <a:pt x="75079" y="796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07" name="Vrije vorm: vorm 7206">
                    <a:extLst>
                      <a:ext uri="{FF2B5EF4-FFF2-40B4-BE49-F238E27FC236}">
                        <a16:creationId xmlns:a16="http://schemas.microsoft.com/office/drawing/2014/main" id="{08D1E804-F97D-4C45-9B0E-901E6D82F290}"/>
                      </a:ext>
                    </a:extLst>
                  </p:cNvPr>
                  <p:cNvSpPr/>
                  <p:nvPr/>
                </p:nvSpPr>
                <p:spPr>
                  <a:xfrm>
                    <a:off x="8056257" y="3734816"/>
                    <a:ext cx="26170" cy="7959"/>
                  </a:xfrm>
                  <a:custGeom>
                    <a:avLst/>
                    <a:gdLst>
                      <a:gd name="connsiteX0" fmla="*/ 26170 w 26170"/>
                      <a:gd name="connsiteY0" fmla="*/ 125 h 7959"/>
                      <a:gd name="connsiteX1" fmla="*/ 7391 w 26170"/>
                      <a:gd name="connsiteY1" fmla="*/ 7959 h 7959"/>
                      <a:gd name="connsiteX2" fmla="*/ 1111 w 26170"/>
                      <a:gd name="connsiteY2" fmla="*/ 5806 h 7959"/>
                      <a:gd name="connsiteX3" fmla="*/ 2187 w 26170"/>
                      <a:gd name="connsiteY3" fmla="*/ 1739 h 7959"/>
                      <a:gd name="connsiteX4" fmla="*/ 26170 w 26170"/>
                      <a:gd name="connsiteY4" fmla="*/ 125 h 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70" h="7959">
                        <a:moveTo>
                          <a:pt x="26170" y="125"/>
                        </a:moveTo>
                        <a:lnTo>
                          <a:pt x="7391" y="7959"/>
                        </a:lnTo>
                        <a:cubicBezTo>
                          <a:pt x="4879" y="7780"/>
                          <a:pt x="2607" y="7122"/>
                          <a:pt x="1111" y="5806"/>
                        </a:cubicBezTo>
                        <a:cubicBezTo>
                          <a:pt x="-743" y="4132"/>
                          <a:pt x="-204" y="2338"/>
                          <a:pt x="2187" y="1739"/>
                        </a:cubicBezTo>
                        <a:cubicBezTo>
                          <a:pt x="2666" y="1620"/>
                          <a:pt x="11458" y="-533"/>
                          <a:pt x="26170" y="12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08" name="Vrije vorm: vorm 7207">
                    <a:extLst>
                      <a:ext uri="{FF2B5EF4-FFF2-40B4-BE49-F238E27FC236}">
                        <a16:creationId xmlns:a16="http://schemas.microsoft.com/office/drawing/2014/main" id="{62D9182D-C6E1-4BE9-8B8A-3F51F6C7C48B}"/>
                      </a:ext>
                    </a:extLst>
                  </p:cNvPr>
                  <p:cNvSpPr/>
                  <p:nvPr/>
                </p:nvSpPr>
                <p:spPr>
                  <a:xfrm>
                    <a:off x="8045100" y="3713233"/>
                    <a:ext cx="72493" cy="10643"/>
                  </a:xfrm>
                  <a:custGeom>
                    <a:avLst/>
                    <a:gdLst>
                      <a:gd name="connsiteX0" fmla="*/ 72494 w 72493"/>
                      <a:gd name="connsiteY0" fmla="*/ 6936 h 10643"/>
                      <a:gd name="connsiteX1" fmla="*/ 63582 w 72493"/>
                      <a:gd name="connsiteY1" fmla="*/ 10644 h 10643"/>
                      <a:gd name="connsiteX2" fmla="*/ 8141 w 72493"/>
                      <a:gd name="connsiteY2" fmla="*/ 7474 h 10643"/>
                      <a:gd name="connsiteX3" fmla="*/ 665 w 72493"/>
                      <a:gd name="connsiteY3" fmla="*/ 4902 h 10643"/>
                      <a:gd name="connsiteX4" fmla="*/ 1443 w 72493"/>
                      <a:gd name="connsiteY4" fmla="*/ 1493 h 10643"/>
                      <a:gd name="connsiteX5" fmla="*/ 2878 w 72493"/>
                      <a:gd name="connsiteY5" fmla="*/ 1194 h 10643"/>
                      <a:gd name="connsiteX6" fmla="*/ 72494 w 72493"/>
                      <a:gd name="connsiteY6" fmla="*/ 6936 h 10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493" h="10643">
                        <a:moveTo>
                          <a:pt x="72494" y="6936"/>
                        </a:moveTo>
                        <a:lnTo>
                          <a:pt x="63582" y="10644"/>
                        </a:lnTo>
                        <a:cubicBezTo>
                          <a:pt x="47793" y="6756"/>
                          <a:pt x="27878" y="5082"/>
                          <a:pt x="8141" y="7474"/>
                        </a:cubicBezTo>
                        <a:cubicBezTo>
                          <a:pt x="5450" y="7773"/>
                          <a:pt x="2100" y="6636"/>
                          <a:pt x="665" y="4902"/>
                        </a:cubicBezTo>
                        <a:cubicBezTo>
                          <a:pt x="-471" y="3527"/>
                          <a:pt x="-113" y="2151"/>
                          <a:pt x="1443" y="1493"/>
                        </a:cubicBezTo>
                        <a:cubicBezTo>
                          <a:pt x="1862" y="1314"/>
                          <a:pt x="2340" y="1254"/>
                          <a:pt x="2878" y="1194"/>
                        </a:cubicBezTo>
                        <a:cubicBezTo>
                          <a:pt x="28117" y="-1856"/>
                          <a:pt x="53714" y="1254"/>
                          <a:pt x="72494" y="693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209" name="Vrije vorm: vorm 7208">
                    <a:extLst>
                      <a:ext uri="{FF2B5EF4-FFF2-40B4-BE49-F238E27FC236}">
                        <a16:creationId xmlns:a16="http://schemas.microsoft.com/office/drawing/2014/main" id="{DC471367-82DB-469D-BC06-F988C8079EA4}"/>
                      </a:ext>
                    </a:extLst>
                  </p:cNvPr>
                  <p:cNvSpPr/>
                  <p:nvPr/>
                </p:nvSpPr>
                <p:spPr>
                  <a:xfrm>
                    <a:off x="8046081" y="3723260"/>
                    <a:ext cx="56800" cy="8063"/>
                  </a:xfrm>
                  <a:custGeom>
                    <a:avLst/>
                    <a:gdLst>
                      <a:gd name="connsiteX0" fmla="*/ 56801 w 56800"/>
                      <a:gd name="connsiteY0" fmla="*/ 3129 h 8063"/>
                      <a:gd name="connsiteX1" fmla="*/ 46274 w 56800"/>
                      <a:gd name="connsiteY1" fmla="*/ 7555 h 8063"/>
                      <a:gd name="connsiteX2" fmla="*/ 8417 w 56800"/>
                      <a:gd name="connsiteY2" fmla="*/ 7973 h 8063"/>
                      <a:gd name="connsiteX3" fmla="*/ 821 w 56800"/>
                      <a:gd name="connsiteY3" fmla="*/ 5641 h 8063"/>
                      <a:gd name="connsiteX4" fmla="*/ 1479 w 56800"/>
                      <a:gd name="connsiteY4" fmla="*/ 2052 h 8063"/>
                      <a:gd name="connsiteX5" fmla="*/ 2675 w 56800"/>
                      <a:gd name="connsiteY5" fmla="*/ 1753 h 8063"/>
                      <a:gd name="connsiteX6" fmla="*/ 56801 w 56800"/>
                      <a:gd name="connsiteY6" fmla="*/ 3129 h 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00" h="8063">
                        <a:moveTo>
                          <a:pt x="56801" y="3129"/>
                        </a:moveTo>
                        <a:lnTo>
                          <a:pt x="46274" y="7555"/>
                        </a:lnTo>
                        <a:cubicBezTo>
                          <a:pt x="35270" y="5999"/>
                          <a:pt x="22292" y="5701"/>
                          <a:pt x="8417" y="7973"/>
                        </a:cubicBezTo>
                        <a:cubicBezTo>
                          <a:pt x="5845" y="8392"/>
                          <a:pt x="2436" y="7315"/>
                          <a:pt x="821" y="5641"/>
                        </a:cubicBezTo>
                        <a:cubicBezTo>
                          <a:pt x="-495" y="4205"/>
                          <a:pt x="-196" y="2770"/>
                          <a:pt x="1479" y="2052"/>
                        </a:cubicBezTo>
                        <a:cubicBezTo>
                          <a:pt x="1778" y="1933"/>
                          <a:pt x="2196" y="1813"/>
                          <a:pt x="2675" y="1753"/>
                        </a:cubicBezTo>
                        <a:cubicBezTo>
                          <a:pt x="23607" y="-1716"/>
                          <a:pt x="43583" y="617"/>
                          <a:pt x="56801" y="3129"/>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7199" name="Vrije vorm: vorm 7198">
                  <a:extLst>
                    <a:ext uri="{FF2B5EF4-FFF2-40B4-BE49-F238E27FC236}">
                      <a16:creationId xmlns:a16="http://schemas.microsoft.com/office/drawing/2014/main" id="{6A201AA9-F633-4754-B9C1-E0F944350FE1}"/>
                    </a:ext>
                  </a:extLst>
                </p:cNvPr>
                <p:cNvSpPr/>
                <p:nvPr/>
              </p:nvSpPr>
              <p:spPr>
                <a:xfrm>
                  <a:off x="8101027" y="3761376"/>
                  <a:ext cx="134506" cy="133669"/>
                </a:xfrm>
                <a:custGeom>
                  <a:avLst/>
                  <a:gdLst>
                    <a:gd name="connsiteX0" fmla="*/ 0 w 134506"/>
                    <a:gd name="connsiteY0" fmla="*/ 133669 h 133669"/>
                    <a:gd name="connsiteX1" fmla="*/ 134507 w 134506"/>
                    <a:gd name="connsiteY1" fmla="*/ 0 h 133669"/>
                  </a:gdLst>
                  <a:ahLst/>
                  <a:cxnLst>
                    <a:cxn ang="0">
                      <a:pos x="connsiteX0" y="connsiteY0"/>
                    </a:cxn>
                    <a:cxn ang="0">
                      <a:pos x="connsiteX1" y="connsiteY1"/>
                    </a:cxn>
                  </a:cxnLst>
                  <a:rect l="l" t="t" r="r" b="b"/>
                  <a:pathLst>
                    <a:path w="134506" h="133669">
                      <a:moveTo>
                        <a:pt x="0" y="133669"/>
                      </a:moveTo>
                      <a:lnTo>
                        <a:pt x="134507" y="0"/>
                      </a:lnTo>
                    </a:path>
                  </a:pathLst>
                </a:custGeom>
                <a:grpFill/>
                <a:ln w="6350" cap="flat">
                  <a:solidFill>
                    <a:schemeClr val="bg1">
                      <a:alpha val="80000"/>
                    </a:schemeClr>
                  </a:solidFill>
                  <a:prstDash val="solid"/>
                  <a:miter/>
                </a:ln>
              </p:spPr>
              <p:txBody>
                <a:bodyPr rtlCol="0" anchor="ctr"/>
                <a:lstStyle/>
                <a:p>
                  <a:endParaRPr lang="en-GB"/>
                </a:p>
              </p:txBody>
            </p:sp>
            <p:sp>
              <p:nvSpPr>
                <p:cNvPr id="7200" name="Vrije vorm: vorm 7199">
                  <a:extLst>
                    <a:ext uri="{FF2B5EF4-FFF2-40B4-BE49-F238E27FC236}">
                      <a16:creationId xmlns:a16="http://schemas.microsoft.com/office/drawing/2014/main" id="{A6A09F09-2A60-48D9-A375-8990190B4DDD}"/>
                    </a:ext>
                  </a:extLst>
                </p:cNvPr>
                <p:cNvSpPr/>
                <p:nvPr/>
              </p:nvSpPr>
              <p:spPr>
                <a:xfrm>
                  <a:off x="8068671" y="3693494"/>
                  <a:ext cx="56697" cy="184804"/>
                </a:xfrm>
                <a:custGeom>
                  <a:avLst/>
                  <a:gdLst>
                    <a:gd name="connsiteX0" fmla="*/ 0 w 56697"/>
                    <a:gd name="connsiteY0" fmla="*/ 184804 h 184804"/>
                    <a:gd name="connsiteX1" fmla="*/ 56697 w 56697"/>
                    <a:gd name="connsiteY1" fmla="*/ 0 h 184804"/>
                  </a:gdLst>
                  <a:ahLst/>
                  <a:cxnLst>
                    <a:cxn ang="0">
                      <a:pos x="connsiteX0" y="connsiteY0"/>
                    </a:cxn>
                    <a:cxn ang="0">
                      <a:pos x="connsiteX1" y="connsiteY1"/>
                    </a:cxn>
                  </a:cxnLst>
                  <a:rect l="l" t="t" r="r" b="b"/>
                  <a:pathLst>
                    <a:path w="56697" h="184804">
                      <a:moveTo>
                        <a:pt x="0" y="184804"/>
                      </a:moveTo>
                      <a:lnTo>
                        <a:pt x="56697" y="0"/>
                      </a:lnTo>
                    </a:path>
                  </a:pathLst>
                </a:custGeom>
                <a:grpFill/>
                <a:ln w="6350" cap="flat">
                  <a:solidFill>
                    <a:schemeClr val="bg1">
                      <a:alpha val="80000"/>
                    </a:schemeClr>
                  </a:solidFill>
                  <a:prstDash val="solid"/>
                  <a:miter/>
                </a:ln>
              </p:spPr>
              <p:txBody>
                <a:bodyPr rtlCol="0" anchor="ctr"/>
                <a:lstStyle/>
                <a:p>
                  <a:endParaRPr lang="en-GB"/>
                </a:p>
              </p:txBody>
            </p:sp>
          </p:grpSp>
          <p:grpSp>
            <p:nvGrpSpPr>
              <p:cNvPr id="7151" name="Groep 7150">
                <a:extLst>
                  <a:ext uri="{FF2B5EF4-FFF2-40B4-BE49-F238E27FC236}">
                    <a16:creationId xmlns:a16="http://schemas.microsoft.com/office/drawing/2014/main" id="{335AE79D-43F3-4A63-A153-F0874B873292}"/>
                  </a:ext>
                </a:extLst>
              </p:cNvPr>
              <p:cNvGrpSpPr/>
              <p:nvPr/>
            </p:nvGrpSpPr>
            <p:grpSpPr>
              <a:xfrm>
                <a:off x="8118815" y="4329126"/>
                <a:ext cx="141897" cy="128827"/>
                <a:chOff x="8118815" y="4329126"/>
                <a:chExt cx="141897" cy="128827"/>
              </a:xfrm>
              <a:noFill/>
            </p:grpSpPr>
            <p:grpSp>
              <p:nvGrpSpPr>
                <p:cNvPr id="7173" name="Graphic 3">
                  <a:extLst>
                    <a:ext uri="{FF2B5EF4-FFF2-40B4-BE49-F238E27FC236}">
                      <a16:creationId xmlns:a16="http://schemas.microsoft.com/office/drawing/2014/main" id="{B1BDD15A-65F2-4332-828B-A3F5E0AE928D}"/>
                    </a:ext>
                  </a:extLst>
                </p:cNvPr>
                <p:cNvGrpSpPr/>
                <p:nvPr/>
              </p:nvGrpSpPr>
              <p:grpSpPr>
                <a:xfrm>
                  <a:off x="8118815" y="4372246"/>
                  <a:ext cx="128321" cy="85707"/>
                  <a:chOff x="8118815" y="4372246"/>
                  <a:chExt cx="128321" cy="85707"/>
                </a:xfrm>
                <a:grpFill/>
              </p:grpSpPr>
              <p:sp>
                <p:nvSpPr>
                  <p:cNvPr id="7192" name="Vrije vorm: vorm 7191">
                    <a:extLst>
                      <a:ext uri="{FF2B5EF4-FFF2-40B4-BE49-F238E27FC236}">
                        <a16:creationId xmlns:a16="http://schemas.microsoft.com/office/drawing/2014/main" id="{5FDC8769-6AE2-4C0A-AE3B-280E35B8FB00}"/>
                      </a:ext>
                    </a:extLst>
                  </p:cNvPr>
                  <p:cNvSpPr/>
                  <p:nvPr/>
                </p:nvSpPr>
                <p:spPr>
                  <a:xfrm>
                    <a:off x="8191755" y="4436240"/>
                    <a:ext cx="55381" cy="21713"/>
                  </a:xfrm>
                  <a:custGeom>
                    <a:avLst/>
                    <a:gdLst>
                      <a:gd name="connsiteX0" fmla="*/ 6041 w 55381"/>
                      <a:gd name="connsiteY0" fmla="*/ 0 h 21713"/>
                      <a:gd name="connsiteX1" fmla="*/ 0 w 55381"/>
                      <a:gd name="connsiteY1" fmla="*/ 16866 h 21713"/>
                      <a:gd name="connsiteX2" fmla="*/ 33552 w 55381"/>
                      <a:gd name="connsiteY2" fmla="*/ 20394 h 21713"/>
                      <a:gd name="connsiteX3" fmla="*/ 55382 w 55381"/>
                      <a:gd name="connsiteY3" fmla="*/ 2572 h 21713"/>
                    </a:gdLst>
                    <a:ahLst/>
                    <a:cxnLst>
                      <a:cxn ang="0">
                        <a:pos x="connsiteX0" y="connsiteY0"/>
                      </a:cxn>
                      <a:cxn ang="0">
                        <a:pos x="connsiteX1" y="connsiteY1"/>
                      </a:cxn>
                      <a:cxn ang="0">
                        <a:pos x="connsiteX2" y="connsiteY2"/>
                      </a:cxn>
                      <a:cxn ang="0">
                        <a:pos x="connsiteX3" y="connsiteY3"/>
                      </a:cxn>
                    </a:cxnLst>
                    <a:rect l="l" t="t" r="r" b="b"/>
                    <a:pathLst>
                      <a:path w="55381" h="21713">
                        <a:moveTo>
                          <a:pt x="6041" y="0"/>
                        </a:moveTo>
                        <a:lnTo>
                          <a:pt x="0" y="16866"/>
                        </a:lnTo>
                        <a:cubicBezTo>
                          <a:pt x="12679" y="21770"/>
                          <a:pt x="23863" y="22966"/>
                          <a:pt x="33552" y="20394"/>
                        </a:cubicBezTo>
                        <a:cubicBezTo>
                          <a:pt x="43181" y="17763"/>
                          <a:pt x="50478" y="11842"/>
                          <a:pt x="55382" y="2572"/>
                        </a:cubicBezTo>
                      </a:path>
                    </a:pathLst>
                  </a:custGeom>
                  <a:grpFill/>
                  <a:ln w="6350" cap="flat">
                    <a:solidFill>
                      <a:schemeClr val="bg1">
                        <a:alpha val="80000"/>
                      </a:schemeClr>
                    </a:solidFill>
                    <a:prstDash val="solid"/>
                    <a:miter/>
                  </a:ln>
                </p:spPr>
                <p:txBody>
                  <a:bodyPr rtlCol="0" anchor="ctr"/>
                  <a:lstStyle/>
                  <a:p>
                    <a:endParaRPr lang="en-GB"/>
                  </a:p>
                </p:txBody>
              </p:sp>
              <p:sp>
                <p:nvSpPr>
                  <p:cNvPr id="7193" name="Vrije vorm: vorm 7192">
                    <a:extLst>
                      <a:ext uri="{FF2B5EF4-FFF2-40B4-BE49-F238E27FC236}">
                        <a16:creationId xmlns:a16="http://schemas.microsoft.com/office/drawing/2014/main" id="{E0A34A25-48C8-4150-A075-3296E688D78F}"/>
                      </a:ext>
                    </a:extLst>
                  </p:cNvPr>
                  <p:cNvSpPr/>
                  <p:nvPr/>
                </p:nvSpPr>
                <p:spPr>
                  <a:xfrm>
                    <a:off x="8153239" y="4373396"/>
                    <a:ext cx="76552" cy="43287"/>
                  </a:xfrm>
                  <a:custGeom>
                    <a:avLst/>
                    <a:gdLst>
                      <a:gd name="connsiteX0" fmla="*/ 0 w 76552"/>
                      <a:gd name="connsiteY0" fmla="*/ 585 h 43287"/>
                      <a:gd name="connsiteX1" fmla="*/ 25956 w 76552"/>
                      <a:gd name="connsiteY1" fmla="*/ 4652 h 43287"/>
                      <a:gd name="connsiteX2" fmla="*/ 14832 w 76552"/>
                      <a:gd name="connsiteY2" fmla="*/ 25824 h 43287"/>
                      <a:gd name="connsiteX3" fmla="*/ 25657 w 76552"/>
                      <a:gd name="connsiteY3" fmla="*/ 31685 h 43287"/>
                      <a:gd name="connsiteX4" fmla="*/ 37200 w 76552"/>
                      <a:gd name="connsiteY4" fmla="*/ 9735 h 43287"/>
                      <a:gd name="connsiteX5" fmla="*/ 42643 w 76552"/>
                      <a:gd name="connsiteY5" fmla="*/ 12487 h 43287"/>
                      <a:gd name="connsiteX6" fmla="*/ 48025 w 76552"/>
                      <a:gd name="connsiteY6" fmla="*/ 15537 h 43287"/>
                      <a:gd name="connsiteX7" fmla="*/ 36482 w 76552"/>
                      <a:gd name="connsiteY7" fmla="*/ 37486 h 43287"/>
                      <a:gd name="connsiteX8" fmla="*/ 47247 w 76552"/>
                      <a:gd name="connsiteY8" fmla="*/ 43288 h 43287"/>
                      <a:gd name="connsiteX9" fmla="*/ 58372 w 76552"/>
                      <a:gd name="connsiteY9" fmla="*/ 22116 h 43287"/>
                      <a:gd name="connsiteX10" fmla="*/ 76553 w 76552"/>
                      <a:gd name="connsiteY10" fmla="*/ 40895 h 4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52" h="43287">
                        <a:moveTo>
                          <a:pt x="0" y="585"/>
                        </a:moveTo>
                        <a:cubicBezTo>
                          <a:pt x="6698" y="-910"/>
                          <a:pt x="15310" y="465"/>
                          <a:pt x="25956" y="4652"/>
                        </a:cubicBezTo>
                        <a:lnTo>
                          <a:pt x="14832" y="25824"/>
                        </a:lnTo>
                        <a:lnTo>
                          <a:pt x="25657" y="31685"/>
                        </a:lnTo>
                        <a:lnTo>
                          <a:pt x="37200" y="9735"/>
                        </a:lnTo>
                        <a:lnTo>
                          <a:pt x="42643" y="12487"/>
                        </a:lnTo>
                        <a:lnTo>
                          <a:pt x="48025" y="15537"/>
                        </a:lnTo>
                        <a:lnTo>
                          <a:pt x="36482" y="37486"/>
                        </a:lnTo>
                        <a:lnTo>
                          <a:pt x="47247" y="43288"/>
                        </a:lnTo>
                        <a:lnTo>
                          <a:pt x="58372" y="22116"/>
                        </a:lnTo>
                        <a:cubicBezTo>
                          <a:pt x="67701" y="28455"/>
                          <a:pt x="73802" y="34735"/>
                          <a:pt x="76553" y="40895"/>
                        </a:cubicBezTo>
                      </a:path>
                    </a:pathLst>
                  </a:custGeom>
                  <a:grpFill/>
                  <a:ln w="6350" cap="flat">
                    <a:solidFill>
                      <a:schemeClr val="bg1">
                        <a:alpha val="80000"/>
                      </a:schemeClr>
                    </a:solidFill>
                    <a:prstDash val="solid"/>
                    <a:miter/>
                  </a:ln>
                </p:spPr>
                <p:txBody>
                  <a:bodyPr rtlCol="0" anchor="ctr"/>
                  <a:lstStyle/>
                  <a:p>
                    <a:endParaRPr lang="en-GB"/>
                  </a:p>
                </p:txBody>
              </p:sp>
              <p:sp>
                <p:nvSpPr>
                  <p:cNvPr id="7194" name="Vrije vorm: vorm 7193">
                    <a:extLst>
                      <a:ext uri="{FF2B5EF4-FFF2-40B4-BE49-F238E27FC236}">
                        <a16:creationId xmlns:a16="http://schemas.microsoft.com/office/drawing/2014/main" id="{A0FBF048-7503-4BC7-9989-DAAA0FD409B7}"/>
                      </a:ext>
                    </a:extLst>
                  </p:cNvPr>
                  <p:cNvSpPr/>
                  <p:nvPr/>
                </p:nvSpPr>
                <p:spPr>
                  <a:xfrm>
                    <a:off x="8118815" y="4372246"/>
                    <a:ext cx="35560" cy="55022"/>
                  </a:xfrm>
                  <a:custGeom>
                    <a:avLst/>
                    <a:gdLst>
                      <a:gd name="connsiteX0" fmla="*/ 4341 w 35560"/>
                      <a:gd name="connsiteY0" fmla="*/ 0 h 55022"/>
                      <a:gd name="connsiteX1" fmla="*/ 1948 w 35560"/>
                      <a:gd name="connsiteY1" fmla="*/ 28109 h 55022"/>
                      <a:gd name="connsiteX2" fmla="*/ 25154 w 35560"/>
                      <a:gd name="connsiteY2" fmla="*/ 55023 h 55022"/>
                      <a:gd name="connsiteX3" fmla="*/ 35560 w 35560"/>
                      <a:gd name="connsiteY3" fmla="*/ 40490 h 55022"/>
                    </a:gdLst>
                    <a:ahLst/>
                    <a:cxnLst>
                      <a:cxn ang="0">
                        <a:pos x="connsiteX0" y="connsiteY0"/>
                      </a:cxn>
                      <a:cxn ang="0">
                        <a:pos x="connsiteX1" y="connsiteY1"/>
                      </a:cxn>
                      <a:cxn ang="0">
                        <a:pos x="connsiteX2" y="connsiteY2"/>
                      </a:cxn>
                      <a:cxn ang="0">
                        <a:pos x="connsiteX3" y="connsiteY3"/>
                      </a:cxn>
                    </a:cxnLst>
                    <a:rect l="l" t="t" r="r" b="b"/>
                    <a:pathLst>
                      <a:path w="35560" h="55022">
                        <a:moveTo>
                          <a:pt x="4341" y="0"/>
                        </a:moveTo>
                        <a:cubicBezTo>
                          <a:pt x="-504" y="9211"/>
                          <a:pt x="-1281" y="18540"/>
                          <a:pt x="1948" y="28109"/>
                        </a:cubicBezTo>
                        <a:cubicBezTo>
                          <a:pt x="5178" y="37679"/>
                          <a:pt x="12953" y="46650"/>
                          <a:pt x="25154" y="55023"/>
                        </a:cubicBezTo>
                        <a:lnTo>
                          <a:pt x="35560" y="40490"/>
                        </a:lnTo>
                      </a:path>
                    </a:pathLst>
                  </a:custGeom>
                  <a:grpFill/>
                  <a:ln w="6350" cap="flat">
                    <a:solidFill>
                      <a:schemeClr val="bg1">
                        <a:alpha val="80000"/>
                      </a:schemeClr>
                    </a:solidFill>
                    <a:prstDash val="solid"/>
                    <a:miter/>
                  </a:ln>
                </p:spPr>
                <p:txBody>
                  <a:bodyPr rtlCol="0" anchor="ctr"/>
                  <a:lstStyle/>
                  <a:p>
                    <a:endParaRPr lang="en-GB"/>
                  </a:p>
                </p:txBody>
              </p:sp>
            </p:grpSp>
            <p:grpSp>
              <p:nvGrpSpPr>
                <p:cNvPr id="7174" name="Graphic 3">
                  <a:extLst>
                    <a:ext uri="{FF2B5EF4-FFF2-40B4-BE49-F238E27FC236}">
                      <a16:creationId xmlns:a16="http://schemas.microsoft.com/office/drawing/2014/main" id="{4A541A89-705B-48FC-899F-96E4B7614BEC}"/>
                    </a:ext>
                  </a:extLst>
                </p:cNvPr>
                <p:cNvGrpSpPr/>
                <p:nvPr/>
              </p:nvGrpSpPr>
              <p:grpSpPr>
                <a:xfrm>
                  <a:off x="8225306" y="4414530"/>
                  <a:ext cx="35406" cy="42104"/>
                  <a:chOff x="8225306" y="4414530"/>
                  <a:chExt cx="35406" cy="42104"/>
                </a:xfrm>
                <a:grpFill/>
              </p:grpSpPr>
              <p:sp>
                <p:nvSpPr>
                  <p:cNvPr id="7190" name="Vrije vorm: vorm 7189">
                    <a:extLst>
                      <a:ext uri="{FF2B5EF4-FFF2-40B4-BE49-F238E27FC236}">
                        <a16:creationId xmlns:a16="http://schemas.microsoft.com/office/drawing/2014/main" id="{0DF7B40D-D438-4263-A319-9F2D99F68461}"/>
                      </a:ext>
                    </a:extLst>
                  </p:cNvPr>
                  <p:cNvSpPr/>
                  <p:nvPr/>
                </p:nvSpPr>
                <p:spPr>
                  <a:xfrm>
                    <a:off x="8225306" y="4414530"/>
                    <a:ext cx="35406" cy="42104"/>
                  </a:xfrm>
                  <a:custGeom>
                    <a:avLst/>
                    <a:gdLst>
                      <a:gd name="connsiteX0" fmla="*/ 21830 w 35406"/>
                      <a:gd name="connsiteY0" fmla="*/ 24282 h 42104"/>
                      <a:gd name="connsiteX1" fmla="*/ 35406 w 35406"/>
                      <a:gd name="connsiteY1" fmla="*/ 0 h 42104"/>
                      <a:gd name="connsiteX2" fmla="*/ 13576 w 35406"/>
                      <a:gd name="connsiteY2" fmla="*/ 17823 h 42104"/>
                      <a:gd name="connsiteX3" fmla="*/ 0 w 35406"/>
                      <a:gd name="connsiteY3" fmla="*/ 42105 h 42104"/>
                      <a:gd name="connsiteX4" fmla="*/ 21830 w 35406"/>
                      <a:gd name="connsiteY4" fmla="*/ 24282 h 4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6" h="42104">
                        <a:moveTo>
                          <a:pt x="21830" y="24282"/>
                        </a:moveTo>
                        <a:lnTo>
                          <a:pt x="35406" y="0"/>
                        </a:lnTo>
                        <a:cubicBezTo>
                          <a:pt x="30502" y="9270"/>
                          <a:pt x="23265" y="15251"/>
                          <a:pt x="13576" y="17823"/>
                        </a:cubicBezTo>
                        <a:lnTo>
                          <a:pt x="0" y="42105"/>
                        </a:lnTo>
                        <a:cubicBezTo>
                          <a:pt x="9689" y="39473"/>
                          <a:pt x="16926" y="33552"/>
                          <a:pt x="21830" y="2428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191" name="Vrije vorm: vorm 7190">
                    <a:extLst>
                      <a:ext uri="{FF2B5EF4-FFF2-40B4-BE49-F238E27FC236}">
                        <a16:creationId xmlns:a16="http://schemas.microsoft.com/office/drawing/2014/main" id="{AF5FA25C-9A3C-43A4-A177-578E654C512D}"/>
                      </a:ext>
                    </a:extLst>
                  </p:cNvPr>
                  <p:cNvSpPr/>
                  <p:nvPr/>
                </p:nvSpPr>
                <p:spPr>
                  <a:xfrm>
                    <a:off x="8246598" y="4414530"/>
                    <a:ext cx="14114" cy="25298"/>
                  </a:xfrm>
                  <a:custGeom>
                    <a:avLst/>
                    <a:gdLst>
                      <a:gd name="connsiteX0" fmla="*/ 13576 w 14114"/>
                      <a:gd name="connsiteY0" fmla="*/ 1017 h 25298"/>
                      <a:gd name="connsiteX1" fmla="*/ 0 w 14114"/>
                      <a:gd name="connsiteY1" fmla="*/ 25299 h 25298"/>
                      <a:gd name="connsiteX2" fmla="*/ 14114 w 14114"/>
                      <a:gd name="connsiteY2" fmla="*/ 0 h 25298"/>
                      <a:gd name="connsiteX3" fmla="*/ 13576 w 14114"/>
                      <a:gd name="connsiteY3" fmla="*/ 1017 h 25298"/>
                    </a:gdLst>
                    <a:ahLst/>
                    <a:cxnLst>
                      <a:cxn ang="0">
                        <a:pos x="connsiteX0" y="connsiteY0"/>
                      </a:cxn>
                      <a:cxn ang="0">
                        <a:pos x="connsiteX1" y="connsiteY1"/>
                      </a:cxn>
                      <a:cxn ang="0">
                        <a:pos x="connsiteX2" y="connsiteY2"/>
                      </a:cxn>
                      <a:cxn ang="0">
                        <a:pos x="connsiteX3" y="connsiteY3"/>
                      </a:cxn>
                    </a:cxnLst>
                    <a:rect l="l" t="t" r="r" b="b"/>
                    <a:pathLst>
                      <a:path w="14114" h="25298">
                        <a:moveTo>
                          <a:pt x="13576" y="1017"/>
                        </a:moveTo>
                        <a:lnTo>
                          <a:pt x="0" y="25299"/>
                        </a:lnTo>
                        <a:cubicBezTo>
                          <a:pt x="179" y="24999"/>
                          <a:pt x="14114" y="0"/>
                          <a:pt x="14114" y="0"/>
                        </a:cubicBezTo>
                        <a:cubicBezTo>
                          <a:pt x="13935" y="299"/>
                          <a:pt x="13755" y="658"/>
                          <a:pt x="13576" y="1017"/>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7175" name="Vrije vorm: vorm 7174">
                  <a:extLst>
                    <a:ext uri="{FF2B5EF4-FFF2-40B4-BE49-F238E27FC236}">
                      <a16:creationId xmlns:a16="http://schemas.microsoft.com/office/drawing/2014/main" id="{EC4A60A8-2747-4AEC-A6F2-654002A67DE5}"/>
                    </a:ext>
                  </a:extLst>
                </p:cNvPr>
                <p:cNvSpPr/>
                <p:nvPr/>
              </p:nvSpPr>
              <p:spPr>
                <a:xfrm>
                  <a:off x="8191814" y="4411958"/>
                  <a:ext cx="19557" cy="41207"/>
                </a:xfrm>
                <a:custGeom>
                  <a:avLst/>
                  <a:gdLst>
                    <a:gd name="connsiteX0" fmla="*/ 0 w 19557"/>
                    <a:gd name="connsiteY0" fmla="*/ 41207 h 41207"/>
                    <a:gd name="connsiteX1" fmla="*/ 5981 w 19557"/>
                    <a:gd name="connsiteY1" fmla="*/ 24282 h 41207"/>
                    <a:gd name="connsiteX2" fmla="*/ 19557 w 19557"/>
                    <a:gd name="connsiteY2" fmla="*/ 0 h 41207"/>
                    <a:gd name="connsiteX3" fmla="*/ 13576 w 19557"/>
                    <a:gd name="connsiteY3" fmla="*/ 16926 h 41207"/>
                  </a:gdLst>
                  <a:ahLst/>
                  <a:cxnLst>
                    <a:cxn ang="0">
                      <a:pos x="connsiteX0" y="connsiteY0"/>
                    </a:cxn>
                    <a:cxn ang="0">
                      <a:pos x="connsiteX1" y="connsiteY1"/>
                    </a:cxn>
                    <a:cxn ang="0">
                      <a:pos x="connsiteX2" y="connsiteY2"/>
                    </a:cxn>
                    <a:cxn ang="0">
                      <a:pos x="connsiteX3" y="connsiteY3"/>
                    </a:cxn>
                  </a:cxnLst>
                  <a:rect l="l" t="t" r="r" b="b"/>
                  <a:pathLst>
                    <a:path w="19557" h="41207">
                      <a:moveTo>
                        <a:pt x="0" y="41207"/>
                      </a:moveTo>
                      <a:lnTo>
                        <a:pt x="5981" y="24282"/>
                      </a:lnTo>
                      <a:lnTo>
                        <a:pt x="19557" y="0"/>
                      </a:lnTo>
                      <a:lnTo>
                        <a:pt x="13576" y="16926"/>
                      </a:lnTo>
                      <a:close/>
                    </a:path>
                  </a:pathLst>
                </a:custGeom>
                <a:grpFill/>
                <a:ln w="6350" cap="flat">
                  <a:solidFill>
                    <a:schemeClr val="bg1">
                      <a:alpha val="80000"/>
                    </a:schemeClr>
                  </a:solidFill>
                  <a:prstDash val="solid"/>
                  <a:miter/>
                </a:ln>
              </p:spPr>
              <p:txBody>
                <a:bodyPr rtlCol="0" anchor="ctr"/>
                <a:lstStyle/>
                <a:p>
                  <a:endParaRPr lang="en-GB"/>
                </a:p>
              </p:txBody>
            </p:sp>
            <p:sp>
              <p:nvSpPr>
                <p:cNvPr id="7176" name="Vrije vorm: vorm 7175">
                  <a:extLst>
                    <a:ext uri="{FF2B5EF4-FFF2-40B4-BE49-F238E27FC236}">
                      <a16:creationId xmlns:a16="http://schemas.microsoft.com/office/drawing/2014/main" id="{A044B28F-68BA-4515-87F3-375B6E2F97ED}"/>
                    </a:ext>
                  </a:extLst>
                </p:cNvPr>
                <p:cNvSpPr/>
                <p:nvPr/>
              </p:nvSpPr>
              <p:spPr>
                <a:xfrm>
                  <a:off x="8200426" y="4371230"/>
                  <a:ext cx="24700" cy="45453"/>
                </a:xfrm>
                <a:custGeom>
                  <a:avLst/>
                  <a:gdLst>
                    <a:gd name="connsiteX0" fmla="*/ 24700 w 24700"/>
                    <a:gd name="connsiteY0" fmla="*/ 0 h 45453"/>
                    <a:gd name="connsiteX1" fmla="*/ 13576 w 24700"/>
                    <a:gd name="connsiteY1" fmla="*/ 21172 h 45453"/>
                    <a:gd name="connsiteX2" fmla="*/ 0 w 24700"/>
                    <a:gd name="connsiteY2" fmla="*/ 45454 h 45453"/>
                  </a:gdLst>
                  <a:ahLst/>
                  <a:cxnLst>
                    <a:cxn ang="0">
                      <a:pos x="connsiteX0" y="connsiteY0"/>
                    </a:cxn>
                    <a:cxn ang="0">
                      <a:pos x="connsiteX1" y="connsiteY1"/>
                    </a:cxn>
                    <a:cxn ang="0">
                      <a:pos x="connsiteX2" y="connsiteY2"/>
                    </a:cxn>
                  </a:cxnLst>
                  <a:rect l="l" t="t" r="r" b="b"/>
                  <a:pathLst>
                    <a:path w="24700" h="45453">
                      <a:moveTo>
                        <a:pt x="24700" y="0"/>
                      </a:moveTo>
                      <a:lnTo>
                        <a:pt x="13576" y="21172"/>
                      </a:lnTo>
                      <a:lnTo>
                        <a:pt x="0" y="45454"/>
                      </a:lnTo>
                    </a:path>
                  </a:pathLst>
                </a:custGeom>
                <a:grpFill/>
                <a:ln w="6350" cap="flat">
                  <a:solidFill>
                    <a:schemeClr val="bg1">
                      <a:alpha val="80000"/>
                    </a:schemeClr>
                  </a:solidFill>
                  <a:prstDash val="solid"/>
                  <a:miter/>
                </a:ln>
              </p:spPr>
              <p:txBody>
                <a:bodyPr rtlCol="0" anchor="ctr"/>
                <a:lstStyle/>
                <a:p>
                  <a:endParaRPr lang="en-GB"/>
                </a:p>
              </p:txBody>
            </p:sp>
            <p:sp>
              <p:nvSpPr>
                <p:cNvPr id="7177" name="Vrije vorm: vorm 7176">
                  <a:extLst>
                    <a:ext uri="{FF2B5EF4-FFF2-40B4-BE49-F238E27FC236}">
                      <a16:creationId xmlns:a16="http://schemas.microsoft.com/office/drawing/2014/main" id="{96EF5F7C-E098-4B9A-954F-269D086B5BD3}"/>
                    </a:ext>
                  </a:extLst>
                </p:cNvPr>
                <p:cNvSpPr/>
                <p:nvPr/>
              </p:nvSpPr>
              <p:spPr>
                <a:xfrm>
                  <a:off x="8189661" y="4386600"/>
                  <a:ext cx="24341" cy="30083"/>
                </a:xfrm>
                <a:custGeom>
                  <a:avLst/>
                  <a:gdLst>
                    <a:gd name="connsiteX0" fmla="*/ 24341 w 24341"/>
                    <a:gd name="connsiteY0" fmla="*/ 5801 h 30083"/>
                    <a:gd name="connsiteX1" fmla="*/ 10765 w 24341"/>
                    <a:gd name="connsiteY1" fmla="*/ 30083 h 30083"/>
                    <a:gd name="connsiteX2" fmla="*/ 0 w 24341"/>
                    <a:gd name="connsiteY2" fmla="*/ 24282 h 30083"/>
                    <a:gd name="connsiteX3" fmla="*/ 13576 w 24341"/>
                    <a:gd name="connsiteY3" fmla="*/ 0 h 30083"/>
                  </a:gdLst>
                  <a:ahLst/>
                  <a:cxnLst>
                    <a:cxn ang="0">
                      <a:pos x="connsiteX0" y="connsiteY0"/>
                    </a:cxn>
                    <a:cxn ang="0">
                      <a:pos x="connsiteX1" y="connsiteY1"/>
                    </a:cxn>
                    <a:cxn ang="0">
                      <a:pos x="connsiteX2" y="connsiteY2"/>
                    </a:cxn>
                    <a:cxn ang="0">
                      <a:pos x="connsiteX3" y="connsiteY3"/>
                    </a:cxn>
                  </a:cxnLst>
                  <a:rect l="l" t="t" r="r" b="b"/>
                  <a:pathLst>
                    <a:path w="24341" h="30083">
                      <a:moveTo>
                        <a:pt x="24341" y="5801"/>
                      </a:moveTo>
                      <a:lnTo>
                        <a:pt x="10765" y="30083"/>
                      </a:lnTo>
                      <a:lnTo>
                        <a:pt x="0" y="24282"/>
                      </a:lnTo>
                      <a:lnTo>
                        <a:pt x="13576" y="0"/>
                      </a:lnTo>
                    </a:path>
                  </a:pathLst>
                </a:custGeom>
                <a:grpFill/>
                <a:ln w="6350" cap="flat">
                  <a:solidFill>
                    <a:schemeClr val="bg1">
                      <a:alpha val="80000"/>
                    </a:schemeClr>
                  </a:solidFill>
                  <a:prstDash val="solid"/>
                  <a:miter/>
                </a:ln>
              </p:spPr>
              <p:txBody>
                <a:bodyPr rtlCol="0" anchor="ctr"/>
                <a:lstStyle/>
                <a:p>
                  <a:endParaRPr lang="en-GB"/>
                </a:p>
              </p:txBody>
            </p:sp>
            <p:sp>
              <p:nvSpPr>
                <p:cNvPr id="7178" name="Vrije vorm: vorm 7177">
                  <a:extLst>
                    <a:ext uri="{FF2B5EF4-FFF2-40B4-BE49-F238E27FC236}">
                      <a16:creationId xmlns:a16="http://schemas.microsoft.com/office/drawing/2014/main" id="{CC68D88F-A6D0-498B-AD5A-1274114C689B}"/>
                    </a:ext>
                  </a:extLst>
                </p:cNvPr>
                <p:cNvSpPr/>
                <p:nvPr/>
              </p:nvSpPr>
              <p:spPr>
                <a:xfrm>
                  <a:off x="8189661" y="4364651"/>
                  <a:ext cx="25118" cy="46230"/>
                </a:xfrm>
                <a:custGeom>
                  <a:avLst/>
                  <a:gdLst>
                    <a:gd name="connsiteX0" fmla="*/ 0 w 25118"/>
                    <a:gd name="connsiteY0" fmla="*/ 46231 h 46230"/>
                    <a:gd name="connsiteX1" fmla="*/ 11542 w 25118"/>
                    <a:gd name="connsiteY1" fmla="*/ 24282 h 46230"/>
                    <a:gd name="connsiteX2" fmla="*/ 25119 w 25118"/>
                    <a:gd name="connsiteY2" fmla="*/ 0 h 46230"/>
                    <a:gd name="connsiteX3" fmla="*/ 13576 w 25118"/>
                    <a:gd name="connsiteY3" fmla="*/ 21949 h 46230"/>
                  </a:gdLst>
                  <a:ahLst/>
                  <a:cxnLst>
                    <a:cxn ang="0">
                      <a:pos x="connsiteX0" y="connsiteY0"/>
                    </a:cxn>
                    <a:cxn ang="0">
                      <a:pos x="connsiteX1" y="connsiteY1"/>
                    </a:cxn>
                    <a:cxn ang="0">
                      <a:pos x="connsiteX2" y="connsiteY2"/>
                    </a:cxn>
                    <a:cxn ang="0">
                      <a:pos x="connsiteX3" y="connsiteY3"/>
                    </a:cxn>
                  </a:cxnLst>
                  <a:rect l="l" t="t" r="r" b="b"/>
                  <a:pathLst>
                    <a:path w="25118" h="46230">
                      <a:moveTo>
                        <a:pt x="0" y="46231"/>
                      </a:moveTo>
                      <a:lnTo>
                        <a:pt x="11542" y="24282"/>
                      </a:lnTo>
                      <a:lnTo>
                        <a:pt x="25119" y="0"/>
                      </a:lnTo>
                      <a:lnTo>
                        <a:pt x="13576" y="21949"/>
                      </a:lnTo>
                      <a:close/>
                    </a:path>
                  </a:pathLst>
                </a:custGeom>
                <a:grpFill/>
                <a:ln w="6350" cap="flat">
                  <a:solidFill>
                    <a:schemeClr val="bg1">
                      <a:alpha val="80000"/>
                    </a:schemeClr>
                  </a:solidFill>
                  <a:prstDash val="solid"/>
                  <a:miter/>
                </a:ln>
              </p:spPr>
              <p:txBody>
                <a:bodyPr rtlCol="0" anchor="ctr"/>
                <a:lstStyle/>
                <a:p>
                  <a:endParaRPr lang="en-GB"/>
                </a:p>
              </p:txBody>
            </p:sp>
            <p:sp>
              <p:nvSpPr>
                <p:cNvPr id="7179" name="Vrije vorm: vorm 7178">
                  <a:extLst>
                    <a:ext uri="{FF2B5EF4-FFF2-40B4-BE49-F238E27FC236}">
                      <a16:creationId xmlns:a16="http://schemas.microsoft.com/office/drawing/2014/main" id="{5849BB44-CCA4-415F-BD76-C8C9C4B90F63}"/>
                    </a:ext>
                  </a:extLst>
                </p:cNvPr>
                <p:cNvSpPr/>
                <p:nvPr/>
              </p:nvSpPr>
              <p:spPr>
                <a:xfrm>
                  <a:off x="8195822" y="4361601"/>
                  <a:ext cx="18958" cy="27331"/>
                </a:xfrm>
                <a:custGeom>
                  <a:avLst/>
                  <a:gdLst>
                    <a:gd name="connsiteX0" fmla="*/ 13635 w 18958"/>
                    <a:gd name="connsiteY0" fmla="*/ 0 h 27331"/>
                    <a:gd name="connsiteX1" fmla="*/ 18958 w 18958"/>
                    <a:gd name="connsiteY1" fmla="*/ 3050 h 27331"/>
                    <a:gd name="connsiteX2" fmla="*/ 5382 w 18958"/>
                    <a:gd name="connsiteY2" fmla="*/ 27332 h 27331"/>
                    <a:gd name="connsiteX3" fmla="*/ 0 w 18958"/>
                    <a:gd name="connsiteY3" fmla="*/ 24282 h 27331"/>
                  </a:gdLst>
                  <a:ahLst/>
                  <a:cxnLst>
                    <a:cxn ang="0">
                      <a:pos x="connsiteX0" y="connsiteY0"/>
                    </a:cxn>
                    <a:cxn ang="0">
                      <a:pos x="connsiteX1" y="connsiteY1"/>
                    </a:cxn>
                    <a:cxn ang="0">
                      <a:pos x="connsiteX2" y="connsiteY2"/>
                    </a:cxn>
                    <a:cxn ang="0">
                      <a:pos x="connsiteX3" y="connsiteY3"/>
                    </a:cxn>
                  </a:cxnLst>
                  <a:rect l="l" t="t" r="r" b="b"/>
                  <a:pathLst>
                    <a:path w="18958" h="27331">
                      <a:moveTo>
                        <a:pt x="13635" y="0"/>
                      </a:moveTo>
                      <a:lnTo>
                        <a:pt x="18958" y="3050"/>
                      </a:lnTo>
                      <a:lnTo>
                        <a:pt x="5382" y="27332"/>
                      </a:lnTo>
                      <a:lnTo>
                        <a:pt x="0" y="24282"/>
                      </a:lnTo>
                    </a:path>
                  </a:pathLst>
                </a:custGeom>
                <a:grpFill/>
                <a:ln w="6350" cap="flat">
                  <a:solidFill>
                    <a:schemeClr val="bg1">
                      <a:alpha val="80000"/>
                    </a:schemeClr>
                  </a:solidFill>
                  <a:prstDash val="solid"/>
                  <a:miter/>
                </a:ln>
              </p:spPr>
              <p:txBody>
                <a:bodyPr rtlCol="0" anchor="ctr"/>
                <a:lstStyle/>
                <a:p>
                  <a:endParaRPr lang="en-GB"/>
                </a:p>
              </p:txBody>
            </p:sp>
            <p:sp>
              <p:nvSpPr>
                <p:cNvPr id="7180" name="Vrije vorm: vorm 7179">
                  <a:extLst>
                    <a:ext uri="{FF2B5EF4-FFF2-40B4-BE49-F238E27FC236}">
                      <a16:creationId xmlns:a16="http://schemas.microsoft.com/office/drawing/2014/main" id="{CD22473F-4879-4937-8D1D-75F1426B20B6}"/>
                    </a:ext>
                  </a:extLst>
                </p:cNvPr>
                <p:cNvSpPr/>
                <p:nvPr/>
              </p:nvSpPr>
              <p:spPr>
                <a:xfrm>
                  <a:off x="8190379" y="4358790"/>
                  <a:ext cx="19078" cy="27092"/>
                </a:xfrm>
                <a:custGeom>
                  <a:avLst/>
                  <a:gdLst>
                    <a:gd name="connsiteX0" fmla="*/ 5443 w 19078"/>
                    <a:gd name="connsiteY0" fmla="*/ 27093 h 27092"/>
                    <a:gd name="connsiteX1" fmla="*/ 0 w 19078"/>
                    <a:gd name="connsiteY1" fmla="*/ 24342 h 27092"/>
                    <a:gd name="connsiteX2" fmla="*/ 13576 w 19078"/>
                    <a:gd name="connsiteY2" fmla="*/ 0 h 27092"/>
                    <a:gd name="connsiteX3" fmla="*/ 19078 w 19078"/>
                    <a:gd name="connsiteY3" fmla="*/ 2811 h 27092"/>
                  </a:gdLst>
                  <a:ahLst/>
                  <a:cxnLst>
                    <a:cxn ang="0">
                      <a:pos x="connsiteX0" y="connsiteY0"/>
                    </a:cxn>
                    <a:cxn ang="0">
                      <a:pos x="connsiteX1" y="connsiteY1"/>
                    </a:cxn>
                    <a:cxn ang="0">
                      <a:pos x="connsiteX2" y="connsiteY2"/>
                    </a:cxn>
                    <a:cxn ang="0">
                      <a:pos x="connsiteX3" y="connsiteY3"/>
                    </a:cxn>
                  </a:cxnLst>
                  <a:rect l="l" t="t" r="r" b="b"/>
                  <a:pathLst>
                    <a:path w="19078" h="27092">
                      <a:moveTo>
                        <a:pt x="5443" y="27093"/>
                      </a:moveTo>
                      <a:lnTo>
                        <a:pt x="0" y="24342"/>
                      </a:lnTo>
                      <a:lnTo>
                        <a:pt x="13576" y="0"/>
                      </a:lnTo>
                      <a:lnTo>
                        <a:pt x="19078" y="2811"/>
                      </a:lnTo>
                    </a:path>
                  </a:pathLst>
                </a:custGeom>
                <a:grpFill/>
                <a:ln w="6350" cap="flat">
                  <a:solidFill>
                    <a:schemeClr val="bg1">
                      <a:alpha val="80000"/>
                    </a:schemeClr>
                  </a:solidFill>
                  <a:prstDash val="solid"/>
                  <a:miter/>
                </a:ln>
              </p:spPr>
              <p:txBody>
                <a:bodyPr rtlCol="0" anchor="ctr"/>
                <a:lstStyle/>
                <a:p>
                  <a:endParaRPr lang="en-GB"/>
                </a:p>
              </p:txBody>
            </p:sp>
            <p:sp>
              <p:nvSpPr>
                <p:cNvPr id="7181" name="Vrije vorm: vorm 7180">
                  <a:extLst>
                    <a:ext uri="{FF2B5EF4-FFF2-40B4-BE49-F238E27FC236}">
                      <a16:creationId xmlns:a16="http://schemas.microsoft.com/office/drawing/2014/main" id="{D971A4AA-EF6D-442F-AC38-40909A4FAE5F}"/>
                    </a:ext>
                  </a:extLst>
                </p:cNvPr>
                <p:cNvSpPr/>
                <p:nvPr/>
              </p:nvSpPr>
              <p:spPr>
                <a:xfrm>
                  <a:off x="8178836" y="4358790"/>
                  <a:ext cx="25119" cy="46291"/>
                </a:xfrm>
                <a:custGeom>
                  <a:avLst/>
                  <a:gdLst>
                    <a:gd name="connsiteX0" fmla="*/ 11543 w 25119"/>
                    <a:gd name="connsiteY0" fmla="*/ 24342 h 46291"/>
                    <a:gd name="connsiteX1" fmla="*/ 25119 w 25119"/>
                    <a:gd name="connsiteY1" fmla="*/ 0 h 46291"/>
                    <a:gd name="connsiteX2" fmla="*/ 13576 w 25119"/>
                    <a:gd name="connsiteY2" fmla="*/ 22009 h 46291"/>
                    <a:gd name="connsiteX3" fmla="*/ 0 w 25119"/>
                    <a:gd name="connsiteY3" fmla="*/ 46291 h 46291"/>
                  </a:gdLst>
                  <a:ahLst/>
                  <a:cxnLst>
                    <a:cxn ang="0">
                      <a:pos x="connsiteX0" y="connsiteY0"/>
                    </a:cxn>
                    <a:cxn ang="0">
                      <a:pos x="connsiteX1" y="connsiteY1"/>
                    </a:cxn>
                    <a:cxn ang="0">
                      <a:pos x="connsiteX2" y="connsiteY2"/>
                    </a:cxn>
                    <a:cxn ang="0">
                      <a:pos x="connsiteX3" y="connsiteY3"/>
                    </a:cxn>
                  </a:cxnLst>
                  <a:rect l="l" t="t" r="r" b="b"/>
                  <a:pathLst>
                    <a:path w="25119" h="46291">
                      <a:moveTo>
                        <a:pt x="11543" y="24342"/>
                      </a:moveTo>
                      <a:lnTo>
                        <a:pt x="25119" y="0"/>
                      </a:lnTo>
                      <a:lnTo>
                        <a:pt x="13576" y="22009"/>
                      </a:lnTo>
                      <a:lnTo>
                        <a:pt x="0" y="46291"/>
                      </a:lnTo>
                      <a:close/>
                    </a:path>
                  </a:pathLst>
                </a:custGeom>
                <a:grpFill/>
                <a:ln w="6350" cap="flat">
                  <a:solidFill>
                    <a:schemeClr val="bg1">
                      <a:alpha val="80000"/>
                    </a:schemeClr>
                  </a:solidFill>
                  <a:prstDash val="solid"/>
                  <a:miter/>
                </a:ln>
              </p:spPr>
              <p:txBody>
                <a:bodyPr rtlCol="0" anchor="ctr"/>
                <a:lstStyle/>
                <a:p>
                  <a:endParaRPr lang="en-GB"/>
                </a:p>
              </p:txBody>
            </p:sp>
            <p:sp>
              <p:nvSpPr>
                <p:cNvPr id="7182" name="Vrije vorm: vorm 7181">
                  <a:extLst>
                    <a:ext uri="{FF2B5EF4-FFF2-40B4-BE49-F238E27FC236}">
                      <a16:creationId xmlns:a16="http://schemas.microsoft.com/office/drawing/2014/main" id="{EDC40574-4A97-46EB-B800-C590DEF835C1}"/>
                    </a:ext>
                  </a:extLst>
                </p:cNvPr>
                <p:cNvSpPr/>
                <p:nvPr/>
              </p:nvSpPr>
              <p:spPr>
                <a:xfrm>
                  <a:off x="8168011" y="4374938"/>
                  <a:ext cx="24401" cy="30143"/>
                </a:xfrm>
                <a:custGeom>
                  <a:avLst/>
                  <a:gdLst>
                    <a:gd name="connsiteX0" fmla="*/ 24401 w 24401"/>
                    <a:gd name="connsiteY0" fmla="*/ 5861 h 30143"/>
                    <a:gd name="connsiteX1" fmla="*/ 10825 w 24401"/>
                    <a:gd name="connsiteY1" fmla="*/ 30143 h 30143"/>
                    <a:gd name="connsiteX2" fmla="*/ 0 w 24401"/>
                    <a:gd name="connsiteY2" fmla="*/ 24282 h 30143"/>
                    <a:gd name="connsiteX3" fmla="*/ 13576 w 24401"/>
                    <a:gd name="connsiteY3" fmla="*/ 0 h 30143"/>
                  </a:gdLst>
                  <a:ahLst/>
                  <a:cxnLst>
                    <a:cxn ang="0">
                      <a:pos x="connsiteX0" y="connsiteY0"/>
                    </a:cxn>
                    <a:cxn ang="0">
                      <a:pos x="connsiteX1" y="connsiteY1"/>
                    </a:cxn>
                    <a:cxn ang="0">
                      <a:pos x="connsiteX2" y="connsiteY2"/>
                    </a:cxn>
                    <a:cxn ang="0">
                      <a:pos x="connsiteX3" y="connsiteY3"/>
                    </a:cxn>
                  </a:cxnLst>
                  <a:rect l="l" t="t" r="r" b="b"/>
                  <a:pathLst>
                    <a:path w="24401" h="30143">
                      <a:moveTo>
                        <a:pt x="24401" y="5861"/>
                      </a:moveTo>
                      <a:lnTo>
                        <a:pt x="10825" y="30143"/>
                      </a:lnTo>
                      <a:lnTo>
                        <a:pt x="0" y="24282"/>
                      </a:lnTo>
                      <a:lnTo>
                        <a:pt x="13576" y="0"/>
                      </a:lnTo>
                    </a:path>
                  </a:pathLst>
                </a:custGeom>
                <a:grpFill/>
                <a:ln w="6350" cap="flat">
                  <a:solidFill>
                    <a:schemeClr val="bg1">
                      <a:alpha val="80000"/>
                    </a:schemeClr>
                  </a:solidFill>
                  <a:prstDash val="solid"/>
                  <a:miter/>
                </a:ln>
              </p:spPr>
              <p:txBody>
                <a:bodyPr rtlCol="0" anchor="ctr"/>
                <a:lstStyle/>
                <a:p>
                  <a:endParaRPr lang="en-GB"/>
                </a:p>
              </p:txBody>
            </p:sp>
            <p:sp>
              <p:nvSpPr>
                <p:cNvPr id="7183" name="Vrije vorm: vorm 7182">
                  <a:extLst>
                    <a:ext uri="{FF2B5EF4-FFF2-40B4-BE49-F238E27FC236}">
                      <a16:creationId xmlns:a16="http://schemas.microsoft.com/office/drawing/2014/main" id="{9E08D718-92F3-4D9E-AF04-BE0A020267DE}"/>
                    </a:ext>
                  </a:extLst>
                </p:cNvPr>
                <p:cNvSpPr/>
                <p:nvPr/>
              </p:nvSpPr>
              <p:spPr>
                <a:xfrm>
                  <a:off x="8168011" y="4353766"/>
                  <a:ext cx="24700" cy="45453"/>
                </a:xfrm>
                <a:custGeom>
                  <a:avLst/>
                  <a:gdLst>
                    <a:gd name="connsiteX0" fmla="*/ 0 w 24700"/>
                    <a:gd name="connsiteY0" fmla="*/ 45453 h 45453"/>
                    <a:gd name="connsiteX1" fmla="*/ 11124 w 24700"/>
                    <a:gd name="connsiteY1" fmla="*/ 24282 h 45453"/>
                    <a:gd name="connsiteX2" fmla="*/ 24700 w 24700"/>
                    <a:gd name="connsiteY2" fmla="*/ 0 h 45453"/>
                    <a:gd name="connsiteX3" fmla="*/ 13576 w 24700"/>
                    <a:gd name="connsiteY3" fmla="*/ 21172 h 45453"/>
                  </a:gdLst>
                  <a:ahLst/>
                  <a:cxnLst>
                    <a:cxn ang="0">
                      <a:pos x="connsiteX0" y="connsiteY0"/>
                    </a:cxn>
                    <a:cxn ang="0">
                      <a:pos x="connsiteX1" y="connsiteY1"/>
                    </a:cxn>
                    <a:cxn ang="0">
                      <a:pos x="connsiteX2" y="connsiteY2"/>
                    </a:cxn>
                    <a:cxn ang="0">
                      <a:pos x="connsiteX3" y="connsiteY3"/>
                    </a:cxn>
                  </a:cxnLst>
                  <a:rect l="l" t="t" r="r" b="b"/>
                  <a:pathLst>
                    <a:path w="24700" h="45453">
                      <a:moveTo>
                        <a:pt x="0" y="45453"/>
                      </a:moveTo>
                      <a:lnTo>
                        <a:pt x="11124" y="24282"/>
                      </a:lnTo>
                      <a:lnTo>
                        <a:pt x="24700" y="0"/>
                      </a:lnTo>
                      <a:lnTo>
                        <a:pt x="13576" y="21172"/>
                      </a:lnTo>
                      <a:close/>
                    </a:path>
                  </a:pathLst>
                </a:custGeom>
                <a:grpFill/>
                <a:ln w="6350" cap="flat">
                  <a:solidFill>
                    <a:schemeClr val="bg1">
                      <a:alpha val="80000"/>
                    </a:schemeClr>
                  </a:solidFill>
                  <a:prstDash val="solid"/>
                  <a:miter/>
                </a:ln>
              </p:spPr>
              <p:txBody>
                <a:bodyPr rtlCol="0" anchor="ctr"/>
                <a:lstStyle/>
                <a:p>
                  <a:endParaRPr lang="en-GB"/>
                </a:p>
              </p:txBody>
            </p:sp>
            <p:sp>
              <p:nvSpPr>
                <p:cNvPr id="7184" name="Vrije vorm: vorm 7183">
                  <a:extLst>
                    <a:ext uri="{FF2B5EF4-FFF2-40B4-BE49-F238E27FC236}">
                      <a16:creationId xmlns:a16="http://schemas.microsoft.com/office/drawing/2014/main" id="{0F6A9C04-BB57-45C1-91A6-F3AD141D2155}"/>
                    </a:ext>
                  </a:extLst>
                </p:cNvPr>
                <p:cNvSpPr/>
                <p:nvPr/>
              </p:nvSpPr>
              <p:spPr>
                <a:xfrm>
                  <a:off x="8143909" y="4388514"/>
                  <a:ext cx="23982" cy="38814"/>
                </a:xfrm>
                <a:custGeom>
                  <a:avLst/>
                  <a:gdLst>
                    <a:gd name="connsiteX0" fmla="*/ 10406 w 23982"/>
                    <a:gd name="connsiteY0" fmla="*/ 24282 h 38814"/>
                    <a:gd name="connsiteX1" fmla="*/ 0 w 23982"/>
                    <a:gd name="connsiteY1" fmla="*/ 38815 h 38814"/>
                    <a:gd name="connsiteX2" fmla="*/ 13576 w 23982"/>
                    <a:gd name="connsiteY2" fmla="*/ 14533 h 38814"/>
                    <a:gd name="connsiteX3" fmla="*/ 23983 w 23982"/>
                    <a:gd name="connsiteY3" fmla="*/ 0 h 38814"/>
                  </a:gdLst>
                  <a:ahLst/>
                  <a:cxnLst>
                    <a:cxn ang="0">
                      <a:pos x="connsiteX0" y="connsiteY0"/>
                    </a:cxn>
                    <a:cxn ang="0">
                      <a:pos x="connsiteX1" y="connsiteY1"/>
                    </a:cxn>
                    <a:cxn ang="0">
                      <a:pos x="connsiteX2" y="connsiteY2"/>
                    </a:cxn>
                    <a:cxn ang="0">
                      <a:pos x="connsiteX3" y="connsiteY3"/>
                    </a:cxn>
                  </a:cxnLst>
                  <a:rect l="l" t="t" r="r" b="b"/>
                  <a:pathLst>
                    <a:path w="23982" h="38814">
                      <a:moveTo>
                        <a:pt x="10406" y="24282"/>
                      </a:moveTo>
                      <a:lnTo>
                        <a:pt x="0" y="38815"/>
                      </a:lnTo>
                      <a:lnTo>
                        <a:pt x="13576" y="14533"/>
                      </a:lnTo>
                      <a:lnTo>
                        <a:pt x="23983" y="0"/>
                      </a:lnTo>
                      <a:close/>
                    </a:path>
                  </a:pathLst>
                </a:custGeom>
                <a:grpFill/>
                <a:ln w="6350" cap="flat">
                  <a:solidFill>
                    <a:schemeClr val="bg1">
                      <a:alpha val="80000"/>
                    </a:schemeClr>
                  </a:solidFill>
                  <a:prstDash val="solid"/>
                  <a:miter/>
                </a:ln>
              </p:spPr>
              <p:txBody>
                <a:bodyPr rtlCol="0" anchor="ctr"/>
                <a:lstStyle/>
                <a:p>
                  <a:endParaRPr lang="en-GB"/>
                </a:p>
              </p:txBody>
            </p:sp>
            <p:sp>
              <p:nvSpPr>
                <p:cNvPr id="7185" name="Vrije vorm: vorm 7184">
                  <a:extLst>
                    <a:ext uri="{FF2B5EF4-FFF2-40B4-BE49-F238E27FC236}">
                      <a16:creationId xmlns:a16="http://schemas.microsoft.com/office/drawing/2014/main" id="{47853E18-D702-4B96-9B8C-BFF4C7689E56}"/>
                    </a:ext>
                  </a:extLst>
                </p:cNvPr>
                <p:cNvSpPr/>
                <p:nvPr/>
              </p:nvSpPr>
              <p:spPr>
                <a:xfrm>
                  <a:off x="8188047" y="4329126"/>
                  <a:ext cx="17642" cy="31996"/>
                </a:xfrm>
                <a:custGeom>
                  <a:avLst/>
                  <a:gdLst>
                    <a:gd name="connsiteX0" fmla="*/ 0 w 17642"/>
                    <a:gd name="connsiteY0" fmla="*/ 31997 h 31996"/>
                    <a:gd name="connsiteX1" fmla="*/ 4067 w 17642"/>
                    <a:gd name="connsiteY1" fmla="*/ 24282 h 31996"/>
                    <a:gd name="connsiteX2" fmla="*/ 17643 w 17642"/>
                    <a:gd name="connsiteY2" fmla="*/ 0 h 31996"/>
                    <a:gd name="connsiteX3" fmla="*/ 13576 w 17642"/>
                    <a:gd name="connsiteY3" fmla="*/ 7715 h 31996"/>
                  </a:gdLst>
                  <a:ahLst/>
                  <a:cxnLst>
                    <a:cxn ang="0">
                      <a:pos x="connsiteX0" y="connsiteY0"/>
                    </a:cxn>
                    <a:cxn ang="0">
                      <a:pos x="connsiteX1" y="connsiteY1"/>
                    </a:cxn>
                    <a:cxn ang="0">
                      <a:pos x="connsiteX2" y="connsiteY2"/>
                    </a:cxn>
                    <a:cxn ang="0">
                      <a:pos x="connsiteX3" y="connsiteY3"/>
                    </a:cxn>
                  </a:cxnLst>
                  <a:rect l="l" t="t" r="r" b="b"/>
                  <a:pathLst>
                    <a:path w="17642" h="31996">
                      <a:moveTo>
                        <a:pt x="0" y="31997"/>
                      </a:moveTo>
                      <a:lnTo>
                        <a:pt x="4067" y="24282"/>
                      </a:lnTo>
                      <a:lnTo>
                        <a:pt x="17643" y="0"/>
                      </a:lnTo>
                      <a:lnTo>
                        <a:pt x="13576" y="7715"/>
                      </a:lnTo>
                      <a:close/>
                    </a:path>
                  </a:pathLst>
                </a:custGeom>
                <a:grpFill/>
                <a:ln w="6350" cap="flat">
                  <a:solidFill>
                    <a:schemeClr val="bg1">
                      <a:alpha val="80000"/>
                    </a:schemeClr>
                  </a:solidFill>
                  <a:prstDash val="solid"/>
                  <a:miter/>
                </a:ln>
              </p:spPr>
              <p:txBody>
                <a:bodyPr rtlCol="0" anchor="ctr"/>
                <a:lstStyle/>
                <a:p>
                  <a:endParaRPr lang="en-GB"/>
                </a:p>
              </p:txBody>
            </p:sp>
            <p:sp>
              <p:nvSpPr>
                <p:cNvPr id="7186" name="Vrije vorm: vorm 7185">
                  <a:extLst>
                    <a:ext uri="{FF2B5EF4-FFF2-40B4-BE49-F238E27FC236}">
                      <a16:creationId xmlns:a16="http://schemas.microsoft.com/office/drawing/2014/main" id="{269489FE-F140-4F4E-9767-49B3ABEFD6E4}"/>
                    </a:ext>
                  </a:extLst>
                </p:cNvPr>
                <p:cNvSpPr/>
                <p:nvPr/>
              </p:nvSpPr>
              <p:spPr>
                <a:xfrm>
                  <a:off x="8192114" y="4329126"/>
                  <a:ext cx="24401" cy="30082"/>
                </a:xfrm>
                <a:custGeom>
                  <a:avLst/>
                  <a:gdLst>
                    <a:gd name="connsiteX0" fmla="*/ 0 w 24401"/>
                    <a:gd name="connsiteY0" fmla="*/ 24282 h 30082"/>
                    <a:gd name="connsiteX1" fmla="*/ 13576 w 24401"/>
                    <a:gd name="connsiteY1" fmla="*/ 0 h 30082"/>
                    <a:gd name="connsiteX2" fmla="*/ 24401 w 24401"/>
                    <a:gd name="connsiteY2" fmla="*/ 5801 h 30082"/>
                    <a:gd name="connsiteX3" fmla="*/ 10825 w 24401"/>
                    <a:gd name="connsiteY3" fmla="*/ 30083 h 30082"/>
                  </a:gdLst>
                  <a:ahLst/>
                  <a:cxnLst>
                    <a:cxn ang="0">
                      <a:pos x="connsiteX0" y="connsiteY0"/>
                    </a:cxn>
                    <a:cxn ang="0">
                      <a:pos x="connsiteX1" y="connsiteY1"/>
                    </a:cxn>
                    <a:cxn ang="0">
                      <a:pos x="connsiteX2" y="connsiteY2"/>
                    </a:cxn>
                    <a:cxn ang="0">
                      <a:pos x="connsiteX3" y="connsiteY3"/>
                    </a:cxn>
                  </a:cxnLst>
                  <a:rect l="l" t="t" r="r" b="b"/>
                  <a:pathLst>
                    <a:path w="24401" h="30082">
                      <a:moveTo>
                        <a:pt x="0" y="24282"/>
                      </a:moveTo>
                      <a:lnTo>
                        <a:pt x="13576" y="0"/>
                      </a:lnTo>
                      <a:lnTo>
                        <a:pt x="24401" y="5801"/>
                      </a:lnTo>
                      <a:lnTo>
                        <a:pt x="10825" y="30083"/>
                      </a:lnTo>
                    </a:path>
                  </a:pathLst>
                </a:custGeom>
                <a:grpFill/>
                <a:ln w="6350" cap="flat">
                  <a:solidFill>
                    <a:schemeClr val="bg1">
                      <a:alpha val="80000"/>
                    </a:schemeClr>
                  </a:solidFill>
                  <a:prstDash val="solid"/>
                  <a:miter/>
                </a:ln>
              </p:spPr>
              <p:txBody>
                <a:bodyPr rtlCol="0" anchor="ctr"/>
                <a:lstStyle/>
                <a:p>
                  <a:endParaRPr lang="en-GB"/>
                </a:p>
              </p:txBody>
            </p:sp>
            <p:sp>
              <p:nvSpPr>
                <p:cNvPr id="7187" name="Vrije vorm: vorm 7186">
                  <a:extLst>
                    <a:ext uri="{FF2B5EF4-FFF2-40B4-BE49-F238E27FC236}">
                      <a16:creationId xmlns:a16="http://schemas.microsoft.com/office/drawing/2014/main" id="{878CA61E-F9C0-43C0-91F2-FE60CBBD6E12}"/>
                    </a:ext>
                  </a:extLst>
                </p:cNvPr>
                <p:cNvSpPr/>
                <p:nvPr/>
              </p:nvSpPr>
              <p:spPr>
                <a:xfrm>
                  <a:off x="8199290" y="4334927"/>
                  <a:ext cx="17224" cy="31219"/>
                </a:xfrm>
                <a:custGeom>
                  <a:avLst/>
                  <a:gdLst>
                    <a:gd name="connsiteX0" fmla="*/ 3648 w 17224"/>
                    <a:gd name="connsiteY0" fmla="*/ 24282 h 31219"/>
                    <a:gd name="connsiteX1" fmla="*/ 17225 w 17224"/>
                    <a:gd name="connsiteY1" fmla="*/ 0 h 31219"/>
                    <a:gd name="connsiteX2" fmla="*/ 13576 w 17224"/>
                    <a:gd name="connsiteY2" fmla="*/ 6938 h 31219"/>
                    <a:gd name="connsiteX3" fmla="*/ 0 w 17224"/>
                    <a:gd name="connsiteY3" fmla="*/ 31220 h 31219"/>
                  </a:gdLst>
                  <a:ahLst/>
                  <a:cxnLst>
                    <a:cxn ang="0">
                      <a:pos x="connsiteX0" y="connsiteY0"/>
                    </a:cxn>
                    <a:cxn ang="0">
                      <a:pos x="connsiteX1" y="connsiteY1"/>
                    </a:cxn>
                    <a:cxn ang="0">
                      <a:pos x="connsiteX2" y="connsiteY2"/>
                    </a:cxn>
                    <a:cxn ang="0">
                      <a:pos x="connsiteX3" y="connsiteY3"/>
                    </a:cxn>
                  </a:cxnLst>
                  <a:rect l="l" t="t" r="r" b="b"/>
                  <a:pathLst>
                    <a:path w="17224" h="31219">
                      <a:moveTo>
                        <a:pt x="3648" y="24282"/>
                      </a:moveTo>
                      <a:lnTo>
                        <a:pt x="17225" y="0"/>
                      </a:lnTo>
                      <a:lnTo>
                        <a:pt x="13576" y="6938"/>
                      </a:lnTo>
                      <a:lnTo>
                        <a:pt x="0" y="31220"/>
                      </a:lnTo>
                      <a:close/>
                    </a:path>
                  </a:pathLst>
                </a:custGeom>
                <a:grpFill/>
                <a:ln w="6350" cap="flat">
                  <a:solidFill>
                    <a:schemeClr val="bg1">
                      <a:alpha val="80000"/>
                    </a:schemeClr>
                  </a:solidFill>
                  <a:prstDash val="solid"/>
                  <a:miter/>
                </a:ln>
              </p:spPr>
              <p:txBody>
                <a:bodyPr rtlCol="0" anchor="ctr"/>
                <a:lstStyle/>
                <a:p>
                  <a:endParaRPr lang="en-GB"/>
                </a:p>
              </p:txBody>
            </p:sp>
            <p:sp>
              <p:nvSpPr>
                <p:cNvPr id="7188" name="Vrije vorm: vorm 7187">
                  <a:extLst>
                    <a:ext uri="{FF2B5EF4-FFF2-40B4-BE49-F238E27FC236}">
                      <a16:creationId xmlns:a16="http://schemas.microsoft.com/office/drawing/2014/main" id="{327B9482-080A-4899-A568-2139870FCD14}"/>
                    </a:ext>
                  </a:extLst>
                </p:cNvPr>
                <p:cNvSpPr/>
                <p:nvPr/>
              </p:nvSpPr>
              <p:spPr>
                <a:xfrm>
                  <a:off x="8210116" y="4340788"/>
                  <a:ext cx="17223" cy="31219"/>
                </a:xfrm>
                <a:custGeom>
                  <a:avLst/>
                  <a:gdLst>
                    <a:gd name="connsiteX0" fmla="*/ 0 w 17223"/>
                    <a:gd name="connsiteY0" fmla="*/ 31219 h 31219"/>
                    <a:gd name="connsiteX1" fmla="*/ 3648 w 17223"/>
                    <a:gd name="connsiteY1" fmla="*/ 24282 h 31219"/>
                    <a:gd name="connsiteX2" fmla="*/ 17224 w 17223"/>
                    <a:gd name="connsiteY2" fmla="*/ 0 h 31219"/>
                    <a:gd name="connsiteX3" fmla="*/ 13576 w 17223"/>
                    <a:gd name="connsiteY3" fmla="*/ 6937 h 31219"/>
                  </a:gdLst>
                  <a:ahLst/>
                  <a:cxnLst>
                    <a:cxn ang="0">
                      <a:pos x="connsiteX0" y="connsiteY0"/>
                    </a:cxn>
                    <a:cxn ang="0">
                      <a:pos x="connsiteX1" y="connsiteY1"/>
                    </a:cxn>
                    <a:cxn ang="0">
                      <a:pos x="connsiteX2" y="connsiteY2"/>
                    </a:cxn>
                    <a:cxn ang="0">
                      <a:pos x="connsiteX3" y="connsiteY3"/>
                    </a:cxn>
                  </a:cxnLst>
                  <a:rect l="l" t="t" r="r" b="b"/>
                  <a:pathLst>
                    <a:path w="17223" h="31219">
                      <a:moveTo>
                        <a:pt x="0" y="31219"/>
                      </a:moveTo>
                      <a:lnTo>
                        <a:pt x="3648" y="24282"/>
                      </a:lnTo>
                      <a:lnTo>
                        <a:pt x="17224" y="0"/>
                      </a:lnTo>
                      <a:lnTo>
                        <a:pt x="13576" y="6937"/>
                      </a:lnTo>
                      <a:close/>
                    </a:path>
                  </a:pathLst>
                </a:custGeom>
                <a:grpFill/>
                <a:ln w="6350" cap="flat">
                  <a:solidFill>
                    <a:schemeClr val="bg1">
                      <a:alpha val="80000"/>
                    </a:schemeClr>
                  </a:solidFill>
                  <a:prstDash val="solid"/>
                  <a:miter/>
                </a:ln>
              </p:spPr>
              <p:txBody>
                <a:bodyPr rtlCol="0" anchor="ctr"/>
                <a:lstStyle/>
                <a:p>
                  <a:endParaRPr lang="en-GB"/>
                </a:p>
              </p:txBody>
            </p:sp>
            <p:sp>
              <p:nvSpPr>
                <p:cNvPr id="7189" name="Vrije vorm: vorm 7188">
                  <a:extLst>
                    <a:ext uri="{FF2B5EF4-FFF2-40B4-BE49-F238E27FC236}">
                      <a16:creationId xmlns:a16="http://schemas.microsoft.com/office/drawing/2014/main" id="{A299EC54-9742-422E-AB53-060D980E6B7C}"/>
                    </a:ext>
                  </a:extLst>
                </p:cNvPr>
                <p:cNvSpPr/>
                <p:nvPr/>
              </p:nvSpPr>
              <p:spPr>
                <a:xfrm>
                  <a:off x="8213764" y="4340788"/>
                  <a:ext cx="24341" cy="30082"/>
                </a:xfrm>
                <a:custGeom>
                  <a:avLst/>
                  <a:gdLst>
                    <a:gd name="connsiteX0" fmla="*/ 0 w 24341"/>
                    <a:gd name="connsiteY0" fmla="*/ 24282 h 30082"/>
                    <a:gd name="connsiteX1" fmla="*/ 13576 w 24341"/>
                    <a:gd name="connsiteY1" fmla="*/ 0 h 30082"/>
                    <a:gd name="connsiteX2" fmla="*/ 24341 w 24341"/>
                    <a:gd name="connsiteY2" fmla="*/ 5801 h 30082"/>
                    <a:gd name="connsiteX3" fmla="*/ 10765 w 24341"/>
                    <a:gd name="connsiteY3" fmla="*/ 30083 h 30082"/>
                  </a:gdLst>
                  <a:ahLst/>
                  <a:cxnLst>
                    <a:cxn ang="0">
                      <a:pos x="connsiteX0" y="connsiteY0"/>
                    </a:cxn>
                    <a:cxn ang="0">
                      <a:pos x="connsiteX1" y="connsiteY1"/>
                    </a:cxn>
                    <a:cxn ang="0">
                      <a:pos x="connsiteX2" y="connsiteY2"/>
                    </a:cxn>
                    <a:cxn ang="0">
                      <a:pos x="connsiteX3" y="connsiteY3"/>
                    </a:cxn>
                  </a:cxnLst>
                  <a:rect l="l" t="t" r="r" b="b"/>
                  <a:pathLst>
                    <a:path w="24341" h="30082">
                      <a:moveTo>
                        <a:pt x="0" y="24282"/>
                      </a:moveTo>
                      <a:lnTo>
                        <a:pt x="13576" y="0"/>
                      </a:lnTo>
                      <a:lnTo>
                        <a:pt x="24341" y="5801"/>
                      </a:lnTo>
                      <a:lnTo>
                        <a:pt x="10765" y="30083"/>
                      </a:lnTo>
                    </a:path>
                  </a:pathLst>
                </a:custGeom>
                <a:grpFill/>
                <a:ln w="6350" cap="flat">
                  <a:solidFill>
                    <a:schemeClr val="bg1">
                      <a:alpha val="80000"/>
                    </a:schemeClr>
                  </a:solidFill>
                  <a:prstDash val="solid"/>
                  <a:miter/>
                </a:ln>
              </p:spPr>
              <p:txBody>
                <a:bodyPr rtlCol="0" anchor="ctr"/>
                <a:lstStyle/>
                <a:p>
                  <a:endParaRPr lang="en-GB"/>
                </a:p>
              </p:txBody>
            </p:sp>
          </p:grpSp>
          <p:sp>
            <p:nvSpPr>
              <p:cNvPr id="7152" name="Vrije vorm: vorm 7151">
                <a:extLst>
                  <a:ext uri="{FF2B5EF4-FFF2-40B4-BE49-F238E27FC236}">
                    <a16:creationId xmlns:a16="http://schemas.microsoft.com/office/drawing/2014/main" id="{FF1854BD-45E9-4585-B751-70537B5463D0}"/>
                  </a:ext>
                </a:extLst>
              </p:cNvPr>
              <p:cNvSpPr/>
              <p:nvPr/>
            </p:nvSpPr>
            <p:spPr>
              <a:xfrm>
                <a:off x="7453614" y="3698997"/>
                <a:ext cx="824741" cy="989988"/>
              </a:xfrm>
              <a:custGeom>
                <a:avLst/>
                <a:gdLst>
                  <a:gd name="connsiteX0" fmla="*/ 32236 w 824741"/>
                  <a:gd name="connsiteY0" fmla="*/ 189290 h 989988"/>
                  <a:gd name="connsiteX1" fmla="*/ 70573 w 824741"/>
                  <a:gd name="connsiteY1" fmla="*/ 214050 h 989988"/>
                  <a:gd name="connsiteX2" fmla="*/ 69257 w 824741"/>
                  <a:gd name="connsiteY2" fmla="*/ 230557 h 989988"/>
                  <a:gd name="connsiteX3" fmla="*/ 31280 w 824741"/>
                  <a:gd name="connsiteY3" fmla="*/ 205857 h 989988"/>
                  <a:gd name="connsiteX4" fmla="*/ 32236 w 824741"/>
                  <a:gd name="connsiteY4" fmla="*/ 189290 h 989988"/>
                  <a:gd name="connsiteX5" fmla="*/ 33552 w 824741"/>
                  <a:gd name="connsiteY5" fmla="*/ 187436 h 989988"/>
                  <a:gd name="connsiteX6" fmla="*/ 49222 w 824741"/>
                  <a:gd name="connsiteY6" fmla="*/ 180199 h 989988"/>
                  <a:gd name="connsiteX7" fmla="*/ 87259 w 824741"/>
                  <a:gd name="connsiteY7" fmla="*/ 204600 h 989988"/>
                  <a:gd name="connsiteX8" fmla="*/ 71829 w 824741"/>
                  <a:gd name="connsiteY8" fmla="*/ 212196 h 989988"/>
                  <a:gd name="connsiteX9" fmla="*/ 33552 w 824741"/>
                  <a:gd name="connsiteY9" fmla="*/ 187436 h 989988"/>
                  <a:gd name="connsiteX10" fmla="*/ 31100 w 824741"/>
                  <a:gd name="connsiteY10" fmla="*/ 208368 h 989988"/>
                  <a:gd name="connsiteX11" fmla="*/ 69078 w 824741"/>
                  <a:gd name="connsiteY11" fmla="*/ 233009 h 989988"/>
                  <a:gd name="connsiteX12" fmla="*/ 65848 w 824741"/>
                  <a:gd name="connsiteY12" fmla="*/ 273140 h 989988"/>
                  <a:gd name="connsiteX13" fmla="*/ 28768 w 824741"/>
                  <a:gd name="connsiteY13" fmla="*/ 248678 h 989988"/>
                  <a:gd name="connsiteX14" fmla="*/ 31100 w 824741"/>
                  <a:gd name="connsiteY14" fmla="*/ 208368 h 989988"/>
                  <a:gd name="connsiteX15" fmla="*/ 51614 w 824741"/>
                  <a:gd name="connsiteY15" fmla="*/ 179122 h 989988"/>
                  <a:gd name="connsiteX16" fmla="*/ 122366 w 824741"/>
                  <a:gd name="connsiteY16" fmla="*/ 146468 h 989988"/>
                  <a:gd name="connsiteX17" fmla="*/ 158968 w 824741"/>
                  <a:gd name="connsiteY17" fmla="*/ 169374 h 989988"/>
                  <a:gd name="connsiteX18" fmla="*/ 89532 w 824741"/>
                  <a:gd name="connsiteY18" fmla="*/ 203524 h 989988"/>
                  <a:gd name="connsiteX19" fmla="*/ 51614 w 824741"/>
                  <a:gd name="connsiteY19" fmla="*/ 179122 h 989988"/>
                  <a:gd name="connsiteX20" fmla="*/ 27093 w 824741"/>
                  <a:gd name="connsiteY20" fmla="*/ 309263 h 989988"/>
                  <a:gd name="connsiteX21" fmla="*/ 42524 w 824741"/>
                  <a:gd name="connsiteY21" fmla="*/ 300950 h 989988"/>
                  <a:gd name="connsiteX22" fmla="*/ 78109 w 824741"/>
                  <a:gd name="connsiteY22" fmla="*/ 324634 h 989988"/>
                  <a:gd name="connsiteX23" fmla="*/ 62857 w 824741"/>
                  <a:gd name="connsiteY23" fmla="*/ 333306 h 989988"/>
                  <a:gd name="connsiteX24" fmla="*/ 27093 w 824741"/>
                  <a:gd name="connsiteY24" fmla="*/ 309263 h 989988"/>
                  <a:gd name="connsiteX25" fmla="*/ 25957 w 824741"/>
                  <a:gd name="connsiteY25" fmla="*/ 311177 h 989988"/>
                  <a:gd name="connsiteX26" fmla="*/ 61602 w 824741"/>
                  <a:gd name="connsiteY26" fmla="*/ 335100 h 989988"/>
                  <a:gd name="connsiteX27" fmla="*/ 57475 w 824741"/>
                  <a:gd name="connsiteY27" fmla="*/ 386116 h 989988"/>
                  <a:gd name="connsiteX28" fmla="*/ 22907 w 824741"/>
                  <a:gd name="connsiteY28" fmla="*/ 362432 h 989988"/>
                  <a:gd name="connsiteX29" fmla="*/ 25957 w 824741"/>
                  <a:gd name="connsiteY29" fmla="*/ 311177 h 989988"/>
                  <a:gd name="connsiteX30" fmla="*/ 124699 w 824741"/>
                  <a:gd name="connsiteY30" fmla="*/ 145332 h 989988"/>
                  <a:gd name="connsiteX31" fmla="*/ 179183 w 824741"/>
                  <a:gd name="connsiteY31" fmla="*/ 120153 h 989988"/>
                  <a:gd name="connsiteX32" fmla="*/ 214708 w 824741"/>
                  <a:gd name="connsiteY32" fmla="*/ 141923 h 989988"/>
                  <a:gd name="connsiteX33" fmla="*/ 161241 w 824741"/>
                  <a:gd name="connsiteY33" fmla="*/ 168238 h 989988"/>
                  <a:gd name="connsiteX34" fmla="*/ 124699 w 824741"/>
                  <a:gd name="connsiteY34" fmla="*/ 145332 h 989988"/>
                  <a:gd name="connsiteX35" fmla="*/ 22787 w 824741"/>
                  <a:gd name="connsiteY35" fmla="*/ 365003 h 989988"/>
                  <a:gd name="connsiteX36" fmla="*/ 57296 w 824741"/>
                  <a:gd name="connsiteY36" fmla="*/ 388627 h 989988"/>
                  <a:gd name="connsiteX37" fmla="*/ 56159 w 824741"/>
                  <a:gd name="connsiteY37" fmla="*/ 403160 h 989988"/>
                  <a:gd name="connsiteX38" fmla="*/ 21950 w 824741"/>
                  <a:gd name="connsiteY38" fmla="*/ 379716 h 989988"/>
                  <a:gd name="connsiteX39" fmla="*/ 22787 w 824741"/>
                  <a:gd name="connsiteY39" fmla="*/ 365003 h 989988"/>
                  <a:gd name="connsiteX40" fmla="*/ 163094 w 824741"/>
                  <a:gd name="connsiteY40" fmla="*/ 169374 h 989988"/>
                  <a:gd name="connsiteX41" fmla="*/ 215665 w 824741"/>
                  <a:gd name="connsiteY41" fmla="*/ 143478 h 989988"/>
                  <a:gd name="connsiteX42" fmla="*/ 213273 w 824741"/>
                  <a:gd name="connsiteY42" fmla="*/ 159087 h 989988"/>
                  <a:gd name="connsiteX43" fmla="*/ 176312 w 824741"/>
                  <a:gd name="connsiteY43" fmla="*/ 177687 h 989988"/>
                  <a:gd name="connsiteX44" fmla="*/ 163094 w 824741"/>
                  <a:gd name="connsiteY44" fmla="*/ 169374 h 989988"/>
                  <a:gd name="connsiteX45" fmla="*/ 72367 w 824741"/>
                  <a:gd name="connsiteY45" fmla="*/ 215246 h 989988"/>
                  <a:gd name="connsiteX46" fmla="*/ 147066 w 824741"/>
                  <a:gd name="connsiteY46" fmla="*/ 263511 h 989988"/>
                  <a:gd name="connsiteX47" fmla="*/ 145033 w 824741"/>
                  <a:gd name="connsiteY47" fmla="*/ 279838 h 989988"/>
                  <a:gd name="connsiteX48" fmla="*/ 70991 w 824741"/>
                  <a:gd name="connsiteY48" fmla="*/ 231693 h 989988"/>
                  <a:gd name="connsiteX49" fmla="*/ 72367 w 824741"/>
                  <a:gd name="connsiteY49" fmla="*/ 215246 h 989988"/>
                  <a:gd name="connsiteX50" fmla="*/ 73683 w 824741"/>
                  <a:gd name="connsiteY50" fmla="*/ 213392 h 989988"/>
                  <a:gd name="connsiteX51" fmla="*/ 89053 w 824741"/>
                  <a:gd name="connsiteY51" fmla="*/ 205857 h 989988"/>
                  <a:gd name="connsiteX52" fmla="*/ 163094 w 824741"/>
                  <a:gd name="connsiteY52" fmla="*/ 253403 h 989988"/>
                  <a:gd name="connsiteX53" fmla="*/ 148202 w 824741"/>
                  <a:gd name="connsiteY53" fmla="*/ 261657 h 989988"/>
                  <a:gd name="connsiteX54" fmla="*/ 73683 w 824741"/>
                  <a:gd name="connsiteY54" fmla="*/ 213392 h 989988"/>
                  <a:gd name="connsiteX55" fmla="*/ 21770 w 824741"/>
                  <a:gd name="connsiteY55" fmla="*/ 382168 h 989988"/>
                  <a:gd name="connsiteX56" fmla="*/ 55920 w 824741"/>
                  <a:gd name="connsiteY56" fmla="*/ 405612 h 989988"/>
                  <a:gd name="connsiteX57" fmla="*/ 53946 w 824741"/>
                  <a:gd name="connsiteY57" fmla="*/ 429775 h 989988"/>
                  <a:gd name="connsiteX58" fmla="*/ 20335 w 824741"/>
                  <a:gd name="connsiteY58" fmla="*/ 406510 h 989988"/>
                  <a:gd name="connsiteX59" fmla="*/ 21770 w 824741"/>
                  <a:gd name="connsiteY59" fmla="*/ 382168 h 989988"/>
                  <a:gd name="connsiteX60" fmla="*/ 70872 w 824741"/>
                  <a:gd name="connsiteY60" fmla="*/ 234205 h 989988"/>
                  <a:gd name="connsiteX61" fmla="*/ 144734 w 824741"/>
                  <a:gd name="connsiteY61" fmla="*/ 282230 h 989988"/>
                  <a:gd name="connsiteX62" fmla="*/ 139769 w 824741"/>
                  <a:gd name="connsiteY62" fmla="*/ 322002 h 989988"/>
                  <a:gd name="connsiteX63" fmla="*/ 67582 w 824741"/>
                  <a:gd name="connsiteY63" fmla="*/ 274395 h 989988"/>
                  <a:gd name="connsiteX64" fmla="*/ 70872 w 824741"/>
                  <a:gd name="connsiteY64" fmla="*/ 234205 h 989988"/>
                  <a:gd name="connsiteX65" fmla="*/ 86123 w 824741"/>
                  <a:gd name="connsiteY65" fmla="*/ 327385 h 989988"/>
                  <a:gd name="connsiteX66" fmla="*/ 117163 w 824741"/>
                  <a:gd name="connsiteY66" fmla="*/ 309622 h 989988"/>
                  <a:gd name="connsiteX67" fmla="*/ 139471 w 824741"/>
                  <a:gd name="connsiteY67" fmla="*/ 324335 h 989988"/>
                  <a:gd name="connsiteX68" fmla="*/ 137796 w 824741"/>
                  <a:gd name="connsiteY68" fmla="*/ 338987 h 989988"/>
                  <a:gd name="connsiteX69" fmla="*/ 119734 w 824741"/>
                  <a:gd name="connsiteY69" fmla="*/ 349932 h 989988"/>
                  <a:gd name="connsiteX70" fmla="*/ 86123 w 824741"/>
                  <a:gd name="connsiteY70" fmla="*/ 327385 h 989988"/>
                  <a:gd name="connsiteX71" fmla="*/ 181575 w 824741"/>
                  <a:gd name="connsiteY71" fmla="*/ 119016 h 989988"/>
                  <a:gd name="connsiteX72" fmla="*/ 258846 w 824741"/>
                  <a:gd name="connsiteY72" fmla="*/ 83252 h 989988"/>
                  <a:gd name="connsiteX73" fmla="*/ 292757 w 824741"/>
                  <a:gd name="connsiteY73" fmla="*/ 103526 h 989988"/>
                  <a:gd name="connsiteX74" fmla="*/ 216981 w 824741"/>
                  <a:gd name="connsiteY74" fmla="*/ 140786 h 989988"/>
                  <a:gd name="connsiteX75" fmla="*/ 181575 w 824741"/>
                  <a:gd name="connsiteY75" fmla="*/ 119016 h 989988"/>
                  <a:gd name="connsiteX76" fmla="*/ 20215 w 824741"/>
                  <a:gd name="connsiteY76" fmla="*/ 408962 h 989988"/>
                  <a:gd name="connsiteX77" fmla="*/ 53767 w 824741"/>
                  <a:gd name="connsiteY77" fmla="*/ 432227 h 989988"/>
                  <a:gd name="connsiteX78" fmla="*/ 48982 w 824741"/>
                  <a:gd name="connsiteY78" fmla="*/ 491196 h 989988"/>
                  <a:gd name="connsiteX79" fmla="*/ 16686 w 824741"/>
                  <a:gd name="connsiteY79" fmla="*/ 468410 h 989988"/>
                  <a:gd name="connsiteX80" fmla="*/ 20215 w 824741"/>
                  <a:gd name="connsiteY80" fmla="*/ 408962 h 989988"/>
                  <a:gd name="connsiteX81" fmla="*/ 121349 w 824741"/>
                  <a:gd name="connsiteY81" fmla="*/ 350949 h 989988"/>
                  <a:gd name="connsiteX82" fmla="*/ 137616 w 824741"/>
                  <a:gd name="connsiteY82" fmla="*/ 341140 h 989988"/>
                  <a:gd name="connsiteX83" fmla="*/ 135464 w 824741"/>
                  <a:gd name="connsiteY83" fmla="*/ 360339 h 989988"/>
                  <a:gd name="connsiteX84" fmla="*/ 121349 w 824741"/>
                  <a:gd name="connsiteY84" fmla="*/ 350949 h 989988"/>
                  <a:gd name="connsiteX85" fmla="*/ 261298 w 824741"/>
                  <a:gd name="connsiteY85" fmla="*/ 82235 h 989988"/>
                  <a:gd name="connsiteX86" fmla="*/ 271226 w 824741"/>
                  <a:gd name="connsiteY86" fmla="*/ 77630 h 989988"/>
                  <a:gd name="connsiteX87" fmla="*/ 304838 w 824741"/>
                  <a:gd name="connsiteY87" fmla="*/ 97665 h 989988"/>
                  <a:gd name="connsiteX88" fmla="*/ 295030 w 824741"/>
                  <a:gd name="connsiteY88" fmla="*/ 102450 h 989988"/>
                  <a:gd name="connsiteX89" fmla="*/ 261298 w 824741"/>
                  <a:gd name="connsiteY89" fmla="*/ 82235 h 989988"/>
                  <a:gd name="connsiteX90" fmla="*/ 70095 w 824741"/>
                  <a:gd name="connsiteY90" fmla="*/ 443530 h 989988"/>
                  <a:gd name="connsiteX91" fmla="*/ 82594 w 824741"/>
                  <a:gd name="connsiteY91" fmla="*/ 452083 h 989988"/>
                  <a:gd name="connsiteX92" fmla="*/ 68480 w 824741"/>
                  <a:gd name="connsiteY92" fmla="*/ 461353 h 989988"/>
                  <a:gd name="connsiteX93" fmla="*/ 70095 w 824741"/>
                  <a:gd name="connsiteY93" fmla="*/ 443530 h 989988"/>
                  <a:gd name="connsiteX94" fmla="*/ 55441 w 824741"/>
                  <a:gd name="connsiteY94" fmla="*/ 433423 h 989988"/>
                  <a:gd name="connsiteX95" fmla="*/ 68360 w 824741"/>
                  <a:gd name="connsiteY95" fmla="*/ 442334 h 989988"/>
                  <a:gd name="connsiteX96" fmla="*/ 64772 w 824741"/>
                  <a:gd name="connsiteY96" fmla="*/ 481867 h 989988"/>
                  <a:gd name="connsiteX97" fmla="*/ 50777 w 824741"/>
                  <a:gd name="connsiteY97" fmla="*/ 491256 h 989988"/>
                  <a:gd name="connsiteX98" fmla="*/ 55441 w 824741"/>
                  <a:gd name="connsiteY98" fmla="*/ 433423 h 989988"/>
                  <a:gd name="connsiteX99" fmla="*/ 178226 w 824741"/>
                  <a:gd name="connsiteY99" fmla="*/ 178883 h 989988"/>
                  <a:gd name="connsiteX100" fmla="*/ 213871 w 824741"/>
                  <a:gd name="connsiteY100" fmla="*/ 160881 h 989988"/>
                  <a:gd name="connsiteX101" fmla="*/ 241981 w 824741"/>
                  <a:gd name="connsiteY101" fmla="*/ 178226 h 989988"/>
                  <a:gd name="connsiteX102" fmla="*/ 236060 w 824741"/>
                  <a:gd name="connsiteY102" fmla="*/ 213033 h 989988"/>
                  <a:gd name="connsiteX103" fmla="*/ 234325 w 824741"/>
                  <a:gd name="connsiteY103" fmla="*/ 214050 h 989988"/>
                  <a:gd name="connsiteX104" fmla="*/ 178226 w 824741"/>
                  <a:gd name="connsiteY104" fmla="*/ 178883 h 989988"/>
                  <a:gd name="connsiteX105" fmla="*/ 64472 w 824741"/>
                  <a:gd name="connsiteY105" fmla="*/ 334442 h 989988"/>
                  <a:gd name="connsiteX106" fmla="*/ 79664 w 824741"/>
                  <a:gd name="connsiteY106" fmla="*/ 325770 h 989988"/>
                  <a:gd name="connsiteX107" fmla="*/ 135045 w 824741"/>
                  <a:gd name="connsiteY107" fmla="*/ 362731 h 989988"/>
                  <a:gd name="connsiteX108" fmla="*/ 133012 w 824741"/>
                  <a:gd name="connsiteY108" fmla="*/ 380553 h 989988"/>
                  <a:gd name="connsiteX109" fmla="*/ 64472 w 824741"/>
                  <a:gd name="connsiteY109" fmla="*/ 334442 h 989988"/>
                  <a:gd name="connsiteX110" fmla="*/ 16567 w 824741"/>
                  <a:gd name="connsiteY110" fmla="*/ 470982 h 989988"/>
                  <a:gd name="connsiteX111" fmla="*/ 48803 w 824741"/>
                  <a:gd name="connsiteY111" fmla="*/ 493709 h 989988"/>
                  <a:gd name="connsiteX112" fmla="*/ 46650 w 824741"/>
                  <a:gd name="connsiteY112" fmla="*/ 520143 h 989988"/>
                  <a:gd name="connsiteX113" fmla="*/ 15012 w 824741"/>
                  <a:gd name="connsiteY113" fmla="*/ 497596 h 989988"/>
                  <a:gd name="connsiteX114" fmla="*/ 16567 w 824741"/>
                  <a:gd name="connsiteY114" fmla="*/ 470982 h 989988"/>
                  <a:gd name="connsiteX115" fmla="*/ 148681 w 824741"/>
                  <a:gd name="connsiteY115" fmla="*/ 264587 h 989988"/>
                  <a:gd name="connsiteX116" fmla="*/ 187077 w 824741"/>
                  <a:gd name="connsiteY116" fmla="*/ 289347 h 989988"/>
                  <a:gd name="connsiteX117" fmla="*/ 184685 w 824741"/>
                  <a:gd name="connsiteY117" fmla="*/ 305675 h 989988"/>
                  <a:gd name="connsiteX118" fmla="*/ 146647 w 824741"/>
                  <a:gd name="connsiteY118" fmla="*/ 280914 h 989988"/>
                  <a:gd name="connsiteX119" fmla="*/ 148681 w 824741"/>
                  <a:gd name="connsiteY119" fmla="*/ 264587 h 989988"/>
                  <a:gd name="connsiteX120" fmla="*/ 149937 w 824741"/>
                  <a:gd name="connsiteY120" fmla="*/ 262733 h 989988"/>
                  <a:gd name="connsiteX121" fmla="*/ 164889 w 824741"/>
                  <a:gd name="connsiteY121" fmla="*/ 254480 h 989988"/>
                  <a:gd name="connsiteX122" fmla="*/ 202986 w 824741"/>
                  <a:gd name="connsiteY122" fmla="*/ 278881 h 989988"/>
                  <a:gd name="connsiteX123" fmla="*/ 188334 w 824741"/>
                  <a:gd name="connsiteY123" fmla="*/ 287493 h 989988"/>
                  <a:gd name="connsiteX124" fmla="*/ 149937 w 824741"/>
                  <a:gd name="connsiteY124" fmla="*/ 262733 h 989988"/>
                  <a:gd name="connsiteX125" fmla="*/ 14833 w 824741"/>
                  <a:gd name="connsiteY125" fmla="*/ 500048 h 989988"/>
                  <a:gd name="connsiteX126" fmla="*/ 46470 w 824741"/>
                  <a:gd name="connsiteY126" fmla="*/ 522536 h 989988"/>
                  <a:gd name="connsiteX127" fmla="*/ 45514 w 824741"/>
                  <a:gd name="connsiteY127" fmla="*/ 534916 h 989988"/>
                  <a:gd name="connsiteX128" fmla="*/ 14174 w 824741"/>
                  <a:gd name="connsiteY128" fmla="*/ 512488 h 989988"/>
                  <a:gd name="connsiteX129" fmla="*/ 14833 w 824741"/>
                  <a:gd name="connsiteY129" fmla="*/ 500048 h 989988"/>
                  <a:gd name="connsiteX130" fmla="*/ 243536 w 824741"/>
                  <a:gd name="connsiteY130" fmla="*/ 179242 h 989988"/>
                  <a:gd name="connsiteX131" fmla="*/ 268954 w 824741"/>
                  <a:gd name="connsiteY131" fmla="*/ 194912 h 989988"/>
                  <a:gd name="connsiteX132" fmla="*/ 237973 w 824741"/>
                  <a:gd name="connsiteY132" fmla="*/ 212016 h 989988"/>
                  <a:gd name="connsiteX133" fmla="*/ 243536 w 824741"/>
                  <a:gd name="connsiteY133" fmla="*/ 179242 h 989988"/>
                  <a:gd name="connsiteX134" fmla="*/ 13936 w 824741"/>
                  <a:gd name="connsiteY134" fmla="*/ 515000 h 989988"/>
                  <a:gd name="connsiteX135" fmla="*/ 45274 w 824741"/>
                  <a:gd name="connsiteY135" fmla="*/ 537368 h 989988"/>
                  <a:gd name="connsiteX136" fmla="*/ 44078 w 824741"/>
                  <a:gd name="connsiteY136" fmla="*/ 552439 h 989988"/>
                  <a:gd name="connsiteX137" fmla="*/ 13098 w 824741"/>
                  <a:gd name="connsiteY137" fmla="*/ 530191 h 989988"/>
                  <a:gd name="connsiteX138" fmla="*/ 13936 w 824741"/>
                  <a:gd name="connsiteY138" fmla="*/ 515000 h 989988"/>
                  <a:gd name="connsiteX139" fmla="*/ 146349 w 824741"/>
                  <a:gd name="connsiteY139" fmla="*/ 283247 h 989988"/>
                  <a:gd name="connsiteX140" fmla="*/ 184386 w 824741"/>
                  <a:gd name="connsiteY140" fmla="*/ 307947 h 989988"/>
                  <a:gd name="connsiteX141" fmla="*/ 178465 w 824741"/>
                  <a:gd name="connsiteY141" fmla="*/ 347480 h 989988"/>
                  <a:gd name="connsiteX142" fmla="*/ 141384 w 824741"/>
                  <a:gd name="connsiteY142" fmla="*/ 323079 h 989988"/>
                  <a:gd name="connsiteX143" fmla="*/ 146349 w 824741"/>
                  <a:gd name="connsiteY143" fmla="*/ 283247 h 989988"/>
                  <a:gd name="connsiteX144" fmla="*/ 217460 w 824741"/>
                  <a:gd name="connsiteY144" fmla="*/ 143597 h 989988"/>
                  <a:gd name="connsiteX145" fmla="*/ 285819 w 824741"/>
                  <a:gd name="connsiteY145" fmla="*/ 185582 h 989988"/>
                  <a:gd name="connsiteX146" fmla="*/ 271107 w 824741"/>
                  <a:gd name="connsiteY146" fmla="*/ 193715 h 989988"/>
                  <a:gd name="connsiteX147" fmla="*/ 215127 w 824741"/>
                  <a:gd name="connsiteY147" fmla="*/ 159087 h 989988"/>
                  <a:gd name="connsiteX148" fmla="*/ 217460 w 824741"/>
                  <a:gd name="connsiteY148" fmla="*/ 143597 h 989988"/>
                  <a:gd name="connsiteX149" fmla="*/ 273618 w 824741"/>
                  <a:gd name="connsiteY149" fmla="*/ 76493 h 989988"/>
                  <a:gd name="connsiteX150" fmla="*/ 328222 w 824741"/>
                  <a:gd name="connsiteY150" fmla="*/ 51255 h 989988"/>
                  <a:gd name="connsiteX151" fmla="*/ 360638 w 824741"/>
                  <a:gd name="connsiteY151" fmla="*/ 70214 h 989988"/>
                  <a:gd name="connsiteX152" fmla="*/ 307171 w 824741"/>
                  <a:gd name="connsiteY152" fmla="*/ 96469 h 989988"/>
                  <a:gd name="connsiteX153" fmla="*/ 273618 w 824741"/>
                  <a:gd name="connsiteY153" fmla="*/ 76493 h 989988"/>
                  <a:gd name="connsiteX154" fmla="*/ 59090 w 824741"/>
                  <a:gd name="connsiteY154" fmla="*/ 389764 h 989988"/>
                  <a:gd name="connsiteX155" fmla="*/ 126313 w 824741"/>
                  <a:gd name="connsiteY155" fmla="*/ 435696 h 989988"/>
                  <a:gd name="connsiteX156" fmla="*/ 124459 w 824741"/>
                  <a:gd name="connsiteY156" fmla="*/ 450109 h 989988"/>
                  <a:gd name="connsiteX157" fmla="*/ 57834 w 824741"/>
                  <a:gd name="connsiteY157" fmla="*/ 404417 h 989988"/>
                  <a:gd name="connsiteX158" fmla="*/ 59090 w 824741"/>
                  <a:gd name="connsiteY158" fmla="*/ 389764 h 989988"/>
                  <a:gd name="connsiteX159" fmla="*/ 68240 w 824741"/>
                  <a:gd name="connsiteY159" fmla="*/ 463566 h 989988"/>
                  <a:gd name="connsiteX160" fmla="*/ 84029 w 824741"/>
                  <a:gd name="connsiteY160" fmla="*/ 453219 h 989988"/>
                  <a:gd name="connsiteX161" fmla="*/ 114890 w 824741"/>
                  <a:gd name="connsiteY161" fmla="*/ 474510 h 989988"/>
                  <a:gd name="connsiteX162" fmla="*/ 85285 w 824741"/>
                  <a:gd name="connsiteY162" fmla="*/ 494905 h 989988"/>
                  <a:gd name="connsiteX163" fmla="*/ 66625 w 824741"/>
                  <a:gd name="connsiteY163" fmla="*/ 481747 h 989988"/>
                  <a:gd name="connsiteX164" fmla="*/ 68240 w 824741"/>
                  <a:gd name="connsiteY164" fmla="*/ 463566 h 989988"/>
                  <a:gd name="connsiteX165" fmla="*/ 12919 w 824741"/>
                  <a:gd name="connsiteY165" fmla="*/ 532703 h 989988"/>
                  <a:gd name="connsiteX166" fmla="*/ 43839 w 824741"/>
                  <a:gd name="connsiteY166" fmla="*/ 554891 h 989988"/>
                  <a:gd name="connsiteX167" fmla="*/ 40011 w 824741"/>
                  <a:gd name="connsiteY167" fmla="*/ 602139 h 989988"/>
                  <a:gd name="connsiteX168" fmla="*/ 10168 w 824741"/>
                  <a:gd name="connsiteY168" fmla="*/ 580369 h 989988"/>
                  <a:gd name="connsiteX169" fmla="*/ 12919 w 824741"/>
                  <a:gd name="connsiteY169" fmla="*/ 532703 h 989988"/>
                  <a:gd name="connsiteX170" fmla="*/ 57654 w 824741"/>
                  <a:gd name="connsiteY170" fmla="*/ 406809 h 989988"/>
                  <a:gd name="connsiteX171" fmla="*/ 124160 w 824741"/>
                  <a:gd name="connsiteY171" fmla="*/ 452442 h 989988"/>
                  <a:gd name="connsiteX172" fmla="*/ 121169 w 824741"/>
                  <a:gd name="connsiteY172" fmla="*/ 476305 h 989988"/>
                  <a:gd name="connsiteX173" fmla="*/ 55741 w 824741"/>
                  <a:gd name="connsiteY173" fmla="*/ 430971 h 989988"/>
                  <a:gd name="connsiteX174" fmla="*/ 57654 w 824741"/>
                  <a:gd name="connsiteY174" fmla="*/ 406809 h 989988"/>
                  <a:gd name="connsiteX175" fmla="*/ 45514 w 824741"/>
                  <a:gd name="connsiteY175" fmla="*/ 556147 h 989988"/>
                  <a:gd name="connsiteX176" fmla="*/ 57296 w 824741"/>
                  <a:gd name="connsiteY176" fmla="*/ 564580 h 989988"/>
                  <a:gd name="connsiteX177" fmla="*/ 54784 w 824741"/>
                  <a:gd name="connsiteY177" fmla="*/ 592630 h 989988"/>
                  <a:gd name="connsiteX178" fmla="*/ 41806 w 824741"/>
                  <a:gd name="connsiteY178" fmla="*/ 602199 h 989988"/>
                  <a:gd name="connsiteX179" fmla="*/ 45514 w 824741"/>
                  <a:gd name="connsiteY179" fmla="*/ 556147 h 989988"/>
                  <a:gd name="connsiteX180" fmla="*/ 330555 w 824741"/>
                  <a:gd name="connsiteY180" fmla="*/ 50118 h 989988"/>
                  <a:gd name="connsiteX181" fmla="*/ 369191 w 824741"/>
                  <a:gd name="connsiteY181" fmla="*/ 32296 h 989988"/>
                  <a:gd name="connsiteX182" fmla="*/ 400768 w 824741"/>
                  <a:gd name="connsiteY182" fmla="*/ 50477 h 989988"/>
                  <a:gd name="connsiteX183" fmla="*/ 362911 w 824741"/>
                  <a:gd name="connsiteY183" fmla="*/ 69077 h 989988"/>
                  <a:gd name="connsiteX184" fmla="*/ 330555 w 824741"/>
                  <a:gd name="connsiteY184" fmla="*/ 50118 h 989988"/>
                  <a:gd name="connsiteX185" fmla="*/ 188752 w 824741"/>
                  <a:gd name="connsiteY185" fmla="*/ 290364 h 989988"/>
                  <a:gd name="connsiteX186" fmla="*/ 229899 w 824741"/>
                  <a:gd name="connsiteY186" fmla="*/ 316978 h 989988"/>
                  <a:gd name="connsiteX187" fmla="*/ 227029 w 824741"/>
                  <a:gd name="connsiteY187" fmla="*/ 333186 h 989988"/>
                  <a:gd name="connsiteX188" fmla="*/ 186300 w 824741"/>
                  <a:gd name="connsiteY188" fmla="*/ 306691 h 989988"/>
                  <a:gd name="connsiteX189" fmla="*/ 188752 w 824741"/>
                  <a:gd name="connsiteY189" fmla="*/ 290364 h 989988"/>
                  <a:gd name="connsiteX190" fmla="*/ 189948 w 824741"/>
                  <a:gd name="connsiteY190" fmla="*/ 288629 h 989988"/>
                  <a:gd name="connsiteX191" fmla="*/ 204601 w 824741"/>
                  <a:gd name="connsiteY191" fmla="*/ 280017 h 989988"/>
                  <a:gd name="connsiteX192" fmla="*/ 245449 w 824741"/>
                  <a:gd name="connsiteY192" fmla="*/ 306213 h 989988"/>
                  <a:gd name="connsiteX193" fmla="*/ 231095 w 824741"/>
                  <a:gd name="connsiteY193" fmla="*/ 315244 h 989988"/>
                  <a:gd name="connsiteX194" fmla="*/ 189948 w 824741"/>
                  <a:gd name="connsiteY194" fmla="*/ 288629 h 989988"/>
                  <a:gd name="connsiteX195" fmla="*/ 364765 w 824741"/>
                  <a:gd name="connsiteY195" fmla="*/ 70154 h 989988"/>
                  <a:gd name="connsiteX196" fmla="*/ 401546 w 824741"/>
                  <a:gd name="connsiteY196" fmla="*/ 52032 h 989988"/>
                  <a:gd name="connsiteX197" fmla="*/ 398257 w 824741"/>
                  <a:gd name="connsiteY197" fmla="*/ 65848 h 989988"/>
                  <a:gd name="connsiteX198" fmla="*/ 376307 w 824741"/>
                  <a:gd name="connsiteY198" fmla="*/ 76912 h 989988"/>
                  <a:gd name="connsiteX199" fmla="*/ 364765 w 824741"/>
                  <a:gd name="connsiteY199" fmla="*/ 70154 h 989988"/>
                  <a:gd name="connsiteX200" fmla="*/ 86780 w 824741"/>
                  <a:gd name="connsiteY200" fmla="*/ 495921 h 989988"/>
                  <a:gd name="connsiteX201" fmla="*/ 116325 w 824741"/>
                  <a:gd name="connsiteY201" fmla="*/ 475587 h 989988"/>
                  <a:gd name="connsiteX202" fmla="*/ 120871 w 824741"/>
                  <a:gd name="connsiteY202" fmla="*/ 478697 h 989988"/>
                  <a:gd name="connsiteX203" fmla="*/ 116146 w 824741"/>
                  <a:gd name="connsiteY203" fmla="*/ 516495 h 989988"/>
                  <a:gd name="connsiteX204" fmla="*/ 86780 w 824741"/>
                  <a:gd name="connsiteY204" fmla="*/ 495921 h 989988"/>
                  <a:gd name="connsiteX205" fmla="*/ 51435 w 824741"/>
                  <a:gd name="connsiteY205" fmla="*/ 492931 h 989988"/>
                  <a:gd name="connsiteX206" fmla="*/ 65429 w 824741"/>
                  <a:gd name="connsiteY206" fmla="*/ 483601 h 989988"/>
                  <a:gd name="connsiteX207" fmla="*/ 115847 w 824741"/>
                  <a:gd name="connsiteY207" fmla="*/ 518887 h 989988"/>
                  <a:gd name="connsiteX208" fmla="*/ 113575 w 824741"/>
                  <a:gd name="connsiteY208" fmla="*/ 536770 h 989988"/>
                  <a:gd name="connsiteX209" fmla="*/ 51435 w 824741"/>
                  <a:gd name="connsiteY209" fmla="*/ 492931 h 989988"/>
                  <a:gd name="connsiteX210" fmla="*/ 9928 w 824741"/>
                  <a:gd name="connsiteY210" fmla="*/ 582941 h 989988"/>
                  <a:gd name="connsiteX211" fmla="*/ 39772 w 824741"/>
                  <a:gd name="connsiteY211" fmla="*/ 604651 h 989988"/>
                  <a:gd name="connsiteX212" fmla="*/ 34868 w 824741"/>
                  <a:gd name="connsiteY212" fmla="*/ 665296 h 989988"/>
                  <a:gd name="connsiteX213" fmla="*/ 6340 w 824741"/>
                  <a:gd name="connsiteY213" fmla="*/ 644124 h 989988"/>
                  <a:gd name="connsiteX214" fmla="*/ 9928 w 824741"/>
                  <a:gd name="connsiteY214" fmla="*/ 582941 h 989988"/>
                  <a:gd name="connsiteX215" fmla="*/ 185941 w 824741"/>
                  <a:gd name="connsiteY215" fmla="*/ 308964 h 989988"/>
                  <a:gd name="connsiteX216" fmla="*/ 226670 w 824741"/>
                  <a:gd name="connsiteY216" fmla="*/ 335459 h 989988"/>
                  <a:gd name="connsiteX217" fmla="*/ 219732 w 824741"/>
                  <a:gd name="connsiteY217" fmla="*/ 374752 h 989988"/>
                  <a:gd name="connsiteX218" fmla="*/ 180020 w 824741"/>
                  <a:gd name="connsiteY218" fmla="*/ 348556 h 989988"/>
                  <a:gd name="connsiteX219" fmla="*/ 185941 w 824741"/>
                  <a:gd name="connsiteY219" fmla="*/ 308964 h 989988"/>
                  <a:gd name="connsiteX220" fmla="*/ 296943 w 824741"/>
                  <a:gd name="connsiteY220" fmla="*/ 103526 h 989988"/>
                  <a:gd name="connsiteX221" fmla="*/ 306751 w 824741"/>
                  <a:gd name="connsiteY221" fmla="*/ 98742 h 989988"/>
                  <a:gd name="connsiteX222" fmla="*/ 372300 w 824741"/>
                  <a:gd name="connsiteY222" fmla="*/ 137736 h 989988"/>
                  <a:gd name="connsiteX223" fmla="*/ 362851 w 824741"/>
                  <a:gd name="connsiteY223" fmla="*/ 142939 h 989988"/>
                  <a:gd name="connsiteX224" fmla="*/ 296943 w 824741"/>
                  <a:gd name="connsiteY224" fmla="*/ 103526 h 989988"/>
                  <a:gd name="connsiteX225" fmla="*/ 378222 w 824741"/>
                  <a:gd name="connsiteY225" fmla="*/ 78049 h 989988"/>
                  <a:gd name="connsiteX226" fmla="*/ 398795 w 824741"/>
                  <a:gd name="connsiteY226" fmla="*/ 67642 h 989988"/>
                  <a:gd name="connsiteX227" fmla="*/ 407168 w 824741"/>
                  <a:gd name="connsiteY227" fmla="*/ 72486 h 989988"/>
                  <a:gd name="connsiteX228" fmla="*/ 406689 w 824741"/>
                  <a:gd name="connsiteY228" fmla="*/ 74460 h 989988"/>
                  <a:gd name="connsiteX229" fmla="*/ 402383 w 824741"/>
                  <a:gd name="connsiteY229" fmla="*/ 92103 h 989988"/>
                  <a:gd name="connsiteX230" fmla="*/ 378222 w 824741"/>
                  <a:gd name="connsiteY230" fmla="*/ 78049 h 989988"/>
                  <a:gd name="connsiteX231" fmla="*/ 127868 w 824741"/>
                  <a:gd name="connsiteY231" fmla="*/ 436712 h 989988"/>
                  <a:gd name="connsiteX232" fmla="*/ 162317 w 824741"/>
                  <a:gd name="connsiteY232" fmla="*/ 460216 h 989988"/>
                  <a:gd name="connsiteX233" fmla="*/ 160164 w 824741"/>
                  <a:gd name="connsiteY233" fmla="*/ 474630 h 989988"/>
                  <a:gd name="connsiteX234" fmla="*/ 126074 w 824741"/>
                  <a:gd name="connsiteY234" fmla="*/ 451186 h 989988"/>
                  <a:gd name="connsiteX235" fmla="*/ 127868 w 824741"/>
                  <a:gd name="connsiteY235" fmla="*/ 436712 h 989988"/>
                  <a:gd name="connsiteX236" fmla="*/ 50478 w 824741"/>
                  <a:gd name="connsiteY236" fmla="*/ 494845 h 989988"/>
                  <a:gd name="connsiteX237" fmla="*/ 113275 w 824741"/>
                  <a:gd name="connsiteY237" fmla="*/ 539042 h 989988"/>
                  <a:gd name="connsiteX238" fmla="*/ 109986 w 824741"/>
                  <a:gd name="connsiteY238" fmla="*/ 565059 h 989988"/>
                  <a:gd name="connsiteX239" fmla="*/ 48325 w 824741"/>
                  <a:gd name="connsiteY239" fmla="*/ 521220 h 989988"/>
                  <a:gd name="connsiteX240" fmla="*/ 50478 w 824741"/>
                  <a:gd name="connsiteY240" fmla="*/ 494845 h 989988"/>
                  <a:gd name="connsiteX241" fmla="*/ 371582 w 824741"/>
                  <a:gd name="connsiteY241" fmla="*/ 31219 h 989988"/>
                  <a:gd name="connsiteX242" fmla="*/ 423974 w 824741"/>
                  <a:gd name="connsiteY242" fmla="*/ 6998 h 989988"/>
                  <a:gd name="connsiteX243" fmla="*/ 454236 w 824741"/>
                  <a:gd name="connsiteY243" fmla="*/ 24162 h 989988"/>
                  <a:gd name="connsiteX244" fmla="*/ 402981 w 824741"/>
                  <a:gd name="connsiteY244" fmla="*/ 49401 h 989988"/>
                  <a:gd name="connsiteX245" fmla="*/ 371582 w 824741"/>
                  <a:gd name="connsiteY245" fmla="*/ 31219 h 989988"/>
                  <a:gd name="connsiteX246" fmla="*/ 125715 w 824741"/>
                  <a:gd name="connsiteY246" fmla="*/ 453518 h 989988"/>
                  <a:gd name="connsiteX247" fmla="*/ 159805 w 824741"/>
                  <a:gd name="connsiteY247" fmla="*/ 476903 h 989988"/>
                  <a:gd name="connsiteX248" fmla="*/ 156276 w 824741"/>
                  <a:gd name="connsiteY248" fmla="*/ 500586 h 989988"/>
                  <a:gd name="connsiteX249" fmla="*/ 122725 w 824741"/>
                  <a:gd name="connsiteY249" fmla="*/ 477381 h 989988"/>
                  <a:gd name="connsiteX250" fmla="*/ 125715 w 824741"/>
                  <a:gd name="connsiteY250" fmla="*/ 453518 h 989988"/>
                  <a:gd name="connsiteX251" fmla="*/ 48145 w 824741"/>
                  <a:gd name="connsiteY251" fmla="*/ 523732 h 989988"/>
                  <a:gd name="connsiteX252" fmla="*/ 109747 w 824741"/>
                  <a:gd name="connsiteY252" fmla="*/ 567451 h 989988"/>
                  <a:gd name="connsiteX253" fmla="*/ 108192 w 824741"/>
                  <a:gd name="connsiteY253" fmla="*/ 579711 h 989988"/>
                  <a:gd name="connsiteX254" fmla="*/ 47128 w 824741"/>
                  <a:gd name="connsiteY254" fmla="*/ 536052 h 989988"/>
                  <a:gd name="connsiteX255" fmla="*/ 48145 w 824741"/>
                  <a:gd name="connsiteY255" fmla="*/ 523732 h 989988"/>
                  <a:gd name="connsiteX256" fmla="*/ 426306 w 824741"/>
                  <a:gd name="connsiteY256" fmla="*/ 5921 h 989988"/>
                  <a:gd name="connsiteX257" fmla="*/ 434081 w 824741"/>
                  <a:gd name="connsiteY257" fmla="*/ 2333 h 989988"/>
                  <a:gd name="connsiteX258" fmla="*/ 464224 w 824741"/>
                  <a:gd name="connsiteY258" fmla="*/ 19258 h 989988"/>
                  <a:gd name="connsiteX259" fmla="*/ 456569 w 824741"/>
                  <a:gd name="connsiteY259" fmla="*/ 23026 h 989988"/>
                  <a:gd name="connsiteX260" fmla="*/ 426306 w 824741"/>
                  <a:gd name="connsiteY260" fmla="*/ 5921 h 989988"/>
                  <a:gd name="connsiteX261" fmla="*/ 6160 w 824741"/>
                  <a:gd name="connsiteY261" fmla="*/ 646576 h 989988"/>
                  <a:gd name="connsiteX262" fmla="*/ 34688 w 824741"/>
                  <a:gd name="connsiteY262" fmla="*/ 667688 h 989988"/>
                  <a:gd name="connsiteX263" fmla="*/ 31280 w 824741"/>
                  <a:gd name="connsiteY263" fmla="*/ 709613 h 989988"/>
                  <a:gd name="connsiteX264" fmla="*/ 3708 w 824741"/>
                  <a:gd name="connsiteY264" fmla="*/ 688920 h 989988"/>
                  <a:gd name="connsiteX265" fmla="*/ 6160 w 824741"/>
                  <a:gd name="connsiteY265" fmla="*/ 646576 h 989988"/>
                  <a:gd name="connsiteX266" fmla="*/ 46949 w 824741"/>
                  <a:gd name="connsiteY266" fmla="*/ 538624 h 989988"/>
                  <a:gd name="connsiteX267" fmla="*/ 107892 w 824741"/>
                  <a:gd name="connsiteY267" fmla="*/ 582104 h 989988"/>
                  <a:gd name="connsiteX268" fmla="*/ 106039 w 824741"/>
                  <a:gd name="connsiteY268" fmla="*/ 596995 h 989988"/>
                  <a:gd name="connsiteX269" fmla="*/ 45753 w 824741"/>
                  <a:gd name="connsiteY269" fmla="*/ 553695 h 989988"/>
                  <a:gd name="connsiteX270" fmla="*/ 46949 w 824741"/>
                  <a:gd name="connsiteY270" fmla="*/ 538624 h 989988"/>
                  <a:gd name="connsiteX271" fmla="*/ 36363 w 824741"/>
                  <a:gd name="connsiteY271" fmla="*/ 668944 h 989988"/>
                  <a:gd name="connsiteX272" fmla="*/ 47188 w 824741"/>
                  <a:gd name="connsiteY272" fmla="*/ 676958 h 989988"/>
                  <a:gd name="connsiteX273" fmla="*/ 47009 w 824741"/>
                  <a:gd name="connsiteY273" fmla="*/ 678812 h 989988"/>
                  <a:gd name="connsiteX274" fmla="*/ 45095 w 824741"/>
                  <a:gd name="connsiteY274" fmla="*/ 699984 h 989988"/>
                  <a:gd name="connsiteX275" fmla="*/ 33014 w 824741"/>
                  <a:gd name="connsiteY275" fmla="*/ 709672 h 989988"/>
                  <a:gd name="connsiteX276" fmla="*/ 36363 w 824741"/>
                  <a:gd name="connsiteY276" fmla="*/ 668944 h 989988"/>
                  <a:gd name="connsiteX277" fmla="*/ 3589 w 824741"/>
                  <a:gd name="connsiteY277" fmla="*/ 691431 h 989988"/>
                  <a:gd name="connsiteX278" fmla="*/ 31160 w 824741"/>
                  <a:gd name="connsiteY278" fmla="*/ 712124 h 989988"/>
                  <a:gd name="connsiteX279" fmla="*/ 29246 w 824741"/>
                  <a:gd name="connsiteY279" fmla="*/ 735270 h 989988"/>
                  <a:gd name="connsiteX280" fmla="*/ 2213 w 824741"/>
                  <a:gd name="connsiteY280" fmla="*/ 714816 h 989988"/>
                  <a:gd name="connsiteX281" fmla="*/ 3589 w 824741"/>
                  <a:gd name="connsiteY281" fmla="*/ 691431 h 989988"/>
                  <a:gd name="connsiteX282" fmla="*/ 408544 w 824741"/>
                  <a:gd name="connsiteY282" fmla="*/ 73383 h 989988"/>
                  <a:gd name="connsiteX283" fmla="*/ 438208 w 824741"/>
                  <a:gd name="connsiteY283" fmla="*/ 90548 h 989988"/>
                  <a:gd name="connsiteX284" fmla="*/ 438088 w 824741"/>
                  <a:gd name="connsiteY284" fmla="*/ 91086 h 989988"/>
                  <a:gd name="connsiteX285" fmla="*/ 408424 w 824741"/>
                  <a:gd name="connsiteY285" fmla="*/ 73922 h 989988"/>
                  <a:gd name="connsiteX286" fmla="*/ 408544 w 824741"/>
                  <a:gd name="connsiteY286" fmla="*/ 73383 h 989988"/>
                  <a:gd name="connsiteX287" fmla="*/ 59030 w 824741"/>
                  <a:gd name="connsiteY287" fmla="*/ 565776 h 989988"/>
                  <a:gd name="connsiteX288" fmla="*/ 105799 w 824741"/>
                  <a:gd name="connsiteY288" fmla="*/ 599328 h 989988"/>
                  <a:gd name="connsiteX289" fmla="*/ 102510 w 824741"/>
                  <a:gd name="connsiteY289" fmla="*/ 625643 h 989988"/>
                  <a:gd name="connsiteX290" fmla="*/ 56638 w 824741"/>
                  <a:gd name="connsiteY290" fmla="*/ 592391 h 989988"/>
                  <a:gd name="connsiteX291" fmla="*/ 59030 w 824741"/>
                  <a:gd name="connsiteY291" fmla="*/ 565776 h 989988"/>
                  <a:gd name="connsiteX292" fmla="*/ 407946 w 824741"/>
                  <a:gd name="connsiteY292" fmla="*/ 76015 h 989988"/>
                  <a:gd name="connsiteX293" fmla="*/ 437550 w 824741"/>
                  <a:gd name="connsiteY293" fmla="*/ 93180 h 989988"/>
                  <a:gd name="connsiteX294" fmla="*/ 434979 w 824741"/>
                  <a:gd name="connsiteY294" fmla="*/ 103108 h 989988"/>
                  <a:gd name="connsiteX295" fmla="*/ 427861 w 824741"/>
                  <a:gd name="connsiteY295" fmla="*/ 107055 h 989988"/>
                  <a:gd name="connsiteX296" fmla="*/ 403819 w 824741"/>
                  <a:gd name="connsiteY296" fmla="*/ 92940 h 989988"/>
                  <a:gd name="connsiteX297" fmla="*/ 407946 w 824741"/>
                  <a:gd name="connsiteY297" fmla="*/ 76015 h 989988"/>
                  <a:gd name="connsiteX298" fmla="*/ 2034 w 824741"/>
                  <a:gd name="connsiteY298" fmla="*/ 717328 h 989988"/>
                  <a:gd name="connsiteX299" fmla="*/ 29007 w 824741"/>
                  <a:gd name="connsiteY299" fmla="*/ 737722 h 989988"/>
                  <a:gd name="connsiteX300" fmla="*/ 28289 w 824741"/>
                  <a:gd name="connsiteY300" fmla="*/ 746753 h 989988"/>
                  <a:gd name="connsiteX301" fmla="*/ 1495 w 824741"/>
                  <a:gd name="connsiteY301" fmla="*/ 726418 h 989988"/>
                  <a:gd name="connsiteX302" fmla="*/ 2034 w 824741"/>
                  <a:gd name="connsiteY302" fmla="*/ 717328 h 989988"/>
                  <a:gd name="connsiteX303" fmla="*/ 327086 w 824741"/>
                  <a:gd name="connsiteY303" fmla="*/ 272242 h 989988"/>
                  <a:gd name="connsiteX304" fmla="*/ 333485 w 824741"/>
                  <a:gd name="connsiteY304" fmla="*/ 268116 h 989988"/>
                  <a:gd name="connsiteX305" fmla="*/ 331871 w 824741"/>
                  <a:gd name="connsiteY305" fmla="*/ 275233 h 989988"/>
                  <a:gd name="connsiteX306" fmla="*/ 327086 w 824741"/>
                  <a:gd name="connsiteY306" fmla="*/ 272242 h 989988"/>
                  <a:gd name="connsiteX307" fmla="*/ 438985 w 824741"/>
                  <a:gd name="connsiteY307" fmla="*/ 93957 h 989988"/>
                  <a:gd name="connsiteX308" fmla="*/ 444786 w 824741"/>
                  <a:gd name="connsiteY308" fmla="*/ 97366 h 989988"/>
                  <a:gd name="connsiteX309" fmla="*/ 444667 w 824741"/>
                  <a:gd name="connsiteY309" fmla="*/ 97725 h 989988"/>
                  <a:gd name="connsiteX310" fmla="*/ 436832 w 824741"/>
                  <a:gd name="connsiteY310" fmla="*/ 102031 h 989988"/>
                  <a:gd name="connsiteX311" fmla="*/ 438985 w 824741"/>
                  <a:gd name="connsiteY311" fmla="*/ 93957 h 989988"/>
                  <a:gd name="connsiteX312" fmla="*/ 364525 w 824741"/>
                  <a:gd name="connsiteY312" fmla="*/ 144016 h 989988"/>
                  <a:gd name="connsiteX313" fmla="*/ 374035 w 824741"/>
                  <a:gd name="connsiteY313" fmla="*/ 138812 h 989988"/>
                  <a:gd name="connsiteX314" fmla="*/ 407527 w 824741"/>
                  <a:gd name="connsiteY314" fmla="*/ 158728 h 989988"/>
                  <a:gd name="connsiteX315" fmla="*/ 398257 w 824741"/>
                  <a:gd name="connsiteY315" fmla="*/ 164111 h 989988"/>
                  <a:gd name="connsiteX316" fmla="*/ 364525 w 824741"/>
                  <a:gd name="connsiteY316" fmla="*/ 144016 h 989988"/>
                  <a:gd name="connsiteX317" fmla="*/ 439643 w 824741"/>
                  <a:gd name="connsiteY317" fmla="*/ 91385 h 989988"/>
                  <a:gd name="connsiteX318" fmla="*/ 447777 w 824741"/>
                  <a:gd name="connsiteY318" fmla="*/ 96051 h 989988"/>
                  <a:gd name="connsiteX319" fmla="*/ 447239 w 824741"/>
                  <a:gd name="connsiteY319" fmla="*/ 96350 h 989988"/>
                  <a:gd name="connsiteX320" fmla="*/ 439524 w 824741"/>
                  <a:gd name="connsiteY320" fmla="*/ 91924 h 989988"/>
                  <a:gd name="connsiteX321" fmla="*/ 439643 w 824741"/>
                  <a:gd name="connsiteY321" fmla="*/ 91385 h 989988"/>
                  <a:gd name="connsiteX322" fmla="*/ 42344 w 824741"/>
                  <a:gd name="connsiteY322" fmla="*/ 603873 h 989988"/>
                  <a:gd name="connsiteX323" fmla="*/ 55441 w 824741"/>
                  <a:gd name="connsiteY323" fmla="*/ 594185 h 989988"/>
                  <a:gd name="connsiteX324" fmla="*/ 102151 w 824741"/>
                  <a:gd name="connsiteY324" fmla="*/ 627976 h 989988"/>
                  <a:gd name="connsiteX325" fmla="*/ 99938 w 824741"/>
                  <a:gd name="connsiteY325" fmla="*/ 645798 h 989988"/>
                  <a:gd name="connsiteX326" fmla="*/ 42344 w 824741"/>
                  <a:gd name="connsiteY326" fmla="*/ 603873 h 989988"/>
                  <a:gd name="connsiteX327" fmla="*/ 236060 w 824741"/>
                  <a:gd name="connsiteY327" fmla="*/ 215127 h 989988"/>
                  <a:gd name="connsiteX328" fmla="*/ 270987 w 824741"/>
                  <a:gd name="connsiteY328" fmla="*/ 195809 h 989988"/>
                  <a:gd name="connsiteX329" fmla="*/ 271047 w 824741"/>
                  <a:gd name="connsiteY329" fmla="*/ 195809 h 989988"/>
                  <a:gd name="connsiteX330" fmla="*/ 287554 w 824741"/>
                  <a:gd name="connsiteY330" fmla="*/ 186658 h 989988"/>
                  <a:gd name="connsiteX331" fmla="*/ 320746 w 824741"/>
                  <a:gd name="connsiteY331" fmla="*/ 207053 h 989988"/>
                  <a:gd name="connsiteX332" fmla="*/ 321345 w 824741"/>
                  <a:gd name="connsiteY332" fmla="*/ 207292 h 989988"/>
                  <a:gd name="connsiteX333" fmla="*/ 321883 w 824741"/>
                  <a:gd name="connsiteY333" fmla="*/ 207591 h 989988"/>
                  <a:gd name="connsiteX334" fmla="*/ 322361 w 824741"/>
                  <a:gd name="connsiteY334" fmla="*/ 207950 h 989988"/>
                  <a:gd name="connsiteX335" fmla="*/ 322840 w 824741"/>
                  <a:gd name="connsiteY335" fmla="*/ 208428 h 989988"/>
                  <a:gd name="connsiteX336" fmla="*/ 322959 w 824741"/>
                  <a:gd name="connsiteY336" fmla="*/ 208488 h 989988"/>
                  <a:gd name="connsiteX337" fmla="*/ 322959 w 824741"/>
                  <a:gd name="connsiteY337" fmla="*/ 208548 h 989988"/>
                  <a:gd name="connsiteX338" fmla="*/ 323258 w 824741"/>
                  <a:gd name="connsiteY338" fmla="*/ 208847 h 989988"/>
                  <a:gd name="connsiteX339" fmla="*/ 323558 w 824741"/>
                  <a:gd name="connsiteY339" fmla="*/ 209146 h 989988"/>
                  <a:gd name="connsiteX340" fmla="*/ 323796 w 824741"/>
                  <a:gd name="connsiteY340" fmla="*/ 209505 h 989988"/>
                  <a:gd name="connsiteX341" fmla="*/ 324036 w 824741"/>
                  <a:gd name="connsiteY341" fmla="*/ 209923 h 989988"/>
                  <a:gd name="connsiteX342" fmla="*/ 324694 w 824741"/>
                  <a:gd name="connsiteY342" fmla="*/ 209565 h 989988"/>
                  <a:gd name="connsiteX343" fmla="*/ 362611 w 824741"/>
                  <a:gd name="connsiteY343" fmla="*/ 232889 h 989988"/>
                  <a:gd name="connsiteX344" fmla="*/ 313390 w 824741"/>
                  <a:gd name="connsiteY344" fmla="*/ 263750 h 989988"/>
                  <a:gd name="connsiteX345" fmla="*/ 276788 w 824741"/>
                  <a:gd name="connsiteY345" fmla="*/ 240784 h 989988"/>
                  <a:gd name="connsiteX346" fmla="*/ 276370 w 824741"/>
                  <a:gd name="connsiteY346" fmla="*/ 240784 h 989988"/>
                  <a:gd name="connsiteX347" fmla="*/ 275951 w 824741"/>
                  <a:gd name="connsiteY347" fmla="*/ 240724 h 989988"/>
                  <a:gd name="connsiteX348" fmla="*/ 275532 w 824741"/>
                  <a:gd name="connsiteY348" fmla="*/ 240664 h 989988"/>
                  <a:gd name="connsiteX349" fmla="*/ 275113 w 824741"/>
                  <a:gd name="connsiteY349" fmla="*/ 240545 h 989988"/>
                  <a:gd name="connsiteX350" fmla="*/ 274755 w 824741"/>
                  <a:gd name="connsiteY350" fmla="*/ 240425 h 989988"/>
                  <a:gd name="connsiteX351" fmla="*/ 274396 w 824741"/>
                  <a:gd name="connsiteY351" fmla="*/ 240246 h 989988"/>
                  <a:gd name="connsiteX352" fmla="*/ 274037 w 824741"/>
                  <a:gd name="connsiteY352" fmla="*/ 240066 h 989988"/>
                  <a:gd name="connsiteX353" fmla="*/ 273678 w 824741"/>
                  <a:gd name="connsiteY353" fmla="*/ 239887 h 989988"/>
                  <a:gd name="connsiteX354" fmla="*/ 273319 w 824741"/>
                  <a:gd name="connsiteY354" fmla="*/ 239647 h 989988"/>
                  <a:gd name="connsiteX355" fmla="*/ 272960 w 824741"/>
                  <a:gd name="connsiteY355" fmla="*/ 239408 h 989988"/>
                  <a:gd name="connsiteX356" fmla="*/ 272662 w 824741"/>
                  <a:gd name="connsiteY356" fmla="*/ 239109 h 989988"/>
                  <a:gd name="connsiteX357" fmla="*/ 272362 w 824741"/>
                  <a:gd name="connsiteY357" fmla="*/ 238810 h 989988"/>
                  <a:gd name="connsiteX358" fmla="*/ 272064 w 824741"/>
                  <a:gd name="connsiteY358" fmla="*/ 238511 h 989988"/>
                  <a:gd name="connsiteX359" fmla="*/ 271764 w 824741"/>
                  <a:gd name="connsiteY359" fmla="*/ 238152 h 989988"/>
                  <a:gd name="connsiteX360" fmla="*/ 271525 w 824741"/>
                  <a:gd name="connsiteY360" fmla="*/ 237793 h 989988"/>
                  <a:gd name="connsiteX361" fmla="*/ 271286 w 824741"/>
                  <a:gd name="connsiteY361" fmla="*/ 237435 h 989988"/>
                  <a:gd name="connsiteX362" fmla="*/ 236060 w 824741"/>
                  <a:gd name="connsiteY362" fmla="*/ 215127 h 989988"/>
                  <a:gd name="connsiteX363" fmla="*/ 163872 w 824741"/>
                  <a:gd name="connsiteY363" fmla="*/ 461293 h 989988"/>
                  <a:gd name="connsiteX364" fmla="*/ 200713 w 824741"/>
                  <a:gd name="connsiteY364" fmla="*/ 486412 h 989988"/>
                  <a:gd name="connsiteX365" fmla="*/ 198201 w 824741"/>
                  <a:gd name="connsiteY365" fmla="*/ 500706 h 989988"/>
                  <a:gd name="connsiteX366" fmla="*/ 161719 w 824741"/>
                  <a:gd name="connsiteY366" fmla="*/ 475647 h 989988"/>
                  <a:gd name="connsiteX367" fmla="*/ 163872 w 824741"/>
                  <a:gd name="connsiteY367" fmla="*/ 461293 h 989988"/>
                  <a:gd name="connsiteX368" fmla="*/ 114890 w 824741"/>
                  <a:gd name="connsiteY368" fmla="*/ 540179 h 989988"/>
                  <a:gd name="connsiteX369" fmla="*/ 147007 w 824741"/>
                  <a:gd name="connsiteY369" fmla="*/ 562786 h 989988"/>
                  <a:gd name="connsiteX370" fmla="*/ 143119 w 824741"/>
                  <a:gd name="connsiteY370" fmla="*/ 588623 h 989988"/>
                  <a:gd name="connsiteX371" fmla="*/ 111600 w 824741"/>
                  <a:gd name="connsiteY371" fmla="*/ 566195 h 989988"/>
                  <a:gd name="connsiteX372" fmla="*/ 114890 w 824741"/>
                  <a:gd name="connsiteY372" fmla="*/ 540179 h 989988"/>
                  <a:gd name="connsiteX373" fmla="*/ 314945 w 824741"/>
                  <a:gd name="connsiteY373" fmla="*/ 264587 h 989988"/>
                  <a:gd name="connsiteX374" fmla="*/ 363150 w 824741"/>
                  <a:gd name="connsiteY374" fmla="*/ 234385 h 989988"/>
                  <a:gd name="connsiteX375" fmla="*/ 359502 w 824741"/>
                  <a:gd name="connsiteY375" fmla="*/ 249516 h 989988"/>
                  <a:gd name="connsiteX376" fmla="*/ 334502 w 824741"/>
                  <a:gd name="connsiteY376" fmla="*/ 265544 h 989988"/>
                  <a:gd name="connsiteX377" fmla="*/ 325531 w 824741"/>
                  <a:gd name="connsiteY377" fmla="*/ 271226 h 989988"/>
                  <a:gd name="connsiteX378" fmla="*/ 314945 w 824741"/>
                  <a:gd name="connsiteY378" fmla="*/ 264587 h 989988"/>
                  <a:gd name="connsiteX379" fmla="*/ 48743 w 824741"/>
                  <a:gd name="connsiteY379" fmla="*/ 678931 h 989988"/>
                  <a:gd name="connsiteX380" fmla="*/ 49282 w 824741"/>
                  <a:gd name="connsiteY380" fmla="*/ 678513 h 989988"/>
                  <a:gd name="connsiteX381" fmla="*/ 76075 w 824741"/>
                  <a:gd name="connsiteY381" fmla="*/ 698369 h 989988"/>
                  <a:gd name="connsiteX382" fmla="*/ 61243 w 824741"/>
                  <a:gd name="connsiteY382" fmla="*/ 710510 h 989988"/>
                  <a:gd name="connsiteX383" fmla="*/ 46830 w 824741"/>
                  <a:gd name="connsiteY383" fmla="*/ 699685 h 989988"/>
                  <a:gd name="connsiteX384" fmla="*/ 48743 w 824741"/>
                  <a:gd name="connsiteY384" fmla="*/ 678931 h 989988"/>
                  <a:gd name="connsiteX385" fmla="*/ 403280 w 824741"/>
                  <a:gd name="connsiteY385" fmla="*/ 51913 h 989988"/>
                  <a:gd name="connsiteX386" fmla="*/ 464105 w 824741"/>
                  <a:gd name="connsiteY386" fmla="*/ 86960 h 989988"/>
                  <a:gd name="connsiteX387" fmla="*/ 449871 w 824741"/>
                  <a:gd name="connsiteY387" fmla="*/ 94854 h 989988"/>
                  <a:gd name="connsiteX388" fmla="*/ 399991 w 824741"/>
                  <a:gd name="connsiteY388" fmla="*/ 65907 h 989988"/>
                  <a:gd name="connsiteX389" fmla="*/ 403280 w 824741"/>
                  <a:gd name="connsiteY389" fmla="*/ 51913 h 989988"/>
                  <a:gd name="connsiteX390" fmla="*/ 111302 w 824741"/>
                  <a:gd name="connsiteY390" fmla="*/ 568647 h 989988"/>
                  <a:gd name="connsiteX391" fmla="*/ 142760 w 824741"/>
                  <a:gd name="connsiteY391" fmla="*/ 590955 h 989988"/>
                  <a:gd name="connsiteX392" fmla="*/ 140966 w 824741"/>
                  <a:gd name="connsiteY392" fmla="*/ 603156 h 989988"/>
                  <a:gd name="connsiteX393" fmla="*/ 109807 w 824741"/>
                  <a:gd name="connsiteY393" fmla="*/ 580848 h 989988"/>
                  <a:gd name="connsiteX394" fmla="*/ 111302 w 824741"/>
                  <a:gd name="connsiteY394" fmla="*/ 568647 h 989988"/>
                  <a:gd name="connsiteX395" fmla="*/ 161361 w 824741"/>
                  <a:gd name="connsiteY395" fmla="*/ 477979 h 989988"/>
                  <a:gd name="connsiteX396" fmla="*/ 197843 w 824741"/>
                  <a:gd name="connsiteY396" fmla="*/ 502979 h 989988"/>
                  <a:gd name="connsiteX397" fmla="*/ 193716 w 824741"/>
                  <a:gd name="connsiteY397" fmla="*/ 526543 h 989988"/>
                  <a:gd name="connsiteX398" fmla="*/ 157771 w 824741"/>
                  <a:gd name="connsiteY398" fmla="*/ 501723 h 989988"/>
                  <a:gd name="connsiteX399" fmla="*/ 161361 w 824741"/>
                  <a:gd name="connsiteY399" fmla="*/ 477979 h 989988"/>
                  <a:gd name="connsiteX400" fmla="*/ 109448 w 824741"/>
                  <a:gd name="connsiteY400" fmla="*/ 583180 h 989988"/>
                  <a:gd name="connsiteX401" fmla="*/ 140607 w 824741"/>
                  <a:gd name="connsiteY401" fmla="*/ 605369 h 989988"/>
                  <a:gd name="connsiteX402" fmla="*/ 138394 w 824741"/>
                  <a:gd name="connsiteY402" fmla="*/ 620141 h 989988"/>
                  <a:gd name="connsiteX403" fmla="*/ 107594 w 824741"/>
                  <a:gd name="connsiteY403" fmla="*/ 598012 h 989988"/>
                  <a:gd name="connsiteX404" fmla="*/ 109448 w 824741"/>
                  <a:gd name="connsiteY404" fmla="*/ 583180 h 989988"/>
                  <a:gd name="connsiteX405" fmla="*/ 206455 w 824741"/>
                  <a:gd name="connsiteY405" fmla="*/ 537787 h 989988"/>
                  <a:gd name="connsiteX406" fmla="*/ 208189 w 824741"/>
                  <a:gd name="connsiteY406" fmla="*/ 538983 h 989988"/>
                  <a:gd name="connsiteX407" fmla="*/ 205917 w 824741"/>
                  <a:gd name="connsiteY407" fmla="*/ 540777 h 989988"/>
                  <a:gd name="connsiteX408" fmla="*/ 206455 w 824741"/>
                  <a:gd name="connsiteY408" fmla="*/ 537787 h 989988"/>
                  <a:gd name="connsiteX409" fmla="*/ 335399 w 824741"/>
                  <a:gd name="connsiteY409" fmla="*/ 266860 h 989988"/>
                  <a:gd name="connsiteX410" fmla="*/ 359920 w 824741"/>
                  <a:gd name="connsiteY410" fmla="*/ 251131 h 989988"/>
                  <a:gd name="connsiteX411" fmla="*/ 373676 w 824741"/>
                  <a:gd name="connsiteY411" fmla="*/ 259623 h 989988"/>
                  <a:gd name="connsiteX412" fmla="*/ 364645 w 824741"/>
                  <a:gd name="connsiteY412" fmla="*/ 295747 h 989988"/>
                  <a:gd name="connsiteX413" fmla="*/ 333246 w 824741"/>
                  <a:gd name="connsiteY413" fmla="*/ 276070 h 989988"/>
                  <a:gd name="connsiteX414" fmla="*/ 335399 w 824741"/>
                  <a:gd name="connsiteY414" fmla="*/ 266860 h 989988"/>
                  <a:gd name="connsiteX415" fmla="*/ 231454 w 824741"/>
                  <a:gd name="connsiteY415" fmla="*/ 317935 h 989988"/>
                  <a:gd name="connsiteX416" fmla="*/ 311297 w 824741"/>
                  <a:gd name="connsiteY416" fmla="*/ 369549 h 989988"/>
                  <a:gd name="connsiteX417" fmla="*/ 307589 w 824741"/>
                  <a:gd name="connsiteY417" fmla="*/ 385697 h 989988"/>
                  <a:gd name="connsiteX418" fmla="*/ 228524 w 824741"/>
                  <a:gd name="connsiteY418" fmla="*/ 334203 h 989988"/>
                  <a:gd name="connsiteX419" fmla="*/ 231454 w 824741"/>
                  <a:gd name="connsiteY419" fmla="*/ 317935 h 989988"/>
                  <a:gd name="connsiteX420" fmla="*/ 62559 w 824741"/>
                  <a:gd name="connsiteY420" fmla="*/ 711467 h 989988"/>
                  <a:gd name="connsiteX421" fmla="*/ 77331 w 824741"/>
                  <a:gd name="connsiteY421" fmla="*/ 699386 h 989988"/>
                  <a:gd name="connsiteX422" fmla="*/ 91805 w 824741"/>
                  <a:gd name="connsiteY422" fmla="*/ 710091 h 989988"/>
                  <a:gd name="connsiteX423" fmla="*/ 89173 w 824741"/>
                  <a:gd name="connsiteY423" fmla="*/ 731382 h 989988"/>
                  <a:gd name="connsiteX424" fmla="*/ 62559 w 824741"/>
                  <a:gd name="connsiteY424" fmla="*/ 711467 h 989988"/>
                  <a:gd name="connsiteX425" fmla="*/ 232590 w 824741"/>
                  <a:gd name="connsiteY425" fmla="*/ 316260 h 989988"/>
                  <a:gd name="connsiteX426" fmla="*/ 247004 w 824741"/>
                  <a:gd name="connsiteY426" fmla="*/ 307289 h 989988"/>
                  <a:gd name="connsiteX427" fmla="*/ 326189 w 824741"/>
                  <a:gd name="connsiteY427" fmla="*/ 358125 h 989988"/>
                  <a:gd name="connsiteX428" fmla="*/ 312374 w 824741"/>
                  <a:gd name="connsiteY428" fmla="*/ 367874 h 989988"/>
                  <a:gd name="connsiteX429" fmla="*/ 232590 w 824741"/>
                  <a:gd name="connsiteY429" fmla="*/ 316260 h 989988"/>
                  <a:gd name="connsiteX430" fmla="*/ 157473 w 824741"/>
                  <a:gd name="connsiteY430" fmla="*/ 503995 h 989988"/>
                  <a:gd name="connsiteX431" fmla="*/ 193297 w 824741"/>
                  <a:gd name="connsiteY431" fmla="*/ 528696 h 989988"/>
                  <a:gd name="connsiteX432" fmla="*/ 183249 w 824741"/>
                  <a:gd name="connsiteY432" fmla="*/ 585871 h 989988"/>
                  <a:gd name="connsiteX433" fmla="*/ 148860 w 824741"/>
                  <a:gd name="connsiteY433" fmla="*/ 561590 h 989988"/>
                  <a:gd name="connsiteX434" fmla="*/ 148920 w 824741"/>
                  <a:gd name="connsiteY434" fmla="*/ 561171 h 989988"/>
                  <a:gd name="connsiteX435" fmla="*/ 147904 w 824741"/>
                  <a:gd name="connsiteY435" fmla="*/ 560932 h 989988"/>
                  <a:gd name="connsiteX436" fmla="*/ 146887 w 824741"/>
                  <a:gd name="connsiteY436" fmla="*/ 560453 h 989988"/>
                  <a:gd name="connsiteX437" fmla="*/ 145990 w 824741"/>
                  <a:gd name="connsiteY437" fmla="*/ 559855 h 989988"/>
                  <a:gd name="connsiteX438" fmla="*/ 145212 w 824741"/>
                  <a:gd name="connsiteY438" fmla="*/ 559018 h 989988"/>
                  <a:gd name="connsiteX439" fmla="*/ 115189 w 824741"/>
                  <a:gd name="connsiteY439" fmla="*/ 537846 h 989988"/>
                  <a:gd name="connsiteX440" fmla="*/ 122486 w 824741"/>
                  <a:gd name="connsiteY440" fmla="*/ 479714 h 989988"/>
                  <a:gd name="connsiteX441" fmla="*/ 155978 w 824741"/>
                  <a:gd name="connsiteY441" fmla="*/ 502859 h 989988"/>
                  <a:gd name="connsiteX442" fmla="*/ 155918 w 824741"/>
                  <a:gd name="connsiteY442" fmla="*/ 503338 h 989988"/>
                  <a:gd name="connsiteX443" fmla="*/ 156336 w 824741"/>
                  <a:gd name="connsiteY443" fmla="*/ 503457 h 989988"/>
                  <a:gd name="connsiteX444" fmla="*/ 156755 w 824741"/>
                  <a:gd name="connsiteY444" fmla="*/ 503636 h 989988"/>
                  <a:gd name="connsiteX445" fmla="*/ 157174 w 824741"/>
                  <a:gd name="connsiteY445" fmla="*/ 503816 h 989988"/>
                  <a:gd name="connsiteX446" fmla="*/ 157473 w 824741"/>
                  <a:gd name="connsiteY446" fmla="*/ 503995 h 989988"/>
                  <a:gd name="connsiteX447" fmla="*/ 458423 w 824741"/>
                  <a:gd name="connsiteY447" fmla="*/ 24102 h 989988"/>
                  <a:gd name="connsiteX448" fmla="*/ 466078 w 824741"/>
                  <a:gd name="connsiteY448" fmla="*/ 20275 h 989988"/>
                  <a:gd name="connsiteX449" fmla="*/ 524749 w 824741"/>
                  <a:gd name="connsiteY449" fmla="*/ 53408 h 989988"/>
                  <a:gd name="connsiteX450" fmla="*/ 517392 w 824741"/>
                  <a:gd name="connsiteY450" fmla="*/ 57475 h 989988"/>
                  <a:gd name="connsiteX451" fmla="*/ 458423 w 824741"/>
                  <a:gd name="connsiteY451" fmla="*/ 24102 h 989988"/>
                  <a:gd name="connsiteX452" fmla="*/ 399931 w 824741"/>
                  <a:gd name="connsiteY452" fmla="*/ 165188 h 989988"/>
                  <a:gd name="connsiteX453" fmla="*/ 409201 w 824741"/>
                  <a:gd name="connsiteY453" fmla="*/ 159685 h 989988"/>
                  <a:gd name="connsiteX454" fmla="*/ 445026 w 824741"/>
                  <a:gd name="connsiteY454" fmla="*/ 181036 h 989988"/>
                  <a:gd name="connsiteX455" fmla="*/ 435935 w 824741"/>
                  <a:gd name="connsiteY455" fmla="*/ 186718 h 989988"/>
                  <a:gd name="connsiteX456" fmla="*/ 399931 w 824741"/>
                  <a:gd name="connsiteY456" fmla="*/ 165188 h 989988"/>
                  <a:gd name="connsiteX457" fmla="*/ 194733 w 824741"/>
                  <a:gd name="connsiteY457" fmla="*/ 529772 h 989988"/>
                  <a:gd name="connsiteX458" fmla="*/ 204959 w 824741"/>
                  <a:gd name="connsiteY458" fmla="*/ 536770 h 989988"/>
                  <a:gd name="connsiteX459" fmla="*/ 197903 w 824741"/>
                  <a:gd name="connsiteY459" fmla="*/ 575166 h 989988"/>
                  <a:gd name="connsiteX460" fmla="*/ 184924 w 824741"/>
                  <a:gd name="connsiteY460" fmla="*/ 585632 h 989988"/>
                  <a:gd name="connsiteX461" fmla="*/ 194733 w 824741"/>
                  <a:gd name="connsiteY461" fmla="*/ 529772 h 989988"/>
                  <a:gd name="connsiteX462" fmla="*/ 33493 w 824741"/>
                  <a:gd name="connsiteY462" fmla="*/ 711287 h 989988"/>
                  <a:gd name="connsiteX463" fmla="*/ 45693 w 824741"/>
                  <a:gd name="connsiteY463" fmla="*/ 701479 h 989988"/>
                  <a:gd name="connsiteX464" fmla="*/ 88874 w 824741"/>
                  <a:gd name="connsiteY464" fmla="*/ 733715 h 989988"/>
                  <a:gd name="connsiteX465" fmla="*/ 86661 w 824741"/>
                  <a:gd name="connsiteY465" fmla="*/ 751239 h 989988"/>
                  <a:gd name="connsiteX466" fmla="*/ 33493 w 824741"/>
                  <a:gd name="connsiteY466" fmla="*/ 711287 h 989988"/>
                  <a:gd name="connsiteX467" fmla="*/ 148502 w 824741"/>
                  <a:gd name="connsiteY467" fmla="*/ 563922 h 989988"/>
                  <a:gd name="connsiteX468" fmla="*/ 182831 w 824741"/>
                  <a:gd name="connsiteY468" fmla="*/ 588084 h 989988"/>
                  <a:gd name="connsiteX469" fmla="*/ 178286 w 824741"/>
                  <a:gd name="connsiteY469" fmla="*/ 613682 h 989988"/>
                  <a:gd name="connsiteX470" fmla="*/ 144614 w 824741"/>
                  <a:gd name="connsiteY470" fmla="*/ 589699 h 989988"/>
                  <a:gd name="connsiteX471" fmla="*/ 148502 w 824741"/>
                  <a:gd name="connsiteY471" fmla="*/ 563922 h 989988"/>
                  <a:gd name="connsiteX472" fmla="*/ 228165 w 824741"/>
                  <a:gd name="connsiteY472" fmla="*/ 336416 h 989988"/>
                  <a:gd name="connsiteX473" fmla="*/ 307111 w 824741"/>
                  <a:gd name="connsiteY473" fmla="*/ 387730 h 989988"/>
                  <a:gd name="connsiteX474" fmla="*/ 298259 w 824741"/>
                  <a:gd name="connsiteY474" fmla="*/ 426485 h 989988"/>
                  <a:gd name="connsiteX475" fmla="*/ 221228 w 824741"/>
                  <a:gd name="connsiteY475" fmla="*/ 375649 h 989988"/>
                  <a:gd name="connsiteX476" fmla="*/ 228165 w 824741"/>
                  <a:gd name="connsiteY476" fmla="*/ 336416 h 989988"/>
                  <a:gd name="connsiteX477" fmla="*/ 144255 w 824741"/>
                  <a:gd name="connsiteY477" fmla="*/ 591972 h 989988"/>
                  <a:gd name="connsiteX478" fmla="*/ 177926 w 824741"/>
                  <a:gd name="connsiteY478" fmla="*/ 615895 h 989988"/>
                  <a:gd name="connsiteX479" fmla="*/ 175774 w 824741"/>
                  <a:gd name="connsiteY479" fmla="*/ 627976 h 989988"/>
                  <a:gd name="connsiteX480" fmla="*/ 142461 w 824741"/>
                  <a:gd name="connsiteY480" fmla="*/ 604172 h 989988"/>
                  <a:gd name="connsiteX481" fmla="*/ 144255 w 824741"/>
                  <a:gd name="connsiteY481" fmla="*/ 591972 h 989988"/>
                  <a:gd name="connsiteX482" fmla="*/ 32775 w 824741"/>
                  <a:gd name="connsiteY482" fmla="*/ 713321 h 989988"/>
                  <a:gd name="connsiteX483" fmla="*/ 86422 w 824741"/>
                  <a:gd name="connsiteY483" fmla="*/ 753571 h 989988"/>
                  <a:gd name="connsiteX484" fmla="*/ 83551 w 824741"/>
                  <a:gd name="connsiteY484" fmla="*/ 776358 h 989988"/>
                  <a:gd name="connsiteX485" fmla="*/ 30861 w 824741"/>
                  <a:gd name="connsiteY485" fmla="*/ 736526 h 989988"/>
                  <a:gd name="connsiteX486" fmla="*/ 32775 w 824741"/>
                  <a:gd name="connsiteY486" fmla="*/ 713321 h 989988"/>
                  <a:gd name="connsiteX487" fmla="*/ 30681 w 824741"/>
                  <a:gd name="connsiteY487" fmla="*/ 738978 h 989988"/>
                  <a:gd name="connsiteX488" fmla="*/ 83192 w 824741"/>
                  <a:gd name="connsiteY488" fmla="*/ 778690 h 989988"/>
                  <a:gd name="connsiteX489" fmla="*/ 82056 w 824741"/>
                  <a:gd name="connsiteY489" fmla="*/ 787661 h 989988"/>
                  <a:gd name="connsiteX490" fmla="*/ 29904 w 824741"/>
                  <a:gd name="connsiteY490" fmla="*/ 748069 h 989988"/>
                  <a:gd name="connsiteX491" fmla="*/ 30681 w 824741"/>
                  <a:gd name="connsiteY491" fmla="*/ 738978 h 989988"/>
                  <a:gd name="connsiteX492" fmla="*/ 142102 w 824741"/>
                  <a:gd name="connsiteY492" fmla="*/ 606445 h 989988"/>
                  <a:gd name="connsiteX493" fmla="*/ 175355 w 824741"/>
                  <a:gd name="connsiteY493" fmla="*/ 630189 h 989988"/>
                  <a:gd name="connsiteX494" fmla="*/ 172783 w 824741"/>
                  <a:gd name="connsiteY494" fmla="*/ 644841 h 989988"/>
                  <a:gd name="connsiteX495" fmla="*/ 139889 w 824741"/>
                  <a:gd name="connsiteY495" fmla="*/ 621218 h 989988"/>
                  <a:gd name="connsiteX496" fmla="*/ 142102 w 824741"/>
                  <a:gd name="connsiteY496" fmla="*/ 606445 h 989988"/>
                  <a:gd name="connsiteX497" fmla="*/ 375052 w 824741"/>
                  <a:gd name="connsiteY497" fmla="*/ 260520 h 989988"/>
                  <a:gd name="connsiteX498" fmla="*/ 409381 w 824741"/>
                  <a:gd name="connsiteY498" fmla="*/ 281692 h 989988"/>
                  <a:gd name="connsiteX499" fmla="*/ 403460 w 824741"/>
                  <a:gd name="connsiteY499" fmla="*/ 303282 h 989988"/>
                  <a:gd name="connsiteX500" fmla="*/ 390841 w 824741"/>
                  <a:gd name="connsiteY500" fmla="*/ 312253 h 989988"/>
                  <a:gd name="connsiteX501" fmla="*/ 366021 w 824741"/>
                  <a:gd name="connsiteY501" fmla="*/ 296704 h 989988"/>
                  <a:gd name="connsiteX502" fmla="*/ 375052 w 824741"/>
                  <a:gd name="connsiteY502" fmla="*/ 260520 h 989988"/>
                  <a:gd name="connsiteX503" fmla="*/ 205438 w 824741"/>
                  <a:gd name="connsiteY503" fmla="*/ 543050 h 989988"/>
                  <a:gd name="connsiteX504" fmla="*/ 209505 w 824741"/>
                  <a:gd name="connsiteY504" fmla="*/ 539880 h 989988"/>
                  <a:gd name="connsiteX505" fmla="*/ 242160 w 824741"/>
                  <a:gd name="connsiteY505" fmla="*/ 562487 h 989988"/>
                  <a:gd name="connsiteX506" fmla="*/ 214290 w 824741"/>
                  <a:gd name="connsiteY506" fmla="*/ 585274 h 989988"/>
                  <a:gd name="connsiteX507" fmla="*/ 199518 w 824741"/>
                  <a:gd name="connsiteY507" fmla="*/ 574927 h 989988"/>
                  <a:gd name="connsiteX508" fmla="*/ 205438 w 824741"/>
                  <a:gd name="connsiteY508" fmla="*/ 543050 h 989988"/>
                  <a:gd name="connsiteX509" fmla="*/ 519187 w 824741"/>
                  <a:gd name="connsiteY509" fmla="*/ 58491 h 989988"/>
                  <a:gd name="connsiteX510" fmla="*/ 526543 w 824741"/>
                  <a:gd name="connsiteY510" fmla="*/ 54425 h 989988"/>
                  <a:gd name="connsiteX511" fmla="*/ 556387 w 824741"/>
                  <a:gd name="connsiteY511" fmla="*/ 71230 h 989988"/>
                  <a:gd name="connsiteX512" fmla="*/ 549210 w 824741"/>
                  <a:gd name="connsiteY512" fmla="*/ 75477 h 989988"/>
                  <a:gd name="connsiteX513" fmla="*/ 519187 w 824741"/>
                  <a:gd name="connsiteY513" fmla="*/ 58491 h 989988"/>
                  <a:gd name="connsiteX514" fmla="*/ 139531 w 824741"/>
                  <a:gd name="connsiteY514" fmla="*/ 623550 h 989988"/>
                  <a:gd name="connsiteX515" fmla="*/ 172425 w 824741"/>
                  <a:gd name="connsiteY515" fmla="*/ 647114 h 989988"/>
                  <a:gd name="connsiteX516" fmla="*/ 164351 w 824741"/>
                  <a:gd name="connsiteY516" fmla="*/ 692747 h 989988"/>
                  <a:gd name="connsiteX517" fmla="*/ 132593 w 824741"/>
                  <a:gd name="connsiteY517" fmla="*/ 669661 h 989988"/>
                  <a:gd name="connsiteX518" fmla="*/ 132772 w 824741"/>
                  <a:gd name="connsiteY518" fmla="*/ 668944 h 989988"/>
                  <a:gd name="connsiteX519" fmla="*/ 132353 w 824741"/>
                  <a:gd name="connsiteY519" fmla="*/ 668824 h 989988"/>
                  <a:gd name="connsiteX520" fmla="*/ 131935 w 824741"/>
                  <a:gd name="connsiteY520" fmla="*/ 668645 h 989988"/>
                  <a:gd name="connsiteX521" fmla="*/ 131576 w 824741"/>
                  <a:gd name="connsiteY521" fmla="*/ 668465 h 989988"/>
                  <a:gd name="connsiteX522" fmla="*/ 131217 w 824741"/>
                  <a:gd name="connsiteY522" fmla="*/ 668226 h 989988"/>
                  <a:gd name="connsiteX523" fmla="*/ 131158 w 824741"/>
                  <a:gd name="connsiteY523" fmla="*/ 668525 h 989988"/>
                  <a:gd name="connsiteX524" fmla="*/ 101493 w 824741"/>
                  <a:gd name="connsiteY524" fmla="*/ 646935 h 989988"/>
                  <a:gd name="connsiteX525" fmla="*/ 107295 w 824741"/>
                  <a:gd name="connsiteY525" fmla="*/ 600405 h 989988"/>
                  <a:gd name="connsiteX526" fmla="*/ 138036 w 824741"/>
                  <a:gd name="connsiteY526" fmla="*/ 622473 h 989988"/>
                  <a:gd name="connsiteX527" fmla="*/ 137976 w 824741"/>
                  <a:gd name="connsiteY527" fmla="*/ 623251 h 989988"/>
                  <a:gd name="connsiteX528" fmla="*/ 138334 w 824741"/>
                  <a:gd name="connsiteY528" fmla="*/ 623431 h 989988"/>
                  <a:gd name="connsiteX529" fmla="*/ 138753 w 824741"/>
                  <a:gd name="connsiteY529" fmla="*/ 623670 h 989988"/>
                  <a:gd name="connsiteX530" fmla="*/ 139112 w 824741"/>
                  <a:gd name="connsiteY530" fmla="*/ 623909 h 989988"/>
                  <a:gd name="connsiteX531" fmla="*/ 139471 w 824741"/>
                  <a:gd name="connsiteY531" fmla="*/ 624148 h 989988"/>
                  <a:gd name="connsiteX532" fmla="*/ 139531 w 824741"/>
                  <a:gd name="connsiteY532" fmla="*/ 623550 h 989988"/>
                  <a:gd name="connsiteX533" fmla="*/ 410696 w 824741"/>
                  <a:gd name="connsiteY533" fmla="*/ 282529 h 989988"/>
                  <a:gd name="connsiteX534" fmla="*/ 422418 w 824741"/>
                  <a:gd name="connsiteY534" fmla="*/ 289766 h 989988"/>
                  <a:gd name="connsiteX535" fmla="*/ 405433 w 824741"/>
                  <a:gd name="connsiteY535" fmla="*/ 301787 h 989988"/>
                  <a:gd name="connsiteX536" fmla="*/ 410696 w 824741"/>
                  <a:gd name="connsiteY536" fmla="*/ 282529 h 989988"/>
                  <a:gd name="connsiteX537" fmla="*/ 173860 w 824741"/>
                  <a:gd name="connsiteY537" fmla="*/ 648190 h 989988"/>
                  <a:gd name="connsiteX538" fmla="*/ 183190 w 824741"/>
                  <a:gd name="connsiteY538" fmla="*/ 654829 h 989988"/>
                  <a:gd name="connsiteX539" fmla="*/ 178166 w 824741"/>
                  <a:gd name="connsiteY539" fmla="*/ 681922 h 989988"/>
                  <a:gd name="connsiteX540" fmla="*/ 166085 w 824741"/>
                  <a:gd name="connsiteY540" fmla="*/ 692388 h 989988"/>
                  <a:gd name="connsiteX541" fmla="*/ 173860 w 824741"/>
                  <a:gd name="connsiteY541" fmla="*/ 648190 h 989988"/>
                  <a:gd name="connsiteX542" fmla="*/ 312672 w 824741"/>
                  <a:gd name="connsiteY542" fmla="*/ 370446 h 989988"/>
                  <a:gd name="connsiteX543" fmla="*/ 353999 w 824741"/>
                  <a:gd name="connsiteY543" fmla="*/ 397120 h 989988"/>
                  <a:gd name="connsiteX544" fmla="*/ 349872 w 824741"/>
                  <a:gd name="connsiteY544" fmla="*/ 413148 h 989988"/>
                  <a:gd name="connsiteX545" fmla="*/ 309024 w 824741"/>
                  <a:gd name="connsiteY545" fmla="*/ 386534 h 989988"/>
                  <a:gd name="connsiteX546" fmla="*/ 312672 w 824741"/>
                  <a:gd name="connsiteY546" fmla="*/ 370446 h 989988"/>
                  <a:gd name="connsiteX547" fmla="*/ 496639 w 824741"/>
                  <a:gd name="connsiteY547" fmla="*/ 106337 h 989988"/>
                  <a:gd name="connsiteX548" fmla="*/ 496939 w 824741"/>
                  <a:gd name="connsiteY548" fmla="*/ 106636 h 989988"/>
                  <a:gd name="connsiteX549" fmla="*/ 497237 w 824741"/>
                  <a:gd name="connsiteY549" fmla="*/ 106935 h 989988"/>
                  <a:gd name="connsiteX550" fmla="*/ 497537 w 824741"/>
                  <a:gd name="connsiteY550" fmla="*/ 107234 h 989988"/>
                  <a:gd name="connsiteX551" fmla="*/ 497895 w 824741"/>
                  <a:gd name="connsiteY551" fmla="*/ 107593 h 989988"/>
                  <a:gd name="connsiteX552" fmla="*/ 498852 w 824741"/>
                  <a:gd name="connsiteY552" fmla="*/ 106995 h 989988"/>
                  <a:gd name="connsiteX553" fmla="*/ 532284 w 824741"/>
                  <a:gd name="connsiteY553" fmla="*/ 126313 h 989988"/>
                  <a:gd name="connsiteX554" fmla="*/ 497776 w 824741"/>
                  <a:gd name="connsiteY554" fmla="*/ 147963 h 989988"/>
                  <a:gd name="connsiteX555" fmla="*/ 463387 w 824741"/>
                  <a:gd name="connsiteY555" fmla="*/ 127868 h 989988"/>
                  <a:gd name="connsiteX556" fmla="*/ 464045 w 824741"/>
                  <a:gd name="connsiteY556" fmla="*/ 127509 h 989988"/>
                  <a:gd name="connsiteX557" fmla="*/ 463805 w 824741"/>
                  <a:gd name="connsiteY557" fmla="*/ 127389 h 989988"/>
                  <a:gd name="connsiteX558" fmla="*/ 463566 w 824741"/>
                  <a:gd name="connsiteY558" fmla="*/ 127270 h 989988"/>
                  <a:gd name="connsiteX559" fmla="*/ 463327 w 824741"/>
                  <a:gd name="connsiteY559" fmla="*/ 127091 h 989988"/>
                  <a:gd name="connsiteX560" fmla="*/ 463088 w 824741"/>
                  <a:gd name="connsiteY560" fmla="*/ 126911 h 989988"/>
                  <a:gd name="connsiteX561" fmla="*/ 462490 w 824741"/>
                  <a:gd name="connsiteY561" fmla="*/ 126432 h 989988"/>
                  <a:gd name="connsiteX562" fmla="*/ 461712 w 824741"/>
                  <a:gd name="connsiteY562" fmla="*/ 126911 h 989988"/>
                  <a:gd name="connsiteX563" fmla="*/ 429596 w 824741"/>
                  <a:gd name="connsiteY563" fmla="*/ 108131 h 989988"/>
                  <a:gd name="connsiteX564" fmla="*/ 449751 w 824741"/>
                  <a:gd name="connsiteY564" fmla="*/ 96947 h 989988"/>
                  <a:gd name="connsiteX565" fmla="*/ 449751 w 824741"/>
                  <a:gd name="connsiteY565" fmla="*/ 96888 h 989988"/>
                  <a:gd name="connsiteX566" fmla="*/ 465779 w 824741"/>
                  <a:gd name="connsiteY566" fmla="*/ 88036 h 989988"/>
                  <a:gd name="connsiteX567" fmla="*/ 497118 w 824741"/>
                  <a:gd name="connsiteY567" fmla="*/ 106038 h 989988"/>
                  <a:gd name="connsiteX568" fmla="*/ 496639 w 824741"/>
                  <a:gd name="connsiteY568" fmla="*/ 106337 h 989988"/>
                  <a:gd name="connsiteX569" fmla="*/ 313929 w 824741"/>
                  <a:gd name="connsiteY569" fmla="*/ 368771 h 989988"/>
                  <a:gd name="connsiteX570" fmla="*/ 327684 w 824741"/>
                  <a:gd name="connsiteY570" fmla="*/ 358963 h 989988"/>
                  <a:gd name="connsiteX571" fmla="*/ 368592 w 824741"/>
                  <a:gd name="connsiteY571" fmla="*/ 385278 h 989988"/>
                  <a:gd name="connsiteX572" fmla="*/ 355075 w 824741"/>
                  <a:gd name="connsiteY572" fmla="*/ 395445 h 989988"/>
                  <a:gd name="connsiteX573" fmla="*/ 313929 w 824741"/>
                  <a:gd name="connsiteY573" fmla="*/ 368771 h 989988"/>
                  <a:gd name="connsiteX574" fmla="*/ 364765 w 824741"/>
                  <a:gd name="connsiteY574" fmla="*/ 234085 h 989988"/>
                  <a:gd name="connsiteX575" fmla="*/ 437729 w 824741"/>
                  <a:gd name="connsiteY575" fmla="*/ 278881 h 989988"/>
                  <a:gd name="connsiteX576" fmla="*/ 424213 w 824741"/>
                  <a:gd name="connsiteY576" fmla="*/ 288450 h 989988"/>
                  <a:gd name="connsiteX577" fmla="*/ 361056 w 824741"/>
                  <a:gd name="connsiteY577" fmla="*/ 249456 h 989988"/>
                  <a:gd name="connsiteX578" fmla="*/ 364765 w 824741"/>
                  <a:gd name="connsiteY578" fmla="*/ 234085 h 989988"/>
                  <a:gd name="connsiteX579" fmla="*/ 87917 w 824741"/>
                  <a:gd name="connsiteY579" fmla="*/ 754767 h 989988"/>
                  <a:gd name="connsiteX580" fmla="*/ 115189 w 824741"/>
                  <a:gd name="connsiteY580" fmla="*/ 775161 h 989988"/>
                  <a:gd name="connsiteX581" fmla="*/ 111780 w 824741"/>
                  <a:gd name="connsiteY581" fmla="*/ 797768 h 989988"/>
                  <a:gd name="connsiteX582" fmla="*/ 84987 w 824741"/>
                  <a:gd name="connsiteY582" fmla="*/ 777553 h 989988"/>
                  <a:gd name="connsiteX583" fmla="*/ 87917 w 824741"/>
                  <a:gd name="connsiteY583" fmla="*/ 754767 h 989988"/>
                  <a:gd name="connsiteX584" fmla="*/ 499390 w 824741"/>
                  <a:gd name="connsiteY584" fmla="*/ 148920 h 989988"/>
                  <a:gd name="connsiteX585" fmla="*/ 532823 w 824741"/>
                  <a:gd name="connsiteY585" fmla="*/ 127928 h 989988"/>
                  <a:gd name="connsiteX586" fmla="*/ 528576 w 824741"/>
                  <a:gd name="connsiteY586" fmla="*/ 141444 h 989988"/>
                  <a:gd name="connsiteX587" fmla="*/ 508541 w 824741"/>
                  <a:gd name="connsiteY587" fmla="*/ 154243 h 989988"/>
                  <a:gd name="connsiteX588" fmla="*/ 499390 w 824741"/>
                  <a:gd name="connsiteY588" fmla="*/ 148920 h 989988"/>
                  <a:gd name="connsiteX589" fmla="*/ 202209 w 824741"/>
                  <a:gd name="connsiteY589" fmla="*/ 487488 h 989988"/>
                  <a:gd name="connsiteX590" fmla="*/ 273678 w 824741"/>
                  <a:gd name="connsiteY590" fmla="*/ 536291 h 989988"/>
                  <a:gd name="connsiteX591" fmla="*/ 270449 w 824741"/>
                  <a:gd name="connsiteY591" fmla="*/ 550346 h 989988"/>
                  <a:gd name="connsiteX592" fmla="*/ 199696 w 824741"/>
                  <a:gd name="connsiteY592" fmla="*/ 501723 h 989988"/>
                  <a:gd name="connsiteX593" fmla="*/ 202209 w 824741"/>
                  <a:gd name="connsiteY593" fmla="*/ 487488 h 989988"/>
                  <a:gd name="connsiteX594" fmla="*/ 84747 w 824741"/>
                  <a:gd name="connsiteY594" fmla="*/ 779826 h 989988"/>
                  <a:gd name="connsiteX595" fmla="*/ 111421 w 824741"/>
                  <a:gd name="connsiteY595" fmla="*/ 800041 h 989988"/>
                  <a:gd name="connsiteX596" fmla="*/ 110105 w 824741"/>
                  <a:gd name="connsiteY596" fmla="*/ 808893 h 989988"/>
                  <a:gd name="connsiteX597" fmla="*/ 83611 w 824741"/>
                  <a:gd name="connsiteY597" fmla="*/ 788797 h 989988"/>
                  <a:gd name="connsiteX598" fmla="*/ 84747 w 824741"/>
                  <a:gd name="connsiteY598" fmla="*/ 779826 h 989988"/>
                  <a:gd name="connsiteX599" fmla="*/ 510036 w 824741"/>
                  <a:gd name="connsiteY599" fmla="*/ 155140 h 989988"/>
                  <a:gd name="connsiteX600" fmla="*/ 526363 w 824741"/>
                  <a:gd name="connsiteY600" fmla="*/ 144674 h 989988"/>
                  <a:gd name="connsiteX601" fmla="*/ 526723 w 824741"/>
                  <a:gd name="connsiteY601" fmla="*/ 144913 h 989988"/>
                  <a:gd name="connsiteX602" fmla="*/ 521400 w 824741"/>
                  <a:gd name="connsiteY602" fmla="*/ 161779 h 989988"/>
                  <a:gd name="connsiteX603" fmla="*/ 510036 w 824741"/>
                  <a:gd name="connsiteY603" fmla="*/ 155140 h 989988"/>
                  <a:gd name="connsiteX604" fmla="*/ 181754 w 824741"/>
                  <a:gd name="connsiteY604" fmla="*/ 671157 h 989988"/>
                  <a:gd name="connsiteX605" fmla="*/ 194613 w 824741"/>
                  <a:gd name="connsiteY605" fmla="*/ 680367 h 989988"/>
                  <a:gd name="connsiteX606" fmla="*/ 188154 w 824741"/>
                  <a:gd name="connsiteY606" fmla="*/ 686049 h 989988"/>
                  <a:gd name="connsiteX607" fmla="*/ 180139 w 824741"/>
                  <a:gd name="connsiteY607" fmla="*/ 680247 h 989988"/>
                  <a:gd name="connsiteX608" fmla="*/ 181754 w 824741"/>
                  <a:gd name="connsiteY608" fmla="*/ 671157 h 989988"/>
                  <a:gd name="connsiteX609" fmla="*/ 308546 w 824741"/>
                  <a:gd name="connsiteY609" fmla="*/ 388687 h 989988"/>
                  <a:gd name="connsiteX610" fmla="*/ 349334 w 824741"/>
                  <a:gd name="connsiteY610" fmla="*/ 415242 h 989988"/>
                  <a:gd name="connsiteX611" fmla="*/ 339406 w 824741"/>
                  <a:gd name="connsiteY611" fmla="*/ 453698 h 989988"/>
                  <a:gd name="connsiteX612" fmla="*/ 299635 w 824741"/>
                  <a:gd name="connsiteY612" fmla="*/ 427502 h 989988"/>
                  <a:gd name="connsiteX613" fmla="*/ 308546 w 824741"/>
                  <a:gd name="connsiteY613" fmla="*/ 388687 h 989988"/>
                  <a:gd name="connsiteX614" fmla="*/ 199338 w 824741"/>
                  <a:gd name="connsiteY614" fmla="*/ 503935 h 989988"/>
                  <a:gd name="connsiteX615" fmla="*/ 269970 w 824741"/>
                  <a:gd name="connsiteY615" fmla="*/ 552439 h 989988"/>
                  <a:gd name="connsiteX616" fmla="*/ 264647 w 824741"/>
                  <a:gd name="connsiteY616" fmla="*/ 575585 h 989988"/>
                  <a:gd name="connsiteX617" fmla="*/ 210282 w 824741"/>
                  <a:gd name="connsiteY617" fmla="*/ 537906 h 989988"/>
                  <a:gd name="connsiteX618" fmla="*/ 195151 w 824741"/>
                  <a:gd name="connsiteY618" fmla="*/ 527440 h 989988"/>
                  <a:gd name="connsiteX619" fmla="*/ 199338 w 824741"/>
                  <a:gd name="connsiteY619" fmla="*/ 503935 h 989988"/>
                  <a:gd name="connsiteX620" fmla="*/ 184625 w 824741"/>
                  <a:gd name="connsiteY620" fmla="*/ 655846 h 989988"/>
                  <a:gd name="connsiteX621" fmla="*/ 205498 w 824741"/>
                  <a:gd name="connsiteY621" fmla="*/ 670858 h 989988"/>
                  <a:gd name="connsiteX622" fmla="*/ 196168 w 824741"/>
                  <a:gd name="connsiteY622" fmla="*/ 678991 h 989988"/>
                  <a:gd name="connsiteX623" fmla="*/ 182173 w 824741"/>
                  <a:gd name="connsiteY623" fmla="*/ 668884 h 989988"/>
                  <a:gd name="connsiteX624" fmla="*/ 184625 w 824741"/>
                  <a:gd name="connsiteY624" fmla="*/ 655846 h 989988"/>
                  <a:gd name="connsiteX625" fmla="*/ 215605 w 824741"/>
                  <a:gd name="connsiteY625" fmla="*/ 586170 h 989988"/>
                  <a:gd name="connsiteX626" fmla="*/ 243416 w 824741"/>
                  <a:gd name="connsiteY626" fmla="*/ 563384 h 989988"/>
                  <a:gd name="connsiteX627" fmla="*/ 264169 w 824741"/>
                  <a:gd name="connsiteY627" fmla="*/ 577738 h 989988"/>
                  <a:gd name="connsiteX628" fmla="*/ 255736 w 824741"/>
                  <a:gd name="connsiteY628" fmla="*/ 614340 h 989988"/>
                  <a:gd name="connsiteX629" fmla="*/ 215605 w 824741"/>
                  <a:gd name="connsiteY629" fmla="*/ 586170 h 989988"/>
                  <a:gd name="connsiteX630" fmla="*/ 550885 w 824741"/>
                  <a:gd name="connsiteY630" fmla="*/ 76434 h 989988"/>
                  <a:gd name="connsiteX631" fmla="*/ 558062 w 824741"/>
                  <a:gd name="connsiteY631" fmla="*/ 72187 h 989988"/>
                  <a:gd name="connsiteX632" fmla="*/ 589939 w 824741"/>
                  <a:gd name="connsiteY632" fmla="*/ 90189 h 989988"/>
                  <a:gd name="connsiteX633" fmla="*/ 582882 w 824741"/>
                  <a:gd name="connsiteY633" fmla="*/ 94615 h 989988"/>
                  <a:gd name="connsiteX634" fmla="*/ 550885 w 824741"/>
                  <a:gd name="connsiteY634" fmla="*/ 76434 h 989988"/>
                  <a:gd name="connsiteX635" fmla="*/ 93419 w 824741"/>
                  <a:gd name="connsiteY635" fmla="*/ 711227 h 989988"/>
                  <a:gd name="connsiteX636" fmla="*/ 121648 w 824741"/>
                  <a:gd name="connsiteY636" fmla="*/ 732100 h 989988"/>
                  <a:gd name="connsiteX637" fmla="*/ 121589 w 824741"/>
                  <a:gd name="connsiteY637" fmla="*/ 732399 h 989988"/>
                  <a:gd name="connsiteX638" fmla="*/ 121887 w 824741"/>
                  <a:gd name="connsiteY638" fmla="*/ 732459 h 989988"/>
                  <a:gd name="connsiteX639" fmla="*/ 122186 w 824741"/>
                  <a:gd name="connsiteY639" fmla="*/ 732519 h 989988"/>
                  <a:gd name="connsiteX640" fmla="*/ 122486 w 824741"/>
                  <a:gd name="connsiteY640" fmla="*/ 732639 h 989988"/>
                  <a:gd name="connsiteX641" fmla="*/ 122784 w 824741"/>
                  <a:gd name="connsiteY641" fmla="*/ 732758 h 989988"/>
                  <a:gd name="connsiteX642" fmla="*/ 123682 w 824741"/>
                  <a:gd name="connsiteY642" fmla="*/ 733236 h 989988"/>
                  <a:gd name="connsiteX643" fmla="*/ 124519 w 824741"/>
                  <a:gd name="connsiteY643" fmla="*/ 733834 h 989988"/>
                  <a:gd name="connsiteX644" fmla="*/ 125237 w 824741"/>
                  <a:gd name="connsiteY644" fmla="*/ 734552 h 989988"/>
                  <a:gd name="connsiteX645" fmla="*/ 125835 w 824741"/>
                  <a:gd name="connsiteY645" fmla="*/ 735389 h 989988"/>
                  <a:gd name="connsiteX646" fmla="*/ 153226 w 824741"/>
                  <a:gd name="connsiteY646" fmla="*/ 755604 h 989988"/>
                  <a:gd name="connsiteX647" fmla="*/ 146109 w 824741"/>
                  <a:gd name="connsiteY647" fmla="*/ 795974 h 989988"/>
                  <a:gd name="connsiteX648" fmla="*/ 116983 w 824741"/>
                  <a:gd name="connsiteY648" fmla="*/ 774085 h 989988"/>
                  <a:gd name="connsiteX649" fmla="*/ 117043 w 824741"/>
                  <a:gd name="connsiteY649" fmla="*/ 773427 h 989988"/>
                  <a:gd name="connsiteX650" fmla="*/ 116624 w 824741"/>
                  <a:gd name="connsiteY650" fmla="*/ 773248 h 989988"/>
                  <a:gd name="connsiteX651" fmla="*/ 116266 w 824741"/>
                  <a:gd name="connsiteY651" fmla="*/ 773068 h 989988"/>
                  <a:gd name="connsiteX652" fmla="*/ 115906 w 824741"/>
                  <a:gd name="connsiteY652" fmla="*/ 772829 h 989988"/>
                  <a:gd name="connsiteX653" fmla="*/ 115548 w 824741"/>
                  <a:gd name="connsiteY653" fmla="*/ 772530 h 989988"/>
                  <a:gd name="connsiteX654" fmla="*/ 115488 w 824741"/>
                  <a:gd name="connsiteY654" fmla="*/ 773008 h 989988"/>
                  <a:gd name="connsiteX655" fmla="*/ 88157 w 824741"/>
                  <a:gd name="connsiteY655" fmla="*/ 752435 h 989988"/>
                  <a:gd name="connsiteX656" fmla="*/ 93419 w 824741"/>
                  <a:gd name="connsiteY656" fmla="*/ 711227 h 989988"/>
                  <a:gd name="connsiteX657" fmla="*/ 185224 w 824741"/>
                  <a:gd name="connsiteY657" fmla="*/ 587247 h 989988"/>
                  <a:gd name="connsiteX658" fmla="*/ 198441 w 824741"/>
                  <a:gd name="connsiteY658" fmla="*/ 576661 h 989988"/>
                  <a:gd name="connsiteX659" fmla="*/ 213572 w 824741"/>
                  <a:gd name="connsiteY659" fmla="*/ 587247 h 989988"/>
                  <a:gd name="connsiteX660" fmla="*/ 255258 w 824741"/>
                  <a:gd name="connsiteY660" fmla="*/ 616433 h 989988"/>
                  <a:gd name="connsiteX661" fmla="*/ 251250 w 824741"/>
                  <a:gd name="connsiteY661" fmla="*/ 633897 h 989988"/>
                  <a:gd name="connsiteX662" fmla="*/ 185224 w 824741"/>
                  <a:gd name="connsiteY662" fmla="*/ 587247 h 989988"/>
                  <a:gd name="connsiteX663" fmla="*/ 154662 w 824741"/>
                  <a:gd name="connsiteY663" fmla="*/ 756681 h 989988"/>
                  <a:gd name="connsiteX664" fmla="*/ 163154 w 824741"/>
                  <a:gd name="connsiteY664" fmla="*/ 762960 h 989988"/>
                  <a:gd name="connsiteX665" fmla="*/ 159088 w 824741"/>
                  <a:gd name="connsiteY665" fmla="*/ 785089 h 989988"/>
                  <a:gd name="connsiteX666" fmla="*/ 147844 w 824741"/>
                  <a:gd name="connsiteY666" fmla="*/ 795496 h 989988"/>
                  <a:gd name="connsiteX667" fmla="*/ 154662 w 824741"/>
                  <a:gd name="connsiteY667" fmla="*/ 756681 h 989988"/>
                  <a:gd name="connsiteX668" fmla="*/ 437550 w 824741"/>
                  <a:gd name="connsiteY668" fmla="*/ 187675 h 989988"/>
                  <a:gd name="connsiteX669" fmla="*/ 446641 w 824741"/>
                  <a:gd name="connsiteY669" fmla="*/ 181993 h 989988"/>
                  <a:gd name="connsiteX670" fmla="*/ 516077 w 824741"/>
                  <a:gd name="connsiteY670" fmla="*/ 223320 h 989988"/>
                  <a:gd name="connsiteX671" fmla="*/ 507405 w 824741"/>
                  <a:gd name="connsiteY671" fmla="*/ 229540 h 989988"/>
                  <a:gd name="connsiteX672" fmla="*/ 437550 w 824741"/>
                  <a:gd name="connsiteY672" fmla="*/ 187675 h 989988"/>
                  <a:gd name="connsiteX673" fmla="*/ 528876 w 824741"/>
                  <a:gd name="connsiteY673" fmla="*/ 143119 h 989988"/>
                  <a:gd name="connsiteX674" fmla="*/ 528876 w 824741"/>
                  <a:gd name="connsiteY674" fmla="*/ 143119 h 989988"/>
                  <a:gd name="connsiteX675" fmla="*/ 560095 w 824741"/>
                  <a:gd name="connsiteY675" fmla="*/ 161121 h 989988"/>
                  <a:gd name="connsiteX676" fmla="*/ 559915 w 824741"/>
                  <a:gd name="connsiteY676" fmla="*/ 161838 h 989988"/>
                  <a:gd name="connsiteX677" fmla="*/ 528756 w 824741"/>
                  <a:gd name="connsiteY677" fmla="*/ 143717 h 989988"/>
                  <a:gd name="connsiteX678" fmla="*/ 528876 w 824741"/>
                  <a:gd name="connsiteY678" fmla="*/ 143119 h 989988"/>
                  <a:gd name="connsiteX679" fmla="*/ 116684 w 824741"/>
                  <a:gd name="connsiteY679" fmla="*/ 776298 h 989988"/>
                  <a:gd name="connsiteX680" fmla="*/ 145810 w 824741"/>
                  <a:gd name="connsiteY680" fmla="*/ 798127 h 989988"/>
                  <a:gd name="connsiteX681" fmla="*/ 141863 w 824741"/>
                  <a:gd name="connsiteY681" fmla="*/ 820495 h 989988"/>
                  <a:gd name="connsiteX682" fmla="*/ 113335 w 824741"/>
                  <a:gd name="connsiteY682" fmla="*/ 798845 h 989988"/>
                  <a:gd name="connsiteX683" fmla="*/ 116684 w 824741"/>
                  <a:gd name="connsiteY683" fmla="*/ 776298 h 989988"/>
                  <a:gd name="connsiteX684" fmla="*/ 184326 w 824741"/>
                  <a:gd name="connsiteY684" fmla="*/ 589101 h 989988"/>
                  <a:gd name="connsiteX685" fmla="*/ 250832 w 824741"/>
                  <a:gd name="connsiteY685" fmla="*/ 635930 h 989988"/>
                  <a:gd name="connsiteX686" fmla="*/ 245091 w 824741"/>
                  <a:gd name="connsiteY686" fmla="*/ 661169 h 989988"/>
                  <a:gd name="connsiteX687" fmla="*/ 179841 w 824741"/>
                  <a:gd name="connsiteY687" fmla="*/ 614758 h 989988"/>
                  <a:gd name="connsiteX688" fmla="*/ 184326 w 824741"/>
                  <a:gd name="connsiteY688" fmla="*/ 589101 h 989988"/>
                  <a:gd name="connsiteX689" fmla="*/ 188274 w 824741"/>
                  <a:gd name="connsiteY689" fmla="*/ 687843 h 989988"/>
                  <a:gd name="connsiteX690" fmla="*/ 195810 w 824741"/>
                  <a:gd name="connsiteY690" fmla="*/ 681264 h 989988"/>
                  <a:gd name="connsiteX691" fmla="*/ 221228 w 824741"/>
                  <a:gd name="connsiteY691" fmla="*/ 699685 h 989988"/>
                  <a:gd name="connsiteX692" fmla="*/ 213811 w 824741"/>
                  <a:gd name="connsiteY692" fmla="*/ 706383 h 989988"/>
                  <a:gd name="connsiteX693" fmla="*/ 188274 w 824741"/>
                  <a:gd name="connsiteY693" fmla="*/ 687843 h 989988"/>
                  <a:gd name="connsiteX694" fmla="*/ 112916 w 824741"/>
                  <a:gd name="connsiteY694" fmla="*/ 801177 h 989988"/>
                  <a:gd name="connsiteX695" fmla="*/ 141444 w 824741"/>
                  <a:gd name="connsiteY695" fmla="*/ 822708 h 989988"/>
                  <a:gd name="connsiteX696" fmla="*/ 139889 w 824741"/>
                  <a:gd name="connsiteY696" fmla="*/ 831500 h 989988"/>
                  <a:gd name="connsiteX697" fmla="*/ 111541 w 824741"/>
                  <a:gd name="connsiteY697" fmla="*/ 810029 h 989988"/>
                  <a:gd name="connsiteX698" fmla="*/ 112916 w 824741"/>
                  <a:gd name="connsiteY698" fmla="*/ 801177 h 989988"/>
                  <a:gd name="connsiteX699" fmla="*/ 528038 w 824741"/>
                  <a:gd name="connsiteY699" fmla="*/ 145690 h 989988"/>
                  <a:gd name="connsiteX700" fmla="*/ 559198 w 824741"/>
                  <a:gd name="connsiteY700" fmla="*/ 163752 h 989988"/>
                  <a:gd name="connsiteX701" fmla="*/ 553576 w 824741"/>
                  <a:gd name="connsiteY701" fmla="*/ 180618 h 989988"/>
                  <a:gd name="connsiteX702" fmla="*/ 522715 w 824741"/>
                  <a:gd name="connsiteY702" fmla="*/ 162616 h 989988"/>
                  <a:gd name="connsiteX703" fmla="*/ 528038 w 824741"/>
                  <a:gd name="connsiteY703" fmla="*/ 145690 h 989988"/>
                  <a:gd name="connsiteX704" fmla="*/ 197364 w 824741"/>
                  <a:gd name="connsiteY704" fmla="*/ 679889 h 989988"/>
                  <a:gd name="connsiteX705" fmla="*/ 206694 w 824741"/>
                  <a:gd name="connsiteY705" fmla="*/ 671754 h 989988"/>
                  <a:gd name="connsiteX706" fmla="*/ 231992 w 824741"/>
                  <a:gd name="connsiteY706" fmla="*/ 689936 h 989988"/>
                  <a:gd name="connsiteX707" fmla="*/ 222782 w 824741"/>
                  <a:gd name="connsiteY707" fmla="*/ 698309 h 989988"/>
                  <a:gd name="connsiteX708" fmla="*/ 197364 w 824741"/>
                  <a:gd name="connsiteY708" fmla="*/ 679889 h 989988"/>
                  <a:gd name="connsiteX709" fmla="*/ 179363 w 824741"/>
                  <a:gd name="connsiteY709" fmla="*/ 616971 h 989988"/>
                  <a:gd name="connsiteX710" fmla="*/ 244552 w 824741"/>
                  <a:gd name="connsiteY710" fmla="*/ 663262 h 989988"/>
                  <a:gd name="connsiteX711" fmla="*/ 241801 w 824741"/>
                  <a:gd name="connsiteY711" fmla="*/ 675164 h 989988"/>
                  <a:gd name="connsiteX712" fmla="*/ 177209 w 824741"/>
                  <a:gd name="connsiteY712" fmla="*/ 629052 h 989988"/>
                  <a:gd name="connsiteX713" fmla="*/ 179363 w 824741"/>
                  <a:gd name="connsiteY713" fmla="*/ 616971 h 989988"/>
                  <a:gd name="connsiteX714" fmla="*/ 275054 w 824741"/>
                  <a:gd name="connsiteY714" fmla="*/ 537129 h 989988"/>
                  <a:gd name="connsiteX715" fmla="*/ 311955 w 824741"/>
                  <a:gd name="connsiteY715" fmla="*/ 562248 h 989988"/>
                  <a:gd name="connsiteX716" fmla="*/ 308247 w 824741"/>
                  <a:gd name="connsiteY716" fmla="*/ 576243 h 989988"/>
                  <a:gd name="connsiteX717" fmla="*/ 271824 w 824741"/>
                  <a:gd name="connsiteY717" fmla="*/ 551243 h 989988"/>
                  <a:gd name="connsiteX718" fmla="*/ 275054 w 824741"/>
                  <a:gd name="connsiteY718" fmla="*/ 537129 h 989988"/>
                  <a:gd name="connsiteX719" fmla="*/ 355315 w 824741"/>
                  <a:gd name="connsiteY719" fmla="*/ 398017 h 989988"/>
                  <a:gd name="connsiteX720" fmla="*/ 399513 w 824741"/>
                  <a:gd name="connsiteY720" fmla="*/ 426605 h 989988"/>
                  <a:gd name="connsiteX721" fmla="*/ 394907 w 824741"/>
                  <a:gd name="connsiteY721" fmla="*/ 442574 h 989988"/>
                  <a:gd name="connsiteX722" fmla="*/ 351189 w 824741"/>
                  <a:gd name="connsiteY722" fmla="*/ 414105 h 989988"/>
                  <a:gd name="connsiteX723" fmla="*/ 355315 w 824741"/>
                  <a:gd name="connsiteY723" fmla="*/ 398017 h 989988"/>
                  <a:gd name="connsiteX724" fmla="*/ 560514 w 824741"/>
                  <a:gd name="connsiteY724" fmla="*/ 164410 h 989988"/>
                  <a:gd name="connsiteX725" fmla="*/ 564999 w 824741"/>
                  <a:gd name="connsiteY725" fmla="*/ 167042 h 989988"/>
                  <a:gd name="connsiteX726" fmla="*/ 559257 w 824741"/>
                  <a:gd name="connsiteY726" fmla="*/ 183848 h 989988"/>
                  <a:gd name="connsiteX727" fmla="*/ 554892 w 824741"/>
                  <a:gd name="connsiteY727" fmla="*/ 181276 h 989988"/>
                  <a:gd name="connsiteX728" fmla="*/ 560514 w 824741"/>
                  <a:gd name="connsiteY728" fmla="*/ 164410 h 989988"/>
                  <a:gd name="connsiteX729" fmla="*/ 356512 w 824741"/>
                  <a:gd name="connsiteY729" fmla="*/ 396342 h 989988"/>
                  <a:gd name="connsiteX730" fmla="*/ 369968 w 824741"/>
                  <a:gd name="connsiteY730" fmla="*/ 386116 h 989988"/>
                  <a:gd name="connsiteX731" fmla="*/ 413807 w 824741"/>
                  <a:gd name="connsiteY731" fmla="*/ 414285 h 989988"/>
                  <a:gd name="connsiteX732" fmla="*/ 400708 w 824741"/>
                  <a:gd name="connsiteY732" fmla="*/ 424871 h 989988"/>
                  <a:gd name="connsiteX733" fmla="*/ 356512 w 824741"/>
                  <a:gd name="connsiteY733" fmla="*/ 396342 h 989988"/>
                  <a:gd name="connsiteX734" fmla="*/ 176850 w 824741"/>
                  <a:gd name="connsiteY734" fmla="*/ 631265 h 989988"/>
                  <a:gd name="connsiteX735" fmla="*/ 241323 w 824741"/>
                  <a:gd name="connsiteY735" fmla="*/ 677317 h 989988"/>
                  <a:gd name="connsiteX736" fmla="*/ 237973 w 824741"/>
                  <a:gd name="connsiteY736" fmla="*/ 691790 h 989988"/>
                  <a:gd name="connsiteX737" fmla="*/ 174159 w 824741"/>
                  <a:gd name="connsiteY737" fmla="*/ 646037 h 989988"/>
                  <a:gd name="connsiteX738" fmla="*/ 176850 w 824741"/>
                  <a:gd name="connsiteY738" fmla="*/ 631265 h 989988"/>
                  <a:gd name="connsiteX739" fmla="*/ 164590 w 824741"/>
                  <a:gd name="connsiteY739" fmla="*/ 763977 h 989988"/>
                  <a:gd name="connsiteX740" fmla="*/ 186061 w 824741"/>
                  <a:gd name="connsiteY740" fmla="*/ 779946 h 989988"/>
                  <a:gd name="connsiteX741" fmla="*/ 171946 w 824741"/>
                  <a:gd name="connsiteY741" fmla="*/ 793223 h 989988"/>
                  <a:gd name="connsiteX742" fmla="*/ 160702 w 824741"/>
                  <a:gd name="connsiteY742" fmla="*/ 784790 h 989988"/>
                  <a:gd name="connsiteX743" fmla="*/ 164590 w 824741"/>
                  <a:gd name="connsiteY743" fmla="*/ 763977 h 989988"/>
                  <a:gd name="connsiteX744" fmla="*/ 223978 w 824741"/>
                  <a:gd name="connsiteY744" fmla="*/ 699086 h 989988"/>
                  <a:gd name="connsiteX745" fmla="*/ 233189 w 824741"/>
                  <a:gd name="connsiteY745" fmla="*/ 690714 h 989988"/>
                  <a:gd name="connsiteX746" fmla="*/ 237555 w 824741"/>
                  <a:gd name="connsiteY746" fmla="*/ 693823 h 989988"/>
                  <a:gd name="connsiteX747" fmla="*/ 234564 w 824741"/>
                  <a:gd name="connsiteY747" fmla="*/ 706742 h 989988"/>
                  <a:gd name="connsiteX748" fmla="*/ 223978 w 824741"/>
                  <a:gd name="connsiteY748" fmla="*/ 699086 h 989988"/>
                  <a:gd name="connsiteX749" fmla="*/ 271345 w 824741"/>
                  <a:gd name="connsiteY749" fmla="*/ 553396 h 989988"/>
                  <a:gd name="connsiteX750" fmla="*/ 307709 w 824741"/>
                  <a:gd name="connsiteY750" fmla="*/ 578396 h 989988"/>
                  <a:gd name="connsiteX751" fmla="*/ 301788 w 824741"/>
                  <a:gd name="connsiteY751" fmla="*/ 601362 h 989988"/>
                  <a:gd name="connsiteX752" fmla="*/ 266023 w 824741"/>
                  <a:gd name="connsiteY752" fmla="*/ 576601 h 989988"/>
                  <a:gd name="connsiteX753" fmla="*/ 271345 w 824741"/>
                  <a:gd name="connsiteY753" fmla="*/ 553396 h 989988"/>
                  <a:gd name="connsiteX754" fmla="*/ 215067 w 824741"/>
                  <a:gd name="connsiteY754" fmla="*/ 707220 h 989988"/>
                  <a:gd name="connsiteX755" fmla="*/ 222483 w 824741"/>
                  <a:gd name="connsiteY755" fmla="*/ 700522 h 989988"/>
                  <a:gd name="connsiteX756" fmla="*/ 234086 w 824741"/>
                  <a:gd name="connsiteY756" fmla="*/ 708835 h 989988"/>
                  <a:gd name="connsiteX757" fmla="*/ 231694 w 824741"/>
                  <a:gd name="connsiteY757" fmla="*/ 719301 h 989988"/>
                  <a:gd name="connsiteX758" fmla="*/ 215067 w 824741"/>
                  <a:gd name="connsiteY758" fmla="*/ 707220 h 989988"/>
                  <a:gd name="connsiteX759" fmla="*/ 350710 w 824741"/>
                  <a:gd name="connsiteY759" fmla="*/ 416079 h 989988"/>
                  <a:gd name="connsiteX760" fmla="*/ 394429 w 824741"/>
                  <a:gd name="connsiteY760" fmla="*/ 444487 h 989988"/>
                  <a:gd name="connsiteX761" fmla="*/ 383305 w 824741"/>
                  <a:gd name="connsiteY761" fmla="*/ 482644 h 989988"/>
                  <a:gd name="connsiteX762" fmla="*/ 340722 w 824741"/>
                  <a:gd name="connsiteY762" fmla="*/ 454535 h 989988"/>
                  <a:gd name="connsiteX763" fmla="*/ 350710 w 824741"/>
                  <a:gd name="connsiteY763" fmla="*/ 416079 h 989988"/>
                  <a:gd name="connsiteX764" fmla="*/ 566195 w 824741"/>
                  <a:gd name="connsiteY764" fmla="*/ 167759 h 989988"/>
                  <a:gd name="connsiteX765" fmla="*/ 581685 w 824741"/>
                  <a:gd name="connsiteY765" fmla="*/ 176790 h 989988"/>
                  <a:gd name="connsiteX766" fmla="*/ 566016 w 824741"/>
                  <a:gd name="connsiteY766" fmla="*/ 187914 h 989988"/>
                  <a:gd name="connsiteX767" fmla="*/ 560454 w 824741"/>
                  <a:gd name="connsiteY767" fmla="*/ 184625 h 989988"/>
                  <a:gd name="connsiteX768" fmla="*/ 566195 w 824741"/>
                  <a:gd name="connsiteY768" fmla="*/ 167759 h 989988"/>
                  <a:gd name="connsiteX769" fmla="*/ 561351 w 824741"/>
                  <a:gd name="connsiteY769" fmla="*/ 161838 h 989988"/>
                  <a:gd name="connsiteX770" fmla="*/ 584137 w 824741"/>
                  <a:gd name="connsiteY770" fmla="*/ 174996 h 989988"/>
                  <a:gd name="connsiteX771" fmla="*/ 583540 w 824741"/>
                  <a:gd name="connsiteY771" fmla="*/ 175474 h 989988"/>
                  <a:gd name="connsiteX772" fmla="*/ 561112 w 824741"/>
                  <a:gd name="connsiteY772" fmla="*/ 162436 h 989988"/>
                  <a:gd name="connsiteX773" fmla="*/ 561351 w 824741"/>
                  <a:gd name="connsiteY773" fmla="*/ 161838 h 989988"/>
                  <a:gd name="connsiteX774" fmla="*/ 166264 w 824741"/>
                  <a:gd name="connsiteY774" fmla="*/ 694182 h 989988"/>
                  <a:gd name="connsiteX775" fmla="*/ 178704 w 824741"/>
                  <a:gd name="connsiteY775" fmla="*/ 683417 h 989988"/>
                  <a:gd name="connsiteX776" fmla="*/ 231215 w 824741"/>
                  <a:gd name="connsiteY776" fmla="*/ 721395 h 989988"/>
                  <a:gd name="connsiteX777" fmla="*/ 227267 w 824741"/>
                  <a:gd name="connsiteY777" fmla="*/ 738679 h 989988"/>
                  <a:gd name="connsiteX778" fmla="*/ 166264 w 824741"/>
                  <a:gd name="connsiteY778" fmla="*/ 694182 h 989988"/>
                  <a:gd name="connsiteX779" fmla="*/ 534438 w 824741"/>
                  <a:gd name="connsiteY779" fmla="*/ 127509 h 989988"/>
                  <a:gd name="connsiteX780" fmla="*/ 598850 w 824741"/>
                  <a:gd name="connsiteY780" fmla="*/ 164589 h 989988"/>
                  <a:gd name="connsiteX781" fmla="*/ 585872 w 824741"/>
                  <a:gd name="connsiteY781" fmla="*/ 173740 h 989988"/>
                  <a:gd name="connsiteX782" fmla="*/ 530071 w 824741"/>
                  <a:gd name="connsiteY782" fmla="*/ 141324 h 989988"/>
                  <a:gd name="connsiteX783" fmla="*/ 534438 w 824741"/>
                  <a:gd name="connsiteY783" fmla="*/ 127509 h 989988"/>
                  <a:gd name="connsiteX784" fmla="*/ 508780 w 824741"/>
                  <a:gd name="connsiteY784" fmla="*/ 230377 h 989988"/>
                  <a:gd name="connsiteX785" fmla="*/ 517512 w 824741"/>
                  <a:gd name="connsiteY785" fmla="*/ 224217 h 989988"/>
                  <a:gd name="connsiteX786" fmla="*/ 553158 w 824741"/>
                  <a:gd name="connsiteY786" fmla="*/ 245449 h 989988"/>
                  <a:gd name="connsiteX787" fmla="*/ 544665 w 824741"/>
                  <a:gd name="connsiteY787" fmla="*/ 251848 h 989988"/>
                  <a:gd name="connsiteX788" fmla="*/ 508780 w 824741"/>
                  <a:gd name="connsiteY788" fmla="*/ 230377 h 989988"/>
                  <a:gd name="connsiteX789" fmla="*/ 252147 w 824741"/>
                  <a:gd name="connsiteY789" fmla="*/ 636947 h 989988"/>
                  <a:gd name="connsiteX790" fmla="*/ 286357 w 824741"/>
                  <a:gd name="connsiteY790" fmla="*/ 660989 h 989988"/>
                  <a:gd name="connsiteX791" fmla="*/ 279898 w 824741"/>
                  <a:gd name="connsiteY791" fmla="*/ 685929 h 989988"/>
                  <a:gd name="connsiteX792" fmla="*/ 246406 w 824741"/>
                  <a:gd name="connsiteY792" fmla="*/ 662066 h 989988"/>
                  <a:gd name="connsiteX793" fmla="*/ 252147 w 824741"/>
                  <a:gd name="connsiteY793" fmla="*/ 636947 h 989988"/>
                  <a:gd name="connsiteX794" fmla="*/ 245868 w 824741"/>
                  <a:gd name="connsiteY794" fmla="*/ 664219 h 989988"/>
                  <a:gd name="connsiteX795" fmla="*/ 279360 w 824741"/>
                  <a:gd name="connsiteY795" fmla="*/ 687962 h 989988"/>
                  <a:gd name="connsiteX796" fmla="*/ 276310 w 824741"/>
                  <a:gd name="connsiteY796" fmla="*/ 699804 h 989988"/>
                  <a:gd name="connsiteX797" fmla="*/ 243117 w 824741"/>
                  <a:gd name="connsiteY797" fmla="*/ 676121 h 989988"/>
                  <a:gd name="connsiteX798" fmla="*/ 245868 w 824741"/>
                  <a:gd name="connsiteY798" fmla="*/ 664219 h 989988"/>
                  <a:gd name="connsiteX799" fmla="*/ 242698 w 824741"/>
                  <a:gd name="connsiteY799" fmla="*/ 678274 h 989988"/>
                  <a:gd name="connsiteX800" fmla="*/ 275772 w 824741"/>
                  <a:gd name="connsiteY800" fmla="*/ 701898 h 989988"/>
                  <a:gd name="connsiteX801" fmla="*/ 272064 w 824741"/>
                  <a:gd name="connsiteY801" fmla="*/ 716251 h 989988"/>
                  <a:gd name="connsiteX802" fmla="*/ 239349 w 824741"/>
                  <a:gd name="connsiteY802" fmla="*/ 692747 h 989988"/>
                  <a:gd name="connsiteX803" fmla="*/ 242698 w 824741"/>
                  <a:gd name="connsiteY803" fmla="*/ 678274 h 989988"/>
                  <a:gd name="connsiteX804" fmla="*/ 424452 w 824741"/>
                  <a:gd name="connsiteY804" fmla="*/ 290304 h 989988"/>
                  <a:gd name="connsiteX805" fmla="*/ 439225 w 824741"/>
                  <a:gd name="connsiteY805" fmla="*/ 279838 h 989988"/>
                  <a:gd name="connsiteX806" fmla="*/ 476963 w 824741"/>
                  <a:gd name="connsiteY806" fmla="*/ 303043 h 989988"/>
                  <a:gd name="connsiteX807" fmla="*/ 477442 w 824741"/>
                  <a:gd name="connsiteY807" fmla="*/ 303222 h 989988"/>
                  <a:gd name="connsiteX808" fmla="*/ 477920 w 824741"/>
                  <a:gd name="connsiteY808" fmla="*/ 303462 h 989988"/>
                  <a:gd name="connsiteX809" fmla="*/ 478399 w 824741"/>
                  <a:gd name="connsiteY809" fmla="*/ 303761 h 989988"/>
                  <a:gd name="connsiteX810" fmla="*/ 478817 w 824741"/>
                  <a:gd name="connsiteY810" fmla="*/ 304120 h 989988"/>
                  <a:gd name="connsiteX811" fmla="*/ 519067 w 824741"/>
                  <a:gd name="connsiteY811" fmla="*/ 328880 h 989988"/>
                  <a:gd name="connsiteX812" fmla="*/ 474810 w 824741"/>
                  <a:gd name="connsiteY812" fmla="*/ 364824 h 989988"/>
                  <a:gd name="connsiteX813" fmla="*/ 432885 w 824741"/>
                  <a:gd name="connsiteY813" fmla="*/ 338569 h 989988"/>
                  <a:gd name="connsiteX814" fmla="*/ 433124 w 824741"/>
                  <a:gd name="connsiteY814" fmla="*/ 338389 h 989988"/>
                  <a:gd name="connsiteX815" fmla="*/ 432825 w 824741"/>
                  <a:gd name="connsiteY815" fmla="*/ 338210 h 989988"/>
                  <a:gd name="connsiteX816" fmla="*/ 432526 w 824741"/>
                  <a:gd name="connsiteY816" fmla="*/ 337970 h 989988"/>
                  <a:gd name="connsiteX817" fmla="*/ 432227 w 824741"/>
                  <a:gd name="connsiteY817" fmla="*/ 337671 h 989988"/>
                  <a:gd name="connsiteX818" fmla="*/ 431988 w 824741"/>
                  <a:gd name="connsiteY818" fmla="*/ 337373 h 989988"/>
                  <a:gd name="connsiteX819" fmla="*/ 431509 w 824741"/>
                  <a:gd name="connsiteY819" fmla="*/ 337671 h 989988"/>
                  <a:gd name="connsiteX820" fmla="*/ 392455 w 824741"/>
                  <a:gd name="connsiteY820" fmla="*/ 313091 h 989988"/>
                  <a:gd name="connsiteX821" fmla="*/ 424452 w 824741"/>
                  <a:gd name="connsiteY821" fmla="*/ 290304 h 989988"/>
                  <a:gd name="connsiteX822" fmla="*/ 424452 w 824741"/>
                  <a:gd name="connsiteY822" fmla="*/ 290304 h 989988"/>
                  <a:gd name="connsiteX823" fmla="*/ 173142 w 824741"/>
                  <a:gd name="connsiteY823" fmla="*/ 794060 h 989988"/>
                  <a:gd name="connsiteX824" fmla="*/ 187257 w 824741"/>
                  <a:gd name="connsiteY824" fmla="*/ 780723 h 989988"/>
                  <a:gd name="connsiteX825" fmla="*/ 213153 w 824741"/>
                  <a:gd name="connsiteY825" fmla="*/ 799981 h 989988"/>
                  <a:gd name="connsiteX826" fmla="*/ 208429 w 824741"/>
                  <a:gd name="connsiteY826" fmla="*/ 820495 h 989988"/>
                  <a:gd name="connsiteX827" fmla="*/ 173142 w 824741"/>
                  <a:gd name="connsiteY827" fmla="*/ 794060 h 989988"/>
                  <a:gd name="connsiteX828" fmla="*/ 313210 w 824741"/>
                  <a:gd name="connsiteY828" fmla="*/ 563205 h 989988"/>
                  <a:gd name="connsiteX829" fmla="*/ 352564 w 824741"/>
                  <a:gd name="connsiteY829" fmla="*/ 589998 h 989988"/>
                  <a:gd name="connsiteX830" fmla="*/ 348557 w 824741"/>
                  <a:gd name="connsiteY830" fmla="*/ 603933 h 989988"/>
                  <a:gd name="connsiteX831" fmla="*/ 309562 w 824741"/>
                  <a:gd name="connsiteY831" fmla="*/ 577140 h 989988"/>
                  <a:gd name="connsiteX832" fmla="*/ 313210 w 824741"/>
                  <a:gd name="connsiteY832" fmla="*/ 563205 h 989988"/>
                  <a:gd name="connsiteX833" fmla="*/ 476066 w 824741"/>
                  <a:gd name="connsiteY833" fmla="*/ 365601 h 989988"/>
                  <a:gd name="connsiteX834" fmla="*/ 519007 w 824741"/>
                  <a:gd name="connsiteY834" fmla="*/ 330734 h 989988"/>
                  <a:gd name="connsiteX835" fmla="*/ 514044 w 824741"/>
                  <a:gd name="connsiteY835" fmla="*/ 345147 h 989988"/>
                  <a:gd name="connsiteX836" fmla="*/ 483482 w 824741"/>
                  <a:gd name="connsiteY836" fmla="*/ 370326 h 989988"/>
                  <a:gd name="connsiteX837" fmla="*/ 476066 w 824741"/>
                  <a:gd name="connsiteY837" fmla="*/ 365601 h 989988"/>
                  <a:gd name="connsiteX838" fmla="*/ 584497 w 824741"/>
                  <a:gd name="connsiteY838" fmla="*/ 95452 h 989988"/>
                  <a:gd name="connsiteX839" fmla="*/ 591553 w 824741"/>
                  <a:gd name="connsiteY839" fmla="*/ 91027 h 989988"/>
                  <a:gd name="connsiteX840" fmla="*/ 653394 w 824741"/>
                  <a:gd name="connsiteY840" fmla="*/ 125834 h 989988"/>
                  <a:gd name="connsiteX841" fmla="*/ 646636 w 824741"/>
                  <a:gd name="connsiteY841" fmla="*/ 130559 h 989988"/>
                  <a:gd name="connsiteX842" fmla="*/ 584497 w 824741"/>
                  <a:gd name="connsiteY842" fmla="*/ 95452 h 989988"/>
                  <a:gd name="connsiteX843" fmla="*/ 147964 w 824741"/>
                  <a:gd name="connsiteY843" fmla="*/ 797350 h 989988"/>
                  <a:gd name="connsiteX844" fmla="*/ 159626 w 824741"/>
                  <a:gd name="connsiteY844" fmla="*/ 786525 h 989988"/>
                  <a:gd name="connsiteX845" fmla="*/ 207950 w 824741"/>
                  <a:gd name="connsiteY845" fmla="*/ 822648 h 989988"/>
                  <a:gd name="connsiteX846" fmla="*/ 204062 w 824741"/>
                  <a:gd name="connsiteY846" fmla="*/ 839574 h 989988"/>
                  <a:gd name="connsiteX847" fmla="*/ 147964 w 824741"/>
                  <a:gd name="connsiteY847" fmla="*/ 797350 h 989988"/>
                  <a:gd name="connsiteX848" fmla="*/ 309024 w 824741"/>
                  <a:gd name="connsiteY848" fmla="*/ 579233 h 989988"/>
                  <a:gd name="connsiteX849" fmla="*/ 347959 w 824741"/>
                  <a:gd name="connsiteY849" fmla="*/ 605907 h 989988"/>
                  <a:gd name="connsiteX850" fmla="*/ 341320 w 824741"/>
                  <a:gd name="connsiteY850" fmla="*/ 628694 h 989988"/>
                  <a:gd name="connsiteX851" fmla="*/ 303043 w 824741"/>
                  <a:gd name="connsiteY851" fmla="*/ 602259 h 989988"/>
                  <a:gd name="connsiteX852" fmla="*/ 309024 w 824741"/>
                  <a:gd name="connsiteY852" fmla="*/ 579233 h 989988"/>
                  <a:gd name="connsiteX853" fmla="*/ 484798 w 824741"/>
                  <a:gd name="connsiteY853" fmla="*/ 371164 h 989988"/>
                  <a:gd name="connsiteX854" fmla="*/ 510634 w 824741"/>
                  <a:gd name="connsiteY854" fmla="*/ 349813 h 989988"/>
                  <a:gd name="connsiteX855" fmla="*/ 500108 w 824741"/>
                  <a:gd name="connsiteY855" fmla="*/ 380673 h 989988"/>
                  <a:gd name="connsiteX856" fmla="*/ 484798 w 824741"/>
                  <a:gd name="connsiteY856" fmla="*/ 371164 h 989988"/>
                  <a:gd name="connsiteX857" fmla="*/ 147186 w 824741"/>
                  <a:gd name="connsiteY857" fmla="*/ 799204 h 989988"/>
                  <a:gd name="connsiteX858" fmla="*/ 203584 w 824741"/>
                  <a:gd name="connsiteY858" fmla="*/ 841547 h 989988"/>
                  <a:gd name="connsiteX859" fmla="*/ 198560 w 824741"/>
                  <a:gd name="connsiteY859" fmla="*/ 863437 h 989988"/>
                  <a:gd name="connsiteX860" fmla="*/ 143179 w 824741"/>
                  <a:gd name="connsiteY860" fmla="*/ 821572 h 989988"/>
                  <a:gd name="connsiteX861" fmla="*/ 147186 w 824741"/>
                  <a:gd name="connsiteY861" fmla="*/ 799204 h 989988"/>
                  <a:gd name="connsiteX862" fmla="*/ 142880 w 824741"/>
                  <a:gd name="connsiteY862" fmla="*/ 823785 h 989988"/>
                  <a:gd name="connsiteX863" fmla="*/ 198141 w 824741"/>
                  <a:gd name="connsiteY863" fmla="*/ 865590 h 989988"/>
                  <a:gd name="connsiteX864" fmla="*/ 196168 w 824741"/>
                  <a:gd name="connsiteY864" fmla="*/ 874262 h 989988"/>
                  <a:gd name="connsiteX865" fmla="*/ 141325 w 824741"/>
                  <a:gd name="connsiteY865" fmla="*/ 832636 h 989988"/>
                  <a:gd name="connsiteX866" fmla="*/ 142880 w 824741"/>
                  <a:gd name="connsiteY866" fmla="*/ 823785 h 989988"/>
                  <a:gd name="connsiteX867" fmla="*/ 302565 w 824741"/>
                  <a:gd name="connsiteY867" fmla="*/ 604232 h 989988"/>
                  <a:gd name="connsiteX868" fmla="*/ 340782 w 824741"/>
                  <a:gd name="connsiteY868" fmla="*/ 630667 h 989988"/>
                  <a:gd name="connsiteX869" fmla="*/ 324813 w 824741"/>
                  <a:gd name="connsiteY869" fmla="*/ 685690 h 989988"/>
                  <a:gd name="connsiteX870" fmla="*/ 289109 w 824741"/>
                  <a:gd name="connsiteY870" fmla="*/ 660511 h 989988"/>
                  <a:gd name="connsiteX871" fmla="*/ 288989 w 824741"/>
                  <a:gd name="connsiteY871" fmla="*/ 660391 h 989988"/>
                  <a:gd name="connsiteX872" fmla="*/ 288211 w 824741"/>
                  <a:gd name="connsiteY872" fmla="*/ 659853 h 989988"/>
                  <a:gd name="connsiteX873" fmla="*/ 288211 w 824741"/>
                  <a:gd name="connsiteY873" fmla="*/ 659793 h 989988"/>
                  <a:gd name="connsiteX874" fmla="*/ 288092 w 824741"/>
                  <a:gd name="connsiteY874" fmla="*/ 659614 h 989988"/>
                  <a:gd name="connsiteX875" fmla="*/ 287912 w 824741"/>
                  <a:gd name="connsiteY875" fmla="*/ 659434 h 989988"/>
                  <a:gd name="connsiteX876" fmla="*/ 287733 w 824741"/>
                  <a:gd name="connsiteY876" fmla="*/ 659195 h 989988"/>
                  <a:gd name="connsiteX877" fmla="*/ 287554 w 824741"/>
                  <a:gd name="connsiteY877" fmla="*/ 659016 h 989988"/>
                  <a:gd name="connsiteX878" fmla="*/ 287075 w 824741"/>
                  <a:gd name="connsiteY878" fmla="*/ 658358 h 989988"/>
                  <a:gd name="connsiteX879" fmla="*/ 286956 w 824741"/>
                  <a:gd name="connsiteY879" fmla="*/ 658896 h 989988"/>
                  <a:gd name="connsiteX880" fmla="*/ 252745 w 824741"/>
                  <a:gd name="connsiteY880" fmla="*/ 634734 h 989988"/>
                  <a:gd name="connsiteX881" fmla="*/ 265664 w 824741"/>
                  <a:gd name="connsiteY881" fmla="*/ 578635 h 989988"/>
                  <a:gd name="connsiteX882" fmla="*/ 301369 w 824741"/>
                  <a:gd name="connsiteY882" fmla="*/ 603335 h 989988"/>
                  <a:gd name="connsiteX883" fmla="*/ 301369 w 824741"/>
                  <a:gd name="connsiteY883" fmla="*/ 603515 h 989988"/>
                  <a:gd name="connsiteX884" fmla="*/ 301668 w 824741"/>
                  <a:gd name="connsiteY884" fmla="*/ 603814 h 989988"/>
                  <a:gd name="connsiteX885" fmla="*/ 301967 w 824741"/>
                  <a:gd name="connsiteY885" fmla="*/ 604113 h 989988"/>
                  <a:gd name="connsiteX886" fmla="*/ 302206 w 824741"/>
                  <a:gd name="connsiteY886" fmla="*/ 604531 h 989988"/>
                  <a:gd name="connsiteX887" fmla="*/ 302446 w 824741"/>
                  <a:gd name="connsiteY887" fmla="*/ 604950 h 989988"/>
                  <a:gd name="connsiteX888" fmla="*/ 302565 w 824741"/>
                  <a:gd name="connsiteY888" fmla="*/ 604232 h 989988"/>
                  <a:gd name="connsiteX889" fmla="*/ 546100 w 824741"/>
                  <a:gd name="connsiteY889" fmla="*/ 252626 h 989988"/>
                  <a:gd name="connsiteX890" fmla="*/ 554593 w 824741"/>
                  <a:gd name="connsiteY890" fmla="*/ 246226 h 989988"/>
                  <a:gd name="connsiteX891" fmla="*/ 592690 w 824741"/>
                  <a:gd name="connsiteY891" fmla="*/ 268953 h 989988"/>
                  <a:gd name="connsiteX892" fmla="*/ 584437 w 824741"/>
                  <a:gd name="connsiteY892" fmla="*/ 275651 h 989988"/>
                  <a:gd name="connsiteX893" fmla="*/ 546100 w 824741"/>
                  <a:gd name="connsiteY893" fmla="*/ 252626 h 989988"/>
                  <a:gd name="connsiteX894" fmla="*/ 341978 w 824741"/>
                  <a:gd name="connsiteY894" fmla="*/ 631564 h 989988"/>
                  <a:gd name="connsiteX895" fmla="*/ 349155 w 824741"/>
                  <a:gd name="connsiteY895" fmla="*/ 636528 h 989988"/>
                  <a:gd name="connsiteX896" fmla="*/ 338150 w 824741"/>
                  <a:gd name="connsiteY896" fmla="*/ 673429 h 989988"/>
                  <a:gd name="connsiteX897" fmla="*/ 326488 w 824741"/>
                  <a:gd name="connsiteY897" fmla="*/ 684733 h 989988"/>
                  <a:gd name="connsiteX898" fmla="*/ 341978 w 824741"/>
                  <a:gd name="connsiteY898" fmla="*/ 631564 h 989988"/>
                  <a:gd name="connsiteX899" fmla="*/ 287673 w 824741"/>
                  <a:gd name="connsiteY899" fmla="*/ 661887 h 989988"/>
                  <a:gd name="connsiteX900" fmla="*/ 324215 w 824741"/>
                  <a:gd name="connsiteY900" fmla="*/ 687663 h 989988"/>
                  <a:gd name="connsiteX901" fmla="*/ 317038 w 824741"/>
                  <a:gd name="connsiteY901" fmla="*/ 712364 h 989988"/>
                  <a:gd name="connsiteX902" fmla="*/ 281214 w 824741"/>
                  <a:gd name="connsiteY902" fmla="*/ 686886 h 989988"/>
                  <a:gd name="connsiteX903" fmla="*/ 287673 w 824741"/>
                  <a:gd name="connsiteY903" fmla="*/ 661887 h 989988"/>
                  <a:gd name="connsiteX904" fmla="*/ 280616 w 824741"/>
                  <a:gd name="connsiteY904" fmla="*/ 688920 h 989988"/>
                  <a:gd name="connsiteX905" fmla="*/ 316380 w 824741"/>
                  <a:gd name="connsiteY905" fmla="*/ 714278 h 989988"/>
                  <a:gd name="connsiteX906" fmla="*/ 312972 w 824741"/>
                  <a:gd name="connsiteY906" fmla="*/ 726000 h 989988"/>
                  <a:gd name="connsiteX907" fmla="*/ 277506 w 824741"/>
                  <a:gd name="connsiteY907" fmla="*/ 700701 h 989988"/>
                  <a:gd name="connsiteX908" fmla="*/ 280616 w 824741"/>
                  <a:gd name="connsiteY908" fmla="*/ 688920 h 989988"/>
                  <a:gd name="connsiteX909" fmla="*/ 648131 w 824741"/>
                  <a:gd name="connsiteY909" fmla="*/ 131456 h 989988"/>
                  <a:gd name="connsiteX910" fmla="*/ 654889 w 824741"/>
                  <a:gd name="connsiteY910" fmla="*/ 126672 h 989988"/>
                  <a:gd name="connsiteX911" fmla="*/ 686468 w 824741"/>
                  <a:gd name="connsiteY911" fmla="*/ 144494 h 989988"/>
                  <a:gd name="connsiteX912" fmla="*/ 679949 w 824741"/>
                  <a:gd name="connsiteY912" fmla="*/ 149458 h 989988"/>
                  <a:gd name="connsiteX913" fmla="*/ 648131 w 824741"/>
                  <a:gd name="connsiteY913" fmla="*/ 131456 h 989988"/>
                  <a:gd name="connsiteX914" fmla="*/ 277027 w 824741"/>
                  <a:gd name="connsiteY914" fmla="*/ 702794 h 989988"/>
                  <a:gd name="connsiteX915" fmla="*/ 312434 w 824741"/>
                  <a:gd name="connsiteY915" fmla="*/ 728033 h 989988"/>
                  <a:gd name="connsiteX916" fmla="*/ 308307 w 824741"/>
                  <a:gd name="connsiteY916" fmla="*/ 742208 h 989988"/>
                  <a:gd name="connsiteX917" fmla="*/ 273319 w 824741"/>
                  <a:gd name="connsiteY917" fmla="*/ 717148 h 989988"/>
                  <a:gd name="connsiteX918" fmla="*/ 277027 w 824741"/>
                  <a:gd name="connsiteY918" fmla="*/ 702794 h 989988"/>
                  <a:gd name="connsiteX919" fmla="*/ 204959 w 824741"/>
                  <a:gd name="connsiteY919" fmla="*/ 842504 h 989988"/>
                  <a:gd name="connsiteX920" fmla="*/ 233787 w 824741"/>
                  <a:gd name="connsiteY920" fmla="*/ 864155 h 989988"/>
                  <a:gd name="connsiteX921" fmla="*/ 228225 w 824741"/>
                  <a:gd name="connsiteY921" fmla="*/ 885805 h 989988"/>
                  <a:gd name="connsiteX922" fmla="*/ 199936 w 824741"/>
                  <a:gd name="connsiteY922" fmla="*/ 864394 h 989988"/>
                  <a:gd name="connsiteX923" fmla="*/ 204959 w 824741"/>
                  <a:gd name="connsiteY923" fmla="*/ 842504 h 989988"/>
                  <a:gd name="connsiteX924" fmla="*/ 350351 w 824741"/>
                  <a:gd name="connsiteY924" fmla="*/ 637365 h 989988"/>
                  <a:gd name="connsiteX925" fmla="*/ 375829 w 824741"/>
                  <a:gd name="connsiteY925" fmla="*/ 654949 h 989988"/>
                  <a:gd name="connsiteX926" fmla="*/ 350052 w 824741"/>
                  <a:gd name="connsiteY926" fmla="*/ 680427 h 989988"/>
                  <a:gd name="connsiteX927" fmla="*/ 339645 w 824741"/>
                  <a:gd name="connsiteY927" fmla="*/ 673130 h 989988"/>
                  <a:gd name="connsiteX928" fmla="*/ 350351 w 824741"/>
                  <a:gd name="connsiteY928" fmla="*/ 637365 h 989988"/>
                  <a:gd name="connsiteX929" fmla="*/ 512728 w 824741"/>
                  <a:gd name="connsiteY929" fmla="*/ 348138 h 989988"/>
                  <a:gd name="connsiteX930" fmla="*/ 514462 w 824741"/>
                  <a:gd name="connsiteY930" fmla="*/ 346702 h 989988"/>
                  <a:gd name="connsiteX931" fmla="*/ 549748 w 824741"/>
                  <a:gd name="connsiteY931" fmla="*/ 368472 h 989988"/>
                  <a:gd name="connsiteX932" fmla="*/ 536770 w 824741"/>
                  <a:gd name="connsiteY932" fmla="*/ 403699 h 989988"/>
                  <a:gd name="connsiteX933" fmla="*/ 501305 w 824741"/>
                  <a:gd name="connsiteY933" fmla="*/ 381450 h 989988"/>
                  <a:gd name="connsiteX934" fmla="*/ 512728 w 824741"/>
                  <a:gd name="connsiteY934" fmla="*/ 348138 h 989988"/>
                  <a:gd name="connsiteX935" fmla="*/ 199458 w 824741"/>
                  <a:gd name="connsiteY935" fmla="*/ 866547 h 989988"/>
                  <a:gd name="connsiteX936" fmla="*/ 227627 w 824741"/>
                  <a:gd name="connsiteY936" fmla="*/ 887898 h 989988"/>
                  <a:gd name="connsiteX937" fmla="*/ 225414 w 824741"/>
                  <a:gd name="connsiteY937" fmla="*/ 896510 h 989988"/>
                  <a:gd name="connsiteX938" fmla="*/ 197424 w 824741"/>
                  <a:gd name="connsiteY938" fmla="*/ 875219 h 989988"/>
                  <a:gd name="connsiteX939" fmla="*/ 199458 w 824741"/>
                  <a:gd name="connsiteY939" fmla="*/ 866547 h 989988"/>
                  <a:gd name="connsiteX940" fmla="*/ 238870 w 824741"/>
                  <a:gd name="connsiteY940" fmla="*/ 694840 h 989988"/>
                  <a:gd name="connsiteX941" fmla="*/ 270927 w 824741"/>
                  <a:gd name="connsiteY941" fmla="*/ 717866 h 989988"/>
                  <a:gd name="connsiteX942" fmla="*/ 271824 w 824741"/>
                  <a:gd name="connsiteY942" fmla="*/ 718105 h 989988"/>
                  <a:gd name="connsiteX943" fmla="*/ 272602 w 824741"/>
                  <a:gd name="connsiteY943" fmla="*/ 718524 h 989988"/>
                  <a:gd name="connsiteX944" fmla="*/ 273260 w 824741"/>
                  <a:gd name="connsiteY944" fmla="*/ 719122 h 989988"/>
                  <a:gd name="connsiteX945" fmla="*/ 273798 w 824741"/>
                  <a:gd name="connsiteY945" fmla="*/ 719900 h 989988"/>
                  <a:gd name="connsiteX946" fmla="*/ 307709 w 824741"/>
                  <a:gd name="connsiteY946" fmla="*/ 744301 h 989988"/>
                  <a:gd name="connsiteX947" fmla="*/ 294970 w 824741"/>
                  <a:gd name="connsiteY947" fmla="*/ 788020 h 989988"/>
                  <a:gd name="connsiteX948" fmla="*/ 261298 w 824741"/>
                  <a:gd name="connsiteY948" fmla="*/ 763499 h 989988"/>
                  <a:gd name="connsiteX949" fmla="*/ 261418 w 824741"/>
                  <a:gd name="connsiteY949" fmla="*/ 763080 h 989988"/>
                  <a:gd name="connsiteX950" fmla="*/ 261059 w 824741"/>
                  <a:gd name="connsiteY950" fmla="*/ 762901 h 989988"/>
                  <a:gd name="connsiteX951" fmla="*/ 260760 w 824741"/>
                  <a:gd name="connsiteY951" fmla="*/ 762662 h 989988"/>
                  <a:gd name="connsiteX952" fmla="*/ 260461 w 824741"/>
                  <a:gd name="connsiteY952" fmla="*/ 762422 h 989988"/>
                  <a:gd name="connsiteX953" fmla="*/ 260161 w 824741"/>
                  <a:gd name="connsiteY953" fmla="*/ 762183 h 989988"/>
                  <a:gd name="connsiteX954" fmla="*/ 260042 w 824741"/>
                  <a:gd name="connsiteY954" fmla="*/ 762602 h 989988"/>
                  <a:gd name="connsiteX955" fmla="*/ 228524 w 824741"/>
                  <a:gd name="connsiteY955" fmla="*/ 739636 h 989988"/>
                  <a:gd name="connsiteX956" fmla="*/ 238870 w 824741"/>
                  <a:gd name="connsiteY956" fmla="*/ 694840 h 989988"/>
                  <a:gd name="connsiteX957" fmla="*/ 400888 w 824741"/>
                  <a:gd name="connsiteY957" fmla="*/ 427442 h 989988"/>
                  <a:gd name="connsiteX958" fmla="*/ 486472 w 824741"/>
                  <a:gd name="connsiteY958" fmla="*/ 482644 h 989988"/>
                  <a:gd name="connsiteX959" fmla="*/ 480850 w 824741"/>
                  <a:gd name="connsiteY959" fmla="*/ 498373 h 989988"/>
                  <a:gd name="connsiteX960" fmla="*/ 396283 w 824741"/>
                  <a:gd name="connsiteY960" fmla="*/ 443291 h 989988"/>
                  <a:gd name="connsiteX961" fmla="*/ 400888 w 824741"/>
                  <a:gd name="connsiteY961" fmla="*/ 427442 h 989988"/>
                  <a:gd name="connsiteX962" fmla="*/ 402025 w 824741"/>
                  <a:gd name="connsiteY962" fmla="*/ 425768 h 989988"/>
                  <a:gd name="connsiteX963" fmla="*/ 415122 w 824741"/>
                  <a:gd name="connsiteY963" fmla="*/ 415182 h 989988"/>
                  <a:gd name="connsiteX964" fmla="*/ 499929 w 824741"/>
                  <a:gd name="connsiteY964" fmla="*/ 469606 h 989988"/>
                  <a:gd name="connsiteX965" fmla="*/ 487489 w 824741"/>
                  <a:gd name="connsiteY965" fmla="*/ 481089 h 989988"/>
                  <a:gd name="connsiteX966" fmla="*/ 402025 w 824741"/>
                  <a:gd name="connsiteY966" fmla="*/ 425768 h 989988"/>
                  <a:gd name="connsiteX967" fmla="*/ 308904 w 824741"/>
                  <a:gd name="connsiteY967" fmla="*/ 745078 h 989988"/>
                  <a:gd name="connsiteX968" fmla="*/ 315424 w 824741"/>
                  <a:gd name="connsiteY968" fmla="*/ 749683 h 989988"/>
                  <a:gd name="connsiteX969" fmla="*/ 307709 w 824741"/>
                  <a:gd name="connsiteY969" fmla="*/ 775699 h 989988"/>
                  <a:gd name="connsiteX970" fmla="*/ 296763 w 824741"/>
                  <a:gd name="connsiteY970" fmla="*/ 786943 h 989988"/>
                  <a:gd name="connsiteX971" fmla="*/ 308904 w 824741"/>
                  <a:gd name="connsiteY971" fmla="*/ 745078 h 989988"/>
                  <a:gd name="connsiteX972" fmla="*/ 633060 w 824741"/>
                  <a:gd name="connsiteY972" fmla="*/ 184984 h 989988"/>
                  <a:gd name="connsiteX973" fmla="*/ 633299 w 824741"/>
                  <a:gd name="connsiteY973" fmla="*/ 185103 h 989988"/>
                  <a:gd name="connsiteX974" fmla="*/ 633658 w 824741"/>
                  <a:gd name="connsiteY974" fmla="*/ 185223 h 989988"/>
                  <a:gd name="connsiteX975" fmla="*/ 633957 w 824741"/>
                  <a:gd name="connsiteY975" fmla="*/ 185403 h 989988"/>
                  <a:gd name="connsiteX976" fmla="*/ 634256 w 824741"/>
                  <a:gd name="connsiteY976" fmla="*/ 185582 h 989988"/>
                  <a:gd name="connsiteX977" fmla="*/ 634555 w 824741"/>
                  <a:gd name="connsiteY977" fmla="*/ 185821 h 989988"/>
                  <a:gd name="connsiteX978" fmla="*/ 635033 w 824741"/>
                  <a:gd name="connsiteY978" fmla="*/ 185522 h 989988"/>
                  <a:gd name="connsiteX979" fmla="*/ 670559 w 824741"/>
                  <a:gd name="connsiteY979" fmla="*/ 205976 h 989988"/>
                  <a:gd name="connsiteX980" fmla="*/ 639699 w 824741"/>
                  <a:gd name="connsiteY980" fmla="*/ 231035 h 989988"/>
                  <a:gd name="connsiteX981" fmla="*/ 603156 w 824741"/>
                  <a:gd name="connsiteY981" fmla="*/ 209684 h 989988"/>
                  <a:gd name="connsiteX982" fmla="*/ 603695 w 824741"/>
                  <a:gd name="connsiteY982" fmla="*/ 209266 h 989988"/>
                  <a:gd name="connsiteX983" fmla="*/ 603335 w 824741"/>
                  <a:gd name="connsiteY983" fmla="*/ 209146 h 989988"/>
                  <a:gd name="connsiteX984" fmla="*/ 602977 w 824741"/>
                  <a:gd name="connsiteY984" fmla="*/ 208907 h 989988"/>
                  <a:gd name="connsiteX985" fmla="*/ 602618 w 824741"/>
                  <a:gd name="connsiteY985" fmla="*/ 208727 h 989988"/>
                  <a:gd name="connsiteX986" fmla="*/ 602319 w 824741"/>
                  <a:gd name="connsiteY986" fmla="*/ 208488 h 989988"/>
                  <a:gd name="connsiteX987" fmla="*/ 601840 w 824741"/>
                  <a:gd name="connsiteY987" fmla="*/ 208787 h 989988"/>
                  <a:gd name="connsiteX988" fmla="*/ 567690 w 824741"/>
                  <a:gd name="connsiteY988" fmla="*/ 188811 h 989988"/>
                  <a:gd name="connsiteX989" fmla="*/ 600465 w 824741"/>
                  <a:gd name="connsiteY989" fmla="*/ 165547 h 989988"/>
                  <a:gd name="connsiteX990" fmla="*/ 633718 w 824741"/>
                  <a:gd name="connsiteY990" fmla="*/ 184685 h 989988"/>
                  <a:gd name="connsiteX991" fmla="*/ 633060 w 824741"/>
                  <a:gd name="connsiteY991" fmla="*/ 184984 h 989988"/>
                  <a:gd name="connsiteX992" fmla="*/ 640954 w 824741"/>
                  <a:gd name="connsiteY992" fmla="*/ 231633 h 989988"/>
                  <a:gd name="connsiteX993" fmla="*/ 670320 w 824741"/>
                  <a:gd name="connsiteY993" fmla="*/ 207770 h 989988"/>
                  <a:gd name="connsiteX994" fmla="*/ 665117 w 824741"/>
                  <a:gd name="connsiteY994" fmla="*/ 220629 h 989988"/>
                  <a:gd name="connsiteX995" fmla="*/ 647294 w 824741"/>
                  <a:gd name="connsiteY995" fmla="*/ 235341 h 989988"/>
                  <a:gd name="connsiteX996" fmla="*/ 640954 w 824741"/>
                  <a:gd name="connsiteY996" fmla="*/ 231633 h 989988"/>
                  <a:gd name="connsiteX997" fmla="*/ 395685 w 824741"/>
                  <a:gd name="connsiteY997" fmla="*/ 445265 h 989988"/>
                  <a:gd name="connsiteX998" fmla="*/ 480192 w 824741"/>
                  <a:gd name="connsiteY998" fmla="*/ 500227 h 989988"/>
                  <a:gd name="connsiteX999" fmla="*/ 466856 w 824741"/>
                  <a:gd name="connsiteY999" fmla="*/ 537727 h 989988"/>
                  <a:gd name="connsiteX1000" fmla="*/ 384561 w 824741"/>
                  <a:gd name="connsiteY1000" fmla="*/ 483481 h 989988"/>
                  <a:gd name="connsiteX1001" fmla="*/ 395685 w 824741"/>
                  <a:gd name="connsiteY1001" fmla="*/ 445265 h 989988"/>
                  <a:gd name="connsiteX1002" fmla="*/ 472597 w 824741"/>
                  <a:gd name="connsiteY1002" fmla="*/ 366499 h 989988"/>
                  <a:gd name="connsiteX1003" fmla="*/ 472776 w 824741"/>
                  <a:gd name="connsiteY1003" fmla="*/ 366558 h 989988"/>
                  <a:gd name="connsiteX1004" fmla="*/ 473016 w 824741"/>
                  <a:gd name="connsiteY1004" fmla="*/ 366678 h 989988"/>
                  <a:gd name="connsiteX1005" fmla="*/ 473255 w 824741"/>
                  <a:gd name="connsiteY1005" fmla="*/ 366798 h 989988"/>
                  <a:gd name="connsiteX1006" fmla="*/ 473554 w 824741"/>
                  <a:gd name="connsiteY1006" fmla="*/ 366917 h 989988"/>
                  <a:gd name="connsiteX1007" fmla="*/ 473793 w 824741"/>
                  <a:gd name="connsiteY1007" fmla="*/ 367037 h 989988"/>
                  <a:gd name="connsiteX1008" fmla="*/ 474032 w 824741"/>
                  <a:gd name="connsiteY1008" fmla="*/ 367276 h 989988"/>
                  <a:gd name="connsiteX1009" fmla="*/ 474451 w 824741"/>
                  <a:gd name="connsiteY1009" fmla="*/ 366977 h 989988"/>
                  <a:gd name="connsiteX1010" fmla="*/ 555609 w 824741"/>
                  <a:gd name="connsiteY1010" fmla="*/ 417813 h 989988"/>
                  <a:gd name="connsiteX1011" fmla="*/ 501305 w 824741"/>
                  <a:gd name="connsiteY1011" fmla="*/ 468291 h 989988"/>
                  <a:gd name="connsiteX1012" fmla="*/ 416737 w 824741"/>
                  <a:gd name="connsiteY1012" fmla="*/ 413926 h 989988"/>
                  <a:gd name="connsiteX1013" fmla="*/ 417036 w 824741"/>
                  <a:gd name="connsiteY1013" fmla="*/ 413627 h 989988"/>
                  <a:gd name="connsiteX1014" fmla="*/ 416617 w 824741"/>
                  <a:gd name="connsiteY1014" fmla="*/ 413447 h 989988"/>
                  <a:gd name="connsiteX1015" fmla="*/ 416259 w 824741"/>
                  <a:gd name="connsiteY1015" fmla="*/ 413208 h 989988"/>
                  <a:gd name="connsiteX1016" fmla="*/ 415720 w 824741"/>
                  <a:gd name="connsiteY1016" fmla="*/ 412789 h 989988"/>
                  <a:gd name="connsiteX1017" fmla="*/ 415421 w 824741"/>
                  <a:gd name="connsiteY1017" fmla="*/ 413088 h 989988"/>
                  <a:gd name="connsiteX1018" fmla="*/ 373197 w 824741"/>
                  <a:gd name="connsiteY1018" fmla="*/ 385936 h 989988"/>
                  <a:gd name="connsiteX1019" fmla="*/ 372241 w 824741"/>
                  <a:gd name="connsiteY1019" fmla="*/ 385757 h 989988"/>
                  <a:gd name="connsiteX1020" fmla="*/ 371344 w 824741"/>
                  <a:gd name="connsiteY1020" fmla="*/ 385338 h 989988"/>
                  <a:gd name="connsiteX1021" fmla="*/ 370626 w 824741"/>
                  <a:gd name="connsiteY1021" fmla="*/ 384740 h 989988"/>
                  <a:gd name="connsiteX1022" fmla="*/ 369968 w 824741"/>
                  <a:gd name="connsiteY1022" fmla="*/ 383962 h 989988"/>
                  <a:gd name="connsiteX1023" fmla="*/ 330435 w 824741"/>
                  <a:gd name="connsiteY1023" fmla="*/ 358544 h 989988"/>
                  <a:gd name="connsiteX1024" fmla="*/ 329717 w 824741"/>
                  <a:gd name="connsiteY1024" fmla="*/ 358305 h 989988"/>
                  <a:gd name="connsiteX1025" fmla="*/ 329059 w 824741"/>
                  <a:gd name="connsiteY1025" fmla="*/ 357946 h 989988"/>
                  <a:gd name="connsiteX1026" fmla="*/ 328521 w 824741"/>
                  <a:gd name="connsiteY1026" fmla="*/ 357468 h 989988"/>
                  <a:gd name="connsiteX1027" fmla="*/ 328043 w 824741"/>
                  <a:gd name="connsiteY1027" fmla="*/ 356870 h 989988"/>
                  <a:gd name="connsiteX1028" fmla="*/ 327923 w 824741"/>
                  <a:gd name="connsiteY1028" fmla="*/ 356930 h 989988"/>
                  <a:gd name="connsiteX1029" fmla="*/ 248859 w 824741"/>
                  <a:gd name="connsiteY1029" fmla="*/ 306093 h 989988"/>
                  <a:gd name="connsiteX1030" fmla="*/ 249037 w 824741"/>
                  <a:gd name="connsiteY1030" fmla="*/ 306034 h 989988"/>
                  <a:gd name="connsiteX1031" fmla="*/ 248679 w 824741"/>
                  <a:gd name="connsiteY1031" fmla="*/ 305794 h 989988"/>
                  <a:gd name="connsiteX1032" fmla="*/ 248320 w 824741"/>
                  <a:gd name="connsiteY1032" fmla="*/ 305495 h 989988"/>
                  <a:gd name="connsiteX1033" fmla="*/ 247961 w 824741"/>
                  <a:gd name="connsiteY1033" fmla="*/ 305196 h 989988"/>
                  <a:gd name="connsiteX1034" fmla="*/ 247662 w 824741"/>
                  <a:gd name="connsiteY1034" fmla="*/ 304837 h 989988"/>
                  <a:gd name="connsiteX1035" fmla="*/ 247303 w 824741"/>
                  <a:gd name="connsiteY1035" fmla="*/ 305076 h 989988"/>
                  <a:gd name="connsiteX1036" fmla="*/ 206634 w 824741"/>
                  <a:gd name="connsiteY1036" fmla="*/ 278881 h 989988"/>
                  <a:gd name="connsiteX1037" fmla="*/ 207352 w 824741"/>
                  <a:gd name="connsiteY1037" fmla="*/ 278463 h 989988"/>
                  <a:gd name="connsiteX1038" fmla="*/ 206934 w 824741"/>
                  <a:gd name="connsiteY1038" fmla="*/ 278223 h 989988"/>
                  <a:gd name="connsiteX1039" fmla="*/ 206574 w 824741"/>
                  <a:gd name="connsiteY1039" fmla="*/ 277924 h 989988"/>
                  <a:gd name="connsiteX1040" fmla="*/ 206216 w 824741"/>
                  <a:gd name="connsiteY1040" fmla="*/ 277565 h 989988"/>
                  <a:gd name="connsiteX1041" fmla="*/ 205917 w 824741"/>
                  <a:gd name="connsiteY1041" fmla="*/ 277206 h 989988"/>
                  <a:gd name="connsiteX1042" fmla="*/ 204959 w 824741"/>
                  <a:gd name="connsiteY1042" fmla="*/ 277745 h 989988"/>
                  <a:gd name="connsiteX1043" fmla="*/ 166982 w 824741"/>
                  <a:gd name="connsiteY1043" fmla="*/ 253343 h 989988"/>
                  <a:gd name="connsiteX1044" fmla="*/ 167341 w 824741"/>
                  <a:gd name="connsiteY1044" fmla="*/ 253104 h 989988"/>
                  <a:gd name="connsiteX1045" fmla="*/ 166802 w 824741"/>
                  <a:gd name="connsiteY1045" fmla="*/ 252985 h 989988"/>
                  <a:gd name="connsiteX1046" fmla="*/ 166264 w 824741"/>
                  <a:gd name="connsiteY1046" fmla="*/ 252745 h 989988"/>
                  <a:gd name="connsiteX1047" fmla="*/ 165726 w 824741"/>
                  <a:gd name="connsiteY1047" fmla="*/ 252506 h 989988"/>
                  <a:gd name="connsiteX1048" fmla="*/ 165247 w 824741"/>
                  <a:gd name="connsiteY1048" fmla="*/ 252267 h 989988"/>
                  <a:gd name="connsiteX1049" fmla="*/ 91326 w 824741"/>
                  <a:gd name="connsiteY1049" fmla="*/ 204720 h 989988"/>
                  <a:gd name="connsiteX1050" fmla="*/ 160822 w 824741"/>
                  <a:gd name="connsiteY1050" fmla="*/ 170570 h 989988"/>
                  <a:gd name="connsiteX1051" fmla="*/ 229660 w 824741"/>
                  <a:gd name="connsiteY1051" fmla="*/ 213691 h 989988"/>
                  <a:gd name="connsiteX1052" fmla="*/ 229780 w 824741"/>
                  <a:gd name="connsiteY1052" fmla="*/ 213811 h 989988"/>
                  <a:gd name="connsiteX1053" fmla="*/ 232232 w 824741"/>
                  <a:gd name="connsiteY1053" fmla="*/ 215306 h 989988"/>
                  <a:gd name="connsiteX1054" fmla="*/ 231933 w 824741"/>
                  <a:gd name="connsiteY1054" fmla="*/ 215426 h 989988"/>
                  <a:gd name="connsiteX1055" fmla="*/ 232352 w 824741"/>
                  <a:gd name="connsiteY1055" fmla="*/ 215665 h 989988"/>
                  <a:gd name="connsiteX1056" fmla="*/ 232710 w 824741"/>
                  <a:gd name="connsiteY1056" fmla="*/ 215964 h 989988"/>
                  <a:gd name="connsiteX1057" fmla="*/ 233069 w 824741"/>
                  <a:gd name="connsiteY1057" fmla="*/ 216263 h 989988"/>
                  <a:gd name="connsiteX1058" fmla="*/ 233368 w 824741"/>
                  <a:gd name="connsiteY1058" fmla="*/ 216622 h 989988"/>
                  <a:gd name="connsiteX1059" fmla="*/ 233907 w 824741"/>
                  <a:gd name="connsiteY1059" fmla="*/ 216323 h 989988"/>
                  <a:gd name="connsiteX1060" fmla="*/ 270509 w 824741"/>
                  <a:gd name="connsiteY1060" fmla="*/ 239229 h 989988"/>
                  <a:gd name="connsiteX1061" fmla="*/ 269432 w 824741"/>
                  <a:gd name="connsiteY1061" fmla="*/ 239887 h 989988"/>
                  <a:gd name="connsiteX1062" fmla="*/ 269791 w 824741"/>
                  <a:gd name="connsiteY1062" fmla="*/ 240186 h 989988"/>
                  <a:gd name="connsiteX1063" fmla="*/ 270150 w 824741"/>
                  <a:gd name="connsiteY1063" fmla="*/ 240485 h 989988"/>
                  <a:gd name="connsiteX1064" fmla="*/ 270509 w 824741"/>
                  <a:gd name="connsiteY1064" fmla="*/ 240844 h 989988"/>
                  <a:gd name="connsiteX1065" fmla="*/ 270807 w 824741"/>
                  <a:gd name="connsiteY1065" fmla="*/ 241202 h 989988"/>
                  <a:gd name="connsiteX1066" fmla="*/ 272183 w 824741"/>
                  <a:gd name="connsiteY1066" fmla="*/ 240365 h 989988"/>
                  <a:gd name="connsiteX1067" fmla="*/ 311357 w 824741"/>
                  <a:gd name="connsiteY1067" fmla="*/ 264946 h 989988"/>
                  <a:gd name="connsiteX1068" fmla="*/ 310759 w 824741"/>
                  <a:gd name="connsiteY1068" fmla="*/ 265305 h 989988"/>
                  <a:gd name="connsiteX1069" fmla="*/ 311117 w 824741"/>
                  <a:gd name="connsiteY1069" fmla="*/ 265604 h 989988"/>
                  <a:gd name="connsiteX1070" fmla="*/ 311417 w 824741"/>
                  <a:gd name="connsiteY1070" fmla="*/ 265903 h 989988"/>
                  <a:gd name="connsiteX1071" fmla="*/ 311715 w 824741"/>
                  <a:gd name="connsiteY1071" fmla="*/ 266202 h 989988"/>
                  <a:gd name="connsiteX1072" fmla="*/ 312015 w 824741"/>
                  <a:gd name="connsiteY1072" fmla="*/ 266501 h 989988"/>
                  <a:gd name="connsiteX1073" fmla="*/ 312972 w 824741"/>
                  <a:gd name="connsiteY1073" fmla="*/ 265903 h 989988"/>
                  <a:gd name="connsiteX1074" fmla="*/ 331811 w 824741"/>
                  <a:gd name="connsiteY1074" fmla="*/ 277685 h 989988"/>
                  <a:gd name="connsiteX1075" fmla="*/ 389106 w 824741"/>
                  <a:gd name="connsiteY1075" fmla="*/ 313510 h 989988"/>
                  <a:gd name="connsiteX1076" fmla="*/ 387611 w 824741"/>
                  <a:gd name="connsiteY1076" fmla="*/ 314586 h 989988"/>
                  <a:gd name="connsiteX1077" fmla="*/ 387969 w 824741"/>
                  <a:gd name="connsiteY1077" fmla="*/ 314825 h 989988"/>
                  <a:gd name="connsiteX1078" fmla="*/ 388269 w 824741"/>
                  <a:gd name="connsiteY1078" fmla="*/ 315065 h 989988"/>
                  <a:gd name="connsiteX1079" fmla="*/ 388568 w 824741"/>
                  <a:gd name="connsiteY1079" fmla="*/ 315364 h 989988"/>
                  <a:gd name="connsiteX1080" fmla="*/ 388867 w 824741"/>
                  <a:gd name="connsiteY1080" fmla="*/ 315662 h 989988"/>
                  <a:gd name="connsiteX1081" fmla="*/ 390541 w 824741"/>
                  <a:gd name="connsiteY1081" fmla="*/ 314466 h 989988"/>
                  <a:gd name="connsiteX1082" fmla="*/ 428758 w 824741"/>
                  <a:gd name="connsiteY1082" fmla="*/ 338389 h 989988"/>
                  <a:gd name="connsiteX1083" fmla="*/ 429356 w 824741"/>
                  <a:gd name="connsiteY1083" fmla="*/ 338688 h 989988"/>
                  <a:gd name="connsiteX1084" fmla="*/ 429954 w 824741"/>
                  <a:gd name="connsiteY1084" fmla="*/ 339047 h 989988"/>
                  <a:gd name="connsiteX1085" fmla="*/ 430493 w 824741"/>
                  <a:gd name="connsiteY1085" fmla="*/ 339525 h 989988"/>
                  <a:gd name="connsiteX1086" fmla="*/ 430971 w 824741"/>
                  <a:gd name="connsiteY1086" fmla="*/ 340064 h 989988"/>
                  <a:gd name="connsiteX1087" fmla="*/ 431151 w 824741"/>
                  <a:gd name="connsiteY1087" fmla="*/ 339944 h 989988"/>
                  <a:gd name="connsiteX1088" fmla="*/ 473136 w 824741"/>
                  <a:gd name="connsiteY1088" fmla="*/ 366200 h 989988"/>
                  <a:gd name="connsiteX1089" fmla="*/ 472597 w 824741"/>
                  <a:gd name="connsiteY1089" fmla="*/ 366499 h 989988"/>
                  <a:gd name="connsiteX1090" fmla="*/ 141146 w 824741"/>
                  <a:gd name="connsiteY1090" fmla="*/ 325411 h 989988"/>
                  <a:gd name="connsiteX1091" fmla="*/ 264707 w 824741"/>
                  <a:gd name="connsiteY1091" fmla="*/ 406809 h 989988"/>
                  <a:gd name="connsiteX1092" fmla="*/ 297780 w 824741"/>
                  <a:gd name="connsiteY1092" fmla="*/ 428579 h 989988"/>
                  <a:gd name="connsiteX1093" fmla="*/ 299216 w 824741"/>
                  <a:gd name="connsiteY1093" fmla="*/ 429535 h 989988"/>
                  <a:gd name="connsiteX1094" fmla="*/ 321405 w 824741"/>
                  <a:gd name="connsiteY1094" fmla="*/ 444188 h 989988"/>
                  <a:gd name="connsiteX1095" fmla="*/ 357050 w 824741"/>
                  <a:gd name="connsiteY1095" fmla="*/ 467692 h 989988"/>
                  <a:gd name="connsiteX1096" fmla="*/ 382707 w 824741"/>
                  <a:gd name="connsiteY1096" fmla="*/ 484618 h 989988"/>
                  <a:gd name="connsiteX1097" fmla="*/ 384023 w 824741"/>
                  <a:gd name="connsiteY1097" fmla="*/ 485455 h 989988"/>
                  <a:gd name="connsiteX1098" fmla="*/ 466198 w 824741"/>
                  <a:gd name="connsiteY1098" fmla="*/ 539581 h 989988"/>
                  <a:gd name="connsiteX1099" fmla="*/ 447956 w 824741"/>
                  <a:gd name="connsiteY1099" fmla="*/ 592092 h 989988"/>
                  <a:gd name="connsiteX1100" fmla="*/ 368951 w 824741"/>
                  <a:gd name="connsiteY1100" fmla="*/ 538983 h 989988"/>
                  <a:gd name="connsiteX1101" fmla="*/ 367636 w 824741"/>
                  <a:gd name="connsiteY1101" fmla="*/ 538145 h 989988"/>
                  <a:gd name="connsiteX1102" fmla="*/ 326787 w 824741"/>
                  <a:gd name="connsiteY1102" fmla="*/ 510634 h 989988"/>
                  <a:gd name="connsiteX1103" fmla="*/ 325411 w 824741"/>
                  <a:gd name="connsiteY1103" fmla="*/ 509737 h 989988"/>
                  <a:gd name="connsiteX1104" fmla="*/ 297900 w 824741"/>
                  <a:gd name="connsiteY1104" fmla="*/ 491196 h 989988"/>
                  <a:gd name="connsiteX1105" fmla="*/ 261597 w 824741"/>
                  <a:gd name="connsiteY1105" fmla="*/ 466795 h 989988"/>
                  <a:gd name="connsiteX1106" fmla="*/ 211718 w 824741"/>
                  <a:gd name="connsiteY1106" fmla="*/ 433303 h 989988"/>
                  <a:gd name="connsiteX1107" fmla="*/ 210223 w 824741"/>
                  <a:gd name="connsiteY1107" fmla="*/ 432287 h 989988"/>
                  <a:gd name="connsiteX1108" fmla="*/ 184984 w 824741"/>
                  <a:gd name="connsiteY1108" fmla="*/ 415301 h 989988"/>
                  <a:gd name="connsiteX1109" fmla="*/ 134686 w 824741"/>
                  <a:gd name="connsiteY1109" fmla="*/ 381570 h 989988"/>
                  <a:gd name="connsiteX1110" fmla="*/ 141146 w 824741"/>
                  <a:gd name="connsiteY1110" fmla="*/ 325411 h 989988"/>
                  <a:gd name="connsiteX1111" fmla="*/ 312254 w 824741"/>
                  <a:gd name="connsiteY1111" fmla="*/ 765174 h 989988"/>
                  <a:gd name="connsiteX1112" fmla="*/ 330914 w 824741"/>
                  <a:gd name="connsiteY1112" fmla="*/ 778630 h 989988"/>
                  <a:gd name="connsiteX1113" fmla="*/ 323856 w 824741"/>
                  <a:gd name="connsiteY1113" fmla="*/ 786046 h 989988"/>
                  <a:gd name="connsiteX1114" fmla="*/ 309204 w 824741"/>
                  <a:gd name="connsiteY1114" fmla="*/ 775400 h 989988"/>
                  <a:gd name="connsiteX1115" fmla="*/ 312254 w 824741"/>
                  <a:gd name="connsiteY1115" fmla="*/ 765174 h 989988"/>
                  <a:gd name="connsiteX1116" fmla="*/ 681324 w 824741"/>
                  <a:gd name="connsiteY1116" fmla="*/ 150295 h 989988"/>
                  <a:gd name="connsiteX1117" fmla="*/ 687843 w 824741"/>
                  <a:gd name="connsiteY1117" fmla="*/ 145332 h 989988"/>
                  <a:gd name="connsiteX1118" fmla="*/ 721574 w 824741"/>
                  <a:gd name="connsiteY1118" fmla="*/ 164350 h 989988"/>
                  <a:gd name="connsiteX1119" fmla="*/ 715235 w 824741"/>
                  <a:gd name="connsiteY1119" fmla="*/ 169553 h 989988"/>
                  <a:gd name="connsiteX1120" fmla="*/ 681324 w 824741"/>
                  <a:gd name="connsiteY1120" fmla="*/ 150295 h 989988"/>
                  <a:gd name="connsiteX1121" fmla="*/ 316620 w 824741"/>
                  <a:gd name="connsiteY1121" fmla="*/ 750640 h 989988"/>
                  <a:gd name="connsiteX1122" fmla="*/ 340961 w 824741"/>
                  <a:gd name="connsiteY1122" fmla="*/ 768044 h 989988"/>
                  <a:gd name="connsiteX1123" fmla="*/ 332229 w 824741"/>
                  <a:gd name="connsiteY1123" fmla="*/ 777195 h 989988"/>
                  <a:gd name="connsiteX1124" fmla="*/ 312852 w 824741"/>
                  <a:gd name="connsiteY1124" fmla="*/ 763140 h 989988"/>
                  <a:gd name="connsiteX1125" fmla="*/ 316620 w 824741"/>
                  <a:gd name="connsiteY1125" fmla="*/ 750640 h 989988"/>
                  <a:gd name="connsiteX1126" fmla="*/ 245629 w 824741"/>
                  <a:gd name="connsiteY1126" fmla="*/ 824084 h 989988"/>
                  <a:gd name="connsiteX1127" fmla="*/ 277566 w 824741"/>
                  <a:gd name="connsiteY1127" fmla="*/ 847767 h 989988"/>
                  <a:gd name="connsiteX1128" fmla="*/ 266382 w 824741"/>
                  <a:gd name="connsiteY1128" fmla="*/ 886343 h 989988"/>
                  <a:gd name="connsiteX1129" fmla="*/ 236298 w 824741"/>
                  <a:gd name="connsiteY1129" fmla="*/ 863676 h 989988"/>
                  <a:gd name="connsiteX1130" fmla="*/ 235700 w 824741"/>
                  <a:gd name="connsiteY1130" fmla="*/ 863556 h 989988"/>
                  <a:gd name="connsiteX1131" fmla="*/ 234983 w 824741"/>
                  <a:gd name="connsiteY1131" fmla="*/ 863317 h 989988"/>
                  <a:gd name="connsiteX1132" fmla="*/ 234385 w 824741"/>
                  <a:gd name="connsiteY1132" fmla="*/ 862898 h 989988"/>
                  <a:gd name="connsiteX1133" fmla="*/ 233907 w 824741"/>
                  <a:gd name="connsiteY1133" fmla="*/ 862360 h 989988"/>
                  <a:gd name="connsiteX1134" fmla="*/ 233548 w 824741"/>
                  <a:gd name="connsiteY1134" fmla="*/ 861702 h 989988"/>
                  <a:gd name="connsiteX1135" fmla="*/ 205379 w 824741"/>
                  <a:gd name="connsiteY1135" fmla="*/ 840531 h 989988"/>
                  <a:gd name="connsiteX1136" fmla="*/ 214469 w 824741"/>
                  <a:gd name="connsiteY1136" fmla="*/ 801058 h 989988"/>
                  <a:gd name="connsiteX1137" fmla="*/ 244432 w 824741"/>
                  <a:gd name="connsiteY1137" fmla="*/ 823186 h 989988"/>
                  <a:gd name="connsiteX1138" fmla="*/ 244253 w 824741"/>
                  <a:gd name="connsiteY1138" fmla="*/ 823785 h 989988"/>
                  <a:gd name="connsiteX1139" fmla="*/ 244612 w 824741"/>
                  <a:gd name="connsiteY1139" fmla="*/ 823964 h 989988"/>
                  <a:gd name="connsiteX1140" fmla="*/ 244911 w 824741"/>
                  <a:gd name="connsiteY1140" fmla="*/ 824203 h 989988"/>
                  <a:gd name="connsiteX1141" fmla="*/ 245210 w 824741"/>
                  <a:gd name="connsiteY1141" fmla="*/ 824502 h 989988"/>
                  <a:gd name="connsiteX1142" fmla="*/ 245509 w 824741"/>
                  <a:gd name="connsiteY1142" fmla="*/ 824801 h 989988"/>
                  <a:gd name="connsiteX1143" fmla="*/ 245629 w 824741"/>
                  <a:gd name="connsiteY1143" fmla="*/ 824084 h 989988"/>
                  <a:gd name="connsiteX1144" fmla="*/ 550944 w 824741"/>
                  <a:gd name="connsiteY1144" fmla="*/ 369190 h 989988"/>
                  <a:gd name="connsiteX1145" fmla="*/ 585154 w 824741"/>
                  <a:gd name="connsiteY1145" fmla="*/ 390362 h 989988"/>
                  <a:gd name="connsiteX1146" fmla="*/ 557045 w 824741"/>
                  <a:gd name="connsiteY1146" fmla="*/ 416437 h 989988"/>
                  <a:gd name="connsiteX1147" fmla="*/ 537966 w 824741"/>
                  <a:gd name="connsiteY1147" fmla="*/ 404417 h 989988"/>
                  <a:gd name="connsiteX1148" fmla="*/ 550944 w 824741"/>
                  <a:gd name="connsiteY1148" fmla="*/ 369190 h 989988"/>
                  <a:gd name="connsiteX1149" fmla="*/ 278821 w 824741"/>
                  <a:gd name="connsiteY1149" fmla="*/ 848604 h 989988"/>
                  <a:gd name="connsiteX1150" fmla="*/ 284623 w 824741"/>
                  <a:gd name="connsiteY1150" fmla="*/ 852971 h 989988"/>
                  <a:gd name="connsiteX1151" fmla="*/ 278283 w 824741"/>
                  <a:gd name="connsiteY1151" fmla="*/ 874142 h 989988"/>
                  <a:gd name="connsiteX1152" fmla="*/ 268116 w 824741"/>
                  <a:gd name="connsiteY1152" fmla="*/ 885147 h 989988"/>
                  <a:gd name="connsiteX1153" fmla="*/ 278821 w 824741"/>
                  <a:gd name="connsiteY1153" fmla="*/ 848604 h 989988"/>
                  <a:gd name="connsiteX1154" fmla="*/ 664877 w 824741"/>
                  <a:gd name="connsiteY1154" fmla="*/ 222782 h 989988"/>
                  <a:gd name="connsiteX1155" fmla="*/ 665535 w 824741"/>
                  <a:gd name="connsiteY1155" fmla="*/ 222244 h 989988"/>
                  <a:gd name="connsiteX1156" fmla="*/ 687544 w 824741"/>
                  <a:gd name="connsiteY1156" fmla="*/ 234983 h 989988"/>
                  <a:gd name="connsiteX1157" fmla="*/ 687245 w 824741"/>
                  <a:gd name="connsiteY1157" fmla="*/ 235760 h 989988"/>
                  <a:gd name="connsiteX1158" fmla="*/ 664877 w 824741"/>
                  <a:gd name="connsiteY1158" fmla="*/ 222782 h 989988"/>
                  <a:gd name="connsiteX1159" fmla="*/ 235043 w 824741"/>
                  <a:gd name="connsiteY1159" fmla="*/ 865171 h 989988"/>
                  <a:gd name="connsiteX1160" fmla="*/ 265784 w 824741"/>
                  <a:gd name="connsiteY1160" fmla="*/ 888317 h 989988"/>
                  <a:gd name="connsiteX1161" fmla="*/ 259564 w 824741"/>
                  <a:gd name="connsiteY1161" fmla="*/ 909668 h 989988"/>
                  <a:gd name="connsiteX1162" fmla="*/ 229421 w 824741"/>
                  <a:gd name="connsiteY1162" fmla="*/ 886821 h 989988"/>
                  <a:gd name="connsiteX1163" fmla="*/ 235043 w 824741"/>
                  <a:gd name="connsiteY1163" fmla="*/ 865171 h 989988"/>
                  <a:gd name="connsiteX1164" fmla="*/ 368353 w 824741"/>
                  <a:gd name="connsiteY1164" fmla="*/ 541016 h 989988"/>
                  <a:gd name="connsiteX1165" fmla="*/ 447298 w 824741"/>
                  <a:gd name="connsiteY1165" fmla="*/ 594005 h 989988"/>
                  <a:gd name="connsiteX1166" fmla="*/ 430553 w 824741"/>
                  <a:gd name="connsiteY1166" fmla="*/ 641014 h 989988"/>
                  <a:gd name="connsiteX1167" fmla="*/ 332887 w 824741"/>
                  <a:gd name="connsiteY1167" fmla="*/ 574269 h 989988"/>
                  <a:gd name="connsiteX1168" fmla="*/ 313809 w 824741"/>
                  <a:gd name="connsiteY1168" fmla="*/ 561171 h 989988"/>
                  <a:gd name="connsiteX1169" fmla="*/ 312493 w 824741"/>
                  <a:gd name="connsiteY1169" fmla="*/ 560274 h 989988"/>
                  <a:gd name="connsiteX1170" fmla="*/ 299395 w 824741"/>
                  <a:gd name="connsiteY1170" fmla="*/ 551303 h 989988"/>
                  <a:gd name="connsiteX1171" fmla="*/ 238332 w 824741"/>
                  <a:gd name="connsiteY1171" fmla="*/ 509557 h 989988"/>
                  <a:gd name="connsiteX1172" fmla="*/ 202687 w 824741"/>
                  <a:gd name="connsiteY1172" fmla="*/ 485216 h 989988"/>
                  <a:gd name="connsiteX1173" fmla="*/ 201251 w 824741"/>
                  <a:gd name="connsiteY1173" fmla="*/ 484199 h 989988"/>
                  <a:gd name="connsiteX1174" fmla="*/ 171707 w 824741"/>
                  <a:gd name="connsiteY1174" fmla="*/ 464044 h 989988"/>
                  <a:gd name="connsiteX1175" fmla="*/ 59329 w 824741"/>
                  <a:gd name="connsiteY1175" fmla="*/ 387252 h 989988"/>
                  <a:gd name="connsiteX1176" fmla="*/ 63456 w 824741"/>
                  <a:gd name="connsiteY1176" fmla="*/ 336296 h 989988"/>
                  <a:gd name="connsiteX1177" fmla="*/ 132892 w 824741"/>
                  <a:gd name="connsiteY1177" fmla="*/ 382886 h 989988"/>
                  <a:gd name="connsiteX1178" fmla="*/ 132892 w 824741"/>
                  <a:gd name="connsiteY1178" fmla="*/ 383005 h 989988"/>
                  <a:gd name="connsiteX1179" fmla="*/ 134507 w 824741"/>
                  <a:gd name="connsiteY1179" fmla="*/ 384082 h 989988"/>
                  <a:gd name="connsiteX1180" fmla="*/ 134507 w 824741"/>
                  <a:gd name="connsiteY1180" fmla="*/ 383962 h 989988"/>
                  <a:gd name="connsiteX1181" fmla="*/ 170152 w 824741"/>
                  <a:gd name="connsiteY1181" fmla="*/ 407885 h 989988"/>
                  <a:gd name="connsiteX1182" fmla="*/ 170152 w 824741"/>
                  <a:gd name="connsiteY1182" fmla="*/ 408065 h 989988"/>
                  <a:gd name="connsiteX1183" fmla="*/ 171707 w 824741"/>
                  <a:gd name="connsiteY1183" fmla="*/ 409141 h 989988"/>
                  <a:gd name="connsiteX1184" fmla="*/ 171707 w 824741"/>
                  <a:gd name="connsiteY1184" fmla="*/ 408962 h 989988"/>
                  <a:gd name="connsiteX1185" fmla="*/ 209864 w 824741"/>
                  <a:gd name="connsiteY1185" fmla="*/ 434619 h 989988"/>
                  <a:gd name="connsiteX1186" fmla="*/ 209864 w 824741"/>
                  <a:gd name="connsiteY1186" fmla="*/ 434798 h 989988"/>
                  <a:gd name="connsiteX1187" fmla="*/ 211359 w 824741"/>
                  <a:gd name="connsiteY1187" fmla="*/ 435815 h 989988"/>
                  <a:gd name="connsiteX1188" fmla="*/ 211419 w 824741"/>
                  <a:gd name="connsiteY1188" fmla="*/ 435636 h 989988"/>
                  <a:gd name="connsiteX1189" fmla="*/ 285401 w 824741"/>
                  <a:gd name="connsiteY1189" fmla="*/ 485336 h 989988"/>
                  <a:gd name="connsiteX1190" fmla="*/ 285341 w 824741"/>
                  <a:gd name="connsiteY1190" fmla="*/ 485575 h 989988"/>
                  <a:gd name="connsiteX1191" fmla="*/ 286716 w 824741"/>
                  <a:gd name="connsiteY1191" fmla="*/ 486472 h 989988"/>
                  <a:gd name="connsiteX1192" fmla="*/ 286836 w 824741"/>
                  <a:gd name="connsiteY1192" fmla="*/ 486173 h 989988"/>
                  <a:gd name="connsiteX1193" fmla="*/ 324993 w 824741"/>
                  <a:gd name="connsiteY1193" fmla="*/ 511830 h 989988"/>
                  <a:gd name="connsiteX1194" fmla="*/ 324873 w 824741"/>
                  <a:gd name="connsiteY1194" fmla="*/ 512129 h 989988"/>
                  <a:gd name="connsiteX1195" fmla="*/ 326189 w 824741"/>
                  <a:gd name="connsiteY1195" fmla="*/ 513026 h 989988"/>
                  <a:gd name="connsiteX1196" fmla="*/ 326249 w 824741"/>
                  <a:gd name="connsiteY1196" fmla="*/ 512727 h 989988"/>
                  <a:gd name="connsiteX1197" fmla="*/ 367097 w 824741"/>
                  <a:gd name="connsiteY1197" fmla="*/ 540119 h 989988"/>
                  <a:gd name="connsiteX1198" fmla="*/ 366978 w 824741"/>
                  <a:gd name="connsiteY1198" fmla="*/ 540478 h 989988"/>
                  <a:gd name="connsiteX1199" fmla="*/ 368233 w 824741"/>
                  <a:gd name="connsiteY1199" fmla="*/ 541375 h 989988"/>
                  <a:gd name="connsiteX1200" fmla="*/ 368353 w 824741"/>
                  <a:gd name="connsiteY1200" fmla="*/ 541016 h 989988"/>
                  <a:gd name="connsiteX1201" fmla="*/ 520742 w 824741"/>
                  <a:gd name="connsiteY1201" fmla="*/ 329956 h 989988"/>
                  <a:gd name="connsiteX1202" fmla="*/ 598671 w 824741"/>
                  <a:gd name="connsiteY1202" fmla="*/ 377742 h 989988"/>
                  <a:gd name="connsiteX1203" fmla="*/ 586590 w 824741"/>
                  <a:gd name="connsiteY1203" fmla="*/ 388986 h 989988"/>
                  <a:gd name="connsiteX1204" fmla="*/ 515599 w 824741"/>
                  <a:gd name="connsiteY1204" fmla="*/ 345028 h 989988"/>
                  <a:gd name="connsiteX1205" fmla="*/ 520742 w 824741"/>
                  <a:gd name="connsiteY1205" fmla="*/ 329956 h 989988"/>
                  <a:gd name="connsiteX1206" fmla="*/ 228882 w 824741"/>
                  <a:gd name="connsiteY1206" fmla="*/ 888795 h 989988"/>
                  <a:gd name="connsiteX1207" fmla="*/ 258966 w 824741"/>
                  <a:gd name="connsiteY1207" fmla="*/ 911582 h 989988"/>
                  <a:gd name="connsiteX1208" fmla="*/ 256453 w 824741"/>
                  <a:gd name="connsiteY1208" fmla="*/ 920074 h 989988"/>
                  <a:gd name="connsiteX1209" fmla="*/ 226610 w 824741"/>
                  <a:gd name="connsiteY1209" fmla="*/ 897347 h 989988"/>
                  <a:gd name="connsiteX1210" fmla="*/ 228882 w 824741"/>
                  <a:gd name="connsiteY1210" fmla="*/ 888795 h 989988"/>
                  <a:gd name="connsiteX1211" fmla="*/ 648610 w 824741"/>
                  <a:gd name="connsiteY1211" fmla="*/ 236179 h 989988"/>
                  <a:gd name="connsiteX1212" fmla="*/ 663262 w 824741"/>
                  <a:gd name="connsiteY1212" fmla="*/ 224098 h 989988"/>
                  <a:gd name="connsiteX1213" fmla="*/ 686468 w 824741"/>
                  <a:gd name="connsiteY1213" fmla="*/ 237554 h 989988"/>
                  <a:gd name="connsiteX1214" fmla="*/ 679471 w 824741"/>
                  <a:gd name="connsiteY1214" fmla="*/ 254240 h 989988"/>
                  <a:gd name="connsiteX1215" fmla="*/ 648610 w 824741"/>
                  <a:gd name="connsiteY1215" fmla="*/ 236179 h 989988"/>
                  <a:gd name="connsiteX1216" fmla="*/ 353820 w 824741"/>
                  <a:gd name="connsiteY1216" fmla="*/ 590955 h 989988"/>
                  <a:gd name="connsiteX1217" fmla="*/ 429894 w 824741"/>
                  <a:gd name="connsiteY1217" fmla="*/ 642808 h 989988"/>
                  <a:gd name="connsiteX1218" fmla="*/ 424990 w 824741"/>
                  <a:gd name="connsiteY1218" fmla="*/ 656504 h 989988"/>
                  <a:gd name="connsiteX1219" fmla="*/ 349753 w 824741"/>
                  <a:gd name="connsiteY1219" fmla="*/ 604830 h 989988"/>
                  <a:gd name="connsiteX1220" fmla="*/ 353820 w 824741"/>
                  <a:gd name="connsiteY1220" fmla="*/ 590955 h 989988"/>
                  <a:gd name="connsiteX1221" fmla="*/ 687604 w 824741"/>
                  <a:gd name="connsiteY1221" fmla="*/ 238212 h 989988"/>
                  <a:gd name="connsiteX1222" fmla="*/ 690535 w 824741"/>
                  <a:gd name="connsiteY1222" fmla="*/ 239887 h 989988"/>
                  <a:gd name="connsiteX1223" fmla="*/ 683537 w 824741"/>
                  <a:gd name="connsiteY1223" fmla="*/ 256573 h 989988"/>
                  <a:gd name="connsiteX1224" fmla="*/ 680607 w 824741"/>
                  <a:gd name="connsiteY1224" fmla="*/ 254839 h 989988"/>
                  <a:gd name="connsiteX1225" fmla="*/ 687604 w 824741"/>
                  <a:gd name="connsiteY1225" fmla="*/ 238212 h 989988"/>
                  <a:gd name="connsiteX1226" fmla="*/ 349214 w 824741"/>
                  <a:gd name="connsiteY1226" fmla="*/ 606804 h 989988"/>
                  <a:gd name="connsiteX1227" fmla="*/ 424333 w 824741"/>
                  <a:gd name="connsiteY1227" fmla="*/ 658358 h 989988"/>
                  <a:gd name="connsiteX1228" fmla="*/ 416378 w 824741"/>
                  <a:gd name="connsiteY1228" fmla="*/ 680726 h 989988"/>
                  <a:gd name="connsiteX1229" fmla="*/ 350590 w 824741"/>
                  <a:gd name="connsiteY1229" fmla="*/ 635153 h 989988"/>
                  <a:gd name="connsiteX1230" fmla="*/ 342576 w 824741"/>
                  <a:gd name="connsiteY1230" fmla="*/ 629531 h 989988"/>
                  <a:gd name="connsiteX1231" fmla="*/ 349214 w 824741"/>
                  <a:gd name="connsiteY1231" fmla="*/ 606804 h 989988"/>
                  <a:gd name="connsiteX1232" fmla="*/ 285819 w 824741"/>
                  <a:gd name="connsiteY1232" fmla="*/ 853868 h 989988"/>
                  <a:gd name="connsiteX1233" fmla="*/ 300950 w 824741"/>
                  <a:gd name="connsiteY1233" fmla="*/ 865051 h 989988"/>
                  <a:gd name="connsiteX1234" fmla="*/ 287673 w 824741"/>
                  <a:gd name="connsiteY1234" fmla="*/ 879644 h 989988"/>
                  <a:gd name="connsiteX1235" fmla="*/ 279898 w 824741"/>
                  <a:gd name="connsiteY1235" fmla="*/ 873843 h 989988"/>
                  <a:gd name="connsiteX1236" fmla="*/ 285819 w 824741"/>
                  <a:gd name="connsiteY1236" fmla="*/ 853868 h 989988"/>
                  <a:gd name="connsiteX1237" fmla="*/ 351189 w 824741"/>
                  <a:gd name="connsiteY1237" fmla="*/ 681264 h 989988"/>
                  <a:gd name="connsiteX1238" fmla="*/ 376965 w 824741"/>
                  <a:gd name="connsiteY1238" fmla="*/ 655786 h 989988"/>
                  <a:gd name="connsiteX1239" fmla="*/ 415720 w 824741"/>
                  <a:gd name="connsiteY1239" fmla="*/ 682580 h 989988"/>
                  <a:gd name="connsiteX1240" fmla="*/ 403221 w 824741"/>
                  <a:gd name="connsiteY1240" fmla="*/ 717746 h 989988"/>
                  <a:gd name="connsiteX1241" fmla="*/ 351189 w 824741"/>
                  <a:gd name="connsiteY1241" fmla="*/ 681264 h 989988"/>
                  <a:gd name="connsiteX1242" fmla="*/ 487608 w 824741"/>
                  <a:gd name="connsiteY1242" fmla="*/ 483422 h 989988"/>
                  <a:gd name="connsiteX1243" fmla="*/ 532046 w 824741"/>
                  <a:gd name="connsiteY1243" fmla="*/ 512129 h 989988"/>
                  <a:gd name="connsiteX1244" fmla="*/ 525945 w 824741"/>
                  <a:gd name="connsiteY1244" fmla="*/ 527679 h 989988"/>
                  <a:gd name="connsiteX1245" fmla="*/ 482047 w 824741"/>
                  <a:gd name="connsiteY1245" fmla="*/ 499091 h 989988"/>
                  <a:gd name="connsiteX1246" fmla="*/ 487608 w 824741"/>
                  <a:gd name="connsiteY1246" fmla="*/ 483422 h 989988"/>
                  <a:gd name="connsiteX1247" fmla="*/ 488625 w 824741"/>
                  <a:gd name="connsiteY1247" fmla="*/ 481867 h 989988"/>
                  <a:gd name="connsiteX1248" fmla="*/ 501005 w 824741"/>
                  <a:gd name="connsiteY1248" fmla="*/ 470324 h 989988"/>
                  <a:gd name="connsiteX1249" fmla="*/ 544963 w 824741"/>
                  <a:gd name="connsiteY1249" fmla="*/ 498553 h 989988"/>
                  <a:gd name="connsiteX1250" fmla="*/ 532943 w 824741"/>
                  <a:gd name="connsiteY1250" fmla="*/ 510574 h 989988"/>
                  <a:gd name="connsiteX1251" fmla="*/ 488625 w 824741"/>
                  <a:gd name="connsiteY1251" fmla="*/ 481867 h 989988"/>
                  <a:gd name="connsiteX1252" fmla="*/ 584197 w 824741"/>
                  <a:gd name="connsiteY1252" fmla="*/ 277745 h 989988"/>
                  <a:gd name="connsiteX1253" fmla="*/ 658478 w 824741"/>
                  <a:gd name="connsiteY1253" fmla="*/ 322122 h 989988"/>
                  <a:gd name="connsiteX1254" fmla="*/ 600106 w 824741"/>
                  <a:gd name="connsiteY1254" fmla="*/ 376367 h 989988"/>
                  <a:gd name="connsiteX1255" fmla="*/ 521878 w 824741"/>
                  <a:gd name="connsiteY1255" fmla="*/ 328282 h 989988"/>
                  <a:gd name="connsiteX1256" fmla="*/ 522057 w 824741"/>
                  <a:gd name="connsiteY1256" fmla="*/ 328162 h 989988"/>
                  <a:gd name="connsiteX1257" fmla="*/ 521699 w 824741"/>
                  <a:gd name="connsiteY1257" fmla="*/ 327983 h 989988"/>
                  <a:gd name="connsiteX1258" fmla="*/ 521340 w 824741"/>
                  <a:gd name="connsiteY1258" fmla="*/ 327804 h 989988"/>
                  <a:gd name="connsiteX1259" fmla="*/ 521041 w 824741"/>
                  <a:gd name="connsiteY1259" fmla="*/ 327564 h 989988"/>
                  <a:gd name="connsiteX1260" fmla="*/ 520742 w 824741"/>
                  <a:gd name="connsiteY1260" fmla="*/ 327325 h 989988"/>
                  <a:gd name="connsiteX1261" fmla="*/ 520502 w 824741"/>
                  <a:gd name="connsiteY1261" fmla="*/ 327504 h 989988"/>
                  <a:gd name="connsiteX1262" fmla="*/ 480073 w 824741"/>
                  <a:gd name="connsiteY1262" fmla="*/ 302625 h 989988"/>
                  <a:gd name="connsiteX1263" fmla="*/ 480552 w 824741"/>
                  <a:gd name="connsiteY1263" fmla="*/ 302266 h 989988"/>
                  <a:gd name="connsiteX1264" fmla="*/ 480133 w 824741"/>
                  <a:gd name="connsiteY1264" fmla="*/ 302086 h 989988"/>
                  <a:gd name="connsiteX1265" fmla="*/ 479714 w 824741"/>
                  <a:gd name="connsiteY1265" fmla="*/ 301907 h 989988"/>
                  <a:gd name="connsiteX1266" fmla="*/ 479295 w 824741"/>
                  <a:gd name="connsiteY1266" fmla="*/ 301727 h 989988"/>
                  <a:gd name="connsiteX1267" fmla="*/ 478937 w 824741"/>
                  <a:gd name="connsiteY1267" fmla="*/ 301548 h 989988"/>
                  <a:gd name="connsiteX1268" fmla="*/ 478697 w 824741"/>
                  <a:gd name="connsiteY1268" fmla="*/ 301727 h 989988"/>
                  <a:gd name="connsiteX1269" fmla="*/ 442813 w 824741"/>
                  <a:gd name="connsiteY1269" fmla="*/ 279658 h 989988"/>
                  <a:gd name="connsiteX1270" fmla="*/ 441617 w 824741"/>
                  <a:gd name="connsiteY1270" fmla="*/ 279419 h 989988"/>
                  <a:gd name="connsiteX1271" fmla="*/ 440540 w 824741"/>
                  <a:gd name="connsiteY1271" fmla="*/ 278881 h 989988"/>
                  <a:gd name="connsiteX1272" fmla="*/ 440301 w 824741"/>
                  <a:gd name="connsiteY1272" fmla="*/ 278762 h 989988"/>
                  <a:gd name="connsiteX1273" fmla="*/ 440062 w 824741"/>
                  <a:gd name="connsiteY1273" fmla="*/ 278582 h 989988"/>
                  <a:gd name="connsiteX1274" fmla="*/ 439823 w 824741"/>
                  <a:gd name="connsiteY1274" fmla="*/ 278403 h 989988"/>
                  <a:gd name="connsiteX1275" fmla="*/ 439583 w 824741"/>
                  <a:gd name="connsiteY1275" fmla="*/ 278163 h 989988"/>
                  <a:gd name="connsiteX1276" fmla="*/ 439344 w 824741"/>
                  <a:gd name="connsiteY1276" fmla="*/ 277924 h 989988"/>
                  <a:gd name="connsiteX1277" fmla="*/ 439105 w 824741"/>
                  <a:gd name="connsiteY1277" fmla="*/ 277685 h 989988"/>
                  <a:gd name="connsiteX1278" fmla="*/ 438865 w 824741"/>
                  <a:gd name="connsiteY1278" fmla="*/ 277386 h 989988"/>
                  <a:gd name="connsiteX1279" fmla="*/ 438627 w 824741"/>
                  <a:gd name="connsiteY1279" fmla="*/ 277087 h 989988"/>
                  <a:gd name="connsiteX1280" fmla="*/ 366021 w 824741"/>
                  <a:gd name="connsiteY1280" fmla="*/ 232471 h 989988"/>
                  <a:gd name="connsiteX1281" fmla="*/ 366619 w 824741"/>
                  <a:gd name="connsiteY1281" fmla="*/ 232112 h 989988"/>
                  <a:gd name="connsiteX1282" fmla="*/ 366379 w 824741"/>
                  <a:gd name="connsiteY1282" fmla="*/ 232052 h 989988"/>
                  <a:gd name="connsiteX1283" fmla="*/ 366140 w 824741"/>
                  <a:gd name="connsiteY1283" fmla="*/ 231992 h 989988"/>
                  <a:gd name="connsiteX1284" fmla="*/ 365901 w 824741"/>
                  <a:gd name="connsiteY1284" fmla="*/ 231932 h 989988"/>
                  <a:gd name="connsiteX1285" fmla="*/ 365661 w 824741"/>
                  <a:gd name="connsiteY1285" fmla="*/ 231813 h 989988"/>
                  <a:gd name="connsiteX1286" fmla="*/ 365363 w 824741"/>
                  <a:gd name="connsiteY1286" fmla="*/ 231753 h 989988"/>
                  <a:gd name="connsiteX1287" fmla="*/ 365064 w 824741"/>
                  <a:gd name="connsiteY1287" fmla="*/ 231633 h 989988"/>
                  <a:gd name="connsiteX1288" fmla="*/ 364765 w 824741"/>
                  <a:gd name="connsiteY1288" fmla="*/ 231514 h 989988"/>
                  <a:gd name="connsiteX1289" fmla="*/ 364525 w 824741"/>
                  <a:gd name="connsiteY1289" fmla="*/ 231334 h 989988"/>
                  <a:gd name="connsiteX1290" fmla="*/ 364406 w 824741"/>
                  <a:gd name="connsiteY1290" fmla="*/ 231394 h 989988"/>
                  <a:gd name="connsiteX1291" fmla="*/ 326608 w 824741"/>
                  <a:gd name="connsiteY1291" fmla="*/ 208129 h 989988"/>
                  <a:gd name="connsiteX1292" fmla="*/ 326907 w 824741"/>
                  <a:gd name="connsiteY1292" fmla="*/ 207950 h 989988"/>
                  <a:gd name="connsiteX1293" fmla="*/ 326368 w 824741"/>
                  <a:gd name="connsiteY1293" fmla="*/ 207830 h 989988"/>
                  <a:gd name="connsiteX1294" fmla="*/ 325890 w 824741"/>
                  <a:gd name="connsiteY1294" fmla="*/ 207651 h 989988"/>
                  <a:gd name="connsiteX1295" fmla="*/ 325411 w 824741"/>
                  <a:gd name="connsiteY1295" fmla="*/ 207352 h 989988"/>
                  <a:gd name="connsiteX1296" fmla="*/ 324993 w 824741"/>
                  <a:gd name="connsiteY1296" fmla="*/ 207053 h 989988"/>
                  <a:gd name="connsiteX1297" fmla="*/ 324933 w 824741"/>
                  <a:gd name="connsiteY1297" fmla="*/ 207112 h 989988"/>
                  <a:gd name="connsiteX1298" fmla="*/ 289587 w 824741"/>
                  <a:gd name="connsiteY1298" fmla="*/ 185343 h 989988"/>
                  <a:gd name="connsiteX1299" fmla="*/ 290065 w 824741"/>
                  <a:gd name="connsiteY1299" fmla="*/ 185103 h 989988"/>
                  <a:gd name="connsiteX1300" fmla="*/ 289707 w 824741"/>
                  <a:gd name="connsiteY1300" fmla="*/ 184804 h 989988"/>
                  <a:gd name="connsiteX1301" fmla="*/ 289347 w 824741"/>
                  <a:gd name="connsiteY1301" fmla="*/ 184505 h 989988"/>
                  <a:gd name="connsiteX1302" fmla="*/ 289049 w 824741"/>
                  <a:gd name="connsiteY1302" fmla="*/ 184146 h 989988"/>
                  <a:gd name="connsiteX1303" fmla="*/ 288690 w 824741"/>
                  <a:gd name="connsiteY1303" fmla="*/ 183788 h 989988"/>
                  <a:gd name="connsiteX1304" fmla="*/ 287852 w 824741"/>
                  <a:gd name="connsiteY1304" fmla="*/ 184266 h 989988"/>
                  <a:gd name="connsiteX1305" fmla="*/ 218835 w 824741"/>
                  <a:gd name="connsiteY1305" fmla="*/ 141803 h 989988"/>
                  <a:gd name="connsiteX1306" fmla="*/ 294610 w 824741"/>
                  <a:gd name="connsiteY1306" fmla="*/ 104483 h 989988"/>
                  <a:gd name="connsiteX1307" fmla="*/ 358066 w 824741"/>
                  <a:gd name="connsiteY1307" fmla="*/ 142401 h 989988"/>
                  <a:gd name="connsiteX1308" fmla="*/ 359262 w 824741"/>
                  <a:gd name="connsiteY1308" fmla="*/ 142760 h 989988"/>
                  <a:gd name="connsiteX1309" fmla="*/ 360220 w 824741"/>
                  <a:gd name="connsiteY1309" fmla="*/ 143418 h 989988"/>
                  <a:gd name="connsiteX1310" fmla="*/ 361116 w 824741"/>
                  <a:gd name="connsiteY1310" fmla="*/ 144315 h 989988"/>
                  <a:gd name="connsiteX1311" fmla="*/ 361715 w 824741"/>
                  <a:gd name="connsiteY1311" fmla="*/ 145451 h 989988"/>
                  <a:gd name="connsiteX1312" fmla="*/ 362373 w 824741"/>
                  <a:gd name="connsiteY1312" fmla="*/ 145092 h 989988"/>
                  <a:gd name="connsiteX1313" fmla="*/ 396104 w 824741"/>
                  <a:gd name="connsiteY1313" fmla="*/ 165247 h 989988"/>
                  <a:gd name="connsiteX1314" fmla="*/ 395386 w 824741"/>
                  <a:gd name="connsiteY1314" fmla="*/ 165666 h 989988"/>
                  <a:gd name="connsiteX1315" fmla="*/ 395745 w 824741"/>
                  <a:gd name="connsiteY1315" fmla="*/ 165965 h 989988"/>
                  <a:gd name="connsiteX1316" fmla="*/ 396104 w 824741"/>
                  <a:gd name="connsiteY1316" fmla="*/ 166264 h 989988"/>
                  <a:gd name="connsiteX1317" fmla="*/ 396462 w 824741"/>
                  <a:gd name="connsiteY1317" fmla="*/ 166563 h 989988"/>
                  <a:gd name="connsiteX1318" fmla="*/ 396822 w 824741"/>
                  <a:gd name="connsiteY1318" fmla="*/ 166862 h 989988"/>
                  <a:gd name="connsiteX1319" fmla="*/ 397778 w 824741"/>
                  <a:gd name="connsiteY1319" fmla="*/ 166324 h 989988"/>
                  <a:gd name="connsiteX1320" fmla="*/ 433902 w 824741"/>
                  <a:gd name="connsiteY1320" fmla="*/ 187854 h 989988"/>
                  <a:gd name="connsiteX1321" fmla="*/ 433483 w 824741"/>
                  <a:gd name="connsiteY1321" fmla="*/ 188094 h 989988"/>
                  <a:gd name="connsiteX1322" fmla="*/ 433722 w 824741"/>
                  <a:gd name="connsiteY1322" fmla="*/ 188452 h 989988"/>
                  <a:gd name="connsiteX1323" fmla="*/ 433962 w 824741"/>
                  <a:gd name="connsiteY1323" fmla="*/ 188752 h 989988"/>
                  <a:gd name="connsiteX1324" fmla="*/ 434141 w 824741"/>
                  <a:gd name="connsiteY1324" fmla="*/ 189111 h 989988"/>
                  <a:gd name="connsiteX1325" fmla="*/ 434320 w 824741"/>
                  <a:gd name="connsiteY1325" fmla="*/ 189469 h 989988"/>
                  <a:gd name="connsiteX1326" fmla="*/ 435457 w 824741"/>
                  <a:gd name="connsiteY1326" fmla="*/ 188752 h 989988"/>
                  <a:gd name="connsiteX1327" fmla="*/ 505431 w 824741"/>
                  <a:gd name="connsiteY1327" fmla="*/ 230617 h 989988"/>
                  <a:gd name="connsiteX1328" fmla="*/ 505252 w 824741"/>
                  <a:gd name="connsiteY1328" fmla="*/ 230736 h 989988"/>
                  <a:gd name="connsiteX1329" fmla="*/ 505850 w 824741"/>
                  <a:gd name="connsiteY1329" fmla="*/ 231275 h 989988"/>
                  <a:gd name="connsiteX1330" fmla="*/ 506388 w 824741"/>
                  <a:gd name="connsiteY1330" fmla="*/ 231873 h 989988"/>
                  <a:gd name="connsiteX1331" fmla="*/ 506926 w 824741"/>
                  <a:gd name="connsiteY1331" fmla="*/ 231454 h 989988"/>
                  <a:gd name="connsiteX1332" fmla="*/ 542093 w 824741"/>
                  <a:gd name="connsiteY1332" fmla="*/ 252506 h 989988"/>
                  <a:gd name="connsiteX1333" fmla="*/ 542930 w 824741"/>
                  <a:gd name="connsiteY1333" fmla="*/ 252626 h 989988"/>
                  <a:gd name="connsiteX1334" fmla="*/ 543648 w 824741"/>
                  <a:gd name="connsiteY1334" fmla="*/ 252985 h 989988"/>
                  <a:gd name="connsiteX1335" fmla="*/ 544246 w 824741"/>
                  <a:gd name="connsiteY1335" fmla="*/ 253463 h 989988"/>
                  <a:gd name="connsiteX1336" fmla="*/ 544785 w 824741"/>
                  <a:gd name="connsiteY1336" fmla="*/ 254121 h 989988"/>
                  <a:gd name="connsiteX1337" fmla="*/ 582702 w 824741"/>
                  <a:gd name="connsiteY1337" fmla="*/ 276788 h 989988"/>
                  <a:gd name="connsiteX1338" fmla="*/ 582702 w 824741"/>
                  <a:gd name="connsiteY1338" fmla="*/ 276848 h 989988"/>
                  <a:gd name="connsiteX1339" fmla="*/ 583061 w 824741"/>
                  <a:gd name="connsiteY1339" fmla="*/ 277027 h 989988"/>
                  <a:gd name="connsiteX1340" fmla="*/ 583360 w 824741"/>
                  <a:gd name="connsiteY1340" fmla="*/ 277206 h 989988"/>
                  <a:gd name="connsiteX1341" fmla="*/ 583719 w 824741"/>
                  <a:gd name="connsiteY1341" fmla="*/ 277386 h 989988"/>
                  <a:gd name="connsiteX1342" fmla="*/ 584078 w 824741"/>
                  <a:gd name="connsiteY1342" fmla="*/ 277625 h 989988"/>
                  <a:gd name="connsiteX1343" fmla="*/ 584197 w 824741"/>
                  <a:gd name="connsiteY1343" fmla="*/ 277745 h 989988"/>
                  <a:gd name="connsiteX1344" fmla="*/ 326368 w 824741"/>
                  <a:gd name="connsiteY1344" fmla="*/ 686826 h 989988"/>
                  <a:gd name="connsiteX1345" fmla="*/ 338688 w 824741"/>
                  <a:gd name="connsiteY1345" fmla="*/ 674865 h 989988"/>
                  <a:gd name="connsiteX1346" fmla="*/ 402623 w 824741"/>
                  <a:gd name="connsiteY1346" fmla="*/ 719600 h 989988"/>
                  <a:gd name="connsiteX1347" fmla="*/ 396642 w 824741"/>
                  <a:gd name="connsiteY1347" fmla="*/ 736406 h 989988"/>
                  <a:gd name="connsiteX1348" fmla="*/ 326368 w 824741"/>
                  <a:gd name="connsiteY1348" fmla="*/ 686826 h 989988"/>
                  <a:gd name="connsiteX1349" fmla="*/ 585812 w 824741"/>
                  <a:gd name="connsiteY1349" fmla="*/ 276489 h 989988"/>
                  <a:gd name="connsiteX1350" fmla="*/ 594066 w 824741"/>
                  <a:gd name="connsiteY1350" fmla="*/ 269790 h 989988"/>
                  <a:gd name="connsiteX1351" fmla="*/ 667748 w 824741"/>
                  <a:gd name="connsiteY1351" fmla="*/ 313689 h 989988"/>
                  <a:gd name="connsiteX1352" fmla="*/ 659973 w 824741"/>
                  <a:gd name="connsiteY1352" fmla="*/ 320866 h 989988"/>
                  <a:gd name="connsiteX1353" fmla="*/ 585812 w 824741"/>
                  <a:gd name="connsiteY1353" fmla="*/ 276489 h 989988"/>
                  <a:gd name="connsiteX1354" fmla="*/ 324993 w 824741"/>
                  <a:gd name="connsiteY1354" fmla="*/ 786824 h 989988"/>
                  <a:gd name="connsiteX1355" fmla="*/ 332050 w 824741"/>
                  <a:gd name="connsiteY1355" fmla="*/ 779407 h 989988"/>
                  <a:gd name="connsiteX1356" fmla="*/ 360518 w 824741"/>
                  <a:gd name="connsiteY1356" fmla="*/ 799922 h 989988"/>
                  <a:gd name="connsiteX1357" fmla="*/ 353580 w 824741"/>
                  <a:gd name="connsiteY1357" fmla="*/ 807517 h 989988"/>
                  <a:gd name="connsiteX1358" fmla="*/ 324993 w 824741"/>
                  <a:gd name="connsiteY1358" fmla="*/ 786824 h 989988"/>
                  <a:gd name="connsiteX1359" fmla="*/ 481329 w 824741"/>
                  <a:gd name="connsiteY1359" fmla="*/ 500945 h 989988"/>
                  <a:gd name="connsiteX1360" fmla="*/ 525168 w 824741"/>
                  <a:gd name="connsiteY1360" fmla="*/ 529413 h 989988"/>
                  <a:gd name="connsiteX1361" fmla="*/ 510634 w 824741"/>
                  <a:gd name="connsiteY1361" fmla="*/ 566614 h 989988"/>
                  <a:gd name="connsiteX1362" fmla="*/ 467992 w 824741"/>
                  <a:gd name="connsiteY1362" fmla="*/ 538444 h 989988"/>
                  <a:gd name="connsiteX1363" fmla="*/ 481329 w 824741"/>
                  <a:gd name="connsiteY1363" fmla="*/ 500945 h 989988"/>
                  <a:gd name="connsiteX1364" fmla="*/ 333366 w 824741"/>
                  <a:gd name="connsiteY1364" fmla="*/ 777972 h 989988"/>
                  <a:gd name="connsiteX1365" fmla="*/ 342038 w 824741"/>
                  <a:gd name="connsiteY1365" fmla="*/ 768822 h 989988"/>
                  <a:gd name="connsiteX1366" fmla="*/ 370327 w 824741"/>
                  <a:gd name="connsiteY1366" fmla="*/ 789097 h 989988"/>
                  <a:gd name="connsiteX1367" fmla="*/ 361715 w 824741"/>
                  <a:gd name="connsiteY1367" fmla="*/ 798486 h 989988"/>
                  <a:gd name="connsiteX1368" fmla="*/ 333366 w 824741"/>
                  <a:gd name="connsiteY1368" fmla="*/ 777972 h 989988"/>
                  <a:gd name="connsiteX1369" fmla="*/ 325411 w 824741"/>
                  <a:gd name="connsiteY1369" fmla="*/ 688560 h 989988"/>
                  <a:gd name="connsiteX1370" fmla="*/ 395984 w 824741"/>
                  <a:gd name="connsiteY1370" fmla="*/ 738260 h 989988"/>
                  <a:gd name="connsiteX1371" fmla="*/ 387372 w 824741"/>
                  <a:gd name="connsiteY1371" fmla="*/ 762482 h 989988"/>
                  <a:gd name="connsiteX1372" fmla="*/ 318235 w 824741"/>
                  <a:gd name="connsiteY1372" fmla="*/ 713321 h 989988"/>
                  <a:gd name="connsiteX1373" fmla="*/ 325411 w 824741"/>
                  <a:gd name="connsiteY1373" fmla="*/ 688560 h 989988"/>
                  <a:gd name="connsiteX1374" fmla="*/ 354537 w 824741"/>
                  <a:gd name="connsiteY1374" fmla="*/ 808294 h 989988"/>
                  <a:gd name="connsiteX1375" fmla="*/ 359980 w 824741"/>
                  <a:gd name="connsiteY1375" fmla="*/ 802374 h 989988"/>
                  <a:gd name="connsiteX1376" fmla="*/ 357289 w 824741"/>
                  <a:gd name="connsiteY1376" fmla="*/ 809909 h 989988"/>
                  <a:gd name="connsiteX1377" fmla="*/ 357109 w 824741"/>
                  <a:gd name="connsiteY1377" fmla="*/ 810089 h 989988"/>
                  <a:gd name="connsiteX1378" fmla="*/ 354537 w 824741"/>
                  <a:gd name="connsiteY1378" fmla="*/ 808294 h 989988"/>
                  <a:gd name="connsiteX1379" fmla="*/ 317637 w 824741"/>
                  <a:gd name="connsiteY1379" fmla="*/ 715234 h 989988"/>
                  <a:gd name="connsiteX1380" fmla="*/ 386714 w 824741"/>
                  <a:gd name="connsiteY1380" fmla="*/ 764276 h 989988"/>
                  <a:gd name="connsiteX1381" fmla="*/ 382647 w 824741"/>
                  <a:gd name="connsiteY1381" fmla="*/ 775759 h 989988"/>
                  <a:gd name="connsiteX1382" fmla="*/ 314287 w 824741"/>
                  <a:gd name="connsiteY1382" fmla="*/ 726897 h 989988"/>
                  <a:gd name="connsiteX1383" fmla="*/ 317637 w 824741"/>
                  <a:gd name="connsiteY1383" fmla="*/ 715234 h 989988"/>
                  <a:gd name="connsiteX1384" fmla="*/ 313689 w 824741"/>
                  <a:gd name="connsiteY1384" fmla="*/ 728930 h 989988"/>
                  <a:gd name="connsiteX1385" fmla="*/ 381989 w 824741"/>
                  <a:gd name="connsiteY1385" fmla="*/ 777673 h 989988"/>
                  <a:gd name="connsiteX1386" fmla="*/ 377025 w 824741"/>
                  <a:gd name="connsiteY1386" fmla="*/ 791668 h 989988"/>
                  <a:gd name="connsiteX1387" fmla="*/ 309562 w 824741"/>
                  <a:gd name="connsiteY1387" fmla="*/ 743164 h 989988"/>
                  <a:gd name="connsiteX1388" fmla="*/ 313689 w 824741"/>
                  <a:gd name="connsiteY1388" fmla="*/ 728930 h 989988"/>
                  <a:gd name="connsiteX1389" fmla="*/ 502500 w 824741"/>
                  <a:gd name="connsiteY1389" fmla="*/ 469008 h 989988"/>
                  <a:gd name="connsiteX1390" fmla="*/ 556806 w 824741"/>
                  <a:gd name="connsiteY1390" fmla="*/ 418531 h 989988"/>
                  <a:gd name="connsiteX1391" fmla="*/ 598850 w 824741"/>
                  <a:gd name="connsiteY1391" fmla="*/ 444846 h 989988"/>
                  <a:gd name="connsiteX1392" fmla="*/ 546340 w 824741"/>
                  <a:gd name="connsiteY1392" fmla="*/ 497237 h 989988"/>
                  <a:gd name="connsiteX1393" fmla="*/ 502500 w 824741"/>
                  <a:gd name="connsiteY1393" fmla="*/ 469008 h 989988"/>
                  <a:gd name="connsiteX1394" fmla="*/ 362791 w 824741"/>
                  <a:gd name="connsiteY1394" fmla="*/ 799323 h 989988"/>
                  <a:gd name="connsiteX1395" fmla="*/ 371403 w 824741"/>
                  <a:gd name="connsiteY1395" fmla="*/ 789934 h 989988"/>
                  <a:gd name="connsiteX1396" fmla="*/ 376307 w 824741"/>
                  <a:gd name="connsiteY1396" fmla="*/ 793462 h 989988"/>
                  <a:gd name="connsiteX1397" fmla="*/ 371882 w 824741"/>
                  <a:gd name="connsiteY1397" fmla="*/ 805843 h 989988"/>
                  <a:gd name="connsiteX1398" fmla="*/ 362791 w 824741"/>
                  <a:gd name="connsiteY1398" fmla="*/ 799323 h 989988"/>
                  <a:gd name="connsiteX1399" fmla="*/ 467334 w 824741"/>
                  <a:gd name="connsiteY1399" fmla="*/ 540358 h 989988"/>
                  <a:gd name="connsiteX1400" fmla="*/ 509976 w 824741"/>
                  <a:gd name="connsiteY1400" fmla="*/ 568468 h 989988"/>
                  <a:gd name="connsiteX1401" fmla="*/ 490001 w 824741"/>
                  <a:gd name="connsiteY1401" fmla="*/ 620380 h 989988"/>
                  <a:gd name="connsiteX1402" fmla="*/ 449093 w 824741"/>
                  <a:gd name="connsiteY1402" fmla="*/ 592869 h 989988"/>
                  <a:gd name="connsiteX1403" fmla="*/ 467334 w 824741"/>
                  <a:gd name="connsiteY1403" fmla="*/ 540358 h 989988"/>
                  <a:gd name="connsiteX1404" fmla="*/ 599867 w 824741"/>
                  <a:gd name="connsiteY1404" fmla="*/ 210043 h 989988"/>
                  <a:gd name="connsiteX1405" fmla="*/ 600106 w 824741"/>
                  <a:gd name="connsiteY1405" fmla="*/ 210282 h 989988"/>
                  <a:gd name="connsiteX1406" fmla="*/ 600345 w 824741"/>
                  <a:gd name="connsiteY1406" fmla="*/ 210581 h 989988"/>
                  <a:gd name="connsiteX1407" fmla="*/ 600584 w 824741"/>
                  <a:gd name="connsiteY1407" fmla="*/ 210880 h 989988"/>
                  <a:gd name="connsiteX1408" fmla="*/ 600764 w 824741"/>
                  <a:gd name="connsiteY1408" fmla="*/ 211179 h 989988"/>
                  <a:gd name="connsiteX1409" fmla="*/ 601362 w 824741"/>
                  <a:gd name="connsiteY1409" fmla="*/ 210761 h 989988"/>
                  <a:gd name="connsiteX1410" fmla="*/ 635871 w 824741"/>
                  <a:gd name="connsiteY1410" fmla="*/ 230916 h 989988"/>
                  <a:gd name="connsiteX1411" fmla="*/ 637127 w 824741"/>
                  <a:gd name="connsiteY1411" fmla="*/ 231155 h 989988"/>
                  <a:gd name="connsiteX1412" fmla="*/ 638323 w 824741"/>
                  <a:gd name="connsiteY1412" fmla="*/ 231633 h 989988"/>
                  <a:gd name="connsiteX1413" fmla="*/ 638622 w 824741"/>
                  <a:gd name="connsiteY1413" fmla="*/ 231813 h 989988"/>
                  <a:gd name="connsiteX1414" fmla="*/ 638861 w 824741"/>
                  <a:gd name="connsiteY1414" fmla="*/ 231992 h 989988"/>
                  <a:gd name="connsiteX1415" fmla="*/ 639101 w 824741"/>
                  <a:gd name="connsiteY1415" fmla="*/ 232171 h 989988"/>
                  <a:gd name="connsiteX1416" fmla="*/ 639339 w 824741"/>
                  <a:gd name="connsiteY1416" fmla="*/ 232411 h 989988"/>
                  <a:gd name="connsiteX1417" fmla="*/ 639579 w 824741"/>
                  <a:gd name="connsiteY1417" fmla="*/ 232650 h 989988"/>
                  <a:gd name="connsiteX1418" fmla="*/ 639818 w 824741"/>
                  <a:gd name="connsiteY1418" fmla="*/ 232889 h 989988"/>
                  <a:gd name="connsiteX1419" fmla="*/ 640057 w 824741"/>
                  <a:gd name="connsiteY1419" fmla="*/ 233188 h 989988"/>
                  <a:gd name="connsiteX1420" fmla="*/ 640297 w 824741"/>
                  <a:gd name="connsiteY1420" fmla="*/ 233487 h 989988"/>
                  <a:gd name="connsiteX1421" fmla="*/ 709972 w 824741"/>
                  <a:gd name="connsiteY1421" fmla="*/ 274216 h 989988"/>
                  <a:gd name="connsiteX1422" fmla="*/ 669063 w 824741"/>
                  <a:gd name="connsiteY1422" fmla="*/ 312194 h 989988"/>
                  <a:gd name="connsiteX1423" fmla="*/ 595621 w 824741"/>
                  <a:gd name="connsiteY1423" fmla="*/ 268415 h 989988"/>
                  <a:gd name="connsiteX1424" fmla="*/ 595859 w 824741"/>
                  <a:gd name="connsiteY1424" fmla="*/ 268176 h 989988"/>
                  <a:gd name="connsiteX1425" fmla="*/ 595501 w 824741"/>
                  <a:gd name="connsiteY1425" fmla="*/ 267996 h 989988"/>
                  <a:gd name="connsiteX1426" fmla="*/ 595142 w 824741"/>
                  <a:gd name="connsiteY1426" fmla="*/ 267817 h 989988"/>
                  <a:gd name="connsiteX1427" fmla="*/ 594783 w 824741"/>
                  <a:gd name="connsiteY1427" fmla="*/ 267637 h 989988"/>
                  <a:gd name="connsiteX1428" fmla="*/ 594424 w 824741"/>
                  <a:gd name="connsiteY1428" fmla="*/ 267398 h 989988"/>
                  <a:gd name="connsiteX1429" fmla="*/ 594245 w 824741"/>
                  <a:gd name="connsiteY1429" fmla="*/ 267518 h 989988"/>
                  <a:gd name="connsiteX1430" fmla="*/ 557583 w 824741"/>
                  <a:gd name="connsiteY1430" fmla="*/ 245628 h 989988"/>
                  <a:gd name="connsiteX1431" fmla="*/ 556866 w 824741"/>
                  <a:gd name="connsiteY1431" fmla="*/ 245389 h 989988"/>
                  <a:gd name="connsiteX1432" fmla="*/ 556207 w 824741"/>
                  <a:gd name="connsiteY1432" fmla="*/ 244970 h 989988"/>
                  <a:gd name="connsiteX1433" fmla="*/ 555609 w 824741"/>
                  <a:gd name="connsiteY1433" fmla="*/ 244492 h 989988"/>
                  <a:gd name="connsiteX1434" fmla="*/ 555131 w 824741"/>
                  <a:gd name="connsiteY1434" fmla="*/ 243834 h 989988"/>
                  <a:gd name="connsiteX1435" fmla="*/ 554832 w 824741"/>
                  <a:gd name="connsiteY1435" fmla="*/ 244073 h 989988"/>
                  <a:gd name="connsiteX1436" fmla="*/ 519247 w 824741"/>
                  <a:gd name="connsiteY1436" fmla="*/ 222842 h 989988"/>
                  <a:gd name="connsiteX1437" fmla="*/ 519845 w 824741"/>
                  <a:gd name="connsiteY1437" fmla="*/ 222423 h 989988"/>
                  <a:gd name="connsiteX1438" fmla="*/ 519486 w 824741"/>
                  <a:gd name="connsiteY1438" fmla="*/ 222244 h 989988"/>
                  <a:gd name="connsiteX1439" fmla="*/ 519127 w 824741"/>
                  <a:gd name="connsiteY1439" fmla="*/ 222064 h 989988"/>
                  <a:gd name="connsiteX1440" fmla="*/ 518769 w 824741"/>
                  <a:gd name="connsiteY1440" fmla="*/ 221825 h 989988"/>
                  <a:gd name="connsiteX1441" fmla="*/ 518409 w 824741"/>
                  <a:gd name="connsiteY1441" fmla="*/ 221646 h 989988"/>
                  <a:gd name="connsiteX1442" fmla="*/ 518349 w 824741"/>
                  <a:gd name="connsiteY1442" fmla="*/ 221526 h 989988"/>
                  <a:gd name="connsiteX1443" fmla="*/ 517811 w 824741"/>
                  <a:gd name="connsiteY1443" fmla="*/ 221945 h 989988"/>
                  <a:gd name="connsiteX1444" fmla="*/ 448554 w 824741"/>
                  <a:gd name="connsiteY1444" fmla="*/ 180618 h 989988"/>
                  <a:gd name="connsiteX1445" fmla="*/ 448614 w 824741"/>
                  <a:gd name="connsiteY1445" fmla="*/ 180558 h 989988"/>
                  <a:gd name="connsiteX1446" fmla="*/ 448076 w 824741"/>
                  <a:gd name="connsiteY1446" fmla="*/ 180379 h 989988"/>
                  <a:gd name="connsiteX1447" fmla="*/ 447538 w 824741"/>
                  <a:gd name="connsiteY1447" fmla="*/ 180139 h 989988"/>
                  <a:gd name="connsiteX1448" fmla="*/ 447059 w 824741"/>
                  <a:gd name="connsiteY1448" fmla="*/ 179840 h 989988"/>
                  <a:gd name="connsiteX1449" fmla="*/ 446581 w 824741"/>
                  <a:gd name="connsiteY1449" fmla="*/ 179481 h 989988"/>
                  <a:gd name="connsiteX1450" fmla="*/ 411235 w 824741"/>
                  <a:gd name="connsiteY1450" fmla="*/ 158370 h 989988"/>
                  <a:gd name="connsiteX1451" fmla="*/ 411354 w 824741"/>
                  <a:gd name="connsiteY1451" fmla="*/ 158310 h 989988"/>
                  <a:gd name="connsiteX1452" fmla="*/ 410936 w 824741"/>
                  <a:gd name="connsiteY1452" fmla="*/ 158130 h 989988"/>
                  <a:gd name="connsiteX1453" fmla="*/ 410517 w 824741"/>
                  <a:gd name="connsiteY1453" fmla="*/ 157951 h 989988"/>
                  <a:gd name="connsiteX1454" fmla="*/ 410158 w 824741"/>
                  <a:gd name="connsiteY1454" fmla="*/ 157652 h 989988"/>
                  <a:gd name="connsiteX1455" fmla="*/ 409799 w 824741"/>
                  <a:gd name="connsiteY1455" fmla="*/ 157353 h 989988"/>
                  <a:gd name="connsiteX1456" fmla="*/ 409560 w 824741"/>
                  <a:gd name="connsiteY1456" fmla="*/ 157472 h 989988"/>
                  <a:gd name="connsiteX1457" fmla="*/ 376188 w 824741"/>
                  <a:gd name="connsiteY1457" fmla="*/ 137557 h 989988"/>
                  <a:gd name="connsiteX1458" fmla="*/ 376726 w 824741"/>
                  <a:gd name="connsiteY1458" fmla="*/ 137198 h 989988"/>
                  <a:gd name="connsiteX1459" fmla="*/ 376547 w 824741"/>
                  <a:gd name="connsiteY1459" fmla="*/ 137138 h 989988"/>
                  <a:gd name="connsiteX1460" fmla="*/ 376128 w 824741"/>
                  <a:gd name="connsiteY1460" fmla="*/ 136958 h 989988"/>
                  <a:gd name="connsiteX1461" fmla="*/ 375709 w 824741"/>
                  <a:gd name="connsiteY1461" fmla="*/ 136719 h 989988"/>
                  <a:gd name="connsiteX1462" fmla="*/ 375350 w 824741"/>
                  <a:gd name="connsiteY1462" fmla="*/ 136420 h 989988"/>
                  <a:gd name="connsiteX1463" fmla="*/ 374992 w 824741"/>
                  <a:gd name="connsiteY1463" fmla="*/ 136181 h 989988"/>
                  <a:gd name="connsiteX1464" fmla="*/ 374334 w 824741"/>
                  <a:gd name="connsiteY1464" fmla="*/ 136480 h 989988"/>
                  <a:gd name="connsiteX1465" fmla="*/ 308964 w 824741"/>
                  <a:gd name="connsiteY1465" fmla="*/ 97486 h 989988"/>
                  <a:gd name="connsiteX1466" fmla="*/ 362373 w 824741"/>
                  <a:gd name="connsiteY1466" fmla="*/ 71171 h 989988"/>
                  <a:gd name="connsiteX1467" fmla="*/ 424572 w 824741"/>
                  <a:gd name="connsiteY1467" fmla="*/ 107474 h 989988"/>
                  <a:gd name="connsiteX1468" fmla="*/ 425349 w 824741"/>
                  <a:gd name="connsiteY1468" fmla="*/ 107713 h 989988"/>
                  <a:gd name="connsiteX1469" fmla="*/ 425948 w 824741"/>
                  <a:gd name="connsiteY1469" fmla="*/ 108131 h 989988"/>
                  <a:gd name="connsiteX1470" fmla="*/ 426546 w 824741"/>
                  <a:gd name="connsiteY1470" fmla="*/ 108610 h 989988"/>
                  <a:gd name="connsiteX1471" fmla="*/ 427024 w 824741"/>
                  <a:gd name="connsiteY1471" fmla="*/ 109268 h 989988"/>
                  <a:gd name="connsiteX1472" fmla="*/ 427323 w 824741"/>
                  <a:gd name="connsiteY1472" fmla="*/ 109088 h 989988"/>
                  <a:gd name="connsiteX1473" fmla="*/ 457825 w 824741"/>
                  <a:gd name="connsiteY1473" fmla="*/ 126911 h 989988"/>
                  <a:gd name="connsiteX1474" fmla="*/ 458064 w 824741"/>
                  <a:gd name="connsiteY1474" fmla="*/ 126971 h 989988"/>
                  <a:gd name="connsiteX1475" fmla="*/ 458842 w 824741"/>
                  <a:gd name="connsiteY1475" fmla="*/ 127330 h 989988"/>
                  <a:gd name="connsiteX1476" fmla="*/ 459559 w 824741"/>
                  <a:gd name="connsiteY1476" fmla="*/ 127808 h 989988"/>
                  <a:gd name="connsiteX1477" fmla="*/ 460217 w 824741"/>
                  <a:gd name="connsiteY1477" fmla="*/ 128466 h 989988"/>
                  <a:gd name="connsiteX1478" fmla="*/ 460815 w 824741"/>
                  <a:gd name="connsiteY1478" fmla="*/ 129184 h 989988"/>
                  <a:gd name="connsiteX1479" fmla="*/ 461293 w 824741"/>
                  <a:gd name="connsiteY1479" fmla="*/ 128945 h 989988"/>
                  <a:gd name="connsiteX1480" fmla="*/ 495742 w 824741"/>
                  <a:gd name="connsiteY1480" fmla="*/ 149040 h 989988"/>
                  <a:gd name="connsiteX1481" fmla="*/ 495084 w 824741"/>
                  <a:gd name="connsiteY1481" fmla="*/ 149458 h 989988"/>
                  <a:gd name="connsiteX1482" fmla="*/ 495563 w 824741"/>
                  <a:gd name="connsiteY1482" fmla="*/ 149638 h 989988"/>
                  <a:gd name="connsiteX1483" fmla="*/ 495982 w 824741"/>
                  <a:gd name="connsiteY1483" fmla="*/ 149817 h 989988"/>
                  <a:gd name="connsiteX1484" fmla="*/ 496400 w 824741"/>
                  <a:gd name="connsiteY1484" fmla="*/ 150056 h 989988"/>
                  <a:gd name="connsiteX1485" fmla="*/ 496759 w 824741"/>
                  <a:gd name="connsiteY1485" fmla="*/ 150355 h 989988"/>
                  <a:gd name="connsiteX1486" fmla="*/ 497417 w 824741"/>
                  <a:gd name="connsiteY1486" fmla="*/ 149996 h 989988"/>
                  <a:gd name="connsiteX1487" fmla="*/ 562188 w 824741"/>
                  <a:gd name="connsiteY1487" fmla="*/ 187854 h 989988"/>
                  <a:gd name="connsiteX1488" fmla="*/ 563325 w 824741"/>
                  <a:gd name="connsiteY1488" fmla="*/ 187914 h 989988"/>
                  <a:gd name="connsiteX1489" fmla="*/ 564282 w 824741"/>
                  <a:gd name="connsiteY1489" fmla="*/ 188273 h 989988"/>
                  <a:gd name="connsiteX1490" fmla="*/ 565059 w 824741"/>
                  <a:gd name="connsiteY1490" fmla="*/ 188931 h 989988"/>
                  <a:gd name="connsiteX1491" fmla="*/ 565717 w 824741"/>
                  <a:gd name="connsiteY1491" fmla="*/ 189828 h 989988"/>
                  <a:gd name="connsiteX1492" fmla="*/ 599927 w 824741"/>
                  <a:gd name="connsiteY1492" fmla="*/ 209863 h 989988"/>
                  <a:gd name="connsiteX1493" fmla="*/ 599867 w 824741"/>
                  <a:gd name="connsiteY1493" fmla="*/ 210043 h 989988"/>
                  <a:gd name="connsiteX1494" fmla="*/ 361894 w 824741"/>
                  <a:gd name="connsiteY1494" fmla="*/ 800998 h 989988"/>
                  <a:gd name="connsiteX1495" fmla="*/ 371224 w 824741"/>
                  <a:gd name="connsiteY1495" fmla="*/ 807697 h 989988"/>
                  <a:gd name="connsiteX1496" fmla="*/ 368174 w 824741"/>
                  <a:gd name="connsiteY1496" fmla="*/ 816369 h 989988"/>
                  <a:gd name="connsiteX1497" fmla="*/ 358903 w 824741"/>
                  <a:gd name="connsiteY1497" fmla="*/ 809670 h 989988"/>
                  <a:gd name="connsiteX1498" fmla="*/ 361894 w 824741"/>
                  <a:gd name="connsiteY1498" fmla="*/ 800998 h 989988"/>
                  <a:gd name="connsiteX1499" fmla="*/ 691671 w 824741"/>
                  <a:gd name="connsiteY1499" fmla="*/ 240545 h 989988"/>
                  <a:gd name="connsiteX1500" fmla="*/ 725342 w 824741"/>
                  <a:gd name="connsiteY1500" fmla="*/ 260102 h 989988"/>
                  <a:gd name="connsiteX1501" fmla="*/ 711467 w 824741"/>
                  <a:gd name="connsiteY1501" fmla="*/ 272960 h 989988"/>
                  <a:gd name="connsiteX1502" fmla="*/ 684614 w 824741"/>
                  <a:gd name="connsiteY1502" fmla="*/ 257291 h 989988"/>
                  <a:gd name="connsiteX1503" fmla="*/ 691671 w 824741"/>
                  <a:gd name="connsiteY1503" fmla="*/ 240545 h 989988"/>
                  <a:gd name="connsiteX1504" fmla="*/ 688680 w 824741"/>
                  <a:gd name="connsiteY1504" fmla="*/ 235640 h 989988"/>
                  <a:gd name="connsiteX1505" fmla="*/ 727495 w 824741"/>
                  <a:gd name="connsiteY1505" fmla="*/ 258128 h 989988"/>
                  <a:gd name="connsiteX1506" fmla="*/ 726837 w 824741"/>
                  <a:gd name="connsiteY1506" fmla="*/ 258726 h 989988"/>
                  <a:gd name="connsiteX1507" fmla="*/ 688382 w 824741"/>
                  <a:gd name="connsiteY1507" fmla="*/ 236358 h 989988"/>
                  <a:gd name="connsiteX1508" fmla="*/ 688680 w 824741"/>
                  <a:gd name="connsiteY1508" fmla="*/ 235640 h 989988"/>
                  <a:gd name="connsiteX1509" fmla="*/ 296525 w 824741"/>
                  <a:gd name="connsiteY1509" fmla="*/ 789097 h 989988"/>
                  <a:gd name="connsiteX1510" fmla="*/ 308247 w 824741"/>
                  <a:gd name="connsiteY1510" fmla="*/ 777075 h 989988"/>
                  <a:gd name="connsiteX1511" fmla="*/ 366978 w 824741"/>
                  <a:gd name="connsiteY1511" fmla="*/ 819658 h 989988"/>
                  <a:gd name="connsiteX1512" fmla="*/ 361116 w 824741"/>
                  <a:gd name="connsiteY1512" fmla="*/ 836224 h 989988"/>
                  <a:gd name="connsiteX1513" fmla="*/ 296525 w 824741"/>
                  <a:gd name="connsiteY1513" fmla="*/ 789097 h 989988"/>
                  <a:gd name="connsiteX1514" fmla="*/ 448435 w 824741"/>
                  <a:gd name="connsiteY1514" fmla="*/ 594723 h 989988"/>
                  <a:gd name="connsiteX1515" fmla="*/ 489283 w 824741"/>
                  <a:gd name="connsiteY1515" fmla="*/ 622174 h 989988"/>
                  <a:gd name="connsiteX1516" fmla="*/ 471102 w 824741"/>
                  <a:gd name="connsiteY1516" fmla="*/ 668705 h 989988"/>
                  <a:gd name="connsiteX1517" fmla="*/ 431749 w 824741"/>
                  <a:gd name="connsiteY1517" fmla="*/ 641791 h 989988"/>
                  <a:gd name="connsiteX1518" fmla="*/ 448435 w 824741"/>
                  <a:gd name="connsiteY1518" fmla="*/ 594723 h 989988"/>
                  <a:gd name="connsiteX1519" fmla="*/ 558301 w 824741"/>
                  <a:gd name="connsiteY1519" fmla="*/ 417156 h 989988"/>
                  <a:gd name="connsiteX1520" fmla="*/ 586769 w 824741"/>
                  <a:gd name="connsiteY1520" fmla="*/ 390720 h 989988"/>
                  <a:gd name="connsiteX1521" fmla="*/ 586888 w 824741"/>
                  <a:gd name="connsiteY1521" fmla="*/ 390661 h 989988"/>
                  <a:gd name="connsiteX1522" fmla="*/ 599927 w 824741"/>
                  <a:gd name="connsiteY1522" fmla="*/ 378520 h 989988"/>
                  <a:gd name="connsiteX1523" fmla="*/ 640356 w 824741"/>
                  <a:gd name="connsiteY1523" fmla="*/ 403400 h 989988"/>
                  <a:gd name="connsiteX1524" fmla="*/ 600226 w 824741"/>
                  <a:gd name="connsiteY1524" fmla="*/ 443470 h 989988"/>
                  <a:gd name="connsiteX1525" fmla="*/ 558301 w 824741"/>
                  <a:gd name="connsiteY1525" fmla="*/ 417156 h 989988"/>
                  <a:gd name="connsiteX1526" fmla="*/ 672173 w 824741"/>
                  <a:gd name="connsiteY1526" fmla="*/ 206813 h 989988"/>
                  <a:gd name="connsiteX1527" fmla="*/ 740354 w 824741"/>
                  <a:gd name="connsiteY1527" fmla="*/ 246107 h 989988"/>
                  <a:gd name="connsiteX1528" fmla="*/ 728930 w 824741"/>
                  <a:gd name="connsiteY1528" fmla="*/ 256753 h 989988"/>
                  <a:gd name="connsiteX1529" fmla="*/ 666612 w 824741"/>
                  <a:gd name="connsiteY1529" fmla="*/ 220629 h 989988"/>
                  <a:gd name="connsiteX1530" fmla="*/ 672173 w 824741"/>
                  <a:gd name="connsiteY1530" fmla="*/ 206813 h 989988"/>
                  <a:gd name="connsiteX1531" fmla="*/ 431091 w 824741"/>
                  <a:gd name="connsiteY1531" fmla="*/ 643645 h 989988"/>
                  <a:gd name="connsiteX1532" fmla="*/ 470444 w 824741"/>
                  <a:gd name="connsiteY1532" fmla="*/ 670439 h 989988"/>
                  <a:gd name="connsiteX1533" fmla="*/ 465121 w 824741"/>
                  <a:gd name="connsiteY1533" fmla="*/ 684015 h 989988"/>
                  <a:gd name="connsiteX1534" fmla="*/ 426246 w 824741"/>
                  <a:gd name="connsiteY1534" fmla="*/ 657281 h 989988"/>
                  <a:gd name="connsiteX1535" fmla="*/ 431091 w 824741"/>
                  <a:gd name="connsiteY1535" fmla="*/ 643645 h 989988"/>
                  <a:gd name="connsiteX1536" fmla="*/ 425529 w 824741"/>
                  <a:gd name="connsiteY1536" fmla="*/ 659135 h 989988"/>
                  <a:gd name="connsiteX1537" fmla="*/ 464403 w 824741"/>
                  <a:gd name="connsiteY1537" fmla="*/ 685809 h 989988"/>
                  <a:gd name="connsiteX1538" fmla="*/ 455731 w 824741"/>
                  <a:gd name="connsiteY1538" fmla="*/ 707938 h 989988"/>
                  <a:gd name="connsiteX1539" fmla="*/ 417574 w 824741"/>
                  <a:gd name="connsiteY1539" fmla="*/ 681503 h 989988"/>
                  <a:gd name="connsiteX1540" fmla="*/ 425529 w 824741"/>
                  <a:gd name="connsiteY1540" fmla="*/ 659135 h 989988"/>
                  <a:gd name="connsiteX1541" fmla="*/ 41507 w 824741"/>
                  <a:gd name="connsiteY1541" fmla="*/ 605847 h 989988"/>
                  <a:gd name="connsiteX1542" fmla="*/ 360458 w 824741"/>
                  <a:gd name="connsiteY1542" fmla="*/ 838019 h 989988"/>
                  <a:gd name="connsiteX1543" fmla="*/ 341081 w 824741"/>
                  <a:gd name="connsiteY1543" fmla="*/ 892443 h 989988"/>
                  <a:gd name="connsiteX1544" fmla="*/ 250592 w 824741"/>
                  <a:gd name="connsiteY1544" fmla="*/ 825220 h 989988"/>
                  <a:gd name="connsiteX1545" fmla="*/ 246167 w 824741"/>
                  <a:gd name="connsiteY1545" fmla="*/ 822050 h 989988"/>
                  <a:gd name="connsiteX1546" fmla="*/ 244971 w 824741"/>
                  <a:gd name="connsiteY1546" fmla="*/ 821093 h 989988"/>
                  <a:gd name="connsiteX1547" fmla="*/ 215007 w 824741"/>
                  <a:gd name="connsiteY1547" fmla="*/ 798845 h 989988"/>
                  <a:gd name="connsiteX1548" fmla="*/ 213692 w 824741"/>
                  <a:gd name="connsiteY1548" fmla="*/ 797888 h 989988"/>
                  <a:gd name="connsiteX1549" fmla="*/ 194135 w 824741"/>
                  <a:gd name="connsiteY1549" fmla="*/ 783415 h 989988"/>
                  <a:gd name="connsiteX1550" fmla="*/ 142162 w 824741"/>
                  <a:gd name="connsiteY1550" fmla="*/ 744839 h 989988"/>
                  <a:gd name="connsiteX1551" fmla="*/ 123502 w 824741"/>
                  <a:gd name="connsiteY1551" fmla="*/ 730964 h 989988"/>
                  <a:gd name="connsiteX1552" fmla="*/ 123502 w 824741"/>
                  <a:gd name="connsiteY1552" fmla="*/ 730904 h 989988"/>
                  <a:gd name="connsiteX1553" fmla="*/ 122007 w 824741"/>
                  <a:gd name="connsiteY1553" fmla="*/ 729827 h 989988"/>
                  <a:gd name="connsiteX1554" fmla="*/ 110225 w 824741"/>
                  <a:gd name="connsiteY1554" fmla="*/ 721095 h 989988"/>
                  <a:gd name="connsiteX1555" fmla="*/ 36602 w 824741"/>
                  <a:gd name="connsiteY1555" fmla="*/ 666492 h 989988"/>
                  <a:gd name="connsiteX1556" fmla="*/ 41507 w 824741"/>
                  <a:gd name="connsiteY1556" fmla="*/ 605847 h 989988"/>
                  <a:gd name="connsiteX1557" fmla="*/ 713500 w 824741"/>
                  <a:gd name="connsiteY1557" fmla="*/ 170929 h 989988"/>
                  <a:gd name="connsiteX1558" fmla="*/ 713740 w 824741"/>
                  <a:gd name="connsiteY1558" fmla="*/ 170989 h 989988"/>
                  <a:gd name="connsiteX1559" fmla="*/ 713919 w 824741"/>
                  <a:gd name="connsiteY1559" fmla="*/ 171109 h 989988"/>
                  <a:gd name="connsiteX1560" fmla="*/ 714098 w 824741"/>
                  <a:gd name="connsiteY1560" fmla="*/ 171228 h 989988"/>
                  <a:gd name="connsiteX1561" fmla="*/ 714278 w 824741"/>
                  <a:gd name="connsiteY1561" fmla="*/ 171348 h 989988"/>
                  <a:gd name="connsiteX1562" fmla="*/ 714756 w 824741"/>
                  <a:gd name="connsiteY1562" fmla="*/ 171766 h 989988"/>
                  <a:gd name="connsiteX1563" fmla="*/ 714996 w 824741"/>
                  <a:gd name="connsiteY1563" fmla="*/ 171527 h 989988"/>
                  <a:gd name="connsiteX1564" fmla="*/ 780664 w 824741"/>
                  <a:gd name="connsiteY1564" fmla="*/ 208667 h 989988"/>
                  <a:gd name="connsiteX1565" fmla="*/ 741849 w 824741"/>
                  <a:gd name="connsiteY1565" fmla="*/ 244791 h 989988"/>
                  <a:gd name="connsiteX1566" fmla="*/ 673370 w 824741"/>
                  <a:gd name="connsiteY1566" fmla="*/ 205318 h 989988"/>
                  <a:gd name="connsiteX1567" fmla="*/ 674746 w 824741"/>
                  <a:gd name="connsiteY1567" fmla="*/ 204242 h 989988"/>
                  <a:gd name="connsiteX1568" fmla="*/ 674386 w 824741"/>
                  <a:gd name="connsiteY1568" fmla="*/ 204062 h 989988"/>
                  <a:gd name="connsiteX1569" fmla="*/ 674088 w 824741"/>
                  <a:gd name="connsiteY1569" fmla="*/ 203943 h 989988"/>
                  <a:gd name="connsiteX1570" fmla="*/ 673729 w 824741"/>
                  <a:gd name="connsiteY1570" fmla="*/ 203763 h 989988"/>
                  <a:gd name="connsiteX1571" fmla="*/ 673430 w 824741"/>
                  <a:gd name="connsiteY1571" fmla="*/ 203524 h 989988"/>
                  <a:gd name="connsiteX1572" fmla="*/ 672114 w 824741"/>
                  <a:gd name="connsiteY1572" fmla="*/ 204600 h 989988"/>
                  <a:gd name="connsiteX1573" fmla="*/ 636708 w 824741"/>
                  <a:gd name="connsiteY1573" fmla="*/ 184206 h 989988"/>
                  <a:gd name="connsiteX1574" fmla="*/ 636768 w 824741"/>
                  <a:gd name="connsiteY1574" fmla="*/ 184206 h 989988"/>
                  <a:gd name="connsiteX1575" fmla="*/ 636229 w 824741"/>
                  <a:gd name="connsiteY1575" fmla="*/ 183967 h 989988"/>
                  <a:gd name="connsiteX1576" fmla="*/ 635751 w 824741"/>
                  <a:gd name="connsiteY1576" fmla="*/ 183728 h 989988"/>
                  <a:gd name="connsiteX1577" fmla="*/ 635333 w 824741"/>
                  <a:gd name="connsiteY1577" fmla="*/ 183489 h 989988"/>
                  <a:gd name="connsiteX1578" fmla="*/ 634914 w 824741"/>
                  <a:gd name="connsiteY1578" fmla="*/ 183130 h 989988"/>
                  <a:gd name="connsiteX1579" fmla="*/ 605190 w 824741"/>
                  <a:gd name="connsiteY1579" fmla="*/ 165965 h 989988"/>
                  <a:gd name="connsiteX1580" fmla="*/ 604652 w 824741"/>
                  <a:gd name="connsiteY1580" fmla="*/ 166144 h 989988"/>
                  <a:gd name="connsiteX1581" fmla="*/ 604113 w 824741"/>
                  <a:gd name="connsiteY1581" fmla="*/ 166264 h 989988"/>
                  <a:gd name="connsiteX1582" fmla="*/ 603575 w 824741"/>
                  <a:gd name="connsiteY1582" fmla="*/ 166324 h 989988"/>
                  <a:gd name="connsiteX1583" fmla="*/ 603037 w 824741"/>
                  <a:gd name="connsiteY1583" fmla="*/ 166324 h 989988"/>
                  <a:gd name="connsiteX1584" fmla="*/ 602558 w 824741"/>
                  <a:gd name="connsiteY1584" fmla="*/ 166264 h 989988"/>
                  <a:gd name="connsiteX1585" fmla="*/ 602080 w 824741"/>
                  <a:gd name="connsiteY1585" fmla="*/ 166144 h 989988"/>
                  <a:gd name="connsiteX1586" fmla="*/ 601601 w 824741"/>
                  <a:gd name="connsiteY1586" fmla="*/ 165965 h 989988"/>
                  <a:gd name="connsiteX1587" fmla="*/ 601122 w 824741"/>
                  <a:gd name="connsiteY1587" fmla="*/ 165726 h 989988"/>
                  <a:gd name="connsiteX1588" fmla="*/ 600644 w 824741"/>
                  <a:gd name="connsiteY1588" fmla="*/ 165427 h 989988"/>
                  <a:gd name="connsiteX1589" fmla="*/ 600226 w 824741"/>
                  <a:gd name="connsiteY1589" fmla="*/ 165068 h 989988"/>
                  <a:gd name="connsiteX1590" fmla="*/ 599867 w 824741"/>
                  <a:gd name="connsiteY1590" fmla="*/ 164709 h 989988"/>
                  <a:gd name="connsiteX1591" fmla="*/ 599508 w 824741"/>
                  <a:gd name="connsiteY1591" fmla="*/ 164290 h 989988"/>
                  <a:gd name="connsiteX1592" fmla="*/ 599209 w 824741"/>
                  <a:gd name="connsiteY1592" fmla="*/ 163812 h 989988"/>
                  <a:gd name="connsiteX1593" fmla="*/ 598910 w 824741"/>
                  <a:gd name="connsiteY1593" fmla="*/ 163334 h 989988"/>
                  <a:gd name="connsiteX1594" fmla="*/ 598671 w 824741"/>
                  <a:gd name="connsiteY1594" fmla="*/ 162795 h 989988"/>
                  <a:gd name="connsiteX1595" fmla="*/ 598491 w 824741"/>
                  <a:gd name="connsiteY1595" fmla="*/ 162257 h 989988"/>
                  <a:gd name="connsiteX1596" fmla="*/ 535992 w 824741"/>
                  <a:gd name="connsiteY1596" fmla="*/ 126193 h 989988"/>
                  <a:gd name="connsiteX1597" fmla="*/ 535216 w 824741"/>
                  <a:gd name="connsiteY1597" fmla="*/ 126014 h 989988"/>
                  <a:gd name="connsiteX1598" fmla="*/ 534497 w 824741"/>
                  <a:gd name="connsiteY1598" fmla="*/ 125655 h 989988"/>
                  <a:gd name="connsiteX1599" fmla="*/ 533839 w 824741"/>
                  <a:gd name="connsiteY1599" fmla="*/ 125237 h 989988"/>
                  <a:gd name="connsiteX1600" fmla="*/ 533361 w 824741"/>
                  <a:gd name="connsiteY1600" fmla="*/ 124638 h 989988"/>
                  <a:gd name="connsiteX1601" fmla="*/ 500886 w 824741"/>
                  <a:gd name="connsiteY1601" fmla="*/ 105978 h 989988"/>
                  <a:gd name="connsiteX1602" fmla="*/ 500945 w 824741"/>
                  <a:gd name="connsiteY1602" fmla="*/ 105919 h 989988"/>
                  <a:gd name="connsiteX1603" fmla="*/ 500527 w 824741"/>
                  <a:gd name="connsiteY1603" fmla="*/ 105679 h 989988"/>
                  <a:gd name="connsiteX1604" fmla="*/ 500168 w 824741"/>
                  <a:gd name="connsiteY1604" fmla="*/ 105440 h 989988"/>
                  <a:gd name="connsiteX1605" fmla="*/ 499750 w 824741"/>
                  <a:gd name="connsiteY1605" fmla="*/ 105141 h 989988"/>
                  <a:gd name="connsiteX1606" fmla="*/ 499390 w 824741"/>
                  <a:gd name="connsiteY1606" fmla="*/ 104842 h 989988"/>
                  <a:gd name="connsiteX1607" fmla="*/ 499152 w 824741"/>
                  <a:gd name="connsiteY1607" fmla="*/ 104962 h 989988"/>
                  <a:gd name="connsiteX1608" fmla="*/ 467932 w 824741"/>
                  <a:gd name="connsiteY1608" fmla="*/ 86960 h 989988"/>
                  <a:gd name="connsiteX1609" fmla="*/ 468470 w 824741"/>
                  <a:gd name="connsiteY1609" fmla="*/ 86661 h 989988"/>
                  <a:gd name="connsiteX1610" fmla="*/ 468111 w 824741"/>
                  <a:gd name="connsiteY1610" fmla="*/ 86362 h 989988"/>
                  <a:gd name="connsiteX1611" fmla="*/ 467753 w 824741"/>
                  <a:gd name="connsiteY1611" fmla="*/ 86063 h 989988"/>
                  <a:gd name="connsiteX1612" fmla="*/ 467394 w 824741"/>
                  <a:gd name="connsiteY1612" fmla="*/ 85764 h 989988"/>
                  <a:gd name="connsiteX1613" fmla="*/ 467035 w 824741"/>
                  <a:gd name="connsiteY1613" fmla="*/ 85465 h 989988"/>
                  <a:gd name="connsiteX1614" fmla="*/ 466258 w 824741"/>
                  <a:gd name="connsiteY1614" fmla="*/ 85883 h 989988"/>
                  <a:gd name="connsiteX1615" fmla="*/ 404895 w 824741"/>
                  <a:gd name="connsiteY1615" fmla="*/ 50537 h 989988"/>
                  <a:gd name="connsiteX1616" fmla="*/ 456210 w 824741"/>
                  <a:gd name="connsiteY1616" fmla="*/ 25299 h 989988"/>
                  <a:gd name="connsiteX1617" fmla="*/ 515419 w 824741"/>
                  <a:gd name="connsiteY1617" fmla="*/ 58731 h 989988"/>
                  <a:gd name="connsiteX1618" fmla="*/ 515001 w 824741"/>
                  <a:gd name="connsiteY1618" fmla="*/ 58970 h 989988"/>
                  <a:gd name="connsiteX1619" fmla="*/ 515359 w 824741"/>
                  <a:gd name="connsiteY1619" fmla="*/ 59269 h 989988"/>
                  <a:gd name="connsiteX1620" fmla="*/ 515778 w 824741"/>
                  <a:gd name="connsiteY1620" fmla="*/ 59508 h 989988"/>
                  <a:gd name="connsiteX1621" fmla="*/ 516137 w 824741"/>
                  <a:gd name="connsiteY1621" fmla="*/ 59807 h 989988"/>
                  <a:gd name="connsiteX1622" fmla="*/ 516555 w 824741"/>
                  <a:gd name="connsiteY1622" fmla="*/ 60106 h 989988"/>
                  <a:gd name="connsiteX1623" fmla="*/ 517094 w 824741"/>
                  <a:gd name="connsiteY1623" fmla="*/ 59807 h 989988"/>
                  <a:gd name="connsiteX1624" fmla="*/ 547177 w 824741"/>
                  <a:gd name="connsiteY1624" fmla="*/ 76792 h 989988"/>
                  <a:gd name="connsiteX1625" fmla="*/ 546638 w 824741"/>
                  <a:gd name="connsiteY1625" fmla="*/ 77092 h 989988"/>
                  <a:gd name="connsiteX1626" fmla="*/ 547057 w 824741"/>
                  <a:gd name="connsiteY1626" fmla="*/ 77271 h 989988"/>
                  <a:gd name="connsiteX1627" fmla="*/ 547476 w 824741"/>
                  <a:gd name="connsiteY1627" fmla="*/ 77450 h 989988"/>
                  <a:gd name="connsiteX1628" fmla="*/ 547895 w 824741"/>
                  <a:gd name="connsiteY1628" fmla="*/ 77749 h 989988"/>
                  <a:gd name="connsiteX1629" fmla="*/ 548253 w 824741"/>
                  <a:gd name="connsiteY1629" fmla="*/ 78049 h 989988"/>
                  <a:gd name="connsiteX1630" fmla="*/ 548851 w 824741"/>
                  <a:gd name="connsiteY1630" fmla="*/ 77690 h 989988"/>
                  <a:gd name="connsiteX1631" fmla="*/ 581027 w 824741"/>
                  <a:gd name="connsiteY1631" fmla="*/ 95871 h 989988"/>
                  <a:gd name="connsiteX1632" fmla="*/ 580549 w 824741"/>
                  <a:gd name="connsiteY1632" fmla="*/ 96170 h 989988"/>
                  <a:gd name="connsiteX1633" fmla="*/ 580967 w 824741"/>
                  <a:gd name="connsiteY1633" fmla="*/ 96230 h 989988"/>
                  <a:gd name="connsiteX1634" fmla="*/ 581387 w 824741"/>
                  <a:gd name="connsiteY1634" fmla="*/ 96350 h 989988"/>
                  <a:gd name="connsiteX1635" fmla="*/ 581745 w 824741"/>
                  <a:gd name="connsiteY1635" fmla="*/ 96529 h 989988"/>
                  <a:gd name="connsiteX1636" fmla="*/ 582104 w 824741"/>
                  <a:gd name="connsiteY1636" fmla="*/ 96708 h 989988"/>
                  <a:gd name="connsiteX1637" fmla="*/ 582463 w 824741"/>
                  <a:gd name="connsiteY1637" fmla="*/ 96888 h 989988"/>
                  <a:gd name="connsiteX1638" fmla="*/ 582702 w 824741"/>
                  <a:gd name="connsiteY1638" fmla="*/ 96708 h 989988"/>
                  <a:gd name="connsiteX1639" fmla="*/ 643407 w 824741"/>
                  <a:gd name="connsiteY1639" fmla="*/ 131038 h 989988"/>
                  <a:gd name="connsiteX1640" fmla="*/ 644304 w 824741"/>
                  <a:gd name="connsiteY1640" fmla="*/ 131217 h 989988"/>
                  <a:gd name="connsiteX1641" fmla="*/ 645141 w 824741"/>
                  <a:gd name="connsiteY1641" fmla="*/ 131636 h 989988"/>
                  <a:gd name="connsiteX1642" fmla="*/ 645859 w 824741"/>
                  <a:gd name="connsiteY1642" fmla="*/ 132174 h 989988"/>
                  <a:gd name="connsiteX1643" fmla="*/ 646517 w 824741"/>
                  <a:gd name="connsiteY1643" fmla="*/ 132892 h 989988"/>
                  <a:gd name="connsiteX1644" fmla="*/ 677975 w 824741"/>
                  <a:gd name="connsiteY1644" fmla="*/ 150655 h 989988"/>
                  <a:gd name="connsiteX1645" fmla="*/ 678394 w 824741"/>
                  <a:gd name="connsiteY1645" fmla="*/ 150894 h 989988"/>
                  <a:gd name="connsiteX1646" fmla="*/ 678753 w 824741"/>
                  <a:gd name="connsiteY1646" fmla="*/ 151133 h 989988"/>
                  <a:gd name="connsiteX1647" fmla="*/ 679111 w 824741"/>
                  <a:gd name="connsiteY1647" fmla="*/ 151432 h 989988"/>
                  <a:gd name="connsiteX1648" fmla="*/ 679411 w 824741"/>
                  <a:gd name="connsiteY1648" fmla="*/ 151791 h 989988"/>
                  <a:gd name="connsiteX1649" fmla="*/ 679709 w 824741"/>
                  <a:gd name="connsiteY1649" fmla="*/ 151611 h 989988"/>
                  <a:gd name="connsiteX1650" fmla="*/ 713740 w 824741"/>
                  <a:gd name="connsiteY1650" fmla="*/ 170810 h 989988"/>
                  <a:gd name="connsiteX1651" fmla="*/ 713500 w 824741"/>
                  <a:gd name="connsiteY1651" fmla="*/ 170929 h 989988"/>
                  <a:gd name="connsiteX1652" fmla="*/ 288690 w 824741"/>
                  <a:gd name="connsiteY1652" fmla="*/ 880422 h 989988"/>
                  <a:gd name="connsiteX1653" fmla="*/ 302026 w 824741"/>
                  <a:gd name="connsiteY1653" fmla="*/ 865889 h 989988"/>
                  <a:gd name="connsiteX1654" fmla="*/ 340423 w 824741"/>
                  <a:gd name="connsiteY1654" fmla="*/ 894297 h 989988"/>
                  <a:gd name="connsiteX1655" fmla="*/ 333485 w 824741"/>
                  <a:gd name="connsiteY1655" fmla="*/ 913914 h 989988"/>
                  <a:gd name="connsiteX1656" fmla="*/ 288690 w 824741"/>
                  <a:gd name="connsiteY1656" fmla="*/ 880422 h 989988"/>
                  <a:gd name="connsiteX1657" fmla="*/ 716611 w 824741"/>
                  <a:gd name="connsiteY1657" fmla="*/ 170211 h 989988"/>
                  <a:gd name="connsiteX1658" fmla="*/ 722950 w 824741"/>
                  <a:gd name="connsiteY1658" fmla="*/ 165068 h 989988"/>
                  <a:gd name="connsiteX1659" fmla="*/ 788080 w 824741"/>
                  <a:gd name="connsiteY1659" fmla="*/ 201730 h 989988"/>
                  <a:gd name="connsiteX1660" fmla="*/ 782099 w 824741"/>
                  <a:gd name="connsiteY1660" fmla="*/ 207352 h 989988"/>
                  <a:gd name="connsiteX1661" fmla="*/ 716611 w 824741"/>
                  <a:gd name="connsiteY1661" fmla="*/ 170211 h 989988"/>
                  <a:gd name="connsiteX1662" fmla="*/ 601302 w 824741"/>
                  <a:gd name="connsiteY1662" fmla="*/ 377144 h 989988"/>
                  <a:gd name="connsiteX1663" fmla="*/ 659674 w 824741"/>
                  <a:gd name="connsiteY1663" fmla="*/ 322839 h 989988"/>
                  <a:gd name="connsiteX1664" fmla="*/ 698011 w 824741"/>
                  <a:gd name="connsiteY1664" fmla="*/ 345746 h 989988"/>
                  <a:gd name="connsiteX1665" fmla="*/ 641732 w 824741"/>
                  <a:gd name="connsiteY1665" fmla="*/ 401904 h 989988"/>
                  <a:gd name="connsiteX1666" fmla="*/ 601302 w 824741"/>
                  <a:gd name="connsiteY1666" fmla="*/ 377144 h 989988"/>
                  <a:gd name="connsiteX1667" fmla="*/ 416917 w 824741"/>
                  <a:gd name="connsiteY1667" fmla="*/ 683357 h 989988"/>
                  <a:gd name="connsiteX1668" fmla="*/ 455014 w 824741"/>
                  <a:gd name="connsiteY1668" fmla="*/ 709672 h 989988"/>
                  <a:gd name="connsiteX1669" fmla="*/ 434201 w 824741"/>
                  <a:gd name="connsiteY1669" fmla="*/ 762841 h 989988"/>
                  <a:gd name="connsiteX1670" fmla="*/ 397778 w 824741"/>
                  <a:gd name="connsiteY1670" fmla="*/ 737184 h 989988"/>
                  <a:gd name="connsiteX1671" fmla="*/ 404238 w 824741"/>
                  <a:gd name="connsiteY1671" fmla="*/ 719122 h 989988"/>
                  <a:gd name="connsiteX1672" fmla="*/ 416917 w 824741"/>
                  <a:gd name="connsiteY1672" fmla="*/ 683357 h 989988"/>
                  <a:gd name="connsiteX1673" fmla="*/ 267877 w 824741"/>
                  <a:gd name="connsiteY1673" fmla="*/ 887419 h 989988"/>
                  <a:gd name="connsiteX1674" fmla="*/ 278881 w 824741"/>
                  <a:gd name="connsiteY1674" fmla="*/ 875458 h 989988"/>
                  <a:gd name="connsiteX1675" fmla="*/ 332827 w 824741"/>
                  <a:gd name="connsiteY1675" fmla="*/ 915708 h 989988"/>
                  <a:gd name="connsiteX1676" fmla="*/ 327086 w 824741"/>
                  <a:gd name="connsiteY1676" fmla="*/ 931856 h 989988"/>
                  <a:gd name="connsiteX1677" fmla="*/ 267877 w 824741"/>
                  <a:gd name="connsiteY1677" fmla="*/ 887419 h 989988"/>
                  <a:gd name="connsiteX1678" fmla="*/ 661169 w 824741"/>
                  <a:gd name="connsiteY1678" fmla="*/ 321523 h 989988"/>
                  <a:gd name="connsiteX1679" fmla="*/ 668944 w 824741"/>
                  <a:gd name="connsiteY1679" fmla="*/ 314347 h 989988"/>
                  <a:gd name="connsiteX1680" fmla="*/ 706922 w 824741"/>
                  <a:gd name="connsiteY1680" fmla="*/ 336954 h 989988"/>
                  <a:gd name="connsiteX1681" fmla="*/ 699386 w 824741"/>
                  <a:gd name="connsiteY1681" fmla="*/ 344430 h 989988"/>
                  <a:gd name="connsiteX1682" fmla="*/ 661169 w 824741"/>
                  <a:gd name="connsiteY1682" fmla="*/ 321523 h 989988"/>
                  <a:gd name="connsiteX1683" fmla="*/ 397120 w 824741"/>
                  <a:gd name="connsiteY1683" fmla="*/ 739038 h 989988"/>
                  <a:gd name="connsiteX1684" fmla="*/ 433483 w 824741"/>
                  <a:gd name="connsiteY1684" fmla="*/ 764635 h 989988"/>
                  <a:gd name="connsiteX1685" fmla="*/ 424093 w 824741"/>
                  <a:gd name="connsiteY1685" fmla="*/ 788558 h 989988"/>
                  <a:gd name="connsiteX1686" fmla="*/ 388508 w 824741"/>
                  <a:gd name="connsiteY1686" fmla="*/ 763200 h 989988"/>
                  <a:gd name="connsiteX1687" fmla="*/ 397120 w 824741"/>
                  <a:gd name="connsiteY1687" fmla="*/ 739038 h 989988"/>
                  <a:gd name="connsiteX1688" fmla="*/ 267039 w 824741"/>
                  <a:gd name="connsiteY1688" fmla="*/ 889154 h 989988"/>
                  <a:gd name="connsiteX1689" fmla="*/ 326428 w 824741"/>
                  <a:gd name="connsiteY1689" fmla="*/ 933710 h 989988"/>
                  <a:gd name="connsiteX1690" fmla="*/ 319012 w 824741"/>
                  <a:gd name="connsiteY1690" fmla="*/ 954583 h 989988"/>
                  <a:gd name="connsiteX1691" fmla="*/ 260760 w 824741"/>
                  <a:gd name="connsiteY1691" fmla="*/ 910505 h 989988"/>
                  <a:gd name="connsiteX1692" fmla="*/ 267039 w 824741"/>
                  <a:gd name="connsiteY1692" fmla="*/ 889154 h 989988"/>
                  <a:gd name="connsiteX1693" fmla="*/ 260221 w 824741"/>
                  <a:gd name="connsiteY1693" fmla="*/ 912479 h 989988"/>
                  <a:gd name="connsiteX1694" fmla="*/ 318354 w 824741"/>
                  <a:gd name="connsiteY1694" fmla="*/ 956437 h 989988"/>
                  <a:gd name="connsiteX1695" fmla="*/ 315424 w 824741"/>
                  <a:gd name="connsiteY1695" fmla="*/ 964750 h 989988"/>
                  <a:gd name="connsiteX1696" fmla="*/ 257770 w 824741"/>
                  <a:gd name="connsiteY1696" fmla="*/ 920971 h 989988"/>
                  <a:gd name="connsiteX1697" fmla="*/ 260221 w 824741"/>
                  <a:gd name="connsiteY1697" fmla="*/ 912479 h 989988"/>
                  <a:gd name="connsiteX1698" fmla="*/ 387850 w 824741"/>
                  <a:gd name="connsiteY1698" fmla="*/ 765114 h 989988"/>
                  <a:gd name="connsiteX1699" fmla="*/ 423435 w 824741"/>
                  <a:gd name="connsiteY1699" fmla="*/ 790412 h 989988"/>
                  <a:gd name="connsiteX1700" fmla="*/ 418950 w 824741"/>
                  <a:gd name="connsiteY1700" fmla="*/ 801835 h 989988"/>
                  <a:gd name="connsiteX1701" fmla="*/ 383663 w 824741"/>
                  <a:gd name="connsiteY1701" fmla="*/ 776657 h 989988"/>
                  <a:gd name="connsiteX1702" fmla="*/ 387850 w 824741"/>
                  <a:gd name="connsiteY1702" fmla="*/ 765114 h 989988"/>
                  <a:gd name="connsiteX1703" fmla="*/ 383125 w 824741"/>
                  <a:gd name="connsiteY1703" fmla="*/ 778451 h 989988"/>
                  <a:gd name="connsiteX1704" fmla="*/ 418292 w 824741"/>
                  <a:gd name="connsiteY1704" fmla="*/ 803510 h 989988"/>
                  <a:gd name="connsiteX1705" fmla="*/ 412909 w 824741"/>
                  <a:gd name="connsiteY1705" fmla="*/ 817325 h 989988"/>
                  <a:gd name="connsiteX1706" fmla="*/ 378102 w 824741"/>
                  <a:gd name="connsiteY1706" fmla="*/ 792386 h 989988"/>
                  <a:gd name="connsiteX1707" fmla="*/ 383125 w 824741"/>
                  <a:gd name="connsiteY1707" fmla="*/ 778451 h 989988"/>
                  <a:gd name="connsiteX1708" fmla="*/ 670320 w 824741"/>
                  <a:gd name="connsiteY1708" fmla="*/ 312971 h 989988"/>
                  <a:gd name="connsiteX1709" fmla="*/ 711228 w 824741"/>
                  <a:gd name="connsiteY1709" fmla="*/ 274934 h 989988"/>
                  <a:gd name="connsiteX1710" fmla="*/ 747650 w 824741"/>
                  <a:gd name="connsiteY1710" fmla="*/ 296165 h 989988"/>
                  <a:gd name="connsiteX1711" fmla="*/ 708237 w 824741"/>
                  <a:gd name="connsiteY1711" fmla="*/ 335519 h 989988"/>
                  <a:gd name="connsiteX1712" fmla="*/ 670320 w 824741"/>
                  <a:gd name="connsiteY1712" fmla="*/ 312971 h 989988"/>
                  <a:gd name="connsiteX1713" fmla="*/ 377444 w 824741"/>
                  <a:gd name="connsiteY1713" fmla="*/ 794240 h 989988"/>
                  <a:gd name="connsiteX1714" fmla="*/ 412132 w 824741"/>
                  <a:gd name="connsiteY1714" fmla="*/ 819120 h 989988"/>
                  <a:gd name="connsiteX1715" fmla="*/ 395625 w 824741"/>
                  <a:gd name="connsiteY1715" fmla="*/ 861343 h 989988"/>
                  <a:gd name="connsiteX1716" fmla="*/ 362253 w 824741"/>
                  <a:gd name="connsiteY1716" fmla="*/ 837002 h 989988"/>
                  <a:gd name="connsiteX1717" fmla="*/ 377444 w 824741"/>
                  <a:gd name="connsiteY1717" fmla="*/ 794240 h 989988"/>
                  <a:gd name="connsiteX1718" fmla="*/ 712783 w 824741"/>
                  <a:gd name="connsiteY1718" fmla="*/ 273618 h 989988"/>
                  <a:gd name="connsiteX1719" fmla="*/ 727017 w 824741"/>
                  <a:gd name="connsiteY1719" fmla="*/ 260341 h 989988"/>
                  <a:gd name="connsiteX1720" fmla="*/ 729170 w 824741"/>
                  <a:gd name="connsiteY1720" fmla="*/ 258367 h 989988"/>
                  <a:gd name="connsiteX1721" fmla="*/ 741610 w 824741"/>
                  <a:gd name="connsiteY1721" fmla="*/ 246764 h 989988"/>
                  <a:gd name="connsiteX1722" fmla="*/ 776836 w 824741"/>
                  <a:gd name="connsiteY1722" fmla="*/ 267099 h 989988"/>
                  <a:gd name="connsiteX1723" fmla="*/ 749085 w 824741"/>
                  <a:gd name="connsiteY1723" fmla="*/ 294850 h 989988"/>
                  <a:gd name="connsiteX1724" fmla="*/ 712783 w 824741"/>
                  <a:gd name="connsiteY1724" fmla="*/ 273618 h 989988"/>
                  <a:gd name="connsiteX1725" fmla="*/ 361595 w 824741"/>
                  <a:gd name="connsiteY1725" fmla="*/ 838796 h 989988"/>
                  <a:gd name="connsiteX1726" fmla="*/ 394967 w 824741"/>
                  <a:gd name="connsiteY1726" fmla="*/ 863138 h 989988"/>
                  <a:gd name="connsiteX1727" fmla="*/ 373915 w 824741"/>
                  <a:gd name="connsiteY1727" fmla="*/ 916845 h 989988"/>
                  <a:gd name="connsiteX1728" fmla="*/ 342218 w 824741"/>
                  <a:gd name="connsiteY1728" fmla="*/ 893281 h 989988"/>
                  <a:gd name="connsiteX1729" fmla="*/ 361595 w 824741"/>
                  <a:gd name="connsiteY1729" fmla="*/ 838796 h 989988"/>
                  <a:gd name="connsiteX1730" fmla="*/ 743046 w 824741"/>
                  <a:gd name="connsiteY1730" fmla="*/ 245449 h 989988"/>
                  <a:gd name="connsiteX1731" fmla="*/ 781920 w 824741"/>
                  <a:gd name="connsiteY1731" fmla="*/ 209385 h 989988"/>
                  <a:gd name="connsiteX1732" fmla="*/ 815591 w 824741"/>
                  <a:gd name="connsiteY1732" fmla="*/ 228463 h 989988"/>
                  <a:gd name="connsiteX1733" fmla="*/ 811584 w 824741"/>
                  <a:gd name="connsiteY1733" fmla="*/ 232411 h 989988"/>
                  <a:gd name="connsiteX1734" fmla="*/ 778212 w 824741"/>
                  <a:gd name="connsiteY1734" fmla="*/ 265783 h 989988"/>
                  <a:gd name="connsiteX1735" fmla="*/ 743046 w 824741"/>
                  <a:gd name="connsiteY1735" fmla="*/ 245449 h 989988"/>
                  <a:gd name="connsiteX1736" fmla="*/ 783356 w 824741"/>
                  <a:gd name="connsiteY1736" fmla="*/ 208009 h 989988"/>
                  <a:gd name="connsiteX1737" fmla="*/ 789336 w 824741"/>
                  <a:gd name="connsiteY1737" fmla="*/ 202447 h 989988"/>
                  <a:gd name="connsiteX1738" fmla="*/ 822768 w 824741"/>
                  <a:gd name="connsiteY1738" fmla="*/ 221287 h 989988"/>
                  <a:gd name="connsiteX1739" fmla="*/ 816967 w 824741"/>
                  <a:gd name="connsiteY1739" fmla="*/ 227088 h 989988"/>
                  <a:gd name="connsiteX1740" fmla="*/ 783356 w 824741"/>
                  <a:gd name="connsiteY1740" fmla="*/ 208009 h 989988"/>
                  <a:gd name="connsiteX1741" fmla="*/ 341560 w 824741"/>
                  <a:gd name="connsiteY1741" fmla="*/ 895135 h 989988"/>
                  <a:gd name="connsiteX1742" fmla="*/ 373257 w 824741"/>
                  <a:gd name="connsiteY1742" fmla="*/ 918579 h 989988"/>
                  <a:gd name="connsiteX1743" fmla="*/ 358724 w 824741"/>
                  <a:gd name="connsiteY1743" fmla="*/ 955660 h 989988"/>
                  <a:gd name="connsiteX1744" fmla="*/ 328222 w 824741"/>
                  <a:gd name="connsiteY1744" fmla="*/ 932753 h 989988"/>
                  <a:gd name="connsiteX1745" fmla="*/ 341560 w 824741"/>
                  <a:gd name="connsiteY1745" fmla="*/ 895135 h 989988"/>
                  <a:gd name="connsiteX1746" fmla="*/ 327504 w 824741"/>
                  <a:gd name="connsiteY1746" fmla="*/ 934547 h 989988"/>
                  <a:gd name="connsiteX1747" fmla="*/ 358007 w 824741"/>
                  <a:gd name="connsiteY1747" fmla="*/ 957454 h 989988"/>
                  <a:gd name="connsiteX1748" fmla="*/ 349932 w 824741"/>
                  <a:gd name="connsiteY1748" fmla="*/ 978027 h 989988"/>
                  <a:gd name="connsiteX1749" fmla="*/ 320088 w 824741"/>
                  <a:gd name="connsiteY1749" fmla="*/ 955420 h 989988"/>
                  <a:gd name="connsiteX1750" fmla="*/ 327504 w 824741"/>
                  <a:gd name="connsiteY1750" fmla="*/ 934547 h 989988"/>
                  <a:gd name="connsiteX1751" fmla="*/ 319431 w 824741"/>
                  <a:gd name="connsiteY1751" fmla="*/ 957215 h 989988"/>
                  <a:gd name="connsiteX1752" fmla="*/ 349214 w 824741"/>
                  <a:gd name="connsiteY1752" fmla="*/ 979822 h 989988"/>
                  <a:gd name="connsiteX1753" fmla="*/ 346045 w 824741"/>
                  <a:gd name="connsiteY1753" fmla="*/ 988075 h 989988"/>
                  <a:gd name="connsiteX1754" fmla="*/ 316500 w 824741"/>
                  <a:gd name="connsiteY1754" fmla="*/ 965587 h 989988"/>
                  <a:gd name="connsiteX1755" fmla="*/ 319431 w 824741"/>
                  <a:gd name="connsiteY1755" fmla="*/ 957215 h 989988"/>
                  <a:gd name="connsiteX1756" fmla="*/ 771753 w 824741"/>
                  <a:gd name="connsiteY1756" fmla="*/ 329598 h 989988"/>
                  <a:gd name="connsiteX1757" fmla="*/ 784252 w 824741"/>
                  <a:gd name="connsiteY1757" fmla="*/ 336954 h 989988"/>
                  <a:gd name="connsiteX1758" fmla="*/ 749744 w 824741"/>
                  <a:gd name="connsiteY1758" fmla="*/ 374812 h 989988"/>
                  <a:gd name="connsiteX1759" fmla="*/ 767028 w 824741"/>
                  <a:gd name="connsiteY1759" fmla="*/ 339286 h 989988"/>
                  <a:gd name="connsiteX1760" fmla="*/ 771753 w 824741"/>
                  <a:gd name="connsiteY1760" fmla="*/ 329598 h 989988"/>
                  <a:gd name="connsiteX1761" fmla="*/ 775042 w 824741"/>
                  <a:gd name="connsiteY1761" fmla="*/ 322839 h 989988"/>
                  <a:gd name="connsiteX1762" fmla="*/ 789455 w 824741"/>
                  <a:gd name="connsiteY1762" fmla="*/ 331272 h 989988"/>
                  <a:gd name="connsiteX1763" fmla="*/ 785509 w 824741"/>
                  <a:gd name="connsiteY1763" fmla="*/ 335578 h 989988"/>
                  <a:gd name="connsiteX1764" fmla="*/ 772530 w 824741"/>
                  <a:gd name="connsiteY1764" fmla="*/ 327923 h 989988"/>
                  <a:gd name="connsiteX1765" fmla="*/ 775042 w 824741"/>
                  <a:gd name="connsiteY1765" fmla="*/ 322839 h 989988"/>
                  <a:gd name="connsiteX1766" fmla="*/ 605309 w 824741"/>
                  <a:gd name="connsiteY1766" fmla="*/ 667688 h 989988"/>
                  <a:gd name="connsiteX1767" fmla="*/ 605489 w 824741"/>
                  <a:gd name="connsiteY1767" fmla="*/ 667807 h 989988"/>
                  <a:gd name="connsiteX1768" fmla="*/ 599927 w 824741"/>
                  <a:gd name="connsiteY1768" fmla="*/ 674685 h 989988"/>
                  <a:gd name="connsiteX1769" fmla="*/ 599747 w 824741"/>
                  <a:gd name="connsiteY1769" fmla="*/ 674566 h 989988"/>
                  <a:gd name="connsiteX1770" fmla="*/ 598611 w 824741"/>
                  <a:gd name="connsiteY1770" fmla="*/ 675941 h 989988"/>
                  <a:gd name="connsiteX1771" fmla="*/ 598850 w 824741"/>
                  <a:gd name="connsiteY1771" fmla="*/ 676001 h 989988"/>
                  <a:gd name="connsiteX1772" fmla="*/ 562368 w 824741"/>
                  <a:gd name="connsiteY1772" fmla="*/ 721155 h 989988"/>
                  <a:gd name="connsiteX1773" fmla="*/ 562188 w 824741"/>
                  <a:gd name="connsiteY1773" fmla="*/ 721036 h 989988"/>
                  <a:gd name="connsiteX1774" fmla="*/ 561052 w 824741"/>
                  <a:gd name="connsiteY1774" fmla="*/ 722411 h 989988"/>
                  <a:gd name="connsiteX1775" fmla="*/ 561232 w 824741"/>
                  <a:gd name="connsiteY1775" fmla="*/ 722531 h 989988"/>
                  <a:gd name="connsiteX1776" fmla="*/ 534617 w 824741"/>
                  <a:gd name="connsiteY1776" fmla="*/ 755485 h 989988"/>
                  <a:gd name="connsiteX1777" fmla="*/ 534438 w 824741"/>
                  <a:gd name="connsiteY1777" fmla="*/ 755365 h 989988"/>
                  <a:gd name="connsiteX1778" fmla="*/ 533301 w 824741"/>
                  <a:gd name="connsiteY1778" fmla="*/ 756801 h 989988"/>
                  <a:gd name="connsiteX1779" fmla="*/ 533421 w 824741"/>
                  <a:gd name="connsiteY1779" fmla="*/ 756860 h 989988"/>
                  <a:gd name="connsiteX1780" fmla="*/ 510814 w 824741"/>
                  <a:gd name="connsiteY1780" fmla="*/ 784850 h 989988"/>
                  <a:gd name="connsiteX1781" fmla="*/ 510694 w 824741"/>
                  <a:gd name="connsiteY1781" fmla="*/ 784790 h 989988"/>
                  <a:gd name="connsiteX1782" fmla="*/ 509558 w 824741"/>
                  <a:gd name="connsiteY1782" fmla="*/ 786166 h 989988"/>
                  <a:gd name="connsiteX1783" fmla="*/ 509678 w 824741"/>
                  <a:gd name="connsiteY1783" fmla="*/ 786226 h 989988"/>
                  <a:gd name="connsiteX1784" fmla="*/ 505192 w 824741"/>
                  <a:gd name="connsiteY1784" fmla="*/ 791788 h 989988"/>
                  <a:gd name="connsiteX1785" fmla="*/ 505072 w 824741"/>
                  <a:gd name="connsiteY1785" fmla="*/ 791728 h 989988"/>
                  <a:gd name="connsiteX1786" fmla="*/ 503936 w 824741"/>
                  <a:gd name="connsiteY1786" fmla="*/ 793104 h 989988"/>
                  <a:gd name="connsiteX1787" fmla="*/ 504055 w 824741"/>
                  <a:gd name="connsiteY1787" fmla="*/ 793163 h 989988"/>
                  <a:gd name="connsiteX1788" fmla="*/ 442155 w 824741"/>
                  <a:gd name="connsiteY1788" fmla="*/ 869657 h 989988"/>
                  <a:gd name="connsiteX1789" fmla="*/ 442095 w 824741"/>
                  <a:gd name="connsiteY1789" fmla="*/ 869657 h 989988"/>
                  <a:gd name="connsiteX1790" fmla="*/ 440959 w 824741"/>
                  <a:gd name="connsiteY1790" fmla="*/ 871032 h 989988"/>
                  <a:gd name="connsiteX1791" fmla="*/ 441019 w 824741"/>
                  <a:gd name="connsiteY1791" fmla="*/ 871092 h 989988"/>
                  <a:gd name="connsiteX1792" fmla="*/ 407646 w 824741"/>
                  <a:gd name="connsiteY1792" fmla="*/ 912419 h 989988"/>
                  <a:gd name="connsiteX1793" fmla="*/ 407586 w 824741"/>
                  <a:gd name="connsiteY1793" fmla="*/ 912419 h 989988"/>
                  <a:gd name="connsiteX1794" fmla="*/ 406450 w 824741"/>
                  <a:gd name="connsiteY1794" fmla="*/ 913794 h 989988"/>
                  <a:gd name="connsiteX1795" fmla="*/ 406450 w 824741"/>
                  <a:gd name="connsiteY1795" fmla="*/ 913854 h 989988"/>
                  <a:gd name="connsiteX1796" fmla="*/ 357827 w 824741"/>
                  <a:gd name="connsiteY1796" fmla="*/ 973961 h 989988"/>
                  <a:gd name="connsiteX1797" fmla="*/ 356631 w 824741"/>
                  <a:gd name="connsiteY1797" fmla="*/ 975396 h 989988"/>
                  <a:gd name="connsiteX1798" fmla="*/ 348318 w 824741"/>
                  <a:gd name="connsiteY1798" fmla="*/ 985683 h 989988"/>
                  <a:gd name="connsiteX1799" fmla="*/ 509678 w 824741"/>
                  <a:gd name="connsiteY1799" fmla="*/ 572834 h 989988"/>
                  <a:gd name="connsiteX1800" fmla="*/ 511591 w 824741"/>
                  <a:gd name="connsiteY1800" fmla="*/ 567869 h 989988"/>
                  <a:gd name="connsiteX1801" fmla="*/ 518110 w 824741"/>
                  <a:gd name="connsiteY1801" fmla="*/ 551363 h 989988"/>
                  <a:gd name="connsiteX1802" fmla="*/ 518828 w 824741"/>
                  <a:gd name="connsiteY1802" fmla="*/ 549568 h 989988"/>
                  <a:gd name="connsiteX1803" fmla="*/ 518769 w 824741"/>
                  <a:gd name="connsiteY1803" fmla="*/ 549568 h 989988"/>
                  <a:gd name="connsiteX1804" fmla="*/ 526902 w 824741"/>
                  <a:gd name="connsiteY1804" fmla="*/ 528935 h 989988"/>
                  <a:gd name="connsiteX1805" fmla="*/ 533361 w 824741"/>
                  <a:gd name="connsiteY1805" fmla="*/ 512488 h 989988"/>
                  <a:gd name="connsiteX1806" fmla="*/ 534677 w 824741"/>
                  <a:gd name="connsiteY1806" fmla="*/ 511112 h 989988"/>
                  <a:gd name="connsiteX1807" fmla="*/ 534438 w 824741"/>
                  <a:gd name="connsiteY1807" fmla="*/ 510993 h 989988"/>
                  <a:gd name="connsiteX1808" fmla="*/ 546698 w 824741"/>
                  <a:gd name="connsiteY1808" fmla="*/ 498732 h 989988"/>
                  <a:gd name="connsiteX1809" fmla="*/ 546758 w 824741"/>
                  <a:gd name="connsiteY1809" fmla="*/ 498732 h 989988"/>
                  <a:gd name="connsiteX1810" fmla="*/ 587008 w 824741"/>
                  <a:gd name="connsiteY1810" fmla="*/ 458542 h 989988"/>
                  <a:gd name="connsiteX1811" fmla="*/ 587188 w 824741"/>
                  <a:gd name="connsiteY1811" fmla="*/ 458662 h 989988"/>
                  <a:gd name="connsiteX1812" fmla="*/ 588563 w 824741"/>
                  <a:gd name="connsiteY1812" fmla="*/ 457286 h 989988"/>
                  <a:gd name="connsiteX1813" fmla="*/ 588324 w 824741"/>
                  <a:gd name="connsiteY1813" fmla="*/ 457167 h 989988"/>
                  <a:gd name="connsiteX1814" fmla="*/ 600465 w 824741"/>
                  <a:gd name="connsiteY1814" fmla="*/ 445026 h 989988"/>
                  <a:gd name="connsiteX1815" fmla="*/ 600584 w 824741"/>
                  <a:gd name="connsiteY1815" fmla="*/ 444906 h 989988"/>
                  <a:gd name="connsiteX1816" fmla="*/ 628575 w 824741"/>
                  <a:gd name="connsiteY1816" fmla="*/ 416976 h 989988"/>
                  <a:gd name="connsiteX1817" fmla="*/ 628813 w 824741"/>
                  <a:gd name="connsiteY1817" fmla="*/ 417036 h 989988"/>
                  <a:gd name="connsiteX1818" fmla="*/ 630130 w 824741"/>
                  <a:gd name="connsiteY1818" fmla="*/ 415660 h 989988"/>
                  <a:gd name="connsiteX1819" fmla="*/ 629950 w 824741"/>
                  <a:gd name="connsiteY1819" fmla="*/ 415600 h 989988"/>
                  <a:gd name="connsiteX1820" fmla="*/ 642031 w 824741"/>
                  <a:gd name="connsiteY1820" fmla="*/ 403519 h 989988"/>
                  <a:gd name="connsiteX1821" fmla="*/ 642031 w 824741"/>
                  <a:gd name="connsiteY1821" fmla="*/ 403459 h 989988"/>
                  <a:gd name="connsiteX1822" fmla="*/ 686408 w 824741"/>
                  <a:gd name="connsiteY1822" fmla="*/ 359142 h 989988"/>
                  <a:gd name="connsiteX1823" fmla="*/ 686527 w 824741"/>
                  <a:gd name="connsiteY1823" fmla="*/ 359202 h 989988"/>
                  <a:gd name="connsiteX1824" fmla="*/ 687903 w 824741"/>
                  <a:gd name="connsiteY1824" fmla="*/ 357826 h 989988"/>
                  <a:gd name="connsiteX1825" fmla="*/ 687783 w 824741"/>
                  <a:gd name="connsiteY1825" fmla="*/ 357707 h 989988"/>
                  <a:gd name="connsiteX1826" fmla="*/ 695319 w 824741"/>
                  <a:gd name="connsiteY1826" fmla="*/ 350231 h 989988"/>
                  <a:gd name="connsiteX1827" fmla="*/ 695439 w 824741"/>
                  <a:gd name="connsiteY1827" fmla="*/ 350291 h 989988"/>
                  <a:gd name="connsiteX1828" fmla="*/ 696814 w 824741"/>
                  <a:gd name="connsiteY1828" fmla="*/ 348975 h 989988"/>
                  <a:gd name="connsiteX1829" fmla="*/ 696695 w 824741"/>
                  <a:gd name="connsiteY1829" fmla="*/ 348915 h 989988"/>
                  <a:gd name="connsiteX1830" fmla="*/ 699626 w 824741"/>
                  <a:gd name="connsiteY1830" fmla="*/ 345925 h 989988"/>
                  <a:gd name="connsiteX1831" fmla="*/ 708537 w 824741"/>
                  <a:gd name="connsiteY1831" fmla="*/ 337074 h 989988"/>
                  <a:gd name="connsiteX1832" fmla="*/ 736287 w 824741"/>
                  <a:gd name="connsiteY1832" fmla="*/ 309323 h 989988"/>
                  <a:gd name="connsiteX1833" fmla="*/ 736406 w 824741"/>
                  <a:gd name="connsiteY1833" fmla="*/ 309383 h 989988"/>
                  <a:gd name="connsiteX1834" fmla="*/ 737783 w 824741"/>
                  <a:gd name="connsiteY1834" fmla="*/ 308007 h 989988"/>
                  <a:gd name="connsiteX1835" fmla="*/ 737723 w 824741"/>
                  <a:gd name="connsiteY1835" fmla="*/ 307947 h 989988"/>
                  <a:gd name="connsiteX1836" fmla="*/ 749325 w 824741"/>
                  <a:gd name="connsiteY1836" fmla="*/ 296285 h 989988"/>
                  <a:gd name="connsiteX1837" fmla="*/ 765652 w 824741"/>
                  <a:gd name="connsiteY1837" fmla="*/ 280017 h 989988"/>
                  <a:gd name="connsiteX1838" fmla="*/ 765712 w 824741"/>
                  <a:gd name="connsiteY1838" fmla="*/ 280017 h 989988"/>
                  <a:gd name="connsiteX1839" fmla="*/ 767088 w 824741"/>
                  <a:gd name="connsiteY1839" fmla="*/ 278642 h 989988"/>
                  <a:gd name="connsiteX1840" fmla="*/ 767028 w 824741"/>
                  <a:gd name="connsiteY1840" fmla="*/ 278582 h 989988"/>
                  <a:gd name="connsiteX1841" fmla="*/ 778451 w 824741"/>
                  <a:gd name="connsiteY1841" fmla="*/ 267159 h 989988"/>
                  <a:gd name="connsiteX1842" fmla="*/ 778451 w 824741"/>
                  <a:gd name="connsiteY1842" fmla="*/ 267099 h 989988"/>
                  <a:gd name="connsiteX1843" fmla="*/ 804587 w 824741"/>
                  <a:gd name="connsiteY1843" fmla="*/ 240963 h 989988"/>
                  <a:gd name="connsiteX1844" fmla="*/ 804647 w 824741"/>
                  <a:gd name="connsiteY1844" fmla="*/ 240963 h 989988"/>
                  <a:gd name="connsiteX1845" fmla="*/ 806022 w 824741"/>
                  <a:gd name="connsiteY1845" fmla="*/ 239588 h 989988"/>
                  <a:gd name="connsiteX1846" fmla="*/ 811824 w 824741"/>
                  <a:gd name="connsiteY1846" fmla="*/ 233727 h 989988"/>
                  <a:gd name="connsiteX1847" fmla="*/ 811824 w 824741"/>
                  <a:gd name="connsiteY1847" fmla="*/ 233786 h 989988"/>
                  <a:gd name="connsiteX1848" fmla="*/ 813199 w 824741"/>
                  <a:gd name="connsiteY1848" fmla="*/ 232411 h 989988"/>
                  <a:gd name="connsiteX1849" fmla="*/ 817206 w 824741"/>
                  <a:gd name="connsiteY1849" fmla="*/ 228404 h 989988"/>
                  <a:gd name="connsiteX1850" fmla="*/ 821871 w 824741"/>
                  <a:gd name="connsiteY1850" fmla="*/ 223739 h 989988"/>
                  <a:gd name="connsiteX1851" fmla="*/ 746992 w 824741"/>
                  <a:gd name="connsiteY1851" fmla="*/ 378879 h 989988"/>
                  <a:gd name="connsiteX1852" fmla="*/ 747471 w 824741"/>
                  <a:gd name="connsiteY1852" fmla="*/ 378400 h 989988"/>
                  <a:gd name="connsiteX1853" fmla="*/ 748787 w 824741"/>
                  <a:gd name="connsiteY1853" fmla="*/ 376965 h 989988"/>
                  <a:gd name="connsiteX1854" fmla="*/ 750820 w 824741"/>
                  <a:gd name="connsiteY1854" fmla="*/ 374752 h 989988"/>
                  <a:gd name="connsiteX1855" fmla="*/ 753452 w 824741"/>
                  <a:gd name="connsiteY1855" fmla="*/ 371881 h 989988"/>
                  <a:gd name="connsiteX1856" fmla="*/ 756561 w 824741"/>
                  <a:gd name="connsiteY1856" fmla="*/ 368472 h 989988"/>
                  <a:gd name="connsiteX1857" fmla="*/ 760031 w 824741"/>
                  <a:gd name="connsiteY1857" fmla="*/ 364704 h 989988"/>
                  <a:gd name="connsiteX1858" fmla="*/ 763739 w 824741"/>
                  <a:gd name="connsiteY1858" fmla="*/ 360638 h 989988"/>
                  <a:gd name="connsiteX1859" fmla="*/ 767566 w 824741"/>
                  <a:gd name="connsiteY1859" fmla="*/ 356451 h 989988"/>
                  <a:gd name="connsiteX1860" fmla="*/ 771454 w 824741"/>
                  <a:gd name="connsiteY1860" fmla="*/ 352264 h 989988"/>
                  <a:gd name="connsiteX1861" fmla="*/ 775221 w 824741"/>
                  <a:gd name="connsiteY1861" fmla="*/ 348257 h 989988"/>
                  <a:gd name="connsiteX1862" fmla="*/ 778691 w 824741"/>
                  <a:gd name="connsiteY1862" fmla="*/ 344490 h 989988"/>
                  <a:gd name="connsiteX1863" fmla="*/ 781801 w 824741"/>
                  <a:gd name="connsiteY1863" fmla="*/ 341140 h 989988"/>
                  <a:gd name="connsiteX1864" fmla="*/ 784432 w 824741"/>
                  <a:gd name="connsiteY1864" fmla="*/ 338270 h 989988"/>
                  <a:gd name="connsiteX1865" fmla="*/ 786465 w 824741"/>
                  <a:gd name="connsiteY1865" fmla="*/ 336116 h 989988"/>
                  <a:gd name="connsiteX1866" fmla="*/ 787781 w 824741"/>
                  <a:gd name="connsiteY1866" fmla="*/ 334741 h 989988"/>
                  <a:gd name="connsiteX1867" fmla="*/ 788260 w 824741"/>
                  <a:gd name="connsiteY1867" fmla="*/ 334262 h 989988"/>
                  <a:gd name="connsiteX1868" fmla="*/ 783654 w 824741"/>
                  <a:gd name="connsiteY1868" fmla="*/ 343413 h 989988"/>
                  <a:gd name="connsiteX1869" fmla="*/ 783535 w 824741"/>
                  <a:gd name="connsiteY1869" fmla="*/ 343353 h 989988"/>
                  <a:gd name="connsiteX1870" fmla="*/ 783356 w 824741"/>
                  <a:gd name="connsiteY1870" fmla="*/ 343772 h 989988"/>
                  <a:gd name="connsiteX1871" fmla="*/ 783116 w 824741"/>
                  <a:gd name="connsiteY1871" fmla="*/ 344191 h 989988"/>
                  <a:gd name="connsiteX1872" fmla="*/ 782937 w 824741"/>
                  <a:gd name="connsiteY1872" fmla="*/ 344609 h 989988"/>
                  <a:gd name="connsiteX1873" fmla="*/ 782757 w 824741"/>
                  <a:gd name="connsiteY1873" fmla="*/ 345028 h 989988"/>
                  <a:gd name="connsiteX1874" fmla="*/ 782877 w 824741"/>
                  <a:gd name="connsiteY1874" fmla="*/ 345147 h 989988"/>
                  <a:gd name="connsiteX1875" fmla="*/ 707998 w 824741"/>
                  <a:gd name="connsiteY1875" fmla="*/ 495323 h 989988"/>
                  <a:gd name="connsiteX1876" fmla="*/ 707759 w 824741"/>
                  <a:gd name="connsiteY1876" fmla="*/ 495742 h 989988"/>
                  <a:gd name="connsiteX1877" fmla="*/ 707520 w 824741"/>
                  <a:gd name="connsiteY1877" fmla="*/ 496161 h 989988"/>
                  <a:gd name="connsiteX1878" fmla="*/ 707340 w 824741"/>
                  <a:gd name="connsiteY1878" fmla="*/ 496579 h 989988"/>
                  <a:gd name="connsiteX1879" fmla="*/ 707161 w 824741"/>
                  <a:gd name="connsiteY1879" fmla="*/ 496998 h 989988"/>
                  <a:gd name="connsiteX1880" fmla="*/ 707220 w 824741"/>
                  <a:gd name="connsiteY1880" fmla="*/ 496998 h 989988"/>
                  <a:gd name="connsiteX1881" fmla="*/ 702197 w 824741"/>
                  <a:gd name="connsiteY1881" fmla="*/ 506986 h 989988"/>
                  <a:gd name="connsiteX1882" fmla="*/ 701061 w 824741"/>
                  <a:gd name="connsiteY1882" fmla="*/ 508362 h 989988"/>
                  <a:gd name="connsiteX1883" fmla="*/ 701240 w 824741"/>
                  <a:gd name="connsiteY1883" fmla="*/ 508481 h 989988"/>
                  <a:gd name="connsiteX1884" fmla="*/ 697233 w 824741"/>
                  <a:gd name="connsiteY1884" fmla="*/ 513265 h 989988"/>
                  <a:gd name="connsiteX1885" fmla="*/ 697054 w 824741"/>
                  <a:gd name="connsiteY1885" fmla="*/ 513146 h 989988"/>
                  <a:gd name="connsiteX1886" fmla="*/ 695858 w 824741"/>
                  <a:gd name="connsiteY1886" fmla="*/ 514581 h 989988"/>
                  <a:gd name="connsiteX1887" fmla="*/ 695977 w 824741"/>
                  <a:gd name="connsiteY1887" fmla="*/ 514641 h 989988"/>
                  <a:gd name="connsiteX1888" fmla="*/ 681743 w 824741"/>
                  <a:gd name="connsiteY1888" fmla="*/ 531566 h 989988"/>
                  <a:gd name="connsiteX1889" fmla="*/ 658358 w 824741"/>
                  <a:gd name="connsiteY1889" fmla="*/ 559736 h 989988"/>
                  <a:gd name="connsiteX1890" fmla="*/ 644124 w 824741"/>
                  <a:gd name="connsiteY1890" fmla="*/ 588862 h 989988"/>
                  <a:gd name="connsiteX1891" fmla="*/ 643347 w 824741"/>
                  <a:gd name="connsiteY1891" fmla="*/ 590537 h 989988"/>
                  <a:gd name="connsiteX1892" fmla="*/ 625703 w 824741"/>
                  <a:gd name="connsiteY1892" fmla="*/ 626780 h 989988"/>
                  <a:gd name="connsiteX1893" fmla="*/ 624867 w 824741"/>
                  <a:gd name="connsiteY1893" fmla="*/ 628394 h 989988"/>
                  <a:gd name="connsiteX1894" fmla="*/ 611529 w 824741"/>
                  <a:gd name="connsiteY1894" fmla="*/ 655846 h 989988"/>
                  <a:gd name="connsiteX1895" fmla="*/ 610751 w 824741"/>
                  <a:gd name="connsiteY1895" fmla="*/ 657461 h 989988"/>
                  <a:gd name="connsiteX1896" fmla="*/ 606565 w 824741"/>
                  <a:gd name="connsiteY1896" fmla="*/ 666013 h 989988"/>
                  <a:gd name="connsiteX1897" fmla="*/ 605309 w 824741"/>
                  <a:gd name="connsiteY1897" fmla="*/ 667688 h 989988"/>
                  <a:gd name="connsiteX1898" fmla="*/ 606984 w 824741"/>
                  <a:gd name="connsiteY1898" fmla="*/ 667807 h 989988"/>
                  <a:gd name="connsiteX1899" fmla="*/ 606984 w 824741"/>
                  <a:gd name="connsiteY1899" fmla="*/ 667807 h 989988"/>
                  <a:gd name="connsiteX1900" fmla="*/ 607043 w 824741"/>
                  <a:gd name="connsiteY1900" fmla="*/ 667688 h 989988"/>
                  <a:gd name="connsiteX1901" fmla="*/ 607103 w 824741"/>
                  <a:gd name="connsiteY1901" fmla="*/ 667568 h 989988"/>
                  <a:gd name="connsiteX1902" fmla="*/ 607103 w 824741"/>
                  <a:gd name="connsiteY1902" fmla="*/ 667508 h 989988"/>
                  <a:gd name="connsiteX1903" fmla="*/ 612128 w 824741"/>
                  <a:gd name="connsiteY1903" fmla="*/ 657281 h 989988"/>
                  <a:gd name="connsiteX1904" fmla="*/ 626302 w 824741"/>
                  <a:gd name="connsiteY1904" fmla="*/ 628215 h 989988"/>
                  <a:gd name="connsiteX1905" fmla="*/ 644722 w 824741"/>
                  <a:gd name="connsiteY1905" fmla="*/ 590357 h 989988"/>
                  <a:gd name="connsiteX1906" fmla="*/ 659674 w 824741"/>
                  <a:gd name="connsiteY1906" fmla="*/ 559736 h 989988"/>
                  <a:gd name="connsiteX1907" fmla="*/ 697233 w 824741"/>
                  <a:gd name="connsiteY1907" fmla="*/ 515000 h 989988"/>
                  <a:gd name="connsiteX1908" fmla="*/ 697293 w 824741"/>
                  <a:gd name="connsiteY1908" fmla="*/ 514940 h 989988"/>
                  <a:gd name="connsiteX1909" fmla="*/ 697353 w 824741"/>
                  <a:gd name="connsiteY1909" fmla="*/ 514880 h 989988"/>
                  <a:gd name="connsiteX1910" fmla="*/ 702496 w 824741"/>
                  <a:gd name="connsiteY1910" fmla="*/ 508780 h 989988"/>
                  <a:gd name="connsiteX1911" fmla="*/ 702496 w 824741"/>
                  <a:gd name="connsiteY1911" fmla="*/ 508720 h 989988"/>
                  <a:gd name="connsiteX1912" fmla="*/ 702556 w 824741"/>
                  <a:gd name="connsiteY1912" fmla="*/ 508660 h 989988"/>
                  <a:gd name="connsiteX1913" fmla="*/ 702616 w 824741"/>
                  <a:gd name="connsiteY1913" fmla="*/ 508541 h 989988"/>
                  <a:gd name="connsiteX1914" fmla="*/ 702616 w 824741"/>
                  <a:gd name="connsiteY1914" fmla="*/ 508481 h 989988"/>
                  <a:gd name="connsiteX1915" fmla="*/ 702676 w 824741"/>
                  <a:gd name="connsiteY1915" fmla="*/ 508421 h 989988"/>
                  <a:gd name="connsiteX1916" fmla="*/ 708477 w 824741"/>
                  <a:gd name="connsiteY1916" fmla="*/ 496759 h 989988"/>
                  <a:gd name="connsiteX1917" fmla="*/ 784192 w 824741"/>
                  <a:gd name="connsiteY1917" fmla="*/ 344968 h 989988"/>
                  <a:gd name="connsiteX1918" fmla="*/ 791130 w 824741"/>
                  <a:gd name="connsiteY1918" fmla="*/ 331093 h 989988"/>
                  <a:gd name="connsiteX1919" fmla="*/ 791190 w 824741"/>
                  <a:gd name="connsiteY1919" fmla="*/ 330973 h 989988"/>
                  <a:gd name="connsiteX1920" fmla="*/ 791190 w 824741"/>
                  <a:gd name="connsiteY1920" fmla="*/ 330913 h 989988"/>
                  <a:gd name="connsiteX1921" fmla="*/ 791250 w 824741"/>
                  <a:gd name="connsiteY1921" fmla="*/ 330794 h 989988"/>
                  <a:gd name="connsiteX1922" fmla="*/ 791250 w 824741"/>
                  <a:gd name="connsiteY1922" fmla="*/ 330734 h 989988"/>
                  <a:gd name="connsiteX1923" fmla="*/ 791250 w 824741"/>
                  <a:gd name="connsiteY1923" fmla="*/ 330554 h 989988"/>
                  <a:gd name="connsiteX1924" fmla="*/ 791310 w 824741"/>
                  <a:gd name="connsiteY1924" fmla="*/ 330435 h 989988"/>
                  <a:gd name="connsiteX1925" fmla="*/ 791310 w 824741"/>
                  <a:gd name="connsiteY1925" fmla="*/ 330315 h 989988"/>
                  <a:gd name="connsiteX1926" fmla="*/ 791250 w 824741"/>
                  <a:gd name="connsiteY1926" fmla="*/ 330196 h 989988"/>
                  <a:gd name="connsiteX1927" fmla="*/ 791190 w 824741"/>
                  <a:gd name="connsiteY1927" fmla="*/ 330136 h 989988"/>
                  <a:gd name="connsiteX1928" fmla="*/ 791070 w 824741"/>
                  <a:gd name="connsiteY1928" fmla="*/ 330076 h 989988"/>
                  <a:gd name="connsiteX1929" fmla="*/ 775880 w 824741"/>
                  <a:gd name="connsiteY1929" fmla="*/ 321165 h 989988"/>
                  <a:gd name="connsiteX1930" fmla="*/ 792805 w 824741"/>
                  <a:gd name="connsiteY1930" fmla="*/ 286357 h 989988"/>
                  <a:gd name="connsiteX1931" fmla="*/ 817326 w 824741"/>
                  <a:gd name="connsiteY1931" fmla="*/ 235999 h 989988"/>
                  <a:gd name="connsiteX1932" fmla="*/ 824562 w 824741"/>
                  <a:gd name="connsiteY1932" fmla="*/ 221107 h 989988"/>
                  <a:gd name="connsiteX1933" fmla="*/ 824622 w 824741"/>
                  <a:gd name="connsiteY1933" fmla="*/ 220988 h 989988"/>
                  <a:gd name="connsiteX1934" fmla="*/ 824742 w 824741"/>
                  <a:gd name="connsiteY1934" fmla="*/ 220868 h 989988"/>
                  <a:gd name="connsiteX1935" fmla="*/ 824742 w 824741"/>
                  <a:gd name="connsiteY1935" fmla="*/ 220808 h 989988"/>
                  <a:gd name="connsiteX1936" fmla="*/ 824742 w 824741"/>
                  <a:gd name="connsiteY1936" fmla="*/ 220689 h 989988"/>
                  <a:gd name="connsiteX1937" fmla="*/ 824742 w 824741"/>
                  <a:gd name="connsiteY1937" fmla="*/ 220509 h 989988"/>
                  <a:gd name="connsiteX1938" fmla="*/ 824742 w 824741"/>
                  <a:gd name="connsiteY1938" fmla="*/ 220449 h 989988"/>
                  <a:gd name="connsiteX1939" fmla="*/ 824682 w 824741"/>
                  <a:gd name="connsiteY1939" fmla="*/ 220330 h 989988"/>
                  <a:gd name="connsiteX1940" fmla="*/ 824682 w 824741"/>
                  <a:gd name="connsiteY1940" fmla="*/ 220210 h 989988"/>
                  <a:gd name="connsiteX1941" fmla="*/ 824682 w 824741"/>
                  <a:gd name="connsiteY1941" fmla="*/ 220151 h 989988"/>
                  <a:gd name="connsiteX1942" fmla="*/ 824622 w 824741"/>
                  <a:gd name="connsiteY1942" fmla="*/ 220091 h 989988"/>
                  <a:gd name="connsiteX1943" fmla="*/ 824503 w 824741"/>
                  <a:gd name="connsiteY1943" fmla="*/ 220031 h 989988"/>
                  <a:gd name="connsiteX1944" fmla="*/ 789934 w 824741"/>
                  <a:gd name="connsiteY1944" fmla="*/ 200474 h 989988"/>
                  <a:gd name="connsiteX1945" fmla="*/ 723608 w 824741"/>
                  <a:gd name="connsiteY1945" fmla="*/ 163034 h 989988"/>
                  <a:gd name="connsiteX1946" fmla="*/ 688561 w 824741"/>
                  <a:gd name="connsiteY1946" fmla="*/ 143238 h 989988"/>
                  <a:gd name="connsiteX1947" fmla="*/ 655607 w 824741"/>
                  <a:gd name="connsiteY1947" fmla="*/ 124638 h 989988"/>
                  <a:gd name="connsiteX1948" fmla="*/ 592271 w 824741"/>
                  <a:gd name="connsiteY1948" fmla="*/ 88933 h 989988"/>
                  <a:gd name="connsiteX1949" fmla="*/ 558839 w 824741"/>
                  <a:gd name="connsiteY1949" fmla="*/ 70034 h 989988"/>
                  <a:gd name="connsiteX1950" fmla="*/ 527380 w 824741"/>
                  <a:gd name="connsiteY1950" fmla="*/ 52271 h 989988"/>
                  <a:gd name="connsiteX1951" fmla="*/ 466915 w 824741"/>
                  <a:gd name="connsiteY1951" fmla="*/ 18181 h 989988"/>
                  <a:gd name="connsiteX1952" fmla="*/ 434979 w 824741"/>
                  <a:gd name="connsiteY1952" fmla="*/ 120 h 989988"/>
                  <a:gd name="connsiteX1953" fmla="*/ 434619 w 824741"/>
                  <a:gd name="connsiteY1953" fmla="*/ 0 h 989988"/>
                  <a:gd name="connsiteX1954" fmla="*/ 434320 w 824741"/>
                  <a:gd name="connsiteY1954" fmla="*/ 120 h 989988"/>
                  <a:gd name="connsiteX1955" fmla="*/ 424213 w 824741"/>
                  <a:gd name="connsiteY1955" fmla="*/ 4785 h 989988"/>
                  <a:gd name="connsiteX1956" fmla="*/ 369429 w 824741"/>
                  <a:gd name="connsiteY1956" fmla="*/ 30083 h 989988"/>
                  <a:gd name="connsiteX1957" fmla="*/ 328462 w 824741"/>
                  <a:gd name="connsiteY1957" fmla="*/ 48982 h 989988"/>
                  <a:gd name="connsiteX1958" fmla="*/ 271465 w 824741"/>
                  <a:gd name="connsiteY1958" fmla="*/ 75297 h 989988"/>
                  <a:gd name="connsiteX1959" fmla="*/ 259145 w 824741"/>
                  <a:gd name="connsiteY1959" fmla="*/ 80979 h 989988"/>
                  <a:gd name="connsiteX1960" fmla="*/ 179422 w 824741"/>
                  <a:gd name="connsiteY1960" fmla="*/ 117761 h 989988"/>
                  <a:gd name="connsiteX1961" fmla="*/ 122546 w 824741"/>
                  <a:gd name="connsiteY1961" fmla="*/ 144016 h 989988"/>
                  <a:gd name="connsiteX1962" fmla="*/ 49401 w 824741"/>
                  <a:gd name="connsiteY1962" fmla="*/ 177807 h 989988"/>
                  <a:gd name="connsiteX1963" fmla="*/ 31340 w 824741"/>
                  <a:gd name="connsiteY1963" fmla="*/ 186120 h 989988"/>
                  <a:gd name="connsiteX1964" fmla="*/ 31280 w 824741"/>
                  <a:gd name="connsiteY1964" fmla="*/ 186180 h 989988"/>
                  <a:gd name="connsiteX1965" fmla="*/ 31220 w 824741"/>
                  <a:gd name="connsiteY1965" fmla="*/ 186180 h 989988"/>
                  <a:gd name="connsiteX1966" fmla="*/ 31100 w 824741"/>
                  <a:gd name="connsiteY1966" fmla="*/ 186180 h 989988"/>
                  <a:gd name="connsiteX1967" fmla="*/ 30801 w 824741"/>
                  <a:gd name="connsiteY1967" fmla="*/ 186598 h 989988"/>
                  <a:gd name="connsiteX1968" fmla="*/ 30801 w 824741"/>
                  <a:gd name="connsiteY1968" fmla="*/ 186658 h 989988"/>
                  <a:gd name="connsiteX1969" fmla="*/ 30621 w 824741"/>
                  <a:gd name="connsiteY1969" fmla="*/ 187017 h 989988"/>
                  <a:gd name="connsiteX1970" fmla="*/ 30621 w 824741"/>
                  <a:gd name="connsiteY1970" fmla="*/ 187137 h 989988"/>
                  <a:gd name="connsiteX1971" fmla="*/ 30621 w 824741"/>
                  <a:gd name="connsiteY1971" fmla="*/ 187197 h 989988"/>
                  <a:gd name="connsiteX1972" fmla="*/ 30621 w 824741"/>
                  <a:gd name="connsiteY1972" fmla="*/ 187257 h 989988"/>
                  <a:gd name="connsiteX1973" fmla="*/ 29545 w 824741"/>
                  <a:gd name="connsiteY1973" fmla="*/ 206335 h 989988"/>
                  <a:gd name="connsiteX1974" fmla="*/ 27033 w 824741"/>
                  <a:gd name="connsiteY1974" fmla="*/ 249277 h 989988"/>
                  <a:gd name="connsiteX1975" fmla="*/ 27093 w 824741"/>
                  <a:gd name="connsiteY1975" fmla="*/ 249336 h 989988"/>
                  <a:gd name="connsiteX1976" fmla="*/ 27093 w 824741"/>
                  <a:gd name="connsiteY1976" fmla="*/ 249516 h 989988"/>
                  <a:gd name="connsiteX1977" fmla="*/ 27153 w 824741"/>
                  <a:gd name="connsiteY1977" fmla="*/ 249695 h 989988"/>
                  <a:gd name="connsiteX1978" fmla="*/ 27272 w 824741"/>
                  <a:gd name="connsiteY1978" fmla="*/ 249875 h 989988"/>
                  <a:gd name="connsiteX1979" fmla="*/ 27392 w 824741"/>
                  <a:gd name="connsiteY1979" fmla="*/ 249994 h 989988"/>
                  <a:gd name="connsiteX1980" fmla="*/ 27452 w 824741"/>
                  <a:gd name="connsiteY1980" fmla="*/ 250054 h 989988"/>
                  <a:gd name="connsiteX1981" fmla="*/ 66327 w 824741"/>
                  <a:gd name="connsiteY1981" fmla="*/ 275651 h 989988"/>
                  <a:gd name="connsiteX1982" fmla="*/ 115728 w 824741"/>
                  <a:gd name="connsiteY1982" fmla="*/ 308246 h 989988"/>
                  <a:gd name="connsiteX1983" fmla="*/ 84687 w 824741"/>
                  <a:gd name="connsiteY1983" fmla="*/ 326009 h 989988"/>
                  <a:gd name="connsiteX1984" fmla="*/ 80800 w 824741"/>
                  <a:gd name="connsiteY1984" fmla="*/ 323437 h 989988"/>
                  <a:gd name="connsiteX1985" fmla="*/ 43600 w 824741"/>
                  <a:gd name="connsiteY1985" fmla="*/ 298618 h 989988"/>
                  <a:gd name="connsiteX1986" fmla="*/ 43480 w 824741"/>
                  <a:gd name="connsiteY1986" fmla="*/ 298618 h 989988"/>
                  <a:gd name="connsiteX1987" fmla="*/ 43301 w 824741"/>
                  <a:gd name="connsiteY1987" fmla="*/ 298558 h 989988"/>
                  <a:gd name="connsiteX1988" fmla="*/ 43181 w 824741"/>
                  <a:gd name="connsiteY1988" fmla="*/ 298558 h 989988"/>
                  <a:gd name="connsiteX1989" fmla="*/ 43002 w 824741"/>
                  <a:gd name="connsiteY1989" fmla="*/ 298558 h 989988"/>
                  <a:gd name="connsiteX1990" fmla="*/ 42822 w 824741"/>
                  <a:gd name="connsiteY1990" fmla="*/ 298618 h 989988"/>
                  <a:gd name="connsiteX1991" fmla="*/ 42762 w 824741"/>
                  <a:gd name="connsiteY1991" fmla="*/ 298677 h 989988"/>
                  <a:gd name="connsiteX1992" fmla="*/ 25119 w 824741"/>
                  <a:gd name="connsiteY1992" fmla="*/ 308127 h 989988"/>
                  <a:gd name="connsiteX1993" fmla="*/ 25000 w 824741"/>
                  <a:gd name="connsiteY1993" fmla="*/ 308187 h 989988"/>
                  <a:gd name="connsiteX1994" fmla="*/ 24940 w 824741"/>
                  <a:gd name="connsiteY1994" fmla="*/ 308246 h 989988"/>
                  <a:gd name="connsiteX1995" fmla="*/ 24641 w 824741"/>
                  <a:gd name="connsiteY1995" fmla="*/ 308545 h 989988"/>
                  <a:gd name="connsiteX1996" fmla="*/ 24641 w 824741"/>
                  <a:gd name="connsiteY1996" fmla="*/ 308605 h 989988"/>
                  <a:gd name="connsiteX1997" fmla="*/ 24522 w 824741"/>
                  <a:gd name="connsiteY1997" fmla="*/ 309084 h 989988"/>
                  <a:gd name="connsiteX1998" fmla="*/ 24462 w 824741"/>
                  <a:gd name="connsiteY1998" fmla="*/ 309203 h 989988"/>
                  <a:gd name="connsiteX1999" fmla="*/ 24462 w 824741"/>
                  <a:gd name="connsiteY1999" fmla="*/ 309263 h 989988"/>
                  <a:gd name="connsiteX2000" fmla="*/ 21352 w 824741"/>
                  <a:gd name="connsiteY2000" fmla="*/ 363090 h 989988"/>
                  <a:gd name="connsiteX2001" fmla="*/ 20335 w 824741"/>
                  <a:gd name="connsiteY2001" fmla="*/ 380314 h 989988"/>
                  <a:gd name="connsiteX2002" fmla="*/ 18720 w 824741"/>
                  <a:gd name="connsiteY2002" fmla="*/ 407108 h 989988"/>
                  <a:gd name="connsiteX2003" fmla="*/ 15131 w 824741"/>
                  <a:gd name="connsiteY2003" fmla="*/ 469068 h 989988"/>
                  <a:gd name="connsiteX2004" fmla="*/ 13397 w 824741"/>
                  <a:gd name="connsiteY2004" fmla="*/ 498134 h 989988"/>
                  <a:gd name="connsiteX2005" fmla="*/ 12560 w 824741"/>
                  <a:gd name="connsiteY2005" fmla="*/ 513146 h 989988"/>
                  <a:gd name="connsiteX2006" fmla="*/ 11483 w 824741"/>
                  <a:gd name="connsiteY2006" fmla="*/ 530849 h 989988"/>
                  <a:gd name="connsiteX2007" fmla="*/ 8553 w 824741"/>
                  <a:gd name="connsiteY2007" fmla="*/ 581087 h 989988"/>
                  <a:gd name="connsiteX2008" fmla="*/ 4845 w 824741"/>
                  <a:gd name="connsiteY2008" fmla="*/ 644782 h 989988"/>
                  <a:gd name="connsiteX2009" fmla="*/ 2213 w 824741"/>
                  <a:gd name="connsiteY2009" fmla="*/ 689577 h 989988"/>
                  <a:gd name="connsiteX2010" fmla="*/ 718 w 824741"/>
                  <a:gd name="connsiteY2010" fmla="*/ 715474 h 989988"/>
                  <a:gd name="connsiteX2011" fmla="*/ 0 w 824741"/>
                  <a:gd name="connsiteY2011" fmla="*/ 727136 h 989988"/>
                  <a:gd name="connsiteX2012" fmla="*/ 60 w 824741"/>
                  <a:gd name="connsiteY2012" fmla="*/ 727136 h 989988"/>
                  <a:gd name="connsiteX2013" fmla="*/ 60 w 824741"/>
                  <a:gd name="connsiteY2013" fmla="*/ 727375 h 989988"/>
                  <a:gd name="connsiteX2014" fmla="*/ 60 w 824741"/>
                  <a:gd name="connsiteY2014" fmla="*/ 727495 h 989988"/>
                  <a:gd name="connsiteX2015" fmla="*/ 180 w 824741"/>
                  <a:gd name="connsiteY2015" fmla="*/ 727615 h 989988"/>
                  <a:gd name="connsiteX2016" fmla="*/ 239 w 824741"/>
                  <a:gd name="connsiteY2016" fmla="*/ 727734 h 989988"/>
                  <a:gd name="connsiteX2017" fmla="*/ 28708 w 824741"/>
                  <a:gd name="connsiteY2017" fmla="*/ 749265 h 989988"/>
                  <a:gd name="connsiteX2018" fmla="*/ 82415 w 824741"/>
                  <a:gd name="connsiteY2018" fmla="*/ 789993 h 989988"/>
                  <a:gd name="connsiteX2019" fmla="*/ 110345 w 824741"/>
                  <a:gd name="connsiteY2019" fmla="*/ 811285 h 989988"/>
                  <a:gd name="connsiteX2020" fmla="*/ 140069 w 824741"/>
                  <a:gd name="connsiteY2020" fmla="*/ 833772 h 989988"/>
                  <a:gd name="connsiteX2021" fmla="*/ 196228 w 824741"/>
                  <a:gd name="connsiteY2021" fmla="*/ 876355 h 989988"/>
                  <a:gd name="connsiteX2022" fmla="*/ 225474 w 824741"/>
                  <a:gd name="connsiteY2022" fmla="*/ 898544 h 989988"/>
                  <a:gd name="connsiteX2023" fmla="*/ 256573 w 824741"/>
                  <a:gd name="connsiteY2023" fmla="*/ 922108 h 989988"/>
                  <a:gd name="connsiteX2024" fmla="*/ 315364 w 824741"/>
                  <a:gd name="connsiteY2024" fmla="*/ 966664 h 989988"/>
                  <a:gd name="connsiteX2025" fmla="*/ 346045 w 824741"/>
                  <a:gd name="connsiteY2025" fmla="*/ 989869 h 989988"/>
                  <a:gd name="connsiteX2026" fmla="*/ 346104 w 824741"/>
                  <a:gd name="connsiteY2026" fmla="*/ 989929 h 989988"/>
                  <a:gd name="connsiteX2027" fmla="*/ 346224 w 824741"/>
                  <a:gd name="connsiteY2027" fmla="*/ 989989 h 989988"/>
                  <a:gd name="connsiteX2028" fmla="*/ 346344 w 824741"/>
                  <a:gd name="connsiteY2028" fmla="*/ 989989 h 989988"/>
                  <a:gd name="connsiteX2029" fmla="*/ 346464 w 824741"/>
                  <a:gd name="connsiteY2029" fmla="*/ 989989 h 989988"/>
                  <a:gd name="connsiteX2030" fmla="*/ 346523 w 824741"/>
                  <a:gd name="connsiteY2030" fmla="*/ 989989 h 989988"/>
                  <a:gd name="connsiteX2031" fmla="*/ 346643 w 824741"/>
                  <a:gd name="connsiteY2031" fmla="*/ 989929 h 989988"/>
                  <a:gd name="connsiteX2032" fmla="*/ 346763 w 824741"/>
                  <a:gd name="connsiteY2032" fmla="*/ 989929 h 989988"/>
                  <a:gd name="connsiteX2033" fmla="*/ 346763 w 824741"/>
                  <a:gd name="connsiteY2033" fmla="*/ 989869 h 989988"/>
                  <a:gd name="connsiteX2034" fmla="*/ 346882 w 824741"/>
                  <a:gd name="connsiteY2034" fmla="*/ 989750 h 989988"/>
                  <a:gd name="connsiteX2035" fmla="*/ 347002 w 824741"/>
                  <a:gd name="connsiteY2035" fmla="*/ 989630 h 989988"/>
                  <a:gd name="connsiteX2036" fmla="*/ 358425 w 824741"/>
                  <a:gd name="connsiteY2036" fmla="*/ 975516 h 989988"/>
                  <a:gd name="connsiteX2037" fmla="*/ 408184 w 824741"/>
                  <a:gd name="connsiteY2037" fmla="*/ 913974 h 989988"/>
                  <a:gd name="connsiteX2038" fmla="*/ 442753 w 824741"/>
                  <a:gd name="connsiteY2038" fmla="*/ 871272 h 989988"/>
                  <a:gd name="connsiteX2039" fmla="*/ 505790 w 824741"/>
                  <a:gd name="connsiteY2039" fmla="*/ 793283 h 989988"/>
                  <a:gd name="connsiteX2040" fmla="*/ 511412 w 824741"/>
                  <a:gd name="connsiteY2040" fmla="*/ 786285 h 989988"/>
                  <a:gd name="connsiteX2041" fmla="*/ 535216 w 824741"/>
                  <a:gd name="connsiteY2041" fmla="*/ 756920 h 989988"/>
                  <a:gd name="connsiteX2042" fmla="*/ 563025 w 824741"/>
                  <a:gd name="connsiteY2042" fmla="*/ 722531 h 989988"/>
                  <a:gd name="connsiteX2043" fmla="*/ 600644 w 824741"/>
                  <a:gd name="connsiteY2043" fmla="*/ 676001 h 989988"/>
                  <a:gd name="connsiteX2044" fmla="*/ 606984 w 824741"/>
                  <a:gd name="connsiteY2044" fmla="*/ 667807 h 98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Lst>
                <a:rect l="l" t="t" r="r" b="b"/>
                <a:pathLst>
                  <a:path w="824741" h="989988">
                    <a:moveTo>
                      <a:pt x="32236" y="189290"/>
                    </a:moveTo>
                    <a:lnTo>
                      <a:pt x="70573" y="214050"/>
                    </a:lnTo>
                    <a:lnTo>
                      <a:pt x="69257" y="230557"/>
                    </a:lnTo>
                    <a:lnTo>
                      <a:pt x="31280" y="205857"/>
                    </a:lnTo>
                    <a:lnTo>
                      <a:pt x="32236" y="189290"/>
                    </a:lnTo>
                    <a:moveTo>
                      <a:pt x="33552" y="187436"/>
                    </a:moveTo>
                    <a:lnTo>
                      <a:pt x="49222" y="180199"/>
                    </a:lnTo>
                    <a:lnTo>
                      <a:pt x="87259" y="204600"/>
                    </a:lnTo>
                    <a:lnTo>
                      <a:pt x="71829" y="212196"/>
                    </a:lnTo>
                    <a:lnTo>
                      <a:pt x="33552" y="187436"/>
                    </a:lnTo>
                    <a:moveTo>
                      <a:pt x="31100" y="208368"/>
                    </a:moveTo>
                    <a:lnTo>
                      <a:pt x="69078" y="233009"/>
                    </a:lnTo>
                    <a:lnTo>
                      <a:pt x="65848" y="273140"/>
                    </a:lnTo>
                    <a:lnTo>
                      <a:pt x="28768" y="248678"/>
                    </a:lnTo>
                    <a:lnTo>
                      <a:pt x="31100" y="208368"/>
                    </a:lnTo>
                    <a:moveTo>
                      <a:pt x="51614" y="179122"/>
                    </a:moveTo>
                    <a:lnTo>
                      <a:pt x="122366" y="146468"/>
                    </a:lnTo>
                    <a:lnTo>
                      <a:pt x="158968" y="169374"/>
                    </a:lnTo>
                    <a:lnTo>
                      <a:pt x="89532" y="203524"/>
                    </a:lnTo>
                    <a:lnTo>
                      <a:pt x="51614" y="179122"/>
                    </a:lnTo>
                    <a:moveTo>
                      <a:pt x="27093" y="309263"/>
                    </a:moveTo>
                    <a:lnTo>
                      <a:pt x="42524" y="300950"/>
                    </a:lnTo>
                    <a:lnTo>
                      <a:pt x="78109" y="324634"/>
                    </a:lnTo>
                    <a:lnTo>
                      <a:pt x="62857" y="333306"/>
                    </a:lnTo>
                    <a:lnTo>
                      <a:pt x="27093" y="309263"/>
                    </a:lnTo>
                    <a:moveTo>
                      <a:pt x="25957" y="311177"/>
                    </a:moveTo>
                    <a:lnTo>
                      <a:pt x="61602" y="335100"/>
                    </a:lnTo>
                    <a:lnTo>
                      <a:pt x="57475" y="386116"/>
                    </a:lnTo>
                    <a:lnTo>
                      <a:pt x="22907" y="362432"/>
                    </a:lnTo>
                    <a:lnTo>
                      <a:pt x="25957" y="311177"/>
                    </a:lnTo>
                    <a:moveTo>
                      <a:pt x="124699" y="145332"/>
                    </a:moveTo>
                    <a:lnTo>
                      <a:pt x="179183" y="120153"/>
                    </a:lnTo>
                    <a:lnTo>
                      <a:pt x="214708" y="141923"/>
                    </a:lnTo>
                    <a:lnTo>
                      <a:pt x="161241" y="168238"/>
                    </a:lnTo>
                    <a:lnTo>
                      <a:pt x="124699" y="145332"/>
                    </a:lnTo>
                    <a:moveTo>
                      <a:pt x="22787" y="365003"/>
                    </a:moveTo>
                    <a:lnTo>
                      <a:pt x="57296" y="388627"/>
                    </a:lnTo>
                    <a:lnTo>
                      <a:pt x="56159" y="403160"/>
                    </a:lnTo>
                    <a:lnTo>
                      <a:pt x="21950" y="379716"/>
                    </a:lnTo>
                    <a:lnTo>
                      <a:pt x="22787" y="365003"/>
                    </a:lnTo>
                    <a:moveTo>
                      <a:pt x="163094" y="169374"/>
                    </a:moveTo>
                    <a:lnTo>
                      <a:pt x="215665" y="143478"/>
                    </a:lnTo>
                    <a:lnTo>
                      <a:pt x="213273" y="159087"/>
                    </a:lnTo>
                    <a:lnTo>
                      <a:pt x="176312" y="177687"/>
                    </a:lnTo>
                    <a:lnTo>
                      <a:pt x="163094" y="169374"/>
                    </a:lnTo>
                    <a:moveTo>
                      <a:pt x="72367" y="215246"/>
                    </a:moveTo>
                    <a:lnTo>
                      <a:pt x="147066" y="263511"/>
                    </a:lnTo>
                    <a:lnTo>
                      <a:pt x="145033" y="279838"/>
                    </a:lnTo>
                    <a:lnTo>
                      <a:pt x="70991" y="231693"/>
                    </a:lnTo>
                    <a:lnTo>
                      <a:pt x="72367" y="215246"/>
                    </a:lnTo>
                    <a:moveTo>
                      <a:pt x="73683" y="213392"/>
                    </a:moveTo>
                    <a:lnTo>
                      <a:pt x="89053" y="205857"/>
                    </a:lnTo>
                    <a:lnTo>
                      <a:pt x="163094" y="253403"/>
                    </a:lnTo>
                    <a:lnTo>
                      <a:pt x="148202" y="261657"/>
                    </a:lnTo>
                    <a:lnTo>
                      <a:pt x="73683" y="213392"/>
                    </a:lnTo>
                    <a:moveTo>
                      <a:pt x="21770" y="382168"/>
                    </a:moveTo>
                    <a:lnTo>
                      <a:pt x="55920" y="405612"/>
                    </a:lnTo>
                    <a:lnTo>
                      <a:pt x="53946" y="429775"/>
                    </a:lnTo>
                    <a:lnTo>
                      <a:pt x="20335" y="406510"/>
                    </a:lnTo>
                    <a:lnTo>
                      <a:pt x="21770" y="382168"/>
                    </a:lnTo>
                    <a:moveTo>
                      <a:pt x="70872" y="234205"/>
                    </a:moveTo>
                    <a:lnTo>
                      <a:pt x="144734" y="282230"/>
                    </a:lnTo>
                    <a:lnTo>
                      <a:pt x="139769" y="322002"/>
                    </a:lnTo>
                    <a:lnTo>
                      <a:pt x="67582" y="274395"/>
                    </a:lnTo>
                    <a:lnTo>
                      <a:pt x="70872" y="234205"/>
                    </a:lnTo>
                    <a:moveTo>
                      <a:pt x="86123" y="327385"/>
                    </a:moveTo>
                    <a:lnTo>
                      <a:pt x="117163" y="309622"/>
                    </a:lnTo>
                    <a:lnTo>
                      <a:pt x="139471" y="324335"/>
                    </a:lnTo>
                    <a:lnTo>
                      <a:pt x="137796" y="338987"/>
                    </a:lnTo>
                    <a:lnTo>
                      <a:pt x="119734" y="349932"/>
                    </a:lnTo>
                    <a:lnTo>
                      <a:pt x="86123" y="327385"/>
                    </a:lnTo>
                    <a:moveTo>
                      <a:pt x="181575" y="119016"/>
                    </a:moveTo>
                    <a:lnTo>
                      <a:pt x="258846" y="83252"/>
                    </a:lnTo>
                    <a:lnTo>
                      <a:pt x="292757" y="103526"/>
                    </a:lnTo>
                    <a:lnTo>
                      <a:pt x="216981" y="140786"/>
                    </a:lnTo>
                    <a:lnTo>
                      <a:pt x="181575" y="119016"/>
                    </a:lnTo>
                    <a:moveTo>
                      <a:pt x="20215" y="408962"/>
                    </a:moveTo>
                    <a:lnTo>
                      <a:pt x="53767" y="432227"/>
                    </a:lnTo>
                    <a:lnTo>
                      <a:pt x="48982" y="491196"/>
                    </a:lnTo>
                    <a:lnTo>
                      <a:pt x="16686" y="468410"/>
                    </a:lnTo>
                    <a:lnTo>
                      <a:pt x="20215" y="408962"/>
                    </a:lnTo>
                    <a:moveTo>
                      <a:pt x="121349" y="350949"/>
                    </a:moveTo>
                    <a:lnTo>
                      <a:pt x="137616" y="341140"/>
                    </a:lnTo>
                    <a:lnTo>
                      <a:pt x="135464" y="360339"/>
                    </a:lnTo>
                    <a:lnTo>
                      <a:pt x="121349" y="350949"/>
                    </a:lnTo>
                    <a:moveTo>
                      <a:pt x="261298" y="82235"/>
                    </a:moveTo>
                    <a:lnTo>
                      <a:pt x="271226" y="77630"/>
                    </a:lnTo>
                    <a:lnTo>
                      <a:pt x="304838" y="97665"/>
                    </a:lnTo>
                    <a:lnTo>
                      <a:pt x="295030" y="102450"/>
                    </a:lnTo>
                    <a:lnTo>
                      <a:pt x="261298" y="82235"/>
                    </a:lnTo>
                    <a:moveTo>
                      <a:pt x="70095" y="443530"/>
                    </a:moveTo>
                    <a:lnTo>
                      <a:pt x="82594" y="452083"/>
                    </a:lnTo>
                    <a:lnTo>
                      <a:pt x="68480" y="461353"/>
                    </a:lnTo>
                    <a:lnTo>
                      <a:pt x="70095" y="443530"/>
                    </a:lnTo>
                    <a:moveTo>
                      <a:pt x="55441" y="433423"/>
                    </a:moveTo>
                    <a:lnTo>
                      <a:pt x="68360" y="442334"/>
                    </a:lnTo>
                    <a:lnTo>
                      <a:pt x="64772" y="481867"/>
                    </a:lnTo>
                    <a:lnTo>
                      <a:pt x="50777" y="491256"/>
                    </a:lnTo>
                    <a:lnTo>
                      <a:pt x="55441" y="433423"/>
                    </a:lnTo>
                    <a:moveTo>
                      <a:pt x="178226" y="178883"/>
                    </a:moveTo>
                    <a:lnTo>
                      <a:pt x="213871" y="160881"/>
                    </a:lnTo>
                    <a:lnTo>
                      <a:pt x="241981" y="178226"/>
                    </a:lnTo>
                    <a:lnTo>
                      <a:pt x="236060" y="213033"/>
                    </a:lnTo>
                    <a:lnTo>
                      <a:pt x="234325" y="214050"/>
                    </a:lnTo>
                    <a:lnTo>
                      <a:pt x="178226" y="178883"/>
                    </a:lnTo>
                    <a:moveTo>
                      <a:pt x="64472" y="334442"/>
                    </a:moveTo>
                    <a:lnTo>
                      <a:pt x="79664" y="325770"/>
                    </a:lnTo>
                    <a:lnTo>
                      <a:pt x="135045" y="362731"/>
                    </a:lnTo>
                    <a:lnTo>
                      <a:pt x="133012" y="380553"/>
                    </a:lnTo>
                    <a:lnTo>
                      <a:pt x="64472" y="334442"/>
                    </a:lnTo>
                    <a:moveTo>
                      <a:pt x="16567" y="470982"/>
                    </a:moveTo>
                    <a:lnTo>
                      <a:pt x="48803" y="493709"/>
                    </a:lnTo>
                    <a:lnTo>
                      <a:pt x="46650" y="520143"/>
                    </a:lnTo>
                    <a:lnTo>
                      <a:pt x="15012" y="497596"/>
                    </a:lnTo>
                    <a:lnTo>
                      <a:pt x="16567" y="470982"/>
                    </a:lnTo>
                    <a:moveTo>
                      <a:pt x="148681" y="264587"/>
                    </a:moveTo>
                    <a:lnTo>
                      <a:pt x="187077" y="289347"/>
                    </a:lnTo>
                    <a:lnTo>
                      <a:pt x="184685" y="305675"/>
                    </a:lnTo>
                    <a:lnTo>
                      <a:pt x="146647" y="280914"/>
                    </a:lnTo>
                    <a:lnTo>
                      <a:pt x="148681" y="264587"/>
                    </a:lnTo>
                    <a:moveTo>
                      <a:pt x="149937" y="262733"/>
                    </a:moveTo>
                    <a:lnTo>
                      <a:pt x="164889" y="254480"/>
                    </a:lnTo>
                    <a:lnTo>
                      <a:pt x="202986" y="278881"/>
                    </a:lnTo>
                    <a:lnTo>
                      <a:pt x="188334" y="287493"/>
                    </a:lnTo>
                    <a:lnTo>
                      <a:pt x="149937" y="262733"/>
                    </a:lnTo>
                    <a:moveTo>
                      <a:pt x="14833" y="500048"/>
                    </a:moveTo>
                    <a:lnTo>
                      <a:pt x="46470" y="522536"/>
                    </a:lnTo>
                    <a:lnTo>
                      <a:pt x="45514" y="534916"/>
                    </a:lnTo>
                    <a:lnTo>
                      <a:pt x="14174" y="512488"/>
                    </a:lnTo>
                    <a:lnTo>
                      <a:pt x="14833" y="500048"/>
                    </a:lnTo>
                    <a:moveTo>
                      <a:pt x="243536" y="179242"/>
                    </a:moveTo>
                    <a:lnTo>
                      <a:pt x="268954" y="194912"/>
                    </a:lnTo>
                    <a:lnTo>
                      <a:pt x="237973" y="212016"/>
                    </a:lnTo>
                    <a:lnTo>
                      <a:pt x="243536" y="179242"/>
                    </a:lnTo>
                    <a:moveTo>
                      <a:pt x="13936" y="515000"/>
                    </a:moveTo>
                    <a:lnTo>
                      <a:pt x="45274" y="537368"/>
                    </a:lnTo>
                    <a:lnTo>
                      <a:pt x="44078" y="552439"/>
                    </a:lnTo>
                    <a:lnTo>
                      <a:pt x="13098" y="530191"/>
                    </a:lnTo>
                    <a:lnTo>
                      <a:pt x="13936" y="515000"/>
                    </a:lnTo>
                    <a:moveTo>
                      <a:pt x="146349" y="283247"/>
                    </a:moveTo>
                    <a:lnTo>
                      <a:pt x="184386" y="307947"/>
                    </a:lnTo>
                    <a:lnTo>
                      <a:pt x="178465" y="347480"/>
                    </a:lnTo>
                    <a:lnTo>
                      <a:pt x="141384" y="323079"/>
                    </a:lnTo>
                    <a:lnTo>
                      <a:pt x="146349" y="283247"/>
                    </a:lnTo>
                    <a:moveTo>
                      <a:pt x="217460" y="143597"/>
                    </a:moveTo>
                    <a:lnTo>
                      <a:pt x="285819" y="185582"/>
                    </a:lnTo>
                    <a:lnTo>
                      <a:pt x="271107" y="193715"/>
                    </a:lnTo>
                    <a:lnTo>
                      <a:pt x="215127" y="159087"/>
                    </a:lnTo>
                    <a:lnTo>
                      <a:pt x="217460" y="143597"/>
                    </a:lnTo>
                    <a:moveTo>
                      <a:pt x="273618" y="76493"/>
                    </a:moveTo>
                    <a:lnTo>
                      <a:pt x="328222" y="51255"/>
                    </a:lnTo>
                    <a:lnTo>
                      <a:pt x="360638" y="70214"/>
                    </a:lnTo>
                    <a:lnTo>
                      <a:pt x="307171" y="96469"/>
                    </a:lnTo>
                    <a:lnTo>
                      <a:pt x="273618" y="76493"/>
                    </a:lnTo>
                    <a:moveTo>
                      <a:pt x="59090" y="389764"/>
                    </a:moveTo>
                    <a:lnTo>
                      <a:pt x="126313" y="435696"/>
                    </a:lnTo>
                    <a:lnTo>
                      <a:pt x="124459" y="450109"/>
                    </a:lnTo>
                    <a:lnTo>
                      <a:pt x="57834" y="404417"/>
                    </a:lnTo>
                    <a:lnTo>
                      <a:pt x="59090" y="389764"/>
                    </a:lnTo>
                    <a:moveTo>
                      <a:pt x="68240" y="463566"/>
                    </a:moveTo>
                    <a:lnTo>
                      <a:pt x="84029" y="453219"/>
                    </a:lnTo>
                    <a:lnTo>
                      <a:pt x="114890" y="474510"/>
                    </a:lnTo>
                    <a:lnTo>
                      <a:pt x="85285" y="494905"/>
                    </a:lnTo>
                    <a:lnTo>
                      <a:pt x="66625" y="481747"/>
                    </a:lnTo>
                    <a:lnTo>
                      <a:pt x="68240" y="463566"/>
                    </a:lnTo>
                    <a:moveTo>
                      <a:pt x="12919" y="532703"/>
                    </a:moveTo>
                    <a:lnTo>
                      <a:pt x="43839" y="554891"/>
                    </a:lnTo>
                    <a:lnTo>
                      <a:pt x="40011" y="602139"/>
                    </a:lnTo>
                    <a:lnTo>
                      <a:pt x="10168" y="580369"/>
                    </a:lnTo>
                    <a:lnTo>
                      <a:pt x="12919" y="532703"/>
                    </a:lnTo>
                    <a:moveTo>
                      <a:pt x="57654" y="406809"/>
                    </a:moveTo>
                    <a:lnTo>
                      <a:pt x="124160" y="452442"/>
                    </a:lnTo>
                    <a:lnTo>
                      <a:pt x="121169" y="476305"/>
                    </a:lnTo>
                    <a:lnTo>
                      <a:pt x="55741" y="430971"/>
                    </a:lnTo>
                    <a:lnTo>
                      <a:pt x="57654" y="406809"/>
                    </a:lnTo>
                    <a:moveTo>
                      <a:pt x="45514" y="556147"/>
                    </a:moveTo>
                    <a:lnTo>
                      <a:pt x="57296" y="564580"/>
                    </a:lnTo>
                    <a:lnTo>
                      <a:pt x="54784" y="592630"/>
                    </a:lnTo>
                    <a:lnTo>
                      <a:pt x="41806" y="602199"/>
                    </a:lnTo>
                    <a:lnTo>
                      <a:pt x="45514" y="556147"/>
                    </a:lnTo>
                    <a:moveTo>
                      <a:pt x="330555" y="50118"/>
                    </a:moveTo>
                    <a:lnTo>
                      <a:pt x="369191" y="32296"/>
                    </a:lnTo>
                    <a:lnTo>
                      <a:pt x="400768" y="50477"/>
                    </a:lnTo>
                    <a:lnTo>
                      <a:pt x="362911" y="69077"/>
                    </a:lnTo>
                    <a:lnTo>
                      <a:pt x="330555" y="50118"/>
                    </a:lnTo>
                    <a:moveTo>
                      <a:pt x="188752" y="290364"/>
                    </a:moveTo>
                    <a:lnTo>
                      <a:pt x="229899" y="316978"/>
                    </a:lnTo>
                    <a:lnTo>
                      <a:pt x="227029" y="333186"/>
                    </a:lnTo>
                    <a:lnTo>
                      <a:pt x="186300" y="306691"/>
                    </a:lnTo>
                    <a:lnTo>
                      <a:pt x="188752" y="290364"/>
                    </a:lnTo>
                    <a:moveTo>
                      <a:pt x="189948" y="288629"/>
                    </a:moveTo>
                    <a:lnTo>
                      <a:pt x="204601" y="280017"/>
                    </a:lnTo>
                    <a:lnTo>
                      <a:pt x="245449" y="306213"/>
                    </a:lnTo>
                    <a:lnTo>
                      <a:pt x="231095" y="315244"/>
                    </a:lnTo>
                    <a:lnTo>
                      <a:pt x="189948" y="288629"/>
                    </a:lnTo>
                    <a:moveTo>
                      <a:pt x="364765" y="70154"/>
                    </a:moveTo>
                    <a:lnTo>
                      <a:pt x="401546" y="52032"/>
                    </a:lnTo>
                    <a:lnTo>
                      <a:pt x="398257" y="65848"/>
                    </a:lnTo>
                    <a:lnTo>
                      <a:pt x="376307" y="76912"/>
                    </a:lnTo>
                    <a:lnTo>
                      <a:pt x="364765" y="70154"/>
                    </a:lnTo>
                    <a:moveTo>
                      <a:pt x="86780" y="495921"/>
                    </a:moveTo>
                    <a:lnTo>
                      <a:pt x="116325" y="475587"/>
                    </a:lnTo>
                    <a:lnTo>
                      <a:pt x="120871" y="478697"/>
                    </a:lnTo>
                    <a:lnTo>
                      <a:pt x="116146" y="516495"/>
                    </a:lnTo>
                    <a:lnTo>
                      <a:pt x="86780" y="495921"/>
                    </a:lnTo>
                    <a:moveTo>
                      <a:pt x="51435" y="492931"/>
                    </a:moveTo>
                    <a:lnTo>
                      <a:pt x="65429" y="483601"/>
                    </a:lnTo>
                    <a:lnTo>
                      <a:pt x="115847" y="518887"/>
                    </a:lnTo>
                    <a:lnTo>
                      <a:pt x="113575" y="536770"/>
                    </a:lnTo>
                    <a:lnTo>
                      <a:pt x="51435" y="492931"/>
                    </a:lnTo>
                    <a:moveTo>
                      <a:pt x="9928" y="582941"/>
                    </a:moveTo>
                    <a:lnTo>
                      <a:pt x="39772" y="604651"/>
                    </a:lnTo>
                    <a:lnTo>
                      <a:pt x="34868" y="665296"/>
                    </a:lnTo>
                    <a:lnTo>
                      <a:pt x="6340" y="644124"/>
                    </a:lnTo>
                    <a:lnTo>
                      <a:pt x="9928" y="582941"/>
                    </a:lnTo>
                    <a:moveTo>
                      <a:pt x="185941" y="308964"/>
                    </a:moveTo>
                    <a:lnTo>
                      <a:pt x="226670" y="335459"/>
                    </a:lnTo>
                    <a:lnTo>
                      <a:pt x="219732" y="374752"/>
                    </a:lnTo>
                    <a:lnTo>
                      <a:pt x="180020" y="348556"/>
                    </a:lnTo>
                    <a:lnTo>
                      <a:pt x="185941" y="308964"/>
                    </a:lnTo>
                    <a:moveTo>
                      <a:pt x="296943" y="103526"/>
                    </a:moveTo>
                    <a:lnTo>
                      <a:pt x="306751" y="98742"/>
                    </a:lnTo>
                    <a:lnTo>
                      <a:pt x="372300" y="137736"/>
                    </a:lnTo>
                    <a:lnTo>
                      <a:pt x="362851" y="142939"/>
                    </a:lnTo>
                    <a:lnTo>
                      <a:pt x="296943" y="103526"/>
                    </a:lnTo>
                    <a:moveTo>
                      <a:pt x="378222" y="78049"/>
                    </a:moveTo>
                    <a:lnTo>
                      <a:pt x="398795" y="67642"/>
                    </a:lnTo>
                    <a:lnTo>
                      <a:pt x="407168" y="72486"/>
                    </a:lnTo>
                    <a:lnTo>
                      <a:pt x="406689" y="74460"/>
                    </a:lnTo>
                    <a:lnTo>
                      <a:pt x="402383" y="92103"/>
                    </a:lnTo>
                    <a:lnTo>
                      <a:pt x="378222" y="78049"/>
                    </a:lnTo>
                    <a:moveTo>
                      <a:pt x="127868" y="436712"/>
                    </a:moveTo>
                    <a:lnTo>
                      <a:pt x="162317" y="460216"/>
                    </a:lnTo>
                    <a:lnTo>
                      <a:pt x="160164" y="474630"/>
                    </a:lnTo>
                    <a:lnTo>
                      <a:pt x="126074" y="451186"/>
                    </a:lnTo>
                    <a:lnTo>
                      <a:pt x="127868" y="436712"/>
                    </a:lnTo>
                    <a:moveTo>
                      <a:pt x="50478" y="494845"/>
                    </a:moveTo>
                    <a:lnTo>
                      <a:pt x="113275" y="539042"/>
                    </a:lnTo>
                    <a:lnTo>
                      <a:pt x="109986" y="565059"/>
                    </a:lnTo>
                    <a:lnTo>
                      <a:pt x="48325" y="521220"/>
                    </a:lnTo>
                    <a:lnTo>
                      <a:pt x="50478" y="494845"/>
                    </a:lnTo>
                    <a:moveTo>
                      <a:pt x="371582" y="31219"/>
                    </a:moveTo>
                    <a:lnTo>
                      <a:pt x="423974" y="6998"/>
                    </a:lnTo>
                    <a:lnTo>
                      <a:pt x="454236" y="24162"/>
                    </a:lnTo>
                    <a:lnTo>
                      <a:pt x="402981" y="49401"/>
                    </a:lnTo>
                    <a:lnTo>
                      <a:pt x="371582" y="31219"/>
                    </a:lnTo>
                    <a:moveTo>
                      <a:pt x="125715" y="453518"/>
                    </a:moveTo>
                    <a:lnTo>
                      <a:pt x="159805" y="476903"/>
                    </a:lnTo>
                    <a:lnTo>
                      <a:pt x="156276" y="500586"/>
                    </a:lnTo>
                    <a:lnTo>
                      <a:pt x="122725" y="477381"/>
                    </a:lnTo>
                    <a:lnTo>
                      <a:pt x="125715" y="453518"/>
                    </a:lnTo>
                    <a:moveTo>
                      <a:pt x="48145" y="523732"/>
                    </a:moveTo>
                    <a:lnTo>
                      <a:pt x="109747" y="567451"/>
                    </a:lnTo>
                    <a:lnTo>
                      <a:pt x="108192" y="579711"/>
                    </a:lnTo>
                    <a:lnTo>
                      <a:pt x="47128" y="536052"/>
                    </a:lnTo>
                    <a:lnTo>
                      <a:pt x="48145" y="523732"/>
                    </a:lnTo>
                    <a:moveTo>
                      <a:pt x="426306" y="5921"/>
                    </a:moveTo>
                    <a:lnTo>
                      <a:pt x="434081" y="2333"/>
                    </a:lnTo>
                    <a:lnTo>
                      <a:pt x="464224" y="19258"/>
                    </a:lnTo>
                    <a:lnTo>
                      <a:pt x="456569" y="23026"/>
                    </a:lnTo>
                    <a:lnTo>
                      <a:pt x="426306" y="5921"/>
                    </a:lnTo>
                    <a:moveTo>
                      <a:pt x="6160" y="646576"/>
                    </a:moveTo>
                    <a:lnTo>
                      <a:pt x="34688" y="667688"/>
                    </a:lnTo>
                    <a:lnTo>
                      <a:pt x="31280" y="709613"/>
                    </a:lnTo>
                    <a:lnTo>
                      <a:pt x="3708" y="688920"/>
                    </a:lnTo>
                    <a:lnTo>
                      <a:pt x="6160" y="646576"/>
                    </a:lnTo>
                    <a:moveTo>
                      <a:pt x="46949" y="538624"/>
                    </a:moveTo>
                    <a:lnTo>
                      <a:pt x="107892" y="582104"/>
                    </a:lnTo>
                    <a:lnTo>
                      <a:pt x="106039" y="596995"/>
                    </a:lnTo>
                    <a:lnTo>
                      <a:pt x="45753" y="553695"/>
                    </a:lnTo>
                    <a:lnTo>
                      <a:pt x="46949" y="538624"/>
                    </a:lnTo>
                    <a:moveTo>
                      <a:pt x="36363" y="668944"/>
                    </a:moveTo>
                    <a:lnTo>
                      <a:pt x="47188" y="676958"/>
                    </a:lnTo>
                    <a:lnTo>
                      <a:pt x="47009" y="678812"/>
                    </a:lnTo>
                    <a:lnTo>
                      <a:pt x="45095" y="699984"/>
                    </a:lnTo>
                    <a:lnTo>
                      <a:pt x="33014" y="709672"/>
                    </a:lnTo>
                    <a:lnTo>
                      <a:pt x="36363" y="668944"/>
                    </a:lnTo>
                    <a:moveTo>
                      <a:pt x="3589" y="691431"/>
                    </a:moveTo>
                    <a:lnTo>
                      <a:pt x="31160" y="712124"/>
                    </a:lnTo>
                    <a:lnTo>
                      <a:pt x="29246" y="735270"/>
                    </a:lnTo>
                    <a:lnTo>
                      <a:pt x="2213" y="714816"/>
                    </a:lnTo>
                    <a:lnTo>
                      <a:pt x="3589" y="691431"/>
                    </a:lnTo>
                    <a:moveTo>
                      <a:pt x="408544" y="73383"/>
                    </a:moveTo>
                    <a:lnTo>
                      <a:pt x="438208" y="90548"/>
                    </a:lnTo>
                    <a:lnTo>
                      <a:pt x="438088" y="91086"/>
                    </a:lnTo>
                    <a:lnTo>
                      <a:pt x="408424" y="73922"/>
                    </a:lnTo>
                    <a:lnTo>
                      <a:pt x="408544" y="73383"/>
                    </a:lnTo>
                    <a:moveTo>
                      <a:pt x="59030" y="565776"/>
                    </a:moveTo>
                    <a:lnTo>
                      <a:pt x="105799" y="599328"/>
                    </a:lnTo>
                    <a:lnTo>
                      <a:pt x="102510" y="625643"/>
                    </a:lnTo>
                    <a:lnTo>
                      <a:pt x="56638" y="592391"/>
                    </a:lnTo>
                    <a:lnTo>
                      <a:pt x="59030" y="565776"/>
                    </a:lnTo>
                    <a:moveTo>
                      <a:pt x="407946" y="76015"/>
                    </a:moveTo>
                    <a:lnTo>
                      <a:pt x="437550" y="93180"/>
                    </a:lnTo>
                    <a:lnTo>
                      <a:pt x="434979" y="103108"/>
                    </a:lnTo>
                    <a:lnTo>
                      <a:pt x="427861" y="107055"/>
                    </a:lnTo>
                    <a:lnTo>
                      <a:pt x="403819" y="92940"/>
                    </a:lnTo>
                    <a:lnTo>
                      <a:pt x="407946" y="76015"/>
                    </a:lnTo>
                    <a:moveTo>
                      <a:pt x="2034" y="717328"/>
                    </a:moveTo>
                    <a:lnTo>
                      <a:pt x="29007" y="737722"/>
                    </a:lnTo>
                    <a:lnTo>
                      <a:pt x="28289" y="746753"/>
                    </a:lnTo>
                    <a:lnTo>
                      <a:pt x="1495" y="726418"/>
                    </a:lnTo>
                    <a:lnTo>
                      <a:pt x="2034" y="717328"/>
                    </a:lnTo>
                    <a:moveTo>
                      <a:pt x="327086" y="272242"/>
                    </a:moveTo>
                    <a:lnTo>
                      <a:pt x="333485" y="268116"/>
                    </a:lnTo>
                    <a:lnTo>
                      <a:pt x="331871" y="275233"/>
                    </a:lnTo>
                    <a:lnTo>
                      <a:pt x="327086" y="272242"/>
                    </a:lnTo>
                    <a:moveTo>
                      <a:pt x="438985" y="93957"/>
                    </a:moveTo>
                    <a:lnTo>
                      <a:pt x="444786" y="97366"/>
                    </a:lnTo>
                    <a:lnTo>
                      <a:pt x="444667" y="97725"/>
                    </a:lnTo>
                    <a:lnTo>
                      <a:pt x="436832" y="102031"/>
                    </a:lnTo>
                    <a:lnTo>
                      <a:pt x="438985" y="93957"/>
                    </a:lnTo>
                    <a:moveTo>
                      <a:pt x="364525" y="144016"/>
                    </a:moveTo>
                    <a:lnTo>
                      <a:pt x="374035" y="138812"/>
                    </a:lnTo>
                    <a:lnTo>
                      <a:pt x="407527" y="158728"/>
                    </a:lnTo>
                    <a:lnTo>
                      <a:pt x="398257" y="164111"/>
                    </a:lnTo>
                    <a:lnTo>
                      <a:pt x="364525" y="144016"/>
                    </a:lnTo>
                    <a:moveTo>
                      <a:pt x="439643" y="91385"/>
                    </a:moveTo>
                    <a:lnTo>
                      <a:pt x="447777" y="96051"/>
                    </a:lnTo>
                    <a:lnTo>
                      <a:pt x="447239" y="96350"/>
                    </a:lnTo>
                    <a:lnTo>
                      <a:pt x="439524" y="91924"/>
                    </a:lnTo>
                    <a:lnTo>
                      <a:pt x="439643" y="91385"/>
                    </a:lnTo>
                    <a:moveTo>
                      <a:pt x="42344" y="603873"/>
                    </a:moveTo>
                    <a:lnTo>
                      <a:pt x="55441" y="594185"/>
                    </a:lnTo>
                    <a:lnTo>
                      <a:pt x="102151" y="627976"/>
                    </a:lnTo>
                    <a:lnTo>
                      <a:pt x="99938" y="645798"/>
                    </a:lnTo>
                    <a:lnTo>
                      <a:pt x="42344" y="603873"/>
                    </a:lnTo>
                    <a:moveTo>
                      <a:pt x="236060" y="215127"/>
                    </a:moveTo>
                    <a:lnTo>
                      <a:pt x="270987" y="195809"/>
                    </a:lnTo>
                    <a:lnTo>
                      <a:pt x="271047" y="195809"/>
                    </a:lnTo>
                    <a:lnTo>
                      <a:pt x="287554" y="186658"/>
                    </a:lnTo>
                    <a:lnTo>
                      <a:pt x="320746" y="207053"/>
                    </a:lnTo>
                    <a:lnTo>
                      <a:pt x="321345" y="207292"/>
                    </a:lnTo>
                    <a:lnTo>
                      <a:pt x="321883" y="207591"/>
                    </a:lnTo>
                    <a:lnTo>
                      <a:pt x="322361" y="207950"/>
                    </a:lnTo>
                    <a:lnTo>
                      <a:pt x="322840" y="208428"/>
                    </a:lnTo>
                    <a:lnTo>
                      <a:pt x="322959" y="208488"/>
                    </a:lnTo>
                    <a:lnTo>
                      <a:pt x="322959" y="208548"/>
                    </a:lnTo>
                    <a:lnTo>
                      <a:pt x="323258" y="208847"/>
                    </a:lnTo>
                    <a:lnTo>
                      <a:pt x="323558" y="209146"/>
                    </a:lnTo>
                    <a:lnTo>
                      <a:pt x="323796" y="209505"/>
                    </a:lnTo>
                    <a:lnTo>
                      <a:pt x="324036" y="209923"/>
                    </a:lnTo>
                    <a:lnTo>
                      <a:pt x="324694" y="209565"/>
                    </a:lnTo>
                    <a:lnTo>
                      <a:pt x="362611" y="232889"/>
                    </a:lnTo>
                    <a:lnTo>
                      <a:pt x="313390" y="263750"/>
                    </a:lnTo>
                    <a:lnTo>
                      <a:pt x="276788" y="240784"/>
                    </a:lnTo>
                    <a:cubicBezTo>
                      <a:pt x="276668" y="240784"/>
                      <a:pt x="276489" y="240784"/>
                      <a:pt x="276370" y="240784"/>
                    </a:cubicBezTo>
                    <a:cubicBezTo>
                      <a:pt x="276250" y="240784"/>
                      <a:pt x="276070" y="240724"/>
                      <a:pt x="275951" y="240724"/>
                    </a:cubicBezTo>
                    <a:cubicBezTo>
                      <a:pt x="275831" y="240724"/>
                      <a:pt x="275652" y="240664"/>
                      <a:pt x="275532" y="240664"/>
                    </a:cubicBezTo>
                    <a:cubicBezTo>
                      <a:pt x="275413" y="240664"/>
                      <a:pt x="275233" y="240604"/>
                      <a:pt x="275113" y="240545"/>
                    </a:cubicBezTo>
                    <a:cubicBezTo>
                      <a:pt x="274994" y="240485"/>
                      <a:pt x="274875" y="240485"/>
                      <a:pt x="274755" y="240425"/>
                    </a:cubicBezTo>
                    <a:cubicBezTo>
                      <a:pt x="274635" y="240365"/>
                      <a:pt x="274515" y="240306"/>
                      <a:pt x="274396" y="240246"/>
                    </a:cubicBezTo>
                    <a:cubicBezTo>
                      <a:pt x="274277" y="240186"/>
                      <a:pt x="274157" y="240126"/>
                      <a:pt x="274037" y="240066"/>
                    </a:cubicBezTo>
                    <a:cubicBezTo>
                      <a:pt x="273917" y="240006"/>
                      <a:pt x="273798" y="239947"/>
                      <a:pt x="273678" y="239887"/>
                    </a:cubicBezTo>
                    <a:cubicBezTo>
                      <a:pt x="273559" y="239827"/>
                      <a:pt x="273439" y="239707"/>
                      <a:pt x="273319" y="239647"/>
                    </a:cubicBezTo>
                    <a:cubicBezTo>
                      <a:pt x="273200" y="239588"/>
                      <a:pt x="273080" y="239468"/>
                      <a:pt x="272960" y="239408"/>
                    </a:cubicBezTo>
                    <a:cubicBezTo>
                      <a:pt x="272841" y="239348"/>
                      <a:pt x="272722" y="239229"/>
                      <a:pt x="272662" y="239109"/>
                    </a:cubicBezTo>
                    <a:cubicBezTo>
                      <a:pt x="272602" y="238990"/>
                      <a:pt x="272482" y="238930"/>
                      <a:pt x="272362" y="238810"/>
                    </a:cubicBezTo>
                    <a:cubicBezTo>
                      <a:pt x="272243" y="238691"/>
                      <a:pt x="272183" y="238631"/>
                      <a:pt x="272064" y="238511"/>
                    </a:cubicBezTo>
                    <a:cubicBezTo>
                      <a:pt x="271944" y="238392"/>
                      <a:pt x="271884" y="238272"/>
                      <a:pt x="271764" y="238152"/>
                    </a:cubicBezTo>
                    <a:cubicBezTo>
                      <a:pt x="271645" y="238033"/>
                      <a:pt x="271585" y="237913"/>
                      <a:pt x="271525" y="237793"/>
                    </a:cubicBezTo>
                    <a:cubicBezTo>
                      <a:pt x="271465" y="237674"/>
                      <a:pt x="271345" y="237554"/>
                      <a:pt x="271286" y="237435"/>
                    </a:cubicBezTo>
                    <a:lnTo>
                      <a:pt x="236060" y="215127"/>
                    </a:lnTo>
                    <a:moveTo>
                      <a:pt x="163872" y="461293"/>
                    </a:moveTo>
                    <a:lnTo>
                      <a:pt x="200713" y="486412"/>
                    </a:lnTo>
                    <a:lnTo>
                      <a:pt x="198201" y="500706"/>
                    </a:lnTo>
                    <a:lnTo>
                      <a:pt x="161719" y="475647"/>
                    </a:lnTo>
                    <a:lnTo>
                      <a:pt x="163872" y="461293"/>
                    </a:lnTo>
                    <a:moveTo>
                      <a:pt x="114890" y="540179"/>
                    </a:moveTo>
                    <a:lnTo>
                      <a:pt x="147007" y="562786"/>
                    </a:lnTo>
                    <a:lnTo>
                      <a:pt x="143119" y="588623"/>
                    </a:lnTo>
                    <a:lnTo>
                      <a:pt x="111600" y="566195"/>
                    </a:lnTo>
                    <a:lnTo>
                      <a:pt x="114890" y="540179"/>
                    </a:lnTo>
                    <a:moveTo>
                      <a:pt x="314945" y="264587"/>
                    </a:moveTo>
                    <a:lnTo>
                      <a:pt x="363150" y="234385"/>
                    </a:lnTo>
                    <a:lnTo>
                      <a:pt x="359502" y="249516"/>
                    </a:lnTo>
                    <a:lnTo>
                      <a:pt x="334502" y="265544"/>
                    </a:lnTo>
                    <a:lnTo>
                      <a:pt x="325531" y="271226"/>
                    </a:lnTo>
                    <a:lnTo>
                      <a:pt x="314945" y="264587"/>
                    </a:lnTo>
                    <a:moveTo>
                      <a:pt x="48743" y="678931"/>
                    </a:moveTo>
                    <a:lnTo>
                      <a:pt x="49282" y="678513"/>
                    </a:lnTo>
                    <a:lnTo>
                      <a:pt x="76075" y="698369"/>
                    </a:lnTo>
                    <a:lnTo>
                      <a:pt x="61243" y="710510"/>
                    </a:lnTo>
                    <a:lnTo>
                      <a:pt x="46830" y="699685"/>
                    </a:lnTo>
                    <a:lnTo>
                      <a:pt x="48743" y="678931"/>
                    </a:lnTo>
                    <a:moveTo>
                      <a:pt x="403280" y="51913"/>
                    </a:moveTo>
                    <a:lnTo>
                      <a:pt x="464105" y="86960"/>
                    </a:lnTo>
                    <a:lnTo>
                      <a:pt x="449871" y="94854"/>
                    </a:lnTo>
                    <a:lnTo>
                      <a:pt x="399991" y="65907"/>
                    </a:lnTo>
                    <a:lnTo>
                      <a:pt x="403280" y="51913"/>
                    </a:lnTo>
                    <a:moveTo>
                      <a:pt x="111302" y="568647"/>
                    </a:moveTo>
                    <a:lnTo>
                      <a:pt x="142760" y="590955"/>
                    </a:lnTo>
                    <a:lnTo>
                      <a:pt x="140966" y="603156"/>
                    </a:lnTo>
                    <a:lnTo>
                      <a:pt x="109807" y="580848"/>
                    </a:lnTo>
                    <a:lnTo>
                      <a:pt x="111302" y="568647"/>
                    </a:lnTo>
                    <a:moveTo>
                      <a:pt x="161361" y="477979"/>
                    </a:moveTo>
                    <a:lnTo>
                      <a:pt x="197843" y="502979"/>
                    </a:lnTo>
                    <a:lnTo>
                      <a:pt x="193716" y="526543"/>
                    </a:lnTo>
                    <a:lnTo>
                      <a:pt x="157771" y="501723"/>
                    </a:lnTo>
                    <a:lnTo>
                      <a:pt x="161361" y="477979"/>
                    </a:lnTo>
                    <a:moveTo>
                      <a:pt x="109448" y="583180"/>
                    </a:moveTo>
                    <a:lnTo>
                      <a:pt x="140607" y="605369"/>
                    </a:lnTo>
                    <a:lnTo>
                      <a:pt x="138394" y="620141"/>
                    </a:lnTo>
                    <a:lnTo>
                      <a:pt x="107594" y="598012"/>
                    </a:lnTo>
                    <a:lnTo>
                      <a:pt x="109448" y="583180"/>
                    </a:lnTo>
                    <a:moveTo>
                      <a:pt x="206455" y="537787"/>
                    </a:moveTo>
                    <a:lnTo>
                      <a:pt x="208189" y="538983"/>
                    </a:lnTo>
                    <a:lnTo>
                      <a:pt x="205917" y="540777"/>
                    </a:lnTo>
                    <a:lnTo>
                      <a:pt x="206455" y="537787"/>
                    </a:lnTo>
                    <a:moveTo>
                      <a:pt x="335399" y="266860"/>
                    </a:moveTo>
                    <a:lnTo>
                      <a:pt x="359920" y="251131"/>
                    </a:lnTo>
                    <a:lnTo>
                      <a:pt x="373676" y="259623"/>
                    </a:lnTo>
                    <a:lnTo>
                      <a:pt x="364645" y="295747"/>
                    </a:lnTo>
                    <a:lnTo>
                      <a:pt x="333246" y="276070"/>
                    </a:lnTo>
                    <a:lnTo>
                      <a:pt x="335399" y="266860"/>
                    </a:lnTo>
                    <a:moveTo>
                      <a:pt x="231454" y="317935"/>
                    </a:moveTo>
                    <a:lnTo>
                      <a:pt x="311297" y="369549"/>
                    </a:lnTo>
                    <a:lnTo>
                      <a:pt x="307589" y="385697"/>
                    </a:lnTo>
                    <a:lnTo>
                      <a:pt x="228524" y="334203"/>
                    </a:lnTo>
                    <a:lnTo>
                      <a:pt x="231454" y="317935"/>
                    </a:lnTo>
                    <a:moveTo>
                      <a:pt x="62559" y="711467"/>
                    </a:moveTo>
                    <a:lnTo>
                      <a:pt x="77331" y="699386"/>
                    </a:lnTo>
                    <a:lnTo>
                      <a:pt x="91805" y="710091"/>
                    </a:lnTo>
                    <a:lnTo>
                      <a:pt x="89173" y="731382"/>
                    </a:lnTo>
                    <a:lnTo>
                      <a:pt x="62559" y="711467"/>
                    </a:lnTo>
                    <a:moveTo>
                      <a:pt x="232590" y="316260"/>
                    </a:moveTo>
                    <a:lnTo>
                      <a:pt x="247004" y="307289"/>
                    </a:lnTo>
                    <a:lnTo>
                      <a:pt x="326189" y="358125"/>
                    </a:lnTo>
                    <a:lnTo>
                      <a:pt x="312374" y="367874"/>
                    </a:lnTo>
                    <a:lnTo>
                      <a:pt x="232590" y="316260"/>
                    </a:lnTo>
                    <a:moveTo>
                      <a:pt x="157473" y="503995"/>
                    </a:moveTo>
                    <a:lnTo>
                      <a:pt x="193297" y="528696"/>
                    </a:lnTo>
                    <a:lnTo>
                      <a:pt x="183249" y="585871"/>
                    </a:lnTo>
                    <a:lnTo>
                      <a:pt x="148860" y="561590"/>
                    </a:lnTo>
                    <a:lnTo>
                      <a:pt x="148920" y="561171"/>
                    </a:lnTo>
                    <a:lnTo>
                      <a:pt x="147904" y="560932"/>
                    </a:lnTo>
                    <a:lnTo>
                      <a:pt x="146887" y="560453"/>
                    </a:lnTo>
                    <a:lnTo>
                      <a:pt x="145990" y="559855"/>
                    </a:lnTo>
                    <a:lnTo>
                      <a:pt x="145212" y="559018"/>
                    </a:lnTo>
                    <a:lnTo>
                      <a:pt x="115189" y="537846"/>
                    </a:lnTo>
                    <a:lnTo>
                      <a:pt x="122486" y="479714"/>
                    </a:lnTo>
                    <a:lnTo>
                      <a:pt x="155978" y="502859"/>
                    </a:lnTo>
                    <a:lnTo>
                      <a:pt x="155918" y="503338"/>
                    </a:lnTo>
                    <a:lnTo>
                      <a:pt x="156336" y="503457"/>
                    </a:lnTo>
                    <a:lnTo>
                      <a:pt x="156755" y="503636"/>
                    </a:lnTo>
                    <a:lnTo>
                      <a:pt x="157174" y="503816"/>
                    </a:lnTo>
                    <a:lnTo>
                      <a:pt x="157473" y="503995"/>
                    </a:lnTo>
                    <a:moveTo>
                      <a:pt x="458423" y="24102"/>
                    </a:moveTo>
                    <a:lnTo>
                      <a:pt x="466078" y="20275"/>
                    </a:lnTo>
                    <a:lnTo>
                      <a:pt x="524749" y="53408"/>
                    </a:lnTo>
                    <a:lnTo>
                      <a:pt x="517392" y="57475"/>
                    </a:lnTo>
                    <a:lnTo>
                      <a:pt x="458423" y="24102"/>
                    </a:lnTo>
                    <a:moveTo>
                      <a:pt x="399931" y="165188"/>
                    </a:moveTo>
                    <a:lnTo>
                      <a:pt x="409201" y="159685"/>
                    </a:lnTo>
                    <a:lnTo>
                      <a:pt x="445026" y="181036"/>
                    </a:lnTo>
                    <a:lnTo>
                      <a:pt x="435935" y="186718"/>
                    </a:lnTo>
                    <a:lnTo>
                      <a:pt x="399931" y="165188"/>
                    </a:lnTo>
                    <a:moveTo>
                      <a:pt x="194733" y="529772"/>
                    </a:moveTo>
                    <a:lnTo>
                      <a:pt x="204959" y="536770"/>
                    </a:lnTo>
                    <a:lnTo>
                      <a:pt x="197903" y="575166"/>
                    </a:lnTo>
                    <a:lnTo>
                      <a:pt x="184924" y="585632"/>
                    </a:lnTo>
                    <a:lnTo>
                      <a:pt x="194733" y="529772"/>
                    </a:lnTo>
                    <a:moveTo>
                      <a:pt x="33493" y="711287"/>
                    </a:moveTo>
                    <a:lnTo>
                      <a:pt x="45693" y="701479"/>
                    </a:lnTo>
                    <a:lnTo>
                      <a:pt x="88874" y="733715"/>
                    </a:lnTo>
                    <a:lnTo>
                      <a:pt x="86661" y="751239"/>
                    </a:lnTo>
                    <a:lnTo>
                      <a:pt x="33493" y="711287"/>
                    </a:lnTo>
                    <a:moveTo>
                      <a:pt x="148502" y="563922"/>
                    </a:moveTo>
                    <a:lnTo>
                      <a:pt x="182831" y="588084"/>
                    </a:lnTo>
                    <a:lnTo>
                      <a:pt x="178286" y="613682"/>
                    </a:lnTo>
                    <a:lnTo>
                      <a:pt x="144614" y="589699"/>
                    </a:lnTo>
                    <a:lnTo>
                      <a:pt x="148502" y="563922"/>
                    </a:lnTo>
                    <a:moveTo>
                      <a:pt x="228165" y="336416"/>
                    </a:moveTo>
                    <a:lnTo>
                      <a:pt x="307111" y="387730"/>
                    </a:lnTo>
                    <a:lnTo>
                      <a:pt x="298259" y="426485"/>
                    </a:lnTo>
                    <a:lnTo>
                      <a:pt x="221228" y="375649"/>
                    </a:lnTo>
                    <a:lnTo>
                      <a:pt x="228165" y="336416"/>
                    </a:lnTo>
                    <a:moveTo>
                      <a:pt x="144255" y="591972"/>
                    </a:moveTo>
                    <a:lnTo>
                      <a:pt x="177926" y="615895"/>
                    </a:lnTo>
                    <a:lnTo>
                      <a:pt x="175774" y="627976"/>
                    </a:lnTo>
                    <a:lnTo>
                      <a:pt x="142461" y="604172"/>
                    </a:lnTo>
                    <a:lnTo>
                      <a:pt x="144255" y="591972"/>
                    </a:lnTo>
                    <a:moveTo>
                      <a:pt x="32775" y="713321"/>
                    </a:moveTo>
                    <a:lnTo>
                      <a:pt x="86422" y="753571"/>
                    </a:lnTo>
                    <a:lnTo>
                      <a:pt x="83551" y="776358"/>
                    </a:lnTo>
                    <a:lnTo>
                      <a:pt x="30861" y="736526"/>
                    </a:lnTo>
                    <a:lnTo>
                      <a:pt x="32775" y="713321"/>
                    </a:lnTo>
                    <a:moveTo>
                      <a:pt x="30681" y="738978"/>
                    </a:moveTo>
                    <a:lnTo>
                      <a:pt x="83192" y="778690"/>
                    </a:lnTo>
                    <a:lnTo>
                      <a:pt x="82056" y="787661"/>
                    </a:lnTo>
                    <a:lnTo>
                      <a:pt x="29904" y="748069"/>
                    </a:lnTo>
                    <a:lnTo>
                      <a:pt x="30681" y="738978"/>
                    </a:lnTo>
                    <a:moveTo>
                      <a:pt x="142102" y="606445"/>
                    </a:moveTo>
                    <a:lnTo>
                      <a:pt x="175355" y="630189"/>
                    </a:lnTo>
                    <a:lnTo>
                      <a:pt x="172783" y="644841"/>
                    </a:lnTo>
                    <a:lnTo>
                      <a:pt x="139889" y="621218"/>
                    </a:lnTo>
                    <a:lnTo>
                      <a:pt x="142102" y="606445"/>
                    </a:lnTo>
                    <a:moveTo>
                      <a:pt x="375052" y="260520"/>
                    </a:moveTo>
                    <a:lnTo>
                      <a:pt x="409381" y="281692"/>
                    </a:lnTo>
                    <a:lnTo>
                      <a:pt x="403460" y="303282"/>
                    </a:lnTo>
                    <a:lnTo>
                      <a:pt x="390841" y="312253"/>
                    </a:lnTo>
                    <a:lnTo>
                      <a:pt x="366021" y="296704"/>
                    </a:lnTo>
                    <a:lnTo>
                      <a:pt x="375052" y="260520"/>
                    </a:lnTo>
                    <a:moveTo>
                      <a:pt x="205438" y="543050"/>
                    </a:moveTo>
                    <a:lnTo>
                      <a:pt x="209505" y="539880"/>
                    </a:lnTo>
                    <a:lnTo>
                      <a:pt x="242160" y="562487"/>
                    </a:lnTo>
                    <a:lnTo>
                      <a:pt x="214290" y="585274"/>
                    </a:lnTo>
                    <a:lnTo>
                      <a:pt x="199518" y="574927"/>
                    </a:lnTo>
                    <a:lnTo>
                      <a:pt x="205438" y="543050"/>
                    </a:lnTo>
                    <a:moveTo>
                      <a:pt x="519187" y="58491"/>
                    </a:moveTo>
                    <a:lnTo>
                      <a:pt x="526543" y="54425"/>
                    </a:lnTo>
                    <a:lnTo>
                      <a:pt x="556387" y="71230"/>
                    </a:lnTo>
                    <a:lnTo>
                      <a:pt x="549210" y="75477"/>
                    </a:lnTo>
                    <a:lnTo>
                      <a:pt x="519187" y="58491"/>
                    </a:lnTo>
                    <a:moveTo>
                      <a:pt x="139531" y="623550"/>
                    </a:moveTo>
                    <a:lnTo>
                      <a:pt x="172425" y="647114"/>
                    </a:lnTo>
                    <a:lnTo>
                      <a:pt x="164351" y="692747"/>
                    </a:lnTo>
                    <a:lnTo>
                      <a:pt x="132593" y="669661"/>
                    </a:lnTo>
                    <a:lnTo>
                      <a:pt x="132772" y="668944"/>
                    </a:lnTo>
                    <a:lnTo>
                      <a:pt x="132353" y="668824"/>
                    </a:lnTo>
                    <a:lnTo>
                      <a:pt x="131935" y="668645"/>
                    </a:lnTo>
                    <a:lnTo>
                      <a:pt x="131576" y="668465"/>
                    </a:lnTo>
                    <a:lnTo>
                      <a:pt x="131217" y="668226"/>
                    </a:lnTo>
                    <a:lnTo>
                      <a:pt x="131158" y="668525"/>
                    </a:lnTo>
                    <a:lnTo>
                      <a:pt x="101493" y="646935"/>
                    </a:lnTo>
                    <a:lnTo>
                      <a:pt x="107295" y="600405"/>
                    </a:lnTo>
                    <a:lnTo>
                      <a:pt x="138036" y="622473"/>
                    </a:lnTo>
                    <a:lnTo>
                      <a:pt x="137976" y="623251"/>
                    </a:lnTo>
                    <a:lnTo>
                      <a:pt x="138334" y="623431"/>
                    </a:lnTo>
                    <a:lnTo>
                      <a:pt x="138753" y="623670"/>
                    </a:lnTo>
                    <a:lnTo>
                      <a:pt x="139112" y="623909"/>
                    </a:lnTo>
                    <a:lnTo>
                      <a:pt x="139471" y="624148"/>
                    </a:lnTo>
                    <a:lnTo>
                      <a:pt x="139531" y="623550"/>
                    </a:lnTo>
                    <a:moveTo>
                      <a:pt x="410696" y="282529"/>
                    </a:moveTo>
                    <a:lnTo>
                      <a:pt x="422418" y="289766"/>
                    </a:lnTo>
                    <a:lnTo>
                      <a:pt x="405433" y="301787"/>
                    </a:lnTo>
                    <a:lnTo>
                      <a:pt x="410696" y="282529"/>
                    </a:lnTo>
                    <a:moveTo>
                      <a:pt x="173860" y="648190"/>
                    </a:moveTo>
                    <a:lnTo>
                      <a:pt x="183190" y="654829"/>
                    </a:lnTo>
                    <a:lnTo>
                      <a:pt x="178166" y="681922"/>
                    </a:lnTo>
                    <a:lnTo>
                      <a:pt x="166085" y="692388"/>
                    </a:lnTo>
                    <a:lnTo>
                      <a:pt x="173860" y="648190"/>
                    </a:lnTo>
                    <a:moveTo>
                      <a:pt x="312672" y="370446"/>
                    </a:moveTo>
                    <a:lnTo>
                      <a:pt x="353999" y="397120"/>
                    </a:lnTo>
                    <a:lnTo>
                      <a:pt x="349872" y="413148"/>
                    </a:lnTo>
                    <a:lnTo>
                      <a:pt x="309024" y="386534"/>
                    </a:lnTo>
                    <a:lnTo>
                      <a:pt x="312672" y="370446"/>
                    </a:lnTo>
                    <a:moveTo>
                      <a:pt x="496639" y="106337"/>
                    </a:moveTo>
                    <a:lnTo>
                      <a:pt x="496939" y="106636"/>
                    </a:lnTo>
                    <a:lnTo>
                      <a:pt x="497237" y="106935"/>
                    </a:lnTo>
                    <a:lnTo>
                      <a:pt x="497537" y="107234"/>
                    </a:lnTo>
                    <a:lnTo>
                      <a:pt x="497895" y="107593"/>
                    </a:lnTo>
                    <a:lnTo>
                      <a:pt x="498852" y="106995"/>
                    </a:lnTo>
                    <a:lnTo>
                      <a:pt x="532284" y="126313"/>
                    </a:lnTo>
                    <a:lnTo>
                      <a:pt x="497776" y="147963"/>
                    </a:lnTo>
                    <a:lnTo>
                      <a:pt x="463387" y="127868"/>
                    </a:lnTo>
                    <a:lnTo>
                      <a:pt x="464045" y="127509"/>
                    </a:lnTo>
                    <a:lnTo>
                      <a:pt x="463805" y="127389"/>
                    </a:lnTo>
                    <a:lnTo>
                      <a:pt x="463566" y="127270"/>
                    </a:lnTo>
                    <a:lnTo>
                      <a:pt x="463327" y="127091"/>
                    </a:lnTo>
                    <a:lnTo>
                      <a:pt x="463088" y="126911"/>
                    </a:lnTo>
                    <a:lnTo>
                      <a:pt x="462490" y="126432"/>
                    </a:lnTo>
                    <a:lnTo>
                      <a:pt x="461712" y="126911"/>
                    </a:lnTo>
                    <a:lnTo>
                      <a:pt x="429596" y="108131"/>
                    </a:lnTo>
                    <a:lnTo>
                      <a:pt x="449751" y="96947"/>
                    </a:lnTo>
                    <a:lnTo>
                      <a:pt x="449751" y="96888"/>
                    </a:lnTo>
                    <a:lnTo>
                      <a:pt x="465779" y="88036"/>
                    </a:lnTo>
                    <a:lnTo>
                      <a:pt x="497118" y="106038"/>
                    </a:lnTo>
                    <a:lnTo>
                      <a:pt x="496639" y="106337"/>
                    </a:lnTo>
                    <a:moveTo>
                      <a:pt x="313929" y="368771"/>
                    </a:moveTo>
                    <a:lnTo>
                      <a:pt x="327684" y="358963"/>
                    </a:lnTo>
                    <a:lnTo>
                      <a:pt x="368592" y="385278"/>
                    </a:lnTo>
                    <a:lnTo>
                      <a:pt x="355075" y="395445"/>
                    </a:lnTo>
                    <a:lnTo>
                      <a:pt x="313929" y="368771"/>
                    </a:lnTo>
                    <a:moveTo>
                      <a:pt x="364765" y="234085"/>
                    </a:moveTo>
                    <a:lnTo>
                      <a:pt x="437729" y="278881"/>
                    </a:lnTo>
                    <a:lnTo>
                      <a:pt x="424213" y="288450"/>
                    </a:lnTo>
                    <a:lnTo>
                      <a:pt x="361056" y="249456"/>
                    </a:lnTo>
                    <a:lnTo>
                      <a:pt x="364765" y="234085"/>
                    </a:lnTo>
                    <a:moveTo>
                      <a:pt x="87917" y="754767"/>
                    </a:moveTo>
                    <a:lnTo>
                      <a:pt x="115189" y="775161"/>
                    </a:lnTo>
                    <a:lnTo>
                      <a:pt x="111780" y="797768"/>
                    </a:lnTo>
                    <a:lnTo>
                      <a:pt x="84987" y="777553"/>
                    </a:lnTo>
                    <a:lnTo>
                      <a:pt x="87917" y="754767"/>
                    </a:lnTo>
                    <a:moveTo>
                      <a:pt x="499390" y="148920"/>
                    </a:moveTo>
                    <a:lnTo>
                      <a:pt x="532823" y="127928"/>
                    </a:lnTo>
                    <a:lnTo>
                      <a:pt x="528576" y="141444"/>
                    </a:lnTo>
                    <a:lnTo>
                      <a:pt x="508541" y="154243"/>
                    </a:lnTo>
                    <a:lnTo>
                      <a:pt x="499390" y="148920"/>
                    </a:lnTo>
                    <a:moveTo>
                      <a:pt x="202209" y="487488"/>
                    </a:moveTo>
                    <a:lnTo>
                      <a:pt x="273678" y="536291"/>
                    </a:lnTo>
                    <a:lnTo>
                      <a:pt x="270449" y="550346"/>
                    </a:lnTo>
                    <a:lnTo>
                      <a:pt x="199696" y="501723"/>
                    </a:lnTo>
                    <a:lnTo>
                      <a:pt x="202209" y="487488"/>
                    </a:lnTo>
                    <a:moveTo>
                      <a:pt x="84747" y="779826"/>
                    </a:moveTo>
                    <a:lnTo>
                      <a:pt x="111421" y="800041"/>
                    </a:lnTo>
                    <a:lnTo>
                      <a:pt x="110105" y="808893"/>
                    </a:lnTo>
                    <a:lnTo>
                      <a:pt x="83611" y="788797"/>
                    </a:lnTo>
                    <a:lnTo>
                      <a:pt x="84747" y="779826"/>
                    </a:lnTo>
                    <a:moveTo>
                      <a:pt x="510036" y="155140"/>
                    </a:moveTo>
                    <a:lnTo>
                      <a:pt x="526363" y="144674"/>
                    </a:lnTo>
                    <a:lnTo>
                      <a:pt x="526723" y="144913"/>
                    </a:lnTo>
                    <a:lnTo>
                      <a:pt x="521400" y="161779"/>
                    </a:lnTo>
                    <a:lnTo>
                      <a:pt x="510036" y="155140"/>
                    </a:lnTo>
                    <a:moveTo>
                      <a:pt x="181754" y="671157"/>
                    </a:moveTo>
                    <a:lnTo>
                      <a:pt x="194613" y="680367"/>
                    </a:lnTo>
                    <a:lnTo>
                      <a:pt x="188154" y="686049"/>
                    </a:lnTo>
                    <a:lnTo>
                      <a:pt x="180139" y="680247"/>
                    </a:lnTo>
                    <a:lnTo>
                      <a:pt x="181754" y="671157"/>
                    </a:lnTo>
                    <a:moveTo>
                      <a:pt x="308546" y="388687"/>
                    </a:moveTo>
                    <a:lnTo>
                      <a:pt x="349334" y="415242"/>
                    </a:lnTo>
                    <a:lnTo>
                      <a:pt x="339406" y="453698"/>
                    </a:lnTo>
                    <a:lnTo>
                      <a:pt x="299635" y="427502"/>
                    </a:lnTo>
                    <a:lnTo>
                      <a:pt x="308546" y="388687"/>
                    </a:lnTo>
                    <a:moveTo>
                      <a:pt x="199338" y="503935"/>
                    </a:moveTo>
                    <a:lnTo>
                      <a:pt x="269970" y="552439"/>
                    </a:lnTo>
                    <a:lnTo>
                      <a:pt x="264647" y="575585"/>
                    </a:lnTo>
                    <a:lnTo>
                      <a:pt x="210282" y="537906"/>
                    </a:lnTo>
                    <a:lnTo>
                      <a:pt x="195151" y="527440"/>
                    </a:lnTo>
                    <a:lnTo>
                      <a:pt x="199338" y="503935"/>
                    </a:lnTo>
                    <a:moveTo>
                      <a:pt x="184625" y="655846"/>
                    </a:moveTo>
                    <a:lnTo>
                      <a:pt x="205498" y="670858"/>
                    </a:lnTo>
                    <a:lnTo>
                      <a:pt x="196168" y="678991"/>
                    </a:lnTo>
                    <a:lnTo>
                      <a:pt x="182173" y="668884"/>
                    </a:lnTo>
                    <a:lnTo>
                      <a:pt x="184625" y="655846"/>
                    </a:lnTo>
                    <a:moveTo>
                      <a:pt x="215605" y="586170"/>
                    </a:moveTo>
                    <a:lnTo>
                      <a:pt x="243416" y="563384"/>
                    </a:lnTo>
                    <a:lnTo>
                      <a:pt x="264169" y="577738"/>
                    </a:lnTo>
                    <a:lnTo>
                      <a:pt x="255736" y="614340"/>
                    </a:lnTo>
                    <a:lnTo>
                      <a:pt x="215605" y="586170"/>
                    </a:lnTo>
                    <a:moveTo>
                      <a:pt x="550885" y="76434"/>
                    </a:moveTo>
                    <a:lnTo>
                      <a:pt x="558062" y="72187"/>
                    </a:lnTo>
                    <a:lnTo>
                      <a:pt x="589939" y="90189"/>
                    </a:lnTo>
                    <a:lnTo>
                      <a:pt x="582882" y="94615"/>
                    </a:lnTo>
                    <a:lnTo>
                      <a:pt x="550885" y="76434"/>
                    </a:lnTo>
                    <a:moveTo>
                      <a:pt x="93419" y="711227"/>
                    </a:moveTo>
                    <a:lnTo>
                      <a:pt x="121648" y="732100"/>
                    </a:lnTo>
                    <a:lnTo>
                      <a:pt x="121589" y="732399"/>
                    </a:lnTo>
                    <a:lnTo>
                      <a:pt x="121887" y="732459"/>
                    </a:lnTo>
                    <a:lnTo>
                      <a:pt x="122186" y="732519"/>
                    </a:lnTo>
                    <a:lnTo>
                      <a:pt x="122486" y="732639"/>
                    </a:lnTo>
                    <a:lnTo>
                      <a:pt x="122784" y="732758"/>
                    </a:lnTo>
                    <a:lnTo>
                      <a:pt x="123682" y="733236"/>
                    </a:lnTo>
                    <a:lnTo>
                      <a:pt x="124519" y="733834"/>
                    </a:lnTo>
                    <a:lnTo>
                      <a:pt x="125237" y="734552"/>
                    </a:lnTo>
                    <a:lnTo>
                      <a:pt x="125835" y="735389"/>
                    </a:lnTo>
                    <a:lnTo>
                      <a:pt x="153226" y="755604"/>
                    </a:lnTo>
                    <a:lnTo>
                      <a:pt x="146109" y="795974"/>
                    </a:lnTo>
                    <a:lnTo>
                      <a:pt x="116983" y="774085"/>
                    </a:lnTo>
                    <a:lnTo>
                      <a:pt x="117043" y="773427"/>
                    </a:lnTo>
                    <a:lnTo>
                      <a:pt x="116624" y="773248"/>
                    </a:lnTo>
                    <a:lnTo>
                      <a:pt x="116266" y="773068"/>
                    </a:lnTo>
                    <a:lnTo>
                      <a:pt x="115906" y="772829"/>
                    </a:lnTo>
                    <a:lnTo>
                      <a:pt x="115548" y="772530"/>
                    </a:lnTo>
                    <a:lnTo>
                      <a:pt x="115488" y="773008"/>
                    </a:lnTo>
                    <a:lnTo>
                      <a:pt x="88157" y="752435"/>
                    </a:lnTo>
                    <a:lnTo>
                      <a:pt x="93419" y="711227"/>
                    </a:lnTo>
                    <a:moveTo>
                      <a:pt x="185224" y="587247"/>
                    </a:moveTo>
                    <a:lnTo>
                      <a:pt x="198441" y="576661"/>
                    </a:lnTo>
                    <a:lnTo>
                      <a:pt x="213572" y="587247"/>
                    </a:lnTo>
                    <a:lnTo>
                      <a:pt x="255258" y="616433"/>
                    </a:lnTo>
                    <a:lnTo>
                      <a:pt x="251250" y="633897"/>
                    </a:lnTo>
                    <a:lnTo>
                      <a:pt x="185224" y="587247"/>
                    </a:lnTo>
                    <a:moveTo>
                      <a:pt x="154662" y="756681"/>
                    </a:moveTo>
                    <a:lnTo>
                      <a:pt x="163154" y="762960"/>
                    </a:lnTo>
                    <a:lnTo>
                      <a:pt x="159088" y="785089"/>
                    </a:lnTo>
                    <a:lnTo>
                      <a:pt x="147844" y="795496"/>
                    </a:lnTo>
                    <a:lnTo>
                      <a:pt x="154662" y="756681"/>
                    </a:lnTo>
                    <a:moveTo>
                      <a:pt x="437550" y="187675"/>
                    </a:moveTo>
                    <a:lnTo>
                      <a:pt x="446641" y="181993"/>
                    </a:lnTo>
                    <a:lnTo>
                      <a:pt x="516077" y="223320"/>
                    </a:lnTo>
                    <a:lnTo>
                      <a:pt x="507405" y="229540"/>
                    </a:lnTo>
                    <a:lnTo>
                      <a:pt x="437550" y="187675"/>
                    </a:lnTo>
                    <a:moveTo>
                      <a:pt x="528876" y="143119"/>
                    </a:moveTo>
                    <a:lnTo>
                      <a:pt x="528876" y="143119"/>
                    </a:lnTo>
                    <a:lnTo>
                      <a:pt x="560095" y="161121"/>
                    </a:lnTo>
                    <a:lnTo>
                      <a:pt x="559915" y="161838"/>
                    </a:lnTo>
                    <a:lnTo>
                      <a:pt x="528756" y="143717"/>
                    </a:lnTo>
                    <a:lnTo>
                      <a:pt x="528876" y="143119"/>
                    </a:lnTo>
                    <a:moveTo>
                      <a:pt x="116684" y="776298"/>
                    </a:moveTo>
                    <a:lnTo>
                      <a:pt x="145810" y="798127"/>
                    </a:lnTo>
                    <a:lnTo>
                      <a:pt x="141863" y="820495"/>
                    </a:lnTo>
                    <a:lnTo>
                      <a:pt x="113335" y="798845"/>
                    </a:lnTo>
                    <a:lnTo>
                      <a:pt x="116684" y="776298"/>
                    </a:lnTo>
                    <a:moveTo>
                      <a:pt x="184326" y="589101"/>
                    </a:moveTo>
                    <a:lnTo>
                      <a:pt x="250832" y="635930"/>
                    </a:lnTo>
                    <a:lnTo>
                      <a:pt x="245091" y="661169"/>
                    </a:lnTo>
                    <a:lnTo>
                      <a:pt x="179841" y="614758"/>
                    </a:lnTo>
                    <a:lnTo>
                      <a:pt x="184326" y="589101"/>
                    </a:lnTo>
                    <a:moveTo>
                      <a:pt x="188274" y="687843"/>
                    </a:moveTo>
                    <a:lnTo>
                      <a:pt x="195810" y="681264"/>
                    </a:lnTo>
                    <a:lnTo>
                      <a:pt x="221228" y="699685"/>
                    </a:lnTo>
                    <a:lnTo>
                      <a:pt x="213811" y="706383"/>
                    </a:lnTo>
                    <a:lnTo>
                      <a:pt x="188274" y="687843"/>
                    </a:lnTo>
                    <a:moveTo>
                      <a:pt x="112916" y="801177"/>
                    </a:moveTo>
                    <a:lnTo>
                      <a:pt x="141444" y="822708"/>
                    </a:lnTo>
                    <a:lnTo>
                      <a:pt x="139889" y="831500"/>
                    </a:lnTo>
                    <a:lnTo>
                      <a:pt x="111541" y="810029"/>
                    </a:lnTo>
                    <a:lnTo>
                      <a:pt x="112916" y="801177"/>
                    </a:lnTo>
                    <a:moveTo>
                      <a:pt x="528038" y="145690"/>
                    </a:moveTo>
                    <a:lnTo>
                      <a:pt x="559198" y="163752"/>
                    </a:lnTo>
                    <a:lnTo>
                      <a:pt x="553576" y="180618"/>
                    </a:lnTo>
                    <a:lnTo>
                      <a:pt x="522715" y="162616"/>
                    </a:lnTo>
                    <a:lnTo>
                      <a:pt x="528038" y="145690"/>
                    </a:lnTo>
                    <a:moveTo>
                      <a:pt x="197364" y="679889"/>
                    </a:moveTo>
                    <a:lnTo>
                      <a:pt x="206694" y="671754"/>
                    </a:lnTo>
                    <a:lnTo>
                      <a:pt x="231992" y="689936"/>
                    </a:lnTo>
                    <a:lnTo>
                      <a:pt x="222782" y="698309"/>
                    </a:lnTo>
                    <a:lnTo>
                      <a:pt x="197364" y="679889"/>
                    </a:lnTo>
                    <a:moveTo>
                      <a:pt x="179363" y="616971"/>
                    </a:moveTo>
                    <a:lnTo>
                      <a:pt x="244552" y="663262"/>
                    </a:lnTo>
                    <a:lnTo>
                      <a:pt x="241801" y="675164"/>
                    </a:lnTo>
                    <a:lnTo>
                      <a:pt x="177209" y="629052"/>
                    </a:lnTo>
                    <a:lnTo>
                      <a:pt x="179363" y="616971"/>
                    </a:lnTo>
                    <a:moveTo>
                      <a:pt x="275054" y="537129"/>
                    </a:moveTo>
                    <a:lnTo>
                      <a:pt x="311955" y="562248"/>
                    </a:lnTo>
                    <a:lnTo>
                      <a:pt x="308247" y="576243"/>
                    </a:lnTo>
                    <a:lnTo>
                      <a:pt x="271824" y="551243"/>
                    </a:lnTo>
                    <a:lnTo>
                      <a:pt x="275054" y="537129"/>
                    </a:lnTo>
                    <a:moveTo>
                      <a:pt x="355315" y="398017"/>
                    </a:moveTo>
                    <a:lnTo>
                      <a:pt x="399513" y="426605"/>
                    </a:lnTo>
                    <a:lnTo>
                      <a:pt x="394907" y="442574"/>
                    </a:lnTo>
                    <a:lnTo>
                      <a:pt x="351189" y="414105"/>
                    </a:lnTo>
                    <a:lnTo>
                      <a:pt x="355315" y="398017"/>
                    </a:lnTo>
                    <a:moveTo>
                      <a:pt x="560514" y="164410"/>
                    </a:moveTo>
                    <a:lnTo>
                      <a:pt x="564999" y="167042"/>
                    </a:lnTo>
                    <a:lnTo>
                      <a:pt x="559257" y="183848"/>
                    </a:lnTo>
                    <a:lnTo>
                      <a:pt x="554892" y="181276"/>
                    </a:lnTo>
                    <a:lnTo>
                      <a:pt x="560514" y="164410"/>
                    </a:lnTo>
                    <a:moveTo>
                      <a:pt x="356512" y="396342"/>
                    </a:moveTo>
                    <a:lnTo>
                      <a:pt x="369968" y="386116"/>
                    </a:lnTo>
                    <a:lnTo>
                      <a:pt x="413807" y="414285"/>
                    </a:lnTo>
                    <a:lnTo>
                      <a:pt x="400708" y="424871"/>
                    </a:lnTo>
                    <a:lnTo>
                      <a:pt x="356512" y="396342"/>
                    </a:lnTo>
                    <a:moveTo>
                      <a:pt x="176850" y="631265"/>
                    </a:moveTo>
                    <a:lnTo>
                      <a:pt x="241323" y="677317"/>
                    </a:lnTo>
                    <a:lnTo>
                      <a:pt x="237973" y="691790"/>
                    </a:lnTo>
                    <a:lnTo>
                      <a:pt x="174159" y="646037"/>
                    </a:lnTo>
                    <a:lnTo>
                      <a:pt x="176850" y="631265"/>
                    </a:lnTo>
                    <a:moveTo>
                      <a:pt x="164590" y="763977"/>
                    </a:moveTo>
                    <a:lnTo>
                      <a:pt x="186061" y="779946"/>
                    </a:lnTo>
                    <a:lnTo>
                      <a:pt x="171946" y="793223"/>
                    </a:lnTo>
                    <a:lnTo>
                      <a:pt x="160702" y="784790"/>
                    </a:lnTo>
                    <a:lnTo>
                      <a:pt x="164590" y="763977"/>
                    </a:lnTo>
                    <a:moveTo>
                      <a:pt x="223978" y="699086"/>
                    </a:moveTo>
                    <a:lnTo>
                      <a:pt x="233189" y="690714"/>
                    </a:lnTo>
                    <a:lnTo>
                      <a:pt x="237555" y="693823"/>
                    </a:lnTo>
                    <a:lnTo>
                      <a:pt x="234564" y="706742"/>
                    </a:lnTo>
                    <a:lnTo>
                      <a:pt x="223978" y="699086"/>
                    </a:lnTo>
                    <a:moveTo>
                      <a:pt x="271345" y="553396"/>
                    </a:moveTo>
                    <a:lnTo>
                      <a:pt x="307709" y="578396"/>
                    </a:lnTo>
                    <a:lnTo>
                      <a:pt x="301788" y="601362"/>
                    </a:lnTo>
                    <a:lnTo>
                      <a:pt x="266023" y="576601"/>
                    </a:lnTo>
                    <a:lnTo>
                      <a:pt x="271345" y="553396"/>
                    </a:lnTo>
                    <a:moveTo>
                      <a:pt x="215067" y="707220"/>
                    </a:moveTo>
                    <a:lnTo>
                      <a:pt x="222483" y="700522"/>
                    </a:lnTo>
                    <a:lnTo>
                      <a:pt x="234086" y="708835"/>
                    </a:lnTo>
                    <a:lnTo>
                      <a:pt x="231694" y="719301"/>
                    </a:lnTo>
                    <a:lnTo>
                      <a:pt x="215067" y="707220"/>
                    </a:lnTo>
                    <a:moveTo>
                      <a:pt x="350710" y="416079"/>
                    </a:moveTo>
                    <a:lnTo>
                      <a:pt x="394429" y="444487"/>
                    </a:lnTo>
                    <a:lnTo>
                      <a:pt x="383305" y="482644"/>
                    </a:lnTo>
                    <a:lnTo>
                      <a:pt x="340722" y="454535"/>
                    </a:lnTo>
                    <a:lnTo>
                      <a:pt x="350710" y="416079"/>
                    </a:lnTo>
                    <a:moveTo>
                      <a:pt x="566195" y="167759"/>
                    </a:moveTo>
                    <a:lnTo>
                      <a:pt x="581685" y="176790"/>
                    </a:lnTo>
                    <a:lnTo>
                      <a:pt x="566016" y="187914"/>
                    </a:lnTo>
                    <a:lnTo>
                      <a:pt x="560454" y="184625"/>
                    </a:lnTo>
                    <a:lnTo>
                      <a:pt x="566195" y="167759"/>
                    </a:lnTo>
                    <a:moveTo>
                      <a:pt x="561351" y="161838"/>
                    </a:moveTo>
                    <a:lnTo>
                      <a:pt x="584137" y="174996"/>
                    </a:lnTo>
                    <a:lnTo>
                      <a:pt x="583540" y="175474"/>
                    </a:lnTo>
                    <a:lnTo>
                      <a:pt x="561112" y="162436"/>
                    </a:lnTo>
                    <a:lnTo>
                      <a:pt x="561351" y="161838"/>
                    </a:lnTo>
                    <a:moveTo>
                      <a:pt x="166264" y="694182"/>
                    </a:moveTo>
                    <a:lnTo>
                      <a:pt x="178704" y="683417"/>
                    </a:lnTo>
                    <a:lnTo>
                      <a:pt x="231215" y="721395"/>
                    </a:lnTo>
                    <a:lnTo>
                      <a:pt x="227267" y="738679"/>
                    </a:lnTo>
                    <a:lnTo>
                      <a:pt x="166264" y="694182"/>
                    </a:lnTo>
                    <a:moveTo>
                      <a:pt x="534438" y="127509"/>
                    </a:moveTo>
                    <a:lnTo>
                      <a:pt x="598850" y="164589"/>
                    </a:lnTo>
                    <a:lnTo>
                      <a:pt x="585872" y="173740"/>
                    </a:lnTo>
                    <a:lnTo>
                      <a:pt x="530071" y="141324"/>
                    </a:lnTo>
                    <a:lnTo>
                      <a:pt x="534438" y="127509"/>
                    </a:lnTo>
                    <a:moveTo>
                      <a:pt x="508780" y="230377"/>
                    </a:moveTo>
                    <a:lnTo>
                      <a:pt x="517512" y="224217"/>
                    </a:lnTo>
                    <a:lnTo>
                      <a:pt x="553158" y="245449"/>
                    </a:lnTo>
                    <a:lnTo>
                      <a:pt x="544665" y="251848"/>
                    </a:lnTo>
                    <a:lnTo>
                      <a:pt x="508780" y="230377"/>
                    </a:lnTo>
                    <a:moveTo>
                      <a:pt x="252147" y="636947"/>
                    </a:moveTo>
                    <a:lnTo>
                      <a:pt x="286357" y="660989"/>
                    </a:lnTo>
                    <a:lnTo>
                      <a:pt x="279898" y="685929"/>
                    </a:lnTo>
                    <a:lnTo>
                      <a:pt x="246406" y="662066"/>
                    </a:lnTo>
                    <a:lnTo>
                      <a:pt x="252147" y="636947"/>
                    </a:lnTo>
                    <a:moveTo>
                      <a:pt x="245868" y="664219"/>
                    </a:moveTo>
                    <a:lnTo>
                      <a:pt x="279360" y="687962"/>
                    </a:lnTo>
                    <a:lnTo>
                      <a:pt x="276310" y="699804"/>
                    </a:lnTo>
                    <a:lnTo>
                      <a:pt x="243117" y="676121"/>
                    </a:lnTo>
                    <a:lnTo>
                      <a:pt x="245868" y="664219"/>
                    </a:lnTo>
                    <a:moveTo>
                      <a:pt x="242698" y="678274"/>
                    </a:moveTo>
                    <a:lnTo>
                      <a:pt x="275772" y="701898"/>
                    </a:lnTo>
                    <a:lnTo>
                      <a:pt x="272064" y="716251"/>
                    </a:lnTo>
                    <a:lnTo>
                      <a:pt x="239349" y="692747"/>
                    </a:lnTo>
                    <a:lnTo>
                      <a:pt x="242698" y="678274"/>
                    </a:lnTo>
                    <a:moveTo>
                      <a:pt x="424452" y="290304"/>
                    </a:moveTo>
                    <a:lnTo>
                      <a:pt x="439225" y="279838"/>
                    </a:lnTo>
                    <a:lnTo>
                      <a:pt x="476963" y="303043"/>
                    </a:lnTo>
                    <a:lnTo>
                      <a:pt x="477442" y="303222"/>
                    </a:lnTo>
                    <a:lnTo>
                      <a:pt x="477920" y="303462"/>
                    </a:lnTo>
                    <a:lnTo>
                      <a:pt x="478399" y="303761"/>
                    </a:lnTo>
                    <a:lnTo>
                      <a:pt x="478817" y="304120"/>
                    </a:lnTo>
                    <a:lnTo>
                      <a:pt x="519067" y="328880"/>
                    </a:lnTo>
                    <a:lnTo>
                      <a:pt x="474810" y="364824"/>
                    </a:lnTo>
                    <a:lnTo>
                      <a:pt x="432885" y="338569"/>
                    </a:lnTo>
                    <a:lnTo>
                      <a:pt x="433124" y="338389"/>
                    </a:lnTo>
                    <a:lnTo>
                      <a:pt x="432825" y="338210"/>
                    </a:lnTo>
                    <a:lnTo>
                      <a:pt x="432526" y="337970"/>
                    </a:lnTo>
                    <a:lnTo>
                      <a:pt x="432227" y="337671"/>
                    </a:lnTo>
                    <a:lnTo>
                      <a:pt x="431988" y="337373"/>
                    </a:lnTo>
                    <a:lnTo>
                      <a:pt x="431509" y="337671"/>
                    </a:lnTo>
                    <a:lnTo>
                      <a:pt x="392455" y="313091"/>
                    </a:lnTo>
                    <a:lnTo>
                      <a:pt x="424452" y="290304"/>
                    </a:lnTo>
                    <a:lnTo>
                      <a:pt x="424452" y="290304"/>
                    </a:lnTo>
                    <a:moveTo>
                      <a:pt x="173142" y="794060"/>
                    </a:moveTo>
                    <a:lnTo>
                      <a:pt x="187257" y="780723"/>
                    </a:lnTo>
                    <a:lnTo>
                      <a:pt x="213153" y="799981"/>
                    </a:lnTo>
                    <a:lnTo>
                      <a:pt x="208429" y="820495"/>
                    </a:lnTo>
                    <a:lnTo>
                      <a:pt x="173142" y="794060"/>
                    </a:lnTo>
                    <a:moveTo>
                      <a:pt x="313210" y="563205"/>
                    </a:moveTo>
                    <a:lnTo>
                      <a:pt x="352564" y="589998"/>
                    </a:lnTo>
                    <a:lnTo>
                      <a:pt x="348557" y="603933"/>
                    </a:lnTo>
                    <a:lnTo>
                      <a:pt x="309562" y="577140"/>
                    </a:lnTo>
                    <a:lnTo>
                      <a:pt x="313210" y="563205"/>
                    </a:lnTo>
                    <a:moveTo>
                      <a:pt x="476066" y="365601"/>
                    </a:moveTo>
                    <a:lnTo>
                      <a:pt x="519007" y="330734"/>
                    </a:lnTo>
                    <a:lnTo>
                      <a:pt x="514044" y="345147"/>
                    </a:lnTo>
                    <a:lnTo>
                      <a:pt x="483482" y="370326"/>
                    </a:lnTo>
                    <a:lnTo>
                      <a:pt x="476066" y="365601"/>
                    </a:lnTo>
                    <a:moveTo>
                      <a:pt x="584497" y="95452"/>
                    </a:moveTo>
                    <a:lnTo>
                      <a:pt x="591553" y="91027"/>
                    </a:lnTo>
                    <a:lnTo>
                      <a:pt x="653394" y="125834"/>
                    </a:lnTo>
                    <a:lnTo>
                      <a:pt x="646636" y="130559"/>
                    </a:lnTo>
                    <a:lnTo>
                      <a:pt x="584497" y="95452"/>
                    </a:lnTo>
                    <a:moveTo>
                      <a:pt x="147964" y="797350"/>
                    </a:moveTo>
                    <a:lnTo>
                      <a:pt x="159626" y="786525"/>
                    </a:lnTo>
                    <a:lnTo>
                      <a:pt x="207950" y="822648"/>
                    </a:lnTo>
                    <a:lnTo>
                      <a:pt x="204062" y="839574"/>
                    </a:lnTo>
                    <a:lnTo>
                      <a:pt x="147964" y="797350"/>
                    </a:lnTo>
                    <a:moveTo>
                      <a:pt x="309024" y="579233"/>
                    </a:moveTo>
                    <a:lnTo>
                      <a:pt x="347959" y="605907"/>
                    </a:lnTo>
                    <a:lnTo>
                      <a:pt x="341320" y="628694"/>
                    </a:lnTo>
                    <a:lnTo>
                      <a:pt x="303043" y="602259"/>
                    </a:lnTo>
                    <a:lnTo>
                      <a:pt x="309024" y="579233"/>
                    </a:lnTo>
                    <a:moveTo>
                      <a:pt x="484798" y="371164"/>
                    </a:moveTo>
                    <a:lnTo>
                      <a:pt x="510634" y="349813"/>
                    </a:lnTo>
                    <a:lnTo>
                      <a:pt x="500108" y="380673"/>
                    </a:lnTo>
                    <a:lnTo>
                      <a:pt x="484798" y="371164"/>
                    </a:lnTo>
                    <a:moveTo>
                      <a:pt x="147186" y="799204"/>
                    </a:moveTo>
                    <a:lnTo>
                      <a:pt x="203584" y="841547"/>
                    </a:lnTo>
                    <a:lnTo>
                      <a:pt x="198560" y="863437"/>
                    </a:lnTo>
                    <a:lnTo>
                      <a:pt x="143179" y="821572"/>
                    </a:lnTo>
                    <a:lnTo>
                      <a:pt x="147186" y="799204"/>
                    </a:lnTo>
                    <a:moveTo>
                      <a:pt x="142880" y="823785"/>
                    </a:moveTo>
                    <a:lnTo>
                      <a:pt x="198141" y="865590"/>
                    </a:lnTo>
                    <a:lnTo>
                      <a:pt x="196168" y="874262"/>
                    </a:lnTo>
                    <a:lnTo>
                      <a:pt x="141325" y="832636"/>
                    </a:lnTo>
                    <a:lnTo>
                      <a:pt x="142880" y="823785"/>
                    </a:lnTo>
                    <a:moveTo>
                      <a:pt x="302565" y="604232"/>
                    </a:moveTo>
                    <a:lnTo>
                      <a:pt x="340782" y="630667"/>
                    </a:lnTo>
                    <a:lnTo>
                      <a:pt x="324813" y="685690"/>
                    </a:lnTo>
                    <a:lnTo>
                      <a:pt x="289109" y="660511"/>
                    </a:lnTo>
                    <a:lnTo>
                      <a:pt x="288989" y="660391"/>
                    </a:lnTo>
                    <a:lnTo>
                      <a:pt x="288211" y="659853"/>
                    </a:lnTo>
                    <a:lnTo>
                      <a:pt x="288211" y="659793"/>
                    </a:lnTo>
                    <a:lnTo>
                      <a:pt x="288092" y="659614"/>
                    </a:lnTo>
                    <a:lnTo>
                      <a:pt x="287912" y="659434"/>
                    </a:lnTo>
                    <a:lnTo>
                      <a:pt x="287733" y="659195"/>
                    </a:lnTo>
                    <a:lnTo>
                      <a:pt x="287554" y="659016"/>
                    </a:lnTo>
                    <a:lnTo>
                      <a:pt x="287075" y="658358"/>
                    </a:lnTo>
                    <a:lnTo>
                      <a:pt x="286956" y="658896"/>
                    </a:lnTo>
                    <a:lnTo>
                      <a:pt x="252745" y="634734"/>
                    </a:lnTo>
                    <a:lnTo>
                      <a:pt x="265664" y="578635"/>
                    </a:lnTo>
                    <a:lnTo>
                      <a:pt x="301369" y="603335"/>
                    </a:lnTo>
                    <a:lnTo>
                      <a:pt x="301369" y="603515"/>
                    </a:lnTo>
                    <a:lnTo>
                      <a:pt x="301668" y="603814"/>
                    </a:lnTo>
                    <a:lnTo>
                      <a:pt x="301967" y="604113"/>
                    </a:lnTo>
                    <a:lnTo>
                      <a:pt x="302206" y="604531"/>
                    </a:lnTo>
                    <a:lnTo>
                      <a:pt x="302446" y="604950"/>
                    </a:lnTo>
                    <a:lnTo>
                      <a:pt x="302565" y="604232"/>
                    </a:lnTo>
                    <a:moveTo>
                      <a:pt x="546100" y="252626"/>
                    </a:moveTo>
                    <a:lnTo>
                      <a:pt x="554593" y="246226"/>
                    </a:lnTo>
                    <a:lnTo>
                      <a:pt x="592690" y="268953"/>
                    </a:lnTo>
                    <a:lnTo>
                      <a:pt x="584437" y="275651"/>
                    </a:lnTo>
                    <a:lnTo>
                      <a:pt x="546100" y="252626"/>
                    </a:lnTo>
                    <a:moveTo>
                      <a:pt x="341978" y="631564"/>
                    </a:moveTo>
                    <a:lnTo>
                      <a:pt x="349155" y="636528"/>
                    </a:lnTo>
                    <a:lnTo>
                      <a:pt x="338150" y="673429"/>
                    </a:lnTo>
                    <a:lnTo>
                      <a:pt x="326488" y="684733"/>
                    </a:lnTo>
                    <a:lnTo>
                      <a:pt x="341978" y="631564"/>
                    </a:lnTo>
                    <a:moveTo>
                      <a:pt x="287673" y="661887"/>
                    </a:moveTo>
                    <a:lnTo>
                      <a:pt x="324215" y="687663"/>
                    </a:lnTo>
                    <a:lnTo>
                      <a:pt x="317038" y="712364"/>
                    </a:lnTo>
                    <a:lnTo>
                      <a:pt x="281214" y="686886"/>
                    </a:lnTo>
                    <a:lnTo>
                      <a:pt x="287673" y="661887"/>
                    </a:lnTo>
                    <a:moveTo>
                      <a:pt x="280616" y="688920"/>
                    </a:moveTo>
                    <a:lnTo>
                      <a:pt x="316380" y="714278"/>
                    </a:lnTo>
                    <a:lnTo>
                      <a:pt x="312972" y="726000"/>
                    </a:lnTo>
                    <a:lnTo>
                      <a:pt x="277506" y="700701"/>
                    </a:lnTo>
                    <a:lnTo>
                      <a:pt x="280616" y="688920"/>
                    </a:lnTo>
                    <a:moveTo>
                      <a:pt x="648131" y="131456"/>
                    </a:moveTo>
                    <a:lnTo>
                      <a:pt x="654889" y="126672"/>
                    </a:lnTo>
                    <a:lnTo>
                      <a:pt x="686468" y="144494"/>
                    </a:lnTo>
                    <a:lnTo>
                      <a:pt x="679949" y="149458"/>
                    </a:lnTo>
                    <a:lnTo>
                      <a:pt x="648131" y="131456"/>
                    </a:lnTo>
                    <a:moveTo>
                      <a:pt x="277027" y="702794"/>
                    </a:moveTo>
                    <a:lnTo>
                      <a:pt x="312434" y="728033"/>
                    </a:lnTo>
                    <a:lnTo>
                      <a:pt x="308307" y="742208"/>
                    </a:lnTo>
                    <a:lnTo>
                      <a:pt x="273319" y="717148"/>
                    </a:lnTo>
                    <a:lnTo>
                      <a:pt x="277027" y="702794"/>
                    </a:lnTo>
                    <a:moveTo>
                      <a:pt x="204959" y="842504"/>
                    </a:moveTo>
                    <a:lnTo>
                      <a:pt x="233787" y="864155"/>
                    </a:lnTo>
                    <a:lnTo>
                      <a:pt x="228225" y="885805"/>
                    </a:lnTo>
                    <a:lnTo>
                      <a:pt x="199936" y="864394"/>
                    </a:lnTo>
                    <a:lnTo>
                      <a:pt x="204959" y="842504"/>
                    </a:lnTo>
                    <a:moveTo>
                      <a:pt x="350351" y="637365"/>
                    </a:moveTo>
                    <a:lnTo>
                      <a:pt x="375829" y="654949"/>
                    </a:lnTo>
                    <a:lnTo>
                      <a:pt x="350052" y="680427"/>
                    </a:lnTo>
                    <a:lnTo>
                      <a:pt x="339645" y="673130"/>
                    </a:lnTo>
                    <a:lnTo>
                      <a:pt x="350351" y="637365"/>
                    </a:lnTo>
                    <a:moveTo>
                      <a:pt x="512728" y="348138"/>
                    </a:moveTo>
                    <a:lnTo>
                      <a:pt x="514462" y="346702"/>
                    </a:lnTo>
                    <a:lnTo>
                      <a:pt x="549748" y="368472"/>
                    </a:lnTo>
                    <a:lnTo>
                      <a:pt x="536770" y="403699"/>
                    </a:lnTo>
                    <a:lnTo>
                      <a:pt x="501305" y="381450"/>
                    </a:lnTo>
                    <a:lnTo>
                      <a:pt x="512728" y="348138"/>
                    </a:lnTo>
                    <a:moveTo>
                      <a:pt x="199458" y="866547"/>
                    </a:moveTo>
                    <a:lnTo>
                      <a:pt x="227627" y="887898"/>
                    </a:lnTo>
                    <a:lnTo>
                      <a:pt x="225414" y="896510"/>
                    </a:lnTo>
                    <a:lnTo>
                      <a:pt x="197424" y="875219"/>
                    </a:lnTo>
                    <a:lnTo>
                      <a:pt x="199458" y="866547"/>
                    </a:lnTo>
                    <a:moveTo>
                      <a:pt x="238870" y="694840"/>
                    </a:moveTo>
                    <a:lnTo>
                      <a:pt x="270927" y="717866"/>
                    </a:lnTo>
                    <a:lnTo>
                      <a:pt x="271824" y="718105"/>
                    </a:lnTo>
                    <a:lnTo>
                      <a:pt x="272602" y="718524"/>
                    </a:lnTo>
                    <a:lnTo>
                      <a:pt x="273260" y="719122"/>
                    </a:lnTo>
                    <a:lnTo>
                      <a:pt x="273798" y="719900"/>
                    </a:lnTo>
                    <a:lnTo>
                      <a:pt x="307709" y="744301"/>
                    </a:lnTo>
                    <a:lnTo>
                      <a:pt x="294970" y="788020"/>
                    </a:lnTo>
                    <a:lnTo>
                      <a:pt x="261298" y="763499"/>
                    </a:lnTo>
                    <a:lnTo>
                      <a:pt x="261418" y="763080"/>
                    </a:lnTo>
                    <a:lnTo>
                      <a:pt x="261059" y="762901"/>
                    </a:lnTo>
                    <a:lnTo>
                      <a:pt x="260760" y="762662"/>
                    </a:lnTo>
                    <a:lnTo>
                      <a:pt x="260461" y="762422"/>
                    </a:lnTo>
                    <a:lnTo>
                      <a:pt x="260161" y="762183"/>
                    </a:lnTo>
                    <a:lnTo>
                      <a:pt x="260042" y="762602"/>
                    </a:lnTo>
                    <a:lnTo>
                      <a:pt x="228524" y="739636"/>
                    </a:lnTo>
                    <a:lnTo>
                      <a:pt x="238870" y="694840"/>
                    </a:lnTo>
                    <a:moveTo>
                      <a:pt x="400888" y="427442"/>
                    </a:moveTo>
                    <a:lnTo>
                      <a:pt x="486472" y="482644"/>
                    </a:lnTo>
                    <a:lnTo>
                      <a:pt x="480850" y="498373"/>
                    </a:lnTo>
                    <a:lnTo>
                      <a:pt x="396283" y="443291"/>
                    </a:lnTo>
                    <a:lnTo>
                      <a:pt x="400888" y="427442"/>
                    </a:lnTo>
                    <a:moveTo>
                      <a:pt x="402025" y="425768"/>
                    </a:moveTo>
                    <a:lnTo>
                      <a:pt x="415122" y="415182"/>
                    </a:lnTo>
                    <a:lnTo>
                      <a:pt x="499929" y="469606"/>
                    </a:lnTo>
                    <a:lnTo>
                      <a:pt x="487489" y="481089"/>
                    </a:lnTo>
                    <a:lnTo>
                      <a:pt x="402025" y="425768"/>
                    </a:lnTo>
                    <a:moveTo>
                      <a:pt x="308904" y="745078"/>
                    </a:moveTo>
                    <a:lnTo>
                      <a:pt x="315424" y="749683"/>
                    </a:lnTo>
                    <a:lnTo>
                      <a:pt x="307709" y="775699"/>
                    </a:lnTo>
                    <a:lnTo>
                      <a:pt x="296763" y="786943"/>
                    </a:lnTo>
                    <a:lnTo>
                      <a:pt x="308904" y="745078"/>
                    </a:lnTo>
                    <a:moveTo>
                      <a:pt x="633060" y="184984"/>
                    </a:moveTo>
                    <a:lnTo>
                      <a:pt x="633299" y="185103"/>
                    </a:lnTo>
                    <a:lnTo>
                      <a:pt x="633658" y="185223"/>
                    </a:lnTo>
                    <a:lnTo>
                      <a:pt x="633957" y="185403"/>
                    </a:lnTo>
                    <a:lnTo>
                      <a:pt x="634256" y="185582"/>
                    </a:lnTo>
                    <a:lnTo>
                      <a:pt x="634555" y="185821"/>
                    </a:lnTo>
                    <a:lnTo>
                      <a:pt x="635033" y="185522"/>
                    </a:lnTo>
                    <a:lnTo>
                      <a:pt x="670559" y="205976"/>
                    </a:lnTo>
                    <a:lnTo>
                      <a:pt x="639699" y="231035"/>
                    </a:lnTo>
                    <a:lnTo>
                      <a:pt x="603156" y="209684"/>
                    </a:lnTo>
                    <a:lnTo>
                      <a:pt x="603695" y="209266"/>
                    </a:lnTo>
                    <a:lnTo>
                      <a:pt x="603335" y="209146"/>
                    </a:lnTo>
                    <a:lnTo>
                      <a:pt x="602977" y="208907"/>
                    </a:lnTo>
                    <a:lnTo>
                      <a:pt x="602618" y="208727"/>
                    </a:lnTo>
                    <a:lnTo>
                      <a:pt x="602319" y="208488"/>
                    </a:lnTo>
                    <a:lnTo>
                      <a:pt x="601840" y="208787"/>
                    </a:lnTo>
                    <a:lnTo>
                      <a:pt x="567690" y="188811"/>
                    </a:lnTo>
                    <a:lnTo>
                      <a:pt x="600465" y="165547"/>
                    </a:lnTo>
                    <a:lnTo>
                      <a:pt x="633718" y="184685"/>
                    </a:lnTo>
                    <a:lnTo>
                      <a:pt x="633060" y="184984"/>
                    </a:lnTo>
                    <a:moveTo>
                      <a:pt x="640954" y="231633"/>
                    </a:moveTo>
                    <a:lnTo>
                      <a:pt x="670320" y="207770"/>
                    </a:lnTo>
                    <a:lnTo>
                      <a:pt x="665117" y="220629"/>
                    </a:lnTo>
                    <a:lnTo>
                      <a:pt x="647294" y="235341"/>
                    </a:lnTo>
                    <a:lnTo>
                      <a:pt x="640954" y="231633"/>
                    </a:lnTo>
                    <a:moveTo>
                      <a:pt x="395685" y="445265"/>
                    </a:moveTo>
                    <a:lnTo>
                      <a:pt x="480192" y="500227"/>
                    </a:lnTo>
                    <a:lnTo>
                      <a:pt x="466856" y="537727"/>
                    </a:lnTo>
                    <a:lnTo>
                      <a:pt x="384561" y="483481"/>
                    </a:lnTo>
                    <a:lnTo>
                      <a:pt x="395685" y="445265"/>
                    </a:lnTo>
                    <a:moveTo>
                      <a:pt x="472597" y="366499"/>
                    </a:moveTo>
                    <a:lnTo>
                      <a:pt x="472776" y="366558"/>
                    </a:lnTo>
                    <a:lnTo>
                      <a:pt x="473016" y="366678"/>
                    </a:lnTo>
                    <a:lnTo>
                      <a:pt x="473255" y="366798"/>
                    </a:lnTo>
                    <a:lnTo>
                      <a:pt x="473554" y="366917"/>
                    </a:lnTo>
                    <a:lnTo>
                      <a:pt x="473793" y="367037"/>
                    </a:lnTo>
                    <a:lnTo>
                      <a:pt x="474032" y="367276"/>
                    </a:lnTo>
                    <a:lnTo>
                      <a:pt x="474451" y="366977"/>
                    </a:lnTo>
                    <a:lnTo>
                      <a:pt x="555609" y="417813"/>
                    </a:lnTo>
                    <a:lnTo>
                      <a:pt x="501305" y="468291"/>
                    </a:lnTo>
                    <a:lnTo>
                      <a:pt x="416737" y="413926"/>
                    </a:lnTo>
                    <a:lnTo>
                      <a:pt x="417036" y="413627"/>
                    </a:lnTo>
                    <a:lnTo>
                      <a:pt x="416617" y="413447"/>
                    </a:lnTo>
                    <a:lnTo>
                      <a:pt x="416259" y="413208"/>
                    </a:lnTo>
                    <a:lnTo>
                      <a:pt x="415720" y="412789"/>
                    </a:lnTo>
                    <a:lnTo>
                      <a:pt x="415421" y="413088"/>
                    </a:lnTo>
                    <a:lnTo>
                      <a:pt x="373197" y="385936"/>
                    </a:lnTo>
                    <a:lnTo>
                      <a:pt x="372241" y="385757"/>
                    </a:lnTo>
                    <a:lnTo>
                      <a:pt x="371344" y="385338"/>
                    </a:lnTo>
                    <a:lnTo>
                      <a:pt x="370626" y="384740"/>
                    </a:lnTo>
                    <a:lnTo>
                      <a:pt x="369968" y="383962"/>
                    </a:lnTo>
                    <a:lnTo>
                      <a:pt x="330435" y="358544"/>
                    </a:lnTo>
                    <a:lnTo>
                      <a:pt x="329717" y="358305"/>
                    </a:lnTo>
                    <a:lnTo>
                      <a:pt x="329059" y="357946"/>
                    </a:lnTo>
                    <a:lnTo>
                      <a:pt x="328521" y="357468"/>
                    </a:lnTo>
                    <a:lnTo>
                      <a:pt x="328043" y="356870"/>
                    </a:lnTo>
                    <a:lnTo>
                      <a:pt x="327923" y="356930"/>
                    </a:lnTo>
                    <a:lnTo>
                      <a:pt x="248859" y="306093"/>
                    </a:lnTo>
                    <a:lnTo>
                      <a:pt x="249037" y="306034"/>
                    </a:lnTo>
                    <a:lnTo>
                      <a:pt x="248679" y="305794"/>
                    </a:lnTo>
                    <a:lnTo>
                      <a:pt x="248320" y="305495"/>
                    </a:lnTo>
                    <a:lnTo>
                      <a:pt x="247961" y="305196"/>
                    </a:lnTo>
                    <a:lnTo>
                      <a:pt x="247662" y="304837"/>
                    </a:lnTo>
                    <a:lnTo>
                      <a:pt x="247303" y="305076"/>
                    </a:lnTo>
                    <a:lnTo>
                      <a:pt x="206634" y="278881"/>
                    </a:lnTo>
                    <a:lnTo>
                      <a:pt x="207352" y="278463"/>
                    </a:lnTo>
                    <a:lnTo>
                      <a:pt x="206934" y="278223"/>
                    </a:lnTo>
                    <a:lnTo>
                      <a:pt x="206574" y="277924"/>
                    </a:lnTo>
                    <a:lnTo>
                      <a:pt x="206216" y="277565"/>
                    </a:lnTo>
                    <a:lnTo>
                      <a:pt x="205917" y="277206"/>
                    </a:lnTo>
                    <a:lnTo>
                      <a:pt x="204959" y="277745"/>
                    </a:lnTo>
                    <a:lnTo>
                      <a:pt x="166982" y="253343"/>
                    </a:lnTo>
                    <a:lnTo>
                      <a:pt x="167341" y="253104"/>
                    </a:lnTo>
                    <a:lnTo>
                      <a:pt x="166802" y="252985"/>
                    </a:lnTo>
                    <a:lnTo>
                      <a:pt x="166264" y="252745"/>
                    </a:lnTo>
                    <a:lnTo>
                      <a:pt x="165726" y="252506"/>
                    </a:lnTo>
                    <a:lnTo>
                      <a:pt x="165247" y="252267"/>
                    </a:lnTo>
                    <a:lnTo>
                      <a:pt x="91326" y="204720"/>
                    </a:lnTo>
                    <a:lnTo>
                      <a:pt x="160822" y="170570"/>
                    </a:lnTo>
                    <a:lnTo>
                      <a:pt x="229660" y="213691"/>
                    </a:lnTo>
                    <a:lnTo>
                      <a:pt x="229780" y="213811"/>
                    </a:lnTo>
                    <a:lnTo>
                      <a:pt x="232232" y="215306"/>
                    </a:lnTo>
                    <a:lnTo>
                      <a:pt x="231933" y="215426"/>
                    </a:lnTo>
                    <a:lnTo>
                      <a:pt x="232352" y="215665"/>
                    </a:lnTo>
                    <a:lnTo>
                      <a:pt x="232710" y="215964"/>
                    </a:lnTo>
                    <a:lnTo>
                      <a:pt x="233069" y="216263"/>
                    </a:lnTo>
                    <a:lnTo>
                      <a:pt x="233368" y="216622"/>
                    </a:lnTo>
                    <a:lnTo>
                      <a:pt x="233907" y="216323"/>
                    </a:lnTo>
                    <a:lnTo>
                      <a:pt x="270509" y="239229"/>
                    </a:lnTo>
                    <a:lnTo>
                      <a:pt x="269432" y="239887"/>
                    </a:lnTo>
                    <a:lnTo>
                      <a:pt x="269791" y="240186"/>
                    </a:lnTo>
                    <a:lnTo>
                      <a:pt x="270150" y="240485"/>
                    </a:lnTo>
                    <a:lnTo>
                      <a:pt x="270509" y="240844"/>
                    </a:lnTo>
                    <a:lnTo>
                      <a:pt x="270807" y="241202"/>
                    </a:lnTo>
                    <a:lnTo>
                      <a:pt x="272183" y="240365"/>
                    </a:lnTo>
                    <a:lnTo>
                      <a:pt x="311357" y="264946"/>
                    </a:lnTo>
                    <a:lnTo>
                      <a:pt x="310759" y="265305"/>
                    </a:lnTo>
                    <a:lnTo>
                      <a:pt x="311117" y="265604"/>
                    </a:lnTo>
                    <a:lnTo>
                      <a:pt x="311417" y="265903"/>
                    </a:lnTo>
                    <a:lnTo>
                      <a:pt x="311715" y="266202"/>
                    </a:lnTo>
                    <a:lnTo>
                      <a:pt x="312015" y="266501"/>
                    </a:lnTo>
                    <a:lnTo>
                      <a:pt x="312972" y="265903"/>
                    </a:lnTo>
                    <a:lnTo>
                      <a:pt x="331811" y="277685"/>
                    </a:lnTo>
                    <a:lnTo>
                      <a:pt x="389106" y="313510"/>
                    </a:lnTo>
                    <a:lnTo>
                      <a:pt x="387611" y="314586"/>
                    </a:lnTo>
                    <a:lnTo>
                      <a:pt x="387969" y="314825"/>
                    </a:lnTo>
                    <a:lnTo>
                      <a:pt x="388269" y="315065"/>
                    </a:lnTo>
                    <a:lnTo>
                      <a:pt x="388568" y="315364"/>
                    </a:lnTo>
                    <a:lnTo>
                      <a:pt x="388867" y="315662"/>
                    </a:lnTo>
                    <a:lnTo>
                      <a:pt x="390541" y="314466"/>
                    </a:lnTo>
                    <a:lnTo>
                      <a:pt x="428758" y="338389"/>
                    </a:lnTo>
                    <a:lnTo>
                      <a:pt x="429356" y="338688"/>
                    </a:lnTo>
                    <a:lnTo>
                      <a:pt x="429954" y="339047"/>
                    </a:lnTo>
                    <a:lnTo>
                      <a:pt x="430493" y="339525"/>
                    </a:lnTo>
                    <a:lnTo>
                      <a:pt x="430971" y="340064"/>
                    </a:lnTo>
                    <a:lnTo>
                      <a:pt x="431151" y="339944"/>
                    </a:lnTo>
                    <a:lnTo>
                      <a:pt x="473136" y="366200"/>
                    </a:lnTo>
                    <a:lnTo>
                      <a:pt x="472597" y="366499"/>
                    </a:lnTo>
                    <a:moveTo>
                      <a:pt x="141146" y="325411"/>
                    </a:moveTo>
                    <a:lnTo>
                      <a:pt x="264707" y="406809"/>
                    </a:lnTo>
                    <a:lnTo>
                      <a:pt x="297780" y="428579"/>
                    </a:lnTo>
                    <a:lnTo>
                      <a:pt x="299216" y="429535"/>
                    </a:lnTo>
                    <a:lnTo>
                      <a:pt x="321405" y="444188"/>
                    </a:lnTo>
                    <a:lnTo>
                      <a:pt x="357050" y="467692"/>
                    </a:lnTo>
                    <a:lnTo>
                      <a:pt x="382707" y="484618"/>
                    </a:lnTo>
                    <a:lnTo>
                      <a:pt x="384023" y="485455"/>
                    </a:lnTo>
                    <a:lnTo>
                      <a:pt x="466198" y="539581"/>
                    </a:lnTo>
                    <a:lnTo>
                      <a:pt x="447956" y="592092"/>
                    </a:lnTo>
                    <a:lnTo>
                      <a:pt x="368951" y="538983"/>
                    </a:lnTo>
                    <a:lnTo>
                      <a:pt x="367636" y="538145"/>
                    </a:lnTo>
                    <a:lnTo>
                      <a:pt x="326787" y="510634"/>
                    </a:lnTo>
                    <a:lnTo>
                      <a:pt x="325411" y="509737"/>
                    </a:lnTo>
                    <a:lnTo>
                      <a:pt x="297900" y="491196"/>
                    </a:lnTo>
                    <a:lnTo>
                      <a:pt x="261597" y="466795"/>
                    </a:lnTo>
                    <a:lnTo>
                      <a:pt x="211718" y="433303"/>
                    </a:lnTo>
                    <a:lnTo>
                      <a:pt x="210223" y="432287"/>
                    </a:lnTo>
                    <a:lnTo>
                      <a:pt x="184984" y="415301"/>
                    </a:lnTo>
                    <a:lnTo>
                      <a:pt x="134686" y="381570"/>
                    </a:lnTo>
                    <a:lnTo>
                      <a:pt x="141146" y="325411"/>
                    </a:lnTo>
                    <a:moveTo>
                      <a:pt x="312254" y="765174"/>
                    </a:moveTo>
                    <a:lnTo>
                      <a:pt x="330914" y="778630"/>
                    </a:lnTo>
                    <a:lnTo>
                      <a:pt x="323856" y="786046"/>
                    </a:lnTo>
                    <a:lnTo>
                      <a:pt x="309204" y="775400"/>
                    </a:lnTo>
                    <a:lnTo>
                      <a:pt x="312254" y="765174"/>
                    </a:lnTo>
                    <a:moveTo>
                      <a:pt x="681324" y="150295"/>
                    </a:moveTo>
                    <a:lnTo>
                      <a:pt x="687843" y="145332"/>
                    </a:lnTo>
                    <a:lnTo>
                      <a:pt x="721574" y="164350"/>
                    </a:lnTo>
                    <a:lnTo>
                      <a:pt x="715235" y="169553"/>
                    </a:lnTo>
                    <a:lnTo>
                      <a:pt x="681324" y="150295"/>
                    </a:lnTo>
                    <a:moveTo>
                      <a:pt x="316620" y="750640"/>
                    </a:moveTo>
                    <a:lnTo>
                      <a:pt x="340961" y="768044"/>
                    </a:lnTo>
                    <a:lnTo>
                      <a:pt x="332229" y="777195"/>
                    </a:lnTo>
                    <a:lnTo>
                      <a:pt x="312852" y="763140"/>
                    </a:lnTo>
                    <a:lnTo>
                      <a:pt x="316620" y="750640"/>
                    </a:lnTo>
                    <a:moveTo>
                      <a:pt x="245629" y="824084"/>
                    </a:moveTo>
                    <a:lnTo>
                      <a:pt x="277566" y="847767"/>
                    </a:lnTo>
                    <a:lnTo>
                      <a:pt x="266382" y="886343"/>
                    </a:lnTo>
                    <a:lnTo>
                      <a:pt x="236298" y="863676"/>
                    </a:lnTo>
                    <a:lnTo>
                      <a:pt x="235700" y="863556"/>
                    </a:lnTo>
                    <a:lnTo>
                      <a:pt x="234983" y="863317"/>
                    </a:lnTo>
                    <a:lnTo>
                      <a:pt x="234385" y="862898"/>
                    </a:lnTo>
                    <a:lnTo>
                      <a:pt x="233907" y="862360"/>
                    </a:lnTo>
                    <a:lnTo>
                      <a:pt x="233548" y="861702"/>
                    </a:lnTo>
                    <a:lnTo>
                      <a:pt x="205379" y="840531"/>
                    </a:lnTo>
                    <a:lnTo>
                      <a:pt x="214469" y="801058"/>
                    </a:lnTo>
                    <a:lnTo>
                      <a:pt x="244432" y="823186"/>
                    </a:lnTo>
                    <a:lnTo>
                      <a:pt x="244253" y="823785"/>
                    </a:lnTo>
                    <a:lnTo>
                      <a:pt x="244612" y="823964"/>
                    </a:lnTo>
                    <a:lnTo>
                      <a:pt x="244911" y="824203"/>
                    </a:lnTo>
                    <a:lnTo>
                      <a:pt x="245210" y="824502"/>
                    </a:lnTo>
                    <a:lnTo>
                      <a:pt x="245509" y="824801"/>
                    </a:lnTo>
                    <a:lnTo>
                      <a:pt x="245629" y="824084"/>
                    </a:lnTo>
                    <a:moveTo>
                      <a:pt x="550944" y="369190"/>
                    </a:moveTo>
                    <a:lnTo>
                      <a:pt x="585154" y="390362"/>
                    </a:lnTo>
                    <a:lnTo>
                      <a:pt x="557045" y="416437"/>
                    </a:lnTo>
                    <a:lnTo>
                      <a:pt x="537966" y="404417"/>
                    </a:lnTo>
                    <a:lnTo>
                      <a:pt x="550944" y="369190"/>
                    </a:lnTo>
                    <a:moveTo>
                      <a:pt x="278821" y="848604"/>
                    </a:moveTo>
                    <a:lnTo>
                      <a:pt x="284623" y="852971"/>
                    </a:lnTo>
                    <a:lnTo>
                      <a:pt x="278283" y="874142"/>
                    </a:lnTo>
                    <a:lnTo>
                      <a:pt x="268116" y="885147"/>
                    </a:lnTo>
                    <a:lnTo>
                      <a:pt x="278821" y="848604"/>
                    </a:lnTo>
                    <a:moveTo>
                      <a:pt x="664877" y="222782"/>
                    </a:moveTo>
                    <a:lnTo>
                      <a:pt x="665535" y="222244"/>
                    </a:lnTo>
                    <a:lnTo>
                      <a:pt x="687544" y="234983"/>
                    </a:lnTo>
                    <a:lnTo>
                      <a:pt x="687245" y="235760"/>
                    </a:lnTo>
                    <a:lnTo>
                      <a:pt x="664877" y="222782"/>
                    </a:lnTo>
                    <a:moveTo>
                      <a:pt x="235043" y="865171"/>
                    </a:moveTo>
                    <a:lnTo>
                      <a:pt x="265784" y="888317"/>
                    </a:lnTo>
                    <a:lnTo>
                      <a:pt x="259564" y="909668"/>
                    </a:lnTo>
                    <a:lnTo>
                      <a:pt x="229421" y="886821"/>
                    </a:lnTo>
                    <a:lnTo>
                      <a:pt x="235043" y="865171"/>
                    </a:lnTo>
                    <a:moveTo>
                      <a:pt x="368353" y="541016"/>
                    </a:moveTo>
                    <a:lnTo>
                      <a:pt x="447298" y="594005"/>
                    </a:lnTo>
                    <a:lnTo>
                      <a:pt x="430553" y="641014"/>
                    </a:lnTo>
                    <a:lnTo>
                      <a:pt x="332887" y="574269"/>
                    </a:lnTo>
                    <a:lnTo>
                      <a:pt x="313809" y="561171"/>
                    </a:lnTo>
                    <a:lnTo>
                      <a:pt x="312493" y="560274"/>
                    </a:lnTo>
                    <a:lnTo>
                      <a:pt x="299395" y="551303"/>
                    </a:lnTo>
                    <a:lnTo>
                      <a:pt x="238332" y="509557"/>
                    </a:lnTo>
                    <a:lnTo>
                      <a:pt x="202687" y="485216"/>
                    </a:lnTo>
                    <a:lnTo>
                      <a:pt x="201251" y="484199"/>
                    </a:lnTo>
                    <a:lnTo>
                      <a:pt x="171707" y="464044"/>
                    </a:lnTo>
                    <a:lnTo>
                      <a:pt x="59329" y="387252"/>
                    </a:lnTo>
                    <a:lnTo>
                      <a:pt x="63456" y="336296"/>
                    </a:lnTo>
                    <a:lnTo>
                      <a:pt x="132892" y="382886"/>
                    </a:lnTo>
                    <a:lnTo>
                      <a:pt x="132892" y="383005"/>
                    </a:lnTo>
                    <a:lnTo>
                      <a:pt x="134507" y="384082"/>
                    </a:lnTo>
                    <a:lnTo>
                      <a:pt x="134507" y="383962"/>
                    </a:lnTo>
                    <a:lnTo>
                      <a:pt x="170152" y="407885"/>
                    </a:lnTo>
                    <a:lnTo>
                      <a:pt x="170152" y="408065"/>
                    </a:lnTo>
                    <a:lnTo>
                      <a:pt x="171707" y="409141"/>
                    </a:lnTo>
                    <a:lnTo>
                      <a:pt x="171707" y="408962"/>
                    </a:lnTo>
                    <a:lnTo>
                      <a:pt x="209864" y="434619"/>
                    </a:lnTo>
                    <a:lnTo>
                      <a:pt x="209864" y="434798"/>
                    </a:lnTo>
                    <a:lnTo>
                      <a:pt x="211359" y="435815"/>
                    </a:lnTo>
                    <a:lnTo>
                      <a:pt x="211419" y="435636"/>
                    </a:lnTo>
                    <a:lnTo>
                      <a:pt x="285401" y="485336"/>
                    </a:lnTo>
                    <a:lnTo>
                      <a:pt x="285341" y="485575"/>
                    </a:lnTo>
                    <a:lnTo>
                      <a:pt x="286716" y="486472"/>
                    </a:lnTo>
                    <a:lnTo>
                      <a:pt x="286836" y="486173"/>
                    </a:lnTo>
                    <a:lnTo>
                      <a:pt x="324993" y="511830"/>
                    </a:lnTo>
                    <a:lnTo>
                      <a:pt x="324873" y="512129"/>
                    </a:lnTo>
                    <a:lnTo>
                      <a:pt x="326189" y="513026"/>
                    </a:lnTo>
                    <a:lnTo>
                      <a:pt x="326249" y="512727"/>
                    </a:lnTo>
                    <a:lnTo>
                      <a:pt x="367097" y="540119"/>
                    </a:lnTo>
                    <a:lnTo>
                      <a:pt x="366978" y="540478"/>
                    </a:lnTo>
                    <a:lnTo>
                      <a:pt x="368233" y="541375"/>
                    </a:lnTo>
                    <a:lnTo>
                      <a:pt x="368353" y="541016"/>
                    </a:lnTo>
                    <a:moveTo>
                      <a:pt x="520742" y="329956"/>
                    </a:moveTo>
                    <a:lnTo>
                      <a:pt x="598671" y="377742"/>
                    </a:lnTo>
                    <a:lnTo>
                      <a:pt x="586590" y="388986"/>
                    </a:lnTo>
                    <a:lnTo>
                      <a:pt x="515599" y="345028"/>
                    </a:lnTo>
                    <a:lnTo>
                      <a:pt x="520742" y="329956"/>
                    </a:lnTo>
                    <a:moveTo>
                      <a:pt x="228882" y="888795"/>
                    </a:moveTo>
                    <a:lnTo>
                      <a:pt x="258966" y="911582"/>
                    </a:lnTo>
                    <a:lnTo>
                      <a:pt x="256453" y="920074"/>
                    </a:lnTo>
                    <a:lnTo>
                      <a:pt x="226610" y="897347"/>
                    </a:lnTo>
                    <a:lnTo>
                      <a:pt x="228882" y="888795"/>
                    </a:lnTo>
                    <a:moveTo>
                      <a:pt x="648610" y="236179"/>
                    </a:moveTo>
                    <a:lnTo>
                      <a:pt x="663262" y="224098"/>
                    </a:lnTo>
                    <a:lnTo>
                      <a:pt x="686468" y="237554"/>
                    </a:lnTo>
                    <a:lnTo>
                      <a:pt x="679471" y="254240"/>
                    </a:lnTo>
                    <a:lnTo>
                      <a:pt x="648610" y="236179"/>
                    </a:lnTo>
                    <a:moveTo>
                      <a:pt x="353820" y="590955"/>
                    </a:moveTo>
                    <a:lnTo>
                      <a:pt x="429894" y="642808"/>
                    </a:lnTo>
                    <a:lnTo>
                      <a:pt x="424990" y="656504"/>
                    </a:lnTo>
                    <a:lnTo>
                      <a:pt x="349753" y="604830"/>
                    </a:lnTo>
                    <a:lnTo>
                      <a:pt x="353820" y="590955"/>
                    </a:lnTo>
                    <a:moveTo>
                      <a:pt x="687604" y="238212"/>
                    </a:moveTo>
                    <a:lnTo>
                      <a:pt x="690535" y="239887"/>
                    </a:lnTo>
                    <a:lnTo>
                      <a:pt x="683537" y="256573"/>
                    </a:lnTo>
                    <a:lnTo>
                      <a:pt x="680607" y="254839"/>
                    </a:lnTo>
                    <a:lnTo>
                      <a:pt x="687604" y="238212"/>
                    </a:lnTo>
                    <a:moveTo>
                      <a:pt x="349214" y="606804"/>
                    </a:moveTo>
                    <a:lnTo>
                      <a:pt x="424333" y="658358"/>
                    </a:lnTo>
                    <a:lnTo>
                      <a:pt x="416378" y="680726"/>
                    </a:lnTo>
                    <a:lnTo>
                      <a:pt x="350590" y="635153"/>
                    </a:lnTo>
                    <a:lnTo>
                      <a:pt x="342576" y="629531"/>
                    </a:lnTo>
                    <a:lnTo>
                      <a:pt x="349214" y="606804"/>
                    </a:lnTo>
                    <a:moveTo>
                      <a:pt x="285819" y="853868"/>
                    </a:moveTo>
                    <a:lnTo>
                      <a:pt x="300950" y="865051"/>
                    </a:lnTo>
                    <a:lnTo>
                      <a:pt x="287673" y="879644"/>
                    </a:lnTo>
                    <a:lnTo>
                      <a:pt x="279898" y="873843"/>
                    </a:lnTo>
                    <a:lnTo>
                      <a:pt x="285819" y="853868"/>
                    </a:lnTo>
                    <a:moveTo>
                      <a:pt x="351189" y="681264"/>
                    </a:moveTo>
                    <a:lnTo>
                      <a:pt x="376965" y="655786"/>
                    </a:lnTo>
                    <a:lnTo>
                      <a:pt x="415720" y="682580"/>
                    </a:lnTo>
                    <a:lnTo>
                      <a:pt x="403221" y="717746"/>
                    </a:lnTo>
                    <a:lnTo>
                      <a:pt x="351189" y="681264"/>
                    </a:lnTo>
                    <a:moveTo>
                      <a:pt x="487608" y="483422"/>
                    </a:moveTo>
                    <a:lnTo>
                      <a:pt x="532046" y="512129"/>
                    </a:lnTo>
                    <a:lnTo>
                      <a:pt x="525945" y="527679"/>
                    </a:lnTo>
                    <a:lnTo>
                      <a:pt x="482047" y="499091"/>
                    </a:lnTo>
                    <a:lnTo>
                      <a:pt x="487608" y="483422"/>
                    </a:lnTo>
                    <a:moveTo>
                      <a:pt x="488625" y="481867"/>
                    </a:moveTo>
                    <a:lnTo>
                      <a:pt x="501005" y="470324"/>
                    </a:lnTo>
                    <a:lnTo>
                      <a:pt x="544963" y="498553"/>
                    </a:lnTo>
                    <a:lnTo>
                      <a:pt x="532943" y="510574"/>
                    </a:lnTo>
                    <a:lnTo>
                      <a:pt x="488625" y="481867"/>
                    </a:lnTo>
                    <a:moveTo>
                      <a:pt x="584197" y="277745"/>
                    </a:moveTo>
                    <a:lnTo>
                      <a:pt x="658478" y="322122"/>
                    </a:lnTo>
                    <a:lnTo>
                      <a:pt x="600106" y="376367"/>
                    </a:lnTo>
                    <a:lnTo>
                      <a:pt x="521878" y="328282"/>
                    </a:lnTo>
                    <a:lnTo>
                      <a:pt x="522057" y="328162"/>
                    </a:lnTo>
                    <a:lnTo>
                      <a:pt x="521699" y="327983"/>
                    </a:lnTo>
                    <a:lnTo>
                      <a:pt x="521340" y="327804"/>
                    </a:lnTo>
                    <a:lnTo>
                      <a:pt x="521041" y="327564"/>
                    </a:lnTo>
                    <a:lnTo>
                      <a:pt x="520742" y="327325"/>
                    </a:lnTo>
                    <a:lnTo>
                      <a:pt x="520502" y="327504"/>
                    </a:lnTo>
                    <a:lnTo>
                      <a:pt x="480073" y="302625"/>
                    </a:lnTo>
                    <a:lnTo>
                      <a:pt x="480552" y="302266"/>
                    </a:lnTo>
                    <a:lnTo>
                      <a:pt x="480133" y="302086"/>
                    </a:lnTo>
                    <a:lnTo>
                      <a:pt x="479714" y="301907"/>
                    </a:lnTo>
                    <a:lnTo>
                      <a:pt x="479295" y="301727"/>
                    </a:lnTo>
                    <a:lnTo>
                      <a:pt x="478937" y="301548"/>
                    </a:lnTo>
                    <a:lnTo>
                      <a:pt x="478697" y="301727"/>
                    </a:lnTo>
                    <a:lnTo>
                      <a:pt x="442813" y="279658"/>
                    </a:lnTo>
                    <a:lnTo>
                      <a:pt x="441617" y="279419"/>
                    </a:lnTo>
                    <a:lnTo>
                      <a:pt x="440540" y="278881"/>
                    </a:lnTo>
                    <a:cubicBezTo>
                      <a:pt x="440480" y="278821"/>
                      <a:pt x="440361" y="278821"/>
                      <a:pt x="440301" y="278762"/>
                    </a:cubicBezTo>
                    <a:cubicBezTo>
                      <a:pt x="440242" y="278702"/>
                      <a:pt x="440122" y="278642"/>
                      <a:pt x="440062" y="278582"/>
                    </a:cubicBezTo>
                    <a:cubicBezTo>
                      <a:pt x="440002" y="278522"/>
                      <a:pt x="439882" y="278463"/>
                      <a:pt x="439823" y="278403"/>
                    </a:cubicBezTo>
                    <a:cubicBezTo>
                      <a:pt x="439763" y="278343"/>
                      <a:pt x="439643" y="278283"/>
                      <a:pt x="439583" y="278163"/>
                    </a:cubicBezTo>
                    <a:cubicBezTo>
                      <a:pt x="439524" y="278104"/>
                      <a:pt x="439404" y="277984"/>
                      <a:pt x="439344" y="277924"/>
                    </a:cubicBezTo>
                    <a:cubicBezTo>
                      <a:pt x="439285" y="277864"/>
                      <a:pt x="439165" y="277745"/>
                      <a:pt x="439105" y="277685"/>
                    </a:cubicBezTo>
                    <a:cubicBezTo>
                      <a:pt x="439045" y="277565"/>
                      <a:pt x="438925" y="277505"/>
                      <a:pt x="438865" y="277386"/>
                    </a:cubicBezTo>
                    <a:cubicBezTo>
                      <a:pt x="438806" y="277266"/>
                      <a:pt x="438687" y="277206"/>
                      <a:pt x="438627" y="277087"/>
                    </a:cubicBezTo>
                    <a:lnTo>
                      <a:pt x="366021" y="232471"/>
                    </a:lnTo>
                    <a:lnTo>
                      <a:pt x="366619" y="232112"/>
                    </a:lnTo>
                    <a:lnTo>
                      <a:pt x="366379" y="232052"/>
                    </a:lnTo>
                    <a:lnTo>
                      <a:pt x="366140" y="231992"/>
                    </a:lnTo>
                    <a:lnTo>
                      <a:pt x="365901" y="231932"/>
                    </a:lnTo>
                    <a:lnTo>
                      <a:pt x="365661" y="231813"/>
                    </a:lnTo>
                    <a:lnTo>
                      <a:pt x="365363" y="231753"/>
                    </a:lnTo>
                    <a:lnTo>
                      <a:pt x="365064" y="231633"/>
                    </a:lnTo>
                    <a:lnTo>
                      <a:pt x="364765" y="231514"/>
                    </a:lnTo>
                    <a:lnTo>
                      <a:pt x="364525" y="231334"/>
                    </a:lnTo>
                    <a:lnTo>
                      <a:pt x="364406" y="231394"/>
                    </a:lnTo>
                    <a:lnTo>
                      <a:pt x="326608" y="208129"/>
                    </a:lnTo>
                    <a:lnTo>
                      <a:pt x="326907" y="207950"/>
                    </a:lnTo>
                    <a:lnTo>
                      <a:pt x="326368" y="207830"/>
                    </a:lnTo>
                    <a:lnTo>
                      <a:pt x="325890" y="207651"/>
                    </a:lnTo>
                    <a:lnTo>
                      <a:pt x="325411" y="207352"/>
                    </a:lnTo>
                    <a:lnTo>
                      <a:pt x="324993" y="207053"/>
                    </a:lnTo>
                    <a:lnTo>
                      <a:pt x="324933" y="207112"/>
                    </a:lnTo>
                    <a:lnTo>
                      <a:pt x="289587" y="185343"/>
                    </a:lnTo>
                    <a:lnTo>
                      <a:pt x="290065" y="185103"/>
                    </a:lnTo>
                    <a:lnTo>
                      <a:pt x="289707" y="184804"/>
                    </a:lnTo>
                    <a:lnTo>
                      <a:pt x="289347" y="184505"/>
                    </a:lnTo>
                    <a:lnTo>
                      <a:pt x="289049" y="184146"/>
                    </a:lnTo>
                    <a:lnTo>
                      <a:pt x="288690" y="183788"/>
                    </a:lnTo>
                    <a:lnTo>
                      <a:pt x="287852" y="184266"/>
                    </a:lnTo>
                    <a:lnTo>
                      <a:pt x="218835" y="141803"/>
                    </a:lnTo>
                    <a:lnTo>
                      <a:pt x="294610" y="104483"/>
                    </a:lnTo>
                    <a:lnTo>
                      <a:pt x="358066" y="142401"/>
                    </a:lnTo>
                    <a:lnTo>
                      <a:pt x="359262" y="142760"/>
                    </a:lnTo>
                    <a:lnTo>
                      <a:pt x="360220" y="143418"/>
                    </a:lnTo>
                    <a:lnTo>
                      <a:pt x="361116" y="144315"/>
                    </a:lnTo>
                    <a:lnTo>
                      <a:pt x="361715" y="145451"/>
                    </a:lnTo>
                    <a:lnTo>
                      <a:pt x="362373" y="145092"/>
                    </a:lnTo>
                    <a:lnTo>
                      <a:pt x="396104" y="165247"/>
                    </a:lnTo>
                    <a:lnTo>
                      <a:pt x="395386" y="165666"/>
                    </a:lnTo>
                    <a:lnTo>
                      <a:pt x="395745" y="165965"/>
                    </a:lnTo>
                    <a:lnTo>
                      <a:pt x="396104" y="166264"/>
                    </a:lnTo>
                    <a:lnTo>
                      <a:pt x="396462" y="166563"/>
                    </a:lnTo>
                    <a:lnTo>
                      <a:pt x="396822" y="166862"/>
                    </a:lnTo>
                    <a:lnTo>
                      <a:pt x="397778" y="166324"/>
                    </a:lnTo>
                    <a:lnTo>
                      <a:pt x="433902" y="187854"/>
                    </a:lnTo>
                    <a:lnTo>
                      <a:pt x="433483" y="188094"/>
                    </a:lnTo>
                    <a:lnTo>
                      <a:pt x="433722" y="188452"/>
                    </a:lnTo>
                    <a:lnTo>
                      <a:pt x="433962" y="188752"/>
                    </a:lnTo>
                    <a:lnTo>
                      <a:pt x="434141" y="189111"/>
                    </a:lnTo>
                    <a:lnTo>
                      <a:pt x="434320" y="189469"/>
                    </a:lnTo>
                    <a:lnTo>
                      <a:pt x="435457" y="188752"/>
                    </a:lnTo>
                    <a:lnTo>
                      <a:pt x="505431" y="230617"/>
                    </a:lnTo>
                    <a:lnTo>
                      <a:pt x="505252" y="230736"/>
                    </a:lnTo>
                    <a:lnTo>
                      <a:pt x="505850" y="231275"/>
                    </a:lnTo>
                    <a:lnTo>
                      <a:pt x="506388" y="231873"/>
                    </a:lnTo>
                    <a:lnTo>
                      <a:pt x="506926" y="231454"/>
                    </a:lnTo>
                    <a:lnTo>
                      <a:pt x="542093" y="252506"/>
                    </a:lnTo>
                    <a:lnTo>
                      <a:pt x="542930" y="252626"/>
                    </a:lnTo>
                    <a:lnTo>
                      <a:pt x="543648" y="252985"/>
                    </a:lnTo>
                    <a:lnTo>
                      <a:pt x="544246" y="253463"/>
                    </a:lnTo>
                    <a:lnTo>
                      <a:pt x="544785" y="254121"/>
                    </a:lnTo>
                    <a:lnTo>
                      <a:pt x="582702" y="276788"/>
                    </a:lnTo>
                    <a:lnTo>
                      <a:pt x="582702" y="276848"/>
                    </a:lnTo>
                    <a:lnTo>
                      <a:pt x="583061" y="277027"/>
                    </a:lnTo>
                    <a:lnTo>
                      <a:pt x="583360" y="277206"/>
                    </a:lnTo>
                    <a:lnTo>
                      <a:pt x="583719" y="277386"/>
                    </a:lnTo>
                    <a:lnTo>
                      <a:pt x="584078" y="277625"/>
                    </a:lnTo>
                    <a:lnTo>
                      <a:pt x="584197" y="277745"/>
                    </a:lnTo>
                    <a:moveTo>
                      <a:pt x="326368" y="686826"/>
                    </a:moveTo>
                    <a:lnTo>
                      <a:pt x="338688" y="674865"/>
                    </a:lnTo>
                    <a:lnTo>
                      <a:pt x="402623" y="719600"/>
                    </a:lnTo>
                    <a:lnTo>
                      <a:pt x="396642" y="736406"/>
                    </a:lnTo>
                    <a:lnTo>
                      <a:pt x="326368" y="686826"/>
                    </a:lnTo>
                    <a:moveTo>
                      <a:pt x="585812" y="276489"/>
                    </a:moveTo>
                    <a:lnTo>
                      <a:pt x="594066" y="269790"/>
                    </a:lnTo>
                    <a:lnTo>
                      <a:pt x="667748" y="313689"/>
                    </a:lnTo>
                    <a:lnTo>
                      <a:pt x="659973" y="320866"/>
                    </a:lnTo>
                    <a:lnTo>
                      <a:pt x="585812" y="276489"/>
                    </a:lnTo>
                    <a:moveTo>
                      <a:pt x="324993" y="786824"/>
                    </a:moveTo>
                    <a:lnTo>
                      <a:pt x="332050" y="779407"/>
                    </a:lnTo>
                    <a:lnTo>
                      <a:pt x="360518" y="799922"/>
                    </a:lnTo>
                    <a:lnTo>
                      <a:pt x="353580" y="807517"/>
                    </a:lnTo>
                    <a:lnTo>
                      <a:pt x="324993" y="786824"/>
                    </a:lnTo>
                    <a:moveTo>
                      <a:pt x="481329" y="500945"/>
                    </a:moveTo>
                    <a:lnTo>
                      <a:pt x="525168" y="529413"/>
                    </a:lnTo>
                    <a:lnTo>
                      <a:pt x="510634" y="566614"/>
                    </a:lnTo>
                    <a:lnTo>
                      <a:pt x="467992" y="538444"/>
                    </a:lnTo>
                    <a:lnTo>
                      <a:pt x="481329" y="500945"/>
                    </a:lnTo>
                    <a:moveTo>
                      <a:pt x="333366" y="777972"/>
                    </a:moveTo>
                    <a:lnTo>
                      <a:pt x="342038" y="768822"/>
                    </a:lnTo>
                    <a:lnTo>
                      <a:pt x="370327" y="789097"/>
                    </a:lnTo>
                    <a:lnTo>
                      <a:pt x="361715" y="798486"/>
                    </a:lnTo>
                    <a:lnTo>
                      <a:pt x="333366" y="777972"/>
                    </a:lnTo>
                    <a:moveTo>
                      <a:pt x="325411" y="688560"/>
                    </a:moveTo>
                    <a:lnTo>
                      <a:pt x="395984" y="738260"/>
                    </a:lnTo>
                    <a:lnTo>
                      <a:pt x="387372" y="762482"/>
                    </a:lnTo>
                    <a:lnTo>
                      <a:pt x="318235" y="713321"/>
                    </a:lnTo>
                    <a:lnTo>
                      <a:pt x="325411" y="688560"/>
                    </a:lnTo>
                    <a:moveTo>
                      <a:pt x="354537" y="808294"/>
                    </a:moveTo>
                    <a:lnTo>
                      <a:pt x="359980" y="802374"/>
                    </a:lnTo>
                    <a:lnTo>
                      <a:pt x="357289" y="809909"/>
                    </a:lnTo>
                    <a:lnTo>
                      <a:pt x="357109" y="810089"/>
                    </a:lnTo>
                    <a:lnTo>
                      <a:pt x="354537" y="808294"/>
                    </a:lnTo>
                    <a:moveTo>
                      <a:pt x="317637" y="715234"/>
                    </a:moveTo>
                    <a:lnTo>
                      <a:pt x="386714" y="764276"/>
                    </a:lnTo>
                    <a:lnTo>
                      <a:pt x="382647" y="775759"/>
                    </a:lnTo>
                    <a:lnTo>
                      <a:pt x="314287" y="726897"/>
                    </a:lnTo>
                    <a:lnTo>
                      <a:pt x="317637" y="715234"/>
                    </a:lnTo>
                    <a:moveTo>
                      <a:pt x="313689" y="728930"/>
                    </a:moveTo>
                    <a:lnTo>
                      <a:pt x="381989" y="777673"/>
                    </a:lnTo>
                    <a:lnTo>
                      <a:pt x="377025" y="791668"/>
                    </a:lnTo>
                    <a:lnTo>
                      <a:pt x="309562" y="743164"/>
                    </a:lnTo>
                    <a:lnTo>
                      <a:pt x="313689" y="728930"/>
                    </a:lnTo>
                    <a:moveTo>
                      <a:pt x="502500" y="469008"/>
                    </a:moveTo>
                    <a:lnTo>
                      <a:pt x="556806" y="418531"/>
                    </a:lnTo>
                    <a:lnTo>
                      <a:pt x="598850" y="444846"/>
                    </a:lnTo>
                    <a:lnTo>
                      <a:pt x="546340" y="497237"/>
                    </a:lnTo>
                    <a:lnTo>
                      <a:pt x="502500" y="469008"/>
                    </a:lnTo>
                    <a:moveTo>
                      <a:pt x="362791" y="799323"/>
                    </a:moveTo>
                    <a:lnTo>
                      <a:pt x="371403" y="789934"/>
                    </a:lnTo>
                    <a:lnTo>
                      <a:pt x="376307" y="793462"/>
                    </a:lnTo>
                    <a:lnTo>
                      <a:pt x="371882" y="805843"/>
                    </a:lnTo>
                    <a:lnTo>
                      <a:pt x="362791" y="799323"/>
                    </a:lnTo>
                    <a:moveTo>
                      <a:pt x="467334" y="540358"/>
                    </a:moveTo>
                    <a:lnTo>
                      <a:pt x="509976" y="568468"/>
                    </a:lnTo>
                    <a:lnTo>
                      <a:pt x="490001" y="620380"/>
                    </a:lnTo>
                    <a:lnTo>
                      <a:pt x="449093" y="592869"/>
                    </a:lnTo>
                    <a:lnTo>
                      <a:pt x="467334" y="540358"/>
                    </a:lnTo>
                    <a:moveTo>
                      <a:pt x="599867" y="210043"/>
                    </a:moveTo>
                    <a:lnTo>
                      <a:pt x="600106" y="210282"/>
                    </a:lnTo>
                    <a:lnTo>
                      <a:pt x="600345" y="210581"/>
                    </a:lnTo>
                    <a:lnTo>
                      <a:pt x="600584" y="210880"/>
                    </a:lnTo>
                    <a:lnTo>
                      <a:pt x="600764" y="211179"/>
                    </a:lnTo>
                    <a:lnTo>
                      <a:pt x="601362" y="210761"/>
                    </a:lnTo>
                    <a:lnTo>
                      <a:pt x="635871" y="230916"/>
                    </a:lnTo>
                    <a:lnTo>
                      <a:pt x="637127" y="231155"/>
                    </a:lnTo>
                    <a:lnTo>
                      <a:pt x="638323" y="231633"/>
                    </a:lnTo>
                    <a:cubicBezTo>
                      <a:pt x="638442" y="231693"/>
                      <a:pt x="638502" y="231753"/>
                      <a:pt x="638622" y="231813"/>
                    </a:cubicBezTo>
                    <a:cubicBezTo>
                      <a:pt x="638741" y="231873"/>
                      <a:pt x="638801" y="231932"/>
                      <a:pt x="638861" y="231992"/>
                    </a:cubicBezTo>
                    <a:cubicBezTo>
                      <a:pt x="638921" y="232052"/>
                      <a:pt x="639041" y="232112"/>
                      <a:pt x="639101" y="232171"/>
                    </a:cubicBezTo>
                    <a:cubicBezTo>
                      <a:pt x="639160" y="232231"/>
                      <a:pt x="639280" y="232291"/>
                      <a:pt x="639339" y="232411"/>
                    </a:cubicBezTo>
                    <a:cubicBezTo>
                      <a:pt x="639459" y="232471"/>
                      <a:pt x="639519" y="232590"/>
                      <a:pt x="639579" y="232650"/>
                    </a:cubicBezTo>
                    <a:cubicBezTo>
                      <a:pt x="639639" y="232710"/>
                      <a:pt x="639758" y="232830"/>
                      <a:pt x="639818" y="232889"/>
                    </a:cubicBezTo>
                    <a:cubicBezTo>
                      <a:pt x="639878" y="232949"/>
                      <a:pt x="639997" y="233069"/>
                      <a:pt x="640057" y="233188"/>
                    </a:cubicBezTo>
                    <a:cubicBezTo>
                      <a:pt x="640117" y="233308"/>
                      <a:pt x="640177" y="233368"/>
                      <a:pt x="640297" y="233487"/>
                    </a:cubicBezTo>
                    <a:lnTo>
                      <a:pt x="709972" y="274216"/>
                    </a:lnTo>
                    <a:lnTo>
                      <a:pt x="669063" y="312194"/>
                    </a:lnTo>
                    <a:lnTo>
                      <a:pt x="595621" y="268415"/>
                    </a:lnTo>
                    <a:lnTo>
                      <a:pt x="595859" y="268176"/>
                    </a:lnTo>
                    <a:lnTo>
                      <a:pt x="595501" y="267996"/>
                    </a:lnTo>
                    <a:lnTo>
                      <a:pt x="595142" y="267817"/>
                    </a:lnTo>
                    <a:lnTo>
                      <a:pt x="594783" y="267637"/>
                    </a:lnTo>
                    <a:lnTo>
                      <a:pt x="594424" y="267398"/>
                    </a:lnTo>
                    <a:lnTo>
                      <a:pt x="594245" y="267518"/>
                    </a:lnTo>
                    <a:lnTo>
                      <a:pt x="557583" y="245628"/>
                    </a:lnTo>
                    <a:lnTo>
                      <a:pt x="556866" y="245389"/>
                    </a:lnTo>
                    <a:lnTo>
                      <a:pt x="556207" y="244970"/>
                    </a:lnTo>
                    <a:lnTo>
                      <a:pt x="555609" y="244492"/>
                    </a:lnTo>
                    <a:lnTo>
                      <a:pt x="555131" y="243834"/>
                    </a:lnTo>
                    <a:lnTo>
                      <a:pt x="554832" y="244073"/>
                    </a:lnTo>
                    <a:lnTo>
                      <a:pt x="519247" y="222842"/>
                    </a:lnTo>
                    <a:lnTo>
                      <a:pt x="519845" y="222423"/>
                    </a:lnTo>
                    <a:lnTo>
                      <a:pt x="519486" y="222244"/>
                    </a:lnTo>
                    <a:lnTo>
                      <a:pt x="519127" y="222064"/>
                    </a:lnTo>
                    <a:lnTo>
                      <a:pt x="518769" y="221825"/>
                    </a:lnTo>
                    <a:lnTo>
                      <a:pt x="518409" y="221646"/>
                    </a:lnTo>
                    <a:lnTo>
                      <a:pt x="518349" y="221526"/>
                    </a:lnTo>
                    <a:lnTo>
                      <a:pt x="517811" y="221945"/>
                    </a:lnTo>
                    <a:lnTo>
                      <a:pt x="448554" y="180618"/>
                    </a:lnTo>
                    <a:lnTo>
                      <a:pt x="448614" y="180558"/>
                    </a:lnTo>
                    <a:lnTo>
                      <a:pt x="448076" y="180379"/>
                    </a:lnTo>
                    <a:lnTo>
                      <a:pt x="447538" y="180139"/>
                    </a:lnTo>
                    <a:lnTo>
                      <a:pt x="447059" y="179840"/>
                    </a:lnTo>
                    <a:lnTo>
                      <a:pt x="446581" y="179481"/>
                    </a:lnTo>
                    <a:lnTo>
                      <a:pt x="411235" y="158370"/>
                    </a:lnTo>
                    <a:lnTo>
                      <a:pt x="411354" y="158310"/>
                    </a:lnTo>
                    <a:lnTo>
                      <a:pt x="410936" y="158130"/>
                    </a:lnTo>
                    <a:lnTo>
                      <a:pt x="410517" y="157951"/>
                    </a:lnTo>
                    <a:lnTo>
                      <a:pt x="410158" y="157652"/>
                    </a:lnTo>
                    <a:lnTo>
                      <a:pt x="409799" y="157353"/>
                    </a:lnTo>
                    <a:lnTo>
                      <a:pt x="409560" y="157472"/>
                    </a:lnTo>
                    <a:lnTo>
                      <a:pt x="376188" y="137557"/>
                    </a:lnTo>
                    <a:lnTo>
                      <a:pt x="376726" y="137198"/>
                    </a:lnTo>
                    <a:lnTo>
                      <a:pt x="376547" y="137138"/>
                    </a:lnTo>
                    <a:lnTo>
                      <a:pt x="376128" y="136958"/>
                    </a:lnTo>
                    <a:lnTo>
                      <a:pt x="375709" y="136719"/>
                    </a:lnTo>
                    <a:lnTo>
                      <a:pt x="375350" y="136420"/>
                    </a:lnTo>
                    <a:lnTo>
                      <a:pt x="374992" y="136181"/>
                    </a:lnTo>
                    <a:lnTo>
                      <a:pt x="374334" y="136480"/>
                    </a:lnTo>
                    <a:lnTo>
                      <a:pt x="308964" y="97486"/>
                    </a:lnTo>
                    <a:lnTo>
                      <a:pt x="362373" y="71171"/>
                    </a:lnTo>
                    <a:lnTo>
                      <a:pt x="424572" y="107474"/>
                    </a:lnTo>
                    <a:lnTo>
                      <a:pt x="425349" y="107713"/>
                    </a:lnTo>
                    <a:lnTo>
                      <a:pt x="425948" y="108131"/>
                    </a:lnTo>
                    <a:lnTo>
                      <a:pt x="426546" y="108610"/>
                    </a:lnTo>
                    <a:lnTo>
                      <a:pt x="427024" y="109268"/>
                    </a:lnTo>
                    <a:lnTo>
                      <a:pt x="427323" y="109088"/>
                    </a:lnTo>
                    <a:lnTo>
                      <a:pt x="457825" y="126911"/>
                    </a:lnTo>
                    <a:lnTo>
                      <a:pt x="458064" y="126971"/>
                    </a:lnTo>
                    <a:lnTo>
                      <a:pt x="458842" y="127330"/>
                    </a:lnTo>
                    <a:lnTo>
                      <a:pt x="459559" y="127808"/>
                    </a:lnTo>
                    <a:lnTo>
                      <a:pt x="460217" y="128466"/>
                    </a:lnTo>
                    <a:lnTo>
                      <a:pt x="460815" y="129184"/>
                    </a:lnTo>
                    <a:lnTo>
                      <a:pt x="461293" y="128945"/>
                    </a:lnTo>
                    <a:lnTo>
                      <a:pt x="495742" y="149040"/>
                    </a:lnTo>
                    <a:lnTo>
                      <a:pt x="495084" y="149458"/>
                    </a:lnTo>
                    <a:lnTo>
                      <a:pt x="495563" y="149638"/>
                    </a:lnTo>
                    <a:lnTo>
                      <a:pt x="495982" y="149817"/>
                    </a:lnTo>
                    <a:lnTo>
                      <a:pt x="496400" y="150056"/>
                    </a:lnTo>
                    <a:lnTo>
                      <a:pt x="496759" y="150355"/>
                    </a:lnTo>
                    <a:lnTo>
                      <a:pt x="497417" y="149996"/>
                    </a:lnTo>
                    <a:lnTo>
                      <a:pt x="562188" y="187854"/>
                    </a:lnTo>
                    <a:lnTo>
                      <a:pt x="563325" y="187914"/>
                    </a:lnTo>
                    <a:lnTo>
                      <a:pt x="564282" y="188273"/>
                    </a:lnTo>
                    <a:lnTo>
                      <a:pt x="565059" y="188931"/>
                    </a:lnTo>
                    <a:lnTo>
                      <a:pt x="565717" y="189828"/>
                    </a:lnTo>
                    <a:lnTo>
                      <a:pt x="599927" y="209863"/>
                    </a:lnTo>
                    <a:lnTo>
                      <a:pt x="599867" y="210043"/>
                    </a:lnTo>
                    <a:moveTo>
                      <a:pt x="361894" y="800998"/>
                    </a:moveTo>
                    <a:lnTo>
                      <a:pt x="371224" y="807697"/>
                    </a:lnTo>
                    <a:lnTo>
                      <a:pt x="368174" y="816369"/>
                    </a:lnTo>
                    <a:lnTo>
                      <a:pt x="358903" y="809670"/>
                    </a:lnTo>
                    <a:lnTo>
                      <a:pt x="361894" y="800998"/>
                    </a:lnTo>
                    <a:moveTo>
                      <a:pt x="691671" y="240545"/>
                    </a:moveTo>
                    <a:lnTo>
                      <a:pt x="725342" y="260102"/>
                    </a:lnTo>
                    <a:lnTo>
                      <a:pt x="711467" y="272960"/>
                    </a:lnTo>
                    <a:lnTo>
                      <a:pt x="684614" y="257291"/>
                    </a:lnTo>
                    <a:lnTo>
                      <a:pt x="691671" y="240545"/>
                    </a:lnTo>
                    <a:moveTo>
                      <a:pt x="688680" y="235640"/>
                    </a:moveTo>
                    <a:lnTo>
                      <a:pt x="727495" y="258128"/>
                    </a:lnTo>
                    <a:lnTo>
                      <a:pt x="726837" y="258726"/>
                    </a:lnTo>
                    <a:lnTo>
                      <a:pt x="688382" y="236358"/>
                    </a:lnTo>
                    <a:lnTo>
                      <a:pt x="688680" y="235640"/>
                    </a:lnTo>
                    <a:moveTo>
                      <a:pt x="296525" y="789097"/>
                    </a:moveTo>
                    <a:lnTo>
                      <a:pt x="308247" y="777075"/>
                    </a:lnTo>
                    <a:lnTo>
                      <a:pt x="366978" y="819658"/>
                    </a:lnTo>
                    <a:lnTo>
                      <a:pt x="361116" y="836224"/>
                    </a:lnTo>
                    <a:lnTo>
                      <a:pt x="296525" y="789097"/>
                    </a:lnTo>
                    <a:moveTo>
                      <a:pt x="448435" y="594723"/>
                    </a:moveTo>
                    <a:lnTo>
                      <a:pt x="489283" y="622174"/>
                    </a:lnTo>
                    <a:lnTo>
                      <a:pt x="471102" y="668705"/>
                    </a:lnTo>
                    <a:lnTo>
                      <a:pt x="431749" y="641791"/>
                    </a:lnTo>
                    <a:lnTo>
                      <a:pt x="448435" y="594723"/>
                    </a:lnTo>
                    <a:moveTo>
                      <a:pt x="558301" y="417156"/>
                    </a:moveTo>
                    <a:lnTo>
                      <a:pt x="586769" y="390720"/>
                    </a:lnTo>
                    <a:lnTo>
                      <a:pt x="586888" y="390661"/>
                    </a:lnTo>
                    <a:lnTo>
                      <a:pt x="599927" y="378520"/>
                    </a:lnTo>
                    <a:lnTo>
                      <a:pt x="640356" y="403400"/>
                    </a:lnTo>
                    <a:lnTo>
                      <a:pt x="600226" y="443470"/>
                    </a:lnTo>
                    <a:lnTo>
                      <a:pt x="558301" y="417156"/>
                    </a:lnTo>
                    <a:moveTo>
                      <a:pt x="672173" y="206813"/>
                    </a:moveTo>
                    <a:lnTo>
                      <a:pt x="740354" y="246107"/>
                    </a:lnTo>
                    <a:lnTo>
                      <a:pt x="728930" y="256753"/>
                    </a:lnTo>
                    <a:lnTo>
                      <a:pt x="666612" y="220629"/>
                    </a:lnTo>
                    <a:lnTo>
                      <a:pt x="672173" y="206813"/>
                    </a:lnTo>
                    <a:moveTo>
                      <a:pt x="431091" y="643645"/>
                    </a:moveTo>
                    <a:lnTo>
                      <a:pt x="470444" y="670439"/>
                    </a:lnTo>
                    <a:lnTo>
                      <a:pt x="465121" y="684015"/>
                    </a:lnTo>
                    <a:lnTo>
                      <a:pt x="426246" y="657281"/>
                    </a:lnTo>
                    <a:lnTo>
                      <a:pt x="431091" y="643645"/>
                    </a:lnTo>
                    <a:moveTo>
                      <a:pt x="425529" y="659135"/>
                    </a:moveTo>
                    <a:lnTo>
                      <a:pt x="464403" y="685809"/>
                    </a:lnTo>
                    <a:lnTo>
                      <a:pt x="455731" y="707938"/>
                    </a:lnTo>
                    <a:lnTo>
                      <a:pt x="417574" y="681503"/>
                    </a:lnTo>
                    <a:lnTo>
                      <a:pt x="425529" y="659135"/>
                    </a:lnTo>
                    <a:moveTo>
                      <a:pt x="41507" y="605847"/>
                    </a:moveTo>
                    <a:lnTo>
                      <a:pt x="360458" y="838019"/>
                    </a:lnTo>
                    <a:lnTo>
                      <a:pt x="341081" y="892443"/>
                    </a:lnTo>
                    <a:lnTo>
                      <a:pt x="250592" y="825220"/>
                    </a:lnTo>
                    <a:lnTo>
                      <a:pt x="246167" y="822050"/>
                    </a:lnTo>
                    <a:lnTo>
                      <a:pt x="244971" y="821093"/>
                    </a:lnTo>
                    <a:lnTo>
                      <a:pt x="215007" y="798845"/>
                    </a:lnTo>
                    <a:lnTo>
                      <a:pt x="213692" y="797888"/>
                    </a:lnTo>
                    <a:lnTo>
                      <a:pt x="194135" y="783415"/>
                    </a:lnTo>
                    <a:lnTo>
                      <a:pt x="142162" y="744839"/>
                    </a:lnTo>
                    <a:lnTo>
                      <a:pt x="123502" y="730964"/>
                    </a:lnTo>
                    <a:lnTo>
                      <a:pt x="123502" y="730904"/>
                    </a:lnTo>
                    <a:lnTo>
                      <a:pt x="122007" y="729827"/>
                    </a:lnTo>
                    <a:lnTo>
                      <a:pt x="110225" y="721095"/>
                    </a:lnTo>
                    <a:lnTo>
                      <a:pt x="36602" y="666492"/>
                    </a:lnTo>
                    <a:lnTo>
                      <a:pt x="41507" y="605847"/>
                    </a:lnTo>
                    <a:moveTo>
                      <a:pt x="713500" y="170929"/>
                    </a:moveTo>
                    <a:lnTo>
                      <a:pt x="713740" y="170989"/>
                    </a:lnTo>
                    <a:lnTo>
                      <a:pt x="713919" y="171109"/>
                    </a:lnTo>
                    <a:lnTo>
                      <a:pt x="714098" y="171228"/>
                    </a:lnTo>
                    <a:lnTo>
                      <a:pt x="714278" y="171348"/>
                    </a:lnTo>
                    <a:lnTo>
                      <a:pt x="714756" y="171766"/>
                    </a:lnTo>
                    <a:lnTo>
                      <a:pt x="714996" y="171527"/>
                    </a:lnTo>
                    <a:lnTo>
                      <a:pt x="780664" y="208667"/>
                    </a:lnTo>
                    <a:lnTo>
                      <a:pt x="741849" y="244791"/>
                    </a:lnTo>
                    <a:lnTo>
                      <a:pt x="673370" y="205318"/>
                    </a:lnTo>
                    <a:lnTo>
                      <a:pt x="674746" y="204242"/>
                    </a:lnTo>
                    <a:lnTo>
                      <a:pt x="674386" y="204062"/>
                    </a:lnTo>
                    <a:lnTo>
                      <a:pt x="674088" y="203943"/>
                    </a:lnTo>
                    <a:lnTo>
                      <a:pt x="673729" y="203763"/>
                    </a:lnTo>
                    <a:lnTo>
                      <a:pt x="673430" y="203524"/>
                    </a:lnTo>
                    <a:lnTo>
                      <a:pt x="672114" y="204600"/>
                    </a:lnTo>
                    <a:lnTo>
                      <a:pt x="636708" y="184206"/>
                    </a:lnTo>
                    <a:lnTo>
                      <a:pt x="636768" y="184206"/>
                    </a:lnTo>
                    <a:lnTo>
                      <a:pt x="636229" y="183967"/>
                    </a:lnTo>
                    <a:lnTo>
                      <a:pt x="635751" y="183728"/>
                    </a:lnTo>
                    <a:lnTo>
                      <a:pt x="635333" y="183489"/>
                    </a:lnTo>
                    <a:lnTo>
                      <a:pt x="634914" y="183130"/>
                    </a:lnTo>
                    <a:lnTo>
                      <a:pt x="605190" y="165965"/>
                    </a:lnTo>
                    <a:cubicBezTo>
                      <a:pt x="605010" y="166025"/>
                      <a:pt x="604831" y="166085"/>
                      <a:pt x="604652" y="166144"/>
                    </a:cubicBezTo>
                    <a:cubicBezTo>
                      <a:pt x="604472" y="166204"/>
                      <a:pt x="604292" y="166204"/>
                      <a:pt x="604113" y="166264"/>
                    </a:cubicBezTo>
                    <a:cubicBezTo>
                      <a:pt x="603934" y="166324"/>
                      <a:pt x="603754" y="166324"/>
                      <a:pt x="603575" y="166324"/>
                    </a:cubicBezTo>
                    <a:cubicBezTo>
                      <a:pt x="603395" y="166324"/>
                      <a:pt x="603216" y="166324"/>
                      <a:pt x="603037" y="166324"/>
                    </a:cubicBezTo>
                    <a:cubicBezTo>
                      <a:pt x="602857" y="166324"/>
                      <a:pt x="602678" y="166264"/>
                      <a:pt x="602558" y="166264"/>
                    </a:cubicBezTo>
                    <a:cubicBezTo>
                      <a:pt x="602379" y="166204"/>
                      <a:pt x="602199" y="166204"/>
                      <a:pt x="602080" y="166144"/>
                    </a:cubicBezTo>
                    <a:cubicBezTo>
                      <a:pt x="601900" y="166085"/>
                      <a:pt x="601780" y="166025"/>
                      <a:pt x="601601" y="165965"/>
                    </a:cubicBezTo>
                    <a:cubicBezTo>
                      <a:pt x="601422" y="165905"/>
                      <a:pt x="601302" y="165786"/>
                      <a:pt x="601122" y="165726"/>
                    </a:cubicBezTo>
                    <a:cubicBezTo>
                      <a:pt x="600944" y="165606"/>
                      <a:pt x="600824" y="165547"/>
                      <a:pt x="600644" y="165427"/>
                    </a:cubicBezTo>
                    <a:cubicBezTo>
                      <a:pt x="600525" y="165307"/>
                      <a:pt x="600345" y="165188"/>
                      <a:pt x="600226" y="165068"/>
                    </a:cubicBezTo>
                    <a:cubicBezTo>
                      <a:pt x="600106" y="164948"/>
                      <a:pt x="599987" y="164829"/>
                      <a:pt x="599867" y="164709"/>
                    </a:cubicBezTo>
                    <a:cubicBezTo>
                      <a:pt x="599747" y="164589"/>
                      <a:pt x="599627" y="164410"/>
                      <a:pt x="599508" y="164290"/>
                    </a:cubicBezTo>
                    <a:cubicBezTo>
                      <a:pt x="599389" y="164111"/>
                      <a:pt x="599269" y="163991"/>
                      <a:pt x="599209" y="163812"/>
                    </a:cubicBezTo>
                    <a:cubicBezTo>
                      <a:pt x="599089" y="163633"/>
                      <a:pt x="599029" y="163513"/>
                      <a:pt x="598910" y="163334"/>
                    </a:cubicBezTo>
                    <a:cubicBezTo>
                      <a:pt x="598790" y="163154"/>
                      <a:pt x="598731" y="162975"/>
                      <a:pt x="598671" y="162795"/>
                    </a:cubicBezTo>
                    <a:cubicBezTo>
                      <a:pt x="598611" y="162616"/>
                      <a:pt x="598551" y="162436"/>
                      <a:pt x="598491" y="162257"/>
                    </a:cubicBezTo>
                    <a:lnTo>
                      <a:pt x="535992" y="126193"/>
                    </a:lnTo>
                    <a:lnTo>
                      <a:pt x="535216" y="126014"/>
                    </a:lnTo>
                    <a:lnTo>
                      <a:pt x="534497" y="125655"/>
                    </a:lnTo>
                    <a:lnTo>
                      <a:pt x="533839" y="125237"/>
                    </a:lnTo>
                    <a:lnTo>
                      <a:pt x="533361" y="124638"/>
                    </a:lnTo>
                    <a:lnTo>
                      <a:pt x="500886" y="105978"/>
                    </a:lnTo>
                    <a:lnTo>
                      <a:pt x="500945" y="105919"/>
                    </a:lnTo>
                    <a:lnTo>
                      <a:pt x="500527" y="105679"/>
                    </a:lnTo>
                    <a:lnTo>
                      <a:pt x="500168" y="105440"/>
                    </a:lnTo>
                    <a:lnTo>
                      <a:pt x="499750" y="105141"/>
                    </a:lnTo>
                    <a:lnTo>
                      <a:pt x="499390" y="104842"/>
                    </a:lnTo>
                    <a:lnTo>
                      <a:pt x="499152" y="104962"/>
                    </a:lnTo>
                    <a:lnTo>
                      <a:pt x="467932" y="86960"/>
                    </a:lnTo>
                    <a:lnTo>
                      <a:pt x="468470" y="86661"/>
                    </a:lnTo>
                    <a:lnTo>
                      <a:pt x="468111" y="86362"/>
                    </a:lnTo>
                    <a:lnTo>
                      <a:pt x="467753" y="86063"/>
                    </a:lnTo>
                    <a:lnTo>
                      <a:pt x="467394" y="85764"/>
                    </a:lnTo>
                    <a:lnTo>
                      <a:pt x="467035" y="85465"/>
                    </a:lnTo>
                    <a:lnTo>
                      <a:pt x="466258" y="85883"/>
                    </a:lnTo>
                    <a:lnTo>
                      <a:pt x="404895" y="50537"/>
                    </a:lnTo>
                    <a:lnTo>
                      <a:pt x="456210" y="25299"/>
                    </a:lnTo>
                    <a:lnTo>
                      <a:pt x="515419" y="58731"/>
                    </a:lnTo>
                    <a:lnTo>
                      <a:pt x="515001" y="58970"/>
                    </a:lnTo>
                    <a:lnTo>
                      <a:pt x="515359" y="59269"/>
                    </a:lnTo>
                    <a:lnTo>
                      <a:pt x="515778" y="59508"/>
                    </a:lnTo>
                    <a:lnTo>
                      <a:pt x="516137" y="59807"/>
                    </a:lnTo>
                    <a:lnTo>
                      <a:pt x="516555" y="60106"/>
                    </a:lnTo>
                    <a:lnTo>
                      <a:pt x="517094" y="59807"/>
                    </a:lnTo>
                    <a:lnTo>
                      <a:pt x="547177" y="76792"/>
                    </a:lnTo>
                    <a:lnTo>
                      <a:pt x="546638" y="77092"/>
                    </a:lnTo>
                    <a:lnTo>
                      <a:pt x="547057" y="77271"/>
                    </a:lnTo>
                    <a:lnTo>
                      <a:pt x="547476" y="77450"/>
                    </a:lnTo>
                    <a:lnTo>
                      <a:pt x="547895" y="77749"/>
                    </a:lnTo>
                    <a:lnTo>
                      <a:pt x="548253" y="78049"/>
                    </a:lnTo>
                    <a:lnTo>
                      <a:pt x="548851" y="77690"/>
                    </a:lnTo>
                    <a:lnTo>
                      <a:pt x="581027" y="95871"/>
                    </a:lnTo>
                    <a:lnTo>
                      <a:pt x="580549" y="96170"/>
                    </a:lnTo>
                    <a:lnTo>
                      <a:pt x="580967" y="96230"/>
                    </a:lnTo>
                    <a:lnTo>
                      <a:pt x="581387" y="96350"/>
                    </a:lnTo>
                    <a:lnTo>
                      <a:pt x="581745" y="96529"/>
                    </a:lnTo>
                    <a:lnTo>
                      <a:pt x="582104" y="96708"/>
                    </a:lnTo>
                    <a:lnTo>
                      <a:pt x="582463" y="96888"/>
                    </a:lnTo>
                    <a:lnTo>
                      <a:pt x="582702" y="96708"/>
                    </a:lnTo>
                    <a:lnTo>
                      <a:pt x="643407" y="131038"/>
                    </a:lnTo>
                    <a:lnTo>
                      <a:pt x="644304" y="131217"/>
                    </a:lnTo>
                    <a:lnTo>
                      <a:pt x="645141" y="131636"/>
                    </a:lnTo>
                    <a:lnTo>
                      <a:pt x="645859" y="132174"/>
                    </a:lnTo>
                    <a:lnTo>
                      <a:pt x="646517" y="132892"/>
                    </a:lnTo>
                    <a:lnTo>
                      <a:pt x="677975" y="150655"/>
                    </a:lnTo>
                    <a:lnTo>
                      <a:pt x="678394" y="150894"/>
                    </a:lnTo>
                    <a:lnTo>
                      <a:pt x="678753" y="151133"/>
                    </a:lnTo>
                    <a:lnTo>
                      <a:pt x="679111" y="151432"/>
                    </a:lnTo>
                    <a:lnTo>
                      <a:pt x="679411" y="151791"/>
                    </a:lnTo>
                    <a:lnTo>
                      <a:pt x="679709" y="151611"/>
                    </a:lnTo>
                    <a:lnTo>
                      <a:pt x="713740" y="170810"/>
                    </a:lnTo>
                    <a:lnTo>
                      <a:pt x="713500" y="170929"/>
                    </a:lnTo>
                    <a:moveTo>
                      <a:pt x="288690" y="880422"/>
                    </a:moveTo>
                    <a:lnTo>
                      <a:pt x="302026" y="865889"/>
                    </a:lnTo>
                    <a:lnTo>
                      <a:pt x="340423" y="894297"/>
                    </a:lnTo>
                    <a:lnTo>
                      <a:pt x="333485" y="913914"/>
                    </a:lnTo>
                    <a:lnTo>
                      <a:pt x="288690" y="880422"/>
                    </a:lnTo>
                    <a:moveTo>
                      <a:pt x="716611" y="170211"/>
                    </a:moveTo>
                    <a:lnTo>
                      <a:pt x="722950" y="165068"/>
                    </a:lnTo>
                    <a:lnTo>
                      <a:pt x="788080" y="201730"/>
                    </a:lnTo>
                    <a:lnTo>
                      <a:pt x="782099" y="207352"/>
                    </a:lnTo>
                    <a:lnTo>
                      <a:pt x="716611" y="170211"/>
                    </a:lnTo>
                    <a:moveTo>
                      <a:pt x="601302" y="377144"/>
                    </a:moveTo>
                    <a:lnTo>
                      <a:pt x="659674" y="322839"/>
                    </a:lnTo>
                    <a:lnTo>
                      <a:pt x="698011" y="345746"/>
                    </a:lnTo>
                    <a:lnTo>
                      <a:pt x="641732" y="401904"/>
                    </a:lnTo>
                    <a:lnTo>
                      <a:pt x="601302" y="377144"/>
                    </a:lnTo>
                    <a:moveTo>
                      <a:pt x="416917" y="683357"/>
                    </a:moveTo>
                    <a:lnTo>
                      <a:pt x="455014" y="709672"/>
                    </a:lnTo>
                    <a:lnTo>
                      <a:pt x="434201" y="762841"/>
                    </a:lnTo>
                    <a:lnTo>
                      <a:pt x="397778" y="737184"/>
                    </a:lnTo>
                    <a:lnTo>
                      <a:pt x="404238" y="719122"/>
                    </a:lnTo>
                    <a:lnTo>
                      <a:pt x="416917" y="683357"/>
                    </a:lnTo>
                    <a:moveTo>
                      <a:pt x="267877" y="887419"/>
                    </a:moveTo>
                    <a:lnTo>
                      <a:pt x="278881" y="875458"/>
                    </a:lnTo>
                    <a:lnTo>
                      <a:pt x="332827" y="915708"/>
                    </a:lnTo>
                    <a:lnTo>
                      <a:pt x="327086" y="931856"/>
                    </a:lnTo>
                    <a:lnTo>
                      <a:pt x="267877" y="887419"/>
                    </a:lnTo>
                    <a:moveTo>
                      <a:pt x="661169" y="321523"/>
                    </a:moveTo>
                    <a:lnTo>
                      <a:pt x="668944" y="314347"/>
                    </a:lnTo>
                    <a:lnTo>
                      <a:pt x="706922" y="336954"/>
                    </a:lnTo>
                    <a:lnTo>
                      <a:pt x="699386" y="344430"/>
                    </a:lnTo>
                    <a:lnTo>
                      <a:pt x="661169" y="321523"/>
                    </a:lnTo>
                    <a:moveTo>
                      <a:pt x="397120" y="739038"/>
                    </a:moveTo>
                    <a:lnTo>
                      <a:pt x="433483" y="764635"/>
                    </a:lnTo>
                    <a:lnTo>
                      <a:pt x="424093" y="788558"/>
                    </a:lnTo>
                    <a:lnTo>
                      <a:pt x="388508" y="763200"/>
                    </a:lnTo>
                    <a:lnTo>
                      <a:pt x="397120" y="739038"/>
                    </a:lnTo>
                    <a:moveTo>
                      <a:pt x="267039" y="889154"/>
                    </a:moveTo>
                    <a:lnTo>
                      <a:pt x="326428" y="933710"/>
                    </a:lnTo>
                    <a:lnTo>
                      <a:pt x="319012" y="954583"/>
                    </a:lnTo>
                    <a:lnTo>
                      <a:pt x="260760" y="910505"/>
                    </a:lnTo>
                    <a:lnTo>
                      <a:pt x="267039" y="889154"/>
                    </a:lnTo>
                    <a:moveTo>
                      <a:pt x="260221" y="912479"/>
                    </a:moveTo>
                    <a:lnTo>
                      <a:pt x="318354" y="956437"/>
                    </a:lnTo>
                    <a:lnTo>
                      <a:pt x="315424" y="964750"/>
                    </a:lnTo>
                    <a:lnTo>
                      <a:pt x="257770" y="920971"/>
                    </a:lnTo>
                    <a:lnTo>
                      <a:pt x="260221" y="912479"/>
                    </a:lnTo>
                    <a:moveTo>
                      <a:pt x="387850" y="765114"/>
                    </a:moveTo>
                    <a:lnTo>
                      <a:pt x="423435" y="790412"/>
                    </a:lnTo>
                    <a:lnTo>
                      <a:pt x="418950" y="801835"/>
                    </a:lnTo>
                    <a:lnTo>
                      <a:pt x="383663" y="776657"/>
                    </a:lnTo>
                    <a:lnTo>
                      <a:pt x="387850" y="765114"/>
                    </a:lnTo>
                    <a:moveTo>
                      <a:pt x="383125" y="778451"/>
                    </a:moveTo>
                    <a:lnTo>
                      <a:pt x="418292" y="803510"/>
                    </a:lnTo>
                    <a:lnTo>
                      <a:pt x="412909" y="817325"/>
                    </a:lnTo>
                    <a:lnTo>
                      <a:pt x="378102" y="792386"/>
                    </a:lnTo>
                    <a:lnTo>
                      <a:pt x="383125" y="778451"/>
                    </a:lnTo>
                    <a:moveTo>
                      <a:pt x="670320" y="312971"/>
                    </a:moveTo>
                    <a:lnTo>
                      <a:pt x="711228" y="274934"/>
                    </a:lnTo>
                    <a:lnTo>
                      <a:pt x="747650" y="296165"/>
                    </a:lnTo>
                    <a:lnTo>
                      <a:pt x="708237" y="335519"/>
                    </a:lnTo>
                    <a:lnTo>
                      <a:pt x="670320" y="312971"/>
                    </a:lnTo>
                    <a:moveTo>
                      <a:pt x="377444" y="794240"/>
                    </a:moveTo>
                    <a:lnTo>
                      <a:pt x="412132" y="819120"/>
                    </a:lnTo>
                    <a:lnTo>
                      <a:pt x="395625" y="861343"/>
                    </a:lnTo>
                    <a:lnTo>
                      <a:pt x="362253" y="837002"/>
                    </a:lnTo>
                    <a:lnTo>
                      <a:pt x="377444" y="794240"/>
                    </a:lnTo>
                    <a:moveTo>
                      <a:pt x="712783" y="273618"/>
                    </a:moveTo>
                    <a:lnTo>
                      <a:pt x="727017" y="260341"/>
                    </a:lnTo>
                    <a:lnTo>
                      <a:pt x="729170" y="258367"/>
                    </a:lnTo>
                    <a:lnTo>
                      <a:pt x="741610" y="246764"/>
                    </a:lnTo>
                    <a:lnTo>
                      <a:pt x="776836" y="267099"/>
                    </a:lnTo>
                    <a:lnTo>
                      <a:pt x="749085" y="294850"/>
                    </a:lnTo>
                    <a:lnTo>
                      <a:pt x="712783" y="273618"/>
                    </a:lnTo>
                    <a:moveTo>
                      <a:pt x="361595" y="838796"/>
                    </a:moveTo>
                    <a:lnTo>
                      <a:pt x="394967" y="863138"/>
                    </a:lnTo>
                    <a:lnTo>
                      <a:pt x="373915" y="916845"/>
                    </a:lnTo>
                    <a:lnTo>
                      <a:pt x="342218" y="893281"/>
                    </a:lnTo>
                    <a:lnTo>
                      <a:pt x="361595" y="838796"/>
                    </a:lnTo>
                    <a:moveTo>
                      <a:pt x="743046" y="245449"/>
                    </a:moveTo>
                    <a:lnTo>
                      <a:pt x="781920" y="209385"/>
                    </a:lnTo>
                    <a:lnTo>
                      <a:pt x="815591" y="228463"/>
                    </a:lnTo>
                    <a:lnTo>
                      <a:pt x="811584" y="232411"/>
                    </a:lnTo>
                    <a:lnTo>
                      <a:pt x="778212" y="265783"/>
                    </a:lnTo>
                    <a:lnTo>
                      <a:pt x="743046" y="245449"/>
                    </a:lnTo>
                    <a:moveTo>
                      <a:pt x="783356" y="208009"/>
                    </a:moveTo>
                    <a:lnTo>
                      <a:pt x="789336" y="202447"/>
                    </a:lnTo>
                    <a:lnTo>
                      <a:pt x="822768" y="221287"/>
                    </a:lnTo>
                    <a:lnTo>
                      <a:pt x="816967" y="227088"/>
                    </a:lnTo>
                    <a:lnTo>
                      <a:pt x="783356" y="208009"/>
                    </a:lnTo>
                    <a:moveTo>
                      <a:pt x="341560" y="895135"/>
                    </a:moveTo>
                    <a:lnTo>
                      <a:pt x="373257" y="918579"/>
                    </a:lnTo>
                    <a:lnTo>
                      <a:pt x="358724" y="955660"/>
                    </a:lnTo>
                    <a:lnTo>
                      <a:pt x="328222" y="932753"/>
                    </a:lnTo>
                    <a:lnTo>
                      <a:pt x="341560" y="895135"/>
                    </a:lnTo>
                    <a:moveTo>
                      <a:pt x="327504" y="934547"/>
                    </a:moveTo>
                    <a:lnTo>
                      <a:pt x="358007" y="957454"/>
                    </a:lnTo>
                    <a:lnTo>
                      <a:pt x="349932" y="978027"/>
                    </a:lnTo>
                    <a:lnTo>
                      <a:pt x="320088" y="955420"/>
                    </a:lnTo>
                    <a:lnTo>
                      <a:pt x="327504" y="934547"/>
                    </a:lnTo>
                    <a:moveTo>
                      <a:pt x="319431" y="957215"/>
                    </a:moveTo>
                    <a:lnTo>
                      <a:pt x="349214" y="979822"/>
                    </a:lnTo>
                    <a:lnTo>
                      <a:pt x="346045" y="988075"/>
                    </a:lnTo>
                    <a:lnTo>
                      <a:pt x="316500" y="965587"/>
                    </a:lnTo>
                    <a:lnTo>
                      <a:pt x="319431" y="957215"/>
                    </a:lnTo>
                    <a:moveTo>
                      <a:pt x="771753" y="329598"/>
                    </a:moveTo>
                    <a:lnTo>
                      <a:pt x="784252" y="336954"/>
                    </a:lnTo>
                    <a:lnTo>
                      <a:pt x="749744" y="374812"/>
                    </a:lnTo>
                    <a:lnTo>
                      <a:pt x="767028" y="339286"/>
                    </a:lnTo>
                    <a:lnTo>
                      <a:pt x="771753" y="329598"/>
                    </a:lnTo>
                    <a:moveTo>
                      <a:pt x="775042" y="322839"/>
                    </a:moveTo>
                    <a:lnTo>
                      <a:pt x="789455" y="331272"/>
                    </a:lnTo>
                    <a:lnTo>
                      <a:pt x="785509" y="335578"/>
                    </a:lnTo>
                    <a:lnTo>
                      <a:pt x="772530" y="327923"/>
                    </a:lnTo>
                    <a:lnTo>
                      <a:pt x="775042" y="322839"/>
                    </a:lnTo>
                    <a:moveTo>
                      <a:pt x="605309" y="667688"/>
                    </a:moveTo>
                    <a:lnTo>
                      <a:pt x="605489" y="667807"/>
                    </a:lnTo>
                    <a:lnTo>
                      <a:pt x="599927" y="674685"/>
                    </a:lnTo>
                    <a:lnTo>
                      <a:pt x="599747" y="674566"/>
                    </a:lnTo>
                    <a:lnTo>
                      <a:pt x="598611" y="675941"/>
                    </a:lnTo>
                    <a:lnTo>
                      <a:pt x="598850" y="676001"/>
                    </a:lnTo>
                    <a:lnTo>
                      <a:pt x="562368" y="721155"/>
                    </a:lnTo>
                    <a:lnTo>
                      <a:pt x="562188" y="721036"/>
                    </a:lnTo>
                    <a:lnTo>
                      <a:pt x="561052" y="722411"/>
                    </a:lnTo>
                    <a:lnTo>
                      <a:pt x="561232" y="722531"/>
                    </a:lnTo>
                    <a:lnTo>
                      <a:pt x="534617" y="755485"/>
                    </a:lnTo>
                    <a:lnTo>
                      <a:pt x="534438" y="755365"/>
                    </a:lnTo>
                    <a:lnTo>
                      <a:pt x="533301" y="756801"/>
                    </a:lnTo>
                    <a:lnTo>
                      <a:pt x="533421" y="756860"/>
                    </a:lnTo>
                    <a:lnTo>
                      <a:pt x="510814" y="784850"/>
                    </a:lnTo>
                    <a:lnTo>
                      <a:pt x="510694" y="784790"/>
                    </a:lnTo>
                    <a:lnTo>
                      <a:pt x="509558" y="786166"/>
                    </a:lnTo>
                    <a:lnTo>
                      <a:pt x="509678" y="786226"/>
                    </a:lnTo>
                    <a:lnTo>
                      <a:pt x="505192" y="791788"/>
                    </a:lnTo>
                    <a:lnTo>
                      <a:pt x="505072" y="791728"/>
                    </a:lnTo>
                    <a:lnTo>
                      <a:pt x="503936" y="793104"/>
                    </a:lnTo>
                    <a:lnTo>
                      <a:pt x="504055" y="793163"/>
                    </a:lnTo>
                    <a:lnTo>
                      <a:pt x="442155" y="869657"/>
                    </a:lnTo>
                    <a:lnTo>
                      <a:pt x="442095" y="869657"/>
                    </a:lnTo>
                    <a:lnTo>
                      <a:pt x="440959" y="871032"/>
                    </a:lnTo>
                    <a:lnTo>
                      <a:pt x="441019" y="871092"/>
                    </a:lnTo>
                    <a:lnTo>
                      <a:pt x="407646" y="912419"/>
                    </a:lnTo>
                    <a:lnTo>
                      <a:pt x="407586" y="912419"/>
                    </a:lnTo>
                    <a:lnTo>
                      <a:pt x="406450" y="913794"/>
                    </a:lnTo>
                    <a:lnTo>
                      <a:pt x="406450" y="913854"/>
                    </a:lnTo>
                    <a:lnTo>
                      <a:pt x="357827" y="973961"/>
                    </a:lnTo>
                    <a:lnTo>
                      <a:pt x="356631" y="975396"/>
                    </a:lnTo>
                    <a:lnTo>
                      <a:pt x="348318" y="985683"/>
                    </a:lnTo>
                    <a:lnTo>
                      <a:pt x="509678" y="572834"/>
                    </a:lnTo>
                    <a:lnTo>
                      <a:pt x="511591" y="567869"/>
                    </a:lnTo>
                    <a:lnTo>
                      <a:pt x="518110" y="551363"/>
                    </a:lnTo>
                    <a:lnTo>
                      <a:pt x="518828" y="549568"/>
                    </a:lnTo>
                    <a:lnTo>
                      <a:pt x="518769" y="549568"/>
                    </a:lnTo>
                    <a:lnTo>
                      <a:pt x="526902" y="528935"/>
                    </a:lnTo>
                    <a:lnTo>
                      <a:pt x="533361" y="512488"/>
                    </a:lnTo>
                    <a:lnTo>
                      <a:pt x="534677" y="511112"/>
                    </a:lnTo>
                    <a:lnTo>
                      <a:pt x="534438" y="510993"/>
                    </a:lnTo>
                    <a:lnTo>
                      <a:pt x="546698" y="498732"/>
                    </a:lnTo>
                    <a:lnTo>
                      <a:pt x="546758" y="498732"/>
                    </a:lnTo>
                    <a:lnTo>
                      <a:pt x="587008" y="458542"/>
                    </a:lnTo>
                    <a:lnTo>
                      <a:pt x="587188" y="458662"/>
                    </a:lnTo>
                    <a:lnTo>
                      <a:pt x="588563" y="457286"/>
                    </a:lnTo>
                    <a:lnTo>
                      <a:pt x="588324" y="457167"/>
                    </a:lnTo>
                    <a:lnTo>
                      <a:pt x="600465" y="445026"/>
                    </a:lnTo>
                    <a:lnTo>
                      <a:pt x="600584" y="444906"/>
                    </a:lnTo>
                    <a:lnTo>
                      <a:pt x="628575" y="416976"/>
                    </a:lnTo>
                    <a:lnTo>
                      <a:pt x="628813" y="417036"/>
                    </a:lnTo>
                    <a:lnTo>
                      <a:pt x="630130" y="415660"/>
                    </a:lnTo>
                    <a:lnTo>
                      <a:pt x="629950" y="415600"/>
                    </a:lnTo>
                    <a:lnTo>
                      <a:pt x="642031" y="403519"/>
                    </a:lnTo>
                    <a:lnTo>
                      <a:pt x="642031" y="403459"/>
                    </a:lnTo>
                    <a:lnTo>
                      <a:pt x="686408" y="359142"/>
                    </a:lnTo>
                    <a:lnTo>
                      <a:pt x="686527" y="359202"/>
                    </a:lnTo>
                    <a:lnTo>
                      <a:pt x="687903" y="357826"/>
                    </a:lnTo>
                    <a:lnTo>
                      <a:pt x="687783" y="357707"/>
                    </a:lnTo>
                    <a:lnTo>
                      <a:pt x="695319" y="350231"/>
                    </a:lnTo>
                    <a:lnTo>
                      <a:pt x="695439" y="350291"/>
                    </a:lnTo>
                    <a:lnTo>
                      <a:pt x="696814" y="348975"/>
                    </a:lnTo>
                    <a:lnTo>
                      <a:pt x="696695" y="348915"/>
                    </a:lnTo>
                    <a:lnTo>
                      <a:pt x="699626" y="345925"/>
                    </a:lnTo>
                    <a:lnTo>
                      <a:pt x="708537" y="337074"/>
                    </a:lnTo>
                    <a:lnTo>
                      <a:pt x="736287" y="309323"/>
                    </a:lnTo>
                    <a:lnTo>
                      <a:pt x="736406" y="309383"/>
                    </a:lnTo>
                    <a:lnTo>
                      <a:pt x="737783" y="308007"/>
                    </a:lnTo>
                    <a:lnTo>
                      <a:pt x="737723" y="307947"/>
                    </a:lnTo>
                    <a:lnTo>
                      <a:pt x="749325" y="296285"/>
                    </a:lnTo>
                    <a:lnTo>
                      <a:pt x="765652" y="280017"/>
                    </a:lnTo>
                    <a:lnTo>
                      <a:pt x="765712" y="280017"/>
                    </a:lnTo>
                    <a:lnTo>
                      <a:pt x="767088" y="278642"/>
                    </a:lnTo>
                    <a:lnTo>
                      <a:pt x="767028" y="278582"/>
                    </a:lnTo>
                    <a:lnTo>
                      <a:pt x="778451" y="267159"/>
                    </a:lnTo>
                    <a:lnTo>
                      <a:pt x="778451" y="267099"/>
                    </a:lnTo>
                    <a:lnTo>
                      <a:pt x="804587" y="240963"/>
                    </a:lnTo>
                    <a:lnTo>
                      <a:pt x="804647" y="240963"/>
                    </a:lnTo>
                    <a:lnTo>
                      <a:pt x="806022" y="239588"/>
                    </a:lnTo>
                    <a:lnTo>
                      <a:pt x="811824" y="233727"/>
                    </a:lnTo>
                    <a:lnTo>
                      <a:pt x="811824" y="233786"/>
                    </a:lnTo>
                    <a:lnTo>
                      <a:pt x="813199" y="232411"/>
                    </a:lnTo>
                    <a:lnTo>
                      <a:pt x="817206" y="228404"/>
                    </a:lnTo>
                    <a:lnTo>
                      <a:pt x="821871" y="223739"/>
                    </a:lnTo>
                    <a:lnTo>
                      <a:pt x="746992" y="378879"/>
                    </a:lnTo>
                    <a:cubicBezTo>
                      <a:pt x="746992" y="378879"/>
                      <a:pt x="747172" y="378699"/>
                      <a:pt x="747471" y="378400"/>
                    </a:cubicBezTo>
                    <a:cubicBezTo>
                      <a:pt x="747770" y="378041"/>
                      <a:pt x="748189" y="377563"/>
                      <a:pt x="748787" y="376965"/>
                    </a:cubicBezTo>
                    <a:cubicBezTo>
                      <a:pt x="749325" y="376367"/>
                      <a:pt x="750043" y="375589"/>
                      <a:pt x="750820" y="374752"/>
                    </a:cubicBezTo>
                    <a:cubicBezTo>
                      <a:pt x="751598" y="373915"/>
                      <a:pt x="752495" y="372958"/>
                      <a:pt x="753452" y="371881"/>
                    </a:cubicBezTo>
                    <a:cubicBezTo>
                      <a:pt x="754408" y="370805"/>
                      <a:pt x="755485" y="369669"/>
                      <a:pt x="756561" y="368472"/>
                    </a:cubicBezTo>
                    <a:cubicBezTo>
                      <a:pt x="757698" y="367276"/>
                      <a:pt x="758834" y="366020"/>
                      <a:pt x="760031" y="364704"/>
                    </a:cubicBezTo>
                    <a:cubicBezTo>
                      <a:pt x="761227" y="363389"/>
                      <a:pt x="762483" y="362013"/>
                      <a:pt x="763739" y="360638"/>
                    </a:cubicBezTo>
                    <a:cubicBezTo>
                      <a:pt x="764994" y="359262"/>
                      <a:pt x="766310" y="357886"/>
                      <a:pt x="767566" y="356451"/>
                    </a:cubicBezTo>
                    <a:cubicBezTo>
                      <a:pt x="768882" y="355076"/>
                      <a:pt x="770138" y="353640"/>
                      <a:pt x="771454" y="352264"/>
                    </a:cubicBezTo>
                    <a:cubicBezTo>
                      <a:pt x="772770" y="350889"/>
                      <a:pt x="773966" y="349514"/>
                      <a:pt x="775221" y="348257"/>
                    </a:cubicBezTo>
                    <a:cubicBezTo>
                      <a:pt x="776418" y="346942"/>
                      <a:pt x="777614" y="345686"/>
                      <a:pt x="778691" y="344490"/>
                    </a:cubicBezTo>
                    <a:cubicBezTo>
                      <a:pt x="779826" y="343293"/>
                      <a:pt x="780843" y="342157"/>
                      <a:pt x="781801" y="341140"/>
                    </a:cubicBezTo>
                    <a:cubicBezTo>
                      <a:pt x="782757" y="340124"/>
                      <a:pt x="783654" y="339167"/>
                      <a:pt x="784432" y="338270"/>
                    </a:cubicBezTo>
                    <a:cubicBezTo>
                      <a:pt x="785209" y="337432"/>
                      <a:pt x="785867" y="336715"/>
                      <a:pt x="786465" y="336116"/>
                    </a:cubicBezTo>
                    <a:cubicBezTo>
                      <a:pt x="787004" y="335519"/>
                      <a:pt x="787482" y="335040"/>
                      <a:pt x="787781" y="334741"/>
                    </a:cubicBezTo>
                    <a:cubicBezTo>
                      <a:pt x="788080" y="334442"/>
                      <a:pt x="788260" y="334262"/>
                      <a:pt x="788260" y="334262"/>
                    </a:cubicBezTo>
                    <a:lnTo>
                      <a:pt x="783654" y="343413"/>
                    </a:lnTo>
                    <a:lnTo>
                      <a:pt x="783535" y="343353"/>
                    </a:lnTo>
                    <a:lnTo>
                      <a:pt x="783356" y="343772"/>
                    </a:lnTo>
                    <a:lnTo>
                      <a:pt x="783116" y="344191"/>
                    </a:lnTo>
                    <a:lnTo>
                      <a:pt x="782937" y="344609"/>
                    </a:lnTo>
                    <a:lnTo>
                      <a:pt x="782757" y="345028"/>
                    </a:lnTo>
                    <a:lnTo>
                      <a:pt x="782877" y="345147"/>
                    </a:lnTo>
                    <a:lnTo>
                      <a:pt x="707998" y="495323"/>
                    </a:lnTo>
                    <a:lnTo>
                      <a:pt x="707759" y="495742"/>
                    </a:lnTo>
                    <a:lnTo>
                      <a:pt x="707520" y="496161"/>
                    </a:lnTo>
                    <a:lnTo>
                      <a:pt x="707340" y="496579"/>
                    </a:lnTo>
                    <a:lnTo>
                      <a:pt x="707161" y="496998"/>
                    </a:lnTo>
                    <a:lnTo>
                      <a:pt x="707220" y="496998"/>
                    </a:lnTo>
                    <a:lnTo>
                      <a:pt x="702197" y="506986"/>
                    </a:lnTo>
                    <a:lnTo>
                      <a:pt x="701061" y="508362"/>
                    </a:lnTo>
                    <a:lnTo>
                      <a:pt x="701240" y="508481"/>
                    </a:lnTo>
                    <a:lnTo>
                      <a:pt x="697233" y="513265"/>
                    </a:lnTo>
                    <a:lnTo>
                      <a:pt x="697054" y="513146"/>
                    </a:lnTo>
                    <a:lnTo>
                      <a:pt x="695858" y="514581"/>
                    </a:lnTo>
                    <a:lnTo>
                      <a:pt x="695977" y="514641"/>
                    </a:lnTo>
                    <a:lnTo>
                      <a:pt x="681743" y="531566"/>
                    </a:lnTo>
                    <a:lnTo>
                      <a:pt x="658358" y="559736"/>
                    </a:lnTo>
                    <a:lnTo>
                      <a:pt x="644124" y="588862"/>
                    </a:lnTo>
                    <a:lnTo>
                      <a:pt x="643347" y="590537"/>
                    </a:lnTo>
                    <a:lnTo>
                      <a:pt x="625703" y="626780"/>
                    </a:lnTo>
                    <a:lnTo>
                      <a:pt x="624867" y="628394"/>
                    </a:lnTo>
                    <a:lnTo>
                      <a:pt x="611529" y="655846"/>
                    </a:lnTo>
                    <a:lnTo>
                      <a:pt x="610751" y="657461"/>
                    </a:lnTo>
                    <a:lnTo>
                      <a:pt x="606565" y="666013"/>
                    </a:lnTo>
                    <a:lnTo>
                      <a:pt x="605309" y="667688"/>
                    </a:lnTo>
                    <a:moveTo>
                      <a:pt x="606984" y="667807"/>
                    </a:moveTo>
                    <a:lnTo>
                      <a:pt x="606984" y="667807"/>
                    </a:lnTo>
                    <a:lnTo>
                      <a:pt x="607043" y="667688"/>
                    </a:lnTo>
                    <a:lnTo>
                      <a:pt x="607103" y="667568"/>
                    </a:lnTo>
                    <a:lnTo>
                      <a:pt x="607103" y="667508"/>
                    </a:lnTo>
                    <a:lnTo>
                      <a:pt x="612128" y="657281"/>
                    </a:lnTo>
                    <a:lnTo>
                      <a:pt x="626302" y="628215"/>
                    </a:lnTo>
                    <a:lnTo>
                      <a:pt x="644722" y="590357"/>
                    </a:lnTo>
                    <a:lnTo>
                      <a:pt x="659674" y="559736"/>
                    </a:lnTo>
                    <a:lnTo>
                      <a:pt x="697233" y="515000"/>
                    </a:lnTo>
                    <a:lnTo>
                      <a:pt x="697293" y="514940"/>
                    </a:lnTo>
                    <a:lnTo>
                      <a:pt x="697353" y="514880"/>
                    </a:lnTo>
                    <a:lnTo>
                      <a:pt x="702496" y="508780"/>
                    </a:lnTo>
                    <a:lnTo>
                      <a:pt x="702496" y="508720"/>
                    </a:lnTo>
                    <a:lnTo>
                      <a:pt x="702556" y="508660"/>
                    </a:lnTo>
                    <a:lnTo>
                      <a:pt x="702616" y="508541"/>
                    </a:lnTo>
                    <a:lnTo>
                      <a:pt x="702616" y="508481"/>
                    </a:lnTo>
                    <a:lnTo>
                      <a:pt x="702676" y="508421"/>
                    </a:lnTo>
                    <a:lnTo>
                      <a:pt x="708477" y="496759"/>
                    </a:lnTo>
                    <a:lnTo>
                      <a:pt x="784192" y="344968"/>
                    </a:lnTo>
                    <a:lnTo>
                      <a:pt x="791130" y="331093"/>
                    </a:lnTo>
                    <a:lnTo>
                      <a:pt x="791190" y="330973"/>
                    </a:lnTo>
                    <a:lnTo>
                      <a:pt x="791190" y="330913"/>
                    </a:lnTo>
                    <a:lnTo>
                      <a:pt x="791250" y="330794"/>
                    </a:lnTo>
                    <a:lnTo>
                      <a:pt x="791250" y="330734"/>
                    </a:lnTo>
                    <a:lnTo>
                      <a:pt x="791250" y="330554"/>
                    </a:lnTo>
                    <a:lnTo>
                      <a:pt x="791310" y="330435"/>
                    </a:lnTo>
                    <a:lnTo>
                      <a:pt x="791310" y="330315"/>
                    </a:lnTo>
                    <a:lnTo>
                      <a:pt x="791250" y="330196"/>
                    </a:lnTo>
                    <a:lnTo>
                      <a:pt x="791190" y="330136"/>
                    </a:lnTo>
                    <a:lnTo>
                      <a:pt x="791070" y="330076"/>
                    </a:lnTo>
                    <a:lnTo>
                      <a:pt x="775880" y="321165"/>
                    </a:lnTo>
                    <a:lnTo>
                      <a:pt x="792805" y="286357"/>
                    </a:lnTo>
                    <a:lnTo>
                      <a:pt x="817326" y="235999"/>
                    </a:lnTo>
                    <a:lnTo>
                      <a:pt x="824562" y="221107"/>
                    </a:lnTo>
                    <a:lnTo>
                      <a:pt x="824622" y="220988"/>
                    </a:lnTo>
                    <a:lnTo>
                      <a:pt x="824742" y="220868"/>
                    </a:lnTo>
                    <a:lnTo>
                      <a:pt x="824742" y="220808"/>
                    </a:lnTo>
                    <a:lnTo>
                      <a:pt x="824742" y="220689"/>
                    </a:lnTo>
                    <a:lnTo>
                      <a:pt x="824742" y="220509"/>
                    </a:lnTo>
                    <a:lnTo>
                      <a:pt x="824742" y="220449"/>
                    </a:lnTo>
                    <a:lnTo>
                      <a:pt x="824682" y="220330"/>
                    </a:lnTo>
                    <a:lnTo>
                      <a:pt x="824682" y="220210"/>
                    </a:lnTo>
                    <a:lnTo>
                      <a:pt x="824682" y="220151"/>
                    </a:lnTo>
                    <a:lnTo>
                      <a:pt x="824622" y="220091"/>
                    </a:lnTo>
                    <a:lnTo>
                      <a:pt x="824503" y="220031"/>
                    </a:lnTo>
                    <a:lnTo>
                      <a:pt x="789934" y="200474"/>
                    </a:lnTo>
                    <a:lnTo>
                      <a:pt x="723608" y="163034"/>
                    </a:lnTo>
                    <a:lnTo>
                      <a:pt x="688561" y="143238"/>
                    </a:lnTo>
                    <a:lnTo>
                      <a:pt x="655607" y="124638"/>
                    </a:lnTo>
                    <a:lnTo>
                      <a:pt x="592271" y="88933"/>
                    </a:lnTo>
                    <a:lnTo>
                      <a:pt x="558839" y="70034"/>
                    </a:lnTo>
                    <a:lnTo>
                      <a:pt x="527380" y="52271"/>
                    </a:lnTo>
                    <a:lnTo>
                      <a:pt x="466915" y="18181"/>
                    </a:lnTo>
                    <a:lnTo>
                      <a:pt x="434979" y="120"/>
                    </a:lnTo>
                    <a:lnTo>
                      <a:pt x="434619" y="0"/>
                    </a:lnTo>
                    <a:lnTo>
                      <a:pt x="434320" y="120"/>
                    </a:lnTo>
                    <a:lnTo>
                      <a:pt x="424213" y="4785"/>
                    </a:lnTo>
                    <a:lnTo>
                      <a:pt x="369429" y="30083"/>
                    </a:lnTo>
                    <a:lnTo>
                      <a:pt x="328462" y="48982"/>
                    </a:lnTo>
                    <a:lnTo>
                      <a:pt x="271465" y="75297"/>
                    </a:lnTo>
                    <a:lnTo>
                      <a:pt x="259145" y="80979"/>
                    </a:lnTo>
                    <a:lnTo>
                      <a:pt x="179422" y="117761"/>
                    </a:lnTo>
                    <a:lnTo>
                      <a:pt x="122546" y="144016"/>
                    </a:lnTo>
                    <a:lnTo>
                      <a:pt x="49401" y="177807"/>
                    </a:lnTo>
                    <a:lnTo>
                      <a:pt x="31340" y="186120"/>
                    </a:lnTo>
                    <a:lnTo>
                      <a:pt x="31280" y="186180"/>
                    </a:lnTo>
                    <a:lnTo>
                      <a:pt x="31220" y="186180"/>
                    </a:lnTo>
                    <a:lnTo>
                      <a:pt x="31100" y="186180"/>
                    </a:lnTo>
                    <a:lnTo>
                      <a:pt x="30801" y="186598"/>
                    </a:lnTo>
                    <a:lnTo>
                      <a:pt x="30801" y="186658"/>
                    </a:lnTo>
                    <a:lnTo>
                      <a:pt x="30621" y="187017"/>
                    </a:lnTo>
                    <a:lnTo>
                      <a:pt x="30621" y="187137"/>
                    </a:lnTo>
                    <a:lnTo>
                      <a:pt x="30621" y="187197"/>
                    </a:lnTo>
                    <a:lnTo>
                      <a:pt x="30621" y="187257"/>
                    </a:lnTo>
                    <a:lnTo>
                      <a:pt x="29545" y="206335"/>
                    </a:lnTo>
                    <a:lnTo>
                      <a:pt x="27033" y="249277"/>
                    </a:lnTo>
                    <a:lnTo>
                      <a:pt x="27093" y="249336"/>
                    </a:lnTo>
                    <a:lnTo>
                      <a:pt x="27093" y="249516"/>
                    </a:lnTo>
                    <a:lnTo>
                      <a:pt x="27153" y="249695"/>
                    </a:lnTo>
                    <a:lnTo>
                      <a:pt x="27272" y="249875"/>
                    </a:lnTo>
                    <a:lnTo>
                      <a:pt x="27392" y="249994"/>
                    </a:lnTo>
                    <a:lnTo>
                      <a:pt x="27452" y="250054"/>
                    </a:lnTo>
                    <a:lnTo>
                      <a:pt x="66327" y="275651"/>
                    </a:lnTo>
                    <a:lnTo>
                      <a:pt x="115728" y="308246"/>
                    </a:lnTo>
                    <a:lnTo>
                      <a:pt x="84687" y="326009"/>
                    </a:lnTo>
                    <a:lnTo>
                      <a:pt x="80800" y="323437"/>
                    </a:lnTo>
                    <a:lnTo>
                      <a:pt x="43600" y="298618"/>
                    </a:lnTo>
                    <a:lnTo>
                      <a:pt x="43480" y="298618"/>
                    </a:lnTo>
                    <a:lnTo>
                      <a:pt x="43301" y="298558"/>
                    </a:lnTo>
                    <a:lnTo>
                      <a:pt x="43181" y="298558"/>
                    </a:lnTo>
                    <a:lnTo>
                      <a:pt x="43002" y="298558"/>
                    </a:lnTo>
                    <a:lnTo>
                      <a:pt x="42822" y="298618"/>
                    </a:lnTo>
                    <a:lnTo>
                      <a:pt x="42762" y="298677"/>
                    </a:lnTo>
                    <a:lnTo>
                      <a:pt x="25119" y="308127"/>
                    </a:lnTo>
                    <a:lnTo>
                      <a:pt x="25000" y="308187"/>
                    </a:lnTo>
                    <a:lnTo>
                      <a:pt x="24940" y="308246"/>
                    </a:lnTo>
                    <a:lnTo>
                      <a:pt x="24641" y="308545"/>
                    </a:lnTo>
                    <a:lnTo>
                      <a:pt x="24641" y="308605"/>
                    </a:lnTo>
                    <a:lnTo>
                      <a:pt x="24522" y="309084"/>
                    </a:lnTo>
                    <a:lnTo>
                      <a:pt x="24462" y="309203"/>
                    </a:lnTo>
                    <a:lnTo>
                      <a:pt x="24462" y="309263"/>
                    </a:lnTo>
                    <a:lnTo>
                      <a:pt x="21352" y="363090"/>
                    </a:lnTo>
                    <a:lnTo>
                      <a:pt x="20335" y="380314"/>
                    </a:lnTo>
                    <a:lnTo>
                      <a:pt x="18720" y="407108"/>
                    </a:lnTo>
                    <a:lnTo>
                      <a:pt x="15131" y="469068"/>
                    </a:lnTo>
                    <a:lnTo>
                      <a:pt x="13397" y="498134"/>
                    </a:lnTo>
                    <a:lnTo>
                      <a:pt x="12560" y="513146"/>
                    </a:lnTo>
                    <a:lnTo>
                      <a:pt x="11483" y="530849"/>
                    </a:lnTo>
                    <a:lnTo>
                      <a:pt x="8553" y="581087"/>
                    </a:lnTo>
                    <a:lnTo>
                      <a:pt x="4845" y="644782"/>
                    </a:lnTo>
                    <a:lnTo>
                      <a:pt x="2213" y="689577"/>
                    </a:lnTo>
                    <a:lnTo>
                      <a:pt x="718" y="715474"/>
                    </a:lnTo>
                    <a:lnTo>
                      <a:pt x="0" y="727136"/>
                    </a:lnTo>
                    <a:lnTo>
                      <a:pt x="60" y="727136"/>
                    </a:lnTo>
                    <a:lnTo>
                      <a:pt x="60" y="727375"/>
                    </a:lnTo>
                    <a:lnTo>
                      <a:pt x="60" y="727495"/>
                    </a:lnTo>
                    <a:lnTo>
                      <a:pt x="180" y="727615"/>
                    </a:lnTo>
                    <a:lnTo>
                      <a:pt x="239" y="727734"/>
                    </a:lnTo>
                    <a:lnTo>
                      <a:pt x="28708" y="749265"/>
                    </a:lnTo>
                    <a:lnTo>
                      <a:pt x="82415" y="789993"/>
                    </a:lnTo>
                    <a:lnTo>
                      <a:pt x="110345" y="811285"/>
                    </a:lnTo>
                    <a:lnTo>
                      <a:pt x="140069" y="833772"/>
                    </a:lnTo>
                    <a:lnTo>
                      <a:pt x="196228" y="876355"/>
                    </a:lnTo>
                    <a:lnTo>
                      <a:pt x="225474" y="898544"/>
                    </a:lnTo>
                    <a:lnTo>
                      <a:pt x="256573" y="922108"/>
                    </a:lnTo>
                    <a:lnTo>
                      <a:pt x="315364" y="966664"/>
                    </a:lnTo>
                    <a:lnTo>
                      <a:pt x="346045" y="989869"/>
                    </a:lnTo>
                    <a:lnTo>
                      <a:pt x="346104" y="989929"/>
                    </a:lnTo>
                    <a:lnTo>
                      <a:pt x="346224" y="989989"/>
                    </a:lnTo>
                    <a:lnTo>
                      <a:pt x="346344" y="989989"/>
                    </a:lnTo>
                    <a:lnTo>
                      <a:pt x="346464" y="989989"/>
                    </a:lnTo>
                    <a:lnTo>
                      <a:pt x="346523" y="989989"/>
                    </a:lnTo>
                    <a:lnTo>
                      <a:pt x="346643" y="989929"/>
                    </a:lnTo>
                    <a:lnTo>
                      <a:pt x="346763" y="989929"/>
                    </a:lnTo>
                    <a:lnTo>
                      <a:pt x="346763" y="989869"/>
                    </a:lnTo>
                    <a:lnTo>
                      <a:pt x="346882" y="989750"/>
                    </a:lnTo>
                    <a:lnTo>
                      <a:pt x="347002" y="989630"/>
                    </a:lnTo>
                    <a:lnTo>
                      <a:pt x="358425" y="975516"/>
                    </a:lnTo>
                    <a:lnTo>
                      <a:pt x="408184" y="913974"/>
                    </a:lnTo>
                    <a:lnTo>
                      <a:pt x="442753" y="871272"/>
                    </a:lnTo>
                    <a:lnTo>
                      <a:pt x="505790" y="793283"/>
                    </a:lnTo>
                    <a:lnTo>
                      <a:pt x="511412" y="786285"/>
                    </a:lnTo>
                    <a:lnTo>
                      <a:pt x="535216" y="756920"/>
                    </a:lnTo>
                    <a:lnTo>
                      <a:pt x="563025" y="722531"/>
                    </a:lnTo>
                    <a:lnTo>
                      <a:pt x="600644" y="676001"/>
                    </a:lnTo>
                    <a:lnTo>
                      <a:pt x="606984" y="667807"/>
                    </a:lnTo>
                  </a:path>
                </a:pathLst>
              </a:custGeom>
              <a:noFill/>
              <a:ln w="6350" cap="flat">
                <a:solidFill>
                  <a:schemeClr val="bg1">
                    <a:alpha val="80000"/>
                  </a:schemeClr>
                </a:solidFill>
                <a:prstDash val="solid"/>
                <a:miter/>
              </a:ln>
            </p:spPr>
            <p:txBody>
              <a:bodyPr rtlCol="0" anchor="ctr"/>
              <a:lstStyle/>
              <a:p>
                <a:endParaRPr lang="en-GB"/>
              </a:p>
            </p:txBody>
          </p:sp>
          <p:grpSp>
            <p:nvGrpSpPr>
              <p:cNvPr id="7153" name="Graphic 3">
                <a:extLst>
                  <a:ext uri="{FF2B5EF4-FFF2-40B4-BE49-F238E27FC236}">
                    <a16:creationId xmlns:a16="http://schemas.microsoft.com/office/drawing/2014/main" id="{D244FDEB-B5EA-431B-8EC6-F11D81FC6D3C}"/>
                  </a:ext>
                </a:extLst>
              </p:cNvPr>
              <p:cNvGrpSpPr/>
              <p:nvPr/>
            </p:nvGrpSpPr>
            <p:grpSpPr>
              <a:xfrm>
                <a:off x="6456099" y="4685214"/>
                <a:ext cx="564031" cy="1174733"/>
                <a:chOff x="6456099" y="4685214"/>
                <a:chExt cx="564031" cy="1174733"/>
              </a:xfrm>
              <a:noFill/>
            </p:grpSpPr>
            <p:grpSp>
              <p:nvGrpSpPr>
                <p:cNvPr id="7154" name="Graphic 3">
                  <a:extLst>
                    <a:ext uri="{FF2B5EF4-FFF2-40B4-BE49-F238E27FC236}">
                      <a16:creationId xmlns:a16="http://schemas.microsoft.com/office/drawing/2014/main" id="{8728563E-4DBF-4DA6-9F5D-2B993A509542}"/>
                    </a:ext>
                  </a:extLst>
                </p:cNvPr>
                <p:cNvGrpSpPr/>
                <p:nvPr/>
              </p:nvGrpSpPr>
              <p:grpSpPr>
                <a:xfrm>
                  <a:off x="6467512" y="4736233"/>
                  <a:ext cx="552618" cy="1123714"/>
                  <a:chOff x="6467512" y="4736233"/>
                  <a:chExt cx="552618" cy="1123714"/>
                </a:xfrm>
                <a:grpFill/>
              </p:grpSpPr>
              <p:grpSp>
                <p:nvGrpSpPr>
                  <p:cNvPr id="7156" name="Graphic 3">
                    <a:extLst>
                      <a:ext uri="{FF2B5EF4-FFF2-40B4-BE49-F238E27FC236}">
                        <a16:creationId xmlns:a16="http://schemas.microsoft.com/office/drawing/2014/main" id="{582CFE0C-5F79-420A-84AC-07CDF0E8C35E}"/>
                      </a:ext>
                    </a:extLst>
                  </p:cNvPr>
                  <p:cNvGrpSpPr/>
                  <p:nvPr/>
                </p:nvGrpSpPr>
                <p:grpSpPr>
                  <a:xfrm>
                    <a:off x="6858610" y="5671311"/>
                    <a:ext cx="143677" cy="97157"/>
                    <a:chOff x="6858610" y="5671311"/>
                    <a:chExt cx="143677" cy="97157"/>
                  </a:xfrm>
                  <a:grpFill/>
                </p:grpSpPr>
                <p:sp>
                  <p:nvSpPr>
                    <p:cNvPr id="7163" name="Vrije vorm: vorm 7162">
                      <a:extLst>
                        <a:ext uri="{FF2B5EF4-FFF2-40B4-BE49-F238E27FC236}">
                          <a16:creationId xmlns:a16="http://schemas.microsoft.com/office/drawing/2014/main" id="{B1D1FCCE-1723-4296-B248-C92C1A94D18F}"/>
                        </a:ext>
                      </a:extLst>
                    </p:cNvPr>
                    <p:cNvSpPr/>
                    <p:nvPr/>
                  </p:nvSpPr>
                  <p:spPr>
                    <a:xfrm>
                      <a:off x="6910280" y="5694526"/>
                      <a:ext cx="24146" cy="14590"/>
                    </a:xfrm>
                    <a:custGeom>
                      <a:avLst/>
                      <a:gdLst>
                        <a:gd name="connsiteX0" fmla="*/ 16372 w 24146"/>
                        <a:gd name="connsiteY0" fmla="*/ 10344 h 14590"/>
                        <a:gd name="connsiteX1" fmla="*/ 19242 w 24146"/>
                        <a:gd name="connsiteY1" fmla="*/ 9507 h 14590"/>
                        <a:gd name="connsiteX2" fmla="*/ 24147 w 24146"/>
                        <a:gd name="connsiteY2" fmla="*/ 5141 h 14590"/>
                        <a:gd name="connsiteX3" fmla="*/ 8717 w 24146"/>
                        <a:gd name="connsiteY3" fmla="*/ 895 h 14590"/>
                        <a:gd name="connsiteX4" fmla="*/ 44 w 24146"/>
                        <a:gd name="connsiteY4" fmla="*/ 14591 h 14590"/>
                        <a:gd name="connsiteX5" fmla="*/ 6145 w 24146"/>
                        <a:gd name="connsiteY5" fmla="*/ 14591 h 14590"/>
                        <a:gd name="connsiteX6" fmla="*/ 9315 w 24146"/>
                        <a:gd name="connsiteY6" fmla="*/ 13036 h 1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6" h="14590">
                          <a:moveTo>
                            <a:pt x="16372" y="10344"/>
                          </a:moveTo>
                          <a:cubicBezTo>
                            <a:pt x="17329" y="10046"/>
                            <a:pt x="18286" y="9747"/>
                            <a:pt x="19242" y="9507"/>
                          </a:cubicBezTo>
                          <a:lnTo>
                            <a:pt x="24147" y="5141"/>
                          </a:lnTo>
                          <a:cubicBezTo>
                            <a:pt x="20559" y="596"/>
                            <a:pt x="14398" y="-1258"/>
                            <a:pt x="8717" y="895"/>
                          </a:cubicBezTo>
                          <a:cubicBezTo>
                            <a:pt x="2975" y="3048"/>
                            <a:pt x="-434" y="8730"/>
                            <a:pt x="44" y="14591"/>
                          </a:cubicBezTo>
                          <a:lnTo>
                            <a:pt x="6145" y="14591"/>
                          </a:lnTo>
                          <a:cubicBezTo>
                            <a:pt x="7162" y="14052"/>
                            <a:pt x="8238" y="13514"/>
                            <a:pt x="9315" y="13036"/>
                          </a:cubicBezTo>
                        </a:path>
                      </a:pathLst>
                    </a:custGeom>
                    <a:grpFill/>
                    <a:ln w="6350" cap="flat">
                      <a:solidFill>
                        <a:schemeClr val="bg1">
                          <a:alpha val="80000"/>
                        </a:schemeClr>
                      </a:solidFill>
                      <a:prstDash val="solid"/>
                      <a:miter/>
                    </a:ln>
                  </p:spPr>
                  <p:txBody>
                    <a:bodyPr rtlCol="0" anchor="ctr"/>
                    <a:lstStyle/>
                    <a:p>
                      <a:endParaRPr lang="en-GB"/>
                    </a:p>
                  </p:txBody>
                </p:sp>
                <p:sp>
                  <p:nvSpPr>
                    <p:cNvPr id="7164" name="Vrije vorm: vorm 7163">
                      <a:extLst>
                        <a:ext uri="{FF2B5EF4-FFF2-40B4-BE49-F238E27FC236}">
                          <a16:creationId xmlns:a16="http://schemas.microsoft.com/office/drawing/2014/main" id="{73F6C3EC-E0F5-45FB-B4B8-D29DB1F7A5A3}"/>
                        </a:ext>
                      </a:extLst>
                    </p:cNvPr>
                    <p:cNvSpPr/>
                    <p:nvPr/>
                  </p:nvSpPr>
                  <p:spPr>
                    <a:xfrm>
                      <a:off x="6935992" y="5680113"/>
                      <a:ext cx="6379" cy="16982"/>
                    </a:xfrm>
                    <a:custGeom>
                      <a:avLst/>
                      <a:gdLst>
                        <a:gd name="connsiteX0" fmla="*/ 5134 w 6379"/>
                        <a:gd name="connsiteY0" fmla="*/ 2270 h 16982"/>
                        <a:gd name="connsiteX1" fmla="*/ 5791 w 6379"/>
                        <a:gd name="connsiteY1" fmla="*/ 715 h 16982"/>
                        <a:gd name="connsiteX2" fmla="*/ 2383 w 6379"/>
                        <a:gd name="connsiteY2" fmla="*/ 356 h 16982"/>
                        <a:gd name="connsiteX3" fmla="*/ 50 w 6379"/>
                        <a:gd name="connsiteY3" fmla="*/ 2868 h 16982"/>
                        <a:gd name="connsiteX4" fmla="*/ 1426 w 6379"/>
                        <a:gd name="connsiteY4" fmla="*/ 3586 h 16982"/>
                        <a:gd name="connsiteX5" fmla="*/ 1485 w 6379"/>
                        <a:gd name="connsiteY5" fmla="*/ 16982 h 16982"/>
                        <a:gd name="connsiteX6" fmla="*/ 6210 w 6379"/>
                        <a:gd name="connsiteY6" fmla="*/ 12796 h 16982"/>
                        <a:gd name="connsiteX7" fmla="*/ 5134 w 6379"/>
                        <a:gd name="connsiteY7" fmla="*/ 2270 h 16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79" h="16982">
                          <a:moveTo>
                            <a:pt x="5134" y="2270"/>
                          </a:moveTo>
                          <a:cubicBezTo>
                            <a:pt x="5672" y="1732"/>
                            <a:pt x="5971" y="1193"/>
                            <a:pt x="5791" y="715"/>
                          </a:cubicBezTo>
                          <a:cubicBezTo>
                            <a:pt x="5492" y="-63"/>
                            <a:pt x="3997" y="-242"/>
                            <a:pt x="2383" y="356"/>
                          </a:cubicBezTo>
                          <a:cubicBezTo>
                            <a:pt x="828" y="954"/>
                            <a:pt x="-249" y="2090"/>
                            <a:pt x="50" y="2868"/>
                          </a:cubicBezTo>
                          <a:cubicBezTo>
                            <a:pt x="230" y="3287"/>
                            <a:pt x="768" y="3526"/>
                            <a:pt x="1426" y="3586"/>
                          </a:cubicBezTo>
                          <a:cubicBezTo>
                            <a:pt x="2861" y="8071"/>
                            <a:pt x="2801" y="12736"/>
                            <a:pt x="1485" y="16982"/>
                          </a:cubicBezTo>
                          <a:lnTo>
                            <a:pt x="6210" y="12796"/>
                          </a:lnTo>
                          <a:cubicBezTo>
                            <a:pt x="6629" y="9267"/>
                            <a:pt x="6270" y="5739"/>
                            <a:pt x="5134" y="227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165" name="Vrije vorm: vorm 7164">
                      <a:extLst>
                        <a:ext uri="{FF2B5EF4-FFF2-40B4-BE49-F238E27FC236}">
                          <a16:creationId xmlns:a16="http://schemas.microsoft.com/office/drawing/2014/main" id="{CDC813B9-1146-4F22-AEDF-0F4B1CB8214E}"/>
                        </a:ext>
                      </a:extLst>
                    </p:cNvPr>
                    <p:cNvSpPr/>
                    <p:nvPr/>
                  </p:nvSpPr>
                  <p:spPr>
                    <a:xfrm>
                      <a:off x="6890838" y="5697278"/>
                      <a:ext cx="13626" cy="11958"/>
                    </a:xfrm>
                    <a:custGeom>
                      <a:avLst/>
                      <a:gdLst>
                        <a:gd name="connsiteX0" fmla="*/ 5193 w 13626"/>
                        <a:gd name="connsiteY0" fmla="*/ 2150 h 11958"/>
                        <a:gd name="connsiteX1" fmla="*/ 5791 w 13626"/>
                        <a:gd name="connsiteY1" fmla="*/ 715 h 11958"/>
                        <a:gd name="connsiteX2" fmla="*/ 2382 w 13626"/>
                        <a:gd name="connsiteY2" fmla="*/ 356 h 11958"/>
                        <a:gd name="connsiteX3" fmla="*/ 50 w 13626"/>
                        <a:gd name="connsiteY3" fmla="*/ 2868 h 11958"/>
                        <a:gd name="connsiteX4" fmla="*/ 1605 w 13626"/>
                        <a:gd name="connsiteY4" fmla="*/ 3586 h 11958"/>
                        <a:gd name="connsiteX5" fmla="*/ 7406 w 13626"/>
                        <a:gd name="connsiteY5" fmla="*/ 11959 h 11958"/>
                        <a:gd name="connsiteX6" fmla="*/ 13626 w 13626"/>
                        <a:gd name="connsiteY6" fmla="*/ 11959 h 11958"/>
                        <a:gd name="connsiteX7" fmla="*/ 5193 w 13626"/>
                        <a:gd name="connsiteY7" fmla="*/ 2150 h 1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26" h="11958">
                          <a:moveTo>
                            <a:pt x="5193" y="2150"/>
                          </a:moveTo>
                          <a:cubicBezTo>
                            <a:pt x="5672" y="1672"/>
                            <a:pt x="5971" y="1134"/>
                            <a:pt x="5791" y="715"/>
                          </a:cubicBezTo>
                          <a:cubicBezTo>
                            <a:pt x="5493" y="-63"/>
                            <a:pt x="3997" y="-242"/>
                            <a:pt x="2382" y="356"/>
                          </a:cubicBezTo>
                          <a:cubicBezTo>
                            <a:pt x="827" y="954"/>
                            <a:pt x="-249" y="2090"/>
                            <a:pt x="50" y="2868"/>
                          </a:cubicBezTo>
                          <a:cubicBezTo>
                            <a:pt x="229" y="3346"/>
                            <a:pt x="827" y="3586"/>
                            <a:pt x="1605" y="3586"/>
                          </a:cubicBezTo>
                          <a:cubicBezTo>
                            <a:pt x="2980" y="6815"/>
                            <a:pt x="5014" y="9626"/>
                            <a:pt x="7406" y="11959"/>
                          </a:cubicBezTo>
                          <a:lnTo>
                            <a:pt x="13626" y="11959"/>
                          </a:lnTo>
                          <a:cubicBezTo>
                            <a:pt x="10038" y="9626"/>
                            <a:pt x="7048" y="6277"/>
                            <a:pt x="5193" y="215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166" name="Vrije vorm: vorm 7165">
                      <a:extLst>
                        <a:ext uri="{FF2B5EF4-FFF2-40B4-BE49-F238E27FC236}">
                          <a16:creationId xmlns:a16="http://schemas.microsoft.com/office/drawing/2014/main" id="{61C6A033-3E44-47E0-977A-1100E4F13F64}"/>
                        </a:ext>
                      </a:extLst>
                    </p:cNvPr>
                    <p:cNvSpPr/>
                    <p:nvPr/>
                  </p:nvSpPr>
                  <p:spPr>
                    <a:xfrm>
                      <a:off x="6971511" y="5706358"/>
                      <a:ext cx="8968" cy="4673"/>
                    </a:xfrm>
                    <a:custGeom>
                      <a:avLst/>
                      <a:gdLst>
                        <a:gd name="connsiteX0" fmla="*/ 7473 w 8968"/>
                        <a:gd name="connsiteY0" fmla="*/ 845 h 4673"/>
                        <a:gd name="connsiteX1" fmla="*/ 3107 w 8968"/>
                        <a:gd name="connsiteY1" fmla="*/ 487 h 4673"/>
                        <a:gd name="connsiteX2" fmla="*/ 57 w 8968"/>
                        <a:gd name="connsiteY2" fmla="*/ 3656 h 4673"/>
                        <a:gd name="connsiteX3" fmla="*/ 356 w 8968"/>
                        <a:gd name="connsiteY3" fmla="*/ 4374 h 4673"/>
                        <a:gd name="connsiteX4" fmla="*/ 8968 w 8968"/>
                        <a:gd name="connsiteY4" fmla="*/ 4673 h 4673"/>
                        <a:gd name="connsiteX5" fmla="*/ 7473 w 8968"/>
                        <a:gd name="connsiteY5" fmla="*/ 845 h 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8" h="4673">
                          <a:moveTo>
                            <a:pt x="7473" y="845"/>
                          </a:moveTo>
                          <a:cubicBezTo>
                            <a:pt x="7114" y="-111"/>
                            <a:pt x="5140" y="-291"/>
                            <a:pt x="3107" y="487"/>
                          </a:cubicBezTo>
                          <a:cubicBezTo>
                            <a:pt x="1074" y="1264"/>
                            <a:pt x="-302" y="2699"/>
                            <a:pt x="57" y="3656"/>
                          </a:cubicBezTo>
                          <a:lnTo>
                            <a:pt x="356" y="4374"/>
                          </a:lnTo>
                          <a:lnTo>
                            <a:pt x="8968" y="4673"/>
                          </a:lnTo>
                          <a:lnTo>
                            <a:pt x="7473" y="845"/>
                          </a:lnTo>
                          <a:close/>
                        </a:path>
                      </a:pathLst>
                    </a:custGeom>
                    <a:grpFill/>
                    <a:ln w="6350" cap="flat">
                      <a:solidFill>
                        <a:schemeClr val="bg1">
                          <a:alpha val="80000"/>
                        </a:schemeClr>
                      </a:solidFill>
                      <a:prstDash val="solid"/>
                      <a:miter/>
                    </a:ln>
                  </p:spPr>
                  <p:txBody>
                    <a:bodyPr rtlCol="0" anchor="ctr"/>
                    <a:lstStyle/>
                    <a:p>
                      <a:endParaRPr lang="en-GB"/>
                    </a:p>
                  </p:txBody>
                </p:sp>
                <p:sp>
                  <p:nvSpPr>
                    <p:cNvPr id="7167" name="Vrije vorm: vorm 7166">
                      <a:extLst>
                        <a:ext uri="{FF2B5EF4-FFF2-40B4-BE49-F238E27FC236}">
                          <a16:creationId xmlns:a16="http://schemas.microsoft.com/office/drawing/2014/main" id="{0A4E46E3-1CCD-45CE-8FA3-531C750E36B2}"/>
                        </a:ext>
                      </a:extLst>
                    </p:cNvPr>
                    <p:cNvSpPr/>
                    <p:nvPr/>
                  </p:nvSpPr>
                  <p:spPr>
                    <a:xfrm>
                      <a:off x="6882697" y="5740029"/>
                      <a:ext cx="7472" cy="6885"/>
                    </a:xfrm>
                    <a:custGeom>
                      <a:avLst/>
                      <a:gdLst>
                        <a:gd name="connsiteX0" fmla="*/ 7473 w 7472"/>
                        <a:gd name="connsiteY0" fmla="*/ 845 h 6885"/>
                        <a:gd name="connsiteX1" fmla="*/ 3107 w 7472"/>
                        <a:gd name="connsiteY1" fmla="*/ 487 h 6885"/>
                        <a:gd name="connsiteX2" fmla="*/ 57 w 7472"/>
                        <a:gd name="connsiteY2" fmla="*/ 3656 h 6885"/>
                        <a:gd name="connsiteX3" fmla="*/ 1253 w 7472"/>
                        <a:gd name="connsiteY3" fmla="*/ 6886 h 6885"/>
                        <a:gd name="connsiteX4" fmla="*/ 7473 w 7472"/>
                        <a:gd name="connsiteY4" fmla="*/ 965 h 6885"/>
                        <a:gd name="connsiteX5" fmla="*/ 7473 w 7472"/>
                        <a:gd name="connsiteY5" fmla="*/ 845 h 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72" h="6885">
                          <a:moveTo>
                            <a:pt x="7473" y="845"/>
                          </a:moveTo>
                          <a:cubicBezTo>
                            <a:pt x="7114" y="-111"/>
                            <a:pt x="5140" y="-291"/>
                            <a:pt x="3107" y="487"/>
                          </a:cubicBezTo>
                          <a:cubicBezTo>
                            <a:pt x="1074" y="1264"/>
                            <a:pt x="-302" y="2699"/>
                            <a:pt x="57" y="3656"/>
                          </a:cubicBezTo>
                          <a:lnTo>
                            <a:pt x="1253" y="6886"/>
                          </a:lnTo>
                          <a:lnTo>
                            <a:pt x="7473" y="965"/>
                          </a:lnTo>
                          <a:lnTo>
                            <a:pt x="7473" y="845"/>
                          </a:lnTo>
                          <a:close/>
                        </a:path>
                      </a:pathLst>
                    </a:custGeom>
                    <a:grpFill/>
                    <a:ln w="6350" cap="flat">
                      <a:solidFill>
                        <a:schemeClr val="bg1">
                          <a:alpha val="80000"/>
                        </a:schemeClr>
                      </a:solidFill>
                      <a:prstDash val="solid"/>
                      <a:miter/>
                    </a:ln>
                  </p:spPr>
                  <p:txBody>
                    <a:bodyPr rtlCol="0" anchor="ctr"/>
                    <a:lstStyle/>
                    <a:p>
                      <a:endParaRPr lang="en-GB"/>
                    </a:p>
                  </p:txBody>
                </p:sp>
                <p:sp>
                  <p:nvSpPr>
                    <p:cNvPr id="7168" name="Vrije vorm: vorm 7167">
                      <a:extLst>
                        <a:ext uri="{FF2B5EF4-FFF2-40B4-BE49-F238E27FC236}">
                          <a16:creationId xmlns:a16="http://schemas.microsoft.com/office/drawing/2014/main" id="{386CB265-2475-4D4A-B2AF-1F0172E92A87}"/>
                        </a:ext>
                      </a:extLst>
                    </p:cNvPr>
                    <p:cNvSpPr/>
                    <p:nvPr/>
                  </p:nvSpPr>
                  <p:spPr>
                    <a:xfrm>
                      <a:off x="6873203" y="5728196"/>
                      <a:ext cx="47587" cy="40272"/>
                    </a:xfrm>
                    <a:custGeom>
                      <a:avLst/>
                      <a:gdLst>
                        <a:gd name="connsiteX0" fmla="*/ 23725 w 47587"/>
                        <a:gd name="connsiteY0" fmla="*/ 32655 h 40272"/>
                        <a:gd name="connsiteX1" fmla="*/ 29227 w 47587"/>
                        <a:gd name="connsiteY1" fmla="*/ 30980 h 40272"/>
                        <a:gd name="connsiteX2" fmla="*/ 40172 w 47587"/>
                        <a:gd name="connsiteY2" fmla="*/ 24401 h 40272"/>
                        <a:gd name="connsiteX3" fmla="*/ 27433 w 47587"/>
                        <a:gd name="connsiteY3" fmla="*/ 26136 h 40272"/>
                        <a:gd name="connsiteX4" fmla="*/ 22887 w 47587"/>
                        <a:gd name="connsiteY4" fmla="*/ 28109 h 40272"/>
                        <a:gd name="connsiteX5" fmla="*/ 21990 w 47587"/>
                        <a:gd name="connsiteY5" fmla="*/ 25717 h 40272"/>
                        <a:gd name="connsiteX6" fmla="*/ 24802 w 47587"/>
                        <a:gd name="connsiteY6" fmla="*/ 24461 h 40272"/>
                        <a:gd name="connsiteX7" fmla="*/ 47588 w 47587"/>
                        <a:gd name="connsiteY7" fmla="*/ 4785 h 40272"/>
                        <a:gd name="connsiteX8" fmla="*/ 35686 w 47587"/>
                        <a:gd name="connsiteY8" fmla="*/ 0 h 40272"/>
                        <a:gd name="connsiteX9" fmla="*/ 11883 w 47587"/>
                        <a:gd name="connsiteY9" fmla="*/ 22547 h 40272"/>
                        <a:gd name="connsiteX10" fmla="*/ 11524 w 47587"/>
                        <a:gd name="connsiteY10" fmla="*/ 29485 h 40272"/>
                        <a:gd name="connsiteX11" fmla="*/ 14574 w 47587"/>
                        <a:gd name="connsiteY11" fmla="*/ 28528 h 40272"/>
                        <a:gd name="connsiteX12" fmla="*/ 15471 w 47587"/>
                        <a:gd name="connsiteY12" fmla="*/ 30920 h 40272"/>
                        <a:gd name="connsiteX13" fmla="*/ 10746 w 47587"/>
                        <a:gd name="connsiteY13" fmla="*/ 32475 h 40272"/>
                        <a:gd name="connsiteX14" fmla="*/ 41 w 47587"/>
                        <a:gd name="connsiteY14" fmla="*/ 39652 h 40272"/>
                        <a:gd name="connsiteX15" fmla="*/ 12541 w 47587"/>
                        <a:gd name="connsiteY15" fmla="*/ 37320 h 40272"/>
                        <a:gd name="connsiteX16" fmla="*/ 17804 w 47587"/>
                        <a:gd name="connsiteY16" fmla="*/ 34927 h 40272"/>
                        <a:gd name="connsiteX17" fmla="*/ 21273 w 47587"/>
                        <a:gd name="connsiteY17" fmla="*/ 35824 h 40272"/>
                        <a:gd name="connsiteX18" fmla="*/ 21572 w 47587"/>
                        <a:gd name="connsiteY18" fmla="*/ 35824 h 40272"/>
                        <a:gd name="connsiteX19" fmla="*/ 21811 w 47587"/>
                        <a:gd name="connsiteY19" fmla="*/ 35645 h 40272"/>
                        <a:gd name="connsiteX20" fmla="*/ 23725 w 47587"/>
                        <a:gd name="connsiteY20" fmla="*/ 32655 h 4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587" h="40272">
                          <a:moveTo>
                            <a:pt x="23725" y="32655"/>
                          </a:moveTo>
                          <a:cubicBezTo>
                            <a:pt x="25340" y="32296"/>
                            <a:pt x="27193" y="31758"/>
                            <a:pt x="29227" y="30980"/>
                          </a:cubicBezTo>
                          <a:cubicBezTo>
                            <a:pt x="35686" y="28528"/>
                            <a:pt x="40710" y="25897"/>
                            <a:pt x="40172" y="24401"/>
                          </a:cubicBezTo>
                          <a:cubicBezTo>
                            <a:pt x="39634" y="22906"/>
                            <a:pt x="33892" y="23684"/>
                            <a:pt x="27433" y="26136"/>
                          </a:cubicBezTo>
                          <a:cubicBezTo>
                            <a:pt x="25758" y="26794"/>
                            <a:pt x="24203" y="27451"/>
                            <a:pt x="22887" y="28109"/>
                          </a:cubicBezTo>
                          <a:lnTo>
                            <a:pt x="21990" y="25717"/>
                          </a:lnTo>
                          <a:cubicBezTo>
                            <a:pt x="22887" y="25298"/>
                            <a:pt x="23785" y="24880"/>
                            <a:pt x="24802" y="24461"/>
                          </a:cubicBezTo>
                          <a:lnTo>
                            <a:pt x="47588" y="4785"/>
                          </a:lnTo>
                          <a:cubicBezTo>
                            <a:pt x="42624" y="4306"/>
                            <a:pt x="38497" y="2392"/>
                            <a:pt x="35686" y="0"/>
                          </a:cubicBezTo>
                          <a:lnTo>
                            <a:pt x="11883" y="22547"/>
                          </a:lnTo>
                          <a:cubicBezTo>
                            <a:pt x="9850" y="24342"/>
                            <a:pt x="9730" y="27451"/>
                            <a:pt x="11524" y="29485"/>
                          </a:cubicBezTo>
                          <a:cubicBezTo>
                            <a:pt x="12601" y="29126"/>
                            <a:pt x="13618" y="28767"/>
                            <a:pt x="14574" y="28528"/>
                          </a:cubicBezTo>
                          <a:lnTo>
                            <a:pt x="15471" y="30920"/>
                          </a:lnTo>
                          <a:cubicBezTo>
                            <a:pt x="13976" y="31339"/>
                            <a:pt x="12361" y="31817"/>
                            <a:pt x="10746" y="32475"/>
                          </a:cubicBezTo>
                          <a:cubicBezTo>
                            <a:pt x="4287" y="34927"/>
                            <a:pt x="-497" y="38157"/>
                            <a:pt x="41" y="39652"/>
                          </a:cubicBezTo>
                          <a:cubicBezTo>
                            <a:pt x="579" y="41147"/>
                            <a:pt x="6082" y="39772"/>
                            <a:pt x="12541" y="37320"/>
                          </a:cubicBezTo>
                          <a:cubicBezTo>
                            <a:pt x="14634" y="36542"/>
                            <a:pt x="16369" y="35705"/>
                            <a:pt x="17804" y="34927"/>
                          </a:cubicBezTo>
                          <a:cubicBezTo>
                            <a:pt x="18940" y="35765"/>
                            <a:pt x="20615" y="35884"/>
                            <a:pt x="21273" y="35824"/>
                          </a:cubicBezTo>
                          <a:cubicBezTo>
                            <a:pt x="21452" y="35824"/>
                            <a:pt x="21572" y="35824"/>
                            <a:pt x="21572" y="35824"/>
                          </a:cubicBezTo>
                          <a:cubicBezTo>
                            <a:pt x="21572" y="35824"/>
                            <a:pt x="21632" y="35765"/>
                            <a:pt x="21811" y="35645"/>
                          </a:cubicBezTo>
                          <a:cubicBezTo>
                            <a:pt x="22289" y="35227"/>
                            <a:pt x="23485" y="34090"/>
                            <a:pt x="23725" y="3265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169" name="Vrije vorm: vorm 7168">
                      <a:extLst>
                        <a:ext uri="{FF2B5EF4-FFF2-40B4-BE49-F238E27FC236}">
                          <a16:creationId xmlns:a16="http://schemas.microsoft.com/office/drawing/2014/main" id="{948ED3D5-A37E-4720-96B3-24DD2DDC4F73}"/>
                        </a:ext>
                      </a:extLst>
                    </p:cNvPr>
                    <p:cNvSpPr/>
                    <p:nvPr/>
                  </p:nvSpPr>
                  <p:spPr>
                    <a:xfrm>
                      <a:off x="6942501" y="5713543"/>
                      <a:ext cx="59786" cy="21253"/>
                    </a:xfrm>
                    <a:custGeom>
                      <a:avLst/>
                      <a:gdLst>
                        <a:gd name="connsiteX0" fmla="*/ 43241 w 59786"/>
                        <a:gd name="connsiteY0" fmla="*/ 13636 h 21253"/>
                        <a:gd name="connsiteX1" fmla="*/ 48803 w 59786"/>
                        <a:gd name="connsiteY1" fmla="*/ 11961 h 21253"/>
                        <a:gd name="connsiteX2" fmla="*/ 59747 w 59786"/>
                        <a:gd name="connsiteY2" fmla="*/ 5383 h 21253"/>
                        <a:gd name="connsiteX3" fmla="*/ 47008 w 59786"/>
                        <a:gd name="connsiteY3" fmla="*/ 7117 h 21253"/>
                        <a:gd name="connsiteX4" fmla="*/ 42403 w 59786"/>
                        <a:gd name="connsiteY4" fmla="*/ 9091 h 21253"/>
                        <a:gd name="connsiteX5" fmla="*/ 41507 w 59786"/>
                        <a:gd name="connsiteY5" fmla="*/ 6698 h 21253"/>
                        <a:gd name="connsiteX6" fmla="*/ 43002 w 59786"/>
                        <a:gd name="connsiteY6" fmla="*/ 6041 h 21253"/>
                        <a:gd name="connsiteX7" fmla="*/ 43002 w 59786"/>
                        <a:gd name="connsiteY7" fmla="*/ 5981 h 21253"/>
                        <a:gd name="connsiteX8" fmla="*/ 38097 w 59786"/>
                        <a:gd name="connsiteY8" fmla="*/ 1017 h 21253"/>
                        <a:gd name="connsiteX9" fmla="*/ 5981 w 59786"/>
                        <a:gd name="connsiteY9" fmla="*/ 0 h 21253"/>
                        <a:gd name="connsiteX10" fmla="*/ 0 w 59786"/>
                        <a:gd name="connsiteY10" fmla="*/ 11423 h 21253"/>
                        <a:gd name="connsiteX11" fmla="*/ 29545 w 59786"/>
                        <a:gd name="connsiteY11" fmla="*/ 11005 h 21253"/>
                        <a:gd name="connsiteX12" fmla="*/ 34031 w 59786"/>
                        <a:gd name="connsiteY12" fmla="*/ 9510 h 21253"/>
                        <a:gd name="connsiteX13" fmla="*/ 34927 w 59786"/>
                        <a:gd name="connsiteY13" fmla="*/ 11902 h 21253"/>
                        <a:gd name="connsiteX14" fmla="*/ 30203 w 59786"/>
                        <a:gd name="connsiteY14" fmla="*/ 13457 h 21253"/>
                        <a:gd name="connsiteX15" fmla="*/ 19497 w 59786"/>
                        <a:gd name="connsiteY15" fmla="*/ 20634 h 21253"/>
                        <a:gd name="connsiteX16" fmla="*/ 31997 w 59786"/>
                        <a:gd name="connsiteY16" fmla="*/ 18301 h 21253"/>
                        <a:gd name="connsiteX17" fmla="*/ 37260 w 59786"/>
                        <a:gd name="connsiteY17" fmla="*/ 15909 h 21253"/>
                        <a:gd name="connsiteX18" fmla="*/ 40729 w 59786"/>
                        <a:gd name="connsiteY18" fmla="*/ 16806 h 21253"/>
                        <a:gd name="connsiteX19" fmla="*/ 41028 w 59786"/>
                        <a:gd name="connsiteY19" fmla="*/ 16806 h 21253"/>
                        <a:gd name="connsiteX20" fmla="*/ 41267 w 59786"/>
                        <a:gd name="connsiteY20" fmla="*/ 16627 h 21253"/>
                        <a:gd name="connsiteX21" fmla="*/ 43241 w 59786"/>
                        <a:gd name="connsiteY21" fmla="*/ 13636 h 2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786" h="21253">
                          <a:moveTo>
                            <a:pt x="43241" y="13636"/>
                          </a:moveTo>
                          <a:cubicBezTo>
                            <a:pt x="44855" y="13277"/>
                            <a:pt x="46710" y="12739"/>
                            <a:pt x="48803" y="11961"/>
                          </a:cubicBezTo>
                          <a:cubicBezTo>
                            <a:pt x="55262" y="9510"/>
                            <a:pt x="60285" y="6878"/>
                            <a:pt x="59747" y="5383"/>
                          </a:cubicBezTo>
                          <a:cubicBezTo>
                            <a:pt x="59209" y="3888"/>
                            <a:pt x="53468" y="4665"/>
                            <a:pt x="47008" y="7117"/>
                          </a:cubicBezTo>
                          <a:cubicBezTo>
                            <a:pt x="45334" y="7775"/>
                            <a:pt x="43779" y="8433"/>
                            <a:pt x="42403" y="9091"/>
                          </a:cubicBezTo>
                          <a:lnTo>
                            <a:pt x="41507" y="6698"/>
                          </a:lnTo>
                          <a:cubicBezTo>
                            <a:pt x="41985" y="6459"/>
                            <a:pt x="42463" y="6220"/>
                            <a:pt x="43002" y="6041"/>
                          </a:cubicBezTo>
                          <a:cubicBezTo>
                            <a:pt x="43002" y="6041"/>
                            <a:pt x="43002" y="6041"/>
                            <a:pt x="43002" y="5981"/>
                          </a:cubicBezTo>
                          <a:cubicBezTo>
                            <a:pt x="43002" y="3229"/>
                            <a:pt x="40848" y="1017"/>
                            <a:pt x="38097" y="1017"/>
                          </a:cubicBezTo>
                          <a:lnTo>
                            <a:pt x="5981" y="0"/>
                          </a:lnTo>
                          <a:cubicBezTo>
                            <a:pt x="5383" y="3648"/>
                            <a:pt x="3528" y="7835"/>
                            <a:pt x="0" y="11423"/>
                          </a:cubicBezTo>
                          <a:lnTo>
                            <a:pt x="29545" y="11005"/>
                          </a:lnTo>
                          <a:cubicBezTo>
                            <a:pt x="31100" y="10406"/>
                            <a:pt x="32595" y="9928"/>
                            <a:pt x="34031" y="9510"/>
                          </a:cubicBezTo>
                          <a:lnTo>
                            <a:pt x="34927" y="11902"/>
                          </a:lnTo>
                          <a:cubicBezTo>
                            <a:pt x="33432" y="12320"/>
                            <a:pt x="31818" y="12799"/>
                            <a:pt x="30203" y="13457"/>
                          </a:cubicBezTo>
                          <a:cubicBezTo>
                            <a:pt x="23743" y="15909"/>
                            <a:pt x="18959" y="19138"/>
                            <a:pt x="19497" y="20634"/>
                          </a:cubicBezTo>
                          <a:cubicBezTo>
                            <a:pt x="20035" y="22129"/>
                            <a:pt x="25538" y="20753"/>
                            <a:pt x="31997" y="18301"/>
                          </a:cubicBezTo>
                          <a:cubicBezTo>
                            <a:pt x="34091" y="17523"/>
                            <a:pt x="35824" y="16686"/>
                            <a:pt x="37260" y="15909"/>
                          </a:cubicBezTo>
                          <a:cubicBezTo>
                            <a:pt x="38397" y="16746"/>
                            <a:pt x="40071" y="16866"/>
                            <a:pt x="40729" y="16806"/>
                          </a:cubicBezTo>
                          <a:cubicBezTo>
                            <a:pt x="40908" y="16806"/>
                            <a:pt x="41028" y="16806"/>
                            <a:pt x="41028" y="16806"/>
                          </a:cubicBezTo>
                          <a:cubicBezTo>
                            <a:pt x="41028" y="16806"/>
                            <a:pt x="41088" y="16746"/>
                            <a:pt x="41267" y="16627"/>
                          </a:cubicBezTo>
                          <a:cubicBezTo>
                            <a:pt x="41805" y="16208"/>
                            <a:pt x="43002" y="15012"/>
                            <a:pt x="43241" y="1363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170" name="Vrije vorm: vorm 7169">
                      <a:extLst>
                        <a:ext uri="{FF2B5EF4-FFF2-40B4-BE49-F238E27FC236}">
                          <a16:creationId xmlns:a16="http://schemas.microsoft.com/office/drawing/2014/main" id="{0F930BED-33F6-4D07-82A1-AAE7DCCD5E19}"/>
                        </a:ext>
                      </a:extLst>
                    </p:cNvPr>
                    <p:cNvSpPr/>
                    <p:nvPr/>
                  </p:nvSpPr>
                  <p:spPr>
                    <a:xfrm>
                      <a:off x="6867566" y="5705520"/>
                      <a:ext cx="8549" cy="5151"/>
                    </a:xfrm>
                    <a:custGeom>
                      <a:avLst/>
                      <a:gdLst>
                        <a:gd name="connsiteX0" fmla="*/ 5619 w 8549"/>
                        <a:gd name="connsiteY0" fmla="*/ 3656 h 5151"/>
                        <a:gd name="connsiteX1" fmla="*/ 8550 w 8549"/>
                        <a:gd name="connsiteY1" fmla="*/ 3656 h 5151"/>
                        <a:gd name="connsiteX2" fmla="*/ 7473 w 8549"/>
                        <a:gd name="connsiteY2" fmla="*/ 845 h 5151"/>
                        <a:gd name="connsiteX3" fmla="*/ 3107 w 8549"/>
                        <a:gd name="connsiteY3" fmla="*/ 487 h 5151"/>
                        <a:gd name="connsiteX4" fmla="*/ 57 w 8549"/>
                        <a:gd name="connsiteY4" fmla="*/ 3656 h 5151"/>
                        <a:gd name="connsiteX5" fmla="*/ 655 w 8549"/>
                        <a:gd name="connsiteY5" fmla="*/ 5152 h 5151"/>
                        <a:gd name="connsiteX6" fmla="*/ 2509 w 8549"/>
                        <a:gd name="connsiteY6" fmla="*/ 4135 h 5151"/>
                        <a:gd name="connsiteX7" fmla="*/ 5619 w 8549"/>
                        <a:gd name="connsiteY7" fmla="*/ 3656 h 5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9" h="5151">
                          <a:moveTo>
                            <a:pt x="5619" y="3656"/>
                          </a:moveTo>
                          <a:lnTo>
                            <a:pt x="8550" y="3656"/>
                          </a:lnTo>
                          <a:lnTo>
                            <a:pt x="7473" y="845"/>
                          </a:lnTo>
                          <a:cubicBezTo>
                            <a:pt x="7114" y="-111"/>
                            <a:pt x="5140" y="-291"/>
                            <a:pt x="3107" y="487"/>
                          </a:cubicBezTo>
                          <a:cubicBezTo>
                            <a:pt x="1074" y="1264"/>
                            <a:pt x="-302" y="2699"/>
                            <a:pt x="57" y="3656"/>
                          </a:cubicBezTo>
                          <a:lnTo>
                            <a:pt x="655" y="5152"/>
                          </a:lnTo>
                          <a:cubicBezTo>
                            <a:pt x="1194" y="4733"/>
                            <a:pt x="1851" y="4434"/>
                            <a:pt x="2509" y="4135"/>
                          </a:cubicBezTo>
                          <a:cubicBezTo>
                            <a:pt x="3466" y="3836"/>
                            <a:pt x="4542" y="3656"/>
                            <a:pt x="5619" y="365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171" name="Vrije vorm: vorm 7170">
                      <a:extLst>
                        <a:ext uri="{FF2B5EF4-FFF2-40B4-BE49-F238E27FC236}">
                          <a16:creationId xmlns:a16="http://schemas.microsoft.com/office/drawing/2014/main" id="{D20FD151-E04F-4963-A437-24FA2F8C173A}"/>
                        </a:ext>
                      </a:extLst>
                    </p:cNvPr>
                    <p:cNvSpPr/>
                    <p:nvPr/>
                  </p:nvSpPr>
                  <p:spPr>
                    <a:xfrm>
                      <a:off x="6957815" y="5671311"/>
                      <a:ext cx="8011" cy="6706"/>
                    </a:xfrm>
                    <a:custGeom>
                      <a:avLst/>
                      <a:gdLst>
                        <a:gd name="connsiteX0" fmla="*/ 6755 w 8011"/>
                        <a:gd name="connsiteY0" fmla="*/ 2580 h 6706"/>
                        <a:gd name="connsiteX1" fmla="*/ 8011 w 8011"/>
                        <a:gd name="connsiteY1" fmla="*/ 2221 h 6706"/>
                        <a:gd name="connsiteX2" fmla="*/ 7473 w 8011"/>
                        <a:gd name="connsiteY2" fmla="*/ 845 h 6706"/>
                        <a:gd name="connsiteX3" fmla="*/ 3107 w 8011"/>
                        <a:gd name="connsiteY3" fmla="*/ 487 h 6706"/>
                        <a:gd name="connsiteX4" fmla="*/ 57 w 8011"/>
                        <a:gd name="connsiteY4" fmla="*/ 3656 h 6706"/>
                        <a:gd name="connsiteX5" fmla="*/ 1193 w 8011"/>
                        <a:gd name="connsiteY5" fmla="*/ 6706 h 6706"/>
                        <a:gd name="connsiteX6" fmla="*/ 3944 w 8011"/>
                        <a:gd name="connsiteY6" fmla="*/ 4255 h 6706"/>
                        <a:gd name="connsiteX7" fmla="*/ 6755 w 8011"/>
                        <a:gd name="connsiteY7" fmla="*/ 2580 h 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11" h="6706">
                          <a:moveTo>
                            <a:pt x="6755" y="2580"/>
                          </a:moveTo>
                          <a:cubicBezTo>
                            <a:pt x="7174" y="2401"/>
                            <a:pt x="7592" y="2281"/>
                            <a:pt x="8011" y="2221"/>
                          </a:cubicBezTo>
                          <a:lnTo>
                            <a:pt x="7473" y="845"/>
                          </a:lnTo>
                          <a:cubicBezTo>
                            <a:pt x="7114" y="-112"/>
                            <a:pt x="5141" y="-291"/>
                            <a:pt x="3107" y="487"/>
                          </a:cubicBezTo>
                          <a:cubicBezTo>
                            <a:pt x="1073" y="1264"/>
                            <a:pt x="-302" y="2699"/>
                            <a:pt x="57" y="3656"/>
                          </a:cubicBezTo>
                          <a:lnTo>
                            <a:pt x="1193" y="6706"/>
                          </a:lnTo>
                          <a:lnTo>
                            <a:pt x="3944" y="4255"/>
                          </a:lnTo>
                          <a:cubicBezTo>
                            <a:pt x="4841" y="3537"/>
                            <a:pt x="5738" y="2939"/>
                            <a:pt x="6755" y="258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7172" name="Vrije vorm: vorm 7171">
                      <a:extLst>
                        <a:ext uri="{FF2B5EF4-FFF2-40B4-BE49-F238E27FC236}">
                          <a16:creationId xmlns:a16="http://schemas.microsoft.com/office/drawing/2014/main" id="{BD2CF472-3FD5-4D8B-989B-11C7D8D4E8FD}"/>
                        </a:ext>
                      </a:extLst>
                    </p:cNvPr>
                    <p:cNvSpPr/>
                    <p:nvPr/>
                  </p:nvSpPr>
                  <p:spPr>
                    <a:xfrm>
                      <a:off x="6858610" y="5676792"/>
                      <a:ext cx="130520" cy="58602"/>
                    </a:xfrm>
                    <a:custGeom>
                      <a:avLst/>
                      <a:gdLst>
                        <a:gd name="connsiteX0" fmla="*/ 113974 w 130520"/>
                        <a:gd name="connsiteY0" fmla="*/ 16715 h 58602"/>
                        <a:gd name="connsiteX1" fmla="*/ 119536 w 130520"/>
                        <a:gd name="connsiteY1" fmla="*/ 15041 h 58602"/>
                        <a:gd name="connsiteX2" fmla="*/ 130481 w 130520"/>
                        <a:gd name="connsiteY2" fmla="*/ 8462 h 58602"/>
                        <a:gd name="connsiteX3" fmla="*/ 117742 w 130520"/>
                        <a:gd name="connsiteY3" fmla="*/ 10196 h 58602"/>
                        <a:gd name="connsiteX4" fmla="*/ 113197 w 130520"/>
                        <a:gd name="connsiteY4" fmla="*/ 12170 h 58602"/>
                        <a:gd name="connsiteX5" fmla="*/ 112001 w 130520"/>
                        <a:gd name="connsiteY5" fmla="*/ 8940 h 58602"/>
                        <a:gd name="connsiteX6" fmla="*/ 112419 w 130520"/>
                        <a:gd name="connsiteY6" fmla="*/ 8522 h 58602"/>
                        <a:gd name="connsiteX7" fmla="*/ 112659 w 130520"/>
                        <a:gd name="connsiteY7" fmla="*/ 1584 h 58602"/>
                        <a:gd name="connsiteX8" fmla="*/ 107276 w 130520"/>
                        <a:gd name="connsiteY8" fmla="*/ 328 h 58602"/>
                        <a:gd name="connsiteX9" fmla="*/ 105661 w 130520"/>
                        <a:gd name="connsiteY9" fmla="*/ 1345 h 58602"/>
                        <a:gd name="connsiteX10" fmla="*/ 73185 w 130520"/>
                        <a:gd name="connsiteY10" fmla="*/ 30112 h 58602"/>
                        <a:gd name="connsiteX11" fmla="*/ 65769 w 130520"/>
                        <a:gd name="connsiteY11" fmla="*/ 32445 h 58602"/>
                        <a:gd name="connsiteX12" fmla="*/ 58174 w 130520"/>
                        <a:gd name="connsiteY12" fmla="*/ 35913 h 58602"/>
                        <a:gd name="connsiteX13" fmla="*/ 14575 w 130520"/>
                        <a:gd name="connsiteY13" fmla="*/ 35913 h 58602"/>
                        <a:gd name="connsiteX14" fmla="*/ 12720 w 130520"/>
                        <a:gd name="connsiteY14" fmla="*/ 36213 h 58602"/>
                        <a:gd name="connsiteX15" fmla="*/ 9551 w 130520"/>
                        <a:gd name="connsiteY15" fmla="*/ 40698 h 58602"/>
                        <a:gd name="connsiteX16" fmla="*/ 14096 w 130520"/>
                        <a:gd name="connsiteY16" fmla="*/ 45722 h 58602"/>
                        <a:gd name="connsiteX17" fmla="*/ 15472 w 130520"/>
                        <a:gd name="connsiteY17" fmla="*/ 49250 h 58602"/>
                        <a:gd name="connsiteX18" fmla="*/ 10747 w 130520"/>
                        <a:gd name="connsiteY18" fmla="*/ 50805 h 58602"/>
                        <a:gd name="connsiteX19" fmla="*/ 41 w 130520"/>
                        <a:gd name="connsiteY19" fmla="*/ 57982 h 58602"/>
                        <a:gd name="connsiteX20" fmla="*/ 12542 w 130520"/>
                        <a:gd name="connsiteY20" fmla="*/ 55650 h 58602"/>
                        <a:gd name="connsiteX21" fmla="*/ 17805 w 130520"/>
                        <a:gd name="connsiteY21" fmla="*/ 53257 h 58602"/>
                        <a:gd name="connsiteX22" fmla="*/ 21273 w 130520"/>
                        <a:gd name="connsiteY22" fmla="*/ 54155 h 58602"/>
                        <a:gd name="connsiteX23" fmla="*/ 21572 w 130520"/>
                        <a:gd name="connsiteY23" fmla="*/ 54155 h 58602"/>
                        <a:gd name="connsiteX24" fmla="*/ 21811 w 130520"/>
                        <a:gd name="connsiteY24" fmla="*/ 53975 h 58602"/>
                        <a:gd name="connsiteX25" fmla="*/ 23785 w 130520"/>
                        <a:gd name="connsiteY25" fmla="*/ 50985 h 58602"/>
                        <a:gd name="connsiteX26" fmla="*/ 29347 w 130520"/>
                        <a:gd name="connsiteY26" fmla="*/ 49310 h 58602"/>
                        <a:gd name="connsiteX27" fmla="*/ 40291 w 130520"/>
                        <a:gd name="connsiteY27" fmla="*/ 42731 h 58602"/>
                        <a:gd name="connsiteX28" fmla="*/ 27552 w 130520"/>
                        <a:gd name="connsiteY28" fmla="*/ 44466 h 58602"/>
                        <a:gd name="connsiteX29" fmla="*/ 23008 w 130520"/>
                        <a:gd name="connsiteY29" fmla="*/ 46439 h 58602"/>
                        <a:gd name="connsiteX30" fmla="*/ 22111 w 130520"/>
                        <a:gd name="connsiteY30" fmla="*/ 44047 h 58602"/>
                        <a:gd name="connsiteX31" fmla="*/ 26656 w 130520"/>
                        <a:gd name="connsiteY31" fmla="*/ 42073 h 58602"/>
                        <a:gd name="connsiteX32" fmla="*/ 42744 w 130520"/>
                        <a:gd name="connsiteY32" fmla="*/ 41834 h 58602"/>
                        <a:gd name="connsiteX33" fmla="*/ 40291 w 130520"/>
                        <a:gd name="connsiteY33" fmla="*/ 46918 h 58602"/>
                        <a:gd name="connsiteX34" fmla="*/ 51296 w 130520"/>
                        <a:gd name="connsiteY34" fmla="*/ 47396 h 58602"/>
                        <a:gd name="connsiteX35" fmla="*/ 73007 w 130520"/>
                        <a:gd name="connsiteY35" fmla="*/ 51104 h 58602"/>
                        <a:gd name="connsiteX36" fmla="*/ 86702 w 130520"/>
                        <a:gd name="connsiteY36" fmla="*/ 33521 h 58602"/>
                        <a:gd name="connsiteX37" fmla="*/ 93700 w 130520"/>
                        <a:gd name="connsiteY37" fmla="*/ 26703 h 58602"/>
                        <a:gd name="connsiteX38" fmla="*/ 88018 w 130520"/>
                        <a:gd name="connsiteY38" fmla="*/ 24550 h 58602"/>
                        <a:gd name="connsiteX39" fmla="*/ 100218 w 130520"/>
                        <a:gd name="connsiteY39" fmla="*/ 14084 h 58602"/>
                        <a:gd name="connsiteX40" fmla="*/ 104943 w 130520"/>
                        <a:gd name="connsiteY40" fmla="*/ 12529 h 58602"/>
                        <a:gd name="connsiteX41" fmla="*/ 105841 w 130520"/>
                        <a:gd name="connsiteY41" fmla="*/ 14921 h 58602"/>
                        <a:gd name="connsiteX42" fmla="*/ 101116 w 130520"/>
                        <a:gd name="connsiteY42" fmla="*/ 16476 h 58602"/>
                        <a:gd name="connsiteX43" fmla="*/ 90410 w 130520"/>
                        <a:gd name="connsiteY43" fmla="*/ 23653 h 58602"/>
                        <a:gd name="connsiteX44" fmla="*/ 102910 w 130520"/>
                        <a:gd name="connsiteY44" fmla="*/ 21320 h 58602"/>
                        <a:gd name="connsiteX45" fmla="*/ 108173 w 130520"/>
                        <a:gd name="connsiteY45" fmla="*/ 18928 h 58602"/>
                        <a:gd name="connsiteX46" fmla="*/ 111642 w 130520"/>
                        <a:gd name="connsiteY46" fmla="*/ 19825 h 58602"/>
                        <a:gd name="connsiteX47" fmla="*/ 111941 w 130520"/>
                        <a:gd name="connsiteY47" fmla="*/ 19825 h 58602"/>
                        <a:gd name="connsiteX48" fmla="*/ 112180 w 130520"/>
                        <a:gd name="connsiteY48" fmla="*/ 19646 h 58602"/>
                        <a:gd name="connsiteX49" fmla="*/ 113974 w 130520"/>
                        <a:gd name="connsiteY49" fmla="*/ 16715 h 5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0520" h="58602">
                          <a:moveTo>
                            <a:pt x="113974" y="16715"/>
                          </a:moveTo>
                          <a:cubicBezTo>
                            <a:pt x="115589" y="16356"/>
                            <a:pt x="117443" y="15818"/>
                            <a:pt x="119536" y="15041"/>
                          </a:cubicBezTo>
                          <a:cubicBezTo>
                            <a:pt x="125996" y="12589"/>
                            <a:pt x="131019" y="9957"/>
                            <a:pt x="130481" y="8462"/>
                          </a:cubicBezTo>
                          <a:cubicBezTo>
                            <a:pt x="129943" y="6967"/>
                            <a:pt x="124201" y="7744"/>
                            <a:pt x="117742" y="10196"/>
                          </a:cubicBezTo>
                          <a:cubicBezTo>
                            <a:pt x="116067" y="10854"/>
                            <a:pt x="114512" y="11512"/>
                            <a:pt x="113197" y="12170"/>
                          </a:cubicBezTo>
                          <a:lnTo>
                            <a:pt x="112001" y="8940"/>
                          </a:lnTo>
                          <a:lnTo>
                            <a:pt x="112419" y="8522"/>
                          </a:lnTo>
                          <a:cubicBezTo>
                            <a:pt x="114393" y="6668"/>
                            <a:pt x="114512" y="3558"/>
                            <a:pt x="112659" y="1584"/>
                          </a:cubicBezTo>
                          <a:cubicBezTo>
                            <a:pt x="111223" y="89"/>
                            <a:pt x="109130" y="-390"/>
                            <a:pt x="107276" y="328"/>
                          </a:cubicBezTo>
                          <a:cubicBezTo>
                            <a:pt x="106678" y="567"/>
                            <a:pt x="106139" y="866"/>
                            <a:pt x="105661" y="1345"/>
                          </a:cubicBezTo>
                          <a:lnTo>
                            <a:pt x="73185" y="30112"/>
                          </a:lnTo>
                          <a:cubicBezTo>
                            <a:pt x="70854" y="30650"/>
                            <a:pt x="68341" y="31428"/>
                            <a:pt x="65769" y="32445"/>
                          </a:cubicBezTo>
                          <a:cubicBezTo>
                            <a:pt x="62959" y="33521"/>
                            <a:pt x="60446" y="34657"/>
                            <a:pt x="58174" y="35913"/>
                          </a:cubicBezTo>
                          <a:lnTo>
                            <a:pt x="14575" y="35913"/>
                          </a:lnTo>
                          <a:cubicBezTo>
                            <a:pt x="13917" y="35913"/>
                            <a:pt x="13319" y="36033"/>
                            <a:pt x="12720" y="36213"/>
                          </a:cubicBezTo>
                          <a:cubicBezTo>
                            <a:pt x="10927" y="36930"/>
                            <a:pt x="9610" y="38664"/>
                            <a:pt x="9551" y="40698"/>
                          </a:cubicBezTo>
                          <a:cubicBezTo>
                            <a:pt x="9491" y="43330"/>
                            <a:pt x="11525" y="45542"/>
                            <a:pt x="14096" y="45722"/>
                          </a:cubicBezTo>
                          <a:lnTo>
                            <a:pt x="15472" y="49250"/>
                          </a:lnTo>
                          <a:cubicBezTo>
                            <a:pt x="13977" y="49669"/>
                            <a:pt x="12362" y="50147"/>
                            <a:pt x="10747" y="50805"/>
                          </a:cubicBezTo>
                          <a:cubicBezTo>
                            <a:pt x="4288" y="53257"/>
                            <a:pt x="-497" y="56487"/>
                            <a:pt x="41" y="57982"/>
                          </a:cubicBezTo>
                          <a:cubicBezTo>
                            <a:pt x="580" y="59477"/>
                            <a:pt x="6082" y="58102"/>
                            <a:pt x="12542" y="55650"/>
                          </a:cubicBezTo>
                          <a:cubicBezTo>
                            <a:pt x="14635" y="54872"/>
                            <a:pt x="16369" y="54035"/>
                            <a:pt x="17805" y="53257"/>
                          </a:cubicBezTo>
                          <a:cubicBezTo>
                            <a:pt x="18941" y="54095"/>
                            <a:pt x="20615" y="54214"/>
                            <a:pt x="21273" y="54155"/>
                          </a:cubicBezTo>
                          <a:cubicBezTo>
                            <a:pt x="21453" y="54155"/>
                            <a:pt x="21572" y="54155"/>
                            <a:pt x="21572" y="54155"/>
                          </a:cubicBezTo>
                          <a:cubicBezTo>
                            <a:pt x="21572" y="54155"/>
                            <a:pt x="21632" y="54095"/>
                            <a:pt x="21811" y="53975"/>
                          </a:cubicBezTo>
                          <a:cubicBezTo>
                            <a:pt x="22290" y="53556"/>
                            <a:pt x="23546" y="52420"/>
                            <a:pt x="23785" y="50985"/>
                          </a:cubicBezTo>
                          <a:cubicBezTo>
                            <a:pt x="25399" y="50626"/>
                            <a:pt x="27254" y="50087"/>
                            <a:pt x="29347" y="49310"/>
                          </a:cubicBezTo>
                          <a:cubicBezTo>
                            <a:pt x="35806" y="46858"/>
                            <a:pt x="40830" y="44226"/>
                            <a:pt x="40291" y="42731"/>
                          </a:cubicBezTo>
                          <a:cubicBezTo>
                            <a:pt x="39753" y="41236"/>
                            <a:pt x="34012" y="42014"/>
                            <a:pt x="27552" y="44466"/>
                          </a:cubicBezTo>
                          <a:cubicBezTo>
                            <a:pt x="25878" y="45124"/>
                            <a:pt x="24383" y="45782"/>
                            <a:pt x="23008" y="46439"/>
                          </a:cubicBezTo>
                          <a:lnTo>
                            <a:pt x="22111" y="44047"/>
                          </a:lnTo>
                          <a:cubicBezTo>
                            <a:pt x="23546" y="43330"/>
                            <a:pt x="25041" y="42671"/>
                            <a:pt x="26656" y="42073"/>
                          </a:cubicBezTo>
                          <a:cubicBezTo>
                            <a:pt x="31919" y="40100"/>
                            <a:pt x="41069" y="37349"/>
                            <a:pt x="42744" y="41834"/>
                          </a:cubicBezTo>
                          <a:cubicBezTo>
                            <a:pt x="43402" y="43629"/>
                            <a:pt x="42744" y="45243"/>
                            <a:pt x="40291" y="46918"/>
                          </a:cubicBezTo>
                          <a:lnTo>
                            <a:pt x="51296" y="47396"/>
                          </a:lnTo>
                          <a:cubicBezTo>
                            <a:pt x="54526" y="51104"/>
                            <a:pt x="62421" y="55171"/>
                            <a:pt x="73007" y="51104"/>
                          </a:cubicBezTo>
                          <a:cubicBezTo>
                            <a:pt x="83831" y="46978"/>
                            <a:pt x="86881" y="38306"/>
                            <a:pt x="86702" y="33521"/>
                          </a:cubicBezTo>
                          <a:lnTo>
                            <a:pt x="93700" y="26703"/>
                          </a:lnTo>
                          <a:cubicBezTo>
                            <a:pt x="90410" y="27182"/>
                            <a:pt x="88736" y="26464"/>
                            <a:pt x="88018" y="24550"/>
                          </a:cubicBezTo>
                          <a:cubicBezTo>
                            <a:pt x="86343" y="20124"/>
                            <a:pt x="94955" y="16057"/>
                            <a:pt x="100218" y="14084"/>
                          </a:cubicBezTo>
                          <a:cubicBezTo>
                            <a:pt x="101833" y="13485"/>
                            <a:pt x="103448" y="12947"/>
                            <a:pt x="104943" y="12529"/>
                          </a:cubicBezTo>
                          <a:lnTo>
                            <a:pt x="105841" y="14921"/>
                          </a:lnTo>
                          <a:cubicBezTo>
                            <a:pt x="104345" y="15339"/>
                            <a:pt x="102731" y="15818"/>
                            <a:pt x="101116" y="16476"/>
                          </a:cubicBezTo>
                          <a:cubicBezTo>
                            <a:pt x="94657" y="18928"/>
                            <a:pt x="89872" y="22158"/>
                            <a:pt x="90410" y="23653"/>
                          </a:cubicBezTo>
                          <a:cubicBezTo>
                            <a:pt x="90949" y="25148"/>
                            <a:pt x="96450" y="23773"/>
                            <a:pt x="102910" y="21320"/>
                          </a:cubicBezTo>
                          <a:cubicBezTo>
                            <a:pt x="105003" y="20543"/>
                            <a:pt x="106738" y="19706"/>
                            <a:pt x="108173" y="18928"/>
                          </a:cubicBezTo>
                          <a:cubicBezTo>
                            <a:pt x="109309" y="19825"/>
                            <a:pt x="110984" y="19885"/>
                            <a:pt x="111642" y="19825"/>
                          </a:cubicBezTo>
                          <a:cubicBezTo>
                            <a:pt x="111821" y="19825"/>
                            <a:pt x="111941" y="19825"/>
                            <a:pt x="111941" y="19825"/>
                          </a:cubicBezTo>
                          <a:cubicBezTo>
                            <a:pt x="111941" y="19825"/>
                            <a:pt x="112001" y="19766"/>
                            <a:pt x="112180" y="19646"/>
                          </a:cubicBezTo>
                          <a:cubicBezTo>
                            <a:pt x="112479" y="19287"/>
                            <a:pt x="113675" y="18151"/>
                            <a:pt x="113974" y="16715"/>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7157" name="Vrije vorm: vorm 7156">
                    <a:extLst>
                      <a:ext uri="{FF2B5EF4-FFF2-40B4-BE49-F238E27FC236}">
                        <a16:creationId xmlns:a16="http://schemas.microsoft.com/office/drawing/2014/main" id="{829B537E-CDD1-43F3-AB33-13DB48EB0731}"/>
                      </a:ext>
                    </a:extLst>
                  </p:cNvPr>
                  <p:cNvSpPr/>
                  <p:nvPr/>
                </p:nvSpPr>
                <p:spPr>
                  <a:xfrm>
                    <a:off x="6833413" y="4736233"/>
                    <a:ext cx="97306" cy="948123"/>
                  </a:xfrm>
                  <a:custGeom>
                    <a:avLst/>
                    <a:gdLst>
                      <a:gd name="connsiteX0" fmla="*/ 0 w 97306"/>
                      <a:gd name="connsiteY0" fmla="*/ 0 h 948123"/>
                      <a:gd name="connsiteX1" fmla="*/ 97306 w 97306"/>
                      <a:gd name="connsiteY1" fmla="*/ 948124 h 948123"/>
                    </a:gdLst>
                    <a:ahLst/>
                    <a:cxnLst>
                      <a:cxn ang="0">
                        <a:pos x="connsiteX0" y="connsiteY0"/>
                      </a:cxn>
                      <a:cxn ang="0">
                        <a:pos x="connsiteX1" y="connsiteY1"/>
                      </a:cxn>
                    </a:cxnLst>
                    <a:rect l="l" t="t" r="r" b="b"/>
                    <a:pathLst>
                      <a:path w="97306" h="948123">
                        <a:moveTo>
                          <a:pt x="0" y="0"/>
                        </a:moveTo>
                        <a:lnTo>
                          <a:pt x="97306" y="948124"/>
                        </a:lnTo>
                      </a:path>
                    </a:pathLst>
                  </a:custGeom>
                  <a:grpFill/>
                  <a:ln w="6350" cap="flat">
                    <a:solidFill>
                      <a:schemeClr val="bg1">
                        <a:alpha val="80000"/>
                      </a:schemeClr>
                    </a:solidFill>
                    <a:prstDash val="solid"/>
                    <a:miter/>
                  </a:ln>
                </p:spPr>
                <p:txBody>
                  <a:bodyPr rtlCol="0" anchor="ctr"/>
                  <a:lstStyle/>
                  <a:p>
                    <a:endParaRPr lang="en-GB"/>
                  </a:p>
                </p:txBody>
              </p:sp>
              <p:sp>
                <p:nvSpPr>
                  <p:cNvPr id="7158" name="Vrije vorm: vorm 7157">
                    <a:extLst>
                      <a:ext uri="{FF2B5EF4-FFF2-40B4-BE49-F238E27FC236}">
                        <a16:creationId xmlns:a16="http://schemas.microsoft.com/office/drawing/2014/main" id="{DFCA784B-BCAC-4877-BB16-24BEB26B2399}"/>
                      </a:ext>
                    </a:extLst>
                  </p:cNvPr>
                  <p:cNvSpPr/>
                  <p:nvPr/>
                </p:nvSpPr>
                <p:spPr>
                  <a:xfrm>
                    <a:off x="6467512" y="4833719"/>
                    <a:ext cx="437310" cy="854525"/>
                  </a:xfrm>
                  <a:custGeom>
                    <a:avLst/>
                    <a:gdLst>
                      <a:gd name="connsiteX0" fmla="*/ 437311 w 437310"/>
                      <a:gd name="connsiteY0" fmla="*/ 854526 h 854525"/>
                      <a:gd name="connsiteX1" fmla="*/ 0 w 437310"/>
                      <a:gd name="connsiteY1" fmla="*/ 0 h 854525"/>
                    </a:gdLst>
                    <a:ahLst/>
                    <a:cxnLst>
                      <a:cxn ang="0">
                        <a:pos x="connsiteX0" y="connsiteY0"/>
                      </a:cxn>
                      <a:cxn ang="0">
                        <a:pos x="connsiteX1" y="connsiteY1"/>
                      </a:cxn>
                    </a:cxnLst>
                    <a:rect l="l" t="t" r="r" b="b"/>
                    <a:pathLst>
                      <a:path w="437310" h="854525">
                        <a:moveTo>
                          <a:pt x="437311" y="854526"/>
                        </a:moveTo>
                        <a:lnTo>
                          <a:pt x="0" y="0"/>
                        </a:lnTo>
                      </a:path>
                    </a:pathLst>
                  </a:custGeom>
                  <a:grpFill/>
                  <a:ln w="6350" cap="flat">
                    <a:solidFill>
                      <a:schemeClr val="bg1">
                        <a:alpha val="80000"/>
                      </a:schemeClr>
                    </a:solidFill>
                    <a:prstDash val="solid"/>
                    <a:miter/>
                  </a:ln>
                </p:spPr>
                <p:txBody>
                  <a:bodyPr rtlCol="0" anchor="ctr"/>
                  <a:lstStyle/>
                  <a:p>
                    <a:endParaRPr lang="en-GB"/>
                  </a:p>
                </p:txBody>
              </p:sp>
              <p:grpSp>
                <p:nvGrpSpPr>
                  <p:cNvPr id="7159" name="Graphic 3">
                    <a:extLst>
                      <a:ext uri="{FF2B5EF4-FFF2-40B4-BE49-F238E27FC236}">
                        <a16:creationId xmlns:a16="http://schemas.microsoft.com/office/drawing/2014/main" id="{A045F70E-70BE-44B0-AC76-A8700B4D02FE}"/>
                      </a:ext>
                    </a:extLst>
                  </p:cNvPr>
                  <p:cNvGrpSpPr/>
                  <p:nvPr/>
                </p:nvGrpSpPr>
                <p:grpSpPr>
                  <a:xfrm>
                    <a:off x="6903447" y="5782800"/>
                    <a:ext cx="116683" cy="77147"/>
                    <a:chOff x="6903447" y="5782800"/>
                    <a:chExt cx="116683" cy="77147"/>
                  </a:xfrm>
                  <a:grpFill/>
                </p:grpSpPr>
                <p:sp>
                  <p:nvSpPr>
                    <p:cNvPr id="7160" name="Vrije vorm: vorm 7159">
                      <a:extLst>
                        <a:ext uri="{FF2B5EF4-FFF2-40B4-BE49-F238E27FC236}">
                          <a16:creationId xmlns:a16="http://schemas.microsoft.com/office/drawing/2014/main" id="{8E20DCDE-2939-40AA-9DA0-472CFC59A429}"/>
                        </a:ext>
                      </a:extLst>
                    </p:cNvPr>
                    <p:cNvSpPr/>
                    <p:nvPr/>
                  </p:nvSpPr>
                  <p:spPr>
                    <a:xfrm>
                      <a:off x="6934128" y="5782800"/>
                      <a:ext cx="35764" cy="15909"/>
                    </a:xfrm>
                    <a:custGeom>
                      <a:avLst/>
                      <a:gdLst>
                        <a:gd name="connsiteX0" fmla="*/ 35765 w 35764"/>
                        <a:gd name="connsiteY0" fmla="*/ 0 h 15909"/>
                        <a:gd name="connsiteX1" fmla="*/ 18899 w 35764"/>
                        <a:gd name="connsiteY1" fmla="*/ 15131 h 15909"/>
                        <a:gd name="connsiteX2" fmla="*/ 0 w 35764"/>
                        <a:gd name="connsiteY2" fmla="*/ 12260 h 15909"/>
                      </a:gdLst>
                      <a:ahLst/>
                      <a:cxnLst>
                        <a:cxn ang="0">
                          <a:pos x="connsiteX0" y="connsiteY0"/>
                        </a:cxn>
                        <a:cxn ang="0">
                          <a:pos x="connsiteX1" y="connsiteY1"/>
                        </a:cxn>
                        <a:cxn ang="0">
                          <a:pos x="connsiteX2" y="connsiteY2"/>
                        </a:cxn>
                      </a:cxnLst>
                      <a:rect l="l" t="t" r="r" b="b"/>
                      <a:pathLst>
                        <a:path w="35764" h="15909">
                          <a:moveTo>
                            <a:pt x="35765" y="0"/>
                          </a:moveTo>
                          <a:cubicBezTo>
                            <a:pt x="32834" y="7296"/>
                            <a:pt x="26794" y="13098"/>
                            <a:pt x="18899" y="15131"/>
                          </a:cubicBezTo>
                          <a:cubicBezTo>
                            <a:pt x="12261" y="16866"/>
                            <a:pt x="5562" y="15610"/>
                            <a:pt x="0" y="12260"/>
                          </a:cubicBezTo>
                        </a:path>
                      </a:pathLst>
                    </a:custGeom>
                    <a:grpFill/>
                    <a:ln w="6350" cap="flat">
                      <a:solidFill>
                        <a:schemeClr val="bg1">
                          <a:alpha val="80000"/>
                        </a:schemeClr>
                      </a:solidFill>
                      <a:prstDash val="solid"/>
                      <a:miter/>
                    </a:ln>
                  </p:spPr>
                  <p:txBody>
                    <a:bodyPr rtlCol="0" anchor="ctr"/>
                    <a:lstStyle/>
                    <a:p>
                      <a:endParaRPr lang="en-GB"/>
                    </a:p>
                  </p:txBody>
                </p:sp>
                <p:sp>
                  <p:nvSpPr>
                    <p:cNvPr id="7161" name="Vrije vorm: vorm 7160">
                      <a:extLst>
                        <a:ext uri="{FF2B5EF4-FFF2-40B4-BE49-F238E27FC236}">
                          <a16:creationId xmlns:a16="http://schemas.microsoft.com/office/drawing/2014/main" id="{8143530E-202D-439E-BCC5-F46BD3B201E6}"/>
                        </a:ext>
                      </a:extLst>
                    </p:cNvPr>
                    <p:cNvSpPr/>
                    <p:nvPr/>
                  </p:nvSpPr>
                  <p:spPr>
                    <a:xfrm>
                      <a:off x="6920612" y="5793984"/>
                      <a:ext cx="71529" cy="31805"/>
                    </a:xfrm>
                    <a:custGeom>
                      <a:avLst/>
                      <a:gdLst>
                        <a:gd name="connsiteX0" fmla="*/ 71530 w 71529"/>
                        <a:gd name="connsiteY0" fmla="*/ 0 h 31805"/>
                        <a:gd name="connsiteX1" fmla="*/ 37799 w 71529"/>
                        <a:gd name="connsiteY1" fmla="*/ 30262 h 31805"/>
                        <a:gd name="connsiteX2" fmla="*/ 0 w 71529"/>
                        <a:gd name="connsiteY2" fmla="*/ 24581 h 31805"/>
                      </a:gdLst>
                      <a:ahLst/>
                      <a:cxnLst>
                        <a:cxn ang="0">
                          <a:pos x="connsiteX0" y="connsiteY0"/>
                        </a:cxn>
                        <a:cxn ang="0">
                          <a:pos x="connsiteX1" y="connsiteY1"/>
                        </a:cxn>
                        <a:cxn ang="0">
                          <a:pos x="connsiteX2" y="connsiteY2"/>
                        </a:cxn>
                      </a:cxnLst>
                      <a:rect l="l" t="t" r="r" b="b"/>
                      <a:pathLst>
                        <a:path w="71529" h="31805">
                          <a:moveTo>
                            <a:pt x="71530" y="0"/>
                          </a:moveTo>
                          <a:cubicBezTo>
                            <a:pt x="65728" y="14593"/>
                            <a:pt x="53648" y="26196"/>
                            <a:pt x="37799" y="30262"/>
                          </a:cubicBezTo>
                          <a:cubicBezTo>
                            <a:pt x="24581" y="33671"/>
                            <a:pt x="11125" y="31279"/>
                            <a:pt x="0" y="24581"/>
                          </a:cubicBezTo>
                        </a:path>
                      </a:pathLst>
                    </a:custGeom>
                    <a:grpFill/>
                    <a:ln w="6350" cap="flat">
                      <a:solidFill>
                        <a:schemeClr val="bg1">
                          <a:alpha val="80000"/>
                        </a:schemeClr>
                      </a:solidFill>
                      <a:prstDash val="solid"/>
                      <a:miter/>
                    </a:ln>
                  </p:spPr>
                  <p:txBody>
                    <a:bodyPr rtlCol="0" anchor="ctr"/>
                    <a:lstStyle/>
                    <a:p>
                      <a:endParaRPr lang="en-GB"/>
                    </a:p>
                  </p:txBody>
                </p:sp>
                <p:sp>
                  <p:nvSpPr>
                    <p:cNvPr id="7162" name="Vrije vorm: vorm 7161">
                      <a:extLst>
                        <a:ext uri="{FF2B5EF4-FFF2-40B4-BE49-F238E27FC236}">
                          <a16:creationId xmlns:a16="http://schemas.microsoft.com/office/drawing/2014/main" id="{189DA02F-AF60-49B9-A44B-E880D39C6AAD}"/>
                        </a:ext>
                      </a:extLst>
                    </p:cNvPr>
                    <p:cNvSpPr/>
                    <p:nvPr/>
                  </p:nvSpPr>
                  <p:spPr>
                    <a:xfrm>
                      <a:off x="6903447" y="5808098"/>
                      <a:ext cx="116683" cy="51849"/>
                    </a:xfrm>
                    <a:custGeom>
                      <a:avLst/>
                      <a:gdLst>
                        <a:gd name="connsiteX0" fmla="*/ 116684 w 116683"/>
                        <a:gd name="connsiteY0" fmla="*/ 0 h 51849"/>
                        <a:gd name="connsiteX1" fmla="*/ 61662 w 116683"/>
                        <a:gd name="connsiteY1" fmla="*/ 49341 h 51849"/>
                        <a:gd name="connsiteX2" fmla="*/ 0 w 116683"/>
                        <a:gd name="connsiteY2" fmla="*/ 40071 h 51849"/>
                      </a:gdLst>
                      <a:ahLst/>
                      <a:cxnLst>
                        <a:cxn ang="0">
                          <a:pos x="connsiteX0" y="connsiteY0"/>
                        </a:cxn>
                        <a:cxn ang="0">
                          <a:pos x="connsiteX1" y="connsiteY1"/>
                        </a:cxn>
                        <a:cxn ang="0">
                          <a:pos x="connsiteX2" y="connsiteY2"/>
                        </a:cxn>
                      </a:cxnLst>
                      <a:rect l="l" t="t" r="r" b="b"/>
                      <a:pathLst>
                        <a:path w="116683" h="51849">
                          <a:moveTo>
                            <a:pt x="116684" y="0"/>
                          </a:moveTo>
                          <a:cubicBezTo>
                            <a:pt x="107175" y="23863"/>
                            <a:pt x="87498" y="42702"/>
                            <a:pt x="61662" y="49341"/>
                          </a:cubicBezTo>
                          <a:cubicBezTo>
                            <a:pt x="40071" y="54903"/>
                            <a:pt x="18182" y="50956"/>
                            <a:pt x="0" y="40071"/>
                          </a:cubicBezTo>
                        </a:path>
                      </a:pathLst>
                    </a:custGeom>
                    <a:grpFill/>
                    <a:ln w="6350" cap="flat">
                      <a:solidFill>
                        <a:schemeClr val="bg1">
                          <a:alpha val="80000"/>
                        </a:schemeClr>
                      </a:solidFill>
                      <a:prstDash val="solid"/>
                      <a:miter/>
                    </a:ln>
                  </p:spPr>
                  <p:txBody>
                    <a:bodyPr rtlCol="0" anchor="ctr"/>
                    <a:lstStyle/>
                    <a:p>
                      <a:endParaRPr lang="en-GB"/>
                    </a:p>
                  </p:txBody>
                </p:sp>
              </p:grpSp>
            </p:grpSp>
            <p:sp>
              <p:nvSpPr>
                <p:cNvPr id="7155" name="Vrije vorm: vorm 7154">
                  <a:extLst>
                    <a:ext uri="{FF2B5EF4-FFF2-40B4-BE49-F238E27FC236}">
                      <a16:creationId xmlns:a16="http://schemas.microsoft.com/office/drawing/2014/main" id="{B97DBB48-5FEB-4784-ACD4-58A4958F0CA0}"/>
                    </a:ext>
                  </a:extLst>
                </p:cNvPr>
                <p:cNvSpPr/>
                <p:nvPr/>
              </p:nvSpPr>
              <p:spPr>
                <a:xfrm>
                  <a:off x="6456099" y="4685214"/>
                  <a:ext cx="387272" cy="189962"/>
                </a:xfrm>
                <a:custGeom>
                  <a:avLst/>
                  <a:gdLst>
                    <a:gd name="connsiteX0" fmla="*/ 374929 w 387272"/>
                    <a:gd name="connsiteY0" fmla="*/ 43310 h 189962"/>
                    <a:gd name="connsiteX1" fmla="*/ 205981 w 387272"/>
                    <a:gd name="connsiteY1" fmla="*/ 138292 h 189962"/>
                    <a:gd name="connsiteX2" fmla="*/ 12344 w 387272"/>
                    <a:gd name="connsiteY2" fmla="*/ 146653 h 189962"/>
                    <a:gd name="connsiteX3" fmla="*/ 181292 w 387272"/>
                    <a:gd name="connsiteY3" fmla="*/ 51671 h 189962"/>
                    <a:gd name="connsiteX4" fmla="*/ 374929 w 387272"/>
                    <a:gd name="connsiteY4" fmla="*/ 43310 h 189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272" h="189962">
                      <a:moveTo>
                        <a:pt x="374929" y="43310"/>
                      </a:moveTo>
                      <a:cubicBezTo>
                        <a:pt x="381746" y="67229"/>
                        <a:pt x="306106" y="109754"/>
                        <a:pt x="205981" y="138292"/>
                      </a:cubicBezTo>
                      <a:cubicBezTo>
                        <a:pt x="105856" y="166829"/>
                        <a:pt x="19162" y="170572"/>
                        <a:pt x="12344" y="146653"/>
                      </a:cubicBezTo>
                      <a:cubicBezTo>
                        <a:pt x="5527" y="122733"/>
                        <a:pt x="81167" y="80208"/>
                        <a:pt x="181292" y="51671"/>
                      </a:cubicBezTo>
                      <a:cubicBezTo>
                        <a:pt x="281418" y="23134"/>
                        <a:pt x="368112" y="19390"/>
                        <a:pt x="374929" y="43310"/>
                      </a:cubicBezTo>
                      <a:close/>
                    </a:path>
                  </a:pathLst>
                </a:custGeom>
                <a:grpFill/>
                <a:ln w="6350" cap="flat">
                  <a:solidFill>
                    <a:schemeClr val="bg1">
                      <a:alpha val="80000"/>
                    </a:schemeClr>
                  </a:solidFill>
                  <a:prstDash val="solid"/>
                  <a:miter/>
                </a:ln>
              </p:spPr>
              <p:txBody>
                <a:bodyPr rtlCol="0" anchor="ctr"/>
                <a:lstStyle/>
                <a:p>
                  <a:endParaRPr lang="en-GB"/>
                </a:p>
              </p:txBody>
            </p:sp>
          </p:grpSp>
        </p:grpSp>
      </p:grpSp>
      <p:grpSp>
        <p:nvGrpSpPr>
          <p:cNvPr id="7306" name="WERELD_3">
            <a:extLst>
              <a:ext uri="{FF2B5EF4-FFF2-40B4-BE49-F238E27FC236}">
                <a16:creationId xmlns:a16="http://schemas.microsoft.com/office/drawing/2014/main" id="{E3541DA1-D2A2-4B71-B090-D4F0DC9CF343}"/>
              </a:ext>
            </a:extLst>
          </p:cNvPr>
          <p:cNvGrpSpPr/>
          <p:nvPr userDrawn="1"/>
        </p:nvGrpSpPr>
        <p:grpSpPr>
          <a:xfrm>
            <a:off x="4146132" y="4028686"/>
            <a:ext cx="1790150" cy="1786979"/>
            <a:chOff x="4114038" y="3845166"/>
            <a:chExt cx="1790150" cy="1786979"/>
          </a:xfrm>
          <a:effectLst>
            <a:glow rad="127000">
              <a:srgbClr val="00B0F0">
                <a:alpha val="40000"/>
              </a:srgbClr>
            </a:glow>
          </a:effectLst>
        </p:grpSpPr>
        <p:grpSp>
          <p:nvGrpSpPr>
            <p:cNvPr id="7307" name="Groep 7306">
              <a:extLst>
                <a:ext uri="{FF2B5EF4-FFF2-40B4-BE49-F238E27FC236}">
                  <a16:creationId xmlns:a16="http://schemas.microsoft.com/office/drawing/2014/main" id="{A926511E-FAA2-4183-83A0-3EBB6E9D8B04}"/>
                </a:ext>
              </a:extLst>
            </p:cNvPr>
            <p:cNvGrpSpPr/>
            <p:nvPr/>
          </p:nvGrpSpPr>
          <p:grpSpPr>
            <a:xfrm>
              <a:off x="4114038" y="3845166"/>
              <a:ext cx="944237" cy="1129159"/>
              <a:chOff x="4114038" y="3845166"/>
              <a:chExt cx="944237" cy="1129159"/>
            </a:xfrm>
          </p:grpSpPr>
          <p:sp>
            <p:nvSpPr>
              <p:cNvPr id="8025" name="Vrije vorm: vorm 8024">
                <a:extLst>
                  <a:ext uri="{FF2B5EF4-FFF2-40B4-BE49-F238E27FC236}">
                    <a16:creationId xmlns:a16="http://schemas.microsoft.com/office/drawing/2014/main" id="{0DA15E26-37D1-464F-B27A-A17B30DCDB62}"/>
                  </a:ext>
                </a:extLst>
              </p:cNvPr>
              <p:cNvSpPr/>
              <p:nvPr/>
            </p:nvSpPr>
            <p:spPr>
              <a:xfrm>
                <a:off x="4173248" y="4341206"/>
                <a:ext cx="595799" cy="472357"/>
              </a:xfrm>
              <a:custGeom>
                <a:avLst/>
                <a:gdLst>
                  <a:gd name="connsiteX0" fmla="*/ 595800 w 595799"/>
                  <a:gd name="connsiteY0" fmla="*/ 0 h 472357"/>
                  <a:gd name="connsiteX1" fmla="*/ 0 w 595799"/>
                  <a:gd name="connsiteY1" fmla="*/ 472358 h 472357"/>
                </a:gdLst>
                <a:ahLst/>
                <a:cxnLst>
                  <a:cxn ang="0">
                    <a:pos x="connsiteX0" y="connsiteY0"/>
                  </a:cxn>
                  <a:cxn ang="0">
                    <a:pos x="connsiteX1" y="connsiteY1"/>
                  </a:cxn>
                </a:cxnLst>
                <a:rect l="l" t="t" r="r" b="b"/>
                <a:pathLst>
                  <a:path w="595799" h="472357">
                    <a:moveTo>
                      <a:pt x="595800" y="0"/>
                    </a:moveTo>
                    <a:cubicBezTo>
                      <a:pt x="356631" y="189709"/>
                      <a:pt x="127270" y="365841"/>
                      <a:pt x="0" y="472358"/>
                    </a:cubicBezTo>
                  </a:path>
                </a:pathLst>
              </a:custGeom>
              <a:noFill/>
              <a:ln w="6350" cap="rnd">
                <a:solidFill>
                  <a:schemeClr val="bg1">
                    <a:alpha val="80000"/>
                  </a:schemeClr>
                </a:solidFill>
                <a:prstDash val="solid"/>
                <a:miter/>
              </a:ln>
            </p:spPr>
            <p:txBody>
              <a:bodyPr rtlCol="0" anchor="ctr"/>
              <a:lstStyle/>
              <a:p>
                <a:endParaRPr lang="en-GB"/>
              </a:p>
            </p:txBody>
          </p:sp>
          <p:sp>
            <p:nvSpPr>
              <p:cNvPr id="8026" name="Vrije vorm: vorm 8025">
                <a:extLst>
                  <a:ext uri="{FF2B5EF4-FFF2-40B4-BE49-F238E27FC236}">
                    <a16:creationId xmlns:a16="http://schemas.microsoft.com/office/drawing/2014/main" id="{185568DC-3C04-4CDF-B219-4A6FC1EFE235}"/>
                  </a:ext>
                </a:extLst>
              </p:cNvPr>
              <p:cNvSpPr/>
              <p:nvPr/>
            </p:nvSpPr>
            <p:spPr>
              <a:xfrm>
                <a:off x="4213319" y="4074406"/>
                <a:ext cx="501662" cy="608717"/>
              </a:xfrm>
              <a:custGeom>
                <a:avLst/>
                <a:gdLst>
                  <a:gd name="connsiteX0" fmla="*/ 0 w 501662"/>
                  <a:gd name="connsiteY0" fmla="*/ 608718 h 608717"/>
                  <a:gd name="connsiteX1" fmla="*/ 501663 w 501662"/>
                  <a:gd name="connsiteY1" fmla="*/ 213153 h 608717"/>
                  <a:gd name="connsiteX2" fmla="*/ 347181 w 501662"/>
                  <a:gd name="connsiteY2" fmla="*/ 0 h 608717"/>
                </a:gdLst>
                <a:ahLst/>
                <a:cxnLst>
                  <a:cxn ang="0">
                    <a:pos x="connsiteX0" y="connsiteY0"/>
                  </a:cxn>
                  <a:cxn ang="0">
                    <a:pos x="connsiteX1" y="connsiteY1"/>
                  </a:cxn>
                  <a:cxn ang="0">
                    <a:pos x="connsiteX2" y="connsiteY2"/>
                  </a:cxn>
                </a:cxnLst>
                <a:rect l="l" t="t" r="r" b="b"/>
                <a:pathLst>
                  <a:path w="501662" h="608717">
                    <a:moveTo>
                      <a:pt x="0" y="608718"/>
                    </a:moveTo>
                    <a:cubicBezTo>
                      <a:pt x="131935" y="500826"/>
                      <a:pt x="314167" y="361654"/>
                      <a:pt x="501663" y="213153"/>
                    </a:cubicBezTo>
                    <a:cubicBezTo>
                      <a:pt x="450169" y="142282"/>
                      <a:pt x="398615" y="71350"/>
                      <a:pt x="347181" y="0"/>
                    </a:cubicBezTo>
                  </a:path>
                </a:pathLst>
              </a:custGeom>
              <a:noFill/>
              <a:ln w="6350" cap="rnd">
                <a:solidFill>
                  <a:schemeClr val="bg1">
                    <a:alpha val="80000"/>
                  </a:schemeClr>
                </a:solidFill>
                <a:prstDash val="solid"/>
                <a:miter/>
              </a:ln>
            </p:spPr>
            <p:txBody>
              <a:bodyPr rtlCol="0" anchor="ctr"/>
              <a:lstStyle/>
              <a:p>
                <a:endParaRPr lang="en-GB"/>
              </a:p>
            </p:txBody>
          </p:sp>
          <p:sp>
            <p:nvSpPr>
              <p:cNvPr id="8027" name="Vrije vorm: vorm 8026">
                <a:extLst>
                  <a:ext uri="{FF2B5EF4-FFF2-40B4-BE49-F238E27FC236}">
                    <a16:creationId xmlns:a16="http://schemas.microsoft.com/office/drawing/2014/main" id="{4A734DA7-E447-43F2-BF56-90D7E99FC78B}"/>
                  </a:ext>
                </a:extLst>
              </p:cNvPr>
              <p:cNvSpPr/>
              <p:nvPr/>
            </p:nvSpPr>
            <p:spPr>
              <a:xfrm>
                <a:off x="4249741" y="4256579"/>
                <a:ext cx="442693" cy="345266"/>
              </a:xfrm>
              <a:custGeom>
                <a:avLst/>
                <a:gdLst>
                  <a:gd name="connsiteX0" fmla="*/ 442693 w 442693"/>
                  <a:gd name="connsiteY0" fmla="*/ 0 h 345266"/>
                  <a:gd name="connsiteX1" fmla="*/ 0 w 442693"/>
                  <a:gd name="connsiteY1" fmla="*/ 345267 h 345266"/>
                </a:gdLst>
                <a:ahLst/>
                <a:cxnLst>
                  <a:cxn ang="0">
                    <a:pos x="connsiteX0" y="connsiteY0"/>
                  </a:cxn>
                  <a:cxn ang="0">
                    <a:pos x="connsiteX1" y="connsiteY1"/>
                  </a:cxn>
                </a:cxnLst>
                <a:rect l="l" t="t" r="r" b="b"/>
                <a:pathLst>
                  <a:path w="442693" h="345266">
                    <a:moveTo>
                      <a:pt x="442693" y="0"/>
                    </a:moveTo>
                    <a:cubicBezTo>
                      <a:pt x="282828" y="125894"/>
                      <a:pt x="125954" y="244911"/>
                      <a:pt x="0" y="345267"/>
                    </a:cubicBezTo>
                  </a:path>
                </a:pathLst>
              </a:custGeom>
              <a:noFill/>
              <a:ln w="6350" cap="rnd">
                <a:solidFill>
                  <a:schemeClr val="bg1">
                    <a:alpha val="80000"/>
                  </a:schemeClr>
                </a:solidFill>
                <a:prstDash val="solid"/>
                <a:miter/>
              </a:ln>
            </p:spPr>
            <p:txBody>
              <a:bodyPr rtlCol="0" anchor="ctr"/>
              <a:lstStyle/>
              <a:p>
                <a:endParaRPr lang="en-GB"/>
              </a:p>
            </p:txBody>
          </p:sp>
          <p:grpSp>
            <p:nvGrpSpPr>
              <p:cNvPr id="8028" name="Graphic 3">
                <a:extLst>
                  <a:ext uri="{FF2B5EF4-FFF2-40B4-BE49-F238E27FC236}">
                    <a16:creationId xmlns:a16="http://schemas.microsoft.com/office/drawing/2014/main" id="{F7FC309C-773B-40C2-BBFF-4A37418C1492}"/>
                  </a:ext>
                </a:extLst>
              </p:cNvPr>
              <p:cNvGrpSpPr/>
              <p:nvPr/>
            </p:nvGrpSpPr>
            <p:grpSpPr>
              <a:xfrm>
                <a:off x="4230184" y="4263338"/>
                <a:ext cx="480192" cy="394667"/>
                <a:chOff x="4230184" y="4263338"/>
                <a:chExt cx="480192" cy="394667"/>
              </a:xfrm>
              <a:noFill/>
            </p:grpSpPr>
            <p:sp>
              <p:nvSpPr>
                <p:cNvPr id="8432" name="Vrije vorm: vorm 8431">
                  <a:extLst>
                    <a:ext uri="{FF2B5EF4-FFF2-40B4-BE49-F238E27FC236}">
                      <a16:creationId xmlns:a16="http://schemas.microsoft.com/office/drawing/2014/main" id="{9053E5D2-A946-4BF0-9833-F1E2C3E8163F}"/>
                    </a:ext>
                  </a:extLst>
                </p:cNvPr>
                <p:cNvSpPr/>
                <p:nvPr/>
              </p:nvSpPr>
              <p:spPr>
                <a:xfrm>
                  <a:off x="4247468" y="4263338"/>
                  <a:ext cx="449929" cy="350888"/>
                </a:xfrm>
                <a:custGeom>
                  <a:avLst/>
                  <a:gdLst>
                    <a:gd name="connsiteX0" fmla="*/ 449930 w 449929"/>
                    <a:gd name="connsiteY0" fmla="*/ 0 h 350888"/>
                    <a:gd name="connsiteX1" fmla="*/ 0 w 449929"/>
                    <a:gd name="connsiteY1" fmla="*/ 350889 h 350888"/>
                  </a:gdLst>
                  <a:ahLst/>
                  <a:cxnLst>
                    <a:cxn ang="0">
                      <a:pos x="connsiteX0" y="connsiteY0"/>
                    </a:cxn>
                    <a:cxn ang="0">
                      <a:pos x="connsiteX1" y="connsiteY1"/>
                    </a:cxn>
                  </a:cxnLst>
                  <a:rect l="l" t="t" r="r" b="b"/>
                  <a:pathLst>
                    <a:path w="449929" h="350888">
                      <a:moveTo>
                        <a:pt x="449930" y="0"/>
                      </a:moveTo>
                      <a:cubicBezTo>
                        <a:pt x="286836" y="128406"/>
                        <a:pt x="126971" y="249635"/>
                        <a:pt x="0" y="350889"/>
                      </a:cubicBezTo>
                    </a:path>
                  </a:pathLst>
                </a:custGeom>
                <a:noFill/>
                <a:ln w="6350" cap="rnd">
                  <a:solidFill>
                    <a:schemeClr val="bg1">
                      <a:alpha val="80000"/>
                    </a:schemeClr>
                  </a:solidFill>
                  <a:prstDash val="solid"/>
                  <a:miter/>
                </a:ln>
              </p:spPr>
              <p:txBody>
                <a:bodyPr rtlCol="0" anchor="ctr"/>
                <a:lstStyle/>
                <a:p>
                  <a:endParaRPr lang="en-GB"/>
                </a:p>
              </p:txBody>
            </p:sp>
            <p:sp>
              <p:nvSpPr>
                <p:cNvPr id="8433" name="Vrije vorm: vorm 8432">
                  <a:extLst>
                    <a:ext uri="{FF2B5EF4-FFF2-40B4-BE49-F238E27FC236}">
                      <a16:creationId xmlns:a16="http://schemas.microsoft.com/office/drawing/2014/main" id="{6F596F1F-6670-4C29-88B2-A31DC0661C6B}"/>
                    </a:ext>
                  </a:extLst>
                </p:cNvPr>
                <p:cNvSpPr/>
                <p:nvPr/>
              </p:nvSpPr>
              <p:spPr>
                <a:xfrm>
                  <a:off x="4244418" y="4266328"/>
                  <a:ext cx="455133" cy="355314"/>
                </a:xfrm>
                <a:custGeom>
                  <a:avLst/>
                  <a:gdLst>
                    <a:gd name="connsiteX0" fmla="*/ 455133 w 455133"/>
                    <a:gd name="connsiteY0" fmla="*/ 0 h 355314"/>
                    <a:gd name="connsiteX1" fmla="*/ 0 w 455133"/>
                    <a:gd name="connsiteY1" fmla="*/ 355315 h 355314"/>
                  </a:gdLst>
                  <a:ahLst/>
                  <a:cxnLst>
                    <a:cxn ang="0">
                      <a:pos x="connsiteX0" y="connsiteY0"/>
                    </a:cxn>
                    <a:cxn ang="0">
                      <a:pos x="connsiteX1" y="connsiteY1"/>
                    </a:cxn>
                  </a:cxnLst>
                  <a:rect l="l" t="t" r="r" b="b"/>
                  <a:pathLst>
                    <a:path w="455133" h="355314">
                      <a:moveTo>
                        <a:pt x="455133" y="0"/>
                      </a:moveTo>
                      <a:cubicBezTo>
                        <a:pt x="289706" y="130320"/>
                        <a:pt x="127689" y="253283"/>
                        <a:pt x="0" y="355315"/>
                      </a:cubicBezTo>
                    </a:path>
                  </a:pathLst>
                </a:custGeom>
                <a:noFill/>
                <a:ln w="6350" cap="rnd">
                  <a:solidFill>
                    <a:schemeClr val="bg1">
                      <a:alpha val="80000"/>
                    </a:schemeClr>
                  </a:solidFill>
                  <a:prstDash val="solid"/>
                  <a:miter/>
                </a:ln>
              </p:spPr>
              <p:txBody>
                <a:bodyPr rtlCol="0" anchor="ctr"/>
                <a:lstStyle/>
                <a:p>
                  <a:endParaRPr lang="en-GB"/>
                </a:p>
              </p:txBody>
            </p:sp>
            <p:sp>
              <p:nvSpPr>
                <p:cNvPr id="8434" name="Vrije vorm: vorm 8433">
                  <a:extLst>
                    <a:ext uri="{FF2B5EF4-FFF2-40B4-BE49-F238E27FC236}">
                      <a16:creationId xmlns:a16="http://schemas.microsoft.com/office/drawing/2014/main" id="{18D27DC8-D782-4A2D-81E6-59828D6C705E}"/>
                    </a:ext>
                  </a:extLst>
                </p:cNvPr>
                <p:cNvSpPr/>
                <p:nvPr/>
              </p:nvSpPr>
              <p:spPr>
                <a:xfrm>
                  <a:off x="4241428" y="4269318"/>
                  <a:ext cx="460276" cy="359680"/>
                </a:xfrm>
                <a:custGeom>
                  <a:avLst/>
                  <a:gdLst>
                    <a:gd name="connsiteX0" fmla="*/ 460277 w 460276"/>
                    <a:gd name="connsiteY0" fmla="*/ 0 h 359680"/>
                    <a:gd name="connsiteX1" fmla="*/ 0 w 460276"/>
                    <a:gd name="connsiteY1" fmla="*/ 359681 h 359680"/>
                  </a:gdLst>
                  <a:ahLst/>
                  <a:cxnLst>
                    <a:cxn ang="0">
                      <a:pos x="connsiteX0" y="connsiteY0"/>
                    </a:cxn>
                    <a:cxn ang="0">
                      <a:pos x="connsiteX1" y="connsiteY1"/>
                    </a:cxn>
                  </a:cxnLst>
                  <a:rect l="l" t="t" r="r" b="b"/>
                  <a:pathLst>
                    <a:path w="460276" h="359680">
                      <a:moveTo>
                        <a:pt x="460277" y="0"/>
                      </a:moveTo>
                      <a:cubicBezTo>
                        <a:pt x="292457" y="132234"/>
                        <a:pt x="128287" y="256932"/>
                        <a:pt x="0" y="359681"/>
                      </a:cubicBezTo>
                    </a:path>
                  </a:pathLst>
                </a:custGeom>
                <a:noFill/>
                <a:ln w="6350" cap="rnd">
                  <a:solidFill>
                    <a:schemeClr val="bg1">
                      <a:alpha val="80000"/>
                    </a:schemeClr>
                  </a:solidFill>
                  <a:prstDash val="solid"/>
                  <a:miter/>
                </a:ln>
              </p:spPr>
              <p:txBody>
                <a:bodyPr rtlCol="0" anchor="ctr"/>
                <a:lstStyle/>
                <a:p>
                  <a:endParaRPr lang="en-GB"/>
                </a:p>
              </p:txBody>
            </p:sp>
            <p:sp>
              <p:nvSpPr>
                <p:cNvPr id="8435" name="Vrije vorm: vorm 8434">
                  <a:extLst>
                    <a:ext uri="{FF2B5EF4-FFF2-40B4-BE49-F238E27FC236}">
                      <a16:creationId xmlns:a16="http://schemas.microsoft.com/office/drawing/2014/main" id="{A443D782-EF99-4DD7-A351-3EBCF42EC199}"/>
                    </a:ext>
                  </a:extLst>
                </p:cNvPr>
                <p:cNvSpPr/>
                <p:nvPr/>
              </p:nvSpPr>
              <p:spPr>
                <a:xfrm>
                  <a:off x="4238497" y="4272249"/>
                  <a:ext cx="465359" cy="364046"/>
                </a:xfrm>
                <a:custGeom>
                  <a:avLst/>
                  <a:gdLst>
                    <a:gd name="connsiteX0" fmla="*/ 465360 w 465359"/>
                    <a:gd name="connsiteY0" fmla="*/ 0 h 364046"/>
                    <a:gd name="connsiteX1" fmla="*/ 0 w 465359"/>
                    <a:gd name="connsiteY1" fmla="*/ 364046 h 364046"/>
                  </a:gdLst>
                  <a:ahLst/>
                  <a:cxnLst>
                    <a:cxn ang="0">
                      <a:pos x="connsiteX0" y="connsiteY0"/>
                    </a:cxn>
                    <a:cxn ang="0">
                      <a:pos x="connsiteX1" y="connsiteY1"/>
                    </a:cxn>
                  </a:cxnLst>
                  <a:rect l="l" t="t" r="r" b="b"/>
                  <a:pathLst>
                    <a:path w="465359" h="364046">
                      <a:moveTo>
                        <a:pt x="465360" y="0"/>
                      </a:moveTo>
                      <a:cubicBezTo>
                        <a:pt x="295208" y="134148"/>
                        <a:pt x="128884" y="260580"/>
                        <a:pt x="0" y="364046"/>
                      </a:cubicBezTo>
                    </a:path>
                  </a:pathLst>
                </a:custGeom>
                <a:noFill/>
                <a:ln w="6350" cap="rnd">
                  <a:solidFill>
                    <a:schemeClr val="bg1">
                      <a:alpha val="80000"/>
                    </a:schemeClr>
                  </a:solidFill>
                  <a:prstDash val="solid"/>
                  <a:miter/>
                </a:ln>
              </p:spPr>
              <p:txBody>
                <a:bodyPr rtlCol="0" anchor="ctr"/>
                <a:lstStyle/>
                <a:p>
                  <a:endParaRPr lang="en-GB"/>
                </a:p>
              </p:txBody>
            </p:sp>
            <p:sp>
              <p:nvSpPr>
                <p:cNvPr id="8436" name="Vrije vorm: vorm 8435">
                  <a:extLst>
                    <a:ext uri="{FF2B5EF4-FFF2-40B4-BE49-F238E27FC236}">
                      <a16:creationId xmlns:a16="http://schemas.microsoft.com/office/drawing/2014/main" id="{F811C3A1-60B1-426B-BCA5-3D057FB98C19}"/>
                    </a:ext>
                  </a:extLst>
                </p:cNvPr>
                <p:cNvSpPr/>
                <p:nvPr/>
              </p:nvSpPr>
              <p:spPr>
                <a:xfrm>
                  <a:off x="4235627" y="4275239"/>
                  <a:ext cx="470383" cy="368352"/>
                </a:xfrm>
                <a:custGeom>
                  <a:avLst/>
                  <a:gdLst>
                    <a:gd name="connsiteX0" fmla="*/ 470384 w 470383"/>
                    <a:gd name="connsiteY0" fmla="*/ 0 h 368352"/>
                    <a:gd name="connsiteX1" fmla="*/ 0 w 470383"/>
                    <a:gd name="connsiteY1" fmla="*/ 368353 h 368352"/>
                  </a:gdLst>
                  <a:ahLst/>
                  <a:cxnLst>
                    <a:cxn ang="0">
                      <a:pos x="connsiteX0" y="connsiteY0"/>
                    </a:cxn>
                    <a:cxn ang="0">
                      <a:pos x="connsiteX1" y="connsiteY1"/>
                    </a:cxn>
                  </a:cxnLst>
                  <a:rect l="l" t="t" r="r" b="b"/>
                  <a:pathLst>
                    <a:path w="470383" h="368352">
                      <a:moveTo>
                        <a:pt x="470384" y="0"/>
                      </a:moveTo>
                      <a:cubicBezTo>
                        <a:pt x="297900" y="136121"/>
                        <a:pt x="129423" y="264228"/>
                        <a:pt x="0" y="368353"/>
                      </a:cubicBezTo>
                    </a:path>
                  </a:pathLst>
                </a:custGeom>
                <a:noFill/>
                <a:ln w="6350" cap="rnd">
                  <a:solidFill>
                    <a:schemeClr val="bg1">
                      <a:alpha val="80000"/>
                    </a:schemeClr>
                  </a:solidFill>
                  <a:prstDash val="solid"/>
                  <a:miter/>
                </a:ln>
              </p:spPr>
              <p:txBody>
                <a:bodyPr rtlCol="0" anchor="ctr"/>
                <a:lstStyle/>
                <a:p>
                  <a:endParaRPr lang="en-GB"/>
                </a:p>
              </p:txBody>
            </p:sp>
            <p:sp>
              <p:nvSpPr>
                <p:cNvPr id="8437" name="Vrije vorm: vorm 8436">
                  <a:extLst>
                    <a:ext uri="{FF2B5EF4-FFF2-40B4-BE49-F238E27FC236}">
                      <a16:creationId xmlns:a16="http://schemas.microsoft.com/office/drawing/2014/main" id="{53FD3D5B-CB87-406F-9502-3962A06BA2E6}"/>
                    </a:ext>
                  </a:extLst>
                </p:cNvPr>
                <p:cNvSpPr/>
                <p:nvPr/>
              </p:nvSpPr>
              <p:spPr>
                <a:xfrm>
                  <a:off x="4232875" y="4278230"/>
                  <a:ext cx="475348" cy="372598"/>
                </a:xfrm>
                <a:custGeom>
                  <a:avLst/>
                  <a:gdLst>
                    <a:gd name="connsiteX0" fmla="*/ 475348 w 475348"/>
                    <a:gd name="connsiteY0" fmla="*/ 0 h 372598"/>
                    <a:gd name="connsiteX1" fmla="*/ 0 w 475348"/>
                    <a:gd name="connsiteY1" fmla="*/ 372599 h 372598"/>
                  </a:gdLst>
                  <a:ahLst/>
                  <a:cxnLst>
                    <a:cxn ang="0">
                      <a:pos x="connsiteX0" y="connsiteY0"/>
                    </a:cxn>
                    <a:cxn ang="0">
                      <a:pos x="connsiteX1" y="connsiteY1"/>
                    </a:cxn>
                  </a:cxnLst>
                  <a:rect l="l" t="t" r="r" b="b"/>
                  <a:pathLst>
                    <a:path w="475348" h="372598">
                      <a:moveTo>
                        <a:pt x="475348" y="0"/>
                      </a:moveTo>
                      <a:cubicBezTo>
                        <a:pt x="300531" y="138035"/>
                        <a:pt x="129901" y="267876"/>
                        <a:pt x="0" y="372599"/>
                      </a:cubicBezTo>
                    </a:path>
                  </a:pathLst>
                </a:custGeom>
                <a:noFill/>
                <a:ln w="6350" cap="rnd">
                  <a:solidFill>
                    <a:schemeClr val="bg1">
                      <a:alpha val="80000"/>
                    </a:schemeClr>
                  </a:solidFill>
                  <a:prstDash val="solid"/>
                  <a:miter/>
                </a:ln>
              </p:spPr>
              <p:txBody>
                <a:bodyPr rtlCol="0" anchor="ctr"/>
                <a:lstStyle/>
                <a:p>
                  <a:endParaRPr lang="en-GB"/>
                </a:p>
              </p:txBody>
            </p:sp>
            <p:sp>
              <p:nvSpPr>
                <p:cNvPr id="8438" name="Vrije vorm: vorm 8437">
                  <a:extLst>
                    <a:ext uri="{FF2B5EF4-FFF2-40B4-BE49-F238E27FC236}">
                      <a16:creationId xmlns:a16="http://schemas.microsoft.com/office/drawing/2014/main" id="{02559B33-0C14-4E40-9CEB-6630F4320F63}"/>
                    </a:ext>
                  </a:extLst>
                </p:cNvPr>
                <p:cNvSpPr/>
                <p:nvPr/>
              </p:nvSpPr>
              <p:spPr>
                <a:xfrm>
                  <a:off x="4230184" y="4281220"/>
                  <a:ext cx="480192" cy="376785"/>
                </a:xfrm>
                <a:custGeom>
                  <a:avLst/>
                  <a:gdLst>
                    <a:gd name="connsiteX0" fmla="*/ 480192 w 480192"/>
                    <a:gd name="connsiteY0" fmla="*/ 0 h 376785"/>
                    <a:gd name="connsiteX1" fmla="*/ 0 w 480192"/>
                    <a:gd name="connsiteY1" fmla="*/ 376785 h 376785"/>
                  </a:gdLst>
                  <a:ahLst/>
                  <a:cxnLst>
                    <a:cxn ang="0">
                      <a:pos x="connsiteX0" y="connsiteY0"/>
                    </a:cxn>
                    <a:cxn ang="0">
                      <a:pos x="connsiteX1" y="connsiteY1"/>
                    </a:cxn>
                  </a:cxnLst>
                  <a:rect l="l" t="t" r="r" b="b"/>
                  <a:pathLst>
                    <a:path w="480192" h="376785">
                      <a:moveTo>
                        <a:pt x="480192" y="0"/>
                      </a:moveTo>
                      <a:cubicBezTo>
                        <a:pt x="303043" y="139949"/>
                        <a:pt x="130320" y="271525"/>
                        <a:pt x="0" y="376785"/>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029" name="Graphic 3">
                <a:extLst>
                  <a:ext uri="{FF2B5EF4-FFF2-40B4-BE49-F238E27FC236}">
                    <a16:creationId xmlns:a16="http://schemas.microsoft.com/office/drawing/2014/main" id="{17370625-46C1-4141-9826-3805E27AF244}"/>
                  </a:ext>
                </a:extLst>
              </p:cNvPr>
              <p:cNvGrpSpPr/>
              <p:nvPr/>
            </p:nvGrpSpPr>
            <p:grpSpPr>
              <a:xfrm>
                <a:off x="4256978" y="4263338"/>
                <a:ext cx="453398" cy="373137"/>
                <a:chOff x="4256978" y="4263338"/>
                <a:chExt cx="453398" cy="373137"/>
              </a:xfrm>
              <a:noFill/>
            </p:grpSpPr>
            <p:sp>
              <p:nvSpPr>
                <p:cNvPr id="8425" name="Vrije vorm: vorm 8424">
                  <a:extLst>
                    <a:ext uri="{FF2B5EF4-FFF2-40B4-BE49-F238E27FC236}">
                      <a16:creationId xmlns:a16="http://schemas.microsoft.com/office/drawing/2014/main" id="{D87C7625-514E-4A3A-B7EC-2C764236A0A0}"/>
                    </a:ext>
                  </a:extLst>
                </p:cNvPr>
                <p:cNvSpPr/>
                <p:nvPr/>
              </p:nvSpPr>
              <p:spPr>
                <a:xfrm>
                  <a:off x="4279824" y="4263338"/>
                  <a:ext cx="417573" cy="325231"/>
                </a:xfrm>
                <a:custGeom>
                  <a:avLst/>
                  <a:gdLst>
                    <a:gd name="connsiteX0" fmla="*/ 417574 w 417573"/>
                    <a:gd name="connsiteY0" fmla="*/ 0 h 325231"/>
                    <a:gd name="connsiteX1" fmla="*/ 0 w 417573"/>
                    <a:gd name="connsiteY1" fmla="*/ 325232 h 325231"/>
                  </a:gdLst>
                  <a:ahLst/>
                  <a:cxnLst>
                    <a:cxn ang="0">
                      <a:pos x="connsiteX0" y="connsiteY0"/>
                    </a:cxn>
                    <a:cxn ang="0">
                      <a:pos x="connsiteX1" y="connsiteY1"/>
                    </a:cxn>
                  </a:cxnLst>
                  <a:rect l="l" t="t" r="r" b="b"/>
                  <a:pathLst>
                    <a:path w="417573" h="325231">
                      <a:moveTo>
                        <a:pt x="417574" y="0"/>
                      </a:moveTo>
                      <a:cubicBezTo>
                        <a:pt x="268056" y="117701"/>
                        <a:pt x="121229" y="229420"/>
                        <a:pt x="0" y="325232"/>
                      </a:cubicBezTo>
                    </a:path>
                  </a:pathLst>
                </a:custGeom>
                <a:noFill/>
                <a:ln w="6350" cap="rnd">
                  <a:solidFill>
                    <a:schemeClr val="bg1">
                      <a:alpha val="80000"/>
                    </a:schemeClr>
                  </a:solidFill>
                  <a:prstDash val="solid"/>
                  <a:miter/>
                </a:ln>
              </p:spPr>
              <p:txBody>
                <a:bodyPr rtlCol="0" anchor="ctr"/>
                <a:lstStyle/>
                <a:p>
                  <a:endParaRPr lang="en-GB"/>
                </a:p>
              </p:txBody>
            </p:sp>
            <p:sp>
              <p:nvSpPr>
                <p:cNvPr id="8426" name="Vrije vorm: vorm 8425">
                  <a:extLst>
                    <a:ext uri="{FF2B5EF4-FFF2-40B4-BE49-F238E27FC236}">
                      <a16:creationId xmlns:a16="http://schemas.microsoft.com/office/drawing/2014/main" id="{888EFBA5-6E08-447F-BB63-D44D3C20AFE6}"/>
                    </a:ext>
                  </a:extLst>
                </p:cNvPr>
                <p:cNvSpPr/>
                <p:nvPr/>
              </p:nvSpPr>
              <p:spPr>
                <a:xfrm>
                  <a:off x="4275817" y="4266328"/>
                  <a:ext cx="423734" cy="330315"/>
                </a:xfrm>
                <a:custGeom>
                  <a:avLst/>
                  <a:gdLst>
                    <a:gd name="connsiteX0" fmla="*/ 423734 w 423734"/>
                    <a:gd name="connsiteY0" fmla="*/ 0 h 330315"/>
                    <a:gd name="connsiteX1" fmla="*/ 0 w 423734"/>
                    <a:gd name="connsiteY1" fmla="*/ 330315 h 330315"/>
                  </a:gdLst>
                  <a:ahLst/>
                  <a:cxnLst>
                    <a:cxn ang="0">
                      <a:pos x="connsiteX0" y="connsiteY0"/>
                    </a:cxn>
                    <a:cxn ang="0">
                      <a:pos x="connsiteX1" y="connsiteY1"/>
                    </a:cxn>
                  </a:cxnLst>
                  <a:rect l="l" t="t" r="r" b="b"/>
                  <a:pathLst>
                    <a:path w="423734" h="330315">
                      <a:moveTo>
                        <a:pt x="423734" y="0"/>
                      </a:moveTo>
                      <a:cubicBezTo>
                        <a:pt x="271585" y="119854"/>
                        <a:pt x="122306" y="233487"/>
                        <a:pt x="0" y="330315"/>
                      </a:cubicBezTo>
                    </a:path>
                  </a:pathLst>
                </a:custGeom>
                <a:noFill/>
                <a:ln w="6350" cap="rnd">
                  <a:solidFill>
                    <a:schemeClr val="bg1">
                      <a:alpha val="80000"/>
                    </a:schemeClr>
                  </a:solidFill>
                  <a:prstDash val="solid"/>
                  <a:miter/>
                </a:ln>
              </p:spPr>
              <p:txBody>
                <a:bodyPr rtlCol="0" anchor="ctr"/>
                <a:lstStyle/>
                <a:p>
                  <a:endParaRPr lang="en-GB"/>
                </a:p>
              </p:txBody>
            </p:sp>
            <p:sp>
              <p:nvSpPr>
                <p:cNvPr id="8427" name="Vrije vorm: vorm 8426">
                  <a:extLst>
                    <a:ext uri="{FF2B5EF4-FFF2-40B4-BE49-F238E27FC236}">
                      <a16:creationId xmlns:a16="http://schemas.microsoft.com/office/drawing/2014/main" id="{2EACDC0F-C331-4AEC-A78B-5BE1AF447463}"/>
                    </a:ext>
                  </a:extLst>
                </p:cNvPr>
                <p:cNvSpPr/>
                <p:nvPr/>
              </p:nvSpPr>
              <p:spPr>
                <a:xfrm>
                  <a:off x="4271870" y="4269318"/>
                  <a:ext cx="429834" cy="335398"/>
                </a:xfrm>
                <a:custGeom>
                  <a:avLst/>
                  <a:gdLst>
                    <a:gd name="connsiteX0" fmla="*/ 429834 w 429834"/>
                    <a:gd name="connsiteY0" fmla="*/ 0 h 335398"/>
                    <a:gd name="connsiteX1" fmla="*/ 0 w 429834"/>
                    <a:gd name="connsiteY1" fmla="*/ 335399 h 335398"/>
                  </a:gdLst>
                  <a:ahLst/>
                  <a:cxnLst>
                    <a:cxn ang="0">
                      <a:pos x="connsiteX0" y="connsiteY0"/>
                    </a:cxn>
                    <a:cxn ang="0">
                      <a:pos x="connsiteX1" y="connsiteY1"/>
                    </a:cxn>
                  </a:cxnLst>
                  <a:rect l="l" t="t" r="r" b="b"/>
                  <a:pathLst>
                    <a:path w="429834" h="335398">
                      <a:moveTo>
                        <a:pt x="429834" y="0"/>
                      </a:moveTo>
                      <a:cubicBezTo>
                        <a:pt x="275053" y="122006"/>
                        <a:pt x="123322" y="237554"/>
                        <a:pt x="0" y="335399"/>
                      </a:cubicBezTo>
                    </a:path>
                  </a:pathLst>
                </a:custGeom>
                <a:noFill/>
                <a:ln w="6350" cap="rnd">
                  <a:solidFill>
                    <a:schemeClr val="bg1">
                      <a:alpha val="80000"/>
                    </a:schemeClr>
                  </a:solidFill>
                  <a:prstDash val="solid"/>
                  <a:miter/>
                </a:ln>
              </p:spPr>
              <p:txBody>
                <a:bodyPr rtlCol="0" anchor="ctr"/>
                <a:lstStyle/>
                <a:p>
                  <a:endParaRPr lang="en-GB"/>
                </a:p>
              </p:txBody>
            </p:sp>
            <p:sp>
              <p:nvSpPr>
                <p:cNvPr id="8428" name="Vrije vorm: vorm 8427">
                  <a:extLst>
                    <a:ext uri="{FF2B5EF4-FFF2-40B4-BE49-F238E27FC236}">
                      <a16:creationId xmlns:a16="http://schemas.microsoft.com/office/drawing/2014/main" id="{C3C9B496-D38F-42AD-9327-BF02ED123026}"/>
                    </a:ext>
                  </a:extLst>
                </p:cNvPr>
                <p:cNvSpPr/>
                <p:nvPr/>
              </p:nvSpPr>
              <p:spPr>
                <a:xfrm>
                  <a:off x="4268042" y="4272249"/>
                  <a:ext cx="435815" cy="340422"/>
                </a:xfrm>
                <a:custGeom>
                  <a:avLst/>
                  <a:gdLst>
                    <a:gd name="connsiteX0" fmla="*/ 435815 w 435815"/>
                    <a:gd name="connsiteY0" fmla="*/ 0 h 340422"/>
                    <a:gd name="connsiteX1" fmla="*/ 0 w 435815"/>
                    <a:gd name="connsiteY1" fmla="*/ 340423 h 340422"/>
                  </a:gdLst>
                  <a:ahLst/>
                  <a:cxnLst>
                    <a:cxn ang="0">
                      <a:pos x="connsiteX0" y="connsiteY0"/>
                    </a:cxn>
                    <a:cxn ang="0">
                      <a:pos x="connsiteX1" y="connsiteY1"/>
                    </a:cxn>
                  </a:cxnLst>
                  <a:rect l="l" t="t" r="r" b="b"/>
                  <a:pathLst>
                    <a:path w="435815" h="340422">
                      <a:moveTo>
                        <a:pt x="435815" y="0"/>
                      </a:moveTo>
                      <a:cubicBezTo>
                        <a:pt x="278403" y="124160"/>
                        <a:pt x="124220" y="241621"/>
                        <a:pt x="0" y="340423"/>
                      </a:cubicBezTo>
                    </a:path>
                  </a:pathLst>
                </a:custGeom>
                <a:noFill/>
                <a:ln w="6350" cap="rnd">
                  <a:solidFill>
                    <a:schemeClr val="bg1">
                      <a:alpha val="80000"/>
                    </a:schemeClr>
                  </a:solidFill>
                  <a:prstDash val="solid"/>
                  <a:miter/>
                </a:ln>
              </p:spPr>
              <p:txBody>
                <a:bodyPr rtlCol="0" anchor="ctr"/>
                <a:lstStyle/>
                <a:p>
                  <a:endParaRPr lang="en-GB"/>
                </a:p>
              </p:txBody>
            </p:sp>
            <p:sp>
              <p:nvSpPr>
                <p:cNvPr id="8429" name="Vrije vorm: vorm 8428">
                  <a:extLst>
                    <a:ext uri="{FF2B5EF4-FFF2-40B4-BE49-F238E27FC236}">
                      <a16:creationId xmlns:a16="http://schemas.microsoft.com/office/drawing/2014/main" id="{D72EF017-56F0-4DD2-B24C-C538EEB94BC8}"/>
                    </a:ext>
                  </a:extLst>
                </p:cNvPr>
                <p:cNvSpPr/>
                <p:nvPr/>
              </p:nvSpPr>
              <p:spPr>
                <a:xfrm>
                  <a:off x="4264274" y="4275239"/>
                  <a:ext cx="441736" cy="345446"/>
                </a:xfrm>
                <a:custGeom>
                  <a:avLst/>
                  <a:gdLst>
                    <a:gd name="connsiteX0" fmla="*/ 441736 w 441736"/>
                    <a:gd name="connsiteY0" fmla="*/ 0 h 345446"/>
                    <a:gd name="connsiteX1" fmla="*/ 0 w 441736"/>
                    <a:gd name="connsiteY1" fmla="*/ 345447 h 345446"/>
                  </a:gdLst>
                  <a:ahLst/>
                  <a:cxnLst>
                    <a:cxn ang="0">
                      <a:pos x="connsiteX0" y="connsiteY0"/>
                    </a:cxn>
                    <a:cxn ang="0">
                      <a:pos x="connsiteX1" y="connsiteY1"/>
                    </a:cxn>
                  </a:cxnLst>
                  <a:rect l="l" t="t" r="r" b="b"/>
                  <a:pathLst>
                    <a:path w="441736" h="345446">
                      <a:moveTo>
                        <a:pt x="441736" y="0"/>
                      </a:moveTo>
                      <a:cubicBezTo>
                        <a:pt x="281692" y="126253"/>
                        <a:pt x="125117" y="245688"/>
                        <a:pt x="0" y="345447"/>
                      </a:cubicBezTo>
                    </a:path>
                  </a:pathLst>
                </a:custGeom>
                <a:noFill/>
                <a:ln w="6350" cap="rnd">
                  <a:solidFill>
                    <a:schemeClr val="bg1">
                      <a:alpha val="80000"/>
                    </a:schemeClr>
                  </a:solidFill>
                  <a:prstDash val="solid"/>
                  <a:miter/>
                </a:ln>
              </p:spPr>
              <p:txBody>
                <a:bodyPr rtlCol="0" anchor="ctr"/>
                <a:lstStyle/>
                <a:p>
                  <a:endParaRPr lang="en-GB"/>
                </a:p>
              </p:txBody>
            </p:sp>
            <p:sp>
              <p:nvSpPr>
                <p:cNvPr id="8430" name="Vrije vorm: vorm 8429">
                  <a:extLst>
                    <a:ext uri="{FF2B5EF4-FFF2-40B4-BE49-F238E27FC236}">
                      <a16:creationId xmlns:a16="http://schemas.microsoft.com/office/drawing/2014/main" id="{9F3BEBBB-2F46-44C2-8146-1012D79A1276}"/>
                    </a:ext>
                  </a:extLst>
                </p:cNvPr>
                <p:cNvSpPr/>
                <p:nvPr/>
              </p:nvSpPr>
              <p:spPr>
                <a:xfrm>
                  <a:off x="4260626" y="4278230"/>
                  <a:ext cx="447597" cy="350350"/>
                </a:xfrm>
                <a:custGeom>
                  <a:avLst/>
                  <a:gdLst>
                    <a:gd name="connsiteX0" fmla="*/ 447597 w 447597"/>
                    <a:gd name="connsiteY0" fmla="*/ 0 h 350350"/>
                    <a:gd name="connsiteX1" fmla="*/ 0 w 447597"/>
                    <a:gd name="connsiteY1" fmla="*/ 350351 h 350350"/>
                  </a:gdLst>
                  <a:ahLst/>
                  <a:cxnLst>
                    <a:cxn ang="0">
                      <a:pos x="connsiteX0" y="connsiteY0"/>
                    </a:cxn>
                    <a:cxn ang="0">
                      <a:pos x="connsiteX1" y="connsiteY1"/>
                    </a:cxn>
                  </a:cxnLst>
                  <a:rect l="l" t="t" r="r" b="b"/>
                  <a:pathLst>
                    <a:path w="447597" h="350350">
                      <a:moveTo>
                        <a:pt x="447597" y="0"/>
                      </a:moveTo>
                      <a:cubicBezTo>
                        <a:pt x="284982" y="128406"/>
                        <a:pt x="125954" y="249755"/>
                        <a:pt x="0" y="350351"/>
                      </a:cubicBezTo>
                    </a:path>
                  </a:pathLst>
                </a:custGeom>
                <a:noFill/>
                <a:ln w="6350" cap="rnd">
                  <a:solidFill>
                    <a:schemeClr val="bg1">
                      <a:alpha val="80000"/>
                    </a:schemeClr>
                  </a:solidFill>
                  <a:prstDash val="solid"/>
                  <a:miter/>
                </a:ln>
              </p:spPr>
              <p:txBody>
                <a:bodyPr rtlCol="0" anchor="ctr"/>
                <a:lstStyle/>
                <a:p>
                  <a:endParaRPr lang="en-GB"/>
                </a:p>
              </p:txBody>
            </p:sp>
            <p:sp>
              <p:nvSpPr>
                <p:cNvPr id="8431" name="Vrije vorm: vorm 8430">
                  <a:extLst>
                    <a:ext uri="{FF2B5EF4-FFF2-40B4-BE49-F238E27FC236}">
                      <a16:creationId xmlns:a16="http://schemas.microsoft.com/office/drawing/2014/main" id="{EA72EEC6-29F9-412A-82E4-3F706A90F5E3}"/>
                    </a:ext>
                  </a:extLst>
                </p:cNvPr>
                <p:cNvSpPr/>
                <p:nvPr/>
              </p:nvSpPr>
              <p:spPr>
                <a:xfrm>
                  <a:off x="4256978" y="4281220"/>
                  <a:ext cx="453398" cy="355254"/>
                </a:xfrm>
                <a:custGeom>
                  <a:avLst/>
                  <a:gdLst>
                    <a:gd name="connsiteX0" fmla="*/ 453399 w 453398"/>
                    <a:gd name="connsiteY0" fmla="*/ 0 h 355254"/>
                    <a:gd name="connsiteX1" fmla="*/ 0 w 453398"/>
                    <a:gd name="connsiteY1" fmla="*/ 355255 h 355254"/>
                  </a:gdLst>
                  <a:ahLst/>
                  <a:cxnLst>
                    <a:cxn ang="0">
                      <a:pos x="connsiteX0" y="connsiteY0"/>
                    </a:cxn>
                    <a:cxn ang="0">
                      <a:pos x="connsiteX1" y="connsiteY1"/>
                    </a:cxn>
                  </a:cxnLst>
                  <a:rect l="l" t="t" r="r" b="b"/>
                  <a:pathLst>
                    <a:path w="453398" h="355254">
                      <a:moveTo>
                        <a:pt x="453399" y="0"/>
                      </a:moveTo>
                      <a:cubicBezTo>
                        <a:pt x="288151" y="130559"/>
                        <a:pt x="126732" y="253822"/>
                        <a:pt x="0" y="355255"/>
                      </a:cubicBezTo>
                    </a:path>
                  </a:pathLst>
                </a:custGeom>
                <a:noFill/>
                <a:ln w="6350" cap="rnd">
                  <a:solidFill>
                    <a:schemeClr val="bg1">
                      <a:alpha val="80000"/>
                    </a:schemeClr>
                  </a:solidFill>
                  <a:prstDash val="solid"/>
                  <a:miter/>
                </a:ln>
              </p:spPr>
              <p:txBody>
                <a:bodyPr rtlCol="0" anchor="ctr"/>
                <a:lstStyle/>
                <a:p>
                  <a:endParaRPr lang="en-GB"/>
                </a:p>
              </p:txBody>
            </p:sp>
          </p:grpSp>
          <p:sp>
            <p:nvSpPr>
              <p:cNvPr id="8030" name="Vrije vorm: vorm 8029">
                <a:extLst>
                  <a:ext uri="{FF2B5EF4-FFF2-40B4-BE49-F238E27FC236}">
                    <a16:creationId xmlns:a16="http://schemas.microsoft.com/office/drawing/2014/main" id="{F3964D0E-D7A7-41F4-8822-3A331E56FEDC}"/>
                  </a:ext>
                </a:extLst>
              </p:cNvPr>
              <p:cNvSpPr/>
              <p:nvPr/>
            </p:nvSpPr>
            <p:spPr>
              <a:xfrm>
                <a:off x="4243282" y="4442341"/>
                <a:ext cx="584077" cy="483003"/>
              </a:xfrm>
              <a:custGeom>
                <a:avLst/>
                <a:gdLst>
                  <a:gd name="connsiteX0" fmla="*/ 13098 w 584077"/>
                  <a:gd name="connsiteY0" fmla="*/ 339167 h 483003"/>
                  <a:gd name="connsiteX1" fmla="*/ 0 w 584077"/>
                  <a:gd name="connsiteY1" fmla="*/ 483003 h 483003"/>
                  <a:gd name="connsiteX2" fmla="*/ 584078 w 584077"/>
                  <a:gd name="connsiteY2" fmla="*/ 0 h 483003"/>
                </a:gdLst>
                <a:ahLst/>
                <a:cxnLst>
                  <a:cxn ang="0">
                    <a:pos x="connsiteX0" y="connsiteY0"/>
                  </a:cxn>
                  <a:cxn ang="0">
                    <a:pos x="connsiteX1" y="connsiteY1"/>
                  </a:cxn>
                  <a:cxn ang="0">
                    <a:pos x="connsiteX2" y="connsiteY2"/>
                  </a:cxn>
                </a:cxnLst>
                <a:rect l="l" t="t" r="r" b="b"/>
                <a:pathLst>
                  <a:path w="584077" h="483003">
                    <a:moveTo>
                      <a:pt x="13098" y="339167"/>
                    </a:moveTo>
                    <a:cubicBezTo>
                      <a:pt x="4486" y="390960"/>
                      <a:pt x="598" y="439045"/>
                      <a:pt x="0" y="483003"/>
                    </a:cubicBezTo>
                    <a:cubicBezTo>
                      <a:pt x="114710" y="388328"/>
                      <a:pt x="341021" y="200354"/>
                      <a:pt x="584078" y="0"/>
                    </a:cubicBezTo>
                  </a:path>
                </a:pathLst>
              </a:custGeom>
              <a:noFill/>
              <a:ln w="6350" cap="rnd">
                <a:solidFill>
                  <a:schemeClr val="bg1">
                    <a:alpha val="80000"/>
                  </a:schemeClr>
                </a:solidFill>
                <a:prstDash val="solid"/>
                <a:miter/>
              </a:ln>
            </p:spPr>
            <p:txBody>
              <a:bodyPr rtlCol="0" anchor="ctr"/>
              <a:lstStyle/>
              <a:p>
                <a:endParaRPr lang="en-GB"/>
              </a:p>
            </p:txBody>
          </p:sp>
          <p:sp>
            <p:nvSpPr>
              <p:cNvPr id="8031" name="Vrije vorm: vorm 8030">
                <a:extLst>
                  <a:ext uri="{FF2B5EF4-FFF2-40B4-BE49-F238E27FC236}">
                    <a16:creationId xmlns:a16="http://schemas.microsoft.com/office/drawing/2014/main" id="{BA88F098-7390-4617-A907-E42C20745E97}"/>
                  </a:ext>
                </a:extLst>
              </p:cNvPr>
              <p:cNvSpPr/>
              <p:nvPr/>
            </p:nvSpPr>
            <p:spPr>
              <a:xfrm>
                <a:off x="4222888" y="4772656"/>
                <a:ext cx="154661" cy="41685"/>
              </a:xfrm>
              <a:custGeom>
                <a:avLst/>
                <a:gdLst>
                  <a:gd name="connsiteX0" fmla="*/ 0 w 154661"/>
                  <a:gd name="connsiteY0" fmla="*/ 0 h 41685"/>
                  <a:gd name="connsiteX1" fmla="*/ 154661 w 154661"/>
                  <a:gd name="connsiteY1" fmla="*/ 41686 h 41685"/>
                </a:gdLst>
                <a:ahLst/>
                <a:cxnLst>
                  <a:cxn ang="0">
                    <a:pos x="connsiteX0" y="connsiteY0"/>
                  </a:cxn>
                  <a:cxn ang="0">
                    <a:pos x="connsiteX1" y="connsiteY1"/>
                  </a:cxn>
                </a:cxnLst>
                <a:rect l="l" t="t" r="r" b="b"/>
                <a:pathLst>
                  <a:path w="154661" h="41685">
                    <a:moveTo>
                      <a:pt x="0" y="0"/>
                    </a:moveTo>
                    <a:cubicBezTo>
                      <a:pt x="51913" y="13397"/>
                      <a:pt x="103287" y="27631"/>
                      <a:pt x="154661" y="41686"/>
                    </a:cubicBezTo>
                  </a:path>
                </a:pathLst>
              </a:custGeom>
              <a:noFill/>
              <a:ln w="6350" cap="rnd">
                <a:solidFill>
                  <a:schemeClr val="bg1">
                    <a:alpha val="80000"/>
                  </a:schemeClr>
                </a:solidFill>
                <a:prstDash val="solid"/>
                <a:miter/>
              </a:ln>
            </p:spPr>
            <p:txBody>
              <a:bodyPr rtlCol="0" anchor="ctr"/>
              <a:lstStyle/>
              <a:p>
                <a:endParaRPr lang="en-GB"/>
              </a:p>
            </p:txBody>
          </p:sp>
          <p:sp>
            <p:nvSpPr>
              <p:cNvPr id="8032" name="Vrije vorm: vorm 8031">
                <a:extLst>
                  <a:ext uri="{FF2B5EF4-FFF2-40B4-BE49-F238E27FC236}">
                    <a16:creationId xmlns:a16="http://schemas.microsoft.com/office/drawing/2014/main" id="{F693737A-8698-4B44-B58C-8422C7A653F8}"/>
                  </a:ext>
                </a:extLst>
              </p:cNvPr>
              <p:cNvSpPr/>
              <p:nvPr/>
            </p:nvSpPr>
            <p:spPr>
              <a:xfrm>
                <a:off x="4228210" y="4768230"/>
                <a:ext cx="155199" cy="41267"/>
              </a:xfrm>
              <a:custGeom>
                <a:avLst/>
                <a:gdLst>
                  <a:gd name="connsiteX0" fmla="*/ 0 w 155199"/>
                  <a:gd name="connsiteY0" fmla="*/ 0 h 41267"/>
                  <a:gd name="connsiteX1" fmla="*/ 155199 w 155199"/>
                  <a:gd name="connsiteY1" fmla="*/ 41267 h 41267"/>
                </a:gdLst>
                <a:ahLst/>
                <a:cxnLst>
                  <a:cxn ang="0">
                    <a:pos x="connsiteX0" y="connsiteY0"/>
                  </a:cxn>
                  <a:cxn ang="0">
                    <a:pos x="connsiteX1" y="connsiteY1"/>
                  </a:cxn>
                </a:cxnLst>
                <a:rect l="l" t="t" r="r" b="b"/>
                <a:pathLst>
                  <a:path w="155199" h="41267">
                    <a:moveTo>
                      <a:pt x="0" y="0"/>
                    </a:moveTo>
                    <a:cubicBezTo>
                      <a:pt x="52092" y="13277"/>
                      <a:pt x="103706" y="27392"/>
                      <a:pt x="155199" y="41267"/>
                    </a:cubicBezTo>
                  </a:path>
                </a:pathLst>
              </a:custGeom>
              <a:noFill/>
              <a:ln w="6350" cap="rnd">
                <a:solidFill>
                  <a:schemeClr val="bg1">
                    <a:alpha val="80000"/>
                  </a:schemeClr>
                </a:solidFill>
                <a:prstDash val="solid"/>
                <a:miter/>
              </a:ln>
            </p:spPr>
            <p:txBody>
              <a:bodyPr rtlCol="0" anchor="ctr"/>
              <a:lstStyle/>
              <a:p>
                <a:endParaRPr lang="en-GB"/>
              </a:p>
            </p:txBody>
          </p:sp>
          <p:sp>
            <p:nvSpPr>
              <p:cNvPr id="8033" name="Vrije vorm: vorm 8032">
                <a:extLst>
                  <a:ext uri="{FF2B5EF4-FFF2-40B4-BE49-F238E27FC236}">
                    <a16:creationId xmlns:a16="http://schemas.microsoft.com/office/drawing/2014/main" id="{88D6C400-CB8A-4626-871A-11F3AD6870BA}"/>
                  </a:ext>
                </a:extLst>
              </p:cNvPr>
              <p:cNvSpPr/>
              <p:nvPr/>
            </p:nvSpPr>
            <p:spPr>
              <a:xfrm>
                <a:off x="4275638" y="4729894"/>
                <a:ext cx="151431" cy="43300"/>
              </a:xfrm>
              <a:custGeom>
                <a:avLst/>
                <a:gdLst>
                  <a:gd name="connsiteX0" fmla="*/ 0 w 151431"/>
                  <a:gd name="connsiteY0" fmla="*/ 0 h 43300"/>
                  <a:gd name="connsiteX1" fmla="*/ 151432 w 151431"/>
                  <a:gd name="connsiteY1" fmla="*/ 43300 h 43300"/>
                </a:gdLst>
                <a:ahLst/>
                <a:cxnLst>
                  <a:cxn ang="0">
                    <a:pos x="connsiteX0" y="connsiteY0"/>
                  </a:cxn>
                  <a:cxn ang="0">
                    <a:pos x="connsiteX1" y="connsiteY1"/>
                  </a:cxn>
                </a:cxnLst>
                <a:rect l="l" t="t" r="r" b="b"/>
                <a:pathLst>
                  <a:path w="151431" h="43300">
                    <a:moveTo>
                      <a:pt x="0" y="0"/>
                    </a:moveTo>
                    <a:cubicBezTo>
                      <a:pt x="51075" y="14055"/>
                      <a:pt x="101433" y="28767"/>
                      <a:pt x="151432" y="43300"/>
                    </a:cubicBezTo>
                  </a:path>
                </a:pathLst>
              </a:custGeom>
              <a:noFill/>
              <a:ln w="6350" cap="rnd">
                <a:solidFill>
                  <a:schemeClr val="bg1">
                    <a:alpha val="80000"/>
                  </a:schemeClr>
                </a:solidFill>
                <a:prstDash val="solid"/>
                <a:miter/>
              </a:ln>
            </p:spPr>
            <p:txBody>
              <a:bodyPr rtlCol="0" anchor="ctr"/>
              <a:lstStyle/>
              <a:p>
                <a:endParaRPr lang="en-GB"/>
              </a:p>
            </p:txBody>
          </p:sp>
          <p:sp>
            <p:nvSpPr>
              <p:cNvPr id="8034" name="Vrije vorm: vorm 8033">
                <a:extLst>
                  <a:ext uri="{FF2B5EF4-FFF2-40B4-BE49-F238E27FC236}">
                    <a16:creationId xmlns:a16="http://schemas.microsoft.com/office/drawing/2014/main" id="{63430A46-D7F5-4D67-8F8C-9E88534B4C2B}"/>
                  </a:ext>
                </a:extLst>
              </p:cNvPr>
              <p:cNvSpPr/>
              <p:nvPr/>
            </p:nvSpPr>
            <p:spPr>
              <a:xfrm>
                <a:off x="4281140" y="4724989"/>
                <a:ext cx="151850" cy="43420"/>
              </a:xfrm>
              <a:custGeom>
                <a:avLst/>
                <a:gdLst>
                  <a:gd name="connsiteX0" fmla="*/ 0 w 151850"/>
                  <a:gd name="connsiteY0" fmla="*/ 0 h 43420"/>
                  <a:gd name="connsiteX1" fmla="*/ 151851 w 151850"/>
                  <a:gd name="connsiteY1" fmla="*/ 43420 h 43420"/>
                </a:gdLst>
                <a:ahLst/>
                <a:cxnLst>
                  <a:cxn ang="0">
                    <a:pos x="connsiteX0" y="connsiteY0"/>
                  </a:cxn>
                  <a:cxn ang="0">
                    <a:pos x="connsiteX1" y="connsiteY1"/>
                  </a:cxn>
                </a:cxnLst>
                <a:rect l="l" t="t" r="r" b="b"/>
                <a:pathLst>
                  <a:path w="151850" h="43420">
                    <a:moveTo>
                      <a:pt x="0" y="0"/>
                    </a:moveTo>
                    <a:cubicBezTo>
                      <a:pt x="51195" y="14174"/>
                      <a:pt x="101672" y="28887"/>
                      <a:pt x="151851" y="43420"/>
                    </a:cubicBezTo>
                  </a:path>
                </a:pathLst>
              </a:custGeom>
              <a:noFill/>
              <a:ln w="6350" cap="rnd">
                <a:solidFill>
                  <a:schemeClr val="bg1">
                    <a:alpha val="80000"/>
                  </a:schemeClr>
                </a:solidFill>
                <a:prstDash val="solid"/>
                <a:miter/>
              </a:ln>
            </p:spPr>
            <p:txBody>
              <a:bodyPr rtlCol="0" anchor="ctr"/>
              <a:lstStyle/>
              <a:p>
                <a:endParaRPr lang="en-GB"/>
              </a:p>
            </p:txBody>
          </p:sp>
          <p:sp>
            <p:nvSpPr>
              <p:cNvPr id="8035" name="Vrije vorm: vorm 8034">
                <a:extLst>
                  <a:ext uri="{FF2B5EF4-FFF2-40B4-BE49-F238E27FC236}">
                    <a16:creationId xmlns:a16="http://schemas.microsoft.com/office/drawing/2014/main" id="{E9E3BB05-A87A-4DA0-98CD-3C94AE7171EC}"/>
                  </a:ext>
                </a:extLst>
              </p:cNvPr>
              <p:cNvSpPr/>
              <p:nvPr/>
            </p:nvSpPr>
            <p:spPr>
              <a:xfrm>
                <a:off x="4334488" y="4683483"/>
                <a:ext cx="142221" cy="48503"/>
              </a:xfrm>
              <a:custGeom>
                <a:avLst/>
                <a:gdLst>
                  <a:gd name="connsiteX0" fmla="*/ 0 w 142221"/>
                  <a:gd name="connsiteY0" fmla="*/ 0 h 48503"/>
                  <a:gd name="connsiteX1" fmla="*/ 142222 w 142221"/>
                  <a:gd name="connsiteY1" fmla="*/ 48504 h 48503"/>
                </a:gdLst>
                <a:ahLst/>
                <a:cxnLst>
                  <a:cxn ang="0">
                    <a:pos x="connsiteX0" y="connsiteY0"/>
                  </a:cxn>
                  <a:cxn ang="0">
                    <a:pos x="connsiteX1" y="connsiteY1"/>
                  </a:cxn>
                </a:cxnLst>
                <a:rect l="l" t="t" r="r" b="b"/>
                <a:pathLst>
                  <a:path w="142221" h="48503">
                    <a:moveTo>
                      <a:pt x="0" y="0"/>
                    </a:moveTo>
                    <a:cubicBezTo>
                      <a:pt x="48145" y="15909"/>
                      <a:pt x="95452" y="32176"/>
                      <a:pt x="142222" y="48504"/>
                    </a:cubicBezTo>
                  </a:path>
                </a:pathLst>
              </a:custGeom>
              <a:noFill/>
              <a:ln w="6350" cap="rnd">
                <a:solidFill>
                  <a:schemeClr val="bg1">
                    <a:alpha val="80000"/>
                  </a:schemeClr>
                </a:solidFill>
                <a:prstDash val="solid"/>
                <a:miter/>
              </a:ln>
            </p:spPr>
            <p:txBody>
              <a:bodyPr rtlCol="0" anchor="ctr"/>
              <a:lstStyle/>
              <a:p>
                <a:endParaRPr lang="en-GB"/>
              </a:p>
            </p:txBody>
          </p:sp>
          <p:sp>
            <p:nvSpPr>
              <p:cNvPr id="8036" name="Vrije vorm: vorm 8035">
                <a:extLst>
                  <a:ext uri="{FF2B5EF4-FFF2-40B4-BE49-F238E27FC236}">
                    <a16:creationId xmlns:a16="http://schemas.microsoft.com/office/drawing/2014/main" id="{BD925D04-3824-40DC-A29B-14C6C5F79F56}"/>
                  </a:ext>
                </a:extLst>
              </p:cNvPr>
              <p:cNvSpPr/>
              <p:nvPr/>
            </p:nvSpPr>
            <p:spPr>
              <a:xfrm>
                <a:off x="4341067" y="4678160"/>
                <a:ext cx="142460" cy="48204"/>
              </a:xfrm>
              <a:custGeom>
                <a:avLst/>
                <a:gdLst>
                  <a:gd name="connsiteX0" fmla="*/ 0 w 142460"/>
                  <a:gd name="connsiteY0" fmla="*/ 0 h 48204"/>
                  <a:gd name="connsiteX1" fmla="*/ 142461 w 142460"/>
                  <a:gd name="connsiteY1" fmla="*/ 48205 h 48204"/>
                </a:gdLst>
                <a:ahLst/>
                <a:cxnLst>
                  <a:cxn ang="0">
                    <a:pos x="connsiteX0" y="connsiteY0"/>
                  </a:cxn>
                  <a:cxn ang="0">
                    <a:pos x="connsiteX1" y="connsiteY1"/>
                  </a:cxn>
                </a:cxnLst>
                <a:rect l="l" t="t" r="r" b="b"/>
                <a:pathLst>
                  <a:path w="142460" h="48204">
                    <a:moveTo>
                      <a:pt x="0" y="0"/>
                    </a:moveTo>
                    <a:cubicBezTo>
                      <a:pt x="48205" y="15849"/>
                      <a:pt x="95572" y="32057"/>
                      <a:pt x="142461" y="48205"/>
                    </a:cubicBezTo>
                  </a:path>
                </a:pathLst>
              </a:custGeom>
              <a:noFill/>
              <a:ln w="6350" cap="rnd">
                <a:solidFill>
                  <a:schemeClr val="bg1">
                    <a:alpha val="80000"/>
                  </a:schemeClr>
                </a:solidFill>
                <a:prstDash val="solid"/>
                <a:miter/>
              </a:ln>
            </p:spPr>
            <p:txBody>
              <a:bodyPr rtlCol="0" anchor="ctr"/>
              <a:lstStyle/>
              <a:p>
                <a:endParaRPr lang="en-GB"/>
              </a:p>
            </p:txBody>
          </p:sp>
          <p:sp>
            <p:nvSpPr>
              <p:cNvPr id="8037" name="Vrije vorm: vorm 8036">
                <a:extLst>
                  <a:ext uri="{FF2B5EF4-FFF2-40B4-BE49-F238E27FC236}">
                    <a16:creationId xmlns:a16="http://schemas.microsoft.com/office/drawing/2014/main" id="{162FF469-C72C-4694-9E09-57CE1D6FE18B}"/>
                  </a:ext>
                </a:extLst>
              </p:cNvPr>
              <p:cNvSpPr/>
              <p:nvPr/>
            </p:nvSpPr>
            <p:spPr>
              <a:xfrm>
                <a:off x="4397285" y="4634023"/>
                <a:ext cx="131635" cy="55381"/>
              </a:xfrm>
              <a:custGeom>
                <a:avLst/>
                <a:gdLst>
                  <a:gd name="connsiteX0" fmla="*/ 0 w 131635"/>
                  <a:gd name="connsiteY0" fmla="*/ 0 h 55381"/>
                  <a:gd name="connsiteX1" fmla="*/ 131636 w 131635"/>
                  <a:gd name="connsiteY1" fmla="*/ 55382 h 55381"/>
                </a:gdLst>
                <a:ahLst/>
                <a:cxnLst>
                  <a:cxn ang="0">
                    <a:pos x="connsiteX0" y="connsiteY0"/>
                  </a:cxn>
                  <a:cxn ang="0">
                    <a:pos x="connsiteX1" y="connsiteY1"/>
                  </a:cxn>
                </a:cxnLst>
                <a:rect l="l" t="t" r="r" b="b"/>
                <a:pathLst>
                  <a:path w="131635" h="55381">
                    <a:moveTo>
                      <a:pt x="0" y="0"/>
                    </a:moveTo>
                    <a:cubicBezTo>
                      <a:pt x="44616" y="18241"/>
                      <a:pt x="88395" y="36782"/>
                      <a:pt x="131636" y="55382"/>
                    </a:cubicBezTo>
                  </a:path>
                </a:pathLst>
              </a:custGeom>
              <a:noFill/>
              <a:ln w="6350" cap="rnd">
                <a:solidFill>
                  <a:schemeClr val="bg1">
                    <a:alpha val="80000"/>
                  </a:schemeClr>
                </a:solidFill>
                <a:prstDash val="solid"/>
                <a:miter/>
              </a:ln>
            </p:spPr>
            <p:txBody>
              <a:bodyPr rtlCol="0" anchor="ctr"/>
              <a:lstStyle/>
              <a:p>
                <a:endParaRPr lang="en-GB"/>
              </a:p>
            </p:txBody>
          </p:sp>
          <p:sp>
            <p:nvSpPr>
              <p:cNvPr id="8038" name="Vrije vorm: vorm 8037">
                <a:extLst>
                  <a:ext uri="{FF2B5EF4-FFF2-40B4-BE49-F238E27FC236}">
                    <a16:creationId xmlns:a16="http://schemas.microsoft.com/office/drawing/2014/main" id="{657ABABB-B08E-46DB-9ED7-F4597C3754F3}"/>
                  </a:ext>
                </a:extLst>
              </p:cNvPr>
              <p:cNvSpPr/>
              <p:nvPr/>
            </p:nvSpPr>
            <p:spPr>
              <a:xfrm>
                <a:off x="4404402" y="4628341"/>
                <a:ext cx="131635" cy="55202"/>
              </a:xfrm>
              <a:custGeom>
                <a:avLst/>
                <a:gdLst>
                  <a:gd name="connsiteX0" fmla="*/ 0 w 131635"/>
                  <a:gd name="connsiteY0" fmla="*/ 0 h 55202"/>
                  <a:gd name="connsiteX1" fmla="*/ 131636 w 131635"/>
                  <a:gd name="connsiteY1" fmla="*/ 55202 h 55202"/>
                </a:gdLst>
                <a:ahLst/>
                <a:cxnLst>
                  <a:cxn ang="0">
                    <a:pos x="connsiteX0" y="connsiteY0"/>
                  </a:cxn>
                  <a:cxn ang="0">
                    <a:pos x="connsiteX1" y="connsiteY1"/>
                  </a:cxn>
                </a:cxnLst>
                <a:rect l="l" t="t" r="r" b="b"/>
                <a:pathLst>
                  <a:path w="131635" h="55202">
                    <a:moveTo>
                      <a:pt x="0" y="0"/>
                    </a:moveTo>
                    <a:cubicBezTo>
                      <a:pt x="44616" y="18182"/>
                      <a:pt x="88395" y="36662"/>
                      <a:pt x="131636" y="55202"/>
                    </a:cubicBezTo>
                  </a:path>
                </a:pathLst>
              </a:custGeom>
              <a:noFill/>
              <a:ln w="6350" cap="rnd">
                <a:solidFill>
                  <a:schemeClr val="bg1">
                    <a:alpha val="80000"/>
                  </a:schemeClr>
                </a:solidFill>
                <a:prstDash val="solid"/>
                <a:miter/>
              </a:ln>
            </p:spPr>
            <p:txBody>
              <a:bodyPr rtlCol="0" anchor="ctr"/>
              <a:lstStyle/>
              <a:p>
                <a:endParaRPr lang="en-GB"/>
              </a:p>
            </p:txBody>
          </p:sp>
          <p:sp>
            <p:nvSpPr>
              <p:cNvPr id="8039" name="Vrije vorm: vorm 8038">
                <a:extLst>
                  <a:ext uri="{FF2B5EF4-FFF2-40B4-BE49-F238E27FC236}">
                    <a16:creationId xmlns:a16="http://schemas.microsoft.com/office/drawing/2014/main" id="{A2FFC2BD-4751-4EFF-A969-350B77459C5F}"/>
                  </a:ext>
                </a:extLst>
              </p:cNvPr>
              <p:cNvSpPr/>
              <p:nvPr/>
            </p:nvSpPr>
            <p:spPr>
              <a:xfrm>
                <a:off x="4464509" y="4580555"/>
                <a:ext cx="118537" cy="63933"/>
              </a:xfrm>
              <a:custGeom>
                <a:avLst/>
                <a:gdLst>
                  <a:gd name="connsiteX0" fmla="*/ 0 w 118537"/>
                  <a:gd name="connsiteY0" fmla="*/ 0 h 63933"/>
                  <a:gd name="connsiteX1" fmla="*/ 118538 w 118537"/>
                  <a:gd name="connsiteY1" fmla="*/ 63934 h 63933"/>
                </a:gdLst>
                <a:ahLst/>
                <a:cxnLst>
                  <a:cxn ang="0">
                    <a:pos x="connsiteX0" y="connsiteY0"/>
                  </a:cxn>
                  <a:cxn ang="0">
                    <a:pos x="connsiteX1" y="connsiteY1"/>
                  </a:cxn>
                </a:cxnLst>
                <a:rect l="l" t="t" r="r" b="b"/>
                <a:pathLst>
                  <a:path w="118537" h="63933">
                    <a:moveTo>
                      <a:pt x="0" y="0"/>
                    </a:moveTo>
                    <a:cubicBezTo>
                      <a:pt x="40190" y="21112"/>
                      <a:pt x="79603" y="42463"/>
                      <a:pt x="118538" y="63934"/>
                    </a:cubicBezTo>
                  </a:path>
                </a:pathLst>
              </a:custGeom>
              <a:noFill/>
              <a:ln w="6350" cap="rnd">
                <a:solidFill>
                  <a:schemeClr val="bg1">
                    <a:alpha val="80000"/>
                  </a:schemeClr>
                </a:solidFill>
                <a:prstDash val="solid"/>
                <a:miter/>
              </a:ln>
            </p:spPr>
            <p:txBody>
              <a:bodyPr rtlCol="0" anchor="ctr"/>
              <a:lstStyle/>
              <a:p>
                <a:endParaRPr lang="en-GB"/>
              </a:p>
            </p:txBody>
          </p:sp>
          <p:sp>
            <p:nvSpPr>
              <p:cNvPr id="8040" name="Vrije vorm: vorm 8039">
                <a:extLst>
                  <a:ext uri="{FF2B5EF4-FFF2-40B4-BE49-F238E27FC236}">
                    <a16:creationId xmlns:a16="http://schemas.microsoft.com/office/drawing/2014/main" id="{C5AFBF27-B1AC-4CE1-9C04-F9FC42438015}"/>
                  </a:ext>
                </a:extLst>
              </p:cNvPr>
              <p:cNvSpPr/>
              <p:nvPr/>
            </p:nvSpPr>
            <p:spPr>
              <a:xfrm>
                <a:off x="4472044" y="4574574"/>
                <a:ext cx="118418" cy="63814"/>
              </a:xfrm>
              <a:custGeom>
                <a:avLst/>
                <a:gdLst>
                  <a:gd name="connsiteX0" fmla="*/ 0 w 118418"/>
                  <a:gd name="connsiteY0" fmla="*/ 0 h 63814"/>
                  <a:gd name="connsiteX1" fmla="*/ 118419 w 118418"/>
                  <a:gd name="connsiteY1" fmla="*/ 63814 h 63814"/>
                </a:gdLst>
                <a:ahLst/>
                <a:cxnLst>
                  <a:cxn ang="0">
                    <a:pos x="connsiteX0" y="connsiteY0"/>
                  </a:cxn>
                  <a:cxn ang="0">
                    <a:pos x="connsiteX1" y="connsiteY1"/>
                  </a:cxn>
                </a:cxnLst>
                <a:rect l="l" t="t" r="r" b="b"/>
                <a:pathLst>
                  <a:path w="118418" h="63814">
                    <a:moveTo>
                      <a:pt x="0" y="0"/>
                    </a:moveTo>
                    <a:cubicBezTo>
                      <a:pt x="40131" y="21112"/>
                      <a:pt x="79544" y="42403"/>
                      <a:pt x="118419" y="63814"/>
                    </a:cubicBezTo>
                  </a:path>
                </a:pathLst>
              </a:custGeom>
              <a:noFill/>
              <a:ln w="6350" cap="rnd">
                <a:solidFill>
                  <a:schemeClr val="bg1">
                    <a:alpha val="80000"/>
                  </a:schemeClr>
                </a:solidFill>
                <a:prstDash val="solid"/>
                <a:miter/>
              </a:ln>
            </p:spPr>
            <p:txBody>
              <a:bodyPr rtlCol="0" anchor="ctr"/>
              <a:lstStyle/>
              <a:p>
                <a:endParaRPr lang="en-GB"/>
              </a:p>
            </p:txBody>
          </p:sp>
          <p:sp>
            <p:nvSpPr>
              <p:cNvPr id="8041" name="Vrije vorm: vorm 8040">
                <a:extLst>
                  <a:ext uri="{FF2B5EF4-FFF2-40B4-BE49-F238E27FC236}">
                    <a16:creationId xmlns:a16="http://schemas.microsoft.com/office/drawing/2014/main" id="{F3132B92-49F7-4C75-8461-85D0BF8A6253}"/>
                  </a:ext>
                </a:extLst>
              </p:cNvPr>
              <p:cNvSpPr/>
              <p:nvPr/>
            </p:nvSpPr>
            <p:spPr>
              <a:xfrm>
                <a:off x="4535560" y="4524157"/>
                <a:ext cx="107892" cy="70213"/>
              </a:xfrm>
              <a:custGeom>
                <a:avLst/>
                <a:gdLst>
                  <a:gd name="connsiteX0" fmla="*/ 0 w 107892"/>
                  <a:gd name="connsiteY0" fmla="*/ 0 h 70213"/>
                  <a:gd name="connsiteX1" fmla="*/ 107892 w 107892"/>
                  <a:gd name="connsiteY1" fmla="*/ 70214 h 70213"/>
                </a:gdLst>
                <a:ahLst/>
                <a:cxnLst>
                  <a:cxn ang="0">
                    <a:pos x="connsiteX0" y="connsiteY0"/>
                  </a:cxn>
                  <a:cxn ang="0">
                    <a:pos x="connsiteX1" y="connsiteY1"/>
                  </a:cxn>
                </a:cxnLst>
                <a:rect l="l" t="t" r="r" b="b"/>
                <a:pathLst>
                  <a:path w="107892" h="70213">
                    <a:moveTo>
                      <a:pt x="0" y="0"/>
                    </a:moveTo>
                    <a:cubicBezTo>
                      <a:pt x="36483" y="23265"/>
                      <a:pt x="72367" y="46709"/>
                      <a:pt x="107892" y="70214"/>
                    </a:cubicBezTo>
                  </a:path>
                </a:pathLst>
              </a:custGeom>
              <a:noFill/>
              <a:ln w="6350" cap="rnd">
                <a:solidFill>
                  <a:schemeClr val="bg1">
                    <a:alpha val="80000"/>
                  </a:schemeClr>
                </a:solidFill>
                <a:prstDash val="solid"/>
                <a:miter/>
              </a:ln>
            </p:spPr>
            <p:txBody>
              <a:bodyPr rtlCol="0" anchor="ctr"/>
              <a:lstStyle/>
              <a:p>
                <a:endParaRPr lang="en-GB"/>
              </a:p>
            </p:txBody>
          </p:sp>
          <p:sp>
            <p:nvSpPr>
              <p:cNvPr id="8042" name="Vrije vorm: vorm 8041">
                <a:extLst>
                  <a:ext uri="{FF2B5EF4-FFF2-40B4-BE49-F238E27FC236}">
                    <a16:creationId xmlns:a16="http://schemas.microsoft.com/office/drawing/2014/main" id="{5B39E7C0-5424-4A6F-A670-5764944E3724}"/>
                  </a:ext>
                </a:extLst>
              </p:cNvPr>
              <p:cNvSpPr/>
              <p:nvPr/>
            </p:nvSpPr>
            <p:spPr>
              <a:xfrm>
                <a:off x="4543514" y="4517877"/>
                <a:ext cx="107712" cy="70213"/>
              </a:xfrm>
              <a:custGeom>
                <a:avLst/>
                <a:gdLst>
                  <a:gd name="connsiteX0" fmla="*/ 0 w 107712"/>
                  <a:gd name="connsiteY0" fmla="*/ 0 h 70213"/>
                  <a:gd name="connsiteX1" fmla="*/ 107713 w 107712"/>
                  <a:gd name="connsiteY1" fmla="*/ 70214 h 70213"/>
                </a:gdLst>
                <a:ahLst/>
                <a:cxnLst>
                  <a:cxn ang="0">
                    <a:pos x="connsiteX0" y="connsiteY0"/>
                  </a:cxn>
                  <a:cxn ang="0">
                    <a:pos x="connsiteX1" y="connsiteY1"/>
                  </a:cxn>
                </a:cxnLst>
                <a:rect l="l" t="t" r="r" b="b"/>
                <a:pathLst>
                  <a:path w="107712" h="70213">
                    <a:moveTo>
                      <a:pt x="0" y="0"/>
                    </a:moveTo>
                    <a:cubicBezTo>
                      <a:pt x="36423" y="23265"/>
                      <a:pt x="72307" y="46709"/>
                      <a:pt x="107713" y="70214"/>
                    </a:cubicBezTo>
                  </a:path>
                </a:pathLst>
              </a:custGeom>
              <a:noFill/>
              <a:ln w="6350" cap="rnd">
                <a:solidFill>
                  <a:schemeClr val="bg1">
                    <a:alpha val="80000"/>
                  </a:schemeClr>
                </a:solidFill>
                <a:prstDash val="solid"/>
                <a:miter/>
              </a:ln>
            </p:spPr>
            <p:txBody>
              <a:bodyPr rtlCol="0" anchor="ctr"/>
              <a:lstStyle/>
              <a:p>
                <a:endParaRPr lang="en-GB"/>
              </a:p>
            </p:txBody>
          </p:sp>
          <p:sp>
            <p:nvSpPr>
              <p:cNvPr id="8043" name="Vrije vorm: vorm 8042">
                <a:extLst>
                  <a:ext uri="{FF2B5EF4-FFF2-40B4-BE49-F238E27FC236}">
                    <a16:creationId xmlns:a16="http://schemas.microsoft.com/office/drawing/2014/main" id="{A7470139-31FD-4AA0-BCBF-7BDB36FF56B8}"/>
                  </a:ext>
                </a:extLst>
              </p:cNvPr>
              <p:cNvSpPr/>
              <p:nvPr/>
            </p:nvSpPr>
            <p:spPr>
              <a:xfrm>
                <a:off x="4241368" y="4757405"/>
                <a:ext cx="153465" cy="42881"/>
              </a:xfrm>
              <a:custGeom>
                <a:avLst/>
                <a:gdLst>
                  <a:gd name="connsiteX0" fmla="*/ 0 w 153465"/>
                  <a:gd name="connsiteY0" fmla="*/ 0 h 42881"/>
                  <a:gd name="connsiteX1" fmla="*/ 153466 w 153465"/>
                  <a:gd name="connsiteY1" fmla="*/ 42882 h 42881"/>
                </a:gdLst>
                <a:ahLst/>
                <a:cxnLst>
                  <a:cxn ang="0">
                    <a:pos x="connsiteX0" y="connsiteY0"/>
                  </a:cxn>
                  <a:cxn ang="0">
                    <a:pos x="connsiteX1" y="connsiteY1"/>
                  </a:cxn>
                </a:cxnLst>
                <a:rect l="l" t="t" r="r" b="b"/>
                <a:pathLst>
                  <a:path w="153465" h="42881">
                    <a:moveTo>
                      <a:pt x="0" y="0"/>
                    </a:moveTo>
                    <a:cubicBezTo>
                      <a:pt x="51614" y="13815"/>
                      <a:pt x="102629" y="28408"/>
                      <a:pt x="153466" y="42882"/>
                    </a:cubicBezTo>
                  </a:path>
                </a:pathLst>
              </a:custGeom>
              <a:noFill/>
              <a:ln w="6350" cap="rnd">
                <a:solidFill>
                  <a:schemeClr val="bg1">
                    <a:alpha val="80000"/>
                  </a:schemeClr>
                </a:solidFill>
                <a:prstDash val="solid"/>
                <a:miter/>
              </a:ln>
            </p:spPr>
            <p:txBody>
              <a:bodyPr rtlCol="0" anchor="ctr"/>
              <a:lstStyle/>
              <a:p>
                <a:endParaRPr lang="en-GB"/>
              </a:p>
            </p:txBody>
          </p:sp>
          <p:sp>
            <p:nvSpPr>
              <p:cNvPr id="8044" name="Vrije vorm: vorm 8043">
                <a:extLst>
                  <a:ext uri="{FF2B5EF4-FFF2-40B4-BE49-F238E27FC236}">
                    <a16:creationId xmlns:a16="http://schemas.microsoft.com/office/drawing/2014/main" id="{896924BD-76E6-4141-9DCA-316F8AC77322}"/>
                  </a:ext>
                </a:extLst>
              </p:cNvPr>
              <p:cNvSpPr/>
              <p:nvPr/>
            </p:nvSpPr>
            <p:spPr>
              <a:xfrm>
                <a:off x="4252851" y="4748015"/>
                <a:ext cx="154481" cy="42104"/>
              </a:xfrm>
              <a:custGeom>
                <a:avLst/>
                <a:gdLst>
                  <a:gd name="connsiteX0" fmla="*/ 0 w 154481"/>
                  <a:gd name="connsiteY0" fmla="*/ 0 h 42104"/>
                  <a:gd name="connsiteX1" fmla="*/ 154482 w 154481"/>
                  <a:gd name="connsiteY1" fmla="*/ 42105 h 42104"/>
                </a:gdLst>
                <a:ahLst/>
                <a:cxnLst>
                  <a:cxn ang="0">
                    <a:pos x="connsiteX0" y="connsiteY0"/>
                  </a:cxn>
                  <a:cxn ang="0">
                    <a:pos x="connsiteX1" y="connsiteY1"/>
                  </a:cxn>
                </a:cxnLst>
                <a:rect l="l" t="t" r="r" b="b"/>
                <a:pathLst>
                  <a:path w="154481" h="42104">
                    <a:moveTo>
                      <a:pt x="0" y="0"/>
                    </a:moveTo>
                    <a:cubicBezTo>
                      <a:pt x="51972" y="13636"/>
                      <a:pt x="103347" y="27930"/>
                      <a:pt x="154482" y="42105"/>
                    </a:cubicBezTo>
                  </a:path>
                </a:pathLst>
              </a:custGeom>
              <a:noFill/>
              <a:ln w="6350" cap="rnd">
                <a:solidFill>
                  <a:schemeClr val="bg1">
                    <a:alpha val="80000"/>
                  </a:schemeClr>
                </a:solidFill>
                <a:prstDash val="solid"/>
                <a:miter/>
              </a:ln>
            </p:spPr>
            <p:txBody>
              <a:bodyPr rtlCol="0" anchor="ctr"/>
              <a:lstStyle/>
              <a:p>
                <a:endParaRPr lang="en-GB"/>
              </a:p>
            </p:txBody>
          </p:sp>
          <p:sp>
            <p:nvSpPr>
              <p:cNvPr id="8045" name="Vrije vorm: vorm 8044">
                <a:extLst>
                  <a:ext uri="{FF2B5EF4-FFF2-40B4-BE49-F238E27FC236}">
                    <a16:creationId xmlns:a16="http://schemas.microsoft.com/office/drawing/2014/main" id="{28E3861A-4B8A-4B2A-A93C-C22317F5AEA4}"/>
                  </a:ext>
                </a:extLst>
              </p:cNvPr>
              <p:cNvSpPr/>
              <p:nvPr/>
            </p:nvSpPr>
            <p:spPr>
              <a:xfrm>
                <a:off x="4246870" y="4192944"/>
                <a:ext cx="399452" cy="304777"/>
              </a:xfrm>
              <a:custGeom>
                <a:avLst/>
                <a:gdLst>
                  <a:gd name="connsiteX0" fmla="*/ 0 w 399452"/>
                  <a:gd name="connsiteY0" fmla="*/ 304778 h 304777"/>
                  <a:gd name="connsiteX1" fmla="*/ 399452 w 399452"/>
                  <a:gd name="connsiteY1" fmla="*/ 0 h 304777"/>
                </a:gdLst>
                <a:ahLst/>
                <a:cxnLst>
                  <a:cxn ang="0">
                    <a:pos x="connsiteX0" y="connsiteY0"/>
                  </a:cxn>
                  <a:cxn ang="0">
                    <a:pos x="connsiteX1" y="connsiteY1"/>
                  </a:cxn>
                </a:cxnLst>
                <a:rect l="l" t="t" r="r" b="b"/>
                <a:pathLst>
                  <a:path w="399452" h="304777">
                    <a:moveTo>
                      <a:pt x="0" y="304778"/>
                    </a:moveTo>
                    <a:cubicBezTo>
                      <a:pt x="119913" y="212017"/>
                      <a:pt x="259204" y="108729"/>
                      <a:pt x="399452" y="0"/>
                    </a:cubicBezTo>
                  </a:path>
                </a:pathLst>
              </a:custGeom>
              <a:noFill/>
              <a:ln w="6350" cap="rnd">
                <a:solidFill>
                  <a:schemeClr val="bg1">
                    <a:alpha val="80000"/>
                  </a:schemeClr>
                </a:solidFill>
                <a:prstDash val="solid"/>
                <a:miter/>
              </a:ln>
            </p:spPr>
            <p:txBody>
              <a:bodyPr rtlCol="0" anchor="ctr"/>
              <a:lstStyle/>
              <a:p>
                <a:endParaRPr lang="en-GB"/>
              </a:p>
            </p:txBody>
          </p:sp>
          <p:sp>
            <p:nvSpPr>
              <p:cNvPr id="8046" name="Vrije vorm: vorm 8045">
                <a:extLst>
                  <a:ext uri="{FF2B5EF4-FFF2-40B4-BE49-F238E27FC236}">
                    <a16:creationId xmlns:a16="http://schemas.microsoft.com/office/drawing/2014/main" id="{7050C116-D940-4B65-8473-F378D8D44BA2}"/>
                  </a:ext>
                </a:extLst>
              </p:cNvPr>
              <p:cNvSpPr/>
              <p:nvPr/>
            </p:nvSpPr>
            <p:spPr>
              <a:xfrm>
                <a:off x="4173666" y="4683124"/>
                <a:ext cx="157711" cy="168715"/>
              </a:xfrm>
              <a:custGeom>
                <a:avLst/>
                <a:gdLst>
                  <a:gd name="connsiteX0" fmla="*/ 157712 w 157711"/>
                  <a:gd name="connsiteY0" fmla="*/ 168716 h 168715"/>
                  <a:gd name="connsiteX1" fmla="*/ 0 w 157711"/>
                  <a:gd name="connsiteY1" fmla="*/ 130798 h 168715"/>
                  <a:gd name="connsiteX2" fmla="*/ 39652 w 157711"/>
                  <a:gd name="connsiteY2" fmla="*/ 0 h 168715"/>
                  <a:gd name="connsiteX3" fmla="*/ 11184 w 157711"/>
                  <a:gd name="connsiteY3" fmla="*/ 23384 h 168715"/>
                </a:gdLst>
                <a:ahLst/>
                <a:cxnLst>
                  <a:cxn ang="0">
                    <a:pos x="connsiteX0" y="connsiteY0"/>
                  </a:cxn>
                  <a:cxn ang="0">
                    <a:pos x="connsiteX1" y="connsiteY1"/>
                  </a:cxn>
                  <a:cxn ang="0">
                    <a:pos x="connsiteX2" y="connsiteY2"/>
                  </a:cxn>
                  <a:cxn ang="0">
                    <a:pos x="connsiteX3" y="connsiteY3"/>
                  </a:cxn>
                </a:cxnLst>
                <a:rect l="l" t="t" r="r" b="b"/>
                <a:pathLst>
                  <a:path w="157711" h="168715">
                    <a:moveTo>
                      <a:pt x="157712" y="168716"/>
                    </a:moveTo>
                    <a:cubicBezTo>
                      <a:pt x="104782" y="155977"/>
                      <a:pt x="52331" y="142820"/>
                      <a:pt x="0" y="130798"/>
                    </a:cubicBezTo>
                    <a:cubicBezTo>
                      <a:pt x="8253" y="91086"/>
                      <a:pt x="21471" y="47188"/>
                      <a:pt x="39652" y="0"/>
                    </a:cubicBezTo>
                    <a:cubicBezTo>
                      <a:pt x="29904" y="7954"/>
                      <a:pt x="20394" y="15789"/>
                      <a:pt x="11184" y="23384"/>
                    </a:cubicBezTo>
                  </a:path>
                </a:pathLst>
              </a:custGeom>
              <a:noFill/>
              <a:ln w="6350" cap="rnd">
                <a:solidFill>
                  <a:schemeClr val="bg1">
                    <a:alpha val="80000"/>
                  </a:schemeClr>
                </a:solidFill>
                <a:prstDash val="solid"/>
                <a:miter/>
              </a:ln>
            </p:spPr>
            <p:txBody>
              <a:bodyPr rtlCol="0" anchor="ctr"/>
              <a:lstStyle/>
              <a:p>
                <a:endParaRPr lang="en-GB"/>
              </a:p>
            </p:txBody>
          </p:sp>
          <p:sp>
            <p:nvSpPr>
              <p:cNvPr id="8047" name="Vrije vorm: vorm 8046">
                <a:extLst>
                  <a:ext uri="{FF2B5EF4-FFF2-40B4-BE49-F238E27FC236}">
                    <a16:creationId xmlns:a16="http://schemas.microsoft.com/office/drawing/2014/main" id="{97790416-E0CB-4504-A71A-899F5E3F6234}"/>
                  </a:ext>
                </a:extLst>
              </p:cNvPr>
              <p:cNvSpPr/>
              <p:nvPr/>
            </p:nvSpPr>
            <p:spPr>
              <a:xfrm>
                <a:off x="4184850" y="4400535"/>
                <a:ext cx="155438" cy="305973"/>
              </a:xfrm>
              <a:custGeom>
                <a:avLst/>
                <a:gdLst>
                  <a:gd name="connsiteX0" fmla="*/ 0 w 155438"/>
                  <a:gd name="connsiteY0" fmla="*/ 305974 h 305973"/>
                  <a:gd name="connsiteX1" fmla="*/ 155439 w 155438"/>
                  <a:gd name="connsiteY1" fmla="*/ 0 h 305973"/>
                </a:gdLst>
                <a:ahLst/>
                <a:cxnLst>
                  <a:cxn ang="0">
                    <a:pos x="connsiteX0" y="connsiteY0"/>
                  </a:cxn>
                  <a:cxn ang="0">
                    <a:pos x="connsiteX1" y="connsiteY1"/>
                  </a:cxn>
                </a:cxnLst>
                <a:rect l="l" t="t" r="r" b="b"/>
                <a:pathLst>
                  <a:path w="155438" h="305973">
                    <a:moveTo>
                      <a:pt x="0" y="305974"/>
                    </a:moveTo>
                    <a:cubicBezTo>
                      <a:pt x="32774" y="215904"/>
                      <a:pt x="86481" y="111720"/>
                      <a:pt x="155439" y="0"/>
                    </a:cubicBezTo>
                  </a:path>
                </a:pathLst>
              </a:custGeom>
              <a:noFill/>
              <a:ln w="6350" cap="rnd">
                <a:solidFill>
                  <a:schemeClr val="bg1">
                    <a:alpha val="80000"/>
                  </a:schemeClr>
                </a:solidFill>
                <a:prstDash val="solid"/>
                <a:miter/>
              </a:ln>
            </p:spPr>
            <p:txBody>
              <a:bodyPr rtlCol="0" anchor="ctr"/>
              <a:lstStyle/>
              <a:p>
                <a:endParaRPr lang="en-GB"/>
              </a:p>
            </p:txBody>
          </p:sp>
          <p:sp>
            <p:nvSpPr>
              <p:cNvPr id="8048" name="Vrije vorm: vorm 8047">
                <a:extLst>
                  <a:ext uri="{FF2B5EF4-FFF2-40B4-BE49-F238E27FC236}">
                    <a16:creationId xmlns:a16="http://schemas.microsoft.com/office/drawing/2014/main" id="{16B2C14F-E3D7-4C58-A6BA-55DDF2C2CE30}"/>
                  </a:ext>
                </a:extLst>
              </p:cNvPr>
              <p:cNvSpPr/>
              <p:nvPr/>
            </p:nvSpPr>
            <p:spPr>
              <a:xfrm>
                <a:off x="4178211" y="4810035"/>
                <a:ext cx="158608" cy="37379"/>
              </a:xfrm>
              <a:custGeom>
                <a:avLst/>
                <a:gdLst>
                  <a:gd name="connsiteX0" fmla="*/ 0 w 158608"/>
                  <a:gd name="connsiteY0" fmla="*/ 0 h 37379"/>
                  <a:gd name="connsiteX1" fmla="*/ 158609 w 158608"/>
                  <a:gd name="connsiteY1" fmla="*/ 37380 h 37379"/>
                </a:gdLst>
                <a:ahLst/>
                <a:cxnLst>
                  <a:cxn ang="0">
                    <a:pos x="connsiteX0" y="connsiteY0"/>
                  </a:cxn>
                  <a:cxn ang="0">
                    <a:pos x="connsiteX1" y="connsiteY1"/>
                  </a:cxn>
                </a:cxnLst>
                <a:rect l="l" t="t" r="r" b="b"/>
                <a:pathLst>
                  <a:path w="158608" h="37379">
                    <a:moveTo>
                      <a:pt x="0" y="0"/>
                    </a:moveTo>
                    <a:cubicBezTo>
                      <a:pt x="52690" y="11902"/>
                      <a:pt x="105381" y="24820"/>
                      <a:pt x="158609" y="37380"/>
                    </a:cubicBezTo>
                  </a:path>
                </a:pathLst>
              </a:custGeom>
              <a:noFill/>
              <a:ln w="6350" cap="rnd">
                <a:solidFill>
                  <a:schemeClr val="bg1">
                    <a:alpha val="80000"/>
                  </a:schemeClr>
                </a:solidFill>
                <a:prstDash val="solid"/>
                <a:miter/>
              </a:ln>
            </p:spPr>
            <p:txBody>
              <a:bodyPr rtlCol="0" anchor="ctr"/>
              <a:lstStyle/>
              <a:p>
                <a:endParaRPr lang="en-GB"/>
              </a:p>
            </p:txBody>
          </p:sp>
          <p:sp>
            <p:nvSpPr>
              <p:cNvPr id="8049" name="Vrije vorm: vorm 8048">
                <a:extLst>
                  <a:ext uri="{FF2B5EF4-FFF2-40B4-BE49-F238E27FC236}">
                    <a16:creationId xmlns:a16="http://schemas.microsoft.com/office/drawing/2014/main" id="{09FA6229-D163-47A5-AB8D-6864A6CD0D63}"/>
                  </a:ext>
                </a:extLst>
              </p:cNvPr>
              <p:cNvSpPr/>
              <p:nvPr/>
            </p:nvSpPr>
            <p:spPr>
              <a:xfrm>
                <a:off x="4189455" y="4800526"/>
                <a:ext cx="157771" cy="38455"/>
              </a:xfrm>
              <a:custGeom>
                <a:avLst/>
                <a:gdLst>
                  <a:gd name="connsiteX0" fmla="*/ 0 w 157771"/>
                  <a:gd name="connsiteY0" fmla="*/ 0 h 38455"/>
                  <a:gd name="connsiteX1" fmla="*/ 157771 w 157771"/>
                  <a:gd name="connsiteY1" fmla="*/ 38456 h 38455"/>
                </a:gdLst>
                <a:ahLst/>
                <a:cxnLst>
                  <a:cxn ang="0">
                    <a:pos x="connsiteX0" y="connsiteY0"/>
                  </a:cxn>
                  <a:cxn ang="0">
                    <a:pos x="connsiteX1" y="connsiteY1"/>
                  </a:cxn>
                </a:cxnLst>
                <a:rect l="l" t="t" r="r" b="b"/>
                <a:pathLst>
                  <a:path w="157771" h="38455">
                    <a:moveTo>
                      <a:pt x="0" y="0"/>
                    </a:moveTo>
                    <a:cubicBezTo>
                      <a:pt x="52571" y="12260"/>
                      <a:pt x="104962" y="25537"/>
                      <a:pt x="157771" y="38456"/>
                    </a:cubicBezTo>
                  </a:path>
                </a:pathLst>
              </a:custGeom>
              <a:noFill/>
              <a:ln w="6350" cap="rnd">
                <a:solidFill>
                  <a:schemeClr val="bg1">
                    <a:alpha val="80000"/>
                  </a:schemeClr>
                </a:solidFill>
                <a:prstDash val="solid"/>
                <a:miter/>
              </a:ln>
            </p:spPr>
            <p:txBody>
              <a:bodyPr rtlCol="0" anchor="ctr"/>
              <a:lstStyle/>
              <a:p>
                <a:endParaRPr lang="en-GB"/>
              </a:p>
            </p:txBody>
          </p:sp>
          <p:sp>
            <p:nvSpPr>
              <p:cNvPr id="8050" name="Vrije vorm: vorm 8049">
                <a:extLst>
                  <a:ext uri="{FF2B5EF4-FFF2-40B4-BE49-F238E27FC236}">
                    <a16:creationId xmlns:a16="http://schemas.microsoft.com/office/drawing/2014/main" id="{52DF562F-8806-4105-B2C5-57331B6B717A}"/>
                  </a:ext>
                </a:extLst>
              </p:cNvPr>
              <p:cNvSpPr/>
              <p:nvPr/>
            </p:nvSpPr>
            <p:spPr>
              <a:xfrm>
                <a:off x="4199323" y="4792273"/>
                <a:ext cx="159326" cy="37439"/>
              </a:xfrm>
              <a:custGeom>
                <a:avLst/>
                <a:gdLst>
                  <a:gd name="connsiteX0" fmla="*/ 0 w 159326"/>
                  <a:gd name="connsiteY0" fmla="*/ 0 h 37439"/>
                  <a:gd name="connsiteX1" fmla="*/ 159327 w 159326"/>
                  <a:gd name="connsiteY1" fmla="*/ 37439 h 37439"/>
                </a:gdLst>
                <a:ahLst/>
                <a:cxnLst>
                  <a:cxn ang="0">
                    <a:pos x="connsiteX0" y="connsiteY0"/>
                  </a:cxn>
                  <a:cxn ang="0">
                    <a:pos x="connsiteX1" y="connsiteY1"/>
                  </a:cxn>
                </a:cxnLst>
                <a:rect l="l" t="t" r="r" b="b"/>
                <a:pathLst>
                  <a:path w="159326" h="37439">
                    <a:moveTo>
                      <a:pt x="0" y="0"/>
                    </a:moveTo>
                    <a:cubicBezTo>
                      <a:pt x="53109" y="12021"/>
                      <a:pt x="106098" y="24940"/>
                      <a:pt x="159327" y="37439"/>
                    </a:cubicBezTo>
                  </a:path>
                </a:pathLst>
              </a:custGeom>
              <a:noFill/>
              <a:ln w="6350" cap="rnd">
                <a:solidFill>
                  <a:schemeClr val="bg1">
                    <a:alpha val="80000"/>
                  </a:schemeClr>
                </a:solidFill>
                <a:prstDash val="solid"/>
                <a:miter/>
              </a:ln>
            </p:spPr>
            <p:txBody>
              <a:bodyPr rtlCol="0" anchor="ctr"/>
              <a:lstStyle/>
              <a:p>
                <a:endParaRPr lang="en-GB"/>
              </a:p>
            </p:txBody>
          </p:sp>
          <p:sp>
            <p:nvSpPr>
              <p:cNvPr id="8051" name="Vrije vorm: vorm 8050">
                <a:extLst>
                  <a:ext uri="{FF2B5EF4-FFF2-40B4-BE49-F238E27FC236}">
                    <a16:creationId xmlns:a16="http://schemas.microsoft.com/office/drawing/2014/main" id="{E426FE1A-A1D2-4BB7-968D-B9672CB00E80}"/>
                  </a:ext>
                </a:extLst>
              </p:cNvPr>
              <p:cNvSpPr/>
              <p:nvPr/>
            </p:nvSpPr>
            <p:spPr>
              <a:xfrm>
                <a:off x="4296331" y="4714224"/>
                <a:ext cx="147484" cy="45393"/>
              </a:xfrm>
              <a:custGeom>
                <a:avLst/>
                <a:gdLst>
                  <a:gd name="connsiteX0" fmla="*/ 0 w 147484"/>
                  <a:gd name="connsiteY0" fmla="*/ 0 h 45393"/>
                  <a:gd name="connsiteX1" fmla="*/ 147485 w 147484"/>
                  <a:gd name="connsiteY1" fmla="*/ 45393 h 45393"/>
                </a:gdLst>
                <a:ahLst/>
                <a:cxnLst>
                  <a:cxn ang="0">
                    <a:pos x="connsiteX0" y="connsiteY0"/>
                  </a:cxn>
                  <a:cxn ang="0">
                    <a:pos x="connsiteX1" y="connsiteY1"/>
                  </a:cxn>
                </a:cxnLst>
                <a:rect l="l" t="t" r="r" b="b"/>
                <a:pathLst>
                  <a:path w="147484" h="45393">
                    <a:moveTo>
                      <a:pt x="0" y="0"/>
                    </a:moveTo>
                    <a:cubicBezTo>
                      <a:pt x="49820" y="14832"/>
                      <a:pt x="98862" y="30143"/>
                      <a:pt x="147485" y="45393"/>
                    </a:cubicBezTo>
                  </a:path>
                </a:pathLst>
              </a:custGeom>
              <a:noFill/>
              <a:ln w="6350" cap="rnd">
                <a:solidFill>
                  <a:schemeClr val="bg1">
                    <a:alpha val="80000"/>
                  </a:schemeClr>
                </a:solidFill>
                <a:prstDash val="solid"/>
                <a:miter/>
              </a:ln>
            </p:spPr>
            <p:txBody>
              <a:bodyPr rtlCol="0" anchor="ctr"/>
              <a:lstStyle/>
              <a:p>
                <a:endParaRPr lang="en-GB"/>
              </a:p>
            </p:txBody>
          </p:sp>
          <p:sp>
            <p:nvSpPr>
              <p:cNvPr id="8052" name="Vrije vorm: vorm 8051">
                <a:extLst>
                  <a:ext uri="{FF2B5EF4-FFF2-40B4-BE49-F238E27FC236}">
                    <a16:creationId xmlns:a16="http://schemas.microsoft.com/office/drawing/2014/main" id="{0A1173B8-72EE-45C4-8621-892A1DA55DA6}"/>
                  </a:ext>
                </a:extLst>
              </p:cNvPr>
              <p:cNvSpPr/>
              <p:nvPr/>
            </p:nvSpPr>
            <p:spPr>
              <a:xfrm>
                <a:off x="4307993" y="4704834"/>
                <a:ext cx="145750" cy="46649"/>
              </a:xfrm>
              <a:custGeom>
                <a:avLst/>
                <a:gdLst>
                  <a:gd name="connsiteX0" fmla="*/ 0 w 145750"/>
                  <a:gd name="connsiteY0" fmla="*/ 0 h 46649"/>
                  <a:gd name="connsiteX1" fmla="*/ 145750 w 145750"/>
                  <a:gd name="connsiteY1" fmla="*/ 46650 h 46649"/>
                </a:gdLst>
                <a:ahLst/>
                <a:cxnLst>
                  <a:cxn ang="0">
                    <a:pos x="connsiteX0" y="connsiteY0"/>
                  </a:cxn>
                  <a:cxn ang="0">
                    <a:pos x="connsiteX1" y="connsiteY1"/>
                  </a:cxn>
                </a:cxnLst>
                <a:rect l="l" t="t" r="r" b="b"/>
                <a:pathLst>
                  <a:path w="145750" h="46649">
                    <a:moveTo>
                      <a:pt x="0" y="0"/>
                    </a:moveTo>
                    <a:cubicBezTo>
                      <a:pt x="49281" y="15251"/>
                      <a:pt x="97725" y="30980"/>
                      <a:pt x="145750" y="46650"/>
                    </a:cubicBezTo>
                  </a:path>
                </a:pathLst>
              </a:custGeom>
              <a:noFill/>
              <a:ln w="6350" cap="rnd">
                <a:solidFill>
                  <a:schemeClr val="bg1">
                    <a:alpha val="80000"/>
                  </a:schemeClr>
                </a:solidFill>
                <a:prstDash val="solid"/>
                <a:miter/>
              </a:ln>
            </p:spPr>
            <p:txBody>
              <a:bodyPr rtlCol="0" anchor="ctr"/>
              <a:lstStyle/>
              <a:p>
                <a:endParaRPr lang="en-GB"/>
              </a:p>
            </p:txBody>
          </p:sp>
          <p:sp>
            <p:nvSpPr>
              <p:cNvPr id="8053" name="Vrije vorm: vorm 8052">
                <a:extLst>
                  <a:ext uri="{FF2B5EF4-FFF2-40B4-BE49-F238E27FC236}">
                    <a16:creationId xmlns:a16="http://schemas.microsoft.com/office/drawing/2014/main" id="{2E168EDA-72BE-4C0C-A295-A2B3BB0EF25B}"/>
                  </a:ext>
                </a:extLst>
              </p:cNvPr>
              <p:cNvSpPr/>
              <p:nvPr/>
            </p:nvSpPr>
            <p:spPr>
              <a:xfrm>
                <a:off x="4354045" y="4667036"/>
                <a:ext cx="140367" cy="50477"/>
              </a:xfrm>
              <a:custGeom>
                <a:avLst/>
                <a:gdLst>
                  <a:gd name="connsiteX0" fmla="*/ 0 w 140367"/>
                  <a:gd name="connsiteY0" fmla="*/ 0 h 50477"/>
                  <a:gd name="connsiteX1" fmla="*/ 140368 w 140367"/>
                  <a:gd name="connsiteY1" fmla="*/ 50477 h 50477"/>
                </a:gdLst>
                <a:ahLst/>
                <a:cxnLst>
                  <a:cxn ang="0">
                    <a:pos x="connsiteX0" y="connsiteY0"/>
                  </a:cxn>
                  <a:cxn ang="0">
                    <a:pos x="connsiteX1" y="connsiteY1"/>
                  </a:cxn>
                </a:cxnLst>
                <a:rect l="l" t="t" r="r" b="b"/>
                <a:pathLst>
                  <a:path w="140367" h="50477">
                    <a:moveTo>
                      <a:pt x="0" y="0"/>
                    </a:moveTo>
                    <a:cubicBezTo>
                      <a:pt x="47547" y="16566"/>
                      <a:pt x="94256" y="33552"/>
                      <a:pt x="140368" y="50477"/>
                    </a:cubicBezTo>
                  </a:path>
                </a:pathLst>
              </a:custGeom>
              <a:noFill/>
              <a:ln w="6350" cap="rnd">
                <a:solidFill>
                  <a:schemeClr val="bg1">
                    <a:alpha val="80000"/>
                  </a:schemeClr>
                </a:solidFill>
                <a:prstDash val="solid"/>
                <a:miter/>
              </a:ln>
            </p:spPr>
            <p:txBody>
              <a:bodyPr rtlCol="0" anchor="ctr"/>
              <a:lstStyle/>
              <a:p>
                <a:endParaRPr lang="en-GB"/>
              </a:p>
            </p:txBody>
          </p:sp>
          <p:sp>
            <p:nvSpPr>
              <p:cNvPr id="8054" name="Vrije vorm: vorm 8053">
                <a:extLst>
                  <a:ext uri="{FF2B5EF4-FFF2-40B4-BE49-F238E27FC236}">
                    <a16:creationId xmlns:a16="http://schemas.microsoft.com/office/drawing/2014/main" id="{F2F93CE5-8D4F-4D18-A5CD-BD33C0C8ED17}"/>
                  </a:ext>
                </a:extLst>
              </p:cNvPr>
              <p:cNvSpPr/>
              <p:nvPr/>
            </p:nvSpPr>
            <p:spPr>
              <a:xfrm>
                <a:off x="4360145" y="4662132"/>
                <a:ext cx="140487" cy="50297"/>
              </a:xfrm>
              <a:custGeom>
                <a:avLst/>
                <a:gdLst>
                  <a:gd name="connsiteX0" fmla="*/ 0 w 140487"/>
                  <a:gd name="connsiteY0" fmla="*/ 0 h 50297"/>
                  <a:gd name="connsiteX1" fmla="*/ 140487 w 140487"/>
                  <a:gd name="connsiteY1" fmla="*/ 50298 h 50297"/>
                </a:gdLst>
                <a:ahLst/>
                <a:cxnLst>
                  <a:cxn ang="0">
                    <a:pos x="connsiteX0" y="connsiteY0"/>
                  </a:cxn>
                  <a:cxn ang="0">
                    <a:pos x="connsiteX1" y="connsiteY1"/>
                  </a:cxn>
                </a:cxnLst>
                <a:rect l="l" t="t" r="r" b="b"/>
                <a:pathLst>
                  <a:path w="140487" h="50297">
                    <a:moveTo>
                      <a:pt x="0" y="0"/>
                    </a:moveTo>
                    <a:cubicBezTo>
                      <a:pt x="47606" y="16507"/>
                      <a:pt x="94316" y="33432"/>
                      <a:pt x="140487" y="50298"/>
                    </a:cubicBezTo>
                  </a:path>
                </a:pathLst>
              </a:custGeom>
              <a:noFill/>
              <a:ln w="6350" cap="rnd">
                <a:solidFill>
                  <a:schemeClr val="bg1">
                    <a:alpha val="80000"/>
                  </a:schemeClr>
                </a:solidFill>
                <a:prstDash val="solid"/>
                <a:miter/>
              </a:ln>
            </p:spPr>
            <p:txBody>
              <a:bodyPr rtlCol="0" anchor="ctr"/>
              <a:lstStyle/>
              <a:p>
                <a:endParaRPr lang="en-GB"/>
              </a:p>
            </p:txBody>
          </p:sp>
          <p:sp>
            <p:nvSpPr>
              <p:cNvPr id="8055" name="Vrije vorm: vorm 8054">
                <a:extLst>
                  <a:ext uri="{FF2B5EF4-FFF2-40B4-BE49-F238E27FC236}">
                    <a16:creationId xmlns:a16="http://schemas.microsoft.com/office/drawing/2014/main" id="{E0FAD56A-2E73-426A-9C0B-4DA5DC620A1D}"/>
                  </a:ext>
                </a:extLst>
              </p:cNvPr>
              <p:cNvSpPr/>
              <p:nvPr/>
            </p:nvSpPr>
            <p:spPr>
              <a:xfrm>
                <a:off x="4367860" y="4655972"/>
                <a:ext cx="138274" cy="51972"/>
              </a:xfrm>
              <a:custGeom>
                <a:avLst/>
                <a:gdLst>
                  <a:gd name="connsiteX0" fmla="*/ 0 w 138274"/>
                  <a:gd name="connsiteY0" fmla="*/ 0 h 51972"/>
                  <a:gd name="connsiteX1" fmla="*/ 138274 w 138274"/>
                  <a:gd name="connsiteY1" fmla="*/ 51972 h 51972"/>
                </a:gdLst>
                <a:ahLst/>
                <a:cxnLst>
                  <a:cxn ang="0">
                    <a:pos x="connsiteX0" y="connsiteY0"/>
                  </a:cxn>
                  <a:cxn ang="0">
                    <a:pos x="connsiteX1" y="connsiteY1"/>
                  </a:cxn>
                </a:cxnLst>
                <a:rect l="l" t="t" r="r" b="b"/>
                <a:pathLst>
                  <a:path w="138274" h="51972">
                    <a:moveTo>
                      <a:pt x="0" y="0"/>
                    </a:moveTo>
                    <a:cubicBezTo>
                      <a:pt x="46829" y="17105"/>
                      <a:pt x="92821" y="34509"/>
                      <a:pt x="138274" y="51972"/>
                    </a:cubicBezTo>
                  </a:path>
                </a:pathLst>
              </a:custGeom>
              <a:noFill/>
              <a:ln w="6350" cap="rnd">
                <a:solidFill>
                  <a:schemeClr val="bg1">
                    <a:alpha val="80000"/>
                  </a:schemeClr>
                </a:solidFill>
                <a:prstDash val="solid"/>
                <a:miter/>
              </a:ln>
            </p:spPr>
            <p:txBody>
              <a:bodyPr rtlCol="0" anchor="ctr"/>
              <a:lstStyle/>
              <a:p>
                <a:endParaRPr lang="en-GB"/>
              </a:p>
            </p:txBody>
          </p:sp>
          <p:sp>
            <p:nvSpPr>
              <p:cNvPr id="8056" name="Vrije vorm: vorm 8055">
                <a:extLst>
                  <a:ext uri="{FF2B5EF4-FFF2-40B4-BE49-F238E27FC236}">
                    <a16:creationId xmlns:a16="http://schemas.microsoft.com/office/drawing/2014/main" id="{DBB1FBF7-2AB9-47AB-9015-D2D862F6F536}"/>
                  </a:ext>
                </a:extLst>
              </p:cNvPr>
              <p:cNvSpPr/>
              <p:nvPr/>
            </p:nvSpPr>
            <p:spPr>
              <a:xfrm>
                <a:off x="4419833" y="4616021"/>
                <a:ext cx="126252" cy="59329"/>
              </a:xfrm>
              <a:custGeom>
                <a:avLst/>
                <a:gdLst>
                  <a:gd name="connsiteX0" fmla="*/ 0 w 126252"/>
                  <a:gd name="connsiteY0" fmla="*/ 0 h 59329"/>
                  <a:gd name="connsiteX1" fmla="*/ 126253 w 126252"/>
                  <a:gd name="connsiteY1" fmla="*/ 59329 h 59329"/>
                </a:gdLst>
                <a:ahLst/>
                <a:cxnLst>
                  <a:cxn ang="0">
                    <a:pos x="connsiteX0" y="connsiteY0"/>
                  </a:cxn>
                  <a:cxn ang="0">
                    <a:pos x="connsiteX1" y="connsiteY1"/>
                  </a:cxn>
                </a:cxnLst>
                <a:rect l="l" t="t" r="r" b="b"/>
                <a:pathLst>
                  <a:path w="126252" h="59329">
                    <a:moveTo>
                      <a:pt x="0" y="0"/>
                    </a:moveTo>
                    <a:cubicBezTo>
                      <a:pt x="42822" y="19557"/>
                      <a:pt x="84807" y="39413"/>
                      <a:pt x="126253" y="59329"/>
                    </a:cubicBezTo>
                  </a:path>
                </a:pathLst>
              </a:custGeom>
              <a:noFill/>
              <a:ln w="6350" cap="rnd">
                <a:solidFill>
                  <a:schemeClr val="bg1">
                    <a:alpha val="80000"/>
                  </a:schemeClr>
                </a:solidFill>
                <a:prstDash val="solid"/>
                <a:miter/>
              </a:ln>
            </p:spPr>
            <p:txBody>
              <a:bodyPr rtlCol="0" anchor="ctr"/>
              <a:lstStyle/>
              <a:p>
                <a:endParaRPr lang="en-GB"/>
              </a:p>
            </p:txBody>
          </p:sp>
          <p:sp>
            <p:nvSpPr>
              <p:cNvPr id="8057" name="Vrije vorm: vorm 8056">
                <a:extLst>
                  <a:ext uri="{FF2B5EF4-FFF2-40B4-BE49-F238E27FC236}">
                    <a16:creationId xmlns:a16="http://schemas.microsoft.com/office/drawing/2014/main" id="{2CA50818-DA59-4C6A-9403-87BA7F5BD140}"/>
                  </a:ext>
                </a:extLst>
              </p:cNvPr>
              <p:cNvSpPr/>
              <p:nvPr/>
            </p:nvSpPr>
            <p:spPr>
              <a:xfrm>
                <a:off x="4426411" y="4610817"/>
                <a:ext cx="126253" cy="59209"/>
              </a:xfrm>
              <a:custGeom>
                <a:avLst/>
                <a:gdLst>
                  <a:gd name="connsiteX0" fmla="*/ 0 w 126253"/>
                  <a:gd name="connsiteY0" fmla="*/ 0 h 59209"/>
                  <a:gd name="connsiteX1" fmla="*/ 126253 w 126253"/>
                  <a:gd name="connsiteY1" fmla="*/ 59209 h 59209"/>
                </a:gdLst>
                <a:ahLst/>
                <a:cxnLst>
                  <a:cxn ang="0">
                    <a:pos x="connsiteX0" y="connsiteY0"/>
                  </a:cxn>
                  <a:cxn ang="0">
                    <a:pos x="connsiteX1" y="connsiteY1"/>
                  </a:cxn>
                </a:cxnLst>
                <a:rect l="l" t="t" r="r" b="b"/>
                <a:pathLst>
                  <a:path w="126253" h="59209">
                    <a:moveTo>
                      <a:pt x="0" y="0"/>
                    </a:moveTo>
                    <a:cubicBezTo>
                      <a:pt x="42822" y="19557"/>
                      <a:pt x="84807" y="39293"/>
                      <a:pt x="126253" y="59209"/>
                    </a:cubicBezTo>
                  </a:path>
                </a:pathLst>
              </a:custGeom>
              <a:noFill/>
              <a:ln w="6350" cap="rnd">
                <a:solidFill>
                  <a:schemeClr val="bg1">
                    <a:alpha val="80000"/>
                  </a:schemeClr>
                </a:solidFill>
                <a:prstDash val="solid"/>
                <a:miter/>
              </a:ln>
            </p:spPr>
            <p:txBody>
              <a:bodyPr rtlCol="0" anchor="ctr"/>
              <a:lstStyle/>
              <a:p>
                <a:endParaRPr lang="en-GB"/>
              </a:p>
            </p:txBody>
          </p:sp>
          <p:sp>
            <p:nvSpPr>
              <p:cNvPr id="8058" name="Vrije vorm: vorm 8057">
                <a:extLst>
                  <a:ext uri="{FF2B5EF4-FFF2-40B4-BE49-F238E27FC236}">
                    <a16:creationId xmlns:a16="http://schemas.microsoft.com/office/drawing/2014/main" id="{660E2612-641A-4B3D-BC6D-3CFC6082B8B5}"/>
                  </a:ext>
                </a:extLst>
              </p:cNvPr>
              <p:cNvSpPr/>
              <p:nvPr/>
            </p:nvSpPr>
            <p:spPr>
              <a:xfrm>
                <a:off x="4434665" y="4604299"/>
                <a:ext cx="123681" cy="61062"/>
              </a:xfrm>
              <a:custGeom>
                <a:avLst/>
                <a:gdLst>
                  <a:gd name="connsiteX0" fmla="*/ 0 w 123681"/>
                  <a:gd name="connsiteY0" fmla="*/ 0 h 61062"/>
                  <a:gd name="connsiteX1" fmla="*/ 123681 w 123681"/>
                  <a:gd name="connsiteY1" fmla="*/ 61063 h 61062"/>
                </a:gdLst>
                <a:ahLst/>
                <a:cxnLst>
                  <a:cxn ang="0">
                    <a:pos x="connsiteX0" y="connsiteY0"/>
                  </a:cxn>
                  <a:cxn ang="0">
                    <a:pos x="connsiteX1" y="connsiteY1"/>
                  </a:cxn>
                </a:cxnLst>
                <a:rect l="l" t="t" r="r" b="b"/>
                <a:pathLst>
                  <a:path w="123681" h="61062">
                    <a:moveTo>
                      <a:pt x="0" y="0"/>
                    </a:moveTo>
                    <a:cubicBezTo>
                      <a:pt x="41925" y="20155"/>
                      <a:pt x="83072" y="40549"/>
                      <a:pt x="123681" y="61063"/>
                    </a:cubicBezTo>
                  </a:path>
                </a:pathLst>
              </a:custGeom>
              <a:noFill/>
              <a:ln w="6350" cap="rnd">
                <a:solidFill>
                  <a:schemeClr val="bg1">
                    <a:alpha val="80000"/>
                  </a:schemeClr>
                </a:solidFill>
                <a:prstDash val="solid"/>
                <a:miter/>
              </a:ln>
            </p:spPr>
            <p:txBody>
              <a:bodyPr rtlCol="0" anchor="ctr"/>
              <a:lstStyle/>
              <a:p>
                <a:endParaRPr lang="en-GB"/>
              </a:p>
            </p:txBody>
          </p:sp>
          <p:sp>
            <p:nvSpPr>
              <p:cNvPr id="8059" name="Vrije vorm: vorm 8058">
                <a:extLst>
                  <a:ext uri="{FF2B5EF4-FFF2-40B4-BE49-F238E27FC236}">
                    <a16:creationId xmlns:a16="http://schemas.microsoft.com/office/drawing/2014/main" id="{CE1BC11D-70D7-4FF1-8FE9-4DE931641095}"/>
                  </a:ext>
                </a:extLst>
              </p:cNvPr>
              <p:cNvSpPr/>
              <p:nvPr/>
            </p:nvSpPr>
            <p:spPr>
              <a:xfrm>
                <a:off x="4488432" y="4561536"/>
                <a:ext cx="118657" cy="62558"/>
              </a:xfrm>
              <a:custGeom>
                <a:avLst/>
                <a:gdLst>
                  <a:gd name="connsiteX0" fmla="*/ 0 w 118657"/>
                  <a:gd name="connsiteY0" fmla="*/ 0 h 62558"/>
                  <a:gd name="connsiteX1" fmla="*/ 118657 w 118657"/>
                  <a:gd name="connsiteY1" fmla="*/ 62558 h 62558"/>
                </a:gdLst>
                <a:ahLst/>
                <a:cxnLst>
                  <a:cxn ang="0">
                    <a:pos x="connsiteX0" y="connsiteY0"/>
                  </a:cxn>
                  <a:cxn ang="0">
                    <a:pos x="connsiteX1" y="connsiteY1"/>
                  </a:cxn>
                </a:cxnLst>
                <a:rect l="l" t="t" r="r" b="b"/>
                <a:pathLst>
                  <a:path w="118657" h="62558">
                    <a:moveTo>
                      <a:pt x="0" y="0"/>
                    </a:moveTo>
                    <a:cubicBezTo>
                      <a:pt x="40190" y="20693"/>
                      <a:pt x="79663" y="41566"/>
                      <a:pt x="118657" y="62558"/>
                    </a:cubicBezTo>
                  </a:path>
                </a:pathLst>
              </a:custGeom>
              <a:noFill/>
              <a:ln w="6350" cap="rnd">
                <a:solidFill>
                  <a:schemeClr val="bg1">
                    <a:alpha val="80000"/>
                  </a:schemeClr>
                </a:solidFill>
                <a:prstDash val="solid"/>
                <a:miter/>
              </a:ln>
            </p:spPr>
            <p:txBody>
              <a:bodyPr rtlCol="0" anchor="ctr"/>
              <a:lstStyle/>
              <a:p>
                <a:endParaRPr lang="en-GB"/>
              </a:p>
            </p:txBody>
          </p:sp>
          <p:sp>
            <p:nvSpPr>
              <p:cNvPr id="8060" name="Vrije vorm: vorm 8059">
                <a:extLst>
                  <a:ext uri="{FF2B5EF4-FFF2-40B4-BE49-F238E27FC236}">
                    <a16:creationId xmlns:a16="http://schemas.microsoft.com/office/drawing/2014/main" id="{EDE6E36B-8537-42D5-844A-6A767F8D8D0C}"/>
                  </a:ext>
                </a:extLst>
              </p:cNvPr>
              <p:cNvSpPr/>
              <p:nvPr/>
            </p:nvSpPr>
            <p:spPr>
              <a:xfrm>
                <a:off x="4496147" y="4556931"/>
                <a:ext cx="117760" cy="61541"/>
              </a:xfrm>
              <a:custGeom>
                <a:avLst/>
                <a:gdLst>
                  <a:gd name="connsiteX0" fmla="*/ 0 w 117760"/>
                  <a:gd name="connsiteY0" fmla="*/ 0 h 61541"/>
                  <a:gd name="connsiteX1" fmla="*/ 117760 w 117760"/>
                  <a:gd name="connsiteY1" fmla="*/ 61542 h 61541"/>
                </a:gdLst>
                <a:ahLst/>
                <a:cxnLst>
                  <a:cxn ang="0">
                    <a:pos x="connsiteX0" y="connsiteY0"/>
                  </a:cxn>
                  <a:cxn ang="0">
                    <a:pos x="connsiteX1" y="connsiteY1"/>
                  </a:cxn>
                </a:cxnLst>
                <a:rect l="l" t="t" r="r" b="b"/>
                <a:pathLst>
                  <a:path w="117760" h="61541">
                    <a:moveTo>
                      <a:pt x="0" y="0"/>
                    </a:moveTo>
                    <a:cubicBezTo>
                      <a:pt x="39891" y="20394"/>
                      <a:pt x="79065" y="40908"/>
                      <a:pt x="117760" y="61542"/>
                    </a:cubicBezTo>
                  </a:path>
                </a:pathLst>
              </a:custGeom>
              <a:noFill/>
              <a:ln w="6350" cap="rnd">
                <a:solidFill>
                  <a:schemeClr val="bg1">
                    <a:alpha val="80000"/>
                  </a:schemeClr>
                </a:solidFill>
                <a:prstDash val="solid"/>
                <a:miter/>
              </a:ln>
            </p:spPr>
            <p:txBody>
              <a:bodyPr rtlCol="0" anchor="ctr"/>
              <a:lstStyle/>
              <a:p>
                <a:endParaRPr lang="en-GB"/>
              </a:p>
            </p:txBody>
          </p:sp>
          <p:sp>
            <p:nvSpPr>
              <p:cNvPr id="8061" name="Vrije vorm: vorm 8060">
                <a:extLst>
                  <a:ext uri="{FF2B5EF4-FFF2-40B4-BE49-F238E27FC236}">
                    <a16:creationId xmlns:a16="http://schemas.microsoft.com/office/drawing/2014/main" id="{38500D57-F9E4-4460-B5BC-7E9F28790C7E}"/>
                  </a:ext>
                </a:extLst>
              </p:cNvPr>
              <p:cNvSpPr/>
              <p:nvPr/>
            </p:nvSpPr>
            <p:spPr>
              <a:xfrm>
                <a:off x="4504819" y="4550053"/>
                <a:ext cx="115069" cy="63575"/>
              </a:xfrm>
              <a:custGeom>
                <a:avLst/>
                <a:gdLst>
                  <a:gd name="connsiteX0" fmla="*/ 0 w 115069"/>
                  <a:gd name="connsiteY0" fmla="*/ 0 h 63575"/>
                  <a:gd name="connsiteX1" fmla="*/ 115069 w 115069"/>
                  <a:gd name="connsiteY1" fmla="*/ 63575 h 63575"/>
                </a:gdLst>
                <a:ahLst/>
                <a:cxnLst>
                  <a:cxn ang="0">
                    <a:pos x="connsiteX0" y="connsiteY0"/>
                  </a:cxn>
                  <a:cxn ang="0">
                    <a:pos x="connsiteX1" y="connsiteY1"/>
                  </a:cxn>
                </a:cxnLst>
                <a:rect l="l" t="t" r="r" b="b"/>
                <a:pathLst>
                  <a:path w="115069" h="63575">
                    <a:moveTo>
                      <a:pt x="0" y="0"/>
                    </a:moveTo>
                    <a:cubicBezTo>
                      <a:pt x="38935" y="21052"/>
                      <a:pt x="77271" y="42284"/>
                      <a:pt x="115069" y="63575"/>
                    </a:cubicBezTo>
                  </a:path>
                </a:pathLst>
              </a:custGeom>
              <a:noFill/>
              <a:ln w="6350" cap="rnd">
                <a:solidFill>
                  <a:schemeClr val="bg1">
                    <a:alpha val="80000"/>
                  </a:schemeClr>
                </a:solidFill>
                <a:prstDash val="solid"/>
                <a:miter/>
              </a:ln>
            </p:spPr>
            <p:txBody>
              <a:bodyPr rtlCol="0" anchor="ctr"/>
              <a:lstStyle/>
              <a:p>
                <a:endParaRPr lang="en-GB"/>
              </a:p>
            </p:txBody>
          </p:sp>
          <p:sp>
            <p:nvSpPr>
              <p:cNvPr id="8062" name="Vrije vorm: vorm 8061">
                <a:extLst>
                  <a:ext uri="{FF2B5EF4-FFF2-40B4-BE49-F238E27FC236}">
                    <a16:creationId xmlns:a16="http://schemas.microsoft.com/office/drawing/2014/main" id="{23269875-AA55-44C3-A295-5C3271079C15}"/>
                  </a:ext>
                </a:extLst>
              </p:cNvPr>
              <p:cNvSpPr/>
              <p:nvPr/>
            </p:nvSpPr>
            <p:spPr>
              <a:xfrm>
                <a:off x="4228210" y="4634262"/>
                <a:ext cx="45573" cy="133968"/>
              </a:xfrm>
              <a:custGeom>
                <a:avLst/>
                <a:gdLst>
                  <a:gd name="connsiteX0" fmla="*/ 0 w 45573"/>
                  <a:gd name="connsiteY0" fmla="*/ 133968 h 133968"/>
                  <a:gd name="connsiteX1" fmla="*/ 45573 w 45573"/>
                  <a:gd name="connsiteY1" fmla="*/ 0 h 133968"/>
                </a:gdLst>
                <a:ahLst/>
                <a:cxnLst>
                  <a:cxn ang="0">
                    <a:pos x="connsiteX0" y="connsiteY0"/>
                  </a:cxn>
                  <a:cxn ang="0">
                    <a:pos x="connsiteX1" y="connsiteY1"/>
                  </a:cxn>
                </a:cxnLst>
                <a:rect l="l" t="t" r="r" b="b"/>
                <a:pathLst>
                  <a:path w="45573" h="133968">
                    <a:moveTo>
                      <a:pt x="0" y="133968"/>
                    </a:moveTo>
                    <a:cubicBezTo>
                      <a:pt x="11303" y="92163"/>
                      <a:pt x="26495" y="47308"/>
                      <a:pt x="45573" y="0"/>
                    </a:cubicBezTo>
                  </a:path>
                </a:pathLst>
              </a:custGeom>
              <a:noFill/>
              <a:ln w="6350" cap="rnd">
                <a:solidFill>
                  <a:schemeClr val="bg1">
                    <a:alpha val="80000"/>
                  </a:schemeClr>
                </a:solidFill>
                <a:prstDash val="solid"/>
                <a:miter/>
              </a:ln>
            </p:spPr>
            <p:txBody>
              <a:bodyPr rtlCol="0" anchor="ctr"/>
              <a:lstStyle/>
              <a:p>
                <a:endParaRPr lang="en-GB"/>
              </a:p>
            </p:txBody>
          </p:sp>
          <p:sp>
            <p:nvSpPr>
              <p:cNvPr id="8063" name="Vrije vorm: vorm 8062">
                <a:extLst>
                  <a:ext uri="{FF2B5EF4-FFF2-40B4-BE49-F238E27FC236}">
                    <a16:creationId xmlns:a16="http://schemas.microsoft.com/office/drawing/2014/main" id="{1689AE73-FE52-49E7-A291-3A3C0FC8088A}"/>
                  </a:ext>
                </a:extLst>
              </p:cNvPr>
              <p:cNvSpPr/>
              <p:nvPr/>
            </p:nvSpPr>
            <p:spPr>
              <a:xfrm>
                <a:off x="4241368" y="4622360"/>
                <a:ext cx="47367" cy="135044"/>
              </a:xfrm>
              <a:custGeom>
                <a:avLst/>
                <a:gdLst>
                  <a:gd name="connsiteX0" fmla="*/ 0 w 47367"/>
                  <a:gd name="connsiteY0" fmla="*/ 135045 h 135044"/>
                  <a:gd name="connsiteX1" fmla="*/ 47368 w 47367"/>
                  <a:gd name="connsiteY1" fmla="*/ 0 h 135044"/>
                </a:gdLst>
                <a:ahLst/>
                <a:cxnLst>
                  <a:cxn ang="0">
                    <a:pos x="connsiteX0" y="connsiteY0"/>
                  </a:cxn>
                  <a:cxn ang="0">
                    <a:pos x="connsiteX1" y="connsiteY1"/>
                  </a:cxn>
                </a:cxnLst>
                <a:rect l="l" t="t" r="r" b="b"/>
                <a:pathLst>
                  <a:path w="47367" h="135044">
                    <a:moveTo>
                      <a:pt x="0" y="135045"/>
                    </a:moveTo>
                    <a:cubicBezTo>
                      <a:pt x="12021" y="92701"/>
                      <a:pt x="27870" y="47487"/>
                      <a:pt x="47368" y="0"/>
                    </a:cubicBezTo>
                  </a:path>
                </a:pathLst>
              </a:custGeom>
              <a:noFill/>
              <a:ln w="6350" cap="rnd">
                <a:solidFill>
                  <a:schemeClr val="bg1">
                    <a:alpha val="80000"/>
                  </a:schemeClr>
                </a:solidFill>
                <a:prstDash val="solid"/>
                <a:miter/>
              </a:ln>
            </p:spPr>
            <p:txBody>
              <a:bodyPr rtlCol="0" anchor="ctr"/>
              <a:lstStyle/>
              <a:p>
                <a:endParaRPr lang="en-GB"/>
              </a:p>
            </p:txBody>
          </p:sp>
          <p:sp>
            <p:nvSpPr>
              <p:cNvPr id="8064" name="Vrije vorm: vorm 8063">
                <a:extLst>
                  <a:ext uri="{FF2B5EF4-FFF2-40B4-BE49-F238E27FC236}">
                    <a16:creationId xmlns:a16="http://schemas.microsoft.com/office/drawing/2014/main" id="{838C4AB0-A249-4B37-B8C0-FB6F22F5A061}"/>
                  </a:ext>
                </a:extLst>
              </p:cNvPr>
              <p:cNvSpPr/>
              <p:nvPr/>
            </p:nvSpPr>
            <p:spPr>
              <a:xfrm>
                <a:off x="4281319" y="4597181"/>
                <a:ext cx="39113" cy="128226"/>
              </a:xfrm>
              <a:custGeom>
                <a:avLst/>
                <a:gdLst>
                  <a:gd name="connsiteX0" fmla="*/ 0 w 39113"/>
                  <a:gd name="connsiteY0" fmla="*/ 128227 h 128226"/>
                  <a:gd name="connsiteX1" fmla="*/ 39114 w 39113"/>
                  <a:gd name="connsiteY1" fmla="*/ 0 h 128226"/>
                </a:gdLst>
                <a:ahLst/>
                <a:cxnLst>
                  <a:cxn ang="0">
                    <a:pos x="connsiteX0" y="connsiteY0"/>
                  </a:cxn>
                  <a:cxn ang="0">
                    <a:pos x="connsiteX1" y="connsiteY1"/>
                  </a:cxn>
                </a:cxnLst>
                <a:rect l="l" t="t" r="r" b="b"/>
                <a:pathLst>
                  <a:path w="39113" h="128226">
                    <a:moveTo>
                      <a:pt x="0" y="128227"/>
                    </a:moveTo>
                    <a:cubicBezTo>
                      <a:pt x="10347" y="87378"/>
                      <a:pt x="23384" y="44497"/>
                      <a:pt x="39114" y="0"/>
                    </a:cubicBezTo>
                  </a:path>
                </a:pathLst>
              </a:custGeom>
              <a:noFill/>
              <a:ln w="6350" cap="rnd">
                <a:solidFill>
                  <a:schemeClr val="bg1">
                    <a:alpha val="80000"/>
                  </a:schemeClr>
                </a:solidFill>
                <a:prstDash val="solid"/>
                <a:miter/>
              </a:ln>
            </p:spPr>
            <p:txBody>
              <a:bodyPr rtlCol="0" anchor="ctr"/>
              <a:lstStyle/>
              <a:p>
                <a:endParaRPr lang="en-GB"/>
              </a:p>
            </p:txBody>
          </p:sp>
          <p:sp>
            <p:nvSpPr>
              <p:cNvPr id="8065" name="Vrije vorm: vorm 8064">
                <a:extLst>
                  <a:ext uri="{FF2B5EF4-FFF2-40B4-BE49-F238E27FC236}">
                    <a16:creationId xmlns:a16="http://schemas.microsoft.com/office/drawing/2014/main" id="{82FDDA65-83DB-4728-9250-5906F6BADC2D}"/>
                  </a:ext>
                </a:extLst>
              </p:cNvPr>
              <p:cNvSpPr/>
              <p:nvPr/>
            </p:nvSpPr>
            <p:spPr>
              <a:xfrm>
                <a:off x="4296331" y="4586655"/>
                <a:ext cx="37499" cy="127568"/>
              </a:xfrm>
              <a:custGeom>
                <a:avLst/>
                <a:gdLst>
                  <a:gd name="connsiteX0" fmla="*/ 0 w 37499"/>
                  <a:gd name="connsiteY0" fmla="*/ 127569 h 127568"/>
                  <a:gd name="connsiteX1" fmla="*/ 37499 w 37499"/>
                  <a:gd name="connsiteY1" fmla="*/ 0 h 127568"/>
                </a:gdLst>
                <a:ahLst/>
                <a:cxnLst>
                  <a:cxn ang="0">
                    <a:pos x="connsiteX0" y="connsiteY0"/>
                  </a:cxn>
                  <a:cxn ang="0">
                    <a:pos x="connsiteX1" y="connsiteY1"/>
                  </a:cxn>
                </a:cxnLst>
                <a:rect l="l" t="t" r="r" b="b"/>
                <a:pathLst>
                  <a:path w="37499" h="127568">
                    <a:moveTo>
                      <a:pt x="0" y="127569"/>
                    </a:moveTo>
                    <a:cubicBezTo>
                      <a:pt x="9988" y="86720"/>
                      <a:pt x="22488" y="44138"/>
                      <a:pt x="37499" y="0"/>
                    </a:cubicBezTo>
                  </a:path>
                </a:pathLst>
              </a:custGeom>
              <a:noFill/>
              <a:ln w="6350" cap="rnd">
                <a:solidFill>
                  <a:schemeClr val="bg1">
                    <a:alpha val="80000"/>
                  </a:schemeClr>
                </a:solidFill>
                <a:prstDash val="solid"/>
                <a:miter/>
              </a:ln>
            </p:spPr>
            <p:txBody>
              <a:bodyPr rtlCol="0" anchor="ctr"/>
              <a:lstStyle/>
              <a:p>
                <a:endParaRPr lang="en-GB"/>
              </a:p>
            </p:txBody>
          </p:sp>
          <p:sp>
            <p:nvSpPr>
              <p:cNvPr id="8066" name="Vrije vorm: vorm 8065">
                <a:extLst>
                  <a:ext uri="{FF2B5EF4-FFF2-40B4-BE49-F238E27FC236}">
                    <a16:creationId xmlns:a16="http://schemas.microsoft.com/office/drawing/2014/main" id="{242ABCDF-111D-4956-A63E-3C2AC1B0D015}"/>
                  </a:ext>
                </a:extLst>
              </p:cNvPr>
              <p:cNvSpPr/>
              <p:nvPr/>
            </p:nvSpPr>
            <p:spPr>
              <a:xfrm>
                <a:off x="4354045" y="4549455"/>
                <a:ext cx="27212" cy="117581"/>
              </a:xfrm>
              <a:custGeom>
                <a:avLst/>
                <a:gdLst>
                  <a:gd name="connsiteX0" fmla="*/ 0 w 27212"/>
                  <a:gd name="connsiteY0" fmla="*/ 117581 h 117581"/>
                  <a:gd name="connsiteX1" fmla="*/ 27212 w 27212"/>
                  <a:gd name="connsiteY1" fmla="*/ 0 h 117581"/>
                </a:gdLst>
                <a:ahLst/>
                <a:cxnLst>
                  <a:cxn ang="0">
                    <a:pos x="connsiteX0" y="connsiteY0"/>
                  </a:cxn>
                  <a:cxn ang="0">
                    <a:pos x="connsiteX1" y="connsiteY1"/>
                  </a:cxn>
                </a:cxnLst>
                <a:rect l="l" t="t" r="r" b="b"/>
                <a:pathLst>
                  <a:path w="27212" h="117581">
                    <a:moveTo>
                      <a:pt x="0" y="117581"/>
                    </a:moveTo>
                    <a:cubicBezTo>
                      <a:pt x="7416" y="79364"/>
                      <a:pt x="16507" y="40131"/>
                      <a:pt x="27212" y="0"/>
                    </a:cubicBezTo>
                  </a:path>
                </a:pathLst>
              </a:custGeom>
              <a:noFill/>
              <a:ln w="6350" cap="rnd">
                <a:solidFill>
                  <a:schemeClr val="bg1">
                    <a:alpha val="80000"/>
                  </a:schemeClr>
                </a:solidFill>
                <a:prstDash val="solid"/>
                <a:miter/>
              </a:ln>
            </p:spPr>
            <p:txBody>
              <a:bodyPr rtlCol="0" anchor="ctr"/>
              <a:lstStyle/>
              <a:p>
                <a:endParaRPr lang="en-GB"/>
              </a:p>
            </p:txBody>
          </p:sp>
          <p:sp>
            <p:nvSpPr>
              <p:cNvPr id="8067" name="Vrije vorm: vorm 8066">
                <a:extLst>
                  <a:ext uri="{FF2B5EF4-FFF2-40B4-BE49-F238E27FC236}">
                    <a16:creationId xmlns:a16="http://schemas.microsoft.com/office/drawing/2014/main" id="{E56E943F-DE7E-46FC-8389-CEC53A674168}"/>
                  </a:ext>
                </a:extLst>
              </p:cNvPr>
              <p:cNvSpPr/>
              <p:nvPr/>
            </p:nvSpPr>
            <p:spPr>
              <a:xfrm>
                <a:off x="4360145" y="4543474"/>
                <a:ext cx="28647" cy="118657"/>
              </a:xfrm>
              <a:custGeom>
                <a:avLst/>
                <a:gdLst>
                  <a:gd name="connsiteX0" fmla="*/ 0 w 28647"/>
                  <a:gd name="connsiteY0" fmla="*/ 118658 h 118657"/>
                  <a:gd name="connsiteX1" fmla="*/ 28648 w 28647"/>
                  <a:gd name="connsiteY1" fmla="*/ 0 h 118657"/>
                </a:gdLst>
                <a:ahLst/>
                <a:cxnLst>
                  <a:cxn ang="0">
                    <a:pos x="connsiteX0" y="connsiteY0"/>
                  </a:cxn>
                  <a:cxn ang="0">
                    <a:pos x="connsiteX1" y="connsiteY1"/>
                  </a:cxn>
                </a:cxnLst>
                <a:rect l="l" t="t" r="r" b="b"/>
                <a:pathLst>
                  <a:path w="28647" h="118657">
                    <a:moveTo>
                      <a:pt x="0" y="118658"/>
                    </a:moveTo>
                    <a:cubicBezTo>
                      <a:pt x="7895" y="80142"/>
                      <a:pt x="17464" y="40549"/>
                      <a:pt x="28648" y="0"/>
                    </a:cubicBezTo>
                  </a:path>
                </a:pathLst>
              </a:custGeom>
              <a:noFill/>
              <a:ln w="6350" cap="rnd">
                <a:solidFill>
                  <a:schemeClr val="bg1">
                    <a:alpha val="80000"/>
                  </a:schemeClr>
                </a:solidFill>
                <a:prstDash val="solid"/>
                <a:miter/>
              </a:ln>
            </p:spPr>
            <p:txBody>
              <a:bodyPr rtlCol="0" anchor="ctr"/>
              <a:lstStyle/>
              <a:p>
                <a:endParaRPr lang="en-GB"/>
              </a:p>
            </p:txBody>
          </p:sp>
          <p:sp>
            <p:nvSpPr>
              <p:cNvPr id="8068" name="Vrije vorm: vorm 8067">
                <a:extLst>
                  <a:ext uri="{FF2B5EF4-FFF2-40B4-BE49-F238E27FC236}">
                    <a16:creationId xmlns:a16="http://schemas.microsoft.com/office/drawing/2014/main" id="{9A59500D-DDC1-41B0-B350-548EEC058CC3}"/>
                  </a:ext>
                </a:extLst>
              </p:cNvPr>
              <p:cNvSpPr/>
              <p:nvPr/>
            </p:nvSpPr>
            <p:spPr>
              <a:xfrm>
                <a:off x="4419235" y="4504719"/>
                <a:ext cx="19257" cy="111839"/>
              </a:xfrm>
              <a:custGeom>
                <a:avLst/>
                <a:gdLst>
                  <a:gd name="connsiteX0" fmla="*/ 0 w 19257"/>
                  <a:gd name="connsiteY0" fmla="*/ 111840 h 111839"/>
                  <a:gd name="connsiteX1" fmla="*/ 19258 w 19257"/>
                  <a:gd name="connsiteY1" fmla="*/ 0 h 111839"/>
                </a:gdLst>
                <a:ahLst/>
                <a:cxnLst>
                  <a:cxn ang="0">
                    <a:pos x="connsiteX0" y="connsiteY0"/>
                  </a:cxn>
                  <a:cxn ang="0">
                    <a:pos x="connsiteX1" y="connsiteY1"/>
                  </a:cxn>
                </a:cxnLst>
                <a:rect l="l" t="t" r="r" b="b"/>
                <a:pathLst>
                  <a:path w="19257" h="111839">
                    <a:moveTo>
                      <a:pt x="0" y="111840"/>
                    </a:moveTo>
                    <a:cubicBezTo>
                      <a:pt x="5263" y="75178"/>
                      <a:pt x="11662" y="37918"/>
                      <a:pt x="19258" y="0"/>
                    </a:cubicBezTo>
                  </a:path>
                </a:pathLst>
              </a:custGeom>
              <a:noFill/>
              <a:ln w="6350" cap="rnd">
                <a:solidFill>
                  <a:schemeClr val="bg1">
                    <a:alpha val="80000"/>
                  </a:schemeClr>
                </a:solidFill>
                <a:prstDash val="solid"/>
                <a:miter/>
              </a:ln>
            </p:spPr>
            <p:txBody>
              <a:bodyPr rtlCol="0" anchor="ctr"/>
              <a:lstStyle/>
              <a:p>
                <a:endParaRPr lang="en-GB"/>
              </a:p>
            </p:txBody>
          </p:sp>
          <p:sp>
            <p:nvSpPr>
              <p:cNvPr id="8069" name="Vrije vorm: vorm 8068">
                <a:extLst>
                  <a:ext uri="{FF2B5EF4-FFF2-40B4-BE49-F238E27FC236}">
                    <a16:creationId xmlns:a16="http://schemas.microsoft.com/office/drawing/2014/main" id="{DD13B543-175B-4344-AA0C-028D942EA6EA}"/>
                  </a:ext>
                </a:extLst>
              </p:cNvPr>
              <p:cNvSpPr/>
              <p:nvPr/>
            </p:nvSpPr>
            <p:spPr>
              <a:xfrm>
                <a:off x="4425813" y="4500772"/>
                <a:ext cx="17703" cy="110523"/>
              </a:xfrm>
              <a:custGeom>
                <a:avLst/>
                <a:gdLst>
                  <a:gd name="connsiteX0" fmla="*/ 0 w 17703"/>
                  <a:gd name="connsiteY0" fmla="*/ 110524 h 110523"/>
                  <a:gd name="connsiteX1" fmla="*/ 17703 w 17703"/>
                  <a:gd name="connsiteY1" fmla="*/ 0 h 110523"/>
                </a:gdLst>
                <a:ahLst/>
                <a:cxnLst>
                  <a:cxn ang="0">
                    <a:pos x="connsiteX0" y="connsiteY0"/>
                  </a:cxn>
                  <a:cxn ang="0">
                    <a:pos x="connsiteX1" y="connsiteY1"/>
                  </a:cxn>
                </a:cxnLst>
                <a:rect l="l" t="t" r="r" b="b"/>
                <a:pathLst>
                  <a:path w="17703" h="110523">
                    <a:moveTo>
                      <a:pt x="0" y="110524"/>
                    </a:moveTo>
                    <a:cubicBezTo>
                      <a:pt x="4785" y="74280"/>
                      <a:pt x="10705" y="37380"/>
                      <a:pt x="17703" y="0"/>
                    </a:cubicBezTo>
                  </a:path>
                </a:pathLst>
              </a:custGeom>
              <a:noFill/>
              <a:ln w="6350" cap="rnd">
                <a:solidFill>
                  <a:schemeClr val="bg1">
                    <a:alpha val="80000"/>
                  </a:schemeClr>
                </a:solidFill>
                <a:prstDash val="solid"/>
                <a:miter/>
              </a:ln>
            </p:spPr>
            <p:txBody>
              <a:bodyPr rtlCol="0" anchor="ctr"/>
              <a:lstStyle/>
              <a:p>
                <a:endParaRPr lang="en-GB"/>
              </a:p>
            </p:txBody>
          </p:sp>
          <p:sp>
            <p:nvSpPr>
              <p:cNvPr id="8070" name="Vrije vorm: vorm 8069">
                <a:extLst>
                  <a:ext uri="{FF2B5EF4-FFF2-40B4-BE49-F238E27FC236}">
                    <a16:creationId xmlns:a16="http://schemas.microsoft.com/office/drawing/2014/main" id="{A9639DFD-22A1-4D68-94CB-519F6B4C8D47}"/>
                  </a:ext>
                </a:extLst>
              </p:cNvPr>
              <p:cNvSpPr/>
              <p:nvPr/>
            </p:nvSpPr>
            <p:spPr>
              <a:xfrm>
                <a:off x="4488432" y="4457053"/>
                <a:ext cx="11183" cy="104483"/>
              </a:xfrm>
              <a:custGeom>
                <a:avLst/>
                <a:gdLst>
                  <a:gd name="connsiteX0" fmla="*/ 0 w 11183"/>
                  <a:gd name="connsiteY0" fmla="*/ 104483 h 104483"/>
                  <a:gd name="connsiteX1" fmla="*/ 11184 w 11183"/>
                  <a:gd name="connsiteY1" fmla="*/ 0 h 104483"/>
                </a:gdLst>
                <a:ahLst/>
                <a:cxnLst>
                  <a:cxn ang="0">
                    <a:pos x="connsiteX0" y="connsiteY0"/>
                  </a:cxn>
                  <a:cxn ang="0">
                    <a:pos x="connsiteX1" y="connsiteY1"/>
                  </a:cxn>
                </a:cxnLst>
                <a:rect l="l" t="t" r="r" b="b"/>
                <a:pathLst>
                  <a:path w="11183" h="104483">
                    <a:moveTo>
                      <a:pt x="0" y="104483"/>
                    </a:moveTo>
                    <a:cubicBezTo>
                      <a:pt x="2930" y="70034"/>
                      <a:pt x="6639" y="35226"/>
                      <a:pt x="11184" y="0"/>
                    </a:cubicBezTo>
                  </a:path>
                </a:pathLst>
              </a:custGeom>
              <a:noFill/>
              <a:ln w="6350" cap="rnd">
                <a:solidFill>
                  <a:schemeClr val="bg1">
                    <a:alpha val="80000"/>
                  </a:schemeClr>
                </a:solidFill>
                <a:prstDash val="solid"/>
                <a:miter/>
              </a:ln>
            </p:spPr>
            <p:txBody>
              <a:bodyPr rtlCol="0" anchor="ctr"/>
              <a:lstStyle/>
              <a:p>
                <a:endParaRPr lang="en-GB"/>
              </a:p>
            </p:txBody>
          </p:sp>
          <p:sp>
            <p:nvSpPr>
              <p:cNvPr id="8071" name="Vrije vorm: vorm 8070">
                <a:extLst>
                  <a:ext uri="{FF2B5EF4-FFF2-40B4-BE49-F238E27FC236}">
                    <a16:creationId xmlns:a16="http://schemas.microsoft.com/office/drawing/2014/main" id="{E4A123CA-D636-4E2B-8E7E-FB41618AA7EC}"/>
                  </a:ext>
                </a:extLst>
              </p:cNvPr>
              <p:cNvSpPr/>
              <p:nvPr/>
            </p:nvSpPr>
            <p:spPr>
              <a:xfrm>
                <a:off x="4495788" y="4450654"/>
                <a:ext cx="11961" cy="106576"/>
              </a:xfrm>
              <a:custGeom>
                <a:avLst/>
                <a:gdLst>
                  <a:gd name="connsiteX0" fmla="*/ 0 w 11961"/>
                  <a:gd name="connsiteY0" fmla="*/ 106576 h 106576"/>
                  <a:gd name="connsiteX1" fmla="*/ 11961 w 11961"/>
                  <a:gd name="connsiteY1" fmla="*/ 0 h 106576"/>
                </a:gdLst>
                <a:ahLst/>
                <a:cxnLst>
                  <a:cxn ang="0">
                    <a:pos x="connsiteX0" y="connsiteY0"/>
                  </a:cxn>
                  <a:cxn ang="0">
                    <a:pos x="connsiteX1" y="connsiteY1"/>
                  </a:cxn>
                </a:cxnLst>
                <a:rect l="l" t="t" r="r" b="b"/>
                <a:pathLst>
                  <a:path w="11961" h="106576">
                    <a:moveTo>
                      <a:pt x="0" y="106576"/>
                    </a:moveTo>
                    <a:cubicBezTo>
                      <a:pt x="3170" y="71469"/>
                      <a:pt x="7177" y="35944"/>
                      <a:pt x="11961" y="0"/>
                    </a:cubicBezTo>
                  </a:path>
                </a:pathLst>
              </a:custGeom>
              <a:noFill/>
              <a:ln w="6350" cap="rnd">
                <a:solidFill>
                  <a:schemeClr val="bg1">
                    <a:alpha val="80000"/>
                  </a:schemeClr>
                </a:solidFill>
                <a:prstDash val="solid"/>
                <a:miter/>
              </a:ln>
            </p:spPr>
            <p:txBody>
              <a:bodyPr rtlCol="0" anchor="ctr"/>
              <a:lstStyle/>
              <a:p>
                <a:endParaRPr lang="en-GB"/>
              </a:p>
            </p:txBody>
          </p:sp>
          <p:sp>
            <p:nvSpPr>
              <p:cNvPr id="8072" name="Vrije vorm: vorm 8071">
                <a:extLst>
                  <a:ext uri="{FF2B5EF4-FFF2-40B4-BE49-F238E27FC236}">
                    <a16:creationId xmlns:a16="http://schemas.microsoft.com/office/drawing/2014/main" id="{8AEF471B-49F1-4ADC-BAC9-D4B005BA60FF}"/>
                  </a:ext>
                </a:extLst>
              </p:cNvPr>
              <p:cNvSpPr/>
              <p:nvPr/>
            </p:nvSpPr>
            <p:spPr>
              <a:xfrm>
                <a:off x="4535560" y="4427568"/>
                <a:ext cx="1794" cy="96588"/>
              </a:xfrm>
              <a:custGeom>
                <a:avLst/>
                <a:gdLst>
                  <a:gd name="connsiteX0" fmla="*/ 0 w 1794"/>
                  <a:gd name="connsiteY0" fmla="*/ 96589 h 96588"/>
                  <a:gd name="connsiteX1" fmla="*/ 1795 w 1794"/>
                  <a:gd name="connsiteY1" fmla="*/ 0 h 96588"/>
                </a:gdLst>
                <a:ahLst/>
                <a:cxnLst>
                  <a:cxn ang="0">
                    <a:pos x="connsiteX0" y="connsiteY0"/>
                  </a:cxn>
                  <a:cxn ang="0">
                    <a:pos x="connsiteX1" y="connsiteY1"/>
                  </a:cxn>
                </a:cxnLst>
                <a:rect l="l" t="t" r="r" b="b"/>
                <a:pathLst>
                  <a:path w="1794" h="96588">
                    <a:moveTo>
                      <a:pt x="0" y="96589"/>
                    </a:moveTo>
                    <a:cubicBezTo>
                      <a:pt x="60" y="64652"/>
                      <a:pt x="658" y="32476"/>
                      <a:pt x="1795" y="0"/>
                    </a:cubicBezTo>
                  </a:path>
                </a:pathLst>
              </a:custGeom>
              <a:noFill/>
              <a:ln w="6350" cap="rnd">
                <a:solidFill>
                  <a:schemeClr val="bg1">
                    <a:alpha val="80000"/>
                  </a:schemeClr>
                </a:solidFill>
                <a:prstDash val="solid"/>
                <a:miter/>
              </a:ln>
            </p:spPr>
            <p:txBody>
              <a:bodyPr rtlCol="0" anchor="ctr"/>
              <a:lstStyle/>
              <a:p>
                <a:endParaRPr lang="en-GB"/>
              </a:p>
            </p:txBody>
          </p:sp>
          <p:sp>
            <p:nvSpPr>
              <p:cNvPr id="8073" name="Vrije vorm: vorm 8072">
                <a:extLst>
                  <a:ext uri="{FF2B5EF4-FFF2-40B4-BE49-F238E27FC236}">
                    <a16:creationId xmlns:a16="http://schemas.microsoft.com/office/drawing/2014/main" id="{823758A7-3D9F-4AE9-8CFE-EB02479928E7}"/>
                  </a:ext>
                </a:extLst>
              </p:cNvPr>
              <p:cNvSpPr/>
              <p:nvPr/>
            </p:nvSpPr>
            <p:spPr>
              <a:xfrm>
                <a:off x="4543514" y="4420989"/>
                <a:ext cx="2332" cy="96887"/>
              </a:xfrm>
              <a:custGeom>
                <a:avLst/>
                <a:gdLst>
                  <a:gd name="connsiteX0" fmla="*/ 0 w 2332"/>
                  <a:gd name="connsiteY0" fmla="*/ 96888 h 96887"/>
                  <a:gd name="connsiteX1" fmla="*/ 2333 w 2332"/>
                  <a:gd name="connsiteY1" fmla="*/ 0 h 96887"/>
                </a:gdLst>
                <a:ahLst/>
                <a:cxnLst>
                  <a:cxn ang="0">
                    <a:pos x="connsiteX0" y="connsiteY0"/>
                  </a:cxn>
                  <a:cxn ang="0">
                    <a:pos x="connsiteX1" y="connsiteY1"/>
                  </a:cxn>
                </a:cxnLst>
                <a:rect l="l" t="t" r="r" b="b"/>
                <a:pathLst>
                  <a:path w="2332" h="96887">
                    <a:moveTo>
                      <a:pt x="0" y="96888"/>
                    </a:moveTo>
                    <a:cubicBezTo>
                      <a:pt x="239" y="64831"/>
                      <a:pt x="1017" y="32535"/>
                      <a:pt x="2333" y="0"/>
                    </a:cubicBezTo>
                  </a:path>
                </a:pathLst>
              </a:custGeom>
              <a:noFill/>
              <a:ln w="6350" cap="rnd">
                <a:solidFill>
                  <a:schemeClr val="bg1">
                    <a:alpha val="80000"/>
                  </a:schemeClr>
                </a:solidFill>
                <a:prstDash val="solid"/>
                <a:miter/>
              </a:ln>
            </p:spPr>
            <p:txBody>
              <a:bodyPr rtlCol="0" anchor="ctr"/>
              <a:lstStyle/>
              <a:p>
                <a:endParaRPr lang="en-GB"/>
              </a:p>
            </p:txBody>
          </p:sp>
          <p:sp>
            <p:nvSpPr>
              <p:cNvPr id="8074" name="Vrije vorm: vorm 8073">
                <a:extLst>
                  <a:ext uri="{FF2B5EF4-FFF2-40B4-BE49-F238E27FC236}">
                    <a16:creationId xmlns:a16="http://schemas.microsoft.com/office/drawing/2014/main" id="{A23954E8-FC6F-4625-BAD5-4FD3D7E8AC9A}"/>
                  </a:ext>
                </a:extLst>
              </p:cNvPr>
              <p:cNvSpPr/>
              <p:nvPr/>
            </p:nvSpPr>
            <p:spPr>
              <a:xfrm>
                <a:off x="4252851" y="4611954"/>
                <a:ext cx="48982" cy="136061"/>
              </a:xfrm>
              <a:custGeom>
                <a:avLst/>
                <a:gdLst>
                  <a:gd name="connsiteX0" fmla="*/ 0 w 48982"/>
                  <a:gd name="connsiteY0" fmla="*/ 136061 h 136061"/>
                  <a:gd name="connsiteX1" fmla="*/ 48982 w 48982"/>
                  <a:gd name="connsiteY1" fmla="*/ 0 h 136061"/>
                </a:gdLst>
                <a:ahLst/>
                <a:cxnLst>
                  <a:cxn ang="0">
                    <a:pos x="connsiteX0" y="connsiteY0"/>
                  </a:cxn>
                  <a:cxn ang="0">
                    <a:pos x="connsiteX1" y="connsiteY1"/>
                  </a:cxn>
                </a:cxnLst>
                <a:rect l="l" t="t" r="r" b="b"/>
                <a:pathLst>
                  <a:path w="48982" h="136061">
                    <a:moveTo>
                      <a:pt x="0" y="136061"/>
                    </a:moveTo>
                    <a:cubicBezTo>
                      <a:pt x="12679" y="93299"/>
                      <a:pt x="29066" y="47726"/>
                      <a:pt x="48982" y="0"/>
                    </a:cubicBezTo>
                  </a:path>
                </a:pathLst>
              </a:custGeom>
              <a:noFill/>
              <a:ln w="6350" cap="rnd">
                <a:solidFill>
                  <a:schemeClr val="bg1">
                    <a:alpha val="80000"/>
                  </a:schemeClr>
                </a:solidFill>
                <a:prstDash val="solid"/>
                <a:miter/>
              </a:ln>
            </p:spPr>
            <p:txBody>
              <a:bodyPr rtlCol="0" anchor="ctr"/>
              <a:lstStyle/>
              <a:p>
                <a:endParaRPr lang="en-GB"/>
              </a:p>
            </p:txBody>
          </p:sp>
          <p:sp>
            <p:nvSpPr>
              <p:cNvPr id="8075" name="Vrije vorm: vorm 8074">
                <a:extLst>
                  <a:ext uri="{FF2B5EF4-FFF2-40B4-BE49-F238E27FC236}">
                    <a16:creationId xmlns:a16="http://schemas.microsoft.com/office/drawing/2014/main" id="{5C667AD4-0788-44B5-9C80-4149AB209078}"/>
                  </a:ext>
                </a:extLst>
              </p:cNvPr>
              <p:cNvSpPr/>
              <p:nvPr/>
            </p:nvSpPr>
            <p:spPr>
              <a:xfrm>
                <a:off x="4189455" y="4661115"/>
                <a:ext cx="50836" cy="139410"/>
              </a:xfrm>
              <a:custGeom>
                <a:avLst/>
                <a:gdLst>
                  <a:gd name="connsiteX0" fmla="*/ 0 w 50836"/>
                  <a:gd name="connsiteY0" fmla="*/ 139411 h 139410"/>
                  <a:gd name="connsiteX1" fmla="*/ 50836 w 50836"/>
                  <a:gd name="connsiteY1" fmla="*/ 0 h 139410"/>
                </a:gdLst>
                <a:ahLst/>
                <a:cxnLst>
                  <a:cxn ang="0">
                    <a:pos x="connsiteX0" y="connsiteY0"/>
                  </a:cxn>
                  <a:cxn ang="0">
                    <a:pos x="connsiteX1" y="connsiteY1"/>
                  </a:cxn>
                </a:cxnLst>
                <a:rect l="l" t="t" r="r" b="b"/>
                <a:pathLst>
                  <a:path w="50836" h="139410">
                    <a:moveTo>
                      <a:pt x="0" y="139411"/>
                    </a:moveTo>
                    <a:cubicBezTo>
                      <a:pt x="11603" y="97007"/>
                      <a:pt x="28588" y="50178"/>
                      <a:pt x="50836" y="0"/>
                    </a:cubicBezTo>
                  </a:path>
                </a:pathLst>
              </a:custGeom>
              <a:noFill/>
              <a:ln w="6350" cap="rnd">
                <a:solidFill>
                  <a:schemeClr val="bg1">
                    <a:alpha val="80000"/>
                  </a:schemeClr>
                </a:solidFill>
                <a:prstDash val="solid"/>
                <a:miter/>
              </a:ln>
            </p:spPr>
            <p:txBody>
              <a:bodyPr rtlCol="0" anchor="ctr"/>
              <a:lstStyle/>
              <a:p>
                <a:endParaRPr lang="en-GB"/>
              </a:p>
            </p:txBody>
          </p:sp>
          <p:sp>
            <p:nvSpPr>
              <p:cNvPr id="8076" name="Vrije vorm: vorm 8075">
                <a:extLst>
                  <a:ext uri="{FF2B5EF4-FFF2-40B4-BE49-F238E27FC236}">
                    <a16:creationId xmlns:a16="http://schemas.microsoft.com/office/drawing/2014/main" id="{7C3C3CF9-4960-4205-9A63-A196640F3D8A}"/>
                  </a:ext>
                </a:extLst>
              </p:cNvPr>
              <p:cNvSpPr/>
              <p:nvPr/>
            </p:nvSpPr>
            <p:spPr>
              <a:xfrm>
                <a:off x="4199323" y="4651307"/>
                <a:ext cx="53168" cy="140965"/>
              </a:xfrm>
              <a:custGeom>
                <a:avLst/>
                <a:gdLst>
                  <a:gd name="connsiteX0" fmla="*/ 0 w 53168"/>
                  <a:gd name="connsiteY0" fmla="*/ 140966 h 140965"/>
                  <a:gd name="connsiteX1" fmla="*/ 53169 w 53168"/>
                  <a:gd name="connsiteY1" fmla="*/ 0 h 140965"/>
                </a:gdLst>
                <a:ahLst/>
                <a:cxnLst>
                  <a:cxn ang="0">
                    <a:pos x="connsiteX0" y="connsiteY0"/>
                  </a:cxn>
                  <a:cxn ang="0">
                    <a:pos x="connsiteX1" y="connsiteY1"/>
                  </a:cxn>
                </a:cxnLst>
                <a:rect l="l" t="t" r="r" b="b"/>
                <a:pathLst>
                  <a:path w="53168" h="140965">
                    <a:moveTo>
                      <a:pt x="0" y="140966"/>
                    </a:moveTo>
                    <a:cubicBezTo>
                      <a:pt x="12500" y="97845"/>
                      <a:pt x="30322" y="50597"/>
                      <a:pt x="53169" y="0"/>
                    </a:cubicBezTo>
                  </a:path>
                </a:pathLst>
              </a:custGeom>
              <a:noFill/>
              <a:ln w="6350" cap="rnd">
                <a:solidFill>
                  <a:schemeClr val="bg1">
                    <a:alpha val="80000"/>
                  </a:schemeClr>
                </a:solidFill>
                <a:prstDash val="solid"/>
                <a:miter/>
              </a:ln>
            </p:spPr>
            <p:txBody>
              <a:bodyPr rtlCol="0" anchor="ctr"/>
              <a:lstStyle/>
              <a:p>
                <a:endParaRPr lang="en-GB"/>
              </a:p>
            </p:txBody>
          </p:sp>
          <p:sp>
            <p:nvSpPr>
              <p:cNvPr id="8077" name="Vrije vorm: vorm 8076">
                <a:extLst>
                  <a:ext uri="{FF2B5EF4-FFF2-40B4-BE49-F238E27FC236}">
                    <a16:creationId xmlns:a16="http://schemas.microsoft.com/office/drawing/2014/main" id="{C30AA0CD-2A22-47CC-A088-CED1EBD40816}"/>
                  </a:ext>
                </a:extLst>
              </p:cNvPr>
              <p:cNvSpPr/>
              <p:nvPr/>
            </p:nvSpPr>
            <p:spPr>
              <a:xfrm>
                <a:off x="4222888" y="4640542"/>
                <a:ext cx="43061" cy="132113"/>
              </a:xfrm>
              <a:custGeom>
                <a:avLst/>
                <a:gdLst>
                  <a:gd name="connsiteX0" fmla="*/ 0 w 43061"/>
                  <a:gd name="connsiteY0" fmla="*/ 132114 h 132113"/>
                  <a:gd name="connsiteX1" fmla="*/ 43061 w 43061"/>
                  <a:gd name="connsiteY1" fmla="*/ 0 h 132113"/>
                </a:gdLst>
                <a:ahLst/>
                <a:cxnLst>
                  <a:cxn ang="0">
                    <a:pos x="connsiteX0" y="connsiteY0"/>
                  </a:cxn>
                  <a:cxn ang="0">
                    <a:pos x="connsiteX1" y="connsiteY1"/>
                  </a:cxn>
                </a:cxnLst>
                <a:rect l="l" t="t" r="r" b="b"/>
                <a:pathLst>
                  <a:path w="43061" h="132113">
                    <a:moveTo>
                      <a:pt x="0" y="132114"/>
                    </a:moveTo>
                    <a:cubicBezTo>
                      <a:pt x="10526" y="90907"/>
                      <a:pt x="24880" y="46709"/>
                      <a:pt x="43061" y="0"/>
                    </a:cubicBezTo>
                  </a:path>
                </a:pathLst>
              </a:custGeom>
              <a:noFill/>
              <a:ln w="6350" cap="rnd">
                <a:solidFill>
                  <a:schemeClr val="bg1">
                    <a:alpha val="80000"/>
                  </a:schemeClr>
                </a:solidFill>
                <a:prstDash val="solid"/>
                <a:miter/>
              </a:ln>
            </p:spPr>
            <p:txBody>
              <a:bodyPr rtlCol="0" anchor="ctr"/>
              <a:lstStyle/>
              <a:p>
                <a:endParaRPr lang="en-GB"/>
              </a:p>
            </p:txBody>
          </p:sp>
          <p:sp>
            <p:nvSpPr>
              <p:cNvPr id="8078" name="Vrije vorm: vorm 8077">
                <a:extLst>
                  <a:ext uri="{FF2B5EF4-FFF2-40B4-BE49-F238E27FC236}">
                    <a16:creationId xmlns:a16="http://schemas.microsoft.com/office/drawing/2014/main" id="{7D611E03-1CED-468F-83D0-EDBBA34DF577}"/>
                  </a:ext>
                </a:extLst>
              </p:cNvPr>
              <p:cNvSpPr/>
              <p:nvPr/>
            </p:nvSpPr>
            <p:spPr>
              <a:xfrm>
                <a:off x="4307993" y="4577086"/>
                <a:ext cx="38037" cy="127748"/>
              </a:xfrm>
              <a:custGeom>
                <a:avLst/>
                <a:gdLst>
                  <a:gd name="connsiteX0" fmla="*/ 0 w 38037"/>
                  <a:gd name="connsiteY0" fmla="*/ 127748 h 127748"/>
                  <a:gd name="connsiteX1" fmla="*/ 38037 w 38037"/>
                  <a:gd name="connsiteY1" fmla="*/ 0 h 127748"/>
                </a:gdLst>
                <a:ahLst/>
                <a:cxnLst>
                  <a:cxn ang="0">
                    <a:pos x="connsiteX0" y="connsiteY0"/>
                  </a:cxn>
                  <a:cxn ang="0">
                    <a:pos x="connsiteX1" y="connsiteY1"/>
                  </a:cxn>
                </a:cxnLst>
                <a:rect l="l" t="t" r="r" b="b"/>
                <a:pathLst>
                  <a:path w="38037" h="127748">
                    <a:moveTo>
                      <a:pt x="0" y="127748"/>
                    </a:moveTo>
                    <a:cubicBezTo>
                      <a:pt x="10227" y="86780"/>
                      <a:pt x="22906" y="44078"/>
                      <a:pt x="38037" y="0"/>
                    </a:cubicBezTo>
                  </a:path>
                </a:pathLst>
              </a:custGeom>
              <a:noFill/>
              <a:ln w="6350" cap="rnd">
                <a:solidFill>
                  <a:schemeClr val="bg1">
                    <a:alpha val="80000"/>
                  </a:schemeClr>
                </a:solidFill>
                <a:prstDash val="solid"/>
                <a:miter/>
              </a:ln>
            </p:spPr>
            <p:txBody>
              <a:bodyPr rtlCol="0" anchor="ctr"/>
              <a:lstStyle/>
              <a:p>
                <a:endParaRPr lang="en-GB"/>
              </a:p>
            </p:txBody>
          </p:sp>
          <p:sp>
            <p:nvSpPr>
              <p:cNvPr id="8079" name="Vrije vorm: vorm 8078">
                <a:extLst>
                  <a:ext uri="{FF2B5EF4-FFF2-40B4-BE49-F238E27FC236}">
                    <a16:creationId xmlns:a16="http://schemas.microsoft.com/office/drawing/2014/main" id="{F2F3FD78-3716-4671-99A2-A4C9F065B6F6}"/>
                  </a:ext>
                </a:extLst>
              </p:cNvPr>
              <p:cNvSpPr/>
              <p:nvPr/>
            </p:nvSpPr>
            <p:spPr>
              <a:xfrm>
                <a:off x="4341067" y="4557649"/>
                <a:ext cx="29604" cy="120511"/>
              </a:xfrm>
              <a:custGeom>
                <a:avLst/>
                <a:gdLst>
                  <a:gd name="connsiteX0" fmla="*/ 0 w 29604"/>
                  <a:gd name="connsiteY0" fmla="*/ 120512 h 120511"/>
                  <a:gd name="connsiteX1" fmla="*/ 29605 w 29604"/>
                  <a:gd name="connsiteY1" fmla="*/ 0 h 120511"/>
                </a:gdLst>
                <a:ahLst/>
                <a:cxnLst>
                  <a:cxn ang="0">
                    <a:pos x="connsiteX0" y="connsiteY0"/>
                  </a:cxn>
                  <a:cxn ang="0">
                    <a:pos x="connsiteX1" y="connsiteY1"/>
                  </a:cxn>
                </a:cxnLst>
                <a:rect l="l" t="t" r="r" b="b"/>
                <a:pathLst>
                  <a:path w="29604" h="120511">
                    <a:moveTo>
                      <a:pt x="0" y="120512"/>
                    </a:moveTo>
                    <a:cubicBezTo>
                      <a:pt x="8074" y="81458"/>
                      <a:pt x="17882" y="41267"/>
                      <a:pt x="29605" y="0"/>
                    </a:cubicBezTo>
                  </a:path>
                </a:pathLst>
              </a:custGeom>
              <a:noFill/>
              <a:ln w="6350" cap="rnd">
                <a:solidFill>
                  <a:schemeClr val="bg1">
                    <a:alpha val="80000"/>
                  </a:schemeClr>
                </a:solidFill>
                <a:prstDash val="solid"/>
                <a:miter/>
              </a:ln>
            </p:spPr>
            <p:txBody>
              <a:bodyPr rtlCol="0" anchor="ctr"/>
              <a:lstStyle/>
              <a:p>
                <a:endParaRPr lang="en-GB"/>
              </a:p>
            </p:txBody>
          </p:sp>
          <p:sp>
            <p:nvSpPr>
              <p:cNvPr id="8080" name="Vrije vorm: vorm 8079">
                <a:extLst>
                  <a:ext uri="{FF2B5EF4-FFF2-40B4-BE49-F238E27FC236}">
                    <a16:creationId xmlns:a16="http://schemas.microsoft.com/office/drawing/2014/main" id="{9FA2325B-F916-480F-8726-4270CAED9D49}"/>
                  </a:ext>
                </a:extLst>
              </p:cNvPr>
              <p:cNvSpPr/>
              <p:nvPr/>
            </p:nvSpPr>
            <p:spPr>
              <a:xfrm>
                <a:off x="4334488" y="4563510"/>
                <a:ext cx="28767" cy="119973"/>
              </a:xfrm>
              <a:custGeom>
                <a:avLst/>
                <a:gdLst>
                  <a:gd name="connsiteX0" fmla="*/ 0 w 28767"/>
                  <a:gd name="connsiteY0" fmla="*/ 119973 h 119973"/>
                  <a:gd name="connsiteX1" fmla="*/ 28767 w 28767"/>
                  <a:gd name="connsiteY1" fmla="*/ 0 h 119973"/>
                </a:gdLst>
                <a:ahLst/>
                <a:cxnLst>
                  <a:cxn ang="0">
                    <a:pos x="connsiteX0" y="connsiteY0"/>
                  </a:cxn>
                  <a:cxn ang="0">
                    <a:pos x="connsiteX1" y="connsiteY1"/>
                  </a:cxn>
                </a:cxnLst>
                <a:rect l="l" t="t" r="r" b="b"/>
                <a:pathLst>
                  <a:path w="28767" h="119973">
                    <a:moveTo>
                      <a:pt x="0" y="119973"/>
                    </a:moveTo>
                    <a:cubicBezTo>
                      <a:pt x="7775" y="81158"/>
                      <a:pt x="17344" y="41088"/>
                      <a:pt x="28767" y="0"/>
                    </a:cubicBezTo>
                  </a:path>
                </a:pathLst>
              </a:custGeom>
              <a:noFill/>
              <a:ln w="6350" cap="rnd">
                <a:solidFill>
                  <a:schemeClr val="bg1">
                    <a:alpha val="80000"/>
                  </a:schemeClr>
                </a:solidFill>
                <a:prstDash val="solid"/>
                <a:miter/>
              </a:ln>
            </p:spPr>
            <p:txBody>
              <a:bodyPr rtlCol="0" anchor="ctr"/>
              <a:lstStyle/>
              <a:p>
                <a:endParaRPr lang="en-GB"/>
              </a:p>
            </p:txBody>
          </p:sp>
          <p:sp>
            <p:nvSpPr>
              <p:cNvPr id="8081" name="Vrije vorm: vorm 8080">
                <a:extLst>
                  <a:ext uri="{FF2B5EF4-FFF2-40B4-BE49-F238E27FC236}">
                    <a16:creationId xmlns:a16="http://schemas.microsoft.com/office/drawing/2014/main" id="{3ACD708C-261F-416A-A938-9B47534AFB07}"/>
                  </a:ext>
                </a:extLst>
              </p:cNvPr>
              <p:cNvSpPr/>
              <p:nvPr/>
            </p:nvSpPr>
            <p:spPr>
              <a:xfrm>
                <a:off x="4367860" y="4539168"/>
                <a:ext cx="26434" cy="116803"/>
              </a:xfrm>
              <a:custGeom>
                <a:avLst/>
                <a:gdLst>
                  <a:gd name="connsiteX0" fmla="*/ 0 w 26434"/>
                  <a:gd name="connsiteY0" fmla="*/ 116803 h 116803"/>
                  <a:gd name="connsiteX1" fmla="*/ 26435 w 26434"/>
                  <a:gd name="connsiteY1" fmla="*/ 0 h 116803"/>
                </a:gdLst>
                <a:ahLst/>
                <a:cxnLst>
                  <a:cxn ang="0">
                    <a:pos x="connsiteX0" y="connsiteY0"/>
                  </a:cxn>
                  <a:cxn ang="0">
                    <a:pos x="connsiteX1" y="connsiteY1"/>
                  </a:cxn>
                </a:cxnLst>
                <a:rect l="l" t="t" r="r" b="b"/>
                <a:pathLst>
                  <a:path w="26434" h="116803">
                    <a:moveTo>
                      <a:pt x="0" y="116803"/>
                    </a:moveTo>
                    <a:cubicBezTo>
                      <a:pt x="7297" y="78766"/>
                      <a:pt x="16088" y="39831"/>
                      <a:pt x="26435" y="0"/>
                    </a:cubicBezTo>
                  </a:path>
                </a:pathLst>
              </a:custGeom>
              <a:noFill/>
              <a:ln w="6350" cap="rnd">
                <a:solidFill>
                  <a:schemeClr val="bg1">
                    <a:alpha val="80000"/>
                  </a:schemeClr>
                </a:solidFill>
                <a:prstDash val="solid"/>
                <a:miter/>
              </a:ln>
            </p:spPr>
            <p:txBody>
              <a:bodyPr rtlCol="0" anchor="ctr"/>
              <a:lstStyle/>
              <a:p>
                <a:endParaRPr lang="en-GB"/>
              </a:p>
            </p:txBody>
          </p:sp>
          <p:sp>
            <p:nvSpPr>
              <p:cNvPr id="8082" name="Vrije vorm: vorm 8081">
                <a:extLst>
                  <a:ext uri="{FF2B5EF4-FFF2-40B4-BE49-F238E27FC236}">
                    <a16:creationId xmlns:a16="http://schemas.microsoft.com/office/drawing/2014/main" id="{C850A8AB-3D76-4E75-A8AA-032B061E6E69}"/>
                  </a:ext>
                </a:extLst>
              </p:cNvPr>
              <p:cNvSpPr/>
              <p:nvPr/>
            </p:nvSpPr>
            <p:spPr>
              <a:xfrm>
                <a:off x="4396269" y="4522482"/>
                <a:ext cx="19497" cy="111600"/>
              </a:xfrm>
              <a:custGeom>
                <a:avLst/>
                <a:gdLst>
                  <a:gd name="connsiteX0" fmla="*/ 0 w 19497"/>
                  <a:gd name="connsiteY0" fmla="*/ 111600 h 111600"/>
                  <a:gd name="connsiteX1" fmla="*/ 19497 w 19497"/>
                  <a:gd name="connsiteY1" fmla="*/ 0 h 111600"/>
                </a:gdLst>
                <a:ahLst/>
                <a:cxnLst>
                  <a:cxn ang="0">
                    <a:pos x="connsiteX0" y="connsiteY0"/>
                  </a:cxn>
                  <a:cxn ang="0">
                    <a:pos x="connsiteX1" y="connsiteY1"/>
                  </a:cxn>
                </a:cxnLst>
                <a:rect l="l" t="t" r="r" b="b"/>
                <a:pathLst>
                  <a:path w="19497" h="111600">
                    <a:moveTo>
                      <a:pt x="0" y="111600"/>
                    </a:moveTo>
                    <a:cubicBezTo>
                      <a:pt x="5263" y="75058"/>
                      <a:pt x="11722" y="37858"/>
                      <a:pt x="19497" y="0"/>
                    </a:cubicBezTo>
                  </a:path>
                </a:pathLst>
              </a:custGeom>
              <a:noFill/>
              <a:ln w="6350" cap="rnd">
                <a:solidFill>
                  <a:schemeClr val="bg1">
                    <a:alpha val="80000"/>
                  </a:schemeClr>
                </a:solidFill>
                <a:prstDash val="solid"/>
                <a:miter/>
              </a:ln>
            </p:spPr>
            <p:txBody>
              <a:bodyPr rtlCol="0" anchor="ctr"/>
              <a:lstStyle/>
              <a:p>
                <a:endParaRPr lang="en-GB"/>
              </a:p>
            </p:txBody>
          </p:sp>
          <p:sp>
            <p:nvSpPr>
              <p:cNvPr id="8083" name="Vrije vorm: vorm 8082">
                <a:extLst>
                  <a:ext uri="{FF2B5EF4-FFF2-40B4-BE49-F238E27FC236}">
                    <a16:creationId xmlns:a16="http://schemas.microsoft.com/office/drawing/2014/main" id="{1C40EF4B-C5DD-4EA0-BC10-46C56A017C84}"/>
                  </a:ext>
                </a:extLst>
              </p:cNvPr>
              <p:cNvSpPr/>
              <p:nvPr/>
            </p:nvSpPr>
            <p:spPr>
              <a:xfrm>
                <a:off x="4404402" y="4516142"/>
                <a:ext cx="19377" cy="112198"/>
              </a:xfrm>
              <a:custGeom>
                <a:avLst/>
                <a:gdLst>
                  <a:gd name="connsiteX0" fmla="*/ 0 w 19377"/>
                  <a:gd name="connsiteY0" fmla="*/ 112198 h 112198"/>
                  <a:gd name="connsiteX1" fmla="*/ 19377 w 19377"/>
                  <a:gd name="connsiteY1" fmla="*/ 0 h 112198"/>
                </a:gdLst>
                <a:ahLst/>
                <a:cxnLst>
                  <a:cxn ang="0">
                    <a:pos x="connsiteX0" y="connsiteY0"/>
                  </a:cxn>
                  <a:cxn ang="0">
                    <a:pos x="connsiteX1" y="connsiteY1"/>
                  </a:cxn>
                </a:cxnLst>
                <a:rect l="l" t="t" r="r" b="b"/>
                <a:pathLst>
                  <a:path w="19377" h="112198">
                    <a:moveTo>
                      <a:pt x="0" y="112198"/>
                    </a:moveTo>
                    <a:cubicBezTo>
                      <a:pt x="5263" y="75477"/>
                      <a:pt x="11722" y="38038"/>
                      <a:pt x="19377" y="0"/>
                    </a:cubicBezTo>
                  </a:path>
                </a:pathLst>
              </a:custGeom>
              <a:noFill/>
              <a:ln w="6350" cap="rnd">
                <a:solidFill>
                  <a:schemeClr val="bg1">
                    <a:alpha val="80000"/>
                  </a:schemeClr>
                </a:solidFill>
                <a:prstDash val="solid"/>
                <a:miter/>
              </a:ln>
            </p:spPr>
            <p:txBody>
              <a:bodyPr rtlCol="0" anchor="ctr"/>
              <a:lstStyle/>
              <a:p>
                <a:endParaRPr lang="en-GB"/>
              </a:p>
            </p:txBody>
          </p:sp>
          <p:sp>
            <p:nvSpPr>
              <p:cNvPr id="8084" name="Vrije vorm: vorm 8083">
                <a:extLst>
                  <a:ext uri="{FF2B5EF4-FFF2-40B4-BE49-F238E27FC236}">
                    <a16:creationId xmlns:a16="http://schemas.microsoft.com/office/drawing/2014/main" id="{97112464-28B7-4A0B-AB5E-A491D6968D2A}"/>
                  </a:ext>
                </a:extLst>
              </p:cNvPr>
              <p:cNvSpPr/>
              <p:nvPr/>
            </p:nvSpPr>
            <p:spPr>
              <a:xfrm>
                <a:off x="4435083" y="4497124"/>
                <a:ext cx="13097" cy="106815"/>
              </a:xfrm>
              <a:custGeom>
                <a:avLst/>
                <a:gdLst>
                  <a:gd name="connsiteX0" fmla="*/ 0 w 13097"/>
                  <a:gd name="connsiteY0" fmla="*/ 106816 h 106815"/>
                  <a:gd name="connsiteX1" fmla="*/ 13098 w 13097"/>
                  <a:gd name="connsiteY1" fmla="*/ 0 h 106815"/>
                </a:gdLst>
                <a:ahLst/>
                <a:cxnLst>
                  <a:cxn ang="0">
                    <a:pos x="connsiteX0" y="connsiteY0"/>
                  </a:cxn>
                  <a:cxn ang="0">
                    <a:pos x="connsiteX1" y="connsiteY1"/>
                  </a:cxn>
                </a:cxnLst>
                <a:rect l="l" t="t" r="r" b="b"/>
                <a:pathLst>
                  <a:path w="13097" h="106815">
                    <a:moveTo>
                      <a:pt x="0" y="106816"/>
                    </a:moveTo>
                    <a:cubicBezTo>
                      <a:pt x="3409" y="71709"/>
                      <a:pt x="7775" y="36124"/>
                      <a:pt x="13098" y="0"/>
                    </a:cubicBezTo>
                  </a:path>
                </a:pathLst>
              </a:custGeom>
              <a:noFill/>
              <a:ln w="6350" cap="rnd">
                <a:solidFill>
                  <a:schemeClr val="bg1">
                    <a:alpha val="80000"/>
                  </a:schemeClr>
                </a:solidFill>
                <a:prstDash val="solid"/>
                <a:miter/>
              </a:ln>
            </p:spPr>
            <p:txBody>
              <a:bodyPr rtlCol="0" anchor="ctr"/>
              <a:lstStyle/>
              <a:p>
                <a:endParaRPr lang="en-GB"/>
              </a:p>
            </p:txBody>
          </p:sp>
          <p:sp>
            <p:nvSpPr>
              <p:cNvPr id="8085" name="Vrije vorm: vorm 8084">
                <a:extLst>
                  <a:ext uri="{FF2B5EF4-FFF2-40B4-BE49-F238E27FC236}">
                    <a16:creationId xmlns:a16="http://schemas.microsoft.com/office/drawing/2014/main" id="{C22C3DE3-B87D-4F31-B86B-E066D2188B3C}"/>
                  </a:ext>
                </a:extLst>
              </p:cNvPr>
              <p:cNvSpPr/>
              <p:nvPr/>
            </p:nvSpPr>
            <p:spPr>
              <a:xfrm>
                <a:off x="4464509" y="4478524"/>
                <a:ext cx="7535" cy="102031"/>
              </a:xfrm>
              <a:custGeom>
                <a:avLst/>
                <a:gdLst>
                  <a:gd name="connsiteX0" fmla="*/ 0 w 7535"/>
                  <a:gd name="connsiteY0" fmla="*/ 102031 h 102031"/>
                  <a:gd name="connsiteX1" fmla="*/ 7535 w 7535"/>
                  <a:gd name="connsiteY1" fmla="*/ 0 h 102031"/>
                </a:gdLst>
                <a:ahLst/>
                <a:cxnLst>
                  <a:cxn ang="0">
                    <a:pos x="connsiteX0" y="connsiteY0"/>
                  </a:cxn>
                  <a:cxn ang="0">
                    <a:pos x="connsiteX1" y="connsiteY1"/>
                  </a:cxn>
                </a:cxnLst>
                <a:rect l="l" t="t" r="r" b="b"/>
                <a:pathLst>
                  <a:path w="7535" h="102031">
                    <a:moveTo>
                      <a:pt x="0" y="102031"/>
                    </a:moveTo>
                    <a:cubicBezTo>
                      <a:pt x="1734" y="68419"/>
                      <a:pt x="4246" y="34389"/>
                      <a:pt x="7535" y="0"/>
                    </a:cubicBezTo>
                  </a:path>
                </a:pathLst>
              </a:custGeom>
              <a:noFill/>
              <a:ln w="6350" cap="rnd">
                <a:solidFill>
                  <a:schemeClr val="bg1">
                    <a:alpha val="80000"/>
                  </a:schemeClr>
                </a:solidFill>
                <a:prstDash val="solid"/>
                <a:miter/>
              </a:ln>
            </p:spPr>
            <p:txBody>
              <a:bodyPr rtlCol="0" anchor="ctr"/>
              <a:lstStyle/>
              <a:p>
                <a:endParaRPr lang="en-GB"/>
              </a:p>
            </p:txBody>
          </p:sp>
          <p:sp>
            <p:nvSpPr>
              <p:cNvPr id="8086" name="Vrije vorm: vorm 8085">
                <a:extLst>
                  <a:ext uri="{FF2B5EF4-FFF2-40B4-BE49-F238E27FC236}">
                    <a16:creationId xmlns:a16="http://schemas.microsoft.com/office/drawing/2014/main" id="{FD5A1C6B-D3A7-480B-9D3C-3152DA644C96}"/>
                  </a:ext>
                </a:extLst>
              </p:cNvPr>
              <p:cNvSpPr/>
              <p:nvPr/>
            </p:nvSpPr>
            <p:spPr>
              <a:xfrm>
                <a:off x="4472044" y="4474038"/>
                <a:ext cx="5741" cy="100535"/>
              </a:xfrm>
              <a:custGeom>
                <a:avLst/>
                <a:gdLst>
                  <a:gd name="connsiteX0" fmla="*/ 0 w 5741"/>
                  <a:gd name="connsiteY0" fmla="*/ 100536 h 100535"/>
                  <a:gd name="connsiteX1" fmla="*/ 5742 w 5741"/>
                  <a:gd name="connsiteY1" fmla="*/ 0 h 100535"/>
                </a:gdLst>
                <a:ahLst/>
                <a:cxnLst>
                  <a:cxn ang="0">
                    <a:pos x="connsiteX0" y="connsiteY0"/>
                  </a:cxn>
                  <a:cxn ang="0">
                    <a:pos x="connsiteX1" y="connsiteY1"/>
                  </a:cxn>
                </a:cxnLst>
                <a:rect l="l" t="t" r="r" b="b"/>
                <a:pathLst>
                  <a:path w="5741" h="100535">
                    <a:moveTo>
                      <a:pt x="0" y="100536"/>
                    </a:moveTo>
                    <a:cubicBezTo>
                      <a:pt x="1196" y="67343"/>
                      <a:pt x="3110" y="33851"/>
                      <a:pt x="5742" y="0"/>
                    </a:cubicBezTo>
                  </a:path>
                </a:pathLst>
              </a:custGeom>
              <a:noFill/>
              <a:ln w="6350" cap="rnd">
                <a:solidFill>
                  <a:schemeClr val="bg1">
                    <a:alpha val="80000"/>
                  </a:schemeClr>
                </a:solidFill>
                <a:prstDash val="solid"/>
                <a:miter/>
              </a:ln>
            </p:spPr>
            <p:txBody>
              <a:bodyPr rtlCol="0" anchor="ctr"/>
              <a:lstStyle/>
              <a:p>
                <a:endParaRPr lang="en-GB"/>
              </a:p>
            </p:txBody>
          </p:sp>
          <p:sp>
            <p:nvSpPr>
              <p:cNvPr id="8087" name="Vrije vorm: vorm 8086">
                <a:extLst>
                  <a:ext uri="{FF2B5EF4-FFF2-40B4-BE49-F238E27FC236}">
                    <a16:creationId xmlns:a16="http://schemas.microsoft.com/office/drawing/2014/main" id="{4B0314AE-43AF-4932-9274-00AA092FEE0C}"/>
                  </a:ext>
                </a:extLst>
              </p:cNvPr>
              <p:cNvSpPr/>
              <p:nvPr/>
            </p:nvSpPr>
            <p:spPr>
              <a:xfrm>
                <a:off x="4213019" y="4778517"/>
                <a:ext cx="33372" cy="27571"/>
              </a:xfrm>
              <a:custGeom>
                <a:avLst/>
                <a:gdLst>
                  <a:gd name="connsiteX0" fmla="*/ 0 w 33372"/>
                  <a:gd name="connsiteY0" fmla="*/ 27571 h 27571"/>
                  <a:gd name="connsiteX1" fmla="*/ 33373 w 33372"/>
                  <a:gd name="connsiteY1" fmla="*/ 0 h 27571"/>
                </a:gdLst>
                <a:ahLst/>
                <a:cxnLst>
                  <a:cxn ang="0">
                    <a:pos x="connsiteX0" y="connsiteY0"/>
                  </a:cxn>
                  <a:cxn ang="0">
                    <a:pos x="connsiteX1" y="connsiteY1"/>
                  </a:cxn>
                </a:cxnLst>
                <a:rect l="l" t="t" r="r" b="b"/>
                <a:pathLst>
                  <a:path w="33372" h="27571">
                    <a:moveTo>
                      <a:pt x="0" y="27571"/>
                    </a:moveTo>
                    <a:cubicBezTo>
                      <a:pt x="10586" y="18779"/>
                      <a:pt x="21710" y="9569"/>
                      <a:pt x="33373" y="0"/>
                    </a:cubicBezTo>
                  </a:path>
                </a:pathLst>
              </a:custGeom>
              <a:noFill/>
              <a:ln w="6350" cap="rnd">
                <a:solidFill>
                  <a:schemeClr val="bg1">
                    <a:alpha val="80000"/>
                  </a:schemeClr>
                </a:solidFill>
                <a:prstDash val="solid"/>
                <a:miter/>
              </a:ln>
            </p:spPr>
            <p:txBody>
              <a:bodyPr rtlCol="0" anchor="ctr"/>
              <a:lstStyle/>
              <a:p>
                <a:endParaRPr lang="en-GB"/>
              </a:p>
            </p:txBody>
          </p:sp>
          <p:sp>
            <p:nvSpPr>
              <p:cNvPr id="8088" name="Vrije vorm: vorm 8087">
                <a:extLst>
                  <a:ext uri="{FF2B5EF4-FFF2-40B4-BE49-F238E27FC236}">
                    <a16:creationId xmlns:a16="http://schemas.microsoft.com/office/drawing/2014/main" id="{EC2D820A-5D3A-415E-89C1-060C816B8812}"/>
                  </a:ext>
                </a:extLst>
              </p:cNvPr>
              <p:cNvSpPr/>
              <p:nvPr/>
            </p:nvSpPr>
            <p:spPr>
              <a:xfrm>
                <a:off x="4239215" y="4785395"/>
                <a:ext cx="33192" cy="27272"/>
              </a:xfrm>
              <a:custGeom>
                <a:avLst/>
                <a:gdLst>
                  <a:gd name="connsiteX0" fmla="*/ 0 w 33192"/>
                  <a:gd name="connsiteY0" fmla="*/ 27272 h 27272"/>
                  <a:gd name="connsiteX1" fmla="*/ 33193 w 33192"/>
                  <a:gd name="connsiteY1" fmla="*/ 0 h 27272"/>
                </a:gdLst>
                <a:ahLst/>
                <a:cxnLst>
                  <a:cxn ang="0">
                    <a:pos x="connsiteX0" y="connsiteY0"/>
                  </a:cxn>
                  <a:cxn ang="0">
                    <a:pos x="connsiteX1" y="connsiteY1"/>
                  </a:cxn>
                </a:cxnLst>
                <a:rect l="l" t="t" r="r" b="b"/>
                <a:pathLst>
                  <a:path w="33192" h="27272">
                    <a:moveTo>
                      <a:pt x="0" y="27272"/>
                    </a:moveTo>
                    <a:cubicBezTo>
                      <a:pt x="10586" y="18540"/>
                      <a:pt x="21650" y="9450"/>
                      <a:pt x="33193" y="0"/>
                    </a:cubicBezTo>
                  </a:path>
                </a:pathLst>
              </a:custGeom>
              <a:noFill/>
              <a:ln w="6350" cap="rnd">
                <a:solidFill>
                  <a:schemeClr val="bg1">
                    <a:alpha val="80000"/>
                  </a:schemeClr>
                </a:solidFill>
                <a:prstDash val="solid"/>
                <a:miter/>
              </a:ln>
            </p:spPr>
            <p:txBody>
              <a:bodyPr rtlCol="0" anchor="ctr"/>
              <a:lstStyle/>
              <a:p>
                <a:endParaRPr lang="en-GB"/>
              </a:p>
            </p:txBody>
          </p:sp>
          <p:sp>
            <p:nvSpPr>
              <p:cNvPr id="8089" name="Vrije vorm: vorm 8088">
                <a:extLst>
                  <a:ext uri="{FF2B5EF4-FFF2-40B4-BE49-F238E27FC236}">
                    <a16:creationId xmlns:a16="http://schemas.microsoft.com/office/drawing/2014/main" id="{66AA2B63-A04B-4B48-83A1-2277DB81DBE1}"/>
                  </a:ext>
                </a:extLst>
              </p:cNvPr>
              <p:cNvSpPr/>
              <p:nvPr/>
            </p:nvSpPr>
            <p:spPr>
              <a:xfrm>
                <a:off x="4290350" y="4743589"/>
                <a:ext cx="33432" cy="27152"/>
              </a:xfrm>
              <a:custGeom>
                <a:avLst/>
                <a:gdLst>
                  <a:gd name="connsiteX0" fmla="*/ 0 w 33432"/>
                  <a:gd name="connsiteY0" fmla="*/ 27152 h 27152"/>
                  <a:gd name="connsiteX1" fmla="*/ 33432 w 33432"/>
                  <a:gd name="connsiteY1" fmla="*/ 0 h 27152"/>
                </a:gdLst>
                <a:ahLst/>
                <a:cxnLst>
                  <a:cxn ang="0">
                    <a:pos x="connsiteX0" y="connsiteY0"/>
                  </a:cxn>
                  <a:cxn ang="0">
                    <a:pos x="connsiteX1" y="connsiteY1"/>
                  </a:cxn>
                </a:cxnLst>
                <a:rect l="l" t="t" r="r" b="b"/>
                <a:pathLst>
                  <a:path w="33432" h="27152">
                    <a:moveTo>
                      <a:pt x="0" y="27152"/>
                    </a:moveTo>
                    <a:cubicBezTo>
                      <a:pt x="10766" y="18361"/>
                      <a:pt x="21950" y="9330"/>
                      <a:pt x="33432" y="0"/>
                    </a:cubicBezTo>
                  </a:path>
                </a:pathLst>
              </a:custGeom>
              <a:noFill/>
              <a:ln w="6350" cap="rnd">
                <a:solidFill>
                  <a:schemeClr val="bg1">
                    <a:alpha val="80000"/>
                  </a:schemeClr>
                </a:solidFill>
                <a:prstDash val="solid"/>
                <a:miter/>
              </a:ln>
            </p:spPr>
            <p:txBody>
              <a:bodyPr rtlCol="0" anchor="ctr"/>
              <a:lstStyle/>
              <a:p>
                <a:endParaRPr lang="en-GB"/>
              </a:p>
            </p:txBody>
          </p:sp>
          <p:sp>
            <p:nvSpPr>
              <p:cNvPr id="8090" name="Vrije vorm: vorm 8089">
                <a:extLst>
                  <a:ext uri="{FF2B5EF4-FFF2-40B4-BE49-F238E27FC236}">
                    <a16:creationId xmlns:a16="http://schemas.microsoft.com/office/drawing/2014/main" id="{AD7C75C0-31C4-4473-B701-072DBEB39FC1}"/>
                  </a:ext>
                </a:extLst>
              </p:cNvPr>
              <p:cNvSpPr/>
              <p:nvPr/>
            </p:nvSpPr>
            <p:spPr>
              <a:xfrm>
                <a:off x="4342681" y="4698794"/>
                <a:ext cx="36542" cy="29484"/>
              </a:xfrm>
              <a:custGeom>
                <a:avLst/>
                <a:gdLst>
                  <a:gd name="connsiteX0" fmla="*/ 0 w 36542"/>
                  <a:gd name="connsiteY0" fmla="*/ 29485 h 29484"/>
                  <a:gd name="connsiteX1" fmla="*/ 36542 w 36542"/>
                  <a:gd name="connsiteY1" fmla="*/ 0 h 29484"/>
                </a:gdLst>
                <a:ahLst/>
                <a:cxnLst>
                  <a:cxn ang="0">
                    <a:pos x="connsiteX0" y="connsiteY0"/>
                  </a:cxn>
                  <a:cxn ang="0">
                    <a:pos x="connsiteX1" y="connsiteY1"/>
                  </a:cxn>
                </a:cxnLst>
                <a:rect l="l" t="t" r="r" b="b"/>
                <a:pathLst>
                  <a:path w="36542" h="29484">
                    <a:moveTo>
                      <a:pt x="0" y="29485"/>
                    </a:moveTo>
                    <a:cubicBezTo>
                      <a:pt x="11842" y="19916"/>
                      <a:pt x="24043" y="10107"/>
                      <a:pt x="36542" y="0"/>
                    </a:cubicBezTo>
                  </a:path>
                </a:pathLst>
              </a:custGeom>
              <a:noFill/>
              <a:ln w="6350" cap="rnd">
                <a:solidFill>
                  <a:schemeClr val="bg1">
                    <a:alpha val="80000"/>
                  </a:schemeClr>
                </a:solidFill>
                <a:prstDash val="solid"/>
                <a:miter/>
              </a:ln>
            </p:spPr>
            <p:txBody>
              <a:bodyPr rtlCol="0" anchor="ctr"/>
              <a:lstStyle/>
              <a:p>
                <a:endParaRPr lang="en-GB"/>
              </a:p>
            </p:txBody>
          </p:sp>
          <p:sp>
            <p:nvSpPr>
              <p:cNvPr id="8091" name="Vrije vorm: vorm 8090">
                <a:extLst>
                  <a:ext uri="{FF2B5EF4-FFF2-40B4-BE49-F238E27FC236}">
                    <a16:creationId xmlns:a16="http://schemas.microsoft.com/office/drawing/2014/main" id="{E21101B4-11C5-455A-AC25-81E9BEFE0833}"/>
                  </a:ext>
                </a:extLst>
              </p:cNvPr>
              <p:cNvSpPr/>
              <p:nvPr/>
            </p:nvSpPr>
            <p:spPr>
              <a:xfrm>
                <a:off x="4399797" y="4650769"/>
                <a:ext cx="39233" cy="31518"/>
              </a:xfrm>
              <a:custGeom>
                <a:avLst/>
                <a:gdLst>
                  <a:gd name="connsiteX0" fmla="*/ 0 w 39233"/>
                  <a:gd name="connsiteY0" fmla="*/ 31519 h 31518"/>
                  <a:gd name="connsiteX1" fmla="*/ 39234 w 39233"/>
                  <a:gd name="connsiteY1" fmla="*/ 0 h 31518"/>
                </a:gdLst>
                <a:ahLst/>
                <a:cxnLst>
                  <a:cxn ang="0">
                    <a:pos x="connsiteX0" y="connsiteY0"/>
                  </a:cxn>
                  <a:cxn ang="0">
                    <a:pos x="connsiteX1" y="connsiteY1"/>
                  </a:cxn>
                </a:cxnLst>
                <a:rect l="l" t="t" r="r" b="b"/>
                <a:pathLst>
                  <a:path w="39233" h="31518">
                    <a:moveTo>
                      <a:pt x="0" y="31519"/>
                    </a:moveTo>
                    <a:cubicBezTo>
                      <a:pt x="12798" y="21232"/>
                      <a:pt x="25896" y="10706"/>
                      <a:pt x="39234" y="0"/>
                    </a:cubicBezTo>
                  </a:path>
                </a:pathLst>
              </a:custGeom>
              <a:noFill/>
              <a:ln w="6350" cap="rnd">
                <a:solidFill>
                  <a:schemeClr val="bg1">
                    <a:alpha val="80000"/>
                  </a:schemeClr>
                </a:solidFill>
                <a:prstDash val="solid"/>
                <a:miter/>
              </a:ln>
            </p:spPr>
            <p:txBody>
              <a:bodyPr rtlCol="0" anchor="ctr"/>
              <a:lstStyle/>
              <a:p>
                <a:endParaRPr lang="en-GB"/>
              </a:p>
            </p:txBody>
          </p:sp>
          <p:sp>
            <p:nvSpPr>
              <p:cNvPr id="8092" name="Vrije vorm: vorm 8091">
                <a:extLst>
                  <a:ext uri="{FF2B5EF4-FFF2-40B4-BE49-F238E27FC236}">
                    <a16:creationId xmlns:a16="http://schemas.microsoft.com/office/drawing/2014/main" id="{2AEEE044-3EE8-4BB6-A353-752C997C1D63}"/>
                  </a:ext>
                </a:extLst>
              </p:cNvPr>
              <p:cNvSpPr/>
              <p:nvPr/>
            </p:nvSpPr>
            <p:spPr>
              <a:xfrm>
                <a:off x="4458946" y="4600710"/>
                <a:ext cx="42582" cy="34090"/>
              </a:xfrm>
              <a:custGeom>
                <a:avLst/>
                <a:gdLst>
                  <a:gd name="connsiteX0" fmla="*/ 0 w 42582"/>
                  <a:gd name="connsiteY0" fmla="*/ 34090 h 34090"/>
                  <a:gd name="connsiteX1" fmla="*/ 42583 w 42582"/>
                  <a:gd name="connsiteY1" fmla="*/ 0 h 34090"/>
                </a:gdLst>
                <a:ahLst/>
                <a:cxnLst>
                  <a:cxn ang="0">
                    <a:pos x="connsiteX0" y="connsiteY0"/>
                  </a:cxn>
                  <a:cxn ang="0">
                    <a:pos x="connsiteX1" y="connsiteY1"/>
                  </a:cxn>
                </a:cxnLst>
                <a:rect l="l" t="t" r="r" b="b"/>
                <a:pathLst>
                  <a:path w="42582" h="34090">
                    <a:moveTo>
                      <a:pt x="0" y="34090"/>
                    </a:moveTo>
                    <a:cubicBezTo>
                      <a:pt x="13935" y="22906"/>
                      <a:pt x="28109" y="11543"/>
                      <a:pt x="42583" y="0"/>
                    </a:cubicBezTo>
                  </a:path>
                </a:pathLst>
              </a:custGeom>
              <a:noFill/>
              <a:ln w="6350" cap="rnd">
                <a:solidFill>
                  <a:schemeClr val="bg1">
                    <a:alpha val="80000"/>
                  </a:schemeClr>
                </a:solidFill>
                <a:prstDash val="solid"/>
                <a:miter/>
              </a:ln>
            </p:spPr>
            <p:txBody>
              <a:bodyPr rtlCol="0" anchor="ctr"/>
              <a:lstStyle/>
              <a:p>
                <a:endParaRPr lang="en-GB"/>
              </a:p>
            </p:txBody>
          </p:sp>
          <p:sp>
            <p:nvSpPr>
              <p:cNvPr id="8093" name="Vrije vorm: vorm 8092">
                <a:extLst>
                  <a:ext uri="{FF2B5EF4-FFF2-40B4-BE49-F238E27FC236}">
                    <a16:creationId xmlns:a16="http://schemas.microsoft.com/office/drawing/2014/main" id="{D10BDADC-2F3B-4F7B-8AA0-3879F2417368}"/>
                  </a:ext>
                </a:extLst>
              </p:cNvPr>
              <p:cNvSpPr/>
              <p:nvPr/>
            </p:nvSpPr>
            <p:spPr>
              <a:xfrm>
                <a:off x="4526050" y="4546106"/>
                <a:ext cx="43659" cy="34927"/>
              </a:xfrm>
              <a:custGeom>
                <a:avLst/>
                <a:gdLst>
                  <a:gd name="connsiteX0" fmla="*/ 0 w 43659"/>
                  <a:gd name="connsiteY0" fmla="*/ 34928 h 34927"/>
                  <a:gd name="connsiteX1" fmla="*/ 43659 w 43659"/>
                  <a:gd name="connsiteY1" fmla="*/ 0 h 34927"/>
                </a:gdLst>
                <a:ahLst/>
                <a:cxnLst>
                  <a:cxn ang="0">
                    <a:pos x="connsiteX0" y="connsiteY0"/>
                  </a:cxn>
                  <a:cxn ang="0">
                    <a:pos x="connsiteX1" y="connsiteY1"/>
                  </a:cxn>
                </a:cxnLst>
                <a:rect l="l" t="t" r="r" b="b"/>
                <a:pathLst>
                  <a:path w="43659" h="34927">
                    <a:moveTo>
                      <a:pt x="0" y="34928"/>
                    </a:moveTo>
                    <a:cubicBezTo>
                      <a:pt x="14354" y="23445"/>
                      <a:pt x="28946" y="11782"/>
                      <a:pt x="43659" y="0"/>
                    </a:cubicBezTo>
                  </a:path>
                </a:pathLst>
              </a:custGeom>
              <a:noFill/>
              <a:ln w="6350" cap="rnd">
                <a:solidFill>
                  <a:schemeClr val="bg1">
                    <a:alpha val="80000"/>
                  </a:schemeClr>
                </a:solidFill>
                <a:prstDash val="solid"/>
                <a:miter/>
              </a:ln>
            </p:spPr>
            <p:txBody>
              <a:bodyPr rtlCol="0" anchor="ctr"/>
              <a:lstStyle/>
              <a:p>
                <a:endParaRPr lang="en-GB"/>
              </a:p>
            </p:txBody>
          </p:sp>
          <p:sp>
            <p:nvSpPr>
              <p:cNvPr id="8094" name="Vrije vorm: vorm 8093">
                <a:extLst>
                  <a:ext uri="{FF2B5EF4-FFF2-40B4-BE49-F238E27FC236}">
                    <a16:creationId xmlns:a16="http://schemas.microsoft.com/office/drawing/2014/main" id="{20D584F4-8D28-47EE-BF96-9B53D83EA4CF}"/>
                  </a:ext>
                </a:extLst>
              </p:cNvPr>
              <p:cNvSpPr/>
              <p:nvPr/>
            </p:nvSpPr>
            <p:spPr>
              <a:xfrm>
                <a:off x="4263018" y="4792273"/>
                <a:ext cx="32475" cy="26554"/>
              </a:xfrm>
              <a:custGeom>
                <a:avLst/>
                <a:gdLst>
                  <a:gd name="connsiteX0" fmla="*/ 0 w 32475"/>
                  <a:gd name="connsiteY0" fmla="*/ 26554 h 26554"/>
                  <a:gd name="connsiteX1" fmla="*/ 32475 w 32475"/>
                  <a:gd name="connsiteY1" fmla="*/ 0 h 26554"/>
                </a:gdLst>
                <a:ahLst/>
                <a:cxnLst>
                  <a:cxn ang="0">
                    <a:pos x="connsiteX0" y="connsiteY0"/>
                  </a:cxn>
                  <a:cxn ang="0">
                    <a:pos x="connsiteX1" y="connsiteY1"/>
                  </a:cxn>
                </a:cxnLst>
                <a:rect l="l" t="t" r="r" b="b"/>
                <a:pathLst>
                  <a:path w="32475" h="26554">
                    <a:moveTo>
                      <a:pt x="0" y="26554"/>
                    </a:moveTo>
                    <a:cubicBezTo>
                      <a:pt x="10347" y="18062"/>
                      <a:pt x="21172" y="9210"/>
                      <a:pt x="32475" y="0"/>
                    </a:cubicBezTo>
                  </a:path>
                </a:pathLst>
              </a:custGeom>
              <a:noFill/>
              <a:ln w="6350" cap="rnd">
                <a:solidFill>
                  <a:schemeClr val="bg1">
                    <a:alpha val="80000"/>
                  </a:schemeClr>
                </a:solidFill>
                <a:prstDash val="solid"/>
                <a:miter/>
              </a:ln>
            </p:spPr>
            <p:txBody>
              <a:bodyPr rtlCol="0" anchor="ctr"/>
              <a:lstStyle/>
              <a:p>
                <a:endParaRPr lang="en-GB"/>
              </a:p>
            </p:txBody>
          </p:sp>
          <p:sp>
            <p:nvSpPr>
              <p:cNvPr id="8095" name="Vrije vorm: vorm 8094">
                <a:extLst>
                  <a:ext uri="{FF2B5EF4-FFF2-40B4-BE49-F238E27FC236}">
                    <a16:creationId xmlns:a16="http://schemas.microsoft.com/office/drawing/2014/main" id="{9994E2E9-89DB-4391-B1AE-35A097D14519}"/>
                  </a:ext>
                </a:extLst>
              </p:cNvPr>
              <p:cNvSpPr/>
              <p:nvPr/>
            </p:nvSpPr>
            <p:spPr>
              <a:xfrm>
                <a:off x="4314153" y="4750826"/>
                <a:ext cx="32295" cy="26195"/>
              </a:xfrm>
              <a:custGeom>
                <a:avLst/>
                <a:gdLst>
                  <a:gd name="connsiteX0" fmla="*/ 0 w 32295"/>
                  <a:gd name="connsiteY0" fmla="*/ 26196 h 26195"/>
                  <a:gd name="connsiteX1" fmla="*/ 32296 w 32295"/>
                  <a:gd name="connsiteY1" fmla="*/ 0 h 26195"/>
                </a:gdLst>
                <a:ahLst/>
                <a:cxnLst>
                  <a:cxn ang="0">
                    <a:pos x="connsiteX0" y="connsiteY0"/>
                  </a:cxn>
                  <a:cxn ang="0">
                    <a:pos x="connsiteX1" y="connsiteY1"/>
                  </a:cxn>
                </a:cxnLst>
                <a:rect l="l" t="t" r="r" b="b"/>
                <a:pathLst>
                  <a:path w="32295" h="26195">
                    <a:moveTo>
                      <a:pt x="0" y="26196"/>
                    </a:moveTo>
                    <a:cubicBezTo>
                      <a:pt x="10466" y="17703"/>
                      <a:pt x="21172" y="8971"/>
                      <a:pt x="32296" y="0"/>
                    </a:cubicBezTo>
                  </a:path>
                </a:pathLst>
              </a:custGeom>
              <a:noFill/>
              <a:ln w="6350" cap="rnd">
                <a:solidFill>
                  <a:schemeClr val="bg1">
                    <a:alpha val="80000"/>
                  </a:schemeClr>
                </a:solidFill>
                <a:prstDash val="solid"/>
                <a:miter/>
              </a:ln>
            </p:spPr>
            <p:txBody>
              <a:bodyPr rtlCol="0" anchor="ctr"/>
              <a:lstStyle/>
              <a:p>
                <a:endParaRPr lang="en-GB"/>
              </a:p>
            </p:txBody>
          </p:sp>
          <p:sp>
            <p:nvSpPr>
              <p:cNvPr id="8096" name="Vrije vorm: vorm 8095">
                <a:extLst>
                  <a:ext uri="{FF2B5EF4-FFF2-40B4-BE49-F238E27FC236}">
                    <a16:creationId xmlns:a16="http://schemas.microsoft.com/office/drawing/2014/main" id="{6FFE0F33-1CBD-438E-ABDD-09B3DACFD2FE}"/>
                  </a:ext>
                </a:extLst>
              </p:cNvPr>
              <p:cNvSpPr/>
              <p:nvPr/>
            </p:nvSpPr>
            <p:spPr>
              <a:xfrm>
                <a:off x="4365468" y="4706150"/>
                <a:ext cx="36183" cy="29245"/>
              </a:xfrm>
              <a:custGeom>
                <a:avLst/>
                <a:gdLst>
                  <a:gd name="connsiteX0" fmla="*/ 0 w 36183"/>
                  <a:gd name="connsiteY0" fmla="*/ 29246 h 29245"/>
                  <a:gd name="connsiteX1" fmla="*/ 36184 w 36183"/>
                  <a:gd name="connsiteY1" fmla="*/ 0 h 29245"/>
                </a:gdLst>
                <a:ahLst/>
                <a:cxnLst>
                  <a:cxn ang="0">
                    <a:pos x="connsiteX0" y="connsiteY0"/>
                  </a:cxn>
                  <a:cxn ang="0">
                    <a:pos x="connsiteX1" y="connsiteY1"/>
                  </a:cxn>
                </a:cxnLst>
                <a:rect l="l" t="t" r="r" b="b"/>
                <a:pathLst>
                  <a:path w="36183" h="29245">
                    <a:moveTo>
                      <a:pt x="0" y="29246"/>
                    </a:moveTo>
                    <a:cubicBezTo>
                      <a:pt x="11782" y="19736"/>
                      <a:pt x="23863" y="9988"/>
                      <a:pt x="36184" y="0"/>
                    </a:cubicBezTo>
                  </a:path>
                </a:pathLst>
              </a:custGeom>
              <a:noFill/>
              <a:ln w="6350" cap="rnd">
                <a:solidFill>
                  <a:schemeClr val="bg1">
                    <a:alpha val="80000"/>
                  </a:schemeClr>
                </a:solidFill>
                <a:prstDash val="solid"/>
                <a:miter/>
              </a:ln>
            </p:spPr>
            <p:txBody>
              <a:bodyPr rtlCol="0" anchor="ctr"/>
              <a:lstStyle/>
              <a:p>
                <a:endParaRPr lang="en-GB"/>
              </a:p>
            </p:txBody>
          </p:sp>
          <p:sp>
            <p:nvSpPr>
              <p:cNvPr id="8097" name="Vrije vorm: vorm 8096">
                <a:extLst>
                  <a:ext uri="{FF2B5EF4-FFF2-40B4-BE49-F238E27FC236}">
                    <a16:creationId xmlns:a16="http://schemas.microsoft.com/office/drawing/2014/main" id="{A32F1A60-A35E-4599-9198-4D0F81AC3181}"/>
                  </a:ext>
                </a:extLst>
              </p:cNvPr>
              <p:cNvSpPr/>
              <p:nvPr/>
            </p:nvSpPr>
            <p:spPr>
              <a:xfrm>
                <a:off x="4420610" y="4659202"/>
                <a:ext cx="39293" cy="31697"/>
              </a:xfrm>
              <a:custGeom>
                <a:avLst/>
                <a:gdLst>
                  <a:gd name="connsiteX0" fmla="*/ 0 w 39293"/>
                  <a:gd name="connsiteY0" fmla="*/ 31698 h 31697"/>
                  <a:gd name="connsiteX1" fmla="*/ 39293 w 39293"/>
                  <a:gd name="connsiteY1" fmla="*/ 0 h 31697"/>
                </a:gdLst>
                <a:ahLst/>
                <a:cxnLst>
                  <a:cxn ang="0">
                    <a:pos x="connsiteX0" y="connsiteY0"/>
                  </a:cxn>
                  <a:cxn ang="0">
                    <a:pos x="connsiteX1" y="connsiteY1"/>
                  </a:cxn>
                </a:cxnLst>
                <a:rect l="l" t="t" r="r" b="b"/>
                <a:pathLst>
                  <a:path w="39293" h="31697">
                    <a:moveTo>
                      <a:pt x="0" y="31698"/>
                    </a:moveTo>
                    <a:cubicBezTo>
                      <a:pt x="12859" y="21351"/>
                      <a:pt x="25956" y="10765"/>
                      <a:pt x="39293" y="0"/>
                    </a:cubicBezTo>
                  </a:path>
                </a:pathLst>
              </a:custGeom>
              <a:noFill/>
              <a:ln w="6350" cap="rnd">
                <a:solidFill>
                  <a:schemeClr val="bg1">
                    <a:alpha val="80000"/>
                  </a:schemeClr>
                </a:solidFill>
                <a:prstDash val="solid"/>
                <a:miter/>
              </a:ln>
            </p:spPr>
            <p:txBody>
              <a:bodyPr rtlCol="0" anchor="ctr"/>
              <a:lstStyle/>
              <a:p>
                <a:endParaRPr lang="en-GB"/>
              </a:p>
            </p:txBody>
          </p:sp>
          <p:sp>
            <p:nvSpPr>
              <p:cNvPr id="8098" name="Vrije vorm: vorm 8097">
                <a:extLst>
                  <a:ext uri="{FF2B5EF4-FFF2-40B4-BE49-F238E27FC236}">
                    <a16:creationId xmlns:a16="http://schemas.microsoft.com/office/drawing/2014/main" id="{6B828B39-8A58-445D-B935-8DB487E9B039}"/>
                  </a:ext>
                </a:extLst>
              </p:cNvPr>
              <p:cNvSpPr/>
              <p:nvPr/>
            </p:nvSpPr>
            <p:spPr>
              <a:xfrm>
                <a:off x="4479281" y="4610459"/>
                <a:ext cx="41267" cy="33192"/>
              </a:xfrm>
              <a:custGeom>
                <a:avLst/>
                <a:gdLst>
                  <a:gd name="connsiteX0" fmla="*/ 0 w 41267"/>
                  <a:gd name="connsiteY0" fmla="*/ 33193 h 33192"/>
                  <a:gd name="connsiteX1" fmla="*/ 41267 w 41267"/>
                  <a:gd name="connsiteY1" fmla="*/ 0 h 33192"/>
                </a:gdLst>
                <a:ahLst/>
                <a:cxnLst>
                  <a:cxn ang="0">
                    <a:pos x="connsiteX0" y="connsiteY0"/>
                  </a:cxn>
                  <a:cxn ang="0">
                    <a:pos x="connsiteX1" y="connsiteY1"/>
                  </a:cxn>
                </a:cxnLst>
                <a:rect l="l" t="t" r="r" b="b"/>
                <a:pathLst>
                  <a:path w="41267" h="33192">
                    <a:moveTo>
                      <a:pt x="0" y="33193"/>
                    </a:moveTo>
                    <a:cubicBezTo>
                      <a:pt x="13516" y="22308"/>
                      <a:pt x="27272" y="11244"/>
                      <a:pt x="41267" y="0"/>
                    </a:cubicBezTo>
                  </a:path>
                </a:pathLst>
              </a:custGeom>
              <a:noFill/>
              <a:ln w="6350" cap="rnd">
                <a:solidFill>
                  <a:schemeClr val="bg1">
                    <a:alpha val="80000"/>
                  </a:schemeClr>
                </a:solidFill>
                <a:prstDash val="solid"/>
                <a:miter/>
              </a:ln>
            </p:spPr>
            <p:txBody>
              <a:bodyPr rtlCol="0" anchor="ctr"/>
              <a:lstStyle/>
              <a:p>
                <a:endParaRPr lang="en-GB"/>
              </a:p>
            </p:txBody>
          </p:sp>
          <p:sp>
            <p:nvSpPr>
              <p:cNvPr id="8099" name="Vrije vorm: vorm 8098">
                <a:extLst>
                  <a:ext uri="{FF2B5EF4-FFF2-40B4-BE49-F238E27FC236}">
                    <a16:creationId xmlns:a16="http://schemas.microsoft.com/office/drawing/2014/main" id="{1AF10EDE-E94F-4DA4-A102-3FE82945F49B}"/>
                  </a:ext>
                </a:extLst>
              </p:cNvPr>
              <p:cNvSpPr/>
              <p:nvPr/>
            </p:nvSpPr>
            <p:spPr>
              <a:xfrm>
                <a:off x="4544889" y="4556812"/>
                <a:ext cx="42403" cy="34089"/>
              </a:xfrm>
              <a:custGeom>
                <a:avLst/>
                <a:gdLst>
                  <a:gd name="connsiteX0" fmla="*/ 0 w 42403"/>
                  <a:gd name="connsiteY0" fmla="*/ 34090 h 34089"/>
                  <a:gd name="connsiteX1" fmla="*/ 42403 w 42403"/>
                  <a:gd name="connsiteY1" fmla="*/ 0 h 34089"/>
                </a:gdLst>
                <a:ahLst/>
                <a:cxnLst>
                  <a:cxn ang="0">
                    <a:pos x="connsiteX0" y="connsiteY0"/>
                  </a:cxn>
                  <a:cxn ang="0">
                    <a:pos x="connsiteX1" y="connsiteY1"/>
                  </a:cxn>
                </a:cxnLst>
                <a:rect l="l" t="t" r="r" b="b"/>
                <a:pathLst>
                  <a:path w="42403" h="34089">
                    <a:moveTo>
                      <a:pt x="0" y="34090"/>
                    </a:moveTo>
                    <a:cubicBezTo>
                      <a:pt x="13935" y="22906"/>
                      <a:pt x="28109" y="11543"/>
                      <a:pt x="42403" y="0"/>
                    </a:cubicBezTo>
                  </a:path>
                </a:pathLst>
              </a:custGeom>
              <a:noFill/>
              <a:ln w="6350" cap="rnd">
                <a:solidFill>
                  <a:schemeClr val="bg1">
                    <a:alpha val="80000"/>
                  </a:schemeClr>
                </a:solidFill>
                <a:prstDash val="solid"/>
                <a:miter/>
              </a:ln>
            </p:spPr>
            <p:txBody>
              <a:bodyPr rtlCol="0" anchor="ctr"/>
              <a:lstStyle/>
              <a:p>
                <a:endParaRPr lang="en-GB"/>
              </a:p>
            </p:txBody>
          </p:sp>
          <p:sp>
            <p:nvSpPr>
              <p:cNvPr id="8100" name="Vrije vorm: vorm 8099">
                <a:extLst>
                  <a:ext uri="{FF2B5EF4-FFF2-40B4-BE49-F238E27FC236}">
                    <a16:creationId xmlns:a16="http://schemas.microsoft.com/office/drawing/2014/main" id="{B0F4D5E6-12D6-4C55-960A-D8B6A87C7F19}"/>
                  </a:ext>
                </a:extLst>
              </p:cNvPr>
              <p:cNvSpPr/>
              <p:nvPr/>
            </p:nvSpPr>
            <p:spPr>
              <a:xfrm>
                <a:off x="4288974" y="4798313"/>
                <a:ext cx="31757" cy="25896"/>
              </a:xfrm>
              <a:custGeom>
                <a:avLst/>
                <a:gdLst>
                  <a:gd name="connsiteX0" fmla="*/ 0 w 31757"/>
                  <a:gd name="connsiteY0" fmla="*/ 25896 h 25896"/>
                  <a:gd name="connsiteX1" fmla="*/ 31758 w 31757"/>
                  <a:gd name="connsiteY1" fmla="*/ 0 h 25896"/>
                </a:gdLst>
                <a:ahLst/>
                <a:cxnLst>
                  <a:cxn ang="0">
                    <a:pos x="connsiteX0" y="connsiteY0"/>
                  </a:cxn>
                  <a:cxn ang="0">
                    <a:pos x="connsiteX1" y="connsiteY1"/>
                  </a:cxn>
                </a:cxnLst>
                <a:rect l="l" t="t" r="r" b="b"/>
                <a:pathLst>
                  <a:path w="31757" h="25896">
                    <a:moveTo>
                      <a:pt x="0" y="25896"/>
                    </a:moveTo>
                    <a:cubicBezTo>
                      <a:pt x="10167" y="17583"/>
                      <a:pt x="20813" y="8911"/>
                      <a:pt x="31758" y="0"/>
                    </a:cubicBezTo>
                  </a:path>
                </a:pathLst>
              </a:custGeom>
              <a:noFill/>
              <a:ln w="6350" cap="rnd">
                <a:solidFill>
                  <a:schemeClr val="bg1">
                    <a:alpha val="80000"/>
                  </a:schemeClr>
                </a:solidFill>
                <a:prstDash val="solid"/>
                <a:miter/>
              </a:ln>
            </p:spPr>
            <p:txBody>
              <a:bodyPr rtlCol="0" anchor="ctr"/>
              <a:lstStyle/>
              <a:p>
                <a:endParaRPr lang="en-GB"/>
              </a:p>
            </p:txBody>
          </p:sp>
          <p:sp>
            <p:nvSpPr>
              <p:cNvPr id="8101" name="Vrije vorm: vorm 8100">
                <a:extLst>
                  <a:ext uri="{FF2B5EF4-FFF2-40B4-BE49-F238E27FC236}">
                    <a16:creationId xmlns:a16="http://schemas.microsoft.com/office/drawing/2014/main" id="{9CA78B23-450C-4F96-92D4-BD61F3FB3F24}"/>
                  </a:ext>
                </a:extLst>
              </p:cNvPr>
              <p:cNvSpPr/>
              <p:nvPr/>
            </p:nvSpPr>
            <p:spPr>
              <a:xfrm>
                <a:off x="4338375" y="4757883"/>
                <a:ext cx="32116" cy="26075"/>
              </a:xfrm>
              <a:custGeom>
                <a:avLst/>
                <a:gdLst>
                  <a:gd name="connsiteX0" fmla="*/ 0 w 32116"/>
                  <a:gd name="connsiteY0" fmla="*/ 26076 h 26075"/>
                  <a:gd name="connsiteX1" fmla="*/ 32116 w 32116"/>
                  <a:gd name="connsiteY1" fmla="*/ 0 h 26075"/>
                </a:gdLst>
                <a:ahLst/>
                <a:cxnLst>
                  <a:cxn ang="0">
                    <a:pos x="connsiteX0" y="connsiteY0"/>
                  </a:cxn>
                  <a:cxn ang="0">
                    <a:pos x="connsiteX1" y="connsiteY1"/>
                  </a:cxn>
                </a:cxnLst>
                <a:rect l="l" t="t" r="r" b="b"/>
                <a:pathLst>
                  <a:path w="32116" h="26075">
                    <a:moveTo>
                      <a:pt x="0" y="26076"/>
                    </a:moveTo>
                    <a:cubicBezTo>
                      <a:pt x="10406" y="17643"/>
                      <a:pt x="21112" y="8911"/>
                      <a:pt x="32116" y="0"/>
                    </a:cubicBezTo>
                  </a:path>
                </a:pathLst>
              </a:custGeom>
              <a:noFill/>
              <a:ln w="6350" cap="rnd">
                <a:solidFill>
                  <a:schemeClr val="bg1">
                    <a:alpha val="80000"/>
                  </a:schemeClr>
                </a:solidFill>
                <a:prstDash val="solid"/>
                <a:miter/>
              </a:ln>
            </p:spPr>
            <p:txBody>
              <a:bodyPr rtlCol="0" anchor="ctr"/>
              <a:lstStyle/>
              <a:p>
                <a:endParaRPr lang="en-GB"/>
              </a:p>
            </p:txBody>
          </p:sp>
          <p:sp>
            <p:nvSpPr>
              <p:cNvPr id="8102" name="Vrije vorm: vorm 8101">
                <a:extLst>
                  <a:ext uri="{FF2B5EF4-FFF2-40B4-BE49-F238E27FC236}">
                    <a16:creationId xmlns:a16="http://schemas.microsoft.com/office/drawing/2014/main" id="{17211268-0474-4B0B-A9C8-30DAE1AB9E25}"/>
                  </a:ext>
                </a:extLst>
              </p:cNvPr>
              <p:cNvSpPr/>
              <p:nvPr/>
            </p:nvSpPr>
            <p:spPr>
              <a:xfrm>
                <a:off x="4389570" y="4713865"/>
                <a:ext cx="35345" cy="28587"/>
              </a:xfrm>
              <a:custGeom>
                <a:avLst/>
                <a:gdLst>
                  <a:gd name="connsiteX0" fmla="*/ 0 w 35345"/>
                  <a:gd name="connsiteY0" fmla="*/ 28588 h 28587"/>
                  <a:gd name="connsiteX1" fmla="*/ 35346 w 35345"/>
                  <a:gd name="connsiteY1" fmla="*/ 0 h 28587"/>
                </a:gdLst>
                <a:ahLst/>
                <a:cxnLst>
                  <a:cxn ang="0">
                    <a:pos x="connsiteX0" y="connsiteY0"/>
                  </a:cxn>
                  <a:cxn ang="0">
                    <a:pos x="connsiteX1" y="connsiteY1"/>
                  </a:cxn>
                </a:cxnLst>
                <a:rect l="l" t="t" r="r" b="b"/>
                <a:pathLst>
                  <a:path w="35345" h="28587">
                    <a:moveTo>
                      <a:pt x="0" y="28588"/>
                    </a:moveTo>
                    <a:cubicBezTo>
                      <a:pt x="11483" y="19258"/>
                      <a:pt x="23265" y="9748"/>
                      <a:pt x="35346" y="0"/>
                    </a:cubicBezTo>
                  </a:path>
                </a:pathLst>
              </a:custGeom>
              <a:noFill/>
              <a:ln w="6350" cap="rnd">
                <a:solidFill>
                  <a:schemeClr val="bg1">
                    <a:alpha val="80000"/>
                  </a:schemeClr>
                </a:solidFill>
                <a:prstDash val="solid"/>
                <a:miter/>
              </a:ln>
            </p:spPr>
            <p:txBody>
              <a:bodyPr rtlCol="0" anchor="ctr"/>
              <a:lstStyle/>
              <a:p>
                <a:endParaRPr lang="en-GB"/>
              </a:p>
            </p:txBody>
          </p:sp>
          <p:sp>
            <p:nvSpPr>
              <p:cNvPr id="8103" name="Vrije vorm: vorm 8102">
                <a:extLst>
                  <a:ext uri="{FF2B5EF4-FFF2-40B4-BE49-F238E27FC236}">
                    <a16:creationId xmlns:a16="http://schemas.microsoft.com/office/drawing/2014/main" id="{49450C42-55AA-4083-9A83-1E30FCA9D72F}"/>
                  </a:ext>
                </a:extLst>
              </p:cNvPr>
              <p:cNvSpPr/>
              <p:nvPr/>
            </p:nvSpPr>
            <p:spPr>
              <a:xfrm>
                <a:off x="4442799" y="4668472"/>
                <a:ext cx="38216" cy="30860"/>
              </a:xfrm>
              <a:custGeom>
                <a:avLst/>
                <a:gdLst>
                  <a:gd name="connsiteX0" fmla="*/ 0 w 38216"/>
                  <a:gd name="connsiteY0" fmla="*/ 30860 h 30860"/>
                  <a:gd name="connsiteX1" fmla="*/ 38217 w 38216"/>
                  <a:gd name="connsiteY1" fmla="*/ 0 h 30860"/>
                </a:gdLst>
                <a:ahLst/>
                <a:cxnLst>
                  <a:cxn ang="0">
                    <a:pos x="connsiteX0" y="connsiteY0"/>
                  </a:cxn>
                  <a:cxn ang="0">
                    <a:pos x="connsiteX1" y="connsiteY1"/>
                  </a:cxn>
                </a:cxnLst>
                <a:rect l="l" t="t" r="r" b="b"/>
                <a:pathLst>
                  <a:path w="38216" h="30860">
                    <a:moveTo>
                      <a:pt x="0" y="30860"/>
                    </a:moveTo>
                    <a:cubicBezTo>
                      <a:pt x="12500" y="20753"/>
                      <a:pt x="25238" y="10466"/>
                      <a:pt x="38217" y="0"/>
                    </a:cubicBezTo>
                  </a:path>
                </a:pathLst>
              </a:custGeom>
              <a:noFill/>
              <a:ln w="6350" cap="rnd">
                <a:solidFill>
                  <a:schemeClr val="bg1">
                    <a:alpha val="80000"/>
                  </a:schemeClr>
                </a:solidFill>
                <a:prstDash val="solid"/>
                <a:miter/>
              </a:ln>
            </p:spPr>
            <p:txBody>
              <a:bodyPr rtlCol="0" anchor="ctr"/>
              <a:lstStyle/>
              <a:p>
                <a:endParaRPr lang="en-GB"/>
              </a:p>
            </p:txBody>
          </p:sp>
          <p:sp>
            <p:nvSpPr>
              <p:cNvPr id="8104" name="Vrije vorm: vorm 8103">
                <a:extLst>
                  <a:ext uri="{FF2B5EF4-FFF2-40B4-BE49-F238E27FC236}">
                    <a16:creationId xmlns:a16="http://schemas.microsoft.com/office/drawing/2014/main" id="{EC99BA8C-538D-48EA-BEF8-DD65C64C9F07}"/>
                  </a:ext>
                </a:extLst>
              </p:cNvPr>
              <p:cNvSpPr/>
              <p:nvPr/>
            </p:nvSpPr>
            <p:spPr>
              <a:xfrm>
                <a:off x="4499675" y="4620626"/>
                <a:ext cx="40609" cy="32774"/>
              </a:xfrm>
              <a:custGeom>
                <a:avLst/>
                <a:gdLst>
                  <a:gd name="connsiteX0" fmla="*/ 0 w 40609"/>
                  <a:gd name="connsiteY0" fmla="*/ 32774 h 32774"/>
                  <a:gd name="connsiteX1" fmla="*/ 40609 w 40609"/>
                  <a:gd name="connsiteY1" fmla="*/ 0 h 32774"/>
                </a:gdLst>
                <a:ahLst/>
                <a:cxnLst>
                  <a:cxn ang="0">
                    <a:pos x="connsiteX0" y="connsiteY0"/>
                  </a:cxn>
                  <a:cxn ang="0">
                    <a:pos x="connsiteX1" y="connsiteY1"/>
                  </a:cxn>
                </a:cxnLst>
                <a:rect l="l" t="t" r="r" b="b"/>
                <a:pathLst>
                  <a:path w="40609" h="32774">
                    <a:moveTo>
                      <a:pt x="0" y="32774"/>
                    </a:moveTo>
                    <a:cubicBezTo>
                      <a:pt x="13337" y="22009"/>
                      <a:pt x="26854" y="11064"/>
                      <a:pt x="40609" y="0"/>
                    </a:cubicBezTo>
                  </a:path>
                </a:pathLst>
              </a:custGeom>
              <a:noFill/>
              <a:ln w="6350" cap="rnd">
                <a:solidFill>
                  <a:schemeClr val="bg1">
                    <a:alpha val="80000"/>
                  </a:schemeClr>
                </a:solidFill>
                <a:prstDash val="solid"/>
                <a:miter/>
              </a:ln>
            </p:spPr>
            <p:txBody>
              <a:bodyPr rtlCol="0" anchor="ctr"/>
              <a:lstStyle/>
              <a:p>
                <a:endParaRPr lang="en-GB"/>
              </a:p>
            </p:txBody>
          </p:sp>
          <p:sp>
            <p:nvSpPr>
              <p:cNvPr id="8105" name="Vrije vorm: vorm 8104">
                <a:extLst>
                  <a:ext uri="{FF2B5EF4-FFF2-40B4-BE49-F238E27FC236}">
                    <a16:creationId xmlns:a16="http://schemas.microsoft.com/office/drawing/2014/main" id="{759914FA-A91B-4C87-810D-5B98595C8CE0}"/>
                  </a:ext>
                </a:extLst>
              </p:cNvPr>
              <p:cNvSpPr/>
              <p:nvPr/>
            </p:nvSpPr>
            <p:spPr>
              <a:xfrm>
                <a:off x="4564327" y="4568474"/>
                <a:ext cx="40489" cy="32714"/>
              </a:xfrm>
              <a:custGeom>
                <a:avLst/>
                <a:gdLst>
                  <a:gd name="connsiteX0" fmla="*/ 0 w 40489"/>
                  <a:gd name="connsiteY0" fmla="*/ 32715 h 32714"/>
                  <a:gd name="connsiteX1" fmla="*/ 40490 w 40489"/>
                  <a:gd name="connsiteY1" fmla="*/ 0 h 32714"/>
                </a:gdLst>
                <a:ahLst/>
                <a:cxnLst>
                  <a:cxn ang="0">
                    <a:pos x="connsiteX0" y="connsiteY0"/>
                  </a:cxn>
                  <a:cxn ang="0">
                    <a:pos x="connsiteX1" y="connsiteY1"/>
                  </a:cxn>
                </a:cxnLst>
                <a:rect l="l" t="t" r="r" b="b"/>
                <a:pathLst>
                  <a:path w="40489" h="32714">
                    <a:moveTo>
                      <a:pt x="0" y="32715"/>
                    </a:moveTo>
                    <a:cubicBezTo>
                      <a:pt x="13337" y="21950"/>
                      <a:pt x="26854" y="11065"/>
                      <a:pt x="40490" y="0"/>
                    </a:cubicBezTo>
                  </a:path>
                </a:pathLst>
              </a:custGeom>
              <a:noFill/>
              <a:ln w="6350" cap="rnd">
                <a:solidFill>
                  <a:schemeClr val="bg1">
                    <a:alpha val="80000"/>
                  </a:schemeClr>
                </a:solidFill>
                <a:prstDash val="solid"/>
                <a:miter/>
              </a:ln>
            </p:spPr>
            <p:txBody>
              <a:bodyPr rtlCol="0" anchor="ctr"/>
              <a:lstStyle/>
              <a:p>
                <a:endParaRPr lang="en-GB"/>
              </a:p>
            </p:txBody>
          </p:sp>
          <p:sp>
            <p:nvSpPr>
              <p:cNvPr id="8106" name="Vrije vorm: vorm 8105">
                <a:extLst>
                  <a:ext uri="{FF2B5EF4-FFF2-40B4-BE49-F238E27FC236}">
                    <a16:creationId xmlns:a16="http://schemas.microsoft.com/office/drawing/2014/main" id="{B55F0B5B-1750-4141-87EB-6E0BF7547607}"/>
                  </a:ext>
                </a:extLst>
              </p:cNvPr>
              <p:cNvSpPr/>
              <p:nvPr/>
            </p:nvSpPr>
            <p:spPr>
              <a:xfrm>
                <a:off x="4311821" y="4804653"/>
                <a:ext cx="30860" cy="25118"/>
              </a:xfrm>
              <a:custGeom>
                <a:avLst/>
                <a:gdLst>
                  <a:gd name="connsiteX0" fmla="*/ 0 w 30860"/>
                  <a:gd name="connsiteY0" fmla="*/ 25119 h 25118"/>
                  <a:gd name="connsiteX1" fmla="*/ 30860 w 30860"/>
                  <a:gd name="connsiteY1" fmla="*/ 0 h 25118"/>
                </a:gdLst>
                <a:ahLst/>
                <a:cxnLst>
                  <a:cxn ang="0">
                    <a:pos x="connsiteX0" y="connsiteY0"/>
                  </a:cxn>
                  <a:cxn ang="0">
                    <a:pos x="connsiteX1" y="connsiteY1"/>
                  </a:cxn>
                </a:cxnLst>
                <a:rect l="l" t="t" r="r" b="b"/>
                <a:pathLst>
                  <a:path w="30860" h="25118">
                    <a:moveTo>
                      <a:pt x="0" y="25119"/>
                    </a:moveTo>
                    <a:cubicBezTo>
                      <a:pt x="9928" y="17045"/>
                      <a:pt x="20275" y="8612"/>
                      <a:pt x="30860" y="0"/>
                    </a:cubicBezTo>
                  </a:path>
                </a:pathLst>
              </a:custGeom>
              <a:noFill/>
              <a:ln w="6350" cap="rnd">
                <a:solidFill>
                  <a:schemeClr val="bg1">
                    <a:alpha val="80000"/>
                  </a:schemeClr>
                </a:solidFill>
                <a:prstDash val="solid"/>
                <a:miter/>
              </a:ln>
            </p:spPr>
            <p:txBody>
              <a:bodyPr rtlCol="0" anchor="ctr"/>
              <a:lstStyle/>
              <a:p>
                <a:endParaRPr lang="en-GB"/>
              </a:p>
            </p:txBody>
          </p:sp>
          <p:sp>
            <p:nvSpPr>
              <p:cNvPr id="8107" name="Vrije vorm: vorm 8106">
                <a:extLst>
                  <a:ext uri="{FF2B5EF4-FFF2-40B4-BE49-F238E27FC236}">
                    <a16:creationId xmlns:a16="http://schemas.microsoft.com/office/drawing/2014/main" id="{4AE95447-0477-49FB-A092-0D31A22A1CA9}"/>
                  </a:ext>
                </a:extLst>
              </p:cNvPr>
              <p:cNvSpPr/>
              <p:nvPr/>
            </p:nvSpPr>
            <p:spPr>
              <a:xfrm>
                <a:off x="4360623" y="4763266"/>
                <a:ext cx="33073" cy="26853"/>
              </a:xfrm>
              <a:custGeom>
                <a:avLst/>
                <a:gdLst>
                  <a:gd name="connsiteX0" fmla="*/ 0 w 33073"/>
                  <a:gd name="connsiteY0" fmla="*/ 26854 h 26853"/>
                  <a:gd name="connsiteX1" fmla="*/ 33074 w 33073"/>
                  <a:gd name="connsiteY1" fmla="*/ 0 h 26853"/>
                </a:gdLst>
                <a:ahLst/>
                <a:cxnLst>
                  <a:cxn ang="0">
                    <a:pos x="connsiteX0" y="connsiteY0"/>
                  </a:cxn>
                  <a:cxn ang="0">
                    <a:pos x="connsiteX1" y="connsiteY1"/>
                  </a:cxn>
                </a:cxnLst>
                <a:rect l="l" t="t" r="r" b="b"/>
                <a:pathLst>
                  <a:path w="33073" h="26853">
                    <a:moveTo>
                      <a:pt x="0" y="26854"/>
                    </a:moveTo>
                    <a:cubicBezTo>
                      <a:pt x="10706" y="18122"/>
                      <a:pt x="21710" y="9211"/>
                      <a:pt x="33074" y="0"/>
                    </a:cubicBezTo>
                  </a:path>
                </a:pathLst>
              </a:custGeom>
              <a:noFill/>
              <a:ln w="6350" cap="rnd">
                <a:solidFill>
                  <a:schemeClr val="bg1">
                    <a:alpha val="80000"/>
                  </a:schemeClr>
                </a:solidFill>
                <a:prstDash val="solid"/>
                <a:miter/>
              </a:ln>
            </p:spPr>
            <p:txBody>
              <a:bodyPr rtlCol="0" anchor="ctr"/>
              <a:lstStyle/>
              <a:p>
                <a:endParaRPr lang="en-GB"/>
              </a:p>
            </p:txBody>
          </p:sp>
          <p:sp>
            <p:nvSpPr>
              <p:cNvPr id="8108" name="Vrije vorm: vorm 8107">
                <a:extLst>
                  <a:ext uri="{FF2B5EF4-FFF2-40B4-BE49-F238E27FC236}">
                    <a16:creationId xmlns:a16="http://schemas.microsoft.com/office/drawing/2014/main" id="{E48F7129-479F-4915-988C-2DE6DAE9EB9A}"/>
                  </a:ext>
                </a:extLst>
              </p:cNvPr>
              <p:cNvSpPr/>
              <p:nvPr/>
            </p:nvSpPr>
            <p:spPr>
              <a:xfrm>
                <a:off x="4411220" y="4721042"/>
                <a:ext cx="34389" cy="27930"/>
              </a:xfrm>
              <a:custGeom>
                <a:avLst/>
                <a:gdLst>
                  <a:gd name="connsiteX0" fmla="*/ 0 w 34389"/>
                  <a:gd name="connsiteY0" fmla="*/ 27930 h 27930"/>
                  <a:gd name="connsiteX1" fmla="*/ 34389 w 34389"/>
                  <a:gd name="connsiteY1" fmla="*/ 0 h 27930"/>
                </a:gdLst>
                <a:ahLst/>
                <a:cxnLst>
                  <a:cxn ang="0">
                    <a:pos x="connsiteX0" y="connsiteY0"/>
                  </a:cxn>
                  <a:cxn ang="0">
                    <a:pos x="connsiteX1" y="connsiteY1"/>
                  </a:cxn>
                </a:cxnLst>
                <a:rect l="l" t="t" r="r" b="b"/>
                <a:pathLst>
                  <a:path w="34389" h="27930">
                    <a:moveTo>
                      <a:pt x="0" y="27930"/>
                    </a:moveTo>
                    <a:cubicBezTo>
                      <a:pt x="11244" y="18839"/>
                      <a:pt x="22667" y="9510"/>
                      <a:pt x="34389" y="0"/>
                    </a:cubicBezTo>
                  </a:path>
                </a:pathLst>
              </a:custGeom>
              <a:noFill/>
              <a:ln w="6350" cap="rnd">
                <a:solidFill>
                  <a:schemeClr val="bg1">
                    <a:alpha val="80000"/>
                  </a:schemeClr>
                </a:solidFill>
                <a:prstDash val="solid"/>
                <a:miter/>
              </a:ln>
            </p:spPr>
            <p:txBody>
              <a:bodyPr rtlCol="0" anchor="ctr"/>
              <a:lstStyle/>
              <a:p>
                <a:endParaRPr lang="en-GB"/>
              </a:p>
            </p:txBody>
          </p:sp>
          <p:sp>
            <p:nvSpPr>
              <p:cNvPr id="8109" name="Vrije vorm: vorm 8108">
                <a:extLst>
                  <a:ext uri="{FF2B5EF4-FFF2-40B4-BE49-F238E27FC236}">
                    <a16:creationId xmlns:a16="http://schemas.microsoft.com/office/drawing/2014/main" id="{526FC689-81D5-4D7C-9C8C-292731122298}"/>
                  </a:ext>
                </a:extLst>
              </p:cNvPr>
              <p:cNvSpPr/>
              <p:nvPr/>
            </p:nvSpPr>
            <p:spPr>
              <a:xfrm>
                <a:off x="4463492" y="4676964"/>
                <a:ext cx="36482" cy="29604"/>
              </a:xfrm>
              <a:custGeom>
                <a:avLst/>
                <a:gdLst>
                  <a:gd name="connsiteX0" fmla="*/ 0 w 36482"/>
                  <a:gd name="connsiteY0" fmla="*/ 29605 h 29604"/>
                  <a:gd name="connsiteX1" fmla="*/ 36483 w 36482"/>
                  <a:gd name="connsiteY1" fmla="*/ 0 h 29604"/>
                </a:gdLst>
                <a:ahLst/>
                <a:cxnLst>
                  <a:cxn ang="0">
                    <a:pos x="connsiteX0" y="connsiteY0"/>
                  </a:cxn>
                  <a:cxn ang="0">
                    <a:pos x="connsiteX1" y="connsiteY1"/>
                  </a:cxn>
                </a:cxnLst>
                <a:rect l="l" t="t" r="r" b="b"/>
                <a:pathLst>
                  <a:path w="36482" h="29604">
                    <a:moveTo>
                      <a:pt x="0" y="29605"/>
                    </a:moveTo>
                    <a:cubicBezTo>
                      <a:pt x="11961" y="19916"/>
                      <a:pt x="24102" y="10048"/>
                      <a:pt x="36483" y="0"/>
                    </a:cubicBezTo>
                  </a:path>
                </a:pathLst>
              </a:custGeom>
              <a:noFill/>
              <a:ln w="6350" cap="rnd">
                <a:solidFill>
                  <a:schemeClr val="bg1">
                    <a:alpha val="80000"/>
                  </a:schemeClr>
                </a:solidFill>
                <a:prstDash val="solid"/>
                <a:miter/>
              </a:ln>
            </p:spPr>
            <p:txBody>
              <a:bodyPr rtlCol="0" anchor="ctr"/>
              <a:lstStyle/>
              <a:p>
                <a:endParaRPr lang="en-GB"/>
              </a:p>
            </p:txBody>
          </p:sp>
          <p:sp>
            <p:nvSpPr>
              <p:cNvPr id="8110" name="Vrije vorm: vorm 8109">
                <a:extLst>
                  <a:ext uri="{FF2B5EF4-FFF2-40B4-BE49-F238E27FC236}">
                    <a16:creationId xmlns:a16="http://schemas.microsoft.com/office/drawing/2014/main" id="{E6F7A9ED-10A4-495C-A543-8B0546700BAB}"/>
                  </a:ext>
                </a:extLst>
              </p:cNvPr>
              <p:cNvSpPr/>
              <p:nvPr/>
            </p:nvSpPr>
            <p:spPr>
              <a:xfrm>
                <a:off x="4518276" y="4630255"/>
                <a:ext cx="39293" cy="31877"/>
              </a:xfrm>
              <a:custGeom>
                <a:avLst/>
                <a:gdLst>
                  <a:gd name="connsiteX0" fmla="*/ 0 w 39293"/>
                  <a:gd name="connsiteY0" fmla="*/ 31877 h 31877"/>
                  <a:gd name="connsiteX1" fmla="*/ 39293 w 39293"/>
                  <a:gd name="connsiteY1" fmla="*/ 0 h 31877"/>
                </a:gdLst>
                <a:ahLst/>
                <a:cxnLst>
                  <a:cxn ang="0">
                    <a:pos x="connsiteX0" y="connsiteY0"/>
                  </a:cxn>
                  <a:cxn ang="0">
                    <a:pos x="connsiteX1" y="connsiteY1"/>
                  </a:cxn>
                </a:cxnLst>
                <a:rect l="l" t="t" r="r" b="b"/>
                <a:pathLst>
                  <a:path w="39293" h="31877">
                    <a:moveTo>
                      <a:pt x="0" y="31877"/>
                    </a:moveTo>
                    <a:cubicBezTo>
                      <a:pt x="12918" y="21411"/>
                      <a:pt x="26016" y="10765"/>
                      <a:pt x="39293" y="0"/>
                    </a:cubicBezTo>
                  </a:path>
                </a:pathLst>
              </a:custGeom>
              <a:noFill/>
              <a:ln w="6350" cap="rnd">
                <a:solidFill>
                  <a:schemeClr val="bg1">
                    <a:alpha val="80000"/>
                  </a:schemeClr>
                </a:solidFill>
                <a:prstDash val="solid"/>
                <a:miter/>
              </a:ln>
            </p:spPr>
            <p:txBody>
              <a:bodyPr rtlCol="0" anchor="ctr"/>
              <a:lstStyle/>
              <a:p>
                <a:endParaRPr lang="en-GB"/>
              </a:p>
            </p:txBody>
          </p:sp>
          <p:sp>
            <p:nvSpPr>
              <p:cNvPr id="8111" name="Vrije vorm: vorm 8110">
                <a:extLst>
                  <a:ext uri="{FF2B5EF4-FFF2-40B4-BE49-F238E27FC236}">
                    <a16:creationId xmlns:a16="http://schemas.microsoft.com/office/drawing/2014/main" id="{BE9EFC7C-6555-41D6-AB94-A92B5D4A12DE}"/>
                  </a:ext>
                </a:extLst>
              </p:cNvPr>
              <p:cNvSpPr/>
              <p:nvPr/>
            </p:nvSpPr>
            <p:spPr>
              <a:xfrm>
                <a:off x="4581851" y="4580076"/>
                <a:ext cx="37618" cy="30501"/>
              </a:xfrm>
              <a:custGeom>
                <a:avLst/>
                <a:gdLst>
                  <a:gd name="connsiteX0" fmla="*/ 0 w 37618"/>
                  <a:gd name="connsiteY0" fmla="*/ 30502 h 30501"/>
                  <a:gd name="connsiteX1" fmla="*/ 37619 w 37618"/>
                  <a:gd name="connsiteY1" fmla="*/ 0 h 30501"/>
                </a:gdLst>
                <a:ahLst/>
                <a:cxnLst>
                  <a:cxn ang="0">
                    <a:pos x="connsiteX0" y="connsiteY0"/>
                  </a:cxn>
                  <a:cxn ang="0">
                    <a:pos x="connsiteX1" y="connsiteY1"/>
                  </a:cxn>
                </a:cxnLst>
                <a:rect l="l" t="t" r="r" b="b"/>
                <a:pathLst>
                  <a:path w="37618" h="30501">
                    <a:moveTo>
                      <a:pt x="0" y="30502"/>
                    </a:moveTo>
                    <a:cubicBezTo>
                      <a:pt x="12380" y="20454"/>
                      <a:pt x="24940" y="10287"/>
                      <a:pt x="37619" y="0"/>
                    </a:cubicBezTo>
                  </a:path>
                </a:pathLst>
              </a:custGeom>
              <a:noFill/>
              <a:ln w="6350" cap="rnd">
                <a:solidFill>
                  <a:schemeClr val="bg1">
                    <a:alpha val="80000"/>
                  </a:schemeClr>
                </a:solidFill>
                <a:prstDash val="solid"/>
                <a:miter/>
              </a:ln>
            </p:spPr>
            <p:txBody>
              <a:bodyPr rtlCol="0" anchor="ctr"/>
              <a:lstStyle/>
              <a:p>
                <a:endParaRPr lang="en-GB"/>
              </a:p>
            </p:txBody>
          </p:sp>
          <p:sp>
            <p:nvSpPr>
              <p:cNvPr id="8112" name="Vrije vorm: vorm 8111">
                <a:extLst>
                  <a:ext uri="{FF2B5EF4-FFF2-40B4-BE49-F238E27FC236}">
                    <a16:creationId xmlns:a16="http://schemas.microsoft.com/office/drawing/2014/main" id="{97161086-AF04-445C-BF92-C2AE12069253}"/>
                  </a:ext>
                </a:extLst>
              </p:cNvPr>
              <p:cNvSpPr/>
              <p:nvPr/>
            </p:nvSpPr>
            <p:spPr>
              <a:xfrm>
                <a:off x="4329464" y="4809138"/>
                <a:ext cx="31338" cy="25477"/>
              </a:xfrm>
              <a:custGeom>
                <a:avLst/>
                <a:gdLst>
                  <a:gd name="connsiteX0" fmla="*/ 0 w 31338"/>
                  <a:gd name="connsiteY0" fmla="*/ 25478 h 25477"/>
                  <a:gd name="connsiteX1" fmla="*/ 31339 w 31338"/>
                  <a:gd name="connsiteY1" fmla="*/ 0 h 25477"/>
                </a:gdLst>
                <a:ahLst/>
                <a:cxnLst>
                  <a:cxn ang="0">
                    <a:pos x="connsiteX0" y="connsiteY0"/>
                  </a:cxn>
                  <a:cxn ang="0">
                    <a:pos x="connsiteX1" y="connsiteY1"/>
                  </a:cxn>
                </a:cxnLst>
                <a:rect l="l" t="t" r="r" b="b"/>
                <a:pathLst>
                  <a:path w="31338" h="25477">
                    <a:moveTo>
                      <a:pt x="0" y="25478"/>
                    </a:moveTo>
                    <a:cubicBezTo>
                      <a:pt x="10107" y="17284"/>
                      <a:pt x="20514" y="8791"/>
                      <a:pt x="31339" y="0"/>
                    </a:cubicBezTo>
                  </a:path>
                </a:pathLst>
              </a:custGeom>
              <a:noFill/>
              <a:ln w="6350" cap="rnd">
                <a:solidFill>
                  <a:schemeClr val="bg1">
                    <a:alpha val="80000"/>
                  </a:schemeClr>
                </a:solidFill>
                <a:prstDash val="solid"/>
                <a:miter/>
              </a:ln>
            </p:spPr>
            <p:txBody>
              <a:bodyPr rtlCol="0" anchor="ctr"/>
              <a:lstStyle/>
              <a:p>
                <a:endParaRPr lang="en-GB"/>
              </a:p>
            </p:txBody>
          </p:sp>
          <p:sp>
            <p:nvSpPr>
              <p:cNvPr id="8113" name="Vrije vorm: vorm 8112">
                <a:extLst>
                  <a:ext uri="{FF2B5EF4-FFF2-40B4-BE49-F238E27FC236}">
                    <a16:creationId xmlns:a16="http://schemas.microsoft.com/office/drawing/2014/main" id="{F26A0F92-3945-4713-8E01-E4EC8A9D833F}"/>
                  </a:ext>
                </a:extLst>
              </p:cNvPr>
              <p:cNvSpPr/>
              <p:nvPr/>
            </p:nvSpPr>
            <p:spPr>
              <a:xfrm>
                <a:off x="4377310" y="4768649"/>
                <a:ext cx="33312" cy="27092"/>
              </a:xfrm>
              <a:custGeom>
                <a:avLst/>
                <a:gdLst>
                  <a:gd name="connsiteX0" fmla="*/ 0 w 33312"/>
                  <a:gd name="connsiteY0" fmla="*/ 27092 h 27092"/>
                  <a:gd name="connsiteX1" fmla="*/ 33313 w 33312"/>
                  <a:gd name="connsiteY1" fmla="*/ 0 h 27092"/>
                </a:gdLst>
                <a:ahLst/>
                <a:cxnLst>
                  <a:cxn ang="0">
                    <a:pos x="connsiteX0" y="connsiteY0"/>
                  </a:cxn>
                  <a:cxn ang="0">
                    <a:pos x="connsiteX1" y="connsiteY1"/>
                  </a:cxn>
                </a:cxnLst>
                <a:rect l="l" t="t" r="r" b="b"/>
                <a:pathLst>
                  <a:path w="33312" h="27092">
                    <a:moveTo>
                      <a:pt x="0" y="27092"/>
                    </a:moveTo>
                    <a:cubicBezTo>
                      <a:pt x="10825" y="18301"/>
                      <a:pt x="21889" y="9270"/>
                      <a:pt x="33313" y="0"/>
                    </a:cubicBezTo>
                  </a:path>
                </a:pathLst>
              </a:custGeom>
              <a:noFill/>
              <a:ln w="6350" cap="rnd">
                <a:solidFill>
                  <a:schemeClr val="bg1">
                    <a:alpha val="80000"/>
                  </a:schemeClr>
                </a:solidFill>
                <a:prstDash val="solid"/>
                <a:miter/>
              </a:ln>
            </p:spPr>
            <p:txBody>
              <a:bodyPr rtlCol="0" anchor="ctr"/>
              <a:lstStyle/>
              <a:p>
                <a:endParaRPr lang="en-GB"/>
              </a:p>
            </p:txBody>
          </p:sp>
          <p:sp>
            <p:nvSpPr>
              <p:cNvPr id="8114" name="Vrije vorm: vorm 8113">
                <a:extLst>
                  <a:ext uri="{FF2B5EF4-FFF2-40B4-BE49-F238E27FC236}">
                    <a16:creationId xmlns:a16="http://schemas.microsoft.com/office/drawing/2014/main" id="{88058720-5FFD-4A37-B8F1-E0809B0219D1}"/>
                  </a:ext>
                </a:extLst>
              </p:cNvPr>
              <p:cNvSpPr/>
              <p:nvPr/>
            </p:nvSpPr>
            <p:spPr>
              <a:xfrm>
                <a:off x="4427727" y="4726604"/>
                <a:ext cx="34568" cy="28109"/>
              </a:xfrm>
              <a:custGeom>
                <a:avLst/>
                <a:gdLst>
                  <a:gd name="connsiteX0" fmla="*/ 0 w 34568"/>
                  <a:gd name="connsiteY0" fmla="*/ 28109 h 28109"/>
                  <a:gd name="connsiteX1" fmla="*/ 34568 w 34568"/>
                  <a:gd name="connsiteY1" fmla="*/ 0 h 28109"/>
                </a:gdLst>
                <a:ahLst/>
                <a:cxnLst>
                  <a:cxn ang="0">
                    <a:pos x="connsiteX0" y="connsiteY0"/>
                  </a:cxn>
                  <a:cxn ang="0">
                    <a:pos x="connsiteX1" y="connsiteY1"/>
                  </a:cxn>
                </a:cxnLst>
                <a:rect l="l" t="t" r="r" b="b"/>
                <a:pathLst>
                  <a:path w="34568" h="28109">
                    <a:moveTo>
                      <a:pt x="0" y="28109"/>
                    </a:moveTo>
                    <a:cubicBezTo>
                      <a:pt x="11304" y="18959"/>
                      <a:pt x="22787" y="9569"/>
                      <a:pt x="34568" y="0"/>
                    </a:cubicBezTo>
                  </a:path>
                </a:pathLst>
              </a:custGeom>
              <a:noFill/>
              <a:ln w="6350" cap="rnd">
                <a:solidFill>
                  <a:schemeClr val="bg1">
                    <a:alpha val="80000"/>
                  </a:schemeClr>
                </a:solidFill>
                <a:prstDash val="solid"/>
                <a:miter/>
              </a:ln>
            </p:spPr>
            <p:txBody>
              <a:bodyPr rtlCol="0" anchor="ctr"/>
              <a:lstStyle/>
              <a:p>
                <a:endParaRPr lang="en-GB"/>
              </a:p>
            </p:txBody>
          </p:sp>
          <p:sp>
            <p:nvSpPr>
              <p:cNvPr id="8115" name="Vrije vorm: vorm 8114">
                <a:extLst>
                  <a:ext uri="{FF2B5EF4-FFF2-40B4-BE49-F238E27FC236}">
                    <a16:creationId xmlns:a16="http://schemas.microsoft.com/office/drawing/2014/main" id="{7444C7C3-2DEE-45FB-AE8D-D6DC48F17047}"/>
                  </a:ext>
                </a:extLst>
              </p:cNvPr>
              <p:cNvSpPr/>
              <p:nvPr/>
            </p:nvSpPr>
            <p:spPr>
              <a:xfrm>
                <a:off x="4479580" y="4683782"/>
                <a:ext cx="35346" cy="28767"/>
              </a:xfrm>
              <a:custGeom>
                <a:avLst/>
                <a:gdLst>
                  <a:gd name="connsiteX0" fmla="*/ 0 w 35346"/>
                  <a:gd name="connsiteY0" fmla="*/ 28767 h 28767"/>
                  <a:gd name="connsiteX1" fmla="*/ 35346 w 35346"/>
                  <a:gd name="connsiteY1" fmla="*/ 0 h 28767"/>
                </a:gdLst>
                <a:ahLst/>
                <a:cxnLst>
                  <a:cxn ang="0">
                    <a:pos x="connsiteX0" y="connsiteY0"/>
                  </a:cxn>
                  <a:cxn ang="0">
                    <a:pos x="connsiteX1" y="connsiteY1"/>
                  </a:cxn>
                </a:cxnLst>
                <a:rect l="l" t="t" r="r" b="b"/>
                <a:pathLst>
                  <a:path w="35346" h="28767">
                    <a:moveTo>
                      <a:pt x="0" y="28767"/>
                    </a:moveTo>
                    <a:cubicBezTo>
                      <a:pt x="11603" y="19377"/>
                      <a:pt x="23385" y="9749"/>
                      <a:pt x="35346" y="0"/>
                    </a:cubicBezTo>
                  </a:path>
                </a:pathLst>
              </a:custGeom>
              <a:noFill/>
              <a:ln w="6350" cap="rnd">
                <a:solidFill>
                  <a:schemeClr val="bg1">
                    <a:alpha val="80000"/>
                  </a:schemeClr>
                </a:solidFill>
                <a:prstDash val="solid"/>
                <a:miter/>
              </a:ln>
            </p:spPr>
            <p:txBody>
              <a:bodyPr rtlCol="0" anchor="ctr"/>
              <a:lstStyle/>
              <a:p>
                <a:endParaRPr lang="en-GB"/>
              </a:p>
            </p:txBody>
          </p:sp>
          <p:sp>
            <p:nvSpPr>
              <p:cNvPr id="8116" name="Vrije vorm: vorm 8115">
                <a:extLst>
                  <a:ext uri="{FF2B5EF4-FFF2-40B4-BE49-F238E27FC236}">
                    <a16:creationId xmlns:a16="http://schemas.microsoft.com/office/drawing/2014/main" id="{C3BD0C9A-53F8-4C2A-AB0D-4527A1A0D916}"/>
                  </a:ext>
                </a:extLst>
              </p:cNvPr>
              <p:cNvSpPr/>
              <p:nvPr/>
            </p:nvSpPr>
            <p:spPr>
              <a:xfrm>
                <a:off x="4533227" y="4637970"/>
                <a:ext cx="38037" cy="30920"/>
              </a:xfrm>
              <a:custGeom>
                <a:avLst/>
                <a:gdLst>
                  <a:gd name="connsiteX0" fmla="*/ 0 w 38037"/>
                  <a:gd name="connsiteY0" fmla="*/ 30920 h 30920"/>
                  <a:gd name="connsiteX1" fmla="*/ 38037 w 38037"/>
                  <a:gd name="connsiteY1" fmla="*/ 0 h 30920"/>
                </a:gdLst>
                <a:ahLst/>
                <a:cxnLst>
                  <a:cxn ang="0">
                    <a:pos x="connsiteX0" y="connsiteY0"/>
                  </a:cxn>
                  <a:cxn ang="0">
                    <a:pos x="connsiteX1" y="connsiteY1"/>
                  </a:cxn>
                </a:cxnLst>
                <a:rect l="l" t="t" r="r" b="b"/>
                <a:pathLst>
                  <a:path w="38037" h="30920">
                    <a:moveTo>
                      <a:pt x="0" y="30920"/>
                    </a:moveTo>
                    <a:cubicBezTo>
                      <a:pt x="12500" y="20753"/>
                      <a:pt x="25179" y="10466"/>
                      <a:pt x="38037" y="0"/>
                    </a:cubicBezTo>
                  </a:path>
                </a:pathLst>
              </a:custGeom>
              <a:noFill/>
              <a:ln w="6350" cap="rnd">
                <a:solidFill>
                  <a:schemeClr val="bg1">
                    <a:alpha val="80000"/>
                  </a:schemeClr>
                </a:solidFill>
                <a:prstDash val="solid"/>
                <a:miter/>
              </a:ln>
            </p:spPr>
            <p:txBody>
              <a:bodyPr rtlCol="0" anchor="ctr"/>
              <a:lstStyle/>
              <a:p>
                <a:endParaRPr lang="en-GB"/>
              </a:p>
            </p:txBody>
          </p:sp>
          <p:sp>
            <p:nvSpPr>
              <p:cNvPr id="8117" name="Vrije vorm: vorm 8116">
                <a:extLst>
                  <a:ext uri="{FF2B5EF4-FFF2-40B4-BE49-F238E27FC236}">
                    <a16:creationId xmlns:a16="http://schemas.microsoft.com/office/drawing/2014/main" id="{5372A4FC-C46F-491D-91CF-990643D637E9}"/>
                  </a:ext>
                </a:extLst>
              </p:cNvPr>
              <p:cNvSpPr/>
              <p:nvPr/>
            </p:nvSpPr>
            <p:spPr>
              <a:xfrm>
                <a:off x="4595785" y="4587074"/>
                <a:ext cx="37977" cy="30920"/>
              </a:xfrm>
              <a:custGeom>
                <a:avLst/>
                <a:gdLst>
                  <a:gd name="connsiteX0" fmla="*/ 0 w 37977"/>
                  <a:gd name="connsiteY0" fmla="*/ 30920 h 30920"/>
                  <a:gd name="connsiteX1" fmla="*/ 37978 w 37977"/>
                  <a:gd name="connsiteY1" fmla="*/ 0 h 30920"/>
                </a:gdLst>
                <a:ahLst/>
                <a:cxnLst>
                  <a:cxn ang="0">
                    <a:pos x="connsiteX0" y="connsiteY0"/>
                  </a:cxn>
                  <a:cxn ang="0">
                    <a:pos x="connsiteX1" y="connsiteY1"/>
                  </a:cxn>
                </a:cxnLst>
                <a:rect l="l" t="t" r="r" b="b"/>
                <a:pathLst>
                  <a:path w="37977" h="30920">
                    <a:moveTo>
                      <a:pt x="0" y="30920"/>
                    </a:moveTo>
                    <a:cubicBezTo>
                      <a:pt x="12500" y="20753"/>
                      <a:pt x="25179" y="10406"/>
                      <a:pt x="37978" y="0"/>
                    </a:cubicBezTo>
                  </a:path>
                </a:pathLst>
              </a:custGeom>
              <a:noFill/>
              <a:ln w="6350" cap="rnd">
                <a:solidFill>
                  <a:schemeClr val="bg1">
                    <a:alpha val="80000"/>
                  </a:schemeClr>
                </a:solidFill>
                <a:prstDash val="solid"/>
                <a:miter/>
              </a:ln>
            </p:spPr>
            <p:txBody>
              <a:bodyPr rtlCol="0" anchor="ctr"/>
              <a:lstStyle/>
              <a:p>
                <a:endParaRPr lang="en-GB"/>
              </a:p>
            </p:txBody>
          </p:sp>
          <p:sp>
            <p:nvSpPr>
              <p:cNvPr id="8118" name="Vrije vorm: vorm 8117">
                <a:extLst>
                  <a:ext uri="{FF2B5EF4-FFF2-40B4-BE49-F238E27FC236}">
                    <a16:creationId xmlns:a16="http://schemas.microsoft.com/office/drawing/2014/main" id="{DB85CD78-591C-4AA4-8403-C5D5D4F892C9}"/>
                  </a:ext>
                </a:extLst>
              </p:cNvPr>
              <p:cNvSpPr/>
              <p:nvPr/>
            </p:nvSpPr>
            <p:spPr>
              <a:xfrm>
                <a:off x="4264992" y="4735755"/>
                <a:ext cx="33851" cy="27511"/>
              </a:xfrm>
              <a:custGeom>
                <a:avLst/>
                <a:gdLst>
                  <a:gd name="connsiteX0" fmla="*/ 0 w 33851"/>
                  <a:gd name="connsiteY0" fmla="*/ 27511 h 27511"/>
                  <a:gd name="connsiteX1" fmla="*/ 33851 w 33851"/>
                  <a:gd name="connsiteY1" fmla="*/ 0 h 27511"/>
                </a:gdLst>
                <a:ahLst/>
                <a:cxnLst>
                  <a:cxn ang="0">
                    <a:pos x="connsiteX0" y="connsiteY0"/>
                  </a:cxn>
                  <a:cxn ang="0">
                    <a:pos x="connsiteX1" y="connsiteY1"/>
                  </a:cxn>
                </a:cxnLst>
                <a:rect l="l" t="t" r="r" b="b"/>
                <a:pathLst>
                  <a:path w="33851" h="27511">
                    <a:moveTo>
                      <a:pt x="0" y="27511"/>
                    </a:moveTo>
                    <a:cubicBezTo>
                      <a:pt x="10885" y="18600"/>
                      <a:pt x="22189" y="9450"/>
                      <a:pt x="33851" y="0"/>
                    </a:cubicBezTo>
                  </a:path>
                </a:pathLst>
              </a:custGeom>
              <a:noFill/>
              <a:ln w="6350" cap="rnd">
                <a:solidFill>
                  <a:schemeClr val="bg1">
                    <a:alpha val="80000"/>
                  </a:schemeClr>
                </a:solidFill>
                <a:prstDash val="solid"/>
                <a:miter/>
              </a:ln>
            </p:spPr>
            <p:txBody>
              <a:bodyPr rtlCol="0" anchor="ctr"/>
              <a:lstStyle/>
              <a:p>
                <a:endParaRPr lang="en-GB"/>
              </a:p>
            </p:txBody>
          </p:sp>
          <p:sp>
            <p:nvSpPr>
              <p:cNvPr id="8119" name="Vrije vorm: vorm 8118">
                <a:extLst>
                  <a:ext uri="{FF2B5EF4-FFF2-40B4-BE49-F238E27FC236}">
                    <a16:creationId xmlns:a16="http://schemas.microsoft.com/office/drawing/2014/main" id="{3D768C72-5653-4485-80B3-27B704505FE5}"/>
                  </a:ext>
                </a:extLst>
              </p:cNvPr>
              <p:cNvSpPr/>
              <p:nvPr/>
            </p:nvSpPr>
            <p:spPr>
              <a:xfrm>
                <a:off x="4317084" y="4690540"/>
                <a:ext cx="37738" cy="30382"/>
              </a:xfrm>
              <a:custGeom>
                <a:avLst/>
                <a:gdLst>
                  <a:gd name="connsiteX0" fmla="*/ 0 w 37738"/>
                  <a:gd name="connsiteY0" fmla="*/ 30382 h 30382"/>
                  <a:gd name="connsiteX1" fmla="*/ 37738 w 37738"/>
                  <a:gd name="connsiteY1" fmla="*/ 0 h 30382"/>
                </a:gdLst>
                <a:ahLst/>
                <a:cxnLst>
                  <a:cxn ang="0">
                    <a:pos x="connsiteX0" y="connsiteY0"/>
                  </a:cxn>
                  <a:cxn ang="0">
                    <a:pos x="connsiteX1" y="connsiteY1"/>
                  </a:cxn>
                </a:cxnLst>
                <a:rect l="l" t="t" r="r" b="b"/>
                <a:pathLst>
                  <a:path w="37738" h="30382">
                    <a:moveTo>
                      <a:pt x="0" y="30382"/>
                    </a:moveTo>
                    <a:cubicBezTo>
                      <a:pt x="12201" y="20514"/>
                      <a:pt x="24820" y="10347"/>
                      <a:pt x="37738" y="0"/>
                    </a:cubicBezTo>
                  </a:path>
                </a:pathLst>
              </a:custGeom>
              <a:noFill/>
              <a:ln w="6350" cap="rnd">
                <a:solidFill>
                  <a:schemeClr val="bg1">
                    <a:alpha val="80000"/>
                  </a:schemeClr>
                </a:solidFill>
                <a:prstDash val="solid"/>
                <a:miter/>
              </a:ln>
            </p:spPr>
            <p:txBody>
              <a:bodyPr rtlCol="0" anchor="ctr"/>
              <a:lstStyle/>
              <a:p>
                <a:endParaRPr lang="en-GB"/>
              </a:p>
            </p:txBody>
          </p:sp>
          <p:sp>
            <p:nvSpPr>
              <p:cNvPr id="8120" name="Vrije vorm: vorm 8119">
                <a:extLst>
                  <a:ext uri="{FF2B5EF4-FFF2-40B4-BE49-F238E27FC236}">
                    <a16:creationId xmlns:a16="http://schemas.microsoft.com/office/drawing/2014/main" id="{CD41EBB0-21CA-41BC-93F0-93FD83227547}"/>
                  </a:ext>
                </a:extLst>
              </p:cNvPr>
              <p:cNvSpPr/>
              <p:nvPr/>
            </p:nvSpPr>
            <p:spPr>
              <a:xfrm>
                <a:off x="4375396" y="4641439"/>
                <a:ext cx="40728" cy="32595"/>
              </a:xfrm>
              <a:custGeom>
                <a:avLst/>
                <a:gdLst>
                  <a:gd name="connsiteX0" fmla="*/ 0 w 40728"/>
                  <a:gd name="connsiteY0" fmla="*/ 32595 h 32595"/>
                  <a:gd name="connsiteX1" fmla="*/ 40729 w 40728"/>
                  <a:gd name="connsiteY1" fmla="*/ 0 h 32595"/>
                </a:gdLst>
                <a:ahLst/>
                <a:cxnLst>
                  <a:cxn ang="0">
                    <a:pos x="connsiteX0" y="connsiteY0"/>
                  </a:cxn>
                  <a:cxn ang="0">
                    <a:pos x="connsiteX1" y="connsiteY1"/>
                  </a:cxn>
                </a:cxnLst>
                <a:rect l="l" t="t" r="r" b="b"/>
                <a:pathLst>
                  <a:path w="40728" h="32595">
                    <a:moveTo>
                      <a:pt x="0" y="32595"/>
                    </a:moveTo>
                    <a:cubicBezTo>
                      <a:pt x="13277" y="21950"/>
                      <a:pt x="26853" y="11065"/>
                      <a:pt x="40729" y="0"/>
                    </a:cubicBezTo>
                  </a:path>
                </a:pathLst>
              </a:custGeom>
              <a:noFill/>
              <a:ln w="6350" cap="rnd">
                <a:solidFill>
                  <a:schemeClr val="bg1">
                    <a:alpha val="80000"/>
                  </a:schemeClr>
                </a:solidFill>
                <a:prstDash val="solid"/>
                <a:miter/>
              </a:ln>
            </p:spPr>
            <p:txBody>
              <a:bodyPr rtlCol="0" anchor="ctr"/>
              <a:lstStyle/>
              <a:p>
                <a:endParaRPr lang="en-GB"/>
              </a:p>
            </p:txBody>
          </p:sp>
          <p:sp>
            <p:nvSpPr>
              <p:cNvPr id="8121" name="Vrije vorm: vorm 8120">
                <a:extLst>
                  <a:ext uri="{FF2B5EF4-FFF2-40B4-BE49-F238E27FC236}">
                    <a16:creationId xmlns:a16="http://schemas.microsoft.com/office/drawing/2014/main" id="{39A0EF29-8D40-4354-B384-DA56A52709F3}"/>
                  </a:ext>
                </a:extLst>
              </p:cNvPr>
              <p:cNvSpPr/>
              <p:nvPr/>
            </p:nvSpPr>
            <p:spPr>
              <a:xfrm>
                <a:off x="4437476" y="4589466"/>
                <a:ext cx="43719" cy="34867"/>
              </a:xfrm>
              <a:custGeom>
                <a:avLst/>
                <a:gdLst>
                  <a:gd name="connsiteX0" fmla="*/ 0 w 43719"/>
                  <a:gd name="connsiteY0" fmla="*/ 34868 h 34867"/>
                  <a:gd name="connsiteX1" fmla="*/ 43719 w 43719"/>
                  <a:gd name="connsiteY1" fmla="*/ 0 h 34867"/>
                </a:gdLst>
                <a:ahLst/>
                <a:cxnLst>
                  <a:cxn ang="0">
                    <a:pos x="connsiteX0" y="connsiteY0"/>
                  </a:cxn>
                  <a:cxn ang="0">
                    <a:pos x="connsiteX1" y="connsiteY1"/>
                  </a:cxn>
                </a:cxnLst>
                <a:rect l="l" t="t" r="r" b="b"/>
                <a:pathLst>
                  <a:path w="43719" h="34867">
                    <a:moveTo>
                      <a:pt x="0" y="34868"/>
                    </a:moveTo>
                    <a:cubicBezTo>
                      <a:pt x="14294" y="23445"/>
                      <a:pt x="28887" y="11842"/>
                      <a:pt x="43719" y="0"/>
                    </a:cubicBezTo>
                  </a:path>
                </a:pathLst>
              </a:custGeom>
              <a:noFill/>
              <a:ln w="6350" cap="rnd">
                <a:solidFill>
                  <a:schemeClr val="bg1">
                    <a:alpha val="80000"/>
                  </a:schemeClr>
                </a:solidFill>
                <a:prstDash val="solid"/>
                <a:miter/>
              </a:ln>
            </p:spPr>
            <p:txBody>
              <a:bodyPr rtlCol="0" anchor="ctr"/>
              <a:lstStyle/>
              <a:p>
                <a:endParaRPr lang="en-GB"/>
              </a:p>
            </p:txBody>
          </p:sp>
          <p:sp>
            <p:nvSpPr>
              <p:cNvPr id="8122" name="Vrije vorm: vorm 8121">
                <a:extLst>
                  <a:ext uri="{FF2B5EF4-FFF2-40B4-BE49-F238E27FC236}">
                    <a16:creationId xmlns:a16="http://schemas.microsoft.com/office/drawing/2014/main" id="{63EF05C4-2DA9-47AC-8630-6032D5834413}"/>
                  </a:ext>
                </a:extLst>
              </p:cNvPr>
              <p:cNvSpPr/>
              <p:nvPr/>
            </p:nvSpPr>
            <p:spPr>
              <a:xfrm>
                <a:off x="4423302" y="4558845"/>
                <a:ext cx="42164" cy="33372"/>
              </a:xfrm>
              <a:custGeom>
                <a:avLst/>
                <a:gdLst>
                  <a:gd name="connsiteX0" fmla="*/ 0 w 42164"/>
                  <a:gd name="connsiteY0" fmla="*/ 33373 h 33372"/>
                  <a:gd name="connsiteX1" fmla="*/ 42164 w 42164"/>
                  <a:gd name="connsiteY1" fmla="*/ 0 h 33372"/>
                </a:gdLst>
                <a:ahLst/>
                <a:cxnLst>
                  <a:cxn ang="0">
                    <a:pos x="connsiteX0" y="connsiteY0"/>
                  </a:cxn>
                  <a:cxn ang="0">
                    <a:pos x="connsiteX1" y="connsiteY1"/>
                  </a:cxn>
                </a:cxnLst>
                <a:rect l="l" t="t" r="r" b="b"/>
                <a:pathLst>
                  <a:path w="42164" h="33372">
                    <a:moveTo>
                      <a:pt x="0" y="33373"/>
                    </a:moveTo>
                    <a:cubicBezTo>
                      <a:pt x="13815" y="22428"/>
                      <a:pt x="27870" y="11304"/>
                      <a:pt x="42164" y="0"/>
                    </a:cubicBezTo>
                  </a:path>
                </a:pathLst>
              </a:custGeom>
              <a:noFill/>
              <a:ln w="6350" cap="rnd">
                <a:solidFill>
                  <a:schemeClr val="bg1">
                    <a:alpha val="80000"/>
                  </a:schemeClr>
                </a:solidFill>
                <a:prstDash val="solid"/>
                <a:miter/>
              </a:ln>
            </p:spPr>
            <p:txBody>
              <a:bodyPr rtlCol="0" anchor="ctr"/>
              <a:lstStyle/>
              <a:p>
                <a:endParaRPr lang="en-GB"/>
              </a:p>
            </p:txBody>
          </p:sp>
          <p:sp>
            <p:nvSpPr>
              <p:cNvPr id="8123" name="Vrije vorm: vorm 8122">
                <a:extLst>
                  <a:ext uri="{FF2B5EF4-FFF2-40B4-BE49-F238E27FC236}">
                    <a16:creationId xmlns:a16="http://schemas.microsoft.com/office/drawing/2014/main" id="{A948517D-4C4A-4036-8A5D-B02F23CB0E6B}"/>
                  </a:ext>
                </a:extLst>
              </p:cNvPr>
              <p:cNvSpPr/>
              <p:nvPr/>
            </p:nvSpPr>
            <p:spPr>
              <a:xfrm>
                <a:off x="4425275" y="4543534"/>
                <a:ext cx="41326" cy="32654"/>
              </a:xfrm>
              <a:custGeom>
                <a:avLst/>
                <a:gdLst>
                  <a:gd name="connsiteX0" fmla="*/ 0 w 41326"/>
                  <a:gd name="connsiteY0" fmla="*/ 32655 h 32654"/>
                  <a:gd name="connsiteX1" fmla="*/ 41327 w 41326"/>
                  <a:gd name="connsiteY1" fmla="*/ 0 h 32654"/>
                </a:gdLst>
                <a:ahLst/>
                <a:cxnLst>
                  <a:cxn ang="0">
                    <a:pos x="connsiteX0" y="connsiteY0"/>
                  </a:cxn>
                  <a:cxn ang="0">
                    <a:pos x="connsiteX1" y="connsiteY1"/>
                  </a:cxn>
                </a:cxnLst>
                <a:rect l="l" t="t" r="r" b="b"/>
                <a:pathLst>
                  <a:path w="41326" h="32654">
                    <a:moveTo>
                      <a:pt x="0" y="32655"/>
                    </a:moveTo>
                    <a:cubicBezTo>
                      <a:pt x="13576" y="21949"/>
                      <a:pt x="27332" y="11065"/>
                      <a:pt x="41327" y="0"/>
                    </a:cubicBezTo>
                  </a:path>
                </a:pathLst>
              </a:custGeom>
              <a:noFill/>
              <a:ln w="6350" cap="rnd">
                <a:solidFill>
                  <a:schemeClr val="bg1">
                    <a:alpha val="80000"/>
                  </a:schemeClr>
                </a:solidFill>
                <a:prstDash val="solid"/>
                <a:miter/>
              </a:ln>
            </p:spPr>
            <p:txBody>
              <a:bodyPr rtlCol="0" anchor="ctr"/>
              <a:lstStyle/>
              <a:p>
                <a:endParaRPr lang="en-GB"/>
              </a:p>
            </p:txBody>
          </p:sp>
          <p:sp>
            <p:nvSpPr>
              <p:cNvPr id="8124" name="Vrije vorm: vorm 8123">
                <a:extLst>
                  <a:ext uri="{FF2B5EF4-FFF2-40B4-BE49-F238E27FC236}">
                    <a16:creationId xmlns:a16="http://schemas.microsoft.com/office/drawing/2014/main" id="{95A5D482-B95A-4468-AB19-EA2A80D8F918}"/>
                  </a:ext>
                </a:extLst>
              </p:cNvPr>
              <p:cNvSpPr/>
              <p:nvPr/>
            </p:nvSpPr>
            <p:spPr>
              <a:xfrm>
                <a:off x="4428146" y="4528463"/>
                <a:ext cx="39831" cy="31338"/>
              </a:xfrm>
              <a:custGeom>
                <a:avLst/>
                <a:gdLst>
                  <a:gd name="connsiteX0" fmla="*/ 0 w 39831"/>
                  <a:gd name="connsiteY0" fmla="*/ 31339 h 31338"/>
                  <a:gd name="connsiteX1" fmla="*/ 39831 w 39831"/>
                  <a:gd name="connsiteY1" fmla="*/ 0 h 31338"/>
                </a:gdLst>
                <a:ahLst/>
                <a:cxnLst>
                  <a:cxn ang="0">
                    <a:pos x="connsiteX0" y="connsiteY0"/>
                  </a:cxn>
                  <a:cxn ang="0">
                    <a:pos x="connsiteX1" y="connsiteY1"/>
                  </a:cxn>
                </a:cxnLst>
                <a:rect l="l" t="t" r="r" b="b"/>
                <a:pathLst>
                  <a:path w="39831" h="31338">
                    <a:moveTo>
                      <a:pt x="0" y="31339"/>
                    </a:moveTo>
                    <a:cubicBezTo>
                      <a:pt x="13098" y="21052"/>
                      <a:pt x="26375" y="10586"/>
                      <a:pt x="39831" y="0"/>
                    </a:cubicBezTo>
                  </a:path>
                </a:pathLst>
              </a:custGeom>
              <a:noFill/>
              <a:ln w="6350" cap="rnd">
                <a:solidFill>
                  <a:schemeClr val="bg1">
                    <a:alpha val="80000"/>
                  </a:schemeClr>
                </a:solidFill>
                <a:prstDash val="solid"/>
                <a:miter/>
              </a:ln>
            </p:spPr>
            <p:txBody>
              <a:bodyPr rtlCol="0" anchor="ctr"/>
              <a:lstStyle/>
              <a:p>
                <a:endParaRPr lang="en-GB"/>
              </a:p>
            </p:txBody>
          </p:sp>
          <p:sp>
            <p:nvSpPr>
              <p:cNvPr id="8125" name="Vrije vorm: vorm 8124">
                <a:extLst>
                  <a:ext uri="{FF2B5EF4-FFF2-40B4-BE49-F238E27FC236}">
                    <a16:creationId xmlns:a16="http://schemas.microsoft.com/office/drawing/2014/main" id="{2C9403B4-7241-4F89-AF2E-74B9E5D32933}"/>
                  </a:ext>
                </a:extLst>
              </p:cNvPr>
              <p:cNvSpPr/>
              <p:nvPr/>
            </p:nvSpPr>
            <p:spPr>
              <a:xfrm>
                <a:off x="4431316" y="4514947"/>
                <a:ext cx="38216" cy="30022"/>
              </a:xfrm>
              <a:custGeom>
                <a:avLst/>
                <a:gdLst>
                  <a:gd name="connsiteX0" fmla="*/ 0 w 38216"/>
                  <a:gd name="connsiteY0" fmla="*/ 30023 h 30022"/>
                  <a:gd name="connsiteX1" fmla="*/ 38217 w 38216"/>
                  <a:gd name="connsiteY1" fmla="*/ 0 h 30022"/>
                </a:gdLst>
                <a:ahLst/>
                <a:cxnLst>
                  <a:cxn ang="0">
                    <a:pos x="connsiteX0" y="connsiteY0"/>
                  </a:cxn>
                  <a:cxn ang="0">
                    <a:pos x="connsiteX1" y="connsiteY1"/>
                  </a:cxn>
                </a:cxnLst>
                <a:rect l="l" t="t" r="r" b="b"/>
                <a:pathLst>
                  <a:path w="38216" h="30022">
                    <a:moveTo>
                      <a:pt x="0" y="30023"/>
                    </a:moveTo>
                    <a:cubicBezTo>
                      <a:pt x="12560" y="20155"/>
                      <a:pt x="25299" y="10167"/>
                      <a:pt x="38217" y="0"/>
                    </a:cubicBezTo>
                  </a:path>
                </a:pathLst>
              </a:custGeom>
              <a:noFill/>
              <a:ln w="6350" cap="rnd">
                <a:solidFill>
                  <a:schemeClr val="bg1">
                    <a:alpha val="80000"/>
                  </a:schemeClr>
                </a:solidFill>
                <a:prstDash val="solid"/>
                <a:miter/>
              </a:ln>
            </p:spPr>
            <p:txBody>
              <a:bodyPr rtlCol="0" anchor="ctr"/>
              <a:lstStyle/>
              <a:p>
                <a:endParaRPr lang="en-GB"/>
              </a:p>
            </p:txBody>
          </p:sp>
          <p:sp>
            <p:nvSpPr>
              <p:cNvPr id="8126" name="Vrije vorm: vorm 8125">
                <a:extLst>
                  <a:ext uri="{FF2B5EF4-FFF2-40B4-BE49-F238E27FC236}">
                    <a16:creationId xmlns:a16="http://schemas.microsoft.com/office/drawing/2014/main" id="{6EDD7ED2-EA80-4192-960F-4A2D4531FCF7}"/>
                  </a:ext>
                </a:extLst>
              </p:cNvPr>
              <p:cNvSpPr/>
              <p:nvPr/>
            </p:nvSpPr>
            <p:spPr>
              <a:xfrm>
                <a:off x="4433768" y="4503164"/>
                <a:ext cx="35944" cy="28169"/>
              </a:xfrm>
              <a:custGeom>
                <a:avLst/>
                <a:gdLst>
                  <a:gd name="connsiteX0" fmla="*/ 0 w 35944"/>
                  <a:gd name="connsiteY0" fmla="*/ 28169 h 28169"/>
                  <a:gd name="connsiteX1" fmla="*/ 35944 w 35944"/>
                  <a:gd name="connsiteY1" fmla="*/ 0 h 28169"/>
                </a:gdLst>
                <a:ahLst/>
                <a:cxnLst>
                  <a:cxn ang="0">
                    <a:pos x="connsiteX0" y="connsiteY0"/>
                  </a:cxn>
                  <a:cxn ang="0">
                    <a:pos x="connsiteX1" y="connsiteY1"/>
                  </a:cxn>
                </a:cxnLst>
                <a:rect l="l" t="t" r="r" b="b"/>
                <a:pathLst>
                  <a:path w="35944" h="28169">
                    <a:moveTo>
                      <a:pt x="0" y="28169"/>
                    </a:moveTo>
                    <a:cubicBezTo>
                      <a:pt x="11842" y="18899"/>
                      <a:pt x="23863" y="9510"/>
                      <a:pt x="35944" y="0"/>
                    </a:cubicBezTo>
                  </a:path>
                </a:pathLst>
              </a:custGeom>
              <a:noFill/>
              <a:ln w="6350" cap="rnd">
                <a:solidFill>
                  <a:schemeClr val="bg1">
                    <a:alpha val="80000"/>
                  </a:schemeClr>
                </a:solidFill>
                <a:prstDash val="solid"/>
                <a:miter/>
              </a:ln>
            </p:spPr>
            <p:txBody>
              <a:bodyPr rtlCol="0" anchor="ctr"/>
              <a:lstStyle/>
              <a:p>
                <a:endParaRPr lang="en-GB"/>
              </a:p>
            </p:txBody>
          </p:sp>
          <p:sp>
            <p:nvSpPr>
              <p:cNvPr id="8127" name="Vrije vorm: vorm 8126">
                <a:extLst>
                  <a:ext uri="{FF2B5EF4-FFF2-40B4-BE49-F238E27FC236}">
                    <a16:creationId xmlns:a16="http://schemas.microsoft.com/office/drawing/2014/main" id="{BD654226-19B1-489D-9B40-05691D59C906}"/>
                  </a:ext>
                </a:extLst>
              </p:cNvPr>
              <p:cNvSpPr/>
              <p:nvPr/>
            </p:nvSpPr>
            <p:spPr>
              <a:xfrm>
                <a:off x="4435622" y="4491622"/>
                <a:ext cx="35405" cy="27690"/>
              </a:xfrm>
              <a:custGeom>
                <a:avLst/>
                <a:gdLst>
                  <a:gd name="connsiteX0" fmla="*/ 0 w 35405"/>
                  <a:gd name="connsiteY0" fmla="*/ 27691 h 27690"/>
                  <a:gd name="connsiteX1" fmla="*/ 35406 w 35405"/>
                  <a:gd name="connsiteY1" fmla="*/ 0 h 27690"/>
                </a:gdLst>
                <a:ahLst/>
                <a:cxnLst>
                  <a:cxn ang="0">
                    <a:pos x="connsiteX0" y="connsiteY0"/>
                  </a:cxn>
                  <a:cxn ang="0">
                    <a:pos x="connsiteX1" y="connsiteY1"/>
                  </a:cxn>
                </a:cxnLst>
                <a:rect l="l" t="t" r="r" b="b"/>
                <a:pathLst>
                  <a:path w="35405" h="27690">
                    <a:moveTo>
                      <a:pt x="0" y="27691"/>
                    </a:moveTo>
                    <a:cubicBezTo>
                      <a:pt x="11662" y="18540"/>
                      <a:pt x="23444" y="9330"/>
                      <a:pt x="35406" y="0"/>
                    </a:cubicBezTo>
                  </a:path>
                </a:pathLst>
              </a:custGeom>
              <a:noFill/>
              <a:ln w="6350" cap="rnd">
                <a:solidFill>
                  <a:schemeClr val="bg1">
                    <a:alpha val="80000"/>
                  </a:schemeClr>
                </a:solidFill>
                <a:prstDash val="solid"/>
                <a:miter/>
              </a:ln>
            </p:spPr>
            <p:txBody>
              <a:bodyPr rtlCol="0" anchor="ctr"/>
              <a:lstStyle/>
              <a:p>
                <a:endParaRPr lang="en-GB"/>
              </a:p>
            </p:txBody>
          </p:sp>
          <p:sp>
            <p:nvSpPr>
              <p:cNvPr id="8128" name="Vrije vorm: vorm 8127">
                <a:extLst>
                  <a:ext uri="{FF2B5EF4-FFF2-40B4-BE49-F238E27FC236}">
                    <a16:creationId xmlns:a16="http://schemas.microsoft.com/office/drawing/2014/main" id="{B3BB7160-E292-45D5-9910-07BF70BD63C8}"/>
                  </a:ext>
                </a:extLst>
              </p:cNvPr>
              <p:cNvSpPr/>
              <p:nvPr/>
            </p:nvSpPr>
            <p:spPr>
              <a:xfrm>
                <a:off x="4358590" y="4610279"/>
                <a:ext cx="41984" cy="33372"/>
              </a:xfrm>
              <a:custGeom>
                <a:avLst/>
                <a:gdLst>
                  <a:gd name="connsiteX0" fmla="*/ 0 w 41984"/>
                  <a:gd name="connsiteY0" fmla="*/ 33372 h 33372"/>
                  <a:gd name="connsiteX1" fmla="*/ 41985 w 41984"/>
                  <a:gd name="connsiteY1" fmla="*/ 0 h 33372"/>
                </a:gdLst>
                <a:ahLst/>
                <a:cxnLst>
                  <a:cxn ang="0">
                    <a:pos x="connsiteX0" y="connsiteY0"/>
                  </a:cxn>
                  <a:cxn ang="0">
                    <a:pos x="connsiteX1" y="connsiteY1"/>
                  </a:cxn>
                </a:cxnLst>
                <a:rect l="l" t="t" r="r" b="b"/>
                <a:pathLst>
                  <a:path w="41984" h="33372">
                    <a:moveTo>
                      <a:pt x="0" y="33372"/>
                    </a:moveTo>
                    <a:cubicBezTo>
                      <a:pt x="13696" y="22487"/>
                      <a:pt x="27691" y="11363"/>
                      <a:pt x="41985" y="0"/>
                    </a:cubicBezTo>
                  </a:path>
                </a:pathLst>
              </a:custGeom>
              <a:noFill/>
              <a:ln w="6350" cap="rnd">
                <a:solidFill>
                  <a:schemeClr val="bg1">
                    <a:alpha val="80000"/>
                  </a:schemeClr>
                </a:solidFill>
                <a:prstDash val="solid"/>
                <a:miter/>
              </a:ln>
            </p:spPr>
            <p:txBody>
              <a:bodyPr rtlCol="0" anchor="ctr"/>
              <a:lstStyle/>
              <a:p>
                <a:endParaRPr lang="en-GB"/>
              </a:p>
            </p:txBody>
          </p:sp>
          <p:sp>
            <p:nvSpPr>
              <p:cNvPr id="8129" name="Vrije vorm: vorm 8128">
                <a:extLst>
                  <a:ext uri="{FF2B5EF4-FFF2-40B4-BE49-F238E27FC236}">
                    <a16:creationId xmlns:a16="http://schemas.microsoft.com/office/drawing/2014/main" id="{0B87ABCB-98F7-4150-9245-83A7F3AD3010}"/>
                  </a:ext>
                </a:extLst>
              </p:cNvPr>
              <p:cNvSpPr/>
              <p:nvPr/>
            </p:nvSpPr>
            <p:spPr>
              <a:xfrm>
                <a:off x="4361879" y="4593473"/>
                <a:ext cx="41566" cy="32953"/>
              </a:xfrm>
              <a:custGeom>
                <a:avLst/>
                <a:gdLst>
                  <a:gd name="connsiteX0" fmla="*/ 0 w 41566"/>
                  <a:gd name="connsiteY0" fmla="*/ 32953 h 32953"/>
                  <a:gd name="connsiteX1" fmla="*/ 41566 w 41566"/>
                  <a:gd name="connsiteY1" fmla="*/ 0 h 32953"/>
                </a:gdLst>
                <a:ahLst/>
                <a:cxnLst>
                  <a:cxn ang="0">
                    <a:pos x="connsiteX0" y="connsiteY0"/>
                  </a:cxn>
                  <a:cxn ang="0">
                    <a:pos x="connsiteX1" y="connsiteY1"/>
                  </a:cxn>
                </a:cxnLst>
                <a:rect l="l" t="t" r="r" b="b"/>
                <a:pathLst>
                  <a:path w="41566" h="32953">
                    <a:moveTo>
                      <a:pt x="0" y="32953"/>
                    </a:moveTo>
                    <a:cubicBezTo>
                      <a:pt x="13576" y="22188"/>
                      <a:pt x="27392" y="11184"/>
                      <a:pt x="41566" y="0"/>
                    </a:cubicBezTo>
                  </a:path>
                </a:pathLst>
              </a:custGeom>
              <a:noFill/>
              <a:ln w="6350" cap="rnd">
                <a:solidFill>
                  <a:schemeClr val="bg1">
                    <a:alpha val="80000"/>
                  </a:schemeClr>
                </a:solidFill>
                <a:prstDash val="solid"/>
                <a:miter/>
              </a:ln>
            </p:spPr>
            <p:txBody>
              <a:bodyPr rtlCol="0" anchor="ctr"/>
              <a:lstStyle/>
              <a:p>
                <a:endParaRPr lang="en-GB"/>
              </a:p>
            </p:txBody>
          </p:sp>
          <p:sp>
            <p:nvSpPr>
              <p:cNvPr id="8130" name="Vrije vorm: vorm 8129">
                <a:extLst>
                  <a:ext uri="{FF2B5EF4-FFF2-40B4-BE49-F238E27FC236}">
                    <a16:creationId xmlns:a16="http://schemas.microsoft.com/office/drawing/2014/main" id="{A454D6D2-B8FF-41CA-81E8-8AAAB3A908D9}"/>
                  </a:ext>
                </a:extLst>
              </p:cNvPr>
              <p:cNvSpPr/>
              <p:nvPr/>
            </p:nvSpPr>
            <p:spPr>
              <a:xfrm>
                <a:off x="4366485" y="4577505"/>
                <a:ext cx="39173" cy="30980"/>
              </a:xfrm>
              <a:custGeom>
                <a:avLst/>
                <a:gdLst>
                  <a:gd name="connsiteX0" fmla="*/ 0 w 39173"/>
                  <a:gd name="connsiteY0" fmla="*/ 30980 h 30980"/>
                  <a:gd name="connsiteX1" fmla="*/ 39174 w 39173"/>
                  <a:gd name="connsiteY1" fmla="*/ 0 h 30980"/>
                </a:gdLst>
                <a:ahLst/>
                <a:cxnLst>
                  <a:cxn ang="0">
                    <a:pos x="connsiteX0" y="connsiteY0"/>
                  </a:cxn>
                  <a:cxn ang="0">
                    <a:pos x="connsiteX1" y="connsiteY1"/>
                  </a:cxn>
                </a:cxnLst>
                <a:rect l="l" t="t" r="r" b="b"/>
                <a:pathLst>
                  <a:path w="39173" h="30980">
                    <a:moveTo>
                      <a:pt x="0" y="30980"/>
                    </a:moveTo>
                    <a:cubicBezTo>
                      <a:pt x="12799" y="20813"/>
                      <a:pt x="25896" y="10526"/>
                      <a:pt x="39174" y="0"/>
                    </a:cubicBezTo>
                  </a:path>
                </a:pathLst>
              </a:custGeom>
              <a:noFill/>
              <a:ln w="6350" cap="rnd">
                <a:solidFill>
                  <a:schemeClr val="bg1">
                    <a:alpha val="80000"/>
                  </a:schemeClr>
                </a:solidFill>
                <a:prstDash val="solid"/>
                <a:miter/>
              </a:ln>
            </p:spPr>
            <p:txBody>
              <a:bodyPr rtlCol="0" anchor="ctr"/>
              <a:lstStyle/>
              <a:p>
                <a:endParaRPr lang="en-GB"/>
              </a:p>
            </p:txBody>
          </p:sp>
          <p:sp>
            <p:nvSpPr>
              <p:cNvPr id="8131" name="Vrije vorm: vorm 8130">
                <a:extLst>
                  <a:ext uri="{FF2B5EF4-FFF2-40B4-BE49-F238E27FC236}">
                    <a16:creationId xmlns:a16="http://schemas.microsoft.com/office/drawing/2014/main" id="{CDE325D6-F56C-44DA-8137-4E87CEBC5630}"/>
                  </a:ext>
                </a:extLst>
              </p:cNvPr>
              <p:cNvSpPr/>
              <p:nvPr/>
            </p:nvSpPr>
            <p:spPr>
              <a:xfrm>
                <a:off x="4370133" y="4563629"/>
                <a:ext cx="37439" cy="29544"/>
              </a:xfrm>
              <a:custGeom>
                <a:avLst/>
                <a:gdLst>
                  <a:gd name="connsiteX0" fmla="*/ 0 w 37439"/>
                  <a:gd name="connsiteY0" fmla="*/ 29545 h 29544"/>
                  <a:gd name="connsiteX1" fmla="*/ 37439 w 37439"/>
                  <a:gd name="connsiteY1" fmla="*/ 0 h 29544"/>
                </a:gdLst>
                <a:ahLst/>
                <a:cxnLst>
                  <a:cxn ang="0">
                    <a:pos x="connsiteX0" y="connsiteY0"/>
                  </a:cxn>
                  <a:cxn ang="0">
                    <a:pos x="connsiteX1" y="connsiteY1"/>
                  </a:cxn>
                </a:cxnLst>
                <a:rect l="l" t="t" r="r" b="b"/>
                <a:pathLst>
                  <a:path w="37439" h="29544">
                    <a:moveTo>
                      <a:pt x="0" y="29545"/>
                    </a:moveTo>
                    <a:cubicBezTo>
                      <a:pt x="12260" y="19856"/>
                      <a:pt x="24760" y="9988"/>
                      <a:pt x="37439" y="0"/>
                    </a:cubicBezTo>
                  </a:path>
                </a:pathLst>
              </a:custGeom>
              <a:noFill/>
              <a:ln w="6350" cap="rnd">
                <a:solidFill>
                  <a:schemeClr val="bg1">
                    <a:alpha val="80000"/>
                  </a:schemeClr>
                </a:solidFill>
                <a:prstDash val="solid"/>
                <a:miter/>
              </a:ln>
            </p:spPr>
            <p:txBody>
              <a:bodyPr rtlCol="0" anchor="ctr"/>
              <a:lstStyle/>
              <a:p>
                <a:endParaRPr lang="en-GB"/>
              </a:p>
            </p:txBody>
          </p:sp>
          <p:sp>
            <p:nvSpPr>
              <p:cNvPr id="8132" name="Vrije vorm: vorm 8131">
                <a:extLst>
                  <a:ext uri="{FF2B5EF4-FFF2-40B4-BE49-F238E27FC236}">
                    <a16:creationId xmlns:a16="http://schemas.microsoft.com/office/drawing/2014/main" id="{34FDAB94-2BC1-4B99-A8AE-52681F73DD70}"/>
                  </a:ext>
                </a:extLst>
              </p:cNvPr>
              <p:cNvSpPr/>
              <p:nvPr/>
            </p:nvSpPr>
            <p:spPr>
              <a:xfrm>
                <a:off x="4373303" y="4549934"/>
                <a:ext cx="36721" cy="28886"/>
              </a:xfrm>
              <a:custGeom>
                <a:avLst/>
                <a:gdLst>
                  <a:gd name="connsiteX0" fmla="*/ 0 w 36721"/>
                  <a:gd name="connsiteY0" fmla="*/ 28887 h 28886"/>
                  <a:gd name="connsiteX1" fmla="*/ 36721 w 36721"/>
                  <a:gd name="connsiteY1" fmla="*/ 0 h 28886"/>
                </a:gdLst>
                <a:ahLst/>
                <a:cxnLst>
                  <a:cxn ang="0">
                    <a:pos x="connsiteX0" y="connsiteY0"/>
                  </a:cxn>
                  <a:cxn ang="0">
                    <a:pos x="connsiteX1" y="connsiteY1"/>
                  </a:cxn>
                </a:cxnLst>
                <a:rect l="l" t="t" r="r" b="b"/>
                <a:pathLst>
                  <a:path w="36721" h="28886">
                    <a:moveTo>
                      <a:pt x="0" y="28887"/>
                    </a:moveTo>
                    <a:cubicBezTo>
                      <a:pt x="12021" y="19377"/>
                      <a:pt x="24282" y="9808"/>
                      <a:pt x="36721" y="0"/>
                    </a:cubicBezTo>
                  </a:path>
                </a:pathLst>
              </a:custGeom>
              <a:noFill/>
              <a:ln w="6350" cap="rnd">
                <a:solidFill>
                  <a:schemeClr val="bg1">
                    <a:alpha val="80000"/>
                  </a:schemeClr>
                </a:solidFill>
                <a:prstDash val="solid"/>
                <a:miter/>
              </a:ln>
            </p:spPr>
            <p:txBody>
              <a:bodyPr rtlCol="0" anchor="ctr"/>
              <a:lstStyle/>
              <a:p>
                <a:endParaRPr lang="en-GB"/>
              </a:p>
            </p:txBody>
          </p:sp>
          <p:sp>
            <p:nvSpPr>
              <p:cNvPr id="8133" name="Vrije vorm: vorm 8132">
                <a:extLst>
                  <a:ext uri="{FF2B5EF4-FFF2-40B4-BE49-F238E27FC236}">
                    <a16:creationId xmlns:a16="http://schemas.microsoft.com/office/drawing/2014/main" id="{94C26F24-D1ED-4179-BD3D-C112C2B90521}"/>
                  </a:ext>
                </a:extLst>
              </p:cNvPr>
              <p:cNvSpPr/>
              <p:nvPr/>
            </p:nvSpPr>
            <p:spPr>
              <a:xfrm>
                <a:off x="4376771" y="4537195"/>
                <a:ext cx="36063" cy="28288"/>
              </a:xfrm>
              <a:custGeom>
                <a:avLst/>
                <a:gdLst>
                  <a:gd name="connsiteX0" fmla="*/ 0 w 36063"/>
                  <a:gd name="connsiteY0" fmla="*/ 28289 h 28288"/>
                  <a:gd name="connsiteX1" fmla="*/ 36064 w 36063"/>
                  <a:gd name="connsiteY1" fmla="*/ 0 h 28288"/>
                </a:gdLst>
                <a:ahLst/>
                <a:cxnLst>
                  <a:cxn ang="0">
                    <a:pos x="connsiteX0" y="connsiteY0"/>
                  </a:cxn>
                  <a:cxn ang="0">
                    <a:pos x="connsiteX1" y="connsiteY1"/>
                  </a:cxn>
                </a:cxnLst>
                <a:rect l="l" t="t" r="r" b="b"/>
                <a:pathLst>
                  <a:path w="36063" h="28288">
                    <a:moveTo>
                      <a:pt x="0" y="28289"/>
                    </a:moveTo>
                    <a:cubicBezTo>
                      <a:pt x="11842" y="18959"/>
                      <a:pt x="23863" y="9569"/>
                      <a:pt x="36064" y="0"/>
                    </a:cubicBezTo>
                  </a:path>
                </a:pathLst>
              </a:custGeom>
              <a:noFill/>
              <a:ln w="6350" cap="rnd">
                <a:solidFill>
                  <a:schemeClr val="bg1">
                    <a:alpha val="80000"/>
                  </a:schemeClr>
                </a:solidFill>
                <a:prstDash val="solid"/>
                <a:miter/>
              </a:ln>
            </p:spPr>
            <p:txBody>
              <a:bodyPr rtlCol="0" anchor="ctr"/>
              <a:lstStyle/>
              <a:p>
                <a:endParaRPr lang="en-GB"/>
              </a:p>
            </p:txBody>
          </p:sp>
          <p:sp>
            <p:nvSpPr>
              <p:cNvPr id="8134" name="Vrije vorm: vorm 8133">
                <a:extLst>
                  <a:ext uri="{FF2B5EF4-FFF2-40B4-BE49-F238E27FC236}">
                    <a16:creationId xmlns:a16="http://schemas.microsoft.com/office/drawing/2014/main" id="{73A24EFB-6B7A-4144-8DC7-879843897EA0}"/>
                  </a:ext>
                </a:extLst>
              </p:cNvPr>
              <p:cNvSpPr/>
              <p:nvPr/>
            </p:nvSpPr>
            <p:spPr>
              <a:xfrm>
                <a:off x="4302910" y="4658663"/>
                <a:ext cx="36841" cy="29544"/>
              </a:xfrm>
              <a:custGeom>
                <a:avLst/>
                <a:gdLst>
                  <a:gd name="connsiteX0" fmla="*/ 0 w 36841"/>
                  <a:gd name="connsiteY0" fmla="*/ 29545 h 29544"/>
                  <a:gd name="connsiteX1" fmla="*/ 36841 w 36841"/>
                  <a:gd name="connsiteY1" fmla="*/ 0 h 29544"/>
                </a:gdLst>
                <a:ahLst/>
                <a:cxnLst>
                  <a:cxn ang="0">
                    <a:pos x="connsiteX0" y="connsiteY0"/>
                  </a:cxn>
                  <a:cxn ang="0">
                    <a:pos x="connsiteX1" y="connsiteY1"/>
                  </a:cxn>
                </a:cxnLst>
                <a:rect l="l" t="t" r="r" b="b"/>
                <a:pathLst>
                  <a:path w="36841" h="29544">
                    <a:moveTo>
                      <a:pt x="0" y="29545"/>
                    </a:moveTo>
                    <a:cubicBezTo>
                      <a:pt x="11961" y="19916"/>
                      <a:pt x="24222" y="10048"/>
                      <a:pt x="36841" y="0"/>
                    </a:cubicBezTo>
                  </a:path>
                </a:pathLst>
              </a:custGeom>
              <a:noFill/>
              <a:ln w="6350" cap="rnd">
                <a:solidFill>
                  <a:schemeClr val="bg1">
                    <a:alpha val="80000"/>
                  </a:schemeClr>
                </a:solidFill>
                <a:prstDash val="solid"/>
                <a:miter/>
              </a:ln>
            </p:spPr>
            <p:txBody>
              <a:bodyPr rtlCol="0" anchor="ctr"/>
              <a:lstStyle/>
              <a:p>
                <a:endParaRPr lang="en-GB"/>
              </a:p>
            </p:txBody>
          </p:sp>
          <p:sp>
            <p:nvSpPr>
              <p:cNvPr id="8135" name="Vrije vorm: vorm 8134">
                <a:extLst>
                  <a:ext uri="{FF2B5EF4-FFF2-40B4-BE49-F238E27FC236}">
                    <a16:creationId xmlns:a16="http://schemas.microsoft.com/office/drawing/2014/main" id="{A1589C9A-50CF-4B20-8A93-90D028CFADCE}"/>
                  </a:ext>
                </a:extLst>
              </p:cNvPr>
              <p:cNvSpPr/>
              <p:nvPr/>
            </p:nvSpPr>
            <p:spPr>
              <a:xfrm>
                <a:off x="4308412" y="4641200"/>
                <a:ext cx="34867" cy="27870"/>
              </a:xfrm>
              <a:custGeom>
                <a:avLst/>
                <a:gdLst>
                  <a:gd name="connsiteX0" fmla="*/ 0 w 34867"/>
                  <a:gd name="connsiteY0" fmla="*/ 27870 h 27870"/>
                  <a:gd name="connsiteX1" fmla="*/ 34868 w 34867"/>
                  <a:gd name="connsiteY1" fmla="*/ 0 h 27870"/>
                </a:gdLst>
                <a:ahLst/>
                <a:cxnLst>
                  <a:cxn ang="0">
                    <a:pos x="connsiteX0" y="connsiteY0"/>
                  </a:cxn>
                  <a:cxn ang="0">
                    <a:pos x="connsiteX1" y="connsiteY1"/>
                  </a:cxn>
                </a:cxnLst>
                <a:rect l="l" t="t" r="r" b="b"/>
                <a:pathLst>
                  <a:path w="34867" h="27870">
                    <a:moveTo>
                      <a:pt x="0" y="27870"/>
                    </a:moveTo>
                    <a:cubicBezTo>
                      <a:pt x="11364" y="18780"/>
                      <a:pt x="23026" y="9450"/>
                      <a:pt x="34868" y="0"/>
                    </a:cubicBezTo>
                  </a:path>
                </a:pathLst>
              </a:custGeom>
              <a:noFill/>
              <a:ln w="6350" cap="rnd">
                <a:solidFill>
                  <a:schemeClr val="bg1">
                    <a:alpha val="80000"/>
                  </a:schemeClr>
                </a:solidFill>
                <a:prstDash val="solid"/>
                <a:miter/>
              </a:ln>
            </p:spPr>
            <p:txBody>
              <a:bodyPr rtlCol="0" anchor="ctr"/>
              <a:lstStyle/>
              <a:p>
                <a:endParaRPr lang="en-GB"/>
              </a:p>
            </p:txBody>
          </p:sp>
          <p:sp>
            <p:nvSpPr>
              <p:cNvPr id="8136" name="Vrije vorm: vorm 8135">
                <a:extLst>
                  <a:ext uri="{FF2B5EF4-FFF2-40B4-BE49-F238E27FC236}">
                    <a16:creationId xmlns:a16="http://schemas.microsoft.com/office/drawing/2014/main" id="{E07EED6D-3A04-4D3A-9CF4-5EF51192DC71}"/>
                  </a:ext>
                </a:extLst>
              </p:cNvPr>
              <p:cNvSpPr/>
              <p:nvPr/>
            </p:nvSpPr>
            <p:spPr>
              <a:xfrm>
                <a:off x="4313914" y="4623257"/>
                <a:ext cx="33970" cy="27032"/>
              </a:xfrm>
              <a:custGeom>
                <a:avLst/>
                <a:gdLst>
                  <a:gd name="connsiteX0" fmla="*/ 0 w 33970"/>
                  <a:gd name="connsiteY0" fmla="*/ 27033 h 27032"/>
                  <a:gd name="connsiteX1" fmla="*/ 33971 w 33970"/>
                  <a:gd name="connsiteY1" fmla="*/ 0 h 27032"/>
                </a:gdLst>
                <a:ahLst/>
                <a:cxnLst>
                  <a:cxn ang="0">
                    <a:pos x="connsiteX0" y="connsiteY0"/>
                  </a:cxn>
                  <a:cxn ang="0">
                    <a:pos x="connsiteX1" y="connsiteY1"/>
                  </a:cxn>
                </a:cxnLst>
                <a:rect l="l" t="t" r="r" b="b"/>
                <a:pathLst>
                  <a:path w="33970" h="27032">
                    <a:moveTo>
                      <a:pt x="0" y="27033"/>
                    </a:moveTo>
                    <a:cubicBezTo>
                      <a:pt x="11065" y="18181"/>
                      <a:pt x="22428" y="9150"/>
                      <a:pt x="33971" y="0"/>
                    </a:cubicBezTo>
                  </a:path>
                </a:pathLst>
              </a:custGeom>
              <a:noFill/>
              <a:ln w="6350" cap="rnd">
                <a:solidFill>
                  <a:schemeClr val="bg1">
                    <a:alpha val="80000"/>
                  </a:schemeClr>
                </a:solidFill>
                <a:prstDash val="solid"/>
                <a:miter/>
              </a:ln>
            </p:spPr>
            <p:txBody>
              <a:bodyPr rtlCol="0" anchor="ctr"/>
              <a:lstStyle/>
              <a:p>
                <a:endParaRPr lang="en-GB"/>
              </a:p>
            </p:txBody>
          </p:sp>
          <p:sp>
            <p:nvSpPr>
              <p:cNvPr id="8137" name="Vrije vorm: vorm 8136">
                <a:extLst>
                  <a:ext uri="{FF2B5EF4-FFF2-40B4-BE49-F238E27FC236}">
                    <a16:creationId xmlns:a16="http://schemas.microsoft.com/office/drawing/2014/main" id="{B76D2276-1BF7-4238-A3F4-71A408CC6B6C}"/>
                  </a:ext>
                </a:extLst>
              </p:cNvPr>
              <p:cNvSpPr/>
              <p:nvPr/>
            </p:nvSpPr>
            <p:spPr>
              <a:xfrm>
                <a:off x="4317921" y="4607408"/>
                <a:ext cx="34269" cy="27152"/>
              </a:xfrm>
              <a:custGeom>
                <a:avLst/>
                <a:gdLst>
                  <a:gd name="connsiteX0" fmla="*/ 0 w 34269"/>
                  <a:gd name="connsiteY0" fmla="*/ 27153 h 27152"/>
                  <a:gd name="connsiteX1" fmla="*/ 34269 w 34269"/>
                  <a:gd name="connsiteY1" fmla="*/ 0 h 27152"/>
                </a:gdLst>
                <a:ahLst/>
                <a:cxnLst>
                  <a:cxn ang="0">
                    <a:pos x="connsiteX0" y="connsiteY0"/>
                  </a:cxn>
                  <a:cxn ang="0">
                    <a:pos x="connsiteX1" y="connsiteY1"/>
                  </a:cxn>
                </a:cxnLst>
                <a:rect l="l" t="t" r="r" b="b"/>
                <a:pathLst>
                  <a:path w="34269" h="27152">
                    <a:moveTo>
                      <a:pt x="0" y="27153"/>
                    </a:moveTo>
                    <a:cubicBezTo>
                      <a:pt x="11184" y="18241"/>
                      <a:pt x="22607" y="9211"/>
                      <a:pt x="34269" y="0"/>
                    </a:cubicBezTo>
                  </a:path>
                </a:pathLst>
              </a:custGeom>
              <a:noFill/>
              <a:ln w="6350" cap="rnd">
                <a:solidFill>
                  <a:schemeClr val="bg1">
                    <a:alpha val="80000"/>
                  </a:schemeClr>
                </a:solidFill>
                <a:prstDash val="solid"/>
                <a:miter/>
              </a:ln>
            </p:spPr>
            <p:txBody>
              <a:bodyPr rtlCol="0" anchor="ctr"/>
              <a:lstStyle/>
              <a:p>
                <a:endParaRPr lang="en-GB"/>
              </a:p>
            </p:txBody>
          </p:sp>
          <p:sp>
            <p:nvSpPr>
              <p:cNvPr id="8138" name="Vrije vorm: vorm 8137">
                <a:extLst>
                  <a:ext uri="{FF2B5EF4-FFF2-40B4-BE49-F238E27FC236}">
                    <a16:creationId xmlns:a16="http://schemas.microsoft.com/office/drawing/2014/main" id="{CE84B9C5-BF0D-4C91-89AD-4ABEE898A3FE}"/>
                  </a:ext>
                </a:extLst>
              </p:cNvPr>
              <p:cNvSpPr/>
              <p:nvPr/>
            </p:nvSpPr>
            <p:spPr>
              <a:xfrm>
                <a:off x="4323364" y="4592756"/>
                <a:ext cx="32296" cy="25537"/>
              </a:xfrm>
              <a:custGeom>
                <a:avLst/>
                <a:gdLst>
                  <a:gd name="connsiteX0" fmla="*/ 0 w 32296"/>
                  <a:gd name="connsiteY0" fmla="*/ 25537 h 25537"/>
                  <a:gd name="connsiteX1" fmla="*/ 32296 w 32296"/>
                  <a:gd name="connsiteY1" fmla="*/ 0 h 25537"/>
                </a:gdLst>
                <a:ahLst/>
                <a:cxnLst>
                  <a:cxn ang="0">
                    <a:pos x="connsiteX0" y="connsiteY0"/>
                  </a:cxn>
                  <a:cxn ang="0">
                    <a:pos x="connsiteX1" y="connsiteY1"/>
                  </a:cxn>
                </a:cxnLst>
                <a:rect l="l" t="t" r="r" b="b"/>
                <a:pathLst>
                  <a:path w="32296" h="25537">
                    <a:moveTo>
                      <a:pt x="0" y="25537"/>
                    </a:moveTo>
                    <a:cubicBezTo>
                      <a:pt x="10586" y="17165"/>
                      <a:pt x="21351" y="8612"/>
                      <a:pt x="32296" y="0"/>
                    </a:cubicBezTo>
                  </a:path>
                </a:pathLst>
              </a:custGeom>
              <a:noFill/>
              <a:ln w="6350" cap="rnd">
                <a:solidFill>
                  <a:schemeClr val="bg1">
                    <a:alpha val="80000"/>
                  </a:schemeClr>
                </a:solidFill>
                <a:prstDash val="solid"/>
                <a:miter/>
              </a:ln>
            </p:spPr>
            <p:txBody>
              <a:bodyPr rtlCol="0" anchor="ctr"/>
              <a:lstStyle/>
              <a:p>
                <a:endParaRPr lang="en-GB"/>
              </a:p>
            </p:txBody>
          </p:sp>
          <p:sp>
            <p:nvSpPr>
              <p:cNvPr id="8139" name="Vrije vorm: vorm 8138">
                <a:extLst>
                  <a:ext uri="{FF2B5EF4-FFF2-40B4-BE49-F238E27FC236}">
                    <a16:creationId xmlns:a16="http://schemas.microsoft.com/office/drawing/2014/main" id="{1DC08616-FA18-447F-8D42-2A99EE2E98F4}"/>
                  </a:ext>
                </a:extLst>
              </p:cNvPr>
              <p:cNvSpPr/>
              <p:nvPr/>
            </p:nvSpPr>
            <p:spPr>
              <a:xfrm>
                <a:off x="4327789" y="4579239"/>
                <a:ext cx="31458" cy="24819"/>
              </a:xfrm>
              <a:custGeom>
                <a:avLst/>
                <a:gdLst>
                  <a:gd name="connsiteX0" fmla="*/ 0 w 31458"/>
                  <a:gd name="connsiteY0" fmla="*/ 24820 h 24819"/>
                  <a:gd name="connsiteX1" fmla="*/ 31459 w 31458"/>
                  <a:gd name="connsiteY1" fmla="*/ 0 h 24819"/>
                </a:gdLst>
                <a:ahLst/>
                <a:cxnLst>
                  <a:cxn ang="0">
                    <a:pos x="connsiteX0" y="connsiteY0"/>
                  </a:cxn>
                  <a:cxn ang="0">
                    <a:pos x="connsiteX1" y="connsiteY1"/>
                  </a:cxn>
                </a:cxnLst>
                <a:rect l="l" t="t" r="r" b="b"/>
                <a:pathLst>
                  <a:path w="31458" h="24819">
                    <a:moveTo>
                      <a:pt x="0" y="24820"/>
                    </a:moveTo>
                    <a:cubicBezTo>
                      <a:pt x="10287" y="16686"/>
                      <a:pt x="20813" y="8373"/>
                      <a:pt x="31459" y="0"/>
                    </a:cubicBezTo>
                  </a:path>
                </a:pathLst>
              </a:custGeom>
              <a:noFill/>
              <a:ln w="6350" cap="rnd">
                <a:solidFill>
                  <a:schemeClr val="bg1">
                    <a:alpha val="80000"/>
                  </a:schemeClr>
                </a:solidFill>
                <a:prstDash val="solid"/>
                <a:miter/>
              </a:ln>
            </p:spPr>
            <p:txBody>
              <a:bodyPr rtlCol="0" anchor="ctr"/>
              <a:lstStyle/>
              <a:p>
                <a:endParaRPr lang="en-GB"/>
              </a:p>
            </p:txBody>
          </p:sp>
          <p:sp>
            <p:nvSpPr>
              <p:cNvPr id="8140" name="Vrije vorm: vorm 8139">
                <a:extLst>
                  <a:ext uri="{FF2B5EF4-FFF2-40B4-BE49-F238E27FC236}">
                    <a16:creationId xmlns:a16="http://schemas.microsoft.com/office/drawing/2014/main" id="{C6F329BD-C8EF-49E2-9A8E-2477DCBBCA32}"/>
                  </a:ext>
                </a:extLst>
              </p:cNvPr>
              <p:cNvSpPr/>
              <p:nvPr/>
            </p:nvSpPr>
            <p:spPr>
              <a:xfrm>
                <a:off x="4248485" y="4705492"/>
                <a:ext cx="33073" cy="26853"/>
              </a:xfrm>
              <a:custGeom>
                <a:avLst/>
                <a:gdLst>
                  <a:gd name="connsiteX0" fmla="*/ 0 w 33073"/>
                  <a:gd name="connsiteY0" fmla="*/ 26853 h 26853"/>
                  <a:gd name="connsiteX1" fmla="*/ 33074 w 33073"/>
                  <a:gd name="connsiteY1" fmla="*/ 0 h 26853"/>
                </a:gdLst>
                <a:ahLst/>
                <a:cxnLst>
                  <a:cxn ang="0">
                    <a:pos x="connsiteX0" y="connsiteY0"/>
                  </a:cxn>
                  <a:cxn ang="0">
                    <a:pos x="connsiteX1" y="connsiteY1"/>
                  </a:cxn>
                </a:cxnLst>
                <a:rect l="l" t="t" r="r" b="b"/>
                <a:pathLst>
                  <a:path w="33073" h="26853">
                    <a:moveTo>
                      <a:pt x="0" y="26853"/>
                    </a:moveTo>
                    <a:cubicBezTo>
                      <a:pt x="10706" y="18121"/>
                      <a:pt x="21710" y="9150"/>
                      <a:pt x="33074" y="0"/>
                    </a:cubicBezTo>
                  </a:path>
                </a:pathLst>
              </a:custGeom>
              <a:noFill/>
              <a:ln w="6350" cap="rnd">
                <a:solidFill>
                  <a:schemeClr val="bg1">
                    <a:alpha val="80000"/>
                  </a:schemeClr>
                </a:solidFill>
                <a:prstDash val="solid"/>
                <a:miter/>
              </a:ln>
            </p:spPr>
            <p:txBody>
              <a:bodyPr rtlCol="0" anchor="ctr"/>
              <a:lstStyle/>
              <a:p>
                <a:endParaRPr lang="en-GB"/>
              </a:p>
            </p:txBody>
          </p:sp>
          <p:sp>
            <p:nvSpPr>
              <p:cNvPr id="8141" name="Vrije vorm: vorm 8140">
                <a:extLst>
                  <a:ext uri="{FF2B5EF4-FFF2-40B4-BE49-F238E27FC236}">
                    <a16:creationId xmlns:a16="http://schemas.microsoft.com/office/drawing/2014/main" id="{79B242AC-E8C9-4BF2-BADB-9944CB12D879}"/>
                  </a:ext>
                </a:extLst>
              </p:cNvPr>
              <p:cNvSpPr/>
              <p:nvPr/>
            </p:nvSpPr>
            <p:spPr>
              <a:xfrm>
                <a:off x="4255064" y="4686115"/>
                <a:ext cx="32116" cy="26015"/>
              </a:xfrm>
              <a:custGeom>
                <a:avLst/>
                <a:gdLst>
                  <a:gd name="connsiteX0" fmla="*/ 0 w 32116"/>
                  <a:gd name="connsiteY0" fmla="*/ 26016 h 26015"/>
                  <a:gd name="connsiteX1" fmla="*/ 32116 w 32116"/>
                  <a:gd name="connsiteY1" fmla="*/ 0 h 26015"/>
                </a:gdLst>
                <a:ahLst/>
                <a:cxnLst>
                  <a:cxn ang="0">
                    <a:pos x="connsiteX0" y="connsiteY0"/>
                  </a:cxn>
                  <a:cxn ang="0">
                    <a:pos x="connsiteX1" y="connsiteY1"/>
                  </a:cxn>
                </a:cxnLst>
                <a:rect l="l" t="t" r="r" b="b"/>
                <a:pathLst>
                  <a:path w="32116" h="26015">
                    <a:moveTo>
                      <a:pt x="0" y="26016"/>
                    </a:moveTo>
                    <a:cubicBezTo>
                      <a:pt x="10406" y="17583"/>
                      <a:pt x="21112" y="8911"/>
                      <a:pt x="32116" y="0"/>
                    </a:cubicBezTo>
                  </a:path>
                </a:pathLst>
              </a:custGeom>
              <a:noFill/>
              <a:ln w="6350" cap="rnd">
                <a:solidFill>
                  <a:schemeClr val="bg1">
                    <a:alpha val="80000"/>
                  </a:schemeClr>
                </a:solidFill>
                <a:prstDash val="solid"/>
                <a:miter/>
              </a:ln>
            </p:spPr>
            <p:txBody>
              <a:bodyPr rtlCol="0" anchor="ctr"/>
              <a:lstStyle/>
              <a:p>
                <a:endParaRPr lang="en-GB"/>
              </a:p>
            </p:txBody>
          </p:sp>
          <p:sp>
            <p:nvSpPr>
              <p:cNvPr id="8142" name="Vrije vorm: vorm 8141">
                <a:extLst>
                  <a:ext uri="{FF2B5EF4-FFF2-40B4-BE49-F238E27FC236}">
                    <a16:creationId xmlns:a16="http://schemas.microsoft.com/office/drawing/2014/main" id="{C5748427-A9E1-4305-BE9A-6324DB27DD8C}"/>
                  </a:ext>
                </a:extLst>
              </p:cNvPr>
              <p:cNvSpPr/>
              <p:nvPr/>
            </p:nvSpPr>
            <p:spPr>
              <a:xfrm>
                <a:off x="4262420" y="4667156"/>
                <a:ext cx="30442" cy="24521"/>
              </a:xfrm>
              <a:custGeom>
                <a:avLst/>
                <a:gdLst>
                  <a:gd name="connsiteX0" fmla="*/ 0 w 30442"/>
                  <a:gd name="connsiteY0" fmla="*/ 24521 h 24521"/>
                  <a:gd name="connsiteX1" fmla="*/ 30442 w 30442"/>
                  <a:gd name="connsiteY1" fmla="*/ 0 h 24521"/>
                </a:gdLst>
                <a:ahLst/>
                <a:cxnLst>
                  <a:cxn ang="0">
                    <a:pos x="connsiteX0" y="connsiteY0"/>
                  </a:cxn>
                  <a:cxn ang="0">
                    <a:pos x="connsiteX1" y="connsiteY1"/>
                  </a:cxn>
                </a:cxnLst>
                <a:rect l="l" t="t" r="r" b="b"/>
                <a:pathLst>
                  <a:path w="30442" h="24521">
                    <a:moveTo>
                      <a:pt x="0" y="24521"/>
                    </a:moveTo>
                    <a:cubicBezTo>
                      <a:pt x="9928" y="16507"/>
                      <a:pt x="20036" y="8313"/>
                      <a:pt x="30442" y="0"/>
                    </a:cubicBezTo>
                  </a:path>
                </a:pathLst>
              </a:custGeom>
              <a:noFill/>
              <a:ln w="6350" cap="rnd">
                <a:solidFill>
                  <a:schemeClr val="bg1">
                    <a:alpha val="80000"/>
                  </a:schemeClr>
                </a:solidFill>
                <a:prstDash val="solid"/>
                <a:miter/>
              </a:ln>
            </p:spPr>
            <p:txBody>
              <a:bodyPr rtlCol="0" anchor="ctr"/>
              <a:lstStyle/>
              <a:p>
                <a:endParaRPr lang="en-GB"/>
              </a:p>
            </p:txBody>
          </p:sp>
          <p:sp>
            <p:nvSpPr>
              <p:cNvPr id="8143" name="Vrije vorm: vorm 8142">
                <a:extLst>
                  <a:ext uri="{FF2B5EF4-FFF2-40B4-BE49-F238E27FC236}">
                    <a16:creationId xmlns:a16="http://schemas.microsoft.com/office/drawing/2014/main" id="{4D6AD12D-8072-4D16-9EC4-102C3549E5FA}"/>
                  </a:ext>
                </a:extLst>
              </p:cNvPr>
              <p:cNvSpPr/>
              <p:nvPr/>
            </p:nvSpPr>
            <p:spPr>
              <a:xfrm>
                <a:off x="4268162" y="4650529"/>
                <a:ext cx="29783" cy="23863"/>
              </a:xfrm>
              <a:custGeom>
                <a:avLst/>
                <a:gdLst>
                  <a:gd name="connsiteX0" fmla="*/ 0 w 29783"/>
                  <a:gd name="connsiteY0" fmla="*/ 23863 h 23863"/>
                  <a:gd name="connsiteX1" fmla="*/ 29784 w 29783"/>
                  <a:gd name="connsiteY1" fmla="*/ 0 h 23863"/>
                </a:gdLst>
                <a:ahLst/>
                <a:cxnLst>
                  <a:cxn ang="0">
                    <a:pos x="connsiteX0" y="connsiteY0"/>
                  </a:cxn>
                  <a:cxn ang="0">
                    <a:pos x="connsiteX1" y="connsiteY1"/>
                  </a:cxn>
                </a:cxnLst>
                <a:rect l="l" t="t" r="r" b="b"/>
                <a:pathLst>
                  <a:path w="29783" h="23863">
                    <a:moveTo>
                      <a:pt x="0" y="23863"/>
                    </a:moveTo>
                    <a:cubicBezTo>
                      <a:pt x="9689" y="16028"/>
                      <a:pt x="19617" y="8074"/>
                      <a:pt x="29784" y="0"/>
                    </a:cubicBezTo>
                  </a:path>
                </a:pathLst>
              </a:custGeom>
              <a:noFill/>
              <a:ln w="6350" cap="rnd">
                <a:solidFill>
                  <a:schemeClr val="bg1">
                    <a:alpha val="80000"/>
                  </a:schemeClr>
                </a:solidFill>
                <a:prstDash val="solid"/>
                <a:miter/>
              </a:ln>
            </p:spPr>
            <p:txBody>
              <a:bodyPr rtlCol="0" anchor="ctr"/>
              <a:lstStyle/>
              <a:p>
                <a:endParaRPr lang="en-GB"/>
              </a:p>
            </p:txBody>
          </p:sp>
          <p:sp>
            <p:nvSpPr>
              <p:cNvPr id="8144" name="Vrije vorm: vorm 8143">
                <a:extLst>
                  <a:ext uri="{FF2B5EF4-FFF2-40B4-BE49-F238E27FC236}">
                    <a16:creationId xmlns:a16="http://schemas.microsoft.com/office/drawing/2014/main" id="{E0B6900B-9366-4D6A-A4BE-BE86B61FC47D}"/>
                  </a:ext>
                </a:extLst>
              </p:cNvPr>
              <p:cNvSpPr/>
              <p:nvPr/>
            </p:nvSpPr>
            <p:spPr>
              <a:xfrm>
                <a:off x="4274800" y="4634082"/>
                <a:ext cx="28647" cy="22906"/>
              </a:xfrm>
              <a:custGeom>
                <a:avLst/>
                <a:gdLst>
                  <a:gd name="connsiteX0" fmla="*/ 0 w 28647"/>
                  <a:gd name="connsiteY0" fmla="*/ 22906 h 22906"/>
                  <a:gd name="connsiteX1" fmla="*/ 28648 w 28647"/>
                  <a:gd name="connsiteY1" fmla="*/ 0 h 22906"/>
                </a:gdLst>
                <a:ahLst/>
                <a:cxnLst>
                  <a:cxn ang="0">
                    <a:pos x="connsiteX0" y="connsiteY0"/>
                  </a:cxn>
                  <a:cxn ang="0">
                    <a:pos x="connsiteX1" y="connsiteY1"/>
                  </a:cxn>
                </a:cxnLst>
                <a:rect l="l" t="t" r="r" b="b"/>
                <a:pathLst>
                  <a:path w="28647" h="22906">
                    <a:moveTo>
                      <a:pt x="0" y="22906"/>
                    </a:moveTo>
                    <a:cubicBezTo>
                      <a:pt x="9390" y="15370"/>
                      <a:pt x="18899" y="7775"/>
                      <a:pt x="28648" y="0"/>
                    </a:cubicBezTo>
                  </a:path>
                </a:pathLst>
              </a:custGeom>
              <a:noFill/>
              <a:ln w="6350" cap="rnd">
                <a:solidFill>
                  <a:schemeClr val="bg1">
                    <a:alpha val="80000"/>
                  </a:schemeClr>
                </a:solidFill>
                <a:prstDash val="solid"/>
                <a:miter/>
              </a:ln>
            </p:spPr>
            <p:txBody>
              <a:bodyPr rtlCol="0" anchor="ctr"/>
              <a:lstStyle/>
              <a:p>
                <a:endParaRPr lang="en-GB"/>
              </a:p>
            </p:txBody>
          </p:sp>
          <p:sp>
            <p:nvSpPr>
              <p:cNvPr id="8145" name="Vrije vorm: vorm 8144">
                <a:extLst>
                  <a:ext uri="{FF2B5EF4-FFF2-40B4-BE49-F238E27FC236}">
                    <a16:creationId xmlns:a16="http://schemas.microsoft.com/office/drawing/2014/main" id="{DA389F9E-7C7C-4836-B7DA-07AD08C36F1E}"/>
                  </a:ext>
                </a:extLst>
              </p:cNvPr>
              <p:cNvSpPr/>
              <p:nvPr/>
            </p:nvSpPr>
            <p:spPr>
              <a:xfrm>
                <a:off x="4281319" y="4619609"/>
                <a:ext cx="26793" cy="21351"/>
              </a:xfrm>
              <a:custGeom>
                <a:avLst/>
                <a:gdLst>
                  <a:gd name="connsiteX0" fmla="*/ 0 w 26793"/>
                  <a:gd name="connsiteY0" fmla="*/ 21351 h 21351"/>
                  <a:gd name="connsiteX1" fmla="*/ 26794 w 26793"/>
                  <a:gd name="connsiteY1" fmla="*/ 0 h 21351"/>
                </a:gdLst>
                <a:ahLst/>
                <a:cxnLst>
                  <a:cxn ang="0">
                    <a:pos x="connsiteX0" y="connsiteY0"/>
                  </a:cxn>
                  <a:cxn ang="0">
                    <a:pos x="connsiteX1" y="connsiteY1"/>
                  </a:cxn>
                </a:cxnLst>
                <a:rect l="l" t="t" r="r" b="b"/>
                <a:pathLst>
                  <a:path w="26793" h="21351">
                    <a:moveTo>
                      <a:pt x="0" y="21351"/>
                    </a:moveTo>
                    <a:cubicBezTo>
                      <a:pt x="8791" y="14354"/>
                      <a:pt x="17703" y="7236"/>
                      <a:pt x="26794" y="0"/>
                    </a:cubicBezTo>
                  </a:path>
                </a:pathLst>
              </a:custGeom>
              <a:noFill/>
              <a:ln w="6350" cap="rnd">
                <a:solidFill>
                  <a:schemeClr val="bg1">
                    <a:alpha val="80000"/>
                  </a:schemeClr>
                </a:solidFill>
                <a:prstDash val="solid"/>
                <a:miter/>
              </a:ln>
            </p:spPr>
            <p:txBody>
              <a:bodyPr rtlCol="0" anchor="ctr"/>
              <a:lstStyle/>
              <a:p>
                <a:endParaRPr lang="en-GB"/>
              </a:p>
            </p:txBody>
          </p:sp>
          <p:sp>
            <p:nvSpPr>
              <p:cNvPr id="8146" name="Vrije vorm: vorm 8145">
                <a:extLst>
                  <a:ext uri="{FF2B5EF4-FFF2-40B4-BE49-F238E27FC236}">
                    <a16:creationId xmlns:a16="http://schemas.microsoft.com/office/drawing/2014/main" id="{FD1ECB46-3942-49E1-A962-D784268B87E5}"/>
                  </a:ext>
                </a:extLst>
              </p:cNvPr>
              <p:cNvSpPr/>
              <p:nvPr/>
            </p:nvSpPr>
            <p:spPr>
              <a:xfrm>
                <a:off x="4196991" y="4747716"/>
                <a:ext cx="32774" cy="27152"/>
              </a:xfrm>
              <a:custGeom>
                <a:avLst/>
                <a:gdLst>
                  <a:gd name="connsiteX0" fmla="*/ 0 w 32774"/>
                  <a:gd name="connsiteY0" fmla="*/ 27152 h 27152"/>
                  <a:gd name="connsiteX1" fmla="*/ 32775 w 32774"/>
                  <a:gd name="connsiteY1" fmla="*/ 0 h 27152"/>
                </a:gdLst>
                <a:ahLst/>
                <a:cxnLst>
                  <a:cxn ang="0">
                    <a:pos x="connsiteX0" y="connsiteY0"/>
                  </a:cxn>
                  <a:cxn ang="0">
                    <a:pos x="connsiteX1" y="connsiteY1"/>
                  </a:cxn>
                </a:cxnLst>
                <a:rect l="l" t="t" r="r" b="b"/>
                <a:pathLst>
                  <a:path w="32774" h="27152">
                    <a:moveTo>
                      <a:pt x="0" y="27152"/>
                    </a:moveTo>
                    <a:cubicBezTo>
                      <a:pt x="10406" y="18421"/>
                      <a:pt x="21351" y="9390"/>
                      <a:pt x="32775" y="0"/>
                    </a:cubicBezTo>
                  </a:path>
                </a:pathLst>
              </a:custGeom>
              <a:noFill/>
              <a:ln w="6350" cap="rnd">
                <a:solidFill>
                  <a:schemeClr val="bg1">
                    <a:alpha val="80000"/>
                  </a:schemeClr>
                </a:solidFill>
                <a:prstDash val="solid"/>
                <a:miter/>
              </a:ln>
            </p:spPr>
            <p:txBody>
              <a:bodyPr rtlCol="0" anchor="ctr"/>
              <a:lstStyle/>
              <a:p>
                <a:endParaRPr lang="en-GB"/>
              </a:p>
            </p:txBody>
          </p:sp>
          <p:sp>
            <p:nvSpPr>
              <p:cNvPr id="8147" name="Vrije vorm: vorm 8146">
                <a:extLst>
                  <a:ext uri="{FF2B5EF4-FFF2-40B4-BE49-F238E27FC236}">
                    <a16:creationId xmlns:a16="http://schemas.microsoft.com/office/drawing/2014/main" id="{E5BDDD8D-FAB3-4CA2-BCFD-0379C0CCE418}"/>
                  </a:ext>
                </a:extLst>
              </p:cNvPr>
              <p:cNvSpPr/>
              <p:nvPr/>
            </p:nvSpPr>
            <p:spPr>
              <a:xfrm>
                <a:off x="4203809" y="4728757"/>
                <a:ext cx="30800" cy="25418"/>
              </a:xfrm>
              <a:custGeom>
                <a:avLst/>
                <a:gdLst>
                  <a:gd name="connsiteX0" fmla="*/ 0 w 30800"/>
                  <a:gd name="connsiteY0" fmla="*/ 25418 h 25418"/>
                  <a:gd name="connsiteX1" fmla="*/ 30801 w 30800"/>
                  <a:gd name="connsiteY1" fmla="*/ 0 h 25418"/>
                </a:gdLst>
                <a:ahLst/>
                <a:cxnLst>
                  <a:cxn ang="0">
                    <a:pos x="connsiteX0" y="connsiteY0"/>
                  </a:cxn>
                  <a:cxn ang="0">
                    <a:pos x="connsiteX1" y="connsiteY1"/>
                  </a:cxn>
                </a:cxnLst>
                <a:rect l="l" t="t" r="r" b="b"/>
                <a:pathLst>
                  <a:path w="30800" h="25418">
                    <a:moveTo>
                      <a:pt x="0" y="25418"/>
                    </a:moveTo>
                    <a:cubicBezTo>
                      <a:pt x="9868" y="17225"/>
                      <a:pt x="20155" y="8732"/>
                      <a:pt x="30801" y="0"/>
                    </a:cubicBezTo>
                  </a:path>
                </a:pathLst>
              </a:custGeom>
              <a:noFill/>
              <a:ln w="6350" cap="rnd">
                <a:solidFill>
                  <a:schemeClr val="bg1">
                    <a:alpha val="80000"/>
                  </a:schemeClr>
                </a:solidFill>
                <a:prstDash val="solid"/>
                <a:miter/>
              </a:ln>
            </p:spPr>
            <p:txBody>
              <a:bodyPr rtlCol="0" anchor="ctr"/>
              <a:lstStyle/>
              <a:p>
                <a:endParaRPr lang="en-GB"/>
              </a:p>
            </p:txBody>
          </p:sp>
          <p:sp>
            <p:nvSpPr>
              <p:cNvPr id="8148" name="Vrije vorm: vorm 8147">
                <a:extLst>
                  <a:ext uri="{FF2B5EF4-FFF2-40B4-BE49-F238E27FC236}">
                    <a16:creationId xmlns:a16="http://schemas.microsoft.com/office/drawing/2014/main" id="{9A3F1B5E-24EF-4663-99CF-60E9912D956F}"/>
                  </a:ext>
                </a:extLst>
              </p:cNvPr>
              <p:cNvSpPr/>
              <p:nvPr/>
            </p:nvSpPr>
            <p:spPr>
              <a:xfrm>
                <a:off x="4210747" y="4708722"/>
                <a:ext cx="30681" cy="25119"/>
              </a:xfrm>
              <a:custGeom>
                <a:avLst/>
                <a:gdLst>
                  <a:gd name="connsiteX0" fmla="*/ 0 w 30681"/>
                  <a:gd name="connsiteY0" fmla="*/ 25119 h 25119"/>
                  <a:gd name="connsiteX1" fmla="*/ 30681 w 30681"/>
                  <a:gd name="connsiteY1" fmla="*/ 0 h 25119"/>
                </a:gdLst>
                <a:ahLst/>
                <a:cxnLst>
                  <a:cxn ang="0">
                    <a:pos x="connsiteX0" y="connsiteY0"/>
                  </a:cxn>
                  <a:cxn ang="0">
                    <a:pos x="connsiteX1" y="connsiteY1"/>
                  </a:cxn>
                </a:cxnLst>
                <a:rect l="l" t="t" r="r" b="b"/>
                <a:pathLst>
                  <a:path w="30681" h="25119">
                    <a:moveTo>
                      <a:pt x="0" y="25119"/>
                    </a:moveTo>
                    <a:cubicBezTo>
                      <a:pt x="9868" y="16985"/>
                      <a:pt x="20096" y="8612"/>
                      <a:pt x="30681" y="0"/>
                    </a:cubicBezTo>
                  </a:path>
                </a:pathLst>
              </a:custGeom>
              <a:noFill/>
              <a:ln w="6350" cap="rnd">
                <a:solidFill>
                  <a:schemeClr val="bg1">
                    <a:alpha val="80000"/>
                  </a:schemeClr>
                </a:solidFill>
                <a:prstDash val="solid"/>
                <a:miter/>
              </a:ln>
            </p:spPr>
            <p:txBody>
              <a:bodyPr rtlCol="0" anchor="ctr"/>
              <a:lstStyle/>
              <a:p>
                <a:endParaRPr lang="en-GB"/>
              </a:p>
            </p:txBody>
          </p:sp>
          <p:sp>
            <p:nvSpPr>
              <p:cNvPr id="8149" name="Vrije vorm: vorm 8148">
                <a:extLst>
                  <a:ext uri="{FF2B5EF4-FFF2-40B4-BE49-F238E27FC236}">
                    <a16:creationId xmlns:a16="http://schemas.microsoft.com/office/drawing/2014/main" id="{042C5DBA-043B-4F41-9A17-B1A639B56A4D}"/>
                  </a:ext>
                </a:extLst>
              </p:cNvPr>
              <p:cNvSpPr/>
              <p:nvPr/>
            </p:nvSpPr>
            <p:spPr>
              <a:xfrm>
                <a:off x="4217505" y="4691557"/>
                <a:ext cx="29365" cy="23922"/>
              </a:xfrm>
              <a:custGeom>
                <a:avLst/>
                <a:gdLst>
                  <a:gd name="connsiteX0" fmla="*/ 0 w 29365"/>
                  <a:gd name="connsiteY0" fmla="*/ 23923 h 23922"/>
                  <a:gd name="connsiteX1" fmla="*/ 29366 w 29365"/>
                  <a:gd name="connsiteY1" fmla="*/ 0 h 23922"/>
                </a:gdLst>
                <a:ahLst/>
                <a:cxnLst>
                  <a:cxn ang="0">
                    <a:pos x="connsiteX0" y="connsiteY0"/>
                  </a:cxn>
                  <a:cxn ang="0">
                    <a:pos x="connsiteX1" y="connsiteY1"/>
                  </a:cxn>
                </a:cxnLst>
                <a:rect l="l" t="t" r="r" b="b"/>
                <a:pathLst>
                  <a:path w="29365" h="23922">
                    <a:moveTo>
                      <a:pt x="0" y="23923"/>
                    </a:moveTo>
                    <a:cubicBezTo>
                      <a:pt x="9510" y="16148"/>
                      <a:pt x="19258" y="8134"/>
                      <a:pt x="29366" y="0"/>
                    </a:cubicBezTo>
                  </a:path>
                </a:pathLst>
              </a:custGeom>
              <a:noFill/>
              <a:ln w="6350" cap="rnd">
                <a:solidFill>
                  <a:schemeClr val="bg1">
                    <a:alpha val="80000"/>
                  </a:schemeClr>
                </a:solidFill>
                <a:prstDash val="solid"/>
                <a:miter/>
              </a:ln>
            </p:spPr>
            <p:txBody>
              <a:bodyPr rtlCol="0" anchor="ctr"/>
              <a:lstStyle/>
              <a:p>
                <a:endParaRPr lang="en-GB"/>
              </a:p>
            </p:txBody>
          </p:sp>
          <p:sp>
            <p:nvSpPr>
              <p:cNvPr id="8150" name="Vrije vorm: vorm 8149">
                <a:extLst>
                  <a:ext uri="{FF2B5EF4-FFF2-40B4-BE49-F238E27FC236}">
                    <a16:creationId xmlns:a16="http://schemas.microsoft.com/office/drawing/2014/main" id="{A9974C0E-0828-4ADF-90D5-FE393D0F6545}"/>
                  </a:ext>
                </a:extLst>
              </p:cNvPr>
              <p:cNvSpPr/>
              <p:nvPr/>
            </p:nvSpPr>
            <p:spPr>
              <a:xfrm>
                <a:off x="4225339" y="4674153"/>
                <a:ext cx="28109" cy="22786"/>
              </a:xfrm>
              <a:custGeom>
                <a:avLst/>
                <a:gdLst>
                  <a:gd name="connsiteX0" fmla="*/ 0 w 28109"/>
                  <a:gd name="connsiteY0" fmla="*/ 22787 h 22786"/>
                  <a:gd name="connsiteX1" fmla="*/ 28109 w 28109"/>
                  <a:gd name="connsiteY1" fmla="*/ 0 h 22786"/>
                </a:gdLst>
                <a:ahLst/>
                <a:cxnLst>
                  <a:cxn ang="0">
                    <a:pos x="connsiteX0" y="connsiteY0"/>
                  </a:cxn>
                  <a:cxn ang="0">
                    <a:pos x="connsiteX1" y="connsiteY1"/>
                  </a:cxn>
                </a:cxnLst>
                <a:rect l="l" t="t" r="r" b="b"/>
                <a:pathLst>
                  <a:path w="28109" h="22786">
                    <a:moveTo>
                      <a:pt x="0" y="22787"/>
                    </a:moveTo>
                    <a:cubicBezTo>
                      <a:pt x="9151" y="15370"/>
                      <a:pt x="18481" y="7775"/>
                      <a:pt x="28109" y="0"/>
                    </a:cubicBezTo>
                  </a:path>
                </a:pathLst>
              </a:custGeom>
              <a:noFill/>
              <a:ln w="6350" cap="rnd">
                <a:solidFill>
                  <a:schemeClr val="bg1">
                    <a:alpha val="80000"/>
                  </a:schemeClr>
                </a:solidFill>
                <a:prstDash val="solid"/>
                <a:miter/>
              </a:ln>
            </p:spPr>
            <p:txBody>
              <a:bodyPr rtlCol="0" anchor="ctr"/>
              <a:lstStyle/>
              <a:p>
                <a:endParaRPr lang="en-GB"/>
              </a:p>
            </p:txBody>
          </p:sp>
          <p:sp>
            <p:nvSpPr>
              <p:cNvPr id="8151" name="Vrije vorm: vorm 8150">
                <a:extLst>
                  <a:ext uri="{FF2B5EF4-FFF2-40B4-BE49-F238E27FC236}">
                    <a16:creationId xmlns:a16="http://schemas.microsoft.com/office/drawing/2014/main" id="{EC4ABDB4-5164-480B-BC04-EE9587E3978A}"/>
                  </a:ext>
                </a:extLst>
              </p:cNvPr>
              <p:cNvSpPr/>
              <p:nvPr/>
            </p:nvSpPr>
            <p:spPr>
              <a:xfrm>
                <a:off x="4232098" y="4658663"/>
                <a:ext cx="27092" cy="21889"/>
              </a:xfrm>
              <a:custGeom>
                <a:avLst/>
                <a:gdLst>
                  <a:gd name="connsiteX0" fmla="*/ 0 w 27092"/>
                  <a:gd name="connsiteY0" fmla="*/ 21890 h 21889"/>
                  <a:gd name="connsiteX1" fmla="*/ 27093 w 27092"/>
                  <a:gd name="connsiteY1" fmla="*/ 0 h 21889"/>
                </a:gdLst>
                <a:ahLst/>
                <a:cxnLst>
                  <a:cxn ang="0">
                    <a:pos x="connsiteX0" y="connsiteY0"/>
                  </a:cxn>
                  <a:cxn ang="0">
                    <a:pos x="connsiteX1" y="connsiteY1"/>
                  </a:cxn>
                </a:cxnLst>
                <a:rect l="l" t="t" r="r" b="b"/>
                <a:pathLst>
                  <a:path w="27092" h="21889">
                    <a:moveTo>
                      <a:pt x="0" y="21890"/>
                    </a:moveTo>
                    <a:cubicBezTo>
                      <a:pt x="8852" y="14713"/>
                      <a:pt x="17882" y="7416"/>
                      <a:pt x="27093" y="0"/>
                    </a:cubicBezTo>
                  </a:path>
                </a:pathLst>
              </a:custGeom>
              <a:noFill/>
              <a:ln w="6350" cap="rnd">
                <a:solidFill>
                  <a:schemeClr val="bg1">
                    <a:alpha val="80000"/>
                  </a:schemeClr>
                </a:solidFill>
                <a:prstDash val="solid"/>
                <a:miter/>
              </a:ln>
            </p:spPr>
            <p:txBody>
              <a:bodyPr rtlCol="0" anchor="ctr"/>
              <a:lstStyle/>
              <a:p>
                <a:endParaRPr lang="en-GB"/>
              </a:p>
            </p:txBody>
          </p:sp>
          <p:sp>
            <p:nvSpPr>
              <p:cNvPr id="8152" name="Vrije vorm: vorm 8151">
                <a:extLst>
                  <a:ext uri="{FF2B5EF4-FFF2-40B4-BE49-F238E27FC236}">
                    <a16:creationId xmlns:a16="http://schemas.microsoft.com/office/drawing/2014/main" id="{37BAC79C-B82C-4687-9A7F-0767152F0A23}"/>
                  </a:ext>
                </a:extLst>
              </p:cNvPr>
              <p:cNvSpPr/>
              <p:nvPr/>
            </p:nvSpPr>
            <p:spPr>
              <a:xfrm>
                <a:off x="4505118" y="4533666"/>
                <a:ext cx="46171" cy="36781"/>
              </a:xfrm>
              <a:custGeom>
                <a:avLst/>
                <a:gdLst>
                  <a:gd name="connsiteX0" fmla="*/ 0 w 46171"/>
                  <a:gd name="connsiteY0" fmla="*/ 36781 h 36781"/>
                  <a:gd name="connsiteX1" fmla="*/ 46171 w 46171"/>
                  <a:gd name="connsiteY1" fmla="*/ 0 h 36781"/>
                </a:gdLst>
                <a:ahLst/>
                <a:cxnLst>
                  <a:cxn ang="0">
                    <a:pos x="connsiteX0" y="connsiteY0"/>
                  </a:cxn>
                  <a:cxn ang="0">
                    <a:pos x="connsiteX1" y="connsiteY1"/>
                  </a:cxn>
                </a:cxnLst>
                <a:rect l="l" t="t" r="r" b="b"/>
                <a:pathLst>
                  <a:path w="46171" h="36781">
                    <a:moveTo>
                      <a:pt x="0" y="36781"/>
                    </a:moveTo>
                    <a:cubicBezTo>
                      <a:pt x="15191" y="24700"/>
                      <a:pt x="30561" y="12440"/>
                      <a:pt x="46171" y="0"/>
                    </a:cubicBezTo>
                  </a:path>
                </a:pathLst>
              </a:custGeom>
              <a:noFill/>
              <a:ln w="6350" cap="rnd">
                <a:solidFill>
                  <a:schemeClr val="bg1">
                    <a:alpha val="80000"/>
                  </a:schemeClr>
                </a:solidFill>
                <a:prstDash val="solid"/>
                <a:miter/>
              </a:ln>
            </p:spPr>
            <p:txBody>
              <a:bodyPr rtlCol="0" anchor="ctr"/>
              <a:lstStyle/>
              <a:p>
                <a:endParaRPr lang="en-GB"/>
              </a:p>
            </p:txBody>
          </p:sp>
          <p:sp>
            <p:nvSpPr>
              <p:cNvPr id="8153" name="Vrije vorm: vorm 8152">
                <a:extLst>
                  <a:ext uri="{FF2B5EF4-FFF2-40B4-BE49-F238E27FC236}">
                    <a16:creationId xmlns:a16="http://schemas.microsoft.com/office/drawing/2014/main" id="{3294BD68-B74E-4E7D-B92F-76C98A3D66E0}"/>
                  </a:ext>
                </a:extLst>
              </p:cNvPr>
              <p:cNvSpPr/>
              <p:nvPr/>
            </p:nvSpPr>
            <p:spPr>
              <a:xfrm>
                <a:off x="4412895" y="4694906"/>
                <a:ext cx="18540" cy="15011"/>
              </a:xfrm>
              <a:custGeom>
                <a:avLst/>
                <a:gdLst>
                  <a:gd name="connsiteX0" fmla="*/ 0 w 18540"/>
                  <a:gd name="connsiteY0" fmla="*/ 15012 h 15011"/>
                  <a:gd name="connsiteX1" fmla="*/ 18540 w 18540"/>
                  <a:gd name="connsiteY1" fmla="*/ 0 h 15011"/>
                </a:gdLst>
                <a:ahLst/>
                <a:cxnLst>
                  <a:cxn ang="0">
                    <a:pos x="connsiteX0" y="connsiteY0"/>
                  </a:cxn>
                  <a:cxn ang="0">
                    <a:pos x="connsiteX1" y="connsiteY1"/>
                  </a:cxn>
                </a:cxnLst>
                <a:rect l="l" t="t" r="r" b="b"/>
                <a:pathLst>
                  <a:path w="18540" h="15011">
                    <a:moveTo>
                      <a:pt x="0" y="15012"/>
                    </a:moveTo>
                    <a:cubicBezTo>
                      <a:pt x="6100" y="10048"/>
                      <a:pt x="12320" y="5084"/>
                      <a:pt x="18540" y="0"/>
                    </a:cubicBezTo>
                  </a:path>
                </a:pathLst>
              </a:custGeom>
              <a:noFill/>
              <a:ln w="6350" cap="rnd">
                <a:solidFill>
                  <a:schemeClr val="bg1">
                    <a:alpha val="80000"/>
                  </a:schemeClr>
                </a:solidFill>
                <a:prstDash val="solid"/>
                <a:miter/>
              </a:ln>
            </p:spPr>
            <p:txBody>
              <a:bodyPr rtlCol="0" anchor="ctr"/>
              <a:lstStyle/>
              <a:p>
                <a:endParaRPr lang="en-GB"/>
              </a:p>
            </p:txBody>
          </p:sp>
          <p:sp>
            <p:nvSpPr>
              <p:cNvPr id="8154" name="Vrije vorm: vorm 8153">
                <a:extLst>
                  <a:ext uri="{FF2B5EF4-FFF2-40B4-BE49-F238E27FC236}">
                    <a16:creationId xmlns:a16="http://schemas.microsoft.com/office/drawing/2014/main" id="{7F48F759-43A7-4E96-B0A4-AF6ABA291123}"/>
                  </a:ext>
                </a:extLst>
              </p:cNvPr>
              <p:cNvSpPr/>
              <p:nvPr/>
            </p:nvSpPr>
            <p:spPr>
              <a:xfrm>
                <a:off x="4469951" y="4648018"/>
                <a:ext cx="19676" cy="15848"/>
              </a:xfrm>
              <a:custGeom>
                <a:avLst/>
                <a:gdLst>
                  <a:gd name="connsiteX0" fmla="*/ 0 w 19676"/>
                  <a:gd name="connsiteY0" fmla="*/ 15849 h 15848"/>
                  <a:gd name="connsiteX1" fmla="*/ 19676 w 19676"/>
                  <a:gd name="connsiteY1" fmla="*/ 0 h 15848"/>
                </a:gdLst>
                <a:ahLst/>
                <a:cxnLst>
                  <a:cxn ang="0">
                    <a:pos x="connsiteX0" y="connsiteY0"/>
                  </a:cxn>
                  <a:cxn ang="0">
                    <a:pos x="connsiteX1" y="connsiteY1"/>
                  </a:cxn>
                </a:cxnLst>
                <a:rect l="l" t="t" r="r" b="b"/>
                <a:pathLst>
                  <a:path w="19676" h="15848">
                    <a:moveTo>
                      <a:pt x="0" y="15849"/>
                    </a:moveTo>
                    <a:cubicBezTo>
                      <a:pt x="6519" y="10586"/>
                      <a:pt x="13038" y="5323"/>
                      <a:pt x="19676" y="0"/>
                    </a:cubicBezTo>
                  </a:path>
                </a:pathLst>
              </a:custGeom>
              <a:noFill/>
              <a:ln w="6350" cap="rnd">
                <a:solidFill>
                  <a:schemeClr val="bg1">
                    <a:alpha val="80000"/>
                  </a:schemeClr>
                </a:solidFill>
                <a:prstDash val="solid"/>
                <a:miter/>
              </a:ln>
            </p:spPr>
            <p:txBody>
              <a:bodyPr rtlCol="0" anchor="ctr"/>
              <a:lstStyle/>
              <a:p>
                <a:endParaRPr lang="en-GB"/>
              </a:p>
            </p:txBody>
          </p:sp>
          <p:sp>
            <p:nvSpPr>
              <p:cNvPr id="8155" name="Vrije vorm: vorm 8154">
                <a:extLst>
                  <a:ext uri="{FF2B5EF4-FFF2-40B4-BE49-F238E27FC236}">
                    <a16:creationId xmlns:a16="http://schemas.microsoft.com/office/drawing/2014/main" id="{34AEA7D4-D96F-44C5-8EC2-ABBFD91CEC01}"/>
                  </a:ext>
                </a:extLst>
              </p:cNvPr>
              <p:cNvSpPr/>
              <p:nvPr/>
            </p:nvSpPr>
            <p:spPr>
              <a:xfrm>
                <a:off x="4404103" y="4619549"/>
                <a:ext cx="22128" cy="17643"/>
              </a:xfrm>
              <a:custGeom>
                <a:avLst/>
                <a:gdLst>
                  <a:gd name="connsiteX0" fmla="*/ 0 w 22128"/>
                  <a:gd name="connsiteY0" fmla="*/ 17643 h 17643"/>
                  <a:gd name="connsiteX1" fmla="*/ 22129 w 22128"/>
                  <a:gd name="connsiteY1" fmla="*/ 0 h 17643"/>
                </a:gdLst>
                <a:ahLst/>
                <a:cxnLst>
                  <a:cxn ang="0">
                    <a:pos x="connsiteX0" y="connsiteY0"/>
                  </a:cxn>
                  <a:cxn ang="0">
                    <a:pos x="connsiteX1" y="connsiteY1"/>
                  </a:cxn>
                </a:cxnLst>
                <a:rect l="l" t="t" r="r" b="b"/>
                <a:pathLst>
                  <a:path w="22128" h="17643">
                    <a:moveTo>
                      <a:pt x="0" y="17643"/>
                    </a:moveTo>
                    <a:cubicBezTo>
                      <a:pt x="7297" y="11842"/>
                      <a:pt x="14653" y="5921"/>
                      <a:pt x="22129" y="0"/>
                    </a:cubicBezTo>
                  </a:path>
                </a:pathLst>
              </a:custGeom>
              <a:noFill/>
              <a:ln w="6350" cap="rnd">
                <a:solidFill>
                  <a:schemeClr val="bg1">
                    <a:alpha val="80000"/>
                  </a:schemeClr>
                </a:solidFill>
                <a:prstDash val="solid"/>
                <a:miter/>
              </a:ln>
            </p:spPr>
            <p:txBody>
              <a:bodyPr rtlCol="0" anchor="ctr"/>
              <a:lstStyle/>
              <a:p>
                <a:endParaRPr lang="en-GB"/>
              </a:p>
            </p:txBody>
          </p:sp>
          <p:sp>
            <p:nvSpPr>
              <p:cNvPr id="8156" name="Vrije vorm: vorm 8155">
                <a:extLst>
                  <a:ext uri="{FF2B5EF4-FFF2-40B4-BE49-F238E27FC236}">
                    <a16:creationId xmlns:a16="http://schemas.microsoft.com/office/drawing/2014/main" id="{3A00A474-C1DF-4994-8155-83426EEA3CEF}"/>
                  </a:ext>
                </a:extLst>
              </p:cNvPr>
              <p:cNvSpPr/>
              <p:nvPr/>
            </p:nvSpPr>
            <p:spPr>
              <a:xfrm>
                <a:off x="4342263" y="4670625"/>
                <a:ext cx="20035" cy="16088"/>
              </a:xfrm>
              <a:custGeom>
                <a:avLst/>
                <a:gdLst>
                  <a:gd name="connsiteX0" fmla="*/ 0 w 20035"/>
                  <a:gd name="connsiteY0" fmla="*/ 16088 h 16088"/>
                  <a:gd name="connsiteX1" fmla="*/ 20035 w 20035"/>
                  <a:gd name="connsiteY1" fmla="*/ 0 h 16088"/>
                </a:gdLst>
                <a:ahLst/>
                <a:cxnLst>
                  <a:cxn ang="0">
                    <a:pos x="connsiteX0" y="connsiteY0"/>
                  </a:cxn>
                  <a:cxn ang="0">
                    <a:pos x="connsiteX1" y="connsiteY1"/>
                  </a:cxn>
                </a:cxnLst>
                <a:rect l="l" t="t" r="r" b="b"/>
                <a:pathLst>
                  <a:path w="20035" h="16088">
                    <a:moveTo>
                      <a:pt x="0" y="16088"/>
                    </a:moveTo>
                    <a:cubicBezTo>
                      <a:pt x="6579" y="10825"/>
                      <a:pt x="13277" y="5443"/>
                      <a:pt x="20035" y="0"/>
                    </a:cubicBezTo>
                  </a:path>
                </a:pathLst>
              </a:custGeom>
              <a:noFill/>
              <a:ln w="6350" cap="rnd">
                <a:solidFill>
                  <a:schemeClr val="bg1">
                    <a:alpha val="80000"/>
                  </a:schemeClr>
                </a:solidFill>
                <a:prstDash val="solid"/>
                <a:miter/>
              </a:ln>
            </p:spPr>
            <p:txBody>
              <a:bodyPr rtlCol="0" anchor="ctr"/>
              <a:lstStyle/>
              <a:p>
                <a:endParaRPr lang="en-GB"/>
              </a:p>
            </p:txBody>
          </p:sp>
          <p:sp>
            <p:nvSpPr>
              <p:cNvPr id="8157" name="Vrije vorm: vorm 8156">
                <a:extLst>
                  <a:ext uri="{FF2B5EF4-FFF2-40B4-BE49-F238E27FC236}">
                    <a16:creationId xmlns:a16="http://schemas.microsoft.com/office/drawing/2014/main" id="{11C055F7-E3B4-46EA-865A-C767618D3EDE}"/>
                  </a:ext>
                </a:extLst>
              </p:cNvPr>
              <p:cNvSpPr/>
              <p:nvPr/>
            </p:nvSpPr>
            <p:spPr>
              <a:xfrm>
                <a:off x="4285326" y="4716556"/>
                <a:ext cx="19856" cy="16088"/>
              </a:xfrm>
              <a:custGeom>
                <a:avLst/>
                <a:gdLst>
                  <a:gd name="connsiteX0" fmla="*/ 0 w 19856"/>
                  <a:gd name="connsiteY0" fmla="*/ 16088 h 16088"/>
                  <a:gd name="connsiteX1" fmla="*/ 19856 w 19856"/>
                  <a:gd name="connsiteY1" fmla="*/ 0 h 16088"/>
                </a:gdLst>
                <a:ahLst/>
                <a:cxnLst>
                  <a:cxn ang="0">
                    <a:pos x="connsiteX0" y="connsiteY0"/>
                  </a:cxn>
                  <a:cxn ang="0">
                    <a:pos x="connsiteX1" y="connsiteY1"/>
                  </a:cxn>
                </a:cxnLst>
                <a:rect l="l" t="t" r="r" b="b"/>
                <a:pathLst>
                  <a:path w="19856" h="16088">
                    <a:moveTo>
                      <a:pt x="0" y="16088"/>
                    </a:moveTo>
                    <a:cubicBezTo>
                      <a:pt x="6519" y="10825"/>
                      <a:pt x="13158" y="5443"/>
                      <a:pt x="19856" y="0"/>
                    </a:cubicBezTo>
                  </a:path>
                </a:pathLst>
              </a:custGeom>
              <a:noFill/>
              <a:ln w="6350" cap="rnd">
                <a:solidFill>
                  <a:schemeClr val="bg1">
                    <a:alpha val="80000"/>
                  </a:schemeClr>
                </a:solidFill>
                <a:prstDash val="solid"/>
                <a:miter/>
              </a:ln>
            </p:spPr>
            <p:txBody>
              <a:bodyPr rtlCol="0" anchor="ctr"/>
              <a:lstStyle/>
              <a:p>
                <a:endParaRPr lang="en-GB"/>
              </a:p>
            </p:txBody>
          </p:sp>
          <p:sp>
            <p:nvSpPr>
              <p:cNvPr id="8158" name="Vrije vorm: vorm 8157">
                <a:extLst>
                  <a:ext uri="{FF2B5EF4-FFF2-40B4-BE49-F238E27FC236}">
                    <a16:creationId xmlns:a16="http://schemas.microsoft.com/office/drawing/2014/main" id="{27D34516-CD8D-48A9-A416-BBCA7ADC98BE}"/>
                  </a:ext>
                </a:extLst>
              </p:cNvPr>
              <p:cNvSpPr/>
              <p:nvPr/>
            </p:nvSpPr>
            <p:spPr>
              <a:xfrm>
                <a:off x="4470669" y="4565603"/>
                <a:ext cx="23384" cy="18599"/>
              </a:xfrm>
              <a:custGeom>
                <a:avLst/>
                <a:gdLst>
                  <a:gd name="connsiteX0" fmla="*/ 0 w 23384"/>
                  <a:gd name="connsiteY0" fmla="*/ 18600 h 18599"/>
                  <a:gd name="connsiteX1" fmla="*/ 23384 w 23384"/>
                  <a:gd name="connsiteY1" fmla="*/ 0 h 18599"/>
                </a:gdLst>
                <a:ahLst/>
                <a:cxnLst>
                  <a:cxn ang="0">
                    <a:pos x="connsiteX0" y="connsiteY0"/>
                  </a:cxn>
                  <a:cxn ang="0">
                    <a:pos x="connsiteX1" y="connsiteY1"/>
                  </a:cxn>
                </a:cxnLst>
                <a:rect l="l" t="t" r="r" b="b"/>
                <a:pathLst>
                  <a:path w="23384" h="18599">
                    <a:moveTo>
                      <a:pt x="0" y="18600"/>
                    </a:moveTo>
                    <a:cubicBezTo>
                      <a:pt x="7715" y="12440"/>
                      <a:pt x="15550" y="6280"/>
                      <a:pt x="23384" y="0"/>
                    </a:cubicBezTo>
                  </a:path>
                </a:pathLst>
              </a:custGeom>
              <a:noFill/>
              <a:ln w="6350" cap="rnd">
                <a:solidFill>
                  <a:schemeClr val="bg1">
                    <a:alpha val="80000"/>
                  </a:schemeClr>
                </a:solidFill>
                <a:prstDash val="solid"/>
                <a:miter/>
              </a:ln>
            </p:spPr>
            <p:txBody>
              <a:bodyPr rtlCol="0" anchor="ctr"/>
              <a:lstStyle/>
              <a:p>
                <a:endParaRPr lang="en-GB"/>
              </a:p>
            </p:txBody>
          </p:sp>
          <p:sp>
            <p:nvSpPr>
              <p:cNvPr id="8159" name="Vrije vorm: vorm 8158">
                <a:extLst>
                  <a:ext uri="{FF2B5EF4-FFF2-40B4-BE49-F238E27FC236}">
                    <a16:creationId xmlns:a16="http://schemas.microsoft.com/office/drawing/2014/main" id="{4D6C6462-518C-46C9-B2CC-959A228295BF}"/>
                  </a:ext>
                </a:extLst>
              </p:cNvPr>
              <p:cNvSpPr/>
              <p:nvPr/>
            </p:nvSpPr>
            <p:spPr>
              <a:xfrm>
                <a:off x="4465346" y="4554120"/>
                <a:ext cx="23564" cy="18659"/>
              </a:xfrm>
              <a:custGeom>
                <a:avLst/>
                <a:gdLst>
                  <a:gd name="connsiteX0" fmla="*/ 0 w 23564"/>
                  <a:gd name="connsiteY0" fmla="*/ 18660 h 18659"/>
                  <a:gd name="connsiteX1" fmla="*/ 23564 w 23564"/>
                  <a:gd name="connsiteY1" fmla="*/ 0 h 18659"/>
                </a:gdLst>
                <a:ahLst/>
                <a:cxnLst>
                  <a:cxn ang="0">
                    <a:pos x="connsiteX0" y="connsiteY0"/>
                  </a:cxn>
                  <a:cxn ang="0">
                    <a:pos x="connsiteX1" y="connsiteY1"/>
                  </a:cxn>
                </a:cxnLst>
                <a:rect l="l" t="t" r="r" b="b"/>
                <a:pathLst>
                  <a:path w="23564" h="18659">
                    <a:moveTo>
                      <a:pt x="0" y="18660"/>
                    </a:moveTo>
                    <a:cubicBezTo>
                      <a:pt x="7775" y="12500"/>
                      <a:pt x="15610" y="6280"/>
                      <a:pt x="23564" y="0"/>
                    </a:cubicBezTo>
                  </a:path>
                </a:pathLst>
              </a:custGeom>
              <a:noFill/>
              <a:ln w="6350" cap="rnd">
                <a:solidFill>
                  <a:schemeClr val="bg1">
                    <a:alpha val="80000"/>
                  </a:schemeClr>
                </a:solidFill>
                <a:prstDash val="solid"/>
                <a:miter/>
              </a:ln>
            </p:spPr>
            <p:txBody>
              <a:bodyPr rtlCol="0" anchor="ctr"/>
              <a:lstStyle/>
              <a:p>
                <a:endParaRPr lang="en-GB"/>
              </a:p>
            </p:txBody>
          </p:sp>
          <p:sp>
            <p:nvSpPr>
              <p:cNvPr id="8160" name="Vrije vorm: vorm 8159">
                <a:extLst>
                  <a:ext uri="{FF2B5EF4-FFF2-40B4-BE49-F238E27FC236}">
                    <a16:creationId xmlns:a16="http://schemas.microsoft.com/office/drawing/2014/main" id="{32F3F498-73C6-44F9-ABDD-9E495C5D637F}"/>
                  </a:ext>
                </a:extLst>
              </p:cNvPr>
              <p:cNvSpPr/>
              <p:nvPr/>
            </p:nvSpPr>
            <p:spPr>
              <a:xfrm>
                <a:off x="4397585" y="4608545"/>
                <a:ext cx="22726" cy="18061"/>
              </a:xfrm>
              <a:custGeom>
                <a:avLst/>
                <a:gdLst>
                  <a:gd name="connsiteX0" fmla="*/ 0 w 22726"/>
                  <a:gd name="connsiteY0" fmla="*/ 18062 h 18061"/>
                  <a:gd name="connsiteX1" fmla="*/ 22727 w 22726"/>
                  <a:gd name="connsiteY1" fmla="*/ 0 h 18061"/>
                </a:gdLst>
                <a:ahLst/>
                <a:cxnLst>
                  <a:cxn ang="0">
                    <a:pos x="connsiteX0" y="connsiteY0"/>
                  </a:cxn>
                  <a:cxn ang="0">
                    <a:pos x="connsiteX1" y="connsiteY1"/>
                  </a:cxn>
                </a:cxnLst>
                <a:rect l="l" t="t" r="r" b="b"/>
                <a:pathLst>
                  <a:path w="22726" h="18061">
                    <a:moveTo>
                      <a:pt x="0" y="18062"/>
                    </a:moveTo>
                    <a:cubicBezTo>
                      <a:pt x="7476" y="12081"/>
                      <a:pt x="15071" y="6041"/>
                      <a:pt x="22727" y="0"/>
                    </a:cubicBezTo>
                  </a:path>
                </a:pathLst>
              </a:custGeom>
              <a:noFill/>
              <a:ln w="6350" cap="rnd">
                <a:solidFill>
                  <a:schemeClr val="bg1">
                    <a:alpha val="80000"/>
                  </a:schemeClr>
                </a:solidFill>
                <a:prstDash val="solid"/>
                <a:miter/>
              </a:ln>
            </p:spPr>
            <p:txBody>
              <a:bodyPr rtlCol="0" anchor="ctr"/>
              <a:lstStyle/>
              <a:p>
                <a:endParaRPr lang="en-GB"/>
              </a:p>
            </p:txBody>
          </p:sp>
          <p:sp>
            <p:nvSpPr>
              <p:cNvPr id="8161" name="Vrije vorm: vorm 8160">
                <a:extLst>
                  <a:ext uri="{FF2B5EF4-FFF2-40B4-BE49-F238E27FC236}">
                    <a16:creationId xmlns:a16="http://schemas.microsoft.com/office/drawing/2014/main" id="{C643B5D4-BC0B-494A-AA87-118054B0E66B}"/>
                  </a:ext>
                </a:extLst>
              </p:cNvPr>
              <p:cNvSpPr/>
              <p:nvPr/>
            </p:nvSpPr>
            <p:spPr>
              <a:xfrm>
                <a:off x="4335744" y="4660338"/>
                <a:ext cx="19616" cy="15669"/>
              </a:xfrm>
              <a:custGeom>
                <a:avLst/>
                <a:gdLst>
                  <a:gd name="connsiteX0" fmla="*/ 0 w 19616"/>
                  <a:gd name="connsiteY0" fmla="*/ 15669 h 15669"/>
                  <a:gd name="connsiteX1" fmla="*/ 19617 w 19616"/>
                  <a:gd name="connsiteY1" fmla="*/ 0 h 15669"/>
                </a:gdLst>
                <a:ahLst/>
                <a:cxnLst>
                  <a:cxn ang="0">
                    <a:pos x="connsiteX0" y="connsiteY0"/>
                  </a:cxn>
                  <a:cxn ang="0">
                    <a:pos x="connsiteX1" y="connsiteY1"/>
                  </a:cxn>
                </a:cxnLst>
                <a:rect l="l" t="t" r="r" b="b"/>
                <a:pathLst>
                  <a:path w="19616" h="15669">
                    <a:moveTo>
                      <a:pt x="0" y="15669"/>
                    </a:moveTo>
                    <a:cubicBezTo>
                      <a:pt x="6459" y="10526"/>
                      <a:pt x="12978" y="5263"/>
                      <a:pt x="19617" y="0"/>
                    </a:cubicBezTo>
                  </a:path>
                </a:pathLst>
              </a:custGeom>
              <a:noFill/>
              <a:ln w="6350" cap="rnd">
                <a:solidFill>
                  <a:schemeClr val="bg1">
                    <a:alpha val="80000"/>
                  </a:schemeClr>
                </a:solidFill>
                <a:prstDash val="solid"/>
                <a:miter/>
              </a:ln>
            </p:spPr>
            <p:txBody>
              <a:bodyPr rtlCol="0" anchor="ctr"/>
              <a:lstStyle/>
              <a:p>
                <a:endParaRPr lang="en-GB"/>
              </a:p>
            </p:txBody>
          </p:sp>
          <p:sp>
            <p:nvSpPr>
              <p:cNvPr id="8162" name="Vrije vorm: vorm 8161">
                <a:extLst>
                  <a:ext uri="{FF2B5EF4-FFF2-40B4-BE49-F238E27FC236}">
                    <a16:creationId xmlns:a16="http://schemas.microsoft.com/office/drawing/2014/main" id="{540DFAEA-2185-474E-9CE8-3D51656024C1}"/>
                  </a:ext>
                </a:extLst>
              </p:cNvPr>
              <p:cNvSpPr/>
              <p:nvPr/>
            </p:nvSpPr>
            <p:spPr>
              <a:xfrm>
                <a:off x="4277193" y="4706150"/>
                <a:ext cx="21111" cy="17104"/>
              </a:xfrm>
              <a:custGeom>
                <a:avLst/>
                <a:gdLst>
                  <a:gd name="connsiteX0" fmla="*/ 0 w 21111"/>
                  <a:gd name="connsiteY0" fmla="*/ 17105 h 17104"/>
                  <a:gd name="connsiteX1" fmla="*/ 21112 w 21111"/>
                  <a:gd name="connsiteY1" fmla="*/ 0 h 17104"/>
                </a:gdLst>
                <a:ahLst/>
                <a:cxnLst>
                  <a:cxn ang="0">
                    <a:pos x="connsiteX0" y="connsiteY0"/>
                  </a:cxn>
                  <a:cxn ang="0">
                    <a:pos x="connsiteX1" y="connsiteY1"/>
                  </a:cxn>
                </a:cxnLst>
                <a:rect l="l" t="t" r="r" b="b"/>
                <a:pathLst>
                  <a:path w="21111" h="17104">
                    <a:moveTo>
                      <a:pt x="0" y="17105"/>
                    </a:moveTo>
                    <a:cubicBezTo>
                      <a:pt x="6937" y="11483"/>
                      <a:pt x="13935" y="5801"/>
                      <a:pt x="21112" y="0"/>
                    </a:cubicBezTo>
                  </a:path>
                </a:pathLst>
              </a:custGeom>
              <a:noFill/>
              <a:ln w="6350" cap="rnd">
                <a:solidFill>
                  <a:schemeClr val="bg1">
                    <a:alpha val="80000"/>
                  </a:schemeClr>
                </a:solidFill>
                <a:prstDash val="solid"/>
                <a:miter/>
              </a:ln>
            </p:spPr>
            <p:txBody>
              <a:bodyPr rtlCol="0" anchor="ctr"/>
              <a:lstStyle/>
              <a:p>
                <a:endParaRPr lang="en-GB"/>
              </a:p>
            </p:txBody>
          </p:sp>
          <p:sp>
            <p:nvSpPr>
              <p:cNvPr id="8163" name="Vrije vorm: vorm 8162">
                <a:extLst>
                  <a:ext uri="{FF2B5EF4-FFF2-40B4-BE49-F238E27FC236}">
                    <a16:creationId xmlns:a16="http://schemas.microsoft.com/office/drawing/2014/main" id="{F8B75EB5-3B54-4158-962C-E48158A31B2B}"/>
                  </a:ext>
                </a:extLst>
              </p:cNvPr>
              <p:cNvSpPr/>
              <p:nvPr/>
            </p:nvSpPr>
            <p:spPr>
              <a:xfrm>
                <a:off x="4529878" y="4595327"/>
                <a:ext cx="25118" cy="20274"/>
              </a:xfrm>
              <a:custGeom>
                <a:avLst/>
                <a:gdLst>
                  <a:gd name="connsiteX0" fmla="*/ 0 w 25118"/>
                  <a:gd name="connsiteY0" fmla="*/ 20274 h 20274"/>
                  <a:gd name="connsiteX1" fmla="*/ 25119 w 25118"/>
                  <a:gd name="connsiteY1" fmla="*/ 0 h 20274"/>
                </a:gdLst>
                <a:ahLst/>
                <a:cxnLst>
                  <a:cxn ang="0">
                    <a:pos x="connsiteX0" y="connsiteY0"/>
                  </a:cxn>
                  <a:cxn ang="0">
                    <a:pos x="connsiteX1" y="connsiteY1"/>
                  </a:cxn>
                </a:cxnLst>
                <a:rect l="l" t="t" r="r" b="b"/>
                <a:pathLst>
                  <a:path w="25118" h="20274">
                    <a:moveTo>
                      <a:pt x="0" y="20274"/>
                    </a:moveTo>
                    <a:cubicBezTo>
                      <a:pt x="8313" y="13576"/>
                      <a:pt x="16686" y="6818"/>
                      <a:pt x="25119" y="0"/>
                    </a:cubicBezTo>
                  </a:path>
                </a:pathLst>
              </a:custGeom>
              <a:noFill/>
              <a:ln w="6350" cap="rnd">
                <a:solidFill>
                  <a:schemeClr val="bg1">
                    <a:alpha val="80000"/>
                  </a:schemeClr>
                </a:solidFill>
                <a:prstDash val="solid"/>
                <a:miter/>
              </a:ln>
            </p:spPr>
            <p:txBody>
              <a:bodyPr rtlCol="0" anchor="ctr"/>
              <a:lstStyle/>
              <a:p>
                <a:endParaRPr lang="en-GB"/>
              </a:p>
            </p:txBody>
          </p:sp>
          <p:sp>
            <p:nvSpPr>
              <p:cNvPr id="8164" name="Vrije vorm: vorm 8163">
                <a:extLst>
                  <a:ext uri="{FF2B5EF4-FFF2-40B4-BE49-F238E27FC236}">
                    <a16:creationId xmlns:a16="http://schemas.microsoft.com/office/drawing/2014/main" id="{E817BC77-5073-4843-B0F1-D385B06889EF}"/>
                  </a:ext>
                </a:extLst>
              </p:cNvPr>
              <p:cNvSpPr/>
              <p:nvPr/>
            </p:nvSpPr>
            <p:spPr>
              <a:xfrm>
                <a:off x="4468157" y="4501370"/>
                <a:ext cx="26673" cy="20992"/>
              </a:xfrm>
              <a:custGeom>
                <a:avLst/>
                <a:gdLst>
                  <a:gd name="connsiteX0" fmla="*/ 0 w 26673"/>
                  <a:gd name="connsiteY0" fmla="*/ 20992 h 20992"/>
                  <a:gd name="connsiteX1" fmla="*/ 26674 w 26673"/>
                  <a:gd name="connsiteY1" fmla="*/ 0 h 20992"/>
                </a:gdLst>
                <a:ahLst/>
                <a:cxnLst>
                  <a:cxn ang="0">
                    <a:pos x="connsiteX0" y="connsiteY0"/>
                  </a:cxn>
                  <a:cxn ang="0">
                    <a:pos x="connsiteX1" y="connsiteY1"/>
                  </a:cxn>
                </a:cxnLst>
                <a:rect l="l" t="t" r="r" b="b"/>
                <a:pathLst>
                  <a:path w="26673" h="20992">
                    <a:moveTo>
                      <a:pt x="0" y="20992"/>
                    </a:moveTo>
                    <a:cubicBezTo>
                      <a:pt x="8851" y="14055"/>
                      <a:pt x="17703" y="7057"/>
                      <a:pt x="26674" y="0"/>
                    </a:cubicBezTo>
                  </a:path>
                </a:pathLst>
              </a:custGeom>
              <a:noFill/>
              <a:ln w="6350" cap="rnd">
                <a:solidFill>
                  <a:schemeClr val="bg1">
                    <a:alpha val="80000"/>
                  </a:schemeClr>
                </a:solidFill>
                <a:prstDash val="solid"/>
                <a:miter/>
              </a:ln>
            </p:spPr>
            <p:txBody>
              <a:bodyPr rtlCol="0" anchor="ctr"/>
              <a:lstStyle/>
              <a:p>
                <a:endParaRPr lang="en-GB"/>
              </a:p>
            </p:txBody>
          </p:sp>
          <p:grpSp>
            <p:nvGrpSpPr>
              <p:cNvPr id="8165" name="Graphic 3">
                <a:extLst>
                  <a:ext uri="{FF2B5EF4-FFF2-40B4-BE49-F238E27FC236}">
                    <a16:creationId xmlns:a16="http://schemas.microsoft.com/office/drawing/2014/main" id="{814D3BAC-E1C3-45BF-85F2-5D10CB1550A5}"/>
                  </a:ext>
                </a:extLst>
              </p:cNvPr>
              <p:cNvGrpSpPr/>
              <p:nvPr/>
            </p:nvGrpSpPr>
            <p:grpSpPr>
              <a:xfrm>
                <a:off x="4548298" y="4275957"/>
                <a:ext cx="25477" cy="71110"/>
                <a:chOff x="4548298" y="4275957"/>
                <a:chExt cx="25477" cy="71110"/>
              </a:xfrm>
              <a:noFill/>
            </p:grpSpPr>
            <p:sp>
              <p:nvSpPr>
                <p:cNvPr id="8422" name="Vrije vorm: vorm 8421">
                  <a:extLst>
                    <a:ext uri="{FF2B5EF4-FFF2-40B4-BE49-F238E27FC236}">
                      <a16:creationId xmlns:a16="http://schemas.microsoft.com/office/drawing/2014/main" id="{F3A37A14-C99F-45E7-B0D0-D796CB09BA38}"/>
                    </a:ext>
                  </a:extLst>
                </p:cNvPr>
                <p:cNvSpPr/>
                <p:nvPr/>
              </p:nvSpPr>
              <p:spPr>
                <a:xfrm>
                  <a:off x="4554100" y="4331876"/>
                  <a:ext cx="19676" cy="15191"/>
                </a:xfrm>
                <a:custGeom>
                  <a:avLst/>
                  <a:gdLst>
                    <a:gd name="connsiteX0" fmla="*/ 0 w 19676"/>
                    <a:gd name="connsiteY0" fmla="*/ 15191 h 15191"/>
                    <a:gd name="connsiteX1" fmla="*/ 19676 w 19676"/>
                    <a:gd name="connsiteY1" fmla="*/ 0 h 15191"/>
                  </a:gdLst>
                  <a:ahLst/>
                  <a:cxnLst>
                    <a:cxn ang="0">
                      <a:pos x="connsiteX0" y="connsiteY0"/>
                    </a:cxn>
                    <a:cxn ang="0">
                      <a:pos x="connsiteX1" y="connsiteY1"/>
                    </a:cxn>
                  </a:cxnLst>
                  <a:rect l="l" t="t" r="r" b="b"/>
                  <a:pathLst>
                    <a:path w="19676" h="15191">
                      <a:moveTo>
                        <a:pt x="0" y="15191"/>
                      </a:moveTo>
                      <a:cubicBezTo>
                        <a:pt x="6519" y="10107"/>
                        <a:pt x="13098" y="5084"/>
                        <a:pt x="19676" y="0"/>
                      </a:cubicBezTo>
                    </a:path>
                  </a:pathLst>
                </a:custGeom>
                <a:noFill/>
                <a:ln w="6350" cap="rnd">
                  <a:solidFill>
                    <a:schemeClr val="bg1">
                      <a:alpha val="80000"/>
                    </a:schemeClr>
                  </a:solidFill>
                  <a:prstDash val="solid"/>
                  <a:miter/>
                </a:ln>
              </p:spPr>
              <p:txBody>
                <a:bodyPr rtlCol="0" anchor="ctr"/>
                <a:lstStyle/>
                <a:p>
                  <a:endParaRPr lang="en-GB"/>
                </a:p>
              </p:txBody>
            </p:sp>
            <p:sp>
              <p:nvSpPr>
                <p:cNvPr id="8423" name="Vrije vorm: vorm 8422">
                  <a:extLst>
                    <a:ext uri="{FF2B5EF4-FFF2-40B4-BE49-F238E27FC236}">
                      <a16:creationId xmlns:a16="http://schemas.microsoft.com/office/drawing/2014/main" id="{C56CD5FB-E0E6-48B8-B364-5FCEBEAEF583}"/>
                    </a:ext>
                  </a:extLst>
                </p:cNvPr>
                <p:cNvSpPr/>
                <p:nvPr/>
              </p:nvSpPr>
              <p:spPr>
                <a:xfrm>
                  <a:off x="4551050" y="4303947"/>
                  <a:ext cx="16088" cy="12380"/>
                </a:xfrm>
                <a:custGeom>
                  <a:avLst/>
                  <a:gdLst>
                    <a:gd name="connsiteX0" fmla="*/ 0 w 16088"/>
                    <a:gd name="connsiteY0" fmla="*/ 12380 h 12380"/>
                    <a:gd name="connsiteX1" fmla="*/ 16088 w 16088"/>
                    <a:gd name="connsiteY1" fmla="*/ 0 h 12380"/>
                  </a:gdLst>
                  <a:ahLst/>
                  <a:cxnLst>
                    <a:cxn ang="0">
                      <a:pos x="connsiteX0" y="connsiteY0"/>
                    </a:cxn>
                    <a:cxn ang="0">
                      <a:pos x="connsiteX1" y="connsiteY1"/>
                    </a:cxn>
                  </a:cxnLst>
                  <a:rect l="l" t="t" r="r" b="b"/>
                  <a:pathLst>
                    <a:path w="16088" h="12380">
                      <a:moveTo>
                        <a:pt x="0" y="12380"/>
                      </a:moveTo>
                      <a:cubicBezTo>
                        <a:pt x="5383" y="8253"/>
                        <a:pt x="10705" y="4127"/>
                        <a:pt x="16088" y="0"/>
                      </a:cubicBezTo>
                    </a:path>
                  </a:pathLst>
                </a:custGeom>
                <a:noFill/>
                <a:ln w="6350" cap="rnd">
                  <a:solidFill>
                    <a:schemeClr val="bg1">
                      <a:alpha val="80000"/>
                    </a:schemeClr>
                  </a:solidFill>
                  <a:prstDash val="solid"/>
                  <a:miter/>
                </a:ln>
              </p:spPr>
              <p:txBody>
                <a:bodyPr rtlCol="0" anchor="ctr"/>
                <a:lstStyle/>
                <a:p>
                  <a:endParaRPr lang="en-GB"/>
                </a:p>
              </p:txBody>
            </p:sp>
            <p:sp>
              <p:nvSpPr>
                <p:cNvPr id="8424" name="Vrije vorm: vorm 8423">
                  <a:extLst>
                    <a:ext uri="{FF2B5EF4-FFF2-40B4-BE49-F238E27FC236}">
                      <a16:creationId xmlns:a16="http://schemas.microsoft.com/office/drawing/2014/main" id="{2BBF4795-0B58-4AD9-B8E1-367E6C9475A3}"/>
                    </a:ext>
                  </a:extLst>
                </p:cNvPr>
                <p:cNvSpPr/>
                <p:nvPr/>
              </p:nvSpPr>
              <p:spPr>
                <a:xfrm>
                  <a:off x="4548298" y="4275957"/>
                  <a:ext cx="12380" cy="9509"/>
                </a:xfrm>
                <a:custGeom>
                  <a:avLst/>
                  <a:gdLst>
                    <a:gd name="connsiteX0" fmla="*/ 0 w 12380"/>
                    <a:gd name="connsiteY0" fmla="*/ 9510 h 9509"/>
                    <a:gd name="connsiteX1" fmla="*/ 12380 w 12380"/>
                    <a:gd name="connsiteY1" fmla="*/ 0 h 9509"/>
                  </a:gdLst>
                  <a:ahLst/>
                  <a:cxnLst>
                    <a:cxn ang="0">
                      <a:pos x="connsiteX0" y="connsiteY0"/>
                    </a:cxn>
                    <a:cxn ang="0">
                      <a:pos x="connsiteX1" y="connsiteY1"/>
                    </a:cxn>
                  </a:cxnLst>
                  <a:rect l="l" t="t" r="r" b="b"/>
                  <a:pathLst>
                    <a:path w="12380" h="9509">
                      <a:moveTo>
                        <a:pt x="0" y="9510"/>
                      </a:moveTo>
                      <a:cubicBezTo>
                        <a:pt x="4127" y="6340"/>
                        <a:pt x="8253" y="3170"/>
                        <a:pt x="12380" y="0"/>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166" name="Graphic 3">
                <a:extLst>
                  <a:ext uri="{FF2B5EF4-FFF2-40B4-BE49-F238E27FC236}">
                    <a16:creationId xmlns:a16="http://schemas.microsoft.com/office/drawing/2014/main" id="{98578A46-E7E2-4FE6-AC58-0F47D36CA209}"/>
                  </a:ext>
                </a:extLst>
              </p:cNvPr>
              <p:cNvGrpSpPr/>
              <p:nvPr/>
            </p:nvGrpSpPr>
            <p:grpSpPr>
              <a:xfrm>
                <a:off x="4506374" y="4299641"/>
                <a:ext cx="23444" cy="84208"/>
                <a:chOff x="4506374" y="4299641"/>
                <a:chExt cx="23444" cy="84208"/>
              </a:xfrm>
              <a:noFill/>
            </p:grpSpPr>
            <p:sp>
              <p:nvSpPr>
                <p:cNvPr id="8419" name="Vrije vorm: vorm 8418">
                  <a:extLst>
                    <a:ext uri="{FF2B5EF4-FFF2-40B4-BE49-F238E27FC236}">
                      <a16:creationId xmlns:a16="http://schemas.microsoft.com/office/drawing/2014/main" id="{3A03A822-44D1-4D43-AF1F-E9BA846EB754}"/>
                    </a:ext>
                  </a:extLst>
                </p:cNvPr>
                <p:cNvSpPr/>
                <p:nvPr/>
              </p:nvSpPr>
              <p:spPr>
                <a:xfrm>
                  <a:off x="4506374" y="4367043"/>
                  <a:ext cx="21829" cy="16805"/>
                </a:xfrm>
                <a:custGeom>
                  <a:avLst/>
                  <a:gdLst>
                    <a:gd name="connsiteX0" fmla="*/ 0 w 21829"/>
                    <a:gd name="connsiteY0" fmla="*/ 16806 h 16805"/>
                    <a:gd name="connsiteX1" fmla="*/ 21829 w 21829"/>
                    <a:gd name="connsiteY1" fmla="*/ 0 h 16805"/>
                  </a:gdLst>
                  <a:ahLst/>
                  <a:cxnLst>
                    <a:cxn ang="0">
                      <a:pos x="connsiteX0" y="connsiteY0"/>
                    </a:cxn>
                    <a:cxn ang="0">
                      <a:pos x="connsiteX1" y="connsiteY1"/>
                    </a:cxn>
                  </a:cxnLst>
                  <a:rect l="l" t="t" r="r" b="b"/>
                  <a:pathLst>
                    <a:path w="21829" h="16805">
                      <a:moveTo>
                        <a:pt x="0" y="16806"/>
                      </a:moveTo>
                      <a:cubicBezTo>
                        <a:pt x="7236" y="11244"/>
                        <a:pt x="14533" y="5622"/>
                        <a:pt x="21829" y="0"/>
                      </a:cubicBezTo>
                    </a:path>
                  </a:pathLst>
                </a:custGeom>
                <a:noFill/>
                <a:ln w="6350" cap="rnd">
                  <a:solidFill>
                    <a:schemeClr val="bg1">
                      <a:alpha val="80000"/>
                    </a:schemeClr>
                  </a:solidFill>
                  <a:prstDash val="solid"/>
                  <a:miter/>
                </a:ln>
              </p:spPr>
              <p:txBody>
                <a:bodyPr rtlCol="0" anchor="ctr"/>
                <a:lstStyle/>
                <a:p>
                  <a:endParaRPr lang="en-GB"/>
                </a:p>
              </p:txBody>
            </p:sp>
            <p:sp>
              <p:nvSpPr>
                <p:cNvPr id="8420" name="Vrije vorm: vorm 8419">
                  <a:extLst>
                    <a:ext uri="{FF2B5EF4-FFF2-40B4-BE49-F238E27FC236}">
                      <a16:creationId xmlns:a16="http://schemas.microsoft.com/office/drawing/2014/main" id="{C23C9E6F-CC00-4E3B-8046-43B590D689C7}"/>
                    </a:ext>
                  </a:extLst>
                </p:cNvPr>
                <p:cNvSpPr/>
                <p:nvPr/>
              </p:nvSpPr>
              <p:spPr>
                <a:xfrm>
                  <a:off x="4509783" y="4333431"/>
                  <a:ext cx="19019" cy="14592"/>
                </a:xfrm>
                <a:custGeom>
                  <a:avLst/>
                  <a:gdLst>
                    <a:gd name="connsiteX0" fmla="*/ 0 w 19019"/>
                    <a:gd name="connsiteY0" fmla="*/ 14593 h 14592"/>
                    <a:gd name="connsiteX1" fmla="*/ 19019 w 19019"/>
                    <a:gd name="connsiteY1" fmla="*/ 0 h 14592"/>
                  </a:gdLst>
                  <a:ahLst/>
                  <a:cxnLst>
                    <a:cxn ang="0">
                      <a:pos x="connsiteX0" y="connsiteY0"/>
                    </a:cxn>
                    <a:cxn ang="0">
                      <a:pos x="connsiteX1" y="connsiteY1"/>
                    </a:cxn>
                  </a:cxnLst>
                  <a:rect l="l" t="t" r="r" b="b"/>
                  <a:pathLst>
                    <a:path w="19019" h="14592">
                      <a:moveTo>
                        <a:pt x="0" y="14593"/>
                      </a:moveTo>
                      <a:cubicBezTo>
                        <a:pt x="6340" y="9749"/>
                        <a:pt x="12679" y="4904"/>
                        <a:pt x="19019" y="0"/>
                      </a:cubicBezTo>
                    </a:path>
                  </a:pathLst>
                </a:custGeom>
                <a:noFill/>
                <a:ln w="6350" cap="rnd">
                  <a:solidFill>
                    <a:schemeClr val="bg1">
                      <a:alpha val="80000"/>
                    </a:schemeClr>
                  </a:solidFill>
                  <a:prstDash val="solid"/>
                  <a:miter/>
                </a:ln>
              </p:spPr>
              <p:txBody>
                <a:bodyPr rtlCol="0" anchor="ctr"/>
                <a:lstStyle/>
                <a:p>
                  <a:endParaRPr lang="en-GB"/>
                </a:p>
              </p:txBody>
            </p:sp>
            <p:sp>
              <p:nvSpPr>
                <p:cNvPr id="8421" name="Vrije vorm: vorm 8420">
                  <a:extLst>
                    <a:ext uri="{FF2B5EF4-FFF2-40B4-BE49-F238E27FC236}">
                      <a16:creationId xmlns:a16="http://schemas.microsoft.com/office/drawing/2014/main" id="{F7C8A1E8-0068-4CDE-9DA9-717FE5EFC728}"/>
                    </a:ext>
                  </a:extLst>
                </p:cNvPr>
                <p:cNvSpPr/>
                <p:nvPr/>
              </p:nvSpPr>
              <p:spPr>
                <a:xfrm>
                  <a:off x="4513670" y="4299641"/>
                  <a:ext cx="16148" cy="12320"/>
                </a:xfrm>
                <a:custGeom>
                  <a:avLst/>
                  <a:gdLst>
                    <a:gd name="connsiteX0" fmla="*/ 0 w 16148"/>
                    <a:gd name="connsiteY0" fmla="*/ 12320 h 12320"/>
                    <a:gd name="connsiteX1" fmla="*/ 16148 w 16148"/>
                    <a:gd name="connsiteY1" fmla="*/ 0 h 12320"/>
                  </a:gdLst>
                  <a:ahLst/>
                  <a:cxnLst>
                    <a:cxn ang="0">
                      <a:pos x="connsiteX0" y="connsiteY0"/>
                    </a:cxn>
                    <a:cxn ang="0">
                      <a:pos x="connsiteX1" y="connsiteY1"/>
                    </a:cxn>
                  </a:cxnLst>
                  <a:rect l="l" t="t" r="r" b="b"/>
                  <a:pathLst>
                    <a:path w="16148" h="12320">
                      <a:moveTo>
                        <a:pt x="0" y="12320"/>
                      </a:moveTo>
                      <a:cubicBezTo>
                        <a:pt x="5383" y="8253"/>
                        <a:pt x="10765" y="4127"/>
                        <a:pt x="16148" y="0"/>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167" name="Graphic 3">
                <a:extLst>
                  <a:ext uri="{FF2B5EF4-FFF2-40B4-BE49-F238E27FC236}">
                    <a16:creationId xmlns:a16="http://schemas.microsoft.com/office/drawing/2014/main" id="{24E9C01D-0AEA-4D94-8A99-6AAD1179A9C9}"/>
                  </a:ext>
                </a:extLst>
              </p:cNvPr>
              <p:cNvGrpSpPr/>
              <p:nvPr/>
            </p:nvGrpSpPr>
            <p:grpSpPr>
              <a:xfrm>
                <a:off x="4460322" y="4327630"/>
                <a:ext cx="32774" cy="91684"/>
                <a:chOff x="4460322" y="4327630"/>
                <a:chExt cx="32774" cy="91684"/>
              </a:xfrm>
              <a:noFill/>
            </p:grpSpPr>
            <p:sp>
              <p:nvSpPr>
                <p:cNvPr id="8416" name="Vrije vorm: vorm 8415">
                  <a:extLst>
                    <a:ext uri="{FF2B5EF4-FFF2-40B4-BE49-F238E27FC236}">
                      <a16:creationId xmlns:a16="http://schemas.microsoft.com/office/drawing/2014/main" id="{FD269AD3-AA10-4B5D-B8D5-961D7B77305D}"/>
                    </a:ext>
                  </a:extLst>
                </p:cNvPr>
                <p:cNvSpPr/>
                <p:nvPr/>
              </p:nvSpPr>
              <p:spPr>
                <a:xfrm>
                  <a:off x="4460322" y="4403406"/>
                  <a:ext cx="20693" cy="15908"/>
                </a:xfrm>
                <a:custGeom>
                  <a:avLst/>
                  <a:gdLst>
                    <a:gd name="connsiteX0" fmla="*/ 0 w 20693"/>
                    <a:gd name="connsiteY0" fmla="*/ 15909 h 15908"/>
                    <a:gd name="connsiteX1" fmla="*/ 20693 w 20693"/>
                    <a:gd name="connsiteY1" fmla="*/ 0 h 15908"/>
                  </a:gdLst>
                  <a:ahLst/>
                  <a:cxnLst>
                    <a:cxn ang="0">
                      <a:pos x="connsiteX0" y="connsiteY0"/>
                    </a:cxn>
                    <a:cxn ang="0">
                      <a:pos x="connsiteX1" y="connsiteY1"/>
                    </a:cxn>
                  </a:cxnLst>
                  <a:rect l="l" t="t" r="r" b="b"/>
                  <a:pathLst>
                    <a:path w="20693" h="15908">
                      <a:moveTo>
                        <a:pt x="0" y="15909"/>
                      </a:moveTo>
                      <a:cubicBezTo>
                        <a:pt x="6878" y="10646"/>
                        <a:pt x="13756" y="5323"/>
                        <a:pt x="20693" y="0"/>
                      </a:cubicBezTo>
                    </a:path>
                  </a:pathLst>
                </a:custGeom>
                <a:noFill/>
                <a:ln w="6350" cap="rnd">
                  <a:solidFill>
                    <a:schemeClr val="bg1">
                      <a:alpha val="80000"/>
                    </a:schemeClr>
                  </a:solidFill>
                  <a:prstDash val="solid"/>
                  <a:miter/>
                </a:ln>
              </p:spPr>
              <p:txBody>
                <a:bodyPr rtlCol="0" anchor="ctr"/>
                <a:lstStyle/>
                <a:p>
                  <a:endParaRPr lang="en-GB"/>
                </a:p>
              </p:txBody>
            </p:sp>
            <p:sp>
              <p:nvSpPr>
                <p:cNvPr id="8417" name="Vrije vorm: vorm 8416">
                  <a:extLst>
                    <a:ext uri="{FF2B5EF4-FFF2-40B4-BE49-F238E27FC236}">
                      <a16:creationId xmlns:a16="http://schemas.microsoft.com/office/drawing/2014/main" id="{67CEC83C-E2E1-4D65-BFF6-B309CD4000B6}"/>
                    </a:ext>
                  </a:extLst>
                </p:cNvPr>
                <p:cNvSpPr/>
                <p:nvPr/>
              </p:nvSpPr>
              <p:spPr>
                <a:xfrm>
                  <a:off x="4467619" y="4365608"/>
                  <a:ext cx="19138" cy="14652"/>
                </a:xfrm>
                <a:custGeom>
                  <a:avLst/>
                  <a:gdLst>
                    <a:gd name="connsiteX0" fmla="*/ 0 w 19138"/>
                    <a:gd name="connsiteY0" fmla="*/ 14653 h 14652"/>
                    <a:gd name="connsiteX1" fmla="*/ 19138 w 19138"/>
                    <a:gd name="connsiteY1" fmla="*/ 0 h 14652"/>
                  </a:gdLst>
                  <a:ahLst/>
                  <a:cxnLst>
                    <a:cxn ang="0">
                      <a:pos x="connsiteX0" y="connsiteY0"/>
                    </a:cxn>
                    <a:cxn ang="0">
                      <a:pos x="connsiteX1" y="connsiteY1"/>
                    </a:cxn>
                  </a:cxnLst>
                  <a:rect l="l" t="t" r="r" b="b"/>
                  <a:pathLst>
                    <a:path w="19138" h="14652">
                      <a:moveTo>
                        <a:pt x="0" y="14653"/>
                      </a:moveTo>
                      <a:cubicBezTo>
                        <a:pt x="6340" y="9808"/>
                        <a:pt x="12739" y="4904"/>
                        <a:pt x="19138" y="0"/>
                      </a:cubicBezTo>
                    </a:path>
                  </a:pathLst>
                </a:custGeom>
                <a:noFill/>
                <a:ln w="6350" cap="rnd">
                  <a:solidFill>
                    <a:schemeClr val="bg1">
                      <a:alpha val="80000"/>
                    </a:schemeClr>
                  </a:solidFill>
                  <a:prstDash val="solid"/>
                  <a:miter/>
                </a:ln>
              </p:spPr>
              <p:txBody>
                <a:bodyPr rtlCol="0" anchor="ctr"/>
                <a:lstStyle/>
                <a:p>
                  <a:endParaRPr lang="en-GB"/>
                </a:p>
              </p:txBody>
            </p:sp>
            <p:sp>
              <p:nvSpPr>
                <p:cNvPr id="8418" name="Vrije vorm: vorm 8417">
                  <a:extLst>
                    <a:ext uri="{FF2B5EF4-FFF2-40B4-BE49-F238E27FC236}">
                      <a16:creationId xmlns:a16="http://schemas.microsoft.com/office/drawing/2014/main" id="{32881C4F-6404-4C60-A2EC-77F47DFCE3E4}"/>
                    </a:ext>
                  </a:extLst>
                </p:cNvPr>
                <p:cNvSpPr/>
                <p:nvPr/>
              </p:nvSpPr>
              <p:spPr>
                <a:xfrm>
                  <a:off x="4475633" y="4327630"/>
                  <a:ext cx="17463" cy="13277"/>
                </a:xfrm>
                <a:custGeom>
                  <a:avLst/>
                  <a:gdLst>
                    <a:gd name="connsiteX0" fmla="*/ 0 w 17463"/>
                    <a:gd name="connsiteY0" fmla="*/ 13277 h 13277"/>
                    <a:gd name="connsiteX1" fmla="*/ 17464 w 17463"/>
                    <a:gd name="connsiteY1" fmla="*/ 0 h 13277"/>
                  </a:gdLst>
                  <a:ahLst/>
                  <a:cxnLst>
                    <a:cxn ang="0">
                      <a:pos x="connsiteX0" y="connsiteY0"/>
                    </a:cxn>
                    <a:cxn ang="0">
                      <a:pos x="connsiteX1" y="connsiteY1"/>
                    </a:cxn>
                  </a:cxnLst>
                  <a:rect l="l" t="t" r="r" b="b"/>
                  <a:pathLst>
                    <a:path w="17463" h="13277">
                      <a:moveTo>
                        <a:pt x="0" y="13277"/>
                      </a:moveTo>
                      <a:cubicBezTo>
                        <a:pt x="5801" y="8851"/>
                        <a:pt x="11603" y="4426"/>
                        <a:pt x="17464" y="0"/>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168" name="Graphic 3">
                <a:extLst>
                  <a:ext uri="{FF2B5EF4-FFF2-40B4-BE49-F238E27FC236}">
                    <a16:creationId xmlns:a16="http://schemas.microsoft.com/office/drawing/2014/main" id="{596A7719-4579-4ED9-BF5C-BA408F911913}"/>
                  </a:ext>
                </a:extLst>
              </p:cNvPr>
              <p:cNvGrpSpPr/>
              <p:nvPr/>
            </p:nvGrpSpPr>
            <p:grpSpPr>
              <a:xfrm>
                <a:off x="4417022" y="4353886"/>
                <a:ext cx="41506" cy="98741"/>
                <a:chOff x="4417022" y="4353886"/>
                <a:chExt cx="41506" cy="98741"/>
              </a:xfrm>
              <a:noFill/>
            </p:grpSpPr>
            <p:sp>
              <p:nvSpPr>
                <p:cNvPr id="8413" name="Vrije vorm: vorm 8412">
                  <a:extLst>
                    <a:ext uri="{FF2B5EF4-FFF2-40B4-BE49-F238E27FC236}">
                      <a16:creationId xmlns:a16="http://schemas.microsoft.com/office/drawing/2014/main" id="{DD96170A-CFE8-4B93-A4A4-1A6110999C7C}"/>
                    </a:ext>
                  </a:extLst>
                </p:cNvPr>
                <p:cNvSpPr/>
                <p:nvPr/>
              </p:nvSpPr>
              <p:spPr>
                <a:xfrm>
                  <a:off x="4417022" y="4438334"/>
                  <a:ext cx="18599" cy="14293"/>
                </a:xfrm>
                <a:custGeom>
                  <a:avLst/>
                  <a:gdLst>
                    <a:gd name="connsiteX0" fmla="*/ 0 w 18599"/>
                    <a:gd name="connsiteY0" fmla="*/ 14294 h 14293"/>
                    <a:gd name="connsiteX1" fmla="*/ 18600 w 18599"/>
                    <a:gd name="connsiteY1" fmla="*/ 0 h 14293"/>
                  </a:gdLst>
                  <a:ahLst/>
                  <a:cxnLst>
                    <a:cxn ang="0">
                      <a:pos x="connsiteX0" y="connsiteY0"/>
                    </a:cxn>
                    <a:cxn ang="0">
                      <a:pos x="connsiteX1" y="connsiteY1"/>
                    </a:cxn>
                  </a:cxnLst>
                  <a:rect l="l" t="t" r="r" b="b"/>
                  <a:pathLst>
                    <a:path w="18599" h="14293">
                      <a:moveTo>
                        <a:pt x="0" y="14294"/>
                      </a:moveTo>
                      <a:cubicBezTo>
                        <a:pt x="6160" y="9569"/>
                        <a:pt x="12380" y="4785"/>
                        <a:pt x="18600" y="0"/>
                      </a:cubicBezTo>
                    </a:path>
                  </a:pathLst>
                </a:custGeom>
                <a:noFill/>
                <a:ln w="6350" cap="rnd">
                  <a:solidFill>
                    <a:schemeClr val="bg1">
                      <a:alpha val="80000"/>
                    </a:schemeClr>
                  </a:solidFill>
                  <a:prstDash val="solid"/>
                  <a:miter/>
                </a:ln>
              </p:spPr>
              <p:txBody>
                <a:bodyPr rtlCol="0" anchor="ctr"/>
                <a:lstStyle/>
                <a:p>
                  <a:endParaRPr lang="en-GB"/>
                </a:p>
              </p:txBody>
            </p:sp>
            <p:sp>
              <p:nvSpPr>
                <p:cNvPr id="8414" name="Vrije vorm: vorm 8413">
                  <a:extLst>
                    <a:ext uri="{FF2B5EF4-FFF2-40B4-BE49-F238E27FC236}">
                      <a16:creationId xmlns:a16="http://schemas.microsoft.com/office/drawing/2014/main" id="{A59638A3-3452-4452-96FA-18726C18AE5E}"/>
                    </a:ext>
                  </a:extLst>
                </p:cNvPr>
                <p:cNvSpPr/>
                <p:nvPr/>
              </p:nvSpPr>
              <p:spPr>
                <a:xfrm>
                  <a:off x="4429521" y="4396289"/>
                  <a:ext cx="17104" cy="13097"/>
                </a:xfrm>
                <a:custGeom>
                  <a:avLst/>
                  <a:gdLst>
                    <a:gd name="connsiteX0" fmla="*/ 0 w 17104"/>
                    <a:gd name="connsiteY0" fmla="*/ 13098 h 13097"/>
                    <a:gd name="connsiteX1" fmla="*/ 17105 w 17104"/>
                    <a:gd name="connsiteY1" fmla="*/ 0 h 13097"/>
                  </a:gdLst>
                  <a:ahLst/>
                  <a:cxnLst>
                    <a:cxn ang="0">
                      <a:pos x="connsiteX0" y="connsiteY0"/>
                    </a:cxn>
                    <a:cxn ang="0">
                      <a:pos x="connsiteX1" y="connsiteY1"/>
                    </a:cxn>
                  </a:cxnLst>
                  <a:rect l="l" t="t" r="r" b="b"/>
                  <a:pathLst>
                    <a:path w="17104" h="13097">
                      <a:moveTo>
                        <a:pt x="0" y="13098"/>
                      </a:moveTo>
                      <a:cubicBezTo>
                        <a:pt x="5682" y="8732"/>
                        <a:pt x="11364" y="4366"/>
                        <a:pt x="17105" y="0"/>
                      </a:cubicBezTo>
                    </a:path>
                  </a:pathLst>
                </a:custGeom>
                <a:noFill/>
                <a:ln w="6350" cap="rnd">
                  <a:solidFill>
                    <a:schemeClr val="bg1">
                      <a:alpha val="80000"/>
                    </a:schemeClr>
                  </a:solidFill>
                  <a:prstDash val="solid"/>
                  <a:miter/>
                </a:ln>
              </p:spPr>
              <p:txBody>
                <a:bodyPr rtlCol="0" anchor="ctr"/>
                <a:lstStyle/>
                <a:p>
                  <a:endParaRPr lang="en-GB"/>
                </a:p>
              </p:txBody>
            </p:sp>
            <p:sp>
              <p:nvSpPr>
                <p:cNvPr id="8415" name="Vrije vorm: vorm 8414">
                  <a:extLst>
                    <a:ext uri="{FF2B5EF4-FFF2-40B4-BE49-F238E27FC236}">
                      <a16:creationId xmlns:a16="http://schemas.microsoft.com/office/drawing/2014/main" id="{4F8E32C3-9C23-461C-A338-49A4673B3898}"/>
                    </a:ext>
                  </a:extLst>
                </p:cNvPr>
                <p:cNvSpPr/>
                <p:nvPr/>
              </p:nvSpPr>
              <p:spPr>
                <a:xfrm>
                  <a:off x="4443038" y="4353886"/>
                  <a:ext cx="15490" cy="11781"/>
                </a:xfrm>
                <a:custGeom>
                  <a:avLst/>
                  <a:gdLst>
                    <a:gd name="connsiteX0" fmla="*/ 0 w 15490"/>
                    <a:gd name="connsiteY0" fmla="*/ 11782 h 11781"/>
                    <a:gd name="connsiteX1" fmla="*/ 15490 w 15490"/>
                    <a:gd name="connsiteY1" fmla="*/ 0 h 11781"/>
                  </a:gdLst>
                  <a:ahLst/>
                  <a:cxnLst>
                    <a:cxn ang="0">
                      <a:pos x="connsiteX0" y="connsiteY0"/>
                    </a:cxn>
                    <a:cxn ang="0">
                      <a:pos x="connsiteX1" y="connsiteY1"/>
                    </a:cxn>
                  </a:cxnLst>
                  <a:rect l="l" t="t" r="r" b="b"/>
                  <a:pathLst>
                    <a:path w="15490" h="11781">
                      <a:moveTo>
                        <a:pt x="0" y="11782"/>
                      </a:moveTo>
                      <a:cubicBezTo>
                        <a:pt x="5143" y="7835"/>
                        <a:pt x="10347" y="3947"/>
                        <a:pt x="15490" y="0"/>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169" name="Graphic 3">
                <a:extLst>
                  <a:ext uri="{FF2B5EF4-FFF2-40B4-BE49-F238E27FC236}">
                    <a16:creationId xmlns:a16="http://schemas.microsoft.com/office/drawing/2014/main" id="{8408C56A-C93B-4383-8027-64974A1B051C}"/>
                  </a:ext>
                </a:extLst>
              </p:cNvPr>
              <p:cNvGrpSpPr/>
              <p:nvPr/>
            </p:nvGrpSpPr>
            <p:grpSpPr>
              <a:xfrm>
                <a:off x="4374738" y="4379543"/>
                <a:ext cx="50058" cy="105739"/>
                <a:chOff x="4374738" y="4379543"/>
                <a:chExt cx="50058" cy="105739"/>
              </a:xfrm>
              <a:noFill/>
            </p:grpSpPr>
            <p:sp>
              <p:nvSpPr>
                <p:cNvPr id="8410" name="Vrije vorm: vorm 8409">
                  <a:extLst>
                    <a:ext uri="{FF2B5EF4-FFF2-40B4-BE49-F238E27FC236}">
                      <a16:creationId xmlns:a16="http://schemas.microsoft.com/office/drawing/2014/main" id="{4CD3CB35-07EB-4210-8FE8-66010C3965E7}"/>
                    </a:ext>
                  </a:extLst>
                </p:cNvPr>
                <p:cNvSpPr/>
                <p:nvPr/>
              </p:nvSpPr>
              <p:spPr>
                <a:xfrm>
                  <a:off x="4374738" y="4471766"/>
                  <a:ext cx="17523" cy="13516"/>
                </a:xfrm>
                <a:custGeom>
                  <a:avLst/>
                  <a:gdLst>
                    <a:gd name="connsiteX0" fmla="*/ 0 w 17523"/>
                    <a:gd name="connsiteY0" fmla="*/ 13516 h 13516"/>
                    <a:gd name="connsiteX1" fmla="*/ 17523 w 17523"/>
                    <a:gd name="connsiteY1" fmla="*/ 0 h 13516"/>
                  </a:gdLst>
                  <a:ahLst/>
                  <a:cxnLst>
                    <a:cxn ang="0">
                      <a:pos x="connsiteX0" y="connsiteY0"/>
                    </a:cxn>
                    <a:cxn ang="0">
                      <a:pos x="connsiteX1" y="connsiteY1"/>
                    </a:cxn>
                  </a:cxnLst>
                  <a:rect l="l" t="t" r="r" b="b"/>
                  <a:pathLst>
                    <a:path w="17523" h="13516">
                      <a:moveTo>
                        <a:pt x="0" y="13516"/>
                      </a:moveTo>
                      <a:cubicBezTo>
                        <a:pt x="5801" y="9031"/>
                        <a:pt x="11662" y="4545"/>
                        <a:pt x="17523" y="0"/>
                      </a:cubicBezTo>
                    </a:path>
                  </a:pathLst>
                </a:custGeom>
                <a:noFill/>
                <a:ln w="6350" cap="rnd">
                  <a:solidFill>
                    <a:schemeClr val="bg1">
                      <a:alpha val="80000"/>
                    </a:schemeClr>
                  </a:solidFill>
                  <a:prstDash val="solid"/>
                  <a:miter/>
                </a:ln>
              </p:spPr>
              <p:txBody>
                <a:bodyPr rtlCol="0" anchor="ctr"/>
                <a:lstStyle/>
                <a:p>
                  <a:endParaRPr lang="en-GB"/>
                </a:p>
              </p:txBody>
            </p:sp>
            <p:sp>
              <p:nvSpPr>
                <p:cNvPr id="8411" name="Vrije vorm: vorm 8410">
                  <a:extLst>
                    <a:ext uri="{FF2B5EF4-FFF2-40B4-BE49-F238E27FC236}">
                      <a16:creationId xmlns:a16="http://schemas.microsoft.com/office/drawing/2014/main" id="{1027D42D-26C7-4739-A051-65FA5D04AD80}"/>
                    </a:ext>
                  </a:extLst>
                </p:cNvPr>
                <p:cNvSpPr/>
                <p:nvPr/>
              </p:nvSpPr>
              <p:spPr>
                <a:xfrm>
                  <a:off x="4390228" y="4426013"/>
                  <a:ext cx="17643" cy="13516"/>
                </a:xfrm>
                <a:custGeom>
                  <a:avLst/>
                  <a:gdLst>
                    <a:gd name="connsiteX0" fmla="*/ 0 w 17643"/>
                    <a:gd name="connsiteY0" fmla="*/ 13516 h 13516"/>
                    <a:gd name="connsiteX1" fmla="*/ 17643 w 17643"/>
                    <a:gd name="connsiteY1" fmla="*/ 0 h 13516"/>
                  </a:gdLst>
                  <a:ahLst/>
                  <a:cxnLst>
                    <a:cxn ang="0">
                      <a:pos x="connsiteX0" y="connsiteY0"/>
                    </a:cxn>
                    <a:cxn ang="0">
                      <a:pos x="connsiteX1" y="connsiteY1"/>
                    </a:cxn>
                  </a:cxnLst>
                  <a:rect l="l" t="t" r="r" b="b"/>
                  <a:pathLst>
                    <a:path w="17643" h="13516">
                      <a:moveTo>
                        <a:pt x="0" y="13516"/>
                      </a:moveTo>
                      <a:cubicBezTo>
                        <a:pt x="5861" y="9031"/>
                        <a:pt x="11722" y="4545"/>
                        <a:pt x="17643" y="0"/>
                      </a:cubicBezTo>
                    </a:path>
                  </a:pathLst>
                </a:custGeom>
                <a:noFill/>
                <a:ln w="6350" cap="rnd">
                  <a:solidFill>
                    <a:schemeClr val="bg1">
                      <a:alpha val="80000"/>
                    </a:schemeClr>
                  </a:solidFill>
                  <a:prstDash val="solid"/>
                  <a:miter/>
                </a:ln>
              </p:spPr>
              <p:txBody>
                <a:bodyPr rtlCol="0" anchor="ctr"/>
                <a:lstStyle/>
                <a:p>
                  <a:endParaRPr lang="en-GB"/>
                </a:p>
              </p:txBody>
            </p:sp>
            <p:sp>
              <p:nvSpPr>
                <p:cNvPr id="8412" name="Vrije vorm: vorm 8411">
                  <a:extLst>
                    <a:ext uri="{FF2B5EF4-FFF2-40B4-BE49-F238E27FC236}">
                      <a16:creationId xmlns:a16="http://schemas.microsoft.com/office/drawing/2014/main" id="{4EF237C7-8FFA-4026-BE3F-154A6D78D8F3}"/>
                    </a:ext>
                  </a:extLst>
                </p:cNvPr>
                <p:cNvSpPr/>
                <p:nvPr/>
              </p:nvSpPr>
              <p:spPr>
                <a:xfrm>
                  <a:off x="4407034" y="4379543"/>
                  <a:ext cx="17762" cy="13516"/>
                </a:xfrm>
                <a:custGeom>
                  <a:avLst/>
                  <a:gdLst>
                    <a:gd name="connsiteX0" fmla="*/ 0 w 17762"/>
                    <a:gd name="connsiteY0" fmla="*/ 13516 h 13516"/>
                    <a:gd name="connsiteX1" fmla="*/ 17763 w 17762"/>
                    <a:gd name="connsiteY1" fmla="*/ 0 h 13516"/>
                  </a:gdLst>
                  <a:ahLst/>
                  <a:cxnLst>
                    <a:cxn ang="0">
                      <a:pos x="connsiteX0" y="connsiteY0"/>
                    </a:cxn>
                    <a:cxn ang="0">
                      <a:pos x="connsiteX1" y="connsiteY1"/>
                    </a:cxn>
                  </a:cxnLst>
                  <a:rect l="l" t="t" r="r" b="b"/>
                  <a:pathLst>
                    <a:path w="17762" h="13516">
                      <a:moveTo>
                        <a:pt x="0" y="13516"/>
                      </a:moveTo>
                      <a:cubicBezTo>
                        <a:pt x="5861" y="9031"/>
                        <a:pt x="11782" y="4545"/>
                        <a:pt x="17763" y="0"/>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170" name="Graphic 3">
                <a:extLst>
                  <a:ext uri="{FF2B5EF4-FFF2-40B4-BE49-F238E27FC236}">
                    <a16:creationId xmlns:a16="http://schemas.microsoft.com/office/drawing/2014/main" id="{6F24A6F3-AA41-4084-AB5C-422C6155953A}"/>
                  </a:ext>
                </a:extLst>
              </p:cNvPr>
              <p:cNvGrpSpPr/>
              <p:nvPr/>
            </p:nvGrpSpPr>
            <p:grpSpPr>
              <a:xfrm>
                <a:off x="4331318" y="4405858"/>
                <a:ext cx="58850" cy="112975"/>
                <a:chOff x="4331318" y="4405858"/>
                <a:chExt cx="58850" cy="112975"/>
              </a:xfrm>
              <a:noFill/>
            </p:grpSpPr>
            <p:sp>
              <p:nvSpPr>
                <p:cNvPr id="8407" name="Vrije vorm: vorm 8406">
                  <a:extLst>
                    <a:ext uri="{FF2B5EF4-FFF2-40B4-BE49-F238E27FC236}">
                      <a16:creationId xmlns:a16="http://schemas.microsoft.com/office/drawing/2014/main" id="{F2ECA971-A3AC-445A-86A6-29FA3A74F33B}"/>
                    </a:ext>
                  </a:extLst>
                </p:cNvPr>
                <p:cNvSpPr/>
                <p:nvPr/>
              </p:nvSpPr>
              <p:spPr>
                <a:xfrm>
                  <a:off x="4331318" y="4504660"/>
                  <a:ext cx="18300" cy="14174"/>
                </a:xfrm>
                <a:custGeom>
                  <a:avLst/>
                  <a:gdLst>
                    <a:gd name="connsiteX0" fmla="*/ 0 w 18300"/>
                    <a:gd name="connsiteY0" fmla="*/ 14174 h 14174"/>
                    <a:gd name="connsiteX1" fmla="*/ 18301 w 18300"/>
                    <a:gd name="connsiteY1" fmla="*/ 0 h 14174"/>
                  </a:gdLst>
                  <a:ahLst/>
                  <a:cxnLst>
                    <a:cxn ang="0">
                      <a:pos x="connsiteX0" y="connsiteY0"/>
                    </a:cxn>
                    <a:cxn ang="0">
                      <a:pos x="connsiteX1" y="connsiteY1"/>
                    </a:cxn>
                  </a:cxnLst>
                  <a:rect l="l" t="t" r="r" b="b"/>
                  <a:pathLst>
                    <a:path w="18300" h="14174">
                      <a:moveTo>
                        <a:pt x="0" y="14174"/>
                      </a:moveTo>
                      <a:cubicBezTo>
                        <a:pt x="6041" y="9450"/>
                        <a:pt x="12141" y="4725"/>
                        <a:pt x="18301" y="0"/>
                      </a:cubicBezTo>
                    </a:path>
                  </a:pathLst>
                </a:custGeom>
                <a:noFill/>
                <a:ln w="6350" cap="rnd">
                  <a:solidFill>
                    <a:schemeClr val="bg1">
                      <a:alpha val="80000"/>
                    </a:schemeClr>
                  </a:solidFill>
                  <a:prstDash val="solid"/>
                  <a:miter/>
                </a:ln>
              </p:spPr>
              <p:txBody>
                <a:bodyPr rtlCol="0" anchor="ctr"/>
                <a:lstStyle/>
                <a:p>
                  <a:endParaRPr lang="en-GB"/>
                </a:p>
              </p:txBody>
            </p:sp>
            <p:sp>
              <p:nvSpPr>
                <p:cNvPr id="8408" name="Vrije vorm: vorm 8407">
                  <a:extLst>
                    <a:ext uri="{FF2B5EF4-FFF2-40B4-BE49-F238E27FC236}">
                      <a16:creationId xmlns:a16="http://schemas.microsoft.com/office/drawing/2014/main" id="{B22E698C-FCC1-45A4-8790-60311DBCA5C3}"/>
                    </a:ext>
                  </a:extLst>
                </p:cNvPr>
                <p:cNvSpPr/>
                <p:nvPr/>
              </p:nvSpPr>
              <p:spPr>
                <a:xfrm>
                  <a:off x="4351114" y="4455737"/>
                  <a:ext cx="17942" cy="13755"/>
                </a:xfrm>
                <a:custGeom>
                  <a:avLst/>
                  <a:gdLst>
                    <a:gd name="connsiteX0" fmla="*/ 0 w 17942"/>
                    <a:gd name="connsiteY0" fmla="*/ 13756 h 13755"/>
                    <a:gd name="connsiteX1" fmla="*/ 17942 w 17942"/>
                    <a:gd name="connsiteY1" fmla="*/ 0 h 13755"/>
                  </a:gdLst>
                  <a:ahLst/>
                  <a:cxnLst>
                    <a:cxn ang="0">
                      <a:pos x="connsiteX0" y="connsiteY0"/>
                    </a:cxn>
                    <a:cxn ang="0">
                      <a:pos x="connsiteX1" y="connsiteY1"/>
                    </a:cxn>
                  </a:cxnLst>
                  <a:rect l="l" t="t" r="r" b="b"/>
                  <a:pathLst>
                    <a:path w="17942" h="13755">
                      <a:moveTo>
                        <a:pt x="0" y="13756"/>
                      </a:moveTo>
                      <a:cubicBezTo>
                        <a:pt x="5921" y="9210"/>
                        <a:pt x="11902" y="4605"/>
                        <a:pt x="17942" y="0"/>
                      </a:cubicBezTo>
                    </a:path>
                  </a:pathLst>
                </a:custGeom>
                <a:noFill/>
                <a:ln w="6350" cap="rnd">
                  <a:solidFill>
                    <a:schemeClr val="bg1">
                      <a:alpha val="80000"/>
                    </a:schemeClr>
                  </a:solidFill>
                  <a:prstDash val="solid"/>
                  <a:miter/>
                </a:ln>
              </p:spPr>
              <p:txBody>
                <a:bodyPr rtlCol="0" anchor="ctr"/>
                <a:lstStyle/>
                <a:p>
                  <a:endParaRPr lang="en-GB"/>
                </a:p>
              </p:txBody>
            </p:sp>
            <p:sp>
              <p:nvSpPr>
                <p:cNvPr id="8409" name="Vrije vorm: vorm 8408">
                  <a:extLst>
                    <a:ext uri="{FF2B5EF4-FFF2-40B4-BE49-F238E27FC236}">
                      <a16:creationId xmlns:a16="http://schemas.microsoft.com/office/drawing/2014/main" id="{811C08EF-B7BC-4E37-8C69-195A2EE4661E}"/>
                    </a:ext>
                  </a:extLst>
                </p:cNvPr>
                <p:cNvSpPr/>
                <p:nvPr/>
              </p:nvSpPr>
              <p:spPr>
                <a:xfrm>
                  <a:off x="4372705" y="4405858"/>
                  <a:ext cx="17463" cy="13277"/>
                </a:xfrm>
                <a:custGeom>
                  <a:avLst/>
                  <a:gdLst>
                    <a:gd name="connsiteX0" fmla="*/ 0 w 17463"/>
                    <a:gd name="connsiteY0" fmla="*/ 13277 h 13277"/>
                    <a:gd name="connsiteX1" fmla="*/ 17464 w 17463"/>
                    <a:gd name="connsiteY1" fmla="*/ 0 h 13277"/>
                  </a:gdLst>
                  <a:ahLst/>
                  <a:cxnLst>
                    <a:cxn ang="0">
                      <a:pos x="connsiteX0" y="connsiteY0"/>
                    </a:cxn>
                    <a:cxn ang="0">
                      <a:pos x="connsiteX1" y="connsiteY1"/>
                    </a:cxn>
                  </a:cxnLst>
                  <a:rect l="l" t="t" r="r" b="b"/>
                  <a:pathLst>
                    <a:path w="17463" h="13277">
                      <a:moveTo>
                        <a:pt x="0" y="13277"/>
                      </a:moveTo>
                      <a:cubicBezTo>
                        <a:pt x="5801" y="8851"/>
                        <a:pt x="11603" y="4426"/>
                        <a:pt x="17464" y="0"/>
                      </a:cubicBezTo>
                    </a:path>
                  </a:pathLst>
                </a:custGeom>
                <a:noFill/>
                <a:ln w="6350" cap="rnd">
                  <a:solidFill>
                    <a:schemeClr val="bg1">
                      <a:alpha val="80000"/>
                    </a:schemeClr>
                  </a:solidFill>
                  <a:prstDash val="solid"/>
                  <a:miter/>
                </a:ln>
              </p:spPr>
              <p:txBody>
                <a:bodyPr rtlCol="0" anchor="ctr"/>
                <a:lstStyle/>
                <a:p>
                  <a:endParaRPr lang="en-GB"/>
                </a:p>
              </p:txBody>
            </p:sp>
          </p:grpSp>
          <p:sp>
            <p:nvSpPr>
              <p:cNvPr id="8171" name="Vrije vorm: vorm 8170">
                <a:extLst>
                  <a:ext uri="{FF2B5EF4-FFF2-40B4-BE49-F238E27FC236}">
                    <a16:creationId xmlns:a16="http://schemas.microsoft.com/office/drawing/2014/main" id="{8DAD6BDB-1C89-4F22-8C0D-9A888E3C6AA9}"/>
                  </a:ext>
                </a:extLst>
              </p:cNvPr>
              <p:cNvSpPr/>
              <p:nvPr/>
            </p:nvSpPr>
            <p:spPr>
              <a:xfrm>
                <a:off x="4406376" y="4553223"/>
                <a:ext cx="22427" cy="17703"/>
              </a:xfrm>
              <a:custGeom>
                <a:avLst/>
                <a:gdLst>
                  <a:gd name="connsiteX0" fmla="*/ 0 w 22427"/>
                  <a:gd name="connsiteY0" fmla="*/ 17703 h 17703"/>
                  <a:gd name="connsiteX1" fmla="*/ 22428 w 22427"/>
                  <a:gd name="connsiteY1" fmla="*/ 0 h 17703"/>
                </a:gdLst>
                <a:ahLst/>
                <a:cxnLst>
                  <a:cxn ang="0">
                    <a:pos x="connsiteX0" y="connsiteY0"/>
                  </a:cxn>
                  <a:cxn ang="0">
                    <a:pos x="connsiteX1" y="connsiteY1"/>
                  </a:cxn>
                </a:cxnLst>
                <a:rect l="l" t="t" r="r" b="b"/>
                <a:pathLst>
                  <a:path w="22427" h="17703">
                    <a:moveTo>
                      <a:pt x="0" y="17703"/>
                    </a:moveTo>
                    <a:cubicBezTo>
                      <a:pt x="7416" y="11842"/>
                      <a:pt x="14892" y="5981"/>
                      <a:pt x="22428" y="0"/>
                    </a:cubicBezTo>
                  </a:path>
                </a:pathLst>
              </a:custGeom>
              <a:noFill/>
              <a:ln w="6350" cap="rnd">
                <a:solidFill>
                  <a:schemeClr val="bg1">
                    <a:alpha val="80000"/>
                  </a:schemeClr>
                </a:solidFill>
                <a:prstDash val="solid"/>
                <a:miter/>
              </a:ln>
            </p:spPr>
            <p:txBody>
              <a:bodyPr rtlCol="0" anchor="ctr"/>
              <a:lstStyle/>
              <a:p>
                <a:endParaRPr lang="en-GB"/>
              </a:p>
            </p:txBody>
          </p:sp>
          <p:sp>
            <p:nvSpPr>
              <p:cNvPr id="8172" name="Vrije vorm: vorm 8171">
                <a:extLst>
                  <a:ext uri="{FF2B5EF4-FFF2-40B4-BE49-F238E27FC236}">
                    <a16:creationId xmlns:a16="http://schemas.microsoft.com/office/drawing/2014/main" id="{F47869B3-4390-4839-9D4A-881172CFB161}"/>
                  </a:ext>
                </a:extLst>
              </p:cNvPr>
              <p:cNvSpPr/>
              <p:nvPr/>
            </p:nvSpPr>
            <p:spPr>
              <a:xfrm>
                <a:off x="4349081" y="4601727"/>
                <a:ext cx="18300" cy="14533"/>
              </a:xfrm>
              <a:custGeom>
                <a:avLst/>
                <a:gdLst>
                  <a:gd name="connsiteX0" fmla="*/ 0 w 18300"/>
                  <a:gd name="connsiteY0" fmla="*/ 14533 h 14533"/>
                  <a:gd name="connsiteX1" fmla="*/ 18301 w 18300"/>
                  <a:gd name="connsiteY1" fmla="*/ 0 h 14533"/>
                </a:gdLst>
                <a:ahLst/>
                <a:cxnLst>
                  <a:cxn ang="0">
                    <a:pos x="connsiteX0" y="connsiteY0"/>
                  </a:cxn>
                  <a:cxn ang="0">
                    <a:pos x="connsiteX1" y="connsiteY1"/>
                  </a:cxn>
                </a:cxnLst>
                <a:rect l="l" t="t" r="r" b="b"/>
                <a:pathLst>
                  <a:path w="18300" h="14533">
                    <a:moveTo>
                      <a:pt x="0" y="14533"/>
                    </a:moveTo>
                    <a:cubicBezTo>
                      <a:pt x="6041" y="9748"/>
                      <a:pt x="12141" y="4904"/>
                      <a:pt x="18301" y="0"/>
                    </a:cubicBezTo>
                  </a:path>
                </a:pathLst>
              </a:custGeom>
              <a:noFill/>
              <a:ln w="6350" cap="rnd">
                <a:solidFill>
                  <a:schemeClr val="bg1">
                    <a:alpha val="80000"/>
                  </a:schemeClr>
                </a:solidFill>
                <a:prstDash val="solid"/>
                <a:miter/>
              </a:ln>
            </p:spPr>
            <p:txBody>
              <a:bodyPr rtlCol="0" anchor="ctr"/>
              <a:lstStyle/>
              <a:p>
                <a:endParaRPr lang="en-GB"/>
              </a:p>
            </p:txBody>
          </p:sp>
          <p:sp>
            <p:nvSpPr>
              <p:cNvPr id="8173" name="Vrije vorm: vorm 8172">
                <a:extLst>
                  <a:ext uri="{FF2B5EF4-FFF2-40B4-BE49-F238E27FC236}">
                    <a16:creationId xmlns:a16="http://schemas.microsoft.com/office/drawing/2014/main" id="{2F011BD6-F09D-408F-8263-0A912933F926}"/>
                  </a:ext>
                </a:extLst>
              </p:cNvPr>
              <p:cNvSpPr/>
              <p:nvPr/>
            </p:nvSpPr>
            <p:spPr>
              <a:xfrm>
                <a:off x="4294716" y="4643173"/>
                <a:ext cx="20394" cy="16327"/>
              </a:xfrm>
              <a:custGeom>
                <a:avLst/>
                <a:gdLst>
                  <a:gd name="connsiteX0" fmla="*/ 0 w 20394"/>
                  <a:gd name="connsiteY0" fmla="*/ 16327 h 16327"/>
                  <a:gd name="connsiteX1" fmla="*/ 20394 w 20394"/>
                  <a:gd name="connsiteY1" fmla="*/ 0 h 16327"/>
                </a:gdLst>
                <a:ahLst/>
                <a:cxnLst>
                  <a:cxn ang="0">
                    <a:pos x="connsiteX0" y="connsiteY0"/>
                  </a:cxn>
                  <a:cxn ang="0">
                    <a:pos x="connsiteX1" y="connsiteY1"/>
                  </a:cxn>
                </a:cxnLst>
                <a:rect l="l" t="t" r="r" b="b"/>
                <a:pathLst>
                  <a:path w="20394" h="16327">
                    <a:moveTo>
                      <a:pt x="0" y="16327"/>
                    </a:moveTo>
                    <a:cubicBezTo>
                      <a:pt x="6698" y="10944"/>
                      <a:pt x="13516" y="5502"/>
                      <a:pt x="20394" y="0"/>
                    </a:cubicBezTo>
                  </a:path>
                </a:pathLst>
              </a:custGeom>
              <a:noFill/>
              <a:ln w="6350" cap="rnd">
                <a:solidFill>
                  <a:schemeClr val="bg1">
                    <a:alpha val="80000"/>
                  </a:schemeClr>
                </a:solidFill>
                <a:prstDash val="solid"/>
                <a:miter/>
              </a:ln>
            </p:spPr>
            <p:txBody>
              <a:bodyPr rtlCol="0" anchor="ctr"/>
              <a:lstStyle/>
              <a:p>
                <a:endParaRPr lang="en-GB"/>
              </a:p>
            </p:txBody>
          </p:sp>
          <p:sp>
            <p:nvSpPr>
              <p:cNvPr id="8174" name="Vrije vorm: vorm 8173">
                <a:extLst>
                  <a:ext uri="{FF2B5EF4-FFF2-40B4-BE49-F238E27FC236}">
                    <a16:creationId xmlns:a16="http://schemas.microsoft.com/office/drawing/2014/main" id="{D8FAACE3-AC23-4A54-AC46-DD7AEB20B2F0}"/>
                  </a:ext>
                </a:extLst>
              </p:cNvPr>
              <p:cNvSpPr/>
              <p:nvPr/>
            </p:nvSpPr>
            <p:spPr>
              <a:xfrm>
                <a:off x="4244956" y="4683065"/>
                <a:ext cx="20513" cy="16566"/>
              </a:xfrm>
              <a:custGeom>
                <a:avLst/>
                <a:gdLst>
                  <a:gd name="connsiteX0" fmla="*/ 0 w 20513"/>
                  <a:gd name="connsiteY0" fmla="*/ 16567 h 16566"/>
                  <a:gd name="connsiteX1" fmla="*/ 20514 w 20513"/>
                  <a:gd name="connsiteY1" fmla="*/ 0 h 16566"/>
                </a:gdLst>
                <a:ahLst/>
                <a:cxnLst>
                  <a:cxn ang="0">
                    <a:pos x="connsiteX0" y="connsiteY0"/>
                  </a:cxn>
                  <a:cxn ang="0">
                    <a:pos x="connsiteX1" y="connsiteY1"/>
                  </a:cxn>
                </a:cxnLst>
                <a:rect l="l" t="t" r="r" b="b"/>
                <a:pathLst>
                  <a:path w="20513" h="16566">
                    <a:moveTo>
                      <a:pt x="0" y="16567"/>
                    </a:moveTo>
                    <a:cubicBezTo>
                      <a:pt x="6698" y="11124"/>
                      <a:pt x="13516" y="5562"/>
                      <a:pt x="20514" y="0"/>
                    </a:cubicBezTo>
                  </a:path>
                </a:pathLst>
              </a:custGeom>
              <a:noFill/>
              <a:ln w="6350" cap="rnd">
                <a:solidFill>
                  <a:schemeClr val="bg1">
                    <a:alpha val="80000"/>
                  </a:schemeClr>
                </a:solidFill>
                <a:prstDash val="solid"/>
                <a:miter/>
              </a:ln>
            </p:spPr>
            <p:txBody>
              <a:bodyPr rtlCol="0" anchor="ctr"/>
              <a:lstStyle/>
              <a:p>
                <a:endParaRPr lang="en-GB"/>
              </a:p>
            </p:txBody>
          </p:sp>
          <p:sp>
            <p:nvSpPr>
              <p:cNvPr id="8175" name="Vrije vorm: vorm 8174">
                <a:extLst>
                  <a:ext uri="{FF2B5EF4-FFF2-40B4-BE49-F238E27FC236}">
                    <a16:creationId xmlns:a16="http://schemas.microsoft.com/office/drawing/2014/main" id="{D90B0D10-0793-4758-9FAD-998617ECFFAC}"/>
                  </a:ext>
                </a:extLst>
              </p:cNvPr>
              <p:cNvSpPr/>
              <p:nvPr/>
            </p:nvSpPr>
            <p:spPr>
              <a:xfrm>
                <a:off x="4358949" y="4738685"/>
                <a:ext cx="18360" cy="14891"/>
              </a:xfrm>
              <a:custGeom>
                <a:avLst/>
                <a:gdLst>
                  <a:gd name="connsiteX0" fmla="*/ 0 w 18360"/>
                  <a:gd name="connsiteY0" fmla="*/ 14892 h 14891"/>
                  <a:gd name="connsiteX1" fmla="*/ 18361 w 18360"/>
                  <a:gd name="connsiteY1" fmla="*/ 0 h 14891"/>
                </a:gdLst>
                <a:ahLst/>
                <a:cxnLst>
                  <a:cxn ang="0">
                    <a:pos x="connsiteX0" y="connsiteY0"/>
                  </a:cxn>
                  <a:cxn ang="0">
                    <a:pos x="connsiteX1" y="connsiteY1"/>
                  </a:cxn>
                </a:cxnLst>
                <a:rect l="l" t="t" r="r" b="b"/>
                <a:pathLst>
                  <a:path w="18360" h="14891">
                    <a:moveTo>
                      <a:pt x="0" y="14892"/>
                    </a:moveTo>
                    <a:cubicBezTo>
                      <a:pt x="6041" y="9988"/>
                      <a:pt x="12141" y="5024"/>
                      <a:pt x="18361" y="0"/>
                    </a:cubicBezTo>
                  </a:path>
                </a:pathLst>
              </a:custGeom>
              <a:noFill/>
              <a:ln w="6350" cap="rnd">
                <a:solidFill>
                  <a:schemeClr val="bg1">
                    <a:alpha val="80000"/>
                  </a:schemeClr>
                </a:solidFill>
                <a:prstDash val="solid"/>
                <a:miter/>
              </a:ln>
            </p:spPr>
            <p:txBody>
              <a:bodyPr rtlCol="0" anchor="ctr"/>
              <a:lstStyle/>
              <a:p>
                <a:endParaRPr lang="en-GB"/>
              </a:p>
            </p:txBody>
          </p:sp>
          <p:sp>
            <p:nvSpPr>
              <p:cNvPr id="8176" name="Vrije vorm: vorm 8175">
                <a:extLst>
                  <a:ext uri="{FF2B5EF4-FFF2-40B4-BE49-F238E27FC236}">
                    <a16:creationId xmlns:a16="http://schemas.microsoft.com/office/drawing/2014/main" id="{5C3B13F3-9F1E-4EE2-A406-4155F862FF41}"/>
                  </a:ext>
                </a:extLst>
              </p:cNvPr>
              <p:cNvSpPr/>
              <p:nvPr/>
            </p:nvSpPr>
            <p:spPr>
              <a:xfrm>
                <a:off x="4307335" y="4780670"/>
                <a:ext cx="18241" cy="14832"/>
              </a:xfrm>
              <a:custGeom>
                <a:avLst/>
                <a:gdLst>
                  <a:gd name="connsiteX0" fmla="*/ 0 w 18241"/>
                  <a:gd name="connsiteY0" fmla="*/ 14832 h 14832"/>
                  <a:gd name="connsiteX1" fmla="*/ 18241 w 18241"/>
                  <a:gd name="connsiteY1" fmla="*/ 0 h 14832"/>
                </a:gdLst>
                <a:ahLst/>
                <a:cxnLst>
                  <a:cxn ang="0">
                    <a:pos x="connsiteX0" y="connsiteY0"/>
                  </a:cxn>
                  <a:cxn ang="0">
                    <a:pos x="connsiteX1" y="connsiteY1"/>
                  </a:cxn>
                </a:cxnLst>
                <a:rect l="l" t="t" r="r" b="b"/>
                <a:pathLst>
                  <a:path w="18241" h="14832">
                    <a:moveTo>
                      <a:pt x="0" y="14832"/>
                    </a:moveTo>
                    <a:cubicBezTo>
                      <a:pt x="5981" y="9988"/>
                      <a:pt x="12021" y="5024"/>
                      <a:pt x="18241" y="0"/>
                    </a:cubicBezTo>
                  </a:path>
                </a:pathLst>
              </a:custGeom>
              <a:noFill/>
              <a:ln w="6350" cap="rnd">
                <a:solidFill>
                  <a:schemeClr val="bg1">
                    <a:alpha val="80000"/>
                  </a:schemeClr>
                </a:solidFill>
                <a:prstDash val="solid"/>
                <a:miter/>
              </a:ln>
            </p:spPr>
            <p:txBody>
              <a:bodyPr rtlCol="0" anchor="ctr"/>
              <a:lstStyle/>
              <a:p>
                <a:endParaRPr lang="en-GB"/>
              </a:p>
            </p:txBody>
          </p:sp>
          <p:sp>
            <p:nvSpPr>
              <p:cNvPr id="8177" name="Vrije vorm: vorm 8176">
                <a:extLst>
                  <a:ext uri="{FF2B5EF4-FFF2-40B4-BE49-F238E27FC236}">
                    <a16:creationId xmlns:a16="http://schemas.microsoft.com/office/drawing/2014/main" id="{E2A8F866-1D76-4259-A11D-2334C06C827B}"/>
                  </a:ext>
                </a:extLst>
              </p:cNvPr>
              <p:cNvSpPr/>
              <p:nvPr/>
            </p:nvSpPr>
            <p:spPr>
              <a:xfrm>
                <a:off x="4429761" y="4331757"/>
                <a:ext cx="35107" cy="129123"/>
              </a:xfrm>
              <a:custGeom>
                <a:avLst/>
                <a:gdLst>
                  <a:gd name="connsiteX0" fmla="*/ 0 w 35107"/>
                  <a:gd name="connsiteY0" fmla="*/ 129124 h 129123"/>
                  <a:gd name="connsiteX1" fmla="*/ 35107 w 35107"/>
                  <a:gd name="connsiteY1" fmla="*/ 0 h 129123"/>
                </a:gdLst>
                <a:ahLst/>
                <a:cxnLst>
                  <a:cxn ang="0">
                    <a:pos x="connsiteX0" y="connsiteY0"/>
                  </a:cxn>
                  <a:cxn ang="0">
                    <a:pos x="connsiteX1" y="connsiteY1"/>
                  </a:cxn>
                </a:cxnLst>
                <a:rect l="l" t="t" r="r" b="b"/>
                <a:pathLst>
                  <a:path w="35107" h="129123">
                    <a:moveTo>
                      <a:pt x="0" y="129124"/>
                    </a:moveTo>
                    <a:cubicBezTo>
                      <a:pt x="10227" y="86780"/>
                      <a:pt x="22009" y="43719"/>
                      <a:pt x="35107" y="0"/>
                    </a:cubicBezTo>
                  </a:path>
                </a:pathLst>
              </a:custGeom>
              <a:noFill/>
              <a:ln w="6350" cap="rnd">
                <a:solidFill>
                  <a:schemeClr val="bg1">
                    <a:alpha val="80000"/>
                  </a:schemeClr>
                </a:solidFill>
                <a:prstDash val="solid"/>
                <a:miter/>
              </a:ln>
            </p:spPr>
            <p:txBody>
              <a:bodyPr rtlCol="0" anchor="ctr"/>
              <a:lstStyle/>
              <a:p>
                <a:endParaRPr lang="en-GB"/>
              </a:p>
            </p:txBody>
          </p:sp>
          <p:sp>
            <p:nvSpPr>
              <p:cNvPr id="8178" name="Vrije vorm: vorm 8177">
                <a:extLst>
                  <a:ext uri="{FF2B5EF4-FFF2-40B4-BE49-F238E27FC236}">
                    <a16:creationId xmlns:a16="http://schemas.microsoft.com/office/drawing/2014/main" id="{26649FBF-DA1A-4103-92E7-31AD59232CDF}"/>
                  </a:ext>
                </a:extLst>
              </p:cNvPr>
              <p:cNvSpPr/>
              <p:nvPr/>
            </p:nvSpPr>
            <p:spPr>
              <a:xfrm>
                <a:off x="4448241" y="4325178"/>
                <a:ext cx="25238" cy="121408"/>
              </a:xfrm>
              <a:custGeom>
                <a:avLst/>
                <a:gdLst>
                  <a:gd name="connsiteX0" fmla="*/ 0 w 25238"/>
                  <a:gd name="connsiteY0" fmla="*/ 121409 h 121408"/>
                  <a:gd name="connsiteX1" fmla="*/ 25239 w 25238"/>
                  <a:gd name="connsiteY1" fmla="*/ 0 h 121408"/>
                </a:gdLst>
                <a:ahLst/>
                <a:cxnLst>
                  <a:cxn ang="0">
                    <a:pos x="connsiteX0" y="connsiteY0"/>
                  </a:cxn>
                  <a:cxn ang="0">
                    <a:pos x="connsiteX1" y="connsiteY1"/>
                  </a:cxn>
                </a:cxnLst>
                <a:rect l="l" t="t" r="r" b="b"/>
                <a:pathLst>
                  <a:path w="25238" h="121408">
                    <a:moveTo>
                      <a:pt x="0" y="121409"/>
                    </a:moveTo>
                    <a:cubicBezTo>
                      <a:pt x="7237" y="81517"/>
                      <a:pt x="15729" y="41028"/>
                      <a:pt x="25239" y="0"/>
                    </a:cubicBezTo>
                  </a:path>
                </a:pathLst>
              </a:custGeom>
              <a:noFill/>
              <a:ln w="6350" cap="rnd">
                <a:solidFill>
                  <a:schemeClr val="bg1">
                    <a:alpha val="80000"/>
                  </a:schemeClr>
                </a:solidFill>
                <a:prstDash val="solid"/>
                <a:miter/>
              </a:ln>
            </p:spPr>
            <p:txBody>
              <a:bodyPr rtlCol="0" anchor="ctr"/>
              <a:lstStyle/>
              <a:p>
                <a:endParaRPr lang="en-GB"/>
              </a:p>
            </p:txBody>
          </p:sp>
          <p:sp>
            <p:nvSpPr>
              <p:cNvPr id="8179" name="Vrije vorm: vorm 8178">
                <a:extLst>
                  <a:ext uri="{FF2B5EF4-FFF2-40B4-BE49-F238E27FC236}">
                    <a16:creationId xmlns:a16="http://schemas.microsoft.com/office/drawing/2014/main" id="{90D830CC-D171-44E6-8576-5D2A89064FCB}"/>
                  </a:ext>
                </a:extLst>
              </p:cNvPr>
              <p:cNvSpPr/>
              <p:nvPr/>
            </p:nvSpPr>
            <p:spPr>
              <a:xfrm>
                <a:off x="4456674" y="4320035"/>
                <a:ext cx="23564" cy="120033"/>
              </a:xfrm>
              <a:custGeom>
                <a:avLst/>
                <a:gdLst>
                  <a:gd name="connsiteX0" fmla="*/ 0 w 23564"/>
                  <a:gd name="connsiteY0" fmla="*/ 120033 h 120033"/>
                  <a:gd name="connsiteX1" fmla="*/ 23564 w 23564"/>
                  <a:gd name="connsiteY1" fmla="*/ 0 h 120033"/>
                </a:gdLst>
                <a:ahLst/>
                <a:cxnLst>
                  <a:cxn ang="0">
                    <a:pos x="connsiteX0" y="connsiteY0"/>
                  </a:cxn>
                  <a:cxn ang="0">
                    <a:pos x="connsiteX1" y="connsiteY1"/>
                  </a:cxn>
                </a:cxnLst>
                <a:rect l="l" t="t" r="r" b="b"/>
                <a:pathLst>
                  <a:path w="23564" h="120033">
                    <a:moveTo>
                      <a:pt x="0" y="120033"/>
                    </a:moveTo>
                    <a:cubicBezTo>
                      <a:pt x="6758" y="80561"/>
                      <a:pt x="14653" y="40549"/>
                      <a:pt x="23564" y="0"/>
                    </a:cubicBezTo>
                  </a:path>
                </a:pathLst>
              </a:custGeom>
              <a:noFill/>
              <a:ln w="6350" cap="rnd">
                <a:solidFill>
                  <a:schemeClr val="bg1">
                    <a:alpha val="80000"/>
                  </a:schemeClr>
                </a:solidFill>
                <a:prstDash val="solid"/>
                <a:miter/>
              </a:ln>
            </p:spPr>
            <p:txBody>
              <a:bodyPr rtlCol="0" anchor="ctr"/>
              <a:lstStyle/>
              <a:p>
                <a:endParaRPr lang="en-GB"/>
              </a:p>
            </p:txBody>
          </p:sp>
          <p:sp>
            <p:nvSpPr>
              <p:cNvPr id="8180" name="Vrije vorm: vorm 8179">
                <a:extLst>
                  <a:ext uri="{FF2B5EF4-FFF2-40B4-BE49-F238E27FC236}">
                    <a16:creationId xmlns:a16="http://schemas.microsoft.com/office/drawing/2014/main" id="{E1105267-BA88-476F-87C5-9C8A14D0BA4A}"/>
                  </a:ext>
                </a:extLst>
              </p:cNvPr>
              <p:cNvSpPr/>
              <p:nvPr/>
            </p:nvSpPr>
            <p:spPr>
              <a:xfrm>
                <a:off x="4384606" y="4354723"/>
                <a:ext cx="49879" cy="141085"/>
              </a:xfrm>
              <a:custGeom>
                <a:avLst/>
                <a:gdLst>
                  <a:gd name="connsiteX0" fmla="*/ 0 w 49879"/>
                  <a:gd name="connsiteY0" fmla="*/ 141085 h 141085"/>
                  <a:gd name="connsiteX1" fmla="*/ 49879 w 49879"/>
                  <a:gd name="connsiteY1" fmla="*/ 0 h 141085"/>
                </a:gdLst>
                <a:ahLst/>
                <a:cxnLst>
                  <a:cxn ang="0">
                    <a:pos x="connsiteX0" y="connsiteY0"/>
                  </a:cxn>
                  <a:cxn ang="0">
                    <a:pos x="connsiteX1" y="connsiteY1"/>
                  </a:cxn>
                </a:cxnLst>
                <a:rect l="l" t="t" r="r" b="b"/>
                <a:pathLst>
                  <a:path w="49879" h="141085">
                    <a:moveTo>
                      <a:pt x="0" y="141085"/>
                    </a:moveTo>
                    <a:cubicBezTo>
                      <a:pt x="14593" y="95153"/>
                      <a:pt x="31279" y="48025"/>
                      <a:pt x="49879" y="0"/>
                    </a:cubicBezTo>
                  </a:path>
                </a:pathLst>
              </a:custGeom>
              <a:noFill/>
              <a:ln w="6350" cap="rnd">
                <a:solidFill>
                  <a:schemeClr val="bg1">
                    <a:alpha val="80000"/>
                  </a:schemeClr>
                </a:solidFill>
                <a:prstDash val="solid"/>
                <a:miter/>
              </a:ln>
            </p:spPr>
            <p:txBody>
              <a:bodyPr rtlCol="0" anchor="ctr"/>
              <a:lstStyle/>
              <a:p>
                <a:endParaRPr lang="en-GB"/>
              </a:p>
            </p:txBody>
          </p:sp>
          <p:sp>
            <p:nvSpPr>
              <p:cNvPr id="8181" name="Vrije vorm: vorm 8180">
                <a:extLst>
                  <a:ext uri="{FF2B5EF4-FFF2-40B4-BE49-F238E27FC236}">
                    <a16:creationId xmlns:a16="http://schemas.microsoft.com/office/drawing/2014/main" id="{375ACC23-25E7-4AD1-82E3-67A7BDBCBFB4}"/>
                  </a:ext>
                </a:extLst>
              </p:cNvPr>
              <p:cNvSpPr/>
              <p:nvPr/>
            </p:nvSpPr>
            <p:spPr>
              <a:xfrm>
                <a:off x="4400515" y="4347725"/>
                <a:ext cx="43240" cy="135762"/>
              </a:xfrm>
              <a:custGeom>
                <a:avLst/>
                <a:gdLst>
                  <a:gd name="connsiteX0" fmla="*/ 0 w 43240"/>
                  <a:gd name="connsiteY0" fmla="*/ 135762 h 135762"/>
                  <a:gd name="connsiteX1" fmla="*/ 43241 w 43240"/>
                  <a:gd name="connsiteY1" fmla="*/ 0 h 135762"/>
                </a:gdLst>
                <a:ahLst/>
                <a:cxnLst>
                  <a:cxn ang="0">
                    <a:pos x="connsiteX0" y="connsiteY0"/>
                  </a:cxn>
                  <a:cxn ang="0">
                    <a:pos x="connsiteX1" y="connsiteY1"/>
                  </a:cxn>
                </a:cxnLst>
                <a:rect l="l" t="t" r="r" b="b"/>
                <a:pathLst>
                  <a:path w="43240" h="135762">
                    <a:moveTo>
                      <a:pt x="0" y="135762"/>
                    </a:moveTo>
                    <a:cubicBezTo>
                      <a:pt x="12619" y="91445"/>
                      <a:pt x="27152" y="46111"/>
                      <a:pt x="43241" y="0"/>
                    </a:cubicBezTo>
                  </a:path>
                </a:pathLst>
              </a:custGeom>
              <a:noFill/>
              <a:ln w="6350" cap="rnd">
                <a:solidFill>
                  <a:schemeClr val="bg1">
                    <a:alpha val="80000"/>
                  </a:schemeClr>
                </a:solidFill>
                <a:prstDash val="solid"/>
                <a:miter/>
              </a:ln>
            </p:spPr>
            <p:txBody>
              <a:bodyPr rtlCol="0" anchor="ctr"/>
              <a:lstStyle/>
              <a:p>
                <a:endParaRPr lang="en-GB"/>
              </a:p>
            </p:txBody>
          </p:sp>
          <p:sp>
            <p:nvSpPr>
              <p:cNvPr id="8182" name="Vrije vorm: vorm 8181">
                <a:extLst>
                  <a:ext uri="{FF2B5EF4-FFF2-40B4-BE49-F238E27FC236}">
                    <a16:creationId xmlns:a16="http://schemas.microsoft.com/office/drawing/2014/main" id="{C0A2BC72-0F05-44FB-A410-E058AF8B76E3}"/>
                  </a:ext>
                </a:extLst>
              </p:cNvPr>
              <p:cNvSpPr/>
              <p:nvPr/>
            </p:nvSpPr>
            <p:spPr>
              <a:xfrm>
                <a:off x="4410802" y="4342642"/>
                <a:ext cx="39652" cy="132891"/>
              </a:xfrm>
              <a:custGeom>
                <a:avLst/>
                <a:gdLst>
                  <a:gd name="connsiteX0" fmla="*/ 39652 w 39652"/>
                  <a:gd name="connsiteY0" fmla="*/ 0 h 132891"/>
                  <a:gd name="connsiteX1" fmla="*/ 0 w 39652"/>
                  <a:gd name="connsiteY1" fmla="*/ 132891 h 132891"/>
                </a:gdLst>
                <a:ahLst/>
                <a:cxnLst>
                  <a:cxn ang="0">
                    <a:pos x="connsiteX0" y="connsiteY0"/>
                  </a:cxn>
                  <a:cxn ang="0">
                    <a:pos x="connsiteX1" y="connsiteY1"/>
                  </a:cxn>
                </a:cxnLst>
                <a:rect l="l" t="t" r="r" b="b"/>
                <a:pathLst>
                  <a:path w="39652" h="132891">
                    <a:moveTo>
                      <a:pt x="39652" y="0"/>
                    </a:moveTo>
                    <a:cubicBezTo>
                      <a:pt x="24880" y="45095"/>
                      <a:pt x="11543" y="89411"/>
                      <a:pt x="0" y="132891"/>
                    </a:cubicBezTo>
                  </a:path>
                </a:pathLst>
              </a:custGeom>
              <a:noFill/>
              <a:ln w="6350" cap="rnd">
                <a:solidFill>
                  <a:schemeClr val="bg1">
                    <a:alpha val="80000"/>
                  </a:schemeClr>
                </a:solidFill>
                <a:prstDash val="solid"/>
                <a:miter/>
              </a:ln>
            </p:spPr>
            <p:txBody>
              <a:bodyPr rtlCol="0" anchor="ctr"/>
              <a:lstStyle/>
              <a:p>
                <a:endParaRPr lang="en-GB"/>
              </a:p>
            </p:txBody>
          </p:sp>
          <p:sp>
            <p:nvSpPr>
              <p:cNvPr id="8183" name="Vrije vorm: vorm 8182">
                <a:extLst>
                  <a:ext uri="{FF2B5EF4-FFF2-40B4-BE49-F238E27FC236}">
                    <a16:creationId xmlns:a16="http://schemas.microsoft.com/office/drawing/2014/main" id="{EB3C5B4C-F702-4F32-8D1C-40D08D6D235E}"/>
                  </a:ext>
                </a:extLst>
              </p:cNvPr>
              <p:cNvSpPr/>
              <p:nvPr/>
            </p:nvSpPr>
            <p:spPr>
              <a:xfrm>
                <a:off x="4341007" y="4380081"/>
                <a:ext cx="60046" cy="149577"/>
              </a:xfrm>
              <a:custGeom>
                <a:avLst/>
                <a:gdLst>
                  <a:gd name="connsiteX0" fmla="*/ 0 w 60046"/>
                  <a:gd name="connsiteY0" fmla="*/ 149578 h 149577"/>
                  <a:gd name="connsiteX1" fmla="*/ 60046 w 60046"/>
                  <a:gd name="connsiteY1" fmla="*/ 0 h 149577"/>
                </a:gdLst>
                <a:ahLst/>
                <a:cxnLst>
                  <a:cxn ang="0">
                    <a:pos x="connsiteX0" y="connsiteY0"/>
                  </a:cxn>
                  <a:cxn ang="0">
                    <a:pos x="connsiteX1" y="connsiteY1"/>
                  </a:cxn>
                </a:cxnLst>
                <a:rect l="l" t="t" r="r" b="b"/>
                <a:pathLst>
                  <a:path w="60046" h="149577">
                    <a:moveTo>
                      <a:pt x="0" y="149578"/>
                    </a:moveTo>
                    <a:cubicBezTo>
                      <a:pt x="17344" y="101194"/>
                      <a:pt x="37439" y="51195"/>
                      <a:pt x="60046" y="0"/>
                    </a:cubicBezTo>
                  </a:path>
                </a:pathLst>
              </a:custGeom>
              <a:noFill/>
              <a:ln w="6350" cap="rnd">
                <a:solidFill>
                  <a:schemeClr val="bg1">
                    <a:alpha val="80000"/>
                  </a:schemeClr>
                </a:solidFill>
                <a:prstDash val="solid"/>
                <a:miter/>
              </a:ln>
            </p:spPr>
            <p:txBody>
              <a:bodyPr rtlCol="0" anchor="ctr"/>
              <a:lstStyle/>
              <a:p>
                <a:endParaRPr lang="en-GB"/>
              </a:p>
            </p:txBody>
          </p:sp>
          <p:sp>
            <p:nvSpPr>
              <p:cNvPr id="8184" name="Vrije vorm: vorm 8183">
                <a:extLst>
                  <a:ext uri="{FF2B5EF4-FFF2-40B4-BE49-F238E27FC236}">
                    <a16:creationId xmlns:a16="http://schemas.microsoft.com/office/drawing/2014/main" id="{08D6EF79-9421-4AA4-99F7-4B6F6C072E3D}"/>
                  </a:ext>
                </a:extLst>
              </p:cNvPr>
              <p:cNvSpPr/>
              <p:nvPr/>
            </p:nvSpPr>
            <p:spPr>
              <a:xfrm>
                <a:off x="4356437" y="4373084"/>
                <a:ext cx="53766" cy="144553"/>
              </a:xfrm>
              <a:custGeom>
                <a:avLst/>
                <a:gdLst>
                  <a:gd name="connsiteX0" fmla="*/ 0 w 53766"/>
                  <a:gd name="connsiteY0" fmla="*/ 144554 h 144553"/>
                  <a:gd name="connsiteX1" fmla="*/ 53767 w 53766"/>
                  <a:gd name="connsiteY1" fmla="*/ 0 h 144553"/>
                </a:gdLst>
                <a:ahLst/>
                <a:cxnLst>
                  <a:cxn ang="0">
                    <a:pos x="connsiteX0" y="connsiteY0"/>
                  </a:cxn>
                  <a:cxn ang="0">
                    <a:pos x="connsiteX1" y="connsiteY1"/>
                  </a:cxn>
                </a:cxnLst>
                <a:rect l="l" t="t" r="r" b="b"/>
                <a:pathLst>
                  <a:path w="53766" h="144553">
                    <a:moveTo>
                      <a:pt x="0" y="144554"/>
                    </a:moveTo>
                    <a:cubicBezTo>
                      <a:pt x="15550" y="97665"/>
                      <a:pt x="33612" y="49401"/>
                      <a:pt x="53767" y="0"/>
                    </a:cubicBezTo>
                  </a:path>
                </a:pathLst>
              </a:custGeom>
              <a:noFill/>
              <a:ln w="6350" cap="rnd">
                <a:solidFill>
                  <a:schemeClr val="bg1">
                    <a:alpha val="80000"/>
                  </a:schemeClr>
                </a:solidFill>
                <a:prstDash val="solid"/>
                <a:miter/>
              </a:ln>
            </p:spPr>
            <p:txBody>
              <a:bodyPr rtlCol="0" anchor="ctr"/>
              <a:lstStyle/>
              <a:p>
                <a:endParaRPr lang="en-GB"/>
              </a:p>
            </p:txBody>
          </p:sp>
          <p:sp>
            <p:nvSpPr>
              <p:cNvPr id="8185" name="Vrije vorm: vorm 8184">
                <a:extLst>
                  <a:ext uri="{FF2B5EF4-FFF2-40B4-BE49-F238E27FC236}">
                    <a16:creationId xmlns:a16="http://schemas.microsoft.com/office/drawing/2014/main" id="{474C764B-1BD8-4D75-8527-6E358844A558}"/>
                  </a:ext>
                </a:extLst>
              </p:cNvPr>
              <p:cNvSpPr/>
              <p:nvPr/>
            </p:nvSpPr>
            <p:spPr>
              <a:xfrm>
                <a:off x="4305362" y="4290311"/>
                <a:ext cx="111480" cy="219611"/>
              </a:xfrm>
              <a:custGeom>
                <a:avLst/>
                <a:gdLst>
                  <a:gd name="connsiteX0" fmla="*/ 61063 w 111480"/>
                  <a:gd name="connsiteY0" fmla="*/ 219612 h 219611"/>
                  <a:gd name="connsiteX1" fmla="*/ 111481 w 111480"/>
                  <a:gd name="connsiteY1" fmla="*/ 77809 h 219611"/>
                  <a:gd name="connsiteX2" fmla="*/ 0 w 111480"/>
                  <a:gd name="connsiteY2" fmla="*/ 0 h 219611"/>
                </a:gdLst>
                <a:ahLst/>
                <a:cxnLst>
                  <a:cxn ang="0">
                    <a:pos x="connsiteX0" y="connsiteY0"/>
                  </a:cxn>
                  <a:cxn ang="0">
                    <a:pos x="connsiteX1" y="connsiteY1"/>
                  </a:cxn>
                  <a:cxn ang="0">
                    <a:pos x="connsiteX2" y="connsiteY2"/>
                  </a:cxn>
                </a:cxnLst>
                <a:rect l="l" t="t" r="r" b="b"/>
                <a:pathLst>
                  <a:path w="111480" h="219611">
                    <a:moveTo>
                      <a:pt x="61063" y="219612"/>
                    </a:moveTo>
                    <a:cubicBezTo>
                      <a:pt x="75656" y="173500"/>
                      <a:pt x="92582" y="126193"/>
                      <a:pt x="111481" y="77809"/>
                    </a:cubicBezTo>
                    <a:cubicBezTo>
                      <a:pt x="74998" y="51733"/>
                      <a:pt x="37918" y="25777"/>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186" name="Vrije vorm: vorm 8185">
                <a:extLst>
                  <a:ext uri="{FF2B5EF4-FFF2-40B4-BE49-F238E27FC236}">
                    <a16:creationId xmlns:a16="http://schemas.microsoft.com/office/drawing/2014/main" id="{5A27ECD5-CE7B-4A5D-9533-793F1CF1B305}"/>
                  </a:ext>
                </a:extLst>
              </p:cNvPr>
              <p:cNvSpPr/>
              <p:nvPr/>
            </p:nvSpPr>
            <p:spPr>
              <a:xfrm>
                <a:off x="4296211" y="4383371"/>
                <a:ext cx="83371" cy="181275"/>
              </a:xfrm>
              <a:custGeom>
                <a:avLst/>
                <a:gdLst>
                  <a:gd name="connsiteX0" fmla="*/ 0 w 83371"/>
                  <a:gd name="connsiteY0" fmla="*/ 181276 h 181275"/>
                  <a:gd name="connsiteX1" fmla="*/ 83371 w 83371"/>
                  <a:gd name="connsiteY1" fmla="*/ 0 h 181275"/>
                </a:gdLst>
                <a:ahLst/>
                <a:cxnLst>
                  <a:cxn ang="0">
                    <a:pos x="connsiteX0" y="connsiteY0"/>
                  </a:cxn>
                  <a:cxn ang="0">
                    <a:pos x="connsiteX1" y="connsiteY1"/>
                  </a:cxn>
                </a:cxnLst>
                <a:rect l="l" t="t" r="r" b="b"/>
                <a:pathLst>
                  <a:path w="83371" h="181275">
                    <a:moveTo>
                      <a:pt x="0" y="181276"/>
                    </a:moveTo>
                    <a:cubicBezTo>
                      <a:pt x="23205" y="123442"/>
                      <a:pt x="51314" y="62738"/>
                      <a:pt x="83371" y="0"/>
                    </a:cubicBezTo>
                  </a:path>
                </a:pathLst>
              </a:custGeom>
              <a:noFill/>
              <a:ln w="6350" cap="rnd">
                <a:solidFill>
                  <a:schemeClr val="bg1">
                    <a:alpha val="80000"/>
                  </a:schemeClr>
                </a:solidFill>
                <a:prstDash val="solid"/>
                <a:miter/>
              </a:ln>
            </p:spPr>
            <p:txBody>
              <a:bodyPr rtlCol="0" anchor="ctr"/>
              <a:lstStyle/>
              <a:p>
                <a:endParaRPr lang="en-GB"/>
              </a:p>
            </p:txBody>
          </p:sp>
          <p:sp>
            <p:nvSpPr>
              <p:cNvPr id="8187" name="Vrije vorm: vorm 8186">
                <a:extLst>
                  <a:ext uri="{FF2B5EF4-FFF2-40B4-BE49-F238E27FC236}">
                    <a16:creationId xmlns:a16="http://schemas.microsoft.com/office/drawing/2014/main" id="{F9B44D8D-4254-434B-BE1D-734CEA1C0305}"/>
                  </a:ext>
                </a:extLst>
              </p:cNvPr>
              <p:cNvSpPr/>
              <p:nvPr/>
            </p:nvSpPr>
            <p:spPr>
              <a:xfrm>
                <a:off x="4310983" y="4397306"/>
                <a:ext cx="67283" cy="155738"/>
              </a:xfrm>
              <a:custGeom>
                <a:avLst/>
                <a:gdLst>
                  <a:gd name="connsiteX0" fmla="*/ 0 w 67283"/>
                  <a:gd name="connsiteY0" fmla="*/ 155738 h 155738"/>
                  <a:gd name="connsiteX1" fmla="*/ 67283 w 67283"/>
                  <a:gd name="connsiteY1" fmla="*/ 0 h 155738"/>
                </a:gdLst>
                <a:ahLst/>
                <a:cxnLst>
                  <a:cxn ang="0">
                    <a:pos x="connsiteX0" y="connsiteY0"/>
                  </a:cxn>
                  <a:cxn ang="0">
                    <a:pos x="connsiteX1" y="connsiteY1"/>
                  </a:cxn>
                </a:cxnLst>
                <a:rect l="l" t="t" r="r" b="b"/>
                <a:pathLst>
                  <a:path w="67283" h="155738">
                    <a:moveTo>
                      <a:pt x="0" y="155738"/>
                    </a:moveTo>
                    <a:cubicBezTo>
                      <a:pt x="19198" y="105620"/>
                      <a:pt x="41746" y="53587"/>
                      <a:pt x="67283" y="0"/>
                    </a:cubicBezTo>
                  </a:path>
                </a:pathLst>
              </a:custGeom>
              <a:noFill/>
              <a:ln w="6350" cap="rnd">
                <a:solidFill>
                  <a:schemeClr val="bg1">
                    <a:alpha val="80000"/>
                  </a:schemeClr>
                </a:solidFill>
                <a:prstDash val="solid"/>
                <a:miter/>
              </a:ln>
            </p:spPr>
            <p:txBody>
              <a:bodyPr rtlCol="0" anchor="ctr"/>
              <a:lstStyle/>
              <a:p>
                <a:endParaRPr lang="en-GB"/>
              </a:p>
            </p:txBody>
          </p:sp>
          <p:sp>
            <p:nvSpPr>
              <p:cNvPr id="8188" name="Vrije vorm: vorm 8187">
                <a:extLst>
                  <a:ext uri="{FF2B5EF4-FFF2-40B4-BE49-F238E27FC236}">
                    <a16:creationId xmlns:a16="http://schemas.microsoft.com/office/drawing/2014/main" id="{D5DDA1E1-94F1-4C03-896F-CF83B0F4CB4B}"/>
                  </a:ext>
                </a:extLst>
              </p:cNvPr>
              <p:cNvSpPr/>
              <p:nvPr/>
            </p:nvSpPr>
            <p:spPr>
              <a:xfrm>
                <a:off x="4320612" y="4392402"/>
                <a:ext cx="64173" cy="153166"/>
              </a:xfrm>
              <a:custGeom>
                <a:avLst/>
                <a:gdLst>
                  <a:gd name="connsiteX0" fmla="*/ 0 w 64173"/>
                  <a:gd name="connsiteY0" fmla="*/ 153166 h 153166"/>
                  <a:gd name="connsiteX1" fmla="*/ 64173 w 64173"/>
                  <a:gd name="connsiteY1" fmla="*/ 0 h 153166"/>
                </a:gdLst>
                <a:ahLst/>
                <a:cxnLst>
                  <a:cxn ang="0">
                    <a:pos x="connsiteX0" y="connsiteY0"/>
                  </a:cxn>
                  <a:cxn ang="0">
                    <a:pos x="connsiteX1" y="connsiteY1"/>
                  </a:cxn>
                </a:cxnLst>
                <a:rect l="l" t="t" r="r" b="b"/>
                <a:pathLst>
                  <a:path w="64173" h="153166">
                    <a:moveTo>
                      <a:pt x="0" y="153166"/>
                    </a:moveTo>
                    <a:cubicBezTo>
                      <a:pt x="18361" y="103825"/>
                      <a:pt x="39892" y="52630"/>
                      <a:pt x="64173" y="0"/>
                    </a:cubicBezTo>
                  </a:path>
                </a:pathLst>
              </a:custGeom>
              <a:noFill/>
              <a:ln w="6350" cap="rnd">
                <a:solidFill>
                  <a:schemeClr val="bg1">
                    <a:alpha val="80000"/>
                  </a:schemeClr>
                </a:solidFill>
                <a:prstDash val="solid"/>
                <a:miter/>
              </a:ln>
            </p:spPr>
            <p:txBody>
              <a:bodyPr rtlCol="0" anchor="ctr"/>
              <a:lstStyle/>
              <a:p>
                <a:endParaRPr lang="en-GB"/>
              </a:p>
            </p:txBody>
          </p:sp>
          <p:sp>
            <p:nvSpPr>
              <p:cNvPr id="8189" name="Vrije vorm: vorm 8188">
                <a:extLst>
                  <a:ext uri="{FF2B5EF4-FFF2-40B4-BE49-F238E27FC236}">
                    <a16:creationId xmlns:a16="http://schemas.microsoft.com/office/drawing/2014/main" id="{9E9774A3-75E0-41AE-A0B9-4C18B4F8A3E8}"/>
                  </a:ext>
                </a:extLst>
              </p:cNvPr>
              <p:cNvSpPr/>
              <p:nvPr/>
            </p:nvSpPr>
            <p:spPr>
              <a:xfrm>
                <a:off x="4249083" y="4429721"/>
                <a:ext cx="86600" cy="172124"/>
              </a:xfrm>
              <a:custGeom>
                <a:avLst/>
                <a:gdLst>
                  <a:gd name="connsiteX0" fmla="*/ 0 w 86600"/>
                  <a:gd name="connsiteY0" fmla="*/ 172125 h 172124"/>
                  <a:gd name="connsiteX1" fmla="*/ 86601 w 86600"/>
                  <a:gd name="connsiteY1" fmla="*/ 0 h 172124"/>
                </a:gdLst>
                <a:ahLst/>
                <a:cxnLst>
                  <a:cxn ang="0">
                    <a:pos x="connsiteX0" y="connsiteY0"/>
                  </a:cxn>
                  <a:cxn ang="0">
                    <a:pos x="connsiteX1" y="connsiteY1"/>
                  </a:cxn>
                </a:cxnLst>
                <a:rect l="l" t="t" r="r" b="b"/>
                <a:pathLst>
                  <a:path w="86600" h="172124">
                    <a:moveTo>
                      <a:pt x="0" y="172125"/>
                    </a:moveTo>
                    <a:cubicBezTo>
                      <a:pt x="23863" y="117701"/>
                      <a:pt x="53049" y="59986"/>
                      <a:pt x="86601" y="0"/>
                    </a:cubicBezTo>
                  </a:path>
                </a:pathLst>
              </a:custGeom>
              <a:noFill/>
              <a:ln w="6350" cap="rnd">
                <a:solidFill>
                  <a:schemeClr val="bg1">
                    <a:alpha val="80000"/>
                  </a:schemeClr>
                </a:solidFill>
                <a:prstDash val="solid"/>
                <a:miter/>
              </a:ln>
            </p:spPr>
            <p:txBody>
              <a:bodyPr rtlCol="0" anchor="ctr"/>
              <a:lstStyle/>
              <a:p>
                <a:endParaRPr lang="en-GB"/>
              </a:p>
            </p:txBody>
          </p:sp>
          <p:sp>
            <p:nvSpPr>
              <p:cNvPr id="8190" name="Vrije vorm: vorm 8189">
                <a:extLst>
                  <a:ext uri="{FF2B5EF4-FFF2-40B4-BE49-F238E27FC236}">
                    <a16:creationId xmlns:a16="http://schemas.microsoft.com/office/drawing/2014/main" id="{71BDD5CF-3610-4A61-8F64-A9630C73D04D}"/>
                  </a:ext>
                </a:extLst>
              </p:cNvPr>
              <p:cNvSpPr/>
              <p:nvPr/>
            </p:nvSpPr>
            <p:spPr>
              <a:xfrm>
                <a:off x="4230184" y="4614167"/>
                <a:ext cx="17284" cy="43838"/>
              </a:xfrm>
              <a:custGeom>
                <a:avLst/>
                <a:gdLst>
                  <a:gd name="connsiteX0" fmla="*/ 0 w 17284"/>
                  <a:gd name="connsiteY0" fmla="*/ 43839 h 43838"/>
                  <a:gd name="connsiteX1" fmla="*/ 17284 w 17284"/>
                  <a:gd name="connsiteY1" fmla="*/ 0 h 43838"/>
                </a:gdLst>
                <a:ahLst/>
                <a:cxnLst>
                  <a:cxn ang="0">
                    <a:pos x="connsiteX0" y="connsiteY0"/>
                  </a:cxn>
                  <a:cxn ang="0">
                    <a:pos x="connsiteX1" y="connsiteY1"/>
                  </a:cxn>
                </a:cxnLst>
                <a:rect l="l" t="t" r="r" b="b"/>
                <a:pathLst>
                  <a:path w="17284" h="43838">
                    <a:moveTo>
                      <a:pt x="0" y="43839"/>
                    </a:moveTo>
                    <a:cubicBezTo>
                      <a:pt x="5383" y="29485"/>
                      <a:pt x="11124" y="14892"/>
                      <a:pt x="17284" y="0"/>
                    </a:cubicBezTo>
                  </a:path>
                </a:pathLst>
              </a:custGeom>
              <a:noFill/>
              <a:ln w="6350" cap="rnd">
                <a:solidFill>
                  <a:schemeClr val="bg1">
                    <a:alpha val="80000"/>
                  </a:schemeClr>
                </a:solidFill>
                <a:prstDash val="solid"/>
                <a:miter/>
              </a:ln>
            </p:spPr>
            <p:txBody>
              <a:bodyPr rtlCol="0" anchor="ctr"/>
              <a:lstStyle/>
              <a:p>
                <a:endParaRPr lang="en-GB"/>
              </a:p>
            </p:txBody>
          </p:sp>
          <p:sp>
            <p:nvSpPr>
              <p:cNvPr id="8191" name="Vrije vorm: vorm 8190">
                <a:extLst>
                  <a:ext uri="{FF2B5EF4-FFF2-40B4-BE49-F238E27FC236}">
                    <a16:creationId xmlns:a16="http://schemas.microsoft.com/office/drawing/2014/main" id="{B6FB879C-AE89-4806-A23E-FB7511E9F5F9}"/>
                  </a:ext>
                </a:extLst>
              </p:cNvPr>
              <p:cNvSpPr/>
              <p:nvPr/>
            </p:nvSpPr>
            <p:spPr>
              <a:xfrm>
                <a:off x="4278568" y="4576368"/>
                <a:ext cx="16686" cy="42882"/>
              </a:xfrm>
              <a:custGeom>
                <a:avLst/>
                <a:gdLst>
                  <a:gd name="connsiteX0" fmla="*/ 0 w 16686"/>
                  <a:gd name="connsiteY0" fmla="*/ 42882 h 42882"/>
                  <a:gd name="connsiteX1" fmla="*/ 16686 w 16686"/>
                  <a:gd name="connsiteY1" fmla="*/ 0 h 42882"/>
                </a:gdLst>
                <a:ahLst/>
                <a:cxnLst>
                  <a:cxn ang="0">
                    <a:pos x="connsiteX0" y="connsiteY0"/>
                  </a:cxn>
                  <a:cxn ang="0">
                    <a:pos x="connsiteX1" y="connsiteY1"/>
                  </a:cxn>
                </a:cxnLst>
                <a:rect l="l" t="t" r="r" b="b"/>
                <a:pathLst>
                  <a:path w="16686" h="42882">
                    <a:moveTo>
                      <a:pt x="0" y="42882"/>
                    </a:moveTo>
                    <a:cubicBezTo>
                      <a:pt x="5263" y="28767"/>
                      <a:pt x="10825" y="14474"/>
                      <a:pt x="16686" y="0"/>
                    </a:cubicBezTo>
                  </a:path>
                </a:pathLst>
              </a:custGeom>
              <a:noFill/>
              <a:ln w="6350" cap="rnd">
                <a:solidFill>
                  <a:schemeClr val="bg1">
                    <a:alpha val="80000"/>
                  </a:schemeClr>
                </a:solidFill>
                <a:prstDash val="solid"/>
                <a:miter/>
              </a:ln>
            </p:spPr>
            <p:txBody>
              <a:bodyPr rtlCol="0" anchor="ctr"/>
              <a:lstStyle/>
              <a:p>
                <a:endParaRPr lang="en-GB"/>
              </a:p>
            </p:txBody>
          </p:sp>
          <p:sp>
            <p:nvSpPr>
              <p:cNvPr id="8192" name="Vrije vorm: vorm 8191">
                <a:extLst>
                  <a:ext uri="{FF2B5EF4-FFF2-40B4-BE49-F238E27FC236}">
                    <a16:creationId xmlns:a16="http://schemas.microsoft.com/office/drawing/2014/main" id="{DC96656B-9960-4C2D-B484-2640D9A8A805}"/>
                  </a:ext>
                </a:extLst>
              </p:cNvPr>
              <p:cNvSpPr/>
              <p:nvPr/>
            </p:nvSpPr>
            <p:spPr>
              <a:xfrm>
                <a:off x="4290290" y="4567697"/>
                <a:ext cx="16028" cy="42283"/>
              </a:xfrm>
              <a:custGeom>
                <a:avLst/>
                <a:gdLst>
                  <a:gd name="connsiteX0" fmla="*/ 0 w 16028"/>
                  <a:gd name="connsiteY0" fmla="*/ 42283 h 42283"/>
                  <a:gd name="connsiteX1" fmla="*/ 16028 w 16028"/>
                  <a:gd name="connsiteY1" fmla="*/ 0 h 42283"/>
                </a:gdLst>
                <a:ahLst/>
                <a:cxnLst>
                  <a:cxn ang="0">
                    <a:pos x="connsiteX0" y="connsiteY0"/>
                  </a:cxn>
                  <a:cxn ang="0">
                    <a:pos x="connsiteX1" y="connsiteY1"/>
                  </a:cxn>
                </a:cxnLst>
                <a:rect l="l" t="t" r="r" b="b"/>
                <a:pathLst>
                  <a:path w="16028" h="42283">
                    <a:moveTo>
                      <a:pt x="0" y="42283"/>
                    </a:moveTo>
                    <a:cubicBezTo>
                      <a:pt x="5024" y="28349"/>
                      <a:pt x="10406" y="14294"/>
                      <a:pt x="16028" y="0"/>
                    </a:cubicBezTo>
                  </a:path>
                </a:pathLst>
              </a:custGeom>
              <a:noFill/>
              <a:ln w="6350" cap="rnd">
                <a:solidFill>
                  <a:schemeClr val="bg1">
                    <a:alpha val="80000"/>
                  </a:schemeClr>
                </a:solidFill>
                <a:prstDash val="solid"/>
                <a:miter/>
              </a:ln>
            </p:spPr>
            <p:txBody>
              <a:bodyPr rtlCol="0" anchor="ctr"/>
              <a:lstStyle/>
              <a:p>
                <a:endParaRPr lang="en-GB"/>
              </a:p>
            </p:txBody>
          </p:sp>
          <p:sp>
            <p:nvSpPr>
              <p:cNvPr id="8193" name="Vrije vorm: vorm 8192">
                <a:extLst>
                  <a:ext uri="{FF2B5EF4-FFF2-40B4-BE49-F238E27FC236}">
                    <a16:creationId xmlns:a16="http://schemas.microsoft.com/office/drawing/2014/main" id="{DD7127FD-1F42-442A-AAF7-FB8F19161799}"/>
                  </a:ext>
                </a:extLst>
              </p:cNvPr>
              <p:cNvSpPr/>
              <p:nvPr/>
            </p:nvSpPr>
            <p:spPr>
              <a:xfrm>
                <a:off x="4323603" y="4539467"/>
                <a:ext cx="18779" cy="44197"/>
              </a:xfrm>
              <a:custGeom>
                <a:avLst/>
                <a:gdLst>
                  <a:gd name="connsiteX0" fmla="*/ 0 w 18779"/>
                  <a:gd name="connsiteY0" fmla="*/ 44198 h 44197"/>
                  <a:gd name="connsiteX1" fmla="*/ 18780 w 18779"/>
                  <a:gd name="connsiteY1" fmla="*/ 0 h 44197"/>
                </a:gdLst>
                <a:ahLst/>
                <a:cxnLst>
                  <a:cxn ang="0">
                    <a:pos x="connsiteX0" y="connsiteY0"/>
                  </a:cxn>
                  <a:cxn ang="0">
                    <a:pos x="connsiteX1" y="connsiteY1"/>
                  </a:cxn>
                </a:cxnLst>
                <a:rect l="l" t="t" r="r" b="b"/>
                <a:pathLst>
                  <a:path w="18779" h="44197">
                    <a:moveTo>
                      <a:pt x="0" y="44198"/>
                    </a:moveTo>
                    <a:cubicBezTo>
                      <a:pt x="5981" y="29605"/>
                      <a:pt x="12261" y="14892"/>
                      <a:pt x="18780" y="0"/>
                    </a:cubicBezTo>
                  </a:path>
                </a:pathLst>
              </a:custGeom>
              <a:noFill/>
              <a:ln w="6350" cap="rnd">
                <a:solidFill>
                  <a:schemeClr val="bg1">
                    <a:alpha val="80000"/>
                  </a:schemeClr>
                </a:solidFill>
                <a:prstDash val="solid"/>
                <a:miter/>
              </a:ln>
            </p:spPr>
            <p:txBody>
              <a:bodyPr rtlCol="0" anchor="ctr"/>
              <a:lstStyle/>
              <a:p>
                <a:endParaRPr lang="en-GB"/>
              </a:p>
            </p:txBody>
          </p:sp>
          <p:sp>
            <p:nvSpPr>
              <p:cNvPr id="8194" name="Vrije vorm: vorm 8193">
                <a:extLst>
                  <a:ext uri="{FF2B5EF4-FFF2-40B4-BE49-F238E27FC236}">
                    <a16:creationId xmlns:a16="http://schemas.microsoft.com/office/drawing/2014/main" id="{93778189-D5F0-4076-AEA1-54FF817BD9C1}"/>
                  </a:ext>
                </a:extLst>
              </p:cNvPr>
              <p:cNvSpPr/>
              <p:nvPr/>
            </p:nvSpPr>
            <p:spPr>
              <a:xfrm>
                <a:off x="4335923" y="4530436"/>
                <a:ext cx="18001" cy="43539"/>
              </a:xfrm>
              <a:custGeom>
                <a:avLst/>
                <a:gdLst>
                  <a:gd name="connsiteX0" fmla="*/ 0 w 18001"/>
                  <a:gd name="connsiteY0" fmla="*/ 43540 h 43539"/>
                  <a:gd name="connsiteX1" fmla="*/ 18002 w 18001"/>
                  <a:gd name="connsiteY1" fmla="*/ 0 h 43539"/>
                </a:gdLst>
                <a:ahLst/>
                <a:cxnLst>
                  <a:cxn ang="0">
                    <a:pos x="connsiteX0" y="connsiteY0"/>
                  </a:cxn>
                  <a:cxn ang="0">
                    <a:pos x="connsiteX1" y="connsiteY1"/>
                  </a:cxn>
                </a:cxnLst>
                <a:rect l="l" t="t" r="r" b="b"/>
                <a:pathLst>
                  <a:path w="18001" h="43539">
                    <a:moveTo>
                      <a:pt x="0" y="43540"/>
                    </a:moveTo>
                    <a:cubicBezTo>
                      <a:pt x="5741" y="29186"/>
                      <a:pt x="11722" y="14653"/>
                      <a:pt x="18002" y="0"/>
                    </a:cubicBezTo>
                  </a:path>
                </a:pathLst>
              </a:custGeom>
              <a:noFill/>
              <a:ln w="6350" cap="rnd">
                <a:solidFill>
                  <a:schemeClr val="bg1">
                    <a:alpha val="80000"/>
                  </a:schemeClr>
                </a:solidFill>
                <a:prstDash val="solid"/>
                <a:miter/>
              </a:ln>
            </p:spPr>
            <p:txBody>
              <a:bodyPr rtlCol="0" anchor="ctr"/>
              <a:lstStyle/>
              <a:p>
                <a:endParaRPr lang="en-GB"/>
              </a:p>
            </p:txBody>
          </p:sp>
          <p:sp>
            <p:nvSpPr>
              <p:cNvPr id="8195" name="Vrije vorm: vorm 8194">
                <a:extLst>
                  <a:ext uri="{FF2B5EF4-FFF2-40B4-BE49-F238E27FC236}">
                    <a16:creationId xmlns:a16="http://schemas.microsoft.com/office/drawing/2014/main" id="{B4C92DA9-3891-441A-A21F-F9092974FBF9}"/>
                  </a:ext>
                </a:extLst>
              </p:cNvPr>
              <p:cNvSpPr/>
              <p:nvPr/>
            </p:nvSpPr>
            <p:spPr>
              <a:xfrm>
                <a:off x="4373303" y="4504959"/>
                <a:ext cx="13456" cy="39712"/>
              </a:xfrm>
              <a:custGeom>
                <a:avLst/>
                <a:gdLst>
                  <a:gd name="connsiteX0" fmla="*/ 0 w 13456"/>
                  <a:gd name="connsiteY0" fmla="*/ 39712 h 39712"/>
                  <a:gd name="connsiteX1" fmla="*/ 13457 w 13456"/>
                  <a:gd name="connsiteY1" fmla="*/ 0 h 39712"/>
                </a:gdLst>
                <a:ahLst/>
                <a:cxnLst>
                  <a:cxn ang="0">
                    <a:pos x="connsiteX0" y="connsiteY0"/>
                  </a:cxn>
                  <a:cxn ang="0">
                    <a:pos x="connsiteX1" y="connsiteY1"/>
                  </a:cxn>
                </a:cxnLst>
                <a:rect l="l" t="t" r="r" b="b"/>
                <a:pathLst>
                  <a:path w="13456" h="39712">
                    <a:moveTo>
                      <a:pt x="0" y="39712"/>
                    </a:moveTo>
                    <a:cubicBezTo>
                      <a:pt x="4306" y="26554"/>
                      <a:pt x="8791" y="13337"/>
                      <a:pt x="13457" y="0"/>
                    </a:cubicBezTo>
                  </a:path>
                </a:pathLst>
              </a:custGeom>
              <a:noFill/>
              <a:ln w="6350" cap="rnd">
                <a:solidFill>
                  <a:schemeClr val="bg1">
                    <a:alpha val="80000"/>
                  </a:schemeClr>
                </a:solidFill>
                <a:prstDash val="solid"/>
                <a:miter/>
              </a:ln>
            </p:spPr>
            <p:txBody>
              <a:bodyPr rtlCol="0" anchor="ctr"/>
              <a:lstStyle/>
              <a:p>
                <a:endParaRPr lang="en-GB"/>
              </a:p>
            </p:txBody>
          </p:sp>
          <p:sp>
            <p:nvSpPr>
              <p:cNvPr id="8196" name="Vrije vorm: vorm 8195">
                <a:extLst>
                  <a:ext uri="{FF2B5EF4-FFF2-40B4-BE49-F238E27FC236}">
                    <a16:creationId xmlns:a16="http://schemas.microsoft.com/office/drawing/2014/main" id="{50A95540-9301-46A1-893A-D6C9B54EF950}"/>
                  </a:ext>
                </a:extLst>
              </p:cNvPr>
              <p:cNvSpPr/>
              <p:nvPr/>
            </p:nvSpPr>
            <p:spPr>
              <a:xfrm>
                <a:off x="4386221" y="4495091"/>
                <a:ext cx="13157" cy="39472"/>
              </a:xfrm>
              <a:custGeom>
                <a:avLst/>
                <a:gdLst>
                  <a:gd name="connsiteX0" fmla="*/ 0 w 13157"/>
                  <a:gd name="connsiteY0" fmla="*/ 39473 h 39472"/>
                  <a:gd name="connsiteX1" fmla="*/ 13158 w 13157"/>
                  <a:gd name="connsiteY1" fmla="*/ 0 h 39472"/>
                </a:gdLst>
                <a:ahLst/>
                <a:cxnLst>
                  <a:cxn ang="0">
                    <a:pos x="connsiteX0" y="connsiteY0"/>
                  </a:cxn>
                  <a:cxn ang="0">
                    <a:pos x="connsiteX1" y="connsiteY1"/>
                  </a:cxn>
                </a:cxnLst>
                <a:rect l="l" t="t" r="r" b="b"/>
                <a:pathLst>
                  <a:path w="13157" h="39472">
                    <a:moveTo>
                      <a:pt x="0" y="39473"/>
                    </a:moveTo>
                    <a:cubicBezTo>
                      <a:pt x="4187" y="26435"/>
                      <a:pt x="8612" y="13277"/>
                      <a:pt x="13158" y="0"/>
                    </a:cubicBezTo>
                  </a:path>
                </a:pathLst>
              </a:custGeom>
              <a:noFill/>
              <a:ln w="6350" cap="rnd">
                <a:solidFill>
                  <a:schemeClr val="bg1">
                    <a:alpha val="80000"/>
                  </a:schemeClr>
                </a:solidFill>
                <a:prstDash val="solid"/>
                <a:miter/>
              </a:ln>
            </p:spPr>
            <p:txBody>
              <a:bodyPr rtlCol="0" anchor="ctr"/>
              <a:lstStyle/>
              <a:p>
                <a:endParaRPr lang="en-GB"/>
              </a:p>
            </p:txBody>
          </p:sp>
          <p:sp>
            <p:nvSpPr>
              <p:cNvPr id="8197" name="Vrije vorm: vorm 8196">
                <a:extLst>
                  <a:ext uri="{FF2B5EF4-FFF2-40B4-BE49-F238E27FC236}">
                    <a16:creationId xmlns:a16="http://schemas.microsoft.com/office/drawing/2014/main" id="{24274D35-53C2-4F04-918C-06C6E8B6634D}"/>
                  </a:ext>
                </a:extLst>
              </p:cNvPr>
              <p:cNvSpPr/>
              <p:nvPr/>
            </p:nvSpPr>
            <p:spPr>
              <a:xfrm>
                <a:off x="4399738" y="4485342"/>
                <a:ext cx="12200" cy="38635"/>
              </a:xfrm>
              <a:custGeom>
                <a:avLst/>
                <a:gdLst>
                  <a:gd name="connsiteX0" fmla="*/ 0 w 12200"/>
                  <a:gd name="connsiteY0" fmla="*/ 38636 h 38635"/>
                  <a:gd name="connsiteX1" fmla="*/ 12201 w 12200"/>
                  <a:gd name="connsiteY1" fmla="*/ 0 h 38635"/>
                </a:gdLst>
                <a:ahLst/>
                <a:cxnLst>
                  <a:cxn ang="0">
                    <a:pos x="connsiteX0" y="connsiteY0"/>
                  </a:cxn>
                  <a:cxn ang="0">
                    <a:pos x="connsiteX1" y="connsiteY1"/>
                  </a:cxn>
                </a:cxnLst>
                <a:rect l="l" t="t" r="r" b="b"/>
                <a:pathLst>
                  <a:path w="12200" h="38635">
                    <a:moveTo>
                      <a:pt x="0" y="38636"/>
                    </a:moveTo>
                    <a:cubicBezTo>
                      <a:pt x="3887" y="25837"/>
                      <a:pt x="8014" y="12978"/>
                      <a:pt x="12201" y="0"/>
                    </a:cubicBezTo>
                  </a:path>
                </a:pathLst>
              </a:custGeom>
              <a:noFill/>
              <a:ln w="6350" cap="rnd">
                <a:solidFill>
                  <a:schemeClr val="bg1">
                    <a:alpha val="80000"/>
                  </a:schemeClr>
                </a:solidFill>
                <a:prstDash val="solid"/>
                <a:miter/>
              </a:ln>
            </p:spPr>
            <p:txBody>
              <a:bodyPr rtlCol="0" anchor="ctr"/>
              <a:lstStyle/>
              <a:p>
                <a:endParaRPr lang="en-GB"/>
              </a:p>
            </p:txBody>
          </p:sp>
          <p:sp>
            <p:nvSpPr>
              <p:cNvPr id="8198" name="Vrije vorm: vorm 8197">
                <a:extLst>
                  <a:ext uri="{FF2B5EF4-FFF2-40B4-BE49-F238E27FC236}">
                    <a16:creationId xmlns:a16="http://schemas.microsoft.com/office/drawing/2014/main" id="{8C09FACF-C866-40F4-8070-FAFFCA26DB95}"/>
                  </a:ext>
                </a:extLst>
              </p:cNvPr>
              <p:cNvSpPr/>
              <p:nvPr/>
            </p:nvSpPr>
            <p:spPr>
              <a:xfrm>
                <a:off x="4431316" y="4464529"/>
                <a:ext cx="7535" cy="34867"/>
              </a:xfrm>
              <a:custGeom>
                <a:avLst/>
                <a:gdLst>
                  <a:gd name="connsiteX0" fmla="*/ 0 w 7535"/>
                  <a:gd name="connsiteY0" fmla="*/ 34867 h 34867"/>
                  <a:gd name="connsiteX1" fmla="*/ 7536 w 7535"/>
                  <a:gd name="connsiteY1" fmla="*/ 0 h 34867"/>
                </a:gdLst>
                <a:ahLst/>
                <a:cxnLst>
                  <a:cxn ang="0">
                    <a:pos x="connsiteX0" y="connsiteY0"/>
                  </a:cxn>
                  <a:cxn ang="0">
                    <a:pos x="connsiteX1" y="connsiteY1"/>
                  </a:cxn>
                </a:cxnLst>
                <a:rect l="l" t="t" r="r" b="b"/>
                <a:pathLst>
                  <a:path w="7535" h="34867">
                    <a:moveTo>
                      <a:pt x="0" y="34867"/>
                    </a:moveTo>
                    <a:cubicBezTo>
                      <a:pt x="2392" y="23325"/>
                      <a:pt x="4904" y="11722"/>
                      <a:pt x="7536" y="0"/>
                    </a:cubicBezTo>
                  </a:path>
                </a:pathLst>
              </a:custGeom>
              <a:noFill/>
              <a:ln w="6350" cap="rnd">
                <a:solidFill>
                  <a:schemeClr val="bg1">
                    <a:alpha val="80000"/>
                  </a:schemeClr>
                </a:solidFill>
                <a:prstDash val="solid"/>
                <a:miter/>
              </a:ln>
            </p:spPr>
            <p:txBody>
              <a:bodyPr rtlCol="0" anchor="ctr"/>
              <a:lstStyle/>
              <a:p>
                <a:endParaRPr lang="en-GB"/>
              </a:p>
            </p:txBody>
          </p:sp>
          <p:sp>
            <p:nvSpPr>
              <p:cNvPr id="8199" name="Vrije vorm: vorm 8198">
                <a:extLst>
                  <a:ext uri="{FF2B5EF4-FFF2-40B4-BE49-F238E27FC236}">
                    <a16:creationId xmlns:a16="http://schemas.microsoft.com/office/drawing/2014/main" id="{17FAD694-7DDD-4A74-96F2-66CB8CC714B7}"/>
                  </a:ext>
                </a:extLst>
              </p:cNvPr>
              <p:cNvSpPr/>
              <p:nvPr/>
            </p:nvSpPr>
            <p:spPr>
              <a:xfrm>
                <a:off x="4440765" y="4458130"/>
                <a:ext cx="6339" cy="33910"/>
              </a:xfrm>
              <a:custGeom>
                <a:avLst/>
                <a:gdLst>
                  <a:gd name="connsiteX0" fmla="*/ 0 w 6339"/>
                  <a:gd name="connsiteY0" fmla="*/ 33911 h 33910"/>
                  <a:gd name="connsiteX1" fmla="*/ 6340 w 6339"/>
                  <a:gd name="connsiteY1" fmla="*/ 0 h 33910"/>
                </a:gdLst>
                <a:ahLst/>
                <a:cxnLst>
                  <a:cxn ang="0">
                    <a:pos x="connsiteX0" y="connsiteY0"/>
                  </a:cxn>
                  <a:cxn ang="0">
                    <a:pos x="connsiteX1" y="connsiteY1"/>
                  </a:cxn>
                </a:cxnLst>
                <a:rect l="l" t="t" r="r" b="b"/>
                <a:pathLst>
                  <a:path w="6339" h="33910">
                    <a:moveTo>
                      <a:pt x="0" y="33911"/>
                    </a:moveTo>
                    <a:cubicBezTo>
                      <a:pt x="2034" y="22667"/>
                      <a:pt x="4127" y="11363"/>
                      <a:pt x="6340" y="0"/>
                    </a:cubicBezTo>
                  </a:path>
                </a:pathLst>
              </a:custGeom>
              <a:noFill/>
              <a:ln w="6350" cap="rnd">
                <a:solidFill>
                  <a:schemeClr val="bg1">
                    <a:alpha val="80000"/>
                  </a:schemeClr>
                </a:solidFill>
                <a:prstDash val="solid"/>
                <a:miter/>
              </a:ln>
            </p:spPr>
            <p:txBody>
              <a:bodyPr rtlCol="0" anchor="ctr"/>
              <a:lstStyle/>
              <a:p>
                <a:endParaRPr lang="en-GB"/>
              </a:p>
            </p:txBody>
          </p:sp>
          <p:sp>
            <p:nvSpPr>
              <p:cNvPr id="8200" name="Vrije vorm: vorm 8199">
                <a:extLst>
                  <a:ext uri="{FF2B5EF4-FFF2-40B4-BE49-F238E27FC236}">
                    <a16:creationId xmlns:a16="http://schemas.microsoft.com/office/drawing/2014/main" id="{D67D942D-703D-42A3-ACA1-F25C3C8690A7}"/>
                  </a:ext>
                </a:extLst>
              </p:cNvPr>
              <p:cNvSpPr/>
              <p:nvPr/>
            </p:nvSpPr>
            <p:spPr>
              <a:xfrm>
                <a:off x="4475214" y="4431994"/>
                <a:ext cx="5621" cy="33192"/>
              </a:xfrm>
              <a:custGeom>
                <a:avLst/>
                <a:gdLst>
                  <a:gd name="connsiteX0" fmla="*/ 0 w 5621"/>
                  <a:gd name="connsiteY0" fmla="*/ 33193 h 33192"/>
                  <a:gd name="connsiteX1" fmla="*/ 5622 w 5621"/>
                  <a:gd name="connsiteY1" fmla="*/ 0 h 33192"/>
                </a:gdLst>
                <a:ahLst/>
                <a:cxnLst>
                  <a:cxn ang="0">
                    <a:pos x="connsiteX0" y="connsiteY0"/>
                  </a:cxn>
                  <a:cxn ang="0">
                    <a:pos x="connsiteX1" y="connsiteY1"/>
                  </a:cxn>
                </a:cxnLst>
                <a:rect l="l" t="t" r="r" b="b"/>
                <a:pathLst>
                  <a:path w="5621" h="33192">
                    <a:moveTo>
                      <a:pt x="0" y="33193"/>
                    </a:moveTo>
                    <a:cubicBezTo>
                      <a:pt x="1794" y="22188"/>
                      <a:pt x="3708" y="11124"/>
                      <a:pt x="5622" y="0"/>
                    </a:cubicBezTo>
                  </a:path>
                </a:pathLst>
              </a:custGeom>
              <a:noFill/>
              <a:ln w="6350" cap="rnd">
                <a:solidFill>
                  <a:schemeClr val="bg1">
                    <a:alpha val="80000"/>
                  </a:schemeClr>
                </a:solidFill>
                <a:prstDash val="solid"/>
                <a:miter/>
              </a:ln>
            </p:spPr>
            <p:txBody>
              <a:bodyPr rtlCol="0" anchor="ctr"/>
              <a:lstStyle/>
              <a:p>
                <a:endParaRPr lang="en-GB"/>
              </a:p>
            </p:txBody>
          </p:sp>
          <p:sp>
            <p:nvSpPr>
              <p:cNvPr id="8201" name="Vrije vorm: vorm 8200">
                <a:extLst>
                  <a:ext uri="{FF2B5EF4-FFF2-40B4-BE49-F238E27FC236}">
                    <a16:creationId xmlns:a16="http://schemas.microsoft.com/office/drawing/2014/main" id="{C892558C-4EFF-4749-B779-FF77C6364B1D}"/>
                  </a:ext>
                </a:extLst>
              </p:cNvPr>
              <p:cNvSpPr/>
              <p:nvPr/>
            </p:nvSpPr>
            <p:spPr>
              <a:xfrm>
                <a:off x="4493994" y="4418896"/>
                <a:ext cx="3827" cy="31697"/>
              </a:xfrm>
              <a:custGeom>
                <a:avLst/>
                <a:gdLst>
                  <a:gd name="connsiteX0" fmla="*/ 0 w 3827"/>
                  <a:gd name="connsiteY0" fmla="*/ 31698 h 31697"/>
                  <a:gd name="connsiteX1" fmla="*/ 3827 w 3827"/>
                  <a:gd name="connsiteY1" fmla="*/ 0 h 31697"/>
                </a:gdLst>
                <a:ahLst/>
                <a:cxnLst>
                  <a:cxn ang="0">
                    <a:pos x="connsiteX0" y="connsiteY0"/>
                  </a:cxn>
                  <a:cxn ang="0">
                    <a:pos x="connsiteX1" y="connsiteY1"/>
                  </a:cxn>
                </a:cxnLst>
                <a:rect l="l" t="t" r="r" b="b"/>
                <a:pathLst>
                  <a:path w="3827" h="31697">
                    <a:moveTo>
                      <a:pt x="0" y="31698"/>
                    </a:moveTo>
                    <a:cubicBezTo>
                      <a:pt x="1196" y="21172"/>
                      <a:pt x="2512" y="10586"/>
                      <a:pt x="3827" y="0"/>
                    </a:cubicBezTo>
                  </a:path>
                </a:pathLst>
              </a:custGeom>
              <a:noFill/>
              <a:ln w="6350" cap="rnd">
                <a:solidFill>
                  <a:schemeClr val="bg1">
                    <a:alpha val="80000"/>
                  </a:schemeClr>
                </a:solidFill>
                <a:prstDash val="solid"/>
                <a:miter/>
              </a:ln>
            </p:spPr>
            <p:txBody>
              <a:bodyPr rtlCol="0" anchor="ctr"/>
              <a:lstStyle/>
              <a:p>
                <a:endParaRPr lang="en-GB"/>
              </a:p>
            </p:txBody>
          </p:sp>
          <p:sp>
            <p:nvSpPr>
              <p:cNvPr id="8202" name="Vrije vorm: vorm 8201">
                <a:extLst>
                  <a:ext uri="{FF2B5EF4-FFF2-40B4-BE49-F238E27FC236}">
                    <a16:creationId xmlns:a16="http://schemas.microsoft.com/office/drawing/2014/main" id="{9DC68CAE-5B30-4671-A44D-DA799DE769AF}"/>
                  </a:ext>
                </a:extLst>
              </p:cNvPr>
              <p:cNvSpPr/>
              <p:nvPr/>
            </p:nvSpPr>
            <p:spPr>
              <a:xfrm>
                <a:off x="4506972" y="4410284"/>
                <a:ext cx="1913" cy="30202"/>
              </a:xfrm>
              <a:custGeom>
                <a:avLst/>
                <a:gdLst>
                  <a:gd name="connsiteX0" fmla="*/ 0 w 1913"/>
                  <a:gd name="connsiteY0" fmla="*/ 30203 h 30202"/>
                  <a:gd name="connsiteX1" fmla="*/ 1914 w 1913"/>
                  <a:gd name="connsiteY1" fmla="*/ 0 h 30202"/>
                </a:gdLst>
                <a:ahLst/>
                <a:cxnLst>
                  <a:cxn ang="0">
                    <a:pos x="connsiteX0" y="connsiteY0"/>
                  </a:cxn>
                  <a:cxn ang="0">
                    <a:pos x="connsiteX1" y="connsiteY1"/>
                  </a:cxn>
                </a:cxnLst>
                <a:rect l="l" t="t" r="r" b="b"/>
                <a:pathLst>
                  <a:path w="1913" h="30202">
                    <a:moveTo>
                      <a:pt x="0" y="30203"/>
                    </a:moveTo>
                    <a:cubicBezTo>
                      <a:pt x="598" y="20155"/>
                      <a:pt x="1196" y="10107"/>
                      <a:pt x="1914" y="0"/>
                    </a:cubicBezTo>
                  </a:path>
                </a:pathLst>
              </a:custGeom>
              <a:noFill/>
              <a:ln w="6350" cap="rnd">
                <a:solidFill>
                  <a:schemeClr val="bg1">
                    <a:alpha val="80000"/>
                  </a:schemeClr>
                </a:solidFill>
                <a:prstDash val="solid"/>
                <a:miter/>
              </a:ln>
            </p:spPr>
            <p:txBody>
              <a:bodyPr rtlCol="0" anchor="ctr"/>
              <a:lstStyle/>
              <a:p>
                <a:endParaRPr lang="en-GB"/>
              </a:p>
            </p:txBody>
          </p:sp>
          <p:sp>
            <p:nvSpPr>
              <p:cNvPr id="8203" name="Vrije vorm: vorm 8202">
                <a:extLst>
                  <a:ext uri="{FF2B5EF4-FFF2-40B4-BE49-F238E27FC236}">
                    <a16:creationId xmlns:a16="http://schemas.microsoft.com/office/drawing/2014/main" id="{326AFBF9-9E0D-435B-A37A-AB70A2783767}"/>
                  </a:ext>
                </a:extLst>
              </p:cNvPr>
              <p:cNvSpPr/>
              <p:nvPr/>
            </p:nvSpPr>
            <p:spPr>
              <a:xfrm>
                <a:off x="4530895" y="4392701"/>
                <a:ext cx="837" cy="29245"/>
              </a:xfrm>
              <a:custGeom>
                <a:avLst/>
                <a:gdLst>
                  <a:gd name="connsiteX0" fmla="*/ 0 w 837"/>
                  <a:gd name="connsiteY0" fmla="*/ 29245 h 29245"/>
                  <a:gd name="connsiteX1" fmla="*/ 837 w 837"/>
                  <a:gd name="connsiteY1" fmla="*/ 0 h 29245"/>
                </a:gdLst>
                <a:ahLst/>
                <a:cxnLst>
                  <a:cxn ang="0">
                    <a:pos x="connsiteX0" y="connsiteY0"/>
                  </a:cxn>
                  <a:cxn ang="0">
                    <a:pos x="connsiteX1" y="connsiteY1"/>
                  </a:cxn>
                </a:cxnLst>
                <a:rect l="l" t="t" r="r" b="b"/>
                <a:pathLst>
                  <a:path w="837" h="29245">
                    <a:moveTo>
                      <a:pt x="0" y="29245"/>
                    </a:moveTo>
                    <a:cubicBezTo>
                      <a:pt x="239" y="19497"/>
                      <a:pt x="479" y="9749"/>
                      <a:pt x="837" y="0"/>
                    </a:cubicBezTo>
                  </a:path>
                </a:pathLst>
              </a:custGeom>
              <a:noFill/>
              <a:ln w="6350" cap="rnd">
                <a:solidFill>
                  <a:schemeClr val="bg1">
                    <a:alpha val="80000"/>
                  </a:schemeClr>
                </a:solidFill>
                <a:prstDash val="solid"/>
                <a:miter/>
              </a:ln>
            </p:spPr>
            <p:txBody>
              <a:bodyPr rtlCol="0" anchor="ctr"/>
              <a:lstStyle/>
              <a:p>
                <a:endParaRPr lang="en-GB"/>
              </a:p>
            </p:txBody>
          </p:sp>
          <p:sp>
            <p:nvSpPr>
              <p:cNvPr id="8204" name="Vrije vorm: vorm 8203">
                <a:extLst>
                  <a:ext uri="{FF2B5EF4-FFF2-40B4-BE49-F238E27FC236}">
                    <a16:creationId xmlns:a16="http://schemas.microsoft.com/office/drawing/2014/main" id="{CEE90A70-B54C-46F3-8A19-28FE25D28BDA}"/>
                  </a:ext>
                </a:extLst>
              </p:cNvPr>
              <p:cNvSpPr/>
              <p:nvPr/>
            </p:nvSpPr>
            <p:spPr>
              <a:xfrm>
                <a:off x="4549076" y="4379244"/>
                <a:ext cx="1076" cy="27690"/>
              </a:xfrm>
              <a:custGeom>
                <a:avLst/>
                <a:gdLst>
                  <a:gd name="connsiteX0" fmla="*/ 1076 w 1076"/>
                  <a:gd name="connsiteY0" fmla="*/ 27691 h 27690"/>
                  <a:gd name="connsiteX1" fmla="*/ 0 w 1076"/>
                  <a:gd name="connsiteY1" fmla="*/ 0 h 27690"/>
                </a:gdLst>
                <a:ahLst/>
                <a:cxnLst>
                  <a:cxn ang="0">
                    <a:pos x="connsiteX0" y="connsiteY0"/>
                  </a:cxn>
                  <a:cxn ang="0">
                    <a:pos x="connsiteX1" y="connsiteY1"/>
                  </a:cxn>
                </a:cxnLst>
                <a:rect l="l" t="t" r="r" b="b"/>
                <a:pathLst>
                  <a:path w="1076" h="27690">
                    <a:moveTo>
                      <a:pt x="1076" y="27691"/>
                    </a:moveTo>
                    <a:cubicBezTo>
                      <a:pt x="658" y="18480"/>
                      <a:pt x="299" y="9270"/>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05" name="Vrije vorm: vorm 8204">
                <a:extLst>
                  <a:ext uri="{FF2B5EF4-FFF2-40B4-BE49-F238E27FC236}">
                    <a16:creationId xmlns:a16="http://schemas.microsoft.com/office/drawing/2014/main" id="{71F049C0-012C-4915-ADF1-307AE8262C76}"/>
                  </a:ext>
                </a:extLst>
              </p:cNvPr>
              <p:cNvSpPr/>
              <p:nvPr/>
            </p:nvSpPr>
            <p:spPr>
              <a:xfrm>
                <a:off x="4560320" y="4370512"/>
                <a:ext cx="3110" cy="26075"/>
              </a:xfrm>
              <a:custGeom>
                <a:avLst/>
                <a:gdLst>
                  <a:gd name="connsiteX0" fmla="*/ 3110 w 3110"/>
                  <a:gd name="connsiteY0" fmla="*/ 26076 h 26075"/>
                  <a:gd name="connsiteX1" fmla="*/ 0 w 3110"/>
                  <a:gd name="connsiteY1" fmla="*/ 0 h 26075"/>
                </a:gdLst>
                <a:ahLst/>
                <a:cxnLst>
                  <a:cxn ang="0">
                    <a:pos x="connsiteX0" y="connsiteY0"/>
                  </a:cxn>
                  <a:cxn ang="0">
                    <a:pos x="connsiteX1" y="connsiteY1"/>
                  </a:cxn>
                </a:cxnLst>
                <a:rect l="l" t="t" r="r" b="b"/>
                <a:pathLst>
                  <a:path w="3110" h="26075">
                    <a:moveTo>
                      <a:pt x="3110" y="26076"/>
                    </a:moveTo>
                    <a:cubicBezTo>
                      <a:pt x="2034" y="17404"/>
                      <a:pt x="1017" y="8732"/>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06" name="Vrije vorm: vorm 8205">
                <a:extLst>
                  <a:ext uri="{FF2B5EF4-FFF2-40B4-BE49-F238E27FC236}">
                    <a16:creationId xmlns:a16="http://schemas.microsoft.com/office/drawing/2014/main" id="{98221339-B341-48F7-9F73-B675917B5596}"/>
                  </a:ext>
                </a:extLst>
              </p:cNvPr>
              <p:cNvSpPr/>
              <p:nvPr/>
            </p:nvSpPr>
            <p:spPr>
              <a:xfrm>
                <a:off x="4580774" y="4354723"/>
                <a:ext cx="5801" cy="23863"/>
              </a:xfrm>
              <a:custGeom>
                <a:avLst/>
                <a:gdLst>
                  <a:gd name="connsiteX0" fmla="*/ 5801 w 5801"/>
                  <a:gd name="connsiteY0" fmla="*/ 23863 h 23863"/>
                  <a:gd name="connsiteX1" fmla="*/ 0 w 5801"/>
                  <a:gd name="connsiteY1" fmla="*/ 0 h 23863"/>
                </a:gdLst>
                <a:ahLst/>
                <a:cxnLst>
                  <a:cxn ang="0">
                    <a:pos x="connsiteX0" y="connsiteY0"/>
                  </a:cxn>
                  <a:cxn ang="0">
                    <a:pos x="connsiteX1" y="connsiteY1"/>
                  </a:cxn>
                </a:cxnLst>
                <a:rect l="l" t="t" r="r" b="b"/>
                <a:pathLst>
                  <a:path w="5801" h="23863">
                    <a:moveTo>
                      <a:pt x="5801" y="23863"/>
                    </a:moveTo>
                    <a:cubicBezTo>
                      <a:pt x="3828" y="15909"/>
                      <a:pt x="1914" y="7954"/>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07" name="Vrije vorm: vorm 8206">
                <a:extLst>
                  <a:ext uri="{FF2B5EF4-FFF2-40B4-BE49-F238E27FC236}">
                    <a16:creationId xmlns:a16="http://schemas.microsoft.com/office/drawing/2014/main" id="{2C88FE4C-A823-498C-BAAC-476928C8CFA0}"/>
                  </a:ext>
                </a:extLst>
              </p:cNvPr>
              <p:cNvSpPr/>
              <p:nvPr/>
            </p:nvSpPr>
            <p:spPr>
              <a:xfrm>
                <a:off x="4598298" y="4340967"/>
                <a:ext cx="7834" cy="22248"/>
              </a:xfrm>
              <a:custGeom>
                <a:avLst/>
                <a:gdLst>
                  <a:gd name="connsiteX0" fmla="*/ 7835 w 7834"/>
                  <a:gd name="connsiteY0" fmla="*/ 22248 h 22248"/>
                  <a:gd name="connsiteX1" fmla="*/ 0 w 7834"/>
                  <a:gd name="connsiteY1" fmla="*/ 0 h 22248"/>
                </a:gdLst>
                <a:ahLst/>
                <a:cxnLst>
                  <a:cxn ang="0">
                    <a:pos x="connsiteX0" y="connsiteY0"/>
                  </a:cxn>
                  <a:cxn ang="0">
                    <a:pos x="connsiteX1" y="connsiteY1"/>
                  </a:cxn>
                </a:cxnLst>
                <a:rect l="l" t="t" r="r" b="b"/>
                <a:pathLst>
                  <a:path w="7834" h="22248">
                    <a:moveTo>
                      <a:pt x="7835" y="22248"/>
                    </a:moveTo>
                    <a:cubicBezTo>
                      <a:pt x="5203" y="14832"/>
                      <a:pt x="2572" y="7416"/>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08" name="Vrije vorm: vorm 8207">
                <a:extLst>
                  <a:ext uri="{FF2B5EF4-FFF2-40B4-BE49-F238E27FC236}">
                    <a16:creationId xmlns:a16="http://schemas.microsoft.com/office/drawing/2014/main" id="{7FC41C48-5CEB-4BEF-9ADD-D5FF03A44EA9}"/>
                  </a:ext>
                </a:extLst>
              </p:cNvPr>
              <p:cNvSpPr/>
              <p:nvPr/>
            </p:nvSpPr>
            <p:spPr>
              <a:xfrm>
                <a:off x="4609721" y="4332116"/>
                <a:ext cx="9927" cy="20573"/>
              </a:xfrm>
              <a:custGeom>
                <a:avLst/>
                <a:gdLst>
                  <a:gd name="connsiteX0" fmla="*/ 9928 w 9927"/>
                  <a:gd name="connsiteY0" fmla="*/ 20574 h 20573"/>
                  <a:gd name="connsiteX1" fmla="*/ 0 w 9927"/>
                  <a:gd name="connsiteY1" fmla="*/ 0 h 20573"/>
                </a:gdLst>
                <a:ahLst/>
                <a:cxnLst>
                  <a:cxn ang="0">
                    <a:pos x="connsiteX0" y="connsiteY0"/>
                  </a:cxn>
                  <a:cxn ang="0">
                    <a:pos x="connsiteX1" y="connsiteY1"/>
                  </a:cxn>
                </a:cxnLst>
                <a:rect l="l" t="t" r="r" b="b"/>
                <a:pathLst>
                  <a:path w="9927" h="20573">
                    <a:moveTo>
                      <a:pt x="9928" y="20574"/>
                    </a:moveTo>
                    <a:cubicBezTo>
                      <a:pt x="6579" y="13696"/>
                      <a:pt x="3289" y="6878"/>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09" name="Vrije vorm: vorm 8208">
                <a:extLst>
                  <a:ext uri="{FF2B5EF4-FFF2-40B4-BE49-F238E27FC236}">
                    <a16:creationId xmlns:a16="http://schemas.microsoft.com/office/drawing/2014/main" id="{C80352CF-43E3-4CFB-BB1B-53F43727B3FB}"/>
                  </a:ext>
                </a:extLst>
              </p:cNvPr>
              <p:cNvSpPr/>
              <p:nvPr/>
            </p:nvSpPr>
            <p:spPr>
              <a:xfrm>
                <a:off x="4263078" y="4422963"/>
                <a:ext cx="81397" cy="167759"/>
              </a:xfrm>
              <a:custGeom>
                <a:avLst/>
                <a:gdLst>
                  <a:gd name="connsiteX0" fmla="*/ 0 w 81397"/>
                  <a:gd name="connsiteY0" fmla="*/ 167759 h 167759"/>
                  <a:gd name="connsiteX1" fmla="*/ 81398 w 81397"/>
                  <a:gd name="connsiteY1" fmla="*/ 0 h 167759"/>
                </a:gdLst>
                <a:ahLst/>
                <a:cxnLst>
                  <a:cxn ang="0">
                    <a:pos x="connsiteX0" y="connsiteY0"/>
                  </a:cxn>
                  <a:cxn ang="0">
                    <a:pos x="connsiteX1" y="connsiteY1"/>
                  </a:cxn>
                </a:cxnLst>
                <a:rect l="l" t="t" r="r" b="b"/>
                <a:pathLst>
                  <a:path w="81397" h="167759">
                    <a:moveTo>
                      <a:pt x="0" y="167759"/>
                    </a:moveTo>
                    <a:cubicBezTo>
                      <a:pt x="22667" y="114471"/>
                      <a:pt x="50059" y="58252"/>
                      <a:pt x="81398" y="0"/>
                    </a:cubicBezTo>
                  </a:path>
                </a:pathLst>
              </a:custGeom>
              <a:noFill/>
              <a:ln w="6350" cap="rnd">
                <a:solidFill>
                  <a:schemeClr val="bg1">
                    <a:alpha val="80000"/>
                  </a:schemeClr>
                </a:solidFill>
                <a:prstDash val="solid"/>
                <a:miter/>
              </a:ln>
            </p:spPr>
            <p:txBody>
              <a:bodyPr rtlCol="0" anchor="ctr"/>
              <a:lstStyle/>
              <a:p>
                <a:endParaRPr lang="en-GB"/>
              </a:p>
            </p:txBody>
          </p:sp>
          <p:sp>
            <p:nvSpPr>
              <p:cNvPr id="8210" name="Vrije vorm: vorm 8209">
                <a:extLst>
                  <a:ext uri="{FF2B5EF4-FFF2-40B4-BE49-F238E27FC236}">
                    <a16:creationId xmlns:a16="http://schemas.microsoft.com/office/drawing/2014/main" id="{3B841B92-DB6F-4746-A054-6A4BD8374E05}"/>
                  </a:ext>
                </a:extLst>
              </p:cNvPr>
              <p:cNvSpPr/>
              <p:nvPr/>
            </p:nvSpPr>
            <p:spPr>
              <a:xfrm>
                <a:off x="4272229" y="4418119"/>
                <a:ext cx="78646" cy="165426"/>
              </a:xfrm>
              <a:custGeom>
                <a:avLst/>
                <a:gdLst>
                  <a:gd name="connsiteX0" fmla="*/ 0 w 78646"/>
                  <a:gd name="connsiteY0" fmla="*/ 165427 h 165426"/>
                  <a:gd name="connsiteX1" fmla="*/ 78647 w 78646"/>
                  <a:gd name="connsiteY1" fmla="*/ 0 h 165426"/>
                </a:gdLst>
                <a:ahLst/>
                <a:cxnLst>
                  <a:cxn ang="0">
                    <a:pos x="connsiteX0" y="connsiteY0"/>
                  </a:cxn>
                  <a:cxn ang="0">
                    <a:pos x="connsiteX1" y="connsiteY1"/>
                  </a:cxn>
                </a:cxnLst>
                <a:rect l="l" t="t" r="r" b="b"/>
                <a:pathLst>
                  <a:path w="78646" h="165426">
                    <a:moveTo>
                      <a:pt x="0" y="165427"/>
                    </a:moveTo>
                    <a:cubicBezTo>
                      <a:pt x="22009" y="112736"/>
                      <a:pt x="48504" y="57355"/>
                      <a:pt x="78647" y="0"/>
                    </a:cubicBezTo>
                  </a:path>
                </a:pathLst>
              </a:custGeom>
              <a:noFill/>
              <a:ln w="6350" cap="rnd">
                <a:solidFill>
                  <a:schemeClr val="bg1">
                    <a:alpha val="80000"/>
                  </a:schemeClr>
                </a:solidFill>
                <a:prstDash val="solid"/>
                <a:miter/>
              </a:ln>
            </p:spPr>
            <p:txBody>
              <a:bodyPr rtlCol="0" anchor="ctr"/>
              <a:lstStyle/>
              <a:p>
                <a:endParaRPr lang="en-GB"/>
              </a:p>
            </p:txBody>
          </p:sp>
          <p:sp>
            <p:nvSpPr>
              <p:cNvPr id="8211" name="Vrije vorm: vorm 8210">
                <a:extLst>
                  <a:ext uri="{FF2B5EF4-FFF2-40B4-BE49-F238E27FC236}">
                    <a16:creationId xmlns:a16="http://schemas.microsoft.com/office/drawing/2014/main" id="{AB0B555C-C267-46FF-A20B-11B84E178050}"/>
                  </a:ext>
                </a:extLst>
              </p:cNvPr>
              <p:cNvSpPr/>
              <p:nvPr/>
            </p:nvSpPr>
            <p:spPr>
              <a:xfrm>
                <a:off x="4477906" y="4306458"/>
                <a:ext cx="20274" cy="117222"/>
              </a:xfrm>
              <a:custGeom>
                <a:avLst/>
                <a:gdLst>
                  <a:gd name="connsiteX0" fmla="*/ 0 w 20274"/>
                  <a:gd name="connsiteY0" fmla="*/ 117222 h 117222"/>
                  <a:gd name="connsiteX1" fmla="*/ 20274 w 20274"/>
                  <a:gd name="connsiteY1" fmla="*/ 0 h 117222"/>
                </a:gdLst>
                <a:ahLst/>
                <a:cxnLst>
                  <a:cxn ang="0">
                    <a:pos x="connsiteX0" y="connsiteY0"/>
                  </a:cxn>
                  <a:cxn ang="0">
                    <a:pos x="connsiteX1" y="connsiteY1"/>
                  </a:cxn>
                </a:cxnLst>
                <a:rect l="l" t="t" r="r" b="b"/>
                <a:pathLst>
                  <a:path w="20274" h="117222">
                    <a:moveTo>
                      <a:pt x="0" y="117222"/>
                    </a:moveTo>
                    <a:cubicBezTo>
                      <a:pt x="5801" y="78587"/>
                      <a:pt x="12559" y="39533"/>
                      <a:pt x="20274" y="0"/>
                    </a:cubicBezTo>
                  </a:path>
                </a:pathLst>
              </a:custGeom>
              <a:noFill/>
              <a:ln w="6350" cap="rnd">
                <a:solidFill>
                  <a:schemeClr val="bg1">
                    <a:alpha val="80000"/>
                  </a:schemeClr>
                </a:solidFill>
                <a:prstDash val="solid"/>
                <a:miter/>
              </a:ln>
            </p:spPr>
            <p:txBody>
              <a:bodyPr rtlCol="0" anchor="ctr"/>
              <a:lstStyle/>
              <a:p>
                <a:endParaRPr lang="en-GB"/>
              </a:p>
            </p:txBody>
          </p:sp>
          <p:sp>
            <p:nvSpPr>
              <p:cNvPr id="8212" name="Vrije vorm: vorm 8211">
                <a:extLst>
                  <a:ext uri="{FF2B5EF4-FFF2-40B4-BE49-F238E27FC236}">
                    <a16:creationId xmlns:a16="http://schemas.microsoft.com/office/drawing/2014/main" id="{B153CEE7-0681-4915-BDA3-363B8C29475A}"/>
                  </a:ext>
                </a:extLst>
              </p:cNvPr>
              <p:cNvSpPr/>
              <p:nvPr/>
            </p:nvSpPr>
            <p:spPr>
              <a:xfrm>
                <a:off x="4494711" y="4299222"/>
                <a:ext cx="12978" cy="111480"/>
              </a:xfrm>
              <a:custGeom>
                <a:avLst/>
                <a:gdLst>
                  <a:gd name="connsiteX0" fmla="*/ 0 w 12978"/>
                  <a:gd name="connsiteY0" fmla="*/ 111481 h 111480"/>
                  <a:gd name="connsiteX1" fmla="*/ 12978 w 12978"/>
                  <a:gd name="connsiteY1" fmla="*/ 0 h 111480"/>
                </a:gdLst>
                <a:ahLst/>
                <a:cxnLst>
                  <a:cxn ang="0">
                    <a:pos x="connsiteX0" y="connsiteY0"/>
                  </a:cxn>
                  <a:cxn ang="0">
                    <a:pos x="connsiteX1" y="connsiteY1"/>
                  </a:cxn>
                </a:cxnLst>
                <a:rect l="l" t="t" r="r" b="b"/>
                <a:pathLst>
                  <a:path w="12978" h="111480">
                    <a:moveTo>
                      <a:pt x="0" y="111481"/>
                    </a:moveTo>
                    <a:cubicBezTo>
                      <a:pt x="3528" y="74699"/>
                      <a:pt x="7835" y="37559"/>
                      <a:pt x="12978" y="0"/>
                    </a:cubicBezTo>
                  </a:path>
                </a:pathLst>
              </a:custGeom>
              <a:noFill/>
              <a:ln w="6350" cap="rnd">
                <a:solidFill>
                  <a:schemeClr val="bg1">
                    <a:alpha val="80000"/>
                  </a:schemeClr>
                </a:solidFill>
                <a:prstDash val="solid"/>
                <a:miter/>
              </a:ln>
            </p:spPr>
            <p:txBody>
              <a:bodyPr rtlCol="0" anchor="ctr"/>
              <a:lstStyle/>
              <a:p>
                <a:endParaRPr lang="en-GB"/>
              </a:p>
            </p:txBody>
          </p:sp>
          <p:sp>
            <p:nvSpPr>
              <p:cNvPr id="8213" name="Vrije vorm: vorm 8212">
                <a:extLst>
                  <a:ext uri="{FF2B5EF4-FFF2-40B4-BE49-F238E27FC236}">
                    <a16:creationId xmlns:a16="http://schemas.microsoft.com/office/drawing/2014/main" id="{301C8428-3999-4BE2-AB08-FD4F7E3A71DB}"/>
                  </a:ext>
                </a:extLst>
              </p:cNvPr>
              <p:cNvSpPr/>
              <p:nvPr/>
            </p:nvSpPr>
            <p:spPr>
              <a:xfrm>
                <a:off x="4505477" y="4294079"/>
                <a:ext cx="8971" cy="108310"/>
              </a:xfrm>
              <a:custGeom>
                <a:avLst/>
                <a:gdLst>
                  <a:gd name="connsiteX0" fmla="*/ 0 w 8971"/>
                  <a:gd name="connsiteY0" fmla="*/ 108311 h 108310"/>
                  <a:gd name="connsiteX1" fmla="*/ 8971 w 8971"/>
                  <a:gd name="connsiteY1" fmla="*/ 0 h 108310"/>
                </a:gdLst>
                <a:ahLst/>
                <a:cxnLst>
                  <a:cxn ang="0">
                    <a:pos x="connsiteX0" y="connsiteY0"/>
                  </a:cxn>
                  <a:cxn ang="0">
                    <a:pos x="connsiteX1" y="connsiteY1"/>
                  </a:cxn>
                </a:cxnLst>
                <a:rect l="l" t="t" r="r" b="b"/>
                <a:pathLst>
                  <a:path w="8971" h="108310">
                    <a:moveTo>
                      <a:pt x="0" y="108311"/>
                    </a:moveTo>
                    <a:cubicBezTo>
                      <a:pt x="2273" y="72546"/>
                      <a:pt x="5263" y="36422"/>
                      <a:pt x="8971" y="0"/>
                    </a:cubicBezTo>
                  </a:path>
                </a:pathLst>
              </a:custGeom>
              <a:noFill/>
              <a:ln w="6350" cap="rnd">
                <a:solidFill>
                  <a:schemeClr val="bg1">
                    <a:alpha val="80000"/>
                  </a:schemeClr>
                </a:solidFill>
                <a:prstDash val="solid"/>
                <a:miter/>
              </a:ln>
            </p:spPr>
            <p:txBody>
              <a:bodyPr rtlCol="0" anchor="ctr"/>
              <a:lstStyle/>
              <a:p>
                <a:endParaRPr lang="en-GB"/>
              </a:p>
            </p:txBody>
          </p:sp>
          <p:sp>
            <p:nvSpPr>
              <p:cNvPr id="8214" name="Vrije vorm: vorm 8213">
                <a:extLst>
                  <a:ext uri="{FF2B5EF4-FFF2-40B4-BE49-F238E27FC236}">
                    <a16:creationId xmlns:a16="http://schemas.microsoft.com/office/drawing/2014/main" id="{72EA0733-3D3B-49F2-99D0-500F250F9799}"/>
                  </a:ext>
                </a:extLst>
              </p:cNvPr>
              <p:cNvSpPr/>
              <p:nvPr/>
            </p:nvSpPr>
            <p:spPr>
              <a:xfrm>
                <a:off x="4528084" y="4179607"/>
                <a:ext cx="108490" cy="205318"/>
              </a:xfrm>
              <a:custGeom>
                <a:avLst/>
                <a:gdLst>
                  <a:gd name="connsiteX0" fmla="*/ 0 w 108490"/>
                  <a:gd name="connsiteY0" fmla="*/ 205318 h 205318"/>
                  <a:gd name="connsiteX1" fmla="*/ 2392 w 108490"/>
                  <a:gd name="connsiteY1" fmla="*/ 102270 h 205318"/>
                  <a:gd name="connsiteX2" fmla="*/ 957 w 108490"/>
                  <a:gd name="connsiteY2" fmla="*/ 82295 h 205318"/>
                  <a:gd name="connsiteX3" fmla="*/ 108490 w 108490"/>
                  <a:gd name="connsiteY3" fmla="*/ 0 h 205318"/>
                </a:gdLst>
                <a:ahLst/>
                <a:cxnLst>
                  <a:cxn ang="0">
                    <a:pos x="connsiteX0" y="connsiteY0"/>
                  </a:cxn>
                  <a:cxn ang="0">
                    <a:pos x="connsiteX1" y="connsiteY1"/>
                  </a:cxn>
                  <a:cxn ang="0">
                    <a:pos x="connsiteX2" y="connsiteY2"/>
                  </a:cxn>
                  <a:cxn ang="0">
                    <a:pos x="connsiteX3" y="connsiteY3"/>
                  </a:cxn>
                </a:cxnLst>
                <a:rect l="l" t="t" r="r" b="b"/>
                <a:pathLst>
                  <a:path w="108490" h="205318">
                    <a:moveTo>
                      <a:pt x="0" y="205318"/>
                    </a:moveTo>
                    <a:cubicBezTo>
                      <a:pt x="239" y="171228"/>
                      <a:pt x="1017" y="136899"/>
                      <a:pt x="2392" y="102270"/>
                    </a:cubicBezTo>
                    <a:cubicBezTo>
                      <a:pt x="1914" y="95632"/>
                      <a:pt x="1436" y="88933"/>
                      <a:pt x="957" y="82295"/>
                    </a:cubicBezTo>
                    <a:cubicBezTo>
                      <a:pt x="36542" y="55262"/>
                      <a:pt x="72487" y="27810"/>
                      <a:pt x="108490" y="0"/>
                    </a:cubicBezTo>
                  </a:path>
                </a:pathLst>
              </a:custGeom>
              <a:noFill/>
              <a:ln w="6350" cap="rnd">
                <a:solidFill>
                  <a:schemeClr val="bg1">
                    <a:alpha val="80000"/>
                  </a:schemeClr>
                </a:solidFill>
                <a:prstDash val="solid"/>
                <a:miter/>
              </a:ln>
            </p:spPr>
            <p:txBody>
              <a:bodyPr rtlCol="0" anchor="ctr"/>
              <a:lstStyle/>
              <a:p>
                <a:endParaRPr lang="en-GB"/>
              </a:p>
            </p:txBody>
          </p:sp>
          <p:sp>
            <p:nvSpPr>
              <p:cNvPr id="8215" name="Vrije vorm: vorm 8214">
                <a:extLst>
                  <a:ext uri="{FF2B5EF4-FFF2-40B4-BE49-F238E27FC236}">
                    <a16:creationId xmlns:a16="http://schemas.microsoft.com/office/drawing/2014/main" id="{C648D6C8-2B58-4E8B-8EE2-899C59E18AE6}"/>
                  </a:ext>
                </a:extLst>
              </p:cNvPr>
              <p:cNvSpPr/>
              <p:nvPr/>
            </p:nvSpPr>
            <p:spPr>
              <a:xfrm>
                <a:off x="4540045" y="4274581"/>
                <a:ext cx="5143" cy="97126"/>
              </a:xfrm>
              <a:custGeom>
                <a:avLst/>
                <a:gdLst>
                  <a:gd name="connsiteX0" fmla="*/ 5144 w 5143"/>
                  <a:gd name="connsiteY0" fmla="*/ 97127 h 97126"/>
                  <a:gd name="connsiteX1" fmla="*/ 0 w 5143"/>
                  <a:gd name="connsiteY1" fmla="*/ 0 h 97126"/>
                </a:gdLst>
                <a:ahLst/>
                <a:cxnLst>
                  <a:cxn ang="0">
                    <a:pos x="connsiteX0" y="connsiteY0"/>
                  </a:cxn>
                  <a:cxn ang="0">
                    <a:pos x="connsiteX1" y="connsiteY1"/>
                  </a:cxn>
                </a:cxnLst>
                <a:rect l="l" t="t" r="r" b="b"/>
                <a:pathLst>
                  <a:path w="5143" h="97126">
                    <a:moveTo>
                      <a:pt x="5144" y="97127"/>
                    </a:moveTo>
                    <a:cubicBezTo>
                      <a:pt x="2990" y="64951"/>
                      <a:pt x="1256" y="32595"/>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16" name="Vrije vorm: vorm 8215">
                <a:extLst>
                  <a:ext uri="{FF2B5EF4-FFF2-40B4-BE49-F238E27FC236}">
                    <a16:creationId xmlns:a16="http://schemas.microsoft.com/office/drawing/2014/main" id="{4700854F-631E-4AC2-A1E7-84535333C511}"/>
                  </a:ext>
                </a:extLst>
              </p:cNvPr>
              <p:cNvSpPr/>
              <p:nvPr/>
            </p:nvSpPr>
            <p:spPr>
              <a:xfrm>
                <a:off x="4546923" y="4269378"/>
                <a:ext cx="9270" cy="93837"/>
              </a:xfrm>
              <a:custGeom>
                <a:avLst/>
                <a:gdLst>
                  <a:gd name="connsiteX0" fmla="*/ 9270 w 9270"/>
                  <a:gd name="connsiteY0" fmla="*/ 93838 h 93837"/>
                  <a:gd name="connsiteX1" fmla="*/ 0 w 9270"/>
                  <a:gd name="connsiteY1" fmla="*/ 0 h 93837"/>
                </a:gdLst>
                <a:ahLst/>
                <a:cxnLst>
                  <a:cxn ang="0">
                    <a:pos x="connsiteX0" y="connsiteY0"/>
                  </a:cxn>
                  <a:cxn ang="0">
                    <a:pos x="connsiteX1" y="connsiteY1"/>
                  </a:cxn>
                </a:cxnLst>
                <a:rect l="l" t="t" r="r" b="b"/>
                <a:pathLst>
                  <a:path w="9270" h="93837">
                    <a:moveTo>
                      <a:pt x="9270" y="93838"/>
                    </a:moveTo>
                    <a:cubicBezTo>
                      <a:pt x="5801" y="62738"/>
                      <a:pt x="2691" y="31458"/>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17" name="Vrije vorm: vorm 8216">
                <a:extLst>
                  <a:ext uri="{FF2B5EF4-FFF2-40B4-BE49-F238E27FC236}">
                    <a16:creationId xmlns:a16="http://schemas.microsoft.com/office/drawing/2014/main" id="{36A11A9C-2E78-4297-BA81-F63DC32105C8}"/>
                  </a:ext>
                </a:extLst>
              </p:cNvPr>
              <p:cNvSpPr/>
              <p:nvPr/>
            </p:nvSpPr>
            <p:spPr>
              <a:xfrm>
                <a:off x="4557868" y="4261005"/>
                <a:ext cx="19975" cy="85404"/>
              </a:xfrm>
              <a:custGeom>
                <a:avLst/>
                <a:gdLst>
                  <a:gd name="connsiteX0" fmla="*/ 19975 w 19975"/>
                  <a:gd name="connsiteY0" fmla="*/ 85405 h 85404"/>
                  <a:gd name="connsiteX1" fmla="*/ 0 w 19975"/>
                  <a:gd name="connsiteY1" fmla="*/ 0 h 85404"/>
                </a:gdLst>
                <a:ahLst/>
                <a:cxnLst>
                  <a:cxn ang="0">
                    <a:pos x="connsiteX0" y="connsiteY0"/>
                  </a:cxn>
                  <a:cxn ang="0">
                    <a:pos x="connsiteX1" y="connsiteY1"/>
                  </a:cxn>
                </a:cxnLst>
                <a:rect l="l" t="t" r="r" b="b"/>
                <a:pathLst>
                  <a:path w="19975" h="85404">
                    <a:moveTo>
                      <a:pt x="19975" y="85405"/>
                    </a:moveTo>
                    <a:cubicBezTo>
                      <a:pt x="13038" y="57056"/>
                      <a:pt x="6399" y="28588"/>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18" name="Vrije vorm: vorm 8217">
                <a:extLst>
                  <a:ext uri="{FF2B5EF4-FFF2-40B4-BE49-F238E27FC236}">
                    <a16:creationId xmlns:a16="http://schemas.microsoft.com/office/drawing/2014/main" id="{58B2498B-45BD-4ADA-B0E0-75F080A0D09C}"/>
                  </a:ext>
                </a:extLst>
              </p:cNvPr>
              <p:cNvSpPr/>
              <p:nvPr/>
            </p:nvSpPr>
            <p:spPr>
              <a:xfrm>
                <a:off x="4567437" y="4253649"/>
                <a:ext cx="27750" cy="79304"/>
              </a:xfrm>
              <a:custGeom>
                <a:avLst/>
                <a:gdLst>
                  <a:gd name="connsiteX0" fmla="*/ 27751 w 27750"/>
                  <a:gd name="connsiteY0" fmla="*/ 79304 h 79304"/>
                  <a:gd name="connsiteX1" fmla="*/ 0 w 27750"/>
                  <a:gd name="connsiteY1" fmla="*/ 0 h 79304"/>
                </a:gdLst>
                <a:ahLst/>
                <a:cxnLst>
                  <a:cxn ang="0">
                    <a:pos x="connsiteX0" y="connsiteY0"/>
                  </a:cxn>
                  <a:cxn ang="0">
                    <a:pos x="connsiteX1" y="connsiteY1"/>
                  </a:cxn>
                </a:cxnLst>
                <a:rect l="l" t="t" r="r" b="b"/>
                <a:pathLst>
                  <a:path w="27750" h="79304">
                    <a:moveTo>
                      <a:pt x="27751" y="79304"/>
                    </a:moveTo>
                    <a:cubicBezTo>
                      <a:pt x="18361" y="52929"/>
                      <a:pt x="9091" y="26554"/>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19" name="Vrije vorm: vorm 8218">
                <a:extLst>
                  <a:ext uri="{FF2B5EF4-FFF2-40B4-BE49-F238E27FC236}">
                    <a16:creationId xmlns:a16="http://schemas.microsoft.com/office/drawing/2014/main" id="{ED6DC7B2-6715-47AA-9618-DD5C6684B78A}"/>
                  </a:ext>
                </a:extLst>
              </p:cNvPr>
              <p:cNvSpPr/>
              <p:nvPr/>
            </p:nvSpPr>
            <p:spPr>
              <a:xfrm>
                <a:off x="4574375" y="4248326"/>
                <a:ext cx="32714" cy="75356"/>
              </a:xfrm>
              <a:custGeom>
                <a:avLst/>
                <a:gdLst>
                  <a:gd name="connsiteX0" fmla="*/ 32714 w 32714"/>
                  <a:gd name="connsiteY0" fmla="*/ 75357 h 75356"/>
                  <a:gd name="connsiteX1" fmla="*/ 0 w 32714"/>
                  <a:gd name="connsiteY1" fmla="*/ 0 h 75356"/>
                </a:gdLst>
                <a:ahLst/>
                <a:cxnLst>
                  <a:cxn ang="0">
                    <a:pos x="connsiteX0" y="connsiteY0"/>
                  </a:cxn>
                  <a:cxn ang="0">
                    <a:pos x="connsiteX1" y="connsiteY1"/>
                  </a:cxn>
                </a:cxnLst>
                <a:rect l="l" t="t" r="r" b="b"/>
                <a:pathLst>
                  <a:path w="32714" h="75356">
                    <a:moveTo>
                      <a:pt x="32714" y="75357"/>
                    </a:moveTo>
                    <a:cubicBezTo>
                      <a:pt x="21710" y="50298"/>
                      <a:pt x="10765" y="25179"/>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20" name="Vrije vorm: vorm 8219">
                <a:extLst>
                  <a:ext uri="{FF2B5EF4-FFF2-40B4-BE49-F238E27FC236}">
                    <a16:creationId xmlns:a16="http://schemas.microsoft.com/office/drawing/2014/main" id="{300376B6-BC65-4241-B9F9-4C637CF5DBBF}"/>
                  </a:ext>
                </a:extLst>
              </p:cNvPr>
              <p:cNvSpPr/>
              <p:nvPr/>
            </p:nvSpPr>
            <p:spPr>
              <a:xfrm>
                <a:off x="4588609" y="4237441"/>
                <a:ext cx="36841" cy="71948"/>
              </a:xfrm>
              <a:custGeom>
                <a:avLst/>
                <a:gdLst>
                  <a:gd name="connsiteX0" fmla="*/ 36841 w 36841"/>
                  <a:gd name="connsiteY0" fmla="*/ 71948 h 71948"/>
                  <a:gd name="connsiteX1" fmla="*/ 0 w 36841"/>
                  <a:gd name="connsiteY1" fmla="*/ 0 h 71948"/>
                </a:gdLst>
                <a:ahLst/>
                <a:cxnLst>
                  <a:cxn ang="0">
                    <a:pos x="connsiteX0" y="connsiteY0"/>
                  </a:cxn>
                  <a:cxn ang="0">
                    <a:pos x="connsiteX1" y="connsiteY1"/>
                  </a:cxn>
                </a:cxnLst>
                <a:rect l="l" t="t" r="r" b="b"/>
                <a:pathLst>
                  <a:path w="36841" h="71948">
                    <a:moveTo>
                      <a:pt x="36841" y="71948"/>
                    </a:moveTo>
                    <a:cubicBezTo>
                      <a:pt x="24461" y="48025"/>
                      <a:pt x="12201" y="24043"/>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21" name="Vrije vorm: vorm 8220">
                <a:extLst>
                  <a:ext uri="{FF2B5EF4-FFF2-40B4-BE49-F238E27FC236}">
                    <a16:creationId xmlns:a16="http://schemas.microsoft.com/office/drawing/2014/main" id="{E553EC32-2738-4610-9BD6-AF8BE2C7060B}"/>
                  </a:ext>
                </a:extLst>
              </p:cNvPr>
              <p:cNvSpPr/>
              <p:nvPr/>
            </p:nvSpPr>
            <p:spPr>
              <a:xfrm>
                <a:off x="4597460" y="4230683"/>
                <a:ext cx="41805" cy="68000"/>
              </a:xfrm>
              <a:custGeom>
                <a:avLst/>
                <a:gdLst>
                  <a:gd name="connsiteX0" fmla="*/ 41805 w 41805"/>
                  <a:gd name="connsiteY0" fmla="*/ 68001 h 68000"/>
                  <a:gd name="connsiteX1" fmla="*/ 0 w 41805"/>
                  <a:gd name="connsiteY1" fmla="*/ 0 h 68000"/>
                </a:gdLst>
                <a:ahLst/>
                <a:cxnLst>
                  <a:cxn ang="0">
                    <a:pos x="connsiteX0" y="connsiteY0"/>
                  </a:cxn>
                  <a:cxn ang="0">
                    <a:pos x="connsiteX1" y="connsiteY1"/>
                  </a:cxn>
                </a:cxnLst>
                <a:rect l="l" t="t" r="r" b="b"/>
                <a:pathLst>
                  <a:path w="41805" h="68000">
                    <a:moveTo>
                      <a:pt x="41805" y="68001"/>
                    </a:moveTo>
                    <a:cubicBezTo>
                      <a:pt x="27870" y="45334"/>
                      <a:pt x="13935" y="22667"/>
                      <a:pt x="0" y="0"/>
                    </a:cubicBezTo>
                  </a:path>
                </a:pathLst>
              </a:custGeom>
              <a:noFill/>
              <a:ln w="6350" cap="rnd">
                <a:solidFill>
                  <a:schemeClr val="bg1">
                    <a:alpha val="80000"/>
                  </a:schemeClr>
                </a:solidFill>
                <a:prstDash val="solid"/>
                <a:miter/>
              </a:ln>
            </p:spPr>
            <p:txBody>
              <a:bodyPr rtlCol="0" anchor="ctr"/>
              <a:lstStyle/>
              <a:p>
                <a:endParaRPr lang="en-GB"/>
              </a:p>
            </p:txBody>
          </p:sp>
          <p:grpSp>
            <p:nvGrpSpPr>
              <p:cNvPr id="8222" name="Graphic 3">
                <a:extLst>
                  <a:ext uri="{FF2B5EF4-FFF2-40B4-BE49-F238E27FC236}">
                    <a16:creationId xmlns:a16="http://schemas.microsoft.com/office/drawing/2014/main" id="{FFCDD0C8-C77F-45AD-982B-216D304E34BB}"/>
                  </a:ext>
                </a:extLst>
              </p:cNvPr>
              <p:cNvGrpSpPr/>
              <p:nvPr/>
            </p:nvGrpSpPr>
            <p:grpSpPr>
              <a:xfrm>
                <a:off x="4303807" y="4410403"/>
                <a:ext cx="72905" cy="135762"/>
                <a:chOff x="4303807" y="4410403"/>
                <a:chExt cx="72905" cy="135762"/>
              </a:xfrm>
              <a:noFill/>
            </p:grpSpPr>
            <p:sp>
              <p:nvSpPr>
                <p:cNvPr id="8399" name="Vrije vorm: vorm 8398">
                  <a:extLst>
                    <a:ext uri="{FF2B5EF4-FFF2-40B4-BE49-F238E27FC236}">
                      <a16:creationId xmlns:a16="http://schemas.microsoft.com/office/drawing/2014/main" id="{0C90D740-8018-4896-93CC-DA19DD88E058}"/>
                    </a:ext>
                  </a:extLst>
                </p:cNvPr>
                <p:cNvSpPr/>
                <p:nvPr/>
              </p:nvSpPr>
              <p:spPr>
                <a:xfrm>
                  <a:off x="4303807" y="4528044"/>
                  <a:ext cx="23205" cy="18121"/>
                </a:xfrm>
                <a:custGeom>
                  <a:avLst/>
                  <a:gdLst>
                    <a:gd name="connsiteX0" fmla="*/ 23205 w 23205"/>
                    <a:gd name="connsiteY0" fmla="*/ 0 h 18121"/>
                    <a:gd name="connsiteX1" fmla="*/ 0 w 23205"/>
                    <a:gd name="connsiteY1" fmla="*/ 18121 h 18121"/>
                  </a:gdLst>
                  <a:ahLst/>
                  <a:cxnLst>
                    <a:cxn ang="0">
                      <a:pos x="connsiteX0" y="connsiteY0"/>
                    </a:cxn>
                    <a:cxn ang="0">
                      <a:pos x="connsiteX1" y="connsiteY1"/>
                    </a:cxn>
                  </a:cxnLst>
                  <a:rect l="l" t="t" r="r" b="b"/>
                  <a:pathLst>
                    <a:path w="23205" h="18121">
                      <a:moveTo>
                        <a:pt x="23205" y="0"/>
                      </a:moveTo>
                      <a:cubicBezTo>
                        <a:pt x="15371" y="6100"/>
                        <a:pt x="7656" y="12141"/>
                        <a:pt x="0" y="18121"/>
                      </a:cubicBezTo>
                    </a:path>
                  </a:pathLst>
                </a:custGeom>
                <a:noFill/>
                <a:ln w="6350" cap="rnd">
                  <a:solidFill>
                    <a:schemeClr val="bg1">
                      <a:alpha val="80000"/>
                    </a:schemeClr>
                  </a:solidFill>
                  <a:prstDash val="solid"/>
                  <a:miter/>
                </a:ln>
              </p:spPr>
              <p:txBody>
                <a:bodyPr rtlCol="0" anchor="ctr"/>
                <a:lstStyle/>
                <a:p>
                  <a:endParaRPr lang="en-GB"/>
                </a:p>
              </p:txBody>
            </p:sp>
            <p:sp>
              <p:nvSpPr>
                <p:cNvPr id="8400" name="Vrije vorm: vorm 8399">
                  <a:extLst>
                    <a:ext uri="{FF2B5EF4-FFF2-40B4-BE49-F238E27FC236}">
                      <a16:creationId xmlns:a16="http://schemas.microsoft.com/office/drawing/2014/main" id="{6F973308-B5D6-4150-B859-FA144A351E60}"/>
                    </a:ext>
                  </a:extLst>
                </p:cNvPr>
                <p:cNvSpPr/>
                <p:nvPr/>
              </p:nvSpPr>
              <p:spPr>
                <a:xfrm>
                  <a:off x="4310983" y="4511597"/>
                  <a:ext cx="22427" cy="17403"/>
                </a:xfrm>
                <a:custGeom>
                  <a:avLst/>
                  <a:gdLst>
                    <a:gd name="connsiteX0" fmla="*/ 22428 w 22427"/>
                    <a:gd name="connsiteY0" fmla="*/ 0 h 17403"/>
                    <a:gd name="connsiteX1" fmla="*/ 0 w 22427"/>
                    <a:gd name="connsiteY1" fmla="*/ 17404 h 17403"/>
                  </a:gdLst>
                  <a:ahLst/>
                  <a:cxnLst>
                    <a:cxn ang="0">
                      <a:pos x="connsiteX0" y="connsiteY0"/>
                    </a:cxn>
                    <a:cxn ang="0">
                      <a:pos x="connsiteX1" y="connsiteY1"/>
                    </a:cxn>
                  </a:cxnLst>
                  <a:rect l="l" t="t" r="r" b="b"/>
                  <a:pathLst>
                    <a:path w="22427" h="17403">
                      <a:moveTo>
                        <a:pt x="22428" y="0"/>
                      </a:moveTo>
                      <a:cubicBezTo>
                        <a:pt x="14892" y="5861"/>
                        <a:pt x="7416" y="11662"/>
                        <a:pt x="0" y="17404"/>
                      </a:cubicBezTo>
                    </a:path>
                  </a:pathLst>
                </a:custGeom>
                <a:noFill/>
                <a:ln w="6350" cap="rnd">
                  <a:solidFill>
                    <a:schemeClr val="bg1">
                      <a:alpha val="80000"/>
                    </a:schemeClr>
                  </a:solidFill>
                  <a:prstDash val="solid"/>
                  <a:miter/>
                </a:ln>
              </p:spPr>
              <p:txBody>
                <a:bodyPr rtlCol="0" anchor="ctr"/>
                <a:lstStyle/>
                <a:p>
                  <a:endParaRPr lang="en-GB"/>
                </a:p>
              </p:txBody>
            </p:sp>
            <p:sp>
              <p:nvSpPr>
                <p:cNvPr id="8401" name="Vrije vorm: vorm 8400">
                  <a:extLst>
                    <a:ext uri="{FF2B5EF4-FFF2-40B4-BE49-F238E27FC236}">
                      <a16:creationId xmlns:a16="http://schemas.microsoft.com/office/drawing/2014/main" id="{E422927C-D400-46B5-BE32-3657AC0DDB8C}"/>
                    </a:ext>
                  </a:extLst>
                </p:cNvPr>
                <p:cNvSpPr/>
                <p:nvPr/>
              </p:nvSpPr>
              <p:spPr>
                <a:xfrm>
                  <a:off x="4318519" y="4495031"/>
                  <a:ext cx="21590" cy="16686"/>
                </a:xfrm>
                <a:custGeom>
                  <a:avLst/>
                  <a:gdLst>
                    <a:gd name="connsiteX0" fmla="*/ 21590 w 21590"/>
                    <a:gd name="connsiteY0" fmla="*/ 0 h 16686"/>
                    <a:gd name="connsiteX1" fmla="*/ 0 w 21590"/>
                    <a:gd name="connsiteY1" fmla="*/ 16686 h 16686"/>
                  </a:gdLst>
                  <a:ahLst/>
                  <a:cxnLst>
                    <a:cxn ang="0">
                      <a:pos x="connsiteX0" y="connsiteY0"/>
                    </a:cxn>
                    <a:cxn ang="0">
                      <a:pos x="connsiteX1" y="connsiteY1"/>
                    </a:cxn>
                  </a:cxnLst>
                  <a:rect l="l" t="t" r="r" b="b"/>
                  <a:pathLst>
                    <a:path w="21590" h="16686">
                      <a:moveTo>
                        <a:pt x="21590" y="0"/>
                      </a:moveTo>
                      <a:cubicBezTo>
                        <a:pt x="14354" y="5622"/>
                        <a:pt x="7177" y="11184"/>
                        <a:pt x="0" y="16686"/>
                      </a:cubicBezTo>
                    </a:path>
                  </a:pathLst>
                </a:custGeom>
                <a:noFill/>
                <a:ln w="6350" cap="rnd">
                  <a:solidFill>
                    <a:schemeClr val="bg1">
                      <a:alpha val="80000"/>
                    </a:schemeClr>
                  </a:solidFill>
                  <a:prstDash val="solid"/>
                  <a:miter/>
                </a:ln>
              </p:spPr>
              <p:txBody>
                <a:bodyPr rtlCol="0" anchor="ctr"/>
                <a:lstStyle/>
                <a:p>
                  <a:endParaRPr lang="en-GB"/>
                </a:p>
              </p:txBody>
            </p:sp>
            <p:sp>
              <p:nvSpPr>
                <p:cNvPr id="8402" name="Vrije vorm: vorm 8401">
                  <a:extLst>
                    <a:ext uri="{FF2B5EF4-FFF2-40B4-BE49-F238E27FC236}">
                      <a16:creationId xmlns:a16="http://schemas.microsoft.com/office/drawing/2014/main" id="{C1A3C803-CBA2-4FC1-817F-6AE7C39AC29E}"/>
                    </a:ext>
                  </a:extLst>
                </p:cNvPr>
                <p:cNvSpPr/>
                <p:nvPr/>
              </p:nvSpPr>
              <p:spPr>
                <a:xfrm>
                  <a:off x="4326294" y="4478345"/>
                  <a:ext cx="20693" cy="15908"/>
                </a:xfrm>
                <a:custGeom>
                  <a:avLst/>
                  <a:gdLst>
                    <a:gd name="connsiteX0" fmla="*/ 20693 w 20693"/>
                    <a:gd name="connsiteY0" fmla="*/ 0 h 15908"/>
                    <a:gd name="connsiteX1" fmla="*/ 0 w 20693"/>
                    <a:gd name="connsiteY1" fmla="*/ 15909 h 15908"/>
                  </a:gdLst>
                  <a:ahLst/>
                  <a:cxnLst>
                    <a:cxn ang="0">
                      <a:pos x="connsiteX0" y="connsiteY0"/>
                    </a:cxn>
                    <a:cxn ang="0">
                      <a:pos x="connsiteX1" y="connsiteY1"/>
                    </a:cxn>
                  </a:cxnLst>
                  <a:rect l="l" t="t" r="r" b="b"/>
                  <a:pathLst>
                    <a:path w="20693" h="15908">
                      <a:moveTo>
                        <a:pt x="20693" y="0"/>
                      </a:moveTo>
                      <a:cubicBezTo>
                        <a:pt x="13756" y="5323"/>
                        <a:pt x="6878" y="10645"/>
                        <a:pt x="0" y="15909"/>
                      </a:cubicBezTo>
                    </a:path>
                  </a:pathLst>
                </a:custGeom>
                <a:noFill/>
                <a:ln w="6350" cap="rnd">
                  <a:solidFill>
                    <a:schemeClr val="bg1">
                      <a:alpha val="80000"/>
                    </a:schemeClr>
                  </a:solidFill>
                  <a:prstDash val="solid"/>
                  <a:miter/>
                </a:ln>
              </p:spPr>
              <p:txBody>
                <a:bodyPr rtlCol="0" anchor="ctr"/>
                <a:lstStyle/>
                <a:p>
                  <a:endParaRPr lang="en-GB"/>
                </a:p>
              </p:txBody>
            </p:sp>
            <p:sp>
              <p:nvSpPr>
                <p:cNvPr id="8403" name="Vrije vorm: vorm 8402">
                  <a:extLst>
                    <a:ext uri="{FF2B5EF4-FFF2-40B4-BE49-F238E27FC236}">
                      <a16:creationId xmlns:a16="http://schemas.microsoft.com/office/drawing/2014/main" id="{0AB14E32-B743-4624-9334-FD424A8D337F}"/>
                    </a:ext>
                  </a:extLst>
                </p:cNvPr>
                <p:cNvSpPr/>
                <p:nvPr/>
              </p:nvSpPr>
              <p:spPr>
                <a:xfrm>
                  <a:off x="4334368" y="4461539"/>
                  <a:ext cx="19736" cy="15131"/>
                </a:xfrm>
                <a:custGeom>
                  <a:avLst/>
                  <a:gdLst>
                    <a:gd name="connsiteX0" fmla="*/ 19736 w 19736"/>
                    <a:gd name="connsiteY0" fmla="*/ 0 h 15131"/>
                    <a:gd name="connsiteX1" fmla="*/ 0 w 19736"/>
                    <a:gd name="connsiteY1" fmla="*/ 15131 h 15131"/>
                  </a:gdLst>
                  <a:ahLst/>
                  <a:cxnLst>
                    <a:cxn ang="0">
                      <a:pos x="connsiteX0" y="connsiteY0"/>
                    </a:cxn>
                    <a:cxn ang="0">
                      <a:pos x="connsiteX1" y="connsiteY1"/>
                    </a:cxn>
                  </a:cxnLst>
                  <a:rect l="l" t="t" r="r" b="b"/>
                  <a:pathLst>
                    <a:path w="19736" h="15131">
                      <a:moveTo>
                        <a:pt x="19736" y="0"/>
                      </a:moveTo>
                      <a:cubicBezTo>
                        <a:pt x="13098" y="5083"/>
                        <a:pt x="6519" y="10107"/>
                        <a:pt x="0" y="15131"/>
                      </a:cubicBezTo>
                    </a:path>
                  </a:pathLst>
                </a:custGeom>
                <a:noFill/>
                <a:ln w="6350" cap="rnd">
                  <a:solidFill>
                    <a:schemeClr val="bg1">
                      <a:alpha val="80000"/>
                    </a:schemeClr>
                  </a:solidFill>
                  <a:prstDash val="solid"/>
                  <a:miter/>
                </a:ln>
              </p:spPr>
              <p:txBody>
                <a:bodyPr rtlCol="0" anchor="ctr"/>
                <a:lstStyle/>
                <a:p>
                  <a:endParaRPr lang="en-GB"/>
                </a:p>
              </p:txBody>
            </p:sp>
            <p:sp>
              <p:nvSpPr>
                <p:cNvPr id="8404" name="Vrije vorm: vorm 8403">
                  <a:extLst>
                    <a:ext uri="{FF2B5EF4-FFF2-40B4-BE49-F238E27FC236}">
                      <a16:creationId xmlns:a16="http://schemas.microsoft.com/office/drawing/2014/main" id="{18FDFA22-B079-4F16-B310-2CE2037466BF}"/>
                    </a:ext>
                  </a:extLst>
                </p:cNvPr>
                <p:cNvSpPr/>
                <p:nvPr/>
              </p:nvSpPr>
              <p:spPr>
                <a:xfrm>
                  <a:off x="4342741" y="4444553"/>
                  <a:ext cx="18719" cy="14353"/>
                </a:xfrm>
                <a:custGeom>
                  <a:avLst/>
                  <a:gdLst>
                    <a:gd name="connsiteX0" fmla="*/ 18720 w 18719"/>
                    <a:gd name="connsiteY0" fmla="*/ 0 h 14353"/>
                    <a:gd name="connsiteX1" fmla="*/ 0 w 18719"/>
                    <a:gd name="connsiteY1" fmla="*/ 14354 h 14353"/>
                  </a:gdLst>
                  <a:ahLst/>
                  <a:cxnLst>
                    <a:cxn ang="0">
                      <a:pos x="connsiteX0" y="connsiteY0"/>
                    </a:cxn>
                    <a:cxn ang="0">
                      <a:pos x="connsiteX1" y="connsiteY1"/>
                    </a:cxn>
                  </a:cxnLst>
                  <a:rect l="l" t="t" r="r" b="b"/>
                  <a:pathLst>
                    <a:path w="18719" h="14353">
                      <a:moveTo>
                        <a:pt x="18720" y="0"/>
                      </a:moveTo>
                      <a:cubicBezTo>
                        <a:pt x="12440" y="4785"/>
                        <a:pt x="6160" y="9569"/>
                        <a:pt x="0" y="14354"/>
                      </a:cubicBezTo>
                    </a:path>
                  </a:pathLst>
                </a:custGeom>
                <a:noFill/>
                <a:ln w="6350" cap="rnd">
                  <a:solidFill>
                    <a:schemeClr val="bg1">
                      <a:alpha val="80000"/>
                    </a:schemeClr>
                  </a:solidFill>
                  <a:prstDash val="solid"/>
                  <a:miter/>
                </a:ln>
              </p:spPr>
              <p:txBody>
                <a:bodyPr rtlCol="0" anchor="ctr"/>
                <a:lstStyle/>
                <a:p>
                  <a:endParaRPr lang="en-GB"/>
                </a:p>
              </p:txBody>
            </p:sp>
            <p:sp>
              <p:nvSpPr>
                <p:cNvPr id="8405" name="Vrije vorm: vorm 8404">
                  <a:extLst>
                    <a:ext uri="{FF2B5EF4-FFF2-40B4-BE49-F238E27FC236}">
                      <a16:creationId xmlns:a16="http://schemas.microsoft.com/office/drawing/2014/main" id="{D057815E-B722-4F3C-B999-B6D1B8B0FE15}"/>
                    </a:ext>
                  </a:extLst>
                </p:cNvPr>
                <p:cNvSpPr/>
                <p:nvPr/>
              </p:nvSpPr>
              <p:spPr>
                <a:xfrm>
                  <a:off x="4351293" y="4427508"/>
                  <a:ext cx="17703" cy="13516"/>
                </a:xfrm>
                <a:custGeom>
                  <a:avLst/>
                  <a:gdLst>
                    <a:gd name="connsiteX0" fmla="*/ 17703 w 17703"/>
                    <a:gd name="connsiteY0" fmla="*/ 0 h 13516"/>
                    <a:gd name="connsiteX1" fmla="*/ 0 w 17703"/>
                    <a:gd name="connsiteY1" fmla="*/ 13516 h 13516"/>
                  </a:gdLst>
                  <a:ahLst/>
                  <a:cxnLst>
                    <a:cxn ang="0">
                      <a:pos x="connsiteX0" y="connsiteY0"/>
                    </a:cxn>
                    <a:cxn ang="0">
                      <a:pos x="connsiteX1" y="connsiteY1"/>
                    </a:cxn>
                  </a:cxnLst>
                  <a:rect l="l" t="t" r="r" b="b"/>
                  <a:pathLst>
                    <a:path w="17703" h="13516">
                      <a:moveTo>
                        <a:pt x="17703" y="0"/>
                      </a:moveTo>
                      <a:cubicBezTo>
                        <a:pt x="11782" y="4545"/>
                        <a:pt x="5861" y="9031"/>
                        <a:pt x="0" y="13516"/>
                      </a:cubicBezTo>
                    </a:path>
                  </a:pathLst>
                </a:custGeom>
                <a:noFill/>
                <a:ln w="6350" cap="rnd">
                  <a:solidFill>
                    <a:schemeClr val="bg1">
                      <a:alpha val="80000"/>
                    </a:schemeClr>
                  </a:solidFill>
                  <a:prstDash val="solid"/>
                  <a:miter/>
                </a:ln>
              </p:spPr>
              <p:txBody>
                <a:bodyPr rtlCol="0" anchor="ctr"/>
                <a:lstStyle/>
                <a:p>
                  <a:endParaRPr lang="en-GB"/>
                </a:p>
              </p:txBody>
            </p:sp>
            <p:sp>
              <p:nvSpPr>
                <p:cNvPr id="8406" name="Vrije vorm: vorm 8405">
                  <a:extLst>
                    <a:ext uri="{FF2B5EF4-FFF2-40B4-BE49-F238E27FC236}">
                      <a16:creationId xmlns:a16="http://schemas.microsoft.com/office/drawing/2014/main" id="{FA0A15D0-67D4-4C91-92A5-EF0DCB573C17}"/>
                    </a:ext>
                  </a:extLst>
                </p:cNvPr>
                <p:cNvSpPr/>
                <p:nvPr/>
              </p:nvSpPr>
              <p:spPr>
                <a:xfrm>
                  <a:off x="4360025" y="4410403"/>
                  <a:ext cx="16686" cy="12679"/>
                </a:xfrm>
                <a:custGeom>
                  <a:avLst/>
                  <a:gdLst>
                    <a:gd name="connsiteX0" fmla="*/ 16686 w 16686"/>
                    <a:gd name="connsiteY0" fmla="*/ 0 h 12679"/>
                    <a:gd name="connsiteX1" fmla="*/ 0 w 16686"/>
                    <a:gd name="connsiteY1" fmla="*/ 12679 h 12679"/>
                  </a:gdLst>
                  <a:ahLst/>
                  <a:cxnLst>
                    <a:cxn ang="0">
                      <a:pos x="connsiteX0" y="connsiteY0"/>
                    </a:cxn>
                    <a:cxn ang="0">
                      <a:pos x="connsiteX1" y="connsiteY1"/>
                    </a:cxn>
                  </a:cxnLst>
                  <a:rect l="l" t="t" r="r" b="b"/>
                  <a:pathLst>
                    <a:path w="16686" h="12679">
                      <a:moveTo>
                        <a:pt x="16686" y="0"/>
                      </a:moveTo>
                      <a:cubicBezTo>
                        <a:pt x="11124" y="4246"/>
                        <a:pt x="5562" y="8493"/>
                        <a:pt x="0" y="12679"/>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23" name="Graphic 3">
                <a:extLst>
                  <a:ext uri="{FF2B5EF4-FFF2-40B4-BE49-F238E27FC236}">
                    <a16:creationId xmlns:a16="http://schemas.microsoft.com/office/drawing/2014/main" id="{0D2D99BB-C5E8-4C62-8885-EAB6FAAE122A}"/>
                  </a:ext>
                </a:extLst>
              </p:cNvPr>
              <p:cNvGrpSpPr/>
              <p:nvPr/>
            </p:nvGrpSpPr>
            <p:grpSpPr>
              <a:xfrm>
                <a:off x="4258293" y="4438334"/>
                <a:ext cx="81696" cy="143537"/>
                <a:chOff x="4258293" y="4438334"/>
                <a:chExt cx="81696" cy="143537"/>
              </a:xfrm>
              <a:noFill/>
            </p:grpSpPr>
            <p:sp>
              <p:nvSpPr>
                <p:cNvPr id="8391" name="Vrije vorm: vorm 8390">
                  <a:extLst>
                    <a:ext uri="{FF2B5EF4-FFF2-40B4-BE49-F238E27FC236}">
                      <a16:creationId xmlns:a16="http://schemas.microsoft.com/office/drawing/2014/main" id="{DECBDCD2-7BD0-478D-9215-860AB4C84F8D}"/>
                    </a:ext>
                  </a:extLst>
                </p:cNvPr>
                <p:cNvSpPr/>
                <p:nvPr/>
              </p:nvSpPr>
              <p:spPr>
                <a:xfrm>
                  <a:off x="4258293" y="4564407"/>
                  <a:ext cx="22188" cy="17463"/>
                </a:xfrm>
                <a:custGeom>
                  <a:avLst/>
                  <a:gdLst>
                    <a:gd name="connsiteX0" fmla="*/ 22189 w 22188"/>
                    <a:gd name="connsiteY0" fmla="*/ 0 h 17463"/>
                    <a:gd name="connsiteX1" fmla="*/ 0 w 22188"/>
                    <a:gd name="connsiteY1" fmla="*/ 17464 h 17463"/>
                  </a:gdLst>
                  <a:ahLst/>
                  <a:cxnLst>
                    <a:cxn ang="0">
                      <a:pos x="connsiteX0" y="connsiteY0"/>
                    </a:cxn>
                    <a:cxn ang="0">
                      <a:pos x="connsiteX1" y="connsiteY1"/>
                    </a:cxn>
                  </a:cxnLst>
                  <a:rect l="l" t="t" r="r" b="b"/>
                  <a:pathLst>
                    <a:path w="22188" h="17463">
                      <a:moveTo>
                        <a:pt x="22189" y="0"/>
                      </a:moveTo>
                      <a:cubicBezTo>
                        <a:pt x="14713" y="5861"/>
                        <a:pt x="7297" y="11722"/>
                        <a:pt x="0" y="17464"/>
                      </a:cubicBezTo>
                    </a:path>
                  </a:pathLst>
                </a:custGeom>
                <a:noFill/>
                <a:ln w="6350" cap="rnd">
                  <a:solidFill>
                    <a:schemeClr val="bg1">
                      <a:alpha val="80000"/>
                    </a:schemeClr>
                  </a:solidFill>
                  <a:prstDash val="solid"/>
                  <a:miter/>
                </a:ln>
              </p:spPr>
              <p:txBody>
                <a:bodyPr rtlCol="0" anchor="ctr"/>
                <a:lstStyle/>
                <a:p>
                  <a:endParaRPr lang="en-GB"/>
                </a:p>
              </p:txBody>
            </p:sp>
            <p:sp>
              <p:nvSpPr>
                <p:cNvPr id="8392" name="Vrije vorm: vorm 8391">
                  <a:extLst>
                    <a:ext uri="{FF2B5EF4-FFF2-40B4-BE49-F238E27FC236}">
                      <a16:creationId xmlns:a16="http://schemas.microsoft.com/office/drawing/2014/main" id="{84D4B507-39F6-432E-A968-9D547A89871B}"/>
                    </a:ext>
                  </a:extLst>
                </p:cNvPr>
                <p:cNvSpPr/>
                <p:nvPr/>
              </p:nvSpPr>
              <p:spPr>
                <a:xfrm>
                  <a:off x="4266607" y="4546883"/>
                  <a:ext cx="21470" cy="16865"/>
                </a:xfrm>
                <a:custGeom>
                  <a:avLst/>
                  <a:gdLst>
                    <a:gd name="connsiteX0" fmla="*/ 21471 w 21470"/>
                    <a:gd name="connsiteY0" fmla="*/ 0 h 16865"/>
                    <a:gd name="connsiteX1" fmla="*/ 0 w 21470"/>
                    <a:gd name="connsiteY1" fmla="*/ 16866 h 16865"/>
                  </a:gdLst>
                  <a:ahLst/>
                  <a:cxnLst>
                    <a:cxn ang="0">
                      <a:pos x="connsiteX0" y="connsiteY0"/>
                    </a:cxn>
                    <a:cxn ang="0">
                      <a:pos x="connsiteX1" y="connsiteY1"/>
                    </a:cxn>
                  </a:cxnLst>
                  <a:rect l="l" t="t" r="r" b="b"/>
                  <a:pathLst>
                    <a:path w="21470" h="16865">
                      <a:moveTo>
                        <a:pt x="21471" y="0"/>
                      </a:moveTo>
                      <a:cubicBezTo>
                        <a:pt x="14234" y="5682"/>
                        <a:pt x="7057" y="11304"/>
                        <a:pt x="0" y="16866"/>
                      </a:cubicBezTo>
                    </a:path>
                  </a:pathLst>
                </a:custGeom>
                <a:noFill/>
                <a:ln w="6350" cap="rnd">
                  <a:solidFill>
                    <a:schemeClr val="bg1">
                      <a:alpha val="80000"/>
                    </a:schemeClr>
                  </a:solidFill>
                  <a:prstDash val="solid"/>
                  <a:miter/>
                </a:ln>
              </p:spPr>
              <p:txBody>
                <a:bodyPr rtlCol="0" anchor="ctr"/>
                <a:lstStyle/>
                <a:p>
                  <a:endParaRPr lang="en-GB"/>
                </a:p>
              </p:txBody>
            </p:sp>
            <p:sp>
              <p:nvSpPr>
                <p:cNvPr id="8393" name="Vrije vorm: vorm 8392">
                  <a:extLst>
                    <a:ext uri="{FF2B5EF4-FFF2-40B4-BE49-F238E27FC236}">
                      <a16:creationId xmlns:a16="http://schemas.microsoft.com/office/drawing/2014/main" id="{7B643538-DC0C-40EF-8F9C-EF6D140FBE78}"/>
                    </a:ext>
                  </a:extLst>
                </p:cNvPr>
                <p:cNvSpPr/>
                <p:nvPr/>
              </p:nvSpPr>
              <p:spPr>
                <a:xfrm>
                  <a:off x="4275219" y="4529240"/>
                  <a:ext cx="20752" cy="16207"/>
                </a:xfrm>
                <a:custGeom>
                  <a:avLst/>
                  <a:gdLst>
                    <a:gd name="connsiteX0" fmla="*/ 20753 w 20752"/>
                    <a:gd name="connsiteY0" fmla="*/ 0 h 16207"/>
                    <a:gd name="connsiteX1" fmla="*/ 0 w 20752"/>
                    <a:gd name="connsiteY1" fmla="*/ 16208 h 16207"/>
                  </a:gdLst>
                  <a:ahLst/>
                  <a:cxnLst>
                    <a:cxn ang="0">
                      <a:pos x="connsiteX0" y="connsiteY0"/>
                    </a:cxn>
                    <a:cxn ang="0">
                      <a:pos x="connsiteX1" y="connsiteY1"/>
                    </a:cxn>
                  </a:cxnLst>
                  <a:rect l="l" t="t" r="r" b="b"/>
                  <a:pathLst>
                    <a:path w="20752" h="16207">
                      <a:moveTo>
                        <a:pt x="20753" y="0"/>
                      </a:moveTo>
                      <a:cubicBezTo>
                        <a:pt x="13756" y="5443"/>
                        <a:pt x="6818" y="10825"/>
                        <a:pt x="0" y="16208"/>
                      </a:cubicBezTo>
                    </a:path>
                  </a:pathLst>
                </a:custGeom>
                <a:noFill/>
                <a:ln w="6350" cap="rnd">
                  <a:solidFill>
                    <a:schemeClr val="bg1">
                      <a:alpha val="80000"/>
                    </a:schemeClr>
                  </a:solidFill>
                  <a:prstDash val="solid"/>
                  <a:miter/>
                </a:ln>
              </p:spPr>
              <p:txBody>
                <a:bodyPr rtlCol="0" anchor="ctr"/>
                <a:lstStyle/>
                <a:p>
                  <a:endParaRPr lang="en-GB"/>
                </a:p>
              </p:txBody>
            </p:sp>
            <p:sp>
              <p:nvSpPr>
                <p:cNvPr id="8394" name="Vrije vorm: vorm 8393">
                  <a:extLst>
                    <a:ext uri="{FF2B5EF4-FFF2-40B4-BE49-F238E27FC236}">
                      <a16:creationId xmlns:a16="http://schemas.microsoft.com/office/drawing/2014/main" id="{0695E929-A4EE-4B6A-BF80-4EAFCA832A47}"/>
                    </a:ext>
                  </a:extLst>
                </p:cNvPr>
                <p:cNvSpPr/>
                <p:nvPr/>
              </p:nvSpPr>
              <p:spPr>
                <a:xfrm>
                  <a:off x="4284250" y="4511358"/>
                  <a:ext cx="19975" cy="15490"/>
                </a:xfrm>
                <a:custGeom>
                  <a:avLst/>
                  <a:gdLst>
                    <a:gd name="connsiteX0" fmla="*/ 19975 w 19975"/>
                    <a:gd name="connsiteY0" fmla="*/ 0 h 15490"/>
                    <a:gd name="connsiteX1" fmla="*/ 0 w 19975"/>
                    <a:gd name="connsiteY1" fmla="*/ 15490 h 15490"/>
                  </a:gdLst>
                  <a:ahLst/>
                  <a:cxnLst>
                    <a:cxn ang="0">
                      <a:pos x="connsiteX0" y="connsiteY0"/>
                    </a:cxn>
                    <a:cxn ang="0">
                      <a:pos x="connsiteX1" y="connsiteY1"/>
                    </a:cxn>
                  </a:cxnLst>
                  <a:rect l="l" t="t" r="r" b="b"/>
                  <a:pathLst>
                    <a:path w="19975" h="15490">
                      <a:moveTo>
                        <a:pt x="19975" y="0"/>
                      </a:moveTo>
                      <a:cubicBezTo>
                        <a:pt x="13277" y="5203"/>
                        <a:pt x="6579" y="10347"/>
                        <a:pt x="0" y="15490"/>
                      </a:cubicBezTo>
                    </a:path>
                  </a:pathLst>
                </a:custGeom>
                <a:noFill/>
                <a:ln w="6350" cap="rnd">
                  <a:solidFill>
                    <a:schemeClr val="bg1">
                      <a:alpha val="80000"/>
                    </a:schemeClr>
                  </a:solidFill>
                  <a:prstDash val="solid"/>
                  <a:miter/>
                </a:ln>
              </p:spPr>
              <p:txBody>
                <a:bodyPr rtlCol="0" anchor="ctr"/>
                <a:lstStyle/>
                <a:p>
                  <a:endParaRPr lang="en-GB"/>
                </a:p>
              </p:txBody>
            </p:sp>
            <p:sp>
              <p:nvSpPr>
                <p:cNvPr id="8395" name="Vrije vorm: vorm 8394">
                  <a:extLst>
                    <a:ext uri="{FF2B5EF4-FFF2-40B4-BE49-F238E27FC236}">
                      <a16:creationId xmlns:a16="http://schemas.microsoft.com/office/drawing/2014/main" id="{E7BA7819-58B2-4931-9D33-453739A7EEC5}"/>
                    </a:ext>
                  </a:extLst>
                </p:cNvPr>
                <p:cNvSpPr/>
                <p:nvPr/>
              </p:nvSpPr>
              <p:spPr>
                <a:xfrm>
                  <a:off x="4293580" y="4493356"/>
                  <a:ext cx="19138" cy="14772"/>
                </a:xfrm>
                <a:custGeom>
                  <a:avLst/>
                  <a:gdLst>
                    <a:gd name="connsiteX0" fmla="*/ 19138 w 19138"/>
                    <a:gd name="connsiteY0" fmla="*/ 0 h 14772"/>
                    <a:gd name="connsiteX1" fmla="*/ 0 w 19138"/>
                    <a:gd name="connsiteY1" fmla="*/ 14773 h 14772"/>
                  </a:gdLst>
                  <a:ahLst/>
                  <a:cxnLst>
                    <a:cxn ang="0">
                      <a:pos x="connsiteX0" y="connsiteY0"/>
                    </a:cxn>
                    <a:cxn ang="0">
                      <a:pos x="connsiteX1" y="connsiteY1"/>
                    </a:cxn>
                  </a:cxnLst>
                  <a:rect l="l" t="t" r="r" b="b"/>
                  <a:pathLst>
                    <a:path w="19138" h="14772">
                      <a:moveTo>
                        <a:pt x="19138" y="0"/>
                      </a:moveTo>
                      <a:cubicBezTo>
                        <a:pt x="12739" y="4964"/>
                        <a:pt x="6340" y="9868"/>
                        <a:pt x="0" y="14773"/>
                      </a:cubicBezTo>
                    </a:path>
                  </a:pathLst>
                </a:custGeom>
                <a:noFill/>
                <a:ln w="6350" cap="rnd">
                  <a:solidFill>
                    <a:schemeClr val="bg1">
                      <a:alpha val="80000"/>
                    </a:schemeClr>
                  </a:solidFill>
                  <a:prstDash val="solid"/>
                  <a:miter/>
                </a:ln>
              </p:spPr>
              <p:txBody>
                <a:bodyPr rtlCol="0" anchor="ctr"/>
                <a:lstStyle/>
                <a:p>
                  <a:endParaRPr lang="en-GB"/>
                </a:p>
              </p:txBody>
            </p:sp>
            <p:sp>
              <p:nvSpPr>
                <p:cNvPr id="8396" name="Vrije vorm: vorm 8395">
                  <a:extLst>
                    <a:ext uri="{FF2B5EF4-FFF2-40B4-BE49-F238E27FC236}">
                      <a16:creationId xmlns:a16="http://schemas.microsoft.com/office/drawing/2014/main" id="{15780FB2-9386-4540-AEB3-A918BDF2CA7F}"/>
                    </a:ext>
                  </a:extLst>
                </p:cNvPr>
                <p:cNvSpPr/>
                <p:nvPr/>
              </p:nvSpPr>
              <p:spPr>
                <a:xfrm>
                  <a:off x="4303268" y="4475175"/>
                  <a:ext cx="18241" cy="14054"/>
                </a:xfrm>
                <a:custGeom>
                  <a:avLst/>
                  <a:gdLst>
                    <a:gd name="connsiteX0" fmla="*/ 18241 w 18241"/>
                    <a:gd name="connsiteY0" fmla="*/ 0 h 14054"/>
                    <a:gd name="connsiteX1" fmla="*/ 0 w 18241"/>
                    <a:gd name="connsiteY1" fmla="*/ 14055 h 14054"/>
                  </a:gdLst>
                  <a:ahLst/>
                  <a:cxnLst>
                    <a:cxn ang="0">
                      <a:pos x="connsiteX0" y="connsiteY0"/>
                    </a:cxn>
                    <a:cxn ang="0">
                      <a:pos x="connsiteX1" y="connsiteY1"/>
                    </a:cxn>
                  </a:cxnLst>
                  <a:rect l="l" t="t" r="r" b="b"/>
                  <a:pathLst>
                    <a:path w="18241" h="14054">
                      <a:moveTo>
                        <a:pt x="18241" y="0"/>
                      </a:moveTo>
                      <a:cubicBezTo>
                        <a:pt x="12141" y="4725"/>
                        <a:pt x="6041" y="9390"/>
                        <a:pt x="0" y="14055"/>
                      </a:cubicBezTo>
                    </a:path>
                  </a:pathLst>
                </a:custGeom>
                <a:noFill/>
                <a:ln w="6350" cap="rnd">
                  <a:solidFill>
                    <a:schemeClr val="bg1">
                      <a:alpha val="80000"/>
                    </a:schemeClr>
                  </a:solidFill>
                  <a:prstDash val="solid"/>
                  <a:miter/>
                </a:ln>
              </p:spPr>
              <p:txBody>
                <a:bodyPr rtlCol="0" anchor="ctr"/>
                <a:lstStyle/>
                <a:p>
                  <a:endParaRPr lang="en-GB"/>
                </a:p>
              </p:txBody>
            </p:sp>
            <p:sp>
              <p:nvSpPr>
                <p:cNvPr id="8397" name="Vrije vorm: vorm 8396">
                  <a:extLst>
                    <a:ext uri="{FF2B5EF4-FFF2-40B4-BE49-F238E27FC236}">
                      <a16:creationId xmlns:a16="http://schemas.microsoft.com/office/drawing/2014/main" id="{F9116C20-4F65-4AE9-8327-237A3C82D1D1}"/>
                    </a:ext>
                  </a:extLst>
                </p:cNvPr>
                <p:cNvSpPr/>
                <p:nvPr/>
              </p:nvSpPr>
              <p:spPr>
                <a:xfrm>
                  <a:off x="4313316" y="4456814"/>
                  <a:ext cx="17284" cy="13277"/>
                </a:xfrm>
                <a:custGeom>
                  <a:avLst/>
                  <a:gdLst>
                    <a:gd name="connsiteX0" fmla="*/ 17284 w 17284"/>
                    <a:gd name="connsiteY0" fmla="*/ 0 h 13277"/>
                    <a:gd name="connsiteX1" fmla="*/ 0 w 17284"/>
                    <a:gd name="connsiteY1" fmla="*/ 13277 h 13277"/>
                  </a:gdLst>
                  <a:ahLst/>
                  <a:cxnLst>
                    <a:cxn ang="0">
                      <a:pos x="connsiteX0" y="connsiteY0"/>
                    </a:cxn>
                    <a:cxn ang="0">
                      <a:pos x="connsiteX1" y="connsiteY1"/>
                    </a:cxn>
                  </a:cxnLst>
                  <a:rect l="l" t="t" r="r" b="b"/>
                  <a:pathLst>
                    <a:path w="17284" h="13277">
                      <a:moveTo>
                        <a:pt x="17284" y="0"/>
                      </a:moveTo>
                      <a:cubicBezTo>
                        <a:pt x="11483" y="4426"/>
                        <a:pt x="5742" y="8852"/>
                        <a:pt x="0" y="13277"/>
                      </a:cubicBezTo>
                    </a:path>
                  </a:pathLst>
                </a:custGeom>
                <a:noFill/>
                <a:ln w="6350" cap="rnd">
                  <a:solidFill>
                    <a:schemeClr val="bg1">
                      <a:alpha val="80000"/>
                    </a:schemeClr>
                  </a:solidFill>
                  <a:prstDash val="solid"/>
                  <a:miter/>
                </a:ln>
              </p:spPr>
              <p:txBody>
                <a:bodyPr rtlCol="0" anchor="ctr"/>
                <a:lstStyle/>
                <a:p>
                  <a:endParaRPr lang="en-GB"/>
                </a:p>
              </p:txBody>
            </p:sp>
            <p:sp>
              <p:nvSpPr>
                <p:cNvPr id="8398" name="Vrije vorm: vorm 8397">
                  <a:extLst>
                    <a:ext uri="{FF2B5EF4-FFF2-40B4-BE49-F238E27FC236}">
                      <a16:creationId xmlns:a16="http://schemas.microsoft.com/office/drawing/2014/main" id="{D75ECD96-64FF-4B32-8820-4252A421D754}"/>
                    </a:ext>
                  </a:extLst>
                </p:cNvPr>
                <p:cNvSpPr/>
                <p:nvPr/>
              </p:nvSpPr>
              <p:spPr>
                <a:xfrm>
                  <a:off x="4323663" y="4438334"/>
                  <a:ext cx="16327" cy="12439"/>
                </a:xfrm>
                <a:custGeom>
                  <a:avLst/>
                  <a:gdLst>
                    <a:gd name="connsiteX0" fmla="*/ 16328 w 16327"/>
                    <a:gd name="connsiteY0" fmla="*/ 0 h 12439"/>
                    <a:gd name="connsiteX1" fmla="*/ 0 w 16327"/>
                    <a:gd name="connsiteY1" fmla="*/ 12440 h 12439"/>
                  </a:gdLst>
                  <a:ahLst/>
                  <a:cxnLst>
                    <a:cxn ang="0">
                      <a:pos x="connsiteX0" y="connsiteY0"/>
                    </a:cxn>
                    <a:cxn ang="0">
                      <a:pos x="connsiteX1" y="connsiteY1"/>
                    </a:cxn>
                  </a:cxnLst>
                  <a:rect l="l" t="t" r="r" b="b"/>
                  <a:pathLst>
                    <a:path w="16327" h="12439">
                      <a:moveTo>
                        <a:pt x="16328" y="0"/>
                      </a:moveTo>
                      <a:cubicBezTo>
                        <a:pt x="10885" y="4186"/>
                        <a:pt x="5443" y="8313"/>
                        <a:pt x="0" y="12440"/>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24" name="Graphic 3">
                <a:extLst>
                  <a:ext uri="{FF2B5EF4-FFF2-40B4-BE49-F238E27FC236}">
                    <a16:creationId xmlns:a16="http://schemas.microsoft.com/office/drawing/2014/main" id="{0850F1F3-270F-419E-8FAD-221CA6B7CF8C}"/>
                  </a:ext>
                </a:extLst>
              </p:cNvPr>
              <p:cNvGrpSpPr/>
              <p:nvPr/>
            </p:nvGrpSpPr>
            <p:grpSpPr>
              <a:xfrm>
                <a:off x="4348124" y="4384567"/>
                <a:ext cx="62558" cy="127030"/>
                <a:chOff x="4348124" y="4384567"/>
                <a:chExt cx="62558" cy="127030"/>
              </a:xfrm>
              <a:noFill/>
            </p:grpSpPr>
            <p:sp>
              <p:nvSpPr>
                <p:cNvPr id="8383" name="Vrije vorm: vorm 8382">
                  <a:extLst>
                    <a:ext uri="{FF2B5EF4-FFF2-40B4-BE49-F238E27FC236}">
                      <a16:creationId xmlns:a16="http://schemas.microsoft.com/office/drawing/2014/main" id="{5047379A-C3EF-42C2-BAE6-E5CA246F8E84}"/>
                    </a:ext>
                  </a:extLst>
                </p:cNvPr>
                <p:cNvSpPr/>
                <p:nvPr/>
              </p:nvSpPr>
              <p:spPr>
                <a:xfrm>
                  <a:off x="4348124" y="4492938"/>
                  <a:ext cx="24102" cy="18659"/>
                </a:xfrm>
                <a:custGeom>
                  <a:avLst/>
                  <a:gdLst>
                    <a:gd name="connsiteX0" fmla="*/ 24102 w 24102"/>
                    <a:gd name="connsiteY0" fmla="*/ 0 h 18659"/>
                    <a:gd name="connsiteX1" fmla="*/ 0 w 24102"/>
                    <a:gd name="connsiteY1" fmla="*/ 18660 h 18659"/>
                  </a:gdLst>
                  <a:ahLst/>
                  <a:cxnLst>
                    <a:cxn ang="0">
                      <a:pos x="connsiteX0" y="connsiteY0"/>
                    </a:cxn>
                    <a:cxn ang="0">
                      <a:pos x="connsiteX1" y="connsiteY1"/>
                    </a:cxn>
                  </a:cxnLst>
                  <a:rect l="l" t="t" r="r" b="b"/>
                  <a:pathLst>
                    <a:path w="24102" h="18659">
                      <a:moveTo>
                        <a:pt x="24102" y="0"/>
                      </a:moveTo>
                      <a:cubicBezTo>
                        <a:pt x="15968" y="6280"/>
                        <a:pt x="7954" y="12500"/>
                        <a:pt x="0" y="18660"/>
                      </a:cubicBezTo>
                    </a:path>
                  </a:pathLst>
                </a:custGeom>
                <a:noFill/>
                <a:ln w="6350" cap="rnd">
                  <a:solidFill>
                    <a:schemeClr val="bg1">
                      <a:alpha val="80000"/>
                    </a:schemeClr>
                  </a:solidFill>
                  <a:prstDash val="solid"/>
                  <a:miter/>
                </a:ln>
              </p:spPr>
              <p:txBody>
                <a:bodyPr rtlCol="0" anchor="ctr"/>
                <a:lstStyle/>
                <a:p>
                  <a:endParaRPr lang="en-GB"/>
                </a:p>
              </p:txBody>
            </p:sp>
            <p:sp>
              <p:nvSpPr>
                <p:cNvPr id="8384" name="Vrije vorm: vorm 8383">
                  <a:extLst>
                    <a:ext uri="{FF2B5EF4-FFF2-40B4-BE49-F238E27FC236}">
                      <a16:creationId xmlns:a16="http://schemas.microsoft.com/office/drawing/2014/main" id="{20153CB0-99AA-431A-B91E-C8F1338A7FC8}"/>
                    </a:ext>
                  </a:extLst>
                </p:cNvPr>
                <p:cNvSpPr/>
                <p:nvPr/>
              </p:nvSpPr>
              <p:spPr>
                <a:xfrm>
                  <a:off x="4354045" y="4477746"/>
                  <a:ext cx="23205" cy="17882"/>
                </a:xfrm>
                <a:custGeom>
                  <a:avLst/>
                  <a:gdLst>
                    <a:gd name="connsiteX0" fmla="*/ 23205 w 23205"/>
                    <a:gd name="connsiteY0" fmla="*/ 0 h 17882"/>
                    <a:gd name="connsiteX1" fmla="*/ 0 w 23205"/>
                    <a:gd name="connsiteY1" fmla="*/ 17882 h 17882"/>
                  </a:gdLst>
                  <a:ahLst/>
                  <a:cxnLst>
                    <a:cxn ang="0">
                      <a:pos x="connsiteX0" y="connsiteY0"/>
                    </a:cxn>
                    <a:cxn ang="0">
                      <a:pos x="connsiteX1" y="connsiteY1"/>
                    </a:cxn>
                  </a:cxnLst>
                  <a:rect l="l" t="t" r="r" b="b"/>
                  <a:pathLst>
                    <a:path w="23205" h="17882">
                      <a:moveTo>
                        <a:pt x="23205" y="0"/>
                      </a:moveTo>
                      <a:cubicBezTo>
                        <a:pt x="15430" y="5981"/>
                        <a:pt x="7656" y="11961"/>
                        <a:pt x="0" y="17882"/>
                      </a:cubicBezTo>
                    </a:path>
                  </a:pathLst>
                </a:custGeom>
                <a:noFill/>
                <a:ln w="6350" cap="rnd">
                  <a:solidFill>
                    <a:schemeClr val="bg1">
                      <a:alpha val="80000"/>
                    </a:schemeClr>
                  </a:solidFill>
                  <a:prstDash val="solid"/>
                  <a:miter/>
                </a:ln>
              </p:spPr>
              <p:txBody>
                <a:bodyPr rtlCol="0" anchor="ctr"/>
                <a:lstStyle/>
                <a:p>
                  <a:endParaRPr lang="en-GB"/>
                </a:p>
              </p:txBody>
            </p:sp>
            <p:sp>
              <p:nvSpPr>
                <p:cNvPr id="8385" name="Vrije vorm: vorm 8384">
                  <a:extLst>
                    <a:ext uri="{FF2B5EF4-FFF2-40B4-BE49-F238E27FC236}">
                      <a16:creationId xmlns:a16="http://schemas.microsoft.com/office/drawing/2014/main" id="{0A872906-7236-400E-BE70-A1DEA32D21AF}"/>
                    </a:ext>
                  </a:extLst>
                </p:cNvPr>
                <p:cNvSpPr/>
                <p:nvPr/>
              </p:nvSpPr>
              <p:spPr>
                <a:xfrm>
                  <a:off x="4360205" y="4462376"/>
                  <a:ext cx="22248" cy="17105"/>
                </a:xfrm>
                <a:custGeom>
                  <a:avLst/>
                  <a:gdLst>
                    <a:gd name="connsiteX0" fmla="*/ 22248 w 22248"/>
                    <a:gd name="connsiteY0" fmla="*/ 0 h 17105"/>
                    <a:gd name="connsiteX1" fmla="*/ 0 w 22248"/>
                    <a:gd name="connsiteY1" fmla="*/ 17105 h 17105"/>
                  </a:gdLst>
                  <a:ahLst/>
                  <a:cxnLst>
                    <a:cxn ang="0">
                      <a:pos x="connsiteX0" y="connsiteY0"/>
                    </a:cxn>
                    <a:cxn ang="0">
                      <a:pos x="connsiteX1" y="connsiteY1"/>
                    </a:cxn>
                  </a:cxnLst>
                  <a:rect l="l" t="t" r="r" b="b"/>
                  <a:pathLst>
                    <a:path w="22248" h="17105">
                      <a:moveTo>
                        <a:pt x="22248" y="0"/>
                      </a:moveTo>
                      <a:cubicBezTo>
                        <a:pt x="14772" y="5742"/>
                        <a:pt x="7356" y="11423"/>
                        <a:pt x="0" y="17105"/>
                      </a:cubicBezTo>
                    </a:path>
                  </a:pathLst>
                </a:custGeom>
                <a:noFill/>
                <a:ln w="6350" cap="rnd">
                  <a:solidFill>
                    <a:schemeClr val="bg1">
                      <a:alpha val="80000"/>
                    </a:schemeClr>
                  </a:solidFill>
                  <a:prstDash val="solid"/>
                  <a:miter/>
                </a:ln>
              </p:spPr>
              <p:txBody>
                <a:bodyPr rtlCol="0" anchor="ctr"/>
                <a:lstStyle/>
                <a:p>
                  <a:endParaRPr lang="en-GB"/>
                </a:p>
              </p:txBody>
            </p:sp>
            <p:sp>
              <p:nvSpPr>
                <p:cNvPr id="8386" name="Vrije vorm: vorm 8385">
                  <a:extLst>
                    <a:ext uri="{FF2B5EF4-FFF2-40B4-BE49-F238E27FC236}">
                      <a16:creationId xmlns:a16="http://schemas.microsoft.com/office/drawing/2014/main" id="{46072233-478A-4F74-9662-27996AFBC9BA}"/>
                    </a:ext>
                  </a:extLst>
                </p:cNvPr>
                <p:cNvSpPr/>
                <p:nvPr/>
              </p:nvSpPr>
              <p:spPr>
                <a:xfrm>
                  <a:off x="4366545" y="4447005"/>
                  <a:ext cx="21231" cy="16327"/>
                </a:xfrm>
                <a:custGeom>
                  <a:avLst/>
                  <a:gdLst>
                    <a:gd name="connsiteX0" fmla="*/ 21231 w 21231"/>
                    <a:gd name="connsiteY0" fmla="*/ 0 h 16327"/>
                    <a:gd name="connsiteX1" fmla="*/ 0 w 21231"/>
                    <a:gd name="connsiteY1" fmla="*/ 16328 h 16327"/>
                  </a:gdLst>
                  <a:ahLst/>
                  <a:cxnLst>
                    <a:cxn ang="0">
                      <a:pos x="connsiteX0" y="connsiteY0"/>
                    </a:cxn>
                    <a:cxn ang="0">
                      <a:pos x="connsiteX1" y="connsiteY1"/>
                    </a:cxn>
                  </a:cxnLst>
                  <a:rect l="l" t="t" r="r" b="b"/>
                  <a:pathLst>
                    <a:path w="21231" h="16327">
                      <a:moveTo>
                        <a:pt x="21231" y="0"/>
                      </a:moveTo>
                      <a:cubicBezTo>
                        <a:pt x="14114" y="5443"/>
                        <a:pt x="6997" y="10885"/>
                        <a:pt x="0" y="16328"/>
                      </a:cubicBezTo>
                    </a:path>
                  </a:pathLst>
                </a:custGeom>
                <a:noFill/>
                <a:ln w="6350" cap="rnd">
                  <a:solidFill>
                    <a:schemeClr val="bg1">
                      <a:alpha val="80000"/>
                    </a:schemeClr>
                  </a:solidFill>
                  <a:prstDash val="solid"/>
                  <a:miter/>
                </a:ln>
              </p:spPr>
              <p:txBody>
                <a:bodyPr rtlCol="0" anchor="ctr"/>
                <a:lstStyle/>
                <a:p>
                  <a:endParaRPr lang="en-GB"/>
                </a:p>
              </p:txBody>
            </p:sp>
            <p:sp>
              <p:nvSpPr>
                <p:cNvPr id="8387" name="Vrije vorm: vorm 8386">
                  <a:extLst>
                    <a:ext uri="{FF2B5EF4-FFF2-40B4-BE49-F238E27FC236}">
                      <a16:creationId xmlns:a16="http://schemas.microsoft.com/office/drawing/2014/main" id="{A13AF870-B952-47A4-B22D-7D1B99D721C9}"/>
                    </a:ext>
                  </a:extLst>
                </p:cNvPr>
                <p:cNvSpPr/>
                <p:nvPr/>
              </p:nvSpPr>
              <p:spPr>
                <a:xfrm>
                  <a:off x="4373063" y="4431515"/>
                  <a:ext cx="20214" cy="15489"/>
                </a:xfrm>
                <a:custGeom>
                  <a:avLst/>
                  <a:gdLst>
                    <a:gd name="connsiteX0" fmla="*/ 20215 w 20214"/>
                    <a:gd name="connsiteY0" fmla="*/ 0 h 15489"/>
                    <a:gd name="connsiteX1" fmla="*/ 0 w 20214"/>
                    <a:gd name="connsiteY1" fmla="*/ 15490 h 15489"/>
                  </a:gdLst>
                  <a:ahLst/>
                  <a:cxnLst>
                    <a:cxn ang="0">
                      <a:pos x="connsiteX0" y="connsiteY0"/>
                    </a:cxn>
                    <a:cxn ang="0">
                      <a:pos x="connsiteX1" y="connsiteY1"/>
                    </a:cxn>
                  </a:cxnLst>
                  <a:rect l="l" t="t" r="r" b="b"/>
                  <a:pathLst>
                    <a:path w="20214" h="15489">
                      <a:moveTo>
                        <a:pt x="20215" y="0"/>
                      </a:moveTo>
                      <a:cubicBezTo>
                        <a:pt x="13457" y="5203"/>
                        <a:pt x="6698" y="10347"/>
                        <a:pt x="0" y="15490"/>
                      </a:cubicBezTo>
                    </a:path>
                  </a:pathLst>
                </a:custGeom>
                <a:noFill/>
                <a:ln w="6350" cap="rnd">
                  <a:solidFill>
                    <a:schemeClr val="bg1">
                      <a:alpha val="80000"/>
                    </a:schemeClr>
                  </a:solidFill>
                  <a:prstDash val="solid"/>
                  <a:miter/>
                </a:ln>
              </p:spPr>
              <p:txBody>
                <a:bodyPr rtlCol="0" anchor="ctr"/>
                <a:lstStyle/>
                <a:p>
                  <a:endParaRPr lang="en-GB"/>
                </a:p>
              </p:txBody>
            </p:sp>
            <p:sp>
              <p:nvSpPr>
                <p:cNvPr id="8388" name="Vrije vorm: vorm 8387">
                  <a:extLst>
                    <a:ext uri="{FF2B5EF4-FFF2-40B4-BE49-F238E27FC236}">
                      <a16:creationId xmlns:a16="http://schemas.microsoft.com/office/drawing/2014/main" id="{BDC9AB03-F3D3-494A-B784-76D1FBFA4275}"/>
                    </a:ext>
                  </a:extLst>
                </p:cNvPr>
                <p:cNvSpPr/>
                <p:nvPr/>
              </p:nvSpPr>
              <p:spPr>
                <a:xfrm>
                  <a:off x="4379822" y="4415965"/>
                  <a:ext cx="19138" cy="14592"/>
                </a:xfrm>
                <a:custGeom>
                  <a:avLst/>
                  <a:gdLst>
                    <a:gd name="connsiteX0" fmla="*/ 19138 w 19138"/>
                    <a:gd name="connsiteY0" fmla="*/ 0 h 14592"/>
                    <a:gd name="connsiteX1" fmla="*/ 0 w 19138"/>
                    <a:gd name="connsiteY1" fmla="*/ 14593 h 14592"/>
                  </a:gdLst>
                  <a:ahLst/>
                  <a:cxnLst>
                    <a:cxn ang="0">
                      <a:pos x="connsiteX0" y="connsiteY0"/>
                    </a:cxn>
                    <a:cxn ang="0">
                      <a:pos x="connsiteX1" y="connsiteY1"/>
                    </a:cxn>
                  </a:cxnLst>
                  <a:rect l="l" t="t" r="r" b="b"/>
                  <a:pathLst>
                    <a:path w="19138" h="14592">
                      <a:moveTo>
                        <a:pt x="19138" y="0"/>
                      </a:moveTo>
                      <a:cubicBezTo>
                        <a:pt x="12739" y="4904"/>
                        <a:pt x="6340" y="9749"/>
                        <a:pt x="0" y="14593"/>
                      </a:cubicBezTo>
                    </a:path>
                  </a:pathLst>
                </a:custGeom>
                <a:noFill/>
                <a:ln w="6350" cap="rnd">
                  <a:solidFill>
                    <a:schemeClr val="bg1">
                      <a:alpha val="80000"/>
                    </a:schemeClr>
                  </a:solidFill>
                  <a:prstDash val="solid"/>
                  <a:miter/>
                </a:ln>
              </p:spPr>
              <p:txBody>
                <a:bodyPr rtlCol="0" anchor="ctr"/>
                <a:lstStyle/>
                <a:p>
                  <a:endParaRPr lang="en-GB"/>
                </a:p>
              </p:txBody>
            </p:sp>
            <p:sp>
              <p:nvSpPr>
                <p:cNvPr id="8389" name="Vrije vorm: vorm 8388">
                  <a:extLst>
                    <a:ext uri="{FF2B5EF4-FFF2-40B4-BE49-F238E27FC236}">
                      <a16:creationId xmlns:a16="http://schemas.microsoft.com/office/drawing/2014/main" id="{05821F3D-D416-4739-9845-35EB06DF6776}"/>
                    </a:ext>
                  </a:extLst>
                </p:cNvPr>
                <p:cNvSpPr/>
                <p:nvPr/>
              </p:nvSpPr>
              <p:spPr>
                <a:xfrm>
                  <a:off x="4386700" y="4400296"/>
                  <a:ext cx="18061" cy="13755"/>
                </a:xfrm>
                <a:custGeom>
                  <a:avLst/>
                  <a:gdLst>
                    <a:gd name="connsiteX0" fmla="*/ 18062 w 18061"/>
                    <a:gd name="connsiteY0" fmla="*/ 0 h 13755"/>
                    <a:gd name="connsiteX1" fmla="*/ 0 w 18061"/>
                    <a:gd name="connsiteY1" fmla="*/ 13756 h 13755"/>
                  </a:gdLst>
                  <a:ahLst/>
                  <a:cxnLst>
                    <a:cxn ang="0">
                      <a:pos x="connsiteX0" y="connsiteY0"/>
                    </a:cxn>
                    <a:cxn ang="0">
                      <a:pos x="connsiteX1" y="connsiteY1"/>
                    </a:cxn>
                  </a:cxnLst>
                  <a:rect l="l" t="t" r="r" b="b"/>
                  <a:pathLst>
                    <a:path w="18061" h="13755">
                      <a:moveTo>
                        <a:pt x="18062" y="0"/>
                      </a:moveTo>
                      <a:cubicBezTo>
                        <a:pt x="12021" y="4605"/>
                        <a:pt x="5981" y="9211"/>
                        <a:pt x="0" y="13756"/>
                      </a:cubicBezTo>
                    </a:path>
                  </a:pathLst>
                </a:custGeom>
                <a:noFill/>
                <a:ln w="6350" cap="rnd">
                  <a:solidFill>
                    <a:schemeClr val="bg1">
                      <a:alpha val="80000"/>
                    </a:schemeClr>
                  </a:solidFill>
                  <a:prstDash val="solid"/>
                  <a:miter/>
                </a:ln>
              </p:spPr>
              <p:txBody>
                <a:bodyPr rtlCol="0" anchor="ctr"/>
                <a:lstStyle/>
                <a:p>
                  <a:endParaRPr lang="en-GB"/>
                </a:p>
              </p:txBody>
            </p:sp>
            <p:sp>
              <p:nvSpPr>
                <p:cNvPr id="8390" name="Vrije vorm: vorm 8389">
                  <a:extLst>
                    <a:ext uri="{FF2B5EF4-FFF2-40B4-BE49-F238E27FC236}">
                      <a16:creationId xmlns:a16="http://schemas.microsoft.com/office/drawing/2014/main" id="{B889B3C1-A7A1-4C77-897C-F07C5BBE2821}"/>
                    </a:ext>
                  </a:extLst>
                </p:cNvPr>
                <p:cNvSpPr/>
                <p:nvPr/>
              </p:nvSpPr>
              <p:spPr>
                <a:xfrm>
                  <a:off x="4393757" y="4384567"/>
                  <a:ext cx="16925" cy="12858"/>
                </a:xfrm>
                <a:custGeom>
                  <a:avLst/>
                  <a:gdLst>
                    <a:gd name="connsiteX0" fmla="*/ 16926 w 16925"/>
                    <a:gd name="connsiteY0" fmla="*/ 0 h 12858"/>
                    <a:gd name="connsiteX1" fmla="*/ 0 w 16925"/>
                    <a:gd name="connsiteY1" fmla="*/ 12859 h 12858"/>
                  </a:gdLst>
                  <a:ahLst/>
                  <a:cxnLst>
                    <a:cxn ang="0">
                      <a:pos x="connsiteX0" y="connsiteY0"/>
                    </a:cxn>
                    <a:cxn ang="0">
                      <a:pos x="connsiteX1" y="connsiteY1"/>
                    </a:cxn>
                  </a:cxnLst>
                  <a:rect l="l" t="t" r="r" b="b"/>
                  <a:pathLst>
                    <a:path w="16925" h="12858">
                      <a:moveTo>
                        <a:pt x="16926" y="0"/>
                      </a:moveTo>
                      <a:cubicBezTo>
                        <a:pt x="11244" y="4306"/>
                        <a:pt x="5622" y="8612"/>
                        <a:pt x="0" y="12859"/>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25" name="Graphic 3">
                <a:extLst>
                  <a:ext uri="{FF2B5EF4-FFF2-40B4-BE49-F238E27FC236}">
                    <a16:creationId xmlns:a16="http://schemas.microsoft.com/office/drawing/2014/main" id="{7A6A3A45-6791-4D3F-8199-BDA33CF735B3}"/>
                  </a:ext>
                </a:extLst>
              </p:cNvPr>
              <p:cNvGrpSpPr/>
              <p:nvPr/>
            </p:nvGrpSpPr>
            <p:grpSpPr>
              <a:xfrm>
                <a:off x="4389989" y="4358431"/>
                <a:ext cx="55142" cy="120810"/>
                <a:chOff x="4389989" y="4358431"/>
                <a:chExt cx="55142" cy="120810"/>
              </a:xfrm>
              <a:noFill/>
            </p:grpSpPr>
            <p:sp>
              <p:nvSpPr>
                <p:cNvPr id="8375" name="Vrije vorm: vorm 8374">
                  <a:extLst>
                    <a:ext uri="{FF2B5EF4-FFF2-40B4-BE49-F238E27FC236}">
                      <a16:creationId xmlns:a16="http://schemas.microsoft.com/office/drawing/2014/main" id="{AA65E0B2-D884-4E57-A52B-FAD05EA14FC4}"/>
                    </a:ext>
                  </a:extLst>
                </p:cNvPr>
                <p:cNvSpPr/>
                <p:nvPr/>
              </p:nvSpPr>
              <p:spPr>
                <a:xfrm>
                  <a:off x="4389989" y="4460103"/>
                  <a:ext cx="24819" cy="19138"/>
                </a:xfrm>
                <a:custGeom>
                  <a:avLst/>
                  <a:gdLst>
                    <a:gd name="connsiteX0" fmla="*/ 24820 w 24819"/>
                    <a:gd name="connsiteY0" fmla="*/ 0 h 19138"/>
                    <a:gd name="connsiteX1" fmla="*/ 0 w 24819"/>
                    <a:gd name="connsiteY1" fmla="*/ 19138 h 19138"/>
                  </a:gdLst>
                  <a:ahLst/>
                  <a:cxnLst>
                    <a:cxn ang="0">
                      <a:pos x="connsiteX0" y="connsiteY0"/>
                    </a:cxn>
                    <a:cxn ang="0">
                      <a:pos x="connsiteX1" y="connsiteY1"/>
                    </a:cxn>
                  </a:cxnLst>
                  <a:rect l="l" t="t" r="r" b="b"/>
                  <a:pathLst>
                    <a:path w="24819" h="19138">
                      <a:moveTo>
                        <a:pt x="24820" y="0"/>
                      </a:moveTo>
                      <a:cubicBezTo>
                        <a:pt x="16507" y="6399"/>
                        <a:pt x="8194" y="12799"/>
                        <a:pt x="0" y="19138"/>
                      </a:cubicBezTo>
                    </a:path>
                  </a:pathLst>
                </a:custGeom>
                <a:noFill/>
                <a:ln w="6350" cap="rnd">
                  <a:solidFill>
                    <a:schemeClr val="bg1">
                      <a:alpha val="80000"/>
                    </a:schemeClr>
                  </a:solidFill>
                  <a:prstDash val="solid"/>
                  <a:miter/>
                </a:ln>
              </p:spPr>
              <p:txBody>
                <a:bodyPr rtlCol="0" anchor="ctr"/>
                <a:lstStyle/>
                <a:p>
                  <a:endParaRPr lang="en-GB"/>
                </a:p>
              </p:txBody>
            </p:sp>
            <p:sp>
              <p:nvSpPr>
                <p:cNvPr id="8376" name="Vrije vorm: vorm 8375">
                  <a:extLst>
                    <a:ext uri="{FF2B5EF4-FFF2-40B4-BE49-F238E27FC236}">
                      <a16:creationId xmlns:a16="http://schemas.microsoft.com/office/drawing/2014/main" id="{C814BB40-8B44-49AE-820A-1643A8E56FBC}"/>
                    </a:ext>
                  </a:extLst>
                </p:cNvPr>
                <p:cNvSpPr/>
                <p:nvPr/>
              </p:nvSpPr>
              <p:spPr>
                <a:xfrm>
                  <a:off x="4394953" y="4445750"/>
                  <a:ext cx="23803" cy="18300"/>
                </a:xfrm>
                <a:custGeom>
                  <a:avLst/>
                  <a:gdLst>
                    <a:gd name="connsiteX0" fmla="*/ 23803 w 23803"/>
                    <a:gd name="connsiteY0" fmla="*/ 0 h 18300"/>
                    <a:gd name="connsiteX1" fmla="*/ 0 w 23803"/>
                    <a:gd name="connsiteY1" fmla="*/ 18301 h 18300"/>
                  </a:gdLst>
                  <a:ahLst/>
                  <a:cxnLst>
                    <a:cxn ang="0">
                      <a:pos x="connsiteX0" y="connsiteY0"/>
                    </a:cxn>
                    <a:cxn ang="0">
                      <a:pos x="connsiteX1" y="connsiteY1"/>
                    </a:cxn>
                  </a:cxnLst>
                  <a:rect l="l" t="t" r="r" b="b"/>
                  <a:pathLst>
                    <a:path w="23803" h="18300">
                      <a:moveTo>
                        <a:pt x="23803" y="0"/>
                      </a:moveTo>
                      <a:cubicBezTo>
                        <a:pt x="15789" y="6160"/>
                        <a:pt x="7894" y="12260"/>
                        <a:pt x="0" y="18301"/>
                      </a:cubicBezTo>
                    </a:path>
                  </a:pathLst>
                </a:custGeom>
                <a:noFill/>
                <a:ln w="6350" cap="rnd">
                  <a:solidFill>
                    <a:schemeClr val="bg1">
                      <a:alpha val="80000"/>
                    </a:schemeClr>
                  </a:solidFill>
                  <a:prstDash val="solid"/>
                  <a:miter/>
                </a:ln>
              </p:spPr>
              <p:txBody>
                <a:bodyPr rtlCol="0" anchor="ctr"/>
                <a:lstStyle/>
                <a:p>
                  <a:endParaRPr lang="en-GB"/>
                </a:p>
              </p:txBody>
            </p:sp>
            <p:sp>
              <p:nvSpPr>
                <p:cNvPr id="8377" name="Vrije vorm: vorm 8376">
                  <a:extLst>
                    <a:ext uri="{FF2B5EF4-FFF2-40B4-BE49-F238E27FC236}">
                      <a16:creationId xmlns:a16="http://schemas.microsoft.com/office/drawing/2014/main" id="{CAE05356-79BE-4DF7-B811-42334AEA9873}"/>
                    </a:ext>
                  </a:extLst>
                </p:cNvPr>
                <p:cNvSpPr/>
                <p:nvPr/>
              </p:nvSpPr>
              <p:spPr>
                <a:xfrm>
                  <a:off x="4400096" y="4431336"/>
                  <a:ext cx="22786" cy="17463"/>
                </a:xfrm>
                <a:custGeom>
                  <a:avLst/>
                  <a:gdLst>
                    <a:gd name="connsiteX0" fmla="*/ 22787 w 22786"/>
                    <a:gd name="connsiteY0" fmla="*/ 0 h 17463"/>
                    <a:gd name="connsiteX1" fmla="*/ 0 w 22786"/>
                    <a:gd name="connsiteY1" fmla="*/ 17464 h 17463"/>
                  </a:gdLst>
                  <a:ahLst/>
                  <a:cxnLst>
                    <a:cxn ang="0">
                      <a:pos x="connsiteX0" y="connsiteY0"/>
                    </a:cxn>
                    <a:cxn ang="0">
                      <a:pos x="connsiteX1" y="connsiteY1"/>
                    </a:cxn>
                  </a:cxnLst>
                  <a:rect l="l" t="t" r="r" b="b"/>
                  <a:pathLst>
                    <a:path w="22786" h="17463">
                      <a:moveTo>
                        <a:pt x="22787" y="0"/>
                      </a:moveTo>
                      <a:cubicBezTo>
                        <a:pt x="15131" y="5861"/>
                        <a:pt x="7536" y="11662"/>
                        <a:pt x="0" y="17464"/>
                      </a:cubicBezTo>
                    </a:path>
                  </a:pathLst>
                </a:custGeom>
                <a:noFill/>
                <a:ln w="6350" cap="rnd">
                  <a:solidFill>
                    <a:schemeClr val="bg1">
                      <a:alpha val="80000"/>
                    </a:schemeClr>
                  </a:solidFill>
                  <a:prstDash val="solid"/>
                  <a:miter/>
                </a:ln>
              </p:spPr>
              <p:txBody>
                <a:bodyPr rtlCol="0" anchor="ctr"/>
                <a:lstStyle/>
                <a:p>
                  <a:endParaRPr lang="en-GB"/>
                </a:p>
              </p:txBody>
            </p:sp>
            <p:sp>
              <p:nvSpPr>
                <p:cNvPr id="8378" name="Vrije vorm: vorm 8377">
                  <a:extLst>
                    <a:ext uri="{FF2B5EF4-FFF2-40B4-BE49-F238E27FC236}">
                      <a16:creationId xmlns:a16="http://schemas.microsoft.com/office/drawing/2014/main" id="{E2EE32F4-B650-436A-9B95-25012C9E3A39}"/>
                    </a:ext>
                  </a:extLst>
                </p:cNvPr>
                <p:cNvSpPr/>
                <p:nvPr/>
              </p:nvSpPr>
              <p:spPr>
                <a:xfrm>
                  <a:off x="4405419" y="4416863"/>
                  <a:ext cx="21710" cy="16626"/>
                </a:xfrm>
                <a:custGeom>
                  <a:avLst/>
                  <a:gdLst>
                    <a:gd name="connsiteX0" fmla="*/ 21710 w 21710"/>
                    <a:gd name="connsiteY0" fmla="*/ 0 h 16626"/>
                    <a:gd name="connsiteX1" fmla="*/ 0 w 21710"/>
                    <a:gd name="connsiteY1" fmla="*/ 16627 h 16626"/>
                  </a:gdLst>
                  <a:ahLst/>
                  <a:cxnLst>
                    <a:cxn ang="0">
                      <a:pos x="connsiteX0" y="connsiteY0"/>
                    </a:cxn>
                    <a:cxn ang="0">
                      <a:pos x="connsiteX1" y="connsiteY1"/>
                    </a:cxn>
                  </a:cxnLst>
                  <a:rect l="l" t="t" r="r" b="b"/>
                  <a:pathLst>
                    <a:path w="21710" h="16626">
                      <a:moveTo>
                        <a:pt x="21710" y="0"/>
                      </a:moveTo>
                      <a:cubicBezTo>
                        <a:pt x="14413" y="5562"/>
                        <a:pt x="7177" y="11124"/>
                        <a:pt x="0" y="16627"/>
                      </a:cubicBezTo>
                    </a:path>
                  </a:pathLst>
                </a:custGeom>
                <a:noFill/>
                <a:ln w="6350" cap="rnd">
                  <a:solidFill>
                    <a:schemeClr val="bg1">
                      <a:alpha val="80000"/>
                    </a:schemeClr>
                  </a:solidFill>
                  <a:prstDash val="solid"/>
                  <a:miter/>
                </a:ln>
              </p:spPr>
              <p:txBody>
                <a:bodyPr rtlCol="0" anchor="ctr"/>
                <a:lstStyle/>
                <a:p>
                  <a:endParaRPr lang="en-GB"/>
                </a:p>
              </p:txBody>
            </p:sp>
            <p:sp>
              <p:nvSpPr>
                <p:cNvPr id="8379" name="Vrije vorm: vorm 8378">
                  <a:extLst>
                    <a:ext uri="{FF2B5EF4-FFF2-40B4-BE49-F238E27FC236}">
                      <a16:creationId xmlns:a16="http://schemas.microsoft.com/office/drawing/2014/main" id="{81E7AEEA-D334-46CB-B2F5-F50E58A80339}"/>
                    </a:ext>
                  </a:extLst>
                </p:cNvPr>
                <p:cNvSpPr/>
                <p:nvPr/>
              </p:nvSpPr>
              <p:spPr>
                <a:xfrm>
                  <a:off x="4410802" y="4402329"/>
                  <a:ext cx="20633" cy="15789"/>
                </a:xfrm>
                <a:custGeom>
                  <a:avLst/>
                  <a:gdLst>
                    <a:gd name="connsiteX0" fmla="*/ 20634 w 20633"/>
                    <a:gd name="connsiteY0" fmla="*/ 0 h 15789"/>
                    <a:gd name="connsiteX1" fmla="*/ 0 w 20633"/>
                    <a:gd name="connsiteY1" fmla="*/ 15789 h 15789"/>
                  </a:gdLst>
                  <a:ahLst/>
                  <a:cxnLst>
                    <a:cxn ang="0">
                      <a:pos x="connsiteX0" y="connsiteY0"/>
                    </a:cxn>
                    <a:cxn ang="0">
                      <a:pos x="connsiteX1" y="connsiteY1"/>
                    </a:cxn>
                  </a:cxnLst>
                  <a:rect l="l" t="t" r="r" b="b"/>
                  <a:pathLst>
                    <a:path w="20633" h="15789">
                      <a:moveTo>
                        <a:pt x="20634" y="0"/>
                      </a:moveTo>
                      <a:cubicBezTo>
                        <a:pt x="13696" y="5263"/>
                        <a:pt x="6878" y="10526"/>
                        <a:pt x="0" y="15789"/>
                      </a:cubicBezTo>
                    </a:path>
                  </a:pathLst>
                </a:custGeom>
                <a:noFill/>
                <a:ln w="6350" cap="rnd">
                  <a:solidFill>
                    <a:schemeClr val="bg1">
                      <a:alpha val="80000"/>
                    </a:schemeClr>
                  </a:solidFill>
                  <a:prstDash val="solid"/>
                  <a:miter/>
                </a:ln>
              </p:spPr>
              <p:txBody>
                <a:bodyPr rtlCol="0" anchor="ctr"/>
                <a:lstStyle/>
                <a:p>
                  <a:endParaRPr lang="en-GB"/>
                </a:p>
              </p:txBody>
            </p:sp>
            <p:sp>
              <p:nvSpPr>
                <p:cNvPr id="8380" name="Vrije vorm: vorm 8379">
                  <a:extLst>
                    <a:ext uri="{FF2B5EF4-FFF2-40B4-BE49-F238E27FC236}">
                      <a16:creationId xmlns:a16="http://schemas.microsoft.com/office/drawing/2014/main" id="{A494D58D-E3EC-4FDB-9449-762AE98EBF7B}"/>
                    </a:ext>
                  </a:extLst>
                </p:cNvPr>
                <p:cNvSpPr/>
                <p:nvPr/>
              </p:nvSpPr>
              <p:spPr>
                <a:xfrm>
                  <a:off x="4416424" y="4387737"/>
                  <a:ext cx="19497" cy="14891"/>
                </a:xfrm>
                <a:custGeom>
                  <a:avLst/>
                  <a:gdLst>
                    <a:gd name="connsiteX0" fmla="*/ 19497 w 19497"/>
                    <a:gd name="connsiteY0" fmla="*/ 0 h 14891"/>
                    <a:gd name="connsiteX1" fmla="*/ 0 w 19497"/>
                    <a:gd name="connsiteY1" fmla="*/ 14892 h 14891"/>
                  </a:gdLst>
                  <a:ahLst/>
                  <a:cxnLst>
                    <a:cxn ang="0">
                      <a:pos x="connsiteX0" y="connsiteY0"/>
                    </a:cxn>
                    <a:cxn ang="0">
                      <a:pos x="connsiteX1" y="connsiteY1"/>
                    </a:cxn>
                  </a:cxnLst>
                  <a:rect l="l" t="t" r="r" b="b"/>
                  <a:pathLst>
                    <a:path w="19497" h="14891">
                      <a:moveTo>
                        <a:pt x="19497" y="0"/>
                      </a:moveTo>
                      <a:cubicBezTo>
                        <a:pt x="12978" y="4964"/>
                        <a:pt x="6459" y="9928"/>
                        <a:pt x="0" y="14892"/>
                      </a:cubicBezTo>
                    </a:path>
                  </a:pathLst>
                </a:custGeom>
                <a:noFill/>
                <a:ln w="6350" cap="rnd">
                  <a:solidFill>
                    <a:schemeClr val="bg1">
                      <a:alpha val="80000"/>
                    </a:schemeClr>
                  </a:solidFill>
                  <a:prstDash val="solid"/>
                  <a:miter/>
                </a:ln>
              </p:spPr>
              <p:txBody>
                <a:bodyPr rtlCol="0" anchor="ctr"/>
                <a:lstStyle/>
                <a:p>
                  <a:endParaRPr lang="en-GB"/>
                </a:p>
              </p:txBody>
            </p:sp>
            <p:sp>
              <p:nvSpPr>
                <p:cNvPr id="8381" name="Vrije vorm: vorm 8380">
                  <a:extLst>
                    <a:ext uri="{FF2B5EF4-FFF2-40B4-BE49-F238E27FC236}">
                      <a16:creationId xmlns:a16="http://schemas.microsoft.com/office/drawing/2014/main" id="{D8A72F55-EEAF-4B3D-8540-B77025BB4AAB}"/>
                    </a:ext>
                  </a:extLst>
                </p:cNvPr>
                <p:cNvSpPr/>
                <p:nvPr/>
              </p:nvSpPr>
              <p:spPr>
                <a:xfrm>
                  <a:off x="4422105" y="4373084"/>
                  <a:ext cx="18360" cy="13995"/>
                </a:xfrm>
                <a:custGeom>
                  <a:avLst/>
                  <a:gdLst>
                    <a:gd name="connsiteX0" fmla="*/ 18361 w 18360"/>
                    <a:gd name="connsiteY0" fmla="*/ 0 h 13995"/>
                    <a:gd name="connsiteX1" fmla="*/ 0 w 18360"/>
                    <a:gd name="connsiteY1" fmla="*/ 13995 h 13995"/>
                  </a:gdLst>
                  <a:ahLst/>
                  <a:cxnLst>
                    <a:cxn ang="0">
                      <a:pos x="connsiteX0" y="connsiteY0"/>
                    </a:cxn>
                    <a:cxn ang="0">
                      <a:pos x="connsiteX1" y="connsiteY1"/>
                    </a:cxn>
                  </a:cxnLst>
                  <a:rect l="l" t="t" r="r" b="b"/>
                  <a:pathLst>
                    <a:path w="18360" h="13995">
                      <a:moveTo>
                        <a:pt x="18361" y="0"/>
                      </a:moveTo>
                      <a:cubicBezTo>
                        <a:pt x="12201" y="4665"/>
                        <a:pt x="6100" y="9330"/>
                        <a:pt x="0" y="13995"/>
                      </a:cubicBezTo>
                    </a:path>
                  </a:pathLst>
                </a:custGeom>
                <a:noFill/>
                <a:ln w="6350" cap="rnd">
                  <a:solidFill>
                    <a:schemeClr val="bg1">
                      <a:alpha val="80000"/>
                    </a:schemeClr>
                  </a:solidFill>
                  <a:prstDash val="solid"/>
                  <a:miter/>
                </a:ln>
              </p:spPr>
              <p:txBody>
                <a:bodyPr rtlCol="0" anchor="ctr"/>
                <a:lstStyle/>
                <a:p>
                  <a:endParaRPr lang="en-GB"/>
                </a:p>
              </p:txBody>
            </p:sp>
            <p:sp>
              <p:nvSpPr>
                <p:cNvPr id="8382" name="Vrije vorm: vorm 8381">
                  <a:extLst>
                    <a:ext uri="{FF2B5EF4-FFF2-40B4-BE49-F238E27FC236}">
                      <a16:creationId xmlns:a16="http://schemas.microsoft.com/office/drawing/2014/main" id="{B7A34497-E548-4E0A-B0CA-3A2BC33CA3DC}"/>
                    </a:ext>
                  </a:extLst>
                </p:cNvPr>
                <p:cNvSpPr/>
                <p:nvPr/>
              </p:nvSpPr>
              <p:spPr>
                <a:xfrm>
                  <a:off x="4427907" y="4358431"/>
                  <a:ext cx="17224" cy="13038"/>
                </a:xfrm>
                <a:custGeom>
                  <a:avLst/>
                  <a:gdLst>
                    <a:gd name="connsiteX0" fmla="*/ 17225 w 17224"/>
                    <a:gd name="connsiteY0" fmla="*/ 0 h 13038"/>
                    <a:gd name="connsiteX1" fmla="*/ 0 w 17224"/>
                    <a:gd name="connsiteY1" fmla="*/ 13038 h 13038"/>
                  </a:gdLst>
                  <a:ahLst/>
                  <a:cxnLst>
                    <a:cxn ang="0">
                      <a:pos x="connsiteX0" y="connsiteY0"/>
                    </a:cxn>
                    <a:cxn ang="0">
                      <a:pos x="connsiteX1" y="connsiteY1"/>
                    </a:cxn>
                  </a:cxnLst>
                  <a:rect l="l" t="t" r="r" b="b"/>
                  <a:pathLst>
                    <a:path w="17224" h="13038">
                      <a:moveTo>
                        <a:pt x="17225" y="0"/>
                      </a:moveTo>
                      <a:cubicBezTo>
                        <a:pt x="11483" y="4366"/>
                        <a:pt x="5742" y="8732"/>
                        <a:pt x="0" y="13038"/>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26" name="Graphic 3">
                <a:extLst>
                  <a:ext uri="{FF2B5EF4-FFF2-40B4-BE49-F238E27FC236}">
                    <a16:creationId xmlns:a16="http://schemas.microsoft.com/office/drawing/2014/main" id="{B4ECE04F-6A03-494D-B91C-1D62F91D5D39}"/>
                  </a:ext>
                </a:extLst>
              </p:cNvPr>
              <p:cNvGrpSpPr/>
              <p:nvPr/>
            </p:nvGrpSpPr>
            <p:grpSpPr>
              <a:xfrm>
                <a:off x="4466363" y="4843288"/>
                <a:ext cx="85165" cy="35944"/>
                <a:chOff x="4466363" y="4843288"/>
                <a:chExt cx="85165" cy="35944"/>
              </a:xfrm>
              <a:noFill/>
            </p:grpSpPr>
            <p:sp>
              <p:nvSpPr>
                <p:cNvPr id="8370" name="Vrije vorm: vorm 8369">
                  <a:extLst>
                    <a:ext uri="{FF2B5EF4-FFF2-40B4-BE49-F238E27FC236}">
                      <a16:creationId xmlns:a16="http://schemas.microsoft.com/office/drawing/2014/main" id="{CA098F07-4C12-44DB-A3C6-5E43CE8B4390}"/>
                    </a:ext>
                  </a:extLst>
                </p:cNvPr>
                <p:cNvSpPr/>
                <p:nvPr/>
              </p:nvSpPr>
              <p:spPr>
                <a:xfrm>
                  <a:off x="4523479" y="4855908"/>
                  <a:ext cx="28049" cy="23324"/>
                </a:xfrm>
                <a:custGeom>
                  <a:avLst/>
                  <a:gdLst>
                    <a:gd name="connsiteX0" fmla="*/ 28050 w 28049"/>
                    <a:gd name="connsiteY0" fmla="*/ 0 h 23324"/>
                    <a:gd name="connsiteX1" fmla="*/ 0 w 28049"/>
                    <a:gd name="connsiteY1" fmla="*/ 23325 h 23324"/>
                  </a:gdLst>
                  <a:ahLst/>
                  <a:cxnLst>
                    <a:cxn ang="0">
                      <a:pos x="connsiteX0" y="connsiteY0"/>
                    </a:cxn>
                    <a:cxn ang="0">
                      <a:pos x="connsiteX1" y="connsiteY1"/>
                    </a:cxn>
                  </a:cxnLst>
                  <a:rect l="l" t="t" r="r" b="b"/>
                  <a:pathLst>
                    <a:path w="28049" h="23324">
                      <a:moveTo>
                        <a:pt x="28050" y="0"/>
                      </a:moveTo>
                      <a:cubicBezTo>
                        <a:pt x="18540" y="7894"/>
                        <a:pt x="9210" y="15729"/>
                        <a:pt x="0" y="23325"/>
                      </a:cubicBezTo>
                    </a:path>
                  </a:pathLst>
                </a:custGeom>
                <a:noFill/>
                <a:ln w="6350" cap="rnd">
                  <a:solidFill>
                    <a:schemeClr val="bg1">
                      <a:alpha val="80000"/>
                    </a:schemeClr>
                  </a:solidFill>
                  <a:prstDash val="solid"/>
                  <a:miter/>
                </a:ln>
              </p:spPr>
              <p:txBody>
                <a:bodyPr rtlCol="0" anchor="ctr"/>
                <a:lstStyle/>
                <a:p>
                  <a:endParaRPr lang="en-GB"/>
                </a:p>
              </p:txBody>
            </p:sp>
            <p:sp>
              <p:nvSpPr>
                <p:cNvPr id="8371" name="Vrije vorm: vorm 8370">
                  <a:extLst>
                    <a:ext uri="{FF2B5EF4-FFF2-40B4-BE49-F238E27FC236}">
                      <a16:creationId xmlns:a16="http://schemas.microsoft.com/office/drawing/2014/main" id="{A31E4C26-CBB5-441B-BBD8-FF090DDB8D68}"/>
                    </a:ext>
                  </a:extLst>
                </p:cNvPr>
                <p:cNvSpPr/>
                <p:nvPr/>
              </p:nvSpPr>
              <p:spPr>
                <a:xfrm>
                  <a:off x="4509245" y="4852797"/>
                  <a:ext cx="27989" cy="23265"/>
                </a:xfrm>
                <a:custGeom>
                  <a:avLst/>
                  <a:gdLst>
                    <a:gd name="connsiteX0" fmla="*/ 27990 w 27989"/>
                    <a:gd name="connsiteY0" fmla="*/ 0 h 23265"/>
                    <a:gd name="connsiteX1" fmla="*/ 0 w 27989"/>
                    <a:gd name="connsiteY1" fmla="*/ 23265 h 23265"/>
                  </a:gdLst>
                  <a:ahLst/>
                  <a:cxnLst>
                    <a:cxn ang="0">
                      <a:pos x="connsiteX0" y="connsiteY0"/>
                    </a:cxn>
                    <a:cxn ang="0">
                      <a:pos x="connsiteX1" y="connsiteY1"/>
                    </a:cxn>
                  </a:cxnLst>
                  <a:rect l="l" t="t" r="r" b="b"/>
                  <a:pathLst>
                    <a:path w="27989" h="23265">
                      <a:moveTo>
                        <a:pt x="27990" y="0"/>
                      </a:moveTo>
                      <a:cubicBezTo>
                        <a:pt x="18480" y="7895"/>
                        <a:pt x="9150" y="15669"/>
                        <a:pt x="0" y="23265"/>
                      </a:cubicBezTo>
                    </a:path>
                  </a:pathLst>
                </a:custGeom>
                <a:noFill/>
                <a:ln w="6350" cap="rnd">
                  <a:solidFill>
                    <a:schemeClr val="bg1">
                      <a:alpha val="80000"/>
                    </a:schemeClr>
                  </a:solidFill>
                  <a:prstDash val="solid"/>
                  <a:miter/>
                </a:ln>
              </p:spPr>
              <p:txBody>
                <a:bodyPr rtlCol="0" anchor="ctr"/>
                <a:lstStyle/>
                <a:p>
                  <a:endParaRPr lang="en-GB"/>
                </a:p>
              </p:txBody>
            </p:sp>
            <p:sp>
              <p:nvSpPr>
                <p:cNvPr id="8372" name="Vrije vorm: vorm 8371">
                  <a:extLst>
                    <a:ext uri="{FF2B5EF4-FFF2-40B4-BE49-F238E27FC236}">
                      <a16:creationId xmlns:a16="http://schemas.microsoft.com/office/drawing/2014/main" id="{ADEC1131-C66F-4DB3-B570-CDD56E3190FF}"/>
                    </a:ext>
                  </a:extLst>
                </p:cNvPr>
                <p:cNvSpPr/>
                <p:nvPr/>
              </p:nvSpPr>
              <p:spPr>
                <a:xfrm>
                  <a:off x="4494891" y="4849687"/>
                  <a:ext cx="27989" cy="23145"/>
                </a:xfrm>
                <a:custGeom>
                  <a:avLst/>
                  <a:gdLst>
                    <a:gd name="connsiteX0" fmla="*/ 27990 w 27989"/>
                    <a:gd name="connsiteY0" fmla="*/ 0 h 23145"/>
                    <a:gd name="connsiteX1" fmla="*/ 0 w 27989"/>
                    <a:gd name="connsiteY1" fmla="*/ 23145 h 23145"/>
                  </a:gdLst>
                  <a:ahLst/>
                  <a:cxnLst>
                    <a:cxn ang="0">
                      <a:pos x="connsiteX0" y="connsiteY0"/>
                    </a:cxn>
                    <a:cxn ang="0">
                      <a:pos x="connsiteX1" y="connsiteY1"/>
                    </a:cxn>
                  </a:cxnLst>
                  <a:rect l="l" t="t" r="r" b="b"/>
                  <a:pathLst>
                    <a:path w="27989" h="23145">
                      <a:moveTo>
                        <a:pt x="27990" y="0"/>
                      </a:moveTo>
                      <a:cubicBezTo>
                        <a:pt x="18481" y="7895"/>
                        <a:pt x="9151" y="15610"/>
                        <a:pt x="0" y="23145"/>
                      </a:cubicBezTo>
                    </a:path>
                  </a:pathLst>
                </a:custGeom>
                <a:noFill/>
                <a:ln w="6350" cap="rnd">
                  <a:solidFill>
                    <a:schemeClr val="bg1">
                      <a:alpha val="80000"/>
                    </a:schemeClr>
                  </a:solidFill>
                  <a:prstDash val="solid"/>
                  <a:miter/>
                </a:ln>
              </p:spPr>
              <p:txBody>
                <a:bodyPr rtlCol="0" anchor="ctr"/>
                <a:lstStyle/>
                <a:p>
                  <a:endParaRPr lang="en-GB"/>
                </a:p>
              </p:txBody>
            </p:sp>
            <p:sp>
              <p:nvSpPr>
                <p:cNvPr id="8373" name="Vrije vorm: vorm 8372">
                  <a:extLst>
                    <a:ext uri="{FF2B5EF4-FFF2-40B4-BE49-F238E27FC236}">
                      <a16:creationId xmlns:a16="http://schemas.microsoft.com/office/drawing/2014/main" id="{67E6BD51-17F8-43D4-B4BD-948D59F13011}"/>
                    </a:ext>
                  </a:extLst>
                </p:cNvPr>
                <p:cNvSpPr/>
                <p:nvPr/>
              </p:nvSpPr>
              <p:spPr>
                <a:xfrm>
                  <a:off x="4480657" y="4846518"/>
                  <a:ext cx="27930" cy="23025"/>
                </a:xfrm>
                <a:custGeom>
                  <a:avLst/>
                  <a:gdLst>
                    <a:gd name="connsiteX0" fmla="*/ 27930 w 27930"/>
                    <a:gd name="connsiteY0" fmla="*/ 0 h 23025"/>
                    <a:gd name="connsiteX1" fmla="*/ 0 w 27930"/>
                    <a:gd name="connsiteY1" fmla="*/ 23026 h 23025"/>
                  </a:gdLst>
                  <a:ahLst/>
                  <a:cxnLst>
                    <a:cxn ang="0">
                      <a:pos x="connsiteX0" y="connsiteY0"/>
                    </a:cxn>
                    <a:cxn ang="0">
                      <a:pos x="connsiteX1" y="connsiteY1"/>
                    </a:cxn>
                  </a:cxnLst>
                  <a:rect l="l" t="t" r="r" b="b"/>
                  <a:pathLst>
                    <a:path w="27930" h="23025">
                      <a:moveTo>
                        <a:pt x="27930" y="0"/>
                      </a:moveTo>
                      <a:cubicBezTo>
                        <a:pt x="18481" y="7835"/>
                        <a:pt x="9151" y="15550"/>
                        <a:pt x="0" y="23026"/>
                      </a:cubicBezTo>
                    </a:path>
                  </a:pathLst>
                </a:custGeom>
                <a:noFill/>
                <a:ln w="6350" cap="rnd">
                  <a:solidFill>
                    <a:schemeClr val="bg1">
                      <a:alpha val="80000"/>
                    </a:schemeClr>
                  </a:solidFill>
                  <a:prstDash val="solid"/>
                  <a:miter/>
                </a:ln>
              </p:spPr>
              <p:txBody>
                <a:bodyPr rtlCol="0" anchor="ctr"/>
                <a:lstStyle/>
                <a:p>
                  <a:endParaRPr lang="en-GB"/>
                </a:p>
              </p:txBody>
            </p:sp>
            <p:sp>
              <p:nvSpPr>
                <p:cNvPr id="8374" name="Vrije vorm: vorm 8373">
                  <a:extLst>
                    <a:ext uri="{FF2B5EF4-FFF2-40B4-BE49-F238E27FC236}">
                      <a16:creationId xmlns:a16="http://schemas.microsoft.com/office/drawing/2014/main" id="{12378171-A791-4ED1-8308-3B69C829EE02}"/>
                    </a:ext>
                  </a:extLst>
                </p:cNvPr>
                <p:cNvSpPr/>
                <p:nvPr/>
              </p:nvSpPr>
              <p:spPr>
                <a:xfrm>
                  <a:off x="4466363" y="4843288"/>
                  <a:ext cx="27870" cy="22966"/>
                </a:xfrm>
                <a:custGeom>
                  <a:avLst/>
                  <a:gdLst>
                    <a:gd name="connsiteX0" fmla="*/ 27870 w 27870"/>
                    <a:gd name="connsiteY0" fmla="*/ 0 h 22966"/>
                    <a:gd name="connsiteX1" fmla="*/ 0 w 27870"/>
                    <a:gd name="connsiteY1" fmla="*/ 22966 h 22966"/>
                  </a:gdLst>
                  <a:ahLst/>
                  <a:cxnLst>
                    <a:cxn ang="0">
                      <a:pos x="connsiteX0" y="connsiteY0"/>
                    </a:cxn>
                    <a:cxn ang="0">
                      <a:pos x="connsiteX1" y="connsiteY1"/>
                    </a:cxn>
                  </a:cxnLst>
                  <a:rect l="l" t="t" r="r" b="b"/>
                  <a:pathLst>
                    <a:path w="27870" h="22966">
                      <a:moveTo>
                        <a:pt x="27870" y="0"/>
                      </a:moveTo>
                      <a:cubicBezTo>
                        <a:pt x="18420" y="7835"/>
                        <a:pt x="9090" y="15490"/>
                        <a:pt x="0" y="22966"/>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27" name="Graphic 3">
                <a:extLst>
                  <a:ext uri="{FF2B5EF4-FFF2-40B4-BE49-F238E27FC236}">
                    <a16:creationId xmlns:a16="http://schemas.microsoft.com/office/drawing/2014/main" id="{87221FCA-C51A-45F6-ADD8-44D9495D6E00}"/>
                  </a:ext>
                </a:extLst>
              </p:cNvPr>
              <p:cNvGrpSpPr/>
              <p:nvPr/>
            </p:nvGrpSpPr>
            <p:grpSpPr>
              <a:xfrm>
                <a:off x="4507510" y="4804653"/>
                <a:ext cx="82354" cy="40668"/>
                <a:chOff x="4507510" y="4804653"/>
                <a:chExt cx="82354" cy="40668"/>
              </a:xfrm>
              <a:noFill/>
            </p:grpSpPr>
            <p:sp>
              <p:nvSpPr>
                <p:cNvPr id="8365" name="Vrije vorm: vorm 8364">
                  <a:extLst>
                    <a:ext uri="{FF2B5EF4-FFF2-40B4-BE49-F238E27FC236}">
                      <a16:creationId xmlns:a16="http://schemas.microsoft.com/office/drawing/2014/main" id="{0360B81A-E010-4DF5-BA79-464A15C99130}"/>
                    </a:ext>
                  </a:extLst>
                </p:cNvPr>
                <p:cNvSpPr/>
                <p:nvPr/>
              </p:nvSpPr>
              <p:spPr>
                <a:xfrm>
                  <a:off x="4562353" y="4822296"/>
                  <a:ext cx="27511" cy="23025"/>
                </a:xfrm>
                <a:custGeom>
                  <a:avLst/>
                  <a:gdLst>
                    <a:gd name="connsiteX0" fmla="*/ 27511 w 27511"/>
                    <a:gd name="connsiteY0" fmla="*/ 0 h 23025"/>
                    <a:gd name="connsiteX1" fmla="*/ 0 w 27511"/>
                    <a:gd name="connsiteY1" fmla="*/ 23026 h 23025"/>
                  </a:gdLst>
                  <a:ahLst/>
                  <a:cxnLst>
                    <a:cxn ang="0">
                      <a:pos x="connsiteX0" y="connsiteY0"/>
                    </a:cxn>
                    <a:cxn ang="0">
                      <a:pos x="connsiteX1" y="connsiteY1"/>
                    </a:cxn>
                  </a:cxnLst>
                  <a:rect l="l" t="t" r="r" b="b"/>
                  <a:pathLst>
                    <a:path w="27511" h="23025">
                      <a:moveTo>
                        <a:pt x="27511" y="0"/>
                      </a:moveTo>
                      <a:cubicBezTo>
                        <a:pt x="18241" y="7775"/>
                        <a:pt x="9031" y="15490"/>
                        <a:pt x="0" y="23026"/>
                      </a:cubicBezTo>
                    </a:path>
                  </a:pathLst>
                </a:custGeom>
                <a:noFill/>
                <a:ln w="6350" cap="rnd">
                  <a:solidFill>
                    <a:schemeClr val="bg1">
                      <a:alpha val="80000"/>
                    </a:schemeClr>
                  </a:solidFill>
                  <a:prstDash val="solid"/>
                  <a:miter/>
                </a:ln>
              </p:spPr>
              <p:txBody>
                <a:bodyPr rtlCol="0" anchor="ctr"/>
                <a:lstStyle/>
                <a:p>
                  <a:endParaRPr lang="en-GB"/>
                </a:p>
              </p:txBody>
            </p:sp>
            <p:sp>
              <p:nvSpPr>
                <p:cNvPr id="8366" name="Vrije vorm: vorm 8365">
                  <a:extLst>
                    <a:ext uri="{FF2B5EF4-FFF2-40B4-BE49-F238E27FC236}">
                      <a16:creationId xmlns:a16="http://schemas.microsoft.com/office/drawing/2014/main" id="{88A90384-3724-4F75-9408-596AEA4BF645}"/>
                    </a:ext>
                  </a:extLst>
                </p:cNvPr>
                <p:cNvSpPr/>
                <p:nvPr/>
              </p:nvSpPr>
              <p:spPr>
                <a:xfrm>
                  <a:off x="4548657" y="4817870"/>
                  <a:ext cx="28528" cy="23803"/>
                </a:xfrm>
                <a:custGeom>
                  <a:avLst/>
                  <a:gdLst>
                    <a:gd name="connsiteX0" fmla="*/ 28528 w 28528"/>
                    <a:gd name="connsiteY0" fmla="*/ 0 h 23803"/>
                    <a:gd name="connsiteX1" fmla="*/ 0 w 28528"/>
                    <a:gd name="connsiteY1" fmla="*/ 23804 h 23803"/>
                  </a:gdLst>
                  <a:ahLst/>
                  <a:cxnLst>
                    <a:cxn ang="0">
                      <a:pos x="connsiteX0" y="connsiteY0"/>
                    </a:cxn>
                    <a:cxn ang="0">
                      <a:pos x="connsiteX1" y="connsiteY1"/>
                    </a:cxn>
                  </a:cxnLst>
                  <a:rect l="l" t="t" r="r" b="b"/>
                  <a:pathLst>
                    <a:path w="28528" h="23803">
                      <a:moveTo>
                        <a:pt x="28528" y="0"/>
                      </a:moveTo>
                      <a:cubicBezTo>
                        <a:pt x="18899" y="8074"/>
                        <a:pt x="9390" y="16028"/>
                        <a:pt x="0" y="23804"/>
                      </a:cubicBezTo>
                    </a:path>
                  </a:pathLst>
                </a:custGeom>
                <a:noFill/>
                <a:ln w="6350" cap="rnd">
                  <a:solidFill>
                    <a:schemeClr val="bg1">
                      <a:alpha val="80000"/>
                    </a:schemeClr>
                  </a:solidFill>
                  <a:prstDash val="solid"/>
                  <a:miter/>
                </a:ln>
              </p:spPr>
              <p:txBody>
                <a:bodyPr rtlCol="0" anchor="ctr"/>
                <a:lstStyle/>
                <a:p>
                  <a:endParaRPr lang="en-GB"/>
                </a:p>
              </p:txBody>
            </p:sp>
            <p:sp>
              <p:nvSpPr>
                <p:cNvPr id="8367" name="Vrije vorm: vorm 8366">
                  <a:extLst>
                    <a:ext uri="{FF2B5EF4-FFF2-40B4-BE49-F238E27FC236}">
                      <a16:creationId xmlns:a16="http://schemas.microsoft.com/office/drawing/2014/main" id="{DF8A1363-0BE0-42F1-919D-27E006218472}"/>
                    </a:ext>
                  </a:extLst>
                </p:cNvPr>
                <p:cNvSpPr/>
                <p:nvPr/>
              </p:nvSpPr>
              <p:spPr>
                <a:xfrm>
                  <a:off x="4534962" y="4813504"/>
                  <a:ext cx="29544" cy="24640"/>
                </a:xfrm>
                <a:custGeom>
                  <a:avLst/>
                  <a:gdLst>
                    <a:gd name="connsiteX0" fmla="*/ 29545 w 29544"/>
                    <a:gd name="connsiteY0" fmla="*/ 0 h 24640"/>
                    <a:gd name="connsiteX1" fmla="*/ 0 w 29544"/>
                    <a:gd name="connsiteY1" fmla="*/ 24641 h 24640"/>
                  </a:gdLst>
                  <a:ahLst/>
                  <a:cxnLst>
                    <a:cxn ang="0">
                      <a:pos x="connsiteX0" y="connsiteY0"/>
                    </a:cxn>
                    <a:cxn ang="0">
                      <a:pos x="connsiteX1" y="connsiteY1"/>
                    </a:cxn>
                  </a:cxnLst>
                  <a:rect l="l" t="t" r="r" b="b"/>
                  <a:pathLst>
                    <a:path w="29544" h="24640">
                      <a:moveTo>
                        <a:pt x="29545" y="0"/>
                      </a:moveTo>
                      <a:cubicBezTo>
                        <a:pt x="19557" y="8313"/>
                        <a:pt x="9689" y="16567"/>
                        <a:pt x="0" y="24641"/>
                      </a:cubicBezTo>
                    </a:path>
                  </a:pathLst>
                </a:custGeom>
                <a:noFill/>
                <a:ln w="6350" cap="rnd">
                  <a:solidFill>
                    <a:schemeClr val="bg1">
                      <a:alpha val="80000"/>
                    </a:schemeClr>
                  </a:solidFill>
                  <a:prstDash val="solid"/>
                  <a:miter/>
                </a:ln>
              </p:spPr>
              <p:txBody>
                <a:bodyPr rtlCol="0" anchor="ctr"/>
                <a:lstStyle/>
                <a:p>
                  <a:endParaRPr lang="en-GB"/>
                </a:p>
              </p:txBody>
            </p:sp>
            <p:sp>
              <p:nvSpPr>
                <p:cNvPr id="8368" name="Vrije vorm: vorm 8367">
                  <a:extLst>
                    <a:ext uri="{FF2B5EF4-FFF2-40B4-BE49-F238E27FC236}">
                      <a16:creationId xmlns:a16="http://schemas.microsoft.com/office/drawing/2014/main" id="{94DD0365-C6F9-4D19-BC34-90116A8F84DA}"/>
                    </a:ext>
                  </a:extLst>
                </p:cNvPr>
                <p:cNvSpPr/>
                <p:nvPr/>
              </p:nvSpPr>
              <p:spPr>
                <a:xfrm>
                  <a:off x="4521266" y="4809078"/>
                  <a:ext cx="30561" cy="25358"/>
                </a:xfrm>
                <a:custGeom>
                  <a:avLst/>
                  <a:gdLst>
                    <a:gd name="connsiteX0" fmla="*/ 30561 w 30561"/>
                    <a:gd name="connsiteY0" fmla="*/ 0 h 25358"/>
                    <a:gd name="connsiteX1" fmla="*/ 0 w 30561"/>
                    <a:gd name="connsiteY1" fmla="*/ 25358 h 25358"/>
                  </a:gdLst>
                  <a:ahLst/>
                  <a:cxnLst>
                    <a:cxn ang="0">
                      <a:pos x="connsiteX0" y="connsiteY0"/>
                    </a:cxn>
                    <a:cxn ang="0">
                      <a:pos x="connsiteX1" y="connsiteY1"/>
                    </a:cxn>
                  </a:cxnLst>
                  <a:rect l="l" t="t" r="r" b="b"/>
                  <a:pathLst>
                    <a:path w="30561" h="25358">
                      <a:moveTo>
                        <a:pt x="30561" y="0"/>
                      </a:moveTo>
                      <a:cubicBezTo>
                        <a:pt x="20215" y="8612"/>
                        <a:pt x="9988" y="17105"/>
                        <a:pt x="0" y="25358"/>
                      </a:cubicBezTo>
                    </a:path>
                  </a:pathLst>
                </a:custGeom>
                <a:noFill/>
                <a:ln w="6350" cap="rnd">
                  <a:solidFill>
                    <a:schemeClr val="bg1">
                      <a:alpha val="80000"/>
                    </a:schemeClr>
                  </a:solidFill>
                  <a:prstDash val="solid"/>
                  <a:miter/>
                </a:ln>
              </p:spPr>
              <p:txBody>
                <a:bodyPr rtlCol="0" anchor="ctr"/>
                <a:lstStyle/>
                <a:p>
                  <a:endParaRPr lang="en-GB"/>
                </a:p>
              </p:txBody>
            </p:sp>
            <p:sp>
              <p:nvSpPr>
                <p:cNvPr id="8369" name="Vrije vorm: vorm 8368">
                  <a:extLst>
                    <a:ext uri="{FF2B5EF4-FFF2-40B4-BE49-F238E27FC236}">
                      <a16:creationId xmlns:a16="http://schemas.microsoft.com/office/drawing/2014/main" id="{31C37E9F-BE77-4F71-B7FE-BDA2F4003C9B}"/>
                    </a:ext>
                  </a:extLst>
                </p:cNvPr>
                <p:cNvSpPr/>
                <p:nvPr/>
              </p:nvSpPr>
              <p:spPr>
                <a:xfrm>
                  <a:off x="4507510" y="4804653"/>
                  <a:ext cx="31578" cy="26135"/>
                </a:xfrm>
                <a:custGeom>
                  <a:avLst/>
                  <a:gdLst>
                    <a:gd name="connsiteX0" fmla="*/ 31578 w 31578"/>
                    <a:gd name="connsiteY0" fmla="*/ 0 h 26135"/>
                    <a:gd name="connsiteX1" fmla="*/ 0 w 31578"/>
                    <a:gd name="connsiteY1" fmla="*/ 26136 h 26135"/>
                  </a:gdLst>
                  <a:ahLst/>
                  <a:cxnLst>
                    <a:cxn ang="0">
                      <a:pos x="connsiteX0" y="connsiteY0"/>
                    </a:cxn>
                    <a:cxn ang="0">
                      <a:pos x="connsiteX1" y="connsiteY1"/>
                    </a:cxn>
                  </a:cxnLst>
                  <a:rect l="l" t="t" r="r" b="b"/>
                  <a:pathLst>
                    <a:path w="31578" h="26135">
                      <a:moveTo>
                        <a:pt x="31578" y="0"/>
                      </a:moveTo>
                      <a:cubicBezTo>
                        <a:pt x="20873" y="8851"/>
                        <a:pt x="10347" y="17583"/>
                        <a:pt x="0" y="26136"/>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28" name="Graphic 3">
                <a:extLst>
                  <a:ext uri="{FF2B5EF4-FFF2-40B4-BE49-F238E27FC236}">
                    <a16:creationId xmlns:a16="http://schemas.microsoft.com/office/drawing/2014/main" id="{41676BE2-DCFF-4EE8-A9CA-DA189785BA89}"/>
                  </a:ext>
                </a:extLst>
              </p:cNvPr>
              <p:cNvGrpSpPr/>
              <p:nvPr/>
            </p:nvGrpSpPr>
            <p:grpSpPr>
              <a:xfrm>
                <a:off x="4550571" y="4768888"/>
                <a:ext cx="80919" cy="40728"/>
                <a:chOff x="4550571" y="4768888"/>
                <a:chExt cx="80919" cy="40728"/>
              </a:xfrm>
              <a:noFill/>
            </p:grpSpPr>
            <p:sp>
              <p:nvSpPr>
                <p:cNvPr id="8360" name="Vrije vorm: vorm 8359">
                  <a:extLst>
                    <a:ext uri="{FF2B5EF4-FFF2-40B4-BE49-F238E27FC236}">
                      <a16:creationId xmlns:a16="http://schemas.microsoft.com/office/drawing/2014/main" id="{8B78A390-6D87-4608-85CA-0A0301C58EB9}"/>
                    </a:ext>
                  </a:extLst>
                </p:cNvPr>
                <p:cNvSpPr/>
                <p:nvPr/>
              </p:nvSpPr>
              <p:spPr>
                <a:xfrm>
                  <a:off x="4603561" y="4786112"/>
                  <a:ext cx="27929" cy="23504"/>
                </a:xfrm>
                <a:custGeom>
                  <a:avLst/>
                  <a:gdLst>
                    <a:gd name="connsiteX0" fmla="*/ 27930 w 27929"/>
                    <a:gd name="connsiteY0" fmla="*/ 0 h 23504"/>
                    <a:gd name="connsiteX1" fmla="*/ 0 w 27929"/>
                    <a:gd name="connsiteY1" fmla="*/ 23504 h 23504"/>
                  </a:gdLst>
                  <a:ahLst/>
                  <a:cxnLst>
                    <a:cxn ang="0">
                      <a:pos x="connsiteX0" y="connsiteY0"/>
                    </a:cxn>
                    <a:cxn ang="0">
                      <a:pos x="connsiteX1" y="connsiteY1"/>
                    </a:cxn>
                  </a:cxnLst>
                  <a:rect l="l" t="t" r="r" b="b"/>
                  <a:pathLst>
                    <a:path w="27929" h="23504">
                      <a:moveTo>
                        <a:pt x="27930" y="0"/>
                      </a:moveTo>
                      <a:cubicBezTo>
                        <a:pt x="18540" y="7895"/>
                        <a:pt x="9210" y="15729"/>
                        <a:pt x="0" y="23504"/>
                      </a:cubicBezTo>
                    </a:path>
                  </a:pathLst>
                </a:custGeom>
                <a:noFill/>
                <a:ln w="6350" cap="rnd">
                  <a:solidFill>
                    <a:schemeClr val="bg1">
                      <a:alpha val="80000"/>
                    </a:schemeClr>
                  </a:solidFill>
                  <a:prstDash val="solid"/>
                  <a:miter/>
                </a:ln>
              </p:spPr>
              <p:txBody>
                <a:bodyPr rtlCol="0" anchor="ctr"/>
                <a:lstStyle/>
                <a:p>
                  <a:endParaRPr lang="en-GB"/>
                </a:p>
              </p:txBody>
            </p:sp>
            <p:sp>
              <p:nvSpPr>
                <p:cNvPr id="8361" name="Vrije vorm: vorm 8360">
                  <a:extLst>
                    <a:ext uri="{FF2B5EF4-FFF2-40B4-BE49-F238E27FC236}">
                      <a16:creationId xmlns:a16="http://schemas.microsoft.com/office/drawing/2014/main" id="{02B1BD5E-04D7-4BE4-9027-418B9C47A5FA}"/>
                    </a:ext>
                  </a:extLst>
                </p:cNvPr>
                <p:cNvSpPr/>
                <p:nvPr/>
              </p:nvSpPr>
              <p:spPr>
                <a:xfrm>
                  <a:off x="4590343" y="4781806"/>
                  <a:ext cx="28468" cy="23863"/>
                </a:xfrm>
                <a:custGeom>
                  <a:avLst/>
                  <a:gdLst>
                    <a:gd name="connsiteX0" fmla="*/ 28468 w 28468"/>
                    <a:gd name="connsiteY0" fmla="*/ 0 h 23863"/>
                    <a:gd name="connsiteX1" fmla="*/ 0 w 28468"/>
                    <a:gd name="connsiteY1" fmla="*/ 23863 h 23863"/>
                  </a:gdLst>
                  <a:ahLst/>
                  <a:cxnLst>
                    <a:cxn ang="0">
                      <a:pos x="connsiteX0" y="connsiteY0"/>
                    </a:cxn>
                    <a:cxn ang="0">
                      <a:pos x="connsiteX1" y="connsiteY1"/>
                    </a:cxn>
                  </a:cxnLst>
                  <a:rect l="l" t="t" r="r" b="b"/>
                  <a:pathLst>
                    <a:path w="28468" h="23863">
                      <a:moveTo>
                        <a:pt x="28468" y="0"/>
                      </a:moveTo>
                      <a:cubicBezTo>
                        <a:pt x="18839" y="8074"/>
                        <a:pt x="9330" y="16028"/>
                        <a:pt x="0" y="23863"/>
                      </a:cubicBezTo>
                    </a:path>
                  </a:pathLst>
                </a:custGeom>
                <a:noFill/>
                <a:ln w="6350" cap="rnd">
                  <a:solidFill>
                    <a:schemeClr val="bg1">
                      <a:alpha val="80000"/>
                    </a:schemeClr>
                  </a:solidFill>
                  <a:prstDash val="solid"/>
                  <a:miter/>
                </a:ln>
              </p:spPr>
              <p:txBody>
                <a:bodyPr rtlCol="0" anchor="ctr"/>
                <a:lstStyle/>
                <a:p>
                  <a:endParaRPr lang="en-GB"/>
                </a:p>
              </p:txBody>
            </p:sp>
            <p:sp>
              <p:nvSpPr>
                <p:cNvPr id="8362" name="Vrije vorm: vorm 8361">
                  <a:extLst>
                    <a:ext uri="{FF2B5EF4-FFF2-40B4-BE49-F238E27FC236}">
                      <a16:creationId xmlns:a16="http://schemas.microsoft.com/office/drawing/2014/main" id="{15680136-31B8-4564-8300-4D09A703AD47}"/>
                    </a:ext>
                  </a:extLst>
                </p:cNvPr>
                <p:cNvSpPr/>
                <p:nvPr/>
              </p:nvSpPr>
              <p:spPr>
                <a:xfrm>
                  <a:off x="4577066" y="4777560"/>
                  <a:ext cx="29066" cy="24281"/>
                </a:xfrm>
                <a:custGeom>
                  <a:avLst/>
                  <a:gdLst>
                    <a:gd name="connsiteX0" fmla="*/ 29067 w 29066"/>
                    <a:gd name="connsiteY0" fmla="*/ 0 h 24281"/>
                    <a:gd name="connsiteX1" fmla="*/ 0 w 29066"/>
                    <a:gd name="connsiteY1" fmla="*/ 24282 h 24281"/>
                  </a:gdLst>
                  <a:ahLst/>
                  <a:cxnLst>
                    <a:cxn ang="0">
                      <a:pos x="connsiteX0" y="connsiteY0"/>
                    </a:cxn>
                    <a:cxn ang="0">
                      <a:pos x="connsiteX1" y="connsiteY1"/>
                    </a:cxn>
                  </a:cxnLst>
                  <a:rect l="l" t="t" r="r" b="b"/>
                  <a:pathLst>
                    <a:path w="29066" h="24281">
                      <a:moveTo>
                        <a:pt x="29067" y="0"/>
                      </a:moveTo>
                      <a:cubicBezTo>
                        <a:pt x="19258" y="8194"/>
                        <a:pt x="9569" y="16268"/>
                        <a:pt x="0" y="24282"/>
                      </a:cubicBezTo>
                    </a:path>
                  </a:pathLst>
                </a:custGeom>
                <a:noFill/>
                <a:ln w="6350" cap="rnd">
                  <a:solidFill>
                    <a:schemeClr val="bg1">
                      <a:alpha val="80000"/>
                    </a:schemeClr>
                  </a:solidFill>
                  <a:prstDash val="solid"/>
                  <a:miter/>
                </a:ln>
              </p:spPr>
              <p:txBody>
                <a:bodyPr rtlCol="0" anchor="ctr"/>
                <a:lstStyle/>
                <a:p>
                  <a:endParaRPr lang="en-GB"/>
                </a:p>
              </p:txBody>
            </p:sp>
            <p:sp>
              <p:nvSpPr>
                <p:cNvPr id="8363" name="Vrije vorm: vorm 8362">
                  <a:extLst>
                    <a:ext uri="{FF2B5EF4-FFF2-40B4-BE49-F238E27FC236}">
                      <a16:creationId xmlns:a16="http://schemas.microsoft.com/office/drawing/2014/main" id="{89AA404F-588B-4585-B328-5C3F5196CBDD}"/>
                    </a:ext>
                  </a:extLst>
                </p:cNvPr>
                <p:cNvSpPr/>
                <p:nvPr/>
              </p:nvSpPr>
              <p:spPr>
                <a:xfrm>
                  <a:off x="4563789" y="4773194"/>
                  <a:ext cx="29604" cy="24640"/>
                </a:xfrm>
                <a:custGeom>
                  <a:avLst/>
                  <a:gdLst>
                    <a:gd name="connsiteX0" fmla="*/ 29605 w 29604"/>
                    <a:gd name="connsiteY0" fmla="*/ 0 h 24640"/>
                    <a:gd name="connsiteX1" fmla="*/ 0 w 29604"/>
                    <a:gd name="connsiteY1" fmla="*/ 24641 h 24640"/>
                  </a:gdLst>
                  <a:ahLst/>
                  <a:cxnLst>
                    <a:cxn ang="0">
                      <a:pos x="connsiteX0" y="connsiteY0"/>
                    </a:cxn>
                    <a:cxn ang="0">
                      <a:pos x="connsiteX1" y="connsiteY1"/>
                    </a:cxn>
                  </a:cxnLst>
                  <a:rect l="l" t="t" r="r" b="b"/>
                  <a:pathLst>
                    <a:path w="29604" h="24640">
                      <a:moveTo>
                        <a:pt x="29605" y="0"/>
                      </a:moveTo>
                      <a:cubicBezTo>
                        <a:pt x="19617" y="8313"/>
                        <a:pt x="9749" y="16566"/>
                        <a:pt x="0" y="24641"/>
                      </a:cubicBezTo>
                    </a:path>
                  </a:pathLst>
                </a:custGeom>
                <a:noFill/>
                <a:ln w="6350" cap="rnd">
                  <a:solidFill>
                    <a:schemeClr val="bg1">
                      <a:alpha val="80000"/>
                    </a:schemeClr>
                  </a:solidFill>
                  <a:prstDash val="solid"/>
                  <a:miter/>
                </a:ln>
              </p:spPr>
              <p:txBody>
                <a:bodyPr rtlCol="0" anchor="ctr"/>
                <a:lstStyle/>
                <a:p>
                  <a:endParaRPr lang="en-GB"/>
                </a:p>
              </p:txBody>
            </p:sp>
            <p:sp>
              <p:nvSpPr>
                <p:cNvPr id="8364" name="Vrije vorm: vorm 8363">
                  <a:extLst>
                    <a:ext uri="{FF2B5EF4-FFF2-40B4-BE49-F238E27FC236}">
                      <a16:creationId xmlns:a16="http://schemas.microsoft.com/office/drawing/2014/main" id="{4737F21C-98C6-4635-8C33-297AA901EA77}"/>
                    </a:ext>
                  </a:extLst>
                </p:cNvPr>
                <p:cNvSpPr/>
                <p:nvPr/>
              </p:nvSpPr>
              <p:spPr>
                <a:xfrm>
                  <a:off x="4550571" y="4768888"/>
                  <a:ext cx="30143" cy="25059"/>
                </a:xfrm>
                <a:custGeom>
                  <a:avLst/>
                  <a:gdLst>
                    <a:gd name="connsiteX0" fmla="*/ 30143 w 30143"/>
                    <a:gd name="connsiteY0" fmla="*/ 0 h 25059"/>
                    <a:gd name="connsiteX1" fmla="*/ 0 w 30143"/>
                    <a:gd name="connsiteY1" fmla="*/ 25059 h 25059"/>
                  </a:gdLst>
                  <a:ahLst/>
                  <a:cxnLst>
                    <a:cxn ang="0">
                      <a:pos x="connsiteX0" y="connsiteY0"/>
                    </a:cxn>
                    <a:cxn ang="0">
                      <a:pos x="connsiteX1" y="connsiteY1"/>
                    </a:cxn>
                  </a:cxnLst>
                  <a:rect l="l" t="t" r="r" b="b"/>
                  <a:pathLst>
                    <a:path w="30143" h="25059">
                      <a:moveTo>
                        <a:pt x="30143" y="0"/>
                      </a:moveTo>
                      <a:cubicBezTo>
                        <a:pt x="19976" y="8493"/>
                        <a:pt x="9928" y="16806"/>
                        <a:pt x="0" y="25059"/>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29" name="Graphic 3">
                <a:extLst>
                  <a:ext uri="{FF2B5EF4-FFF2-40B4-BE49-F238E27FC236}">
                    <a16:creationId xmlns:a16="http://schemas.microsoft.com/office/drawing/2014/main" id="{3ECB0B26-6730-405C-A39E-CEADE79C1200}"/>
                  </a:ext>
                </a:extLst>
              </p:cNvPr>
              <p:cNvGrpSpPr/>
              <p:nvPr/>
            </p:nvGrpSpPr>
            <p:grpSpPr>
              <a:xfrm>
                <a:off x="4596503" y="4729355"/>
                <a:ext cx="76314" cy="44855"/>
                <a:chOff x="4596503" y="4729355"/>
                <a:chExt cx="76314" cy="44855"/>
              </a:xfrm>
              <a:noFill/>
            </p:grpSpPr>
            <p:sp>
              <p:nvSpPr>
                <p:cNvPr id="8355" name="Vrije vorm: vorm 8354">
                  <a:extLst>
                    <a:ext uri="{FF2B5EF4-FFF2-40B4-BE49-F238E27FC236}">
                      <a16:creationId xmlns:a16="http://schemas.microsoft.com/office/drawing/2014/main" id="{4C099937-64DC-42D6-878B-A549ACD6D099}"/>
                    </a:ext>
                  </a:extLst>
                </p:cNvPr>
                <p:cNvSpPr/>
                <p:nvPr/>
              </p:nvSpPr>
              <p:spPr>
                <a:xfrm>
                  <a:off x="4644708" y="4750527"/>
                  <a:ext cx="28109" cy="23683"/>
                </a:xfrm>
                <a:custGeom>
                  <a:avLst/>
                  <a:gdLst>
                    <a:gd name="connsiteX0" fmla="*/ 28109 w 28109"/>
                    <a:gd name="connsiteY0" fmla="*/ 0 h 23683"/>
                    <a:gd name="connsiteX1" fmla="*/ 0 w 28109"/>
                    <a:gd name="connsiteY1" fmla="*/ 23684 h 23683"/>
                  </a:gdLst>
                  <a:ahLst/>
                  <a:cxnLst>
                    <a:cxn ang="0">
                      <a:pos x="connsiteX0" y="connsiteY0"/>
                    </a:cxn>
                    <a:cxn ang="0">
                      <a:pos x="connsiteX1" y="connsiteY1"/>
                    </a:cxn>
                  </a:cxnLst>
                  <a:rect l="l" t="t" r="r" b="b"/>
                  <a:pathLst>
                    <a:path w="28109" h="23683">
                      <a:moveTo>
                        <a:pt x="28109" y="0"/>
                      </a:moveTo>
                      <a:cubicBezTo>
                        <a:pt x="18660" y="7954"/>
                        <a:pt x="9270" y="15849"/>
                        <a:pt x="0" y="23684"/>
                      </a:cubicBezTo>
                    </a:path>
                  </a:pathLst>
                </a:custGeom>
                <a:noFill/>
                <a:ln w="6350" cap="rnd">
                  <a:solidFill>
                    <a:schemeClr val="bg1">
                      <a:alpha val="80000"/>
                    </a:schemeClr>
                  </a:solidFill>
                  <a:prstDash val="solid"/>
                  <a:miter/>
                </a:ln>
              </p:spPr>
              <p:txBody>
                <a:bodyPr rtlCol="0" anchor="ctr"/>
                <a:lstStyle/>
                <a:p>
                  <a:endParaRPr lang="en-GB"/>
                </a:p>
              </p:txBody>
            </p:sp>
            <p:sp>
              <p:nvSpPr>
                <p:cNvPr id="8356" name="Vrije vorm: vorm 8355">
                  <a:extLst>
                    <a:ext uri="{FF2B5EF4-FFF2-40B4-BE49-F238E27FC236}">
                      <a16:creationId xmlns:a16="http://schemas.microsoft.com/office/drawing/2014/main" id="{4789199F-D82A-42DB-A69F-59E4092D7BF8}"/>
                    </a:ext>
                  </a:extLst>
                </p:cNvPr>
                <p:cNvSpPr/>
                <p:nvPr/>
              </p:nvSpPr>
              <p:spPr>
                <a:xfrm>
                  <a:off x="4632687" y="4745264"/>
                  <a:ext cx="28767" cy="24161"/>
                </a:xfrm>
                <a:custGeom>
                  <a:avLst/>
                  <a:gdLst>
                    <a:gd name="connsiteX0" fmla="*/ 28767 w 28767"/>
                    <a:gd name="connsiteY0" fmla="*/ 0 h 24161"/>
                    <a:gd name="connsiteX1" fmla="*/ 0 w 28767"/>
                    <a:gd name="connsiteY1" fmla="*/ 24162 h 24161"/>
                  </a:gdLst>
                  <a:ahLst/>
                  <a:cxnLst>
                    <a:cxn ang="0">
                      <a:pos x="connsiteX0" y="connsiteY0"/>
                    </a:cxn>
                    <a:cxn ang="0">
                      <a:pos x="connsiteX1" y="connsiteY1"/>
                    </a:cxn>
                  </a:cxnLst>
                  <a:rect l="l" t="t" r="r" b="b"/>
                  <a:pathLst>
                    <a:path w="28767" h="24161">
                      <a:moveTo>
                        <a:pt x="28767" y="0"/>
                      </a:moveTo>
                      <a:cubicBezTo>
                        <a:pt x="19079" y="8134"/>
                        <a:pt x="9509" y="16208"/>
                        <a:pt x="0" y="24162"/>
                      </a:cubicBezTo>
                    </a:path>
                  </a:pathLst>
                </a:custGeom>
                <a:noFill/>
                <a:ln w="6350" cap="rnd">
                  <a:solidFill>
                    <a:schemeClr val="bg1">
                      <a:alpha val="80000"/>
                    </a:schemeClr>
                  </a:solidFill>
                  <a:prstDash val="solid"/>
                  <a:miter/>
                </a:ln>
              </p:spPr>
              <p:txBody>
                <a:bodyPr rtlCol="0" anchor="ctr"/>
                <a:lstStyle/>
                <a:p>
                  <a:endParaRPr lang="en-GB"/>
                </a:p>
              </p:txBody>
            </p:sp>
            <p:sp>
              <p:nvSpPr>
                <p:cNvPr id="8357" name="Vrije vorm: vorm 8356">
                  <a:extLst>
                    <a:ext uri="{FF2B5EF4-FFF2-40B4-BE49-F238E27FC236}">
                      <a16:creationId xmlns:a16="http://schemas.microsoft.com/office/drawing/2014/main" id="{3963B19A-1C4B-4EEB-9375-94333FB707E4}"/>
                    </a:ext>
                  </a:extLst>
                </p:cNvPr>
                <p:cNvSpPr/>
                <p:nvPr/>
              </p:nvSpPr>
              <p:spPr>
                <a:xfrm>
                  <a:off x="4620665" y="4739941"/>
                  <a:ext cx="29425" cy="24640"/>
                </a:xfrm>
                <a:custGeom>
                  <a:avLst/>
                  <a:gdLst>
                    <a:gd name="connsiteX0" fmla="*/ 29425 w 29425"/>
                    <a:gd name="connsiteY0" fmla="*/ 0 h 24640"/>
                    <a:gd name="connsiteX1" fmla="*/ 0 w 29425"/>
                    <a:gd name="connsiteY1" fmla="*/ 24641 h 24640"/>
                  </a:gdLst>
                  <a:ahLst/>
                  <a:cxnLst>
                    <a:cxn ang="0">
                      <a:pos x="connsiteX0" y="connsiteY0"/>
                    </a:cxn>
                    <a:cxn ang="0">
                      <a:pos x="connsiteX1" y="connsiteY1"/>
                    </a:cxn>
                  </a:cxnLst>
                  <a:rect l="l" t="t" r="r" b="b"/>
                  <a:pathLst>
                    <a:path w="29425" h="24640">
                      <a:moveTo>
                        <a:pt x="29425" y="0"/>
                      </a:moveTo>
                      <a:cubicBezTo>
                        <a:pt x="19497" y="8313"/>
                        <a:pt x="9689" y="16507"/>
                        <a:pt x="0" y="24641"/>
                      </a:cubicBezTo>
                    </a:path>
                  </a:pathLst>
                </a:custGeom>
                <a:noFill/>
                <a:ln w="6350" cap="rnd">
                  <a:solidFill>
                    <a:schemeClr val="bg1">
                      <a:alpha val="80000"/>
                    </a:schemeClr>
                  </a:solidFill>
                  <a:prstDash val="solid"/>
                  <a:miter/>
                </a:ln>
              </p:spPr>
              <p:txBody>
                <a:bodyPr rtlCol="0" anchor="ctr"/>
                <a:lstStyle/>
                <a:p>
                  <a:endParaRPr lang="en-GB"/>
                </a:p>
              </p:txBody>
            </p:sp>
            <p:sp>
              <p:nvSpPr>
                <p:cNvPr id="8358" name="Vrije vorm: vorm 8357">
                  <a:extLst>
                    <a:ext uri="{FF2B5EF4-FFF2-40B4-BE49-F238E27FC236}">
                      <a16:creationId xmlns:a16="http://schemas.microsoft.com/office/drawing/2014/main" id="{F48AB5B4-DAF6-493D-B2E2-326C6A9A7C27}"/>
                    </a:ext>
                  </a:extLst>
                </p:cNvPr>
                <p:cNvSpPr/>
                <p:nvPr/>
              </p:nvSpPr>
              <p:spPr>
                <a:xfrm>
                  <a:off x="4608584" y="4734678"/>
                  <a:ext cx="30083" cy="25119"/>
                </a:xfrm>
                <a:custGeom>
                  <a:avLst/>
                  <a:gdLst>
                    <a:gd name="connsiteX0" fmla="*/ 30083 w 30083"/>
                    <a:gd name="connsiteY0" fmla="*/ 0 h 25119"/>
                    <a:gd name="connsiteX1" fmla="*/ 0 w 30083"/>
                    <a:gd name="connsiteY1" fmla="*/ 25119 h 25119"/>
                  </a:gdLst>
                  <a:ahLst/>
                  <a:cxnLst>
                    <a:cxn ang="0">
                      <a:pos x="connsiteX0" y="connsiteY0"/>
                    </a:cxn>
                    <a:cxn ang="0">
                      <a:pos x="connsiteX1" y="connsiteY1"/>
                    </a:cxn>
                  </a:cxnLst>
                  <a:rect l="l" t="t" r="r" b="b"/>
                  <a:pathLst>
                    <a:path w="30083" h="25119">
                      <a:moveTo>
                        <a:pt x="30083" y="0"/>
                      </a:moveTo>
                      <a:cubicBezTo>
                        <a:pt x="19976" y="8493"/>
                        <a:pt x="9928" y="16866"/>
                        <a:pt x="0" y="25119"/>
                      </a:cubicBezTo>
                    </a:path>
                  </a:pathLst>
                </a:custGeom>
                <a:noFill/>
                <a:ln w="6350" cap="rnd">
                  <a:solidFill>
                    <a:schemeClr val="bg1">
                      <a:alpha val="80000"/>
                    </a:schemeClr>
                  </a:solidFill>
                  <a:prstDash val="solid"/>
                  <a:miter/>
                </a:ln>
              </p:spPr>
              <p:txBody>
                <a:bodyPr rtlCol="0" anchor="ctr"/>
                <a:lstStyle/>
                <a:p>
                  <a:endParaRPr lang="en-GB"/>
                </a:p>
              </p:txBody>
            </p:sp>
            <p:sp>
              <p:nvSpPr>
                <p:cNvPr id="8359" name="Vrije vorm: vorm 8358">
                  <a:extLst>
                    <a:ext uri="{FF2B5EF4-FFF2-40B4-BE49-F238E27FC236}">
                      <a16:creationId xmlns:a16="http://schemas.microsoft.com/office/drawing/2014/main" id="{2A3CEE63-3A93-4595-B152-AF686E5C2D22}"/>
                    </a:ext>
                  </a:extLst>
                </p:cNvPr>
                <p:cNvSpPr/>
                <p:nvPr/>
              </p:nvSpPr>
              <p:spPr>
                <a:xfrm>
                  <a:off x="4596503" y="4729355"/>
                  <a:ext cx="30741" cy="25597"/>
                </a:xfrm>
                <a:custGeom>
                  <a:avLst/>
                  <a:gdLst>
                    <a:gd name="connsiteX0" fmla="*/ 30741 w 30741"/>
                    <a:gd name="connsiteY0" fmla="*/ 0 h 25597"/>
                    <a:gd name="connsiteX1" fmla="*/ 0 w 30741"/>
                    <a:gd name="connsiteY1" fmla="*/ 25598 h 25597"/>
                  </a:gdLst>
                  <a:ahLst/>
                  <a:cxnLst>
                    <a:cxn ang="0">
                      <a:pos x="connsiteX0" y="connsiteY0"/>
                    </a:cxn>
                    <a:cxn ang="0">
                      <a:pos x="connsiteX1" y="connsiteY1"/>
                    </a:cxn>
                  </a:cxnLst>
                  <a:rect l="l" t="t" r="r" b="b"/>
                  <a:pathLst>
                    <a:path w="30741" h="25597">
                      <a:moveTo>
                        <a:pt x="30741" y="0"/>
                      </a:moveTo>
                      <a:cubicBezTo>
                        <a:pt x="20394" y="8612"/>
                        <a:pt x="10167" y="17165"/>
                        <a:pt x="0" y="25598"/>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30" name="Graphic 3">
                <a:extLst>
                  <a:ext uri="{FF2B5EF4-FFF2-40B4-BE49-F238E27FC236}">
                    <a16:creationId xmlns:a16="http://schemas.microsoft.com/office/drawing/2014/main" id="{7DAAC37D-0BCA-45DD-9453-CCBFE5C62010}"/>
                  </a:ext>
                </a:extLst>
              </p:cNvPr>
              <p:cNvGrpSpPr/>
              <p:nvPr/>
            </p:nvGrpSpPr>
            <p:grpSpPr>
              <a:xfrm>
                <a:off x="4640521" y="4691856"/>
                <a:ext cx="74160" cy="46111"/>
                <a:chOff x="4640521" y="4691856"/>
                <a:chExt cx="74160" cy="46111"/>
              </a:xfrm>
              <a:noFill/>
            </p:grpSpPr>
            <p:sp>
              <p:nvSpPr>
                <p:cNvPr id="8350" name="Vrije vorm: vorm 8349">
                  <a:extLst>
                    <a:ext uri="{FF2B5EF4-FFF2-40B4-BE49-F238E27FC236}">
                      <a16:creationId xmlns:a16="http://schemas.microsoft.com/office/drawing/2014/main" id="{7D682421-31D9-43C4-AC4F-EFDDCCC04C26}"/>
                    </a:ext>
                  </a:extLst>
                </p:cNvPr>
                <p:cNvSpPr/>
                <p:nvPr/>
              </p:nvSpPr>
              <p:spPr>
                <a:xfrm>
                  <a:off x="4687709" y="4715241"/>
                  <a:ext cx="26973" cy="22726"/>
                </a:xfrm>
                <a:custGeom>
                  <a:avLst/>
                  <a:gdLst>
                    <a:gd name="connsiteX0" fmla="*/ 26973 w 26973"/>
                    <a:gd name="connsiteY0" fmla="*/ 0 h 22726"/>
                    <a:gd name="connsiteX1" fmla="*/ 0 w 26973"/>
                    <a:gd name="connsiteY1" fmla="*/ 22727 h 22726"/>
                  </a:gdLst>
                  <a:ahLst/>
                  <a:cxnLst>
                    <a:cxn ang="0">
                      <a:pos x="connsiteX0" y="connsiteY0"/>
                    </a:cxn>
                    <a:cxn ang="0">
                      <a:pos x="connsiteX1" y="connsiteY1"/>
                    </a:cxn>
                  </a:cxnLst>
                  <a:rect l="l" t="t" r="r" b="b"/>
                  <a:pathLst>
                    <a:path w="26973" h="22726">
                      <a:moveTo>
                        <a:pt x="26973" y="0"/>
                      </a:moveTo>
                      <a:cubicBezTo>
                        <a:pt x="17883" y="7655"/>
                        <a:pt x="8912" y="15251"/>
                        <a:pt x="0" y="22727"/>
                      </a:cubicBezTo>
                    </a:path>
                  </a:pathLst>
                </a:custGeom>
                <a:noFill/>
                <a:ln w="6350" cap="rnd">
                  <a:solidFill>
                    <a:schemeClr val="bg1">
                      <a:alpha val="80000"/>
                    </a:schemeClr>
                  </a:solidFill>
                  <a:prstDash val="solid"/>
                  <a:miter/>
                </a:ln>
              </p:spPr>
              <p:txBody>
                <a:bodyPr rtlCol="0" anchor="ctr"/>
                <a:lstStyle/>
                <a:p>
                  <a:endParaRPr lang="en-GB"/>
                </a:p>
              </p:txBody>
            </p:sp>
            <p:sp>
              <p:nvSpPr>
                <p:cNvPr id="8351" name="Vrije vorm: vorm 8350">
                  <a:extLst>
                    <a:ext uri="{FF2B5EF4-FFF2-40B4-BE49-F238E27FC236}">
                      <a16:creationId xmlns:a16="http://schemas.microsoft.com/office/drawing/2014/main" id="{4B58C4FC-0702-49AF-AD2C-BCA117727E11}"/>
                    </a:ext>
                  </a:extLst>
                </p:cNvPr>
                <p:cNvSpPr/>
                <p:nvPr/>
              </p:nvSpPr>
              <p:spPr>
                <a:xfrm>
                  <a:off x="4675927" y="4709380"/>
                  <a:ext cx="28169" cy="23683"/>
                </a:xfrm>
                <a:custGeom>
                  <a:avLst/>
                  <a:gdLst>
                    <a:gd name="connsiteX0" fmla="*/ 28169 w 28169"/>
                    <a:gd name="connsiteY0" fmla="*/ 0 h 23683"/>
                    <a:gd name="connsiteX1" fmla="*/ 0 w 28169"/>
                    <a:gd name="connsiteY1" fmla="*/ 23683 h 23683"/>
                  </a:gdLst>
                  <a:ahLst/>
                  <a:cxnLst>
                    <a:cxn ang="0">
                      <a:pos x="connsiteX0" y="connsiteY0"/>
                    </a:cxn>
                    <a:cxn ang="0">
                      <a:pos x="connsiteX1" y="connsiteY1"/>
                    </a:cxn>
                  </a:cxnLst>
                  <a:rect l="l" t="t" r="r" b="b"/>
                  <a:pathLst>
                    <a:path w="28169" h="23683">
                      <a:moveTo>
                        <a:pt x="28169" y="0"/>
                      </a:moveTo>
                      <a:cubicBezTo>
                        <a:pt x="18720" y="7954"/>
                        <a:pt x="9330" y="15849"/>
                        <a:pt x="0" y="23683"/>
                      </a:cubicBezTo>
                    </a:path>
                  </a:pathLst>
                </a:custGeom>
                <a:noFill/>
                <a:ln w="6350" cap="rnd">
                  <a:solidFill>
                    <a:schemeClr val="bg1">
                      <a:alpha val="80000"/>
                    </a:schemeClr>
                  </a:solidFill>
                  <a:prstDash val="solid"/>
                  <a:miter/>
                </a:ln>
              </p:spPr>
              <p:txBody>
                <a:bodyPr rtlCol="0" anchor="ctr"/>
                <a:lstStyle/>
                <a:p>
                  <a:endParaRPr lang="en-GB"/>
                </a:p>
              </p:txBody>
            </p:sp>
            <p:sp>
              <p:nvSpPr>
                <p:cNvPr id="8352" name="Vrije vorm: vorm 8351">
                  <a:extLst>
                    <a:ext uri="{FF2B5EF4-FFF2-40B4-BE49-F238E27FC236}">
                      <a16:creationId xmlns:a16="http://schemas.microsoft.com/office/drawing/2014/main" id="{216C11DC-0BC0-4B82-9821-31EBBB1824C8}"/>
                    </a:ext>
                  </a:extLst>
                </p:cNvPr>
                <p:cNvSpPr/>
                <p:nvPr/>
              </p:nvSpPr>
              <p:spPr>
                <a:xfrm>
                  <a:off x="4664145" y="4703519"/>
                  <a:ext cx="29365" cy="24580"/>
                </a:xfrm>
                <a:custGeom>
                  <a:avLst/>
                  <a:gdLst>
                    <a:gd name="connsiteX0" fmla="*/ 29366 w 29365"/>
                    <a:gd name="connsiteY0" fmla="*/ 0 h 24580"/>
                    <a:gd name="connsiteX1" fmla="*/ 0 w 29365"/>
                    <a:gd name="connsiteY1" fmla="*/ 24581 h 24580"/>
                  </a:gdLst>
                  <a:ahLst/>
                  <a:cxnLst>
                    <a:cxn ang="0">
                      <a:pos x="connsiteX0" y="connsiteY0"/>
                    </a:cxn>
                    <a:cxn ang="0">
                      <a:pos x="connsiteX1" y="connsiteY1"/>
                    </a:cxn>
                  </a:cxnLst>
                  <a:rect l="l" t="t" r="r" b="b"/>
                  <a:pathLst>
                    <a:path w="29365" h="24580">
                      <a:moveTo>
                        <a:pt x="29366" y="0"/>
                      </a:moveTo>
                      <a:cubicBezTo>
                        <a:pt x="19497" y="8253"/>
                        <a:pt x="9749" y="16447"/>
                        <a:pt x="0" y="24581"/>
                      </a:cubicBezTo>
                    </a:path>
                  </a:pathLst>
                </a:custGeom>
                <a:noFill/>
                <a:ln w="6350" cap="rnd">
                  <a:solidFill>
                    <a:schemeClr val="bg1">
                      <a:alpha val="80000"/>
                    </a:schemeClr>
                  </a:solidFill>
                  <a:prstDash val="solid"/>
                  <a:miter/>
                </a:ln>
              </p:spPr>
              <p:txBody>
                <a:bodyPr rtlCol="0" anchor="ctr"/>
                <a:lstStyle/>
                <a:p>
                  <a:endParaRPr lang="en-GB"/>
                </a:p>
              </p:txBody>
            </p:sp>
            <p:sp>
              <p:nvSpPr>
                <p:cNvPr id="8353" name="Vrije vorm: vorm 8352">
                  <a:extLst>
                    <a:ext uri="{FF2B5EF4-FFF2-40B4-BE49-F238E27FC236}">
                      <a16:creationId xmlns:a16="http://schemas.microsoft.com/office/drawing/2014/main" id="{BDB737AD-CA92-4C4E-9641-3841AFE233CF}"/>
                    </a:ext>
                  </a:extLst>
                </p:cNvPr>
                <p:cNvSpPr/>
                <p:nvPr/>
              </p:nvSpPr>
              <p:spPr>
                <a:xfrm>
                  <a:off x="4652363" y="4697658"/>
                  <a:ext cx="30501" cy="25537"/>
                </a:xfrm>
                <a:custGeom>
                  <a:avLst/>
                  <a:gdLst>
                    <a:gd name="connsiteX0" fmla="*/ 30502 w 30501"/>
                    <a:gd name="connsiteY0" fmla="*/ 0 h 25537"/>
                    <a:gd name="connsiteX1" fmla="*/ 0 w 30501"/>
                    <a:gd name="connsiteY1" fmla="*/ 25538 h 25537"/>
                  </a:gdLst>
                  <a:ahLst/>
                  <a:cxnLst>
                    <a:cxn ang="0">
                      <a:pos x="connsiteX0" y="connsiteY0"/>
                    </a:cxn>
                    <a:cxn ang="0">
                      <a:pos x="connsiteX1" y="connsiteY1"/>
                    </a:cxn>
                  </a:cxnLst>
                  <a:rect l="l" t="t" r="r" b="b"/>
                  <a:pathLst>
                    <a:path w="30501" h="25537">
                      <a:moveTo>
                        <a:pt x="30502" y="0"/>
                      </a:moveTo>
                      <a:cubicBezTo>
                        <a:pt x="20215" y="8612"/>
                        <a:pt x="10048" y="17105"/>
                        <a:pt x="0" y="25538"/>
                      </a:cubicBezTo>
                    </a:path>
                  </a:pathLst>
                </a:custGeom>
                <a:noFill/>
                <a:ln w="6350" cap="rnd">
                  <a:solidFill>
                    <a:schemeClr val="bg1">
                      <a:alpha val="80000"/>
                    </a:schemeClr>
                  </a:solidFill>
                  <a:prstDash val="solid"/>
                  <a:miter/>
                </a:ln>
              </p:spPr>
              <p:txBody>
                <a:bodyPr rtlCol="0" anchor="ctr"/>
                <a:lstStyle/>
                <a:p>
                  <a:endParaRPr lang="en-GB"/>
                </a:p>
              </p:txBody>
            </p:sp>
            <p:sp>
              <p:nvSpPr>
                <p:cNvPr id="8354" name="Vrije vorm: vorm 8353">
                  <a:extLst>
                    <a:ext uri="{FF2B5EF4-FFF2-40B4-BE49-F238E27FC236}">
                      <a16:creationId xmlns:a16="http://schemas.microsoft.com/office/drawing/2014/main" id="{5F38816D-FD06-41A2-9F2E-9B9904C0ACF4}"/>
                    </a:ext>
                  </a:extLst>
                </p:cNvPr>
                <p:cNvSpPr/>
                <p:nvPr/>
              </p:nvSpPr>
              <p:spPr>
                <a:xfrm>
                  <a:off x="4640521" y="4691856"/>
                  <a:ext cx="31697" cy="26435"/>
                </a:xfrm>
                <a:custGeom>
                  <a:avLst/>
                  <a:gdLst>
                    <a:gd name="connsiteX0" fmla="*/ 31698 w 31697"/>
                    <a:gd name="connsiteY0" fmla="*/ 0 h 26435"/>
                    <a:gd name="connsiteX1" fmla="*/ 0 w 31697"/>
                    <a:gd name="connsiteY1" fmla="*/ 26435 h 26435"/>
                  </a:gdLst>
                  <a:ahLst/>
                  <a:cxnLst>
                    <a:cxn ang="0">
                      <a:pos x="connsiteX0" y="connsiteY0"/>
                    </a:cxn>
                    <a:cxn ang="0">
                      <a:pos x="connsiteX1" y="connsiteY1"/>
                    </a:cxn>
                  </a:cxnLst>
                  <a:rect l="l" t="t" r="r" b="b"/>
                  <a:pathLst>
                    <a:path w="31697" h="26435">
                      <a:moveTo>
                        <a:pt x="31698" y="0"/>
                      </a:moveTo>
                      <a:cubicBezTo>
                        <a:pt x="21052" y="8912"/>
                        <a:pt x="10466" y="17703"/>
                        <a:pt x="0" y="26435"/>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31" name="Graphic 3">
                <a:extLst>
                  <a:ext uri="{FF2B5EF4-FFF2-40B4-BE49-F238E27FC236}">
                    <a16:creationId xmlns:a16="http://schemas.microsoft.com/office/drawing/2014/main" id="{D1BD0C3F-A7D5-40DC-9090-7793E5B4A96B}"/>
                  </a:ext>
                </a:extLst>
              </p:cNvPr>
              <p:cNvGrpSpPr/>
              <p:nvPr/>
            </p:nvGrpSpPr>
            <p:grpSpPr>
              <a:xfrm>
                <a:off x="4646384" y="4648735"/>
                <a:ext cx="113273" cy="55680"/>
                <a:chOff x="4646384" y="4648735"/>
                <a:chExt cx="113273" cy="55680"/>
              </a:xfrm>
              <a:noFill/>
            </p:grpSpPr>
            <p:sp>
              <p:nvSpPr>
                <p:cNvPr id="8345" name="Vrije vorm: vorm 8344">
                  <a:extLst>
                    <a:ext uri="{FF2B5EF4-FFF2-40B4-BE49-F238E27FC236}">
                      <a16:creationId xmlns:a16="http://schemas.microsoft.com/office/drawing/2014/main" id="{7DD00BEC-663C-4DE7-8550-FAC76720DB48}"/>
                    </a:ext>
                  </a:extLst>
                </p:cNvPr>
                <p:cNvSpPr/>
                <p:nvPr/>
              </p:nvSpPr>
              <p:spPr>
                <a:xfrm>
                  <a:off x="4727541" y="4677323"/>
                  <a:ext cx="32116" cy="27092"/>
                </a:xfrm>
                <a:custGeom>
                  <a:avLst/>
                  <a:gdLst>
                    <a:gd name="connsiteX0" fmla="*/ 32116 w 32116"/>
                    <a:gd name="connsiteY0" fmla="*/ 0 h 27092"/>
                    <a:gd name="connsiteX1" fmla="*/ 0 w 32116"/>
                    <a:gd name="connsiteY1" fmla="*/ 27093 h 27092"/>
                  </a:gdLst>
                  <a:ahLst/>
                  <a:cxnLst>
                    <a:cxn ang="0">
                      <a:pos x="connsiteX0" y="connsiteY0"/>
                    </a:cxn>
                    <a:cxn ang="0">
                      <a:pos x="connsiteX1" y="connsiteY1"/>
                    </a:cxn>
                  </a:cxnLst>
                  <a:rect l="l" t="t" r="r" b="b"/>
                  <a:pathLst>
                    <a:path w="32116" h="27092">
                      <a:moveTo>
                        <a:pt x="32116" y="0"/>
                      </a:moveTo>
                      <a:cubicBezTo>
                        <a:pt x="21351" y="9091"/>
                        <a:pt x="10645" y="18122"/>
                        <a:pt x="0" y="27093"/>
                      </a:cubicBezTo>
                    </a:path>
                  </a:pathLst>
                </a:custGeom>
                <a:noFill/>
                <a:ln w="6350" cap="rnd">
                  <a:solidFill>
                    <a:schemeClr val="bg1">
                      <a:alpha val="80000"/>
                    </a:schemeClr>
                  </a:solidFill>
                  <a:prstDash val="solid"/>
                  <a:miter/>
                </a:ln>
              </p:spPr>
              <p:txBody>
                <a:bodyPr rtlCol="0" anchor="ctr"/>
                <a:lstStyle/>
                <a:p>
                  <a:endParaRPr lang="en-GB"/>
                </a:p>
              </p:txBody>
            </p:sp>
            <p:sp>
              <p:nvSpPr>
                <p:cNvPr id="8346" name="Vrije vorm: vorm 8345">
                  <a:extLst>
                    <a:ext uri="{FF2B5EF4-FFF2-40B4-BE49-F238E27FC236}">
                      <a16:creationId xmlns:a16="http://schemas.microsoft.com/office/drawing/2014/main" id="{C41B0A3B-1879-4972-8F42-39408E7951C7}"/>
                    </a:ext>
                  </a:extLst>
                </p:cNvPr>
                <p:cNvSpPr/>
                <p:nvPr/>
              </p:nvSpPr>
              <p:spPr>
                <a:xfrm>
                  <a:off x="4717194" y="4670146"/>
                  <a:ext cx="33551" cy="28169"/>
                </a:xfrm>
                <a:custGeom>
                  <a:avLst/>
                  <a:gdLst>
                    <a:gd name="connsiteX0" fmla="*/ 33552 w 33551"/>
                    <a:gd name="connsiteY0" fmla="*/ 0 h 28169"/>
                    <a:gd name="connsiteX1" fmla="*/ 0 w 33551"/>
                    <a:gd name="connsiteY1" fmla="*/ 28169 h 28169"/>
                  </a:gdLst>
                  <a:ahLst/>
                  <a:cxnLst>
                    <a:cxn ang="0">
                      <a:pos x="connsiteX0" y="connsiteY0"/>
                    </a:cxn>
                    <a:cxn ang="0">
                      <a:pos x="connsiteX1" y="connsiteY1"/>
                    </a:cxn>
                  </a:cxnLst>
                  <a:rect l="l" t="t" r="r" b="b"/>
                  <a:pathLst>
                    <a:path w="33551" h="28169">
                      <a:moveTo>
                        <a:pt x="33552" y="0"/>
                      </a:moveTo>
                      <a:cubicBezTo>
                        <a:pt x="22308" y="9450"/>
                        <a:pt x="11124" y="18839"/>
                        <a:pt x="0" y="28169"/>
                      </a:cubicBezTo>
                    </a:path>
                  </a:pathLst>
                </a:custGeom>
                <a:noFill/>
                <a:ln w="6350" cap="rnd">
                  <a:solidFill>
                    <a:schemeClr val="bg1">
                      <a:alpha val="80000"/>
                    </a:schemeClr>
                  </a:solidFill>
                  <a:prstDash val="solid"/>
                  <a:miter/>
                </a:ln>
              </p:spPr>
              <p:txBody>
                <a:bodyPr rtlCol="0" anchor="ctr"/>
                <a:lstStyle/>
                <a:p>
                  <a:endParaRPr lang="en-GB"/>
                </a:p>
              </p:txBody>
            </p:sp>
            <p:sp>
              <p:nvSpPr>
                <p:cNvPr id="8347" name="Vrije vorm: vorm 8346">
                  <a:extLst>
                    <a:ext uri="{FF2B5EF4-FFF2-40B4-BE49-F238E27FC236}">
                      <a16:creationId xmlns:a16="http://schemas.microsoft.com/office/drawing/2014/main" id="{25F20EFE-7996-4827-BA6B-5AC1E7C30D0A}"/>
                    </a:ext>
                  </a:extLst>
                </p:cNvPr>
                <p:cNvSpPr/>
                <p:nvPr/>
              </p:nvSpPr>
              <p:spPr>
                <a:xfrm>
                  <a:off x="4706907" y="4663029"/>
                  <a:ext cx="34927" cy="29305"/>
                </a:xfrm>
                <a:custGeom>
                  <a:avLst/>
                  <a:gdLst>
                    <a:gd name="connsiteX0" fmla="*/ 34928 w 34927"/>
                    <a:gd name="connsiteY0" fmla="*/ 0 h 29305"/>
                    <a:gd name="connsiteX1" fmla="*/ 0 w 34927"/>
                    <a:gd name="connsiteY1" fmla="*/ 29305 h 29305"/>
                  </a:gdLst>
                  <a:ahLst/>
                  <a:cxnLst>
                    <a:cxn ang="0">
                      <a:pos x="connsiteX0" y="connsiteY0"/>
                    </a:cxn>
                    <a:cxn ang="0">
                      <a:pos x="connsiteX1" y="connsiteY1"/>
                    </a:cxn>
                  </a:cxnLst>
                  <a:rect l="l" t="t" r="r" b="b"/>
                  <a:pathLst>
                    <a:path w="34927" h="29305">
                      <a:moveTo>
                        <a:pt x="34928" y="0"/>
                      </a:moveTo>
                      <a:cubicBezTo>
                        <a:pt x="23205" y="9868"/>
                        <a:pt x="11543" y="19617"/>
                        <a:pt x="0" y="29305"/>
                      </a:cubicBezTo>
                    </a:path>
                  </a:pathLst>
                </a:custGeom>
                <a:noFill/>
                <a:ln w="6350" cap="rnd">
                  <a:solidFill>
                    <a:schemeClr val="bg1">
                      <a:alpha val="80000"/>
                    </a:schemeClr>
                  </a:solidFill>
                  <a:prstDash val="solid"/>
                  <a:miter/>
                </a:ln>
              </p:spPr>
              <p:txBody>
                <a:bodyPr rtlCol="0" anchor="ctr"/>
                <a:lstStyle/>
                <a:p>
                  <a:endParaRPr lang="en-GB"/>
                </a:p>
              </p:txBody>
            </p:sp>
            <p:sp>
              <p:nvSpPr>
                <p:cNvPr id="8348" name="Vrije vorm: vorm 8347">
                  <a:extLst>
                    <a:ext uri="{FF2B5EF4-FFF2-40B4-BE49-F238E27FC236}">
                      <a16:creationId xmlns:a16="http://schemas.microsoft.com/office/drawing/2014/main" id="{26B55122-911A-41B5-AA61-DB82CFD8E231}"/>
                    </a:ext>
                  </a:extLst>
                </p:cNvPr>
                <p:cNvSpPr/>
                <p:nvPr/>
              </p:nvSpPr>
              <p:spPr>
                <a:xfrm>
                  <a:off x="4696501" y="4655852"/>
                  <a:ext cx="36362" cy="30381"/>
                </a:xfrm>
                <a:custGeom>
                  <a:avLst/>
                  <a:gdLst>
                    <a:gd name="connsiteX0" fmla="*/ 36363 w 36362"/>
                    <a:gd name="connsiteY0" fmla="*/ 0 h 30381"/>
                    <a:gd name="connsiteX1" fmla="*/ 0 w 36362"/>
                    <a:gd name="connsiteY1" fmla="*/ 30382 h 30381"/>
                  </a:gdLst>
                  <a:ahLst/>
                  <a:cxnLst>
                    <a:cxn ang="0">
                      <a:pos x="connsiteX0" y="connsiteY0"/>
                    </a:cxn>
                    <a:cxn ang="0">
                      <a:pos x="connsiteX1" y="connsiteY1"/>
                    </a:cxn>
                  </a:cxnLst>
                  <a:rect l="l" t="t" r="r" b="b"/>
                  <a:pathLst>
                    <a:path w="36362" h="30381">
                      <a:moveTo>
                        <a:pt x="36363" y="0"/>
                      </a:moveTo>
                      <a:cubicBezTo>
                        <a:pt x="24162" y="10227"/>
                        <a:pt x="12021" y="20334"/>
                        <a:pt x="0" y="30382"/>
                      </a:cubicBezTo>
                    </a:path>
                  </a:pathLst>
                </a:custGeom>
                <a:noFill/>
                <a:ln w="6350" cap="rnd">
                  <a:solidFill>
                    <a:schemeClr val="bg1">
                      <a:alpha val="80000"/>
                    </a:schemeClr>
                  </a:solidFill>
                  <a:prstDash val="solid"/>
                  <a:miter/>
                </a:ln>
              </p:spPr>
              <p:txBody>
                <a:bodyPr rtlCol="0" anchor="ctr"/>
                <a:lstStyle/>
                <a:p>
                  <a:endParaRPr lang="en-GB"/>
                </a:p>
              </p:txBody>
            </p:sp>
            <p:sp>
              <p:nvSpPr>
                <p:cNvPr id="8349" name="Vrije vorm: vorm 8348">
                  <a:extLst>
                    <a:ext uri="{FF2B5EF4-FFF2-40B4-BE49-F238E27FC236}">
                      <a16:creationId xmlns:a16="http://schemas.microsoft.com/office/drawing/2014/main" id="{BE917434-D6E4-4F04-B6AB-4B94E18804C1}"/>
                    </a:ext>
                  </a:extLst>
                </p:cNvPr>
                <p:cNvSpPr/>
                <p:nvPr/>
              </p:nvSpPr>
              <p:spPr>
                <a:xfrm>
                  <a:off x="4646384" y="4648735"/>
                  <a:ext cx="77508" cy="53269"/>
                </a:xfrm>
                <a:custGeom>
                  <a:avLst/>
                  <a:gdLst>
                    <a:gd name="connsiteX0" fmla="*/ 77509 w 77508"/>
                    <a:gd name="connsiteY0" fmla="*/ 0 h 53269"/>
                    <a:gd name="connsiteX1" fmla="*/ 39771 w 77508"/>
                    <a:gd name="connsiteY1" fmla="*/ 31518 h 53269"/>
                  </a:gdLst>
                  <a:ahLst/>
                  <a:cxnLst>
                    <a:cxn ang="0">
                      <a:pos x="connsiteX0" y="connsiteY0"/>
                    </a:cxn>
                    <a:cxn ang="0">
                      <a:pos x="connsiteX1" y="connsiteY1"/>
                    </a:cxn>
                  </a:cxnLst>
                  <a:rect l="l" t="t" r="r" b="b"/>
                  <a:pathLst>
                    <a:path w="77508" h="53269">
                      <a:moveTo>
                        <a:pt x="77509" y="0"/>
                      </a:moveTo>
                      <a:cubicBezTo>
                        <a:pt x="-34510" y="73802"/>
                        <a:pt x="-4487" y="57176"/>
                        <a:pt x="39771" y="31518"/>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32" name="Graphic 3">
                <a:extLst>
                  <a:ext uri="{FF2B5EF4-FFF2-40B4-BE49-F238E27FC236}">
                    <a16:creationId xmlns:a16="http://schemas.microsoft.com/office/drawing/2014/main" id="{29876C98-2145-48E5-9722-4CC3FF826BBC}"/>
                  </a:ext>
                </a:extLst>
              </p:cNvPr>
              <p:cNvGrpSpPr/>
              <p:nvPr/>
            </p:nvGrpSpPr>
            <p:grpSpPr>
              <a:xfrm>
                <a:off x="4433768" y="4333551"/>
                <a:ext cx="44137" cy="111899"/>
                <a:chOff x="4433768" y="4333551"/>
                <a:chExt cx="44137" cy="111899"/>
              </a:xfrm>
              <a:noFill/>
            </p:grpSpPr>
            <p:sp>
              <p:nvSpPr>
                <p:cNvPr id="8337" name="Vrije vorm: vorm 8336">
                  <a:extLst>
                    <a:ext uri="{FF2B5EF4-FFF2-40B4-BE49-F238E27FC236}">
                      <a16:creationId xmlns:a16="http://schemas.microsoft.com/office/drawing/2014/main" id="{869CBAD9-AF0C-441B-A27F-D30A2943B6EC}"/>
                    </a:ext>
                  </a:extLst>
                </p:cNvPr>
                <p:cNvSpPr/>
                <p:nvPr/>
              </p:nvSpPr>
              <p:spPr>
                <a:xfrm>
                  <a:off x="4433768" y="4426073"/>
                  <a:ext cx="25178" cy="19377"/>
                </a:xfrm>
                <a:custGeom>
                  <a:avLst/>
                  <a:gdLst>
                    <a:gd name="connsiteX0" fmla="*/ 25179 w 25178"/>
                    <a:gd name="connsiteY0" fmla="*/ 0 h 19377"/>
                    <a:gd name="connsiteX1" fmla="*/ 0 w 25178"/>
                    <a:gd name="connsiteY1" fmla="*/ 19378 h 19377"/>
                  </a:gdLst>
                  <a:ahLst/>
                  <a:cxnLst>
                    <a:cxn ang="0">
                      <a:pos x="connsiteX0" y="connsiteY0"/>
                    </a:cxn>
                    <a:cxn ang="0">
                      <a:pos x="connsiteX1" y="connsiteY1"/>
                    </a:cxn>
                  </a:cxnLst>
                  <a:rect l="l" t="t" r="r" b="b"/>
                  <a:pathLst>
                    <a:path w="25178" h="19377">
                      <a:moveTo>
                        <a:pt x="25179" y="0"/>
                      </a:moveTo>
                      <a:cubicBezTo>
                        <a:pt x="16746" y="6519"/>
                        <a:pt x="8313" y="12978"/>
                        <a:pt x="0" y="19378"/>
                      </a:cubicBezTo>
                    </a:path>
                  </a:pathLst>
                </a:custGeom>
                <a:noFill/>
                <a:ln w="6350" cap="rnd">
                  <a:solidFill>
                    <a:schemeClr val="bg1">
                      <a:alpha val="80000"/>
                    </a:schemeClr>
                  </a:solidFill>
                  <a:prstDash val="solid"/>
                  <a:miter/>
                </a:ln>
              </p:spPr>
              <p:txBody>
                <a:bodyPr rtlCol="0" anchor="ctr"/>
                <a:lstStyle/>
                <a:p>
                  <a:endParaRPr lang="en-GB"/>
                </a:p>
              </p:txBody>
            </p:sp>
            <p:sp>
              <p:nvSpPr>
                <p:cNvPr id="8338" name="Vrije vorm: vorm 8337">
                  <a:extLst>
                    <a:ext uri="{FF2B5EF4-FFF2-40B4-BE49-F238E27FC236}">
                      <a16:creationId xmlns:a16="http://schemas.microsoft.com/office/drawing/2014/main" id="{F92657ED-8896-498F-A08E-D136EF3B793A}"/>
                    </a:ext>
                  </a:extLst>
                </p:cNvPr>
                <p:cNvSpPr/>
                <p:nvPr/>
              </p:nvSpPr>
              <p:spPr>
                <a:xfrm>
                  <a:off x="4437236" y="4412975"/>
                  <a:ext cx="24162" cy="18540"/>
                </a:xfrm>
                <a:custGeom>
                  <a:avLst/>
                  <a:gdLst>
                    <a:gd name="connsiteX0" fmla="*/ 24162 w 24162"/>
                    <a:gd name="connsiteY0" fmla="*/ 0 h 18540"/>
                    <a:gd name="connsiteX1" fmla="*/ 0 w 24162"/>
                    <a:gd name="connsiteY1" fmla="*/ 18540 h 18540"/>
                  </a:gdLst>
                  <a:ahLst/>
                  <a:cxnLst>
                    <a:cxn ang="0">
                      <a:pos x="connsiteX0" y="connsiteY0"/>
                    </a:cxn>
                    <a:cxn ang="0">
                      <a:pos x="connsiteX1" y="connsiteY1"/>
                    </a:cxn>
                  </a:cxnLst>
                  <a:rect l="l" t="t" r="r" b="b"/>
                  <a:pathLst>
                    <a:path w="24162" h="18540">
                      <a:moveTo>
                        <a:pt x="24162" y="0"/>
                      </a:moveTo>
                      <a:cubicBezTo>
                        <a:pt x="16088" y="6220"/>
                        <a:pt x="8014" y="12380"/>
                        <a:pt x="0" y="18540"/>
                      </a:cubicBezTo>
                    </a:path>
                  </a:pathLst>
                </a:custGeom>
                <a:noFill/>
                <a:ln w="6350" cap="rnd">
                  <a:solidFill>
                    <a:schemeClr val="bg1">
                      <a:alpha val="80000"/>
                    </a:schemeClr>
                  </a:solidFill>
                  <a:prstDash val="solid"/>
                  <a:miter/>
                </a:ln>
              </p:spPr>
              <p:txBody>
                <a:bodyPr rtlCol="0" anchor="ctr"/>
                <a:lstStyle/>
                <a:p>
                  <a:endParaRPr lang="en-GB"/>
                </a:p>
              </p:txBody>
            </p:sp>
            <p:sp>
              <p:nvSpPr>
                <p:cNvPr id="8339" name="Vrije vorm: vorm 8338">
                  <a:extLst>
                    <a:ext uri="{FF2B5EF4-FFF2-40B4-BE49-F238E27FC236}">
                      <a16:creationId xmlns:a16="http://schemas.microsoft.com/office/drawing/2014/main" id="{B15ABF59-D7F0-492A-9002-20DF75B9586B}"/>
                    </a:ext>
                  </a:extLst>
                </p:cNvPr>
                <p:cNvSpPr/>
                <p:nvPr/>
              </p:nvSpPr>
              <p:spPr>
                <a:xfrm>
                  <a:off x="4440825" y="4399818"/>
                  <a:ext cx="23085" cy="17702"/>
                </a:xfrm>
                <a:custGeom>
                  <a:avLst/>
                  <a:gdLst>
                    <a:gd name="connsiteX0" fmla="*/ 23086 w 23085"/>
                    <a:gd name="connsiteY0" fmla="*/ 0 h 17702"/>
                    <a:gd name="connsiteX1" fmla="*/ 0 w 23085"/>
                    <a:gd name="connsiteY1" fmla="*/ 17703 h 17702"/>
                  </a:gdLst>
                  <a:ahLst/>
                  <a:cxnLst>
                    <a:cxn ang="0">
                      <a:pos x="connsiteX0" y="connsiteY0"/>
                    </a:cxn>
                    <a:cxn ang="0">
                      <a:pos x="connsiteX1" y="connsiteY1"/>
                    </a:cxn>
                  </a:cxnLst>
                  <a:rect l="l" t="t" r="r" b="b"/>
                  <a:pathLst>
                    <a:path w="23085" h="17702">
                      <a:moveTo>
                        <a:pt x="23086" y="0"/>
                      </a:moveTo>
                      <a:cubicBezTo>
                        <a:pt x="15371" y="5921"/>
                        <a:pt x="7655" y="11842"/>
                        <a:pt x="0" y="17703"/>
                      </a:cubicBezTo>
                    </a:path>
                  </a:pathLst>
                </a:custGeom>
                <a:noFill/>
                <a:ln w="6350" cap="rnd">
                  <a:solidFill>
                    <a:schemeClr val="bg1">
                      <a:alpha val="80000"/>
                    </a:schemeClr>
                  </a:solidFill>
                  <a:prstDash val="solid"/>
                  <a:miter/>
                </a:ln>
              </p:spPr>
              <p:txBody>
                <a:bodyPr rtlCol="0" anchor="ctr"/>
                <a:lstStyle/>
                <a:p>
                  <a:endParaRPr lang="en-GB"/>
                </a:p>
              </p:txBody>
            </p:sp>
            <p:sp>
              <p:nvSpPr>
                <p:cNvPr id="8340" name="Vrije vorm: vorm 8339">
                  <a:extLst>
                    <a:ext uri="{FF2B5EF4-FFF2-40B4-BE49-F238E27FC236}">
                      <a16:creationId xmlns:a16="http://schemas.microsoft.com/office/drawing/2014/main" id="{353A3B7D-FA9E-4C4B-9C65-44DF85452362}"/>
                    </a:ext>
                  </a:extLst>
                </p:cNvPr>
                <p:cNvSpPr/>
                <p:nvPr/>
              </p:nvSpPr>
              <p:spPr>
                <a:xfrm>
                  <a:off x="4444593" y="4386660"/>
                  <a:ext cx="21949" cy="16805"/>
                </a:xfrm>
                <a:custGeom>
                  <a:avLst/>
                  <a:gdLst>
                    <a:gd name="connsiteX0" fmla="*/ 21949 w 21949"/>
                    <a:gd name="connsiteY0" fmla="*/ 0 h 16805"/>
                    <a:gd name="connsiteX1" fmla="*/ 0 w 21949"/>
                    <a:gd name="connsiteY1" fmla="*/ 16806 h 16805"/>
                  </a:gdLst>
                  <a:ahLst/>
                  <a:cxnLst>
                    <a:cxn ang="0">
                      <a:pos x="connsiteX0" y="connsiteY0"/>
                    </a:cxn>
                    <a:cxn ang="0">
                      <a:pos x="connsiteX1" y="connsiteY1"/>
                    </a:cxn>
                  </a:cxnLst>
                  <a:rect l="l" t="t" r="r" b="b"/>
                  <a:pathLst>
                    <a:path w="21949" h="16805">
                      <a:moveTo>
                        <a:pt x="21949" y="0"/>
                      </a:moveTo>
                      <a:cubicBezTo>
                        <a:pt x="14593" y="5622"/>
                        <a:pt x="7236" y="11244"/>
                        <a:pt x="0" y="16806"/>
                      </a:cubicBezTo>
                    </a:path>
                  </a:pathLst>
                </a:custGeom>
                <a:noFill/>
                <a:ln w="6350" cap="rnd">
                  <a:solidFill>
                    <a:schemeClr val="bg1">
                      <a:alpha val="80000"/>
                    </a:schemeClr>
                  </a:solidFill>
                  <a:prstDash val="solid"/>
                  <a:miter/>
                </a:ln>
              </p:spPr>
              <p:txBody>
                <a:bodyPr rtlCol="0" anchor="ctr"/>
                <a:lstStyle/>
                <a:p>
                  <a:endParaRPr lang="en-GB"/>
                </a:p>
              </p:txBody>
            </p:sp>
            <p:sp>
              <p:nvSpPr>
                <p:cNvPr id="8341" name="Vrije vorm: vorm 8340">
                  <a:extLst>
                    <a:ext uri="{FF2B5EF4-FFF2-40B4-BE49-F238E27FC236}">
                      <a16:creationId xmlns:a16="http://schemas.microsoft.com/office/drawing/2014/main" id="{04F8D10D-077C-4E9D-8D81-76DC2D39C6D2}"/>
                    </a:ext>
                  </a:extLst>
                </p:cNvPr>
                <p:cNvSpPr/>
                <p:nvPr/>
              </p:nvSpPr>
              <p:spPr>
                <a:xfrm>
                  <a:off x="4448421" y="4373443"/>
                  <a:ext cx="20872" cy="15968"/>
                </a:xfrm>
                <a:custGeom>
                  <a:avLst/>
                  <a:gdLst>
                    <a:gd name="connsiteX0" fmla="*/ 20873 w 20872"/>
                    <a:gd name="connsiteY0" fmla="*/ 0 h 15968"/>
                    <a:gd name="connsiteX1" fmla="*/ 0 w 20872"/>
                    <a:gd name="connsiteY1" fmla="*/ 15969 h 15968"/>
                  </a:gdLst>
                  <a:ahLst/>
                  <a:cxnLst>
                    <a:cxn ang="0">
                      <a:pos x="connsiteX0" y="connsiteY0"/>
                    </a:cxn>
                    <a:cxn ang="0">
                      <a:pos x="connsiteX1" y="connsiteY1"/>
                    </a:cxn>
                  </a:cxnLst>
                  <a:rect l="l" t="t" r="r" b="b"/>
                  <a:pathLst>
                    <a:path w="20872" h="15968">
                      <a:moveTo>
                        <a:pt x="20873" y="0"/>
                      </a:moveTo>
                      <a:cubicBezTo>
                        <a:pt x="13875" y="5323"/>
                        <a:pt x="6937" y="10646"/>
                        <a:pt x="0" y="15969"/>
                      </a:cubicBezTo>
                    </a:path>
                  </a:pathLst>
                </a:custGeom>
                <a:noFill/>
                <a:ln w="6350" cap="rnd">
                  <a:solidFill>
                    <a:schemeClr val="bg1">
                      <a:alpha val="80000"/>
                    </a:schemeClr>
                  </a:solidFill>
                  <a:prstDash val="solid"/>
                  <a:miter/>
                </a:ln>
              </p:spPr>
              <p:txBody>
                <a:bodyPr rtlCol="0" anchor="ctr"/>
                <a:lstStyle/>
                <a:p>
                  <a:endParaRPr lang="en-GB"/>
                </a:p>
              </p:txBody>
            </p:sp>
            <p:sp>
              <p:nvSpPr>
                <p:cNvPr id="8342" name="Vrije vorm: vorm 8341">
                  <a:extLst>
                    <a:ext uri="{FF2B5EF4-FFF2-40B4-BE49-F238E27FC236}">
                      <a16:creationId xmlns:a16="http://schemas.microsoft.com/office/drawing/2014/main" id="{BE3F1012-7E45-43EF-82A8-839F72348559}"/>
                    </a:ext>
                  </a:extLst>
                </p:cNvPr>
                <p:cNvSpPr/>
                <p:nvPr/>
              </p:nvSpPr>
              <p:spPr>
                <a:xfrm>
                  <a:off x="4452308" y="4360165"/>
                  <a:ext cx="19736" cy="15071"/>
                </a:xfrm>
                <a:custGeom>
                  <a:avLst/>
                  <a:gdLst>
                    <a:gd name="connsiteX0" fmla="*/ 19736 w 19736"/>
                    <a:gd name="connsiteY0" fmla="*/ 0 h 15071"/>
                    <a:gd name="connsiteX1" fmla="*/ 0 w 19736"/>
                    <a:gd name="connsiteY1" fmla="*/ 15071 h 15071"/>
                  </a:gdLst>
                  <a:ahLst/>
                  <a:cxnLst>
                    <a:cxn ang="0">
                      <a:pos x="connsiteX0" y="connsiteY0"/>
                    </a:cxn>
                    <a:cxn ang="0">
                      <a:pos x="connsiteX1" y="connsiteY1"/>
                    </a:cxn>
                  </a:cxnLst>
                  <a:rect l="l" t="t" r="r" b="b"/>
                  <a:pathLst>
                    <a:path w="19736" h="15071">
                      <a:moveTo>
                        <a:pt x="19736" y="0"/>
                      </a:moveTo>
                      <a:cubicBezTo>
                        <a:pt x="13158" y="5024"/>
                        <a:pt x="6579" y="10048"/>
                        <a:pt x="0" y="15071"/>
                      </a:cubicBezTo>
                    </a:path>
                  </a:pathLst>
                </a:custGeom>
                <a:noFill/>
                <a:ln w="6350" cap="rnd">
                  <a:solidFill>
                    <a:schemeClr val="bg1">
                      <a:alpha val="80000"/>
                    </a:schemeClr>
                  </a:solidFill>
                  <a:prstDash val="solid"/>
                  <a:miter/>
                </a:ln>
              </p:spPr>
              <p:txBody>
                <a:bodyPr rtlCol="0" anchor="ctr"/>
                <a:lstStyle/>
                <a:p>
                  <a:endParaRPr lang="en-GB"/>
                </a:p>
              </p:txBody>
            </p:sp>
            <p:sp>
              <p:nvSpPr>
                <p:cNvPr id="8343" name="Vrije vorm: vorm 8342">
                  <a:extLst>
                    <a:ext uri="{FF2B5EF4-FFF2-40B4-BE49-F238E27FC236}">
                      <a16:creationId xmlns:a16="http://schemas.microsoft.com/office/drawing/2014/main" id="{39F13C23-F09C-43AF-A475-444C42E2C654}"/>
                    </a:ext>
                  </a:extLst>
                </p:cNvPr>
                <p:cNvSpPr/>
                <p:nvPr/>
              </p:nvSpPr>
              <p:spPr>
                <a:xfrm>
                  <a:off x="4456315" y="4346888"/>
                  <a:ext cx="18600" cy="14114"/>
                </a:xfrm>
                <a:custGeom>
                  <a:avLst/>
                  <a:gdLst>
                    <a:gd name="connsiteX0" fmla="*/ 18600 w 18600"/>
                    <a:gd name="connsiteY0" fmla="*/ 0 h 14114"/>
                    <a:gd name="connsiteX1" fmla="*/ 0 w 18600"/>
                    <a:gd name="connsiteY1" fmla="*/ 14115 h 14114"/>
                  </a:gdLst>
                  <a:ahLst/>
                  <a:cxnLst>
                    <a:cxn ang="0">
                      <a:pos x="connsiteX0" y="connsiteY0"/>
                    </a:cxn>
                    <a:cxn ang="0">
                      <a:pos x="connsiteX1" y="connsiteY1"/>
                    </a:cxn>
                  </a:cxnLst>
                  <a:rect l="l" t="t" r="r" b="b"/>
                  <a:pathLst>
                    <a:path w="18600" h="14114">
                      <a:moveTo>
                        <a:pt x="18600" y="0"/>
                      </a:moveTo>
                      <a:cubicBezTo>
                        <a:pt x="12380" y="4725"/>
                        <a:pt x="6220" y="9450"/>
                        <a:pt x="0" y="14115"/>
                      </a:cubicBezTo>
                    </a:path>
                  </a:pathLst>
                </a:custGeom>
                <a:noFill/>
                <a:ln w="6350" cap="rnd">
                  <a:solidFill>
                    <a:schemeClr val="bg1">
                      <a:alpha val="80000"/>
                    </a:schemeClr>
                  </a:solidFill>
                  <a:prstDash val="solid"/>
                  <a:miter/>
                </a:ln>
              </p:spPr>
              <p:txBody>
                <a:bodyPr rtlCol="0" anchor="ctr"/>
                <a:lstStyle/>
                <a:p>
                  <a:endParaRPr lang="en-GB"/>
                </a:p>
              </p:txBody>
            </p:sp>
            <p:sp>
              <p:nvSpPr>
                <p:cNvPr id="8344" name="Vrije vorm: vorm 8343">
                  <a:extLst>
                    <a:ext uri="{FF2B5EF4-FFF2-40B4-BE49-F238E27FC236}">
                      <a16:creationId xmlns:a16="http://schemas.microsoft.com/office/drawing/2014/main" id="{B7F83BA9-81A4-4965-B370-6EE27414368E}"/>
                    </a:ext>
                  </a:extLst>
                </p:cNvPr>
                <p:cNvSpPr/>
                <p:nvPr/>
              </p:nvSpPr>
              <p:spPr>
                <a:xfrm>
                  <a:off x="4460502" y="4333551"/>
                  <a:ext cx="17404" cy="13217"/>
                </a:xfrm>
                <a:custGeom>
                  <a:avLst/>
                  <a:gdLst>
                    <a:gd name="connsiteX0" fmla="*/ 17404 w 17404"/>
                    <a:gd name="connsiteY0" fmla="*/ 0 h 13217"/>
                    <a:gd name="connsiteX1" fmla="*/ 0 w 17404"/>
                    <a:gd name="connsiteY1" fmla="*/ 13218 h 13217"/>
                  </a:gdLst>
                  <a:ahLst/>
                  <a:cxnLst>
                    <a:cxn ang="0">
                      <a:pos x="connsiteX0" y="connsiteY0"/>
                    </a:cxn>
                    <a:cxn ang="0">
                      <a:pos x="connsiteX1" y="connsiteY1"/>
                    </a:cxn>
                  </a:cxnLst>
                  <a:rect l="l" t="t" r="r" b="b"/>
                  <a:pathLst>
                    <a:path w="17404" h="13217">
                      <a:moveTo>
                        <a:pt x="17404" y="0"/>
                      </a:moveTo>
                      <a:cubicBezTo>
                        <a:pt x="11603" y="4426"/>
                        <a:pt x="5801" y="8851"/>
                        <a:pt x="0" y="13218"/>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33" name="Graphic 3">
                <a:extLst>
                  <a:ext uri="{FF2B5EF4-FFF2-40B4-BE49-F238E27FC236}">
                    <a16:creationId xmlns:a16="http://schemas.microsoft.com/office/drawing/2014/main" id="{4E39506A-247B-4896-9CE9-F0985635B500}"/>
                  </a:ext>
                </a:extLst>
              </p:cNvPr>
              <p:cNvGrpSpPr/>
              <p:nvPr/>
            </p:nvGrpSpPr>
            <p:grpSpPr>
              <a:xfrm>
                <a:off x="4480537" y="4306219"/>
                <a:ext cx="33252" cy="103227"/>
                <a:chOff x="4480537" y="4306219"/>
                <a:chExt cx="33252" cy="103227"/>
              </a:xfrm>
              <a:noFill/>
            </p:grpSpPr>
            <p:sp>
              <p:nvSpPr>
                <p:cNvPr id="8329" name="Vrije vorm: vorm 8328">
                  <a:extLst>
                    <a:ext uri="{FF2B5EF4-FFF2-40B4-BE49-F238E27FC236}">
                      <a16:creationId xmlns:a16="http://schemas.microsoft.com/office/drawing/2014/main" id="{4C468BF3-D789-443F-B032-8750771A7E04}"/>
                    </a:ext>
                  </a:extLst>
                </p:cNvPr>
                <p:cNvSpPr/>
                <p:nvPr/>
              </p:nvSpPr>
              <p:spPr>
                <a:xfrm>
                  <a:off x="4480537" y="4389411"/>
                  <a:ext cx="25956" cy="20035"/>
                </a:xfrm>
                <a:custGeom>
                  <a:avLst/>
                  <a:gdLst>
                    <a:gd name="connsiteX0" fmla="*/ 25956 w 25956"/>
                    <a:gd name="connsiteY0" fmla="*/ 0 h 20035"/>
                    <a:gd name="connsiteX1" fmla="*/ 0 w 25956"/>
                    <a:gd name="connsiteY1" fmla="*/ 20035 h 20035"/>
                  </a:gdLst>
                  <a:ahLst/>
                  <a:cxnLst>
                    <a:cxn ang="0">
                      <a:pos x="connsiteX0" y="connsiteY0"/>
                    </a:cxn>
                    <a:cxn ang="0">
                      <a:pos x="connsiteX1" y="connsiteY1"/>
                    </a:cxn>
                  </a:cxnLst>
                  <a:rect l="l" t="t" r="r" b="b"/>
                  <a:pathLst>
                    <a:path w="25956" h="20035">
                      <a:moveTo>
                        <a:pt x="25956" y="0"/>
                      </a:moveTo>
                      <a:cubicBezTo>
                        <a:pt x="17225" y="6698"/>
                        <a:pt x="8612" y="13397"/>
                        <a:pt x="0" y="20035"/>
                      </a:cubicBezTo>
                    </a:path>
                  </a:pathLst>
                </a:custGeom>
                <a:noFill/>
                <a:ln w="6350" cap="rnd">
                  <a:solidFill>
                    <a:schemeClr val="bg1">
                      <a:alpha val="80000"/>
                    </a:schemeClr>
                  </a:solidFill>
                  <a:prstDash val="solid"/>
                  <a:miter/>
                </a:ln>
              </p:spPr>
              <p:txBody>
                <a:bodyPr rtlCol="0" anchor="ctr"/>
                <a:lstStyle/>
                <a:p>
                  <a:endParaRPr lang="en-GB"/>
                </a:p>
              </p:txBody>
            </p:sp>
            <p:sp>
              <p:nvSpPr>
                <p:cNvPr id="8330" name="Vrije vorm: vorm 8329">
                  <a:extLst>
                    <a:ext uri="{FF2B5EF4-FFF2-40B4-BE49-F238E27FC236}">
                      <a16:creationId xmlns:a16="http://schemas.microsoft.com/office/drawing/2014/main" id="{22EA543D-12CD-4D8B-911D-DA04015FA407}"/>
                    </a:ext>
                  </a:extLst>
                </p:cNvPr>
                <p:cNvSpPr/>
                <p:nvPr/>
              </p:nvSpPr>
              <p:spPr>
                <a:xfrm>
                  <a:off x="4482570" y="4377629"/>
                  <a:ext cx="24820" cy="19078"/>
                </a:xfrm>
                <a:custGeom>
                  <a:avLst/>
                  <a:gdLst>
                    <a:gd name="connsiteX0" fmla="*/ 24820 w 24820"/>
                    <a:gd name="connsiteY0" fmla="*/ 0 h 19078"/>
                    <a:gd name="connsiteX1" fmla="*/ 0 w 24820"/>
                    <a:gd name="connsiteY1" fmla="*/ 19079 h 19078"/>
                  </a:gdLst>
                  <a:ahLst/>
                  <a:cxnLst>
                    <a:cxn ang="0">
                      <a:pos x="connsiteX0" y="connsiteY0"/>
                    </a:cxn>
                    <a:cxn ang="0">
                      <a:pos x="connsiteX1" y="connsiteY1"/>
                    </a:cxn>
                  </a:cxnLst>
                  <a:rect l="l" t="t" r="r" b="b"/>
                  <a:pathLst>
                    <a:path w="24820" h="19078">
                      <a:moveTo>
                        <a:pt x="24820" y="0"/>
                      </a:moveTo>
                      <a:cubicBezTo>
                        <a:pt x="16507" y="6399"/>
                        <a:pt x="8253" y="12739"/>
                        <a:pt x="0" y="19079"/>
                      </a:cubicBezTo>
                    </a:path>
                  </a:pathLst>
                </a:custGeom>
                <a:noFill/>
                <a:ln w="6350" cap="rnd">
                  <a:solidFill>
                    <a:schemeClr val="bg1">
                      <a:alpha val="80000"/>
                    </a:schemeClr>
                  </a:solidFill>
                  <a:prstDash val="solid"/>
                  <a:miter/>
                </a:ln>
              </p:spPr>
              <p:txBody>
                <a:bodyPr rtlCol="0" anchor="ctr"/>
                <a:lstStyle/>
                <a:p>
                  <a:endParaRPr lang="en-GB"/>
                </a:p>
              </p:txBody>
            </p:sp>
            <p:sp>
              <p:nvSpPr>
                <p:cNvPr id="8331" name="Vrije vorm: vorm 8330">
                  <a:extLst>
                    <a:ext uri="{FF2B5EF4-FFF2-40B4-BE49-F238E27FC236}">
                      <a16:creationId xmlns:a16="http://schemas.microsoft.com/office/drawing/2014/main" id="{747BE71C-CF9D-430A-BF91-D1743BDF21EF}"/>
                    </a:ext>
                  </a:extLst>
                </p:cNvPr>
                <p:cNvSpPr/>
                <p:nvPr/>
              </p:nvSpPr>
              <p:spPr>
                <a:xfrm>
                  <a:off x="4484664" y="4365787"/>
                  <a:ext cx="23683" cy="18181"/>
                </a:xfrm>
                <a:custGeom>
                  <a:avLst/>
                  <a:gdLst>
                    <a:gd name="connsiteX0" fmla="*/ 23683 w 23683"/>
                    <a:gd name="connsiteY0" fmla="*/ 0 h 18181"/>
                    <a:gd name="connsiteX1" fmla="*/ 0 w 23683"/>
                    <a:gd name="connsiteY1" fmla="*/ 18181 h 18181"/>
                  </a:gdLst>
                  <a:ahLst/>
                  <a:cxnLst>
                    <a:cxn ang="0">
                      <a:pos x="connsiteX0" y="connsiteY0"/>
                    </a:cxn>
                    <a:cxn ang="0">
                      <a:pos x="connsiteX1" y="connsiteY1"/>
                    </a:cxn>
                  </a:cxnLst>
                  <a:rect l="l" t="t" r="r" b="b"/>
                  <a:pathLst>
                    <a:path w="23683" h="18181">
                      <a:moveTo>
                        <a:pt x="23683" y="0"/>
                      </a:moveTo>
                      <a:cubicBezTo>
                        <a:pt x="15789" y="6100"/>
                        <a:pt x="7894" y="12141"/>
                        <a:pt x="0" y="18181"/>
                      </a:cubicBezTo>
                    </a:path>
                  </a:pathLst>
                </a:custGeom>
                <a:noFill/>
                <a:ln w="6350" cap="rnd">
                  <a:solidFill>
                    <a:schemeClr val="bg1">
                      <a:alpha val="80000"/>
                    </a:schemeClr>
                  </a:solidFill>
                  <a:prstDash val="solid"/>
                  <a:miter/>
                </a:ln>
              </p:spPr>
              <p:txBody>
                <a:bodyPr rtlCol="0" anchor="ctr"/>
                <a:lstStyle/>
                <a:p>
                  <a:endParaRPr lang="en-GB"/>
                </a:p>
              </p:txBody>
            </p:sp>
            <p:sp>
              <p:nvSpPr>
                <p:cNvPr id="8332" name="Vrije vorm: vorm 8331">
                  <a:extLst>
                    <a:ext uri="{FF2B5EF4-FFF2-40B4-BE49-F238E27FC236}">
                      <a16:creationId xmlns:a16="http://schemas.microsoft.com/office/drawing/2014/main" id="{9DFC3498-10CF-4EE6-A88D-E407B39CE049}"/>
                    </a:ext>
                  </a:extLst>
                </p:cNvPr>
                <p:cNvSpPr/>
                <p:nvPr/>
              </p:nvSpPr>
              <p:spPr>
                <a:xfrm>
                  <a:off x="4486817" y="4353945"/>
                  <a:ext cx="22487" cy="17224"/>
                </a:xfrm>
                <a:custGeom>
                  <a:avLst/>
                  <a:gdLst>
                    <a:gd name="connsiteX0" fmla="*/ 22488 w 22487"/>
                    <a:gd name="connsiteY0" fmla="*/ 0 h 17224"/>
                    <a:gd name="connsiteX1" fmla="*/ 0 w 22487"/>
                    <a:gd name="connsiteY1" fmla="*/ 17225 h 17224"/>
                  </a:gdLst>
                  <a:ahLst/>
                  <a:cxnLst>
                    <a:cxn ang="0">
                      <a:pos x="connsiteX0" y="connsiteY0"/>
                    </a:cxn>
                    <a:cxn ang="0">
                      <a:pos x="connsiteX1" y="connsiteY1"/>
                    </a:cxn>
                  </a:cxnLst>
                  <a:rect l="l" t="t" r="r" b="b"/>
                  <a:pathLst>
                    <a:path w="22487" h="17224">
                      <a:moveTo>
                        <a:pt x="22488" y="0"/>
                      </a:moveTo>
                      <a:cubicBezTo>
                        <a:pt x="14952" y="5742"/>
                        <a:pt x="7476" y="11543"/>
                        <a:pt x="0" y="17225"/>
                      </a:cubicBezTo>
                    </a:path>
                  </a:pathLst>
                </a:custGeom>
                <a:noFill/>
                <a:ln w="6350" cap="rnd">
                  <a:solidFill>
                    <a:schemeClr val="bg1">
                      <a:alpha val="80000"/>
                    </a:schemeClr>
                  </a:solidFill>
                  <a:prstDash val="solid"/>
                  <a:miter/>
                </a:ln>
              </p:spPr>
              <p:txBody>
                <a:bodyPr rtlCol="0" anchor="ctr"/>
                <a:lstStyle/>
                <a:p>
                  <a:endParaRPr lang="en-GB"/>
                </a:p>
              </p:txBody>
            </p:sp>
            <p:sp>
              <p:nvSpPr>
                <p:cNvPr id="8333" name="Vrije vorm: vorm 8332">
                  <a:extLst>
                    <a:ext uri="{FF2B5EF4-FFF2-40B4-BE49-F238E27FC236}">
                      <a16:creationId xmlns:a16="http://schemas.microsoft.com/office/drawing/2014/main" id="{D1D4E84C-1D7D-451D-BDA7-34C1B033FC5B}"/>
                    </a:ext>
                  </a:extLst>
                </p:cNvPr>
                <p:cNvSpPr/>
                <p:nvPr/>
              </p:nvSpPr>
              <p:spPr>
                <a:xfrm>
                  <a:off x="4489030" y="4342044"/>
                  <a:ext cx="21291" cy="16267"/>
                </a:xfrm>
                <a:custGeom>
                  <a:avLst/>
                  <a:gdLst>
                    <a:gd name="connsiteX0" fmla="*/ 21291 w 21291"/>
                    <a:gd name="connsiteY0" fmla="*/ 0 h 16267"/>
                    <a:gd name="connsiteX1" fmla="*/ 0 w 21291"/>
                    <a:gd name="connsiteY1" fmla="*/ 16268 h 16267"/>
                  </a:gdLst>
                  <a:ahLst/>
                  <a:cxnLst>
                    <a:cxn ang="0">
                      <a:pos x="connsiteX0" y="connsiteY0"/>
                    </a:cxn>
                    <a:cxn ang="0">
                      <a:pos x="connsiteX1" y="connsiteY1"/>
                    </a:cxn>
                  </a:cxnLst>
                  <a:rect l="l" t="t" r="r" b="b"/>
                  <a:pathLst>
                    <a:path w="21291" h="16267">
                      <a:moveTo>
                        <a:pt x="21291" y="0"/>
                      </a:moveTo>
                      <a:cubicBezTo>
                        <a:pt x="14174" y="5443"/>
                        <a:pt x="7057" y="10885"/>
                        <a:pt x="0" y="16268"/>
                      </a:cubicBezTo>
                    </a:path>
                  </a:pathLst>
                </a:custGeom>
                <a:noFill/>
                <a:ln w="6350" cap="rnd">
                  <a:solidFill>
                    <a:schemeClr val="bg1">
                      <a:alpha val="80000"/>
                    </a:schemeClr>
                  </a:solidFill>
                  <a:prstDash val="solid"/>
                  <a:miter/>
                </a:ln>
              </p:spPr>
              <p:txBody>
                <a:bodyPr rtlCol="0" anchor="ctr"/>
                <a:lstStyle/>
                <a:p>
                  <a:endParaRPr lang="en-GB"/>
                </a:p>
              </p:txBody>
            </p:sp>
            <p:sp>
              <p:nvSpPr>
                <p:cNvPr id="8334" name="Vrije vorm: vorm 8333">
                  <a:extLst>
                    <a:ext uri="{FF2B5EF4-FFF2-40B4-BE49-F238E27FC236}">
                      <a16:creationId xmlns:a16="http://schemas.microsoft.com/office/drawing/2014/main" id="{49F3E29B-AA05-4B90-96CE-C8D954CC25F0}"/>
                    </a:ext>
                  </a:extLst>
                </p:cNvPr>
                <p:cNvSpPr/>
                <p:nvPr/>
              </p:nvSpPr>
              <p:spPr>
                <a:xfrm>
                  <a:off x="4491362" y="4330142"/>
                  <a:ext cx="20095" cy="15310"/>
                </a:xfrm>
                <a:custGeom>
                  <a:avLst/>
                  <a:gdLst>
                    <a:gd name="connsiteX0" fmla="*/ 20095 w 20095"/>
                    <a:gd name="connsiteY0" fmla="*/ 0 h 15310"/>
                    <a:gd name="connsiteX1" fmla="*/ 0 w 20095"/>
                    <a:gd name="connsiteY1" fmla="*/ 15311 h 15310"/>
                  </a:gdLst>
                  <a:ahLst/>
                  <a:cxnLst>
                    <a:cxn ang="0">
                      <a:pos x="connsiteX0" y="connsiteY0"/>
                    </a:cxn>
                    <a:cxn ang="0">
                      <a:pos x="connsiteX1" y="connsiteY1"/>
                    </a:cxn>
                  </a:cxnLst>
                  <a:rect l="l" t="t" r="r" b="b"/>
                  <a:pathLst>
                    <a:path w="20095" h="15310">
                      <a:moveTo>
                        <a:pt x="20095" y="0"/>
                      </a:moveTo>
                      <a:cubicBezTo>
                        <a:pt x="13397" y="5143"/>
                        <a:pt x="6698" y="10227"/>
                        <a:pt x="0" y="15311"/>
                      </a:cubicBezTo>
                    </a:path>
                  </a:pathLst>
                </a:custGeom>
                <a:noFill/>
                <a:ln w="6350" cap="rnd">
                  <a:solidFill>
                    <a:schemeClr val="bg1">
                      <a:alpha val="80000"/>
                    </a:schemeClr>
                  </a:solidFill>
                  <a:prstDash val="solid"/>
                  <a:miter/>
                </a:ln>
              </p:spPr>
              <p:txBody>
                <a:bodyPr rtlCol="0" anchor="ctr"/>
                <a:lstStyle/>
                <a:p>
                  <a:endParaRPr lang="en-GB"/>
                </a:p>
              </p:txBody>
            </p:sp>
            <p:sp>
              <p:nvSpPr>
                <p:cNvPr id="8335" name="Vrije vorm: vorm 8334">
                  <a:extLst>
                    <a:ext uri="{FF2B5EF4-FFF2-40B4-BE49-F238E27FC236}">
                      <a16:creationId xmlns:a16="http://schemas.microsoft.com/office/drawing/2014/main" id="{2EC5C2B2-5B7D-4AF8-860F-2703149C4117}"/>
                    </a:ext>
                  </a:extLst>
                </p:cNvPr>
                <p:cNvSpPr/>
                <p:nvPr/>
              </p:nvSpPr>
              <p:spPr>
                <a:xfrm>
                  <a:off x="4493754" y="4318181"/>
                  <a:ext cx="18839" cy="14353"/>
                </a:xfrm>
                <a:custGeom>
                  <a:avLst/>
                  <a:gdLst>
                    <a:gd name="connsiteX0" fmla="*/ 18839 w 18839"/>
                    <a:gd name="connsiteY0" fmla="*/ 0 h 14353"/>
                    <a:gd name="connsiteX1" fmla="*/ 0 w 18839"/>
                    <a:gd name="connsiteY1" fmla="*/ 14354 h 14353"/>
                  </a:gdLst>
                  <a:ahLst/>
                  <a:cxnLst>
                    <a:cxn ang="0">
                      <a:pos x="connsiteX0" y="connsiteY0"/>
                    </a:cxn>
                    <a:cxn ang="0">
                      <a:pos x="connsiteX1" y="connsiteY1"/>
                    </a:cxn>
                  </a:cxnLst>
                  <a:rect l="l" t="t" r="r" b="b"/>
                  <a:pathLst>
                    <a:path w="18839" h="14353">
                      <a:moveTo>
                        <a:pt x="18839" y="0"/>
                      </a:moveTo>
                      <a:cubicBezTo>
                        <a:pt x="12560" y="4785"/>
                        <a:pt x="6280" y="9569"/>
                        <a:pt x="0" y="14354"/>
                      </a:cubicBezTo>
                    </a:path>
                  </a:pathLst>
                </a:custGeom>
                <a:noFill/>
                <a:ln w="6350" cap="rnd">
                  <a:solidFill>
                    <a:schemeClr val="bg1">
                      <a:alpha val="80000"/>
                    </a:schemeClr>
                  </a:solidFill>
                  <a:prstDash val="solid"/>
                  <a:miter/>
                </a:ln>
              </p:spPr>
              <p:txBody>
                <a:bodyPr rtlCol="0" anchor="ctr"/>
                <a:lstStyle/>
                <a:p>
                  <a:endParaRPr lang="en-GB"/>
                </a:p>
              </p:txBody>
            </p:sp>
            <p:sp>
              <p:nvSpPr>
                <p:cNvPr id="8336" name="Vrije vorm: vorm 8335">
                  <a:extLst>
                    <a:ext uri="{FF2B5EF4-FFF2-40B4-BE49-F238E27FC236}">
                      <a16:creationId xmlns:a16="http://schemas.microsoft.com/office/drawing/2014/main" id="{44B6AE46-302C-47D8-8D70-98106F214375}"/>
                    </a:ext>
                  </a:extLst>
                </p:cNvPr>
                <p:cNvSpPr/>
                <p:nvPr/>
              </p:nvSpPr>
              <p:spPr>
                <a:xfrm>
                  <a:off x="4496207" y="4306219"/>
                  <a:ext cx="17583" cy="13396"/>
                </a:xfrm>
                <a:custGeom>
                  <a:avLst/>
                  <a:gdLst>
                    <a:gd name="connsiteX0" fmla="*/ 17583 w 17583"/>
                    <a:gd name="connsiteY0" fmla="*/ 0 h 13396"/>
                    <a:gd name="connsiteX1" fmla="*/ 0 w 17583"/>
                    <a:gd name="connsiteY1" fmla="*/ 13397 h 13396"/>
                  </a:gdLst>
                  <a:ahLst/>
                  <a:cxnLst>
                    <a:cxn ang="0">
                      <a:pos x="connsiteX0" y="connsiteY0"/>
                    </a:cxn>
                    <a:cxn ang="0">
                      <a:pos x="connsiteX1" y="connsiteY1"/>
                    </a:cxn>
                  </a:cxnLst>
                  <a:rect l="l" t="t" r="r" b="b"/>
                  <a:pathLst>
                    <a:path w="17583" h="13396">
                      <a:moveTo>
                        <a:pt x="17583" y="0"/>
                      </a:moveTo>
                      <a:cubicBezTo>
                        <a:pt x="11722" y="4486"/>
                        <a:pt x="5861" y="8911"/>
                        <a:pt x="0" y="13397"/>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34" name="Graphic 3">
                <a:extLst>
                  <a:ext uri="{FF2B5EF4-FFF2-40B4-BE49-F238E27FC236}">
                    <a16:creationId xmlns:a16="http://schemas.microsoft.com/office/drawing/2014/main" id="{38440169-AE74-4ED9-AA9A-F837707FAEDE}"/>
                  </a:ext>
                </a:extLst>
              </p:cNvPr>
              <p:cNvGrpSpPr/>
              <p:nvPr/>
            </p:nvGrpSpPr>
            <p:grpSpPr>
              <a:xfrm>
                <a:off x="4528682" y="4280562"/>
                <a:ext cx="26434" cy="91744"/>
                <a:chOff x="4528682" y="4280562"/>
                <a:chExt cx="26434" cy="91744"/>
              </a:xfrm>
              <a:noFill/>
            </p:grpSpPr>
            <p:sp>
              <p:nvSpPr>
                <p:cNvPr id="8321" name="Vrije vorm: vorm 8320">
                  <a:extLst>
                    <a:ext uri="{FF2B5EF4-FFF2-40B4-BE49-F238E27FC236}">
                      <a16:creationId xmlns:a16="http://schemas.microsoft.com/office/drawing/2014/main" id="{0AFFED32-E35C-4A3F-B829-ED5278704AB5}"/>
                    </a:ext>
                  </a:extLst>
                </p:cNvPr>
                <p:cNvSpPr/>
                <p:nvPr/>
              </p:nvSpPr>
              <p:spPr>
                <a:xfrm>
                  <a:off x="4528682" y="4351912"/>
                  <a:ext cx="26434" cy="20394"/>
                </a:xfrm>
                <a:custGeom>
                  <a:avLst/>
                  <a:gdLst>
                    <a:gd name="connsiteX0" fmla="*/ 26435 w 26434"/>
                    <a:gd name="connsiteY0" fmla="*/ 0 h 20394"/>
                    <a:gd name="connsiteX1" fmla="*/ 0 w 26434"/>
                    <a:gd name="connsiteY1" fmla="*/ 20394 h 20394"/>
                  </a:gdLst>
                  <a:ahLst/>
                  <a:cxnLst>
                    <a:cxn ang="0">
                      <a:pos x="connsiteX0" y="connsiteY0"/>
                    </a:cxn>
                    <a:cxn ang="0">
                      <a:pos x="connsiteX1" y="connsiteY1"/>
                    </a:cxn>
                  </a:cxnLst>
                  <a:rect l="l" t="t" r="r" b="b"/>
                  <a:pathLst>
                    <a:path w="26434" h="20394">
                      <a:moveTo>
                        <a:pt x="26435" y="0"/>
                      </a:moveTo>
                      <a:cubicBezTo>
                        <a:pt x="17583" y="6818"/>
                        <a:pt x="8791" y="13636"/>
                        <a:pt x="0" y="20394"/>
                      </a:cubicBezTo>
                    </a:path>
                  </a:pathLst>
                </a:custGeom>
                <a:noFill/>
                <a:ln w="6350" cap="rnd">
                  <a:solidFill>
                    <a:schemeClr val="bg1">
                      <a:alpha val="80000"/>
                    </a:schemeClr>
                  </a:solidFill>
                  <a:prstDash val="solid"/>
                  <a:miter/>
                </a:ln>
              </p:spPr>
              <p:txBody>
                <a:bodyPr rtlCol="0" anchor="ctr"/>
                <a:lstStyle/>
                <a:p>
                  <a:endParaRPr lang="en-GB"/>
                </a:p>
              </p:txBody>
            </p:sp>
            <p:sp>
              <p:nvSpPr>
                <p:cNvPr id="8322" name="Vrije vorm: vorm 8321">
                  <a:extLst>
                    <a:ext uri="{FF2B5EF4-FFF2-40B4-BE49-F238E27FC236}">
                      <a16:creationId xmlns:a16="http://schemas.microsoft.com/office/drawing/2014/main" id="{65E83A64-5CBC-4F16-AE6F-51F96101BF5C}"/>
                    </a:ext>
                  </a:extLst>
                </p:cNvPr>
                <p:cNvSpPr/>
                <p:nvPr/>
              </p:nvSpPr>
              <p:spPr>
                <a:xfrm>
                  <a:off x="4528682" y="4341745"/>
                  <a:ext cx="25238" cy="19437"/>
                </a:xfrm>
                <a:custGeom>
                  <a:avLst/>
                  <a:gdLst>
                    <a:gd name="connsiteX0" fmla="*/ 25238 w 25238"/>
                    <a:gd name="connsiteY0" fmla="*/ 0 h 19437"/>
                    <a:gd name="connsiteX1" fmla="*/ 0 w 25238"/>
                    <a:gd name="connsiteY1" fmla="*/ 19437 h 19437"/>
                  </a:gdLst>
                  <a:ahLst/>
                  <a:cxnLst>
                    <a:cxn ang="0">
                      <a:pos x="connsiteX0" y="connsiteY0"/>
                    </a:cxn>
                    <a:cxn ang="0">
                      <a:pos x="connsiteX1" y="connsiteY1"/>
                    </a:cxn>
                  </a:cxnLst>
                  <a:rect l="l" t="t" r="r" b="b"/>
                  <a:pathLst>
                    <a:path w="25238" h="19437">
                      <a:moveTo>
                        <a:pt x="25238" y="0"/>
                      </a:moveTo>
                      <a:cubicBezTo>
                        <a:pt x="16806" y="6519"/>
                        <a:pt x="8373" y="12978"/>
                        <a:pt x="0" y="19437"/>
                      </a:cubicBezTo>
                    </a:path>
                  </a:pathLst>
                </a:custGeom>
                <a:noFill/>
                <a:ln w="6350" cap="rnd">
                  <a:solidFill>
                    <a:schemeClr val="bg1">
                      <a:alpha val="80000"/>
                    </a:schemeClr>
                  </a:solidFill>
                  <a:prstDash val="solid"/>
                  <a:miter/>
                </a:ln>
              </p:spPr>
              <p:txBody>
                <a:bodyPr rtlCol="0" anchor="ctr"/>
                <a:lstStyle/>
                <a:p>
                  <a:endParaRPr lang="en-GB"/>
                </a:p>
              </p:txBody>
            </p:sp>
            <p:sp>
              <p:nvSpPr>
                <p:cNvPr id="8323" name="Vrije vorm: vorm 8322">
                  <a:extLst>
                    <a:ext uri="{FF2B5EF4-FFF2-40B4-BE49-F238E27FC236}">
                      <a16:creationId xmlns:a16="http://schemas.microsoft.com/office/drawing/2014/main" id="{01F70462-E6FE-447C-A30E-C9B5A3DD06C3}"/>
                    </a:ext>
                  </a:extLst>
                </p:cNvPr>
                <p:cNvSpPr/>
                <p:nvPr/>
              </p:nvSpPr>
              <p:spPr>
                <a:xfrm>
                  <a:off x="4528742" y="4331577"/>
                  <a:ext cx="24042" cy="18480"/>
                </a:xfrm>
                <a:custGeom>
                  <a:avLst/>
                  <a:gdLst>
                    <a:gd name="connsiteX0" fmla="*/ 24042 w 24042"/>
                    <a:gd name="connsiteY0" fmla="*/ 0 h 18480"/>
                    <a:gd name="connsiteX1" fmla="*/ 0 w 24042"/>
                    <a:gd name="connsiteY1" fmla="*/ 18481 h 18480"/>
                  </a:gdLst>
                  <a:ahLst/>
                  <a:cxnLst>
                    <a:cxn ang="0">
                      <a:pos x="connsiteX0" y="connsiteY0"/>
                    </a:cxn>
                    <a:cxn ang="0">
                      <a:pos x="connsiteX1" y="connsiteY1"/>
                    </a:cxn>
                  </a:cxnLst>
                  <a:rect l="l" t="t" r="r" b="b"/>
                  <a:pathLst>
                    <a:path w="24042" h="18480">
                      <a:moveTo>
                        <a:pt x="24042" y="0"/>
                      </a:moveTo>
                      <a:cubicBezTo>
                        <a:pt x="16028" y="6160"/>
                        <a:pt x="8014" y="12320"/>
                        <a:pt x="0" y="18481"/>
                      </a:cubicBezTo>
                    </a:path>
                  </a:pathLst>
                </a:custGeom>
                <a:noFill/>
                <a:ln w="6350" cap="rnd">
                  <a:solidFill>
                    <a:schemeClr val="bg1">
                      <a:alpha val="80000"/>
                    </a:schemeClr>
                  </a:solidFill>
                  <a:prstDash val="solid"/>
                  <a:miter/>
                </a:ln>
              </p:spPr>
              <p:txBody>
                <a:bodyPr rtlCol="0" anchor="ctr"/>
                <a:lstStyle/>
                <a:p>
                  <a:endParaRPr lang="en-GB"/>
                </a:p>
              </p:txBody>
            </p:sp>
            <p:sp>
              <p:nvSpPr>
                <p:cNvPr id="8324" name="Vrije vorm: vorm 8323">
                  <a:extLst>
                    <a:ext uri="{FF2B5EF4-FFF2-40B4-BE49-F238E27FC236}">
                      <a16:creationId xmlns:a16="http://schemas.microsoft.com/office/drawing/2014/main" id="{5096EEBB-C7BB-41BB-B44B-206B71CEED76}"/>
                    </a:ext>
                  </a:extLst>
                </p:cNvPr>
                <p:cNvSpPr/>
                <p:nvPr/>
              </p:nvSpPr>
              <p:spPr>
                <a:xfrm>
                  <a:off x="4528861" y="4321410"/>
                  <a:ext cx="22786" cy="17523"/>
                </a:xfrm>
                <a:custGeom>
                  <a:avLst/>
                  <a:gdLst>
                    <a:gd name="connsiteX0" fmla="*/ 22787 w 22786"/>
                    <a:gd name="connsiteY0" fmla="*/ 0 h 17523"/>
                    <a:gd name="connsiteX1" fmla="*/ 0 w 22786"/>
                    <a:gd name="connsiteY1" fmla="*/ 17524 h 17523"/>
                  </a:gdLst>
                  <a:ahLst/>
                  <a:cxnLst>
                    <a:cxn ang="0">
                      <a:pos x="connsiteX0" y="connsiteY0"/>
                    </a:cxn>
                    <a:cxn ang="0">
                      <a:pos x="connsiteX1" y="connsiteY1"/>
                    </a:cxn>
                  </a:cxnLst>
                  <a:rect l="l" t="t" r="r" b="b"/>
                  <a:pathLst>
                    <a:path w="22786" h="17523">
                      <a:moveTo>
                        <a:pt x="22787" y="0"/>
                      </a:moveTo>
                      <a:cubicBezTo>
                        <a:pt x="15191" y="5861"/>
                        <a:pt x="7596" y="11662"/>
                        <a:pt x="0" y="17524"/>
                      </a:cubicBezTo>
                    </a:path>
                  </a:pathLst>
                </a:custGeom>
                <a:noFill/>
                <a:ln w="6350" cap="rnd">
                  <a:solidFill>
                    <a:schemeClr val="bg1">
                      <a:alpha val="80000"/>
                    </a:schemeClr>
                  </a:solidFill>
                  <a:prstDash val="solid"/>
                  <a:miter/>
                </a:ln>
              </p:spPr>
              <p:txBody>
                <a:bodyPr rtlCol="0" anchor="ctr"/>
                <a:lstStyle/>
                <a:p>
                  <a:endParaRPr lang="en-GB"/>
                </a:p>
              </p:txBody>
            </p:sp>
            <p:sp>
              <p:nvSpPr>
                <p:cNvPr id="8325" name="Vrije vorm: vorm 8324">
                  <a:extLst>
                    <a:ext uri="{FF2B5EF4-FFF2-40B4-BE49-F238E27FC236}">
                      <a16:creationId xmlns:a16="http://schemas.microsoft.com/office/drawing/2014/main" id="{5F86FE64-443A-4F6B-902F-F3F61B89FAF5}"/>
                    </a:ext>
                  </a:extLst>
                </p:cNvPr>
                <p:cNvSpPr/>
                <p:nvPr/>
              </p:nvSpPr>
              <p:spPr>
                <a:xfrm>
                  <a:off x="4529041" y="4311243"/>
                  <a:ext cx="21530" cy="16506"/>
                </a:xfrm>
                <a:custGeom>
                  <a:avLst/>
                  <a:gdLst>
                    <a:gd name="connsiteX0" fmla="*/ 21530 w 21530"/>
                    <a:gd name="connsiteY0" fmla="*/ 0 h 16506"/>
                    <a:gd name="connsiteX1" fmla="*/ 0 w 21530"/>
                    <a:gd name="connsiteY1" fmla="*/ 16506 h 16506"/>
                  </a:gdLst>
                  <a:ahLst/>
                  <a:cxnLst>
                    <a:cxn ang="0">
                      <a:pos x="connsiteX0" y="connsiteY0"/>
                    </a:cxn>
                    <a:cxn ang="0">
                      <a:pos x="connsiteX1" y="connsiteY1"/>
                    </a:cxn>
                  </a:cxnLst>
                  <a:rect l="l" t="t" r="r" b="b"/>
                  <a:pathLst>
                    <a:path w="21530" h="16506">
                      <a:moveTo>
                        <a:pt x="21530" y="0"/>
                      </a:moveTo>
                      <a:cubicBezTo>
                        <a:pt x="14354" y="5502"/>
                        <a:pt x="7177" y="11004"/>
                        <a:pt x="0" y="16506"/>
                      </a:cubicBezTo>
                    </a:path>
                  </a:pathLst>
                </a:custGeom>
                <a:noFill/>
                <a:ln w="6350" cap="rnd">
                  <a:solidFill>
                    <a:schemeClr val="bg1">
                      <a:alpha val="80000"/>
                    </a:schemeClr>
                  </a:solidFill>
                  <a:prstDash val="solid"/>
                  <a:miter/>
                </a:ln>
              </p:spPr>
              <p:txBody>
                <a:bodyPr rtlCol="0" anchor="ctr"/>
                <a:lstStyle/>
                <a:p>
                  <a:endParaRPr lang="en-GB"/>
                </a:p>
              </p:txBody>
            </p:sp>
            <p:sp>
              <p:nvSpPr>
                <p:cNvPr id="8326" name="Vrije vorm: vorm 8325">
                  <a:extLst>
                    <a:ext uri="{FF2B5EF4-FFF2-40B4-BE49-F238E27FC236}">
                      <a16:creationId xmlns:a16="http://schemas.microsoft.com/office/drawing/2014/main" id="{FE1CAE0B-CBAF-4B4D-9B98-ACC733A5A7F7}"/>
                    </a:ext>
                  </a:extLst>
                </p:cNvPr>
                <p:cNvSpPr/>
                <p:nvPr/>
              </p:nvSpPr>
              <p:spPr>
                <a:xfrm>
                  <a:off x="4529220" y="4301016"/>
                  <a:ext cx="20274" cy="15549"/>
                </a:xfrm>
                <a:custGeom>
                  <a:avLst/>
                  <a:gdLst>
                    <a:gd name="connsiteX0" fmla="*/ 20275 w 20274"/>
                    <a:gd name="connsiteY0" fmla="*/ 0 h 15549"/>
                    <a:gd name="connsiteX1" fmla="*/ 0 w 20274"/>
                    <a:gd name="connsiteY1" fmla="*/ 15550 h 15549"/>
                  </a:gdLst>
                  <a:ahLst/>
                  <a:cxnLst>
                    <a:cxn ang="0">
                      <a:pos x="connsiteX0" y="connsiteY0"/>
                    </a:cxn>
                    <a:cxn ang="0">
                      <a:pos x="connsiteX1" y="connsiteY1"/>
                    </a:cxn>
                  </a:cxnLst>
                  <a:rect l="l" t="t" r="r" b="b"/>
                  <a:pathLst>
                    <a:path w="20274" h="15549">
                      <a:moveTo>
                        <a:pt x="20275" y="0"/>
                      </a:moveTo>
                      <a:cubicBezTo>
                        <a:pt x="13516" y="5203"/>
                        <a:pt x="6758" y="10347"/>
                        <a:pt x="0" y="15550"/>
                      </a:cubicBezTo>
                    </a:path>
                  </a:pathLst>
                </a:custGeom>
                <a:noFill/>
                <a:ln w="6350" cap="rnd">
                  <a:solidFill>
                    <a:schemeClr val="bg1">
                      <a:alpha val="80000"/>
                    </a:schemeClr>
                  </a:solidFill>
                  <a:prstDash val="solid"/>
                  <a:miter/>
                </a:ln>
              </p:spPr>
              <p:txBody>
                <a:bodyPr rtlCol="0" anchor="ctr"/>
                <a:lstStyle/>
                <a:p>
                  <a:endParaRPr lang="en-GB"/>
                </a:p>
              </p:txBody>
            </p:sp>
            <p:sp>
              <p:nvSpPr>
                <p:cNvPr id="8327" name="Vrije vorm: vorm 8326">
                  <a:extLst>
                    <a:ext uri="{FF2B5EF4-FFF2-40B4-BE49-F238E27FC236}">
                      <a16:creationId xmlns:a16="http://schemas.microsoft.com/office/drawing/2014/main" id="{084896AD-DB25-4CD0-AA6E-8EA8AD20749B}"/>
                    </a:ext>
                  </a:extLst>
                </p:cNvPr>
                <p:cNvSpPr/>
                <p:nvPr/>
              </p:nvSpPr>
              <p:spPr>
                <a:xfrm>
                  <a:off x="4529400" y="4290789"/>
                  <a:ext cx="19018" cy="14533"/>
                </a:xfrm>
                <a:custGeom>
                  <a:avLst/>
                  <a:gdLst>
                    <a:gd name="connsiteX0" fmla="*/ 19019 w 19018"/>
                    <a:gd name="connsiteY0" fmla="*/ 0 h 14533"/>
                    <a:gd name="connsiteX1" fmla="*/ 0 w 19018"/>
                    <a:gd name="connsiteY1" fmla="*/ 14533 h 14533"/>
                  </a:gdLst>
                  <a:ahLst/>
                  <a:cxnLst>
                    <a:cxn ang="0">
                      <a:pos x="connsiteX0" y="connsiteY0"/>
                    </a:cxn>
                    <a:cxn ang="0">
                      <a:pos x="connsiteX1" y="connsiteY1"/>
                    </a:cxn>
                  </a:cxnLst>
                  <a:rect l="l" t="t" r="r" b="b"/>
                  <a:pathLst>
                    <a:path w="19018" h="14533">
                      <a:moveTo>
                        <a:pt x="19019" y="0"/>
                      </a:moveTo>
                      <a:cubicBezTo>
                        <a:pt x="12679" y="4844"/>
                        <a:pt x="6340" y="9689"/>
                        <a:pt x="0" y="14533"/>
                      </a:cubicBezTo>
                    </a:path>
                  </a:pathLst>
                </a:custGeom>
                <a:noFill/>
                <a:ln w="6350" cap="rnd">
                  <a:solidFill>
                    <a:schemeClr val="bg1">
                      <a:alpha val="80000"/>
                    </a:schemeClr>
                  </a:solidFill>
                  <a:prstDash val="solid"/>
                  <a:miter/>
                </a:ln>
              </p:spPr>
              <p:txBody>
                <a:bodyPr rtlCol="0" anchor="ctr"/>
                <a:lstStyle/>
                <a:p>
                  <a:endParaRPr lang="en-GB"/>
                </a:p>
              </p:txBody>
            </p:sp>
            <p:sp>
              <p:nvSpPr>
                <p:cNvPr id="8328" name="Vrije vorm: vorm 8327">
                  <a:extLst>
                    <a:ext uri="{FF2B5EF4-FFF2-40B4-BE49-F238E27FC236}">
                      <a16:creationId xmlns:a16="http://schemas.microsoft.com/office/drawing/2014/main" id="{FEB7B69F-D6B0-416D-B9DF-7CDE271DA191}"/>
                    </a:ext>
                  </a:extLst>
                </p:cNvPr>
                <p:cNvSpPr/>
                <p:nvPr/>
              </p:nvSpPr>
              <p:spPr>
                <a:xfrm>
                  <a:off x="4529639" y="4280562"/>
                  <a:ext cx="17762" cy="13516"/>
                </a:xfrm>
                <a:custGeom>
                  <a:avLst/>
                  <a:gdLst>
                    <a:gd name="connsiteX0" fmla="*/ 17763 w 17762"/>
                    <a:gd name="connsiteY0" fmla="*/ 0 h 13516"/>
                    <a:gd name="connsiteX1" fmla="*/ 0 w 17762"/>
                    <a:gd name="connsiteY1" fmla="*/ 13516 h 13516"/>
                  </a:gdLst>
                  <a:ahLst/>
                  <a:cxnLst>
                    <a:cxn ang="0">
                      <a:pos x="connsiteX0" y="connsiteY0"/>
                    </a:cxn>
                    <a:cxn ang="0">
                      <a:pos x="connsiteX1" y="connsiteY1"/>
                    </a:cxn>
                  </a:cxnLst>
                  <a:rect l="l" t="t" r="r" b="b"/>
                  <a:pathLst>
                    <a:path w="17762" h="13516">
                      <a:moveTo>
                        <a:pt x="17763" y="0"/>
                      </a:moveTo>
                      <a:cubicBezTo>
                        <a:pt x="11842" y="4545"/>
                        <a:pt x="5921" y="9031"/>
                        <a:pt x="0" y="13516"/>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8235" name="Graphic 3">
                <a:extLst>
                  <a:ext uri="{FF2B5EF4-FFF2-40B4-BE49-F238E27FC236}">
                    <a16:creationId xmlns:a16="http://schemas.microsoft.com/office/drawing/2014/main" id="{9E5D9B9B-C88F-4BEE-85E0-1E69AB10B1B7}"/>
                  </a:ext>
                </a:extLst>
              </p:cNvPr>
              <p:cNvGrpSpPr/>
              <p:nvPr/>
            </p:nvGrpSpPr>
            <p:grpSpPr>
              <a:xfrm>
                <a:off x="4560021" y="4257297"/>
                <a:ext cx="42522" cy="78646"/>
                <a:chOff x="4560021" y="4257297"/>
                <a:chExt cx="42522" cy="78646"/>
              </a:xfrm>
              <a:noFill/>
            </p:grpSpPr>
            <p:sp>
              <p:nvSpPr>
                <p:cNvPr id="8313" name="Vrije vorm: vorm 8312">
                  <a:extLst>
                    <a:ext uri="{FF2B5EF4-FFF2-40B4-BE49-F238E27FC236}">
                      <a16:creationId xmlns:a16="http://schemas.microsoft.com/office/drawing/2014/main" id="{4342B673-CB87-44BA-B81A-CC10B28EBF71}"/>
                    </a:ext>
                  </a:extLst>
                </p:cNvPr>
                <p:cNvSpPr/>
                <p:nvPr/>
              </p:nvSpPr>
              <p:spPr>
                <a:xfrm>
                  <a:off x="4575810" y="4315190"/>
                  <a:ext cx="26733" cy="20753"/>
                </a:xfrm>
                <a:custGeom>
                  <a:avLst/>
                  <a:gdLst>
                    <a:gd name="connsiteX0" fmla="*/ 26734 w 26733"/>
                    <a:gd name="connsiteY0" fmla="*/ 0 h 20753"/>
                    <a:gd name="connsiteX1" fmla="*/ 0 w 26733"/>
                    <a:gd name="connsiteY1" fmla="*/ 20753 h 20753"/>
                  </a:gdLst>
                  <a:ahLst/>
                  <a:cxnLst>
                    <a:cxn ang="0">
                      <a:pos x="connsiteX0" y="connsiteY0"/>
                    </a:cxn>
                    <a:cxn ang="0">
                      <a:pos x="connsiteX1" y="connsiteY1"/>
                    </a:cxn>
                  </a:cxnLst>
                  <a:rect l="l" t="t" r="r" b="b"/>
                  <a:pathLst>
                    <a:path w="26733" h="20753">
                      <a:moveTo>
                        <a:pt x="26734" y="0"/>
                      </a:moveTo>
                      <a:cubicBezTo>
                        <a:pt x="17763" y="6938"/>
                        <a:pt x="8851" y="13875"/>
                        <a:pt x="0" y="20753"/>
                      </a:cubicBezTo>
                    </a:path>
                  </a:pathLst>
                </a:custGeom>
                <a:noFill/>
                <a:ln w="6350" cap="rnd">
                  <a:solidFill>
                    <a:schemeClr val="bg1">
                      <a:alpha val="80000"/>
                    </a:schemeClr>
                  </a:solidFill>
                  <a:prstDash val="solid"/>
                  <a:miter/>
                </a:ln>
              </p:spPr>
              <p:txBody>
                <a:bodyPr rtlCol="0" anchor="ctr"/>
                <a:lstStyle/>
                <a:p>
                  <a:endParaRPr lang="en-GB"/>
                </a:p>
              </p:txBody>
            </p:sp>
            <p:sp>
              <p:nvSpPr>
                <p:cNvPr id="8314" name="Vrije vorm: vorm 8313">
                  <a:extLst>
                    <a:ext uri="{FF2B5EF4-FFF2-40B4-BE49-F238E27FC236}">
                      <a16:creationId xmlns:a16="http://schemas.microsoft.com/office/drawing/2014/main" id="{8A9846E3-D5A9-40F4-BC76-199ACF137916}"/>
                    </a:ext>
                  </a:extLst>
                </p:cNvPr>
                <p:cNvSpPr/>
                <p:nvPr/>
              </p:nvSpPr>
              <p:spPr>
                <a:xfrm>
                  <a:off x="4573477" y="4306937"/>
                  <a:ext cx="25537" cy="19736"/>
                </a:xfrm>
                <a:custGeom>
                  <a:avLst/>
                  <a:gdLst>
                    <a:gd name="connsiteX0" fmla="*/ 25538 w 25537"/>
                    <a:gd name="connsiteY0" fmla="*/ 0 h 19736"/>
                    <a:gd name="connsiteX1" fmla="*/ 0 w 25537"/>
                    <a:gd name="connsiteY1" fmla="*/ 19736 h 19736"/>
                  </a:gdLst>
                  <a:ahLst/>
                  <a:cxnLst>
                    <a:cxn ang="0">
                      <a:pos x="connsiteX0" y="connsiteY0"/>
                    </a:cxn>
                    <a:cxn ang="0">
                      <a:pos x="connsiteX1" y="connsiteY1"/>
                    </a:cxn>
                  </a:cxnLst>
                  <a:rect l="l" t="t" r="r" b="b"/>
                  <a:pathLst>
                    <a:path w="25537" h="19736">
                      <a:moveTo>
                        <a:pt x="25538" y="0"/>
                      </a:moveTo>
                      <a:cubicBezTo>
                        <a:pt x="16985" y="6579"/>
                        <a:pt x="8493" y="13158"/>
                        <a:pt x="0" y="19736"/>
                      </a:cubicBezTo>
                    </a:path>
                  </a:pathLst>
                </a:custGeom>
                <a:noFill/>
                <a:ln w="6350" cap="rnd">
                  <a:solidFill>
                    <a:schemeClr val="bg1">
                      <a:alpha val="80000"/>
                    </a:schemeClr>
                  </a:solidFill>
                  <a:prstDash val="solid"/>
                  <a:miter/>
                </a:ln>
              </p:spPr>
              <p:txBody>
                <a:bodyPr rtlCol="0" anchor="ctr"/>
                <a:lstStyle/>
                <a:p>
                  <a:endParaRPr lang="en-GB"/>
                </a:p>
              </p:txBody>
            </p:sp>
            <p:sp>
              <p:nvSpPr>
                <p:cNvPr id="8315" name="Vrije vorm: vorm 8314">
                  <a:extLst>
                    <a:ext uri="{FF2B5EF4-FFF2-40B4-BE49-F238E27FC236}">
                      <a16:creationId xmlns:a16="http://schemas.microsoft.com/office/drawing/2014/main" id="{6B757151-86B8-4B10-B1C5-514950EEC6A1}"/>
                    </a:ext>
                  </a:extLst>
                </p:cNvPr>
                <p:cNvSpPr/>
                <p:nvPr/>
              </p:nvSpPr>
              <p:spPr>
                <a:xfrm>
                  <a:off x="4571145" y="4298683"/>
                  <a:ext cx="24281" cy="18719"/>
                </a:xfrm>
                <a:custGeom>
                  <a:avLst/>
                  <a:gdLst>
                    <a:gd name="connsiteX0" fmla="*/ 24282 w 24281"/>
                    <a:gd name="connsiteY0" fmla="*/ 0 h 18719"/>
                    <a:gd name="connsiteX1" fmla="*/ 0 w 24281"/>
                    <a:gd name="connsiteY1" fmla="*/ 18720 h 18719"/>
                  </a:gdLst>
                  <a:ahLst/>
                  <a:cxnLst>
                    <a:cxn ang="0">
                      <a:pos x="connsiteX0" y="connsiteY0"/>
                    </a:cxn>
                    <a:cxn ang="0">
                      <a:pos x="connsiteX1" y="connsiteY1"/>
                    </a:cxn>
                  </a:cxnLst>
                  <a:rect l="l" t="t" r="r" b="b"/>
                  <a:pathLst>
                    <a:path w="24281" h="18719">
                      <a:moveTo>
                        <a:pt x="24282" y="0"/>
                      </a:moveTo>
                      <a:cubicBezTo>
                        <a:pt x="16148" y="6280"/>
                        <a:pt x="8074" y="12500"/>
                        <a:pt x="0" y="18720"/>
                      </a:cubicBezTo>
                    </a:path>
                  </a:pathLst>
                </a:custGeom>
                <a:noFill/>
                <a:ln w="6350" cap="rnd">
                  <a:solidFill>
                    <a:schemeClr val="bg1">
                      <a:alpha val="80000"/>
                    </a:schemeClr>
                  </a:solidFill>
                  <a:prstDash val="solid"/>
                  <a:miter/>
                </a:ln>
              </p:spPr>
              <p:txBody>
                <a:bodyPr rtlCol="0" anchor="ctr"/>
                <a:lstStyle/>
                <a:p>
                  <a:endParaRPr lang="en-GB"/>
                </a:p>
              </p:txBody>
            </p:sp>
            <p:sp>
              <p:nvSpPr>
                <p:cNvPr id="8316" name="Vrije vorm: vorm 8315">
                  <a:extLst>
                    <a:ext uri="{FF2B5EF4-FFF2-40B4-BE49-F238E27FC236}">
                      <a16:creationId xmlns:a16="http://schemas.microsoft.com/office/drawing/2014/main" id="{553EAD03-6064-4B54-BD03-A40D0E914CFF}"/>
                    </a:ext>
                  </a:extLst>
                </p:cNvPr>
                <p:cNvSpPr/>
                <p:nvPr/>
              </p:nvSpPr>
              <p:spPr>
                <a:xfrm>
                  <a:off x="4568932" y="4290430"/>
                  <a:ext cx="22966" cy="17703"/>
                </a:xfrm>
                <a:custGeom>
                  <a:avLst/>
                  <a:gdLst>
                    <a:gd name="connsiteX0" fmla="*/ 22966 w 22966"/>
                    <a:gd name="connsiteY0" fmla="*/ 0 h 17703"/>
                    <a:gd name="connsiteX1" fmla="*/ 0 w 22966"/>
                    <a:gd name="connsiteY1" fmla="*/ 17703 h 17703"/>
                  </a:gdLst>
                  <a:ahLst/>
                  <a:cxnLst>
                    <a:cxn ang="0">
                      <a:pos x="connsiteX0" y="connsiteY0"/>
                    </a:cxn>
                    <a:cxn ang="0">
                      <a:pos x="connsiteX1" y="connsiteY1"/>
                    </a:cxn>
                  </a:cxnLst>
                  <a:rect l="l" t="t" r="r" b="b"/>
                  <a:pathLst>
                    <a:path w="22966" h="17703">
                      <a:moveTo>
                        <a:pt x="22966" y="0"/>
                      </a:moveTo>
                      <a:cubicBezTo>
                        <a:pt x="15311" y="5921"/>
                        <a:pt x="7596" y="11842"/>
                        <a:pt x="0" y="17703"/>
                      </a:cubicBezTo>
                    </a:path>
                  </a:pathLst>
                </a:custGeom>
                <a:noFill/>
                <a:ln w="6350" cap="rnd">
                  <a:solidFill>
                    <a:schemeClr val="bg1">
                      <a:alpha val="80000"/>
                    </a:schemeClr>
                  </a:solidFill>
                  <a:prstDash val="solid"/>
                  <a:miter/>
                </a:ln>
              </p:spPr>
              <p:txBody>
                <a:bodyPr rtlCol="0" anchor="ctr"/>
                <a:lstStyle/>
                <a:p>
                  <a:endParaRPr lang="en-GB"/>
                </a:p>
              </p:txBody>
            </p:sp>
            <p:sp>
              <p:nvSpPr>
                <p:cNvPr id="8317" name="Vrije vorm: vorm 8316">
                  <a:extLst>
                    <a:ext uri="{FF2B5EF4-FFF2-40B4-BE49-F238E27FC236}">
                      <a16:creationId xmlns:a16="http://schemas.microsoft.com/office/drawing/2014/main" id="{897A2ECE-A5CB-48DD-98B0-A694737994A8}"/>
                    </a:ext>
                  </a:extLst>
                </p:cNvPr>
                <p:cNvSpPr/>
                <p:nvPr/>
              </p:nvSpPr>
              <p:spPr>
                <a:xfrm>
                  <a:off x="4566659" y="4282117"/>
                  <a:ext cx="21710" cy="16745"/>
                </a:xfrm>
                <a:custGeom>
                  <a:avLst/>
                  <a:gdLst>
                    <a:gd name="connsiteX0" fmla="*/ 21710 w 21710"/>
                    <a:gd name="connsiteY0" fmla="*/ 0 h 16745"/>
                    <a:gd name="connsiteX1" fmla="*/ 0 w 21710"/>
                    <a:gd name="connsiteY1" fmla="*/ 16746 h 16745"/>
                  </a:gdLst>
                  <a:ahLst/>
                  <a:cxnLst>
                    <a:cxn ang="0">
                      <a:pos x="connsiteX0" y="connsiteY0"/>
                    </a:cxn>
                    <a:cxn ang="0">
                      <a:pos x="connsiteX1" y="connsiteY1"/>
                    </a:cxn>
                  </a:cxnLst>
                  <a:rect l="l" t="t" r="r" b="b"/>
                  <a:pathLst>
                    <a:path w="21710" h="16745">
                      <a:moveTo>
                        <a:pt x="21710" y="0"/>
                      </a:moveTo>
                      <a:cubicBezTo>
                        <a:pt x="14474" y="5562"/>
                        <a:pt x="7237" y="11184"/>
                        <a:pt x="0" y="16746"/>
                      </a:cubicBezTo>
                    </a:path>
                  </a:pathLst>
                </a:custGeom>
                <a:noFill/>
                <a:ln w="6350" cap="rnd">
                  <a:solidFill>
                    <a:schemeClr val="bg1">
                      <a:alpha val="80000"/>
                    </a:schemeClr>
                  </a:solidFill>
                  <a:prstDash val="solid"/>
                  <a:miter/>
                </a:ln>
              </p:spPr>
              <p:txBody>
                <a:bodyPr rtlCol="0" anchor="ctr"/>
                <a:lstStyle/>
                <a:p>
                  <a:endParaRPr lang="en-GB"/>
                </a:p>
              </p:txBody>
            </p:sp>
            <p:sp>
              <p:nvSpPr>
                <p:cNvPr id="8318" name="Vrije vorm: vorm 8317">
                  <a:extLst>
                    <a:ext uri="{FF2B5EF4-FFF2-40B4-BE49-F238E27FC236}">
                      <a16:creationId xmlns:a16="http://schemas.microsoft.com/office/drawing/2014/main" id="{4FF74D54-8698-4EED-8440-6353F4C035DC}"/>
                    </a:ext>
                  </a:extLst>
                </p:cNvPr>
                <p:cNvSpPr/>
                <p:nvPr/>
              </p:nvSpPr>
              <p:spPr>
                <a:xfrm>
                  <a:off x="4564387" y="4273864"/>
                  <a:ext cx="20454" cy="15729"/>
                </a:xfrm>
                <a:custGeom>
                  <a:avLst/>
                  <a:gdLst>
                    <a:gd name="connsiteX0" fmla="*/ 20454 w 20454"/>
                    <a:gd name="connsiteY0" fmla="*/ 0 h 15729"/>
                    <a:gd name="connsiteX1" fmla="*/ 0 w 20454"/>
                    <a:gd name="connsiteY1" fmla="*/ 15729 h 15729"/>
                  </a:gdLst>
                  <a:ahLst/>
                  <a:cxnLst>
                    <a:cxn ang="0">
                      <a:pos x="connsiteX0" y="connsiteY0"/>
                    </a:cxn>
                    <a:cxn ang="0">
                      <a:pos x="connsiteX1" y="connsiteY1"/>
                    </a:cxn>
                  </a:cxnLst>
                  <a:rect l="l" t="t" r="r" b="b"/>
                  <a:pathLst>
                    <a:path w="20454" h="15729">
                      <a:moveTo>
                        <a:pt x="20454" y="0"/>
                      </a:moveTo>
                      <a:cubicBezTo>
                        <a:pt x="13636" y="5263"/>
                        <a:pt x="6818" y="10466"/>
                        <a:pt x="0" y="15729"/>
                      </a:cubicBezTo>
                    </a:path>
                  </a:pathLst>
                </a:custGeom>
                <a:noFill/>
                <a:ln w="6350" cap="rnd">
                  <a:solidFill>
                    <a:schemeClr val="bg1">
                      <a:alpha val="80000"/>
                    </a:schemeClr>
                  </a:solidFill>
                  <a:prstDash val="solid"/>
                  <a:miter/>
                </a:ln>
              </p:spPr>
              <p:txBody>
                <a:bodyPr rtlCol="0" anchor="ctr"/>
                <a:lstStyle/>
                <a:p>
                  <a:endParaRPr lang="en-GB"/>
                </a:p>
              </p:txBody>
            </p:sp>
            <p:sp>
              <p:nvSpPr>
                <p:cNvPr id="8319" name="Vrije vorm: vorm 8318">
                  <a:extLst>
                    <a:ext uri="{FF2B5EF4-FFF2-40B4-BE49-F238E27FC236}">
                      <a16:creationId xmlns:a16="http://schemas.microsoft.com/office/drawing/2014/main" id="{416AF5DC-02C5-4DBB-9DAD-D41537CFE5C5}"/>
                    </a:ext>
                  </a:extLst>
                </p:cNvPr>
                <p:cNvSpPr/>
                <p:nvPr/>
              </p:nvSpPr>
              <p:spPr>
                <a:xfrm>
                  <a:off x="4562174" y="4265610"/>
                  <a:ext cx="19138" cy="14712"/>
                </a:xfrm>
                <a:custGeom>
                  <a:avLst/>
                  <a:gdLst>
                    <a:gd name="connsiteX0" fmla="*/ 19138 w 19138"/>
                    <a:gd name="connsiteY0" fmla="*/ 0 h 14712"/>
                    <a:gd name="connsiteX1" fmla="*/ 0 w 19138"/>
                    <a:gd name="connsiteY1" fmla="*/ 14712 h 14712"/>
                  </a:gdLst>
                  <a:ahLst/>
                  <a:cxnLst>
                    <a:cxn ang="0">
                      <a:pos x="connsiteX0" y="connsiteY0"/>
                    </a:cxn>
                    <a:cxn ang="0">
                      <a:pos x="connsiteX1" y="connsiteY1"/>
                    </a:cxn>
                  </a:cxnLst>
                  <a:rect l="l" t="t" r="r" b="b"/>
                  <a:pathLst>
                    <a:path w="19138" h="14712">
                      <a:moveTo>
                        <a:pt x="19138" y="0"/>
                      </a:moveTo>
                      <a:cubicBezTo>
                        <a:pt x="12739" y="4904"/>
                        <a:pt x="6340" y="9808"/>
                        <a:pt x="0" y="14712"/>
                      </a:cubicBezTo>
                    </a:path>
                  </a:pathLst>
                </a:custGeom>
                <a:noFill/>
                <a:ln w="6350" cap="rnd">
                  <a:solidFill>
                    <a:schemeClr val="bg1">
                      <a:alpha val="80000"/>
                    </a:schemeClr>
                  </a:solidFill>
                  <a:prstDash val="solid"/>
                  <a:miter/>
                </a:ln>
              </p:spPr>
              <p:txBody>
                <a:bodyPr rtlCol="0" anchor="ctr"/>
                <a:lstStyle/>
                <a:p>
                  <a:endParaRPr lang="en-GB"/>
                </a:p>
              </p:txBody>
            </p:sp>
            <p:sp>
              <p:nvSpPr>
                <p:cNvPr id="8320" name="Vrije vorm: vorm 8319">
                  <a:extLst>
                    <a:ext uri="{FF2B5EF4-FFF2-40B4-BE49-F238E27FC236}">
                      <a16:creationId xmlns:a16="http://schemas.microsoft.com/office/drawing/2014/main" id="{EA387F55-510E-4DE3-AE05-26C3956349AA}"/>
                    </a:ext>
                  </a:extLst>
                </p:cNvPr>
                <p:cNvSpPr/>
                <p:nvPr/>
              </p:nvSpPr>
              <p:spPr>
                <a:xfrm>
                  <a:off x="4560021" y="4257297"/>
                  <a:ext cx="17822" cy="13635"/>
                </a:xfrm>
                <a:custGeom>
                  <a:avLst/>
                  <a:gdLst>
                    <a:gd name="connsiteX0" fmla="*/ 17822 w 17822"/>
                    <a:gd name="connsiteY0" fmla="*/ 0 h 13635"/>
                    <a:gd name="connsiteX1" fmla="*/ 0 w 17822"/>
                    <a:gd name="connsiteY1" fmla="*/ 13636 h 13635"/>
                  </a:gdLst>
                  <a:ahLst/>
                  <a:cxnLst>
                    <a:cxn ang="0">
                      <a:pos x="connsiteX0" y="connsiteY0"/>
                    </a:cxn>
                    <a:cxn ang="0">
                      <a:pos x="connsiteX1" y="connsiteY1"/>
                    </a:cxn>
                  </a:cxnLst>
                  <a:rect l="l" t="t" r="r" b="b"/>
                  <a:pathLst>
                    <a:path w="17822" h="13635">
                      <a:moveTo>
                        <a:pt x="17822" y="0"/>
                      </a:moveTo>
                      <a:cubicBezTo>
                        <a:pt x="11842" y="4545"/>
                        <a:pt x="5921" y="9150"/>
                        <a:pt x="0" y="13636"/>
                      </a:cubicBezTo>
                    </a:path>
                  </a:pathLst>
                </a:custGeom>
                <a:noFill/>
                <a:ln w="6350" cap="rnd">
                  <a:solidFill>
                    <a:schemeClr val="bg1">
                      <a:alpha val="80000"/>
                    </a:schemeClr>
                  </a:solidFill>
                  <a:prstDash val="solid"/>
                  <a:miter/>
                </a:ln>
              </p:spPr>
              <p:txBody>
                <a:bodyPr rtlCol="0" anchor="ctr"/>
                <a:lstStyle/>
                <a:p>
                  <a:endParaRPr lang="en-GB"/>
                </a:p>
              </p:txBody>
            </p:sp>
          </p:grpSp>
          <p:sp>
            <p:nvSpPr>
              <p:cNvPr id="8236" name="Vrije vorm: vorm 8235">
                <a:extLst>
                  <a:ext uri="{FF2B5EF4-FFF2-40B4-BE49-F238E27FC236}">
                    <a16:creationId xmlns:a16="http://schemas.microsoft.com/office/drawing/2014/main" id="{3C161EFB-EF3C-4E6B-889B-414151758130}"/>
                  </a:ext>
                </a:extLst>
              </p:cNvPr>
              <p:cNvSpPr/>
              <p:nvPr/>
            </p:nvSpPr>
            <p:spPr>
              <a:xfrm>
                <a:off x="4275458" y="4602145"/>
                <a:ext cx="38814" cy="128047"/>
              </a:xfrm>
              <a:custGeom>
                <a:avLst/>
                <a:gdLst>
                  <a:gd name="connsiteX0" fmla="*/ 0 w 38814"/>
                  <a:gd name="connsiteY0" fmla="*/ 128047 h 128047"/>
                  <a:gd name="connsiteX1" fmla="*/ 38815 w 38814"/>
                  <a:gd name="connsiteY1" fmla="*/ 0 h 128047"/>
                </a:gdLst>
                <a:ahLst/>
                <a:cxnLst>
                  <a:cxn ang="0">
                    <a:pos x="connsiteX0" y="connsiteY0"/>
                  </a:cxn>
                  <a:cxn ang="0">
                    <a:pos x="connsiteX1" y="connsiteY1"/>
                  </a:cxn>
                </a:cxnLst>
                <a:rect l="l" t="t" r="r" b="b"/>
                <a:pathLst>
                  <a:path w="38814" h="128047">
                    <a:moveTo>
                      <a:pt x="0" y="128047"/>
                    </a:moveTo>
                    <a:cubicBezTo>
                      <a:pt x="10167" y="87259"/>
                      <a:pt x="23086" y="44497"/>
                      <a:pt x="38815" y="0"/>
                    </a:cubicBezTo>
                  </a:path>
                </a:pathLst>
              </a:custGeom>
              <a:noFill/>
              <a:ln w="6350" cap="rnd">
                <a:solidFill>
                  <a:schemeClr val="bg1">
                    <a:alpha val="80000"/>
                  </a:schemeClr>
                </a:solidFill>
                <a:prstDash val="solid"/>
                <a:miter/>
              </a:ln>
            </p:spPr>
            <p:txBody>
              <a:bodyPr rtlCol="0" anchor="ctr"/>
              <a:lstStyle/>
              <a:p>
                <a:endParaRPr lang="en-GB"/>
              </a:p>
            </p:txBody>
          </p:sp>
          <p:sp>
            <p:nvSpPr>
              <p:cNvPr id="8237" name="Vrije vorm: vorm 8236">
                <a:extLst>
                  <a:ext uri="{FF2B5EF4-FFF2-40B4-BE49-F238E27FC236}">
                    <a16:creationId xmlns:a16="http://schemas.microsoft.com/office/drawing/2014/main" id="{ACD4A8A8-7B86-4DD2-98B6-488F9174FB5D}"/>
                  </a:ext>
                </a:extLst>
              </p:cNvPr>
              <p:cNvSpPr/>
              <p:nvPr/>
            </p:nvSpPr>
            <p:spPr>
              <a:xfrm>
                <a:off x="4213319" y="4455797"/>
                <a:ext cx="103885" cy="227327"/>
              </a:xfrm>
              <a:custGeom>
                <a:avLst/>
                <a:gdLst>
                  <a:gd name="connsiteX0" fmla="*/ 0 w 103885"/>
                  <a:gd name="connsiteY0" fmla="*/ 227327 h 227327"/>
                  <a:gd name="connsiteX1" fmla="*/ 103885 w 103885"/>
                  <a:gd name="connsiteY1" fmla="*/ 0 h 227327"/>
                </a:gdLst>
                <a:ahLst/>
                <a:cxnLst>
                  <a:cxn ang="0">
                    <a:pos x="connsiteX0" y="connsiteY0"/>
                  </a:cxn>
                  <a:cxn ang="0">
                    <a:pos x="connsiteX1" y="connsiteY1"/>
                  </a:cxn>
                </a:cxnLst>
                <a:rect l="l" t="t" r="r" b="b"/>
                <a:pathLst>
                  <a:path w="103885" h="227327">
                    <a:moveTo>
                      <a:pt x="0" y="227327"/>
                    </a:moveTo>
                    <a:cubicBezTo>
                      <a:pt x="24760" y="157771"/>
                      <a:pt x="59986" y="81158"/>
                      <a:pt x="103885" y="0"/>
                    </a:cubicBezTo>
                  </a:path>
                </a:pathLst>
              </a:custGeom>
              <a:noFill/>
              <a:ln w="6350" cap="rnd">
                <a:solidFill>
                  <a:schemeClr val="bg1">
                    <a:alpha val="80000"/>
                  </a:schemeClr>
                </a:solidFill>
                <a:prstDash val="solid"/>
                <a:miter/>
              </a:ln>
            </p:spPr>
            <p:txBody>
              <a:bodyPr rtlCol="0" anchor="ctr"/>
              <a:lstStyle/>
              <a:p>
                <a:endParaRPr lang="en-GB"/>
              </a:p>
            </p:txBody>
          </p:sp>
          <p:sp>
            <p:nvSpPr>
              <p:cNvPr id="8238" name="Vrije vorm: vorm 8237">
                <a:extLst>
                  <a:ext uri="{FF2B5EF4-FFF2-40B4-BE49-F238E27FC236}">
                    <a16:creationId xmlns:a16="http://schemas.microsoft.com/office/drawing/2014/main" id="{9E8645D8-ED1E-4010-80FC-F4717C4D2859}"/>
                  </a:ext>
                </a:extLst>
              </p:cNvPr>
              <p:cNvSpPr/>
              <p:nvPr/>
            </p:nvSpPr>
            <p:spPr>
              <a:xfrm>
                <a:off x="4298005" y="4450773"/>
                <a:ext cx="25657" cy="19676"/>
              </a:xfrm>
              <a:custGeom>
                <a:avLst/>
                <a:gdLst>
                  <a:gd name="connsiteX0" fmla="*/ 0 w 25657"/>
                  <a:gd name="connsiteY0" fmla="*/ 19677 h 19676"/>
                  <a:gd name="connsiteX1" fmla="*/ 25657 w 25657"/>
                  <a:gd name="connsiteY1" fmla="*/ 0 h 19676"/>
                </a:gdLst>
                <a:ahLst/>
                <a:cxnLst>
                  <a:cxn ang="0">
                    <a:pos x="connsiteX0" y="connsiteY0"/>
                  </a:cxn>
                  <a:cxn ang="0">
                    <a:pos x="connsiteX1" y="connsiteY1"/>
                  </a:cxn>
                </a:cxnLst>
                <a:rect l="l" t="t" r="r" b="b"/>
                <a:pathLst>
                  <a:path w="25657" h="19676">
                    <a:moveTo>
                      <a:pt x="0" y="19677"/>
                    </a:moveTo>
                    <a:cubicBezTo>
                      <a:pt x="8493" y="13158"/>
                      <a:pt x="17045" y="6639"/>
                      <a:pt x="25657" y="0"/>
                    </a:cubicBezTo>
                  </a:path>
                </a:pathLst>
              </a:custGeom>
              <a:noFill/>
              <a:ln w="6350" cap="rnd">
                <a:solidFill>
                  <a:schemeClr val="bg1">
                    <a:alpha val="80000"/>
                  </a:schemeClr>
                </a:solidFill>
                <a:prstDash val="solid"/>
                <a:miter/>
              </a:ln>
            </p:spPr>
            <p:txBody>
              <a:bodyPr rtlCol="0" anchor="ctr"/>
              <a:lstStyle/>
              <a:p>
                <a:endParaRPr lang="en-GB"/>
              </a:p>
            </p:txBody>
          </p:sp>
          <p:sp>
            <p:nvSpPr>
              <p:cNvPr id="8239" name="Vrije vorm: vorm 8238">
                <a:extLst>
                  <a:ext uri="{FF2B5EF4-FFF2-40B4-BE49-F238E27FC236}">
                    <a16:creationId xmlns:a16="http://schemas.microsoft.com/office/drawing/2014/main" id="{D19ECFBA-4E6B-4AD6-B21A-88F998518E77}"/>
                  </a:ext>
                </a:extLst>
              </p:cNvPr>
              <p:cNvSpPr/>
              <p:nvPr/>
            </p:nvSpPr>
            <p:spPr>
              <a:xfrm>
                <a:off x="4243282" y="4514947"/>
                <a:ext cx="629889" cy="436771"/>
              </a:xfrm>
              <a:custGeom>
                <a:avLst/>
                <a:gdLst>
                  <a:gd name="connsiteX0" fmla="*/ 0 w 629889"/>
                  <a:gd name="connsiteY0" fmla="*/ 410397 h 436771"/>
                  <a:gd name="connsiteX1" fmla="*/ 108311 w 629889"/>
                  <a:gd name="connsiteY1" fmla="*/ 436772 h 436771"/>
                  <a:gd name="connsiteX2" fmla="*/ 629890 w 629889"/>
                  <a:gd name="connsiteY2" fmla="*/ 0 h 436771"/>
                </a:gdLst>
                <a:ahLst/>
                <a:cxnLst>
                  <a:cxn ang="0">
                    <a:pos x="connsiteX0" y="connsiteY0"/>
                  </a:cxn>
                  <a:cxn ang="0">
                    <a:pos x="connsiteX1" y="connsiteY1"/>
                  </a:cxn>
                  <a:cxn ang="0">
                    <a:pos x="connsiteX2" y="connsiteY2"/>
                  </a:cxn>
                </a:cxnLst>
                <a:rect l="l" t="t" r="r" b="b"/>
                <a:pathLst>
                  <a:path w="629889" h="436771">
                    <a:moveTo>
                      <a:pt x="0" y="410397"/>
                    </a:moveTo>
                    <a:cubicBezTo>
                      <a:pt x="34928" y="419727"/>
                      <a:pt x="71051" y="428698"/>
                      <a:pt x="108311" y="436772"/>
                    </a:cubicBezTo>
                    <a:cubicBezTo>
                      <a:pt x="232112" y="336774"/>
                      <a:pt x="424033" y="172006"/>
                      <a:pt x="629890" y="0"/>
                    </a:cubicBezTo>
                  </a:path>
                </a:pathLst>
              </a:custGeom>
              <a:noFill/>
              <a:ln w="6350" cap="rnd">
                <a:solidFill>
                  <a:schemeClr val="bg1">
                    <a:alpha val="80000"/>
                  </a:schemeClr>
                </a:solidFill>
                <a:prstDash val="solid"/>
                <a:miter/>
              </a:ln>
            </p:spPr>
            <p:txBody>
              <a:bodyPr rtlCol="0" anchor="ctr"/>
              <a:lstStyle/>
              <a:p>
                <a:endParaRPr lang="en-GB"/>
              </a:p>
            </p:txBody>
          </p:sp>
          <p:sp>
            <p:nvSpPr>
              <p:cNvPr id="8240" name="Vrije vorm: vorm 8239">
                <a:extLst>
                  <a:ext uri="{FF2B5EF4-FFF2-40B4-BE49-F238E27FC236}">
                    <a16:creationId xmlns:a16="http://schemas.microsoft.com/office/drawing/2014/main" id="{0854D49F-DF89-473E-8185-73192E75F7A0}"/>
                  </a:ext>
                </a:extLst>
              </p:cNvPr>
              <p:cNvSpPr/>
              <p:nvPr/>
            </p:nvSpPr>
            <p:spPr>
              <a:xfrm>
                <a:off x="4269896" y="4890536"/>
                <a:ext cx="231992" cy="74280"/>
              </a:xfrm>
              <a:custGeom>
                <a:avLst/>
                <a:gdLst>
                  <a:gd name="connsiteX0" fmla="*/ 231992 w 231992"/>
                  <a:gd name="connsiteY0" fmla="*/ 44556 h 74280"/>
                  <a:gd name="connsiteX1" fmla="*/ 30262 w 231992"/>
                  <a:gd name="connsiteY1" fmla="*/ 0 h 74280"/>
                  <a:gd name="connsiteX2" fmla="*/ 0 w 231992"/>
                  <a:gd name="connsiteY2" fmla="*/ 24401 h 74280"/>
                  <a:gd name="connsiteX3" fmla="*/ 195630 w 231992"/>
                  <a:gd name="connsiteY3" fmla="*/ 74280 h 74280"/>
                  <a:gd name="connsiteX4" fmla="*/ 231992 w 231992"/>
                  <a:gd name="connsiteY4" fmla="*/ 44556 h 74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92" h="74280">
                    <a:moveTo>
                      <a:pt x="231992" y="44556"/>
                    </a:moveTo>
                    <a:cubicBezTo>
                      <a:pt x="162795" y="31698"/>
                      <a:pt x="95572" y="16327"/>
                      <a:pt x="30262" y="0"/>
                    </a:cubicBezTo>
                    <a:cubicBezTo>
                      <a:pt x="19617" y="8612"/>
                      <a:pt x="9510" y="16746"/>
                      <a:pt x="0" y="24401"/>
                    </a:cubicBezTo>
                    <a:cubicBezTo>
                      <a:pt x="62738" y="42463"/>
                      <a:pt x="127928" y="59747"/>
                      <a:pt x="195630" y="74280"/>
                    </a:cubicBezTo>
                    <a:cubicBezTo>
                      <a:pt x="207411" y="64711"/>
                      <a:pt x="219552" y="54843"/>
                      <a:pt x="231992" y="44556"/>
                    </a:cubicBezTo>
                    <a:close/>
                  </a:path>
                </a:pathLst>
              </a:custGeom>
              <a:noFill/>
              <a:ln w="6350" cap="rnd">
                <a:solidFill>
                  <a:schemeClr val="bg1">
                    <a:alpha val="80000"/>
                  </a:schemeClr>
                </a:solidFill>
                <a:prstDash val="solid"/>
                <a:miter/>
              </a:ln>
            </p:spPr>
            <p:txBody>
              <a:bodyPr rtlCol="0" anchor="ctr"/>
              <a:lstStyle/>
              <a:p>
                <a:endParaRPr lang="en-GB"/>
              </a:p>
            </p:txBody>
          </p:sp>
          <p:sp>
            <p:nvSpPr>
              <p:cNvPr id="8241" name="Vrije vorm: vorm 8240">
                <a:extLst>
                  <a:ext uri="{FF2B5EF4-FFF2-40B4-BE49-F238E27FC236}">
                    <a16:creationId xmlns:a16="http://schemas.microsoft.com/office/drawing/2014/main" id="{D67C23BC-505A-463B-B007-CA81E03CC52D}"/>
                  </a:ext>
                </a:extLst>
              </p:cNvPr>
              <p:cNvSpPr/>
              <p:nvPr/>
            </p:nvSpPr>
            <p:spPr>
              <a:xfrm>
                <a:off x="4309428" y="4855130"/>
                <a:ext cx="120212" cy="48144"/>
              </a:xfrm>
              <a:custGeom>
                <a:avLst/>
                <a:gdLst>
                  <a:gd name="connsiteX0" fmla="*/ 120213 w 120212"/>
                  <a:gd name="connsiteY0" fmla="*/ 19437 h 48144"/>
                  <a:gd name="connsiteX1" fmla="*/ 34449 w 120212"/>
                  <a:gd name="connsiteY1" fmla="*/ 0 h 48144"/>
                  <a:gd name="connsiteX2" fmla="*/ 0 w 120212"/>
                  <a:gd name="connsiteY2" fmla="*/ 27870 h 48144"/>
                  <a:gd name="connsiteX3" fmla="*/ 84807 w 120212"/>
                  <a:gd name="connsiteY3" fmla="*/ 48145 h 48144"/>
                  <a:gd name="connsiteX4" fmla="*/ 120213 w 120212"/>
                  <a:gd name="connsiteY4" fmla="*/ 19437 h 4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12" h="48144">
                    <a:moveTo>
                      <a:pt x="120213" y="19437"/>
                    </a:moveTo>
                    <a:cubicBezTo>
                      <a:pt x="91445" y="13157"/>
                      <a:pt x="62857" y="6639"/>
                      <a:pt x="34449" y="0"/>
                    </a:cubicBezTo>
                    <a:cubicBezTo>
                      <a:pt x="22488" y="9749"/>
                      <a:pt x="11005" y="19019"/>
                      <a:pt x="0" y="27870"/>
                    </a:cubicBezTo>
                    <a:cubicBezTo>
                      <a:pt x="27990" y="34807"/>
                      <a:pt x="56219" y="41626"/>
                      <a:pt x="84807" y="48145"/>
                    </a:cubicBezTo>
                    <a:cubicBezTo>
                      <a:pt x="96230" y="38994"/>
                      <a:pt x="108072" y="29365"/>
                      <a:pt x="120213" y="19437"/>
                    </a:cubicBezTo>
                    <a:close/>
                  </a:path>
                </a:pathLst>
              </a:custGeom>
              <a:noFill/>
              <a:ln w="6350" cap="rnd">
                <a:solidFill>
                  <a:schemeClr val="bg1">
                    <a:alpha val="80000"/>
                  </a:schemeClr>
                </a:solidFill>
                <a:prstDash val="solid"/>
                <a:miter/>
              </a:ln>
            </p:spPr>
            <p:txBody>
              <a:bodyPr rtlCol="0" anchor="ctr"/>
              <a:lstStyle/>
              <a:p>
                <a:endParaRPr lang="en-GB"/>
              </a:p>
            </p:txBody>
          </p:sp>
          <p:sp>
            <p:nvSpPr>
              <p:cNvPr id="8242" name="Vrije vorm: vorm 8241">
                <a:extLst>
                  <a:ext uri="{FF2B5EF4-FFF2-40B4-BE49-F238E27FC236}">
                    <a16:creationId xmlns:a16="http://schemas.microsoft.com/office/drawing/2014/main" id="{6718E817-928F-4CF9-B537-04FB6CE0603E}"/>
                  </a:ext>
                </a:extLst>
              </p:cNvPr>
              <p:cNvSpPr/>
              <p:nvPr/>
            </p:nvSpPr>
            <p:spPr>
              <a:xfrm>
                <a:off x="4350995" y="4818528"/>
                <a:ext cx="122365" cy="51374"/>
              </a:xfrm>
              <a:custGeom>
                <a:avLst/>
                <a:gdLst>
                  <a:gd name="connsiteX0" fmla="*/ 122366 w 122365"/>
                  <a:gd name="connsiteY0" fmla="*/ 20215 h 51374"/>
                  <a:gd name="connsiteX1" fmla="*/ 37918 w 122365"/>
                  <a:gd name="connsiteY1" fmla="*/ 0 h 51374"/>
                  <a:gd name="connsiteX2" fmla="*/ 0 w 122365"/>
                  <a:gd name="connsiteY2" fmla="*/ 30860 h 51374"/>
                  <a:gd name="connsiteX3" fmla="*/ 84388 w 122365"/>
                  <a:gd name="connsiteY3" fmla="*/ 51374 h 51374"/>
                  <a:gd name="connsiteX4" fmla="*/ 122366 w 122365"/>
                  <a:gd name="connsiteY4" fmla="*/ 20215 h 51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65" h="51374">
                    <a:moveTo>
                      <a:pt x="122366" y="20215"/>
                    </a:moveTo>
                    <a:cubicBezTo>
                      <a:pt x="94137" y="13636"/>
                      <a:pt x="66027" y="6878"/>
                      <a:pt x="37918" y="0"/>
                    </a:cubicBezTo>
                    <a:cubicBezTo>
                      <a:pt x="24820" y="10645"/>
                      <a:pt x="12141" y="20933"/>
                      <a:pt x="0" y="30860"/>
                    </a:cubicBezTo>
                    <a:cubicBezTo>
                      <a:pt x="27990" y="37798"/>
                      <a:pt x="56159" y="44676"/>
                      <a:pt x="84388" y="51374"/>
                    </a:cubicBezTo>
                    <a:cubicBezTo>
                      <a:pt x="96708" y="41327"/>
                      <a:pt x="109388" y="30920"/>
                      <a:pt x="122366" y="20215"/>
                    </a:cubicBezTo>
                    <a:close/>
                  </a:path>
                </a:pathLst>
              </a:custGeom>
              <a:noFill/>
              <a:ln w="6350" cap="rnd">
                <a:solidFill>
                  <a:schemeClr val="bg1">
                    <a:alpha val="80000"/>
                  </a:schemeClr>
                </a:solidFill>
                <a:prstDash val="solid"/>
                <a:miter/>
              </a:ln>
            </p:spPr>
            <p:txBody>
              <a:bodyPr rtlCol="0" anchor="ctr"/>
              <a:lstStyle/>
              <a:p>
                <a:endParaRPr lang="en-GB"/>
              </a:p>
            </p:txBody>
          </p:sp>
          <p:sp>
            <p:nvSpPr>
              <p:cNvPr id="8243" name="Vrije vorm: vorm 8242">
                <a:extLst>
                  <a:ext uri="{FF2B5EF4-FFF2-40B4-BE49-F238E27FC236}">
                    <a16:creationId xmlns:a16="http://schemas.microsoft.com/office/drawing/2014/main" id="{FD5862DB-6083-46B3-B2F7-B71B5CA82181}"/>
                  </a:ext>
                </a:extLst>
              </p:cNvPr>
              <p:cNvSpPr/>
              <p:nvPr/>
            </p:nvSpPr>
            <p:spPr>
              <a:xfrm>
                <a:off x="4397943" y="4777620"/>
                <a:ext cx="121587" cy="56278"/>
              </a:xfrm>
              <a:custGeom>
                <a:avLst/>
                <a:gdLst>
                  <a:gd name="connsiteX0" fmla="*/ 121588 w 121587"/>
                  <a:gd name="connsiteY0" fmla="*/ 23085 h 56278"/>
                  <a:gd name="connsiteX1" fmla="*/ 41147 w 121587"/>
                  <a:gd name="connsiteY1" fmla="*/ 0 h 56278"/>
                  <a:gd name="connsiteX2" fmla="*/ 0 w 121587"/>
                  <a:gd name="connsiteY2" fmla="*/ 33552 h 56278"/>
                  <a:gd name="connsiteX3" fmla="*/ 81278 w 121587"/>
                  <a:gd name="connsiteY3" fmla="*/ 56278 h 56278"/>
                  <a:gd name="connsiteX4" fmla="*/ 121588 w 121587"/>
                  <a:gd name="connsiteY4" fmla="*/ 23085 h 56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587" h="56278">
                    <a:moveTo>
                      <a:pt x="121588" y="23085"/>
                    </a:moveTo>
                    <a:cubicBezTo>
                      <a:pt x="94854" y="15490"/>
                      <a:pt x="68061" y="7775"/>
                      <a:pt x="41147" y="0"/>
                    </a:cubicBezTo>
                    <a:cubicBezTo>
                      <a:pt x="27033" y="11543"/>
                      <a:pt x="13277" y="22727"/>
                      <a:pt x="0" y="33552"/>
                    </a:cubicBezTo>
                    <a:cubicBezTo>
                      <a:pt x="27092" y="41207"/>
                      <a:pt x="54185" y="48803"/>
                      <a:pt x="81278" y="56278"/>
                    </a:cubicBezTo>
                    <a:cubicBezTo>
                      <a:pt x="94376" y="45513"/>
                      <a:pt x="107832" y="34449"/>
                      <a:pt x="121588" y="23085"/>
                    </a:cubicBezTo>
                    <a:close/>
                  </a:path>
                </a:pathLst>
              </a:custGeom>
              <a:noFill/>
              <a:ln w="6350" cap="rnd">
                <a:solidFill>
                  <a:schemeClr val="bg1">
                    <a:alpha val="80000"/>
                  </a:schemeClr>
                </a:solidFill>
                <a:prstDash val="solid"/>
                <a:miter/>
              </a:ln>
            </p:spPr>
            <p:txBody>
              <a:bodyPr rtlCol="0" anchor="ctr"/>
              <a:lstStyle/>
              <a:p>
                <a:endParaRPr lang="en-GB"/>
              </a:p>
            </p:txBody>
          </p:sp>
          <p:sp>
            <p:nvSpPr>
              <p:cNvPr id="8244" name="Vrije vorm: vorm 8243">
                <a:extLst>
                  <a:ext uri="{FF2B5EF4-FFF2-40B4-BE49-F238E27FC236}">
                    <a16:creationId xmlns:a16="http://schemas.microsoft.com/office/drawing/2014/main" id="{8793FE4C-039A-4C6E-823D-4582EF57B280}"/>
                  </a:ext>
                </a:extLst>
              </p:cNvPr>
              <p:cNvSpPr/>
              <p:nvPr/>
            </p:nvSpPr>
            <p:spPr>
              <a:xfrm>
                <a:off x="4445550" y="4736532"/>
                <a:ext cx="117880" cy="58551"/>
              </a:xfrm>
              <a:custGeom>
                <a:avLst/>
                <a:gdLst>
                  <a:gd name="connsiteX0" fmla="*/ 117880 w 117880"/>
                  <a:gd name="connsiteY0" fmla="*/ 27810 h 58551"/>
                  <a:gd name="connsiteX1" fmla="*/ 43899 w 117880"/>
                  <a:gd name="connsiteY1" fmla="*/ 0 h 58551"/>
                  <a:gd name="connsiteX2" fmla="*/ 0 w 117880"/>
                  <a:gd name="connsiteY2" fmla="*/ 35824 h 58551"/>
                  <a:gd name="connsiteX3" fmla="*/ 80800 w 117880"/>
                  <a:gd name="connsiteY3" fmla="*/ 58551 h 58551"/>
                  <a:gd name="connsiteX4" fmla="*/ 117880 w 117880"/>
                  <a:gd name="connsiteY4" fmla="*/ 27810 h 58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80" h="58551">
                    <a:moveTo>
                      <a:pt x="117880" y="27810"/>
                    </a:moveTo>
                    <a:cubicBezTo>
                      <a:pt x="93359" y="18540"/>
                      <a:pt x="68718" y="9270"/>
                      <a:pt x="43899" y="0"/>
                    </a:cubicBezTo>
                    <a:cubicBezTo>
                      <a:pt x="28887" y="12260"/>
                      <a:pt x="14234" y="24222"/>
                      <a:pt x="0" y="35824"/>
                    </a:cubicBezTo>
                    <a:cubicBezTo>
                      <a:pt x="26973" y="43480"/>
                      <a:pt x="53886" y="51015"/>
                      <a:pt x="80800" y="58551"/>
                    </a:cubicBezTo>
                    <a:cubicBezTo>
                      <a:pt x="92881" y="48504"/>
                      <a:pt x="105261" y="38276"/>
                      <a:pt x="117880" y="27810"/>
                    </a:cubicBezTo>
                    <a:close/>
                  </a:path>
                </a:pathLst>
              </a:custGeom>
              <a:noFill/>
              <a:ln w="6350" cap="rnd">
                <a:solidFill>
                  <a:schemeClr val="bg1">
                    <a:alpha val="80000"/>
                  </a:schemeClr>
                </a:solidFill>
                <a:prstDash val="solid"/>
                <a:miter/>
              </a:ln>
            </p:spPr>
            <p:txBody>
              <a:bodyPr rtlCol="0" anchor="ctr"/>
              <a:lstStyle/>
              <a:p>
                <a:endParaRPr lang="en-GB"/>
              </a:p>
            </p:txBody>
          </p:sp>
          <p:sp>
            <p:nvSpPr>
              <p:cNvPr id="8245" name="Vrije vorm: vorm 8244">
                <a:extLst>
                  <a:ext uri="{FF2B5EF4-FFF2-40B4-BE49-F238E27FC236}">
                    <a16:creationId xmlns:a16="http://schemas.microsoft.com/office/drawing/2014/main" id="{410594AE-DDA7-44B2-8A21-6D6557BE712C}"/>
                  </a:ext>
                </a:extLst>
              </p:cNvPr>
              <p:cNvSpPr/>
              <p:nvPr/>
            </p:nvSpPr>
            <p:spPr>
              <a:xfrm>
                <a:off x="4496984" y="4692394"/>
                <a:ext cx="116624" cy="65907"/>
              </a:xfrm>
              <a:custGeom>
                <a:avLst/>
                <a:gdLst>
                  <a:gd name="connsiteX0" fmla="*/ 116624 w 116624"/>
                  <a:gd name="connsiteY0" fmla="*/ 30262 h 65907"/>
                  <a:gd name="connsiteX1" fmla="*/ 46351 w 116624"/>
                  <a:gd name="connsiteY1" fmla="*/ 0 h 65907"/>
                  <a:gd name="connsiteX2" fmla="*/ 0 w 116624"/>
                  <a:gd name="connsiteY2" fmla="*/ 37918 h 65907"/>
                  <a:gd name="connsiteX3" fmla="*/ 73683 w 116624"/>
                  <a:gd name="connsiteY3" fmla="*/ 65908 h 65907"/>
                  <a:gd name="connsiteX4" fmla="*/ 116624 w 116624"/>
                  <a:gd name="connsiteY4" fmla="*/ 30262 h 65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624" h="65907">
                    <a:moveTo>
                      <a:pt x="116624" y="30262"/>
                    </a:moveTo>
                    <a:cubicBezTo>
                      <a:pt x="93359" y="20155"/>
                      <a:pt x="69974" y="10107"/>
                      <a:pt x="46351" y="0"/>
                    </a:cubicBezTo>
                    <a:cubicBezTo>
                      <a:pt x="30561" y="12918"/>
                      <a:pt x="15131" y="25538"/>
                      <a:pt x="0" y="37918"/>
                    </a:cubicBezTo>
                    <a:cubicBezTo>
                      <a:pt x="24700" y="47248"/>
                      <a:pt x="49221" y="56578"/>
                      <a:pt x="73683" y="65908"/>
                    </a:cubicBezTo>
                    <a:cubicBezTo>
                      <a:pt x="87797" y="54245"/>
                      <a:pt x="102091" y="42344"/>
                      <a:pt x="116624" y="30262"/>
                    </a:cubicBezTo>
                    <a:close/>
                  </a:path>
                </a:pathLst>
              </a:custGeom>
              <a:noFill/>
              <a:ln w="6350" cap="rnd">
                <a:solidFill>
                  <a:schemeClr val="bg1">
                    <a:alpha val="80000"/>
                  </a:schemeClr>
                </a:solidFill>
                <a:prstDash val="solid"/>
                <a:miter/>
              </a:ln>
            </p:spPr>
            <p:txBody>
              <a:bodyPr rtlCol="0" anchor="ctr"/>
              <a:lstStyle/>
              <a:p>
                <a:endParaRPr lang="en-GB"/>
              </a:p>
            </p:txBody>
          </p:sp>
          <p:sp>
            <p:nvSpPr>
              <p:cNvPr id="8246" name="Vrije vorm: vorm 8245">
                <a:extLst>
                  <a:ext uri="{FF2B5EF4-FFF2-40B4-BE49-F238E27FC236}">
                    <a16:creationId xmlns:a16="http://schemas.microsoft.com/office/drawing/2014/main" id="{83FF3952-2EEB-4176-952D-12ACC9B08FA6}"/>
                  </a:ext>
                </a:extLst>
              </p:cNvPr>
              <p:cNvSpPr/>
              <p:nvPr/>
            </p:nvSpPr>
            <p:spPr>
              <a:xfrm>
                <a:off x="4550870" y="4646642"/>
                <a:ext cx="114351" cy="70154"/>
              </a:xfrm>
              <a:custGeom>
                <a:avLst/>
                <a:gdLst>
                  <a:gd name="connsiteX0" fmla="*/ 114352 w 114351"/>
                  <a:gd name="connsiteY0" fmla="*/ 33133 h 70154"/>
                  <a:gd name="connsiteX1" fmla="*/ 48444 w 114351"/>
                  <a:gd name="connsiteY1" fmla="*/ 0 h 70154"/>
                  <a:gd name="connsiteX2" fmla="*/ 0 w 114351"/>
                  <a:gd name="connsiteY2" fmla="*/ 39652 h 70154"/>
                  <a:gd name="connsiteX3" fmla="*/ 69855 w 114351"/>
                  <a:gd name="connsiteY3" fmla="*/ 70154 h 70154"/>
                  <a:gd name="connsiteX4" fmla="*/ 114352 w 114351"/>
                  <a:gd name="connsiteY4" fmla="*/ 33133 h 70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51" h="70154">
                    <a:moveTo>
                      <a:pt x="114352" y="33133"/>
                    </a:moveTo>
                    <a:cubicBezTo>
                      <a:pt x="92522" y="22069"/>
                      <a:pt x="70573" y="11005"/>
                      <a:pt x="48444" y="0"/>
                    </a:cubicBezTo>
                    <a:cubicBezTo>
                      <a:pt x="31997" y="13457"/>
                      <a:pt x="15849" y="26674"/>
                      <a:pt x="0" y="39652"/>
                    </a:cubicBezTo>
                    <a:cubicBezTo>
                      <a:pt x="23445" y="49820"/>
                      <a:pt x="46710" y="59987"/>
                      <a:pt x="69855" y="70154"/>
                    </a:cubicBezTo>
                    <a:cubicBezTo>
                      <a:pt x="84448" y="58013"/>
                      <a:pt x="99280" y="45693"/>
                      <a:pt x="114352" y="33133"/>
                    </a:cubicBezTo>
                    <a:close/>
                  </a:path>
                </a:pathLst>
              </a:custGeom>
              <a:noFill/>
              <a:ln w="6350" cap="rnd">
                <a:solidFill>
                  <a:schemeClr val="bg1">
                    <a:alpha val="80000"/>
                  </a:schemeClr>
                </a:solidFill>
                <a:prstDash val="solid"/>
                <a:miter/>
              </a:ln>
            </p:spPr>
            <p:txBody>
              <a:bodyPr rtlCol="0" anchor="ctr"/>
              <a:lstStyle/>
              <a:p>
                <a:endParaRPr lang="en-GB"/>
              </a:p>
            </p:txBody>
          </p:sp>
          <p:sp>
            <p:nvSpPr>
              <p:cNvPr id="8247" name="Vrije vorm: vorm 8246">
                <a:extLst>
                  <a:ext uri="{FF2B5EF4-FFF2-40B4-BE49-F238E27FC236}">
                    <a16:creationId xmlns:a16="http://schemas.microsoft.com/office/drawing/2014/main" id="{67039DE8-A100-44D6-86FD-3317B953798F}"/>
                  </a:ext>
                </a:extLst>
              </p:cNvPr>
              <p:cNvSpPr/>
              <p:nvPr/>
            </p:nvSpPr>
            <p:spPr>
              <a:xfrm>
                <a:off x="4608225" y="4598198"/>
                <a:ext cx="107354" cy="75656"/>
              </a:xfrm>
              <a:custGeom>
                <a:avLst/>
                <a:gdLst>
                  <a:gd name="connsiteX0" fmla="*/ 107354 w 107354"/>
                  <a:gd name="connsiteY0" fmla="*/ 39712 h 75656"/>
                  <a:gd name="connsiteX1" fmla="*/ 50298 w 107354"/>
                  <a:gd name="connsiteY1" fmla="*/ 0 h 75656"/>
                  <a:gd name="connsiteX2" fmla="*/ 0 w 107354"/>
                  <a:gd name="connsiteY2" fmla="*/ 41147 h 75656"/>
                  <a:gd name="connsiteX3" fmla="*/ 64114 w 107354"/>
                  <a:gd name="connsiteY3" fmla="*/ 75656 h 75656"/>
                  <a:gd name="connsiteX4" fmla="*/ 107354 w 107354"/>
                  <a:gd name="connsiteY4" fmla="*/ 39712 h 75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4" h="75656">
                    <a:moveTo>
                      <a:pt x="107354" y="39712"/>
                    </a:moveTo>
                    <a:cubicBezTo>
                      <a:pt x="88455" y="26435"/>
                      <a:pt x="69436" y="13218"/>
                      <a:pt x="50298" y="0"/>
                    </a:cubicBezTo>
                    <a:cubicBezTo>
                      <a:pt x="33313" y="13935"/>
                      <a:pt x="16507" y="27631"/>
                      <a:pt x="0" y="41147"/>
                    </a:cubicBezTo>
                    <a:cubicBezTo>
                      <a:pt x="21530" y="52630"/>
                      <a:pt x="42882" y="64113"/>
                      <a:pt x="64114" y="75656"/>
                    </a:cubicBezTo>
                    <a:cubicBezTo>
                      <a:pt x="78347" y="63814"/>
                      <a:pt x="92761" y="51853"/>
                      <a:pt x="107354" y="39712"/>
                    </a:cubicBezTo>
                    <a:close/>
                  </a:path>
                </a:pathLst>
              </a:custGeom>
              <a:noFill/>
              <a:ln w="6350" cap="rnd">
                <a:solidFill>
                  <a:schemeClr val="bg1">
                    <a:alpha val="80000"/>
                  </a:schemeClr>
                </a:solidFill>
                <a:prstDash val="solid"/>
                <a:miter/>
              </a:ln>
            </p:spPr>
            <p:txBody>
              <a:bodyPr rtlCol="0" anchor="ctr"/>
              <a:lstStyle/>
              <a:p>
                <a:endParaRPr lang="en-GB"/>
              </a:p>
            </p:txBody>
          </p:sp>
          <p:sp>
            <p:nvSpPr>
              <p:cNvPr id="8248" name="Vrije vorm: vorm 8247">
                <a:extLst>
                  <a:ext uri="{FF2B5EF4-FFF2-40B4-BE49-F238E27FC236}">
                    <a16:creationId xmlns:a16="http://schemas.microsoft.com/office/drawing/2014/main" id="{92AF3BA4-C882-4EAC-A6B1-75F9A3128D99}"/>
                  </a:ext>
                </a:extLst>
              </p:cNvPr>
              <p:cNvSpPr/>
              <p:nvPr/>
            </p:nvSpPr>
            <p:spPr>
              <a:xfrm>
                <a:off x="4668571" y="4547601"/>
                <a:ext cx="102868" cy="83610"/>
              </a:xfrm>
              <a:custGeom>
                <a:avLst/>
                <a:gdLst>
                  <a:gd name="connsiteX0" fmla="*/ 102868 w 102868"/>
                  <a:gd name="connsiteY0" fmla="*/ 43959 h 83610"/>
                  <a:gd name="connsiteX1" fmla="*/ 51853 w 102868"/>
                  <a:gd name="connsiteY1" fmla="*/ 0 h 83610"/>
                  <a:gd name="connsiteX2" fmla="*/ 0 w 102868"/>
                  <a:gd name="connsiteY2" fmla="*/ 42403 h 83610"/>
                  <a:gd name="connsiteX3" fmla="*/ 55082 w 102868"/>
                  <a:gd name="connsiteY3" fmla="*/ 83611 h 83610"/>
                  <a:gd name="connsiteX4" fmla="*/ 102868 w 102868"/>
                  <a:gd name="connsiteY4" fmla="*/ 43959 h 83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68" h="83610">
                    <a:moveTo>
                      <a:pt x="102868" y="43959"/>
                    </a:moveTo>
                    <a:cubicBezTo>
                      <a:pt x="85943" y="29246"/>
                      <a:pt x="68958" y="14593"/>
                      <a:pt x="51853" y="0"/>
                    </a:cubicBezTo>
                    <a:cubicBezTo>
                      <a:pt x="34389" y="14294"/>
                      <a:pt x="17105" y="28468"/>
                      <a:pt x="0" y="42403"/>
                    </a:cubicBezTo>
                    <a:cubicBezTo>
                      <a:pt x="18480" y="56099"/>
                      <a:pt x="36841" y="69855"/>
                      <a:pt x="55082" y="83611"/>
                    </a:cubicBezTo>
                    <a:cubicBezTo>
                      <a:pt x="70812" y="70573"/>
                      <a:pt x="86780" y="57295"/>
                      <a:pt x="102868" y="43959"/>
                    </a:cubicBezTo>
                    <a:close/>
                  </a:path>
                </a:pathLst>
              </a:custGeom>
              <a:noFill/>
              <a:ln w="6350" cap="rnd">
                <a:solidFill>
                  <a:schemeClr val="bg1">
                    <a:alpha val="80000"/>
                  </a:schemeClr>
                </a:solidFill>
                <a:prstDash val="solid"/>
                <a:miter/>
              </a:ln>
            </p:spPr>
            <p:txBody>
              <a:bodyPr rtlCol="0" anchor="ctr"/>
              <a:lstStyle/>
              <a:p>
                <a:endParaRPr lang="en-GB"/>
              </a:p>
            </p:txBody>
          </p:sp>
          <p:sp>
            <p:nvSpPr>
              <p:cNvPr id="8249" name="Vrije vorm: vorm 8248">
                <a:extLst>
                  <a:ext uri="{FF2B5EF4-FFF2-40B4-BE49-F238E27FC236}">
                    <a16:creationId xmlns:a16="http://schemas.microsoft.com/office/drawing/2014/main" id="{0E006FFC-A061-4A88-9E5A-9E2BDD28AAC5}"/>
                  </a:ext>
                </a:extLst>
              </p:cNvPr>
              <p:cNvSpPr/>
              <p:nvPr/>
            </p:nvSpPr>
            <p:spPr>
              <a:xfrm>
                <a:off x="4445550" y="4564467"/>
                <a:ext cx="463326" cy="326846"/>
              </a:xfrm>
              <a:custGeom>
                <a:avLst/>
                <a:gdLst>
                  <a:gd name="connsiteX0" fmla="*/ 0 w 463326"/>
                  <a:gd name="connsiteY0" fmla="*/ 310101 h 326846"/>
                  <a:gd name="connsiteX1" fmla="*/ 77570 w 463326"/>
                  <a:gd name="connsiteY1" fmla="*/ 326847 h 326846"/>
                  <a:gd name="connsiteX2" fmla="*/ 463327 w 463326"/>
                  <a:gd name="connsiteY2" fmla="*/ 0 h 326846"/>
                </a:gdLst>
                <a:ahLst/>
                <a:cxnLst>
                  <a:cxn ang="0">
                    <a:pos x="connsiteX0" y="connsiteY0"/>
                  </a:cxn>
                  <a:cxn ang="0">
                    <a:pos x="connsiteX1" y="connsiteY1"/>
                  </a:cxn>
                  <a:cxn ang="0">
                    <a:pos x="connsiteX2" y="connsiteY2"/>
                  </a:cxn>
                </a:cxnLst>
                <a:rect l="l" t="t" r="r" b="b"/>
                <a:pathLst>
                  <a:path w="463326" h="326846">
                    <a:moveTo>
                      <a:pt x="0" y="310101"/>
                    </a:moveTo>
                    <a:cubicBezTo>
                      <a:pt x="25717" y="315902"/>
                      <a:pt x="51554" y="321464"/>
                      <a:pt x="77570" y="326847"/>
                    </a:cubicBezTo>
                    <a:cubicBezTo>
                      <a:pt x="188632" y="233846"/>
                      <a:pt x="322600" y="118179"/>
                      <a:pt x="463327" y="0"/>
                    </a:cubicBezTo>
                  </a:path>
                </a:pathLst>
              </a:custGeom>
              <a:noFill/>
              <a:ln w="6350" cap="rnd">
                <a:solidFill>
                  <a:schemeClr val="bg1">
                    <a:alpha val="80000"/>
                  </a:schemeClr>
                </a:solidFill>
                <a:prstDash val="solid"/>
                <a:miter/>
              </a:ln>
            </p:spPr>
            <p:txBody>
              <a:bodyPr rtlCol="0" anchor="ctr"/>
              <a:lstStyle/>
              <a:p>
                <a:endParaRPr lang="en-GB"/>
              </a:p>
            </p:txBody>
          </p:sp>
          <p:sp>
            <p:nvSpPr>
              <p:cNvPr id="8250" name="Vrije vorm: vorm 8249">
                <a:extLst>
                  <a:ext uri="{FF2B5EF4-FFF2-40B4-BE49-F238E27FC236}">
                    <a16:creationId xmlns:a16="http://schemas.microsoft.com/office/drawing/2014/main" id="{F3B912EC-62ED-4A43-A5D0-BC8E67B2CCCC}"/>
                  </a:ext>
                </a:extLst>
              </p:cNvPr>
              <p:cNvSpPr/>
              <p:nvPr/>
            </p:nvSpPr>
            <p:spPr>
              <a:xfrm>
                <a:off x="4458229" y="4864161"/>
                <a:ext cx="76553" cy="17404"/>
              </a:xfrm>
              <a:custGeom>
                <a:avLst/>
                <a:gdLst>
                  <a:gd name="connsiteX0" fmla="*/ 0 w 76553"/>
                  <a:gd name="connsiteY0" fmla="*/ 0 h 17404"/>
                  <a:gd name="connsiteX1" fmla="*/ 76554 w 76553"/>
                  <a:gd name="connsiteY1" fmla="*/ 17404 h 17404"/>
                </a:gdLst>
                <a:ahLst/>
                <a:cxnLst>
                  <a:cxn ang="0">
                    <a:pos x="connsiteX0" y="connsiteY0"/>
                  </a:cxn>
                  <a:cxn ang="0">
                    <a:pos x="connsiteX1" y="connsiteY1"/>
                  </a:cxn>
                </a:cxnLst>
                <a:rect l="l" t="t" r="r" b="b"/>
                <a:pathLst>
                  <a:path w="76553" h="17404">
                    <a:moveTo>
                      <a:pt x="0" y="0"/>
                    </a:moveTo>
                    <a:cubicBezTo>
                      <a:pt x="25418" y="5981"/>
                      <a:pt x="50956" y="11782"/>
                      <a:pt x="76554" y="17404"/>
                    </a:cubicBezTo>
                  </a:path>
                </a:pathLst>
              </a:custGeom>
              <a:noFill/>
              <a:ln w="6350" cap="rnd">
                <a:solidFill>
                  <a:schemeClr val="bg1">
                    <a:alpha val="80000"/>
                  </a:schemeClr>
                </a:solidFill>
                <a:prstDash val="solid"/>
                <a:miter/>
              </a:ln>
            </p:spPr>
            <p:txBody>
              <a:bodyPr rtlCol="0" anchor="ctr"/>
              <a:lstStyle/>
              <a:p>
                <a:endParaRPr lang="en-GB"/>
              </a:p>
            </p:txBody>
          </p:sp>
          <p:sp>
            <p:nvSpPr>
              <p:cNvPr id="8251" name="Vrije vorm: vorm 8250">
                <a:extLst>
                  <a:ext uri="{FF2B5EF4-FFF2-40B4-BE49-F238E27FC236}">
                    <a16:creationId xmlns:a16="http://schemas.microsoft.com/office/drawing/2014/main" id="{0534D926-3DFD-4F31-94EF-259004A816AC}"/>
                  </a:ext>
                </a:extLst>
              </p:cNvPr>
              <p:cNvSpPr/>
              <p:nvPr/>
            </p:nvSpPr>
            <p:spPr>
              <a:xfrm>
                <a:off x="4468336" y="4855848"/>
                <a:ext cx="76613" cy="17164"/>
              </a:xfrm>
              <a:custGeom>
                <a:avLst/>
                <a:gdLst>
                  <a:gd name="connsiteX0" fmla="*/ 0 w 76613"/>
                  <a:gd name="connsiteY0" fmla="*/ 0 h 17164"/>
                  <a:gd name="connsiteX1" fmla="*/ 76613 w 76613"/>
                  <a:gd name="connsiteY1" fmla="*/ 17165 h 17164"/>
                </a:gdLst>
                <a:ahLst/>
                <a:cxnLst>
                  <a:cxn ang="0">
                    <a:pos x="connsiteX0" y="connsiteY0"/>
                  </a:cxn>
                  <a:cxn ang="0">
                    <a:pos x="connsiteX1" y="connsiteY1"/>
                  </a:cxn>
                </a:cxnLst>
                <a:rect l="l" t="t" r="r" b="b"/>
                <a:pathLst>
                  <a:path w="76613" h="17164">
                    <a:moveTo>
                      <a:pt x="0" y="0"/>
                    </a:moveTo>
                    <a:cubicBezTo>
                      <a:pt x="25478" y="5921"/>
                      <a:pt x="51016" y="11603"/>
                      <a:pt x="76613" y="17165"/>
                    </a:cubicBezTo>
                  </a:path>
                </a:pathLst>
              </a:custGeom>
              <a:noFill/>
              <a:ln w="6350" cap="rnd">
                <a:solidFill>
                  <a:schemeClr val="bg1">
                    <a:alpha val="80000"/>
                  </a:schemeClr>
                </a:solidFill>
                <a:prstDash val="solid"/>
                <a:miter/>
              </a:ln>
            </p:spPr>
            <p:txBody>
              <a:bodyPr rtlCol="0" anchor="ctr"/>
              <a:lstStyle/>
              <a:p>
                <a:endParaRPr lang="en-GB"/>
              </a:p>
            </p:txBody>
          </p:sp>
          <p:sp>
            <p:nvSpPr>
              <p:cNvPr id="8252" name="Vrije vorm: vorm 8251">
                <a:extLst>
                  <a:ext uri="{FF2B5EF4-FFF2-40B4-BE49-F238E27FC236}">
                    <a16:creationId xmlns:a16="http://schemas.microsoft.com/office/drawing/2014/main" id="{49C8D4B1-1BA5-4D05-965C-7DB92B2B8029}"/>
                  </a:ext>
                </a:extLst>
              </p:cNvPr>
              <p:cNvSpPr/>
              <p:nvPr/>
            </p:nvSpPr>
            <p:spPr>
              <a:xfrm>
                <a:off x="4501051" y="4828934"/>
                <a:ext cx="72725" cy="19317"/>
              </a:xfrm>
              <a:custGeom>
                <a:avLst/>
                <a:gdLst>
                  <a:gd name="connsiteX0" fmla="*/ 0 w 72725"/>
                  <a:gd name="connsiteY0" fmla="*/ 0 h 19317"/>
                  <a:gd name="connsiteX1" fmla="*/ 72725 w 72725"/>
                  <a:gd name="connsiteY1" fmla="*/ 19318 h 19317"/>
                </a:gdLst>
                <a:ahLst/>
                <a:cxnLst>
                  <a:cxn ang="0">
                    <a:pos x="connsiteX0" y="connsiteY0"/>
                  </a:cxn>
                  <a:cxn ang="0">
                    <a:pos x="connsiteX1" y="connsiteY1"/>
                  </a:cxn>
                </a:cxnLst>
                <a:rect l="l" t="t" r="r" b="b"/>
                <a:pathLst>
                  <a:path w="72725" h="19317">
                    <a:moveTo>
                      <a:pt x="0" y="0"/>
                    </a:moveTo>
                    <a:cubicBezTo>
                      <a:pt x="24222" y="6579"/>
                      <a:pt x="48444" y="12978"/>
                      <a:pt x="72725" y="19318"/>
                    </a:cubicBezTo>
                  </a:path>
                </a:pathLst>
              </a:custGeom>
              <a:noFill/>
              <a:ln w="6350" cap="rnd">
                <a:solidFill>
                  <a:schemeClr val="bg1">
                    <a:alpha val="80000"/>
                  </a:schemeClr>
                </a:solidFill>
                <a:prstDash val="solid"/>
                <a:miter/>
              </a:ln>
            </p:spPr>
            <p:txBody>
              <a:bodyPr rtlCol="0" anchor="ctr"/>
              <a:lstStyle/>
              <a:p>
                <a:endParaRPr lang="en-GB"/>
              </a:p>
            </p:txBody>
          </p:sp>
          <p:sp>
            <p:nvSpPr>
              <p:cNvPr id="8253" name="Vrije vorm: vorm 8252">
                <a:extLst>
                  <a:ext uri="{FF2B5EF4-FFF2-40B4-BE49-F238E27FC236}">
                    <a16:creationId xmlns:a16="http://schemas.microsoft.com/office/drawing/2014/main" id="{75FF5ABB-62B3-45E9-9824-206E78003BBE}"/>
                  </a:ext>
                </a:extLst>
              </p:cNvPr>
              <p:cNvSpPr/>
              <p:nvPr/>
            </p:nvSpPr>
            <p:spPr>
              <a:xfrm>
                <a:off x="4511697" y="4820143"/>
                <a:ext cx="73024" cy="18958"/>
              </a:xfrm>
              <a:custGeom>
                <a:avLst/>
                <a:gdLst>
                  <a:gd name="connsiteX0" fmla="*/ 0 w 73024"/>
                  <a:gd name="connsiteY0" fmla="*/ 0 h 18958"/>
                  <a:gd name="connsiteX1" fmla="*/ 73025 w 73024"/>
                  <a:gd name="connsiteY1" fmla="*/ 18959 h 18958"/>
                </a:gdLst>
                <a:ahLst/>
                <a:cxnLst>
                  <a:cxn ang="0">
                    <a:pos x="connsiteX0" y="connsiteY0"/>
                  </a:cxn>
                  <a:cxn ang="0">
                    <a:pos x="connsiteX1" y="connsiteY1"/>
                  </a:cxn>
                </a:cxnLst>
                <a:rect l="l" t="t" r="r" b="b"/>
                <a:pathLst>
                  <a:path w="73024" h="18958">
                    <a:moveTo>
                      <a:pt x="0" y="0"/>
                    </a:moveTo>
                    <a:cubicBezTo>
                      <a:pt x="24342" y="6399"/>
                      <a:pt x="48683" y="12739"/>
                      <a:pt x="73025" y="18959"/>
                    </a:cubicBezTo>
                  </a:path>
                </a:pathLst>
              </a:custGeom>
              <a:noFill/>
              <a:ln w="6350" cap="rnd">
                <a:solidFill>
                  <a:schemeClr val="bg1">
                    <a:alpha val="80000"/>
                  </a:schemeClr>
                </a:solidFill>
                <a:prstDash val="solid"/>
                <a:miter/>
              </a:ln>
            </p:spPr>
            <p:txBody>
              <a:bodyPr rtlCol="0" anchor="ctr"/>
              <a:lstStyle/>
              <a:p>
                <a:endParaRPr lang="en-GB"/>
              </a:p>
            </p:txBody>
          </p:sp>
          <p:sp>
            <p:nvSpPr>
              <p:cNvPr id="8254" name="Vrije vorm: vorm 8253">
                <a:extLst>
                  <a:ext uri="{FF2B5EF4-FFF2-40B4-BE49-F238E27FC236}">
                    <a16:creationId xmlns:a16="http://schemas.microsoft.com/office/drawing/2014/main" id="{E3430950-023F-48B9-9242-240B8EDFCFF9}"/>
                  </a:ext>
                </a:extLst>
              </p:cNvPr>
              <p:cNvSpPr/>
              <p:nvPr/>
            </p:nvSpPr>
            <p:spPr>
              <a:xfrm>
                <a:off x="4531014" y="4803337"/>
                <a:ext cx="69735" cy="22248"/>
              </a:xfrm>
              <a:custGeom>
                <a:avLst/>
                <a:gdLst>
                  <a:gd name="connsiteX0" fmla="*/ 0 w 69735"/>
                  <a:gd name="connsiteY0" fmla="*/ 0 h 22248"/>
                  <a:gd name="connsiteX1" fmla="*/ 69735 w 69735"/>
                  <a:gd name="connsiteY1" fmla="*/ 22248 h 22248"/>
                </a:gdLst>
                <a:ahLst/>
                <a:cxnLst>
                  <a:cxn ang="0">
                    <a:pos x="connsiteX0" y="connsiteY0"/>
                  </a:cxn>
                  <a:cxn ang="0">
                    <a:pos x="connsiteX1" y="connsiteY1"/>
                  </a:cxn>
                </a:cxnLst>
                <a:rect l="l" t="t" r="r" b="b"/>
                <a:pathLst>
                  <a:path w="69735" h="22248">
                    <a:moveTo>
                      <a:pt x="0" y="0"/>
                    </a:moveTo>
                    <a:cubicBezTo>
                      <a:pt x="23265" y="7476"/>
                      <a:pt x="46530" y="14892"/>
                      <a:pt x="69735" y="22248"/>
                    </a:cubicBezTo>
                  </a:path>
                </a:pathLst>
              </a:custGeom>
              <a:noFill/>
              <a:ln w="6350" cap="rnd">
                <a:solidFill>
                  <a:schemeClr val="bg1">
                    <a:alpha val="80000"/>
                  </a:schemeClr>
                </a:solidFill>
                <a:prstDash val="solid"/>
                <a:miter/>
              </a:ln>
            </p:spPr>
            <p:txBody>
              <a:bodyPr rtlCol="0" anchor="ctr"/>
              <a:lstStyle/>
              <a:p>
                <a:endParaRPr lang="en-GB"/>
              </a:p>
            </p:txBody>
          </p:sp>
          <p:sp>
            <p:nvSpPr>
              <p:cNvPr id="8255" name="Vrije vorm: vorm 8254">
                <a:extLst>
                  <a:ext uri="{FF2B5EF4-FFF2-40B4-BE49-F238E27FC236}">
                    <a16:creationId xmlns:a16="http://schemas.microsoft.com/office/drawing/2014/main" id="{BDA7FF8C-7CAB-4E70-91D2-7283F7D77F4B}"/>
                  </a:ext>
                </a:extLst>
              </p:cNvPr>
              <p:cNvSpPr/>
              <p:nvPr/>
            </p:nvSpPr>
            <p:spPr>
              <a:xfrm>
                <a:off x="4574674" y="4766256"/>
                <a:ext cx="67940" cy="23504"/>
              </a:xfrm>
              <a:custGeom>
                <a:avLst/>
                <a:gdLst>
                  <a:gd name="connsiteX0" fmla="*/ 0 w 67940"/>
                  <a:gd name="connsiteY0" fmla="*/ 0 h 23504"/>
                  <a:gd name="connsiteX1" fmla="*/ 67941 w 67940"/>
                  <a:gd name="connsiteY1" fmla="*/ 23504 h 23504"/>
                </a:gdLst>
                <a:ahLst/>
                <a:cxnLst>
                  <a:cxn ang="0">
                    <a:pos x="connsiteX0" y="connsiteY0"/>
                  </a:cxn>
                  <a:cxn ang="0">
                    <a:pos x="connsiteX1" y="connsiteY1"/>
                  </a:cxn>
                </a:cxnLst>
                <a:rect l="l" t="t" r="r" b="b"/>
                <a:pathLst>
                  <a:path w="67940" h="23504">
                    <a:moveTo>
                      <a:pt x="0" y="0"/>
                    </a:moveTo>
                    <a:cubicBezTo>
                      <a:pt x="22727" y="7895"/>
                      <a:pt x="45393" y="15729"/>
                      <a:pt x="67941" y="23504"/>
                    </a:cubicBezTo>
                  </a:path>
                </a:pathLst>
              </a:custGeom>
              <a:noFill/>
              <a:ln w="6350" cap="rnd">
                <a:solidFill>
                  <a:schemeClr val="bg1">
                    <a:alpha val="80000"/>
                  </a:schemeClr>
                </a:solidFill>
                <a:prstDash val="solid"/>
                <a:miter/>
              </a:ln>
            </p:spPr>
            <p:txBody>
              <a:bodyPr rtlCol="0" anchor="ctr"/>
              <a:lstStyle/>
              <a:p>
                <a:endParaRPr lang="en-GB"/>
              </a:p>
            </p:txBody>
          </p:sp>
          <p:sp>
            <p:nvSpPr>
              <p:cNvPr id="8256" name="Vrije vorm: vorm 8255">
                <a:extLst>
                  <a:ext uri="{FF2B5EF4-FFF2-40B4-BE49-F238E27FC236}">
                    <a16:creationId xmlns:a16="http://schemas.microsoft.com/office/drawing/2014/main" id="{23B55DD4-91DD-4F71-AFA5-4BCAFBE03EEC}"/>
                  </a:ext>
                </a:extLst>
              </p:cNvPr>
              <p:cNvSpPr/>
              <p:nvPr/>
            </p:nvSpPr>
            <p:spPr>
              <a:xfrm>
                <a:off x="4543993" y="4791674"/>
                <a:ext cx="71051" cy="22068"/>
              </a:xfrm>
              <a:custGeom>
                <a:avLst/>
                <a:gdLst>
                  <a:gd name="connsiteX0" fmla="*/ 0 w 71051"/>
                  <a:gd name="connsiteY0" fmla="*/ 0 h 22068"/>
                  <a:gd name="connsiteX1" fmla="*/ 71051 w 71051"/>
                  <a:gd name="connsiteY1" fmla="*/ 22069 h 22068"/>
                </a:gdLst>
                <a:ahLst/>
                <a:cxnLst>
                  <a:cxn ang="0">
                    <a:pos x="connsiteX0" y="connsiteY0"/>
                  </a:cxn>
                  <a:cxn ang="0">
                    <a:pos x="connsiteX1" y="connsiteY1"/>
                  </a:cxn>
                </a:cxnLst>
                <a:rect l="l" t="t" r="r" b="b"/>
                <a:pathLst>
                  <a:path w="71051" h="22068">
                    <a:moveTo>
                      <a:pt x="0" y="0"/>
                    </a:moveTo>
                    <a:cubicBezTo>
                      <a:pt x="23743" y="7416"/>
                      <a:pt x="47427" y="14832"/>
                      <a:pt x="71051" y="22069"/>
                    </a:cubicBezTo>
                  </a:path>
                </a:pathLst>
              </a:custGeom>
              <a:noFill/>
              <a:ln w="6350" cap="rnd">
                <a:solidFill>
                  <a:schemeClr val="bg1">
                    <a:alpha val="80000"/>
                  </a:schemeClr>
                </a:solidFill>
                <a:prstDash val="solid"/>
                <a:miter/>
              </a:ln>
            </p:spPr>
            <p:txBody>
              <a:bodyPr rtlCol="0" anchor="ctr"/>
              <a:lstStyle/>
              <a:p>
                <a:endParaRPr lang="en-GB"/>
              </a:p>
            </p:txBody>
          </p:sp>
          <p:sp>
            <p:nvSpPr>
              <p:cNvPr id="8257" name="Vrije vorm: vorm 8256">
                <a:extLst>
                  <a:ext uri="{FF2B5EF4-FFF2-40B4-BE49-F238E27FC236}">
                    <a16:creationId xmlns:a16="http://schemas.microsoft.com/office/drawing/2014/main" id="{2B24D7B5-BECA-4A9D-A9B3-EAAD472665EB}"/>
                  </a:ext>
                </a:extLst>
              </p:cNvPr>
              <p:cNvSpPr/>
              <p:nvPr/>
            </p:nvSpPr>
            <p:spPr>
              <a:xfrm>
                <a:off x="4621802" y="4727083"/>
                <a:ext cx="61003" cy="28049"/>
              </a:xfrm>
              <a:custGeom>
                <a:avLst/>
                <a:gdLst>
                  <a:gd name="connsiteX0" fmla="*/ 0 w 61003"/>
                  <a:gd name="connsiteY0" fmla="*/ 0 h 28049"/>
                  <a:gd name="connsiteX1" fmla="*/ 61003 w 61003"/>
                  <a:gd name="connsiteY1" fmla="*/ 28050 h 28049"/>
                </a:gdLst>
                <a:ahLst/>
                <a:cxnLst>
                  <a:cxn ang="0">
                    <a:pos x="connsiteX0" y="connsiteY0"/>
                  </a:cxn>
                  <a:cxn ang="0">
                    <a:pos x="connsiteX1" y="connsiteY1"/>
                  </a:cxn>
                </a:cxnLst>
                <a:rect l="l" t="t" r="r" b="b"/>
                <a:pathLst>
                  <a:path w="61003" h="28049">
                    <a:moveTo>
                      <a:pt x="0" y="0"/>
                    </a:moveTo>
                    <a:cubicBezTo>
                      <a:pt x="20454" y="9330"/>
                      <a:pt x="40789" y="18720"/>
                      <a:pt x="61003" y="28050"/>
                    </a:cubicBezTo>
                  </a:path>
                </a:pathLst>
              </a:custGeom>
              <a:noFill/>
              <a:ln w="6350" cap="rnd">
                <a:solidFill>
                  <a:schemeClr val="bg1">
                    <a:alpha val="80000"/>
                  </a:schemeClr>
                </a:solidFill>
                <a:prstDash val="solid"/>
                <a:miter/>
              </a:ln>
            </p:spPr>
            <p:txBody>
              <a:bodyPr rtlCol="0" anchor="ctr"/>
              <a:lstStyle/>
              <a:p>
                <a:endParaRPr lang="en-GB"/>
              </a:p>
            </p:txBody>
          </p:sp>
          <p:sp>
            <p:nvSpPr>
              <p:cNvPr id="8258" name="Vrije vorm: vorm 8257">
                <a:extLst>
                  <a:ext uri="{FF2B5EF4-FFF2-40B4-BE49-F238E27FC236}">
                    <a16:creationId xmlns:a16="http://schemas.microsoft.com/office/drawing/2014/main" id="{33F2B103-3E59-41F4-8095-FC36AF36ECD8}"/>
                  </a:ext>
                </a:extLst>
              </p:cNvPr>
              <p:cNvSpPr/>
              <p:nvPr/>
            </p:nvSpPr>
            <p:spPr>
              <a:xfrm>
                <a:off x="4635737" y="4715420"/>
                <a:ext cx="62020" cy="27750"/>
              </a:xfrm>
              <a:custGeom>
                <a:avLst/>
                <a:gdLst>
                  <a:gd name="connsiteX0" fmla="*/ 0 w 62020"/>
                  <a:gd name="connsiteY0" fmla="*/ 0 h 27750"/>
                  <a:gd name="connsiteX1" fmla="*/ 62020 w 62020"/>
                  <a:gd name="connsiteY1" fmla="*/ 27751 h 27750"/>
                </a:gdLst>
                <a:ahLst/>
                <a:cxnLst>
                  <a:cxn ang="0">
                    <a:pos x="connsiteX0" y="connsiteY0"/>
                  </a:cxn>
                  <a:cxn ang="0">
                    <a:pos x="connsiteX1" y="connsiteY1"/>
                  </a:cxn>
                </a:cxnLst>
                <a:rect l="l" t="t" r="r" b="b"/>
                <a:pathLst>
                  <a:path w="62020" h="27750">
                    <a:moveTo>
                      <a:pt x="0" y="0"/>
                    </a:moveTo>
                    <a:cubicBezTo>
                      <a:pt x="20813" y="9270"/>
                      <a:pt x="41447" y="18540"/>
                      <a:pt x="62020" y="27751"/>
                    </a:cubicBezTo>
                  </a:path>
                </a:pathLst>
              </a:custGeom>
              <a:noFill/>
              <a:ln w="6350" cap="rnd">
                <a:solidFill>
                  <a:schemeClr val="bg1">
                    <a:alpha val="80000"/>
                  </a:schemeClr>
                </a:solidFill>
                <a:prstDash val="solid"/>
                <a:miter/>
              </a:ln>
            </p:spPr>
            <p:txBody>
              <a:bodyPr rtlCol="0" anchor="ctr"/>
              <a:lstStyle/>
              <a:p>
                <a:endParaRPr lang="en-GB"/>
              </a:p>
            </p:txBody>
          </p:sp>
          <p:sp>
            <p:nvSpPr>
              <p:cNvPr id="8259" name="Vrije vorm: vorm 8258">
                <a:extLst>
                  <a:ext uri="{FF2B5EF4-FFF2-40B4-BE49-F238E27FC236}">
                    <a16:creationId xmlns:a16="http://schemas.microsoft.com/office/drawing/2014/main" id="{A53C1960-5186-497F-84A8-70C1378C38DC}"/>
                  </a:ext>
                </a:extLst>
              </p:cNvPr>
              <p:cNvSpPr/>
              <p:nvPr/>
            </p:nvSpPr>
            <p:spPr>
              <a:xfrm>
                <a:off x="4668152" y="4688447"/>
                <a:ext cx="55381" cy="31817"/>
              </a:xfrm>
              <a:custGeom>
                <a:avLst/>
                <a:gdLst>
                  <a:gd name="connsiteX0" fmla="*/ 0 w 55381"/>
                  <a:gd name="connsiteY0" fmla="*/ 0 h 31817"/>
                  <a:gd name="connsiteX1" fmla="*/ 55382 w 55381"/>
                  <a:gd name="connsiteY1" fmla="*/ 31817 h 31817"/>
                </a:gdLst>
                <a:ahLst/>
                <a:cxnLst>
                  <a:cxn ang="0">
                    <a:pos x="connsiteX0" y="connsiteY0"/>
                  </a:cxn>
                  <a:cxn ang="0">
                    <a:pos x="connsiteX1" y="connsiteY1"/>
                  </a:cxn>
                </a:cxnLst>
                <a:rect l="l" t="t" r="r" b="b"/>
                <a:pathLst>
                  <a:path w="55381" h="31817">
                    <a:moveTo>
                      <a:pt x="0" y="0"/>
                    </a:moveTo>
                    <a:cubicBezTo>
                      <a:pt x="18540" y="10586"/>
                      <a:pt x="37021" y="21231"/>
                      <a:pt x="55382" y="31817"/>
                    </a:cubicBezTo>
                  </a:path>
                </a:pathLst>
              </a:custGeom>
              <a:noFill/>
              <a:ln w="6350" cap="rnd">
                <a:solidFill>
                  <a:schemeClr val="bg1">
                    <a:alpha val="80000"/>
                  </a:schemeClr>
                </a:solidFill>
                <a:prstDash val="solid"/>
                <a:miter/>
              </a:ln>
            </p:spPr>
            <p:txBody>
              <a:bodyPr rtlCol="0" anchor="ctr"/>
              <a:lstStyle/>
              <a:p>
                <a:endParaRPr lang="en-GB"/>
              </a:p>
            </p:txBody>
          </p:sp>
          <p:sp>
            <p:nvSpPr>
              <p:cNvPr id="8260" name="Vrije vorm: vorm 8259">
                <a:extLst>
                  <a:ext uri="{FF2B5EF4-FFF2-40B4-BE49-F238E27FC236}">
                    <a16:creationId xmlns:a16="http://schemas.microsoft.com/office/drawing/2014/main" id="{8ACCC9BA-8BDC-4FC9-83F7-478D2FED2B6D}"/>
                  </a:ext>
                </a:extLst>
              </p:cNvPr>
              <p:cNvSpPr/>
              <p:nvPr/>
            </p:nvSpPr>
            <p:spPr>
              <a:xfrm>
                <a:off x="4681130" y="4677622"/>
                <a:ext cx="55082" cy="32236"/>
              </a:xfrm>
              <a:custGeom>
                <a:avLst/>
                <a:gdLst>
                  <a:gd name="connsiteX0" fmla="*/ 0 w 55082"/>
                  <a:gd name="connsiteY0" fmla="*/ 0 h 32236"/>
                  <a:gd name="connsiteX1" fmla="*/ 55083 w 55082"/>
                  <a:gd name="connsiteY1" fmla="*/ 32236 h 32236"/>
                </a:gdLst>
                <a:ahLst/>
                <a:cxnLst>
                  <a:cxn ang="0">
                    <a:pos x="connsiteX0" y="connsiteY0"/>
                  </a:cxn>
                  <a:cxn ang="0">
                    <a:pos x="connsiteX1" y="connsiteY1"/>
                  </a:cxn>
                </a:cxnLst>
                <a:rect l="l" t="t" r="r" b="b"/>
                <a:pathLst>
                  <a:path w="55082" h="32236">
                    <a:moveTo>
                      <a:pt x="0" y="0"/>
                    </a:moveTo>
                    <a:cubicBezTo>
                      <a:pt x="18481" y="10706"/>
                      <a:pt x="36841" y="21471"/>
                      <a:pt x="55083" y="32236"/>
                    </a:cubicBezTo>
                  </a:path>
                </a:pathLst>
              </a:custGeom>
              <a:noFill/>
              <a:ln w="6350" cap="rnd">
                <a:solidFill>
                  <a:schemeClr val="bg1">
                    <a:alpha val="80000"/>
                  </a:schemeClr>
                </a:solidFill>
                <a:prstDash val="solid"/>
                <a:miter/>
              </a:ln>
            </p:spPr>
            <p:txBody>
              <a:bodyPr rtlCol="0" anchor="ctr"/>
              <a:lstStyle/>
              <a:p>
                <a:endParaRPr lang="en-GB"/>
              </a:p>
            </p:txBody>
          </p:sp>
          <p:sp>
            <p:nvSpPr>
              <p:cNvPr id="8261" name="Vrije vorm: vorm 8260">
                <a:extLst>
                  <a:ext uri="{FF2B5EF4-FFF2-40B4-BE49-F238E27FC236}">
                    <a16:creationId xmlns:a16="http://schemas.microsoft.com/office/drawing/2014/main" id="{E5B0F38E-54C8-48BE-A6C0-94D134BDAD72}"/>
                  </a:ext>
                </a:extLst>
              </p:cNvPr>
              <p:cNvSpPr/>
              <p:nvPr/>
            </p:nvSpPr>
            <p:spPr>
              <a:xfrm>
                <a:off x="4589865" y="4753577"/>
                <a:ext cx="66146" cy="24880"/>
              </a:xfrm>
              <a:custGeom>
                <a:avLst/>
                <a:gdLst>
                  <a:gd name="connsiteX0" fmla="*/ 0 w 66146"/>
                  <a:gd name="connsiteY0" fmla="*/ 0 h 24880"/>
                  <a:gd name="connsiteX1" fmla="*/ 66147 w 66146"/>
                  <a:gd name="connsiteY1" fmla="*/ 24880 h 24880"/>
                </a:gdLst>
                <a:ahLst/>
                <a:cxnLst>
                  <a:cxn ang="0">
                    <a:pos x="connsiteX0" y="connsiteY0"/>
                  </a:cxn>
                  <a:cxn ang="0">
                    <a:pos x="connsiteX1" y="connsiteY1"/>
                  </a:cxn>
                </a:cxnLst>
                <a:rect l="l" t="t" r="r" b="b"/>
                <a:pathLst>
                  <a:path w="66146" h="24880">
                    <a:moveTo>
                      <a:pt x="0" y="0"/>
                    </a:moveTo>
                    <a:cubicBezTo>
                      <a:pt x="22129" y="8313"/>
                      <a:pt x="44198" y="16627"/>
                      <a:pt x="66147" y="24880"/>
                    </a:cubicBezTo>
                  </a:path>
                </a:pathLst>
              </a:custGeom>
              <a:noFill/>
              <a:ln w="6350" cap="rnd">
                <a:solidFill>
                  <a:schemeClr val="bg1">
                    <a:alpha val="80000"/>
                  </a:schemeClr>
                </a:solidFill>
                <a:prstDash val="solid"/>
                <a:miter/>
              </a:ln>
            </p:spPr>
            <p:txBody>
              <a:bodyPr rtlCol="0" anchor="ctr"/>
              <a:lstStyle/>
              <a:p>
                <a:endParaRPr lang="en-GB"/>
              </a:p>
            </p:txBody>
          </p:sp>
          <p:sp>
            <p:nvSpPr>
              <p:cNvPr id="8262" name="Vrije vorm: vorm 8261">
                <a:extLst>
                  <a:ext uri="{FF2B5EF4-FFF2-40B4-BE49-F238E27FC236}">
                    <a16:creationId xmlns:a16="http://schemas.microsoft.com/office/drawing/2014/main" id="{81962F9B-7C32-4B0B-8101-76DAE6DCCE60}"/>
                  </a:ext>
                </a:extLst>
              </p:cNvPr>
              <p:cNvSpPr/>
              <p:nvPr/>
            </p:nvSpPr>
            <p:spPr>
              <a:xfrm>
                <a:off x="4485740" y="4841554"/>
                <a:ext cx="76074" cy="17523"/>
              </a:xfrm>
              <a:custGeom>
                <a:avLst/>
                <a:gdLst>
                  <a:gd name="connsiteX0" fmla="*/ 0 w 76074"/>
                  <a:gd name="connsiteY0" fmla="*/ 0 h 17523"/>
                  <a:gd name="connsiteX1" fmla="*/ 76075 w 76074"/>
                  <a:gd name="connsiteY1" fmla="*/ 17523 h 17523"/>
                </a:gdLst>
                <a:ahLst/>
                <a:cxnLst>
                  <a:cxn ang="0">
                    <a:pos x="connsiteX0" y="connsiteY0"/>
                  </a:cxn>
                  <a:cxn ang="0">
                    <a:pos x="connsiteX1" y="connsiteY1"/>
                  </a:cxn>
                </a:cxnLst>
                <a:rect l="l" t="t" r="r" b="b"/>
                <a:pathLst>
                  <a:path w="76074" h="17523">
                    <a:moveTo>
                      <a:pt x="0" y="0"/>
                    </a:moveTo>
                    <a:cubicBezTo>
                      <a:pt x="25298" y="5981"/>
                      <a:pt x="50657" y="11842"/>
                      <a:pt x="76075" y="17523"/>
                    </a:cubicBezTo>
                  </a:path>
                </a:pathLst>
              </a:custGeom>
              <a:noFill/>
              <a:ln w="6350" cap="rnd">
                <a:solidFill>
                  <a:schemeClr val="bg1">
                    <a:alpha val="80000"/>
                  </a:schemeClr>
                </a:solidFill>
                <a:prstDash val="solid"/>
                <a:miter/>
              </a:ln>
            </p:spPr>
            <p:txBody>
              <a:bodyPr rtlCol="0" anchor="ctr"/>
              <a:lstStyle/>
              <a:p>
                <a:endParaRPr lang="en-GB"/>
              </a:p>
            </p:txBody>
          </p:sp>
          <p:sp>
            <p:nvSpPr>
              <p:cNvPr id="8263" name="Vrije vorm: vorm 8262">
                <a:extLst>
                  <a:ext uri="{FF2B5EF4-FFF2-40B4-BE49-F238E27FC236}">
                    <a16:creationId xmlns:a16="http://schemas.microsoft.com/office/drawing/2014/main" id="{2FAAE93C-4540-4531-A855-AEBB22381333}"/>
                  </a:ext>
                </a:extLst>
              </p:cNvPr>
              <p:cNvSpPr/>
              <p:nvPr/>
            </p:nvSpPr>
            <p:spPr>
              <a:xfrm>
                <a:off x="4554519" y="4783003"/>
                <a:ext cx="71230" cy="21769"/>
              </a:xfrm>
              <a:custGeom>
                <a:avLst/>
                <a:gdLst>
                  <a:gd name="connsiteX0" fmla="*/ 0 w 71230"/>
                  <a:gd name="connsiteY0" fmla="*/ 0 h 21769"/>
                  <a:gd name="connsiteX1" fmla="*/ 71230 w 71230"/>
                  <a:gd name="connsiteY1" fmla="*/ 21770 h 21769"/>
                </a:gdLst>
                <a:ahLst/>
                <a:cxnLst>
                  <a:cxn ang="0">
                    <a:pos x="connsiteX0" y="connsiteY0"/>
                  </a:cxn>
                  <a:cxn ang="0">
                    <a:pos x="connsiteX1" y="connsiteY1"/>
                  </a:cxn>
                </a:cxnLst>
                <a:rect l="l" t="t" r="r" b="b"/>
                <a:pathLst>
                  <a:path w="71230" h="21769">
                    <a:moveTo>
                      <a:pt x="0" y="0"/>
                    </a:moveTo>
                    <a:cubicBezTo>
                      <a:pt x="23803" y="7356"/>
                      <a:pt x="47547" y="14593"/>
                      <a:pt x="71230" y="21770"/>
                    </a:cubicBezTo>
                  </a:path>
                </a:pathLst>
              </a:custGeom>
              <a:noFill/>
              <a:ln w="6350" cap="rnd">
                <a:solidFill>
                  <a:schemeClr val="bg1">
                    <a:alpha val="80000"/>
                  </a:schemeClr>
                </a:solidFill>
                <a:prstDash val="solid"/>
                <a:miter/>
              </a:ln>
            </p:spPr>
            <p:txBody>
              <a:bodyPr rtlCol="0" anchor="ctr"/>
              <a:lstStyle/>
              <a:p>
                <a:endParaRPr lang="en-GB"/>
              </a:p>
            </p:txBody>
          </p:sp>
          <p:sp>
            <p:nvSpPr>
              <p:cNvPr id="8264" name="Vrije vorm: vorm 8263">
                <a:extLst>
                  <a:ext uri="{FF2B5EF4-FFF2-40B4-BE49-F238E27FC236}">
                    <a16:creationId xmlns:a16="http://schemas.microsoft.com/office/drawing/2014/main" id="{15576CB2-4387-44A0-A5CC-8C3BA82F2770}"/>
                  </a:ext>
                </a:extLst>
              </p:cNvPr>
              <p:cNvSpPr/>
              <p:nvPr/>
            </p:nvSpPr>
            <p:spPr>
              <a:xfrm>
                <a:off x="4602125" y="4743410"/>
                <a:ext cx="65847" cy="24999"/>
              </a:xfrm>
              <a:custGeom>
                <a:avLst/>
                <a:gdLst>
                  <a:gd name="connsiteX0" fmla="*/ 0 w 65847"/>
                  <a:gd name="connsiteY0" fmla="*/ 0 h 24999"/>
                  <a:gd name="connsiteX1" fmla="*/ 65848 w 65847"/>
                  <a:gd name="connsiteY1" fmla="*/ 25000 h 24999"/>
                </a:gdLst>
                <a:ahLst/>
                <a:cxnLst>
                  <a:cxn ang="0">
                    <a:pos x="connsiteX0" y="connsiteY0"/>
                  </a:cxn>
                  <a:cxn ang="0">
                    <a:pos x="connsiteX1" y="connsiteY1"/>
                  </a:cxn>
                </a:cxnLst>
                <a:rect l="l" t="t" r="r" b="b"/>
                <a:pathLst>
                  <a:path w="65847" h="24999">
                    <a:moveTo>
                      <a:pt x="0" y="0"/>
                    </a:moveTo>
                    <a:cubicBezTo>
                      <a:pt x="22009" y="8373"/>
                      <a:pt x="43959" y="16686"/>
                      <a:pt x="65848" y="25000"/>
                    </a:cubicBezTo>
                  </a:path>
                </a:pathLst>
              </a:custGeom>
              <a:noFill/>
              <a:ln w="6350" cap="rnd">
                <a:solidFill>
                  <a:schemeClr val="bg1">
                    <a:alpha val="80000"/>
                  </a:schemeClr>
                </a:solidFill>
                <a:prstDash val="solid"/>
                <a:miter/>
              </a:ln>
            </p:spPr>
            <p:txBody>
              <a:bodyPr rtlCol="0" anchor="ctr"/>
              <a:lstStyle/>
              <a:p>
                <a:endParaRPr lang="en-GB"/>
              </a:p>
            </p:txBody>
          </p:sp>
          <p:sp>
            <p:nvSpPr>
              <p:cNvPr id="8265" name="Vrije vorm: vorm 8264">
                <a:extLst>
                  <a:ext uri="{FF2B5EF4-FFF2-40B4-BE49-F238E27FC236}">
                    <a16:creationId xmlns:a16="http://schemas.microsoft.com/office/drawing/2014/main" id="{ECBD3841-EE75-4B0B-B1CA-D057FD793FFA}"/>
                  </a:ext>
                </a:extLst>
              </p:cNvPr>
              <p:cNvSpPr/>
              <p:nvPr/>
            </p:nvSpPr>
            <p:spPr>
              <a:xfrm>
                <a:off x="4648416" y="4704834"/>
                <a:ext cx="59747" cy="29544"/>
              </a:xfrm>
              <a:custGeom>
                <a:avLst/>
                <a:gdLst>
                  <a:gd name="connsiteX0" fmla="*/ 0 w 59747"/>
                  <a:gd name="connsiteY0" fmla="*/ 0 h 29544"/>
                  <a:gd name="connsiteX1" fmla="*/ 59747 w 59747"/>
                  <a:gd name="connsiteY1" fmla="*/ 29545 h 29544"/>
                </a:gdLst>
                <a:ahLst/>
                <a:cxnLst>
                  <a:cxn ang="0">
                    <a:pos x="connsiteX0" y="connsiteY0"/>
                  </a:cxn>
                  <a:cxn ang="0">
                    <a:pos x="connsiteX1" y="connsiteY1"/>
                  </a:cxn>
                </a:cxnLst>
                <a:rect l="l" t="t" r="r" b="b"/>
                <a:pathLst>
                  <a:path w="59747" h="29544">
                    <a:moveTo>
                      <a:pt x="0" y="0"/>
                    </a:moveTo>
                    <a:cubicBezTo>
                      <a:pt x="20035" y="9808"/>
                      <a:pt x="39951" y="19676"/>
                      <a:pt x="59747" y="29545"/>
                    </a:cubicBezTo>
                  </a:path>
                </a:pathLst>
              </a:custGeom>
              <a:noFill/>
              <a:ln w="6350" cap="rnd">
                <a:solidFill>
                  <a:schemeClr val="bg1">
                    <a:alpha val="80000"/>
                  </a:schemeClr>
                </a:solidFill>
                <a:prstDash val="solid"/>
                <a:miter/>
              </a:ln>
            </p:spPr>
            <p:txBody>
              <a:bodyPr rtlCol="0" anchor="ctr"/>
              <a:lstStyle/>
              <a:p>
                <a:endParaRPr lang="en-GB"/>
              </a:p>
            </p:txBody>
          </p:sp>
          <p:sp>
            <p:nvSpPr>
              <p:cNvPr id="8266" name="Vrije vorm: vorm 8265">
                <a:extLst>
                  <a:ext uri="{FF2B5EF4-FFF2-40B4-BE49-F238E27FC236}">
                    <a16:creationId xmlns:a16="http://schemas.microsoft.com/office/drawing/2014/main" id="{7C6D6868-0022-41CD-AC26-BDC48BEDF10F}"/>
                  </a:ext>
                </a:extLst>
              </p:cNvPr>
              <p:cNvSpPr/>
              <p:nvPr/>
            </p:nvSpPr>
            <p:spPr>
              <a:xfrm>
                <a:off x="4696621" y="4663986"/>
                <a:ext cx="52989" cy="34688"/>
              </a:xfrm>
              <a:custGeom>
                <a:avLst/>
                <a:gdLst>
                  <a:gd name="connsiteX0" fmla="*/ 0 w 52989"/>
                  <a:gd name="connsiteY0" fmla="*/ 0 h 34688"/>
                  <a:gd name="connsiteX1" fmla="*/ 52989 w 52989"/>
                  <a:gd name="connsiteY1" fmla="*/ 34688 h 34688"/>
                </a:gdLst>
                <a:ahLst/>
                <a:cxnLst>
                  <a:cxn ang="0">
                    <a:pos x="connsiteX0" y="connsiteY0"/>
                  </a:cxn>
                  <a:cxn ang="0">
                    <a:pos x="connsiteX1" y="connsiteY1"/>
                  </a:cxn>
                </a:cxnLst>
                <a:rect l="l" t="t" r="r" b="b"/>
                <a:pathLst>
                  <a:path w="52989" h="34688">
                    <a:moveTo>
                      <a:pt x="0" y="0"/>
                    </a:moveTo>
                    <a:cubicBezTo>
                      <a:pt x="17763" y="11543"/>
                      <a:pt x="35406" y="23085"/>
                      <a:pt x="52989" y="34688"/>
                    </a:cubicBezTo>
                  </a:path>
                </a:pathLst>
              </a:custGeom>
              <a:noFill/>
              <a:ln w="6350" cap="rnd">
                <a:solidFill>
                  <a:schemeClr val="bg1">
                    <a:alpha val="80000"/>
                  </a:schemeClr>
                </a:solidFill>
                <a:prstDash val="solid"/>
                <a:miter/>
              </a:ln>
            </p:spPr>
            <p:txBody>
              <a:bodyPr rtlCol="0" anchor="ctr"/>
              <a:lstStyle/>
              <a:p>
                <a:endParaRPr lang="en-GB"/>
              </a:p>
            </p:txBody>
          </p:sp>
          <p:sp>
            <p:nvSpPr>
              <p:cNvPr id="8267" name="Vrije vorm: vorm 8266">
                <a:extLst>
                  <a:ext uri="{FF2B5EF4-FFF2-40B4-BE49-F238E27FC236}">
                    <a16:creationId xmlns:a16="http://schemas.microsoft.com/office/drawing/2014/main" id="{237A2108-65DA-47C4-B88A-284C635FBEAA}"/>
                  </a:ext>
                </a:extLst>
              </p:cNvPr>
              <p:cNvSpPr/>
              <p:nvPr/>
            </p:nvSpPr>
            <p:spPr>
              <a:xfrm>
                <a:off x="4718630" y="4645625"/>
                <a:ext cx="49699" cy="37140"/>
              </a:xfrm>
              <a:custGeom>
                <a:avLst/>
                <a:gdLst>
                  <a:gd name="connsiteX0" fmla="*/ 0 w 49699"/>
                  <a:gd name="connsiteY0" fmla="*/ 0 h 37140"/>
                  <a:gd name="connsiteX1" fmla="*/ 49700 w 49699"/>
                  <a:gd name="connsiteY1" fmla="*/ 37140 h 37140"/>
                </a:gdLst>
                <a:ahLst/>
                <a:cxnLst>
                  <a:cxn ang="0">
                    <a:pos x="connsiteX0" y="connsiteY0"/>
                  </a:cxn>
                  <a:cxn ang="0">
                    <a:pos x="connsiteX1" y="connsiteY1"/>
                  </a:cxn>
                </a:cxnLst>
                <a:rect l="l" t="t" r="r" b="b"/>
                <a:pathLst>
                  <a:path w="49699" h="37140">
                    <a:moveTo>
                      <a:pt x="0" y="0"/>
                    </a:moveTo>
                    <a:cubicBezTo>
                      <a:pt x="16686" y="12380"/>
                      <a:pt x="33253" y="24760"/>
                      <a:pt x="49700" y="37140"/>
                    </a:cubicBezTo>
                  </a:path>
                </a:pathLst>
              </a:custGeom>
              <a:noFill/>
              <a:ln w="6350" cap="rnd">
                <a:solidFill>
                  <a:schemeClr val="bg1">
                    <a:alpha val="80000"/>
                  </a:schemeClr>
                </a:solidFill>
                <a:prstDash val="solid"/>
                <a:miter/>
              </a:ln>
            </p:spPr>
            <p:txBody>
              <a:bodyPr rtlCol="0" anchor="ctr"/>
              <a:lstStyle/>
              <a:p>
                <a:endParaRPr lang="en-GB"/>
              </a:p>
            </p:txBody>
          </p:sp>
          <p:sp>
            <p:nvSpPr>
              <p:cNvPr id="8268" name="Vrije vorm: vorm 8267">
                <a:extLst>
                  <a:ext uri="{FF2B5EF4-FFF2-40B4-BE49-F238E27FC236}">
                    <a16:creationId xmlns:a16="http://schemas.microsoft.com/office/drawing/2014/main" id="{9664518A-C331-40C0-93BD-0B778D8016EE}"/>
                  </a:ext>
                </a:extLst>
              </p:cNvPr>
              <p:cNvSpPr/>
              <p:nvPr/>
            </p:nvSpPr>
            <p:spPr>
              <a:xfrm>
                <a:off x="4734299" y="4633365"/>
                <a:ext cx="47546" cy="37977"/>
              </a:xfrm>
              <a:custGeom>
                <a:avLst/>
                <a:gdLst>
                  <a:gd name="connsiteX0" fmla="*/ 0 w 47546"/>
                  <a:gd name="connsiteY0" fmla="*/ 0 h 37977"/>
                  <a:gd name="connsiteX1" fmla="*/ 47547 w 47546"/>
                  <a:gd name="connsiteY1" fmla="*/ 37977 h 37977"/>
                </a:gdLst>
                <a:ahLst/>
                <a:cxnLst>
                  <a:cxn ang="0">
                    <a:pos x="connsiteX0" y="connsiteY0"/>
                  </a:cxn>
                  <a:cxn ang="0">
                    <a:pos x="connsiteX1" y="connsiteY1"/>
                  </a:cxn>
                </a:cxnLst>
                <a:rect l="l" t="t" r="r" b="b"/>
                <a:pathLst>
                  <a:path w="47546" h="37977">
                    <a:moveTo>
                      <a:pt x="0" y="0"/>
                    </a:moveTo>
                    <a:cubicBezTo>
                      <a:pt x="15909" y="12619"/>
                      <a:pt x="31758" y="25298"/>
                      <a:pt x="47547" y="37977"/>
                    </a:cubicBezTo>
                  </a:path>
                </a:pathLst>
              </a:custGeom>
              <a:noFill/>
              <a:ln w="6350" cap="rnd">
                <a:solidFill>
                  <a:schemeClr val="bg1">
                    <a:alpha val="80000"/>
                  </a:schemeClr>
                </a:solidFill>
                <a:prstDash val="solid"/>
                <a:miter/>
              </a:ln>
            </p:spPr>
            <p:txBody>
              <a:bodyPr rtlCol="0" anchor="ctr"/>
              <a:lstStyle/>
              <a:p>
                <a:endParaRPr lang="en-GB"/>
              </a:p>
            </p:txBody>
          </p:sp>
          <p:sp>
            <p:nvSpPr>
              <p:cNvPr id="8269" name="Vrije vorm: vorm 8268">
                <a:extLst>
                  <a:ext uri="{FF2B5EF4-FFF2-40B4-BE49-F238E27FC236}">
                    <a16:creationId xmlns:a16="http://schemas.microsoft.com/office/drawing/2014/main" id="{B255FEC7-21F2-465E-8948-2C1F59740DAD}"/>
                  </a:ext>
                </a:extLst>
              </p:cNvPr>
              <p:cNvSpPr/>
              <p:nvPr/>
            </p:nvSpPr>
            <p:spPr>
              <a:xfrm>
                <a:off x="4772456" y="4600112"/>
                <a:ext cx="46888" cy="39712"/>
              </a:xfrm>
              <a:custGeom>
                <a:avLst/>
                <a:gdLst>
                  <a:gd name="connsiteX0" fmla="*/ 0 w 46888"/>
                  <a:gd name="connsiteY0" fmla="*/ 0 h 39712"/>
                  <a:gd name="connsiteX1" fmla="*/ 46889 w 46888"/>
                  <a:gd name="connsiteY1" fmla="*/ 39712 h 39712"/>
                </a:gdLst>
                <a:ahLst/>
                <a:cxnLst>
                  <a:cxn ang="0">
                    <a:pos x="connsiteX0" y="connsiteY0"/>
                  </a:cxn>
                  <a:cxn ang="0">
                    <a:pos x="connsiteX1" y="connsiteY1"/>
                  </a:cxn>
                </a:cxnLst>
                <a:rect l="l" t="t" r="r" b="b"/>
                <a:pathLst>
                  <a:path w="46888" h="39712">
                    <a:moveTo>
                      <a:pt x="0" y="0"/>
                    </a:moveTo>
                    <a:cubicBezTo>
                      <a:pt x="15729" y="13217"/>
                      <a:pt x="31339" y="26435"/>
                      <a:pt x="46889" y="39712"/>
                    </a:cubicBezTo>
                  </a:path>
                </a:pathLst>
              </a:custGeom>
              <a:noFill/>
              <a:ln w="6350" cap="rnd">
                <a:solidFill>
                  <a:schemeClr val="bg1">
                    <a:alpha val="80000"/>
                  </a:schemeClr>
                </a:solidFill>
                <a:prstDash val="solid"/>
                <a:miter/>
              </a:ln>
            </p:spPr>
            <p:txBody>
              <a:bodyPr rtlCol="0" anchor="ctr"/>
              <a:lstStyle/>
              <a:p>
                <a:endParaRPr lang="en-GB"/>
              </a:p>
            </p:txBody>
          </p:sp>
          <p:sp>
            <p:nvSpPr>
              <p:cNvPr id="8270" name="Vrije vorm: vorm 8269">
                <a:extLst>
                  <a:ext uri="{FF2B5EF4-FFF2-40B4-BE49-F238E27FC236}">
                    <a16:creationId xmlns:a16="http://schemas.microsoft.com/office/drawing/2014/main" id="{50ED5FAB-EE79-4D5B-8028-76CD059752FB}"/>
                  </a:ext>
                </a:extLst>
              </p:cNvPr>
              <p:cNvSpPr/>
              <p:nvPr/>
            </p:nvSpPr>
            <p:spPr>
              <a:xfrm>
                <a:off x="4661035" y="4774151"/>
                <a:ext cx="157053" cy="79782"/>
              </a:xfrm>
              <a:custGeom>
                <a:avLst/>
                <a:gdLst>
                  <a:gd name="connsiteX0" fmla="*/ 157054 w 157053"/>
                  <a:gd name="connsiteY0" fmla="*/ 79783 h 79782"/>
                  <a:gd name="connsiteX1" fmla="*/ 8672 w 157053"/>
                  <a:gd name="connsiteY1" fmla="*/ 31758 h 79782"/>
                  <a:gd name="connsiteX2" fmla="*/ 0 w 157053"/>
                  <a:gd name="connsiteY2" fmla="*/ 0 h 79782"/>
                </a:gdLst>
                <a:ahLst/>
                <a:cxnLst>
                  <a:cxn ang="0">
                    <a:pos x="connsiteX0" y="connsiteY0"/>
                  </a:cxn>
                  <a:cxn ang="0">
                    <a:pos x="connsiteX1" y="connsiteY1"/>
                  </a:cxn>
                  <a:cxn ang="0">
                    <a:pos x="connsiteX2" y="connsiteY2"/>
                  </a:cxn>
                </a:cxnLst>
                <a:rect l="l" t="t" r="r" b="b"/>
                <a:pathLst>
                  <a:path w="157053" h="79782">
                    <a:moveTo>
                      <a:pt x="157054" y="79783"/>
                    </a:moveTo>
                    <a:cubicBezTo>
                      <a:pt x="107892" y="64114"/>
                      <a:pt x="58372" y="48085"/>
                      <a:pt x="8672" y="31758"/>
                    </a:cubicBezTo>
                    <a:cubicBezTo>
                      <a:pt x="5741" y="21172"/>
                      <a:pt x="2871" y="10586"/>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71" name="Vrije vorm: vorm 8270">
                <a:extLst>
                  <a:ext uri="{FF2B5EF4-FFF2-40B4-BE49-F238E27FC236}">
                    <a16:creationId xmlns:a16="http://schemas.microsoft.com/office/drawing/2014/main" id="{E5EDFA5E-D101-457B-9AE9-E0203EFF8F02}"/>
                  </a:ext>
                </a:extLst>
              </p:cNvPr>
              <p:cNvSpPr/>
              <p:nvPr/>
            </p:nvSpPr>
            <p:spPr>
              <a:xfrm>
                <a:off x="4703797" y="4737968"/>
                <a:ext cx="124219" cy="80739"/>
              </a:xfrm>
              <a:custGeom>
                <a:avLst/>
                <a:gdLst>
                  <a:gd name="connsiteX0" fmla="*/ 124220 w 124219"/>
                  <a:gd name="connsiteY0" fmla="*/ 80740 h 80739"/>
                  <a:gd name="connsiteX1" fmla="*/ 10048 w 124219"/>
                  <a:gd name="connsiteY1" fmla="*/ 30382 h 80739"/>
                  <a:gd name="connsiteX2" fmla="*/ 0 w 124219"/>
                  <a:gd name="connsiteY2" fmla="*/ 0 h 80739"/>
                </a:gdLst>
                <a:ahLst/>
                <a:cxnLst>
                  <a:cxn ang="0">
                    <a:pos x="connsiteX0" y="connsiteY0"/>
                  </a:cxn>
                  <a:cxn ang="0">
                    <a:pos x="connsiteX1" y="connsiteY1"/>
                  </a:cxn>
                  <a:cxn ang="0">
                    <a:pos x="connsiteX2" y="connsiteY2"/>
                  </a:cxn>
                </a:cxnLst>
                <a:rect l="l" t="t" r="r" b="b"/>
                <a:pathLst>
                  <a:path w="124219" h="80739">
                    <a:moveTo>
                      <a:pt x="124220" y="80740"/>
                    </a:moveTo>
                    <a:cubicBezTo>
                      <a:pt x="86481" y="63994"/>
                      <a:pt x="48444" y="47248"/>
                      <a:pt x="10048" y="30382"/>
                    </a:cubicBezTo>
                    <a:cubicBezTo>
                      <a:pt x="6698" y="20275"/>
                      <a:pt x="3349" y="10107"/>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72" name="Vrije vorm: vorm 8271">
                <a:extLst>
                  <a:ext uri="{FF2B5EF4-FFF2-40B4-BE49-F238E27FC236}">
                    <a16:creationId xmlns:a16="http://schemas.microsoft.com/office/drawing/2014/main" id="{95B4AB81-7499-4142-A664-D45D8750CCF7}"/>
                  </a:ext>
                </a:extLst>
              </p:cNvPr>
              <p:cNvSpPr/>
              <p:nvPr/>
            </p:nvSpPr>
            <p:spPr>
              <a:xfrm>
                <a:off x="4739921" y="4707466"/>
                <a:ext cx="116743" cy="86182"/>
              </a:xfrm>
              <a:custGeom>
                <a:avLst/>
                <a:gdLst>
                  <a:gd name="connsiteX0" fmla="*/ 116743 w 116743"/>
                  <a:gd name="connsiteY0" fmla="*/ 86182 h 86182"/>
                  <a:gd name="connsiteX1" fmla="*/ 10944 w 116743"/>
                  <a:gd name="connsiteY1" fmla="*/ 29365 h 86182"/>
                  <a:gd name="connsiteX2" fmla="*/ 0 w 116743"/>
                  <a:gd name="connsiteY2" fmla="*/ 0 h 86182"/>
                </a:gdLst>
                <a:ahLst/>
                <a:cxnLst>
                  <a:cxn ang="0">
                    <a:pos x="connsiteX0" y="connsiteY0"/>
                  </a:cxn>
                  <a:cxn ang="0">
                    <a:pos x="connsiteX1" y="connsiteY1"/>
                  </a:cxn>
                  <a:cxn ang="0">
                    <a:pos x="connsiteX2" y="connsiteY2"/>
                  </a:cxn>
                </a:cxnLst>
                <a:rect l="l" t="t" r="r" b="b"/>
                <a:pathLst>
                  <a:path w="116743" h="86182">
                    <a:moveTo>
                      <a:pt x="116743" y="86182"/>
                    </a:moveTo>
                    <a:cubicBezTo>
                      <a:pt x="81756" y="67223"/>
                      <a:pt x="46530" y="48324"/>
                      <a:pt x="10944" y="29365"/>
                    </a:cubicBezTo>
                    <a:cubicBezTo>
                      <a:pt x="7296" y="19557"/>
                      <a:pt x="3648" y="9749"/>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73" name="Vrije vorm: vorm 8272">
                <a:extLst>
                  <a:ext uri="{FF2B5EF4-FFF2-40B4-BE49-F238E27FC236}">
                    <a16:creationId xmlns:a16="http://schemas.microsoft.com/office/drawing/2014/main" id="{43BD25DE-C961-4EE0-BF6B-26F89BBED499}"/>
                  </a:ext>
                </a:extLst>
              </p:cNvPr>
              <p:cNvSpPr/>
              <p:nvPr/>
            </p:nvSpPr>
            <p:spPr>
              <a:xfrm>
                <a:off x="4774549" y="4678220"/>
                <a:ext cx="185282" cy="145152"/>
              </a:xfrm>
              <a:custGeom>
                <a:avLst/>
                <a:gdLst>
                  <a:gd name="connsiteX0" fmla="*/ 185283 w 185282"/>
                  <a:gd name="connsiteY0" fmla="*/ 145152 h 145152"/>
                  <a:gd name="connsiteX1" fmla="*/ 11902 w 185282"/>
                  <a:gd name="connsiteY1" fmla="*/ 28349 h 145152"/>
                  <a:gd name="connsiteX2" fmla="*/ 0 w 185282"/>
                  <a:gd name="connsiteY2" fmla="*/ 0 h 145152"/>
                </a:gdLst>
                <a:ahLst/>
                <a:cxnLst>
                  <a:cxn ang="0">
                    <a:pos x="connsiteX0" y="connsiteY0"/>
                  </a:cxn>
                  <a:cxn ang="0">
                    <a:pos x="connsiteX1" y="connsiteY1"/>
                  </a:cxn>
                  <a:cxn ang="0">
                    <a:pos x="connsiteX2" y="connsiteY2"/>
                  </a:cxn>
                </a:cxnLst>
                <a:rect l="l" t="t" r="r" b="b"/>
                <a:pathLst>
                  <a:path w="185282" h="145152">
                    <a:moveTo>
                      <a:pt x="185283" y="145152"/>
                    </a:moveTo>
                    <a:cubicBezTo>
                      <a:pt x="128406" y="105978"/>
                      <a:pt x="70632" y="67104"/>
                      <a:pt x="11902" y="28349"/>
                    </a:cubicBezTo>
                    <a:cubicBezTo>
                      <a:pt x="7954" y="18899"/>
                      <a:pt x="4007" y="9450"/>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74" name="Vrije vorm: vorm 8273">
                <a:extLst>
                  <a:ext uri="{FF2B5EF4-FFF2-40B4-BE49-F238E27FC236}">
                    <a16:creationId xmlns:a16="http://schemas.microsoft.com/office/drawing/2014/main" id="{58FA92F8-216F-4C4C-B593-D1F5A5AEA05A}"/>
                  </a:ext>
                </a:extLst>
              </p:cNvPr>
              <p:cNvSpPr/>
              <p:nvPr/>
            </p:nvSpPr>
            <p:spPr>
              <a:xfrm>
                <a:off x="4826223" y="4634680"/>
                <a:ext cx="150295" cy="154601"/>
              </a:xfrm>
              <a:custGeom>
                <a:avLst/>
                <a:gdLst>
                  <a:gd name="connsiteX0" fmla="*/ 150296 w 150295"/>
                  <a:gd name="connsiteY0" fmla="*/ 154602 h 154601"/>
                  <a:gd name="connsiteX1" fmla="*/ 15371 w 150295"/>
                  <a:gd name="connsiteY1" fmla="*/ 25119 h 154601"/>
                  <a:gd name="connsiteX2" fmla="*/ 0 w 150295"/>
                  <a:gd name="connsiteY2" fmla="*/ 0 h 154601"/>
                </a:gdLst>
                <a:ahLst/>
                <a:cxnLst>
                  <a:cxn ang="0">
                    <a:pos x="connsiteX0" y="connsiteY0"/>
                  </a:cxn>
                  <a:cxn ang="0">
                    <a:pos x="connsiteX1" y="connsiteY1"/>
                  </a:cxn>
                  <a:cxn ang="0">
                    <a:pos x="connsiteX2" y="connsiteY2"/>
                  </a:cxn>
                </a:cxnLst>
                <a:rect l="l" t="t" r="r" b="b"/>
                <a:pathLst>
                  <a:path w="150295" h="154601">
                    <a:moveTo>
                      <a:pt x="150296" y="154602"/>
                    </a:moveTo>
                    <a:cubicBezTo>
                      <a:pt x="105859" y="111122"/>
                      <a:pt x="60884" y="68001"/>
                      <a:pt x="15371" y="25119"/>
                    </a:cubicBezTo>
                    <a:cubicBezTo>
                      <a:pt x="10227" y="16746"/>
                      <a:pt x="5143" y="8373"/>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275" name="Vrije vorm: vorm 8274">
                <a:extLst>
                  <a:ext uri="{FF2B5EF4-FFF2-40B4-BE49-F238E27FC236}">
                    <a16:creationId xmlns:a16="http://schemas.microsoft.com/office/drawing/2014/main" id="{EE139CB7-5AC6-4FB5-8232-0A95BBD2C0AB}"/>
                  </a:ext>
                </a:extLst>
              </p:cNvPr>
              <p:cNvSpPr/>
              <p:nvPr/>
            </p:nvSpPr>
            <p:spPr>
              <a:xfrm>
                <a:off x="4496805" y="4588509"/>
                <a:ext cx="429355" cy="362371"/>
              </a:xfrm>
              <a:custGeom>
                <a:avLst/>
                <a:gdLst>
                  <a:gd name="connsiteX0" fmla="*/ 0 w 429355"/>
                  <a:gd name="connsiteY0" fmla="*/ 362372 h 362371"/>
                  <a:gd name="connsiteX1" fmla="*/ 429356 w 429355"/>
                  <a:gd name="connsiteY1" fmla="*/ 0 h 362371"/>
                </a:gdLst>
                <a:ahLst/>
                <a:cxnLst>
                  <a:cxn ang="0">
                    <a:pos x="connsiteX0" y="connsiteY0"/>
                  </a:cxn>
                  <a:cxn ang="0">
                    <a:pos x="connsiteX1" y="connsiteY1"/>
                  </a:cxn>
                </a:cxnLst>
                <a:rect l="l" t="t" r="r" b="b"/>
                <a:pathLst>
                  <a:path w="429355" h="362371">
                    <a:moveTo>
                      <a:pt x="0" y="362372"/>
                    </a:moveTo>
                    <a:cubicBezTo>
                      <a:pt x="119614" y="264408"/>
                      <a:pt x="270149" y="133490"/>
                      <a:pt x="429356" y="0"/>
                    </a:cubicBezTo>
                  </a:path>
                </a:pathLst>
              </a:custGeom>
              <a:noFill/>
              <a:ln w="6350" cap="rnd">
                <a:solidFill>
                  <a:schemeClr val="bg1">
                    <a:alpha val="80000"/>
                  </a:schemeClr>
                </a:solidFill>
                <a:prstDash val="solid"/>
                <a:miter/>
              </a:ln>
            </p:spPr>
            <p:txBody>
              <a:bodyPr rtlCol="0" anchor="ctr"/>
              <a:lstStyle/>
              <a:p>
                <a:endParaRPr lang="en-GB"/>
              </a:p>
            </p:txBody>
          </p:sp>
          <p:sp>
            <p:nvSpPr>
              <p:cNvPr id="8276" name="Vrije vorm: vorm 8275">
                <a:extLst>
                  <a:ext uri="{FF2B5EF4-FFF2-40B4-BE49-F238E27FC236}">
                    <a16:creationId xmlns:a16="http://schemas.microsoft.com/office/drawing/2014/main" id="{1CCB15B0-DFDB-46E5-B036-A98D64822EE4}"/>
                  </a:ext>
                </a:extLst>
              </p:cNvPr>
              <p:cNvSpPr/>
              <p:nvPr/>
            </p:nvSpPr>
            <p:spPr>
              <a:xfrm>
                <a:off x="4735495" y="4677981"/>
                <a:ext cx="254658" cy="221585"/>
              </a:xfrm>
              <a:custGeom>
                <a:avLst/>
                <a:gdLst>
                  <a:gd name="connsiteX0" fmla="*/ 0 w 254658"/>
                  <a:gd name="connsiteY0" fmla="*/ 221586 h 221585"/>
                  <a:gd name="connsiteX1" fmla="*/ 254659 w 254658"/>
                  <a:gd name="connsiteY1" fmla="*/ 0 h 221585"/>
                </a:gdLst>
                <a:ahLst/>
                <a:cxnLst>
                  <a:cxn ang="0">
                    <a:pos x="connsiteX0" y="connsiteY0"/>
                  </a:cxn>
                  <a:cxn ang="0">
                    <a:pos x="connsiteX1" y="connsiteY1"/>
                  </a:cxn>
                </a:cxnLst>
                <a:rect l="l" t="t" r="r" b="b"/>
                <a:pathLst>
                  <a:path w="254658" h="221585">
                    <a:moveTo>
                      <a:pt x="0" y="221586"/>
                    </a:moveTo>
                    <a:cubicBezTo>
                      <a:pt x="80201" y="151731"/>
                      <a:pt x="166025" y="75836"/>
                      <a:pt x="254659" y="0"/>
                    </a:cubicBezTo>
                  </a:path>
                </a:pathLst>
              </a:custGeom>
              <a:noFill/>
              <a:ln w="6350" cap="rnd">
                <a:solidFill>
                  <a:schemeClr val="bg1">
                    <a:alpha val="80000"/>
                  </a:schemeClr>
                </a:solidFill>
                <a:prstDash val="solid"/>
                <a:miter/>
              </a:ln>
            </p:spPr>
            <p:txBody>
              <a:bodyPr rtlCol="0" anchor="ctr"/>
              <a:lstStyle/>
              <a:p>
                <a:endParaRPr lang="en-GB"/>
              </a:p>
            </p:txBody>
          </p:sp>
          <p:sp>
            <p:nvSpPr>
              <p:cNvPr id="8277" name="Vrije vorm: vorm 8276">
                <a:extLst>
                  <a:ext uri="{FF2B5EF4-FFF2-40B4-BE49-F238E27FC236}">
                    <a16:creationId xmlns:a16="http://schemas.microsoft.com/office/drawing/2014/main" id="{B88F7AD7-0156-496B-9254-DB5D086575D2}"/>
                  </a:ext>
                </a:extLst>
              </p:cNvPr>
              <p:cNvSpPr/>
              <p:nvPr/>
            </p:nvSpPr>
            <p:spPr>
              <a:xfrm>
                <a:off x="4326175" y="4330142"/>
                <a:ext cx="37259" cy="27870"/>
              </a:xfrm>
              <a:custGeom>
                <a:avLst/>
                <a:gdLst>
                  <a:gd name="connsiteX0" fmla="*/ 0 w 37259"/>
                  <a:gd name="connsiteY0" fmla="*/ 27870 h 27870"/>
                  <a:gd name="connsiteX1" fmla="*/ 37260 w 37259"/>
                  <a:gd name="connsiteY1" fmla="*/ 0 h 27870"/>
                </a:gdLst>
                <a:ahLst/>
                <a:cxnLst>
                  <a:cxn ang="0">
                    <a:pos x="connsiteX0" y="connsiteY0"/>
                  </a:cxn>
                  <a:cxn ang="0">
                    <a:pos x="connsiteX1" y="connsiteY1"/>
                  </a:cxn>
                </a:cxnLst>
                <a:rect l="l" t="t" r="r" b="b"/>
                <a:pathLst>
                  <a:path w="37259" h="27870">
                    <a:moveTo>
                      <a:pt x="0" y="27870"/>
                    </a:moveTo>
                    <a:cubicBezTo>
                      <a:pt x="12320" y="18660"/>
                      <a:pt x="24760" y="9330"/>
                      <a:pt x="37260" y="0"/>
                    </a:cubicBezTo>
                  </a:path>
                </a:pathLst>
              </a:custGeom>
              <a:noFill/>
              <a:ln w="6350" cap="rnd">
                <a:solidFill>
                  <a:schemeClr val="bg1">
                    <a:alpha val="80000"/>
                  </a:schemeClr>
                </a:solidFill>
                <a:prstDash val="solid"/>
                <a:miter/>
              </a:ln>
            </p:spPr>
            <p:txBody>
              <a:bodyPr rtlCol="0" anchor="ctr"/>
              <a:lstStyle/>
              <a:p>
                <a:endParaRPr lang="en-GB"/>
              </a:p>
            </p:txBody>
          </p:sp>
          <p:sp>
            <p:nvSpPr>
              <p:cNvPr id="8278" name="Vrije vorm: vorm 8277">
                <a:extLst>
                  <a:ext uri="{FF2B5EF4-FFF2-40B4-BE49-F238E27FC236}">
                    <a16:creationId xmlns:a16="http://schemas.microsoft.com/office/drawing/2014/main" id="{7FE8932A-3583-4808-A2A0-1EF5DD11D9F1}"/>
                  </a:ext>
                </a:extLst>
              </p:cNvPr>
              <p:cNvSpPr/>
              <p:nvPr/>
            </p:nvSpPr>
            <p:spPr>
              <a:xfrm>
                <a:off x="4418218" y="4078354"/>
                <a:ext cx="203285" cy="179182"/>
              </a:xfrm>
              <a:custGeom>
                <a:avLst/>
                <a:gdLst>
                  <a:gd name="connsiteX0" fmla="*/ 172066 w 203285"/>
                  <a:gd name="connsiteY0" fmla="*/ 0 h 179182"/>
                  <a:gd name="connsiteX1" fmla="*/ 0 w 203285"/>
                  <a:gd name="connsiteY1" fmla="*/ 128406 h 179182"/>
                  <a:gd name="connsiteX2" fmla="*/ 73384 w 203285"/>
                  <a:gd name="connsiteY2" fmla="*/ 179182 h 179182"/>
                  <a:gd name="connsiteX3" fmla="*/ 203285 w 203285"/>
                  <a:gd name="connsiteY3" fmla="*/ 80440 h 179182"/>
                </a:gdLst>
                <a:ahLst/>
                <a:cxnLst>
                  <a:cxn ang="0">
                    <a:pos x="connsiteX0" y="connsiteY0"/>
                  </a:cxn>
                  <a:cxn ang="0">
                    <a:pos x="connsiteX1" y="connsiteY1"/>
                  </a:cxn>
                  <a:cxn ang="0">
                    <a:pos x="connsiteX2" y="connsiteY2"/>
                  </a:cxn>
                  <a:cxn ang="0">
                    <a:pos x="connsiteX3" y="connsiteY3"/>
                  </a:cxn>
                </a:cxnLst>
                <a:rect l="l" t="t" r="r" b="b"/>
                <a:pathLst>
                  <a:path w="203285" h="179182">
                    <a:moveTo>
                      <a:pt x="172066" y="0"/>
                    </a:moveTo>
                    <a:cubicBezTo>
                      <a:pt x="114710" y="43719"/>
                      <a:pt x="56937" y="86541"/>
                      <a:pt x="0" y="128406"/>
                    </a:cubicBezTo>
                    <a:cubicBezTo>
                      <a:pt x="24760" y="145272"/>
                      <a:pt x="49162" y="162197"/>
                      <a:pt x="73384" y="179182"/>
                    </a:cubicBezTo>
                    <a:cubicBezTo>
                      <a:pt x="116325" y="146887"/>
                      <a:pt x="159745" y="113933"/>
                      <a:pt x="203285" y="80440"/>
                    </a:cubicBezTo>
                  </a:path>
                </a:pathLst>
              </a:custGeom>
              <a:noFill/>
              <a:ln w="6350" cap="rnd">
                <a:solidFill>
                  <a:schemeClr val="bg1">
                    <a:alpha val="80000"/>
                  </a:schemeClr>
                </a:solidFill>
                <a:prstDash val="solid"/>
                <a:miter/>
              </a:ln>
            </p:spPr>
            <p:txBody>
              <a:bodyPr rtlCol="0" anchor="ctr"/>
              <a:lstStyle/>
              <a:p>
                <a:endParaRPr lang="en-GB"/>
              </a:p>
            </p:txBody>
          </p:sp>
          <p:sp>
            <p:nvSpPr>
              <p:cNvPr id="8279" name="Vrije vorm: vorm 8278">
                <a:extLst>
                  <a:ext uri="{FF2B5EF4-FFF2-40B4-BE49-F238E27FC236}">
                    <a16:creationId xmlns:a16="http://schemas.microsoft.com/office/drawing/2014/main" id="{A6EB956C-64B6-4ADA-932E-7C937799D7EA}"/>
                  </a:ext>
                </a:extLst>
              </p:cNvPr>
              <p:cNvSpPr/>
              <p:nvPr/>
            </p:nvSpPr>
            <p:spPr>
              <a:xfrm>
                <a:off x="4421567" y="4066273"/>
                <a:ext cx="206514" cy="171347"/>
              </a:xfrm>
              <a:custGeom>
                <a:avLst/>
                <a:gdLst>
                  <a:gd name="connsiteX0" fmla="*/ 161779 w 206514"/>
                  <a:gd name="connsiteY0" fmla="*/ 0 h 171347"/>
                  <a:gd name="connsiteX1" fmla="*/ 0 w 206514"/>
                  <a:gd name="connsiteY1" fmla="*/ 120512 h 171347"/>
                  <a:gd name="connsiteX2" fmla="*/ 73204 w 206514"/>
                  <a:gd name="connsiteY2" fmla="*/ 171348 h 171347"/>
                  <a:gd name="connsiteX3" fmla="*/ 206515 w 206514"/>
                  <a:gd name="connsiteY3" fmla="*/ 70094 h 171347"/>
                </a:gdLst>
                <a:ahLst/>
                <a:cxnLst>
                  <a:cxn ang="0">
                    <a:pos x="connsiteX0" y="connsiteY0"/>
                  </a:cxn>
                  <a:cxn ang="0">
                    <a:pos x="connsiteX1" y="connsiteY1"/>
                  </a:cxn>
                  <a:cxn ang="0">
                    <a:pos x="connsiteX2" y="connsiteY2"/>
                  </a:cxn>
                  <a:cxn ang="0">
                    <a:pos x="connsiteX3" y="connsiteY3"/>
                  </a:cxn>
                </a:cxnLst>
                <a:rect l="l" t="t" r="r" b="b"/>
                <a:pathLst>
                  <a:path w="206514" h="171347">
                    <a:moveTo>
                      <a:pt x="161779" y="0"/>
                    </a:moveTo>
                    <a:cubicBezTo>
                      <a:pt x="107892" y="40968"/>
                      <a:pt x="53647" y="81099"/>
                      <a:pt x="0" y="120512"/>
                    </a:cubicBezTo>
                    <a:cubicBezTo>
                      <a:pt x="24641" y="137437"/>
                      <a:pt x="49042" y="154362"/>
                      <a:pt x="73204" y="171348"/>
                    </a:cubicBezTo>
                    <a:cubicBezTo>
                      <a:pt x="117342" y="138214"/>
                      <a:pt x="161958" y="104424"/>
                      <a:pt x="206515" y="70094"/>
                    </a:cubicBezTo>
                  </a:path>
                </a:pathLst>
              </a:custGeom>
              <a:noFill/>
              <a:ln w="6350" cap="rnd">
                <a:solidFill>
                  <a:schemeClr val="bg1">
                    <a:alpha val="80000"/>
                  </a:schemeClr>
                </a:solidFill>
                <a:prstDash val="solid"/>
                <a:miter/>
              </a:ln>
            </p:spPr>
            <p:txBody>
              <a:bodyPr rtlCol="0" anchor="ctr"/>
              <a:lstStyle/>
              <a:p>
                <a:endParaRPr lang="en-GB"/>
              </a:p>
            </p:txBody>
          </p:sp>
          <p:sp>
            <p:nvSpPr>
              <p:cNvPr id="8280" name="Vrije vorm: vorm 8279">
                <a:extLst>
                  <a:ext uri="{FF2B5EF4-FFF2-40B4-BE49-F238E27FC236}">
                    <a16:creationId xmlns:a16="http://schemas.microsoft.com/office/drawing/2014/main" id="{2573F7F5-D97A-4442-97F1-E2EFD05AD285}"/>
                  </a:ext>
                </a:extLst>
              </p:cNvPr>
              <p:cNvSpPr/>
              <p:nvPr/>
            </p:nvSpPr>
            <p:spPr>
              <a:xfrm>
                <a:off x="4421208" y="4054550"/>
                <a:ext cx="198918" cy="165008"/>
              </a:xfrm>
              <a:custGeom>
                <a:avLst/>
                <a:gdLst>
                  <a:gd name="connsiteX0" fmla="*/ 153705 w 198918"/>
                  <a:gd name="connsiteY0" fmla="*/ 0 h 165008"/>
                  <a:gd name="connsiteX1" fmla="*/ 0 w 198918"/>
                  <a:gd name="connsiteY1" fmla="*/ 114172 h 165008"/>
                  <a:gd name="connsiteX2" fmla="*/ 73085 w 198918"/>
                  <a:gd name="connsiteY2" fmla="*/ 165008 h 165008"/>
                  <a:gd name="connsiteX3" fmla="*/ 198919 w 198918"/>
                  <a:gd name="connsiteY3" fmla="*/ 69616 h 165008"/>
                </a:gdLst>
                <a:ahLst/>
                <a:cxnLst>
                  <a:cxn ang="0">
                    <a:pos x="connsiteX0" y="connsiteY0"/>
                  </a:cxn>
                  <a:cxn ang="0">
                    <a:pos x="connsiteX1" y="connsiteY1"/>
                  </a:cxn>
                  <a:cxn ang="0">
                    <a:pos x="connsiteX2" y="connsiteY2"/>
                  </a:cxn>
                  <a:cxn ang="0">
                    <a:pos x="connsiteX3" y="connsiteY3"/>
                  </a:cxn>
                </a:cxnLst>
                <a:rect l="l" t="t" r="r" b="b"/>
                <a:pathLst>
                  <a:path w="198918" h="165008">
                    <a:moveTo>
                      <a:pt x="153705" y="0"/>
                    </a:moveTo>
                    <a:cubicBezTo>
                      <a:pt x="102570" y="38755"/>
                      <a:pt x="51016" y="76793"/>
                      <a:pt x="0" y="114172"/>
                    </a:cubicBezTo>
                    <a:cubicBezTo>
                      <a:pt x="24641" y="131098"/>
                      <a:pt x="48982" y="148083"/>
                      <a:pt x="73085" y="165008"/>
                    </a:cubicBezTo>
                    <a:cubicBezTo>
                      <a:pt x="114830" y="133729"/>
                      <a:pt x="156934" y="101912"/>
                      <a:pt x="198919" y="69616"/>
                    </a:cubicBezTo>
                  </a:path>
                </a:pathLst>
              </a:custGeom>
              <a:noFill/>
              <a:ln w="6350" cap="rnd">
                <a:solidFill>
                  <a:schemeClr val="bg1">
                    <a:alpha val="80000"/>
                  </a:schemeClr>
                </a:solidFill>
                <a:prstDash val="solid"/>
                <a:miter/>
              </a:ln>
            </p:spPr>
            <p:txBody>
              <a:bodyPr rtlCol="0" anchor="ctr"/>
              <a:lstStyle/>
              <a:p>
                <a:endParaRPr lang="en-GB"/>
              </a:p>
            </p:txBody>
          </p:sp>
          <p:sp>
            <p:nvSpPr>
              <p:cNvPr id="8281" name="Vrije vorm: vorm 8280">
                <a:extLst>
                  <a:ext uri="{FF2B5EF4-FFF2-40B4-BE49-F238E27FC236}">
                    <a16:creationId xmlns:a16="http://schemas.microsoft.com/office/drawing/2014/main" id="{9CEF04E7-658C-4EA3-B059-587E985874D0}"/>
                  </a:ext>
                </a:extLst>
              </p:cNvPr>
              <p:cNvSpPr/>
              <p:nvPr/>
            </p:nvSpPr>
            <p:spPr>
              <a:xfrm>
                <a:off x="4427189" y="4045998"/>
                <a:ext cx="184804" cy="153345"/>
              </a:xfrm>
              <a:custGeom>
                <a:avLst/>
                <a:gdLst>
                  <a:gd name="connsiteX0" fmla="*/ 141623 w 184804"/>
                  <a:gd name="connsiteY0" fmla="*/ 0 h 153345"/>
                  <a:gd name="connsiteX1" fmla="*/ 0 w 184804"/>
                  <a:gd name="connsiteY1" fmla="*/ 105081 h 153345"/>
                  <a:gd name="connsiteX2" fmla="*/ 69018 w 184804"/>
                  <a:gd name="connsiteY2" fmla="*/ 153346 h 153345"/>
                  <a:gd name="connsiteX3" fmla="*/ 184804 w 184804"/>
                  <a:gd name="connsiteY3" fmla="*/ 65788 h 153345"/>
                </a:gdLst>
                <a:ahLst/>
                <a:cxnLst>
                  <a:cxn ang="0">
                    <a:pos x="connsiteX0" y="connsiteY0"/>
                  </a:cxn>
                  <a:cxn ang="0">
                    <a:pos x="connsiteX1" y="connsiteY1"/>
                  </a:cxn>
                  <a:cxn ang="0">
                    <a:pos x="connsiteX2" y="connsiteY2"/>
                  </a:cxn>
                  <a:cxn ang="0">
                    <a:pos x="connsiteX3" y="connsiteY3"/>
                  </a:cxn>
                </a:cxnLst>
                <a:rect l="l" t="t" r="r" b="b"/>
                <a:pathLst>
                  <a:path w="184804" h="153345">
                    <a:moveTo>
                      <a:pt x="141623" y="0"/>
                    </a:moveTo>
                    <a:cubicBezTo>
                      <a:pt x="94555" y="35585"/>
                      <a:pt x="47128" y="70632"/>
                      <a:pt x="0" y="105081"/>
                    </a:cubicBezTo>
                    <a:cubicBezTo>
                      <a:pt x="23265" y="121169"/>
                      <a:pt x="46231" y="137258"/>
                      <a:pt x="69018" y="153346"/>
                    </a:cubicBezTo>
                    <a:cubicBezTo>
                      <a:pt x="107474" y="124579"/>
                      <a:pt x="146169" y="95393"/>
                      <a:pt x="184804" y="65788"/>
                    </a:cubicBezTo>
                  </a:path>
                </a:pathLst>
              </a:custGeom>
              <a:noFill/>
              <a:ln w="6350" cap="rnd">
                <a:solidFill>
                  <a:schemeClr val="bg1">
                    <a:alpha val="80000"/>
                  </a:schemeClr>
                </a:solidFill>
                <a:prstDash val="solid"/>
                <a:miter/>
              </a:ln>
            </p:spPr>
            <p:txBody>
              <a:bodyPr rtlCol="0" anchor="ctr"/>
              <a:lstStyle/>
              <a:p>
                <a:endParaRPr lang="en-GB"/>
              </a:p>
            </p:txBody>
          </p:sp>
          <p:sp>
            <p:nvSpPr>
              <p:cNvPr id="8282" name="Vrije vorm: vorm 8281">
                <a:extLst>
                  <a:ext uri="{FF2B5EF4-FFF2-40B4-BE49-F238E27FC236}">
                    <a16:creationId xmlns:a16="http://schemas.microsoft.com/office/drawing/2014/main" id="{8AEE3ECC-B040-4F8E-834D-B533A10319A7}"/>
                  </a:ext>
                </a:extLst>
              </p:cNvPr>
              <p:cNvSpPr/>
              <p:nvPr/>
            </p:nvSpPr>
            <p:spPr>
              <a:xfrm>
                <a:off x="4371568" y="3961311"/>
                <a:ext cx="186837" cy="182651"/>
              </a:xfrm>
              <a:custGeom>
                <a:avLst/>
                <a:gdLst>
                  <a:gd name="connsiteX0" fmla="*/ 186838 w 186837"/>
                  <a:gd name="connsiteY0" fmla="*/ 67462 h 182651"/>
                  <a:gd name="connsiteX1" fmla="*/ 30681 w 186837"/>
                  <a:gd name="connsiteY1" fmla="*/ 182651 h 182651"/>
                  <a:gd name="connsiteX2" fmla="*/ 0 w 186837"/>
                  <a:gd name="connsiteY2" fmla="*/ 100296 h 182651"/>
                  <a:gd name="connsiteX3" fmla="*/ 138454 w 186837"/>
                  <a:gd name="connsiteY3" fmla="*/ 0 h 182651"/>
                </a:gdLst>
                <a:ahLst/>
                <a:cxnLst>
                  <a:cxn ang="0">
                    <a:pos x="connsiteX0" y="connsiteY0"/>
                  </a:cxn>
                  <a:cxn ang="0">
                    <a:pos x="connsiteX1" y="connsiteY1"/>
                  </a:cxn>
                  <a:cxn ang="0">
                    <a:pos x="connsiteX2" y="connsiteY2"/>
                  </a:cxn>
                  <a:cxn ang="0">
                    <a:pos x="connsiteX3" y="connsiteY3"/>
                  </a:cxn>
                </a:cxnLst>
                <a:rect l="l" t="t" r="r" b="b"/>
                <a:pathLst>
                  <a:path w="186837" h="182651">
                    <a:moveTo>
                      <a:pt x="186838" y="67462"/>
                    </a:moveTo>
                    <a:cubicBezTo>
                      <a:pt x="134985" y="106576"/>
                      <a:pt x="82654" y="144913"/>
                      <a:pt x="30681" y="182651"/>
                    </a:cubicBezTo>
                    <a:cubicBezTo>
                      <a:pt x="20215" y="155319"/>
                      <a:pt x="9988" y="127868"/>
                      <a:pt x="0" y="100296"/>
                    </a:cubicBezTo>
                    <a:cubicBezTo>
                      <a:pt x="46351" y="67283"/>
                      <a:pt x="92701" y="33911"/>
                      <a:pt x="138454" y="0"/>
                    </a:cubicBezTo>
                  </a:path>
                </a:pathLst>
              </a:custGeom>
              <a:noFill/>
              <a:ln w="6350" cap="rnd">
                <a:solidFill>
                  <a:schemeClr val="bg1">
                    <a:alpha val="80000"/>
                  </a:schemeClr>
                </a:solidFill>
                <a:prstDash val="solid"/>
                <a:miter/>
              </a:ln>
            </p:spPr>
            <p:txBody>
              <a:bodyPr rtlCol="0" anchor="ctr"/>
              <a:lstStyle/>
              <a:p>
                <a:endParaRPr lang="en-GB"/>
              </a:p>
            </p:txBody>
          </p:sp>
          <p:sp>
            <p:nvSpPr>
              <p:cNvPr id="8283" name="Vrije vorm: vorm 8282">
                <a:extLst>
                  <a:ext uri="{FF2B5EF4-FFF2-40B4-BE49-F238E27FC236}">
                    <a16:creationId xmlns:a16="http://schemas.microsoft.com/office/drawing/2014/main" id="{28F24DC2-EEE2-46AB-AC12-10621015A41D}"/>
                  </a:ext>
                </a:extLst>
              </p:cNvPr>
              <p:cNvSpPr/>
              <p:nvPr/>
            </p:nvSpPr>
            <p:spPr>
              <a:xfrm>
                <a:off x="4392919" y="3973153"/>
                <a:ext cx="171108" cy="169971"/>
              </a:xfrm>
              <a:custGeom>
                <a:avLst/>
                <a:gdLst>
                  <a:gd name="connsiteX0" fmla="*/ 171108 w 171108"/>
                  <a:gd name="connsiteY0" fmla="*/ 64532 h 169971"/>
                  <a:gd name="connsiteX1" fmla="*/ 28707 w 171108"/>
                  <a:gd name="connsiteY1" fmla="*/ 169972 h 169971"/>
                  <a:gd name="connsiteX2" fmla="*/ 0 w 171108"/>
                  <a:gd name="connsiteY2" fmla="*/ 91864 h 169971"/>
                  <a:gd name="connsiteX3" fmla="*/ 126134 w 171108"/>
                  <a:gd name="connsiteY3" fmla="*/ 0 h 169971"/>
                </a:gdLst>
                <a:ahLst/>
                <a:cxnLst>
                  <a:cxn ang="0">
                    <a:pos x="connsiteX0" y="connsiteY0"/>
                  </a:cxn>
                  <a:cxn ang="0">
                    <a:pos x="connsiteX1" y="connsiteY1"/>
                  </a:cxn>
                  <a:cxn ang="0">
                    <a:pos x="connsiteX2" y="connsiteY2"/>
                  </a:cxn>
                  <a:cxn ang="0">
                    <a:pos x="connsiteX3" y="connsiteY3"/>
                  </a:cxn>
                </a:cxnLst>
                <a:rect l="l" t="t" r="r" b="b"/>
                <a:pathLst>
                  <a:path w="171108" h="169971">
                    <a:moveTo>
                      <a:pt x="171108" y="64532"/>
                    </a:moveTo>
                    <a:cubicBezTo>
                      <a:pt x="123801" y="100237"/>
                      <a:pt x="76134" y="135404"/>
                      <a:pt x="28707" y="169972"/>
                    </a:cubicBezTo>
                    <a:cubicBezTo>
                      <a:pt x="18959" y="144076"/>
                      <a:pt x="9390" y="118000"/>
                      <a:pt x="0" y="91864"/>
                    </a:cubicBezTo>
                    <a:cubicBezTo>
                      <a:pt x="42224" y="61601"/>
                      <a:pt x="84388" y="31040"/>
                      <a:pt x="126134" y="0"/>
                    </a:cubicBezTo>
                  </a:path>
                </a:pathLst>
              </a:custGeom>
              <a:noFill/>
              <a:ln w="6350" cap="rnd">
                <a:solidFill>
                  <a:schemeClr val="bg1">
                    <a:alpha val="80000"/>
                  </a:schemeClr>
                </a:solidFill>
                <a:prstDash val="solid"/>
                <a:miter/>
              </a:ln>
            </p:spPr>
            <p:txBody>
              <a:bodyPr rtlCol="0" anchor="ctr"/>
              <a:lstStyle/>
              <a:p>
                <a:endParaRPr lang="en-GB"/>
              </a:p>
            </p:txBody>
          </p:sp>
          <p:sp>
            <p:nvSpPr>
              <p:cNvPr id="8284" name="Vrije vorm: vorm 8283">
                <a:extLst>
                  <a:ext uri="{FF2B5EF4-FFF2-40B4-BE49-F238E27FC236}">
                    <a16:creationId xmlns:a16="http://schemas.microsoft.com/office/drawing/2014/main" id="{769651B5-07A0-45A7-ABB7-2374BF656727}"/>
                  </a:ext>
                </a:extLst>
              </p:cNvPr>
              <p:cNvSpPr/>
              <p:nvPr/>
            </p:nvSpPr>
            <p:spPr>
              <a:xfrm>
                <a:off x="4363435" y="4144022"/>
                <a:ext cx="247362" cy="186120"/>
              </a:xfrm>
              <a:custGeom>
                <a:avLst/>
                <a:gdLst>
                  <a:gd name="connsiteX0" fmla="*/ 0 w 247362"/>
                  <a:gd name="connsiteY0" fmla="*/ 186120 h 186120"/>
                  <a:gd name="connsiteX1" fmla="*/ 247363 w 247362"/>
                  <a:gd name="connsiteY1" fmla="*/ 0 h 186120"/>
                </a:gdLst>
                <a:ahLst/>
                <a:cxnLst>
                  <a:cxn ang="0">
                    <a:pos x="connsiteX0" y="connsiteY0"/>
                  </a:cxn>
                  <a:cxn ang="0">
                    <a:pos x="connsiteX1" y="connsiteY1"/>
                  </a:cxn>
                </a:cxnLst>
                <a:rect l="l" t="t" r="r" b="b"/>
                <a:pathLst>
                  <a:path w="247362" h="186120">
                    <a:moveTo>
                      <a:pt x="0" y="186120"/>
                    </a:moveTo>
                    <a:cubicBezTo>
                      <a:pt x="79962" y="126433"/>
                      <a:pt x="163692" y="64173"/>
                      <a:pt x="247363" y="0"/>
                    </a:cubicBezTo>
                  </a:path>
                </a:pathLst>
              </a:custGeom>
              <a:noFill/>
              <a:ln w="6350" cap="rnd">
                <a:solidFill>
                  <a:schemeClr val="bg1">
                    <a:alpha val="80000"/>
                  </a:schemeClr>
                </a:solidFill>
                <a:prstDash val="solid"/>
                <a:miter/>
              </a:ln>
            </p:spPr>
            <p:txBody>
              <a:bodyPr rtlCol="0" anchor="ctr"/>
              <a:lstStyle/>
              <a:p>
                <a:endParaRPr lang="en-GB"/>
              </a:p>
            </p:txBody>
          </p:sp>
          <p:sp>
            <p:nvSpPr>
              <p:cNvPr id="8285" name="Vrije vorm: vorm 8284">
                <a:extLst>
                  <a:ext uri="{FF2B5EF4-FFF2-40B4-BE49-F238E27FC236}">
                    <a16:creationId xmlns:a16="http://schemas.microsoft.com/office/drawing/2014/main" id="{D63F75B9-CF0B-4A1A-BB1F-4920E2CFFF11}"/>
                  </a:ext>
                </a:extLst>
              </p:cNvPr>
              <p:cNvSpPr/>
              <p:nvPr/>
            </p:nvSpPr>
            <p:spPr>
              <a:xfrm>
                <a:off x="4394710" y="4020102"/>
                <a:ext cx="209029" cy="172782"/>
              </a:xfrm>
              <a:custGeom>
                <a:avLst/>
                <a:gdLst>
                  <a:gd name="connsiteX0" fmla="*/ 3 w 209029"/>
                  <a:gd name="connsiteY0" fmla="*/ 0 h 172782"/>
                  <a:gd name="connsiteX1" fmla="*/ 84451 w 209029"/>
                  <a:gd name="connsiteY1" fmla="*/ 172783 h 172782"/>
                  <a:gd name="connsiteX2" fmla="*/ 209030 w 209029"/>
                  <a:gd name="connsiteY2" fmla="*/ 78945 h 172782"/>
                </a:gdLst>
                <a:ahLst/>
                <a:cxnLst>
                  <a:cxn ang="0">
                    <a:pos x="connsiteX0" y="connsiteY0"/>
                  </a:cxn>
                  <a:cxn ang="0">
                    <a:pos x="connsiteX1" y="connsiteY1"/>
                  </a:cxn>
                  <a:cxn ang="0">
                    <a:pos x="connsiteX2" y="connsiteY2"/>
                  </a:cxn>
                </a:cxnLst>
                <a:rect l="l" t="t" r="r" b="b"/>
                <a:pathLst>
                  <a:path w="209029" h="172782">
                    <a:moveTo>
                      <a:pt x="3" y="0"/>
                    </a:moveTo>
                    <a:cubicBezTo>
                      <a:pt x="-595" y="418"/>
                      <a:pt x="82836" y="171407"/>
                      <a:pt x="84451" y="172783"/>
                    </a:cubicBezTo>
                    <a:cubicBezTo>
                      <a:pt x="125838" y="141982"/>
                      <a:pt x="167523" y="110703"/>
                      <a:pt x="209030" y="78945"/>
                    </a:cubicBezTo>
                  </a:path>
                </a:pathLst>
              </a:custGeom>
              <a:noFill/>
              <a:ln w="6350" cap="rnd">
                <a:solidFill>
                  <a:schemeClr val="bg1">
                    <a:alpha val="80000"/>
                  </a:schemeClr>
                </a:solidFill>
                <a:prstDash val="solid"/>
                <a:miter/>
              </a:ln>
            </p:spPr>
            <p:txBody>
              <a:bodyPr rtlCol="0" anchor="ctr"/>
              <a:lstStyle/>
              <a:p>
                <a:endParaRPr lang="en-GB"/>
              </a:p>
            </p:txBody>
          </p:sp>
          <p:sp>
            <p:nvSpPr>
              <p:cNvPr id="8286" name="Vrije vorm: vorm 8285">
                <a:extLst>
                  <a:ext uri="{FF2B5EF4-FFF2-40B4-BE49-F238E27FC236}">
                    <a16:creationId xmlns:a16="http://schemas.microsoft.com/office/drawing/2014/main" id="{EF28CBBB-0065-41F3-91CB-9A28698CBF59}"/>
                  </a:ext>
                </a:extLst>
              </p:cNvPr>
              <p:cNvSpPr/>
              <p:nvPr/>
            </p:nvSpPr>
            <p:spPr>
              <a:xfrm>
                <a:off x="4363554" y="4278110"/>
                <a:ext cx="86899" cy="64532"/>
              </a:xfrm>
              <a:custGeom>
                <a:avLst/>
                <a:gdLst>
                  <a:gd name="connsiteX0" fmla="*/ 0 w 86899"/>
                  <a:gd name="connsiteY0" fmla="*/ 0 h 64532"/>
                  <a:gd name="connsiteX1" fmla="*/ 86900 w 86899"/>
                  <a:gd name="connsiteY1" fmla="*/ 64532 h 64532"/>
                </a:gdLst>
                <a:ahLst/>
                <a:cxnLst>
                  <a:cxn ang="0">
                    <a:pos x="connsiteX0" y="connsiteY0"/>
                  </a:cxn>
                  <a:cxn ang="0">
                    <a:pos x="connsiteX1" y="connsiteY1"/>
                  </a:cxn>
                </a:cxnLst>
                <a:rect l="l" t="t" r="r" b="b"/>
                <a:pathLst>
                  <a:path w="86899" h="64532">
                    <a:moveTo>
                      <a:pt x="0" y="0"/>
                    </a:moveTo>
                    <a:cubicBezTo>
                      <a:pt x="29365" y="21411"/>
                      <a:pt x="58312" y="42942"/>
                      <a:pt x="86900" y="64532"/>
                    </a:cubicBezTo>
                  </a:path>
                </a:pathLst>
              </a:custGeom>
              <a:noFill/>
              <a:ln w="6350" cap="rnd">
                <a:solidFill>
                  <a:schemeClr val="bg1">
                    <a:alpha val="80000"/>
                  </a:schemeClr>
                </a:solidFill>
                <a:prstDash val="solid"/>
                <a:miter/>
              </a:ln>
            </p:spPr>
            <p:txBody>
              <a:bodyPr rtlCol="0" anchor="ctr"/>
              <a:lstStyle/>
              <a:p>
                <a:endParaRPr lang="en-GB"/>
              </a:p>
            </p:txBody>
          </p:sp>
          <p:sp>
            <p:nvSpPr>
              <p:cNvPr id="8287" name="Vrije vorm: vorm 8286">
                <a:extLst>
                  <a:ext uri="{FF2B5EF4-FFF2-40B4-BE49-F238E27FC236}">
                    <a16:creationId xmlns:a16="http://schemas.microsoft.com/office/drawing/2014/main" id="{F53D97E3-3F49-4A0D-9EF5-EDCC0E9DD1DC}"/>
                  </a:ext>
                </a:extLst>
              </p:cNvPr>
              <p:cNvSpPr/>
              <p:nvPr/>
            </p:nvSpPr>
            <p:spPr>
              <a:xfrm>
                <a:off x="4193522" y="3888526"/>
                <a:ext cx="286715" cy="431508"/>
              </a:xfrm>
              <a:custGeom>
                <a:avLst/>
                <a:gdLst>
                  <a:gd name="connsiteX0" fmla="*/ 286716 w 286715"/>
                  <a:gd name="connsiteY0" fmla="*/ 431509 h 431508"/>
                  <a:gd name="connsiteX1" fmla="*/ 0 w 286715"/>
                  <a:gd name="connsiteY1" fmla="*/ 195330 h 431508"/>
                  <a:gd name="connsiteX2" fmla="*/ 278403 w 286715"/>
                  <a:gd name="connsiteY2" fmla="*/ 0 h 431508"/>
                </a:gdLst>
                <a:ahLst/>
                <a:cxnLst>
                  <a:cxn ang="0">
                    <a:pos x="connsiteX0" y="connsiteY0"/>
                  </a:cxn>
                  <a:cxn ang="0">
                    <a:pos x="connsiteX1" y="connsiteY1"/>
                  </a:cxn>
                  <a:cxn ang="0">
                    <a:pos x="connsiteX2" y="connsiteY2"/>
                  </a:cxn>
                </a:cxnLst>
                <a:rect l="l" t="t" r="r" b="b"/>
                <a:pathLst>
                  <a:path w="286715" h="431508">
                    <a:moveTo>
                      <a:pt x="286716" y="431509"/>
                    </a:moveTo>
                    <a:cubicBezTo>
                      <a:pt x="195151" y="352384"/>
                      <a:pt x="100297" y="273737"/>
                      <a:pt x="0" y="195330"/>
                    </a:cubicBezTo>
                    <a:cubicBezTo>
                      <a:pt x="93060" y="131037"/>
                      <a:pt x="187376" y="66565"/>
                      <a:pt x="278403" y="0"/>
                    </a:cubicBezTo>
                  </a:path>
                </a:pathLst>
              </a:custGeom>
              <a:noFill/>
              <a:ln w="6350" cap="rnd">
                <a:solidFill>
                  <a:schemeClr val="bg1">
                    <a:alpha val="80000"/>
                  </a:schemeClr>
                </a:solidFill>
                <a:prstDash val="solid"/>
                <a:miter/>
              </a:ln>
            </p:spPr>
            <p:txBody>
              <a:bodyPr rtlCol="0" anchor="ctr"/>
              <a:lstStyle/>
              <a:p>
                <a:endParaRPr lang="en-GB"/>
              </a:p>
            </p:txBody>
          </p:sp>
          <p:sp>
            <p:nvSpPr>
              <p:cNvPr id="8288" name="Vrije vorm: vorm 8287">
                <a:extLst>
                  <a:ext uri="{FF2B5EF4-FFF2-40B4-BE49-F238E27FC236}">
                    <a16:creationId xmlns:a16="http://schemas.microsoft.com/office/drawing/2014/main" id="{CDA836AD-4880-44E2-8451-9DAA8AE9E971}"/>
                  </a:ext>
                </a:extLst>
              </p:cNvPr>
              <p:cNvSpPr/>
              <p:nvPr/>
            </p:nvSpPr>
            <p:spPr>
              <a:xfrm>
                <a:off x="4464628" y="4254546"/>
                <a:ext cx="43061" cy="44676"/>
              </a:xfrm>
              <a:custGeom>
                <a:avLst/>
                <a:gdLst>
                  <a:gd name="connsiteX0" fmla="*/ 0 w 43061"/>
                  <a:gd name="connsiteY0" fmla="*/ 0 h 44676"/>
                  <a:gd name="connsiteX1" fmla="*/ 43061 w 43061"/>
                  <a:gd name="connsiteY1" fmla="*/ 44676 h 44676"/>
                </a:gdLst>
                <a:ahLst/>
                <a:cxnLst>
                  <a:cxn ang="0">
                    <a:pos x="connsiteX0" y="connsiteY0"/>
                  </a:cxn>
                  <a:cxn ang="0">
                    <a:pos x="connsiteX1" y="connsiteY1"/>
                  </a:cxn>
                </a:cxnLst>
                <a:rect l="l" t="t" r="r" b="b"/>
                <a:pathLst>
                  <a:path w="43061" h="44676">
                    <a:moveTo>
                      <a:pt x="0" y="0"/>
                    </a:moveTo>
                    <a:cubicBezTo>
                      <a:pt x="14414" y="14892"/>
                      <a:pt x="28767" y="29784"/>
                      <a:pt x="43061" y="44676"/>
                    </a:cubicBezTo>
                  </a:path>
                </a:pathLst>
              </a:custGeom>
              <a:noFill/>
              <a:ln w="6350" cap="rnd">
                <a:solidFill>
                  <a:schemeClr val="bg1">
                    <a:alpha val="80000"/>
                  </a:schemeClr>
                </a:solidFill>
                <a:prstDash val="solid"/>
                <a:miter/>
              </a:ln>
            </p:spPr>
            <p:txBody>
              <a:bodyPr rtlCol="0" anchor="ctr"/>
              <a:lstStyle/>
              <a:p>
                <a:endParaRPr lang="en-GB"/>
              </a:p>
            </p:txBody>
          </p:sp>
          <p:sp>
            <p:nvSpPr>
              <p:cNvPr id="8289" name="Vrije vorm: vorm 8288">
                <a:extLst>
                  <a:ext uri="{FF2B5EF4-FFF2-40B4-BE49-F238E27FC236}">
                    <a16:creationId xmlns:a16="http://schemas.microsoft.com/office/drawing/2014/main" id="{03DDBF50-A4B0-4FC5-BD06-B39C9499A8A1}"/>
                  </a:ext>
                </a:extLst>
              </p:cNvPr>
              <p:cNvSpPr/>
              <p:nvPr/>
            </p:nvSpPr>
            <p:spPr>
              <a:xfrm>
                <a:off x="4498240" y="4229367"/>
                <a:ext cx="42343" cy="44855"/>
              </a:xfrm>
              <a:custGeom>
                <a:avLst/>
                <a:gdLst>
                  <a:gd name="connsiteX0" fmla="*/ 0 w 42343"/>
                  <a:gd name="connsiteY0" fmla="*/ 0 h 44855"/>
                  <a:gd name="connsiteX1" fmla="*/ 42344 w 42343"/>
                  <a:gd name="connsiteY1" fmla="*/ 44855 h 44855"/>
                </a:gdLst>
                <a:ahLst/>
                <a:cxnLst>
                  <a:cxn ang="0">
                    <a:pos x="connsiteX0" y="connsiteY0"/>
                  </a:cxn>
                  <a:cxn ang="0">
                    <a:pos x="connsiteX1" y="connsiteY1"/>
                  </a:cxn>
                </a:cxnLst>
                <a:rect l="l" t="t" r="r" b="b"/>
                <a:pathLst>
                  <a:path w="42343" h="44855">
                    <a:moveTo>
                      <a:pt x="0" y="0"/>
                    </a:moveTo>
                    <a:cubicBezTo>
                      <a:pt x="14174" y="14952"/>
                      <a:pt x="28289" y="29904"/>
                      <a:pt x="42344" y="44855"/>
                    </a:cubicBezTo>
                  </a:path>
                </a:pathLst>
              </a:custGeom>
              <a:noFill/>
              <a:ln w="6350" cap="rnd">
                <a:solidFill>
                  <a:schemeClr val="bg1">
                    <a:alpha val="80000"/>
                  </a:schemeClr>
                </a:solidFill>
                <a:prstDash val="solid"/>
                <a:miter/>
              </a:ln>
            </p:spPr>
            <p:txBody>
              <a:bodyPr rtlCol="0" anchor="ctr"/>
              <a:lstStyle/>
              <a:p>
                <a:endParaRPr lang="en-GB"/>
              </a:p>
            </p:txBody>
          </p:sp>
          <p:sp>
            <p:nvSpPr>
              <p:cNvPr id="8290" name="Vrije vorm: vorm 8289">
                <a:extLst>
                  <a:ext uri="{FF2B5EF4-FFF2-40B4-BE49-F238E27FC236}">
                    <a16:creationId xmlns:a16="http://schemas.microsoft.com/office/drawing/2014/main" id="{BF7513C7-58B3-4874-855C-7C5E5EA4754E}"/>
                  </a:ext>
                </a:extLst>
              </p:cNvPr>
              <p:cNvSpPr/>
              <p:nvPr/>
            </p:nvSpPr>
            <p:spPr>
              <a:xfrm>
                <a:off x="4511577" y="4178890"/>
                <a:ext cx="58192" cy="73024"/>
              </a:xfrm>
              <a:custGeom>
                <a:avLst/>
                <a:gdLst>
                  <a:gd name="connsiteX0" fmla="*/ 0 w 58192"/>
                  <a:gd name="connsiteY0" fmla="*/ 0 h 73024"/>
                  <a:gd name="connsiteX1" fmla="*/ 58192 w 58192"/>
                  <a:gd name="connsiteY1" fmla="*/ 73024 h 73024"/>
                </a:gdLst>
                <a:ahLst/>
                <a:cxnLst>
                  <a:cxn ang="0">
                    <a:pos x="connsiteX0" y="connsiteY0"/>
                  </a:cxn>
                  <a:cxn ang="0">
                    <a:pos x="connsiteX1" y="connsiteY1"/>
                  </a:cxn>
                </a:cxnLst>
                <a:rect l="l" t="t" r="r" b="b"/>
                <a:pathLst>
                  <a:path w="58192" h="73024">
                    <a:moveTo>
                      <a:pt x="0" y="0"/>
                    </a:moveTo>
                    <a:cubicBezTo>
                      <a:pt x="19437" y="24401"/>
                      <a:pt x="38815" y="48683"/>
                      <a:pt x="58192" y="73024"/>
                    </a:cubicBezTo>
                  </a:path>
                </a:pathLst>
              </a:custGeom>
              <a:noFill/>
              <a:ln w="6350" cap="rnd">
                <a:solidFill>
                  <a:schemeClr val="bg1">
                    <a:alpha val="80000"/>
                  </a:schemeClr>
                </a:solidFill>
                <a:prstDash val="solid"/>
                <a:miter/>
              </a:ln>
            </p:spPr>
            <p:txBody>
              <a:bodyPr rtlCol="0" anchor="ctr"/>
              <a:lstStyle/>
              <a:p>
                <a:endParaRPr lang="en-GB"/>
              </a:p>
            </p:txBody>
          </p:sp>
          <p:sp>
            <p:nvSpPr>
              <p:cNvPr id="8291" name="Vrije vorm: vorm 8290">
                <a:extLst>
                  <a:ext uri="{FF2B5EF4-FFF2-40B4-BE49-F238E27FC236}">
                    <a16:creationId xmlns:a16="http://schemas.microsoft.com/office/drawing/2014/main" id="{741E73AA-B872-49BB-96B0-60998ADC139D}"/>
                  </a:ext>
                </a:extLst>
              </p:cNvPr>
              <p:cNvSpPr/>
              <p:nvPr/>
            </p:nvSpPr>
            <p:spPr>
              <a:xfrm>
                <a:off x="4532988" y="4142766"/>
                <a:ext cx="64532" cy="87916"/>
              </a:xfrm>
              <a:custGeom>
                <a:avLst/>
                <a:gdLst>
                  <a:gd name="connsiteX0" fmla="*/ 0 w 64532"/>
                  <a:gd name="connsiteY0" fmla="*/ 0 h 87916"/>
                  <a:gd name="connsiteX1" fmla="*/ 64532 w 64532"/>
                  <a:gd name="connsiteY1" fmla="*/ 87917 h 87916"/>
                </a:gdLst>
                <a:ahLst/>
                <a:cxnLst>
                  <a:cxn ang="0">
                    <a:pos x="connsiteX0" y="connsiteY0"/>
                  </a:cxn>
                  <a:cxn ang="0">
                    <a:pos x="connsiteX1" y="connsiteY1"/>
                  </a:cxn>
                </a:cxnLst>
                <a:rect l="l" t="t" r="r" b="b"/>
                <a:pathLst>
                  <a:path w="64532" h="87916">
                    <a:moveTo>
                      <a:pt x="0" y="0"/>
                    </a:moveTo>
                    <a:cubicBezTo>
                      <a:pt x="21531" y="29366"/>
                      <a:pt x="43001" y="58671"/>
                      <a:pt x="64532" y="87917"/>
                    </a:cubicBezTo>
                  </a:path>
                </a:pathLst>
              </a:custGeom>
              <a:noFill/>
              <a:ln w="6350" cap="rnd">
                <a:solidFill>
                  <a:schemeClr val="bg1">
                    <a:alpha val="80000"/>
                  </a:schemeClr>
                </a:solidFill>
                <a:prstDash val="solid"/>
                <a:miter/>
              </a:ln>
            </p:spPr>
            <p:txBody>
              <a:bodyPr rtlCol="0" anchor="ctr"/>
              <a:lstStyle/>
              <a:p>
                <a:endParaRPr lang="en-GB"/>
              </a:p>
            </p:txBody>
          </p:sp>
          <p:sp>
            <p:nvSpPr>
              <p:cNvPr id="8292" name="Vrije vorm: vorm 8291">
                <a:extLst>
                  <a:ext uri="{FF2B5EF4-FFF2-40B4-BE49-F238E27FC236}">
                    <a16:creationId xmlns:a16="http://schemas.microsoft.com/office/drawing/2014/main" id="{2A06566E-D53B-43E9-8822-53F85B958202}"/>
                  </a:ext>
                </a:extLst>
              </p:cNvPr>
              <p:cNvSpPr/>
              <p:nvPr/>
            </p:nvSpPr>
            <p:spPr>
              <a:xfrm>
                <a:off x="4553562" y="4106822"/>
                <a:ext cx="73084" cy="101372"/>
              </a:xfrm>
              <a:custGeom>
                <a:avLst/>
                <a:gdLst>
                  <a:gd name="connsiteX0" fmla="*/ 0 w 73084"/>
                  <a:gd name="connsiteY0" fmla="*/ 0 h 101372"/>
                  <a:gd name="connsiteX1" fmla="*/ 73085 w 73084"/>
                  <a:gd name="connsiteY1" fmla="*/ 101373 h 101372"/>
                </a:gdLst>
                <a:ahLst/>
                <a:cxnLst>
                  <a:cxn ang="0">
                    <a:pos x="connsiteX0" y="connsiteY0"/>
                  </a:cxn>
                  <a:cxn ang="0">
                    <a:pos x="connsiteX1" y="connsiteY1"/>
                  </a:cxn>
                </a:cxnLst>
                <a:rect l="l" t="t" r="r" b="b"/>
                <a:pathLst>
                  <a:path w="73084" h="101372">
                    <a:moveTo>
                      <a:pt x="0" y="0"/>
                    </a:moveTo>
                    <a:cubicBezTo>
                      <a:pt x="24342" y="33851"/>
                      <a:pt x="48743" y="67642"/>
                      <a:pt x="73085" y="101373"/>
                    </a:cubicBezTo>
                  </a:path>
                </a:pathLst>
              </a:custGeom>
              <a:noFill/>
              <a:ln w="6350" cap="rnd">
                <a:solidFill>
                  <a:schemeClr val="bg1">
                    <a:alpha val="80000"/>
                  </a:schemeClr>
                </a:solidFill>
                <a:prstDash val="solid"/>
                <a:miter/>
              </a:ln>
            </p:spPr>
            <p:txBody>
              <a:bodyPr rtlCol="0" anchor="ctr"/>
              <a:lstStyle/>
              <a:p>
                <a:endParaRPr lang="en-GB"/>
              </a:p>
            </p:txBody>
          </p:sp>
          <p:sp>
            <p:nvSpPr>
              <p:cNvPr id="8293" name="Vrije vorm: vorm 8292">
                <a:extLst>
                  <a:ext uri="{FF2B5EF4-FFF2-40B4-BE49-F238E27FC236}">
                    <a16:creationId xmlns:a16="http://schemas.microsoft.com/office/drawing/2014/main" id="{8BE0C05C-678B-40E9-873E-A1067A78ED91}"/>
                  </a:ext>
                </a:extLst>
              </p:cNvPr>
              <p:cNvSpPr/>
              <p:nvPr/>
            </p:nvSpPr>
            <p:spPr>
              <a:xfrm>
                <a:off x="4123249" y="4197490"/>
                <a:ext cx="546279" cy="422597"/>
              </a:xfrm>
              <a:custGeom>
                <a:avLst/>
                <a:gdLst>
                  <a:gd name="connsiteX0" fmla="*/ 0 w 546279"/>
                  <a:gd name="connsiteY0" fmla="*/ 422598 h 422597"/>
                  <a:gd name="connsiteX1" fmla="*/ 546279 w 546279"/>
                  <a:gd name="connsiteY1" fmla="*/ 0 h 422597"/>
                </a:gdLst>
                <a:ahLst/>
                <a:cxnLst>
                  <a:cxn ang="0">
                    <a:pos x="connsiteX0" y="connsiteY0"/>
                  </a:cxn>
                  <a:cxn ang="0">
                    <a:pos x="connsiteX1" y="connsiteY1"/>
                  </a:cxn>
                </a:cxnLst>
                <a:rect l="l" t="t" r="r" b="b"/>
                <a:pathLst>
                  <a:path w="546279" h="422597">
                    <a:moveTo>
                      <a:pt x="0" y="422598"/>
                    </a:moveTo>
                    <a:cubicBezTo>
                      <a:pt x="143837" y="304000"/>
                      <a:pt x="344370" y="157353"/>
                      <a:pt x="546279" y="0"/>
                    </a:cubicBezTo>
                  </a:path>
                </a:pathLst>
              </a:custGeom>
              <a:noFill/>
              <a:ln w="6350" cap="rnd">
                <a:solidFill>
                  <a:schemeClr val="bg1">
                    <a:alpha val="80000"/>
                  </a:schemeClr>
                </a:solidFill>
                <a:prstDash val="solid"/>
                <a:miter/>
              </a:ln>
            </p:spPr>
            <p:txBody>
              <a:bodyPr rtlCol="0" anchor="ctr"/>
              <a:lstStyle/>
              <a:p>
                <a:endParaRPr lang="en-GB"/>
              </a:p>
            </p:txBody>
          </p:sp>
          <p:sp>
            <p:nvSpPr>
              <p:cNvPr id="8294" name="Vrije vorm: vorm 8293">
                <a:extLst>
                  <a:ext uri="{FF2B5EF4-FFF2-40B4-BE49-F238E27FC236}">
                    <a16:creationId xmlns:a16="http://schemas.microsoft.com/office/drawing/2014/main" id="{BD0CC750-01C4-4394-8B48-B8F84B50C079}"/>
                  </a:ext>
                </a:extLst>
              </p:cNvPr>
              <p:cNvSpPr/>
              <p:nvPr/>
            </p:nvSpPr>
            <p:spPr>
              <a:xfrm>
                <a:off x="4151418" y="4323504"/>
                <a:ext cx="505191" cy="399093"/>
              </a:xfrm>
              <a:custGeom>
                <a:avLst/>
                <a:gdLst>
                  <a:gd name="connsiteX0" fmla="*/ 0 w 505191"/>
                  <a:gd name="connsiteY0" fmla="*/ 399093 h 399093"/>
                  <a:gd name="connsiteX1" fmla="*/ 505192 w 505191"/>
                  <a:gd name="connsiteY1" fmla="*/ 0 h 399093"/>
                </a:gdLst>
                <a:ahLst/>
                <a:cxnLst>
                  <a:cxn ang="0">
                    <a:pos x="connsiteX0" y="connsiteY0"/>
                  </a:cxn>
                  <a:cxn ang="0">
                    <a:pos x="connsiteX1" y="connsiteY1"/>
                  </a:cxn>
                </a:cxnLst>
                <a:rect l="l" t="t" r="r" b="b"/>
                <a:pathLst>
                  <a:path w="505191" h="399093">
                    <a:moveTo>
                      <a:pt x="0" y="399093"/>
                    </a:moveTo>
                    <a:cubicBezTo>
                      <a:pt x="122964" y="295328"/>
                      <a:pt x="308904" y="154004"/>
                      <a:pt x="505192" y="0"/>
                    </a:cubicBezTo>
                  </a:path>
                </a:pathLst>
              </a:custGeom>
              <a:noFill/>
              <a:ln w="6350" cap="rnd">
                <a:solidFill>
                  <a:schemeClr val="bg1">
                    <a:alpha val="80000"/>
                  </a:schemeClr>
                </a:solidFill>
                <a:prstDash val="solid"/>
                <a:miter/>
              </a:ln>
            </p:spPr>
            <p:txBody>
              <a:bodyPr rtlCol="0" anchor="ctr"/>
              <a:lstStyle/>
              <a:p>
                <a:endParaRPr lang="en-GB"/>
              </a:p>
            </p:txBody>
          </p:sp>
          <p:sp>
            <p:nvSpPr>
              <p:cNvPr id="8295" name="Vrije vorm: vorm 8294">
                <a:extLst>
                  <a:ext uri="{FF2B5EF4-FFF2-40B4-BE49-F238E27FC236}">
                    <a16:creationId xmlns:a16="http://schemas.microsoft.com/office/drawing/2014/main" id="{CB1BC1E0-2DE1-415D-8855-A16AF8902FD7}"/>
                  </a:ext>
                </a:extLst>
              </p:cNvPr>
              <p:cNvSpPr/>
              <p:nvPr/>
            </p:nvSpPr>
            <p:spPr>
              <a:xfrm>
                <a:off x="4114038" y="4415009"/>
                <a:ext cx="439642" cy="351726"/>
              </a:xfrm>
              <a:custGeom>
                <a:avLst/>
                <a:gdLst>
                  <a:gd name="connsiteX0" fmla="*/ 0 w 439642"/>
                  <a:gd name="connsiteY0" fmla="*/ 351726 h 351726"/>
                  <a:gd name="connsiteX1" fmla="*/ 439643 w 439642"/>
                  <a:gd name="connsiteY1" fmla="*/ 0 h 351726"/>
                </a:gdLst>
                <a:ahLst/>
                <a:cxnLst>
                  <a:cxn ang="0">
                    <a:pos x="connsiteX0" y="connsiteY0"/>
                  </a:cxn>
                  <a:cxn ang="0">
                    <a:pos x="connsiteX1" y="connsiteY1"/>
                  </a:cxn>
                </a:cxnLst>
                <a:rect l="l" t="t" r="r" b="b"/>
                <a:pathLst>
                  <a:path w="439642" h="351726">
                    <a:moveTo>
                      <a:pt x="0" y="351726"/>
                    </a:moveTo>
                    <a:cubicBezTo>
                      <a:pt x="99160" y="264228"/>
                      <a:pt x="260401" y="139829"/>
                      <a:pt x="439643" y="0"/>
                    </a:cubicBezTo>
                  </a:path>
                </a:pathLst>
              </a:custGeom>
              <a:noFill/>
              <a:ln w="6350" cap="rnd">
                <a:solidFill>
                  <a:schemeClr val="bg1">
                    <a:alpha val="80000"/>
                  </a:schemeClr>
                </a:solidFill>
                <a:prstDash val="solid"/>
                <a:miter/>
              </a:ln>
            </p:spPr>
            <p:txBody>
              <a:bodyPr rtlCol="0" anchor="ctr"/>
              <a:lstStyle/>
              <a:p>
                <a:endParaRPr lang="en-GB"/>
              </a:p>
            </p:txBody>
          </p:sp>
          <p:sp>
            <p:nvSpPr>
              <p:cNvPr id="8296" name="Vrije vorm: vorm 8295">
                <a:extLst>
                  <a:ext uri="{FF2B5EF4-FFF2-40B4-BE49-F238E27FC236}">
                    <a16:creationId xmlns:a16="http://schemas.microsoft.com/office/drawing/2014/main" id="{3F43AF19-2C90-45A3-8185-C7D339E5B736}"/>
                  </a:ext>
                </a:extLst>
              </p:cNvPr>
              <p:cNvSpPr/>
              <p:nvPr/>
            </p:nvSpPr>
            <p:spPr>
              <a:xfrm>
                <a:off x="4124744" y="4491861"/>
                <a:ext cx="425528" cy="345327"/>
              </a:xfrm>
              <a:custGeom>
                <a:avLst/>
                <a:gdLst>
                  <a:gd name="connsiteX0" fmla="*/ 0 w 425528"/>
                  <a:gd name="connsiteY0" fmla="*/ 345327 h 345327"/>
                  <a:gd name="connsiteX1" fmla="*/ 425529 w 425528"/>
                  <a:gd name="connsiteY1" fmla="*/ 0 h 345327"/>
                </a:gdLst>
                <a:ahLst/>
                <a:cxnLst>
                  <a:cxn ang="0">
                    <a:pos x="connsiteX0" y="connsiteY0"/>
                  </a:cxn>
                  <a:cxn ang="0">
                    <a:pos x="connsiteX1" y="connsiteY1"/>
                  </a:cxn>
                </a:cxnLst>
                <a:rect l="l" t="t" r="r" b="b"/>
                <a:pathLst>
                  <a:path w="425528" h="345327">
                    <a:moveTo>
                      <a:pt x="0" y="345327"/>
                    </a:moveTo>
                    <a:cubicBezTo>
                      <a:pt x="83790" y="269611"/>
                      <a:pt x="242339" y="144734"/>
                      <a:pt x="425529" y="0"/>
                    </a:cubicBezTo>
                  </a:path>
                </a:pathLst>
              </a:custGeom>
              <a:noFill/>
              <a:ln w="6350" cap="rnd">
                <a:solidFill>
                  <a:schemeClr val="bg1">
                    <a:alpha val="80000"/>
                  </a:schemeClr>
                </a:solidFill>
                <a:prstDash val="solid"/>
                <a:miter/>
              </a:ln>
            </p:spPr>
            <p:txBody>
              <a:bodyPr rtlCol="0" anchor="ctr"/>
              <a:lstStyle/>
              <a:p>
                <a:endParaRPr lang="en-GB"/>
              </a:p>
            </p:txBody>
          </p:sp>
          <p:sp>
            <p:nvSpPr>
              <p:cNvPr id="8297" name="Vrije vorm: vorm 8296">
                <a:extLst>
                  <a:ext uri="{FF2B5EF4-FFF2-40B4-BE49-F238E27FC236}">
                    <a16:creationId xmlns:a16="http://schemas.microsoft.com/office/drawing/2014/main" id="{E67AC245-D6D1-4B7C-AD1C-800A6B9EFE57}"/>
                  </a:ext>
                </a:extLst>
              </p:cNvPr>
              <p:cNvSpPr/>
              <p:nvPr/>
            </p:nvSpPr>
            <p:spPr>
              <a:xfrm>
                <a:off x="4213558" y="4886828"/>
                <a:ext cx="76373" cy="62976"/>
              </a:xfrm>
              <a:custGeom>
                <a:avLst/>
                <a:gdLst>
                  <a:gd name="connsiteX0" fmla="*/ 0 w 76373"/>
                  <a:gd name="connsiteY0" fmla="*/ 62977 h 62976"/>
                  <a:gd name="connsiteX1" fmla="*/ 76374 w 76373"/>
                  <a:gd name="connsiteY1" fmla="*/ 0 h 62976"/>
                </a:gdLst>
                <a:ahLst/>
                <a:cxnLst>
                  <a:cxn ang="0">
                    <a:pos x="connsiteX0" y="connsiteY0"/>
                  </a:cxn>
                  <a:cxn ang="0">
                    <a:pos x="connsiteX1" y="connsiteY1"/>
                  </a:cxn>
                </a:cxnLst>
                <a:rect l="l" t="t" r="r" b="b"/>
                <a:pathLst>
                  <a:path w="76373" h="62976">
                    <a:moveTo>
                      <a:pt x="0" y="62977"/>
                    </a:moveTo>
                    <a:cubicBezTo>
                      <a:pt x="20095" y="46470"/>
                      <a:pt x="45872" y="25238"/>
                      <a:pt x="76374" y="0"/>
                    </a:cubicBezTo>
                  </a:path>
                </a:pathLst>
              </a:custGeom>
              <a:noFill/>
              <a:ln w="6350" cap="rnd">
                <a:solidFill>
                  <a:schemeClr val="bg1">
                    <a:alpha val="80000"/>
                  </a:schemeClr>
                </a:solidFill>
                <a:prstDash val="solid"/>
                <a:miter/>
              </a:ln>
            </p:spPr>
            <p:txBody>
              <a:bodyPr rtlCol="0" anchor="ctr"/>
              <a:lstStyle/>
              <a:p>
                <a:endParaRPr lang="en-GB"/>
              </a:p>
            </p:txBody>
          </p:sp>
          <p:sp>
            <p:nvSpPr>
              <p:cNvPr id="8298" name="Vrije vorm: vorm 8297">
                <a:extLst>
                  <a:ext uri="{FF2B5EF4-FFF2-40B4-BE49-F238E27FC236}">
                    <a16:creationId xmlns:a16="http://schemas.microsoft.com/office/drawing/2014/main" id="{8CE2D242-4A14-4D0D-9FD8-4288CDC90437}"/>
                  </a:ext>
                </a:extLst>
              </p:cNvPr>
              <p:cNvSpPr/>
              <p:nvPr/>
            </p:nvSpPr>
            <p:spPr>
              <a:xfrm>
                <a:off x="4323603" y="4923549"/>
                <a:ext cx="62678" cy="50776"/>
              </a:xfrm>
              <a:custGeom>
                <a:avLst/>
                <a:gdLst>
                  <a:gd name="connsiteX0" fmla="*/ 0 w 62678"/>
                  <a:gd name="connsiteY0" fmla="*/ 50776 h 50776"/>
                  <a:gd name="connsiteX1" fmla="*/ 62678 w 62678"/>
                  <a:gd name="connsiteY1" fmla="*/ 0 h 50776"/>
                </a:gdLst>
                <a:ahLst/>
                <a:cxnLst>
                  <a:cxn ang="0">
                    <a:pos x="connsiteX0" y="connsiteY0"/>
                  </a:cxn>
                  <a:cxn ang="0">
                    <a:pos x="connsiteX1" y="connsiteY1"/>
                  </a:cxn>
                </a:cxnLst>
                <a:rect l="l" t="t" r="r" b="b"/>
                <a:pathLst>
                  <a:path w="62678" h="50776">
                    <a:moveTo>
                      <a:pt x="0" y="50776"/>
                    </a:moveTo>
                    <a:cubicBezTo>
                      <a:pt x="18959" y="35705"/>
                      <a:pt x="39892" y="18719"/>
                      <a:pt x="62678" y="0"/>
                    </a:cubicBezTo>
                  </a:path>
                </a:pathLst>
              </a:custGeom>
              <a:noFill/>
              <a:ln w="6350" cap="rnd">
                <a:solidFill>
                  <a:schemeClr val="bg1">
                    <a:alpha val="80000"/>
                  </a:schemeClr>
                </a:solidFill>
                <a:prstDash val="solid"/>
                <a:miter/>
              </a:ln>
            </p:spPr>
            <p:txBody>
              <a:bodyPr rtlCol="0" anchor="ctr"/>
              <a:lstStyle/>
              <a:p>
                <a:endParaRPr lang="en-GB"/>
              </a:p>
            </p:txBody>
          </p:sp>
          <p:sp>
            <p:nvSpPr>
              <p:cNvPr id="8299" name="Vrije vorm: vorm 8298">
                <a:extLst>
                  <a:ext uri="{FF2B5EF4-FFF2-40B4-BE49-F238E27FC236}">
                    <a16:creationId xmlns:a16="http://schemas.microsoft.com/office/drawing/2014/main" id="{AC2AED40-E82C-4A94-80D2-6E8251FCF5EC}"/>
                  </a:ext>
                </a:extLst>
              </p:cNvPr>
              <p:cNvSpPr/>
              <p:nvPr/>
            </p:nvSpPr>
            <p:spPr>
              <a:xfrm>
                <a:off x="4125282" y="4483189"/>
                <a:ext cx="417873" cy="338269"/>
              </a:xfrm>
              <a:custGeom>
                <a:avLst/>
                <a:gdLst>
                  <a:gd name="connsiteX0" fmla="*/ 0 w 417873"/>
                  <a:gd name="connsiteY0" fmla="*/ 338270 h 338269"/>
                  <a:gd name="connsiteX1" fmla="*/ 417873 w 417873"/>
                  <a:gd name="connsiteY1" fmla="*/ 0 h 338269"/>
                </a:gdLst>
                <a:ahLst/>
                <a:cxnLst>
                  <a:cxn ang="0">
                    <a:pos x="connsiteX0" y="connsiteY0"/>
                  </a:cxn>
                  <a:cxn ang="0">
                    <a:pos x="connsiteX1" y="connsiteY1"/>
                  </a:cxn>
                </a:cxnLst>
                <a:rect l="l" t="t" r="r" b="b"/>
                <a:pathLst>
                  <a:path w="417873" h="338269">
                    <a:moveTo>
                      <a:pt x="0" y="338270"/>
                    </a:moveTo>
                    <a:cubicBezTo>
                      <a:pt x="86302" y="260939"/>
                      <a:pt x="240664" y="139650"/>
                      <a:pt x="417873" y="0"/>
                    </a:cubicBezTo>
                  </a:path>
                </a:pathLst>
              </a:custGeom>
              <a:noFill/>
              <a:ln w="6350" cap="rnd">
                <a:solidFill>
                  <a:schemeClr val="bg1">
                    <a:alpha val="80000"/>
                  </a:schemeClr>
                </a:solidFill>
                <a:prstDash val="solid"/>
                <a:miter/>
              </a:ln>
            </p:spPr>
            <p:txBody>
              <a:bodyPr rtlCol="0" anchor="ctr"/>
              <a:lstStyle/>
              <a:p>
                <a:endParaRPr lang="en-GB"/>
              </a:p>
            </p:txBody>
          </p:sp>
          <p:sp>
            <p:nvSpPr>
              <p:cNvPr id="8300" name="Vrije vorm: vorm 8299">
                <a:extLst>
                  <a:ext uri="{FF2B5EF4-FFF2-40B4-BE49-F238E27FC236}">
                    <a16:creationId xmlns:a16="http://schemas.microsoft.com/office/drawing/2014/main" id="{9CEBABF0-B8C7-4B0B-8944-991E38F4F0DF}"/>
                  </a:ext>
                </a:extLst>
              </p:cNvPr>
              <p:cNvSpPr/>
              <p:nvPr/>
            </p:nvSpPr>
            <p:spPr>
              <a:xfrm>
                <a:off x="4183415" y="4212501"/>
                <a:ext cx="452561" cy="347120"/>
              </a:xfrm>
              <a:custGeom>
                <a:avLst/>
                <a:gdLst>
                  <a:gd name="connsiteX0" fmla="*/ 0 w 452561"/>
                  <a:gd name="connsiteY0" fmla="*/ 347121 h 347120"/>
                  <a:gd name="connsiteX1" fmla="*/ 452561 w 452561"/>
                  <a:gd name="connsiteY1" fmla="*/ 0 h 347120"/>
                </a:gdLst>
                <a:ahLst/>
                <a:cxnLst>
                  <a:cxn ang="0">
                    <a:pos x="connsiteX0" y="connsiteY0"/>
                  </a:cxn>
                  <a:cxn ang="0">
                    <a:pos x="connsiteX1" y="connsiteY1"/>
                  </a:cxn>
                </a:cxnLst>
                <a:rect l="l" t="t" r="r" b="b"/>
                <a:pathLst>
                  <a:path w="452561" h="347120">
                    <a:moveTo>
                      <a:pt x="0" y="347121"/>
                    </a:moveTo>
                    <a:cubicBezTo>
                      <a:pt x="129064" y="244731"/>
                      <a:pt x="289646" y="126133"/>
                      <a:pt x="452561" y="0"/>
                    </a:cubicBezTo>
                  </a:path>
                </a:pathLst>
              </a:custGeom>
              <a:noFill/>
              <a:ln w="6350" cap="rnd">
                <a:solidFill>
                  <a:schemeClr val="bg1">
                    <a:alpha val="80000"/>
                  </a:schemeClr>
                </a:solidFill>
                <a:prstDash val="solid"/>
                <a:miter/>
              </a:ln>
            </p:spPr>
            <p:txBody>
              <a:bodyPr rtlCol="0" anchor="ctr"/>
              <a:lstStyle/>
              <a:p>
                <a:endParaRPr lang="en-GB"/>
              </a:p>
            </p:txBody>
          </p:sp>
          <p:sp>
            <p:nvSpPr>
              <p:cNvPr id="8301" name="Vrije vorm: vorm 8300">
                <a:extLst>
                  <a:ext uri="{FF2B5EF4-FFF2-40B4-BE49-F238E27FC236}">
                    <a16:creationId xmlns:a16="http://schemas.microsoft.com/office/drawing/2014/main" id="{BA6CD0CF-D39D-4BE0-8902-7029786D456D}"/>
                  </a:ext>
                </a:extLst>
              </p:cNvPr>
              <p:cNvSpPr/>
              <p:nvPr/>
            </p:nvSpPr>
            <p:spPr>
              <a:xfrm>
                <a:off x="4287898" y="4119621"/>
                <a:ext cx="199995" cy="329836"/>
              </a:xfrm>
              <a:custGeom>
                <a:avLst/>
                <a:gdLst>
                  <a:gd name="connsiteX0" fmla="*/ 0 w 199995"/>
                  <a:gd name="connsiteY0" fmla="*/ 329837 h 329836"/>
                  <a:gd name="connsiteX1" fmla="*/ 199995 w 199995"/>
                  <a:gd name="connsiteY1" fmla="*/ 0 h 329836"/>
                </a:gdLst>
                <a:ahLst/>
                <a:cxnLst>
                  <a:cxn ang="0">
                    <a:pos x="connsiteX0" y="connsiteY0"/>
                  </a:cxn>
                  <a:cxn ang="0">
                    <a:pos x="connsiteX1" y="connsiteY1"/>
                  </a:cxn>
                </a:cxnLst>
                <a:rect l="l" t="t" r="r" b="b"/>
                <a:pathLst>
                  <a:path w="199995" h="329836">
                    <a:moveTo>
                      <a:pt x="0" y="329837"/>
                    </a:moveTo>
                    <a:cubicBezTo>
                      <a:pt x="54724" y="226071"/>
                      <a:pt x="124220" y="115010"/>
                      <a:pt x="199995" y="0"/>
                    </a:cubicBezTo>
                  </a:path>
                </a:pathLst>
              </a:custGeom>
              <a:noFill/>
              <a:ln w="6350" cap="rnd">
                <a:solidFill>
                  <a:schemeClr val="bg1">
                    <a:alpha val="80000"/>
                  </a:schemeClr>
                </a:solidFill>
                <a:prstDash val="solid"/>
                <a:miter/>
              </a:ln>
            </p:spPr>
            <p:txBody>
              <a:bodyPr rtlCol="0" anchor="ctr"/>
              <a:lstStyle/>
              <a:p>
                <a:endParaRPr lang="en-GB"/>
              </a:p>
            </p:txBody>
          </p:sp>
          <p:sp>
            <p:nvSpPr>
              <p:cNvPr id="8302" name="Vrije vorm: vorm 8301">
                <a:extLst>
                  <a:ext uri="{FF2B5EF4-FFF2-40B4-BE49-F238E27FC236}">
                    <a16:creationId xmlns:a16="http://schemas.microsoft.com/office/drawing/2014/main" id="{FA46A0F9-9D2C-4E57-90F7-AB3F7C3A02DC}"/>
                  </a:ext>
                </a:extLst>
              </p:cNvPr>
              <p:cNvSpPr/>
              <p:nvPr/>
            </p:nvSpPr>
            <p:spPr>
              <a:xfrm>
                <a:off x="4154408" y="4706509"/>
                <a:ext cx="30442" cy="115248"/>
              </a:xfrm>
              <a:custGeom>
                <a:avLst/>
                <a:gdLst>
                  <a:gd name="connsiteX0" fmla="*/ 0 w 30442"/>
                  <a:gd name="connsiteY0" fmla="*/ 115249 h 115248"/>
                  <a:gd name="connsiteX1" fmla="*/ 30442 w 30442"/>
                  <a:gd name="connsiteY1" fmla="*/ 0 h 115248"/>
                </a:gdLst>
                <a:ahLst/>
                <a:cxnLst>
                  <a:cxn ang="0">
                    <a:pos x="connsiteX0" y="connsiteY0"/>
                  </a:cxn>
                  <a:cxn ang="0">
                    <a:pos x="connsiteX1" y="connsiteY1"/>
                  </a:cxn>
                </a:cxnLst>
                <a:rect l="l" t="t" r="r" b="b"/>
                <a:pathLst>
                  <a:path w="30442" h="115248">
                    <a:moveTo>
                      <a:pt x="0" y="115249"/>
                    </a:moveTo>
                    <a:cubicBezTo>
                      <a:pt x="5861" y="80261"/>
                      <a:pt x="16028" y="41626"/>
                      <a:pt x="30442" y="0"/>
                    </a:cubicBezTo>
                  </a:path>
                </a:pathLst>
              </a:custGeom>
              <a:noFill/>
              <a:ln w="6350" cap="rnd">
                <a:solidFill>
                  <a:schemeClr val="bg1">
                    <a:alpha val="80000"/>
                  </a:schemeClr>
                </a:solidFill>
                <a:prstDash val="solid"/>
                <a:miter/>
              </a:ln>
            </p:spPr>
            <p:txBody>
              <a:bodyPr rtlCol="0" anchor="ctr"/>
              <a:lstStyle/>
              <a:p>
                <a:endParaRPr lang="en-GB"/>
              </a:p>
            </p:txBody>
          </p:sp>
          <p:sp>
            <p:nvSpPr>
              <p:cNvPr id="8303" name="Vrije vorm: vorm 8302">
                <a:extLst>
                  <a:ext uri="{FF2B5EF4-FFF2-40B4-BE49-F238E27FC236}">
                    <a16:creationId xmlns:a16="http://schemas.microsoft.com/office/drawing/2014/main" id="{6704D8DA-6E67-487A-A7D2-2B889F7DB62C}"/>
                  </a:ext>
                </a:extLst>
              </p:cNvPr>
              <p:cNvSpPr/>
              <p:nvPr/>
            </p:nvSpPr>
            <p:spPr>
              <a:xfrm>
                <a:off x="4828675" y="4437795"/>
                <a:ext cx="229600" cy="231155"/>
              </a:xfrm>
              <a:custGeom>
                <a:avLst/>
                <a:gdLst>
                  <a:gd name="connsiteX0" fmla="*/ 229600 w 229600"/>
                  <a:gd name="connsiteY0" fmla="*/ 231155 h 231155"/>
                  <a:gd name="connsiteX1" fmla="*/ 0 w 229600"/>
                  <a:gd name="connsiteY1" fmla="*/ 0 h 231155"/>
                </a:gdLst>
                <a:ahLst/>
                <a:cxnLst>
                  <a:cxn ang="0">
                    <a:pos x="connsiteX0" y="connsiteY0"/>
                  </a:cxn>
                  <a:cxn ang="0">
                    <a:pos x="connsiteX1" y="connsiteY1"/>
                  </a:cxn>
                </a:cxnLst>
                <a:rect l="l" t="t" r="r" b="b"/>
                <a:pathLst>
                  <a:path w="229600" h="231155">
                    <a:moveTo>
                      <a:pt x="229600" y="231155"/>
                    </a:moveTo>
                    <a:cubicBezTo>
                      <a:pt x="154542" y="153346"/>
                      <a:pt x="77989" y="76434"/>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304" name="Vrije vorm: vorm 8303">
                <a:extLst>
                  <a:ext uri="{FF2B5EF4-FFF2-40B4-BE49-F238E27FC236}">
                    <a16:creationId xmlns:a16="http://schemas.microsoft.com/office/drawing/2014/main" id="{1D735540-7A8F-4BAF-903B-9944E416CA00}"/>
                  </a:ext>
                </a:extLst>
              </p:cNvPr>
              <p:cNvSpPr/>
              <p:nvPr/>
            </p:nvSpPr>
            <p:spPr>
              <a:xfrm>
                <a:off x="4669468" y="4197490"/>
                <a:ext cx="266680" cy="164230"/>
              </a:xfrm>
              <a:custGeom>
                <a:avLst/>
                <a:gdLst>
                  <a:gd name="connsiteX0" fmla="*/ 0 w 266680"/>
                  <a:gd name="connsiteY0" fmla="*/ 0 h 164230"/>
                  <a:gd name="connsiteX1" fmla="*/ 266681 w 266680"/>
                  <a:gd name="connsiteY1" fmla="*/ 164231 h 164230"/>
                </a:gdLst>
                <a:ahLst/>
                <a:cxnLst>
                  <a:cxn ang="0">
                    <a:pos x="connsiteX0" y="connsiteY0"/>
                  </a:cxn>
                  <a:cxn ang="0">
                    <a:pos x="connsiteX1" y="connsiteY1"/>
                  </a:cxn>
                </a:cxnLst>
                <a:rect l="l" t="t" r="r" b="b"/>
                <a:pathLst>
                  <a:path w="266680" h="164230">
                    <a:moveTo>
                      <a:pt x="0" y="0"/>
                    </a:moveTo>
                    <a:cubicBezTo>
                      <a:pt x="126193" y="73563"/>
                      <a:pt x="148980" y="87019"/>
                      <a:pt x="266681" y="164231"/>
                    </a:cubicBezTo>
                  </a:path>
                </a:pathLst>
              </a:custGeom>
              <a:noFill/>
              <a:ln w="6350" cap="rnd">
                <a:solidFill>
                  <a:schemeClr val="bg1">
                    <a:alpha val="80000"/>
                  </a:schemeClr>
                </a:solidFill>
                <a:prstDash val="solid"/>
                <a:miter/>
              </a:ln>
            </p:spPr>
            <p:txBody>
              <a:bodyPr rtlCol="0" anchor="ctr"/>
              <a:lstStyle/>
              <a:p>
                <a:endParaRPr lang="en-GB"/>
              </a:p>
            </p:txBody>
          </p:sp>
          <p:sp>
            <p:nvSpPr>
              <p:cNvPr id="8305" name="Vrije vorm: vorm 8304">
                <a:extLst>
                  <a:ext uri="{FF2B5EF4-FFF2-40B4-BE49-F238E27FC236}">
                    <a16:creationId xmlns:a16="http://schemas.microsoft.com/office/drawing/2014/main" id="{04BE063F-2CF4-430D-BFB7-10E47E19FC0D}"/>
                  </a:ext>
                </a:extLst>
              </p:cNvPr>
              <p:cNvSpPr/>
              <p:nvPr/>
            </p:nvSpPr>
            <p:spPr>
              <a:xfrm>
                <a:off x="4832742" y="4226676"/>
                <a:ext cx="217339" cy="550166"/>
              </a:xfrm>
              <a:custGeom>
                <a:avLst/>
                <a:gdLst>
                  <a:gd name="connsiteX0" fmla="*/ 0 w 217339"/>
                  <a:gd name="connsiteY0" fmla="*/ 0 h 550166"/>
                  <a:gd name="connsiteX1" fmla="*/ 217340 w 217339"/>
                  <a:gd name="connsiteY1" fmla="*/ 550167 h 550166"/>
                </a:gdLst>
                <a:ahLst/>
                <a:cxnLst>
                  <a:cxn ang="0">
                    <a:pos x="connsiteX0" y="connsiteY0"/>
                  </a:cxn>
                  <a:cxn ang="0">
                    <a:pos x="connsiteX1" y="connsiteY1"/>
                  </a:cxn>
                </a:cxnLst>
                <a:rect l="l" t="t" r="r" b="b"/>
                <a:pathLst>
                  <a:path w="217339" h="550166">
                    <a:moveTo>
                      <a:pt x="0" y="0"/>
                    </a:moveTo>
                    <a:cubicBezTo>
                      <a:pt x="81278" y="233786"/>
                      <a:pt x="122605" y="321464"/>
                      <a:pt x="217340" y="550167"/>
                    </a:cubicBezTo>
                  </a:path>
                </a:pathLst>
              </a:custGeom>
              <a:noFill/>
              <a:ln w="6350" cap="rnd">
                <a:solidFill>
                  <a:schemeClr val="bg1">
                    <a:alpha val="80000"/>
                  </a:schemeClr>
                </a:solidFill>
                <a:prstDash val="solid"/>
                <a:miter/>
              </a:ln>
            </p:spPr>
            <p:txBody>
              <a:bodyPr rtlCol="0" anchor="ctr"/>
              <a:lstStyle/>
              <a:p>
                <a:endParaRPr lang="en-GB"/>
              </a:p>
            </p:txBody>
          </p:sp>
          <p:sp>
            <p:nvSpPr>
              <p:cNvPr id="8306" name="Vrije vorm: vorm 8305">
                <a:extLst>
                  <a:ext uri="{FF2B5EF4-FFF2-40B4-BE49-F238E27FC236}">
                    <a16:creationId xmlns:a16="http://schemas.microsoft.com/office/drawing/2014/main" id="{8A9CB587-3F47-480C-AA92-E1FE89917F6A}"/>
                  </a:ext>
                </a:extLst>
              </p:cNvPr>
              <p:cNvSpPr/>
              <p:nvPr/>
            </p:nvSpPr>
            <p:spPr>
              <a:xfrm>
                <a:off x="4441902" y="3845166"/>
                <a:ext cx="609913" cy="937597"/>
              </a:xfrm>
              <a:custGeom>
                <a:avLst/>
                <a:gdLst>
                  <a:gd name="connsiteX0" fmla="*/ 609914 w 609913"/>
                  <a:gd name="connsiteY0" fmla="*/ 937597 h 937597"/>
                  <a:gd name="connsiteX1" fmla="*/ 0 w 609913"/>
                  <a:gd name="connsiteY1" fmla="*/ 0 h 937597"/>
                </a:gdLst>
                <a:ahLst/>
                <a:cxnLst>
                  <a:cxn ang="0">
                    <a:pos x="connsiteX0" y="connsiteY0"/>
                  </a:cxn>
                  <a:cxn ang="0">
                    <a:pos x="connsiteX1" y="connsiteY1"/>
                  </a:cxn>
                </a:cxnLst>
                <a:rect l="l" t="t" r="r" b="b"/>
                <a:pathLst>
                  <a:path w="609913" h="937597">
                    <a:moveTo>
                      <a:pt x="609914" y="937597"/>
                    </a:moveTo>
                    <a:cubicBezTo>
                      <a:pt x="370087" y="556028"/>
                      <a:pt x="237315" y="381091"/>
                      <a:pt x="0" y="0"/>
                    </a:cubicBezTo>
                  </a:path>
                </a:pathLst>
              </a:custGeom>
              <a:noFill/>
              <a:ln w="6350" cap="rnd">
                <a:solidFill>
                  <a:schemeClr val="bg1">
                    <a:alpha val="80000"/>
                  </a:schemeClr>
                </a:solidFill>
                <a:prstDash val="solid"/>
                <a:miter/>
              </a:ln>
            </p:spPr>
            <p:txBody>
              <a:bodyPr rtlCol="0" anchor="ctr"/>
              <a:lstStyle/>
              <a:p>
                <a:endParaRPr lang="en-GB"/>
              </a:p>
            </p:txBody>
          </p:sp>
          <p:sp>
            <p:nvSpPr>
              <p:cNvPr id="8307" name="Vrije vorm: vorm 8306">
                <a:extLst>
                  <a:ext uri="{FF2B5EF4-FFF2-40B4-BE49-F238E27FC236}">
                    <a16:creationId xmlns:a16="http://schemas.microsoft.com/office/drawing/2014/main" id="{0E2EF617-8E4A-468A-983C-CA1E014609D7}"/>
                  </a:ext>
                </a:extLst>
              </p:cNvPr>
              <p:cNvSpPr/>
              <p:nvPr/>
            </p:nvSpPr>
            <p:spPr>
              <a:xfrm>
                <a:off x="4776463" y="4274701"/>
                <a:ext cx="262075" cy="484378"/>
              </a:xfrm>
              <a:custGeom>
                <a:avLst/>
                <a:gdLst>
                  <a:gd name="connsiteX0" fmla="*/ 0 w 262075"/>
                  <a:gd name="connsiteY0" fmla="*/ 0 h 484378"/>
                  <a:gd name="connsiteX1" fmla="*/ 262075 w 262075"/>
                  <a:gd name="connsiteY1" fmla="*/ 484379 h 484378"/>
                </a:gdLst>
                <a:ahLst/>
                <a:cxnLst>
                  <a:cxn ang="0">
                    <a:pos x="connsiteX0" y="connsiteY0"/>
                  </a:cxn>
                  <a:cxn ang="0">
                    <a:pos x="connsiteX1" y="connsiteY1"/>
                  </a:cxn>
                </a:cxnLst>
                <a:rect l="l" t="t" r="r" b="b"/>
                <a:pathLst>
                  <a:path w="262075" h="484378">
                    <a:moveTo>
                      <a:pt x="0" y="0"/>
                    </a:moveTo>
                    <a:cubicBezTo>
                      <a:pt x="155678" y="335638"/>
                      <a:pt x="85165" y="159865"/>
                      <a:pt x="262075" y="484379"/>
                    </a:cubicBezTo>
                  </a:path>
                </a:pathLst>
              </a:custGeom>
              <a:noFill/>
              <a:ln w="6350" cap="rnd">
                <a:solidFill>
                  <a:schemeClr val="bg1">
                    <a:alpha val="80000"/>
                  </a:schemeClr>
                </a:solidFill>
                <a:prstDash val="solid"/>
                <a:miter/>
              </a:ln>
            </p:spPr>
            <p:txBody>
              <a:bodyPr rtlCol="0" anchor="ctr"/>
              <a:lstStyle/>
              <a:p>
                <a:endParaRPr lang="en-GB"/>
              </a:p>
            </p:txBody>
          </p:sp>
          <p:sp>
            <p:nvSpPr>
              <p:cNvPr id="8308" name="Vrije vorm: vorm 8307">
                <a:extLst>
                  <a:ext uri="{FF2B5EF4-FFF2-40B4-BE49-F238E27FC236}">
                    <a16:creationId xmlns:a16="http://schemas.microsoft.com/office/drawing/2014/main" id="{BFE61C41-D9C8-44D8-B803-51578BE4C652}"/>
                  </a:ext>
                </a:extLst>
              </p:cNvPr>
              <p:cNvSpPr/>
              <p:nvPr/>
            </p:nvSpPr>
            <p:spPr>
              <a:xfrm>
                <a:off x="4744227" y="4459266"/>
                <a:ext cx="93179" cy="79483"/>
              </a:xfrm>
              <a:custGeom>
                <a:avLst/>
                <a:gdLst>
                  <a:gd name="connsiteX0" fmla="*/ 93180 w 93179"/>
                  <a:gd name="connsiteY0" fmla="*/ 12380 h 79483"/>
                  <a:gd name="connsiteX1" fmla="*/ 84209 w 93179"/>
                  <a:gd name="connsiteY1" fmla="*/ 0 h 79483"/>
                  <a:gd name="connsiteX2" fmla="*/ 0 w 93179"/>
                  <a:gd name="connsiteY2" fmla="*/ 68778 h 79483"/>
                  <a:gd name="connsiteX3" fmla="*/ 11244 w 93179"/>
                  <a:gd name="connsiteY3" fmla="*/ 79484 h 79483"/>
                  <a:gd name="connsiteX4" fmla="*/ 93180 w 93179"/>
                  <a:gd name="connsiteY4" fmla="*/ 12380 h 79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79" h="79483">
                    <a:moveTo>
                      <a:pt x="93180" y="12380"/>
                    </a:moveTo>
                    <a:cubicBezTo>
                      <a:pt x="90189" y="8253"/>
                      <a:pt x="87199" y="4127"/>
                      <a:pt x="84209" y="0"/>
                    </a:cubicBezTo>
                    <a:cubicBezTo>
                      <a:pt x="55860" y="23145"/>
                      <a:pt x="27751" y="46111"/>
                      <a:pt x="0" y="68778"/>
                    </a:cubicBezTo>
                    <a:cubicBezTo>
                      <a:pt x="3768" y="72367"/>
                      <a:pt x="7536" y="75895"/>
                      <a:pt x="11244" y="79484"/>
                    </a:cubicBezTo>
                    <a:cubicBezTo>
                      <a:pt x="38217" y="57415"/>
                      <a:pt x="65609" y="34987"/>
                      <a:pt x="93180" y="12380"/>
                    </a:cubicBezTo>
                    <a:close/>
                  </a:path>
                </a:pathLst>
              </a:custGeom>
              <a:noFill/>
              <a:ln w="6350" cap="rnd">
                <a:solidFill>
                  <a:schemeClr val="bg1">
                    <a:alpha val="80000"/>
                  </a:schemeClr>
                </a:solidFill>
                <a:prstDash val="solid"/>
                <a:miter/>
              </a:ln>
            </p:spPr>
            <p:txBody>
              <a:bodyPr rtlCol="0" anchor="ctr"/>
              <a:lstStyle/>
              <a:p>
                <a:endParaRPr lang="en-GB"/>
              </a:p>
            </p:txBody>
          </p:sp>
          <p:sp>
            <p:nvSpPr>
              <p:cNvPr id="8309" name="Vrije vorm: vorm 8308">
                <a:extLst>
                  <a:ext uri="{FF2B5EF4-FFF2-40B4-BE49-F238E27FC236}">
                    <a16:creationId xmlns:a16="http://schemas.microsoft.com/office/drawing/2014/main" id="{EF48FC48-B936-4D40-A16B-64AF41794F0D}"/>
                  </a:ext>
                </a:extLst>
              </p:cNvPr>
              <p:cNvSpPr/>
              <p:nvPr/>
            </p:nvSpPr>
            <p:spPr>
              <a:xfrm>
                <a:off x="4755471" y="4471706"/>
                <a:ext cx="91146" cy="77570"/>
              </a:xfrm>
              <a:custGeom>
                <a:avLst/>
                <a:gdLst>
                  <a:gd name="connsiteX0" fmla="*/ 91146 w 91146"/>
                  <a:gd name="connsiteY0" fmla="*/ 12739 h 77570"/>
                  <a:gd name="connsiteX1" fmla="*/ 81876 w 91146"/>
                  <a:gd name="connsiteY1" fmla="*/ 0 h 77570"/>
                  <a:gd name="connsiteX2" fmla="*/ 0 w 91146"/>
                  <a:gd name="connsiteY2" fmla="*/ 67104 h 77570"/>
                  <a:gd name="connsiteX3" fmla="*/ 12320 w 91146"/>
                  <a:gd name="connsiteY3" fmla="*/ 77570 h 77570"/>
                  <a:gd name="connsiteX4" fmla="*/ 91146 w 91146"/>
                  <a:gd name="connsiteY4" fmla="*/ 12739 h 77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46" h="77570">
                    <a:moveTo>
                      <a:pt x="91146" y="12739"/>
                    </a:moveTo>
                    <a:cubicBezTo>
                      <a:pt x="88036" y="8493"/>
                      <a:pt x="84986" y="4246"/>
                      <a:pt x="81876" y="0"/>
                    </a:cubicBezTo>
                    <a:cubicBezTo>
                      <a:pt x="54305" y="22547"/>
                      <a:pt x="26973" y="44975"/>
                      <a:pt x="0" y="67104"/>
                    </a:cubicBezTo>
                    <a:cubicBezTo>
                      <a:pt x="4127" y="70573"/>
                      <a:pt x="8194" y="74041"/>
                      <a:pt x="12320" y="77570"/>
                    </a:cubicBezTo>
                    <a:cubicBezTo>
                      <a:pt x="38337" y="56159"/>
                      <a:pt x="64652" y="34509"/>
                      <a:pt x="91146" y="12739"/>
                    </a:cubicBezTo>
                    <a:close/>
                  </a:path>
                </a:pathLst>
              </a:custGeom>
              <a:noFill/>
              <a:ln w="6350" cap="rnd">
                <a:solidFill>
                  <a:schemeClr val="bg1">
                    <a:alpha val="80000"/>
                  </a:schemeClr>
                </a:solidFill>
                <a:prstDash val="solid"/>
                <a:miter/>
              </a:ln>
            </p:spPr>
            <p:txBody>
              <a:bodyPr rtlCol="0" anchor="ctr"/>
              <a:lstStyle/>
              <a:p>
                <a:endParaRPr lang="en-GB"/>
              </a:p>
            </p:txBody>
          </p:sp>
          <p:sp>
            <p:nvSpPr>
              <p:cNvPr id="8310" name="Vrije vorm: vorm 8309">
                <a:extLst>
                  <a:ext uri="{FF2B5EF4-FFF2-40B4-BE49-F238E27FC236}">
                    <a16:creationId xmlns:a16="http://schemas.microsoft.com/office/drawing/2014/main" id="{D6507368-ADD9-4607-BA0B-94AB332F7639}"/>
                  </a:ext>
                </a:extLst>
              </p:cNvPr>
              <p:cNvSpPr/>
              <p:nvPr/>
            </p:nvSpPr>
            <p:spPr>
              <a:xfrm>
                <a:off x="4767612" y="4484445"/>
                <a:ext cx="88574" cy="75776"/>
              </a:xfrm>
              <a:custGeom>
                <a:avLst/>
                <a:gdLst>
                  <a:gd name="connsiteX0" fmla="*/ 88574 w 88574"/>
                  <a:gd name="connsiteY0" fmla="*/ 13158 h 75776"/>
                  <a:gd name="connsiteX1" fmla="*/ 79065 w 88574"/>
                  <a:gd name="connsiteY1" fmla="*/ 0 h 75776"/>
                  <a:gd name="connsiteX2" fmla="*/ 0 w 88574"/>
                  <a:gd name="connsiteY2" fmla="*/ 65010 h 75776"/>
                  <a:gd name="connsiteX3" fmla="*/ 12619 w 88574"/>
                  <a:gd name="connsiteY3" fmla="*/ 75776 h 75776"/>
                  <a:gd name="connsiteX4" fmla="*/ 88574 w 88574"/>
                  <a:gd name="connsiteY4" fmla="*/ 13158 h 75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4" h="75776">
                    <a:moveTo>
                      <a:pt x="88574" y="13158"/>
                    </a:moveTo>
                    <a:cubicBezTo>
                      <a:pt x="85405" y="8792"/>
                      <a:pt x="82235" y="4366"/>
                      <a:pt x="79065" y="0"/>
                    </a:cubicBezTo>
                    <a:cubicBezTo>
                      <a:pt x="52451" y="21830"/>
                      <a:pt x="26076" y="43540"/>
                      <a:pt x="0" y="65010"/>
                    </a:cubicBezTo>
                    <a:cubicBezTo>
                      <a:pt x="4246" y="68599"/>
                      <a:pt x="8433" y="72187"/>
                      <a:pt x="12619" y="75776"/>
                    </a:cubicBezTo>
                    <a:cubicBezTo>
                      <a:pt x="37678" y="55083"/>
                      <a:pt x="63037" y="34150"/>
                      <a:pt x="88574" y="13158"/>
                    </a:cubicBezTo>
                    <a:close/>
                  </a:path>
                </a:pathLst>
              </a:custGeom>
              <a:noFill/>
              <a:ln w="6350" cap="rnd">
                <a:solidFill>
                  <a:schemeClr val="bg1">
                    <a:alpha val="80000"/>
                  </a:schemeClr>
                </a:solidFill>
                <a:prstDash val="solid"/>
                <a:miter/>
              </a:ln>
            </p:spPr>
            <p:txBody>
              <a:bodyPr rtlCol="0" anchor="ctr"/>
              <a:lstStyle/>
              <a:p>
                <a:endParaRPr lang="en-GB"/>
              </a:p>
            </p:txBody>
          </p:sp>
          <p:sp>
            <p:nvSpPr>
              <p:cNvPr id="8311" name="Vrije vorm: vorm 8310">
                <a:extLst>
                  <a:ext uri="{FF2B5EF4-FFF2-40B4-BE49-F238E27FC236}">
                    <a16:creationId xmlns:a16="http://schemas.microsoft.com/office/drawing/2014/main" id="{2CA59111-635F-49A0-87C1-06C7CBF1E58B}"/>
                  </a:ext>
                </a:extLst>
              </p:cNvPr>
              <p:cNvSpPr/>
              <p:nvPr/>
            </p:nvSpPr>
            <p:spPr>
              <a:xfrm>
                <a:off x="4779992" y="4497602"/>
                <a:ext cx="85524" cy="73383"/>
              </a:xfrm>
              <a:custGeom>
                <a:avLst/>
                <a:gdLst>
                  <a:gd name="connsiteX0" fmla="*/ 85524 w 85524"/>
                  <a:gd name="connsiteY0" fmla="*/ 12919 h 73383"/>
                  <a:gd name="connsiteX1" fmla="*/ 76194 w 85524"/>
                  <a:gd name="connsiteY1" fmla="*/ 0 h 73383"/>
                  <a:gd name="connsiteX2" fmla="*/ 0 w 85524"/>
                  <a:gd name="connsiteY2" fmla="*/ 62798 h 73383"/>
                  <a:gd name="connsiteX3" fmla="*/ 12380 w 85524"/>
                  <a:gd name="connsiteY3" fmla="*/ 73384 h 73383"/>
                  <a:gd name="connsiteX4" fmla="*/ 85524 w 85524"/>
                  <a:gd name="connsiteY4" fmla="*/ 12919 h 73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24" h="73383">
                    <a:moveTo>
                      <a:pt x="85524" y="12919"/>
                    </a:moveTo>
                    <a:cubicBezTo>
                      <a:pt x="82414" y="8612"/>
                      <a:pt x="79304" y="4306"/>
                      <a:pt x="76194" y="0"/>
                    </a:cubicBezTo>
                    <a:cubicBezTo>
                      <a:pt x="50537" y="21112"/>
                      <a:pt x="25119" y="42104"/>
                      <a:pt x="0" y="62798"/>
                    </a:cubicBezTo>
                    <a:cubicBezTo>
                      <a:pt x="4126" y="66326"/>
                      <a:pt x="8253" y="69855"/>
                      <a:pt x="12380" y="73384"/>
                    </a:cubicBezTo>
                    <a:cubicBezTo>
                      <a:pt x="36482" y="53408"/>
                      <a:pt x="60943" y="33193"/>
                      <a:pt x="85524" y="12919"/>
                    </a:cubicBezTo>
                    <a:close/>
                  </a:path>
                </a:pathLst>
              </a:custGeom>
              <a:noFill/>
              <a:ln w="6350" cap="rnd">
                <a:solidFill>
                  <a:schemeClr val="bg1">
                    <a:alpha val="80000"/>
                  </a:schemeClr>
                </a:solidFill>
                <a:prstDash val="solid"/>
                <a:miter/>
              </a:ln>
            </p:spPr>
            <p:txBody>
              <a:bodyPr rtlCol="0" anchor="ctr"/>
              <a:lstStyle/>
              <a:p>
                <a:endParaRPr lang="en-GB"/>
              </a:p>
            </p:txBody>
          </p:sp>
          <p:sp>
            <p:nvSpPr>
              <p:cNvPr id="8312" name="Vrije vorm: vorm 8311">
                <a:extLst>
                  <a:ext uri="{FF2B5EF4-FFF2-40B4-BE49-F238E27FC236}">
                    <a16:creationId xmlns:a16="http://schemas.microsoft.com/office/drawing/2014/main" id="{37945E70-086B-4E7E-A87F-FD99FC1D5309}"/>
                  </a:ext>
                </a:extLst>
              </p:cNvPr>
              <p:cNvSpPr/>
              <p:nvPr/>
            </p:nvSpPr>
            <p:spPr>
              <a:xfrm>
                <a:off x="4842371" y="4744128"/>
                <a:ext cx="185701" cy="102330"/>
              </a:xfrm>
              <a:custGeom>
                <a:avLst/>
                <a:gdLst>
                  <a:gd name="connsiteX0" fmla="*/ 0 w 185701"/>
                  <a:gd name="connsiteY0" fmla="*/ 62020 h 102330"/>
                  <a:gd name="connsiteX1" fmla="*/ 69675 w 185701"/>
                  <a:gd name="connsiteY1" fmla="*/ 102330 h 102330"/>
                  <a:gd name="connsiteX2" fmla="*/ 185701 w 185701"/>
                  <a:gd name="connsiteY2" fmla="*/ 0 h 102330"/>
                </a:gdLst>
                <a:ahLst/>
                <a:cxnLst>
                  <a:cxn ang="0">
                    <a:pos x="connsiteX0" y="connsiteY0"/>
                  </a:cxn>
                  <a:cxn ang="0">
                    <a:pos x="connsiteX1" y="connsiteY1"/>
                  </a:cxn>
                  <a:cxn ang="0">
                    <a:pos x="connsiteX2" y="connsiteY2"/>
                  </a:cxn>
                </a:cxnLst>
                <a:rect l="l" t="t" r="r" b="b"/>
                <a:pathLst>
                  <a:path w="185701" h="102330">
                    <a:moveTo>
                      <a:pt x="0" y="62020"/>
                    </a:moveTo>
                    <a:cubicBezTo>
                      <a:pt x="23325" y="75477"/>
                      <a:pt x="46590" y="88873"/>
                      <a:pt x="69675" y="102330"/>
                    </a:cubicBezTo>
                    <a:cubicBezTo>
                      <a:pt x="107713" y="68479"/>
                      <a:pt x="146408" y="34150"/>
                      <a:pt x="185701" y="0"/>
                    </a:cubicBezTo>
                  </a:path>
                </a:pathLst>
              </a:custGeom>
              <a:noFill/>
              <a:ln w="6350" cap="rnd">
                <a:solidFill>
                  <a:schemeClr val="bg1">
                    <a:alpha val="80000"/>
                  </a:schemeClr>
                </a:solidFill>
                <a:prstDash val="solid"/>
                <a:miter/>
              </a:ln>
            </p:spPr>
            <p:txBody>
              <a:bodyPr rtlCol="0" anchor="ctr"/>
              <a:lstStyle/>
              <a:p>
                <a:endParaRPr lang="en-GB"/>
              </a:p>
            </p:txBody>
          </p:sp>
        </p:grpSp>
        <p:grpSp>
          <p:nvGrpSpPr>
            <p:cNvPr id="7308" name="Graphic 3">
              <a:extLst>
                <a:ext uri="{FF2B5EF4-FFF2-40B4-BE49-F238E27FC236}">
                  <a16:creationId xmlns:a16="http://schemas.microsoft.com/office/drawing/2014/main" id="{6F75E92E-9683-476F-BEEC-FECC1DFA5BBA}"/>
                </a:ext>
              </a:extLst>
            </p:cNvPr>
            <p:cNvGrpSpPr/>
            <p:nvPr/>
          </p:nvGrpSpPr>
          <p:grpSpPr>
            <a:xfrm>
              <a:off x="5568789" y="5004110"/>
              <a:ext cx="335399" cy="517663"/>
              <a:chOff x="5568789" y="5004110"/>
              <a:chExt cx="335399" cy="517663"/>
            </a:xfrm>
            <a:noFill/>
          </p:grpSpPr>
          <p:grpSp>
            <p:nvGrpSpPr>
              <p:cNvPr id="7542" name="Graphic 3">
                <a:extLst>
                  <a:ext uri="{FF2B5EF4-FFF2-40B4-BE49-F238E27FC236}">
                    <a16:creationId xmlns:a16="http://schemas.microsoft.com/office/drawing/2014/main" id="{4816B3DB-20ED-49E2-BB92-C75B6AF8EFD8}"/>
                  </a:ext>
                </a:extLst>
              </p:cNvPr>
              <p:cNvGrpSpPr/>
              <p:nvPr/>
            </p:nvGrpSpPr>
            <p:grpSpPr>
              <a:xfrm>
                <a:off x="5568789" y="5004110"/>
                <a:ext cx="335399" cy="409200"/>
                <a:chOff x="5568789" y="5004110"/>
                <a:chExt cx="335399" cy="409200"/>
              </a:xfrm>
              <a:noFill/>
            </p:grpSpPr>
            <p:sp>
              <p:nvSpPr>
                <p:cNvPr id="7547" name="Vrije vorm: vorm 7546">
                  <a:extLst>
                    <a:ext uri="{FF2B5EF4-FFF2-40B4-BE49-F238E27FC236}">
                      <a16:creationId xmlns:a16="http://schemas.microsoft.com/office/drawing/2014/main" id="{050AB12A-5522-41E5-A6FB-02F8250D8D68}"/>
                    </a:ext>
                  </a:extLst>
                </p:cNvPr>
                <p:cNvSpPr/>
                <p:nvPr/>
              </p:nvSpPr>
              <p:spPr>
                <a:xfrm>
                  <a:off x="5737565" y="5020377"/>
                  <a:ext cx="1315" cy="2571"/>
                </a:xfrm>
                <a:custGeom>
                  <a:avLst/>
                  <a:gdLst>
                    <a:gd name="connsiteX0" fmla="*/ 0 w 1315"/>
                    <a:gd name="connsiteY0" fmla="*/ 2572 h 2571"/>
                    <a:gd name="connsiteX1" fmla="*/ 0 w 1315"/>
                    <a:gd name="connsiteY1" fmla="*/ 2572 h 2571"/>
                    <a:gd name="connsiteX2" fmla="*/ 478 w 1315"/>
                    <a:gd name="connsiteY2" fmla="*/ 1615 h 2571"/>
                    <a:gd name="connsiteX3" fmla="*/ 1316 w 1315"/>
                    <a:gd name="connsiteY3" fmla="*/ 0 h 2571"/>
                  </a:gdLst>
                  <a:ahLst/>
                  <a:cxnLst>
                    <a:cxn ang="0">
                      <a:pos x="connsiteX0" y="connsiteY0"/>
                    </a:cxn>
                    <a:cxn ang="0">
                      <a:pos x="connsiteX1" y="connsiteY1"/>
                    </a:cxn>
                    <a:cxn ang="0">
                      <a:pos x="connsiteX2" y="connsiteY2"/>
                    </a:cxn>
                    <a:cxn ang="0">
                      <a:pos x="connsiteX3" y="connsiteY3"/>
                    </a:cxn>
                  </a:cxnLst>
                  <a:rect l="l" t="t" r="r" b="b"/>
                  <a:pathLst>
                    <a:path w="1315" h="2571">
                      <a:moveTo>
                        <a:pt x="0" y="2572"/>
                      </a:moveTo>
                      <a:lnTo>
                        <a:pt x="0" y="2572"/>
                      </a:lnTo>
                      <a:lnTo>
                        <a:pt x="478" y="1615"/>
                      </a:lnTo>
                      <a:lnTo>
                        <a:pt x="1316" y="0"/>
                      </a:lnTo>
                    </a:path>
                  </a:pathLst>
                </a:custGeom>
                <a:noFill/>
                <a:ln w="6350" cap="flat">
                  <a:solidFill>
                    <a:schemeClr val="bg1">
                      <a:alpha val="80000"/>
                    </a:schemeClr>
                  </a:solidFill>
                  <a:prstDash val="solid"/>
                  <a:miter/>
                </a:ln>
              </p:spPr>
              <p:txBody>
                <a:bodyPr rtlCol="0" anchor="ctr"/>
                <a:lstStyle/>
                <a:p>
                  <a:endParaRPr lang="en-GB"/>
                </a:p>
              </p:txBody>
            </p:sp>
            <p:sp>
              <p:nvSpPr>
                <p:cNvPr id="7548" name="Vrije vorm: vorm 7547">
                  <a:extLst>
                    <a:ext uri="{FF2B5EF4-FFF2-40B4-BE49-F238E27FC236}">
                      <a16:creationId xmlns:a16="http://schemas.microsoft.com/office/drawing/2014/main" id="{F1EC9F88-506A-4F1A-BDE7-B012E812F491}"/>
                    </a:ext>
                  </a:extLst>
                </p:cNvPr>
                <p:cNvSpPr/>
                <p:nvPr/>
              </p:nvSpPr>
              <p:spPr>
                <a:xfrm>
                  <a:off x="5738343" y="5019002"/>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549" name="Vrije vorm: vorm 7548">
                  <a:extLst>
                    <a:ext uri="{FF2B5EF4-FFF2-40B4-BE49-F238E27FC236}">
                      <a16:creationId xmlns:a16="http://schemas.microsoft.com/office/drawing/2014/main" id="{E24DDDC1-FB1F-4D3F-9C88-5DB5A0FA8CCA}"/>
                    </a:ext>
                  </a:extLst>
                </p:cNvPr>
                <p:cNvSpPr/>
                <p:nvPr/>
              </p:nvSpPr>
              <p:spPr>
                <a:xfrm>
                  <a:off x="5739300" y="5057577"/>
                  <a:ext cx="2811" cy="5502"/>
                </a:xfrm>
                <a:custGeom>
                  <a:avLst/>
                  <a:gdLst>
                    <a:gd name="connsiteX0" fmla="*/ 2811 w 2811"/>
                    <a:gd name="connsiteY0" fmla="*/ 0 h 5502"/>
                    <a:gd name="connsiteX1" fmla="*/ 2632 w 2811"/>
                    <a:gd name="connsiteY1" fmla="*/ 419 h 5502"/>
                    <a:gd name="connsiteX2" fmla="*/ 2512 w 2811"/>
                    <a:gd name="connsiteY2" fmla="*/ 598 h 5502"/>
                    <a:gd name="connsiteX3" fmla="*/ 1495 w 2811"/>
                    <a:gd name="connsiteY3" fmla="*/ 2572 h 5502"/>
                    <a:gd name="connsiteX4" fmla="*/ 0 w 2811"/>
                    <a:gd name="connsiteY4" fmla="*/ 5502 h 5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 h="5502">
                      <a:moveTo>
                        <a:pt x="2811" y="0"/>
                      </a:moveTo>
                      <a:lnTo>
                        <a:pt x="2632" y="419"/>
                      </a:lnTo>
                      <a:lnTo>
                        <a:pt x="2512" y="598"/>
                      </a:lnTo>
                      <a:lnTo>
                        <a:pt x="1495" y="2572"/>
                      </a:lnTo>
                      <a:lnTo>
                        <a:pt x="0" y="5502"/>
                      </a:lnTo>
                    </a:path>
                  </a:pathLst>
                </a:custGeom>
                <a:noFill/>
                <a:ln w="6350" cap="flat">
                  <a:solidFill>
                    <a:schemeClr val="bg1">
                      <a:alpha val="80000"/>
                    </a:schemeClr>
                  </a:solidFill>
                  <a:prstDash val="solid"/>
                  <a:miter/>
                </a:ln>
              </p:spPr>
              <p:txBody>
                <a:bodyPr rtlCol="0" anchor="ctr"/>
                <a:lstStyle/>
                <a:p>
                  <a:endParaRPr lang="en-GB"/>
                </a:p>
              </p:txBody>
            </p:sp>
            <p:sp>
              <p:nvSpPr>
                <p:cNvPr id="7550" name="Vrije vorm: vorm 7549">
                  <a:extLst>
                    <a:ext uri="{FF2B5EF4-FFF2-40B4-BE49-F238E27FC236}">
                      <a16:creationId xmlns:a16="http://schemas.microsoft.com/office/drawing/2014/main" id="{E5E96370-1DAE-4637-AD04-4E67E79B2AB8}"/>
                    </a:ext>
                  </a:extLst>
                </p:cNvPr>
                <p:cNvSpPr/>
                <p:nvPr/>
              </p:nvSpPr>
              <p:spPr>
                <a:xfrm>
                  <a:off x="5862443" y="5123305"/>
                  <a:ext cx="1913" cy="3767"/>
                </a:xfrm>
                <a:custGeom>
                  <a:avLst/>
                  <a:gdLst>
                    <a:gd name="connsiteX0" fmla="*/ 0 w 1913"/>
                    <a:gd name="connsiteY0" fmla="*/ 3768 h 3767"/>
                    <a:gd name="connsiteX1" fmla="*/ 119 w 1913"/>
                    <a:gd name="connsiteY1" fmla="*/ 3529 h 3767"/>
                    <a:gd name="connsiteX2" fmla="*/ 718 w 1913"/>
                    <a:gd name="connsiteY2" fmla="*/ 2333 h 3767"/>
                    <a:gd name="connsiteX3" fmla="*/ 778 w 1913"/>
                    <a:gd name="connsiteY3" fmla="*/ 2213 h 3767"/>
                    <a:gd name="connsiteX4" fmla="*/ 1914 w 1913"/>
                    <a:gd name="connsiteY4" fmla="*/ 0 h 3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 h="3767">
                      <a:moveTo>
                        <a:pt x="0" y="3768"/>
                      </a:moveTo>
                      <a:lnTo>
                        <a:pt x="119" y="3529"/>
                      </a:lnTo>
                      <a:lnTo>
                        <a:pt x="718" y="2333"/>
                      </a:lnTo>
                      <a:lnTo>
                        <a:pt x="778" y="2213"/>
                      </a:lnTo>
                      <a:lnTo>
                        <a:pt x="1914" y="0"/>
                      </a:lnTo>
                    </a:path>
                  </a:pathLst>
                </a:custGeom>
                <a:noFill/>
                <a:ln w="6350" cap="flat">
                  <a:solidFill>
                    <a:schemeClr val="bg1">
                      <a:alpha val="80000"/>
                    </a:schemeClr>
                  </a:solidFill>
                  <a:prstDash val="solid"/>
                  <a:miter/>
                </a:ln>
              </p:spPr>
              <p:txBody>
                <a:bodyPr rtlCol="0" anchor="ctr"/>
                <a:lstStyle/>
                <a:p>
                  <a:endParaRPr lang="en-GB"/>
                </a:p>
              </p:txBody>
            </p:sp>
            <p:sp>
              <p:nvSpPr>
                <p:cNvPr id="7551" name="Vrije vorm: vorm 7550">
                  <a:extLst>
                    <a:ext uri="{FF2B5EF4-FFF2-40B4-BE49-F238E27FC236}">
                      <a16:creationId xmlns:a16="http://schemas.microsoft.com/office/drawing/2014/main" id="{BAFFD94D-4AB1-489D-B2E1-E4A259195615}"/>
                    </a:ext>
                  </a:extLst>
                </p:cNvPr>
                <p:cNvSpPr/>
                <p:nvPr/>
              </p:nvSpPr>
              <p:spPr>
                <a:xfrm>
                  <a:off x="5761727" y="5048845"/>
                  <a:ext cx="717" cy="1375"/>
                </a:xfrm>
                <a:custGeom>
                  <a:avLst/>
                  <a:gdLst>
                    <a:gd name="connsiteX0" fmla="*/ 0 w 717"/>
                    <a:gd name="connsiteY0" fmla="*/ 1376 h 1375"/>
                    <a:gd name="connsiteX1" fmla="*/ 718 w 717"/>
                    <a:gd name="connsiteY1" fmla="*/ 0 h 1375"/>
                  </a:gdLst>
                  <a:ahLst/>
                  <a:cxnLst>
                    <a:cxn ang="0">
                      <a:pos x="connsiteX0" y="connsiteY0"/>
                    </a:cxn>
                    <a:cxn ang="0">
                      <a:pos x="connsiteX1" y="connsiteY1"/>
                    </a:cxn>
                  </a:cxnLst>
                  <a:rect l="l" t="t" r="r" b="b"/>
                  <a:pathLst>
                    <a:path w="717" h="1375">
                      <a:moveTo>
                        <a:pt x="0" y="1376"/>
                      </a:moveTo>
                      <a:lnTo>
                        <a:pt x="718" y="0"/>
                      </a:lnTo>
                    </a:path>
                  </a:pathLst>
                </a:custGeom>
                <a:noFill/>
                <a:ln w="6350" cap="flat">
                  <a:solidFill>
                    <a:schemeClr val="bg1">
                      <a:alpha val="80000"/>
                    </a:schemeClr>
                  </a:solidFill>
                  <a:prstDash val="solid"/>
                  <a:miter/>
                </a:ln>
              </p:spPr>
              <p:txBody>
                <a:bodyPr rtlCol="0" anchor="ctr"/>
                <a:lstStyle/>
                <a:p>
                  <a:endParaRPr lang="en-GB"/>
                </a:p>
              </p:txBody>
            </p:sp>
            <p:sp>
              <p:nvSpPr>
                <p:cNvPr id="7552" name="Vrije vorm: vorm 7551">
                  <a:extLst>
                    <a:ext uri="{FF2B5EF4-FFF2-40B4-BE49-F238E27FC236}">
                      <a16:creationId xmlns:a16="http://schemas.microsoft.com/office/drawing/2014/main" id="{8CE24F35-75D2-4241-B444-3BFCAB7E376F}"/>
                    </a:ext>
                  </a:extLst>
                </p:cNvPr>
                <p:cNvSpPr/>
                <p:nvPr/>
              </p:nvSpPr>
              <p:spPr>
                <a:xfrm>
                  <a:off x="5746895" y="5210743"/>
                  <a:ext cx="20693" cy="10526"/>
                </a:xfrm>
                <a:custGeom>
                  <a:avLst/>
                  <a:gdLst>
                    <a:gd name="connsiteX0" fmla="*/ 0 w 20693"/>
                    <a:gd name="connsiteY0" fmla="*/ 0 h 10526"/>
                    <a:gd name="connsiteX1" fmla="*/ 1316 w 20693"/>
                    <a:gd name="connsiteY1" fmla="*/ 718 h 10526"/>
                    <a:gd name="connsiteX2" fmla="*/ 2273 w 20693"/>
                    <a:gd name="connsiteY2" fmla="*/ 1196 h 10526"/>
                    <a:gd name="connsiteX3" fmla="*/ 4725 w 20693"/>
                    <a:gd name="connsiteY3" fmla="*/ 2452 h 10526"/>
                    <a:gd name="connsiteX4" fmla="*/ 5622 w 20693"/>
                    <a:gd name="connsiteY4" fmla="*/ 2930 h 10526"/>
                    <a:gd name="connsiteX5" fmla="*/ 7296 w 20693"/>
                    <a:gd name="connsiteY5" fmla="*/ 3768 h 10526"/>
                    <a:gd name="connsiteX6" fmla="*/ 9749 w 20693"/>
                    <a:gd name="connsiteY6" fmla="*/ 5024 h 10526"/>
                    <a:gd name="connsiteX7" fmla="*/ 12201 w 20693"/>
                    <a:gd name="connsiteY7" fmla="*/ 6280 h 10526"/>
                    <a:gd name="connsiteX8" fmla="*/ 12320 w 20693"/>
                    <a:gd name="connsiteY8" fmla="*/ 6340 h 10526"/>
                    <a:gd name="connsiteX9" fmla="*/ 13038 w 20693"/>
                    <a:gd name="connsiteY9" fmla="*/ 6698 h 10526"/>
                    <a:gd name="connsiteX10" fmla="*/ 14593 w 20693"/>
                    <a:gd name="connsiteY10" fmla="*/ 7476 h 10526"/>
                    <a:gd name="connsiteX11" fmla="*/ 16327 w 20693"/>
                    <a:gd name="connsiteY11" fmla="*/ 8313 h 10526"/>
                    <a:gd name="connsiteX12" fmla="*/ 18780 w 20693"/>
                    <a:gd name="connsiteY12" fmla="*/ 9569 h 10526"/>
                    <a:gd name="connsiteX13" fmla="*/ 20693 w 20693"/>
                    <a:gd name="connsiteY13" fmla="*/ 10526 h 10526"/>
                    <a:gd name="connsiteX14" fmla="*/ 20693 w 20693"/>
                    <a:gd name="connsiteY14" fmla="*/ 10526 h 1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693" h="10526">
                      <a:moveTo>
                        <a:pt x="0" y="0"/>
                      </a:moveTo>
                      <a:lnTo>
                        <a:pt x="1316" y="718"/>
                      </a:lnTo>
                      <a:lnTo>
                        <a:pt x="2273" y="1196"/>
                      </a:lnTo>
                      <a:lnTo>
                        <a:pt x="4725" y="2452"/>
                      </a:lnTo>
                      <a:lnTo>
                        <a:pt x="5622" y="2930"/>
                      </a:lnTo>
                      <a:lnTo>
                        <a:pt x="7296" y="3768"/>
                      </a:lnTo>
                      <a:lnTo>
                        <a:pt x="9749" y="5024"/>
                      </a:lnTo>
                      <a:lnTo>
                        <a:pt x="12201" y="6280"/>
                      </a:lnTo>
                      <a:lnTo>
                        <a:pt x="12320" y="6340"/>
                      </a:lnTo>
                      <a:lnTo>
                        <a:pt x="13038" y="6698"/>
                      </a:lnTo>
                      <a:lnTo>
                        <a:pt x="14593" y="7476"/>
                      </a:lnTo>
                      <a:lnTo>
                        <a:pt x="16327" y="8313"/>
                      </a:lnTo>
                      <a:lnTo>
                        <a:pt x="18780" y="9569"/>
                      </a:lnTo>
                      <a:lnTo>
                        <a:pt x="20693" y="10526"/>
                      </a:lnTo>
                      <a:lnTo>
                        <a:pt x="20693" y="10526"/>
                      </a:lnTo>
                    </a:path>
                  </a:pathLst>
                </a:custGeom>
                <a:noFill/>
                <a:ln w="6350" cap="flat">
                  <a:solidFill>
                    <a:schemeClr val="bg1">
                      <a:alpha val="80000"/>
                    </a:schemeClr>
                  </a:solidFill>
                  <a:prstDash val="solid"/>
                  <a:miter/>
                </a:ln>
              </p:spPr>
              <p:txBody>
                <a:bodyPr rtlCol="0" anchor="ctr"/>
                <a:lstStyle/>
                <a:p>
                  <a:endParaRPr lang="en-GB"/>
                </a:p>
              </p:txBody>
            </p:sp>
            <p:sp>
              <p:nvSpPr>
                <p:cNvPr id="7553" name="Vrije vorm: vorm 7552">
                  <a:extLst>
                    <a:ext uri="{FF2B5EF4-FFF2-40B4-BE49-F238E27FC236}">
                      <a16:creationId xmlns:a16="http://schemas.microsoft.com/office/drawing/2014/main" id="{890446BD-A7B9-41CC-9193-AF5A770E385F}"/>
                    </a:ext>
                  </a:extLst>
                </p:cNvPr>
                <p:cNvSpPr/>
                <p:nvPr/>
              </p:nvSpPr>
              <p:spPr>
                <a:xfrm>
                  <a:off x="5808198" y="5242023"/>
                  <a:ext cx="597" cy="119"/>
                </a:xfrm>
                <a:custGeom>
                  <a:avLst/>
                  <a:gdLst>
                    <a:gd name="connsiteX0" fmla="*/ 0 w 597"/>
                    <a:gd name="connsiteY0" fmla="*/ 0 h 119"/>
                    <a:gd name="connsiteX1" fmla="*/ 0 w 597"/>
                    <a:gd name="connsiteY1" fmla="*/ 0 h 119"/>
                    <a:gd name="connsiteX2" fmla="*/ 598 w 597"/>
                    <a:gd name="connsiteY2" fmla="*/ 119 h 119"/>
                  </a:gdLst>
                  <a:ahLst/>
                  <a:cxnLst>
                    <a:cxn ang="0">
                      <a:pos x="connsiteX0" y="connsiteY0"/>
                    </a:cxn>
                    <a:cxn ang="0">
                      <a:pos x="connsiteX1" y="connsiteY1"/>
                    </a:cxn>
                    <a:cxn ang="0">
                      <a:pos x="connsiteX2" y="connsiteY2"/>
                    </a:cxn>
                  </a:cxnLst>
                  <a:rect l="l" t="t" r="r" b="b"/>
                  <a:pathLst>
                    <a:path w="597" h="119">
                      <a:moveTo>
                        <a:pt x="0" y="0"/>
                      </a:moveTo>
                      <a:lnTo>
                        <a:pt x="0" y="0"/>
                      </a:lnTo>
                      <a:lnTo>
                        <a:pt x="598" y="119"/>
                      </a:lnTo>
                    </a:path>
                  </a:pathLst>
                </a:custGeom>
                <a:noFill/>
                <a:ln w="6350" cap="flat">
                  <a:solidFill>
                    <a:schemeClr val="bg1">
                      <a:alpha val="80000"/>
                    </a:schemeClr>
                  </a:solidFill>
                  <a:prstDash val="solid"/>
                  <a:miter/>
                </a:ln>
              </p:spPr>
              <p:txBody>
                <a:bodyPr rtlCol="0" anchor="ctr"/>
                <a:lstStyle/>
                <a:p>
                  <a:endParaRPr lang="en-GB"/>
                </a:p>
              </p:txBody>
            </p:sp>
            <p:sp>
              <p:nvSpPr>
                <p:cNvPr id="7554" name="Vrije vorm: vorm 7553">
                  <a:extLst>
                    <a:ext uri="{FF2B5EF4-FFF2-40B4-BE49-F238E27FC236}">
                      <a16:creationId xmlns:a16="http://schemas.microsoft.com/office/drawing/2014/main" id="{0BFD626E-7C5E-4684-8DD5-0E9FDBE49E6D}"/>
                    </a:ext>
                  </a:extLst>
                </p:cNvPr>
                <p:cNvSpPr/>
                <p:nvPr/>
              </p:nvSpPr>
              <p:spPr>
                <a:xfrm>
                  <a:off x="5718726" y="5004110"/>
                  <a:ext cx="185462" cy="143118"/>
                </a:xfrm>
                <a:custGeom>
                  <a:avLst/>
                  <a:gdLst>
                    <a:gd name="connsiteX0" fmla="*/ 19617 w 185462"/>
                    <a:gd name="connsiteY0" fmla="*/ 24999 h 143118"/>
                    <a:gd name="connsiteX1" fmla="*/ 17583 w 185462"/>
                    <a:gd name="connsiteY1" fmla="*/ 23085 h 143118"/>
                    <a:gd name="connsiteX2" fmla="*/ 15550 w 185462"/>
                    <a:gd name="connsiteY2" fmla="*/ 21172 h 143118"/>
                    <a:gd name="connsiteX3" fmla="*/ 13516 w 185462"/>
                    <a:gd name="connsiteY3" fmla="*/ 19258 h 143118"/>
                    <a:gd name="connsiteX4" fmla="*/ 11483 w 185462"/>
                    <a:gd name="connsiteY4" fmla="*/ 17344 h 143118"/>
                    <a:gd name="connsiteX5" fmla="*/ 9450 w 185462"/>
                    <a:gd name="connsiteY5" fmla="*/ 15430 h 143118"/>
                    <a:gd name="connsiteX6" fmla="*/ 7416 w 185462"/>
                    <a:gd name="connsiteY6" fmla="*/ 13516 h 143118"/>
                    <a:gd name="connsiteX7" fmla="*/ 5383 w 185462"/>
                    <a:gd name="connsiteY7" fmla="*/ 11603 h 143118"/>
                    <a:gd name="connsiteX8" fmla="*/ 3349 w 185462"/>
                    <a:gd name="connsiteY8" fmla="*/ 9689 h 143118"/>
                    <a:gd name="connsiteX9" fmla="*/ 1316 w 185462"/>
                    <a:gd name="connsiteY9" fmla="*/ 7775 h 143118"/>
                    <a:gd name="connsiteX10" fmla="*/ 0 w 185462"/>
                    <a:gd name="connsiteY10" fmla="*/ 6519 h 143118"/>
                    <a:gd name="connsiteX11" fmla="*/ 1555 w 185462"/>
                    <a:gd name="connsiteY11" fmla="*/ 3469 h 143118"/>
                    <a:gd name="connsiteX12" fmla="*/ 3110 w 185462"/>
                    <a:gd name="connsiteY12" fmla="*/ 419 h 143118"/>
                    <a:gd name="connsiteX13" fmla="*/ 3289 w 185462"/>
                    <a:gd name="connsiteY13" fmla="*/ 0 h 143118"/>
                    <a:gd name="connsiteX14" fmla="*/ 6041 w 185462"/>
                    <a:gd name="connsiteY14" fmla="*/ 538 h 143118"/>
                    <a:gd name="connsiteX15" fmla="*/ 8792 w 185462"/>
                    <a:gd name="connsiteY15" fmla="*/ 1076 h 143118"/>
                    <a:gd name="connsiteX16" fmla="*/ 11543 w 185462"/>
                    <a:gd name="connsiteY16" fmla="*/ 1615 h 143118"/>
                    <a:gd name="connsiteX17" fmla="*/ 14294 w 185462"/>
                    <a:gd name="connsiteY17" fmla="*/ 2153 h 143118"/>
                    <a:gd name="connsiteX18" fmla="*/ 17045 w 185462"/>
                    <a:gd name="connsiteY18" fmla="*/ 2691 h 143118"/>
                    <a:gd name="connsiteX19" fmla="*/ 19796 w 185462"/>
                    <a:gd name="connsiteY19" fmla="*/ 3229 h 143118"/>
                    <a:gd name="connsiteX20" fmla="*/ 22547 w 185462"/>
                    <a:gd name="connsiteY20" fmla="*/ 3768 h 143118"/>
                    <a:gd name="connsiteX21" fmla="*/ 25298 w 185462"/>
                    <a:gd name="connsiteY21" fmla="*/ 4306 h 143118"/>
                    <a:gd name="connsiteX22" fmla="*/ 28050 w 185462"/>
                    <a:gd name="connsiteY22" fmla="*/ 4844 h 143118"/>
                    <a:gd name="connsiteX23" fmla="*/ 30801 w 185462"/>
                    <a:gd name="connsiteY23" fmla="*/ 5383 h 143118"/>
                    <a:gd name="connsiteX24" fmla="*/ 33552 w 185462"/>
                    <a:gd name="connsiteY24" fmla="*/ 5921 h 143118"/>
                    <a:gd name="connsiteX25" fmla="*/ 36303 w 185462"/>
                    <a:gd name="connsiteY25" fmla="*/ 6459 h 143118"/>
                    <a:gd name="connsiteX26" fmla="*/ 39054 w 185462"/>
                    <a:gd name="connsiteY26" fmla="*/ 6997 h 143118"/>
                    <a:gd name="connsiteX27" fmla="*/ 41805 w 185462"/>
                    <a:gd name="connsiteY27" fmla="*/ 7536 h 143118"/>
                    <a:gd name="connsiteX28" fmla="*/ 44556 w 185462"/>
                    <a:gd name="connsiteY28" fmla="*/ 8074 h 143118"/>
                    <a:gd name="connsiteX29" fmla="*/ 47308 w 185462"/>
                    <a:gd name="connsiteY29" fmla="*/ 8612 h 143118"/>
                    <a:gd name="connsiteX30" fmla="*/ 50059 w 185462"/>
                    <a:gd name="connsiteY30" fmla="*/ 9151 h 143118"/>
                    <a:gd name="connsiteX31" fmla="*/ 52810 w 185462"/>
                    <a:gd name="connsiteY31" fmla="*/ 9689 h 143118"/>
                    <a:gd name="connsiteX32" fmla="*/ 55561 w 185462"/>
                    <a:gd name="connsiteY32" fmla="*/ 10227 h 143118"/>
                    <a:gd name="connsiteX33" fmla="*/ 58312 w 185462"/>
                    <a:gd name="connsiteY33" fmla="*/ 10765 h 143118"/>
                    <a:gd name="connsiteX34" fmla="*/ 61063 w 185462"/>
                    <a:gd name="connsiteY34" fmla="*/ 11304 h 143118"/>
                    <a:gd name="connsiteX35" fmla="*/ 63814 w 185462"/>
                    <a:gd name="connsiteY35" fmla="*/ 11842 h 143118"/>
                    <a:gd name="connsiteX36" fmla="*/ 66565 w 185462"/>
                    <a:gd name="connsiteY36" fmla="*/ 12380 h 143118"/>
                    <a:gd name="connsiteX37" fmla="*/ 69317 w 185462"/>
                    <a:gd name="connsiteY37" fmla="*/ 12918 h 143118"/>
                    <a:gd name="connsiteX38" fmla="*/ 72068 w 185462"/>
                    <a:gd name="connsiteY38" fmla="*/ 13457 h 143118"/>
                    <a:gd name="connsiteX39" fmla="*/ 74819 w 185462"/>
                    <a:gd name="connsiteY39" fmla="*/ 13995 h 143118"/>
                    <a:gd name="connsiteX40" fmla="*/ 77570 w 185462"/>
                    <a:gd name="connsiteY40" fmla="*/ 14533 h 143118"/>
                    <a:gd name="connsiteX41" fmla="*/ 80321 w 185462"/>
                    <a:gd name="connsiteY41" fmla="*/ 15072 h 143118"/>
                    <a:gd name="connsiteX42" fmla="*/ 83072 w 185462"/>
                    <a:gd name="connsiteY42" fmla="*/ 15610 h 143118"/>
                    <a:gd name="connsiteX43" fmla="*/ 85824 w 185462"/>
                    <a:gd name="connsiteY43" fmla="*/ 16148 h 143118"/>
                    <a:gd name="connsiteX44" fmla="*/ 88574 w 185462"/>
                    <a:gd name="connsiteY44" fmla="*/ 16686 h 143118"/>
                    <a:gd name="connsiteX45" fmla="*/ 91326 w 185462"/>
                    <a:gd name="connsiteY45" fmla="*/ 17225 h 143118"/>
                    <a:gd name="connsiteX46" fmla="*/ 94077 w 185462"/>
                    <a:gd name="connsiteY46" fmla="*/ 17763 h 143118"/>
                    <a:gd name="connsiteX47" fmla="*/ 96828 w 185462"/>
                    <a:gd name="connsiteY47" fmla="*/ 18301 h 143118"/>
                    <a:gd name="connsiteX48" fmla="*/ 99579 w 185462"/>
                    <a:gd name="connsiteY48" fmla="*/ 18839 h 143118"/>
                    <a:gd name="connsiteX49" fmla="*/ 102330 w 185462"/>
                    <a:gd name="connsiteY49" fmla="*/ 19377 h 143118"/>
                    <a:gd name="connsiteX50" fmla="*/ 105081 w 185462"/>
                    <a:gd name="connsiteY50" fmla="*/ 19916 h 143118"/>
                    <a:gd name="connsiteX51" fmla="*/ 107833 w 185462"/>
                    <a:gd name="connsiteY51" fmla="*/ 20454 h 143118"/>
                    <a:gd name="connsiteX52" fmla="*/ 110584 w 185462"/>
                    <a:gd name="connsiteY52" fmla="*/ 20992 h 143118"/>
                    <a:gd name="connsiteX53" fmla="*/ 113335 w 185462"/>
                    <a:gd name="connsiteY53" fmla="*/ 21530 h 143118"/>
                    <a:gd name="connsiteX54" fmla="*/ 114471 w 185462"/>
                    <a:gd name="connsiteY54" fmla="*/ 21770 h 143118"/>
                    <a:gd name="connsiteX55" fmla="*/ 116265 w 185462"/>
                    <a:gd name="connsiteY55" fmla="*/ 23983 h 143118"/>
                    <a:gd name="connsiteX56" fmla="*/ 118059 w 185462"/>
                    <a:gd name="connsiteY56" fmla="*/ 26196 h 143118"/>
                    <a:gd name="connsiteX57" fmla="*/ 119854 w 185462"/>
                    <a:gd name="connsiteY57" fmla="*/ 28408 h 143118"/>
                    <a:gd name="connsiteX58" fmla="*/ 121648 w 185462"/>
                    <a:gd name="connsiteY58" fmla="*/ 30621 h 143118"/>
                    <a:gd name="connsiteX59" fmla="*/ 123442 w 185462"/>
                    <a:gd name="connsiteY59" fmla="*/ 32834 h 143118"/>
                    <a:gd name="connsiteX60" fmla="*/ 125236 w 185462"/>
                    <a:gd name="connsiteY60" fmla="*/ 35047 h 143118"/>
                    <a:gd name="connsiteX61" fmla="*/ 127030 w 185462"/>
                    <a:gd name="connsiteY61" fmla="*/ 37260 h 143118"/>
                    <a:gd name="connsiteX62" fmla="*/ 128825 w 185462"/>
                    <a:gd name="connsiteY62" fmla="*/ 39473 h 143118"/>
                    <a:gd name="connsiteX63" fmla="*/ 130619 w 185462"/>
                    <a:gd name="connsiteY63" fmla="*/ 41686 h 143118"/>
                    <a:gd name="connsiteX64" fmla="*/ 132413 w 185462"/>
                    <a:gd name="connsiteY64" fmla="*/ 43899 h 143118"/>
                    <a:gd name="connsiteX65" fmla="*/ 134207 w 185462"/>
                    <a:gd name="connsiteY65" fmla="*/ 46111 h 143118"/>
                    <a:gd name="connsiteX66" fmla="*/ 136002 w 185462"/>
                    <a:gd name="connsiteY66" fmla="*/ 48324 h 143118"/>
                    <a:gd name="connsiteX67" fmla="*/ 137796 w 185462"/>
                    <a:gd name="connsiteY67" fmla="*/ 50537 h 143118"/>
                    <a:gd name="connsiteX68" fmla="*/ 139590 w 185462"/>
                    <a:gd name="connsiteY68" fmla="*/ 52750 h 143118"/>
                    <a:gd name="connsiteX69" fmla="*/ 141384 w 185462"/>
                    <a:gd name="connsiteY69" fmla="*/ 54963 h 143118"/>
                    <a:gd name="connsiteX70" fmla="*/ 143179 w 185462"/>
                    <a:gd name="connsiteY70" fmla="*/ 57176 h 143118"/>
                    <a:gd name="connsiteX71" fmla="*/ 144973 w 185462"/>
                    <a:gd name="connsiteY71" fmla="*/ 59389 h 143118"/>
                    <a:gd name="connsiteX72" fmla="*/ 146767 w 185462"/>
                    <a:gd name="connsiteY72" fmla="*/ 61601 h 143118"/>
                    <a:gd name="connsiteX73" fmla="*/ 148561 w 185462"/>
                    <a:gd name="connsiteY73" fmla="*/ 63814 h 143118"/>
                    <a:gd name="connsiteX74" fmla="*/ 150355 w 185462"/>
                    <a:gd name="connsiteY74" fmla="*/ 66027 h 143118"/>
                    <a:gd name="connsiteX75" fmla="*/ 152150 w 185462"/>
                    <a:gd name="connsiteY75" fmla="*/ 68240 h 143118"/>
                    <a:gd name="connsiteX76" fmla="*/ 153944 w 185462"/>
                    <a:gd name="connsiteY76" fmla="*/ 70453 h 143118"/>
                    <a:gd name="connsiteX77" fmla="*/ 155738 w 185462"/>
                    <a:gd name="connsiteY77" fmla="*/ 72666 h 143118"/>
                    <a:gd name="connsiteX78" fmla="*/ 157532 w 185462"/>
                    <a:gd name="connsiteY78" fmla="*/ 74879 h 143118"/>
                    <a:gd name="connsiteX79" fmla="*/ 159327 w 185462"/>
                    <a:gd name="connsiteY79" fmla="*/ 77092 h 143118"/>
                    <a:gd name="connsiteX80" fmla="*/ 161121 w 185462"/>
                    <a:gd name="connsiteY80" fmla="*/ 79304 h 143118"/>
                    <a:gd name="connsiteX81" fmla="*/ 162915 w 185462"/>
                    <a:gd name="connsiteY81" fmla="*/ 81517 h 143118"/>
                    <a:gd name="connsiteX82" fmla="*/ 164709 w 185462"/>
                    <a:gd name="connsiteY82" fmla="*/ 83730 h 143118"/>
                    <a:gd name="connsiteX83" fmla="*/ 166503 w 185462"/>
                    <a:gd name="connsiteY83" fmla="*/ 85943 h 143118"/>
                    <a:gd name="connsiteX84" fmla="*/ 168298 w 185462"/>
                    <a:gd name="connsiteY84" fmla="*/ 88156 h 143118"/>
                    <a:gd name="connsiteX85" fmla="*/ 170092 w 185462"/>
                    <a:gd name="connsiteY85" fmla="*/ 90369 h 143118"/>
                    <a:gd name="connsiteX86" fmla="*/ 171886 w 185462"/>
                    <a:gd name="connsiteY86" fmla="*/ 92581 h 143118"/>
                    <a:gd name="connsiteX87" fmla="*/ 173680 w 185462"/>
                    <a:gd name="connsiteY87" fmla="*/ 94794 h 143118"/>
                    <a:gd name="connsiteX88" fmla="*/ 175475 w 185462"/>
                    <a:gd name="connsiteY88" fmla="*/ 97007 h 143118"/>
                    <a:gd name="connsiteX89" fmla="*/ 177269 w 185462"/>
                    <a:gd name="connsiteY89" fmla="*/ 99220 h 143118"/>
                    <a:gd name="connsiteX90" fmla="*/ 179063 w 185462"/>
                    <a:gd name="connsiteY90" fmla="*/ 101433 h 143118"/>
                    <a:gd name="connsiteX91" fmla="*/ 180857 w 185462"/>
                    <a:gd name="connsiteY91" fmla="*/ 103646 h 143118"/>
                    <a:gd name="connsiteX92" fmla="*/ 182652 w 185462"/>
                    <a:gd name="connsiteY92" fmla="*/ 105859 h 143118"/>
                    <a:gd name="connsiteX93" fmla="*/ 184446 w 185462"/>
                    <a:gd name="connsiteY93" fmla="*/ 108072 h 143118"/>
                    <a:gd name="connsiteX94" fmla="*/ 185462 w 185462"/>
                    <a:gd name="connsiteY94" fmla="*/ 109328 h 143118"/>
                    <a:gd name="connsiteX95" fmla="*/ 184087 w 185462"/>
                    <a:gd name="connsiteY95" fmla="*/ 112079 h 143118"/>
                    <a:gd name="connsiteX96" fmla="*/ 183608 w 185462"/>
                    <a:gd name="connsiteY96" fmla="*/ 115368 h 143118"/>
                    <a:gd name="connsiteX97" fmla="*/ 183130 w 185462"/>
                    <a:gd name="connsiteY97" fmla="*/ 118658 h 143118"/>
                    <a:gd name="connsiteX98" fmla="*/ 182652 w 185462"/>
                    <a:gd name="connsiteY98" fmla="*/ 121947 h 143118"/>
                    <a:gd name="connsiteX99" fmla="*/ 182173 w 185462"/>
                    <a:gd name="connsiteY99" fmla="*/ 125236 h 143118"/>
                    <a:gd name="connsiteX100" fmla="*/ 181694 w 185462"/>
                    <a:gd name="connsiteY100" fmla="*/ 128526 h 143118"/>
                    <a:gd name="connsiteX101" fmla="*/ 181455 w 185462"/>
                    <a:gd name="connsiteY101" fmla="*/ 130021 h 143118"/>
                    <a:gd name="connsiteX102" fmla="*/ 179900 w 185462"/>
                    <a:gd name="connsiteY102" fmla="*/ 133071 h 143118"/>
                    <a:gd name="connsiteX103" fmla="*/ 178345 w 185462"/>
                    <a:gd name="connsiteY103" fmla="*/ 136121 h 143118"/>
                    <a:gd name="connsiteX104" fmla="*/ 176790 w 185462"/>
                    <a:gd name="connsiteY104" fmla="*/ 139172 h 143118"/>
                    <a:gd name="connsiteX105" fmla="*/ 175235 w 185462"/>
                    <a:gd name="connsiteY105" fmla="*/ 142222 h 143118"/>
                    <a:gd name="connsiteX106" fmla="*/ 174757 w 185462"/>
                    <a:gd name="connsiteY106" fmla="*/ 143119 h 143118"/>
                    <a:gd name="connsiteX107" fmla="*/ 172125 w 185462"/>
                    <a:gd name="connsiteY107" fmla="*/ 142222 h 143118"/>
                    <a:gd name="connsiteX108" fmla="*/ 170510 w 185462"/>
                    <a:gd name="connsiteY108" fmla="*/ 141683 h 14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85462" h="143118">
                      <a:moveTo>
                        <a:pt x="19617" y="24999"/>
                      </a:moveTo>
                      <a:lnTo>
                        <a:pt x="17583" y="23085"/>
                      </a:lnTo>
                      <a:lnTo>
                        <a:pt x="15550" y="21172"/>
                      </a:lnTo>
                      <a:lnTo>
                        <a:pt x="13516" y="19258"/>
                      </a:lnTo>
                      <a:lnTo>
                        <a:pt x="11483" y="17344"/>
                      </a:lnTo>
                      <a:lnTo>
                        <a:pt x="9450" y="15430"/>
                      </a:lnTo>
                      <a:lnTo>
                        <a:pt x="7416" y="13516"/>
                      </a:lnTo>
                      <a:lnTo>
                        <a:pt x="5383" y="11603"/>
                      </a:lnTo>
                      <a:lnTo>
                        <a:pt x="3349" y="9689"/>
                      </a:lnTo>
                      <a:lnTo>
                        <a:pt x="1316" y="7775"/>
                      </a:lnTo>
                      <a:lnTo>
                        <a:pt x="0" y="6519"/>
                      </a:lnTo>
                      <a:lnTo>
                        <a:pt x="1555" y="3469"/>
                      </a:lnTo>
                      <a:lnTo>
                        <a:pt x="3110" y="419"/>
                      </a:lnTo>
                      <a:lnTo>
                        <a:pt x="3289" y="0"/>
                      </a:lnTo>
                      <a:lnTo>
                        <a:pt x="6041" y="538"/>
                      </a:lnTo>
                      <a:lnTo>
                        <a:pt x="8792" y="1076"/>
                      </a:lnTo>
                      <a:lnTo>
                        <a:pt x="11543" y="1615"/>
                      </a:lnTo>
                      <a:lnTo>
                        <a:pt x="14294" y="2153"/>
                      </a:lnTo>
                      <a:lnTo>
                        <a:pt x="17045" y="2691"/>
                      </a:lnTo>
                      <a:lnTo>
                        <a:pt x="19796" y="3229"/>
                      </a:lnTo>
                      <a:lnTo>
                        <a:pt x="22547" y="3768"/>
                      </a:lnTo>
                      <a:lnTo>
                        <a:pt x="25298" y="4306"/>
                      </a:lnTo>
                      <a:lnTo>
                        <a:pt x="28050" y="4844"/>
                      </a:lnTo>
                      <a:lnTo>
                        <a:pt x="30801" y="5383"/>
                      </a:lnTo>
                      <a:lnTo>
                        <a:pt x="33552" y="5921"/>
                      </a:lnTo>
                      <a:lnTo>
                        <a:pt x="36303" y="6459"/>
                      </a:lnTo>
                      <a:lnTo>
                        <a:pt x="39054" y="6997"/>
                      </a:lnTo>
                      <a:lnTo>
                        <a:pt x="41805" y="7536"/>
                      </a:lnTo>
                      <a:lnTo>
                        <a:pt x="44556" y="8074"/>
                      </a:lnTo>
                      <a:lnTo>
                        <a:pt x="47308" y="8612"/>
                      </a:lnTo>
                      <a:lnTo>
                        <a:pt x="50059" y="9151"/>
                      </a:lnTo>
                      <a:lnTo>
                        <a:pt x="52810" y="9689"/>
                      </a:lnTo>
                      <a:lnTo>
                        <a:pt x="55561" y="10227"/>
                      </a:lnTo>
                      <a:lnTo>
                        <a:pt x="58312" y="10765"/>
                      </a:lnTo>
                      <a:lnTo>
                        <a:pt x="61063" y="11304"/>
                      </a:lnTo>
                      <a:lnTo>
                        <a:pt x="63814" y="11842"/>
                      </a:lnTo>
                      <a:lnTo>
                        <a:pt x="66565" y="12380"/>
                      </a:lnTo>
                      <a:lnTo>
                        <a:pt x="69317" y="12918"/>
                      </a:lnTo>
                      <a:lnTo>
                        <a:pt x="72068" y="13457"/>
                      </a:lnTo>
                      <a:lnTo>
                        <a:pt x="74819" y="13995"/>
                      </a:lnTo>
                      <a:lnTo>
                        <a:pt x="77570" y="14533"/>
                      </a:lnTo>
                      <a:lnTo>
                        <a:pt x="80321" y="15072"/>
                      </a:lnTo>
                      <a:lnTo>
                        <a:pt x="83072" y="15610"/>
                      </a:lnTo>
                      <a:lnTo>
                        <a:pt x="85824" y="16148"/>
                      </a:lnTo>
                      <a:lnTo>
                        <a:pt x="88574" y="16686"/>
                      </a:lnTo>
                      <a:lnTo>
                        <a:pt x="91326" y="17225"/>
                      </a:lnTo>
                      <a:lnTo>
                        <a:pt x="94077" y="17763"/>
                      </a:lnTo>
                      <a:lnTo>
                        <a:pt x="96828" y="18301"/>
                      </a:lnTo>
                      <a:lnTo>
                        <a:pt x="99579" y="18839"/>
                      </a:lnTo>
                      <a:lnTo>
                        <a:pt x="102330" y="19377"/>
                      </a:lnTo>
                      <a:lnTo>
                        <a:pt x="105081" y="19916"/>
                      </a:lnTo>
                      <a:lnTo>
                        <a:pt x="107833" y="20454"/>
                      </a:lnTo>
                      <a:lnTo>
                        <a:pt x="110584" y="20992"/>
                      </a:lnTo>
                      <a:lnTo>
                        <a:pt x="113335" y="21530"/>
                      </a:lnTo>
                      <a:lnTo>
                        <a:pt x="114471" y="21770"/>
                      </a:lnTo>
                      <a:lnTo>
                        <a:pt x="116265" y="23983"/>
                      </a:lnTo>
                      <a:lnTo>
                        <a:pt x="118059" y="26196"/>
                      </a:lnTo>
                      <a:lnTo>
                        <a:pt x="119854" y="28408"/>
                      </a:lnTo>
                      <a:lnTo>
                        <a:pt x="121648" y="30621"/>
                      </a:lnTo>
                      <a:lnTo>
                        <a:pt x="123442" y="32834"/>
                      </a:lnTo>
                      <a:lnTo>
                        <a:pt x="125236" y="35047"/>
                      </a:lnTo>
                      <a:lnTo>
                        <a:pt x="127030" y="37260"/>
                      </a:lnTo>
                      <a:lnTo>
                        <a:pt x="128825" y="39473"/>
                      </a:lnTo>
                      <a:lnTo>
                        <a:pt x="130619" y="41686"/>
                      </a:lnTo>
                      <a:lnTo>
                        <a:pt x="132413" y="43899"/>
                      </a:lnTo>
                      <a:lnTo>
                        <a:pt x="134207" y="46111"/>
                      </a:lnTo>
                      <a:lnTo>
                        <a:pt x="136002" y="48324"/>
                      </a:lnTo>
                      <a:lnTo>
                        <a:pt x="137796" y="50537"/>
                      </a:lnTo>
                      <a:lnTo>
                        <a:pt x="139590" y="52750"/>
                      </a:lnTo>
                      <a:lnTo>
                        <a:pt x="141384" y="54963"/>
                      </a:lnTo>
                      <a:lnTo>
                        <a:pt x="143179" y="57176"/>
                      </a:lnTo>
                      <a:lnTo>
                        <a:pt x="144973" y="59389"/>
                      </a:lnTo>
                      <a:lnTo>
                        <a:pt x="146767" y="61601"/>
                      </a:lnTo>
                      <a:lnTo>
                        <a:pt x="148561" y="63814"/>
                      </a:lnTo>
                      <a:lnTo>
                        <a:pt x="150355" y="66027"/>
                      </a:lnTo>
                      <a:lnTo>
                        <a:pt x="152150" y="68240"/>
                      </a:lnTo>
                      <a:lnTo>
                        <a:pt x="153944" y="70453"/>
                      </a:lnTo>
                      <a:lnTo>
                        <a:pt x="155738" y="72666"/>
                      </a:lnTo>
                      <a:lnTo>
                        <a:pt x="157532" y="74879"/>
                      </a:lnTo>
                      <a:lnTo>
                        <a:pt x="159327" y="77092"/>
                      </a:lnTo>
                      <a:lnTo>
                        <a:pt x="161121" y="79304"/>
                      </a:lnTo>
                      <a:lnTo>
                        <a:pt x="162915" y="81517"/>
                      </a:lnTo>
                      <a:lnTo>
                        <a:pt x="164709" y="83730"/>
                      </a:lnTo>
                      <a:lnTo>
                        <a:pt x="166503" y="85943"/>
                      </a:lnTo>
                      <a:lnTo>
                        <a:pt x="168298" y="88156"/>
                      </a:lnTo>
                      <a:lnTo>
                        <a:pt x="170092" y="90369"/>
                      </a:lnTo>
                      <a:lnTo>
                        <a:pt x="171886" y="92581"/>
                      </a:lnTo>
                      <a:lnTo>
                        <a:pt x="173680" y="94794"/>
                      </a:lnTo>
                      <a:lnTo>
                        <a:pt x="175475" y="97007"/>
                      </a:lnTo>
                      <a:lnTo>
                        <a:pt x="177269" y="99220"/>
                      </a:lnTo>
                      <a:lnTo>
                        <a:pt x="179063" y="101433"/>
                      </a:lnTo>
                      <a:lnTo>
                        <a:pt x="180857" y="103646"/>
                      </a:lnTo>
                      <a:lnTo>
                        <a:pt x="182652" y="105859"/>
                      </a:lnTo>
                      <a:lnTo>
                        <a:pt x="184446" y="108072"/>
                      </a:lnTo>
                      <a:lnTo>
                        <a:pt x="185462" y="109328"/>
                      </a:lnTo>
                      <a:lnTo>
                        <a:pt x="184087" y="112079"/>
                      </a:lnTo>
                      <a:lnTo>
                        <a:pt x="183608" y="115368"/>
                      </a:lnTo>
                      <a:lnTo>
                        <a:pt x="183130" y="118658"/>
                      </a:lnTo>
                      <a:lnTo>
                        <a:pt x="182652" y="121947"/>
                      </a:lnTo>
                      <a:lnTo>
                        <a:pt x="182173" y="125236"/>
                      </a:lnTo>
                      <a:lnTo>
                        <a:pt x="181694" y="128526"/>
                      </a:lnTo>
                      <a:lnTo>
                        <a:pt x="181455" y="130021"/>
                      </a:lnTo>
                      <a:lnTo>
                        <a:pt x="179900" y="133071"/>
                      </a:lnTo>
                      <a:lnTo>
                        <a:pt x="178345" y="136121"/>
                      </a:lnTo>
                      <a:lnTo>
                        <a:pt x="176790" y="139172"/>
                      </a:lnTo>
                      <a:lnTo>
                        <a:pt x="175235" y="142222"/>
                      </a:lnTo>
                      <a:lnTo>
                        <a:pt x="174757" y="143119"/>
                      </a:lnTo>
                      <a:lnTo>
                        <a:pt x="172125" y="142222"/>
                      </a:lnTo>
                      <a:lnTo>
                        <a:pt x="170510" y="141683"/>
                      </a:lnTo>
                    </a:path>
                  </a:pathLst>
                </a:custGeom>
                <a:noFill/>
                <a:ln w="6350" cap="flat">
                  <a:solidFill>
                    <a:schemeClr val="bg1">
                      <a:alpha val="80000"/>
                    </a:schemeClr>
                  </a:solidFill>
                  <a:prstDash val="solid"/>
                  <a:miter/>
                </a:ln>
              </p:spPr>
              <p:txBody>
                <a:bodyPr rtlCol="0" anchor="ctr"/>
                <a:lstStyle/>
                <a:p>
                  <a:endParaRPr lang="en-GB"/>
                </a:p>
              </p:txBody>
            </p:sp>
            <p:sp>
              <p:nvSpPr>
                <p:cNvPr id="7555" name="Vrije vorm: vorm 7554">
                  <a:extLst>
                    <a:ext uri="{FF2B5EF4-FFF2-40B4-BE49-F238E27FC236}">
                      <a16:creationId xmlns:a16="http://schemas.microsoft.com/office/drawing/2014/main" id="{B7276191-CE0A-4BB4-BAD2-B22C0883D798}"/>
                    </a:ext>
                  </a:extLst>
                </p:cNvPr>
                <p:cNvSpPr/>
                <p:nvPr/>
              </p:nvSpPr>
              <p:spPr>
                <a:xfrm>
                  <a:off x="5727877" y="5015951"/>
                  <a:ext cx="17224" cy="59089"/>
                </a:xfrm>
                <a:custGeom>
                  <a:avLst/>
                  <a:gdLst>
                    <a:gd name="connsiteX0" fmla="*/ 16507 w 17224"/>
                    <a:gd name="connsiteY0" fmla="*/ 59090 h 59089"/>
                    <a:gd name="connsiteX1" fmla="*/ 14354 w 17224"/>
                    <a:gd name="connsiteY1" fmla="*/ 57295 h 59089"/>
                    <a:gd name="connsiteX2" fmla="*/ 12201 w 17224"/>
                    <a:gd name="connsiteY2" fmla="*/ 55501 h 59089"/>
                    <a:gd name="connsiteX3" fmla="*/ 10048 w 17224"/>
                    <a:gd name="connsiteY3" fmla="*/ 53707 h 59089"/>
                    <a:gd name="connsiteX4" fmla="*/ 7895 w 17224"/>
                    <a:gd name="connsiteY4" fmla="*/ 51913 h 59089"/>
                    <a:gd name="connsiteX5" fmla="*/ 5741 w 17224"/>
                    <a:gd name="connsiteY5" fmla="*/ 50118 h 59089"/>
                    <a:gd name="connsiteX6" fmla="*/ 3588 w 17224"/>
                    <a:gd name="connsiteY6" fmla="*/ 48324 h 59089"/>
                    <a:gd name="connsiteX7" fmla="*/ 2572 w 17224"/>
                    <a:gd name="connsiteY7" fmla="*/ 47487 h 59089"/>
                    <a:gd name="connsiteX8" fmla="*/ 4127 w 17224"/>
                    <a:gd name="connsiteY8" fmla="*/ 44437 h 59089"/>
                    <a:gd name="connsiteX9" fmla="*/ 5263 w 17224"/>
                    <a:gd name="connsiteY9" fmla="*/ 42224 h 59089"/>
                    <a:gd name="connsiteX10" fmla="*/ 3170 w 17224"/>
                    <a:gd name="connsiteY10" fmla="*/ 40370 h 59089"/>
                    <a:gd name="connsiteX11" fmla="*/ 1076 w 17224"/>
                    <a:gd name="connsiteY11" fmla="*/ 38516 h 59089"/>
                    <a:gd name="connsiteX12" fmla="*/ 0 w 17224"/>
                    <a:gd name="connsiteY12" fmla="*/ 37559 h 59089"/>
                    <a:gd name="connsiteX13" fmla="*/ 1136 w 17224"/>
                    <a:gd name="connsiteY13" fmla="*/ 34330 h 59089"/>
                    <a:gd name="connsiteX14" fmla="*/ 2273 w 17224"/>
                    <a:gd name="connsiteY14" fmla="*/ 31100 h 59089"/>
                    <a:gd name="connsiteX15" fmla="*/ 3409 w 17224"/>
                    <a:gd name="connsiteY15" fmla="*/ 27870 h 59089"/>
                    <a:gd name="connsiteX16" fmla="*/ 4306 w 17224"/>
                    <a:gd name="connsiteY16" fmla="*/ 25299 h 59089"/>
                    <a:gd name="connsiteX17" fmla="*/ 5861 w 17224"/>
                    <a:gd name="connsiteY17" fmla="*/ 22248 h 59089"/>
                    <a:gd name="connsiteX18" fmla="*/ 7416 w 17224"/>
                    <a:gd name="connsiteY18" fmla="*/ 19198 h 59089"/>
                    <a:gd name="connsiteX19" fmla="*/ 8971 w 17224"/>
                    <a:gd name="connsiteY19" fmla="*/ 16148 h 59089"/>
                    <a:gd name="connsiteX20" fmla="*/ 10466 w 17224"/>
                    <a:gd name="connsiteY20" fmla="*/ 13218 h 59089"/>
                    <a:gd name="connsiteX21" fmla="*/ 12021 w 17224"/>
                    <a:gd name="connsiteY21" fmla="*/ 10167 h 59089"/>
                    <a:gd name="connsiteX22" fmla="*/ 13576 w 17224"/>
                    <a:gd name="connsiteY22" fmla="*/ 7117 h 59089"/>
                    <a:gd name="connsiteX23" fmla="*/ 13636 w 17224"/>
                    <a:gd name="connsiteY23" fmla="*/ 6998 h 59089"/>
                    <a:gd name="connsiteX24" fmla="*/ 15191 w 17224"/>
                    <a:gd name="connsiteY24" fmla="*/ 3947 h 59089"/>
                    <a:gd name="connsiteX25" fmla="*/ 16746 w 17224"/>
                    <a:gd name="connsiteY25" fmla="*/ 897 h 59089"/>
                    <a:gd name="connsiteX26" fmla="*/ 17225 w 17224"/>
                    <a:gd name="connsiteY26" fmla="*/ 0 h 5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224" h="59089">
                      <a:moveTo>
                        <a:pt x="16507" y="59090"/>
                      </a:moveTo>
                      <a:lnTo>
                        <a:pt x="14354" y="57295"/>
                      </a:lnTo>
                      <a:lnTo>
                        <a:pt x="12201" y="55501"/>
                      </a:lnTo>
                      <a:lnTo>
                        <a:pt x="10048" y="53707"/>
                      </a:lnTo>
                      <a:lnTo>
                        <a:pt x="7895" y="51913"/>
                      </a:lnTo>
                      <a:lnTo>
                        <a:pt x="5741" y="50118"/>
                      </a:lnTo>
                      <a:lnTo>
                        <a:pt x="3588" y="48324"/>
                      </a:lnTo>
                      <a:lnTo>
                        <a:pt x="2572" y="47487"/>
                      </a:lnTo>
                      <a:lnTo>
                        <a:pt x="4127" y="44437"/>
                      </a:lnTo>
                      <a:lnTo>
                        <a:pt x="5263" y="42224"/>
                      </a:lnTo>
                      <a:lnTo>
                        <a:pt x="3170" y="40370"/>
                      </a:lnTo>
                      <a:lnTo>
                        <a:pt x="1076" y="38516"/>
                      </a:lnTo>
                      <a:lnTo>
                        <a:pt x="0" y="37559"/>
                      </a:lnTo>
                      <a:lnTo>
                        <a:pt x="1136" y="34330"/>
                      </a:lnTo>
                      <a:lnTo>
                        <a:pt x="2273" y="31100"/>
                      </a:lnTo>
                      <a:lnTo>
                        <a:pt x="3409" y="27870"/>
                      </a:lnTo>
                      <a:lnTo>
                        <a:pt x="4306" y="25299"/>
                      </a:lnTo>
                      <a:lnTo>
                        <a:pt x="5861" y="22248"/>
                      </a:lnTo>
                      <a:lnTo>
                        <a:pt x="7416" y="19198"/>
                      </a:lnTo>
                      <a:lnTo>
                        <a:pt x="8971" y="16148"/>
                      </a:lnTo>
                      <a:lnTo>
                        <a:pt x="10466" y="13218"/>
                      </a:lnTo>
                      <a:lnTo>
                        <a:pt x="12021" y="10167"/>
                      </a:lnTo>
                      <a:lnTo>
                        <a:pt x="13576" y="7117"/>
                      </a:lnTo>
                      <a:lnTo>
                        <a:pt x="13636" y="6998"/>
                      </a:lnTo>
                      <a:lnTo>
                        <a:pt x="15191" y="3947"/>
                      </a:lnTo>
                      <a:lnTo>
                        <a:pt x="16746" y="897"/>
                      </a:lnTo>
                      <a:lnTo>
                        <a:pt x="17225" y="0"/>
                      </a:lnTo>
                    </a:path>
                  </a:pathLst>
                </a:custGeom>
                <a:noFill/>
                <a:ln w="6350" cap="flat">
                  <a:solidFill>
                    <a:schemeClr val="bg1">
                      <a:alpha val="80000"/>
                    </a:schemeClr>
                  </a:solidFill>
                  <a:prstDash val="solid"/>
                  <a:miter/>
                </a:ln>
              </p:spPr>
              <p:txBody>
                <a:bodyPr rtlCol="0" anchor="ctr"/>
                <a:lstStyle/>
                <a:p>
                  <a:endParaRPr lang="en-GB"/>
                </a:p>
              </p:txBody>
            </p:sp>
            <p:sp>
              <p:nvSpPr>
                <p:cNvPr id="7556" name="Vrije vorm: vorm 7555">
                  <a:extLst>
                    <a:ext uri="{FF2B5EF4-FFF2-40B4-BE49-F238E27FC236}">
                      <a16:creationId xmlns:a16="http://schemas.microsoft.com/office/drawing/2014/main" id="{64B55A05-B58D-40D1-B248-452AC9CB5320}"/>
                    </a:ext>
                  </a:extLst>
                </p:cNvPr>
                <p:cNvSpPr/>
                <p:nvPr/>
              </p:nvSpPr>
              <p:spPr>
                <a:xfrm>
                  <a:off x="5732183" y="5041190"/>
                  <a:ext cx="19856" cy="5263"/>
                </a:xfrm>
                <a:custGeom>
                  <a:avLst/>
                  <a:gdLst>
                    <a:gd name="connsiteX0" fmla="*/ 0 w 19856"/>
                    <a:gd name="connsiteY0" fmla="*/ 0 h 5263"/>
                    <a:gd name="connsiteX1" fmla="*/ 2691 w 19856"/>
                    <a:gd name="connsiteY1" fmla="*/ 718 h 5263"/>
                    <a:gd name="connsiteX2" fmla="*/ 5383 w 19856"/>
                    <a:gd name="connsiteY2" fmla="*/ 1435 h 5263"/>
                    <a:gd name="connsiteX3" fmla="*/ 8074 w 19856"/>
                    <a:gd name="connsiteY3" fmla="*/ 2153 h 5263"/>
                    <a:gd name="connsiteX4" fmla="*/ 10765 w 19856"/>
                    <a:gd name="connsiteY4" fmla="*/ 2871 h 5263"/>
                    <a:gd name="connsiteX5" fmla="*/ 13457 w 19856"/>
                    <a:gd name="connsiteY5" fmla="*/ 3588 h 5263"/>
                    <a:gd name="connsiteX6" fmla="*/ 16148 w 19856"/>
                    <a:gd name="connsiteY6" fmla="*/ 4306 h 5263"/>
                    <a:gd name="connsiteX7" fmla="*/ 18839 w 19856"/>
                    <a:gd name="connsiteY7" fmla="*/ 5024 h 5263"/>
                    <a:gd name="connsiteX8" fmla="*/ 19856 w 19856"/>
                    <a:gd name="connsiteY8" fmla="*/ 5263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56" h="5263">
                      <a:moveTo>
                        <a:pt x="0" y="0"/>
                      </a:moveTo>
                      <a:lnTo>
                        <a:pt x="2691" y="718"/>
                      </a:lnTo>
                      <a:lnTo>
                        <a:pt x="5383" y="1435"/>
                      </a:lnTo>
                      <a:lnTo>
                        <a:pt x="8074" y="2153"/>
                      </a:lnTo>
                      <a:lnTo>
                        <a:pt x="10765" y="2871"/>
                      </a:lnTo>
                      <a:lnTo>
                        <a:pt x="13457" y="3588"/>
                      </a:lnTo>
                      <a:lnTo>
                        <a:pt x="16148" y="4306"/>
                      </a:lnTo>
                      <a:lnTo>
                        <a:pt x="18839" y="5024"/>
                      </a:lnTo>
                      <a:lnTo>
                        <a:pt x="19856" y="5263"/>
                      </a:lnTo>
                    </a:path>
                  </a:pathLst>
                </a:custGeom>
                <a:noFill/>
                <a:ln w="6350" cap="flat">
                  <a:solidFill>
                    <a:schemeClr val="bg1">
                      <a:alpha val="80000"/>
                    </a:schemeClr>
                  </a:solidFill>
                  <a:prstDash val="solid"/>
                  <a:miter/>
                </a:ln>
              </p:spPr>
              <p:txBody>
                <a:bodyPr rtlCol="0" anchor="ctr"/>
                <a:lstStyle/>
                <a:p>
                  <a:endParaRPr lang="en-GB"/>
                </a:p>
              </p:txBody>
            </p:sp>
            <p:sp>
              <p:nvSpPr>
                <p:cNvPr id="7557" name="Vrije vorm: vorm 7556">
                  <a:extLst>
                    <a:ext uri="{FF2B5EF4-FFF2-40B4-BE49-F238E27FC236}">
                      <a16:creationId xmlns:a16="http://schemas.microsoft.com/office/drawing/2014/main" id="{CE8CC5B0-E194-4ADE-B27F-9A2AC0D116AF}"/>
                    </a:ext>
                  </a:extLst>
                </p:cNvPr>
                <p:cNvSpPr/>
                <p:nvPr/>
              </p:nvSpPr>
              <p:spPr>
                <a:xfrm>
                  <a:off x="5752218" y="5026238"/>
                  <a:ext cx="18779" cy="24281"/>
                </a:xfrm>
                <a:custGeom>
                  <a:avLst/>
                  <a:gdLst>
                    <a:gd name="connsiteX0" fmla="*/ 18779 w 18779"/>
                    <a:gd name="connsiteY0" fmla="*/ 1914 h 24281"/>
                    <a:gd name="connsiteX1" fmla="*/ 17643 w 18779"/>
                    <a:gd name="connsiteY1" fmla="*/ 4127 h 24281"/>
                    <a:gd name="connsiteX2" fmla="*/ 16088 w 18779"/>
                    <a:gd name="connsiteY2" fmla="*/ 7177 h 24281"/>
                    <a:gd name="connsiteX3" fmla="*/ 14533 w 18779"/>
                    <a:gd name="connsiteY3" fmla="*/ 10227 h 24281"/>
                    <a:gd name="connsiteX4" fmla="*/ 12978 w 18779"/>
                    <a:gd name="connsiteY4" fmla="*/ 13277 h 24281"/>
                    <a:gd name="connsiteX5" fmla="*/ 11423 w 18779"/>
                    <a:gd name="connsiteY5" fmla="*/ 16327 h 24281"/>
                    <a:gd name="connsiteX6" fmla="*/ 10765 w 18779"/>
                    <a:gd name="connsiteY6" fmla="*/ 17643 h 24281"/>
                    <a:gd name="connsiteX7" fmla="*/ 9210 w 18779"/>
                    <a:gd name="connsiteY7" fmla="*/ 20693 h 24281"/>
                    <a:gd name="connsiteX8" fmla="*/ 8493 w 18779"/>
                    <a:gd name="connsiteY8" fmla="*/ 22129 h 24281"/>
                    <a:gd name="connsiteX9" fmla="*/ 9150 w 18779"/>
                    <a:gd name="connsiteY9" fmla="*/ 22906 h 24281"/>
                    <a:gd name="connsiteX10" fmla="*/ 9509 w 18779"/>
                    <a:gd name="connsiteY10" fmla="*/ 23504 h 24281"/>
                    <a:gd name="connsiteX11" fmla="*/ 9449 w 18779"/>
                    <a:gd name="connsiteY11" fmla="*/ 23983 h 24281"/>
                    <a:gd name="connsiteX12" fmla="*/ 9090 w 18779"/>
                    <a:gd name="connsiteY12" fmla="*/ 24222 h 24281"/>
                    <a:gd name="connsiteX13" fmla="*/ 8373 w 18779"/>
                    <a:gd name="connsiteY13" fmla="*/ 24282 h 24281"/>
                    <a:gd name="connsiteX14" fmla="*/ 7356 w 18779"/>
                    <a:gd name="connsiteY14" fmla="*/ 24102 h 24281"/>
                    <a:gd name="connsiteX15" fmla="*/ 6160 w 18779"/>
                    <a:gd name="connsiteY15" fmla="*/ 23743 h 24281"/>
                    <a:gd name="connsiteX16" fmla="*/ 4844 w 18779"/>
                    <a:gd name="connsiteY16" fmla="*/ 23205 h 24281"/>
                    <a:gd name="connsiteX17" fmla="*/ 3469 w 18779"/>
                    <a:gd name="connsiteY17" fmla="*/ 22488 h 24281"/>
                    <a:gd name="connsiteX18" fmla="*/ 2153 w 18779"/>
                    <a:gd name="connsiteY18" fmla="*/ 21710 h 24281"/>
                    <a:gd name="connsiteX19" fmla="*/ 957 w 18779"/>
                    <a:gd name="connsiteY19" fmla="*/ 20873 h 24281"/>
                    <a:gd name="connsiteX20" fmla="*/ 0 w 18779"/>
                    <a:gd name="connsiteY20" fmla="*/ 20035 h 24281"/>
                    <a:gd name="connsiteX21" fmla="*/ 1555 w 18779"/>
                    <a:gd name="connsiteY21" fmla="*/ 16985 h 24281"/>
                    <a:gd name="connsiteX22" fmla="*/ 3110 w 18779"/>
                    <a:gd name="connsiteY22" fmla="*/ 13935 h 24281"/>
                    <a:gd name="connsiteX23" fmla="*/ 4665 w 18779"/>
                    <a:gd name="connsiteY23" fmla="*/ 10885 h 24281"/>
                    <a:gd name="connsiteX24" fmla="*/ 6220 w 18779"/>
                    <a:gd name="connsiteY24" fmla="*/ 7835 h 24281"/>
                    <a:gd name="connsiteX25" fmla="*/ 7775 w 18779"/>
                    <a:gd name="connsiteY25" fmla="*/ 4785 h 24281"/>
                    <a:gd name="connsiteX26" fmla="*/ 9330 w 18779"/>
                    <a:gd name="connsiteY26" fmla="*/ 1734 h 24281"/>
                    <a:gd name="connsiteX27" fmla="*/ 10227 w 18779"/>
                    <a:gd name="connsiteY27" fmla="*/ 0 h 2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779" h="24281">
                      <a:moveTo>
                        <a:pt x="18779" y="1914"/>
                      </a:moveTo>
                      <a:lnTo>
                        <a:pt x="17643" y="4127"/>
                      </a:lnTo>
                      <a:lnTo>
                        <a:pt x="16088" y="7177"/>
                      </a:lnTo>
                      <a:lnTo>
                        <a:pt x="14533" y="10227"/>
                      </a:lnTo>
                      <a:lnTo>
                        <a:pt x="12978" y="13277"/>
                      </a:lnTo>
                      <a:lnTo>
                        <a:pt x="11423" y="16327"/>
                      </a:lnTo>
                      <a:lnTo>
                        <a:pt x="10765" y="17643"/>
                      </a:lnTo>
                      <a:lnTo>
                        <a:pt x="9210" y="20693"/>
                      </a:lnTo>
                      <a:lnTo>
                        <a:pt x="8493" y="22129"/>
                      </a:lnTo>
                      <a:lnTo>
                        <a:pt x="9150" y="22906"/>
                      </a:lnTo>
                      <a:lnTo>
                        <a:pt x="9509" y="23504"/>
                      </a:lnTo>
                      <a:lnTo>
                        <a:pt x="9449" y="23983"/>
                      </a:lnTo>
                      <a:lnTo>
                        <a:pt x="9090" y="24222"/>
                      </a:lnTo>
                      <a:lnTo>
                        <a:pt x="8373" y="24282"/>
                      </a:lnTo>
                      <a:lnTo>
                        <a:pt x="7356" y="24102"/>
                      </a:lnTo>
                      <a:lnTo>
                        <a:pt x="6160" y="23743"/>
                      </a:lnTo>
                      <a:lnTo>
                        <a:pt x="4844" y="23205"/>
                      </a:lnTo>
                      <a:lnTo>
                        <a:pt x="3469" y="22488"/>
                      </a:lnTo>
                      <a:lnTo>
                        <a:pt x="2153" y="21710"/>
                      </a:lnTo>
                      <a:lnTo>
                        <a:pt x="957" y="20873"/>
                      </a:lnTo>
                      <a:lnTo>
                        <a:pt x="0" y="20035"/>
                      </a:lnTo>
                      <a:lnTo>
                        <a:pt x="1555" y="16985"/>
                      </a:lnTo>
                      <a:lnTo>
                        <a:pt x="3110" y="13935"/>
                      </a:lnTo>
                      <a:lnTo>
                        <a:pt x="4665" y="10885"/>
                      </a:lnTo>
                      <a:lnTo>
                        <a:pt x="6220" y="7835"/>
                      </a:lnTo>
                      <a:lnTo>
                        <a:pt x="7775" y="4785"/>
                      </a:lnTo>
                      <a:lnTo>
                        <a:pt x="9330" y="1734"/>
                      </a:lnTo>
                      <a:lnTo>
                        <a:pt x="10227" y="0"/>
                      </a:lnTo>
                    </a:path>
                  </a:pathLst>
                </a:custGeom>
                <a:noFill/>
                <a:ln w="6350" cap="flat">
                  <a:solidFill>
                    <a:schemeClr val="bg1">
                      <a:alpha val="80000"/>
                    </a:schemeClr>
                  </a:solidFill>
                  <a:prstDash val="solid"/>
                  <a:miter/>
                </a:ln>
              </p:spPr>
              <p:txBody>
                <a:bodyPr rtlCol="0" anchor="ctr"/>
                <a:lstStyle/>
                <a:p>
                  <a:endParaRPr lang="en-GB"/>
                </a:p>
              </p:txBody>
            </p:sp>
            <p:sp>
              <p:nvSpPr>
                <p:cNvPr id="7558" name="Vrije vorm: vorm 7557">
                  <a:extLst>
                    <a:ext uri="{FF2B5EF4-FFF2-40B4-BE49-F238E27FC236}">
                      <a16:creationId xmlns:a16="http://schemas.microsoft.com/office/drawing/2014/main" id="{F149BBD5-D50F-4315-9AA8-7FF8A5686DF2}"/>
                    </a:ext>
                  </a:extLst>
                </p:cNvPr>
                <p:cNvSpPr/>
                <p:nvPr/>
              </p:nvSpPr>
              <p:spPr>
                <a:xfrm>
                  <a:off x="5762385" y="5026358"/>
                  <a:ext cx="8672" cy="4066"/>
                </a:xfrm>
                <a:custGeom>
                  <a:avLst/>
                  <a:gdLst>
                    <a:gd name="connsiteX0" fmla="*/ 7476 w 8672"/>
                    <a:gd name="connsiteY0" fmla="*/ 4067 h 4066"/>
                    <a:gd name="connsiteX1" fmla="*/ 7357 w 8672"/>
                    <a:gd name="connsiteY1" fmla="*/ 4067 h 4066"/>
                    <a:gd name="connsiteX2" fmla="*/ 6160 w 8672"/>
                    <a:gd name="connsiteY2" fmla="*/ 3708 h 4066"/>
                    <a:gd name="connsiteX3" fmla="*/ 4844 w 8672"/>
                    <a:gd name="connsiteY3" fmla="*/ 3170 h 4066"/>
                    <a:gd name="connsiteX4" fmla="*/ 3469 w 8672"/>
                    <a:gd name="connsiteY4" fmla="*/ 2452 h 4066"/>
                    <a:gd name="connsiteX5" fmla="*/ 2153 w 8672"/>
                    <a:gd name="connsiteY5" fmla="*/ 1674 h 4066"/>
                    <a:gd name="connsiteX6" fmla="*/ 957 w 8672"/>
                    <a:gd name="connsiteY6" fmla="*/ 837 h 4066"/>
                    <a:gd name="connsiteX7" fmla="*/ 0 w 8672"/>
                    <a:gd name="connsiteY7" fmla="*/ 0 h 4066"/>
                    <a:gd name="connsiteX8" fmla="*/ 2751 w 8672"/>
                    <a:gd name="connsiteY8" fmla="*/ 598 h 4066"/>
                    <a:gd name="connsiteX9" fmla="*/ 5503 w 8672"/>
                    <a:gd name="connsiteY9" fmla="*/ 1196 h 4066"/>
                    <a:gd name="connsiteX10" fmla="*/ 8253 w 8672"/>
                    <a:gd name="connsiteY10" fmla="*/ 1794 h 4066"/>
                    <a:gd name="connsiteX11" fmla="*/ 8672 w 8672"/>
                    <a:gd name="connsiteY11" fmla="*/ 1914 h 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72" h="4066">
                      <a:moveTo>
                        <a:pt x="7476" y="4067"/>
                      </a:moveTo>
                      <a:lnTo>
                        <a:pt x="7357" y="4067"/>
                      </a:lnTo>
                      <a:lnTo>
                        <a:pt x="6160" y="3708"/>
                      </a:lnTo>
                      <a:lnTo>
                        <a:pt x="4844" y="3170"/>
                      </a:lnTo>
                      <a:lnTo>
                        <a:pt x="3469" y="2452"/>
                      </a:lnTo>
                      <a:lnTo>
                        <a:pt x="2153" y="1674"/>
                      </a:lnTo>
                      <a:lnTo>
                        <a:pt x="957" y="837"/>
                      </a:lnTo>
                      <a:lnTo>
                        <a:pt x="0" y="0"/>
                      </a:lnTo>
                      <a:lnTo>
                        <a:pt x="2751" y="598"/>
                      </a:lnTo>
                      <a:lnTo>
                        <a:pt x="5503" y="1196"/>
                      </a:lnTo>
                      <a:lnTo>
                        <a:pt x="8253" y="1794"/>
                      </a:lnTo>
                      <a:lnTo>
                        <a:pt x="8672" y="1914"/>
                      </a:lnTo>
                    </a:path>
                  </a:pathLst>
                </a:custGeom>
                <a:noFill/>
                <a:ln w="6350" cap="flat">
                  <a:solidFill>
                    <a:schemeClr val="bg1">
                      <a:alpha val="80000"/>
                    </a:schemeClr>
                  </a:solidFill>
                  <a:prstDash val="solid"/>
                  <a:miter/>
                </a:ln>
              </p:spPr>
              <p:txBody>
                <a:bodyPr rtlCol="0" anchor="ctr"/>
                <a:lstStyle/>
                <a:p>
                  <a:endParaRPr lang="en-GB"/>
                </a:p>
              </p:txBody>
            </p:sp>
            <p:sp>
              <p:nvSpPr>
                <p:cNvPr id="7559" name="Vrije vorm: vorm 7558">
                  <a:extLst>
                    <a:ext uri="{FF2B5EF4-FFF2-40B4-BE49-F238E27FC236}">
                      <a16:creationId xmlns:a16="http://schemas.microsoft.com/office/drawing/2014/main" id="{24DFF3EA-3494-4DEC-91F4-C33D417FD820}"/>
                    </a:ext>
                  </a:extLst>
                </p:cNvPr>
                <p:cNvSpPr/>
                <p:nvPr/>
              </p:nvSpPr>
              <p:spPr>
                <a:xfrm>
                  <a:off x="5760711" y="5048427"/>
                  <a:ext cx="78048" cy="39831"/>
                </a:xfrm>
                <a:custGeom>
                  <a:avLst/>
                  <a:gdLst>
                    <a:gd name="connsiteX0" fmla="*/ 0 w 78048"/>
                    <a:gd name="connsiteY0" fmla="*/ 0 h 39831"/>
                    <a:gd name="connsiteX1" fmla="*/ 1674 w 78048"/>
                    <a:gd name="connsiteY1" fmla="*/ 419 h 39831"/>
                    <a:gd name="connsiteX2" fmla="*/ 4366 w 78048"/>
                    <a:gd name="connsiteY2" fmla="*/ 1136 h 39831"/>
                    <a:gd name="connsiteX3" fmla="*/ 7057 w 78048"/>
                    <a:gd name="connsiteY3" fmla="*/ 1854 h 39831"/>
                    <a:gd name="connsiteX4" fmla="*/ 9749 w 78048"/>
                    <a:gd name="connsiteY4" fmla="*/ 2572 h 39831"/>
                    <a:gd name="connsiteX5" fmla="*/ 12440 w 78048"/>
                    <a:gd name="connsiteY5" fmla="*/ 3290 h 39831"/>
                    <a:gd name="connsiteX6" fmla="*/ 15131 w 78048"/>
                    <a:gd name="connsiteY6" fmla="*/ 4007 h 39831"/>
                    <a:gd name="connsiteX7" fmla="*/ 17822 w 78048"/>
                    <a:gd name="connsiteY7" fmla="*/ 4725 h 39831"/>
                    <a:gd name="connsiteX8" fmla="*/ 20514 w 78048"/>
                    <a:gd name="connsiteY8" fmla="*/ 5443 h 39831"/>
                    <a:gd name="connsiteX9" fmla="*/ 21471 w 78048"/>
                    <a:gd name="connsiteY9" fmla="*/ 5682 h 39831"/>
                    <a:gd name="connsiteX10" fmla="*/ 23923 w 78048"/>
                    <a:gd name="connsiteY10" fmla="*/ 7058 h 39831"/>
                    <a:gd name="connsiteX11" fmla="*/ 26375 w 78048"/>
                    <a:gd name="connsiteY11" fmla="*/ 8433 h 39831"/>
                    <a:gd name="connsiteX12" fmla="*/ 28827 w 78048"/>
                    <a:gd name="connsiteY12" fmla="*/ 9808 h 39831"/>
                    <a:gd name="connsiteX13" fmla="*/ 31279 w 78048"/>
                    <a:gd name="connsiteY13" fmla="*/ 11184 h 39831"/>
                    <a:gd name="connsiteX14" fmla="*/ 33731 w 78048"/>
                    <a:gd name="connsiteY14" fmla="*/ 12560 h 39831"/>
                    <a:gd name="connsiteX15" fmla="*/ 36183 w 78048"/>
                    <a:gd name="connsiteY15" fmla="*/ 13935 h 39831"/>
                    <a:gd name="connsiteX16" fmla="*/ 38635 w 78048"/>
                    <a:gd name="connsiteY16" fmla="*/ 15311 h 39831"/>
                    <a:gd name="connsiteX17" fmla="*/ 41088 w 78048"/>
                    <a:gd name="connsiteY17" fmla="*/ 16686 h 39831"/>
                    <a:gd name="connsiteX18" fmla="*/ 43539 w 78048"/>
                    <a:gd name="connsiteY18" fmla="*/ 18062 h 39831"/>
                    <a:gd name="connsiteX19" fmla="*/ 45992 w 78048"/>
                    <a:gd name="connsiteY19" fmla="*/ 19437 h 39831"/>
                    <a:gd name="connsiteX20" fmla="*/ 48444 w 78048"/>
                    <a:gd name="connsiteY20" fmla="*/ 20813 h 39831"/>
                    <a:gd name="connsiteX21" fmla="*/ 50896 w 78048"/>
                    <a:gd name="connsiteY21" fmla="*/ 22189 h 39831"/>
                    <a:gd name="connsiteX22" fmla="*/ 53348 w 78048"/>
                    <a:gd name="connsiteY22" fmla="*/ 23564 h 39831"/>
                    <a:gd name="connsiteX23" fmla="*/ 55800 w 78048"/>
                    <a:gd name="connsiteY23" fmla="*/ 24940 h 39831"/>
                    <a:gd name="connsiteX24" fmla="*/ 58252 w 78048"/>
                    <a:gd name="connsiteY24" fmla="*/ 26315 h 39831"/>
                    <a:gd name="connsiteX25" fmla="*/ 60704 w 78048"/>
                    <a:gd name="connsiteY25" fmla="*/ 27691 h 39831"/>
                    <a:gd name="connsiteX26" fmla="*/ 63156 w 78048"/>
                    <a:gd name="connsiteY26" fmla="*/ 29067 h 39831"/>
                    <a:gd name="connsiteX27" fmla="*/ 65608 w 78048"/>
                    <a:gd name="connsiteY27" fmla="*/ 30442 h 39831"/>
                    <a:gd name="connsiteX28" fmla="*/ 68061 w 78048"/>
                    <a:gd name="connsiteY28" fmla="*/ 31817 h 39831"/>
                    <a:gd name="connsiteX29" fmla="*/ 70513 w 78048"/>
                    <a:gd name="connsiteY29" fmla="*/ 33193 h 39831"/>
                    <a:gd name="connsiteX30" fmla="*/ 72965 w 78048"/>
                    <a:gd name="connsiteY30" fmla="*/ 34569 h 39831"/>
                    <a:gd name="connsiteX31" fmla="*/ 73503 w 78048"/>
                    <a:gd name="connsiteY31" fmla="*/ 34868 h 39831"/>
                    <a:gd name="connsiteX32" fmla="*/ 75417 w 78048"/>
                    <a:gd name="connsiteY32" fmla="*/ 36961 h 39831"/>
                    <a:gd name="connsiteX33" fmla="*/ 77331 w 78048"/>
                    <a:gd name="connsiteY33" fmla="*/ 39054 h 39831"/>
                    <a:gd name="connsiteX34" fmla="*/ 78048 w 78048"/>
                    <a:gd name="connsiteY34" fmla="*/ 39832 h 3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048" h="39831">
                      <a:moveTo>
                        <a:pt x="0" y="0"/>
                      </a:moveTo>
                      <a:lnTo>
                        <a:pt x="1674" y="419"/>
                      </a:lnTo>
                      <a:lnTo>
                        <a:pt x="4366" y="1136"/>
                      </a:lnTo>
                      <a:lnTo>
                        <a:pt x="7057" y="1854"/>
                      </a:lnTo>
                      <a:lnTo>
                        <a:pt x="9749" y="2572"/>
                      </a:lnTo>
                      <a:lnTo>
                        <a:pt x="12440" y="3290"/>
                      </a:lnTo>
                      <a:lnTo>
                        <a:pt x="15131" y="4007"/>
                      </a:lnTo>
                      <a:lnTo>
                        <a:pt x="17822" y="4725"/>
                      </a:lnTo>
                      <a:lnTo>
                        <a:pt x="20514" y="5443"/>
                      </a:lnTo>
                      <a:lnTo>
                        <a:pt x="21471" y="5682"/>
                      </a:lnTo>
                      <a:lnTo>
                        <a:pt x="23923" y="7058"/>
                      </a:lnTo>
                      <a:lnTo>
                        <a:pt x="26375" y="8433"/>
                      </a:lnTo>
                      <a:lnTo>
                        <a:pt x="28827" y="9808"/>
                      </a:lnTo>
                      <a:lnTo>
                        <a:pt x="31279" y="11184"/>
                      </a:lnTo>
                      <a:lnTo>
                        <a:pt x="33731" y="12560"/>
                      </a:lnTo>
                      <a:lnTo>
                        <a:pt x="36183" y="13935"/>
                      </a:lnTo>
                      <a:lnTo>
                        <a:pt x="38635" y="15311"/>
                      </a:lnTo>
                      <a:lnTo>
                        <a:pt x="41088" y="16686"/>
                      </a:lnTo>
                      <a:lnTo>
                        <a:pt x="43539" y="18062"/>
                      </a:lnTo>
                      <a:lnTo>
                        <a:pt x="45992" y="19437"/>
                      </a:lnTo>
                      <a:lnTo>
                        <a:pt x="48444" y="20813"/>
                      </a:lnTo>
                      <a:lnTo>
                        <a:pt x="50896" y="22189"/>
                      </a:lnTo>
                      <a:lnTo>
                        <a:pt x="53348" y="23564"/>
                      </a:lnTo>
                      <a:lnTo>
                        <a:pt x="55800" y="24940"/>
                      </a:lnTo>
                      <a:lnTo>
                        <a:pt x="58252" y="26315"/>
                      </a:lnTo>
                      <a:lnTo>
                        <a:pt x="60704" y="27691"/>
                      </a:lnTo>
                      <a:lnTo>
                        <a:pt x="63156" y="29067"/>
                      </a:lnTo>
                      <a:lnTo>
                        <a:pt x="65608" y="30442"/>
                      </a:lnTo>
                      <a:lnTo>
                        <a:pt x="68061" y="31817"/>
                      </a:lnTo>
                      <a:lnTo>
                        <a:pt x="70513" y="33193"/>
                      </a:lnTo>
                      <a:lnTo>
                        <a:pt x="72965" y="34569"/>
                      </a:lnTo>
                      <a:lnTo>
                        <a:pt x="73503" y="34868"/>
                      </a:lnTo>
                      <a:lnTo>
                        <a:pt x="75417" y="36961"/>
                      </a:lnTo>
                      <a:lnTo>
                        <a:pt x="77331" y="39054"/>
                      </a:lnTo>
                      <a:lnTo>
                        <a:pt x="78048" y="39832"/>
                      </a:lnTo>
                    </a:path>
                  </a:pathLst>
                </a:custGeom>
                <a:noFill/>
                <a:ln w="6350" cap="flat">
                  <a:solidFill>
                    <a:schemeClr val="bg1">
                      <a:alpha val="80000"/>
                    </a:schemeClr>
                  </a:solidFill>
                  <a:prstDash val="solid"/>
                  <a:miter/>
                </a:ln>
              </p:spPr>
              <p:txBody>
                <a:bodyPr rtlCol="0" anchor="ctr"/>
                <a:lstStyle/>
                <a:p>
                  <a:endParaRPr lang="en-GB"/>
                </a:p>
              </p:txBody>
            </p:sp>
            <p:sp>
              <p:nvSpPr>
                <p:cNvPr id="7560" name="Vrije vorm: vorm 7559">
                  <a:extLst>
                    <a:ext uri="{FF2B5EF4-FFF2-40B4-BE49-F238E27FC236}">
                      <a16:creationId xmlns:a16="http://schemas.microsoft.com/office/drawing/2014/main" id="{88B26D68-D08A-4402-ABE8-263404844FB5}"/>
                    </a:ext>
                  </a:extLst>
                </p:cNvPr>
                <p:cNvSpPr/>
                <p:nvPr/>
              </p:nvSpPr>
              <p:spPr>
                <a:xfrm>
                  <a:off x="5796535" y="5026059"/>
                  <a:ext cx="50776" cy="29604"/>
                </a:xfrm>
                <a:custGeom>
                  <a:avLst/>
                  <a:gdLst>
                    <a:gd name="connsiteX0" fmla="*/ 36841 w 50776"/>
                    <a:gd name="connsiteY0" fmla="*/ 0 h 29604"/>
                    <a:gd name="connsiteX1" fmla="*/ 35286 w 50776"/>
                    <a:gd name="connsiteY1" fmla="*/ 3050 h 29604"/>
                    <a:gd name="connsiteX2" fmla="*/ 33731 w 50776"/>
                    <a:gd name="connsiteY2" fmla="*/ 6100 h 29604"/>
                    <a:gd name="connsiteX3" fmla="*/ 32954 w 50776"/>
                    <a:gd name="connsiteY3" fmla="*/ 7655 h 29604"/>
                    <a:gd name="connsiteX4" fmla="*/ 33731 w 50776"/>
                    <a:gd name="connsiteY4" fmla="*/ 8612 h 29604"/>
                    <a:gd name="connsiteX5" fmla="*/ 33911 w 50776"/>
                    <a:gd name="connsiteY5" fmla="*/ 8792 h 29604"/>
                    <a:gd name="connsiteX6" fmla="*/ 34987 w 50776"/>
                    <a:gd name="connsiteY6" fmla="*/ 10107 h 29604"/>
                    <a:gd name="connsiteX7" fmla="*/ 36782 w 50776"/>
                    <a:gd name="connsiteY7" fmla="*/ 12320 h 29604"/>
                    <a:gd name="connsiteX8" fmla="*/ 38576 w 50776"/>
                    <a:gd name="connsiteY8" fmla="*/ 14533 h 29604"/>
                    <a:gd name="connsiteX9" fmla="*/ 39174 w 50776"/>
                    <a:gd name="connsiteY9" fmla="*/ 15311 h 29604"/>
                    <a:gd name="connsiteX10" fmla="*/ 40968 w 50776"/>
                    <a:gd name="connsiteY10" fmla="*/ 17523 h 29604"/>
                    <a:gd name="connsiteX11" fmla="*/ 42762 w 50776"/>
                    <a:gd name="connsiteY11" fmla="*/ 19737 h 29604"/>
                    <a:gd name="connsiteX12" fmla="*/ 44556 w 50776"/>
                    <a:gd name="connsiteY12" fmla="*/ 21950 h 29604"/>
                    <a:gd name="connsiteX13" fmla="*/ 46351 w 50776"/>
                    <a:gd name="connsiteY13" fmla="*/ 24162 h 29604"/>
                    <a:gd name="connsiteX14" fmla="*/ 48145 w 50776"/>
                    <a:gd name="connsiteY14" fmla="*/ 26375 h 29604"/>
                    <a:gd name="connsiteX15" fmla="*/ 49939 w 50776"/>
                    <a:gd name="connsiteY15" fmla="*/ 28588 h 29604"/>
                    <a:gd name="connsiteX16" fmla="*/ 50776 w 50776"/>
                    <a:gd name="connsiteY16" fmla="*/ 29605 h 29604"/>
                    <a:gd name="connsiteX17" fmla="*/ 48384 w 50776"/>
                    <a:gd name="connsiteY17" fmla="*/ 28229 h 29604"/>
                    <a:gd name="connsiteX18" fmla="*/ 45992 w 50776"/>
                    <a:gd name="connsiteY18" fmla="*/ 26853 h 29604"/>
                    <a:gd name="connsiteX19" fmla="*/ 43599 w 50776"/>
                    <a:gd name="connsiteY19" fmla="*/ 25478 h 29604"/>
                    <a:gd name="connsiteX20" fmla="*/ 41207 w 50776"/>
                    <a:gd name="connsiteY20" fmla="*/ 24102 h 29604"/>
                    <a:gd name="connsiteX21" fmla="*/ 38815 w 50776"/>
                    <a:gd name="connsiteY21" fmla="*/ 22727 h 29604"/>
                    <a:gd name="connsiteX22" fmla="*/ 36423 w 50776"/>
                    <a:gd name="connsiteY22" fmla="*/ 21351 h 29604"/>
                    <a:gd name="connsiteX23" fmla="*/ 34030 w 50776"/>
                    <a:gd name="connsiteY23" fmla="*/ 19976 h 29604"/>
                    <a:gd name="connsiteX24" fmla="*/ 31638 w 50776"/>
                    <a:gd name="connsiteY24" fmla="*/ 18600 h 29604"/>
                    <a:gd name="connsiteX25" fmla="*/ 29246 w 50776"/>
                    <a:gd name="connsiteY25" fmla="*/ 17225 h 29604"/>
                    <a:gd name="connsiteX26" fmla="*/ 26853 w 50776"/>
                    <a:gd name="connsiteY26" fmla="*/ 15849 h 29604"/>
                    <a:gd name="connsiteX27" fmla="*/ 24461 w 50776"/>
                    <a:gd name="connsiteY27" fmla="*/ 14474 h 29604"/>
                    <a:gd name="connsiteX28" fmla="*/ 22069 w 50776"/>
                    <a:gd name="connsiteY28" fmla="*/ 13098 h 29604"/>
                    <a:gd name="connsiteX29" fmla="*/ 19676 w 50776"/>
                    <a:gd name="connsiteY29" fmla="*/ 11722 h 29604"/>
                    <a:gd name="connsiteX30" fmla="*/ 17284 w 50776"/>
                    <a:gd name="connsiteY30" fmla="*/ 10347 h 29604"/>
                    <a:gd name="connsiteX31" fmla="*/ 14892 w 50776"/>
                    <a:gd name="connsiteY31" fmla="*/ 8971 h 29604"/>
                    <a:gd name="connsiteX32" fmla="*/ 12500 w 50776"/>
                    <a:gd name="connsiteY32" fmla="*/ 7596 h 29604"/>
                    <a:gd name="connsiteX33" fmla="*/ 10107 w 50776"/>
                    <a:gd name="connsiteY33" fmla="*/ 6220 h 29604"/>
                    <a:gd name="connsiteX34" fmla="*/ 7715 w 50776"/>
                    <a:gd name="connsiteY34" fmla="*/ 4844 h 29604"/>
                    <a:gd name="connsiteX35" fmla="*/ 5323 w 50776"/>
                    <a:gd name="connsiteY35" fmla="*/ 3469 h 29604"/>
                    <a:gd name="connsiteX36" fmla="*/ 2930 w 50776"/>
                    <a:gd name="connsiteY36" fmla="*/ 2093 h 29604"/>
                    <a:gd name="connsiteX37" fmla="*/ 538 w 50776"/>
                    <a:gd name="connsiteY37" fmla="*/ 718 h 29604"/>
                    <a:gd name="connsiteX38" fmla="*/ 0 w 50776"/>
                    <a:gd name="connsiteY38" fmla="*/ 419 h 29604"/>
                    <a:gd name="connsiteX39" fmla="*/ 2751 w 50776"/>
                    <a:gd name="connsiteY39" fmla="*/ 1017 h 29604"/>
                    <a:gd name="connsiteX40" fmla="*/ 5502 w 50776"/>
                    <a:gd name="connsiteY40" fmla="*/ 1615 h 29604"/>
                    <a:gd name="connsiteX41" fmla="*/ 8253 w 50776"/>
                    <a:gd name="connsiteY41" fmla="*/ 2213 h 29604"/>
                    <a:gd name="connsiteX42" fmla="*/ 11005 w 50776"/>
                    <a:gd name="connsiteY42" fmla="*/ 2811 h 29604"/>
                    <a:gd name="connsiteX43" fmla="*/ 13756 w 50776"/>
                    <a:gd name="connsiteY43" fmla="*/ 3409 h 29604"/>
                    <a:gd name="connsiteX44" fmla="*/ 16507 w 50776"/>
                    <a:gd name="connsiteY44" fmla="*/ 4007 h 29604"/>
                    <a:gd name="connsiteX45" fmla="*/ 19258 w 50776"/>
                    <a:gd name="connsiteY45" fmla="*/ 4605 h 29604"/>
                    <a:gd name="connsiteX46" fmla="*/ 19617 w 50776"/>
                    <a:gd name="connsiteY46" fmla="*/ 4665 h 29604"/>
                    <a:gd name="connsiteX47" fmla="*/ 22368 w 50776"/>
                    <a:gd name="connsiteY47" fmla="*/ 5263 h 29604"/>
                    <a:gd name="connsiteX48" fmla="*/ 25119 w 50776"/>
                    <a:gd name="connsiteY48" fmla="*/ 5861 h 29604"/>
                    <a:gd name="connsiteX49" fmla="*/ 27691 w 50776"/>
                    <a:gd name="connsiteY49" fmla="*/ 6399 h 29604"/>
                    <a:gd name="connsiteX50" fmla="*/ 30442 w 50776"/>
                    <a:gd name="connsiteY50" fmla="*/ 6998 h 29604"/>
                    <a:gd name="connsiteX51" fmla="*/ 33193 w 50776"/>
                    <a:gd name="connsiteY51" fmla="*/ 7596 h 29604"/>
                    <a:gd name="connsiteX52" fmla="*/ 33373 w 50776"/>
                    <a:gd name="connsiteY52" fmla="*/ 7655 h 2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0776" h="29604">
                      <a:moveTo>
                        <a:pt x="36841" y="0"/>
                      </a:moveTo>
                      <a:lnTo>
                        <a:pt x="35286" y="3050"/>
                      </a:lnTo>
                      <a:lnTo>
                        <a:pt x="33731" y="6100"/>
                      </a:lnTo>
                      <a:lnTo>
                        <a:pt x="32954" y="7655"/>
                      </a:lnTo>
                      <a:lnTo>
                        <a:pt x="33731" y="8612"/>
                      </a:lnTo>
                      <a:lnTo>
                        <a:pt x="33911" y="8792"/>
                      </a:lnTo>
                      <a:lnTo>
                        <a:pt x="34987" y="10107"/>
                      </a:lnTo>
                      <a:lnTo>
                        <a:pt x="36782" y="12320"/>
                      </a:lnTo>
                      <a:lnTo>
                        <a:pt x="38576" y="14533"/>
                      </a:lnTo>
                      <a:lnTo>
                        <a:pt x="39174" y="15311"/>
                      </a:lnTo>
                      <a:lnTo>
                        <a:pt x="40968" y="17523"/>
                      </a:lnTo>
                      <a:lnTo>
                        <a:pt x="42762" y="19737"/>
                      </a:lnTo>
                      <a:lnTo>
                        <a:pt x="44556" y="21950"/>
                      </a:lnTo>
                      <a:lnTo>
                        <a:pt x="46351" y="24162"/>
                      </a:lnTo>
                      <a:lnTo>
                        <a:pt x="48145" y="26375"/>
                      </a:lnTo>
                      <a:lnTo>
                        <a:pt x="49939" y="28588"/>
                      </a:lnTo>
                      <a:lnTo>
                        <a:pt x="50776" y="29605"/>
                      </a:lnTo>
                      <a:lnTo>
                        <a:pt x="48384" y="28229"/>
                      </a:lnTo>
                      <a:lnTo>
                        <a:pt x="45992" y="26853"/>
                      </a:lnTo>
                      <a:lnTo>
                        <a:pt x="43599" y="25478"/>
                      </a:lnTo>
                      <a:lnTo>
                        <a:pt x="41207" y="24102"/>
                      </a:lnTo>
                      <a:lnTo>
                        <a:pt x="38815" y="22727"/>
                      </a:lnTo>
                      <a:lnTo>
                        <a:pt x="36423" y="21351"/>
                      </a:lnTo>
                      <a:lnTo>
                        <a:pt x="34030" y="19976"/>
                      </a:lnTo>
                      <a:lnTo>
                        <a:pt x="31638" y="18600"/>
                      </a:lnTo>
                      <a:lnTo>
                        <a:pt x="29246" y="17225"/>
                      </a:lnTo>
                      <a:lnTo>
                        <a:pt x="26853" y="15849"/>
                      </a:lnTo>
                      <a:lnTo>
                        <a:pt x="24461" y="14474"/>
                      </a:lnTo>
                      <a:lnTo>
                        <a:pt x="22069" y="13098"/>
                      </a:lnTo>
                      <a:lnTo>
                        <a:pt x="19676" y="11722"/>
                      </a:lnTo>
                      <a:lnTo>
                        <a:pt x="17284" y="10347"/>
                      </a:lnTo>
                      <a:lnTo>
                        <a:pt x="14892" y="8971"/>
                      </a:lnTo>
                      <a:lnTo>
                        <a:pt x="12500" y="7596"/>
                      </a:lnTo>
                      <a:lnTo>
                        <a:pt x="10107" y="6220"/>
                      </a:lnTo>
                      <a:lnTo>
                        <a:pt x="7715" y="4844"/>
                      </a:lnTo>
                      <a:lnTo>
                        <a:pt x="5323" y="3469"/>
                      </a:lnTo>
                      <a:lnTo>
                        <a:pt x="2930" y="2093"/>
                      </a:lnTo>
                      <a:lnTo>
                        <a:pt x="538" y="718"/>
                      </a:lnTo>
                      <a:lnTo>
                        <a:pt x="0" y="419"/>
                      </a:lnTo>
                      <a:lnTo>
                        <a:pt x="2751" y="1017"/>
                      </a:lnTo>
                      <a:lnTo>
                        <a:pt x="5502" y="1615"/>
                      </a:lnTo>
                      <a:lnTo>
                        <a:pt x="8253" y="2213"/>
                      </a:lnTo>
                      <a:lnTo>
                        <a:pt x="11005" y="2811"/>
                      </a:lnTo>
                      <a:lnTo>
                        <a:pt x="13756" y="3409"/>
                      </a:lnTo>
                      <a:lnTo>
                        <a:pt x="16507" y="4007"/>
                      </a:lnTo>
                      <a:lnTo>
                        <a:pt x="19258" y="4605"/>
                      </a:lnTo>
                      <a:lnTo>
                        <a:pt x="19617" y="4665"/>
                      </a:lnTo>
                      <a:lnTo>
                        <a:pt x="22368" y="5263"/>
                      </a:lnTo>
                      <a:lnTo>
                        <a:pt x="25119" y="5861"/>
                      </a:lnTo>
                      <a:lnTo>
                        <a:pt x="27691" y="6399"/>
                      </a:lnTo>
                      <a:lnTo>
                        <a:pt x="30442" y="6998"/>
                      </a:lnTo>
                      <a:lnTo>
                        <a:pt x="33193" y="7596"/>
                      </a:lnTo>
                      <a:lnTo>
                        <a:pt x="33373" y="7655"/>
                      </a:lnTo>
                    </a:path>
                  </a:pathLst>
                </a:custGeom>
                <a:noFill/>
                <a:ln w="6350" cap="flat">
                  <a:solidFill>
                    <a:schemeClr val="bg1">
                      <a:alpha val="80000"/>
                    </a:schemeClr>
                  </a:solidFill>
                  <a:prstDash val="solid"/>
                  <a:miter/>
                </a:ln>
              </p:spPr>
              <p:txBody>
                <a:bodyPr rtlCol="0" anchor="ctr"/>
                <a:lstStyle/>
                <a:p>
                  <a:endParaRPr lang="en-GB"/>
                </a:p>
              </p:txBody>
            </p:sp>
            <p:sp>
              <p:nvSpPr>
                <p:cNvPr id="7561" name="Vrije vorm: vorm 7560">
                  <a:extLst>
                    <a:ext uri="{FF2B5EF4-FFF2-40B4-BE49-F238E27FC236}">
                      <a16:creationId xmlns:a16="http://schemas.microsoft.com/office/drawing/2014/main" id="{AA9853F6-CA61-44E2-9A36-5DC2D36BD277}"/>
                    </a:ext>
                  </a:extLst>
                </p:cNvPr>
                <p:cNvSpPr/>
                <p:nvPr/>
              </p:nvSpPr>
              <p:spPr>
                <a:xfrm>
                  <a:off x="5718726" y="5010389"/>
                  <a:ext cx="26375" cy="5681"/>
                </a:xfrm>
                <a:custGeom>
                  <a:avLst/>
                  <a:gdLst>
                    <a:gd name="connsiteX0" fmla="*/ 0 w 26375"/>
                    <a:gd name="connsiteY0" fmla="*/ 0 h 5681"/>
                    <a:gd name="connsiteX1" fmla="*/ 2751 w 26375"/>
                    <a:gd name="connsiteY1" fmla="*/ 598 h 5681"/>
                    <a:gd name="connsiteX2" fmla="*/ 5502 w 26375"/>
                    <a:gd name="connsiteY2" fmla="*/ 1196 h 5681"/>
                    <a:gd name="connsiteX3" fmla="*/ 8253 w 26375"/>
                    <a:gd name="connsiteY3" fmla="*/ 1794 h 5681"/>
                    <a:gd name="connsiteX4" fmla="*/ 11005 w 26375"/>
                    <a:gd name="connsiteY4" fmla="*/ 2392 h 5681"/>
                    <a:gd name="connsiteX5" fmla="*/ 13756 w 26375"/>
                    <a:gd name="connsiteY5" fmla="*/ 2990 h 5681"/>
                    <a:gd name="connsiteX6" fmla="*/ 16028 w 26375"/>
                    <a:gd name="connsiteY6" fmla="*/ 3469 h 5681"/>
                    <a:gd name="connsiteX7" fmla="*/ 16447 w 26375"/>
                    <a:gd name="connsiteY7" fmla="*/ 3529 h 5681"/>
                    <a:gd name="connsiteX8" fmla="*/ 16746 w 26375"/>
                    <a:gd name="connsiteY8" fmla="*/ 3589 h 5681"/>
                    <a:gd name="connsiteX9" fmla="*/ 19497 w 26375"/>
                    <a:gd name="connsiteY9" fmla="*/ 4187 h 5681"/>
                    <a:gd name="connsiteX10" fmla="*/ 21770 w 26375"/>
                    <a:gd name="connsiteY10" fmla="*/ 4665 h 5681"/>
                    <a:gd name="connsiteX11" fmla="*/ 24521 w 26375"/>
                    <a:gd name="connsiteY11" fmla="*/ 5263 h 5681"/>
                    <a:gd name="connsiteX12" fmla="*/ 26375 w 26375"/>
                    <a:gd name="connsiteY12" fmla="*/ 5682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75" h="5681">
                      <a:moveTo>
                        <a:pt x="0" y="0"/>
                      </a:moveTo>
                      <a:lnTo>
                        <a:pt x="2751" y="598"/>
                      </a:lnTo>
                      <a:lnTo>
                        <a:pt x="5502" y="1196"/>
                      </a:lnTo>
                      <a:lnTo>
                        <a:pt x="8253" y="1794"/>
                      </a:lnTo>
                      <a:lnTo>
                        <a:pt x="11005" y="2392"/>
                      </a:lnTo>
                      <a:lnTo>
                        <a:pt x="13756" y="2990"/>
                      </a:lnTo>
                      <a:lnTo>
                        <a:pt x="16028" y="3469"/>
                      </a:lnTo>
                      <a:lnTo>
                        <a:pt x="16447" y="3529"/>
                      </a:lnTo>
                      <a:lnTo>
                        <a:pt x="16746" y="3589"/>
                      </a:lnTo>
                      <a:lnTo>
                        <a:pt x="19497" y="4187"/>
                      </a:lnTo>
                      <a:lnTo>
                        <a:pt x="21770" y="4665"/>
                      </a:lnTo>
                      <a:lnTo>
                        <a:pt x="24521" y="5263"/>
                      </a:lnTo>
                      <a:lnTo>
                        <a:pt x="26375" y="5682"/>
                      </a:lnTo>
                    </a:path>
                  </a:pathLst>
                </a:custGeom>
                <a:noFill/>
                <a:ln w="6350" cap="flat">
                  <a:solidFill>
                    <a:schemeClr val="bg1">
                      <a:alpha val="80000"/>
                    </a:schemeClr>
                  </a:solidFill>
                  <a:prstDash val="solid"/>
                  <a:miter/>
                </a:ln>
              </p:spPr>
              <p:txBody>
                <a:bodyPr rtlCol="0" anchor="ctr"/>
                <a:lstStyle/>
                <a:p>
                  <a:endParaRPr lang="en-GB"/>
                </a:p>
              </p:txBody>
            </p:sp>
            <p:sp>
              <p:nvSpPr>
                <p:cNvPr id="7562" name="Vrije vorm: vorm 7561">
                  <a:extLst>
                    <a:ext uri="{FF2B5EF4-FFF2-40B4-BE49-F238E27FC236}">
                      <a16:creationId xmlns:a16="http://schemas.microsoft.com/office/drawing/2014/main" id="{F69008B0-E46E-4957-8057-EF95917BE7C1}"/>
                    </a:ext>
                  </a:extLst>
                </p:cNvPr>
                <p:cNvSpPr/>
                <p:nvPr/>
              </p:nvSpPr>
              <p:spPr>
                <a:xfrm>
                  <a:off x="5862443" y="5100758"/>
                  <a:ext cx="22068" cy="26076"/>
                </a:xfrm>
                <a:custGeom>
                  <a:avLst/>
                  <a:gdLst>
                    <a:gd name="connsiteX0" fmla="*/ 22069 w 22068"/>
                    <a:gd name="connsiteY0" fmla="*/ 0 h 26076"/>
                    <a:gd name="connsiteX1" fmla="*/ 21052 w 22068"/>
                    <a:gd name="connsiteY1" fmla="*/ 1974 h 26076"/>
                    <a:gd name="connsiteX2" fmla="*/ 19497 w 22068"/>
                    <a:gd name="connsiteY2" fmla="*/ 5024 h 26076"/>
                    <a:gd name="connsiteX3" fmla="*/ 18361 w 22068"/>
                    <a:gd name="connsiteY3" fmla="*/ 7297 h 26076"/>
                    <a:gd name="connsiteX4" fmla="*/ 17882 w 22068"/>
                    <a:gd name="connsiteY4" fmla="*/ 8194 h 26076"/>
                    <a:gd name="connsiteX5" fmla="*/ 17703 w 22068"/>
                    <a:gd name="connsiteY5" fmla="*/ 8553 h 26076"/>
                    <a:gd name="connsiteX6" fmla="*/ 17523 w 22068"/>
                    <a:gd name="connsiteY6" fmla="*/ 8852 h 26076"/>
                    <a:gd name="connsiteX7" fmla="*/ 16148 w 22068"/>
                    <a:gd name="connsiteY7" fmla="*/ 11543 h 26076"/>
                    <a:gd name="connsiteX8" fmla="*/ 15789 w 22068"/>
                    <a:gd name="connsiteY8" fmla="*/ 12261 h 26076"/>
                    <a:gd name="connsiteX9" fmla="*/ 14652 w 22068"/>
                    <a:gd name="connsiteY9" fmla="*/ 14533 h 26076"/>
                    <a:gd name="connsiteX10" fmla="*/ 13098 w 22068"/>
                    <a:gd name="connsiteY10" fmla="*/ 17583 h 26076"/>
                    <a:gd name="connsiteX11" fmla="*/ 11543 w 22068"/>
                    <a:gd name="connsiteY11" fmla="*/ 20634 h 26076"/>
                    <a:gd name="connsiteX12" fmla="*/ 9988 w 22068"/>
                    <a:gd name="connsiteY12" fmla="*/ 23684 h 26076"/>
                    <a:gd name="connsiteX13" fmla="*/ 9270 w 22068"/>
                    <a:gd name="connsiteY13" fmla="*/ 25119 h 26076"/>
                    <a:gd name="connsiteX14" fmla="*/ 6340 w 22068"/>
                    <a:gd name="connsiteY14" fmla="*/ 25418 h 26076"/>
                    <a:gd name="connsiteX15" fmla="*/ 3409 w 22068"/>
                    <a:gd name="connsiteY15" fmla="*/ 25717 h 26076"/>
                    <a:gd name="connsiteX16" fmla="*/ 478 w 22068"/>
                    <a:gd name="connsiteY16" fmla="*/ 26016 h 26076"/>
                    <a:gd name="connsiteX17" fmla="*/ 0 w 22068"/>
                    <a:gd name="connsiteY17" fmla="*/ 26076 h 2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068" h="26076">
                      <a:moveTo>
                        <a:pt x="22069" y="0"/>
                      </a:moveTo>
                      <a:lnTo>
                        <a:pt x="21052" y="1974"/>
                      </a:lnTo>
                      <a:lnTo>
                        <a:pt x="19497" y="5024"/>
                      </a:lnTo>
                      <a:lnTo>
                        <a:pt x="18361" y="7297"/>
                      </a:lnTo>
                      <a:lnTo>
                        <a:pt x="17882" y="8194"/>
                      </a:lnTo>
                      <a:lnTo>
                        <a:pt x="17703" y="8553"/>
                      </a:lnTo>
                      <a:lnTo>
                        <a:pt x="17523" y="8852"/>
                      </a:lnTo>
                      <a:lnTo>
                        <a:pt x="16148" y="11543"/>
                      </a:lnTo>
                      <a:lnTo>
                        <a:pt x="15789" y="12261"/>
                      </a:lnTo>
                      <a:lnTo>
                        <a:pt x="14652" y="14533"/>
                      </a:lnTo>
                      <a:lnTo>
                        <a:pt x="13098" y="17583"/>
                      </a:lnTo>
                      <a:lnTo>
                        <a:pt x="11543" y="20634"/>
                      </a:lnTo>
                      <a:lnTo>
                        <a:pt x="9988" y="23684"/>
                      </a:lnTo>
                      <a:lnTo>
                        <a:pt x="9270" y="25119"/>
                      </a:lnTo>
                      <a:lnTo>
                        <a:pt x="6340" y="25418"/>
                      </a:lnTo>
                      <a:lnTo>
                        <a:pt x="3409" y="25717"/>
                      </a:lnTo>
                      <a:lnTo>
                        <a:pt x="478" y="26016"/>
                      </a:lnTo>
                      <a:lnTo>
                        <a:pt x="0" y="26076"/>
                      </a:lnTo>
                    </a:path>
                  </a:pathLst>
                </a:custGeom>
                <a:noFill/>
                <a:ln w="6350" cap="flat">
                  <a:solidFill>
                    <a:schemeClr val="bg1">
                      <a:alpha val="80000"/>
                    </a:schemeClr>
                  </a:solidFill>
                  <a:prstDash val="solid"/>
                  <a:miter/>
                </a:ln>
              </p:spPr>
              <p:txBody>
                <a:bodyPr rtlCol="0" anchor="ctr"/>
                <a:lstStyle/>
                <a:p>
                  <a:endParaRPr lang="en-GB"/>
                </a:p>
              </p:txBody>
            </p:sp>
            <p:sp>
              <p:nvSpPr>
                <p:cNvPr id="7563" name="Vrije vorm: vorm 7562">
                  <a:extLst>
                    <a:ext uri="{FF2B5EF4-FFF2-40B4-BE49-F238E27FC236}">
                      <a16:creationId xmlns:a16="http://schemas.microsoft.com/office/drawing/2014/main" id="{2BE1D4E3-2B86-48EE-BFC0-7FADB230D7CD}"/>
                    </a:ext>
                  </a:extLst>
                </p:cNvPr>
                <p:cNvSpPr/>
                <p:nvPr/>
              </p:nvSpPr>
              <p:spPr>
                <a:xfrm>
                  <a:off x="5863878" y="5117444"/>
                  <a:ext cx="7834" cy="8552"/>
                </a:xfrm>
                <a:custGeom>
                  <a:avLst/>
                  <a:gdLst>
                    <a:gd name="connsiteX0" fmla="*/ 1256 w 7834"/>
                    <a:gd name="connsiteY0" fmla="*/ 4665 h 8552"/>
                    <a:gd name="connsiteX1" fmla="*/ 479 w 7834"/>
                    <a:gd name="connsiteY1" fmla="*/ 1674 h 8552"/>
                    <a:gd name="connsiteX2" fmla="*/ 0 w 7834"/>
                    <a:gd name="connsiteY2" fmla="*/ 0 h 8552"/>
                    <a:gd name="connsiteX3" fmla="*/ 1914 w 7834"/>
                    <a:gd name="connsiteY3" fmla="*/ 2093 h 8552"/>
                    <a:gd name="connsiteX4" fmla="*/ 3828 w 7834"/>
                    <a:gd name="connsiteY4" fmla="*/ 4187 h 8552"/>
                    <a:gd name="connsiteX5" fmla="*/ 5741 w 7834"/>
                    <a:gd name="connsiteY5" fmla="*/ 6280 h 8552"/>
                    <a:gd name="connsiteX6" fmla="*/ 7655 w 7834"/>
                    <a:gd name="connsiteY6" fmla="*/ 8373 h 8552"/>
                    <a:gd name="connsiteX7" fmla="*/ 7835 w 7834"/>
                    <a:gd name="connsiteY7" fmla="*/ 8552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34" h="8552">
                      <a:moveTo>
                        <a:pt x="1256" y="4665"/>
                      </a:moveTo>
                      <a:lnTo>
                        <a:pt x="479" y="1674"/>
                      </a:lnTo>
                      <a:lnTo>
                        <a:pt x="0" y="0"/>
                      </a:lnTo>
                      <a:lnTo>
                        <a:pt x="1914" y="2093"/>
                      </a:lnTo>
                      <a:lnTo>
                        <a:pt x="3828" y="4187"/>
                      </a:lnTo>
                      <a:lnTo>
                        <a:pt x="5741" y="6280"/>
                      </a:lnTo>
                      <a:lnTo>
                        <a:pt x="7655" y="8373"/>
                      </a:lnTo>
                      <a:lnTo>
                        <a:pt x="7835" y="8552"/>
                      </a:lnTo>
                    </a:path>
                  </a:pathLst>
                </a:custGeom>
                <a:noFill/>
                <a:ln w="6350" cap="flat">
                  <a:solidFill>
                    <a:schemeClr val="bg1">
                      <a:alpha val="80000"/>
                    </a:schemeClr>
                  </a:solidFill>
                  <a:prstDash val="solid"/>
                  <a:miter/>
                </a:ln>
              </p:spPr>
              <p:txBody>
                <a:bodyPr rtlCol="0" anchor="ctr"/>
                <a:lstStyle/>
                <a:p>
                  <a:endParaRPr lang="en-GB"/>
                </a:p>
              </p:txBody>
            </p:sp>
            <p:sp>
              <p:nvSpPr>
                <p:cNvPr id="7564" name="Vrije vorm: vorm 7563">
                  <a:extLst>
                    <a:ext uri="{FF2B5EF4-FFF2-40B4-BE49-F238E27FC236}">
                      <a16:creationId xmlns:a16="http://schemas.microsoft.com/office/drawing/2014/main" id="{0E26648A-0FB1-4AF8-8EF9-7119CCD1576D}"/>
                    </a:ext>
                  </a:extLst>
                </p:cNvPr>
                <p:cNvSpPr/>
                <p:nvPr/>
              </p:nvSpPr>
              <p:spPr>
                <a:xfrm>
                  <a:off x="5741931" y="5054587"/>
                  <a:ext cx="96648" cy="39054"/>
                </a:xfrm>
                <a:custGeom>
                  <a:avLst/>
                  <a:gdLst>
                    <a:gd name="connsiteX0" fmla="*/ 0 w 96648"/>
                    <a:gd name="connsiteY0" fmla="*/ 3170 h 39054"/>
                    <a:gd name="connsiteX1" fmla="*/ 1675 w 96648"/>
                    <a:gd name="connsiteY1" fmla="*/ 1256 h 39054"/>
                    <a:gd name="connsiteX2" fmla="*/ 4545 w 96648"/>
                    <a:gd name="connsiteY2" fmla="*/ 299 h 39054"/>
                    <a:gd name="connsiteX3" fmla="*/ 4904 w 96648"/>
                    <a:gd name="connsiteY3" fmla="*/ 180 h 39054"/>
                    <a:gd name="connsiteX4" fmla="*/ 7775 w 96648"/>
                    <a:gd name="connsiteY4" fmla="*/ 60 h 39054"/>
                    <a:gd name="connsiteX5" fmla="*/ 9629 w 96648"/>
                    <a:gd name="connsiteY5" fmla="*/ 0 h 39054"/>
                    <a:gd name="connsiteX6" fmla="*/ 12440 w 96648"/>
                    <a:gd name="connsiteY6" fmla="*/ 359 h 39054"/>
                    <a:gd name="connsiteX7" fmla="*/ 15251 w 96648"/>
                    <a:gd name="connsiteY7" fmla="*/ 718 h 39054"/>
                    <a:gd name="connsiteX8" fmla="*/ 15789 w 96648"/>
                    <a:gd name="connsiteY8" fmla="*/ 778 h 39054"/>
                    <a:gd name="connsiteX9" fmla="*/ 18540 w 96648"/>
                    <a:gd name="connsiteY9" fmla="*/ 1375 h 39054"/>
                    <a:gd name="connsiteX10" fmla="*/ 21291 w 96648"/>
                    <a:gd name="connsiteY10" fmla="*/ 1974 h 39054"/>
                    <a:gd name="connsiteX11" fmla="*/ 23325 w 96648"/>
                    <a:gd name="connsiteY11" fmla="*/ 2452 h 39054"/>
                    <a:gd name="connsiteX12" fmla="*/ 26016 w 96648"/>
                    <a:gd name="connsiteY12" fmla="*/ 3229 h 39054"/>
                    <a:gd name="connsiteX13" fmla="*/ 28707 w 96648"/>
                    <a:gd name="connsiteY13" fmla="*/ 4007 h 39054"/>
                    <a:gd name="connsiteX14" fmla="*/ 31399 w 96648"/>
                    <a:gd name="connsiteY14" fmla="*/ 4785 h 39054"/>
                    <a:gd name="connsiteX15" fmla="*/ 31997 w 96648"/>
                    <a:gd name="connsiteY15" fmla="*/ 4964 h 39054"/>
                    <a:gd name="connsiteX16" fmla="*/ 34628 w 96648"/>
                    <a:gd name="connsiteY16" fmla="*/ 5921 h 39054"/>
                    <a:gd name="connsiteX17" fmla="*/ 37260 w 96648"/>
                    <a:gd name="connsiteY17" fmla="*/ 6878 h 39054"/>
                    <a:gd name="connsiteX18" fmla="*/ 39891 w 96648"/>
                    <a:gd name="connsiteY18" fmla="*/ 7835 h 39054"/>
                    <a:gd name="connsiteX19" fmla="*/ 41566 w 96648"/>
                    <a:gd name="connsiteY19" fmla="*/ 8433 h 39054"/>
                    <a:gd name="connsiteX20" fmla="*/ 44138 w 96648"/>
                    <a:gd name="connsiteY20" fmla="*/ 9510 h 39054"/>
                    <a:gd name="connsiteX21" fmla="*/ 46709 w 96648"/>
                    <a:gd name="connsiteY21" fmla="*/ 10586 h 39054"/>
                    <a:gd name="connsiteX22" fmla="*/ 49281 w 96648"/>
                    <a:gd name="connsiteY22" fmla="*/ 11662 h 39054"/>
                    <a:gd name="connsiteX23" fmla="*/ 51674 w 96648"/>
                    <a:gd name="connsiteY23" fmla="*/ 12679 h 39054"/>
                    <a:gd name="connsiteX24" fmla="*/ 54185 w 96648"/>
                    <a:gd name="connsiteY24" fmla="*/ 13875 h 39054"/>
                    <a:gd name="connsiteX25" fmla="*/ 56697 w 96648"/>
                    <a:gd name="connsiteY25" fmla="*/ 15072 h 39054"/>
                    <a:gd name="connsiteX26" fmla="*/ 59209 w 96648"/>
                    <a:gd name="connsiteY26" fmla="*/ 16267 h 39054"/>
                    <a:gd name="connsiteX27" fmla="*/ 61721 w 96648"/>
                    <a:gd name="connsiteY27" fmla="*/ 17464 h 39054"/>
                    <a:gd name="connsiteX28" fmla="*/ 61960 w 96648"/>
                    <a:gd name="connsiteY28" fmla="*/ 17583 h 39054"/>
                    <a:gd name="connsiteX29" fmla="*/ 64412 w 96648"/>
                    <a:gd name="connsiteY29" fmla="*/ 18899 h 39054"/>
                    <a:gd name="connsiteX30" fmla="*/ 66864 w 96648"/>
                    <a:gd name="connsiteY30" fmla="*/ 20215 h 39054"/>
                    <a:gd name="connsiteX31" fmla="*/ 69317 w 96648"/>
                    <a:gd name="connsiteY31" fmla="*/ 21530 h 39054"/>
                    <a:gd name="connsiteX32" fmla="*/ 71769 w 96648"/>
                    <a:gd name="connsiteY32" fmla="*/ 22846 h 39054"/>
                    <a:gd name="connsiteX33" fmla="*/ 72128 w 96648"/>
                    <a:gd name="connsiteY33" fmla="*/ 23026 h 39054"/>
                    <a:gd name="connsiteX34" fmla="*/ 74520 w 96648"/>
                    <a:gd name="connsiteY34" fmla="*/ 24401 h 39054"/>
                    <a:gd name="connsiteX35" fmla="*/ 76912 w 96648"/>
                    <a:gd name="connsiteY35" fmla="*/ 25777 h 39054"/>
                    <a:gd name="connsiteX36" fmla="*/ 79304 w 96648"/>
                    <a:gd name="connsiteY36" fmla="*/ 27152 h 39054"/>
                    <a:gd name="connsiteX37" fmla="*/ 81756 w 96648"/>
                    <a:gd name="connsiteY37" fmla="*/ 28588 h 39054"/>
                    <a:gd name="connsiteX38" fmla="*/ 84448 w 96648"/>
                    <a:gd name="connsiteY38" fmla="*/ 29365 h 39054"/>
                    <a:gd name="connsiteX39" fmla="*/ 87139 w 96648"/>
                    <a:gd name="connsiteY39" fmla="*/ 30143 h 39054"/>
                    <a:gd name="connsiteX40" fmla="*/ 89831 w 96648"/>
                    <a:gd name="connsiteY40" fmla="*/ 30920 h 39054"/>
                    <a:gd name="connsiteX41" fmla="*/ 92522 w 96648"/>
                    <a:gd name="connsiteY41" fmla="*/ 31698 h 39054"/>
                    <a:gd name="connsiteX42" fmla="*/ 95213 w 96648"/>
                    <a:gd name="connsiteY42" fmla="*/ 32475 h 39054"/>
                    <a:gd name="connsiteX43" fmla="*/ 96649 w 96648"/>
                    <a:gd name="connsiteY43" fmla="*/ 32894 h 39054"/>
                    <a:gd name="connsiteX44" fmla="*/ 95094 w 96648"/>
                    <a:gd name="connsiteY44" fmla="*/ 35944 h 39054"/>
                    <a:gd name="connsiteX45" fmla="*/ 93539 w 96648"/>
                    <a:gd name="connsiteY45" fmla="*/ 39054 h 3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6648" h="39054">
                      <a:moveTo>
                        <a:pt x="0" y="3170"/>
                      </a:moveTo>
                      <a:lnTo>
                        <a:pt x="1675" y="1256"/>
                      </a:lnTo>
                      <a:lnTo>
                        <a:pt x="4545" y="299"/>
                      </a:lnTo>
                      <a:lnTo>
                        <a:pt x="4904" y="180"/>
                      </a:lnTo>
                      <a:lnTo>
                        <a:pt x="7775" y="60"/>
                      </a:lnTo>
                      <a:lnTo>
                        <a:pt x="9629" y="0"/>
                      </a:lnTo>
                      <a:lnTo>
                        <a:pt x="12440" y="359"/>
                      </a:lnTo>
                      <a:lnTo>
                        <a:pt x="15251" y="718"/>
                      </a:lnTo>
                      <a:lnTo>
                        <a:pt x="15789" y="778"/>
                      </a:lnTo>
                      <a:lnTo>
                        <a:pt x="18540" y="1375"/>
                      </a:lnTo>
                      <a:lnTo>
                        <a:pt x="21291" y="1974"/>
                      </a:lnTo>
                      <a:lnTo>
                        <a:pt x="23325" y="2452"/>
                      </a:lnTo>
                      <a:lnTo>
                        <a:pt x="26016" y="3229"/>
                      </a:lnTo>
                      <a:lnTo>
                        <a:pt x="28707" y="4007"/>
                      </a:lnTo>
                      <a:lnTo>
                        <a:pt x="31399" y="4785"/>
                      </a:lnTo>
                      <a:lnTo>
                        <a:pt x="31997" y="4964"/>
                      </a:lnTo>
                      <a:lnTo>
                        <a:pt x="34628" y="5921"/>
                      </a:lnTo>
                      <a:lnTo>
                        <a:pt x="37260" y="6878"/>
                      </a:lnTo>
                      <a:lnTo>
                        <a:pt x="39891" y="7835"/>
                      </a:lnTo>
                      <a:lnTo>
                        <a:pt x="41566" y="8433"/>
                      </a:lnTo>
                      <a:lnTo>
                        <a:pt x="44138" y="9510"/>
                      </a:lnTo>
                      <a:lnTo>
                        <a:pt x="46709" y="10586"/>
                      </a:lnTo>
                      <a:lnTo>
                        <a:pt x="49281" y="11662"/>
                      </a:lnTo>
                      <a:lnTo>
                        <a:pt x="51674" y="12679"/>
                      </a:lnTo>
                      <a:lnTo>
                        <a:pt x="54185" y="13875"/>
                      </a:lnTo>
                      <a:lnTo>
                        <a:pt x="56697" y="15072"/>
                      </a:lnTo>
                      <a:lnTo>
                        <a:pt x="59209" y="16267"/>
                      </a:lnTo>
                      <a:lnTo>
                        <a:pt x="61721" y="17464"/>
                      </a:lnTo>
                      <a:lnTo>
                        <a:pt x="61960" y="17583"/>
                      </a:lnTo>
                      <a:lnTo>
                        <a:pt x="64412" y="18899"/>
                      </a:lnTo>
                      <a:lnTo>
                        <a:pt x="66864" y="20215"/>
                      </a:lnTo>
                      <a:lnTo>
                        <a:pt x="69317" y="21530"/>
                      </a:lnTo>
                      <a:lnTo>
                        <a:pt x="71769" y="22846"/>
                      </a:lnTo>
                      <a:lnTo>
                        <a:pt x="72128" y="23026"/>
                      </a:lnTo>
                      <a:lnTo>
                        <a:pt x="74520" y="24401"/>
                      </a:lnTo>
                      <a:lnTo>
                        <a:pt x="76912" y="25777"/>
                      </a:lnTo>
                      <a:lnTo>
                        <a:pt x="79304" y="27152"/>
                      </a:lnTo>
                      <a:lnTo>
                        <a:pt x="81756" y="28588"/>
                      </a:lnTo>
                      <a:lnTo>
                        <a:pt x="84448" y="29365"/>
                      </a:lnTo>
                      <a:lnTo>
                        <a:pt x="87139" y="30143"/>
                      </a:lnTo>
                      <a:lnTo>
                        <a:pt x="89831" y="30920"/>
                      </a:lnTo>
                      <a:lnTo>
                        <a:pt x="92522" y="31698"/>
                      </a:lnTo>
                      <a:lnTo>
                        <a:pt x="95213" y="32475"/>
                      </a:lnTo>
                      <a:lnTo>
                        <a:pt x="96649" y="32894"/>
                      </a:lnTo>
                      <a:lnTo>
                        <a:pt x="95094" y="35944"/>
                      </a:lnTo>
                      <a:lnTo>
                        <a:pt x="93539" y="39054"/>
                      </a:lnTo>
                    </a:path>
                  </a:pathLst>
                </a:custGeom>
                <a:noFill/>
                <a:ln w="6350" cap="flat">
                  <a:solidFill>
                    <a:schemeClr val="bg1">
                      <a:alpha val="80000"/>
                    </a:schemeClr>
                  </a:solidFill>
                  <a:prstDash val="solid"/>
                  <a:miter/>
                </a:ln>
              </p:spPr>
              <p:txBody>
                <a:bodyPr rtlCol="0" anchor="ctr"/>
                <a:lstStyle/>
                <a:p>
                  <a:endParaRPr lang="en-GB"/>
                </a:p>
              </p:txBody>
            </p:sp>
            <p:sp>
              <p:nvSpPr>
                <p:cNvPr id="7565" name="Vrije vorm: vorm 7564">
                  <a:extLst>
                    <a:ext uri="{FF2B5EF4-FFF2-40B4-BE49-F238E27FC236}">
                      <a16:creationId xmlns:a16="http://schemas.microsoft.com/office/drawing/2014/main" id="{15813EE2-7FDD-40EC-B891-AD265D3B704C}"/>
                    </a:ext>
                  </a:extLst>
                </p:cNvPr>
                <p:cNvSpPr/>
                <p:nvPr/>
              </p:nvSpPr>
              <p:spPr>
                <a:xfrm>
                  <a:off x="5739001" y="5060329"/>
                  <a:ext cx="124757" cy="69555"/>
                </a:xfrm>
                <a:custGeom>
                  <a:avLst/>
                  <a:gdLst>
                    <a:gd name="connsiteX0" fmla="*/ 0 w 124757"/>
                    <a:gd name="connsiteY0" fmla="*/ 5382 h 69555"/>
                    <a:gd name="connsiteX1" fmla="*/ 179 w 124757"/>
                    <a:gd name="connsiteY1" fmla="*/ 2871 h 69555"/>
                    <a:gd name="connsiteX2" fmla="*/ 1854 w 124757"/>
                    <a:gd name="connsiteY2" fmla="*/ 1076 h 69555"/>
                    <a:gd name="connsiteX3" fmla="*/ 2273 w 124757"/>
                    <a:gd name="connsiteY3" fmla="*/ 957 h 69555"/>
                    <a:gd name="connsiteX4" fmla="*/ 5024 w 124757"/>
                    <a:gd name="connsiteY4" fmla="*/ 119 h 69555"/>
                    <a:gd name="connsiteX5" fmla="*/ 7895 w 124757"/>
                    <a:gd name="connsiteY5" fmla="*/ 60 h 69555"/>
                    <a:gd name="connsiteX6" fmla="*/ 9689 w 124757"/>
                    <a:gd name="connsiteY6" fmla="*/ 0 h 69555"/>
                    <a:gd name="connsiteX7" fmla="*/ 12500 w 124757"/>
                    <a:gd name="connsiteY7" fmla="*/ 359 h 69555"/>
                    <a:gd name="connsiteX8" fmla="*/ 15311 w 124757"/>
                    <a:gd name="connsiteY8" fmla="*/ 718 h 69555"/>
                    <a:gd name="connsiteX9" fmla="*/ 15849 w 124757"/>
                    <a:gd name="connsiteY9" fmla="*/ 778 h 69555"/>
                    <a:gd name="connsiteX10" fmla="*/ 18600 w 124757"/>
                    <a:gd name="connsiteY10" fmla="*/ 1435 h 69555"/>
                    <a:gd name="connsiteX11" fmla="*/ 21351 w 124757"/>
                    <a:gd name="connsiteY11" fmla="*/ 2093 h 69555"/>
                    <a:gd name="connsiteX12" fmla="*/ 23384 w 124757"/>
                    <a:gd name="connsiteY12" fmla="*/ 2572 h 69555"/>
                    <a:gd name="connsiteX13" fmla="*/ 26076 w 124757"/>
                    <a:gd name="connsiteY13" fmla="*/ 3409 h 69555"/>
                    <a:gd name="connsiteX14" fmla="*/ 28767 w 124757"/>
                    <a:gd name="connsiteY14" fmla="*/ 4246 h 69555"/>
                    <a:gd name="connsiteX15" fmla="*/ 31459 w 124757"/>
                    <a:gd name="connsiteY15" fmla="*/ 5083 h 69555"/>
                    <a:gd name="connsiteX16" fmla="*/ 32057 w 124757"/>
                    <a:gd name="connsiteY16" fmla="*/ 5263 h 69555"/>
                    <a:gd name="connsiteX17" fmla="*/ 34688 w 124757"/>
                    <a:gd name="connsiteY17" fmla="*/ 6220 h 69555"/>
                    <a:gd name="connsiteX18" fmla="*/ 37320 w 124757"/>
                    <a:gd name="connsiteY18" fmla="*/ 7177 h 69555"/>
                    <a:gd name="connsiteX19" fmla="*/ 39951 w 124757"/>
                    <a:gd name="connsiteY19" fmla="*/ 8134 h 69555"/>
                    <a:gd name="connsiteX20" fmla="*/ 41626 w 124757"/>
                    <a:gd name="connsiteY20" fmla="*/ 8732 h 69555"/>
                    <a:gd name="connsiteX21" fmla="*/ 44198 w 124757"/>
                    <a:gd name="connsiteY21" fmla="*/ 9808 h 69555"/>
                    <a:gd name="connsiteX22" fmla="*/ 46769 w 124757"/>
                    <a:gd name="connsiteY22" fmla="*/ 10885 h 69555"/>
                    <a:gd name="connsiteX23" fmla="*/ 49341 w 124757"/>
                    <a:gd name="connsiteY23" fmla="*/ 11961 h 69555"/>
                    <a:gd name="connsiteX24" fmla="*/ 51733 w 124757"/>
                    <a:gd name="connsiteY24" fmla="*/ 12978 h 69555"/>
                    <a:gd name="connsiteX25" fmla="*/ 54245 w 124757"/>
                    <a:gd name="connsiteY25" fmla="*/ 14174 h 69555"/>
                    <a:gd name="connsiteX26" fmla="*/ 56757 w 124757"/>
                    <a:gd name="connsiteY26" fmla="*/ 15370 h 69555"/>
                    <a:gd name="connsiteX27" fmla="*/ 59269 w 124757"/>
                    <a:gd name="connsiteY27" fmla="*/ 16566 h 69555"/>
                    <a:gd name="connsiteX28" fmla="*/ 61781 w 124757"/>
                    <a:gd name="connsiteY28" fmla="*/ 17763 h 69555"/>
                    <a:gd name="connsiteX29" fmla="*/ 62020 w 124757"/>
                    <a:gd name="connsiteY29" fmla="*/ 17882 h 69555"/>
                    <a:gd name="connsiteX30" fmla="*/ 64472 w 124757"/>
                    <a:gd name="connsiteY30" fmla="*/ 19198 h 69555"/>
                    <a:gd name="connsiteX31" fmla="*/ 66924 w 124757"/>
                    <a:gd name="connsiteY31" fmla="*/ 20514 h 69555"/>
                    <a:gd name="connsiteX32" fmla="*/ 69376 w 124757"/>
                    <a:gd name="connsiteY32" fmla="*/ 21829 h 69555"/>
                    <a:gd name="connsiteX33" fmla="*/ 71829 w 124757"/>
                    <a:gd name="connsiteY33" fmla="*/ 23145 h 69555"/>
                    <a:gd name="connsiteX34" fmla="*/ 72187 w 124757"/>
                    <a:gd name="connsiteY34" fmla="*/ 23325 h 69555"/>
                    <a:gd name="connsiteX35" fmla="*/ 74579 w 124757"/>
                    <a:gd name="connsiteY35" fmla="*/ 24700 h 69555"/>
                    <a:gd name="connsiteX36" fmla="*/ 76972 w 124757"/>
                    <a:gd name="connsiteY36" fmla="*/ 26076 h 69555"/>
                    <a:gd name="connsiteX37" fmla="*/ 79364 w 124757"/>
                    <a:gd name="connsiteY37" fmla="*/ 27451 h 69555"/>
                    <a:gd name="connsiteX38" fmla="*/ 81816 w 124757"/>
                    <a:gd name="connsiteY38" fmla="*/ 28887 h 69555"/>
                    <a:gd name="connsiteX39" fmla="*/ 84508 w 124757"/>
                    <a:gd name="connsiteY39" fmla="*/ 29664 h 69555"/>
                    <a:gd name="connsiteX40" fmla="*/ 87199 w 124757"/>
                    <a:gd name="connsiteY40" fmla="*/ 30442 h 69555"/>
                    <a:gd name="connsiteX41" fmla="*/ 89890 w 124757"/>
                    <a:gd name="connsiteY41" fmla="*/ 31219 h 69555"/>
                    <a:gd name="connsiteX42" fmla="*/ 92581 w 124757"/>
                    <a:gd name="connsiteY42" fmla="*/ 31997 h 69555"/>
                    <a:gd name="connsiteX43" fmla="*/ 95273 w 124757"/>
                    <a:gd name="connsiteY43" fmla="*/ 32774 h 69555"/>
                    <a:gd name="connsiteX44" fmla="*/ 96708 w 124757"/>
                    <a:gd name="connsiteY44" fmla="*/ 33193 h 69555"/>
                    <a:gd name="connsiteX45" fmla="*/ 98682 w 124757"/>
                    <a:gd name="connsiteY45" fmla="*/ 35226 h 69555"/>
                    <a:gd name="connsiteX46" fmla="*/ 100656 w 124757"/>
                    <a:gd name="connsiteY46" fmla="*/ 37260 h 69555"/>
                    <a:gd name="connsiteX47" fmla="*/ 102629 w 124757"/>
                    <a:gd name="connsiteY47" fmla="*/ 39293 h 69555"/>
                    <a:gd name="connsiteX48" fmla="*/ 104603 w 124757"/>
                    <a:gd name="connsiteY48" fmla="*/ 41327 h 69555"/>
                    <a:gd name="connsiteX49" fmla="*/ 106577 w 124757"/>
                    <a:gd name="connsiteY49" fmla="*/ 43360 h 69555"/>
                    <a:gd name="connsiteX50" fmla="*/ 108550 w 124757"/>
                    <a:gd name="connsiteY50" fmla="*/ 45393 h 69555"/>
                    <a:gd name="connsiteX51" fmla="*/ 110524 w 124757"/>
                    <a:gd name="connsiteY51" fmla="*/ 47427 h 69555"/>
                    <a:gd name="connsiteX52" fmla="*/ 112497 w 124757"/>
                    <a:gd name="connsiteY52" fmla="*/ 49460 h 69555"/>
                    <a:gd name="connsiteX53" fmla="*/ 114471 w 124757"/>
                    <a:gd name="connsiteY53" fmla="*/ 51494 h 69555"/>
                    <a:gd name="connsiteX54" fmla="*/ 116444 w 124757"/>
                    <a:gd name="connsiteY54" fmla="*/ 53527 h 69555"/>
                    <a:gd name="connsiteX55" fmla="*/ 118418 w 124757"/>
                    <a:gd name="connsiteY55" fmla="*/ 55561 h 69555"/>
                    <a:gd name="connsiteX56" fmla="*/ 120392 w 124757"/>
                    <a:gd name="connsiteY56" fmla="*/ 57594 h 69555"/>
                    <a:gd name="connsiteX57" fmla="*/ 122366 w 124757"/>
                    <a:gd name="connsiteY57" fmla="*/ 59628 h 69555"/>
                    <a:gd name="connsiteX58" fmla="*/ 123502 w 124757"/>
                    <a:gd name="connsiteY58" fmla="*/ 60824 h 69555"/>
                    <a:gd name="connsiteX59" fmla="*/ 124339 w 124757"/>
                    <a:gd name="connsiteY59" fmla="*/ 63754 h 69555"/>
                    <a:gd name="connsiteX60" fmla="*/ 124579 w 124757"/>
                    <a:gd name="connsiteY60" fmla="*/ 64652 h 69555"/>
                    <a:gd name="connsiteX61" fmla="*/ 124698 w 124757"/>
                    <a:gd name="connsiteY61" fmla="*/ 65190 h 69555"/>
                    <a:gd name="connsiteX62" fmla="*/ 124758 w 124757"/>
                    <a:gd name="connsiteY62" fmla="*/ 65369 h 69555"/>
                    <a:gd name="connsiteX63" fmla="*/ 124160 w 124757"/>
                    <a:gd name="connsiteY63" fmla="*/ 66386 h 69555"/>
                    <a:gd name="connsiteX64" fmla="*/ 122964 w 124757"/>
                    <a:gd name="connsiteY64" fmla="*/ 68300 h 69555"/>
                    <a:gd name="connsiteX65" fmla="*/ 120033 w 124757"/>
                    <a:gd name="connsiteY65" fmla="*/ 69077 h 69555"/>
                    <a:gd name="connsiteX66" fmla="*/ 118299 w 124757"/>
                    <a:gd name="connsiteY66" fmla="*/ 69556 h 69555"/>
                    <a:gd name="connsiteX67" fmla="*/ 115428 w 124757"/>
                    <a:gd name="connsiteY67" fmla="*/ 69436 h 69555"/>
                    <a:gd name="connsiteX68" fmla="*/ 112557 w 124757"/>
                    <a:gd name="connsiteY68" fmla="*/ 69316 h 69555"/>
                    <a:gd name="connsiteX69" fmla="*/ 111241 w 124757"/>
                    <a:gd name="connsiteY69" fmla="*/ 69256 h 69555"/>
                    <a:gd name="connsiteX70" fmla="*/ 108490 w 124757"/>
                    <a:gd name="connsiteY70" fmla="*/ 68718 h 69555"/>
                    <a:gd name="connsiteX71" fmla="*/ 105739 w 124757"/>
                    <a:gd name="connsiteY71" fmla="*/ 68180 h 69555"/>
                    <a:gd name="connsiteX72" fmla="*/ 102988 w 124757"/>
                    <a:gd name="connsiteY72" fmla="*/ 67642 h 69555"/>
                    <a:gd name="connsiteX73" fmla="*/ 102450 w 124757"/>
                    <a:gd name="connsiteY73" fmla="*/ 67522 h 6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4757" h="69555">
                      <a:moveTo>
                        <a:pt x="0" y="5382"/>
                      </a:moveTo>
                      <a:lnTo>
                        <a:pt x="179" y="2871"/>
                      </a:lnTo>
                      <a:lnTo>
                        <a:pt x="1854" y="1076"/>
                      </a:lnTo>
                      <a:lnTo>
                        <a:pt x="2273" y="957"/>
                      </a:lnTo>
                      <a:lnTo>
                        <a:pt x="5024" y="119"/>
                      </a:lnTo>
                      <a:lnTo>
                        <a:pt x="7895" y="60"/>
                      </a:lnTo>
                      <a:lnTo>
                        <a:pt x="9689" y="0"/>
                      </a:lnTo>
                      <a:lnTo>
                        <a:pt x="12500" y="359"/>
                      </a:lnTo>
                      <a:lnTo>
                        <a:pt x="15311" y="718"/>
                      </a:lnTo>
                      <a:lnTo>
                        <a:pt x="15849" y="778"/>
                      </a:lnTo>
                      <a:lnTo>
                        <a:pt x="18600" y="1435"/>
                      </a:lnTo>
                      <a:lnTo>
                        <a:pt x="21351" y="2093"/>
                      </a:lnTo>
                      <a:lnTo>
                        <a:pt x="23384" y="2572"/>
                      </a:lnTo>
                      <a:lnTo>
                        <a:pt x="26076" y="3409"/>
                      </a:lnTo>
                      <a:lnTo>
                        <a:pt x="28767" y="4246"/>
                      </a:lnTo>
                      <a:lnTo>
                        <a:pt x="31459" y="5083"/>
                      </a:lnTo>
                      <a:lnTo>
                        <a:pt x="32057" y="5263"/>
                      </a:lnTo>
                      <a:lnTo>
                        <a:pt x="34688" y="6220"/>
                      </a:lnTo>
                      <a:lnTo>
                        <a:pt x="37320" y="7177"/>
                      </a:lnTo>
                      <a:lnTo>
                        <a:pt x="39951" y="8134"/>
                      </a:lnTo>
                      <a:lnTo>
                        <a:pt x="41626" y="8732"/>
                      </a:lnTo>
                      <a:lnTo>
                        <a:pt x="44198" y="9808"/>
                      </a:lnTo>
                      <a:lnTo>
                        <a:pt x="46769" y="10885"/>
                      </a:lnTo>
                      <a:lnTo>
                        <a:pt x="49341" y="11961"/>
                      </a:lnTo>
                      <a:lnTo>
                        <a:pt x="51733" y="12978"/>
                      </a:lnTo>
                      <a:lnTo>
                        <a:pt x="54245" y="14174"/>
                      </a:lnTo>
                      <a:lnTo>
                        <a:pt x="56757" y="15370"/>
                      </a:lnTo>
                      <a:lnTo>
                        <a:pt x="59269" y="16566"/>
                      </a:lnTo>
                      <a:lnTo>
                        <a:pt x="61781" y="17763"/>
                      </a:lnTo>
                      <a:lnTo>
                        <a:pt x="62020" y="17882"/>
                      </a:lnTo>
                      <a:lnTo>
                        <a:pt x="64472" y="19198"/>
                      </a:lnTo>
                      <a:lnTo>
                        <a:pt x="66924" y="20514"/>
                      </a:lnTo>
                      <a:lnTo>
                        <a:pt x="69376" y="21829"/>
                      </a:lnTo>
                      <a:lnTo>
                        <a:pt x="71829" y="23145"/>
                      </a:lnTo>
                      <a:lnTo>
                        <a:pt x="72187" y="23325"/>
                      </a:lnTo>
                      <a:lnTo>
                        <a:pt x="74579" y="24700"/>
                      </a:lnTo>
                      <a:lnTo>
                        <a:pt x="76972" y="26076"/>
                      </a:lnTo>
                      <a:lnTo>
                        <a:pt x="79364" y="27451"/>
                      </a:lnTo>
                      <a:lnTo>
                        <a:pt x="81816" y="28887"/>
                      </a:lnTo>
                      <a:lnTo>
                        <a:pt x="84508" y="29664"/>
                      </a:lnTo>
                      <a:lnTo>
                        <a:pt x="87199" y="30442"/>
                      </a:lnTo>
                      <a:lnTo>
                        <a:pt x="89890" y="31219"/>
                      </a:lnTo>
                      <a:lnTo>
                        <a:pt x="92581" y="31997"/>
                      </a:lnTo>
                      <a:lnTo>
                        <a:pt x="95273" y="32774"/>
                      </a:lnTo>
                      <a:lnTo>
                        <a:pt x="96708" y="33193"/>
                      </a:lnTo>
                      <a:lnTo>
                        <a:pt x="98682" y="35226"/>
                      </a:lnTo>
                      <a:lnTo>
                        <a:pt x="100656" y="37260"/>
                      </a:lnTo>
                      <a:lnTo>
                        <a:pt x="102629" y="39293"/>
                      </a:lnTo>
                      <a:lnTo>
                        <a:pt x="104603" y="41327"/>
                      </a:lnTo>
                      <a:lnTo>
                        <a:pt x="106577" y="43360"/>
                      </a:lnTo>
                      <a:lnTo>
                        <a:pt x="108550" y="45393"/>
                      </a:lnTo>
                      <a:lnTo>
                        <a:pt x="110524" y="47427"/>
                      </a:lnTo>
                      <a:lnTo>
                        <a:pt x="112497" y="49460"/>
                      </a:lnTo>
                      <a:lnTo>
                        <a:pt x="114471" y="51494"/>
                      </a:lnTo>
                      <a:lnTo>
                        <a:pt x="116444" y="53527"/>
                      </a:lnTo>
                      <a:lnTo>
                        <a:pt x="118418" y="55561"/>
                      </a:lnTo>
                      <a:lnTo>
                        <a:pt x="120392" y="57594"/>
                      </a:lnTo>
                      <a:lnTo>
                        <a:pt x="122366" y="59628"/>
                      </a:lnTo>
                      <a:lnTo>
                        <a:pt x="123502" y="60824"/>
                      </a:lnTo>
                      <a:lnTo>
                        <a:pt x="124339" y="63754"/>
                      </a:lnTo>
                      <a:lnTo>
                        <a:pt x="124579" y="64652"/>
                      </a:lnTo>
                      <a:lnTo>
                        <a:pt x="124698" y="65190"/>
                      </a:lnTo>
                      <a:lnTo>
                        <a:pt x="124758" y="65369"/>
                      </a:lnTo>
                      <a:lnTo>
                        <a:pt x="124160" y="66386"/>
                      </a:lnTo>
                      <a:lnTo>
                        <a:pt x="122964" y="68300"/>
                      </a:lnTo>
                      <a:lnTo>
                        <a:pt x="120033" y="69077"/>
                      </a:lnTo>
                      <a:lnTo>
                        <a:pt x="118299" y="69556"/>
                      </a:lnTo>
                      <a:lnTo>
                        <a:pt x="115428" y="69436"/>
                      </a:lnTo>
                      <a:lnTo>
                        <a:pt x="112557" y="69316"/>
                      </a:lnTo>
                      <a:lnTo>
                        <a:pt x="111241" y="69256"/>
                      </a:lnTo>
                      <a:lnTo>
                        <a:pt x="108490" y="68718"/>
                      </a:lnTo>
                      <a:lnTo>
                        <a:pt x="105739" y="68180"/>
                      </a:lnTo>
                      <a:lnTo>
                        <a:pt x="102988" y="67642"/>
                      </a:lnTo>
                      <a:lnTo>
                        <a:pt x="102450" y="67522"/>
                      </a:lnTo>
                    </a:path>
                  </a:pathLst>
                </a:custGeom>
                <a:noFill/>
                <a:ln w="6350" cap="flat">
                  <a:solidFill>
                    <a:schemeClr val="bg1">
                      <a:alpha val="80000"/>
                    </a:schemeClr>
                  </a:solidFill>
                  <a:prstDash val="solid"/>
                  <a:miter/>
                </a:ln>
              </p:spPr>
              <p:txBody>
                <a:bodyPr rtlCol="0" anchor="ctr"/>
                <a:lstStyle/>
                <a:p>
                  <a:endParaRPr lang="en-GB"/>
                </a:p>
              </p:txBody>
            </p:sp>
            <p:sp>
              <p:nvSpPr>
                <p:cNvPr id="7566" name="Vrije vorm: vorm 7565">
                  <a:extLst>
                    <a:ext uri="{FF2B5EF4-FFF2-40B4-BE49-F238E27FC236}">
                      <a16:creationId xmlns:a16="http://schemas.microsoft.com/office/drawing/2014/main" id="{C6EEEC80-B5DF-46E5-BA41-B01A2EE91484}"/>
                    </a:ext>
                  </a:extLst>
                </p:cNvPr>
                <p:cNvSpPr/>
                <p:nvPr/>
              </p:nvSpPr>
              <p:spPr>
                <a:xfrm>
                  <a:off x="5884512" y="5100758"/>
                  <a:ext cx="12080" cy="14832"/>
                </a:xfrm>
                <a:custGeom>
                  <a:avLst/>
                  <a:gdLst>
                    <a:gd name="connsiteX0" fmla="*/ 0 w 12080"/>
                    <a:gd name="connsiteY0" fmla="*/ 0 h 14832"/>
                    <a:gd name="connsiteX1" fmla="*/ 1794 w 12080"/>
                    <a:gd name="connsiteY1" fmla="*/ 2213 h 14832"/>
                    <a:gd name="connsiteX2" fmla="*/ 3469 w 12080"/>
                    <a:gd name="connsiteY2" fmla="*/ 4246 h 14832"/>
                    <a:gd name="connsiteX3" fmla="*/ 5263 w 12080"/>
                    <a:gd name="connsiteY3" fmla="*/ 6459 h 14832"/>
                    <a:gd name="connsiteX4" fmla="*/ 7057 w 12080"/>
                    <a:gd name="connsiteY4" fmla="*/ 8672 h 14832"/>
                    <a:gd name="connsiteX5" fmla="*/ 8851 w 12080"/>
                    <a:gd name="connsiteY5" fmla="*/ 10885 h 14832"/>
                    <a:gd name="connsiteX6" fmla="*/ 10645 w 12080"/>
                    <a:gd name="connsiteY6" fmla="*/ 13098 h 14832"/>
                    <a:gd name="connsiteX7" fmla="*/ 12081 w 12080"/>
                    <a:gd name="connsiteY7" fmla="*/ 14832 h 1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80" h="14832">
                      <a:moveTo>
                        <a:pt x="0" y="0"/>
                      </a:moveTo>
                      <a:lnTo>
                        <a:pt x="1794" y="2213"/>
                      </a:lnTo>
                      <a:lnTo>
                        <a:pt x="3469" y="4246"/>
                      </a:lnTo>
                      <a:lnTo>
                        <a:pt x="5263" y="6459"/>
                      </a:lnTo>
                      <a:lnTo>
                        <a:pt x="7057" y="8672"/>
                      </a:lnTo>
                      <a:lnTo>
                        <a:pt x="8851" y="10885"/>
                      </a:lnTo>
                      <a:lnTo>
                        <a:pt x="10645" y="13098"/>
                      </a:lnTo>
                      <a:lnTo>
                        <a:pt x="12081" y="14832"/>
                      </a:lnTo>
                    </a:path>
                  </a:pathLst>
                </a:custGeom>
                <a:noFill/>
                <a:ln w="6350" cap="flat">
                  <a:solidFill>
                    <a:schemeClr val="bg1">
                      <a:alpha val="80000"/>
                    </a:schemeClr>
                  </a:solidFill>
                  <a:prstDash val="solid"/>
                  <a:miter/>
                </a:ln>
              </p:spPr>
              <p:txBody>
                <a:bodyPr rtlCol="0" anchor="ctr"/>
                <a:lstStyle/>
                <a:p>
                  <a:endParaRPr lang="en-GB"/>
                </a:p>
              </p:txBody>
            </p:sp>
            <p:sp>
              <p:nvSpPr>
                <p:cNvPr id="7567" name="Vrije vorm: vorm 7566">
                  <a:extLst>
                    <a:ext uri="{FF2B5EF4-FFF2-40B4-BE49-F238E27FC236}">
                      <a16:creationId xmlns:a16="http://schemas.microsoft.com/office/drawing/2014/main" id="{0726ADF6-B59B-4FD0-B08D-1801CEF0737B}"/>
                    </a:ext>
                  </a:extLst>
                </p:cNvPr>
                <p:cNvSpPr/>
                <p:nvPr/>
              </p:nvSpPr>
              <p:spPr>
                <a:xfrm>
                  <a:off x="5884512" y="5114274"/>
                  <a:ext cx="12200" cy="25238"/>
                </a:xfrm>
                <a:custGeom>
                  <a:avLst/>
                  <a:gdLst>
                    <a:gd name="connsiteX0" fmla="*/ 8493 w 12200"/>
                    <a:gd name="connsiteY0" fmla="*/ 0 h 25238"/>
                    <a:gd name="connsiteX1" fmla="*/ 11124 w 12200"/>
                    <a:gd name="connsiteY1" fmla="*/ 957 h 25238"/>
                    <a:gd name="connsiteX2" fmla="*/ 12201 w 12200"/>
                    <a:gd name="connsiteY2" fmla="*/ 1316 h 25238"/>
                    <a:gd name="connsiteX3" fmla="*/ 10645 w 12200"/>
                    <a:gd name="connsiteY3" fmla="*/ 4366 h 25238"/>
                    <a:gd name="connsiteX4" fmla="*/ 9090 w 12200"/>
                    <a:gd name="connsiteY4" fmla="*/ 7416 h 25238"/>
                    <a:gd name="connsiteX5" fmla="*/ 7535 w 12200"/>
                    <a:gd name="connsiteY5" fmla="*/ 10466 h 25238"/>
                    <a:gd name="connsiteX6" fmla="*/ 5981 w 12200"/>
                    <a:gd name="connsiteY6" fmla="*/ 13516 h 25238"/>
                    <a:gd name="connsiteX7" fmla="*/ 4426 w 12200"/>
                    <a:gd name="connsiteY7" fmla="*/ 16567 h 25238"/>
                    <a:gd name="connsiteX8" fmla="*/ 2871 w 12200"/>
                    <a:gd name="connsiteY8" fmla="*/ 19617 h 25238"/>
                    <a:gd name="connsiteX9" fmla="*/ 1316 w 12200"/>
                    <a:gd name="connsiteY9" fmla="*/ 22667 h 25238"/>
                    <a:gd name="connsiteX10" fmla="*/ 0 w 12200"/>
                    <a:gd name="connsiteY10" fmla="*/ 25239 h 2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00" h="25238">
                      <a:moveTo>
                        <a:pt x="8493" y="0"/>
                      </a:moveTo>
                      <a:lnTo>
                        <a:pt x="11124" y="957"/>
                      </a:lnTo>
                      <a:lnTo>
                        <a:pt x="12201" y="1316"/>
                      </a:lnTo>
                      <a:lnTo>
                        <a:pt x="10645" y="4366"/>
                      </a:lnTo>
                      <a:lnTo>
                        <a:pt x="9090" y="7416"/>
                      </a:lnTo>
                      <a:lnTo>
                        <a:pt x="7535" y="10466"/>
                      </a:lnTo>
                      <a:lnTo>
                        <a:pt x="5981" y="13516"/>
                      </a:lnTo>
                      <a:lnTo>
                        <a:pt x="4426" y="16567"/>
                      </a:lnTo>
                      <a:lnTo>
                        <a:pt x="2871" y="19617"/>
                      </a:lnTo>
                      <a:lnTo>
                        <a:pt x="1316" y="22667"/>
                      </a:lnTo>
                      <a:lnTo>
                        <a:pt x="0" y="25239"/>
                      </a:lnTo>
                    </a:path>
                  </a:pathLst>
                </a:custGeom>
                <a:noFill/>
                <a:ln w="6350" cap="flat">
                  <a:solidFill>
                    <a:schemeClr val="bg1">
                      <a:alpha val="80000"/>
                    </a:schemeClr>
                  </a:solidFill>
                  <a:prstDash val="solid"/>
                  <a:miter/>
                </a:ln>
              </p:spPr>
              <p:txBody>
                <a:bodyPr rtlCol="0" anchor="ctr"/>
                <a:lstStyle/>
                <a:p>
                  <a:endParaRPr lang="en-GB"/>
                </a:p>
              </p:txBody>
            </p:sp>
            <p:sp>
              <p:nvSpPr>
                <p:cNvPr id="7568" name="Vrije vorm: vorm 7567">
                  <a:extLst>
                    <a:ext uri="{FF2B5EF4-FFF2-40B4-BE49-F238E27FC236}">
                      <a16:creationId xmlns:a16="http://schemas.microsoft.com/office/drawing/2014/main" id="{FC2D2D55-7103-4349-B698-BB206BE318E9}"/>
                    </a:ext>
                  </a:extLst>
                </p:cNvPr>
                <p:cNvSpPr/>
                <p:nvPr/>
              </p:nvSpPr>
              <p:spPr>
                <a:xfrm>
                  <a:off x="5881521" y="5138377"/>
                  <a:ext cx="11482" cy="10406"/>
                </a:xfrm>
                <a:custGeom>
                  <a:avLst/>
                  <a:gdLst>
                    <a:gd name="connsiteX0" fmla="*/ 0 w 11482"/>
                    <a:gd name="connsiteY0" fmla="*/ 0 h 10406"/>
                    <a:gd name="connsiteX1" fmla="*/ 2572 w 11482"/>
                    <a:gd name="connsiteY1" fmla="*/ 1017 h 10406"/>
                    <a:gd name="connsiteX2" fmla="*/ 3050 w 11482"/>
                    <a:gd name="connsiteY2" fmla="*/ 1196 h 10406"/>
                    <a:gd name="connsiteX3" fmla="*/ 4964 w 11482"/>
                    <a:gd name="connsiteY3" fmla="*/ 3289 h 10406"/>
                    <a:gd name="connsiteX4" fmla="*/ 6878 w 11482"/>
                    <a:gd name="connsiteY4" fmla="*/ 5382 h 10406"/>
                    <a:gd name="connsiteX5" fmla="*/ 8791 w 11482"/>
                    <a:gd name="connsiteY5" fmla="*/ 7476 h 10406"/>
                    <a:gd name="connsiteX6" fmla="*/ 10705 w 11482"/>
                    <a:gd name="connsiteY6" fmla="*/ 9569 h 10406"/>
                    <a:gd name="connsiteX7" fmla="*/ 11483 w 11482"/>
                    <a:gd name="connsiteY7" fmla="*/ 10406 h 1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82" h="10406">
                      <a:moveTo>
                        <a:pt x="0" y="0"/>
                      </a:moveTo>
                      <a:lnTo>
                        <a:pt x="2572" y="1017"/>
                      </a:lnTo>
                      <a:lnTo>
                        <a:pt x="3050" y="1196"/>
                      </a:lnTo>
                      <a:lnTo>
                        <a:pt x="4964" y="3289"/>
                      </a:lnTo>
                      <a:lnTo>
                        <a:pt x="6878" y="5382"/>
                      </a:lnTo>
                      <a:lnTo>
                        <a:pt x="8791" y="7476"/>
                      </a:lnTo>
                      <a:lnTo>
                        <a:pt x="10705" y="9569"/>
                      </a:lnTo>
                      <a:lnTo>
                        <a:pt x="11483" y="10406"/>
                      </a:lnTo>
                    </a:path>
                  </a:pathLst>
                </a:custGeom>
                <a:noFill/>
                <a:ln w="6350" cap="flat">
                  <a:solidFill>
                    <a:schemeClr val="bg1">
                      <a:alpha val="80000"/>
                    </a:schemeClr>
                  </a:solidFill>
                  <a:prstDash val="solid"/>
                  <a:miter/>
                </a:ln>
              </p:spPr>
              <p:txBody>
                <a:bodyPr rtlCol="0" anchor="ctr"/>
                <a:lstStyle/>
                <a:p>
                  <a:endParaRPr lang="en-GB"/>
                </a:p>
              </p:txBody>
            </p:sp>
            <p:sp>
              <p:nvSpPr>
                <p:cNvPr id="7569" name="Vrije vorm: vorm 7568">
                  <a:extLst>
                    <a:ext uri="{FF2B5EF4-FFF2-40B4-BE49-F238E27FC236}">
                      <a16:creationId xmlns:a16="http://schemas.microsoft.com/office/drawing/2014/main" id="{83A13C90-D05E-4125-B4AF-C37B306107E9}"/>
                    </a:ext>
                  </a:extLst>
                </p:cNvPr>
                <p:cNvSpPr/>
                <p:nvPr/>
              </p:nvSpPr>
              <p:spPr>
                <a:xfrm>
                  <a:off x="5733439" y="5016131"/>
                  <a:ext cx="4964" cy="2870"/>
                </a:xfrm>
                <a:custGeom>
                  <a:avLst/>
                  <a:gdLst>
                    <a:gd name="connsiteX0" fmla="*/ 4964 w 4964"/>
                    <a:gd name="connsiteY0" fmla="*/ 2871 h 2870"/>
                    <a:gd name="connsiteX1" fmla="*/ 4964 w 4964"/>
                    <a:gd name="connsiteY1" fmla="*/ 2871 h 2870"/>
                    <a:gd name="connsiteX2" fmla="*/ 4964 w 4964"/>
                    <a:gd name="connsiteY2" fmla="*/ 2632 h 2870"/>
                    <a:gd name="connsiteX3" fmla="*/ 4785 w 4964"/>
                    <a:gd name="connsiteY3" fmla="*/ 2333 h 2870"/>
                    <a:gd name="connsiteX4" fmla="*/ 4426 w 4964"/>
                    <a:gd name="connsiteY4" fmla="*/ 1974 h 2870"/>
                    <a:gd name="connsiteX5" fmla="*/ 3947 w 4964"/>
                    <a:gd name="connsiteY5" fmla="*/ 1555 h 2870"/>
                    <a:gd name="connsiteX6" fmla="*/ 3349 w 4964"/>
                    <a:gd name="connsiteY6" fmla="*/ 1136 h 2870"/>
                    <a:gd name="connsiteX7" fmla="*/ 2691 w 4964"/>
                    <a:gd name="connsiteY7" fmla="*/ 778 h 2870"/>
                    <a:gd name="connsiteX8" fmla="*/ 2033 w 4964"/>
                    <a:gd name="connsiteY8" fmla="*/ 419 h 2870"/>
                    <a:gd name="connsiteX9" fmla="*/ 1435 w 4964"/>
                    <a:gd name="connsiteY9" fmla="*/ 179 h 2870"/>
                    <a:gd name="connsiteX10" fmla="*/ 1136 w 4964"/>
                    <a:gd name="connsiteY10" fmla="*/ 120 h 2870"/>
                    <a:gd name="connsiteX11" fmla="*/ 837 w 4964"/>
                    <a:gd name="connsiteY11" fmla="*/ 60 h 2870"/>
                    <a:gd name="connsiteX12" fmla="*/ 538 w 4964"/>
                    <a:gd name="connsiteY12" fmla="*/ 0 h 2870"/>
                    <a:gd name="connsiteX13" fmla="*/ 419 w 4964"/>
                    <a:gd name="connsiteY13" fmla="*/ 0 h 2870"/>
                    <a:gd name="connsiteX14" fmla="*/ 119 w 4964"/>
                    <a:gd name="connsiteY14" fmla="*/ 60 h 2870"/>
                    <a:gd name="connsiteX15" fmla="*/ 0 w 4964"/>
                    <a:gd name="connsiteY15" fmla="*/ 239 h 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64" h="2870">
                      <a:moveTo>
                        <a:pt x="4964" y="2871"/>
                      </a:moveTo>
                      <a:lnTo>
                        <a:pt x="4964" y="2871"/>
                      </a:lnTo>
                      <a:lnTo>
                        <a:pt x="4964" y="2632"/>
                      </a:lnTo>
                      <a:lnTo>
                        <a:pt x="4785" y="2333"/>
                      </a:lnTo>
                      <a:lnTo>
                        <a:pt x="4426" y="1974"/>
                      </a:lnTo>
                      <a:lnTo>
                        <a:pt x="3947" y="1555"/>
                      </a:lnTo>
                      <a:lnTo>
                        <a:pt x="3349" y="1136"/>
                      </a:lnTo>
                      <a:lnTo>
                        <a:pt x="2691" y="778"/>
                      </a:lnTo>
                      <a:lnTo>
                        <a:pt x="2033" y="419"/>
                      </a:lnTo>
                      <a:lnTo>
                        <a:pt x="1435" y="179"/>
                      </a:lnTo>
                      <a:lnTo>
                        <a:pt x="1136" y="120"/>
                      </a:lnTo>
                      <a:lnTo>
                        <a:pt x="837" y="60"/>
                      </a:lnTo>
                      <a:lnTo>
                        <a:pt x="538" y="0"/>
                      </a:lnTo>
                      <a:lnTo>
                        <a:pt x="419" y="0"/>
                      </a:lnTo>
                      <a:lnTo>
                        <a:pt x="119" y="60"/>
                      </a:lnTo>
                      <a:lnTo>
                        <a:pt x="0" y="239"/>
                      </a:lnTo>
                    </a:path>
                  </a:pathLst>
                </a:custGeom>
                <a:noFill/>
                <a:ln w="6350" cap="flat">
                  <a:solidFill>
                    <a:schemeClr val="bg1">
                      <a:alpha val="80000"/>
                    </a:schemeClr>
                  </a:solidFill>
                  <a:prstDash val="solid"/>
                  <a:miter/>
                </a:ln>
              </p:spPr>
              <p:txBody>
                <a:bodyPr rtlCol="0" anchor="ctr"/>
                <a:lstStyle/>
                <a:p>
                  <a:endParaRPr lang="en-GB"/>
                </a:p>
              </p:txBody>
            </p:sp>
            <p:sp>
              <p:nvSpPr>
                <p:cNvPr id="7570" name="Vrije vorm: vorm 7569">
                  <a:extLst>
                    <a:ext uri="{FF2B5EF4-FFF2-40B4-BE49-F238E27FC236}">
                      <a16:creationId xmlns:a16="http://schemas.microsoft.com/office/drawing/2014/main" id="{89ECFD46-8017-47E4-95F0-8AE73EC0BCF1}"/>
                    </a:ext>
                  </a:extLst>
                </p:cNvPr>
                <p:cNvSpPr/>
                <p:nvPr/>
              </p:nvSpPr>
              <p:spPr>
                <a:xfrm>
                  <a:off x="5733439" y="5016310"/>
                  <a:ext cx="4964" cy="2930"/>
                </a:xfrm>
                <a:custGeom>
                  <a:avLst/>
                  <a:gdLst>
                    <a:gd name="connsiteX0" fmla="*/ 4964 w 4964"/>
                    <a:gd name="connsiteY0" fmla="*/ 2691 h 2930"/>
                    <a:gd name="connsiteX1" fmla="*/ 4785 w 4964"/>
                    <a:gd name="connsiteY1" fmla="*/ 2871 h 2930"/>
                    <a:gd name="connsiteX2" fmla="*/ 4486 w 4964"/>
                    <a:gd name="connsiteY2" fmla="*/ 2931 h 2930"/>
                    <a:gd name="connsiteX3" fmla="*/ 4067 w 4964"/>
                    <a:gd name="connsiteY3" fmla="*/ 2871 h 2930"/>
                    <a:gd name="connsiteX4" fmla="*/ 3528 w 4964"/>
                    <a:gd name="connsiteY4" fmla="*/ 2691 h 2930"/>
                    <a:gd name="connsiteX5" fmla="*/ 2930 w 4964"/>
                    <a:gd name="connsiteY5" fmla="*/ 2452 h 2930"/>
                    <a:gd name="connsiteX6" fmla="*/ 2273 w 4964"/>
                    <a:gd name="connsiteY6" fmla="*/ 2153 h 2930"/>
                    <a:gd name="connsiteX7" fmla="*/ 1615 w 4964"/>
                    <a:gd name="connsiteY7" fmla="*/ 1795 h 2930"/>
                    <a:gd name="connsiteX8" fmla="*/ 1017 w 4964"/>
                    <a:gd name="connsiteY8" fmla="*/ 1376 h 2930"/>
                    <a:gd name="connsiteX9" fmla="*/ 538 w 4964"/>
                    <a:gd name="connsiteY9" fmla="*/ 957 h 2930"/>
                    <a:gd name="connsiteX10" fmla="*/ 179 w 4964"/>
                    <a:gd name="connsiteY10" fmla="*/ 598 h 2930"/>
                    <a:gd name="connsiteX11" fmla="*/ 179 w 4964"/>
                    <a:gd name="connsiteY11" fmla="*/ 538 h 2930"/>
                    <a:gd name="connsiteX12" fmla="*/ 0 w 4964"/>
                    <a:gd name="connsiteY12" fmla="*/ 239 h 2930"/>
                    <a:gd name="connsiteX13" fmla="*/ 0 w 4964"/>
                    <a:gd name="connsiteY13" fmla="*/ 0 h 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4" h="2930">
                      <a:moveTo>
                        <a:pt x="4964" y="2691"/>
                      </a:moveTo>
                      <a:lnTo>
                        <a:pt x="4785" y="2871"/>
                      </a:lnTo>
                      <a:lnTo>
                        <a:pt x="4486" y="2931"/>
                      </a:lnTo>
                      <a:lnTo>
                        <a:pt x="4067" y="2871"/>
                      </a:lnTo>
                      <a:lnTo>
                        <a:pt x="3528" y="2691"/>
                      </a:lnTo>
                      <a:lnTo>
                        <a:pt x="2930" y="2452"/>
                      </a:lnTo>
                      <a:lnTo>
                        <a:pt x="2273" y="2153"/>
                      </a:lnTo>
                      <a:lnTo>
                        <a:pt x="1615" y="1795"/>
                      </a:lnTo>
                      <a:lnTo>
                        <a:pt x="1017" y="1376"/>
                      </a:lnTo>
                      <a:lnTo>
                        <a:pt x="538" y="957"/>
                      </a:lnTo>
                      <a:lnTo>
                        <a:pt x="179" y="598"/>
                      </a:lnTo>
                      <a:lnTo>
                        <a:pt x="179" y="538"/>
                      </a:lnTo>
                      <a:lnTo>
                        <a:pt x="0" y="23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571" name="Vrije vorm: vorm 7570">
                  <a:extLst>
                    <a:ext uri="{FF2B5EF4-FFF2-40B4-BE49-F238E27FC236}">
                      <a16:creationId xmlns:a16="http://schemas.microsoft.com/office/drawing/2014/main" id="{8E406989-488C-424B-BB5C-2B0CE237F8A8}"/>
                    </a:ext>
                  </a:extLst>
                </p:cNvPr>
                <p:cNvSpPr/>
                <p:nvPr/>
              </p:nvSpPr>
              <p:spPr>
                <a:xfrm>
                  <a:off x="5732063" y="5019540"/>
                  <a:ext cx="5502" cy="3349"/>
                </a:xfrm>
                <a:custGeom>
                  <a:avLst/>
                  <a:gdLst>
                    <a:gd name="connsiteX0" fmla="*/ 5503 w 5502"/>
                    <a:gd name="connsiteY0" fmla="*/ 3349 h 3349"/>
                    <a:gd name="connsiteX1" fmla="*/ 5503 w 5502"/>
                    <a:gd name="connsiteY1" fmla="*/ 3349 h 3349"/>
                    <a:gd name="connsiteX2" fmla="*/ 5503 w 5502"/>
                    <a:gd name="connsiteY2" fmla="*/ 3050 h 3349"/>
                    <a:gd name="connsiteX3" fmla="*/ 5323 w 5502"/>
                    <a:gd name="connsiteY3" fmla="*/ 2691 h 3349"/>
                    <a:gd name="connsiteX4" fmla="*/ 4964 w 5502"/>
                    <a:gd name="connsiteY4" fmla="*/ 2273 h 3349"/>
                    <a:gd name="connsiteX5" fmla="*/ 4426 w 5502"/>
                    <a:gd name="connsiteY5" fmla="*/ 1794 h 3349"/>
                    <a:gd name="connsiteX6" fmla="*/ 3768 w 5502"/>
                    <a:gd name="connsiteY6" fmla="*/ 1316 h 3349"/>
                    <a:gd name="connsiteX7" fmla="*/ 3050 w 5502"/>
                    <a:gd name="connsiteY7" fmla="*/ 897 h 3349"/>
                    <a:gd name="connsiteX8" fmla="*/ 2333 w 5502"/>
                    <a:gd name="connsiteY8" fmla="*/ 538 h 3349"/>
                    <a:gd name="connsiteX9" fmla="*/ 1615 w 5502"/>
                    <a:gd name="connsiteY9" fmla="*/ 239 h 3349"/>
                    <a:gd name="connsiteX10" fmla="*/ 1017 w 5502"/>
                    <a:gd name="connsiteY10" fmla="*/ 60 h 3349"/>
                    <a:gd name="connsiteX11" fmla="*/ 538 w 5502"/>
                    <a:gd name="connsiteY11" fmla="*/ 0 h 3349"/>
                    <a:gd name="connsiteX12" fmla="*/ 180 w 5502"/>
                    <a:gd name="connsiteY12" fmla="*/ 60 h 3349"/>
                    <a:gd name="connsiteX13" fmla="*/ 0 w 5502"/>
                    <a:gd name="connsiteY13" fmla="*/ 239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2" h="3349">
                      <a:moveTo>
                        <a:pt x="5503" y="3349"/>
                      </a:moveTo>
                      <a:lnTo>
                        <a:pt x="5503" y="3349"/>
                      </a:lnTo>
                      <a:lnTo>
                        <a:pt x="5503" y="3050"/>
                      </a:lnTo>
                      <a:lnTo>
                        <a:pt x="5323" y="2691"/>
                      </a:lnTo>
                      <a:lnTo>
                        <a:pt x="4964" y="2273"/>
                      </a:lnTo>
                      <a:lnTo>
                        <a:pt x="4426" y="1794"/>
                      </a:lnTo>
                      <a:lnTo>
                        <a:pt x="3768" y="1316"/>
                      </a:lnTo>
                      <a:lnTo>
                        <a:pt x="3050" y="897"/>
                      </a:lnTo>
                      <a:lnTo>
                        <a:pt x="2333" y="538"/>
                      </a:lnTo>
                      <a:lnTo>
                        <a:pt x="1615" y="239"/>
                      </a:lnTo>
                      <a:lnTo>
                        <a:pt x="1017" y="60"/>
                      </a:lnTo>
                      <a:lnTo>
                        <a:pt x="538" y="0"/>
                      </a:lnTo>
                      <a:lnTo>
                        <a:pt x="180" y="60"/>
                      </a:lnTo>
                      <a:lnTo>
                        <a:pt x="0" y="239"/>
                      </a:lnTo>
                    </a:path>
                  </a:pathLst>
                </a:custGeom>
                <a:noFill/>
                <a:ln w="6350" cap="flat">
                  <a:solidFill>
                    <a:schemeClr val="bg1">
                      <a:alpha val="80000"/>
                    </a:schemeClr>
                  </a:solidFill>
                  <a:prstDash val="solid"/>
                  <a:miter/>
                </a:ln>
              </p:spPr>
              <p:txBody>
                <a:bodyPr rtlCol="0" anchor="ctr"/>
                <a:lstStyle/>
                <a:p>
                  <a:endParaRPr lang="en-GB"/>
                </a:p>
              </p:txBody>
            </p:sp>
            <p:sp>
              <p:nvSpPr>
                <p:cNvPr id="7572" name="Vrije vorm: vorm 7571">
                  <a:extLst>
                    <a:ext uri="{FF2B5EF4-FFF2-40B4-BE49-F238E27FC236}">
                      <a16:creationId xmlns:a16="http://schemas.microsoft.com/office/drawing/2014/main" id="{F1FF3874-56E1-43B6-A422-42ED0D8EF288}"/>
                    </a:ext>
                  </a:extLst>
                </p:cNvPr>
                <p:cNvSpPr/>
                <p:nvPr/>
              </p:nvSpPr>
              <p:spPr>
                <a:xfrm>
                  <a:off x="5732003" y="5019779"/>
                  <a:ext cx="5562" cy="3349"/>
                </a:xfrm>
                <a:custGeom>
                  <a:avLst/>
                  <a:gdLst>
                    <a:gd name="connsiteX0" fmla="*/ 5562 w 5562"/>
                    <a:gd name="connsiteY0" fmla="*/ 3110 h 3349"/>
                    <a:gd name="connsiteX1" fmla="*/ 5382 w 5562"/>
                    <a:gd name="connsiteY1" fmla="*/ 3289 h 3349"/>
                    <a:gd name="connsiteX2" fmla="*/ 5024 w 5562"/>
                    <a:gd name="connsiteY2" fmla="*/ 3349 h 3349"/>
                    <a:gd name="connsiteX3" fmla="*/ 4545 w 5562"/>
                    <a:gd name="connsiteY3" fmla="*/ 3289 h 3349"/>
                    <a:gd name="connsiteX4" fmla="*/ 3947 w 5562"/>
                    <a:gd name="connsiteY4" fmla="*/ 3110 h 3349"/>
                    <a:gd name="connsiteX5" fmla="*/ 3229 w 5562"/>
                    <a:gd name="connsiteY5" fmla="*/ 2811 h 3349"/>
                    <a:gd name="connsiteX6" fmla="*/ 2512 w 5562"/>
                    <a:gd name="connsiteY6" fmla="*/ 2452 h 3349"/>
                    <a:gd name="connsiteX7" fmla="*/ 1794 w 5562"/>
                    <a:gd name="connsiteY7" fmla="*/ 2034 h 3349"/>
                    <a:gd name="connsiteX8" fmla="*/ 1136 w 5562"/>
                    <a:gd name="connsiteY8" fmla="*/ 1555 h 3349"/>
                    <a:gd name="connsiteX9" fmla="*/ 598 w 5562"/>
                    <a:gd name="connsiteY9" fmla="*/ 1076 h 3349"/>
                    <a:gd name="connsiteX10" fmla="*/ 239 w 5562"/>
                    <a:gd name="connsiteY10" fmla="*/ 658 h 3349"/>
                    <a:gd name="connsiteX11" fmla="*/ 0 w 5562"/>
                    <a:gd name="connsiteY11" fmla="*/ 299 h 3349"/>
                    <a:gd name="connsiteX12" fmla="*/ 0 w 5562"/>
                    <a:gd name="connsiteY12" fmla="*/ 0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2" h="3349">
                      <a:moveTo>
                        <a:pt x="5562" y="3110"/>
                      </a:moveTo>
                      <a:lnTo>
                        <a:pt x="5382" y="3289"/>
                      </a:lnTo>
                      <a:lnTo>
                        <a:pt x="5024" y="3349"/>
                      </a:lnTo>
                      <a:lnTo>
                        <a:pt x="4545" y="3289"/>
                      </a:lnTo>
                      <a:lnTo>
                        <a:pt x="3947" y="3110"/>
                      </a:lnTo>
                      <a:lnTo>
                        <a:pt x="3229" y="2811"/>
                      </a:lnTo>
                      <a:lnTo>
                        <a:pt x="2512" y="2452"/>
                      </a:lnTo>
                      <a:lnTo>
                        <a:pt x="1794" y="2034"/>
                      </a:lnTo>
                      <a:lnTo>
                        <a:pt x="1136" y="1555"/>
                      </a:lnTo>
                      <a:lnTo>
                        <a:pt x="598" y="1076"/>
                      </a:lnTo>
                      <a:lnTo>
                        <a:pt x="239" y="658"/>
                      </a:lnTo>
                      <a:lnTo>
                        <a:pt x="0" y="29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573" name="Vrije vorm: vorm 7572">
                  <a:extLst>
                    <a:ext uri="{FF2B5EF4-FFF2-40B4-BE49-F238E27FC236}">
                      <a16:creationId xmlns:a16="http://schemas.microsoft.com/office/drawing/2014/main" id="{CD068822-E825-489D-A3E6-8E750BABF48F}"/>
                    </a:ext>
                  </a:extLst>
                </p:cNvPr>
                <p:cNvSpPr/>
                <p:nvPr/>
              </p:nvSpPr>
              <p:spPr>
                <a:xfrm>
                  <a:off x="5813879" y="5033894"/>
                  <a:ext cx="7296" cy="4186"/>
                </a:xfrm>
                <a:custGeom>
                  <a:avLst/>
                  <a:gdLst>
                    <a:gd name="connsiteX0" fmla="*/ 7177 w 7296"/>
                    <a:gd name="connsiteY0" fmla="*/ 4187 h 4186"/>
                    <a:gd name="connsiteX1" fmla="*/ 7236 w 7296"/>
                    <a:gd name="connsiteY1" fmla="*/ 4067 h 4186"/>
                    <a:gd name="connsiteX2" fmla="*/ 7296 w 7296"/>
                    <a:gd name="connsiteY2" fmla="*/ 3888 h 4186"/>
                    <a:gd name="connsiteX3" fmla="*/ 7177 w 7296"/>
                    <a:gd name="connsiteY3" fmla="*/ 3469 h 4186"/>
                    <a:gd name="connsiteX4" fmla="*/ 6818 w 7296"/>
                    <a:gd name="connsiteY4" fmla="*/ 2931 h 4186"/>
                    <a:gd name="connsiteX5" fmla="*/ 6220 w 7296"/>
                    <a:gd name="connsiteY5" fmla="*/ 2333 h 4186"/>
                    <a:gd name="connsiteX6" fmla="*/ 5442 w 7296"/>
                    <a:gd name="connsiteY6" fmla="*/ 1735 h 4186"/>
                    <a:gd name="connsiteX7" fmla="*/ 4545 w 7296"/>
                    <a:gd name="connsiteY7" fmla="*/ 1196 h 4186"/>
                    <a:gd name="connsiteX8" fmla="*/ 3588 w 7296"/>
                    <a:gd name="connsiteY8" fmla="*/ 718 h 4186"/>
                    <a:gd name="connsiteX9" fmla="*/ 2632 w 7296"/>
                    <a:gd name="connsiteY9" fmla="*/ 359 h 4186"/>
                    <a:gd name="connsiteX10" fmla="*/ 1734 w 7296"/>
                    <a:gd name="connsiteY10" fmla="*/ 120 h 4186"/>
                    <a:gd name="connsiteX11" fmla="*/ 957 w 7296"/>
                    <a:gd name="connsiteY11" fmla="*/ 0 h 4186"/>
                    <a:gd name="connsiteX12" fmla="*/ 359 w 7296"/>
                    <a:gd name="connsiteY12" fmla="*/ 60 h 4186"/>
                    <a:gd name="connsiteX13" fmla="*/ 0 w 7296"/>
                    <a:gd name="connsiteY13" fmla="*/ 239 h 4186"/>
                    <a:gd name="connsiteX14" fmla="*/ 0 w 7296"/>
                    <a:gd name="connsiteY14" fmla="*/ 239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96" h="4186">
                      <a:moveTo>
                        <a:pt x="7177" y="4187"/>
                      </a:moveTo>
                      <a:lnTo>
                        <a:pt x="7236" y="4067"/>
                      </a:lnTo>
                      <a:lnTo>
                        <a:pt x="7296" y="3888"/>
                      </a:lnTo>
                      <a:lnTo>
                        <a:pt x="7177" y="3469"/>
                      </a:lnTo>
                      <a:lnTo>
                        <a:pt x="6818" y="2931"/>
                      </a:lnTo>
                      <a:lnTo>
                        <a:pt x="6220" y="2333"/>
                      </a:lnTo>
                      <a:lnTo>
                        <a:pt x="5442" y="1735"/>
                      </a:lnTo>
                      <a:lnTo>
                        <a:pt x="4545" y="1196"/>
                      </a:lnTo>
                      <a:lnTo>
                        <a:pt x="3588" y="718"/>
                      </a:lnTo>
                      <a:lnTo>
                        <a:pt x="2632" y="359"/>
                      </a:lnTo>
                      <a:lnTo>
                        <a:pt x="1734" y="120"/>
                      </a:lnTo>
                      <a:lnTo>
                        <a:pt x="957" y="0"/>
                      </a:lnTo>
                      <a:lnTo>
                        <a:pt x="359" y="60"/>
                      </a:lnTo>
                      <a:lnTo>
                        <a:pt x="0" y="239"/>
                      </a:lnTo>
                      <a:lnTo>
                        <a:pt x="0" y="239"/>
                      </a:lnTo>
                    </a:path>
                  </a:pathLst>
                </a:custGeom>
                <a:noFill/>
                <a:ln w="6350" cap="flat">
                  <a:solidFill>
                    <a:schemeClr val="bg1">
                      <a:alpha val="80000"/>
                    </a:schemeClr>
                  </a:solidFill>
                  <a:prstDash val="solid"/>
                  <a:miter/>
                </a:ln>
              </p:spPr>
              <p:txBody>
                <a:bodyPr rtlCol="0" anchor="ctr"/>
                <a:lstStyle/>
                <a:p>
                  <a:endParaRPr lang="en-GB"/>
                </a:p>
              </p:txBody>
            </p:sp>
            <p:sp>
              <p:nvSpPr>
                <p:cNvPr id="7574" name="Vrije vorm: vorm 7573">
                  <a:extLst>
                    <a:ext uri="{FF2B5EF4-FFF2-40B4-BE49-F238E27FC236}">
                      <a16:creationId xmlns:a16="http://schemas.microsoft.com/office/drawing/2014/main" id="{BDB29C15-AB37-4F74-B89A-2BB10C831055}"/>
                    </a:ext>
                  </a:extLst>
                </p:cNvPr>
                <p:cNvSpPr/>
                <p:nvPr/>
              </p:nvSpPr>
              <p:spPr>
                <a:xfrm>
                  <a:off x="5813999" y="5034133"/>
                  <a:ext cx="7057" cy="4186"/>
                </a:xfrm>
                <a:custGeom>
                  <a:avLst/>
                  <a:gdLst>
                    <a:gd name="connsiteX0" fmla="*/ 7057 w 7057"/>
                    <a:gd name="connsiteY0" fmla="*/ 3947 h 4186"/>
                    <a:gd name="connsiteX1" fmla="*/ 6698 w 7057"/>
                    <a:gd name="connsiteY1" fmla="*/ 4127 h 4186"/>
                    <a:gd name="connsiteX2" fmla="*/ 6100 w 7057"/>
                    <a:gd name="connsiteY2" fmla="*/ 4187 h 4186"/>
                    <a:gd name="connsiteX3" fmla="*/ 5383 w 7057"/>
                    <a:gd name="connsiteY3" fmla="*/ 4067 h 4186"/>
                    <a:gd name="connsiteX4" fmla="*/ 4545 w 7057"/>
                    <a:gd name="connsiteY4" fmla="*/ 3827 h 4186"/>
                    <a:gd name="connsiteX5" fmla="*/ 3589 w 7057"/>
                    <a:gd name="connsiteY5" fmla="*/ 3469 h 4186"/>
                    <a:gd name="connsiteX6" fmla="*/ 2632 w 7057"/>
                    <a:gd name="connsiteY6" fmla="*/ 2990 h 4186"/>
                    <a:gd name="connsiteX7" fmla="*/ 1794 w 7057"/>
                    <a:gd name="connsiteY7" fmla="*/ 2452 h 4186"/>
                    <a:gd name="connsiteX8" fmla="*/ 1076 w 7057"/>
                    <a:gd name="connsiteY8" fmla="*/ 1854 h 4186"/>
                    <a:gd name="connsiteX9" fmla="*/ 479 w 7057"/>
                    <a:gd name="connsiteY9" fmla="*/ 1316 h 4186"/>
                    <a:gd name="connsiteX10" fmla="*/ 120 w 7057"/>
                    <a:gd name="connsiteY10" fmla="*/ 778 h 4186"/>
                    <a:gd name="connsiteX11" fmla="*/ 0 w 7057"/>
                    <a:gd name="connsiteY11" fmla="*/ 359 h 4186"/>
                    <a:gd name="connsiteX12" fmla="*/ 120 w 7057"/>
                    <a:gd name="connsiteY12" fmla="*/ 0 h 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57" h="4186">
                      <a:moveTo>
                        <a:pt x="7057" y="3947"/>
                      </a:moveTo>
                      <a:lnTo>
                        <a:pt x="6698" y="4127"/>
                      </a:lnTo>
                      <a:lnTo>
                        <a:pt x="6100" y="4187"/>
                      </a:lnTo>
                      <a:lnTo>
                        <a:pt x="5383" y="4067"/>
                      </a:lnTo>
                      <a:lnTo>
                        <a:pt x="4545" y="3827"/>
                      </a:lnTo>
                      <a:lnTo>
                        <a:pt x="3589" y="3469"/>
                      </a:lnTo>
                      <a:lnTo>
                        <a:pt x="2632" y="2990"/>
                      </a:lnTo>
                      <a:lnTo>
                        <a:pt x="1794" y="2452"/>
                      </a:lnTo>
                      <a:lnTo>
                        <a:pt x="1076" y="1854"/>
                      </a:lnTo>
                      <a:lnTo>
                        <a:pt x="479" y="1316"/>
                      </a:lnTo>
                      <a:lnTo>
                        <a:pt x="120" y="778"/>
                      </a:lnTo>
                      <a:lnTo>
                        <a:pt x="0" y="359"/>
                      </a:lnTo>
                      <a:lnTo>
                        <a:pt x="120" y="0"/>
                      </a:lnTo>
                    </a:path>
                  </a:pathLst>
                </a:custGeom>
                <a:noFill/>
                <a:ln w="6350" cap="flat">
                  <a:solidFill>
                    <a:schemeClr val="bg1">
                      <a:alpha val="80000"/>
                    </a:schemeClr>
                  </a:solidFill>
                  <a:prstDash val="solid"/>
                  <a:miter/>
                </a:ln>
              </p:spPr>
              <p:txBody>
                <a:bodyPr rtlCol="0" anchor="ctr"/>
                <a:lstStyle/>
                <a:p>
                  <a:endParaRPr lang="en-GB"/>
                </a:p>
              </p:txBody>
            </p:sp>
            <p:sp>
              <p:nvSpPr>
                <p:cNvPr id="7575" name="Vrije vorm: vorm 7574">
                  <a:extLst>
                    <a:ext uri="{FF2B5EF4-FFF2-40B4-BE49-F238E27FC236}">
                      <a16:creationId xmlns:a16="http://schemas.microsoft.com/office/drawing/2014/main" id="{B4931E66-5221-4E9F-A9E5-DAF307E7EEF6}"/>
                    </a:ext>
                  </a:extLst>
                </p:cNvPr>
                <p:cNvSpPr/>
                <p:nvPr/>
              </p:nvSpPr>
              <p:spPr>
                <a:xfrm>
                  <a:off x="5826678" y="5041429"/>
                  <a:ext cx="7236" cy="4246"/>
                </a:xfrm>
                <a:custGeom>
                  <a:avLst/>
                  <a:gdLst>
                    <a:gd name="connsiteX0" fmla="*/ 7057 w 7236"/>
                    <a:gd name="connsiteY0" fmla="*/ 4007 h 4246"/>
                    <a:gd name="connsiteX1" fmla="*/ 6698 w 7236"/>
                    <a:gd name="connsiteY1" fmla="*/ 4187 h 4246"/>
                    <a:gd name="connsiteX2" fmla="*/ 6100 w 7236"/>
                    <a:gd name="connsiteY2" fmla="*/ 4246 h 4246"/>
                    <a:gd name="connsiteX3" fmla="*/ 5323 w 7236"/>
                    <a:gd name="connsiteY3" fmla="*/ 4127 h 4246"/>
                    <a:gd name="connsiteX4" fmla="*/ 4426 w 7236"/>
                    <a:gd name="connsiteY4" fmla="*/ 3888 h 4246"/>
                    <a:gd name="connsiteX5" fmla="*/ 3469 w 7236"/>
                    <a:gd name="connsiteY5" fmla="*/ 3529 h 4246"/>
                    <a:gd name="connsiteX6" fmla="*/ 2572 w 7236"/>
                    <a:gd name="connsiteY6" fmla="*/ 3050 h 4246"/>
                    <a:gd name="connsiteX7" fmla="*/ 1735 w 7236"/>
                    <a:gd name="connsiteY7" fmla="*/ 2512 h 4246"/>
                    <a:gd name="connsiteX8" fmla="*/ 1017 w 7236"/>
                    <a:gd name="connsiteY8" fmla="*/ 1974 h 4246"/>
                    <a:gd name="connsiteX9" fmla="*/ 479 w 7236"/>
                    <a:gd name="connsiteY9" fmla="*/ 1435 h 4246"/>
                    <a:gd name="connsiteX10" fmla="*/ 120 w 7236"/>
                    <a:gd name="connsiteY10" fmla="*/ 957 h 4246"/>
                    <a:gd name="connsiteX11" fmla="*/ 0 w 7236"/>
                    <a:gd name="connsiteY11" fmla="*/ 538 h 4246"/>
                    <a:gd name="connsiteX12" fmla="*/ 60 w 7236"/>
                    <a:gd name="connsiteY12" fmla="*/ 359 h 4246"/>
                    <a:gd name="connsiteX13" fmla="*/ 120 w 7236"/>
                    <a:gd name="connsiteY13" fmla="*/ 239 h 4246"/>
                    <a:gd name="connsiteX14" fmla="*/ 120 w 7236"/>
                    <a:gd name="connsiteY14" fmla="*/ 239 h 4246"/>
                    <a:gd name="connsiteX15" fmla="*/ 479 w 7236"/>
                    <a:gd name="connsiteY15" fmla="*/ 60 h 4246"/>
                    <a:gd name="connsiteX16" fmla="*/ 1076 w 7236"/>
                    <a:gd name="connsiteY16" fmla="*/ 0 h 4246"/>
                    <a:gd name="connsiteX17" fmla="*/ 1854 w 7236"/>
                    <a:gd name="connsiteY17" fmla="*/ 120 h 4246"/>
                    <a:gd name="connsiteX18" fmla="*/ 2751 w 7236"/>
                    <a:gd name="connsiteY18" fmla="*/ 359 h 4246"/>
                    <a:gd name="connsiteX19" fmla="*/ 3708 w 7236"/>
                    <a:gd name="connsiteY19" fmla="*/ 718 h 4246"/>
                    <a:gd name="connsiteX20" fmla="*/ 4665 w 7236"/>
                    <a:gd name="connsiteY20" fmla="*/ 1196 h 4246"/>
                    <a:gd name="connsiteX21" fmla="*/ 5503 w 7236"/>
                    <a:gd name="connsiteY21" fmla="*/ 1735 h 4246"/>
                    <a:gd name="connsiteX22" fmla="*/ 6220 w 7236"/>
                    <a:gd name="connsiteY22" fmla="*/ 2333 h 4246"/>
                    <a:gd name="connsiteX23" fmla="*/ 6758 w 7236"/>
                    <a:gd name="connsiteY23" fmla="*/ 2871 h 4246"/>
                    <a:gd name="connsiteX24" fmla="*/ 7117 w 7236"/>
                    <a:gd name="connsiteY24" fmla="*/ 3349 h 4246"/>
                    <a:gd name="connsiteX25" fmla="*/ 7237 w 7236"/>
                    <a:gd name="connsiteY25" fmla="*/ 3768 h 4246"/>
                    <a:gd name="connsiteX26" fmla="*/ 7177 w 7236"/>
                    <a:gd name="connsiteY26" fmla="*/ 3947 h 4246"/>
                    <a:gd name="connsiteX27" fmla="*/ 7057 w 7236"/>
                    <a:gd name="connsiteY27" fmla="*/ 4007 h 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36" h="4246">
                      <a:moveTo>
                        <a:pt x="7057" y="4007"/>
                      </a:moveTo>
                      <a:lnTo>
                        <a:pt x="6698" y="4187"/>
                      </a:lnTo>
                      <a:lnTo>
                        <a:pt x="6100" y="4246"/>
                      </a:lnTo>
                      <a:lnTo>
                        <a:pt x="5323" y="4127"/>
                      </a:lnTo>
                      <a:lnTo>
                        <a:pt x="4426" y="3888"/>
                      </a:lnTo>
                      <a:lnTo>
                        <a:pt x="3469" y="3529"/>
                      </a:lnTo>
                      <a:lnTo>
                        <a:pt x="2572" y="3050"/>
                      </a:lnTo>
                      <a:lnTo>
                        <a:pt x="1735" y="2512"/>
                      </a:lnTo>
                      <a:lnTo>
                        <a:pt x="1017" y="1974"/>
                      </a:lnTo>
                      <a:lnTo>
                        <a:pt x="479" y="1435"/>
                      </a:lnTo>
                      <a:lnTo>
                        <a:pt x="120" y="957"/>
                      </a:lnTo>
                      <a:lnTo>
                        <a:pt x="0" y="538"/>
                      </a:lnTo>
                      <a:lnTo>
                        <a:pt x="60" y="359"/>
                      </a:lnTo>
                      <a:lnTo>
                        <a:pt x="120" y="239"/>
                      </a:lnTo>
                      <a:lnTo>
                        <a:pt x="120" y="239"/>
                      </a:lnTo>
                      <a:lnTo>
                        <a:pt x="479" y="60"/>
                      </a:lnTo>
                      <a:lnTo>
                        <a:pt x="1076" y="0"/>
                      </a:lnTo>
                      <a:lnTo>
                        <a:pt x="1854" y="120"/>
                      </a:lnTo>
                      <a:lnTo>
                        <a:pt x="2751" y="359"/>
                      </a:lnTo>
                      <a:lnTo>
                        <a:pt x="3708" y="718"/>
                      </a:lnTo>
                      <a:lnTo>
                        <a:pt x="4665" y="1196"/>
                      </a:lnTo>
                      <a:lnTo>
                        <a:pt x="5503" y="1735"/>
                      </a:lnTo>
                      <a:lnTo>
                        <a:pt x="6220" y="2333"/>
                      </a:lnTo>
                      <a:lnTo>
                        <a:pt x="6758" y="2871"/>
                      </a:lnTo>
                      <a:lnTo>
                        <a:pt x="7117" y="3349"/>
                      </a:lnTo>
                      <a:lnTo>
                        <a:pt x="7237" y="3768"/>
                      </a:lnTo>
                      <a:lnTo>
                        <a:pt x="7177" y="3947"/>
                      </a:lnTo>
                      <a:lnTo>
                        <a:pt x="7057" y="4007"/>
                      </a:lnTo>
                    </a:path>
                  </a:pathLst>
                </a:custGeom>
                <a:noFill/>
                <a:ln w="6350" cap="flat">
                  <a:solidFill>
                    <a:schemeClr val="bg1">
                      <a:alpha val="80000"/>
                    </a:schemeClr>
                  </a:solidFill>
                  <a:prstDash val="solid"/>
                  <a:miter/>
                </a:ln>
              </p:spPr>
              <p:txBody>
                <a:bodyPr rtlCol="0" anchor="ctr"/>
                <a:lstStyle/>
                <a:p>
                  <a:endParaRPr lang="en-GB"/>
                </a:p>
              </p:txBody>
            </p:sp>
            <p:sp>
              <p:nvSpPr>
                <p:cNvPr id="7576" name="Vrije vorm: vorm 7575">
                  <a:extLst>
                    <a:ext uri="{FF2B5EF4-FFF2-40B4-BE49-F238E27FC236}">
                      <a16:creationId xmlns:a16="http://schemas.microsoft.com/office/drawing/2014/main" id="{4182B7A4-FE89-4AB5-AE2C-5C4C5B31B222}"/>
                    </a:ext>
                  </a:extLst>
                </p:cNvPr>
                <p:cNvSpPr/>
                <p:nvPr/>
              </p:nvSpPr>
              <p:spPr>
                <a:xfrm>
                  <a:off x="5730568" y="5063259"/>
                  <a:ext cx="8433" cy="2451"/>
                </a:xfrm>
                <a:custGeom>
                  <a:avLst/>
                  <a:gdLst>
                    <a:gd name="connsiteX0" fmla="*/ 0 w 8433"/>
                    <a:gd name="connsiteY0" fmla="*/ 0 h 2451"/>
                    <a:gd name="connsiteX1" fmla="*/ 2691 w 8433"/>
                    <a:gd name="connsiteY1" fmla="*/ 778 h 2451"/>
                    <a:gd name="connsiteX2" fmla="*/ 5383 w 8433"/>
                    <a:gd name="connsiteY2" fmla="*/ 1555 h 2451"/>
                    <a:gd name="connsiteX3" fmla="*/ 8074 w 8433"/>
                    <a:gd name="connsiteY3" fmla="*/ 2333 h 2451"/>
                    <a:gd name="connsiteX4" fmla="*/ 8433 w 8433"/>
                    <a:gd name="connsiteY4" fmla="*/ 2452 h 2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3" h="2451">
                      <a:moveTo>
                        <a:pt x="0" y="0"/>
                      </a:moveTo>
                      <a:lnTo>
                        <a:pt x="2691" y="778"/>
                      </a:lnTo>
                      <a:lnTo>
                        <a:pt x="5383" y="1555"/>
                      </a:lnTo>
                      <a:lnTo>
                        <a:pt x="8074" y="2333"/>
                      </a:lnTo>
                      <a:lnTo>
                        <a:pt x="8433" y="2452"/>
                      </a:lnTo>
                    </a:path>
                  </a:pathLst>
                </a:custGeom>
                <a:noFill/>
                <a:ln w="6350" cap="flat">
                  <a:solidFill>
                    <a:schemeClr val="bg1">
                      <a:alpha val="80000"/>
                    </a:schemeClr>
                  </a:solidFill>
                  <a:prstDash val="solid"/>
                  <a:miter/>
                </a:ln>
              </p:spPr>
              <p:txBody>
                <a:bodyPr rtlCol="0" anchor="ctr"/>
                <a:lstStyle/>
                <a:p>
                  <a:endParaRPr lang="en-GB"/>
                </a:p>
              </p:txBody>
            </p:sp>
            <p:sp>
              <p:nvSpPr>
                <p:cNvPr id="7577" name="Vrije vorm: vorm 7576">
                  <a:extLst>
                    <a:ext uri="{FF2B5EF4-FFF2-40B4-BE49-F238E27FC236}">
                      <a16:creationId xmlns:a16="http://schemas.microsoft.com/office/drawing/2014/main" id="{854CEE6D-90A7-45C1-8145-7158D5BB1323}"/>
                    </a:ext>
                  </a:extLst>
                </p:cNvPr>
                <p:cNvSpPr/>
                <p:nvPr/>
              </p:nvSpPr>
              <p:spPr>
                <a:xfrm>
                  <a:off x="5745759" y="5065233"/>
                  <a:ext cx="97007" cy="42164"/>
                </a:xfrm>
                <a:custGeom>
                  <a:avLst/>
                  <a:gdLst>
                    <a:gd name="connsiteX0" fmla="*/ 0 w 97007"/>
                    <a:gd name="connsiteY0" fmla="*/ 2691 h 42164"/>
                    <a:gd name="connsiteX1" fmla="*/ 2512 w 97007"/>
                    <a:gd name="connsiteY1" fmla="*/ 777 h 42164"/>
                    <a:gd name="connsiteX2" fmla="*/ 3170 w 97007"/>
                    <a:gd name="connsiteY2" fmla="*/ 299 h 42164"/>
                    <a:gd name="connsiteX3" fmla="*/ 6041 w 97007"/>
                    <a:gd name="connsiteY3" fmla="*/ 179 h 42164"/>
                    <a:gd name="connsiteX4" fmla="*/ 8911 w 97007"/>
                    <a:gd name="connsiteY4" fmla="*/ 60 h 42164"/>
                    <a:gd name="connsiteX5" fmla="*/ 10048 w 97007"/>
                    <a:gd name="connsiteY5" fmla="*/ 0 h 42164"/>
                    <a:gd name="connsiteX6" fmla="*/ 12799 w 97007"/>
                    <a:gd name="connsiteY6" fmla="*/ 538 h 42164"/>
                    <a:gd name="connsiteX7" fmla="*/ 15550 w 97007"/>
                    <a:gd name="connsiteY7" fmla="*/ 1076 h 42164"/>
                    <a:gd name="connsiteX8" fmla="*/ 18301 w 97007"/>
                    <a:gd name="connsiteY8" fmla="*/ 1615 h 42164"/>
                    <a:gd name="connsiteX9" fmla="*/ 20394 w 97007"/>
                    <a:gd name="connsiteY9" fmla="*/ 2033 h 42164"/>
                    <a:gd name="connsiteX10" fmla="*/ 23026 w 97007"/>
                    <a:gd name="connsiteY10" fmla="*/ 2871 h 42164"/>
                    <a:gd name="connsiteX11" fmla="*/ 25657 w 97007"/>
                    <a:gd name="connsiteY11" fmla="*/ 3708 h 42164"/>
                    <a:gd name="connsiteX12" fmla="*/ 28289 w 97007"/>
                    <a:gd name="connsiteY12" fmla="*/ 4545 h 42164"/>
                    <a:gd name="connsiteX13" fmla="*/ 30920 w 97007"/>
                    <a:gd name="connsiteY13" fmla="*/ 5382 h 42164"/>
                    <a:gd name="connsiteX14" fmla="*/ 33552 w 97007"/>
                    <a:gd name="connsiteY14" fmla="*/ 6220 h 42164"/>
                    <a:gd name="connsiteX15" fmla="*/ 36123 w 97007"/>
                    <a:gd name="connsiteY15" fmla="*/ 7296 h 42164"/>
                    <a:gd name="connsiteX16" fmla="*/ 38695 w 97007"/>
                    <a:gd name="connsiteY16" fmla="*/ 8373 h 42164"/>
                    <a:gd name="connsiteX17" fmla="*/ 41267 w 97007"/>
                    <a:gd name="connsiteY17" fmla="*/ 9449 h 42164"/>
                    <a:gd name="connsiteX18" fmla="*/ 43839 w 97007"/>
                    <a:gd name="connsiteY18" fmla="*/ 10526 h 42164"/>
                    <a:gd name="connsiteX19" fmla="*/ 46410 w 97007"/>
                    <a:gd name="connsiteY19" fmla="*/ 11602 h 42164"/>
                    <a:gd name="connsiteX20" fmla="*/ 48563 w 97007"/>
                    <a:gd name="connsiteY20" fmla="*/ 12500 h 42164"/>
                    <a:gd name="connsiteX21" fmla="*/ 51075 w 97007"/>
                    <a:gd name="connsiteY21" fmla="*/ 13756 h 42164"/>
                    <a:gd name="connsiteX22" fmla="*/ 53587 w 97007"/>
                    <a:gd name="connsiteY22" fmla="*/ 15011 h 42164"/>
                    <a:gd name="connsiteX23" fmla="*/ 55441 w 97007"/>
                    <a:gd name="connsiteY23" fmla="*/ 15968 h 42164"/>
                    <a:gd name="connsiteX24" fmla="*/ 57953 w 97007"/>
                    <a:gd name="connsiteY24" fmla="*/ 17224 h 42164"/>
                    <a:gd name="connsiteX25" fmla="*/ 60465 w 97007"/>
                    <a:gd name="connsiteY25" fmla="*/ 18480 h 42164"/>
                    <a:gd name="connsiteX26" fmla="*/ 62977 w 97007"/>
                    <a:gd name="connsiteY26" fmla="*/ 19736 h 42164"/>
                    <a:gd name="connsiteX27" fmla="*/ 64173 w 97007"/>
                    <a:gd name="connsiteY27" fmla="*/ 20334 h 42164"/>
                    <a:gd name="connsiteX28" fmla="*/ 66565 w 97007"/>
                    <a:gd name="connsiteY28" fmla="*/ 21710 h 42164"/>
                    <a:gd name="connsiteX29" fmla="*/ 68958 w 97007"/>
                    <a:gd name="connsiteY29" fmla="*/ 23085 h 42164"/>
                    <a:gd name="connsiteX30" fmla="*/ 70692 w 97007"/>
                    <a:gd name="connsiteY30" fmla="*/ 24102 h 42164"/>
                    <a:gd name="connsiteX31" fmla="*/ 73084 w 97007"/>
                    <a:gd name="connsiteY31" fmla="*/ 25478 h 42164"/>
                    <a:gd name="connsiteX32" fmla="*/ 75477 w 97007"/>
                    <a:gd name="connsiteY32" fmla="*/ 26853 h 42164"/>
                    <a:gd name="connsiteX33" fmla="*/ 77869 w 97007"/>
                    <a:gd name="connsiteY33" fmla="*/ 28229 h 42164"/>
                    <a:gd name="connsiteX34" fmla="*/ 78646 w 97007"/>
                    <a:gd name="connsiteY34" fmla="*/ 28707 h 42164"/>
                    <a:gd name="connsiteX35" fmla="*/ 80919 w 97007"/>
                    <a:gd name="connsiteY35" fmla="*/ 30262 h 42164"/>
                    <a:gd name="connsiteX36" fmla="*/ 83192 w 97007"/>
                    <a:gd name="connsiteY36" fmla="*/ 31817 h 42164"/>
                    <a:gd name="connsiteX37" fmla="*/ 85464 w 97007"/>
                    <a:gd name="connsiteY37" fmla="*/ 33372 h 42164"/>
                    <a:gd name="connsiteX38" fmla="*/ 87737 w 97007"/>
                    <a:gd name="connsiteY38" fmla="*/ 34927 h 42164"/>
                    <a:gd name="connsiteX39" fmla="*/ 90010 w 97007"/>
                    <a:gd name="connsiteY39" fmla="*/ 36482 h 42164"/>
                    <a:gd name="connsiteX40" fmla="*/ 90847 w 97007"/>
                    <a:gd name="connsiteY40" fmla="*/ 37020 h 42164"/>
                    <a:gd name="connsiteX41" fmla="*/ 93000 w 97007"/>
                    <a:gd name="connsiteY41" fmla="*/ 38815 h 42164"/>
                    <a:gd name="connsiteX42" fmla="*/ 95153 w 97007"/>
                    <a:gd name="connsiteY42" fmla="*/ 40609 h 42164"/>
                    <a:gd name="connsiteX43" fmla="*/ 97007 w 97007"/>
                    <a:gd name="connsiteY43" fmla="*/ 42164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7007" h="42164">
                      <a:moveTo>
                        <a:pt x="0" y="2691"/>
                      </a:moveTo>
                      <a:lnTo>
                        <a:pt x="2512" y="777"/>
                      </a:lnTo>
                      <a:lnTo>
                        <a:pt x="3170" y="299"/>
                      </a:lnTo>
                      <a:lnTo>
                        <a:pt x="6041" y="179"/>
                      </a:lnTo>
                      <a:lnTo>
                        <a:pt x="8911" y="60"/>
                      </a:lnTo>
                      <a:lnTo>
                        <a:pt x="10048" y="0"/>
                      </a:lnTo>
                      <a:lnTo>
                        <a:pt x="12799" y="538"/>
                      </a:lnTo>
                      <a:lnTo>
                        <a:pt x="15550" y="1076"/>
                      </a:lnTo>
                      <a:lnTo>
                        <a:pt x="18301" y="1615"/>
                      </a:lnTo>
                      <a:lnTo>
                        <a:pt x="20394" y="2033"/>
                      </a:lnTo>
                      <a:lnTo>
                        <a:pt x="23026" y="2871"/>
                      </a:lnTo>
                      <a:lnTo>
                        <a:pt x="25657" y="3708"/>
                      </a:lnTo>
                      <a:lnTo>
                        <a:pt x="28289" y="4545"/>
                      </a:lnTo>
                      <a:lnTo>
                        <a:pt x="30920" y="5382"/>
                      </a:lnTo>
                      <a:lnTo>
                        <a:pt x="33552" y="6220"/>
                      </a:lnTo>
                      <a:lnTo>
                        <a:pt x="36123" y="7296"/>
                      </a:lnTo>
                      <a:lnTo>
                        <a:pt x="38695" y="8373"/>
                      </a:lnTo>
                      <a:lnTo>
                        <a:pt x="41267" y="9449"/>
                      </a:lnTo>
                      <a:lnTo>
                        <a:pt x="43839" y="10526"/>
                      </a:lnTo>
                      <a:lnTo>
                        <a:pt x="46410" y="11602"/>
                      </a:lnTo>
                      <a:lnTo>
                        <a:pt x="48563" y="12500"/>
                      </a:lnTo>
                      <a:lnTo>
                        <a:pt x="51075" y="13756"/>
                      </a:lnTo>
                      <a:lnTo>
                        <a:pt x="53587" y="15011"/>
                      </a:lnTo>
                      <a:lnTo>
                        <a:pt x="55441" y="15968"/>
                      </a:lnTo>
                      <a:lnTo>
                        <a:pt x="57953" y="17224"/>
                      </a:lnTo>
                      <a:lnTo>
                        <a:pt x="60465" y="18480"/>
                      </a:lnTo>
                      <a:lnTo>
                        <a:pt x="62977" y="19736"/>
                      </a:lnTo>
                      <a:lnTo>
                        <a:pt x="64173" y="20334"/>
                      </a:lnTo>
                      <a:lnTo>
                        <a:pt x="66565" y="21710"/>
                      </a:lnTo>
                      <a:lnTo>
                        <a:pt x="68958" y="23085"/>
                      </a:lnTo>
                      <a:lnTo>
                        <a:pt x="70692" y="24102"/>
                      </a:lnTo>
                      <a:lnTo>
                        <a:pt x="73084" y="25478"/>
                      </a:lnTo>
                      <a:lnTo>
                        <a:pt x="75477" y="26853"/>
                      </a:lnTo>
                      <a:lnTo>
                        <a:pt x="77869" y="28229"/>
                      </a:lnTo>
                      <a:lnTo>
                        <a:pt x="78646" y="28707"/>
                      </a:lnTo>
                      <a:lnTo>
                        <a:pt x="80919" y="30262"/>
                      </a:lnTo>
                      <a:lnTo>
                        <a:pt x="83192" y="31817"/>
                      </a:lnTo>
                      <a:lnTo>
                        <a:pt x="85464" y="33372"/>
                      </a:lnTo>
                      <a:lnTo>
                        <a:pt x="87737" y="34927"/>
                      </a:lnTo>
                      <a:lnTo>
                        <a:pt x="90010" y="36482"/>
                      </a:lnTo>
                      <a:lnTo>
                        <a:pt x="90847" y="37020"/>
                      </a:lnTo>
                      <a:lnTo>
                        <a:pt x="93000" y="38815"/>
                      </a:lnTo>
                      <a:lnTo>
                        <a:pt x="95153" y="40609"/>
                      </a:lnTo>
                      <a:lnTo>
                        <a:pt x="97007" y="42164"/>
                      </a:lnTo>
                    </a:path>
                  </a:pathLst>
                </a:custGeom>
                <a:noFill/>
                <a:ln w="6350" cap="flat">
                  <a:solidFill>
                    <a:schemeClr val="bg1">
                      <a:alpha val="80000"/>
                    </a:schemeClr>
                  </a:solidFill>
                  <a:prstDash val="solid"/>
                  <a:miter/>
                </a:ln>
              </p:spPr>
              <p:txBody>
                <a:bodyPr rtlCol="0" anchor="ctr"/>
                <a:lstStyle/>
                <a:p>
                  <a:endParaRPr lang="en-GB"/>
                </a:p>
              </p:txBody>
            </p:sp>
            <p:sp>
              <p:nvSpPr>
                <p:cNvPr id="7578" name="Vrije vorm: vorm 7577">
                  <a:extLst>
                    <a:ext uri="{FF2B5EF4-FFF2-40B4-BE49-F238E27FC236}">
                      <a16:creationId xmlns:a16="http://schemas.microsoft.com/office/drawing/2014/main" id="{3FCD663B-8E3C-494F-AB5C-C952A8C4B211}"/>
                    </a:ext>
                  </a:extLst>
                </p:cNvPr>
                <p:cNvSpPr/>
                <p:nvPr/>
              </p:nvSpPr>
              <p:spPr>
                <a:xfrm>
                  <a:off x="5846833" y="5111524"/>
                  <a:ext cx="6339" cy="12140"/>
                </a:xfrm>
                <a:custGeom>
                  <a:avLst/>
                  <a:gdLst>
                    <a:gd name="connsiteX0" fmla="*/ 0 w 6339"/>
                    <a:gd name="connsiteY0" fmla="*/ 0 h 12140"/>
                    <a:gd name="connsiteX1" fmla="*/ 299 w 6339"/>
                    <a:gd name="connsiteY1" fmla="*/ 359 h 12140"/>
                    <a:gd name="connsiteX2" fmla="*/ 2153 w 6339"/>
                    <a:gd name="connsiteY2" fmla="*/ 2572 h 12140"/>
                    <a:gd name="connsiteX3" fmla="*/ 4007 w 6339"/>
                    <a:gd name="connsiteY3" fmla="*/ 4785 h 12140"/>
                    <a:gd name="connsiteX4" fmla="*/ 5861 w 6339"/>
                    <a:gd name="connsiteY4" fmla="*/ 6997 h 12140"/>
                    <a:gd name="connsiteX5" fmla="*/ 6340 w 6339"/>
                    <a:gd name="connsiteY5" fmla="*/ 7536 h 12140"/>
                    <a:gd name="connsiteX6" fmla="*/ 6340 w 6339"/>
                    <a:gd name="connsiteY6" fmla="*/ 7536 h 12140"/>
                    <a:gd name="connsiteX7" fmla="*/ 5861 w 6339"/>
                    <a:gd name="connsiteY7" fmla="*/ 10825 h 12140"/>
                    <a:gd name="connsiteX8" fmla="*/ 5682 w 6339"/>
                    <a:gd name="connsiteY8" fmla="*/ 12141 h 12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9" h="12140">
                      <a:moveTo>
                        <a:pt x="0" y="0"/>
                      </a:moveTo>
                      <a:lnTo>
                        <a:pt x="299" y="359"/>
                      </a:lnTo>
                      <a:lnTo>
                        <a:pt x="2153" y="2572"/>
                      </a:lnTo>
                      <a:lnTo>
                        <a:pt x="4007" y="4785"/>
                      </a:lnTo>
                      <a:lnTo>
                        <a:pt x="5861" y="6997"/>
                      </a:lnTo>
                      <a:lnTo>
                        <a:pt x="6340" y="7536"/>
                      </a:lnTo>
                      <a:lnTo>
                        <a:pt x="6340" y="7536"/>
                      </a:lnTo>
                      <a:lnTo>
                        <a:pt x="5861" y="10825"/>
                      </a:lnTo>
                      <a:lnTo>
                        <a:pt x="5682" y="12141"/>
                      </a:lnTo>
                    </a:path>
                  </a:pathLst>
                </a:custGeom>
                <a:noFill/>
                <a:ln w="6350" cap="flat">
                  <a:solidFill>
                    <a:schemeClr val="bg1">
                      <a:alpha val="80000"/>
                    </a:schemeClr>
                  </a:solidFill>
                  <a:prstDash val="solid"/>
                  <a:miter/>
                </a:ln>
              </p:spPr>
              <p:txBody>
                <a:bodyPr rtlCol="0" anchor="ctr"/>
                <a:lstStyle/>
                <a:p>
                  <a:endParaRPr lang="en-GB"/>
                </a:p>
              </p:txBody>
            </p:sp>
            <p:sp>
              <p:nvSpPr>
                <p:cNvPr id="7579" name="Vrije vorm: vorm 7578">
                  <a:extLst>
                    <a:ext uri="{FF2B5EF4-FFF2-40B4-BE49-F238E27FC236}">
                      <a16:creationId xmlns:a16="http://schemas.microsoft.com/office/drawing/2014/main" id="{4C12959F-D5E4-480C-A233-DA467BF87401}"/>
                    </a:ext>
                  </a:extLst>
                </p:cNvPr>
                <p:cNvSpPr/>
                <p:nvPr/>
              </p:nvSpPr>
              <p:spPr>
                <a:xfrm>
                  <a:off x="5817408" y="5131080"/>
                  <a:ext cx="60225" cy="23683"/>
                </a:xfrm>
                <a:custGeom>
                  <a:avLst/>
                  <a:gdLst>
                    <a:gd name="connsiteX0" fmla="*/ 0 w 60225"/>
                    <a:gd name="connsiteY0" fmla="*/ 0 h 23683"/>
                    <a:gd name="connsiteX1" fmla="*/ 2572 w 60225"/>
                    <a:gd name="connsiteY1" fmla="*/ 957 h 23683"/>
                    <a:gd name="connsiteX2" fmla="*/ 5143 w 60225"/>
                    <a:gd name="connsiteY2" fmla="*/ 1914 h 23683"/>
                    <a:gd name="connsiteX3" fmla="*/ 7715 w 60225"/>
                    <a:gd name="connsiteY3" fmla="*/ 2871 h 23683"/>
                    <a:gd name="connsiteX4" fmla="*/ 10287 w 60225"/>
                    <a:gd name="connsiteY4" fmla="*/ 3828 h 23683"/>
                    <a:gd name="connsiteX5" fmla="*/ 12260 w 60225"/>
                    <a:gd name="connsiteY5" fmla="*/ 4605 h 23683"/>
                    <a:gd name="connsiteX6" fmla="*/ 14952 w 60225"/>
                    <a:gd name="connsiteY6" fmla="*/ 5443 h 23683"/>
                    <a:gd name="connsiteX7" fmla="*/ 17643 w 60225"/>
                    <a:gd name="connsiteY7" fmla="*/ 6280 h 23683"/>
                    <a:gd name="connsiteX8" fmla="*/ 20335 w 60225"/>
                    <a:gd name="connsiteY8" fmla="*/ 7117 h 23683"/>
                    <a:gd name="connsiteX9" fmla="*/ 23026 w 60225"/>
                    <a:gd name="connsiteY9" fmla="*/ 7954 h 23683"/>
                    <a:gd name="connsiteX10" fmla="*/ 23983 w 60225"/>
                    <a:gd name="connsiteY10" fmla="*/ 8253 h 23683"/>
                    <a:gd name="connsiteX11" fmla="*/ 26734 w 60225"/>
                    <a:gd name="connsiteY11" fmla="*/ 8852 h 23683"/>
                    <a:gd name="connsiteX12" fmla="*/ 29485 w 60225"/>
                    <a:gd name="connsiteY12" fmla="*/ 9450 h 23683"/>
                    <a:gd name="connsiteX13" fmla="*/ 32236 w 60225"/>
                    <a:gd name="connsiteY13" fmla="*/ 10048 h 23683"/>
                    <a:gd name="connsiteX14" fmla="*/ 32894 w 60225"/>
                    <a:gd name="connsiteY14" fmla="*/ 10167 h 23683"/>
                    <a:gd name="connsiteX15" fmla="*/ 35466 w 60225"/>
                    <a:gd name="connsiteY15" fmla="*/ 11184 h 23683"/>
                    <a:gd name="connsiteX16" fmla="*/ 38037 w 60225"/>
                    <a:gd name="connsiteY16" fmla="*/ 12201 h 23683"/>
                    <a:gd name="connsiteX17" fmla="*/ 40609 w 60225"/>
                    <a:gd name="connsiteY17" fmla="*/ 13218 h 23683"/>
                    <a:gd name="connsiteX18" fmla="*/ 43181 w 60225"/>
                    <a:gd name="connsiteY18" fmla="*/ 14234 h 23683"/>
                    <a:gd name="connsiteX19" fmla="*/ 45753 w 60225"/>
                    <a:gd name="connsiteY19" fmla="*/ 15251 h 23683"/>
                    <a:gd name="connsiteX20" fmla="*/ 48324 w 60225"/>
                    <a:gd name="connsiteY20" fmla="*/ 16268 h 23683"/>
                    <a:gd name="connsiteX21" fmla="*/ 50896 w 60225"/>
                    <a:gd name="connsiteY21" fmla="*/ 17284 h 23683"/>
                    <a:gd name="connsiteX22" fmla="*/ 53468 w 60225"/>
                    <a:gd name="connsiteY22" fmla="*/ 18301 h 23683"/>
                    <a:gd name="connsiteX23" fmla="*/ 55441 w 60225"/>
                    <a:gd name="connsiteY23" fmla="*/ 19079 h 23683"/>
                    <a:gd name="connsiteX24" fmla="*/ 57475 w 60225"/>
                    <a:gd name="connsiteY24" fmla="*/ 21052 h 23683"/>
                    <a:gd name="connsiteX25" fmla="*/ 59508 w 60225"/>
                    <a:gd name="connsiteY25" fmla="*/ 23026 h 23683"/>
                    <a:gd name="connsiteX26" fmla="*/ 60226 w 60225"/>
                    <a:gd name="connsiteY26" fmla="*/ 23684 h 23683"/>
                    <a:gd name="connsiteX27" fmla="*/ 57594 w 60225"/>
                    <a:gd name="connsiteY27" fmla="*/ 22787 h 23683"/>
                    <a:gd name="connsiteX28" fmla="*/ 54963 w 60225"/>
                    <a:gd name="connsiteY28" fmla="*/ 21890 h 23683"/>
                    <a:gd name="connsiteX29" fmla="*/ 52331 w 60225"/>
                    <a:gd name="connsiteY29" fmla="*/ 20992 h 23683"/>
                    <a:gd name="connsiteX30" fmla="*/ 49700 w 60225"/>
                    <a:gd name="connsiteY30" fmla="*/ 20096 h 23683"/>
                    <a:gd name="connsiteX31" fmla="*/ 47068 w 60225"/>
                    <a:gd name="connsiteY31" fmla="*/ 19198 h 23683"/>
                    <a:gd name="connsiteX32" fmla="*/ 44437 w 60225"/>
                    <a:gd name="connsiteY32" fmla="*/ 18301 h 23683"/>
                    <a:gd name="connsiteX33" fmla="*/ 41805 w 60225"/>
                    <a:gd name="connsiteY33" fmla="*/ 17404 h 23683"/>
                    <a:gd name="connsiteX34" fmla="*/ 39174 w 60225"/>
                    <a:gd name="connsiteY34" fmla="*/ 16507 h 23683"/>
                    <a:gd name="connsiteX35" fmla="*/ 36542 w 60225"/>
                    <a:gd name="connsiteY35" fmla="*/ 15610 h 23683"/>
                    <a:gd name="connsiteX36" fmla="*/ 33911 w 60225"/>
                    <a:gd name="connsiteY36" fmla="*/ 14713 h 23683"/>
                    <a:gd name="connsiteX37" fmla="*/ 31279 w 60225"/>
                    <a:gd name="connsiteY37" fmla="*/ 13815 h 23683"/>
                    <a:gd name="connsiteX38" fmla="*/ 28648 w 60225"/>
                    <a:gd name="connsiteY38" fmla="*/ 12919 h 23683"/>
                    <a:gd name="connsiteX39" fmla="*/ 26016 w 60225"/>
                    <a:gd name="connsiteY39" fmla="*/ 12021 h 23683"/>
                    <a:gd name="connsiteX40" fmla="*/ 23385 w 60225"/>
                    <a:gd name="connsiteY40" fmla="*/ 11124 h 23683"/>
                    <a:gd name="connsiteX41" fmla="*/ 20753 w 60225"/>
                    <a:gd name="connsiteY41" fmla="*/ 10227 h 23683"/>
                    <a:gd name="connsiteX42" fmla="*/ 18122 w 60225"/>
                    <a:gd name="connsiteY42" fmla="*/ 9330 h 23683"/>
                    <a:gd name="connsiteX43" fmla="*/ 15490 w 60225"/>
                    <a:gd name="connsiteY43" fmla="*/ 8433 h 23683"/>
                    <a:gd name="connsiteX44" fmla="*/ 12859 w 60225"/>
                    <a:gd name="connsiteY44" fmla="*/ 7536 h 23683"/>
                    <a:gd name="connsiteX45" fmla="*/ 10227 w 60225"/>
                    <a:gd name="connsiteY45" fmla="*/ 6639 h 23683"/>
                    <a:gd name="connsiteX46" fmla="*/ 7596 w 60225"/>
                    <a:gd name="connsiteY46" fmla="*/ 5742 h 23683"/>
                    <a:gd name="connsiteX47" fmla="*/ 4964 w 60225"/>
                    <a:gd name="connsiteY47" fmla="*/ 4844 h 23683"/>
                    <a:gd name="connsiteX48" fmla="*/ 2333 w 60225"/>
                    <a:gd name="connsiteY48" fmla="*/ 3947 h 23683"/>
                    <a:gd name="connsiteX49" fmla="*/ 1136 w 60225"/>
                    <a:gd name="connsiteY49" fmla="*/ 3529 h 2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225" h="23683">
                      <a:moveTo>
                        <a:pt x="0" y="0"/>
                      </a:moveTo>
                      <a:lnTo>
                        <a:pt x="2572" y="957"/>
                      </a:lnTo>
                      <a:lnTo>
                        <a:pt x="5143" y="1914"/>
                      </a:lnTo>
                      <a:lnTo>
                        <a:pt x="7715" y="2871"/>
                      </a:lnTo>
                      <a:lnTo>
                        <a:pt x="10287" y="3828"/>
                      </a:lnTo>
                      <a:lnTo>
                        <a:pt x="12260" y="4605"/>
                      </a:lnTo>
                      <a:lnTo>
                        <a:pt x="14952" y="5443"/>
                      </a:lnTo>
                      <a:lnTo>
                        <a:pt x="17643" y="6280"/>
                      </a:lnTo>
                      <a:lnTo>
                        <a:pt x="20335" y="7117"/>
                      </a:lnTo>
                      <a:lnTo>
                        <a:pt x="23026" y="7954"/>
                      </a:lnTo>
                      <a:lnTo>
                        <a:pt x="23983" y="8253"/>
                      </a:lnTo>
                      <a:lnTo>
                        <a:pt x="26734" y="8852"/>
                      </a:lnTo>
                      <a:lnTo>
                        <a:pt x="29485" y="9450"/>
                      </a:lnTo>
                      <a:lnTo>
                        <a:pt x="32236" y="10048"/>
                      </a:lnTo>
                      <a:lnTo>
                        <a:pt x="32894" y="10167"/>
                      </a:lnTo>
                      <a:lnTo>
                        <a:pt x="35466" y="11184"/>
                      </a:lnTo>
                      <a:lnTo>
                        <a:pt x="38037" y="12201"/>
                      </a:lnTo>
                      <a:lnTo>
                        <a:pt x="40609" y="13218"/>
                      </a:lnTo>
                      <a:lnTo>
                        <a:pt x="43181" y="14234"/>
                      </a:lnTo>
                      <a:lnTo>
                        <a:pt x="45753" y="15251"/>
                      </a:lnTo>
                      <a:lnTo>
                        <a:pt x="48324" y="16268"/>
                      </a:lnTo>
                      <a:lnTo>
                        <a:pt x="50896" y="17284"/>
                      </a:lnTo>
                      <a:lnTo>
                        <a:pt x="53468" y="18301"/>
                      </a:lnTo>
                      <a:lnTo>
                        <a:pt x="55441" y="19079"/>
                      </a:lnTo>
                      <a:lnTo>
                        <a:pt x="57475" y="21052"/>
                      </a:lnTo>
                      <a:lnTo>
                        <a:pt x="59508" y="23026"/>
                      </a:lnTo>
                      <a:lnTo>
                        <a:pt x="60226" y="23684"/>
                      </a:lnTo>
                      <a:lnTo>
                        <a:pt x="57594" y="22787"/>
                      </a:lnTo>
                      <a:lnTo>
                        <a:pt x="54963" y="21890"/>
                      </a:lnTo>
                      <a:lnTo>
                        <a:pt x="52331" y="20992"/>
                      </a:lnTo>
                      <a:lnTo>
                        <a:pt x="49700" y="20096"/>
                      </a:lnTo>
                      <a:lnTo>
                        <a:pt x="47068" y="19198"/>
                      </a:lnTo>
                      <a:lnTo>
                        <a:pt x="44437" y="18301"/>
                      </a:lnTo>
                      <a:lnTo>
                        <a:pt x="41805" y="17404"/>
                      </a:lnTo>
                      <a:lnTo>
                        <a:pt x="39174" y="16507"/>
                      </a:lnTo>
                      <a:lnTo>
                        <a:pt x="36542" y="15610"/>
                      </a:lnTo>
                      <a:lnTo>
                        <a:pt x="33911" y="14713"/>
                      </a:lnTo>
                      <a:lnTo>
                        <a:pt x="31279" y="13815"/>
                      </a:lnTo>
                      <a:lnTo>
                        <a:pt x="28648" y="12919"/>
                      </a:lnTo>
                      <a:lnTo>
                        <a:pt x="26016" y="12021"/>
                      </a:lnTo>
                      <a:lnTo>
                        <a:pt x="23385" y="11124"/>
                      </a:lnTo>
                      <a:lnTo>
                        <a:pt x="20753" y="10227"/>
                      </a:lnTo>
                      <a:lnTo>
                        <a:pt x="18122" y="9330"/>
                      </a:lnTo>
                      <a:lnTo>
                        <a:pt x="15490" y="8433"/>
                      </a:lnTo>
                      <a:lnTo>
                        <a:pt x="12859" y="7536"/>
                      </a:lnTo>
                      <a:lnTo>
                        <a:pt x="10227" y="6639"/>
                      </a:lnTo>
                      <a:lnTo>
                        <a:pt x="7596" y="5742"/>
                      </a:lnTo>
                      <a:lnTo>
                        <a:pt x="4964" y="4844"/>
                      </a:lnTo>
                      <a:lnTo>
                        <a:pt x="2333" y="3947"/>
                      </a:lnTo>
                      <a:lnTo>
                        <a:pt x="1136" y="3529"/>
                      </a:lnTo>
                    </a:path>
                  </a:pathLst>
                </a:custGeom>
                <a:noFill/>
                <a:ln w="6350" cap="flat">
                  <a:solidFill>
                    <a:schemeClr val="bg1">
                      <a:alpha val="80000"/>
                    </a:schemeClr>
                  </a:solidFill>
                  <a:prstDash val="solid"/>
                  <a:miter/>
                </a:ln>
              </p:spPr>
              <p:txBody>
                <a:bodyPr rtlCol="0" anchor="ctr"/>
                <a:lstStyle/>
                <a:p>
                  <a:endParaRPr lang="en-GB"/>
                </a:p>
              </p:txBody>
            </p:sp>
            <p:sp>
              <p:nvSpPr>
                <p:cNvPr id="7580" name="Vrije vorm: vorm 7579">
                  <a:extLst>
                    <a:ext uri="{FF2B5EF4-FFF2-40B4-BE49-F238E27FC236}">
                      <a16:creationId xmlns:a16="http://schemas.microsoft.com/office/drawing/2014/main" id="{B0CFD927-066F-493B-92F4-A2C25FF6366F}"/>
                    </a:ext>
                  </a:extLst>
                </p:cNvPr>
                <p:cNvSpPr/>
                <p:nvPr/>
              </p:nvSpPr>
              <p:spPr>
                <a:xfrm>
                  <a:off x="5818903" y="5136164"/>
                  <a:ext cx="70273" cy="21949"/>
                </a:xfrm>
                <a:custGeom>
                  <a:avLst/>
                  <a:gdLst>
                    <a:gd name="connsiteX0" fmla="*/ 70273 w 70273"/>
                    <a:gd name="connsiteY0" fmla="*/ 10347 h 21949"/>
                    <a:gd name="connsiteX1" fmla="*/ 69915 w 70273"/>
                    <a:gd name="connsiteY1" fmla="*/ 11064 h 21949"/>
                    <a:gd name="connsiteX2" fmla="*/ 68360 w 70273"/>
                    <a:gd name="connsiteY2" fmla="*/ 14114 h 21949"/>
                    <a:gd name="connsiteX3" fmla="*/ 66805 w 70273"/>
                    <a:gd name="connsiteY3" fmla="*/ 17165 h 21949"/>
                    <a:gd name="connsiteX4" fmla="*/ 65250 w 70273"/>
                    <a:gd name="connsiteY4" fmla="*/ 20215 h 21949"/>
                    <a:gd name="connsiteX5" fmla="*/ 64353 w 70273"/>
                    <a:gd name="connsiteY5" fmla="*/ 21949 h 21949"/>
                    <a:gd name="connsiteX6" fmla="*/ 61721 w 70273"/>
                    <a:gd name="connsiteY6" fmla="*/ 21052 h 21949"/>
                    <a:gd name="connsiteX7" fmla="*/ 59090 w 70273"/>
                    <a:gd name="connsiteY7" fmla="*/ 20155 h 21949"/>
                    <a:gd name="connsiteX8" fmla="*/ 56458 w 70273"/>
                    <a:gd name="connsiteY8" fmla="*/ 19258 h 21949"/>
                    <a:gd name="connsiteX9" fmla="*/ 53827 w 70273"/>
                    <a:gd name="connsiteY9" fmla="*/ 18361 h 21949"/>
                    <a:gd name="connsiteX10" fmla="*/ 51195 w 70273"/>
                    <a:gd name="connsiteY10" fmla="*/ 17464 h 21949"/>
                    <a:gd name="connsiteX11" fmla="*/ 48563 w 70273"/>
                    <a:gd name="connsiteY11" fmla="*/ 16566 h 21949"/>
                    <a:gd name="connsiteX12" fmla="*/ 45932 w 70273"/>
                    <a:gd name="connsiteY12" fmla="*/ 15669 h 21949"/>
                    <a:gd name="connsiteX13" fmla="*/ 43300 w 70273"/>
                    <a:gd name="connsiteY13" fmla="*/ 14772 h 21949"/>
                    <a:gd name="connsiteX14" fmla="*/ 40669 w 70273"/>
                    <a:gd name="connsiteY14" fmla="*/ 13875 h 21949"/>
                    <a:gd name="connsiteX15" fmla="*/ 38037 w 70273"/>
                    <a:gd name="connsiteY15" fmla="*/ 12978 h 21949"/>
                    <a:gd name="connsiteX16" fmla="*/ 35406 w 70273"/>
                    <a:gd name="connsiteY16" fmla="*/ 12081 h 21949"/>
                    <a:gd name="connsiteX17" fmla="*/ 32774 w 70273"/>
                    <a:gd name="connsiteY17" fmla="*/ 11184 h 21949"/>
                    <a:gd name="connsiteX18" fmla="*/ 30143 w 70273"/>
                    <a:gd name="connsiteY18" fmla="*/ 10287 h 21949"/>
                    <a:gd name="connsiteX19" fmla="*/ 27512 w 70273"/>
                    <a:gd name="connsiteY19" fmla="*/ 9390 h 21949"/>
                    <a:gd name="connsiteX20" fmla="*/ 24880 w 70273"/>
                    <a:gd name="connsiteY20" fmla="*/ 8493 h 21949"/>
                    <a:gd name="connsiteX21" fmla="*/ 22248 w 70273"/>
                    <a:gd name="connsiteY21" fmla="*/ 7595 h 21949"/>
                    <a:gd name="connsiteX22" fmla="*/ 19617 w 70273"/>
                    <a:gd name="connsiteY22" fmla="*/ 6698 h 21949"/>
                    <a:gd name="connsiteX23" fmla="*/ 16985 w 70273"/>
                    <a:gd name="connsiteY23" fmla="*/ 5801 h 21949"/>
                    <a:gd name="connsiteX24" fmla="*/ 14354 w 70273"/>
                    <a:gd name="connsiteY24" fmla="*/ 4904 h 21949"/>
                    <a:gd name="connsiteX25" fmla="*/ 11722 w 70273"/>
                    <a:gd name="connsiteY25" fmla="*/ 4007 h 21949"/>
                    <a:gd name="connsiteX26" fmla="*/ 9091 w 70273"/>
                    <a:gd name="connsiteY26" fmla="*/ 3110 h 21949"/>
                    <a:gd name="connsiteX27" fmla="*/ 6459 w 70273"/>
                    <a:gd name="connsiteY27" fmla="*/ 2213 h 21949"/>
                    <a:gd name="connsiteX28" fmla="*/ 3828 w 70273"/>
                    <a:gd name="connsiteY28" fmla="*/ 1316 h 21949"/>
                    <a:gd name="connsiteX29" fmla="*/ 1196 w 70273"/>
                    <a:gd name="connsiteY29" fmla="*/ 419 h 21949"/>
                    <a:gd name="connsiteX30" fmla="*/ 0 w 70273"/>
                    <a:gd name="connsiteY30" fmla="*/ 0 h 2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0273" h="21949">
                      <a:moveTo>
                        <a:pt x="70273" y="10347"/>
                      </a:moveTo>
                      <a:lnTo>
                        <a:pt x="69915" y="11064"/>
                      </a:lnTo>
                      <a:lnTo>
                        <a:pt x="68360" y="14114"/>
                      </a:lnTo>
                      <a:lnTo>
                        <a:pt x="66805" y="17165"/>
                      </a:lnTo>
                      <a:lnTo>
                        <a:pt x="65250" y="20215"/>
                      </a:lnTo>
                      <a:lnTo>
                        <a:pt x="64353" y="21949"/>
                      </a:lnTo>
                      <a:lnTo>
                        <a:pt x="61721" y="21052"/>
                      </a:lnTo>
                      <a:lnTo>
                        <a:pt x="59090" y="20155"/>
                      </a:lnTo>
                      <a:lnTo>
                        <a:pt x="56458" y="19258"/>
                      </a:lnTo>
                      <a:lnTo>
                        <a:pt x="53827" y="18361"/>
                      </a:lnTo>
                      <a:lnTo>
                        <a:pt x="51195" y="17464"/>
                      </a:lnTo>
                      <a:lnTo>
                        <a:pt x="48563" y="16566"/>
                      </a:lnTo>
                      <a:lnTo>
                        <a:pt x="45932" y="15669"/>
                      </a:lnTo>
                      <a:lnTo>
                        <a:pt x="43300" y="14772"/>
                      </a:lnTo>
                      <a:lnTo>
                        <a:pt x="40669" y="13875"/>
                      </a:lnTo>
                      <a:lnTo>
                        <a:pt x="38037" y="12978"/>
                      </a:lnTo>
                      <a:lnTo>
                        <a:pt x="35406" y="12081"/>
                      </a:lnTo>
                      <a:lnTo>
                        <a:pt x="32774" y="11184"/>
                      </a:lnTo>
                      <a:lnTo>
                        <a:pt x="30143" y="10287"/>
                      </a:lnTo>
                      <a:lnTo>
                        <a:pt x="27512" y="9390"/>
                      </a:lnTo>
                      <a:lnTo>
                        <a:pt x="24880" y="8493"/>
                      </a:lnTo>
                      <a:lnTo>
                        <a:pt x="22248" y="7595"/>
                      </a:lnTo>
                      <a:lnTo>
                        <a:pt x="19617" y="6698"/>
                      </a:lnTo>
                      <a:lnTo>
                        <a:pt x="16985" y="5801"/>
                      </a:lnTo>
                      <a:lnTo>
                        <a:pt x="14354" y="4904"/>
                      </a:lnTo>
                      <a:lnTo>
                        <a:pt x="11722" y="4007"/>
                      </a:lnTo>
                      <a:lnTo>
                        <a:pt x="9091" y="3110"/>
                      </a:lnTo>
                      <a:lnTo>
                        <a:pt x="6459" y="2213"/>
                      </a:lnTo>
                      <a:lnTo>
                        <a:pt x="3828" y="1316"/>
                      </a:lnTo>
                      <a:lnTo>
                        <a:pt x="1196" y="41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581" name="Vrije vorm: vorm 7580">
                  <a:extLst>
                    <a:ext uri="{FF2B5EF4-FFF2-40B4-BE49-F238E27FC236}">
                      <a16:creationId xmlns:a16="http://schemas.microsoft.com/office/drawing/2014/main" id="{2831C245-D7F0-4EBE-A54F-1C905D0D5587}"/>
                    </a:ext>
                  </a:extLst>
                </p:cNvPr>
                <p:cNvSpPr/>
                <p:nvPr/>
              </p:nvSpPr>
              <p:spPr>
                <a:xfrm>
                  <a:off x="5875481" y="5150278"/>
                  <a:ext cx="7834" cy="7774"/>
                </a:xfrm>
                <a:custGeom>
                  <a:avLst/>
                  <a:gdLst>
                    <a:gd name="connsiteX0" fmla="*/ 7835 w 7834"/>
                    <a:gd name="connsiteY0" fmla="*/ 7775 h 7774"/>
                    <a:gd name="connsiteX1" fmla="*/ 5801 w 7834"/>
                    <a:gd name="connsiteY1" fmla="*/ 5801 h 7774"/>
                    <a:gd name="connsiteX2" fmla="*/ 3768 w 7834"/>
                    <a:gd name="connsiteY2" fmla="*/ 3828 h 7774"/>
                    <a:gd name="connsiteX3" fmla="*/ 2930 w 7834"/>
                    <a:gd name="connsiteY3" fmla="*/ 2990 h 7774"/>
                    <a:gd name="connsiteX4" fmla="*/ 897 w 7834"/>
                    <a:gd name="connsiteY4" fmla="*/ 1017 h 7774"/>
                    <a:gd name="connsiteX5" fmla="*/ 0 w 7834"/>
                    <a:gd name="connsiteY5" fmla="*/ 0 h 7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4" h="7774">
                      <a:moveTo>
                        <a:pt x="7835" y="7775"/>
                      </a:moveTo>
                      <a:lnTo>
                        <a:pt x="5801" y="5801"/>
                      </a:lnTo>
                      <a:lnTo>
                        <a:pt x="3768" y="3828"/>
                      </a:lnTo>
                      <a:lnTo>
                        <a:pt x="2930" y="2990"/>
                      </a:lnTo>
                      <a:lnTo>
                        <a:pt x="897" y="1017"/>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582" name="Vrije vorm: vorm 7581">
                  <a:extLst>
                    <a:ext uri="{FF2B5EF4-FFF2-40B4-BE49-F238E27FC236}">
                      <a16:creationId xmlns:a16="http://schemas.microsoft.com/office/drawing/2014/main" id="{926C5CA3-7639-4B2A-8936-F7D5BA1F2BA6}"/>
                    </a:ext>
                  </a:extLst>
                </p:cNvPr>
                <p:cNvSpPr/>
                <p:nvPr/>
              </p:nvSpPr>
              <p:spPr>
                <a:xfrm>
                  <a:off x="5817827" y="5130363"/>
                  <a:ext cx="71349" cy="19975"/>
                </a:xfrm>
                <a:custGeom>
                  <a:avLst/>
                  <a:gdLst>
                    <a:gd name="connsiteX0" fmla="*/ 71350 w 71349"/>
                    <a:gd name="connsiteY0" fmla="*/ 16148 h 19975"/>
                    <a:gd name="connsiteX1" fmla="*/ 69376 w 71349"/>
                    <a:gd name="connsiteY1" fmla="*/ 14115 h 19975"/>
                    <a:gd name="connsiteX2" fmla="*/ 67403 w 71349"/>
                    <a:gd name="connsiteY2" fmla="*/ 12081 h 19975"/>
                    <a:gd name="connsiteX3" fmla="*/ 65429 w 71349"/>
                    <a:gd name="connsiteY3" fmla="*/ 10048 h 19975"/>
                    <a:gd name="connsiteX4" fmla="*/ 63575 w 71349"/>
                    <a:gd name="connsiteY4" fmla="*/ 8074 h 19975"/>
                    <a:gd name="connsiteX5" fmla="*/ 62020 w 71349"/>
                    <a:gd name="connsiteY5" fmla="*/ 11124 h 19975"/>
                    <a:gd name="connsiteX6" fmla="*/ 61183 w 71349"/>
                    <a:gd name="connsiteY6" fmla="*/ 12799 h 19975"/>
                    <a:gd name="connsiteX7" fmla="*/ 60824 w 71349"/>
                    <a:gd name="connsiteY7" fmla="*/ 13457 h 19975"/>
                    <a:gd name="connsiteX8" fmla="*/ 59269 w 71349"/>
                    <a:gd name="connsiteY8" fmla="*/ 16507 h 19975"/>
                    <a:gd name="connsiteX9" fmla="*/ 59030 w 71349"/>
                    <a:gd name="connsiteY9" fmla="*/ 16985 h 19975"/>
                    <a:gd name="connsiteX10" fmla="*/ 57535 w 71349"/>
                    <a:gd name="connsiteY10" fmla="*/ 19976 h 19975"/>
                    <a:gd name="connsiteX11" fmla="*/ 54963 w 71349"/>
                    <a:gd name="connsiteY11" fmla="*/ 18959 h 19975"/>
                    <a:gd name="connsiteX12" fmla="*/ 52391 w 71349"/>
                    <a:gd name="connsiteY12" fmla="*/ 17942 h 19975"/>
                    <a:gd name="connsiteX13" fmla="*/ 49820 w 71349"/>
                    <a:gd name="connsiteY13" fmla="*/ 16926 h 19975"/>
                    <a:gd name="connsiteX14" fmla="*/ 47248 w 71349"/>
                    <a:gd name="connsiteY14" fmla="*/ 15909 h 19975"/>
                    <a:gd name="connsiteX15" fmla="*/ 44676 w 71349"/>
                    <a:gd name="connsiteY15" fmla="*/ 14892 h 19975"/>
                    <a:gd name="connsiteX16" fmla="*/ 42104 w 71349"/>
                    <a:gd name="connsiteY16" fmla="*/ 13875 h 19975"/>
                    <a:gd name="connsiteX17" fmla="*/ 39532 w 71349"/>
                    <a:gd name="connsiteY17" fmla="*/ 12859 h 19975"/>
                    <a:gd name="connsiteX18" fmla="*/ 36961 w 71349"/>
                    <a:gd name="connsiteY18" fmla="*/ 11842 h 19975"/>
                    <a:gd name="connsiteX19" fmla="*/ 34389 w 71349"/>
                    <a:gd name="connsiteY19" fmla="*/ 10825 h 19975"/>
                    <a:gd name="connsiteX20" fmla="*/ 31817 w 71349"/>
                    <a:gd name="connsiteY20" fmla="*/ 9808 h 19975"/>
                    <a:gd name="connsiteX21" fmla="*/ 30203 w 71349"/>
                    <a:gd name="connsiteY21" fmla="*/ 9151 h 19975"/>
                    <a:gd name="connsiteX22" fmla="*/ 27452 w 71349"/>
                    <a:gd name="connsiteY22" fmla="*/ 8552 h 19975"/>
                    <a:gd name="connsiteX23" fmla="*/ 24700 w 71349"/>
                    <a:gd name="connsiteY23" fmla="*/ 7954 h 19975"/>
                    <a:gd name="connsiteX24" fmla="*/ 21949 w 71349"/>
                    <a:gd name="connsiteY24" fmla="*/ 7357 h 19975"/>
                    <a:gd name="connsiteX25" fmla="*/ 20873 w 71349"/>
                    <a:gd name="connsiteY25" fmla="*/ 7117 h 19975"/>
                    <a:gd name="connsiteX26" fmla="*/ 18181 w 71349"/>
                    <a:gd name="connsiteY26" fmla="*/ 6280 h 19975"/>
                    <a:gd name="connsiteX27" fmla="*/ 15490 w 71349"/>
                    <a:gd name="connsiteY27" fmla="*/ 5443 h 19975"/>
                    <a:gd name="connsiteX28" fmla="*/ 12799 w 71349"/>
                    <a:gd name="connsiteY28" fmla="*/ 4605 h 19975"/>
                    <a:gd name="connsiteX29" fmla="*/ 10107 w 71349"/>
                    <a:gd name="connsiteY29" fmla="*/ 3768 h 19975"/>
                    <a:gd name="connsiteX30" fmla="*/ 9928 w 71349"/>
                    <a:gd name="connsiteY30" fmla="*/ 3708 h 19975"/>
                    <a:gd name="connsiteX31" fmla="*/ 7356 w 71349"/>
                    <a:gd name="connsiteY31" fmla="*/ 2751 h 19975"/>
                    <a:gd name="connsiteX32" fmla="*/ 4785 w 71349"/>
                    <a:gd name="connsiteY32" fmla="*/ 1794 h 19975"/>
                    <a:gd name="connsiteX33" fmla="*/ 2213 w 71349"/>
                    <a:gd name="connsiteY33" fmla="*/ 837 h 19975"/>
                    <a:gd name="connsiteX34" fmla="*/ 0 w 71349"/>
                    <a:gd name="connsiteY34" fmla="*/ 0 h 1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1349" h="19975">
                      <a:moveTo>
                        <a:pt x="71350" y="16148"/>
                      </a:moveTo>
                      <a:lnTo>
                        <a:pt x="69376" y="14115"/>
                      </a:lnTo>
                      <a:lnTo>
                        <a:pt x="67403" y="12081"/>
                      </a:lnTo>
                      <a:lnTo>
                        <a:pt x="65429" y="10048"/>
                      </a:lnTo>
                      <a:lnTo>
                        <a:pt x="63575" y="8074"/>
                      </a:lnTo>
                      <a:lnTo>
                        <a:pt x="62020" y="11124"/>
                      </a:lnTo>
                      <a:lnTo>
                        <a:pt x="61183" y="12799"/>
                      </a:lnTo>
                      <a:lnTo>
                        <a:pt x="60824" y="13457"/>
                      </a:lnTo>
                      <a:lnTo>
                        <a:pt x="59269" y="16507"/>
                      </a:lnTo>
                      <a:lnTo>
                        <a:pt x="59030" y="16985"/>
                      </a:lnTo>
                      <a:lnTo>
                        <a:pt x="57535" y="19976"/>
                      </a:lnTo>
                      <a:lnTo>
                        <a:pt x="54963" y="18959"/>
                      </a:lnTo>
                      <a:lnTo>
                        <a:pt x="52391" y="17942"/>
                      </a:lnTo>
                      <a:lnTo>
                        <a:pt x="49820" y="16926"/>
                      </a:lnTo>
                      <a:lnTo>
                        <a:pt x="47248" y="15909"/>
                      </a:lnTo>
                      <a:lnTo>
                        <a:pt x="44676" y="14892"/>
                      </a:lnTo>
                      <a:lnTo>
                        <a:pt x="42104" y="13875"/>
                      </a:lnTo>
                      <a:lnTo>
                        <a:pt x="39532" y="12859"/>
                      </a:lnTo>
                      <a:lnTo>
                        <a:pt x="36961" y="11842"/>
                      </a:lnTo>
                      <a:lnTo>
                        <a:pt x="34389" y="10825"/>
                      </a:lnTo>
                      <a:lnTo>
                        <a:pt x="31817" y="9808"/>
                      </a:lnTo>
                      <a:lnTo>
                        <a:pt x="30203" y="9151"/>
                      </a:lnTo>
                      <a:lnTo>
                        <a:pt x="27452" y="8552"/>
                      </a:lnTo>
                      <a:lnTo>
                        <a:pt x="24700" y="7954"/>
                      </a:lnTo>
                      <a:lnTo>
                        <a:pt x="21949" y="7357"/>
                      </a:lnTo>
                      <a:lnTo>
                        <a:pt x="20873" y="7117"/>
                      </a:lnTo>
                      <a:lnTo>
                        <a:pt x="18181" y="6280"/>
                      </a:lnTo>
                      <a:lnTo>
                        <a:pt x="15490" y="5443"/>
                      </a:lnTo>
                      <a:lnTo>
                        <a:pt x="12799" y="4605"/>
                      </a:lnTo>
                      <a:lnTo>
                        <a:pt x="10107" y="3768"/>
                      </a:lnTo>
                      <a:lnTo>
                        <a:pt x="9928" y="3708"/>
                      </a:lnTo>
                      <a:lnTo>
                        <a:pt x="7356" y="2751"/>
                      </a:lnTo>
                      <a:lnTo>
                        <a:pt x="4785" y="1794"/>
                      </a:lnTo>
                      <a:lnTo>
                        <a:pt x="2213" y="837"/>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583" name="Vrije vorm: vorm 7582">
                  <a:extLst>
                    <a:ext uri="{FF2B5EF4-FFF2-40B4-BE49-F238E27FC236}">
                      <a16:creationId xmlns:a16="http://schemas.microsoft.com/office/drawing/2014/main" id="{BE8B4B6B-3672-46A2-97B2-9BCA38BC96D7}"/>
                    </a:ext>
                  </a:extLst>
                </p:cNvPr>
                <p:cNvSpPr/>
                <p:nvPr/>
              </p:nvSpPr>
              <p:spPr>
                <a:xfrm>
                  <a:off x="5876976" y="5102612"/>
                  <a:ext cx="16327" cy="17463"/>
                </a:xfrm>
                <a:custGeom>
                  <a:avLst/>
                  <a:gdLst>
                    <a:gd name="connsiteX0" fmla="*/ 7296 w 16327"/>
                    <a:gd name="connsiteY0" fmla="*/ 0 h 17463"/>
                    <a:gd name="connsiteX1" fmla="*/ 9090 w 16327"/>
                    <a:gd name="connsiteY1" fmla="*/ 2213 h 17463"/>
                    <a:gd name="connsiteX2" fmla="*/ 10406 w 16327"/>
                    <a:gd name="connsiteY2" fmla="*/ 3768 h 17463"/>
                    <a:gd name="connsiteX3" fmla="*/ 12201 w 16327"/>
                    <a:gd name="connsiteY3" fmla="*/ 5981 h 17463"/>
                    <a:gd name="connsiteX4" fmla="*/ 13995 w 16327"/>
                    <a:gd name="connsiteY4" fmla="*/ 8194 h 17463"/>
                    <a:gd name="connsiteX5" fmla="*/ 15789 w 16327"/>
                    <a:gd name="connsiteY5" fmla="*/ 10406 h 17463"/>
                    <a:gd name="connsiteX6" fmla="*/ 16327 w 16327"/>
                    <a:gd name="connsiteY6" fmla="*/ 11064 h 17463"/>
                    <a:gd name="connsiteX7" fmla="*/ 15968 w 16327"/>
                    <a:gd name="connsiteY7" fmla="*/ 11722 h 17463"/>
                    <a:gd name="connsiteX8" fmla="*/ 14413 w 16327"/>
                    <a:gd name="connsiteY8" fmla="*/ 14772 h 17463"/>
                    <a:gd name="connsiteX9" fmla="*/ 13038 w 16327"/>
                    <a:gd name="connsiteY9" fmla="*/ 17464 h 17463"/>
                    <a:gd name="connsiteX10" fmla="*/ 10406 w 16327"/>
                    <a:gd name="connsiteY10" fmla="*/ 16506 h 17463"/>
                    <a:gd name="connsiteX11" fmla="*/ 7775 w 16327"/>
                    <a:gd name="connsiteY11" fmla="*/ 15550 h 17463"/>
                    <a:gd name="connsiteX12" fmla="*/ 5143 w 16327"/>
                    <a:gd name="connsiteY12" fmla="*/ 14593 h 17463"/>
                    <a:gd name="connsiteX13" fmla="*/ 2512 w 16327"/>
                    <a:gd name="connsiteY13" fmla="*/ 13636 h 17463"/>
                    <a:gd name="connsiteX14" fmla="*/ 0 w 16327"/>
                    <a:gd name="connsiteY14" fmla="*/ 12739 h 17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27" h="17463">
                      <a:moveTo>
                        <a:pt x="7296" y="0"/>
                      </a:moveTo>
                      <a:lnTo>
                        <a:pt x="9090" y="2213"/>
                      </a:lnTo>
                      <a:lnTo>
                        <a:pt x="10406" y="3768"/>
                      </a:lnTo>
                      <a:lnTo>
                        <a:pt x="12201" y="5981"/>
                      </a:lnTo>
                      <a:lnTo>
                        <a:pt x="13995" y="8194"/>
                      </a:lnTo>
                      <a:lnTo>
                        <a:pt x="15789" y="10406"/>
                      </a:lnTo>
                      <a:lnTo>
                        <a:pt x="16327" y="11064"/>
                      </a:lnTo>
                      <a:lnTo>
                        <a:pt x="15968" y="11722"/>
                      </a:lnTo>
                      <a:lnTo>
                        <a:pt x="14413" y="14772"/>
                      </a:lnTo>
                      <a:lnTo>
                        <a:pt x="13038" y="17464"/>
                      </a:lnTo>
                      <a:lnTo>
                        <a:pt x="10406" y="16506"/>
                      </a:lnTo>
                      <a:lnTo>
                        <a:pt x="7775" y="15550"/>
                      </a:lnTo>
                      <a:lnTo>
                        <a:pt x="5143" y="14593"/>
                      </a:lnTo>
                      <a:lnTo>
                        <a:pt x="2512" y="13636"/>
                      </a:lnTo>
                      <a:lnTo>
                        <a:pt x="0" y="12739"/>
                      </a:lnTo>
                    </a:path>
                  </a:pathLst>
                </a:custGeom>
                <a:noFill/>
                <a:ln w="6350" cap="flat">
                  <a:solidFill>
                    <a:schemeClr val="bg1">
                      <a:alpha val="80000"/>
                    </a:schemeClr>
                  </a:solidFill>
                  <a:prstDash val="solid"/>
                  <a:miter/>
                </a:ln>
              </p:spPr>
              <p:txBody>
                <a:bodyPr rtlCol="0" anchor="ctr"/>
                <a:lstStyle/>
                <a:p>
                  <a:endParaRPr lang="en-GB"/>
                </a:p>
              </p:txBody>
            </p:sp>
            <p:sp>
              <p:nvSpPr>
                <p:cNvPr id="7584" name="Vrije vorm: vorm 7583">
                  <a:extLst>
                    <a:ext uri="{FF2B5EF4-FFF2-40B4-BE49-F238E27FC236}">
                      <a16:creationId xmlns:a16="http://schemas.microsoft.com/office/drawing/2014/main" id="{27E47EA4-A4FA-4810-806D-F7BE0416E9F4}"/>
                    </a:ext>
                  </a:extLst>
                </p:cNvPr>
                <p:cNvSpPr/>
                <p:nvPr/>
              </p:nvSpPr>
              <p:spPr>
                <a:xfrm>
                  <a:off x="5880385" y="5113019"/>
                  <a:ext cx="657" cy="1375"/>
                </a:xfrm>
                <a:custGeom>
                  <a:avLst/>
                  <a:gdLst>
                    <a:gd name="connsiteX0" fmla="*/ 0 w 657"/>
                    <a:gd name="connsiteY0" fmla="*/ 1375 h 1375"/>
                    <a:gd name="connsiteX1" fmla="*/ 658 w 657"/>
                    <a:gd name="connsiteY1" fmla="*/ 0 h 1375"/>
                  </a:gdLst>
                  <a:ahLst/>
                  <a:cxnLst>
                    <a:cxn ang="0">
                      <a:pos x="connsiteX0" y="connsiteY0"/>
                    </a:cxn>
                    <a:cxn ang="0">
                      <a:pos x="connsiteX1" y="connsiteY1"/>
                    </a:cxn>
                  </a:cxnLst>
                  <a:rect l="l" t="t" r="r" b="b"/>
                  <a:pathLst>
                    <a:path w="657" h="1375">
                      <a:moveTo>
                        <a:pt x="0" y="1375"/>
                      </a:moveTo>
                      <a:lnTo>
                        <a:pt x="658" y="0"/>
                      </a:lnTo>
                    </a:path>
                  </a:pathLst>
                </a:custGeom>
                <a:noFill/>
                <a:ln w="6350" cap="flat">
                  <a:solidFill>
                    <a:schemeClr val="bg1">
                      <a:alpha val="80000"/>
                    </a:schemeClr>
                  </a:solidFill>
                  <a:prstDash val="solid"/>
                  <a:miter/>
                </a:ln>
              </p:spPr>
              <p:txBody>
                <a:bodyPr rtlCol="0" anchor="ctr"/>
                <a:lstStyle/>
                <a:p>
                  <a:endParaRPr lang="en-GB"/>
                </a:p>
              </p:txBody>
            </p:sp>
            <p:sp>
              <p:nvSpPr>
                <p:cNvPr id="7585" name="Vrije vorm: vorm 7584">
                  <a:extLst>
                    <a:ext uri="{FF2B5EF4-FFF2-40B4-BE49-F238E27FC236}">
                      <a16:creationId xmlns:a16="http://schemas.microsoft.com/office/drawing/2014/main" id="{6040E77F-90CA-42FA-A049-5A7E7E483252}"/>
                    </a:ext>
                  </a:extLst>
                </p:cNvPr>
                <p:cNvSpPr/>
                <p:nvPr/>
              </p:nvSpPr>
              <p:spPr>
                <a:xfrm>
                  <a:off x="5878292" y="5112301"/>
                  <a:ext cx="4904" cy="2810"/>
                </a:xfrm>
                <a:custGeom>
                  <a:avLst/>
                  <a:gdLst>
                    <a:gd name="connsiteX0" fmla="*/ 0 w 4904"/>
                    <a:gd name="connsiteY0" fmla="*/ 718 h 2810"/>
                    <a:gd name="connsiteX1" fmla="*/ 2093 w 4904"/>
                    <a:gd name="connsiteY1" fmla="*/ 2093 h 2810"/>
                    <a:gd name="connsiteX2" fmla="*/ 4545 w 4904"/>
                    <a:gd name="connsiteY2" fmla="*/ 2811 h 2810"/>
                    <a:gd name="connsiteX3" fmla="*/ 4904 w 4904"/>
                    <a:gd name="connsiteY3" fmla="*/ 2153 h 2810"/>
                    <a:gd name="connsiteX4" fmla="*/ 2751 w 4904"/>
                    <a:gd name="connsiteY4" fmla="*/ 718 h 2810"/>
                    <a:gd name="connsiteX5" fmla="*/ 2691 w 4904"/>
                    <a:gd name="connsiteY5" fmla="*/ 718 h 2810"/>
                    <a:gd name="connsiteX6" fmla="*/ 299 w 4904"/>
                    <a:gd name="connsiteY6" fmla="*/ 0 h 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4" h="2810">
                      <a:moveTo>
                        <a:pt x="0" y="718"/>
                      </a:moveTo>
                      <a:lnTo>
                        <a:pt x="2093" y="2093"/>
                      </a:lnTo>
                      <a:lnTo>
                        <a:pt x="4545" y="2811"/>
                      </a:lnTo>
                      <a:lnTo>
                        <a:pt x="4904" y="2153"/>
                      </a:lnTo>
                      <a:lnTo>
                        <a:pt x="2751" y="718"/>
                      </a:lnTo>
                      <a:lnTo>
                        <a:pt x="2691" y="718"/>
                      </a:lnTo>
                      <a:lnTo>
                        <a:pt x="299" y="0"/>
                      </a:lnTo>
                    </a:path>
                  </a:pathLst>
                </a:custGeom>
                <a:noFill/>
                <a:ln w="6350" cap="flat">
                  <a:solidFill>
                    <a:schemeClr val="bg1">
                      <a:alpha val="80000"/>
                    </a:schemeClr>
                  </a:solidFill>
                  <a:prstDash val="solid"/>
                  <a:miter/>
                </a:ln>
              </p:spPr>
              <p:txBody>
                <a:bodyPr rtlCol="0" anchor="ctr"/>
                <a:lstStyle/>
                <a:p>
                  <a:endParaRPr lang="en-GB"/>
                </a:p>
              </p:txBody>
            </p:sp>
            <p:sp>
              <p:nvSpPr>
                <p:cNvPr id="7586" name="Vrije vorm: vorm 7585">
                  <a:extLst>
                    <a:ext uri="{FF2B5EF4-FFF2-40B4-BE49-F238E27FC236}">
                      <a16:creationId xmlns:a16="http://schemas.microsoft.com/office/drawing/2014/main" id="{08BFB8ED-2D0B-47B4-A2D0-4996F021E9E7}"/>
                    </a:ext>
                  </a:extLst>
                </p:cNvPr>
                <p:cNvSpPr/>
                <p:nvPr/>
              </p:nvSpPr>
              <p:spPr>
                <a:xfrm>
                  <a:off x="5880863" y="5109251"/>
                  <a:ext cx="9270" cy="10765"/>
                </a:xfrm>
                <a:custGeom>
                  <a:avLst/>
                  <a:gdLst>
                    <a:gd name="connsiteX0" fmla="*/ 9270 w 9270"/>
                    <a:gd name="connsiteY0" fmla="*/ 10765 h 10765"/>
                    <a:gd name="connsiteX1" fmla="*/ 7416 w 9270"/>
                    <a:gd name="connsiteY1" fmla="*/ 8612 h 10765"/>
                    <a:gd name="connsiteX2" fmla="*/ 5562 w 9270"/>
                    <a:gd name="connsiteY2" fmla="*/ 6459 h 10765"/>
                    <a:gd name="connsiteX3" fmla="*/ 3708 w 9270"/>
                    <a:gd name="connsiteY3" fmla="*/ 4306 h 10765"/>
                    <a:gd name="connsiteX4" fmla="*/ 3170 w 9270"/>
                    <a:gd name="connsiteY4" fmla="*/ 3648 h 10765"/>
                    <a:gd name="connsiteX5" fmla="*/ 1316 w 9270"/>
                    <a:gd name="connsiteY5" fmla="*/ 1495 h 10765"/>
                    <a:gd name="connsiteX6" fmla="*/ 0 w 9270"/>
                    <a:gd name="connsiteY6" fmla="*/ 0 h 1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0" h="10765">
                      <a:moveTo>
                        <a:pt x="9270" y="10765"/>
                      </a:moveTo>
                      <a:lnTo>
                        <a:pt x="7416" y="8612"/>
                      </a:lnTo>
                      <a:lnTo>
                        <a:pt x="5562" y="6459"/>
                      </a:lnTo>
                      <a:lnTo>
                        <a:pt x="3708" y="4306"/>
                      </a:lnTo>
                      <a:lnTo>
                        <a:pt x="3170" y="3648"/>
                      </a:lnTo>
                      <a:lnTo>
                        <a:pt x="1316" y="1495"/>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587" name="Vrije vorm: vorm 7586">
                  <a:extLst>
                    <a:ext uri="{FF2B5EF4-FFF2-40B4-BE49-F238E27FC236}">
                      <a16:creationId xmlns:a16="http://schemas.microsoft.com/office/drawing/2014/main" id="{BACBBD1D-729A-4B8C-A043-D9C799F72205}"/>
                    </a:ext>
                  </a:extLst>
                </p:cNvPr>
                <p:cNvSpPr/>
                <p:nvPr/>
              </p:nvSpPr>
              <p:spPr>
                <a:xfrm>
                  <a:off x="5880205" y="5102612"/>
                  <a:ext cx="4066" cy="6757"/>
                </a:xfrm>
                <a:custGeom>
                  <a:avLst/>
                  <a:gdLst>
                    <a:gd name="connsiteX0" fmla="*/ 3349 w 4066"/>
                    <a:gd name="connsiteY0" fmla="*/ 119 h 6757"/>
                    <a:gd name="connsiteX1" fmla="*/ 4067 w 4066"/>
                    <a:gd name="connsiteY1" fmla="*/ 0 h 6757"/>
                    <a:gd name="connsiteX2" fmla="*/ 2512 w 4066"/>
                    <a:gd name="connsiteY2" fmla="*/ 3050 h 6757"/>
                    <a:gd name="connsiteX3" fmla="*/ 957 w 4066"/>
                    <a:gd name="connsiteY3" fmla="*/ 6100 h 6757"/>
                    <a:gd name="connsiteX4" fmla="*/ 718 w 4066"/>
                    <a:gd name="connsiteY4" fmla="*/ 6579 h 6757"/>
                    <a:gd name="connsiteX5" fmla="*/ 718 w 4066"/>
                    <a:gd name="connsiteY5" fmla="*/ 6639 h 6757"/>
                    <a:gd name="connsiteX6" fmla="*/ 0 w 4066"/>
                    <a:gd name="connsiteY6" fmla="*/ 6758 h 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6" h="6757">
                      <a:moveTo>
                        <a:pt x="3349" y="119"/>
                      </a:moveTo>
                      <a:lnTo>
                        <a:pt x="4067" y="0"/>
                      </a:lnTo>
                      <a:lnTo>
                        <a:pt x="2512" y="3050"/>
                      </a:lnTo>
                      <a:lnTo>
                        <a:pt x="957" y="6100"/>
                      </a:lnTo>
                      <a:lnTo>
                        <a:pt x="718" y="6579"/>
                      </a:lnTo>
                      <a:lnTo>
                        <a:pt x="718" y="6639"/>
                      </a:lnTo>
                      <a:lnTo>
                        <a:pt x="0" y="6758"/>
                      </a:lnTo>
                    </a:path>
                  </a:pathLst>
                </a:custGeom>
                <a:noFill/>
                <a:ln w="6350" cap="flat">
                  <a:solidFill>
                    <a:schemeClr val="bg1">
                      <a:alpha val="80000"/>
                    </a:schemeClr>
                  </a:solidFill>
                  <a:prstDash val="solid"/>
                  <a:miter/>
                </a:ln>
              </p:spPr>
              <p:txBody>
                <a:bodyPr rtlCol="0" anchor="ctr"/>
                <a:lstStyle/>
                <a:p>
                  <a:endParaRPr lang="en-GB"/>
                </a:p>
              </p:txBody>
            </p:sp>
            <p:sp>
              <p:nvSpPr>
                <p:cNvPr id="7588" name="Vrije vorm: vorm 7587">
                  <a:extLst>
                    <a:ext uri="{FF2B5EF4-FFF2-40B4-BE49-F238E27FC236}">
                      <a16:creationId xmlns:a16="http://schemas.microsoft.com/office/drawing/2014/main" id="{C0645596-61E7-4A1B-B8FA-99A447701C13}"/>
                    </a:ext>
                  </a:extLst>
                </p:cNvPr>
                <p:cNvSpPr/>
                <p:nvPr/>
              </p:nvSpPr>
              <p:spPr>
                <a:xfrm>
                  <a:off x="5858555" y="5231078"/>
                  <a:ext cx="1555" cy="2392"/>
                </a:xfrm>
                <a:custGeom>
                  <a:avLst/>
                  <a:gdLst>
                    <a:gd name="connsiteX0" fmla="*/ 1196 w 1555"/>
                    <a:gd name="connsiteY0" fmla="*/ 0 h 2392"/>
                    <a:gd name="connsiteX1" fmla="*/ 1495 w 1555"/>
                    <a:gd name="connsiteY1" fmla="*/ 120 h 2392"/>
                    <a:gd name="connsiteX2" fmla="*/ 1555 w 1555"/>
                    <a:gd name="connsiteY2" fmla="*/ 239 h 2392"/>
                    <a:gd name="connsiteX3" fmla="*/ 1555 w 1555"/>
                    <a:gd name="connsiteY3" fmla="*/ 419 h 2392"/>
                    <a:gd name="connsiteX4" fmla="*/ 1555 w 1555"/>
                    <a:gd name="connsiteY4" fmla="*/ 479 h 2392"/>
                    <a:gd name="connsiteX5" fmla="*/ 1555 w 1555"/>
                    <a:gd name="connsiteY5" fmla="*/ 658 h 2392"/>
                    <a:gd name="connsiteX6" fmla="*/ 1495 w 1555"/>
                    <a:gd name="connsiteY6" fmla="*/ 897 h 2392"/>
                    <a:gd name="connsiteX7" fmla="*/ 1375 w 1555"/>
                    <a:gd name="connsiteY7" fmla="*/ 1196 h 2392"/>
                    <a:gd name="connsiteX8" fmla="*/ 1256 w 1555"/>
                    <a:gd name="connsiteY8" fmla="*/ 1495 h 2392"/>
                    <a:gd name="connsiteX9" fmla="*/ 1076 w 1555"/>
                    <a:gd name="connsiteY9" fmla="*/ 1794 h 2392"/>
                    <a:gd name="connsiteX10" fmla="*/ 957 w 1555"/>
                    <a:gd name="connsiteY10" fmla="*/ 1914 h 2392"/>
                    <a:gd name="connsiteX11" fmla="*/ 897 w 1555"/>
                    <a:gd name="connsiteY11" fmla="*/ 2033 h 2392"/>
                    <a:gd name="connsiteX12" fmla="*/ 718 w 1555"/>
                    <a:gd name="connsiteY12" fmla="*/ 2213 h 2392"/>
                    <a:gd name="connsiteX13" fmla="*/ 538 w 1555"/>
                    <a:gd name="connsiteY13" fmla="*/ 2333 h 2392"/>
                    <a:gd name="connsiteX14" fmla="*/ 479 w 1555"/>
                    <a:gd name="connsiteY14" fmla="*/ 2333 h 2392"/>
                    <a:gd name="connsiteX15" fmla="*/ 419 w 1555"/>
                    <a:gd name="connsiteY15" fmla="*/ 2392 h 2392"/>
                    <a:gd name="connsiteX16" fmla="*/ 299 w 1555"/>
                    <a:gd name="connsiteY16" fmla="*/ 2392 h 2392"/>
                    <a:gd name="connsiteX17" fmla="*/ 0 w 1555"/>
                    <a:gd name="connsiteY17" fmla="*/ 2273 h 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55" h="2392">
                      <a:moveTo>
                        <a:pt x="1196" y="0"/>
                      </a:moveTo>
                      <a:lnTo>
                        <a:pt x="1495" y="120"/>
                      </a:lnTo>
                      <a:lnTo>
                        <a:pt x="1555" y="239"/>
                      </a:lnTo>
                      <a:lnTo>
                        <a:pt x="1555" y="419"/>
                      </a:lnTo>
                      <a:lnTo>
                        <a:pt x="1555" y="479"/>
                      </a:lnTo>
                      <a:lnTo>
                        <a:pt x="1555" y="658"/>
                      </a:lnTo>
                      <a:lnTo>
                        <a:pt x="1495" y="897"/>
                      </a:lnTo>
                      <a:lnTo>
                        <a:pt x="1375" y="1196"/>
                      </a:lnTo>
                      <a:lnTo>
                        <a:pt x="1256" y="1495"/>
                      </a:lnTo>
                      <a:lnTo>
                        <a:pt x="1076" y="1794"/>
                      </a:lnTo>
                      <a:lnTo>
                        <a:pt x="957" y="1914"/>
                      </a:lnTo>
                      <a:lnTo>
                        <a:pt x="897" y="2033"/>
                      </a:lnTo>
                      <a:lnTo>
                        <a:pt x="718" y="2213"/>
                      </a:lnTo>
                      <a:lnTo>
                        <a:pt x="538" y="2333"/>
                      </a:lnTo>
                      <a:lnTo>
                        <a:pt x="479" y="2333"/>
                      </a:lnTo>
                      <a:lnTo>
                        <a:pt x="419" y="2392"/>
                      </a:lnTo>
                      <a:lnTo>
                        <a:pt x="299" y="2392"/>
                      </a:lnTo>
                      <a:lnTo>
                        <a:pt x="0" y="2273"/>
                      </a:lnTo>
                    </a:path>
                  </a:pathLst>
                </a:custGeom>
                <a:noFill/>
                <a:ln w="6350" cap="flat">
                  <a:solidFill>
                    <a:schemeClr val="bg1">
                      <a:alpha val="80000"/>
                    </a:schemeClr>
                  </a:solidFill>
                  <a:prstDash val="solid"/>
                  <a:miter/>
                </a:ln>
              </p:spPr>
              <p:txBody>
                <a:bodyPr rtlCol="0" anchor="ctr"/>
                <a:lstStyle/>
                <a:p>
                  <a:endParaRPr lang="en-GB"/>
                </a:p>
              </p:txBody>
            </p:sp>
            <p:sp>
              <p:nvSpPr>
                <p:cNvPr id="7589" name="Vrije vorm: vorm 7588">
                  <a:extLst>
                    <a:ext uri="{FF2B5EF4-FFF2-40B4-BE49-F238E27FC236}">
                      <a16:creationId xmlns:a16="http://schemas.microsoft.com/office/drawing/2014/main" id="{0FAE1488-55F3-451C-B727-8CB1721D10E1}"/>
                    </a:ext>
                  </a:extLst>
                </p:cNvPr>
                <p:cNvSpPr/>
                <p:nvPr/>
              </p:nvSpPr>
              <p:spPr>
                <a:xfrm>
                  <a:off x="5859751" y="5231676"/>
                  <a:ext cx="1315" cy="2392"/>
                </a:xfrm>
                <a:custGeom>
                  <a:avLst/>
                  <a:gdLst>
                    <a:gd name="connsiteX0" fmla="*/ 1196 w 1315"/>
                    <a:gd name="connsiteY0" fmla="*/ 120 h 2392"/>
                    <a:gd name="connsiteX1" fmla="*/ 1076 w 1315"/>
                    <a:gd name="connsiteY1" fmla="*/ 120 h 2392"/>
                    <a:gd name="connsiteX2" fmla="*/ 957 w 1315"/>
                    <a:gd name="connsiteY2" fmla="*/ 180 h 2392"/>
                    <a:gd name="connsiteX3" fmla="*/ 778 w 1315"/>
                    <a:gd name="connsiteY3" fmla="*/ 299 h 2392"/>
                    <a:gd name="connsiteX4" fmla="*/ 598 w 1315"/>
                    <a:gd name="connsiteY4" fmla="*/ 479 h 2392"/>
                    <a:gd name="connsiteX5" fmla="*/ 538 w 1315"/>
                    <a:gd name="connsiteY5" fmla="*/ 598 h 2392"/>
                    <a:gd name="connsiteX6" fmla="*/ 419 w 1315"/>
                    <a:gd name="connsiteY6" fmla="*/ 718 h 2392"/>
                    <a:gd name="connsiteX7" fmla="*/ 239 w 1315"/>
                    <a:gd name="connsiteY7" fmla="*/ 1017 h 2392"/>
                    <a:gd name="connsiteX8" fmla="*/ 120 w 1315"/>
                    <a:gd name="connsiteY8" fmla="*/ 1316 h 2392"/>
                    <a:gd name="connsiteX9" fmla="*/ 60 w 1315"/>
                    <a:gd name="connsiteY9" fmla="*/ 1555 h 2392"/>
                    <a:gd name="connsiteX10" fmla="*/ 60 w 1315"/>
                    <a:gd name="connsiteY10" fmla="*/ 1615 h 2392"/>
                    <a:gd name="connsiteX11" fmla="*/ 0 w 1315"/>
                    <a:gd name="connsiteY11" fmla="*/ 1854 h 2392"/>
                    <a:gd name="connsiteX12" fmla="*/ 0 w 1315"/>
                    <a:gd name="connsiteY12" fmla="*/ 2093 h 2392"/>
                    <a:gd name="connsiteX13" fmla="*/ 0 w 1315"/>
                    <a:gd name="connsiteY13" fmla="*/ 2153 h 2392"/>
                    <a:gd name="connsiteX14" fmla="*/ 0 w 1315"/>
                    <a:gd name="connsiteY14" fmla="*/ 2273 h 2392"/>
                    <a:gd name="connsiteX15" fmla="*/ 60 w 1315"/>
                    <a:gd name="connsiteY15" fmla="*/ 2392 h 2392"/>
                    <a:gd name="connsiteX16" fmla="*/ 179 w 1315"/>
                    <a:gd name="connsiteY16" fmla="*/ 2392 h 2392"/>
                    <a:gd name="connsiteX17" fmla="*/ 299 w 1315"/>
                    <a:gd name="connsiteY17" fmla="*/ 2333 h 2392"/>
                    <a:gd name="connsiteX18" fmla="*/ 479 w 1315"/>
                    <a:gd name="connsiteY18" fmla="*/ 2213 h 2392"/>
                    <a:gd name="connsiteX19" fmla="*/ 658 w 1315"/>
                    <a:gd name="connsiteY19" fmla="*/ 2034 h 2392"/>
                    <a:gd name="connsiteX20" fmla="*/ 837 w 1315"/>
                    <a:gd name="connsiteY20" fmla="*/ 1794 h 2392"/>
                    <a:gd name="connsiteX21" fmla="*/ 1017 w 1315"/>
                    <a:gd name="connsiteY21" fmla="*/ 1495 h 2392"/>
                    <a:gd name="connsiteX22" fmla="*/ 1136 w 1315"/>
                    <a:gd name="connsiteY22" fmla="*/ 1196 h 2392"/>
                    <a:gd name="connsiteX23" fmla="*/ 1256 w 1315"/>
                    <a:gd name="connsiteY23" fmla="*/ 897 h 2392"/>
                    <a:gd name="connsiteX24" fmla="*/ 1316 w 1315"/>
                    <a:gd name="connsiteY24" fmla="*/ 658 h 2392"/>
                    <a:gd name="connsiteX25" fmla="*/ 1316 w 1315"/>
                    <a:gd name="connsiteY25" fmla="*/ 419 h 2392"/>
                    <a:gd name="connsiteX26" fmla="*/ 1316 w 1315"/>
                    <a:gd name="connsiteY26" fmla="*/ 239 h 2392"/>
                    <a:gd name="connsiteX27" fmla="*/ 1196 w 1315"/>
                    <a:gd name="connsiteY27" fmla="*/ 120 h 2392"/>
                    <a:gd name="connsiteX28" fmla="*/ 897 w 1315"/>
                    <a:gd name="connsiteY28" fmla="*/ 0 h 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15" h="2392">
                      <a:moveTo>
                        <a:pt x="1196" y="120"/>
                      </a:moveTo>
                      <a:lnTo>
                        <a:pt x="1076" y="120"/>
                      </a:lnTo>
                      <a:lnTo>
                        <a:pt x="957" y="180"/>
                      </a:lnTo>
                      <a:lnTo>
                        <a:pt x="778" y="299"/>
                      </a:lnTo>
                      <a:lnTo>
                        <a:pt x="598" y="479"/>
                      </a:lnTo>
                      <a:lnTo>
                        <a:pt x="538" y="598"/>
                      </a:lnTo>
                      <a:lnTo>
                        <a:pt x="419" y="718"/>
                      </a:lnTo>
                      <a:lnTo>
                        <a:pt x="239" y="1017"/>
                      </a:lnTo>
                      <a:lnTo>
                        <a:pt x="120" y="1316"/>
                      </a:lnTo>
                      <a:lnTo>
                        <a:pt x="60" y="1555"/>
                      </a:lnTo>
                      <a:lnTo>
                        <a:pt x="60" y="1615"/>
                      </a:lnTo>
                      <a:lnTo>
                        <a:pt x="0" y="1854"/>
                      </a:lnTo>
                      <a:lnTo>
                        <a:pt x="0" y="2093"/>
                      </a:lnTo>
                      <a:lnTo>
                        <a:pt x="0" y="2153"/>
                      </a:lnTo>
                      <a:lnTo>
                        <a:pt x="0" y="2273"/>
                      </a:lnTo>
                      <a:lnTo>
                        <a:pt x="60" y="2392"/>
                      </a:lnTo>
                      <a:lnTo>
                        <a:pt x="179" y="2392"/>
                      </a:lnTo>
                      <a:lnTo>
                        <a:pt x="299" y="2333"/>
                      </a:lnTo>
                      <a:lnTo>
                        <a:pt x="479" y="2213"/>
                      </a:lnTo>
                      <a:lnTo>
                        <a:pt x="658" y="2034"/>
                      </a:lnTo>
                      <a:lnTo>
                        <a:pt x="837" y="1794"/>
                      </a:lnTo>
                      <a:lnTo>
                        <a:pt x="1017" y="1495"/>
                      </a:lnTo>
                      <a:lnTo>
                        <a:pt x="1136" y="1196"/>
                      </a:lnTo>
                      <a:lnTo>
                        <a:pt x="1256" y="897"/>
                      </a:lnTo>
                      <a:lnTo>
                        <a:pt x="1316" y="658"/>
                      </a:lnTo>
                      <a:lnTo>
                        <a:pt x="1316" y="419"/>
                      </a:lnTo>
                      <a:lnTo>
                        <a:pt x="1316" y="239"/>
                      </a:lnTo>
                      <a:lnTo>
                        <a:pt x="1196" y="120"/>
                      </a:lnTo>
                      <a:lnTo>
                        <a:pt x="897" y="0"/>
                      </a:lnTo>
                    </a:path>
                  </a:pathLst>
                </a:custGeom>
                <a:noFill/>
                <a:ln w="6350" cap="flat">
                  <a:solidFill>
                    <a:schemeClr val="bg1">
                      <a:alpha val="80000"/>
                    </a:schemeClr>
                  </a:solidFill>
                  <a:prstDash val="solid"/>
                  <a:miter/>
                </a:ln>
              </p:spPr>
              <p:txBody>
                <a:bodyPr rtlCol="0" anchor="ctr"/>
                <a:lstStyle/>
                <a:p>
                  <a:endParaRPr lang="en-GB"/>
                </a:p>
              </p:txBody>
            </p:sp>
            <p:sp>
              <p:nvSpPr>
                <p:cNvPr id="7590" name="Vrije vorm: vorm 7589">
                  <a:extLst>
                    <a:ext uri="{FF2B5EF4-FFF2-40B4-BE49-F238E27FC236}">
                      <a16:creationId xmlns:a16="http://schemas.microsoft.com/office/drawing/2014/main" id="{7A851490-D1AC-4490-903B-2027C21B2B47}"/>
                    </a:ext>
                  </a:extLst>
                </p:cNvPr>
                <p:cNvSpPr/>
                <p:nvPr/>
              </p:nvSpPr>
              <p:spPr>
                <a:xfrm>
                  <a:off x="5859512" y="5232872"/>
                  <a:ext cx="119" cy="837"/>
                </a:xfrm>
                <a:custGeom>
                  <a:avLst/>
                  <a:gdLst>
                    <a:gd name="connsiteX0" fmla="*/ 0 w 119"/>
                    <a:gd name="connsiteY0" fmla="*/ 837 h 837"/>
                    <a:gd name="connsiteX1" fmla="*/ 0 w 119"/>
                    <a:gd name="connsiteY1" fmla="*/ 718 h 837"/>
                    <a:gd name="connsiteX2" fmla="*/ 0 w 119"/>
                    <a:gd name="connsiteY2" fmla="*/ 658 h 837"/>
                    <a:gd name="connsiteX3" fmla="*/ 0 w 119"/>
                    <a:gd name="connsiteY3" fmla="*/ 419 h 837"/>
                    <a:gd name="connsiteX4" fmla="*/ 60 w 119"/>
                    <a:gd name="connsiteY4" fmla="*/ 180 h 837"/>
                    <a:gd name="connsiteX5" fmla="*/ 119 w 119"/>
                    <a:gd name="connsiteY5" fmla="*/ 0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 h="837">
                      <a:moveTo>
                        <a:pt x="0" y="837"/>
                      </a:moveTo>
                      <a:lnTo>
                        <a:pt x="0" y="718"/>
                      </a:lnTo>
                      <a:lnTo>
                        <a:pt x="0" y="658"/>
                      </a:lnTo>
                      <a:lnTo>
                        <a:pt x="0" y="419"/>
                      </a:lnTo>
                      <a:lnTo>
                        <a:pt x="60" y="180"/>
                      </a:lnTo>
                      <a:lnTo>
                        <a:pt x="119" y="0"/>
                      </a:lnTo>
                    </a:path>
                  </a:pathLst>
                </a:custGeom>
                <a:noFill/>
                <a:ln w="6350" cap="flat">
                  <a:solidFill>
                    <a:schemeClr val="bg1">
                      <a:alpha val="80000"/>
                    </a:schemeClr>
                  </a:solidFill>
                  <a:prstDash val="solid"/>
                  <a:miter/>
                </a:ln>
              </p:spPr>
              <p:txBody>
                <a:bodyPr rtlCol="0" anchor="ctr"/>
                <a:lstStyle/>
                <a:p>
                  <a:endParaRPr lang="en-GB"/>
                </a:p>
              </p:txBody>
            </p:sp>
            <p:sp>
              <p:nvSpPr>
                <p:cNvPr id="7591" name="Vrije vorm: vorm 7590">
                  <a:extLst>
                    <a:ext uri="{FF2B5EF4-FFF2-40B4-BE49-F238E27FC236}">
                      <a16:creationId xmlns:a16="http://schemas.microsoft.com/office/drawing/2014/main" id="{04962DC7-D4F4-4B23-9507-426488808089}"/>
                    </a:ext>
                  </a:extLst>
                </p:cNvPr>
                <p:cNvSpPr/>
                <p:nvPr/>
              </p:nvSpPr>
              <p:spPr>
                <a:xfrm>
                  <a:off x="5859572" y="5233829"/>
                  <a:ext cx="299" cy="119"/>
                </a:xfrm>
                <a:custGeom>
                  <a:avLst/>
                  <a:gdLst>
                    <a:gd name="connsiteX0" fmla="*/ 299 w 299"/>
                    <a:gd name="connsiteY0" fmla="*/ 120 h 119"/>
                    <a:gd name="connsiteX1" fmla="*/ 0 w 299"/>
                    <a:gd name="connsiteY1" fmla="*/ 0 h 119"/>
                  </a:gdLst>
                  <a:ahLst/>
                  <a:cxnLst>
                    <a:cxn ang="0">
                      <a:pos x="connsiteX0" y="connsiteY0"/>
                    </a:cxn>
                    <a:cxn ang="0">
                      <a:pos x="connsiteX1" y="connsiteY1"/>
                    </a:cxn>
                  </a:cxnLst>
                  <a:rect l="l" t="t" r="r" b="b"/>
                  <a:pathLst>
                    <a:path w="299" h="119">
                      <a:moveTo>
                        <a:pt x="299" y="12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592" name="Vrije vorm: vorm 7591">
                  <a:extLst>
                    <a:ext uri="{FF2B5EF4-FFF2-40B4-BE49-F238E27FC236}">
                      <a16:creationId xmlns:a16="http://schemas.microsoft.com/office/drawing/2014/main" id="{5A6ACB12-55B7-4625-961D-FB614B70D9A2}"/>
                    </a:ext>
                  </a:extLst>
                </p:cNvPr>
                <p:cNvSpPr/>
                <p:nvPr/>
              </p:nvSpPr>
              <p:spPr>
                <a:xfrm>
                  <a:off x="5860230" y="5231676"/>
                  <a:ext cx="418" cy="179"/>
                </a:xfrm>
                <a:custGeom>
                  <a:avLst/>
                  <a:gdLst>
                    <a:gd name="connsiteX0" fmla="*/ 0 w 418"/>
                    <a:gd name="connsiteY0" fmla="*/ 180 h 179"/>
                    <a:gd name="connsiteX1" fmla="*/ 179 w 418"/>
                    <a:gd name="connsiteY1" fmla="*/ 60 h 179"/>
                    <a:gd name="connsiteX2" fmla="*/ 179 w 418"/>
                    <a:gd name="connsiteY2" fmla="*/ 60 h 179"/>
                    <a:gd name="connsiteX3" fmla="*/ 299 w 418"/>
                    <a:gd name="connsiteY3" fmla="*/ 0 h 179"/>
                    <a:gd name="connsiteX4" fmla="*/ 418 w 418"/>
                    <a:gd name="connsiteY4" fmla="*/ 0 h 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 h="179">
                      <a:moveTo>
                        <a:pt x="0" y="180"/>
                      </a:moveTo>
                      <a:lnTo>
                        <a:pt x="179" y="60"/>
                      </a:lnTo>
                      <a:lnTo>
                        <a:pt x="179" y="60"/>
                      </a:lnTo>
                      <a:lnTo>
                        <a:pt x="299" y="0"/>
                      </a:lnTo>
                      <a:lnTo>
                        <a:pt x="418" y="0"/>
                      </a:lnTo>
                    </a:path>
                  </a:pathLst>
                </a:custGeom>
                <a:noFill/>
                <a:ln w="6350" cap="flat">
                  <a:solidFill>
                    <a:schemeClr val="bg1">
                      <a:alpha val="80000"/>
                    </a:schemeClr>
                  </a:solidFill>
                  <a:prstDash val="solid"/>
                  <a:miter/>
                </a:ln>
              </p:spPr>
              <p:txBody>
                <a:bodyPr rtlCol="0" anchor="ctr"/>
                <a:lstStyle/>
                <a:p>
                  <a:endParaRPr lang="en-GB"/>
                </a:p>
              </p:txBody>
            </p:sp>
            <p:sp>
              <p:nvSpPr>
                <p:cNvPr id="7593" name="Vrije vorm: vorm 7592">
                  <a:extLst>
                    <a:ext uri="{FF2B5EF4-FFF2-40B4-BE49-F238E27FC236}">
                      <a16:creationId xmlns:a16="http://schemas.microsoft.com/office/drawing/2014/main" id="{61D93006-04E1-4145-A8E4-FE4CBE6EC34F}"/>
                    </a:ext>
                  </a:extLst>
                </p:cNvPr>
                <p:cNvSpPr/>
                <p:nvPr/>
              </p:nvSpPr>
              <p:spPr>
                <a:xfrm>
                  <a:off x="5861486" y="5228746"/>
                  <a:ext cx="657" cy="478"/>
                </a:xfrm>
                <a:custGeom>
                  <a:avLst/>
                  <a:gdLst>
                    <a:gd name="connsiteX0" fmla="*/ 0 w 657"/>
                    <a:gd name="connsiteY0" fmla="*/ 479 h 478"/>
                    <a:gd name="connsiteX1" fmla="*/ 60 w 657"/>
                    <a:gd name="connsiteY1" fmla="*/ 359 h 478"/>
                    <a:gd name="connsiteX2" fmla="*/ 239 w 657"/>
                    <a:gd name="connsiteY2" fmla="*/ 180 h 478"/>
                    <a:gd name="connsiteX3" fmla="*/ 419 w 657"/>
                    <a:gd name="connsiteY3" fmla="*/ 60 h 478"/>
                    <a:gd name="connsiteX4" fmla="*/ 419 w 657"/>
                    <a:gd name="connsiteY4" fmla="*/ 60 h 478"/>
                    <a:gd name="connsiteX5" fmla="*/ 538 w 657"/>
                    <a:gd name="connsiteY5" fmla="*/ 0 h 478"/>
                    <a:gd name="connsiteX6" fmla="*/ 658 w 657"/>
                    <a:gd name="connsiteY6" fmla="*/ 0 h 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 h="478">
                      <a:moveTo>
                        <a:pt x="0" y="479"/>
                      </a:moveTo>
                      <a:lnTo>
                        <a:pt x="60" y="359"/>
                      </a:lnTo>
                      <a:lnTo>
                        <a:pt x="239" y="180"/>
                      </a:lnTo>
                      <a:lnTo>
                        <a:pt x="419" y="60"/>
                      </a:lnTo>
                      <a:lnTo>
                        <a:pt x="419" y="60"/>
                      </a:lnTo>
                      <a:lnTo>
                        <a:pt x="538" y="0"/>
                      </a:lnTo>
                      <a:lnTo>
                        <a:pt x="658" y="0"/>
                      </a:lnTo>
                    </a:path>
                  </a:pathLst>
                </a:custGeom>
                <a:noFill/>
                <a:ln w="6350" cap="flat">
                  <a:solidFill>
                    <a:schemeClr val="bg1">
                      <a:alpha val="80000"/>
                    </a:schemeClr>
                  </a:solidFill>
                  <a:prstDash val="solid"/>
                  <a:miter/>
                </a:ln>
              </p:spPr>
              <p:txBody>
                <a:bodyPr rtlCol="0" anchor="ctr"/>
                <a:lstStyle/>
                <a:p>
                  <a:endParaRPr lang="en-GB"/>
                </a:p>
              </p:txBody>
            </p:sp>
            <p:sp>
              <p:nvSpPr>
                <p:cNvPr id="7594" name="Vrije vorm: vorm 7593">
                  <a:extLst>
                    <a:ext uri="{FF2B5EF4-FFF2-40B4-BE49-F238E27FC236}">
                      <a16:creationId xmlns:a16="http://schemas.microsoft.com/office/drawing/2014/main" id="{BE548F8F-FE32-4C1A-BBC2-4D66A486E1F4}"/>
                    </a:ext>
                  </a:extLst>
                </p:cNvPr>
                <p:cNvSpPr/>
                <p:nvPr/>
              </p:nvSpPr>
              <p:spPr>
                <a:xfrm>
                  <a:off x="5861307" y="5228805"/>
                  <a:ext cx="1315" cy="2332"/>
                </a:xfrm>
                <a:custGeom>
                  <a:avLst/>
                  <a:gdLst>
                    <a:gd name="connsiteX0" fmla="*/ 1136 w 1315"/>
                    <a:gd name="connsiteY0" fmla="*/ 120 h 2332"/>
                    <a:gd name="connsiteX1" fmla="*/ 1017 w 1315"/>
                    <a:gd name="connsiteY1" fmla="*/ 120 h 2332"/>
                    <a:gd name="connsiteX2" fmla="*/ 897 w 1315"/>
                    <a:gd name="connsiteY2" fmla="*/ 179 h 2332"/>
                    <a:gd name="connsiteX3" fmla="*/ 897 w 1315"/>
                    <a:gd name="connsiteY3" fmla="*/ 179 h 2332"/>
                    <a:gd name="connsiteX4" fmla="*/ 718 w 1315"/>
                    <a:gd name="connsiteY4" fmla="*/ 299 h 2332"/>
                    <a:gd name="connsiteX5" fmla="*/ 538 w 1315"/>
                    <a:gd name="connsiteY5" fmla="*/ 479 h 2332"/>
                    <a:gd name="connsiteX6" fmla="*/ 478 w 1315"/>
                    <a:gd name="connsiteY6" fmla="*/ 598 h 2332"/>
                    <a:gd name="connsiteX7" fmla="*/ 419 w 1315"/>
                    <a:gd name="connsiteY7" fmla="*/ 718 h 2332"/>
                    <a:gd name="connsiteX8" fmla="*/ 239 w 1315"/>
                    <a:gd name="connsiteY8" fmla="*/ 1017 h 2332"/>
                    <a:gd name="connsiteX9" fmla="*/ 119 w 1315"/>
                    <a:gd name="connsiteY9" fmla="*/ 1316 h 2332"/>
                    <a:gd name="connsiteX10" fmla="*/ 60 w 1315"/>
                    <a:gd name="connsiteY10" fmla="*/ 1555 h 2332"/>
                    <a:gd name="connsiteX11" fmla="*/ 60 w 1315"/>
                    <a:gd name="connsiteY11" fmla="*/ 1555 h 2332"/>
                    <a:gd name="connsiteX12" fmla="*/ 0 w 1315"/>
                    <a:gd name="connsiteY12" fmla="*/ 1794 h 2332"/>
                    <a:gd name="connsiteX13" fmla="*/ 0 w 1315"/>
                    <a:gd name="connsiteY13" fmla="*/ 2033 h 2332"/>
                    <a:gd name="connsiteX14" fmla="*/ 0 w 1315"/>
                    <a:gd name="connsiteY14" fmla="*/ 2213 h 2332"/>
                    <a:gd name="connsiteX15" fmla="*/ 60 w 1315"/>
                    <a:gd name="connsiteY15" fmla="*/ 2333 h 2332"/>
                    <a:gd name="connsiteX16" fmla="*/ 179 w 1315"/>
                    <a:gd name="connsiteY16" fmla="*/ 2333 h 2332"/>
                    <a:gd name="connsiteX17" fmla="*/ 299 w 1315"/>
                    <a:gd name="connsiteY17" fmla="*/ 2273 h 2332"/>
                    <a:gd name="connsiteX18" fmla="*/ 478 w 1315"/>
                    <a:gd name="connsiteY18" fmla="*/ 2153 h 2332"/>
                    <a:gd name="connsiteX19" fmla="*/ 658 w 1315"/>
                    <a:gd name="connsiteY19" fmla="*/ 1974 h 2332"/>
                    <a:gd name="connsiteX20" fmla="*/ 837 w 1315"/>
                    <a:gd name="connsiteY20" fmla="*/ 1734 h 2332"/>
                    <a:gd name="connsiteX21" fmla="*/ 1017 w 1315"/>
                    <a:gd name="connsiteY21" fmla="*/ 1435 h 2332"/>
                    <a:gd name="connsiteX22" fmla="*/ 1136 w 1315"/>
                    <a:gd name="connsiteY22" fmla="*/ 1136 h 2332"/>
                    <a:gd name="connsiteX23" fmla="*/ 1256 w 1315"/>
                    <a:gd name="connsiteY23" fmla="*/ 837 h 2332"/>
                    <a:gd name="connsiteX24" fmla="*/ 1316 w 1315"/>
                    <a:gd name="connsiteY24" fmla="*/ 598 h 2332"/>
                    <a:gd name="connsiteX25" fmla="*/ 1316 w 1315"/>
                    <a:gd name="connsiteY25" fmla="*/ 598 h 2332"/>
                    <a:gd name="connsiteX26" fmla="*/ 1316 w 1315"/>
                    <a:gd name="connsiteY26" fmla="*/ 538 h 2332"/>
                    <a:gd name="connsiteX27" fmla="*/ 1316 w 1315"/>
                    <a:gd name="connsiteY27" fmla="*/ 359 h 2332"/>
                    <a:gd name="connsiteX28" fmla="*/ 1316 w 1315"/>
                    <a:gd name="connsiteY28" fmla="*/ 179 h 2332"/>
                    <a:gd name="connsiteX29" fmla="*/ 1136 w 1315"/>
                    <a:gd name="connsiteY29" fmla="*/ 120 h 2332"/>
                    <a:gd name="connsiteX30" fmla="*/ 1136 w 1315"/>
                    <a:gd name="connsiteY30" fmla="*/ 120 h 2332"/>
                    <a:gd name="connsiteX31" fmla="*/ 837 w 1315"/>
                    <a:gd name="connsiteY31" fmla="*/ 0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15" h="2332">
                      <a:moveTo>
                        <a:pt x="1136" y="120"/>
                      </a:moveTo>
                      <a:lnTo>
                        <a:pt x="1017" y="120"/>
                      </a:lnTo>
                      <a:lnTo>
                        <a:pt x="897" y="179"/>
                      </a:lnTo>
                      <a:lnTo>
                        <a:pt x="897" y="179"/>
                      </a:lnTo>
                      <a:lnTo>
                        <a:pt x="718" y="299"/>
                      </a:lnTo>
                      <a:lnTo>
                        <a:pt x="538" y="479"/>
                      </a:lnTo>
                      <a:lnTo>
                        <a:pt x="478" y="598"/>
                      </a:lnTo>
                      <a:lnTo>
                        <a:pt x="419" y="718"/>
                      </a:lnTo>
                      <a:lnTo>
                        <a:pt x="239" y="1017"/>
                      </a:lnTo>
                      <a:lnTo>
                        <a:pt x="119" y="1316"/>
                      </a:lnTo>
                      <a:lnTo>
                        <a:pt x="60" y="1555"/>
                      </a:lnTo>
                      <a:lnTo>
                        <a:pt x="60" y="1555"/>
                      </a:lnTo>
                      <a:lnTo>
                        <a:pt x="0" y="1794"/>
                      </a:lnTo>
                      <a:lnTo>
                        <a:pt x="0" y="2033"/>
                      </a:lnTo>
                      <a:lnTo>
                        <a:pt x="0" y="2213"/>
                      </a:lnTo>
                      <a:lnTo>
                        <a:pt x="60" y="2333"/>
                      </a:lnTo>
                      <a:lnTo>
                        <a:pt x="179" y="2333"/>
                      </a:lnTo>
                      <a:lnTo>
                        <a:pt x="299" y="2273"/>
                      </a:lnTo>
                      <a:lnTo>
                        <a:pt x="478" y="2153"/>
                      </a:lnTo>
                      <a:lnTo>
                        <a:pt x="658" y="1974"/>
                      </a:lnTo>
                      <a:lnTo>
                        <a:pt x="837" y="1734"/>
                      </a:lnTo>
                      <a:lnTo>
                        <a:pt x="1017" y="1435"/>
                      </a:lnTo>
                      <a:lnTo>
                        <a:pt x="1136" y="1136"/>
                      </a:lnTo>
                      <a:lnTo>
                        <a:pt x="1256" y="837"/>
                      </a:lnTo>
                      <a:lnTo>
                        <a:pt x="1316" y="598"/>
                      </a:lnTo>
                      <a:lnTo>
                        <a:pt x="1316" y="598"/>
                      </a:lnTo>
                      <a:lnTo>
                        <a:pt x="1316" y="538"/>
                      </a:lnTo>
                      <a:lnTo>
                        <a:pt x="1316" y="359"/>
                      </a:lnTo>
                      <a:lnTo>
                        <a:pt x="1316" y="179"/>
                      </a:lnTo>
                      <a:lnTo>
                        <a:pt x="1136" y="120"/>
                      </a:lnTo>
                      <a:lnTo>
                        <a:pt x="1136" y="120"/>
                      </a:lnTo>
                      <a:lnTo>
                        <a:pt x="837" y="0"/>
                      </a:lnTo>
                    </a:path>
                  </a:pathLst>
                </a:custGeom>
                <a:noFill/>
                <a:ln w="6350" cap="flat">
                  <a:solidFill>
                    <a:schemeClr val="bg1">
                      <a:alpha val="80000"/>
                    </a:schemeClr>
                  </a:solidFill>
                  <a:prstDash val="solid"/>
                  <a:miter/>
                </a:ln>
              </p:spPr>
              <p:txBody>
                <a:bodyPr rtlCol="0" anchor="ctr"/>
                <a:lstStyle/>
                <a:p>
                  <a:endParaRPr lang="en-GB"/>
                </a:p>
              </p:txBody>
            </p:sp>
            <p:sp>
              <p:nvSpPr>
                <p:cNvPr id="7595" name="Vrije vorm: vorm 7594">
                  <a:extLst>
                    <a:ext uri="{FF2B5EF4-FFF2-40B4-BE49-F238E27FC236}">
                      <a16:creationId xmlns:a16="http://schemas.microsoft.com/office/drawing/2014/main" id="{7DD33365-0756-4B24-BEAC-F1F74178FC7F}"/>
                    </a:ext>
                  </a:extLst>
                </p:cNvPr>
                <p:cNvSpPr/>
                <p:nvPr/>
              </p:nvSpPr>
              <p:spPr>
                <a:xfrm>
                  <a:off x="5860948" y="5230360"/>
                  <a:ext cx="59" cy="538"/>
                </a:xfrm>
                <a:custGeom>
                  <a:avLst/>
                  <a:gdLst>
                    <a:gd name="connsiteX0" fmla="*/ 60 w 59"/>
                    <a:gd name="connsiteY0" fmla="*/ 538 h 538"/>
                    <a:gd name="connsiteX1" fmla="*/ 0 w 59"/>
                    <a:gd name="connsiteY1" fmla="*/ 419 h 538"/>
                    <a:gd name="connsiteX2" fmla="*/ 0 w 59"/>
                    <a:gd name="connsiteY2" fmla="*/ 299 h 538"/>
                    <a:gd name="connsiteX3" fmla="*/ 0 w 59"/>
                    <a:gd name="connsiteY3" fmla="*/ 239 h 538"/>
                    <a:gd name="connsiteX4" fmla="*/ 0 w 59"/>
                    <a:gd name="connsiteY4" fmla="*/ 0 h 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 h="538">
                      <a:moveTo>
                        <a:pt x="60" y="538"/>
                      </a:moveTo>
                      <a:lnTo>
                        <a:pt x="0" y="419"/>
                      </a:lnTo>
                      <a:lnTo>
                        <a:pt x="0" y="299"/>
                      </a:lnTo>
                      <a:lnTo>
                        <a:pt x="0" y="23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596" name="Vrije vorm: vorm 7595">
                  <a:extLst>
                    <a:ext uri="{FF2B5EF4-FFF2-40B4-BE49-F238E27FC236}">
                      <a16:creationId xmlns:a16="http://schemas.microsoft.com/office/drawing/2014/main" id="{8A4F5DD9-8FBD-4F11-B122-7D2188648700}"/>
                    </a:ext>
                  </a:extLst>
                </p:cNvPr>
                <p:cNvSpPr/>
                <p:nvPr/>
              </p:nvSpPr>
              <p:spPr>
                <a:xfrm>
                  <a:off x="5861067" y="5230898"/>
                  <a:ext cx="299" cy="119"/>
                </a:xfrm>
                <a:custGeom>
                  <a:avLst/>
                  <a:gdLst>
                    <a:gd name="connsiteX0" fmla="*/ 299 w 299"/>
                    <a:gd name="connsiteY0" fmla="*/ 120 h 119"/>
                    <a:gd name="connsiteX1" fmla="*/ 0 w 299"/>
                    <a:gd name="connsiteY1" fmla="*/ 0 h 119"/>
                  </a:gdLst>
                  <a:ahLst/>
                  <a:cxnLst>
                    <a:cxn ang="0">
                      <a:pos x="connsiteX0" y="connsiteY0"/>
                    </a:cxn>
                    <a:cxn ang="0">
                      <a:pos x="connsiteX1" y="connsiteY1"/>
                    </a:cxn>
                  </a:cxnLst>
                  <a:rect l="l" t="t" r="r" b="b"/>
                  <a:pathLst>
                    <a:path w="299" h="119">
                      <a:moveTo>
                        <a:pt x="299" y="12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597" name="Vrije vorm: vorm 7596">
                  <a:extLst>
                    <a:ext uri="{FF2B5EF4-FFF2-40B4-BE49-F238E27FC236}">
                      <a16:creationId xmlns:a16="http://schemas.microsoft.com/office/drawing/2014/main" id="{FA9F746E-6C46-48DF-9578-C889753C306C}"/>
                    </a:ext>
                  </a:extLst>
                </p:cNvPr>
                <p:cNvSpPr/>
                <p:nvPr/>
              </p:nvSpPr>
              <p:spPr>
                <a:xfrm>
                  <a:off x="5857957" y="5232573"/>
                  <a:ext cx="777" cy="1136"/>
                </a:xfrm>
                <a:custGeom>
                  <a:avLst/>
                  <a:gdLst>
                    <a:gd name="connsiteX0" fmla="*/ 419 w 777"/>
                    <a:gd name="connsiteY0" fmla="*/ 0 h 1136"/>
                    <a:gd name="connsiteX1" fmla="*/ 598 w 777"/>
                    <a:gd name="connsiteY1" fmla="*/ 120 h 1136"/>
                    <a:gd name="connsiteX2" fmla="*/ 718 w 777"/>
                    <a:gd name="connsiteY2" fmla="*/ 179 h 1136"/>
                    <a:gd name="connsiteX3" fmla="*/ 778 w 777"/>
                    <a:gd name="connsiteY3" fmla="*/ 239 h 1136"/>
                    <a:gd name="connsiteX4" fmla="*/ 778 w 777"/>
                    <a:gd name="connsiteY4" fmla="*/ 299 h 1136"/>
                    <a:gd name="connsiteX5" fmla="*/ 778 w 777"/>
                    <a:gd name="connsiteY5" fmla="*/ 419 h 1136"/>
                    <a:gd name="connsiteX6" fmla="*/ 778 w 777"/>
                    <a:gd name="connsiteY6" fmla="*/ 419 h 1136"/>
                    <a:gd name="connsiteX7" fmla="*/ 778 w 777"/>
                    <a:gd name="connsiteY7" fmla="*/ 538 h 1136"/>
                    <a:gd name="connsiteX8" fmla="*/ 718 w 777"/>
                    <a:gd name="connsiteY8" fmla="*/ 658 h 1136"/>
                    <a:gd name="connsiteX9" fmla="*/ 658 w 777"/>
                    <a:gd name="connsiteY9" fmla="*/ 718 h 1136"/>
                    <a:gd name="connsiteX10" fmla="*/ 658 w 777"/>
                    <a:gd name="connsiteY10" fmla="*/ 718 h 1136"/>
                    <a:gd name="connsiteX11" fmla="*/ 658 w 777"/>
                    <a:gd name="connsiteY11" fmla="*/ 778 h 1136"/>
                    <a:gd name="connsiteX12" fmla="*/ 598 w 777"/>
                    <a:gd name="connsiteY12" fmla="*/ 897 h 1136"/>
                    <a:gd name="connsiteX13" fmla="*/ 538 w 777"/>
                    <a:gd name="connsiteY13" fmla="*/ 1017 h 1136"/>
                    <a:gd name="connsiteX14" fmla="*/ 478 w 777"/>
                    <a:gd name="connsiteY14" fmla="*/ 1076 h 1136"/>
                    <a:gd name="connsiteX15" fmla="*/ 419 w 777"/>
                    <a:gd name="connsiteY15" fmla="*/ 1136 h 1136"/>
                    <a:gd name="connsiteX16" fmla="*/ 359 w 777"/>
                    <a:gd name="connsiteY16" fmla="*/ 1136 h 1136"/>
                    <a:gd name="connsiteX17" fmla="*/ 299 w 777"/>
                    <a:gd name="connsiteY17" fmla="*/ 1136 h 1136"/>
                    <a:gd name="connsiteX18" fmla="*/ 0 w 777"/>
                    <a:gd name="connsiteY18" fmla="*/ 1017 h 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7" h="1136">
                      <a:moveTo>
                        <a:pt x="419" y="0"/>
                      </a:moveTo>
                      <a:lnTo>
                        <a:pt x="598" y="120"/>
                      </a:lnTo>
                      <a:lnTo>
                        <a:pt x="718" y="179"/>
                      </a:lnTo>
                      <a:lnTo>
                        <a:pt x="778" y="239"/>
                      </a:lnTo>
                      <a:lnTo>
                        <a:pt x="778" y="299"/>
                      </a:lnTo>
                      <a:lnTo>
                        <a:pt x="778" y="419"/>
                      </a:lnTo>
                      <a:lnTo>
                        <a:pt x="778" y="419"/>
                      </a:lnTo>
                      <a:lnTo>
                        <a:pt x="778" y="538"/>
                      </a:lnTo>
                      <a:lnTo>
                        <a:pt x="718" y="658"/>
                      </a:lnTo>
                      <a:lnTo>
                        <a:pt x="658" y="718"/>
                      </a:lnTo>
                      <a:lnTo>
                        <a:pt x="658" y="718"/>
                      </a:lnTo>
                      <a:lnTo>
                        <a:pt x="658" y="778"/>
                      </a:lnTo>
                      <a:lnTo>
                        <a:pt x="598" y="897"/>
                      </a:lnTo>
                      <a:lnTo>
                        <a:pt x="538" y="1017"/>
                      </a:lnTo>
                      <a:lnTo>
                        <a:pt x="478" y="1076"/>
                      </a:lnTo>
                      <a:lnTo>
                        <a:pt x="419" y="1136"/>
                      </a:lnTo>
                      <a:lnTo>
                        <a:pt x="359" y="1136"/>
                      </a:lnTo>
                      <a:lnTo>
                        <a:pt x="299" y="1136"/>
                      </a:lnTo>
                      <a:lnTo>
                        <a:pt x="0" y="1017"/>
                      </a:lnTo>
                    </a:path>
                  </a:pathLst>
                </a:custGeom>
                <a:noFill/>
                <a:ln w="6350" cap="flat">
                  <a:solidFill>
                    <a:schemeClr val="bg1">
                      <a:alpha val="80000"/>
                    </a:schemeClr>
                  </a:solidFill>
                  <a:prstDash val="solid"/>
                  <a:miter/>
                </a:ln>
              </p:spPr>
              <p:txBody>
                <a:bodyPr rtlCol="0" anchor="ctr"/>
                <a:lstStyle/>
                <a:p>
                  <a:endParaRPr lang="en-GB"/>
                </a:p>
              </p:txBody>
            </p:sp>
            <p:sp>
              <p:nvSpPr>
                <p:cNvPr id="7598" name="Vrije vorm: vorm 7597">
                  <a:extLst>
                    <a:ext uri="{FF2B5EF4-FFF2-40B4-BE49-F238E27FC236}">
                      <a16:creationId xmlns:a16="http://schemas.microsoft.com/office/drawing/2014/main" id="{386B7A0F-E08B-4EC4-8867-DF1198C857F4}"/>
                    </a:ext>
                  </a:extLst>
                </p:cNvPr>
                <p:cNvSpPr/>
                <p:nvPr/>
              </p:nvSpPr>
              <p:spPr>
                <a:xfrm>
                  <a:off x="5862622" y="5228327"/>
                  <a:ext cx="717" cy="1076"/>
                </a:xfrm>
                <a:custGeom>
                  <a:avLst/>
                  <a:gdLst>
                    <a:gd name="connsiteX0" fmla="*/ 299 w 717"/>
                    <a:gd name="connsiteY0" fmla="*/ 0 h 1076"/>
                    <a:gd name="connsiteX1" fmla="*/ 479 w 717"/>
                    <a:gd name="connsiteY1" fmla="*/ 60 h 1076"/>
                    <a:gd name="connsiteX2" fmla="*/ 479 w 717"/>
                    <a:gd name="connsiteY2" fmla="*/ 60 h 1076"/>
                    <a:gd name="connsiteX3" fmla="*/ 658 w 717"/>
                    <a:gd name="connsiteY3" fmla="*/ 120 h 1076"/>
                    <a:gd name="connsiteX4" fmla="*/ 718 w 717"/>
                    <a:gd name="connsiteY4" fmla="*/ 180 h 1076"/>
                    <a:gd name="connsiteX5" fmla="*/ 718 w 717"/>
                    <a:gd name="connsiteY5" fmla="*/ 239 h 1076"/>
                    <a:gd name="connsiteX6" fmla="*/ 718 w 717"/>
                    <a:gd name="connsiteY6" fmla="*/ 359 h 1076"/>
                    <a:gd name="connsiteX7" fmla="*/ 718 w 717"/>
                    <a:gd name="connsiteY7" fmla="*/ 479 h 1076"/>
                    <a:gd name="connsiteX8" fmla="*/ 658 w 717"/>
                    <a:gd name="connsiteY8" fmla="*/ 598 h 1076"/>
                    <a:gd name="connsiteX9" fmla="*/ 598 w 717"/>
                    <a:gd name="connsiteY9" fmla="*/ 718 h 1076"/>
                    <a:gd name="connsiteX10" fmla="*/ 538 w 717"/>
                    <a:gd name="connsiteY10" fmla="*/ 837 h 1076"/>
                    <a:gd name="connsiteX11" fmla="*/ 479 w 717"/>
                    <a:gd name="connsiteY11" fmla="*/ 957 h 1076"/>
                    <a:gd name="connsiteX12" fmla="*/ 419 w 717"/>
                    <a:gd name="connsiteY12" fmla="*/ 1017 h 1076"/>
                    <a:gd name="connsiteX13" fmla="*/ 359 w 717"/>
                    <a:gd name="connsiteY13" fmla="*/ 1076 h 1076"/>
                    <a:gd name="connsiteX14" fmla="*/ 299 w 717"/>
                    <a:gd name="connsiteY14" fmla="*/ 1076 h 1076"/>
                    <a:gd name="connsiteX15" fmla="*/ 299 w 717"/>
                    <a:gd name="connsiteY15" fmla="*/ 1076 h 1076"/>
                    <a:gd name="connsiteX16" fmla="*/ 299 w 717"/>
                    <a:gd name="connsiteY16" fmla="*/ 1076 h 1076"/>
                    <a:gd name="connsiteX17" fmla="*/ 239 w 717"/>
                    <a:gd name="connsiteY17" fmla="*/ 1076 h 1076"/>
                    <a:gd name="connsiteX18" fmla="*/ 0 w 717"/>
                    <a:gd name="connsiteY18" fmla="*/ 957 h 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17" h="1076">
                      <a:moveTo>
                        <a:pt x="299" y="0"/>
                      </a:moveTo>
                      <a:lnTo>
                        <a:pt x="479" y="60"/>
                      </a:lnTo>
                      <a:lnTo>
                        <a:pt x="479" y="60"/>
                      </a:lnTo>
                      <a:lnTo>
                        <a:pt x="658" y="120"/>
                      </a:lnTo>
                      <a:lnTo>
                        <a:pt x="718" y="180"/>
                      </a:lnTo>
                      <a:lnTo>
                        <a:pt x="718" y="239"/>
                      </a:lnTo>
                      <a:lnTo>
                        <a:pt x="718" y="359"/>
                      </a:lnTo>
                      <a:lnTo>
                        <a:pt x="718" y="479"/>
                      </a:lnTo>
                      <a:lnTo>
                        <a:pt x="658" y="598"/>
                      </a:lnTo>
                      <a:lnTo>
                        <a:pt x="598" y="718"/>
                      </a:lnTo>
                      <a:lnTo>
                        <a:pt x="538" y="837"/>
                      </a:lnTo>
                      <a:lnTo>
                        <a:pt x="479" y="957"/>
                      </a:lnTo>
                      <a:lnTo>
                        <a:pt x="419" y="1017"/>
                      </a:lnTo>
                      <a:lnTo>
                        <a:pt x="359" y="1076"/>
                      </a:lnTo>
                      <a:lnTo>
                        <a:pt x="299" y="1076"/>
                      </a:lnTo>
                      <a:lnTo>
                        <a:pt x="299" y="1076"/>
                      </a:lnTo>
                      <a:lnTo>
                        <a:pt x="299" y="1076"/>
                      </a:lnTo>
                      <a:lnTo>
                        <a:pt x="239" y="1076"/>
                      </a:lnTo>
                      <a:lnTo>
                        <a:pt x="0" y="957"/>
                      </a:lnTo>
                    </a:path>
                  </a:pathLst>
                </a:custGeom>
                <a:noFill/>
                <a:ln w="6350" cap="flat">
                  <a:solidFill>
                    <a:schemeClr val="bg1">
                      <a:alpha val="80000"/>
                    </a:schemeClr>
                  </a:solidFill>
                  <a:prstDash val="solid"/>
                  <a:miter/>
                </a:ln>
              </p:spPr>
              <p:txBody>
                <a:bodyPr rtlCol="0" anchor="ctr"/>
                <a:lstStyle/>
                <a:p>
                  <a:endParaRPr lang="en-GB"/>
                </a:p>
              </p:txBody>
            </p:sp>
            <p:sp>
              <p:nvSpPr>
                <p:cNvPr id="7599" name="Vrije vorm: vorm 7598">
                  <a:extLst>
                    <a:ext uri="{FF2B5EF4-FFF2-40B4-BE49-F238E27FC236}">
                      <a16:creationId xmlns:a16="http://schemas.microsoft.com/office/drawing/2014/main" id="{5CE19625-E35C-4E5F-85FC-96D7F5841EAB}"/>
                    </a:ext>
                  </a:extLst>
                </p:cNvPr>
                <p:cNvSpPr/>
                <p:nvPr/>
              </p:nvSpPr>
              <p:spPr>
                <a:xfrm>
                  <a:off x="5857240" y="5225576"/>
                  <a:ext cx="6339" cy="11004"/>
                </a:xfrm>
                <a:custGeom>
                  <a:avLst/>
                  <a:gdLst>
                    <a:gd name="connsiteX0" fmla="*/ 5681 w 6339"/>
                    <a:gd name="connsiteY0" fmla="*/ 119 h 11004"/>
                    <a:gd name="connsiteX1" fmla="*/ 5562 w 6339"/>
                    <a:gd name="connsiteY1" fmla="*/ 119 h 11004"/>
                    <a:gd name="connsiteX2" fmla="*/ 5562 w 6339"/>
                    <a:gd name="connsiteY2" fmla="*/ 119 h 11004"/>
                    <a:gd name="connsiteX3" fmla="*/ 5083 w 6339"/>
                    <a:gd name="connsiteY3" fmla="*/ 179 h 11004"/>
                    <a:gd name="connsiteX4" fmla="*/ 4366 w 6339"/>
                    <a:gd name="connsiteY4" fmla="*/ 598 h 11004"/>
                    <a:gd name="connsiteX5" fmla="*/ 3588 w 6339"/>
                    <a:gd name="connsiteY5" fmla="*/ 1375 h 11004"/>
                    <a:gd name="connsiteX6" fmla="*/ 2751 w 6339"/>
                    <a:gd name="connsiteY6" fmla="*/ 2452 h 11004"/>
                    <a:gd name="connsiteX7" fmla="*/ 1973 w 6339"/>
                    <a:gd name="connsiteY7" fmla="*/ 3708 h 11004"/>
                    <a:gd name="connsiteX8" fmla="*/ 1256 w 6339"/>
                    <a:gd name="connsiteY8" fmla="*/ 5083 h 11004"/>
                    <a:gd name="connsiteX9" fmla="*/ 658 w 6339"/>
                    <a:gd name="connsiteY9" fmla="*/ 6519 h 11004"/>
                    <a:gd name="connsiteX10" fmla="*/ 239 w 6339"/>
                    <a:gd name="connsiteY10" fmla="*/ 7894 h 11004"/>
                    <a:gd name="connsiteX11" fmla="*/ 0 w 6339"/>
                    <a:gd name="connsiteY11" fmla="*/ 9090 h 11004"/>
                    <a:gd name="connsiteX12" fmla="*/ 0 w 6339"/>
                    <a:gd name="connsiteY12" fmla="*/ 10048 h 11004"/>
                    <a:gd name="connsiteX13" fmla="*/ 239 w 6339"/>
                    <a:gd name="connsiteY13" fmla="*/ 10705 h 11004"/>
                    <a:gd name="connsiteX14" fmla="*/ 418 w 6339"/>
                    <a:gd name="connsiteY14" fmla="*/ 10825 h 11004"/>
                    <a:gd name="connsiteX15" fmla="*/ 418 w 6339"/>
                    <a:gd name="connsiteY15" fmla="*/ 10825 h 11004"/>
                    <a:gd name="connsiteX16" fmla="*/ 658 w 6339"/>
                    <a:gd name="connsiteY16" fmla="*/ 11004 h 11004"/>
                    <a:gd name="connsiteX17" fmla="*/ 1256 w 6339"/>
                    <a:gd name="connsiteY17" fmla="*/ 10944 h 11004"/>
                    <a:gd name="connsiteX18" fmla="*/ 1973 w 6339"/>
                    <a:gd name="connsiteY18" fmla="*/ 10526 h 11004"/>
                    <a:gd name="connsiteX19" fmla="*/ 2751 w 6339"/>
                    <a:gd name="connsiteY19" fmla="*/ 9748 h 11004"/>
                    <a:gd name="connsiteX20" fmla="*/ 3588 w 6339"/>
                    <a:gd name="connsiteY20" fmla="*/ 8732 h 11004"/>
                    <a:gd name="connsiteX21" fmla="*/ 4366 w 6339"/>
                    <a:gd name="connsiteY21" fmla="*/ 7476 h 11004"/>
                    <a:gd name="connsiteX22" fmla="*/ 5083 w 6339"/>
                    <a:gd name="connsiteY22" fmla="*/ 6100 h 11004"/>
                    <a:gd name="connsiteX23" fmla="*/ 5681 w 6339"/>
                    <a:gd name="connsiteY23" fmla="*/ 4665 h 11004"/>
                    <a:gd name="connsiteX24" fmla="*/ 6100 w 6339"/>
                    <a:gd name="connsiteY24" fmla="*/ 3289 h 11004"/>
                    <a:gd name="connsiteX25" fmla="*/ 6340 w 6339"/>
                    <a:gd name="connsiteY25" fmla="*/ 2093 h 11004"/>
                    <a:gd name="connsiteX26" fmla="*/ 6340 w 6339"/>
                    <a:gd name="connsiteY26" fmla="*/ 1136 h 11004"/>
                    <a:gd name="connsiteX27" fmla="*/ 6160 w 6339"/>
                    <a:gd name="connsiteY27" fmla="*/ 478 h 11004"/>
                    <a:gd name="connsiteX28" fmla="*/ 6100 w 6339"/>
                    <a:gd name="connsiteY28" fmla="*/ 478 h 11004"/>
                    <a:gd name="connsiteX29" fmla="*/ 6040 w 6339"/>
                    <a:gd name="connsiteY29" fmla="*/ 418 h 11004"/>
                    <a:gd name="connsiteX30" fmla="*/ 5681 w 6339"/>
                    <a:gd name="connsiteY30" fmla="*/ 119 h 11004"/>
                    <a:gd name="connsiteX31" fmla="*/ 5382 w 6339"/>
                    <a:gd name="connsiteY31" fmla="*/ 0 h 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39" h="11004">
                      <a:moveTo>
                        <a:pt x="5681" y="119"/>
                      </a:moveTo>
                      <a:lnTo>
                        <a:pt x="5562" y="119"/>
                      </a:lnTo>
                      <a:lnTo>
                        <a:pt x="5562" y="119"/>
                      </a:lnTo>
                      <a:lnTo>
                        <a:pt x="5083" y="179"/>
                      </a:lnTo>
                      <a:lnTo>
                        <a:pt x="4366" y="598"/>
                      </a:lnTo>
                      <a:lnTo>
                        <a:pt x="3588" y="1375"/>
                      </a:lnTo>
                      <a:lnTo>
                        <a:pt x="2751" y="2452"/>
                      </a:lnTo>
                      <a:lnTo>
                        <a:pt x="1973" y="3708"/>
                      </a:lnTo>
                      <a:lnTo>
                        <a:pt x="1256" y="5083"/>
                      </a:lnTo>
                      <a:lnTo>
                        <a:pt x="658" y="6519"/>
                      </a:lnTo>
                      <a:lnTo>
                        <a:pt x="239" y="7894"/>
                      </a:lnTo>
                      <a:lnTo>
                        <a:pt x="0" y="9090"/>
                      </a:lnTo>
                      <a:lnTo>
                        <a:pt x="0" y="10048"/>
                      </a:lnTo>
                      <a:lnTo>
                        <a:pt x="239" y="10705"/>
                      </a:lnTo>
                      <a:lnTo>
                        <a:pt x="418" y="10825"/>
                      </a:lnTo>
                      <a:lnTo>
                        <a:pt x="418" y="10825"/>
                      </a:lnTo>
                      <a:lnTo>
                        <a:pt x="658" y="11004"/>
                      </a:lnTo>
                      <a:lnTo>
                        <a:pt x="1256" y="10944"/>
                      </a:lnTo>
                      <a:lnTo>
                        <a:pt x="1973" y="10526"/>
                      </a:lnTo>
                      <a:lnTo>
                        <a:pt x="2751" y="9748"/>
                      </a:lnTo>
                      <a:lnTo>
                        <a:pt x="3588" y="8732"/>
                      </a:lnTo>
                      <a:lnTo>
                        <a:pt x="4366" y="7476"/>
                      </a:lnTo>
                      <a:lnTo>
                        <a:pt x="5083" y="6100"/>
                      </a:lnTo>
                      <a:lnTo>
                        <a:pt x="5681" y="4665"/>
                      </a:lnTo>
                      <a:lnTo>
                        <a:pt x="6100" y="3289"/>
                      </a:lnTo>
                      <a:lnTo>
                        <a:pt x="6340" y="2093"/>
                      </a:lnTo>
                      <a:lnTo>
                        <a:pt x="6340" y="1136"/>
                      </a:lnTo>
                      <a:lnTo>
                        <a:pt x="6160" y="478"/>
                      </a:lnTo>
                      <a:lnTo>
                        <a:pt x="6100" y="478"/>
                      </a:lnTo>
                      <a:lnTo>
                        <a:pt x="6040" y="418"/>
                      </a:lnTo>
                      <a:lnTo>
                        <a:pt x="5681" y="119"/>
                      </a:lnTo>
                      <a:lnTo>
                        <a:pt x="5382" y="0"/>
                      </a:lnTo>
                    </a:path>
                  </a:pathLst>
                </a:custGeom>
                <a:noFill/>
                <a:ln w="6350" cap="flat">
                  <a:solidFill>
                    <a:schemeClr val="bg1">
                      <a:alpha val="80000"/>
                    </a:schemeClr>
                  </a:solidFill>
                  <a:prstDash val="solid"/>
                  <a:miter/>
                </a:ln>
              </p:spPr>
              <p:txBody>
                <a:bodyPr rtlCol="0" anchor="ctr"/>
                <a:lstStyle/>
                <a:p>
                  <a:endParaRPr lang="en-GB"/>
                </a:p>
              </p:txBody>
            </p:sp>
            <p:sp>
              <p:nvSpPr>
                <p:cNvPr id="7600" name="Vrije vorm: vorm 7599">
                  <a:extLst>
                    <a:ext uri="{FF2B5EF4-FFF2-40B4-BE49-F238E27FC236}">
                      <a16:creationId xmlns:a16="http://schemas.microsoft.com/office/drawing/2014/main" id="{D6BE2392-4092-4F87-AB04-0D189BE0699A}"/>
                    </a:ext>
                  </a:extLst>
                </p:cNvPr>
                <p:cNvSpPr/>
                <p:nvPr/>
              </p:nvSpPr>
              <p:spPr>
                <a:xfrm>
                  <a:off x="5856940" y="5235444"/>
                  <a:ext cx="658" cy="957"/>
                </a:xfrm>
                <a:custGeom>
                  <a:avLst/>
                  <a:gdLst>
                    <a:gd name="connsiteX0" fmla="*/ 658 w 658"/>
                    <a:gd name="connsiteY0" fmla="*/ 957 h 957"/>
                    <a:gd name="connsiteX1" fmla="*/ 239 w 658"/>
                    <a:gd name="connsiteY1" fmla="*/ 658 h 957"/>
                    <a:gd name="connsiteX2" fmla="*/ 60 w 658"/>
                    <a:gd name="connsiteY2" fmla="*/ 180 h 957"/>
                    <a:gd name="connsiteX3" fmla="*/ 0 w 658"/>
                    <a:gd name="connsiteY3" fmla="*/ 0 h 957"/>
                  </a:gdLst>
                  <a:ahLst/>
                  <a:cxnLst>
                    <a:cxn ang="0">
                      <a:pos x="connsiteX0" y="connsiteY0"/>
                    </a:cxn>
                    <a:cxn ang="0">
                      <a:pos x="connsiteX1" y="connsiteY1"/>
                    </a:cxn>
                    <a:cxn ang="0">
                      <a:pos x="connsiteX2" y="connsiteY2"/>
                    </a:cxn>
                    <a:cxn ang="0">
                      <a:pos x="connsiteX3" y="connsiteY3"/>
                    </a:cxn>
                  </a:cxnLst>
                  <a:rect l="l" t="t" r="r" b="b"/>
                  <a:pathLst>
                    <a:path w="658" h="957">
                      <a:moveTo>
                        <a:pt x="658" y="957"/>
                      </a:moveTo>
                      <a:lnTo>
                        <a:pt x="239" y="658"/>
                      </a:lnTo>
                      <a:lnTo>
                        <a:pt x="60" y="18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601" name="Vrije vorm: vorm 7600">
                  <a:extLst>
                    <a:ext uri="{FF2B5EF4-FFF2-40B4-BE49-F238E27FC236}">
                      <a16:creationId xmlns:a16="http://schemas.microsoft.com/office/drawing/2014/main" id="{9A900865-1FDD-42C4-994D-F1E35B90DBDC}"/>
                    </a:ext>
                  </a:extLst>
                </p:cNvPr>
                <p:cNvSpPr/>
                <p:nvPr/>
              </p:nvSpPr>
              <p:spPr>
                <a:xfrm>
                  <a:off x="5856940" y="5234487"/>
                  <a:ext cx="5980" cy="956"/>
                </a:xfrm>
                <a:custGeom>
                  <a:avLst/>
                  <a:gdLst>
                    <a:gd name="connsiteX0" fmla="*/ 0 w 5980"/>
                    <a:gd name="connsiteY0" fmla="*/ 957 h 956"/>
                    <a:gd name="connsiteX1" fmla="*/ 0 w 5980"/>
                    <a:gd name="connsiteY1" fmla="*/ 0 h 956"/>
                  </a:gdLst>
                  <a:ahLst/>
                  <a:cxnLst>
                    <a:cxn ang="0">
                      <a:pos x="connsiteX0" y="connsiteY0"/>
                    </a:cxn>
                    <a:cxn ang="0">
                      <a:pos x="connsiteX1" y="connsiteY1"/>
                    </a:cxn>
                  </a:cxnLst>
                  <a:rect l="l" t="t" r="r" b="b"/>
                  <a:pathLst>
                    <a:path w="5980" h="956">
                      <a:moveTo>
                        <a:pt x="0" y="957"/>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602" name="Vrije vorm: vorm 7601">
                  <a:extLst>
                    <a:ext uri="{FF2B5EF4-FFF2-40B4-BE49-F238E27FC236}">
                      <a16:creationId xmlns:a16="http://schemas.microsoft.com/office/drawing/2014/main" id="{7422CF28-EEA5-4659-B804-019DD1BA6373}"/>
                    </a:ext>
                  </a:extLst>
                </p:cNvPr>
                <p:cNvSpPr/>
                <p:nvPr/>
              </p:nvSpPr>
              <p:spPr>
                <a:xfrm>
                  <a:off x="5857120" y="5227789"/>
                  <a:ext cx="2571" cy="5801"/>
                </a:xfrm>
                <a:custGeom>
                  <a:avLst/>
                  <a:gdLst>
                    <a:gd name="connsiteX0" fmla="*/ 0 w 2571"/>
                    <a:gd name="connsiteY0" fmla="*/ 5801 h 5801"/>
                    <a:gd name="connsiteX1" fmla="*/ 60 w 2571"/>
                    <a:gd name="connsiteY1" fmla="*/ 5442 h 5801"/>
                    <a:gd name="connsiteX2" fmla="*/ 479 w 2571"/>
                    <a:gd name="connsiteY2" fmla="*/ 4067 h 5801"/>
                    <a:gd name="connsiteX3" fmla="*/ 479 w 2571"/>
                    <a:gd name="connsiteY3" fmla="*/ 4067 h 5801"/>
                    <a:gd name="connsiteX4" fmla="*/ 1076 w 2571"/>
                    <a:gd name="connsiteY4" fmla="*/ 2632 h 5801"/>
                    <a:gd name="connsiteX5" fmla="*/ 1794 w 2571"/>
                    <a:gd name="connsiteY5" fmla="*/ 1256 h 5801"/>
                    <a:gd name="connsiteX6" fmla="*/ 2572 w 2571"/>
                    <a:gd name="connsiteY6" fmla="*/ 0 h 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 h="5801">
                      <a:moveTo>
                        <a:pt x="0" y="5801"/>
                      </a:moveTo>
                      <a:lnTo>
                        <a:pt x="60" y="5442"/>
                      </a:lnTo>
                      <a:lnTo>
                        <a:pt x="479" y="4067"/>
                      </a:lnTo>
                      <a:lnTo>
                        <a:pt x="479" y="4067"/>
                      </a:lnTo>
                      <a:lnTo>
                        <a:pt x="1076" y="2632"/>
                      </a:lnTo>
                      <a:lnTo>
                        <a:pt x="1794" y="1256"/>
                      </a:lnTo>
                      <a:lnTo>
                        <a:pt x="2572" y="0"/>
                      </a:lnTo>
                    </a:path>
                  </a:pathLst>
                </a:custGeom>
                <a:noFill/>
                <a:ln w="6350" cap="flat">
                  <a:solidFill>
                    <a:schemeClr val="bg1">
                      <a:alpha val="80000"/>
                    </a:schemeClr>
                  </a:solidFill>
                  <a:prstDash val="solid"/>
                  <a:miter/>
                </a:ln>
              </p:spPr>
              <p:txBody>
                <a:bodyPr rtlCol="0" anchor="ctr"/>
                <a:lstStyle/>
                <a:p>
                  <a:endParaRPr lang="en-GB"/>
                </a:p>
              </p:txBody>
            </p:sp>
            <p:sp>
              <p:nvSpPr>
                <p:cNvPr id="7603" name="Vrije vorm: vorm 7602">
                  <a:extLst>
                    <a:ext uri="{FF2B5EF4-FFF2-40B4-BE49-F238E27FC236}">
                      <a16:creationId xmlns:a16="http://schemas.microsoft.com/office/drawing/2014/main" id="{3D886141-EC5D-4A06-902D-1AF5FFB41180}"/>
                    </a:ext>
                  </a:extLst>
                </p:cNvPr>
                <p:cNvSpPr/>
                <p:nvPr/>
              </p:nvSpPr>
              <p:spPr>
                <a:xfrm>
                  <a:off x="5860708" y="5227190"/>
                  <a:ext cx="777" cy="1076"/>
                </a:xfrm>
                <a:custGeom>
                  <a:avLst/>
                  <a:gdLst>
                    <a:gd name="connsiteX0" fmla="*/ 419 w 777"/>
                    <a:gd name="connsiteY0" fmla="*/ 0 h 1076"/>
                    <a:gd name="connsiteX1" fmla="*/ 718 w 777"/>
                    <a:gd name="connsiteY1" fmla="*/ 120 h 1076"/>
                    <a:gd name="connsiteX2" fmla="*/ 778 w 777"/>
                    <a:gd name="connsiteY2" fmla="*/ 180 h 1076"/>
                    <a:gd name="connsiteX3" fmla="*/ 778 w 777"/>
                    <a:gd name="connsiteY3" fmla="*/ 239 h 1076"/>
                    <a:gd name="connsiteX4" fmla="*/ 778 w 777"/>
                    <a:gd name="connsiteY4" fmla="*/ 359 h 1076"/>
                    <a:gd name="connsiteX5" fmla="*/ 778 w 777"/>
                    <a:gd name="connsiteY5" fmla="*/ 479 h 1076"/>
                    <a:gd name="connsiteX6" fmla="*/ 718 w 777"/>
                    <a:gd name="connsiteY6" fmla="*/ 598 h 1076"/>
                    <a:gd name="connsiteX7" fmla="*/ 658 w 777"/>
                    <a:gd name="connsiteY7" fmla="*/ 718 h 1076"/>
                    <a:gd name="connsiteX8" fmla="*/ 598 w 777"/>
                    <a:gd name="connsiteY8" fmla="*/ 837 h 1076"/>
                    <a:gd name="connsiteX9" fmla="*/ 538 w 777"/>
                    <a:gd name="connsiteY9" fmla="*/ 957 h 1076"/>
                    <a:gd name="connsiteX10" fmla="*/ 538 w 777"/>
                    <a:gd name="connsiteY10" fmla="*/ 957 h 1076"/>
                    <a:gd name="connsiteX11" fmla="*/ 479 w 777"/>
                    <a:gd name="connsiteY11" fmla="*/ 1017 h 1076"/>
                    <a:gd name="connsiteX12" fmla="*/ 419 w 777"/>
                    <a:gd name="connsiteY12" fmla="*/ 1076 h 1076"/>
                    <a:gd name="connsiteX13" fmla="*/ 359 w 777"/>
                    <a:gd name="connsiteY13" fmla="*/ 1076 h 1076"/>
                    <a:gd name="connsiteX14" fmla="*/ 359 w 777"/>
                    <a:gd name="connsiteY14" fmla="*/ 1076 h 1076"/>
                    <a:gd name="connsiteX15" fmla="*/ 299 w 777"/>
                    <a:gd name="connsiteY15" fmla="*/ 1076 h 1076"/>
                    <a:gd name="connsiteX16" fmla="*/ 0 w 777"/>
                    <a:gd name="connsiteY16" fmla="*/ 957 h 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 h="1076">
                      <a:moveTo>
                        <a:pt x="419" y="0"/>
                      </a:moveTo>
                      <a:lnTo>
                        <a:pt x="718" y="120"/>
                      </a:lnTo>
                      <a:lnTo>
                        <a:pt x="778" y="180"/>
                      </a:lnTo>
                      <a:lnTo>
                        <a:pt x="778" y="239"/>
                      </a:lnTo>
                      <a:lnTo>
                        <a:pt x="778" y="359"/>
                      </a:lnTo>
                      <a:lnTo>
                        <a:pt x="778" y="479"/>
                      </a:lnTo>
                      <a:lnTo>
                        <a:pt x="718" y="598"/>
                      </a:lnTo>
                      <a:lnTo>
                        <a:pt x="658" y="718"/>
                      </a:lnTo>
                      <a:lnTo>
                        <a:pt x="598" y="837"/>
                      </a:lnTo>
                      <a:lnTo>
                        <a:pt x="538" y="957"/>
                      </a:lnTo>
                      <a:lnTo>
                        <a:pt x="538" y="957"/>
                      </a:lnTo>
                      <a:lnTo>
                        <a:pt x="479" y="1017"/>
                      </a:lnTo>
                      <a:lnTo>
                        <a:pt x="419" y="1076"/>
                      </a:lnTo>
                      <a:lnTo>
                        <a:pt x="359" y="1076"/>
                      </a:lnTo>
                      <a:lnTo>
                        <a:pt x="359" y="1076"/>
                      </a:lnTo>
                      <a:lnTo>
                        <a:pt x="299" y="1076"/>
                      </a:lnTo>
                      <a:lnTo>
                        <a:pt x="0" y="957"/>
                      </a:lnTo>
                    </a:path>
                  </a:pathLst>
                </a:custGeom>
                <a:noFill/>
                <a:ln w="6350" cap="flat">
                  <a:solidFill>
                    <a:schemeClr val="bg1">
                      <a:alpha val="80000"/>
                    </a:schemeClr>
                  </a:solidFill>
                  <a:prstDash val="solid"/>
                  <a:miter/>
                </a:ln>
              </p:spPr>
              <p:txBody>
                <a:bodyPr rtlCol="0" anchor="ctr"/>
                <a:lstStyle/>
                <a:p>
                  <a:endParaRPr lang="en-GB"/>
                </a:p>
              </p:txBody>
            </p:sp>
            <p:sp>
              <p:nvSpPr>
                <p:cNvPr id="7604" name="Vrije vorm: vorm 7603">
                  <a:extLst>
                    <a:ext uri="{FF2B5EF4-FFF2-40B4-BE49-F238E27FC236}">
                      <a16:creationId xmlns:a16="http://schemas.microsoft.com/office/drawing/2014/main" id="{3F638933-D351-4A22-9010-78B486866813}"/>
                    </a:ext>
                  </a:extLst>
                </p:cNvPr>
                <p:cNvSpPr/>
                <p:nvPr/>
              </p:nvSpPr>
              <p:spPr>
                <a:xfrm>
                  <a:off x="5860888" y="5227310"/>
                  <a:ext cx="538" cy="956"/>
                </a:xfrm>
                <a:custGeom>
                  <a:avLst/>
                  <a:gdLst>
                    <a:gd name="connsiteX0" fmla="*/ 538 w 538"/>
                    <a:gd name="connsiteY0" fmla="*/ 0 h 956"/>
                    <a:gd name="connsiteX1" fmla="*/ 538 w 538"/>
                    <a:gd name="connsiteY1" fmla="*/ 0 h 956"/>
                    <a:gd name="connsiteX2" fmla="*/ 419 w 538"/>
                    <a:gd name="connsiteY2" fmla="*/ 0 h 956"/>
                    <a:gd name="connsiteX3" fmla="*/ 359 w 538"/>
                    <a:gd name="connsiteY3" fmla="*/ 60 h 956"/>
                    <a:gd name="connsiteX4" fmla="*/ 299 w 538"/>
                    <a:gd name="connsiteY4" fmla="*/ 120 h 956"/>
                    <a:gd name="connsiteX5" fmla="*/ 239 w 538"/>
                    <a:gd name="connsiteY5" fmla="*/ 239 h 956"/>
                    <a:gd name="connsiteX6" fmla="*/ 179 w 538"/>
                    <a:gd name="connsiteY6" fmla="*/ 299 h 956"/>
                    <a:gd name="connsiteX7" fmla="*/ 120 w 538"/>
                    <a:gd name="connsiteY7" fmla="*/ 359 h 956"/>
                    <a:gd name="connsiteX8" fmla="*/ 60 w 538"/>
                    <a:gd name="connsiteY8" fmla="*/ 479 h 956"/>
                    <a:gd name="connsiteX9" fmla="*/ 60 w 538"/>
                    <a:gd name="connsiteY9" fmla="*/ 479 h 956"/>
                    <a:gd name="connsiteX10" fmla="*/ 0 w 538"/>
                    <a:gd name="connsiteY10" fmla="*/ 598 h 956"/>
                    <a:gd name="connsiteX11" fmla="*/ 0 w 538"/>
                    <a:gd name="connsiteY11" fmla="*/ 658 h 956"/>
                    <a:gd name="connsiteX12" fmla="*/ 0 w 538"/>
                    <a:gd name="connsiteY12" fmla="*/ 658 h 956"/>
                    <a:gd name="connsiteX13" fmla="*/ 0 w 538"/>
                    <a:gd name="connsiteY13" fmla="*/ 718 h 956"/>
                    <a:gd name="connsiteX14" fmla="*/ 0 w 538"/>
                    <a:gd name="connsiteY14" fmla="*/ 837 h 956"/>
                    <a:gd name="connsiteX15" fmla="*/ 0 w 538"/>
                    <a:gd name="connsiteY15" fmla="*/ 897 h 956"/>
                    <a:gd name="connsiteX16" fmla="*/ 60 w 538"/>
                    <a:gd name="connsiteY16" fmla="*/ 957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8" h="956">
                      <a:moveTo>
                        <a:pt x="538" y="0"/>
                      </a:moveTo>
                      <a:lnTo>
                        <a:pt x="538" y="0"/>
                      </a:lnTo>
                      <a:lnTo>
                        <a:pt x="419" y="0"/>
                      </a:lnTo>
                      <a:lnTo>
                        <a:pt x="359" y="60"/>
                      </a:lnTo>
                      <a:lnTo>
                        <a:pt x="299" y="120"/>
                      </a:lnTo>
                      <a:lnTo>
                        <a:pt x="239" y="239"/>
                      </a:lnTo>
                      <a:lnTo>
                        <a:pt x="179" y="299"/>
                      </a:lnTo>
                      <a:lnTo>
                        <a:pt x="120" y="359"/>
                      </a:lnTo>
                      <a:lnTo>
                        <a:pt x="60" y="479"/>
                      </a:lnTo>
                      <a:lnTo>
                        <a:pt x="60" y="479"/>
                      </a:lnTo>
                      <a:lnTo>
                        <a:pt x="0" y="598"/>
                      </a:lnTo>
                      <a:lnTo>
                        <a:pt x="0" y="658"/>
                      </a:lnTo>
                      <a:lnTo>
                        <a:pt x="0" y="658"/>
                      </a:lnTo>
                      <a:lnTo>
                        <a:pt x="0" y="718"/>
                      </a:lnTo>
                      <a:lnTo>
                        <a:pt x="0" y="837"/>
                      </a:lnTo>
                      <a:lnTo>
                        <a:pt x="0" y="897"/>
                      </a:lnTo>
                      <a:lnTo>
                        <a:pt x="60" y="957"/>
                      </a:lnTo>
                    </a:path>
                  </a:pathLst>
                </a:custGeom>
                <a:noFill/>
                <a:ln w="6350" cap="flat">
                  <a:solidFill>
                    <a:schemeClr val="bg1">
                      <a:alpha val="80000"/>
                    </a:schemeClr>
                  </a:solidFill>
                  <a:prstDash val="solid"/>
                  <a:miter/>
                </a:ln>
              </p:spPr>
              <p:txBody>
                <a:bodyPr rtlCol="0" anchor="ctr"/>
                <a:lstStyle/>
                <a:p>
                  <a:endParaRPr lang="en-GB"/>
                </a:p>
              </p:txBody>
            </p:sp>
            <p:sp>
              <p:nvSpPr>
                <p:cNvPr id="7605" name="Vrije vorm: vorm 7604">
                  <a:extLst>
                    <a:ext uri="{FF2B5EF4-FFF2-40B4-BE49-F238E27FC236}">
                      <a16:creationId xmlns:a16="http://schemas.microsoft.com/office/drawing/2014/main" id="{2658C94A-0060-4C3E-924C-AC7922C6F44B}"/>
                    </a:ext>
                  </a:extLst>
                </p:cNvPr>
                <p:cNvSpPr/>
                <p:nvPr/>
              </p:nvSpPr>
              <p:spPr>
                <a:xfrm>
                  <a:off x="5860589" y="5227190"/>
                  <a:ext cx="478" cy="957"/>
                </a:xfrm>
                <a:custGeom>
                  <a:avLst/>
                  <a:gdLst>
                    <a:gd name="connsiteX0" fmla="*/ 60 w 478"/>
                    <a:gd name="connsiteY0" fmla="*/ 957 h 957"/>
                    <a:gd name="connsiteX1" fmla="*/ 60 w 478"/>
                    <a:gd name="connsiteY1" fmla="*/ 957 h 957"/>
                    <a:gd name="connsiteX2" fmla="*/ 60 w 478"/>
                    <a:gd name="connsiteY2" fmla="*/ 957 h 957"/>
                    <a:gd name="connsiteX3" fmla="*/ 0 w 478"/>
                    <a:gd name="connsiteY3" fmla="*/ 837 h 957"/>
                    <a:gd name="connsiteX4" fmla="*/ 0 w 478"/>
                    <a:gd name="connsiteY4" fmla="*/ 718 h 957"/>
                    <a:gd name="connsiteX5" fmla="*/ 0 w 478"/>
                    <a:gd name="connsiteY5" fmla="*/ 598 h 957"/>
                    <a:gd name="connsiteX6" fmla="*/ 60 w 478"/>
                    <a:gd name="connsiteY6" fmla="*/ 479 h 957"/>
                    <a:gd name="connsiteX7" fmla="*/ 119 w 478"/>
                    <a:gd name="connsiteY7" fmla="*/ 359 h 957"/>
                    <a:gd name="connsiteX8" fmla="*/ 179 w 478"/>
                    <a:gd name="connsiteY8" fmla="*/ 239 h 957"/>
                    <a:gd name="connsiteX9" fmla="*/ 239 w 478"/>
                    <a:gd name="connsiteY9" fmla="*/ 120 h 957"/>
                    <a:gd name="connsiteX10" fmla="*/ 299 w 478"/>
                    <a:gd name="connsiteY10" fmla="*/ 60 h 957"/>
                    <a:gd name="connsiteX11" fmla="*/ 359 w 478"/>
                    <a:gd name="connsiteY11" fmla="*/ 0 h 957"/>
                    <a:gd name="connsiteX12" fmla="*/ 419 w 478"/>
                    <a:gd name="connsiteY12" fmla="*/ 0 h 957"/>
                    <a:gd name="connsiteX13" fmla="*/ 478 w 478"/>
                    <a:gd name="connsiteY13" fmla="*/ 0 h 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 h="957">
                      <a:moveTo>
                        <a:pt x="60" y="957"/>
                      </a:moveTo>
                      <a:lnTo>
                        <a:pt x="60" y="957"/>
                      </a:lnTo>
                      <a:lnTo>
                        <a:pt x="60" y="957"/>
                      </a:lnTo>
                      <a:lnTo>
                        <a:pt x="0" y="837"/>
                      </a:lnTo>
                      <a:lnTo>
                        <a:pt x="0" y="718"/>
                      </a:lnTo>
                      <a:lnTo>
                        <a:pt x="0" y="598"/>
                      </a:lnTo>
                      <a:lnTo>
                        <a:pt x="60" y="479"/>
                      </a:lnTo>
                      <a:lnTo>
                        <a:pt x="119" y="359"/>
                      </a:lnTo>
                      <a:lnTo>
                        <a:pt x="179" y="239"/>
                      </a:lnTo>
                      <a:lnTo>
                        <a:pt x="239" y="120"/>
                      </a:lnTo>
                      <a:lnTo>
                        <a:pt x="299" y="60"/>
                      </a:lnTo>
                      <a:lnTo>
                        <a:pt x="359" y="0"/>
                      </a:lnTo>
                      <a:lnTo>
                        <a:pt x="419" y="0"/>
                      </a:lnTo>
                      <a:lnTo>
                        <a:pt x="478" y="0"/>
                      </a:lnTo>
                    </a:path>
                  </a:pathLst>
                </a:custGeom>
                <a:noFill/>
                <a:ln w="6350" cap="flat">
                  <a:solidFill>
                    <a:schemeClr val="bg1">
                      <a:alpha val="80000"/>
                    </a:schemeClr>
                  </a:solidFill>
                  <a:prstDash val="solid"/>
                  <a:miter/>
                </a:ln>
              </p:spPr>
              <p:txBody>
                <a:bodyPr rtlCol="0" anchor="ctr"/>
                <a:lstStyle/>
                <a:p>
                  <a:endParaRPr lang="en-GB"/>
                </a:p>
              </p:txBody>
            </p:sp>
            <p:sp>
              <p:nvSpPr>
                <p:cNvPr id="7606" name="Vrije vorm: vorm 7605">
                  <a:extLst>
                    <a:ext uri="{FF2B5EF4-FFF2-40B4-BE49-F238E27FC236}">
                      <a16:creationId xmlns:a16="http://schemas.microsoft.com/office/drawing/2014/main" id="{C664F61A-7A0B-40E2-A4C0-F187D936F08E}"/>
                    </a:ext>
                  </a:extLst>
                </p:cNvPr>
                <p:cNvSpPr/>
                <p:nvPr/>
              </p:nvSpPr>
              <p:spPr>
                <a:xfrm>
                  <a:off x="5858256" y="5232693"/>
                  <a:ext cx="478" cy="956"/>
                </a:xfrm>
                <a:custGeom>
                  <a:avLst/>
                  <a:gdLst>
                    <a:gd name="connsiteX0" fmla="*/ 479 w 478"/>
                    <a:gd name="connsiteY0" fmla="*/ 0 h 956"/>
                    <a:gd name="connsiteX1" fmla="*/ 479 w 478"/>
                    <a:gd name="connsiteY1" fmla="*/ 0 h 956"/>
                    <a:gd name="connsiteX2" fmla="*/ 359 w 478"/>
                    <a:gd name="connsiteY2" fmla="*/ 0 h 956"/>
                    <a:gd name="connsiteX3" fmla="*/ 299 w 478"/>
                    <a:gd name="connsiteY3" fmla="*/ 60 h 956"/>
                    <a:gd name="connsiteX4" fmla="*/ 239 w 478"/>
                    <a:gd name="connsiteY4" fmla="*/ 119 h 956"/>
                    <a:gd name="connsiteX5" fmla="*/ 179 w 478"/>
                    <a:gd name="connsiteY5" fmla="*/ 239 h 956"/>
                    <a:gd name="connsiteX6" fmla="*/ 120 w 478"/>
                    <a:gd name="connsiteY6" fmla="*/ 299 h 956"/>
                    <a:gd name="connsiteX7" fmla="*/ 120 w 478"/>
                    <a:gd name="connsiteY7" fmla="*/ 359 h 956"/>
                    <a:gd name="connsiteX8" fmla="*/ 120 w 478"/>
                    <a:gd name="connsiteY8" fmla="*/ 359 h 956"/>
                    <a:gd name="connsiteX9" fmla="*/ 60 w 478"/>
                    <a:gd name="connsiteY9" fmla="*/ 478 h 956"/>
                    <a:gd name="connsiteX10" fmla="*/ 60 w 478"/>
                    <a:gd name="connsiteY10" fmla="*/ 478 h 956"/>
                    <a:gd name="connsiteX11" fmla="*/ 0 w 478"/>
                    <a:gd name="connsiteY11" fmla="*/ 598 h 956"/>
                    <a:gd name="connsiteX12" fmla="*/ 0 w 478"/>
                    <a:gd name="connsiteY12" fmla="*/ 718 h 956"/>
                    <a:gd name="connsiteX13" fmla="*/ 0 w 478"/>
                    <a:gd name="connsiteY13" fmla="*/ 837 h 956"/>
                    <a:gd name="connsiteX14" fmla="*/ 0 w 478"/>
                    <a:gd name="connsiteY14" fmla="*/ 897 h 956"/>
                    <a:gd name="connsiteX15" fmla="*/ 60 w 478"/>
                    <a:gd name="connsiteY15" fmla="*/ 957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8" h="956">
                      <a:moveTo>
                        <a:pt x="479" y="0"/>
                      </a:moveTo>
                      <a:lnTo>
                        <a:pt x="479" y="0"/>
                      </a:lnTo>
                      <a:lnTo>
                        <a:pt x="359" y="0"/>
                      </a:lnTo>
                      <a:lnTo>
                        <a:pt x="299" y="60"/>
                      </a:lnTo>
                      <a:lnTo>
                        <a:pt x="239" y="119"/>
                      </a:lnTo>
                      <a:lnTo>
                        <a:pt x="179" y="239"/>
                      </a:lnTo>
                      <a:lnTo>
                        <a:pt x="120" y="299"/>
                      </a:lnTo>
                      <a:lnTo>
                        <a:pt x="120" y="359"/>
                      </a:lnTo>
                      <a:lnTo>
                        <a:pt x="120" y="359"/>
                      </a:lnTo>
                      <a:lnTo>
                        <a:pt x="60" y="478"/>
                      </a:lnTo>
                      <a:lnTo>
                        <a:pt x="60" y="478"/>
                      </a:lnTo>
                      <a:lnTo>
                        <a:pt x="0" y="598"/>
                      </a:lnTo>
                      <a:lnTo>
                        <a:pt x="0" y="718"/>
                      </a:lnTo>
                      <a:lnTo>
                        <a:pt x="0" y="837"/>
                      </a:lnTo>
                      <a:lnTo>
                        <a:pt x="0" y="897"/>
                      </a:lnTo>
                      <a:lnTo>
                        <a:pt x="60" y="957"/>
                      </a:lnTo>
                    </a:path>
                  </a:pathLst>
                </a:custGeom>
                <a:noFill/>
                <a:ln w="6350" cap="flat">
                  <a:solidFill>
                    <a:schemeClr val="bg1">
                      <a:alpha val="80000"/>
                    </a:schemeClr>
                  </a:solidFill>
                  <a:prstDash val="solid"/>
                  <a:miter/>
                </a:ln>
              </p:spPr>
              <p:txBody>
                <a:bodyPr rtlCol="0" anchor="ctr"/>
                <a:lstStyle/>
                <a:p>
                  <a:endParaRPr lang="en-GB"/>
                </a:p>
              </p:txBody>
            </p:sp>
            <p:sp>
              <p:nvSpPr>
                <p:cNvPr id="7607" name="Vrije vorm: vorm 7606">
                  <a:extLst>
                    <a:ext uri="{FF2B5EF4-FFF2-40B4-BE49-F238E27FC236}">
                      <a16:creationId xmlns:a16="http://schemas.microsoft.com/office/drawing/2014/main" id="{E84CB037-7A89-4319-A9DD-29F56FAA0F00}"/>
                    </a:ext>
                  </a:extLst>
                </p:cNvPr>
                <p:cNvSpPr/>
                <p:nvPr/>
              </p:nvSpPr>
              <p:spPr>
                <a:xfrm>
                  <a:off x="5857838" y="5232573"/>
                  <a:ext cx="478" cy="956"/>
                </a:xfrm>
                <a:custGeom>
                  <a:avLst/>
                  <a:gdLst>
                    <a:gd name="connsiteX0" fmla="*/ 60 w 478"/>
                    <a:gd name="connsiteY0" fmla="*/ 957 h 956"/>
                    <a:gd name="connsiteX1" fmla="*/ 60 w 478"/>
                    <a:gd name="connsiteY1" fmla="*/ 957 h 956"/>
                    <a:gd name="connsiteX2" fmla="*/ 0 w 478"/>
                    <a:gd name="connsiteY2" fmla="*/ 837 h 956"/>
                    <a:gd name="connsiteX3" fmla="*/ 0 w 478"/>
                    <a:gd name="connsiteY3" fmla="*/ 718 h 956"/>
                    <a:gd name="connsiteX4" fmla="*/ 0 w 478"/>
                    <a:gd name="connsiteY4" fmla="*/ 598 h 956"/>
                    <a:gd name="connsiteX5" fmla="*/ 60 w 478"/>
                    <a:gd name="connsiteY5" fmla="*/ 479 h 956"/>
                    <a:gd name="connsiteX6" fmla="*/ 120 w 478"/>
                    <a:gd name="connsiteY6" fmla="*/ 359 h 956"/>
                    <a:gd name="connsiteX7" fmla="*/ 180 w 478"/>
                    <a:gd name="connsiteY7" fmla="*/ 239 h 956"/>
                    <a:gd name="connsiteX8" fmla="*/ 239 w 478"/>
                    <a:gd name="connsiteY8" fmla="*/ 120 h 956"/>
                    <a:gd name="connsiteX9" fmla="*/ 299 w 478"/>
                    <a:gd name="connsiteY9" fmla="*/ 60 h 956"/>
                    <a:gd name="connsiteX10" fmla="*/ 359 w 478"/>
                    <a:gd name="connsiteY10" fmla="*/ 0 h 956"/>
                    <a:gd name="connsiteX11" fmla="*/ 359 w 478"/>
                    <a:gd name="connsiteY11" fmla="*/ 0 h 956"/>
                    <a:gd name="connsiteX12" fmla="*/ 419 w 478"/>
                    <a:gd name="connsiteY12" fmla="*/ 0 h 956"/>
                    <a:gd name="connsiteX13" fmla="*/ 479 w 478"/>
                    <a:gd name="connsiteY13" fmla="*/ 0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 h="956">
                      <a:moveTo>
                        <a:pt x="60" y="957"/>
                      </a:moveTo>
                      <a:lnTo>
                        <a:pt x="60" y="957"/>
                      </a:lnTo>
                      <a:lnTo>
                        <a:pt x="0" y="837"/>
                      </a:lnTo>
                      <a:lnTo>
                        <a:pt x="0" y="718"/>
                      </a:lnTo>
                      <a:lnTo>
                        <a:pt x="0" y="598"/>
                      </a:lnTo>
                      <a:lnTo>
                        <a:pt x="60" y="479"/>
                      </a:lnTo>
                      <a:lnTo>
                        <a:pt x="120" y="359"/>
                      </a:lnTo>
                      <a:lnTo>
                        <a:pt x="180" y="239"/>
                      </a:lnTo>
                      <a:lnTo>
                        <a:pt x="239" y="120"/>
                      </a:lnTo>
                      <a:lnTo>
                        <a:pt x="299" y="60"/>
                      </a:lnTo>
                      <a:lnTo>
                        <a:pt x="359" y="0"/>
                      </a:lnTo>
                      <a:lnTo>
                        <a:pt x="359" y="0"/>
                      </a:lnTo>
                      <a:lnTo>
                        <a:pt x="419" y="0"/>
                      </a:lnTo>
                      <a:lnTo>
                        <a:pt x="479" y="0"/>
                      </a:lnTo>
                    </a:path>
                  </a:pathLst>
                </a:custGeom>
                <a:noFill/>
                <a:ln w="6350" cap="flat">
                  <a:solidFill>
                    <a:schemeClr val="bg1">
                      <a:alpha val="80000"/>
                    </a:schemeClr>
                  </a:solidFill>
                  <a:prstDash val="solid"/>
                  <a:miter/>
                </a:ln>
              </p:spPr>
              <p:txBody>
                <a:bodyPr rtlCol="0" anchor="ctr"/>
                <a:lstStyle/>
                <a:p>
                  <a:endParaRPr lang="en-GB"/>
                </a:p>
              </p:txBody>
            </p:sp>
            <p:sp>
              <p:nvSpPr>
                <p:cNvPr id="7608" name="Vrije vorm: vorm 7607">
                  <a:extLst>
                    <a:ext uri="{FF2B5EF4-FFF2-40B4-BE49-F238E27FC236}">
                      <a16:creationId xmlns:a16="http://schemas.microsoft.com/office/drawing/2014/main" id="{9744F84C-A399-4D3F-8226-9697ECB1638D}"/>
                    </a:ext>
                  </a:extLst>
                </p:cNvPr>
                <p:cNvSpPr/>
                <p:nvPr/>
              </p:nvSpPr>
              <p:spPr>
                <a:xfrm>
                  <a:off x="5859811" y="5234188"/>
                  <a:ext cx="538" cy="1135"/>
                </a:xfrm>
                <a:custGeom>
                  <a:avLst/>
                  <a:gdLst>
                    <a:gd name="connsiteX0" fmla="*/ 478 w 538"/>
                    <a:gd name="connsiteY0" fmla="*/ 119 h 1135"/>
                    <a:gd name="connsiteX1" fmla="*/ 478 w 538"/>
                    <a:gd name="connsiteY1" fmla="*/ 119 h 1135"/>
                    <a:gd name="connsiteX2" fmla="*/ 359 w 538"/>
                    <a:gd name="connsiteY2" fmla="*/ 119 h 1135"/>
                    <a:gd name="connsiteX3" fmla="*/ 299 w 538"/>
                    <a:gd name="connsiteY3" fmla="*/ 179 h 1135"/>
                    <a:gd name="connsiteX4" fmla="*/ 239 w 538"/>
                    <a:gd name="connsiteY4" fmla="*/ 239 h 1135"/>
                    <a:gd name="connsiteX5" fmla="*/ 179 w 538"/>
                    <a:gd name="connsiteY5" fmla="*/ 359 h 1135"/>
                    <a:gd name="connsiteX6" fmla="*/ 119 w 538"/>
                    <a:gd name="connsiteY6" fmla="*/ 478 h 1135"/>
                    <a:gd name="connsiteX7" fmla="*/ 119 w 538"/>
                    <a:gd name="connsiteY7" fmla="*/ 538 h 1135"/>
                    <a:gd name="connsiteX8" fmla="*/ 60 w 538"/>
                    <a:gd name="connsiteY8" fmla="*/ 598 h 1135"/>
                    <a:gd name="connsiteX9" fmla="*/ 60 w 538"/>
                    <a:gd name="connsiteY9" fmla="*/ 658 h 1135"/>
                    <a:gd name="connsiteX10" fmla="*/ 0 w 538"/>
                    <a:gd name="connsiteY10" fmla="*/ 777 h 1135"/>
                    <a:gd name="connsiteX11" fmla="*/ 0 w 538"/>
                    <a:gd name="connsiteY11" fmla="*/ 837 h 1135"/>
                    <a:gd name="connsiteX12" fmla="*/ 0 w 538"/>
                    <a:gd name="connsiteY12" fmla="*/ 837 h 1135"/>
                    <a:gd name="connsiteX13" fmla="*/ 0 w 538"/>
                    <a:gd name="connsiteY13" fmla="*/ 897 h 1135"/>
                    <a:gd name="connsiteX14" fmla="*/ 0 w 538"/>
                    <a:gd name="connsiteY14" fmla="*/ 1017 h 1135"/>
                    <a:gd name="connsiteX15" fmla="*/ 0 w 538"/>
                    <a:gd name="connsiteY15" fmla="*/ 1076 h 1135"/>
                    <a:gd name="connsiteX16" fmla="*/ 60 w 538"/>
                    <a:gd name="connsiteY16" fmla="*/ 1136 h 1135"/>
                    <a:gd name="connsiteX17" fmla="*/ 119 w 538"/>
                    <a:gd name="connsiteY17" fmla="*/ 1136 h 1135"/>
                    <a:gd name="connsiteX18" fmla="*/ 179 w 538"/>
                    <a:gd name="connsiteY18" fmla="*/ 1136 h 1135"/>
                    <a:gd name="connsiteX19" fmla="*/ 239 w 538"/>
                    <a:gd name="connsiteY19" fmla="*/ 1076 h 1135"/>
                    <a:gd name="connsiteX20" fmla="*/ 299 w 538"/>
                    <a:gd name="connsiteY20" fmla="*/ 1017 h 1135"/>
                    <a:gd name="connsiteX21" fmla="*/ 359 w 538"/>
                    <a:gd name="connsiteY21" fmla="*/ 897 h 1135"/>
                    <a:gd name="connsiteX22" fmla="*/ 419 w 538"/>
                    <a:gd name="connsiteY22" fmla="*/ 777 h 1135"/>
                    <a:gd name="connsiteX23" fmla="*/ 478 w 538"/>
                    <a:gd name="connsiteY23" fmla="*/ 658 h 1135"/>
                    <a:gd name="connsiteX24" fmla="*/ 538 w 538"/>
                    <a:gd name="connsiteY24" fmla="*/ 538 h 1135"/>
                    <a:gd name="connsiteX25" fmla="*/ 538 w 538"/>
                    <a:gd name="connsiteY25" fmla="*/ 418 h 1135"/>
                    <a:gd name="connsiteX26" fmla="*/ 538 w 538"/>
                    <a:gd name="connsiteY26" fmla="*/ 299 h 1135"/>
                    <a:gd name="connsiteX27" fmla="*/ 478 w 538"/>
                    <a:gd name="connsiteY27" fmla="*/ 119 h 1135"/>
                    <a:gd name="connsiteX28" fmla="*/ 478 w 538"/>
                    <a:gd name="connsiteY28" fmla="*/ 119 h 1135"/>
                    <a:gd name="connsiteX29" fmla="*/ 478 w 538"/>
                    <a:gd name="connsiteY29" fmla="*/ 119 h 1135"/>
                    <a:gd name="connsiteX30" fmla="*/ 478 w 538"/>
                    <a:gd name="connsiteY30" fmla="*/ 119 h 1135"/>
                    <a:gd name="connsiteX31" fmla="*/ 179 w 538"/>
                    <a:gd name="connsiteY31" fmla="*/ 0 h 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8" h="1135">
                      <a:moveTo>
                        <a:pt x="478" y="119"/>
                      </a:moveTo>
                      <a:lnTo>
                        <a:pt x="478" y="119"/>
                      </a:lnTo>
                      <a:lnTo>
                        <a:pt x="359" y="119"/>
                      </a:lnTo>
                      <a:lnTo>
                        <a:pt x="299" y="179"/>
                      </a:lnTo>
                      <a:lnTo>
                        <a:pt x="239" y="239"/>
                      </a:lnTo>
                      <a:lnTo>
                        <a:pt x="179" y="359"/>
                      </a:lnTo>
                      <a:lnTo>
                        <a:pt x="119" y="478"/>
                      </a:lnTo>
                      <a:lnTo>
                        <a:pt x="119" y="538"/>
                      </a:lnTo>
                      <a:lnTo>
                        <a:pt x="60" y="598"/>
                      </a:lnTo>
                      <a:lnTo>
                        <a:pt x="60" y="658"/>
                      </a:lnTo>
                      <a:lnTo>
                        <a:pt x="0" y="777"/>
                      </a:lnTo>
                      <a:lnTo>
                        <a:pt x="0" y="837"/>
                      </a:lnTo>
                      <a:lnTo>
                        <a:pt x="0" y="837"/>
                      </a:lnTo>
                      <a:lnTo>
                        <a:pt x="0" y="897"/>
                      </a:lnTo>
                      <a:lnTo>
                        <a:pt x="0" y="1017"/>
                      </a:lnTo>
                      <a:lnTo>
                        <a:pt x="0" y="1076"/>
                      </a:lnTo>
                      <a:lnTo>
                        <a:pt x="60" y="1136"/>
                      </a:lnTo>
                      <a:lnTo>
                        <a:pt x="119" y="1136"/>
                      </a:lnTo>
                      <a:lnTo>
                        <a:pt x="179" y="1136"/>
                      </a:lnTo>
                      <a:lnTo>
                        <a:pt x="239" y="1076"/>
                      </a:lnTo>
                      <a:lnTo>
                        <a:pt x="299" y="1017"/>
                      </a:lnTo>
                      <a:lnTo>
                        <a:pt x="359" y="897"/>
                      </a:lnTo>
                      <a:lnTo>
                        <a:pt x="419" y="777"/>
                      </a:lnTo>
                      <a:lnTo>
                        <a:pt x="478" y="658"/>
                      </a:lnTo>
                      <a:lnTo>
                        <a:pt x="538" y="538"/>
                      </a:lnTo>
                      <a:lnTo>
                        <a:pt x="538" y="418"/>
                      </a:lnTo>
                      <a:lnTo>
                        <a:pt x="538" y="299"/>
                      </a:lnTo>
                      <a:lnTo>
                        <a:pt x="478" y="119"/>
                      </a:lnTo>
                      <a:lnTo>
                        <a:pt x="478" y="119"/>
                      </a:lnTo>
                      <a:lnTo>
                        <a:pt x="478" y="119"/>
                      </a:lnTo>
                      <a:lnTo>
                        <a:pt x="478" y="119"/>
                      </a:lnTo>
                      <a:lnTo>
                        <a:pt x="179" y="0"/>
                      </a:lnTo>
                    </a:path>
                  </a:pathLst>
                </a:custGeom>
                <a:noFill/>
                <a:ln w="6350" cap="flat">
                  <a:solidFill>
                    <a:schemeClr val="bg1">
                      <a:alpha val="80000"/>
                    </a:schemeClr>
                  </a:solidFill>
                  <a:prstDash val="solid"/>
                  <a:miter/>
                </a:ln>
              </p:spPr>
              <p:txBody>
                <a:bodyPr rtlCol="0" anchor="ctr"/>
                <a:lstStyle/>
                <a:p>
                  <a:endParaRPr lang="en-GB"/>
                </a:p>
              </p:txBody>
            </p:sp>
            <p:sp>
              <p:nvSpPr>
                <p:cNvPr id="7609" name="Vrije vorm: vorm 7608">
                  <a:extLst>
                    <a:ext uri="{FF2B5EF4-FFF2-40B4-BE49-F238E27FC236}">
                      <a16:creationId xmlns:a16="http://schemas.microsoft.com/office/drawing/2014/main" id="{F96347F0-39F8-4B6D-8B91-C55489224DA0}"/>
                    </a:ext>
                  </a:extLst>
                </p:cNvPr>
                <p:cNvSpPr/>
                <p:nvPr/>
              </p:nvSpPr>
              <p:spPr>
                <a:xfrm>
                  <a:off x="5859393" y="5234188"/>
                  <a:ext cx="478" cy="956"/>
                </a:xfrm>
                <a:custGeom>
                  <a:avLst/>
                  <a:gdLst>
                    <a:gd name="connsiteX0" fmla="*/ 60 w 478"/>
                    <a:gd name="connsiteY0" fmla="*/ 957 h 956"/>
                    <a:gd name="connsiteX1" fmla="*/ 60 w 478"/>
                    <a:gd name="connsiteY1" fmla="*/ 957 h 956"/>
                    <a:gd name="connsiteX2" fmla="*/ 0 w 478"/>
                    <a:gd name="connsiteY2" fmla="*/ 837 h 956"/>
                    <a:gd name="connsiteX3" fmla="*/ 0 w 478"/>
                    <a:gd name="connsiteY3" fmla="*/ 718 h 956"/>
                    <a:gd name="connsiteX4" fmla="*/ 0 w 478"/>
                    <a:gd name="connsiteY4" fmla="*/ 598 h 956"/>
                    <a:gd name="connsiteX5" fmla="*/ 60 w 478"/>
                    <a:gd name="connsiteY5" fmla="*/ 478 h 956"/>
                    <a:gd name="connsiteX6" fmla="*/ 120 w 478"/>
                    <a:gd name="connsiteY6" fmla="*/ 359 h 956"/>
                    <a:gd name="connsiteX7" fmla="*/ 179 w 478"/>
                    <a:gd name="connsiteY7" fmla="*/ 239 h 956"/>
                    <a:gd name="connsiteX8" fmla="*/ 239 w 478"/>
                    <a:gd name="connsiteY8" fmla="*/ 119 h 956"/>
                    <a:gd name="connsiteX9" fmla="*/ 299 w 478"/>
                    <a:gd name="connsiteY9" fmla="*/ 60 h 956"/>
                    <a:gd name="connsiteX10" fmla="*/ 359 w 478"/>
                    <a:gd name="connsiteY10" fmla="*/ 0 h 956"/>
                    <a:gd name="connsiteX11" fmla="*/ 419 w 478"/>
                    <a:gd name="connsiteY11" fmla="*/ 0 h 956"/>
                    <a:gd name="connsiteX12" fmla="*/ 479 w 478"/>
                    <a:gd name="connsiteY12" fmla="*/ 0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8" h="956">
                      <a:moveTo>
                        <a:pt x="60" y="957"/>
                      </a:moveTo>
                      <a:lnTo>
                        <a:pt x="60" y="957"/>
                      </a:lnTo>
                      <a:lnTo>
                        <a:pt x="0" y="837"/>
                      </a:lnTo>
                      <a:lnTo>
                        <a:pt x="0" y="718"/>
                      </a:lnTo>
                      <a:lnTo>
                        <a:pt x="0" y="598"/>
                      </a:lnTo>
                      <a:lnTo>
                        <a:pt x="60" y="478"/>
                      </a:lnTo>
                      <a:lnTo>
                        <a:pt x="120" y="359"/>
                      </a:lnTo>
                      <a:lnTo>
                        <a:pt x="179" y="239"/>
                      </a:lnTo>
                      <a:lnTo>
                        <a:pt x="239" y="119"/>
                      </a:lnTo>
                      <a:lnTo>
                        <a:pt x="299" y="60"/>
                      </a:lnTo>
                      <a:lnTo>
                        <a:pt x="359" y="0"/>
                      </a:lnTo>
                      <a:lnTo>
                        <a:pt x="419" y="0"/>
                      </a:lnTo>
                      <a:lnTo>
                        <a:pt x="479" y="0"/>
                      </a:lnTo>
                    </a:path>
                  </a:pathLst>
                </a:custGeom>
                <a:noFill/>
                <a:ln w="6350" cap="flat">
                  <a:solidFill>
                    <a:schemeClr val="bg1">
                      <a:alpha val="80000"/>
                    </a:schemeClr>
                  </a:solidFill>
                  <a:prstDash val="solid"/>
                  <a:miter/>
                </a:ln>
              </p:spPr>
              <p:txBody>
                <a:bodyPr rtlCol="0" anchor="ctr"/>
                <a:lstStyle/>
                <a:p>
                  <a:endParaRPr lang="en-GB"/>
                </a:p>
              </p:txBody>
            </p:sp>
            <p:sp>
              <p:nvSpPr>
                <p:cNvPr id="7610" name="Vrije vorm: vorm 7609">
                  <a:extLst>
                    <a:ext uri="{FF2B5EF4-FFF2-40B4-BE49-F238E27FC236}">
                      <a16:creationId xmlns:a16="http://schemas.microsoft.com/office/drawing/2014/main" id="{08853FD8-6488-46EE-A4DE-7CEB6DA9E14F}"/>
                    </a:ext>
                  </a:extLst>
                </p:cNvPr>
                <p:cNvSpPr/>
                <p:nvPr/>
              </p:nvSpPr>
              <p:spPr>
                <a:xfrm>
                  <a:off x="5859452" y="5235145"/>
                  <a:ext cx="298" cy="119"/>
                </a:xfrm>
                <a:custGeom>
                  <a:avLst/>
                  <a:gdLst>
                    <a:gd name="connsiteX0" fmla="*/ 299 w 298"/>
                    <a:gd name="connsiteY0" fmla="*/ 120 h 119"/>
                    <a:gd name="connsiteX1" fmla="*/ 119 w 298"/>
                    <a:gd name="connsiteY1" fmla="*/ 60 h 119"/>
                    <a:gd name="connsiteX2" fmla="*/ 119 w 298"/>
                    <a:gd name="connsiteY2" fmla="*/ 60 h 119"/>
                    <a:gd name="connsiteX3" fmla="*/ 0 w 298"/>
                    <a:gd name="connsiteY3" fmla="*/ 0 h 119"/>
                  </a:gdLst>
                  <a:ahLst/>
                  <a:cxnLst>
                    <a:cxn ang="0">
                      <a:pos x="connsiteX0" y="connsiteY0"/>
                    </a:cxn>
                    <a:cxn ang="0">
                      <a:pos x="connsiteX1" y="connsiteY1"/>
                    </a:cxn>
                    <a:cxn ang="0">
                      <a:pos x="connsiteX2" y="connsiteY2"/>
                    </a:cxn>
                    <a:cxn ang="0">
                      <a:pos x="connsiteX3" y="connsiteY3"/>
                    </a:cxn>
                  </a:cxnLst>
                  <a:rect l="l" t="t" r="r" b="b"/>
                  <a:pathLst>
                    <a:path w="298" h="119">
                      <a:moveTo>
                        <a:pt x="299" y="120"/>
                      </a:moveTo>
                      <a:lnTo>
                        <a:pt x="119" y="60"/>
                      </a:lnTo>
                      <a:lnTo>
                        <a:pt x="119" y="6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611" name="Vrije vorm: vorm 7610">
                  <a:extLst>
                    <a:ext uri="{FF2B5EF4-FFF2-40B4-BE49-F238E27FC236}">
                      <a16:creationId xmlns:a16="http://schemas.microsoft.com/office/drawing/2014/main" id="{119354BD-181D-4E4C-990F-38CBCF46FE33}"/>
                    </a:ext>
                  </a:extLst>
                </p:cNvPr>
                <p:cNvSpPr/>
                <p:nvPr/>
              </p:nvSpPr>
              <p:spPr>
                <a:xfrm>
                  <a:off x="5858675" y="5231078"/>
                  <a:ext cx="1076" cy="1196"/>
                </a:xfrm>
                <a:custGeom>
                  <a:avLst/>
                  <a:gdLst>
                    <a:gd name="connsiteX0" fmla="*/ 1076 w 1076"/>
                    <a:gd name="connsiteY0" fmla="*/ 0 h 1196"/>
                    <a:gd name="connsiteX1" fmla="*/ 957 w 1076"/>
                    <a:gd name="connsiteY1" fmla="*/ 0 h 1196"/>
                    <a:gd name="connsiteX2" fmla="*/ 837 w 1076"/>
                    <a:gd name="connsiteY2" fmla="*/ 60 h 1196"/>
                    <a:gd name="connsiteX3" fmla="*/ 837 w 1076"/>
                    <a:gd name="connsiteY3" fmla="*/ 60 h 1196"/>
                    <a:gd name="connsiteX4" fmla="*/ 658 w 1076"/>
                    <a:gd name="connsiteY4" fmla="*/ 179 h 1196"/>
                    <a:gd name="connsiteX5" fmla="*/ 478 w 1076"/>
                    <a:gd name="connsiteY5" fmla="*/ 359 h 1196"/>
                    <a:gd name="connsiteX6" fmla="*/ 299 w 1076"/>
                    <a:gd name="connsiteY6" fmla="*/ 598 h 1196"/>
                    <a:gd name="connsiteX7" fmla="*/ 119 w 1076"/>
                    <a:gd name="connsiteY7" fmla="*/ 897 h 1196"/>
                    <a:gd name="connsiteX8" fmla="*/ 0 w 1076"/>
                    <a:gd name="connsiteY8" fmla="*/ 1196 h 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 h="1196">
                      <a:moveTo>
                        <a:pt x="1076" y="0"/>
                      </a:moveTo>
                      <a:lnTo>
                        <a:pt x="957" y="0"/>
                      </a:lnTo>
                      <a:lnTo>
                        <a:pt x="837" y="60"/>
                      </a:lnTo>
                      <a:lnTo>
                        <a:pt x="837" y="60"/>
                      </a:lnTo>
                      <a:lnTo>
                        <a:pt x="658" y="179"/>
                      </a:lnTo>
                      <a:lnTo>
                        <a:pt x="478" y="359"/>
                      </a:lnTo>
                      <a:lnTo>
                        <a:pt x="299" y="598"/>
                      </a:lnTo>
                      <a:lnTo>
                        <a:pt x="119" y="897"/>
                      </a:lnTo>
                      <a:lnTo>
                        <a:pt x="0" y="1196"/>
                      </a:lnTo>
                    </a:path>
                  </a:pathLst>
                </a:custGeom>
                <a:noFill/>
                <a:ln w="6350" cap="flat">
                  <a:solidFill>
                    <a:schemeClr val="bg1">
                      <a:alpha val="80000"/>
                    </a:schemeClr>
                  </a:solidFill>
                  <a:prstDash val="solid"/>
                  <a:miter/>
                </a:ln>
              </p:spPr>
              <p:txBody>
                <a:bodyPr rtlCol="0" anchor="ctr"/>
                <a:lstStyle/>
                <a:p>
                  <a:endParaRPr lang="en-GB"/>
                </a:p>
              </p:txBody>
            </p:sp>
            <p:sp>
              <p:nvSpPr>
                <p:cNvPr id="7612" name="Vrije vorm: vorm 7611">
                  <a:extLst>
                    <a:ext uri="{FF2B5EF4-FFF2-40B4-BE49-F238E27FC236}">
                      <a16:creationId xmlns:a16="http://schemas.microsoft.com/office/drawing/2014/main" id="{4BF3DE1A-0E01-42CF-AA79-30B90F135437}"/>
                    </a:ext>
                  </a:extLst>
                </p:cNvPr>
                <p:cNvSpPr/>
                <p:nvPr/>
              </p:nvSpPr>
              <p:spPr>
                <a:xfrm>
                  <a:off x="5860050" y="5230061"/>
                  <a:ext cx="5980" cy="119"/>
                </a:xfrm>
                <a:custGeom>
                  <a:avLst/>
                  <a:gdLst>
                    <a:gd name="connsiteX0" fmla="*/ 0 w 5980"/>
                    <a:gd name="connsiteY0" fmla="*/ 0 h 119"/>
                    <a:gd name="connsiteX1" fmla="*/ 0 w 5980"/>
                    <a:gd name="connsiteY1" fmla="*/ 60 h 119"/>
                    <a:gd name="connsiteX2" fmla="*/ 0 w 5980"/>
                    <a:gd name="connsiteY2" fmla="*/ 119 h 119"/>
                  </a:gdLst>
                  <a:ahLst/>
                  <a:cxnLst>
                    <a:cxn ang="0">
                      <a:pos x="connsiteX0" y="connsiteY0"/>
                    </a:cxn>
                    <a:cxn ang="0">
                      <a:pos x="connsiteX1" y="connsiteY1"/>
                    </a:cxn>
                    <a:cxn ang="0">
                      <a:pos x="connsiteX2" y="connsiteY2"/>
                    </a:cxn>
                  </a:cxnLst>
                  <a:rect l="l" t="t" r="r" b="b"/>
                  <a:pathLst>
                    <a:path w="5980" h="119">
                      <a:moveTo>
                        <a:pt x="0" y="0"/>
                      </a:moveTo>
                      <a:lnTo>
                        <a:pt x="0" y="60"/>
                      </a:lnTo>
                      <a:lnTo>
                        <a:pt x="0" y="119"/>
                      </a:lnTo>
                    </a:path>
                  </a:pathLst>
                </a:custGeom>
                <a:noFill/>
                <a:ln w="6350" cap="flat">
                  <a:solidFill>
                    <a:schemeClr val="bg1">
                      <a:alpha val="80000"/>
                    </a:schemeClr>
                  </a:solidFill>
                  <a:prstDash val="solid"/>
                  <a:miter/>
                </a:ln>
              </p:spPr>
              <p:txBody>
                <a:bodyPr rtlCol="0" anchor="ctr"/>
                <a:lstStyle/>
                <a:p>
                  <a:endParaRPr lang="en-GB"/>
                </a:p>
              </p:txBody>
            </p:sp>
            <p:sp>
              <p:nvSpPr>
                <p:cNvPr id="7613" name="Vrije vorm: vorm 7612">
                  <a:extLst>
                    <a:ext uri="{FF2B5EF4-FFF2-40B4-BE49-F238E27FC236}">
                      <a16:creationId xmlns:a16="http://schemas.microsoft.com/office/drawing/2014/main" id="{81D76E9D-A912-414F-943B-4D26CEC6ECF8}"/>
                    </a:ext>
                  </a:extLst>
                </p:cNvPr>
                <p:cNvSpPr/>
                <p:nvPr/>
              </p:nvSpPr>
              <p:spPr>
                <a:xfrm>
                  <a:off x="5860170" y="5228506"/>
                  <a:ext cx="478" cy="837"/>
                </a:xfrm>
                <a:custGeom>
                  <a:avLst/>
                  <a:gdLst>
                    <a:gd name="connsiteX0" fmla="*/ 478 w 478"/>
                    <a:gd name="connsiteY0" fmla="*/ 0 h 837"/>
                    <a:gd name="connsiteX1" fmla="*/ 299 w 478"/>
                    <a:gd name="connsiteY1" fmla="*/ 239 h 837"/>
                    <a:gd name="connsiteX2" fmla="*/ 119 w 478"/>
                    <a:gd name="connsiteY2" fmla="*/ 538 h 837"/>
                    <a:gd name="connsiteX3" fmla="*/ 0 w 478"/>
                    <a:gd name="connsiteY3" fmla="*/ 837 h 837"/>
                  </a:gdLst>
                  <a:ahLst/>
                  <a:cxnLst>
                    <a:cxn ang="0">
                      <a:pos x="connsiteX0" y="connsiteY0"/>
                    </a:cxn>
                    <a:cxn ang="0">
                      <a:pos x="connsiteX1" y="connsiteY1"/>
                    </a:cxn>
                    <a:cxn ang="0">
                      <a:pos x="connsiteX2" y="connsiteY2"/>
                    </a:cxn>
                    <a:cxn ang="0">
                      <a:pos x="connsiteX3" y="connsiteY3"/>
                    </a:cxn>
                  </a:cxnLst>
                  <a:rect l="l" t="t" r="r" b="b"/>
                  <a:pathLst>
                    <a:path w="478" h="837">
                      <a:moveTo>
                        <a:pt x="478" y="0"/>
                      </a:moveTo>
                      <a:lnTo>
                        <a:pt x="299" y="239"/>
                      </a:lnTo>
                      <a:lnTo>
                        <a:pt x="119" y="538"/>
                      </a:lnTo>
                      <a:lnTo>
                        <a:pt x="0" y="837"/>
                      </a:lnTo>
                    </a:path>
                  </a:pathLst>
                </a:custGeom>
                <a:noFill/>
                <a:ln w="6350" cap="flat">
                  <a:solidFill>
                    <a:schemeClr val="bg1">
                      <a:alpha val="80000"/>
                    </a:schemeClr>
                  </a:solidFill>
                  <a:prstDash val="solid"/>
                  <a:miter/>
                </a:ln>
              </p:spPr>
              <p:txBody>
                <a:bodyPr rtlCol="0" anchor="ctr"/>
                <a:lstStyle/>
                <a:p>
                  <a:endParaRPr lang="en-GB"/>
                </a:p>
              </p:txBody>
            </p:sp>
            <p:sp>
              <p:nvSpPr>
                <p:cNvPr id="7614" name="Vrije vorm: vorm 7613">
                  <a:extLst>
                    <a:ext uri="{FF2B5EF4-FFF2-40B4-BE49-F238E27FC236}">
                      <a16:creationId xmlns:a16="http://schemas.microsoft.com/office/drawing/2014/main" id="{59404336-2929-41E9-9727-437338026E66}"/>
                    </a:ext>
                  </a:extLst>
                </p:cNvPr>
                <p:cNvSpPr/>
                <p:nvPr/>
              </p:nvSpPr>
              <p:spPr>
                <a:xfrm>
                  <a:off x="5858615" y="5232513"/>
                  <a:ext cx="5980" cy="119"/>
                </a:xfrm>
                <a:custGeom>
                  <a:avLst/>
                  <a:gdLst>
                    <a:gd name="connsiteX0" fmla="*/ 0 w 5980"/>
                    <a:gd name="connsiteY0" fmla="*/ 0 h 119"/>
                    <a:gd name="connsiteX1" fmla="*/ 0 w 5980"/>
                    <a:gd name="connsiteY1" fmla="*/ 120 h 119"/>
                  </a:gdLst>
                  <a:ahLst/>
                  <a:cxnLst>
                    <a:cxn ang="0">
                      <a:pos x="connsiteX0" y="connsiteY0"/>
                    </a:cxn>
                    <a:cxn ang="0">
                      <a:pos x="connsiteX1" y="connsiteY1"/>
                    </a:cxn>
                  </a:cxnLst>
                  <a:rect l="l" t="t" r="r" b="b"/>
                  <a:pathLst>
                    <a:path w="5980" h="119">
                      <a:moveTo>
                        <a:pt x="0" y="0"/>
                      </a:moveTo>
                      <a:lnTo>
                        <a:pt x="0" y="120"/>
                      </a:lnTo>
                    </a:path>
                  </a:pathLst>
                </a:custGeom>
                <a:noFill/>
                <a:ln w="6350" cap="flat">
                  <a:solidFill>
                    <a:schemeClr val="bg1">
                      <a:alpha val="80000"/>
                    </a:schemeClr>
                  </a:solidFill>
                  <a:prstDash val="solid"/>
                  <a:miter/>
                </a:ln>
              </p:spPr>
              <p:txBody>
                <a:bodyPr rtlCol="0" anchor="ctr"/>
                <a:lstStyle/>
                <a:p>
                  <a:endParaRPr lang="en-GB"/>
                </a:p>
              </p:txBody>
            </p:sp>
            <p:sp>
              <p:nvSpPr>
                <p:cNvPr id="7615" name="Vrije vorm: vorm 7614">
                  <a:extLst>
                    <a:ext uri="{FF2B5EF4-FFF2-40B4-BE49-F238E27FC236}">
                      <a16:creationId xmlns:a16="http://schemas.microsoft.com/office/drawing/2014/main" id="{420A75D4-E182-411F-A568-773ABBF89038}"/>
                    </a:ext>
                  </a:extLst>
                </p:cNvPr>
                <p:cNvSpPr/>
                <p:nvPr/>
              </p:nvSpPr>
              <p:spPr>
                <a:xfrm>
                  <a:off x="5862503" y="5228327"/>
                  <a:ext cx="418" cy="538"/>
                </a:xfrm>
                <a:custGeom>
                  <a:avLst/>
                  <a:gdLst>
                    <a:gd name="connsiteX0" fmla="*/ 418 w 418"/>
                    <a:gd name="connsiteY0" fmla="*/ 0 h 538"/>
                    <a:gd name="connsiteX1" fmla="*/ 418 w 418"/>
                    <a:gd name="connsiteY1" fmla="*/ 0 h 538"/>
                    <a:gd name="connsiteX2" fmla="*/ 299 w 418"/>
                    <a:gd name="connsiteY2" fmla="*/ 0 h 538"/>
                    <a:gd name="connsiteX3" fmla="*/ 239 w 418"/>
                    <a:gd name="connsiteY3" fmla="*/ 60 h 538"/>
                    <a:gd name="connsiteX4" fmla="*/ 179 w 418"/>
                    <a:gd name="connsiteY4" fmla="*/ 120 h 538"/>
                    <a:gd name="connsiteX5" fmla="*/ 119 w 418"/>
                    <a:gd name="connsiteY5" fmla="*/ 239 h 538"/>
                    <a:gd name="connsiteX6" fmla="*/ 60 w 418"/>
                    <a:gd name="connsiteY6" fmla="*/ 359 h 538"/>
                    <a:gd name="connsiteX7" fmla="*/ 0 w 418"/>
                    <a:gd name="connsiteY7" fmla="*/ 479 h 538"/>
                    <a:gd name="connsiteX8" fmla="*/ 0 w 418"/>
                    <a:gd name="connsiteY8" fmla="*/ 538 h 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8" h="538">
                      <a:moveTo>
                        <a:pt x="418" y="0"/>
                      </a:moveTo>
                      <a:lnTo>
                        <a:pt x="418" y="0"/>
                      </a:lnTo>
                      <a:lnTo>
                        <a:pt x="299" y="0"/>
                      </a:lnTo>
                      <a:lnTo>
                        <a:pt x="239" y="60"/>
                      </a:lnTo>
                      <a:lnTo>
                        <a:pt x="179" y="120"/>
                      </a:lnTo>
                      <a:lnTo>
                        <a:pt x="119" y="239"/>
                      </a:lnTo>
                      <a:lnTo>
                        <a:pt x="60" y="359"/>
                      </a:lnTo>
                      <a:lnTo>
                        <a:pt x="0" y="479"/>
                      </a:lnTo>
                      <a:lnTo>
                        <a:pt x="0" y="538"/>
                      </a:lnTo>
                    </a:path>
                  </a:pathLst>
                </a:custGeom>
                <a:noFill/>
                <a:ln w="6350" cap="flat">
                  <a:solidFill>
                    <a:schemeClr val="bg1">
                      <a:alpha val="80000"/>
                    </a:schemeClr>
                  </a:solidFill>
                  <a:prstDash val="solid"/>
                  <a:miter/>
                </a:ln>
              </p:spPr>
              <p:txBody>
                <a:bodyPr rtlCol="0" anchor="ctr"/>
                <a:lstStyle/>
                <a:p>
                  <a:endParaRPr lang="en-GB"/>
                </a:p>
              </p:txBody>
            </p:sp>
            <p:sp>
              <p:nvSpPr>
                <p:cNvPr id="7616" name="Vrije vorm: vorm 7615">
                  <a:extLst>
                    <a:ext uri="{FF2B5EF4-FFF2-40B4-BE49-F238E27FC236}">
                      <a16:creationId xmlns:a16="http://schemas.microsoft.com/office/drawing/2014/main" id="{BB4E67E3-838A-4A9A-BB87-A82A54CE5129}"/>
                    </a:ext>
                  </a:extLst>
                </p:cNvPr>
                <p:cNvSpPr/>
                <p:nvPr/>
              </p:nvSpPr>
              <p:spPr>
                <a:xfrm>
                  <a:off x="5862024" y="5225516"/>
                  <a:ext cx="597" cy="59"/>
                </a:xfrm>
                <a:custGeom>
                  <a:avLst/>
                  <a:gdLst>
                    <a:gd name="connsiteX0" fmla="*/ 0 w 597"/>
                    <a:gd name="connsiteY0" fmla="*/ 60 h 59"/>
                    <a:gd name="connsiteX1" fmla="*/ 598 w 597"/>
                    <a:gd name="connsiteY1" fmla="*/ 0 h 59"/>
                  </a:gdLst>
                  <a:ahLst/>
                  <a:cxnLst>
                    <a:cxn ang="0">
                      <a:pos x="connsiteX0" y="connsiteY0"/>
                    </a:cxn>
                    <a:cxn ang="0">
                      <a:pos x="connsiteX1" y="connsiteY1"/>
                    </a:cxn>
                  </a:cxnLst>
                  <a:rect l="l" t="t" r="r" b="b"/>
                  <a:pathLst>
                    <a:path w="597" h="59">
                      <a:moveTo>
                        <a:pt x="0" y="60"/>
                      </a:moveTo>
                      <a:lnTo>
                        <a:pt x="598" y="0"/>
                      </a:lnTo>
                    </a:path>
                  </a:pathLst>
                </a:custGeom>
                <a:noFill/>
                <a:ln w="6350" cap="flat">
                  <a:solidFill>
                    <a:schemeClr val="bg1">
                      <a:alpha val="80000"/>
                    </a:schemeClr>
                  </a:solidFill>
                  <a:prstDash val="solid"/>
                  <a:miter/>
                </a:ln>
              </p:spPr>
              <p:txBody>
                <a:bodyPr rtlCol="0" anchor="ctr"/>
                <a:lstStyle/>
                <a:p>
                  <a:endParaRPr lang="en-GB"/>
                </a:p>
              </p:txBody>
            </p:sp>
            <p:sp>
              <p:nvSpPr>
                <p:cNvPr id="7617" name="Vrije vorm: vorm 7616">
                  <a:extLst>
                    <a:ext uri="{FF2B5EF4-FFF2-40B4-BE49-F238E27FC236}">
                      <a16:creationId xmlns:a16="http://schemas.microsoft.com/office/drawing/2014/main" id="{5478D290-38CD-4A74-A438-C737A507AF03}"/>
                    </a:ext>
                  </a:extLst>
                </p:cNvPr>
                <p:cNvSpPr/>
                <p:nvPr/>
              </p:nvSpPr>
              <p:spPr>
                <a:xfrm>
                  <a:off x="5857598" y="5236401"/>
                  <a:ext cx="298" cy="119"/>
                </a:xfrm>
                <a:custGeom>
                  <a:avLst/>
                  <a:gdLst>
                    <a:gd name="connsiteX0" fmla="*/ 299 w 298"/>
                    <a:gd name="connsiteY0" fmla="*/ 119 h 119"/>
                    <a:gd name="connsiteX1" fmla="*/ 0 w 298"/>
                    <a:gd name="connsiteY1" fmla="*/ 0 h 119"/>
                    <a:gd name="connsiteX2" fmla="*/ 0 w 298"/>
                    <a:gd name="connsiteY2" fmla="*/ 0 h 119"/>
                  </a:gdLst>
                  <a:ahLst/>
                  <a:cxnLst>
                    <a:cxn ang="0">
                      <a:pos x="connsiteX0" y="connsiteY0"/>
                    </a:cxn>
                    <a:cxn ang="0">
                      <a:pos x="connsiteX1" y="connsiteY1"/>
                    </a:cxn>
                    <a:cxn ang="0">
                      <a:pos x="connsiteX2" y="connsiteY2"/>
                    </a:cxn>
                  </a:cxnLst>
                  <a:rect l="l" t="t" r="r" b="b"/>
                  <a:pathLst>
                    <a:path w="298" h="119">
                      <a:moveTo>
                        <a:pt x="299" y="119"/>
                      </a:moveTo>
                      <a:lnTo>
                        <a:pt x="0" y="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618" name="Vrije vorm: vorm 7617">
                  <a:extLst>
                    <a:ext uri="{FF2B5EF4-FFF2-40B4-BE49-F238E27FC236}">
                      <a16:creationId xmlns:a16="http://schemas.microsoft.com/office/drawing/2014/main" id="{55586A7A-9C5A-4CBF-9AAD-3746A078BD31}"/>
                    </a:ext>
                  </a:extLst>
                </p:cNvPr>
                <p:cNvSpPr/>
                <p:nvPr/>
              </p:nvSpPr>
              <p:spPr>
                <a:xfrm>
                  <a:off x="5858794" y="5231257"/>
                  <a:ext cx="1256" cy="2212"/>
                </a:xfrm>
                <a:custGeom>
                  <a:avLst/>
                  <a:gdLst>
                    <a:gd name="connsiteX0" fmla="*/ 1256 w 1256"/>
                    <a:gd name="connsiteY0" fmla="*/ 0 h 2212"/>
                    <a:gd name="connsiteX1" fmla="*/ 1136 w 1256"/>
                    <a:gd name="connsiteY1" fmla="*/ 0 h 2212"/>
                    <a:gd name="connsiteX2" fmla="*/ 1017 w 1256"/>
                    <a:gd name="connsiteY2" fmla="*/ 60 h 2212"/>
                    <a:gd name="connsiteX3" fmla="*/ 837 w 1256"/>
                    <a:gd name="connsiteY3" fmla="*/ 180 h 2212"/>
                    <a:gd name="connsiteX4" fmla="*/ 658 w 1256"/>
                    <a:gd name="connsiteY4" fmla="*/ 359 h 2212"/>
                    <a:gd name="connsiteX5" fmla="*/ 598 w 1256"/>
                    <a:gd name="connsiteY5" fmla="*/ 479 h 2212"/>
                    <a:gd name="connsiteX6" fmla="*/ 479 w 1256"/>
                    <a:gd name="connsiteY6" fmla="*/ 598 h 2212"/>
                    <a:gd name="connsiteX7" fmla="*/ 299 w 1256"/>
                    <a:gd name="connsiteY7" fmla="*/ 897 h 2212"/>
                    <a:gd name="connsiteX8" fmla="*/ 180 w 1256"/>
                    <a:gd name="connsiteY8" fmla="*/ 1196 h 2212"/>
                    <a:gd name="connsiteX9" fmla="*/ 60 w 1256"/>
                    <a:gd name="connsiteY9" fmla="*/ 1436 h 2212"/>
                    <a:gd name="connsiteX10" fmla="*/ 60 w 1256"/>
                    <a:gd name="connsiteY10" fmla="*/ 1436 h 2212"/>
                    <a:gd name="connsiteX11" fmla="*/ 0 w 1256"/>
                    <a:gd name="connsiteY11" fmla="*/ 1675 h 2212"/>
                    <a:gd name="connsiteX12" fmla="*/ 0 w 1256"/>
                    <a:gd name="connsiteY12" fmla="*/ 1914 h 2212"/>
                    <a:gd name="connsiteX13" fmla="*/ 0 w 1256"/>
                    <a:gd name="connsiteY13" fmla="*/ 1974 h 2212"/>
                    <a:gd name="connsiteX14" fmla="*/ 0 w 1256"/>
                    <a:gd name="connsiteY14" fmla="*/ 2093 h 2212"/>
                    <a:gd name="connsiteX15" fmla="*/ 60 w 1256"/>
                    <a:gd name="connsiteY15" fmla="*/ 2213 h 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6" h="2212">
                      <a:moveTo>
                        <a:pt x="1256" y="0"/>
                      </a:moveTo>
                      <a:lnTo>
                        <a:pt x="1136" y="0"/>
                      </a:lnTo>
                      <a:lnTo>
                        <a:pt x="1017" y="60"/>
                      </a:lnTo>
                      <a:lnTo>
                        <a:pt x="837" y="180"/>
                      </a:lnTo>
                      <a:lnTo>
                        <a:pt x="658" y="359"/>
                      </a:lnTo>
                      <a:lnTo>
                        <a:pt x="598" y="479"/>
                      </a:lnTo>
                      <a:lnTo>
                        <a:pt x="479" y="598"/>
                      </a:lnTo>
                      <a:lnTo>
                        <a:pt x="299" y="897"/>
                      </a:lnTo>
                      <a:lnTo>
                        <a:pt x="180" y="1196"/>
                      </a:lnTo>
                      <a:lnTo>
                        <a:pt x="60" y="1436"/>
                      </a:lnTo>
                      <a:lnTo>
                        <a:pt x="60" y="1436"/>
                      </a:lnTo>
                      <a:lnTo>
                        <a:pt x="0" y="1675"/>
                      </a:lnTo>
                      <a:lnTo>
                        <a:pt x="0" y="1914"/>
                      </a:lnTo>
                      <a:lnTo>
                        <a:pt x="0" y="1974"/>
                      </a:lnTo>
                      <a:lnTo>
                        <a:pt x="0" y="2093"/>
                      </a:lnTo>
                      <a:lnTo>
                        <a:pt x="60" y="2213"/>
                      </a:lnTo>
                    </a:path>
                  </a:pathLst>
                </a:custGeom>
                <a:noFill/>
                <a:ln w="6350" cap="flat">
                  <a:solidFill>
                    <a:schemeClr val="bg1">
                      <a:alpha val="80000"/>
                    </a:schemeClr>
                  </a:solidFill>
                  <a:prstDash val="solid"/>
                  <a:miter/>
                </a:ln>
              </p:spPr>
              <p:txBody>
                <a:bodyPr rtlCol="0" anchor="ctr"/>
                <a:lstStyle/>
                <a:p>
                  <a:endParaRPr lang="en-GB"/>
                </a:p>
              </p:txBody>
            </p:sp>
            <p:sp>
              <p:nvSpPr>
                <p:cNvPr id="7619" name="Vrije vorm: vorm 7618">
                  <a:extLst>
                    <a:ext uri="{FF2B5EF4-FFF2-40B4-BE49-F238E27FC236}">
                      <a16:creationId xmlns:a16="http://schemas.microsoft.com/office/drawing/2014/main" id="{417A2664-8FB8-4F5F-94E5-D01643881AF8}"/>
                    </a:ext>
                  </a:extLst>
                </p:cNvPr>
                <p:cNvSpPr/>
                <p:nvPr/>
              </p:nvSpPr>
              <p:spPr>
                <a:xfrm>
                  <a:off x="5860290" y="5228207"/>
                  <a:ext cx="1315" cy="2332"/>
                </a:xfrm>
                <a:custGeom>
                  <a:avLst/>
                  <a:gdLst>
                    <a:gd name="connsiteX0" fmla="*/ 1256 w 1315"/>
                    <a:gd name="connsiteY0" fmla="*/ 119 h 2332"/>
                    <a:gd name="connsiteX1" fmla="*/ 1136 w 1315"/>
                    <a:gd name="connsiteY1" fmla="*/ 119 h 2332"/>
                    <a:gd name="connsiteX2" fmla="*/ 1017 w 1315"/>
                    <a:gd name="connsiteY2" fmla="*/ 179 h 2332"/>
                    <a:gd name="connsiteX3" fmla="*/ 837 w 1315"/>
                    <a:gd name="connsiteY3" fmla="*/ 299 h 2332"/>
                    <a:gd name="connsiteX4" fmla="*/ 658 w 1315"/>
                    <a:gd name="connsiteY4" fmla="*/ 478 h 2332"/>
                    <a:gd name="connsiteX5" fmla="*/ 598 w 1315"/>
                    <a:gd name="connsiteY5" fmla="*/ 598 h 2332"/>
                    <a:gd name="connsiteX6" fmla="*/ 479 w 1315"/>
                    <a:gd name="connsiteY6" fmla="*/ 718 h 2332"/>
                    <a:gd name="connsiteX7" fmla="*/ 299 w 1315"/>
                    <a:gd name="connsiteY7" fmla="*/ 1017 h 2332"/>
                    <a:gd name="connsiteX8" fmla="*/ 180 w 1315"/>
                    <a:gd name="connsiteY8" fmla="*/ 1316 h 2332"/>
                    <a:gd name="connsiteX9" fmla="*/ 60 w 1315"/>
                    <a:gd name="connsiteY9" fmla="*/ 1555 h 2332"/>
                    <a:gd name="connsiteX10" fmla="*/ 60 w 1315"/>
                    <a:gd name="connsiteY10" fmla="*/ 1555 h 2332"/>
                    <a:gd name="connsiteX11" fmla="*/ 0 w 1315"/>
                    <a:gd name="connsiteY11" fmla="*/ 1794 h 2332"/>
                    <a:gd name="connsiteX12" fmla="*/ 0 w 1315"/>
                    <a:gd name="connsiteY12" fmla="*/ 2033 h 2332"/>
                    <a:gd name="connsiteX13" fmla="*/ 0 w 1315"/>
                    <a:gd name="connsiteY13" fmla="*/ 2093 h 2332"/>
                    <a:gd name="connsiteX14" fmla="*/ 0 w 1315"/>
                    <a:gd name="connsiteY14" fmla="*/ 2213 h 2332"/>
                    <a:gd name="connsiteX15" fmla="*/ 60 w 1315"/>
                    <a:gd name="connsiteY15" fmla="*/ 2332 h 2332"/>
                    <a:gd name="connsiteX16" fmla="*/ 180 w 1315"/>
                    <a:gd name="connsiteY16" fmla="*/ 2332 h 2332"/>
                    <a:gd name="connsiteX17" fmla="*/ 239 w 1315"/>
                    <a:gd name="connsiteY17" fmla="*/ 2272 h 2332"/>
                    <a:gd name="connsiteX18" fmla="*/ 299 w 1315"/>
                    <a:gd name="connsiteY18" fmla="*/ 2272 h 2332"/>
                    <a:gd name="connsiteX19" fmla="*/ 479 w 1315"/>
                    <a:gd name="connsiteY19" fmla="*/ 2153 h 2332"/>
                    <a:gd name="connsiteX20" fmla="*/ 658 w 1315"/>
                    <a:gd name="connsiteY20" fmla="*/ 1973 h 2332"/>
                    <a:gd name="connsiteX21" fmla="*/ 837 w 1315"/>
                    <a:gd name="connsiteY21" fmla="*/ 1734 h 2332"/>
                    <a:gd name="connsiteX22" fmla="*/ 1017 w 1315"/>
                    <a:gd name="connsiteY22" fmla="*/ 1435 h 2332"/>
                    <a:gd name="connsiteX23" fmla="*/ 1136 w 1315"/>
                    <a:gd name="connsiteY23" fmla="*/ 1136 h 2332"/>
                    <a:gd name="connsiteX24" fmla="*/ 1196 w 1315"/>
                    <a:gd name="connsiteY24" fmla="*/ 1017 h 2332"/>
                    <a:gd name="connsiteX25" fmla="*/ 1256 w 1315"/>
                    <a:gd name="connsiteY25" fmla="*/ 837 h 2332"/>
                    <a:gd name="connsiteX26" fmla="*/ 1316 w 1315"/>
                    <a:gd name="connsiteY26" fmla="*/ 598 h 2332"/>
                    <a:gd name="connsiteX27" fmla="*/ 1316 w 1315"/>
                    <a:gd name="connsiteY27" fmla="*/ 418 h 2332"/>
                    <a:gd name="connsiteX28" fmla="*/ 1316 w 1315"/>
                    <a:gd name="connsiteY28" fmla="*/ 359 h 2332"/>
                    <a:gd name="connsiteX29" fmla="*/ 1316 w 1315"/>
                    <a:gd name="connsiteY29" fmla="*/ 179 h 2332"/>
                    <a:gd name="connsiteX30" fmla="*/ 1256 w 1315"/>
                    <a:gd name="connsiteY30" fmla="*/ 119 h 2332"/>
                    <a:gd name="connsiteX31" fmla="*/ 957 w 1315"/>
                    <a:gd name="connsiteY31" fmla="*/ 0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15" h="2332">
                      <a:moveTo>
                        <a:pt x="1256" y="119"/>
                      </a:moveTo>
                      <a:lnTo>
                        <a:pt x="1136" y="119"/>
                      </a:lnTo>
                      <a:lnTo>
                        <a:pt x="1017" y="179"/>
                      </a:lnTo>
                      <a:lnTo>
                        <a:pt x="837" y="299"/>
                      </a:lnTo>
                      <a:lnTo>
                        <a:pt x="658" y="478"/>
                      </a:lnTo>
                      <a:lnTo>
                        <a:pt x="598" y="598"/>
                      </a:lnTo>
                      <a:lnTo>
                        <a:pt x="479" y="718"/>
                      </a:lnTo>
                      <a:lnTo>
                        <a:pt x="299" y="1017"/>
                      </a:lnTo>
                      <a:lnTo>
                        <a:pt x="180" y="1316"/>
                      </a:lnTo>
                      <a:lnTo>
                        <a:pt x="60" y="1555"/>
                      </a:lnTo>
                      <a:lnTo>
                        <a:pt x="60" y="1555"/>
                      </a:lnTo>
                      <a:lnTo>
                        <a:pt x="0" y="1794"/>
                      </a:lnTo>
                      <a:lnTo>
                        <a:pt x="0" y="2033"/>
                      </a:lnTo>
                      <a:lnTo>
                        <a:pt x="0" y="2093"/>
                      </a:lnTo>
                      <a:lnTo>
                        <a:pt x="0" y="2213"/>
                      </a:lnTo>
                      <a:lnTo>
                        <a:pt x="60" y="2332"/>
                      </a:lnTo>
                      <a:lnTo>
                        <a:pt x="180" y="2332"/>
                      </a:lnTo>
                      <a:lnTo>
                        <a:pt x="239" y="2272"/>
                      </a:lnTo>
                      <a:lnTo>
                        <a:pt x="299" y="2272"/>
                      </a:lnTo>
                      <a:lnTo>
                        <a:pt x="479" y="2153"/>
                      </a:lnTo>
                      <a:lnTo>
                        <a:pt x="658" y="1973"/>
                      </a:lnTo>
                      <a:lnTo>
                        <a:pt x="837" y="1734"/>
                      </a:lnTo>
                      <a:lnTo>
                        <a:pt x="1017" y="1435"/>
                      </a:lnTo>
                      <a:lnTo>
                        <a:pt x="1136" y="1136"/>
                      </a:lnTo>
                      <a:lnTo>
                        <a:pt x="1196" y="1017"/>
                      </a:lnTo>
                      <a:lnTo>
                        <a:pt x="1256" y="837"/>
                      </a:lnTo>
                      <a:lnTo>
                        <a:pt x="1316" y="598"/>
                      </a:lnTo>
                      <a:lnTo>
                        <a:pt x="1316" y="418"/>
                      </a:lnTo>
                      <a:lnTo>
                        <a:pt x="1316" y="359"/>
                      </a:lnTo>
                      <a:lnTo>
                        <a:pt x="1316" y="179"/>
                      </a:lnTo>
                      <a:lnTo>
                        <a:pt x="1256" y="119"/>
                      </a:lnTo>
                      <a:lnTo>
                        <a:pt x="957" y="0"/>
                      </a:lnTo>
                    </a:path>
                  </a:pathLst>
                </a:custGeom>
                <a:noFill/>
                <a:ln w="6350" cap="flat">
                  <a:solidFill>
                    <a:schemeClr val="bg1">
                      <a:alpha val="80000"/>
                    </a:schemeClr>
                  </a:solidFill>
                  <a:prstDash val="solid"/>
                  <a:miter/>
                </a:ln>
              </p:spPr>
              <p:txBody>
                <a:bodyPr rtlCol="0" anchor="ctr"/>
                <a:lstStyle/>
                <a:p>
                  <a:endParaRPr lang="en-GB"/>
                </a:p>
              </p:txBody>
            </p:sp>
            <p:sp>
              <p:nvSpPr>
                <p:cNvPr id="7620" name="Vrije vorm: vorm 7619">
                  <a:extLst>
                    <a:ext uri="{FF2B5EF4-FFF2-40B4-BE49-F238E27FC236}">
                      <a16:creationId xmlns:a16="http://schemas.microsoft.com/office/drawing/2014/main" id="{D6642494-A6DC-4586-9410-36201DF12F21}"/>
                    </a:ext>
                  </a:extLst>
                </p:cNvPr>
                <p:cNvSpPr/>
                <p:nvPr/>
              </p:nvSpPr>
              <p:spPr>
                <a:xfrm>
                  <a:off x="5860170" y="5230360"/>
                  <a:ext cx="298" cy="119"/>
                </a:xfrm>
                <a:custGeom>
                  <a:avLst/>
                  <a:gdLst>
                    <a:gd name="connsiteX0" fmla="*/ 299 w 298"/>
                    <a:gd name="connsiteY0" fmla="*/ 119 h 119"/>
                    <a:gd name="connsiteX1" fmla="*/ 0 w 298"/>
                    <a:gd name="connsiteY1" fmla="*/ 0 h 119"/>
                  </a:gdLst>
                  <a:ahLst/>
                  <a:cxnLst>
                    <a:cxn ang="0">
                      <a:pos x="connsiteX0" y="connsiteY0"/>
                    </a:cxn>
                    <a:cxn ang="0">
                      <a:pos x="connsiteX1" y="connsiteY1"/>
                    </a:cxn>
                  </a:cxnLst>
                  <a:rect l="l" t="t" r="r" b="b"/>
                  <a:pathLst>
                    <a:path w="298" h="119">
                      <a:moveTo>
                        <a:pt x="299" y="119"/>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621" name="Vrije vorm: vorm 7620">
                  <a:extLst>
                    <a:ext uri="{FF2B5EF4-FFF2-40B4-BE49-F238E27FC236}">
                      <a16:creationId xmlns:a16="http://schemas.microsoft.com/office/drawing/2014/main" id="{6E6034E6-92E4-45B8-9F41-B00C5F1666D7}"/>
                    </a:ext>
                  </a:extLst>
                </p:cNvPr>
                <p:cNvSpPr/>
                <p:nvPr/>
              </p:nvSpPr>
              <p:spPr>
                <a:xfrm>
                  <a:off x="5862742" y="5228506"/>
                  <a:ext cx="478" cy="956"/>
                </a:xfrm>
                <a:custGeom>
                  <a:avLst/>
                  <a:gdLst>
                    <a:gd name="connsiteX0" fmla="*/ 479 w 478"/>
                    <a:gd name="connsiteY0" fmla="*/ 0 h 956"/>
                    <a:gd name="connsiteX1" fmla="*/ 479 w 478"/>
                    <a:gd name="connsiteY1" fmla="*/ 0 h 956"/>
                    <a:gd name="connsiteX2" fmla="*/ 359 w 478"/>
                    <a:gd name="connsiteY2" fmla="*/ 0 h 956"/>
                    <a:gd name="connsiteX3" fmla="*/ 299 w 478"/>
                    <a:gd name="connsiteY3" fmla="*/ 60 h 956"/>
                    <a:gd name="connsiteX4" fmla="*/ 299 w 478"/>
                    <a:gd name="connsiteY4" fmla="*/ 60 h 956"/>
                    <a:gd name="connsiteX5" fmla="*/ 299 w 478"/>
                    <a:gd name="connsiteY5" fmla="*/ 60 h 956"/>
                    <a:gd name="connsiteX6" fmla="*/ 239 w 478"/>
                    <a:gd name="connsiteY6" fmla="*/ 119 h 956"/>
                    <a:gd name="connsiteX7" fmla="*/ 179 w 478"/>
                    <a:gd name="connsiteY7" fmla="*/ 239 h 956"/>
                    <a:gd name="connsiteX8" fmla="*/ 120 w 478"/>
                    <a:gd name="connsiteY8" fmla="*/ 359 h 956"/>
                    <a:gd name="connsiteX9" fmla="*/ 120 w 478"/>
                    <a:gd name="connsiteY9" fmla="*/ 359 h 956"/>
                    <a:gd name="connsiteX10" fmla="*/ 60 w 478"/>
                    <a:gd name="connsiteY10" fmla="*/ 419 h 956"/>
                    <a:gd name="connsiteX11" fmla="*/ 60 w 478"/>
                    <a:gd name="connsiteY11" fmla="*/ 478 h 956"/>
                    <a:gd name="connsiteX12" fmla="*/ 0 w 478"/>
                    <a:gd name="connsiteY12" fmla="*/ 598 h 956"/>
                    <a:gd name="connsiteX13" fmla="*/ 0 w 478"/>
                    <a:gd name="connsiteY13" fmla="*/ 718 h 956"/>
                    <a:gd name="connsiteX14" fmla="*/ 0 w 478"/>
                    <a:gd name="connsiteY14" fmla="*/ 837 h 956"/>
                    <a:gd name="connsiteX15" fmla="*/ 0 w 478"/>
                    <a:gd name="connsiteY15" fmla="*/ 897 h 956"/>
                    <a:gd name="connsiteX16" fmla="*/ 0 w 478"/>
                    <a:gd name="connsiteY16" fmla="*/ 957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8" h="956">
                      <a:moveTo>
                        <a:pt x="479" y="0"/>
                      </a:moveTo>
                      <a:lnTo>
                        <a:pt x="479" y="0"/>
                      </a:lnTo>
                      <a:lnTo>
                        <a:pt x="359" y="0"/>
                      </a:lnTo>
                      <a:lnTo>
                        <a:pt x="299" y="60"/>
                      </a:lnTo>
                      <a:lnTo>
                        <a:pt x="299" y="60"/>
                      </a:lnTo>
                      <a:lnTo>
                        <a:pt x="299" y="60"/>
                      </a:lnTo>
                      <a:lnTo>
                        <a:pt x="239" y="119"/>
                      </a:lnTo>
                      <a:lnTo>
                        <a:pt x="179" y="239"/>
                      </a:lnTo>
                      <a:lnTo>
                        <a:pt x="120" y="359"/>
                      </a:lnTo>
                      <a:lnTo>
                        <a:pt x="120" y="359"/>
                      </a:lnTo>
                      <a:lnTo>
                        <a:pt x="60" y="419"/>
                      </a:lnTo>
                      <a:lnTo>
                        <a:pt x="60" y="478"/>
                      </a:lnTo>
                      <a:lnTo>
                        <a:pt x="0" y="598"/>
                      </a:lnTo>
                      <a:lnTo>
                        <a:pt x="0" y="718"/>
                      </a:lnTo>
                      <a:lnTo>
                        <a:pt x="0" y="837"/>
                      </a:lnTo>
                      <a:lnTo>
                        <a:pt x="0" y="897"/>
                      </a:lnTo>
                      <a:lnTo>
                        <a:pt x="0" y="957"/>
                      </a:lnTo>
                    </a:path>
                  </a:pathLst>
                </a:custGeom>
                <a:noFill/>
                <a:ln w="6350" cap="flat">
                  <a:solidFill>
                    <a:schemeClr val="bg1">
                      <a:alpha val="80000"/>
                    </a:schemeClr>
                  </a:solidFill>
                  <a:prstDash val="solid"/>
                  <a:miter/>
                </a:ln>
              </p:spPr>
              <p:txBody>
                <a:bodyPr rtlCol="0" anchor="ctr"/>
                <a:lstStyle/>
                <a:p>
                  <a:endParaRPr lang="en-GB"/>
                </a:p>
              </p:txBody>
            </p:sp>
            <p:sp>
              <p:nvSpPr>
                <p:cNvPr id="7622" name="Vrije vorm: vorm 7621">
                  <a:extLst>
                    <a:ext uri="{FF2B5EF4-FFF2-40B4-BE49-F238E27FC236}">
                      <a16:creationId xmlns:a16="http://schemas.microsoft.com/office/drawing/2014/main" id="{C3F62B5E-E09D-45B7-92BF-CE8A488E814F}"/>
                    </a:ext>
                  </a:extLst>
                </p:cNvPr>
                <p:cNvSpPr/>
                <p:nvPr/>
              </p:nvSpPr>
              <p:spPr>
                <a:xfrm>
                  <a:off x="5795399" y="5150159"/>
                  <a:ext cx="22128" cy="7296"/>
                </a:xfrm>
                <a:custGeom>
                  <a:avLst/>
                  <a:gdLst>
                    <a:gd name="connsiteX0" fmla="*/ 0 w 22128"/>
                    <a:gd name="connsiteY0" fmla="*/ 1555 h 7296"/>
                    <a:gd name="connsiteX1" fmla="*/ 1495 w 22128"/>
                    <a:gd name="connsiteY1" fmla="*/ 479 h 7296"/>
                    <a:gd name="connsiteX2" fmla="*/ 3110 w 22128"/>
                    <a:gd name="connsiteY2" fmla="*/ 0 h 7296"/>
                    <a:gd name="connsiteX3" fmla="*/ 3349 w 22128"/>
                    <a:gd name="connsiteY3" fmla="*/ 60 h 7296"/>
                    <a:gd name="connsiteX4" fmla="*/ 4486 w 22128"/>
                    <a:gd name="connsiteY4" fmla="*/ 299 h 7296"/>
                    <a:gd name="connsiteX5" fmla="*/ 7057 w 22128"/>
                    <a:gd name="connsiteY5" fmla="*/ 1316 h 7296"/>
                    <a:gd name="connsiteX6" fmla="*/ 9629 w 22128"/>
                    <a:gd name="connsiteY6" fmla="*/ 2333 h 7296"/>
                    <a:gd name="connsiteX7" fmla="*/ 9868 w 22128"/>
                    <a:gd name="connsiteY7" fmla="*/ 2452 h 7296"/>
                    <a:gd name="connsiteX8" fmla="*/ 12440 w 22128"/>
                    <a:gd name="connsiteY8" fmla="*/ 3469 h 7296"/>
                    <a:gd name="connsiteX9" fmla="*/ 15012 w 22128"/>
                    <a:gd name="connsiteY9" fmla="*/ 4486 h 7296"/>
                    <a:gd name="connsiteX10" fmla="*/ 17583 w 22128"/>
                    <a:gd name="connsiteY10" fmla="*/ 5503 h 7296"/>
                    <a:gd name="connsiteX11" fmla="*/ 20155 w 22128"/>
                    <a:gd name="connsiteY11" fmla="*/ 6519 h 7296"/>
                    <a:gd name="connsiteX12" fmla="*/ 22129 w 22128"/>
                    <a:gd name="connsiteY12" fmla="*/ 7297 h 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128" h="7296">
                      <a:moveTo>
                        <a:pt x="0" y="1555"/>
                      </a:moveTo>
                      <a:lnTo>
                        <a:pt x="1495" y="479"/>
                      </a:lnTo>
                      <a:lnTo>
                        <a:pt x="3110" y="0"/>
                      </a:lnTo>
                      <a:lnTo>
                        <a:pt x="3349" y="60"/>
                      </a:lnTo>
                      <a:lnTo>
                        <a:pt x="4486" y="299"/>
                      </a:lnTo>
                      <a:lnTo>
                        <a:pt x="7057" y="1316"/>
                      </a:lnTo>
                      <a:lnTo>
                        <a:pt x="9629" y="2333"/>
                      </a:lnTo>
                      <a:lnTo>
                        <a:pt x="9868" y="2452"/>
                      </a:lnTo>
                      <a:lnTo>
                        <a:pt x="12440" y="3469"/>
                      </a:lnTo>
                      <a:lnTo>
                        <a:pt x="15012" y="4486"/>
                      </a:lnTo>
                      <a:lnTo>
                        <a:pt x="17583" y="5503"/>
                      </a:lnTo>
                      <a:lnTo>
                        <a:pt x="20155" y="6519"/>
                      </a:lnTo>
                      <a:lnTo>
                        <a:pt x="22129" y="7297"/>
                      </a:lnTo>
                    </a:path>
                  </a:pathLst>
                </a:custGeom>
                <a:noFill/>
                <a:ln w="6350" cap="flat">
                  <a:solidFill>
                    <a:schemeClr val="bg1">
                      <a:alpha val="80000"/>
                    </a:schemeClr>
                  </a:solidFill>
                  <a:prstDash val="solid"/>
                  <a:miter/>
                </a:ln>
              </p:spPr>
              <p:txBody>
                <a:bodyPr rtlCol="0" anchor="ctr"/>
                <a:lstStyle/>
                <a:p>
                  <a:endParaRPr lang="en-GB"/>
                </a:p>
              </p:txBody>
            </p:sp>
            <p:sp>
              <p:nvSpPr>
                <p:cNvPr id="7623" name="Vrije vorm: vorm 7622">
                  <a:extLst>
                    <a:ext uri="{FF2B5EF4-FFF2-40B4-BE49-F238E27FC236}">
                      <a16:creationId xmlns:a16="http://schemas.microsoft.com/office/drawing/2014/main" id="{A30A4EA4-2280-4424-B77C-08BB5369BF88}"/>
                    </a:ext>
                  </a:extLst>
                </p:cNvPr>
                <p:cNvSpPr/>
                <p:nvPr/>
              </p:nvSpPr>
              <p:spPr>
                <a:xfrm>
                  <a:off x="5811248" y="5156917"/>
                  <a:ext cx="7834" cy="3827"/>
                </a:xfrm>
                <a:custGeom>
                  <a:avLst/>
                  <a:gdLst>
                    <a:gd name="connsiteX0" fmla="*/ 0 w 7834"/>
                    <a:gd name="connsiteY0" fmla="*/ 3828 h 3827"/>
                    <a:gd name="connsiteX1" fmla="*/ 1734 w 7834"/>
                    <a:gd name="connsiteY1" fmla="*/ 1854 h 3827"/>
                    <a:gd name="connsiteX2" fmla="*/ 3469 w 7834"/>
                    <a:gd name="connsiteY2" fmla="*/ 538 h 3827"/>
                    <a:gd name="connsiteX3" fmla="*/ 5083 w 7834"/>
                    <a:gd name="connsiteY3" fmla="*/ 0 h 3827"/>
                    <a:gd name="connsiteX4" fmla="*/ 6399 w 7834"/>
                    <a:gd name="connsiteY4" fmla="*/ 299 h 3827"/>
                    <a:gd name="connsiteX5" fmla="*/ 7356 w 7834"/>
                    <a:gd name="connsiteY5" fmla="*/ 1376 h 3827"/>
                    <a:gd name="connsiteX6" fmla="*/ 7835 w 7834"/>
                    <a:gd name="connsiteY6" fmla="*/ 3110 h 3827"/>
                    <a:gd name="connsiteX7" fmla="*/ 7835 w 7834"/>
                    <a:gd name="connsiteY7" fmla="*/ 3469 h 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34" h="3827">
                      <a:moveTo>
                        <a:pt x="0" y="3828"/>
                      </a:moveTo>
                      <a:lnTo>
                        <a:pt x="1734" y="1854"/>
                      </a:lnTo>
                      <a:lnTo>
                        <a:pt x="3469" y="538"/>
                      </a:lnTo>
                      <a:lnTo>
                        <a:pt x="5083" y="0"/>
                      </a:lnTo>
                      <a:lnTo>
                        <a:pt x="6399" y="299"/>
                      </a:lnTo>
                      <a:lnTo>
                        <a:pt x="7356" y="1376"/>
                      </a:lnTo>
                      <a:lnTo>
                        <a:pt x="7835" y="3110"/>
                      </a:lnTo>
                      <a:lnTo>
                        <a:pt x="7835" y="3469"/>
                      </a:lnTo>
                    </a:path>
                  </a:pathLst>
                </a:custGeom>
                <a:noFill/>
                <a:ln w="6350" cap="flat">
                  <a:solidFill>
                    <a:schemeClr val="bg1">
                      <a:alpha val="80000"/>
                    </a:schemeClr>
                  </a:solidFill>
                  <a:prstDash val="solid"/>
                  <a:miter/>
                </a:ln>
              </p:spPr>
              <p:txBody>
                <a:bodyPr rtlCol="0" anchor="ctr"/>
                <a:lstStyle/>
                <a:p>
                  <a:endParaRPr lang="en-GB"/>
                </a:p>
              </p:txBody>
            </p:sp>
            <p:sp>
              <p:nvSpPr>
                <p:cNvPr id="7624" name="Vrije vorm: vorm 7623">
                  <a:extLst>
                    <a:ext uri="{FF2B5EF4-FFF2-40B4-BE49-F238E27FC236}">
                      <a16:creationId xmlns:a16="http://schemas.microsoft.com/office/drawing/2014/main" id="{D115983C-6246-445D-A775-F82A2FD3A977}"/>
                    </a:ext>
                  </a:extLst>
                </p:cNvPr>
                <p:cNvSpPr/>
                <p:nvPr/>
              </p:nvSpPr>
              <p:spPr>
                <a:xfrm>
                  <a:off x="5764598" y="5154106"/>
                  <a:ext cx="23205" cy="53706"/>
                </a:xfrm>
                <a:custGeom>
                  <a:avLst/>
                  <a:gdLst>
                    <a:gd name="connsiteX0" fmla="*/ 23205 w 23205"/>
                    <a:gd name="connsiteY0" fmla="*/ 0 h 53706"/>
                    <a:gd name="connsiteX1" fmla="*/ 20873 w 23205"/>
                    <a:gd name="connsiteY1" fmla="*/ 3110 h 53706"/>
                    <a:gd name="connsiteX2" fmla="*/ 19019 w 23205"/>
                    <a:gd name="connsiteY2" fmla="*/ 5562 h 53706"/>
                    <a:gd name="connsiteX3" fmla="*/ 16686 w 23205"/>
                    <a:gd name="connsiteY3" fmla="*/ 8672 h 53706"/>
                    <a:gd name="connsiteX4" fmla="*/ 16387 w 23205"/>
                    <a:gd name="connsiteY4" fmla="*/ 9090 h 53706"/>
                    <a:gd name="connsiteX5" fmla="*/ 18720 w 23205"/>
                    <a:gd name="connsiteY5" fmla="*/ 10048 h 53706"/>
                    <a:gd name="connsiteX6" fmla="*/ 19557 w 23205"/>
                    <a:gd name="connsiteY6" fmla="*/ 11842 h 53706"/>
                    <a:gd name="connsiteX7" fmla="*/ 20036 w 23205"/>
                    <a:gd name="connsiteY7" fmla="*/ 12858 h 53706"/>
                    <a:gd name="connsiteX8" fmla="*/ 20036 w 23205"/>
                    <a:gd name="connsiteY8" fmla="*/ 12918 h 53706"/>
                    <a:gd name="connsiteX9" fmla="*/ 20394 w 23205"/>
                    <a:gd name="connsiteY9" fmla="*/ 13696 h 53706"/>
                    <a:gd name="connsiteX10" fmla="*/ 21232 w 23205"/>
                    <a:gd name="connsiteY10" fmla="*/ 15370 h 53706"/>
                    <a:gd name="connsiteX11" fmla="*/ 21232 w 23205"/>
                    <a:gd name="connsiteY11" fmla="*/ 15430 h 53706"/>
                    <a:gd name="connsiteX12" fmla="*/ 21232 w 23205"/>
                    <a:gd name="connsiteY12" fmla="*/ 15490 h 53706"/>
                    <a:gd name="connsiteX13" fmla="*/ 19557 w 23205"/>
                    <a:gd name="connsiteY13" fmla="*/ 18361 h 53706"/>
                    <a:gd name="connsiteX14" fmla="*/ 18241 w 23205"/>
                    <a:gd name="connsiteY14" fmla="*/ 20634 h 53706"/>
                    <a:gd name="connsiteX15" fmla="*/ 16627 w 23205"/>
                    <a:gd name="connsiteY15" fmla="*/ 23444 h 53706"/>
                    <a:gd name="connsiteX16" fmla="*/ 15371 w 23205"/>
                    <a:gd name="connsiteY16" fmla="*/ 26315 h 53706"/>
                    <a:gd name="connsiteX17" fmla="*/ 13756 w 23205"/>
                    <a:gd name="connsiteY17" fmla="*/ 29904 h 53706"/>
                    <a:gd name="connsiteX18" fmla="*/ 12859 w 23205"/>
                    <a:gd name="connsiteY18" fmla="*/ 31997 h 53706"/>
                    <a:gd name="connsiteX19" fmla="*/ 11722 w 23205"/>
                    <a:gd name="connsiteY19" fmla="*/ 35705 h 53706"/>
                    <a:gd name="connsiteX20" fmla="*/ 10885 w 23205"/>
                    <a:gd name="connsiteY20" fmla="*/ 38336 h 53706"/>
                    <a:gd name="connsiteX21" fmla="*/ 10227 w 23205"/>
                    <a:gd name="connsiteY21" fmla="*/ 40430 h 53706"/>
                    <a:gd name="connsiteX22" fmla="*/ 9749 w 23205"/>
                    <a:gd name="connsiteY22" fmla="*/ 43300 h 53706"/>
                    <a:gd name="connsiteX23" fmla="*/ 9689 w 23205"/>
                    <a:gd name="connsiteY23" fmla="*/ 43779 h 53706"/>
                    <a:gd name="connsiteX24" fmla="*/ 9211 w 23205"/>
                    <a:gd name="connsiteY24" fmla="*/ 46590 h 53706"/>
                    <a:gd name="connsiteX25" fmla="*/ 8971 w 23205"/>
                    <a:gd name="connsiteY25" fmla="*/ 48145 h 53706"/>
                    <a:gd name="connsiteX26" fmla="*/ 6758 w 23205"/>
                    <a:gd name="connsiteY26" fmla="*/ 50059 h 53706"/>
                    <a:gd name="connsiteX27" fmla="*/ 5801 w 23205"/>
                    <a:gd name="connsiteY27" fmla="*/ 50836 h 53706"/>
                    <a:gd name="connsiteX28" fmla="*/ 5622 w 23205"/>
                    <a:gd name="connsiteY28" fmla="*/ 50955 h 53706"/>
                    <a:gd name="connsiteX29" fmla="*/ 5562 w 23205"/>
                    <a:gd name="connsiteY29" fmla="*/ 51015 h 53706"/>
                    <a:gd name="connsiteX30" fmla="*/ 5503 w 23205"/>
                    <a:gd name="connsiteY30" fmla="*/ 51075 h 53706"/>
                    <a:gd name="connsiteX31" fmla="*/ 5263 w 23205"/>
                    <a:gd name="connsiteY31" fmla="*/ 51255 h 53706"/>
                    <a:gd name="connsiteX32" fmla="*/ 4366 w 23205"/>
                    <a:gd name="connsiteY32" fmla="*/ 51972 h 53706"/>
                    <a:gd name="connsiteX33" fmla="*/ 4366 w 23205"/>
                    <a:gd name="connsiteY33" fmla="*/ 51972 h 53706"/>
                    <a:gd name="connsiteX34" fmla="*/ 4366 w 23205"/>
                    <a:gd name="connsiteY34" fmla="*/ 51972 h 53706"/>
                    <a:gd name="connsiteX35" fmla="*/ 4306 w 23205"/>
                    <a:gd name="connsiteY35" fmla="*/ 51972 h 53706"/>
                    <a:gd name="connsiteX36" fmla="*/ 4127 w 23205"/>
                    <a:gd name="connsiteY36" fmla="*/ 52152 h 53706"/>
                    <a:gd name="connsiteX37" fmla="*/ 2871 w 23205"/>
                    <a:gd name="connsiteY37" fmla="*/ 53228 h 53706"/>
                    <a:gd name="connsiteX38" fmla="*/ 2632 w 23205"/>
                    <a:gd name="connsiteY38" fmla="*/ 53408 h 53706"/>
                    <a:gd name="connsiteX39" fmla="*/ 2333 w 23205"/>
                    <a:gd name="connsiteY39" fmla="*/ 53707 h 53706"/>
                    <a:gd name="connsiteX40" fmla="*/ 1914 w 23205"/>
                    <a:gd name="connsiteY40" fmla="*/ 53468 h 53706"/>
                    <a:gd name="connsiteX41" fmla="*/ 1854 w 23205"/>
                    <a:gd name="connsiteY41" fmla="*/ 53468 h 53706"/>
                    <a:gd name="connsiteX42" fmla="*/ 1675 w 23205"/>
                    <a:gd name="connsiteY42" fmla="*/ 53408 h 53706"/>
                    <a:gd name="connsiteX43" fmla="*/ 1136 w 23205"/>
                    <a:gd name="connsiteY43" fmla="*/ 53169 h 53706"/>
                    <a:gd name="connsiteX44" fmla="*/ 0 w 23205"/>
                    <a:gd name="connsiteY44" fmla="*/ 52630 h 5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3205" h="53706">
                      <a:moveTo>
                        <a:pt x="23205" y="0"/>
                      </a:moveTo>
                      <a:lnTo>
                        <a:pt x="20873" y="3110"/>
                      </a:lnTo>
                      <a:lnTo>
                        <a:pt x="19019" y="5562"/>
                      </a:lnTo>
                      <a:lnTo>
                        <a:pt x="16686" y="8672"/>
                      </a:lnTo>
                      <a:lnTo>
                        <a:pt x="16387" y="9090"/>
                      </a:lnTo>
                      <a:lnTo>
                        <a:pt x="18720" y="10048"/>
                      </a:lnTo>
                      <a:lnTo>
                        <a:pt x="19557" y="11842"/>
                      </a:lnTo>
                      <a:lnTo>
                        <a:pt x="20036" y="12858"/>
                      </a:lnTo>
                      <a:lnTo>
                        <a:pt x="20036" y="12918"/>
                      </a:lnTo>
                      <a:lnTo>
                        <a:pt x="20394" y="13696"/>
                      </a:lnTo>
                      <a:lnTo>
                        <a:pt x="21232" y="15370"/>
                      </a:lnTo>
                      <a:lnTo>
                        <a:pt x="21232" y="15430"/>
                      </a:lnTo>
                      <a:lnTo>
                        <a:pt x="21232" y="15490"/>
                      </a:lnTo>
                      <a:lnTo>
                        <a:pt x="19557" y="18361"/>
                      </a:lnTo>
                      <a:lnTo>
                        <a:pt x="18241" y="20634"/>
                      </a:lnTo>
                      <a:lnTo>
                        <a:pt x="16627" y="23444"/>
                      </a:lnTo>
                      <a:lnTo>
                        <a:pt x="15371" y="26315"/>
                      </a:lnTo>
                      <a:lnTo>
                        <a:pt x="13756" y="29904"/>
                      </a:lnTo>
                      <a:lnTo>
                        <a:pt x="12859" y="31997"/>
                      </a:lnTo>
                      <a:lnTo>
                        <a:pt x="11722" y="35705"/>
                      </a:lnTo>
                      <a:lnTo>
                        <a:pt x="10885" y="38336"/>
                      </a:lnTo>
                      <a:lnTo>
                        <a:pt x="10227" y="40430"/>
                      </a:lnTo>
                      <a:lnTo>
                        <a:pt x="9749" y="43300"/>
                      </a:lnTo>
                      <a:lnTo>
                        <a:pt x="9689" y="43779"/>
                      </a:lnTo>
                      <a:lnTo>
                        <a:pt x="9211" y="46590"/>
                      </a:lnTo>
                      <a:lnTo>
                        <a:pt x="8971" y="48145"/>
                      </a:lnTo>
                      <a:lnTo>
                        <a:pt x="6758" y="50059"/>
                      </a:lnTo>
                      <a:lnTo>
                        <a:pt x="5801" y="50836"/>
                      </a:lnTo>
                      <a:lnTo>
                        <a:pt x="5622" y="50955"/>
                      </a:lnTo>
                      <a:lnTo>
                        <a:pt x="5562" y="51015"/>
                      </a:lnTo>
                      <a:lnTo>
                        <a:pt x="5503" y="51075"/>
                      </a:lnTo>
                      <a:lnTo>
                        <a:pt x="5263" y="51255"/>
                      </a:lnTo>
                      <a:lnTo>
                        <a:pt x="4366" y="51972"/>
                      </a:lnTo>
                      <a:lnTo>
                        <a:pt x="4366" y="51972"/>
                      </a:lnTo>
                      <a:lnTo>
                        <a:pt x="4366" y="51972"/>
                      </a:lnTo>
                      <a:lnTo>
                        <a:pt x="4306" y="51972"/>
                      </a:lnTo>
                      <a:lnTo>
                        <a:pt x="4127" y="52152"/>
                      </a:lnTo>
                      <a:lnTo>
                        <a:pt x="2871" y="53228"/>
                      </a:lnTo>
                      <a:lnTo>
                        <a:pt x="2632" y="53408"/>
                      </a:lnTo>
                      <a:lnTo>
                        <a:pt x="2333" y="53707"/>
                      </a:lnTo>
                      <a:lnTo>
                        <a:pt x="1914" y="53468"/>
                      </a:lnTo>
                      <a:lnTo>
                        <a:pt x="1854" y="53468"/>
                      </a:lnTo>
                      <a:lnTo>
                        <a:pt x="1675" y="53408"/>
                      </a:lnTo>
                      <a:lnTo>
                        <a:pt x="1136" y="53169"/>
                      </a:lnTo>
                      <a:lnTo>
                        <a:pt x="0" y="52630"/>
                      </a:lnTo>
                    </a:path>
                  </a:pathLst>
                </a:custGeom>
                <a:noFill/>
                <a:ln w="6350" cap="flat">
                  <a:solidFill>
                    <a:schemeClr val="bg1">
                      <a:alpha val="80000"/>
                    </a:schemeClr>
                  </a:solidFill>
                  <a:prstDash val="solid"/>
                  <a:miter/>
                </a:ln>
              </p:spPr>
              <p:txBody>
                <a:bodyPr rtlCol="0" anchor="ctr"/>
                <a:lstStyle/>
                <a:p>
                  <a:endParaRPr lang="en-GB"/>
                </a:p>
              </p:txBody>
            </p:sp>
            <p:sp>
              <p:nvSpPr>
                <p:cNvPr id="7625" name="Vrije vorm: vorm 7624">
                  <a:extLst>
                    <a:ext uri="{FF2B5EF4-FFF2-40B4-BE49-F238E27FC236}">
                      <a16:creationId xmlns:a16="http://schemas.microsoft.com/office/drawing/2014/main" id="{7CD46CEB-76D2-45B5-81A9-5B7BF7BC9ACC}"/>
                    </a:ext>
                  </a:extLst>
                </p:cNvPr>
                <p:cNvSpPr/>
                <p:nvPr/>
              </p:nvSpPr>
              <p:spPr>
                <a:xfrm>
                  <a:off x="5745579" y="5134549"/>
                  <a:ext cx="71529" cy="87796"/>
                </a:xfrm>
                <a:custGeom>
                  <a:avLst/>
                  <a:gdLst>
                    <a:gd name="connsiteX0" fmla="*/ 3349 w 71529"/>
                    <a:gd name="connsiteY0" fmla="*/ 87797 h 87796"/>
                    <a:gd name="connsiteX1" fmla="*/ 3170 w 71529"/>
                    <a:gd name="connsiteY1" fmla="*/ 86720 h 87796"/>
                    <a:gd name="connsiteX2" fmla="*/ 2691 w 71529"/>
                    <a:gd name="connsiteY2" fmla="*/ 84149 h 87796"/>
                    <a:gd name="connsiteX3" fmla="*/ 2093 w 71529"/>
                    <a:gd name="connsiteY3" fmla="*/ 80800 h 87796"/>
                    <a:gd name="connsiteX4" fmla="*/ 1974 w 71529"/>
                    <a:gd name="connsiteY4" fmla="*/ 80022 h 87796"/>
                    <a:gd name="connsiteX5" fmla="*/ 1615 w 71529"/>
                    <a:gd name="connsiteY5" fmla="*/ 78048 h 87796"/>
                    <a:gd name="connsiteX6" fmla="*/ 1017 w 71529"/>
                    <a:gd name="connsiteY6" fmla="*/ 74699 h 87796"/>
                    <a:gd name="connsiteX7" fmla="*/ 957 w 71529"/>
                    <a:gd name="connsiteY7" fmla="*/ 74400 h 87796"/>
                    <a:gd name="connsiteX8" fmla="*/ 658 w 71529"/>
                    <a:gd name="connsiteY8" fmla="*/ 72726 h 87796"/>
                    <a:gd name="connsiteX9" fmla="*/ 479 w 71529"/>
                    <a:gd name="connsiteY9" fmla="*/ 71709 h 87796"/>
                    <a:gd name="connsiteX10" fmla="*/ 419 w 71529"/>
                    <a:gd name="connsiteY10" fmla="*/ 71470 h 87796"/>
                    <a:gd name="connsiteX11" fmla="*/ 359 w 71529"/>
                    <a:gd name="connsiteY11" fmla="*/ 70333 h 87796"/>
                    <a:gd name="connsiteX12" fmla="*/ 299 w 71529"/>
                    <a:gd name="connsiteY12" fmla="*/ 69197 h 87796"/>
                    <a:gd name="connsiteX13" fmla="*/ 299 w 71529"/>
                    <a:gd name="connsiteY13" fmla="*/ 68659 h 87796"/>
                    <a:gd name="connsiteX14" fmla="*/ 180 w 71529"/>
                    <a:gd name="connsiteY14" fmla="*/ 66446 h 87796"/>
                    <a:gd name="connsiteX15" fmla="*/ 180 w 71529"/>
                    <a:gd name="connsiteY15" fmla="*/ 66147 h 87796"/>
                    <a:gd name="connsiteX16" fmla="*/ 120 w 71529"/>
                    <a:gd name="connsiteY16" fmla="*/ 65429 h 87796"/>
                    <a:gd name="connsiteX17" fmla="*/ 0 w 71529"/>
                    <a:gd name="connsiteY17" fmla="*/ 63037 h 87796"/>
                    <a:gd name="connsiteX18" fmla="*/ 538 w 71529"/>
                    <a:gd name="connsiteY18" fmla="*/ 59329 h 87796"/>
                    <a:gd name="connsiteX19" fmla="*/ 598 w 71529"/>
                    <a:gd name="connsiteY19" fmla="*/ 58970 h 87796"/>
                    <a:gd name="connsiteX20" fmla="*/ 1017 w 71529"/>
                    <a:gd name="connsiteY20" fmla="*/ 56159 h 87796"/>
                    <a:gd name="connsiteX21" fmla="*/ 1376 w 71529"/>
                    <a:gd name="connsiteY21" fmla="*/ 53647 h 87796"/>
                    <a:gd name="connsiteX22" fmla="*/ 1495 w 71529"/>
                    <a:gd name="connsiteY22" fmla="*/ 52929 h 87796"/>
                    <a:gd name="connsiteX23" fmla="*/ 1555 w 71529"/>
                    <a:gd name="connsiteY23" fmla="*/ 52810 h 87796"/>
                    <a:gd name="connsiteX24" fmla="*/ 1735 w 71529"/>
                    <a:gd name="connsiteY24" fmla="*/ 52152 h 87796"/>
                    <a:gd name="connsiteX25" fmla="*/ 2871 w 71529"/>
                    <a:gd name="connsiteY25" fmla="*/ 48444 h 87796"/>
                    <a:gd name="connsiteX26" fmla="*/ 4007 w 71529"/>
                    <a:gd name="connsiteY26" fmla="*/ 44736 h 87796"/>
                    <a:gd name="connsiteX27" fmla="*/ 4844 w 71529"/>
                    <a:gd name="connsiteY27" fmla="*/ 41985 h 87796"/>
                    <a:gd name="connsiteX28" fmla="*/ 6399 w 71529"/>
                    <a:gd name="connsiteY28" fmla="*/ 38337 h 87796"/>
                    <a:gd name="connsiteX29" fmla="*/ 7954 w 71529"/>
                    <a:gd name="connsiteY29" fmla="*/ 34808 h 87796"/>
                    <a:gd name="connsiteX30" fmla="*/ 8134 w 71529"/>
                    <a:gd name="connsiteY30" fmla="*/ 34329 h 87796"/>
                    <a:gd name="connsiteX31" fmla="*/ 9629 w 71529"/>
                    <a:gd name="connsiteY31" fmla="*/ 30861 h 87796"/>
                    <a:gd name="connsiteX32" fmla="*/ 9629 w 71529"/>
                    <a:gd name="connsiteY32" fmla="*/ 30861 h 87796"/>
                    <a:gd name="connsiteX33" fmla="*/ 9689 w 71529"/>
                    <a:gd name="connsiteY33" fmla="*/ 30801 h 87796"/>
                    <a:gd name="connsiteX34" fmla="*/ 10227 w 71529"/>
                    <a:gd name="connsiteY34" fmla="*/ 29904 h 87796"/>
                    <a:gd name="connsiteX35" fmla="*/ 10227 w 71529"/>
                    <a:gd name="connsiteY35" fmla="*/ 29844 h 87796"/>
                    <a:gd name="connsiteX36" fmla="*/ 10287 w 71529"/>
                    <a:gd name="connsiteY36" fmla="*/ 29784 h 87796"/>
                    <a:gd name="connsiteX37" fmla="*/ 10347 w 71529"/>
                    <a:gd name="connsiteY37" fmla="*/ 29724 h 87796"/>
                    <a:gd name="connsiteX38" fmla="*/ 10646 w 71529"/>
                    <a:gd name="connsiteY38" fmla="*/ 29186 h 87796"/>
                    <a:gd name="connsiteX39" fmla="*/ 10766 w 71529"/>
                    <a:gd name="connsiteY39" fmla="*/ 28947 h 87796"/>
                    <a:gd name="connsiteX40" fmla="*/ 12739 w 71529"/>
                    <a:gd name="connsiteY40" fmla="*/ 25538 h 87796"/>
                    <a:gd name="connsiteX41" fmla="*/ 14713 w 71529"/>
                    <a:gd name="connsiteY41" fmla="*/ 22129 h 87796"/>
                    <a:gd name="connsiteX42" fmla="*/ 15669 w 71529"/>
                    <a:gd name="connsiteY42" fmla="*/ 20514 h 87796"/>
                    <a:gd name="connsiteX43" fmla="*/ 18062 w 71529"/>
                    <a:gd name="connsiteY43" fmla="*/ 17404 h 87796"/>
                    <a:gd name="connsiteX44" fmla="*/ 20454 w 71529"/>
                    <a:gd name="connsiteY44" fmla="*/ 14294 h 87796"/>
                    <a:gd name="connsiteX45" fmla="*/ 20574 w 71529"/>
                    <a:gd name="connsiteY45" fmla="*/ 14114 h 87796"/>
                    <a:gd name="connsiteX46" fmla="*/ 22428 w 71529"/>
                    <a:gd name="connsiteY46" fmla="*/ 11662 h 87796"/>
                    <a:gd name="connsiteX47" fmla="*/ 25119 w 71529"/>
                    <a:gd name="connsiteY47" fmla="*/ 9091 h 87796"/>
                    <a:gd name="connsiteX48" fmla="*/ 25358 w 71529"/>
                    <a:gd name="connsiteY48" fmla="*/ 8851 h 87796"/>
                    <a:gd name="connsiteX49" fmla="*/ 26196 w 71529"/>
                    <a:gd name="connsiteY49" fmla="*/ 8074 h 87796"/>
                    <a:gd name="connsiteX50" fmla="*/ 27332 w 71529"/>
                    <a:gd name="connsiteY50" fmla="*/ 6997 h 87796"/>
                    <a:gd name="connsiteX51" fmla="*/ 28109 w 71529"/>
                    <a:gd name="connsiteY51" fmla="*/ 6280 h 87796"/>
                    <a:gd name="connsiteX52" fmla="*/ 29425 w 71529"/>
                    <a:gd name="connsiteY52" fmla="*/ 5024 h 87796"/>
                    <a:gd name="connsiteX53" fmla="*/ 29784 w 71529"/>
                    <a:gd name="connsiteY53" fmla="*/ 4785 h 87796"/>
                    <a:gd name="connsiteX54" fmla="*/ 32775 w 71529"/>
                    <a:gd name="connsiteY54" fmla="*/ 2990 h 87796"/>
                    <a:gd name="connsiteX55" fmla="*/ 33133 w 71529"/>
                    <a:gd name="connsiteY55" fmla="*/ 2751 h 87796"/>
                    <a:gd name="connsiteX56" fmla="*/ 33671 w 71529"/>
                    <a:gd name="connsiteY56" fmla="*/ 2452 h 87796"/>
                    <a:gd name="connsiteX57" fmla="*/ 33791 w 71529"/>
                    <a:gd name="connsiteY57" fmla="*/ 2392 h 87796"/>
                    <a:gd name="connsiteX58" fmla="*/ 35286 w 71529"/>
                    <a:gd name="connsiteY58" fmla="*/ 1495 h 87796"/>
                    <a:gd name="connsiteX59" fmla="*/ 36064 w 71529"/>
                    <a:gd name="connsiteY59" fmla="*/ 1017 h 87796"/>
                    <a:gd name="connsiteX60" fmla="*/ 37798 w 71529"/>
                    <a:gd name="connsiteY60" fmla="*/ 718 h 87796"/>
                    <a:gd name="connsiteX61" fmla="*/ 37798 w 71529"/>
                    <a:gd name="connsiteY61" fmla="*/ 718 h 87796"/>
                    <a:gd name="connsiteX62" fmla="*/ 39533 w 71529"/>
                    <a:gd name="connsiteY62" fmla="*/ 419 h 87796"/>
                    <a:gd name="connsiteX63" fmla="*/ 39772 w 71529"/>
                    <a:gd name="connsiteY63" fmla="*/ 359 h 87796"/>
                    <a:gd name="connsiteX64" fmla="*/ 40549 w 71529"/>
                    <a:gd name="connsiteY64" fmla="*/ 239 h 87796"/>
                    <a:gd name="connsiteX65" fmla="*/ 41865 w 71529"/>
                    <a:gd name="connsiteY65" fmla="*/ 0 h 87796"/>
                    <a:gd name="connsiteX66" fmla="*/ 42643 w 71529"/>
                    <a:gd name="connsiteY66" fmla="*/ 299 h 87796"/>
                    <a:gd name="connsiteX67" fmla="*/ 42702 w 71529"/>
                    <a:gd name="connsiteY67" fmla="*/ 299 h 87796"/>
                    <a:gd name="connsiteX68" fmla="*/ 45334 w 71529"/>
                    <a:gd name="connsiteY68" fmla="*/ 1256 h 87796"/>
                    <a:gd name="connsiteX69" fmla="*/ 47667 w 71529"/>
                    <a:gd name="connsiteY69" fmla="*/ 2093 h 87796"/>
                    <a:gd name="connsiteX70" fmla="*/ 50298 w 71529"/>
                    <a:gd name="connsiteY70" fmla="*/ 3050 h 87796"/>
                    <a:gd name="connsiteX71" fmla="*/ 52930 w 71529"/>
                    <a:gd name="connsiteY71" fmla="*/ 4007 h 87796"/>
                    <a:gd name="connsiteX72" fmla="*/ 55561 w 71529"/>
                    <a:gd name="connsiteY72" fmla="*/ 4964 h 87796"/>
                    <a:gd name="connsiteX73" fmla="*/ 55740 w 71529"/>
                    <a:gd name="connsiteY73" fmla="*/ 5024 h 87796"/>
                    <a:gd name="connsiteX74" fmla="*/ 57415 w 71529"/>
                    <a:gd name="connsiteY74" fmla="*/ 5622 h 87796"/>
                    <a:gd name="connsiteX75" fmla="*/ 60047 w 71529"/>
                    <a:gd name="connsiteY75" fmla="*/ 6579 h 87796"/>
                    <a:gd name="connsiteX76" fmla="*/ 61661 w 71529"/>
                    <a:gd name="connsiteY76" fmla="*/ 7177 h 87796"/>
                    <a:gd name="connsiteX77" fmla="*/ 61841 w 71529"/>
                    <a:gd name="connsiteY77" fmla="*/ 7237 h 87796"/>
                    <a:gd name="connsiteX78" fmla="*/ 63934 w 71529"/>
                    <a:gd name="connsiteY78" fmla="*/ 8014 h 87796"/>
                    <a:gd name="connsiteX79" fmla="*/ 63934 w 71529"/>
                    <a:gd name="connsiteY79" fmla="*/ 8014 h 87796"/>
                    <a:gd name="connsiteX80" fmla="*/ 64532 w 71529"/>
                    <a:gd name="connsiteY80" fmla="*/ 8253 h 87796"/>
                    <a:gd name="connsiteX81" fmla="*/ 67164 w 71529"/>
                    <a:gd name="connsiteY81" fmla="*/ 9210 h 87796"/>
                    <a:gd name="connsiteX82" fmla="*/ 68479 w 71529"/>
                    <a:gd name="connsiteY82" fmla="*/ 9689 h 87796"/>
                    <a:gd name="connsiteX83" fmla="*/ 70154 w 71529"/>
                    <a:gd name="connsiteY83" fmla="*/ 12141 h 87796"/>
                    <a:gd name="connsiteX84" fmla="*/ 71530 w 71529"/>
                    <a:gd name="connsiteY84" fmla="*/ 14114 h 8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71529" h="87796">
                      <a:moveTo>
                        <a:pt x="3349" y="87797"/>
                      </a:moveTo>
                      <a:lnTo>
                        <a:pt x="3170" y="86720"/>
                      </a:lnTo>
                      <a:lnTo>
                        <a:pt x="2691" y="84149"/>
                      </a:lnTo>
                      <a:lnTo>
                        <a:pt x="2093" y="80800"/>
                      </a:lnTo>
                      <a:lnTo>
                        <a:pt x="1974" y="80022"/>
                      </a:lnTo>
                      <a:lnTo>
                        <a:pt x="1615" y="78048"/>
                      </a:lnTo>
                      <a:lnTo>
                        <a:pt x="1017" y="74699"/>
                      </a:lnTo>
                      <a:lnTo>
                        <a:pt x="957" y="74400"/>
                      </a:lnTo>
                      <a:lnTo>
                        <a:pt x="658" y="72726"/>
                      </a:lnTo>
                      <a:lnTo>
                        <a:pt x="479" y="71709"/>
                      </a:lnTo>
                      <a:lnTo>
                        <a:pt x="419" y="71470"/>
                      </a:lnTo>
                      <a:lnTo>
                        <a:pt x="359" y="70333"/>
                      </a:lnTo>
                      <a:lnTo>
                        <a:pt x="299" y="69197"/>
                      </a:lnTo>
                      <a:lnTo>
                        <a:pt x="299" y="68659"/>
                      </a:lnTo>
                      <a:lnTo>
                        <a:pt x="180" y="66446"/>
                      </a:lnTo>
                      <a:lnTo>
                        <a:pt x="180" y="66147"/>
                      </a:lnTo>
                      <a:lnTo>
                        <a:pt x="120" y="65429"/>
                      </a:lnTo>
                      <a:lnTo>
                        <a:pt x="0" y="63037"/>
                      </a:lnTo>
                      <a:lnTo>
                        <a:pt x="538" y="59329"/>
                      </a:lnTo>
                      <a:lnTo>
                        <a:pt x="598" y="58970"/>
                      </a:lnTo>
                      <a:lnTo>
                        <a:pt x="1017" y="56159"/>
                      </a:lnTo>
                      <a:lnTo>
                        <a:pt x="1376" y="53647"/>
                      </a:lnTo>
                      <a:lnTo>
                        <a:pt x="1495" y="52929"/>
                      </a:lnTo>
                      <a:lnTo>
                        <a:pt x="1555" y="52810"/>
                      </a:lnTo>
                      <a:lnTo>
                        <a:pt x="1735" y="52152"/>
                      </a:lnTo>
                      <a:lnTo>
                        <a:pt x="2871" y="48444"/>
                      </a:lnTo>
                      <a:lnTo>
                        <a:pt x="4007" y="44736"/>
                      </a:lnTo>
                      <a:lnTo>
                        <a:pt x="4844" y="41985"/>
                      </a:lnTo>
                      <a:lnTo>
                        <a:pt x="6399" y="38337"/>
                      </a:lnTo>
                      <a:lnTo>
                        <a:pt x="7954" y="34808"/>
                      </a:lnTo>
                      <a:lnTo>
                        <a:pt x="8134" y="34329"/>
                      </a:lnTo>
                      <a:lnTo>
                        <a:pt x="9629" y="30861"/>
                      </a:lnTo>
                      <a:lnTo>
                        <a:pt x="9629" y="30861"/>
                      </a:lnTo>
                      <a:lnTo>
                        <a:pt x="9689" y="30801"/>
                      </a:lnTo>
                      <a:lnTo>
                        <a:pt x="10227" y="29904"/>
                      </a:lnTo>
                      <a:lnTo>
                        <a:pt x="10227" y="29844"/>
                      </a:lnTo>
                      <a:lnTo>
                        <a:pt x="10287" y="29784"/>
                      </a:lnTo>
                      <a:lnTo>
                        <a:pt x="10347" y="29724"/>
                      </a:lnTo>
                      <a:lnTo>
                        <a:pt x="10646" y="29186"/>
                      </a:lnTo>
                      <a:lnTo>
                        <a:pt x="10766" y="28947"/>
                      </a:lnTo>
                      <a:lnTo>
                        <a:pt x="12739" y="25538"/>
                      </a:lnTo>
                      <a:lnTo>
                        <a:pt x="14713" y="22129"/>
                      </a:lnTo>
                      <a:lnTo>
                        <a:pt x="15669" y="20514"/>
                      </a:lnTo>
                      <a:lnTo>
                        <a:pt x="18062" y="17404"/>
                      </a:lnTo>
                      <a:lnTo>
                        <a:pt x="20454" y="14294"/>
                      </a:lnTo>
                      <a:lnTo>
                        <a:pt x="20574" y="14114"/>
                      </a:lnTo>
                      <a:lnTo>
                        <a:pt x="22428" y="11662"/>
                      </a:lnTo>
                      <a:lnTo>
                        <a:pt x="25119" y="9091"/>
                      </a:lnTo>
                      <a:lnTo>
                        <a:pt x="25358" y="8851"/>
                      </a:lnTo>
                      <a:lnTo>
                        <a:pt x="26196" y="8074"/>
                      </a:lnTo>
                      <a:lnTo>
                        <a:pt x="27332" y="6997"/>
                      </a:lnTo>
                      <a:lnTo>
                        <a:pt x="28109" y="6280"/>
                      </a:lnTo>
                      <a:lnTo>
                        <a:pt x="29425" y="5024"/>
                      </a:lnTo>
                      <a:lnTo>
                        <a:pt x="29784" y="4785"/>
                      </a:lnTo>
                      <a:lnTo>
                        <a:pt x="32775" y="2990"/>
                      </a:lnTo>
                      <a:lnTo>
                        <a:pt x="33133" y="2751"/>
                      </a:lnTo>
                      <a:lnTo>
                        <a:pt x="33671" y="2452"/>
                      </a:lnTo>
                      <a:lnTo>
                        <a:pt x="33791" y="2392"/>
                      </a:lnTo>
                      <a:lnTo>
                        <a:pt x="35286" y="1495"/>
                      </a:lnTo>
                      <a:lnTo>
                        <a:pt x="36064" y="1017"/>
                      </a:lnTo>
                      <a:lnTo>
                        <a:pt x="37798" y="718"/>
                      </a:lnTo>
                      <a:lnTo>
                        <a:pt x="37798" y="718"/>
                      </a:lnTo>
                      <a:lnTo>
                        <a:pt x="39533" y="419"/>
                      </a:lnTo>
                      <a:lnTo>
                        <a:pt x="39772" y="359"/>
                      </a:lnTo>
                      <a:lnTo>
                        <a:pt x="40549" y="239"/>
                      </a:lnTo>
                      <a:lnTo>
                        <a:pt x="41865" y="0"/>
                      </a:lnTo>
                      <a:lnTo>
                        <a:pt x="42643" y="299"/>
                      </a:lnTo>
                      <a:lnTo>
                        <a:pt x="42702" y="299"/>
                      </a:lnTo>
                      <a:lnTo>
                        <a:pt x="45334" y="1256"/>
                      </a:lnTo>
                      <a:lnTo>
                        <a:pt x="47667" y="2093"/>
                      </a:lnTo>
                      <a:lnTo>
                        <a:pt x="50298" y="3050"/>
                      </a:lnTo>
                      <a:lnTo>
                        <a:pt x="52930" y="4007"/>
                      </a:lnTo>
                      <a:lnTo>
                        <a:pt x="55561" y="4964"/>
                      </a:lnTo>
                      <a:lnTo>
                        <a:pt x="55740" y="5024"/>
                      </a:lnTo>
                      <a:lnTo>
                        <a:pt x="57415" y="5622"/>
                      </a:lnTo>
                      <a:lnTo>
                        <a:pt x="60047" y="6579"/>
                      </a:lnTo>
                      <a:lnTo>
                        <a:pt x="61661" y="7177"/>
                      </a:lnTo>
                      <a:lnTo>
                        <a:pt x="61841" y="7237"/>
                      </a:lnTo>
                      <a:lnTo>
                        <a:pt x="63934" y="8014"/>
                      </a:lnTo>
                      <a:lnTo>
                        <a:pt x="63934" y="8014"/>
                      </a:lnTo>
                      <a:lnTo>
                        <a:pt x="64532" y="8253"/>
                      </a:lnTo>
                      <a:lnTo>
                        <a:pt x="67164" y="9210"/>
                      </a:lnTo>
                      <a:lnTo>
                        <a:pt x="68479" y="9689"/>
                      </a:lnTo>
                      <a:lnTo>
                        <a:pt x="70154" y="12141"/>
                      </a:lnTo>
                      <a:lnTo>
                        <a:pt x="71530" y="14114"/>
                      </a:lnTo>
                    </a:path>
                  </a:pathLst>
                </a:custGeom>
                <a:noFill/>
                <a:ln w="6350" cap="flat">
                  <a:solidFill>
                    <a:schemeClr val="bg1">
                      <a:alpha val="80000"/>
                    </a:schemeClr>
                  </a:solidFill>
                  <a:prstDash val="solid"/>
                  <a:miter/>
                </a:ln>
              </p:spPr>
              <p:txBody>
                <a:bodyPr rtlCol="0" anchor="ctr"/>
                <a:lstStyle/>
                <a:p>
                  <a:endParaRPr lang="en-GB"/>
                </a:p>
              </p:txBody>
            </p:sp>
            <p:sp>
              <p:nvSpPr>
                <p:cNvPr id="7626" name="Vrije vorm: vorm 7625">
                  <a:extLst>
                    <a:ext uri="{FF2B5EF4-FFF2-40B4-BE49-F238E27FC236}">
                      <a16:creationId xmlns:a16="http://schemas.microsoft.com/office/drawing/2014/main" id="{7FB4B41A-FE26-428E-8CD1-E366D9A53B0D}"/>
                    </a:ext>
                  </a:extLst>
                </p:cNvPr>
                <p:cNvSpPr/>
                <p:nvPr/>
              </p:nvSpPr>
              <p:spPr>
                <a:xfrm>
                  <a:off x="5766871" y="5164154"/>
                  <a:ext cx="16446" cy="43659"/>
                </a:xfrm>
                <a:custGeom>
                  <a:avLst/>
                  <a:gdLst>
                    <a:gd name="connsiteX0" fmla="*/ 16447 w 16446"/>
                    <a:gd name="connsiteY0" fmla="*/ 0 h 43659"/>
                    <a:gd name="connsiteX1" fmla="*/ 15430 w 16446"/>
                    <a:gd name="connsiteY1" fmla="*/ 1794 h 43659"/>
                    <a:gd name="connsiteX2" fmla="*/ 14474 w 16446"/>
                    <a:gd name="connsiteY2" fmla="*/ 3469 h 43659"/>
                    <a:gd name="connsiteX3" fmla="*/ 12500 w 16446"/>
                    <a:gd name="connsiteY3" fmla="*/ 6878 h 43659"/>
                    <a:gd name="connsiteX4" fmla="*/ 10526 w 16446"/>
                    <a:gd name="connsiteY4" fmla="*/ 10287 h 43659"/>
                    <a:gd name="connsiteX5" fmla="*/ 10287 w 16446"/>
                    <a:gd name="connsiteY5" fmla="*/ 10705 h 43659"/>
                    <a:gd name="connsiteX6" fmla="*/ 8672 w 16446"/>
                    <a:gd name="connsiteY6" fmla="*/ 14294 h 43659"/>
                    <a:gd name="connsiteX7" fmla="*/ 7057 w 16446"/>
                    <a:gd name="connsiteY7" fmla="*/ 17882 h 43659"/>
                    <a:gd name="connsiteX8" fmla="*/ 5443 w 16446"/>
                    <a:gd name="connsiteY8" fmla="*/ 21471 h 43659"/>
                    <a:gd name="connsiteX9" fmla="*/ 5203 w 16446"/>
                    <a:gd name="connsiteY9" fmla="*/ 22069 h 43659"/>
                    <a:gd name="connsiteX10" fmla="*/ 4067 w 16446"/>
                    <a:gd name="connsiteY10" fmla="*/ 25777 h 43659"/>
                    <a:gd name="connsiteX11" fmla="*/ 2931 w 16446"/>
                    <a:gd name="connsiteY11" fmla="*/ 29485 h 43659"/>
                    <a:gd name="connsiteX12" fmla="*/ 1795 w 16446"/>
                    <a:gd name="connsiteY12" fmla="*/ 33193 h 43659"/>
                    <a:gd name="connsiteX13" fmla="*/ 1735 w 16446"/>
                    <a:gd name="connsiteY13" fmla="*/ 33313 h 43659"/>
                    <a:gd name="connsiteX14" fmla="*/ 1376 w 16446"/>
                    <a:gd name="connsiteY14" fmla="*/ 35466 h 43659"/>
                    <a:gd name="connsiteX15" fmla="*/ 957 w 16446"/>
                    <a:gd name="connsiteY15" fmla="*/ 37858 h 43659"/>
                    <a:gd name="connsiteX16" fmla="*/ 658 w 16446"/>
                    <a:gd name="connsiteY16" fmla="*/ 39532 h 43659"/>
                    <a:gd name="connsiteX17" fmla="*/ 538 w 16446"/>
                    <a:gd name="connsiteY17" fmla="*/ 40131 h 43659"/>
                    <a:gd name="connsiteX18" fmla="*/ 419 w 16446"/>
                    <a:gd name="connsiteY18" fmla="*/ 40968 h 43659"/>
                    <a:gd name="connsiteX19" fmla="*/ 419 w 16446"/>
                    <a:gd name="connsiteY19" fmla="*/ 41088 h 43659"/>
                    <a:gd name="connsiteX20" fmla="*/ 359 w 16446"/>
                    <a:gd name="connsiteY20" fmla="*/ 41446 h 43659"/>
                    <a:gd name="connsiteX21" fmla="*/ 0 w 16446"/>
                    <a:gd name="connsiteY21" fmla="*/ 43659 h 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46" h="43659">
                      <a:moveTo>
                        <a:pt x="16447" y="0"/>
                      </a:moveTo>
                      <a:lnTo>
                        <a:pt x="15430" y="1794"/>
                      </a:lnTo>
                      <a:lnTo>
                        <a:pt x="14474" y="3469"/>
                      </a:lnTo>
                      <a:lnTo>
                        <a:pt x="12500" y="6878"/>
                      </a:lnTo>
                      <a:lnTo>
                        <a:pt x="10526" y="10287"/>
                      </a:lnTo>
                      <a:lnTo>
                        <a:pt x="10287" y="10705"/>
                      </a:lnTo>
                      <a:lnTo>
                        <a:pt x="8672" y="14294"/>
                      </a:lnTo>
                      <a:lnTo>
                        <a:pt x="7057" y="17882"/>
                      </a:lnTo>
                      <a:lnTo>
                        <a:pt x="5443" y="21471"/>
                      </a:lnTo>
                      <a:lnTo>
                        <a:pt x="5203" y="22069"/>
                      </a:lnTo>
                      <a:lnTo>
                        <a:pt x="4067" y="25777"/>
                      </a:lnTo>
                      <a:lnTo>
                        <a:pt x="2931" y="29485"/>
                      </a:lnTo>
                      <a:lnTo>
                        <a:pt x="1795" y="33193"/>
                      </a:lnTo>
                      <a:lnTo>
                        <a:pt x="1735" y="33313"/>
                      </a:lnTo>
                      <a:lnTo>
                        <a:pt x="1376" y="35466"/>
                      </a:lnTo>
                      <a:lnTo>
                        <a:pt x="957" y="37858"/>
                      </a:lnTo>
                      <a:lnTo>
                        <a:pt x="658" y="39532"/>
                      </a:lnTo>
                      <a:lnTo>
                        <a:pt x="538" y="40131"/>
                      </a:lnTo>
                      <a:lnTo>
                        <a:pt x="419" y="40968"/>
                      </a:lnTo>
                      <a:lnTo>
                        <a:pt x="419" y="41088"/>
                      </a:lnTo>
                      <a:lnTo>
                        <a:pt x="359" y="41446"/>
                      </a:lnTo>
                      <a:lnTo>
                        <a:pt x="0" y="43659"/>
                      </a:lnTo>
                    </a:path>
                  </a:pathLst>
                </a:custGeom>
                <a:noFill/>
                <a:ln w="6350" cap="flat">
                  <a:solidFill>
                    <a:schemeClr val="bg1">
                      <a:alpha val="80000"/>
                    </a:schemeClr>
                  </a:solidFill>
                  <a:prstDash val="solid"/>
                  <a:miter/>
                </a:ln>
              </p:spPr>
              <p:txBody>
                <a:bodyPr rtlCol="0" anchor="ctr"/>
                <a:lstStyle/>
                <a:p>
                  <a:endParaRPr lang="en-GB"/>
                </a:p>
              </p:txBody>
            </p:sp>
            <p:sp>
              <p:nvSpPr>
                <p:cNvPr id="7627" name="Vrije vorm: vorm 7626">
                  <a:extLst>
                    <a:ext uri="{FF2B5EF4-FFF2-40B4-BE49-F238E27FC236}">
                      <a16:creationId xmlns:a16="http://schemas.microsoft.com/office/drawing/2014/main" id="{B983587C-4C84-40B2-B5F3-B7C1BC72099E}"/>
                    </a:ext>
                  </a:extLst>
                </p:cNvPr>
                <p:cNvSpPr/>
                <p:nvPr/>
              </p:nvSpPr>
              <p:spPr>
                <a:xfrm>
                  <a:off x="5767050" y="5216545"/>
                  <a:ext cx="64053" cy="173620"/>
                </a:xfrm>
                <a:custGeom>
                  <a:avLst/>
                  <a:gdLst>
                    <a:gd name="connsiteX0" fmla="*/ 0 w 64053"/>
                    <a:gd name="connsiteY0" fmla="*/ 0 h 173620"/>
                    <a:gd name="connsiteX1" fmla="*/ 0 w 64053"/>
                    <a:gd name="connsiteY1" fmla="*/ 0 h 173620"/>
                    <a:gd name="connsiteX2" fmla="*/ 479 w 64053"/>
                    <a:gd name="connsiteY2" fmla="*/ 3409 h 173620"/>
                    <a:gd name="connsiteX3" fmla="*/ 718 w 64053"/>
                    <a:gd name="connsiteY3" fmla="*/ 4844 h 173620"/>
                    <a:gd name="connsiteX4" fmla="*/ 1196 w 64053"/>
                    <a:gd name="connsiteY4" fmla="*/ 8194 h 173620"/>
                    <a:gd name="connsiteX5" fmla="*/ 1674 w 64053"/>
                    <a:gd name="connsiteY5" fmla="*/ 11543 h 173620"/>
                    <a:gd name="connsiteX6" fmla="*/ 1914 w 64053"/>
                    <a:gd name="connsiteY6" fmla="*/ 13277 h 173620"/>
                    <a:gd name="connsiteX7" fmla="*/ 1974 w 64053"/>
                    <a:gd name="connsiteY7" fmla="*/ 13696 h 173620"/>
                    <a:gd name="connsiteX8" fmla="*/ 2452 w 64053"/>
                    <a:gd name="connsiteY8" fmla="*/ 17045 h 173620"/>
                    <a:gd name="connsiteX9" fmla="*/ 2930 w 64053"/>
                    <a:gd name="connsiteY9" fmla="*/ 20394 h 173620"/>
                    <a:gd name="connsiteX10" fmla="*/ 3409 w 64053"/>
                    <a:gd name="connsiteY10" fmla="*/ 23743 h 173620"/>
                    <a:gd name="connsiteX11" fmla="*/ 3768 w 64053"/>
                    <a:gd name="connsiteY11" fmla="*/ 26255 h 173620"/>
                    <a:gd name="connsiteX12" fmla="*/ 4725 w 64053"/>
                    <a:gd name="connsiteY12" fmla="*/ 29305 h 173620"/>
                    <a:gd name="connsiteX13" fmla="*/ 5682 w 64053"/>
                    <a:gd name="connsiteY13" fmla="*/ 32356 h 173620"/>
                    <a:gd name="connsiteX14" fmla="*/ 6639 w 64053"/>
                    <a:gd name="connsiteY14" fmla="*/ 35406 h 173620"/>
                    <a:gd name="connsiteX15" fmla="*/ 7596 w 64053"/>
                    <a:gd name="connsiteY15" fmla="*/ 38456 h 173620"/>
                    <a:gd name="connsiteX16" fmla="*/ 8552 w 64053"/>
                    <a:gd name="connsiteY16" fmla="*/ 41506 h 173620"/>
                    <a:gd name="connsiteX17" fmla="*/ 9509 w 64053"/>
                    <a:gd name="connsiteY17" fmla="*/ 44556 h 173620"/>
                    <a:gd name="connsiteX18" fmla="*/ 10466 w 64053"/>
                    <a:gd name="connsiteY18" fmla="*/ 47606 h 173620"/>
                    <a:gd name="connsiteX19" fmla="*/ 11423 w 64053"/>
                    <a:gd name="connsiteY19" fmla="*/ 50657 h 173620"/>
                    <a:gd name="connsiteX20" fmla="*/ 12380 w 64053"/>
                    <a:gd name="connsiteY20" fmla="*/ 53707 h 173620"/>
                    <a:gd name="connsiteX21" fmla="*/ 13337 w 64053"/>
                    <a:gd name="connsiteY21" fmla="*/ 56757 h 173620"/>
                    <a:gd name="connsiteX22" fmla="*/ 13935 w 64053"/>
                    <a:gd name="connsiteY22" fmla="*/ 58611 h 173620"/>
                    <a:gd name="connsiteX23" fmla="*/ 14413 w 64053"/>
                    <a:gd name="connsiteY23" fmla="*/ 62020 h 173620"/>
                    <a:gd name="connsiteX24" fmla="*/ 14892 w 64053"/>
                    <a:gd name="connsiteY24" fmla="*/ 65429 h 173620"/>
                    <a:gd name="connsiteX25" fmla="*/ 15371 w 64053"/>
                    <a:gd name="connsiteY25" fmla="*/ 68838 h 173620"/>
                    <a:gd name="connsiteX26" fmla="*/ 15849 w 64053"/>
                    <a:gd name="connsiteY26" fmla="*/ 72247 h 173620"/>
                    <a:gd name="connsiteX27" fmla="*/ 16327 w 64053"/>
                    <a:gd name="connsiteY27" fmla="*/ 75656 h 173620"/>
                    <a:gd name="connsiteX28" fmla="*/ 16806 w 64053"/>
                    <a:gd name="connsiteY28" fmla="*/ 79065 h 173620"/>
                    <a:gd name="connsiteX29" fmla="*/ 17284 w 64053"/>
                    <a:gd name="connsiteY29" fmla="*/ 82474 h 173620"/>
                    <a:gd name="connsiteX30" fmla="*/ 17763 w 64053"/>
                    <a:gd name="connsiteY30" fmla="*/ 85883 h 173620"/>
                    <a:gd name="connsiteX31" fmla="*/ 18062 w 64053"/>
                    <a:gd name="connsiteY31" fmla="*/ 88216 h 173620"/>
                    <a:gd name="connsiteX32" fmla="*/ 18181 w 64053"/>
                    <a:gd name="connsiteY32" fmla="*/ 89232 h 173620"/>
                    <a:gd name="connsiteX33" fmla="*/ 18660 w 64053"/>
                    <a:gd name="connsiteY33" fmla="*/ 92641 h 173620"/>
                    <a:gd name="connsiteX34" fmla="*/ 19138 w 64053"/>
                    <a:gd name="connsiteY34" fmla="*/ 96050 h 173620"/>
                    <a:gd name="connsiteX35" fmla="*/ 19377 w 64053"/>
                    <a:gd name="connsiteY35" fmla="*/ 97605 h 173620"/>
                    <a:gd name="connsiteX36" fmla="*/ 19796 w 64053"/>
                    <a:gd name="connsiteY36" fmla="*/ 100655 h 173620"/>
                    <a:gd name="connsiteX37" fmla="*/ 20035 w 64053"/>
                    <a:gd name="connsiteY37" fmla="*/ 102270 h 173620"/>
                    <a:gd name="connsiteX38" fmla="*/ 20394 w 64053"/>
                    <a:gd name="connsiteY38" fmla="*/ 104962 h 173620"/>
                    <a:gd name="connsiteX39" fmla="*/ 20454 w 64053"/>
                    <a:gd name="connsiteY39" fmla="*/ 105440 h 173620"/>
                    <a:gd name="connsiteX40" fmla="*/ 20693 w 64053"/>
                    <a:gd name="connsiteY40" fmla="*/ 107115 h 173620"/>
                    <a:gd name="connsiteX41" fmla="*/ 21172 w 64053"/>
                    <a:gd name="connsiteY41" fmla="*/ 110524 h 173620"/>
                    <a:gd name="connsiteX42" fmla="*/ 21530 w 64053"/>
                    <a:gd name="connsiteY42" fmla="*/ 113275 h 173620"/>
                    <a:gd name="connsiteX43" fmla="*/ 21770 w 64053"/>
                    <a:gd name="connsiteY43" fmla="*/ 114770 h 173620"/>
                    <a:gd name="connsiteX44" fmla="*/ 21829 w 64053"/>
                    <a:gd name="connsiteY44" fmla="*/ 115069 h 173620"/>
                    <a:gd name="connsiteX45" fmla="*/ 21949 w 64053"/>
                    <a:gd name="connsiteY45" fmla="*/ 115787 h 173620"/>
                    <a:gd name="connsiteX46" fmla="*/ 22189 w 64053"/>
                    <a:gd name="connsiteY46" fmla="*/ 117701 h 173620"/>
                    <a:gd name="connsiteX47" fmla="*/ 22667 w 64053"/>
                    <a:gd name="connsiteY47" fmla="*/ 121110 h 173620"/>
                    <a:gd name="connsiteX48" fmla="*/ 22727 w 64053"/>
                    <a:gd name="connsiteY48" fmla="*/ 121349 h 173620"/>
                    <a:gd name="connsiteX49" fmla="*/ 23205 w 64053"/>
                    <a:gd name="connsiteY49" fmla="*/ 124758 h 173620"/>
                    <a:gd name="connsiteX50" fmla="*/ 23684 w 64053"/>
                    <a:gd name="connsiteY50" fmla="*/ 128167 h 173620"/>
                    <a:gd name="connsiteX51" fmla="*/ 24162 w 64053"/>
                    <a:gd name="connsiteY51" fmla="*/ 131576 h 173620"/>
                    <a:gd name="connsiteX52" fmla="*/ 24222 w 64053"/>
                    <a:gd name="connsiteY52" fmla="*/ 132054 h 173620"/>
                    <a:gd name="connsiteX53" fmla="*/ 24581 w 64053"/>
                    <a:gd name="connsiteY53" fmla="*/ 134447 h 173620"/>
                    <a:gd name="connsiteX54" fmla="*/ 25059 w 64053"/>
                    <a:gd name="connsiteY54" fmla="*/ 137856 h 173620"/>
                    <a:gd name="connsiteX55" fmla="*/ 25238 w 64053"/>
                    <a:gd name="connsiteY55" fmla="*/ 139171 h 173620"/>
                    <a:gd name="connsiteX56" fmla="*/ 24162 w 64053"/>
                    <a:gd name="connsiteY56" fmla="*/ 142879 h 173620"/>
                    <a:gd name="connsiteX57" fmla="*/ 23086 w 64053"/>
                    <a:gd name="connsiteY57" fmla="*/ 146588 h 173620"/>
                    <a:gd name="connsiteX58" fmla="*/ 22787 w 64053"/>
                    <a:gd name="connsiteY58" fmla="*/ 147724 h 173620"/>
                    <a:gd name="connsiteX59" fmla="*/ 22727 w 64053"/>
                    <a:gd name="connsiteY59" fmla="*/ 147963 h 173620"/>
                    <a:gd name="connsiteX60" fmla="*/ 22129 w 64053"/>
                    <a:gd name="connsiteY60" fmla="*/ 150116 h 173620"/>
                    <a:gd name="connsiteX61" fmla="*/ 22607 w 64053"/>
                    <a:gd name="connsiteY61" fmla="*/ 153465 h 173620"/>
                    <a:gd name="connsiteX62" fmla="*/ 22846 w 64053"/>
                    <a:gd name="connsiteY62" fmla="*/ 154900 h 173620"/>
                    <a:gd name="connsiteX63" fmla="*/ 23145 w 64053"/>
                    <a:gd name="connsiteY63" fmla="*/ 157113 h 173620"/>
                    <a:gd name="connsiteX64" fmla="*/ 23624 w 64053"/>
                    <a:gd name="connsiteY64" fmla="*/ 160462 h 173620"/>
                    <a:gd name="connsiteX65" fmla="*/ 24102 w 64053"/>
                    <a:gd name="connsiteY65" fmla="*/ 163812 h 173620"/>
                    <a:gd name="connsiteX66" fmla="*/ 24581 w 64053"/>
                    <a:gd name="connsiteY66" fmla="*/ 167161 h 173620"/>
                    <a:gd name="connsiteX67" fmla="*/ 24820 w 64053"/>
                    <a:gd name="connsiteY67" fmla="*/ 168955 h 173620"/>
                    <a:gd name="connsiteX68" fmla="*/ 25956 w 64053"/>
                    <a:gd name="connsiteY68" fmla="*/ 171886 h 173620"/>
                    <a:gd name="connsiteX69" fmla="*/ 26136 w 64053"/>
                    <a:gd name="connsiteY69" fmla="*/ 172305 h 173620"/>
                    <a:gd name="connsiteX70" fmla="*/ 28648 w 64053"/>
                    <a:gd name="connsiteY70" fmla="*/ 173560 h 173620"/>
                    <a:gd name="connsiteX71" fmla="*/ 28707 w 64053"/>
                    <a:gd name="connsiteY71" fmla="*/ 173620 h 173620"/>
                    <a:gd name="connsiteX72" fmla="*/ 31758 w 64053"/>
                    <a:gd name="connsiteY72" fmla="*/ 172843 h 173620"/>
                    <a:gd name="connsiteX73" fmla="*/ 32296 w 64053"/>
                    <a:gd name="connsiteY73" fmla="*/ 172723 h 173620"/>
                    <a:gd name="connsiteX74" fmla="*/ 35227 w 64053"/>
                    <a:gd name="connsiteY74" fmla="*/ 170750 h 173620"/>
                    <a:gd name="connsiteX75" fmla="*/ 36662 w 64053"/>
                    <a:gd name="connsiteY75" fmla="*/ 169792 h 173620"/>
                    <a:gd name="connsiteX76" fmla="*/ 39353 w 64053"/>
                    <a:gd name="connsiteY76" fmla="*/ 167161 h 173620"/>
                    <a:gd name="connsiteX77" fmla="*/ 41506 w 64053"/>
                    <a:gd name="connsiteY77" fmla="*/ 165068 h 173620"/>
                    <a:gd name="connsiteX78" fmla="*/ 43958 w 64053"/>
                    <a:gd name="connsiteY78" fmla="*/ 162077 h 173620"/>
                    <a:gd name="connsiteX79" fmla="*/ 46410 w 64053"/>
                    <a:gd name="connsiteY79" fmla="*/ 159087 h 173620"/>
                    <a:gd name="connsiteX80" fmla="*/ 46530 w 64053"/>
                    <a:gd name="connsiteY80" fmla="*/ 158908 h 173620"/>
                    <a:gd name="connsiteX81" fmla="*/ 48683 w 64053"/>
                    <a:gd name="connsiteY81" fmla="*/ 155618 h 173620"/>
                    <a:gd name="connsiteX82" fmla="*/ 50836 w 64053"/>
                    <a:gd name="connsiteY82" fmla="*/ 152329 h 173620"/>
                    <a:gd name="connsiteX83" fmla="*/ 51315 w 64053"/>
                    <a:gd name="connsiteY83" fmla="*/ 151611 h 173620"/>
                    <a:gd name="connsiteX84" fmla="*/ 53228 w 64053"/>
                    <a:gd name="connsiteY84" fmla="*/ 148142 h 173620"/>
                    <a:gd name="connsiteX85" fmla="*/ 55142 w 64053"/>
                    <a:gd name="connsiteY85" fmla="*/ 144674 h 173620"/>
                    <a:gd name="connsiteX86" fmla="*/ 55681 w 64053"/>
                    <a:gd name="connsiteY86" fmla="*/ 143776 h 173620"/>
                    <a:gd name="connsiteX87" fmla="*/ 57355 w 64053"/>
                    <a:gd name="connsiteY87" fmla="*/ 140188 h 173620"/>
                    <a:gd name="connsiteX88" fmla="*/ 59030 w 64053"/>
                    <a:gd name="connsiteY88" fmla="*/ 136599 h 173620"/>
                    <a:gd name="connsiteX89" fmla="*/ 59389 w 64053"/>
                    <a:gd name="connsiteY89" fmla="*/ 135822 h 173620"/>
                    <a:gd name="connsiteX90" fmla="*/ 60704 w 64053"/>
                    <a:gd name="connsiteY90" fmla="*/ 132114 h 173620"/>
                    <a:gd name="connsiteX91" fmla="*/ 62020 w 64053"/>
                    <a:gd name="connsiteY91" fmla="*/ 128406 h 173620"/>
                    <a:gd name="connsiteX92" fmla="*/ 62080 w 64053"/>
                    <a:gd name="connsiteY92" fmla="*/ 128227 h 173620"/>
                    <a:gd name="connsiteX93" fmla="*/ 62977 w 64053"/>
                    <a:gd name="connsiteY93" fmla="*/ 124459 h 173620"/>
                    <a:gd name="connsiteX94" fmla="*/ 63694 w 64053"/>
                    <a:gd name="connsiteY94" fmla="*/ 121468 h 173620"/>
                    <a:gd name="connsiteX95" fmla="*/ 63934 w 64053"/>
                    <a:gd name="connsiteY95" fmla="*/ 117820 h 173620"/>
                    <a:gd name="connsiteX96" fmla="*/ 64054 w 64053"/>
                    <a:gd name="connsiteY96" fmla="*/ 116026 h 173620"/>
                    <a:gd name="connsiteX97" fmla="*/ 63216 w 64053"/>
                    <a:gd name="connsiteY97" fmla="*/ 112856 h 173620"/>
                    <a:gd name="connsiteX98" fmla="*/ 63037 w 64053"/>
                    <a:gd name="connsiteY98" fmla="*/ 112258 h 173620"/>
                    <a:gd name="connsiteX99" fmla="*/ 60824 w 64053"/>
                    <a:gd name="connsiteY99" fmla="*/ 110524 h 173620"/>
                    <a:gd name="connsiteX100" fmla="*/ 60764 w 64053"/>
                    <a:gd name="connsiteY100" fmla="*/ 110464 h 173620"/>
                    <a:gd name="connsiteX101" fmla="*/ 58372 w 64053"/>
                    <a:gd name="connsiteY101" fmla="*/ 109028 h 173620"/>
                    <a:gd name="connsiteX102" fmla="*/ 55979 w 64053"/>
                    <a:gd name="connsiteY102" fmla="*/ 107593 h 173620"/>
                    <a:gd name="connsiteX103" fmla="*/ 53587 w 64053"/>
                    <a:gd name="connsiteY103" fmla="*/ 106158 h 173620"/>
                    <a:gd name="connsiteX104" fmla="*/ 52331 w 64053"/>
                    <a:gd name="connsiteY104" fmla="*/ 105380 h 17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4053" h="173620">
                      <a:moveTo>
                        <a:pt x="0" y="0"/>
                      </a:moveTo>
                      <a:lnTo>
                        <a:pt x="0" y="0"/>
                      </a:lnTo>
                      <a:lnTo>
                        <a:pt x="479" y="3409"/>
                      </a:lnTo>
                      <a:lnTo>
                        <a:pt x="718" y="4844"/>
                      </a:lnTo>
                      <a:lnTo>
                        <a:pt x="1196" y="8194"/>
                      </a:lnTo>
                      <a:lnTo>
                        <a:pt x="1674" y="11543"/>
                      </a:lnTo>
                      <a:lnTo>
                        <a:pt x="1914" y="13277"/>
                      </a:lnTo>
                      <a:lnTo>
                        <a:pt x="1974" y="13696"/>
                      </a:lnTo>
                      <a:lnTo>
                        <a:pt x="2452" y="17045"/>
                      </a:lnTo>
                      <a:lnTo>
                        <a:pt x="2930" y="20394"/>
                      </a:lnTo>
                      <a:lnTo>
                        <a:pt x="3409" y="23743"/>
                      </a:lnTo>
                      <a:lnTo>
                        <a:pt x="3768" y="26255"/>
                      </a:lnTo>
                      <a:lnTo>
                        <a:pt x="4725" y="29305"/>
                      </a:lnTo>
                      <a:lnTo>
                        <a:pt x="5682" y="32356"/>
                      </a:lnTo>
                      <a:lnTo>
                        <a:pt x="6639" y="35406"/>
                      </a:lnTo>
                      <a:lnTo>
                        <a:pt x="7596" y="38456"/>
                      </a:lnTo>
                      <a:lnTo>
                        <a:pt x="8552" y="41506"/>
                      </a:lnTo>
                      <a:lnTo>
                        <a:pt x="9509" y="44556"/>
                      </a:lnTo>
                      <a:lnTo>
                        <a:pt x="10466" y="47606"/>
                      </a:lnTo>
                      <a:lnTo>
                        <a:pt x="11423" y="50657"/>
                      </a:lnTo>
                      <a:lnTo>
                        <a:pt x="12380" y="53707"/>
                      </a:lnTo>
                      <a:lnTo>
                        <a:pt x="13337" y="56757"/>
                      </a:lnTo>
                      <a:lnTo>
                        <a:pt x="13935" y="58611"/>
                      </a:lnTo>
                      <a:lnTo>
                        <a:pt x="14413" y="62020"/>
                      </a:lnTo>
                      <a:lnTo>
                        <a:pt x="14892" y="65429"/>
                      </a:lnTo>
                      <a:lnTo>
                        <a:pt x="15371" y="68838"/>
                      </a:lnTo>
                      <a:lnTo>
                        <a:pt x="15849" y="72247"/>
                      </a:lnTo>
                      <a:lnTo>
                        <a:pt x="16327" y="75656"/>
                      </a:lnTo>
                      <a:lnTo>
                        <a:pt x="16806" y="79065"/>
                      </a:lnTo>
                      <a:lnTo>
                        <a:pt x="17284" y="82474"/>
                      </a:lnTo>
                      <a:lnTo>
                        <a:pt x="17763" y="85883"/>
                      </a:lnTo>
                      <a:lnTo>
                        <a:pt x="18062" y="88216"/>
                      </a:lnTo>
                      <a:lnTo>
                        <a:pt x="18181" y="89232"/>
                      </a:lnTo>
                      <a:lnTo>
                        <a:pt x="18660" y="92641"/>
                      </a:lnTo>
                      <a:lnTo>
                        <a:pt x="19138" y="96050"/>
                      </a:lnTo>
                      <a:lnTo>
                        <a:pt x="19377" y="97605"/>
                      </a:lnTo>
                      <a:lnTo>
                        <a:pt x="19796" y="100655"/>
                      </a:lnTo>
                      <a:lnTo>
                        <a:pt x="20035" y="102270"/>
                      </a:lnTo>
                      <a:lnTo>
                        <a:pt x="20394" y="104962"/>
                      </a:lnTo>
                      <a:lnTo>
                        <a:pt x="20454" y="105440"/>
                      </a:lnTo>
                      <a:lnTo>
                        <a:pt x="20693" y="107115"/>
                      </a:lnTo>
                      <a:lnTo>
                        <a:pt x="21172" y="110524"/>
                      </a:lnTo>
                      <a:lnTo>
                        <a:pt x="21530" y="113275"/>
                      </a:lnTo>
                      <a:lnTo>
                        <a:pt x="21770" y="114770"/>
                      </a:lnTo>
                      <a:lnTo>
                        <a:pt x="21829" y="115069"/>
                      </a:lnTo>
                      <a:lnTo>
                        <a:pt x="21949" y="115787"/>
                      </a:lnTo>
                      <a:lnTo>
                        <a:pt x="22189" y="117701"/>
                      </a:lnTo>
                      <a:lnTo>
                        <a:pt x="22667" y="121110"/>
                      </a:lnTo>
                      <a:lnTo>
                        <a:pt x="22727" y="121349"/>
                      </a:lnTo>
                      <a:lnTo>
                        <a:pt x="23205" y="124758"/>
                      </a:lnTo>
                      <a:lnTo>
                        <a:pt x="23684" y="128167"/>
                      </a:lnTo>
                      <a:lnTo>
                        <a:pt x="24162" y="131576"/>
                      </a:lnTo>
                      <a:lnTo>
                        <a:pt x="24222" y="132054"/>
                      </a:lnTo>
                      <a:lnTo>
                        <a:pt x="24581" y="134447"/>
                      </a:lnTo>
                      <a:lnTo>
                        <a:pt x="25059" y="137856"/>
                      </a:lnTo>
                      <a:lnTo>
                        <a:pt x="25238" y="139171"/>
                      </a:lnTo>
                      <a:lnTo>
                        <a:pt x="24162" y="142879"/>
                      </a:lnTo>
                      <a:lnTo>
                        <a:pt x="23086" y="146588"/>
                      </a:lnTo>
                      <a:lnTo>
                        <a:pt x="22787" y="147724"/>
                      </a:lnTo>
                      <a:lnTo>
                        <a:pt x="22727" y="147963"/>
                      </a:lnTo>
                      <a:lnTo>
                        <a:pt x="22129" y="150116"/>
                      </a:lnTo>
                      <a:lnTo>
                        <a:pt x="22607" y="153465"/>
                      </a:lnTo>
                      <a:lnTo>
                        <a:pt x="22846" y="154900"/>
                      </a:lnTo>
                      <a:lnTo>
                        <a:pt x="23145" y="157113"/>
                      </a:lnTo>
                      <a:lnTo>
                        <a:pt x="23624" y="160462"/>
                      </a:lnTo>
                      <a:lnTo>
                        <a:pt x="24102" y="163812"/>
                      </a:lnTo>
                      <a:lnTo>
                        <a:pt x="24581" y="167161"/>
                      </a:lnTo>
                      <a:lnTo>
                        <a:pt x="24820" y="168955"/>
                      </a:lnTo>
                      <a:lnTo>
                        <a:pt x="25956" y="171886"/>
                      </a:lnTo>
                      <a:lnTo>
                        <a:pt x="26136" y="172305"/>
                      </a:lnTo>
                      <a:lnTo>
                        <a:pt x="28648" y="173560"/>
                      </a:lnTo>
                      <a:lnTo>
                        <a:pt x="28707" y="173620"/>
                      </a:lnTo>
                      <a:lnTo>
                        <a:pt x="31758" y="172843"/>
                      </a:lnTo>
                      <a:lnTo>
                        <a:pt x="32296" y="172723"/>
                      </a:lnTo>
                      <a:lnTo>
                        <a:pt x="35227" y="170750"/>
                      </a:lnTo>
                      <a:lnTo>
                        <a:pt x="36662" y="169792"/>
                      </a:lnTo>
                      <a:lnTo>
                        <a:pt x="39353" y="167161"/>
                      </a:lnTo>
                      <a:lnTo>
                        <a:pt x="41506" y="165068"/>
                      </a:lnTo>
                      <a:lnTo>
                        <a:pt x="43958" y="162077"/>
                      </a:lnTo>
                      <a:lnTo>
                        <a:pt x="46410" y="159087"/>
                      </a:lnTo>
                      <a:lnTo>
                        <a:pt x="46530" y="158908"/>
                      </a:lnTo>
                      <a:lnTo>
                        <a:pt x="48683" y="155618"/>
                      </a:lnTo>
                      <a:lnTo>
                        <a:pt x="50836" y="152329"/>
                      </a:lnTo>
                      <a:lnTo>
                        <a:pt x="51315" y="151611"/>
                      </a:lnTo>
                      <a:lnTo>
                        <a:pt x="53228" y="148142"/>
                      </a:lnTo>
                      <a:lnTo>
                        <a:pt x="55142" y="144674"/>
                      </a:lnTo>
                      <a:lnTo>
                        <a:pt x="55681" y="143776"/>
                      </a:lnTo>
                      <a:lnTo>
                        <a:pt x="57355" y="140188"/>
                      </a:lnTo>
                      <a:lnTo>
                        <a:pt x="59030" y="136599"/>
                      </a:lnTo>
                      <a:lnTo>
                        <a:pt x="59389" y="135822"/>
                      </a:lnTo>
                      <a:lnTo>
                        <a:pt x="60704" y="132114"/>
                      </a:lnTo>
                      <a:lnTo>
                        <a:pt x="62020" y="128406"/>
                      </a:lnTo>
                      <a:lnTo>
                        <a:pt x="62080" y="128227"/>
                      </a:lnTo>
                      <a:lnTo>
                        <a:pt x="62977" y="124459"/>
                      </a:lnTo>
                      <a:lnTo>
                        <a:pt x="63694" y="121468"/>
                      </a:lnTo>
                      <a:lnTo>
                        <a:pt x="63934" y="117820"/>
                      </a:lnTo>
                      <a:lnTo>
                        <a:pt x="64054" y="116026"/>
                      </a:lnTo>
                      <a:lnTo>
                        <a:pt x="63216" y="112856"/>
                      </a:lnTo>
                      <a:lnTo>
                        <a:pt x="63037" y="112258"/>
                      </a:lnTo>
                      <a:lnTo>
                        <a:pt x="60824" y="110524"/>
                      </a:lnTo>
                      <a:lnTo>
                        <a:pt x="60764" y="110464"/>
                      </a:lnTo>
                      <a:lnTo>
                        <a:pt x="58372" y="109028"/>
                      </a:lnTo>
                      <a:lnTo>
                        <a:pt x="55979" y="107593"/>
                      </a:lnTo>
                      <a:lnTo>
                        <a:pt x="53587" y="106158"/>
                      </a:lnTo>
                      <a:lnTo>
                        <a:pt x="52331" y="105380"/>
                      </a:lnTo>
                    </a:path>
                  </a:pathLst>
                </a:custGeom>
                <a:noFill/>
                <a:ln w="6350" cap="flat">
                  <a:solidFill>
                    <a:schemeClr val="bg1">
                      <a:alpha val="80000"/>
                    </a:schemeClr>
                  </a:solidFill>
                  <a:prstDash val="solid"/>
                  <a:miter/>
                </a:ln>
              </p:spPr>
              <p:txBody>
                <a:bodyPr rtlCol="0" anchor="ctr"/>
                <a:lstStyle/>
                <a:p>
                  <a:endParaRPr lang="en-GB"/>
                </a:p>
              </p:txBody>
            </p:sp>
            <p:sp>
              <p:nvSpPr>
                <p:cNvPr id="7628" name="Vrije vorm: vorm 7627">
                  <a:extLst>
                    <a:ext uri="{FF2B5EF4-FFF2-40B4-BE49-F238E27FC236}">
                      <a16:creationId xmlns:a16="http://schemas.microsoft.com/office/drawing/2014/main" id="{87640F7B-08CF-4EEC-AFA2-7DA12A395B64}"/>
                    </a:ext>
                  </a:extLst>
                </p:cNvPr>
                <p:cNvSpPr/>
                <p:nvPr/>
              </p:nvSpPr>
              <p:spPr>
                <a:xfrm>
                  <a:off x="5773689" y="5366182"/>
                  <a:ext cx="19676" cy="22846"/>
                </a:xfrm>
                <a:custGeom>
                  <a:avLst/>
                  <a:gdLst>
                    <a:gd name="connsiteX0" fmla="*/ 19676 w 19676"/>
                    <a:gd name="connsiteY0" fmla="*/ 22846 h 22846"/>
                    <a:gd name="connsiteX1" fmla="*/ 17404 w 19676"/>
                    <a:gd name="connsiteY1" fmla="*/ 21232 h 22846"/>
                    <a:gd name="connsiteX2" fmla="*/ 15131 w 19676"/>
                    <a:gd name="connsiteY2" fmla="*/ 19617 h 22846"/>
                    <a:gd name="connsiteX3" fmla="*/ 12859 w 19676"/>
                    <a:gd name="connsiteY3" fmla="*/ 18002 h 22846"/>
                    <a:gd name="connsiteX4" fmla="*/ 10586 w 19676"/>
                    <a:gd name="connsiteY4" fmla="*/ 16387 h 22846"/>
                    <a:gd name="connsiteX5" fmla="*/ 8313 w 19676"/>
                    <a:gd name="connsiteY5" fmla="*/ 14773 h 22846"/>
                    <a:gd name="connsiteX6" fmla="*/ 7117 w 19676"/>
                    <a:gd name="connsiteY6" fmla="*/ 13875 h 22846"/>
                    <a:gd name="connsiteX7" fmla="*/ 4844 w 19676"/>
                    <a:gd name="connsiteY7" fmla="*/ 12261 h 22846"/>
                    <a:gd name="connsiteX8" fmla="*/ 3828 w 19676"/>
                    <a:gd name="connsiteY8" fmla="*/ 11483 h 22846"/>
                    <a:gd name="connsiteX9" fmla="*/ 3828 w 19676"/>
                    <a:gd name="connsiteY9" fmla="*/ 11483 h 22846"/>
                    <a:gd name="connsiteX10" fmla="*/ 1555 w 19676"/>
                    <a:gd name="connsiteY10" fmla="*/ 9868 h 22846"/>
                    <a:gd name="connsiteX11" fmla="*/ 1495 w 19676"/>
                    <a:gd name="connsiteY11" fmla="*/ 9868 h 22846"/>
                    <a:gd name="connsiteX12" fmla="*/ 299 w 19676"/>
                    <a:gd name="connsiteY12" fmla="*/ 6998 h 22846"/>
                    <a:gd name="connsiteX13" fmla="*/ 60 w 19676"/>
                    <a:gd name="connsiteY13" fmla="*/ 6459 h 22846"/>
                    <a:gd name="connsiteX14" fmla="*/ 0 w 19676"/>
                    <a:gd name="connsiteY14" fmla="*/ 2871 h 22846"/>
                    <a:gd name="connsiteX15" fmla="*/ 0 w 19676"/>
                    <a:gd name="connsiteY15" fmla="*/ 1196 h 22846"/>
                    <a:gd name="connsiteX16" fmla="*/ 239 w 19676"/>
                    <a:gd name="connsiteY16" fmla="*/ 0 h 2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6" h="22846">
                      <a:moveTo>
                        <a:pt x="19676" y="22846"/>
                      </a:moveTo>
                      <a:lnTo>
                        <a:pt x="17404" y="21232"/>
                      </a:lnTo>
                      <a:lnTo>
                        <a:pt x="15131" y="19617"/>
                      </a:lnTo>
                      <a:lnTo>
                        <a:pt x="12859" y="18002"/>
                      </a:lnTo>
                      <a:lnTo>
                        <a:pt x="10586" y="16387"/>
                      </a:lnTo>
                      <a:lnTo>
                        <a:pt x="8313" y="14773"/>
                      </a:lnTo>
                      <a:lnTo>
                        <a:pt x="7117" y="13875"/>
                      </a:lnTo>
                      <a:lnTo>
                        <a:pt x="4844" y="12261"/>
                      </a:lnTo>
                      <a:lnTo>
                        <a:pt x="3828" y="11483"/>
                      </a:lnTo>
                      <a:lnTo>
                        <a:pt x="3828" y="11483"/>
                      </a:lnTo>
                      <a:lnTo>
                        <a:pt x="1555" y="9868"/>
                      </a:lnTo>
                      <a:lnTo>
                        <a:pt x="1495" y="9868"/>
                      </a:lnTo>
                      <a:lnTo>
                        <a:pt x="299" y="6998"/>
                      </a:lnTo>
                      <a:lnTo>
                        <a:pt x="60" y="6459"/>
                      </a:lnTo>
                      <a:lnTo>
                        <a:pt x="0" y="2871"/>
                      </a:lnTo>
                      <a:lnTo>
                        <a:pt x="0" y="1196"/>
                      </a:lnTo>
                      <a:lnTo>
                        <a:pt x="239" y="0"/>
                      </a:lnTo>
                    </a:path>
                  </a:pathLst>
                </a:custGeom>
                <a:noFill/>
                <a:ln w="6350" cap="flat">
                  <a:solidFill>
                    <a:schemeClr val="bg1">
                      <a:alpha val="80000"/>
                    </a:schemeClr>
                  </a:solidFill>
                  <a:prstDash val="solid"/>
                  <a:miter/>
                </a:ln>
              </p:spPr>
              <p:txBody>
                <a:bodyPr rtlCol="0" anchor="ctr"/>
                <a:lstStyle/>
                <a:p>
                  <a:endParaRPr lang="en-GB"/>
                </a:p>
              </p:txBody>
            </p:sp>
            <p:sp>
              <p:nvSpPr>
                <p:cNvPr id="7629" name="Vrije vorm: vorm 7628">
                  <a:extLst>
                    <a:ext uri="{FF2B5EF4-FFF2-40B4-BE49-F238E27FC236}">
                      <a16:creationId xmlns:a16="http://schemas.microsoft.com/office/drawing/2014/main" id="{1C0AFD0E-7D60-4B1F-94D6-039BEDA520BC}"/>
                    </a:ext>
                  </a:extLst>
                </p:cNvPr>
                <p:cNvSpPr/>
                <p:nvPr/>
              </p:nvSpPr>
              <p:spPr>
                <a:xfrm>
                  <a:off x="5790136" y="5142803"/>
                  <a:ext cx="19497" cy="12320"/>
                </a:xfrm>
                <a:custGeom>
                  <a:avLst/>
                  <a:gdLst>
                    <a:gd name="connsiteX0" fmla="*/ 19497 w 19497"/>
                    <a:gd name="connsiteY0" fmla="*/ 0 h 12320"/>
                    <a:gd name="connsiteX1" fmla="*/ 16447 w 19497"/>
                    <a:gd name="connsiteY1" fmla="*/ 658 h 12320"/>
                    <a:gd name="connsiteX2" fmla="*/ 13815 w 19497"/>
                    <a:gd name="connsiteY2" fmla="*/ 1196 h 12320"/>
                    <a:gd name="connsiteX3" fmla="*/ 13815 w 19497"/>
                    <a:gd name="connsiteY3" fmla="*/ 1196 h 12320"/>
                    <a:gd name="connsiteX4" fmla="*/ 13696 w 19497"/>
                    <a:gd name="connsiteY4" fmla="*/ 1196 h 12320"/>
                    <a:gd name="connsiteX5" fmla="*/ 10705 w 19497"/>
                    <a:gd name="connsiteY5" fmla="*/ 3050 h 12320"/>
                    <a:gd name="connsiteX6" fmla="*/ 10048 w 19497"/>
                    <a:gd name="connsiteY6" fmla="*/ 3469 h 12320"/>
                    <a:gd name="connsiteX7" fmla="*/ 7057 w 19497"/>
                    <a:gd name="connsiteY7" fmla="*/ 5323 h 12320"/>
                    <a:gd name="connsiteX8" fmla="*/ 6997 w 19497"/>
                    <a:gd name="connsiteY8" fmla="*/ 5383 h 12320"/>
                    <a:gd name="connsiteX9" fmla="*/ 6220 w 19497"/>
                    <a:gd name="connsiteY9" fmla="*/ 6160 h 12320"/>
                    <a:gd name="connsiteX10" fmla="*/ 5682 w 19497"/>
                    <a:gd name="connsiteY10" fmla="*/ 6698 h 12320"/>
                    <a:gd name="connsiteX11" fmla="*/ 5622 w 19497"/>
                    <a:gd name="connsiteY11" fmla="*/ 6758 h 12320"/>
                    <a:gd name="connsiteX12" fmla="*/ 4665 w 19497"/>
                    <a:gd name="connsiteY12" fmla="*/ 7715 h 12320"/>
                    <a:gd name="connsiteX13" fmla="*/ 1974 w 19497"/>
                    <a:gd name="connsiteY13" fmla="*/ 10347 h 12320"/>
                    <a:gd name="connsiteX14" fmla="*/ 0 w 19497"/>
                    <a:gd name="connsiteY14" fmla="*/ 12320 h 1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497" h="12320">
                      <a:moveTo>
                        <a:pt x="19497" y="0"/>
                      </a:moveTo>
                      <a:lnTo>
                        <a:pt x="16447" y="658"/>
                      </a:lnTo>
                      <a:lnTo>
                        <a:pt x="13815" y="1196"/>
                      </a:lnTo>
                      <a:lnTo>
                        <a:pt x="13815" y="1196"/>
                      </a:lnTo>
                      <a:lnTo>
                        <a:pt x="13696" y="1196"/>
                      </a:lnTo>
                      <a:lnTo>
                        <a:pt x="10705" y="3050"/>
                      </a:lnTo>
                      <a:lnTo>
                        <a:pt x="10048" y="3469"/>
                      </a:lnTo>
                      <a:lnTo>
                        <a:pt x="7057" y="5323"/>
                      </a:lnTo>
                      <a:lnTo>
                        <a:pt x="6997" y="5383"/>
                      </a:lnTo>
                      <a:lnTo>
                        <a:pt x="6220" y="6160"/>
                      </a:lnTo>
                      <a:lnTo>
                        <a:pt x="5682" y="6698"/>
                      </a:lnTo>
                      <a:lnTo>
                        <a:pt x="5622" y="6758"/>
                      </a:lnTo>
                      <a:lnTo>
                        <a:pt x="4665" y="7715"/>
                      </a:lnTo>
                      <a:lnTo>
                        <a:pt x="1974" y="10347"/>
                      </a:lnTo>
                      <a:lnTo>
                        <a:pt x="0" y="12320"/>
                      </a:lnTo>
                    </a:path>
                  </a:pathLst>
                </a:custGeom>
                <a:noFill/>
                <a:ln w="6350" cap="flat">
                  <a:solidFill>
                    <a:schemeClr val="bg1">
                      <a:alpha val="80000"/>
                    </a:schemeClr>
                  </a:solidFill>
                  <a:prstDash val="solid"/>
                  <a:miter/>
                </a:ln>
              </p:spPr>
              <p:txBody>
                <a:bodyPr rtlCol="0" anchor="ctr"/>
                <a:lstStyle/>
                <a:p>
                  <a:endParaRPr lang="en-GB"/>
                </a:p>
              </p:txBody>
            </p:sp>
            <p:sp>
              <p:nvSpPr>
                <p:cNvPr id="7630" name="Vrije vorm: vorm 7629">
                  <a:extLst>
                    <a:ext uri="{FF2B5EF4-FFF2-40B4-BE49-F238E27FC236}">
                      <a16:creationId xmlns:a16="http://schemas.microsoft.com/office/drawing/2014/main" id="{EFED981A-612A-4223-9313-2DD7F4D76043}"/>
                    </a:ext>
                  </a:extLst>
                </p:cNvPr>
                <p:cNvSpPr/>
                <p:nvPr/>
              </p:nvSpPr>
              <p:spPr>
                <a:xfrm>
                  <a:off x="5787744" y="5154106"/>
                  <a:ext cx="3229" cy="8612"/>
                </a:xfrm>
                <a:custGeom>
                  <a:avLst/>
                  <a:gdLst>
                    <a:gd name="connsiteX0" fmla="*/ 3229 w 3229"/>
                    <a:gd name="connsiteY0" fmla="*/ 8612 h 8612"/>
                    <a:gd name="connsiteX1" fmla="*/ 3110 w 3229"/>
                    <a:gd name="connsiteY1" fmla="*/ 7715 h 8612"/>
                    <a:gd name="connsiteX2" fmla="*/ 2751 w 3229"/>
                    <a:gd name="connsiteY2" fmla="*/ 4246 h 8612"/>
                    <a:gd name="connsiteX3" fmla="*/ 2392 w 3229"/>
                    <a:gd name="connsiteY3" fmla="*/ 957 h 8612"/>
                    <a:gd name="connsiteX4" fmla="*/ 0 w 3229"/>
                    <a:gd name="connsiteY4" fmla="*/ 0 h 8612"/>
                    <a:gd name="connsiteX5" fmla="*/ 359 w 3229"/>
                    <a:gd name="connsiteY5" fmla="*/ 3409 h 8612"/>
                    <a:gd name="connsiteX6" fmla="*/ 538 w 3229"/>
                    <a:gd name="connsiteY6" fmla="*/ 5024 h 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9" h="8612">
                      <a:moveTo>
                        <a:pt x="3229" y="8612"/>
                      </a:moveTo>
                      <a:lnTo>
                        <a:pt x="3110" y="7715"/>
                      </a:lnTo>
                      <a:lnTo>
                        <a:pt x="2751" y="4246"/>
                      </a:lnTo>
                      <a:lnTo>
                        <a:pt x="2392" y="957"/>
                      </a:lnTo>
                      <a:lnTo>
                        <a:pt x="0" y="0"/>
                      </a:lnTo>
                      <a:lnTo>
                        <a:pt x="359" y="3409"/>
                      </a:lnTo>
                      <a:lnTo>
                        <a:pt x="538" y="5024"/>
                      </a:lnTo>
                    </a:path>
                  </a:pathLst>
                </a:custGeom>
                <a:noFill/>
                <a:ln w="6350" cap="flat">
                  <a:solidFill>
                    <a:schemeClr val="bg1">
                      <a:alpha val="80000"/>
                    </a:schemeClr>
                  </a:solidFill>
                  <a:prstDash val="solid"/>
                  <a:miter/>
                </a:ln>
              </p:spPr>
              <p:txBody>
                <a:bodyPr rtlCol="0" anchor="ctr"/>
                <a:lstStyle/>
                <a:p>
                  <a:endParaRPr lang="en-GB"/>
                </a:p>
              </p:txBody>
            </p:sp>
            <p:sp>
              <p:nvSpPr>
                <p:cNvPr id="7631" name="Vrije vorm: vorm 7630">
                  <a:extLst>
                    <a:ext uri="{FF2B5EF4-FFF2-40B4-BE49-F238E27FC236}">
                      <a16:creationId xmlns:a16="http://schemas.microsoft.com/office/drawing/2014/main" id="{C37A1A4F-13AD-4844-8F3E-7F8D663A8E4B}"/>
                    </a:ext>
                  </a:extLst>
                </p:cNvPr>
                <p:cNvSpPr/>
                <p:nvPr/>
              </p:nvSpPr>
              <p:spPr>
                <a:xfrm>
                  <a:off x="5808078" y="5158233"/>
                  <a:ext cx="9030" cy="16686"/>
                </a:xfrm>
                <a:custGeom>
                  <a:avLst/>
                  <a:gdLst>
                    <a:gd name="connsiteX0" fmla="*/ 9031 w 9030"/>
                    <a:gd name="connsiteY0" fmla="*/ 239 h 16686"/>
                    <a:gd name="connsiteX1" fmla="*/ 7835 w 9030"/>
                    <a:gd name="connsiteY1" fmla="*/ 0 h 16686"/>
                    <a:gd name="connsiteX2" fmla="*/ 6459 w 9030"/>
                    <a:gd name="connsiteY2" fmla="*/ 478 h 16686"/>
                    <a:gd name="connsiteX3" fmla="*/ 4964 w 9030"/>
                    <a:gd name="connsiteY3" fmla="*/ 1615 h 16686"/>
                    <a:gd name="connsiteX4" fmla="*/ 3469 w 9030"/>
                    <a:gd name="connsiteY4" fmla="*/ 3349 h 16686"/>
                    <a:gd name="connsiteX5" fmla="*/ 2751 w 9030"/>
                    <a:gd name="connsiteY5" fmla="*/ 4486 h 16686"/>
                    <a:gd name="connsiteX6" fmla="*/ 2392 w 9030"/>
                    <a:gd name="connsiteY6" fmla="*/ 5024 h 16686"/>
                    <a:gd name="connsiteX7" fmla="*/ 1435 w 9030"/>
                    <a:gd name="connsiteY7" fmla="*/ 6878 h 16686"/>
                    <a:gd name="connsiteX8" fmla="*/ 1136 w 9030"/>
                    <a:gd name="connsiteY8" fmla="*/ 7655 h 16686"/>
                    <a:gd name="connsiteX9" fmla="*/ 718 w 9030"/>
                    <a:gd name="connsiteY9" fmla="*/ 8851 h 16686"/>
                    <a:gd name="connsiteX10" fmla="*/ 598 w 9030"/>
                    <a:gd name="connsiteY10" fmla="*/ 9390 h 16686"/>
                    <a:gd name="connsiteX11" fmla="*/ 239 w 9030"/>
                    <a:gd name="connsiteY11" fmla="*/ 10765 h 16686"/>
                    <a:gd name="connsiteX12" fmla="*/ 0 w 9030"/>
                    <a:gd name="connsiteY12" fmla="*/ 12559 h 16686"/>
                    <a:gd name="connsiteX13" fmla="*/ 60 w 9030"/>
                    <a:gd name="connsiteY13" fmla="*/ 14114 h 16686"/>
                    <a:gd name="connsiteX14" fmla="*/ 120 w 9030"/>
                    <a:gd name="connsiteY14" fmla="*/ 14413 h 16686"/>
                    <a:gd name="connsiteX15" fmla="*/ 120 w 9030"/>
                    <a:gd name="connsiteY15" fmla="*/ 14473 h 16686"/>
                    <a:gd name="connsiteX16" fmla="*/ 359 w 9030"/>
                    <a:gd name="connsiteY16" fmla="*/ 15370 h 16686"/>
                    <a:gd name="connsiteX17" fmla="*/ 957 w 9030"/>
                    <a:gd name="connsiteY17" fmla="*/ 16267 h 16686"/>
                    <a:gd name="connsiteX18" fmla="*/ 1794 w 9030"/>
                    <a:gd name="connsiteY18" fmla="*/ 16686 h 1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30" h="16686">
                      <a:moveTo>
                        <a:pt x="9031" y="239"/>
                      </a:moveTo>
                      <a:lnTo>
                        <a:pt x="7835" y="0"/>
                      </a:lnTo>
                      <a:lnTo>
                        <a:pt x="6459" y="478"/>
                      </a:lnTo>
                      <a:lnTo>
                        <a:pt x="4964" y="1615"/>
                      </a:lnTo>
                      <a:lnTo>
                        <a:pt x="3469" y="3349"/>
                      </a:lnTo>
                      <a:lnTo>
                        <a:pt x="2751" y="4486"/>
                      </a:lnTo>
                      <a:lnTo>
                        <a:pt x="2392" y="5024"/>
                      </a:lnTo>
                      <a:lnTo>
                        <a:pt x="1435" y="6878"/>
                      </a:lnTo>
                      <a:lnTo>
                        <a:pt x="1136" y="7655"/>
                      </a:lnTo>
                      <a:lnTo>
                        <a:pt x="718" y="8851"/>
                      </a:lnTo>
                      <a:lnTo>
                        <a:pt x="598" y="9390"/>
                      </a:lnTo>
                      <a:lnTo>
                        <a:pt x="239" y="10765"/>
                      </a:lnTo>
                      <a:lnTo>
                        <a:pt x="0" y="12559"/>
                      </a:lnTo>
                      <a:lnTo>
                        <a:pt x="60" y="14114"/>
                      </a:lnTo>
                      <a:lnTo>
                        <a:pt x="120" y="14413"/>
                      </a:lnTo>
                      <a:lnTo>
                        <a:pt x="120" y="14473"/>
                      </a:lnTo>
                      <a:lnTo>
                        <a:pt x="359" y="15370"/>
                      </a:lnTo>
                      <a:lnTo>
                        <a:pt x="957" y="16267"/>
                      </a:lnTo>
                      <a:lnTo>
                        <a:pt x="1794" y="16686"/>
                      </a:lnTo>
                    </a:path>
                  </a:pathLst>
                </a:custGeom>
                <a:noFill/>
                <a:ln w="6350" cap="flat">
                  <a:solidFill>
                    <a:schemeClr val="bg1">
                      <a:alpha val="80000"/>
                    </a:schemeClr>
                  </a:solidFill>
                  <a:prstDash val="solid"/>
                  <a:miter/>
                </a:ln>
              </p:spPr>
              <p:txBody>
                <a:bodyPr rtlCol="0" anchor="ctr"/>
                <a:lstStyle/>
                <a:p>
                  <a:endParaRPr lang="en-GB"/>
                </a:p>
              </p:txBody>
            </p:sp>
            <p:sp>
              <p:nvSpPr>
                <p:cNvPr id="7632" name="Vrije vorm: vorm 7631">
                  <a:extLst>
                    <a:ext uri="{FF2B5EF4-FFF2-40B4-BE49-F238E27FC236}">
                      <a16:creationId xmlns:a16="http://schemas.microsoft.com/office/drawing/2014/main" id="{BE65ECEE-BAFD-4EF7-8636-BD4554977526}"/>
                    </a:ext>
                  </a:extLst>
                </p:cNvPr>
                <p:cNvSpPr/>
                <p:nvPr/>
              </p:nvSpPr>
              <p:spPr>
                <a:xfrm>
                  <a:off x="5807719" y="5164453"/>
                  <a:ext cx="10585" cy="75416"/>
                </a:xfrm>
                <a:custGeom>
                  <a:avLst/>
                  <a:gdLst>
                    <a:gd name="connsiteX0" fmla="*/ 10586 w 10585"/>
                    <a:gd name="connsiteY0" fmla="*/ 0 h 75416"/>
                    <a:gd name="connsiteX1" fmla="*/ 10526 w 10585"/>
                    <a:gd name="connsiteY1" fmla="*/ 299 h 75416"/>
                    <a:gd name="connsiteX2" fmla="*/ 9808 w 10585"/>
                    <a:gd name="connsiteY2" fmla="*/ 4067 h 75416"/>
                    <a:gd name="connsiteX3" fmla="*/ 9569 w 10585"/>
                    <a:gd name="connsiteY3" fmla="*/ 5263 h 75416"/>
                    <a:gd name="connsiteX4" fmla="*/ 8851 w 10585"/>
                    <a:gd name="connsiteY4" fmla="*/ 8792 h 75416"/>
                    <a:gd name="connsiteX5" fmla="*/ 8672 w 10585"/>
                    <a:gd name="connsiteY5" fmla="*/ 9749 h 75416"/>
                    <a:gd name="connsiteX6" fmla="*/ 8313 w 10585"/>
                    <a:gd name="connsiteY6" fmla="*/ 10765 h 75416"/>
                    <a:gd name="connsiteX7" fmla="*/ 7117 w 10585"/>
                    <a:gd name="connsiteY7" fmla="*/ 14414 h 75416"/>
                    <a:gd name="connsiteX8" fmla="*/ 5921 w 10585"/>
                    <a:gd name="connsiteY8" fmla="*/ 18122 h 75416"/>
                    <a:gd name="connsiteX9" fmla="*/ 5263 w 10585"/>
                    <a:gd name="connsiteY9" fmla="*/ 20215 h 75416"/>
                    <a:gd name="connsiteX10" fmla="*/ 3648 w 10585"/>
                    <a:gd name="connsiteY10" fmla="*/ 23803 h 75416"/>
                    <a:gd name="connsiteX11" fmla="*/ 2153 w 10585"/>
                    <a:gd name="connsiteY11" fmla="*/ 27152 h 75416"/>
                    <a:gd name="connsiteX12" fmla="*/ 598 w 10585"/>
                    <a:gd name="connsiteY12" fmla="*/ 30681 h 75416"/>
                    <a:gd name="connsiteX13" fmla="*/ 0 w 10585"/>
                    <a:gd name="connsiteY13" fmla="*/ 34090 h 75416"/>
                    <a:gd name="connsiteX14" fmla="*/ 419 w 10585"/>
                    <a:gd name="connsiteY14" fmla="*/ 37499 h 75416"/>
                    <a:gd name="connsiteX15" fmla="*/ 598 w 10585"/>
                    <a:gd name="connsiteY15" fmla="*/ 38994 h 75416"/>
                    <a:gd name="connsiteX16" fmla="*/ 1017 w 10585"/>
                    <a:gd name="connsiteY16" fmla="*/ 42403 h 75416"/>
                    <a:gd name="connsiteX17" fmla="*/ 1435 w 10585"/>
                    <a:gd name="connsiteY17" fmla="*/ 45813 h 75416"/>
                    <a:gd name="connsiteX18" fmla="*/ 1615 w 10585"/>
                    <a:gd name="connsiteY18" fmla="*/ 47248 h 75416"/>
                    <a:gd name="connsiteX19" fmla="*/ 2034 w 10585"/>
                    <a:gd name="connsiteY19" fmla="*/ 50657 h 75416"/>
                    <a:gd name="connsiteX20" fmla="*/ 2153 w 10585"/>
                    <a:gd name="connsiteY20" fmla="*/ 51434 h 75416"/>
                    <a:gd name="connsiteX21" fmla="*/ 2572 w 10585"/>
                    <a:gd name="connsiteY21" fmla="*/ 54843 h 75416"/>
                    <a:gd name="connsiteX22" fmla="*/ 2990 w 10585"/>
                    <a:gd name="connsiteY22" fmla="*/ 58252 h 75416"/>
                    <a:gd name="connsiteX23" fmla="*/ 3110 w 10585"/>
                    <a:gd name="connsiteY23" fmla="*/ 59508 h 75416"/>
                    <a:gd name="connsiteX24" fmla="*/ 3469 w 10585"/>
                    <a:gd name="connsiteY24" fmla="*/ 62738 h 75416"/>
                    <a:gd name="connsiteX25" fmla="*/ 3888 w 10585"/>
                    <a:gd name="connsiteY25" fmla="*/ 66147 h 75416"/>
                    <a:gd name="connsiteX26" fmla="*/ 4306 w 10585"/>
                    <a:gd name="connsiteY26" fmla="*/ 69556 h 75416"/>
                    <a:gd name="connsiteX27" fmla="*/ 4426 w 10585"/>
                    <a:gd name="connsiteY27" fmla="*/ 70572 h 75416"/>
                    <a:gd name="connsiteX28" fmla="*/ 4605 w 10585"/>
                    <a:gd name="connsiteY28" fmla="*/ 71171 h 75416"/>
                    <a:gd name="connsiteX29" fmla="*/ 4844 w 10585"/>
                    <a:gd name="connsiteY29" fmla="*/ 72008 h 75416"/>
                    <a:gd name="connsiteX30" fmla="*/ 4964 w 10585"/>
                    <a:gd name="connsiteY30" fmla="*/ 73563 h 75416"/>
                    <a:gd name="connsiteX31" fmla="*/ 5083 w 10585"/>
                    <a:gd name="connsiteY31" fmla="*/ 74580 h 75416"/>
                    <a:gd name="connsiteX32" fmla="*/ 5143 w 10585"/>
                    <a:gd name="connsiteY32" fmla="*/ 75417 h 75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585" h="75416">
                      <a:moveTo>
                        <a:pt x="10586" y="0"/>
                      </a:moveTo>
                      <a:lnTo>
                        <a:pt x="10526" y="299"/>
                      </a:lnTo>
                      <a:lnTo>
                        <a:pt x="9808" y="4067"/>
                      </a:lnTo>
                      <a:lnTo>
                        <a:pt x="9569" y="5263"/>
                      </a:lnTo>
                      <a:lnTo>
                        <a:pt x="8851" y="8792"/>
                      </a:lnTo>
                      <a:lnTo>
                        <a:pt x="8672" y="9749"/>
                      </a:lnTo>
                      <a:lnTo>
                        <a:pt x="8313" y="10765"/>
                      </a:lnTo>
                      <a:lnTo>
                        <a:pt x="7117" y="14414"/>
                      </a:lnTo>
                      <a:lnTo>
                        <a:pt x="5921" y="18122"/>
                      </a:lnTo>
                      <a:lnTo>
                        <a:pt x="5263" y="20215"/>
                      </a:lnTo>
                      <a:lnTo>
                        <a:pt x="3648" y="23803"/>
                      </a:lnTo>
                      <a:lnTo>
                        <a:pt x="2153" y="27152"/>
                      </a:lnTo>
                      <a:lnTo>
                        <a:pt x="598" y="30681"/>
                      </a:lnTo>
                      <a:lnTo>
                        <a:pt x="0" y="34090"/>
                      </a:lnTo>
                      <a:lnTo>
                        <a:pt x="419" y="37499"/>
                      </a:lnTo>
                      <a:lnTo>
                        <a:pt x="598" y="38994"/>
                      </a:lnTo>
                      <a:lnTo>
                        <a:pt x="1017" y="42403"/>
                      </a:lnTo>
                      <a:lnTo>
                        <a:pt x="1435" y="45813"/>
                      </a:lnTo>
                      <a:lnTo>
                        <a:pt x="1615" y="47248"/>
                      </a:lnTo>
                      <a:lnTo>
                        <a:pt x="2034" y="50657"/>
                      </a:lnTo>
                      <a:lnTo>
                        <a:pt x="2153" y="51434"/>
                      </a:lnTo>
                      <a:lnTo>
                        <a:pt x="2572" y="54843"/>
                      </a:lnTo>
                      <a:lnTo>
                        <a:pt x="2990" y="58252"/>
                      </a:lnTo>
                      <a:lnTo>
                        <a:pt x="3110" y="59508"/>
                      </a:lnTo>
                      <a:lnTo>
                        <a:pt x="3469" y="62738"/>
                      </a:lnTo>
                      <a:lnTo>
                        <a:pt x="3888" y="66147"/>
                      </a:lnTo>
                      <a:lnTo>
                        <a:pt x="4306" y="69556"/>
                      </a:lnTo>
                      <a:lnTo>
                        <a:pt x="4426" y="70572"/>
                      </a:lnTo>
                      <a:lnTo>
                        <a:pt x="4605" y="71171"/>
                      </a:lnTo>
                      <a:lnTo>
                        <a:pt x="4844" y="72008"/>
                      </a:lnTo>
                      <a:lnTo>
                        <a:pt x="4964" y="73563"/>
                      </a:lnTo>
                      <a:lnTo>
                        <a:pt x="5083" y="74580"/>
                      </a:lnTo>
                      <a:lnTo>
                        <a:pt x="5143" y="75417"/>
                      </a:lnTo>
                    </a:path>
                  </a:pathLst>
                </a:custGeom>
                <a:noFill/>
                <a:ln w="6350" cap="flat">
                  <a:solidFill>
                    <a:schemeClr val="bg1">
                      <a:alpha val="80000"/>
                    </a:schemeClr>
                  </a:solidFill>
                  <a:prstDash val="solid"/>
                  <a:miter/>
                </a:ln>
              </p:spPr>
              <p:txBody>
                <a:bodyPr rtlCol="0" anchor="ctr"/>
                <a:lstStyle/>
                <a:p>
                  <a:endParaRPr lang="en-GB"/>
                </a:p>
              </p:txBody>
            </p:sp>
            <p:sp>
              <p:nvSpPr>
                <p:cNvPr id="7633" name="Vrije vorm: vorm 7632">
                  <a:extLst>
                    <a:ext uri="{FF2B5EF4-FFF2-40B4-BE49-F238E27FC236}">
                      <a16:creationId xmlns:a16="http://schemas.microsoft.com/office/drawing/2014/main" id="{C0AE4F9A-7403-47F4-B86D-CC85E3D5B1B0}"/>
                    </a:ext>
                  </a:extLst>
                </p:cNvPr>
                <p:cNvSpPr/>
                <p:nvPr/>
              </p:nvSpPr>
              <p:spPr>
                <a:xfrm>
                  <a:off x="5806404" y="5153986"/>
                  <a:ext cx="3229" cy="26853"/>
                </a:xfrm>
                <a:custGeom>
                  <a:avLst/>
                  <a:gdLst>
                    <a:gd name="connsiteX0" fmla="*/ 0 w 3229"/>
                    <a:gd name="connsiteY0" fmla="*/ 25478 h 26853"/>
                    <a:gd name="connsiteX1" fmla="*/ 1196 w 3229"/>
                    <a:gd name="connsiteY1" fmla="*/ 26016 h 26853"/>
                    <a:gd name="connsiteX2" fmla="*/ 1435 w 3229"/>
                    <a:gd name="connsiteY2" fmla="*/ 26136 h 26853"/>
                    <a:gd name="connsiteX3" fmla="*/ 2632 w 3229"/>
                    <a:gd name="connsiteY3" fmla="*/ 26614 h 26853"/>
                    <a:gd name="connsiteX4" fmla="*/ 3229 w 3229"/>
                    <a:gd name="connsiteY4" fmla="*/ 26853 h 26853"/>
                    <a:gd name="connsiteX5" fmla="*/ 3170 w 3229"/>
                    <a:gd name="connsiteY5" fmla="*/ 26196 h 26853"/>
                    <a:gd name="connsiteX6" fmla="*/ 2990 w 3229"/>
                    <a:gd name="connsiteY6" fmla="*/ 24401 h 26853"/>
                    <a:gd name="connsiteX7" fmla="*/ 2930 w 3229"/>
                    <a:gd name="connsiteY7" fmla="*/ 23744 h 26853"/>
                    <a:gd name="connsiteX8" fmla="*/ 2632 w 3229"/>
                    <a:gd name="connsiteY8" fmla="*/ 20275 h 26853"/>
                    <a:gd name="connsiteX9" fmla="*/ 2332 w 3229"/>
                    <a:gd name="connsiteY9" fmla="*/ 16806 h 26853"/>
                    <a:gd name="connsiteX10" fmla="*/ 2033 w 3229"/>
                    <a:gd name="connsiteY10" fmla="*/ 13337 h 26853"/>
                    <a:gd name="connsiteX11" fmla="*/ 1914 w 3229"/>
                    <a:gd name="connsiteY11" fmla="*/ 12081 h 26853"/>
                    <a:gd name="connsiteX12" fmla="*/ 1674 w 3229"/>
                    <a:gd name="connsiteY12" fmla="*/ 9330 h 26853"/>
                    <a:gd name="connsiteX13" fmla="*/ 1435 w 3229"/>
                    <a:gd name="connsiteY13" fmla="*/ 6280 h 26853"/>
                    <a:gd name="connsiteX14" fmla="*/ 1136 w 3229"/>
                    <a:gd name="connsiteY14" fmla="*/ 2811 h 26853"/>
                    <a:gd name="connsiteX15" fmla="*/ 1076 w 3229"/>
                    <a:gd name="connsiteY15" fmla="*/ 2452 h 26853"/>
                    <a:gd name="connsiteX16" fmla="*/ 1017 w 3229"/>
                    <a:gd name="connsiteY16" fmla="*/ 2093 h 26853"/>
                    <a:gd name="connsiteX17" fmla="*/ 837 w 3229"/>
                    <a:gd name="connsiteY17" fmla="*/ 0 h 2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9" h="26853">
                      <a:moveTo>
                        <a:pt x="0" y="25478"/>
                      </a:moveTo>
                      <a:lnTo>
                        <a:pt x="1196" y="26016"/>
                      </a:lnTo>
                      <a:lnTo>
                        <a:pt x="1435" y="26136"/>
                      </a:lnTo>
                      <a:lnTo>
                        <a:pt x="2632" y="26614"/>
                      </a:lnTo>
                      <a:lnTo>
                        <a:pt x="3229" y="26853"/>
                      </a:lnTo>
                      <a:lnTo>
                        <a:pt x="3170" y="26196"/>
                      </a:lnTo>
                      <a:lnTo>
                        <a:pt x="2990" y="24401"/>
                      </a:lnTo>
                      <a:lnTo>
                        <a:pt x="2930" y="23744"/>
                      </a:lnTo>
                      <a:lnTo>
                        <a:pt x="2632" y="20275"/>
                      </a:lnTo>
                      <a:lnTo>
                        <a:pt x="2332" y="16806"/>
                      </a:lnTo>
                      <a:lnTo>
                        <a:pt x="2033" y="13337"/>
                      </a:lnTo>
                      <a:lnTo>
                        <a:pt x="1914" y="12081"/>
                      </a:lnTo>
                      <a:lnTo>
                        <a:pt x="1674" y="9330"/>
                      </a:lnTo>
                      <a:lnTo>
                        <a:pt x="1435" y="6280"/>
                      </a:lnTo>
                      <a:lnTo>
                        <a:pt x="1136" y="2811"/>
                      </a:lnTo>
                      <a:lnTo>
                        <a:pt x="1076" y="2452"/>
                      </a:lnTo>
                      <a:lnTo>
                        <a:pt x="1017" y="2093"/>
                      </a:lnTo>
                      <a:lnTo>
                        <a:pt x="837" y="0"/>
                      </a:lnTo>
                    </a:path>
                  </a:pathLst>
                </a:custGeom>
                <a:noFill/>
                <a:ln w="6350" cap="flat">
                  <a:solidFill>
                    <a:schemeClr val="bg1">
                      <a:alpha val="80000"/>
                    </a:schemeClr>
                  </a:solidFill>
                  <a:prstDash val="solid"/>
                  <a:miter/>
                </a:ln>
              </p:spPr>
              <p:txBody>
                <a:bodyPr rtlCol="0" anchor="ctr"/>
                <a:lstStyle/>
                <a:p>
                  <a:endParaRPr lang="en-GB"/>
                </a:p>
              </p:txBody>
            </p:sp>
            <p:sp>
              <p:nvSpPr>
                <p:cNvPr id="7634" name="Vrije vorm: vorm 7633">
                  <a:extLst>
                    <a:ext uri="{FF2B5EF4-FFF2-40B4-BE49-F238E27FC236}">
                      <a16:creationId xmlns:a16="http://schemas.microsoft.com/office/drawing/2014/main" id="{915B9161-8915-4922-9C2C-C27790614224}"/>
                    </a:ext>
                  </a:extLst>
                </p:cNvPr>
                <p:cNvSpPr/>
                <p:nvPr/>
              </p:nvSpPr>
              <p:spPr>
                <a:xfrm>
                  <a:off x="5771297" y="5180900"/>
                  <a:ext cx="38336" cy="36183"/>
                </a:xfrm>
                <a:custGeom>
                  <a:avLst/>
                  <a:gdLst>
                    <a:gd name="connsiteX0" fmla="*/ 0 w 38336"/>
                    <a:gd name="connsiteY0" fmla="*/ 25598 h 36183"/>
                    <a:gd name="connsiteX1" fmla="*/ 0 w 38336"/>
                    <a:gd name="connsiteY1" fmla="*/ 26614 h 36183"/>
                    <a:gd name="connsiteX2" fmla="*/ 0 w 38336"/>
                    <a:gd name="connsiteY2" fmla="*/ 26734 h 36183"/>
                    <a:gd name="connsiteX3" fmla="*/ 0 w 38336"/>
                    <a:gd name="connsiteY3" fmla="*/ 26853 h 36183"/>
                    <a:gd name="connsiteX4" fmla="*/ 1615 w 38336"/>
                    <a:gd name="connsiteY4" fmla="*/ 27631 h 36183"/>
                    <a:gd name="connsiteX5" fmla="*/ 1674 w 38336"/>
                    <a:gd name="connsiteY5" fmla="*/ 27691 h 36183"/>
                    <a:gd name="connsiteX6" fmla="*/ 2213 w 38336"/>
                    <a:gd name="connsiteY6" fmla="*/ 27930 h 36183"/>
                    <a:gd name="connsiteX7" fmla="*/ 2213 w 38336"/>
                    <a:gd name="connsiteY7" fmla="*/ 27990 h 36183"/>
                    <a:gd name="connsiteX8" fmla="*/ 3170 w 38336"/>
                    <a:gd name="connsiteY8" fmla="*/ 31100 h 36183"/>
                    <a:gd name="connsiteX9" fmla="*/ 3229 w 38336"/>
                    <a:gd name="connsiteY9" fmla="*/ 31339 h 36183"/>
                    <a:gd name="connsiteX10" fmla="*/ 3349 w 38336"/>
                    <a:gd name="connsiteY10" fmla="*/ 31698 h 36183"/>
                    <a:gd name="connsiteX11" fmla="*/ 3349 w 38336"/>
                    <a:gd name="connsiteY11" fmla="*/ 31698 h 36183"/>
                    <a:gd name="connsiteX12" fmla="*/ 3648 w 38336"/>
                    <a:gd name="connsiteY12" fmla="*/ 32774 h 36183"/>
                    <a:gd name="connsiteX13" fmla="*/ 5622 w 38336"/>
                    <a:gd name="connsiteY13" fmla="*/ 34808 h 36183"/>
                    <a:gd name="connsiteX14" fmla="*/ 6340 w 38336"/>
                    <a:gd name="connsiteY14" fmla="*/ 35526 h 36183"/>
                    <a:gd name="connsiteX15" fmla="*/ 7954 w 38336"/>
                    <a:gd name="connsiteY15" fmla="*/ 35824 h 36183"/>
                    <a:gd name="connsiteX16" fmla="*/ 10048 w 38336"/>
                    <a:gd name="connsiteY16" fmla="*/ 36183 h 36183"/>
                    <a:gd name="connsiteX17" fmla="*/ 10645 w 38336"/>
                    <a:gd name="connsiteY17" fmla="*/ 36004 h 36183"/>
                    <a:gd name="connsiteX18" fmla="*/ 12918 w 38336"/>
                    <a:gd name="connsiteY18" fmla="*/ 35227 h 36183"/>
                    <a:gd name="connsiteX19" fmla="*/ 14473 w 38336"/>
                    <a:gd name="connsiteY19" fmla="*/ 34688 h 36183"/>
                    <a:gd name="connsiteX20" fmla="*/ 14772 w 38336"/>
                    <a:gd name="connsiteY20" fmla="*/ 34509 h 36183"/>
                    <a:gd name="connsiteX21" fmla="*/ 15311 w 38336"/>
                    <a:gd name="connsiteY21" fmla="*/ 34090 h 36183"/>
                    <a:gd name="connsiteX22" fmla="*/ 15550 w 38336"/>
                    <a:gd name="connsiteY22" fmla="*/ 33911 h 36183"/>
                    <a:gd name="connsiteX23" fmla="*/ 18480 w 38336"/>
                    <a:gd name="connsiteY23" fmla="*/ 31817 h 36183"/>
                    <a:gd name="connsiteX24" fmla="*/ 19318 w 38336"/>
                    <a:gd name="connsiteY24" fmla="*/ 31220 h 36183"/>
                    <a:gd name="connsiteX25" fmla="*/ 21949 w 38336"/>
                    <a:gd name="connsiteY25" fmla="*/ 28468 h 36183"/>
                    <a:gd name="connsiteX26" fmla="*/ 23265 w 38336"/>
                    <a:gd name="connsiteY26" fmla="*/ 27093 h 36183"/>
                    <a:gd name="connsiteX27" fmla="*/ 24341 w 38336"/>
                    <a:gd name="connsiteY27" fmla="*/ 26016 h 36183"/>
                    <a:gd name="connsiteX28" fmla="*/ 24940 w 38336"/>
                    <a:gd name="connsiteY28" fmla="*/ 25239 h 36183"/>
                    <a:gd name="connsiteX29" fmla="*/ 25119 w 38336"/>
                    <a:gd name="connsiteY29" fmla="*/ 24940 h 36183"/>
                    <a:gd name="connsiteX30" fmla="*/ 25597 w 38336"/>
                    <a:gd name="connsiteY30" fmla="*/ 24282 h 36183"/>
                    <a:gd name="connsiteX31" fmla="*/ 27930 w 38336"/>
                    <a:gd name="connsiteY31" fmla="*/ 21112 h 36183"/>
                    <a:gd name="connsiteX32" fmla="*/ 29186 w 38336"/>
                    <a:gd name="connsiteY32" fmla="*/ 19437 h 36183"/>
                    <a:gd name="connsiteX33" fmla="*/ 29365 w 38336"/>
                    <a:gd name="connsiteY33" fmla="*/ 19138 h 36183"/>
                    <a:gd name="connsiteX34" fmla="*/ 31339 w 38336"/>
                    <a:gd name="connsiteY34" fmla="*/ 15729 h 36183"/>
                    <a:gd name="connsiteX35" fmla="*/ 33312 w 38336"/>
                    <a:gd name="connsiteY35" fmla="*/ 12320 h 36183"/>
                    <a:gd name="connsiteX36" fmla="*/ 33492 w 38336"/>
                    <a:gd name="connsiteY36" fmla="*/ 11961 h 36183"/>
                    <a:gd name="connsiteX37" fmla="*/ 35107 w 38336"/>
                    <a:gd name="connsiteY37" fmla="*/ 8373 h 36183"/>
                    <a:gd name="connsiteX38" fmla="*/ 36721 w 38336"/>
                    <a:gd name="connsiteY38" fmla="*/ 4785 h 36183"/>
                    <a:gd name="connsiteX39" fmla="*/ 37080 w 38336"/>
                    <a:gd name="connsiteY39" fmla="*/ 4007 h 36183"/>
                    <a:gd name="connsiteX40" fmla="*/ 38276 w 38336"/>
                    <a:gd name="connsiteY40" fmla="*/ 299 h 36183"/>
                    <a:gd name="connsiteX41" fmla="*/ 38336 w 38336"/>
                    <a:gd name="connsiteY41" fmla="*/ 0 h 3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8336" h="36183">
                      <a:moveTo>
                        <a:pt x="0" y="25598"/>
                      </a:moveTo>
                      <a:lnTo>
                        <a:pt x="0" y="26614"/>
                      </a:lnTo>
                      <a:lnTo>
                        <a:pt x="0" y="26734"/>
                      </a:lnTo>
                      <a:lnTo>
                        <a:pt x="0" y="26853"/>
                      </a:lnTo>
                      <a:lnTo>
                        <a:pt x="1615" y="27631"/>
                      </a:lnTo>
                      <a:lnTo>
                        <a:pt x="1674" y="27691"/>
                      </a:lnTo>
                      <a:lnTo>
                        <a:pt x="2213" y="27930"/>
                      </a:lnTo>
                      <a:lnTo>
                        <a:pt x="2213" y="27990"/>
                      </a:lnTo>
                      <a:lnTo>
                        <a:pt x="3170" y="31100"/>
                      </a:lnTo>
                      <a:lnTo>
                        <a:pt x="3229" y="31339"/>
                      </a:lnTo>
                      <a:lnTo>
                        <a:pt x="3349" y="31698"/>
                      </a:lnTo>
                      <a:lnTo>
                        <a:pt x="3349" y="31698"/>
                      </a:lnTo>
                      <a:lnTo>
                        <a:pt x="3648" y="32774"/>
                      </a:lnTo>
                      <a:lnTo>
                        <a:pt x="5622" y="34808"/>
                      </a:lnTo>
                      <a:lnTo>
                        <a:pt x="6340" y="35526"/>
                      </a:lnTo>
                      <a:lnTo>
                        <a:pt x="7954" y="35824"/>
                      </a:lnTo>
                      <a:lnTo>
                        <a:pt x="10048" y="36183"/>
                      </a:lnTo>
                      <a:lnTo>
                        <a:pt x="10645" y="36004"/>
                      </a:lnTo>
                      <a:lnTo>
                        <a:pt x="12918" y="35227"/>
                      </a:lnTo>
                      <a:lnTo>
                        <a:pt x="14473" y="34688"/>
                      </a:lnTo>
                      <a:lnTo>
                        <a:pt x="14772" y="34509"/>
                      </a:lnTo>
                      <a:lnTo>
                        <a:pt x="15311" y="34090"/>
                      </a:lnTo>
                      <a:lnTo>
                        <a:pt x="15550" y="33911"/>
                      </a:lnTo>
                      <a:lnTo>
                        <a:pt x="18480" y="31817"/>
                      </a:lnTo>
                      <a:lnTo>
                        <a:pt x="19318" y="31220"/>
                      </a:lnTo>
                      <a:lnTo>
                        <a:pt x="21949" y="28468"/>
                      </a:lnTo>
                      <a:lnTo>
                        <a:pt x="23265" y="27093"/>
                      </a:lnTo>
                      <a:lnTo>
                        <a:pt x="24341" y="26016"/>
                      </a:lnTo>
                      <a:lnTo>
                        <a:pt x="24940" y="25239"/>
                      </a:lnTo>
                      <a:lnTo>
                        <a:pt x="25119" y="24940"/>
                      </a:lnTo>
                      <a:lnTo>
                        <a:pt x="25597" y="24282"/>
                      </a:lnTo>
                      <a:lnTo>
                        <a:pt x="27930" y="21112"/>
                      </a:lnTo>
                      <a:lnTo>
                        <a:pt x="29186" y="19437"/>
                      </a:lnTo>
                      <a:lnTo>
                        <a:pt x="29365" y="19138"/>
                      </a:lnTo>
                      <a:lnTo>
                        <a:pt x="31339" y="15729"/>
                      </a:lnTo>
                      <a:lnTo>
                        <a:pt x="33312" y="12320"/>
                      </a:lnTo>
                      <a:lnTo>
                        <a:pt x="33492" y="11961"/>
                      </a:lnTo>
                      <a:lnTo>
                        <a:pt x="35107" y="8373"/>
                      </a:lnTo>
                      <a:lnTo>
                        <a:pt x="36721" y="4785"/>
                      </a:lnTo>
                      <a:lnTo>
                        <a:pt x="37080" y="4007"/>
                      </a:lnTo>
                      <a:lnTo>
                        <a:pt x="38276" y="299"/>
                      </a:lnTo>
                      <a:lnTo>
                        <a:pt x="38336" y="0"/>
                      </a:lnTo>
                    </a:path>
                  </a:pathLst>
                </a:custGeom>
                <a:noFill/>
                <a:ln w="6350" cap="flat">
                  <a:solidFill>
                    <a:schemeClr val="bg1">
                      <a:alpha val="80000"/>
                    </a:schemeClr>
                  </a:solidFill>
                  <a:prstDash val="solid"/>
                  <a:miter/>
                </a:ln>
              </p:spPr>
              <p:txBody>
                <a:bodyPr rtlCol="0" anchor="ctr"/>
                <a:lstStyle/>
                <a:p>
                  <a:endParaRPr lang="en-GB"/>
                </a:p>
              </p:txBody>
            </p:sp>
            <p:sp>
              <p:nvSpPr>
                <p:cNvPr id="7635" name="Vrije vorm: vorm 7634">
                  <a:extLst>
                    <a:ext uri="{FF2B5EF4-FFF2-40B4-BE49-F238E27FC236}">
                      <a16:creationId xmlns:a16="http://schemas.microsoft.com/office/drawing/2014/main" id="{EA5AA57D-DC7F-436D-896B-8BB446438149}"/>
                    </a:ext>
                  </a:extLst>
                </p:cNvPr>
                <p:cNvSpPr/>
                <p:nvPr/>
              </p:nvSpPr>
              <p:spPr>
                <a:xfrm>
                  <a:off x="5764778" y="5208830"/>
                  <a:ext cx="8791" cy="7715"/>
                </a:xfrm>
                <a:custGeom>
                  <a:avLst/>
                  <a:gdLst>
                    <a:gd name="connsiteX0" fmla="*/ 0 w 8791"/>
                    <a:gd name="connsiteY0" fmla="*/ 6579 h 7715"/>
                    <a:gd name="connsiteX1" fmla="*/ 2273 w 8791"/>
                    <a:gd name="connsiteY1" fmla="*/ 7715 h 7715"/>
                    <a:gd name="connsiteX2" fmla="*/ 4785 w 8791"/>
                    <a:gd name="connsiteY2" fmla="*/ 4785 h 7715"/>
                    <a:gd name="connsiteX3" fmla="*/ 5502 w 8791"/>
                    <a:gd name="connsiteY3" fmla="*/ 3888 h 7715"/>
                    <a:gd name="connsiteX4" fmla="*/ 6997 w 8791"/>
                    <a:gd name="connsiteY4" fmla="*/ 2153 h 7715"/>
                    <a:gd name="connsiteX5" fmla="*/ 8134 w 8791"/>
                    <a:gd name="connsiteY5" fmla="*/ 778 h 7715"/>
                    <a:gd name="connsiteX6" fmla="*/ 8791 w 8791"/>
                    <a:gd name="connsiteY6" fmla="*/ 0 h 7715"/>
                    <a:gd name="connsiteX7" fmla="*/ 8791 w 8791"/>
                    <a:gd name="connsiteY7" fmla="*/ 0 h 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7715">
                      <a:moveTo>
                        <a:pt x="0" y="6579"/>
                      </a:moveTo>
                      <a:lnTo>
                        <a:pt x="2273" y="7715"/>
                      </a:lnTo>
                      <a:lnTo>
                        <a:pt x="4785" y="4785"/>
                      </a:lnTo>
                      <a:lnTo>
                        <a:pt x="5502" y="3888"/>
                      </a:lnTo>
                      <a:lnTo>
                        <a:pt x="6997" y="2153"/>
                      </a:lnTo>
                      <a:lnTo>
                        <a:pt x="8134" y="778"/>
                      </a:lnTo>
                      <a:lnTo>
                        <a:pt x="8791" y="0"/>
                      </a:lnTo>
                      <a:lnTo>
                        <a:pt x="8791" y="0"/>
                      </a:lnTo>
                    </a:path>
                  </a:pathLst>
                </a:custGeom>
                <a:noFill/>
                <a:ln w="6350" cap="flat">
                  <a:solidFill>
                    <a:schemeClr val="bg1">
                      <a:alpha val="80000"/>
                    </a:schemeClr>
                  </a:solidFill>
                  <a:prstDash val="solid"/>
                  <a:miter/>
                </a:ln>
              </p:spPr>
              <p:txBody>
                <a:bodyPr rtlCol="0" anchor="ctr"/>
                <a:lstStyle/>
                <a:p>
                  <a:endParaRPr lang="en-GB"/>
                </a:p>
              </p:txBody>
            </p:sp>
            <p:sp>
              <p:nvSpPr>
                <p:cNvPr id="7636" name="Vrije vorm: vorm 7635">
                  <a:extLst>
                    <a:ext uri="{FF2B5EF4-FFF2-40B4-BE49-F238E27FC236}">
                      <a16:creationId xmlns:a16="http://schemas.microsoft.com/office/drawing/2014/main" id="{090E699F-9BBB-452E-8D37-BFF6BC26A389}"/>
                    </a:ext>
                  </a:extLst>
                </p:cNvPr>
                <p:cNvSpPr/>
                <p:nvPr/>
              </p:nvSpPr>
              <p:spPr>
                <a:xfrm>
                  <a:off x="5788401" y="5153329"/>
                  <a:ext cx="18958" cy="9389"/>
                </a:xfrm>
                <a:custGeom>
                  <a:avLst/>
                  <a:gdLst>
                    <a:gd name="connsiteX0" fmla="*/ 18959 w 18958"/>
                    <a:gd name="connsiteY0" fmla="*/ 598 h 9389"/>
                    <a:gd name="connsiteX1" fmla="*/ 17225 w 18958"/>
                    <a:gd name="connsiteY1" fmla="*/ 0 h 9389"/>
                    <a:gd name="connsiteX2" fmla="*/ 15131 w 18958"/>
                    <a:gd name="connsiteY2" fmla="*/ 479 h 9389"/>
                    <a:gd name="connsiteX3" fmla="*/ 13038 w 18958"/>
                    <a:gd name="connsiteY3" fmla="*/ 957 h 9389"/>
                    <a:gd name="connsiteX4" fmla="*/ 12799 w 18958"/>
                    <a:gd name="connsiteY4" fmla="*/ 1017 h 9389"/>
                    <a:gd name="connsiteX5" fmla="*/ 12260 w 18958"/>
                    <a:gd name="connsiteY5" fmla="*/ 1316 h 9389"/>
                    <a:gd name="connsiteX6" fmla="*/ 11363 w 18958"/>
                    <a:gd name="connsiteY6" fmla="*/ 1854 h 9389"/>
                    <a:gd name="connsiteX7" fmla="*/ 8373 w 18958"/>
                    <a:gd name="connsiteY7" fmla="*/ 3768 h 9389"/>
                    <a:gd name="connsiteX8" fmla="*/ 8313 w 18958"/>
                    <a:gd name="connsiteY8" fmla="*/ 3828 h 9389"/>
                    <a:gd name="connsiteX9" fmla="*/ 8194 w 18958"/>
                    <a:gd name="connsiteY9" fmla="*/ 3887 h 9389"/>
                    <a:gd name="connsiteX10" fmla="*/ 7715 w 18958"/>
                    <a:gd name="connsiteY10" fmla="*/ 4187 h 9389"/>
                    <a:gd name="connsiteX11" fmla="*/ 5861 w 18958"/>
                    <a:gd name="connsiteY11" fmla="*/ 6041 h 9389"/>
                    <a:gd name="connsiteX12" fmla="*/ 5801 w 18958"/>
                    <a:gd name="connsiteY12" fmla="*/ 6100 h 9389"/>
                    <a:gd name="connsiteX13" fmla="*/ 4964 w 18958"/>
                    <a:gd name="connsiteY13" fmla="*/ 6937 h 9389"/>
                    <a:gd name="connsiteX14" fmla="*/ 4007 w 18958"/>
                    <a:gd name="connsiteY14" fmla="*/ 7895 h 9389"/>
                    <a:gd name="connsiteX15" fmla="*/ 3409 w 18958"/>
                    <a:gd name="connsiteY15" fmla="*/ 8493 h 9389"/>
                    <a:gd name="connsiteX16" fmla="*/ 2512 w 18958"/>
                    <a:gd name="connsiteY16" fmla="*/ 9390 h 9389"/>
                    <a:gd name="connsiteX17" fmla="*/ 1615 w 18958"/>
                    <a:gd name="connsiteY17" fmla="*/ 9031 h 9389"/>
                    <a:gd name="connsiteX18" fmla="*/ 1555 w 18958"/>
                    <a:gd name="connsiteY18" fmla="*/ 8971 h 9389"/>
                    <a:gd name="connsiteX19" fmla="*/ 179 w 18958"/>
                    <a:gd name="connsiteY19" fmla="*/ 8433 h 9389"/>
                    <a:gd name="connsiteX20" fmla="*/ 0 w 18958"/>
                    <a:gd name="connsiteY20" fmla="*/ 8672 h 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958" h="9389">
                      <a:moveTo>
                        <a:pt x="18959" y="598"/>
                      </a:moveTo>
                      <a:lnTo>
                        <a:pt x="17225" y="0"/>
                      </a:lnTo>
                      <a:lnTo>
                        <a:pt x="15131" y="479"/>
                      </a:lnTo>
                      <a:lnTo>
                        <a:pt x="13038" y="957"/>
                      </a:lnTo>
                      <a:lnTo>
                        <a:pt x="12799" y="1017"/>
                      </a:lnTo>
                      <a:lnTo>
                        <a:pt x="12260" y="1316"/>
                      </a:lnTo>
                      <a:lnTo>
                        <a:pt x="11363" y="1854"/>
                      </a:lnTo>
                      <a:lnTo>
                        <a:pt x="8373" y="3768"/>
                      </a:lnTo>
                      <a:lnTo>
                        <a:pt x="8313" y="3828"/>
                      </a:lnTo>
                      <a:lnTo>
                        <a:pt x="8194" y="3887"/>
                      </a:lnTo>
                      <a:lnTo>
                        <a:pt x="7715" y="4187"/>
                      </a:lnTo>
                      <a:lnTo>
                        <a:pt x="5861" y="6041"/>
                      </a:lnTo>
                      <a:lnTo>
                        <a:pt x="5801" y="6100"/>
                      </a:lnTo>
                      <a:lnTo>
                        <a:pt x="4964" y="6937"/>
                      </a:lnTo>
                      <a:lnTo>
                        <a:pt x="4007" y="7895"/>
                      </a:lnTo>
                      <a:lnTo>
                        <a:pt x="3409" y="8493"/>
                      </a:lnTo>
                      <a:lnTo>
                        <a:pt x="2512" y="9390"/>
                      </a:lnTo>
                      <a:lnTo>
                        <a:pt x="1615" y="9031"/>
                      </a:lnTo>
                      <a:lnTo>
                        <a:pt x="1555" y="8971"/>
                      </a:lnTo>
                      <a:lnTo>
                        <a:pt x="179" y="8433"/>
                      </a:lnTo>
                      <a:lnTo>
                        <a:pt x="0" y="8672"/>
                      </a:lnTo>
                    </a:path>
                  </a:pathLst>
                </a:custGeom>
                <a:noFill/>
                <a:ln w="6350" cap="flat">
                  <a:solidFill>
                    <a:schemeClr val="bg1">
                      <a:alpha val="80000"/>
                    </a:schemeClr>
                  </a:solidFill>
                  <a:prstDash val="solid"/>
                  <a:miter/>
                </a:ln>
              </p:spPr>
              <p:txBody>
                <a:bodyPr rtlCol="0" anchor="ctr"/>
                <a:lstStyle/>
                <a:p>
                  <a:endParaRPr lang="en-GB"/>
                </a:p>
              </p:txBody>
            </p:sp>
            <p:sp>
              <p:nvSpPr>
                <p:cNvPr id="7637" name="Vrije vorm: vorm 7636">
                  <a:extLst>
                    <a:ext uri="{FF2B5EF4-FFF2-40B4-BE49-F238E27FC236}">
                      <a16:creationId xmlns:a16="http://schemas.microsoft.com/office/drawing/2014/main" id="{D133FE01-7409-467E-B0D3-0B79827D375F}"/>
                    </a:ext>
                  </a:extLst>
                </p:cNvPr>
                <p:cNvSpPr/>
                <p:nvPr/>
              </p:nvSpPr>
              <p:spPr>
                <a:xfrm>
                  <a:off x="5819202" y="5317679"/>
                  <a:ext cx="8672" cy="9928"/>
                </a:xfrm>
                <a:custGeom>
                  <a:avLst/>
                  <a:gdLst>
                    <a:gd name="connsiteX0" fmla="*/ 8672 w 8672"/>
                    <a:gd name="connsiteY0" fmla="*/ 9569 h 9928"/>
                    <a:gd name="connsiteX1" fmla="*/ 5682 w 8672"/>
                    <a:gd name="connsiteY1" fmla="*/ 9868 h 9928"/>
                    <a:gd name="connsiteX2" fmla="*/ 5323 w 8672"/>
                    <a:gd name="connsiteY2" fmla="*/ 9928 h 9928"/>
                    <a:gd name="connsiteX3" fmla="*/ 2512 w 8672"/>
                    <a:gd name="connsiteY3" fmla="*/ 9510 h 9928"/>
                    <a:gd name="connsiteX4" fmla="*/ 0 w 8672"/>
                    <a:gd name="connsiteY4" fmla="*/ 9151 h 9928"/>
                    <a:gd name="connsiteX5" fmla="*/ 239 w 8672"/>
                    <a:gd name="connsiteY5" fmla="*/ 5502 h 9928"/>
                    <a:gd name="connsiteX6" fmla="*/ 299 w 8672"/>
                    <a:gd name="connsiteY6" fmla="*/ 4486 h 9928"/>
                    <a:gd name="connsiteX7" fmla="*/ 479 w 8672"/>
                    <a:gd name="connsiteY7" fmla="*/ 1914 h 9928"/>
                    <a:gd name="connsiteX8" fmla="*/ 299 w 8672"/>
                    <a:gd name="connsiteY8" fmla="*/ 0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2" h="9928">
                      <a:moveTo>
                        <a:pt x="8672" y="9569"/>
                      </a:moveTo>
                      <a:lnTo>
                        <a:pt x="5682" y="9868"/>
                      </a:lnTo>
                      <a:lnTo>
                        <a:pt x="5323" y="9928"/>
                      </a:lnTo>
                      <a:lnTo>
                        <a:pt x="2512" y="9510"/>
                      </a:lnTo>
                      <a:lnTo>
                        <a:pt x="0" y="9151"/>
                      </a:lnTo>
                      <a:lnTo>
                        <a:pt x="239" y="5502"/>
                      </a:lnTo>
                      <a:lnTo>
                        <a:pt x="299" y="4486"/>
                      </a:lnTo>
                      <a:lnTo>
                        <a:pt x="479" y="1914"/>
                      </a:lnTo>
                      <a:lnTo>
                        <a:pt x="299" y="0"/>
                      </a:lnTo>
                    </a:path>
                  </a:pathLst>
                </a:custGeom>
                <a:noFill/>
                <a:ln w="6350" cap="flat">
                  <a:solidFill>
                    <a:schemeClr val="bg1">
                      <a:alpha val="80000"/>
                    </a:schemeClr>
                  </a:solidFill>
                  <a:prstDash val="solid"/>
                  <a:miter/>
                </a:ln>
              </p:spPr>
              <p:txBody>
                <a:bodyPr rtlCol="0" anchor="ctr"/>
                <a:lstStyle/>
                <a:p>
                  <a:endParaRPr lang="en-GB"/>
                </a:p>
              </p:txBody>
            </p:sp>
            <p:sp>
              <p:nvSpPr>
                <p:cNvPr id="7638" name="Vrije vorm: vorm 7637">
                  <a:extLst>
                    <a:ext uri="{FF2B5EF4-FFF2-40B4-BE49-F238E27FC236}">
                      <a16:creationId xmlns:a16="http://schemas.microsoft.com/office/drawing/2014/main" id="{E912B448-DADE-489F-8A2A-B55FFA5DEA21}"/>
                    </a:ext>
                  </a:extLst>
                </p:cNvPr>
                <p:cNvSpPr/>
                <p:nvPr/>
              </p:nvSpPr>
              <p:spPr>
                <a:xfrm>
                  <a:off x="5735472" y="5247824"/>
                  <a:ext cx="33910" cy="91504"/>
                </a:xfrm>
                <a:custGeom>
                  <a:avLst/>
                  <a:gdLst>
                    <a:gd name="connsiteX0" fmla="*/ 33911 w 33910"/>
                    <a:gd name="connsiteY0" fmla="*/ 91505 h 91504"/>
                    <a:gd name="connsiteX1" fmla="*/ 32176 w 33910"/>
                    <a:gd name="connsiteY1" fmla="*/ 90369 h 91504"/>
                    <a:gd name="connsiteX2" fmla="*/ 32057 w 33910"/>
                    <a:gd name="connsiteY2" fmla="*/ 90249 h 91504"/>
                    <a:gd name="connsiteX3" fmla="*/ 31997 w 33910"/>
                    <a:gd name="connsiteY3" fmla="*/ 90189 h 91504"/>
                    <a:gd name="connsiteX4" fmla="*/ 31817 w 33910"/>
                    <a:gd name="connsiteY4" fmla="*/ 90070 h 91504"/>
                    <a:gd name="connsiteX5" fmla="*/ 29485 w 33910"/>
                    <a:gd name="connsiteY5" fmla="*/ 88515 h 91504"/>
                    <a:gd name="connsiteX6" fmla="*/ 29186 w 33910"/>
                    <a:gd name="connsiteY6" fmla="*/ 88335 h 91504"/>
                    <a:gd name="connsiteX7" fmla="*/ 29007 w 33910"/>
                    <a:gd name="connsiteY7" fmla="*/ 88216 h 91504"/>
                    <a:gd name="connsiteX8" fmla="*/ 28827 w 33910"/>
                    <a:gd name="connsiteY8" fmla="*/ 88096 h 91504"/>
                    <a:gd name="connsiteX9" fmla="*/ 28708 w 33910"/>
                    <a:gd name="connsiteY9" fmla="*/ 87917 h 91504"/>
                    <a:gd name="connsiteX10" fmla="*/ 28588 w 33910"/>
                    <a:gd name="connsiteY10" fmla="*/ 87737 h 91504"/>
                    <a:gd name="connsiteX11" fmla="*/ 28468 w 33910"/>
                    <a:gd name="connsiteY11" fmla="*/ 87558 h 91504"/>
                    <a:gd name="connsiteX12" fmla="*/ 28349 w 33910"/>
                    <a:gd name="connsiteY12" fmla="*/ 87318 h 91504"/>
                    <a:gd name="connsiteX13" fmla="*/ 28229 w 33910"/>
                    <a:gd name="connsiteY13" fmla="*/ 87079 h 91504"/>
                    <a:gd name="connsiteX14" fmla="*/ 28169 w 33910"/>
                    <a:gd name="connsiteY14" fmla="*/ 86840 h 91504"/>
                    <a:gd name="connsiteX15" fmla="*/ 28109 w 33910"/>
                    <a:gd name="connsiteY15" fmla="*/ 86541 h 91504"/>
                    <a:gd name="connsiteX16" fmla="*/ 28050 w 33910"/>
                    <a:gd name="connsiteY16" fmla="*/ 86242 h 91504"/>
                    <a:gd name="connsiteX17" fmla="*/ 27452 w 33910"/>
                    <a:gd name="connsiteY17" fmla="*/ 82953 h 91504"/>
                    <a:gd name="connsiteX18" fmla="*/ 26854 w 33910"/>
                    <a:gd name="connsiteY18" fmla="*/ 79663 h 91504"/>
                    <a:gd name="connsiteX19" fmla="*/ 26315 w 33910"/>
                    <a:gd name="connsiteY19" fmla="*/ 76793 h 91504"/>
                    <a:gd name="connsiteX20" fmla="*/ 26315 w 33910"/>
                    <a:gd name="connsiteY20" fmla="*/ 76793 h 91504"/>
                    <a:gd name="connsiteX21" fmla="*/ 26255 w 33910"/>
                    <a:gd name="connsiteY21" fmla="*/ 76613 h 91504"/>
                    <a:gd name="connsiteX22" fmla="*/ 26136 w 33910"/>
                    <a:gd name="connsiteY22" fmla="*/ 76134 h 91504"/>
                    <a:gd name="connsiteX23" fmla="*/ 26136 w 33910"/>
                    <a:gd name="connsiteY23" fmla="*/ 75955 h 91504"/>
                    <a:gd name="connsiteX24" fmla="*/ 26136 w 33910"/>
                    <a:gd name="connsiteY24" fmla="*/ 75955 h 91504"/>
                    <a:gd name="connsiteX25" fmla="*/ 25837 w 33910"/>
                    <a:gd name="connsiteY25" fmla="*/ 74460 h 91504"/>
                    <a:gd name="connsiteX26" fmla="*/ 25538 w 33910"/>
                    <a:gd name="connsiteY26" fmla="*/ 72845 h 91504"/>
                    <a:gd name="connsiteX27" fmla="*/ 25299 w 33910"/>
                    <a:gd name="connsiteY27" fmla="*/ 71470 h 91504"/>
                    <a:gd name="connsiteX28" fmla="*/ 25059 w 33910"/>
                    <a:gd name="connsiteY28" fmla="*/ 70214 h 91504"/>
                    <a:gd name="connsiteX29" fmla="*/ 24880 w 33910"/>
                    <a:gd name="connsiteY29" fmla="*/ 69257 h 91504"/>
                    <a:gd name="connsiteX30" fmla="*/ 24581 w 33910"/>
                    <a:gd name="connsiteY30" fmla="*/ 67582 h 91504"/>
                    <a:gd name="connsiteX31" fmla="*/ 24461 w 33910"/>
                    <a:gd name="connsiteY31" fmla="*/ 66984 h 91504"/>
                    <a:gd name="connsiteX32" fmla="*/ 24342 w 33910"/>
                    <a:gd name="connsiteY32" fmla="*/ 66207 h 91504"/>
                    <a:gd name="connsiteX33" fmla="*/ 23744 w 33910"/>
                    <a:gd name="connsiteY33" fmla="*/ 62917 h 91504"/>
                    <a:gd name="connsiteX34" fmla="*/ 23145 w 33910"/>
                    <a:gd name="connsiteY34" fmla="*/ 59628 h 91504"/>
                    <a:gd name="connsiteX35" fmla="*/ 22547 w 33910"/>
                    <a:gd name="connsiteY35" fmla="*/ 56338 h 91504"/>
                    <a:gd name="connsiteX36" fmla="*/ 21950 w 33910"/>
                    <a:gd name="connsiteY36" fmla="*/ 53169 h 91504"/>
                    <a:gd name="connsiteX37" fmla="*/ 21471 w 33910"/>
                    <a:gd name="connsiteY37" fmla="*/ 50477 h 91504"/>
                    <a:gd name="connsiteX38" fmla="*/ 20992 w 33910"/>
                    <a:gd name="connsiteY38" fmla="*/ 47906 h 91504"/>
                    <a:gd name="connsiteX39" fmla="*/ 20753 w 33910"/>
                    <a:gd name="connsiteY39" fmla="*/ 47367 h 91504"/>
                    <a:gd name="connsiteX40" fmla="*/ 20335 w 33910"/>
                    <a:gd name="connsiteY40" fmla="*/ 46470 h 91504"/>
                    <a:gd name="connsiteX41" fmla="*/ 19976 w 33910"/>
                    <a:gd name="connsiteY41" fmla="*/ 45573 h 91504"/>
                    <a:gd name="connsiteX42" fmla="*/ 19976 w 33910"/>
                    <a:gd name="connsiteY42" fmla="*/ 45573 h 91504"/>
                    <a:gd name="connsiteX43" fmla="*/ 18720 w 33910"/>
                    <a:gd name="connsiteY43" fmla="*/ 42702 h 91504"/>
                    <a:gd name="connsiteX44" fmla="*/ 18182 w 33910"/>
                    <a:gd name="connsiteY44" fmla="*/ 41506 h 91504"/>
                    <a:gd name="connsiteX45" fmla="*/ 16926 w 33910"/>
                    <a:gd name="connsiteY45" fmla="*/ 38636 h 91504"/>
                    <a:gd name="connsiteX46" fmla="*/ 15669 w 33910"/>
                    <a:gd name="connsiteY46" fmla="*/ 35765 h 91504"/>
                    <a:gd name="connsiteX47" fmla="*/ 14414 w 33910"/>
                    <a:gd name="connsiteY47" fmla="*/ 32894 h 91504"/>
                    <a:gd name="connsiteX48" fmla="*/ 13158 w 33910"/>
                    <a:gd name="connsiteY48" fmla="*/ 30023 h 91504"/>
                    <a:gd name="connsiteX49" fmla="*/ 11902 w 33910"/>
                    <a:gd name="connsiteY49" fmla="*/ 27152 h 91504"/>
                    <a:gd name="connsiteX50" fmla="*/ 10646 w 33910"/>
                    <a:gd name="connsiteY50" fmla="*/ 24282 h 91504"/>
                    <a:gd name="connsiteX51" fmla="*/ 9390 w 33910"/>
                    <a:gd name="connsiteY51" fmla="*/ 21411 h 91504"/>
                    <a:gd name="connsiteX52" fmla="*/ 8134 w 33910"/>
                    <a:gd name="connsiteY52" fmla="*/ 18540 h 91504"/>
                    <a:gd name="connsiteX53" fmla="*/ 6878 w 33910"/>
                    <a:gd name="connsiteY53" fmla="*/ 15669 h 91504"/>
                    <a:gd name="connsiteX54" fmla="*/ 5622 w 33910"/>
                    <a:gd name="connsiteY54" fmla="*/ 12799 h 91504"/>
                    <a:gd name="connsiteX55" fmla="*/ 4366 w 33910"/>
                    <a:gd name="connsiteY55" fmla="*/ 9928 h 91504"/>
                    <a:gd name="connsiteX56" fmla="*/ 3110 w 33910"/>
                    <a:gd name="connsiteY56" fmla="*/ 7057 h 91504"/>
                    <a:gd name="connsiteX57" fmla="*/ 1854 w 33910"/>
                    <a:gd name="connsiteY57" fmla="*/ 4187 h 91504"/>
                    <a:gd name="connsiteX58" fmla="*/ 598 w 33910"/>
                    <a:gd name="connsiteY58" fmla="*/ 1316 h 91504"/>
                    <a:gd name="connsiteX59" fmla="*/ 0 w 33910"/>
                    <a:gd name="connsiteY59" fmla="*/ 0 h 9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3910" h="91504">
                      <a:moveTo>
                        <a:pt x="33911" y="91505"/>
                      </a:moveTo>
                      <a:lnTo>
                        <a:pt x="32176" y="90369"/>
                      </a:lnTo>
                      <a:lnTo>
                        <a:pt x="32057" y="90249"/>
                      </a:lnTo>
                      <a:lnTo>
                        <a:pt x="31997" y="90189"/>
                      </a:lnTo>
                      <a:lnTo>
                        <a:pt x="31817" y="90070"/>
                      </a:lnTo>
                      <a:lnTo>
                        <a:pt x="29485" y="88515"/>
                      </a:lnTo>
                      <a:lnTo>
                        <a:pt x="29186" y="88335"/>
                      </a:lnTo>
                      <a:lnTo>
                        <a:pt x="29007" y="88216"/>
                      </a:lnTo>
                      <a:lnTo>
                        <a:pt x="28827" y="88096"/>
                      </a:lnTo>
                      <a:lnTo>
                        <a:pt x="28708" y="87917"/>
                      </a:lnTo>
                      <a:lnTo>
                        <a:pt x="28588" y="87737"/>
                      </a:lnTo>
                      <a:lnTo>
                        <a:pt x="28468" y="87558"/>
                      </a:lnTo>
                      <a:lnTo>
                        <a:pt x="28349" y="87318"/>
                      </a:lnTo>
                      <a:lnTo>
                        <a:pt x="28229" y="87079"/>
                      </a:lnTo>
                      <a:lnTo>
                        <a:pt x="28169" y="86840"/>
                      </a:lnTo>
                      <a:lnTo>
                        <a:pt x="28109" y="86541"/>
                      </a:lnTo>
                      <a:lnTo>
                        <a:pt x="28050" y="86242"/>
                      </a:lnTo>
                      <a:lnTo>
                        <a:pt x="27452" y="82953"/>
                      </a:lnTo>
                      <a:lnTo>
                        <a:pt x="26854" y="79663"/>
                      </a:lnTo>
                      <a:lnTo>
                        <a:pt x="26315" y="76793"/>
                      </a:lnTo>
                      <a:lnTo>
                        <a:pt x="26315" y="76793"/>
                      </a:lnTo>
                      <a:lnTo>
                        <a:pt x="26255" y="76613"/>
                      </a:lnTo>
                      <a:lnTo>
                        <a:pt x="26136" y="76134"/>
                      </a:lnTo>
                      <a:lnTo>
                        <a:pt x="26136" y="75955"/>
                      </a:lnTo>
                      <a:lnTo>
                        <a:pt x="26136" y="75955"/>
                      </a:lnTo>
                      <a:lnTo>
                        <a:pt x="25837" y="74460"/>
                      </a:lnTo>
                      <a:lnTo>
                        <a:pt x="25538" y="72845"/>
                      </a:lnTo>
                      <a:lnTo>
                        <a:pt x="25299" y="71470"/>
                      </a:lnTo>
                      <a:lnTo>
                        <a:pt x="25059" y="70214"/>
                      </a:lnTo>
                      <a:lnTo>
                        <a:pt x="24880" y="69257"/>
                      </a:lnTo>
                      <a:lnTo>
                        <a:pt x="24581" y="67582"/>
                      </a:lnTo>
                      <a:lnTo>
                        <a:pt x="24461" y="66984"/>
                      </a:lnTo>
                      <a:lnTo>
                        <a:pt x="24342" y="66207"/>
                      </a:lnTo>
                      <a:lnTo>
                        <a:pt x="23744" y="62917"/>
                      </a:lnTo>
                      <a:lnTo>
                        <a:pt x="23145" y="59628"/>
                      </a:lnTo>
                      <a:lnTo>
                        <a:pt x="22547" y="56338"/>
                      </a:lnTo>
                      <a:lnTo>
                        <a:pt x="21950" y="53169"/>
                      </a:lnTo>
                      <a:lnTo>
                        <a:pt x="21471" y="50477"/>
                      </a:lnTo>
                      <a:lnTo>
                        <a:pt x="20992" y="47906"/>
                      </a:lnTo>
                      <a:lnTo>
                        <a:pt x="20753" y="47367"/>
                      </a:lnTo>
                      <a:lnTo>
                        <a:pt x="20335" y="46470"/>
                      </a:lnTo>
                      <a:lnTo>
                        <a:pt x="19976" y="45573"/>
                      </a:lnTo>
                      <a:lnTo>
                        <a:pt x="19976" y="45573"/>
                      </a:lnTo>
                      <a:lnTo>
                        <a:pt x="18720" y="42702"/>
                      </a:lnTo>
                      <a:lnTo>
                        <a:pt x="18182" y="41506"/>
                      </a:lnTo>
                      <a:lnTo>
                        <a:pt x="16926" y="38636"/>
                      </a:lnTo>
                      <a:lnTo>
                        <a:pt x="15669" y="35765"/>
                      </a:lnTo>
                      <a:lnTo>
                        <a:pt x="14414" y="32894"/>
                      </a:lnTo>
                      <a:lnTo>
                        <a:pt x="13158" y="30023"/>
                      </a:lnTo>
                      <a:lnTo>
                        <a:pt x="11902" y="27152"/>
                      </a:lnTo>
                      <a:lnTo>
                        <a:pt x="10646" y="24282"/>
                      </a:lnTo>
                      <a:lnTo>
                        <a:pt x="9390" y="21411"/>
                      </a:lnTo>
                      <a:lnTo>
                        <a:pt x="8134" y="18540"/>
                      </a:lnTo>
                      <a:lnTo>
                        <a:pt x="6878" y="15669"/>
                      </a:lnTo>
                      <a:lnTo>
                        <a:pt x="5622" y="12799"/>
                      </a:lnTo>
                      <a:lnTo>
                        <a:pt x="4366" y="9928"/>
                      </a:lnTo>
                      <a:lnTo>
                        <a:pt x="3110" y="7057"/>
                      </a:lnTo>
                      <a:lnTo>
                        <a:pt x="1854" y="4187"/>
                      </a:lnTo>
                      <a:lnTo>
                        <a:pt x="598" y="1316"/>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639" name="Vrije vorm: vorm 7638">
                  <a:extLst>
                    <a:ext uri="{FF2B5EF4-FFF2-40B4-BE49-F238E27FC236}">
                      <a16:creationId xmlns:a16="http://schemas.microsoft.com/office/drawing/2014/main" id="{CC93DA55-22C9-42FB-9084-3B40D3B52AA0}"/>
                    </a:ext>
                  </a:extLst>
                </p:cNvPr>
                <p:cNvSpPr/>
                <p:nvPr/>
              </p:nvSpPr>
              <p:spPr>
                <a:xfrm>
                  <a:off x="5786069" y="5246628"/>
                  <a:ext cx="3947" cy="13337"/>
                </a:xfrm>
                <a:custGeom>
                  <a:avLst/>
                  <a:gdLst>
                    <a:gd name="connsiteX0" fmla="*/ 0 w 3947"/>
                    <a:gd name="connsiteY0" fmla="*/ 0 h 13337"/>
                    <a:gd name="connsiteX1" fmla="*/ 299 w 3947"/>
                    <a:gd name="connsiteY1" fmla="*/ 1076 h 13337"/>
                    <a:gd name="connsiteX2" fmla="*/ 658 w 3947"/>
                    <a:gd name="connsiteY2" fmla="*/ 2273 h 13337"/>
                    <a:gd name="connsiteX3" fmla="*/ 957 w 3947"/>
                    <a:gd name="connsiteY3" fmla="*/ 3289 h 13337"/>
                    <a:gd name="connsiteX4" fmla="*/ 1854 w 3947"/>
                    <a:gd name="connsiteY4" fmla="*/ 6340 h 13337"/>
                    <a:gd name="connsiteX5" fmla="*/ 1854 w 3947"/>
                    <a:gd name="connsiteY5" fmla="*/ 6399 h 13337"/>
                    <a:gd name="connsiteX6" fmla="*/ 2273 w 3947"/>
                    <a:gd name="connsiteY6" fmla="*/ 7775 h 13337"/>
                    <a:gd name="connsiteX7" fmla="*/ 3229 w 3947"/>
                    <a:gd name="connsiteY7" fmla="*/ 10885 h 13337"/>
                    <a:gd name="connsiteX8" fmla="*/ 3947 w 3947"/>
                    <a:gd name="connsiteY8" fmla="*/ 13337 h 1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7" h="13337">
                      <a:moveTo>
                        <a:pt x="0" y="0"/>
                      </a:moveTo>
                      <a:lnTo>
                        <a:pt x="299" y="1076"/>
                      </a:lnTo>
                      <a:lnTo>
                        <a:pt x="658" y="2273"/>
                      </a:lnTo>
                      <a:lnTo>
                        <a:pt x="957" y="3289"/>
                      </a:lnTo>
                      <a:lnTo>
                        <a:pt x="1854" y="6340"/>
                      </a:lnTo>
                      <a:lnTo>
                        <a:pt x="1854" y="6399"/>
                      </a:lnTo>
                      <a:lnTo>
                        <a:pt x="2273" y="7775"/>
                      </a:lnTo>
                      <a:lnTo>
                        <a:pt x="3229" y="10885"/>
                      </a:lnTo>
                      <a:lnTo>
                        <a:pt x="3947" y="13337"/>
                      </a:lnTo>
                    </a:path>
                  </a:pathLst>
                </a:custGeom>
                <a:noFill/>
                <a:ln w="6350" cap="flat">
                  <a:solidFill>
                    <a:schemeClr val="bg1">
                      <a:alpha val="80000"/>
                    </a:schemeClr>
                  </a:solidFill>
                  <a:prstDash val="solid"/>
                  <a:miter/>
                </a:ln>
              </p:spPr>
              <p:txBody>
                <a:bodyPr rtlCol="0" anchor="ctr"/>
                <a:lstStyle/>
                <a:p>
                  <a:endParaRPr lang="en-GB"/>
                </a:p>
              </p:txBody>
            </p:sp>
            <p:sp>
              <p:nvSpPr>
                <p:cNvPr id="7640" name="Vrije vorm: vorm 7639">
                  <a:extLst>
                    <a:ext uri="{FF2B5EF4-FFF2-40B4-BE49-F238E27FC236}">
                      <a16:creationId xmlns:a16="http://schemas.microsoft.com/office/drawing/2014/main" id="{BBC0661C-FE4F-462C-BCD6-3DB477BB7A0A}"/>
                    </a:ext>
                  </a:extLst>
                </p:cNvPr>
                <p:cNvSpPr/>
                <p:nvPr/>
              </p:nvSpPr>
              <p:spPr>
                <a:xfrm>
                  <a:off x="5797133" y="5231796"/>
                  <a:ext cx="4784" cy="13396"/>
                </a:xfrm>
                <a:custGeom>
                  <a:avLst/>
                  <a:gdLst>
                    <a:gd name="connsiteX0" fmla="*/ 0 w 4784"/>
                    <a:gd name="connsiteY0" fmla="*/ 2392 h 13396"/>
                    <a:gd name="connsiteX1" fmla="*/ 299 w 4784"/>
                    <a:gd name="connsiteY1" fmla="*/ 1615 h 13396"/>
                    <a:gd name="connsiteX2" fmla="*/ 1017 w 4784"/>
                    <a:gd name="connsiteY2" fmla="*/ 0 h 13396"/>
                    <a:gd name="connsiteX3" fmla="*/ 1675 w 4784"/>
                    <a:gd name="connsiteY3" fmla="*/ 2333 h 13396"/>
                    <a:gd name="connsiteX4" fmla="*/ 2572 w 4784"/>
                    <a:gd name="connsiteY4" fmla="*/ 5442 h 13396"/>
                    <a:gd name="connsiteX5" fmla="*/ 2632 w 4784"/>
                    <a:gd name="connsiteY5" fmla="*/ 5742 h 13396"/>
                    <a:gd name="connsiteX6" fmla="*/ 2632 w 4784"/>
                    <a:gd name="connsiteY6" fmla="*/ 5861 h 13396"/>
                    <a:gd name="connsiteX7" fmla="*/ 2691 w 4784"/>
                    <a:gd name="connsiteY7" fmla="*/ 6100 h 13396"/>
                    <a:gd name="connsiteX8" fmla="*/ 3589 w 4784"/>
                    <a:gd name="connsiteY8" fmla="*/ 9210 h 13396"/>
                    <a:gd name="connsiteX9" fmla="*/ 4486 w 4784"/>
                    <a:gd name="connsiteY9" fmla="*/ 12320 h 13396"/>
                    <a:gd name="connsiteX10" fmla="*/ 4785 w 4784"/>
                    <a:gd name="connsiteY10" fmla="*/ 13397 h 1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84" h="13396">
                      <a:moveTo>
                        <a:pt x="0" y="2392"/>
                      </a:moveTo>
                      <a:lnTo>
                        <a:pt x="299" y="1615"/>
                      </a:lnTo>
                      <a:lnTo>
                        <a:pt x="1017" y="0"/>
                      </a:lnTo>
                      <a:lnTo>
                        <a:pt x="1675" y="2333"/>
                      </a:lnTo>
                      <a:lnTo>
                        <a:pt x="2572" y="5442"/>
                      </a:lnTo>
                      <a:lnTo>
                        <a:pt x="2632" y="5742"/>
                      </a:lnTo>
                      <a:lnTo>
                        <a:pt x="2632" y="5861"/>
                      </a:lnTo>
                      <a:lnTo>
                        <a:pt x="2691" y="6100"/>
                      </a:lnTo>
                      <a:lnTo>
                        <a:pt x="3589" y="9210"/>
                      </a:lnTo>
                      <a:lnTo>
                        <a:pt x="4486" y="12320"/>
                      </a:lnTo>
                      <a:lnTo>
                        <a:pt x="4785" y="13397"/>
                      </a:lnTo>
                    </a:path>
                  </a:pathLst>
                </a:custGeom>
                <a:noFill/>
                <a:ln w="6350" cap="flat">
                  <a:solidFill>
                    <a:schemeClr val="bg1">
                      <a:alpha val="80000"/>
                    </a:schemeClr>
                  </a:solidFill>
                  <a:prstDash val="solid"/>
                  <a:miter/>
                </a:ln>
              </p:spPr>
              <p:txBody>
                <a:bodyPr rtlCol="0" anchor="ctr"/>
                <a:lstStyle/>
                <a:p>
                  <a:endParaRPr lang="en-GB"/>
                </a:p>
              </p:txBody>
            </p:sp>
            <p:sp>
              <p:nvSpPr>
                <p:cNvPr id="7641" name="Vrije vorm: vorm 7640">
                  <a:extLst>
                    <a:ext uri="{FF2B5EF4-FFF2-40B4-BE49-F238E27FC236}">
                      <a16:creationId xmlns:a16="http://schemas.microsoft.com/office/drawing/2014/main" id="{366CA70E-A324-426D-BB24-5B4308551475}"/>
                    </a:ext>
                  </a:extLst>
                </p:cNvPr>
                <p:cNvSpPr/>
                <p:nvPr/>
              </p:nvSpPr>
              <p:spPr>
                <a:xfrm>
                  <a:off x="5790076" y="5243996"/>
                  <a:ext cx="12021" cy="16028"/>
                </a:xfrm>
                <a:custGeom>
                  <a:avLst/>
                  <a:gdLst>
                    <a:gd name="connsiteX0" fmla="*/ 0 w 12021"/>
                    <a:gd name="connsiteY0" fmla="*/ 16028 h 16028"/>
                    <a:gd name="connsiteX1" fmla="*/ 2452 w 12021"/>
                    <a:gd name="connsiteY1" fmla="*/ 13038 h 16028"/>
                    <a:gd name="connsiteX2" fmla="*/ 4904 w 12021"/>
                    <a:gd name="connsiteY2" fmla="*/ 10048 h 16028"/>
                    <a:gd name="connsiteX3" fmla="*/ 7297 w 12021"/>
                    <a:gd name="connsiteY3" fmla="*/ 7057 h 16028"/>
                    <a:gd name="connsiteX4" fmla="*/ 9749 w 12021"/>
                    <a:gd name="connsiteY4" fmla="*/ 4067 h 16028"/>
                    <a:gd name="connsiteX5" fmla="*/ 10885 w 12021"/>
                    <a:gd name="connsiteY5" fmla="*/ 2691 h 16028"/>
                    <a:gd name="connsiteX6" fmla="*/ 12021 w 12021"/>
                    <a:gd name="connsiteY6" fmla="*/ 1316 h 16028"/>
                    <a:gd name="connsiteX7" fmla="*/ 9808 w 12021"/>
                    <a:gd name="connsiteY7" fmla="*/ 239 h 16028"/>
                    <a:gd name="connsiteX8" fmla="*/ 9330 w 12021"/>
                    <a:gd name="connsiteY8" fmla="*/ 0 h 1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1" h="16028">
                      <a:moveTo>
                        <a:pt x="0" y="16028"/>
                      </a:moveTo>
                      <a:lnTo>
                        <a:pt x="2452" y="13038"/>
                      </a:lnTo>
                      <a:lnTo>
                        <a:pt x="4904" y="10048"/>
                      </a:lnTo>
                      <a:lnTo>
                        <a:pt x="7297" y="7057"/>
                      </a:lnTo>
                      <a:lnTo>
                        <a:pt x="9749" y="4067"/>
                      </a:lnTo>
                      <a:lnTo>
                        <a:pt x="10885" y="2691"/>
                      </a:lnTo>
                      <a:lnTo>
                        <a:pt x="12021" y="1316"/>
                      </a:lnTo>
                      <a:lnTo>
                        <a:pt x="9808" y="239"/>
                      </a:lnTo>
                      <a:lnTo>
                        <a:pt x="9330" y="0"/>
                      </a:lnTo>
                    </a:path>
                  </a:pathLst>
                </a:custGeom>
                <a:noFill/>
                <a:ln w="6350" cap="flat">
                  <a:solidFill>
                    <a:schemeClr val="bg1">
                      <a:alpha val="80000"/>
                    </a:schemeClr>
                  </a:solidFill>
                  <a:prstDash val="solid"/>
                  <a:miter/>
                </a:ln>
              </p:spPr>
              <p:txBody>
                <a:bodyPr rtlCol="0" anchor="ctr"/>
                <a:lstStyle/>
                <a:p>
                  <a:endParaRPr lang="en-GB"/>
                </a:p>
              </p:txBody>
            </p:sp>
            <p:sp>
              <p:nvSpPr>
                <p:cNvPr id="7642" name="Vrije vorm: vorm 7641">
                  <a:extLst>
                    <a:ext uri="{FF2B5EF4-FFF2-40B4-BE49-F238E27FC236}">
                      <a16:creationId xmlns:a16="http://schemas.microsoft.com/office/drawing/2014/main" id="{0D1C9339-1B27-4AE5-A718-77913C9E7F40}"/>
                    </a:ext>
                  </a:extLst>
                </p:cNvPr>
                <p:cNvSpPr/>
                <p:nvPr/>
              </p:nvSpPr>
              <p:spPr>
                <a:xfrm>
                  <a:off x="5788401" y="5247226"/>
                  <a:ext cx="8432" cy="8133"/>
                </a:xfrm>
                <a:custGeom>
                  <a:avLst/>
                  <a:gdLst>
                    <a:gd name="connsiteX0" fmla="*/ 0 w 8432"/>
                    <a:gd name="connsiteY0" fmla="*/ 7177 h 8133"/>
                    <a:gd name="connsiteX1" fmla="*/ 1854 w 8432"/>
                    <a:gd name="connsiteY1" fmla="*/ 8134 h 8133"/>
                    <a:gd name="connsiteX2" fmla="*/ 4306 w 8432"/>
                    <a:gd name="connsiteY2" fmla="*/ 5143 h 8133"/>
                    <a:gd name="connsiteX3" fmla="*/ 6100 w 8432"/>
                    <a:gd name="connsiteY3" fmla="*/ 2930 h 8133"/>
                    <a:gd name="connsiteX4" fmla="*/ 8433 w 8432"/>
                    <a:gd name="connsiteY4" fmla="*/ 0 h 8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2" h="8133">
                      <a:moveTo>
                        <a:pt x="0" y="7177"/>
                      </a:moveTo>
                      <a:lnTo>
                        <a:pt x="1854" y="8134"/>
                      </a:lnTo>
                      <a:lnTo>
                        <a:pt x="4306" y="5143"/>
                      </a:lnTo>
                      <a:lnTo>
                        <a:pt x="6100" y="2930"/>
                      </a:lnTo>
                      <a:lnTo>
                        <a:pt x="8433" y="0"/>
                      </a:lnTo>
                    </a:path>
                  </a:pathLst>
                </a:custGeom>
                <a:noFill/>
                <a:ln w="6350" cap="flat">
                  <a:solidFill>
                    <a:schemeClr val="bg1">
                      <a:alpha val="80000"/>
                    </a:schemeClr>
                  </a:solidFill>
                  <a:prstDash val="solid"/>
                  <a:miter/>
                </a:ln>
              </p:spPr>
              <p:txBody>
                <a:bodyPr rtlCol="0" anchor="ctr"/>
                <a:lstStyle/>
                <a:p>
                  <a:endParaRPr lang="en-GB"/>
                </a:p>
              </p:txBody>
            </p:sp>
            <p:sp>
              <p:nvSpPr>
                <p:cNvPr id="7643" name="Vrije vorm: vorm 7642">
                  <a:extLst>
                    <a:ext uri="{FF2B5EF4-FFF2-40B4-BE49-F238E27FC236}">
                      <a16:creationId xmlns:a16="http://schemas.microsoft.com/office/drawing/2014/main" id="{12429DAA-43AA-4062-8589-B29DD32AF121}"/>
                    </a:ext>
                  </a:extLst>
                </p:cNvPr>
                <p:cNvSpPr/>
                <p:nvPr/>
              </p:nvSpPr>
              <p:spPr>
                <a:xfrm>
                  <a:off x="5797074" y="5233411"/>
                  <a:ext cx="1255" cy="5143"/>
                </a:xfrm>
                <a:custGeom>
                  <a:avLst/>
                  <a:gdLst>
                    <a:gd name="connsiteX0" fmla="*/ 0 w 1255"/>
                    <a:gd name="connsiteY0" fmla="*/ 0 h 5143"/>
                    <a:gd name="connsiteX1" fmla="*/ 119 w 1255"/>
                    <a:gd name="connsiteY1" fmla="*/ 718 h 5143"/>
                    <a:gd name="connsiteX2" fmla="*/ 359 w 1255"/>
                    <a:gd name="connsiteY2" fmla="*/ 2392 h 5143"/>
                    <a:gd name="connsiteX3" fmla="*/ 957 w 1255"/>
                    <a:gd name="connsiteY3" fmla="*/ 2691 h 5143"/>
                    <a:gd name="connsiteX4" fmla="*/ 1017 w 1255"/>
                    <a:gd name="connsiteY4" fmla="*/ 3170 h 5143"/>
                    <a:gd name="connsiteX5" fmla="*/ 1017 w 1255"/>
                    <a:gd name="connsiteY5" fmla="*/ 3229 h 5143"/>
                    <a:gd name="connsiteX6" fmla="*/ 1076 w 1255"/>
                    <a:gd name="connsiteY6" fmla="*/ 3469 h 5143"/>
                    <a:gd name="connsiteX7" fmla="*/ 1136 w 1255"/>
                    <a:gd name="connsiteY7" fmla="*/ 4127 h 5143"/>
                    <a:gd name="connsiteX8" fmla="*/ 1256 w 1255"/>
                    <a:gd name="connsiteY8" fmla="*/ 5143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 h="5143">
                      <a:moveTo>
                        <a:pt x="0" y="0"/>
                      </a:moveTo>
                      <a:lnTo>
                        <a:pt x="119" y="718"/>
                      </a:lnTo>
                      <a:lnTo>
                        <a:pt x="359" y="2392"/>
                      </a:lnTo>
                      <a:lnTo>
                        <a:pt x="957" y="2691"/>
                      </a:lnTo>
                      <a:lnTo>
                        <a:pt x="1017" y="3170"/>
                      </a:lnTo>
                      <a:lnTo>
                        <a:pt x="1017" y="3229"/>
                      </a:lnTo>
                      <a:lnTo>
                        <a:pt x="1076" y="3469"/>
                      </a:lnTo>
                      <a:lnTo>
                        <a:pt x="1136" y="4127"/>
                      </a:lnTo>
                      <a:lnTo>
                        <a:pt x="1256" y="5143"/>
                      </a:lnTo>
                    </a:path>
                  </a:pathLst>
                </a:custGeom>
                <a:noFill/>
                <a:ln w="6350" cap="flat">
                  <a:solidFill>
                    <a:schemeClr val="bg1">
                      <a:alpha val="80000"/>
                    </a:schemeClr>
                  </a:solidFill>
                  <a:prstDash val="solid"/>
                  <a:miter/>
                </a:ln>
              </p:spPr>
              <p:txBody>
                <a:bodyPr rtlCol="0" anchor="ctr"/>
                <a:lstStyle/>
                <a:p>
                  <a:endParaRPr lang="en-GB"/>
                </a:p>
              </p:txBody>
            </p:sp>
            <p:sp>
              <p:nvSpPr>
                <p:cNvPr id="7644" name="Vrije vorm: vorm 7643">
                  <a:extLst>
                    <a:ext uri="{FF2B5EF4-FFF2-40B4-BE49-F238E27FC236}">
                      <a16:creationId xmlns:a16="http://schemas.microsoft.com/office/drawing/2014/main" id="{32BC701D-773F-44B4-A040-B960A8A0542B}"/>
                    </a:ext>
                  </a:extLst>
                </p:cNvPr>
                <p:cNvSpPr/>
                <p:nvPr/>
              </p:nvSpPr>
              <p:spPr>
                <a:xfrm>
                  <a:off x="5806523" y="5237836"/>
                  <a:ext cx="5801" cy="50895"/>
                </a:xfrm>
                <a:custGeom>
                  <a:avLst/>
                  <a:gdLst>
                    <a:gd name="connsiteX0" fmla="*/ 538 w 5801"/>
                    <a:gd name="connsiteY0" fmla="*/ 50896 h 50895"/>
                    <a:gd name="connsiteX1" fmla="*/ 2930 w 5801"/>
                    <a:gd name="connsiteY1" fmla="*/ 47846 h 50895"/>
                    <a:gd name="connsiteX2" fmla="*/ 3289 w 5801"/>
                    <a:gd name="connsiteY2" fmla="*/ 47367 h 50895"/>
                    <a:gd name="connsiteX3" fmla="*/ 3649 w 5801"/>
                    <a:gd name="connsiteY3" fmla="*/ 46889 h 50895"/>
                    <a:gd name="connsiteX4" fmla="*/ 4007 w 5801"/>
                    <a:gd name="connsiteY4" fmla="*/ 46351 h 50895"/>
                    <a:gd name="connsiteX5" fmla="*/ 4306 w 5801"/>
                    <a:gd name="connsiteY5" fmla="*/ 45812 h 50895"/>
                    <a:gd name="connsiteX6" fmla="*/ 4605 w 5801"/>
                    <a:gd name="connsiteY6" fmla="*/ 45214 h 50895"/>
                    <a:gd name="connsiteX7" fmla="*/ 4904 w 5801"/>
                    <a:gd name="connsiteY7" fmla="*/ 44616 h 50895"/>
                    <a:gd name="connsiteX8" fmla="*/ 5144 w 5801"/>
                    <a:gd name="connsiteY8" fmla="*/ 44018 h 50895"/>
                    <a:gd name="connsiteX9" fmla="*/ 5383 w 5801"/>
                    <a:gd name="connsiteY9" fmla="*/ 43420 h 50895"/>
                    <a:gd name="connsiteX10" fmla="*/ 5562 w 5801"/>
                    <a:gd name="connsiteY10" fmla="*/ 42882 h 50895"/>
                    <a:gd name="connsiteX11" fmla="*/ 5682 w 5801"/>
                    <a:gd name="connsiteY11" fmla="*/ 42343 h 50895"/>
                    <a:gd name="connsiteX12" fmla="*/ 5742 w 5801"/>
                    <a:gd name="connsiteY12" fmla="*/ 41865 h 50895"/>
                    <a:gd name="connsiteX13" fmla="*/ 5801 w 5801"/>
                    <a:gd name="connsiteY13" fmla="*/ 41446 h 50895"/>
                    <a:gd name="connsiteX14" fmla="*/ 5801 w 5801"/>
                    <a:gd name="connsiteY14" fmla="*/ 41028 h 50895"/>
                    <a:gd name="connsiteX15" fmla="*/ 5503 w 5801"/>
                    <a:gd name="connsiteY15" fmla="*/ 37559 h 50895"/>
                    <a:gd name="connsiteX16" fmla="*/ 5203 w 5801"/>
                    <a:gd name="connsiteY16" fmla="*/ 34090 h 50895"/>
                    <a:gd name="connsiteX17" fmla="*/ 4904 w 5801"/>
                    <a:gd name="connsiteY17" fmla="*/ 30800 h 50895"/>
                    <a:gd name="connsiteX18" fmla="*/ 4605 w 5801"/>
                    <a:gd name="connsiteY18" fmla="*/ 27332 h 50895"/>
                    <a:gd name="connsiteX19" fmla="*/ 4306 w 5801"/>
                    <a:gd name="connsiteY19" fmla="*/ 23863 h 50895"/>
                    <a:gd name="connsiteX20" fmla="*/ 4007 w 5801"/>
                    <a:gd name="connsiteY20" fmla="*/ 20394 h 50895"/>
                    <a:gd name="connsiteX21" fmla="*/ 3708 w 5801"/>
                    <a:gd name="connsiteY21" fmla="*/ 16925 h 50895"/>
                    <a:gd name="connsiteX22" fmla="*/ 3409 w 5801"/>
                    <a:gd name="connsiteY22" fmla="*/ 13457 h 50895"/>
                    <a:gd name="connsiteX23" fmla="*/ 3110 w 5801"/>
                    <a:gd name="connsiteY23" fmla="*/ 9988 h 50895"/>
                    <a:gd name="connsiteX24" fmla="*/ 2811 w 5801"/>
                    <a:gd name="connsiteY24" fmla="*/ 6519 h 50895"/>
                    <a:gd name="connsiteX25" fmla="*/ 2691 w 5801"/>
                    <a:gd name="connsiteY25" fmla="*/ 5143 h 50895"/>
                    <a:gd name="connsiteX26" fmla="*/ 2572 w 5801"/>
                    <a:gd name="connsiteY26" fmla="*/ 4187 h 50895"/>
                    <a:gd name="connsiteX27" fmla="*/ 2512 w 5801"/>
                    <a:gd name="connsiteY27" fmla="*/ 3289 h 50895"/>
                    <a:gd name="connsiteX28" fmla="*/ 1675 w 5801"/>
                    <a:gd name="connsiteY28" fmla="*/ 119 h 50895"/>
                    <a:gd name="connsiteX29" fmla="*/ 1675 w 5801"/>
                    <a:gd name="connsiteY29" fmla="*/ 60 h 50895"/>
                    <a:gd name="connsiteX30" fmla="*/ 1675 w 5801"/>
                    <a:gd name="connsiteY30" fmla="*/ 0 h 50895"/>
                    <a:gd name="connsiteX31" fmla="*/ 1675 w 5801"/>
                    <a:gd name="connsiteY31" fmla="*/ 60 h 50895"/>
                    <a:gd name="connsiteX32" fmla="*/ 1974 w 5801"/>
                    <a:gd name="connsiteY32" fmla="*/ 3528 h 50895"/>
                    <a:gd name="connsiteX33" fmla="*/ 2093 w 5801"/>
                    <a:gd name="connsiteY33" fmla="*/ 4725 h 50895"/>
                    <a:gd name="connsiteX34" fmla="*/ 2392 w 5801"/>
                    <a:gd name="connsiteY34" fmla="*/ 8194 h 50895"/>
                    <a:gd name="connsiteX35" fmla="*/ 2691 w 5801"/>
                    <a:gd name="connsiteY35" fmla="*/ 11662 h 50895"/>
                    <a:gd name="connsiteX36" fmla="*/ 2990 w 5801"/>
                    <a:gd name="connsiteY36" fmla="*/ 15131 h 50895"/>
                    <a:gd name="connsiteX37" fmla="*/ 3289 w 5801"/>
                    <a:gd name="connsiteY37" fmla="*/ 18600 h 50895"/>
                    <a:gd name="connsiteX38" fmla="*/ 3589 w 5801"/>
                    <a:gd name="connsiteY38" fmla="*/ 22069 h 50895"/>
                    <a:gd name="connsiteX39" fmla="*/ 3888 w 5801"/>
                    <a:gd name="connsiteY39" fmla="*/ 25537 h 50895"/>
                    <a:gd name="connsiteX40" fmla="*/ 4187 w 5801"/>
                    <a:gd name="connsiteY40" fmla="*/ 29006 h 50895"/>
                    <a:gd name="connsiteX41" fmla="*/ 4306 w 5801"/>
                    <a:gd name="connsiteY41" fmla="*/ 29963 h 50895"/>
                    <a:gd name="connsiteX42" fmla="*/ 4605 w 5801"/>
                    <a:gd name="connsiteY42" fmla="*/ 33432 h 50895"/>
                    <a:gd name="connsiteX43" fmla="*/ 4904 w 5801"/>
                    <a:gd name="connsiteY43" fmla="*/ 36901 h 50895"/>
                    <a:gd name="connsiteX44" fmla="*/ 5203 w 5801"/>
                    <a:gd name="connsiteY44" fmla="*/ 40370 h 50895"/>
                    <a:gd name="connsiteX45" fmla="*/ 5263 w 5801"/>
                    <a:gd name="connsiteY45" fmla="*/ 40729 h 50895"/>
                    <a:gd name="connsiteX46" fmla="*/ 5263 w 5801"/>
                    <a:gd name="connsiteY46" fmla="*/ 41147 h 50895"/>
                    <a:gd name="connsiteX47" fmla="*/ 5203 w 5801"/>
                    <a:gd name="connsiteY47" fmla="*/ 41566 h 50895"/>
                    <a:gd name="connsiteX48" fmla="*/ 5144 w 5801"/>
                    <a:gd name="connsiteY48" fmla="*/ 42044 h 50895"/>
                    <a:gd name="connsiteX49" fmla="*/ 5024 w 5801"/>
                    <a:gd name="connsiteY49" fmla="*/ 42583 h 50895"/>
                    <a:gd name="connsiteX50" fmla="*/ 4844 w 5801"/>
                    <a:gd name="connsiteY50" fmla="*/ 43121 h 50895"/>
                    <a:gd name="connsiteX51" fmla="*/ 4605 w 5801"/>
                    <a:gd name="connsiteY51" fmla="*/ 43719 h 50895"/>
                    <a:gd name="connsiteX52" fmla="*/ 4366 w 5801"/>
                    <a:gd name="connsiteY52" fmla="*/ 44317 h 50895"/>
                    <a:gd name="connsiteX53" fmla="*/ 4067 w 5801"/>
                    <a:gd name="connsiteY53" fmla="*/ 44915 h 50895"/>
                    <a:gd name="connsiteX54" fmla="*/ 3768 w 5801"/>
                    <a:gd name="connsiteY54" fmla="*/ 45513 h 50895"/>
                    <a:gd name="connsiteX55" fmla="*/ 3469 w 5801"/>
                    <a:gd name="connsiteY55" fmla="*/ 46052 h 50895"/>
                    <a:gd name="connsiteX56" fmla="*/ 3110 w 5801"/>
                    <a:gd name="connsiteY56" fmla="*/ 46590 h 50895"/>
                    <a:gd name="connsiteX57" fmla="*/ 2751 w 5801"/>
                    <a:gd name="connsiteY57" fmla="*/ 47068 h 50895"/>
                    <a:gd name="connsiteX58" fmla="*/ 359 w 5801"/>
                    <a:gd name="connsiteY58" fmla="*/ 50118 h 50895"/>
                    <a:gd name="connsiteX59" fmla="*/ 0 w 5801"/>
                    <a:gd name="connsiteY59" fmla="*/ 50597 h 50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801" h="50895">
                      <a:moveTo>
                        <a:pt x="538" y="50896"/>
                      </a:moveTo>
                      <a:lnTo>
                        <a:pt x="2930" y="47846"/>
                      </a:lnTo>
                      <a:lnTo>
                        <a:pt x="3289" y="47367"/>
                      </a:lnTo>
                      <a:lnTo>
                        <a:pt x="3649" y="46889"/>
                      </a:lnTo>
                      <a:lnTo>
                        <a:pt x="4007" y="46351"/>
                      </a:lnTo>
                      <a:lnTo>
                        <a:pt x="4306" y="45812"/>
                      </a:lnTo>
                      <a:lnTo>
                        <a:pt x="4605" y="45214"/>
                      </a:lnTo>
                      <a:lnTo>
                        <a:pt x="4904" y="44616"/>
                      </a:lnTo>
                      <a:lnTo>
                        <a:pt x="5144" y="44018"/>
                      </a:lnTo>
                      <a:lnTo>
                        <a:pt x="5383" y="43420"/>
                      </a:lnTo>
                      <a:lnTo>
                        <a:pt x="5562" y="42882"/>
                      </a:lnTo>
                      <a:lnTo>
                        <a:pt x="5682" y="42343"/>
                      </a:lnTo>
                      <a:lnTo>
                        <a:pt x="5742" y="41865"/>
                      </a:lnTo>
                      <a:lnTo>
                        <a:pt x="5801" y="41446"/>
                      </a:lnTo>
                      <a:lnTo>
                        <a:pt x="5801" y="41028"/>
                      </a:lnTo>
                      <a:lnTo>
                        <a:pt x="5503" y="37559"/>
                      </a:lnTo>
                      <a:lnTo>
                        <a:pt x="5203" y="34090"/>
                      </a:lnTo>
                      <a:lnTo>
                        <a:pt x="4904" y="30800"/>
                      </a:lnTo>
                      <a:lnTo>
                        <a:pt x="4605" y="27332"/>
                      </a:lnTo>
                      <a:lnTo>
                        <a:pt x="4306" y="23863"/>
                      </a:lnTo>
                      <a:lnTo>
                        <a:pt x="4007" y="20394"/>
                      </a:lnTo>
                      <a:lnTo>
                        <a:pt x="3708" y="16925"/>
                      </a:lnTo>
                      <a:lnTo>
                        <a:pt x="3409" y="13457"/>
                      </a:lnTo>
                      <a:lnTo>
                        <a:pt x="3110" y="9988"/>
                      </a:lnTo>
                      <a:lnTo>
                        <a:pt x="2811" y="6519"/>
                      </a:lnTo>
                      <a:lnTo>
                        <a:pt x="2691" y="5143"/>
                      </a:lnTo>
                      <a:lnTo>
                        <a:pt x="2572" y="4187"/>
                      </a:lnTo>
                      <a:lnTo>
                        <a:pt x="2512" y="3289"/>
                      </a:lnTo>
                      <a:lnTo>
                        <a:pt x="1675" y="119"/>
                      </a:lnTo>
                      <a:lnTo>
                        <a:pt x="1675" y="60"/>
                      </a:lnTo>
                      <a:lnTo>
                        <a:pt x="1675" y="0"/>
                      </a:lnTo>
                      <a:lnTo>
                        <a:pt x="1675" y="60"/>
                      </a:lnTo>
                      <a:lnTo>
                        <a:pt x="1974" y="3528"/>
                      </a:lnTo>
                      <a:lnTo>
                        <a:pt x="2093" y="4725"/>
                      </a:lnTo>
                      <a:lnTo>
                        <a:pt x="2392" y="8194"/>
                      </a:lnTo>
                      <a:lnTo>
                        <a:pt x="2691" y="11662"/>
                      </a:lnTo>
                      <a:lnTo>
                        <a:pt x="2990" y="15131"/>
                      </a:lnTo>
                      <a:lnTo>
                        <a:pt x="3289" y="18600"/>
                      </a:lnTo>
                      <a:lnTo>
                        <a:pt x="3589" y="22069"/>
                      </a:lnTo>
                      <a:lnTo>
                        <a:pt x="3888" y="25537"/>
                      </a:lnTo>
                      <a:lnTo>
                        <a:pt x="4187" y="29006"/>
                      </a:lnTo>
                      <a:lnTo>
                        <a:pt x="4306" y="29963"/>
                      </a:lnTo>
                      <a:lnTo>
                        <a:pt x="4605" y="33432"/>
                      </a:lnTo>
                      <a:lnTo>
                        <a:pt x="4904" y="36901"/>
                      </a:lnTo>
                      <a:lnTo>
                        <a:pt x="5203" y="40370"/>
                      </a:lnTo>
                      <a:lnTo>
                        <a:pt x="5263" y="40729"/>
                      </a:lnTo>
                      <a:lnTo>
                        <a:pt x="5263" y="41147"/>
                      </a:lnTo>
                      <a:lnTo>
                        <a:pt x="5203" y="41566"/>
                      </a:lnTo>
                      <a:lnTo>
                        <a:pt x="5144" y="42044"/>
                      </a:lnTo>
                      <a:lnTo>
                        <a:pt x="5024" y="42583"/>
                      </a:lnTo>
                      <a:lnTo>
                        <a:pt x="4844" y="43121"/>
                      </a:lnTo>
                      <a:lnTo>
                        <a:pt x="4605" y="43719"/>
                      </a:lnTo>
                      <a:lnTo>
                        <a:pt x="4366" y="44317"/>
                      </a:lnTo>
                      <a:lnTo>
                        <a:pt x="4067" y="44915"/>
                      </a:lnTo>
                      <a:lnTo>
                        <a:pt x="3768" y="45513"/>
                      </a:lnTo>
                      <a:lnTo>
                        <a:pt x="3469" y="46052"/>
                      </a:lnTo>
                      <a:lnTo>
                        <a:pt x="3110" y="46590"/>
                      </a:lnTo>
                      <a:lnTo>
                        <a:pt x="2751" y="47068"/>
                      </a:lnTo>
                      <a:lnTo>
                        <a:pt x="359" y="50118"/>
                      </a:lnTo>
                      <a:lnTo>
                        <a:pt x="0" y="50597"/>
                      </a:lnTo>
                    </a:path>
                  </a:pathLst>
                </a:custGeom>
                <a:noFill/>
                <a:ln w="6350" cap="flat">
                  <a:solidFill>
                    <a:schemeClr val="bg1">
                      <a:alpha val="80000"/>
                    </a:schemeClr>
                  </a:solidFill>
                  <a:prstDash val="solid"/>
                  <a:miter/>
                </a:ln>
              </p:spPr>
              <p:txBody>
                <a:bodyPr rtlCol="0" anchor="ctr"/>
                <a:lstStyle/>
                <a:p>
                  <a:endParaRPr lang="en-GB"/>
                </a:p>
              </p:txBody>
            </p:sp>
            <p:sp>
              <p:nvSpPr>
                <p:cNvPr id="7645" name="Vrije vorm: vorm 7644">
                  <a:extLst>
                    <a:ext uri="{FF2B5EF4-FFF2-40B4-BE49-F238E27FC236}">
                      <a16:creationId xmlns:a16="http://schemas.microsoft.com/office/drawing/2014/main" id="{05A26138-F51B-40D3-BA9D-D27D3D21DF06}"/>
                    </a:ext>
                  </a:extLst>
                </p:cNvPr>
                <p:cNvSpPr/>
                <p:nvPr/>
              </p:nvSpPr>
              <p:spPr>
                <a:xfrm>
                  <a:off x="5784035" y="5267500"/>
                  <a:ext cx="1495" cy="6698"/>
                </a:xfrm>
                <a:custGeom>
                  <a:avLst/>
                  <a:gdLst>
                    <a:gd name="connsiteX0" fmla="*/ 0 w 1495"/>
                    <a:gd name="connsiteY0" fmla="*/ 0 h 6698"/>
                    <a:gd name="connsiteX1" fmla="*/ 957 w 1495"/>
                    <a:gd name="connsiteY1" fmla="*/ 3110 h 6698"/>
                    <a:gd name="connsiteX2" fmla="*/ 1017 w 1495"/>
                    <a:gd name="connsiteY2" fmla="*/ 3290 h 6698"/>
                    <a:gd name="connsiteX3" fmla="*/ 1495 w 1495"/>
                    <a:gd name="connsiteY3" fmla="*/ 6698 h 6698"/>
                  </a:gdLst>
                  <a:ahLst/>
                  <a:cxnLst>
                    <a:cxn ang="0">
                      <a:pos x="connsiteX0" y="connsiteY0"/>
                    </a:cxn>
                    <a:cxn ang="0">
                      <a:pos x="connsiteX1" y="connsiteY1"/>
                    </a:cxn>
                    <a:cxn ang="0">
                      <a:pos x="connsiteX2" y="connsiteY2"/>
                    </a:cxn>
                    <a:cxn ang="0">
                      <a:pos x="connsiteX3" y="connsiteY3"/>
                    </a:cxn>
                  </a:cxnLst>
                  <a:rect l="l" t="t" r="r" b="b"/>
                  <a:pathLst>
                    <a:path w="1495" h="6698">
                      <a:moveTo>
                        <a:pt x="0" y="0"/>
                      </a:moveTo>
                      <a:lnTo>
                        <a:pt x="957" y="3110"/>
                      </a:lnTo>
                      <a:lnTo>
                        <a:pt x="1017" y="3290"/>
                      </a:lnTo>
                      <a:lnTo>
                        <a:pt x="1495" y="6698"/>
                      </a:lnTo>
                    </a:path>
                  </a:pathLst>
                </a:custGeom>
                <a:noFill/>
                <a:ln w="6350" cap="flat">
                  <a:solidFill>
                    <a:schemeClr val="bg1">
                      <a:alpha val="80000"/>
                    </a:schemeClr>
                  </a:solidFill>
                  <a:prstDash val="solid"/>
                  <a:miter/>
                </a:ln>
              </p:spPr>
              <p:txBody>
                <a:bodyPr rtlCol="0" anchor="ctr"/>
                <a:lstStyle/>
                <a:p>
                  <a:endParaRPr lang="en-GB"/>
                </a:p>
              </p:txBody>
            </p:sp>
            <p:sp>
              <p:nvSpPr>
                <p:cNvPr id="7646" name="Vrije vorm: vorm 7645">
                  <a:extLst>
                    <a:ext uri="{FF2B5EF4-FFF2-40B4-BE49-F238E27FC236}">
                      <a16:creationId xmlns:a16="http://schemas.microsoft.com/office/drawing/2014/main" id="{A6F7C06D-1BAB-4E5E-BA84-414A9A000EF7}"/>
                    </a:ext>
                  </a:extLst>
                </p:cNvPr>
                <p:cNvSpPr/>
                <p:nvPr/>
              </p:nvSpPr>
              <p:spPr>
                <a:xfrm>
                  <a:off x="5764598" y="5206856"/>
                  <a:ext cx="3409" cy="8612"/>
                </a:xfrm>
                <a:custGeom>
                  <a:avLst/>
                  <a:gdLst>
                    <a:gd name="connsiteX0" fmla="*/ 0 w 3409"/>
                    <a:gd name="connsiteY0" fmla="*/ 0 h 8612"/>
                    <a:gd name="connsiteX1" fmla="*/ 0 w 3409"/>
                    <a:gd name="connsiteY1" fmla="*/ 239 h 8612"/>
                    <a:gd name="connsiteX2" fmla="*/ 0 w 3409"/>
                    <a:gd name="connsiteY2" fmla="*/ 598 h 8612"/>
                    <a:gd name="connsiteX3" fmla="*/ 60 w 3409"/>
                    <a:gd name="connsiteY3" fmla="*/ 3110 h 8612"/>
                    <a:gd name="connsiteX4" fmla="*/ 120 w 3409"/>
                    <a:gd name="connsiteY4" fmla="*/ 6220 h 8612"/>
                    <a:gd name="connsiteX5" fmla="*/ 180 w 3409"/>
                    <a:gd name="connsiteY5" fmla="*/ 8612 h 8612"/>
                    <a:gd name="connsiteX6" fmla="*/ 2691 w 3409"/>
                    <a:gd name="connsiteY6" fmla="*/ 5681 h 8612"/>
                    <a:gd name="connsiteX7" fmla="*/ 3409 w 3409"/>
                    <a:gd name="connsiteY7" fmla="*/ 4844 h 8612"/>
                    <a:gd name="connsiteX8" fmla="*/ 3409 w 3409"/>
                    <a:gd name="connsiteY8" fmla="*/ 4844 h 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9" h="8612">
                      <a:moveTo>
                        <a:pt x="0" y="0"/>
                      </a:moveTo>
                      <a:lnTo>
                        <a:pt x="0" y="239"/>
                      </a:lnTo>
                      <a:lnTo>
                        <a:pt x="0" y="598"/>
                      </a:lnTo>
                      <a:lnTo>
                        <a:pt x="60" y="3110"/>
                      </a:lnTo>
                      <a:lnTo>
                        <a:pt x="120" y="6220"/>
                      </a:lnTo>
                      <a:lnTo>
                        <a:pt x="180" y="8612"/>
                      </a:lnTo>
                      <a:lnTo>
                        <a:pt x="2691" y="5681"/>
                      </a:lnTo>
                      <a:lnTo>
                        <a:pt x="3409" y="4844"/>
                      </a:lnTo>
                      <a:lnTo>
                        <a:pt x="3409" y="4844"/>
                      </a:lnTo>
                    </a:path>
                  </a:pathLst>
                </a:custGeom>
                <a:noFill/>
                <a:ln w="6350" cap="flat">
                  <a:solidFill>
                    <a:schemeClr val="bg1">
                      <a:alpha val="80000"/>
                    </a:schemeClr>
                  </a:solidFill>
                  <a:prstDash val="solid"/>
                  <a:miter/>
                </a:ln>
              </p:spPr>
              <p:txBody>
                <a:bodyPr rtlCol="0" anchor="ctr"/>
                <a:lstStyle/>
                <a:p>
                  <a:endParaRPr lang="en-GB"/>
                </a:p>
              </p:txBody>
            </p:sp>
            <p:sp>
              <p:nvSpPr>
                <p:cNvPr id="7647" name="Vrije vorm: vorm 7646">
                  <a:extLst>
                    <a:ext uri="{FF2B5EF4-FFF2-40B4-BE49-F238E27FC236}">
                      <a16:creationId xmlns:a16="http://schemas.microsoft.com/office/drawing/2014/main" id="{9AC2232F-6F75-43BC-8687-17A90EB32D7C}"/>
                    </a:ext>
                  </a:extLst>
                </p:cNvPr>
                <p:cNvSpPr/>
                <p:nvPr/>
              </p:nvSpPr>
              <p:spPr>
                <a:xfrm>
                  <a:off x="5795339" y="5288373"/>
                  <a:ext cx="11124" cy="23145"/>
                </a:xfrm>
                <a:custGeom>
                  <a:avLst/>
                  <a:gdLst>
                    <a:gd name="connsiteX0" fmla="*/ 11124 w 11124"/>
                    <a:gd name="connsiteY0" fmla="*/ 0 h 23145"/>
                    <a:gd name="connsiteX1" fmla="*/ 8732 w 11124"/>
                    <a:gd name="connsiteY1" fmla="*/ 3050 h 23145"/>
                    <a:gd name="connsiteX2" fmla="*/ 8612 w 11124"/>
                    <a:gd name="connsiteY2" fmla="*/ 3170 h 23145"/>
                    <a:gd name="connsiteX3" fmla="*/ 7835 w 11124"/>
                    <a:gd name="connsiteY3" fmla="*/ 4186 h 23145"/>
                    <a:gd name="connsiteX4" fmla="*/ 6459 w 11124"/>
                    <a:gd name="connsiteY4" fmla="*/ 5921 h 23145"/>
                    <a:gd name="connsiteX5" fmla="*/ 4067 w 11124"/>
                    <a:gd name="connsiteY5" fmla="*/ 8971 h 23145"/>
                    <a:gd name="connsiteX6" fmla="*/ 1675 w 11124"/>
                    <a:gd name="connsiteY6" fmla="*/ 12021 h 23145"/>
                    <a:gd name="connsiteX7" fmla="*/ 1136 w 11124"/>
                    <a:gd name="connsiteY7" fmla="*/ 12739 h 23145"/>
                    <a:gd name="connsiteX8" fmla="*/ 0 w 11124"/>
                    <a:gd name="connsiteY8" fmla="*/ 14174 h 23145"/>
                    <a:gd name="connsiteX9" fmla="*/ 598 w 11124"/>
                    <a:gd name="connsiteY9" fmla="*/ 14533 h 23145"/>
                    <a:gd name="connsiteX10" fmla="*/ 778 w 11124"/>
                    <a:gd name="connsiteY10" fmla="*/ 15789 h 23145"/>
                    <a:gd name="connsiteX11" fmla="*/ 837 w 11124"/>
                    <a:gd name="connsiteY11" fmla="*/ 16208 h 23145"/>
                    <a:gd name="connsiteX12" fmla="*/ 1256 w 11124"/>
                    <a:gd name="connsiteY12" fmla="*/ 19617 h 23145"/>
                    <a:gd name="connsiteX13" fmla="*/ 1435 w 11124"/>
                    <a:gd name="connsiteY13" fmla="*/ 21172 h 23145"/>
                    <a:gd name="connsiteX14" fmla="*/ 1675 w 11124"/>
                    <a:gd name="connsiteY14" fmla="*/ 23145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24" h="23145">
                      <a:moveTo>
                        <a:pt x="11124" y="0"/>
                      </a:moveTo>
                      <a:lnTo>
                        <a:pt x="8732" y="3050"/>
                      </a:lnTo>
                      <a:lnTo>
                        <a:pt x="8612" y="3170"/>
                      </a:lnTo>
                      <a:lnTo>
                        <a:pt x="7835" y="4186"/>
                      </a:lnTo>
                      <a:lnTo>
                        <a:pt x="6459" y="5921"/>
                      </a:lnTo>
                      <a:lnTo>
                        <a:pt x="4067" y="8971"/>
                      </a:lnTo>
                      <a:lnTo>
                        <a:pt x="1675" y="12021"/>
                      </a:lnTo>
                      <a:lnTo>
                        <a:pt x="1136" y="12739"/>
                      </a:lnTo>
                      <a:lnTo>
                        <a:pt x="0" y="14174"/>
                      </a:lnTo>
                      <a:lnTo>
                        <a:pt x="598" y="14533"/>
                      </a:lnTo>
                      <a:lnTo>
                        <a:pt x="778" y="15789"/>
                      </a:lnTo>
                      <a:lnTo>
                        <a:pt x="837" y="16208"/>
                      </a:lnTo>
                      <a:lnTo>
                        <a:pt x="1256" y="19617"/>
                      </a:lnTo>
                      <a:lnTo>
                        <a:pt x="1435" y="21172"/>
                      </a:lnTo>
                      <a:lnTo>
                        <a:pt x="1675" y="23145"/>
                      </a:lnTo>
                    </a:path>
                  </a:pathLst>
                </a:custGeom>
                <a:noFill/>
                <a:ln w="6350" cap="flat">
                  <a:solidFill>
                    <a:schemeClr val="bg1">
                      <a:alpha val="80000"/>
                    </a:schemeClr>
                  </a:solidFill>
                  <a:prstDash val="solid"/>
                  <a:miter/>
                </a:ln>
              </p:spPr>
              <p:txBody>
                <a:bodyPr rtlCol="0" anchor="ctr"/>
                <a:lstStyle/>
                <a:p>
                  <a:endParaRPr lang="en-GB"/>
                </a:p>
              </p:txBody>
            </p:sp>
            <p:sp>
              <p:nvSpPr>
                <p:cNvPr id="7648" name="Vrije vorm: vorm 7647">
                  <a:extLst>
                    <a:ext uri="{FF2B5EF4-FFF2-40B4-BE49-F238E27FC236}">
                      <a16:creationId xmlns:a16="http://schemas.microsoft.com/office/drawing/2014/main" id="{97AE0641-0DB1-4AA4-A32E-C045026D00C4}"/>
                    </a:ext>
                  </a:extLst>
                </p:cNvPr>
                <p:cNvSpPr/>
                <p:nvPr/>
              </p:nvSpPr>
              <p:spPr>
                <a:xfrm>
                  <a:off x="5728116" y="5211461"/>
                  <a:ext cx="20812" cy="11064"/>
                </a:xfrm>
                <a:custGeom>
                  <a:avLst/>
                  <a:gdLst>
                    <a:gd name="connsiteX0" fmla="*/ 0 w 20812"/>
                    <a:gd name="connsiteY0" fmla="*/ 0 h 11064"/>
                    <a:gd name="connsiteX1" fmla="*/ 2452 w 20812"/>
                    <a:gd name="connsiteY1" fmla="*/ 1316 h 11064"/>
                    <a:gd name="connsiteX2" fmla="*/ 4904 w 20812"/>
                    <a:gd name="connsiteY2" fmla="*/ 2632 h 11064"/>
                    <a:gd name="connsiteX3" fmla="*/ 7356 w 20812"/>
                    <a:gd name="connsiteY3" fmla="*/ 3947 h 11064"/>
                    <a:gd name="connsiteX4" fmla="*/ 9808 w 20812"/>
                    <a:gd name="connsiteY4" fmla="*/ 5263 h 11064"/>
                    <a:gd name="connsiteX5" fmla="*/ 12260 w 20812"/>
                    <a:gd name="connsiteY5" fmla="*/ 6579 h 11064"/>
                    <a:gd name="connsiteX6" fmla="*/ 14713 w 20812"/>
                    <a:gd name="connsiteY6" fmla="*/ 7895 h 11064"/>
                    <a:gd name="connsiteX7" fmla="*/ 15311 w 20812"/>
                    <a:gd name="connsiteY7" fmla="*/ 8194 h 11064"/>
                    <a:gd name="connsiteX8" fmla="*/ 17763 w 20812"/>
                    <a:gd name="connsiteY8" fmla="*/ 9510 h 11064"/>
                    <a:gd name="connsiteX9" fmla="*/ 17942 w 20812"/>
                    <a:gd name="connsiteY9" fmla="*/ 9569 h 11064"/>
                    <a:gd name="connsiteX10" fmla="*/ 19676 w 20812"/>
                    <a:gd name="connsiteY10" fmla="*/ 10466 h 11064"/>
                    <a:gd name="connsiteX11" fmla="*/ 20813 w 20812"/>
                    <a:gd name="connsiteY11" fmla="*/ 11065 h 1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12" h="11064">
                      <a:moveTo>
                        <a:pt x="0" y="0"/>
                      </a:moveTo>
                      <a:lnTo>
                        <a:pt x="2452" y="1316"/>
                      </a:lnTo>
                      <a:lnTo>
                        <a:pt x="4904" y="2632"/>
                      </a:lnTo>
                      <a:lnTo>
                        <a:pt x="7356" y="3947"/>
                      </a:lnTo>
                      <a:lnTo>
                        <a:pt x="9808" y="5263"/>
                      </a:lnTo>
                      <a:lnTo>
                        <a:pt x="12260" y="6579"/>
                      </a:lnTo>
                      <a:lnTo>
                        <a:pt x="14713" y="7895"/>
                      </a:lnTo>
                      <a:lnTo>
                        <a:pt x="15311" y="8194"/>
                      </a:lnTo>
                      <a:lnTo>
                        <a:pt x="17763" y="9510"/>
                      </a:lnTo>
                      <a:lnTo>
                        <a:pt x="17942" y="9569"/>
                      </a:lnTo>
                      <a:lnTo>
                        <a:pt x="19676" y="10466"/>
                      </a:lnTo>
                      <a:lnTo>
                        <a:pt x="20813" y="11065"/>
                      </a:lnTo>
                    </a:path>
                  </a:pathLst>
                </a:custGeom>
                <a:noFill/>
                <a:ln w="6350" cap="flat">
                  <a:solidFill>
                    <a:schemeClr val="bg1">
                      <a:alpha val="80000"/>
                    </a:schemeClr>
                  </a:solidFill>
                  <a:prstDash val="solid"/>
                  <a:miter/>
                </a:ln>
              </p:spPr>
              <p:txBody>
                <a:bodyPr rtlCol="0" anchor="ctr"/>
                <a:lstStyle/>
                <a:p>
                  <a:endParaRPr lang="en-GB"/>
                </a:p>
              </p:txBody>
            </p:sp>
            <p:sp>
              <p:nvSpPr>
                <p:cNvPr id="7649" name="Vrije vorm: vorm 7648">
                  <a:extLst>
                    <a:ext uri="{FF2B5EF4-FFF2-40B4-BE49-F238E27FC236}">
                      <a16:creationId xmlns:a16="http://schemas.microsoft.com/office/drawing/2014/main" id="{9AD39819-09F9-4A1D-B081-4D315F1B20D7}"/>
                    </a:ext>
                  </a:extLst>
                </p:cNvPr>
                <p:cNvSpPr/>
                <p:nvPr/>
              </p:nvSpPr>
              <p:spPr>
                <a:xfrm>
                  <a:off x="5728116" y="5211461"/>
                  <a:ext cx="7356" cy="36661"/>
                </a:xfrm>
                <a:custGeom>
                  <a:avLst/>
                  <a:gdLst>
                    <a:gd name="connsiteX0" fmla="*/ 7356 w 7356"/>
                    <a:gd name="connsiteY0" fmla="*/ 36662 h 36661"/>
                    <a:gd name="connsiteX1" fmla="*/ 6698 w 7356"/>
                    <a:gd name="connsiteY1" fmla="*/ 33373 h 36661"/>
                    <a:gd name="connsiteX2" fmla="*/ 6041 w 7356"/>
                    <a:gd name="connsiteY2" fmla="*/ 30083 h 36661"/>
                    <a:gd name="connsiteX3" fmla="*/ 5383 w 7356"/>
                    <a:gd name="connsiteY3" fmla="*/ 26794 h 36661"/>
                    <a:gd name="connsiteX4" fmla="*/ 4725 w 7356"/>
                    <a:gd name="connsiteY4" fmla="*/ 23504 h 36661"/>
                    <a:gd name="connsiteX5" fmla="*/ 4545 w 7356"/>
                    <a:gd name="connsiteY5" fmla="*/ 22607 h 36661"/>
                    <a:gd name="connsiteX6" fmla="*/ 4007 w 7356"/>
                    <a:gd name="connsiteY6" fmla="*/ 20036 h 36661"/>
                    <a:gd name="connsiteX7" fmla="*/ 3947 w 7356"/>
                    <a:gd name="connsiteY7" fmla="*/ 19677 h 36661"/>
                    <a:gd name="connsiteX8" fmla="*/ 3469 w 7356"/>
                    <a:gd name="connsiteY8" fmla="*/ 17464 h 36661"/>
                    <a:gd name="connsiteX9" fmla="*/ 2811 w 7356"/>
                    <a:gd name="connsiteY9" fmla="*/ 14174 h 36661"/>
                    <a:gd name="connsiteX10" fmla="*/ 2153 w 7356"/>
                    <a:gd name="connsiteY10" fmla="*/ 10885 h 36661"/>
                    <a:gd name="connsiteX11" fmla="*/ 1974 w 7356"/>
                    <a:gd name="connsiteY11" fmla="*/ 9868 h 36661"/>
                    <a:gd name="connsiteX12" fmla="*/ 1914 w 7356"/>
                    <a:gd name="connsiteY12" fmla="*/ 9510 h 36661"/>
                    <a:gd name="connsiteX13" fmla="*/ 1256 w 7356"/>
                    <a:gd name="connsiteY13" fmla="*/ 6220 h 36661"/>
                    <a:gd name="connsiteX14" fmla="*/ 1196 w 7356"/>
                    <a:gd name="connsiteY14" fmla="*/ 6041 h 36661"/>
                    <a:gd name="connsiteX15" fmla="*/ 538 w 7356"/>
                    <a:gd name="connsiteY15" fmla="*/ 2751 h 36661"/>
                    <a:gd name="connsiteX16" fmla="*/ 180 w 7356"/>
                    <a:gd name="connsiteY16" fmla="*/ 957 h 36661"/>
                    <a:gd name="connsiteX17" fmla="*/ 0 w 7356"/>
                    <a:gd name="connsiteY17" fmla="*/ 0 h 3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56" h="36661">
                      <a:moveTo>
                        <a:pt x="7356" y="36662"/>
                      </a:moveTo>
                      <a:lnTo>
                        <a:pt x="6698" y="33373"/>
                      </a:lnTo>
                      <a:lnTo>
                        <a:pt x="6041" y="30083"/>
                      </a:lnTo>
                      <a:lnTo>
                        <a:pt x="5383" y="26794"/>
                      </a:lnTo>
                      <a:lnTo>
                        <a:pt x="4725" y="23504"/>
                      </a:lnTo>
                      <a:lnTo>
                        <a:pt x="4545" y="22607"/>
                      </a:lnTo>
                      <a:lnTo>
                        <a:pt x="4007" y="20036"/>
                      </a:lnTo>
                      <a:lnTo>
                        <a:pt x="3947" y="19677"/>
                      </a:lnTo>
                      <a:lnTo>
                        <a:pt x="3469" y="17464"/>
                      </a:lnTo>
                      <a:lnTo>
                        <a:pt x="2811" y="14174"/>
                      </a:lnTo>
                      <a:lnTo>
                        <a:pt x="2153" y="10885"/>
                      </a:lnTo>
                      <a:lnTo>
                        <a:pt x="1974" y="9868"/>
                      </a:lnTo>
                      <a:lnTo>
                        <a:pt x="1914" y="9510"/>
                      </a:lnTo>
                      <a:lnTo>
                        <a:pt x="1256" y="6220"/>
                      </a:lnTo>
                      <a:lnTo>
                        <a:pt x="1196" y="6041"/>
                      </a:lnTo>
                      <a:lnTo>
                        <a:pt x="538" y="2751"/>
                      </a:lnTo>
                      <a:lnTo>
                        <a:pt x="180" y="957"/>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650" name="Vrije vorm: vorm 7649">
                  <a:extLst>
                    <a:ext uri="{FF2B5EF4-FFF2-40B4-BE49-F238E27FC236}">
                      <a16:creationId xmlns:a16="http://schemas.microsoft.com/office/drawing/2014/main" id="{0EAA96E9-B0FE-4A3F-A1E6-4926A6647A28}"/>
                    </a:ext>
                  </a:extLst>
                </p:cNvPr>
                <p:cNvSpPr/>
                <p:nvPr/>
              </p:nvSpPr>
              <p:spPr>
                <a:xfrm>
                  <a:off x="5769084" y="5337714"/>
                  <a:ext cx="6220" cy="35824"/>
                </a:xfrm>
                <a:custGeom>
                  <a:avLst/>
                  <a:gdLst>
                    <a:gd name="connsiteX0" fmla="*/ 6220 w 6220"/>
                    <a:gd name="connsiteY0" fmla="*/ 35824 h 35824"/>
                    <a:gd name="connsiteX1" fmla="*/ 5622 w 6220"/>
                    <a:gd name="connsiteY1" fmla="*/ 32475 h 35824"/>
                    <a:gd name="connsiteX2" fmla="*/ 5024 w 6220"/>
                    <a:gd name="connsiteY2" fmla="*/ 29126 h 35824"/>
                    <a:gd name="connsiteX3" fmla="*/ 4844 w 6220"/>
                    <a:gd name="connsiteY3" fmla="*/ 28229 h 35824"/>
                    <a:gd name="connsiteX4" fmla="*/ 4545 w 6220"/>
                    <a:gd name="connsiteY4" fmla="*/ 26435 h 35824"/>
                    <a:gd name="connsiteX5" fmla="*/ 4246 w 6220"/>
                    <a:gd name="connsiteY5" fmla="*/ 24581 h 35824"/>
                    <a:gd name="connsiteX6" fmla="*/ 4246 w 6220"/>
                    <a:gd name="connsiteY6" fmla="*/ 24581 h 35824"/>
                    <a:gd name="connsiteX7" fmla="*/ 3768 w 6220"/>
                    <a:gd name="connsiteY7" fmla="*/ 21829 h 35824"/>
                    <a:gd name="connsiteX8" fmla="*/ 3589 w 6220"/>
                    <a:gd name="connsiteY8" fmla="*/ 20933 h 35824"/>
                    <a:gd name="connsiteX9" fmla="*/ 3529 w 6220"/>
                    <a:gd name="connsiteY9" fmla="*/ 20454 h 35824"/>
                    <a:gd name="connsiteX10" fmla="*/ 2931 w 6220"/>
                    <a:gd name="connsiteY10" fmla="*/ 17105 h 35824"/>
                    <a:gd name="connsiteX11" fmla="*/ 2691 w 6220"/>
                    <a:gd name="connsiteY11" fmla="*/ 15789 h 35824"/>
                    <a:gd name="connsiteX12" fmla="*/ 2452 w 6220"/>
                    <a:gd name="connsiteY12" fmla="*/ 14354 h 35824"/>
                    <a:gd name="connsiteX13" fmla="*/ 1854 w 6220"/>
                    <a:gd name="connsiteY13" fmla="*/ 11004 h 35824"/>
                    <a:gd name="connsiteX14" fmla="*/ 1675 w 6220"/>
                    <a:gd name="connsiteY14" fmla="*/ 9928 h 35824"/>
                    <a:gd name="connsiteX15" fmla="*/ 1436 w 6220"/>
                    <a:gd name="connsiteY15" fmla="*/ 8433 h 35824"/>
                    <a:gd name="connsiteX16" fmla="*/ 1077 w 6220"/>
                    <a:gd name="connsiteY16" fmla="*/ 6280 h 35824"/>
                    <a:gd name="connsiteX17" fmla="*/ 1077 w 6220"/>
                    <a:gd name="connsiteY17" fmla="*/ 6280 h 35824"/>
                    <a:gd name="connsiteX18" fmla="*/ 479 w 6220"/>
                    <a:gd name="connsiteY18" fmla="*/ 2930 h 35824"/>
                    <a:gd name="connsiteX19" fmla="*/ 359 w 6220"/>
                    <a:gd name="connsiteY19" fmla="*/ 2332 h 35824"/>
                    <a:gd name="connsiteX20" fmla="*/ 299 w 6220"/>
                    <a:gd name="connsiteY20" fmla="*/ 1973 h 35824"/>
                    <a:gd name="connsiteX21" fmla="*/ 299 w 6220"/>
                    <a:gd name="connsiteY21" fmla="*/ 1973 h 35824"/>
                    <a:gd name="connsiteX22" fmla="*/ 239 w 6220"/>
                    <a:gd name="connsiteY22" fmla="*/ 1495 h 35824"/>
                    <a:gd name="connsiteX23" fmla="*/ 0 w 6220"/>
                    <a:gd name="connsiteY23" fmla="*/ 0 h 3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20" h="35824">
                      <a:moveTo>
                        <a:pt x="6220" y="35824"/>
                      </a:moveTo>
                      <a:lnTo>
                        <a:pt x="5622" y="32475"/>
                      </a:lnTo>
                      <a:lnTo>
                        <a:pt x="5024" y="29126"/>
                      </a:lnTo>
                      <a:lnTo>
                        <a:pt x="4844" y="28229"/>
                      </a:lnTo>
                      <a:lnTo>
                        <a:pt x="4545" y="26435"/>
                      </a:lnTo>
                      <a:lnTo>
                        <a:pt x="4246" y="24581"/>
                      </a:lnTo>
                      <a:lnTo>
                        <a:pt x="4246" y="24581"/>
                      </a:lnTo>
                      <a:lnTo>
                        <a:pt x="3768" y="21829"/>
                      </a:lnTo>
                      <a:lnTo>
                        <a:pt x="3589" y="20933"/>
                      </a:lnTo>
                      <a:lnTo>
                        <a:pt x="3529" y="20454"/>
                      </a:lnTo>
                      <a:lnTo>
                        <a:pt x="2931" y="17105"/>
                      </a:lnTo>
                      <a:lnTo>
                        <a:pt x="2691" y="15789"/>
                      </a:lnTo>
                      <a:lnTo>
                        <a:pt x="2452" y="14354"/>
                      </a:lnTo>
                      <a:lnTo>
                        <a:pt x="1854" y="11004"/>
                      </a:lnTo>
                      <a:lnTo>
                        <a:pt x="1675" y="9928"/>
                      </a:lnTo>
                      <a:lnTo>
                        <a:pt x="1436" y="8433"/>
                      </a:lnTo>
                      <a:lnTo>
                        <a:pt x="1077" y="6280"/>
                      </a:lnTo>
                      <a:lnTo>
                        <a:pt x="1077" y="6280"/>
                      </a:lnTo>
                      <a:lnTo>
                        <a:pt x="479" y="2930"/>
                      </a:lnTo>
                      <a:lnTo>
                        <a:pt x="359" y="2332"/>
                      </a:lnTo>
                      <a:lnTo>
                        <a:pt x="299" y="1973"/>
                      </a:lnTo>
                      <a:lnTo>
                        <a:pt x="299" y="1973"/>
                      </a:lnTo>
                      <a:lnTo>
                        <a:pt x="239" y="1495"/>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651" name="Vrije vorm: vorm 7650">
                  <a:extLst>
                    <a:ext uri="{FF2B5EF4-FFF2-40B4-BE49-F238E27FC236}">
                      <a16:creationId xmlns:a16="http://schemas.microsoft.com/office/drawing/2014/main" id="{965C2ABB-1F00-42F6-8226-8E8A782BFA77}"/>
                    </a:ext>
                  </a:extLst>
                </p:cNvPr>
                <p:cNvSpPr/>
                <p:nvPr/>
              </p:nvSpPr>
              <p:spPr>
                <a:xfrm>
                  <a:off x="5795638" y="5332930"/>
                  <a:ext cx="29365" cy="50656"/>
                </a:xfrm>
                <a:custGeom>
                  <a:avLst/>
                  <a:gdLst>
                    <a:gd name="connsiteX0" fmla="*/ 29366 w 29365"/>
                    <a:gd name="connsiteY0" fmla="*/ 0 h 50656"/>
                    <a:gd name="connsiteX1" fmla="*/ 29067 w 29365"/>
                    <a:gd name="connsiteY1" fmla="*/ 60 h 50656"/>
                    <a:gd name="connsiteX2" fmla="*/ 26554 w 29365"/>
                    <a:gd name="connsiteY2" fmla="*/ 359 h 50656"/>
                    <a:gd name="connsiteX3" fmla="*/ 23564 w 29365"/>
                    <a:gd name="connsiteY3" fmla="*/ 2093 h 50656"/>
                    <a:gd name="connsiteX4" fmla="*/ 23026 w 29365"/>
                    <a:gd name="connsiteY4" fmla="*/ 2392 h 50656"/>
                    <a:gd name="connsiteX5" fmla="*/ 20275 w 29365"/>
                    <a:gd name="connsiteY5" fmla="*/ 4904 h 50656"/>
                    <a:gd name="connsiteX6" fmla="*/ 18959 w 29365"/>
                    <a:gd name="connsiteY6" fmla="*/ 6100 h 50656"/>
                    <a:gd name="connsiteX7" fmla="*/ 18540 w 29365"/>
                    <a:gd name="connsiteY7" fmla="*/ 6579 h 50656"/>
                    <a:gd name="connsiteX8" fmla="*/ 16088 w 29365"/>
                    <a:gd name="connsiteY8" fmla="*/ 9569 h 50656"/>
                    <a:gd name="connsiteX9" fmla="*/ 14653 w 29365"/>
                    <a:gd name="connsiteY9" fmla="*/ 11304 h 50656"/>
                    <a:gd name="connsiteX10" fmla="*/ 14174 w 29365"/>
                    <a:gd name="connsiteY10" fmla="*/ 11961 h 50656"/>
                    <a:gd name="connsiteX11" fmla="*/ 11961 w 29365"/>
                    <a:gd name="connsiteY11" fmla="*/ 15191 h 50656"/>
                    <a:gd name="connsiteX12" fmla="*/ 10407 w 29365"/>
                    <a:gd name="connsiteY12" fmla="*/ 17464 h 50656"/>
                    <a:gd name="connsiteX13" fmla="*/ 8493 w 29365"/>
                    <a:gd name="connsiteY13" fmla="*/ 20933 h 50656"/>
                    <a:gd name="connsiteX14" fmla="*/ 6579 w 29365"/>
                    <a:gd name="connsiteY14" fmla="*/ 24342 h 50656"/>
                    <a:gd name="connsiteX15" fmla="*/ 4964 w 29365"/>
                    <a:gd name="connsiteY15" fmla="*/ 27930 h 50656"/>
                    <a:gd name="connsiteX16" fmla="*/ 3947 w 29365"/>
                    <a:gd name="connsiteY16" fmla="*/ 30203 h 50656"/>
                    <a:gd name="connsiteX17" fmla="*/ 3469 w 29365"/>
                    <a:gd name="connsiteY17" fmla="*/ 31279 h 50656"/>
                    <a:gd name="connsiteX18" fmla="*/ 2213 w 29365"/>
                    <a:gd name="connsiteY18" fmla="*/ 34987 h 50656"/>
                    <a:gd name="connsiteX19" fmla="*/ 1555 w 29365"/>
                    <a:gd name="connsiteY19" fmla="*/ 36901 h 50656"/>
                    <a:gd name="connsiteX20" fmla="*/ 1256 w 29365"/>
                    <a:gd name="connsiteY20" fmla="*/ 37798 h 50656"/>
                    <a:gd name="connsiteX21" fmla="*/ 479 w 29365"/>
                    <a:gd name="connsiteY21" fmla="*/ 41566 h 50656"/>
                    <a:gd name="connsiteX22" fmla="*/ 60 w 29365"/>
                    <a:gd name="connsiteY22" fmla="*/ 43480 h 50656"/>
                    <a:gd name="connsiteX23" fmla="*/ 0 w 29365"/>
                    <a:gd name="connsiteY23" fmla="*/ 47068 h 50656"/>
                    <a:gd name="connsiteX24" fmla="*/ 0 w 29365"/>
                    <a:gd name="connsiteY24" fmla="*/ 47846 h 50656"/>
                    <a:gd name="connsiteX25" fmla="*/ 897 w 29365"/>
                    <a:gd name="connsiteY25" fmla="*/ 50298 h 50656"/>
                    <a:gd name="connsiteX26" fmla="*/ 1017 w 29365"/>
                    <a:gd name="connsiteY26" fmla="*/ 50657 h 5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365" h="50656">
                      <a:moveTo>
                        <a:pt x="29366" y="0"/>
                      </a:moveTo>
                      <a:lnTo>
                        <a:pt x="29067" y="60"/>
                      </a:lnTo>
                      <a:lnTo>
                        <a:pt x="26554" y="359"/>
                      </a:lnTo>
                      <a:lnTo>
                        <a:pt x="23564" y="2093"/>
                      </a:lnTo>
                      <a:lnTo>
                        <a:pt x="23026" y="2392"/>
                      </a:lnTo>
                      <a:lnTo>
                        <a:pt x="20275" y="4904"/>
                      </a:lnTo>
                      <a:lnTo>
                        <a:pt x="18959" y="6100"/>
                      </a:lnTo>
                      <a:lnTo>
                        <a:pt x="18540" y="6579"/>
                      </a:lnTo>
                      <a:lnTo>
                        <a:pt x="16088" y="9569"/>
                      </a:lnTo>
                      <a:lnTo>
                        <a:pt x="14653" y="11304"/>
                      </a:lnTo>
                      <a:lnTo>
                        <a:pt x="14174" y="11961"/>
                      </a:lnTo>
                      <a:lnTo>
                        <a:pt x="11961" y="15191"/>
                      </a:lnTo>
                      <a:lnTo>
                        <a:pt x="10407" y="17464"/>
                      </a:lnTo>
                      <a:lnTo>
                        <a:pt x="8493" y="20933"/>
                      </a:lnTo>
                      <a:lnTo>
                        <a:pt x="6579" y="24342"/>
                      </a:lnTo>
                      <a:lnTo>
                        <a:pt x="4964" y="27930"/>
                      </a:lnTo>
                      <a:lnTo>
                        <a:pt x="3947" y="30203"/>
                      </a:lnTo>
                      <a:lnTo>
                        <a:pt x="3469" y="31279"/>
                      </a:lnTo>
                      <a:lnTo>
                        <a:pt x="2213" y="34987"/>
                      </a:lnTo>
                      <a:lnTo>
                        <a:pt x="1555" y="36901"/>
                      </a:lnTo>
                      <a:lnTo>
                        <a:pt x="1256" y="37798"/>
                      </a:lnTo>
                      <a:lnTo>
                        <a:pt x="479" y="41566"/>
                      </a:lnTo>
                      <a:lnTo>
                        <a:pt x="60" y="43480"/>
                      </a:lnTo>
                      <a:lnTo>
                        <a:pt x="0" y="47068"/>
                      </a:lnTo>
                      <a:lnTo>
                        <a:pt x="0" y="47846"/>
                      </a:lnTo>
                      <a:lnTo>
                        <a:pt x="897" y="50298"/>
                      </a:lnTo>
                      <a:lnTo>
                        <a:pt x="1017" y="50657"/>
                      </a:lnTo>
                    </a:path>
                  </a:pathLst>
                </a:custGeom>
                <a:noFill/>
                <a:ln w="6350" cap="flat">
                  <a:solidFill>
                    <a:schemeClr val="bg1">
                      <a:alpha val="80000"/>
                    </a:schemeClr>
                  </a:solidFill>
                  <a:prstDash val="solid"/>
                  <a:miter/>
                </a:ln>
              </p:spPr>
              <p:txBody>
                <a:bodyPr rtlCol="0" anchor="ctr"/>
                <a:lstStyle/>
                <a:p>
                  <a:endParaRPr lang="en-GB"/>
                </a:p>
              </p:txBody>
            </p:sp>
            <p:sp>
              <p:nvSpPr>
                <p:cNvPr id="7652" name="Vrije vorm: vorm 7651">
                  <a:extLst>
                    <a:ext uri="{FF2B5EF4-FFF2-40B4-BE49-F238E27FC236}">
                      <a16:creationId xmlns:a16="http://schemas.microsoft.com/office/drawing/2014/main" id="{B692AF89-AEA3-46A0-AED1-38C278CCF612}"/>
                    </a:ext>
                  </a:extLst>
                </p:cNvPr>
                <p:cNvSpPr/>
                <p:nvPr/>
              </p:nvSpPr>
              <p:spPr>
                <a:xfrm>
                  <a:off x="5796715" y="5332750"/>
                  <a:ext cx="30980" cy="51852"/>
                </a:xfrm>
                <a:custGeom>
                  <a:avLst/>
                  <a:gdLst>
                    <a:gd name="connsiteX0" fmla="*/ 0 w 30980"/>
                    <a:gd name="connsiteY0" fmla="*/ 50776 h 51852"/>
                    <a:gd name="connsiteX1" fmla="*/ 2093 w 30980"/>
                    <a:gd name="connsiteY1" fmla="*/ 51853 h 51852"/>
                    <a:gd name="connsiteX2" fmla="*/ 5024 w 30980"/>
                    <a:gd name="connsiteY2" fmla="*/ 51135 h 51852"/>
                    <a:gd name="connsiteX3" fmla="*/ 7954 w 30980"/>
                    <a:gd name="connsiteY3" fmla="*/ 49161 h 51852"/>
                    <a:gd name="connsiteX4" fmla="*/ 8612 w 30980"/>
                    <a:gd name="connsiteY4" fmla="*/ 48743 h 51852"/>
                    <a:gd name="connsiteX5" fmla="*/ 11303 w 30980"/>
                    <a:gd name="connsiteY5" fmla="*/ 46111 h 51852"/>
                    <a:gd name="connsiteX6" fmla="*/ 12559 w 30980"/>
                    <a:gd name="connsiteY6" fmla="*/ 44855 h 51852"/>
                    <a:gd name="connsiteX7" fmla="*/ 15011 w 30980"/>
                    <a:gd name="connsiteY7" fmla="*/ 41865 h 51852"/>
                    <a:gd name="connsiteX8" fmla="*/ 16686 w 30980"/>
                    <a:gd name="connsiteY8" fmla="*/ 39772 h 51852"/>
                    <a:gd name="connsiteX9" fmla="*/ 18839 w 30980"/>
                    <a:gd name="connsiteY9" fmla="*/ 36482 h 51852"/>
                    <a:gd name="connsiteX10" fmla="*/ 20633 w 30980"/>
                    <a:gd name="connsiteY10" fmla="*/ 33791 h 51852"/>
                    <a:gd name="connsiteX11" fmla="*/ 22547 w 30980"/>
                    <a:gd name="connsiteY11" fmla="*/ 30322 h 51852"/>
                    <a:gd name="connsiteX12" fmla="*/ 24222 w 30980"/>
                    <a:gd name="connsiteY12" fmla="*/ 27332 h 51852"/>
                    <a:gd name="connsiteX13" fmla="*/ 25896 w 30980"/>
                    <a:gd name="connsiteY13" fmla="*/ 23743 h 51852"/>
                    <a:gd name="connsiteX14" fmla="*/ 27272 w 30980"/>
                    <a:gd name="connsiteY14" fmla="*/ 20753 h 51852"/>
                    <a:gd name="connsiteX15" fmla="*/ 28588 w 30980"/>
                    <a:gd name="connsiteY15" fmla="*/ 17045 h 51852"/>
                    <a:gd name="connsiteX16" fmla="*/ 29485 w 30980"/>
                    <a:gd name="connsiteY16" fmla="*/ 14473 h 51852"/>
                    <a:gd name="connsiteX17" fmla="*/ 30322 w 30980"/>
                    <a:gd name="connsiteY17" fmla="*/ 10705 h 51852"/>
                    <a:gd name="connsiteX18" fmla="*/ 30741 w 30980"/>
                    <a:gd name="connsiteY18" fmla="*/ 8911 h 51852"/>
                    <a:gd name="connsiteX19" fmla="*/ 30920 w 30980"/>
                    <a:gd name="connsiteY19" fmla="*/ 5263 h 51852"/>
                    <a:gd name="connsiteX20" fmla="*/ 30980 w 30980"/>
                    <a:gd name="connsiteY20" fmla="*/ 4486 h 51852"/>
                    <a:gd name="connsiteX21" fmla="*/ 30143 w 30980"/>
                    <a:gd name="connsiteY21" fmla="*/ 1435 h 51852"/>
                    <a:gd name="connsiteX22" fmla="*/ 28289 w 30980"/>
                    <a:gd name="connsiteY22" fmla="*/ 0 h 5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980" h="51852">
                      <a:moveTo>
                        <a:pt x="0" y="50776"/>
                      </a:moveTo>
                      <a:lnTo>
                        <a:pt x="2093" y="51853"/>
                      </a:lnTo>
                      <a:lnTo>
                        <a:pt x="5024" y="51135"/>
                      </a:lnTo>
                      <a:lnTo>
                        <a:pt x="7954" y="49161"/>
                      </a:lnTo>
                      <a:lnTo>
                        <a:pt x="8612" y="48743"/>
                      </a:lnTo>
                      <a:lnTo>
                        <a:pt x="11303" y="46111"/>
                      </a:lnTo>
                      <a:lnTo>
                        <a:pt x="12559" y="44855"/>
                      </a:lnTo>
                      <a:lnTo>
                        <a:pt x="15011" y="41865"/>
                      </a:lnTo>
                      <a:lnTo>
                        <a:pt x="16686" y="39772"/>
                      </a:lnTo>
                      <a:lnTo>
                        <a:pt x="18839" y="36482"/>
                      </a:lnTo>
                      <a:lnTo>
                        <a:pt x="20633" y="33791"/>
                      </a:lnTo>
                      <a:lnTo>
                        <a:pt x="22547" y="30322"/>
                      </a:lnTo>
                      <a:lnTo>
                        <a:pt x="24222" y="27332"/>
                      </a:lnTo>
                      <a:lnTo>
                        <a:pt x="25896" y="23743"/>
                      </a:lnTo>
                      <a:lnTo>
                        <a:pt x="27272" y="20753"/>
                      </a:lnTo>
                      <a:lnTo>
                        <a:pt x="28588" y="17045"/>
                      </a:lnTo>
                      <a:lnTo>
                        <a:pt x="29485" y="14473"/>
                      </a:lnTo>
                      <a:lnTo>
                        <a:pt x="30322" y="10705"/>
                      </a:lnTo>
                      <a:lnTo>
                        <a:pt x="30741" y="8911"/>
                      </a:lnTo>
                      <a:lnTo>
                        <a:pt x="30920" y="5263"/>
                      </a:lnTo>
                      <a:lnTo>
                        <a:pt x="30980" y="4486"/>
                      </a:lnTo>
                      <a:lnTo>
                        <a:pt x="30143" y="1435"/>
                      </a:lnTo>
                      <a:lnTo>
                        <a:pt x="28289" y="0"/>
                      </a:lnTo>
                    </a:path>
                  </a:pathLst>
                </a:custGeom>
                <a:noFill/>
                <a:ln w="6350" cap="flat">
                  <a:solidFill>
                    <a:schemeClr val="bg1">
                      <a:alpha val="80000"/>
                    </a:schemeClr>
                  </a:solidFill>
                  <a:prstDash val="solid"/>
                  <a:miter/>
                </a:ln>
              </p:spPr>
              <p:txBody>
                <a:bodyPr rtlCol="0" anchor="ctr"/>
                <a:lstStyle/>
                <a:p>
                  <a:endParaRPr lang="en-GB"/>
                </a:p>
              </p:txBody>
            </p:sp>
            <p:sp>
              <p:nvSpPr>
                <p:cNvPr id="7653" name="Vrije vorm: vorm 7652">
                  <a:extLst>
                    <a:ext uri="{FF2B5EF4-FFF2-40B4-BE49-F238E27FC236}">
                      <a16:creationId xmlns:a16="http://schemas.microsoft.com/office/drawing/2014/main" id="{5F973B18-55DC-47E3-BC82-246DA1F54992}"/>
                    </a:ext>
                  </a:extLst>
                </p:cNvPr>
                <p:cNvSpPr/>
                <p:nvPr/>
              </p:nvSpPr>
              <p:spPr>
                <a:xfrm>
                  <a:off x="5798329" y="5301770"/>
                  <a:ext cx="1256" cy="2152"/>
                </a:xfrm>
                <a:custGeom>
                  <a:avLst/>
                  <a:gdLst>
                    <a:gd name="connsiteX0" fmla="*/ 1136 w 1256"/>
                    <a:gd name="connsiteY0" fmla="*/ 299 h 2152"/>
                    <a:gd name="connsiteX1" fmla="*/ 1017 w 1256"/>
                    <a:gd name="connsiteY1" fmla="*/ 299 h 2152"/>
                    <a:gd name="connsiteX2" fmla="*/ 957 w 1256"/>
                    <a:gd name="connsiteY2" fmla="*/ 299 h 2152"/>
                    <a:gd name="connsiteX3" fmla="*/ 897 w 1256"/>
                    <a:gd name="connsiteY3" fmla="*/ 299 h 2152"/>
                    <a:gd name="connsiteX4" fmla="*/ 837 w 1256"/>
                    <a:gd name="connsiteY4" fmla="*/ 299 h 2152"/>
                    <a:gd name="connsiteX5" fmla="*/ 658 w 1256"/>
                    <a:gd name="connsiteY5" fmla="*/ 419 h 2152"/>
                    <a:gd name="connsiteX6" fmla="*/ 658 w 1256"/>
                    <a:gd name="connsiteY6" fmla="*/ 419 h 2152"/>
                    <a:gd name="connsiteX7" fmla="*/ 479 w 1256"/>
                    <a:gd name="connsiteY7" fmla="*/ 598 h 2152"/>
                    <a:gd name="connsiteX8" fmla="*/ 299 w 1256"/>
                    <a:gd name="connsiteY8" fmla="*/ 837 h 2152"/>
                    <a:gd name="connsiteX9" fmla="*/ 180 w 1256"/>
                    <a:gd name="connsiteY9" fmla="*/ 1076 h 2152"/>
                    <a:gd name="connsiteX10" fmla="*/ 120 w 1256"/>
                    <a:gd name="connsiteY10" fmla="*/ 1196 h 2152"/>
                    <a:gd name="connsiteX11" fmla="*/ 60 w 1256"/>
                    <a:gd name="connsiteY11" fmla="*/ 1375 h 2152"/>
                    <a:gd name="connsiteX12" fmla="*/ 0 w 1256"/>
                    <a:gd name="connsiteY12" fmla="*/ 1615 h 2152"/>
                    <a:gd name="connsiteX13" fmla="*/ 0 w 1256"/>
                    <a:gd name="connsiteY13" fmla="*/ 1734 h 2152"/>
                    <a:gd name="connsiteX14" fmla="*/ 0 w 1256"/>
                    <a:gd name="connsiteY14" fmla="*/ 1794 h 2152"/>
                    <a:gd name="connsiteX15" fmla="*/ 0 w 1256"/>
                    <a:gd name="connsiteY15" fmla="*/ 1973 h 2152"/>
                    <a:gd name="connsiteX16" fmla="*/ 60 w 1256"/>
                    <a:gd name="connsiteY16" fmla="*/ 2093 h 2152"/>
                    <a:gd name="connsiteX17" fmla="*/ 180 w 1256"/>
                    <a:gd name="connsiteY17" fmla="*/ 2153 h 2152"/>
                    <a:gd name="connsiteX18" fmla="*/ 180 w 1256"/>
                    <a:gd name="connsiteY18" fmla="*/ 2153 h 2152"/>
                    <a:gd name="connsiteX19" fmla="*/ 299 w 1256"/>
                    <a:gd name="connsiteY19" fmla="*/ 2153 h 2152"/>
                    <a:gd name="connsiteX20" fmla="*/ 419 w 1256"/>
                    <a:gd name="connsiteY20" fmla="*/ 2093 h 2152"/>
                    <a:gd name="connsiteX21" fmla="*/ 598 w 1256"/>
                    <a:gd name="connsiteY21" fmla="*/ 1973 h 2152"/>
                    <a:gd name="connsiteX22" fmla="*/ 778 w 1256"/>
                    <a:gd name="connsiteY22" fmla="*/ 1794 h 2152"/>
                    <a:gd name="connsiteX23" fmla="*/ 957 w 1256"/>
                    <a:gd name="connsiteY23" fmla="*/ 1555 h 2152"/>
                    <a:gd name="connsiteX24" fmla="*/ 1076 w 1256"/>
                    <a:gd name="connsiteY24" fmla="*/ 1316 h 2152"/>
                    <a:gd name="connsiteX25" fmla="*/ 1196 w 1256"/>
                    <a:gd name="connsiteY25" fmla="*/ 1076 h 2152"/>
                    <a:gd name="connsiteX26" fmla="*/ 1256 w 1256"/>
                    <a:gd name="connsiteY26" fmla="*/ 837 h 2152"/>
                    <a:gd name="connsiteX27" fmla="*/ 1256 w 1256"/>
                    <a:gd name="connsiteY27" fmla="*/ 837 h 2152"/>
                    <a:gd name="connsiteX28" fmla="*/ 1256 w 1256"/>
                    <a:gd name="connsiteY28" fmla="*/ 837 h 2152"/>
                    <a:gd name="connsiteX29" fmla="*/ 1256 w 1256"/>
                    <a:gd name="connsiteY29" fmla="*/ 598 h 2152"/>
                    <a:gd name="connsiteX30" fmla="*/ 1256 w 1256"/>
                    <a:gd name="connsiteY30" fmla="*/ 419 h 2152"/>
                    <a:gd name="connsiteX31" fmla="*/ 1256 w 1256"/>
                    <a:gd name="connsiteY31" fmla="*/ 419 h 2152"/>
                    <a:gd name="connsiteX32" fmla="*/ 1196 w 1256"/>
                    <a:gd name="connsiteY32" fmla="*/ 299 h 2152"/>
                    <a:gd name="connsiteX33" fmla="*/ 1136 w 1256"/>
                    <a:gd name="connsiteY33" fmla="*/ 299 h 2152"/>
                    <a:gd name="connsiteX34" fmla="*/ 1017 w 1256"/>
                    <a:gd name="connsiteY34" fmla="*/ 239 h 2152"/>
                    <a:gd name="connsiteX35" fmla="*/ 957 w 1256"/>
                    <a:gd name="connsiteY35" fmla="*/ 179 h 2152"/>
                    <a:gd name="connsiteX36" fmla="*/ 598 w 1256"/>
                    <a:gd name="connsiteY36" fmla="*/ 0 h 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6" h="2152">
                      <a:moveTo>
                        <a:pt x="1136" y="299"/>
                      </a:moveTo>
                      <a:lnTo>
                        <a:pt x="1017" y="299"/>
                      </a:lnTo>
                      <a:lnTo>
                        <a:pt x="957" y="299"/>
                      </a:lnTo>
                      <a:lnTo>
                        <a:pt x="897" y="299"/>
                      </a:lnTo>
                      <a:lnTo>
                        <a:pt x="837" y="299"/>
                      </a:lnTo>
                      <a:lnTo>
                        <a:pt x="658" y="419"/>
                      </a:lnTo>
                      <a:lnTo>
                        <a:pt x="658" y="419"/>
                      </a:lnTo>
                      <a:lnTo>
                        <a:pt x="479" y="598"/>
                      </a:lnTo>
                      <a:lnTo>
                        <a:pt x="299" y="837"/>
                      </a:lnTo>
                      <a:lnTo>
                        <a:pt x="180" y="1076"/>
                      </a:lnTo>
                      <a:lnTo>
                        <a:pt x="120" y="1196"/>
                      </a:lnTo>
                      <a:lnTo>
                        <a:pt x="60" y="1375"/>
                      </a:lnTo>
                      <a:lnTo>
                        <a:pt x="0" y="1615"/>
                      </a:lnTo>
                      <a:lnTo>
                        <a:pt x="0" y="1734"/>
                      </a:lnTo>
                      <a:lnTo>
                        <a:pt x="0" y="1794"/>
                      </a:lnTo>
                      <a:lnTo>
                        <a:pt x="0" y="1973"/>
                      </a:lnTo>
                      <a:lnTo>
                        <a:pt x="60" y="2093"/>
                      </a:lnTo>
                      <a:lnTo>
                        <a:pt x="180" y="2153"/>
                      </a:lnTo>
                      <a:lnTo>
                        <a:pt x="180" y="2153"/>
                      </a:lnTo>
                      <a:lnTo>
                        <a:pt x="299" y="2153"/>
                      </a:lnTo>
                      <a:lnTo>
                        <a:pt x="419" y="2093"/>
                      </a:lnTo>
                      <a:lnTo>
                        <a:pt x="598" y="1973"/>
                      </a:lnTo>
                      <a:lnTo>
                        <a:pt x="778" y="1794"/>
                      </a:lnTo>
                      <a:lnTo>
                        <a:pt x="957" y="1555"/>
                      </a:lnTo>
                      <a:lnTo>
                        <a:pt x="1076" y="1316"/>
                      </a:lnTo>
                      <a:lnTo>
                        <a:pt x="1196" y="1076"/>
                      </a:lnTo>
                      <a:lnTo>
                        <a:pt x="1256" y="837"/>
                      </a:lnTo>
                      <a:lnTo>
                        <a:pt x="1256" y="837"/>
                      </a:lnTo>
                      <a:lnTo>
                        <a:pt x="1256" y="837"/>
                      </a:lnTo>
                      <a:lnTo>
                        <a:pt x="1256" y="598"/>
                      </a:lnTo>
                      <a:lnTo>
                        <a:pt x="1256" y="419"/>
                      </a:lnTo>
                      <a:lnTo>
                        <a:pt x="1256" y="419"/>
                      </a:lnTo>
                      <a:lnTo>
                        <a:pt x="1196" y="299"/>
                      </a:lnTo>
                      <a:lnTo>
                        <a:pt x="1136" y="299"/>
                      </a:lnTo>
                      <a:lnTo>
                        <a:pt x="1017" y="239"/>
                      </a:lnTo>
                      <a:lnTo>
                        <a:pt x="957" y="179"/>
                      </a:lnTo>
                      <a:lnTo>
                        <a:pt x="598" y="0"/>
                      </a:lnTo>
                    </a:path>
                  </a:pathLst>
                </a:custGeom>
                <a:noFill/>
                <a:ln w="6350" cap="flat">
                  <a:solidFill>
                    <a:schemeClr val="bg1">
                      <a:alpha val="80000"/>
                    </a:schemeClr>
                  </a:solidFill>
                  <a:prstDash val="solid"/>
                  <a:miter/>
                </a:ln>
              </p:spPr>
              <p:txBody>
                <a:bodyPr rtlCol="0" anchor="ctr"/>
                <a:lstStyle/>
                <a:p>
                  <a:endParaRPr lang="en-GB"/>
                </a:p>
              </p:txBody>
            </p:sp>
            <p:sp>
              <p:nvSpPr>
                <p:cNvPr id="7654" name="Vrije vorm: vorm 7653">
                  <a:extLst>
                    <a:ext uri="{FF2B5EF4-FFF2-40B4-BE49-F238E27FC236}">
                      <a16:creationId xmlns:a16="http://schemas.microsoft.com/office/drawing/2014/main" id="{BCF5B508-FFED-46E2-AB1A-8D18EFC83ADB}"/>
                    </a:ext>
                  </a:extLst>
                </p:cNvPr>
                <p:cNvSpPr/>
                <p:nvPr/>
              </p:nvSpPr>
              <p:spPr>
                <a:xfrm>
                  <a:off x="5797791" y="5301830"/>
                  <a:ext cx="1136" cy="1913"/>
                </a:xfrm>
                <a:custGeom>
                  <a:avLst/>
                  <a:gdLst>
                    <a:gd name="connsiteX0" fmla="*/ 179 w 1136"/>
                    <a:gd name="connsiteY0" fmla="*/ 1914 h 1913"/>
                    <a:gd name="connsiteX1" fmla="*/ 60 w 1136"/>
                    <a:gd name="connsiteY1" fmla="*/ 1854 h 1913"/>
                    <a:gd name="connsiteX2" fmla="*/ 0 w 1136"/>
                    <a:gd name="connsiteY2" fmla="*/ 1734 h 1913"/>
                    <a:gd name="connsiteX3" fmla="*/ 0 w 1136"/>
                    <a:gd name="connsiteY3" fmla="*/ 1555 h 1913"/>
                    <a:gd name="connsiteX4" fmla="*/ 60 w 1136"/>
                    <a:gd name="connsiteY4" fmla="*/ 1316 h 1913"/>
                    <a:gd name="connsiteX5" fmla="*/ 119 w 1136"/>
                    <a:gd name="connsiteY5" fmla="*/ 1076 h 1913"/>
                    <a:gd name="connsiteX6" fmla="*/ 239 w 1136"/>
                    <a:gd name="connsiteY6" fmla="*/ 837 h 1913"/>
                    <a:gd name="connsiteX7" fmla="*/ 359 w 1136"/>
                    <a:gd name="connsiteY7" fmla="*/ 598 h 1913"/>
                    <a:gd name="connsiteX8" fmla="*/ 538 w 1136"/>
                    <a:gd name="connsiteY8" fmla="*/ 359 h 1913"/>
                    <a:gd name="connsiteX9" fmla="*/ 718 w 1136"/>
                    <a:gd name="connsiteY9" fmla="*/ 179 h 1913"/>
                    <a:gd name="connsiteX10" fmla="*/ 897 w 1136"/>
                    <a:gd name="connsiteY10" fmla="*/ 60 h 1913"/>
                    <a:gd name="connsiteX11" fmla="*/ 1017 w 1136"/>
                    <a:gd name="connsiteY11" fmla="*/ 0 h 1913"/>
                    <a:gd name="connsiteX12" fmla="*/ 1136 w 1136"/>
                    <a:gd name="connsiteY12" fmla="*/ 0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6" h="1913">
                      <a:moveTo>
                        <a:pt x="179" y="1914"/>
                      </a:moveTo>
                      <a:lnTo>
                        <a:pt x="60" y="1854"/>
                      </a:lnTo>
                      <a:lnTo>
                        <a:pt x="0" y="1734"/>
                      </a:lnTo>
                      <a:lnTo>
                        <a:pt x="0" y="1555"/>
                      </a:lnTo>
                      <a:lnTo>
                        <a:pt x="60" y="1316"/>
                      </a:lnTo>
                      <a:lnTo>
                        <a:pt x="119" y="1076"/>
                      </a:lnTo>
                      <a:lnTo>
                        <a:pt x="239" y="837"/>
                      </a:lnTo>
                      <a:lnTo>
                        <a:pt x="359" y="598"/>
                      </a:lnTo>
                      <a:lnTo>
                        <a:pt x="538" y="359"/>
                      </a:lnTo>
                      <a:lnTo>
                        <a:pt x="718" y="179"/>
                      </a:lnTo>
                      <a:lnTo>
                        <a:pt x="897" y="60"/>
                      </a:lnTo>
                      <a:lnTo>
                        <a:pt x="1017" y="0"/>
                      </a:lnTo>
                      <a:lnTo>
                        <a:pt x="1136" y="0"/>
                      </a:lnTo>
                    </a:path>
                  </a:pathLst>
                </a:custGeom>
                <a:noFill/>
                <a:ln w="6350" cap="flat">
                  <a:solidFill>
                    <a:schemeClr val="bg1">
                      <a:alpha val="80000"/>
                    </a:schemeClr>
                  </a:solidFill>
                  <a:prstDash val="solid"/>
                  <a:miter/>
                </a:ln>
              </p:spPr>
              <p:txBody>
                <a:bodyPr rtlCol="0" anchor="ctr"/>
                <a:lstStyle/>
                <a:p>
                  <a:endParaRPr lang="en-GB"/>
                </a:p>
              </p:txBody>
            </p:sp>
            <p:sp>
              <p:nvSpPr>
                <p:cNvPr id="7655" name="Vrije vorm: vorm 7654">
                  <a:extLst>
                    <a:ext uri="{FF2B5EF4-FFF2-40B4-BE49-F238E27FC236}">
                      <a16:creationId xmlns:a16="http://schemas.microsoft.com/office/drawing/2014/main" id="{6F1BE3C2-AEDE-4D7C-BBD5-08CD00B83D52}"/>
                    </a:ext>
                  </a:extLst>
                </p:cNvPr>
                <p:cNvSpPr/>
                <p:nvPr/>
              </p:nvSpPr>
              <p:spPr>
                <a:xfrm>
                  <a:off x="5813221" y="5278385"/>
                  <a:ext cx="2990" cy="5442"/>
                </a:xfrm>
                <a:custGeom>
                  <a:avLst/>
                  <a:gdLst>
                    <a:gd name="connsiteX0" fmla="*/ 2751 w 2990"/>
                    <a:gd name="connsiteY0" fmla="*/ 658 h 5442"/>
                    <a:gd name="connsiteX1" fmla="*/ 2512 w 2990"/>
                    <a:gd name="connsiteY1" fmla="*/ 658 h 5442"/>
                    <a:gd name="connsiteX2" fmla="*/ 2153 w 2990"/>
                    <a:gd name="connsiteY2" fmla="*/ 837 h 5442"/>
                    <a:gd name="connsiteX3" fmla="*/ 1795 w 2990"/>
                    <a:gd name="connsiteY3" fmla="*/ 1136 h 5442"/>
                    <a:gd name="connsiteX4" fmla="*/ 1795 w 2990"/>
                    <a:gd name="connsiteY4" fmla="*/ 1136 h 5442"/>
                    <a:gd name="connsiteX5" fmla="*/ 1376 w 2990"/>
                    <a:gd name="connsiteY5" fmla="*/ 1555 h 5442"/>
                    <a:gd name="connsiteX6" fmla="*/ 1017 w 2990"/>
                    <a:gd name="connsiteY6" fmla="*/ 2093 h 5442"/>
                    <a:gd name="connsiteX7" fmla="*/ 658 w 2990"/>
                    <a:gd name="connsiteY7" fmla="*/ 2691 h 5442"/>
                    <a:gd name="connsiteX8" fmla="*/ 359 w 2990"/>
                    <a:gd name="connsiteY8" fmla="*/ 3349 h 5442"/>
                    <a:gd name="connsiteX9" fmla="*/ 120 w 2990"/>
                    <a:gd name="connsiteY9" fmla="*/ 3947 h 5442"/>
                    <a:gd name="connsiteX10" fmla="*/ 60 w 2990"/>
                    <a:gd name="connsiteY10" fmla="*/ 4306 h 5442"/>
                    <a:gd name="connsiteX11" fmla="*/ 0 w 2990"/>
                    <a:gd name="connsiteY11" fmla="*/ 4486 h 5442"/>
                    <a:gd name="connsiteX12" fmla="*/ 0 w 2990"/>
                    <a:gd name="connsiteY12" fmla="*/ 4964 h 5442"/>
                    <a:gd name="connsiteX13" fmla="*/ 60 w 2990"/>
                    <a:gd name="connsiteY13" fmla="*/ 5263 h 5442"/>
                    <a:gd name="connsiteX14" fmla="*/ 239 w 2990"/>
                    <a:gd name="connsiteY14" fmla="*/ 5443 h 5442"/>
                    <a:gd name="connsiteX15" fmla="*/ 479 w 2990"/>
                    <a:gd name="connsiteY15" fmla="*/ 5443 h 5442"/>
                    <a:gd name="connsiteX16" fmla="*/ 837 w 2990"/>
                    <a:gd name="connsiteY16" fmla="*/ 5263 h 5442"/>
                    <a:gd name="connsiteX17" fmla="*/ 1196 w 2990"/>
                    <a:gd name="connsiteY17" fmla="*/ 4964 h 5442"/>
                    <a:gd name="connsiteX18" fmla="*/ 1615 w 2990"/>
                    <a:gd name="connsiteY18" fmla="*/ 4545 h 5442"/>
                    <a:gd name="connsiteX19" fmla="*/ 1974 w 2990"/>
                    <a:gd name="connsiteY19" fmla="*/ 4007 h 5442"/>
                    <a:gd name="connsiteX20" fmla="*/ 2333 w 2990"/>
                    <a:gd name="connsiteY20" fmla="*/ 3409 h 5442"/>
                    <a:gd name="connsiteX21" fmla="*/ 2632 w 2990"/>
                    <a:gd name="connsiteY21" fmla="*/ 2751 h 5442"/>
                    <a:gd name="connsiteX22" fmla="*/ 2871 w 2990"/>
                    <a:gd name="connsiteY22" fmla="*/ 2153 h 5442"/>
                    <a:gd name="connsiteX23" fmla="*/ 2931 w 2990"/>
                    <a:gd name="connsiteY23" fmla="*/ 1794 h 5442"/>
                    <a:gd name="connsiteX24" fmla="*/ 2990 w 2990"/>
                    <a:gd name="connsiteY24" fmla="*/ 1615 h 5442"/>
                    <a:gd name="connsiteX25" fmla="*/ 2990 w 2990"/>
                    <a:gd name="connsiteY25" fmla="*/ 1136 h 5442"/>
                    <a:gd name="connsiteX26" fmla="*/ 2931 w 2990"/>
                    <a:gd name="connsiteY26" fmla="*/ 837 h 5442"/>
                    <a:gd name="connsiteX27" fmla="*/ 2871 w 2990"/>
                    <a:gd name="connsiteY27" fmla="*/ 778 h 5442"/>
                    <a:gd name="connsiteX28" fmla="*/ 2751 w 2990"/>
                    <a:gd name="connsiteY28" fmla="*/ 658 h 5442"/>
                    <a:gd name="connsiteX29" fmla="*/ 1555 w 2990"/>
                    <a:gd name="connsiteY29" fmla="*/ 0 h 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90" h="5442">
                      <a:moveTo>
                        <a:pt x="2751" y="658"/>
                      </a:moveTo>
                      <a:lnTo>
                        <a:pt x="2512" y="658"/>
                      </a:lnTo>
                      <a:lnTo>
                        <a:pt x="2153" y="837"/>
                      </a:lnTo>
                      <a:lnTo>
                        <a:pt x="1795" y="1136"/>
                      </a:lnTo>
                      <a:lnTo>
                        <a:pt x="1795" y="1136"/>
                      </a:lnTo>
                      <a:lnTo>
                        <a:pt x="1376" y="1555"/>
                      </a:lnTo>
                      <a:lnTo>
                        <a:pt x="1017" y="2093"/>
                      </a:lnTo>
                      <a:lnTo>
                        <a:pt x="658" y="2691"/>
                      </a:lnTo>
                      <a:lnTo>
                        <a:pt x="359" y="3349"/>
                      </a:lnTo>
                      <a:lnTo>
                        <a:pt x="120" y="3947"/>
                      </a:lnTo>
                      <a:lnTo>
                        <a:pt x="60" y="4306"/>
                      </a:lnTo>
                      <a:lnTo>
                        <a:pt x="0" y="4486"/>
                      </a:lnTo>
                      <a:lnTo>
                        <a:pt x="0" y="4964"/>
                      </a:lnTo>
                      <a:lnTo>
                        <a:pt x="60" y="5263"/>
                      </a:lnTo>
                      <a:lnTo>
                        <a:pt x="239" y="5443"/>
                      </a:lnTo>
                      <a:lnTo>
                        <a:pt x="479" y="5443"/>
                      </a:lnTo>
                      <a:lnTo>
                        <a:pt x="837" y="5263"/>
                      </a:lnTo>
                      <a:lnTo>
                        <a:pt x="1196" y="4964"/>
                      </a:lnTo>
                      <a:lnTo>
                        <a:pt x="1615" y="4545"/>
                      </a:lnTo>
                      <a:lnTo>
                        <a:pt x="1974" y="4007"/>
                      </a:lnTo>
                      <a:lnTo>
                        <a:pt x="2333" y="3409"/>
                      </a:lnTo>
                      <a:lnTo>
                        <a:pt x="2632" y="2751"/>
                      </a:lnTo>
                      <a:lnTo>
                        <a:pt x="2871" y="2153"/>
                      </a:lnTo>
                      <a:lnTo>
                        <a:pt x="2931" y="1794"/>
                      </a:lnTo>
                      <a:lnTo>
                        <a:pt x="2990" y="1615"/>
                      </a:lnTo>
                      <a:lnTo>
                        <a:pt x="2990" y="1136"/>
                      </a:lnTo>
                      <a:lnTo>
                        <a:pt x="2931" y="837"/>
                      </a:lnTo>
                      <a:lnTo>
                        <a:pt x="2871" y="778"/>
                      </a:lnTo>
                      <a:lnTo>
                        <a:pt x="2751" y="658"/>
                      </a:lnTo>
                      <a:lnTo>
                        <a:pt x="1555" y="0"/>
                      </a:lnTo>
                    </a:path>
                  </a:pathLst>
                </a:custGeom>
                <a:noFill/>
                <a:ln w="6350" cap="flat">
                  <a:solidFill>
                    <a:schemeClr val="bg1">
                      <a:alpha val="80000"/>
                    </a:schemeClr>
                  </a:solidFill>
                  <a:prstDash val="solid"/>
                  <a:miter/>
                </a:ln>
              </p:spPr>
              <p:txBody>
                <a:bodyPr rtlCol="0" anchor="ctr"/>
                <a:lstStyle/>
                <a:p>
                  <a:endParaRPr lang="en-GB"/>
                </a:p>
              </p:txBody>
            </p:sp>
            <p:sp>
              <p:nvSpPr>
                <p:cNvPr id="7656" name="Vrije vorm: vorm 7655">
                  <a:extLst>
                    <a:ext uri="{FF2B5EF4-FFF2-40B4-BE49-F238E27FC236}">
                      <a16:creationId xmlns:a16="http://schemas.microsoft.com/office/drawing/2014/main" id="{EB886A4B-B9D7-400F-B5D4-95E28EB56137}"/>
                    </a:ext>
                  </a:extLst>
                </p:cNvPr>
                <p:cNvSpPr/>
                <p:nvPr/>
              </p:nvSpPr>
              <p:spPr>
                <a:xfrm>
                  <a:off x="5812085" y="5278385"/>
                  <a:ext cx="2691" cy="4784"/>
                </a:xfrm>
                <a:custGeom>
                  <a:avLst/>
                  <a:gdLst>
                    <a:gd name="connsiteX0" fmla="*/ 239 w 2691"/>
                    <a:gd name="connsiteY0" fmla="*/ 4785 h 4784"/>
                    <a:gd name="connsiteX1" fmla="*/ 60 w 2691"/>
                    <a:gd name="connsiteY1" fmla="*/ 4605 h 4784"/>
                    <a:gd name="connsiteX2" fmla="*/ 0 w 2691"/>
                    <a:gd name="connsiteY2" fmla="*/ 4306 h 4784"/>
                    <a:gd name="connsiteX3" fmla="*/ 0 w 2691"/>
                    <a:gd name="connsiteY3" fmla="*/ 3828 h 4784"/>
                    <a:gd name="connsiteX4" fmla="*/ 120 w 2691"/>
                    <a:gd name="connsiteY4" fmla="*/ 3289 h 4784"/>
                    <a:gd name="connsiteX5" fmla="*/ 299 w 2691"/>
                    <a:gd name="connsiteY5" fmla="*/ 2691 h 4784"/>
                    <a:gd name="connsiteX6" fmla="*/ 598 w 2691"/>
                    <a:gd name="connsiteY6" fmla="*/ 2034 h 4784"/>
                    <a:gd name="connsiteX7" fmla="*/ 957 w 2691"/>
                    <a:gd name="connsiteY7" fmla="*/ 1435 h 4784"/>
                    <a:gd name="connsiteX8" fmla="*/ 1316 w 2691"/>
                    <a:gd name="connsiteY8" fmla="*/ 897 h 4784"/>
                    <a:gd name="connsiteX9" fmla="*/ 1735 w 2691"/>
                    <a:gd name="connsiteY9" fmla="*/ 479 h 4784"/>
                    <a:gd name="connsiteX10" fmla="*/ 2093 w 2691"/>
                    <a:gd name="connsiteY10" fmla="*/ 180 h 4784"/>
                    <a:gd name="connsiteX11" fmla="*/ 2452 w 2691"/>
                    <a:gd name="connsiteY11" fmla="*/ 0 h 4784"/>
                    <a:gd name="connsiteX12" fmla="*/ 2691 w 2691"/>
                    <a:gd name="connsiteY12" fmla="*/ 0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1" h="4784">
                      <a:moveTo>
                        <a:pt x="239" y="4785"/>
                      </a:moveTo>
                      <a:lnTo>
                        <a:pt x="60" y="4605"/>
                      </a:lnTo>
                      <a:lnTo>
                        <a:pt x="0" y="4306"/>
                      </a:lnTo>
                      <a:lnTo>
                        <a:pt x="0" y="3828"/>
                      </a:lnTo>
                      <a:lnTo>
                        <a:pt x="120" y="3289"/>
                      </a:lnTo>
                      <a:lnTo>
                        <a:pt x="299" y="2691"/>
                      </a:lnTo>
                      <a:lnTo>
                        <a:pt x="598" y="2034"/>
                      </a:lnTo>
                      <a:lnTo>
                        <a:pt x="957" y="1435"/>
                      </a:lnTo>
                      <a:lnTo>
                        <a:pt x="1316" y="897"/>
                      </a:lnTo>
                      <a:lnTo>
                        <a:pt x="1735" y="479"/>
                      </a:lnTo>
                      <a:lnTo>
                        <a:pt x="2093" y="180"/>
                      </a:lnTo>
                      <a:lnTo>
                        <a:pt x="2452" y="0"/>
                      </a:lnTo>
                      <a:lnTo>
                        <a:pt x="2691" y="0"/>
                      </a:lnTo>
                    </a:path>
                  </a:pathLst>
                </a:custGeom>
                <a:noFill/>
                <a:ln w="6350" cap="flat">
                  <a:solidFill>
                    <a:schemeClr val="bg1">
                      <a:alpha val="80000"/>
                    </a:schemeClr>
                  </a:solidFill>
                  <a:prstDash val="solid"/>
                  <a:miter/>
                </a:ln>
              </p:spPr>
              <p:txBody>
                <a:bodyPr rtlCol="0" anchor="ctr"/>
                <a:lstStyle/>
                <a:p>
                  <a:endParaRPr lang="en-GB"/>
                </a:p>
              </p:txBody>
            </p:sp>
            <p:sp>
              <p:nvSpPr>
                <p:cNvPr id="7657" name="Vrije vorm: vorm 7656">
                  <a:extLst>
                    <a:ext uri="{FF2B5EF4-FFF2-40B4-BE49-F238E27FC236}">
                      <a16:creationId xmlns:a16="http://schemas.microsoft.com/office/drawing/2014/main" id="{4D62171C-3770-4F4D-8E71-B2A9BCA8B7DD}"/>
                    </a:ext>
                  </a:extLst>
                </p:cNvPr>
                <p:cNvSpPr/>
                <p:nvPr/>
              </p:nvSpPr>
              <p:spPr>
                <a:xfrm>
                  <a:off x="5792110" y="5347822"/>
                  <a:ext cx="3887" cy="4844"/>
                </a:xfrm>
                <a:custGeom>
                  <a:avLst/>
                  <a:gdLst>
                    <a:gd name="connsiteX0" fmla="*/ 1076 w 3887"/>
                    <a:gd name="connsiteY0" fmla="*/ 4545 h 4844"/>
                    <a:gd name="connsiteX1" fmla="*/ 957 w 3887"/>
                    <a:gd name="connsiteY1" fmla="*/ 4306 h 4844"/>
                    <a:gd name="connsiteX2" fmla="*/ 957 w 3887"/>
                    <a:gd name="connsiteY2" fmla="*/ 3887 h 4844"/>
                    <a:gd name="connsiteX3" fmla="*/ 1076 w 3887"/>
                    <a:gd name="connsiteY3" fmla="*/ 3409 h 4844"/>
                    <a:gd name="connsiteX4" fmla="*/ 1076 w 3887"/>
                    <a:gd name="connsiteY4" fmla="*/ 3409 h 4844"/>
                    <a:gd name="connsiteX5" fmla="*/ 1256 w 3887"/>
                    <a:gd name="connsiteY5" fmla="*/ 2811 h 4844"/>
                    <a:gd name="connsiteX6" fmla="*/ 1555 w 3887"/>
                    <a:gd name="connsiteY6" fmla="*/ 2213 h 4844"/>
                    <a:gd name="connsiteX7" fmla="*/ 1914 w 3887"/>
                    <a:gd name="connsiteY7" fmla="*/ 1615 h 4844"/>
                    <a:gd name="connsiteX8" fmla="*/ 2273 w 3887"/>
                    <a:gd name="connsiteY8" fmla="*/ 1076 h 4844"/>
                    <a:gd name="connsiteX9" fmla="*/ 2632 w 3887"/>
                    <a:gd name="connsiteY9" fmla="*/ 598 h 4844"/>
                    <a:gd name="connsiteX10" fmla="*/ 2691 w 3887"/>
                    <a:gd name="connsiteY10" fmla="*/ 538 h 4844"/>
                    <a:gd name="connsiteX11" fmla="*/ 2990 w 3887"/>
                    <a:gd name="connsiteY11" fmla="*/ 239 h 4844"/>
                    <a:gd name="connsiteX12" fmla="*/ 3349 w 3887"/>
                    <a:gd name="connsiteY12" fmla="*/ 60 h 4844"/>
                    <a:gd name="connsiteX13" fmla="*/ 3588 w 3887"/>
                    <a:gd name="connsiteY13" fmla="*/ 0 h 4844"/>
                    <a:gd name="connsiteX14" fmla="*/ 3768 w 3887"/>
                    <a:gd name="connsiteY14" fmla="*/ 119 h 4844"/>
                    <a:gd name="connsiteX15" fmla="*/ 3887 w 3887"/>
                    <a:gd name="connsiteY15" fmla="*/ 418 h 4844"/>
                    <a:gd name="connsiteX16" fmla="*/ 3887 w 3887"/>
                    <a:gd name="connsiteY16" fmla="*/ 837 h 4844"/>
                    <a:gd name="connsiteX17" fmla="*/ 3828 w 3887"/>
                    <a:gd name="connsiteY17" fmla="*/ 1196 h 4844"/>
                    <a:gd name="connsiteX18" fmla="*/ 3768 w 3887"/>
                    <a:gd name="connsiteY18" fmla="*/ 1375 h 4844"/>
                    <a:gd name="connsiteX19" fmla="*/ 3588 w 3887"/>
                    <a:gd name="connsiteY19" fmla="*/ 1973 h 4844"/>
                    <a:gd name="connsiteX20" fmla="*/ 3289 w 3887"/>
                    <a:gd name="connsiteY20" fmla="*/ 2572 h 4844"/>
                    <a:gd name="connsiteX21" fmla="*/ 2930 w 3887"/>
                    <a:gd name="connsiteY21" fmla="*/ 3170 h 4844"/>
                    <a:gd name="connsiteX22" fmla="*/ 2572 w 3887"/>
                    <a:gd name="connsiteY22" fmla="*/ 3708 h 4844"/>
                    <a:gd name="connsiteX23" fmla="*/ 2213 w 3887"/>
                    <a:gd name="connsiteY23" fmla="*/ 4186 h 4844"/>
                    <a:gd name="connsiteX24" fmla="*/ 1854 w 3887"/>
                    <a:gd name="connsiteY24" fmla="*/ 4545 h 4844"/>
                    <a:gd name="connsiteX25" fmla="*/ 1674 w 3887"/>
                    <a:gd name="connsiteY25" fmla="*/ 4665 h 4844"/>
                    <a:gd name="connsiteX26" fmla="*/ 1495 w 3887"/>
                    <a:gd name="connsiteY26" fmla="*/ 4785 h 4844"/>
                    <a:gd name="connsiteX27" fmla="*/ 1196 w 3887"/>
                    <a:gd name="connsiteY27" fmla="*/ 4844 h 4844"/>
                    <a:gd name="connsiteX28" fmla="*/ 1076 w 3887"/>
                    <a:gd name="connsiteY28" fmla="*/ 4545 h 4844"/>
                    <a:gd name="connsiteX29" fmla="*/ 0 w 3887"/>
                    <a:gd name="connsiteY29" fmla="*/ 3827 h 4844"/>
                    <a:gd name="connsiteX30" fmla="*/ 0 w 3887"/>
                    <a:gd name="connsiteY30" fmla="*/ 3827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887" h="4844">
                      <a:moveTo>
                        <a:pt x="1076" y="4545"/>
                      </a:moveTo>
                      <a:lnTo>
                        <a:pt x="957" y="4306"/>
                      </a:lnTo>
                      <a:lnTo>
                        <a:pt x="957" y="3887"/>
                      </a:lnTo>
                      <a:lnTo>
                        <a:pt x="1076" y="3409"/>
                      </a:lnTo>
                      <a:lnTo>
                        <a:pt x="1076" y="3409"/>
                      </a:lnTo>
                      <a:lnTo>
                        <a:pt x="1256" y="2811"/>
                      </a:lnTo>
                      <a:lnTo>
                        <a:pt x="1555" y="2213"/>
                      </a:lnTo>
                      <a:lnTo>
                        <a:pt x="1914" y="1615"/>
                      </a:lnTo>
                      <a:lnTo>
                        <a:pt x="2273" y="1076"/>
                      </a:lnTo>
                      <a:lnTo>
                        <a:pt x="2632" y="598"/>
                      </a:lnTo>
                      <a:lnTo>
                        <a:pt x="2691" y="538"/>
                      </a:lnTo>
                      <a:lnTo>
                        <a:pt x="2990" y="239"/>
                      </a:lnTo>
                      <a:lnTo>
                        <a:pt x="3349" y="60"/>
                      </a:lnTo>
                      <a:lnTo>
                        <a:pt x="3588" y="0"/>
                      </a:lnTo>
                      <a:lnTo>
                        <a:pt x="3768" y="119"/>
                      </a:lnTo>
                      <a:lnTo>
                        <a:pt x="3887" y="418"/>
                      </a:lnTo>
                      <a:lnTo>
                        <a:pt x="3887" y="837"/>
                      </a:lnTo>
                      <a:lnTo>
                        <a:pt x="3828" y="1196"/>
                      </a:lnTo>
                      <a:lnTo>
                        <a:pt x="3768" y="1375"/>
                      </a:lnTo>
                      <a:lnTo>
                        <a:pt x="3588" y="1973"/>
                      </a:lnTo>
                      <a:lnTo>
                        <a:pt x="3289" y="2572"/>
                      </a:lnTo>
                      <a:lnTo>
                        <a:pt x="2930" y="3170"/>
                      </a:lnTo>
                      <a:lnTo>
                        <a:pt x="2572" y="3708"/>
                      </a:lnTo>
                      <a:lnTo>
                        <a:pt x="2213" y="4186"/>
                      </a:lnTo>
                      <a:lnTo>
                        <a:pt x="1854" y="4545"/>
                      </a:lnTo>
                      <a:lnTo>
                        <a:pt x="1674" y="4665"/>
                      </a:lnTo>
                      <a:lnTo>
                        <a:pt x="1495" y="4785"/>
                      </a:lnTo>
                      <a:lnTo>
                        <a:pt x="1196" y="4844"/>
                      </a:lnTo>
                      <a:lnTo>
                        <a:pt x="1076" y="4545"/>
                      </a:lnTo>
                      <a:lnTo>
                        <a:pt x="0" y="3827"/>
                      </a:lnTo>
                      <a:lnTo>
                        <a:pt x="0" y="3827"/>
                      </a:lnTo>
                    </a:path>
                  </a:pathLst>
                </a:custGeom>
                <a:noFill/>
                <a:ln w="6350" cap="flat">
                  <a:solidFill>
                    <a:schemeClr val="bg1">
                      <a:alpha val="80000"/>
                    </a:schemeClr>
                  </a:solidFill>
                  <a:prstDash val="solid"/>
                  <a:miter/>
                </a:ln>
              </p:spPr>
              <p:txBody>
                <a:bodyPr rtlCol="0" anchor="ctr"/>
                <a:lstStyle/>
                <a:p>
                  <a:endParaRPr lang="en-GB"/>
                </a:p>
              </p:txBody>
            </p:sp>
            <p:sp>
              <p:nvSpPr>
                <p:cNvPr id="7658" name="Vrije vorm: vorm 7657">
                  <a:extLst>
                    <a:ext uri="{FF2B5EF4-FFF2-40B4-BE49-F238E27FC236}">
                      <a16:creationId xmlns:a16="http://schemas.microsoft.com/office/drawing/2014/main" id="{4EA609CA-2BF7-4709-81F0-83AA8F2CAA43}"/>
                    </a:ext>
                  </a:extLst>
                </p:cNvPr>
                <p:cNvSpPr/>
                <p:nvPr/>
              </p:nvSpPr>
              <p:spPr>
                <a:xfrm>
                  <a:off x="5791990" y="5347104"/>
                  <a:ext cx="2811" cy="4545"/>
                </a:xfrm>
                <a:custGeom>
                  <a:avLst/>
                  <a:gdLst>
                    <a:gd name="connsiteX0" fmla="*/ 120 w 2811"/>
                    <a:gd name="connsiteY0" fmla="*/ 4545 h 4545"/>
                    <a:gd name="connsiteX1" fmla="*/ 0 w 2811"/>
                    <a:gd name="connsiteY1" fmla="*/ 4306 h 4545"/>
                    <a:gd name="connsiteX2" fmla="*/ 0 w 2811"/>
                    <a:gd name="connsiteY2" fmla="*/ 3888 h 4545"/>
                    <a:gd name="connsiteX3" fmla="*/ 60 w 2811"/>
                    <a:gd name="connsiteY3" fmla="*/ 3469 h 4545"/>
                    <a:gd name="connsiteX4" fmla="*/ 60 w 2811"/>
                    <a:gd name="connsiteY4" fmla="*/ 3349 h 4545"/>
                    <a:gd name="connsiteX5" fmla="*/ 239 w 2811"/>
                    <a:gd name="connsiteY5" fmla="*/ 2751 h 4545"/>
                    <a:gd name="connsiteX6" fmla="*/ 538 w 2811"/>
                    <a:gd name="connsiteY6" fmla="*/ 2153 h 4545"/>
                    <a:gd name="connsiteX7" fmla="*/ 897 w 2811"/>
                    <a:gd name="connsiteY7" fmla="*/ 1555 h 4545"/>
                    <a:gd name="connsiteX8" fmla="*/ 1256 w 2811"/>
                    <a:gd name="connsiteY8" fmla="*/ 1017 h 4545"/>
                    <a:gd name="connsiteX9" fmla="*/ 1615 w 2811"/>
                    <a:gd name="connsiteY9" fmla="*/ 538 h 4545"/>
                    <a:gd name="connsiteX10" fmla="*/ 1974 w 2811"/>
                    <a:gd name="connsiteY10" fmla="*/ 239 h 4545"/>
                    <a:gd name="connsiteX11" fmla="*/ 2034 w 2811"/>
                    <a:gd name="connsiteY11" fmla="*/ 239 h 4545"/>
                    <a:gd name="connsiteX12" fmla="*/ 2392 w 2811"/>
                    <a:gd name="connsiteY12" fmla="*/ 60 h 4545"/>
                    <a:gd name="connsiteX13" fmla="*/ 2632 w 2811"/>
                    <a:gd name="connsiteY13" fmla="*/ 0 h 4545"/>
                    <a:gd name="connsiteX14" fmla="*/ 2811 w 2811"/>
                    <a:gd name="connsiteY14" fmla="*/ 120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1" h="4545">
                      <a:moveTo>
                        <a:pt x="120" y="4545"/>
                      </a:moveTo>
                      <a:lnTo>
                        <a:pt x="0" y="4306"/>
                      </a:lnTo>
                      <a:lnTo>
                        <a:pt x="0" y="3888"/>
                      </a:lnTo>
                      <a:lnTo>
                        <a:pt x="60" y="3469"/>
                      </a:lnTo>
                      <a:lnTo>
                        <a:pt x="60" y="3349"/>
                      </a:lnTo>
                      <a:lnTo>
                        <a:pt x="239" y="2751"/>
                      </a:lnTo>
                      <a:lnTo>
                        <a:pt x="538" y="2153"/>
                      </a:lnTo>
                      <a:lnTo>
                        <a:pt x="897" y="1555"/>
                      </a:lnTo>
                      <a:lnTo>
                        <a:pt x="1256" y="1017"/>
                      </a:lnTo>
                      <a:lnTo>
                        <a:pt x="1615" y="538"/>
                      </a:lnTo>
                      <a:lnTo>
                        <a:pt x="1974" y="239"/>
                      </a:lnTo>
                      <a:lnTo>
                        <a:pt x="2034" y="239"/>
                      </a:lnTo>
                      <a:lnTo>
                        <a:pt x="2392" y="60"/>
                      </a:lnTo>
                      <a:lnTo>
                        <a:pt x="2632" y="0"/>
                      </a:lnTo>
                      <a:lnTo>
                        <a:pt x="2811" y="120"/>
                      </a:lnTo>
                    </a:path>
                  </a:pathLst>
                </a:custGeom>
                <a:noFill/>
                <a:ln w="6350" cap="flat">
                  <a:solidFill>
                    <a:schemeClr val="bg1">
                      <a:alpha val="80000"/>
                    </a:schemeClr>
                  </a:solidFill>
                  <a:prstDash val="solid"/>
                  <a:miter/>
                </a:ln>
              </p:spPr>
              <p:txBody>
                <a:bodyPr rtlCol="0" anchor="ctr"/>
                <a:lstStyle/>
                <a:p>
                  <a:endParaRPr lang="en-GB"/>
                </a:p>
              </p:txBody>
            </p:sp>
            <p:sp>
              <p:nvSpPr>
                <p:cNvPr id="7659" name="Vrije vorm: vorm 7658">
                  <a:extLst>
                    <a:ext uri="{FF2B5EF4-FFF2-40B4-BE49-F238E27FC236}">
                      <a16:creationId xmlns:a16="http://schemas.microsoft.com/office/drawing/2014/main" id="{403364D1-0558-4375-A645-C03132B7123B}"/>
                    </a:ext>
                  </a:extLst>
                </p:cNvPr>
                <p:cNvSpPr/>
                <p:nvPr/>
              </p:nvSpPr>
              <p:spPr>
                <a:xfrm>
                  <a:off x="5815913" y="5316004"/>
                  <a:ext cx="3648" cy="5263"/>
                </a:xfrm>
                <a:custGeom>
                  <a:avLst/>
                  <a:gdLst>
                    <a:gd name="connsiteX0" fmla="*/ 2273 w 3648"/>
                    <a:gd name="connsiteY0" fmla="*/ 0 h 5263"/>
                    <a:gd name="connsiteX1" fmla="*/ 3409 w 3648"/>
                    <a:gd name="connsiteY1" fmla="*/ 658 h 5263"/>
                    <a:gd name="connsiteX2" fmla="*/ 3529 w 3648"/>
                    <a:gd name="connsiteY2" fmla="*/ 718 h 5263"/>
                    <a:gd name="connsiteX3" fmla="*/ 3589 w 3648"/>
                    <a:gd name="connsiteY3" fmla="*/ 778 h 5263"/>
                    <a:gd name="connsiteX4" fmla="*/ 3648 w 3648"/>
                    <a:gd name="connsiteY4" fmla="*/ 1076 h 5263"/>
                    <a:gd name="connsiteX5" fmla="*/ 3648 w 3648"/>
                    <a:gd name="connsiteY5" fmla="*/ 1495 h 5263"/>
                    <a:gd name="connsiteX6" fmla="*/ 3589 w 3648"/>
                    <a:gd name="connsiteY6" fmla="*/ 1674 h 5263"/>
                    <a:gd name="connsiteX7" fmla="*/ 3529 w 3648"/>
                    <a:gd name="connsiteY7" fmla="*/ 2033 h 5263"/>
                    <a:gd name="connsiteX8" fmla="*/ 3349 w 3648"/>
                    <a:gd name="connsiteY8" fmla="*/ 2632 h 5263"/>
                    <a:gd name="connsiteX9" fmla="*/ 3050 w 3648"/>
                    <a:gd name="connsiteY9" fmla="*/ 3229 h 5263"/>
                    <a:gd name="connsiteX10" fmla="*/ 2751 w 3648"/>
                    <a:gd name="connsiteY10" fmla="*/ 3827 h 5263"/>
                    <a:gd name="connsiteX11" fmla="*/ 2392 w 3648"/>
                    <a:gd name="connsiteY11" fmla="*/ 4366 h 5263"/>
                    <a:gd name="connsiteX12" fmla="*/ 2034 w 3648"/>
                    <a:gd name="connsiteY12" fmla="*/ 4785 h 5263"/>
                    <a:gd name="connsiteX13" fmla="*/ 1735 w 3648"/>
                    <a:gd name="connsiteY13" fmla="*/ 5024 h 5263"/>
                    <a:gd name="connsiteX14" fmla="*/ 1675 w 3648"/>
                    <a:gd name="connsiteY14" fmla="*/ 5083 h 5263"/>
                    <a:gd name="connsiteX15" fmla="*/ 1375 w 3648"/>
                    <a:gd name="connsiteY15" fmla="*/ 5263 h 5263"/>
                    <a:gd name="connsiteX16" fmla="*/ 1136 w 3648"/>
                    <a:gd name="connsiteY16" fmla="*/ 5263 h 5263"/>
                    <a:gd name="connsiteX17" fmla="*/ 0 w 3648"/>
                    <a:gd name="connsiteY17" fmla="*/ 4605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48" h="5263">
                      <a:moveTo>
                        <a:pt x="2273" y="0"/>
                      </a:moveTo>
                      <a:lnTo>
                        <a:pt x="3409" y="658"/>
                      </a:lnTo>
                      <a:lnTo>
                        <a:pt x="3529" y="718"/>
                      </a:lnTo>
                      <a:lnTo>
                        <a:pt x="3589" y="778"/>
                      </a:lnTo>
                      <a:lnTo>
                        <a:pt x="3648" y="1076"/>
                      </a:lnTo>
                      <a:lnTo>
                        <a:pt x="3648" y="1495"/>
                      </a:lnTo>
                      <a:lnTo>
                        <a:pt x="3589" y="1674"/>
                      </a:lnTo>
                      <a:lnTo>
                        <a:pt x="3529" y="2033"/>
                      </a:lnTo>
                      <a:lnTo>
                        <a:pt x="3349" y="2632"/>
                      </a:lnTo>
                      <a:lnTo>
                        <a:pt x="3050" y="3229"/>
                      </a:lnTo>
                      <a:lnTo>
                        <a:pt x="2751" y="3827"/>
                      </a:lnTo>
                      <a:lnTo>
                        <a:pt x="2392" y="4366"/>
                      </a:lnTo>
                      <a:lnTo>
                        <a:pt x="2034" y="4785"/>
                      </a:lnTo>
                      <a:lnTo>
                        <a:pt x="1735" y="5024"/>
                      </a:lnTo>
                      <a:lnTo>
                        <a:pt x="1675" y="5083"/>
                      </a:lnTo>
                      <a:lnTo>
                        <a:pt x="1375" y="5263"/>
                      </a:lnTo>
                      <a:lnTo>
                        <a:pt x="1136" y="5263"/>
                      </a:lnTo>
                      <a:lnTo>
                        <a:pt x="0" y="4605"/>
                      </a:lnTo>
                    </a:path>
                  </a:pathLst>
                </a:custGeom>
                <a:noFill/>
                <a:ln w="6350" cap="flat">
                  <a:solidFill>
                    <a:schemeClr val="bg1">
                      <a:alpha val="80000"/>
                    </a:schemeClr>
                  </a:solidFill>
                  <a:prstDash val="solid"/>
                  <a:miter/>
                </a:ln>
              </p:spPr>
              <p:txBody>
                <a:bodyPr rtlCol="0" anchor="ctr"/>
                <a:lstStyle/>
                <a:p>
                  <a:endParaRPr lang="en-GB"/>
                </a:p>
              </p:txBody>
            </p:sp>
            <p:sp>
              <p:nvSpPr>
                <p:cNvPr id="7660" name="Vrije vorm: vorm 7659">
                  <a:extLst>
                    <a:ext uri="{FF2B5EF4-FFF2-40B4-BE49-F238E27FC236}">
                      <a16:creationId xmlns:a16="http://schemas.microsoft.com/office/drawing/2014/main" id="{FF7E5F7D-A094-47F3-9F5C-6C3F5CAD773B}"/>
                    </a:ext>
                  </a:extLst>
                </p:cNvPr>
                <p:cNvSpPr/>
                <p:nvPr/>
              </p:nvSpPr>
              <p:spPr>
                <a:xfrm>
                  <a:off x="5796595" y="5332930"/>
                  <a:ext cx="29544" cy="50597"/>
                </a:xfrm>
                <a:custGeom>
                  <a:avLst/>
                  <a:gdLst>
                    <a:gd name="connsiteX0" fmla="*/ 0 w 29544"/>
                    <a:gd name="connsiteY0" fmla="*/ 50238 h 50597"/>
                    <a:gd name="connsiteX1" fmla="*/ 718 w 29544"/>
                    <a:gd name="connsiteY1" fmla="*/ 50597 h 50597"/>
                    <a:gd name="connsiteX2" fmla="*/ 3648 w 29544"/>
                    <a:gd name="connsiteY2" fmla="*/ 49939 h 50597"/>
                    <a:gd name="connsiteX3" fmla="*/ 6579 w 29544"/>
                    <a:gd name="connsiteY3" fmla="*/ 48025 h 50597"/>
                    <a:gd name="connsiteX4" fmla="*/ 7236 w 29544"/>
                    <a:gd name="connsiteY4" fmla="*/ 47607 h 50597"/>
                    <a:gd name="connsiteX5" fmla="*/ 9928 w 29544"/>
                    <a:gd name="connsiteY5" fmla="*/ 44975 h 50597"/>
                    <a:gd name="connsiteX6" fmla="*/ 11184 w 29544"/>
                    <a:gd name="connsiteY6" fmla="*/ 43719 h 50597"/>
                    <a:gd name="connsiteX7" fmla="*/ 13636 w 29544"/>
                    <a:gd name="connsiteY7" fmla="*/ 40729 h 50597"/>
                    <a:gd name="connsiteX8" fmla="*/ 15311 w 29544"/>
                    <a:gd name="connsiteY8" fmla="*/ 38636 h 50597"/>
                    <a:gd name="connsiteX9" fmla="*/ 17464 w 29544"/>
                    <a:gd name="connsiteY9" fmla="*/ 35346 h 50597"/>
                    <a:gd name="connsiteX10" fmla="*/ 19258 w 29544"/>
                    <a:gd name="connsiteY10" fmla="*/ 32655 h 50597"/>
                    <a:gd name="connsiteX11" fmla="*/ 21172 w 29544"/>
                    <a:gd name="connsiteY11" fmla="*/ 29186 h 50597"/>
                    <a:gd name="connsiteX12" fmla="*/ 22846 w 29544"/>
                    <a:gd name="connsiteY12" fmla="*/ 26196 h 50597"/>
                    <a:gd name="connsiteX13" fmla="*/ 24461 w 29544"/>
                    <a:gd name="connsiteY13" fmla="*/ 22607 h 50597"/>
                    <a:gd name="connsiteX14" fmla="*/ 25837 w 29544"/>
                    <a:gd name="connsiteY14" fmla="*/ 19677 h 50597"/>
                    <a:gd name="connsiteX15" fmla="*/ 27152 w 29544"/>
                    <a:gd name="connsiteY15" fmla="*/ 15969 h 50597"/>
                    <a:gd name="connsiteX16" fmla="*/ 28050 w 29544"/>
                    <a:gd name="connsiteY16" fmla="*/ 13457 h 50597"/>
                    <a:gd name="connsiteX17" fmla="*/ 28887 w 29544"/>
                    <a:gd name="connsiteY17" fmla="*/ 9689 h 50597"/>
                    <a:gd name="connsiteX18" fmla="*/ 29305 w 29544"/>
                    <a:gd name="connsiteY18" fmla="*/ 7895 h 50597"/>
                    <a:gd name="connsiteX19" fmla="*/ 29485 w 29544"/>
                    <a:gd name="connsiteY19" fmla="*/ 4246 h 50597"/>
                    <a:gd name="connsiteX20" fmla="*/ 29545 w 29544"/>
                    <a:gd name="connsiteY20" fmla="*/ 3469 h 50597"/>
                    <a:gd name="connsiteX21" fmla="*/ 28707 w 29544"/>
                    <a:gd name="connsiteY21" fmla="*/ 419 h 50597"/>
                    <a:gd name="connsiteX22" fmla="*/ 28169 w 29544"/>
                    <a:gd name="connsiteY22" fmla="*/ 0 h 50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544" h="50597">
                      <a:moveTo>
                        <a:pt x="0" y="50238"/>
                      </a:moveTo>
                      <a:lnTo>
                        <a:pt x="718" y="50597"/>
                      </a:lnTo>
                      <a:lnTo>
                        <a:pt x="3648" y="49939"/>
                      </a:lnTo>
                      <a:lnTo>
                        <a:pt x="6579" y="48025"/>
                      </a:lnTo>
                      <a:lnTo>
                        <a:pt x="7236" y="47607"/>
                      </a:lnTo>
                      <a:lnTo>
                        <a:pt x="9928" y="44975"/>
                      </a:lnTo>
                      <a:lnTo>
                        <a:pt x="11184" y="43719"/>
                      </a:lnTo>
                      <a:lnTo>
                        <a:pt x="13636" y="40729"/>
                      </a:lnTo>
                      <a:lnTo>
                        <a:pt x="15311" y="38636"/>
                      </a:lnTo>
                      <a:lnTo>
                        <a:pt x="17464" y="35346"/>
                      </a:lnTo>
                      <a:lnTo>
                        <a:pt x="19258" y="32655"/>
                      </a:lnTo>
                      <a:lnTo>
                        <a:pt x="21172" y="29186"/>
                      </a:lnTo>
                      <a:lnTo>
                        <a:pt x="22846" y="26196"/>
                      </a:lnTo>
                      <a:lnTo>
                        <a:pt x="24461" y="22607"/>
                      </a:lnTo>
                      <a:lnTo>
                        <a:pt x="25837" y="19677"/>
                      </a:lnTo>
                      <a:lnTo>
                        <a:pt x="27152" y="15969"/>
                      </a:lnTo>
                      <a:lnTo>
                        <a:pt x="28050" y="13457"/>
                      </a:lnTo>
                      <a:lnTo>
                        <a:pt x="28887" y="9689"/>
                      </a:lnTo>
                      <a:lnTo>
                        <a:pt x="29305" y="7895"/>
                      </a:lnTo>
                      <a:lnTo>
                        <a:pt x="29485" y="4246"/>
                      </a:lnTo>
                      <a:lnTo>
                        <a:pt x="29545" y="3469"/>
                      </a:lnTo>
                      <a:lnTo>
                        <a:pt x="28707" y="419"/>
                      </a:lnTo>
                      <a:lnTo>
                        <a:pt x="28169" y="0"/>
                      </a:lnTo>
                    </a:path>
                  </a:pathLst>
                </a:custGeom>
                <a:noFill/>
                <a:ln w="6350" cap="flat">
                  <a:solidFill>
                    <a:schemeClr val="bg1">
                      <a:alpha val="80000"/>
                    </a:schemeClr>
                  </a:solidFill>
                  <a:prstDash val="solid"/>
                  <a:miter/>
                </a:ln>
              </p:spPr>
              <p:txBody>
                <a:bodyPr rtlCol="0" anchor="ctr"/>
                <a:lstStyle/>
                <a:p>
                  <a:endParaRPr lang="en-GB"/>
                </a:p>
              </p:txBody>
            </p:sp>
            <p:sp>
              <p:nvSpPr>
                <p:cNvPr id="7661" name="Vrije vorm: vorm 7660">
                  <a:extLst>
                    <a:ext uri="{FF2B5EF4-FFF2-40B4-BE49-F238E27FC236}">
                      <a16:creationId xmlns:a16="http://schemas.microsoft.com/office/drawing/2014/main" id="{10368E3F-7BD4-404E-BCCE-1D5D619A8960}"/>
                    </a:ext>
                  </a:extLst>
                </p:cNvPr>
                <p:cNvSpPr/>
                <p:nvPr/>
              </p:nvSpPr>
              <p:spPr>
                <a:xfrm>
                  <a:off x="5792289" y="5162479"/>
                  <a:ext cx="7057" cy="28289"/>
                </a:xfrm>
                <a:custGeom>
                  <a:avLst/>
                  <a:gdLst>
                    <a:gd name="connsiteX0" fmla="*/ 5323 w 7057"/>
                    <a:gd name="connsiteY0" fmla="*/ 0 h 28289"/>
                    <a:gd name="connsiteX1" fmla="*/ 6100 w 7057"/>
                    <a:gd name="connsiteY1" fmla="*/ 1017 h 28289"/>
                    <a:gd name="connsiteX2" fmla="*/ 6220 w 7057"/>
                    <a:gd name="connsiteY2" fmla="*/ 1136 h 28289"/>
                    <a:gd name="connsiteX3" fmla="*/ 6340 w 7057"/>
                    <a:gd name="connsiteY3" fmla="*/ 1675 h 28289"/>
                    <a:gd name="connsiteX4" fmla="*/ 7057 w 7057"/>
                    <a:gd name="connsiteY4" fmla="*/ 4545 h 28289"/>
                    <a:gd name="connsiteX5" fmla="*/ 6998 w 7057"/>
                    <a:gd name="connsiteY5" fmla="*/ 6758 h 28289"/>
                    <a:gd name="connsiteX6" fmla="*/ 6938 w 7057"/>
                    <a:gd name="connsiteY6" fmla="*/ 8971 h 28289"/>
                    <a:gd name="connsiteX7" fmla="*/ 6818 w 7057"/>
                    <a:gd name="connsiteY7" fmla="*/ 9510 h 28289"/>
                    <a:gd name="connsiteX8" fmla="*/ 6519 w 7057"/>
                    <a:gd name="connsiteY8" fmla="*/ 11124 h 28289"/>
                    <a:gd name="connsiteX9" fmla="*/ 6160 w 7057"/>
                    <a:gd name="connsiteY9" fmla="*/ 13038 h 28289"/>
                    <a:gd name="connsiteX10" fmla="*/ 6041 w 7057"/>
                    <a:gd name="connsiteY10" fmla="*/ 13696 h 28289"/>
                    <a:gd name="connsiteX11" fmla="*/ 6041 w 7057"/>
                    <a:gd name="connsiteY11" fmla="*/ 13696 h 28289"/>
                    <a:gd name="connsiteX12" fmla="*/ 5981 w 7057"/>
                    <a:gd name="connsiteY12" fmla="*/ 14115 h 28289"/>
                    <a:gd name="connsiteX13" fmla="*/ 5323 w 7057"/>
                    <a:gd name="connsiteY13" fmla="*/ 16268 h 28289"/>
                    <a:gd name="connsiteX14" fmla="*/ 4904 w 7057"/>
                    <a:gd name="connsiteY14" fmla="*/ 17643 h 28289"/>
                    <a:gd name="connsiteX15" fmla="*/ 4306 w 7057"/>
                    <a:gd name="connsiteY15" fmla="*/ 19557 h 28289"/>
                    <a:gd name="connsiteX16" fmla="*/ 4127 w 7057"/>
                    <a:gd name="connsiteY16" fmla="*/ 20036 h 28289"/>
                    <a:gd name="connsiteX17" fmla="*/ 2512 w 7057"/>
                    <a:gd name="connsiteY17" fmla="*/ 23624 h 28289"/>
                    <a:gd name="connsiteX18" fmla="*/ 2452 w 7057"/>
                    <a:gd name="connsiteY18" fmla="*/ 23744 h 28289"/>
                    <a:gd name="connsiteX19" fmla="*/ 1914 w 7057"/>
                    <a:gd name="connsiteY19" fmla="*/ 24940 h 28289"/>
                    <a:gd name="connsiteX20" fmla="*/ 0 w 7057"/>
                    <a:gd name="connsiteY20" fmla="*/ 28289 h 2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57" h="28289">
                      <a:moveTo>
                        <a:pt x="5323" y="0"/>
                      </a:moveTo>
                      <a:lnTo>
                        <a:pt x="6100" y="1017"/>
                      </a:lnTo>
                      <a:lnTo>
                        <a:pt x="6220" y="1136"/>
                      </a:lnTo>
                      <a:lnTo>
                        <a:pt x="6340" y="1675"/>
                      </a:lnTo>
                      <a:lnTo>
                        <a:pt x="7057" y="4545"/>
                      </a:lnTo>
                      <a:lnTo>
                        <a:pt x="6998" y="6758"/>
                      </a:lnTo>
                      <a:lnTo>
                        <a:pt x="6938" y="8971"/>
                      </a:lnTo>
                      <a:lnTo>
                        <a:pt x="6818" y="9510"/>
                      </a:lnTo>
                      <a:lnTo>
                        <a:pt x="6519" y="11124"/>
                      </a:lnTo>
                      <a:lnTo>
                        <a:pt x="6160" y="13038"/>
                      </a:lnTo>
                      <a:lnTo>
                        <a:pt x="6041" y="13696"/>
                      </a:lnTo>
                      <a:lnTo>
                        <a:pt x="6041" y="13696"/>
                      </a:lnTo>
                      <a:lnTo>
                        <a:pt x="5981" y="14115"/>
                      </a:lnTo>
                      <a:lnTo>
                        <a:pt x="5323" y="16268"/>
                      </a:lnTo>
                      <a:lnTo>
                        <a:pt x="4904" y="17643"/>
                      </a:lnTo>
                      <a:lnTo>
                        <a:pt x="4306" y="19557"/>
                      </a:lnTo>
                      <a:lnTo>
                        <a:pt x="4127" y="20036"/>
                      </a:lnTo>
                      <a:lnTo>
                        <a:pt x="2512" y="23624"/>
                      </a:lnTo>
                      <a:lnTo>
                        <a:pt x="2452" y="23744"/>
                      </a:lnTo>
                      <a:lnTo>
                        <a:pt x="1914" y="24940"/>
                      </a:lnTo>
                      <a:lnTo>
                        <a:pt x="0" y="28289"/>
                      </a:lnTo>
                    </a:path>
                  </a:pathLst>
                </a:custGeom>
                <a:noFill/>
                <a:ln w="6350" cap="flat">
                  <a:solidFill>
                    <a:schemeClr val="bg1">
                      <a:alpha val="80000"/>
                    </a:schemeClr>
                  </a:solidFill>
                  <a:prstDash val="solid"/>
                  <a:miter/>
                </a:ln>
              </p:spPr>
              <p:txBody>
                <a:bodyPr rtlCol="0" anchor="ctr"/>
                <a:lstStyle/>
                <a:p>
                  <a:endParaRPr lang="en-GB"/>
                </a:p>
              </p:txBody>
            </p:sp>
            <p:sp>
              <p:nvSpPr>
                <p:cNvPr id="7662" name="Vrije vorm: vorm 7661">
                  <a:extLst>
                    <a:ext uri="{FF2B5EF4-FFF2-40B4-BE49-F238E27FC236}">
                      <a16:creationId xmlns:a16="http://schemas.microsoft.com/office/drawing/2014/main" id="{5C2D9458-F88C-4491-92B7-103158F0541E}"/>
                    </a:ext>
                  </a:extLst>
                </p:cNvPr>
                <p:cNvSpPr/>
                <p:nvPr/>
              </p:nvSpPr>
              <p:spPr>
                <a:xfrm>
                  <a:off x="5785112" y="5189153"/>
                  <a:ext cx="4305" cy="7834"/>
                </a:xfrm>
                <a:custGeom>
                  <a:avLst/>
                  <a:gdLst>
                    <a:gd name="connsiteX0" fmla="*/ 4306 w 4305"/>
                    <a:gd name="connsiteY0" fmla="*/ 120 h 7834"/>
                    <a:gd name="connsiteX1" fmla="*/ 3887 w 4305"/>
                    <a:gd name="connsiteY1" fmla="*/ 0 h 7834"/>
                    <a:gd name="connsiteX2" fmla="*/ 3349 w 4305"/>
                    <a:gd name="connsiteY2" fmla="*/ 180 h 7834"/>
                    <a:gd name="connsiteX3" fmla="*/ 2751 w 4305"/>
                    <a:gd name="connsiteY3" fmla="*/ 598 h 7834"/>
                    <a:gd name="connsiteX4" fmla="*/ 2093 w 4305"/>
                    <a:gd name="connsiteY4" fmla="*/ 1256 h 7834"/>
                    <a:gd name="connsiteX5" fmla="*/ 1615 w 4305"/>
                    <a:gd name="connsiteY5" fmla="*/ 1914 h 7834"/>
                    <a:gd name="connsiteX6" fmla="*/ 1495 w 4305"/>
                    <a:gd name="connsiteY6" fmla="*/ 2034 h 7834"/>
                    <a:gd name="connsiteX7" fmla="*/ 1495 w 4305"/>
                    <a:gd name="connsiteY7" fmla="*/ 2034 h 7834"/>
                    <a:gd name="connsiteX8" fmla="*/ 1435 w 4305"/>
                    <a:gd name="connsiteY8" fmla="*/ 2093 h 7834"/>
                    <a:gd name="connsiteX9" fmla="*/ 897 w 4305"/>
                    <a:gd name="connsiteY9" fmla="*/ 3050 h 7834"/>
                    <a:gd name="connsiteX10" fmla="*/ 478 w 4305"/>
                    <a:gd name="connsiteY10" fmla="*/ 4067 h 7834"/>
                    <a:gd name="connsiteX11" fmla="*/ 418 w 4305"/>
                    <a:gd name="connsiteY11" fmla="*/ 4366 h 7834"/>
                    <a:gd name="connsiteX12" fmla="*/ 418 w 4305"/>
                    <a:gd name="connsiteY12" fmla="*/ 4366 h 7834"/>
                    <a:gd name="connsiteX13" fmla="*/ 179 w 4305"/>
                    <a:gd name="connsiteY13" fmla="*/ 5083 h 7834"/>
                    <a:gd name="connsiteX14" fmla="*/ 119 w 4305"/>
                    <a:gd name="connsiteY14" fmla="*/ 5502 h 7834"/>
                    <a:gd name="connsiteX15" fmla="*/ 0 w 4305"/>
                    <a:gd name="connsiteY15" fmla="*/ 6041 h 7834"/>
                    <a:gd name="connsiteX16" fmla="*/ 0 w 4305"/>
                    <a:gd name="connsiteY16" fmla="*/ 6100 h 7834"/>
                    <a:gd name="connsiteX17" fmla="*/ 0 w 4305"/>
                    <a:gd name="connsiteY17" fmla="*/ 6758 h 7834"/>
                    <a:gd name="connsiteX18" fmla="*/ 0 w 4305"/>
                    <a:gd name="connsiteY18" fmla="*/ 6878 h 7834"/>
                    <a:gd name="connsiteX19" fmla="*/ 179 w 4305"/>
                    <a:gd name="connsiteY19" fmla="*/ 7476 h 7834"/>
                    <a:gd name="connsiteX20" fmla="*/ 478 w 4305"/>
                    <a:gd name="connsiteY20" fmla="*/ 7835 h 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05" h="7834">
                      <a:moveTo>
                        <a:pt x="4306" y="120"/>
                      </a:moveTo>
                      <a:lnTo>
                        <a:pt x="3887" y="0"/>
                      </a:lnTo>
                      <a:lnTo>
                        <a:pt x="3349" y="180"/>
                      </a:lnTo>
                      <a:lnTo>
                        <a:pt x="2751" y="598"/>
                      </a:lnTo>
                      <a:lnTo>
                        <a:pt x="2093" y="1256"/>
                      </a:lnTo>
                      <a:lnTo>
                        <a:pt x="1615" y="1914"/>
                      </a:lnTo>
                      <a:lnTo>
                        <a:pt x="1495" y="2034"/>
                      </a:lnTo>
                      <a:lnTo>
                        <a:pt x="1495" y="2034"/>
                      </a:lnTo>
                      <a:lnTo>
                        <a:pt x="1435" y="2093"/>
                      </a:lnTo>
                      <a:lnTo>
                        <a:pt x="897" y="3050"/>
                      </a:lnTo>
                      <a:lnTo>
                        <a:pt x="478" y="4067"/>
                      </a:lnTo>
                      <a:lnTo>
                        <a:pt x="418" y="4366"/>
                      </a:lnTo>
                      <a:lnTo>
                        <a:pt x="418" y="4366"/>
                      </a:lnTo>
                      <a:lnTo>
                        <a:pt x="179" y="5083"/>
                      </a:lnTo>
                      <a:lnTo>
                        <a:pt x="119" y="5502"/>
                      </a:lnTo>
                      <a:lnTo>
                        <a:pt x="0" y="6041"/>
                      </a:lnTo>
                      <a:lnTo>
                        <a:pt x="0" y="6100"/>
                      </a:lnTo>
                      <a:lnTo>
                        <a:pt x="0" y="6758"/>
                      </a:lnTo>
                      <a:lnTo>
                        <a:pt x="0" y="6878"/>
                      </a:lnTo>
                      <a:lnTo>
                        <a:pt x="179" y="7476"/>
                      </a:lnTo>
                      <a:lnTo>
                        <a:pt x="478" y="7835"/>
                      </a:lnTo>
                    </a:path>
                  </a:pathLst>
                </a:custGeom>
                <a:noFill/>
                <a:ln w="6350" cap="flat">
                  <a:solidFill>
                    <a:schemeClr val="bg1">
                      <a:alpha val="80000"/>
                    </a:schemeClr>
                  </a:solidFill>
                  <a:prstDash val="solid"/>
                  <a:miter/>
                </a:ln>
              </p:spPr>
              <p:txBody>
                <a:bodyPr rtlCol="0" anchor="ctr"/>
                <a:lstStyle/>
                <a:p>
                  <a:endParaRPr lang="en-GB"/>
                </a:p>
              </p:txBody>
            </p:sp>
            <p:sp>
              <p:nvSpPr>
                <p:cNvPr id="7663" name="Vrije vorm: vorm 7662">
                  <a:extLst>
                    <a:ext uri="{FF2B5EF4-FFF2-40B4-BE49-F238E27FC236}">
                      <a16:creationId xmlns:a16="http://schemas.microsoft.com/office/drawing/2014/main" id="{4251FD64-EC7A-4F39-8B0B-297B5646E29F}"/>
                    </a:ext>
                  </a:extLst>
                </p:cNvPr>
                <p:cNvSpPr/>
                <p:nvPr/>
              </p:nvSpPr>
              <p:spPr>
                <a:xfrm>
                  <a:off x="5778234" y="5197646"/>
                  <a:ext cx="9090" cy="5980"/>
                </a:xfrm>
                <a:custGeom>
                  <a:avLst/>
                  <a:gdLst>
                    <a:gd name="connsiteX0" fmla="*/ 9091 w 9090"/>
                    <a:gd name="connsiteY0" fmla="*/ 0 h 5980"/>
                    <a:gd name="connsiteX1" fmla="*/ 8493 w 9090"/>
                    <a:gd name="connsiteY1" fmla="*/ 598 h 5980"/>
                    <a:gd name="connsiteX2" fmla="*/ 6280 w 9090"/>
                    <a:gd name="connsiteY2" fmla="*/ 2811 h 5980"/>
                    <a:gd name="connsiteX3" fmla="*/ 5801 w 9090"/>
                    <a:gd name="connsiteY3" fmla="*/ 3110 h 5980"/>
                    <a:gd name="connsiteX4" fmla="*/ 3947 w 9090"/>
                    <a:gd name="connsiteY4" fmla="*/ 4426 h 5980"/>
                    <a:gd name="connsiteX5" fmla="*/ 2930 w 9090"/>
                    <a:gd name="connsiteY5" fmla="*/ 5084 h 5980"/>
                    <a:gd name="connsiteX6" fmla="*/ 0 w 9090"/>
                    <a:gd name="connsiteY6" fmla="*/ 5981 h 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0" h="5980">
                      <a:moveTo>
                        <a:pt x="9091" y="0"/>
                      </a:moveTo>
                      <a:lnTo>
                        <a:pt x="8493" y="598"/>
                      </a:lnTo>
                      <a:lnTo>
                        <a:pt x="6280" y="2811"/>
                      </a:lnTo>
                      <a:lnTo>
                        <a:pt x="5801" y="3110"/>
                      </a:lnTo>
                      <a:lnTo>
                        <a:pt x="3947" y="4426"/>
                      </a:lnTo>
                      <a:lnTo>
                        <a:pt x="2930" y="5084"/>
                      </a:lnTo>
                      <a:lnTo>
                        <a:pt x="0" y="5981"/>
                      </a:lnTo>
                    </a:path>
                  </a:pathLst>
                </a:custGeom>
                <a:noFill/>
                <a:ln w="6350" cap="flat">
                  <a:solidFill>
                    <a:schemeClr val="bg1">
                      <a:alpha val="80000"/>
                    </a:schemeClr>
                  </a:solidFill>
                  <a:prstDash val="solid"/>
                  <a:miter/>
                </a:ln>
              </p:spPr>
              <p:txBody>
                <a:bodyPr rtlCol="0" anchor="ctr"/>
                <a:lstStyle/>
                <a:p>
                  <a:endParaRPr lang="en-GB"/>
                </a:p>
              </p:txBody>
            </p:sp>
            <p:sp>
              <p:nvSpPr>
                <p:cNvPr id="7664" name="Vrije vorm: vorm 7663">
                  <a:extLst>
                    <a:ext uri="{FF2B5EF4-FFF2-40B4-BE49-F238E27FC236}">
                      <a16:creationId xmlns:a16="http://schemas.microsoft.com/office/drawing/2014/main" id="{F5663E55-8BE6-4221-A62B-1009643E9DAB}"/>
                    </a:ext>
                  </a:extLst>
                </p:cNvPr>
                <p:cNvSpPr/>
                <p:nvPr/>
              </p:nvSpPr>
              <p:spPr>
                <a:xfrm>
                  <a:off x="5784574" y="5179524"/>
                  <a:ext cx="3468" cy="5621"/>
                </a:xfrm>
                <a:custGeom>
                  <a:avLst/>
                  <a:gdLst>
                    <a:gd name="connsiteX0" fmla="*/ 299 w 3468"/>
                    <a:gd name="connsiteY0" fmla="*/ 5562 h 5621"/>
                    <a:gd name="connsiteX1" fmla="*/ 419 w 3468"/>
                    <a:gd name="connsiteY1" fmla="*/ 5562 h 5621"/>
                    <a:gd name="connsiteX2" fmla="*/ 658 w 3468"/>
                    <a:gd name="connsiteY2" fmla="*/ 5622 h 5621"/>
                    <a:gd name="connsiteX3" fmla="*/ 1076 w 3468"/>
                    <a:gd name="connsiteY3" fmla="*/ 5502 h 5621"/>
                    <a:gd name="connsiteX4" fmla="*/ 1495 w 3468"/>
                    <a:gd name="connsiteY4" fmla="*/ 5203 h 5621"/>
                    <a:gd name="connsiteX5" fmla="*/ 1974 w 3468"/>
                    <a:gd name="connsiteY5" fmla="*/ 4725 h 5621"/>
                    <a:gd name="connsiteX6" fmla="*/ 2392 w 3468"/>
                    <a:gd name="connsiteY6" fmla="*/ 4127 h 5621"/>
                    <a:gd name="connsiteX7" fmla="*/ 2811 w 3468"/>
                    <a:gd name="connsiteY7" fmla="*/ 3469 h 5621"/>
                    <a:gd name="connsiteX8" fmla="*/ 3110 w 3468"/>
                    <a:gd name="connsiteY8" fmla="*/ 2751 h 5621"/>
                    <a:gd name="connsiteX9" fmla="*/ 3349 w 3468"/>
                    <a:gd name="connsiteY9" fmla="*/ 2033 h 5621"/>
                    <a:gd name="connsiteX10" fmla="*/ 3469 w 3468"/>
                    <a:gd name="connsiteY10" fmla="*/ 1375 h 5621"/>
                    <a:gd name="connsiteX11" fmla="*/ 3469 w 3468"/>
                    <a:gd name="connsiteY11" fmla="*/ 1076 h 5621"/>
                    <a:gd name="connsiteX12" fmla="*/ 3469 w 3468"/>
                    <a:gd name="connsiteY12" fmla="*/ 778 h 5621"/>
                    <a:gd name="connsiteX13" fmla="*/ 3349 w 3468"/>
                    <a:gd name="connsiteY13" fmla="*/ 359 h 5621"/>
                    <a:gd name="connsiteX14" fmla="*/ 3110 w 3468"/>
                    <a:gd name="connsiteY14" fmla="*/ 60 h 5621"/>
                    <a:gd name="connsiteX15" fmla="*/ 3050 w 3468"/>
                    <a:gd name="connsiteY15" fmla="*/ 60 h 5621"/>
                    <a:gd name="connsiteX16" fmla="*/ 2751 w 3468"/>
                    <a:gd name="connsiteY16" fmla="*/ 0 h 5621"/>
                    <a:gd name="connsiteX17" fmla="*/ 2691 w 3468"/>
                    <a:gd name="connsiteY17" fmla="*/ 0 h 5621"/>
                    <a:gd name="connsiteX18" fmla="*/ 2333 w 3468"/>
                    <a:gd name="connsiteY18" fmla="*/ 119 h 5621"/>
                    <a:gd name="connsiteX19" fmla="*/ 2093 w 3468"/>
                    <a:gd name="connsiteY19" fmla="*/ 239 h 5621"/>
                    <a:gd name="connsiteX20" fmla="*/ 1854 w 3468"/>
                    <a:gd name="connsiteY20" fmla="*/ 359 h 5621"/>
                    <a:gd name="connsiteX21" fmla="*/ 1375 w 3468"/>
                    <a:gd name="connsiteY21" fmla="*/ 837 h 5621"/>
                    <a:gd name="connsiteX22" fmla="*/ 957 w 3468"/>
                    <a:gd name="connsiteY22" fmla="*/ 1435 h 5621"/>
                    <a:gd name="connsiteX23" fmla="*/ 538 w 3468"/>
                    <a:gd name="connsiteY23" fmla="*/ 2093 h 5621"/>
                    <a:gd name="connsiteX24" fmla="*/ 239 w 3468"/>
                    <a:gd name="connsiteY24" fmla="*/ 2811 h 5621"/>
                    <a:gd name="connsiteX25" fmla="*/ 0 w 3468"/>
                    <a:gd name="connsiteY25" fmla="*/ 3528 h 5621"/>
                    <a:gd name="connsiteX26" fmla="*/ 0 w 3468"/>
                    <a:gd name="connsiteY26" fmla="*/ 4246 h 5621"/>
                    <a:gd name="connsiteX27" fmla="*/ 0 w 3468"/>
                    <a:gd name="connsiteY27" fmla="*/ 4785 h 5621"/>
                    <a:gd name="connsiteX28" fmla="*/ 0 w 3468"/>
                    <a:gd name="connsiteY28" fmla="*/ 4785 h 5621"/>
                    <a:gd name="connsiteX29" fmla="*/ 120 w 3468"/>
                    <a:gd name="connsiteY29" fmla="*/ 5203 h 5621"/>
                    <a:gd name="connsiteX30" fmla="*/ 299 w 3468"/>
                    <a:gd name="connsiteY30" fmla="*/ 5562 h 5621"/>
                    <a:gd name="connsiteX31" fmla="*/ 299 w 3468"/>
                    <a:gd name="connsiteY31" fmla="*/ 5562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68" h="5621">
                      <a:moveTo>
                        <a:pt x="299" y="5562"/>
                      </a:moveTo>
                      <a:lnTo>
                        <a:pt x="419" y="5562"/>
                      </a:lnTo>
                      <a:lnTo>
                        <a:pt x="658" y="5622"/>
                      </a:lnTo>
                      <a:lnTo>
                        <a:pt x="1076" y="5502"/>
                      </a:lnTo>
                      <a:lnTo>
                        <a:pt x="1495" y="5203"/>
                      </a:lnTo>
                      <a:lnTo>
                        <a:pt x="1974" y="4725"/>
                      </a:lnTo>
                      <a:lnTo>
                        <a:pt x="2392" y="4127"/>
                      </a:lnTo>
                      <a:lnTo>
                        <a:pt x="2811" y="3469"/>
                      </a:lnTo>
                      <a:lnTo>
                        <a:pt x="3110" y="2751"/>
                      </a:lnTo>
                      <a:lnTo>
                        <a:pt x="3349" y="2033"/>
                      </a:lnTo>
                      <a:lnTo>
                        <a:pt x="3469" y="1375"/>
                      </a:lnTo>
                      <a:lnTo>
                        <a:pt x="3469" y="1076"/>
                      </a:lnTo>
                      <a:lnTo>
                        <a:pt x="3469" y="778"/>
                      </a:lnTo>
                      <a:lnTo>
                        <a:pt x="3349" y="359"/>
                      </a:lnTo>
                      <a:lnTo>
                        <a:pt x="3110" y="60"/>
                      </a:lnTo>
                      <a:lnTo>
                        <a:pt x="3050" y="60"/>
                      </a:lnTo>
                      <a:lnTo>
                        <a:pt x="2751" y="0"/>
                      </a:lnTo>
                      <a:lnTo>
                        <a:pt x="2691" y="0"/>
                      </a:lnTo>
                      <a:lnTo>
                        <a:pt x="2333" y="119"/>
                      </a:lnTo>
                      <a:lnTo>
                        <a:pt x="2093" y="239"/>
                      </a:lnTo>
                      <a:lnTo>
                        <a:pt x="1854" y="359"/>
                      </a:lnTo>
                      <a:lnTo>
                        <a:pt x="1375" y="837"/>
                      </a:lnTo>
                      <a:lnTo>
                        <a:pt x="957" y="1435"/>
                      </a:lnTo>
                      <a:lnTo>
                        <a:pt x="538" y="2093"/>
                      </a:lnTo>
                      <a:lnTo>
                        <a:pt x="239" y="2811"/>
                      </a:lnTo>
                      <a:lnTo>
                        <a:pt x="0" y="3528"/>
                      </a:lnTo>
                      <a:lnTo>
                        <a:pt x="0" y="4246"/>
                      </a:lnTo>
                      <a:lnTo>
                        <a:pt x="0" y="4785"/>
                      </a:lnTo>
                      <a:lnTo>
                        <a:pt x="0" y="4785"/>
                      </a:lnTo>
                      <a:lnTo>
                        <a:pt x="120" y="5203"/>
                      </a:lnTo>
                      <a:lnTo>
                        <a:pt x="299" y="5562"/>
                      </a:lnTo>
                      <a:lnTo>
                        <a:pt x="299" y="5562"/>
                      </a:lnTo>
                    </a:path>
                  </a:pathLst>
                </a:custGeom>
                <a:noFill/>
                <a:ln w="6350" cap="flat">
                  <a:solidFill>
                    <a:schemeClr val="bg1">
                      <a:alpha val="80000"/>
                    </a:schemeClr>
                  </a:solidFill>
                  <a:prstDash val="solid"/>
                  <a:miter/>
                </a:ln>
              </p:spPr>
              <p:txBody>
                <a:bodyPr rtlCol="0" anchor="ctr"/>
                <a:lstStyle/>
                <a:p>
                  <a:endParaRPr lang="en-GB"/>
                </a:p>
              </p:txBody>
            </p:sp>
            <p:sp>
              <p:nvSpPr>
                <p:cNvPr id="7665" name="Vrije vorm: vorm 7664">
                  <a:extLst>
                    <a:ext uri="{FF2B5EF4-FFF2-40B4-BE49-F238E27FC236}">
                      <a16:creationId xmlns:a16="http://schemas.microsoft.com/office/drawing/2014/main" id="{50086485-80C5-4694-B667-76CA426E0E4B}"/>
                    </a:ext>
                  </a:extLst>
                </p:cNvPr>
                <p:cNvSpPr/>
                <p:nvPr/>
              </p:nvSpPr>
              <p:spPr>
                <a:xfrm>
                  <a:off x="5726441" y="5221329"/>
                  <a:ext cx="6219" cy="12738"/>
                </a:xfrm>
                <a:custGeom>
                  <a:avLst/>
                  <a:gdLst>
                    <a:gd name="connsiteX0" fmla="*/ 6220 w 6219"/>
                    <a:gd name="connsiteY0" fmla="*/ 12739 h 12738"/>
                    <a:gd name="connsiteX1" fmla="*/ 4067 w 6219"/>
                    <a:gd name="connsiteY1" fmla="*/ 11543 h 12738"/>
                    <a:gd name="connsiteX2" fmla="*/ 2512 w 6219"/>
                    <a:gd name="connsiteY2" fmla="*/ 8971 h 12738"/>
                    <a:gd name="connsiteX3" fmla="*/ 957 w 6219"/>
                    <a:gd name="connsiteY3" fmla="*/ 6399 h 12738"/>
                    <a:gd name="connsiteX4" fmla="*/ 0 w 6219"/>
                    <a:gd name="connsiteY4" fmla="*/ 4785 h 12738"/>
                    <a:gd name="connsiteX5" fmla="*/ 2332 w 6219"/>
                    <a:gd name="connsiteY5" fmla="*/ 1674 h 12738"/>
                    <a:gd name="connsiteX6" fmla="*/ 3588 w 6219"/>
                    <a:gd name="connsiteY6" fmla="*/ 0 h 1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9" h="12738">
                      <a:moveTo>
                        <a:pt x="6220" y="12739"/>
                      </a:moveTo>
                      <a:lnTo>
                        <a:pt x="4067" y="11543"/>
                      </a:lnTo>
                      <a:lnTo>
                        <a:pt x="2512" y="8971"/>
                      </a:lnTo>
                      <a:lnTo>
                        <a:pt x="957" y="6399"/>
                      </a:lnTo>
                      <a:lnTo>
                        <a:pt x="0" y="4785"/>
                      </a:lnTo>
                      <a:lnTo>
                        <a:pt x="2332" y="1674"/>
                      </a:lnTo>
                      <a:lnTo>
                        <a:pt x="3588" y="0"/>
                      </a:lnTo>
                    </a:path>
                  </a:pathLst>
                </a:custGeom>
                <a:noFill/>
                <a:ln w="6350" cap="flat">
                  <a:solidFill>
                    <a:schemeClr val="bg1">
                      <a:alpha val="80000"/>
                    </a:schemeClr>
                  </a:solidFill>
                  <a:prstDash val="solid"/>
                  <a:miter/>
                </a:ln>
              </p:spPr>
              <p:txBody>
                <a:bodyPr rtlCol="0" anchor="ctr"/>
                <a:lstStyle/>
                <a:p>
                  <a:endParaRPr lang="en-GB"/>
                </a:p>
              </p:txBody>
            </p:sp>
            <p:sp>
              <p:nvSpPr>
                <p:cNvPr id="7666" name="Vrije vorm: vorm 7665">
                  <a:extLst>
                    <a:ext uri="{FF2B5EF4-FFF2-40B4-BE49-F238E27FC236}">
                      <a16:creationId xmlns:a16="http://schemas.microsoft.com/office/drawing/2014/main" id="{0E1FEE58-2358-4FCA-995E-C64EA15B8D8D}"/>
                    </a:ext>
                  </a:extLst>
                </p:cNvPr>
                <p:cNvSpPr/>
                <p:nvPr/>
              </p:nvSpPr>
              <p:spPr>
                <a:xfrm>
                  <a:off x="5726561" y="5226114"/>
                  <a:ext cx="5143" cy="2751"/>
                </a:xfrm>
                <a:custGeom>
                  <a:avLst/>
                  <a:gdLst>
                    <a:gd name="connsiteX0" fmla="*/ 0 w 5143"/>
                    <a:gd name="connsiteY0" fmla="*/ 0 h 2751"/>
                    <a:gd name="connsiteX1" fmla="*/ 2452 w 5143"/>
                    <a:gd name="connsiteY1" fmla="*/ 1316 h 2751"/>
                    <a:gd name="connsiteX2" fmla="*/ 4904 w 5143"/>
                    <a:gd name="connsiteY2" fmla="*/ 2632 h 2751"/>
                    <a:gd name="connsiteX3" fmla="*/ 5143 w 5143"/>
                    <a:gd name="connsiteY3" fmla="*/ 2751 h 2751"/>
                  </a:gdLst>
                  <a:ahLst/>
                  <a:cxnLst>
                    <a:cxn ang="0">
                      <a:pos x="connsiteX0" y="connsiteY0"/>
                    </a:cxn>
                    <a:cxn ang="0">
                      <a:pos x="connsiteX1" y="connsiteY1"/>
                    </a:cxn>
                    <a:cxn ang="0">
                      <a:pos x="connsiteX2" y="connsiteY2"/>
                    </a:cxn>
                    <a:cxn ang="0">
                      <a:pos x="connsiteX3" y="connsiteY3"/>
                    </a:cxn>
                  </a:cxnLst>
                  <a:rect l="l" t="t" r="r" b="b"/>
                  <a:pathLst>
                    <a:path w="5143" h="2751">
                      <a:moveTo>
                        <a:pt x="0" y="0"/>
                      </a:moveTo>
                      <a:lnTo>
                        <a:pt x="2452" y="1316"/>
                      </a:lnTo>
                      <a:lnTo>
                        <a:pt x="4904" y="2632"/>
                      </a:lnTo>
                      <a:lnTo>
                        <a:pt x="5143" y="2751"/>
                      </a:lnTo>
                    </a:path>
                  </a:pathLst>
                </a:custGeom>
                <a:noFill/>
                <a:ln w="6350" cap="flat">
                  <a:solidFill>
                    <a:schemeClr val="bg1">
                      <a:alpha val="80000"/>
                    </a:schemeClr>
                  </a:solidFill>
                  <a:prstDash val="solid"/>
                  <a:miter/>
                </a:ln>
              </p:spPr>
              <p:txBody>
                <a:bodyPr rtlCol="0" anchor="ctr"/>
                <a:lstStyle/>
                <a:p>
                  <a:endParaRPr lang="en-GB"/>
                </a:p>
              </p:txBody>
            </p:sp>
            <p:sp>
              <p:nvSpPr>
                <p:cNvPr id="7667" name="Vrije vorm: vorm 7666">
                  <a:extLst>
                    <a:ext uri="{FF2B5EF4-FFF2-40B4-BE49-F238E27FC236}">
                      <a16:creationId xmlns:a16="http://schemas.microsoft.com/office/drawing/2014/main" id="{E471D4E7-4774-47E3-A0F8-E5300BB43DED}"/>
                    </a:ext>
                  </a:extLst>
                </p:cNvPr>
                <p:cNvSpPr/>
                <p:nvPr/>
              </p:nvSpPr>
              <p:spPr>
                <a:xfrm>
                  <a:off x="5783856" y="5168221"/>
                  <a:ext cx="6040" cy="8014"/>
                </a:xfrm>
                <a:custGeom>
                  <a:avLst/>
                  <a:gdLst>
                    <a:gd name="connsiteX0" fmla="*/ 0 w 6040"/>
                    <a:gd name="connsiteY0" fmla="*/ 7117 h 8014"/>
                    <a:gd name="connsiteX1" fmla="*/ 1734 w 6040"/>
                    <a:gd name="connsiteY1" fmla="*/ 7895 h 8014"/>
                    <a:gd name="connsiteX2" fmla="*/ 2033 w 6040"/>
                    <a:gd name="connsiteY2" fmla="*/ 7954 h 8014"/>
                    <a:gd name="connsiteX3" fmla="*/ 2213 w 6040"/>
                    <a:gd name="connsiteY3" fmla="*/ 8014 h 8014"/>
                    <a:gd name="connsiteX4" fmla="*/ 2751 w 6040"/>
                    <a:gd name="connsiteY4" fmla="*/ 7895 h 8014"/>
                    <a:gd name="connsiteX5" fmla="*/ 3349 w 6040"/>
                    <a:gd name="connsiteY5" fmla="*/ 7476 h 8014"/>
                    <a:gd name="connsiteX6" fmla="*/ 3528 w 6040"/>
                    <a:gd name="connsiteY6" fmla="*/ 7296 h 8014"/>
                    <a:gd name="connsiteX7" fmla="*/ 4007 w 6040"/>
                    <a:gd name="connsiteY7" fmla="*/ 6818 h 8014"/>
                    <a:gd name="connsiteX8" fmla="*/ 4605 w 6040"/>
                    <a:gd name="connsiteY8" fmla="*/ 5981 h 8014"/>
                    <a:gd name="connsiteX9" fmla="*/ 5143 w 6040"/>
                    <a:gd name="connsiteY9" fmla="*/ 5024 h 8014"/>
                    <a:gd name="connsiteX10" fmla="*/ 5502 w 6040"/>
                    <a:gd name="connsiteY10" fmla="*/ 4187 h 8014"/>
                    <a:gd name="connsiteX11" fmla="*/ 5562 w 6040"/>
                    <a:gd name="connsiteY11" fmla="*/ 4007 h 8014"/>
                    <a:gd name="connsiteX12" fmla="*/ 5861 w 6040"/>
                    <a:gd name="connsiteY12" fmla="*/ 2990 h 8014"/>
                    <a:gd name="connsiteX13" fmla="*/ 6041 w 6040"/>
                    <a:gd name="connsiteY13" fmla="*/ 2034 h 8014"/>
                    <a:gd name="connsiteX14" fmla="*/ 6041 w 6040"/>
                    <a:gd name="connsiteY14" fmla="*/ 1196 h 8014"/>
                    <a:gd name="connsiteX15" fmla="*/ 5861 w 6040"/>
                    <a:gd name="connsiteY15" fmla="*/ 538 h 8014"/>
                    <a:gd name="connsiteX16" fmla="*/ 5562 w 6040"/>
                    <a:gd name="connsiteY16" fmla="*/ 120 h 8014"/>
                    <a:gd name="connsiteX17" fmla="*/ 5083 w 6040"/>
                    <a:gd name="connsiteY17" fmla="*/ 0 h 8014"/>
                    <a:gd name="connsiteX18" fmla="*/ 5024 w 6040"/>
                    <a:gd name="connsiteY18" fmla="*/ 0 h 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40" h="8014">
                      <a:moveTo>
                        <a:pt x="0" y="7117"/>
                      </a:moveTo>
                      <a:lnTo>
                        <a:pt x="1734" y="7895"/>
                      </a:lnTo>
                      <a:lnTo>
                        <a:pt x="2033" y="7954"/>
                      </a:lnTo>
                      <a:lnTo>
                        <a:pt x="2213" y="8014"/>
                      </a:lnTo>
                      <a:lnTo>
                        <a:pt x="2751" y="7895"/>
                      </a:lnTo>
                      <a:lnTo>
                        <a:pt x="3349" y="7476"/>
                      </a:lnTo>
                      <a:lnTo>
                        <a:pt x="3528" y="7296"/>
                      </a:lnTo>
                      <a:lnTo>
                        <a:pt x="4007" y="6818"/>
                      </a:lnTo>
                      <a:lnTo>
                        <a:pt x="4605" y="5981"/>
                      </a:lnTo>
                      <a:lnTo>
                        <a:pt x="5143" y="5024"/>
                      </a:lnTo>
                      <a:lnTo>
                        <a:pt x="5502" y="4187"/>
                      </a:lnTo>
                      <a:lnTo>
                        <a:pt x="5562" y="4007"/>
                      </a:lnTo>
                      <a:lnTo>
                        <a:pt x="5861" y="2990"/>
                      </a:lnTo>
                      <a:lnTo>
                        <a:pt x="6041" y="2034"/>
                      </a:lnTo>
                      <a:lnTo>
                        <a:pt x="6041" y="1196"/>
                      </a:lnTo>
                      <a:lnTo>
                        <a:pt x="5861" y="538"/>
                      </a:lnTo>
                      <a:lnTo>
                        <a:pt x="5562" y="120"/>
                      </a:lnTo>
                      <a:lnTo>
                        <a:pt x="5083" y="0"/>
                      </a:lnTo>
                      <a:lnTo>
                        <a:pt x="5024" y="0"/>
                      </a:lnTo>
                    </a:path>
                  </a:pathLst>
                </a:custGeom>
                <a:noFill/>
                <a:ln w="6350" cap="flat">
                  <a:solidFill>
                    <a:schemeClr val="bg1">
                      <a:alpha val="80000"/>
                    </a:schemeClr>
                  </a:solidFill>
                  <a:prstDash val="solid"/>
                  <a:miter/>
                </a:ln>
              </p:spPr>
              <p:txBody>
                <a:bodyPr rtlCol="0" anchor="ctr"/>
                <a:lstStyle/>
                <a:p>
                  <a:endParaRPr lang="en-GB"/>
                </a:p>
              </p:txBody>
            </p:sp>
            <p:sp>
              <p:nvSpPr>
                <p:cNvPr id="7668" name="Vrije vorm: vorm 7667">
                  <a:extLst>
                    <a:ext uri="{FF2B5EF4-FFF2-40B4-BE49-F238E27FC236}">
                      <a16:creationId xmlns:a16="http://schemas.microsoft.com/office/drawing/2014/main" id="{16BF853A-2612-4CC8-9019-604089D51F88}"/>
                    </a:ext>
                  </a:extLst>
                </p:cNvPr>
                <p:cNvSpPr/>
                <p:nvPr/>
              </p:nvSpPr>
              <p:spPr>
                <a:xfrm>
                  <a:off x="5787744" y="5189273"/>
                  <a:ext cx="4784" cy="8851"/>
                </a:xfrm>
                <a:custGeom>
                  <a:avLst/>
                  <a:gdLst>
                    <a:gd name="connsiteX0" fmla="*/ 4246 w 4784"/>
                    <a:gd name="connsiteY0" fmla="*/ 1136 h 8851"/>
                    <a:gd name="connsiteX1" fmla="*/ 3827 w 4784"/>
                    <a:gd name="connsiteY1" fmla="*/ 1017 h 8851"/>
                    <a:gd name="connsiteX2" fmla="*/ 3289 w 4784"/>
                    <a:gd name="connsiteY2" fmla="*/ 1196 h 8851"/>
                    <a:gd name="connsiteX3" fmla="*/ 2691 w 4784"/>
                    <a:gd name="connsiteY3" fmla="*/ 1615 h 8851"/>
                    <a:gd name="connsiteX4" fmla="*/ 2153 w 4784"/>
                    <a:gd name="connsiteY4" fmla="*/ 2213 h 8851"/>
                    <a:gd name="connsiteX5" fmla="*/ 2093 w 4784"/>
                    <a:gd name="connsiteY5" fmla="*/ 2273 h 8851"/>
                    <a:gd name="connsiteX6" fmla="*/ 1674 w 4784"/>
                    <a:gd name="connsiteY6" fmla="*/ 2811 h 8851"/>
                    <a:gd name="connsiteX7" fmla="*/ 1495 w 4784"/>
                    <a:gd name="connsiteY7" fmla="*/ 3050 h 8851"/>
                    <a:gd name="connsiteX8" fmla="*/ 957 w 4784"/>
                    <a:gd name="connsiteY8" fmla="*/ 4007 h 8851"/>
                    <a:gd name="connsiteX9" fmla="*/ 478 w 4784"/>
                    <a:gd name="connsiteY9" fmla="*/ 5024 h 8851"/>
                    <a:gd name="connsiteX10" fmla="*/ 239 w 4784"/>
                    <a:gd name="connsiteY10" fmla="*/ 5741 h 8851"/>
                    <a:gd name="connsiteX11" fmla="*/ 119 w 4784"/>
                    <a:gd name="connsiteY11" fmla="*/ 6041 h 8851"/>
                    <a:gd name="connsiteX12" fmla="*/ 60 w 4784"/>
                    <a:gd name="connsiteY12" fmla="*/ 6519 h 8851"/>
                    <a:gd name="connsiteX13" fmla="*/ 0 w 4784"/>
                    <a:gd name="connsiteY13" fmla="*/ 6997 h 8851"/>
                    <a:gd name="connsiteX14" fmla="*/ 0 w 4784"/>
                    <a:gd name="connsiteY14" fmla="*/ 7775 h 8851"/>
                    <a:gd name="connsiteX15" fmla="*/ 179 w 4784"/>
                    <a:gd name="connsiteY15" fmla="*/ 8373 h 8851"/>
                    <a:gd name="connsiteX16" fmla="*/ 299 w 4784"/>
                    <a:gd name="connsiteY16" fmla="*/ 8552 h 8851"/>
                    <a:gd name="connsiteX17" fmla="*/ 478 w 4784"/>
                    <a:gd name="connsiteY17" fmla="*/ 8732 h 8851"/>
                    <a:gd name="connsiteX18" fmla="*/ 897 w 4784"/>
                    <a:gd name="connsiteY18" fmla="*/ 8851 h 8851"/>
                    <a:gd name="connsiteX19" fmla="*/ 1435 w 4784"/>
                    <a:gd name="connsiteY19" fmla="*/ 8672 h 8851"/>
                    <a:gd name="connsiteX20" fmla="*/ 2033 w 4784"/>
                    <a:gd name="connsiteY20" fmla="*/ 8253 h 8851"/>
                    <a:gd name="connsiteX21" fmla="*/ 2691 w 4784"/>
                    <a:gd name="connsiteY21" fmla="*/ 7595 h 8851"/>
                    <a:gd name="connsiteX22" fmla="*/ 3289 w 4784"/>
                    <a:gd name="connsiteY22" fmla="*/ 6758 h 8851"/>
                    <a:gd name="connsiteX23" fmla="*/ 3289 w 4784"/>
                    <a:gd name="connsiteY23" fmla="*/ 6698 h 8851"/>
                    <a:gd name="connsiteX24" fmla="*/ 3469 w 4784"/>
                    <a:gd name="connsiteY24" fmla="*/ 6399 h 8851"/>
                    <a:gd name="connsiteX25" fmla="*/ 3708 w 4784"/>
                    <a:gd name="connsiteY25" fmla="*/ 6041 h 8851"/>
                    <a:gd name="connsiteX26" fmla="*/ 3827 w 4784"/>
                    <a:gd name="connsiteY26" fmla="*/ 5861 h 8851"/>
                    <a:gd name="connsiteX27" fmla="*/ 3887 w 4784"/>
                    <a:gd name="connsiteY27" fmla="*/ 5801 h 8851"/>
                    <a:gd name="connsiteX28" fmla="*/ 4306 w 4784"/>
                    <a:gd name="connsiteY28" fmla="*/ 4785 h 8851"/>
                    <a:gd name="connsiteX29" fmla="*/ 4545 w 4784"/>
                    <a:gd name="connsiteY29" fmla="*/ 4007 h 8851"/>
                    <a:gd name="connsiteX30" fmla="*/ 4605 w 4784"/>
                    <a:gd name="connsiteY30" fmla="*/ 3768 h 8851"/>
                    <a:gd name="connsiteX31" fmla="*/ 4785 w 4784"/>
                    <a:gd name="connsiteY31" fmla="*/ 2871 h 8851"/>
                    <a:gd name="connsiteX32" fmla="*/ 4785 w 4784"/>
                    <a:gd name="connsiteY32" fmla="*/ 2093 h 8851"/>
                    <a:gd name="connsiteX33" fmla="*/ 4605 w 4784"/>
                    <a:gd name="connsiteY33" fmla="*/ 1495 h 8851"/>
                    <a:gd name="connsiteX34" fmla="*/ 4605 w 4784"/>
                    <a:gd name="connsiteY34" fmla="*/ 1495 h 8851"/>
                    <a:gd name="connsiteX35" fmla="*/ 4246 w 4784"/>
                    <a:gd name="connsiteY35" fmla="*/ 1136 h 8851"/>
                    <a:gd name="connsiteX36" fmla="*/ 2093 w 4784"/>
                    <a:gd name="connsiteY36" fmla="*/ 179 h 8851"/>
                    <a:gd name="connsiteX37" fmla="*/ 1674 w 4784"/>
                    <a:gd name="connsiteY37" fmla="*/ 0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784" h="8851">
                      <a:moveTo>
                        <a:pt x="4246" y="1136"/>
                      </a:moveTo>
                      <a:lnTo>
                        <a:pt x="3827" y="1017"/>
                      </a:lnTo>
                      <a:lnTo>
                        <a:pt x="3289" y="1196"/>
                      </a:lnTo>
                      <a:lnTo>
                        <a:pt x="2691" y="1615"/>
                      </a:lnTo>
                      <a:lnTo>
                        <a:pt x="2153" y="2213"/>
                      </a:lnTo>
                      <a:lnTo>
                        <a:pt x="2093" y="2273"/>
                      </a:lnTo>
                      <a:lnTo>
                        <a:pt x="1674" y="2811"/>
                      </a:lnTo>
                      <a:lnTo>
                        <a:pt x="1495" y="3050"/>
                      </a:lnTo>
                      <a:lnTo>
                        <a:pt x="957" y="4007"/>
                      </a:lnTo>
                      <a:lnTo>
                        <a:pt x="478" y="5024"/>
                      </a:lnTo>
                      <a:lnTo>
                        <a:pt x="239" y="5741"/>
                      </a:lnTo>
                      <a:lnTo>
                        <a:pt x="119" y="6041"/>
                      </a:lnTo>
                      <a:lnTo>
                        <a:pt x="60" y="6519"/>
                      </a:lnTo>
                      <a:lnTo>
                        <a:pt x="0" y="6997"/>
                      </a:lnTo>
                      <a:lnTo>
                        <a:pt x="0" y="7775"/>
                      </a:lnTo>
                      <a:lnTo>
                        <a:pt x="179" y="8373"/>
                      </a:lnTo>
                      <a:lnTo>
                        <a:pt x="299" y="8552"/>
                      </a:lnTo>
                      <a:lnTo>
                        <a:pt x="478" y="8732"/>
                      </a:lnTo>
                      <a:lnTo>
                        <a:pt x="897" y="8851"/>
                      </a:lnTo>
                      <a:lnTo>
                        <a:pt x="1435" y="8672"/>
                      </a:lnTo>
                      <a:lnTo>
                        <a:pt x="2033" y="8253"/>
                      </a:lnTo>
                      <a:lnTo>
                        <a:pt x="2691" y="7595"/>
                      </a:lnTo>
                      <a:lnTo>
                        <a:pt x="3289" y="6758"/>
                      </a:lnTo>
                      <a:lnTo>
                        <a:pt x="3289" y="6698"/>
                      </a:lnTo>
                      <a:lnTo>
                        <a:pt x="3469" y="6399"/>
                      </a:lnTo>
                      <a:lnTo>
                        <a:pt x="3708" y="6041"/>
                      </a:lnTo>
                      <a:lnTo>
                        <a:pt x="3827" y="5861"/>
                      </a:lnTo>
                      <a:lnTo>
                        <a:pt x="3887" y="5801"/>
                      </a:lnTo>
                      <a:lnTo>
                        <a:pt x="4306" y="4785"/>
                      </a:lnTo>
                      <a:lnTo>
                        <a:pt x="4545" y="4007"/>
                      </a:lnTo>
                      <a:lnTo>
                        <a:pt x="4605" y="3768"/>
                      </a:lnTo>
                      <a:lnTo>
                        <a:pt x="4785" y="2871"/>
                      </a:lnTo>
                      <a:lnTo>
                        <a:pt x="4785" y="2093"/>
                      </a:lnTo>
                      <a:lnTo>
                        <a:pt x="4605" y="1495"/>
                      </a:lnTo>
                      <a:lnTo>
                        <a:pt x="4605" y="1495"/>
                      </a:lnTo>
                      <a:lnTo>
                        <a:pt x="4246" y="1136"/>
                      </a:lnTo>
                      <a:lnTo>
                        <a:pt x="2093" y="179"/>
                      </a:lnTo>
                      <a:lnTo>
                        <a:pt x="1674" y="0"/>
                      </a:lnTo>
                    </a:path>
                  </a:pathLst>
                </a:custGeom>
                <a:noFill/>
                <a:ln w="6350" cap="flat">
                  <a:solidFill>
                    <a:schemeClr val="bg1">
                      <a:alpha val="80000"/>
                    </a:schemeClr>
                  </a:solidFill>
                  <a:prstDash val="solid"/>
                  <a:miter/>
                </a:ln>
              </p:spPr>
              <p:txBody>
                <a:bodyPr rtlCol="0" anchor="ctr"/>
                <a:lstStyle/>
                <a:p>
                  <a:endParaRPr lang="en-GB"/>
                </a:p>
              </p:txBody>
            </p:sp>
            <p:sp>
              <p:nvSpPr>
                <p:cNvPr id="7669" name="Vrije vorm: vorm 7668">
                  <a:extLst>
                    <a:ext uri="{FF2B5EF4-FFF2-40B4-BE49-F238E27FC236}">
                      <a16:creationId xmlns:a16="http://schemas.microsoft.com/office/drawing/2014/main" id="{42AFC44E-758D-4165-B3FA-4ADF325836DA}"/>
                    </a:ext>
                  </a:extLst>
                </p:cNvPr>
                <p:cNvSpPr/>
                <p:nvPr/>
              </p:nvSpPr>
              <p:spPr>
                <a:xfrm>
                  <a:off x="5789059" y="5192741"/>
                  <a:ext cx="1913" cy="2930"/>
                </a:xfrm>
                <a:custGeom>
                  <a:avLst/>
                  <a:gdLst>
                    <a:gd name="connsiteX0" fmla="*/ 1734 w 1913"/>
                    <a:gd name="connsiteY0" fmla="*/ 0 h 2930"/>
                    <a:gd name="connsiteX1" fmla="*/ 1854 w 1913"/>
                    <a:gd name="connsiteY1" fmla="*/ 120 h 2930"/>
                    <a:gd name="connsiteX2" fmla="*/ 1914 w 1913"/>
                    <a:gd name="connsiteY2" fmla="*/ 359 h 2930"/>
                    <a:gd name="connsiteX3" fmla="*/ 1914 w 1913"/>
                    <a:gd name="connsiteY3" fmla="*/ 658 h 2930"/>
                    <a:gd name="connsiteX4" fmla="*/ 1854 w 1913"/>
                    <a:gd name="connsiteY4" fmla="*/ 1017 h 2930"/>
                    <a:gd name="connsiteX5" fmla="*/ 1734 w 1913"/>
                    <a:gd name="connsiteY5" fmla="*/ 1376 h 2930"/>
                    <a:gd name="connsiteX6" fmla="*/ 1555 w 1913"/>
                    <a:gd name="connsiteY6" fmla="*/ 1795 h 2930"/>
                    <a:gd name="connsiteX7" fmla="*/ 1316 w 1913"/>
                    <a:gd name="connsiteY7" fmla="*/ 2153 h 2930"/>
                    <a:gd name="connsiteX8" fmla="*/ 1076 w 1913"/>
                    <a:gd name="connsiteY8" fmla="*/ 2452 h 2930"/>
                    <a:gd name="connsiteX9" fmla="*/ 837 w 1913"/>
                    <a:gd name="connsiteY9" fmla="*/ 2691 h 2930"/>
                    <a:gd name="connsiteX10" fmla="*/ 598 w 1913"/>
                    <a:gd name="connsiteY10" fmla="*/ 2871 h 2930"/>
                    <a:gd name="connsiteX11" fmla="*/ 359 w 1913"/>
                    <a:gd name="connsiteY11" fmla="*/ 2931 h 2930"/>
                    <a:gd name="connsiteX12" fmla="*/ 180 w 1913"/>
                    <a:gd name="connsiteY12" fmla="*/ 2871 h 2930"/>
                    <a:gd name="connsiteX13" fmla="*/ 60 w 1913"/>
                    <a:gd name="connsiteY13" fmla="*/ 2751 h 2930"/>
                    <a:gd name="connsiteX14" fmla="*/ 0 w 1913"/>
                    <a:gd name="connsiteY14" fmla="*/ 2632 h 2930"/>
                    <a:gd name="connsiteX15" fmla="*/ 0 w 1913"/>
                    <a:gd name="connsiteY15" fmla="*/ 2572 h 2930"/>
                    <a:gd name="connsiteX16" fmla="*/ 0 w 1913"/>
                    <a:gd name="connsiteY16" fmla="*/ 2273 h 2930"/>
                    <a:gd name="connsiteX17" fmla="*/ 60 w 1913"/>
                    <a:gd name="connsiteY17" fmla="*/ 1914 h 2930"/>
                    <a:gd name="connsiteX18" fmla="*/ 180 w 1913"/>
                    <a:gd name="connsiteY18" fmla="*/ 1555 h 2930"/>
                    <a:gd name="connsiteX19" fmla="*/ 359 w 1913"/>
                    <a:gd name="connsiteY19" fmla="*/ 1136 h 2930"/>
                    <a:gd name="connsiteX20" fmla="*/ 598 w 1913"/>
                    <a:gd name="connsiteY20" fmla="*/ 778 h 2930"/>
                    <a:gd name="connsiteX21" fmla="*/ 837 w 1913"/>
                    <a:gd name="connsiteY21" fmla="*/ 479 h 2930"/>
                    <a:gd name="connsiteX22" fmla="*/ 1076 w 1913"/>
                    <a:gd name="connsiteY22" fmla="*/ 239 h 2930"/>
                    <a:gd name="connsiteX23" fmla="*/ 1316 w 1913"/>
                    <a:gd name="connsiteY23" fmla="*/ 60 h 2930"/>
                    <a:gd name="connsiteX24" fmla="*/ 1555 w 1913"/>
                    <a:gd name="connsiteY24" fmla="*/ 0 h 2930"/>
                    <a:gd name="connsiteX25" fmla="*/ 1734 w 1913"/>
                    <a:gd name="connsiteY25" fmla="*/ 0 h 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13" h="2930">
                      <a:moveTo>
                        <a:pt x="1734" y="0"/>
                      </a:moveTo>
                      <a:lnTo>
                        <a:pt x="1854" y="120"/>
                      </a:lnTo>
                      <a:lnTo>
                        <a:pt x="1914" y="359"/>
                      </a:lnTo>
                      <a:lnTo>
                        <a:pt x="1914" y="658"/>
                      </a:lnTo>
                      <a:lnTo>
                        <a:pt x="1854" y="1017"/>
                      </a:lnTo>
                      <a:lnTo>
                        <a:pt x="1734" y="1376"/>
                      </a:lnTo>
                      <a:lnTo>
                        <a:pt x="1555" y="1795"/>
                      </a:lnTo>
                      <a:lnTo>
                        <a:pt x="1316" y="2153"/>
                      </a:lnTo>
                      <a:lnTo>
                        <a:pt x="1076" y="2452"/>
                      </a:lnTo>
                      <a:lnTo>
                        <a:pt x="837" y="2691"/>
                      </a:lnTo>
                      <a:lnTo>
                        <a:pt x="598" y="2871"/>
                      </a:lnTo>
                      <a:lnTo>
                        <a:pt x="359" y="2931"/>
                      </a:lnTo>
                      <a:lnTo>
                        <a:pt x="180" y="2871"/>
                      </a:lnTo>
                      <a:lnTo>
                        <a:pt x="60" y="2751"/>
                      </a:lnTo>
                      <a:lnTo>
                        <a:pt x="0" y="2632"/>
                      </a:lnTo>
                      <a:lnTo>
                        <a:pt x="0" y="2572"/>
                      </a:lnTo>
                      <a:lnTo>
                        <a:pt x="0" y="2273"/>
                      </a:lnTo>
                      <a:lnTo>
                        <a:pt x="60" y="1914"/>
                      </a:lnTo>
                      <a:lnTo>
                        <a:pt x="180" y="1555"/>
                      </a:lnTo>
                      <a:lnTo>
                        <a:pt x="359" y="1136"/>
                      </a:lnTo>
                      <a:lnTo>
                        <a:pt x="598" y="778"/>
                      </a:lnTo>
                      <a:lnTo>
                        <a:pt x="837" y="479"/>
                      </a:lnTo>
                      <a:lnTo>
                        <a:pt x="1076" y="239"/>
                      </a:lnTo>
                      <a:lnTo>
                        <a:pt x="1316" y="60"/>
                      </a:lnTo>
                      <a:lnTo>
                        <a:pt x="1555" y="0"/>
                      </a:lnTo>
                      <a:lnTo>
                        <a:pt x="1734" y="0"/>
                      </a:lnTo>
                    </a:path>
                  </a:pathLst>
                </a:custGeom>
                <a:noFill/>
                <a:ln w="6350" cap="flat">
                  <a:solidFill>
                    <a:schemeClr val="bg1">
                      <a:alpha val="80000"/>
                    </a:schemeClr>
                  </a:solidFill>
                  <a:prstDash val="solid"/>
                  <a:miter/>
                </a:ln>
              </p:spPr>
              <p:txBody>
                <a:bodyPr rtlCol="0" anchor="ctr"/>
                <a:lstStyle/>
                <a:p>
                  <a:endParaRPr lang="en-GB"/>
                </a:p>
              </p:txBody>
            </p:sp>
            <p:sp>
              <p:nvSpPr>
                <p:cNvPr id="7670" name="Vrije vorm: vorm 7669">
                  <a:extLst>
                    <a:ext uri="{FF2B5EF4-FFF2-40B4-BE49-F238E27FC236}">
                      <a16:creationId xmlns:a16="http://schemas.microsoft.com/office/drawing/2014/main" id="{42873310-C9AC-4FC7-BEF6-0E9FD69318F2}"/>
                    </a:ext>
                  </a:extLst>
                </p:cNvPr>
                <p:cNvSpPr/>
                <p:nvPr/>
              </p:nvSpPr>
              <p:spPr>
                <a:xfrm>
                  <a:off x="5787205" y="5310562"/>
                  <a:ext cx="4006" cy="5621"/>
                </a:xfrm>
                <a:custGeom>
                  <a:avLst/>
                  <a:gdLst>
                    <a:gd name="connsiteX0" fmla="*/ 2572 w 4006"/>
                    <a:gd name="connsiteY0" fmla="*/ 0 h 5621"/>
                    <a:gd name="connsiteX1" fmla="*/ 3708 w 4006"/>
                    <a:gd name="connsiteY1" fmla="*/ 718 h 5621"/>
                    <a:gd name="connsiteX2" fmla="*/ 3888 w 4006"/>
                    <a:gd name="connsiteY2" fmla="*/ 897 h 5621"/>
                    <a:gd name="connsiteX3" fmla="*/ 4007 w 4006"/>
                    <a:gd name="connsiteY3" fmla="*/ 1196 h 5621"/>
                    <a:gd name="connsiteX4" fmla="*/ 4007 w 4006"/>
                    <a:gd name="connsiteY4" fmla="*/ 1615 h 5621"/>
                    <a:gd name="connsiteX5" fmla="*/ 4007 w 4006"/>
                    <a:gd name="connsiteY5" fmla="*/ 1675 h 5621"/>
                    <a:gd name="connsiteX6" fmla="*/ 3888 w 4006"/>
                    <a:gd name="connsiteY6" fmla="*/ 2153 h 5621"/>
                    <a:gd name="connsiteX7" fmla="*/ 3708 w 4006"/>
                    <a:gd name="connsiteY7" fmla="*/ 2751 h 5621"/>
                    <a:gd name="connsiteX8" fmla="*/ 3409 w 4006"/>
                    <a:gd name="connsiteY8" fmla="*/ 3409 h 5621"/>
                    <a:gd name="connsiteX9" fmla="*/ 3050 w 4006"/>
                    <a:gd name="connsiteY9" fmla="*/ 4067 h 5621"/>
                    <a:gd name="connsiteX10" fmla="*/ 2632 w 4006"/>
                    <a:gd name="connsiteY10" fmla="*/ 4665 h 5621"/>
                    <a:gd name="connsiteX11" fmla="*/ 2392 w 4006"/>
                    <a:gd name="connsiteY11" fmla="*/ 4904 h 5621"/>
                    <a:gd name="connsiteX12" fmla="*/ 2213 w 4006"/>
                    <a:gd name="connsiteY12" fmla="*/ 5084 h 5621"/>
                    <a:gd name="connsiteX13" fmla="*/ 1794 w 4006"/>
                    <a:gd name="connsiteY13" fmla="*/ 5443 h 5621"/>
                    <a:gd name="connsiteX14" fmla="*/ 1435 w 4006"/>
                    <a:gd name="connsiteY14" fmla="*/ 5622 h 5621"/>
                    <a:gd name="connsiteX15" fmla="*/ 1136 w 4006"/>
                    <a:gd name="connsiteY15" fmla="*/ 5622 h 5621"/>
                    <a:gd name="connsiteX16" fmla="*/ 0 w 4006"/>
                    <a:gd name="connsiteY16" fmla="*/ 4904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06" h="5621">
                      <a:moveTo>
                        <a:pt x="2572" y="0"/>
                      </a:moveTo>
                      <a:lnTo>
                        <a:pt x="3708" y="718"/>
                      </a:lnTo>
                      <a:lnTo>
                        <a:pt x="3888" y="897"/>
                      </a:lnTo>
                      <a:lnTo>
                        <a:pt x="4007" y="1196"/>
                      </a:lnTo>
                      <a:lnTo>
                        <a:pt x="4007" y="1615"/>
                      </a:lnTo>
                      <a:lnTo>
                        <a:pt x="4007" y="1675"/>
                      </a:lnTo>
                      <a:lnTo>
                        <a:pt x="3888" y="2153"/>
                      </a:lnTo>
                      <a:lnTo>
                        <a:pt x="3708" y="2751"/>
                      </a:lnTo>
                      <a:lnTo>
                        <a:pt x="3409" y="3409"/>
                      </a:lnTo>
                      <a:lnTo>
                        <a:pt x="3050" y="4067"/>
                      </a:lnTo>
                      <a:lnTo>
                        <a:pt x="2632" y="4665"/>
                      </a:lnTo>
                      <a:lnTo>
                        <a:pt x="2392" y="4904"/>
                      </a:lnTo>
                      <a:lnTo>
                        <a:pt x="2213" y="5084"/>
                      </a:lnTo>
                      <a:lnTo>
                        <a:pt x="1794" y="5443"/>
                      </a:lnTo>
                      <a:lnTo>
                        <a:pt x="1435" y="5622"/>
                      </a:lnTo>
                      <a:lnTo>
                        <a:pt x="1136" y="5622"/>
                      </a:lnTo>
                      <a:lnTo>
                        <a:pt x="0" y="4904"/>
                      </a:lnTo>
                    </a:path>
                  </a:pathLst>
                </a:custGeom>
                <a:noFill/>
                <a:ln w="6350" cap="flat">
                  <a:solidFill>
                    <a:schemeClr val="bg1">
                      <a:alpha val="80000"/>
                    </a:schemeClr>
                  </a:solidFill>
                  <a:prstDash val="solid"/>
                  <a:miter/>
                </a:ln>
              </p:spPr>
              <p:txBody>
                <a:bodyPr rtlCol="0" anchor="ctr"/>
                <a:lstStyle/>
                <a:p>
                  <a:endParaRPr lang="en-GB"/>
                </a:p>
              </p:txBody>
            </p:sp>
            <p:sp>
              <p:nvSpPr>
                <p:cNvPr id="7671" name="Vrije vorm: vorm 7670">
                  <a:extLst>
                    <a:ext uri="{FF2B5EF4-FFF2-40B4-BE49-F238E27FC236}">
                      <a16:creationId xmlns:a16="http://schemas.microsoft.com/office/drawing/2014/main" id="{958AC1C0-527E-4332-A145-F9FFB2189115}"/>
                    </a:ext>
                  </a:extLst>
                </p:cNvPr>
                <p:cNvSpPr/>
                <p:nvPr/>
              </p:nvSpPr>
              <p:spPr>
                <a:xfrm>
                  <a:off x="5788103" y="5311279"/>
                  <a:ext cx="2810" cy="4964"/>
                </a:xfrm>
                <a:custGeom>
                  <a:avLst/>
                  <a:gdLst>
                    <a:gd name="connsiteX0" fmla="*/ 2811 w 2810"/>
                    <a:gd name="connsiteY0" fmla="*/ 0 h 4964"/>
                    <a:gd name="connsiteX1" fmla="*/ 2512 w 2810"/>
                    <a:gd name="connsiteY1" fmla="*/ 0 h 4964"/>
                    <a:gd name="connsiteX2" fmla="*/ 2153 w 2810"/>
                    <a:gd name="connsiteY2" fmla="*/ 180 h 4964"/>
                    <a:gd name="connsiteX3" fmla="*/ 1914 w 2810"/>
                    <a:gd name="connsiteY3" fmla="*/ 419 h 4964"/>
                    <a:gd name="connsiteX4" fmla="*/ 1794 w 2810"/>
                    <a:gd name="connsiteY4" fmla="*/ 538 h 4964"/>
                    <a:gd name="connsiteX5" fmla="*/ 1375 w 2810"/>
                    <a:gd name="connsiteY5" fmla="*/ 1017 h 4964"/>
                    <a:gd name="connsiteX6" fmla="*/ 957 w 2810"/>
                    <a:gd name="connsiteY6" fmla="*/ 1615 h 4964"/>
                    <a:gd name="connsiteX7" fmla="*/ 598 w 2810"/>
                    <a:gd name="connsiteY7" fmla="*/ 2273 h 4964"/>
                    <a:gd name="connsiteX8" fmla="*/ 598 w 2810"/>
                    <a:gd name="connsiteY8" fmla="*/ 2333 h 4964"/>
                    <a:gd name="connsiteX9" fmla="*/ 299 w 2810"/>
                    <a:gd name="connsiteY9" fmla="*/ 2930 h 4964"/>
                    <a:gd name="connsiteX10" fmla="*/ 119 w 2810"/>
                    <a:gd name="connsiteY10" fmla="*/ 3529 h 4964"/>
                    <a:gd name="connsiteX11" fmla="*/ 60 w 2810"/>
                    <a:gd name="connsiteY11" fmla="*/ 3828 h 4964"/>
                    <a:gd name="connsiteX12" fmla="*/ 0 w 2810"/>
                    <a:gd name="connsiteY12" fmla="*/ 4007 h 4964"/>
                    <a:gd name="connsiteX13" fmla="*/ 0 w 2810"/>
                    <a:gd name="connsiteY13" fmla="*/ 4067 h 4964"/>
                    <a:gd name="connsiteX14" fmla="*/ 0 w 2810"/>
                    <a:gd name="connsiteY14" fmla="*/ 4486 h 4964"/>
                    <a:gd name="connsiteX15" fmla="*/ 119 w 2810"/>
                    <a:gd name="connsiteY15" fmla="*/ 4785 h 4964"/>
                    <a:gd name="connsiteX16" fmla="*/ 299 w 2810"/>
                    <a:gd name="connsiteY16" fmla="*/ 4964 h 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10" h="4964">
                      <a:moveTo>
                        <a:pt x="2811" y="0"/>
                      </a:moveTo>
                      <a:lnTo>
                        <a:pt x="2512" y="0"/>
                      </a:lnTo>
                      <a:lnTo>
                        <a:pt x="2153" y="180"/>
                      </a:lnTo>
                      <a:lnTo>
                        <a:pt x="1914" y="419"/>
                      </a:lnTo>
                      <a:lnTo>
                        <a:pt x="1794" y="538"/>
                      </a:lnTo>
                      <a:lnTo>
                        <a:pt x="1375" y="1017"/>
                      </a:lnTo>
                      <a:lnTo>
                        <a:pt x="957" y="1615"/>
                      </a:lnTo>
                      <a:lnTo>
                        <a:pt x="598" y="2273"/>
                      </a:lnTo>
                      <a:lnTo>
                        <a:pt x="598" y="2333"/>
                      </a:lnTo>
                      <a:lnTo>
                        <a:pt x="299" y="2930"/>
                      </a:lnTo>
                      <a:lnTo>
                        <a:pt x="119" y="3529"/>
                      </a:lnTo>
                      <a:lnTo>
                        <a:pt x="60" y="3828"/>
                      </a:lnTo>
                      <a:lnTo>
                        <a:pt x="0" y="4007"/>
                      </a:lnTo>
                      <a:lnTo>
                        <a:pt x="0" y="4067"/>
                      </a:lnTo>
                      <a:lnTo>
                        <a:pt x="0" y="4486"/>
                      </a:lnTo>
                      <a:lnTo>
                        <a:pt x="119" y="4785"/>
                      </a:lnTo>
                      <a:lnTo>
                        <a:pt x="299" y="4964"/>
                      </a:lnTo>
                    </a:path>
                  </a:pathLst>
                </a:custGeom>
                <a:noFill/>
                <a:ln w="6350" cap="flat">
                  <a:solidFill>
                    <a:schemeClr val="bg1">
                      <a:alpha val="80000"/>
                    </a:schemeClr>
                  </a:solidFill>
                  <a:prstDash val="solid"/>
                  <a:miter/>
                </a:ln>
              </p:spPr>
              <p:txBody>
                <a:bodyPr rtlCol="0" anchor="ctr"/>
                <a:lstStyle/>
                <a:p>
                  <a:endParaRPr lang="en-GB"/>
                </a:p>
              </p:txBody>
            </p:sp>
            <p:sp>
              <p:nvSpPr>
                <p:cNvPr id="7672" name="Vrije vorm: vorm 7671">
                  <a:extLst>
                    <a:ext uri="{FF2B5EF4-FFF2-40B4-BE49-F238E27FC236}">
                      <a16:creationId xmlns:a16="http://schemas.microsoft.com/office/drawing/2014/main" id="{9E44BA5C-22BA-44A8-9D64-B0110FF91B35}"/>
                    </a:ext>
                  </a:extLst>
                </p:cNvPr>
                <p:cNvSpPr/>
                <p:nvPr/>
              </p:nvSpPr>
              <p:spPr>
                <a:xfrm>
                  <a:off x="5786966" y="5310382"/>
                  <a:ext cx="2870" cy="5083"/>
                </a:xfrm>
                <a:custGeom>
                  <a:avLst/>
                  <a:gdLst>
                    <a:gd name="connsiteX0" fmla="*/ 299 w 2870"/>
                    <a:gd name="connsiteY0" fmla="*/ 5083 h 5083"/>
                    <a:gd name="connsiteX1" fmla="*/ 119 w 2870"/>
                    <a:gd name="connsiteY1" fmla="*/ 4904 h 5083"/>
                    <a:gd name="connsiteX2" fmla="*/ 0 w 2870"/>
                    <a:gd name="connsiteY2" fmla="*/ 4605 h 5083"/>
                    <a:gd name="connsiteX3" fmla="*/ 0 w 2870"/>
                    <a:gd name="connsiteY3" fmla="*/ 4127 h 5083"/>
                    <a:gd name="connsiteX4" fmla="*/ 0 w 2870"/>
                    <a:gd name="connsiteY4" fmla="*/ 4067 h 5083"/>
                    <a:gd name="connsiteX5" fmla="*/ 119 w 2870"/>
                    <a:gd name="connsiteY5" fmla="*/ 3528 h 5083"/>
                    <a:gd name="connsiteX6" fmla="*/ 299 w 2870"/>
                    <a:gd name="connsiteY6" fmla="*/ 2930 h 5083"/>
                    <a:gd name="connsiteX7" fmla="*/ 598 w 2870"/>
                    <a:gd name="connsiteY7" fmla="*/ 2273 h 5083"/>
                    <a:gd name="connsiteX8" fmla="*/ 957 w 2870"/>
                    <a:gd name="connsiteY8" fmla="*/ 1615 h 5083"/>
                    <a:gd name="connsiteX9" fmla="*/ 1375 w 2870"/>
                    <a:gd name="connsiteY9" fmla="*/ 1017 h 5083"/>
                    <a:gd name="connsiteX10" fmla="*/ 1794 w 2870"/>
                    <a:gd name="connsiteY10" fmla="*/ 538 h 5083"/>
                    <a:gd name="connsiteX11" fmla="*/ 2153 w 2870"/>
                    <a:gd name="connsiteY11" fmla="*/ 239 h 5083"/>
                    <a:gd name="connsiteX12" fmla="*/ 2213 w 2870"/>
                    <a:gd name="connsiteY12" fmla="*/ 179 h 5083"/>
                    <a:gd name="connsiteX13" fmla="*/ 2572 w 2870"/>
                    <a:gd name="connsiteY13" fmla="*/ 0 h 5083"/>
                    <a:gd name="connsiteX14" fmla="*/ 2871 w 2870"/>
                    <a:gd name="connsiteY14" fmla="*/ 0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70" h="5083">
                      <a:moveTo>
                        <a:pt x="299" y="5083"/>
                      </a:moveTo>
                      <a:lnTo>
                        <a:pt x="119" y="4904"/>
                      </a:lnTo>
                      <a:lnTo>
                        <a:pt x="0" y="4605"/>
                      </a:lnTo>
                      <a:lnTo>
                        <a:pt x="0" y="4127"/>
                      </a:lnTo>
                      <a:lnTo>
                        <a:pt x="0" y="4067"/>
                      </a:lnTo>
                      <a:lnTo>
                        <a:pt x="119" y="3528"/>
                      </a:lnTo>
                      <a:lnTo>
                        <a:pt x="299" y="2930"/>
                      </a:lnTo>
                      <a:lnTo>
                        <a:pt x="598" y="2273"/>
                      </a:lnTo>
                      <a:lnTo>
                        <a:pt x="957" y="1615"/>
                      </a:lnTo>
                      <a:lnTo>
                        <a:pt x="1375" y="1017"/>
                      </a:lnTo>
                      <a:lnTo>
                        <a:pt x="1794" y="538"/>
                      </a:lnTo>
                      <a:lnTo>
                        <a:pt x="2153" y="239"/>
                      </a:lnTo>
                      <a:lnTo>
                        <a:pt x="2213" y="179"/>
                      </a:lnTo>
                      <a:lnTo>
                        <a:pt x="2572" y="0"/>
                      </a:lnTo>
                      <a:lnTo>
                        <a:pt x="2871" y="0"/>
                      </a:lnTo>
                    </a:path>
                  </a:pathLst>
                </a:custGeom>
                <a:noFill/>
                <a:ln w="6350" cap="flat">
                  <a:solidFill>
                    <a:schemeClr val="bg1">
                      <a:alpha val="80000"/>
                    </a:schemeClr>
                  </a:solidFill>
                  <a:prstDash val="solid"/>
                  <a:miter/>
                </a:ln>
              </p:spPr>
              <p:txBody>
                <a:bodyPr rtlCol="0" anchor="ctr"/>
                <a:lstStyle/>
                <a:p>
                  <a:endParaRPr lang="en-GB"/>
                </a:p>
              </p:txBody>
            </p:sp>
            <p:sp>
              <p:nvSpPr>
                <p:cNvPr id="7673" name="Vrije vorm: vorm 7672">
                  <a:extLst>
                    <a:ext uri="{FF2B5EF4-FFF2-40B4-BE49-F238E27FC236}">
                      <a16:creationId xmlns:a16="http://schemas.microsoft.com/office/drawing/2014/main" id="{EA16C7C0-F5A8-411D-91C5-484ACEA8BAAE}"/>
                    </a:ext>
                  </a:extLst>
                </p:cNvPr>
                <p:cNvSpPr/>
                <p:nvPr/>
              </p:nvSpPr>
              <p:spPr>
                <a:xfrm>
                  <a:off x="5803951" y="5288373"/>
                  <a:ext cx="4006" cy="9090"/>
                </a:xfrm>
                <a:custGeom>
                  <a:avLst/>
                  <a:gdLst>
                    <a:gd name="connsiteX0" fmla="*/ 2512 w 4006"/>
                    <a:gd name="connsiteY0" fmla="*/ 0 h 9090"/>
                    <a:gd name="connsiteX1" fmla="*/ 3110 w 4006"/>
                    <a:gd name="connsiteY1" fmla="*/ 359 h 9090"/>
                    <a:gd name="connsiteX2" fmla="*/ 3469 w 4006"/>
                    <a:gd name="connsiteY2" fmla="*/ 3827 h 9090"/>
                    <a:gd name="connsiteX3" fmla="*/ 3828 w 4006"/>
                    <a:gd name="connsiteY3" fmla="*/ 7296 h 9090"/>
                    <a:gd name="connsiteX4" fmla="*/ 4007 w 4006"/>
                    <a:gd name="connsiteY4" fmla="*/ 9090 h 9090"/>
                    <a:gd name="connsiteX5" fmla="*/ 2333 w 4006"/>
                    <a:gd name="connsiteY5" fmla="*/ 6639 h 9090"/>
                    <a:gd name="connsiteX6" fmla="*/ 658 w 4006"/>
                    <a:gd name="connsiteY6" fmla="*/ 4186 h 9090"/>
                    <a:gd name="connsiteX7" fmla="*/ 0 w 4006"/>
                    <a:gd name="connsiteY7" fmla="*/ 3229 h 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6" h="9090">
                      <a:moveTo>
                        <a:pt x="2512" y="0"/>
                      </a:moveTo>
                      <a:lnTo>
                        <a:pt x="3110" y="359"/>
                      </a:lnTo>
                      <a:lnTo>
                        <a:pt x="3469" y="3827"/>
                      </a:lnTo>
                      <a:lnTo>
                        <a:pt x="3828" y="7296"/>
                      </a:lnTo>
                      <a:lnTo>
                        <a:pt x="4007" y="9090"/>
                      </a:lnTo>
                      <a:lnTo>
                        <a:pt x="2333" y="6639"/>
                      </a:lnTo>
                      <a:lnTo>
                        <a:pt x="658" y="4186"/>
                      </a:lnTo>
                      <a:lnTo>
                        <a:pt x="0" y="3229"/>
                      </a:lnTo>
                    </a:path>
                  </a:pathLst>
                </a:custGeom>
                <a:noFill/>
                <a:ln w="6350" cap="flat">
                  <a:solidFill>
                    <a:schemeClr val="bg1">
                      <a:alpha val="80000"/>
                    </a:schemeClr>
                  </a:solidFill>
                  <a:prstDash val="solid"/>
                  <a:miter/>
                </a:ln>
              </p:spPr>
              <p:txBody>
                <a:bodyPr rtlCol="0" anchor="ctr"/>
                <a:lstStyle/>
                <a:p>
                  <a:endParaRPr lang="en-GB"/>
                </a:p>
              </p:txBody>
            </p:sp>
            <p:sp>
              <p:nvSpPr>
                <p:cNvPr id="7674" name="Vrije vorm: vorm 7673">
                  <a:extLst>
                    <a:ext uri="{FF2B5EF4-FFF2-40B4-BE49-F238E27FC236}">
                      <a16:creationId xmlns:a16="http://schemas.microsoft.com/office/drawing/2014/main" id="{C47CB0D9-A93D-41C0-9D2F-C4254003BC57}"/>
                    </a:ext>
                  </a:extLst>
                </p:cNvPr>
                <p:cNvSpPr/>
                <p:nvPr/>
              </p:nvSpPr>
              <p:spPr>
                <a:xfrm>
                  <a:off x="5781882" y="5273781"/>
                  <a:ext cx="2930" cy="5263"/>
                </a:xfrm>
                <a:custGeom>
                  <a:avLst/>
                  <a:gdLst>
                    <a:gd name="connsiteX0" fmla="*/ 2930 w 2930"/>
                    <a:gd name="connsiteY0" fmla="*/ 0 h 5263"/>
                    <a:gd name="connsiteX1" fmla="*/ 2632 w 2930"/>
                    <a:gd name="connsiteY1" fmla="*/ 0 h 5263"/>
                    <a:gd name="connsiteX2" fmla="*/ 2273 w 2930"/>
                    <a:gd name="connsiteY2" fmla="*/ 179 h 5263"/>
                    <a:gd name="connsiteX3" fmla="*/ 1854 w 2930"/>
                    <a:gd name="connsiteY3" fmla="*/ 538 h 5263"/>
                    <a:gd name="connsiteX4" fmla="*/ 1435 w 2930"/>
                    <a:gd name="connsiteY4" fmla="*/ 1017 h 5263"/>
                    <a:gd name="connsiteX5" fmla="*/ 1017 w 2930"/>
                    <a:gd name="connsiteY5" fmla="*/ 1615 h 5263"/>
                    <a:gd name="connsiteX6" fmla="*/ 658 w 2930"/>
                    <a:gd name="connsiteY6" fmla="*/ 2273 h 5263"/>
                    <a:gd name="connsiteX7" fmla="*/ 359 w 2930"/>
                    <a:gd name="connsiteY7" fmla="*/ 2990 h 5263"/>
                    <a:gd name="connsiteX8" fmla="*/ 120 w 2930"/>
                    <a:gd name="connsiteY8" fmla="*/ 3648 h 5263"/>
                    <a:gd name="connsiteX9" fmla="*/ 0 w 2930"/>
                    <a:gd name="connsiteY9" fmla="*/ 4246 h 5263"/>
                    <a:gd name="connsiteX10" fmla="*/ 0 w 2930"/>
                    <a:gd name="connsiteY10" fmla="*/ 4725 h 5263"/>
                    <a:gd name="connsiteX11" fmla="*/ 120 w 2930"/>
                    <a:gd name="connsiteY11" fmla="*/ 5083 h 5263"/>
                    <a:gd name="connsiteX12" fmla="*/ 359 w 2930"/>
                    <a:gd name="connsiteY12" fmla="*/ 5263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0" h="5263">
                      <a:moveTo>
                        <a:pt x="2930" y="0"/>
                      </a:moveTo>
                      <a:lnTo>
                        <a:pt x="2632" y="0"/>
                      </a:lnTo>
                      <a:lnTo>
                        <a:pt x="2273" y="179"/>
                      </a:lnTo>
                      <a:lnTo>
                        <a:pt x="1854" y="538"/>
                      </a:lnTo>
                      <a:lnTo>
                        <a:pt x="1435" y="1017"/>
                      </a:lnTo>
                      <a:lnTo>
                        <a:pt x="1017" y="1615"/>
                      </a:lnTo>
                      <a:lnTo>
                        <a:pt x="658" y="2273"/>
                      </a:lnTo>
                      <a:lnTo>
                        <a:pt x="359" y="2990"/>
                      </a:lnTo>
                      <a:lnTo>
                        <a:pt x="120" y="3648"/>
                      </a:lnTo>
                      <a:lnTo>
                        <a:pt x="0" y="4246"/>
                      </a:lnTo>
                      <a:lnTo>
                        <a:pt x="0" y="4725"/>
                      </a:lnTo>
                      <a:lnTo>
                        <a:pt x="120" y="5083"/>
                      </a:lnTo>
                      <a:lnTo>
                        <a:pt x="359" y="5263"/>
                      </a:lnTo>
                    </a:path>
                  </a:pathLst>
                </a:custGeom>
                <a:noFill/>
                <a:ln w="6350" cap="flat">
                  <a:solidFill>
                    <a:schemeClr val="bg1">
                      <a:alpha val="80000"/>
                    </a:schemeClr>
                  </a:solidFill>
                  <a:prstDash val="solid"/>
                  <a:miter/>
                </a:ln>
              </p:spPr>
              <p:txBody>
                <a:bodyPr rtlCol="0" anchor="ctr"/>
                <a:lstStyle/>
                <a:p>
                  <a:endParaRPr lang="en-GB"/>
                </a:p>
              </p:txBody>
            </p:sp>
            <p:sp>
              <p:nvSpPr>
                <p:cNvPr id="7675" name="Vrije vorm: vorm 7674">
                  <a:extLst>
                    <a:ext uri="{FF2B5EF4-FFF2-40B4-BE49-F238E27FC236}">
                      <a16:creationId xmlns:a16="http://schemas.microsoft.com/office/drawing/2014/main" id="{04255A18-1FEE-472B-8ADA-000E4C8574EE}"/>
                    </a:ext>
                  </a:extLst>
                </p:cNvPr>
                <p:cNvSpPr/>
                <p:nvPr/>
              </p:nvSpPr>
              <p:spPr>
                <a:xfrm>
                  <a:off x="5785889" y="5277189"/>
                  <a:ext cx="10227" cy="31339"/>
                </a:xfrm>
                <a:custGeom>
                  <a:avLst/>
                  <a:gdLst>
                    <a:gd name="connsiteX0" fmla="*/ 0 w 10227"/>
                    <a:gd name="connsiteY0" fmla="*/ 0 h 31339"/>
                    <a:gd name="connsiteX1" fmla="*/ 479 w 10227"/>
                    <a:gd name="connsiteY1" fmla="*/ 3409 h 31339"/>
                    <a:gd name="connsiteX2" fmla="*/ 957 w 10227"/>
                    <a:gd name="connsiteY2" fmla="*/ 6818 h 31339"/>
                    <a:gd name="connsiteX3" fmla="*/ 1436 w 10227"/>
                    <a:gd name="connsiteY3" fmla="*/ 10227 h 31339"/>
                    <a:gd name="connsiteX4" fmla="*/ 1914 w 10227"/>
                    <a:gd name="connsiteY4" fmla="*/ 13636 h 31339"/>
                    <a:gd name="connsiteX5" fmla="*/ 2392 w 10227"/>
                    <a:gd name="connsiteY5" fmla="*/ 17045 h 31339"/>
                    <a:gd name="connsiteX6" fmla="*/ 2871 w 10227"/>
                    <a:gd name="connsiteY6" fmla="*/ 20454 h 31339"/>
                    <a:gd name="connsiteX7" fmla="*/ 2931 w 10227"/>
                    <a:gd name="connsiteY7" fmla="*/ 20992 h 31339"/>
                    <a:gd name="connsiteX8" fmla="*/ 3050 w 10227"/>
                    <a:gd name="connsiteY8" fmla="*/ 21950 h 31339"/>
                    <a:gd name="connsiteX9" fmla="*/ 3170 w 10227"/>
                    <a:gd name="connsiteY9" fmla="*/ 22667 h 31339"/>
                    <a:gd name="connsiteX10" fmla="*/ 3649 w 10227"/>
                    <a:gd name="connsiteY10" fmla="*/ 26076 h 31339"/>
                    <a:gd name="connsiteX11" fmla="*/ 3947 w 10227"/>
                    <a:gd name="connsiteY11" fmla="*/ 28229 h 31339"/>
                    <a:gd name="connsiteX12" fmla="*/ 4246 w 10227"/>
                    <a:gd name="connsiteY12" fmla="*/ 30502 h 31339"/>
                    <a:gd name="connsiteX13" fmla="*/ 4306 w 10227"/>
                    <a:gd name="connsiteY13" fmla="*/ 30801 h 31339"/>
                    <a:gd name="connsiteX14" fmla="*/ 4426 w 10227"/>
                    <a:gd name="connsiteY14" fmla="*/ 30980 h 31339"/>
                    <a:gd name="connsiteX15" fmla="*/ 4426 w 10227"/>
                    <a:gd name="connsiteY15" fmla="*/ 31040 h 31339"/>
                    <a:gd name="connsiteX16" fmla="*/ 4605 w 10227"/>
                    <a:gd name="connsiteY16" fmla="*/ 31220 h 31339"/>
                    <a:gd name="connsiteX17" fmla="*/ 4785 w 10227"/>
                    <a:gd name="connsiteY17" fmla="*/ 31339 h 31339"/>
                    <a:gd name="connsiteX18" fmla="*/ 5024 w 10227"/>
                    <a:gd name="connsiteY18" fmla="*/ 31339 h 31339"/>
                    <a:gd name="connsiteX19" fmla="*/ 5323 w 10227"/>
                    <a:gd name="connsiteY19" fmla="*/ 31279 h 31339"/>
                    <a:gd name="connsiteX20" fmla="*/ 5622 w 10227"/>
                    <a:gd name="connsiteY20" fmla="*/ 31160 h 31339"/>
                    <a:gd name="connsiteX21" fmla="*/ 5981 w 10227"/>
                    <a:gd name="connsiteY21" fmla="*/ 30980 h 31339"/>
                    <a:gd name="connsiteX22" fmla="*/ 6340 w 10227"/>
                    <a:gd name="connsiteY22" fmla="*/ 30681 h 31339"/>
                    <a:gd name="connsiteX23" fmla="*/ 6699 w 10227"/>
                    <a:gd name="connsiteY23" fmla="*/ 30322 h 31339"/>
                    <a:gd name="connsiteX24" fmla="*/ 7058 w 10227"/>
                    <a:gd name="connsiteY24" fmla="*/ 29904 h 31339"/>
                    <a:gd name="connsiteX25" fmla="*/ 7416 w 10227"/>
                    <a:gd name="connsiteY25" fmla="*/ 29425 h 31339"/>
                    <a:gd name="connsiteX26" fmla="*/ 7656 w 10227"/>
                    <a:gd name="connsiteY26" fmla="*/ 29126 h 31339"/>
                    <a:gd name="connsiteX27" fmla="*/ 10048 w 10227"/>
                    <a:gd name="connsiteY27" fmla="*/ 26076 h 31339"/>
                    <a:gd name="connsiteX28" fmla="*/ 10227 w 10227"/>
                    <a:gd name="connsiteY28" fmla="*/ 25837 h 31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27" h="31339">
                      <a:moveTo>
                        <a:pt x="0" y="0"/>
                      </a:moveTo>
                      <a:lnTo>
                        <a:pt x="479" y="3409"/>
                      </a:lnTo>
                      <a:lnTo>
                        <a:pt x="957" y="6818"/>
                      </a:lnTo>
                      <a:lnTo>
                        <a:pt x="1436" y="10227"/>
                      </a:lnTo>
                      <a:lnTo>
                        <a:pt x="1914" y="13636"/>
                      </a:lnTo>
                      <a:lnTo>
                        <a:pt x="2392" y="17045"/>
                      </a:lnTo>
                      <a:lnTo>
                        <a:pt x="2871" y="20454"/>
                      </a:lnTo>
                      <a:lnTo>
                        <a:pt x="2931" y="20992"/>
                      </a:lnTo>
                      <a:lnTo>
                        <a:pt x="3050" y="21950"/>
                      </a:lnTo>
                      <a:lnTo>
                        <a:pt x="3170" y="22667"/>
                      </a:lnTo>
                      <a:lnTo>
                        <a:pt x="3649" y="26076"/>
                      </a:lnTo>
                      <a:lnTo>
                        <a:pt x="3947" y="28229"/>
                      </a:lnTo>
                      <a:lnTo>
                        <a:pt x="4246" y="30502"/>
                      </a:lnTo>
                      <a:lnTo>
                        <a:pt x="4306" y="30801"/>
                      </a:lnTo>
                      <a:lnTo>
                        <a:pt x="4426" y="30980"/>
                      </a:lnTo>
                      <a:lnTo>
                        <a:pt x="4426" y="31040"/>
                      </a:lnTo>
                      <a:lnTo>
                        <a:pt x="4605" y="31220"/>
                      </a:lnTo>
                      <a:lnTo>
                        <a:pt x="4785" y="31339"/>
                      </a:lnTo>
                      <a:lnTo>
                        <a:pt x="5024" y="31339"/>
                      </a:lnTo>
                      <a:lnTo>
                        <a:pt x="5323" y="31279"/>
                      </a:lnTo>
                      <a:lnTo>
                        <a:pt x="5622" y="31160"/>
                      </a:lnTo>
                      <a:lnTo>
                        <a:pt x="5981" y="30980"/>
                      </a:lnTo>
                      <a:lnTo>
                        <a:pt x="6340" y="30681"/>
                      </a:lnTo>
                      <a:lnTo>
                        <a:pt x="6699" y="30322"/>
                      </a:lnTo>
                      <a:lnTo>
                        <a:pt x="7058" y="29904"/>
                      </a:lnTo>
                      <a:lnTo>
                        <a:pt x="7416" y="29425"/>
                      </a:lnTo>
                      <a:lnTo>
                        <a:pt x="7656" y="29126"/>
                      </a:lnTo>
                      <a:lnTo>
                        <a:pt x="10048" y="26076"/>
                      </a:lnTo>
                      <a:lnTo>
                        <a:pt x="10227" y="25837"/>
                      </a:lnTo>
                    </a:path>
                  </a:pathLst>
                </a:custGeom>
                <a:noFill/>
                <a:ln w="6350" cap="flat">
                  <a:solidFill>
                    <a:schemeClr val="bg1">
                      <a:alpha val="80000"/>
                    </a:schemeClr>
                  </a:solidFill>
                  <a:prstDash val="solid"/>
                  <a:miter/>
                </a:ln>
              </p:spPr>
              <p:txBody>
                <a:bodyPr rtlCol="0" anchor="ctr"/>
                <a:lstStyle/>
                <a:p>
                  <a:endParaRPr lang="en-GB"/>
                </a:p>
              </p:txBody>
            </p:sp>
            <p:sp>
              <p:nvSpPr>
                <p:cNvPr id="7676" name="Vrije vorm: vorm 7675">
                  <a:extLst>
                    <a:ext uri="{FF2B5EF4-FFF2-40B4-BE49-F238E27FC236}">
                      <a16:creationId xmlns:a16="http://schemas.microsoft.com/office/drawing/2014/main" id="{8B188D55-4DF0-41C3-8063-7B40A72A2C34}"/>
                    </a:ext>
                  </a:extLst>
                </p:cNvPr>
                <p:cNvSpPr/>
                <p:nvPr/>
              </p:nvSpPr>
              <p:spPr>
                <a:xfrm>
                  <a:off x="5809154" y="5239750"/>
                  <a:ext cx="2930" cy="5083"/>
                </a:xfrm>
                <a:custGeom>
                  <a:avLst/>
                  <a:gdLst>
                    <a:gd name="connsiteX0" fmla="*/ 2930 w 2930"/>
                    <a:gd name="connsiteY0" fmla="*/ 60 h 5083"/>
                    <a:gd name="connsiteX1" fmla="*/ 2632 w 2930"/>
                    <a:gd name="connsiteY1" fmla="*/ 0 h 5083"/>
                    <a:gd name="connsiteX2" fmla="*/ 2273 w 2930"/>
                    <a:gd name="connsiteY2" fmla="*/ 119 h 5083"/>
                    <a:gd name="connsiteX3" fmla="*/ 1854 w 2930"/>
                    <a:gd name="connsiteY3" fmla="*/ 419 h 5083"/>
                    <a:gd name="connsiteX4" fmla="*/ 1435 w 2930"/>
                    <a:gd name="connsiteY4" fmla="*/ 897 h 5083"/>
                    <a:gd name="connsiteX5" fmla="*/ 1017 w 2930"/>
                    <a:gd name="connsiteY5" fmla="*/ 1495 h 5083"/>
                    <a:gd name="connsiteX6" fmla="*/ 658 w 2930"/>
                    <a:gd name="connsiteY6" fmla="*/ 2153 h 5083"/>
                    <a:gd name="connsiteX7" fmla="*/ 359 w 2930"/>
                    <a:gd name="connsiteY7" fmla="*/ 2811 h 5083"/>
                    <a:gd name="connsiteX8" fmla="*/ 120 w 2930"/>
                    <a:gd name="connsiteY8" fmla="*/ 3469 h 5083"/>
                    <a:gd name="connsiteX9" fmla="*/ 120 w 2930"/>
                    <a:gd name="connsiteY9" fmla="*/ 3588 h 5083"/>
                    <a:gd name="connsiteX10" fmla="*/ 0 w 2930"/>
                    <a:gd name="connsiteY10" fmla="*/ 4067 h 5083"/>
                    <a:gd name="connsiteX11" fmla="*/ 0 w 2930"/>
                    <a:gd name="connsiteY11" fmla="*/ 4545 h 5083"/>
                    <a:gd name="connsiteX12" fmla="*/ 120 w 2930"/>
                    <a:gd name="connsiteY12" fmla="*/ 4904 h 5083"/>
                    <a:gd name="connsiteX13" fmla="*/ 299 w 2930"/>
                    <a:gd name="connsiteY13" fmla="*/ 5083 h 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30" h="5083">
                      <a:moveTo>
                        <a:pt x="2930" y="60"/>
                      </a:moveTo>
                      <a:lnTo>
                        <a:pt x="2632" y="0"/>
                      </a:lnTo>
                      <a:lnTo>
                        <a:pt x="2273" y="119"/>
                      </a:lnTo>
                      <a:lnTo>
                        <a:pt x="1854" y="419"/>
                      </a:lnTo>
                      <a:lnTo>
                        <a:pt x="1435" y="897"/>
                      </a:lnTo>
                      <a:lnTo>
                        <a:pt x="1017" y="1495"/>
                      </a:lnTo>
                      <a:lnTo>
                        <a:pt x="658" y="2153"/>
                      </a:lnTo>
                      <a:lnTo>
                        <a:pt x="359" y="2811"/>
                      </a:lnTo>
                      <a:lnTo>
                        <a:pt x="120" y="3469"/>
                      </a:lnTo>
                      <a:lnTo>
                        <a:pt x="120" y="3588"/>
                      </a:lnTo>
                      <a:lnTo>
                        <a:pt x="0" y="4067"/>
                      </a:lnTo>
                      <a:lnTo>
                        <a:pt x="0" y="4545"/>
                      </a:lnTo>
                      <a:lnTo>
                        <a:pt x="120" y="4904"/>
                      </a:lnTo>
                      <a:lnTo>
                        <a:pt x="299" y="5083"/>
                      </a:lnTo>
                    </a:path>
                  </a:pathLst>
                </a:custGeom>
                <a:noFill/>
                <a:ln w="6350" cap="flat">
                  <a:solidFill>
                    <a:schemeClr val="bg1">
                      <a:alpha val="80000"/>
                    </a:schemeClr>
                  </a:solidFill>
                  <a:prstDash val="solid"/>
                  <a:miter/>
                </a:ln>
              </p:spPr>
              <p:txBody>
                <a:bodyPr rtlCol="0" anchor="ctr"/>
                <a:lstStyle/>
                <a:p>
                  <a:endParaRPr lang="en-GB"/>
                </a:p>
              </p:txBody>
            </p:sp>
            <p:sp>
              <p:nvSpPr>
                <p:cNvPr id="7677" name="Vrije vorm: vorm 7676">
                  <a:extLst>
                    <a:ext uri="{FF2B5EF4-FFF2-40B4-BE49-F238E27FC236}">
                      <a16:creationId xmlns:a16="http://schemas.microsoft.com/office/drawing/2014/main" id="{AF059F1D-8BC4-42FE-A11E-37CC4287454C}"/>
                    </a:ext>
                  </a:extLst>
                </p:cNvPr>
                <p:cNvSpPr/>
                <p:nvPr/>
              </p:nvSpPr>
              <p:spPr>
                <a:xfrm>
                  <a:off x="5815674" y="5316004"/>
                  <a:ext cx="2511" cy="4604"/>
                </a:xfrm>
                <a:custGeom>
                  <a:avLst/>
                  <a:gdLst>
                    <a:gd name="connsiteX0" fmla="*/ 2512 w 2511"/>
                    <a:gd name="connsiteY0" fmla="*/ 0 h 4604"/>
                    <a:gd name="connsiteX1" fmla="*/ 2273 w 2511"/>
                    <a:gd name="connsiteY1" fmla="*/ 0 h 4604"/>
                    <a:gd name="connsiteX2" fmla="*/ 1974 w 2511"/>
                    <a:gd name="connsiteY2" fmla="*/ 179 h 4604"/>
                    <a:gd name="connsiteX3" fmla="*/ 1615 w 2511"/>
                    <a:gd name="connsiteY3" fmla="*/ 478 h 4604"/>
                    <a:gd name="connsiteX4" fmla="*/ 1256 w 2511"/>
                    <a:gd name="connsiteY4" fmla="*/ 897 h 4604"/>
                    <a:gd name="connsiteX5" fmla="*/ 897 w 2511"/>
                    <a:gd name="connsiteY5" fmla="*/ 1435 h 4604"/>
                    <a:gd name="connsiteX6" fmla="*/ 598 w 2511"/>
                    <a:gd name="connsiteY6" fmla="*/ 2033 h 4604"/>
                    <a:gd name="connsiteX7" fmla="*/ 299 w 2511"/>
                    <a:gd name="connsiteY7" fmla="*/ 2632 h 4604"/>
                    <a:gd name="connsiteX8" fmla="*/ 119 w 2511"/>
                    <a:gd name="connsiteY8" fmla="*/ 3229 h 4604"/>
                    <a:gd name="connsiteX9" fmla="*/ 0 w 2511"/>
                    <a:gd name="connsiteY9" fmla="*/ 3768 h 4604"/>
                    <a:gd name="connsiteX10" fmla="*/ 0 w 2511"/>
                    <a:gd name="connsiteY10" fmla="*/ 3827 h 4604"/>
                    <a:gd name="connsiteX11" fmla="*/ 0 w 2511"/>
                    <a:gd name="connsiteY11" fmla="*/ 4186 h 4604"/>
                    <a:gd name="connsiteX12" fmla="*/ 60 w 2511"/>
                    <a:gd name="connsiteY12" fmla="*/ 4486 h 4604"/>
                    <a:gd name="connsiteX13" fmla="*/ 239 w 2511"/>
                    <a:gd name="connsiteY13" fmla="*/ 4605 h 4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1" h="4604">
                      <a:moveTo>
                        <a:pt x="2512" y="0"/>
                      </a:moveTo>
                      <a:lnTo>
                        <a:pt x="2273" y="0"/>
                      </a:lnTo>
                      <a:lnTo>
                        <a:pt x="1974" y="179"/>
                      </a:lnTo>
                      <a:lnTo>
                        <a:pt x="1615" y="478"/>
                      </a:lnTo>
                      <a:lnTo>
                        <a:pt x="1256" y="897"/>
                      </a:lnTo>
                      <a:lnTo>
                        <a:pt x="897" y="1435"/>
                      </a:lnTo>
                      <a:lnTo>
                        <a:pt x="598" y="2033"/>
                      </a:lnTo>
                      <a:lnTo>
                        <a:pt x="299" y="2632"/>
                      </a:lnTo>
                      <a:lnTo>
                        <a:pt x="119" y="3229"/>
                      </a:lnTo>
                      <a:lnTo>
                        <a:pt x="0" y="3768"/>
                      </a:lnTo>
                      <a:lnTo>
                        <a:pt x="0" y="3827"/>
                      </a:lnTo>
                      <a:lnTo>
                        <a:pt x="0" y="4186"/>
                      </a:lnTo>
                      <a:lnTo>
                        <a:pt x="60" y="4486"/>
                      </a:lnTo>
                      <a:lnTo>
                        <a:pt x="239" y="4605"/>
                      </a:lnTo>
                    </a:path>
                  </a:pathLst>
                </a:custGeom>
                <a:noFill/>
                <a:ln w="6350" cap="flat">
                  <a:solidFill>
                    <a:schemeClr val="bg1">
                      <a:alpha val="80000"/>
                    </a:schemeClr>
                  </a:solidFill>
                  <a:prstDash val="solid"/>
                  <a:miter/>
                </a:ln>
              </p:spPr>
              <p:txBody>
                <a:bodyPr rtlCol="0" anchor="ctr"/>
                <a:lstStyle/>
                <a:p>
                  <a:endParaRPr lang="en-GB"/>
                </a:p>
              </p:txBody>
            </p:sp>
            <p:sp>
              <p:nvSpPr>
                <p:cNvPr id="7678" name="Vrije vorm: vorm 7677">
                  <a:extLst>
                    <a:ext uri="{FF2B5EF4-FFF2-40B4-BE49-F238E27FC236}">
                      <a16:creationId xmlns:a16="http://schemas.microsoft.com/office/drawing/2014/main" id="{65263C61-F0B4-485F-A5DC-068742C2BA85}"/>
                    </a:ext>
                  </a:extLst>
                </p:cNvPr>
                <p:cNvSpPr/>
                <p:nvPr/>
              </p:nvSpPr>
              <p:spPr>
                <a:xfrm>
                  <a:off x="5790076" y="5302607"/>
                  <a:ext cx="5263" cy="5502"/>
                </a:xfrm>
                <a:custGeom>
                  <a:avLst/>
                  <a:gdLst>
                    <a:gd name="connsiteX0" fmla="*/ 0 w 5263"/>
                    <a:gd name="connsiteY0" fmla="*/ 5503 h 5502"/>
                    <a:gd name="connsiteX1" fmla="*/ 0 w 5263"/>
                    <a:gd name="connsiteY1" fmla="*/ 5503 h 5502"/>
                    <a:gd name="connsiteX2" fmla="*/ 359 w 5263"/>
                    <a:gd name="connsiteY2" fmla="*/ 5443 h 5502"/>
                    <a:gd name="connsiteX3" fmla="*/ 658 w 5263"/>
                    <a:gd name="connsiteY3" fmla="*/ 5323 h 5502"/>
                    <a:gd name="connsiteX4" fmla="*/ 1017 w 5263"/>
                    <a:gd name="connsiteY4" fmla="*/ 5144 h 5502"/>
                    <a:gd name="connsiteX5" fmla="*/ 1376 w 5263"/>
                    <a:gd name="connsiteY5" fmla="*/ 4845 h 5502"/>
                    <a:gd name="connsiteX6" fmla="*/ 1735 w 5263"/>
                    <a:gd name="connsiteY6" fmla="*/ 4486 h 5502"/>
                    <a:gd name="connsiteX7" fmla="*/ 2093 w 5263"/>
                    <a:gd name="connsiteY7" fmla="*/ 4067 h 5502"/>
                    <a:gd name="connsiteX8" fmla="*/ 2452 w 5263"/>
                    <a:gd name="connsiteY8" fmla="*/ 3589 h 5502"/>
                    <a:gd name="connsiteX9" fmla="*/ 2871 w 5263"/>
                    <a:gd name="connsiteY9" fmla="*/ 3050 h 5502"/>
                    <a:gd name="connsiteX10" fmla="*/ 5263 w 5263"/>
                    <a:gd name="connsiteY10" fmla="*/ 0 h 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63" h="5502">
                      <a:moveTo>
                        <a:pt x="0" y="5503"/>
                      </a:moveTo>
                      <a:lnTo>
                        <a:pt x="0" y="5503"/>
                      </a:lnTo>
                      <a:lnTo>
                        <a:pt x="359" y="5443"/>
                      </a:lnTo>
                      <a:lnTo>
                        <a:pt x="658" y="5323"/>
                      </a:lnTo>
                      <a:lnTo>
                        <a:pt x="1017" y="5144"/>
                      </a:lnTo>
                      <a:lnTo>
                        <a:pt x="1376" y="4845"/>
                      </a:lnTo>
                      <a:lnTo>
                        <a:pt x="1735" y="4486"/>
                      </a:lnTo>
                      <a:lnTo>
                        <a:pt x="2093" y="4067"/>
                      </a:lnTo>
                      <a:lnTo>
                        <a:pt x="2452" y="3589"/>
                      </a:lnTo>
                      <a:lnTo>
                        <a:pt x="2871" y="3050"/>
                      </a:lnTo>
                      <a:lnTo>
                        <a:pt x="5263" y="0"/>
                      </a:lnTo>
                    </a:path>
                  </a:pathLst>
                </a:custGeom>
                <a:noFill/>
                <a:ln w="6350" cap="flat">
                  <a:solidFill>
                    <a:schemeClr val="bg1">
                      <a:alpha val="80000"/>
                    </a:schemeClr>
                  </a:solidFill>
                  <a:prstDash val="solid"/>
                  <a:miter/>
                </a:ln>
              </p:spPr>
              <p:txBody>
                <a:bodyPr rtlCol="0" anchor="ctr"/>
                <a:lstStyle/>
                <a:p>
                  <a:endParaRPr lang="en-GB"/>
                </a:p>
              </p:txBody>
            </p:sp>
            <p:sp>
              <p:nvSpPr>
                <p:cNvPr id="7679" name="Vrije vorm: vorm 7678">
                  <a:extLst>
                    <a:ext uri="{FF2B5EF4-FFF2-40B4-BE49-F238E27FC236}">
                      <a16:creationId xmlns:a16="http://schemas.microsoft.com/office/drawing/2014/main" id="{61070E12-4469-4A4F-A2AA-71687FF6DDC6}"/>
                    </a:ext>
                  </a:extLst>
                </p:cNvPr>
                <p:cNvSpPr/>
                <p:nvPr/>
              </p:nvSpPr>
              <p:spPr>
                <a:xfrm>
                  <a:off x="5786368" y="5245252"/>
                  <a:ext cx="1375" cy="2451"/>
                </a:xfrm>
                <a:custGeom>
                  <a:avLst/>
                  <a:gdLst>
                    <a:gd name="connsiteX0" fmla="*/ 1376 w 1375"/>
                    <a:gd name="connsiteY0" fmla="*/ 2392 h 2451"/>
                    <a:gd name="connsiteX1" fmla="*/ 1376 w 1375"/>
                    <a:gd name="connsiteY1" fmla="*/ 2392 h 2451"/>
                    <a:gd name="connsiteX2" fmla="*/ 1017 w 1375"/>
                    <a:gd name="connsiteY2" fmla="*/ 0 h 2451"/>
                    <a:gd name="connsiteX3" fmla="*/ 0 w 1375"/>
                    <a:gd name="connsiteY3" fmla="*/ 2452 h 2451"/>
                  </a:gdLst>
                  <a:ahLst/>
                  <a:cxnLst>
                    <a:cxn ang="0">
                      <a:pos x="connsiteX0" y="connsiteY0"/>
                    </a:cxn>
                    <a:cxn ang="0">
                      <a:pos x="connsiteX1" y="connsiteY1"/>
                    </a:cxn>
                    <a:cxn ang="0">
                      <a:pos x="connsiteX2" y="connsiteY2"/>
                    </a:cxn>
                    <a:cxn ang="0">
                      <a:pos x="connsiteX3" y="connsiteY3"/>
                    </a:cxn>
                  </a:cxnLst>
                  <a:rect l="l" t="t" r="r" b="b"/>
                  <a:pathLst>
                    <a:path w="1375" h="2451">
                      <a:moveTo>
                        <a:pt x="1376" y="2392"/>
                      </a:moveTo>
                      <a:lnTo>
                        <a:pt x="1376" y="2392"/>
                      </a:lnTo>
                      <a:lnTo>
                        <a:pt x="1017" y="0"/>
                      </a:lnTo>
                      <a:lnTo>
                        <a:pt x="0" y="2452"/>
                      </a:lnTo>
                    </a:path>
                  </a:pathLst>
                </a:custGeom>
                <a:noFill/>
                <a:ln w="6350" cap="flat">
                  <a:solidFill>
                    <a:schemeClr val="bg1">
                      <a:alpha val="80000"/>
                    </a:schemeClr>
                  </a:solidFill>
                  <a:prstDash val="solid"/>
                  <a:miter/>
                </a:ln>
              </p:spPr>
              <p:txBody>
                <a:bodyPr rtlCol="0" anchor="ctr"/>
                <a:lstStyle/>
                <a:p>
                  <a:endParaRPr lang="en-GB"/>
                </a:p>
              </p:txBody>
            </p:sp>
            <p:sp>
              <p:nvSpPr>
                <p:cNvPr id="7680" name="Vrije vorm: vorm 7679">
                  <a:extLst>
                    <a:ext uri="{FF2B5EF4-FFF2-40B4-BE49-F238E27FC236}">
                      <a16:creationId xmlns:a16="http://schemas.microsoft.com/office/drawing/2014/main" id="{83AAF97F-9432-4A27-B450-9B556F8E5F6C}"/>
                    </a:ext>
                  </a:extLst>
                </p:cNvPr>
                <p:cNvSpPr/>
                <p:nvPr/>
              </p:nvSpPr>
              <p:spPr>
                <a:xfrm>
                  <a:off x="5787983" y="5248721"/>
                  <a:ext cx="4365" cy="4604"/>
                </a:xfrm>
                <a:custGeom>
                  <a:avLst/>
                  <a:gdLst>
                    <a:gd name="connsiteX0" fmla="*/ 4366 w 4365"/>
                    <a:gd name="connsiteY0" fmla="*/ 0 h 4604"/>
                    <a:gd name="connsiteX1" fmla="*/ 1914 w 4365"/>
                    <a:gd name="connsiteY1" fmla="*/ 2990 h 4604"/>
                    <a:gd name="connsiteX2" fmla="*/ 598 w 4365"/>
                    <a:gd name="connsiteY2" fmla="*/ 4605 h 4604"/>
                    <a:gd name="connsiteX3" fmla="*/ 60 w 4365"/>
                    <a:gd name="connsiteY3" fmla="*/ 4246 h 4604"/>
                    <a:gd name="connsiteX4" fmla="*/ 0 w 4365"/>
                    <a:gd name="connsiteY4" fmla="*/ 4186 h 4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5" h="4604">
                      <a:moveTo>
                        <a:pt x="4366" y="0"/>
                      </a:moveTo>
                      <a:lnTo>
                        <a:pt x="1914" y="2990"/>
                      </a:lnTo>
                      <a:lnTo>
                        <a:pt x="598" y="4605"/>
                      </a:lnTo>
                      <a:lnTo>
                        <a:pt x="60" y="4246"/>
                      </a:lnTo>
                      <a:lnTo>
                        <a:pt x="0" y="4186"/>
                      </a:lnTo>
                    </a:path>
                  </a:pathLst>
                </a:custGeom>
                <a:noFill/>
                <a:ln w="6350" cap="flat">
                  <a:solidFill>
                    <a:schemeClr val="bg1">
                      <a:alpha val="80000"/>
                    </a:schemeClr>
                  </a:solidFill>
                  <a:prstDash val="solid"/>
                  <a:miter/>
                </a:ln>
              </p:spPr>
              <p:txBody>
                <a:bodyPr rtlCol="0" anchor="ctr"/>
                <a:lstStyle/>
                <a:p>
                  <a:endParaRPr lang="en-GB"/>
                </a:p>
              </p:txBody>
            </p:sp>
            <p:sp>
              <p:nvSpPr>
                <p:cNvPr id="7681" name="Vrije vorm: vorm 7680">
                  <a:extLst>
                    <a:ext uri="{FF2B5EF4-FFF2-40B4-BE49-F238E27FC236}">
                      <a16:creationId xmlns:a16="http://schemas.microsoft.com/office/drawing/2014/main" id="{4B6A6CBF-A184-4464-8D9A-0EB4937D0712}"/>
                    </a:ext>
                  </a:extLst>
                </p:cNvPr>
                <p:cNvSpPr/>
                <p:nvPr/>
              </p:nvSpPr>
              <p:spPr>
                <a:xfrm>
                  <a:off x="5788222" y="5248243"/>
                  <a:ext cx="3110" cy="3050"/>
                </a:xfrm>
                <a:custGeom>
                  <a:avLst/>
                  <a:gdLst>
                    <a:gd name="connsiteX0" fmla="*/ 3110 w 3110"/>
                    <a:gd name="connsiteY0" fmla="*/ 0 h 3050"/>
                    <a:gd name="connsiteX1" fmla="*/ 658 w 3110"/>
                    <a:gd name="connsiteY1" fmla="*/ 2990 h 3050"/>
                    <a:gd name="connsiteX2" fmla="*/ 598 w 3110"/>
                    <a:gd name="connsiteY2" fmla="*/ 3050 h 3050"/>
                    <a:gd name="connsiteX3" fmla="*/ 0 w 3110"/>
                    <a:gd name="connsiteY3" fmla="*/ 2751 h 3050"/>
                  </a:gdLst>
                  <a:ahLst/>
                  <a:cxnLst>
                    <a:cxn ang="0">
                      <a:pos x="connsiteX0" y="connsiteY0"/>
                    </a:cxn>
                    <a:cxn ang="0">
                      <a:pos x="connsiteX1" y="connsiteY1"/>
                    </a:cxn>
                    <a:cxn ang="0">
                      <a:pos x="connsiteX2" y="connsiteY2"/>
                    </a:cxn>
                    <a:cxn ang="0">
                      <a:pos x="connsiteX3" y="connsiteY3"/>
                    </a:cxn>
                  </a:cxnLst>
                  <a:rect l="l" t="t" r="r" b="b"/>
                  <a:pathLst>
                    <a:path w="3110" h="3050">
                      <a:moveTo>
                        <a:pt x="3110" y="0"/>
                      </a:moveTo>
                      <a:lnTo>
                        <a:pt x="658" y="2990"/>
                      </a:lnTo>
                      <a:lnTo>
                        <a:pt x="598" y="3050"/>
                      </a:lnTo>
                      <a:lnTo>
                        <a:pt x="0" y="2751"/>
                      </a:lnTo>
                    </a:path>
                  </a:pathLst>
                </a:custGeom>
                <a:noFill/>
                <a:ln w="6350" cap="flat">
                  <a:solidFill>
                    <a:schemeClr val="bg1">
                      <a:alpha val="80000"/>
                    </a:schemeClr>
                  </a:solidFill>
                  <a:prstDash val="solid"/>
                  <a:miter/>
                </a:ln>
              </p:spPr>
              <p:txBody>
                <a:bodyPr rtlCol="0" anchor="ctr"/>
                <a:lstStyle/>
                <a:p>
                  <a:endParaRPr lang="en-GB"/>
                </a:p>
              </p:txBody>
            </p:sp>
            <p:sp>
              <p:nvSpPr>
                <p:cNvPr id="7682" name="Vrije vorm: vorm 7681">
                  <a:extLst>
                    <a:ext uri="{FF2B5EF4-FFF2-40B4-BE49-F238E27FC236}">
                      <a16:creationId xmlns:a16="http://schemas.microsoft.com/office/drawing/2014/main" id="{3354F07F-408B-4F70-952F-FDCD636FD746}"/>
                    </a:ext>
                  </a:extLst>
                </p:cNvPr>
                <p:cNvSpPr/>
                <p:nvPr/>
              </p:nvSpPr>
              <p:spPr>
                <a:xfrm>
                  <a:off x="5787684" y="5235863"/>
                  <a:ext cx="9688" cy="12081"/>
                </a:xfrm>
                <a:custGeom>
                  <a:avLst/>
                  <a:gdLst>
                    <a:gd name="connsiteX0" fmla="*/ 9689 w 9688"/>
                    <a:gd name="connsiteY0" fmla="*/ 0 h 12081"/>
                    <a:gd name="connsiteX1" fmla="*/ 9449 w 9688"/>
                    <a:gd name="connsiteY1" fmla="*/ 299 h 12081"/>
                    <a:gd name="connsiteX2" fmla="*/ 9390 w 9688"/>
                    <a:gd name="connsiteY2" fmla="*/ 359 h 12081"/>
                    <a:gd name="connsiteX3" fmla="*/ 9270 w 9688"/>
                    <a:gd name="connsiteY3" fmla="*/ 479 h 12081"/>
                    <a:gd name="connsiteX4" fmla="*/ 8791 w 9688"/>
                    <a:gd name="connsiteY4" fmla="*/ 1076 h 12081"/>
                    <a:gd name="connsiteX5" fmla="*/ 8313 w 9688"/>
                    <a:gd name="connsiteY5" fmla="*/ 1615 h 12081"/>
                    <a:gd name="connsiteX6" fmla="*/ 5861 w 9688"/>
                    <a:gd name="connsiteY6" fmla="*/ 4605 h 12081"/>
                    <a:gd name="connsiteX7" fmla="*/ 3409 w 9688"/>
                    <a:gd name="connsiteY7" fmla="*/ 7596 h 12081"/>
                    <a:gd name="connsiteX8" fmla="*/ 957 w 9688"/>
                    <a:gd name="connsiteY8" fmla="*/ 10586 h 12081"/>
                    <a:gd name="connsiteX9" fmla="*/ 0 w 9688"/>
                    <a:gd name="connsiteY9" fmla="*/ 11782 h 12081"/>
                    <a:gd name="connsiteX10" fmla="*/ 598 w 9688"/>
                    <a:gd name="connsiteY10" fmla="*/ 12081 h 12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8" h="12081">
                      <a:moveTo>
                        <a:pt x="9689" y="0"/>
                      </a:moveTo>
                      <a:lnTo>
                        <a:pt x="9449" y="299"/>
                      </a:lnTo>
                      <a:lnTo>
                        <a:pt x="9390" y="359"/>
                      </a:lnTo>
                      <a:lnTo>
                        <a:pt x="9270" y="479"/>
                      </a:lnTo>
                      <a:lnTo>
                        <a:pt x="8791" y="1076"/>
                      </a:lnTo>
                      <a:lnTo>
                        <a:pt x="8313" y="1615"/>
                      </a:lnTo>
                      <a:lnTo>
                        <a:pt x="5861" y="4605"/>
                      </a:lnTo>
                      <a:lnTo>
                        <a:pt x="3409" y="7596"/>
                      </a:lnTo>
                      <a:lnTo>
                        <a:pt x="957" y="10586"/>
                      </a:lnTo>
                      <a:lnTo>
                        <a:pt x="0" y="11782"/>
                      </a:lnTo>
                      <a:lnTo>
                        <a:pt x="598" y="12081"/>
                      </a:lnTo>
                    </a:path>
                  </a:pathLst>
                </a:custGeom>
                <a:noFill/>
                <a:ln w="6350" cap="flat">
                  <a:solidFill>
                    <a:schemeClr val="bg1">
                      <a:alpha val="80000"/>
                    </a:schemeClr>
                  </a:solidFill>
                  <a:prstDash val="solid"/>
                  <a:miter/>
                </a:ln>
              </p:spPr>
              <p:txBody>
                <a:bodyPr rtlCol="0" anchor="ctr"/>
                <a:lstStyle/>
                <a:p>
                  <a:endParaRPr lang="en-GB"/>
                </a:p>
              </p:txBody>
            </p:sp>
            <p:sp>
              <p:nvSpPr>
                <p:cNvPr id="7683" name="Vrije vorm: vorm 7682">
                  <a:extLst>
                    <a:ext uri="{FF2B5EF4-FFF2-40B4-BE49-F238E27FC236}">
                      <a16:creationId xmlns:a16="http://schemas.microsoft.com/office/drawing/2014/main" id="{09536688-D2D0-4396-A4B0-B0DD4CAA57B1}"/>
                    </a:ext>
                  </a:extLst>
                </p:cNvPr>
                <p:cNvSpPr/>
                <p:nvPr/>
              </p:nvSpPr>
              <p:spPr>
                <a:xfrm>
                  <a:off x="5788282" y="5236162"/>
                  <a:ext cx="9688" cy="15011"/>
                </a:xfrm>
                <a:custGeom>
                  <a:avLst/>
                  <a:gdLst>
                    <a:gd name="connsiteX0" fmla="*/ 9689 w 9688"/>
                    <a:gd name="connsiteY0" fmla="*/ 0 h 15011"/>
                    <a:gd name="connsiteX1" fmla="*/ 9450 w 9688"/>
                    <a:gd name="connsiteY1" fmla="*/ 299 h 15011"/>
                    <a:gd name="connsiteX2" fmla="*/ 9390 w 9688"/>
                    <a:gd name="connsiteY2" fmla="*/ 359 h 15011"/>
                    <a:gd name="connsiteX3" fmla="*/ 9270 w 9688"/>
                    <a:gd name="connsiteY3" fmla="*/ 479 h 15011"/>
                    <a:gd name="connsiteX4" fmla="*/ 8552 w 9688"/>
                    <a:gd name="connsiteY4" fmla="*/ 1316 h 15011"/>
                    <a:gd name="connsiteX5" fmla="*/ 8493 w 9688"/>
                    <a:gd name="connsiteY5" fmla="*/ 1376 h 15011"/>
                    <a:gd name="connsiteX6" fmla="*/ 6041 w 9688"/>
                    <a:gd name="connsiteY6" fmla="*/ 4366 h 15011"/>
                    <a:gd name="connsiteX7" fmla="*/ 3588 w 9688"/>
                    <a:gd name="connsiteY7" fmla="*/ 7357 h 15011"/>
                    <a:gd name="connsiteX8" fmla="*/ 1136 w 9688"/>
                    <a:gd name="connsiteY8" fmla="*/ 10347 h 15011"/>
                    <a:gd name="connsiteX9" fmla="*/ 0 w 9688"/>
                    <a:gd name="connsiteY9" fmla="*/ 11722 h 15011"/>
                    <a:gd name="connsiteX10" fmla="*/ 359 w 9688"/>
                    <a:gd name="connsiteY10" fmla="*/ 14114 h 15011"/>
                    <a:gd name="connsiteX11" fmla="*/ 479 w 9688"/>
                    <a:gd name="connsiteY11" fmla="*/ 15012 h 1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88" h="15011">
                      <a:moveTo>
                        <a:pt x="9689" y="0"/>
                      </a:moveTo>
                      <a:lnTo>
                        <a:pt x="9450" y="299"/>
                      </a:lnTo>
                      <a:lnTo>
                        <a:pt x="9390" y="359"/>
                      </a:lnTo>
                      <a:lnTo>
                        <a:pt x="9270" y="479"/>
                      </a:lnTo>
                      <a:lnTo>
                        <a:pt x="8552" y="1316"/>
                      </a:lnTo>
                      <a:lnTo>
                        <a:pt x="8493" y="1376"/>
                      </a:lnTo>
                      <a:lnTo>
                        <a:pt x="6041" y="4366"/>
                      </a:lnTo>
                      <a:lnTo>
                        <a:pt x="3588" y="7357"/>
                      </a:lnTo>
                      <a:lnTo>
                        <a:pt x="1136" y="10347"/>
                      </a:lnTo>
                      <a:lnTo>
                        <a:pt x="0" y="11722"/>
                      </a:lnTo>
                      <a:lnTo>
                        <a:pt x="359" y="14114"/>
                      </a:lnTo>
                      <a:lnTo>
                        <a:pt x="479" y="15012"/>
                      </a:lnTo>
                    </a:path>
                  </a:pathLst>
                </a:custGeom>
                <a:noFill/>
                <a:ln w="6350" cap="flat">
                  <a:solidFill>
                    <a:schemeClr val="bg1">
                      <a:alpha val="80000"/>
                    </a:schemeClr>
                  </a:solidFill>
                  <a:prstDash val="solid"/>
                  <a:miter/>
                </a:ln>
              </p:spPr>
              <p:txBody>
                <a:bodyPr rtlCol="0" anchor="ctr"/>
                <a:lstStyle/>
                <a:p>
                  <a:endParaRPr lang="en-GB"/>
                </a:p>
              </p:txBody>
            </p:sp>
            <p:sp>
              <p:nvSpPr>
                <p:cNvPr id="7684" name="Vrije vorm: vorm 7683">
                  <a:extLst>
                    <a:ext uri="{FF2B5EF4-FFF2-40B4-BE49-F238E27FC236}">
                      <a16:creationId xmlns:a16="http://schemas.microsoft.com/office/drawing/2014/main" id="{C80EC0A9-A8D2-46D3-8162-65660E96777E}"/>
                    </a:ext>
                  </a:extLst>
                </p:cNvPr>
                <p:cNvSpPr/>
                <p:nvPr/>
              </p:nvSpPr>
              <p:spPr>
                <a:xfrm>
                  <a:off x="5788222" y="5250994"/>
                  <a:ext cx="358" cy="2392"/>
                </a:xfrm>
                <a:custGeom>
                  <a:avLst/>
                  <a:gdLst>
                    <a:gd name="connsiteX0" fmla="*/ 0 w 358"/>
                    <a:gd name="connsiteY0" fmla="*/ 0 h 2392"/>
                    <a:gd name="connsiteX1" fmla="*/ 359 w 358"/>
                    <a:gd name="connsiteY1" fmla="*/ 2392 h 2392"/>
                  </a:gdLst>
                  <a:ahLst/>
                  <a:cxnLst>
                    <a:cxn ang="0">
                      <a:pos x="connsiteX0" y="connsiteY0"/>
                    </a:cxn>
                    <a:cxn ang="0">
                      <a:pos x="connsiteX1" y="connsiteY1"/>
                    </a:cxn>
                  </a:cxnLst>
                  <a:rect l="l" t="t" r="r" b="b"/>
                  <a:pathLst>
                    <a:path w="358" h="2392">
                      <a:moveTo>
                        <a:pt x="0" y="0"/>
                      </a:moveTo>
                      <a:lnTo>
                        <a:pt x="359" y="2392"/>
                      </a:lnTo>
                    </a:path>
                  </a:pathLst>
                </a:custGeom>
                <a:noFill/>
                <a:ln w="6350" cap="flat">
                  <a:solidFill>
                    <a:schemeClr val="bg1">
                      <a:alpha val="80000"/>
                    </a:schemeClr>
                  </a:solidFill>
                  <a:prstDash val="solid"/>
                  <a:miter/>
                </a:ln>
              </p:spPr>
              <p:txBody>
                <a:bodyPr rtlCol="0" anchor="ctr"/>
                <a:lstStyle/>
                <a:p>
                  <a:endParaRPr lang="en-GB"/>
                </a:p>
              </p:txBody>
            </p:sp>
            <p:sp>
              <p:nvSpPr>
                <p:cNvPr id="7685" name="Vrije vorm: vorm 7684">
                  <a:extLst>
                    <a:ext uri="{FF2B5EF4-FFF2-40B4-BE49-F238E27FC236}">
                      <a16:creationId xmlns:a16="http://schemas.microsoft.com/office/drawing/2014/main" id="{2BDAC4FC-6FD6-46CE-99EE-7AE319635A65}"/>
                    </a:ext>
                  </a:extLst>
                </p:cNvPr>
                <p:cNvSpPr/>
                <p:nvPr/>
              </p:nvSpPr>
              <p:spPr>
                <a:xfrm>
                  <a:off x="5794143" y="5247166"/>
                  <a:ext cx="358" cy="2631"/>
                </a:xfrm>
                <a:custGeom>
                  <a:avLst/>
                  <a:gdLst>
                    <a:gd name="connsiteX0" fmla="*/ 359 w 358"/>
                    <a:gd name="connsiteY0" fmla="*/ 2632 h 2631"/>
                    <a:gd name="connsiteX1" fmla="*/ 0 w 358"/>
                    <a:gd name="connsiteY1" fmla="*/ 0 h 2631"/>
                  </a:gdLst>
                  <a:ahLst/>
                  <a:cxnLst>
                    <a:cxn ang="0">
                      <a:pos x="connsiteX0" y="connsiteY0"/>
                    </a:cxn>
                    <a:cxn ang="0">
                      <a:pos x="connsiteX1" y="connsiteY1"/>
                    </a:cxn>
                  </a:cxnLst>
                  <a:rect l="l" t="t" r="r" b="b"/>
                  <a:pathLst>
                    <a:path w="358" h="2631">
                      <a:moveTo>
                        <a:pt x="359" y="2632"/>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686" name="Vrije vorm: vorm 7685">
                  <a:extLst>
                    <a:ext uri="{FF2B5EF4-FFF2-40B4-BE49-F238E27FC236}">
                      <a16:creationId xmlns:a16="http://schemas.microsoft.com/office/drawing/2014/main" id="{C5F3AE69-1D28-4AB1-8B39-8243A68523B3}"/>
                    </a:ext>
                  </a:extLst>
                </p:cNvPr>
                <p:cNvSpPr/>
                <p:nvPr/>
              </p:nvSpPr>
              <p:spPr>
                <a:xfrm>
                  <a:off x="5790734" y="5240887"/>
                  <a:ext cx="8432" cy="6219"/>
                </a:xfrm>
                <a:custGeom>
                  <a:avLst/>
                  <a:gdLst>
                    <a:gd name="connsiteX0" fmla="*/ 0 w 8432"/>
                    <a:gd name="connsiteY0" fmla="*/ 4605 h 6219"/>
                    <a:gd name="connsiteX1" fmla="*/ 538 w 8432"/>
                    <a:gd name="connsiteY1" fmla="*/ 4844 h 6219"/>
                    <a:gd name="connsiteX2" fmla="*/ 1375 w 8432"/>
                    <a:gd name="connsiteY2" fmla="*/ 5263 h 6219"/>
                    <a:gd name="connsiteX3" fmla="*/ 1973 w 8432"/>
                    <a:gd name="connsiteY3" fmla="*/ 5562 h 6219"/>
                    <a:gd name="connsiteX4" fmla="*/ 2990 w 8432"/>
                    <a:gd name="connsiteY4" fmla="*/ 6040 h 6219"/>
                    <a:gd name="connsiteX5" fmla="*/ 3409 w 8432"/>
                    <a:gd name="connsiteY5" fmla="*/ 6220 h 6219"/>
                    <a:gd name="connsiteX6" fmla="*/ 5861 w 8432"/>
                    <a:gd name="connsiteY6" fmla="*/ 3229 h 6219"/>
                    <a:gd name="connsiteX7" fmla="*/ 6639 w 8432"/>
                    <a:gd name="connsiteY7" fmla="*/ 2273 h 6219"/>
                    <a:gd name="connsiteX8" fmla="*/ 7715 w 8432"/>
                    <a:gd name="connsiteY8" fmla="*/ 897 h 6219"/>
                    <a:gd name="connsiteX9" fmla="*/ 7894 w 8432"/>
                    <a:gd name="connsiteY9" fmla="*/ 658 h 6219"/>
                    <a:gd name="connsiteX10" fmla="*/ 8433 w 8432"/>
                    <a:gd name="connsiteY10" fmla="*/ 0 h 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32" h="6219">
                      <a:moveTo>
                        <a:pt x="0" y="4605"/>
                      </a:moveTo>
                      <a:lnTo>
                        <a:pt x="538" y="4844"/>
                      </a:lnTo>
                      <a:lnTo>
                        <a:pt x="1375" y="5263"/>
                      </a:lnTo>
                      <a:lnTo>
                        <a:pt x="1973" y="5562"/>
                      </a:lnTo>
                      <a:lnTo>
                        <a:pt x="2990" y="6040"/>
                      </a:lnTo>
                      <a:lnTo>
                        <a:pt x="3409" y="6220"/>
                      </a:lnTo>
                      <a:lnTo>
                        <a:pt x="5861" y="3229"/>
                      </a:lnTo>
                      <a:lnTo>
                        <a:pt x="6639" y="2273"/>
                      </a:lnTo>
                      <a:lnTo>
                        <a:pt x="7715" y="897"/>
                      </a:lnTo>
                      <a:lnTo>
                        <a:pt x="7894" y="658"/>
                      </a:lnTo>
                      <a:lnTo>
                        <a:pt x="8433" y="0"/>
                      </a:lnTo>
                    </a:path>
                  </a:pathLst>
                </a:custGeom>
                <a:noFill/>
                <a:ln w="6350" cap="flat">
                  <a:solidFill>
                    <a:schemeClr val="bg1">
                      <a:alpha val="80000"/>
                    </a:schemeClr>
                  </a:solidFill>
                  <a:prstDash val="solid"/>
                  <a:miter/>
                </a:ln>
              </p:spPr>
              <p:txBody>
                <a:bodyPr rtlCol="0" anchor="ctr"/>
                <a:lstStyle/>
                <a:p>
                  <a:endParaRPr lang="en-GB"/>
                </a:p>
              </p:txBody>
            </p:sp>
            <p:sp>
              <p:nvSpPr>
                <p:cNvPr id="7687" name="Vrije vorm: vorm 7686">
                  <a:extLst>
                    <a:ext uri="{FF2B5EF4-FFF2-40B4-BE49-F238E27FC236}">
                      <a16:creationId xmlns:a16="http://schemas.microsoft.com/office/drawing/2014/main" id="{672A197F-2805-49CA-90A9-FABC3296467E}"/>
                    </a:ext>
                  </a:extLst>
                </p:cNvPr>
                <p:cNvSpPr/>
                <p:nvPr/>
              </p:nvSpPr>
              <p:spPr>
                <a:xfrm>
                  <a:off x="5790973" y="5239331"/>
                  <a:ext cx="8492" cy="10466"/>
                </a:xfrm>
                <a:custGeom>
                  <a:avLst/>
                  <a:gdLst>
                    <a:gd name="connsiteX0" fmla="*/ 4785 w 8492"/>
                    <a:gd name="connsiteY0" fmla="*/ 0 h 10466"/>
                    <a:gd name="connsiteX1" fmla="*/ 5502 w 8492"/>
                    <a:gd name="connsiteY1" fmla="*/ 359 h 10466"/>
                    <a:gd name="connsiteX2" fmla="*/ 6100 w 8492"/>
                    <a:gd name="connsiteY2" fmla="*/ 658 h 10466"/>
                    <a:gd name="connsiteX3" fmla="*/ 6160 w 8492"/>
                    <a:gd name="connsiteY3" fmla="*/ 718 h 10466"/>
                    <a:gd name="connsiteX4" fmla="*/ 6160 w 8492"/>
                    <a:gd name="connsiteY4" fmla="*/ 718 h 10466"/>
                    <a:gd name="connsiteX5" fmla="*/ 6758 w 8492"/>
                    <a:gd name="connsiteY5" fmla="*/ 1017 h 10466"/>
                    <a:gd name="connsiteX6" fmla="*/ 6758 w 8492"/>
                    <a:gd name="connsiteY6" fmla="*/ 1017 h 10466"/>
                    <a:gd name="connsiteX7" fmla="*/ 6937 w 8492"/>
                    <a:gd name="connsiteY7" fmla="*/ 1076 h 10466"/>
                    <a:gd name="connsiteX8" fmla="*/ 7057 w 8492"/>
                    <a:gd name="connsiteY8" fmla="*/ 1136 h 10466"/>
                    <a:gd name="connsiteX9" fmla="*/ 8134 w 8492"/>
                    <a:gd name="connsiteY9" fmla="*/ 1674 h 10466"/>
                    <a:gd name="connsiteX10" fmla="*/ 8493 w 8492"/>
                    <a:gd name="connsiteY10" fmla="*/ 4306 h 10466"/>
                    <a:gd name="connsiteX11" fmla="*/ 8493 w 8492"/>
                    <a:gd name="connsiteY11" fmla="*/ 4306 h 10466"/>
                    <a:gd name="connsiteX12" fmla="*/ 8253 w 8492"/>
                    <a:gd name="connsiteY12" fmla="*/ 4605 h 10466"/>
                    <a:gd name="connsiteX13" fmla="*/ 5801 w 8492"/>
                    <a:gd name="connsiteY13" fmla="*/ 7595 h 10466"/>
                    <a:gd name="connsiteX14" fmla="*/ 5622 w 8492"/>
                    <a:gd name="connsiteY14" fmla="*/ 7835 h 10466"/>
                    <a:gd name="connsiteX15" fmla="*/ 3469 w 8492"/>
                    <a:gd name="connsiteY15" fmla="*/ 10466 h 10466"/>
                    <a:gd name="connsiteX16" fmla="*/ 3349 w 8492"/>
                    <a:gd name="connsiteY16" fmla="*/ 10406 h 10466"/>
                    <a:gd name="connsiteX17" fmla="*/ 1256 w 8492"/>
                    <a:gd name="connsiteY17" fmla="*/ 9390 h 10466"/>
                    <a:gd name="connsiteX18" fmla="*/ 658 w 8492"/>
                    <a:gd name="connsiteY18" fmla="*/ 9090 h 10466"/>
                    <a:gd name="connsiteX19" fmla="*/ 239 w 8492"/>
                    <a:gd name="connsiteY19" fmla="*/ 8911 h 10466"/>
                    <a:gd name="connsiteX20" fmla="*/ 0 w 8492"/>
                    <a:gd name="connsiteY20" fmla="*/ 8791 h 1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492" h="10466">
                      <a:moveTo>
                        <a:pt x="4785" y="0"/>
                      </a:moveTo>
                      <a:lnTo>
                        <a:pt x="5502" y="359"/>
                      </a:lnTo>
                      <a:lnTo>
                        <a:pt x="6100" y="658"/>
                      </a:lnTo>
                      <a:lnTo>
                        <a:pt x="6160" y="718"/>
                      </a:lnTo>
                      <a:lnTo>
                        <a:pt x="6160" y="718"/>
                      </a:lnTo>
                      <a:lnTo>
                        <a:pt x="6758" y="1017"/>
                      </a:lnTo>
                      <a:lnTo>
                        <a:pt x="6758" y="1017"/>
                      </a:lnTo>
                      <a:lnTo>
                        <a:pt x="6937" y="1076"/>
                      </a:lnTo>
                      <a:lnTo>
                        <a:pt x="7057" y="1136"/>
                      </a:lnTo>
                      <a:lnTo>
                        <a:pt x="8134" y="1674"/>
                      </a:lnTo>
                      <a:lnTo>
                        <a:pt x="8493" y="4306"/>
                      </a:lnTo>
                      <a:lnTo>
                        <a:pt x="8493" y="4306"/>
                      </a:lnTo>
                      <a:lnTo>
                        <a:pt x="8253" y="4605"/>
                      </a:lnTo>
                      <a:lnTo>
                        <a:pt x="5801" y="7595"/>
                      </a:lnTo>
                      <a:lnTo>
                        <a:pt x="5622" y="7835"/>
                      </a:lnTo>
                      <a:lnTo>
                        <a:pt x="3469" y="10466"/>
                      </a:lnTo>
                      <a:lnTo>
                        <a:pt x="3349" y="10406"/>
                      </a:lnTo>
                      <a:lnTo>
                        <a:pt x="1256" y="9390"/>
                      </a:lnTo>
                      <a:lnTo>
                        <a:pt x="658" y="9090"/>
                      </a:lnTo>
                      <a:lnTo>
                        <a:pt x="239" y="8911"/>
                      </a:lnTo>
                      <a:lnTo>
                        <a:pt x="0" y="8791"/>
                      </a:lnTo>
                    </a:path>
                  </a:pathLst>
                </a:custGeom>
                <a:noFill/>
                <a:ln w="6350" cap="flat">
                  <a:solidFill>
                    <a:schemeClr val="bg1">
                      <a:alpha val="80000"/>
                    </a:schemeClr>
                  </a:solidFill>
                  <a:prstDash val="solid"/>
                  <a:miter/>
                </a:ln>
              </p:spPr>
              <p:txBody>
                <a:bodyPr rtlCol="0" anchor="ctr"/>
                <a:lstStyle/>
                <a:p>
                  <a:endParaRPr lang="en-GB"/>
                </a:p>
              </p:txBody>
            </p:sp>
            <p:sp>
              <p:nvSpPr>
                <p:cNvPr id="7688" name="Vrije vorm: vorm 7687">
                  <a:extLst>
                    <a:ext uri="{FF2B5EF4-FFF2-40B4-BE49-F238E27FC236}">
                      <a16:creationId xmlns:a16="http://schemas.microsoft.com/office/drawing/2014/main" id="{E0E3A2CC-9199-42BA-A202-FB14E07ABAC1}"/>
                    </a:ext>
                  </a:extLst>
                </p:cNvPr>
                <p:cNvSpPr/>
                <p:nvPr/>
              </p:nvSpPr>
              <p:spPr>
                <a:xfrm>
                  <a:off x="5791093" y="5248004"/>
                  <a:ext cx="5980" cy="119"/>
                </a:xfrm>
                <a:custGeom>
                  <a:avLst/>
                  <a:gdLst>
                    <a:gd name="connsiteX0" fmla="*/ 0 w 5980"/>
                    <a:gd name="connsiteY0" fmla="*/ 119 h 119"/>
                    <a:gd name="connsiteX1" fmla="*/ 0 w 5980"/>
                    <a:gd name="connsiteY1" fmla="*/ 0 h 119"/>
                  </a:gdLst>
                  <a:ahLst/>
                  <a:cxnLst>
                    <a:cxn ang="0">
                      <a:pos x="connsiteX0" y="connsiteY0"/>
                    </a:cxn>
                    <a:cxn ang="0">
                      <a:pos x="connsiteX1" y="connsiteY1"/>
                    </a:cxn>
                  </a:cxnLst>
                  <a:rect l="l" t="t" r="r" b="b"/>
                  <a:pathLst>
                    <a:path w="5980" h="119">
                      <a:moveTo>
                        <a:pt x="0" y="119"/>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689" name="Vrije vorm: vorm 7688">
                  <a:extLst>
                    <a:ext uri="{FF2B5EF4-FFF2-40B4-BE49-F238E27FC236}">
                      <a16:creationId xmlns:a16="http://schemas.microsoft.com/office/drawing/2014/main" id="{6987A62D-C62C-4762-8D6F-864B321E4E73}"/>
                    </a:ext>
                  </a:extLst>
                </p:cNvPr>
                <p:cNvSpPr/>
                <p:nvPr/>
              </p:nvSpPr>
              <p:spPr>
                <a:xfrm>
                  <a:off x="5797851" y="5238973"/>
                  <a:ext cx="598" cy="1315"/>
                </a:xfrm>
                <a:custGeom>
                  <a:avLst/>
                  <a:gdLst>
                    <a:gd name="connsiteX0" fmla="*/ 538 w 598"/>
                    <a:gd name="connsiteY0" fmla="*/ 0 h 1315"/>
                    <a:gd name="connsiteX1" fmla="*/ 598 w 598"/>
                    <a:gd name="connsiteY1" fmla="*/ 538 h 1315"/>
                    <a:gd name="connsiteX2" fmla="*/ 120 w 598"/>
                    <a:gd name="connsiteY2" fmla="*/ 1136 h 1315"/>
                    <a:gd name="connsiteX3" fmla="*/ 120 w 598"/>
                    <a:gd name="connsiteY3" fmla="*/ 1136 h 1315"/>
                    <a:gd name="connsiteX4" fmla="*/ 0 w 598"/>
                    <a:gd name="connsiteY4" fmla="*/ 1316 h 1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 h="1315">
                      <a:moveTo>
                        <a:pt x="538" y="0"/>
                      </a:moveTo>
                      <a:lnTo>
                        <a:pt x="598" y="538"/>
                      </a:lnTo>
                      <a:lnTo>
                        <a:pt x="120" y="1136"/>
                      </a:lnTo>
                      <a:lnTo>
                        <a:pt x="120" y="1136"/>
                      </a:lnTo>
                      <a:lnTo>
                        <a:pt x="0" y="1316"/>
                      </a:lnTo>
                    </a:path>
                  </a:pathLst>
                </a:custGeom>
                <a:noFill/>
                <a:ln w="6350" cap="flat">
                  <a:solidFill>
                    <a:schemeClr val="bg1">
                      <a:alpha val="80000"/>
                    </a:schemeClr>
                  </a:solidFill>
                  <a:prstDash val="solid"/>
                  <a:miter/>
                </a:ln>
              </p:spPr>
              <p:txBody>
                <a:bodyPr rtlCol="0" anchor="ctr"/>
                <a:lstStyle/>
                <a:p>
                  <a:endParaRPr lang="en-GB"/>
                </a:p>
              </p:txBody>
            </p:sp>
            <p:sp>
              <p:nvSpPr>
                <p:cNvPr id="7690" name="Vrije vorm: vorm 7689">
                  <a:extLst>
                    <a:ext uri="{FF2B5EF4-FFF2-40B4-BE49-F238E27FC236}">
                      <a16:creationId xmlns:a16="http://schemas.microsoft.com/office/drawing/2014/main" id="{EDDAF591-A360-4DC3-85CC-0DD6CF178E83}"/>
                    </a:ext>
                  </a:extLst>
                </p:cNvPr>
                <p:cNvSpPr/>
                <p:nvPr/>
              </p:nvSpPr>
              <p:spPr>
                <a:xfrm>
                  <a:off x="5789059" y="5247166"/>
                  <a:ext cx="1256" cy="2093"/>
                </a:xfrm>
                <a:custGeom>
                  <a:avLst/>
                  <a:gdLst>
                    <a:gd name="connsiteX0" fmla="*/ 1256 w 1256"/>
                    <a:gd name="connsiteY0" fmla="*/ 0 h 2093"/>
                    <a:gd name="connsiteX1" fmla="*/ 1136 w 1256"/>
                    <a:gd name="connsiteY1" fmla="*/ 0 h 2093"/>
                    <a:gd name="connsiteX2" fmla="*/ 957 w 1256"/>
                    <a:gd name="connsiteY2" fmla="*/ 60 h 2093"/>
                    <a:gd name="connsiteX3" fmla="*/ 778 w 1256"/>
                    <a:gd name="connsiteY3" fmla="*/ 179 h 2093"/>
                    <a:gd name="connsiteX4" fmla="*/ 598 w 1256"/>
                    <a:gd name="connsiteY4" fmla="*/ 359 h 2093"/>
                    <a:gd name="connsiteX5" fmla="*/ 419 w 1256"/>
                    <a:gd name="connsiteY5" fmla="*/ 598 h 2093"/>
                    <a:gd name="connsiteX6" fmla="*/ 239 w 1256"/>
                    <a:gd name="connsiteY6" fmla="*/ 837 h 2093"/>
                    <a:gd name="connsiteX7" fmla="*/ 120 w 1256"/>
                    <a:gd name="connsiteY7" fmla="*/ 1136 h 2093"/>
                    <a:gd name="connsiteX8" fmla="*/ 60 w 1256"/>
                    <a:gd name="connsiteY8" fmla="*/ 1435 h 2093"/>
                    <a:gd name="connsiteX9" fmla="*/ 0 w 1256"/>
                    <a:gd name="connsiteY9" fmla="*/ 1674 h 2093"/>
                    <a:gd name="connsiteX10" fmla="*/ 0 w 1256"/>
                    <a:gd name="connsiteY10" fmla="*/ 1854 h 2093"/>
                    <a:gd name="connsiteX11" fmla="*/ 60 w 1256"/>
                    <a:gd name="connsiteY11" fmla="*/ 2033 h 2093"/>
                    <a:gd name="connsiteX12" fmla="*/ 180 w 1256"/>
                    <a:gd name="connsiteY12" fmla="*/ 2093 h 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6" h="2093">
                      <a:moveTo>
                        <a:pt x="1256" y="0"/>
                      </a:moveTo>
                      <a:lnTo>
                        <a:pt x="1136" y="0"/>
                      </a:lnTo>
                      <a:lnTo>
                        <a:pt x="957" y="60"/>
                      </a:lnTo>
                      <a:lnTo>
                        <a:pt x="778" y="179"/>
                      </a:lnTo>
                      <a:lnTo>
                        <a:pt x="598" y="359"/>
                      </a:lnTo>
                      <a:lnTo>
                        <a:pt x="419" y="598"/>
                      </a:lnTo>
                      <a:lnTo>
                        <a:pt x="239" y="837"/>
                      </a:lnTo>
                      <a:lnTo>
                        <a:pt x="120" y="1136"/>
                      </a:lnTo>
                      <a:lnTo>
                        <a:pt x="60" y="1435"/>
                      </a:lnTo>
                      <a:lnTo>
                        <a:pt x="0" y="1674"/>
                      </a:lnTo>
                      <a:lnTo>
                        <a:pt x="0" y="1854"/>
                      </a:lnTo>
                      <a:lnTo>
                        <a:pt x="60" y="2033"/>
                      </a:lnTo>
                      <a:lnTo>
                        <a:pt x="180" y="2093"/>
                      </a:lnTo>
                    </a:path>
                  </a:pathLst>
                </a:custGeom>
                <a:noFill/>
                <a:ln w="6350" cap="flat">
                  <a:solidFill>
                    <a:schemeClr val="bg1">
                      <a:alpha val="80000"/>
                    </a:schemeClr>
                  </a:solidFill>
                  <a:prstDash val="solid"/>
                  <a:miter/>
                </a:ln>
              </p:spPr>
              <p:txBody>
                <a:bodyPr rtlCol="0" anchor="ctr"/>
                <a:lstStyle/>
                <a:p>
                  <a:endParaRPr lang="en-GB"/>
                </a:p>
              </p:txBody>
            </p:sp>
            <p:sp>
              <p:nvSpPr>
                <p:cNvPr id="7691" name="Vrije vorm: vorm 7690">
                  <a:extLst>
                    <a:ext uri="{FF2B5EF4-FFF2-40B4-BE49-F238E27FC236}">
                      <a16:creationId xmlns:a16="http://schemas.microsoft.com/office/drawing/2014/main" id="{16F67C48-449B-4F32-A8CF-2F5141E95E15}"/>
                    </a:ext>
                  </a:extLst>
                </p:cNvPr>
                <p:cNvSpPr/>
                <p:nvPr/>
              </p:nvSpPr>
              <p:spPr>
                <a:xfrm>
                  <a:off x="5796475" y="5238195"/>
                  <a:ext cx="1136" cy="1495"/>
                </a:xfrm>
                <a:custGeom>
                  <a:avLst/>
                  <a:gdLst>
                    <a:gd name="connsiteX0" fmla="*/ 1136 w 1136"/>
                    <a:gd name="connsiteY0" fmla="*/ 0 h 1495"/>
                    <a:gd name="connsiteX1" fmla="*/ 1017 w 1136"/>
                    <a:gd name="connsiteY1" fmla="*/ 0 h 1495"/>
                    <a:gd name="connsiteX2" fmla="*/ 837 w 1136"/>
                    <a:gd name="connsiteY2" fmla="*/ 60 h 1495"/>
                    <a:gd name="connsiteX3" fmla="*/ 658 w 1136"/>
                    <a:gd name="connsiteY3" fmla="*/ 179 h 1495"/>
                    <a:gd name="connsiteX4" fmla="*/ 658 w 1136"/>
                    <a:gd name="connsiteY4" fmla="*/ 179 h 1495"/>
                    <a:gd name="connsiteX5" fmla="*/ 479 w 1136"/>
                    <a:gd name="connsiteY5" fmla="*/ 359 h 1495"/>
                    <a:gd name="connsiteX6" fmla="*/ 299 w 1136"/>
                    <a:gd name="connsiteY6" fmla="*/ 598 h 1495"/>
                    <a:gd name="connsiteX7" fmla="*/ 180 w 1136"/>
                    <a:gd name="connsiteY7" fmla="*/ 837 h 1495"/>
                    <a:gd name="connsiteX8" fmla="*/ 60 w 1136"/>
                    <a:gd name="connsiteY8" fmla="*/ 1136 h 1495"/>
                    <a:gd name="connsiteX9" fmla="*/ 0 w 1136"/>
                    <a:gd name="connsiteY9" fmla="*/ 1435 h 1495"/>
                    <a:gd name="connsiteX10" fmla="*/ 0 w 1136"/>
                    <a:gd name="connsiteY10" fmla="*/ 1495 h 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6" h="1495">
                      <a:moveTo>
                        <a:pt x="1136" y="0"/>
                      </a:moveTo>
                      <a:lnTo>
                        <a:pt x="1017" y="0"/>
                      </a:lnTo>
                      <a:lnTo>
                        <a:pt x="837" y="60"/>
                      </a:lnTo>
                      <a:lnTo>
                        <a:pt x="658" y="179"/>
                      </a:lnTo>
                      <a:lnTo>
                        <a:pt x="658" y="179"/>
                      </a:lnTo>
                      <a:lnTo>
                        <a:pt x="479" y="359"/>
                      </a:lnTo>
                      <a:lnTo>
                        <a:pt x="299" y="598"/>
                      </a:lnTo>
                      <a:lnTo>
                        <a:pt x="180" y="837"/>
                      </a:lnTo>
                      <a:lnTo>
                        <a:pt x="60" y="1136"/>
                      </a:lnTo>
                      <a:lnTo>
                        <a:pt x="0" y="1435"/>
                      </a:lnTo>
                      <a:lnTo>
                        <a:pt x="0" y="1495"/>
                      </a:lnTo>
                    </a:path>
                  </a:pathLst>
                </a:custGeom>
                <a:noFill/>
                <a:ln w="6350" cap="flat">
                  <a:solidFill>
                    <a:schemeClr val="bg1">
                      <a:alpha val="80000"/>
                    </a:schemeClr>
                  </a:solidFill>
                  <a:prstDash val="solid"/>
                  <a:miter/>
                </a:ln>
              </p:spPr>
              <p:txBody>
                <a:bodyPr rtlCol="0" anchor="ctr"/>
                <a:lstStyle/>
                <a:p>
                  <a:endParaRPr lang="en-GB"/>
                </a:p>
              </p:txBody>
            </p:sp>
            <p:sp>
              <p:nvSpPr>
                <p:cNvPr id="7692" name="Vrije vorm: vorm 7691">
                  <a:extLst>
                    <a:ext uri="{FF2B5EF4-FFF2-40B4-BE49-F238E27FC236}">
                      <a16:creationId xmlns:a16="http://schemas.microsoft.com/office/drawing/2014/main" id="{BC7A00CD-B04E-4E05-8E70-910BD16D9B00}"/>
                    </a:ext>
                  </a:extLst>
                </p:cNvPr>
                <p:cNvSpPr/>
                <p:nvPr/>
              </p:nvSpPr>
              <p:spPr>
                <a:xfrm>
                  <a:off x="5795339" y="5239272"/>
                  <a:ext cx="418" cy="538"/>
                </a:xfrm>
                <a:custGeom>
                  <a:avLst/>
                  <a:gdLst>
                    <a:gd name="connsiteX0" fmla="*/ 0 w 418"/>
                    <a:gd name="connsiteY0" fmla="*/ 538 h 538"/>
                    <a:gd name="connsiteX1" fmla="*/ 419 w 418"/>
                    <a:gd name="connsiteY1" fmla="*/ 0 h 538"/>
                  </a:gdLst>
                  <a:ahLst/>
                  <a:cxnLst>
                    <a:cxn ang="0">
                      <a:pos x="connsiteX0" y="connsiteY0"/>
                    </a:cxn>
                    <a:cxn ang="0">
                      <a:pos x="connsiteX1" y="connsiteY1"/>
                    </a:cxn>
                  </a:cxnLst>
                  <a:rect l="l" t="t" r="r" b="b"/>
                  <a:pathLst>
                    <a:path w="418" h="538">
                      <a:moveTo>
                        <a:pt x="0" y="538"/>
                      </a:moveTo>
                      <a:lnTo>
                        <a:pt x="419" y="0"/>
                      </a:lnTo>
                    </a:path>
                  </a:pathLst>
                </a:custGeom>
                <a:noFill/>
                <a:ln w="6350" cap="flat">
                  <a:solidFill>
                    <a:schemeClr val="bg1">
                      <a:alpha val="80000"/>
                    </a:schemeClr>
                  </a:solidFill>
                  <a:prstDash val="solid"/>
                  <a:miter/>
                </a:ln>
              </p:spPr>
              <p:txBody>
                <a:bodyPr rtlCol="0" anchor="ctr"/>
                <a:lstStyle/>
                <a:p>
                  <a:endParaRPr lang="en-GB"/>
                </a:p>
              </p:txBody>
            </p:sp>
            <p:sp>
              <p:nvSpPr>
                <p:cNvPr id="7693" name="Vrije vorm: vorm 7692">
                  <a:extLst>
                    <a:ext uri="{FF2B5EF4-FFF2-40B4-BE49-F238E27FC236}">
                      <a16:creationId xmlns:a16="http://schemas.microsoft.com/office/drawing/2014/main" id="{711F767A-E68C-4220-ABE6-BEDCEC0C2A02}"/>
                    </a:ext>
                  </a:extLst>
                </p:cNvPr>
                <p:cNvSpPr/>
                <p:nvPr/>
              </p:nvSpPr>
              <p:spPr>
                <a:xfrm>
                  <a:off x="5791152" y="5239750"/>
                  <a:ext cx="7236" cy="6698"/>
                </a:xfrm>
                <a:custGeom>
                  <a:avLst/>
                  <a:gdLst>
                    <a:gd name="connsiteX0" fmla="*/ 0 w 7236"/>
                    <a:gd name="connsiteY0" fmla="*/ 5203 h 6698"/>
                    <a:gd name="connsiteX1" fmla="*/ 1376 w 7236"/>
                    <a:gd name="connsiteY1" fmla="*/ 5921 h 6698"/>
                    <a:gd name="connsiteX2" fmla="*/ 1974 w 7236"/>
                    <a:gd name="connsiteY2" fmla="*/ 6220 h 6698"/>
                    <a:gd name="connsiteX3" fmla="*/ 2392 w 7236"/>
                    <a:gd name="connsiteY3" fmla="*/ 6399 h 6698"/>
                    <a:gd name="connsiteX4" fmla="*/ 2751 w 7236"/>
                    <a:gd name="connsiteY4" fmla="*/ 6579 h 6698"/>
                    <a:gd name="connsiteX5" fmla="*/ 2990 w 7236"/>
                    <a:gd name="connsiteY5" fmla="*/ 6698 h 6698"/>
                    <a:gd name="connsiteX6" fmla="*/ 2990 w 7236"/>
                    <a:gd name="connsiteY6" fmla="*/ 6698 h 6698"/>
                    <a:gd name="connsiteX7" fmla="*/ 3290 w 7236"/>
                    <a:gd name="connsiteY7" fmla="*/ 6340 h 6698"/>
                    <a:gd name="connsiteX8" fmla="*/ 5742 w 7236"/>
                    <a:gd name="connsiteY8" fmla="*/ 3349 h 6698"/>
                    <a:gd name="connsiteX9" fmla="*/ 5801 w 7236"/>
                    <a:gd name="connsiteY9" fmla="*/ 3289 h 6698"/>
                    <a:gd name="connsiteX10" fmla="*/ 5981 w 7236"/>
                    <a:gd name="connsiteY10" fmla="*/ 3050 h 6698"/>
                    <a:gd name="connsiteX11" fmla="*/ 6220 w 7236"/>
                    <a:gd name="connsiteY11" fmla="*/ 2751 h 6698"/>
                    <a:gd name="connsiteX12" fmla="*/ 7237 w 7236"/>
                    <a:gd name="connsiteY12" fmla="*/ 1495 h 6698"/>
                    <a:gd name="connsiteX13" fmla="*/ 6938 w 7236"/>
                    <a:gd name="connsiteY13" fmla="*/ 1316 h 6698"/>
                    <a:gd name="connsiteX14" fmla="*/ 6220 w 7236"/>
                    <a:gd name="connsiteY14" fmla="*/ 957 h 6698"/>
                    <a:gd name="connsiteX15" fmla="*/ 5622 w 7236"/>
                    <a:gd name="connsiteY15" fmla="*/ 658 h 6698"/>
                    <a:gd name="connsiteX16" fmla="*/ 4725 w 7236"/>
                    <a:gd name="connsiteY16" fmla="*/ 239 h 6698"/>
                    <a:gd name="connsiteX17" fmla="*/ 4187 w 7236"/>
                    <a:gd name="connsiteY17" fmla="*/ 0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36" h="6698">
                      <a:moveTo>
                        <a:pt x="0" y="5203"/>
                      </a:moveTo>
                      <a:lnTo>
                        <a:pt x="1376" y="5921"/>
                      </a:lnTo>
                      <a:lnTo>
                        <a:pt x="1974" y="6220"/>
                      </a:lnTo>
                      <a:lnTo>
                        <a:pt x="2392" y="6399"/>
                      </a:lnTo>
                      <a:lnTo>
                        <a:pt x="2751" y="6579"/>
                      </a:lnTo>
                      <a:lnTo>
                        <a:pt x="2990" y="6698"/>
                      </a:lnTo>
                      <a:lnTo>
                        <a:pt x="2990" y="6698"/>
                      </a:lnTo>
                      <a:lnTo>
                        <a:pt x="3290" y="6340"/>
                      </a:lnTo>
                      <a:lnTo>
                        <a:pt x="5742" y="3349"/>
                      </a:lnTo>
                      <a:lnTo>
                        <a:pt x="5801" y="3289"/>
                      </a:lnTo>
                      <a:lnTo>
                        <a:pt x="5981" y="3050"/>
                      </a:lnTo>
                      <a:lnTo>
                        <a:pt x="6220" y="2751"/>
                      </a:lnTo>
                      <a:lnTo>
                        <a:pt x="7237" y="1495"/>
                      </a:lnTo>
                      <a:lnTo>
                        <a:pt x="6938" y="1316"/>
                      </a:lnTo>
                      <a:lnTo>
                        <a:pt x="6220" y="957"/>
                      </a:lnTo>
                      <a:lnTo>
                        <a:pt x="5622" y="658"/>
                      </a:lnTo>
                      <a:lnTo>
                        <a:pt x="4725" y="239"/>
                      </a:lnTo>
                      <a:lnTo>
                        <a:pt x="4187" y="0"/>
                      </a:lnTo>
                    </a:path>
                  </a:pathLst>
                </a:custGeom>
                <a:noFill/>
                <a:ln w="6350" cap="flat">
                  <a:solidFill>
                    <a:schemeClr val="bg1">
                      <a:alpha val="80000"/>
                    </a:schemeClr>
                  </a:solidFill>
                  <a:prstDash val="solid"/>
                  <a:miter/>
                </a:ln>
              </p:spPr>
              <p:txBody>
                <a:bodyPr rtlCol="0" anchor="ctr"/>
                <a:lstStyle/>
                <a:p>
                  <a:endParaRPr lang="en-GB"/>
                </a:p>
              </p:txBody>
            </p:sp>
            <p:sp>
              <p:nvSpPr>
                <p:cNvPr id="7694" name="Vrije vorm: vorm 7693">
                  <a:extLst>
                    <a:ext uri="{FF2B5EF4-FFF2-40B4-BE49-F238E27FC236}">
                      <a16:creationId xmlns:a16="http://schemas.microsoft.com/office/drawing/2014/main" id="{1570DD54-BF96-4326-AA82-EA407E76077B}"/>
                    </a:ext>
                  </a:extLst>
                </p:cNvPr>
                <p:cNvSpPr/>
                <p:nvPr/>
              </p:nvSpPr>
              <p:spPr>
                <a:xfrm>
                  <a:off x="5790734" y="5245013"/>
                  <a:ext cx="418" cy="2511"/>
                </a:xfrm>
                <a:custGeom>
                  <a:avLst/>
                  <a:gdLst>
                    <a:gd name="connsiteX0" fmla="*/ 299 w 418"/>
                    <a:gd name="connsiteY0" fmla="*/ 2512 h 2511"/>
                    <a:gd name="connsiteX1" fmla="*/ 0 w 418"/>
                    <a:gd name="connsiteY1" fmla="*/ 538 h 2511"/>
                    <a:gd name="connsiteX2" fmla="*/ 418 w 418"/>
                    <a:gd name="connsiteY2" fmla="*/ 0 h 2511"/>
                  </a:gdLst>
                  <a:ahLst/>
                  <a:cxnLst>
                    <a:cxn ang="0">
                      <a:pos x="connsiteX0" y="connsiteY0"/>
                    </a:cxn>
                    <a:cxn ang="0">
                      <a:pos x="connsiteX1" y="connsiteY1"/>
                    </a:cxn>
                    <a:cxn ang="0">
                      <a:pos x="connsiteX2" y="connsiteY2"/>
                    </a:cxn>
                  </a:cxnLst>
                  <a:rect l="l" t="t" r="r" b="b"/>
                  <a:pathLst>
                    <a:path w="418" h="2511">
                      <a:moveTo>
                        <a:pt x="299" y="2512"/>
                      </a:moveTo>
                      <a:lnTo>
                        <a:pt x="0" y="538"/>
                      </a:lnTo>
                      <a:lnTo>
                        <a:pt x="418" y="0"/>
                      </a:lnTo>
                    </a:path>
                  </a:pathLst>
                </a:custGeom>
                <a:noFill/>
                <a:ln w="6350" cap="flat">
                  <a:solidFill>
                    <a:schemeClr val="bg1">
                      <a:alpha val="80000"/>
                    </a:schemeClr>
                  </a:solidFill>
                  <a:prstDash val="solid"/>
                  <a:miter/>
                </a:ln>
              </p:spPr>
              <p:txBody>
                <a:bodyPr rtlCol="0" anchor="ctr"/>
                <a:lstStyle/>
                <a:p>
                  <a:endParaRPr lang="en-GB"/>
                </a:p>
              </p:txBody>
            </p:sp>
            <p:sp>
              <p:nvSpPr>
                <p:cNvPr id="7695" name="Vrije vorm: vorm 7694">
                  <a:extLst>
                    <a:ext uri="{FF2B5EF4-FFF2-40B4-BE49-F238E27FC236}">
                      <a16:creationId xmlns:a16="http://schemas.microsoft.com/office/drawing/2014/main" id="{31E6A664-52AE-4A2B-97C2-4C191BF756ED}"/>
                    </a:ext>
                  </a:extLst>
                </p:cNvPr>
                <p:cNvSpPr/>
                <p:nvPr/>
              </p:nvSpPr>
              <p:spPr>
                <a:xfrm>
                  <a:off x="5768306" y="5206677"/>
                  <a:ext cx="2093" cy="3588"/>
                </a:xfrm>
                <a:custGeom>
                  <a:avLst/>
                  <a:gdLst>
                    <a:gd name="connsiteX0" fmla="*/ 1794 w 2093"/>
                    <a:gd name="connsiteY0" fmla="*/ 120 h 3588"/>
                    <a:gd name="connsiteX1" fmla="*/ 1914 w 2093"/>
                    <a:gd name="connsiteY1" fmla="*/ 239 h 3588"/>
                    <a:gd name="connsiteX2" fmla="*/ 1973 w 2093"/>
                    <a:gd name="connsiteY2" fmla="*/ 299 h 3588"/>
                    <a:gd name="connsiteX3" fmla="*/ 2033 w 2093"/>
                    <a:gd name="connsiteY3" fmla="*/ 419 h 3588"/>
                    <a:gd name="connsiteX4" fmla="*/ 2093 w 2093"/>
                    <a:gd name="connsiteY4" fmla="*/ 598 h 3588"/>
                    <a:gd name="connsiteX5" fmla="*/ 2093 w 2093"/>
                    <a:gd name="connsiteY5" fmla="*/ 658 h 3588"/>
                    <a:gd name="connsiteX6" fmla="*/ 2093 w 2093"/>
                    <a:gd name="connsiteY6" fmla="*/ 778 h 3588"/>
                    <a:gd name="connsiteX7" fmla="*/ 2093 w 2093"/>
                    <a:gd name="connsiteY7" fmla="*/ 957 h 3588"/>
                    <a:gd name="connsiteX8" fmla="*/ 2033 w 2093"/>
                    <a:gd name="connsiteY8" fmla="*/ 1375 h 3588"/>
                    <a:gd name="connsiteX9" fmla="*/ 1914 w 2093"/>
                    <a:gd name="connsiteY9" fmla="*/ 1794 h 3588"/>
                    <a:gd name="connsiteX10" fmla="*/ 1734 w 2093"/>
                    <a:gd name="connsiteY10" fmla="*/ 2273 h 3588"/>
                    <a:gd name="connsiteX11" fmla="*/ 1495 w 2093"/>
                    <a:gd name="connsiteY11" fmla="*/ 2691 h 3588"/>
                    <a:gd name="connsiteX12" fmla="*/ 1196 w 2093"/>
                    <a:gd name="connsiteY12" fmla="*/ 3050 h 3588"/>
                    <a:gd name="connsiteX13" fmla="*/ 1196 w 2093"/>
                    <a:gd name="connsiteY13" fmla="*/ 3110 h 3588"/>
                    <a:gd name="connsiteX14" fmla="*/ 957 w 2093"/>
                    <a:gd name="connsiteY14" fmla="*/ 3349 h 3588"/>
                    <a:gd name="connsiteX15" fmla="*/ 658 w 2093"/>
                    <a:gd name="connsiteY15" fmla="*/ 3529 h 3588"/>
                    <a:gd name="connsiteX16" fmla="*/ 418 w 2093"/>
                    <a:gd name="connsiteY16" fmla="*/ 3589 h 3588"/>
                    <a:gd name="connsiteX17" fmla="*/ 239 w 2093"/>
                    <a:gd name="connsiteY17" fmla="*/ 3529 h 3588"/>
                    <a:gd name="connsiteX18" fmla="*/ 60 w 2093"/>
                    <a:gd name="connsiteY18" fmla="*/ 3349 h 3588"/>
                    <a:gd name="connsiteX19" fmla="*/ 60 w 2093"/>
                    <a:gd name="connsiteY19" fmla="*/ 3229 h 3588"/>
                    <a:gd name="connsiteX20" fmla="*/ 0 w 2093"/>
                    <a:gd name="connsiteY20" fmla="*/ 3050 h 3588"/>
                    <a:gd name="connsiteX21" fmla="*/ 0 w 2093"/>
                    <a:gd name="connsiteY21" fmla="*/ 2871 h 3588"/>
                    <a:gd name="connsiteX22" fmla="*/ 0 w 2093"/>
                    <a:gd name="connsiteY22" fmla="*/ 2691 h 3588"/>
                    <a:gd name="connsiteX23" fmla="*/ 60 w 2093"/>
                    <a:gd name="connsiteY23" fmla="*/ 2452 h 3588"/>
                    <a:gd name="connsiteX24" fmla="*/ 60 w 2093"/>
                    <a:gd name="connsiteY24" fmla="*/ 2333 h 3588"/>
                    <a:gd name="connsiteX25" fmla="*/ 60 w 2093"/>
                    <a:gd name="connsiteY25" fmla="*/ 2273 h 3588"/>
                    <a:gd name="connsiteX26" fmla="*/ 119 w 2093"/>
                    <a:gd name="connsiteY26" fmla="*/ 2093 h 3588"/>
                    <a:gd name="connsiteX27" fmla="*/ 119 w 2093"/>
                    <a:gd name="connsiteY27" fmla="*/ 2034 h 3588"/>
                    <a:gd name="connsiteX28" fmla="*/ 179 w 2093"/>
                    <a:gd name="connsiteY28" fmla="*/ 1854 h 3588"/>
                    <a:gd name="connsiteX29" fmla="*/ 359 w 2093"/>
                    <a:gd name="connsiteY29" fmla="*/ 1375 h 3588"/>
                    <a:gd name="connsiteX30" fmla="*/ 598 w 2093"/>
                    <a:gd name="connsiteY30" fmla="*/ 957 h 3588"/>
                    <a:gd name="connsiteX31" fmla="*/ 718 w 2093"/>
                    <a:gd name="connsiteY31" fmla="*/ 778 h 3588"/>
                    <a:gd name="connsiteX32" fmla="*/ 837 w 2093"/>
                    <a:gd name="connsiteY32" fmla="*/ 598 h 3588"/>
                    <a:gd name="connsiteX33" fmla="*/ 1136 w 2093"/>
                    <a:gd name="connsiteY33" fmla="*/ 299 h 3588"/>
                    <a:gd name="connsiteX34" fmla="*/ 1316 w 2093"/>
                    <a:gd name="connsiteY34" fmla="*/ 180 h 3588"/>
                    <a:gd name="connsiteX35" fmla="*/ 1375 w 2093"/>
                    <a:gd name="connsiteY35" fmla="*/ 120 h 3588"/>
                    <a:gd name="connsiteX36" fmla="*/ 1495 w 2093"/>
                    <a:gd name="connsiteY36" fmla="*/ 60 h 3588"/>
                    <a:gd name="connsiteX37" fmla="*/ 1495 w 2093"/>
                    <a:gd name="connsiteY37" fmla="*/ 60 h 3588"/>
                    <a:gd name="connsiteX38" fmla="*/ 1615 w 2093"/>
                    <a:gd name="connsiteY38" fmla="*/ 0 h 3588"/>
                    <a:gd name="connsiteX39" fmla="*/ 1674 w 2093"/>
                    <a:gd name="connsiteY39" fmla="*/ 0 h 3588"/>
                    <a:gd name="connsiteX40" fmla="*/ 1794 w 2093"/>
                    <a:gd name="connsiteY40" fmla="*/ 120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093" h="3588">
                      <a:moveTo>
                        <a:pt x="1794" y="120"/>
                      </a:moveTo>
                      <a:lnTo>
                        <a:pt x="1914" y="239"/>
                      </a:lnTo>
                      <a:lnTo>
                        <a:pt x="1973" y="299"/>
                      </a:lnTo>
                      <a:lnTo>
                        <a:pt x="2033" y="419"/>
                      </a:lnTo>
                      <a:lnTo>
                        <a:pt x="2093" y="598"/>
                      </a:lnTo>
                      <a:lnTo>
                        <a:pt x="2093" y="658"/>
                      </a:lnTo>
                      <a:lnTo>
                        <a:pt x="2093" y="778"/>
                      </a:lnTo>
                      <a:lnTo>
                        <a:pt x="2093" y="957"/>
                      </a:lnTo>
                      <a:lnTo>
                        <a:pt x="2033" y="1375"/>
                      </a:lnTo>
                      <a:lnTo>
                        <a:pt x="1914" y="1794"/>
                      </a:lnTo>
                      <a:lnTo>
                        <a:pt x="1734" y="2273"/>
                      </a:lnTo>
                      <a:lnTo>
                        <a:pt x="1495" y="2691"/>
                      </a:lnTo>
                      <a:lnTo>
                        <a:pt x="1196" y="3050"/>
                      </a:lnTo>
                      <a:lnTo>
                        <a:pt x="1196" y="3110"/>
                      </a:lnTo>
                      <a:lnTo>
                        <a:pt x="957" y="3349"/>
                      </a:lnTo>
                      <a:lnTo>
                        <a:pt x="658" y="3529"/>
                      </a:lnTo>
                      <a:lnTo>
                        <a:pt x="418" y="3589"/>
                      </a:lnTo>
                      <a:lnTo>
                        <a:pt x="239" y="3529"/>
                      </a:lnTo>
                      <a:lnTo>
                        <a:pt x="60" y="3349"/>
                      </a:lnTo>
                      <a:lnTo>
                        <a:pt x="60" y="3229"/>
                      </a:lnTo>
                      <a:lnTo>
                        <a:pt x="0" y="3050"/>
                      </a:lnTo>
                      <a:lnTo>
                        <a:pt x="0" y="2871"/>
                      </a:lnTo>
                      <a:lnTo>
                        <a:pt x="0" y="2691"/>
                      </a:lnTo>
                      <a:lnTo>
                        <a:pt x="60" y="2452"/>
                      </a:lnTo>
                      <a:lnTo>
                        <a:pt x="60" y="2333"/>
                      </a:lnTo>
                      <a:lnTo>
                        <a:pt x="60" y="2273"/>
                      </a:lnTo>
                      <a:lnTo>
                        <a:pt x="119" y="2093"/>
                      </a:lnTo>
                      <a:lnTo>
                        <a:pt x="119" y="2034"/>
                      </a:lnTo>
                      <a:lnTo>
                        <a:pt x="179" y="1854"/>
                      </a:lnTo>
                      <a:lnTo>
                        <a:pt x="359" y="1375"/>
                      </a:lnTo>
                      <a:lnTo>
                        <a:pt x="598" y="957"/>
                      </a:lnTo>
                      <a:lnTo>
                        <a:pt x="718" y="778"/>
                      </a:lnTo>
                      <a:lnTo>
                        <a:pt x="837" y="598"/>
                      </a:lnTo>
                      <a:lnTo>
                        <a:pt x="1136" y="299"/>
                      </a:lnTo>
                      <a:lnTo>
                        <a:pt x="1316" y="180"/>
                      </a:lnTo>
                      <a:lnTo>
                        <a:pt x="1375" y="120"/>
                      </a:lnTo>
                      <a:lnTo>
                        <a:pt x="1495" y="60"/>
                      </a:lnTo>
                      <a:lnTo>
                        <a:pt x="1495" y="60"/>
                      </a:lnTo>
                      <a:lnTo>
                        <a:pt x="1615" y="0"/>
                      </a:lnTo>
                      <a:lnTo>
                        <a:pt x="1674" y="0"/>
                      </a:lnTo>
                      <a:lnTo>
                        <a:pt x="1794" y="120"/>
                      </a:lnTo>
                    </a:path>
                  </a:pathLst>
                </a:custGeom>
                <a:noFill/>
                <a:ln w="6350" cap="flat">
                  <a:solidFill>
                    <a:schemeClr val="bg1">
                      <a:alpha val="80000"/>
                    </a:schemeClr>
                  </a:solidFill>
                  <a:prstDash val="solid"/>
                  <a:miter/>
                </a:ln>
              </p:spPr>
              <p:txBody>
                <a:bodyPr rtlCol="0" anchor="ctr"/>
                <a:lstStyle/>
                <a:p>
                  <a:endParaRPr lang="en-GB"/>
                </a:p>
              </p:txBody>
            </p:sp>
            <p:sp>
              <p:nvSpPr>
                <p:cNvPr id="7696" name="Vrije vorm: vorm 7695">
                  <a:extLst>
                    <a:ext uri="{FF2B5EF4-FFF2-40B4-BE49-F238E27FC236}">
                      <a16:creationId xmlns:a16="http://schemas.microsoft.com/office/drawing/2014/main" id="{13E16728-6664-4E26-A50D-49FD3101DBAA}"/>
                    </a:ext>
                  </a:extLst>
                </p:cNvPr>
                <p:cNvSpPr/>
                <p:nvPr/>
              </p:nvSpPr>
              <p:spPr>
                <a:xfrm>
                  <a:off x="5768306" y="5207454"/>
                  <a:ext cx="597" cy="1375"/>
                </a:xfrm>
                <a:custGeom>
                  <a:avLst/>
                  <a:gdLst>
                    <a:gd name="connsiteX0" fmla="*/ 0 w 597"/>
                    <a:gd name="connsiteY0" fmla="*/ 1375 h 1375"/>
                    <a:gd name="connsiteX1" fmla="*/ 119 w 597"/>
                    <a:gd name="connsiteY1" fmla="*/ 1196 h 1375"/>
                    <a:gd name="connsiteX2" fmla="*/ 359 w 597"/>
                    <a:gd name="connsiteY2" fmla="*/ 778 h 1375"/>
                    <a:gd name="connsiteX3" fmla="*/ 538 w 597"/>
                    <a:gd name="connsiteY3" fmla="*/ 299 h 1375"/>
                    <a:gd name="connsiteX4" fmla="*/ 598 w 597"/>
                    <a:gd name="connsiteY4" fmla="*/ 0 h 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 h="1375">
                      <a:moveTo>
                        <a:pt x="0" y="1375"/>
                      </a:moveTo>
                      <a:lnTo>
                        <a:pt x="119" y="1196"/>
                      </a:lnTo>
                      <a:lnTo>
                        <a:pt x="359" y="778"/>
                      </a:lnTo>
                      <a:lnTo>
                        <a:pt x="538" y="299"/>
                      </a:lnTo>
                      <a:lnTo>
                        <a:pt x="598" y="0"/>
                      </a:lnTo>
                    </a:path>
                  </a:pathLst>
                </a:custGeom>
                <a:noFill/>
                <a:ln w="6350" cap="flat">
                  <a:solidFill>
                    <a:schemeClr val="bg1">
                      <a:alpha val="80000"/>
                    </a:schemeClr>
                  </a:solidFill>
                  <a:prstDash val="solid"/>
                  <a:miter/>
                </a:ln>
              </p:spPr>
              <p:txBody>
                <a:bodyPr rtlCol="0" anchor="ctr"/>
                <a:lstStyle/>
                <a:p>
                  <a:endParaRPr lang="en-GB"/>
                </a:p>
              </p:txBody>
            </p:sp>
            <p:sp>
              <p:nvSpPr>
                <p:cNvPr id="7697" name="Vrije vorm: vorm 7696">
                  <a:extLst>
                    <a:ext uri="{FF2B5EF4-FFF2-40B4-BE49-F238E27FC236}">
                      <a16:creationId xmlns:a16="http://schemas.microsoft.com/office/drawing/2014/main" id="{068C98DF-1EE8-4179-AEC0-A3F91C099E20}"/>
                    </a:ext>
                  </a:extLst>
                </p:cNvPr>
                <p:cNvSpPr/>
                <p:nvPr/>
              </p:nvSpPr>
              <p:spPr>
                <a:xfrm>
                  <a:off x="5789239" y="5247166"/>
                  <a:ext cx="1794" cy="2451"/>
                </a:xfrm>
                <a:custGeom>
                  <a:avLst/>
                  <a:gdLst>
                    <a:gd name="connsiteX0" fmla="*/ 1076 w 1794"/>
                    <a:gd name="connsiteY0" fmla="*/ 0 h 2451"/>
                    <a:gd name="connsiteX1" fmla="*/ 1674 w 1794"/>
                    <a:gd name="connsiteY1" fmla="*/ 299 h 2451"/>
                    <a:gd name="connsiteX2" fmla="*/ 1734 w 1794"/>
                    <a:gd name="connsiteY2" fmla="*/ 359 h 2451"/>
                    <a:gd name="connsiteX3" fmla="*/ 1734 w 1794"/>
                    <a:gd name="connsiteY3" fmla="*/ 359 h 2451"/>
                    <a:gd name="connsiteX4" fmla="*/ 1734 w 1794"/>
                    <a:gd name="connsiteY4" fmla="*/ 359 h 2451"/>
                    <a:gd name="connsiteX5" fmla="*/ 1794 w 1794"/>
                    <a:gd name="connsiteY5" fmla="*/ 538 h 2451"/>
                    <a:gd name="connsiteX6" fmla="*/ 1794 w 1794"/>
                    <a:gd name="connsiteY6" fmla="*/ 718 h 2451"/>
                    <a:gd name="connsiteX7" fmla="*/ 1794 w 1794"/>
                    <a:gd name="connsiteY7" fmla="*/ 837 h 2451"/>
                    <a:gd name="connsiteX8" fmla="*/ 1794 w 1794"/>
                    <a:gd name="connsiteY8" fmla="*/ 1017 h 2451"/>
                    <a:gd name="connsiteX9" fmla="*/ 1734 w 1794"/>
                    <a:gd name="connsiteY9" fmla="*/ 1316 h 2451"/>
                    <a:gd name="connsiteX10" fmla="*/ 1615 w 1794"/>
                    <a:gd name="connsiteY10" fmla="*/ 1615 h 2451"/>
                    <a:gd name="connsiteX11" fmla="*/ 1435 w 1794"/>
                    <a:gd name="connsiteY11" fmla="*/ 1854 h 2451"/>
                    <a:gd name="connsiteX12" fmla="*/ 1256 w 1794"/>
                    <a:gd name="connsiteY12" fmla="*/ 2093 h 2451"/>
                    <a:gd name="connsiteX13" fmla="*/ 1076 w 1794"/>
                    <a:gd name="connsiteY13" fmla="*/ 2273 h 2451"/>
                    <a:gd name="connsiteX14" fmla="*/ 897 w 1794"/>
                    <a:gd name="connsiteY14" fmla="*/ 2392 h 2451"/>
                    <a:gd name="connsiteX15" fmla="*/ 718 w 1794"/>
                    <a:gd name="connsiteY15" fmla="*/ 2452 h 2451"/>
                    <a:gd name="connsiteX16" fmla="*/ 598 w 1794"/>
                    <a:gd name="connsiteY16" fmla="*/ 2452 h 2451"/>
                    <a:gd name="connsiteX17" fmla="*/ 239 w 1794"/>
                    <a:gd name="connsiteY17" fmla="*/ 2273 h 2451"/>
                    <a:gd name="connsiteX18" fmla="*/ 0 w 1794"/>
                    <a:gd name="connsiteY18" fmla="*/ 2153 h 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94" h="2451">
                      <a:moveTo>
                        <a:pt x="1076" y="0"/>
                      </a:moveTo>
                      <a:lnTo>
                        <a:pt x="1674" y="299"/>
                      </a:lnTo>
                      <a:lnTo>
                        <a:pt x="1734" y="359"/>
                      </a:lnTo>
                      <a:lnTo>
                        <a:pt x="1734" y="359"/>
                      </a:lnTo>
                      <a:lnTo>
                        <a:pt x="1734" y="359"/>
                      </a:lnTo>
                      <a:lnTo>
                        <a:pt x="1794" y="538"/>
                      </a:lnTo>
                      <a:lnTo>
                        <a:pt x="1794" y="718"/>
                      </a:lnTo>
                      <a:lnTo>
                        <a:pt x="1794" y="837"/>
                      </a:lnTo>
                      <a:lnTo>
                        <a:pt x="1794" y="1017"/>
                      </a:lnTo>
                      <a:lnTo>
                        <a:pt x="1734" y="1316"/>
                      </a:lnTo>
                      <a:lnTo>
                        <a:pt x="1615" y="1615"/>
                      </a:lnTo>
                      <a:lnTo>
                        <a:pt x="1435" y="1854"/>
                      </a:lnTo>
                      <a:lnTo>
                        <a:pt x="1256" y="2093"/>
                      </a:lnTo>
                      <a:lnTo>
                        <a:pt x="1076" y="2273"/>
                      </a:lnTo>
                      <a:lnTo>
                        <a:pt x="897" y="2392"/>
                      </a:lnTo>
                      <a:lnTo>
                        <a:pt x="718" y="2452"/>
                      </a:lnTo>
                      <a:lnTo>
                        <a:pt x="598" y="2452"/>
                      </a:lnTo>
                      <a:lnTo>
                        <a:pt x="239" y="2273"/>
                      </a:lnTo>
                      <a:lnTo>
                        <a:pt x="0" y="2153"/>
                      </a:lnTo>
                    </a:path>
                  </a:pathLst>
                </a:custGeom>
                <a:noFill/>
                <a:ln w="6350" cap="flat">
                  <a:solidFill>
                    <a:schemeClr val="bg1">
                      <a:alpha val="80000"/>
                    </a:schemeClr>
                  </a:solidFill>
                  <a:prstDash val="solid"/>
                  <a:miter/>
                </a:ln>
              </p:spPr>
              <p:txBody>
                <a:bodyPr rtlCol="0" anchor="ctr"/>
                <a:lstStyle/>
                <a:p>
                  <a:endParaRPr lang="en-GB"/>
                </a:p>
              </p:txBody>
            </p:sp>
            <p:sp>
              <p:nvSpPr>
                <p:cNvPr id="7698" name="Vrije vorm: vorm 7697">
                  <a:extLst>
                    <a:ext uri="{FF2B5EF4-FFF2-40B4-BE49-F238E27FC236}">
                      <a16:creationId xmlns:a16="http://schemas.microsoft.com/office/drawing/2014/main" id="{9D3ED0BB-4C9D-4A03-B8BF-14D49E6BA65A}"/>
                    </a:ext>
                  </a:extLst>
                </p:cNvPr>
                <p:cNvSpPr/>
                <p:nvPr/>
              </p:nvSpPr>
              <p:spPr>
                <a:xfrm>
                  <a:off x="5789777" y="5247465"/>
                  <a:ext cx="1196" cy="2093"/>
                </a:xfrm>
                <a:custGeom>
                  <a:avLst/>
                  <a:gdLst>
                    <a:gd name="connsiteX0" fmla="*/ 1196 w 1196"/>
                    <a:gd name="connsiteY0" fmla="*/ 0 h 2093"/>
                    <a:gd name="connsiteX1" fmla="*/ 1076 w 1196"/>
                    <a:gd name="connsiteY1" fmla="*/ 0 h 2093"/>
                    <a:gd name="connsiteX2" fmla="*/ 897 w 1196"/>
                    <a:gd name="connsiteY2" fmla="*/ 60 h 2093"/>
                    <a:gd name="connsiteX3" fmla="*/ 718 w 1196"/>
                    <a:gd name="connsiteY3" fmla="*/ 180 h 2093"/>
                    <a:gd name="connsiteX4" fmla="*/ 658 w 1196"/>
                    <a:gd name="connsiteY4" fmla="*/ 239 h 2093"/>
                    <a:gd name="connsiteX5" fmla="*/ 538 w 1196"/>
                    <a:gd name="connsiteY5" fmla="*/ 359 h 2093"/>
                    <a:gd name="connsiteX6" fmla="*/ 359 w 1196"/>
                    <a:gd name="connsiteY6" fmla="*/ 598 h 2093"/>
                    <a:gd name="connsiteX7" fmla="*/ 180 w 1196"/>
                    <a:gd name="connsiteY7" fmla="*/ 837 h 2093"/>
                    <a:gd name="connsiteX8" fmla="*/ 60 w 1196"/>
                    <a:gd name="connsiteY8" fmla="*/ 1136 h 2093"/>
                    <a:gd name="connsiteX9" fmla="*/ 0 w 1196"/>
                    <a:gd name="connsiteY9" fmla="*/ 1435 h 2093"/>
                    <a:gd name="connsiteX10" fmla="*/ 0 w 1196"/>
                    <a:gd name="connsiteY10" fmla="*/ 1615 h 2093"/>
                    <a:gd name="connsiteX11" fmla="*/ 0 w 1196"/>
                    <a:gd name="connsiteY11" fmla="*/ 1675 h 2093"/>
                    <a:gd name="connsiteX12" fmla="*/ 0 w 1196"/>
                    <a:gd name="connsiteY12" fmla="*/ 1675 h 2093"/>
                    <a:gd name="connsiteX13" fmla="*/ 0 w 1196"/>
                    <a:gd name="connsiteY13" fmla="*/ 1854 h 2093"/>
                    <a:gd name="connsiteX14" fmla="*/ 60 w 1196"/>
                    <a:gd name="connsiteY14" fmla="*/ 2034 h 2093"/>
                    <a:gd name="connsiteX15" fmla="*/ 180 w 1196"/>
                    <a:gd name="connsiteY15" fmla="*/ 2093 h 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6" h="2093">
                      <a:moveTo>
                        <a:pt x="1196" y="0"/>
                      </a:moveTo>
                      <a:lnTo>
                        <a:pt x="1076" y="0"/>
                      </a:lnTo>
                      <a:lnTo>
                        <a:pt x="897" y="60"/>
                      </a:lnTo>
                      <a:lnTo>
                        <a:pt x="718" y="180"/>
                      </a:lnTo>
                      <a:lnTo>
                        <a:pt x="658" y="239"/>
                      </a:lnTo>
                      <a:lnTo>
                        <a:pt x="538" y="359"/>
                      </a:lnTo>
                      <a:lnTo>
                        <a:pt x="359" y="598"/>
                      </a:lnTo>
                      <a:lnTo>
                        <a:pt x="180" y="837"/>
                      </a:lnTo>
                      <a:lnTo>
                        <a:pt x="60" y="1136"/>
                      </a:lnTo>
                      <a:lnTo>
                        <a:pt x="0" y="1435"/>
                      </a:lnTo>
                      <a:lnTo>
                        <a:pt x="0" y="1615"/>
                      </a:lnTo>
                      <a:lnTo>
                        <a:pt x="0" y="1675"/>
                      </a:lnTo>
                      <a:lnTo>
                        <a:pt x="0" y="1675"/>
                      </a:lnTo>
                      <a:lnTo>
                        <a:pt x="0" y="1854"/>
                      </a:lnTo>
                      <a:lnTo>
                        <a:pt x="60" y="2034"/>
                      </a:lnTo>
                      <a:lnTo>
                        <a:pt x="180" y="2093"/>
                      </a:lnTo>
                    </a:path>
                  </a:pathLst>
                </a:custGeom>
                <a:noFill/>
                <a:ln w="6350" cap="flat">
                  <a:solidFill>
                    <a:schemeClr val="bg1">
                      <a:alpha val="80000"/>
                    </a:schemeClr>
                  </a:solidFill>
                  <a:prstDash val="solid"/>
                  <a:miter/>
                </a:ln>
              </p:spPr>
              <p:txBody>
                <a:bodyPr rtlCol="0" anchor="ctr"/>
                <a:lstStyle/>
                <a:p>
                  <a:endParaRPr lang="en-GB"/>
                </a:p>
              </p:txBody>
            </p:sp>
            <p:sp>
              <p:nvSpPr>
                <p:cNvPr id="7699" name="Vrije vorm: vorm 7698">
                  <a:extLst>
                    <a:ext uri="{FF2B5EF4-FFF2-40B4-BE49-F238E27FC236}">
                      <a16:creationId xmlns:a16="http://schemas.microsoft.com/office/drawing/2014/main" id="{CB52023F-9968-4FAA-AB1D-256E21199F24}"/>
                    </a:ext>
                  </a:extLst>
                </p:cNvPr>
                <p:cNvSpPr/>
                <p:nvPr/>
              </p:nvSpPr>
              <p:spPr>
                <a:xfrm>
                  <a:off x="5797074" y="5238494"/>
                  <a:ext cx="1315" cy="1854"/>
                </a:xfrm>
                <a:custGeom>
                  <a:avLst/>
                  <a:gdLst>
                    <a:gd name="connsiteX0" fmla="*/ 0 w 1315"/>
                    <a:gd name="connsiteY0" fmla="*/ 1435 h 1854"/>
                    <a:gd name="connsiteX1" fmla="*/ 0 w 1315"/>
                    <a:gd name="connsiteY1" fmla="*/ 1435 h 1854"/>
                    <a:gd name="connsiteX2" fmla="*/ 119 w 1315"/>
                    <a:gd name="connsiteY2" fmla="*/ 1136 h 1854"/>
                    <a:gd name="connsiteX3" fmla="*/ 239 w 1315"/>
                    <a:gd name="connsiteY3" fmla="*/ 837 h 1854"/>
                    <a:gd name="connsiteX4" fmla="*/ 418 w 1315"/>
                    <a:gd name="connsiteY4" fmla="*/ 598 h 1854"/>
                    <a:gd name="connsiteX5" fmla="*/ 418 w 1315"/>
                    <a:gd name="connsiteY5" fmla="*/ 538 h 1854"/>
                    <a:gd name="connsiteX6" fmla="*/ 538 w 1315"/>
                    <a:gd name="connsiteY6" fmla="*/ 359 h 1854"/>
                    <a:gd name="connsiteX7" fmla="*/ 658 w 1315"/>
                    <a:gd name="connsiteY7" fmla="*/ 239 h 1854"/>
                    <a:gd name="connsiteX8" fmla="*/ 718 w 1315"/>
                    <a:gd name="connsiteY8" fmla="*/ 180 h 1854"/>
                    <a:gd name="connsiteX9" fmla="*/ 897 w 1315"/>
                    <a:gd name="connsiteY9" fmla="*/ 60 h 1854"/>
                    <a:gd name="connsiteX10" fmla="*/ 1076 w 1315"/>
                    <a:gd name="connsiteY10" fmla="*/ 0 h 1854"/>
                    <a:gd name="connsiteX11" fmla="*/ 1196 w 1315"/>
                    <a:gd name="connsiteY11" fmla="*/ 0 h 1854"/>
                    <a:gd name="connsiteX12" fmla="*/ 1256 w 1315"/>
                    <a:gd name="connsiteY12" fmla="*/ 60 h 1854"/>
                    <a:gd name="connsiteX13" fmla="*/ 1256 w 1315"/>
                    <a:gd name="connsiteY13" fmla="*/ 60 h 1854"/>
                    <a:gd name="connsiteX14" fmla="*/ 1316 w 1315"/>
                    <a:gd name="connsiteY14" fmla="*/ 239 h 1854"/>
                    <a:gd name="connsiteX15" fmla="*/ 1316 w 1315"/>
                    <a:gd name="connsiteY15" fmla="*/ 479 h 1854"/>
                    <a:gd name="connsiteX16" fmla="*/ 1316 w 1315"/>
                    <a:gd name="connsiteY16" fmla="*/ 538 h 1854"/>
                    <a:gd name="connsiteX17" fmla="*/ 1256 w 1315"/>
                    <a:gd name="connsiteY17" fmla="*/ 778 h 1854"/>
                    <a:gd name="connsiteX18" fmla="*/ 1196 w 1315"/>
                    <a:gd name="connsiteY18" fmla="*/ 1017 h 1854"/>
                    <a:gd name="connsiteX19" fmla="*/ 1196 w 1315"/>
                    <a:gd name="connsiteY19" fmla="*/ 1076 h 1854"/>
                    <a:gd name="connsiteX20" fmla="*/ 1076 w 1315"/>
                    <a:gd name="connsiteY20" fmla="*/ 1375 h 1854"/>
                    <a:gd name="connsiteX21" fmla="*/ 957 w 1315"/>
                    <a:gd name="connsiteY21" fmla="*/ 1615 h 1854"/>
                    <a:gd name="connsiteX22" fmla="*/ 897 w 1315"/>
                    <a:gd name="connsiteY22" fmla="*/ 1675 h 1854"/>
                    <a:gd name="connsiteX23" fmla="*/ 897 w 1315"/>
                    <a:gd name="connsiteY23" fmla="*/ 1675 h 1854"/>
                    <a:gd name="connsiteX24" fmla="*/ 777 w 1315"/>
                    <a:gd name="connsiteY24" fmla="*/ 1854 h 1854"/>
                    <a:gd name="connsiteX25" fmla="*/ 777 w 1315"/>
                    <a:gd name="connsiteY25"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15" h="1854">
                      <a:moveTo>
                        <a:pt x="0" y="1435"/>
                      </a:moveTo>
                      <a:lnTo>
                        <a:pt x="0" y="1435"/>
                      </a:lnTo>
                      <a:lnTo>
                        <a:pt x="119" y="1136"/>
                      </a:lnTo>
                      <a:lnTo>
                        <a:pt x="239" y="837"/>
                      </a:lnTo>
                      <a:lnTo>
                        <a:pt x="418" y="598"/>
                      </a:lnTo>
                      <a:lnTo>
                        <a:pt x="418" y="538"/>
                      </a:lnTo>
                      <a:lnTo>
                        <a:pt x="538" y="359"/>
                      </a:lnTo>
                      <a:lnTo>
                        <a:pt x="658" y="239"/>
                      </a:lnTo>
                      <a:lnTo>
                        <a:pt x="718" y="180"/>
                      </a:lnTo>
                      <a:lnTo>
                        <a:pt x="897" y="60"/>
                      </a:lnTo>
                      <a:lnTo>
                        <a:pt x="1076" y="0"/>
                      </a:lnTo>
                      <a:lnTo>
                        <a:pt x="1196" y="0"/>
                      </a:lnTo>
                      <a:lnTo>
                        <a:pt x="1256" y="60"/>
                      </a:lnTo>
                      <a:lnTo>
                        <a:pt x="1256" y="60"/>
                      </a:lnTo>
                      <a:lnTo>
                        <a:pt x="1316" y="239"/>
                      </a:lnTo>
                      <a:lnTo>
                        <a:pt x="1316" y="479"/>
                      </a:lnTo>
                      <a:lnTo>
                        <a:pt x="1316" y="538"/>
                      </a:lnTo>
                      <a:lnTo>
                        <a:pt x="1256" y="778"/>
                      </a:lnTo>
                      <a:lnTo>
                        <a:pt x="1196" y="1017"/>
                      </a:lnTo>
                      <a:lnTo>
                        <a:pt x="1196" y="1076"/>
                      </a:lnTo>
                      <a:lnTo>
                        <a:pt x="1076" y="1375"/>
                      </a:lnTo>
                      <a:lnTo>
                        <a:pt x="957" y="1615"/>
                      </a:lnTo>
                      <a:lnTo>
                        <a:pt x="897" y="1675"/>
                      </a:lnTo>
                      <a:lnTo>
                        <a:pt x="897" y="1675"/>
                      </a:lnTo>
                      <a:lnTo>
                        <a:pt x="777" y="1854"/>
                      </a:lnTo>
                      <a:lnTo>
                        <a:pt x="777" y="1854"/>
                      </a:lnTo>
                    </a:path>
                  </a:pathLst>
                </a:custGeom>
                <a:noFill/>
                <a:ln w="6350" cap="flat">
                  <a:solidFill>
                    <a:schemeClr val="bg1">
                      <a:alpha val="80000"/>
                    </a:schemeClr>
                  </a:solidFill>
                  <a:prstDash val="solid"/>
                  <a:miter/>
                </a:ln>
              </p:spPr>
              <p:txBody>
                <a:bodyPr rtlCol="0" anchor="ctr"/>
                <a:lstStyle/>
                <a:p>
                  <a:endParaRPr lang="en-GB"/>
                </a:p>
              </p:txBody>
            </p:sp>
            <p:sp>
              <p:nvSpPr>
                <p:cNvPr id="7700" name="Vrije vorm: vorm 7699">
                  <a:extLst>
                    <a:ext uri="{FF2B5EF4-FFF2-40B4-BE49-F238E27FC236}">
                      <a16:creationId xmlns:a16="http://schemas.microsoft.com/office/drawing/2014/main" id="{99C46EB9-F78B-4CF8-A2F1-8A6AE3B63F7F}"/>
                    </a:ext>
                  </a:extLst>
                </p:cNvPr>
                <p:cNvSpPr/>
                <p:nvPr/>
              </p:nvSpPr>
              <p:spPr>
                <a:xfrm>
                  <a:off x="5795638" y="5242142"/>
                  <a:ext cx="59" cy="298"/>
                </a:xfrm>
                <a:custGeom>
                  <a:avLst/>
                  <a:gdLst>
                    <a:gd name="connsiteX0" fmla="*/ 60 w 59"/>
                    <a:gd name="connsiteY0" fmla="*/ 299 h 298"/>
                    <a:gd name="connsiteX1" fmla="*/ 0 w 59"/>
                    <a:gd name="connsiteY1" fmla="*/ 0 h 298"/>
                  </a:gdLst>
                  <a:ahLst/>
                  <a:cxnLst>
                    <a:cxn ang="0">
                      <a:pos x="connsiteX0" y="connsiteY0"/>
                    </a:cxn>
                    <a:cxn ang="0">
                      <a:pos x="connsiteX1" y="connsiteY1"/>
                    </a:cxn>
                  </a:cxnLst>
                  <a:rect l="l" t="t" r="r" b="b"/>
                  <a:pathLst>
                    <a:path w="59" h="298">
                      <a:moveTo>
                        <a:pt x="60" y="299"/>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01" name="Vrije vorm: vorm 7700">
                  <a:extLst>
                    <a:ext uri="{FF2B5EF4-FFF2-40B4-BE49-F238E27FC236}">
                      <a16:creationId xmlns:a16="http://schemas.microsoft.com/office/drawing/2014/main" id="{847DEE6A-5A59-43AC-80B3-3F5188F4E052}"/>
                    </a:ext>
                  </a:extLst>
                </p:cNvPr>
                <p:cNvSpPr/>
                <p:nvPr/>
              </p:nvSpPr>
              <p:spPr>
                <a:xfrm>
                  <a:off x="5797612" y="5238195"/>
                  <a:ext cx="598" cy="298"/>
                </a:xfrm>
                <a:custGeom>
                  <a:avLst/>
                  <a:gdLst>
                    <a:gd name="connsiteX0" fmla="*/ 0 w 598"/>
                    <a:gd name="connsiteY0" fmla="*/ 0 h 298"/>
                    <a:gd name="connsiteX1" fmla="*/ 598 w 598"/>
                    <a:gd name="connsiteY1" fmla="*/ 299 h 298"/>
                  </a:gdLst>
                  <a:ahLst/>
                  <a:cxnLst>
                    <a:cxn ang="0">
                      <a:pos x="connsiteX0" y="connsiteY0"/>
                    </a:cxn>
                    <a:cxn ang="0">
                      <a:pos x="connsiteX1" y="connsiteY1"/>
                    </a:cxn>
                  </a:cxnLst>
                  <a:rect l="l" t="t" r="r" b="b"/>
                  <a:pathLst>
                    <a:path w="598" h="298">
                      <a:moveTo>
                        <a:pt x="0" y="0"/>
                      </a:moveTo>
                      <a:lnTo>
                        <a:pt x="598" y="299"/>
                      </a:lnTo>
                    </a:path>
                  </a:pathLst>
                </a:custGeom>
                <a:noFill/>
                <a:ln w="6350" cap="flat">
                  <a:solidFill>
                    <a:schemeClr val="bg1">
                      <a:alpha val="80000"/>
                    </a:schemeClr>
                  </a:solidFill>
                  <a:prstDash val="solid"/>
                  <a:miter/>
                </a:ln>
              </p:spPr>
              <p:txBody>
                <a:bodyPr rtlCol="0" anchor="ctr"/>
                <a:lstStyle/>
                <a:p>
                  <a:endParaRPr lang="en-GB"/>
                </a:p>
              </p:txBody>
            </p:sp>
            <p:sp>
              <p:nvSpPr>
                <p:cNvPr id="7702" name="Vrije vorm: vorm 7701">
                  <a:extLst>
                    <a:ext uri="{FF2B5EF4-FFF2-40B4-BE49-F238E27FC236}">
                      <a16:creationId xmlns:a16="http://schemas.microsoft.com/office/drawing/2014/main" id="{D61E8B18-21D4-4AA2-A962-99F9C12C79A0}"/>
                    </a:ext>
                  </a:extLst>
                </p:cNvPr>
                <p:cNvSpPr/>
                <p:nvPr/>
              </p:nvSpPr>
              <p:spPr>
                <a:xfrm>
                  <a:off x="5796475" y="5301172"/>
                  <a:ext cx="239" cy="1315"/>
                </a:xfrm>
                <a:custGeom>
                  <a:avLst/>
                  <a:gdLst>
                    <a:gd name="connsiteX0" fmla="*/ 239 w 239"/>
                    <a:gd name="connsiteY0" fmla="*/ 1316 h 1315"/>
                    <a:gd name="connsiteX1" fmla="*/ 0 w 239"/>
                    <a:gd name="connsiteY1" fmla="*/ 0 h 1315"/>
                  </a:gdLst>
                  <a:ahLst/>
                  <a:cxnLst>
                    <a:cxn ang="0">
                      <a:pos x="connsiteX0" y="connsiteY0"/>
                    </a:cxn>
                    <a:cxn ang="0">
                      <a:pos x="connsiteX1" y="connsiteY1"/>
                    </a:cxn>
                  </a:cxnLst>
                  <a:rect l="l" t="t" r="r" b="b"/>
                  <a:pathLst>
                    <a:path w="239" h="1315">
                      <a:moveTo>
                        <a:pt x="239" y="1316"/>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03" name="Vrije vorm: vorm 7702">
                  <a:extLst>
                    <a:ext uri="{FF2B5EF4-FFF2-40B4-BE49-F238E27FC236}">
                      <a16:creationId xmlns:a16="http://schemas.microsoft.com/office/drawing/2014/main" id="{8F655314-167B-4066-B52B-D4717630C78A}"/>
                    </a:ext>
                  </a:extLst>
                </p:cNvPr>
                <p:cNvSpPr/>
                <p:nvPr/>
              </p:nvSpPr>
              <p:spPr>
                <a:xfrm>
                  <a:off x="5796715" y="5293936"/>
                  <a:ext cx="6698" cy="8851"/>
                </a:xfrm>
                <a:custGeom>
                  <a:avLst/>
                  <a:gdLst>
                    <a:gd name="connsiteX0" fmla="*/ 6698 w 6698"/>
                    <a:gd name="connsiteY0" fmla="*/ 0 h 8851"/>
                    <a:gd name="connsiteX1" fmla="*/ 5681 w 6698"/>
                    <a:gd name="connsiteY1" fmla="*/ 1316 h 8851"/>
                    <a:gd name="connsiteX2" fmla="*/ 3289 w 6698"/>
                    <a:gd name="connsiteY2" fmla="*/ 4366 h 8851"/>
                    <a:gd name="connsiteX3" fmla="*/ 897 w 6698"/>
                    <a:gd name="connsiteY3" fmla="*/ 7416 h 8851"/>
                    <a:gd name="connsiteX4" fmla="*/ 0 w 6698"/>
                    <a:gd name="connsiteY4" fmla="*/ 8552 h 8851"/>
                    <a:gd name="connsiteX5" fmla="*/ 598 w 6698"/>
                    <a:gd name="connsiteY5" fmla="*/ 8851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8" h="8851">
                      <a:moveTo>
                        <a:pt x="6698" y="0"/>
                      </a:moveTo>
                      <a:lnTo>
                        <a:pt x="5681" y="1316"/>
                      </a:lnTo>
                      <a:lnTo>
                        <a:pt x="3289" y="4366"/>
                      </a:lnTo>
                      <a:lnTo>
                        <a:pt x="897" y="7416"/>
                      </a:lnTo>
                      <a:lnTo>
                        <a:pt x="0" y="8552"/>
                      </a:lnTo>
                      <a:lnTo>
                        <a:pt x="598" y="8851"/>
                      </a:lnTo>
                    </a:path>
                  </a:pathLst>
                </a:custGeom>
                <a:noFill/>
                <a:ln w="6350" cap="flat">
                  <a:solidFill>
                    <a:schemeClr val="bg1">
                      <a:alpha val="80000"/>
                    </a:schemeClr>
                  </a:solidFill>
                  <a:prstDash val="solid"/>
                  <a:miter/>
                </a:ln>
              </p:spPr>
              <p:txBody>
                <a:bodyPr rtlCol="0" anchor="ctr"/>
                <a:lstStyle/>
                <a:p>
                  <a:endParaRPr lang="en-GB"/>
                </a:p>
              </p:txBody>
            </p:sp>
            <p:sp>
              <p:nvSpPr>
                <p:cNvPr id="7704" name="Vrije vorm: vorm 7703">
                  <a:extLst>
                    <a:ext uri="{FF2B5EF4-FFF2-40B4-BE49-F238E27FC236}">
                      <a16:creationId xmlns:a16="http://schemas.microsoft.com/office/drawing/2014/main" id="{AD96588F-2C2E-4AAC-B6D1-B55DAEBFA74D}"/>
                    </a:ext>
                  </a:extLst>
                </p:cNvPr>
                <p:cNvSpPr/>
                <p:nvPr/>
              </p:nvSpPr>
              <p:spPr>
                <a:xfrm>
                  <a:off x="5797313" y="5294175"/>
                  <a:ext cx="6638" cy="10825"/>
                </a:xfrm>
                <a:custGeom>
                  <a:avLst/>
                  <a:gdLst>
                    <a:gd name="connsiteX0" fmla="*/ 6639 w 6638"/>
                    <a:gd name="connsiteY0" fmla="*/ 0 h 10825"/>
                    <a:gd name="connsiteX1" fmla="*/ 5442 w 6638"/>
                    <a:gd name="connsiteY1" fmla="*/ 1555 h 10825"/>
                    <a:gd name="connsiteX2" fmla="*/ 3050 w 6638"/>
                    <a:gd name="connsiteY2" fmla="*/ 4605 h 10825"/>
                    <a:gd name="connsiteX3" fmla="*/ 658 w 6638"/>
                    <a:gd name="connsiteY3" fmla="*/ 7655 h 10825"/>
                    <a:gd name="connsiteX4" fmla="*/ 0 w 6638"/>
                    <a:gd name="connsiteY4" fmla="*/ 8552 h 10825"/>
                    <a:gd name="connsiteX5" fmla="*/ 299 w 6638"/>
                    <a:gd name="connsiteY5" fmla="*/ 9988 h 10825"/>
                    <a:gd name="connsiteX6" fmla="*/ 479 w 6638"/>
                    <a:gd name="connsiteY6" fmla="*/ 10825 h 1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38" h="10825">
                      <a:moveTo>
                        <a:pt x="6639" y="0"/>
                      </a:moveTo>
                      <a:lnTo>
                        <a:pt x="5442" y="1555"/>
                      </a:lnTo>
                      <a:lnTo>
                        <a:pt x="3050" y="4605"/>
                      </a:lnTo>
                      <a:lnTo>
                        <a:pt x="658" y="7655"/>
                      </a:lnTo>
                      <a:lnTo>
                        <a:pt x="0" y="8552"/>
                      </a:lnTo>
                      <a:lnTo>
                        <a:pt x="299" y="9988"/>
                      </a:lnTo>
                      <a:lnTo>
                        <a:pt x="479" y="10825"/>
                      </a:lnTo>
                    </a:path>
                  </a:pathLst>
                </a:custGeom>
                <a:noFill/>
                <a:ln w="6350" cap="flat">
                  <a:solidFill>
                    <a:schemeClr val="bg1">
                      <a:alpha val="80000"/>
                    </a:schemeClr>
                  </a:solidFill>
                  <a:prstDash val="solid"/>
                  <a:miter/>
                </a:ln>
              </p:spPr>
              <p:txBody>
                <a:bodyPr rtlCol="0" anchor="ctr"/>
                <a:lstStyle/>
                <a:p>
                  <a:endParaRPr lang="en-GB"/>
                </a:p>
              </p:txBody>
            </p:sp>
            <p:sp>
              <p:nvSpPr>
                <p:cNvPr id="7705" name="Vrije vorm: vorm 7704">
                  <a:extLst>
                    <a:ext uri="{FF2B5EF4-FFF2-40B4-BE49-F238E27FC236}">
                      <a16:creationId xmlns:a16="http://schemas.microsoft.com/office/drawing/2014/main" id="{9CD61BBD-84DC-4691-A36A-F9DF924CD241}"/>
                    </a:ext>
                  </a:extLst>
                </p:cNvPr>
                <p:cNvSpPr/>
                <p:nvPr/>
              </p:nvSpPr>
              <p:spPr>
                <a:xfrm>
                  <a:off x="5797193" y="5304043"/>
                  <a:ext cx="1315" cy="1016"/>
                </a:xfrm>
                <a:custGeom>
                  <a:avLst/>
                  <a:gdLst>
                    <a:gd name="connsiteX0" fmla="*/ 1316 w 1315"/>
                    <a:gd name="connsiteY0" fmla="*/ 0 h 1016"/>
                    <a:gd name="connsiteX1" fmla="*/ 538 w 1315"/>
                    <a:gd name="connsiteY1" fmla="*/ 1017 h 1016"/>
                    <a:gd name="connsiteX2" fmla="*/ 0 w 1315"/>
                    <a:gd name="connsiteY2" fmla="*/ 718 h 1016"/>
                  </a:gdLst>
                  <a:ahLst/>
                  <a:cxnLst>
                    <a:cxn ang="0">
                      <a:pos x="connsiteX0" y="connsiteY0"/>
                    </a:cxn>
                    <a:cxn ang="0">
                      <a:pos x="connsiteX1" y="connsiteY1"/>
                    </a:cxn>
                    <a:cxn ang="0">
                      <a:pos x="connsiteX2" y="connsiteY2"/>
                    </a:cxn>
                  </a:cxnLst>
                  <a:rect l="l" t="t" r="r" b="b"/>
                  <a:pathLst>
                    <a:path w="1315" h="1016">
                      <a:moveTo>
                        <a:pt x="1316" y="0"/>
                      </a:moveTo>
                      <a:lnTo>
                        <a:pt x="538" y="1017"/>
                      </a:lnTo>
                      <a:lnTo>
                        <a:pt x="0" y="718"/>
                      </a:lnTo>
                    </a:path>
                  </a:pathLst>
                </a:custGeom>
                <a:noFill/>
                <a:ln w="6350" cap="flat">
                  <a:solidFill>
                    <a:schemeClr val="bg1">
                      <a:alpha val="80000"/>
                    </a:schemeClr>
                  </a:solidFill>
                  <a:prstDash val="solid"/>
                  <a:miter/>
                </a:ln>
              </p:spPr>
              <p:txBody>
                <a:bodyPr rtlCol="0" anchor="ctr"/>
                <a:lstStyle/>
                <a:p>
                  <a:endParaRPr lang="en-GB"/>
                </a:p>
              </p:txBody>
            </p:sp>
            <p:sp>
              <p:nvSpPr>
                <p:cNvPr id="7706" name="Vrije vorm: vorm 7705">
                  <a:extLst>
                    <a:ext uri="{FF2B5EF4-FFF2-40B4-BE49-F238E27FC236}">
                      <a16:creationId xmlns:a16="http://schemas.microsoft.com/office/drawing/2014/main" id="{D06A9AC3-BCF1-444F-99AD-7CCF67EFACD1}"/>
                    </a:ext>
                  </a:extLst>
                </p:cNvPr>
                <p:cNvSpPr/>
                <p:nvPr/>
              </p:nvSpPr>
              <p:spPr>
                <a:xfrm>
                  <a:off x="5796116" y="5304222"/>
                  <a:ext cx="1435" cy="2152"/>
                </a:xfrm>
                <a:custGeom>
                  <a:avLst/>
                  <a:gdLst>
                    <a:gd name="connsiteX0" fmla="*/ 1076 w 1435"/>
                    <a:gd name="connsiteY0" fmla="*/ 479 h 2152"/>
                    <a:gd name="connsiteX1" fmla="*/ 1435 w 1435"/>
                    <a:gd name="connsiteY1" fmla="*/ 2153 h 2152"/>
                    <a:gd name="connsiteX2" fmla="*/ 0 w 1435"/>
                    <a:gd name="connsiteY2" fmla="*/ 0 h 2152"/>
                  </a:gdLst>
                  <a:ahLst/>
                  <a:cxnLst>
                    <a:cxn ang="0">
                      <a:pos x="connsiteX0" y="connsiteY0"/>
                    </a:cxn>
                    <a:cxn ang="0">
                      <a:pos x="connsiteX1" y="connsiteY1"/>
                    </a:cxn>
                    <a:cxn ang="0">
                      <a:pos x="connsiteX2" y="connsiteY2"/>
                    </a:cxn>
                  </a:cxnLst>
                  <a:rect l="l" t="t" r="r" b="b"/>
                  <a:pathLst>
                    <a:path w="1435" h="2152">
                      <a:moveTo>
                        <a:pt x="1076" y="479"/>
                      </a:moveTo>
                      <a:lnTo>
                        <a:pt x="1435" y="2153"/>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07" name="Vrije vorm: vorm 7706">
                  <a:extLst>
                    <a:ext uri="{FF2B5EF4-FFF2-40B4-BE49-F238E27FC236}">
                      <a16:creationId xmlns:a16="http://schemas.microsoft.com/office/drawing/2014/main" id="{3B5D8A38-C01E-4F55-AE16-231AC0DDB09D}"/>
                    </a:ext>
                  </a:extLst>
                </p:cNvPr>
                <p:cNvSpPr/>
                <p:nvPr/>
              </p:nvSpPr>
              <p:spPr>
                <a:xfrm>
                  <a:off x="5802217" y="5302548"/>
                  <a:ext cx="298" cy="1614"/>
                </a:xfrm>
                <a:custGeom>
                  <a:avLst/>
                  <a:gdLst>
                    <a:gd name="connsiteX0" fmla="*/ 299 w 298"/>
                    <a:gd name="connsiteY0" fmla="*/ 1615 h 1614"/>
                    <a:gd name="connsiteX1" fmla="*/ 0 w 298"/>
                    <a:gd name="connsiteY1" fmla="*/ 0 h 1614"/>
                  </a:gdLst>
                  <a:ahLst/>
                  <a:cxnLst>
                    <a:cxn ang="0">
                      <a:pos x="connsiteX0" y="connsiteY0"/>
                    </a:cxn>
                    <a:cxn ang="0">
                      <a:pos x="connsiteX1" y="connsiteY1"/>
                    </a:cxn>
                  </a:cxnLst>
                  <a:rect l="l" t="t" r="r" b="b"/>
                  <a:pathLst>
                    <a:path w="298" h="1614">
                      <a:moveTo>
                        <a:pt x="299" y="1615"/>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08" name="Vrije vorm: vorm 7707">
                  <a:extLst>
                    <a:ext uri="{FF2B5EF4-FFF2-40B4-BE49-F238E27FC236}">
                      <a16:creationId xmlns:a16="http://schemas.microsoft.com/office/drawing/2014/main" id="{94184B59-A596-4166-9435-1149E44F12CB}"/>
                    </a:ext>
                  </a:extLst>
                </p:cNvPr>
                <p:cNvSpPr/>
                <p:nvPr/>
              </p:nvSpPr>
              <p:spPr>
                <a:xfrm>
                  <a:off x="5799047" y="5298122"/>
                  <a:ext cx="6579" cy="4366"/>
                </a:xfrm>
                <a:custGeom>
                  <a:avLst/>
                  <a:gdLst>
                    <a:gd name="connsiteX0" fmla="*/ 0 w 6579"/>
                    <a:gd name="connsiteY0" fmla="*/ 2811 h 4366"/>
                    <a:gd name="connsiteX1" fmla="*/ 359 w 6579"/>
                    <a:gd name="connsiteY1" fmla="*/ 2990 h 4366"/>
                    <a:gd name="connsiteX2" fmla="*/ 778 w 6579"/>
                    <a:gd name="connsiteY2" fmla="*/ 3170 h 4366"/>
                    <a:gd name="connsiteX3" fmla="*/ 1376 w 6579"/>
                    <a:gd name="connsiteY3" fmla="*/ 3469 h 4366"/>
                    <a:gd name="connsiteX4" fmla="*/ 3170 w 6579"/>
                    <a:gd name="connsiteY4" fmla="*/ 4366 h 4366"/>
                    <a:gd name="connsiteX5" fmla="*/ 5443 w 6579"/>
                    <a:gd name="connsiteY5" fmla="*/ 1436 h 4366"/>
                    <a:gd name="connsiteX6" fmla="*/ 6100 w 6579"/>
                    <a:gd name="connsiteY6" fmla="*/ 598 h 4366"/>
                    <a:gd name="connsiteX7" fmla="*/ 6579 w 6579"/>
                    <a:gd name="connsiteY7" fmla="*/ 0 h 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9" h="4366">
                      <a:moveTo>
                        <a:pt x="0" y="2811"/>
                      </a:moveTo>
                      <a:lnTo>
                        <a:pt x="359" y="2990"/>
                      </a:lnTo>
                      <a:lnTo>
                        <a:pt x="778" y="3170"/>
                      </a:lnTo>
                      <a:lnTo>
                        <a:pt x="1376" y="3469"/>
                      </a:lnTo>
                      <a:lnTo>
                        <a:pt x="3170" y="4366"/>
                      </a:lnTo>
                      <a:lnTo>
                        <a:pt x="5443" y="1436"/>
                      </a:lnTo>
                      <a:lnTo>
                        <a:pt x="6100" y="598"/>
                      </a:lnTo>
                      <a:lnTo>
                        <a:pt x="6579" y="0"/>
                      </a:lnTo>
                    </a:path>
                  </a:pathLst>
                </a:custGeom>
                <a:noFill/>
                <a:ln w="6350" cap="flat">
                  <a:solidFill>
                    <a:schemeClr val="bg1">
                      <a:alpha val="80000"/>
                    </a:schemeClr>
                  </a:solidFill>
                  <a:prstDash val="solid"/>
                  <a:miter/>
                </a:ln>
              </p:spPr>
              <p:txBody>
                <a:bodyPr rtlCol="0" anchor="ctr"/>
                <a:lstStyle/>
                <a:p>
                  <a:endParaRPr lang="en-GB"/>
                </a:p>
              </p:txBody>
            </p:sp>
            <p:sp>
              <p:nvSpPr>
                <p:cNvPr id="7709" name="Vrije vorm: vorm 7708">
                  <a:extLst>
                    <a:ext uri="{FF2B5EF4-FFF2-40B4-BE49-F238E27FC236}">
                      <a16:creationId xmlns:a16="http://schemas.microsoft.com/office/drawing/2014/main" id="{8A4FC4BB-0B14-4BE4-A300-E51421198E41}"/>
                    </a:ext>
                  </a:extLst>
                </p:cNvPr>
                <p:cNvSpPr/>
                <p:nvPr/>
              </p:nvSpPr>
              <p:spPr>
                <a:xfrm>
                  <a:off x="5799585" y="5296627"/>
                  <a:ext cx="6279" cy="7535"/>
                </a:xfrm>
                <a:custGeom>
                  <a:avLst/>
                  <a:gdLst>
                    <a:gd name="connsiteX0" fmla="*/ 2811 w 6279"/>
                    <a:gd name="connsiteY0" fmla="*/ 0 h 7535"/>
                    <a:gd name="connsiteX1" fmla="*/ 3110 w 6279"/>
                    <a:gd name="connsiteY1" fmla="*/ 180 h 7535"/>
                    <a:gd name="connsiteX2" fmla="*/ 3588 w 6279"/>
                    <a:gd name="connsiteY2" fmla="*/ 419 h 7535"/>
                    <a:gd name="connsiteX3" fmla="*/ 3708 w 6279"/>
                    <a:gd name="connsiteY3" fmla="*/ 479 h 7535"/>
                    <a:gd name="connsiteX4" fmla="*/ 3828 w 6279"/>
                    <a:gd name="connsiteY4" fmla="*/ 538 h 7535"/>
                    <a:gd name="connsiteX5" fmla="*/ 4187 w 6279"/>
                    <a:gd name="connsiteY5" fmla="*/ 718 h 7535"/>
                    <a:gd name="connsiteX6" fmla="*/ 4306 w 6279"/>
                    <a:gd name="connsiteY6" fmla="*/ 778 h 7535"/>
                    <a:gd name="connsiteX7" fmla="*/ 4366 w 6279"/>
                    <a:gd name="connsiteY7" fmla="*/ 837 h 7535"/>
                    <a:gd name="connsiteX8" fmla="*/ 4545 w 6279"/>
                    <a:gd name="connsiteY8" fmla="*/ 897 h 7535"/>
                    <a:gd name="connsiteX9" fmla="*/ 5981 w 6279"/>
                    <a:gd name="connsiteY9" fmla="*/ 1615 h 7535"/>
                    <a:gd name="connsiteX10" fmla="*/ 6280 w 6279"/>
                    <a:gd name="connsiteY10" fmla="*/ 3230 h 7535"/>
                    <a:gd name="connsiteX11" fmla="*/ 3887 w 6279"/>
                    <a:gd name="connsiteY11" fmla="*/ 6280 h 7535"/>
                    <a:gd name="connsiteX12" fmla="*/ 2930 w 6279"/>
                    <a:gd name="connsiteY12" fmla="*/ 7536 h 7535"/>
                    <a:gd name="connsiteX13" fmla="*/ 479 w 6279"/>
                    <a:gd name="connsiteY13" fmla="*/ 6280 h 7535"/>
                    <a:gd name="connsiteX14" fmla="*/ 0 w 6279"/>
                    <a:gd name="connsiteY14" fmla="*/ 6041 h 7535"/>
                    <a:gd name="connsiteX15" fmla="*/ 0 w 6279"/>
                    <a:gd name="connsiteY15" fmla="*/ 6041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 h="7535">
                      <a:moveTo>
                        <a:pt x="2811" y="0"/>
                      </a:moveTo>
                      <a:lnTo>
                        <a:pt x="3110" y="180"/>
                      </a:lnTo>
                      <a:lnTo>
                        <a:pt x="3588" y="419"/>
                      </a:lnTo>
                      <a:lnTo>
                        <a:pt x="3708" y="479"/>
                      </a:lnTo>
                      <a:lnTo>
                        <a:pt x="3828" y="538"/>
                      </a:lnTo>
                      <a:lnTo>
                        <a:pt x="4187" y="718"/>
                      </a:lnTo>
                      <a:lnTo>
                        <a:pt x="4306" y="778"/>
                      </a:lnTo>
                      <a:lnTo>
                        <a:pt x="4366" y="837"/>
                      </a:lnTo>
                      <a:lnTo>
                        <a:pt x="4545" y="897"/>
                      </a:lnTo>
                      <a:lnTo>
                        <a:pt x="5981" y="1615"/>
                      </a:lnTo>
                      <a:lnTo>
                        <a:pt x="6280" y="3230"/>
                      </a:lnTo>
                      <a:lnTo>
                        <a:pt x="3887" y="6280"/>
                      </a:lnTo>
                      <a:lnTo>
                        <a:pt x="2930" y="7536"/>
                      </a:lnTo>
                      <a:lnTo>
                        <a:pt x="479" y="6280"/>
                      </a:lnTo>
                      <a:lnTo>
                        <a:pt x="0" y="6041"/>
                      </a:lnTo>
                      <a:lnTo>
                        <a:pt x="0" y="6041"/>
                      </a:lnTo>
                    </a:path>
                  </a:pathLst>
                </a:custGeom>
                <a:noFill/>
                <a:ln w="6350" cap="flat">
                  <a:solidFill>
                    <a:schemeClr val="bg1">
                      <a:alpha val="80000"/>
                    </a:schemeClr>
                  </a:solidFill>
                  <a:prstDash val="solid"/>
                  <a:miter/>
                </a:ln>
              </p:spPr>
              <p:txBody>
                <a:bodyPr rtlCol="0" anchor="ctr"/>
                <a:lstStyle/>
                <a:p>
                  <a:endParaRPr lang="en-GB"/>
                </a:p>
              </p:txBody>
            </p:sp>
            <p:sp>
              <p:nvSpPr>
                <p:cNvPr id="7710" name="Vrije vorm: vorm 7709">
                  <a:extLst>
                    <a:ext uri="{FF2B5EF4-FFF2-40B4-BE49-F238E27FC236}">
                      <a16:creationId xmlns:a16="http://schemas.microsoft.com/office/drawing/2014/main" id="{F3353667-05F3-497D-B5C4-1E91469BEBBA}"/>
                    </a:ext>
                  </a:extLst>
                </p:cNvPr>
                <p:cNvSpPr/>
                <p:nvPr/>
              </p:nvSpPr>
              <p:spPr>
                <a:xfrm>
                  <a:off x="5803174" y="5292620"/>
                  <a:ext cx="1136" cy="3169"/>
                </a:xfrm>
                <a:custGeom>
                  <a:avLst/>
                  <a:gdLst>
                    <a:gd name="connsiteX0" fmla="*/ 0 w 1136"/>
                    <a:gd name="connsiteY0" fmla="*/ 0 h 3169"/>
                    <a:gd name="connsiteX1" fmla="*/ 239 w 1136"/>
                    <a:gd name="connsiteY1" fmla="*/ 1316 h 3169"/>
                    <a:gd name="connsiteX2" fmla="*/ 837 w 1136"/>
                    <a:gd name="connsiteY2" fmla="*/ 1615 h 3169"/>
                    <a:gd name="connsiteX3" fmla="*/ 1136 w 1136"/>
                    <a:gd name="connsiteY3" fmla="*/ 3170 h 3169"/>
                  </a:gdLst>
                  <a:ahLst/>
                  <a:cxnLst>
                    <a:cxn ang="0">
                      <a:pos x="connsiteX0" y="connsiteY0"/>
                    </a:cxn>
                    <a:cxn ang="0">
                      <a:pos x="connsiteX1" y="connsiteY1"/>
                    </a:cxn>
                    <a:cxn ang="0">
                      <a:pos x="connsiteX2" y="connsiteY2"/>
                    </a:cxn>
                    <a:cxn ang="0">
                      <a:pos x="connsiteX3" y="connsiteY3"/>
                    </a:cxn>
                  </a:cxnLst>
                  <a:rect l="l" t="t" r="r" b="b"/>
                  <a:pathLst>
                    <a:path w="1136" h="3169">
                      <a:moveTo>
                        <a:pt x="0" y="0"/>
                      </a:moveTo>
                      <a:lnTo>
                        <a:pt x="239" y="1316"/>
                      </a:lnTo>
                      <a:lnTo>
                        <a:pt x="837" y="1615"/>
                      </a:lnTo>
                      <a:lnTo>
                        <a:pt x="1136" y="3170"/>
                      </a:lnTo>
                    </a:path>
                  </a:pathLst>
                </a:custGeom>
                <a:noFill/>
                <a:ln w="6350" cap="flat">
                  <a:solidFill>
                    <a:schemeClr val="bg1">
                      <a:alpha val="80000"/>
                    </a:schemeClr>
                  </a:solidFill>
                  <a:prstDash val="solid"/>
                  <a:miter/>
                </a:ln>
              </p:spPr>
              <p:txBody>
                <a:bodyPr rtlCol="0" anchor="ctr"/>
                <a:lstStyle/>
                <a:p>
                  <a:endParaRPr lang="en-GB"/>
                </a:p>
              </p:txBody>
            </p:sp>
            <p:sp>
              <p:nvSpPr>
                <p:cNvPr id="7711" name="Vrije vorm: vorm 7710">
                  <a:extLst>
                    <a:ext uri="{FF2B5EF4-FFF2-40B4-BE49-F238E27FC236}">
                      <a16:creationId xmlns:a16="http://schemas.microsoft.com/office/drawing/2014/main" id="{A3E5909D-29FC-42F3-B338-1DDCA6BEAEA9}"/>
                    </a:ext>
                  </a:extLst>
                </p:cNvPr>
                <p:cNvSpPr/>
                <p:nvPr/>
              </p:nvSpPr>
              <p:spPr>
                <a:xfrm>
                  <a:off x="5799286" y="5298421"/>
                  <a:ext cx="5681" cy="3648"/>
                </a:xfrm>
                <a:custGeom>
                  <a:avLst/>
                  <a:gdLst>
                    <a:gd name="connsiteX0" fmla="*/ 0 w 5681"/>
                    <a:gd name="connsiteY0" fmla="*/ 2153 h 3648"/>
                    <a:gd name="connsiteX1" fmla="*/ 778 w 5681"/>
                    <a:gd name="connsiteY1" fmla="*/ 2572 h 3648"/>
                    <a:gd name="connsiteX2" fmla="*/ 1375 w 5681"/>
                    <a:gd name="connsiteY2" fmla="*/ 2871 h 3648"/>
                    <a:gd name="connsiteX3" fmla="*/ 2930 w 5681"/>
                    <a:gd name="connsiteY3" fmla="*/ 3648 h 3648"/>
                    <a:gd name="connsiteX4" fmla="*/ 4904 w 5681"/>
                    <a:gd name="connsiteY4" fmla="*/ 1076 h 3648"/>
                    <a:gd name="connsiteX5" fmla="*/ 5143 w 5681"/>
                    <a:gd name="connsiteY5" fmla="*/ 718 h 3648"/>
                    <a:gd name="connsiteX6" fmla="*/ 5681 w 5681"/>
                    <a:gd name="connsiteY6" fmla="*/ 0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1" h="3648">
                      <a:moveTo>
                        <a:pt x="0" y="2153"/>
                      </a:moveTo>
                      <a:lnTo>
                        <a:pt x="778" y="2572"/>
                      </a:lnTo>
                      <a:lnTo>
                        <a:pt x="1375" y="2871"/>
                      </a:lnTo>
                      <a:lnTo>
                        <a:pt x="2930" y="3648"/>
                      </a:lnTo>
                      <a:lnTo>
                        <a:pt x="4904" y="1076"/>
                      </a:lnTo>
                      <a:lnTo>
                        <a:pt x="5143" y="718"/>
                      </a:lnTo>
                      <a:lnTo>
                        <a:pt x="5681" y="0"/>
                      </a:lnTo>
                    </a:path>
                  </a:pathLst>
                </a:custGeom>
                <a:noFill/>
                <a:ln w="6350" cap="flat">
                  <a:solidFill>
                    <a:schemeClr val="bg1">
                      <a:alpha val="80000"/>
                    </a:schemeClr>
                  </a:solidFill>
                  <a:prstDash val="solid"/>
                  <a:miter/>
                </a:ln>
              </p:spPr>
              <p:txBody>
                <a:bodyPr rtlCol="0" anchor="ctr"/>
                <a:lstStyle/>
                <a:p>
                  <a:endParaRPr lang="en-GB"/>
                </a:p>
              </p:txBody>
            </p:sp>
            <p:sp>
              <p:nvSpPr>
                <p:cNvPr id="7712" name="Vrije vorm: vorm 7711">
                  <a:extLst>
                    <a:ext uri="{FF2B5EF4-FFF2-40B4-BE49-F238E27FC236}">
                      <a16:creationId xmlns:a16="http://schemas.microsoft.com/office/drawing/2014/main" id="{B4BB32EA-DB3B-421A-988D-47EEEE6A9624}"/>
                    </a:ext>
                  </a:extLst>
                </p:cNvPr>
                <p:cNvSpPr/>
                <p:nvPr/>
              </p:nvSpPr>
              <p:spPr>
                <a:xfrm>
                  <a:off x="5802097" y="5296986"/>
                  <a:ext cx="2930" cy="1435"/>
                </a:xfrm>
                <a:custGeom>
                  <a:avLst/>
                  <a:gdLst>
                    <a:gd name="connsiteX0" fmla="*/ 0 w 2930"/>
                    <a:gd name="connsiteY0" fmla="*/ 0 h 1435"/>
                    <a:gd name="connsiteX1" fmla="*/ 359 w 2930"/>
                    <a:gd name="connsiteY1" fmla="*/ 179 h 1435"/>
                    <a:gd name="connsiteX2" fmla="*/ 778 w 2930"/>
                    <a:gd name="connsiteY2" fmla="*/ 359 h 1435"/>
                    <a:gd name="connsiteX3" fmla="*/ 897 w 2930"/>
                    <a:gd name="connsiteY3" fmla="*/ 418 h 1435"/>
                    <a:gd name="connsiteX4" fmla="*/ 1375 w 2930"/>
                    <a:gd name="connsiteY4" fmla="*/ 658 h 1435"/>
                    <a:gd name="connsiteX5" fmla="*/ 1495 w 2930"/>
                    <a:gd name="connsiteY5" fmla="*/ 718 h 1435"/>
                    <a:gd name="connsiteX6" fmla="*/ 2930 w 2930"/>
                    <a:gd name="connsiteY6" fmla="*/ 1435 h 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0" h="1435">
                      <a:moveTo>
                        <a:pt x="0" y="0"/>
                      </a:moveTo>
                      <a:lnTo>
                        <a:pt x="359" y="179"/>
                      </a:lnTo>
                      <a:lnTo>
                        <a:pt x="778" y="359"/>
                      </a:lnTo>
                      <a:lnTo>
                        <a:pt x="897" y="418"/>
                      </a:lnTo>
                      <a:lnTo>
                        <a:pt x="1375" y="658"/>
                      </a:lnTo>
                      <a:lnTo>
                        <a:pt x="1495" y="718"/>
                      </a:lnTo>
                      <a:lnTo>
                        <a:pt x="2930" y="1435"/>
                      </a:lnTo>
                    </a:path>
                  </a:pathLst>
                </a:custGeom>
                <a:noFill/>
                <a:ln w="6350" cap="flat">
                  <a:solidFill>
                    <a:schemeClr val="bg1">
                      <a:alpha val="80000"/>
                    </a:schemeClr>
                  </a:solidFill>
                  <a:prstDash val="solid"/>
                  <a:miter/>
                </a:ln>
              </p:spPr>
              <p:txBody>
                <a:bodyPr rtlCol="0" anchor="ctr"/>
                <a:lstStyle/>
                <a:p>
                  <a:endParaRPr lang="en-GB"/>
                </a:p>
              </p:txBody>
            </p:sp>
            <p:sp>
              <p:nvSpPr>
                <p:cNvPr id="7713" name="Vrije vorm: vorm 7712">
                  <a:extLst>
                    <a:ext uri="{FF2B5EF4-FFF2-40B4-BE49-F238E27FC236}">
                      <a16:creationId xmlns:a16="http://schemas.microsoft.com/office/drawing/2014/main" id="{EE2ABABD-0DC4-43BE-ACE7-8AE551681A8F}"/>
                    </a:ext>
                  </a:extLst>
                </p:cNvPr>
                <p:cNvSpPr/>
                <p:nvPr/>
              </p:nvSpPr>
              <p:spPr>
                <a:xfrm>
                  <a:off x="5802636" y="5295491"/>
                  <a:ext cx="1076" cy="1315"/>
                </a:xfrm>
                <a:custGeom>
                  <a:avLst/>
                  <a:gdLst>
                    <a:gd name="connsiteX0" fmla="*/ 1076 w 1076"/>
                    <a:gd name="connsiteY0" fmla="*/ 0 h 1315"/>
                    <a:gd name="connsiteX1" fmla="*/ 957 w 1076"/>
                    <a:gd name="connsiteY1" fmla="*/ 0 h 1315"/>
                    <a:gd name="connsiteX2" fmla="*/ 837 w 1076"/>
                    <a:gd name="connsiteY2" fmla="*/ 60 h 1315"/>
                    <a:gd name="connsiteX3" fmla="*/ 658 w 1076"/>
                    <a:gd name="connsiteY3" fmla="*/ 179 h 1315"/>
                    <a:gd name="connsiteX4" fmla="*/ 478 w 1076"/>
                    <a:gd name="connsiteY4" fmla="*/ 359 h 1315"/>
                    <a:gd name="connsiteX5" fmla="*/ 299 w 1076"/>
                    <a:gd name="connsiteY5" fmla="*/ 598 h 1315"/>
                    <a:gd name="connsiteX6" fmla="*/ 299 w 1076"/>
                    <a:gd name="connsiteY6" fmla="*/ 598 h 1315"/>
                    <a:gd name="connsiteX7" fmla="*/ 179 w 1076"/>
                    <a:gd name="connsiteY7" fmla="*/ 837 h 1315"/>
                    <a:gd name="connsiteX8" fmla="*/ 60 w 1076"/>
                    <a:gd name="connsiteY8" fmla="*/ 1076 h 1315"/>
                    <a:gd name="connsiteX9" fmla="*/ 0 w 1076"/>
                    <a:gd name="connsiteY9" fmla="*/ 1316 h 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6" h="1315">
                      <a:moveTo>
                        <a:pt x="1076" y="0"/>
                      </a:moveTo>
                      <a:lnTo>
                        <a:pt x="957" y="0"/>
                      </a:lnTo>
                      <a:lnTo>
                        <a:pt x="837" y="60"/>
                      </a:lnTo>
                      <a:lnTo>
                        <a:pt x="658" y="179"/>
                      </a:lnTo>
                      <a:lnTo>
                        <a:pt x="478" y="359"/>
                      </a:lnTo>
                      <a:lnTo>
                        <a:pt x="299" y="598"/>
                      </a:lnTo>
                      <a:lnTo>
                        <a:pt x="299" y="598"/>
                      </a:lnTo>
                      <a:lnTo>
                        <a:pt x="179" y="837"/>
                      </a:lnTo>
                      <a:lnTo>
                        <a:pt x="60" y="1076"/>
                      </a:lnTo>
                      <a:lnTo>
                        <a:pt x="0" y="1316"/>
                      </a:lnTo>
                    </a:path>
                  </a:pathLst>
                </a:custGeom>
                <a:noFill/>
                <a:ln w="6350" cap="flat">
                  <a:solidFill>
                    <a:schemeClr val="bg1">
                      <a:alpha val="80000"/>
                    </a:schemeClr>
                  </a:solidFill>
                  <a:prstDash val="solid"/>
                  <a:miter/>
                </a:ln>
              </p:spPr>
              <p:txBody>
                <a:bodyPr rtlCol="0" anchor="ctr"/>
                <a:lstStyle/>
                <a:p>
                  <a:endParaRPr lang="en-GB"/>
                </a:p>
              </p:txBody>
            </p:sp>
            <p:sp>
              <p:nvSpPr>
                <p:cNvPr id="7714" name="Vrije vorm: vorm 7713">
                  <a:extLst>
                    <a:ext uri="{FF2B5EF4-FFF2-40B4-BE49-F238E27FC236}">
                      <a16:creationId xmlns:a16="http://schemas.microsoft.com/office/drawing/2014/main" id="{14878B73-2CBF-4873-A81E-9BBAA1D1FFA2}"/>
                    </a:ext>
                  </a:extLst>
                </p:cNvPr>
                <p:cNvSpPr/>
                <p:nvPr/>
              </p:nvSpPr>
              <p:spPr>
                <a:xfrm>
                  <a:off x="5803712" y="5295491"/>
                  <a:ext cx="657" cy="1854"/>
                </a:xfrm>
                <a:custGeom>
                  <a:avLst/>
                  <a:gdLst>
                    <a:gd name="connsiteX0" fmla="*/ 0 w 657"/>
                    <a:gd name="connsiteY0" fmla="*/ 0 h 1854"/>
                    <a:gd name="connsiteX1" fmla="*/ 538 w 657"/>
                    <a:gd name="connsiteY1" fmla="*/ 299 h 1854"/>
                    <a:gd name="connsiteX2" fmla="*/ 538 w 657"/>
                    <a:gd name="connsiteY2" fmla="*/ 299 h 1854"/>
                    <a:gd name="connsiteX3" fmla="*/ 598 w 657"/>
                    <a:gd name="connsiteY3" fmla="*/ 359 h 1854"/>
                    <a:gd name="connsiteX4" fmla="*/ 658 w 657"/>
                    <a:gd name="connsiteY4" fmla="*/ 478 h 1854"/>
                    <a:gd name="connsiteX5" fmla="*/ 658 w 657"/>
                    <a:gd name="connsiteY5" fmla="*/ 658 h 1854"/>
                    <a:gd name="connsiteX6" fmla="*/ 598 w 657"/>
                    <a:gd name="connsiteY6" fmla="*/ 897 h 1854"/>
                    <a:gd name="connsiteX7" fmla="*/ 538 w 657"/>
                    <a:gd name="connsiteY7" fmla="*/ 1136 h 1854"/>
                    <a:gd name="connsiteX8" fmla="*/ 419 w 657"/>
                    <a:gd name="connsiteY8" fmla="*/ 1375 h 1854"/>
                    <a:gd name="connsiteX9" fmla="*/ 299 w 657"/>
                    <a:gd name="connsiteY9" fmla="*/ 1615 h 1854"/>
                    <a:gd name="connsiteX10" fmla="*/ 239 w 657"/>
                    <a:gd name="connsiteY10" fmla="*/ 1674 h 1854"/>
                    <a:gd name="connsiteX11" fmla="*/ 119 w 657"/>
                    <a:gd name="connsiteY11" fmla="*/ 1794 h 1854"/>
                    <a:gd name="connsiteX12" fmla="*/ 60 w 657"/>
                    <a:gd name="connsiteY12"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7" h="1854">
                      <a:moveTo>
                        <a:pt x="0" y="0"/>
                      </a:moveTo>
                      <a:lnTo>
                        <a:pt x="538" y="299"/>
                      </a:lnTo>
                      <a:lnTo>
                        <a:pt x="538" y="299"/>
                      </a:lnTo>
                      <a:lnTo>
                        <a:pt x="598" y="359"/>
                      </a:lnTo>
                      <a:lnTo>
                        <a:pt x="658" y="478"/>
                      </a:lnTo>
                      <a:lnTo>
                        <a:pt x="658" y="658"/>
                      </a:lnTo>
                      <a:lnTo>
                        <a:pt x="598" y="897"/>
                      </a:lnTo>
                      <a:lnTo>
                        <a:pt x="538" y="1136"/>
                      </a:lnTo>
                      <a:lnTo>
                        <a:pt x="419" y="1375"/>
                      </a:lnTo>
                      <a:lnTo>
                        <a:pt x="299" y="1615"/>
                      </a:lnTo>
                      <a:lnTo>
                        <a:pt x="239" y="1674"/>
                      </a:lnTo>
                      <a:lnTo>
                        <a:pt x="119" y="1794"/>
                      </a:lnTo>
                      <a:lnTo>
                        <a:pt x="60" y="1854"/>
                      </a:lnTo>
                    </a:path>
                  </a:pathLst>
                </a:custGeom>
                <a:noFill/>
                <a:ln w="6350" cap="flat">
                  <a:solidFill>
                    <a:schemeClr val="bg1">
                      <a:alpha val="80000"/>
                    </a:schemeClr>
                  </a:solidFill>
                  <a:prstDash val="solid"/>
                  <a:miter/>
                </a:ln>
              </p:spPr>
              <p:txBody>
                <a:bodyPr rtlCol="0" anchor="ctr"/>
                <a:lstStyle/>
                <a:p>
                  <a:endParaRPr lang="en-GB"/>
                </a:p>
              </p:txBody>
            </p:sp>
            <p:sp>
              <p:nvSpPr>
                <p:cNvPr id="7715" name="Vrije vorm: vorm 7714">
                  <a:extLst>
                    <a:ext uri="{FF2B5EF4-FFF2-40B4-BE49-F238E27FC236}">
                      <a16:creationId xmlns:a16="http://schemas.microsoft.com/office/drawing/2014/main" id="{2B29DC4E-A4F2-4895-B851-A1C933381981}"/>
                    </a:ext>
                  </a:extLst>
                </p:cNvPr>
                <p:cNvSpPr/>
                <p:nvPr/>
              </p:nvSpPr>
              <p:spPr>
                <a:xfrm>
                  <a:off x="5803234" y="5295790"/>
                  <a:ext cx="1076" cy="1375"/>
                </a:xfrm>
                <a:custGeom>
                  <a:avLst/>
                  <a:gdLst>
                    <a:gd name="connsiteX0" fmla="*/ 1076 w 1076"/>
                    <a:gd name="connsiteY0" fmla="*/ 0 h 1375"/>
                    <a:gd name="connsiteX1" fmla="*/ 1076 w 1076"/>
                    <a:gd name="connsiteY1" fmla="*/ 0 h 1375"/>
                    <a:gd name="connsiteX2" fmla="*/ 957 w 1076"/>
                    <a:gd name="connsiteY2" fmla="*/ 0 h 1375"/>
                    <a:gd name="connsiteX3" fmla="*/ 837 w 1076"/>
                    <a:gd name="connsiteY3" fmla="*/ 60 h 1375"/>
                    <a:gd name="connsiteX4" fmla="*/ 658 w 1076"/>
                    <a:gd name="connsiteY4" fmla="*/ 179 h 1375"/>
                    <a:gd name="connsiteX5" fmla="*/ 658 w 1076"/>
                    <a:gd name="connsiteY5" fmla="*/ 179 h 1375"/>
                    <a:gd name="connsiteX6" fmla="*/ 479 w 1076"/>
                    <a:gd name="connsiteY6" fmla="*/ 359 h 1375"/>
                    <a:gd name="connsiteX7" fmla="*/ 299 w 1076"/>
                    <a:gd name="connsiteY7" fmla="*/ 598 h 1375"/>
                    <a:gd name="connsiteX8" fmla="*/ 180 w 1076"/>
                    <a:gd name="connsiteY8" fmla="*/ 837 h 1375"/>
                    <a:gd name="connsiteX9" fmla="*/ 120 w 1076"/>
                    <a:gd name="connsiteY9" fmla="*/ 957 h 1375"/>
                    <a:gd name="connsiteX10" fmla="*/ 120 w 1076"/>
                    <a:gd name="connsiteY10" fmla="*/ 957 h 1375"/>
                    <a:gd name="connsiteX11" fmla="*/ 60 w 1076"/>
                    <a:gd name="connsiteY11" fmla="*/ 1136 h 1375"/>
                    <a:gd name="connsiteX12" fmla="*/ 0 w 1076"/>
                    <a:gd name="connsiteY12" fmla="*/ 1375 h 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6" h="1375">
                      <a:moveTo>
                        <a:pt x="1076" y="0"/>
                      </a:moveTo>
                      <a:lnTo>
                        <a:pt x="1076" y="0"/>
                      </a:lnTo>
                      <a:lnTo>
                        <a:pt x="957" y="0"/>
                      </a:lnTo>
                      <a:lnTo>
                        <a:pt x="837" y="60"/>
                      </a:lnTo>
                      <a:lnTo>
                        <a:pt x="658" y="179"/>
                      </a:lnTo>
                      <a:lnTo>
                        <a:pt x="658" y="179"/>
                      </a:lnTo>
                      <a:lnTo>
                        <a:pt x="479" y="359"/>
                      </a:lnTo>
                      <a:lnTo>
                        <a:pt x="299" y="598"/>
                      </a:lnTo>
                      <a:lnTo>
                        <a:pt x="180" y="837"/>
                      </a:lnTo>
                      <a:lnTo>
                        <a:pt x="120" y="957"/>
                      </a:lnTo>
                      <a:lnTo>
                        <a:pt x="120" y="957"/>
                      </a:lnTo>
                      <a:lnTo>
                        <a:pt x="60" y="1136"/>
                      </a:lnTo>
                      <a:lnTo>
                        <a:pt x="0" y="1375"/>
                      </a:lnTo>
                    </a:path>
                  </a:pathLst>
                </a:custGeom>
                <a:noFill/>
                <a:ln w="6350" cap="flat">
                  <a:solidFill>
                    <a:schemeClr val="bg1">
                      <a:alpha val="80000"/>
                    </a:schemeClr>
                  </a:solidFill>
                  <a:prstDash val="solid"/>
                  <a:miter/>
                </a:ln>
              </p:spPr>
              <p:txBody>
                <a:bodyPr rtlCol="0" anchor="ctr"/>
                <a:lstStyle/>
                <a:p>
                  <a:endParaRPr lang="en-GB"/>
                </a:p>
              </p:txBody>
            </p:sp>
            <p:sp>
              <p:nvSpPr>
                <p:cNvPr id="7716" name="Vrije vorm: vorm 7715">
                  <a:extLst>
                    <a:ext uri="{FF2B5EF4-FFF2-40B4-BE49-F238E27FC236}">
                      <a16:creationId xmlns:a16="http://schemas.microsoft.com/office/drawing/2014/main" id="{E228450D-7F03-4A62-ACD7-09D71D591A05}"/>
                    </a:ext>
                  </a:extLst>
                </p:cNvPr>
                <p:cNvSpPr/>
                <p:nvPr/>
              </p:nvSpPr>
              <p:spPr>
                <a:xfrm>
                  <a:off x="5802097" y="5296686"/>
                  <a:ext cx="239" cy="1435"/>
                </a:xfrm>
                <a:custGeom>
                  <a:avLst/>
                  <a:gdLst>
                    <a:gd name="connsiteX0" fmla="*/ 239 w 239"/>
                    <a:gd name="connsiteY0" fmla="*/ 1435 h 1435"/>
                    <a:gd name="connsiteX1" fmla="*/ 0 w 239"/>
                    <a:gd name="connsiteY1" fmla="*/ 359 h 1435"/>
                    <a:gd name="connsiteX2" fmla="*/ 239 w 239"/>
                    <a:gd name="connsiteY2" fmla="*/ 0 h 1435"/>
                  </a:gdLst>
                  <a:ahLst/>
                  <a:cxnLst>
                    <a:cxn ang="0">
                      <a:pos x="connsiteX0" y="connsiteY0"/>
                    </a:cxn>
                    <a:cxn ang="0">
                      <a:pos x="connsiteX1" y="connsiteY1"/>
                    </a:cxn>
                    <a:cxn ang="0">
                      <a:pos x="connsiteX2" y="connsiteY2"/>
                    </a:cxn>
                  </a:cxnLst>
                  <a:rect l="l" t="t" r="r" b="b"/>
                  <a:pathLst>
                    <a:path w="239" h="1435">
                      <a:moveTo>
                        <a:pt x="239" y="1435"/>
                      </a:moveTo>
                      <a:lnTo>
                        <a:pt x="0" y="359"/>
                      </a:lnTo>
                      <a:lnTo>
                        <a:pt x="239" y="0"/>
                      </a:lnTo>
                    </a:path>
                  </a:pathLst>
                </a:custGeom>
                <a:noFill/>
                <a:ln w="6350" cap="flat">
                  <a:solidFill>
                    <a:schemeClr val="bg1">
                      <a:alpha val="80000"/>
                    </a:schemeClr>
                  </a:solidFill>
                  <a:prstDash val="solid"/>
                  <a:miter/>
                </a:ln>
              </p:spPr>
              <p:txBody>
                <a:bodyPr rtlCol="0" anchor="ctr"/>
                <a:lstStyle/>
                <a:p>
                  <a:endParaRPr lang="en-GB"/>
                </a:p>
              </p:txBody>
            </p:sp>
            <p:sp>
              <p:nvSpPr>
                <p:cNvPr id="7717" name="Vrije vorm: vorm 7716">
                  <a:extLst>
                    <a:ext uri="{FF2B5EF4-FFF2-40B4-BE49-F238E27FC236}">
                      <a16:creationId xmlns:a16="http://schemas.microsoft.com/office/drawing/2014/main" id="{B6A651B3-00A3-4AC9-A24D-D64CE5603FF6}"/>
                    </a:ext>
                  </a:extLst>
                </p:cNvPr>
                <p:cNvSpPr/>
                <p:nvPr/>
              </p:nvSpPr>
              <p:spPr>
                <a:xfrm>
                  <a:off x="5799047" y="5300574"/>
                  <a:ext cx="298" cy="1375"/>
                </a:xfrm>
                <a:custGeom>
                  <a:avLst/>
                  <a:gdLst>
                    <a:gd name="connsiteX0" fmla="*/ 180 w 298"/>
                    <a:gd name="connsiteY0" fmla="*/ 1375 h 1375"/>
                    <a:gd name="connsiteX1" fmla="*/ 0 w 298"/>
                    <a:gd name="connsiteY1" fmla="*/ 359 h 1375"/>
                    <a:gd name="connsiteX2" fmla="*/ 299 w 298"/>
                    <a:gd name="connsiteY2" fmla="*/ 0 h 1375"/>
                  </a:gdLst>
                  <a:ahLst/>
                  <a:cxnLst>
                    <a:cxn ang="0">
                      <a:pos x="connsiteX0" y="connsiteY0"/>
                    </a:cxn>
                    <a:cxn ang="0">
                      <a:pos x="connsiteX1" y="connsiteY1"/>
                    </a:cxn>
                    <a:cxn ang="0">
                      <a:pos x="connsiteX2" y="connsiteY2"/>
                    </a:cxn>
                  </a:cxnLst>
                  <a:rect l="l" t="t" r="r" b="b"/>
                  <a:pathLst>
                    <a:path w="298" h="1375">
                      <a:moveTo>
                        <a:pt x="180" y="1375"/>
                      </a:moveTo>
                      <a:lnTo>
                        <a:pt x="0" y="359"/>
                      </a:lnTo>
                      <a:lnTo>
                        <a:pt x="299" y="0"/>
                      </a:lnTo>
                    </a:path>
                  </a:pathLst>
                </a:custGeom>
                <a:noFill/>
                <a:ln w="6350" cap="flat">
                  <a:solidFill>
                    <a:schemeClr val="bg1">
                      <a:alpha val="80000"/>
                    </a:schemeClr>
                  </a:solidFill>
                  <a:prstDash val="solid"/>
                  <a:miter/>
                </a:ln>
              </p:spPr>
              <p:txBody>
                <a:bodyPr rtlCol="0" anchor="ctr"/>
                <a:lstStyle/>
                <a:p>
                  <a:endParaRPr lang="en-GB"/>
                </a:p>
              </p:txBody>
            </p:sp>
            <p:sp>
              <p:nvSpPr>
                <p:cNvPr id="7718" name="Vrije vorm: vorm 7717">
                  <a:extLst>
                    <a:ext uri="{FF2B5EF4-FFF2-40B4-BE49-F238E27FC236}">
                      <a16:creationId xmlns:a16="http://schemas.microsoft.com/office/drawing/2014/main" id="{BBC24533-7890-489B-8BAB-F86ECBF2BE66}"/>
                    </a:ext>
                  </a:extLst>
                </p:cNvPr>
                <p:cNvSpPr/>
                <p:nvPr/>
              </p:nvSpPr>
              <p:spPr>
                <a:xfrm>
                  <a:off x="5797970" y="5303744"/>
                  <a:ext cx="538" cy="299"/>
                </a:xfrm>
                <a:custGeom>
                  <a:avLst/>
                  <a:gdLst>
                    <a:gd name="connsiteX0" fmla="*/ 538 w 538"/>
                    <a:gd name="connsiteY0" fmla="*/ 299 h 299"/>
                    <a:gd name="connsiteX1" fmla="*/ 0 w 538"/>
                    <a:gd name="connsiteY1" fmla="*/ 0 h 299"/>
                    <a:gd name="connsiteX2" fmla="*/ 0 w 538"/>
                    <a:gd name="connsiteY2" fmla="*/ 0 h 299"/>
                  </a:gdLst>
                  <a:ahLst/>
                  <a:cxnLst>
                    <a:cxn ang="0">
                      <a:pos x="connsiteX0" y="connsiteY0"/>
                    </a:cxn>
                    <a:cxn ang="0">
                      <a:pos x="connsiteX1" y="connsiteY1"/>
                    </a:cxn>
                    <a:cxn ang="0">
                      <a:pos x="connsiteX2" y="connsiteY2"/>
                    </a:cxn>
                  </a:cxnLst>
                  <a:rect l="l" t="t" r="r" b="b"/>
                  <a:pathLst>
                    <a:path w="538" h="299">
                      <a:moveTo>
                        <a:pt x="538" y="299"/>
                      </a:moveTo>
                      <a:lnTo>
                        <a:pt x="0" y="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19" name="Vrije vorm: vorm 7718">
                  <a:extLst>
                    <a:ext uri="{FF2B5EF4-FFF2-40B4-BE49-F238E27FC236}">
                      <a16:creationId xmlns:a16="http://schemas.microsoft.com/office/drawing/2014/main" id="{B341BAA5-241F-4565-8D6F-41BEF878620F}"/>
                    </a:ext>
                  </a:extLst>
                </p:cNvPr>
                <p:cNvSpPr/>
                <p:nvPr/>
              </p:nvSpPr>
              <p:spPr>
                <a:xfrm>
                  <a:off x="5788581" y="5161403"/>
                  <a:ext cx="59" cy="358"/>
                </a:xfrm>
                <a:custGeom>
                  <a:avLst/>
                  <a:gdLst>
                    <a:gd name="connsiteX0" fmla="*/ 60 w 59"/>
                    <a:gd name="connsiteY0" fmla="*/ 359 h 358"/>
                    <a:gd name="connsiteX1" fmla="*/ 0 w 59"/>
                    <a:gd name="connsiteY1" fmla="*/ 0 h 358"/>
                  </a:gdLst>
                  <a:ahLst/>
                  <a:cxnLst>
                    <a:cxn ang="0">
                      <a:pos x="connsiteX0" y="connsiteY0"/>
                    </a:cxn>
                    <a:cxn ang="0">
                      <a:pos x="connsiteX1" y="connsiteY1"/>
                    </a:cxn>
                  </a:cxnLst>
                  <a:rect l="l" t="t" r="r" b="b"/>
                  <a:pathLst>
                    <a:path w="59" h="358">
                      <a:moveTo>
                        <a:pt x="60" y="359"/>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20" name="Vrije vorm: vorm 7719">
                  <a:extLst>
                    <a:ext uri="{FF2B5EF4-FFF2-40B4-BE49-F238E27FC236}">
                      <a16:creationId xmlns:a16="http://schemas.microsoft.com/office/drawing/2014/main" id="{FDD7606B-4399-4D98-A315-15CF56656400}"/>
                    </a:ext>
                  </a:extLst>
                </p:cNvPr>
                <p:cNvSpPr/>
                <p:nvPr/>
              </p:nvSpPr>
              <p:spPr>
                <a:xfrm>
                  <a:off x="5805147" y="5179524"/>
                  <a:ext cx="1256" cy="3947"/>
                </a:xfrm>
                <a:custGeom>
                  <a:avLst/>
                  <a:gdLst>
                    <a:gd name="connsiteX0" fmla="*/ 0 w 1256"/>
                    <a:gd name="connsiteY0" fmla="*/ 3947 h 3947"/>
                    <a:gd name="connsiteX1" fmla="*/ 1196 w 1256"/>
                    <a:gd name="connsiteY1" fmla="*/ 239 h 3947"/>
                    <a:gd name="connsiteX2" fmla="*/ 1256 w 1256"/>
                    <a:gd name="connsiteY2" fmla="*/ 0 h 3947"/>
                  </a:gdLst>
                  <a:ahLst/>
                  <a:cxnLst>
                    <a:cxn ang="0">
                      <a:pos x="connsiteX0" y="connsiteY0"/>
                    </a:cxn>
                    <a:cxn ang="0">
                      <a:pos x="connsiteX1" y="connsiteY1"/>
                    </a:cxn>
                    <a:cxn ang="0">
                      <a:pos x="connsiteX2" y="connsiteY2"/>
                    </a:cxn>
                  </a:cxnLst>
                  <a:rect l="l" t="t" r="r" b="b"/>
                  <a:pathLst>
                    <a:path w="1256" h="3947">
                      <a:moveTo>
                        <a:pt x="0" y="3947"/>
                      </a:moveTo>
                      <a:lnTo>
                        <a:pt x="1196" y="239"/>
                      </a:lnTo>
                      <a:lnTo>
                        <a:pt x="1256" y="0"/>
                      </a:lnTo>
                    </a:path>
                  </a:pathLst>
                </a:custGeom>
                <a:noFill/>
                <a:ln w="6350" cap="flat">
                  <a:solidFill>
                    <a:schemeClr val="bg1">
                      <a:alpha val="80000"/>
                    </a:schemeClr>
                  </a:solidFill>
                  <a:prstDash val="solid"/>
                  <a:miter/>
                </a:ln>
              </p:spPr>
              <p:txBody>
                <a:bodyPr rtlCol="0" anchor="ctr"/>
                <a:lstStyle/>
                <a:p>
                  <a:endParaRPr lang="en-GB"/>
                </a:p>
              </p:txBody>
            </p:sp>
            <p:sp>
              <p:nvSpPr>
                <p:cNvPr id="7721" name="Vrije vorm: vorm 7720">
                  <a:extLst>
                    <a:ext uri="{FF2B5EF4-FFF2-40B4-BE49-F238E27FC236}">
                      <a16:creationId xmlns:a16="http://schemas.microsoft.com/office/drawing/2014/main" id="{53573D68-D125-4033-BB24-E1C062A1D4C8}"/>
                    </a:ext>
                  </a:extLst>
                </p:cNvPr>
                <p:cNvSpPr/>
                <p:nvPr/>
              </p:nvSpPr>
              <p:spPr>
                <a:xfrm>
                  <a:off x="5776739" y="5162420"/>
                  <a:ext cx="26554" cy="43120"/>
                </a:xfrm>
                <a:custGeom>
                  <a:avLst/>
                  <a:gdLst>
                    <a:gd name="connsiteX0" fmla="*/ 24043 w 26554"/>
                    <a:gd name="connsiteY0" fmla="*/ 658 h 43120"/>
                    <a:gd name="connsiteX1" fmla="*/ 25717 w 26554"/>
                    <a:gd name="connsiteY1" fmla="*/ 2811 h 43120"/>
                    <a:gd name="connsiteX2" fmla="*/ 26495 w 26554"/>
                    <a:gd name="connsiteY2" fmla="*/ 6040 h 43120"/>
                    <a:gd name="connsiteX3" fmla="*/ 26554 w 26554"/>
                    <a:gd name="connsiteY3" fmla="*/ 6220 h 43120"/>
                    <a:gd name="connsiteX4" fmla="*/ 26554 w 26554"/>
                    <a:gd name="connsiteY4" fmla="*/ 6340 h 43120"/>
                    <a:gd name="connsiteX5" fmla="*/ 26495 w 26554"/>
                    <a:gd name="connsiteY5" fmla="*/ 8134 h 43120"/>
                    <a:gd name="connsiteX6" fmla="*/ 26495 w 26554"/>
                    <a:gd name="connsiteY6" fmla="*/ 8493 h 43120"/>
                    <a:gd name="connsiteX7" fmla="*/ 26435 w 26554"/>
                    <a:gd name="connsiteY7" fmla="*/ 10705 h 43120"/>
                    <a:gd name="connsiteX8" fmla="*/ 25717 w 26554"/>
                    <a:gd name="connsiteY8" fmla="*/ 14473 h 43120"/>
                    <a:gd name="connsiteX9" fmla="*/ 25538 w 26554"/>
                    <a:gd name="connsiteY9" fmla="*/ 15430 h 43120"/>
                    <a:gd name="connsiteX10" fmla="*/ 25478 w 26554"/>
                    <a:gd name="connsiteY10" fmla="*/ 15849 h 43120"/>
                    <a:gd name="connsiteX11" fmla="*/ 25179 w 26554"/>
                    <a:gd name="connsiteY11" fmla="*/ 16746 h 43120"/>
                    <a:gd name="connsiteX12" fmla="*/ 24760 w 26554"/>
                    <a:gd name="connsiteY12" fmla="*/ 18002 h 43120"/>
                    <a:gd name="connsiteX13" fmla="*/ 24342 w 26554"/>
                    <a:gd name="connsiteY13" fmla="*/ 19377 h 43120"/>
                    <a:gd name="connsiteX14" fmla="*/ 23743 w 26554"/>
                    <a:gd name="connsiteY14" fmla="*/ 21291 h 43120"/>
                    <a:gd name="connsiteX15" fmla="*/ 22846 w 26554"/>
                    <a:gd name="connsiteY15" fmla="*/ 23384 h 43120"/>
                    <a:gd name="connsiteX16" fmla="*/ 21351 w 26554"/>
                    <a:gd name="connsiteY16" fmla="*/ 26794 h 43120"/>
                    <a:gd name="connsiteX17" fmla="*/ 19377 w 26554"/>
                    <a:gd name="connsiteY17" fmla="*/ 30203 h 43120"/>
                    <a:gd name="connsiteX18" fmla="*/ 18481 w 26554"/>
                    <a:gd name="connsiteY18" fmla="*/ 31758 h 43120"/>
                    <a:gd name="connsiteX19" fmla="*/ 18361 w 26554"/>
                    <a:gd name="connsiteY19" fmla="*/ 31937 h 43120"/>
                    <a:gd name="connsiteX20" fmla="*/ 16985 w 26554"/>
                    <a:gd name="connsiteY20" fmla="*/ 33791 h 43120"/>
                    <a:gd name="connsiteX21" fmla="*/ 16985 w 26554"/>
                    <a:gd name="connsiteY21" fmla="*/ 33791 h 43120"/>
                    <a:gd name="connsiteX22" fmla="*/ 16567 w 26554"/>
                    <a:gd name="connsiteY22" fmla="*/ 34329 h 43120"/>
                    <a:gd name="connsiteX23" fmla="*/ 15430 w 26554"/>
                    <a:gd name="connsiteY23" fmla="*/ 35884 h 43120"/>
                    <a:gd name="connsiteX24" fmla="*/ 15072 w 26554"/>
                    <a:gd name="connsiteY24" fmla="*/ 36363 h 43120"/>
                    <a:gd name="connsiteX25" fmla="*/ 12440 w 26554"/>
                    <a:gd name="connsiteY25" fmla="*/ 39054 h 43120"/>
                    <a:gd name="connsiteX26" fmla="*/ 11782 w 26554"/>
                    <a:gd name="connsiteY26" fmla="*/ 39712 h 43120"/>
                    <a:gd name="connsiteX27" fmla="*/ 11662 w 26554"/>
                    <a:gd name="connsiteY27" fmla="*/ 39831 h 43120"/>
                    <a:gd name="connsiteX28" fmla="*/ 9031 w 26554"/>
                    <a:gd name="connsiteY28" fmla="*/ 41685 h 43120"/>
                    <a:gd name="connsiteX29" fmla="*/ 8313 w 26554"/>
                    <a:gd name="connsiteY29" fmla="*/ 42164 h 43120"/>
                    <a:gd name="connsiteX30" fmla="*/ 7416 w 26554"/>
                    <a:gd name="connsiteY30" fmla="*/ 42463 h 43120"/>
                    <a:gd name="connsiteX31" fmla="*/ 6280 w 26554"/>
                    <a:gd name="connsiteY31" fmla="*/ 42822 h 43120"/>
                    <a:gd name="connsiteX32" fmla="*/ 5323 w 26554"/>
                    <a:gd name="connsiteY32" fmla="*/ 43121 h 43120"/>
                    <a:gd name="connsiteX33" fmla="*/ 3828 w 26554"/>
                    <a:gd name="connsiteY33" fmla="*/ 42822 h 43120"/>
                    <a:gd name="connsiteX34" fmla="*/ 2811 w 26554"/>
                    <a:gd name="connsiteY34" fmla="*/ 42642 h 43120"/>
                    <a:gd name="connsiteX35" fmla="*/ 2153 w 26554"/>
                    <a:gd name="connsiteY35" fmla="*/ 41925 h 43120"/>
                    <a:gd name="connsiteX36" fmla="*/ 1615 w 26554"/>
                    <a:gd name="connsiteY36" fmla="*/ 41327 h 43120"/>
                    <a:gd name="connsiteX37" fmla="*/ 1017 w 26554"/>
                    <a:gd name="connsiteY37" fmla="*/ 40729 h 43120"/>
                    <a:gd name="connsiteX38" fmla="*/ 658 w 26554"/>
                    <a:gd name="connsiteY38" fmla="*/ 39413 h 43120"/>
                    <a:gd name="connsiteX39" fmla="*/ 60 w 26554"/>
                    <a:gd name="connsiteY39" fmla="*/ 37439 h 43120"/>
                    <a:gd name="connsiteX40" fmla="*/ 60 w 26554"/>
                    <a:gd name="connsiteY40" fmla="*/ 36661 h 43120"/>
                    <a:gd name="connsiteX41" fmla="*/ 0 w 26554"/>
                    <a:gd name="connsiteY41" fmla="*/ 33073 h 43120"/>
                    <a:gd name="connsiteX42" fmla="*/ 0 w 26554"/>
                    <a:gd name="connsiteY42" fmla="*/ 33013 h 43120"/>
                    <a:gd name="connsiteX43" fmla="*/ 120 w 26554"/>
                    <a:gd name="connsiteY43" fmla="*/ 32356 h 43120"/>
                    <a:gd name="connsiteX44" fmla="*/ 299 w 26554"/>
                    <a:gd name="connsiteY44" fmla="*/ 31339 h 43120"/>
                    <a:gd name="connsiteX45" fmla="*/ 897 w 26554"/>
                    <a:gd name="connsiteY45" fmla="*/ 27750 h 43120"/>
                    <a:gd name="connsiteX46" fmla="*/ 1794 w 26554"/>
                    <a:gd name="connsiteY46" fmla="*/ 24820 h 43120"/>
                    <a:gd name="connsiteX47" fmla="*/ 2632 w 26554"/>
                    <a:gd name="connsiteY47" fmla="*/ 22069 h 43120"/>
                    <a:gd name="connsiteX48" fmla="*/ 4246 w 26554"/>
                    <a:gd name="connsiteY48" fmla="*/ 18480 h 43120"/>
                    <a:gd name="connsiteX49" fmla="*/ 5203 w 26554"/>
                    <a:gd name="connsiteY49" fmla="*/ 16387 h 43120"/>
                    <a:gd name="connsiteX50" fmla="*/ 7177 w 26554"/>
                    <a:gd name="connsiteY50" fmla="*/ 13038 h 43120"/>
                    <a:gd name="connsiteX51" fmla="*/ 7416 w 26554"/>
                    <a:gd name="connsiteY51" fmla="*/ 12619 h 43120"/>
                    <a:gd name="connsiteX52" fmla="*/ 8313 w 26554"/>
                    <a:gd name="connsiteY52" fmla="*/ 11064 h 43120"/>
                    <a:gd name="connsiteX53" fmla="*/ 8552 w 26554"/>
                    <a:gd name="connsiteY53" fmla="*/ 10765 h 43120"/>
                    <a:gd name="connsiteX54" fmla="*/ 8732 w 26554"/>
                    <a:gd name="connsiteY54" fmla="*/ 10526 h 43120"/>
                    <a:gd name="connsiteX55" fmla="*/ 10406 w 26554"/>
                    <a:gd name="connsiteY55" fmla="*/ 8253 h 43120"/>
                    <a:gd name="connsiteX56" fmla="*/ 10645 w 26554"/>
                    <a:gd name="connsiteY56" fmla="*/ 7954 h 43120"/>
                    <a:gd name="connsiteX57" fmla="*/ 11603 w 26554"/>
                    <a:gd name="connsiteY57" fmla="*/ 6698 h 43120"/>
                    <a:gd name="connsiteX58" fmla="*/ 11782 w 26554"/>
                    <a:gd name="connsiteY58" fmla="*/ 6459 h 43120"/>
                    <a:gd name="connsiteX59" fmla="*/ 12380 w 26554"/>
                    <a:gd name="connsiteY59" fmla="*/ 5861 h 43120"/>
                    <a:gd name="connsiteX60" fmla="*/ 12440 w 26554"/>
                    <a:gd name="connsiteY60" fmla="*/ 5801 h 43120"/>
                    <a:gd name="connsiteX61" fmla="*/ 14832 w 26554"/>
                    <a:gd name="connsiteY61" fmla="*/ 3409 h 43120"/>
                    <a:gd name="connsiteX62" fmla="*/ 15311 w 26554"/>
                    <a:gd name="connsiteY62" fmla="*/ 2930 h 43120"/>
                    <a:gd name="connsiteX63" fmla="*/ 15789 w 26554"/>
                    <a:gd name="connsiteY63" fmla="*/ 2631 h 43120"/>
                    <a:gd name="connsiteX64" fmla="*/ 18540 w 26554"/>
                    <a:gd name="connsiteY64" fmla="*/ 837 h 43120"/>
                    <a:gd name="connsiteX65" fmla="*/ 18720 w 26554"/>
                    <a:gd name="connsiteY65" fmla="*/ 718 h 43120"/>
                    <a:gd name="connsiteX66" fmla="*/ 19019 w 26554"/>
                    <a:gd name="connsiteY66" fmla="*/ 658 h 43120"/>
                    <a:gd name="connsiteX67" fmla="*/ 19019 w 26554"/>
                    <a:gd name="connsiteY67" fmla="*/ 658 h 43120"/>
                    <a:gd name="connsiteX68" fmla="*/ 20693 w 26554"/>
                    <a:gd name="connsiteY68" fmla="*/ 239 h 43120"/>
                    <a:gd name="connsiteX69" fmla="*/ 20933 w 26554"/>
                    <a:gd name="connsiteY69" fmla="*/ 179 h 43120"/>
                    <a:gd name="connsiteX70" fmla="*/ 21710 w 26554"/>
                    <a:gd name="connsiteY70" fmla="*/ 0 h 43120"/>
                    <a:gd name="connsiteX71" fmla="*/ 21949 w 26554"/>
                    <a:gd name="connsiteY71" fmla="*/ 60 h 43120"/>
                    <a:gd name="connsiteX72" fmla="*/ 23325 w 26554"/>
                    <a:gd name="connsiteY72" fmla="*/ 478 h 43120"/>
                    <a:gd name="connsiteX73" fmla="*/ 24043 w 26554"/>
                    <a:gd name="connsiteY73" fmla="*/ 658 h 4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6554" h="43120">
                      <a:moveTo>
                        <a:pt x="24043" y="658"/>
                      </a:moveTo>
                      <a:lnTo>
                        <a:pt x="25717" y="2811"/>
                      </a:lnTo>
                      <a:lnTo>
                        <a:pt x="26495" y="6040"/>
                      </a:lnTo>
                      <a:lnTo>
                        <a:pt x="26554" y="6220"/>
                      </a:lnTo>
                      <a:lnTo>
                        <a:pt x="26554" y="6340"/>
                      </a:lnTo>
                      <a:lnTo>
                        <a:pt x="26495" y="8134"/>
                      </a:lnTo>
                      <a:lnTo>
                        <a:pt x="26495" y="8493"/>
                      </a:lnTo>
                      <a:lnTo>
                        <a:pt x="26435" y="10705"/>
                      </a:lnTo>
                      <a:lnTo>
                        <a:pt x="25717" y="14473"/>
                      </a:lnTo>
                      <a:lnTo>
                        <a:pt x="25538" y="15430"/>
                      </a:lnTo>
                      <a:lnTo>
                        <a:pt x="25478" y="15849"/>
                      </a:lnTo>
                      <a:lnTo>
                        <a:pt x="25179" y="16746"/>
                      </a:lnTo>
                      <a:lnTo>
                        <a:pt x="24760" y="18002"/>
                      </a:lnTo>
                      <a:lnTo>
                        <a:pt x="24342" y="19377"/>
                      </a:lnTo>
                      <a:lnTo>
                        <a:pt x="23743" y="21291"/>
                      </a:lnTo>
                      <a:lnTo>
                        <a:pt x="22846" y="23384"/>
                      </a:lnTo>
                      <a:lnTo>
                        <a:pt x="21351" y="26794"/>
                      </a:lnTo>
                      <a:lnTo>
                        <a:pt x="19377" y="30203"/>
                      </a:lnTo>
                      <a:lnTo>
                        <a:pt x="18481" y="31758"/>
                      </a:lnTo>
                      <a:lnTo>
                        <a:pt x="18361" y="31937"/>
                      </a:lnTo>
                      <a:lnTo>
                        <a:pt x="16985" y="33791"/>
                      </a:lnTo>
                      <a:lnTo>
                        <a:pt x="16985" y="33791"/>
                      </a:lnTo>
                      <a:lnTo>
                        <a:pt x="16567" y="34329"/>
                      </a:lnTo>
                      <a:lnTo>
                        <a:pt x="15430" y="35884"/>
                      </a:lnTo>
                      <a:lnTo>
                        <a:pt x="15072" y="36363"/>
                      </a:lnTo>
                      <a:lnTo>
                        <a:pt x="12440" y="39054"/>
                      </a:lnTo>
                      <a:lnTo>
                        <a:pt x="11782" y="39712"/>
                      </a:lnTo>
                      <a:lnTo>
                        <a:pt x="11662" y="39831"/>
                      </a:lnTo>
                      <a:lnTo>
                        <a:pt x="9031" y="41685"/>
                      </a:lnTo>
                      <a:lnTo>
                        <a:pt x="8313" y="42164"/>
                      </a:lnTo>
                      <a:lnTo>
                        <a:pt x="7416" y="42463"/>
                      </a:lnTo>
                      <a:lnTo>
                        <a:pt x="6280" y="42822"/>
                      </a:lnTo>
                      <a:lnTo>
                        <a:pt x="5323" y="43121"/>
                      </a:lnTo>
                      <a:lnTo>
                        <a:pt x="3828" y="42822"/>
                      </a:lnTo>
                      <a:lnTo>
                        <a:pt x="2811" y="42642"/>
                      </a:lnTo>
                      <a:lnTo>
                        <a:pt x="2153" y="41925"/>
                      </a:lnTo>
                      <a:lnTo>
                        <a:pt x="1615" y="41327"/>
                      </a:lnTo>
                      <a:lnTo>
                        <a:pt x="1017" y="40729"/>
                      </a:lnTo>
                      <a:lnTo>
                        <a:pt x="658" y="39413"/>
                      </a:lnTo>
                      <a:lnTo>
                        <a:pt x="60" y="37439"/>
                      </a:lnTo>
                      <a:lnTo>
                        <a:pt x="60" y="36661"/>
                      </a:lnTo>
                      <a:lnTo>
                        <a:pt x="0" y="33073"/>
                      </a:lnTo>
                      <a:lnTo>
                        <a:pt x="0" y="33013"/>
                      </a:lnTo>
                      <a:lnTo>
                        <a:pt x="120" y="32356"/>
                      </a:lnTo>
                      <a:lnTo>
                        <a:pt x="299" y="31339"/>
                      </a:lnTo>
                      <a:lnTo>
                        <a:pt x="897" y="27750"/>
                      </a:lnTo>
                      <a:lnTo>
                        <a:pt x="1794" y="24820"/>
                      </a:lnTo>
                      <a:lnTo>
                        <a:pt x="2632" y="22069"/>
                      </a:lnTo>
                      <a:lnTo>
                        <a:pt x="4246" y="18480"/>
                      </a:lnTo>
                      <a:lnTo>
                        <a:pt x="5203" y="16387"/>
                      </a:lnTo>
                      <a:lnTo>
                        <a:pt x="7177" y="13038"/>
                      </a:lnTo>
                      <a:lnTo>
                        <a:pt x="7416" y="12619"/>
                      </a:lnTo>
                      <a:lnTo>
                        <a:pt x="8313" y="11064"/>
                      </a:lnTo>
                      <a:lnTo>
                        <a:pt x="8552" y="10765"/>
                      </a:lnTo>
                      <a:lnTo>
                        <a:pt x="8732" y="10526"/>
                      </a:lnTo>
                      <a:lnTo>
                        <a:pt x="10406" y="8253"/>
                      </a:lnTo>
                      <a:lnTo>
                        <a:pt x="10645" y="7954"/>
                      </a:lnTo>
                      <a:lnTo>
                        <a:pt x="11603" y="6698"/>
                      </a:lnTo>
                      <a:lnTo>
                        <a:pt x="11782" y="6459"/>
                      </a:lnTo>
                      <a:lnTo>
                        <a:pt x="12380" y="5861"/>
                      </a:lnTo>
                      <a:lnTo>
                        <a:pt x="12440" y="5801"/>
                      </a:lnTo>
                      <a:lnTo>
                        <a:pt x="14832" y="3409"/>
                      </a:lnTo>
                      <a:lnTo>
                        <a:pt x="15311" y="2930"/>
                      </a:lnTo>
                      <a:lnTo>
                        <a:pt x="15789" y="2631"/>
                      </a:lnTo>
                      <a:lnTo>
                        <a:pt x="18540" y="837"/>
                      </a:lnTo>
                      <a:lnTo>
                        <a:pt x="18720" y="718"/>
                      </a:lnTo>
                      <a:lnTo>
                        <a:pt x="19019" y="658"/>
                      </a:lnTo>
                      <a:lnTo>
                        <a:pt x="19019" y="658"/>
                      </a:lnTo>
                      <a:lnTo>
                        <a:pt x="20693" y="239"/>
                      </a:lnTo>
                      <a:lnTo>
                        <a:pt x="20933" y="179"/>
                      </a:lnTo>
                      <a:lnTo>
                        <a:pt x="21710" y="0"/>
                      </a:lnTo>
                      <a:lnTo>
                        <a:pt x="21949" y="60"/>
                      </a:lnTo>
                      <a:lnTo>
                        <a:pt x="23325" y="478"/>
                      </a:lnTo>
                      <a:lnTo>
                        <a:pt x="24043" y="658"/>
                      </a:lnTo>
                    </a:path>
                  </a:pathLst>
                </a:custGeom>
                <a:noFill/>
                <a:ln w="6350" cap="flat">
                  <a:solidFill>
                    <a:schemeClr val="bg1">
                      <a:alpha val="80000"/>
                    </a:schemeClr>
                  </a:solidFill>
                  <a:prstDash val="solid"/>
                  <a:miter/>
                </a:ln>
              </p:spPr>
              <p:txBody>
                <a:bodyPr rtlCol="0" anchor="ctr"/>
                <a:lstStyle/>
                <a:p>
                  <a:endParaRPr lang="en-GB"/>
                </a:p>
              </p:txBody>
            </p:sp>
            <p:sp>
              <p:nvSpPr>
                <p:cNvPr id="7722" name="Vrije vorm: vorm 7721">
                  <a:extLst>
                    <a:ext uri="{FF2B5EF4-FFF2-40B4-BE49-F238E27FC236}">
                      <a16:creationId xmlns:a16="http://schemas.microsoft.com/office/drawing/2014/main" id="{219CF903-D7C4-47DE-9BCE-9C68F3B7FB64}"/>
                    </a:ext>
                  </a:extLst>
                </p:cNvPr>
                <p:cNvSpPr/>
                <p:nvPr/>
              </p:nvSpPr>
              <p:spPr>
                <a:xfrm>
                  <a:off x="5809453" y="5240528"/>
                  <a:ext cx="4186" cy="5203"/>
                </a:xfrm>
                <a:custGeom>
                  <a:avLst/>
                  <a:gdLst>
                    <a:gd name="connsiteX0" fmla="*/ 1256 w 4186"/>
                    <a:gd name="connsiteY0" fmla="*/ 5083 h 5203"/>
                    <a:gd name="connsiteX1" fmla="*/ 1077 w 4186"/>
                    <a:gd name="connsiteY1" fmla="*/ 4904 h 5203"/>
                    <a:gd name="connsiteX2" fmla="*/ 957 w 4186"/>
                    <a:gd name="connsiteY2" fmla="*/ 4545 h 5203"/>
                    <a:gd name="connsiteX3" fmla="*/ 957 w 4186"/>
                    <a:gd name="connsiteY3" fmla="*/ 4127 h 5203"/>
                    <a:gd name="connsiteX4" fmla="*/ 957 w 4186"/>
                    <a:gd name="connsiteY4" fmla="*/ 4067 h 5203"/>
                    <a:gd name="connsiteX5" fmla="*/ 1017 w 4186"/>
                    <a:gd name="connsiteY5" fmla="*/ 3648 h 5203"/>
                    <a:gd name="connsiteX6" fmla="*/ 1077 w 4186"/>
                    <a:gd name="connsiteY6" fmla="*/ 3469 h 5203"/>
                    <a:gd name="connsiteX7" fmla="*/ 1316 w 4186"/>
                    <a:gd name="connsiteY7" fmla="*/ 2811 h 5203"/>
                    <a:gd name="connsiteX8" fmla="*/ 1615 w 4186"/>
                    <a:gd name="connsiteY8" fmla="*/ 2153 h 5203"/>
                    <a:gd name="connsiteX9" fmla="*/ 1974 w 4186"/>
                    <a:gd name="connsiteY9" fmla="*/ 1495 h 5203"/>
                    <a:gd name="connsiteX10" fmla="*/ 2392 w 4186"/>
                    <a:gd name="connsiteY10" fmla="*/ 897 h 5203"/>
                    <a:gd name="connsiteX11" fmla="*/ 2811 w 4186"/>
                    <a:gd name="connsiteY11" fmla="*/ 418 h 5203"/>
                    <a:gd name="connsiteX12" fmla="*/ 2871 w 4186"/>
                    <a:gd name="connsiteY12" fmla="*/ 359 h 5203"/>
                    <a:gd name="connsiteX13" fmla="*/ 3230 w 4186"/>
                    <a:gd name="connsiteY13" fmla="*/ 119 h 5203"/>
                    <a:gd name="connsiteX14" fmla="*/ 3290 w 4186"/>
                    <a:gd name="connsiteY14" fmla="*/ 119 h 5203"/>
                    <a:gd name="connsiteX15" fmla="*/ 3589 w 4186"/>
                    <a:gd name="connsiteY15" fmla="*/ 0 h 5203"/>
                    <a:gd name="connsiteX16" fmla="*/ 3888 w 4186"/>
                    <a:gd name="connsiteY16" fmla="*/ 60 h 5203"/>
                    <a:gd name="connsiteX17" fmla="*/ 4067 w 4186"/>
                    <a:gd name="connsiteY17" fmla="*/ 299 h 5203"/>
                    <a:gd name="connsiteX18" fmla="*/ 4187 w 4186"/>
                    <a:gd name="connsiteY18" fmla="*/ 658 h 5203"/>
                    <a:gd name="connsiteX19" fmla="*/ 4187 w 4186"/>
                    <a:gd name="connsiteY19" fmla="*/ 1136 h 5203"/>
                    <a:gd name="connsiteX20" fmla="*/ 4067 w 4186"/>
                    <a:gd name="connsiteY20" fmla="*/ 1734 h 5203"/>
                    <a:gd name="connsiteX21" fmla="*/ 3828 w 4186"/>
                    <a:gd name="connsiteY21" fmla="*/ 2392 h 5203"/>
                    <a:gd name="connsiteX22" fmla="*/ 3589 w 4186"/>
                    <a:gd name="connsiteY22" fmla="*/ 2990 h 5203"/>
                    <a:gd name="connsiteX23" fmla="*/ 3529 w 4186"/>
                    <a:gd name="connsiteY23" fmla="*/ 3110 h 5203"/>
                    <a:gd name="connsiteX24" fmla="*/ 3170 w 4186"/>
                    <a:gd name="connsiteY24" fmla="*/ 3768 h 5203"/>
                    <a:gd name="connsiteX25" fmla="*/ 2751 w 4186"/>
                    <a:gd name="connsiteY25" fmla="*/ 4366 h 5203"/>
                    <a:gd name="connsiteX26" fmla="*/ 2691 w 4186"/>
                    <a:gd name="connsiteY26" fmla="*/ 4426 h 5203"/>
                    <a:gd name="connsiteX27" fmla="*/ 2333 w 4186"/>
                    <a:gd name="connsiteY27" fmla="*/ 4785 h 5203"/>
                    <a:gd name="connsiteX28" fmla="*/ 1914 w 4186"/>
                    <a:gd name="connsiteY28" fmla="*/ 5083 h 5203"/>
                    <a:gd name="connsiteX29" fmla="*/ 1555 w 4186"/>
                    <a:gd name="connsiteY29" fmla="*/ 5203 h 5203"/>
                    <a:gd name="connsiteX30" fmla="*/ 1256 w 4186"/>
                    <a:gd name="connsiteY30" fmla="*/ 5083 h 5203"/>
                    <a:gd name="connsiteX31" fmla="*/ 538 w 4186"/>
                    <a:gd name="connsiteY31" fmla="*/ 4725 h 5203"/>
                    <a:gd name="connsiteX32" fmla="*/ 0 w 4186"/>
                    <a:gd name="connsiteY32" fmla="*/ 4426 h 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186" h="5203">
                      <a:moveTo>
                        <a:pt x="1256" y="5083"/>
                      </a:moveTo>
                      <a:lnTo>
                        <a:pt x="1077" y="4904"/>
                      </a:lnTo>
                      <a:lnTo>
                        <a:pt x="957" y="4545"/>
                      </a:lnTo>
                      <a:lnTo>
                        <a:pt x="957" y="4127"/>
                      </a:lnTo>
                      <a:lnTo>
                        <a:pt x="957" y="4067"/>
                      </a:lnTo>
                      <a:lnTo>
                        <a:pt x="1017" y="3648"/>
                      </a:lnTo>
                      <a:lnTo>
                        <a:pt x="1077" y="3469"/>
                      </a:lnTo>
                      <a:lnTo>
                        <a:pt x="1316" y="2811"/>
                      </a:lnTo>
                      <a:lnTo>
                        <a:pt x="1615" y="2153"/>
                      </a:lnTo>
                      <a:lnTo>
                        <a:pt x="1974" y="1495"/>
                      </a:lnTo>
                      <a:lnTo>
                        <a:pt x="2392" y="897"/>
                      </a:lnTo>
                      <a:lnTo>
                        <a:pt x="2811" y="418"/>
                      </a:lnTo>
                      <a:lnTo>
                        <a:pt x="2871" y="359"/>
                      </a:lnTo>
                      <a:lnTo>
                        <a:pt x="3230" y="119"/>
                      </a:lnTo>
                      <a:lnTo>
                        <a:pt x="3290" y="119"/>
                      </a:lnTo>
                      <a:lnTo>
                        <a:pt x="3589" y="0"/>
                      </a:lnTo>
                      <a:lnTo>
                        <a:pt x="3888" y="60"/>
                      </a:lnTo>
                      <a:lnTo>
                        <a:pt x="4067" y="299"/>
                      </a:lnTo>
                      <a:lnTo>
                        <a:pt x="4187" y="658"/>
                      </a:lnTo>
                      <a:lnTo>
                        <a:pt x="4187" y="1136"/>
                      </a:lnTo>
                      <a:lnTo>
                        <a:pt x="4067" y="1734"/>
                      </a:lnTo>
                      <a:lnTo>
                        <a:pt x="3828" y="2392"/>
                      </a:lnTo>
                      <a:lnTo>
                        <a:pt x="3589" y="2990"/>
                      </a:lnTo>
                      <a:lnTo>
                        <a:pt x="3529" y="3110"/>
                      </a:lnTo>
                      <a:lnTo>
                        <a:pt x="3170" y="3768"/>
                      </a:lnTo>
                      <a:lnTo>
                        <a:pt x="2751" y="4366"/>
                      </a:lnTo>
                      <a:lnTo>
                        <a:pt x="2691" y="4426"/>
                      </a:lnTo>
                      <a:lnTo>
                        <a:pt x="2333" y="4785"/>
                      </a:lnTo>
                      <a:lnTo>
                        <a:pt x="1914" y="5083"/>
                      </a:lnTo>
                      <a:lnTo>
                        <a:pt x="1555" y="5203"/>
                      </a:lnTo>
                      <a:lnTo>
                        <a:pt x="1256" y="5083"/>
                      </a:lnTo>
                      <a:lnTo>
                        <a:pt x="538" y="4725"/>
                      </a:lnTo>
                      <a:lnTo>
                        <a:pt x="0" y="4426"/>
                      </a:lnTo>
                    </a:path>
                  </a:pathLst>
                </a:custGeom>
                <a:noFill/>
                <a:ln w="6350" cap="flat">
                  <a:solidFill>
                    <a:schemeClr val="bg1">
                      <a:alpha val="80000"/>
                    </a:schemeClr>
                  </a:solidFill>
                  <a:prstDash val="solid"/>
                  <a:miter/>
                </a:ln>
              </p:spPr>
              <p:txBody>
                <a:bodyPr rtlCol="0" anchor="ctr"/>
                <a:lstStyle/>
                <a:p>
                  <a:endParaRPr lang="en-GB"/>
                </a:p>
              </p:txBody>
            </p:sp>
            <p:sp>
              <p:nvSpPr>
                <p:cNvPr id="7723" name="Vrije vorm: vorm 7722">
                  <a:extLst>
                    <a:ext uri="{FF2B5EF4-FFF2-40B4-BE49-F238E27FC236}">
                      <a16:creationId xmlns:a16="http://schemas.microsoft.com/office/drawing/2014/main" id="{89702BC9-CF51-498A-91C2-A5CCFF03D24A}"/>
                    </a:ext>
                  </a:extLst>
                </p:cNvPr>
                <p:cNvSpPr/>
                <p:nvPr/>
              </p:nvSpPr>
              <p:spPr>
                <a:xfrm>
                  <a:off x="5812085" y="5239810"/>
                  <a:ext cx="1196" cy="598"/>
                </a:xfrm>
                <a:custGeom>
                  <a:avLst/>
                  <a:gdLst>
                    <a:gd name="connsiteX0" fmla="*/ 0 w 1196"/>
                    <a:gd name="connsiteY0" fmla="*/ 0 h 598"/>
                    <a:gd name="connsiteX1" fmla="*/ 239 w 1196"/>
                    <a:gd name="connsiteY1" fmla="*/ 120 h 598"/>
                    <a:gd name="connsiteX2" fmla="*/ 598 w 1196"/>
                    <a:gd name="connsiteY2" fmla="*/ 299 h 598"/>
                    <a:gd name="connsiteX3" fmla="*/ 1196 w 1196"/>
                    <a:gd name="connsiteY3" fmla="*/ 598 h 598"/>
                  </a:gdLst>
                  <a:ahLst/>
                  <a:cxnLst>
                    <a:cxn ang="0">
                      <a:pos x="connsiteX0" y="connsiteY0"/>
                    </a:cxn>
                    <a:cxn ang="0">
                      <a:pos x="connsiteX1" y="connsiteY1"/>
                    </a:cxn>
                    <a:cxn ang="0">
                      <a:pos x="connsiteX2" y="connsiteY2"/>
                    </a:cxn>
                    <a:cxn ang="0">
                      <a:pos x="connsiteX3" y="connsiteY3"/>
                    </a:cxn>
                  </a:cxnLst>
                  <a:rect l="l" t="t" r="r" b="b"/>
                  <a:pathLst>
                    <a:path w="1196" h="598">
                      <a:moveTo>
                        <a:pt x="0" y="0"/>
                      </a:moveTo>
                      <a:lnTo>
                        <a:pt x="239" y="120"/>
                      </a:lnTo>
                      <a:lnTo>
                        <a:pt x="598" y="299"/>
                      </a:lnTo>
                      <a:lnTo>
                        <a:pt x="1196" y="598"/>
                      </a:lnTo>
                    </a:path>
                  </a:pathLst>
                </a:custGeom>
                <a:noFill/>
                <a:ln w="6350" cap="flat">
                  <a:solidFill>
                    <a:schemeClr val="bg1">
                      <a:alpha val="80000"/>
                    </a:schemeClr>
                  </a:solidFill>
                  <a:prstDash val="solid"/>
                  <a:miter/>
                </a:ln>
              </p:spPr>
              <p:txBody>
                <a:bodyPr rtlCol="0" anchor="ctr"/>
                <a:lstStyle/>
                <a:p>
                  <a:endParaRPr lang="en-GB"/>
                </a:p>
              </p:txBody>
            </p:sp>
            <p:sp>
              <p:nvSpPr>
                <p:cNvPr id="7724" name="Vrije vorm: vorm 7723">
                  <a:extLst>
                    <a:ext uri="{FF2B5EF4-FFF2-40B4-BE49-F238E27FC236}">
                      <a16:creationId xmlns:a16="http://schemas.microsoft.com/office/drawing/2014/main" id="{207F417C-87C1-46DB-B257-7983ABE873CE}"/>
                    </a:ext>
                  </a:extLst>
                </p:cNvPr>
                <p:cNvSpPr/>
                <p:nvPr/>
              </p:nvSpPr>
              <p:spPr>
                <a:xfrm>
                  <a:off x="5782181" y="5274498"/>
                  <a:ext cx="4126" cy="5263"/>
                </a:xfrm>
                <a:custGeom>
                  <a:avLst/>
                  <a:gdLst>
                    <a:gd name="connsiteX0" fmla="*/ 1196 w 4126"/>
                    <a:gd name="connsiteY0" fmla="*/ 5263 h 5263"/>
                    <a:gd name="connsiteX1" fmla="*/ 957 w 4126"/>
                    <a:gd name="connsiteY1" fmla="*/ 5083 h 5263"/>
                    <a:gd name="connsiteX2" fmla="*/ 837 w 4126"/>
                    <a:gd name="connsiteY2" fmla="*/ 4725 h 5263"/>
                    <a:gd name="connsiteX3" fmla="*/ 837 w 4126"/>
                    <a:gd name="connsiteY3" fmla="*/ 4246 h 5263"/>
                    <a:gd name="connsiteX4" fmla="*/ 837 w 4126"/>
                    <a:gd name="connsiteY4" fmla="*/ 4246 h 5263"/>
                    <a:gd name="connsiteX5" fmla="*/ 957 w 4126"/>
                    <a:gd name="connsiteY5" fmla="*/ 3648 h 5263"/>
                    <a:gd name="connsiteX6" fmla="*/ 1196 w 4126"/>
                    <a:gd name="connsiteY6" fmla="*/ 2990 h 5263"/>
                    <a:gd name="connsiteX7" fmla="*/ 1495 w 4126"/>
                    <a:gd name="connsiteY7" fmla="*/ 2273 h 5263"/>
                    <a:gd name="connsiteX8" fmla="*/ 1854 w 4126"/>
                    <a:gd name="connsiteY8" fmla="*/ 1615 h 5263"/>
                    <a:gd name="connsiteX9" fmla="*/ 2273 w 4126"/>
                    <a:gd name="connsiteY9" fmla="*/ 1017 h 5263"/>
                    <a:gd name="connsiteX10" fmla="*/ 2691 w 4126"/>
                    <a:gd name="connsiteY10" fmla="*/ 538 h 5263"/>
                    <a:gd name="connsiteX11" fmla="*/ 2751 w 4126"/>
                    <a:gd name="connsiteY11" fmla="*/ 478 h 5263"/>
                    <a:gd name="connsiteX12" fmla="*/ 2871 w 4126"/>
                    <a:gd name="connsiteY12" fmla="*/ 359 h 5263"/>
                    <a:gd name="connsiteX13" fmla="*/ 3050 w 4126"/>
                    <a:gd name="connsiteY13" fmla="*/ 179 h 5263"/>
                    <a:gd name="connsiteX14" fmla="*/ 3230 w 4126"/>
                    <a:gd name="connsiteY14" fmla="*/ 119 h 5263"/>
                    <a:gd name="connsiteX15" fmla="*/ 3469 w 4126"/>
                    <a:gd name="connsiteY15" fmla="*/ 0 h 5263"/>
                    <a:gd name="connsiteX16" fmla="*/ 3768 w 4126"/>
                    <a:gd name="connsiteY16" fmla="*/ 0 h 5263"/>
                    <a:gd name="connsiteX17" fmla="*/ 4007 w 4126"/>
                    <a:gd name="connsiteY17" fmla="*/ 179 h 5263"/>
                    <a:gd name="connsiteX18" fmla="*/ 4127 w 4126"/>
                    <a:gd name="connsiteY18" fmla="*/ 538 h 5263"/>
                    <a:gd name="connsiteX19" fmla="*/ 4127 w 4126"/>
                    <a:gd name="connsiteY19" fmla="*/ 1017 h 5263"/>
                    <a:gd name="connsiteX20" fmla="*/ 4007 w 4126"/>
                    <a:gd name="connsiteY20" fmla="*/ 1615 h 5263"/>
                    <a:gd name="connsiteX21" fmla="*/ 3768 w 4126"/>
                    <a:gd name="connsiteY21" fmla="*/ 2273 h 5263"/>
                    <a:gd name="connsiteX22" fmla="*/ 3589 w 4126"/>
                    <a:gd name="connsiteY22" fmla="*/ 2632 h 5263"/>
                    <a:gd name="connsiteX23" fmla="*/ 3469 w 4126"/>
                    <a:gd name="connsiteY23" fmla="*/ 2930 h 5263"/>
                    <a:gd name="connsiteX24" fmla="*/ 3170 w 4126"/>
                    <a:gd name="connsiteY24" fmla="*/ 3469 h 5263"/>
                    <a:gd name="connsiteX25" fmla="*/ 3110 w 4126"/>
                    <a:gd name="connsiteY25" fmla="*/ 3588 h 5263"/>
                    <a:gd name="connsiteX26" fmla="*/ 2691 w 4126"/>
                    <a:gd name="connsiteY26" fmla="*/ 4186 h 5263"/>
                    <a:gd name="connsiteX27" fmla="*/ 2273 w 4126"/>
                    <a:gd name="connsiteY27" fmla="*/ 4665 h 5263"/>
                    <a:gd name="connsiteX28" fmla="*/ 1854 w 4126"/>
                    <a:gd name="connsiteY28" fmla="*/ 5024 h 5263"/>
                    <a:gd name="connsiteX29" fmla="*/ 1495 w 4126"/>
                    <a:gd name="connsiteY29" fmla="*/ 5203 h 5263"/>
                    <a:gd name="connsiteX30" fmla="*/ 1196 w 4126"/>
                    <a:gd name="connsiteY30" fmla="*/ 5263 h 5263"/>
                    <a:gd name="connsiteX31" fmla="*/ 0 w 4126"/>
                    <a:gd name="connsiteY31" fmla="*/ 4545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126" h="5263">
                      <a:moveTo>
                        <a:pt x="1196" y="5263"/>
                      </a:moveTo>
                      <a:lnTo>
                        <a:pt x="957" y="5083"/>
                      </a:lnTo>
                      <a:lnTo>
                        <a:pt x="837" y="4725"/>
                      </a:lnTo>
                      <a:lnTo>
                        <a:pt x="837" y="4246"/>
                      </a:lnTo>
                      <a:lnTo>
                        <a:pt x="837" y="4246"/>
                      </a:lnTo>
                      <a:lnTo>
                        <a:pt x="957" y="3648"/>
                      </a:lnTo>
                      <a:lnTo>
                        <a:pt x="1196" y="2990"/>
                      </a:lnTo>
                      <a:lnTo>
                        <a:pt x="1495" y="2273"/>
                      </a:lnTo>
                      <a:lnTo>
                        <a:pt x="1854" y="1615"/>
                      </a:lnTo>
                      <a:lnTo>
                        <a:pt x="2273" y="1017"/>
                      </a:lnTo>
                      <a:lnTo>
                        <a:pt x="2691" y="538"/>
                      </a:lnTo>
                      <a:lnTo>
                        <a:pt x="2751" y="478"/>
                      </a:lnTo>
                      <a:lnTo>
                        <a:pt x="2871" y="359"/>
                      </a:lnTo>
                      <a:lnTo>
                        <a:pt x="3050" y="179"/>
                      </a:lnTo>
                      <a:lnTo>
                        <a:pt x="3230" y="119"/>
                      </a:lnTo>
                      <a:lnTo>
                        <a:pt x="3469" y="0"/>
                      </a:lnTo>
                      <a:lnTo>
                        <a:pt x="3768" y="0"/>
                      </a:lnTo>
                      <a:lnTo>
                        <a:pt x="4007" y="179"/>
                      </a:lnTo>
                      <a:lnTo>
                        <a:pt x="4127" y="538"/>
                      </a:lnTo>
                      <a:lnTo>
                        <a:pt x="4127" y="1017"/>
                      </a:lnTo>
                      <a:lnTo>
                        <a:pt x="4007" y="1615"/>
                      </a:lnTo>
                      <a:lnTo>
                        <a:pt x="3768" y="2273"/>
                      </a:lnTo>
                      <a:lnTo>
                        <a:pt x="3589" y="2632"/>
                      </a:lnTo>
                      <a:lnTo>
                        <a:pt x="3469" y="2930"/>
                      </a:lnTo>
                      <a:lnTo>
                        <a:pt x="3170" y="3469"/>
                      </a:lnTo>
                      <a:lnTo>
                        <a:pt x="3110" y="3588"/>
                      </a:lnTo>
                      <a:lnTo>
                        <a:pt x="2691" y="4186"/>
                      </a:lnTo>
                      <a:lnTo>
                        <a:pt x="2273" y="4665"/>
                      </a:lnTo>
                      <a:lnTo>
                        <a:pt x="1854" y="5024"/>
                      </a:lnTo>
                      <a:lnTo>
                        <a:pt x="1495" y="5203"/>
                      </a:lnTo>
                      <a:lnTo>
                        <a:pt x="1196" y="5263"/>
                      </a:lnTo>
                      <a:lnTo>
                        <a:pt x="0" y="4545"/>
                      </a:lnTo>
                    </a:path>
                  </a:pathLst>
                </a:custGeom>
                <a:noFill/>
                <a:ln w="6350" cap="flat">
                  <a:solidFill>
                    <a:schemeClr val="bg1">
                      <a:alpha val="80000"/>
                    </a:schemeClr>
                  </a:solidFill>
                  <a:prstDash val="solid"/>
                  <a:miter/>
                </a:ln>
              </p:spPr>
              <p:txBody>
                <a:bodyPr rtlCol="0" anchor="ctr"/>
                <a:lstStyle/>
                <a:p>
                  <a:endParaRPr lang="en-GB"/>
                </a:p>
              </p:txBody>
            </p:sp>
            <p:sp>
              <p:nvSpPr>
                <p:cNvPr id="7725" name="Vrije vorm: vorm 7724">
                  <a:extLst>
                    <a:ext uri="{FF2B5EF4-FFF2-40B4-BE49-F238E27FC236}">
                      <a16:creationId xmlns:a16="http://schemas.microsoft.com/office/drawing/2014/main" id="{93C18B7B-3354-4614-8A84-F2E3F1CACBEB}"/>
                    </a:ext>
                  </a:extLst>
                </p:cNvPr>
                <p:cNvSpPr/>
                <p:nvPr/>
              </p:nvSpPr>
              <p:spPr>
                <a:xfrm>
                  <a:off x="5784813" y="5273781"/>
                  <a:ext cx="1256" cy="717"/>
                </a:xfrm>
                <a:custGeom>
                  <a:avLst/>
                  <a:gdLst>
                    <a:gd name="connsiteX0" fmla="*/ 0 w 1256"/>
                    <a:gd name="connsiteY0" fmla="*/ 0 h 717"/>
                    <a:gd name="connsiteX1" fmla="*/ 0 w 1256"/>
                    <a:gd name="connsiteY1" fmla="*/ 0 h 717"/>
                    <a:gd name="connsiteX2" fmla="*/ 658 w 1256"/>
                    <a:gd name="connsiteY2" fmla="*/ 359 h 717"/>
                    <a:gd name="connsiteX3" fmla="*/ 1256 w 1256"/>
                    <a:gd name="connsiteY3" fmla="*/ 718 h 717"/>
                  </a:gdLst>
                  <a:ahLst/>
                  <a:cxnLst>
                    <a:cxn ang="0">
                      <a:pos x="connsiteX0" y="connsiteY0"/>
                    </a:cxn>
                    <a:cxn ang="0">
                      <a:pos x="connsiteX1" y="connsiteY1"/>
                    </a:cxn>
                    <a:cxn ang="0">
                      <a:pos x="connsiteX2" y="connsiteY2"/>
                    </a:cxn>
                    <a:cxn ang="0">
                      <a:pos x="connsiteX3" y="connsiteY3"/>
                    </a:cxn>
                  </a:cxnLst>
                  <a:rect l="l" t="t" r="r" b="b"/>
                  <a:pathLst>
                    <a:path w="1256" h="717">
                      <a:moveTo>
                        <a:pt x="0" y="0"/>
                      </a:moveTo>
                      <a:lnTo>
                        <a:pt x="0" y="0"/>
                      </a:lnTo>
                      <a:lnTo>
                        <a:pt x="658" y="359"/>
                      </a:lnTo>
                      <a:lnTo>
                        <a:pt x="1256" y="718"/>
                      </a:lnTo>
                    </a:path>
                  </a:pathLst>
                </a:custGeom>
                <a:noFill/>
                <a:ln w="6350" cap="flat">
                  <a:solidFill>
                    <a:schemeClr val="bg1">
                      <a:alpha val="80000"/>
                    </a:schemeClr>
                  </a:solidFill>
                  <a:prstDash val="solid"/>
                  <a:miter/>
                </a:ln>
              </p:spPr>
              <p:txBody>
                <a:bodyPr rtlCol="0" anchor="ctr"/>
                <a:lstStyle/>
                <a:p>
                  <a:endParaRPr lang="en-GB"/>
                </a:p>
              </p:txBody>
            </p:sp>
            <p:sp>
              <p:nvSpPr>
                <p:cNvPr id="7726" name="Vrije vorm: vorm 7725">
                  <a:extLst>
                    <a:ext uri="{FF2B5EF4-FFF2-40B4-BE49-F238E27FC236}">
                      <a16:creationId xmlns:a16="http://schemas.microsoft.com/office/drawing/2014/main" id="{DB1508B9-D78D-4ECA-887F-7EC701FDEBD1}"/>
                    </a:ext>
                  </a:extLst>
                </p:cNvPr>
                <p:cNvSpPr/>
                <p:nvPr/>
              </p:nvSpPr>
              <p:spPr>
                <a:xfrm>
                  <a:off x="5812324" y="5283230"/>
                  <a:ext cx="1196" cy="658"/>
                </a:xfrm>
                <a:custGeom>
                  <a:avLst/>
                  <a:gdLst>
                    <a:gd name="connsiteX0" fmla="*/ 1196 w 1196"/>
                    <a:gd name="connsiteY0" fmla="*/ 658 h 658"/>
                    <a:gd name="connsiteX1" fmla="*/ 0 w 1196"/>
                    <a:gd name="connsiteY1" fmla="*/ 0 h 658"/>
                  </a:gdLst>
                  <a:ahLst/>
                  <a:cxnLst>
                    <a:cxn ang="0">
                      <a:pos x="connsiteX0" y="connsiteY0"/>
                    </a:cxn>
                    <a:cxn ang="0">
                      <a:pos x="connsiteX1" y="connsiteY1"/>
                    </a:cxn>
                  </a:cxnLst>
                  <a:rect l="l" t="t" r="r" b="b"/>
                  <a:pathLst>
                    <a:path w="1196" h="658">
                      <a:moveTo>
                        <a:pt x="1196" y="658"/>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27" name="Vrije vorm: vorm 7726">
                  <a:extLst>
                    <a:ext uri="{FF2B5EF4-FFF2-40B4-BE49-F238E27FC236}">
                      <a16:creationId xmlns:a16="http://schemas.microsoft.com/office/drawing/2014/main" id="{DE0833EB-433D-49A6-86D7-0B169CA9C1F6}"/>
                    </a:ext>
                  </a:extLst>
                </p:cNvPr>
                <p:cNvSpPr/>
                <p:nvPr/>
              </p:nvSpPr>
              <p:spPr>
                <a:xfrm>
                  <a:off x="5794860" y="5347224"/>
                  <a:ext cx="1076" cy="717"/>
                </a:xfrm>
                <a:custGeom>
                  <a:avLst/>
                  <a:gdLst>
                    <a:gd name="connsiteX0" fmla="*/ 0 w 1076"/>
                    <a:gd name="connsiteY0" fmla="*/ 0 h 717"/>
                    <a:gd name="connsiteX1" fmla="*/ 1077 w 1076"/>
                    <a:gd name="connsiteY1" fmla="*/ 718 h 717"/>
                  </a:gdLst>
                  <a:ahLst/>
                  <a:cxnLst>
                    <a:cxn ang="0">
                      <a:pos x="connsiteX0" y="connsiteY0"/>
                    </a:cxn>
                    <a:cxn ang="0">
                      <a:pos x="connsiteX1" y="connsiteY1"/>
                    </a:cxn>
                  </a:cxnLst>
                  <a:rect l="l" t="t" r="r" b="b"/>
                  <a:pathLst>
                    <a:path w="1076" h="717">
                      <a:moveTo>
                        <a:pt x="0" y="0"/>
                      </a:moveTo>
                      <a:lnTo>
                        <a:pt x="1077" y="718"/>
                      </a:lnTo>
                    </a:path>
                  </a:pathLst>
                </a:custGeom>
                <a:noFill/>
                <a:ln w="6350" cap="flat">
                  <a:solidFill>
                    <a:schemeClr val="bg1">
                      <a:alpha val="80000"/>
                    </a:schemeClr>
                  </a:solidFill>
                  <a:prstDash val="solid"/>
                  <a:miter/>
                </a:ln>
              </p:spPr>
              <p:txBody>
                <a:bodyPr rtlCol="0" anchor="ctr"/>
                <a:lstStyle/>
                <a:p>
                  <a:endParaRPr lang="en-GB"/>
                </a:p>
              </p:txBody>
            </p:sp>
            <p:sp>
              <p:nvSpPr>
                <p:cNvPr id="7728" name="Vrije vorm: vorm 7727">
                  <a:extLst>
                    <a:ext uri="{FF2B5EF4-FFF2-40B4-BE49-F238E27FC236}">
                      <a16:creationId xmlns:a16="http://schemas.microsoft.com/office/drawing/2014/main" id="{C68AE71A-2753-4B58-88ED-7221403D947C}"/>
                    </a:ext>
                  </a:extLst>
                </p:cNvPr>
                <p:cNvSpPr/>
                <p:nvPr/>
              </p:nvSpPr>
              <p:spPr>
                <a:xfrm>
                  <a:off x="5816750" y="5316722"/>
                  <a:ext cx="2511" cy="4545"/>
                </a:xfrm>
                <a:custGeom>
                  <a:avLst/>
                  <a:gdLst>
                    <a:gd name="connsiteX0" fmla="*/ 239 w 2511"/>
                    <a:gd name="connsiteY0" fmla="*/ 4545 h 4545"/>
                    <a:gd name="connsiteX1" fmla="*/ 60 w 2511"/>
                    <a:gd name="connsiteY1" fmla="*/ 4426 h 4545"/>
                    <a:gd name="connsiteX2" fmla="*/ 0 w 2511"/>
                    <a:gd name="connsiteY2" fmla="*/ 4127 h 4545"/>
                    <a:gd name="connsiteX3" fmla="*/ 0 w 2511"/>
                    <a:gd name="connsiteY3" fmla="*/ 3768 h 4545"/>
                    <a:gd name="connsiteX4" fmla="*/ 0 w 2511"/>
                    <a:gd name="connsiteY4" fmla="*/ 3708 h 4545"/>
                    <a:gd name="connsiteX5" fmla="*/ 120 w 2511"/>
                    <a:gd name="connsiteY5" fmla="*/ 3289 h 4545"/>
                    <a:gd name="connsiteX6" fmla="*/ 120 w 2511"/>
                    <a:gd name="connsiteY6" fmla="*/ 3229 h 4545"/>
                    <a:gd name="connsiteX7" fmla="*/ 299 w 2511"/>
                    <a:gd name="connsiteY7" fmla="*/ 2632 h 4545"/>
                    <a:gd name="connsiteX8" fmla="*/ 598 w 2511"/>
                    <a:gd name="connsiteY8" fmla="*/ 2033 h 4545"/>
                    <a:gd name="connsiteX9" fmla="*/ 897 w 2511"/>
                    <a:gd name="connsiteY9" fmla="*/ 1435 h 4545"/>
                    <a:gd name="connsiteX10" fmla="*/ 1256 w 2511"/>
                    <a:gd name="connsiteY10" fmla="*/ 897 h 4545"/>
                    <a:gd name="connsiteX11" fmla="*/ 1555 w 2511"/>
                    <a:gd name="connsiteY11" fmla="*/ 538 h 4545"/>
                    <a:gd name="connsiteX12" fmla="*/ 1615 w 2511"/>
                    <a:gd name="connsiteY12" fmla="*/ 478 h 4545"/>
                    <a:gd name="connsiteX13" fmla="*/ 1974 w 2511"/>
                    <a:gd name="connsiteY13" fmla="*/ 179 h 4545"/>
                    <a:gd name="connsiteX14" fmla="*/ 2273 w 2511"/>
                    <a:gd name="connsiteY14" fmla="*/ 0 h 4545"/>
                    <a:gd name="connsiteX15" fmla="*/ 2512 w 2511"/>
                    <a:gd name="connsiteY15" fmla="*/ 0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1" h="4545">
                      <a:moveTo>
                        <a:pt x="239" y="4545"/>
                      </a:moveTo>
                      <a:lnTo>
                        <a:pt x="60" y="4426"/>
                      </a:lnTo>
                      <a:lnTo>
                        <a:pt x="0" y="4127"/>
                      </a:lnTo>
                      <a:lnTo>
                        <a:pt x="0" y="3768"/>
                      </a:lnTo>
                      <a:lnTo>
                        <a:pt x="0" y="3708"/>
                      </a:lnTo>
                      <a:lnTo>
                        <a:pt x="120" y="3289"/>
                      </a:lnTo>
                      <a:lnTo>
                        <a:pt x="120" y="3229"/>
                      </a:lnTo>
                      <a:lnTo>
                        <a:pt x="299" y="2632"/>
                      </a:lnTo>
                      <a:lnTo>
                        <a:pt x="598" y="2033"/>
                      </a:lnTo>
                      <a:lnTo>
                        <a:pt x="897" y="1435"/>
                      </a:lnTo>
                      <a:lnTo>
                        <a:pt x="1256" y="897"/>
                      </a:lnTo>
                      <a:lnTo>
                        <a:pt x="1555" y="538"/>
                      </a:lnTo>
                      <a:lnTo>
                        <a:pt x="1615" y="478"/>
                      </a:lnTo>
                      <a:lnTo>
                        <a:pt x="1974" y="179"/>
                      </a:lnTo>
                      <a:lnTo>
                        <a:pt x="2273" y="0"/>
                      </a:lnTo>
                      <a:lnTo>
                        <a:pt x="2512" y="0"/>
                      </a:lnTo>
                    </a:path>
                  </a:pathLst>
                </a:custGeom>
                <a:noFill/>
                <a:ln w="6350" cap="flat">
                  <a:solidFill>
                    <a:schemeClr val="bg1">
                      <a:alpha val="80000"/>
                    </a:schemeClr>
                  </a:solidFill>
                  <a:prstDash val="solid"/>
                  <a:miter/>
                </a:ln>
              </p:spPr>
              <p:txBody>
                <a:bodyPr rtlCol="0" anchor="ctr"/>
                <a:lstStyle/>
                <a:p>
                  <a:endParaRPr lang="en-GB"/>
                </a:p>
              </p:txBody>
            </p:sp>
            <p:sp>
              <p:nvSpPr>
                <p:cNvPr id="7729" name="Vrije vorm: vorm 7728">
                  <a:extLst>
                    <a:ext uri="{FF2B5EF4-FFF2-40B4-BE49-F238E27FC236}">
                      <a16:creationId xmlns:a16="http://schemas.microsoft.com/office/drawing/2014/main" id="{12915932-CEE3-4101-BE61-98CD523B8AA6}"/>
                    </a:ext>
                  </a:extLst>
                </p:cNvPr>
                <p:cNvSpPr/>
                <p:nvPr/>
              </p:nvSpPr>
              <p:spPr>
                <a:xfrm>
                  <a:off x="5800064" y="5341482"/>
                  <a:ext cx="16865" cy="30262"/>
                </a:xfrm>
                <a:custGeom>
                  <a:avLst/>
                  <a:gdLst>
                    <a:gd name="connsiteX0" fmla="*/ 16865 w 16865"/>
                    <a:gd name="connsiteY0" fmla="*/ 0 h 30262"/>
                    <a:gd name="connsiteX1" fmla="*/ 14593 w 16865"/>
                    <a:gd name="connsiteY1" fmla="*/ 1376 h 30262"/>
                    <a:gd name="connsiteX2" fmla="*/ 12739 w 16865"/>
                    <a:gd name="connsiteY2" fmla="*/ 3110 h 30262"/>
                    <a:gd name="connsiteX3" fmla="*/ 12021 w 16865"/>
                    <a:gd name="connsiteY3" fmla="*/ 3768 h 30262"/>
                    <a:gd name="connsiteX4" fmla="*/ 9569 w 16865"/>
                    <a:gd name="connsiteY4" fmla="*/ 6758 h 30262"/>
                    <a:gd name="connsiteX5" fmla="*/ 9330 w 16865"/>
                    <a:gd name="connsiteY5" fmla="*/ 7058 h 30262"/>
                    <a:gd name="connsiteX6" fmla="*/ 7236 w 16865"/>
                    <a:gd name="connsiteY6" fmla="*/ 10167 h 30262"/>
                    <a:gd name="connsiteX7" fmla="*/ 6698 w 16865"/>
                    <a:gd name="connsiteY7" fmla="*/ 11005 h 30262"/>
                    <a:gd name="connsiteX8" fmla="*/ 4785 w 16865"/>
                    <a:gd name="connsiteY8" fmla="*/ 14474 h 30262"/>
                    <a:gd name="connsiteX9" fmla="*/ 4306 w 16865"/>
                    <a:gd name="connsiteY9" fmla="*/ 15311 h 30262"/>
                    <a:gd name="connsiteX10" fmla="*/ 3947 w 16865"/>
                    <a:gd name="connsiteY10" fmla="*/ 16088 h 30262"/>
                    <a:gd name="connsiteX11" fmla="*/ 2272 w 16865"/>
                    <a:gd name="connsiteY11" fmla="*/ 19737 h 30262"/>
                    <a:gd name="connsiteX12" fmla="*/ 1017 w 16865"/>
                    <a:gd name="connsiteY12" fmla="*/ 23445 h 30262"/>
                    <a:gd name="connsiteX13" fmla="*/ 837 w 16865"/>
                    <a:gd name="connsiteY13" fmla="*/ 23863 h 30262"/>
                    <a:gd name="connsiteX14" fmla="*/ 658 w 16865"/>
                    <a:gd name="connsiteY14" fmla="*/ 24760 h 30262"/>
                    <a:gd name="connsiteX15" fmla="*/ 60 w 16865"/>
                    <a:gd name="connsiteY15" fmla="*/ 27452 h 30262"/>
                    <a:gd name="connsiteX16" fmla="*/ 0 w 16865"/>
                    <a:gd name="connsiteY16" fmla="*/ 30263 h 3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865" h="30262">
                      <a:moveTo>
                        <a:pt x="16865" y="0"/>
                      </a:moveTo>
                      <a:lnTo>
                        <a:pt x="14593" y="1376"/>
                      </a:lnTo>
                      <a:lnTo>
                        <a:pt x="12739" y="3110"/>
                      </a:lnTo>
                      <a:lnTo>
                        <a:pt x="12021" y="3768"/>
                      </a:lnTo>
                      <a:lnTo>
                        <a:pt x="9569" y="6758"/>
                      </a:lnTo>
                      <a:lnTo>
                        <a:pt x="9330" y="7058"/>
                      </a:lnTo>
                      <a:lnTo>
                        <a:pt x="7236" y="10167"/>
                      </a:lnTo>
                      <a:lnTo>
                        <a:pt x="6698" y="11005"/>
                      </a:lnTo>
                      <a:lnTo>
                        <a:pt x="4785" y="14474"/>
                      </a:lnTo>
                      <a:lnTo>
                        <a:pt x="4306" y="15311"/>
                      </a:lnTo>
                      <a:lnTo>
                        <a:pt x="3947" y="16088"/>
                      </a:lnTo>
                      <a:lnTo>
                        <a:pt x="2272" y="19737"/>
                      </a:lnTo>
                      <a:lnTo>
                        <a:pt x="1017" y="23445"/>
                      </a:lnTo>
                      <a:lnTo>
                        <a:pt x="837" y="23863"/>
                      </a:lnTo>
                      <a:lnTo>
                        <a:pt x="658" y="24760"/>
                      </a:lnTo>
                      <a:lnTo>
                        <a:pt x="60" y="27452"/>
                      </a:lnTo>
                      <a:lnTo>
                        <a:pt x="0" y="30263"/>
                      </a:lnTo>
                    </a:path>
                  </a:pathLst>
                </a:custGeom>
                <a:noFill/>
                <a:ln w="6350" cap="flat">
                  <a:solidFill>
                    <a:schemeClr val="bg1">
                      <a:alpha val="80000"/>
                    </a:schemeClr>
                  </a:solidFill>
                  <a:prstDash val="solid"/>
                  <a:miter/>
                </a:ln>
              </p:spPr>
              <p:txBody>
                <a:bodyPr rtlCol="0" anchor="ctr"/>
                <a:lstStyle/>
                <a:p>
                  <a:endParaRPr lang="en-GB"/>
                </a:p>
              </p:txBody>
            </p:sp>
            <p:sp>
              <p:nvSpPr>
                <p:cNvPr id="7730" name="Vrije vorm: vorm 7729">
                  <a:extLst>
                    <a:ext uri="{FF2B5EF4-FFF2-40B4-BE49-F238E27FC236}">
                      <a16:creationId xmlns:a16="http://schemas.microsoft.com/office/drawing/2014/main" id="{E98A05E2-06A0-41E5-81ED-8E5E95F32571}"/>
                    </a:ext>
                  </a:extLst>
                </p:cNvPr>
                <p:cNvSpPr/>
                <p:nvPr/>
              </p:nvSpPr>
              <p:spPr>
                <a:xfrm>
                  <a:off x="5809753" y="5158472"/>
                  <a:ext cx="9628" cy="16686"/>
                </a:xfrm>
                <a:custGeom>
                  <a:avLst/>
                  <a:gdLst>
                    <a:gd name="connsiteX0" fmla="*/ 7356 w 9628"/>
                    <a:gd name="connsiteY0" fmla="*/ 0 h 16686"/>
                    <a:gd name="connsiteX1" fmla="*/ 8373 w 9628"/>
                    <a:gd name="connsiteY1" fmla="*/ 359 h 16686"/>
                    <a:gd name="connsiteX2" fmla="*/ 9210 w 9628"/>
                    <a:gd name="connsiteY2" fmla="*/ 1316 h 16686"/>
                    <a:gd name="connsiteX3" fmla="*/ 9390 w 9628"/>
                    <a:gd name="connsiteY3" fmla="*/ 2034 h 16686"/>
                    <a:gd name="connsiteX4" fmla="*/ 9449 w 9628"/>
                    <a:gd name="connsiteY4" fmla="*/ 2213 h 16686"/>
                    <a:gd name="connsiteX5" fmla="*/ 9629 w 9628"/>
                    <a:gd name="connsiteY5" fmla="*/ 2811 h 16686"/>
                    <a:gd name="connsiteX6" fmla="*/ 9629 w 9628"/>
                    <a:gd name="connsiteY6" fmla="*/ 4785 h 16686"/>
                    <a:gd name="connsiteX7" fmla="*/ 9509 w 9628"/>
                    <a:gd name="connsiteY7" fmla="*/ 6698 h 16686"/>
                    <a:gd name="connsiteX8" fmla="*/ 9210 w 9628"/>
                    <a:gd name="connsiteY8" fmla="*/ 8194 h 16686"/>
                    <a:gd name="connsiteX9" fmla="*/ 9210 w 9628"/>
                    <a:gd name="connsiteY9" fmla="*/ 8253 h 16686"/>
                    <a:gd name="connsiteX10" fmla="*/ 8672 w 9628"/>
                    <a:gd name="connsiteY10" fmla="*/ 9808 h 16686"/>
                    <a:gd name="connsiteX11" fmla="*/ 8313 w 9628"/>
                    <a:gd name="connsiteY11" fmla="*/ 10526 h 16686"/>
                    <a:gd name="connsiteX12" fmla="*/ 7895 w 9628"/>
                    <a:gd name="connsiteY12" fmla="*/ 11304 h 16686"/>
                    <a:gd name="connsiteX13" fmla="*/ 6997 w 9628"/>
                    <a:gd name="connsiteY13" fmla="*/ 12619 h 16686"/>
                    <a:gd name="connsiteX14" fmla="*/ 5981 w 9628"/>
                    <a:gd name="connsiteY14" fmla="*/ 13696 h 16686"/>
                    <a:gd name="connsiteX15" fmla="*/ 4306 w 9628"/>
                    <a:gd name="connsiteY15" fmla="*/ 15430 h 16686"/>
                    <a:gd name="connsiteX16" fmla="*/ 3289 w 9628"/>
                    <a:gd name="connsiteY16" fmla="*/ 16148 h 16686"/>
                    <a:gd name="connsiteX17" fmla="*/ 3170 w 9628"/>
                    <a:gd name="connsiteY17" fmla="*/ 16208 h 16686"/>
                    <a:gd name="connsiteX18" fmla="*/ 3110 w 9628"/>
                    <a:gd name="connsiteY18" fmla="*/ 16268 h 16686"/>
                    <a:gd name="connsiteX19" fmla="*/ 1973 w 9628"/>
                    <a:gd name="connsiteY19" fmla="*/ 16686 h 16686"/>
                    <a:gd name="connsiteX20" fmla="*/ 957 w 9628"/>
                    <a:gd name="connsiteY20" fmla="*/ 16686 h 16686"/>
                    <a:gd name="connsiteX21" fmla="*/ 0 w 9628"/>
                    <a:gd name="connsiteY21" fmla="*/ 16268 h 1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28" h="16686">
                      <a:moveTo>
                        <a:pt x="7356" y="0"/>
                      </a:moveTo>
                      <a:lnTo>
                        <a:pt x="8373" y="359"/>
                      </a:lnTo>
                      <a:lnTo>
                        <a:pt x="9210" y="1316"/>
                      </a:lnTo>
                      <a:lnTo>
                        <a:pt x="9390" y="2034"/>
                      </a:lnTo>
                      <a:lnTo>
                        <a:pt x="9449" y="2213"/>
                      </a:lnTo>
                      <a:lnTo>
                        <a:pt x="9629" y="2811"/>
                      </a:lnTo>
                      <a:lnTo>
                        <a:pt x="9629" y="4785"/>
                      </a:lnTo>
                      <a:lnTo>
                        <a:pt x="9509" y="6698"/>
                      </a:lnTo>
                      <a:lnTo>
                        <a:pt x="9210" y="8194"/>
                      </a:lnTo>
                      <a:lnTo>
                        <a:pt x="9210" y="8253"/>
                      </a:lnTo>
                      <a:lnTo>
                        <a:pt x="8672" y="9808"/>
                      </a:lnTo>
                      <a:lnTo>
                        <a:pt x="8313" y="10526"/>
                      </a:lnTo>
                      <a:lnTo>
                        <a:pt x="7895" y="11304"/>
                      </a:lnTo>
                      <a:lnTo>
                        <a:pt x="6997" y="12619"/>
                      </a:lnTo>
                      <a:lnTo>
                        <a:pt x="5981" y="13696"/>
                      </a:lnTo>
                      <a:lnTo>
                        <a:pt x="4306" y="15430"/>
                      </a:lnTo>
                      <a:lnTo>
                        <a:pt x="3289" y="16148"/>
                      </a:lnTo>
                      <a:lnTo>
                        <a:pt x="3170" y="16208"/>
                      </a:lnTo>
                      <a:lnTo>
                        <a:pt x="3110" y="16268"/>
                      </a:lnTo>
                      <a:lnTo>
                        <a:pt x="1973" y="16686"/>
                      </a:lnTo>
                      <a:lnTo>
                        <a:pt x="957" y="16686"/>
                      </a:lnTo>
                      <a:lnTo>
                        <a:pt x="0" y="16268"/>
                      </a:lnTo>
                    </a:path>
                  </a:pathLst>
                </a:custGeom>
                <a:noFill/>
                <a:ln w="6350" cap="flat">
                  <a:solidFill>
                    <a:schemeClr val="bg1">
                      <a:alpha val="80000"/>
                    </a:schemeClr>
                  </a:solidFill>
                  <a:prstDash val="solid"/>
                  <a:miter/>
                </a:ln>
              </p:spPr>
              <p:txBody>
                <a:bodyPr rtlCol="0" anchor="ctr"/>
                <a:lstStyle/>
                <a:p>
                  <a:endParaRPr lang="en-GB"/>
                </a:p>
              </p:txBody>
            </p:sp>
            <p:sp>
              <p:nvSpPr>
                <p:cNvPr id="7731" name="Vrije vorm: vorm 7730">
                  <a:extLst>
                    <a:ext uri="{FF2B5EF4-FFF2-40B4-BE49-F238E27FC236}">
                      <a16:creationId xmlns:a16="http://schemas.microsoft.com/office/drawing/2014/main" id="{2682F6F1-1999-4E9F-A820-9D952FC3AF70}"/>
                    </a:ext>
                  </a:extLst>
                </p:cNvPr>
                <p:cNvSpPr/>
                <p:nvPr/>
              </p:nvSpPr>
              <p:spPr>
                <a:xfrm>
                  <a:off x="5814298" y="5150219"/>
                  <a:ext cx="4067" cy="10466"/>
                </a:xfrm>
                <a:custGeom>
                  <a:avLst/>
                  <a:gdLst>
                    <a:gd name="connsiteX0" fmla="*/ 0 w 4067"/>
                    <a:gd name="connsiteY0" fmla="*/ 10466 h 10466"/>
                    <a:gd name="connsiteX1" fmla="*/ 359 w 4067"/>
                    <a:gd name="connsiteY1" fmla="*/ 8433 h 10466"/>
                    <a:gd name="connsiteX2" fmla="*/ 957 w 4067"/>
                    <a:gd name="connsiteY2" fmla="*/ 6280 h 10466"/>
                    <a:gd name="connsiteX3" fmla="*/ 1017 w 4067"/>
                    <a:gd name="connsiteY3" fmla="*/ 6100 h 10466"/>
                    <a:gd name="connsiteX4" fmla="*/ 1316 w 4067"/>
                    <a:gd name="connsiteY4" fmla="*/ 5323 h 10466"/>
                    <a:gd name="connsiteX5" fmla="*/ 1795 w 4067"/>
                    <a:gd name="connsiteY5" fmla="*/ 4067 h 10466"/>
                    <a:gd name="connsiteX6" fmla="*/ 2871 w 4067"/>
                    <a:gd name="connsiteY6" fmla="*/ 1914 h 10466"/>
                    <a:gd name="connsiteX7" fmla="*/ 4007 w 4067"/>
                    <a:gd name="connsiteY7" fmla="*/ 120 h 10466"/>
                    <a:gd name="connsiteX8" fmla="*/ 4067 w 4067"/>
                    <a:gd name="connsiteY8" fmla="*/ 0 h 1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7" h="10466">
                      <a:moveTo>
                        <a:pt x="0" y="10466"/>
                      </a:moveTo>
                      <a:lnTo>
                        <a:pt x="359" y="8433"/>
                      </a:lnTo>
                      <a:lnTo>
                        <a:pt x="957" y="6280"/>
                      </a:lnTo>
                      <a:lnTo>
                        <a:pt x="1017" y="6100"/>
                      </a:lnTo>
                      <a:lnTo>
                        <a:pt x="1316" y="5323"/>
                      </a:lnTo>
                      <a:lnTo>
                        <a:pt x="1795" y="4067"/>
                      </a:lnTo>
                      <a:lnTo>
                        <a:pt x="2871" y="1914"/>
                      </a:lnTo>
                      <a:lnTo>
                        <a:pt x="4007" y="120"/>
                      </a:lnTo>
                      <a:lnTo>
                        <a:pt x="4067" y="0"/>
                      </a:lnTo>
                    </a:path>
                  </a:pathLst>
                </a:custGeom>
                <a:noFill/>
                <a:ln w="6350" cap="flat">
                  <a:solidFill>
                    <a:schemeClr val="bg1">
                      <a:alpha val="80000"/>
                    </a:schemeClr>
                  </a:solidFill>
                  <a:prstDash val="solid"/>
                  <a:miter/>
                </a:ln>
              </p:spPr>
              <p:txBody>
                <a:bodyPr rtlCol="0" anchor="ctr"/>
                <a:lstStyle/>
                <a:p>
                  <a:endParaRPr lang="en-GB"/>
                </a:p>
              </p:txBody>
            </p:sp>
            <p:sp>
              <p:nvSpPr>
                <p:cNvPr id="7732" name="Vrije vorm: vorm 7731">
                  <a:extLst>
                    <a:ext uri="{FF2B5EF4-FFF2-40B4-BE49-F238E27FC236}">
                      <a16:creationId xmlns:a16="http://schemas.microsoft.com/office/drawing/2014/main" id="{78C782BD-A720-4772-94CA-D849FD55B84E}"/>
                    </a:ext>
                  </a:extLst>
                </p:cNvPr>
                <p:cNvSpPr/>
                <p:nvPr/>
              </p:nvSpPr>
              <p:spPr>
                <a:xfrm>
                  <a:off x="5813999" y="5158532"/>
                  <a:ext cx="4066" cy="1614"/>
                </a:xfrm>
                <a:custGeom>
                  <a:avLst/>
                  <a:gdLst>
                    <a:gd name="connsiteX0" fmla="*/ 0 w 4066"/>
                    <a:gd name="connsiteY0" fmla="*/ 1615 h 1614"/>
                    <a:gd name="connsiteX1" fmla="*/ 1495 w 4066"/>
                    <a:gd name="connsiteY1" fmla="*/ 479 h 1614"/>
                    <a:gd name="connsiteX2" fmla="*/ 2871 w 4066"/>
                    <a:gd name="connsiteY2" fmla="*/ 0 h 1614"/>
                    <a:gd name="connsiteX3" fmla="*/ 3230 w 4066"/>
                    <a:gd name="connsiteY3" fmla="*/ 60 h 1614"/>
                    <a:gd name="connsiteX4" fmla="*/ 4067 w 4066"/>
                    <a:gd name="connsiteY4" fmla="*/ 239 h 1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1614">
                      <a:moveTo>
                        <a:pt x="0" y="1615"/>
                      </a:moveTo>
                      <a:lnTo>
                        <a:pt x="1495" y="479"/>
                      </a:lnTo>
                      <a:lnTo>
                        <a:pt x="2871" y="0"/>
                      </a:lnTo>
                      <a:lnTo>
                        <a:pt x="3230" y="60"/>
                      </a:lnTo>
                      <a:lnTo>
                        <a:pt x="4067" y="239"/>
                      </a:lnTo>
                    </a:path>
                  </a:pathLst>
                </a:custGeom>
                <a:noFill/>
                <a:ln w="6350" cap="flat">
                  <a:solidFill>
                    <a:schemeClr val="bg1">
                      <a:alpha val="80000"/>
                    </a:schemeClr>
                  </a:solidFill>
                  <a:prstDash val="solid"/>
                  <a:miter/>
                </a:ln>
              </p:spPr>
              <p:txBody>
                <a:bodyPr rtlCol="0" anchor="ctr"/>
                <a:lstStyle/>
                <a:p>
                  <a:endParaRPr lang="en-GB"/>
                </a:p>
              </p:txBody>
            </p:sp>
            <p:sp>
              <p:nvSpPr>
                <p:cNvPr id="7733" name="Vrije vorm: vorm 7732">
                  <a:extLst>
                    <a:ext uri="{FF2B5EF4-FFF2-40B4-BE49-F238E27FC236}">
                      <a16:creationId xmlns:a16="http://schemas.microsoft.com/office/drawing/2014/main" id="{824A5651-672E-4FB4-9744-F4B2369CAD3E}"/>
                    </a:ext>
                  </a:extLst>
                </p:cNvPr>
                <p:cNvSpPr/>
                <p:nvPr/>
              </p:nvSpPr>
              <p:spPr>
                <a:xfrm>
                  <a:off x="5814597" y="5163795"/>
                  <a:ext cx="1315" cy="1435"/>
                </a:xfrm>
                <a:custGeom>
                  <a:avLst/>
                  <a:gdLst>
                    <a:gd name="connsiteX0" fmla="*/ 1316 w 1315"/>
                    <a:gd name="connsiteY0" fmla="*/ 1435 h 1435"/>
                    <a:gd name="connsiteX1" fmla="*/ 598 w 1315"/>
                    <a:gd name="connsiteY1" fmla="*/ 1017 h 1435"/>
                    <a:gd name="connsiteX2" fmla="*/ 538 w 1315"/>
                    <a:gd name="connsiteY2" fmla="*/ 957 h 1435"/>
                    <a:gd name="connsiteX3" fmla="*/ 0 w 1315"/>
                    <a:gd name="connsiteY3" fmla="*/ 0 h 1435"/>
                  </a:gdLst>
                  <a:ahLst/>
                  <a:cxnLst>
                    <a:cxn ang="0">
                      <a:pos x="connsiteX0" y="connsiteY0"/>
                    </a:cxn>
                    <a:cxn ang="0">
                      <a:pos x="connsiteX1" y="connsiteY1"/>
                    </a:cxn>
                    <a:cxn ang="0">
                      <a:pos x="connsiteX2" y="connsiteY2"/>
                    </a:cxn>
                    <a:cxn ang="0">
                      <a:pos x="connsiteX3" y="connsiteY3"/>
                    </a:cxn>
                  </a:cxnLst>
                  <a:rect l="l" t="t" r="r" b="b"/>
                  <a:pathLst>
                    <a:path w="1315" h="1435">
                      <a:moveTo>
                        <a:pt x="1316" y="1435"/>
                      </a:moveTo>
                      <a:lnTo>
                        <a:pt x="598" y="1017"/>
                      </a:lnTo>
                      <a:lnTo>
                        <a:pt x="538" y="957"/>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34" name="Vrije vorm: vorm 7733">
                  <a:extLst>
                    <a:ext uri="{FF2B5EF4-FFF2-40B4-BE49-F238E27FC236}">
                      <a16:creationId xmlns:a16="http://schemas.microsoft.com/office/drawing/2014/main" id="{F4A9828D-2E03-4E96-AB5B-F90B5DEDEC3F}"/>
                    </a:ext>
                  </a:extLst>
                </p:cNvPr>
                <p:cNvSpPr/>
                <p:nvPr/>
              </p:nvSpPr>
              <p:spPr>
                <a:xfrm>
                  <a:off x="5765734" y="5205122"/>
                  <a:ext cx="5621" cy="6638"/>
                </a:xfrm>
                <a:custGeom>
                  <a:avLst/>
                  <a:gdLst>
                    <a:gd name="connsiteX0" fmla="*/ 718 w 5621"/>
                    <a:gd name="connsiteY0" fmla="*/ 2632 h 6638"/>
                    <a:gd name="connsiteX1" fmla="*/ 658 w 5621"/>
                    <a:gd name="connsiteY1" fmla="*/ 2811 h 6638"/>
                    <a:gd name="connsiteX2" fmla="*/ 598 w 5621"/>
                    <a:gd name="connsiteY2" fmla="*/ 2930 h 6638"/>
                    <a:gd name="connsiteX3" fmla="*/ 538 w 5621"/>
                    <a:gd name="connsiteY3" fmla="*/ 3170 h 6638"/>
                    <a:gd name="connsiteX4" fmla="*/ 0 w 5621"/>
                    <a:gd name="connsiteY4" fmla="*/ 5323 h 6638"/>
                    <a:gd name="connsiteX5" fmla="*/ 1017 w 5621"/>
                    <a:gd name="connsiteY5" fmla="*/ 5861 h 6638"/>
                    <a:gd name="connsiteX6" fmla="*/ 1376 w 5621"/>
                    <a:gd name="connsiteY6" fmla="*/ 6041 h 6638"/>
                    <a:gd name="connsiteX7" fmla="*/ 2213 w 5621"/>
                    <a:gd name="connsiteY7" fmla="*/ 6459 h 6638"/>
                    <a:gd name="connsiteX8" fmla="*/ 2632 w 5621"/>
                    <a:gd name="connsiteY8" fmla="*/ 6639 h 6638"/>
                    <a:gd name="connsiteX9" fmla="*/ 4127 w 5621"/>
                    <a:gd name="connsiteY9" fmla="*/ 4904 h 6638"/>
                    <a:gd name="connsiteX10" fmla="*/ 4187 w 5621"/>
                    <a:gd name="connsiteY10" fmla="*/ 4844 h 6638"/>
                    <a:gd name="connsiteX11" fmla="*/ 4366 w 5621"/>
                    <a:gd name="connsiteY11" fmla="*/ 4605 h 6638"/>
                    <a:gd name="connsiteX12" fmla="*/ 4844 w 5621"/>
                    <a:gd name="connsiteY12" fmla="*/ 4067 h 6638"/>
                    <a:gd name="connsiteX13" fmla="*/ 5084 w 5621"/>
                    <a:gd name="connsiteY13" fmla="*/ 3110 h 6638"/>
                    <a:gd name="connsiteX14" fmla="*/ 5263 w 5621"/>
                    <a:gd name="connsiteY14" fmla="*/ 2333 h 6638"/>
                    <a:gd name="connsiteX15" fmla="*/ 5263 w 5621"/>
                    <a:gd name="connsiteY15" fmla="*/ 2213 h 6638"/>
                    <a:gd name="connsiteX16" fmla="*/ 5503 w 5621"/>
                    <a:gd name="connsiteY16" fmla="*/ 1316 h 6638"/>
                    <a:gd name="connsiteX17" fmla="*/ 5562 w 5621"/>
                    <a:gd name="connsiteY17" fmla="*/ 1017 h 6638"/>
                    <a:gd name="connsiteX18" fmla="*/ 5622 w 5621"/>
                    <a:gd name="connsiteY18" fmla="*/ 718 h 6638"/>
                    <a:gd name="connsiteX19" fmla="*/ 5503 w 5621"/>
                    <a:gd name="connsiteY19" fmla="*/ 658 h 6638"/>
                    <a:gd name="connsiteX20" fmla="*/ 4545 w 5621"/>
                    <a:gd name="connsiteY20" fmla="*/ 120 h 6638"/>
                    <a:gd name="connsiteX21" fmla="*/ 4306 w 5621"/>
                    <a:gd name="connsiteY21" fmla="*/ 0 h 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21" h="6638">
                      <a:moveTo>
                        <a:pt x="718" y="2632"/>
                      </a:moveTo>
                      <a:lnTo>
                        <a:pt x="658" y="2811"/>
                      </a:lnTo>
                      <a:lnTo>
                        <a:pt x="598" y="2930"/>
                      </a:lnTo>
                      <a:lnTo>
                        <a:pt x="538" y="3170"/>
                      </a:lnTo>
                      <a:lnTo>
                        <a:pt x="0" y="5323"/>
                      </a:lnTo>
                      <a:lnTo>
                        <a:pt x="1017" y="5861"/>
                      </a:lnTo>
                      <a:lnTo>
                        <a:pt x="1376" y="6041"/>
                      </a:lnTo>
                      <a:lnTo>
                        <a:pt x="2213" y="6459"/>
                      </a:lnTo>
                      <a:lnTo>
                        <a:pt x="2632" y="6639"/>
                      </a:lnTo>
                      <a:lnTo>
                        <a:pt x="4127" y="4904"/>
                      </a:lnTo>
                      <a:lnTo>
                        <a:pt x="4187" y="4844"/>
                      </a:lnTo>
                      <a:lnTo>
                        <a:pt x="4366" y="4605"/>
                      </a:lnTo>
                      <a:lnTo>
                        <a:pt x="4844" y="4067"/>
                      </a:lnTo>
                      <a:lnTo>
                        <a:pt x="5084" y="3110"/>
                      </a:lnTo>
                      <a:lnTo>
                        <a:pt x="5263" y="2333"/>
                      </a:lnTo>
                      <a:lnTo>
                        <a:pt x="5263" y="2213"/>
                      </a:lnTo>
                      <a:lnTo>
                        <a:pt x="5503" y="1316"/>
                      </a:lnTo>
                      <a:lnTo>
                        <a:pt x="5562" y="1017"/>
                      </a:lnTo>
                      <a:lnTo>
                        <a:pt x="5622" y="718"/>
                      </a:lnTo>
                      <a:lnTo>
                        <a:pt x="5503" y="658"/>
                      </a:lnTo>
                      <a:lnTo>
                        <a:pt x="4545" y="120"/>
                      </a:lnTo>
                      <a:lnTo>
                        <a:pt x="4306" y="0"/>
                      </a:lnTo>
                    </a:path>
                  </a:pathLst>
                </a:custGeom>
                <a:noFill/>
                <a:ln w="6350" cap="flat">
                  <a:solidFill>
                    <a:schemeClr val="bg1">
                      <a:alpha val="80000"/>
                    </a:schemeClr>
                  </a:solidFill>
                  <a:prstDash val="solid"/>
                  <a:miter/>
                </a:ln>
              </p:spPr>
              <p:txBody>
                <a:bodyPr rtlCol="0" anchor="ctr"/>
                <a:lstStyle/>
                <a:p>
                  <a:endParaRPr lang="en-GB"/>
                </a:p>
              </p:txBody>
            </p:sp>
            <p:sp>
              <p:nvSpPr>
                <p:cNvPr id="7735" name="Vrije vorm: vorm 7734">
                  <a:extLst>
                    <a:ext uri="{FF2B5EF4-FFF2-40B4-BE49-F238E27FC236}">
                      <a16:creationId xmlns:a16="http://schemas.microsoft.com/office/drawing/2014/main" id="{D73E2C6A-7DCE-40A9-82B8-9B3EF89A1372}"/>
                    </a:ext>
                  </a:extLst>
                </p:cNvPr>
                <p:cNvSpPr/>
                <p:nvPr/>
              </p:nvSpPr>
              <p:spPr>
                <a:xfrm>
                  <a:off x="5783318" y="5158113"/>
                  <a:ext cx="5681" cy="7475"/>
                </a:xfrm>
                <a:custGeom>
                  <a:avLst/>
                  <a:gdLst>
                    <a:gd name="connsiteX0" fmla="*/ 837 w 5681"/>
                    <a:gd name="connsiteY0" fmla="*/ 2572 h 7475"/>
                    <a:gd name="connsiteX1" fmla="*/ 419 w 5681"/>
                    <a:gd name="connsiteY1" fmla="*/ 4306 h 7475"/>
                    <a:gd name="connsiteX2" fmla="*/ 0 w 5681"/>
                    <a:gd name="connsiteY2" fmla="*/ 6041 h 7475"/>
                    <a:gd name="connsiteX3" fmla="*/ 538 w 5681"/>
                    <a:gd name="connsiteY3" fmla="*/ 6399 h 7475"/>
                    <a:gd name="connsiteX4" fmla="*/ 1316 w 5681"/>
                    <a:gd name="connsiteY4" fmla="*/ 6937 h 7475"/>
                    <a:gd name="connsiteX5" fmla="*/ 1436 w 5681"/>
                    <a:gd name="connsiteY5" fmla="*/ 6997 h 7475"/>
                    <a:gd name="connsiteX6" fmla="*/ 2452 w 5681"/>
                    <a:gd name="connsiteY6" fmla="*/ 7416 h 7475"/>
                    <a:gd name="connsiteX7" fmla="*/ 2691 w 5681"/>
                    <a:gd name="connsiteY7" fmla="*/ 7476 h 7475"/>
                    <a:gd name="connsiteX8" fmla="*/ 4844 w 5681"/>
                    <a:gd name="connsiteY8" fmla="*/ 4964 h 7475"/>
                    <a:gd name="connsiteX9" fmla="*/ 5144 w 5681"/>
                    <a:gd name="connsiteY9" fmla="*/ 3828 h 7475"/>
                    <a:gd name="connsiteX10" fmla="*/ 5263 w 5681"/>
                    <a:gd name="connsiteY10" fmla="*/ 3229 h 7475"/>
                    <a:gd name="connsiteX11" fmla="*/ 5263 w 5681"/>
                    <a:gd name="connsiteY11" fmla="*/ 3229 h 7475"/>
                    <a:gd name="connsiteX12" fmla="*/ 5682 w 5681"/>
                    <a:gd name="connsiteY12" fmla="*/ 1495 h 7475"/>
                    <a:gd name="connsiteX13" fmla="*/ 5024 w 5681"/>
                    <a:gd name="connsiteY13" fmla="*/ 1017 h 7475"/>
                    <a:gd name="connsiteX14" fmla="*/ 4366 w 5681"/>
                    <a:gd name="connsiteY14" fmla="*/ 538 h 7475"/>
                    <a:gd name="connsiteX15" fmla="*/ 3050 w 5681"/>
                    <a:gd name="connsiteY15" fmla="*/ 0 h 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81" h="7475">
                      <a:moveTo>
                        <a:pt x="837" y="2572"/>
                      </a:moveTo>
                      <a:lnTo>
                        <a:pt x="419" y="4306"/>
                      </a:lnTo>
                      <a:lnTo>
                        <a:pt x="0" y="6041"/>
                      </a:lnTo>
                      <a:lnTo>
                        <a:pt x="538" y="6399"/>
                      </a:lnTo>
                      <a:lnTo>
                        <a:pt x="1316" y="6937"/>
                      </a:lnTo>
                      <a:lnTo>
                        <a:pt x="1436" y="6997"/>
                      </a:lnTo>
                      <a:lnTo>
                        <a:pt x="2452" y="7416"/>
                      </a:lnTo>
                      <a:lnTo>
                        <a:pt x="2691" y="7476"/>
                      </a:lnTo>
                      <a:lnTo>
                        <a:pt x="4844" y="4964"/>
                      </a:lnTo>
                      <a:lnTo>
                        <a:pt x="5144" y="3828"/>
                      </a:lnTo>
                      <a:lnTo>
                        <a:pt x="5263" y="3229"/>
                      </a:lnTo>
                      <a:lnTo>
                        <a:pt x="5263" y="3229"/>
                      </a:lnTo>
                      <a:lnTo>
                        <a:pt x="5682" y="1495"/>
                      </a:lnTo>
                      <a:lnTo>
                        <a:pt x="5024" y="1017"/>
                      </a:lnTo>
                      <a:lnTo>
                        <a:pt x="4366" y="538"/>
                      </a:lnTo>
                      <a:lnTo>
                        <a:pt x="3050" y="0"/>
                      </a:lnTo>
                    </a:path>
                  </a:pathLst>
                </a:custGeom>
                <a:noFill/>
                <a:ln w="6350" cap="flat">
                  <a:solidFill>
                    <a:schemeClr val="bg1">
                      <a:alpha val="80000"/>
                    </a:schemeClr>
                  </a:solidFill>
                  <a:prstDash val="solid"/>
                  <a:miter/>
                </a:ln>
              </p:spPr>
              <p:txBody>
                <a:bodyPr rtlCol="0" anchor="ctr"/>
                <a:lstStyle/>
                <a:p>
                  <a:endParaRPr lang="en-GB"/>
                </a:p>
              </p:txBody>
            </p:sp>
            <p:sp>
              <p:nvSpPr>
                <p:cNvPr id="7736" name="Vrije vorm: vorm 7735">
                  <a:extLst>
                    <a:ext uri="{FF2B5EF4-FFF2-40B4-BE49-F238E27FC236}">
                      <a16:creationId xmlns:a16="http://schemas.microsoft.com/office/drawing/2014/main" id="{E4E6C488-C990-430E-B3B6-1963D90D0A5D}"/>
                    </a:ext>
                  </a:extLst>
                </p:cNvPr>
                <p:cNvSpPr/>
                <p:nvPr/>
              </p:nvSpPr>
              <p:spPr>
                <a:xfrm>
                  <a:off x="5784215" y="5158173"/>
                  <a:ext cx="2152" cy="2990"/>
                </a:xfrm>
                <a:custGeom>
                  <a:avLst/>
                  <a:gdLst>
                    <a:gd name="connsiteX0" fmla="*/ 2153 w 2152"/>
                    <a:gd name="connsiteY0" fmla="*/ 0 h 2990"/>
                    <a:gd name="connsiteX1" fmla="*/ 479 w 2152"/>
                    <a:gd name="connsiteY1" fmla="*/ 1914 h 2990"/>
                    <a:gd name="connsiteX2" fmla="*/ 0 w 2152"/>
                    <a:gd name="connsiteY2" fmla="*/ 2452 h 2990"/>
                    <a:gd name="connsiteX3" fmla="*/ 778 w 2152"/>
                    <a:gd name="connsiteY3" fmla="*/ 2751 h 2990"/>
                    <a:gd name="connsiteX4" fmla="*/ 1375 w 2152"/>
                    <a:gd name="connsiteY4" fmla="*/ 299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 h="2990">
                      <a:moveTo>
                        <a:pt x="2153" y="0"/>
                      </a:moveTo>
                      <a:lnTo>
                        <a:pt x="479" y="1914"/>
                      </a:lnTo>
                      <a:lnTo>
                        <a:pt x="0" y="2452"/>
                      </a:lnTo>
                      <a:lnTo>
                        <a:pt x="778" y="2751"/>
                      </a:lnTo>
                      <a:lnTo>
                        <a:pt x="1375" y="2990"/>
                      </a:lnTo>
                    </a:path>
                  </a:pathLst>
                </a:custGeom>
                <a:noFill/>
                <a:ln w="6350" cap="flat">
                  <a:solidFill>
                    <a:schemeClr val="bg1">
                      <a:alpha val="80000"/>
                    </a:schemeClr>
                  </a:solidFill>
                  <a:prstDash val="solid"/>
                  <a:miter/>
                </a:ln>
              </p:spPr>
              <p:txBody>
                <a:bodyPr rtlCol="0" anchor="ctr"/>
                <a:lstStyle/>
                <a:p>
                  <a:endParaRPr lang="en-GB"/>
                </a:p>
              </p:txBody>
            </p:sp>
            <p:sp>
              <p:nvSpPr>
                <p:cNvPr id="7737" name="Vrije vorm: vorm 7736">
                  <a:extLst>
                    <a:ext uri="{FF2B5EF4-FFF2-40B4-BE49-F238E27FC236}">
                      <a16:creationId xmlns:a16="http://schemas.microsoft.com/office/drawing/2014/main" id="{695F1B9A-5940-4D90-A5DE-AE167E87259E}"/>
                    </a:ext>
                  </a:extLst>
                </p:cNvPr>
                <p:cNvSpPr/>
                <p:nvPr/>
              </p:nvSpPr>
              <p:spPr>
                <a:xfrm>
                  <a:off x="5785889" y="5161163"/>
                  <a:ext cx="658" cy="1495"/>
                </a:xfrm>
                <a:custGeom>
                  <a:avLst/>
                  <a:gdLst>
                    <a:gd name="connsiteX0" fmla="*/ 658 w 658"/>
                    <a:gd name="connsiteY0" fmla="*/ 0 h 1495"/>
                    <a:gd name="connsiteX1" fmla="*/ 658 w 658"/>
                    <a:gd name="connsiteY1" fmla="*/ 0 h 1495"/>
                    <a:gd name="connsiteX2" fmla="*/ 538 w 658"/>
                    <a:gd name="connsiteY2" fmla="*/ 479 h 1495"/>
                    <a:gd name="connsiteX3" fmla="*/ 359 w 658"/>
                    <a:gd name="connsiteY3" fmla="*/ 957 h 1495"/>
                    <a:gd name="connsiteX4" fmla="*/ 120 w 658"/>
                    <a:gd name="connsiteY4" fmla="*/ 1375 h 1495"/>
                    <a:gd name="connsiteX5" fmla="*/ 0 w 658"/>
                    <a:gd name="connsiteY5" fmla="*/ 1495 h 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8" h="1495">
                      <a:moveTo>
                        <a:pt x="658" y="0"/>
                      </a:moveTo>
                      <a:lnTo>
                        <a:pt x="658" y="0"/>
                      </a:lnTo>
                      <a:lnTo>
                        <a:pt x="538" y="479"/>
                      </a:lnTo>
                      <a:lnTo>
                        <a:pt x="359" y="957"/>
                      </a:lnTo>
                      <a:lnTo>
                        <a:pt x="120" y="1375"/>
                      </a:lnTo>
                      <a:lnTo>
                        <a:pt x="0" y="1495"/>
                      </a:lnTo>
                    </a:path>
                  </a:pathLst>
                </a:custGeom>
                <a:noFill/>
                <a:ln w="6350" cap="flat">
                  <a:solidFill>
                    <a:schemeClr val="bg1">
                      <a:alpha val="80000"/>
                    </a:schemeClr>
                  </a:solidFill>
                  <a:prstDash val="solid"/>
                  <a:miter/>
                </a:ln>
              </p:spPr>
              <p:txBody>
                <a:bodyPr rtlCol="0" anchor="ctr"/>
                <a:lstStyle/>
                <a:p>
                  <a:endParaRPr lang="en-GB"/>
                </a:p>
              </p:txBody>
            </p:sp>
            <p:sp>
              <p:nvSpPr>
                <p:cNvPr id="7738" name="Vrije vorm: vorm 7737">
                  <a:extLst>
                    <a:ext uri="{FF2B5EF4-FFF2-40B4-BE49-F238E27FC236}">
                      <a16:creationId xmlns:a16="http://schemas.microsoft.com/office/drawing/2014/main" id="{E2AD4C55-D66A-4978-8CB6-74C09BC304AB}"/>
                    </a:ext>
                  </a:extLst>
                </p:cNvPr>
                <p:cNvSpPr/>
                <p:nvPr/>
              </p:nvSpPr>
              <p:spPr>
                <a:xfrm>
                  <a:off x="5785770" y="5160386"/>
                  <a:ext cx="2152" cy="3588"/>
                </a:xfrm>
                <a:custGeom>
                  <a:avLst/>
                  <a:gdLst>
                    <a:gd name="connsiteX0" fmla="*/ 239 w 2152"/>
                    <a:gd name="connsiteY0" fmla="*/ 3529 h 3588"/>
                    <a:gd name="connsiteX1" fmla="*/ 419 w 2152"/>
                    <a:gd name="connsiteY1" fmla="*/ 3588 h 3588"/>
                    <a:gd name="connsiteX2" fmla="*/ 658 w 2152"/>
                    <a:gd name="connsiteY2" fmla="*/ 3529 h 3588"/>
                    <a:gd name="connsiteX3" fmla="*/ 957 w 2152"/>
                    <a:gd name="connsiteY3" fmla="*/ 3349 h 3588"/>
                    <a:gd name="connsiteX4" fmla="*/ 1256 w 2152"/>
                    <a:gd name="connsiteY4" fmla="*/ 3050 h 3588"/>
                    <a:gd name="connsiteX5" fmla="*/ 1555 w 2152"/>
                    <a:gd name="connsiteY5" fmla="*/ 2691 h 3588"/>
                    <a:gd name="connsiteX6" fmla="*/ 1794 w 2152"/>
                    <a:gd name="connsiteY6" fmla="*/ 2273 h 3588"/>
                    <a:gd name="connsiteX7" fmla="*/ 1974 w 2152"/>
                    <a:gd name="connsiteY7" fmla="*/ 1794 h 3588"/>
                    <a:gd name="connsiteX8" fmla="*/ 2093 w 2152"/>
                    <a:gd name="connsiteY8" fmla="*/ 1316 h 3588"/>
                    <a:gd name="connsiteX9" fmla="*/ 2153 w 2152"/>
                    <a:gd name="connsiteY9" fmla="*/ 897 h 3588"/>
                    <a:gd name="connsiteX10" fmla="*/ 2153 w 2152"/>
                    <a:gd name="connsiteY10" fmla="*/ 538 h 3588"/>
                    <a:gd name="connsiteX11" fmla="*/ 2093 w 2152"/>
                    <a:gd name="connsiteY11" fmla="*/ 239 h 3588"/>
                    <a:gd name="connsiteX12" fmla="*/ 1974 w 2152"/>
                    <a:gd name="connsiteY12" fmla="*/ 60 h 3588"/>
                    <a:gd name="connsiteX13" fmla="*/ 1794 w 2152"/>
                    <a:gd name="connsiteY13" fmla="*/ 0 h 3588"/>
                    <a:gd name="connsiteX14" fmla="*/ 1615 w 2152"/>
                    <a:gd name="connsiteY14" fmla="*/ 60 h 3588"/>
                    <a:gd name="connsiteX15" fmla="*/ 1495 w 2152"/>
                    <a:gd name="connsiteY15" fmla="*/ 60 h 3588"/>
                    <a:gd name="connsiteX16" fmla="*/ 1196 w 2152"/>
                    <a:gd name="connsiteY16" fmla="*/ 239 h 3588"/>
                    <a:gd name="connsiteX17" fmla="*/ 897 w 2152"/>
                    <a:gd name="connsiteY17" fmla="*/ 538 h 3588"/>
                    <a:gd name="connsiteX18" fmla="*/ 897 w 2152"/>
                    <a:gd name="connsiteY18" fmla="*/ 598 h 3588"/>
                    <a:gd name="connsiteX19" fmla="*/ 718 w 2152"/>
                    <a:gd name="connsiteY19" fmla="*/ 778 h 3588"/>
                    <a:gd name="connsiteX20" fmla="*/ 598 w 2152"/>
                    <a:gd name="connsiteY20" fmla="*/ 897 h 3588"/>
                    <a:gd name="connsiteX21" fmla="*/ 359 w 2152"/>
                    <a:gd name="connsiteY21" fmla="*/ 1316 h 3588"/>
                    <a:gd name="connsiteX22" fmla="*/ 179 w 2152"/>
                    <a:gd name="connsiteY22" fmla="*/ 1794 h 3588"/>
                    <a:gd name="connsiteX23" fmla="*/ 60 w 2152"/>
                    <a:gd name="connsiteY23" fmla="*/ 2273 h 3588"/>
                    <a:gd name="connsiteX24" fmla="*/ 60 w 2152"/>
                    <a:gd name="connsiteY24" fmla="*/ 2273 h 3588"/>
                    <a:gd name="connsiteX25" fmla="*/ 0 w 2152"/>
                    <a:gd name="connsiteY25" fmla="*/ 2691 h 3588"/>
                    <a:gd name="connsiteX26" fmla="*/ 0 w 2152"/>
                    <a:gd name="connsiteY26" fmla="*/ 3050 h 3588"/>
                    <a:gd name="connsiteX27" fmla="*/ 60 w 2152"/>
                    <a:gd name="connsiteY27" fmla="*/ 3349 h 3588"/>
                    <a:gd name="connsiteX28" fmla="*/ 60 w 2152"/>
                    <a:gd name="connsiteY28" fmla="*/ 3349 h 3588"/>
                    <a:gd name="connsiteX29" fmla="*/ 60 w 2152"/>
                    <a:gd name="connsiteY29" fmla="*/ 3349 h 3588"/>
                    <a:gd name="connsiteX30" fmla="*/ 239 w 2152"/>
                    <a:gd name="connsiteY30" fmla="*/ 3529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52" h="3588">
                      <a:moveTo>
                        <a:pt x="239" y="3529"/>
                      </a:moveTo>
                      <a:lnTo>
                        <a:pt x="419" y="3588"/>
                      </a:lnTo>
                      <a:lnTo>
                        <a:pt x="658" y="3529"/>
                      </a:lnTo>
                      <a:lnTo>
                        <a:pt x="957" y="3349"/>
                      </a:lnTo>
                      <a:lnTo>
                        <a:pt x="1256" y="3050"/>
                      </a:lnTo>
                      <a:lnTo>
                        <a:pt x="1555" y="2691"/>
                      </a:lnTo>
                      <a:lnTo>
                        <a:pt x="1794" y="2273"/>
                      </a:lnTo>
                      <a:lnTo>
                        <a:pt x="1974" y="1794"/>
                      </a:lnTo>
                      <a:lnTo>
                        <a:pt x="2093" y="1316"/>
                      </a:lnTo>
                      <a:lnTo>
                        <a:pt x="2153" y="897"/>
                      </a:lnTo>
                      <a:lnTo>
                        <a:pt x="2153" y="538"/>
                      </a:lnTo>
                      <a:lnTo>
                        <a:pt x="2093" y="239"/>
                      </a:lnTo>
                      <a:lnTo>
                        <a:pt x="1974" y="60"/>
                      </a:lnTo>
                      <a:lnTo>
                        <a:pt x="1794" y="0"/>
                      </a:lnTo>
                      <a:lnTo>
                        <a:pt x="1615" y="60"/>
                      </a:lnTo>
                      <a:lnTo>
                        <a:pt x="1495" y="60"/>
                      </a:lnTo>
                      <a:lnTo>
                        <a:pt x="1196" y="239"/>
                      </a:lnTo>
                      <a:lnTo>
                        <a:pt x="897" y="538"/>
                      </a:lnTo>
                      <a:lnTo>
                        <a:pt x="897" y="598"/>
                      </a:lnTo>
                      <a:lnTo>
                        <a:pt x="718" y="778"/>
                      </a:lnTo>
                      <a:lnTo>
                        <a:pt x="598" y="897"/>
                      </a:lnTo>
                      <a:lnTo>
                        <a:pt x="359" y="1316"/>
                      </a:lnTo>
                      <a:lnTo>
                        <a:pt x="179" y="1794"/>
                      </a:lnTo>
                      <a:lnTo>
                        <a:pt x="60" y="2273"/>
                      </a:lnTo>
                      <a:lnTo>
                        <a:pt x="60" y="2273"/>
                      </a:lnTo>
                      <a:lnTo>
                        <a:pt x="0" y="2691"/>
                      </a:lnTo>
                      <a:lnTo>
                        <a:pt x="0" y="3050"/>
                      </a:lnTo>
                      <a:lnTo>
                        <a:pt x="60" y="3349"/>
                      </a:lnTo>
                      <a:lnTo>
                        <a:pt x="60" y="3349"/>
                      </a:lnTo>
                      <a:lnTo>
                        <a:pt x="60" y="3349"/>
                      </a:lnTo>
                      <a:lnTo>
                        <a:pt x="239" y="3529"/>
                      </a:lnTo>
                    </a:path>
                  </a:pathLst>
                </a:custGeom>
                <a:noFill/>
                <a:ln w="6350" cap="flat">
                  <a:solidFill>
                    <a:schemeClr val="bg1">
                      <a:alpha val="80000"/>
                    </a:schemeClr>
                  </a:solidFill>
                  <a:prstDash val="solid"/>
                  <a:miter/>
                </a:ln>
              </p:spPr>
              <p:txBody>
                <a:bodyPr rtlCol="0" anchor="ctr"/>
                <a:lstStyle/>
                <a:p>
                  <a:endParaRPr lang="en-GB"/>
                </a:p>
              </p:txBody>
            </p:sp>
            <p:sp>
              <p:nvSpPr>
                <p:cNvPr id="7739" name="Vrije vorm: vorm 7738">
                  <a:extLst>
                    <a:ext uri="{FF2B5EF4-FFF2-40B4-BE49-F238E27FC236}">
                      <a16:creationId xmlns:a16="http://schemas.microsoft.com/office/drawing/2014/main" id="{162C7D24-B05C-4949-AFB3-2E96338CFB1A}"/>
                    </a:ext>
                  </a:extLst>
                </p:cNvPr>
                <p:cNvSpPr/>
                <p:nvPr/>
              </p:nvSpPr>
              <p:spPr>
                <a:xfrm>
                  <a:off x="5784693" y="5158771"/>
                  <a:ext cx="3050" cy="6818"/>
                </a:xfrm>
                <a:custGeom>
                  <a:avLst/>
                  <a:gdLst>
                    <a:gd name="connsiteX0" fmla="*/ 1316 w 3050"/>
                    <a:gd name="connsiteY0" fmla="*/ 6818 h 6818"/>
                    <a:gd name="connsiteX1" fmla="*/ 1136 w 3050"/>
                    <a:gd name="connsiteY1" fmla="*/ 6698 h 6818"/>
                    <a:gd name="connsiteX2" fmla="*/ 538 w 3050"/>
                    <a:gd name="connsiteY2" fmla="*/ 6280 h 6818"/>
                    <a:gd name="connsiteX3" fmla="*/ 179 w 3050"/>
                    <a:gd name="connsiteY3" fmla="*/ 6041 h 6818"/>
                    <a:gd name="connsiteX4" fmla="*/ 0 w 3050"/>
                    <a:gd name="connsiteY4" fmla="*/ 5921 h 6818"/>
                    <a:gd name="connsiteX5" fmla="*/ 299 w 3050"/>
                    <a:gd name="connsiteY5" fmla="*/ 4725 h 6818"/>
                    <a:gd name="connsiteX6" fmla="*/ 419 w 3050"/>
                    <a:gd name="connsiteY6" fmla="*/ 4187 h 6818"/>
                    <a:gd name="connsiteX7" fmla="*/ 837 w 3050"/>
                    <a:gd name="connsiteY7" fmla="*/ 2452 h 6818"/>
                    <a:gd name="connsiteX8" fmla="*/ 1316 w 3050"/>
                    <a:gd name="connsiteY8" fmla="*/ 1914 h 6818"/>
                    <a:gd name="connsiteX9" fmla="*/ 1914 w 3050"/>
                    <a:gd name="connsiteY9" fmla="*/ 1256 h 6818"/>
                    <a:gd name="connsiteX10" fmla="*/ 2811 w 3050"/>
                    <a:gd name="connsiteY10" fmla="*/ 239 h 6818"/>
                    <a:gd name="connsiteX11" fmla="*/ 3050 w 3050"/>
                    <a:gd name="connsiteY11" fmla="*/ 0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0" h="6818">
                      <a:moveTo>
                        <a:pt x="1316" y="6818"/>
                      </a:moveTo>
                      <a:lnTo>
                        <a:pt x="1136" y="6698"/>
                      </a:lnTo>
                      <a:lnTo>
                        <a:pt x="538" y="6280"/>
                      </a:lnTo>
                      <a:lnTo>
                        <a:pt x="179" y="6041"/>
                      </a:lnTo>
                      <a:lnTo>
                        <a:pt x="0" y="5921"/>
                      </a:lnTo>
                      <a:lnTo>
                        <a:pt x="299" y="4725"/>
                      </a:lnTo>
                      <a:lnTo>
                        <a:pt x="419" y="4187"/>
                      </a:lnTo>
                      <a:lnTo>
                        <a:pt x="837" y="2452"/>
                      </a:lnTo>
                      <a:lnTo>
                        <a:pt x="1316" y="1914"/>
                      </a:lnTo>
                      <a:lnTo>
                        <a:pt x="1914" y="1256"/>
                      </a:lnTo>
                      <a:lnTo>
                        <a:pt x="2811" y="239"/>
                      </a:lnTo>
                      <a:lnTo>
                        <a:pt x="3050" y="0"/>
                      </a:lnTo>
                    </a:path>
                  </a:pathLst>
                </a:custGeom>
                <a:noFill/>
                <a:ln w="6350" cap="flat">
                  <a:solidFill>
                    <a:schemeClr val="bg1">
                      <a:alpha val="80000"/>
                    </a:schemeClr>
                  </a:solidFill>
                  <a:prstDash val="solid"/>
                  <a:miter/>
                </a:ln>
              </p:spPr>
              <p:txBody>
                <a:bodyPr rtlCol="0" anchor="ctr"/>
                <a:lstStyle/>
                <a:p>
                  <a:endParaRPr lang="en-GB"/>
                </a:p>
              </p:txBody>
            </p:sp>
            <p:sp>
              <p:nvSpPr>
                <p:cNvPr id="7740" name="Vrije vorm: vorm 7739">
                  <a:extLst>
                    <a:ext uri="{FF2B5EF4-FFF2-40B4-BE49-F238E27FC236}">
                      <a16:creationId xmlns:a16="http://schemas.microsoft.com/office/drawing/2014/main" id="{757BABDC-3A8C-4989-802C-0F3495787A2A}"/>
                    </a:ext>
                  </a:extLst>
                </p:cNvPr>
                <p:cNvSpPr/>
                <p:nvPr/>
              </p:nvSpPr>
              <p:spPr>
                <a:xfrm>
                  <a:off x="5767110" y="5207813"/>
                  <a:ext cx="1375" cy="4006"/>
                </a:xfrm>
                <a:custGeom>
                  <a:avLst/>
                  <a:gdLst>
                    <a:gd name="connsiteX0" fmla="*/ 1375 w 1375"/>
                    <a:gd name="connsiteY0" fmla="*/ 4007 h 4006"/>
                    <a:gd name="connsiteX1" fmla="*/ 119 w 1375"/>
                    <a:gd name="connsiteY1" fmla="*/ 3349 h 4006"/>
                    <a:gd name="connsiteX2" fmla="*/ 0 w 1375"/>
                    <a:gd name="connsiteY2" fmla="*/ 3289 h 4006"/>
                    <a:gd name="connsiteX3" fmla="*/ 119 w 1375"/>
                    <a:gd name="connsiteY3" fmla="*/ 2811 h 4006"/>
                    <a:gd name="connsiteX4" fmla="*/ 299 w 1375"/>
                    <a:gd name="connsiteY4" fmla="*/ 1974 h 4006"/>
                    <a:gd name="connsiteX5" fmla="*/ 538 w 1375"/>
                    <a:gd name="connsiteY5" fmla="*/ 1017 h 4006"/>
                    <a:gd name="connsiteX6" fmla="*/ 778 w 1375"/>
                    <a:gd name="connsiteY6" fmla="*/ 0 h 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 h="4006">
                      <a:moveTo>
                        <a:pt x="1375" y="4007"/>
                      </a:moveTo>
                      <a:lnTo>
                        <a:pt x="119" y="3349"/>
                      </a:lnTo>
                      <a:lnTo>
                        <a:pt x="0" y="3289"/>
                      </a:lnTo>
                      <a:lnTo>
                        <a:pt x="119" y="2811"/>
                      </a:lnTo>
                      <a:lnTo>
                        <a:pt x="299" y="1974"/>
                      </a:lnTo>
                      <a:lnTo>
                        <a:pt x="538" y="1017"/>
                      </a:lnTo>
                      <a:lnTo>
                        <a:pt x="778" y="0"/>
                      </a:lnTo>
                    </a:path>
                  </a:pathLst>
                </a:custGeom>
                <a:noFill/>
                <a:ln w="6350" cap="flat">
                  <a:solidFill>
                    <a:schemeClr val="bg1">
                      <a:alpha val="80000"/>
                    </a:schemeClr>
                  </a:solidFill>
                  <a:prstDash val="solid"/>
                  <a:miter/>
                </a:ln>
              </p:spPr>
              <p:txBody>
                <a:bodyPr rtlCol="0" anchor="ctr"/>
                <a:lstStyle/>
                <a:p>
                  <a:endParaRPr lang="en-GB"/>
                </a:p>
              </p:txBody>
            </p:sp>
            <p:sp>
              <p:nvSpPr>
                <p:cNvPr id="7741" name="Vrije vorm: vorm 7740">
                  <a:extLst>
                    <a:ext uri="{FF2B5EF4-FFF2-40B4-BE49-F238E27FC236}">
                      <a16:creationId xmlns:a16="http://schemas.microsoft.com/office/drawing/2014/main" id="{AF8BB18E-0EA7-4ADA-8964-20145A7CA845}"/>
                    </a:ext>
                  </a:extLst>
                </p:cNvPr>
                <p:cNvSpPr/>
                <p:nvPr/>
              </p:nvSpPr>
              <p:spPr>
                <a:xfrm>
                  <a:off x="5767409" y="5205480"/>
                  <a:ext cx="2451" cy="2272"/>
                </a:xfrm>
                <a:custGeom>
                  <a:avLst/>
                  <a:gdLst>
                    <a:gd name="connsiteX0" fmla="*/ 0 w 2451"/>
                    <a:gd name="connsiteY0" fmla="*/ 2034 h 2272"/>
                    <a:gd name="connsiteX1" fmla="*/ 479 w 2451"/>
                    <a:gd name="connsiteY1" fmla="*/ 2273 h 2272"/>
                    <a:gd name="connsiteX2" fmla="*/ 1495 w 2451"/>
                    <a:gd name="connsiteY2" fmla="*/ 1076 h 2272"/>
                    <a:gd name="connsiteX3" fmla="*/ 1674 w 2451"/>
                    <a:gd name="connsiteY3" fmla="*/ 897 h 2272"/>
                    <a:gd name="connsiteX4" fmla="*/ 1734 w 2451"/>
                    <a:gd name="connsiteY4" fmla="*/ 837 h 2272"/>
                    <a:gd name="connsiteX5" fmla="*/ 1734 w 2451"/>
                    <a:gd name="connsiteY5" fmla="*/ 837 h 2272"/>
                    <a:gd name="connsiteX6" fmla="*/ 2452 w 2451"/>
                    <a:gd name="connsiteY6" fmla="*/ 0 h 2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1" h="2272">
                      <a:moveTo>
                        <a:pt x="0" y="2034"/>
                      </a:moveTo>
                      <a:lnTo>
                        <a:pt x="479" y="2273"/>
                      </a:lnTo>
                      <a:lnTo>
                        <a:pt x="1495" y="1076"/>
                      </a:lnTo>
                      <a:lnTo>
                        <a:pt x="1674" y="897"/>
                      </a:lnTo>
                      <a:lnTo>
                        <a:pt x="1734" y="837"/>
                      </a:lnTo>
                      <a:lnTo>
                        <a:pt x="1734" y="837"/>
                      </a:lnTo>
                      <a:lnTo>
                        <a:pt x="2452" y="0"/>
                      </a:lnTo>
                    </a:path>
                  </a:pathLst>
                </a:custGeom>
                <a:noFill/>
                <a:ln w="6350" cap="flat">
                  <a:solidFill>
                    <a:schemeClr val="bg1">
                      <a:alpha val="80000"/>
                    </a:schemeClr>
                  </a:solidFill>
                  <a:prstDash val="solid"/>
                  <a:miter/>
                </a:ln>
              </p:spPr>
              <p:txBody>
                <a:bodyPr rtlCol="0" anchor="ctr"/>
                <a:lstStyle/>
                <a:p>
                  <a:endParaRPr lang="en-GB"/>
                </a:p>
              </p:txBody>
            </p:sp>
            <p:sp>
              <p:nvSpPr>
                <p:cNvPr id="7742" name="Vrije vorm: vorm 7741">
                  <a:extLst>
                    <a:ext uri="{FF2B5EF4-FFF2-40B4-BE49-F238E27FC236}">
                      <a16:creationId xmlns:a16="http://schemas.microsoft.com/office/drawing/2014/main" id="{1B39FE27-DBD1-40BC-8D1C-A22033B562EF}"/>
                    </a:ext>
                  </a:extLst>
                </p:cNvPr>
                <p:cNvSpPr/>
                <p:nvPr/>
              </p:nvSpPr>
              <p:spPr>
                <a:xfrm>
                  <a:off x="5785112" y="5172706"/>
                  <a:ext cx="478" cy="3349"/>
                </a:xfrm>
                <a:custGeom>
                  <a:avLst/>
                  <a:gdLst>
                    <a:gd name="connsiteX0" fmla="*/ 478 w 478"/>
                    <a:gd name="connsiteY0" fmla="*/ 3349 h 3349"/>
                    <a:gd name="connsiteX1" fmla="*/ 179 w 478"/>
                    <a:gd name="connsiteY1" fmla="*/ 2930 h 3349"/>
                    <a:gd name="connsiteX2" fmla="*/ 0 w 478"/>
                    <a:gd name="connsiteY2" fmla="*/ 2273 h 3349"/>
                    <a:gd name="connsiteX3" fmla="*/ 0 w 478"/>
                    <a:gd name="connsiteY3" fmla="*/ 1435 h 3349"/>
                    <a:gd name="connsiteX4" fmla="*/ 0 w 478"/>
                    <a:gd name="connsiteY4" fmla="*/ 1256 h 3349"/>
                    <a:gd name="connsiteX5" fmla="*/ 119 w 478"/>
                    <a:gd name="connsiteY5" fmla="*/ 419 h 3349"/>
                    <a:gd name="connsiteX6" fmla="*/ 179 w 478"/>
                    <a:gd name="connsiteY6" fmla="*/ 239 h 3349"/>
                    <a:gd name="connsiteX7" fmla="*/ 239 w 478"/>
                    <a:gd name="connsiteY7" fmla="*/ 0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8" h="3349">
                      <a:moveTo>
                        <a:pt x="478" y="3349"/>
                      </a:moveTo>
                      <a:lnTo>
                        <a:pt x="179" y="2930"/>
                      </a:lnTo>
                      <a:lnTo>
                        <a:pt x="0" y="2273"/>
                      </a:lnTo>
                      <a:lnTo>
                        <a:pt x="0" y="1435"/>
                      </a:lnTo>
                      <a:lnTo>
                        <a:pt x="0" y="1256"/>
                      </a:lnTo>
                      <a:lnTo>
                        <a:pt x="119" y="419"/>
                      </a:lnTo>
                      <a:lnTo>
                        <a:pt x="179" y="239"/>
                      </a:lnTo>
                      <a:lnTo>
                        <a:pt x="239" y="0"/>
                      </a:lnTo>
                    </a:path>
                  </a:pathLst>
                </a:custGeom>
                <a:noFill/>
                <a:ln w="6350" cap="flat">
                  <a:solidFill>
                    <a:schemeClr val="bg1">
                      <a:alpha val="80000"/>
                    </a:schemeClr>
                  </a:solidFill>
                  <a:prstDash val="solid"/>
                  <a:miter/>
                </a:ln>
              </p:spPr>
              <p:txBody>
                <a:bodyPr rtlCol="0" anchor="ctr"/>
                <a:lstStyle/>
                <a:p>
                  <a:endParaRPr lang="en-GB"/>
                </a:p>
              </p:txBody>
            </p:sp>
            <p:sp>
              <p:nvSpPr>
                <p:cNvPr id="7743" name="Vrije vorm: vorm 7742">
                  <a:extLst>
                    <a:ext uri="{FF2B5EF4-FFF2-40B4-BE49-F238E27FC236}">
                      <a16:creationId xmlns:a16="http://schemas.microsoft.com/office/drawing/2014/main" id="{29E66453-30E9-48D8-A73D-B0FE3DFEDA4E}"/>
                    </a:ext>
                  </a:extLst>
                </p:cNvPr>
                <p:cNvSpPr/>
                <p:nvPr/>
              </p:nvSpPr>
              <p:spPr>
                <a:xfrm>
                  <a:off x="5786607" y="5170613"/>
                  <a:ext cx="1734" cy="2990"/>
                </a:xfrm>
                <a:custGeom>
                  <a:avLst/>
                  <a:gdLst>
                    <a:gd name="connsiteX0" fmla="*/ 1734 w 1734"/>
                    <a:gd name="connsiteY0" fmla="*/ 60 h 2990"/>
                    <a:gd name="connsiteX1" fmla="*/ 1555 w 1734"/>
                    <a:gd name="connsiteY1" fmla="*/ 0 h 2990"/>
                    <a:gd name="connsiteX2" fmla="*/ 1316 w 1734"/>
                    <a:gd name="connsiteY2" fmla="*/ 60 h 2990"/>
                    <a:gd name="connsiteX3" fmla="*/ 1076 w 1734"/>
                    <a:gd name="connsiteY3" fmla="*/ 239 h 2990"/>
                    <a:gd name="connsiteX4" fmla="*/ 1076 w 1734"/>
                    <a:gd name="connsiteY4" fmla="*/ 239 h 2990"/>
                    <a:gd name="connsiteX5" fmla="*/ 837 w 1734"/>
                    <a:gd name="connsiteY5" fmla="*/ 478 h 2990"/>
                    <a:gd name="connsiteX6" fmla="*/ 598 w 1734"/>
                    <a:gd name="connsiteY6" fmla="*/ 778 h 2990"/>
                    <a:gd name="connsiteX7" fmla="*/ 359 w 1734"/>
                    <a:gd name="connsiteY7" fmla="*/ 1136 h 2990"/>
                    <a:gd name="connsiteX8" fmla="*/ 179 w 1734"/>
                    <a:gd name="connsiteY8" fmla="*/ 1555 h 2990"/>
                    <a:gd name="connsiteX9" fmla="*/ 60 w 1734"/>
                    <a:gd name="connsiteY9" fmla="*/ 1973 h 2990"/>
                    <a:gd name="connsiteX10" fmla="*/ 0 w 1734"/>
                    <a:gd name="connsiteY10" fmla="*/ 2332 h 2990"/>
                    <a:gd name="connsiteX11" fmla="*/ 0 w 1734"/>
                    <a:gd name="connsiteY11" fmla="*/ 2632 h 2990"/>
                    <a:gd name="connsiteX12" fmla="*/ 60 w 1734"/>
                    <a:gd name="connsiteY12" fmla="*/ 2871 h 2990"/>
                    <a:gd name="connsiteX13" fmla="*/ 179 w 1734"/>
                    <a:gd name="connsiteY13" fmla="*/ 2990 h 2990"/>
                    <a:gd name="connsiteX14" fmla="*/ 179 w 1734"/>
                    <a:gd name="connsiteY14" fmla="*/ 2990 h 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34" h="2990">
                      <a:moveTo>
                        <a:pt x="1734" y="60"/>
                      </a:moveTo>
                      <a:lnTo>
                        <a:pt x="1555" y="0"/>
                      </a:lnTo>
                      <a:lnTo>
                        <a:pt x="1316" y="60"/>
                      </a:lnTo>
                      <a:lnTo>
                        <a:pt x="1076" y="239"/>
                      </a:lnTo>
                      <a:lnTo>
                        <a:pt x="1076" y="239"/>
                      </a:lnTo>
                      <a:lnTo>
                        <a:pt x="837" y="478"/>
                      </a:lnTo>
                      <a:lnTo>
                        <a:pt x="598" y="778"/>
                      </a:lnTo>
                      <a:lnTo>
                        <a:pt x="359" y="1136"/>
                      </a:lnTo>
                      <a:lnTo>
                        <a:pt x="179" y="1555"/>
                      </a:lnTo>
                      <a:lnTo>
                        <a:pt x="60" y="1973"/>
                      </a:lnTo>
                      <a:lnTo>
                        <a:pt x="0" y="2332"/>
                      </a:lnTo>
                      <a:lnTo>
                        <a:pt x="0" y="2632"/>
                      </a:lnTo>
                      <a:lnTo>
                        <a:pt x="60" y="2871"/>
                      </a:lnTo>
                      <a:lnTo>
                        <a:pt x="179" y="2990"/>
                      </a:lnTo>
                      <a:lnTo>
                        <a:pt x="179" y="2990"/>
                      </a:lnTo>
                    </a:path>
                  </a:pathLst>
                </a:custGeom>
                <a:noFill/>
                <a:ln w="6350" cap="flat">
                  <a:solidFill>
                    <a:schemeClr val="bg1">
                      <a:alpha val="80000"/>
                    </a:schemeClr>
                  </a:solidFill>
                  <a:prstDash val="solid"/>
                  <a:miter/>
                </a:ln>
              </p:spPr>
              <p:txBody>
                <a:bodyPr rtlCol="0" anchor="ctr"/>
                <a:lstStyle/>
                <a:p>
                  <a:endParaRPr lang="en-GB"/>
                </a:p>
              </p:txBody>
            </p:sp>
            <p:sp>
              <p:nvSpPr>
                <p:cNvPr id="7744" name="Vrije vorm: vorm 7743">
                  <a:extLst>
                    <a:ext uri="{FF2B5EF4-FFF2-40B4-BE49-F238E27FC236}">
                      <a16:creationId xmlns:a16="http://schemas.microsoft.com/office/drawing/2014/main" id="{BE9B8317-D131-4BD3-BCA7-E20FC7DAEB2A}"/>
                    </a:ext>
                  </a:extLst>
                </p:cNvPr>
                <p:cNvSpPr/>
                <p:nvPr/>
              </p:nvSpPr>
              <p:spPr>
                <a:xfrm>
                  <a:off x="5788342" y="5170613"/>
                  <a:ext cx="179" cy="418"/>
                </a:xfrm>
                <a:custGeom>
                  <a:avLst/>
                  <a:gdLst>
                    <a:gd name="connsiteX0" fmla="*/ 179 w 179"/>
                    <a:gd name="connsiteY0" fmla="*/ 418 h 418"/>
                    <a:gd name="connsiteX1" fmla="*/ 120 w 179"/>
                    <a:gd name="connsiteY1" fmla="*/ 179 h 418"/>
                    <a:gd name="connsiteX2" fmla="*/ 0 w 179"/>
                    <a:gd name="connsiteY2" fmla="*/ 0 h 418"/>
                  </a:gdLst>
                  <a:ahLst/>
                  <a:cxnLst>
                    <a:cxn ang="0">
                      <a:pos x="connsiteX0" y="connsiteY0"/>
                    </a:cxn>
                    <a:cxn ang="0">
                      <a:pos x="connsiteX1" y="connsiteY1"/>
                    </a:cxn>
                    <a:cxn ang="0">
                      <a:pos x="connsiteX2" y="connsiteY2"/>
                    </a:cxn>
                  </a:cxnLst>
                  <a:rect l="l" t="t" r="r" b="b"/>
                  <a:pathLst>
                    <a:path w="179" h="418">
                      <a:moveTo>
                        <a:pt x="179" y="418"/>
                      </a:moveTo>
                      <a:lnTo>
                        <a:pt x="120" y="17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45" name="Vrije vorm: vorm 7744">
                  <a:extLst>
                    <a:ext uri="{FF2B5EF4-FFF2-40B4-BE49-F238E27FC236}">
                      <a16:creationId xmlns:a16="http://schemas.microsoft.com/office/drawing/2014/main" id="{547E35CC-9A68-4898-9AEF-8486BB737DB5}"/>
                    </a:ext>
                  </a:extLst>
                </p:cNvPr>
                <p:cNvSpPr/>
                <p:nvPr/>
              </p:nvSpPr>
              <p:spPr>
                <a:xfrm>
                  <a:off x="5786846" y="5171749"/>
                  <a:ext cx="1674" cy="1973"/>
                </a:xfrm>
                <a:custGeom>
                  <a:avLst/>
                  <a:gdLst>
                    <a:gd name="connsiteX0" fmla="*/ 0 w 1674"/>
                    <a:gd name="connsiteY0" fmla="*/ 1914 h 1973"/>
                    <a:gd name="connsiteX1" fmla="*/ 179 w 1674"/>
                    <a:gd name="connsiteY1" fmla="*/ 1973 h 1973"/>
                    <a:gd name="connsiteX2" fmla="*/ 419 w 1674"/>
                    <a:gd name="connsiteY2" fmla="*/ 1914 h 1973"/>
                    <a:gd name="connsiteX3" fmla="*/ 658 w 1674"/>
                    <a:gd name="connsiteY3" fmla="*/ 1734 h 1973"/>
                    <a:gd name="connsiteX4" fmla="*/ 897 w 1674"/>
                    <a:gd name="connsiteY4" fmla="*/ 1495 h 1973"/>
                    <a:gd name="connsiteX5" fmla="*/ 1136 w 1674"/>
                    <a:gd name="connsiteY5" fmla="*/ 1196 h 1973"/>
                    <a:gd name="connsiteX6" fmla="*/ 1375 w 1674"/>
                    <a:gd name="connsiteY6" fmla="*/ 837 h 1973"/>
                    <a:gd name="connsiteX7" fmla="*/ 1555 w 1674"/>
                    <a:gd name="connsiteY7" fmla="*/ 418 h 1973"/>
                    <a:gd name="connsiteX8" fmla="*/ 1674 w 1674"/>
                    <a:gd name="connsiteY8" fmla="*/ 0 h 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4" h="1973">
                      <a:moveTo>
                        <a:pt x="0" y="1914"/>
                      </a:moveTo>
                      <a:lnTo>
                        <a:pt x="179" y="1973"/>
                      </a:lnTo>
                      <a:lnTo>
                        <a:pt x="419" y="1914"/>
                      </a:lnTo>
                      <a:lnTo>
                        <a:pt x="658" y="1734"/>
                      </a:lnTo>
                      <a:lnTo>
                        <a:pt x="897" y="1495"/>
                      </a:lnTo>
                      <a:lnTo>
                        <a:pt x="1136" y="1196"/>
                      </a:lnTo>
                      <a:lnTo>
                        <a:pt x="1375" y="837"/>
                      </a:lnTo>
                      <a:lnTo>
                        <a:pt x="1555" y="418"/>
                      </a:lnTo>
                      <a:lnTo>
                        <a:pt x="1674" y="0"/>
                      </a:lnTo>
                    </a:path>
                  </a:pathLst>
                </a:custGeom>
                <a:noFill/>
                <a:ln w="6350" cap="flat">
                  <a:solidFill>
                    <a:schemeClr val="bg1">
                      <a:alpha val="80000"/>
                    </a:schemeClr>
                  </a:solidFill>
                  <a:prstDash val="solid"/>
                  <a:miter/>
                </a:ln>
              </p:spPr>
              <p:txBody>
                <a:bodyPr rtlCol="0" anchor="ctr"/>
                <a:lstStyle/>
                <a:p>
                  <a:endParaRPr lang="en-GB"/>
                </a:p>
              </p:txBody>
            </p:sp>
            <p:sp>
              <p:nvSpPr>
                <p:cNvPr id="7746" name="Vrije vorm: vorm 7745">
                  <a:extLst>
                    <a:ext uri="{FF2B5EF4-FFF2-40B4-BE49-F238E27FC236}">
                      <a16:creationId xmlns:a16="http://schemas.microsoft.com/office/drawing/2014/main" id="{BC561CF4-E676-4D7D-9032-4193E1FA039C}"/>
                    </a:ext>
                  </a:extLst>
                </p:cNvPr>
                <p:cNvSpPr/>
                <p:nvPr/>
              </p:nvSpPr>
              <p:spPr>
                <a:xfrm>
                  <a:off x="5785590" y="5196809"/>
                  <a:ext cx="2571" cy="1195"/>
                </a:xfrm>
                <a:custGeom>
                  <a:avLst/>
                  <a:gdLst>
                    <a:gd name="connsiteX0" fmla="*/ 2572 w 2571"/>
                    <a:gd name="connsiteY0" fmla="*/ 1196 h 1195"/>
                    <a:gd name="connsiteX1" fmla="*/ 2572 w 2571"/>
                    <a:gd name="connsiteY1" fmla="*/ 1196 h 1195"/>
                    <a:gd name="connsiteX2" fmla="*/ 2333 w 2571"/>
                    <a:gd name="connsiteY2" fmla="*/ 1076 h 1195"/>
                    <a:gd name="connsiteX3" fmla="*/ 1735 w 2571"/>
                    <a:gd name="connsiteY3" fmla="*/ 837 h 1195"/>
                    <a:gd name="connsiteX4" fmla="*/ 1555 w 2571"/>
                    <a:gd name="connsiteY4" fmla="*/ 718 h 1195"/>
                    <a:gd name="connsiteX5" fmla="*/ 1376 w 2571"/>
                    <a:gd name="connsiteY5" fmla="*/ 658 h 1195"/>
                    <a:gd name="connsiteX6" fmla="*/ 1017 w 2571"/>
                    <a:gd name="connsiteY6" fmla="*/ 478 h 1195"/>
                    <a:gd name="connsiteX7" fmla="*/ 1017 w 2571"/>
                    <a:gd name="connsiteY7" fmla="*/ 478 h 1195"/>
                    <a:gd name="connsiteX8" fmla="*/ 778 w 2571"/>
                    <a:gd name="connsiteY8" fmla="*/ 359 h 1195"/>
                    <a:gd name="connsiteX9" fmla="*/ 0 w 2571"/>
                    <a:gd name="connsiteY9" fmla="*/ 0 h 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1" h="1195">
                      <a:moveTo>
                        <a:pt x="2572" y="1196"/>
                      </a:moveTo>
                      <a:lnTo>
                        <a:pt x="2572" y="1196"/>
                      </a:lnTo>
                      <a:lnTo>
                        <a:pt x="2333" y="1076"/>
                      </a:lnTo>
                      <a:lnTo>
                        <a:pt x="1735" y="837"/>
                      </a:lnTo>
                      <a:lnTo>
                        <a:pt x="1555" y="718"/>
                      </a:lnTo>
                      <a:lnTo>
                        <a:pt x="1376" y="658"/>
                      </a:lnTo>
                      <a:lnTo>
                        <a:pt x="1017" y="478"/>
                      </a:lnTo>
                      <a:lnTo>
                        <a:pt x="1017" y="478"/>
                      </a:lnTo>
                      <a:lnTo>
                        <a:pt x="778" y="35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47" name="Vrije vorm: vorm 7746">
                  <a:extLst>
                    <a:ext uri="{FF2B5EF4-FFF2-40B4-BE49-F238E27FC236}">
                      <a16:creationId xmlns:a16="http://schemas.microsoft.com/office/drawing/2014/main" id="{E3291ECF-7602-4EC9-ABB5-A82A7D4EBE8C}"/>
                    </a:ext>
                  </a:extLst>
                </p:cNvPr>
                <p:cNvSpPr/>
                <p:nvPr/>
              </p:nvSpPr>
              <p:spPr>
                <a:xfrm>
                  <a:off x="5784574" y="5179763"/>
                  <a:ext cx="2152" cy="4605"/>
                </a:xfrm>
                <a:custGeom>
                  <a:avLst/>
                  <a:gdLst>
                    <a:gd name="connsiteX0" fmla="*/ 2153 w 2152"/>
                    <a:gd name="connsiteY0" fmla="*/ 0 h 4605"/>
                    <a:gd name="connsiteX1" fmla="*/ 2153 w 2152"/>
                    <a:gd name="connsiteY1" fmla="*/ 299 h 4605"/>
                    <a:gd name="connsiteX2" fmla="*/ 2153 w 2152"/>
                    <a:gd name="connsiteY2" fmla="*/ 598 h 4605"/>
                    <a:gd name="connsiteX3" fmla="*/ 2034 w 2152"/>
                    <a:gd name="connsiteY3" fmla="*/ 1256 h 4605"/>
                    <a:gd name="connsiteX4" fmla="*/ 1914 w 2152"/>
                    <a:gd name="connsiteY4" fmla="*/ 1615 h 4605"/>
                    <a:gd name="connsiteX5" fmla="*/ 1794 w 2152"/>
                    <a:gd name="connsiteY5" fmla="*/ 1974 h 4605"/>
                    <a:gd name="connsiteX6" fmla="*/ 1495 w 2152"/>
                    <a:gd name="connsiteY6" fmla="*/ 2691 h 4605"/>
                    <a:gd name="connsiteX7" fmla="*/ 1316 w 2152"/>
                    <a:gd name="connsiteY7" fmla="*/ 2990 h 4605"/>
                    <a:gd name="connsiteX8" fmla="*/ 1136 w 2152"/>
                    <a:gd name="connsiteY8" fmla="*/ 3349 h 4605"/>
                    <a:gd name="connsiteX9" fmla="*/ 718 w 2152"/>
                    <a:gd name="connsiteY9" fmla="*/ 3947 h 4605"/>
                    <a:gd name="connsiteX10" fmla="*/ 239 w 2152"/>
                    <a:gd name="connsiteY10" fmla="*/ 4426 h 4605"/>
                    <a:gd name="connsiteX11" fmla="*/ 0 w 2152"/>
                    <a:gd name="connsiteY11" fmla="*/ 4605 h 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52" h="4605">
                      <a:moveTo>
                        <a:pt x="2153" y="0"/>
                      </a:moveTo>
                      <a:lnTo>
                        <a:pt x="2153" y="299"/>
                      </a:lnTo>
                      <a:lnTo>
                        <a:pt x="2153" y="598"/>
                      </a:lnTo>
                      <a:lnTo>
                        <a:pt x="2034" y="1256"/>
                      </a:lnTo>
                      <a:lnTo>
                        <a:pt x="1914" y="1615"/>
                      </a:lnTo>
                      <a:lnTo>
                        <a:pt x="1794" y="1974"/>
                      </a:lnTo>
                      <a:lnTo>
                        <a:pt x="1495" y="2691"/>
                      </a:lnTo>
                      <a:lnTo>
                        <a:pt x="1316" y="2990"/>
                      </a:lnTo>
                      <a:lnTo>
                        <a:pt x="1136" y="3349"/>
                      </a:lnTo>
                      <a:lnTo>
                        <a:pt x="718" y="3947"/>
                      </a:lnTo>
                      <a:lnTo>
                        <a:pt x="239" y="4426"/>
                      </a:lnTo>
                      <a:lnTo>
                        <a:pt x="0" y="4605"/>
                      </a:lnTo>
                    </a:path>
                  </a:pathLst>
                </a:custGeom>
                <a:noFill/>
                <a:ln w="6350" cap="flat">
                  <a:solidFill>
                    <a:schemeClr val="bg1">
                      <a:alpha val="80000"/>
                    </a:schemeClr>
                  </a:solidFill>
                  <a:prstDash val="solid"/>
                  <a:miter/>
                </a:ln>
              </p:spPr>
              <p:txBody>
                <a:bodyPr rtlCol="0" anchor="ctr"/>
                <a:lstStyle/>
                <a:p>
                  <a:endParaRPr lang="en-GB"/>
                </a:p>
              </p:txBody>
            </p:sp>
            <p:sp>
              <p:nvSpPr>
                <p:cNvPr id="7748" name="Vrije vorm: vorm 7747">
                  <a:extLst>
                    <a:ext uri="{FF2B5EF4-FFF2-40B4-BE49-F238E27FC236}">
                      <a16:creationId xmlns:a16="http://schemas.microsoft.com/office/drawing/2014/main" id="{635E4BF9-00CE-4FF7-893A-D52C5393EFDD}"/>
                    </a:ext>
                  </a:extLst>
                </p:cNvPr>
                <p:cNvSpPr/>
                <p:nvPr/>
              </p:nvSpPr>
              <p:spPr>
                <a:xfrm>
                  <a:off x="5806643" y="5353443"/>
                  <a:ext cx="3468" cy="6040"/>
                </a:xfrm>
                <a:custGeom>
                  <a:avLst/>
                  <a:gdLst>
                    <a:gd name="connsiteX0" fmla="*/ 3469 w 3468"/>
                    <a:gd name="connsiteY0" fmla="*/ 0 h 6040"/>
                    <a:gd name="connsiteX1" fmla="*/ 3469 w 3468"/>
                    <a:gd name="connsiteY1" fmla="*/ 538 h 6040"/>
                    <a:gd name="connsiteX2" fmla="*/ 3289 w 3468"/>
                    <a:gd name="connsiteY2" fmla="*/ 1256 h 6040"/>
                    <a:gd name="connsiteX3" fmla="*/ 2990 w 3468"/>
                    <a:gd name="connsiteY3" fmla="*/ 2093 h 6040"/>
                    <a:gd name="connsiteX4" fmla="*/ 2572 w 3468"/>
                    <a:gd name="connsiteY4" fmla="*/ 2990 h 6040"/>
                    <a:gd name="connsiteX5" fmla="*/ 2093 w 3468"/>
                    <a:gd name="connsiteY5" fmla="*/ 3828 h 6040"/>
                    <a:gd name="connsiteX6" fmla="*/ 1555 w 3468"/>
                    <a:gd name="connsiteY6" fmla="*/ 4605 h 6040"/>
                    <a:gd name="connsiteX7" fmla="*/ 1017 w 3468"/>
                    <a:gd name="connsiteY7" fmla="*/ 5263 h 6040"/>
                    <a:gd name="connsiteX8" fmla="*/ 479 w 3468"/>
                    <a:gd name="connsiteY8" fmla="*/ 5742 h 6040"/>
                    <a:gd name="connsiteX9" fmla="*/ 0 w 3468"/>
                    <a:gd name="connsiteY9" fmla="*/ 6041 h 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8" h="6040">
                      <a:moveTo>
                        <a:pt x="3469" y="0"/>
                      </a:moveTo>
                      <a:lnTo>
                        <a:pt x="3469" y="538"/>
                      </a:lnTo>
                      <a:lnTo>
                        <a:pt x="3289" y="1256"/>
                      </a:lnTo>
                      <a:lnTo>
                        <a:pt x="2990" y="2093"/>
                      </a:lnTo>
                      <a:lnTo>
                        <a:pt x="2572" y="2990"/>
                      </a:lnTo>
                      <a:lnTo>
                        <a:pt x="2093" y="3828"/>
                      </a:lnTo>
                      <a:lnTo>
                        <a:pt x="1555" y="4605"/>
                      </a:lnTo>
                      <a:lnTo>
                        <a:pt x="1017" y="5263"/>
                      </a:lnTo>
                      <a:lnTo>
                        <a:pt x="479" y="5742"/>
                      </a:lnTo>
                      <a:lnTo>
                        <a:pt x="0" y="6041"/>
                      </a:lnTo>
                    </a:path>
                  </a:pathLst>
                </a:custGeom>
                <a:noFill/>
                <a:ln w="6350" cap="flat">
                  <a:solidFill>
                    <a:schemeClr val="bg1">
                      <a:alpha val="80000"/>
                    </a:schemeClr>
                  </a:solidFill>
                  <a:prstDash val="solid"/>
                  <a:miter/>
                </a:ln>
              </p:spPr>
              <p:txBody>
                <a:bodyPr rtlCol="0" anchor="ctr"/>
                <a:lstStyle/>
                <a:p>
                  <a:endParaRPr lang="en-GB"/>
                </a:p>
              </p:txBody>
            </p:sp>
            <p:sp>
              <p:nvSpPr>
                <p:cNvPr id="7749" name="Vrije vorm: vorm 7748">
                  <a:extLst>
                    <a:ext uri="{FF2B5EF4-FFF2-40B4-BE49-F238E27FC236}">
                      <a16:creationId xmlns:a16="http://schemas.microsoft.com/office/drawing/2014/main" id="{1E54DD5F-6A94-48CA-8A48-9F2AA8168CA3}"/>
                    </a:ext>
                  </a:extLst>
                </p:cNvPr>
                <p:cNvSpPr/>
                <p:nvPr/>
              </p:nvSpPr>
              <p:spPr>
                <a:xfrm>
                  <a:off x="5806762" y="5353324"/>
                  <a:ext cx="4006" cy="6518"/>
                </a:xfrm>
                <a:custGeom>
                  <a:avLst/>
                  <a:gdLst>
                    <a:gd name="connsiteX0" fmla="*/ 4007 w 4006"/>
                    <a:gd name="connsiteY0" fmla="*/ 179 h 6518"/>
                    <a:gd name="connsiteX1" fmla="*/ 3768 w 4006"/>
                    <a:gd name="connsiteY1" fmla="*/ 0 h 6518"/>
                    <a:gd name="connsiteX2" fmla="*/ 3409 w 4006"/>
                    <a:gd name="connsiteY2" fmla="*/ 60 h 6518"/>
                    <a:gd name="connsiteX3" fmla="*/ 3409 w 4006"/>
                    <a:gd name="connsiteY3" fmla="*/ 60 h 6518"/>
                    <a:gd name="connsiteX4" fmla="*/ 2990 w 4006"/>
                    <a:gd name="connsiteY4" fmla="*/ 359 h 6518"/>
                    <a:gd name="connsiteX5" fmla="*/ 2452 w 4006"/>
                    <a:gd name="connsiteY5" fmla="*/ 837 h 6518"/>
                    <a:gd name="connsiteX6" fmla="*/ 1914 w 4006"/>
                    <a:gd name="connsiteY6" fmla="*/ 1495 h 6518"/>
                    <a:gd name="connsiteX7" fmla="*/ 1375 w 4006"/>
                    <a:gd name="connsiteY7" fmla="*/ 2273 h 6518"/>
                    <a:gd name="connsiteX8" fmla="*/ 897 w 4006"/>
                    <a:gd name="connsiteY8" fmla="*/ 3110 h 6518"/>
                    <a:gd name="connsiteX9" fmla="*/ 478 w 4006"/>
                    <a:gd name="connsiteY9" fmla="*/ 4007 h 6518"/>
                    <a:gd name="connsiteX10" fmla="*/ 179 w 4006"/>
                    <a:gd name="connsiteY10" fmla="*/ 4844 h 6518"/>
                    <a:gd name="connsiteX11" fmla="*/ 0 w 4006"/>
                    <a:gd name="connsiteY11" fmla="*/ 5562 h 6518"/>
                    <a:gd name="connsiteX12" fmla="*/ 0 w 4006"/>
                    <a:gd name="connsiteY12" fmla="*/ 6100 h 6518"/>
                    <a:gd name="connsiteX13" fmla="*/ 0 w 4006"/>
                    <a:gd name="connsiteY13" fmla="*/ 6160 h 6518"/>
                    <a:gd name="connsiteX14" fmla="*/ 119 w 4006"/>
                    <a:gd name="connsiteY14" fmla="*/ 6519 h 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06" h="6518">
                      <a:moveTo>
                        <a:pt x="4007" y="179"/>
                      </a:moveTo>
                      <a:lnTo>
                        <a:pt x="3768" y="0"/>
                      </a:lnTo>
                      <a:lnTo>
                        <a:pt x="3409" y="60"/>
                      </a:lnTo>
                      <a:lnTo>
                        <a:pt x="3409" y="60"/>
                      </a:lnTo>
                      <a:lnTo>
                        <a:pt x="2990" y="359"/>
                      </a:lnTo>
                      <a:lnTo>
                        <a:pt x="2452" y="837"/>
                      </a:lnTo>
                      <a:lnTo>
                        <a:pt x="1914" y="1495"/>
                      </a:lnTo>
                      <a:lnTo>
                        <a:pt x="1375" y="2273"/>
                      </a:lnTo>
                      <a:lnTo>
                        <a:pt x="897" y="3110"/>
                      </a:lnTo>
                      <a:lnTo>
                        <a:pt x="478" y="4007"/>
                      </a:lnTo>
                      <a:lnTo>
                        <a:pt x="179" y="4844"/>
                      </a:lnTo>
                      <a:lnTo>
                        <a:pt x="0" y="5562"/>
                      </a:lnTo>
                      <a:lnTo>
                        <a:pt x="0" y="6100"/>
                      </a:lnTo>
                      <a:lnTo>
                        <a:pt x="0" y="6160"/>
                      </a:lnTo>
                      <a:lnTo>
                        <a:pt x="119" y="6519"/>
                      </a:lnTo>
                    </a:path>
                  </a:pathLst>
                </a:custGeom>
                <a:noFill/>
                <a:ln w="6350" cap="flat">
                  <a:solidFill>
                    <a:schemeClr val="bg1">
                      <a:alpha val="80000"/>
                    </a:schemeClr>
                  </a:solidFill>
                  <a:prstDash val="solid"/>
                  <a:miter/>
                </a:ln>
              </p:spPr>
              <p:txBody>
                <a:bodyPr rtlCol="0" anchor="ctr"/>
                <a:lstStyle/>
                <a:p>
                  <a:endParaRPr lang="en-GB"/>
                </a:p>
              </p:txBody>
            </p:sp>
            <p:sp>
              <p:nvSpPr>
                <p:cNvPr id="7750" name="Vrije vorm: vorm 7749">
                  <a:extLst>
                    <a:ext uri="{FF2B5EF4-FFF2-40B4-BE49-F238E27FC236}">
                      <a16:creationId xmlns:a16="http://schemas.microsoft.com/office/drawing/2014/main" id="{5E0924B3-9CD3-42B5-94EB-1CEA19208CF7}"/>
                    </a:ext>
                  </a:extLst>
                </p:cNvPr>
                <p:cNvSpPr/>
                <p:nvPr/>
              </p:nvSpPr>
              <p:spPr>
                <a:xfrm>
                  <a:off x="5806822" y="5353503"/>
                  <a:ext cx="4067" cy="6519"/>
                </a:xfrm>
                <a:custGeom>
                  <a:avLst/>
                  <a:gdLst>
                    <a:gd name="connsiteX0" fmla="*/ 3947 w 4067"/>
                    <a:gd name="connsiteY0" fmla="*/ 0 h 6519"/>
                    <a:gd name="connsiteX1" fmla="*/ 4067 w 4067"/>
                    <a:gd name="connsiteY1" fmla="*/ 359 h 6519"/>
                    <a:gd name="connsiteX2" fmla="*/ 4067 w 4067"/>
                    <a:gd name="connsiteY2" fmla="*/ 957 h 6519"/>
                    <a:gd name="connsiteX3" fmla="*/ 3888 w 4067"/>
                    <a:gd name="connsiteY3" fmla="*/ 1675 h 6519"/>
                    <a:gd name="connsiteX4" fmla="*/ 3589 w 4067"/>
                    <a:gd name="connsiteY4" fmla="*/ 2512 h 6519"/>
                    <a:gd name="connsiteX5" fmla="*/ 3170 w 4067"/>
                    <a:gd name="connsiteY5" fmla="*/ 3409 h 6519"/>
                    <a:gd name="connsiteX6" fmla="*/ 2691 w 4067"/>
                    <a:gd name="connsiteY6" fmla="*/ 4246 h 6519"/>
                    <a:gd name="connsiteX7" fmla="*/ 2153 w 4067"/>
                    <a:gd name="connsiteY7" fmla="*/ 5024 h 6519"/>
                    <a:gd name="connsiteX8" fmla="*/ 1615 w 4067"/>
                    <a:gd name="connsiteY8" fmla="*/ 5682 h 6519"/>
                    <a:gd name="connsiteX9" fmla="*/ 1077 w 4067"/>
                    <a:gd name="connsiteY9" fmla="*/ 6160 h 6519"/>
                    <a:gd name="connsiteX10" fmla="*/ 598 w 4067"/>
                    <a:gd name="connsiteY10" fmla="*/ 6459 h 6519"/>
                    <a:gd name="connsiteX11" fmla="*/ 239 w 4067"/>
                    <a:gd name="connsiteY11" fmla="*/ 6519 h 6519"/>
                    <a:gd name="connsiteX12" fmla="*/ 0 w 4067"/>
                    <a:gd name="connsiteY12" fmla="*/ 6340 h 6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7" h="6519">
                      <a:moveTo>
                        <a:pt x="3947" y="0"/>
                      </a:moveTo>
                      <a:lnTo>
                        <a:pt x="4067" y="359"/>
                      </a:lnTo>
                      <a:lnTo>
                        <a:pt x="4067" y="957"/>
                      </a:lnTo>
                      <a:lnTo>
                        <a:pt x="3888" y="1675"/>
                      </a:lnTo>
                      <a:lnTo>
                        <a:pt x="3589" y="2512"/>
                      </a:lnTo>
                      <a:lnTo>
                        <a:pt x="3170" y="3409"/>
                      </a:lnTo>
                      <a:lnTo>
                        <a:pt x="2691" y="4246"/>
                      </a:lnTo>
                      <a:lnTo>
                        <a:pt x="2153" y="5024"/>
                      </a:lnTo>
                      <a:lnTo>
                        <a:pt x="1615" y="5682"/>
                      </a:lnTo>
                      <a:lnTo>
                        <a:pt x="1077" y="6160"/>
                      </a:lnTo>
                      <a:lnTo>
                        <a:pt x="598" y="6459"/>
                      </a:lnTo>
                      <a:lnTo>
                        <a:pt x="239" y="6519"/>
                      </a:lnTo>
                      <a:lnTo>
                        <a:pt x="0" y="6340"/>
                      </a:lnTo>
                    </a:path>
                  </a:pathLst>
                </a:custGeom>
                <a:noFill/>
                <a:ln w="6350" cap="flat">
                  <a:solidFill>
                    <a:schemeClr val="bg1">
                      <a:alpha val="80000"/>
                    </a:schemeClr>
                  </a:solidFill>
                  <a:prstDash val="solid"/>
                  <a:miter/>
                </a:ln>
              </p:spPr>
              <p:txBody>
                <a:bodyPr rtlCol="0" anchor="ctr"/>
                <a:lstStyle/>
                <a:p>
                  <a:endParaRPr lang="en-GB"/>
                </a:p>
              </p:txBody>
            </p:sp>
            <p:sp>
              <p:nvSpPr>
                <p:cNvPr id="7751" name="Vrije vorm: vorm 7750">
                  <a:extLst>
                    <a:ext uri="{FF2B5EF4-FFF2-40B4-BE49-F238E27FC236}">
                      <a16:creationId xmlns:a16="http://schemas.microsoft.com/office/drawing/2014/main" id="{97112A53-A950-4A64-996B-F40DD2B2DD04}"/>
                    </a:ext>
                  </a:extLst>
                </p:cNvPr>
                <p:cNvSpPr/>
                <p:nvPr/>
              </p:nvSpPr>
              <p:spPr>
                <a:xfrm>
                  <a:off x="5740556" y="5196390"/>
                  <a:ext cx="5322" cy="4305"/>
                </a:xfrm>
                <a:custGeom>
                  <a:avLst/>
                  <a:gdLst>
                    <a:gd name="connsiteX0" fmla="*/ 5323 w 5322"/>
                    <a:gd name="connsiteY0" fmla="*/ 4306 h 4305"/>
                    <a:gd name="connsiteX1" fmla="*/ 2990 w 5322"/>
                    <a:gd name="connsiteY1" fmla="*/ 3170 h 4305"/>
                    <a:gd name="connsiteX2" fmla="*/ 957 w 5322"/>
                    <a:gd name="connsiteY2" fmla="*/ 1196 h 4305"/>
                    <a:gd name="connsiteX3" fmla="*/ 658 w 5322"/>
                    <a:gd name="connsiteY3" fmla="*/ 897 h 4305"/>
                    <a:gd name="connsiteX4" fmla="*/ 179 w 5322"/>
                    <a:gd name="connsiteY4" fmla="*/ 419 h 4305"/>
                    <a:gd name="connsiteX5" fmla="*/ 60 w 5322"/>
                    <a:gd name="connsiteY5" fmla="*/ 119 h 4305"/>
                    <a:gd name="connsiteX6" fmla="*/ 0 w 5322"/>
                    <a:gd name="connsiteY6" fmla="*/ 0 h 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22" h="4305">
                      <a:moveTo>
                        <a:pt x="5323" y="4306"/>
                      </a:moveTo>
                      <a:lnTo>
                        <a:pt x="2990" y="3170"/>
                      </a:lnTo>
                      <a:lnTo>
                        <a:pt x="957" y="1196"/>
                      </a:lnTo>
                      <a:lnTo>
                        <a:pt x="658" y="897"/>
                      </a:lnTo>
                      <a:lnTo>
                        <a:pt x="179" y="419"/>
                      </a:lnTo>
                      <a:lnTo>
                        <a:pt x="60" y="11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52" name="Vrije vorm: vorm 7751">
                  <a:extLst>
                    <a:ext uri="{FF2B5EF4-FFF2-40B4-BE49-F238E27FC236}">
                      <a16:creationId xmlns:a16="http://schemas.microsoft.com/office/drawing/2014/main" id="{87A0E52E-7B67-41BF-AAE9-909E1093C3D3}"/>
                    </a:ext>
                  </a:extLst>
                </p:cNvPr>
                <p:cNvSpPr/>
                <p:nvPr/>
              </p:nvSpPr>
              <p:spPr>
                <a:xfrm>
                  <a:off x="5769802" y="5139453"/>
                  <a:ext cx="4066" cy="1435"/>
                </a:xfrm>
                <a:custGeom>
                  <a:avLst/>
                  <a:gdLst>
                    <a:gd name="connsiteX0" fmla="*/ 0 w 4066"/>
                    <a:gd name="connsiteY0" fmla="*/ 0 h 1435"/>
                    <a:gd name="connsiteX1" fmla="*/ 1794 w 4066"/>
                    <a:gd name="connsiteY1" fmla="*/ 598 h 1435"/>
                    <a:gd name="connsiteX2" fmla="*/ 2871 w 4066"/>
                    <a:gd name="connsiteY2" fmla="*/ 1017 h 1435"/>
                    <a:gd name="connsiteX3" fmla="*/ 3708 w 4066"/>
                    <a:gd name="connsiteY3" fmla="*/ 1316 h 1435"/>
                    <a:gd name="connsiteX4" fmla="*/ 4067 w 4066"/>
                    <a:gd name="connsiteY4" fmla="*/ 1435 h 1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1435">
                      <a:moveTo>
                        <a:pt x="0" y="0"/>
                      </a:moveTo>
                      <a:lnTo>
                        <a:pt x="1794" y="598"/>
                      </a:lnTo>
                      <a:lnTo>
                        <a:pt x="2871" y="1017"/>
                      </a:lnTo>
                      <a:lnTo>
                        <a:pt x="3708" y="1316"/>
                      </a:lnTo>
                      <a:lnTo>
                        <a:pt x="4067" y="1435"/>
                      </a:lnTo>
                    </a:path>
                  </a:pathLst>
                </a:custGeom>
                <a:noFill/>
                <a:ln w="6350" cap="flat">
                  <a:solidFill>
                    <a:schemeClr val="bg1">
                      <a:alpha val="80000"/>
                    </a:schemeClr>
                  </a:solidFill>
                  <a:prstDash val="solid"/>
                  <a:miter/>
                </a:ln>
              </p:spPr>
              <p:txBody>
                <a:bodyPr rtlCol="0" anchor="ctr"/>
                <a:lstStyle/>
                <a:p>
                  <a:endParaRPr lang="en-GB"/>
                </a:p>
              </p:txBody>
            </p:sp>
            <p:sp>
              <p:nvSpPr>
                <p:cNvPr id="7753" name="Vrije vorm: vorm 7752">
                  <a:extLst>
                    <a:ext uri="{FF2B5EF4-FFF2-40B4-BE49-F238E27FC236}">
                      <a16:creationId xmlns:a16="http://schemas.microsoft.com/office/drawing/2014/main" id="{918AD801-A9FB-404C-BA3F-1260C71B92A8}"/>
                    </a:ext>
                  </a:extLst>
                </p:cNvPr>
                <p:cNvSpPr/>
                <p:nvPr/>
              </p:nvSpPr>
              <p:spPr>
                <a:xfrm>
                  <a:off x="5809693" y="5176653"/>
                  <a:ext cx="35286" cy="39293"/>
                </a:xfrm>
                <a:custGeom>
                  <a:avLst/>
                  <a:gdLst>
                    <a:gd name="connsiteX0" fmla="*/ 35286 w 35286"/>
                    <a:gd name="connsiteY0" fmla="*/ 0 h 39293"/>
                    <a:gd name="connsiteX1" fmla="*/ 34808 w 35286"/>
                    <a:gd name="connsiteY1" fmla="*/ 2273 h 39293"/>
                    <a:gd name="connsiteX2" fmla="*/ 33193 w 35286"/>
                    <a:gd name="connsiteY2" fmla="*/ 5861 h 39293"/>
                    <a:gd name="connsiteX3" fmla="*/ 31578 w 35286"/>
                    <a:gd name="connsiteY3" fmla="*/ 9450 h 39293"/>
                    <a:gd name="connsiteX4" fmla="*/ 30621 w 35286"/>
                    <a:gd name="connsiteY4" fmla="*/ 11603 h 39293"/>
                    <a:gd name="connsiteX5" fmla="*/ 28408 w 35286"/>
                    <a:gd name="connsiteY5" fmla="*/ 14892 h 39293"/>
                    <a:gd name="connsiteX6" fmla="*/ 26196 w 35286"/>
                    <a:gd name="connsiteY6" fmla="*/ 18182 h 39293"/>
                    <a:gd name="connsiteX7" fmla="*/ 24521 w 35286"/>
                    <a:gd name="connsiteY7" fmla="*/ 20693 h 39293"/>
                    <a:gd name="connsiteX8" fmla="*/ 21889 w 35286"/>
                    <a:gd name="connsiteY8" fmla="*/ 23445 h 39293"/>
                    <a:gd name="connsiteX9" fmla="*/ 19258 w 35286"/>
                    <a:gd name="connsiteY9" fmla="*/ 26196 h 39293"/>
                    <a:gd name="connsiteX10" fmla="*/ 16926 w 35286"/>
                    <a:gd name="connsiteY10" fmla="*/ 28648 h 39293"/>
                    <a:gd name="connsiteX11" fmla="*/ 14055 w 35286"/>
                    <a:gd name="connsiteY11" fmla="*/ 30861 h 39293"/>
                    <a:gd name="connsiteX12" fmla="*/ 11603 w 35286"/>
                    <a:gd name="connsiteY12" fmla="*/ 32715 h 39293"/>
                    <a:gd name="connsiteX13" fmla="*/ 8732 w 35286"/>
                    <a:gd name="connsiteY13" fmla="*/ 34928 h 39293"/>
                    <a:gd name="connsiteX14" fmla="*/ 8552 w 35286"/>
                    <a:gd name="connsiteY14" fmla="*/ 35107 h 39293"/>
                    <a:gd name="connsiteX15" fmla="*/ 5502 w 35286"/>
                    <a:gd name="connsiteY15" fmla="*/ 36602 h 39293"/>
                    <a:gd name="connsiteX16" fmla="*/ 4187 w 35286"/>
                    <a:gd name="connsiteY16" fmla="*/ 37260 h 39293"/>
                    <a:gd name="connsiteX17" fmla="*/ 1136 w 35286"/>
                    <a:gd name="connsiteY17" fmla="*/ 38755 h 39293"/>
                    <a:gd name="connsiteX18" fmla="*/ 0 w 35286"/>
                    <a:gd name="connsiteY18" fmla="*/ 39293 h 3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286" h="39293">
                      <a:moveTo>
                        <a:pt x="35286" y="0"/>
                      </a:moveTo>
                      <a:lnTo>
                        <a:pt x="34808" y="2273"/>
                      </a:lnTo>
                      <a:lnTo>
                        <a:pt x="33193" y="5861"/>
                      </a:lnTo>
                      <a:lnTo>
                        <a:pt x="31578" y="9450"/>
                      </a:lnTo>
                      <a:lnTo>
                        <a:pt x="30621" y="11603"/>
                      </a:lnTo>
                      <a:lnTo>
                        <a:pt x="28408" y="14892"/>
                      </a:lnTo>
                      <a:lnTo>
                        <a:pt x="26196" y="18182"/>
                      </a:lnTo>
                      <a:lnTo>
                        <a:pt x="24521" y="20693"/>
                      </a:lnTo>
                      <a:lnTo>
                        <a:pt x="21889" y="23445"/>
                      </a:lnTo>
                      <a:lnTo>
                        <a:pt x="19258" y="26196"/>
                      </a:lnTo>
                      <a:lnTo>
                        <a:pt x="16926" y="28648"/>
                      </a:lnTo>
                      <a:lnTo>
                        <a:pt x="14055" y="30861"/>
                      </a:lnTo>
                      <a:lnTo>
                        <a:pt x="11603" y="32715"/>
                      </a:lnTo>
                      <a:lnTo>
                        <a:pt x="8732" y="34928"/>
                      </a:lnTo>
                      <a:lnTo>
                        <a:pt x="8552" y="35107"/>
                      </a:lnTo>
                      <a:lnTo>
                        <a:pt x="5502" y="36602"/>
                      </a:lnTo>
                      <a:lnTo>
                        <a:pt x="4187" y="37260"/>
                      </a:lnTo>
                      <a:lnTo>
                        <a:pt x="1136" y="38755"/>
                      </a:lnTo>
                      <a:lnTo>
                        <a:pt x="0" y="39293"/>
                      </a:lnTo>
                    </a:path>
                  </a:pathLst>
                </a:custGeom>
                <a:noFill/>
                <a:ln w="6350" cap="flat">
                  <a:solidFill>
                    <a:schemeClr val="bg1">
                      <a:alpha val="80000"/>
                    </a:schemeClr>
                  </a:solidFill>
                  <a:prstDash val="solid"/>
                  <a:miter/>
                </a:ln>
              </p:spPr>
              <p:txBody>
                <a:bodyPr rtlCol="0" anchor="ctr"/>
                <a:lstStyle/>
                <a:p>
                  <a:endParaRPr lang="en-GB"/>
                </a:p>
              </p:txBody>
            </p:sp>
            <p:sp>
              <p:nvSpPr>
                <p:cNvPr id="7754" name="Vrije vorm: vorm 7753">
                  <a:extLst>
                    <a:ext uri="{FF2B5EF4-FFF2-40B4-BE49-F238E27FC236}">
                      <a16:creationId xmlns:a16="http://schemas.microsoft.com/office/drawing/2014/main" id="{15B1FE83-E1CB-4878-89DB-C062A4F57C7E}"/>
                    </a:ext>
                  </a:extLst>
                </p:cNvPr>
                <p:cNvSpPr/>
                <p:nvPr/>
              </p:nvSpPr>
              <p:spPr>
                <a:xfrm>
                  <a:off x="5809932" y="5175099"/>
                  <a:ext cx="12619" cy="16566"/>
                </a:xfrm>
                <a:custGeom>
                  <a:avLst/>
                  <a:gdLst>
                    <a:gd name="connsiteX0" fmla="*/ 0 w 12619"/>
                    <a:gd name="connsiteY0" fmla="*/ 16506 h 16566"/>
                    <a:gd name="connsiteX1" fmla="*/ 718 w 12619"/>
                    <a:gd name="connsiteY1" fmla="*/ 16566 h 16566"/>
                    <a:gd name="connsiteX2" fmla="*/ 2871 w 12619"/>
                    <a:gd name="connsiteY2" fmla="*/ 16028 h 16566"/>
                    <a:gd name="connsiteX3" fmla="*/ 5143 w 12619"/>
                    <a:gd name="connsiteY3" fmla="*/ 14892 h 16566"/>
                    <a:gd name="connsiteX4" fmla="*/ 7356 w 12619"/>
                    <a:gd name="connsiteY4" fmla="*/ 13217 h 16566"/>
                    <a:gd name="connsiteX5" fmla="*/ 9330 w 12619"/>
                    <a:gd name="connsiteY5" fmla="*/ 11124 h 16566"/>
                    <a:gd name="connsiteX6" fmla="*/ 10945 w 12619"/>
                    <a:gd name="connsiteY6" fmla="*/ 8791 h 16566"/>
                    <a:gd name="connsiteX7" fmla="*/ 12081 w 12619"/>
                    <a:gd name="connsiteY7" fmla="*/ 6340 h 16566"/>
                    <a:gd name="connsiteX8" fmla="*/ 12619 w 12619"/>
                    <a:gd name="connsiteY8" fmla="*/ 3947 h 16566"/>
                    <a:gd name="connsiteX9" fmla="*/ 12619 w 12619"/>
                    <a:gd name="connsiteY9" fmla="*/ 1794 h 16566"/>
                    <a:gd name="connsiteX10" fmla="*/ 12021 w 12619"/>
                    <a:gd name="connsiteY10" fmla="*/ 0 h 1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19" h="16566">
                      <a:moveTo>
                        <a:pt x="0" y="16506"/>
                      </a:moveTo>
                      <a:lnTo>
                        <a:pt x="718" y="16566"/>
                      </a:lnTo>
                      <a:lnTo>
                        <a:pt x="2871" y="16028"/>
                      </a:lnTo>
                      <a:lnTo>
                        <a:pt x="5143" y="14892"/>
                      </a:lnTo>
                      <a:lnTo>
                        <a:pt x="7356" y="13217"/>
                      </a:lnTo>
                      <a:lnTo>
                        <a:pt x="9330" y="11124"/>
                      </a:lnTo>
                      <a:lnTo>
                        <a:pt x="10945" y="8791"/>
                      </a:lnTo>
                      <a:lnTo>
                        <a:pt x="12081" y="6340"/>
                      </a:lnTo>
                      <a:lnTo>
                        <a:pt x="12619" y="3947"/>
                      </a:lnTo>
                      <a:lnTo>
                        <a:pt x="12619" y="1794"/>
                      </a:lnTo>
                      <a:lnTo>
                        <a:pt x="12021" y="0"/>
                      </a:lnTo>
                    </a:path>
                  </a:pathLst>
                </a:custGeom>
                <a:noFill/>
                <a:ln w="6350" cap="flat">
                  <a:solidFill>
                    <a:schemeClr val="bg1">
                      <a:alpha val="80000"/>
                    </a:schemeClr>
                  </a:solidFill>
                  <a:prstDash val="solid"/>
                  <a:miter/>
                </a:ln>
              </p:spPr>
              <p:txBody>
                <a:bodyPr rtlCol="0" anchor="ctr"/>
                <a:lstStyle/>
                <a:p>
                  <a:endParaRPr lang="en-GB"/>
                </a:p>
              </p:txBody>
            </p:sp>
            <p:sp>
              <p:nvSpPr>
                <p:cNvPr id="7755" name="Vrije vorm: vorm 7754">
                  <a:extLst>
                    <a:ext uri="{FF2B5EF4-FFF2-40B4-BE49-F238E27FC236}">
                      <a16:creationId xmlns:a16="http://schemas.microsoft.com/office/drawing/2014/main" id="{A249E3F7-7480-4346-990C-551A4161FF2F}"/>
                    </a:ext>
                  </a:extLst>
                </p:cNvPr>
                <p:cNvSpPr/>
                <p:nvPr/>
              </p:nvSpPr>
              <p:spPr>
                <a:xfrm>
                  <a:off x="5819202" y="5160625"/>
                  <a:ext cx="13875" cy="3110"/>
                </a:xfrm>
                <a:custGeom>
                  <a:avLst/>
                  <a:gdLst>
                    <a:gd name="connsiteX0" fmla="*/ 0 w 13875"/>
                    <a:gd name="connsiteY0" fmla="*/ 60 h 3110"/>
                    <a:gd name="connsiteX1" fmla="*/ 479 w 13875"/>
                    <a:gd name="connsiteY1" fmla="*/ 0 h 3110"/>
                    <a:gd name="connsiteX2" fmla="*/ 3349 w 13875"/>
                    <a:gd name="connsiteY2" fmla="*/ 180 h 3110"/>
                    <a:gd name="connsiteX3" fmla="*/ 6220 w 13875"/>
                    <a:gd name="connsiteY3" fmla="*/ 359 h 3110"/>
                    <a:gd name="connsiteX4" fmla="*/ 7596 w 13875"/>
                    <a:gd name="connsiteY4" fmla="*/ 479 h 3110"/>
                    <a:gd name="connsiteX5" fmla="*/ 10167 w 13875"/>
                    <a:gd name="connsiteY5" fmla="*/ 1495 h 3110"/>
                    <a:gd name="connsiteX6" fmla="*/ 12739 w 13875"/>
                    <a:gd name="connsiteY6" fmla="*/ 2512 h 3110"/>
                    <a:gd name="connsiteX7" fmla="*/ 13636 w 13875"/>
                    <a:gd name="connsiteY7" fmla="*/ 2871 h 3110"/>
                    <a:gd name="connsiteX8" fmla="*/ 13875 w 13875"/>
                    <a:gd name="connsiteY8" fmla="*/ 3110 h 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5" h="3110">
                      <a:moveTo>
                        <a:pt x="0" y="60"/>
                      </a:moveTo>
                      <a:lnTo>
                        <a:pt x="479" y="0"/>
                      </a:lnTo>
                      <a:lnTo>
                        <a:pt x="3349" y="180"/>
                      </a:lnTo>
                      <a:lnTo>
                        <a:pt x="6220" y="359"/>
                      </a:lnTo>
                      <a:lnTo>
                        <a:pt x="7596" y="479"/>
                      </a:lnTo>
                      <a:lnTo>
                        <a:pt x="10167" y="1495"/>
                      </a:lnTo>
                      <a:lnTo>
                        <a:pt x="12739" y="2512"/>
                      </a:lnTo>
                      <a:lnTo>
                        <a:pt x="13636" y="2871"/>
                      </a:lnTo>
                      <a:lnTo>
                        <a:pt x="13875" y="3110"/>
                      </a:lnTo>
                    </a:path>
                  </a:pathLst>
                </a:custGeom>
                <a:noFill/>
                <a:ln w="6350" cap="flat">
                  <a:solidFill>
                    <a:schemeClr val="bg1">
                      <a:alpha val="80000"/>
                    </a:schemeClr>
                  </a:solidFill>
                  <a:prstDash val="solid"/>
                  <a:miter/>
                </a:ln>
              </p:spPr>
              <p:txBody>
                <a:bodyPr rtlCol="0" anchor="ctr"/>
                <a:lstStyle/>
                <a:p>
                  <a:endParaRPr lang="en-GB"/>
                </a:p>
              </p:txBody>
            </p:sp>
            <p:sp>
              <p:nvSpPr>
                <p:cNvPr id="7756" name="Vrije vorm: vorm 7755">
                  <a:extLst>
                    <a:ext uri="{FF2B5EF4-FFF2-40B4-BE49-F238E27FC236}">
                      <a16:creationId xmlns:a16="http://schemas.microsoft.com/office/drawing/2014/main" id="{098FF193-8ED9-4281-80EE-C79BC40BC617}"/>
                    </a:ext>
                  </a:extLst>
                </p:cNvPr>
                <p:cNvSpPr/>
                <p:nvPr/>
              </p:nvSpPr>
              <p:spPr>
                <a:xfrm>
                  <a:off x="5815674" y="5227789"/>
                  <a:ext cx="49520" cy="48323"/>
                </a:xfrm>
                <a:custGeom>
                  <a:avLst/>
                  <a:gdLst>
                    <a:gd name="connsiteX0" fmla="*/ 49221 w 49520"/>
                    <a:gd name="connsiteY0" fmla="*/ 0 h 48323"/>
                    <a:gd name="connsiteX1" fmla="*/ 49401 w 49520"/>
                    <a:gd name="connsiteY1" fmla="*/ 3528 h 48323"/>
                    <a:gd name="connsiteX2" fmla="*/ 49520 w 49520"/>
                    <a:gd name="connsiteY2" fmla="*/ 5741 h 48323"/>
                    <a:gd name="connsiteX3" fmla="*/ 48803 w 49520"/>
                    <a:gd name="connsiteY3" fmla="*/ 9509 h 48323"/>
                    <a:gd name="connsiteX4" fmla="*/ 48085 w 49520"/>
                    <a:gd name="connsiteY4" fmla="*/ 13277 h 48323"/>
                    <a:gd name="connsiteX5" fmla="*/ 47906 w 49520"/>
                    <a:gd name="connsiteY5" fmla="*/ 14114 h 48323"/>
                    <a:gd name="connsiteX6" fmla="*/ 46410 w 49520"/>
                    <a:gd name="connsiteY6" fmla="*/ 17763 h 48323"/>
                    <a:gd name="connsiteX7" fmla="*/ 44915 w 49520"/>
                    <a:gd name="connsiteY7" fmla="*/ 21411 h 48323"/>
                    <a:gd name="connsiteX8" fmla="*/ 44377 w 49520"/>
                    <a:gd name="connsiteY8" fmla="*/ 22667 h 48323"/>
                    <a:gd name="connsiteX9" fmla="*/ 42224 w 49520"/>
                    <a:gd name="connsiteY9" fmla="*/ 25956 h 48323"/>
                    <a:gd name="connsiteX10" fmla="*/ 40071 w 49520"/>
                    <a:gd name="connsiteY10" fmla="*/ 29245 h 48323"/>
                    <a:gd name="connsiteX11" fmla="*/ 39114 w 49520"/>
                    <a:gd name="connsiteY11" fmla="*/ 30741 h 48323"/>
                    <a:gd name="connsiteX12" fmla="*/ 36542 w 49520"/>
                    <a:gd name="connsiteY12" fmla="*/ 33552 h 48323"/>
                    <a:gd name="connsiteX13" fmla="*/ 33970 w 49520"/>
                    <a:gd name="connsiteY13" fmla="*/ 36363 h 48323"/>
                    <a:gd name="connsiteX14" fmla="*/ 32595 w 49520"/>
                    <a:gd name="connsiteY14" fmla="*/ 37858 h 48323"/>
                    <a:gd name="connsiteX15" fmla="*/ 29724 w 49520"/>
                    <a:gd name="connsiteY15" fmla="*/ 40011 h 48323"/>
                    <a:gd name="connsiteX16" fmla="*/ 26853 w 49520"/>
                    <a:gd name="connsiteY16" fmla="*/ 42164 h 48323"/>
                    <a:gd name="connsiteX17" fmla="*/ 25238 w 49520"/>
                    <a:gd name="connsiteY17" fmla="*/ 43360 h 48323"/>
                    <a:gd name="connsiteX18" fmla="*/ 22188 w 49520"/>
                    <a:gd name="connsiteY18" fmla="*/ 44796 h 48323"/>
                    <a:gd name="connsiteX19" fmla="*/ 19138 w 49520"/>
                    <a:gd name="connsiteY19" fmla="*/ 46231 h 48323"/>
                    <a:gd name="connsiteX20" fmla="*/ 17523 w 49520"/>
                    <a:gd name="connsiteY20" fmla="*/ 47008 h 48323"/>
                    <a:gd name="connsiteX21" fmla="*/ 14473 w 49520"/>
                    <a:gd name="connsiteY21" fmla="*/ 47546 h 48323"/>
                    <a:gd name="connsiteX22" fmla="*/ 11423 w 49520"/>
                    <a:gd name="connsiteY22" fmla="*/ 48085 h 48323"/>
                    <a:gd name="connsiteX23" fmla="*/ 10048 w 49520"/>
                    <a:gd name="connsiteY23" fmla="*/ 48324 h 48323"/>
                    <a:gd name="connsiteX24" fmla="*/ 7236 w 49520"/>
                    <a:gd name="connsiteY24" fmla="*/ 47965 h 48323"/>
                    <a:gd name="connsiteX25" fmla="*/ 4426 w 49520"/>
                    <a:gd name="connsiteY25" fmla="*/ 47606 h 48323"/>
                    <a:gd name="connsiteX26" fmla="*/ 3469 w 49520"/>
                    <a:gd name="connsiteY26" fmla="*/ 47487 h 48323"/>
                    <a:gd name="connsiteX27" fmla="*/ 1076 w 49520"/>
                    <a:gd name="connsiteY27" fmla="*/ 46111 h 48323"/>
                    <a:gd name="connsiteX28" fmla="*/ 0 w 49520"/>
                    <a:gd name="connsiteY28" fmla="*/ 45513 h 4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9520" h="48323">
                      <a:moveTo>
                        <a:pt x="49221" y="0"/>
                      </a:moveTo>
                      <a:lnTo>
                        <a:pt x="49401" y="3528"/>
                      </a:lnTo>
                      <a:lnTo>
                        <a:pt x="49520" y="5741"/>
                      </a:lnTo>
                      <a:lnTo>
                        <a:pt x="48803" y="9509"/>
                      </a:lnTo>
                      <a:lnTo>
                        <a:pt x="48085" y="13277"/>
                      </a:lnTo>
                      <a:lnTo>
                        <a:pt x="47906" y="14114"/>
                      </a:lnTo>
                      <a:lnTo>
                        <a:pt x="46410" y="17763"/>
                      </a:lnTo>
                      <a:lnTo>
                        <a:pt x="44915" y="21411"/>
                      </a:lnTo>
                      <a:lnTo>
                        <a:pt x="44377" y="22667"/>
                      </a:lnTo>
                      <a:lnTo>
                        <a:pt x="42224" y="25956"/>
                      </a:lnTo>
                      <a:lnTo>
                        <a:pt x="40071" y="29245"/>
                      </a:lnTo>
                      <a:lnTo>
                        <a:pt x="39114" y="30741"/>
                      </a:lnTo>
                      <a:lnTo>
                        <a:pt x="36542" y="33552"/>
                      </a:lnTo>
                      <a:lnTo>
                        <a:pt x="33970" y="36363"/>
                      </a:lnTo>
                      <a:lnTo>
                        <a:pt x="32595" y="37858"/>
                      </a:lnTo>
                      <a:lnTo>
                        <a:pt x="29724" y="40011"/>
                      </a:lnTo>
                      <a:lnTo>
                        <a:pt x="26853" y="42164"/>
                      </a:lnTo>
                      <a:lnTo>
                        <a:pt x="25238" y="43360"/>
                      </a:lnTo>
                      <a:lnTo>
                        <a:pt x="22188" y="44796"/>
                      </a:lnTo>
                      <a:lnTo>
                        <a:pt x="19138" y="46231"/>
                      </a:lnTo>
                      <a:lnTo>
                        <a:pt x="17523" y="47008"/>
                      </a:lnTo>
                      <a:lnTo>
                        <a:pt x="14473" y="47546"/>
                      </a:lnTo>
                      <a:lnTo>
                        <a:pt x="11423" y="48085"/>
                      </a:lnTo>
                      <a:lnTo>
                        <a:pt x="10048" y="48324"/>
                      </a:lnTo>
                      <a:lnTo>
                        <a:pt x="7236" y="47965"/>
                      </a:lnTo>
                      <a:lnTo>
                        <a:pt x="4426" y="47606"/>
                      </a:lnTo>
                      <a:lnTo>
                        <a:pt x="3469" y="47487"/>
                      </a:lnTo>
                      <a:lnTo>
                        <a:pt x="1076" y="46111"/>
                      </a:lnTo>
                      <a:lnTo>
                        <a:pt x="0" y="45513"/>
                      </a:lnTo>
                    </a:path>
                  </a:pathLst>
                </a:custGeom>
                <a:noFill/>
                <a:ln w="6350" cap="flat">
                  <a:solidFill>
                    <a:schemeClr val="bg1">
                      <a:alpha val="80000"/>
                    </a:schemeClr>
                  </a:solidFill>
                  <a:prstDash val="solid"/>
                  <a:miter/>
                </a:ln>
              </p:spPr>
              <p:txBody>
                <a:bodyPr rtlCol="0" anchor="ctr"/>
                <a:lstStyle/>
                <a:p>
                  <a:endParaRPr lang="en-GB"/>
                </a:p>
              </p:txBody>
            </p:sp>
            <p:sp>
              <p:nvSpPr>
                <p:cNvPr id="7757" name="Vrije vorm: vorm 7756">
                  <a:extLst>
                    <a:ext uri="{FF2B5EF4-FFF2-40B4-BE49-F238E27FC236}">
                      <a16:creationId xmlns:a16="http://schemas.microsoft.com/office/drawing/2014/main" id="{11C9AE21-23B2-48AE-B127-B9927D016DD5}"/>
                    </a:ext>
                  </a:extLst>
                </p:cNvPr>
                <p:cNvSpPr/>
                <p:nvPr/>
              </p:nvSpPr>
              <p:spPr>
                <a:xfrm>
                  <a:off x="5810709" y="5189333"/>
                  <a:ext cx="35166" cy="34807"/>
                </a:xfrm>
                <a:custGeom>
                  <a:avLst/>
                  <a:gdLst>
                    <a:gd name="connsiteX0" fmla="*/ 0 w 35166"/>
                    <a:gd name="connsiteY0" fmla="*/ 34807 h 34807"/>
                    <a:gd name="connsiteX1" fmla="*/ 1914 w 35166"/>
                    <a:gd name="connsiteY1" fmla="*/ 34389 h 34807"/>
                    <a:gd name="connsiteX2" fmla="*/ 4964 w 35166"/>
                    <a:gd name="connsiteY2" fmla="*/ 32894 h 34807"/>
                    <a:gd name="connsiteX3" fmla="*/ 8014 w 35166"/>
                    <a:gd name="connsiteY3" fmla="*/ 31399 h 34807"/>
                    <a:gd name="connsiteX4" fmla="*/ 10526 w 35166"/>
                    <a:gd name="connsiteY4" fmla="*/ 30143 h 34807"/>
                    <a:gd name="connsiteX5" fmla="*/ 12260 w 35166"/>
                    <a:gd name="connsiteY5" fmla="*/ 28827 h 34807"/>
                    <a:gd name="connsiteX6" fmla="*/ 15131 w 35166"/>
                    <a:gd name="connsiteY6" fmla="*/ 26614 h 34807"/>
                    <a:gd name="connsiteX7" fmla="*/ 18002 w 35166"/>
                    <a:gd name="connsiteY7" fmla="*/ 24401 h 34807"/>
                    <a:gd name="connsiteX8" fmla="*/ 18780 w 35166"/>
                    <a:gd name="connsiteY8" fmla="*/ 23803 h 34807"/>
                    <a:gd name="connsiteX9" fmla="*/ 18839 w 35166"/>
                    <a:gd name="connsiteY9" fmla="*/ 23743 h 34807"/>
                    <a:gd name="connsiteX10" fmla="*/ 21411 w 35166"/>
                    <a:gd name="connsiteY10" fmla="*/ 20992 h 34807"/>
                    <a:gd name="connsiteX11" fmla="*/ 23983 w 35166"/>
                    <a:gd name="connsiteY11" fmla="*/ 18241 h 34807"/>
                    <a:gd name="connsiteX12" fmla="*/ 26136 w 35166"/>
                    <a:gd name="connsiteY12" fmla="*/ 15968 h 34807"/>
                    <a:gd name="connsiteX13" fmla="*/ 28289 w 35166"/>
                    <a:gd name="connsiteY13" fmla="*/ 12679 h 34807"/>
                    <a:gd name="connsiteX14" fmla="*/ 30442 w 35166"/>
                    <a:gd name="connsiteY14" fmla="*/ 9389 h 34807"/>
                    <a:gd name="connsiteX15" fmla="*/ 32057 w 35166"/>
                    <a:gd name="connsiteY15" fmla="*/ 6997 h 34807"/>
                    <a:gd name="connsiteX16" fmla="*/ 33671 w 35166"/>
                    <a:gd name="connsiteY16" fmla="*/ 3409 h 34807"/>
                    <a:gd name="connsiteX17" fmla="*/ 35167 w 35166"/>
                    <a:gd name="connsiteY17" fmla="*/ 0 h 3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166" h="34807">
                      <a:moveTo>
                        <a:pt x="0" y="34807"/>
                      </a:moveTo>
                      <a:lnTo>
                        <a:pt x="1914" y="34389"/>
                      </a:lnTo>
                      <a:lnTo>
                        <a:pt x="4964" y="32894"/>
                      </a:lnTo>
                      <a:lnTo>
                        <a:pt x="8014" y="31399"/>
                      </a:lnTo>
                      <a:lnTo>
                        <a:pt x="10526" y="30143"/>
                      </a:lnTo>
                      <a:lnTo>
                        <a:pt x="12260" y="28827"/>
                      </a:lnTo>
                      <a:lnTo>
                        <a:pt x="15131" y="26614"/>
                      </a:lnTo>
                      <a:lnTo>
                        <a:pt x="18002" y="24401"/>
                      </a:lnTo>
                      <a:lnTo>
                        <a:pt x="18780" y="23803"/>
                      </a:lnTo>
                      <a:lnTo>
                        <a:pt x="18839" y="23743"/>
                      </a:lnTo>
                      <a:lnTo>
                        <a:pt x="21411" y="20992"/>
                      </a:lnTo>
                      <a:lnTo>
                        <a:pt x="23983" y="18241"/>
                      </a:lnTo>
                      <a:lnTo>
                        <a:pt x="26136" y="15968"/>
                      </a:lnTo>
                      <a:lnTo>
                        <a:pt x="28289" y="12679"/>
                      </a:lnTo>
                      <a:lnTo>
                        <a:pt x="30442" y="9389"/>
                      </a:lnTo>
                      <a:lnTo>
                        <a:pt x="32057" y="6997"/>
                      </a:lnTo>
                      <a:lnTo>
                        <a:pt x="33671" y="3409"/>
                      </a:lnTo>
                      <a:lnTo>
                        <a:pt x="35167" y="0"/>
                      </a:lnTo>
                    </a:path>
                  </a:pathLst>
                </a:custGeom>
                <a:noFill/>
                <a:ln w="6350" cap="flat">
                  <a:solidFill>
                    <a:schemeClr val="bg1">
                      <a:alpha val="80000"/>
                    </a:schemeClr>
                  </a:solidFill>
                  <a:prstDash val="solid"/>
                  <a:miter/>
                </a:ln>
              </p:spPr>
              <p:txBody>
                <a:bodyPr rtlCol="0" anchor="ctr"/>
                <a:lstStyle/>
                <a:p>
                  <a:endParaRPr lang="en-GB"/>
                </a:p>
              </p:txBody>
            </p:sp>
            <p:sp>
              <p:nvSpPr>
                <p:cNvPr id="7758" name="Vrije vorm: vorm 7757">
                  <a:extLst>
                    <a:ext uri="{FF2B5EF4-FFF2-40B4-BE49-F238E27FC236}">
                      <a16:creationId xmlns:a16="http://schemas.microsoft.com/office/drawing/2014/main" id="{4A578C39-F78D-4117-828E-676EDCBE9EA9}"/>
                    </a:ext>
                  </a:extLst>
                </p:cNvPr>
                <p:cNvSpPr/>
                <p:nvPr/>
              </p:nvSpPr>
              <p:spPr>
                <a:xfrm>
                  <a:off x="5810889" y="5196270"/>
                  <a:ext cx="35585" cy="31518"/>
                </a:xfrm>
                <a:custGeom>
                  <a:avLst/>
                  <a:gdLst>
                    <a:gd name="connsiteX0" fmla="*/ 35585 w 35585"/>
                    <a:gd name="connsiteY0" fmla="*/ 0 h 31518"/>
                    <a:gd name="connsiteX1" fmla="*/ 33013 w 35585"/>
                    <a:gd name="connsiteY1" fmla="*/ 2871 h 31518"/>
                    <a:gd name="connsiteX2" fmla="*/ 30442 w 35585"/>
                    <a:gd name="connsiteY2" fmla="*/ 5742 h 31518"/>
                    <a:gd name="connsiteX3" fmla="*/ 27870 w 35585"/>
                    <a:gd name="connsiteY3" fmla="*/ 8612 h 31518"/>
                    <a:gd name="connsiteX4" fmla="*/ 25298 w 35585"/>
                    <a:gd name="connsiteY4" fmla="*/ 11483 h 31518"/>
                    <a:gd name="connsiteX5" fmla="*/ 22727 w 35585"/>
                    <a:gd name="connsiteY5" fmla="*/ 14354 h 31518"/>
                    <a:gd name="connsiteX6" fmla="*/ 20155 w 35585"/>
                    <a:gd name="connsiteY6" fmla="*/ 17225 h 31518"/>
                    <a:gd name="connsiteX7" fmla="*/ 19856 w 35585"/>
                    <a:gd name="connsiteY7" fmla="*/ 17583 h 31518"/>
                    <a:gd name="connsiteX8" fmla="*/ 17284 w 35585"/>
                    <a:gd name="connsiteY8" fmla="*/ 20454 h 31518"/>
                    <a:gd name="connsiteX9" fmla="*/ 14772 w 35585"/>
                    <a:gd name="connsiteY9" fmla="*/ 23325 h 31518"/>
                    <a:gd name="connsiteX10" fmla="*/ 12201 w 35585"/>
                    <a:gd name="connsiteY10" fmla="*/ 26196 h 31518"/>
                    <a:gd name="connsiteX11" fmla="*/ 9629 w 35585"/>
                    <a:gd name="connsiteY11" fmla="*/ 29066 h 31518"/>
                    <a:gd name="connsiteX12" fmla="*/ 7476 w 35585"/>
                    <a:gd name="connsiteY12" fmla="*/ 31519 h 31518"/>
                    <a:gd name="connsiteX13" fmla="*/ 4545 w 35585"/>
                    <a:gd name="connsiteY13" fmla="*/ 31399 h 31518"/>
                    <a:gd name="connsiteX14" fmla="*/ 1615 w 35585"/>
                    <a:gd name="connsiteY14" fmla="*/ 31279 h 31518"/>
                    <a:gd name="connsiteX15" fmla="*/ 0 w 35585"/>
                    <a:gd name="connsiteY15" fmla="*/ 31219 h 3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585" h="31518">
                      <a:moveTo>
                        <a:pt x="35585" y="0"/>
                      </a:moveTo>
                      <a:lnTo>
                        <a:pt x="33013" y="2871"/>
                      </a:lnTo>
                      <a:lnTo>
                        <a:pt x="30442" y="5742"/>
                      </a:lnTo>
                      <a:lnTo>
                        <a:pt x="27870" y="8612"/>
                      </a:lnTo>
                      <a:lnTo>
                        <a:pt x="25298" y="11483"/>
                      </a:lnTo>
                      <a:lnTo>
                        <a:pt x="22727" y="14354"/>
                      </a:lnTo>
                      <a:lnTo>
                        <a:pt x="20155" y="17225"/>
                      </a:lnTo>
                      <a:lnTo>
                        <a:pt x="19856" y="17583"/>
                      </a:lnTo>
                      <a:lnTo>
                        <a:pt x="17284" y="20454"/>
                      </a:lnTo>
                      <a:lnTo>
                        <a:pt x="14772" y="23325"/>
                      </a:lnTo>
                      <a:lnTo>
                        <a:pt x="12201" y="26196"/>
                      </a:lnTo>
                      <a:lnTo>
                        <a:pt x="9629" y="29066"/>
                      </a:lnTo>
                      <a:lnTo>
                        <a:pt x="7476" y="31519"/>
                      </a:lnTo>
                      <a:lnTo>
                        <a:pt x="4545" y="31399"/>
                      </a:lnTo>
                      <a:lnTo>
                        <a:pt x="1615" y="31279"/>
                      </a:lnTo>
                      <a:lnTo>
                        <a:pt x="0" y="31219"/>
                      </a:lnTo>
                    </a:path>
                  </a:pathLst>
                </a:custGeom>
                <a:noFill/>
                <a:ln w="6350" cap="flat">
                  <a:solidFill>
                    <a:schemeClr val="bg1">
                      <a:alpha val="80000"/>
                    </a:schemeClr>
                  </a:solidFill>
                  <a:prstDash val="solid"/>
                  <a:miter/>
                </a:ln>
              </p:spPr>
              <p:txBody>
                <a:bodyPr rtlCol="0" anchor="ctr"/>
                <a:lstStyle/>
                <a:p>
                  <a:endParaRPr lang="en-GB"/>
                </a:p>
              </p:txBody>
            </p:sp>
            <p:sp>
              <p:nvSpPr>
                <p:cNvPr id="7759" name="Vrije vorm: vorm 7758">
                  <a:extLst>
                    <a:ext uri="{FF2B5EF4-FFF2-40B4-BE49-F238E27FC236}">
                      <a16:creationId xmlns:a16="http://schemas.microsoft.com/office/drawing/2014/main" id="{353F507F-4FB0-4976-9288-A3948879C9AE}"/>
                    </a:ext>
                  </a:extLst>
                </p:cNvPr>
                <p:cNvSpPr/>
                <p:nvPr/>
              </p:nvSpPr>
              <p:spPr>
                <a:xfrm>
                  <a:off x="5812444" y="5210923"/>
                  <a:ext cx="35166" cy="27750"/>
                </a:xfrm>
                <a:custGeom>
                  <a:avLst/>
                  <a:gdLst>
                    <a:gd name="connsiteX0" fmla="*/ 35167 w 35166"/>
                    <a:gd name="connsiteY0" fmla="*/ 0 h 27750"/>
                    <a:gd name="connsiteX1" fmla="*/ 34030 w 35166"/>
                    <a:gd name="connsiteY1" fmla="*/ 1256 h 27750"/>
                    <a:gd name="connsiteX2" fmla="*/ 32416 w 35166"/>
                    <a:gd name="connsiteY2" fmla="*/ 3050 h 27750"/>
                    <a:gd name="connsiteX3" fmla="*/ 30801 w 35166"/>
                    <a:gd name="connsiteY3" fmla="*/ 4844 h 27750"/>
                    <a:gd name="connsiteX4" fmla="*/ 28528 w 35166"/>
                    <a:gd name="connsiteY4" fmla="*/ 7356 h 27750"/>
                    <a:gd name="connsiteX5" fmla="*/ 25956 w 35166"/>
                    <a:gd name="connsiteY5" fmla="*/ 10227 h 27750"/>
                    <a:gd name="connsiteX6" fmla="*/ 24282 w 35166"/>
                    <a:gd name="connsiteY6" fmla="*/ 12081 h 27750"/>
                    <a:gd name="connsiteX7" fmla="*/ 23325 w 35166"/>
                    <a:gd name="connsiteY7" fmla="*/ 13158 h 27750"/>
                    <a:gd name="connsiteX8" fmla="*/ 21112 w 35166"/>
                    <a:gd name="connsiteY8" fmla="*/ 15669 h 27750"/>
                    <a:gd name="connsiteX9" fmla="*/ 19497 w 35166"/>
                    <a:gd name="connsiteY9" fmla="*/ 17464 h 27750"/>
                    <a:gd name="connsiteX10" fmla="*/ 16926 w 35166"/>
                    <a:gd name="connsiteY10" fmla="*/ 20334 h 27750"/>
                    <a:gd name="connsiteX11" fmla="*/ 14354 w 35166"/>
                    <a:gd name="connsiteY11" fmla="*/ 23205 h 27750"/>
                    <a:gd name="connsiteX12" fmla="*/ 11782 w 35166"/>
                    <a:gd name="connsiteY12" fmla="*/ 26076 h 27750"/>
                    <a:gd name="connsiteX13" fmla="*/ 10287 w 35166"/>
                    <a:gd name="connsiteY13" fmla="*/ 27751 h 27750"/>
                    <a:gd name="connsiteX14" fmla="*/ 7656 w 35166"/>
                    <a:gd name="connsiteY14" fmla="*/ 27631 h 27750"/>
                    <a:gd name="connsiteX15" fmla="*/ 4785 w 35166"/>
                    <a:gd name="connsiteY15" fmla="*/ 27511 h 27750"/>
                    <a:gd name="connsiteX16" fmla="*/ 1914 w 35166"/>
                    <a:gd name="connsiteY16" fmla="*/ 27391 h 27750"/>
                    <a:gd name="connsiteX17" fmla="*/ 538 w 35166"/>
                    <a:gd name="connsiteY17" fmla="*/ 27332 h 27750"/>
                    <a:gd name="connsiteX18" fmla="*/ 0 w 35166"/>
                    <a:gd name="connsiteY18" fmla="*/ 27332 h 2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166" h="27750">
                      <a:moveTo>
                        <a:pt x="35167" y="0"/>
                      </a:moveTo>
                      <a:lnTo>
                        <a:pt x="34030" y="1256"/>
                      </a:lnTo>
                      <a:lnTo>
                        <a:pt x="32416" y="3050"/>
                      </a:lnTo>
                      <a:lnTo>
                        <a:pt x="30801" y="4844"/>
                      </a:lnTo>
                      <a:lnTo>
                        <a:pt x="28528" y="7356"/>
                      </a:lnTo>
                      <a:lnTo>
                        <a:pt x="25956" y="10227"/>
                      </a:lnTo>
                      <a:lnTo>
                        <a:pt x="24282" y="12081"/>
                      </a:lnTo>
                      <a:lnTo>
                        <a:pt x="23325" y="13158"/>
                      </a:lnTo>
                      <a:lnTo>
                        <a:pt x="21112" y="15669"/>
                      </a:lnTo>
                      <a:lnTo>
                        <a:pt x="19497" y="17464"/>
                      </a:lnTo>
                      <a:lnTo>
                        <a:pt x="16926" y="20334"/>
                      </a:lnTo>
                      <a:lnTo>
                        <a:pt x="14354" y="23205"/>
                      </a:lnTo>
                      <a:lnTo>
                        <a:pt x="11782" y="26076"/>
                      </a:lnTo>
                      <a:lnTo>
                        <a:pt x="10287" y="27751"/>
                      </a:lnTo>
                      <a:lnTo>
                        <a:pt x="7656" y="27631"/>
                      </a:lnTo>
                      <a:lnTo>
                        <a:pt x="4785" y="27511"/>
                      </a:lnTo>
                      <a:lnTo>
                        <a:pt x="1914" y="27391"/>
                      </a:lnTo>
                      <a:lnTo>
                        <a:pt x="538" y="27332"/>
                      </a:lnTo>
                      <a:lnTo>
                        <a:pt x="0" y="27332"/>
                      </a:lnTo>
                    </a:path>
                  </a:pathLst>
                </a:custGeom>
                <a:noFill/>
                <a:ln w="6350" cap="flat">
                  <a:solidFill>
                    <a:schemeClr val="bg1">
                      <a:alpha val="80000"/>
                    </a:schemeClr>
                  </a:solidFill>
                  <a:prstDash val="solid"/>
                  <a:miter/>
                </a:ln>
              </p:spPr>
              <p:txBody>
                <a:bodyPr rtlCol="0" anchor="ctr"/>
                <a:lstStyle/>
                <a:p>
                  <a:endParaRPr lang="en-GB"/>
                </a:p>
              </p:txBody>
            </p:sp>
            <p:sp>
              <p:nvSpPr>
                <p:cNvPr id="7760" name="Vrije vorm: vorm 7759">
                  <a:extLst>
                    <a:ext uri="{FF2B5EF4-FFF2-40B4-BE49-F238E27FC236}">
                      <a16:creationId xmlns:a16="http://schemas.microsoft.com/office/drawing/2014/main" id="{C2D9CDBD-6359-4A59-A528-29FFE7507B33}"/>
                    </a:ext>
                  </a:extLst>
                </p:cNvPr>
                <p:cNvSpPr/>
                <p:nvPr/>
              </p:nvSpPr>
              <p:spPr>
                <a:xfrm>
                  <a:off x="5735532" y="5140650"/>
                  <a:ext cx="51912" cy="80201"/>
                </a:xfrm>
                <a:custGeom>
                  <a:avLst/>
                  <a:gdLst>
                    <a:gd name="connsiteX0" fmla="*/ 51913 w 51912"/>
                    <a:gd name="connsiteY0" fmla="*/ 7954 h 80201"/>
                    <a:gd name="connsiteX1" fmla="*/ 51554 w 51912"/>
                    <a:gd name="connsiteY1" fmla="*/ 6758 h 80201"/>
                    <a:gd name="connsiteX2" fmla="*/ 49879 w 51912"/>
                    <a:gd name="connsiteY2" fmla="*/ 4725 h 80201"/>
                    <a:gd name="connsiteX3" fmla="*/ 48085 w 51912"/>
                    <a:gd name="connsiteY3" fmla="*/ 2512 h 80201"/>
                    <a:gd name="connsiteX4" fmla="*/ 47726 w 51912"/>
                    <a:gd name="connsiteY4" fmla="*/ 2093 h 80201"/>
                    <a:gd name="connsiteX5" fmla="*/ 45154 w 51912"/>
                    <a:gd name="connsiteY5" fmla="*/ 1076 h 80201"/>
                    <a:gd name="connsiteX6" fmla="*/ 44257 w 51912"/>
                    <a:gd name="connsiteY6" fmla="*/ 718 h 80201"/>
                    <a:gd name="connsiteX7" fmla="*/ 42463 w 51912"/>
                    <a:gd name="connsiteY7" fmla="*/ 0 h 80201"/>
                    <a:gd name="connsiteX8" fmla="*/ 41267 w 51912"/>
                    <a:gd name="connsiteY8" fmla="*/ 119 h 80201"/>
                    <a:gd name="connsiteX9" fmla="*/ 39234 w 51912"/>
                    <a:gd name="connsiteY9" fmla="*/ 299 h 80201"/>
                    <a:gd name="connsiteX10" fmla="*/ 37200 w 51912"/>
                    <a:gd name="connsiteY10" fmla="*/ 538 h 80201"/>
                    <a:gd name="connsiteX11" fmla="*/ 36602 w 51912"/>
                    <a:gd name="connsiteY11" fmla="*/ 598 h 80201"/>
                    <a:gd name="connsiteX12" fmla="*/ 36004 w 51912"/>
                    <a:gd name="connsiteY12" fmla="*/ 658 h 80201"/>
                    <a:gd name="connsiteX13" fmla="*/ 35286 w 51912"/>
                    <a:gd name="connsiteY13" fmla="*/ 1017 h 80201"/>
                    <a:gd name="connsiteX14" fmla="*/ 34090 w 51912"/>
                    <a:gd name="connsiteY14" fmla="*/ 1615 h 80201"/>
                    <a:gd name="connsiteX15" fmla="*/ 33671 w 51912"/>
                    <a:gd name="connsiteY15" fmla="*/ 1794 h 80201"/>
                    <a:gd name="connsiteX16" fmla="*/ 33671 w 51912"/>
                    <a:gd name="connsiteY16" fmla="*/ 1794 h 80201"/>
                    <a:gd name="connsiteX17" fmla="*/ 33313 w 51912"/>
                    <a:gd name="connsiteY17" fmla="*/ 1973 h 80201"/>
                    <a:gd name="connsiteX18" fmla="*/ 32356 w 51912"/>
                    <a:gd name="connsiteY18" fmla="*/ 2452 h 80201"/>
                    <a:gd name="connsiteX19" fmla="*/ 29545 w 51912"/>
                    <a:gd name="connsiteY19" fmla="*/ 3828 h 80201"/>
                    <a:gd name="connsiteX20" fmla="*/ 29246 w 51912"/>
                    <a:gd name="connsiteY20" fmla="*/ 3947 h 80201"/>
                    <a:gd name="connsiteX21" fmla="*/ 29007 w 51912"/>
                    <a:gd name="connsiteY21" fmla="*/ 4067 h 80201"/>
                    <a:gd name="connsiteX22" fmla="*/ 28707 w 51912"/>
                    <a:gd name="connsiteY22" fmla="*/ 4187 h 80201"/>
                    <a:gd name="connsiteX23" fmla="*/ 27212 w 51912"/>
                    <a:gd name="connsiteY23" fmla="*/ 5442 h 80201"/>
                    <a:gd name="connsiteX24" fmla="*/ 25598 w 51912"/>
                    <a:gd name="connsiteY24" fmla="*/ 6818 h 80201"/>
                    <a:gd name="connsiteX25" fmla="*/ 23086 w 51912"/>
                    <a:gd name="connsiteY25" fmla="*/ 8971 h 80201"/>
                    <a:gd name="connsiteX26" fmla="*/ 21351 w 51912"/>
                    <a:gd name="connsiteY26" fmla="*/ 10406 h 80201"/>
                    <a:gd name="connsiteX27" fmla="*/ 20215 w 51912"/>
                    <a:gd name="connsiteY27" fmla="*/ 11842 h 80201"/>
                    <a:gd name="connsiteX28" fmla="*/ 18062 w 51912"/>
                    <a:gd name="connsiteY28" fmla="*/ 14473 h 80201"/>
                    <a:gd name="connsiteX29" fmla="*/ 16866 w 51912"/>
                    <a:gd name="connsiteY29" fmla="*/ 15909 h 80201"/>
                    <a:gd name="connsiteX30" fmla="*/ 14713 w 51912"/>
                    <a:gd name="connsiteY30" fmla="*/ 18540 h 80201"/>
                    <a:gd name="connsiteX31" fmla="*/ 14354 w 51912"/>
                    <a:gd name="connsiteY31" fmla="*/ 18959 h 80201"/>
                    <a:gd name="connsiteX32" fmla="*/ 13696 w 51912"/>
                    <a:gd name="connsiteY32" fmla="*/ 20095 h 80201"/>
                    <a:gd name="connsiteX33" fmla="*/ 11961 w 51912"/>
                    <a:gd name="connsiteY33" fmla="*/ 23026 h 80201"/>
                    <a:gd name="connsiteX34" fmla="*/ 10227 w 51912"/>
                    <a:gd name="connsiteY34" fmla="*/ 25956 h 80201"/>
                    <a:gd name="connsiteX35" fmla="*/ 9270 w 51912"/>
                    <a:gd name="connsiteY35" fmla="*/ 27511 h 80201"/>
                    <a:gd name="connsiteX36" fmla="*/ 8313 w 51912"/>
                    <a:gd name="connsiteY36" fmla="*/ 29126 h 80201"/>
                    <a:gd name="connsiteX37" fmla="*/ 6997 w 51912"/>
                    <a:gd name="connsiteY37" fmla="*/ 32296 h 80201"/>
                    <a:gd name="connsiteX38" fmla="*/ 5682 w 51912"/>
                    <a:gd name="connsiteY38" fmla="*/ 35466 h 80201"/>
                    <a:gd name="connsiteX39" fmla="*/ 4366 w 51912"/>
                    <a:gd name="connsiteY39" fmla="*/ 38635 h 80201"/>
                    <a:gd name="connsiteX40" fmla="*/ 3708 w 51912"/>
                    <a:gd name="connsiteY40" fmla="*/ 40190 h 80201"/>
                    <a:gd name="connsiteX41" fmla="*/ 2871 w 51912"/>
                    <a:gd name="connsiteY41" fmla="*/ 43480 h 80201"/>
                    <a:gd name="connsiteX42" fmla="*/ 2034 w 51912"/>
                    <a:gd name="connsiteY42" fmla="*/ 46769 h 80201"/>
                    <a:gd name="connsiteX43" fmla="*/ 1495 w 51912"/>
                    <a:gd name="connsiteY43" fmla="*/ 48862 h 80201"/>
                    <a:gd name="connsiteX44" fmla="*/ 1316 w 51912"/>
                    <a:gd name="connsiteY44" fmla="*/ 49460 h 80201"/>
                    <a:gd name="connsiteX45" fmla="*/ 1136 w 51912"/>
                    <a:gd name="connsiteY45" fmla="*/ 50238 h 80201"/>
                    <a:gd name="connsiteX46" fmla="*/ 1136 w 51912"/>
                    <a:gd name="connsiteY46" fmla="*/ 50298 h 80201"/>
                    <a:gd name="connsiteX47" fmla="*/ 1017 w 51912"/>
                    <a:gd name="connsiteY47" fmla="*/ 50657 h 80201"/>
                    <a:gd name="connsiteX48" fmla="*/ 897 w 51912"/>
                    <a:gd name="connsiteY48" fmla="*/ 51195 h 80201"/>
                    <a:gd name="connsiteX49" fmla="*/ 837 w 51912"/>
                    <a:gd name="connsiteY49" fmla="*/ 51913 h 80201"/>
                    <a:gd name="connsiteX50" fmla="*/ 538 w 51912"/>
                    <a:gd name="connsiteY50" fmla="*/ 55202 h 80201"/>
                    <a:gd name="connsiteX51" fmla="*/ 359 w 51912"/>
                    <a:gd name="connsiteY51" fmla="*/ 57116 h 80201"/>
                    <a:gd name="connsiteX52" fmla="*/ 239 w 51912"/>
                    <a:gd name="connsiteY52" fmla="*/ 58611 h 80201"/>
                    <a:gd name="connsiteX53" fmla="*/ 60 w 51912"/>
                    <a:gd name="connsiteY53" fmla="*/ 60585 h 80201"/>
                    <a:gd name="connsiteX54" fmla="*/ 0 w 51912"/>
                    <a:gd name="connsiteY54" fmla="*/ 61362 h 80201"/>
                    <a:gd name="connsiteX55" fmla="*/ 0 w 51912"/>
                    <a:gd name="connsiteY55" fmla="*/ 61601 h 80201"/>
                    <a:gd name="connsiteX56" fmla="*/ 0 w 51912"/>
                    <a:gd name="connsiteY56" fmla="*/ 61661 h 80201"/>
                    <a:gd name="connsiteX57" fmla="*/ 359 w 51912"/>
                    <a:gd name="connsiteY57" fmla="*/ 64532 h 80201"/>
                    <a:gd name="connsiteX58" fmla="*/ 718 w 51912"/>
                    <a:gd name="connsiteY58" fmla="*/ 67702 h 80201"/>
                    <a:gd name="connsiteX59" fmla="*/ 957 w 51912"/>
                    <a:gd name="connsiteY59" fmla="*/ 69735 h 80201"/>
                    <a:gd name="connsiteX60" fmla="*/ 957 w 51912"/>
                    <a:gd name="connsiteY60" fmla="*/ 69975 h 80201"/>
                    <a:gd name="connsiteX61" fmla="*/ 1615 w 51912"/>
                    <a:gd name="connsiteY61" fmla="*/ 71350 h 80201"/>
                    <a:gd name="connsiteX62" fmla="*/ 2871 w 51912"/>
                    <a:gd name="connsiteY62" fmla="*/ 74041 h 80201"/>
                    <a:gd name="connsiteX63" fmla="*/ 3888 w 51912"/>
                    <a:gd name="connsiteY63" fmla="*/ 76314 h 80201"/>
                    <a:gd name="connsiteX64" fmla="*/ 6041 w 51912"/>
                    <a:gd name="connsiteY64" fmla="*/ 78168 h 80201"/>
                    <a:gd name="connsiteX65" fmla="*/ 8194 w 51912"/>
                    <a:gd name="connsiteY65" fmla="*/ 80022 h 80201"/>
                    <a:gd name="connsiteX66" fmla="*/ 8373 w 51912"/>
                    <a:gd name="connsiteY66" fmla="*/ 80201 h 80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1912" h="80201">
                      <a:moveTo>
                        <a:pt x="51913" y="7954"/>
                      </a:moveTo>
                      <a:lnTo>
                        <a:pt x="51554" y="6758"/>
                      </a:lnTo>
                      <a:lnTo>
                        <a:pt x="49879" y="4725"/>
                      </a:lnTo>
                      <a:lnTo>
                        <a:pt x="48085" y="2512"/>
                      </a:lnTo>
                      <a:lnTo>
                        <a:pt x="47726" y="2093"/>
                      </a:lnTo>
                      <a:lnTo>
                        <a:pt x="45154" y="1076"/>
                      </a:lnTo>
                      <a:lnTo>
                        <a:pt x="44257" y="718"/>
                      </a:lnTo>
                      <a:lnTo>
                        <a:pt x="42463" y="0"/>
                      </a:lnTo>
                      <a:lnTo>
                        <a:pt x="41267" y="119"/>
                      </a:lnTo>
                      <a:lnTo>
                        <a:pt x="39234" y="299"/>
                      </a:lnTo>
                      <a:lnTo>
                        <a:pt x="37200" y="538"/>
                      </a:lnTo>
                      <a:lnTo>
                        <a:pt x="36602" y="598"/>
                      </a:lnTo>
                      <a:lnTo>
                        <a:pt x="36004" y="658"/>
                      </a:lnTo>
                      <a:lnTo>
                        <a:pt x="35286" y="1017"/>
                      </a:lnTo>
                      <a:lnTo>
                        <a:pt x="34090" y="1615"/>
                      </a:lnTo>
                      <a:lnTo>
                        <a:pt x="33671" y="1794"/>
                      </a:lnTo>
                      <a:lnTo>
                        <a:pt x="33671" y="1794"/>
                      </a:lnTo>
                      <a:lnTo>
                        <a:pt x="33313" y="1973"/>
                      </a:lnTo>
                      <a:lnTo>
                        <a:pt x="32356" y="2452"/>
                      </a:lnTo>
                      <a:lnTo>
                        <a:pt x="29545" y="3828"/>
                      </a:lnTo>
                      <a:lnTo>
                        <a:pt x="29246" y="3947"/>
                      </a:lnTo>
                      <a:lnTo>
                        <a:pt x="29007" y="4067"/>
                      </a:lnTo>
                      <a:lnTo>
                        <a:pt x="28707" y="4187"/>
                      </a:lnTo>
                      <a:lnTo>
                        <a:pt x="27212" y="5442"/>
                      </a:lnTo>
                      <a:lnTo>
                        <a:pt x="25598" y="6818"/>
                      </a:lnTo>
                      <a:lnTo>
                        <a:pt x="23086" y="8971"/>
                      </a:lnTo>
                      <a:lnTo>
                        <a:pt x="21351" y="10406"/>
                      </a:lnTo>
                      <a:lnTo>
                        <a:pt x="20215" y="11842"/>
                      </a:lnTo>
                      <a:lnTo>
                        <a:pt x="18062" y="14473"/>
                      </a:lnTo>
                      <a:lnTo>
                        <a:pt x="16866" y="15909"/>
                      </a:lnTo>
                      <a:lnTo>
                        <a:pt x="14713" y="18540"/>
                      </a:lnTo>
                      <a:lnTo>
                        <a:pt x="14354" y="18959"/>
                      </a:lnTo>
                      <a:lnTo>
                        <a:pt x="13696" y="20095"/>
                      </a:lnTo>
                      <a:lnTo>
                        <a:pt x="11961" y="23026"/>
                      </a:lnTo>
                      <a:lnTo>
                        <a:pt x="10227" y="25956"/>
                      </a:lnTo>
                      <a:lnTo>
                        <a:pt x="9270" y="27511"/>
                      </a:lnTo>
                      <a:lnTo>
                        <a:pt x="8313" y="29126"/>
                      </a:lnTo>
                      <a:lnTo>
                        <a:pt x="6997" y="32296"/>
                      </a:lnTo>
                      <a:lnTo>
                        <a:pt x="5682" y="35466"/>
                      </a:lnTo>
                      <a:lnTo>
                        <a:pt x="4366" y="38635"/>
                      </a:lnTo>
                      <a:lnTo>
                        <a:pt x="3708" y="40190"/>
                      </a:lnTo>
                      <a:lnTo>
                        <a:pt x="2871" y="43480"/>
                      </a:lnTo>
                      <a:lnTo>
                        <a:pt x="2034" y="46769"/>
                      </a:lnTo>
                      <a:lnTo>
                        <a:pt x="1495" y="48862"/>
                      </a:lnTo>
                      <a:lnTo>
                        <a:pt x="1316" y="49460"/>
                      </a:lnTo>
                      <a:lnTo>
                        <a:pt x="1136" y="50238"/>
                      </a:lnTo>
                      <a:lnTo>
                        <a:pt x="1136" y="50298"/>
                      </a:lnTo>
                      <a:lnTo>
                        <a:pt x="1017" y="50657"/>
                      </a:lnTo>
                      <a:lnTo>
                        <a:pt x="897" y="51195"/>
                      </a:lnTo>
                      <a:lnTo>
                        <a:pt x="837" y="51913"/>
                      </a:lnTo>
                      <a:lnTo>
                        <a:pt x="538" y="55202"/>
                      </a:lnTo>
                      <a:lnTo>
                        <a:pt x="359" y="57116"/>
                      </a:lnTo>
                      <a:lnTo>
                        <a:pt x="239" y="58611"/>
                      </a:lnTo>
                      <a:lnTo>
                        <a:pt x="60" y="60585"/>
                      </a:lnTo>
                      <a:lnTo>
                        <a:pt x="0" y="61362"/>
                      </a:lnTo>
                      <a:lnTo>
                        <a:pt x="0" y="61601"/>
                      </a:lnTo>
                      <a:lnTo>
                        <a:pt x="0" y="61661"/>
                      </a:lnTo>
                      <a:lnTo>
                        <a:pt x="359" y="64532"/>
                      </a:lnTo>
                      <a:lnTo>
                        <a:pt x="718" y="67702"/>
                      </a:lnTo>
                      <a:lnTo>
                        <a:pt x="957" y="69735"/>
                      </a:lnTo>
                      <a:lnTo>
                        <a:pt x="957" y="69975"/>
                      </a:lnTo>
                      <a:lnTo>
                        <a:pt x="1615" y="71350"/>
                      </a:lnTo>
                      <a:lnTo>
                        <a:pt x="2871" y="74041"/>
                      </a:lnTo>
                      <a:lnTo>
                        <a:pt x="3888" y="76314"/>
                      </a:lnTo>
                      <a:lnTo>
                        <a:pt x="6041" y="78168"/>
                      </a:lnTo>
                      <a:lnTo>
                        <a:pt x="8194" y="80022"/>
                      </a:lnTo>
                      <a:lnTo>
                        <a:pt x="8373" y="80201"/>
                      </a:lnTo>
                    </a:path>
                  </a:pathLst>
                </a:custGeom>
                <a:noFill/>
                <a:ln w="6350" cap="flat">
                  <a:solidFill>
                    <a:schemeClr val="bg1">
                      <a:alpha val="80000"/>
                    </a:schemeClr>
                  </a:solidFill>
                  <a:prstDash val="solid"/>
                  <a:miter/>
                </a:ln>
              </p:spPr>
              <p:txBody>
                <a:bodyPr rtlCol="0" anchor="ctr"/>
                <a:lstStyle/>
                <a:p>
                  <a:endParaRPr lang="en-GB"/>
                </a:p>
              </p:txBody>
            </p:sp>
            <p:sp>
              <p:nvSpPr>
                <p:cNvPr id="7761" name="Vrije vorm: vorm 7760">
                  <a:extLst>
                    <a:ext uri="{FF2B5EF4-FFF2-40B4-BE49-F238E27FC236}">
                      <a16:creationId xmlns:a16="http://schemas.microsoft.com/office/drawing/2014/main" id="{01F7821D-B2B3-403C-902D-0F3C40605DC6}"/>
                    </a:ext>
                  </a:extLst>
                </p:cNvPr>
                <p:cNvSpPr/>
                <p:nvPr/>
              </p:nvSpPr>
              <p:spPr>
                <a:xfrm>
                  <a:off x="5716812" y="5130961"/>
                  <a:ext cx="27092" cy="81457"/>
                </a:xfrm>
                <a:custGeom>
                  <a:avLst/>
                  <a:gdLst>
                    <a:gd name="connsiteX0" fmla="*/ 11483 w 27092"/>
                    <a:gd name="connsiteY0" fmla="*/ 81457 h 81457"/>
                    <a:gd name="connsiteX1" fmla="*/ 9031 w 27092"/>
                    <a:gd name="connsiteY1" fmla="*/ 80141 h 81457"/>
                    <a:gd name="connsiteX2" fmla="*/ 7775 w 27092"/>
                    <a:gd name="connsiteY2" fmla="*/ 79484 h 81457"/>
                    <a:gd name="connsiteX3" fmla="*/ 5682 w 27092"/>
                    <a:gd name="connsiteY3" fmla="*/ 77570 h 81457"/>
                    <a:gd name="connsiteX4" fmla="*/ 3589 w 27092"/>
                    <a:gd name="connsiteY4" fmla="*/ 75656 h 81457"/>
                    <a:gd name="connsiteX5" fmla="*/ 3349 w 27092"/>
                    <a:gd name="connsiteY5" fmla="*/ 75417 h 81457"/>
                    <a:gd name="connsiteX6" fmla="*/ 2213 w 27092"/>
                    <a:gd name="connsiteY6" fmla="*/ 72486 h 81457"/>
                    <a:gd name="connsiteX7" fmla="*/ 1076 w 27092"/>
                    <a:gd name="connsiteY7" fmla="*/ 69556 h 81457"/>
                    <a:gd name="connsiteX8" fmla="*/ 658 w 27092"/>
                    <a:gd name="connsiteY8" fmla="*/ 68539 h 81457"/>
                    <a:gd name="connsiteX9" fmla="*/ 419 w 27092"/>
                    <a:gd name="connsiteY9" fmla="*/ 65070 h 81457"/>
                    <a:gd name="connsiteX10" fmla="*/ 180 w 27092"/>
                    <a:gd name="connsiteY10" fmla="*/ 61601 h 81457"/>
                    <a:gd name="connsiteX11" fmla="*/ 0 w 27092"/>
                    <a:gd name="connsiteY11" fmla="*/ 59209 h 81457"/>
                    <a:gd name="connsiteX12" fmla="*/ 479 w 27092"/>
                    <a:gd name="connsiteY12" fmla="*/ 55501 h 81457"/>
                    <a:gd name="connsiteX13" fmla="*/ 598 w 27092"/>
                    <a:gd name="connsiteY13" fmla="*/ 54365 h 81457"/>
                    <a:gd name="connsiteX14" fmla="*/ 1076 w 27092"/>
                    <a:gd name="connsiteY14" fmla="*/ 50657 h 81457"/>
                    <a:gd name="connsiteX15" fmla="*/ 1256 w 27092"/>
                    <a:gd name="connsiteY15" fmla="*/ 49341 h 81457"/>
                    <a:gd name="connsiteX16" fmla="*/ 1435 w 27092"/>
                    <a:gd name="connsiteY16" fmla="*/ 48025 h 81457"/>
                    <a:gd name="connsiteX17" fmla="*/ 2512 w 27092"/>
                    <a:gd name="connsiteY17" fmla="*/ 44317 h 81457"/>
                    <a:gd name="connsiteX18" fmla="*/ 2632 w 27092"/>
                    <a:gd name="connsiteY18" fmla="*/ 43779 h 81457"/>
                    <a:gd name="connsiteX19" fmla="*/ 3708 w 27092"/>
                    <a:gd name="connsiteY19" fmla="*/ 40071 h 81457"/>
                    <a:gd name="connsiteX20" fmla="*/ 4785 w 27092"/>
                    <a:gd name="connsiteY20" fmla="*/ 36363 h 81457"/>
                    <a:gd name="connsiteX21" fmla="*/ 4904 w 27092"/>
                    <a:gd name="connsiteY21" fmla="*/ 35884 h 81457"/>
                    <a:gd name="connsiteX22" fmla="*/ 6459 w 27092"/>
                    <a:gd name="connsiteY22" fmla="*/ 32236 h 81457"/>
                    <a:gd name="connsiteX23" fmla="*/ 8014 w 27092"/>
                    <a:gd name="connsiteY23" fmla="*/ 28588 h 81457"/>
                    <a:gd name="connsiteX24" fmla="*/ 9569 w 27092"/>
                    <a:gd name="connsiteY24" fmla="*/ 24940 h 81457"/>
                    <a:gd name="connsiteX25" fmla="*/ 10167 w 27092"/>
                    <a:gd name="connsiteY25" fmla="*/ 23504 h 81457"/>
                    <a:gd name="connsiteX26" fmla="*/ 12201 w 27092"/>
                    <a:gd name="connsiteY26" fmla="*/ 20095 h 81457"/>
                    <a:gd name="connsiteX27" fmla="*/ 13277 w 27092"/>
                    <a:gd name="connsiteY27" fmla="*/ 18241 h 81457"/>
                    <a:gd name="connsiteX28" fmla="*/ 15311 w 27092"/>
                    <a:gd name="connsiteY28" fmla="*/ 14832 h 81457"/>
                    <a:gd name="connsiteX29" fmla="*/ 16926 w 27092"/>
                    <a:gd name="connsiteY29" fmla="*/ 12081 h 81457"/>
                    <a:gd name="connsiteX30" fmla="*/ 19318 w 27092"/>
                    <a:gd name="connsiteY30" fmla="*/ 9031 h 81457"/>
                    <a:gd name="connsiteX31" fmla="*/ 21710 w 27092"/>
                    <a:gd name="connsiteY31" fmla="*/ 5981 h 81457"/>
                    <a:gd name="connsiteX32" fmla="*/ 24102 w 27092"/>
                    <a:gd name="connsiteY32" fmla="*/ 2930 h 81457"/>
                    <a:gd name="connsiteX33" fmla="*/ 24521 w 27092"/>
                    <a:gd name="connsiteY33" fmla="*/ 2392 h 81457"/>
                    <a:gd name="connsiteX34" fmla="*/ 24940 w 27092"/>
                    <a:gd name="connsiteY34" fmla="*/ 1973 h 81457"/>
                    <a:gd name="connsiteX35" fmla="*/ 25717 w 27092"/>
                    <a:gd name="connsiteY35" fmla="*/ 1256 h 81457"/>
                    <a:gd name="connsiteX36" fmla="*/ 26315 w 27092"/>
                    <a:gd name="connsiteY36" fmla="*/ 718 h 81457"/>
                    <a:gd name="connsiteX37" fmla="*/ 27093 w 27092"/>
                    <a:gd name="connsiteY37" fmla="*/ 0 h 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7092" h="81457">
                      <a:moveTo>
                        <a:pt x="11483" y="81457"/>
                      </a:moveTo>
                      <a:lnTo>
                        <a:pt x="9031" y="80141"/>
                      </a:lnTo>
                      <a:lnTo>
                        <a:pt x="7775" y="79484"/>
                      </a:lnTo>
                      <a:lnTo>
                        <a:pt x="5682" y="77570"/>
                      </a:lnTo>
                      <a:lnTo>
                        <a:pt x="3589" y="75656"/>
                      </a:lnTo>
                      <a:lnTo>
                        <a:pt x="3349" y="75417"/>
                      </a:lnTo>
                      <a:lnTo>
                        <a:pt x="2213" y="72486"/>
                      </a:lnTo>
                      <a:lnTo>
                        <a:pt x="1076" y="69556"/>
                      </a:lnTo>
                      <a:lnTo>
                        <a:pt x="658" y="68539"/>
                      </a:lnTo>
                      <a:lnTo>
                        <a:pt x="419" y="65070"/>
                      </a:lnTo>
                      <a:lnTo>
                        <a:pt x="180" y="61601"/>
                      </a:lnTo>
                      <a:lnTo>
                        <a:pt x="0" y="59209"/>
                      </a:lnTo>
                      <a:lnTo>
                        <a:pt x="479" y="55501"/>
                      </a:lnTo>
                      <a:lnTo>
                        <a:pt x="598" y="54365"/>
                      </a:lnTo>
                      <a:lnTo>
                        <a:pt x="1076" y="50657"/>
                      </a:lnTo>
                      <a:lnTo>
                        <a:pt x="1256" y="49341"/>
                      </a:lnTo>
                      <a:lnTo>
                        <a:pt x="1435" y="48025"/>
                      </a:lnTo>
                      <a:lnTo>
                        <a:pt x="2512" y="44317"/>
                      </a:lnTo>
                      <a:lnTo>
                        <a:pt x="2632" y="43779"/>
                      </a:lnTo>
                      <a:lnTo>
                        <a:pt x="3708" y="40071"/>
                      </a:lnTo>
                      <a:lnTo>
                        <a:pt x="4785" y="36363"/>
                      </a:lnTo>
                      <a:lnTo>
                        <a:pt x="4904" y="35884"/>
                      </a:lnTo>
                      <a:lnTo>
                        <a:pt x="6459" y="32236"/>
                      </a:lnTo>
                      <a:lnTo>
                        <a:pt x="8014" y="28588"/>
                      </a:lnTo>
                      <a:lnTo>
                        <a:pt x="9569" y="24940"/>
                      </a:lnTo>
                      <a:lnTo>
                        <a:pt x="10167" y="23504"/>
                      </a:lnTo>
                      <a:lnTo>
                        <a:pt x="12201" y="20095"/>
                      </a:lnTo>
                      <a:lnTo>
                        <a:pt x="13277" y="18241"/>
                      </a:lnTo>
                      <a:lnTo>
                        <a:pt x="15311" y="14832"/>
                      </a:lnTo>
                      <a:lnTo>
                        <a:pt x="16926" y="12081"/>
                      </a:lnTo>
                      <a:lnTo>
                        <a:pt x="19318" y="9031"/>
                      </a:lnTo>
                      <a:lnTo>
                        <a:pt x="21710" y="5981"/>
                      </a:lnTo>
                      <a:lnTo>
                        <a:pt x="24102" y="2930"/>
                      </a:lnTo>
                      <a:lnTo>
                        <a:pt x="24521" y="2392"/>
                      </a:lnTo>
                      <a:lnTo>
                        <a:pt x="24940" y="1973"/>
                      </a:lnTo>
                      <a:lnTo>
                        <a:pt x="25717" y="1256"/>
                      </a:lnTo>
                      <a:lnTo>
                        <a:pt x="26315" y="718"/>
                      </a:lnTo>
                      <a:lnTo>
                        <a:pt x="27093" y="0"/>
                      </a:lnTo>
                    </a:path>
                  </a:pathLst>
                </a:custGeom>
                <a:noFill/>
                <a:ln w="6350" cap="flat">
                  <a:solidFill>
                    <a:schemeClr val="bg1">
                      <a:alpha val="80000"/>
                    </a:schemeClr>
                  </a:solidFill>
                  <a:prstDash val="solid"/>
                  <a:miter/>
                </a:ln>
              </p:spPr>
              <p:txBody>
                <a:bodyPr rtlCol="0" anchor="ctr"/>
                <a:lstStyle/>
                <a:p>
                  <a:endParaRPr lang="en-GB"/>
                </a:p>
              </p:txBody>
            </p:sp>
            <p:sp>
              <p:nvSpPr>
                <p:cNvPr id="7762" name="Vrije vorm: vorm 7761">
                  <a:extLst>
                    <a:ext uri="{FF2B5EF4-FFF2-40B4-BE49-F238E27FC236}">
                      <a16:creationId xmlns:a16="http://schemas.microsoft.com/office/drawing/2014/main" id="{A733B5BE-CF27-4EF1-8015-92212DAFD5A1}"/>
                    </a:ext>
                  </a:extLst>
                </p:cNvPr>
                <p:cNvSpPr/>
                <p:nvPr/>
              </p:nvSpPr>
              <p:spPr>
                <a:xfrm>
                  <a:off x="5743905" y="5131080"/>
                  <a:ext cx="5023" cy="1973"/>
                </a:xfrm>
                <a:custGeom>
                  <a:avLst/>
                  <a:gdLst>
                    <a:gd name="connsiteX0" fmla="*/ 0 w 5023"/>
                    <a:gd name="connsiteY0" fmla="*/ 0 h 1973"/>
                    <a:gd name="connsiteX1" fmla="*/ 1794 w 5023"/>
                    <a:gd name="connsiteY1" fmla="*/ 718 h 1973"/>
                    <a:gd name="connsiteX2" fmla="*/ 2392 w 5023"/>
                    <a:gd name="connsiteY2" fmla="*/ 957 h 1973"/>
                    <a:gd name="connsiteX3" fmla="*/ 2392 w 5023"/>
                    <a:gd name="connsiteY3" fmla="*/ 957 h 1973"/>
                    <a:gd name="connsiteX4" fmla="*/ 4964 w 5023"/>
                    <a:gd name="connsiteY4" fmla="*/ 1974 h 1973"/>
                    <a:gd name="connsiteX5" fmla="*/ 5024 w 5023"/>
                    <a:gd name="connsiteY5" fmla="*/ 1974 h 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3" h="1973">
                      <a:moveTo>
                        <a:pt x="0" y="0"/>
                      </a:moveTo>
                      <a:lnTo>
                        <a:pt x="1794" y="718"/>
                      </a:lnTo>
                      <a:lnTo>
                        <a:pt x="2392" y="957"/>
                      </a:lnTo>
                      <a:lnTo>
                        <a:pt x="2392" y="957"/>
                      </a:lnTo>
                      <a:lnTo>
                        <a:pt x="4964" y="1974"/>
                      </a:lnTo>
                      <a:lnTo>
                        <a:pt x="5024" y="1974"/>
                      </a:lnTo>
                    </a:path>
                  </a:pathLst>
                </a:custGeom>
                <a:noFill/>
                <a:ln w="6350" cap="flat">
                  <a:solidFill>
                    <a:schemeClr val="bg1">
                      <a:alpha val="80000"/>
                    </a:schemeClr>
                  </a:solidFill>
                  <a:prstDash val="solid"/>
                  <a:miter/>
                </a:ln>
              </p:spPr>
              <p:txBody>
                <a:bodyPr rtlCol="0" anchor="ctr"/>
                <a:lstStyle/>
                <a:p>
                  <a:endParaRPr lang="en-GB"/>
                </a:p>
              </p:txBody>
            </p:sp>
            <p:sp>
              <p:nvSpPr>
                <p:cNvPr id="7763" name="Vrije vorm: vorm 7762">
                  <a:extLst>
                    <a:ext uri="{FF2B5EF4-FFF2-40B4-BE49-F238E27FC236}">
                      <a16:creationId xmlns:a16="http://schemas.microsoft.com/office/drawing/2014/main" id="{EB05B5C1-9C17-47FE-9A6D-E07B0BFF5E39}"/>
                    </a:ext>
                  </a:extLst>
                </p:cNvPr>
                <p:cNvSpPr/>
                <p:nvPr/>
              </p:nvSpPr>
              <p:spPr>
                <a:xfrm>
                  <a:off x="5778174" y="5135446"/>
                  <a:ext cx="1196" cy="1734"/>
                </a:xfrm>
                <a:custGeom>
                  <a:avLst/>
                  <a:gdLst>
                    <a:gd name="connsiteX0" fmla="*/ 0 w 1196"/>
                    <a:gd name="connsiteY0" fmla="*/ 0 h 1734"/>
                    <a:gd name="connsiteX1" fmla="*/ 1136 w 1196"/>
                    <a:gd name="connsiteY1" fmla="*/ 1495 h 1734"/>
                    <a:gd name="connsiteX2" fmla="*/ 1196 w 1196"/>
                    <a:gd name="connsiteY2" fmla="*/ 1734 h 1734"/>
                  </a:gdLst>
                  <a:ahLst/>
                  <a:cxnLst>
                    <a:cxn ang="0">
                      <a:pos x="connsiteX0" y="connsiteY0"/>
                    </a:cxn>
                    <a:cxn ang="0">
                      <a:pos x="connsiteX1" y="connsiteY1"/>
                    </a:cxn>
                    <a:cxn ang="0">
                      <a:pos x="connsiteX2" y="connsiteY2"/>
                    </a:cxn>
                  </a:cxnLst>
                  <a:rect l="l" t="t" r="r" b="b"/>
                  <a:pathLst>
                    <a:path w="1196" h="1734">
                      <a:moveTo>
                        <a:pt x="0" y="0"/>
                      </a:moveTo>
                      <a:lnTo>
                        <a:pt x="1136" y="1495"/>
                      </a:lnTo>
                      <a:lnTo>
                        <a:pt x="1196" y="1734"/>
                      </a:lnTo>
                    </a:path>
                  </a:pathLst>
                </a:custGeom>
                <a:noFill/>
                <a:ln w="6350" cap="flat">
                  <a:solidFill>
                    <a:schemeClr val="bg1">
                      <a:alpha val="80000"/>
                    </a:schemeClr>
                  </a:solidFill>
                  <a:prstDash val="solid"/>
                  <a:miter/>
                </a:ln>
              </p:spPr>
              <p:txBody>
                <a:bodyPr rtlCol="0" anchor="ctr"/>
                <a:lstStyle/>
                <a:p>
                  <a:endParaRPr lang="en-GB"/>
                </a:p>
              </p:txBody>
            </p:sp>
            <p:sp>
              <p:nvSpPr>
                <p:cNvPr id="7764" name="Vrije vorm: vorm 7763">
                  <a:extLst>
                    <a:ext uri="{FF2B5EF4-FFF2-40B4-BE49-F238E27FC236}">
                      <a16:creationId xmlns:a16="http://schemas.microsoft.com/office/drawing/2014/main" id="{5023218A-C3A9-422F-A9F5-8AFC1D9B051C}"/>
                    </a:ext>
                  </a:extLst>
                </p:cNvPr>
                <p:cNvSpPr/>
                <p:nvPr/>
              </p:nvSpPr>
              <p:spPr>
                <a:xfrm>
                  <a:off x="5740675" y="5134788"/>
                  <a:ext cx="42822" cy="79663"/>
                </a:xfrm>
                <a:custGeom>
                  <a:avLst/>
                  <a:gdLst>
                    <a:gd name="connsiteX0" fmla="*/ 42822 w 42822"/>
                    <a:gd name="connsiteY0" fmla="*/ 658 h 79663"/>
                    <a:gd name="connsiteX1" fmla="*/ 41028 w 42822"/>
                    <a:gd name="connsiteY1" fmla="*/ 0 h 79663"/>
                    <a:gd name="connsiteX2" fmla="*/ 39952 w 42822"/>
                    <a:gd name="connsiteY2" fmla="*/ 180 h 79663"/>
                    <a:gd name="connsiteX3" fmla="*/ 37439 w 42822"/>
                    <a:gd name="connsiteY3" fmla="*/ 658 h 79663"/>
                    <a:gd name="connsiteX4" fmla="*/ 36961 w 42822"/>
                    <a:gd name="connsiteY4" fmla="*/ 778 h 79663"/>
                    <a:gd name="connsiteX5" fmla="*/ 36782 w 42822"/>
                    <a:gd name="connsiteY5" fmla="*/ 837 h 79663"/>
                    <a:gd name="connsiteX6" fmla="*/ 36064 w 42822"/>
                    <a:gd name="connsiteY6" fmla="*/ 957 h 79663"/>
                    <a:gd name="connsiteX7" fmla="*/ 35286 w 42822"/>
                    <a:gd name="connsiteY7" fmla="*/ 1077 h 79663"/>
                    <a:gd name="connsiteX8" fmla="*/ 35227 w 42822"/>
                    <a:gd name="connsiteY8" fmla="*/ 1077 h 79663"/>
                    <a:gd name="connsiteX9" fmla="*/ 33911 w 42822"/>
                    <a:gd name="connsiteY9" fmla="*/ 1854 h 79663"/>
                    <a:gd name="connsiteX10" fmla="*/ 30921 w 42822"/>
                    <a:gd name="connsiteY10" fmla="*/ 3589 h 79663"/>
                    <a:gd name="connsiteX11" fmla="*/ 29126 w 42822"/>
                    <a:gd name="connsiteY11" fmla="*/ 4665 h 79663"/>
                    <a:gd name="connsiteX12" fmla="*/ 28648 w 42822"/>
                    <a:gd name="connsiteY12" fmla="*/ 4904 h 79663"/>
                    <a:gd name="connsiteX13" fmla="*/ 26136 w 42822"/>
                    <a:gd name="connsiteY13" fmla="*/ 7297 h 79663"/>
                    <a:gd name="connsiteX14" fmla="*/ 23385 w 42822"/>
                    <a:gd name="connsiteY14" fmla="*/ 9868 h 79663"/>
                    <a:gd name="connsiteX15" fmla="*/ 22308 w 42822"/>
                    <a:gd name="connsiteY15" fmla="*/ 10885 h 79663"/>
                    <a:gd name="connsiteX16" fmla="*/ 21770 w 42822"/>
                    <a:gd name="connsiteY16" fmla="*/ 11364 h 79663"/>
                    <a:gd name="connsiteX17" fmla="*/ 19617 w 42822"/>
                    <a:gd name="connsiteY17" fmla="*/ 14175 h 79663"/>
                    <a:gd name="connsiteX18" fmla="*/ 17225 w 42822"/>
                    <a:gd name="connsiteY18" fmla="*/ 17225 h 79663"/>
                    <a:gd name="connsiteX19" fmla="*/ 15072 w 42822"/>
                    <a:gd name="connsiteY19" fmla="*/ 19976 h 79663"/>
                    <a:gd name="connsiteX20" fmla="*/ 13098 w 42822"/>
                    <a:gd name="connsiteY20" fmla="*/ 23385 h 79663"/>
                    <a:gd name="connsiteX21" fmla="*/ 11244 w 42822"/>
                    <a:gd name="connsiteY21" fmla="*/ 26554 h 79663"/>
                    <a:gd name="connsiteX22" fmla="*/ 11184 w 42822"/>
                    <a:gd name="connsiteY22" fmla="*/ 26734 h 79663"/>
                    <a:gd name="connsiteX23" fmla="*/ 10885 w 42822"/>
                    <a:gd name="connsiteY23" fmla="*/ 27272 h 79663"/>
                    <a:gd name="connsiteX24" fmla="*/ 10706 w 42822"/>
                    <a:gd name="connsiteY24" fmla="*/ 27571 h 79663"/>
                    <a:gd name="connsiteX25" fmla="*/ 10646 w 42822"/>
                    <a:gd name="connsiteY25" fmla="*/ 27691 h 79663"/>
                    <a:gd name="connsiteX26" fmla="*/ 10347 w 42822"/>
                    <a:gd name="connsiteY26" fmla="*/ 28169 h 79663"/>
                    <a:gd name="connsiteX27" fmla="*/ 10287 w 42822"/>
                    <a:gd name="connsiteY27" fmla="*/ 28289 h 79663"/>
                    <a:gd name="connsiteX28" fmla="*/ 9151 w 42822"/>
                    <a:gd name="connsiteY28" fmla="*/ 30203 h 79663"/>
                    <a:gd name="connsiteX29" fmla="*/ 7954 w 42822"/>
                    <a:gd name="connsiteY29" fmla="*/ 33014 h 79663"/>
                    <a:gd name="connsiteX30" fmla="*/ 6399 w 42822"/>
                    <a:gd name="connsiteY30" fmla="*/ 36662 h 79663"/>
                    <a:gd name="connsiteX31" fmla="*/ 4844 w 42822"/>
                    <a:gd name="connsiteY31" fmla="*/ 40310 h 79663"/>
                    <a:gd name="connsiteX32" fmla="*/ 4486 w 42822"/>
                    <a:gd name="connsiteY32" fmla="*/ 41147 h 79663"/>
                    <a:gd name="connsiteX33" fmla="*/ 4127 w 42822"/>
                    <a:gd name="connsiteY33" fmla="*/ 42344 h 79663"/>
                    <a:gd name="connsiteX34" fmla="*/ 3050 w 42822"/>
                    <a:gd name="connsiteY34" fmla="*/ 46052 h 79663"/>
                    <a:gd name="connsiteX35" fmla="*/ 2931 w 42822"/>
                    <a:gd name="connsiteY35" fmla="*/ 46530 h 79663"/>
                    <a:gd name="connsiteX36" fmla="*/ 2751 w 42822"/>
                    <a:gd name="connsiteY36" fmla="*/ 47188 h 79663"/>
                    <a:gd name="connsiteX37" fmla="*/ 1675 w 42822"/>
                    <a:gd name="connsiteY37" fmla="*/ 50896 h 79663"/>
                    <a:gd name="connsiteX38" fmla="*/ 1376 w 42822"/>
                    <a:gd name="connsiteY38" fmla="*/ 51913 h 79663"/>
                    <a:gd name="connsiteX39" fmla="*/ 1376 w 42822"/>
                    <a:gd name="connsiteY39" fmla="*/ 52032 h 79663"/>
                    <a:gd name="connsiteX40" fmla="*/ 837 w 42822"/>
                    <a:gd name="connsiteY40" fmla="*/ 55740 h 79663"/>
                    <a:gd name="connsiteX41" fmla="*/ 479 w 42822"/>
                    <a:gd name="connsiteY41" fmla="*/ 58073 h 79663"/>
                    <a:gd name="connsiteX42" fmla="*/ 359 w 42822"/>
                    <a:gd name="connsiteY42" fmla="*/ 58910 h 79663"/>
                    <a:gd name="connsiteX43" fmla="*/ 299 w 42822"/>
                    <a:gd name="connsiteY43" fmla="*/ 59389 h 79663"/>
                    <a:gd name="connsiteX44" fmla="*/ 0 w 42822"/>
                    <a:gd name="connsiteY44" fmla="*/ 61482 h 79663"/>
                    <a:gd name="connsiteX45" fmla="*/ 0 w 42822"/>
                    <a:gd name="connsiteY45" fmla="*/ 61661 h 79663"/>
                    <a:gd name="connsiteX46" fmla="*/ 0 w 42822"/>
                    <a:gd name="connsiteY46" fmla="*/ 61721 h 79663"/>
                    <a:gd name="connsiteX47" fmla="*/ 60 w 42822"/>
                    <a:gd name="connsiteY47" fmla="*/ 62798 h 79663"/>
                    <a:gd name="connsiteX48" fmla="*/ 239 w 42822"/>
                    <a:gd name="connsiteY48" fmla="*/ 66326 h 79663"/>
                    <a:gd name="connsiteX49" fmla="*/ 299 w 42822"/>
                    <a:gd name="connsiteY49" fmla="*/ 67642 h 79663"/>
                    <a:gd name="connsiteX50" fmla="*/ 299 w 42822"/>
                    <a:gd name="connsiteY50" fmla="*/ 67702 h 79663"/>
                    <a:gd name="connsiteX51" fmla="*/ 359 w 42822"/>
                    <a:gd name="connsiteY51" fmla="*/ 69078 h 79663"/>
                    <a:gd name="connsiteX52" fmla="*/ 419 w 42822"/>
                    <a:gd name="connsiteY52" fmla="*/ 69975 h 79663"/>
                    <a:gd name="connsiteX53" fmla="*/ 778 w 42822"/>
                    <a:gd name="connsiteY53" fmla="*/ 70992 h 79663"/>
                    <a:gd name="connsiteX54" fmla="*/ 778 w 42822"/>
                    <a:gd name="connsiteY54" fmla="*/ 70992 h 79663"/>
                    <a:gd name="connsiteX55" fmla="*/ 1017 w 42822"/>
                    <a:gd name="connsiteY55" fmla="*/ 71709 h 79663"/>
                    <a:gd name="connsiteX56" fmla="*/ 1795 w 42822"/>
                    <a:gd name="connsiteY56" fmla="*/ 73862 h 79663"/>
                    <a:gd name="connsiteX57" fmla="*/ 2273 w 42822"/>
                    <a:gd name="connsiteY57" fmla="*/ 75178 h 79663"/>
                    <a:gd name="connsiteX58" fmla="*/ 2572 w 42822"/>
                    <a:gd name="connsiteY58" fmla="*/ 76015 h 79663"/>
                    <a:gd name="connsiteX59" fmla="*/ 4605 w 42822"/>
                    <a:gd name="connsiteY59" fmla="*/ 77989 h 79663"/>
                    <a:gd name="connsiteX60" fmla="*/ 5622 w 42822"/>
                    <a:gd name="connsiteY60" fmla="*/ 78946 h 79663"/>
                    <a:gd name="connsiteX61" fmla="*/ 6280 w 42822"/>
                    <a:gd name="connsiteY61" fmla="*/ 79544 h 79663"/>
                    <a:gd name="connsiteX62" fmla="*/ 7058 w 42822"/>
                    <a:gd name="connsiteY62" fmla="*/ 79663 h 7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2822" h="79663">
                      <a:moveTo>
                        <a:pt x="42822" y="658"/>
                      </a:moveTo>
                      <a:lnTo>
                        <a:pt x="41028" y="0"/>
                      </a:lnTo>
                      <a:lnTo>
                        <a:pt x="39952" y="180"/>
                      </a:lnTo>
                      <a:lnTo>
                        <a:pt x="37439" y="658"/>
                      </a:lnTo>
                      <a:lnTo>
                        <a:pt x="36961" y="778"/>
                      </a:lnTo>
                      <a:lnTo>
                        <a:pt x="36782" y="837"/>
                      </a:lnTo>
                      <a:lnTo>
                        <a:pt x="36064" y="957"/>
                      </a:lnTo>
                      <a:lnTo>
                        <a:pt x="35286" y="1077"/>
                      </a:lnTo>
                      <a:lnTo>
                        <a:pt x="35227" y="1077"/>
                      </a:lnTo>
                      <a:lnTo>
                        <a:pt x="33911" y="1854"/>
                      </a:lnTo>
                      <a:lnTo>
                        <a:pt x="30921" y="3589"/>
                      </a:lnTo>
                      <a:lnTo>
                        <a:pt x="29126" y="4665"/>
                      </a:lnTo>
                      <a:lnTo>
                        <a:pt x="28648" y="4904"/>
                      </a:lnTo>
                      <a:lnTo>
                        <a:pt x="26136" y="7297"/>
                      </a:lnTo>
                      <a:lnTo>
                        <a:pt x="23385" y="9868"/>
                      </a:lnTo>
                      <a:lnTo>
                        <a:pt x="22308" y="10885"/>
                      </a:lnTo>
                      <a:lnTo>
                        <a:pt x="21770" y="11364"/>
                      </a:lnTo>
                      <a:lnTo>
                        <a:pt x="19617" y="14175"/>
                      </a:lnTo>
                      <a:lnTo>
                        <a:pt x="17225" y="17225"/>
                      </a:lnTo>
                      <a:lnTo>
                        <a:pt x="15072" y="19976"/>
                      </a:lnTo>
                      <a:lnTo>
                        <a:pt x="13098" y="23385"/>
                      </a:lnTo>
                      <a:lnTo>
                        <a:pt x="11244" y="26554"/>
                      </a:lnTo>
                      <a:lnTo>
                        <a:pt x="11184" y="26734"/>
                      </a:lnTo>
                      <a:lnTo>
                        <a:pt x="10885" y="27272"/>
                      </a:lnTo>
                      <a:lnTo>
                        <a:pt x="10706" y="27571"/>
                      </a:lnTo>
                      <a:lnTo>
                        <a:pt x="10646" y="27691"/>
                      </a:lnTo>
                      <a:lnTo>
                        <a:pt x="10347" y="28169"/>
                      </a:lnTo>
                      <a:lnTo>
                        <a:pt x="10287" y="28289"/>
                      </a:lnTo>
                      <a:lnTo>
                        <a:pt x="9151" y="30203"/>
                      </a:lnTo>
                      <a:lnTo>
                        <a:pt x="7954" y="33014"/>
                      </a:lnTo>
                      <a:lnTo>
                        <a:pt x="6399" y="36662"/>
                      </a:lnTo>
                      <a:lnTo>
                        <a:pt x="4844" y="40310"/>
                      </a:lnTo>
                      <a:lnTo>
                        <a:pt x="4486" y="41147"/>
                      </a:lnTo>
                      <a:lnTo>
                        <a:pt x="4127" y="42344"/>
                      </a:lnTo>
                      <a:lnTo>
                        <a:pt x="3050" y="46052"/>
                      </a:lnTo>
                      <a:lnTo>
                        <a:pt x="2931" y="46530"/>
                      </a:lnTo>
                      <a:lnTo>
                        <a:pt x="2751" y="47188"/>
                      </a:lnTo>
                      <a:lnTo>
                        <a:pt x="1675" y="50896"/>
                      </a:lnTo>
                      <a:lnTo>
                        <a:pt x="1376" y="51913"/>
                      </a:lnTo>
                      <a:lnTo>
                        <a:pt x="1376" y="52032"/>
                      </a:lnTo>
                      <a:lnTo>
                        <a:pt x="837" y="55740"/>
                      </a:lnTo>
                      <a:lnTo>
                        <a:pt x="479" y="58073"/>
                      </a:lnTo>
                      <a:lnTo>
                        <a:pt x="359" y="58910"/>
                      </a:lnTo>
                      <a:lnTo>
                        <a:pt x="299" y="59389"/>
                      </a:lnTo>
                      <a:lnTo>
                        <a:pt x="0" y="61482"/>
                      </a:lnTo>
                      <a:lnTo>
                        <a:pt x="0" y="61661"/>
                      </a:lnTo>
                      <a:lnTo>
                        <a:pt x="0" y="61721"/>
                      </a:lnTo>
                      <a:lnTo>
                        <a:pt x="60" y="62798"/>
                      </a:lnTo>
                      <a:lnTo>
                        <a:pt x="239" y="66326"/>
                      </a:lnTo>
                      <a:lnTo>
                        <a:pt x="299" y="67642"/>
                      </a:lnTo>
                      <a:lnTo>
                        <a:pt x="299" y="67702"/>
                      </a:lnTo>
                      <a:lnTo>
                        <a:pt x="359" y="69078"/>
                      </a:lnTo>
                      <a:lnTo>
                        <a:pt x="419" y="69975"/>
                      </a:lnTo>
                      <a:lnTo>
                        <a:pt x="778" y="70992"/>
                      </a:lnTo>
                      <a:lnTo>
                        <a:pt x="778" y="70992"/>
                      </a:lnTo>
                      <a:lnTo>
                        <a:pt x="1017" y="71709"/>
                      </a:lnTo>
                      <a:lnTo>
                        <a:pt x="1795" y="73862"/>
                      </a:lnTo>
                      <a:lnTo>
                        <a:pt x="2273" y="75178"/>
                      </a:lnTo>
                      <a:lnTo>
                        <a:pt x="2572" y="76015"/>
                      </a:lnTo>
                      <a:lnTo>
                        <a:pt x="4605" y="77989"/>
                      </a:lnTo>
                      <a:lnTo>
                        <a:pt x="5622" y="78946"/>
                      </a:lnTo>
                      <a:lnTo>
                        <a:pt x="6280" y="79544"/>
                      </a:lnTo>
                      <a:lnTo>
                        <a:pt x="7058" y="79663"/>
                      </a:lnTo>
                    </a:path>
                  </a:pathLst>
                </a:custGeom>
                <a:noFill/>
                <a:ln w="6350" cap="flat">
                  <a:solidFill>
                    <a:schemeClr val="bg1">
                      <a:alpha val="80000"/>
                    </a:schemeClr>
                  </a:solidFill>
                  <a:prstDash val="solid"/>
                  <a:miter/>
                </a:ln>
              </p:spPr>
              <p:txBody>
                <a:bodyPr rtlCol="0" anchor="ctr"/>
                <a:lstStyle/>
                <a:p>
                  <a:endParaRPr lang="en-GB"/>
                </a:p>
              </p:txBody>
            </p:sp>
            <p:sp>
              <p:nvSpPr>
                <p:cNvPr id="7765" name="Vrije vorm: vorm 7764">
                  <a:extLst>
                    <a:ext uri="{FF2B5EF4-FFF2-40B4-BE49-F238E27FC236}">
                      <a16:creationId xmlns:a16="http://schemas.microsoft.com/office/drawing/2014/main" id="{07A293E3-251A-423A-9B5F-2C7AB4C059BC}"/>
                    </a:ext>
                  </a:extLst>
                </p:cNvPr>
                <p:cNvSpPr/>
                <p:nvPr/>
              </p:nvSpPr>
              <p:spPr>
                <a:xfrm>
                  <a:off x="5742470" y="5119119"/>
                  <a:ext cx="4066" cy="7715"/>
                </a:xfrm>
                <a:custGeom>
                  <a:avLst/>
                  <a:gdLst>
                    <a:gd name="connsiteX0" fmla="*/ 4067 w 4066"/>
                    <a:gd name="connsiteY0" fmla="*/ 6698 h 7715"/>
                    <a:gd name="connsiteX1" fmla="*/ 2990 w 4066"/>
                    <a:gd name="connsiteY1" fmla="*/ 7536 h 7715"/>
                    <a:gd name="connsiteX2" fmla="*/ 2512 w 4066"/>
                    <a:gd name="connsiteY2" fmla="*/ 7715 h 7715"/>
                    <a:gd name="connsiteX3" fmla="*/ 1973 w 4066"/>
                    <a:gd name="connsiteY3" fmla="*/ 7655 h 7715"/>
                    <a:gd name="connsiteX4" fmla="*/ 1435 w 4066"/>
                    <a:gd name="connsiteY4" fmla="*/ 7237 h 7715"/>
                    <a:gd name="connsiteX5" fmla="*/ 957 w 4066"/>
                    <a:gd name="connsiteY5" fmla="*/ 6698 h 7715"/>
                    <a:gd name="connsiteX6" fmla="*/ 897 w 4066"/>
                    <a:gd name="connsiteY6" fmla="*/ 6579 h 7715"/>
                    <a:gd name="connsiteX7" fmla="*/ 538 w 4066"/>
                    <a:gd name="connsiteY7" fmla="*/ 5981 h 7715"/>
                    <a:gd name="connsiteX8" fmla="*/ 359 w 4066"/>
                    <a:gd name="connsiteY8" fmla="*/ 5443 h 7715"/>
                    <a:gd name="connsiteX9" fmla="*/ 239 w 4066"/>
                    <a:gd name="connsiteY9" fmla="*/ 5203 h 7715"/>
                    <a:gd name="connsiteX10" fmla="*/ 119 w 4066"/>
                    <a:gd name="connsiteY10" fmla="*/ 4486 h 7715"/>
                    <a:gd name="connsiteX11" fmla="*/ 60 w 4066"/>
                    <a:gd name="connsiteY11" fmla="*/ 4306 h 7715"/>
                    <a:gd name="connsiteX12" fmla="*/ 0 w 4066"/>
                    <a:gd name="connsiteY12" fmla="*/ 3409 h 7715"/>
                    <a:gd name="connsiteX13" fmla="*/ 119 w 4066"/>
                    <a:gd name="connsiteY13" fmla="*/ 2572 h 7715"/>
                    <a:gd name="connsiteX14" fmla="*/ 359 w 4066"/>
                    <a:gd name="connsiteY14" fmla="*/ 1854 h 7715"/>
                    <a:gd name="connsiteX15" fmla="*/ 359 w 4066"/>
                    <a:gd name="connsiteY15" fmla="*/ 1854 h 7715"/>
                    <a:gd name="connsiteX16" fmla="*/ 478 w 4066"/>
                    <a:gd name="connsiteY16" fmla="*/ 1675 h 7715"/>
                    <a:gd name="connsiteX17" fmla="*/ 718 w 4066"/>
                    <a:gd name="connsiteY17" fmla="*/ 1256 h 7715"/>
                    <a:gd name="connsiteX18" fmla="*/ 1076 w 4066"/>
                    <a:gd name="connsiteY18" fmla="*/ 897 h 7715"/>
                    <a:gd name="connsiteX19" fmla="*/ 1136 w 4066"/>
                    <a:gd name="connsiteY19" fmla="*/ 837 h 7715"/>
                    <a:gd name="connsiteX20" fmla="*/ 2213 w 4066"/>
                    <a:gd name="connsiteY20" fmla="*/ 0 h 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66" h="7715">
                      <a:moveTo>
                        <a:pt x="4067" y="6698"/>
                      </a:moveTo>
                      <a:lnTo>
                        <a:pt x="2990" y="7536"/>
                      </a:lnTo>
                      <a:lnTo>
                        <a:pt x="2512" y="7715"/>
                      </a:lnTo>
                      <a:lnTo>
                        <a:pt x="1973" y="7655"/>
                      </a:lnTo>
                      <a:lnTo>
                        <a:pt x="1435" y="7237"/>
                      </a:lnTo>
                      <a:lnTo>
                        <a:pt x="957" y="6698"/>
                      </a:lnTo>
                      <a:lnTo>
                        <a:pt x="897" y="6579"/>
                      </a:lnTo>
                      <a:lnTo>
                        <a:pt x="538" y="5981"/>
                      </a:lnTo>
                      <a:lnTo>
                        <a:pt x="359" y="5443"/>
                      </a:lnTo>
                      <a:lnTo>
                        <a:pt x="239" y="5203"/>
                      </a:lnTo>
                      <a:lnTo>
                        <a:pt x="119" y="4486"/>
                      </a:lnTo>
                      <a:lnTo>
                        <a:pt x="60" y="4306"/>
                      </a:lnTo>
                      <a:lnTo>
                        <a:pt x="0" y="3409"/>
                      </a:lnTo>
                      <a:lnTo>
                        <a:pt x="119" y="2572"/>
                      </a:lnTo>
                      <a:lnTo>
                        <a:pt x="359" y="1854"/>
                      </a:lnTo>
                      <a:lnTo>
                        <a:pt x="359" y="1854"/>
                      </a:lnTo>
                      <a:lnTo>
                        <a:pt x="478" y="1675"/>
                      </a:lnTo>
                      <a:lnTo>
                        <a:pt x="718" y="1256"/>
                      </a:lnTo>
                      <a:lnTo>
                        <a:pt x="1076" y="897"/>
                      </a:lnTo>
                      <a:lnTo>
                        <a:pt x="1136" y="837"/>
                      </a:lnTo>
                      <a:lnTo>
                        <a:pt x="2213" y="0"/>
                      </a:lnTo>
                    </a:path>
                  </a:pathLst>
                </a:custGeom>
                <a:noFill/>
                <a:ln w="6350" cap="flat">
                  <a:solidFill>
                    <a:schemeClr val="bg1">
                      <a:alpha val="80000"/>
                    </a:schemeClr>
                  </a:solidFill>
                  <a:prstDash val="solid"/>
                  <a:miter/>
                </a:ln>
              </p:spPr>
              <p:txBody>
                <a:bodyPr rtlCol="0" anchor="ctr"/>
                <a:lstStyle/>
                <a:p>
                  <a:endParaRPr lang="en-GB"/>
                </a:p>
              </p:txBody>
            </p:sp>
            <p:sp>
              <p:nvSpPr>
                <p:cNvPr id="7766" name="Vrije vorm: vorm 7765">
                  <a:extLst>
                    <a:ext uri="{FF2B5EF4-FFF2-40B4-BE49-F238E27FC236}">
                      <a16:creationId xmlns:a16="http://schemas.microsoft.com/office/drawing/2014/main" id="{87C24514-B411-41DD-A8F4-FAAC46CA0F1E}"/>
                    </a:ext>
                  </a:extLst>
                </p:cNvPr>
                <p:cNvSpPr/>
                <p:nvPr/>
              </p:nvSpPr>
              <p:spPr>
                <a:xfrm>
                  <a:off x="5741752" y="5115829"/>
                  <a:ext cx="8791" cy="17164"/>
                </a:xfrm>
                <a:custGeom>
                  <a:avLst/>
                  <a:gdLst>
                    <a:gd name="connsiteX0" fmla="*/ 0 w 8791"/>
                    <a:gd name="connsiteY0" fmla="*/ 17165 h 17164"/>
                    <a:gd name="connsiteX1" fmla="*/ 119 w 8791"/>
                    <a:gd name="connsiteY1" fmla="*/ 13516 h 17164"/>
                    <a:gd name="connsiteX2" fmla="*/ 239 w 8791"/>
                    <a:gd name="connsiteY2" fmla="*/ 9868 h 17164"/>
                    <a:gd name="connsiteX3" fmla="*/ 299 w 8791"/>
                    <a:gd name="connsiteY3" fmla="*/ 7895 h 17164"/>
                    <a:gd name="connsiteX4" fmla="*/ 418 w 8791"/>
                    <a:gd name="connsiteY4" fmla="*/ 4665 h 17164"/>
                    <a:gd name="connsiteX5" fmla="*/ 538 w 8791"/>
                    <a:gd name="connsiteY5" fmla="*/ 1017 h 17164"/>
                    <a:gd name="connsiteX6" fmla="*/ 538 w 8791"/>
                    <a:gd name="connsiteY6" fmla="*/ 778 h 17164"/>
                    <a:gd name="connsiteX7" fmla="*/ 1615 w 8791"/>
                    <a:gd name="connsiteY7" fmla="*/ 0 h 17164"/>
                    <a:gd name="connsiteX8" fmla="*/ 4246 w 8791"/>
                    <a:gd name="connsiteY8" fmla="*/ 957 h 17164"/>
                    <a:gd name="connsiteX9" fmla="*/ 6878 w 8791"/>
                    <a:gd name="connsiteY9" fmla="*/ 1914 h 17164"/>
                    <a:gd name="connsiteX10" fmla="*/ 8791 w 8791"/>
                    <a:gd name="connsiteY10" fmla="*/ 2632 h 1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91" h="17164">
                      <a:moveTo>
                        <a:pt x="0" y="17165"/>
                      </a:moveTo>
                      <a:lnTo>
                        <a:pt x="119" y="13516"/>
                      </a:lnTo>
                      <a:lnTo>
                        <a:pt x="239" y="9868"/>
                      </a:lnTo>
                      <a:lnTo>
                        <a:pt x="299" y="7895"/>
                      </a:lnTo>
                      <a:lnTo>
                        <a:pt x="418" y="4665"/>
                      </a:lnTo>
                      <a:lnTo>
                        <a:pt x="538" y="1017"/>
                      </a:lnTo>
                      <a:lnTo>
                        <a:pt x="538" y="778"/>
                      </a:lnTo>
                      <a:lnTo>
                        <a:pt x="1615" y="0"/>
                      </a:lnTo>
                      <a:lnTo>
                        <a:pt x="4246" y="957"/>
                      </a:lnTo>
                      <a:lnTo>
                        <a:pt x="6878" y="1914"/>
                      </a:lnTo>
                      <a:lnTo>
                        <a:pt x="8791" y="2632"/>
                      </a:lnTo>
                    </a:path>
                  </a:pathLst>
                </a:custGeom>
                <a:noFill/>
                <a:ln w="6350" cap="flat">
                  <a:solidFill>
                    <a:schemeClr val="bg1">
                      <a:alpha val="80000"/>
                    </a:schemeClr>
                  </a:solidFill>
                  <a:prstDash val="solid"/>
                  <a:miter/>
                </a:ln>
              </p:spPr>
              <p:txBody>
                <a:bodyPr rtlCol="0" anchor="ctr"/>
                <a:lstStyle/>
                <a:p>
                  <a:endParaRPr lang="en-GB"/>
                </a:p>
              </p:txBody>
            </p:sp>
            <p:sp>
              <p:nvSpPr>
                <p:cNvPr id="7767" name="Vrije vorm: vorm 7766">
                  <a:extLst>
                    <a:ext uri="{FF2B5EF4-FFF2-40B4-BE49-F238E27FC236}">
                      <a16:creationId xmlns:a16="http://schemas.microsoft.com/office/drawing/2014/main" id="{43553026-6282-4509-931F-0D76191C8DF2}"/>
                    </a:ext>
                  </a:extLst>
                </p:cNvPr>
                <p:cNvSpPr/>
                <p:nvPr/>
              </p:nvSpPr>
              <p:spPr>
                <a:xfrm>
                  <a:off x="5748988" y="5118461"/>
                  <a:ext cx="10585" cy="14652"/>
                </a:xfrm>
                <a:custGeom>
                  <a:avLst/>
                  <a:gdLst>
                    <a:gd name="connsiteX0" fmla="*/ 10586 w 10585"/>
                    <a:gd name="connsiteY0" fmla="*/ 6698 h 14652"/>
                    <a:gd name="connsiteX1" fmla="*/ 8373 w 10585"/>
                    <a:gd name="connsiteY1" fmla="*/ 5024 h 14652"/>
                    <a:gd name="connsiteX2" fmla="*/ 6160 w 10585"/>
                    <a:gd name="connsiteY2" fmla="*/ 3349 h 14652"/>
                    <a:gd name="connsiteX3" fmla="*/ 3947 w 10585"/>
                    <a:gd name="connsiteY3" fmla="*/ 1675 h 14652"/>
                    <a:gd name="connsiteX4" fmla="*/ 1675 w 10585"/>
                    <a:gd name="connsiteY4" fmla="*/ 0 h 14652"/>
                    <a:gd name="connsiteX5" fmla="*/ 598 w 10585"/>
                    <a:gd name="connsiteY5" fmla="*/ 837 h 14652"/>
                    <a:gd name="connsiteX6" fmla="*/ 598 w 10585"/>
                    <a:gd name="connsiteY6" fmla="*/ 1136 h 14652"/>
                    <a:gd name="connsiteX7" fmla="*/ 598 w 10585"/>
                    <a:gd name="connsiteY7" fmla="*/ 1435 h 14652"/>
                    <a:gd name="connsiteX8" fmla="*/ 598 w 10585"/>
                    <a:gd name="connsiteY8" fmla="*/ 1914 h 14652"/>
                    <a:gd name="connsiteX9" fmla="*/ 538 w 10585"/>
                    <a:gd name="connsiteY9" fmla="*/ 3229 h 14652"/>
                    <a:gd name="connsiteX10" fmla="*/ 538 w 10585"/>
                    <a:gd name="connsiteY10" fmla="*/ 3409 h 14652"/>
                    <a:gd name="connsiteX11" fmla="*/ 419 w 10585"/>
                    <a:gd name="connsiteY11" fmla="*/ 6100 h 14652"/>
                    <a:gd name="connsiteX12" fmla="*/ 419 w 10585"/>
                    <a:gd name="connsiteY12" fmla="*/ 6280 h 14652"/>
                    <a:gd name="connsiteX13" fmla="*/ 359 w 10585"/>
                    <a:gd name="connsiteY13" fmla="*/ 7895 h 14652"/>
                    <a:gd name="connsiteX14" fmla="*/ 359 w 10585"/>
                    <a:gd name="connsiteY14" fmla="*/ 8074 h 14652"/>
                    <a:gd name="connsiteX15" fmla="*/ 299 w 10585"/>
                    <a:gd name="connsiteY15" fmla="*/ 9270 h 14652"/>
                    <a:gd name="connsiteX16" fmla="*/ 299 w 10585"/>
                    <a:gd name="connsiteY16" fmla="*/ 9270 h 14652"/>
                    <a:gd name="connsiteX17" fmla="*/ 120 w 10585"/>
                    <a:gd name="connsiteY17" fmla="*/ 12919 h 14652"/>
                    <a:gd name="connsiteX18" fmla="*/ 60 w 10585"/>
                    <a:gd name="connsiteY18" fmla="*/ 13696 h 14652"/>
                    <a:gd name="connsiteX19" fmla="*/ 0 w 10585"/>
                    <a:gd name="connsiteY19" fmla="*/ 14653 h 1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585" h="14652">
                      <a:moveTo>
                        <a:pt x="10586" y="6698"/>
                      </a:moveTo>
                      <a:lnTo>
                        <a:pt x="8373" y="5024"/>
                      </a:lnTo>
                      <a:lnTo>
                        <a:pt x="6160" y="3349"/>
                      </a:lnTo>
                      <a:lnTo>
                        <a:pt x="3947" y="1675"/>
                      </a:lnTo>
                      <a:lnTo>
                        <a:pt x="1675" y="0"/>
                      </a:lnTo>
                      <a:lnTo>
                        <a:pt x="598" y="837"/>
                      </a:lnTo>
                      <a:lnTo>
                        <a:pt x="598" y="1136"/>
                      </a:lnTo>
                      <a:lnTo>
                        <a:pt x="598" y="1435"/>
                      </a:lnTo>
                      <a:lnTo>
                        <a:pt x="598" y="1914"/>
                      </a:lnTo>
                      <a:lnTo>
                        <a:pt x="538" y="3229"/>
                      </a:lnTo>
                      <a:lnTo>
                        <a:pt x="538" y="3409"/>
                      </a:lnTo>
                      <a:lnTo>
                        <a:pt x="419" y="6100"/>
                      </a:lnTo>
                      <a:lnTo>
                        <a:pt x="419" y="6280"/>
                      </a:lnTo>
                      <a:lnTo>
                        <a:pt x="359" y="7895"/>
                      </a:lnTo>
                      <a:lnTo>
                        <a:pt x="359" y="8074"/>
                      </a:lnTo>
                      <a:lnTo>
                        <a:pt x="299" y="9270"/>
                      </a:lnTo>
                      <a:lnTo>
                        <a:pt x="299" y="9270"/>
                      </a:lnTo>
                      <a:lnTo>
                        <a:pt x="120" y="12919"/>
                      </a:lnTo>
                      <a:lnTo>
                        <a:pt x="60" y="13696"/>
                      </a:lnTo>
                      <a:lnTo>
                        <a:pt x="0" y="14653"/>
                      </a:lnTo>
                    </a:path>
                  </a:pathLst>
                </a:custGeom>
                <a:noFill/>
                <a:ln w="6350" cap="flat">
                  <a:solidFill>
                    <a:schemeClr val="bg1">
                      <a:alpha val="80000"/>
                    </a:schemeClr>
                  </a:solidFill>
                  <a:prstDash val="solid"/>
                  <a:miter/>
                </a:ln>
              </p:spPr>
              <p:txBody>
                <a:bodyPr rtlCol="0" anchor="ctr"/>
                <a:lstStyle/>
                <a:p>
                  <a:endParaRPr lang="en-GB"/>
                </a:p>
              </p:txBody>
            </p:sp>
            <p:sp>
              <p:nvSpPr>
                <p:cNvPr id="7768" name="Vrije vorm: vorm 7767">
                  <a:extLst>
                    <a:ext uri="{FF2B5EF4-FFF2-40B4-BE49-F238E27FC236}">
                      <a16:creationId xmlns:a16="http://schemas.microsoft.com/office/drawing/2014/main" id="{39113FF9-05C0-4AD0-B1A3-B26E89E76B5D}"/>
                    </a:ext>
                  </a:extLst>
                </p:cNvPr>
                <p:cNvSpPr/>
                <p:nvPr/>
              </p:nvSpPr>
              <p:spPr>
                <a:xfrm>
                  <a:off x="5744682" y="5119059"/>
                  <a:ext cx="2990" cy="6757"/>
                </a:xfrm>
                <a:custGeom>
                  <a:avLst/>
                  <a:gdLst>
                    <a:gd name="connsiteX0" fmla="*/ 1854 w 2990"/>
                    <a:gd name="connsiteY0" fmla="*/ 6758 h 6757"/>
                    <a:gd name="connsiteX1" fmla="*/ 2273 w 2990"/>
                    <a:gd name="connsiteY1" fmla="*/ 6399 h 6757"/>
                    <a:gd name="connsiteX2" fmla="*/ 2632 w 2990"/>
                    <a:gd name="connsiteY2" fmla="*/ 5801 h 6757"/>
                    <a:gd name="connsiteX3" fmla="*/ 2871 w 2990"/>
                    <a:gd name="connsiteY3" fmla="*/ 5083 h 6757"/>
                    <a:gd name="connsiteX4" fmla="*/ 2990 w 2990"/>
                    <a:gd name="connsiteY4" fmla="*/ 4246 h 6757"/>
                    <a:gd name="connsiteX5" fmla="*/ 2930 w 2990"/>
                    <a:gd name="connsiteY5" fmla="*/ 3349 h 6757"/>
                    <a:gd name="connsiteX6" fmla="*/ 2751 w 2990"/>
                    <a:gd name="connsiteY6" fmla="*/ 2452 h 6757"/>
                    <a:gd name="connsiteX7" fmla="*/ 2452 w 2990"/>
                    <a:gd name="connsiteY7" fmla="*/ 1615 h 6757"/>
                    <a:gd name="connsiteX8" fmla="*/ 2033 w 2990"/>
                    <a:gd name="connsiteY8" fmla="*/ 897 h 6757"/>
                    <a:gd name="connsiteX9" fmla="*/ 1914 w 2990"/>
                    <a:gd name="connsiteY9" fmla="*/ 718 h 6757"/>
                    <a:gd name="connsiteX10" fmla="*/ 1555 w 2990"/>
                    <a:gd name="connsiteY10" fmla="*/ 359 h 6757"/>
                    <a:gd name="connsiteX11" fmla="*/ 1017 w 2990"/>
                    <a:gd name="connsiteY11" fmla="*/ 60 h 6757"/>
                    <a:gd name="connsiteX12" fmla="*/ 957 w 2990"/>
                    <a:gd name="connsiteY12" fmla="*/ 60 h 6757"/>
                    <a:gd name="connsiteX13" fmla="*/ 478 w 2990"/>
                    <a:gd name="connsiteY13" fmla="*/ 0 h 6757"/>
                    <a:gd name="connsiteX14" fmla="*/ 0 w 2990"/>
                    <a:gd name="connsiteY14" fmla="*/ 179 h 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90" h="6757">
                      <a:moveTo>
                        <a:pt x="1854" y="6758"/>
                      </a:moveTo>
                      <a:lnTo>
                        <a:pt x="2273" y="6399"/>
                      </a:lnTo>
                      <a:lnTo>
                        <a:pt x="2632" y="5801"/>
                      </a:lnTo>
                      <a:lnTo>
                        <a:pt x="2871" y="5083"/>
                      </a:lnTo>
                      <a:lnTo>
                        <a:pt x="2990" y="4246"/>
                      </a:lnTo>
                      <a:lnTo>
                        <a:pt x="2930" y="3349"/>
                      </a:lnTo>
                      <a:lnTo>
                        <a:pt x="2751" y="2452"/>
                      </a:lnTo>
                      <a:lnTo>
                        <a:pt x="2452" y="1615"/>
                      </a:lnTo>
                      <a:lnTo>
                        <a:pt x="2033" y="897"/>
                      </a:lnTo>
                      <a:lnTo>
                        <a:pt x="1914" y="718"/>
                      </a:lnTo>
                      <a:lnTo>
                        <a:pt x="1555" y="359"/>
                      </a:lnTo>
                      <a:lnTo>
                        <a:pt x="1017" y="60"/>
                      </a:lnTo>
                      <a:lnTo>
                        <a:pt x="957" y="60"/>
                      </a:lnTo>
                      <a:lnTo>
                        <a:pt x="478" y="0"/>
                      </a:lnTo>
                      <a:lnTo>
                        <a:pt x="0" y="179"/>
                      </a:lnTo>
                    </a:path>
                  </a:pathLst>
                </a:custGeom>
                <a:noFill/>
                <a:ln w="6350" cap="flat">
                  <a:solidFill>
                    <a:schemeClr val="bg1">
                      <a:alpha val="80000"/>
                    </a:schemeClr>
                  </a:solidFill>
                  <a:prstDash val="solid"/>
                  <a:miter/>
                </a:ln>
              </p:spPr>
              <p:txBody>
                <a:bodyPr rtlCol="0" anchor="ctr"/>
                <a:lstStyle/>
                <a:p>
                  <a:endParaRPr lang="en-GB"/>
                </a:p>
              </p:txBody>
            </p:sp>
            <p:sp>
              <p:nvSpPr>
                <p:cNvPr id="7769" name="Vrije vorm: vorm 7768">
                  <a:extLst>
                    <a:ext uri="{FF2B5EF4-FFF2-40B4-BE49-F238E27FC236}">
                      <a16:creationId xmlns:a16="http://schemas.microsoft.com/office/drawing/2014/main" id="{50BA72BA-8906-4AC9-91CF-85BD32BB7D54}"/>
                    </a:ext>
                  </a:extLst>
                </p:cNvPr>
                <p:cNvSpPr/>
                <p:nvPr/>
              </p:nvSpPr>
              <p:spPr>
                <a:xfrm>
                  <a:off x="5742350" y="5116607"/>
                  <a:ext cx="7176" cy="2631"/>
                </a:xfrm>
                <a:custGeom>
                  <a:avLst/>
                  <a:gdLst>
                    <a:gd name="connsiteX0" fmla="*/ 0 w 7176"/>
                    <a:gd name="connsiteY0" fmla="*/ 0 h 2631"/>
                    <a:gd name="connsiteX1" fmla="*/ 2632 w 7176"/>
                    <a:gd name="connsiteY1" fmla="*/ 957 h 2631"/>
                    <a:gd name="connsiteX2" fmla="*/ 5263 w 7176"/>
                    <a:gd name="connsiteY2" fmla="*/ 1914 h 2631"/>
                    <a:gd name="connsiteX3" fmla="*/ 7177 w 7176"/>
                    <a:gd name="connsiteY3" fmla="*/ 2632 h 2631"/>
                  </a:gdLst>
                  <a:ahLst/>
                  <a:cxnLst>
                    <a:cxn ang="0">
                      <a:pos x="connsiteX0" y="connsiteY0"/>
                    </a:cxn>
                    <a:cxn ang="0">
                      <a:pos x="connsiteX1" y="connsiteY1"/>
                    </a:cxn>
                    <a:cxn ang="0">
                      <a:pos x="connsiteX2" y="connsiteY2"/>
                    </a:cxn>
                    <a:cxn ang="0">
                      <a:pos x="connsiteX3" y="connsiteY3"/>
                    </a:cxn>
                  </a:cxnLst>
                  <a:rect l="l" t="t" r="r" b="b"/>
                  <a:pathLst>
                    <a:path w="7176" h="2631">
                      <a:moveTo>
                        <a:pt x="0" y="0"/>
                      </a:moveTo>
                      <a:lnTo>
                        <a:pt x="2632" y="957"/>
                      </a:lnTo>
                      <a:lnTo>
                        <a:pt x="5263" y="1914"/>
                      </a:lnTo>
                      <a:lnTo>
                        <a:pt x="7177" y="2632"/>
                      </a:lnTo>
                    </a:path>
                  </a:pathLst>
                </a:custGeom>
                <a:noFill/>
                <a:ln w="6350" cap="flat">
                  <a:solidFill>
                    <a:schemeClr val="bg1">
                      <a:alpha val="80000"/>
                    </a:schemeClr>
                  </a:solidFill>
                  <a:prstDash val="solid"/>
                  <a:miter/>
                </a:ln>
              </p:spPr>
              <p:txBody>
                <a:bodyPr rtlCol="0" anchor="ctr"/>
                <a:lstStyle/>
                <a:p>
                  <a:endParaRPr lang="en-GB"/>
                </a:p>
              </p:txBody>
            </p:sp>
            <p:sp>
              <p:nvSpPr>
                <p:cNvPr id="7770" name="Vrije vorm: vorm 7769">
                  <a:extLst>
                    <a:ext uri="{FF2B5EF4-FFF2-40B4-BE49-F238E27FC236}">
                      <a16:creationId xmlns:a16="http://schemas.microsoft.com/office/drawing/2014/main" id="{E9BDD3F6-A125-47AA-871E-2DD29692C527}"/>
                    </a:ext>
                  </a:extLst>
                </p:cNvPr>
                <p:cNvSpPr/>
                <p:nvPr/>
              </p:nvSpPr>
              <p:spPr>
                <a:xfrm>
                  <a:off x="5749826" y="5119777"/>
                  <a:ext cx="418" cy="12320"/>
                </a:xfrm>
                <a:custGeom>
                  <a:avLst/>
                  <a:gdLst>
                    <a:gd name="connsiteX0" fmla="*/ 419 w 418"/>
                    <a:gd name="connsiteY0" fmla="*/ 0 h 12320"/>
                    <a:gd name="connsiteX1" fmla="*/ 419 w 418"/>
                    <a:gd name="connsiteY1" fmla="*/ 538 h 12320"/>
                    <a:gd name="connsiteX2" fmla="*/ 419 w 418"/>
                    <a:gd name="connsiteY2" fmla="*/ 1017 h 12320"/>
                    <a:gd name="connsiteX3" fmla="*/ 359 w 418"/>
                    <a:gd name="connsiteY3" fmla="*/ 2332 h 12320"/>
                    <a:gd name="connsiteX4" fmla="*/ 359 w 418"/>
                    <a:gd name="connsiteY4" fmla="*/ 2512 h 12320"/>
                    <a:gd name="connsiteX5" fmla="*/ 239 w 418"/>
                    <a:gd name="connsiteY5" fmla="*/ 4904 h 12320"/>
                    <a:gd name="connsiteX6" fmla="*/ 239 w 418"/>
                    <a:gd name="connsiteY6" fmla="*/ 5323 h 12320"/>
                    <a:gd name="connsiteX7" fmla="*/ 239 w 418"/>
                    <a:gd name="connsiteY7" fmla="*/ 5741 h 12320"/>
                    <a:gd name="connsiteX8" fmla="*/ 239 w 418"/>
                    <a:gd name="connsiteY8" fmla="*/ 5981 h 12320"/>
                    <a:gd name="connsiteX9" fmla="*/ 239 w 418"/>
                    <a:gd name="connsiteY9" fmla="*/ 6519 h 12320"/>
                    <a:gd name="connsiteX10" fmla="*/ 239 w 418"/>
                    <a:gd name="connsiteY10" fmla="*/ 6519 h 12320"/>
                    <a:gd name="connsiteX11" fmla="*/ 60 w 418"/>
                    <a:gd name="connsiteY11" fmla="*/ 10167 h 12320"/>
                    <a:gd name="connsiteX12" fmla="*/ 0 w 418"/>
                    <a:gd name="connsiteY12" fmla="*/ 11363 h 12320"/>
                    <a:gd name="connsiteX13" fmla="*/ 0 w 418"/>
                    <a:gd name="connsiteY13" fmla="*/ 11603 h 12320"/>
                    <a:gd name="connsiteX14" fmla="*/ 0 w 418"/>
                    <a:gd name="connsiteY14" fmla="*/ 12320 h 1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8" h="12320">
                      <a:moveTo>
                        <a:pt x="419" y="0"/>
                      </a:moveTo>
                      <a:lnTo>
                        <a:pt x="419" y="538"/>
                      </a:lnTo>
                      <a:lnTo>
                        <a:pt x="419" y="1017"/>
                      </a:lnTo>
                      <a:lnTo>
                        <a:pt x="359" y="2332"/>
                      </a:lnTo>
                      <a:lnTo>
                        <a:pt x="359" y="2512"/>
                      </a:lnTo>
                      <a:lnTo>
                        <a:pt x="239" y="4904"/>
                      </a:lnTo>
                      <a:lnTo>
                        <a:pt x="239" y="5323"/>
                      </a:lnTo>
                      <a:lnTo>
                        <a:pt x="239" y="5741"/>
                      </a:lnTo>
                      <a:lnTo>
                        <a:pt x="239" y="5981"/>
                      </a:lnTo>
                      <a:lnTo>
                        <a:pt x="239" y="6519"/>
                      </a:lnTo>
                      <a:lnTo>
                        <a:pt x="239" y="6519"/>
                      </a:lnTo>
                      <a:lnTo>
                        <a:pt x="60" y="10167"/>
                      </a:lnTo>
                      <a:lnTo>
                        <a:pt x="0" y="11363"/>
                      </a:lnTo>
                      <a:lnTo>
                        <a:pt x="0" y="11603"/>
                      </a:lnTo>
                      <a:lnTo>
                        <a:pt x="0" y="12320"/>
                      </a:lnTo>
                    </a:path>
                  </a:pathLst>
                </a:custGeom>
                <a:noFill/>
                <a:ln w="6350" cap="flat">
                  <a:solidFill>
                    <a:schemeClr val="bg1">
                      <a:alpha val="80000"/>
                    </a:schemeClr>
                  </a:solidFill>
                  <a:prstDash val="solid"/>
                  <a:miter/>
                </a:ln>
              </p:spPr>
              <p:txBody>
                <a:bodyPr rtlCol="0" anchor="ctr"/>
                <a:lstStyle/>
                <a:p>
                  <a:endParaRPr lang="en-GB"/>
                </a:p>
              </p:txBody>
            </p:sp>
            <p:sp>
              <p:nvSpPr>
                <p:cNvPr id="7771" name="Vrije vorm: vorm 7770">
                  <a:extLst>
                    <a:ext uri="{FF2B5EF4-FFF2-40B4-BE49-F238E27FC236}">
                      <a16:creationId xmlns:a16="http://schemas.microsoft.com/office/drawing/2014/main" id="{559F2C62-B00F-4280-96C1-C5D7395BD788}"/>
                    </a:ext>
                  </a:extLst>
                </p:cNvPr>
                <p:cNvSpPr/>
                <p:nvPr/>
              </p:nvSpPr>
              <p:spPr>
                <a:xfrm>
                  <a:off x="5750244" y="5119777"/>
                  <a:ext cx="9210" cy="6100"/>
                </a:xfrm>
                <a:custGeom>
                  <a:avLst/>
                  <a:gdLst>
                    <a:gd name="connsiteX0" fmla="*/ 0 w 9210"/>
                    <a:gd name="connsiteY0" fmla="*/ 0 h 6100"/>
                    <a:gd name="connsiteX1" fmla="*/ 2213 w 9210"/>
                    <a:gd name="connsiteY1" fmla="*/ 1674 h 6100"/>
                    <a:gd name="connsiteX2" fmla="*/ 4426 w 9210"/>
                    <a:gd name="connsiteY2" fmla="*/ 3349 h 6100"/>
                    <a:gd name="connsiteX3" fmla="*/ 5024 w 9210"/>
                    <a:gd name="connsiteY3" fmla="*/ 3827 h 6100"/>
                    <a:gd name="connsiteX4" fmla="*/ 7236 w 9210"/>
                    <a:gd name="connsiteY4" fmla="*/ 5502 h 6100"/>
                    <a:gd name="connsiteX5" fmla="*/ 8014 w 9210"/>
                    <a:gd name="connsiteY5" fmla="*/ 6100 h 6100"/>
                    <a:gd name="connsiteX6" fmla="*/ 9210 w 9210"/>
                    <a:gd name="connsiteY6" fmla="*/ 5442 h 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10" h="6100">
                      <a:moveTo>
                        <a:pt x="0" y="0"/>
                      </a:moveTo>
                      <a:lnTo>
                        <a:pt x="2213" y="1674"/>
                      </a:lnTo>
                      <a:lnTo>
                        <a:pt x="4426" y="3349"/>
                      </a:lnTo>
                      <a:lnTo>
                        <a:pt x="5024" y="3827"/>
                      </a:lnTo>
                      <a:lnTo>
                        <a:pt x="7236" y="5502"/>
                      </a:lnTo>
                      <a:lnTo>
                        <a:pt x="8014" y="6100"/>
                      </a:lnTo>
                      <a:lnTo>
                        <a:pt x="9210" y="5442"/>
                      </a:lnTo>
                    </a:path>
                  </a:pathLst>
                </a:custGeom>
                <a:noFill/>
                <a:ln w="6350" cap="flat">
                  <a:solidFill>
                    <a:schemeClr val="bg1">
                      <a:alpha val="80000"/>
                    </a:schemeClr>
                  </a:solidFill>
                  <a:prstDash val="solid"/>
                  <a:miter/>
                </a:ln>
              </p:spPr>
              <p:txBody>
                <a:bodyPr rtlCol="0" anchor="ctr"/>
                <a:lstStyle/>
                <a:p>
                  <a:endParaRPr lang="en-GB"/>
                </a:p>
              </p:txBody>
            </p:sp>
            <p:sp>
              <p:nvSpPr>
                <p:cNvPr id="7772" name="Vrije vorm: vorm 7771">
                  <a:extLst>
                    <a:ext uri="{FF2B5EF4-FFF2-40B4-BE49-F238E27FC236}">
                      <a16:creationId xmlns:a16="http://schemas.microsoft.com/office/drawing/2014/main" id="{05D8EAAA-9166-4812-A94C-35DAD299A675}"/>
                    </a:ext>
                  </a:extLst>
                </p:cNvPr>
                <p:cNvSpPr/>
                <p:nvPr/>
              </p:nvSpPr>
              <p:spPr>
                <a:xfrm>
                  <a:off x="5752696" y="5125279"/>
                  <a:ext cx="5621" cy="2332"/>
                </a:xfrm>
                <a:custGeom>
                  <a:avLst/>
                  <a:gdLst>
                    <a:gd name="connsiteX0" fmla="*/ 5622 w 5621"/>
                    <a:gd name="connsiteY0" fmla="*/ 538 h 2332"/>
                    <a:gd name="connsiteX1" fmla="*/ 4127 w 5621"/>
                    <a:gd name="connsiteY1" fmla="*/ 0 h 2332"/>
                    <a:gd name="connsiteX2" fmla="*/ 1914 w 5621"/>
                    <a:gd name="connsiteY2" fmla="*/ 1256 h 2332"/>
                    <a:gd name="connsiteX3" fmla="*/ 0 w 5621"/>
                    <a:gd name="connsiteY3" fmla="*/ 2333 h 2332"/>
                  </a:gdLst>
                  <a:ahLst/>
                  <a:cxnLst>
                    <a:cxn ang="0">
                      <a:pos x="connsiteX0" y="connsiteY0"/>
                    </a:cxn>
                    <a:cxn ang="0">
                      <a:pos x="connsiteX1" y="connsiteY1"/>
                    </a:cxn>
                    <a:cxn ang="0">
                      <a:pos x="connsiteX2" y="connsiteY2"/>
                    </a:cxn>
                    <a:cxn ang="0">
                      <a:pos x="connsiteX3" y="connsiteY3"/>
                    </a:cxn>
                  </a:cxnLst>
                  <a:rect l="l" t="t" r="r" b="b"/>
                  <a:pathLst>
                    <a:path w="5621" h="2332">
                      <a:moveTo>
                        <a:pt x="5622" y="538"/>
                      </a:moveTo>
                      <a:lnTo>
                        <a:pt x="4127" y="0"/>
                      </a:lnTo>
                      <a:lnTo>
                        <a:pt x="1914" y="1256"/>
                      </a:lnTo>
                      <a:lnTo>
                        <a:pt x="0" y="2333"/>
                      </a:lnTo>
                    </a:path>
                  </a:pathLst>
                </a:custGeom>
                <a:noFill/>
                <a:ln w="6350" cap="flat">
                  <a:solidFill>
                    <a:schemeClr val="bg1">
                      <a:alpha val="80000"/>
                    </a:schemeClr>
                  </a:solidFill>
                  <a:prstDash val="solid"/>
                  <a:miter/>
                </a:ln>
              </p:spPr>
              <p:txBody>
                <a:bodyPr rtlCol="0" anchor="ctr"/>
                <a:lstStyle/>
                <a:p>
                  <a:endParaRPr lang="en-GB"/>
                </a:p>
              </p:txBody>
            </p:sp>
            <p:sp>
              <p:nvSpPr>
                <p:cNvPr id="7773" name="Vrije vorm: vorm 7772">
                  <a:extLst>
                    <a:ext uri="{FF2B5EF4-FFF2-40B4-BE49-F238E27FC236}">
                      <a16:creationId xmlns:a16="http://schemas.microsoft.com/office/drawing/2014/main" id="{A4E08DA5-E346-4F7D-B603-773EE908EB90}"/>
                    </a:ext>
                  </a:extLst>
                </p:cNvPr>
                <p:cNvSpPr/>
                <p:nvPr/>
              </p:nvSpPr>
              <p:spPr>
                <a:xfrm>
                  <a:off x="5750125" y="5120315"/>
                  <a:ext cx="6698" cy="4964"/>
                </a:xfrm>
                <a:custGeom>
                  <a:avLst/>
                  <a:gdLst>
                    <a:gd name="connsiteX0" fmla="*/ 6698 w 6698"/>
                    <a:gd name="connsiteY0" fmla="*/ 4964 h 4964"/>
                    <a:gd name="connsiteX1" fmla="*/ 4426 w 6698"/>
                    <a:gd name="connsiteY1" fmla="*/ 3289 h 4964"/>
                    <a:gd name="connsiteX2" fmla="*/ 4127 w 6698"/>
                    <a:gd name="connsiteY2" fmla="*/ 3050 h 4964"/>
                    <a:gd name="connsiteX3" fmla="*/ 3648 w 6698"/>
                    <a:gd name="connsiteY3" fmla="*/ 2691 h 4964"/>
                    <a:gd name="connsiteX4" fmla="*/ 1375 w 6698"/>
                    <a:gd name="connsiteY4" fmla="*/ 1017 h 4964"/>
                    <a:gd name="connsiteX5" fmla="*/ 0 w 6698"/>
                    <a:gd name="connsiteY5" fmla="*/ 0 h 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8" h="4964">
                      <a:moveTo>
                        <a:pt x="6698" y="4964"/>
                      </a:moveTo>
                      <a:lnTo>
                        <a:pt x="4426" y="3289"/>
                      </a:lnTo>
                      <a:lnTo>
                        <a:pt x="4127" y="3050"/>
                      </a:lnTo>
                      <a:lnTo>
                        <a:pt x="3648" y="2691"/>
                      </a:lnTo>
                      <a:lnTo>
                        <a:pt x="1375" y="1017"/>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774" name="Vrije vorm: vorm 7773">
                  <a:extLst>
                    <a:ext uri="{FF2B5EF4-FFF2-40B4-BE49-F238E27FC236}">
                      <a16:creationId xmlns:a16="http://schemas.microsoft.com/office/drawing/2014/main" id="{CB231D23-BA24-4B07-966C-43A66599F57F}"/>
                    </a:ext>
                  </a:extLst>
                </p:cNvPr>
                <p:cNvSpPr/>
                <p:nvPr/>
              </p:nvSpPr>
              <p:spPr>
                <a:xfrm>
                  <a:off x="5743606" y="5119836"/>
                  <a:ext cx="3049" cy="6698"/>
                </a:xfrm>
                <a:custGeom>
                  <a:avLst/>
                  <a:gdLst>
                    <a:gd name="connsiteX0" fmla="*/ 0 w 3049"/>
                    <a:gd name="connsiteY0" fmla="*/ 120 h 6698"/>
                    <a:gd name="connsiteX1" fmla="*/ 478 w 3049"/>
                    <a:gd name="connsiteY1" fmla="*/ 0 h 6698"/>
                    <a:gd name="connsiteX2" fmla="*/ 538 w 3049"/>
                    <a:gd name="connsiteY2" fmla="*/ 0 h 6698"/>
                    <a:gd name="connsiteX3" fmla="*/ 1076 w 3049"/>
                    <a:gd name="connsiteY3" fmla="*/ 60 h 6698"/>
                    <a:gd name="connsiteX4" fmla="*/ 1615 w 3049"/>
                    <a:gd name="connsiteY4" fmla="*/ 359 h 6698"/>
                    <a:gd name="connsiteX5" fmla="*/ 2093 w 3049"/>
                    <a:gd name="connsiteY5" fmla="*/ 897 h 6698"/>
                    <a:gd name="connsiteX6" fmla="*/ 2512 w 3049"/>
                    <a:gd name="connsiteY6" fmla="*/ 1615 h 6698"/>
                    <a:gd name="connsiteX7" fmla="*/ 2811 w 3049"/>
                    <a:gd name="connsiteY7" fmla="*/ 2452 h 6698"/>
                    <a:gd name="connsiteX8" fmla="*/ 2990 w 3049"/>
                    <a:gd name="connsiteY8" fmla="*/ 3349 h 6698"/>
                    <a:gd name="connsiteX9" fmla="*/ 3050 w 3049"/>
                    <a:gd name="connsiteY9" fmla="*/ 4246 h 6698"/>
                    <a:gd name="connsiteX10" fmla="*/ 2930 w 3049"/>
                    <a:gd name="connsiteY10" fmla="*/ 5084 h 6698"/>
                    <a:gd name="connsiteX11" fmla="*/ 2691 w 3049"/>
                    <a:gd name="connsiteY11" fmla="*/ 5801 h 6698"/>
                    <a:gd name="connsiteX12" fmla="*/ 2512 w 3049"/>
                    <a:gd name="connsiteY12" fmla="*/ 6041 h 6698"/>
                    <a:gd name="connsiteX13" fmla="*/ 2332 w 3049"/>
                    <a:gd name="connsiteY13" fmla="*/ 6340 h 6698"/>
                    <a:gd name="connsiteX14" fmla="*/ 1914 w 3049"/>
                    <a:gd name="connsiteY14" fmla="*/ 6699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49" h="6698">
                      <a:moveTo>
                        <a:pt x="0" y="120"/>
                      </a:moveTo>
                      <a:lnTo>
                        <a:pt x="478" y="0"/>
                      </a:lnTo>
                      <a:lnTo>
                        <a:pt x="538" y="0"/>
                      </a:lnTo>
                      <a:lnTo>
                        <a:pt x="1076" y="60"/>
                      </a:lnTo>
                      <a:lnTo>
                        <a:pt x="1615" y="359"/>
                      </a:lnTo>
                      <a:lnTo>
                        <a:pt x="2093" y="897"/>
                      </a:lnTo>
                      <a:lnTo>
                        <a:pt x="2512" y="1615"/>
                      </a:lnTo>
                      <a:lnTo>
                        <a:pt x="2811" y="2452"/>
                      </a:lnTo>
                      <a:lnTo>
                        <a:pt x="2990" y="3349"/>
                      </a:lnTo>
                      <a:lnTo>
                        <a:pt x="3050" y="4246"/>
                      </a:lnTo>
                      <a:lnTo>
                        <a:pt x="2930" y="5084"/>
                      </a:lnTo>
                      <a:lnTo>
                        <a:pt x="2691" y="5801"/>
                      </a:lnTo>
                      <a:lnTo>
                        <a:pt x="2512" y="6041"/>
                      </a:lnTo>
                      <a:lnTo>
                        <a:pt x="2332" y="6340"/>
                      </a:lnTo>
                      <a:lnTo>
                        <a:pt x="1914" y="6699"/>
                      </a:lnTo>
                    </a:path>
                  </a:pathLst>
                </a:custGeom>
                <a:noFill/>
                <a:ln w="6350" cap="flat">
                  <a:solidFill>
                    <a:schemeClr val="bg1">
                      <a:alpha val="80000"/>
                    </a:schemeClr>
                  </a:solidFill>
                  <a:prstDash val="solid"/>
                  <a:miter/>
                </a:ln>
              </p:spPr>
              <p:txBody>
                <a:bodyPr rtlCol="0" anchor="ctr"/>
                <a:lstStyle/>
                <a:p>
                  <a:endParaRPr lang="en-GB"/>
                </a:p>
              </p:txBody>
            </p:sp>
            <p:sp>
              <p:nvSpPr>
                <p:cNvPr id="7775" name="Vrije vorm: vorm 7774">
                  <a:extLst>
                    <a:ext uri="{FF2B5EF4-FFF2-40B4-BE49-F238E27FC236}">
                      <a16:creationId xmlns:a16="http://schemas.microsoft.com/office/drawing/2014/main" id="{7DAB51D3-2B7A-4118-A1AD-2DDC833858AD}"/>
                    </a:ext>
                  </a:extLst>
                </p:cNvPr>
                <p:cNvSpPr/>
                <p:nvPr/>
              </p:nvSpPr>
              <p:spPr>
                <a:xfrm>
                  <a:off x="5740974" y="5108832"/>
                  <a:ext cx="3887" cy="4784"/>
                </a:xfrm>
                <a:custGeom>
                  <a:avLst/>
                  <a:gdLst>
                    <a:gd name="connsiteX0" fmla="*/ 1555 w 3887"/>
                    <a:gd name="connsiteY0" fmla="*/ 4785 h 4784"/>
                    <a:gd name="connsiteX1" fmla="*/ 1196 w 3887"/>
                    <a:gd name="connsiteY1" fmla="*/ 3588 h 4784"/>
                    <a:gd name="connsiteX2" fmla="*/ 239 w 3887"/>
                    <a:gd name="connsiteY2" fmla="*/ 718 h 4784"/>
                    <a:gd name="connsiteX3" fmla="*/ 0 w 3887"/>
                    <a:gd name="connsiteY3" fmla="*/ 0 h 4784"/>
                    <a:gd name="connsiteX4" fmla="*/ 1256 w 3887"/>
                    <a:gd name="connsiteY4" fmla="*/ 419 h 4784"/>
                    <a:gd name="connsiteX5" fmla="*/ 3887 w 3887"/>
                    <a:gd name="connsiteY5" fmla="*/ 1375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87" h="4784">
                      <a:moveTo>
                        <a:pt x="1555" y="4785"/>
                      </a:moveTo>
                      <a:lnTo>
                        <a:pt x="1196" y="3588"/>
                      </a:lnTo>
                      <a:lnTo>
                        <a:pt x="239" y="718"/>
                      </a:lnTo>
                      <a:lnTo>
                        <a:pt x="0" y="0"/>
                      </a:lnTo>
                      <a:lnTo>
                        <a:pt x="1256" y="419"/>
                      </a:lnTo>
                      <a:lnTo>
                        <a:pt x="3887" y="1375"/>
                      </a:lnTo>
                    </a:path>
                  </a:pathLst>
                </a:custGeom>
                <a:noFill/>
                <a:ln w="6350" cap="flat">
                  <a:solidFill>
                    <a:schemeClr val="bg1">
                      <a:alpha val="80000"/>
                    </a:schemeClr>
                  </a:solidFill>
                  <a:prstDash val="solid"/>
                  <a:miter/>
                </a:ln>
              </p:spPr>
              <p:txBody>
                <a:bodyPr rtlCol="0" anchor="ctr"/>
                <a:lstStyle/>
                <a:p>
                  <a:endParaRPr lang="en-GB"/>
                </a:p>
              </p:txBody>
            </p:sp>
            <p:sp>
              <p:nvSpPr>
                <p:cNvPr id="7776" name="Vrije vorm: vorm 7775">
                  <a:extLst>
                    <a:ext uri="{FF2B5EF4-FFF2-40B4-BE49-F238E27FC236}">
                      <a16:creationId xmlns:a16="http://schemas.microsoft.com/office/drawing/2014/main" id="{989912F7-07BE-4229-B5FC-D800BC91986B}"/>
                    </a:ext>
                  </a:extLst>
                </p:cNvPr>
                <p:cNvSpPr/>
                <p:nvPr/>
              </p:nvSpPr>
              <p:spPr>
                <a:xfrm>
                  <a:off x="5732541" y="5107875"/>
                  <a:ext cx="63874" cy="37320"/>
                </a:xfrm>
                <a:custGeom>
                  <a:avLst/>
                  <a:gdLst>
                    <a:gd name="connsiteX0" fmla="*/ 0 w 63874"/>
                    <a:gd name="connsiteY0" fmla="*/ 20394 h 37320"/>
                    <a:gd name="connsiteX1" fmla="*/ 120 w 63874"/>
                    <a:gd name="connsiteY1" fmla="*/ 20215 h 37320"/>
                    <a:gd name="connsiteX2" fmla="*/ 2034 w 63874"/>
                    <a:gd name="connsiteY2" fmla="*/ 17404 h 37320"/>
                    <a:gd name="connsiteX3" fmla="*/ 3947 w 63874"/>
                    <a:gd name="connsiteY3" fmla="*/ 14593 h 37320"/>
                    <a:gd name="connsiteX4" fmla="*/ 5861 w 63874"/>
                    <a:gd name="connsiteY4" fmla="*/ 11782 h 37320"/>
                    <a:gd name="connsiteX5" fmla="*/ 7775 w 63874"/>
                    <a:gd name="connsiteY5" fmla="*/ 8971 h 37320"/>
                    <a:gd name="connsiteX6" fmla="*/ 8253 w 63874"/>
                    <a:gd name="connsiteY6" fmla="*/ 8253 h 37320"/>
                    <a:gd name="connsiteX7" fmla="*/ 8493 w 63874"/>
                    <a:gd name="connsiteY7" fmla="*/ 7954 h 37320"/>
                    <a:gd name="connsiteX8" fmla="*/ 9988 w 63874"/>
                    <a:gd name="connsiteY8" fmla="*/ 5801 h 37320"/>
                    <a:gd name="connsiteX9" fmla="*/ 10586 w 63874"/>
                    <a:gd name="connsiteY9" fmla="*/ 4964 h 37320"/>
                    <a:gd name="connsiteX10" fmla="*/ 11244 w 63874"/>
                    <a:gd name="connsiteY10" fmla="*/ 4007 h 37320"/>
                    <a:gd name="connsiteX11" fmla="*/ 11304 w 63874"/>
                    <a:gd name="connsiteY11" fmla="*/ 3947 h 37320"/>
                    <a:gd name="connsiteX12" fmla="*/ 11842 w 63874"/>
                    <a:gd name="connsiteY12" fmla="*/ 3170 h 37320"/>
                    <a:gd name="connsiteX13" fmla="*/ 12380 w 63874"/>
                    <a:gd name="connsiteY13" fmla="*/ 2392 h 37320"/>
                    <a:gd name="connsiteX14" fmla="*/ 13218 w 63874"/>
                    <a:gd name="connsiteY14" fmla="*/ 1196 h 37320"/>
                    <a:gd name="connsiteX15" fmla="*/ 13935 w 63874"/>
                    <a:gd name="connsiteY15" fmla="*/ 180 h 37320"/>
                    <a:gd name="connsiteX16" fmla="*/ 14055 w 63874"/>
                    <a:gd name="connsiteY16" fmla="*/ 0 h 37320"/>
                    <a:gd name="connsiteX17" fmla="*/ 15849 w 63874"/>
                    <a:gd name="connsiteY17" fmla="*/ 658 h 37320"/>
                    <a:gd name="connsiteX18" fmla="*/ 18481 w 63874"/>
                    <a:gd name="connsiteY18" fmla="*/ 1555 h 37320"/>
                    <a:gd name="connsiteX19" fmla="*/ 21112 w 63874"/>
                    <a:gd name="connsiteY19" fmla="*/ 2452 h 37320"/>
                    <a:gd name="connsiteX20" fmla="*/ 23744 w 63874"/>
                    <a:gd name="connsiteY20" fmla="*/ 3349 h 37320"/>
                    <a:gd name="connsiteX21" fmla="*/ 24222 w 63874"/>
                    <a:gd name="connsiteY21" fmla="*/ 3529 h 37320"/>
                    <a:gd name="connsiteX22" fmla="*/ 24401 w 63874"/>
                    <a:gd name="connsiteY22" fmla="*/ 3589 h 37320"/>
                    <a:gd name="connsiteX23" fmla="*/ 25956 w 63874"/>
                    <a:gd name="connsiteY23" fmla="*/ 4127 h 37320"/>
                    <a:gd name="connsiteX24" fmla="*/ 28588 w 63874"/>
                    <a:gd name="connsiteY24" fmla="*/ 5024 h 37320"/>
                    <a:gd name="connsiteX25" fmla="*/ 31220 w 63874"/>
                    <a:gd name="connsiteY25" fmla="*/ 5921 h 37320"/>
                    <a:gd name="connsiteX26" fmla="*/ 33851 w 63874"/>
                    <a:gd name="connsiteY26" fmla="*/ 6818 h 37320"/>
                    <a:gd name="connsiteX27" fmla="*/ 36483 w 63874"/>
                    <a:gd name="connsiteY27" fmla="*/ 7715 h 37320"/>
                    <a:gd name="connsiteX28" fmla="*/ 37320 w 63874"/>
                    <a:gd name="connsiteY28" fmla="*/ 8014 h 37320"/>
                    <a:gd name="connsiteX29" fmla="*/ 39532 w 63874"/>
                    <a:gd name="connsiteY29" fmla="*/ 9749 h 37320"/>
                    <a:gd name="connsiteX30" fmla="*/ 41746 w 63874"/>
                    <a:gd name="connsiteY30" fmla="*/ 11483 h 37320"/>
                    <a:gd name="connsiteX31" fmla="*/ 43959 w 63874"/>
                    <a:gd name="connsiteY31" fmla="*/ 13218 h 37320"/>
                    <a:gd name="connsiteX32" fmla="*/ 46171 w 63874"/>
                    <a:gd name="connsiteY32" fmla="*/ 14952 h 37320"/>
                    <a:gd name="connsiteX33" fmla="*/ 48384 w 63874"/>
                    <a:gd name="connsiteY33" fmla="*/ 16686 h 37320"/>
                    <a:gd name="connsiteX34" fmla="*/ 50597 w 63874"/>
                    <a:gd name="connsiteY34" fmla="*/ 18421 h 37320"/>
                    <a:gd name="connsiteX35" fmla="*/ 52810 w 63874"/>
                    <a:gd name="connsiteY35" fmla="*/ 20155 h 37320"/>
                    <a:gd name="connsiteX36" fmla="*/ 55023 w 63874"/>
                    <a:gd name="connsiteY36" fmla="*/ 21890 h 37320"/>
                    <a:gd name="connsiteX37" fmla="*/ 57236 w 63874"/>
                    <a:gd name="connsiteY37" fmla="*/ 23624 h 37320"/>
                    <a:gd name="connsiteX38" fmla="*/ 59149 w 63874"/>
                    <a:gd name="connsiteY38" fmla="*/ 25179 h 37320"/>
                    <a:gd name="connsiteX39" fmla="*/ 61362 w 63874"/>
                    <a:gd name="connsiteY39" fmla="*/ 26913 h 37320"/>
                    <a:gd name="connsiteX40" fmla="*/ 63396 w 63874"/>
                    <a:gd name="connsiteY40" fmla="*/ 28528 h 37320"/>
                    <a:gd name="connsiteX41" fmla="*/ 63874 w 63874"/>
                    <a:gd name="connsiteY41" fmla="*/ 28947 h 37320"/>
                    <a:gd name="connsiteX42" fmla="*/ 62319 w 63874"/>
                    <a:gd name="connsiteY42" fmla="*/ 31997 h 37320"/>
                    <a:gd name="connsiteX43" fmla="*/ 62140 w 63874"/>
                    <a:gd name="connsiteY43" fmla="*/ 32356 h 37320"/>
                    <a:gd name="connsiteX44" fmla="*/ 61781 w 63874"/>
                    <a:gd name="connsiteY44" fmla="*/ 33014 h 37320"/>
                    <a:gd name="connsiteX45" fmla="*/ 61243 w 63874"/>
                    <a:gd name="connsiteY45" fmla="*/ 34030 h 37320"/>
                    <a:gd name="connsiteX46" fmla="*/ 61123 w 63874"/>
                    <a:gd name="connsiteY46" fmla="*/ 34270 h 37320"/>
                    <a:gd name="connsiteX47" fmla="*/ 60645 w 63874"/>
                    <a:gd name="connsiteY47" fmla="*/ 35167 h 37320"/>
                    <a:gd name="connsiteX48" fmla="*/ 60645 w 63874"/>
                    <a:gd name="connsiteY48" fmla="*/ 35167 h 37320"/>
                    <a:gd name="connsiteX49" fmla="*/ 59688 w 63874"/>
                    <a:gd name="connsiteY49" fmla="*/ 37021 h 37320"/>
                    <a:gd name="connsiteX50" fmla="*/ 59568 w 63874"/>
                    <a:gd name="connsiteY50" fmla="*/ 37021 h 37320"/>
                    <a:gd name="connsiteX51" fmla="*/ 58731 w 63874"/>
                    <a:gd name="connsiteY51" fmla="*/ 37081 h 37320"/>
                    <a:gd name="connsiteX52" fmla="*/ 55860 w 63874"/>
                    <a:gd name="connsiteY52" fmla="*/ 37200 h 37320"/>
                    <a:gd name="connsiteX53" fmla="*/ 53169 w 63874"/>
                    <a:gd name="connsiteY53" fmla="*/ 37320 h 37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3874" h="37320">
                      <a:moveTo>
                        <a:pt x="0" y="20394"/>
                      </a:moveTo>
                      <a:lnTo>
                        <a:pt x="120" y="20215"/>
                      </a:lnTo>
                      <a:lnTo>
                        <a:pt x="2034" y="17404"/>
                      </a:lnTo>
                      <a:lnTo>
                        <a:pt x="3947" y="14593"/>
                      </a:lnTo>
                      <a:lnTo>
                        <a:pt x="5861" y="11782"/>
                      </a:lnTo>
                      <a:lnTo>
                        <a:pt x="7775" y="8971"/>
                      </a:lnTo>
                      <a:lnTo>
                        <a:pt x="8253" y="8253"/>
                      </a:lnTo>
                      <a:lnTo>
                        <a:pt x="8493" y="7954"/>
                      </a:lnTo>
                      <a:lnTo>
                        <a:pt x="9988" y="5801"/>
                      </a:lnTo>
                      <a:lnTo>
                        <a:pt x="10586" y="4964"/>
                      </a:lnTo>
                      <a:lnTo>
                        <a:pt x="11244" y="4007"/>
                      </a:lnTo>
                      <a:lnTo>
                        <a:pt x="11304" y="3947"/>
                      </a:lnTo>
                      <a:lnTo>
                        <a:pt x="11842" y="3170"/>
                      </a:lnTo>
                      <a:lnTo>
                        <a:pt x="12380" y="2392"/>
                      </a:lnTo>
                      <a:lnTo>
                        <a:pt x="13218" y="1196"/>
                      </a:lnTo>
                      <a:lnTo>
                        <a:pt x="13935" y="180"/>
                      </a:lnTo>
                      <a:lnTo>
                        <a:pt x="14055" y="0"/>
                      </a:lnTo>
                      <a:lnTo>
                        <a:pt x="15849" y="658"/>
                      </a:lnTo>
                      <a:lnTo>
                        <a:pt x="18481" y="1555"/>
                      </a:lnTo>
                      <a:lnTo>
                        <a:pt x="21112" y="2452"/>
                      </a:lnTo>
                      <a:lnTo>
                        <a:pt x="23744" y="3349"/>
                      </a:lnTo>
                      <a:lnTo>
                        <a:pt x="24222" y="3529"/>
                      </a:lnTo>
                      <a:lnTo>
                        <a:pt x="24401" y="3589"/>
                      </a:lnTo>
                      <a:lnTo>
                        <a:pt x="25956" y="4127"/>
                      </a:lnTo>
                      <a:lnTo>
                        <a:pt x="28588" y="5024"/>
                      </a:lnTo>
                      <a:lnTo>
                        <a:pt x="31220" y="5921"/>
                      </a:lnTo>
                      <a:lnTo>
                        <a:pt x="33851" y="6818"/>
                      </a:lnTo>
                      <a:lnTo>
                        <a:pt x="36483" y="7715"/>
                      </a:lnTo>
                      <a:lnTo>
                        <a:pt x="37320" y="8014"/>
                      </a:lnTo>
                      <a:lnTo>
                        <a:pt x="39532" y="9749"/>
                      </a:lnTo>
                      <a:lnTo>
                        <a:pt x="41746" y="11483"/>
                      </a:lnTo>
                      <a:lnTo>
                        <a:pt x="43959" y="13218"/>
                      </a:lnTo>
                      <a:lnTo>
                        <a:pt x="46171" y="14952"/>
                      </a:lnTo>
                      <a:lnTo>
                        <a:pt x="48384" y="16686"/>
                      </a:lnTo>
                      <a:lnTo>
                        <a:pt x="50597" y="18421"/>
                      </a:lnTo>
                      <a:lnTo>
                        <a:pt x="52810" y="20155"/>
                      </a:lnTo>
                      <a:lnTo>
                        <a:pt x="55023" y="21890"/>
                      </a:lnTo>
                      <a:lnTo>
                        <a:pt x="57236" y="23624"/>
                      </a:lnTo>
                      <a:lnTo>
                        <a:pt x="59149" y="25179"/>
                      </a:lnTo>
                      <a:lnTo>
                        <a:pt x="61362" y="26913"/>
                      </a:lnTo>
                      <a:lnTo>
                        <a:pt x="63396" y="28528"/>
                      </a:lnTo>
                      <a:lnTo>
                        <a:pt x="63874" y="28947"/>
                      </a:lnTo>
                      <a:lnTo>
                        <a:pt x="62319" y="31997"/>
                      </a:lnTo>
                      <a:lnTo>
                        <a:pt x="62140" y="32356"/>
                      </a:lnTo>
                      <a:lnTo>
                        <a:pt x="61781" y="33014"/>
                      </a:lnTo>
                      <a:lnTo>
                        <a:pt x="61243" y="34030"/>
                      </a:lnTo>
                      <a:lnTo>
                        <a:pt x="61123" y="34270"/>
                      </a:lnTo>
                      <a:lnTo>
                        <a:pt x="60645" y="35167"/>
                      </a:lnTo>
                      <a:lnTo>
                        <a:pt x="60645" y="35167"/>
                      </a:lnTo>
                      <a:lnTo>
                        <a:pt x="59688" y="37021"/>
                      </a:lnTo>
                      <a:lnTo>
                        <a:pt x="59568" y="37021"/>
                      </a:lnTo>
                      <a:lnTo>
                        <a:pt x="58731" y="37081"/>
                      </a:lnTo>
                      <a:lnTo>
                        <a:pt x="55860" y="37200"/>
                      </a:lnTo>
                      <a:lnTo>
                        <a:pt x="53169" y="37320"/>
                      </a:lnTo>
                    </a:path>
                  </a:pathLst>
                </a:custGeom>
                <a:noFill/>
                <a:ln w="6350" cap="flat">
                  <a:solidFill>
                    <a:schemeClr val="bg1">
                      <a:alpha val="80000"/>
                    </a:schemeClr>
                  </a:solidFill>
                  <a:prstDash val="solid"/>
                  <a:miter/>
                </a:ln>
              </p:spPr>
              <p:txBody>
                <a:bodyPr rtlCol="0" anchor="ctr"/>
                <a:lstStyle/>
                <a:p>
                  <a:endParaRPr lang="en-GB"/>
                </a:p>
              </p:txBody>
            </p:sp>
            <p:sp>
              <p:nvSpPr>
                <p:cNvPr id="7777" name="Vrije vorm: vorm 7776">
                  <a:extLst>
                    <a:ext uri="{FF2B5EF4-FFF2-40B4-BE49-F238E27FC236}">
                      <a16:creationId xmlns:a16="http://schemas.microsoft.com/office/drawing/2014/main" id="{1AEF2527-BCD4-4A26-AFDC-71C7522F17F9}"/>
                    </a:ext>
                  </a:extLst>
                </p:cNvPr>
                <p:cNvSpPr/>
                <p:nvPr/>
              </p:nvSpPr>
              <p:spPr>
                <a:xfrm>
                  <a:off x="5759873" y="5116009"/>
                  <a:ext cx="9928" cy="14772"/>
                </a:xfrm>
                <a:custGeom>
                  <a:avLst/>
                  <a:gdLst>
                    <a:gd name="connsiteX0" fmla="*/ 9928 w 9928"/>
                    <a:gd name="connsiteY0" fmla="*/ 0 h 14772"/>
                    <a:gd name="connsiteX1" fmla="*/ 8014 w 9928"/>
                    <a:gd name="connsiteY1" fmla="*/ 2811 h 14772"/>
                    <a:gd name="connsiteX2" fmla="*/ 7117 w 9928"/>
                    <a:gd name="connsiteY2" fmla="*/ 4186 h 14772"/>
                    <a:gd name="connsiteX3" fmla="*/ 5562 w 9928"/>
                    <a:gd name="connsiteY3" fmla="*/ 6519 h 14772"/>
                    <a:gd name="connsiteX4" fmla="*/ 5562 w 9928"/>
                    <a:gd name="connsiteY4" fmla="*/ 6519 h 14772"/>
                    <a:gd name="connsiteX5" fmla="*/ 3828 w 9928"/>
                    <a:gd name="connsiteY5" fmla="*/ 9150 h 14772"/>
                    <a:gd name="connsiteX6" fmla="*/ 2512 w 9928"/>
                    <a:gd name="connsiteY6" fmla="*/ 11064 h 14772"/>
                    <a:gd name="connsiteX7" fmla="*/ 2034 w 9928"/>
                    <a:gd name="connsiteY7" fmla="*/ 11782 h 14772"/>
                    <a:gd name="connsiteX8" fmla="*/ 1974 w 9928"/>
                    <a:gd name="connsiteY8" fmla="*/ 11842 h 14772"/>
                    <a:gd name="connsiteX9" fmla="*/ 1854 w 9928"/>
                    <a:gd name="connsiteY9" fmla="*/ 11961 h 14772"/>
                    <a:gd name="connsiteX10" fmla="*/ 1017 w 9928"/>
                    <a:gd name="connsiteY10" fmla="*/ 13217 h 14772"/>
                    <a:gd name="connsiteX11" fmla="*/ 0 w 9928"/>
                    <a:gd name="connsiteY11" fmla="*/ 14772 h 1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28" h="14772">
                      <a:moveTo>
                        <a:pt x="9928" y="0"/>
                      </a:moveTo>
                      <a:lnTo>
                        <a:pt x="8014" y="2811"/>
                      </a:lnTo>
                      <a:lnTo>
                        <a:pt x="7117" y="4186"/>
                      </a:lnTo>
                      <a:lnTo>
                        <a:pt x="5562" y="6519"/>
                      </a:lnTo>
                      <a:lnTo>
                        <a:pt x="5562" y="6519"/>
                      </a:lnTo>
                      <a:lnTo>
                        <a:pt x="3828" y="9150"/>
                      </a:lnTo>
                      <a:lnTo>
                        <a:pt x="2512" y="11064"/>
                      </a:lnTo>
                      <a:lnTo>
                        <a:pt x="2034" y="11782"/>
                      </a:lnTo>
                      <a:lnTo>
                        <a:pt x="1974" y="11842"/>
                      </a:lnTo>
                      <a:lnTo>
                        <a:pt x="1854" y="11961"/>
                      </a:lnTo>
                      <a:lnTo>
                        <a:pt x="1017" y="13217"/>
                      </a:lnTo>
                      <a:lnTo>
                        <a:pt x="0" y="14772"/>
                      </a:lnTo>
                    </a:path>
                  </a:pathLst>
                </a:custGeom>
                <a:noFill/>
                <a:ln w="6350" cap="flat">
                  <a:solidFill>
                    <a:schemeClr val="bg1">
                      <a:alpha val="80000"/>
                    </a:schemeClr>
                  </a:solidFill>
                  <a:prstDash val="solid"/>
                  <a:miter/>
                </a:ln>
              </p:spPr>
              <p:txBody>
                <a:bodyPr rtlCol="0" anchor="ctr"/>
                <a:lstStyle/>
                <a:p>
                  <a:endParaRPr lang="en-GB"/>
                </a:p>
              </p:txBody>
            </p:sp>
            <p:sp>
              <p:nvSpPr>
                <p:cNvPr id="7778" name="Vrije vorm: vorm 7777">
                  <a:extLst>
                    <a:ext uri="{FF2B5EF4-FFF2-40B4-BE49-F238E27FC236}">
                      <a16:creationId xmlns:a16="http://schemas.microsoft.com/office/drawing/2014/main" id="{884FDCA4-340D-4823-A43A-ABBBA56C9C17}"/>
                    </a:ext>
                  </a:extLst>
                </p:cNvPr>
                <p:cNvSpPr/>
                <p:nvPr/>
              </p:nvSpPr>
              <p:spPr>
                <a:xfrm>
                  <a:off x="5755627" y="5130841"/>
                  <a:ext cx="8791" cy="6279"/>
                </a:xfrm>
                <a:custGeom>
                  <a:avLst/>
                  <a:gdLst>
                    <a:gd name="connsiteX0" fmla="*/ 4187 w 8791"/>
                    <a:gd name="connsiteY0" fmla="*/ 0 h 6279"/>
                    <a:gd name="connsiteX1" fmla="*/ 4127 w 8791"/>
                    <a:gd name="connsiteY1" fmla="*/ 60 h 6279"/>
                    <a:gd name="connsiteX2" fmla="*/ 2333 w 8791"/>
                    <a:gd name="connsiteY2" fmla="*/ 2751 h 6279"/>
                    <a:gd name="connsiteX3" fmla="*/ 2333 w 8791"/>
                    <a:gd name="connsiteY3" fmla="*/ 2811 h 6279"/>
                    <a:gd name="connsiteX4" fmla="*/ 1555 w 8791"/>
                    <a:gd name="connsiteY4" fmla="*/ 3947 h 6279"/>
                    <a:gd name="connsiteX5" fmla="*/ 1316 w 8791"/>
                    <a:gd name="connsiteY5" fmla="*/ 4306 h 6279"/>
                    <a:gd name="connsiteX6" fmla="*/ 0 w 8791"/>
                    <a:gd name="connsiteY6" fmla="*/ 6280 h 6279"/>
                    <a:gd name="connsiteX7" fmla="*/ 2093 w 8791"/>
                    <a:gd name="connsiteY7" fmla="*/ 5263 h 6279"/>
                    <a:gd name="connsiteX8" fmla="*/ 2213 w 8791"/>
                    <a:gd name="connsiteY8" fmla="*/ 5203 h 6279"/>
                    <a:gd name="connsiteX9" fmla="*/ 2632 w 8791"/>
                    <a:gd name="connsiteY9" fmla="*/ 5143 h 6279"/>
                    <a:gd name="connsiteX10" fmla="*/ 3170 w 8791"/>
                    <a:gd name="connsiteY10" fmla="*/ 5083 h 6279"/>
                    <a:gd name="connsiteX11" fmla="*/ 3170 w 8791"/>
                    <a:gd name="connsiteY11" fmla="*/ 5083 h 6279"/>
                    <a:gd name="connsiteX12" fmla="*/ 3649 w 8791"/>
                    <a:gd name="connsiteY12" fmla="*/ 5024 h 6279"/>
                    <a:gd name="connsiteX13" fmla="*/ 5263 w 8791"/>
                    <a:gd name="connsiteY13" fmla="*/ 4904 h 6279"/>
                    <a:gd name="connsiteX14" fmla="*/ 7357 w 8791"/>
                    <a:gd name="connsiteY14" fmla="*/ 4725 h 6279"/>
                    <a:gd name="connsiteX15" fmla="*/ 8433 w 8791"/>
                    <a:gd name="connsiteY15" fmla="*/ 4605 h 6279"/>
                    <a:gd name="connsiteX16" fmla="*/ 8792 w 8791"/>
                    <a:gd name="connsiteY16" fmla="*/ 4545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91" h="6279">
                      <a:moveTo>
                        <a:pt x="4187" y="0"/>
                      </a:moveTo>
                      <a:lnTo>
                        <a:pt x="4127" y="60"/>
                      </a:lnTo>
                      <a:lnTo>
                        <a:pt x="2333" y="2751"/>
                      </a:lnTo>
                      <a:lnTo>
                        <a:pt x="2333" y="2811"/>
                      </a:lnTo>
                      <a:lnTo>
                        <a:pt x="1555" y="3947"/>
                      </a:lnTo>
                      <a:lnTo>
                        <a:pt x="1316" y="4306"/>
                      </a:lnTo>
                      <a:lnTo>
                        <a:pt x="0" y="6280"/>
                      </a:lnTo>
                      <a:lnTo>
                        <a:pt x="2093" y="5263"/>
                      </a:lnTo>
                      <a:lnTo>
                        <a:pt x="2213" y="5203"/>
                      </a:lnTo>
                      <a:lnTo>
                        <a:pt x="2632" y="5143"/>
                      </a:lnTo>
                      <a:lnTo>
                        <a:pt x="3170" y="5083"/>
                      </a:lnTo>
                      <a:lnTo>
                        <a:pt x="3170" y="5083"/>
                      </a:lnTo>
                      <a:lnTo>
                        <a:pt x="3649" y="5024"/>
                      </a:lnTo>
                      <a:lnTo>
                        <a:pt x="5263" y="4904"/>
                      </a:lnTo>
                      <a:lnTo>
                        <a:pt x="7357" y="4725"/>
                      </a:lnTo>
                      <a:lnTo>
                        <a:pt x="8433" y="4605"/>
                      </a:lnTo>
                      <a:lnTo>
                        <a:pt x="8792" y="4545"/>
                      </a:lnTo>
                    </a:path>
                  </a:pathLst>
                </a:custGeom>
                <a:noFill/>
                <a:ln w="6350" cap="flat">
                  <a:solidFill>
                    <a:schemeClr val="bg1">
                      <a:alpha val="80000"/>
                    </a:schemeClr>
                  </a:solidFill>
                  <a:prstDash val="solid"/>
                  <a:miter/>
                </a:ln>
              </p:spPr>
              <p:txBody>
                <a:bodyPr rtlCol="0" anchor="ctr"/>
                <a:lstStyle/>
                <a:p>
                  <a:endParaRPr lang="en-GB"/>
                </a:p>
              </p:txBody>
            </p:sp>
            <p:sp>
              <p:nvSpPr>
                <p:cNvPr id="7779" name="Vrije vorm: vorm 7778">
                  <a:extLst>
                    <a:ext uri="{FF2B5EF4-FFF2-40B4-BE49-F238E27FC236}">
                      <a16:creationId xmlns:a16="http://schemas.microsoft.com/office/drawing/2014/main" id="{E4FC08ED-EAEE-45EA-8AA1-2EF6EC9BC7A9}"/>
                    </a:ext>
                  </a:extLst>
                </p:cNvPr>
                <p:cNvSpPr/>
                <p:nvPr/>
              </p:nvSpPr>
              <p:spPr>
                <a:xfrm>
                  <a:off x="5764299" y="5135387"/>
                  <a:ext cx="13516" cy="5322"/>
                </a:xfrm>
                <a:custGeom>
                  <a:avLst/>
                  <a:gdLst>
                    <a:gd name="connsiteX0" fmla="*/ 0 w 13516"/>
                    <a:gd name="connsiteY0" fmla="*/ 0 h 5322"/>
                    <a:gd name="connsiteX1" fmla="*/ 2572 w 13516"/>
                    <a:gd name="connsiteY1" fmla="*/ 1017 h 5322"/>
                    <a:gd name="connsiteX2" fmla="*/ 3289 w 13516"/>
                    <a:gd name="connsiteY2" fmla="*/ 1316 h 5322"/>
                    <a:gd name="connsiteX3" fmla="*/ 5861 w 13516"/>
                    <a:gd name="connsiteY3" fmla="*/ 2333 h 5322"/>
                    <a:gd name="connsiteX4" fmla="*/ 8433 w 13516"/>
                    <a:gd name="connsiteY4" fmla="*/ 3349 h 5322"/>
                    <a:gd name="connsiteX5" fmla="*/ 8792 w 13516"/>
                    <a:gd name="connsiteY5" fmla="*/ 3469 h 5322"/>
                    <a:gd name="connsiteX6" fmla="*/ 11364 w 13516"/>
                    <a:gd name="connsiteY6" fmla="*/ 4486 h 5322"/>
                    <a:gd name="connsiteX7" fmla="*/ 12560 w 13516"/>
                    <a:gd name="connsiteY7" fmla="*/ 4964 h 5322"/>
                    <a:gd name="connsiteX8" fmla="*/ 13516 w 13516"/>
                    <a:gd name="connsiteY8" fmla="*/ 5323 h 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6" h="5322">
                      <a:moveTo>
                        <a:pt x="0" y="0"/>
                      </a:moveTo>
                      <a:lnTo>
                        <a:pt x="2572" y="1017"/>
                      </a:lnTo>
                      <a:lnTo>
                        <a:pt x="3289" y="1316"/>
                      </a:lnTo>
                      <a:lnTo>
                        <a:pt x="5861" y="2333"/>
                      </a:lnTo>
                      <a:lnTo>
                        <a:pt x="8433" y="3349"/>
                      </a:lnTo>
                      <a:lnTo>
                        <a:pt x="8792" y="3469"/>
                      </a:lnTo>
                      <a:lnTo>
                        <a:pt x="11364" y="4486"/>
                      </a:lnTo>
                      <a:lnTo>
                        <a:pt x="12560" y="4964"/>
                      </a:lnTo>
                      <a:lnTo>
                        <a:pt x="13516" y="5323"/>
                      </a:lnTo>
                    </a:path>
                  </a:pathLst>
                </a:custGeom>
                <a:noFill/>
                <a:ln w="6350" cap="flat">
                  <a:solidFill>
                    <a:schemeClr val="bg1">
                      <a:alpha val="80000"/>
                    </a:schemeClr>
                  </a:solidFill>
                  <a:prstDash val="solid"/>
                  <a:miter/>
                </a:ln>
              </p:spPr>
              <p:txBody>
                <a:bodyPr rtlCol="0" anchor="ctr"/>
                <a:lstStyle/>
                <a:p>
                  <a:endParaRPr lang="en-GB"/>
                </a:p>
              </p:txBody>
            </p:sp>
            <p:sp>
              <p:nvSpPr>
                <p:cNvPr id="7780" name="Vrije vorm: vorm 7779">
                  <a:extLst>
                    <a:ext uri="{FF2B5EF4-FFF2-40B4-BE49-F238E27FC236}">
                      <a16:creationId xmlns:a16="http://schemas.microsoft.com/office/drawing/2014/main" id="{2F166E59-DA2A-4DDD-AFFA-1665DF68F8F1}"/>
                    </a:ext>
                  </a:extLst>
                </p:cNvPr>
                <p:cNvSpPr/>
                <p:nvPr/>
              </p:nvSpPr>
              <p:spPr>
                <a:xfrm>
                  <a:off x="5716453" y="5117564"/>
                  <a:ext cx="21231" cy="67761"/>
                </a:xfrm>
                <a:custGeom>
                  <a:avLst/>
                  <a:gdLst>
                    <a:gd name="connsiteX0" fmla="*/ 897 w 21231"/>
                    <a:gd name="connsiteY0" fmla="*/ 67761 h 67761"/>
                    <a:gd name="connsiteX1" fmla="*/ 359 w 21231"/>
                    <a:gd name="connsiteY1" fmla="*/ 64412 h 67761"/>
                    <a:gd name="connsiteX2" fmla="*/ 0 w 21231"/>
                    <a:gd name="connsiteY2" fmla="*/ 62020 h 67761"/>
                    <a:gd name="connsiteX3" fmla="*/ 60 w 21231"/>
                    <a:gd name="connsiteY3" fmla="*/ 58372 h 67761"/>
                    <a:gd name="connsiteX4" fmla="*/ 120 w 21231"/>
                    <a:gd name="connsiteY4" fmla="*/ 55800 h 67761"/>
                    <a:gd name="connsiteX5" fmla="*/ 180 w 21231"/>
                    <a:gd name="connsiteY5" fmla="*/ 53527 h 67761"/>
                    <a:gd name="connsiteX6" fmla="*/ 778 w 21231"/>
                    <a:gd name="connsiteY6" fmla="*/ 49819 h 67761"/>
                    <a:gd name="connsiteX7" fmla="*/ 1376 w 21231"/>
                    <a:gd name="connsiteY7" fmla="*/ 46111 h 67761"/>
                    <a:gd name="connsiteX8" fmla="*/ 1495 w 21231"/>
                    <a:gd name="connsiteY8" fmla="*/ 45393 h 67761"/>
                    <a:gd name="connsiteX9" fmla="*/ 1675 w 21231"/>
                    <a:gd name="connsiteY9" fmla="*/ 44437 h 67761"/>
                    <a:gd name="connsiteX10" fmla="*/ 1675 w 21231"/>
                    <a:gd name="connsiteY10" fmla="*/ 44377 h 67761"/>
                    <a:gd name="connsiteX11" fmla="*/ 2572 w 21231"/>
                    <a:gd name="connsiteY11" fmla="*/ 41267 h 67761"/>
                    <a:gd name="connsiteX12" fmla="*/ 3708 w 21231"/>
                    <a:gd name="connsiteY12" fmla="*/ 37559 h 67761"/>
                    <a:gd name="connsiteX13" fmla="*/ 4366 w 21231"/>
                    <a:gd name="connsiteY13" fmla="*/ 35286 h 67761"/>
                    <a:gd name="connsiteX14" fmla="*/ 5084 w 21231"/>
                    <a:gd name="connsiteY14" fmla="*/ 33671 h 67761"/>
                    <a:gd name="connsiteX15" fmla="*/ 5622 w 21231"/>
                    <a:gd name="connsiteY15" fmla="*/ 32415 h 67761"/>
                    <a:gd name="connsiteX16" fmla="*/ 6220 w 21231"/>
                    <a:gd name="connsiteY16" fmla="*/ 31040 h 67761"/>
                    <a:gd name="connsiteX17" fmla="*/ 7117 w 21231"/>
                    <a:gd name="connsiteY17" fmla="*/ 29006 h 67761"/>
                    <a:gd name="connsiteX18" fmla="*/ 8074 w 21231"/>
                    <a:gd name="connsiteY18" fmla="*/ 26794 h 67761"/>
                    <a:gd name="connsiteX19" fmla="*/ 9808 w 21231"/>
                    <a:gd name="connsiteY19" fmla="*/ 23265 h 67761"/>
                    <a:gd name="connsiteX20" fmla="*/ 11543 w 21231"/>
                    <a:gd name="connsiteY20" fmla="*/ 19736 h 67761"/>
                    <a:gd name="connsiteX21" fmla="*/ 13277 w 21231"/>
                    <a:gd name="connsiteY21" fmla="*/ 16208 h 67761"/>
                    <a:gd name="connsiteX22" fmla="*/ 14832 w 21231"/>
                    <a:gd name="connsiteY22" fmla="*/ 13038 h 67761"/>
                    <a:gd name="connsiteX23" fmla="*/ 16567 w 21231"/>
                    <a:gd name="connsiteY23" fmla="*/ 9509 h 67761"/>
                    <a:gd name="connsiteX24" fmla="*/ 18301 w 21231"/>
                    <a:gd name="connsiteY24" fmla="*/ 5981 h 67761"/>
                    <a:gd name="connsiteX25" fmla="*/ 20036 w 21231"/>
                    <a:gd name="connsiteY25" fmla="*/ 2452 h 67761"/>
                    <a:gd name="connsiteX26" fmla="*/ 21231 w 21231"/>
                    <a:gd name="connsiteY26" fmla="*/ 0 h 67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231" h="67761">
                      <a:moveTo>
                        <a:pt x="897" y="67761"/>
                      </a:moveTo>
                      <a:lnTo>
                        <a:pt x="359" y="64412"/>
                      </a:lnTo>
                      <a:lnTo>
                        <a:pt x="0" y="62020"/>
                      </a:lnTo>
                      <a:lnTo>
                        <a:pt x="60" y="58372"/>
                      </a:lnTo>
                      <a:lnTo>
                        <a:pt x="120" y="55800"/>
                      </a:lnTo>
                      <a:lnTo>
                        <a:pt x="180" y="53527"/>
                      </a:lnTo>
                      <a:lnTo>
                        <a:pt x="778" y="49819"/>
                      </a:lnTo>
                      <a:lnTo>
                        <a:pt x="1376" y="46111"/>
                      </a:lnTo>
                      <a:lnTo>
                        <a:pt x="1495" y="45393"/>
                      </a:lnTo>
                      <a:lnTo>
                        <a:pt x="1675" y="44437"/>
                      </a:lnTo>
                      <a:lnTo>
                        <a:pt x="1675" y="44377"/>
                      </a:lnTo>
                      <a:lnTo>
                        <a:pt x="2572" y="41267"/>
                      </a:lnTo>
                      <a:lnTo>
                        <a:pt x="3708" y="37559"/>
                      </a:lnTo>
                      <a:lnTo>
                        <a:pt x="4366" y="35286"/>
                      </a:lnTo>
                      <a:lnTo>
                        <a:pt x="5084" y="33671"/>
                      </a:lnTo>
                      <a:lnTo>
                        <a:pt x="5622" y="32415"/>
                      </a:lnTo>
                      <a:lnTo>
                        <a:pt x="6220" y="31040"/>
                      </a:lnTo>
                      <a:lnTo>
                        <a:pt x="7117" y="29006"/>
                      </a:lnTo>
                      <a:lnTo>
                        <a:pt x="8074" y="26794"/>
                      </a:lnTo>
                      <a:lnTo>
                        <a:pt x="9808" y="23265"/>
                      </a:lnTo>
                      <a:lnTo>
                        <a:pt x="11543" y="19736"/>
                      </a:lnTo>
                      <a:lnTo>
                        <a:pt x="13277" y="16208"/>
                      </a:lnTo>
                      <a:lnTo>
                        <a:pt x="14832" y="13038"/>
                      </a:lnTo>
                      <a:lnTo>
                        <a:pt x="16567" y="9509"/>
                      </a:lnTo>
                      <a:lnTo>
                        <a:pt x="18301" y="5981"/>
                      </a:lnTo>
                      <a:lnTo>
                        <a:pt x="20036" y="2452"/>
                      </a:lnTo>
                      <a:lnTo>
                        <a:pt x="21231" y="0"/>
                      </a:lnTo>
                    </a:path>
                  </a:pathLst>
                </a:custGeom>
                <a:noFill/>
                <a:ln w="6350" cap="flat">
                  <a:solidFill>
                    <a:schemeClr val="bg1">
                      <a:alpha val="80000"/>
                    </a:schemeClr>
                  </a:solidFill>
                  <a:prstDash val="solid"/>
                  <a:miter/>
                </a:ln>
              </p:spPr>
              <p:txBody>
                <a:bodyPr rtlCol="0" anchor="ctr"/>
                <a:lstStyle/>
                <a:p>
                  <a:endParaRPr lang="en-GB"/>
                </a:p>
              </p:txBody>
            </p:sp>
            <p:sp>
              <p:nvSpPr>
                <p:cNvPr id="7781" name="Vrije vorm: vorm 7780">
                  <a:extLst>
                    <a:ext uri="{FF2B5EF4-FFF2-40B4-BE49-F238E27FC236}">
                      <a16:creationId xmlns:a16="http://schemas.microsoft.com/office/drawing/2014/main" id="{ADB91AB4-2C61-408A-9A15-1BC3DC4192C0}"/>
                    </a:ext>
                  </a:extLst>
                </p:cNvPr>
                <p:cNvSpPr/>
                <p:nvPr/>
              </p:nvSpPr>
              <p:spPr>
                <a:xfrm>
                  <a:off x="5726740" y="5102134"/>
                  <a:ext cx="140726" cy="60046"/>
                </a:xfrm>
                <a:custGeom>
                  <a:avLst/>
                  <a:gdLst>
                    <a:gd name="connsiteX0" fmla="*/ 0 w 140726"/>
                    <a:gd name="connsiteY0" fmla="*/ 4246 h 60046"/>
                    <a:gd name="connsiteX1" fmla="*/ 1555 w 140726"/>
                    <a:gd name="connsiteY1" fmla="*/ 1196 h 60046"/>
                    <a:gd name="connsiteX2" fmla="*/ 1615 w 140726"/>
                    <a:gd name="connsiteY2" fmla="*/ 1017 h 60046"/>
                    <a:gd name="connsiteX3" fmla="*/ 4246 w 140726"/>
                    <a:gd name="connsiteY3" fmla="*/ 1914 h 60046"/>
                    <a:gd name="connsiteX4" fmla="*/ 6878 w 140726"/>
                    <a:gd name="connsiteY4" fmla="*/ 2811 h 60046"/>
                    <a:gd name="connsiteX5" fmla="*/ 8253 w 140726"/>
                    <a:gd name="connsiteY5" fmla="*/ 3289 h 60046"/>
                    <a:gd name="connsiteX6" fmla="*/ 11064 w 140726"/>
                    <a:gd name="connsiteY6" fmla="*/ 1974 h 60046"/>
                    <a:gd name="connsiteX7" fmla="*/ 13875 w 140726"/>
                    <a:gd name="connsiteY7" fmla="*/ 658 h 60046"/>
                    <a:gd name="connsiteX8" fmla="*/ 15311 w 140726"/>
                    <a:gd name="connsiteY8" fmla="*/ 0 h 60046"/>
                    <a:gd name="connsiteX9" fmla="*/ 17942 w 140726"/>
                    <a:gd name="connsiteY9" fmla="*/ 897 h 60046"/>
                    <a:gd name="connsiteX10" fmla="*/ 20574 w 140726"/>
                    <a:gd name="connsiteY10" fmla="*/ 1794 h 60046"/>
                    <a:gd name="connsiteX11" fmla="*/ 21471 w 140726"/>
                    <a:gd name="connsiteY11" fmla="*/ 2093 h 60046"/>
                    <a:gd name="connsiteX12" fmla="*/ 24102 w 140726"/>
                    <a:gd name="connsiteY12" fmla="*/ 2990 h 60046"/>
                    <a:gd name="connsiteX13" fmla="*/ 26734 w 140726"/>
                    <a:gd name="connsiteY13" fmla="*/ 3887 h 60046"/>
                    <a:gd name="connsiteX14" fmla="*/ 29365 w 140726"/>
                    <a:gd name="connsiteY14" fmla="*/ 4785 h 60046"/>
                    <a:gd name="connsiteX15" fmla="*/ 29425 w 140726"/>
                    <a:gd name="connsiteY15" fmla="*/ 4785 h 60046"/>
                    <a:gd name="connsiteX16" fmla="*/ 32057 w 140726"/>
                    <a:gd name="connsiteY16" fmla="*/ 5682 h 60046"/>
                    <a:gd name="connsiteX17" fmla="*/ 33432 w 140726"/>
                    <a:gd name="connsiteY17" fmla="*/ 6160 h 60046"/>
                    <a:gd name="connsiteX18" fmla="*/ 33492 w 140726"/>
                    <a:gd name="connsiteY18" fmla="*/ 6160 h 60046"/>
                    <a:gd name="connsiteX19" fmla="*/ 36123 w 140726"/>
                    <a:gd name="connsiteY19" fmla="*/ 7057 h 60046"/>
                    <a:gd name="connsiteX20" fmla="*/ 38755 w 140726"/>
                    <a:gd name="connsiteY20" fmla="*/ 7954 h 60046"/>
                    <a:gd name="connsiteX21" fmla="*/ 41386 w 140726"/>
                    <a:gd name="connsiteY21" fmla="*/ 8851 h 60046"/>
                    <a:gd name="connsiteX22" fmla="*/ 44018 w 140726"/>
                    <a:gd name="connsiteY22" fmla="*/ 9749 h 60046"/>
                    <a:gd name="connsiteX23" fmla="*/ 44796 w 140726"/>
                    <a:gd name="connsiteY23" fmla="*/ 10048 h 60046"/>
                    <a:gd name="connsiteX24" fmla="*/ 47247 w 140726"/>
                    <a:gd name="connsiteY24" fmla="*/ 11363 h 60046"/>
                    <a:gd name="connsiteX25" fmla="*/ 49700 w 140726"/>
                    <a:gd name="connsiteY25" fmla="*/ 12679 h 60046"/>
                    <a:gd name="connsiteX26" fmla="*/ 52152 w 140726"/>
                    <a:gd name="connsiteY26" fmla="*/ 13995 h 60046"/>
                    <a:gd name="connsiteX27" fmla="*/ 54604 w 140726"/>
                    <a:gd name="connsiteY27" fmla="*/ 15311 h 60046"/>
                    <a:gd name="connsiteX28" fmla="*/ 57056 w 140726"/>
                    <a:gd name="connsiteY28" fmla="*/ 16626 h 60046"/>
                    <a:gd name="connsiteX29" fmla="*/ 59508 w 140726"/>
                    <a:gd name="connsiteY29" fmla="*/ 17942 h 60046"/>
                    <a:gd name="connsiteX30" fmla="*/ 60704 w 140726"/>
                    <a:gd name="connsiteY30" fmla="*/ 18600 h 60046"/>
                    <a:gd name="connsiteX31" fmla="*/ 63156 w 140726"/>
                    <a:gd name="connsiteY31" fmla="*/ 19916 h 60046"/>
                    <a:gd name="connsiteX32" fmla="*/ 65608 w 140726"/>
                    <a:gd name="connsiteY32" fmla="*/ 21231 h 60046"/>
                    <a:gd name="connsiteX33" fmla="*/ 66266 w 140726"/>
                    <a:gd name="connsiteY33" fmla="*/ 21590 h 60046"/>
                    <a:gd name="connsiteX34" fmla="*/ 68180 w 140726"/>
                    <a:gd name="connsiteY34" fmla="*/ 22667 h 60046"/>
                    <a:gd name="connsiteX35" fmla="*/ 68838 w 140726"/>
                    <a:gd name="connsiteY35" fmla="*/ 23026 h 60046"/>
                    <a:gd name="connsiteX36" fmla="*/ 71290 w 140726"/>
                    <a:gd name="connsiteY36" fmla="*/ 24342 h 60046"/>
                    <a:gd name="connsiteX37" fmla="*/ 71829 w 140726"/>
                    <a:gd name="connsiteY37" fmla="*/ 24641 h 60046"/>
                    <a:gd name="connsiteX38" fmla="*/ 74280 w 140726"/>
                    <a:gd name="connsiteY38" fmla="*/ 25956 h 60046"/>
                    <a:gd name="connsiteX39" fmla="*/ 76732 w 140726"/>
                    <a:gd name="connsiteY39" fmla="*/ 27332 h 60046"/>
                    <a:gd name="connsiteX40" fmla="*/ 79185 w 140726"/>
                    <a:gd name="connsiteY40" fmla="*/ 28648 h 60046"/>
                    <a:gd name="connsiteX41" fmla="*/ 81637 w 140726"/>
                    <a:gd name="connsiteY41" fmla="*/ 29963 h 60046"/>
                    <a:gd name="connsiteX42" fmla="*/ 83252 w 140726"/>
                    <a:gd name="connsiteY42" fmla="*/ 30860 h 60046"/>
                    <a:gd name="connsiteX43" fmla="*/ 85405 w 140726"/>
                    <a:gd name="connsiteY43" fmla="*/ 32057 h 60046"/>
                    <a:gd name="connsiteX44" fmla="*/ 88036 w 140726"/>
                    <a:gd name="connsiteY44" fmla="*/ 33013 h 60046"/>
                    <a:gd name="connsiteX45" fmla="*/ 90668 w 140726"/>
                    <a:gd name="connsiteY45" fmla="*/ 33970 h 60046"/>
                    <a:gd name="connsiteX46" fmla="*/ 90967 w 140726"/>
                    <a:gd name="connsiteY46" fmla="*/ 34090 h 60046"/>
                    <a:gd name="connsiteX47" fmla="*/ 93299 w 140726"/>
                    <a:gd name="connsiteY47" fmla="*/ 34927 h 60046"/>
                    <a:gd name="connsiteX48" fmla="*/ 95931 w 140726"/>
                    <a:gd name="connsiteY48" fmla="*/ 35884 h 60046"/>
                    <a:gd name="connsiteX49" fmla="*/ 98562 w 140726"/>
                    <a:gd name="connsiteY49" fmla="*/ 36841 h 60046"/>
                    <a:gd name="connsiteX50" fmla="*/ 101194 w 140726"/>
                    <a:gd name="connsiteY50" fmla="*/ 37798 h 60046"/>
                    <a:gd name="connsiteX51" fmla="*/ 103825 w 140726"/>
                    <a:gd name="connsiteY51" fmla="*/ 38755 h 60046"/>
                    <a:gd name="connsiteX52" fmla="*/ 106457 w 140726"/>
                    <a:gd name="connsiteY52" fmla="*/ 39712 h 60046"/>
                    <a:gd name="connsiteX53" fmla="*/ 109088 w 140726"/>
                    <a:gd name="connsiteY53" fmla="*/ 40669 h 60046"/>
                    <a:gd name="connsiteX54" fmla="*/ 111720 w 140726"/>
                    <a:gd name="connsiteY54" fmla="*/ 41626 h 60046"/>
                    <a:gd name="connsiteX55" fmla="*/ 114351 w 140726"/>
                    <a:gd name="connsiteY55" fmla="*/ 42583 h 60046"/>
                    <a:gd name="connsiteX56" fmla="*/ 116983 w 140726"/>
                    <a:gd name="connsiteY56" fmla="*/ 43539 h 60046"/>
                    <a:gd name="connsiteX57" fmla="*/ 119614 w 140726"/>
                    <a:gd name="connsiteY57" fmla="*/ 44497 h 60046"/>
                    <a:gd name="connsiteX58" fmla="*/ 120930 w 140726"/>
                    <a:gd name="connsiteY58" fmla="*/ 44975 h 60046"/>
                    <a:gd name="connsiteX59" fmla="*/ 123024 w 140726"/>
                    <a:gd name="connsiteY59" fmla="*/ 46889 h 60046"/>
                    <a:gd name="connsiteX60" fmla="*/ 125117 w 140726"/>
                    <a:gd name="connsiteY60" fmla="*/ 48803 h 60046"/>
                    <a:gd name="connsiteX61" fmla="*/ 125475 w 140726"/>
                    <a:gd name="connsiteY61" fmla="*/ 49161 h 60046"/>
                    <a:gd name="connsiteX62" fmla="*/ 126672 w 140726"/>
                    <a:gd name="connsiteY62" fmla="*/ 46829 h 60046"/>
                    <a:gd name="connsiteX63" fmla="*/ 129303 w 140726"/>
                    <a:gd name="connsiteY63" fmla="*/ 47786 h 60046"/>
                    <a:gd name="connsiteX64" fmla="*/ 131935 w 140726"/>
                    <a:gd name="connsiteY64" fmla="*/ 48743 h 60046"/>
                    <a:gd name="connsiteX65" fmla="*/ 133609 w 140726"/>
                    <a:gd name="connsiteY65" fmla="*/ 49341 h 60046"/>
                    <a:gd name="connsiteX66" fmla="*/ 135643 w 140726"/>
                    <a:gd name="connsiteY66" fmla="*/ 51255 h 60046"/>
                    <a:gd name="connsiteX67" fmla="*/ 137676 w 140726"/>
                    <a:gd name="connsiteY67" fmla="*/ 53169 h 60046"/>
                    <a:gd name="connsiteX68" fmla="*/ 139710 w 140726"/>
                    <a:gd name="connsiteY68" fmla="*/ 55082 h 60046"/>
                    <a:gd name="connsiteX69" fmla="*/ 140726 w 140726"/>
                    <a:gd name="connsiteY69" fmla="*/ 56039 h 60046"/>
                    <a:gd name="connsiteX70" fmla="*/ 140547 w 140726"/>
                    <a:gd name="connsiteY70" fmla="*/ 56458 h 60046"/>
                    <a:gd name="connsiteX71" fmla="*/ 139411 w 140726"/>
                    <a:gd name="connsiteY71" fmla="*/ 58671 h 60046"/>
                    <a:gd name="connsiteX72" fmla="*/ 138693 w 140726"/>
                    <a:gd name="connsiteY72" fmla="*/ 60046 h 60046"/>
                    <a:gd name="connsiteX73" fmla="*/ 137676 w 140726"/>
                    <a:gd name="connsiteY73" fmla="*/ 59687 h 60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40726" h="60046">
                      <a:moveTo>
                        <a:pt x="0" y="4246"/>
                      </a:moveTo>
                      <a:lnTo>
                        <a:pt x="1555" y="1196"/>
                      </a:lnTo>
                      <a:lnTo>
                        <a:pt x="1615" y="1017"/>
                      </a:lnTo>
                      <a:lnTo>
                        <a:pt x="4246" y="1914"/>
                      </a:lnTo>
                      <a:lnTo>
                        <a:pt x="6878" y="2811"/>
                      </a:lnTo>
                      <a:lnTo>
                        <a:pt x="8253" y="3289"/>
                      </a:lnTo>
                      <a:lnTo>
                        <a:pt x="11064" y="1974"/>
                      </a:lnTo>
                      <a:lnTo>
                        <a:pt x="13875" y="658"/>
                      </a:lnTo>
                      <a:lnTo>
                        <a:pt x="15311" y="0"/>
                      </a:lnTo>
                      <a:lnTo>
                        <a:pt x="17942" y="897"/>
                      </a:lnTo>
                      <a:lnTo>
                        <a:pt x="20574" y="1794"/>
                      </a:lnTo>
                      <a:lnTo>
                        <a:pt x="21471" y="2093"/>
                      </a:lnTo>
                      <a:lnTo>
                        <a:pt x="24102" y="2990"/>
                      </a:lnTo>
                      <a:lnTo>
                        <a:pt x="26734" y="3887"/>
                      </a:lnTo>
                      <a:lnTo>
                        <a:pt x="29365" y="4785"/>
                      </a:lnTo>
                      <a:lnTo>
                        <a:pt x="29425" y="4785"/>
                      </a:lnTo>
                      <a:lnTo>
                        <a:pt x="32057" y="5682"/>
                      </a:lnTo>
                      <a:lnTo>
                        <a:pt x="33432" y="6160"/>
                      </a:lnTo>
                      <a:lnTo>
                        <a:pt x="33492" y="6160"/>
                      </a:lnTo>
                      <a:lnTo>
                        <a:pt x="36123" y="7057"/>
                      </a:lnTo>
                      <a:lnTo>
                        <a:pt x="38755" y="7954"/>
                      </a:lnTo>
                      <a:lnTo>
                        <a:pt x="41386" y="8851"/>
                      </a:lnTo>
                      <a:lnTo>
                        <a:pt x="44018" y="9749"/>
                      </a:lnTo>
                      <a:lnTo>
                        <a:pt x="44796" y="10048"/>
                      </a:lnTo>
                      <a:lnTo>
                        <a:pt x="47247" y="11363"/>
                      </a:lnTo>
                      <a:lnTo>
                        <a:pt x="49700" y="12679"/>
                      </a:lnTo>
                      <a:lnTo>
                        <a:pt x="52152" y="13995"/>
                      </a:lnTo>
                      <a:lnTo>
                        <a:pt x="54604" y="15311"/>
                      </a:lnTo>
                      <a:lnTo>
                        <a:pt x="57056" y="16626"/>
                      </a:lnTo>
                      <a:lnTo>
                        <a:pt x="59508" y="17942"/>
                      </a:lnTo>
                      <a:lnTo>
                        <a:pt x="60704" y="18600"/>
                      </a:lnTo>
                      <a:lnTo>
                        <a:pt x="63156" y="19916"/>
                      </a:lnTo>
                      <a:lnTo>
                        <a:pt x="65608" y="21231"/>
                      </a:lnTo>
                      <a:lnTo>
                        <a:pt x="66266" y="21590"/>
                      </a:lnTo>
                      <a:lnTo>
                        <a:pt x="68180" y="22667"/>
                      </a:lnTo>
                      <a:lnTo>
                        <a:pt x="68838" y="23026"/>
                      </a:lnTo>
                      <a:lnTo>
                        <a:pt x="71290" y="24342"/>
                      </a:lnTo>
                      <a:lnTo>
                        <a:pt x="71829" y="24641"/>
                      </a:lnTo>
                      <a:lnTo>
                        <a:pt x="74280" y="25956"/>
                      </a:lnTo>
                      <a:lnTo>
                        <a:pt x="76732" y="27332"/>
                      </a:lnTo>
                      <a:lnTo>
                        <a:pt x="79185" y="28648"/>
                      </a:lnTo>
                      <a:lnTo>
                        <a:pt x="81637" y="29963"/>
                      </a:lnTo>
                      <a:lnTo>
                        <a:pt x="83252" y="30860"/>
                      </a:lnTo>
                      <a:lnTo>
                        <a:pt x="85405" y="32057"/>
                      </a:lnTo>
                      <a:lnTo>
                        <a:pt x="88036" y="33013"/>
                      </a:lnTo>
                      <a:lnTo>
                        <a:pt x="90668" y="33970"/>
                      </a:lnTo>
                      <a:lnTo>
                        <a:pt x="90967" y="34090"/>
                      </a:lnTo>
                      <a:lnTo>
                        <a:pt x="93299" y="34927"/>
                      </a:lnTo>
                      <a:lnTo>
                        <a:pt x="95931" y="35884"/>
                      </a:lnTo>
                      <a:lnTo>
                        <a:pt x="98562" y="36841"/>
                      </a:lnTo>
                      <a:lnTo>
                        <a:pt x="101194" y="37798"/>
                      </a:lnTo>
                      <a:lnTo>
                        <a:pt x="103825" y="38755"/>
                      </a:lnTo>
                      <a:lnTo>
                        <a:pt x="106457" y="39712"/>
                      </a:lnTo>
                      <a:lnTo>
                        <a:pt x="109088" y="40669"/>
                      </a:lnTo>
                      <a:lnTo>
                        <a:pt x="111720" y="41626"/>
                      </a:lnTo>
                      <a:lnTo>
                        <a:pt x="114351" y="42583"/>
                      </a:lnTo>
                      <a:lnTo>
                        <a:pt x="116983" y="43539"/>
                      </a:lnTo>
                      <a:lnTo>
                        <a:pt x="119614" y="44497"/>
                      </a:lnTo>
                      <a:lnTo>
                        <a:pt x="120930" y="44975"/>
                      </a:lnTo>
                      <a:lnTo>
                        <a:pt x="123024" y="46889"/>
                      </a:lnTo>
                      <a:lnTo>
                        <a:pt x="125117" y="48803"/>
                      </a:lnTo>
                      <a:lnTo>
                        <a:pt x="125475" y="49161"/>
                      </a:lnTo>
                      <a:lnTo>
                        <a:pt x="126672" y="46829"/>
                      </a:lnTo>
                      <a:lnTo>
                        <a:pt x="129303" y="47786"/>
                      </a:lnTo>
                      <a:lnTo>
                        <a:pt x="131935" y="48743"/>
                      </a:lnTo>
                      <a:lnTo>
                        <a:pt x="133609" y="49341"/>
                      </a:lnTo>
                      <a:lnTo>
                        <a:pt x="135643" y="51255"/>
                      </a:lnTo>
                      <a:lnTo>
                        <a:pt x="137676" y="53169"/>
                      </a:lnTo>
                      <a:lnTo>
                        <a:pt x="139710" y="55082"/>
                      </a:lnTo>
                      <a:lnTo>
                        <a:pt x="140726" y="56039"/>
                      </a:lnTo>
                      <a:lnTo>
                        <a:pt x="140547" y="56458"/>
                      </a:lnTo>
                      <a:lnTo>
                        <a:pt x="139411" y="58671"/>
                      </a:lnTo>
                      <a:lnTo>
                        <a:pt x="138693" y="60046"/>
                      </a:lnTo>
                      <a:lnTo>
                        <a:pt x="137676" y="59687"/>
                      </a:lnTo>
                    </a:path>
                  </a:pathLst>
                </a:custGeom>
                <a:noFill/>
                <a:ln w="6350" cap="flat">
                  <a:solidFill>
                    <a:schemeClr val="bg1">
                      <a:alpha val="80000"/>
                    </a:schemeClr>
                  </a:solidFill>
                  <a:prstDash val="solid"/>
                  <a:miter/>
                </a:ln>
              </p:spPr>
              <p:txBody>
                <a:bodyPr rtlCol="0" anchor="ctr"/>
                <a:lstStyle/>
                <a:p>
                  <a:endParaRPr lang="en-GB"/>
                </a:p>
              </p:txBody>
            </p:sp>
            <p:sp>
              <p:nvSpPr>
                <p:cNvPr id="7782" name="Vrije vorm: vorm 7781">
                  <a:extLst>
                    <a:ext uri="{FF2B5EF4-FFF2-40B4-BE49-F238E27FC236}">
                      <a16:creationId xmlns:a16="http://schemas.microsoft.com/office/drawing/2014/main" id="{92400D9E-7ED8-42EC-A5FE-4B90E3FE96D1}"/>
                    </a:ext>
                  </a:extLst>
                </p:cNvPr>
                <p:cNvSpPr/>
                <p:nvPr/>
              </p:nvSpPr>
              <p:spPr>
                <a:xfrm>
                  <a:off x="5749646" y="5103748"/>
                  <a:ext cx="67761" cy="32834"/>
                </a:xfrm>
                <a:custGeom>
                  <a:avLst/>
                  <a:gdLst>
                    <a:gd name="connsiteX0" fmla="*/ 0 w 67761"/>
                    <a:gd name="connsiteY0" fmla="*/ 0 h 32834"/>
                    <a:gd name="connsiteX1" fmla="*/ 2811 w 67761"/>
                    <a:gd name="connsiteY1" fmla="*/ 299 h 32834"/>
                    <a:gd name="connsiteX2" fmla="*/ 4725 w 67761"/>
                    <a:gd name="connsiteY2" fmla="*/ 479 h 32834"/>
                    <a:gd name="connsiteX3" fmla="*/ 7416 w 67761"/>
                    <a:gd name="connsiteY3" fmla="*/ 1196 h 32834"/>
                    <a:gd name="connsiteX4" fmla="*/ 7536 w 67761"/>
                    <a:gd name="connsiteY4" fmla="*/ 1196 h 32834"/>
                    <a:gd name="connsiteX5" fmla="*/ 7596 w 67761"/>
                    <a:gd name="connsiteY5" fmla="*/ 1196 h 32834"/>
                    <a:gd name="connsiteX6" fmla="*/ 10287 w 67761"/>
                    <a:gd name="connsiteY6" fmla="*/ 1914 h 32834"/>
                    <a:gd name="connsiteX7" fmla="*/ 11364 w 67761"/>
                    <a:gd name="connsiteY7" fmla="*/ 2213 h 32834"/>
                    <a:gd name="connsiteX8" fmla="*/ 11782 w 67761"/>
                    <a:gd name="connsiteY8" fmla="*/ 2333 h 32834"/>
                    <a:gd name="connsiteX9" fmla="*/ 14414 w 67761"/>
                    <a:gd name="connsiteY9" fmla="*/ 3290 h 32834"/>
                    <a:gd name="connsiteX10" fmla="*/ 17045 w 67761"/>
                    <a:gd name="connsiteY10" fmla="*/ 4246 h 32834"/>
                    <a:gd name="connsiteX11" fmla="*/ 19677 w 67761"/>
                    <a:gd name="connsiteY11" fmla="*/ 5204 h 32834"/>
                    <a:gd name="connsiteX12" fmla="*/ 20753 w 67761"/>
                    <a:gd name="connsiteY12" fmla="*/ 5622 h 32834"/>
                    <a:gd name="connsiteX13" fmla="*/ 23265 w 67761"/>
                    <a:gd name="connsiteY13" fmla="*/ 6758 h 32834"/>
                    <a:gd name="connsiteX14" fmla="*/ 25777 w 67761"/>
                    <a:gd name="connsiteY14" fmla="*/ 7895 h 32834"/>
                    <a:gd name="connsiteX15" fmla="*/ 28289 w 67761"/>
                    <a:gd name="connsiteY15" fmla="*/ 9031 h 32834"/>
                    <a:gd name="connsiteX16" fmla="*/ 30741 w 67761"/>
                    <a:gd name="connsiteY16" fmla="*/ 10107 h 32834"/>
                    <a:gd name="connsiteX17" fmla="*/ 33193 w 67761"/>
                    <a:gd name="connsiteY17" fmla="*/ 11364 h 32834"/>
                    <a:gd name="connsiteX18" fmla="*/ 35645 w 67761"/>
                    <a:gd name="connsiteY18" fmla="*/ 12620 h 32834"/>
                    <a:gd name="connsiteX19" fmla="*/ 36184 w 67761"/>
                    <a:gd name="connsiteY19" fmla="*/ 12859 h 32834"/>
                    <a:gd name="connsiteX20" fmla="*/ 38636 w 67761"/>
                    <a:gd name="connsiteY20" fmla="*/ 14115 h 32834"/>
                    <a:gd name="connsiteX21" fmla="*/ 41147 w 67761"/>
                    <a:gd name="connsiteY21" fmla="*/ 15370 h 32834"/>
                    <a:gd name="connsiteX22" fmla="*/ 41207 w 67761"/>
                    <a:gd name="connsiteY22" fmla="*/ 15370 h 32834"/>
                    <a:gd name="connsiteX23" fmla="*/ 43600 w 67761"/>
                    <a:gd name="connsiteY23" fmla="*/ 16746 h 32834"/>
                    <a:gd name="connsiteX24" fmla="*/ 45992 w 67761"/>
                    <a:gd name="connsiteY24" fmla="*/ 18122 h 32834"/>
                    <a:gd name="connsiteX25" fmla="*/ 46351 w 67761"/>
                    <a:gd name="connsiteY25" fmla="*/ 18301 h 32834"/>
                    <a:gd name="connsiteX26" fmla="*/ 46650 w 67761"/>
                    <a:gd name="connsiteY26" fmla="*/ 18481 h 32834"/>
                    <a:gd name="connsiteX27" fmla="*/ 47308 w 67761"/>
                    <a:gd name="connsiteY27" fmla="*/ 18839 h 32834"/>
                    <a:gd name="connsiteX28" fmla="*/ 49700 w 67761"/>
                    <a:gd name="connsiteY28" fmla="*/ 20215 h 32834"/>
                    <a:gd name="connsiteX29" fmla="*/ 50597 w 67761"/>
                    <a:gd name="connsiteY29" fmla="*/ 20693 h 32834"/>
                    <a:gd name="connsiteX30" fmla="*/ 51016 w 67761"/>
                    <a:gd name="connsiteY30" fmla="*/ 20933 h 32834"/>
                    <a:gd name="connsiteX31" fmla="*/ 53348 w 67761"/>
                    <a:gd name="connsiteY31" fmla="*/ 22428 h 32834"/>
                    <a:gd name="connsiteX32" fmla="*/ 55681 w 67761"/>
                    <a:gd name="connsiteY32" fmla="*/ 23923 h 32834"/>
                    <a:gd name="connsiteX33" fmla="*/ 58013 w 67761"/>
                    <a:gd name="connsiteY33" fmla="*/ 25418 h 32834"/>
                    <a:gd name="connsiteX34" fmla="*/ 59568 w 67761"/>
                    <a:gd name="connsiteY34" fmla="*/ 26375 h 32834"/>
                    <a:gd name="connsiteX35" fmla="*/ 61781 w 67761"/>
                    <a:gd name="connsiteY35" fmla="*/ 27990 h 32834"/>
                    <a:gd name="connsiteX36" fmla="*/ 63994 w 67761"/>
                    <a:gd name="connsiteY36" fmla="*/ 29665 h 32834"/>
                    <a:gd name="connsiteX37" fmla="*/ 64293 w 67761"/>
                    <a:gd name="connsiteY37" fmla="*/ 29904 h 32834"/>
                    <a:gd name="connsiteX38" fmla="*/ 66147 w 67761"/>
                    <a:gd name="connsiteY38" fmla="*/ 31279 h 32834"/>
                    <a:gd name="connsiteX39" fmla="*/ 67762 w 67761"/>
                    <a:gd name="connsiteY39" fmla="*/ 32834 h 3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7761" h="32834">
                      <a:moveTo>
                        <a:pt x="0" y="0"/>
                      </a:moveTo>
                      <a:lnTo>
                        <a:pt x="2811" y="299"/>
                      </a:lnTo>
                      <a:lnTo>
                        <a:pt x="4725" y="479"/>
                      </a:lnTo>
                      <a:lnTo>
                        <a:pt x="7416" y="1196"/>
                      </a:lnTo>
                      <a:lnTo>
                        <a:pt x="7536" y="1196"/>
                      </a:lnTo>
                      <a:lnTo>
                        <a:pt x="7596" y="1196"/>
                      </a:lnTo>
                      <a:lnTo>
                        <a:pt x="10287" y="1914"/>
                      </a:lnTo>
                      <a:lnTo>
                        <a:pt x="11364" y="2213"/>
                      </a:lnTo>
                      <a:lnTo>
                        <a:pt x="11782" y="2333"/>
                      </a:lnTo>
                      <a:lnTo>
                        <a:pt x="14414" y="3290"/>
                      </a:lnTo>
                      <a:lnTo>
                        <a:pt x="17045" y="4246"/>
                      </a:lnTo>
                      <a:lnTo>
                        <a:pt x="19677" y="5204"/>
                      </a:lnTo>
                      <a:lnTo>
                        <a:pt x="20753" y="5622"/>
                      </a:lnTo>
                      <a:lnTo>
                        <a:pt x="23265" y="6758"/>
                      </a:lnTo>
                      <a:lnTo>
                        <a:pt x="25777" y="7895"/>
                      </a:lnTo>
                      <a:lnTo>
                        <a:pt x="28289" y="9031"/>
                      </a:lnTo>
                      <a:lnTo>
                        <a:pt x="30741" y="10107"/>
                      </a:lnTo>
                      <a:lnTo>
                        <a:pt x="33193" y="11364"/>
                      </a:lnTo>
                      <a:lnTo>
                        <a:pt x="35645" y="12620"/>
                      </a:lnTo>
                      <a:lnTo>
                        <a:pt x="36184" y="12859"/>
                      </a:lnTo>
                      <a:lnTo>
                        <a:pt x="38636" y="14115"/>
                      </a:lnTo>
                      <a:lnTo>
                        <a:pt x="41147" y="15370"/>
                      </a:lnTo>
                      <a:lnTo>
                        <a:pt x="41207" y="15370"/>
                      </a:lnTo>
                      <a:lnTo>
                        <a:pt x="43600" y="16746"/>
                      </a:lnTo>
                      <a:lnTo>
                        <a:pt x="45992" y="18122"/>
                      </a:lnTo>
                      <a:lnTo>
                        <a:pt x="46351" y="18301"/>
                      </a:lnTo>
                      <a:lnTo>
                        <a:pt x="46650" y="18481"/>
                      </a:lnTo>
                      <a:lnTo>
                        <a:pt x="47308" y="18839"/>
                      </a:lnTo>
                      <a:lnTo>
                        <a:pt x="49700" y="20215"/>
                      </a:lnTo>
                      <a:lnTo>
                        <a:pt x="50597" y="20693"/>
                      </a:lnTo>
                      <a:lnTo>
                        <a:pt x="51016" y="20933"/>
                      </a:lnTo>
                      <a:lnTo>
                        <a:pt x="53348" y="22428"/>
                      </a:lnTo>
                      <a:lnTo>
                        <a:pt x="55681" y="23923"/>
                      </a:lnTo>
                      <a:lnTo>
                        <a:pt x="58013" y="25418"/>
                      </a:lnTo>
                      <a:lnTo>
                        <a:pt x="59568" y="26375"/>
                      </a:lnTo>
                      <a:lnTo>
                        <a:pt x="61781" y="27990"/>
                      </a:lnTo>
                      <a:lnTo>
                        <a:pt x="63994" y="29665"/>
                      </a:lnTo>
                      <a:lnTo>
                        <a:pt x="64293" y="29904"/>
                      </a:lnTo>
                      <a:lnTo>
                        <a:pt x="66147" y="31279"/>
                      </a:lnTo>
                      <a:lnTo>
                        <a:pt x="67762" y="32834"/>
                      </a:lnTo>
                    </a:path>
                  </a:pathLst>
                </a:custGeom>
                <a:noFill/>
                <a:ln w="6350" cap="flat">
                  <a:solidFill>
                    <a:schemeClr val="bg1">
                      <a:alpha val="80000"/>
                    </a:schemeClr>
                  </a:solidFill>
                  <a:prstDash val="solid"/>
                  <a:miter/>
                </a:ln>
              </p:spPr>
              <p:txBody>
                <a:bodyPr rtlCol="0" anchor="ctr"/>
                <a:lstStyle/>
                <a:p>
                  <a:endParaRPr lang="en-GB"/>
                </a:p>
              </p:txBody>
            </p:sp>
            <p:sp>
              <p:nvSpPr>
                <p:cNvPr id="7783" name="Vrije vorm: vorm 7782">
                  <a:extLst>
                    <a:ext uri="{FF2B5EF4-FFF2-40B4-BE49-F238E27FC236}">
                      <a16:creationId xmlns:a16="http://schemas.microsoft.com/office/drawing/2014/main" id="{D707E6DE-76A0-4552-9899-6F82E5A51622}"/>
                    </a:ext>
                  </a:extLst>
                </p:cNvPr>
                <p:cNvSpPr/>
                <p:nvPr/>
              </p:nvSpPr>
              <p:spPr>
                <a:xfrm>
                  <a:off x="5805566" y="5150817"/>
                  <a:ext cx="28528" cy="10765"/>
                </a:xfrm>
                <a:custGeom>
                  <a:avLst/>
                  <a:gdLst>
                    <a:gd name="connsiteX0" fmla="*/ 28528 w 28528"/>
                    <a:gd name="connsiteY0" fmla="*/ 10765 h 10765"/>
                    <a:gd name="connsiteX1" fmla="*/ 25956 w 28528"/>
                    <a:gd name="connsiteY1" fmla="*/ 9748 h 10765"/>
                    <a:gd name="connsiteX2" fmla="*/ 23384 w 28528"/>
                    <a:gd name="connsiteY2" fmla="*/ 8732 h 10765"/>
                    <a:gd name="connsiteX3" fmla="*/ 20813 w 28528"/>
                    <a:gd name="connsiteY3" fmla="*/ 7715 h 10765"/>
                    <a:gd name="connsiteX4" fmla="*/ 18241 w 28528"/>
                    <a:gd name="connsiteY4" fmla="*/ 6698 h 10765"/>
                    <a:gd name="connsiteX5" fmla="*/ 15669 w 28528"/>
                    <a:gd name="connsiteY5" fmla="*/ 5681 h 10765"/>
                    <a:gd name="connsiteX6" fmla="*/ 13098 w 28528"/>
                    <a:gd name="connsiteY6" fmla="*/ 4665 h 10765"/>
                    <a:gd name="connsiteX7" fmla="*/ 10526 w 28528"/>
                    <a:gd name="connsiteY7" fmla="*/ 3648 h 10765"/>
                    <a:gd name="connsiteX8" fmla="*/ 7954 w 28528"/>
                    <a:gd name="connsiteY8" fmla="*/ 2632 h 10765"/>
                    <a:gd name="connsiteX9" fmla="*/ 5382 w 28528"/>
                    <a:gd name="connsiteY9" fmla="*/ 1615 h 10765"/>
                    <a:gd name="connsiteX10" fmla="*/ 2811 w 28528"/>
                    <a:gd name="connsiteY10" fmla="*/ 598 h 10765"/>
                    <a:gd name="connsiteX11" fmla="*/ 1136 w 28528"/>
                    <a:gd name="connsiteY11" fmla="*/ 0 h 10765"/>
                    <a:gd name="connsiteX12" fmla="*/ 0 w 28528"/>
                    <a:gd name="connsiteY12" fmla="*/ 1495 h 1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28" h="10765">
                      <a:moveTo>
                        <a:pt x="28528" y="10765"/>
                      </a:moveTo>
                      <a:lnTo>
                        <a:pt x="25956" y="9748"/>
                      </a:lnTo>
                      <a:lnTo>
                        <a:pt x="23384" y="8732"/>
                      </a:lnTo>
                      <a:lnTo>
                        <a:pt x="20813" y="7715"/>
                      </a:lnTo>
                      <a:lnTo>
                        <a:pt x="18241" y="6698"/>
                      </a:lnTo>
                      <a:lnTo>
                        <a:pt x="15669" y="5681"/>
                      </a:lnTo>
                      <a:lnTo>
                        <a:pt x="13098" y="4665"/>
                      </a:lnTo>
                      <a:lnTo>
                        <a:pt x="10526" y="3648"/>
                      </a:lnTo>
                      <a:lnTo>
                        <a:pt x="7954" y="2632"/>
                      </a:lnTo>
                      <a:lnTo>
                        <a:pt x="5382" y="1615"/>
                      </a:lnTo>
                      <a:lnTo>
                        <a:pt x="2811" y="598"/>
                      </a:lnTo>
                      <a:lnTo>
                        <a:pt x="1136" y="0"/>
                      </a:lnTo>
                      <a:lnTo>
                        <a:pt x="0" y="1495"/>
                      </a:lnTo>
                    </a:path>
                  </a:pathLst>
                </a:custGeom>
                <a:noFill/>
                <a:ln w="6350" cap="flat">
                  <a:solidFill>
                    <a:schemeClr val="bg1">
                      <a:alpha val="80000"/>
                    </a:schemeClr>
                  </a:solidFill>
                  <a:prstDash val="solid"/>
                  <a:miter/>
                </a:ln>
              </p:spPr>
              <p:txBody>
                <a:bodyPr rtlCol="0" anchor="ctr"/>
                <a:lstStyle/>
                <a:p>
                  <a:endParaRPr lang="en-GB"/>
                </a:p>
              </p:txBody>
            </p:sp>
            <p:sp>
              <p:nvSpPr>
                <p:cNvPr id="7784" name="Vrije vorm: vorm 7783">
                  <a:extLst>
                    <a:ext uri="{FF2B5EF4-FFF2-40B4-BE49-F238E27FC236}">
                      <a16:creationId xmlns:a16="http://schemas.microsoft.com/office/drawing/2014/main" id="{20519B7D-A5C4-43FB-BFFF-912ED936995E}"/>
                    </a:ext>
                  </a:extLst>
                </p:cNvPr>
                <p:cNvSpPr/>
                <p:nvPr/>
              </p:nvSpPr>
              <p:spPr>
                <a:xfrm>
                  <a:off x="5794322" y="5140470"/>
                  <a:ext cx="8313" cy="6519"/>
                </a:xfrm>
                <a:custGeom>
                  <a:avLst/>
                  <a:gdLst>
                    <a:gd name="connsiteX0" fmla="*/ 0 w 8313"/>
                    <a:gd name="connsiteY0" fmla="*/ 0 h 6519"/>
                    <a:gd name="connsiteX1" fmla="*/ 2213 w 8313"/>
                    <a:gd name="connsiteY1" fmla="*/ 1735 h 6519"/>
                    <a:gd name="connsiteX2" fmla="*/ 4426 w 8313"/>
                    <a:gd name="connsiteY2" fmla="*/ 3469 h 6519"/>
                    <a:gd name="connsiteX3" fmla="*/ 6639 w 8313"/>
                    <a:gd name="connsiteY3" fmla="*/ 5203 h 6519"/>
                    <a:gd name="connsiteX4" fmla="*/ 8313 w 8313"/>
                    <a:gd name="connsiteY4" fmla="*/ 6519 h 6519"/>
                    <a:gd name="connsiteX5" fmla="*/ 8313 w 8313"/>
                    <a:gd name="connsiteY5" fmla="*/ 6519 h 6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13" h="6519">
                      <a:moveTo>
                        <a:pt x="0" y="0"/>
                      </a:moveTo>
                      <a:lnTo>
                        <a:pt x="2213" y="1735"/>
                      </a:lnTo>
                      <a:lnTo>
                        <a:pt x="4426" y="3469"/>
                      </a:lnTo>
                      <a:lnTo>
                        <a:pt x="6639" y="5203"/>
                      </a:lnTo>
                      <a:lnTo>
                        <a:pt x="8313" y="6519"/>
                      </a:lnTo>
                      <a:lnTo>
                        <a:pt x="8313" y="6519"/>
                      </a:lnTo>
                    </a:path>
                  </a:pathLst>
                </a:custGeom>
                <a:noFill/>
                <a:ln w="6350" cap="flat">
                  <a:solidFill>
                    <a:schemeClr val="bg1">
                      <a:alpha val="80000"/>
                    </a:schemeClr>
                  </a:solidFill>
                  <a:prstDash val="solid"/>
                  <a:miter/>
                </a:ln>
              </p:spPr>
              <p:txBody>
                <a:bodyPr rtlCol="0" anchor="ctr"/>
                <a:lstStyle/>
                <a:p>
                  <a:endParaRPr lang="en-GB"/>
                </a:p>
              </p:txBody>
            </p:sp>
            <p:sp>
              <p:nvSpPr>
                <p:cNvPr id="7785" name="Vrije vorm: vorm 7784">
                  <a:extLst>
                    <a:ext uri="{FF2B5EF4-FFF2-40B4-BE49-F238E27FC236}">
                      <a16:creationId xmlns:a16="http://schemas.microsoft.com/office/drawing/2014/main" id="{2BF415A6-B877-4FFE-854E-1E76D64EDF0A}"/>
                    </a:ext>
                  </a:extLst>
                </p:cNvPr>
                <p:cNvSpPr/>
                <p:nvPr/>
              </p:nvSpPr>
              <p:spPr>
                <a:xfrm>
                  <a:off x="5726740" y="5105662"/>
                  <a:ext cx="19736" cy="8134"/>
                </a:xfrm>
                <a:custGeom>
                  <a:avLst/>
                  <a:gdLst>
                    <a:gd name="connsiteX0" fmla="*/ 7835 w 19736"/>
                    <a:gd name="connsiteY0" fmla="*/ 8134 h 8134"/>
                    <a:gd name="connsiteX1" fmla="*/ 5562 w 19736"/>
                    <a:gd name="connsiteY1" fmla="*/ 6459 h 8134"/>
                    <a:gd name="connsiteX2" fmla="*/ 3289 w 19736"/>
                    <a:gd name="connsiteY2" fmla="*/ 4785 h 8134"/>
                    <a:gd name="connsiteX3" fmla="*/ 2213 w 19736"/>
                    <a:gd name="connsiteY3" fmla="*/ 4007 h 8134"/>
                    <a:gd name="connsiteX4" fmla="*/ 598 w 19736"/>
                    <a:gd name="connsiteY4" fmla="*/ 1615 h 8134"/>
                    <a:gd name="connsiteX5" fmla="*/ 0 w 19736"/>
                    <a:gd name="connsiteY5" fmla="*/ 718 h 8134"/>
                    <a:gd name="connsiteX6" fmla="*/ 2632 w 19736"/>
                    <a:gd name="connsiteY6" fmla="*/ 1675 h 8134"/>
                    <a:gd name="connsiteX7" fmla="*/ 5263 w 19736"/>
                    <a:gd name="connsiteY7" fmla="*/ 2632 h 8134"/>
                    <a:gd name="connsiteX8" fmla="*/ 6639 w 19736"/>
                    <a:gd name="connsiteY8" fmla="*/ 3110 h 8134"/>
                    <a:gd name="connsiteX9" fmla="*/ 8194 w 19736"/>
                    <a:gd name="connsiteY9" fmla="*/ 2392 h 8134"/>
                    <a:gd name="connsiteX10" fmla="*/ 11064 w 19736"/>
                    <a:gd name="connsiteY10" fmla="*/ 1136 h 8134"/>
                    <a:gd name="connsiteX11" fmla="*/ 13636 w 19736"/>
                    <a:gd name="connsiteY11" fmla="*/ 0 h 8134"/>
                    <a:gd name="connsiteX12" fmla="*/ 14712 w 19736"/>
                    <a:gd name="connsiteY12" fmla="*/ 359 h 8134"/>
                    <a:gd name="connsiteX13" fmla="*/ 17344 w 19736"/>
                    <a:gd name="connsiteY13" fmla="*/ 1256 h 8134"/>
                    <a:gd name="connsiteX14" fmla="*/ 19258 w 19736"/>
                    <a:gd name="connsiteY14" fmla="*/ 1914 h 8134"/>
                    <a:gd name="connsiteX15" fmla="*/ 19497 w 19736"/>
                    <a:gd name="connsiteY15" fmla="*/ 2034 h 8134"/>
                    <a:gd name="connsiteX16" fmla="*/ 19736 w 19736"/>
                    <a:gd name="connsiteY16" fmla="*/ 2153 h 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736" h="8134">
                      <a:moveTo>
                        <a:pt x="7835" y="8134"/>
                      </a:moveTo>
                      <a:lnTo>
                        <a:pt x="5562" y="6459"/>
                      </a:lnTo>
                      <a:lnTo>
                        <a:pt x="3289" y="4785"/>
                      </a:lnTo>
                      <a:lnTo>
                        <a:pt x="2213" y="4007"/>
                      </a:lnTo>
                      <a:lnTo>
                        <a:pt x="598" y="1615"/>
                      </a:lnTo>
                      <a:lnTo>
                        <a:pt x="0" y="718"/>
                      </a:lnTo>
                      <a:lnTo>
                        <a:pt x="2632" y="1675"/>
                      </a:lnTo>
                      <a:lnTo>
                        <a:pt x="5263" y="2632"/>
                      </a:lnTo>
                      <a:lnTo>
                        <a:pt x="6639" y="3110"/>
                      </a:lnTo>
                      <a:lnTo>
                        <a:pt x="8194" y="2392"/>
                      </a:lnTo>
                      <a:lnTo>
                        <a:pt x="11064" y="1136"/>
                      </a:lnTo>
                      <a:lnTo>
                        <a:pt x="13636" y="0"/>
                      </a:lnTo>
                      <a:lnTo>
                        <a:pt x="14712" y="359"/>
                      </a:lnTo>
                      <a:lnTo>
                        <a:pt x="17344" y="1256"/>
                      </a:lnTo>
                      <a:lnTo>
                        <a:pt x="19258" y="1914"/>
                      </a:lnTo>
                      <a:lnTo>
                        <a:pt x="19497" y="2034"/>
                      </a:lnTo>
                      <a:lnTo>
                        <a:pt x="19736" y="2153"/>
                      </a:lnTo>
                    </a:path>
                  </a:pathLst>
                </a:custGeom>
                <a:noFill/>
                <a:ln w="6350" cap="flat">
                  <a:solidFill>
                    <a:schemeClr val="bg1">
                      <a:alpha val="80000"/>
                    </a:schemeClr>
                  </a:solidFill>
                  <a:prstDash val="solid"/>
                  <a:miter/>
                </a:ln>
              </p:spPr>
              <p:txBody>
                <a:bodyPr rtlCol="0" anchor="ctr"/>
                <a:lstStyle/>
                <a:p>
                  <a:endParaRPr lang="en-GB"/>
                </a:p>
              </p:txBody>
            </p:sp>
            <p:sp>
              <p:nvSpPr>
                <p:cNvPr id="7786" name="Vrije vorm: vorm 7785">
                  <a:extLst>
                    <a:ext uri="{FF2B5EF4-FFF2-40B4-BE49-F238E27FC236}">
                      <a16:creationId xmlns:a16="http://schemas.microsoft.com/office/drawing/2014/main" id="{6976956B-AA65-4C40-B4BE-4381C80E1EA0}"/>
                    </a:ext>
                  </a:extLst>
                </p:cNvPr>
                <p:cNvSpPr/>
                <p:nvPr/>
              </p:nvSpPr>
              <p:spPr>
                <a:xfrm>
                  <a:off x="5769802" y="5116009"/>
                  <a:ext cx="80799" cy="38754"/>
                </a:xfrm>
                <a:custGeom>
                  <a:avLst/>
                  <a:gdLst>
                    <a:gd name="connsiteX0" fmla="*/ 0 w 80799"/>
                    <a:gd name="connsiteY0" fmla="*/ 0 h 38754"/>
                    <a:gd name="connsiteX1" fmla="*/ 2452 w 80799"/>
                    <a:gd name="connsiteY1" fmla="*/ 1316 h 38754"/>
                    <a:gd name="connsiteX2" fmla="*/ 4904 w 80799"/>
                    <a:gd name="connsiteY2" fmla="*/ 2632 h 38754"/>
                    <a:gd name="connsiteX3" fmla="*/ 7356 w 80799"/>
                    <a:gd name="connsiteY3" fmla="*/ 3947 h 38754"/>
                    <a:gd name="connsiteX4" fmla="*/ 9808 w 80799"/>
                    <a:gd name="connsiteY4" fmla="*/ 5263 h 38754"/>
                    <a:gd name="connsiteX5" fmla="*/ 12260 w 80799"/>
                    <a:gd name="connsiteY5" fmla="*/ 6579 h 38754"/>
                    <a:gd name="connsiteX6" fmla="*/ 14712 w 80799"/>
                    <a:gd name="connsiteY6" fmla="*/ 7895 h 38754"/>
                    <a:gd name="connsiteX7" fmla="*/ 17165 w 80799"/>
                    <a:gd name="connsiteY7" fmla="*/ 9210 h 38754"/>
                    <a:gd name="connsiteX8" fmla="*/ 19617 w 80799"/>
                    <a:gd name="connsiteY8" fmla="*/ 10526 h 38754"/>
                    <a:gd name="connsiteX9" fmla="*/ 22069 w 80799"/>
                    <a:gd name="connsiteY9" fmla="*/ 11842 h 38754"/>
                    <a:gd name="connsiteX10" fmla="*/ 24521 w 80799"/>
                    <a:gd name="connsiteY10" fmla="*/ 13157 h 38754"/>
                    <a:gd name="connsiteX11" fmla="*/ 26973 w 80799"/>
                    <a:gd name="connsiteY11" fmla="*/ 14473 h 38754"/>
                    <a:gd name="connsiteX12" fmla="*/ 29425 w 80799"/>
                    <a:gd name="connsiteY12" fmla="*/ 15789 h 38754"/>
                    <a:gd name="connsiteX13" fmla="*/ 31877 w 80799"/>
                    <a:gd name="connsiteY13" fmla="*/ 17105 h 38754"/>
                    <a:gd name="connsiteX14" fmla="*/ 34329 w 80799"/>
                    <a:gd name="connsiteY14" fmla="*/ 18420 h 38754"/>
                    <a:gd name="connsiteX15" fmla="*/ 36781 w 80799"/>
                    <a:gd name="connsiteY15" fmla="*/ 19736 h 38754"/>
                    <a:gd name="connsiteX16" fmla="*/ 39234 w 80799"/>
                    <a:gd name="connsiteY16" fmla="*/ 21052 h 38754"/>
                    <a:gd name="connsiteX17" fmla="*/ 40788 w 80799"/>
                    <a:gd name="connsiteY17" fmla="*/ 21889 h 38754"/>
                    <a:gd name="connsiteX18" fmla="*/ 43121 w 80799"/>
                    <a:gd name="connsiteY18" fmla="*/ 22727 h 38754"/>
                    <a:gd name="connsiteX19" fmla="*/ 43659 w 80799"/>
                    <a:gd name="connsiteY19" fmla="*/ 22906 h 38754"/>
                    <a:gd name="connsiteX20" fmla="*/ 46291 w 80799"/>
                    <a:gd name="connsiteY20" fmla="*/ 23863 h 38754"/>
                    <a:gd name="connsiteX21" fmla="*/ 48922 w 80799"/>
                    <a:gd name="connsiteY21" fmla="*/ 24820 h 38754"/>
                    <a:gd name="connsiteX22" fmla="*/ 51554 w 80799"/>
                    <a:gd name="connsiteY22" fmla="*/ 25777 h 38754"/>
                    <a:gd name="connsiteX23" fmla="*/ 51972 w 80799"/>
                    <a:gd name="connsiteY23" fmla="*/ 25956 h 38754"/>
                    <a:gd name="connsiteX24" fmla="*/ 52032 w 80799"/>
                    <a:gd name="connsiteY24" fmla="*/ 25956 h 38754"/>
                    <a:gd name="connsiteX25" fmla="*/ 54664 w 80799"/>
                    <a:gd name="connsiteY25" fmla="*/ 26913 h 38754"/>
                    <a:gd name="connsiteX26" fmla="*/ 57295 w 80799"/>
                    <a:gd name="connsiteY26" fmla="*/ 27870 h 38754"/>
                    <a:gd name="connsiteX27" fmla="*/ 59927 w 80799"/>
                    <a:gd name="connsiteY27" fmla="*/ 28827 h 38754"/>
                    <a:gd name="connsiteX28" fmla="*/ 62558 w 80799"/>
                    <a:gd name="connsiteY28" fmla="*/ 29784 h 38754"/>
                    <a:gd name="connsiteX29" fmla="*/ 65190 w 80799"/>
                    <a:gd name="connsiteY29" fmla="*/ 30741 h 38754"/>
                    <a:gd name="connsiteX30" fmla="*/ 67821 w 80799"/>
                    <a:gd name="connsiteY30" fmla="*/ 31698 h 38754"/>
                    <a:gd name="connsiteX31" fmla="*/ 70453 w 80799"/>
                    <a:gd name="connsiteY31" fmla="*/ 32655 h 38754"/>
                    <a:gd name="connsiteX32" fmla="*/ 73084 w 80799"/>
                    <a:gd name="connsiteY32" fmla="*/ 33612 h 38754"/>
                    <a:gd name="connsiteX33" fmla="*/ 75716 w 80799"/>
                    <a:gd name="connsiteY33" fmla="*/ 34568 h 38754"/>
                    <a:gd name="connsiteX34" fmla="*/ 76254 w 80799"/>
                    <a:gd name="connsiteY34" fmla="*/ 34748 h 38754"/>
                    <a:gd name="connsiteX35" fmla="*/ 78347 w 80799"/>
                    <a:gd name="connsiteY35" fmla="*/ 36602 h 38754"/>
                    <a:gd name="connsiteX36" fmla="*/ 80440 w 80799"/>
                    <a:gd name="connsiteY36" fmla="*/ 38456 h 38754"/>
                    <a:gd name="connsiteX37" fmla="*/ 80799 w 80799"/>
                    <a:gd name="connsiteY37" fmla="*/ 38755 h 3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0799" h="38754">
                      <a:moveTo>
                        <a:pt x="0" y="0"/>
                      </a:moveTo>
                      <a:lnTo>
                        <a:pt x="2452" y="1316"/>
                      </a:lnTo>
                      <a:lnTo>
                        <a:pt x="4904" y="2632"/>
                      </a:lnTo>
                      <a:lnTo>
                        <a:pt x="7356" y="3947"/>
                      </a:lnTo>
                      <a:lnTo>
                        <a:pt x="9808" y="5263"/>
                      </a:lnTo>
                      <a:lnTo>
                        <a:pt x="12260" y="6579"/>
                      </a:lnTo>
                      <a:lnTo>
                        <a:pt x="14712" y="7895"/>
                      </a:lnTo>
                      <a:lnTo>
                        <a:pt x="17165" y="9210"/>
                      </a:lnTo>
                      <a:lnTo>
                        <a:pt x="19617" y="10526"/>
                      </a:lnTo>
                      <a:lnTo>
                        <a:pt x="22069" y="11842"/>
                      </a:lnTo>
                      <a:lnTo>
                        <a:pt x="24521" y="13157"/>
                      </a:lnTo>
                      <a:lnTo>
                        <a:pt x="26973" y="14473"/>
                      </a:lnTo>
                      <a:lnTo>
                        <a:pt x="29425" y="15789"/>
                      </a:lnTo>
                      <a:lnTo>
                        <a:pt x="31877" y="17105"/>
                      </a:lnTo>
                      <a:lnTo>
                        <a:pt x="34329" y="18420"/>
                      </a:lnTo>
                      <a:lnTo>
                        <a:pt x="36781" y="19736"/>
                      </a:lnTo>
                      <a:lnTo>
                        <a:pt x="39234" y="21052"/>
                      </a:lnTo>
                      <a:lnTo>
                        <a:pt x="40788" y="21889"/>
                      </a:lnTo>
                      <a:lnTo>
                        <a:pt x="43121" y="22727"/>
                      </a:lnTo>
                      <a:lnTo>
                        <a:pt x="43659" y="22906"/>
                      </a:lnTo>
                      <a:lnTo>
                        <a:pt x="46291" y="23863"/>
                      </a:lnTo>
                      <a:lnTo>
                        <a:pt x="48922" y="24820"/>
                      </a:lnTo>
                      <a:lnTo>
                        <a:pt x="51554" y="25777"/>
                      </a:lnTo>
                      <a:lnTo>
                        <a:pt x="51972" y="25956"/>
                      </a:lnTo>
                      <a:lnTo>
                        <a:pt x="52032" y="25956"/>
                      </a:lnTo>
                      <a:lnTo>
                        <a:pt x="54664" y="26913"/>
                      </a:lnTo>
                      <a:lnTo>
                        <a:pt x="57295" y="27870"/>
                      </a:lnTo>
                      <a:lnTo>
                        <a:pt x="59927" y="28827"/>
                      </a:lnTo>
                      <a:lnTo>
                        <a:pt x="62558" y="29784"/>
                      </a:lnTo>
                      <a:lnTo>
                        <a:pt x="65190" y="30741"/>
                      </a:lnTo>
                      <a:lnTo>
                        <a:pt x="67821" y="31698"/>
                      </a:lnTo>
                      <a:lnTo>
                        <a:pt x="70453" y="32655"/>
                      </a:lnTo>
                      <a:lnTo>
                        <a:pt x="73084" y="33612"/>
                      </a:lnTo>
                      <a:lnTo>
                        <a:pt x="75716" y="34568"/>
                      </a:lnTo>
                      <a:lnTo>
                        <a:pt x="76254" y="34748"/>
                      </a:lnTo>
                      <a:lnTo>
                        <a:pt x="78347" y="36602"/>
                      </a:lnTo>
                      <a:lnTo>
                        <a:pt x="80440" y="38456"/>
                      </a:lnTo>
                      <a:lnTo>
                        <a:pt x="80799" y="38755"/>
                      </a:lnTo>
                    </a:path>
                  </a:pathLst>
                </a:custGeom>
                <a:noFill/>
                <a:ln w="6350" cap="flat">
                  <a:solidFill>
                    <a:schemeClr val="bg1">
                      <a:alpha val="80000"/>
                    </a:schemeClr>
                  </a:solidFill>
                  <a:prstDash val="solid"/>
                  <a:miter/>
                </a:ln>
              </p:spPr>
              <p:txBody>
                <a:bodyPr rtlCol="0" anchor="ctr"/>
                <a:lstStyle/>
                <a:p>
                  <a:endParaRPr lang="en-GB"/>
                </a:p>
              </p:txBody>
            </p:sp>
            <p:sp>
              <p:nvSpPr>
                <p:cNvPr id="7787" name="Vrije vorm: vorm 7786">
                  <a:extLst>
                    <a:ext uri="{FF2B5EF4-FFF2-40B4-BE49-F238E27FC236}">
                      <a16:creationId xmlns:a16="http://schemas.microsoft.com/office/drawing/2014/main" id="{7AF0BEF2-A953-4E8F-BBB1-90982E969933}"/>
                    </a:ext>
                  </a:extLst>
                </p:cNvPr>
                <p:cNvSpPr/>
                <p:nvPr/>
              </p:nvSpPr>
              <p:spPr>
                <a:xfrm>
                  <a:off x="5845577" y="5147228"/>
                  <a:ext cx="1913" cy="3767"/>
                </a:xfrm>
                <a:custGeom>
                  <a:avLst/>
                  <a:gdLst>
                    <a:gd name="connsiteX0" fmla="*/ 0 w 1913"/>
                    <a:gd name="connsiteY0" fmla="*/ 3768 h 3767"/>
                    <a:gd name="connsiteX1" fmla="*/ 1555 w 1913"/>
                    <a:gd name="connsiteY1" fmla="*/ 718 h 3767"/>
                    <a:gd name="connsiteX2" fmla="*/ 1914 w 1913"/>
                    <a:gd name="connsiteY2" fmla="*/ 0 h 3767"/>
                  </a:gdLst>
                  <a:ahLst/>
                  <a:cxnLst>
                    <a:cxn ang="0">
                      <a:pos x="connsiteX0" y="connsiteY0"/>
                    </a:cxn>
                    <a:cxn ang="0">
                      <a:pos x="connsiteX1" y="connsiteY1"/>
                    </a:cxn>
                    <a:cxn ang="0">
                      <a:pos x="connsiteX2" y="connsiteY2"/>
                    </a:cxn>
                  </a:cxnLst>
                  <a:rect l="l" t="t" r="r" b="b"/>
                  <a:pathLst>
                    <a:path w="1913" h="3767">
                      <a:moveTo>
                        <a:pt x="0" y="3768"/>
                      </a:moveTo>
                      <a:lnTo>
                        <a:pt x="1555" y="718"/>
                      </a:lnTo>
                      <a:lnTo>
                        <a:pt x="1914" y="0"/>
                      </a:lnTo>
                    </a:path>
                  </a:pathLst>
                </a:custGeom>
                <a:noFill/>
                <a:ln w="6350" cap="flat">
                  <a:solidFill>
                    <a:schemeClr val="bg1">
                      <a:alpha val="80000"/>
                    </a:schemeClr>
                  </a:solidFill>
                  <a:prstDash val="solid"/>
                  <a:miter/>
                </a:ln>
              </p:spPr>
              <p:txBody>
                <a:bodyPr rtlCol="0" anchor="ctr"/>
                <a:lstStyle/>
                <a:p>
                  <a:endParaRPr lang="en-GB"/>
                </a:p>
              </p:txBody>
            </p:sp>
            <p:sp>
              <p:nvSpPr>
                <p:cNvPr id="7788" name="Vrije vorm: vorm 7787">
                  <a:extLst>
                    <a:ext uri="{FF2B5EF4-FFF2-40B4-BE49-F238E27FC236}">
                      <a16:creationId xmlns:a16="http://schemas.microsoft.com/office/drawing/2014/main" id="{99EBD155-6FED-48BD-B3E4-2A74592401A1}"/>
                    </a:ext>
                  </a:extLst>
                </p:cNvPr>
                <p:cNvSpPr/>
                <p:nvPr/>
              </p:nvSpPr>
              <p:spPr>
                <a:xfrm>
                  <a:off x="5844680" y="5165350"/>
                  <a:ext cx="20992" cy="74459"/>
                </a:xfrm>
                <a:custGeom>
                  <a:avLst/>
                  <a:gdLst>
                    <a:gd name="connsiteX0" fmla="*/ 17823 w 20992"/>
                    <a:gd name="connsiteY0" fmla="*/ 54903 h 74459"/>
                    <a:gd name="connsiteX1" fmla="*/ 18062 w 20992"/>
                    <a:gd name="connsiteY1" fmla="*/ 55022 h 74459"/>
                    <a:gd name="connsiteX2" fmla="*/ 18600 w 20992"/>
                    <a:gd name="connsiteY2" fmla="*/ 55262 h 74459"/>
                    <a:gd name="connsiteX3" fmla="*/ 19736 w 20992"/>
                    <a:gd name="connsiteY3" fmla="*/ 55740 h 74459"/>
                    <a:gd name="connsiteX4" fmla="*/ 20095 w 20992"/>
                    <a:gd name="connsiteY4" fmla="*/ 55979 h 74459"/>
                    <a:gd name="connsiteX5" fmla="*/ 20574 w 20992"/>
                    <a:gd name="connsiteY5" fmla="*/ 56278 h 74459"/>
                    <a:gd name="connsiteX6" fmla="*/ 20992 w 20992"/>
                    <a:gd name="connsiteY6" fmla="*/ 57654 h 74459"/>
                    <a:gd name="connsiteX7" fmla="*/ 20873 w 20992"/>
                    <a:gd name="connsiteY7" fmla="*/ 59747 h 74459"/>
                    <a:gd name="connsiteX8" fmla="*/ 20275 w 20992"/>
                    <a:gd name="connsiteY8" fmla="*/ 62319 h 74459"/>
                    <a:gd name="connsiteX9" fmla="*/ 20275 w 20992"/>
                    <a:gd name="connsiteY9" fmla="*/ 62379 h 74459"/>
                    <a:gd name="connsiteX10" fmla="*/ 19617 w 20992"/>
                    <a:gd name="connsiteY10" fmla="*/ 64293 h 74459"/>
                    <a:gd name="connsiteX11" fmla="*/ 18780 w 20992"/>
                    <a:gd name="connsiteY11" fmla="*/ 66266 h 74459"/>
                    <a:gd name="connsiteX12" fmla="*/ 17763 w 20992"/>
                    <a:gd name="connsiteY12" fmla="*/ 68180 h 74459"/>
                    <a:gd name="connsiteX13" fmla="*/ 16686 w 20992"/>
                    <a:gd name="connsiteY13" fmla="*/ 69974 h 74459"/>
                    <a:gd name="connsiteX14" fmla="*/ 15550 w 20992"/>
                    <a:gd name="connsiteY14" fmla="*/ 71529 h 74459"/>
                    <a:gd name="connsiteX15" fmla="*/ 14414 w 20992"/>
                    <a:gd name="connsiteY15" fmla="*/ 72785 h 74459"/>
                    <a:gd name="connsiteX16" fmla="*/ 13337 w 20992"/>
                    <a:gd name="connsiteY16" fmla="*/ 73742 h 74459"/>
                    <a:gd name="connsiteX17" fmla="*/ 12380 w 20992"/>
                    <a:gd name="connsiteY17" fmla="*/ 74280 h 74459"/>
                    <a:gd name="connsiteX18" fmla="*/ 11543 w 20992"/>
                    <a:gd name="connsiteY18" fmla="*/ 74460 h 74459"/>
                    <a:gd name="connsiteX19" fmla="*/ 11423 w 20992"/>
                    <a:gd name="connsiteY19" fmla="*/ 74400 h 74459"/>
                    <a:gd name="connsiteX20" fmla="*/ 10885 w 20992"/>
                    <a:gd name="connsiteY20" fmla="*/ 74161 h 74459"/>
                    <a:gd name="connsiteX21" fmla="*/ 8373 w 20992"/>
                    <a:gd name="connsiteY21" fmla="*/ 72965 h 74459"/>
                    <a:gd name="connsiteX22" fmla="*/ 5861 w 20992"/>
                    <a:gd name="connsiteY22" fmla="*/ 71769 h 74459"/>
                    <a:gd name="connsiteX23" fmla="*/ 5622 w 20992"/>
                    <a:gd name="connsiteY23" fmla="*/ 71649 h 74459"/>
                    <a:gd name="connsiteX24" fmla="*/ 5143 w 20992"/>
                    <a:gd name="connsiteY24" fmla="*/ 70991 h 74459"/>
                    <a:gd name="connsiteX25" fmla="*/ 4904 w 20992"/>
                    <a:gd name="connsiteY25" fmla="*/ 69915 h 74459"/>
                    <a:gd name="connsiteX26" fmla="*/ 4785 w 20992"/>
                    <a:gd name="connsiteY26" fmla="*/ 68599 h 74459"/>
                    <a:gd name="connsiteX27" fmla="*/ 4545 w 20992"/>
                    <a:gd name="connsiteY27" fmla="*/ 65130 h 74459"/>
                    <a:gd name="connsiteX28" fmla="*/ 4545 w 20992"/>
                    <a:gd name="connsiteY28" fmla="*/ 64891 h 74459"/>
                    <a:gd name="connsiteX29" fmla="*/ 4306 w 20992"/>
                    <a:gd name="connsiteY29" fmla="*/ 61422 h 74459"/>
                    <a:gd name="connsiteX30" fmla="*/ 4246 w 20992"/>
                    <a:gd name="connsiteY30" fmla="*/ 60525 h 74459"/>
                    <a:gd name="connsiteX31" fmla="*/ 4127 w 20992"/>
                    <a:gd name="connsiteY31" fmla="*/ 58910 h 74459"/>
                    <a:gd name="connsiteX32" fmla="*/ 3947 w 20992"/>
                    <a:gd name="connsiteY32" fmla="*/ 56398 h 74459"/>
                    <a:gd name="connsiteX33" fmla="*/ 3947 w 20992"/>
                    <a:gd name="connsiteY33" fmla="*/ 56398 h 74459"/>
                    <a:gd name="connsiteX34" fmla="*/ 3708 w 20992"/>
                    <a:gd name="connsiteY34" fmla="*/ 53049 h 74459"/>
                    <a:gd name="connsiteX35" fmla="*/ 3708 w 20992"/>
                    <a:gd name="connsiteY35" fmla="*/ 52690 h 74459"/>
                    <a:gd name="connsiteX36" fmla="*/ 3589 w 20992"/>
                    <a:gd name="connsiteY36" fmla="*/ 51314 h 74459"/>
                    <a:gd name="connsiteX37" fmla="*/ 3469 w 20992"/>
                    <a:gd name="connsiteY37" fmla="*/ 49999 h 74459"/>
                    <a:gd name="connsiteX38" fmla="*/ 3230 w 20992"/>
                    <a:gd name="connsiteY38" fmla="*/ 46949 h 74459"/>
                    <a:gd name="connsiteX39" fmla="*/ 3110 w 20992"/>
                    <a:gd name="connsiteY39" fmla="*/ 45573 h 74459"/>
                    <a:gd name="connsiteX40" fmla="*/ 2871 w 20992"/>
                    <a:gd name="connsiteY40" fmla="*/ 42104 h 74459"/>
                    <a:gd name="connsiteX41" fmla="*/ 2811 w 20992"/>
                    <a:gd name="connsiteY41" fmla="*/ 41267 h 74459"/>
                    <a:gd name="connsiteX42" fmla="*/ 2572 w 20992"/>
                    <a:gd name="connsiteY42" fmla="*/ 37798 h 74459"/>
                    <a:gd name="connsiteX43" fmla="*/ 2333 w 20992"/>
                    <a:gd name="connsiteY43" fmla="*/ 34329 h 74459"/>
                    <a:gd name="connsiteX44" fmla="*/ 2093 w 20992"/>
                    <a:gd name="connsiteY44" fmla="*/ 30920 h 74459"/>
                    <a:gd name="connsiteX45" fmla="*/ 1854 w 20992"/>
                    <a:gd name="connsiteY45" fmla="*/ 27451 h 74459"/>
                    <a:gd name="connsiteX46" fmla="*/ 1615 w 20992"/>
                    <a:gd name="connsiteY46" fmla="*/ 24042 h 74459"/>
                    <a:gd name="connsiteX47" fmla="*/ 1376 w 20992"/>
                    <a:gd name="connsiteY47" fmla="*/ 20574 h 74459"/>
                    <a:gd name="connsiteX48" fmla="*/ 1136 w 20992"/>
                    <a:gd name="connsiteY48" fmla="*/ 17105 h 74459"/>
                    <a:gd name="connsiteX49" fmla="*/ 897 w 20992"/>
                    <a:gd name="connsiteY49" fmla="*/ 13636 h 74459"/>
                    <a:gd name="connsiteX50" fmla="*/ 718 w 20992"/>
                    <a:gd name="connsiteY50" fmla="*/ 11363 h 74459"/>
                    <a:gd name="connsiteX51" fmla="*/ 479 w 20992"/>
                    <a:gd name="connsiteY51" fmla="*/ 7895 h 74459"/>
                    <a:gd name="connsiteX52" fmla="*/ 299 w 20992"/>
                    <a:gd name="connsiteY52" fmla="*/ 5681 h 74459"/>
                    <a:gd name="connsiteX53" fmla="*/ 60 w 20992"/>
                    <a:gd name="connsiteY53" fmla="*/ 2213 h 74459"/>
                    <a:gd name="connsiteX54" fmla="*/ 0 w 20992"/>
                    <a:gd name="connsiteY54" fmla="*/ 1734 h 74459"/>
                    <a:gd name="connsiteX55" fmla="*/ 0 w 20992"/>
                    <a:gd name="connsiteY55" fmla="*/ 1495 h 74459"/>
                    <a:gd name="connsiteX56" fmla="*/ 239 w 20992"/>
                    <a:gd name="connsiteY56" fmla="*/ 1017 h 74459"/>
                    <a:gd name="connsiteX57" fmla="*/ 359 w 20992"/>
                    <a:gd name="connsiteY57" fmla="*/ 718 h 74459"/>
                    <a:gd name="connsiteX58" fmla="*/ 718 w 20992"/>
                    <a:gd name="connsiteY58" fmla="*/ 0 h 7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0992" h="74459">
                      <a:moveTo>
                        <a:pt x="17823" y="54903"/>
                      </a:moveTo>
                      <a:lnTo>
                        <a:pt x="18062" y="55022"/>
                      </a:lnTo>
                      <a:lnTo>
                        <a:pt x="18600" y="55262"/>
                      </a:lnTo>
                      <a:lnTo>
                        <a:pt x="19736" y="55740"/>
                      </a:lnTo>
                      <a:lnTo>
                        <a:pt x="20095" y="55979"/>
                      </a:lnTo>
                      <a:lnTo>
                        <a:pt x="20574" y="56278"/>
                      </a:lnTo>
                      <a:lnTo>
                        <a:pt x="20992" y="57654"/>
                      </a:lnTo>
                      <a:lnTo>
                        <a:pt x="20873" y="59747"/>
                      </a:lnTo>
                      <a:lnTo>
                        <a:pt x="20275" y="62319"/>
                      </a:lnTo>
                      <a:lnTo>
                        <a:pt x="20275" y="62379"/>
                      </a:lnTo>
                      <a:lnTo>
                        <a:pt x="19617" y="64293"/>
                      </a:lnTo>
                      <a:lnTo>
                        <a:pt x="18780" y="66266"/>
                      </a:lnTo>
                      <a:lnTo>
                        <a:pt x="17763" y="68180"/>
                      </a:lnTo>
                      <a:lnTo>
                        <a:pt x="16686" y="69974"/>
                      </a:lnTo>
                      <a:lnTo>
                        <a:pt x="15550" y="71529"/>
                      </a:lnTo>
                      <a:lnTo>
                        <a:pt x="14414" y="72785"/>
                      </a:lnTo>
                      <a:lnTo>
                        <a:pt x="13337" y="73742"/>
                      </a:lnTo>
                      <a:lnTo>
                        <a:pt x="12380" y="74280"/>
                      </a:lnTo>
                      <a:lnTo>
                        <a:pt x="11543" y="74460"/>
                      </a:lnTo>
                      <a:lnTo>
                        <a:pt x="11423" y="74400"/>
                      </a:lnTo>
                      <a:lnTo>
                        <a:pt x="10885" y="74161"/>
                      </a:lnTo>
                      <a:lnTo>
                        <a:pt x="8373" y="72965"/>
                      </a:lnTo>
                      <a:lnTo>
                        <a:pt x="5861" y="71769"/>
                      </a:lnTo>
                      <a:lnTo>
                        <a:pt x="5622" y="71649"/>
                      </a:lnTo>
                      <a:lnTo>
                        <a:pt x="5143" y="70991"/>
                      </a:lnTo>
                      <a:lnTo>
                        <a:pt x="4904" y="69915"/>
                      </a:lnTo>
                      <a:lnTo>
                        <a:pt x="4785" y="68599"/>
                      </a:lnTo>
                      <a:lnTo>
                        <a:pt x="4545" y="65130"/>
                      </a:lnTo>
                      <a:lnTo>
                        <a:pt x="4545" y="64891"/>
                      </a:lnTo>
                      <a:lnTo>
                        <a:pt x="4306" y="61422"/>
                      </a:lnTo>
                      <a:lnTo>
                        <a:pt x="4246" y="60525"/>
                      </a:lnTo>
                      <a:lnTo>
                        <a:pt x="4127" y="58910"/>
                      </a:lnTo>
                      <a:lnTo>
                        <a:pt x="3947" y="56398"/>
                      </a:lnTo>
                      <a:lnTo>
                        <a:pt x="3947" y="56398"/>
                      </a:lnTo>
                      <a:lnTo>
                        <a:pt x="3708" y="53049"/>
                      </a:lnTo>
                      <a:lnTo>
                        <a:pt x="3708" y="52690"/>
                      </a:lnTo>
                      <a:lnTo>
                        <a:pt x="3589" y="51314"/>
                      </a:lnTo>
                      <a:lnTo>
                        <a:pt x="3469" y="49999"/>
                      </a:lnTo>
                      <a:lnTo>
                        <a:pt x="3230" y="46949"/>
                      </a:lnTo>
                      <a:lnTo>
                        <a:pt x="3110" y="45573"/>
                      </a:lnTo>
                      <a:lnTo>
                        <a:pt x="2871" y="42104"/>
                      </a:lnTo>
                      <a:lnTo>
                        <a:pt x="2811" y="41267"/>
                      </a:lnTo>
                      <a:lnTo>
                        <a:pt x="2572" y="37798"/>
                      </a:lnTo>
                      <a:lnTo>
                        <a:pt x="2333" y="34329"/>
                      </a:lnTo>
                      <a:lnTo>
                        <a:pt x="2093" y="30920"/>
                      </a:lnTo>
                      <a:lnTo>
                        <a:pt x="1854" y="27451"/>
                      </a:lnTo>
                      <a:lnTo>
                        <a:pt x="1615" y="24042"/>
                      </a:lnTo>
                      <a:lnTo>
                        <a:pt x="1376" y="20574"/>
                      </a:lnTo>
                      <a:lnTo>
                        <a:pt x="1136" y="17105"/>
                      </a:lnTo>
                      <a:lnTo>
                        <a:pt x="897" y="13636"/>
                      </a:lnTo>
                      <a:lnTo>
                        <a:pt x="718" y="11363"/>
                      </a:lnTo>
                      <a:lnTo>
                        <a:pt x="479" y="7895"/>
                      </a:lnTo>
                      <a:lnTo>
                        <a:pt x="299" y="5681"/>
                      </a:lnTo>
                      <a:lnTo>
                        <a:pt x="60" y="2213"/>
                      </a:lnTo>
                      <a:lnTo>
                        <a:pt x="0" y="1734"/>
                      </a:lnTo>
                      <a:lnTo>
                        <a:pt x="0" y="1495"/>
                      </a:lnTo>
                      <a:lnTo>
                        <a:pt x="239" y="1017"/>
                      </a:lnTo>
                      <a:lnTo>
                        <a:pt x="359" y="718"/>
                      </a:lnTo>
                      <a:lnTo>
                        <a:pt x="718" y="0"/>
                      </a:lnTo>
                    </a:path>
                  </a:pathLst>
                </a:custGeom>
                <a:noFill/>
                <a:ln w="6350" cap="flat">
                  <a:solidFill>
                    <a:schemeClr val="bg1">
                      <a:alpha val="80000"/>
                    </a:schemeClr>
                  </a:solidFill>
                  <a:prstDash val="solid"/>
                  <a:miter/>
                </a:ln>
              </p:spPr>
              <p:txBody>
                <a:bodyPr rtlCol="0" anchor="ctr"/>
                <a:lstStyle/>
                <a:p>
                  <a:endParaRPr lang="en-GB"/>
                </a:p>
              </p:txBody>
            </p:sp>
            <p:sp>
              <p:nvSpPr>
                <p:cNvPr id="7789" name="Vrije vorm: vorm 7788">
                  <a:extLst>
                    <a:ext uri="{FF2B5EF4-FFF2-40B4-BE49-F238E27FC236}">
                      <a16:creationId xmlns:a16="http://schemas.microsoft.com/office/drawing/2014/main" id="{00DBBBFC-D05B-432D-B041-5E9A3DCF2BE4}"/>
                    </a:ext>
                  </a:extLst>
                </p:cNvPr>
                <p:cNvSpPr/>
                <p:nvPr/>
              </p:nvSpPr>
              <p:spPr>
                <a:xfrm>
                  <a:off x="5854847" y="5221031"/>
                  <a:ext cx="9509" cy="18540"/>
                </a:xfrm>
                <a:custGeom>
                  <a:avLst/>
                  <a:gdLst>
                    <a:gd name="connsiteX0" fmla="*/ 598 w 9509"/>
                    <a:gd name="connsiteY0" fmla="*/ 18540 h 18540"/>
                    <a:gd name="connsiteX1" fmla="*/ 180 w 9509"/>
                    <a:gd name="connsiteY1" fmla="*/ 17882 h 18540"/>
                    <a:gd name="connsiteX2" fmla="*/ 0 w 9509"/>
                    <a:gd name="connsiteY2" fmla="*/ 16806 h 18540"/>
                    <a:gd name="connsiteX3" fmla="*/ 120 w 9509"/>
                    <a:gd name="connsiteY3" fmla="*/ 14653 h 18540"/>
                    <a:gd name="connsiteX4" fmla="*/ 778 w 9509"/>
                    <a:gd name="connsiteY4" fmla="*/ 11961 h 18540"/>
                    <a:gd name="connsiteX5" fmla="*/ 1555 w 9509"/>
                    <a:gd name="connsiteY5" fmla="*/ 9928 h 18540"/>
                    <a:gd name="connsiteX6" fmla="*/ 1914 w 9509"/>
                    <a:gd name="connsiteY6" fmla="*/ 9031 h 18540"/>
                    <a:gd name="connsiteX7" fmla="*/ 3349 w 9509"/>
                    <a:gd name="connsiteY7" fmla="*/ 6160 h 18540"/>
                    <a:gd name="connsiteX8" fmla="*/ 5024 w 9509"/>
                    <a:gd name="connsiteY8" fmla="*/ 3588 h 18540"/>
                    <a:gd name="connsiteX9" fmla="*/ 6698 w 9509"/>
                    <a:gd name="connsiteY9" fmla="*/ 1615 h 18540"/>
                    <a:gd name="connsiteX10" fmla="*/ 8253 w 9509"/>
                    <a:gd name="connsiteY10" fmla="*/ 359 h 18540"/>
                    <a:gd name="connsiteX11" fmla="*/ 8612 w 9509"/>
                    <a:gd name="connsiteY11" fmla="*/ 239 h 18540"/>
                    <a:gd name="connsiteX12" fmla="*/ 8672 w 9509"/>
                    <a:gd name="connsiteY12" fmla="*/ 239 h 18540"/>
                    <a:gd name="connsiteX13" fmla="*/ 9510 w 9509"/>
                    <a:gd name="connsiteY13" fmla="*/ 0 h 1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09" h="18540">
                      <a:moveTo>
                        <a:pt x="598" y="18540"/>
                      </a:moveTo>
                      <a:lnTo>
                        <a:pt x="180" y="17882"/>
                      </a:lnTo>
                      <a:lnTo>
                        <a:pt x="0" y="16806"/>
                      </a:lnTo>
                      <a:lnTo>
                        <a:pt x="120" y="14653"/>
                      </a:lnTo>
                      <a:lnTo>
                        <a:pt x="778" y="11961"/>
                      </a:lnTo>
                      <a:lnTo>
                        <a:pt x="1555" y="9928"/>
                      </a:lnTo>
                      <a:lnTo>
                        <a:pt x="1914" y="9031"/>
                      </a:lnTo>
                      <a:lnTo>
                        <a:pt x="3349" y="6160"/>
                      </a:lnTo>
                      <a:lnTo>
                        <a:pt x="5024" y="3588"/>
                      </a:lnTo>
                      <a:lnTo>
                        <a:pt x="6698" y="1615"/>
                      </a:lnTo>
                      <a:lnTo>
                        <a:pt x="8253" y="359"/>
                      </a:lnTo>
                      <a:lnTo>
                        <a:pt x="8612" y="239"/>
                      </a:lnTo>
                      <a:lnTo>
                        <a:pt x="8672" y="239"/>
                      </a:lnTo>
                      <a:lnTo>
                        <a:pt x="9510" y="0"/>
                      </a:lnTo>
                    </a:path>
                  </a:pathLst>
                </a:custGeom>
                <a:noFill/>
                <a:ln w="6350" cap="flat">
                  <a:solidFill>
                    <a:schemeClr val="bg1">
                      <a:alpha val="80000"/>
                    </a:schemeClr>
                  </a:solidFill>
                  <a:prstDash val="solid"/>
                  <a:miter/>
                </a:ln>
              </p:spPr>
              <p:txBody>
                <a:bodyPr rtlCol="0" anchor="ctr"/>
                <a:lstStyle/>
                <a:p>
                  <a:endParaRPr lang="en-GB"/>
                </a:p>
              </p:txBody>
            </p:sp>
            <p:sp>
              <p:nvSpPr>
                <p:cNvPr id="7790" name="Vrije vorm: vorm 7789">
                  <a:extLst>
                    <a:ext uri="{FF2B5EF4-FFF2-40B4-BE49-F238E27FC236}">
                      <a16:creationId xmlns:a16="http://schemas.microsoft.com/office/drawing/2014/main" id="{D7F49086-8BA1-4BAD-AB93-205ADDCC291C}"/>
                    </a:ext>
                  </a:extLst>
                </p:cNvPr>
                <p:cNvSpPr/>
                <p:nvPr/>
              </p:nvSpPr>
              <p:spPr>
                <a:xfrm>
                  <a:off x="5856940" y="5234487"/>
                  <a:ext cx="658" cy="1913"/>
                </a:xfrm>
                <a:custGeom>
                  <a:avLst/>
                  <a:gdLst>
                    <a:gd name="connsiteX0" fmla="*/ 0 w 658"/>
                    <a:gd name="connsiteY0" fmla="*/ 0 h 1913"/>
                    <a:gd name="connsiteX1" fmla="*/ 0 w 658"/>
                    <a:gd name="connsiteY1" fmla="*/ 957 h 1913"/>
                    <a:gd name="connsiteX2" fmla="*/ 0 w 658"/>
                    <a:gd name="connsiteY2" fmla="*/ 957 h 1913"/>
                    <a:gd name="connsiteX3" fmla="*/ 60 w 658"/>
                    <a:gd name="connsiteY3" fmla="*/ 1136 h 1913"/>
                    <a:gd name="connsiteX4" fmla="*/ 239 w 658"/>
                    <a:gd name="connsiteY4" fmla="*/ 1615 h 1913"/>
                    <a:gd name="connsiteX5" fmla="*/ 658 w 658"/>
                    <a:gd name="connsiteY5" fmla="*/ 1914 h 1913"/>
                    <a:gd name="connsiteX6" fmla="*/ 658 w 658"/>
                    <a:gd name="connsiteY6" fmla="*/ 1914 h 1913"/>
                    <a:gd name="connsiteX7" fmla="*/ 658 w 658"/>
                    <a:gd name="connsiteY7" fmla="*/ 1914 h 1913"/>
                    <a:gd name="connsiteX8" fmla="*/ 658 w 658"/>
                    <a:gd name="connsiteY8" fmla="*/ 1914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 h="1913">
                      <a:moveTo>
                        <a:pt x="0" y="0"/>
                      </a:moveTo>
                      <a:lnTo>
                        <a:pt x="0" y="957"/>
                      </a:lnTo>
                      <a:lnTo>
                        <a:pt x="0" y="957"/>
                      </a:lnTo>
                      <a:lnTo>
                        <a:pt x="60" y="1136"/>
                      </a:lnTo>
                      <a:lnTo>
                        <a:pt x="239" y="1615"/>
                      </a:lnTo>
                      <a:lnTo>
                        <a:pt x="658" y="1914"/>
                      </a:lnTo>
                      <a:lnTo>
                        <a:pt x="658" y="1914"/>
                      </a:lnTo>
                      <a:lnTo>
                        <a:pt x="658" y="1914"/>
                      </a:lnTo>
                      <a:lnTo>
                        <a:pt x="658" y="1914"/>
                      </a:lnTo>
                    </a:path>
                  </a:pathLst>
                </a:custGeom>
                <a:noFill/>
                <a:ln w="6350" cap="flat">
                  <a:solidFill>
                    <a:schemeClr val="bg1">
                      <a:alpha val="80000"/>
                    </a:schemeClr>
                  </a:solidFill>
                  <a:prstDash val="solid"/>
                  <a:miter/>
                </a:ln>
              </p:spPr>
              <p:txBody>
                <a:bodyPr rtlCol="0" anchor="ctr"/>
                <a:lstStyle/>
                <a:p>
                  <a:endParaRPr lang="en-GB"/>
                </a:p>
              </p:txBody>
            </p:sp>
            <p:sp>
              <p:nvSpPr>
                <p:cNvPr id="7791" name="Vrije vorm: vorm 7790">
                  <a:extLst>
                    <a:ext uri="{FF2B5EF4-FFF2-40B4-BE49-F238E27FC236}">
                      <a16:creationId xmlns:a16="http://schemas.microsoft.com/office/drawing/2014/main" id="{DB2C50EC-F0A7-469C-9071-C22FAC3CFA44}"/>
                    </a:ext>
                  </a:extLst>
                </p:cNvPr>
                <p:cNvSpPr/>
                <p:nvPr/>
              </p:nvSpPr>
              <p:spPr>
                <a:xfrm>
                  <a:off x="5857120" y="5231915"/>
                  <a:ext cx="478" cy="1734"/>
                </a:xfrm>
                <a:custGeom>
                  <a:avLst/>
                  <a:gdLst>
                    <a:gd name="connsiteX0" fmla="*/ 479 w 478"/>
                    <a:gd name="connsiteY0" fmla="*/ 0 h 1734"/>
                    <a:gd name="connsiteX1" fmla="*/ 60 w 478"/>
                    <a:gd name="connsiteY1" fmla="*/ 1375 h 1734"/>
                    <a:gd name="connsiteX2" fmla="*/ 0 w 478"/>
                    <a:gd name="connsiteY2" fmla="*/ 1734 h 1734"/>
                  </a:gdLst>
                  <a:ahLst/>
                  <a:cxnLst>
                    <a:cxn ang="0">
                      <a:pos x="connsiteX0" y="connsiteY0"/>
                    </a:cxn>
                    <a:cxn ang="0">
                      <a:pos x="connsiteX1" y="connsiteY1"/>
                    </a:cxn>
                    <a:cxn ang="0">
                      <a:pos x="connsiteX2" y="connsiteY2"/>
                    </a:cxn>
                  </a:cxnLst>
                  <a:rect l="l" t="t" r="r" b="b"/>
                  <a:pathLst>
                    <a:path w="478" h="1734">
                      <a:moveTo>
                        <a:pt x="479" y="0"/>
                      </a:moveTo>
                      <a:lnTo>
                        <a:pt x="60" y="1375"/>
                      </a:lnTo>
                      <a:lnTo>
                        <a:pt x="0" y="1734"/>
                      </a:lnTo>
                    </a:path>
                  </a:pathLst>
                </a:custGeom>
                <a:noFill/>
                <a:ln w="6350" cap="flat">
                  <a:solidFill>
                    <a:schemeClr val="bg1">
                      <a:alpha val="80000"/>
                    </a:schemeClr>
                  </a:solidFill>
                  <a:prstDash val="solid"/>
                  <a:miter/>
                </a:ln>
              </p:spPr>
              <p:txBody>
                <a:bodyPr rtlCol="0" anchor="ctr"/>
                <a:lstStyle/>
                <a:p>
                  <a:endParaRPr lang="en-GB"/>
                </a:p>
              </p:txBody>
            </p:sp>
            <p:sp>
              <p:nvSpPr>
                <p:cNvPr id="7792" name="Vrije vorm: vorm 7791">
                  <a:extLst>
                    <a:ext uri="{FF2B5EF4-FFF2-40B4-BE49-F238E27FC236}">
                      <a16:creationId xmlns:a16="http://schemas.microsoft.com/office/drawing/2014/main" id="{E2584CCF-5375-4EAC-B1A6-C352EECC6F98}"/>
                    </a:ext>
                  </a:extLst>
                </p:cNvPr>
                <p:cNvSpPr/>
                <p:nvPr/>
              </p:nvSpPr>
              <p:spPr>
                <a:xfrm>
                  <a:off x="5858196" y="5227789"/>
                  <a:ext cx="1495" cy="2631"/>
                </a:xfrm>
                <a:custGeom>
                  <a:avLst/>
                  <a:gdLst>
                    <a:gd name="connsiteX0" fmla="*/ 1495 w 1495"/>
                    <a:gd name="connsiteY0" fmla="*/ 0 h 2631"/>
                    <a:gd name="connsiteX1" fmla="*/ 718 w 1495"/>
                    <a:gd name="connsiteY1" fmla="*/ 1256 h 2631"/>
                    <a:gd name="connsiteX2" fmla="*/ 0 w 1495"/>
                    <a:gd name="connsiteY2" fmla="*/ 2632 h 2631"/>
                  </a:gdLst>
                  <a:ahLst/>
                  <a:cxnLst>
                    <a:cxn ang="0">
                      <a:pos x="connsiteX0" y="connsiteY0"/>
                    </a:cxn>
                    <a:cxn ang="0">
                      <a:pos x="connsiteX1" y="connsiteY1"/>
                    </a:cxn>
                    <a:cxn ang="0">
                      <a:pos x="connsiteX2" y="connsiteY2"/>
                    </a:cxn>
                  </a:cxnLst>
                  <a:rect l="l" t="t" r="r" b="b"/>
                  <a:pathLst>
                    <a:path w="1495" h="2631">
                      <a:moveTo>
                        <a:pt x="1495" y="0"/>
                      </a:moveTo>
                      <a:lnTo>
                        <a:pt x="718" y="1256"/>
                      </a:lnTo>
                      <a:lnTo>
                        <a:pt x="0" y="2632"/>
                      </a:lnTo>
                    </a:path>
                  </a:pathLst>
                </a:custGeom>
                <a:noFill/>
                <a:ln w="6350" cap="flat">
                  <a:solidFill>
                    <a:schemeClr val="bg1">
                      <a:alpha val="80000"/>
                    </a:schemeClr>
                  </a:solidFill>
                  <a:prstDash val="solid"/>
                  <a:miter/>
                </a:ln>
              </p:spPr>
              <p:txBody>
                <a:bodyPr rtlCol="0" anchor="ctr"/>
                <a:lstStyle/>
                <a:p>
                  <a:endParaRPr lang="en-GB"/>
                </a:p>
              </p:txBody>
            </p:sp>
            <p:sp>
              <p:nvSpPr>
                <p:cNvPr id="7793" name="Vrije vorm: vorm 7792">
                  <a:extLst>
                    <a:ext uri="{FF2B5EF4-FFF2-40B4-BE49-F238E27FC236}">
                      <a16:creationId xmlns:a16="http://schemas.microsoft.com/office/drawing/2014/main" id="{AC5F1C61-7BCA-411D-BEBF-F3119EF5F392}"/>
                    </a:ext>
                  </a:extLst>
                </p:cNvPr>
                <p:cNvSpPr/>
                <p:nvPr/>
              </p:nvSpPr>
              <p:spPr>
                <a:xfrm>
                  <a:off x="5862024" y="5225516"/>
                  <a:ext cx="597" cy="59"/>
                </a:xfrm>
                <a:custGeom>
                  <a:avLst/>
                  <a:gdLst>
                    <a:gd name="connsiteX0" fmla="*/ 598 w 597"/>
                    <a:gd name="connsiteY0" fmla="*/ 0 h 59"/>
                    <a:gd name="connsiteX1" fmla="*/ 0 w 597"/>
                    <a:gd name="connsiteY1" fmla="*/ 60 h 59"/>
                  </a:gdLst>
                  <a:ahLst/>
                  <a:cxnLst>
                    <a:cxn ang="0">
                      <a:pos x="connsiteX0" y="connsiteY0"/>
                    </a:cxn>
                    <a:cxn ang="0">
                      <a:pos x="connsiteX1" y="connsiteY1"/>
                    </a:cxn>
                  </a:cxnLst>
                  <a:rect l="l" t="t" r="r" b="b"/>
                  <a:pathLst>
                    <a:path w="597" h="59">
                      <a:moveTo>
                        <a:pt x="598" y="0"/>
                      </a:moveTo>
                      <a:lnTo>
                        <a:pt x="0" y="60"/>
                      </a:lnTo>
                    </a:path>
                  </a:pathLst>
                </a:custGeom>
                <a:noFill/>
                <a:ln w="6350" cap="flat">
                  <a:solidFill>
                    <a:schemeClr val="bg1">
                      <a:alpha val="80000"/>
                    </a:schemeClr>
                  </a:solidFill>
                  <a:prstDash val="solid"/>
                  <a:miter/>
                </a:ln>
              </p:spPr>
              <p:txBody>
                <a:bodyPr rtlCol="0" anchor="ctr"/>
                <a:lstStyle/>
                <a:p>
                  <a:endParaRPr lang="en-GB"/>
                </a:p>
              </p:txBody>
            </p:sp>
            <p:sp>
              <p:nvSpPr>
                <p:cNvPr id="7794" name="Vrije vorm: vorm 7793">
                  <a:extLst>
                    <a:ext uri="{FF2B5EF4-FFF2-40B4-BE49-F238E27FC236}">
                      <a16:creationId xmlns:a16="http://schemas.microsoft.com/office/drawing/2014/main" id="{4712845B-3527-401F-9A58-56173FC15827}"/>
                    </a:ext>
                  </a:extLst>
                </p:cNvPr>
                <p:cNvSpPr/>
                <p:nvPr/>
              </p:nvSpPr>
              <p:spPr>
                <a:xfrm>
                  <a:off x="5864775" y="5199978"/>
                  <a:ext cx="8731" cy="21291"/>
                </a:xfrm>
                <a:custGeom>
                  <a:avLst/>
                  <a:gdLst>
                    <a:gd name="connsiteX0" fmla="*/ 8732 w 8731"/>
                    <a:gd name="connsiteY0" fmla="*/ 0 h 21291"/>
                    <a:gd name="connsiteX1" fmla="*/ 7596 w 8731"/>
                    <a:gd name="connsiteY1" fmla="*/ 3708 h 21291"/>
                    <a:gd name="connsiteX2" fmla="*/ 6459 w 8731"/>
                    <a:gd name="connsiteY2" fmla="*/ 7416 h 21291"/>
                    <a:gd name="connsiteX3" fmla="*/ 5323 w 8731"/>
                    <a:gd name="connsiteY3" fmla="*/ 11124 h 21291"/>
                    <a:gd name="connsiteX4" fmla="*/ 4187 w 8731"/>
                    <a:gd name="connsiteY4" fmla="*/ 14832 h 21291"/>
                    <a:gd name="connsiteX5" fmla="*/ 3050 w 8731"/>
                    <a:gd name="connsiteY5" fmla="*/ 18540 h 21291"/>
                    <a:gd name="connsiteX6" fmla="*/ 2452 w 8731"/>
                    <a:gd name="connsiteY6" fmla="*/ 20394 h 21291"/>
                    <a:gd name="connsiteX7" fmla="*/ 538 w 8731"/>
                    <a:gd name="connsiteY7" fmla="*/ 19557 h 21291"/>
                    <a:gd name="connsiteX8" fmla="*/ 0 w 8731"/>
                    <a:gd name="connsiteY8" fmla="*/ 21291 h 2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1" h="21291">
                      <a:moveTo>
                        <a:pt x="8732" y="0"/>
                      </a:moveTo>
                      <a:lnTo>
                        <a:pt x="7596" y="3708"/>
                      </a:lnTo>
                      <a:lnTo>
                        <a:pt x="6459" y="7416"/>
                      </a:lnTo>
                      <a:lnTo>
                        <a:pt x="5323" y="11124"/>
                      </a:lnTo>
                      <a:lnTo>
                        <a:pt x="4187" y="14832"/>
                      </a:lnTo>
                      <a:lnTo>
                        <a:pt x="3050" y="18540"/>
                      </a:lnTo>
                      <a:lnTo>
                        <a:pt x="2452" y="20394"/>
                      </a:lnTo>
                      <a:lnTo>
                        <a:pt x="538" y="19557"/>
                      </a:lnTo>
                      <a:lnTo>
                        <a:pt x="0" y="21291"/>
                      </a:lnTo>
                    </a:path>
                  </a:pathLst>
                </a:custGeom>
                <a:noFill/>
                <a:ln w="6350" cap="flat">
                  <a:solidFill>
                    <a:schemeClr val="bg1">
                      <a:alpha val="80000"/>
                    </a:schemeClr>
                  </a:solidFill>
                  <a:prstDash val="solid"/>
                  <a:miter/>
                </a:ln>
              </p:spPr>
              <p:txBody>
                <a:bodyPr rtlCol="0" anchor="ctr"/>
                <a:lstStyle/>
                <a:p>
                  <a:endParaRPr lang="en-GB"/>
                </a:p>
              </p:txBody>
            </p:sp>
            <p:sp>
              <p:nvSpPr>
                <p:cNvPr id="7795" name="Vrije vorm: vorm 7794">
                  <a:extLst>
                    <a:ext uri="{FF2B5EF4-FFF2-40B4-BE49-F238E27FC236}">
                      <a16:creationId xmlns:a16="http://schemas.microsoft.com/office/drawing/2014/main" id="{AD04F3AB-0AE3-47C7-92A0-F5CEC79702A7}"/>
                    </a:ext>
                  </a:extLst>
                </p:cNvPr>
                <p:cNvSpPr/>
                <p:nvPr/>
              </p:nvSpPr>
              <p:spPr>
                <a:xfrm>
                  <a:off x="5844201" y="5166725"/>
                  <a:ext cx="5801" cy="2272"/>
                </a:xfrm>
                <a:custGeom>
                  <a:avLst/>
                  <a:gdLst>
                    <a:gd name="connsiteX0" fmla="*/ 0 w 5801"/>
                    <a:gd name="connsiteY0" fmla="*/ 0 h 2272"/>
                    <a:gd name="connsiteX1" fmla="*/ 2572 w 5801"/>
                    <a:gd name="connsiteY1" fmla="*/ 1017 h 2272"/>
                    <a:gd name="connsiteX2" fmla="*/ 3589 w 5801"/>
                    <a:gd name="connsiteY2" fmla="*/ 1435 h 2272"/>
                    <a:gd name="connsiteX3" fmla="*/ 3768 w 5801"/>
                    <a:gd name="connsiteY3" fmla="*/ 1495 h 2272"/>
                    <a:gd name="connsiteX4" fmla="*/ 5801 w 5801"/>
                    <a:gd name="connsiteY4" fmla="*/ 2273 h 2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1" h="2272">
                      <a:moveTo>
                        <a:pt x="0" y="0"/>
                      </a:moveTo>
                      <a:lnTo>
                        <a:pt x="2572" y="1017"/>
                      </a:lnTo>
                      <a:lnTo>
                        <a:pt x="3589" y="1435"/>
                      </a:lnTo>
                      <a:lnTo>
                        <a:pt x="3768" y="1495"/>
                      </a:lnTo>
                      <a:lnTo>
                        <a:pt x="5801" y="2273"/>
                      </a:lnTo>
                    </a:path>
                  </a:pathLst>
                </a:custGeom>
                <a:noFill/>
                <a:ln w="6350" cap="flat">
                  <a:solidFill>
                    <a:schemeClr val="bg1">
                      <a:alpha val="80000"/>
                    </a:schemeClr>
                  </a:solidFill>
                  <a:prstDash val="solid"/>
                  <a:miter/>
                </a:ln>
              </p:spPr>
              <p:txBody>
                <a:bodyPr rtlCol="0" anchor="ctr"/>
                <a:lstStyle/>
                <a:p>
                  <a:endParaRPr lang="en-GB"/>
                </a:p>
              </p:txBody>
            </p:sp>
            <p:sp>
              <p:nvSpPr>
                <p:cNvPr id="7796" name="Vrije vorm: vorm 7795">
                  <a:extLst>
                    <a:ext uri="{FF2B5EF4-FFF2-40B4-BE49-F238E27FC236}">
                      <a16:creationId xmlns:a16="http://schemas.microsoft.com/office/drawing/2014/main" id="{3AC04681-EBCE-4F87-B0BD-B94808F66272}"/>
                    </a:ext>
                  </a:extLst>
                </p:cNvPr>
                <p:cNvSpPr/>
                <p:nvPr/>
              </p:nvSpPr>
              <p:spPr>
                <a:xfrm>
                  <a:off x="5850063" y="5168938"/>
                  <a:ext cx="4425" cy="65190"/>
                </a:xfrm>
                <a:custGeom>
                  <a:avLst/>
                  <a:gdLst>
                    <a:gd name="connsiteX0" fmla="*/ 0 w 4425"/>
                    <a:gd name="connsiteY0" fmla="*/ 0 h 65190"/>
                    <a:gd name="connsiteX1" fmla="*/ 239 w 4425"/>
                    <a:gd name="connsiteY1" fmla="*/ 3529 h 65190"/>
                    <a:gd name="connsiteX2" fmla="*/ 479 w 4425"/>
                    <a:gd name="connsiteY2" fmla="*/ 7057 h 65190"/>
                    <a:gd name="connsiteX3" fmla="*/ 538 w 4425"/>
                    <a:gd name="connsiteY3" fmla="*/ 8074 h 65190"/>
                    <a:gd name="connsiteX4" fmla="*/ 778 w 4425"/>
                    <a:gd name="connsiteY4" fmla="*/ 11603 h 65190"/>
                    <a:gd name="connsiteX5" fmla="*/ 1017 w 4425"/>
                    <a:gd name="connsiteY5" fmla="*/ 15131 h 65190"/>
                    <a:gd name="connsiteX6" fmla="*/ 1256 w 4425"/>
                    <a:gd name="connsiteY6" fmla="*/ 18660 h 65190"/>
                    <a:gd name="connsiteX7" fmla="*/ 1495 w 4425"/>
                    <a:gd name="connsiteY7" fmla="*/ 22189 h 65190"/>
                    <a:gd name="connsiteX8" fmla="*/ 1674 w 4425"/>
                    <a:gd name="connsiteY8" fmla="*/ 24760 h 65190"/>
                    <a:gd name="connsiteX9" fmla="*/ 1914 w 4425"/>
                    <a:gd name="connsiteY9" fmla="*/ 28289 h 65190"/>
                    <a:gd name="connsiteX10" fmla="*/ 2153 w 4425"/>
                    <a:gd name="connsiteY10" fmla="*/ 31817 h 65190"/>
                    <a:gd name="connsiteX11" fmla="*/ 2392 w 4425"/>
                    <a:gd name="connsiteY11" fmla="*/ 35346 h 65190"/>
                    <a:gd name="connsiteX12" fmla="*/ 2452 w 4425"/>
                    <a:gd name="connsiteY12" fmla="*/ 36662 h 65190"/>
                    <a:gd name="connsiteX13" fmla="*/ 2691 w 4425"/>
                    <a:gd name="connsiteY13" fmla="*/ 40191 h 65190"/>
                    <a:gd name="connsiteX14" fmla="*/ 2930 w 4425"/>
                    <a:gd name="connsiteY14" fmla="*/ 43719 h 65190"/>
                    <a:gd name="connsiteX15" fmla="*/ 3170 w 4425"/>
                    <a:gd name="connsiteY15" fmla="*/ 47248 h 65190"/>
                    <a:gd name="connsiteX16" fmla="*/ 3409 w 4425"/>
                    <a:gd name="connsiteY16" fmla="*/ 50776 h 65190"/>
                    <a:gd name="connsiteX17" fmla="*/ 3469 w 4425"/>
                    <a:gd name="connsiteY17" fmla="*/ 51853 h 65190"/>
                    <a:gd name="connsiteX18" fmla="*/ 3648 w 4425"/>
                    <a:gd name="connsiteY18" fmla="*/ 54424 h 65190"/>
                    <a:gd name="connsiteX19" fmla="*/ 3708 w 4425"/>
                    <a:gd name="connsiteY19" fmla="*/ 55561 h 65190"/>
                    <a:gd name="connsiteX20" fmla="*/ 3768 w 4425"/>
                    <a:gd name="connsiteY20" fmla="*/ 56398 h 65190"/>
                    <a:gd name="connsiteX21" fmla="*/ 3768 w 4425"/>
                    <a:gd name="connsiteY21" fmla="*/ 56398 h 65190"/>
                    <a:gd name="connsiteX22" fmla="*/ 3828 w 4425"/>
                    <a:gd name="connsiteY22" fmla="*/ 57056 h 65190"/>
                    <a:gd name="connsiteX23" fmla="*/ 4067 w 4425"/>
                    <a:gd name="connsiteY23" fmla="*/ 60166 h 65190"/>
                    <a:gd name="connsiteX24" fmla="*/ 4306 w 4425"/>
                    <a:gd name="connsiteY24" fmla="*/ 63695 h 65190"/>
                    <a:gd name="connsiteX25" fmla="*/ 4426 w 4425"/>
                    <a:gd name="connsiteY25" fmla="*/ 65190 h 6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5" h="65190">
                      <a:moveTo>
                        <a:pt x="0" y="0"/>
                      </a:moveTo>
                      <a:lnTo>
                        <a:pt x="239" y="3529"/>
                      </a:lnTo>
                      <a:lnTo>
                        <a:pt x="479" y="7057"/>
                      </a:lnTo>
                      <a:lnTo>
                        <a:pt x="538" y="8074"/>
                      </a:lnTo>
                      <a:lnTo>
                        <a:pt x="778" y="11603"/>
                      </a:lnTo>
                      <a:lnTo>
                        <a:pt x="1017" y="15131"/>
                      </a:lnTo>
                      <a:lnTo>
                        <a:pt x="1256" y="18660"/>
                      </a:lnTo>
                      <a:lnTo>
                        <a:pt x="1495" y="22189"/>
                      </a:lnTo>
                      <a:lnTo>
                        <a:pt x="1674" y="24760"/>
                      </a:lnTo>
                      <a:lnTo>
                        <a:pt x="1914" y="28289"/>
                      </a:lnTo>
                      <a:lnTo>
                        <a:pt x="2153" y="31817"/>
                      </a:lnTo>
                      <a:lnTo>
                        <a:pt x="2392" y="35346"/>
                      </a:lnTo>
                      <a:lnTo>
                        <a:pt x="2452" y="36662"/>
                      </a:lnTo>
                      <a:lnTo>
                        <a:pt x="2691" y="40191"/>
                      </a:lnTo>
                      <a:lnTo>
                        <a:pt x="2930" y="43719"/>
                      </a:lnTo>
                      <a:lnTo>
                        <a:pt x="3170" y="47248"/>
                      </a:lnTo>
                      <a:lnTo>
                        <a:pt x="3409" y="50776"/>
                      </a:lnTo>
                      <a:lnTo>
                        <a:pt x="3469" y="51853"/>
                      </a:lnTo>
                      <a:lnTo>
                        <a:pt x="3648" y="54424"/>
                      </a:lnTo>
                      <a:lnTo>
                        <a:pt x="3708" y="55561"/>
                      </a:lnTo>
                      <a:lnTo>
                        <a:pt x="3768" y="56398"/>
                      </a:lnTo>
                      <a:lnTo>
                        <a:pt x="3768" y="56398"/>
                      </a:lnTo>
                      <a:lnTo>
                        <a:pt x="3828" y="57056"/>
                      </a:lnTo>
                      <a:lnTo>
                        <a:pt x="4067" y="60166"/>
                      </a:lnTo>
                      <a:lnTo>
                        <a:pt x="4306" y="63695"/>
                      </a:lnTo>
                      <a:lnTo>
                        <a:pt x="4426" y="65190"/>
                      </a:lnTo>
                    </a:path>
                  </a:pathLst>
                </a:custGeom>
                <a:noFill/>
                <a:ln w="6350" cap="flat">
                  <a:solidFill>
                    <a:schemeClr val="bg1">
                      <a:alpha val="80000"/>
                    </a:schemeClr>
                  </a:solidFill>
                  <a:prstDash val="solid"/>
                  <a:miter/>
                </a:ln>
              </p:spPr>
              <p:txBody>
                <a:bodyPr rtlCol="0" anchor="ctr"/>
                <a:lstStyle/>
                <a:p>
                  <a:endParaRPr lang="en-GB"/>
                </a:p>
              </p:txBody>
            </p:sp>
            <p:sp>
              <p:nvSpPr>
                <p:cNvPr id="7797" name="Vrije vorm: vorm 7796">
                  <a:extLst>
                    <a:ext uri="{FF2B5EF4-FFF2-40B4-BE49-F238E27FC236}">
                      <a16:creationId xmlns:a16="http://schemas.microsoft.com/office/drawing/2014/main" id="{FB9ADBC2-8080-4B9B-AC86-0D6D2551AB07}"/>
                    </a:ext>
                  </a:extLst>
                </p:cNvPr>
                <p:cNvSpPr/>
                <p:nvPr/>
              </p:nvSpPr>
              <p:spPr>
                <a:xfrm>
                  <a:off x="5852634" y="5218339"/>
                  <a:ext cx="13635" cy="15310"/>
                </a:xfrm>
                <a:custGeom>
                  <a:avLst/>
                  <a:gdLst>
                    <a:gd name="connsiteX0" fmla="*/ 13636 w 13635"/>
                    <a:gd name="connsiteY0" fmla="*/ 239 h 15310"/>
                    <a:gd name="connsiteX1" fmla="*/ 12799 w 13635"/>
                    <a:gd name="connsiteY1" fmla="*/ 0 h 15310"/>
                    <a:gd name="connsiteX2" fmla="*/ 12380 w 13635"/>
                    <a:gd name="connsiteY2" fmla="*/ 120 h 15310"/>
                    <a:gd name="connsiteX3" fmla="*/ 11722 w 13635"/>
                    <a:gd name="connsiteY3" fmla="*/ 299 h 15310"/>
                    <a:gd name="connsiteX4" fmla="*/ 10466 w 13635"/>
                    <a:gd name="connsiteY4" fmla="*/ 1076 h 15310"/>
                    <a:gd name="connsiteX5" fmla="*/ 10347 w 13635"/>
                    <a:gd name="connsiteY5" fmla="*/ 1196 h 15310"/>
                    <a:gd name="connsiteX6" fmla="*/ 9928 w 13635"/>
                    <a:gd name="connsiteY6" fmla="*/ 1555 h 15310"/>
                    <a:gd name="connsiteX7" fmla="*/ 9450 w 13635"/>
                    <a:gd name="connsiteY7" fmla="*/ 1974 h 15310"/>
                    <a:gd name="connsiteX8" fmla="*/ 9150 w 13635"/>
                    <a:gd name="connsiteY8" fmla="*/ 2273 h 15310"/>
                    <a:gd name="connsiteX9" fmla="*/ 8074 w 13635"/>
                    <a:gd name="connsiteY9" fmla="*/ 3528 h 15310"/>
                    <a:gd name="connsiteX10" fmla="*/ 7715 w 13635"/>
                    <a:gd name="connsiteY10" fmla="*/ 3947 h 15310"/>
                    <a:gd name="connsiteX11" fmla="*/ 6280 w 13635"/>
                    <a:gd name="connsiteY11" fmla="*/ 5921 h 15310"/>
                    <a:gd name="connsiteX12" fmla="*/ 5263 w 13635"/>
                    <a:gd name="connsiteY12" fmla="*/ 7596 h 15310"/>
                    <a:gd name="connsiteX13" fmla="*/ 4964 w 13635"/>
                    <a:gd name="connsiteY13" fmla="*/ 8134 h 15310"/>
                    <a:gd name="connsiteX14" fmla="*/ 3768 w 13635"/>
                    <a:gd name="connsiteY14" fmla="*/ 10526 h 15310"/>
                    <a:gd name="connsiteX15" fmla="*/ 3349 w 13635"/>
                    <a:gd name="connsiteY15" fmla="*/ 11423 h 15310"/>
                    <a:gd name="connsiteX16" fmla="*/ 2691 w 13635"/>
                    <a:gd name="connsiteY16" fmla="*/ 12918 h 15310"/>
                    <a:gd name="connsiteX17" fmla="*/ 2392 w 13635"/>
                    <a:gd name="connsiteY17" fmla="*/ 13696 h 15310"/>
                    <a:gd name="connsiteX18" fmla="*/ 1854 w 13635"/>
                    <a:gd name="connsiteY18" fmla="*/ 15311 h 15310"/>
                    <a:gd name="connsiteX19" fmla="*/ 1316 w 13635"/>
                    <a:gd name="connsiteY19" fmla="*/ 15072 h 15310"/>
                    <a:gd name="connsiteX20" fmla="*/ 778 w 13635"/>
                    <a:gd name="connsiteY20" fmla="*/ 14832 h 15310"/>
                    <a:gd name="connsiteX21" fmla="*/ 120 w 13635"/>
                    <a:gd name="connsiteY21" fmla="*/ 14533 h 15310"/>
                    <a:gd name="connsiteX22" fmla="*/ 0 w 13635"/>
                    <a:gd name="connsiteY22" fmla="*/ 14473 h 1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635" h="15310">
                      <a:moveTo>
                        <a:pt x="13636" y="239"/>
                      </a:moveTo>
                      <a:lnTo>
                        <a:pt x="12799" y="0"/>
                      </a:lnTo>
                      <a:lnTo>
                        <a:pt x="12380" y="120"/>
                      </a:lnTo>
                      <a:lnTo>
                        <a:pt x="11722" y="299"/>
                      </a:lnTo>
                      <a:lnTo>
                        <a:pt x="10466" y="1076"/>
                      </a:lnTo>
                      <a:lnTo>
                        <a:pt x="10347" y="1196"/>
                      </a:lnTo>
                      <a:lnTo>
                        <a:pt x="9928" y="1555"/>
                      </a:lnTo>
                      <a:lnTo>
                        <a:pt x="9450" y="1974"/>
                      </a:lnTo>
                      <a:lnTo>
                        <a:pt x="9150" y="2273"/>
                      </a:lnTo>
                      <a:lnTo>
                        <a:pt x="8074" y="3528"/>
                      </a:lnTo>
                      <a:lnTo>
                        <a:pt x="7715" y="3947"/>
                      </a:lnTo>
                      <a:lnTo>
                        <a:pt x="6280" y="5921"/>
                      </a:lnTo>
                      <a:lnTo>
                        <a:pt x="5263" y="7596"/>
                      </a:lnTo>
                      <a:lnTo>
                        <a:pt x="4964" y="8134"/>
                      </a:lnTo>
                      <a:lnTo>
                        <a:pt x="3768" y="10526"/>
                      </a:lnTo>
                      <a:lnTo>
                        <a:pt x="3349" y="11423"/>
                      </a:lnTo>
                      <a:lnTo>
                        <a:pt x="2691" y="12918"/>
                      </a:lnTo>
                      <a:lnTo>
                        <a:pt x="2392" y="13696"/>
                      </a:lnTo>
                      <a:lnTo>
                        <a:pt x="1854" y="15311"/>
                      </a:lnTo>
                      <a:lnTo>
                        <a:pt x="1316" y="15072"/>
                      </a:lnTo>
                      <a:lnTo>
                        <a:pt x="778" y="14832"/>
                      </a:lnTo>
                      <a:lnTo>
                        <a:pt x="120" y="14533"/>
                      </a:lnTo>
                      <a:lnTo>
                        <a:pt x="0" y="14473"/>
                      </a:lnTo>
                    </a:path>
                  </a:pathLst>
                </a:custGeom>
                <a:noFill/>
                <a:ln w="6350" cap="flat">
                  <a:solidFill>
                    <a:schemeClr val="bg1">
                      <a:alpha val="80000"/>
                    </a:schemeClr>
                  </a:solidFill>
                  <a:prstDash val="solid"/>
                  <a:miter/>
                </a:ln>
              </p:spPr>
              <p:txBody>
                <a:bodyPr rtlCol="0" anchor="ctr"/>
                <a:lstStyle/>
                <a:p>
                  <a:endParaRPr lang="en-GB"/>
                </a:p>
              </p:txBody>
            </p:sp>
            <p:sp>
              <p:nvSpPr>
                <p:cNvPr id="7798" name="Vrije vorm: vorm 7797">
                  <a:extLst>
                    <a:ext uri="{FF2B5EF4-FFF2-40B4-BE49-F238E27FC236}">
                      <a16:creationId xmlns:a16="http://schemas.microsoft.com/office/drawing/2014/main" id="{0A4C0A42-FF6E-4ADD-AC37-4C98D3485691}"/>
                    </a:ext>
                  </a:extLst>
                </p:cNvPr>
                <p:cNvSpPr/>
                <p:nvPr/>
              </p:nvSpPr>
              <p:spPr>
                <a:xfrm>
                  <a:off x="5852575" y="5232872"/>
                  <a:ext cx="777" cy="4006"/>
                </a:xfrm>
                <a:custGeom>
                  <a:avLst/>
                  <a:gdLst>
                    <a:gd name="connsiteX0" fmla="*/ 0 w 777"/>
                    <a:gd name="connsiteY0" fmla="*/ 0 h 4006"/>
                    <a:gd name="connsiteX1" fmla="*/ 239 w 777"/>
                    <a:gd name="connsiteY1" fmla="*/ 3469 h 4006"/>
                    <a:gd name="connsiteX2" fmla="*/ 299 w 777"/>
                    <a:gd name="connsiteY2" fmla="*/ 4007 h 4006"/>
                    <a:gd name="connsiteX3" fmla="*/ 419 w 777"/>
                    <a:gd name="connsiteY3" fmla="*/ 1854 h 4006"/>
                    <a:gd name="connsiteX4" fmla="*/ 778 w 777"/>
                    <a:gd name="connsiteY4" fmla="*/ 299 h 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 h="4006">
                      <a:moveTo>
                        <a:pt x="0" y="0"/>
                      </a:moveTo>
                      <a:lnTo>
                        <a:pt x="239" y="3469"/>
                      </a:lnTo>
                      <a:lnTo>
                        <a:pt x="299" y="4007"/>
                      </a:lnTo>
                      <a:lnTo>
                        <a:pt x="419" y="1854"/>
                      </a:lnTo>
                      <a:lnTo>
                        <a:pt x="778" y="299"/>
                      </a:lnTo>
                    </a:path>
                  </a:pathLst>
                </a:custGeom>
                <a:noFill/>
                <a:ln w="6350" cap="flat">
                  <a:solidFill>
                    <a:schemeClr val="bg1">
                      <a:alpha val="80000"/>
                    </a:schemeClr>
                  </a:solidFill>
                  <a:prstDash val="solid"/>
                  <a:miter/>
                </a:ln>
              </p:spPr>
              <p:txBody>
                <a:bodyPr rtlCol="0" anchor="ctr"/>
                <a:lstStyle/>
                <a:p>
                  <a:endParaRPr lang="en-GB"/>
                </a:p>
              </p:txBody>
            </p:sp>
            <p:sp>
              <p:nvSpPr>
                <p:cNvPr id="7799" name="Vrije vorm: vorm 7798">
                  <a:extLst>
                    <a:ext uri="{FF2B5EF4-FFF2-40B4-BE49-F238E27FC236}">
                      <a16:creationId xmlns:a16="http://schemas.microsoft.com/office/drawing/2014/main" id="{D152401E-BB3C-4C08-BC7B-FE009F8AE18C}"/>
                    </a:ext>
                  </a:extLst>
                </p:cNvPr>
                <p:cNvSpPr/>
                <p:nvPr/>
              </p:nvSpPr>
              <p:spPr>
                <a:xfrm>
                  <a:off x="5758976" y="5092624"/>
                  <a:ext cx="62797" cy="44975"/>
                </a:xfrm>
                <a:custGeom>
                  <a:avLst/>
                  <a:gdLst>
                    <a:gd name="connsiteX0" fmla="*/ 0 w 62797"/>
                    <a:gd name="connsiteY0" fmla="*/ 8792 h 44975"/>
                    <a:gd name="connsiteX1" fmla="*/ 1555 w 62797"/>
                    <a:gd name="connsiteY1" fmla="*/ 5742 h 44975"/>
                    <a:gd name="connsiteX2" fmla="*/ 1735 w 62797"/>
                    <a:gd name="connsiteY2" fmla="*/ 5443 h 44975"/>
                    <a:gd name="connsiteX3" fmla="*/ 3290 w 62797"/>
                    <a:gd name="connsiteY3" fmla="*/ 2392 h 44975"/>
                    <a:gd name="connsiteX4" fmla="*/ 4067 w 62797"/>
                    <a:gd name="connsiteY4" fmla="*/ 897 h 44975"/>
                    <a:gd name="connsiteX5" fmla="*/ 4187 w 62797"/>
                    <a:gd name="connsiteY5" fmla="*/ 837 h 44975"/>
                    <a:gd name="connsiteX6" fmla="*/ 4306 w 62797"/>
                    <a:gd name="connsiteY6" fmla="*/ 778 h 44975"/>
                    <a:gd name="connsiteX7" fmla="*/ 6041 w 62797"/>
                    <a:gd name="connsiteY7" fmla="*/ 0 h 44975"/>
                    <a:gd name="connsiteX8" fmla="*/ 7058 w 62797"/>
                    <a:gd name="connsiteY8" fmla="*/ 60 h 44975"/>
                    <a:gd name="connsiteX9" fmla="*/ 9928 w 62797"/>
                    <a:gd name="connsiteY9" fmla="*/ 239 h 44975"/>
                    <a:gd name="connsiteX10" fmla="*/ 9988 w 62797"/>
                    <a:gd name="connsiteY10" fmla="*/ 239 h 44975"/>
                    <a:gd name="connsiteX11" fmla="*/ 10347 w 62797"/>
                    <a:gd name="connsiteY11" fmla="*/ 359 h 44975"/>
                    <a:gd name="connsiteX12" fmla="*/ 10347 w 62797"/>
                    <a:gd name="connsiteY12" fmla="*/ 359 h 44975"/>
                    <a:gd name="connsiteX13" fmla="*/ 10526 w 62797"/>
                    <a:gd name="connsiteY13" fmla="*/ 419 h 44975"/>
                    <a:gd name="connsiteX14" fmla="*/ 12679 w 62797"/>
                    <a:gd name="connsiteY14" fmla="*/ 957 h 44975"/>
                    <a:gd name="connsiteX15" fmla="*/ 15371 w 62797"/>
                    <a:gd name="connsiteY15" fmla="*/ 1615 h 44975"/>
                    <a:gd name="connsiteX16" fmla="*/ 15610 w 62797"/>
                    <a:gd name="connsiteY16" fmla="*/ 1675 h 44975"/>
                    <a:gd name="connsiteX17" fmla="*/ 16806 w 62797"/>
                    <a:gd name="connsiteY17" fmla="*/ 2093 h 44975"/>
                    <a:gd name="connsiteX18" fmla="*/ 19437 w 62797"/>
                    <a:gd name="connsiteY18" fmla="*/ 2990 h 44975"/>
                    <a:gd name="connsiteX19" fmla="*/ 22069 w 62797"/>
                    <a:gd name="connsiteY19" fmla="*/ 3888 h 44975"/>
                    <a:gd name="connsiteX20" fmla="*/ 22667 w 62797"/>
                    <a:gd name="connsiteY20" fmla="*/ 4127 h 44975"/>
                    <a:gd name="connsiteX21" fmla="*/ 25239 w 62797"/>
                    <a:gd name="connsiteY21" fmla="*/ 5203 h 44975"/>
                    <a:gd name="connsiteX22" fmla="*/ 27811 w 62797"/>
                    <a:gd name="connsiteY22" fmla="*/ 6280 h 44975"/>
                    <a:gd name="connsiteX23" fmla="*/ 30382 w 62797"/>
                    <a:gd name="connsiteY23" fmla="*/ 7357 h 44975"/>
                    <a:gd name="connsiteX24" fmla="*/ 30622 w 62797"/>
                    <a:gd name="connsiteY24" fmla="*/ 7476 h 44975"/>
                    <a:gd name="connsiteX25" fmla="*/ 33133 w 62797"/>
                    <a:gd name="connsiteY25" fmla="*/ 8732 h 44975"/>
                    <a:gd name="connsiteX26" fmla="*/ 35645 w 62797"/>
                    <a:gd name="connsiteY26" fmla="*/ 9988 h 44975"/>
                    <a:gd name="connsiteX27" fmla="*/ 38157 w 62797"/>
                    <a:gd name="connsiteY27" fmla="*/ 11244 h 44975"/>
                    <a:gd name="connsiteX28" fmla="*/ 38815 w 62797"/>
                    <a:gd name="connsiteY28" fmla="*/ 11603 h 44975"/>
                    <a:gd name="connsiteX29" fmla="*/ 41207 w 62797"/>
                    <a:gd name="connsiteY29" fmla="*/ 12978 h 44975"/>
                    <a:gd name="connsiteX30" fmla="*/ 43600 w 62797"/>
                    <a:gd name="connsiteY30" fmla="*/ 14354 h 44975"/>
                    <a:gd name="connsiteX31" fmla="*/ 44497 w 62797"/>
                    <a:gd name="connsiteY31" fmla="*/ 14892 h 44975"/>
                    <a:gd name="connsiteX32" fmla="*/ 46470 w 62797"/>
                    <a:gd name="connsiteY32" fmla="*/ 16028 h 44975"/>
                    <a:gd name="connsiteX33" fmla="*/ 48803 w 62797"/>
                    <a:gd name="connsiteY33" fmla="*/ 17583 h 44975"/>
                    <a:gd name="connsiteX34" fmla="*/ 51135 w 62797"/>
                    <a:gd name="connsiteY34" fmla="*/ 19138 h 44975"/>
                    <a:gd name="connsiteX35" fmla="*/ 53169 w 62797"/>
                    <a:gd name="connsiteY35" fmla="*/ 20454 h 44975"/>
                    <a:gd name="connsiteX36" fmla="*/ 55382 w 62797"/>
                    <a:gd name="connsiteY36" fmla="*/ 22189 h 44975"/>
                    <a:gd name="connsiteX37" fmla="*/ 55441 w 62797"/>
                    <a:gd name="connsiteY37" fmla="*/ 22248 h 44975"/>
                    <a:gd name="connsiteX38" fmla="*/ 57475 w 62797"/>
                    <a:gd name="connsiteY38" fmla="*/ 23804 h 44975"/>
                    <a:gd name="connsiteX39" fmla="*/ 58372 w 62797"/>
                    <a:gd name="connsiteY39" fmla="*/ 24461 h 44975"/>
                    <a:gd name="connsiteX40" fmla="*/ 59389 w 62797"/>
                    <a:gd name="connsiteY40" fmla="*/ 25538 h 44975"/>
                    <a:gd name="connsiteX41" fmla="*/ 59389 w 62797"/>
                    <a:gd name="connsiteY41" fmla="*/ 25538 h 44975"/>
                    <a:gd name="connsiteX42" fmla="*/ 59389 w 62797"/>
                    <a:gd name="connsiteY42" fmla="*/ 25538 h 44975"/>
                    <a:gd name="connsiteX43" fmla="*/ 61362 w 62797"/>
                    <a:gd name="connsiteY43" fmla="*/ 27571 h 44975"/>
                    <a:gd name="connsiteX44" fmla="*/ 61602 w 62797"/>
                    <a:gd name="connsiteY44" fmla="*/ 27811 h 44975"/>
                    <a:gd name="connsiteX45" fmla="*/ 62140 w 62797"/>
                    <a:gd name="connsiteY45" fmla="*/ 28947 h 44975"/>
                    <a:gd name="connsiteX46" fmla="*/ 62798 w 62797"/>
                    <a:gd name="connsiteY46" fmla="*/ 30262 h 44975"/>
                    <a:gd name="connsiteX47" fmla="*/ 62618 w 62797"/>
                    <a:gd name="connsiteY47" fmla="*/ 30681 h 44975"/>
                    <a:gd name="connsiteX48" fmla="*/ 62379 w 62797"/>
                    <a:gd name="connsiteY48" fmla="*/ 31160 h 44975"/>
                    <a:gd name="connsiteX49" fmla="*/ 62080 w 62797"/>
                    <a:gd name="connsiteY49" fmla="*/ 31817 h 44975"/>
                    <a:gd name="connsiteX50" fmla="*/ 60884 w 62797"/>
                    <a:gd name="connsiteY50" fmla="*/ 34210 h 44975"/>
                    <a:gd name="connsiteX51" fmla="*/ 60226 w 62797"/>
                    <a:gd name="connsiteY51" fmla="*/ 35526 h 44975"/>
                    <a:gd name="connsiteX52" fmla="*/ 59688 w 62797"/>
                    <a:gd name="connsiteY52" fmla="*/ 36602 h 44975"/>
                    <a:gd name="connsiteX53" fmla="*/ 59149 w 62797"/>
                    <a:gd name="connsiteY53" fmla="*/ 37738 h 44975"/>
                    <a:gd name="connsiteX54" fmla="*/ 58731 w 62797"/>
                    <a:gd name="connsiteY54" fmla="*/ 38576 h 44975"/>
                    <a:gd name="connsiteX55" fmla="*/ 58731 w 62797"/>
                    <a:gd name="connsiteY55" fmla="*/ 38576 h 44975"/>
                    <a:gd name="connsiteX56" fmla="*/ 59867 w 62797"/>
                    <a:gd name="connsiteY56" fmla="*/ 41387 h 44975"/>
                    <a:gd name="connsiteX57" fmla="*/ 60047 w 62797"/>
                    <a:gd name="connsiteY57" fmla="*/ 41805 h 44975"/>
                    <a:gd name="connsiteX58" fmla="*/ 60525 w 62797"/>
                    <a:gd name="connsiteY58" fmla="*/ 42942 h 44975"/>
                    <a:gd name="connsiteX59" fmla="*/ 61362 w 62797"/>
                    <a:gd name="connsiteY59" fmla="*/ 44975 h 4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2797" h="44975">
                      <a:moveTo>
                        <a:pt x="0" y="8792"/>
                      </a:moveTo>
                      <a:lnTo>
                        <a:pt x="1555" y="5742"/>
                      </a:lnTo>
                      <a:lnTo>
                        <a:pt x="1735" y="5443"/>
                      </a:lnTo>
                      <a:lnTo>
                        <a:pt x="3290" y="2392"/>
                      </a:lnTo>
                      <a:lnTo>
                        <a:pt x="4067" y="897"/>
                      </a:lnTo>
                      <a:lnTo>
                        <a:pt x="4187" y="837"/>
                      </a:lnTo>
                      <a:lnTo>
                        <a:pt x="4306" y="778"/>
                      </a:lnTo>
                      <a:lnTo>
                        <a:pt x="6041" y="0"/>
                      </a:lnTo>
                      <a:lnTo>
                        <a:pt x="7058" y="60"/>
                      </a:lnTo>
                      <a:lnTo>
                        <a:pt x="9928" y="239"/>
                      </a:lnTo>
                      <a:lnTo>
                        <a:pt x="9988" y="239"/>
                      </a:lnTo>
                      <a:lnTo>
                        <a:pt x="10347" y="359"/>
                      </a:lnTo>
                      <a:lnTo>
                        <a:pt x="10347" y="359"/>
                      </a:lnTo>
                      <a:lnTo>
                        <a:pt x="10526" y="419"/>
                      </a:lnTo>
                      <a:lnTo>
                        <a:pt x="12679" y="957"/>
                      </a:lnTo>
                      <a:lnTo>
                        <a:pt x="15371" y="1615"/>
                      </a:lnTo>
                      <a:lnTo>
                        <a:pt x="15610" y="1675"/>
                      </a:lnTo>
                      <a:lnTo>
                        <a:pt x="16806" y="2093"/>
                      </a:lnTo>
                      <a:lnTo>
                        <a:pt x="19437" y="2990"/>
                      </a:lnTo>
                      <a:lnTo>
                        <a:pt x="22069" y="3888"/>
                      </a:lnTo>
                      <a:lnTo>
                        <a:pt x="22667" y="4127"/>
                      </a:lnTo>
                      <a:lnTo>
                        <a:pt x="25239" y="5203"/>
                      </a:lnTo>
                      <a:lnTo>
                        <a:pt x="27811" y="6280"/>
                      </a:lnTo>
                      <a:lnTo>
                        <a:pt x="30382" y="7357"/>
                      </a:lnTo>
                      <a:lnTo>
                        <a:pt x="30622" y="7476"/>
                      </a:lnTo>
                      <a:lnTo>
                        <a:pt x="33133" y="8732"/>
                      </a:lnTo>
                      <a:lnTo>
                        <a:pt x="35645" y="9988"/>
                      </a:lnTo>
                      <a:lnTo>
                        <a:pt x="38157" y="11244"/>
                      </a:lnTo>
                      <a:lnTo>
                        <a:pt x="38815" y="11603"/>
                      </a:lnTo>
                      <a:lnTo>
                        <a:pt x="41207" y="12978"/>
                      </a:lnTo>
                      <a:lnTo>
                        <a:pt x="43600" y="14354"/>
                      </a:lnTo>
                      <a:lnTo>
                        <a:pt x="44497" y="14892"/>
                      </a:lnTo>
                      <a:lnTo>
                        <a:pt x="46470" y="16028"/>
                      </a:lnTo>
                      <a:lnTo>
                        <a:pt x="48803" y="17583"/>
                      </a:lnTo>
                      <a:lnTo>
                        <a:pt x="51135" y="19138"/>
                      </a:lnTo>
                      <a:lnTo>
                        <a:pt x="53169" y="20454"/>
                      </a:lnTo>
                      <a:lnTo>
                        <a:pt x="55382" y="22189"/>
                      </a:lnTo>
                      <a:lnTo>
                        <a:pt x="55441" y="22248"/>
                      </a:lnTo>
                      <a:lnTo>
                        <a:pt x="57475" y="23804"/>
                      </a:lnTo>
                      <a:lnTo>
                        <a:pt x="58372" y="24461"/>
                      </a:lnTo>
                      <a:lnTo>
                        <a:pt x="59389" y="25538"/>
                      </a:lnTo>
                      <a:lnTo>
                        <a:pt x="59389" y="25538"/>
                      </a:lnTo>
                      <a:lnTo>
                        <a:pt x="59389" y="25538"/>
                      </a:lnTo>
                      <a:lnTo>
                        <a:pt x="61362" y="27571"/>
                      </a:lnTo>
                      <a:lnTo>
                        <a:pt x="61602" y="27811"/>
                      </a:lnTo>
                      <a:lnTo>
                        <a:pt x="62140" y="28947"/>
                      </a:lnTo>
                      <a:lnTo>
                        <a:pt x="62798" y="30262"/>
                      </a:lnTo>
                      <a:lnTo>
                        <a:pt x="62618" y="30681"/>
                      </a:lnTo>
                      <a:lnTo>
                        <a:pt x="62379" y="31160"/>
                      </a:lnTo>
                      <a:lnTo>
                        <a:pt x="62080" y="31817"/>
                      </a:lnTo>
                      <a:lnTo>
                        <a:pt x="60884" y="34210"/>
                      </a:lnTo>
                      <a:lnTo>
                        <a:pt x="60226" y="35526"/>
                      </a:lnTo>
                      <a:lnTo>
                        <a:pt x="59688" y="36602"/>
                      </a:lnTo>
                      <a:lnTo>
                        <a:pt x="59149" y="37738"/>
                      </a:lnTo>
                      <a:lnTo>
                        <a:pt x="58731" y="38576"/>
                      </a:lnTo>
                      <a:lnTo>
                        <a:pt x="58731" y="38576"/>
                      </a:lnTo>
                      <a:lnTo>
                        <a:pt x="59867" y="41387"/>
                      </a:lnTo>
                      <a:lnTo>
                        <a:pt x="60047" y="41805"/>
                      </a:lnTo>
                      <a:lnTo>
                        <a:pt x="60525" y="42942"/>
                      </a:lnTo>
                      <a:lnTo>
                        <a:pt x="61362" y="44975"/>
                      </a:lnTo>
                    </a:path>
                  </a:pathLst>
                </a:custGeom>
                <a:noFill/>
                <a:ln w="6350" cap="flat">
                  <a:solidFill>
                    <a:schemeClr val="bg1">
                      <a:alpha val="80000"/>
                    </a:schemeClr>
                  </a:solidFill>
                  <a:prstDash val="solid"/>
                  <a:miter/>
                </a:ln>
              </p:spPr>
              <p:txBody>
                <a:bodyPr rtlCol="0" anchor="ctr"/>
                <a:lstStyle/>
                <a:p>
                  <a:endParaRPr lang="en-GB"/>
                </a:p>
              </p:txBody>
            </p:sp>
            <p:sp>
              <p:nvSpPr>
                <p:cNvPr id="7800" name="Vrije vorm: vorm 7799">
                  <a:extLst>
                    <a:ext uri="{FF2B5EF4-FFF2-40B4-BE49-F238E27FC236}">
                      <a16:creationId xmlns:a16="http://schemas.microsoft.com/office/drawing/2014/main" id="{7A9624C7-C632-41ED-A6AE-2B421E8118EE}"/>
                    </a:ext>
                  </a:extLst>
                </p:cNvPr>
                <p:cNvSpPr/>
                <p:nvPr/>
              </p:nvSpPr>
              <p:spPr>
                <a:xfrm>
                  <a:off x="5867167" y="5158592"/>
                  <a:ext cx="16626" cy="18360"/>
                </a:xfrm>
                <a:custGeom>
                  <a:avLst/>
                  <a:gdLst>
                    <a:gd name="connsiteX0" fmla="*/ 0 w 16626"/>
                    <a:gd name="connsiteY0" fmla="*/ 0 h 18360"/>
                    <a:gd name="connsiteX1" fmla="*/ 2034 w 16626"/>
                    <a:gd name="connsiteY1" fmla="*/ 1914 h 18360"/>
                    <a:gd name="connsiteX2" fmla="*/ 4067 w 16626"/>
                    <a:gd name="connsiteY2" fmla="*/ 3828 h 18360"/>
                    <a:gd name="connsiteX3" fmla="*/ 6100 w 16626"/>
                    <a:gd name="connsiteY3" fmla="*/ 5741 h 18360"/>
                    <a:gd name="connsiteX4" fmla="*/ 8134 w 16626"/>
                    <a:gd name="connsiteY4" fmla="*/ 7655 h 18360"/>
                    <a:gd name="connsiteX5" fmla="*/ 10167 w 16626"/>
                    <a:gd name="connsiteY5" fmla="*/ 9569 h 18360"/>
                    <a:gd name="connsiteX6" fmla="*/ 11902 w 16626"/>
                    <a:gd name="connsiteY6" fmla="*/ 11184 h 18360"/>
                    <a:gd name="connsiteX7" fmla="*/ 13576 w 16626"/>
                    <a:gd name="connsiteY7" fmla="*/ 11782 h 18360"/>
                    <a:gd name="connsiteX8" fmla="*/ 15610 w 16626"/>
                    <a:gd name="connsiteY8" fmla="*/ 13696 h 18360"/>
                    <a:gd name="connsiteX9" fmla="*/ 16447 w 16626"/>
                    <a:gd name="connsiteY9" fmla="*/ 14473 h 18360"/>
                    <a:gd name="connsiteX10" fmla="*/ 16567 w 16626"/>
                    <a:gd name="connsiteY10" fmla="*/ 14712 h 18360"/>
                    <a:gd name="connsiteX11" fmla="*/ 16627 w 16626"/>
                    <a:gd name="connsiteY11" fmla="*/ 15012 h 18360"/>
                    <a:gd name="connsiteX12" fmla="*/ 16627 w 16626"/>
                    <a:gd name="connsiteY12" fmla="*/ 15430 h 18360"/>
                    <a:gd name="connsiteX13" fmla="*/ 16507 w 16626"/>
                    <a:gd name="connsiteY13" fmla="*/ 15909 h 18360"/>
                    <a:gd name="connsiteX14" fmla="*/ 16327 w 16626"/>
                    <a:gd name="connsiteY14" fmla="*/ 16447 h 18360"/>
                    <a:gd name="connsiteX15" fmla="*/ 16088 w 16626"/>
                    <a:gd name="connsiteY15" fmla="*/ 16925 h 18360"/>
                    <a:gd name="connsiteX16" fmla="*/ 15849 w 16626"/>
                    <a:gd name="connsiteY16" fmla="*/ 17404 h 18360"/>
                    <a:gd name="connsiteX17" fmla="*/ 15550 w 16626"/>
                    <a:gd name="connsiteY17" fmla="*/ 17822 h 18360"/>
                    <a:gd name="connsiteX18" fmla="*/ 15251 w 16626"/>
                    <a:gd name="connsiteY18" fmla="*/ 18121 h 18360"/>
                    <a:gd name="connsiteX19" fmla="*/ 15012 w 16626"/>
                    <a:gd name="connsiteY19" fmla="*/ 18241 h 18360"/>
                    <a:gd name="connsiteX20" fmla="*/ 14952 w 16626"/>
                    <a:gd name="connsiteY20" fmla="*/ 18301 h 18360"/>
                    <a:gd name="connsiteX21" fmla="*/ 14713 w 16626"/>
                    <a:gd name="connsiteY21" fmla="*/ 18361 h 18360"/>
                    <a:gd name="connsiteX22" fmla="*/ 13038 w 16626"/>
                    <a:gd name="connsiteY22" fmla="*/ 17763 h 18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626" h="18360">
                      <a:moveTo>
                        <a:pt x="0" y="0"/>
                      </a:moveTo>
                      <a:lnTo>
                        <a:pt x="2034" y="1914"/>
                      </a:lnTo>
                      <a:lnTo>
                        <a:pt x="4067" y="3828"/>
                      </a:lnTo>
                      <a:lnTo>
                        <a:pt x="6100" y="5741"/>
                      </a:lnTo>
                      <a:lnTo>
                        <a:pt x="8134" y="7655"/>
                      </a:lnTo>
                      <a:lnTo>
                        <a:pt x="10167" y="9569"/>
                      </a:lnTo>
                      <a:lnTo>
                        <a:pt x="11902" y="11184"/>
                      </a:lnTo>
                      <a:lnTo>
                        <a:pt x="13576" y="11782"/>
                      </a:lnTo>
                      <a:lnTo>
                        <a:pt x="15610" y="13696"/>
                      </a:lnTo>
                      <a:lnTo>
                        <a:pt x="16447" y="14473"/>
                      </a:lnTo>
                      <a:lnTo>
                        <a:pt x="16567" y="14712"/>
                      </a:lnTo>
                      <a:lnTo>
                        <a:pt x="16627" y="15012"/>
                      </a:lnTo>
                      <a:lnTo>
                        <a:pt x="16627" y="15430"/>
                      </a:lnTo>
                      <a:lnTo>
                        <a:pt x="16507" y="15909"/>
                      </a:lnTo>
                      <a:lnTo>
                        <a:pt x="16327" y="16447"/>
                      </a:lnTo>
                      <a:lnTo>
                        <a:pt x="16088" y="16925"/>
                      </a:lnTo>
                      <a:lnTo>
                        <a:pt x="15849" y="17404"/>
                      </a:lnTo>
                      <a:lnTo>
                        <a:pt x="15550" y="17822"/>
                      </a:lnTo>
                      <a:lnTo>
                        <a:pt x="15251" y="18121"/>
                      </a:lnTo>
                      <a:lnTo>
                        <a:pt x="15012" y="18241"/>
                      </a:lnTo>
                      <a:lnTo>
                        <a:pt x="14952" y="18301"/>
                      </a:lnTo>
                      <a:lnTo>
                        <a:pt x="14713" y="18361"/>
                      </a:lnTo>
                      <a:lnTo>
                        <a:pt x="13038" y="17763"/>
                      </a:lnTo>
                    </a:path>
                  </a:pathLst>
                </a:custGeom>
                <a:noFill/>
                <a:ln w="6350" cap="flat">
                  <a:solidFill>
                    <a:schemeClr val="bg1">
                      <a:alpha val="80000"/>
                    </a:schemeClr>
                  </a:solidFill>
                  <a:prstDash val="solid"/>
                  <a:miter/>
                </a:ln>
              </p:spPr>
              <p:txBody>
                <a:bodyPr rtlCol="0" anchor="ctr"/>
                <a:lstStyle/>
                <a:p>
                  <a:endParaRPr lang="en-GB"/>
                </a:p>
              </p:txBody>
            </p:sp>
            <p:sp>
              <p:nvSpPr>
                <p:cNvPr id="7801" name="Vrije vorm: vorm 7800">
                  <a:extLst>
                    <a:ext uri="{FF2B5EF4-FFF2-40B4-BE49-F238E27FC236}">
                      <a16:creationId xmlns:a16="http://schemas.microsoft.com/office/drawing/2014/main" id="{34717C4C-6704-4117-8489-D556989A6219}"/>
                    </a:ext>
                  </a:extLst>
                </p:cNvPr>
                <p:cNvSpPr/>
                <p:nvPr/>
              </p:nvSpPr>
              <p:spPr>
                <a:xfrm>
                  <a:off x="5855804" y="5181259"/>
                  <a:ext cx="13696" cy="16805"/>
                </a:xfrm>
                <a:custGeom>
                  <a:avLst/>
                  <a:gdLst>
                    <a:gd name="connsiteX0" fmla="*/ 7895 w 13696"/>
                    <a:gd name="connsiteY0" fmla="*/ 16627 h 16805"/>
                    <a:gd name="connsiteX1" fmla="*/ 7775 w 13696"/>
                    <a:gd name="connsiteY1" fmla="*/ 16567 h 16805"/>
                    <a:gd name="connsiteX2" fmla="*/ 6699 w 13696"/>
                    <a:gd name="connsiteY2" fmla="*/ 15729 h 16805"/>
                    <a:gd name="connsiteX3" fmla="*/ 4486 w 13696"/>
                    <a:gd name="connsiteY3" fmla="*/ 13995 h 16805"/>
                    <a:gd name="connsiteX4" fmla="*/ 2273 w 13696"/>
                    <a:gd name="connsiteY4" fmla="*/ 12260 h 16805"/>
                    <a:gd name="connsiteX5" fmla="*/ 180 w 13696"/>
                    <a:gd name="connsiteY5" fmla="*/ 10646 h 16805"/>
                    <a:gd name="connsiteX6" fmla="*/ 120 w 13696"/>
                    <a:gd name="connsiteY6" fmla="*/ 10586 h 16805"/>
                    <a:gd name="connsiteX7" fmla="*/ 60 w 13696"/>
                    <a:gd name="connsiteY7" fmla="*/ 10466 h 16805"/>
                    <a:gd name="connsiteX8" fmla="*/ 0 w 13696"/>
                    <a:gd name="connsiteY8" fmla="*/ 10347 h 16805"/>
                    <a:gd name="connsiteX9" fmla="*/ 0 w 13696"/>
                    <a:gd name="connsiteY9" fmla="*/ 10167 h 16805"/>
                    <a:gd name="connsiteX10" fmla="*/ 0 w 13696"/>
                    <a:gd name="connsiteY10" fmla="*/ 9988 h 16805"/>
                    <a:gd name="connsiteX11" fmla="*/ 0 w 13696"/>
                    <a:gd name="connsiteY11" fmla="*/ 9749 h 16805"/>
                    <a:gd name="connsiteX12" fmla="*/ 60 w 13696"/>
                    <a:gd name="connsiteY12" fmla="*/ 9510 h 16805"/>
                    <a:gd name="connsiteX13" fmla="*/ 120 w 13696"/>
                    <a:gd name="connsiteY13" fmla="*/ 9270 h 16805"/>
                    <a:gd name="connsiteX14" fmla="*/ 180 w 13696"/>
                    <a:gd name="connsiteY14" fmla="*/ 9031 h 16805"/>
                    <a:gd name="connsiteX15" fmla="*/ 299 w 13696"/>
                    <a:gd name="connsiteY15" fmla="*/ 8792 h 16805"/>
                    <a:gd name="connsiteX16" fmla="*/ 419 w 13696"/>
                    <a:gd name="connsiteY16" fmla="*/ 8552 h 16805"/>
                    <a:gd name="connsiteX17" fmla="*/ 538 w 13696"/>
                    <a:gd name="connsiteY17" fmla="*/ 8313 h 16805"/>
                    <a:gd name="connsiteX18" fmla="*/ 2093 w 13696"/>
                    <a:gd name="connsiteY18" fmla="*/ 5263 h 16805"/>
                    <a:gd name="connsiteX19" fmla="*/ 3649 w 13696"/>
                    <a:gd name="connsiteY19" fmla="*/ 2213 h 16805"/>
                    <a:gd name="connsiteX20" fmla="*/ 4067 w 13696"/>
                    <a:gd name="connsiteY20" fmla="*/ 1435 h 16805"/>
                    <a:gd name="connsiteX21" fmla="*/ 4187 w 13696"/>
                    <a:gd name="connsiteY21" fmla="*/ 1196 h 16805"/>
                    <a:gd name="connsiteX22" fmla="*/ 4306 w 13696"/>
                    <a:gd name="connsiteY22" fmla="*/ 957 h 16805"/>
                    <a:gd name="connsiteX23" fmla="*/ 4486 w 13696"/>
                    <a:gd name="connsiteY23" fmla="*/ 718 h 16805"/>
                    <a:gd name="connsiteX24" fmla="*/ 4665 w 13696"/>
                    <a:gd name="connsiteY24" fmla="*/ 538 h 16805"/>
                    <a:gd name="connsiteX25" fmla="*/ 4844 w 13696"/>
                    <a:gd name="connsiteY25" fmla="*/ 359 h 16805"/>
                    <a:gd name="connsiteX26" fmla="*/ 4964 w 13696"/>
                    <a:gd name="connsiteY26" fmla="*/ 239 h 16805"/>
                    <a:gd name="connsiteX27" fmla="*/ 4964 w 13696"/>
                    <a:gd name="connsiteY27" fmla="*/ 239 h 16805"/>
                    <a:gd name="connsiteX28" fmla="*/ 5144 w 13696"/>
                    <a:gd name="connsiteY28" fmla="*/ 120 h 16805"/>
                    <a:gd name="connsiteX29" fmla="*/ 5323 w 13696"/>
                    <a:gd name="connsiteY29" fmla="*/ 60 h 16805"/>
                    <a:gd name="connsiteX30" fmla="*/ 5443 w 13696"/>
                    <a:gd name="connsiteY30" fmla="*/ 0 h 16805"/>
                    <a:gd name="connsiteX31" fmla="*/ 5562 w 13696"/>
                    <a:gd name="connsiteY31" fmla="*/ 0 h 16805"/>
                    <a:gd name="connsiteX32" fmla="*/ 5682 w 13696"/>
                    <a:gd name="connsiteY32" fmla="*/ 0 h 16805"/>
                    <a:gd name="connsiteX33" fmla="*/ 5801 w 13696"/>
                    <a:gd name="connsiteY33" fmla="*/ 60 h 16805"/>
                    <a:gd name="connsiteX34" fmla="*/ 7954 w 13696"/>
                    <a:gd name="connsiteY34" fmla="*/ 1854 h 16805"/>
                    <a:gd name="connsiteX35" fmla="*/ 10107 w 13696"/>
                    <a:gd name="connsiteY35" fmla="*/ 3648 h 16805"/>
                    <a:gd name="connsiteX36" fmla="*/ 12261 w 13696"/>
                    <a:gd name="connsiteY36" fmla="*/ 5443 h 16805"/>
                    <a:gd name="connsiteX37" fmla="*/ 13397 w 13696"/>
                    <a:gd name="connsiteY37" fmla="*/ 6399 h 16805"/>
                    <a:gd name="connsiteX38" fmla="*/ 13516 w 13696"/>
                    <a:gd name="connsiteY38" fmla="*/ 6519 h 16805"/>
                    <a:gd name="connsiteX39" fmla="*/ 13576 w 13696"/>
                    <a:gd name="connsiteY39" fmla="*/ 6698 h 16805"/>
                    <a:gd name="connsiteX40" fmla="*/ 13636 w 13696"/>
                    <a:gd name="connsiteY40" fmla="*/ 6938 h 16805"/>
                    <a:gd name="connsiteX41" fmla="*/ 13696 w 13696"/>
                    <a:gd name="connsiteY41" fmla="*/ 7177 h 16805"/>
                    <a:gd name="connsiteX42" fmla="*/ 13696 w 13696"/>
                    <a:gd name="connsiteY42" fmla="*/ 7476 h 16805"/>
                    <a:gd name="connsiteX43" fmla="*/ 13696 w 13696"/>
                    <a:gd name="connsiteY43" fmla="*/ 7775 h 16805"/>
                    <a:gd name="connsiteX44" fmla="*/ 13636 w 13696"/>
                    <a:gd name="connsiteY44" fmla="*/ 8134 h 16805"/>
                    <a:gd name="connsiteX45" fmla="*/ 13576 w 13696"/>
                    <a:gd name="connsiteY45" fmla="*/ 8253 h 16805"/>
                    <a:gd name="connsiteX46" fmla="*/ 13516 w 13696"/>
                    <a:gd name="connsiteY46" fmla="*/ 8493 h 16805"/>
                    <a:gd name="connsiteX47" fmla="*/ 13397 w 13696"/>
                    <a:gd name="connsiteY47" fmla="*/ 8851 h 16805"/>
                    <a:gd name="connsiteX48" fmla="*/ 13277 w 13696"/>
                    <a:gd name="connsiteY48" fmla="*/ 9210 h 16805"/>
                    <a:gd name="connsiteX49" fmla="*/ 13098 w 13696"/>
                    <a:gd name="connsiteY49" fmla="*/ 9569 h 16805"/>
                    <a:gd name="connsiteX50" fmla="*/ 12919 w 13696"/>
                    <a:gd name="connsiteY50" fmla="*/ 9928 h 16805"/>
                    <a:gd name="connsiteX51" fmla="*/ 11364 w 13696"/>
                    <a:gd name="connsiteY51" fmla="*/ 12978 h 16805"/>
                    <a:gd name="connsiteX52" fmla="*/ 10945 w 13696"/>
                    <a:gd name="connsiteY52" fmla="*/ 13815 h 16805"/>
                    <a:gd name="connsiteX53" fmla="*/ 10287 w 13696"/>
                    <a:gd name="connsiteY53" fmla="*/ 15131 h 16805"/>
                    <a:gd name="connsiteX54" fmla="*/ 10048 w 13696"/>
                    <a:gd name="connsiteY54" fmla="*/ 15430 h 16805"/>
                    <a:gd name="connsiteX55" fmla="*/ 9808 w 13696"/>
                    <a:gd name="connsiteY55" fmla="*/ 15729 h 16805"/>
                    <a:gd name="connsiteX56" fmla="*/ 9569 w 13696"/>
                    <a:gd name="connsiteY56" fmla="*/ 15968 h 16805"/>
                    <a:gd name="connsiteX57" fmla="*/ 9330 w 13696"/>
                    <a:gd name="connsiteY57" fmla="*/ 16208 h 16805"/>
                    <a:gd name="connsiteX58" fmla="*/ 9091 w 13696"/>
                    <a:gd name="connsiteY58" fmla="*/ 16387 h 16805"/>
                    <a:gd name="connsiteX59" fmla="*/ 8852 w 13696"/>
                    <a:gd name="connsiteY59" fmla="*/ 16567 h 16805"/>
                    <a:gd name="connsiteX60" fmla="*/ 8612 w 13696"/>
                    <a:gd name="connsiteY60" fmla="*/ 16686 h 16805"/>
                    <a:gd name="connsiteX61" fmla="*/ 8433 w 13696"/>
                    <a:gd name="connsiteY61" fmla="*/ 16746 h 16805"/>
                    <a:gd name="connsiteX62" fmla="*/ 8253 w 13696"/>
                    <a:gd name="connsiteY62" fmla="*/ 16806 h 16805"/>
                    <a:gd name="connsiteX63" fmla="*/ 8074 w 13696"/>
                    <a:gd name="connsiteY63" fmla="*/ 16806 h 16805"/>
                    <a:gd name="connsiteX64" fmla="*/ 7895 w 13696"/>
                    <a:gd name="connsiteY64" fmla="*/ 16627 h 16805"/>
                    <a:gd name="connsiteX65" fmla="*/ 5921 w 13696"/>
                    <a:gd name="connsiteY65" fmla="*/ 15789 h 1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696" h="16805">
                      <a:moveTo>
                        <a:pt x="7895" y="16627"/>
                      </a:moveTo>
                      <a:lnTo>
                        <a:pt x="7775" y="16567"/>
                      </a:lnTo>
                      <a:lnTo>
                        <a:pt x="6699" y="15729"/>
                      </a:lnTo>
                      <a:lnTo>
                        <a:pt x="4486" y="13995"/>
                      </a:lnTo>
                      <a:lnTo>
                        <a:pt x="2273" y="12260"/>
                      </a:lnTo>
                      <a:lnTo>
                        <a:pt x="180" y="10646"/>
                      </a:lnTo>
                      <a:lnTo>
                        <a:pt x="120" y="10586"/>
                      </a:lnTo>
                      <a:lnTo>
                        <a:pt x="60" y="10466"/>
                      </a:lnTo>
                      <a:lnTo>
                        <a:pt x="0" y="10347"/>
                      </a:lnTo>
                      <a:lnTo>
                        <a:pt x="0" y="10167"/>
                      </a:lnTo>
                      <a:lnTo>
                        <a:pt x="0" y="9988"/>
                      </a:lnTo>
                      <a:lnTo>
                        <a:pt x="0" y="9749"/>
                      </a:lnTo>
                      <a:lnTo>
                        <a:pt x="60" y="9510"/>
                      </a:lnTo>
                      <a:lnTo>
                        <a:pt x="120" y="9270"/>
                      </a:lnTo>
                      <a:lnTo>
                        <a:pt x="180" y="9031"/>
                      </a:lnTo>
                      <a:lnTo>
                        <a:pt x="299" y="8792"/>
                      </a:lnTo>
                      <a:lnTo>
                        <a:pt x="419" y="8552"/>
                      </a:lnTo>
                      <a:lnTo>
                        <a:pt x="538" y="8313"/>
                      </a:lnTo>
                      <a:lnTo>
                        <a:pt x="2093" y="5263"/>
                      </a:lnTo>
                      <a:lnTo>
                        <a:pt x="3649" y="2213"/>
                      </a:lnTo>
                      <a:lnTo>
                        <a:pt x="4067" y="1435"/>
                      </a:lnTo>
                      <a:lnTo>
                        <a:pt x="4187" y="1196"/>
                      </a:lnTo>
                      <a:lnTo>
                        <a:pt x="4306" y="957"/>
                      </a:lnTo>
                      <a:lnTo>
                        <a:pt x="4486" y="718"/>
                      </a:lnTo>
                      <a:lnTo>
                        <a:pt x="4665" y="538"/>
                      </a:lnTo>
                      <a:lnTo>
                        <a:pt x="4844" y="359"/>
                      </a:lnTo>
                      <a:lnTo>
                        <a:pt x="4964" y="239"/>
                      </a:lnTo>
                      <a:lnTo>
                        <a:pt x="4964" y="239"/>
                      </a:lnTo>
                      <a:lnTo>
                        <a:pt x="5144" y="120"/>
                      </a:lnTo>
                      <a:lnTo>
                        <a:pt x="5323" y="60"/>
                      </a:lnTo>
                      <a:lnTo>
                        <a:pt x="5443" y="0"/>
                      </a:lnTo>
                      <a:lnTo>
                        <a:pt x="5562" y="0"/>
                      </a:lnTo>
                      <a:lnTo>
                        <a:pt x="5682" y="0"/>
                      </a:lnTo>
                      <a:lnTo>
                        <a:pt x="5801" y="60"/>
                      </a:lnTo>
                      <a:lnTo>
                        <a:pt x="7954" y="1854"/>
                      </a:lnTo>
                      <a:lnTo>
                        <a:pt x="10107" y="3648"/>
                      </a:lnTo>
                      <a:lnTo>
                        <a:pt x="12261" y="5443"/>
                      </a:lnTo>
                      <a:lnTo>
                        <a:pt x="13397" y="6399"/>
                      </a:lnTo>
                      <a:lnTo>
                        <a:pt x="13516" y="6519"/>
                      </a:lnTo>
                      <a:lnTo>
                        <a:pt x="13576" y="6698"/>
                      </a:lnTo>
                      <a:lnTo>
                        <a:pt x="13636" y="6938"/>
                      </a:lnTo>
                      <a:lnTo>
                        <a:pt x="13696" y="7177"/>
                      </a:lnTo>
                      <a:lnTo>
                        <a:pt x="13696" y="7476"/>
                      </a:lnTo>
                      <a:lnTo>
                        <a:pt x="13696" y="7775"/>
                      </a:lnTo>
                      <a:lnTo>
                        <a:pt x="13636" y="8134"/>
                      </a:lnTo>
                      <a:lnTo>
                        <a:pt x="13576" y="8253"/>
                      </a:lnTo>
                      <a:lnTo>
                        <a:pt x="13516" y="8493"/>
                      </a:lnTo>
                      <a:lnTo>
                        <a:pt x="13397" y="8851"/>
                      </a:lnTo>
                      <a:lnTo>
                        <a:pt x="13277" y="9210"/>
                      </a:lnTo>
                      <a:lnTo>
                        <a:pt x="13098" y="9569"/>
                      </a:lnTo>
                      <a:lnTo>
                        <a:pt x="12919" y="9928"/>
                      </a:lnTo>
                      <a:lnTo>
                        <a:pt x="11364" y="12978"/>
                      </a:lnTo>
                      <a:lnTo>
                        <a:pt x="10945" y="13815"/>
                      </a:lnTo>
                      <a:lnTo>
                        <a:pt x="10287" y="15131"/>
                      </a:lnTo>
                      <a:lnTo>
                        <a:pt x="10048" y="15430"/>
                      </a:lnTo>
                      <a:lnTo>
                        <a:pt x="9808" y="15729"/>
                      </a:lnTo>
                      <a:lnTo>
                        <a:pt x="9569" y="15968"/>
                      </a:lnTo>
                      <a:lnTo>
                        <a:pt x="9330" y="16208"/>
                      </a:lnTo>
                      <a:lnTo>
                        <a:pt x="9091" y="16387"/>
                      </a:lnTo>
                      <a:lnTo>
                        <a:pt x="8852" y="16567"/>
                      </a:lnTo>
                      <a:lnTo>
                        <a:pt x="8612" y="16686"/>
                      </a:lnTo>
                      <a:lnTo>
                        <a:pt x="8433" y="16746"/>
                      </a:lnTo>
                      <a:lnTo>
                        <a:pt x="8253" y="16806"/>
                      </a:lnTo>
                      <a:lnTo>
                        <a:pt x="8074" y="16806"/>
                      </a:lnTo>
                      <a:lnTo>
                        <a:pt x="7895" y="16627"/>
                      </a:lnTo>
                      <a:lnTo>
                        <a:pt x="5921" y="15789"/>
                      </a:lnTo>
                    </a:path>
                  </a:pathLst>
                </a:custGeom>
                <a:noFill/>
                <a:ln w="6350" cap="flat">
                  <a:solidFill>
                    <a:schemeClr val="bg1">
                      <a:alpha val="80000"/>
                    </a:schemeClr>
                  </a:solidFill>
                  <a:prstDash val="solid"/>
                  <a:miter/>
                </a:ln>
              </p:spPr>
              <p:txBody>
                <a:bodyPr rtlCol="0" anchor="ctr"/>
                <a:lstStyle/>
                <a:p>
                  <a:endParaRPr lang="en-GB"/>
                </a:p>
              </p:txBody>
            </p:sp>
            <p:sp>
              <p:nvSpPr>
                <p:cNvPr id="7802" name="Vrije vorm: vorm 7801">
                  <a:extLst>
                    <a:ext uri="{FF2B5EF4-FFF2-40B4-BE49-F238E27FC236}">
                      <a16:creationId xmlns:a16="http://schemas.microsoft.com/office/drawing/2014/main" id="{DC659852-A867-4EC2-8193-183333F975D1}"/>
                    </a:ext>
                  </a:extLst>
                </p:cNvPr>
                <p:cNvSpPr/>
                <p:nvPr/>
              </p:nvSpPr>
              <p:spPr>
                <a:xfrm>
                  <a:off x="5818963" y="5119358"/>
                  <a:ext cx="16267" cy="9748"/>
                </a:xfrm>
                <a:custGeom>
                  <a:avLst/>
                  <a:gdLst>
                    <a:gd name="connsiteX0" fmla="*/ 16267 w 16267"/>
                    <a:gd name="connsiteY0" fmla="*/ 0 h 9748"/>
                    <a:gd name="connsiteX1" fmla="*/ 14892 w 16267"/>
                    <a:gd name="connsiteY1" fmla="*/ 2691 h 9748"/>
                    <a:gd name="connsiteX2" fmla="*/ 14473 w 16267"/>
                    <a:gd name="connsiteY2" fmla="*/ 3469 h 9748"/>
                    <a:gd name="connsiteX3" fmla="*/ 14473 w 16267"/>
                    <a:gd name="connsiteY3" fmla="*/ 3469 h 9748"/>
                    <a:gd name="connsiteX4" fmla="*/ 14473 w 16267"/>
                    <a:gd name="connsiteY4" fmla="*/ 3469 h 9748"/>
                    <a:gd name="connsiteX5" fmla="*/ 13158 w 16267"/>
                    <a:gd name="connsiteY5" fmla="*/ 6041 h 9748"/>
                    <a:gd name="connsiteX6" fmla="*/ 12739 w 16267"/>
                    <a:gd name="connsiteY6" fmla="*/ 6937 h 9748"/>
                    <a:gd name="connsiteX7" fmla="*/ 12380 w 16267"/>
                    <a:gd name="connsiteY7" fmla="*/ 7715 h 9748"/>
                    <a:gd name="connsiteX8" fmla="*/ 12081 w 16267"/>
                    <a:gd name="connsiteY8" fmla="*/ 8373 h 9748"/>
                    <a:gd name="connsiteX9" fmla="*/ 11722 w 16267"/>
                    <a:gd name="connsiteY9" fmla="*/ 9090 h 9748"/>
                    <a:gd name="connsiteX10" fmla="*/ 8791 w 16267"/>
                    <a:gd name="connsiteY10" fmla="*/ 9449 h 9748"/>
                    <a:gd name="connsiteX11" fmla="*/ 6997 w 16267"/>
                    <a:gd name="connsiteY11" fmla="*/ 9689 h 9748"/>
                    <a:gd name="connsiteX12" fmla="*/ 6937 w 16267"/>
                    <a:gd name="connsiteY12" fmla="*/ 9689 h 9748"/>
                    <a:gd name="connsiteX13" fmla="*/ 6399 w 16267"/>
                    <a:gd name="connsiteY13" fmla="*/ 9749 h 9748"/>
                    <a:gd name="connsiteX14" fmla="*/ 3588 w 16267"/>
                    <a:gd name="connsiteY14" fmla="*/ 9330 h 9748"/>
                    <a:gd name="connsiteX15" fmla="*/ 778 w 16267"/>
                    <a:gd name="connsiteY15" fmla="*/ 8911 h 9748"/>
                    <a:gd name="connsiteX16" fmla="*/ 718 w 16267"/>
                    <a:gd name="connsiteY16" fmla="*/ 8911 h 9748"/>
                    <a:gd name="connsiteX17" fmla="*/ 0 w 16267"/>
                    <a:gd name="connsiteY17" fmla="*/ 8672 h 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267" h="9748">
                      <a:moveTo>
                        <a:pt x="16267" y="0"/>
                      </a:moveTo>
                      <a:lnTo>
                        <a:pt x="14892" y="2691"/>
                      </a:lnTo>
                      <a:lnTo>
                        <a:pt x="14473" y="3469"/>
                      </a:lnTo>
                      <a:lnTo>
                        <a:pt x="14473" y="3469"/>
                      </a:lnTo>
                      <a:lnTo>
                        <a:pt x="14473" y="3469"/>
                      </a:lnTo>
                      <a:lnTo>
                        <a:pt x="13158" y="6041"/>
                      </a:lnTo>
                      <a:lnTo>
                        <a:pt x="12739" y="6937"/>
                      </a:lnTo>
                      <a:lnTo>
                        <a:pt x="12380" y="7715"/>
                      </a:lnTo>
                      <a:lnTo>
                        <a:pt x="12081" y="8373"/>
                      </a:lnTo>
                      <a:lnTo>
                        <a:pt x="11722" y="9090"/>
                      </a:lnTo>
                      <a:lnTo>
                        <a:pt x="8791" y="9449"/>
                      </a:lnTo>
                      <a:lnTo>
                        <a:pt x="6997" y="9689"/>
                      </a:lnTo>
                      <a:lnTo>
                        <a:pt x="6937" y="9689"/>
                      </a:lnTo>
                      <a:lnTo>
                        <a:pt x="6399" y="9749"/>
                      </a:lnTo>
                      <a:lnTo>
                        <a:pt x="3588" y="9330"/>
                      </a:lnTo>
                      <a:lnTo>
                        <a:pt x="778" y="8911"/>
                      </a:lnTo>
                      <a:lnTo>
                        <a:pt x="718" y="8911"/>
                      </a:lnTo>
                      <a:lnTo>
                        <a:pt x="0" y="8672"/>
                      </a:lnTo>
                    </a:path>
                  </a:pathLst>
                </a:custGeom>
                <a:noFill/>
                <a:ln w="6350" cap="flat">
                  <a:solidFill>
                    <a:schemeClr val="bg1">
                      <a:alpha val="80000"/>
                    </a:schemeClr>
                  </a:solidFill>
                  <a:prstDash val="solid"/>
                  <a:miter/>
                </a:ln>
              </p:spPr>
              <p:txBody>
                <a:bodyPr rtlCol="0" anchor="ctr"/>
                <a:lstStyle/>
                <a:p>
                  <a:endParaRPr lang="en-GB"/>
                </a:p>
              </p:txBody>
            </p:sp>
            <p:sp>
              <p:nvSpPr>
                <p:cNvPr id="7803" name="Vrije vorm: vorm 7802">
                  <a:extLst>
                    <a:ext uri="{FF2B5EF4-FFF2-40B4-BE49-F238E27FC236}">
                      <a16:creationId xmlns:a16="http://schemas.microsoft.com/office/drawing/2014/main" id="{D177C1CB-6329-4768-BFE2-D26A6B02F4E7}"/>
                    </a:ext>
                  </a:extLst>
                </p:cNvPr>
                <p:cNvSpPr/>
                <p:nvPr/>
              </p:nvSpPr>
              <p:spPr>
                <a:xfrm>
                  <a:off x="5754610" y="5079885"/>
                  <a:ext cx="6100" cy="18181"/>
                </a:xfrm>
                <a:custGeom>
                  <a:avLst/>
                  <a:gdLst>
                    <a:gd name="connsiteX0" fmla="*/ 6100 w 6100"/>
                    <a:gd name="connsiteY0" fmla="*/ 18182 h 18181"/>
                    <a:gd name="connsiteX1" fmla="*/ 4007 w 6100"/>
                    <a:gd name="connsiteY1" fmla="*/ 16268 h 18181"/>
                    <a:gd name="connsiteX2" fmla="*/ 2930 w 6100"/>
                    <a:gd name="connsiteY2" fmla="*/ 15311 h 18181"/>
                    <a:gd name="connsiteX3" fmla="*/ 1196 w 6100"/>
                    <a:gd name="connsiteY3" fmla="*/ 12978 h 18181"/>
                    <a:gd name="connsiteX4" fmla="*/ 239 w 6100"/>
                    <a:gd name="connsiteY4" fmla="*/ 11662 h 18181"/>
                    <a:gd name="connsiteX5" fmla="*/ 0 w 6100"/>
                    <a:gd name="connsiteY5" fmla="*/ 9091 h 18181"/>
                    <a:gd name="connsiteX6" fmla="*/ 778 w 6100"/>
                    <a:gd name="connsiteY6" fmla="*/ 7596 h 18181"/>
                    <a:gd name="connsiteX7" fmla="*/ 1854 w 6100"/>
                    <a:gd name="connsiteY7" fmla="*/ 5443 h 18181"/>
                    <a:gd name="connsiteX8" fmla="*/ 2512 w 6100"/>
                    <a:gd name="connsiteY8" fmla="*/ 4127 h 18181"/>
                    <a:gd name="connsiteX9" fmla="*/ 2512 w 6100"/>
                    <a:gd name="connsiteY9" fmla="*/ 4127 h 18181"/>
                    <a:gd name="connsiteX10" fmla="*/ 4067 w 6100"/>
                    <a:gd name="connsiteY10" fmla="*/ 1076 h 18181"/>
                    <a:gd name="connsiteX11" fmla="*/ 4605 w 6100"/>
                    <a:gd name="connsiteY11" fmla="*/ 0 h 1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00" h="18181">
                      <a:moveTo>
                        <a:pt x="6100" y="18182"/>
                      </a:moveTo>
                      <a:lnTo>
                        <a:pt x="4007" y="16268"/>
                      </a:lnTo>
                      <a:lnTo>
                        <a:pt x="2930" y="15311"/>
                      </a:lnTo>
                      <a:lnTo>
                        <a:pt x="1196" y="12978"/>
                      </a:lnTo>
                      <a:lnTo>
                        <a:pt x="239" y="11662"/>
                      </a:lnTo>
                      <a:lnTo>
                        <a:pt x="0" y="9091"/>
                      </a:lnTo>
                      <a:lnTo>
                        <a:pt x="778" y="7596"/>
                      </a:lnTo>
                      <a:lnTo>
                        <a:pt x="1854" y="5443"/>
                      </a:lnTo>
                      <a:lnTo>
                        <a:pt x="2512" y="4127"/>
                      </a:lnTo>
                      <a:lnTo>
                        <a:pt x="2512" y="4127"/>
                      </a:lnTo>
                      <a:lnTo>
                        <a:pt x="4067" y="1076"/>
                      </a:lnTo>
                      <a:lnTo>
                        <a:pt x="4605" y="0"/>
                      </a:lnTo>
                    </a:path>
                  </a:pathLst>
                </a:custGeom>
                <a:noFill/>
                <a:ln w="6350" cap="flat">
                  <a:solidFill>
                    <a:schemeClr val="bg1">
                      <a:alpha val="80000"/>
                    </a:schemeClr>
                  </a:solidFill>
                  <a:prstDash val="solid"/>
                  <a:miter/>
                </a:ln>
              </p:spPr>
              <p:txBody>
                <a:bodyPr rtlCol="0" anchor="ctr"/>
                <a:lstStyle/>
                <a:p>
                  <a:endParaRPr lang="en-GB"/>
                </a:p>
              </p:txBody>
            </p:sp>
            <p:sp>
              <p:nvSpPr>
                <p:cNvPr id="7804" name="Vrije vorm: vorm 7803">
                  <a:extLst>
                    <a:ext uri="{FF2B5EF4-FFF2-40B4-BE49-F238E27FC236}">
                      <a16:creationId xmlns:a16="http://schemas.microsoft.com/office/drawing/2014/main" id="{C5A428FC-EF9D-4606-B5C3-7AF16C5F7F11}"/>
                    </a:ext>
                  </a:extLst>
                </p:cNvPr>
                <p:cNvSpPr/>
                <p:nvPr/>
              </p:nvSpPr>
              <p:spPr>
                <a:xfrm>
                  <a:off x="5754610" y="5087780"/>
                  <a:ext cx="76134" cy="40728"/>
                </a:xfrm>
                <a:custGeom>
                  <a:avLst/>
                  <a:gdLst>
                    <a:gd name="connsiteX0" fmla="*/ 0 w 76134"/>
                    <a:gd name="connsiteY0" fmla="*/ 1256 h 40728"/>
                    <a:gd name="connsiteX1" fmla="*/ 1615 w 76134"/>
                    <a:gd name="connsiteY1" fmla="*/ 419 h 40728"/>
                    <a:gd name="connsiteX2" fmla="*/ 2333 w 76134"/>
                    <a:gd name="connsiteY2" fmla="*/ 0 h 40728"/>
                    <a:gd name="connsiteX3" fmla="*/ 4785 w 76134"/>
                    <a:gd name="connsiteY3" fmla="*/ 120 h 40728"/>
                    <a:gd name="connsiteX4" fmla="*/ 7297 w 76134"/>
                    <a:gd name="connsiteY4" fmla="*/ 239 h 40728"/>
                    <a:gd name="connsiteX5" fmla="*/ 7835 w 76134"/>
                    <a:gd name="connsiteY5" fmla="*/ 359 h 40728"/>
                    <a:gd name="connsiteX6" fmla="*/ 9569 w 76134"/>
                    <a:gd name="connsiteY6" fmla="*/ 778 h 40728"/>
                    <a:gd name="connsiteX7" fmla="*/ 10765 w 76134"/>
                    <a:gd name="connsiteY7" fmla="*/ 1076 h 40728"/>
                    <a:gd name="connsiteX8" fmla="*/ 11842 w 76134"/>
                    <a:gd name="connsiteY8" fmla="*/ 1316 h 40728"/>
                    <a:gd name="connsiteX9" fmla="*/ 13098 w 76134"/>
                    <a:gd name="connsiteY9" fmla="*/ 1615 h 40728"/>
                    <a:gd name="connsiteX10" fmla="*/ 14593 w 76134"/>
                    <a:gd name="connsiteY10" fmla="*/ 1974 h 40728"/>
                    <a:gd name="connsiteX11" fmla="*/ 17225 w 76134"/>
                    <a:gd name="connsiteY11" fmla="*/ 2871 h 40728"/>
                    <a:gd name="connsiteX12" fmla="*/ 19856 w 76134"/>
                    <a:gd name="connsiteY12" fmla="*/ 3768 h 40728"/>
                    <a:gd name="connsiteX13" fmla="*/ 22488 w 76134"/>
                    <a:gd name="connsiteY13" fmla="*/ 4665 h 40728"/>
                    <a:gd name="connsiteX14" fmla="*/ 23744 w 76134"/>
                    <a:gd name="connsiteY14" fmla="*/ 5084 h 40728"/>
                    <a:gd name="connsiteX15" fmla="*/ 26315 w 76134"/>
                    <a:gd name="connsiteY15" fmla="*/ 6160 h 40728"/>
                    <a:gd name="connsiteX16" fmla="*/ 27093 w 76134"/>
                    <a:gd name="connsiteY16" fmla="*/ 6519 h 40728"/>
                    <a:gd name="connsiteX17" fmla="*/ 29665 w 76134"/>
                    <a:gd name="connsiteY17" fmla="*/ 7596 h 40728"/>
                    <a:gd name="connsiteX18" fmla="*/ 32236 w 76134"/>
                    <a:gd name="connsiteY18" fmla="*/ 8672 h 40728"/>
                    <a:gd name="connsiteX19" fmla="*/ 34090 w 76134"/>
                    <a:gd name="connsiteY19" fmla="*/ 9450 h 40728"/>
                    <a:gd name="connsiteX20" fmla="*/ 36602 w 76134"/>
                    <a:gd name="connsiteY20" fmla="*/ 10706 h 40728"/>
                    <a:gd name="connsiteX21" fmla="*/ 39114 w 76134"/>
                    <a:gd name="connsiteY21" fmla="*/ 11961 h 40728"/>
                    <a:gd name="connsiteX22" fmla="*/ 41626 w 76134"/>
                    <a:gd name="connsiteY22" fmla="*/ 13218 h 40728"/>
                    <a:gd name="connsiteX23" fmla="*/ 44138 w 76134"/>
                    <a:gd name="connsiteY23" fmla="*/ 14473 h 40728"/>
                    <a:gd name="connsiteX24" fmla="*/ 44855 w 76134"/>
                    <a:gd name="connsiteY24" fmla="*/ 14832 h 40728"/>
                    <a:gd name="connsiteX25" fmla="*/ 47248 w 76134"/>
                    <a:gd name="connsiteY25" fmla="*/ 16208 h 40728"/>
                    <a:gd name="connsiteX26" fmla="*/ 49640 w 76134"/>
                    <a:gd name="connsiteY26" fmla="*/ 17583 h 40728"/>
                    <a:gd name="connsiteX27" fmla="*/ 52032 w 76134"/>
                    <a:gd name="connsiteY27" fmla="*/ 18959 h 40728"/>
                    <a:gd name="connsiteX28" fmla="*/ 54425 w 76134"/>
                    <a:gd name="connsiteY28" fmla="*/ 20335 h 40728"/>
                    <a:gd name="connsiteX29" fmla="*/ 54843 w 76134"/>
                    <a:gd name="connsiteY29" fmla="*/ 20574 h 40728"/>
                    <a:gd name="connsiteX30" fmla="*/ 55561 w 76134"/>
                    <a:gd name="connsiteY30" fmla="*/ 21052 h 40728"/>
                    <a:gd name="connsiteX31" fmla="*/ 57893 w 76134"/>
                    <a:gd name="connsiteY31" fmla="*/ 22607 h 40728"/>
                    <a:gd name="connsiteX32" fmla="*/ 60226 w 76134"/>
                    <a:gd name="connsiteY32" fmla="*/ 24162 h 40728"/>
                    <a:gd name="connsiteX33" fmla="*/ 62558 w 76134"/>
                    <a:gd name="connsiteY33" fmla="*/ 25717 h 40728"/>
                    <a:gd name="connsiteX34" fmla="*/ 63575 w 76134"/>
                    <a:gd name="connsiteY34" fmla="*/ 26375 h 40728"/>
                    <a:gd name="connsiteX35" fmla="*/ 65788 w 76134"/>
                    <a:gd name="connsiteY35" fmla="*/ 28109 h 40728"/>
                    <a:gd name="connsiteX36" fmla="*/ 68001 w 76134"/>
                    <a:gd name="connsiteY36" fmla="*/ 29844 h 40728"/>
                    <a:gd name="connsiteX37" fmla="*/ 69137 w 76134"/>
                    <a:gd name="connsiteY37" fmla="*/ 30741 h 40728"/>
                    <a:gd name="connsiteX38" fmla="*/ 69317 w 76134"/>
                    <a:gd name="connsiteY38" fmla="*/ 30861 h 40728"/>
                    <a:gd name="connsiteX39" fmla="*/ 70214 w 76134"/>
                    <a:gd name="connsiteY39" fmla="*/ 31578 h 40728"/>
                    <a:gd name="connsiteX40" fmla="*/ 70572 w 76134"/>
                    <a:gd name="connsiteY40" fmla="*/ 31937 h 40728"/>
                    <a:gd name="connsiteX41" fmla="*/ 70872 w 76134"/>
                    <a:gd name="connsiteY41" fmla="*/ 32296 h 40728"/>
                    <a:gd name="connsiteX42" fmla="*/ 71649 w 76134"/>
                    <a:gd name="connsiteY42" fmla="*/ 33133 h 40728"/>
                    <a:gd name="connsiteX43" fmla="*/ 73623 w 76134"/>
                    <a:gd name="connsiteY43" fmla="*/ 35167 h 40728"/>
                    <a:gd name="connsiteX44" fmla="*/ 75297 w 76134"/>
                    <a:gd name="connsiteY44" fmla="*/ 36901 h 40728"/>
                    <a:gd name="connsiteX45" fmla="*/ 76134 w 76134"/>
                    <a:gd name="connsiteY45" fmla="*/ 37798 h 40728"/>
                    <a:gd name="connsiteX46" fmla="*/ 76134 w 76134"/>
                    <a:gd name="connsiteY46" fmla="*/ 38277 h 40728"/>
                    <a:gd name="connsiteX47" fmla="*/ 76134 w 76134"/>
                    <a:gd name="connsiteY47" fmla="*/ 39114 h 40728"/>
                    <a:gd name="connsiteX48" fmla="*/ 76134 w 76134"/>
                    <a:gd name="connsiteY48" fmla="*/ 39891 h 40728"/>
                    <a:gd name="connsiteX49" fmla="*/ 76134 w 76134"/>
                    <a:gd name="connsiteY49" fmla="*/ 40729 h 4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6134" h="40728">
                      <a:moveTo>
                        <a:pt x="0" y="1256"/>
                      </a:moveTo>
                      <a:lnTo>
                        <a:pt x="1615" y="419"/>
                      </a:lnTo>
                      <a:lnTo>
                        <a:pt x="2333" y="0"/>
                      </a:lnTo>
                      <a:lnTo>
                        <a:pt x="4785" y="120"/>
                      </a:lnTo>
                      <a:lnTo>
                        <a:pt x="7297" y="239"/>
                      </a:lnTo>
                      <a:lnTo>
                        <a:pt x="7835" y="359"/>
                      </a:lnTo>
                      <a:lnTo>
                        <a:pt x="9569" y="778"/>
                      </a:lnTo>
                      <a:lnTo>
                        <a:pt x="10765" y="1076"/>
                      </a:lnTo>
                      <a:lnTo>
                        <a:pt x="11842" y="1316"/>
                      </a:lnTo>
                      <a:lnTo>
                        <a:pt x="13098" y="1615"/>
                      </a:lnTo>
                      <a:lnTo>
                        <a:pt x="14593" y="1974"/>
                      </a:lnTo>
                      <a:lnTo>
                        <a:pt x="17225" y="2871"/>
                      </a:lnTo>
                      <a:lnTo>
                        <a:pt x="19856" y="3768"/>
                      </a:lnTo>
                      <a:lnTo>
                        <a:pt x="22488" y="4665"/>
                      </a:lnTo>
                      <a:lnTo>
                        <a:pt x="23744" y="5084"/>
                      </a:lnTo>
                      <a:lnTo>
                        <a:pt x="26315" y="6160"/>
                      </a:lnTo>
                      <a:lnTo>
                        <a:pt x="27093" y="6519"/>
                      </a:lnTo>
                      <a:lnTo>
                        <a:pt x="29665" y="7596"/>
                      </a:lnTo>
                      <a:lnTo>
                        <a:pt x="32236" y="8672"/>
                      </a:lnTo>
                      <a:lnTo>
                        <a:pt x="34090" y="9450"/>
                      </a:lnTo>
                      <a:lnTo>
                        <a:pt x="36602" y="10706"/>
                      </a:lnTo>
                      <a:lnTo>
                        <a:pt x="39114" y="11961"/>
                      </a:lnTo>
                      <a:lnTo>
                        <a:pt x="41626" y="13218"/>
                      </a:lnTo>
                      <a:lnTo>
                        <a:pt x="44138" y="14473"/>
                      </a:lnTo>
                      <a:lnTo>
                        <a:pt x="44855" y="14832"/>
                      </a:lnTo>
                      <a:lnTo>
                        <a:pt x="47248" y="16208"/>
                      </a:lnTo>
                      <a:lnTo>
                        <a:pt x="49640" y="17583"/>
                      </a:lnTo>
                      <a:lnTo>
                        <a:pt x="52032" y="18959"/>
                      </a:lnTo>
                      <a:lnTo>
                        <a:pt x="54425" y="20335"/>
                      </a:lnTo>
                      <a:lnTo>
                        <a:pt x="54843" y="20574"/>
                      </a:lnTo>
                      <a:lnTo>
                        <a:pt x="55561" y="21052"/>
                      </a:lnTo>
                      <a:lnTo>
                        <a:pt x="57893" y="22607"/>
                      </a:lnTo>
                      <a:lnTo>
                        <a:pt x="60226" y="24162"/>
                      </a:lnTo>
                      <a:lnTo>
                        <a:pt x="62558" y="25717"/>
                      </a:lnTo>
                      <a:lnTo>
                        <a:pt x="63575" y="26375"/>
                      </a:lnTo>
                      <a:lnTo>
                        <a:pt x="65788" y="28109"/>
                      </a:lnTo>
                      <a:lnTo>
                        <a:pt x="68001" y="29844"/>
                      </a:lnTo>
                      <a:lnTo>
                        <a:pt x="69137" y="30741"/>
                      </a:lnTo>
                      <a:lnTo>
                        <a:pt x="69317" y="30861"/>
                      </a:lnTo>
                      <a:lnTo>
                        <a:pt x="70214" y="31578"/>
                      </a:lnTo>
                      <a:lnTo>
                        <a:pt x="70572" y="31937"/>
                      </a:lnTo>
                      <a:lnTo>
                        <a:pt x="70872" y="32296"/>
                      </a:lnTo>
                      <a:lnTo>
                        <a:pt x="71649" y="33133"/>
                      </a:lnTo>
                      <a:lnTo>
                        <a:pt x="73623" y="35167"/>
                      </a:lnTo>
                      <a:lnTo>
                        <a:pt x="75297" y="36901"/>
                      </a:lnTo>
                      <a:lnTo>
                        <a:pt x="76134" y="37798"/>
                      </a:lnTo>
                      <a:lnTo>
                        <a:pt x="76134" y="38277"/>
                      </a:lnTo>
                      <a:lnTo>
                        <a:pt x="76134" y="39114"/>
                      </a:lnTo>
                      <a:lnTo>
                        <a:pt x="76134" y="39891"/>
                      </a:lnTo>
                      <a:lnTo>
                        <a:pt x="76134" y="40729"/>
                      </a:lnTo>
                    </a:path>
                  </a:pathLst>
                </a:custGeom>
                <a:noFill/>
                <a:ln w="6350" cap="flat">
                  <a:solidFill>
                    <a:schemeClr val="bg1">
                      <a:alpha val="80000"/>
                    </a:schemeClr>
                  </a:solidFill>
                  <a:prstDash val="solid"/>
                  <a:miter/>
                </a:ln>
              </p:spPr>
              <p:txBody>
                <a:bodyPr rtlCol="0" anchor="ctr"/>
                <a:lstStyle/>
                <a:p>
                  <a:endParaRPr lang="en-GB"/>
                </a:p>
              </p:txBody>
            </p:sp>
            <p:sp>
              <p:nvSpPr>
                <p:cNvPr id="7805" name="Vrije vorm: vorm 7804">
                  <a:extLst>
                    <a:ext uri="{FF2B5EF4-FFF2-40B4-BE49-F238E27FC236}">
                      <a16:creationId xmlns:a16="http://schemas.microsoft.com/office/drawing/2014/main" id="{111375A7-09AB-47B6-A504-C0F1E07449A4}"/>
                    </a:ext>
                  </a:extLst>
                </p:cNvPr>
                <p:cNvSpPr/>
                <p:nvPr/>
              </p:nvSpPr>
              <p:spPr>
                <a:xfrm>
                  <a:off x="5748211" y="5101057"/>
                  <a:ext cx="12559" cy="3289"/>
                </a:xfrm>
                <a:custGeom>
                  <a:avLst/>
                  <a:gdLst>
                    <a:gd name="connsiteX0" fmla="*/ 0 w 12559"/>
                    <a:gd name="connsiteY0" fmla="*/ 3289 h 3289"/>
                    <a:gd name="connsiteX1" fmla="*/ 1435 w 12559"/>
                    <a:gd name="connsiteY1" fmla="*/ 2691 h 3289"/>
                    <a:gd name="connsiteX2" fmla="*/ 4366 w 12559"/>
                    <a:gd name="connsiteY2" fmla="*/ 1973 h 3289"/>
                    <a:gd name="connsiteX3" fmla="*/ 7297 w 12559"/>
                    <a:gd name="connsiteY3" fmla="*/ 1256 h 3289"/>
                    <a:gd name="connsiteX4" fmla="*/ 10227 w 12559"/>
                    <a:gd name="connsiteY4" fmla="*/ 538 h 3289"/>
                    <a:gd name="connsiteX5" fmla="*/ 10825 w 12559"/>
                    <a:gd name="connsiteY5" fmla="*/ 419 h 3289"/>
                    <a:gd name="connsiteX6" fmla="*/ 12560 w 12559"/>
                    <a:gd name="connsiteY6" fmla="*/ 0 h 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9" h="3289">
                      <a:moveTo>
                        <a:pt x="0" y="3289"/>
                      </a:moveTo>
                      <a:lnTo>
                        <a:pt x="1435" y="2691"/>
                      </a:lnTo>
                      <a:lnTo>
                        <a:pt x="4366" y="1973"/>
                      </a:lnTo>
                      <a:lnTo>
                        <a:pt x="7297" y="1256"/>
                      </a:lnTo>
                      <a:lnTo>
                        <a:pt x="10227" y="538"/>
                      </a:lnTo>
                      <a:lnTo>
                        <a:pt x="10825" y="419"/>
                      </a:lnTo>
                      <a:lnTo>
                        <a:pt x="12560" y="0"/>
                      </a:lnTo>
                    </a:path>
                  </a:pathLst>
                </a:custGeom>
                <a:noFill/>
                <a:ln w="6350" cap="flat">
                  <a:solidFill>
                    <a:schemeClr val="bg1">
                      <a:alpha val="80000"/>
                    </a:schemeClr>
                  </a:solidFill>
                  <a:prstDash val="solid"/>
                  <a:miter/>
                </a:ln>
              </p:spPr>
              <p:txBody>
                <a:bodyPr rtlCol="0" anchor="ctr"/>
                <a:lstStyle/>
                <a:p>
                  <a:endParaRPr lang="en-GB"/>
                </a:p>
              </p:txBody>
            </p:sp>
            <p:sp>
              <p:nvSpPr>
                <p:cNvPr id="7806" name="Vrije vorm: vorm 7805">
                  <a:extLst>
                    <a:ext uri="{FF2B5EF4-FFF2-40B4-BE49-F238E27FC236}">
                      <a16:creationId xmlns:a16="http://schemas.microsoft.com/office/drawing/2014/main" id="{5E925A50-B83A-4122-B8A8-35B147D48466}"/>
                    </a:ext>
                  </a:extLst>
                </p:cNvPr>
                <p:cNvSpPr/>
                <p:nvPr/>
              </p:nvSpPr>
              <p:spPr>
                <a:xfrm>
                  <a:off x="5840793" y="5216664"/>
                  <a:ext cx="7236" cy="16446"/>
                </a:xfrm>
                <a:custGeom>
                  <a:avLst/>
                  <a:gdLst>
                    <a:gd name="connsiteX0" fmla="*/ 7236 w 7236"/>
                    <a:gd name="connsiteY0" fmla="*/ 0 h 16446"/>
                    <a:gd name="connsiteX1" fmla="*/ 6160 w 7236"/>
                    <a:gd name="connsiteY1" fmla="*/ 837 h 16446"/>
                    <a:gd name="connsiteX2" fmla="*/ 6100 w 7236"/>
                    <a:gd name="connsiteY2" fmla="*/ 837 h 16446"/>
                    <a:gd name="connsiteX3" fmla="*/ 4785 w 7236"/>
                    <a:gd name="connsiteY3" fmla="*/ 2273 h 16446"/>
                    <a:gd name="connsiteX4" fmla="*/ 4007 w 7236"/>
                    <a:gd name="connsiteY4" fmla="*/ 3409 h 16446"/>
                    <a:gd name="connsiteX5" fmla="*/ 3469 w 7236"/>
                    <a:gd name="connsiteY5" fmla="*/ 4127 h 16446"/>
                    <a:gd name="connsiteX6" fmla="*/ 3229 w 7236"/>
                    <a:gd name="connsiteY6" fmla="*/ 4545 h 16446"/>
                    <a:gd name="connsiteX7" fmla="*/ 2273 w 7236"/>
                    <a:gd name="connsiteY7" fmla="*/ 6220 h 16446"/>
                    <a:gd name="connsiteX8" fmla="*/ 1256 w 7236"/>
                    <a:gd name="connsiteY8" fmla="*/ 8433 h 16446"/>
                    <a:gd name="connsiteX9" fmla="*/ 718 w 7236"/>
                    <a:gd name="connsiteY9" fmla="*/ 10048 h 16446"/>
                    <a:gd name="connsiteX10" fmla="*/ 538 w 7236"/>
                    <a:gd name="connsiteY10" fmla="*/ 10646 h 16446"/>
                    <a:gd name="connsiteX11" fmla="*/ 119 w 7236"/>
                    <a:gd name="connsiteY11" fmla="*/ 12679 h 16446"/>
                    <a:gd name="connsiteX12" fmla="*/ 60 w 7236"/>
                    <a:gd name="connsiteY12" fmla="*/ 13337 h 16446"/>
                    <a:gd name="connsiteX13" fmla="*/ 0 w 7236"/>
                    <a:gd name="connsiteY13" fmla="*/ 14354 h 16446"/>
                    <a:gd name="connsiteX14" fmla="*/ 239 w 7236"/>
                    <a:gd name="connsiteY14" fmla="*/ 15610 h 16446"/>
                    <a:gd name="connsiteX15" fmla="*/ 778 w 7236"/>
                    <a:gd name="connsiteY15" fmla="*/ 16328 h 16446"/>
                    <a:gd name="connsiteX16" fmla="*/ 1615 w 7236"/>
                    <a:gd name="connsiteY16" fmla="*/ 16447 h 16446"/>
                    <a:gd name="connsiteX17" fmla="*/ 2691 w 7236"/>
                    <a:gd name="connsiteY17" fmla="*/ 16029 h 16446"/>
                    <a:gd name="connsiteX18" fmla="*/ 3768 w 7236"/>
                    <a:gd name="connsiteY18" fmla="*/ 15131 h 1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236" h="16446">
                      <a:moveTo>
                        <a:pt x="7236" y="0"/>
                      </a:moveTo>
                      <a:lnTo>
                        <a:pt x="6160" y="837"/>
                      </a:lnTo>
                      <a:lnTo>
                        <a:pt x="6100" y="837"/>
                      </a:lnTo>
                      <a:lnTo>
                        <a:pt x="4785" y="2273"/>
                      </a:lnTo>
                      <a:lnTo>
                        <a:pt x="4007" y="3409"/>
                      </a:lnTo>
                      <a:lnTo>
                        <a:pt x="3469" y="4127"/>
                      </a:lnTo>
                      <a:lnTo>
                        <a:pt x="3229" y="4545"/>
                      </a:lnTo>
                      <a:lnTo>
                        <a:pt x="2273" y="6220"/>
                      </a:lnTo>
                      <a:lnTo>
                        <a:pt x="1256" y="8433"/>
                      </a:lnTo>
                      <a:lnTo>
                        <a:pt x="718" y="10048"/>
                      </a:lnTo>
                      <a:lnTo>
                        <a:pt x="538" y="10646"/>
                      </a:lnTo>
                      <a:lnTo>
                        <a:pt x="119" y="12679"/>
                      </a:lnTo>
                      <a:lnTo>
                        <a:pt x="60" y="13337"/>
                      </a:lnTo>
                      <a:lnTo>
                        <a:pt x="0" y="14354"/>
                      </a:lnTo>
                      <a:lnTo>
                        <a:pt x="239" y="15610"/>
                      </a:lnTo>
                      <a:lnTo>
                        <a:pt x="778" y="16328"/>
                      </a:lnTo>
                      <a:lnTo>
                        <a:pt x="1615" y="16447"/>
                      </a:lnTo>
                      <a:lnTo>
                        <a:pt x="2691" y="16029"/>
                      </a:lnTo>
                      <a:lnTo>
                        <a:pt x="3768" y="15131"/>
                      </a:lnTo>
                    </a:path>
                  </a:pathLst>
                </a:custGeom>
                <a:noFill/>
                <a:ln w="6350" cap="flat">
                  <a:solidFill>
                    <a:schemeClr val="bg1">
                      <a:alpha val="80000"/>
                    </a:schemeClr>
                  </a:solidFill>
                  <a:prstDash val="solid"/>
                  <a:miter/>
                </a:ln>
              </p:spPr>
              <p:txBody>
                <a:bodyPr rtlCol="0" anchor="ctr"/>
                <a:lstStyle/>
                <a:p>
                  <a:endParaRPr lang="en-GB"/>
                </a:p>
              </p:txBody>
            </p:sp>
            <p:sp>
              <p:nvSpPr>
                <p:cNvPr id="7807" name="Vrije vorm: vorm 7806">
                  <a:extLst>
                    <a:ext uri="{FF2B5EF4-FFF2-40B4-BE49-F238E27FC236}">
                      <a16:creationId xmlns:a16="http://schemas.microsoft.com/office/drawing/2014/main" id="{C237D120-34D2-447C-989D-170EEDC7C83D}"/>
                    </a:ext>
                  </a:extLst>
                </p:cNvPr>
                <p:cNvSpPr/>
                <p:nvPr/>
              </p:nvSpPr>
              <p:spPr>
                <a:xfrm>
                  <a:off x="5842048" y="5218399"/>
                  <a:ext cx="7296" cy="15549"/>
                </a:xfrm>
                <a:custGeom>
                  <a:avLst/>
                  <a:gdLst>
                    <a:gd name="connsiteX0" fmla="*/ 6100 w 7296"/>
                    <a:gd name="connsiteY0" fmla="*/ 0 h 15549"/>
                    <a:gd name="connsiteX1" fmla="*/ 5503 w 7296"/>
                    <a:gd name="connsiteY1" fmla="*/ 239 h 15549"/>
                    <a:gd name="connsiteX2" fmla="*/ 4605 w 7296"/>
                    <a:gd name="connsiteY2" fmla="*/ 957 h 15549"/>
                    <a:gd name="connsiteX3" fmla="*/ 3648 w 7296"/>
                    <a:gd name="connsiteY3" fmla="*/ 2033 h 15549"/>
                    <a:gd name="connsiteX4" fmla="*/ 3589 w 7296"/>
                    <a:gd name="connsiteY4" fmla="*/ 2093 h 15549"/>
                    <a:gd name="connsiteX5" fmla="*/ 2990 w 7296"/>
                    <a:gd name="connsiteY5" fmla="*/ 2930 h 15549"/>
                    <a:gd name="connsiteX6" fmla="*/ 2632 w 7296"/>
                    <a:gd name="connsiteY6" fmla="*/ 3409 h 15549"/>
                    <a:gd name="connsiteX7" fmla="*/ 1735 w 7296"/>
                    <a:gd name="connsiteY7" fmla="*/ 4964 h 15549"/>
                    <a:gd name="connsiteX8" fmla="*/ 957 w 7296"/>
                    <a:gd name="connsiteY8" fmla="*/ 6639 h 15549"/>
                    <a:gd name="connsiteX9" fmla="*/ 419 w 7296"/>
                    <a:gd name="connsiteY9" fmla="*/ 8253 h 15549"/>
                    <a:gd name="connsiteX10" fmla="*/ 299 w 7296"/>
                    <a:gd name="connsiteY10" fmla="*/ 8732 h 15549"/>
                    <a:gd name="connsiteX11" fmla="*/ 60 w 7296"/>
                    <a:gd name="connsiteY11" fmla="*/ 9749 h 15549"/>
                    <a:gd name="connsiteX12" fmla="*/ 0 w 7296"/>
                    <a:gd name="connsiteY12" fmla="*/ 11004 h 15549"/>
                    <a:gd name="connsiteX13" fmla="*/ 180 w 7296"/>
                    <a:gd name="connsiteY13" fmla="*/ 11902 h 15549"/>
                    <a:gd name="connsiteX14" fmla="*/ 598 w 7296"/>
                    <a:gd name="connsiteY14" fmla="*/ 12440 h 15549"/>
                    <a:gd name="connsiteX15" fmla="*/ 2572 w 7296"/>
                    <a:gd name="connsiteY15" fmla="*/ 13337 h 15549"/>
                    <a:gd name="connsiteX16" fmla="*/ 5084 w 7296"/>
                    <a:gd name="connsiteY16" fmla="*/ 14533 h 15549"/>
                    <a:gd name="connsiteX17" fmla="*/ 7297 w 7296"/>
                    <a:gd name="connsiteY17" fmla="*/ 15550 h 1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96" h="15549">
                      <a:moveTo>
                        <a:pt x="6100" y="0"/>
                      </a:moveTo>
                      <a:lnTo>
                        <a:pt x="5503" y="239"/>
                      </a:lnTo>
                      <a:lnTo>
                        <a:pt x="4605" y="957"/>
                      </a:lnTo>
                      <a:lnTo>
                        <a:pt x="3648" y="2033"/>
                      </a:lnTo>
                      <a:lnTo>
                        <a:pt x="3589" y="2093"/>
                      </a:lnTo>
                      <a:lnTo>
                        <a:pt x="2990" y="2930"/>
                      </a:lnTo>
                      <a:lnTo>
                        <a:pt x="2632" y="3409"/>
                      </a:lnTo>
                      <a:lnTo>
                        <a:pt x="1735" y="4964"/>
                      </a:lnTo>
                      <a:lnTo>
                        <a:pt x="957" y="6639"/>
                      </a:lnTo>
                      <a:lnTo>
                        <a:pt x="419" y="8253"/>
                      </a:lnTo>
                      <a:lnTo>
                        <a:pt x="299" y="8732"/>
                      </a:lnTo>
                      <a:lnTo>
                        <a:pt x="60" y="9749"/>
                      </a:lnTo>
                      <a:lnTo>
                        <a:pt x="0" y="11004"/>
                      </a:lnTo>
                      <a:lnTo>
                        <a:pt x="180" y="11902"/>
                      </a:lnTo>
                      <a:lnTo>
                        <a:pt x="598" y="12440"/>
                      </a:lnTo>
                      <a:lnTo>
                        <a:pt x="2572" y="13337"/>
                      </a:lnTo>
                      <a:lnTo>
                        <a:pt x="5084" y="14533"/>
                      </a:lnTo>
                      <a:lnTo>
                        <a:pt x="7297" y="15550"/>
                      </a:lnTo>
                    </a:path>
                  </a:pathLst>
                </a:custGeom>
                <a:noFill/>
                <a:ln w="6350" cap="flat">
                  <a:solidFill>
                    <a:schemeClr val="bg1">
                      <a:alpha val="80000"/>
                    </a:schemeClr>
                  </a:solidFill>
                  <a:prstDash val="solid"/>
                  <a:miter/>
                </a:ln>
              </p:spPr>
              <p:txBody>
                <a:bodyPr rtlCol="0" anchor="ctr"/>
                <a:lstStyle/>
                <a:p>
                  <a:endParaRPr lang="en-GB"/>
                </a:p>
              </p:txBody>
            </p:sp>
            <p:sp>
              <p:nvSpPr>
                <p:cNvPr id="7808" name="Vrije vorm: vorm 7807">
                  <a:extLst>
                    <a:ext uri="{FF2B5EF4-FFF2-40B4-BE49-F238E27FC236}">
                      <a16:creationId xmlns:a16="http://schemas.microsoft.com/office/drawing/2014/main" id="{25E84133-AB82-48D5-AA44-6F64BEA83E5F}"/>
                    </a:ext>
                  </a:extLst>
                </p:cNvPr>
                <p:cNvSpPr/>
                <p:nvPr/>
              </p:nvSpPr>
              <p:spPr>
                <a:xfrm>
                  <a:off x="5759275" y="5078510"/>
                  <a:ext cx="76134" cy="40848"/>
                </a:xfrm>
                <a:custGeom>
                  <a:avLst/>
                  <a:gdLst>
                    <a:gd name="connsiteX0" fmla="*/ 0 w 76134"/>
                    <a:gd name="connsiteY0" fmla="*/ 1435 h 40848"/>
                    <a:gd name="connsiteX1" fmla="*/ 2452 w 76134"/>
                    <a:gd name="connsiteY1" fmla="*/ 0 h 40848"/>
                    <a:gd name="connsiteX2" fmla="*/ 5323 w 76134"/>
                    <a:gd name="connsiteY2" fmla="*/ 0 h 40848"/>
                    <a:gd name="connsiteX3" fmla="*/ 7476 w 76134"/>
                    <a:gd name="connsiteY3" fmla="*/ 0 h 40848"/>
                    <a:gd name="connsiteX4" fmla="*/ 10227 w 76134"/>
                    <a:gd name="connsiteY4" fmla="*/ 598 h 40848"/>
                    <a:gd name="connsiteX5" fmla="*/ 12978 w 76134"/>
                    <a:gd name="connsiteY5" fmla="*/ 1196 h 40848"/>
                    <a:gd name="connsiteX6" fmla="*/ 14832 w 76134"/>
                    <a:gd name="connsiteY6" fmla="*/ 1615 h 40848"/>
                    <a:gd name="connsiteX7" fmla="*/ 17464 w 76134"/>
                    <a:gd name="connsiteY7" fmla="*/ 2512 h 40848"/>
                    <a:gd name="connsiteX8" fmla="*/ 20095 w 76134"/>
                    <a:gd name="connsiteY8" fmla="*/ 3409 h 40848"/>
                    <a:gd name="connsiteX9" fmla="*/ 22727 w 76134"/>
                    <a:gd name="connsiteY9" fmla="*/ 4306 h 40848"/>
                    <a:gd name="connsiteX10" fmla="*/ 23983 w 76134"/>
                    <a:gd name="connsiteY10" fmla="*/ 4725 h 40848"/>
                    <a:gd name="connsiteX11" fmla="*/ 26554 w 76134"/>
                    <a:gd name="connsiteY11" fmla="*/ 5801 h 40848"/>
                    <a:gd name="connsiteX12" fmla="*/ 29126 w 76134"/>
                    <a:gd name="connsiteY12" fmla="*/ 6878 h 40848"/>
                    <a:gd name="connsiteX13" fmla="*/ 31698 w 76134"/>
                    <a:gd name="connsiteY13" fmla="*/ 7954 h 40848"/>
                    <a:gd name="connsiteX14" fmla="*/ 34269 w 76134"/>
                    <a:gd name="connsiteY14" fmla="*/ 9031 h 40848"/>
                    <a:gd name="connsiteX15" fmla="*/ 34389 w 76134"/>
                    <a:gd name="connsiteY15" fmla="*/ 9091 h 40848"/>
                    <a:gd name="connsiteX16" fmla="*/ 36901 w 76134"/>
                    <a:gd name="connsiteY16" fmla="*/ 10347 h 40848"/>
                    <a:gd name="connsiteX17" fmla="*/ 39413 w 76134"/>
                    <a:gd name="connsiteY17" fmla="*/ 11603 h 40848"/>
                    <a:gd name="connsiteX18" fmla="*/ 41925 w 76134"/>
                    <a:gd name="connsiteY18" fmla="*/ 12859 h 40848"/>
                    <a:gd name="connsiteX19" fmla="*/ 44437 w 76134"/>
                    <a:gd name="connsiteY19" fmla="*/ 14114 h 40848"/>
                    <a:gd name="connsiteX20" fmla="*/ 45154 w 76134"/>
                    <a:gd name="connsiteY20" fmla="*/ 14473 h 40848"/>
                    <a:gd name="connsiteX21" fmla="*/ 47546 w 76134"/>
                    <a:gd name="connsiteY21" fmla="*/ 15849 h 40848"/>
                    <a:gd name="connsiteX22" fmla="*/ 49939 w 76134"/>
                    <a:gd name="connsiteY22" fmla="*/ 17225 h 40848"/>
                    <a:gd name="connsiteX23" fmla="*/ 52331 w 76134"/>
                    <a:gd name="connsiteY23" fmla="*/ 18600 h 40848"/>
                    <a:gd name="connsiteX24" fmla="*/ 54723 w 76134"/>
                    <a:gd name="connsiteY24" fmla="*/ 19976 h 40848"/>
                    <a:gd name="connsiteX25" fmla="*/ 55142 w 76134"/>
                    <a:gd name="connsiteY25" fmla="*/ 20215 h 40848"/>
                    <a:gd name="connsiteX26" fmla="*/ 57475 w 76134"/>
                    <a:gd name="connsiteY26" fmla="*/ 21770 h 40848"/>
                    <a:gd name="connsiteX27" fmla="*/ 59807 w 76134"/>
                    <a:gd name="connsiteY27" fmla="*/ 23325 h 40848"/>
                    <a:gd name="connsiteX28" fmla="*/ 62139 w 76134"/>
                    <a:gd name="connsiteY28" fmla="*/ 24880 h 40848"/>
                    <a:gd name="connsiteX29" fmla="*/ 63814 w 76134"/>
                    <a:gd name="connsiteY29" fmla="*/ 26016 h 40848"/>
                    <a:gd name="connsiteX30" fmla="*/ 65967 w 76134"/>
                    <a:gd name="connsiteY30" fmla="*/ 27811 h 40848"/>
                    <a:gd name="connsiteX31" fmla="*/ 68120 w 76134"/>
                    <a:gd name="connsiteY31" fmla="*/ 29605 h 40848"/>
                    <a:gd name="connsiteX32" fmla="*/ 70333 w 76134"/>
                    <a:gd name="connsiteY32" fmla="*/ 31399 h 40848"/>
                    <a:gd name="connsiteX33" fmla="*/ 70991 w 76134"/>
                    <a:gd name="connsiteY33" fmla="*/ 32116 h 40848"/>
                    <a:gd name="connsiteX34" fmla="*/ 72905 w 76134"/>
                    <a:gd name="connsiteY34" fmla="*/ 34210 h 40848"/>
                    <a:gd name="connsiteX35" fmla="*/ 74819 w 76134"/>
                    <a:gd name="connsiteY35" fmla="*/ 36303 h 40848"/>
                    <a:gd name="connsiteX36" fmla="*/ 76134 w 76134"/>
                    <a:gd name="connsiteY36" fmla="*/ 37798 h 40848"/>
                    <a:gd name="connsiteX37" fmla="*/ 76134 w 76134"/>
                    <a:gd name="connsiteY37" fmla="*/ 40848 h 4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6134" h="40848">
                      <a:moveTo>
                        <a:pt x="0" y="1435"/>
                      </a:moveTo>
                      <a:lnTo>
                        <a:pt x="2452" y="0"/>
                      </a:lnTo>
                      <a:lnTo>
                        <a:pt x="5323" y="0"/>
                      </a:lnTo>
                      <a:lnTo>
                        <a:pt x="7476" y="0"/>
                      </a:lnTo>
                      <a:lnTo>
                        <a:pt x="10227" y="598"/>
                      </a:lnTo>
                      <a:lnTo>
                        <a:pt x="12978" y="1196"/>
                      </a:lnTo>
                      <a:lnTo>
                        <a:pt x="14832" y="1615"/>
                      </a:lnTo>
                      <a:lnTo>
                        <a:pt x="17464" y="2512"/>
                      </a:lnTo>
                      <a:lnTo>
                        <a:pt x="20095" y="3409"/>
                      </a:lnTo>
                      <a:lnTo>
                        <a:pt x="22727" y="4306"/>
                      </a:lnTo>
                      <a:lnTo>
                        <a:pt x="23983" y="4725"/>
                      </a:lnTo>
                      <a:lnTo>
                        <a:pt x="26554" y="5801"/>
                      </a:lnTo>
                      <a:lnTo>
                        <a:pt x="29126" y="6878"/>
                      </a:lnTo>
                      <a:lnTo>
                        <a:pt x="31698" y="7954"/>
                      </a:lnTo>
                      <a:lnTo>
                        <a:pt x="34269" y="9031"/>
                      </a:lnTo>
                      <a:lnTo>
                        <a:pt x="34389" y="9091"/>
                      </a:lnTo>
                      <a:lnTo>
                        <a:pt x="36901" y="10347"/>
                      </a:lnTo>
                      <a:lnTo>
                        <a:pt x="39413" y="11603"/>
                      </a:lnTo>
                      <a:lnTo>
                        <a:pt x="41925" y="12859"/>
                      </a:lnTo>
                      <a:lnTo>
                        <a:pt x="44437" y="14114"/>
                      </a:lnTo>
                      <a:lnTo>
                        <a:pt x="45154" y="14473"/>
                      </a:lnTo>
                      <a:lnTo>
                        <a:pt x="47546" y="15849"/>
                      </a:lnTo>
                      <a:lnTo>
                        <a:pt x="49939" y="17225"/>
                      </a:lnTo>
                      <a:lnTo>
                        <a:pt x="52331" y="18600"/>
                      </a:lnTo>
                      <a:lnTo>
                        <a:pt x="54723" y="19976"/>
                      </a:lnTo>
                      <a:lnTo>
                        <a:pt x="55142" y="20215"/>
                      </a:lnTo>
                      <a:lnTo>
                        <a:pt x="57475" y="21770"/>
                      </a:lnTo>
                      <a:lnTo>
                        <a:pt x="59807" y="23325"/>
                      </a:lnTo>
                      <a:lnTo>
                        <a:pt x="62139" y="24880"/>
                      </a:lnTo>
                      <a:lnTo>
                        <a:pt x="63814" y="26016"/>
                      </a:lnTo>
                      <a:lnTo>
                        <a:pt x="65967" y="27811"/>
                      </a:lnTo>
                      <a:lnTo>
                        <a:pt x="68120" y="29605"/>
                      </a:lnTo>
                      <a:lnTo>
                        <a:pt x="70333" y="31399"/>
                      </a:lnTo>
                      <a:lnTo>
                        <a:pt x="70991" y="32116"/>
                      </a:lnTo>
                      <a:lnTo>
                        <a:pt x="72905" y="34210"/>
                      </a:lnTo>
                      <a:lnTo>
                        <a:pt x="74819" y="36303"/>
                      </a:lnTo>
                      <a:lnTo>
                        <a:pt x="76134" y="37798"/>
                      </a:lnTo>
                      <a:lnTo>
                        <a:pt x="76134" y="40848"/>
                      </a:lnTo>
                    </a:path>
                  </a:pathLst>
                </a:custGeom>
                <a:noFill/>
                <a:ln w="6350" cap="flat">
                  <a:solidFill>
                    <a:schemeClr val="bg1">
                      <a:alpha val="80000"/>
                    </a:schemeClr>
                  </a:solidFill>
                  <a:prstDash val="solid"/>
                  <a:miter/>
                </a:ln>
              </p:spPr>
              <p:txBody>
                <a:bodyPr rtlCol="0" anchor="ctr"/>
                <a:lstStyle/>
                <a:p>
                  <a:endParaRPr lang="en-GB"/>
                </a:p>
              </p:txBody>
            </p:sp>
            <p:sp>
              <p:nvSpPr>
                <p:cNvPr id="7809" name="Vrije vorm: vorm 7808">
                  <a:extLst>
                    <a:ext uri="{FF2B5EF4-FFF2-40B4-BE49-F238E27FC236}">
                      <a16:creationId xmlns:a16="http://schemas.microsoft.com/office/drawing/2014/main" id="{F56BCC7C-EAE5-441F-9F70-CD8907B19717}"/>
                    </a:ext>
                  </a:extLst>
                </p:cNvPr>
                <p:cNvSpPr/>
                <p:nvPr/>
              </p:nvSpPr>
              <p:spPr>
                <a:xfrm>
                  <a:off x="5866270" y="5218578"/>
                  <a:ext cx="897" cy="1854"/>
                </a:xfrm>
                <a:custGeom>
                  <a:avLst/>
                  <a:gdLst>
                    <a:gd name="connsiteX0" fmla="*/ 0 w 897"/>
                    <a:gd name="connsiteY0" fmla="*/ 0 h 1854"/>
                    <a:gd name="connsiteX1" fmla="*/ 598 w 897"/>
                    <a:gd name="connsiteY1" fmla="*/ 718 h 1854"/>
                    <a:gd name="connsiteX2" fmla="*/ 897 w 897"/>
                    <a:gd name="connsiteY2" fmla="*/ 1854 h 1854"/>
                  </a:gdLst>
                  <a:ahLst/>
                  <a:cxnLst>
                    <a:cxn ang="0">
                      <a:pos x="connsiteX0" y="connsiteY0"/>
                    </a:cxn>
                    <a:cxn ang="0">
                      <a:pos x="connsiteX1" y="connsiteY1"/>
                    </a:cxn>
                    <a:cxn ang="0">
                      <a:pos x="connsiteX2" y="connsiteY2"/>
                    </a:cxn>
                  </a:cxnLst>
                  <a:rect l="l" t="t" r="r" b="b"/>
                  <a:pathLst>
                    <a:path w="897" h="1854">
                      <a:moveTo>
                        <a:pt x="0" y="0"/>
                      </a:moveTo>
                      <a:lnTo>
                        <a:pt x="598" y="718"/>
                      </a:lnTo>
                      <a:lnTo>
                        <a:pt x="897" y="1854"/>
                      </a:lnTo>
                    </a:path>
                  </a:pathLst>
                </a:custGeom>
                <a:noFill/>
                <a:ln w="6350" cap="flat">
                  <a:solidFill>
                    <a:schemeClr val="bg1">
                      <a:alpha val="80000"/>
                    </a:schemeClr>
                  </a:solidFill>
                  <a:prstDash val="solid"/>
                  <a:miter/>
                </a:ln>
              </p:spPr>
              <p:txBody>
                <a:bodyPr rtlCol="0" anchor="ctr"/>
                <a:lstStyle/>
                <a:p>
                  <a:endParaRPr lang="en-GB"/>
                </a:p>
              </p:txBody>
            </p:sp>
            <p:sp>
              <p:nvSpPr>
                <p:cNvPr id="7810" name="Vrije vorm: vorm 7809">
                  <a:extLst>
                    <a:ext uri="{FF2B5EF4-FFF2-40B4-BE49-F238E27FC236}">
                      <a16:creationId xmlns:a16="http://schemas.microsoft.com/office/drawing/2014/main" id="{4534D8B5-4FB9-4D1B-A915-F19B1F0B3DF7}"/>
                    </a:ext>
                  </a:extLst>
                </p:cNvPr>
                <p:cNvSpPr/>
                <p:nvPr/>
              </p:nvSpPr>
              <p:spPr>
                <a:xfrm>
                  <a:off x="5865015" y="5218459"/>
                  <a:ext cx="298" cy="1136"/>
                </a:xfrm>
                <a:custGeom>
                  <a:avLst/>
                  <a:gdLst>
                    <a:gd name="connsiteX0" fmla="*/ 299 w 298"/>
                    <a:gd name="connsiteY0" fmla="*/ 1136 h 1136"/>
                    <a:gd name="connsiteX1" fmla="*/ 0 w 298"/>
                    <a:gd name="connsiteY1" fmla="*/ 0 h 1136"/>
                  </a:gdLst>
                  <a:ahLst/>
                  <a:cxnLst>
                    <a:cxn ang="0">
                      <a:pos x="connsiteX0" y="connsiteY0"/>
                    </a:cxn>
                    <a:cxn ang="0">
                      <a:pos x="connsiteX1" y="connsiteY1"/>
                    </a:cxn>
                  </a:cxnLst>
                  <a:rect l="l" t="t" r="r" b="b"/>
                  <a:pathLst>
                    <a:path w="298" h="1136">
                      <a:moveTo>
                        <a:pt x="299" y="1136"/>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11" name="Vrije vorm: vorm 7810">
                  <a:extLst>
                    <a:ext uri="{FF2B5EF4-FFF2-40B4-BE49-F238E27FC236}">
                      <a16:creationId xmlns:a16="http://schemas.microsoft.com/office/drawing/2014/main" id="{565381C4-B779-40E9-8209-CCDF6CAD51BF}"/>
                    </a:ext>
                  </a:extLst>
                </p:cNvPr>
                <p:cNvSpPr/>
                <p:nvPr/>
              </p:nvSpPr>
              <p:spPr>
                <a:xfrm>
                  <a:off x="5853831" y="5180481"/>
                  <a:ext cx="7894" cy="16626"/>
                </a:xfrm>
                <a:custGeom>
                  <a:avLst/>
                  <a:gdLst>
                    <a:gd name="connsiteX0" fmla="*/ 7895 w 7894"/>
                    <a:gd name="connsiteY0" fmla="*/ 16627 h 16626"/>
                    <a:gd name="connsiteX1" fmla="*/ 7775 w 7894"/>
                    <a:gd name="connsiteY1" fmla="*/ 16567 h 16626"/>
                    <a:gd name="connsiteX2" fmla="*/ 5562 w 7894"/>
                    <a:gd name="connsiteY2" fmla="*/ 14832 h 16626"/>
                    <a:gd name="connsiteX3" fmla="*/ 3349 w 7894"/>
                    <a:gd name="connsiteY3" fmla="*/ 13098 h 16626"/>
                    <a:gd name="connsiteX4" fmla="*/ 1136 w 7894"/>
                    <a:gd name="connsiteY4" fmla="*/ 11364 h 16626"/>
                    <a:gd name="connsiteX5" fmla="*/ 179 w 7894"/>
                    <a:gd name="connsiteY5" fmla="*/ 10646 h 16626"/>
                    <a:gd name="connsiteX6" fmla="*/ 119 w 7894"/>
                    <a:gd name="connsiteY6" fmla="*/ 10586 h 16626"/>
                    <a:gd name="connsiteX7" fmla="*/ 60 w 7894"/>
                    <a:gd name="connsiteY7" fmla="*/ 10466 h 16626"/>
                    <a:gd name="connsiteX8" fmla="*/ 0 w 7894"/>
                    <a:gd name="connsiteY8" fmla="*/ 10347 h 16626"/>
                    <a:gd name="connsiteX9" fmla="*/ 0 w 7894"/>
                    <a:gd name="connsiteY9" fmla="*/ 10167 h 16626"/>
                    <a:gd name="connsiteX10" fmla="*/ 0 w 7894"/>
                    <a:gd name="connsiteY10" fmla="*/ 9988 h 16626"/>
                    <a:gd name="connsiteX11" fmla="*/ 0 w 7894"/>
                    <a:gd name="connsiteY11" fmla="*/ 9749 h 16626"/>
                    <a:gd name="connsiteX12" fmla="*/ 60 w 7894"/>
                    <a:gd name="connsiteY12" fmla="*/ 9510 h 16626"/>
                    <a:gd name="connsiteX13" fmla="*/ 119 w 7894"/>
                    <a:gd name="connsiteY13" fmla="*/ 9270 h 16626"/>
                    <a:gd name="connsiteX14" fmla="*/ 179 w 7894"/>
                    <a:gd name="connsiteY14" fmla="*/ 9031 h 16626"/>
                    <a:gd name="connsiteX15" fmla="*/ 299 w 7894"/>
                    <a:gd name="connsiteY15" fmla="*/ 8792 h 16626"/>
                    <a:gd name="connsiteX16" fmla="*/ 419 w 7894"/>
                    <a:gd name="connsiteY16" fmla="*/ 8552 h 16626"/>
                    <a:gd name="connsiteX17" fmla="*/ 538 w 7894"/>
                    <a:gd name="connsiteY17" fmla="*/ 8313 h 16626"/>
                    <a:gd name="connsiteX18" fmla="*/ 2093 w 7894"/>
                    <a:gd name="connsiteY18" fmla="*/ 5263 h 16626"/>
                    <a:gd name="connsiteX19" fmla="*/ 3648 w 7894"/>
                    <a:gd name="connsiteY19" fmla="*/ 2213 h 16626"/>
                    <a:gd name="connsiteX20" fmla="*/ 4067 w 7894"/>
                    <a:gd name="connsiteY20" fmla="*/ 1435 h 16626"/>
                    <a:gd name="connsiteX21" fmla="*/ 4187 w 7894"/>
                    <a:gd name="connsiteY21" fmla="*/ 1196 h 16626"/>
                    <a:gd name="connsiteX22" fmla="*/ 4306 w 7894"/>
                    <a:gd name="connsiteY22" fmla="*/ 957 h 16626"/>
                    <a:gd name="connsiteX23" fmla="*/ 4486 w 7894"/>
                    <a:gd name="connsiteY23" fmla="*/ 718 h 16626"/>
                    <a:gd name="connsiteX24" fmla="*/ 4665 w 7894"/>
                    <a:gd name="connsiteY24" fmla="*/ 538 h 16626"/>
                    <a:gd name="connsiteX25" fmla="*/ 4844 w 7894"/>
                    <a:gd name="connsiteY25" fmla="*/ 359 h 16626"/>
                    <a:gd name="connsiteX26" fmla="*/ 5024 w 7894"/>
                    <a:gd name="connsiteY26" fmla="*/ 239 h 16626"/>
                    <a:gd name="connsiteX27" fmla="*/ 5203 w 7894"/>
                    <a:gd name="connsiteY27" fmla="*/ 120 h 16626"/>
                    <a:gd name="connsiteX28" fmla="*/ 5382 w 7894"/>
                    <a:gd name="connsiteY28" fmla="*/ 60 h 16626"/>
                    <a:gd name="connsiteX29" fmla="*/ 5502 w 7894"/>
                    <a:gd name="connsiteY29" fmla="*/ 0 h 16626"/>
                    <a:gd name="connsiteX30" fmla="*/ 5622 w 7894"/>
                    <a:gd name="connsiteY30" fmla="*/ 0 h 16626"/>
                    <a:gd name="connsiteX31" fmla="*/ 5741 w 7894"/>
                    <a:gd name="connsiteY31" fmla="*/ 0 h 1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894" h="16626">
                      <a:moveTo>
                        <a:pt x="7895" y="16627"/>
                      </a:moveTo>
                      <a:lnTo>
                        <a:pt x="7775" y="16567"/>
                      </a:lnTo>
                      <a:lnTo>
                        <a:pt x="5562" y="14832"/>
                      </a:lnTo>
                      <a:lnTo>
                        <a:pt x="3349" y="13098"/>
                      </a:lnTo>
                      <a:lnTo>
                        <a:pt x="1136" y="11364"/>
                      </a:lnTo>
                      <a:lnTo>
                        <a:pt x="179" y="10646"/>
                      </a:lnTo>
                      <a:lnTo>
                        <a:pt x="119" y="10586"/>
                      </a:lnTo>
                      <a:lnTo>
                        <a:pt x="60" y="10466"/>
                      </a:lnTo>
                      <a:lnTo>
                        <a:pt x="0" y="10347"/>
                      </a:lnTo>
                      <a:lnTo>
                        <a:pt x="0" y="10167"/>
                      </a:lnTo>
                      <a:lnTo>
                        <a:pt x="0" y="9988"/>
                      </a:lnTo>
                      <a:lnTo>
                        <a:pt x="0" y="9749"/>
                      </a:lnTo>
                      <a:lnTo>
                        <a:pt x="60" y="9510"/>
                      </a:lnTo>
                      <a:lnTo>
                        <a:pt x="119" y="9270"/>
                      </a:lnTo>
                      <a:lnTo>
                        <a:pt x="179" y="9031"/>
                      </a:lnTo>
                      <a:lnTo>
                        <a:pt x="299" y="8792"/>
                      </a:lnTo>
                      <a:lnTo>
                        <a:pt x="419" y="8552"/>
                      </a:lnTo>
                      <a:lnTo>
                        <a:pt x="538" y="8313"/>
                      </a:lnTo>
                      <a:lnTo>
                        <a:pt x="2093" y="5263"/>
                      </a:lnTo>
                      <a:lnTo>
                        <a:pt x="3648" y="2213"/>
                      </a:lnTo>
                      <a:lnTo>
                        <a:pt x="4067" y="1435"/>
                      </a:lnTo>
                      <a:lnTo>
                        <a:pt x="4187" y="1196"/>
                      </a:lnTo>
                      <a:lnTo>
                        <a:pt x="4306" y="957"/>
                      </a:lnTo>
                      <a:lnTo>
                        <a:pt x="4486" y="718"/>
                      </a:lnTo>
                      <a:lnTo>
                        <a:pt x="4665" y="538"/>
                      </a:lnTo>
                      <a:lnTo>
                        <a:pt x="4844" y="359"/>
                      </a:lnTo>
                      <a:lnTo>
                        <a:pt x="5024" y="239"/>
                      </a:lnTo>
                      <a:lnTo>
                        <a:pt x="5203" y="120"/>
                      </a:lnTo>
                      <a:lnTo>
                        <a:pt x="5382" y="60"/>
                      </a:lnTo>
                      <a:lnTo>
                        <a:pt x="5502" y="0"/>
                      </a:lnTo>
                      <a:lnTo>
                        <a:pt x="5622" y="0"/>
                      </a:lnTo>
                      <a:lnTo>
                        <a:pt x="5741" y="0"/>
                      </a:lnTo>
                    </a:path>
                  </a:pathLst>
                </a:custGeom>
                <a:noFill/>
                <a:ln w="6350" cap="flat">
                  <a:solidFill>
                    <a:schemeClr val="bg1">
                      <a:alpha val="80000"/>
                    </a:schemeClr>
                  </a:solidFill>
                  <a:prstDash val="solid"/>
                  <a:miter/>
                </a:ln>
              </p:spPr>
              <p:txBody>
                <a:bodyPr rtlCol="0" anchor="ctr"/>
                <a:lstStyle/>
                <a:p>
                  <a:endParaRPr lang="en-GB"/>
                </a:p>
              </p:txBody>
            </p:sp>
            <p:sp>
              <p:nvSpPr>
                <p:cNvPr id="7812" name="Vrije vorm: vorm 7811">
                  <a:extLst>
                    <a:ext uri="{FF2B5EF4-FFF2-40B4-BE49-F238E27FC236}">
                      <a16:creationId xmlns:a16="http://schemas.microsoft.com/office/drawing/2014/main" id="{AF2B3584-49A7-4CDB-B21A-AB809BCB7990}"/>
                    </a:ext>
                  </a:extLst>
                </p:cNvPr>
                <p:cNvSpPr/>
                <p:nvPr/>
              </p:nvSpPr>
              <p:spPr>
                <a:xfrm>
                  <a:off x="5859452" y="5180362"/>
                  <a:ext cx="2033" cy="777"/>
                </a:xfrm>
                <a:custGeom>
                  <a:avLst/>
                  <a:gdLst>
                    <a:gd name="connsiteX0" fmla="*/ 0 w 2033"/>
                    <a:gd name="connsiteY0" fmla="*/ 0 h 777"/>
                    <a:gd name="connsiteX1" fmla="*/ 2033 w 2033"/>
                    <a:gd name="connsiteY1" fmla="*/ 777 h 777"/>
                  </a:gdLst>
                  <a:ahLst/>
                  <a:cxnLst>
                    <a:cxn ang="0">
                      <a:pos x="connsiteX0" y="connsiteY0"/>
                    </a:cxn>
                    <a:cxn ang="0">
                      <a:pos x="connsiteX1" y="connsiteY1"/>
                    </a:cxn>
                  </a:cxnLst>
                  <a:rect l="l" t="t" r="r" b="b"/>
                  <a:pathLst>
                    <a:path w="2033" h="777">
                      <a:moveTo>
                        <a:pt x="0" y="0"/>
                      </a:moveTo>
                      <a:lnTo>
                        <a:pt x="2033" y="777"/>
                      </a:lnTo>
                    </a:path>
                  </a:pathLst>
                </a:custGeom>
                <a:noFill/>
                <a:ln w="6350" cap="flat">
                  <a:solidFill>
                    <a:schemeClr val="bg1">
                      <a:alpha val="80000"/>
                    </a:schemeClr>
                  </a:solidFill>
                  <a:prstDash val="solid"/>
                  <a:miter/>
                </a:ln>
              </p:spPr>
              <p:txBody>
                <a:bodyPr rtlCol="0" anchor="ctr"/>
                <a:lstStyle/>
                <a:p>
                  <a:endParaRPr lang="en-GB"/>
                </a:p>
              </p:txBody>
            </p:sp>
            <p:sp>
              <p:nvSpPr>
                <p:cNvPr id="7813" name="Vrije vorm: vorm 7812">
                  <a:extLst>
                    <a:ext uri="{FF2B5EF4-FFF2-40B4-BE49-F238E27FC236}">
                      <a16:creationId xmlns:a16="http://schemas.microsoft.com/office/drawing/2014/main" id="{E22AA099-FE09-4704-990A-EDE9F3A42401}"/>
                    </a:ext>
                  </a:extLst>
                </p:cNvPr>
                <p:cNvSpPr/>
                <p:nvPr/>
              </p:nvSpPr>
              <p:spPr>
                <a:xfrm>
                  <a:off x="5858017" y="5155482"/>
                  <a:ext cx="7296" cy="6698"/>
                </a:xfrm>
                <a:custGeom>
                  <a:avLst/>
                  <a:gdLst>
                    <a:gd name="connsiteX0" fmla="*/ 7296 w 7296"/>
                    <a:gd name="connsiteY0" fmla="*/ 6698 h 6698"/>
                    <a:gd name="connsiteX1" fmla="*/ 6459 w 7296"/>
                    <a:gd name="connsiteY1" fmla="*/ 5921 h 6698"/>
                    <a:gd name="connsiteX2" fmla="*/ 4366 w 7296"/>
                    <a:gd name="connsiteY2" fmla="*/ 4007 h 6698"/>
                    <a:gd name="connsiteX3" fmla="*/ 2272 w 7296"/>
                    <a:gd name="connsiteY3" fmla="*/ 2093 h 6698"/>
                    <a:gd name="connsiteX4" fmla="*/ 179 w 7296"/>
                    <a:gd name="connsiteY4" fmla="*/ 180 h 6698"/>
                    <a:gd name="connsiteX5" fmla="*/ 0 w 7296"/>
                    <a:gd name="connsiteY5" fmla="*/ 0 h 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 h="6698">
                      <a:moveTo>
                        <a:pt x="7296" y="6698"/>
                      </a:moveTo>
                      <a:lnTo>
                        <a:pt x="6459" y="5921"/>
                      </a:lnTo>
                      <a:lnTo>
                        <a:pt x="4366" y="4007"/>
                      </a:lnTo>
                      <a:lnTo>
                        <a:pt x="2272" y="2093"/>
                      </a:lnTo>
                      <a:lnTo>
                        <a:pt x="179" y="18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14" name="Vrije vorm: vorm 7813">
                  <a:extLst>
                    <a:ext uri="{FF2B5EF4-FFF2-40B4-BE49-F238E27FC236}">
                      <a16:creationId xmlns:a16="http://schemas.microsoft.com/office/drawing/2014/main" id="{5A990C1C-DC5E-4AB3-9C97-8264CFF29BC8}"/>
                    </a:ext>
                  </a:extLst>
                </p:cNvPr>
                <p:cNvSpPr/>
                <p:nvPr/>
              </p:nvSpPr>
              <p:spPr>
                <a:xfrm>
                  <a:off x="5859692" y="5153389"/>
                  <a:ext cx="897" cy="1913"/>
                </a:xfrm>
                <a:custGeom>
                  <a:avLst/>
                  <a:gdLst>
                    <a:gd name="connsiteX0" fmla="*/ 897 w 897"/>
                    <a:gd name="connsiteY0" fmla="*/ 0 h 1913"/>
                    <a:gd name="connsiteX1" fmla="*/ 778 w 897"/>
                    <a:gd name="connsiteY1" fmla="*/ 0 h 1913"/>
                    <a:gd name="connsiteX2" fmla="*/ 658 w 897"/>
                    <a:gd name="connsiteY2" fmla="*/ 60 h 1913"/>
                    <a:gd name="connsiteX3" fmla="*/ 479 w 897"/>
                    <a:gd name="connsiteY3" fmla="*/ 179 h 1913"/>
                    <a:gd name="connsiteX4" fmla="*/ 359 w 897"/>
                    <a:gd name="connsiteY4" fmla="*/ 359 h 1913"/>
                    <a:gd name="connsiteX5" fmla="*/ 239 w 897"/>
                    <a:gd name="connsiteY5" fmla="*/ 598 h 1913"/>
                    <a:gd name="connsiteX6" fmla="*/ 120 w 897"/>
                    <a:gd name="connsiteY6" fmla="*/ 837 h 1913"/>
                    <a:gd name="connsiteX7" fmla="*/ 60 w 897"/>
                    <a:gd name="connsiteY7" fmla="*/ 1076 h 1913"/>
                    <a:gd name="connsiteX8" fmla="*/ 0 w 897"/>
                    <a:gd name="connsiteY8" fmla="*/ 1316 h 1913"/>
                    <a:gd name="connsiteX9" fmla="*/ 0 w 897"/>
                    <a:gd name="connsiteY9" fmla="*/ 1435 h 1913"/>
                    <a:gd name="connsiteX10" fmla="*/ 0 w 897"/>
                    <a:gd name="connsiteY10" fmla="*/ 1555 h 1913"/>
                    <a:gd name="connsiteX11" fmla="*/ 60 w 897"/>
                    <a:gd name="connsiteY11" fmla="*/ 1734 h 1913"/>
                    <a:gd name="connsiteX12" fmla="*/ 120 w 897"/>
                    <a:gd name="connsiteY12" fmla="*/ 1854 h 1913"/>
                    <a:gd name="connsiteX13" fmla="*/ 239 w 897"/>
                    <a:gd name="connsiteY13" fmla="*/ 1914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7" h="1913">
                      <a:moveTo>
                        <a:pt x="897" y="0"/>
                      </a:moveTo>
                      <a:lnTo>
                        <a:pt x="778" y="0"/>
                      </a:lnTo>
                      <a:lnTo>
                        <a:pt x="658" y="60"/>
                      </a:lnTo>
                      <a:lnTo>
                        <a:pt x="479" y="179"/>
                      </a:lnTo>
                      <a:lnTo>
                        <a:pt x="359" y="359"/>
                      </a:lnTo>
                      <a:lnTo>
                        <a:pt x="239" y="598"/>
                      </a:lnTo>
                      <a:lnTo>
                        <a:pt x="120" y="837"/>
                      </a:lnTo>
                      <a:lnTo>
                        <a:pt x="60" y="1076"/>
                      </a:lnTo>
                      <a:lnTo>
                        <a:pt x="0" y="1316"/>
                      </a:lnTo>
                      <a:lnTo>
                        <a:pt x="0" y="1435"/>
                      </a:lnTo>
                      <a:lnTo>
                        <a:pt x="0" y="1555"/>
                      </a:lnTo>
                      <a:lnTo>
                        <a:pt x="60" y="1734"/>
                      </a:lnTo>
                      <a:lnTo>
                        <a:pt x="120" y="1854"/>
                      </a:lnTo>
                      <a:lnTo>
                        <a:pt x="239" y="1914"/>
                      </a:lnTo>
                    </a:path>
                  </a:pathLst>
                </a:custGeom>
                <a:noFill/>
                <a:ln w="6350" cap="flat">
                  <a:solidFill>
                    <a:schemeClr val="bg1">
                      <a:alpha val="80000"/>
                    </a:schemeClr>
                  </a:solidFill>
                  <a:prstDash val="solid"/>
                  <a:miter/>
                </a:ln>
              </p:spPr>
              <p:txBody>
                <a:bodyPr rtlCol="0" anchor="ctr"/>
                <a:lstStyle/>
                <a:p>
                  <a:endParaRPr lang="en-GB"/>
                </a:p>
              </p:txBody>
            </p:sp>
            <p:sp>
              <p:nvSpPr>
                <p:cNvPr id="7815" name="Vrije vorm: vorm 7814">
                  <a:extLst>
                    <a:ext uri="{FF2B5EF4-FFF2-40B4-BE49-F238E27FC236}">
                      <a16:creationId xmlns:a16="http://schemas.microsoft.com/office/drawing/2014/main" id="{F995F69C-9E95-44A8-B76C-2E401EFD215E}"/>
                    </a:ext>
                  </a:extLst>
                </p:cNvPr>
                <p:cNvSpPr/>
                <p:nvPr/>
              </p:nvSpPr>
              <p:spPr>
                <a:xfrm>
                  <a:off x="5857000" y="5151355"/>
                  <a:ext cx="7296" cy="10466"/>
                </a:xfrm>
                <a:custGeom>
                  <a:avLst/>
                  <a:gdLst>
                    <a:gd name="connsiteX0" fmla="*/ 7297 w 7296"/>
                    <a:gd name="connsiteY0" fmla="*/ 10466 h 10466"/>
                    <a:gd name="connsiteX1" fmla="*/ 5203 w 7296"/>
                    <a:gd name="connsiteY1" fmla="*/ 8552 h 10466"/>
                    <a:gd name="connsiteX2" fmla="*/ 3110 w 7296"/>
                    <a:gd name="connsiteY2" fmla="*/ 6639 h 10466"/>
                    <a:gd name="connsiteX3" fmla="*/ 1017 w 7296"/>
                    <a:gd name="connsiteY3" fmla="*/ 4725 h 10466"/>
                    <a:gd name="connsiteX4" fmla="*/ 0 w 7296"/>
                    <a:gd name="connsiteY4" fmla="*/ 3768 h 10466"/>
                    <a:gd name="connsiteX5" fmla="*/ 1076 w 7296"/>
                    <a:gd name="connsiteY5" fmla="*/ 4127 h 10466"/>
                    <a:gd name="connsiteX6" fmla="*/ 1615 w 7296"/>
                    <a:gd name="connsiteY6" fmla="*/ 3110 h 10466"/>
                    <a:gd name="connsiteX7" fmla="*/ 2392 w 7296"/>
                    <a:gd name="connsiteY7" fmla="*/ 1615 h 10466"/>
                    <a:gd name="connsiteX8" fmla="*/ 3170 w 7296"/>
                    <a:gd name="connsiteY8" fmla="*/ 0 h 1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6" h="10466">
                      <a:moveTo>
                        <a:pt x="7297" y="10466"/>
                      </a:moveTo>
                      <a:lnTo>
                        <a:pt x="5203" y="8552"/>
                      </a:lnTo>
                      <a:lnTo>
                        <a:pt x="3110" y="6639"/>
                      </a:lnTo>
                      <a:lnTo>
                        <a:pt x="1017" y="4725"/>
                      </a:lnTo>
                      <a:lnTo>
                        <a:pt x="0" y="3768"/>
                      </a:lnTo>
                      <a:lnTo>
                        <a:pt x="1076" y="4127"/>
                      </a:lnTo>
                      <a:lnTo>
                        <a:pt x="1615" y="3110"/>
                      </a:lnTo>
                      <a:lnTo>
                        <a:pt x="2392" y="1615"/>
                      </a:lnTo>
                      <a:lnTo>
                        <a:pt x="3170" y="0"/>
                      </a:lnTo>
                    </a:path>
                  </a:pathLst>
                </a:custGeom>
                <a:noFill/>
                <a:ln w="6350" cap="flat">
                  <a:solidFill>
                    <a:schemeClr val="bg1">
                      <a:alpha val="80000"/>
                    </a:schemeClr>
                  </a:solidFill>
                  <a:prstDash val="solid"/>
                  <a:miter/>
                </a:ln>
              </p:spPr>
              <p:txBody>
                <a:bodyPr rtlCol="0" anchor="ctr"/>
                <a:lstStyle/>
                <a:p>
                  <a:endParaRPr lang="en-GB"/>
                </a:p>
              </p:txBody>
            </p:sp>
            <p:sp>
              <p:nvSpPr>
                <p:cNvPr id="7816" name="Vrije vorm: vorm 7815">
                  <a:extLst>
                    <a:ext uri="{FF2B5EF4-FFF2-40B4-BE49-F238E27FC236}">
                      <a16:creationId xmlns:a16="http://schemas.microsoft.com/office/drawing/2014/main" id="{8E43ABBF-D21D-4B08-B7AA-34A86284CBB0}"/>
                    </a:ext>
                  </a:extLst>
                </p:cNvPr>
                <p:cNvSpPr/>
                <p:nvPr/>
              </p:nvSpPr>
              <p:spPr>
                <a:xfrm>
                  <a:off x="5859871" y="5153448"/>
                  <a:ext cx="896" cy="1913"/>
                </a:xfrm>
                <a:custGeom>
                  <a:avLst/>
                  <a:gdLst>
                    <a:gd name="connsiteX0" fmla="*/ 0 w 896"/>
                    <a:gd name="connsiteY0" fmla="*/ 1914 h 1913"/>
                    <a:gd name="connsiteX1" fmla="*/ 119 w 896"/>
                    <a:gd name="connsiteY1" fmla="*/ 1914 h 1913"/>
                    <a:gd name="connsiteX2" fmla="*/ 239 w 896"/>
                    <a:gd name="connsiteY2" fmla="*/ 1854 h 1913"/>
                    <a:gd name="connsiteX3" fmla="*/ 418 w 896"/>
                    <a:gd name="connsiteY3" fmla="*/ 1734 h 1913"/>
                    <a:gd name="connsiteX4" fmla="*/ 538 w 896"/>
                    <a:gd name="connsiteY4" fmla="*/ 1555 h 1913"/>
                    <a:gd name="connsiteX5" fmla="*/ 658 w 896"/>
                    <a:gd name="connsiteY5" fmla="*/ 1316 h 1913"/>
                    <a:gd name="connsiteX6" fmla="*/ 777 w 896"/>
                    <a:gd name="connsiteY6" fmla="*/ 1076 h 1913"/>
                    <a:gd name="connsiteX7" fmla="*/ 837 w 896"/>
                    <a:gd name="connsiteY7" fmla="*/ 837 h 1913"/>
                    <a:gd name="connsiteX8" fmla="*/ 897 w 896"/>
                    <a:gd name="connsiteY8" fmla="*/ 598 h 1913"/>
                    <a:gd name="connsiteX9" fmla="*/ 897 w 896"/>
                    <a:gd name="connsiteY9" fmla="*/ 359 h 1913"/>
                    <a:gd name="connsiteX10" fmla="*/ 837 w 896"/>
                    <a:gd name="connsiteY10" fmla="*/ 179 h 1913"/>
                    <a:gd name="connsiteX11" fmla="*/ 777 w 896"/>
                    <a:gd name="connsiteY11" fmla="*/ 60 h 1913"/>
                    <a:gd name="connsiteX12" fmla="*/ 658 w 896"/>
                    <a:gd name="connsiteY12" fmla="*/ 0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6" h="1913">
                      <a:moveTo>
                        <a:pt x="0" y="1914"/>
                      </a:moveTo>
                      <a:lnTo>
                        <a:pt x="119" y="1914"/>
                      </a:lnTo>
                      <a:lnTo>
                        <a:pt x="239" y="1854"/>
                      </a:lnTo>
                      <a:lnTo>
                        <a:pt x="418" y="1734"/>
                      </a:lnTo>
                      <a:lnTo>
                        <a:pt x="538" y="1555"/>
                      </a:lnTo>
                      <a:lnTo>
                        <a:pt x="658" y="1316"/>
                      </a:lnTo>
                      <a:lnTo>
                        <a:pt x="777" y="1076"/>
                      </a:lnTo>
                      <a:lnTo>
                        <a:pt x="837" y="837"/>
                      </a:lnTo>
                      <a:lnTo>
                        <a:pt x="897" y="598"/>
                      </a:lnTo>
                      <a:lnTo>
                        <a:pt x="897" y="359"/>
                      </a:lnTo>
                      <a:lnTo>
                        <a:pt x="837" y="179"/>
                      </a:lnTo>
                      <a:lnTo>
                        <a:pt x="777" y="60"/>
                      </a:lnTo>
                      <a:lnTo>
                        <a:pt x="658" y="0"/>
                      </a:lnTo>
                    </a:path>
                  </a:pathLst>
                </a:custGeom>
                <a:noFill/>
                <a:ln w="6350" cap="flat">
                  <a:solidFill>
                    <a:schemeClr val="bg1">
                      <a:alpha val="80000"/>
                    </a:schemeClr>
                  </a:solidFill>
                  <a:prstDash val="solid"/>
                  <a:miter/>
                </a:ln>
              </p:spPr>
              <p:txBody>
                <a:bodyPr rtlCol="0" anchor="ctr"/>
                <a:lstStyle/>
                <a:p>
                  <a:endParaRPr lang="en-GB"/>
                </a:p>
              </p:txBody>
            </p:sp>
            <p:sp>
              <p:nvSpPr>
                <p:cNvPr id="7817" name="Vrije vorm: vorm 7816">
                  <a:extLst>
                    <a:ext uri="{FF2B5EF4-FFF2-40B4-BE49-F238E27FC236}">
                      <a16:creationId xmlns:a16="http://schemas.microsoft.com/office/drawing/2014/main" id="{4D5A5516-D203-4324-B46E-23C88270092C}"/>
                    </a:ext>
                  </a:extLst>
                </p:cNvPr>
                <p:cNvSpPr/>
                <p:nvPr/>
              </p:nvSpPr>
              <p:spPr>
                <a:xfrm>
                  <a:off x="5864476" y="5157934"/>
                  <a:ext cx="1076" cy="1854"/>
                </a:xfrm>
                <a:custGeom>
                  <a:avLst/>
                  <a:gdLst>
                    <a:gd name="connsiteX0" fmla="*/ 239 w 1076"/>
                    <a:gd name="connsiteY0" fmla="*/ 1854 h 1854"/>
                    <a:gd name="connsiteX1" fmla="*/ 359 w 1076"/>
                    <a:gd name="connsiteY1" fmla="*/ 1854 h 1854"/>
                    <a:gd name="connsiteX2" fmla="*/ 479 w 1076"/>
                    <a:gd name="connsiteY2" fmla="*/ 1794 h 1854"/>
                    <a:gd name="connsiteX3" fmla="*/ 598 w 1076"/>
                    <a:gd name="connsiteY3" fmla="*/ 1674 h 1854"/>
                    <a:gd name="connsiteX4" fmla="*/ 718 w 1076"/>
                    <a:gd name="connsiteY4" fmla="*/ 1495 h 1854"/>
                    <a:gd name="connsiteX5" fmla="*/ 837 w 1076"/>
                    <a:gd name="connsiteY5" fmla="*/ 1256 h 1854"/>
                    <a:gd name="connsiteX6" fmla="*/ 957 w 1076"/>
                    <a:gd name="connsiteY6" fmla="*/ 1017 h 1854"/>
                    <a:gd name="connsiteX7" fmla="*/ 1017 w 1076"/>
                    <a:gd name="connsiteY7" fmla="*/ 777 h 1854"/>
                    <a:gd name="connsiteX8" fmla="*/ 1076 w 1076"/>
                    <a:gd name="connsiteY8" fmla="*/ 538 h 1854"/>
                    <a:gd name="connsiteX9" fmla="*/ 1076 w 1076"/>
                    <a:gd name="connsiteY9" fmla="*/ 359 h 1854"/>
                    <a:gd name="connsiteX10" fmla="*/ 1017 w 1076"/>
                    <a:gd name="connsiteY10" fmla="*/ 179 h 1854"/>
                    <a:gd name="connsiteX11" fmla="*/ 957 w 1076"/>
                    <a:gd name="connsiteY11" fmla="*/ 60 h 1854"/>
                    <a:gd name="connsiteX12" fmla="*/ 837 w 1076"/>
                    <a:gd name="connsiteY12" fmla="*/ 0 h 1854"/>
                    <a:gd name="connsiteX13" fmla="*/ 718 w 1076"/>
                    <a:gd name="connsiteY13" fmla="*/ 0 h 1854"/>
                    <a:gd name="connsiteX14" fmla="*/ 598 w 1076"/>
                    <a:gd name="connsiteY14" fmla="*/ 60 h 1854"/>
                    <a:gd name="connsiteX15" fmla="*/ 479 w 1076"/>
                    <a:gd name="connsiteY15" fmla="*/ 179 h 1854"/>
                    <a:gd name="connsiteX16" fmla="*/ 359 w 1076"/>
                    <a:gd name="connsiteY16" fmla="*/ 359 h 1854"/>
                    <a:gd name="connsiteX17" fmla="*/ 239 w 1076"/>
                    <a:gd name="connsiteY17" fmla="*/ 598 h 1854"/>
                    <a:gd name="connsiteX18" fmla="*/ 120 w 1076"/>
                    <a:gd name="connsiteY18" fmla="*/ 837 h 1854"/>
                    <a:gd name="connsiteX19" fmla="*/ 60 w 1076"/>
                    <a:gd name="connsiteY19" fmla="*/ 1076 h 1854"/>
                    <a:gd name="connsiteX20" fmla="*/ 0 w 1076"/>
                    <a:gd name="connsiteY20" fmla="*/ 1316 h 1854"/>
                    <a:gd name="connsiteX21" fmla="*/ 0 w 1076"/>
                    <a:gd name="connsiteY21" fmla="*/ 1435 h 1854"/>
                    <a:gd name="connsiteX22" fmla="*/ 0 w 1076"/>
                    <a:gd name="connsiteY22" fmla="*/ 1555 h 1854"/>
                    <a:gd name="connsiteX23" fmla="*/ 60 w 1076"/>
                    <a:gd name="connsiteY23" fmla="*/ 1734 h 1854"/>
                    <a:gd name="connsiteX24" fmla="*/ 120 w 1076"/>
                    <a:gd name="connsiteY24" fmla="*/ 1854 h 1854"/>
                    <a:gd name="connsiteX25" fmla="*/ 239 w 1076"/>
                    <a:gd name="connsiteY25" fmla="*/ 185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76" h="1854">
                      <a:moveTo>
                        <a:pt x="239" y="1854"/>
                      </a:moveTo>
                      <a:lnTo>
                        <a:pt x="359" y="1854"/>
                      </a:lnTo>
                      <a:lnTo>
                        <a:pt x="479" y="1794"/>
                      </a:lnTo>
                      <a:lnTo>
                        <a:pt x="598" y="1674"/>
                      </a:lnTo>
                      <a:lnTo>
                        <a:pt x="718" y="1495"/>
                      </a:lnTo>
                      <a:lnTo>
                        <a:pt x="837" y="1256"/>
                      </a:lnTo>
                      <a:lnTo>
                        <a:pt x="957" y="1017"/>
                      </a:lnTo>
                      <a:lnTo>
                        <a:pt x="1017" y="777"/>
                      </a:lnTo>
                      <a:lnTo>
                        <a:pt x="1076" y="538"/>
                      </a:lnTo>
                      <a:lnTo>
                        <a:pt x="1076" y="359"/>
                      </a:lnTo>
                      <a:lnTo>
                        <a:pt x="1017" y="179"/>
                      </a:lnTo>
                      <a:lnTo>
                        <a:pt x="957" y="60"/>
                      </a:lnTo>
                      <a:lnTo>
                        <a:pt x="837" y="0"/>
                      </a:lnTo>
                      <a:lnTo>
                        <a:pt x="718" y="0"/>
                      </a:lnTo>
                      <a:lnTo>
                        <a:pt x="598" y="60"/>
                      </a:lnTo>
                      <a:lnTo>
                        <a:pt x="479" y="179"/>
                      </a:lnTo>
                      <a:lnTo>
                        <a:pt x="359" y="359"/>
                      </a:lnTo>
                      <a:lnTo>
                        <a:pt x="239" y="598"/>
                      </a:lnTo>
                      <a:lnTo>
                        <a:pt x="120" y="837"/>
                      </a:lnTo>
                      <a:lnTo>
                        <a:pt x="60" y="1076"/>
                      </a:lnTo>
                      <a:lnTo>
                        <a:pt x="0" y="1316"/>
                      </a:lnTo>
                      <a:lnTo>
                        <a:pt x="0" y="1435"/>
                      </a:lnTo>
                      <a:lnTo>
                        <a:pt x="0" y="1555"/>
                      </a:lnTo>
                      <a:lnTo>
                        <a:pt x="60" y="1734"/>
                      </a:lnTo>
                      <a:lnTo>
                        <a:pt x="120" y="1854"/>
                      </a:lnTo>
                      <a:lnTo>
                        <a:pt x="239" y="1854"/>
                      </a:lnTo>
                    </a:path>
                  </a:pathLst>
                </a:custGeom>
                <a:noFill/>
                <a:ln w="6350" cap="flat">
                  <a:solidFill>
                    <a:schemeClr val="bg1">
                      <a:alpha val="80000"/>
                    </a:schemeClr>
                  </a:solidFill>
                  <a:prstDash val="solid"/>
                  <a:miter/>
                </a:ln>
              </p:spPr>
              <p:txBody>
                <a:bodyPr rtlCol="0" anchor="ctr"/>
                <a:lstStyle/>
                <a:p>
                  <a:endParaRPr lang="en-GB"/>
                </a:p>
              </p:txBody>
            </p:sp>
            <p:sp>
              <p:nvSpPr>
                <p:cNvPr id="7818" name="Vrije vorm: vorm 7817">
                  <a:extLst>
                    <a:ext uri="{FF2B5EF4-FFF2-40B4-BE49-F238E27FC236}">
                      <a16:creationId xmlns:a16="http://schemas.microsoft.com/office/drawing/2014/main" id="{CD00C148-B14C-4B53-AB2F-D183EC9CB48C}"/>
                    </a:ext>
                  </a:extLst>
                </p:cNvPr>
                <p:cNvSpPr/>
                <p:nvPr/>
              </p:nvSpPr>
              <p:spPr>
                <a:xfrm>
                  <a:off x="5862383" y="5155840"/>
                  <a:ext cx="837" cy="1913"/>
                </a:xfrm>
                <a:custGeom>
                  <a:avLst/>
                  <a:gdLst>
                    <a:gd name="connsiteX0" fmla="*/ 837 w 837"/>
                    <a:gd name="connsiteY0" fmla="*/ 0 h 1913"/>
                    <a:gd name="connsiteX1" fmla="*/ 718 w 837"/>
                    <a:gd name="connsiteY1" fmla="*/ 0 h 1913"/>
                    <a:gd name="connsiteX2" fmla="*/ 598 w 837"/>
                    <a:gd name="connsiteY2" fmla="*/ 60 h 1913"/>
                    <a:gd name="connsiteX3" fmla="*/ 479 w 837"/>
                    <a:gd name="connsiteY3" fmla="*/ 180 h 1913"/>
                    <a:gd name="connsiteX4" fmla="*/ 359 w 837"/>
                    <a:gd name="connsiteY4" fmla="*/ 359 h 1913"/>
                    <a:gd name="connsiteX5" fmla="*/ 239 w 837"/>
                    <a:gd name="connsiteY5" fmla="*/ 598 h 1913"/>
                    <a:gd name="connsiteX6" fmla="*/ 120 w 837"/>
                    <a:gd name="connsiteY6" fmla="*/ 837 h 1913"/>
                    <a:gd name="connsiteX7" fmla="*/ 60 w 837"/>
                    <a:gd name="connsiteY7" fmla="*/ 1076 h 1913"/>
                    <a:gd name="connsiteX8" fmla="*/ 0 w 837"/>
                    <a:gd name="connsiteY8" fmla="*/ 1316 h 1913"/>
                    <a:gd name="connsiteX9" fmla="*/ 0 w 837"/>
                    <a:gd name="connsiteY9" fmla="*/ 1435 h 1913"/>
                    <a:gd name="connsiteX10" fmla="*/ 0 w 837"/>
                    <a:gd name="connsiteY10" fmla="*/ 1555 h 1913"/>
                    <a:gd name="connsiteX11" fmla="*/ 60 w 837"/>
                    <a:gd name="connsiteY11" fmla="*/ 1734 h 1913"/>
                    <a:gd name="connsiteX12" fmla="*/ 120 w 837"/>
                    <a:gd name="connsiteY12" fmla="*/ 1854 h 1913"/>
                    <a:gd name="connsiteX13" fmla="*/ 239 w 837"/>
                    <a:gd name="connsiteY13" fmla="*/ 1914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 h="1913">
                      <a:moveTo>
                        <a:pt x="837" y="0"/>
                      </a:moveTo>
                      <a:lnTo>
                        <a:pt x="718" y="0"/>
                      </a:lnTo>
                      <a:lnTo>
                        <a:pt x="598" y="60"/>
                      </a:lnTo>
                      <a:lnTo>
                        <a:pt x="479" y="180"/>
                      </a:lnTo>
                      <a:lnTo>
                        <a:pt x="359" y="359"/>
                      </a:lnTo>
                      <a:lnTo>
                        <a:pt x="239" y="598"/>
                      </a:lnTo>
                      <a:lnTo>
                        <a:pt x="120" y="837"/>
                      </a:lnTo>
                      <a:lnTo>
                        <a:pt x="60" y="1076"/>
                      </a:lnTo>
                      <a:lnTo>
                        <a:pt x="0" y="1316"/>
                      </a:lnTo>
                      <a:lnTo>
                        <a:pt x="0" y="1435"/>
                      </a:lnTo>
                      <a:lnTo>
                        <a:pt x="0" y="1555"/>
                      </a:lnTo>
                      <a:lnTo>
                        <a:pt x="60" y="1734"/>
                      </a:lnTo>
                      <a:lnTo>
                        <a:pt x="120" y="1854"/>
                      </a:lnTo>
                      <a:lnTo>
                        <a:pt x="239" y="1914"/>
                      </a:lnTo>
                    </a:path>
                  </a:pathLst>
                </a:custGeom>
                <a:noFill/>
                <a:ln w="6350" cap="flat">
                  <a:solidFill>
                    <a:schemeClr val="bg1">
                      <a:alpha val="80000"/>
                    </a:schemeClr>
                  </a:solidFill>
                  <a:prstDash val="solid"/>
                  <a:miter/>
                </a:ln>
              </p:spPr>
              <p:txBody>
                <a:bodyPr rtlCol="0" anchor="ctr"/>
                <a:lstStyle/>
                <a:p>
                  <a:endParaRPr lang="en-GB"/>
                </a:p>
              </p:txBody>
            </p:sp>
            <p:sp>
              <p:nvSpPr>
                <p:cNvPr id="7819" name="Vrije vorm: vorm 7818">
                  <a:extLst>
                    <a:ext uri="{FF2B5EF4-FFF2-40B4-BE49-F238E27FC236}">
                      <a16:creationId xmlns:a16="http://schemas.microsoft.com/office/drawing/2014/main" id="{916D4019-56F7-4B72-A496-67F559CE69F4}"/>
                    </a:ext>
                  </a:extLst>
                </p:cNvPr>
                <p:cNvSpPr/>
                <p:nvPr/>
              </p:nvSpPr>
              <p:spPr>
                <a:xfrm>
                  <a:off x="5862443" y="5155900"/>
                  <a:ext cx="837" cy="1854"/>
                </a:xfrm>
                <a:custGeom>
                  <a:avLst/>
                  <a:gdLst>
                    <a:gd name="connsiteX0" fmla="*/ 0 w 837"/>
                    <a:gd name="connsiteY0" fmla="*/ 1854 h 1854"/>
                    <a:gd name="connsiteX1" fmla="*/ 119 w 837"/>
                    <a:gd name="connsiteY1" fmla="*/ 1854 h 1854"/>
                    <a:gd name="connsiteX2" fmla="*/ 239 w 837"/>
                    <a:gd name="connsiteY2" fmla="*/ 1794 h 1854"/>
                    <a:gd name="connsiteX3" fmla="*/ 359 w 837"/>
                    <a:gd name="connsiteY3" fmla="*/ 1674 h 1854"/>
                    <a:gd name="connsiteX4" fmla="*/ 478 w 837"/>
                    <a:gd name="connsiteY4" fmla="*/ 1495 h 1854"/>
                    <a:gd name="connsiteX5" fmla="*/ 598 w 837"/>
                    <a:gd name="connsiteY5" fmla="*/ 1256 h 1854"/>
                    <a:gd name="connsiteX6" fmla="*/ 718 w 837"/>
                    <a:gd name="connsiteY6" fmla="*/ 1017 h 1854"/>
                    <a:gd name="connsiteX7" fmla="*/ 778 w 837"/>
                    <a:gd name="connsiteY7" fmla="*/ 778 h 1854"/>
                    <a:gd name="connsiteX8" fmla="*/ 837 w 837"/>
                    <a:gd name="connsiteY8" fmla="*/ 538 h 1854"/>
                    <a:gd name="connsiteX9" fmla="*/ 837 w 837"/>
                    <a:gd name="connsiteY9" fmla="*/ 359 h 1854"/>
                    <a:gd name="connsiteX10" fmla="*/ 778 w 837"/>
                    <a:gd name="connsiteY10" fmla="*/ 179 h 1854"/>
                    <a:gd name="connsiteX11" fmla="*/ 718 w 837"/>
                    <a:gd name="connsiteY11" fmla="*/ 60 h 1854"/>
                    <a:gd name="connsiteX12" fmla="*/ 598 w 837"/>
                    <a:gd name="connsiteY12" fmla="*/ 0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7" h="1854">
                      <a:moveTo>
                        <a:pt x="0" y="1854"/>
                      </a:moveTo>
                      <a:lnTo>
                        <a:pt x="119" y="1854"/>
                      </a:lnTo>
                      <a:lnTo>
                        <a:pt x="239" y="1794"/>
                      </a:lnTo>
                      <a:lnTo>
                        <a:pt x="359" y="1674"/>
                      </a:lnTo>
                      <a:lnTo>
                        <a:pt x="478" y="1495"/>
                      </a:lnTo>
                      <a:lnTo>
                        <a:pt x="598" y="1256"/>
                      </a:lnTo>
                      <a:lnTo>
                        <a:pt x="718" y="1017"/>
                      </a:lnTo>
                      <a:lnTo>
                        <a:pt x="778" y="778"/>
                      </a:lnTo>
                      <a:lnTo>
                        <a:pt x="837" y="538"/>
                      </a:lnTo>
                      <a:lnTo>
                        <a:pt x="837" y="359"/>
                      </a:lnTo>
                      <a:lnTo>
                        <a:pt x="778" y="179"/>
                      </a:lnTo>
                      <a:lnTo>
                        <a:pt x="718" y="60"/>
                      </a:lnTo>
                      <a:lnTo>
                        <a:pt x="598" y="0"/>
                      </a:lnTo>
                    </a:path>
                  </a:pathLst>
                </a:custGeom>
                <a:noFill/>
                <a:ln w="6350" cap="flat">
                  <a:solidFill>
                    <a:schemeClr val="bg1">
                      <a:alpha val="80000"/>
                    </a:schemeClr>
                  </a:solidFill>
                  <a:prstDash val="solid"/>
                  <a:miter/>
                </a:ln>
              </p:spPr>
              <p:txBody>
                <a:bodyPr rtlCol="0" anchor="ctr"/>
                <a:lstStyle/>
                <a:p>
                  <a:endParaRPr lang="en-GB"/>
                </a:p>
              </p:txBody>
            </p:sp>
            <p:sp>
              <p:nvSpPr>
                <p:cNvPr id="7820" name="Vrije vorm: vorm 7819">
                  <a:extLst>
                    <a:ext uri="{FF2B5EF4-FFF2-40B4-BE49-F238E27FC236}">
                      <a16:creationId xmlns:a16="http://schemas.microsoft.com/office/drawing/2014/main" id="{2B45B8B4-3B40-483A-BB28-5999341C8763}"/>
                    </a:ext>
                  </a:extLst>
                </p:cNvPr>
                <p:cNvSpPr/>
                <p:nvPr/>
              </p:nvSpPr>
              <p:spPr>
                <a:xfrm>
                  <a:off x="5877275" y="5173544"/>
                  <a:ext cx="1674" cy="597"/>
                </a:xfrm>
                <a:custGeom>
                  <a:avLst/>
                  <a:gdLst>
                    <a:gd name="connsiteX0" fmla="*/ 0 w 1674"/>
                    <a:gd name="connsiteY0" fmla="*/ 0 h 597"/>
                    <a:gd name="connsiteX1" fmla="*/ 1675 w 1674"/>
                    <a:gd name="connsiteY1" fmla="*/ 598 h 597"/>
                  </a:gdLst>
                  <a:ahLst/>
                  <a:cxnLst>
                    <a:cxn ang="0">
                      <a:pos x="connsiteX0" y="connsiteY0"/>
                    </a:cxn>
                    <a:cxn ang="0">
                      <a:pos x="connsiteX1" y="connsiteY1"/>
                    </a:cxn>
                  </a:cxnLst>
                  <a:rect l="l" t="t" r="r" b="b"/>
                  <a:pathLst>
                    <a:path w="1674" h="597">
                      <a:moveTo>
                        <a:pt x="0" y="0"/>
                      </a:moveTo>
                      <a:lnTo>
                        <a:pt x="1675" y="598"/>
                      </a:lnTo>
                    </a:path>
                  </a:pathLst>
                </a:custGeom>
                <a:noFill/>
                <a:ln w="6350" cap="flat">
                  <a:solidFill>
                    <a:schemeClr val="bg1">
                      <a:alpha val="80000"/>
                    </a:schemeClr>
                  </a:solidFill>
                  <a:prstDash val="solid"/>
                  <a:miter/>
                </a:ln>
              </p:spPr>
              <p:txBody>
                <a:bodyPr rtlCol="0" anchor="ctr"/>
                <a:lstStyle/>
                <a:p>
                  <a:endParaRPr lang="en-GB"/>
                </a:p>
              </p:txBody>
            </p:sp>
            <p:sp>
              <p:nvSpPr>
                <p:cNvPr id="7821" name="Vrije vorm: vorm 7820">
                  <a:extLst>
                    <a:ext uri="{FF2B5EF4-FFF2-40B4-BE49-F238E27FC236}">
                      <a16:creationId xmlns:a16="http://schemas.microsoft.com/office/drawing/2014/main" id="{D89456E3-405E-4A0E-B578-90382314CCEC}"/>
                    </a:ext>
                  </a:extLst>
                </p:cNvPr>
                <p:cNvSpPr/>
                <p:nvPr/>
              </p:nvSpPr>
              <p:spPr>
                <a:xfrm>
                  <a:off x="5878950" y="5170374"/>
                  <a:ext cx="3049" cy="6519"/>
                </a:xfrm>
                <a:custGeom>
                  <a:avLst/>
                  <a:gdLst>
                    <a:gd name="connsiteX0" fmla="*/ 1914 w 3049"/>
                    <a:gd name="connsiteY0" fmla="*/ 0 h 6519"/>
                    <a:gd name="connsiteX1" fmla="*/ 359 w 3049"/>
                    <a:gd name="connsiteY1" fmla="*/ 3050 h 6519"/>
                    <a:gd name="connsiteX2" fmla="*/ 0 w 3049"/>
                    <a:gd name="connsiteY2" fmla="*/ 3828 h 6519"/>
                    <a:gd name="connsiteX3" fmla="*/ 1973 w 3049"/>
                    <a:gd name="connsiteY3" fmla="*/ 5622 h 6519"/>
                    <a:gd name="connsiteX4" fmla="*/ 2871 w 3049"/>
                    <a:gd name="connsiteY4" fmla="*/ 6459 h 6519"/>
                    <a:gd name="connsiteX5" fmla="*/ 3050 w 3049"/>
                    <a:gd name="connsiteY5" fmla="*/ 6519 h 6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9" h="6519">
                      <a:moveTo>
                        <a:pt x="1914" y="0"/>
                      </a:moveTo>
                      <a:lnTo>
                        <a:pt x="359" y="3050"/>
                      </a:lnTo>
                      <a:lnTo>
                        <a:pt x="0" y="3828"/>
                      </a:lnTo>
                      <a:lnTo>
                        <a:pt x="1973" y="5622"/>
                      </a:lnTo>
                      <a:lnTo>
                        <a:pt x="2871" y="6459"/>
                      </a:lnTo>
                      <a:lnTo>
                        <a:pt x="3050" y="6519"/>
                      </a:lnTo>
                    </a:path>
                  </a:pathLst>
                </a:custGeom>
                <a:noFill/>
                <a:ln w="6350" cap="flat">
                  <a:solidFill>
                    <a:schemeClr val="bg1">
                      <a:alpha val="80000"/>
                    </a:schemeClr>
                  </a:solidFill>
                  <a:prstDash val="solid"/>
                  <a:miter/>
                </a:ln>
              </p:spPr>
              <p:txBody>
                <a:bodyPr rtlCol="0" anchor="ctr"/>
                <a:lstStyle/>
                <a:p>
                  <a:endParaRPr lang="en-GB"/>
                </a:p>
              </p:txBody>
            </p:sp>
            <p:sp>
              <p:nvSpPr>
                <p:cNvPr id="7822" name="Vrije vorm: vorm 7821">
                  <a:extLst>
                    <a:ext uri="{FF2B5EF4-FFF2-40B4-BE49-F238E27FC236}">
                      <a16:creationId xmlns:a16="http://schemas.microsoft.com/office/drawing/2014/main" id="{E43B19DD-4A44-47AD-B265-DDE6CCC805CA}"/>
                    </a:ext>
                  </a:extLst>
                </p:cNvPr>
                <p:cNvSpPr/>
                <p:nvPr/>
              </p:nvSpPr>
              <p:spPr>
                <a:xfrm>
                  <a:off x="5877215" y="5169776"/>
                  <a:ext cx="3110" cy="6518"/>
                </a:xfrm>
                <a:custGeom>
                  <a:avLst/>
                  <a:gdLst>
                    <a:gd name="connsiteX0" fmla="*/ 3110 w 3110"/>
                    <a:gd name="connsiteY0" fmla="*/ 6519 h 6518"/>
                    <a:gd name="connsiteX1" fmla="*/ 2930 w 3110"/>
                    <a:gd name="connsiteY1" fmla="*/ 6459 h 6518"/>
                    <a:gd name="connsiteX2" fmla="*/ 837 w 3110"/>
                    <a:gd name="connsiteY2" fmla="*/ 4545 h 6518"/>
                    <a:gd name="connsiteX3" fmla="*/ 0 w 3110"/>
                    <a:gd name="connsiteY3" fmla="*/ 3828 h 6518"/>
                    <a:gd name="connsiteX4" fmla="*/ 1555 w 3110"/>
                    <a:gd name="connsiteY4" fmla="*/ 778 h 6518"/>
                    <a:gd name="connsiteX5" fmla="*/ 1914 w 3110"/>
                    <a:gd name="connsiteY5" fmla="*/ 0 h 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 h="6518">
                      <a:moveTo>
                        <a:pt x="3110" y="6519"/>
                      </a:moveTo>
                      <a:lnTo>
                        <a:pt x="2930" y="6459"/>
                      </a:lnTo>
                      <a:lnTo>
                        <a:pt x="837" y="4545"/>
                      </a:lnTo>
                      <a:lnTo>
                        <a:pt x="0" y="3828"/>
                      </a:lnTo>
                      <a:lnTo>
                        <a:pt x="1555" y="778"/>
                      </a:lnTo>
                      <a:lnTo>
                        <a:pt x="1914" y="0"/>
                      </a:lnTo>
                    </a:path>
                  </a:pathLst>
                </a:custGeom>
                <a:noFill/>
                <a:ln w="6350" cap="flat">
                  <a:solidFill>
                    <a:schemeClr val="bg1">
                      <a:alpha val="80000"/>
                    </a:schemeClr>
                  </a:solidFill>
                  <a:prstDash val="solid"/>
                  <a:miter/>
                </a:ln>
              </p:spPr>
              <p:txBody>
                <a:bodyPr rtlCol="0" anchor="ctr"/>
                <a:lstStyle/>
                <a:p>
                  <a:endParaRPr lang="en-GB"/>
                </a:p>
              </p:txBody>
            </p:sp>
            <p:sp>
              <p:nvSpPr>
                <p:cNvPr id="7823" name="Vrije vorm: vorm 7822">
                  <a:extLst>
                    <a:ext uri="{FF2B5EF4-FFF2-40B4-BE49-F238E27FC236}">
                      <a16:creationId xmlns:a16="http://schemas.microsoft.com/office/drawing/2014/main" id="{3D7003F8-97EE-4510-830D-708250A8A9FF}"/>
                    </a:ext>
                  </a:extLst>
                </p:cNvPr>
                <p:cNvSpPr/>
                <p:nvPr/>
              </p:nvSpPr>
              <p:spPr>
                <a:xfrm>
                  <a:off x="5864416" y="5202071"/>
                  <a:ext cx="4665" cy="2870"/>
                </a:xfrm>
                <a:custGeom>
                  <a:avLst/>
                  <a:gdLst>
                    <a:gd name="connsiteX0" fmla="*/ 0 w 4665"/>
                    <a:gd name="connsiteY0" fmla="*/ 0 h 2870"/>
                    <a:gd name="connsiteX1" fmla="*/ 2213 w 4665"/>
                    <a:gd name="connsiteY1" fmla="*/ 1675 h 2870"/>
                    <a:gd name="connsiteX2" fmla="*/ 2691 w 4665"/>
                    <a:gd name="connsiteY2" fmla="*/ 2034 h 2870"/>
                    <a:gd name="connsiteX3" fmla="*/ 4665 w 4665"/>
                    <a:gd name="connsiteY3" fmla="*/ 2871 h 2870"/>
                  </a:gdLst>
                  <a:ahLst/>
                  <a:cxnLst>
                    <a:cxn ang="0">
                      <a:pos x="connsiteX0" y="connsiteY0"/>
                    </a:cxn>
                    <a:cxn ang="0">
                      <a:pos x="connsiteX1" y="connsiteY1"/>
                    </a:cxn>
                    <a:cxn ang="0">
                      <a:pos x="connsiteX2" y="connsiteY2"/>
                    </a:cxn>
                    <a:cxn ang="0">
                      <a:pos x="connsiteX3" y="connsiteY3"/>
                    </a:cxn>
                  </a:cxnLst>
                  <a:rect l="l" t="t" r="r" b="b"/>
                  <a:pathLst>
                    <a:path w="4665" h="2870">
                      <a:moveTo>
                        <a:pt x="0" y="0"/>
                      </a:moveTo>
                      <a:lnTo>
                        <a:pt x="2213" y="1675"/>
                      </a:lnTo>
                      <a:lnTo>
                        <a:pt x="2691" y="2034"/>
                      </a:lnTo>
                      <a:lnTo>
                        <a:pt x="4665" y="2871"/>
                      </a:lnTo>
                    </a:path>
                  </a:pathLst>
                </a:custGeom>
                <a:noFill/>
                <a:ln w="6350" cap="flat">
                  <a:solidFill>
                    <a:schemeClr val="bg1">
                      <a:alpha val="80000"/>
                    </a:schemeClr>
                  </a:solidFill>
                  <a:prstDash val="solid"/>
                  <a:miter/>
                </a:ln>
              </p:spPr>
              <p:txBody>
                <a:bodyPr rtlCol="0" anchor="ctr"/>
                <a:lstStyle/>
                <a:p>
                  <a:endParaRPr lang="en-GB"/>
                </a:p>
              </p:txBody>
            </p:sp>
            <p:sp>
              <p:nvSpPr>
                <p:cNvPr id="7824" name="Vrije vorm: vorm 7823">
                  <a:extLst>
                    <a:ext uri="{FF2B5EF4-FFF2-40B4-BE49-F238E27FC236}">
                      <a16:creationId xmlns:a16="http://schemas.microsoft.com/office/drawing/2014/main" id="{30A32F9B-8B8E-43EF-B6E6-B8212AD993DC}"/>
                    </a:ext>
                  </a:extLst>
                </p:cNvPr>
                <p:cNvSpPr/>
                <p:nvPr/>
              </p:nvSpPr>
              <p:spPr>
                <a:xfrm>
                  <a:off x="5836367" y="5162001"/>
                  <a:ext cx="19796" cy="9449"/>
                </a:xfrm>
                <a:custGeom>
                  <a:avLst/>
                  <a:gdLst>
                    <a:gd name="connsiteX0" fmla="*/ 0 w 19796"/>
                    <a:gd name="connsiteY0" fmla="*/ 0 h 9449"/>
                    <a:gd name="connsiteX1" fmla="*/ 2572 w 19796"/>
                    <a:gd name="connsiteY1" fmla="*/ 1017 h 9449"/>
                    <a:gd name="connsiteX2" fmla="*/ 5144 w 19796"/>
                    <a:gd name="connsiteY2" fmla="*/ 2033 h 9449"/>
                    <a:gd name="connsiteX3" fmla="*/ 5263 w 19796"/>
                    <a:gd name="connsiteY3" fmla="*/ 2093 h 9449"/>
                    <a:gd name="connsiteX4" fmla="*/ 5921 w 19796"/>
                    <a:gd name="connsiteY4" fmla="*/ 2332 h 9449"/>
                    <a:gd name="connsiteX5" fmla="*/ 6280 w 19796"/>
                    <a:gd name="connsiteY5" fmla="*/ 2452 h 9449"/>
                    <a:gd name="connsiteX6" fmla="*/ 6340 w 19796"/>
                    <a:gd name="connsiteY6" fmla="*/ 2452 h 9449"/>
                    <a:gd name="connsiteX7" fmla="*/ 7297 w 19796"/>
                    <a:gd name="connsiteY7" fmla="*/ 2811 h 9449"/>
                    <a:gd name="connsiteX8" fmla="*/ 7715 w 19796"/>
                    <a:gd name="connsiteY8" fmla="*/ 2990 h 9449"/>
                    <a:gd name="connsiteX9" fmla="*/ 8553 w 19796"/>
                    <a:gd name="connsiteY9" fmla="*/ 3289 h 9449"/>
                    <a:gd name="connsiteX10" fmla="*/ 9808 w 19796"/>
                    <a:gd name="connsiteY10" fmla="*/ 3768 h 9449"/>
                    <a:gd name="connsiteX11" fmla="*/ 9928 w 19796"/>
                    <a:gd name="connsiteY11" fmla="*/ 3887 h 9449"/>
                    <a:gd name="connsiteX12" fmla="*/ 10885 w 19796"/>
                    <a:gd name="connsiteY12" fmla="*/ 4665 h 9449"/>
                    <a:gd name="connsiteX13" fmla="*/ 10885 w 19796"/>
                    <a:gd name="connsiteY13" fmla="*/ 4665 h 9449"/>
                    <a:gd name="connsiteX14" fmla="*/ 11184 w 19796"/>
                    <a:gd name="connsiteY14" fmla="*/ 4904 h 9449"/>
                    <a:gd name="connsiteX15" fmla="*/ 11304 w 19796"/>
                    <a:gd name="connsiteY15" fmla="*/ 4964 h 9449"/>
                    <a:gd name="connsiteX16" fmla="*/ 11722 w 19796"/>
                    <a:gd name="connsiteY16" fmla="*/ 5323 h 9449"/>
                    <a:gd name="connsiteX17" fmla="*/ 13576 w 19796"/>
                    <a:gd name="connsiteY17" fmla="*/ 6878 h 9449"/>
                    <a:gd name="connsiteX18" fmla="*/ 13636 w 19796"/>
                    <a:gd name="connsiteY18" fmla="*/ 6937 h 9449"/>
                    <a:gd name="connsiteX19" fmla="*/ 15670 w 19796"/>
                    <a:gd name="connsiteY19" fmla="*/ 8672 h 9449"/>
                    <a:gd name="connsiteX20" fmla="*/ 16148 w 19796"/>
                    <a:gd name="connsiteY20" fmla="*/ 8851 h 9449"/>
                    <a:gd name="connsiteX21" fmla="*/ 17703 w 19796"/>
                    <a:gd name="connsiteY21" fmla="*/ 9449 h 9449"/>
                    <a:gd name="connsiteX22" fmla="*/ 19497 w 19796"/>
                    <a:gd name="connsiteY22" fmla="*/ 5921 h 9449"/>
                    <a:gd name="connsiteX23" fmla="*/ 19796 w 19796"/>
                    <a:gd name="connsiteY23" fmla="*/ 5382 h 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796" h="9449">
                      <a:moveTo>
                        <a:pt x="0" y="0"/>
                      </a:moveTo>
                      <a:lnTo>
                        <a:pt x="2572" y="1017"/>
                      </a:lnTo>
                      <a:lnTo>
                        <a:pt x="5144" y="2033"/>
                      </a:lnTo>
                      <a:lnTo>
                        <a:pt x="5263" y="2093"/>
                      </a:lnTo>
                      <a:lnTo>
                        <a:pt x="5921" y="2332"/>
                      </a:lnTo>
                      <a:lnTo>
                        <a:pt x="6280" y="2452"/>
                      </a:lnTo>
                      <a:lnTo>
                        <a:pt x="6340" y="2452"/>
                      </a:lnTo>
                      <a:lnTo>
                        <a:pt x="7297" y="2811"/>
                      </a:lnTo>
                      <a:lnTo>
                        <a:pt x="7715" y="2990"/>
                      </a:lnTo>
                      <a:lnTo>
                        <a:pt x="8553" y="3289"/>
                      </a:lnTo>
                      <a:lnTo>
                        <a:pt x="9808" y="3768"/>
                      </a:lnTo>
                      <a:lnTo>
                        <a:pt x="9928" y="3887"/>
                      </a:lnTo>
                      <a:lnTo>
                        <a:pt x="10885" y="4665"/>
                      </a:lnTo>
                      <a:lnTo>
                        <a:pt x="10885" y="4665"/>
                      </a:lnTo>
                      <a:lnTo>
                        <a:pt x="11184" y="4904"/>
                      </a:lnTo>
                      <a:lnTo>
                        <a:pt x="11304" y="4964"/>
                      </a:lnTo>
                      <a:lnTo>
                        <a:pt x="11722" y="5323"/>
                      </a:lnTo>
                      <a:lnTo>
                        <a:pt x="13576" y="6878"/>
                      </a:lnTo>
                      <a:lnTo>
                        <a:pt x="13636" y="6937"/>
                      </a:lnTo>
                      <a:lnTo>
                        <a:pt x="15670" y="8672"/>
                      </a:lnTo>
                      <a:lnTo>
                        <a:pt x="16148" y="8851"/>
                      </a:lnTo>
                      <a:lnTo>
                        <a:pt x="17703" y="9449"/>
                      </a:lnTo>
                      <a:lnTo>
                        <a:pt x="19497" y="5921"/>
                      </a:lnTo>
                      <a:lnTo>
                        <a:pt x="19796" y="5382"/>
                      </a:lnTo>
                    </a:path>
                  </a:pathLst>
                </a:custGeom>
                <a:noFill/>
                <a:ln w="6350" cap="flat">
                  <a:solidFill>
                    <a:schemeClr val="bg1">
                      <a:alpha val="80000"/>
                    </a:schemeClr>
                  </a:solidFill>
                  <a:prstDash val="solid"/>
                  <a:miter/>
                </a:ln>
              </p:spPr>
              <p:txBody>
                <a:bodyPr rtlCol="0" anchor="ctr"/>
                <a:lstStyle/>
                <a:p>
                  <a:endParaRPr lang="en-GB"/>
                </a:p>
              </p:txBody>
            </p:sp>
            <p:sp>
              <p:nvSpPr>
                <p:cNvPr id="7825" name="Vrije vorm: vorm 7824">
                  <a:extLst>
                    <a:ext uri="{FF2B5EF4-FFF2-40B4-BE49-F238E27FC236}">
                      <a16:creationId xmlns:a16="http://schemas.microsoft.com/office/drawing/2014/main" id="{9874058B-05B7-4F55-9A21-A8714549A682}"/>
                    </a:ext>
                  </a:extLst>
                </p:cNvPr>
                <p:cNvSpPr/>
                <p:nvPr/>
              </p:nvSpPr>
              <p:spPr>
                <a:xfrm>
                  <a:off x="5864297" y="5180062"/>
                  <a:ext cx="15788" cy="23803"/>
                </a:xfrm>
                <a:custGeom>
                  <a:avLst/>
                  <a:gdLst>
                    <a:gd name="connsiteX0" fmla="*/ 15789 w 15788"/>
                    <a:gd name="connsiteY0" fmla="*/ 3050 h 23803"/>
                    <a:gd name="connsiteX1" fmla="*/ 15071 w 15788"/>
                    <a:gd name="connsiteY1" fmla="*/ 2452 h 23803"/>
                    <a:gd name="connsiteX2" fmla="*/ 13158 w 15788"/>
                    <a:gd name="connsiteY2" fmla="*/ 778 h 23803"/>
                    <a:gd name="connsiteX3" fmla="*/ 11184 w 15788"/>
                    <a:gd name="connsiteY3" fmla="*/ 0 h 23803"/>
                    <a:gd name="connsiteX4" fmla="*/ 9390 w 15788"/>
                    <a:gd name="connsiteY4" fmla="*/ 3529 h 23803"/>
                    <a:gd name="connsiteX5" fmla="*/ 7595 w 15788"/>
                    <a:gd name="connsiteY5" fmla="*/ 7057 h 23803"/>
                    <a:gd name="connsiteX6" fmla="*/ 5801 w 15788"/>
                    <a:gd name="connsiteY6" fmla="*/ 10586 h 23803"/>
                    <a:gd name="connsiteX7" fmla="*/ 4007 w 15788"/>
                    <a:gd name="connsiteY7" fmla="*/ 14115 h 23803"/>
                    <a:gd name="connsiteX8" fmla="*/ 2213 w 15788"/>
                    <a:gd name="connsiteY8" fmla="*/ 17643 h 23803"/>
                    <a:gd name="connsiteX9" fmla="*/ 419 w 15788"/>
                    <a:gd name="connsiteY9" fmla="*/ 21172 h 23803"/>
                    <a:gd name="connsiteX10" fmla="*/ 0 w 15788"/>
                    <a:gd name="connsiteY10" fmla="*/ 21950 h 23803"/>
                    <a:gd name="connsiteX11" fmla="*/ 1973 w 15788"/>
                    <a:gd name="connsiteY11" fmla="*/ 22787 h 23803"/>
                    <a:gd name="connsiteX12" fmla="*/ 2930 w 15788"/>
                    <a:gd name="connsiteY12" fmla="*/ 23504 h 23803"/>
                    <a:gd name="connsiteX13" fmla="*/ 3289 w 15788"/>
                    <a:gd name="connsiteY13" fmla="*/ 23804 h 2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88" h="23803">
                      <a:moveTo>
                        <a:pt x="15789" y="3050"/>
                      </a:moveTo>
                      <a:lnTo>
                        <a:pt x="15071" y="2452"/>
                      </a:lnTo>
                      <a:lnTo>
                        <a:pt x="13158" y="778"/>
                      </a:lnTo>
                      <a:lnTo>
                        <a:pt x="11184" y="0"/>
                      </a:lnTo>
                      <a:lnTo>
                        <a:pt x="9390" y="3529"/>
                      </a:lnTo>
                      <a:lnTo>
                        <a:pt x="7595" y="7057"/>
                      </a:lnTo>
                      <a:lnTo>
                        <a:pt x="5801" y="10586"/>
                      </a:lnTo>
                      <a:lnTo>
                        <a:pt x="4007" y="14115"/>
                      </a:lnTo>
                      <a:lnTo>
                        <a:pt x="2213" y="17643"/>
                      </a:lnTo>
                      <a:lnTo>
                        <a:pt x="419" y="21172"/>
                      </a:lnTo>
                      <a:lnTo>
                        <a:pt x="0" y="21950"/>
                      </a:lnTo>
                      <a:lnTo>
                        <a:pt x="1973" y="22787"/>
                      </a:lnTo>
                      <a:lnTo>
                        <a:pt x="2930" y="23504"/>
                      </a:lnTo>
                      <a:lnTo>
                        <a:pt x="3289" y="23804"/>
                      </a:lnTo>
                    </a:path>
                  </a:pathLst>
                </a:custGeom>
                <a:noFill/>
                <a:ln w="6350" cap="flat">
                  <a:solidFill>
                    <a:schemeClr val="bg1">
                      <a:alpha val="80000"/>
                    </a:schemeClr>
                  </a:solidFill>
                  <a:prstDash val="solid"/>
                  <a:miter/>
                </a:ln>
              </p:spPr>
              <p:txBody>
                <a:bodyPr rtlCol="0" anchor="ctr"/>
                <a:lstStyle/>
                <a:p>
                  <a:endParaRPr lang="en-GB"/>
                </a:p>
              </p:txBody>
            </p:sp>
            <p:sp>
              <p:nvSpPr>
                <p:cNvPr id="7826" name="Vrije vorm: vorm 7825">
                  <a:extLst>
                    <a:ext uri="{FF2B5EF4-FFF2-40B4-BE49-F238E27FC236}">
                      <a16:creationId xmlns:a16="http://schemas.microsoft.com/office/drawing/2014/main" id="{ED9F4046-3FDF-419F-8B7C-3EC475E0C807}"/>
                    </a:ext>
                  </a:extLst>
                </p:cNvPr>
                <p:cNvSpPr/>
                <p:nvPr/>
              </p:nvSpPr>
              <p:spPr>
                <a:xfrm>
                  <a:off x="5854249" y="5165170"/>
                  <a:ext cx="2093" cy="3110"/>
                </a:xfrm>
                <a:custGeom>
                  <a:avLst/>
                  <a:gdLst>
                    <a:gd name="connsiteX0" fmla="*/ 0 w 2093"/>
                    <a:gd name="connsiteY0" fmla="*/ 0 h 3110"/>
                    <a:gd name="connsiteX1" fmla="*/ 2093 w 2093"/>
                    <a:gd name="connsiteY1" fmla="*/ 1854 h 3110"/>
                    <a:gd name="connsiteX2" fmla="*/ 2093 w 2093"/>
                    <a:gd name="connsiteY2" fmla="*/ 1854 h 3110"/>
                    <a:gd name="connsiteX3" fmla="*/ 2033 w 2093"/>
                    <a:gd name="connsiteY3" fmla="*/ 1974 h 3110"/>
                    <a:gd name="connsiteX4" fmla="*/ 1435 w 2093"/>
                    <a:gd name="connsiteY4" fmla="*/ 3110 h 3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 h="3110">
                      <a:moveTo>
                        <a:pt x="0" y="0"/>
                      </a:moveTo>
                      <a:lnTo>
                        <a:pt x="2093" y="1854"/>
                      </a:lnTo>
                      <a:lnTo>
                        <a:pt x="2093" y="1854"/>
                      </a:lnTo>
                      <a:lnTo>
                        <a:pt x="2033" y="1974"/>
                      </a:lnTo>
                      <a:lnTo>
                        <a:pt x="1435" y="3110"/>
                      </a:lnTo>
                    </a:path>
                  </a:pathLst>
                </a:custGeom>
                <a:noFill/>
                <a:ln w="6350" cap="flat">
                  <a:solidFill>
                    <a:schemeClr val="bg1">
                      <a:alpha val="80000"/>
                    </a:schemeClr>
                  </a:solidFill>
                  <a:prstDash val="solid"/>
                  <a:miter/>
                </a:ln>
              </p:spPr>
              <p:txBody>
                <a:bodyPr rtlCol="0" anchor="ctr"/>
                <a:lstStyle/>
                <a:p>
                  <a:endParaRPr lang="en-GB"/>
                </a:p>
              </p:txBody>
            </p:sp>
            <p:sp>
              <p:nvSpPr>
                <p:cNvPr id="7827" name="Vrije vorm: vorm 7826">
                  <a:extLst>
                    <a:ext uri="{FF2B5EF4-FFF2-40B4-BE49-F238E27FC236}">
                      <a16:creationId xmlns:a16="http://schemas.microsoft.com/office/drawing/2014/main" id="{9ABF1760-1DF7-4B80-B00C-4A1AA1B8E3F1}"/>
                    </a:ext>
                  </a:extLst>
                </p:cNvPr>
                <p:cNvSpPr/>
                <p:nvPr/>
              </p:nvSpPr>
              <p:spPr>
                <a:xfrm>
                  <a:off x="5840852" y="5165709"/>
                  <a:ext cx="658" cy="239"/>
                </a:xfrm>
                <a:custGeom>
                  <a:avLst/>
                  <a:gdLst>
                    <a:gd name="connsiteX0" fmla="*/ 0 w 658"/>
                    <a:gd name="connsiteY0" fmla="*/ 0 h 239"/>
                    <a:gd name="connsiteX1" fmla="*/ 658 w 658"/>
                    <a:gd name="connsiteY1" fmla="*/ 239 h 239"/>
                  </a:gdLst>
                  <a:ahLst/>
                  <a:cxnLst>
                    <a:cxn ang="0">
                      <a:pos x="connsiteX0" y="connsiteY0"/>
                    </a:cxn>
                    <a:cxn ang="0">
                      <a:pos x="connsiteX1" y="connsiteY1"/>
                    </a:cxn>
                  </a:cxnLst>
                  <a:rect l="l" t="t" r="r" b="b"/>
                  <a:pathLst>
                    <a:path w="658" h="239">
                      <a:moveTo>
                        <a:pt x="0" y="0"/>
                      </a:moveTo>
                      <a:lnTo>
                        <a:pt x="658" y="239"/>
                      </a:lnTo>
                    </a:path>
                  </a:pathLst>
                </a:custGeom>
                <a:noFill/>
                <a:ln w="6350" cap="flat">
                  <a:solidFill>
                    <a:schemeClr val="bg1">
                      <a:alpha val="80000"/>
                    </a:schemeClr>
                  </a:solidFill>
                  <a:prstDash val="solid"/>
                  <a:miter/>
                </a:ln>
              </p:spPr>
              <p:txBody>
                <a:bodyPr rtlCol="0" anchor="ctr"/>
                <a:lstStyle/>
                <a:p>
                  <a:endParaRPr lang="en-GB"/>
                </a:p>
              </p:txBody>
            </p:sp>
            <p:sp>
              <p:nvSpPr>
                <p:cNvPr id="7828" name="Vrije vorm: vorm 7827">
                  <a:extLst>
                    <a:ext uri="{FF2B5EF4-FFF2-40B4-BE49-F238E27FC236}">
                      <a16:creationId xmlns:a16="http://schemas.microsoft.com/office/drawing/2014/main" id="{64F22BB0-37BB-410C-B360-F09E04198046}"/>
                    </a:ext>
                  </a:extLst>
                </p:cNvPr>
                <p:cNvSpPr/>
                <p:nvPr/>
              </p:nvSpPr>
              <p:spPr>
                <a:xfrm>
                  <a:off x="5841510" y="5164274"/>
                  <a:ext cx="1495" cy="2930"/>
                </a:xfrm>
                <a:custGeom>
                  <a:avLst/>
                  <a:gdLst>
                    <a:gd name="connsiteX0" fmla="*/ 837 w 1495"/>
                    <a:gd name="connsiteY0" fmla="*/ 0 h 2930"/>
                    <a:gd name="connsiteX1" fmla="*/ 0 w 1495"/>
                    <a:gd name="connsiteY1" fmla="*/ 1674 h 2930"/>
                    <a:gd name="connsiteX2" fmla="*/ 1495 w 1495"/>
                    <a:gd name="connsiteY2" fmla="*/ 2930 h 2930"/>
                  </a:gdLst>
                  <a:ahLst/>
                  <a:cxnLst>
                    <a:cxn ang="0">
                      <a:pos x="connsiteX0" y="connsiteY0"/>
                    </a:cxn>
                    <a:cxn ang="0">
                      <a:pos x="connsiteX1" y="connsiteY1"/>
                    </a:cxn>
                    <a:cxn ang="0">
                      <a:pos x="connsiteX2" y="connsiteY2"/>
                    </a:cxn>
                  </a:cxnLst>
                  <a:rect l="l" t="t" r="r" b="b"/>
                  <a:pathLst>
                    <a:path w="1495" h="2930">
                      <a:moveTo>
                        <a:pt x="837" y="0"/>
                      </a:moveTo>
                      <a:lnTo>
                        <a:pt x="0" y="1674"/>
                      </a:lnTo>
                      <a:lnTo>
                        <a:pt x="1495" y="2930"/>
                      </a:lnTo>
                    </a:path>
                  </a:pathLst>
                </a:custGeom>
                <a:noFill/>
                <a:ln w="6350" cap="flat">
                  <a:solidFill>
                    <a:schemeClr val="bg1">
                      <a:alpha val="80000"/>
                    </a:schemeClr>
                  </a:solidFill>
                  <a:prstDash val="solid"/>
                  <a:miter/>
                </a:ln>
              </p:spPr>
              <p:txBody>
                <a:bodyPr rtlCol="0" anchor="ctr"/>
                <a:lstStyle/>
                <a:p>
                  <a:endParaRPr lang="en-GB"/>
                </a:p>
              </p:txBody>
            </p:sp>
            <p:sp>
              <p:nvSpPr>
                <p:cNvPr id="7829" name="Vrije vorm: vorm 7828">
                  <a:extLst>
                    <a:ext uri="{FF2B5EF4-FFF2-40B4-BE49-F238E27FC236}">
                      <a16:creationId xmlns:a16="http://schemas.microsoft.com/office/drawing/2014/main" id="{9934E13D-A527-4359-87D0-D66E6785E05B}"/>
                    </a:ext>
                  </a:extLst>
                </p:cNvPr>
                <p:cNvSpPr/>
                <p:nvPr/>
              </p:nvSpPr>
              <p:spPr>
                <a:xfrm>
                  <a:off x="5828652" y="5156798"/>
                  <a:ext cx="25657" cy="24759"/>
                </a:xfrm>
                <a:custGeom>
                  <a:avLst/>
                  <a:gdLst>
                    <a:gd name="connsiteX0" fmla="*/ 9210 w 25657"/>
                    <a:gd name="connsiteY0" fmla="*/ 20574 h 24759"/>
                    <a:gd name="connsiteX1" fmla="*/ 8732 w 25657"/>
                    <a:gd name="connsiteY1" fmla="*/ 21471 h 24759"/>
                    <a:gd name="connsiteX2" fmla="*/ 8672 w 25657"/>
                    <a:gd name="connsiteY2" fmla="*/ 21590 h 24759"/>
                    <a:gd name="connsiteX3" fmla="*/ 8253 w 25657"/>
                    <a:gd name="connsiteY3" fmla="*/ 21411 h 24759"/>
                    <a:gd name="connsiteX4" fmla="*/ 7237 w 25657"/>
                    <a:gd name="connsiteY4" fmla="*/ 20992 h 24759"/>
                    <a:gd name="connsiteX5" fmla="*/ 5024 w 25657"/>
                    <a:gd name="connsiteY5" fmla="*/ 19318 h 24759"/>
                    <a:gd name="connsiteX6" fmla="*/ 2811 w 25657"/>
                    <a:gd name="connsiteY6" fmla="*/ 17643 h 24759"/>
                    <a:gd name="connsiteX7" fmla="*/ 598 w 25657"/>
                    <a:gd name="connsiteY7" fmla="*/ 15968 h 24759"/>
                    <a:gd name="connsiteX8" fmla="*/ 0 w 25657"/>
                    <a:gd name="connsiteY8" fmla="*/ 15490 h 24759"/>
                    <a:gd name="connsiteX9" fmla="*/ 1555 w 25657"/>
                    <a:gd name="connsiteY9" fmla="*/ 12440 h 24759"/>
                    <a:gd name="connsiteX10" fmla="*/ 1675 w 25657"/>
                    <a:gd name="connsiteY10" fmla="*/ 12141 h 24759"/>
                    <a:gd name="connsiteX11" fmla="*/ 2572 w 25657"/>
                    <a:gd name="connsiteY11" fmla="*/ 10287 h 24759"/>
                    <a:gd name="connsiteX12" fmla="*/ 4127 w 25657"/>
                    <a:gd name="connsiteY12" fmla="*/ 7236 h 24759"/>
                    <a:gd name="connsiteX13" fmla="*/ 4306 w 25657"/>
                    <a:gd name="connsiteY13" fmla="*/ 6937 h 24759"/>
                    <a:gd name="connsiteX14" fmla="*/ 5383 w 25657"/>
                    <a:gd name="connsiteY14" fmla="*/ 4785 h 24759"/>
                    <a:gd name="connsiteX15" fmla="*/ 5502 w 25657"/>
                    <a:gd name="connsiteY15" fmla="*/ 4545 h 24759"/>
                    <a:gd name="connsiteX16" fmla="*/ 5502 w 25657"/>
                    <a:gd name="connsiteY16" fmla="*/ 4486 h 24759"/>
                    <a:gd name="connsiteX17" fmla="*/ 6519 w 25657"/>
                    <a:gd name="connsiteY17" fmla="*/ 2452 h 24759"/>
                    <a:gd name="connsiteX18" fmla="*/ 6997 w 25657"/>
                    <a:gd name="connsiteY18" fmla="*/ 1555 h 24759"/>
                    <a:gd name="connsiteX19" fmla="*/ 8552 w 25657"/>
                    <a:gd name="connsiteY19" fmla="*/ 0 h 24759"/>
                    <a:gd name="connsiteX20" fmla="*/ 11184 w 25657"/>
                    <a:gd name="connsiteY20" fmla="*/ 957 h 24759"/>
                    <a:gd name="connsiteX21" fmla="*/ 13815 w 25657"/>
                    <a:gd name="connsiteY21" fmla="*/ 1914 h 24759"/>
                    <a:gd name="connsiteX22" fmla="*/ 16447 w 25657"/>
                    <a:gd name="connsiteY22" fmla="*/ 2871 h 24759"/>
                    <a:gd name="connsiteX23" fmla="*/ 18720 w 25657"/>
                    <a:gd name="connsiteY23" fmla="*/ 3708 h 24759"/>
                    <a:gd name="connsiteX24" fmla="*/ 21351 w 25657"/>
                    <a:gd name="connsiteY24" fmla="*/ 4665 h 24759"/>
                    <a:gd name="connsiteX25" fmla="*/ 21471 w 25657"/>
                    <a:gd name="connsiteY25" fmla="*/ 4725 h 24759"/>
                    <a:gd name="connsiteX26" fmla="*/ 23564 w 25657"/>
                    <a:gd name="connsiteY26" fmla="*/ 6579 h 24759"/>
                    <a:gd name="connsiteX27" fmla="*/ 24043 w 25657"/>
                    <a:gd name="connsiteY27" fmla="*/ 6997 h 24759"/>
                    <a:gd name="connsiteX28" fmla="*/ 24043 w 25657"/>
                    <a:gd name="connsiteY28" fmla="*/ 6997 h 24759"/>
                    <a:gd name="connsiteX29" fmla="*/ 25657 w 25657"/>
                    <a:gd name="connsiteY29" fmla="*/ 8373 h 24759"/>
                    <a:gd name="connsiteX30" fmla="*/ 25657 w 25657"/>
                    <a:gd name="connsiteY30" fmla="*/ 9569 h 24759"/>
                    <a:gd name="connsiteX31" fmla="*/ 25657 w 25657"/>
                    <a:gd name="connsiteY31" fmla="*/ 9629 h 24759"/>
                    <a:gd name="connsiteX32" fmla="*/ 25657 w 25657"/>
                    <a:gd name="connsiteY32" fmla="*/ 10645 h 24759"/>
                    <a:gd name="connsiteX33" fmla="*/ 25657 w 25657"/>
                    <a:gd name="connsiteY33" fmla="*/ 10825 h 24759"/>
                    <a:gd name="connsiteX34" fmla="*/ 25119 w 25657"/>
                    <a:gd name="connsiteY34" fmla="*/ 11902 h 24759"/>
                    <a:gd name="connsiteX35" fmla="*/ 24940 w 25657"/>
                    <a:gd name="connsiteY35" fmla="*/ 12201 h 24759"/>
                    <a:gd name="connsiteX36" fmla="*/ 24940 w 25657"/>
                    <a:gd name="connsiteY36" fmla="*/ 12201 h 24759"/>
                    <a:gd name="connsiteX37" fmla="*/ 24880 w 25657"/>
                    <a:gd name="connsiteY37" fmla="*/ 12260 h 24759"/>
                    <a:gd name="connsiteX38" fmla="*/ 23325 w 25657"/>
                    <a:gd name="connsiteY38" fmla="*/ 15311 h 24759"/>
                    <a:gd name="connsiteX39" fmla="*/ 21770 w 25657"/>
                    <a:gd name="connsiteY39" fmla="*/ 18360 h 24759"/>
                    <a:gd name="connsiteX40" fmla="*/ 20753 w 25657"/>
                    <a:gd name="connsiteY40" fmla="*/ 20334 h 24759"/>
                    <a:gd name="connsiteX41" fmla="*/ 19916 w 25657"/>
                    <a:gd name="connsiteY41" fmla="*/ 22009 h 24759"/>
                    <a:gd name="connsiteX42" fmla="*/ 18540 w 25657"/>
                    <a:gd name="connsiteY42" fmla="*/ 24760 h 24759"/>
                    <a:gd name="connsiteX43" fmla="*/ 18002 w 25657"/>
                    <a:gd name="connsiteY43" fmla="*/ 24521 h 24759"/>
                    <a:gd name="connsiteX44" fmla="*/ 18002 w 25657"/>
                    <a:gd name="connsiteY44" fmla="*/ 24521 h 24759"/>
                    <a:gd name="connsiteX45" fmla="*/ 17523 w 25657"/>
                    <a:gd name="connsiteY45" fmla="*/ 24341 h 24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657" h="24759">
                      <a:moveTo>
                        <a:pt x="9210" y="20574"/>
                      </a:moveTo>
                      <a:lnTo>
                        <a:pt x="8732" y="21471"/>
                      </a:lnTo>
                      <a:lnTo>
                        <a:pt x="8672" y="21590"/>
                      </a:lnTo>
                      <a:lnTo>
                        <a:pt x="8253" y="21411"/>
                      </a:lnTo>
                      <a:lnTo>
                        <a:pt x="7237" y="20992"/>
                      </a:lnTo>
                      <a:lnTo>
                        <a:pt x="5024" y="19318"/>
                      </a:lnTo>
                      <a:lnTo>
                        <a:pt x="2811" y="17643"/>
                      </a:lnTo>
                      <a:lnTo>
                        <a:pt x="598" y="15968"/>
                      </a:lnTo>
                      <a:lnTo>
                        <a:pt x="0" y="15490"/>
                      </a:lnTo>
                      <a:lnTo>
                        <a:pt x="1555" y="12440"/>
                      </a:lnTo>
                      <a:lnTo>
                        <a:pt x="1675" y="12141"/>
                      </a:lnTo>
                      <a:lnTo>
                        <a:pt x="2572" y="10287"/>
                      </a:lnTo>
                      <a:lnTo>
                        <a:pt x="4127" y="7236"/>
                      </a:lnTo>
                      <a:lnTo>
                        <a:pt x="4306" y="6937"/>
                      </a:lnTo>
                      <a:lnTo>
                        <a:pt x="5383" y="4785"/>
                      </a:lnTo>
                      <a:lnTo>
                        <a:pt x="5502" y="4545"/>
                      </a:lnTo>
                      <a:lnTo>
                        <a:pt x="5502" y="4486"/>
                      </a:lnTo>
                      <a:lnTo>
                        <a:pt x="6519" y="2452"/>
                      </a:lnTo>
                      <a:lnTo>
                        <a:pt x="6997" y="1555"/>
                      </a:lnTo>
                      <a:lnTo>
                        <a:pt x="8552" y="0"/>
                      </a:lnTo>
                      <a:lnTo>
                        <a:pt x="11184" y="957"/>
                      </a:lnTo>
                      <a:lnTo>
                        <a:pt x="13815" y="1914"/>
                      </a:lnTo>
                      <a:lnTo>
                        <a:pt x="16447" y="2871"/>
                      </a:lnTo>
                      <a:lnTo>
                        <a:pt x="18720" y="3708"/>
                      </a:lnTo>
                      <a:lnTo>
                        <a:pt x="21351" y="4665"/>
                      </a:lnTo>
                      <a:lnTo>
                        <a:pt x="21471" y="4725"/>
                      </a:lnTo>
                      <a:lnTo>
                        <a:pt x="23564" y="6579"/>
                      </a:lnTo>
                      <a:lnTo>
                        <a:pt x="24043" y="6997"/>
                      </a:lnTo>
                      <a:lnTo>
                        <a:pt x="24043" y="6997"/>
                      </a:lnTo>
                      <a:lnTo>
                        <a:pt x="25657" y="8373"/>
                      </a:lnTo>
                      <a:lnTo>
                        <a:pt x="25657" y="9569"/>
                      </a:lnTo>
                      <a:lnTo>
                        <a:pt x="25657" y="9629"/>
                      </a:lnTo>
                      <a:lnTo>
                        <a:pt x="25657" y="10645"/>
                      </a:lnTo>
                      <a:lnTo>
                        <a:pt x="25657" y="10825"/>
                      </a:lnTo>
                      <a:lnTo>
                        <a:pt x="25119" y="11902"/>
                      </a:lnTo>
                      <a:lnTo>
                        <a:pt x="24940" y="12201"/>
                      </a:lnTo>
                      <a:lnTo>
                        <a:pt x="24940" y="12201"/>
                      </a:lnTo>
                      <a:lnTo>
                        <a:pt x="24880" y="12260"/>
                      </a:lnTo>
                      <a:lnTo>
                        <a:pt x="23325" y="15311"/>
                      </a:lnTo>
                      <a:lnTo>
                        <a:pt x="21770" y="18360"/>
                      </a:lnTo>
                      <a:lnTo>
                        <a:pt x="20753" y="20334"/>
                      </a:lnTo>
                      <a:lnTo>
                        <a:pt x="19916" y="22009"/>
                      </a:lnTo>
                      <a:lnTo>
                        <a:pt x="18540" y="24760"/>
                      </a:lnTo>
                      <a:lnTo>
                        <a:pt x="18002" y="24521"/>
                      </a:lnTo>
                      <a:lnTo>
                        <a:pt x="18002" y="24521"/>
                      </a:lnTo>
                      <a:lnTo>
                        <a:pt x="17523" y="24341"/>
                      </a:lnTo>
                    </a:path>
                  </a:pathLst>
                </a:custGeom>
                <a:noFill/>
                <a:ln w="6350" cap="flat">
                  <a:solidFill>
                    <a:schemeClr val="bg1">
                      <a:alpha val="80000"/>
                    </a:schemeClr>
                  </a:solidFill>
                  <a:prstDash val="solid"/>
                  <a:miter/>
                </a:ln>
              </p:spPr>
              <p:txBody>
                <a:bodyPr rtlCol="0" anchor="ctr"/>
                <a:lstStyle/>
                <a:p>
                  <a:endParaRPr lang="en-GB"/>
                </a:p>
              </p:txBody>
            </p:sp>
            <p:sp>
              <p:nvSpPr>
                <p:cNvPr id="7830" name="Vrije vorm: vorm 7829">
                  <a:extLst>
                    <a:ext uri="{FF2B5EF4-FFF2-40B4-BE49-F238E27FC236}">
                      <a16:creationId xmlns:a16="http://schemas.microsoft.com/office/drawing/2014/main" id="{D7EDA1F4-E443-404D-94E7-C771DFC599D0}"/>
                    </a:ext>
                  </a:extLst>
                </p:cNvPr>
                <p:cNvSpPr/>
                <p:nvPr/>
              </p:nvSpPr>
              <p:spPr>
                <a:xfrm>
                  <a:off x="5836367" y="5162001"/>
                  <a:ext cx="5322" cy="3708"/>
                </a:xfrm>
                <a:custGeom>
                  <a:avLst/>
                  <a:gdLst>
                    <a:gd name="connsiteX0" fmla="*/ 0 w 5322"/>
                    <a:gd name="connsiteY0" fmla="*/ 0 h 3708"/>
                    <a:gd name="connsiteX1" fmla="*/ 2153 w 5322"/>
                    <a:gd name="connsiteY1" fmla="*/ 1794 h 3708"/>
                    <a:gd name="connsiteX2" fmla="*/ 4306 w 5322"/>
                    <a:gd name="connsiteY2" fmla="*/ 3588 h 3708"/>
                    <a:gd name="connsiteX3" fmla="*/ 4486 w 5322"/>
                    <a:gd name="connsiteY3" fmla="*/ 3708 h 3708"/>
                    <a:gd name="connsiteX4" fmla="*/ 5323 w 5322"/>
                    <a:gd name="connsiteY4" fmla="*/ 2093 h 3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2" h="3708">
                      <a:moveTo>
                        <a:pt x="0" y="0"/>
                      </a:moveTo>
                      <a:lnTo>
                        <a:pt x="2153" y="1794"/>
                      </a:lnTo>
                      <a:lnTo>
                        <a:pt x="4306" y="3588"/>
                      </a:lnTo>
                      <a:lnTo>
                        <a:pt x="4486" y="3708"/>
                      </a:lnTo>
                      <a:lnTo>
                        <a:pt x="5323" y="2093"/>
                      </a:lnTo>
                    </a:path>
                  </a:pathLst>
                </a:custGeom>
                <a:noFill/>
                <a:ln w="6350" cap="flat">
                  <a:solidFill>
                    <a:schemeClr val="bg1">
                      <a:alpha val="80000"/>
                    </a:schemeClr>
                  </a:solidFill>
                  <a:prstDash val="solid"/>
                  <a:miter/>
                </a:ln>
              </p:spPr>
              <p:txBody>
                <a:bodyPr rtlCol="0" anchor="ctr"/>
                <a:lstStyle/>
                <a:p>
                  <a:endParaRPr lang="en-GB"/>
                </a:p>
              </p:txBody>
            </p:sp>
            <p:sp>
              <p:nvSpPr>
                <p:cNvPr id="7831" name="Vrije vorm: vorm 7830">
                  <a:extLst>
                    <a:ext uri="{FF2B5EF4-FFF2-40B4-BE49-F238E27FC236}">
                      <a16:creationId xmlns:a16="http://schemas.microsoft.com/office/drawing/2014/main" id="{242E9A16-5EDD-4586-9224-61AEB9CA5C70}"/>
                    </a:ext>
                  </a:extLst>
                </p:cNvPr>
                <p:cNvSpPr/>
                <p:nvPr/>
              </p:nvSpPr>
              <p:spPr>
                <a:xfrm>
                  <a:off x="5834513" y="5160805"/>
                  <a:ext cx="13755" cy="5322"/>
                </a:xfrm>
                <a:custGeom>
                  <a:avLst/>
                  <a:gdLst>
                    <a:gd name="connsiteX0" fmla="*/ 0 w 13755"/>
                    <a:gd name="connsiteY0" fmla="*/ 0 h 5322"/>
                    <a:gd name="connsiteX1" fmla="*/ 2034 w 13755"/>
                    <a:gd name="connsiteY1" fmla="*/ 778 h 5322"/>
                    <a:gd name="connsiteX2" fmla="*/ 4605 w 13755"/>
                    <a:gd name="connsiteY2" fmla="*/ 1794 h 5322"/>
                    <a:gd name="connsiteX3" fmla="*/ 7177 w 13755"/>
                    <a:gd name="connsiteY3" fmla="*/ 2811 h 5322"/>
                    <a:gd name="connsiteX4" fmla="*/ 9330 w 13755"/>
                    <a:gd name="connsiteY4" fmla="*/ 3648 h 5322"/>
                    <a:gd name="connsiteX5" fmla="*/ 9749 w 13755"/>
                    <a:gd name="connsiteY5" fmla="*/ 3828 h 5322"/>
                    <a:gd name="connsiteX6" fmla="*/ 10586 w 13755"/>
                    <a:gd name="connsiteY6" fmla="*/ 4127 h 5322"/>
                    <a:gd name="connsiteX7" fmla="*/ 12320 w 13755"/>
                    <a:gd name="connsiteY7" fmla="*/ 4785 h 5322"/>
                    <a:gd name="connsiteX8" fmla="*/ 12799 w 13755"/>
                    <a:gd name="connsiteY8" fmla="*/ 4964 h 5322"/>
                    <a:gd name="connsiteX9" fmla="*/ 13756 w 13755"/>
                    <a:gd name="connsiteY9" fmla="*/ 5323 h 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55" h="5322">
                      <a:moveTo>
                        <a:pt x="0" y="0"/>
                      </a:moveTo>
                      <a:lnTo>
                        <a:pt x="2034" y="778"/>
                      </a:lnTo>
                      <a:lnTo>
                        <a:pt x="4605" y="1794"/>
                      </a:lnTo>
                      <a:lnTo>
                        <a:pt x="7177" y="2811"/>
                      </a:lnTo>
                      <a:lnTo>
                        <a:pt x="9330" y="3648"/>
                      </a:lnTo>
                      <a:lnTo>
                        <a:pt x="9749" y="3828"/>
                      </a:lnTo>
                      <a:lnTo>
                        <a:pt x="10586" y="4127"/>
                      </a:lnTo>
                      <a:lnTo>
                        <a:pt x="12320" y="4785"/>
                      </a:lnTo>
                      <a:lnTo>
                        <a:pt x="12799" y="4964"/>
                      </a:lnTo>
                      <a:lnTo>
                        <a:pt x="13756" y="5323"/>
                      </a:lnTo>
                    </a:path>
                  </a:pathLst>
                </a:custGeom>
                <a:noFill/>
                <a:ln w="6350" cap="flat">
                  <a:solidFill>
                    <a:schemeClr val="bg1">
                      <a:alpha val="80000"/>
                    </a:schemeClr>
                  </a:solidFill>
                  <a:prstDash val="solid"/>
                  <a:miter/>
                </a:ln>
              </p:spPr>
              <p:txBody>
                <a:bodyPr rtlCol="0" anchor="ctr"/>
                <a:lstStyle/>
                <a:p>
                  <a:endParaRPr lang="en-GB"/>
                </a:p>
              </p:txBody>
            </p:sp>
            <p:sp>
              <p:nvSpPr>
                <p:cNvPr id="7832" name="Vrije vorm: vorm 7831">
                  <a:extLst>
                    <a:ext uri="{FF2B5EF4-FFF2-40B4-BE49-F238E27FC236}">
                      <a16:creationId xmlns:a16="http://schemas.microsoft.com/office/drawing/2014/main" id="{1304A752-D6B4-4A5C-9C38-304D1E1C8208}"/>
                    </a:ext>
                  </a:extLst>
                </p:cNvPr>
                <p:cNvSpPr/>
                <p:nvPr/>
              </p:nvSpPr>
              <p:spPr>
                <a:xfrm>
                  <a:off x="5842347" y="5161582"/>
                  <a:ext cx="7775" cy="19915"/>
                </a:xfrm>
                <a:custGeom>
                  <a:avLst/>
                  <a:gdLst>
                    <a:gd name="connsiteX0" fmla="*/ 7775 w 7775"/>
                    <a:gd name="connsiteY0" fmla="*/ 0 h 19915"/>
                    <a:gd name="connsiteX1" fmla="*/ 7297 w 7775"/>
                    <a:gd name="connsiteY1" fmla="*/ 1973 h 19915"/>
                    <a:gd name="connsiteX2" fmla="*/ 6818 w 7775"/>
                    <a:gd name="connsiteY2" fmla="*/ 2871 h 19915"/>
                    <a:gd name="connsiteX3" fmla="*/ 6519 w 7775"/>
                    <a:gd name="connsiteY3" fmla="*/ 3409 h 19915"/>
                    <a:gd name="connsiteX4" fmla="*/ 5742 w 7775"/>
                    <a:gd name="connsiteY4" fmla="*/ 4904 h 19915"/>
                    <a:gd name="connsiteX5" fmla="*/ 5562 w 7775"/>
                    <a:gd name="connsiteY5" fmla="*/ 5203 h 19915"/>
                    <a:gd name="connsiteX6" fmla="*/ 5503 w 7775"/>
                    <a:gd name="connsiteY6" fmla="*/ 5263 h 19915"/>
                    <a:gd name="connsiteX7" fmla="*/ 3947 w 7775"/>
                    <a:gd name="connsiteY7" fmla="*/ 8313 h 19915"/>
                    <a:gd name="connsiteX8" fmla="*/ 2392 w 7775"/>
                    <a:gd name="connsiteY8" fmla="*/ 11363 h 19915"/>
                    <a:gd name="connsiteX9" fmla="*/ 2093 w 7775"/>
                    <a:gd name="connsiteY9" fmla="*/ 11961 h 19915"/>
                    <a:gd name="connsiteX10" fmla="*/ 538 w 7775"/>
                    <a:gd name="connsiteY10" fmla="*/ 15012 h 19915"/>
                    <a:gd name="connsiteX11" fmla="*/ 0 w 7775"/>
                    <a:gd name="connsiteY11" fmla="*/ 16088 h 19915"/>
                    <a:gd name="connsiteX12" fmla="*/ 299 w 7775"/>
                    <a:gd name="connsiteY12" fmla="*/ 16327 h 19915"/>
                    <a:gd name="connsiteX13" fmla="*/ 2273 w 7775"/>
                    <a:gd name="connsiteY13" fmla="*/ 17882 h 19915"/>
                    <a:gd name="connsiteX14" fmla="*/ 2273 w 7775"/>
                    <a:gd name="connsiteY14" fmla="*/ 17882 h 19915"/>
                    <a:gd name="connsiteX15" fmla="*/ 3888 w 7775"/>
                    <a:gd name="connsiteY15" fmla="*/ 19198 h 19915"/>
                    <a:gd name="connsiteX16" fmla="*/ 4187 w 7775"/>
                    <a:gd name="connsiteY16" fmla="*/ 19437 h 19915"/>
                    <a:gd name="connsiteX17" fmla="*/ 4306 w 7775"/>
                    <a:gd name="connsiteY17" fmla="*/ 19557 h 19915"/>
                    <a:gd name="connsiteX18" fmla="*/ 4785 w 7775"/>
                    <a:gd name="connsiteY18" fmla="*/ 19916 h 19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75" h="19915">
                      <a:moveTo>
                        <a:pt x="7775" y="0"/>
                      </a:moveTo>
                      <a:lnTo>
                        <a:pt x="7297" y="1973"/>
                      </a:lnTo>
                      <a:lnTo>
                        <a:pt x="6818" y="2871"/>
                      </a:lnTo>
                      <a:lnTo>
                        <a:pt x="6519" y="3409"/>
                      </a:lnTo>
                      <a:lnTo>
                        <a:pt x="5742" y="4904"/>
                      </a:lnTo>
                      <a:lnTo>
                        <a:pt x="5562" y="5203"/>
                      </a:lnTo>
                      <a:lnTo>
                        <a:pt x="5503" y="5263"/>
                      </a:lnTo>
                      <a:lnTo>
                        <a:pt x="3947" y="8313"/>
                      </a:lnTo>
                      <a:lnTo>
                        <a:pt x="2392" y="11363"/>
                      </a:lnTo>
                      <a:lnTo>
                        <a:pt x="2093" y="11961"/>
                      </a:lnTo>
                      <a:lnTo>
                        <a:pt x="538" y="15012"/>
                      </a:lnTo>
                      <a:lnTo>
                        <a:pt x="0" y="16088"/>
                      </a:lnTo>
                      <a:lnTo>
                        <a:pt x="299" y="16327"/>
                      </a:lnTo>
                      <a:lnTo>
                        <a:pt x="2273" y="17882"/>
                      </a:lnTo>
                      <a:lnTo>
                        <a:pt x="2273" y="17882"/>
                      </a:lnTo>
                      <a:lnTo>
                        <a:pt x="3888" y="19198"/>
                      </a:lnTo>
                      <a:lnTo>
                        <a:pt x="4187" y="19437"/>
                      </a:lnTo>
                      <a:lnTo>
                        <a:pt x="4306" y="19557"/>
                      </a:lnTo>
                      <a:lnTo>
                        <a:pt x="4785" y="19916"/>
                      </a:lnTo>
                    </a:path>
                  </a:pathLst>
                </a:custGeom>
                <a:noFill/>
                <a:ln w="6350" cap="flat">
                  <a:solidFill>
                    <a:schemeClr val="bg1">
                      <a:alpha val="80000"/>
                    </a:schemeClr>
                  </a:solidFill>
                  <a:prstDash val="solid"/>
                  <a:miter/>
                </a:ln>
              </p:spPr>
              <p:txBody>
                <a:bodyPr rtlCol="0" anchor="ctr"/>
                <a:lstStyle/>
                <a:p>
                  <a:endParaRPr lang="en-GB"/>
                </a:p>
              </p:txBody>
            </p:sp>
            <p:sp>
              <p:nvSpPr>
                <p:cNvPr id="7833" name="Vrije vorm: vorm 7832">
                  <a:extLst>
                    <a:ext uri="{FF2B5EF4-FFF2-40B4-BE49-F238E27FC236}">
                      <a16:creationId xmlns:a16="http://schemas.microsoft.com/office/drawing/2014/main" id="{04B2A97E-D5EE-4138-B388-794841A7ED69}"/>
                    </a:ext>
                  </a:extLst>
                </p:cNvPr>
                <p:cNvSpPr/>
                <p:nvPr/>
              </p:nvSpPr>
              <p:spPr>
                <a:xfrm>
                  <a:off x="5852036" y="5169656"/>
                  <a:ext cx="2152" cy="1794"/>
                </a:xfrm>
                <a:custGeom>
                  <a:avLst/>
                  <a:gdLst>
                    <a:gd name="connsiteX0" fmla="*/ 0 w 2152"/>
                    <a:gd name="connsiteY0" fmla="*/ 0 h 1794"/>
                    <a:gd name="connsiteX1" fmla="*/ 418 w 2152"/>
                    <a:gd name="connsiteY1" fmla="*/ 359 h 1794"/>
                    <a:gd name="connsiteX2" fmla="*/ 538 w 2152"/>
                    <a:gd name="connsiteY2" fmla="*/ 419 h 1794"/>
                    <a:gd name="connsiteX3" fmla="*/ 2153 w 2152"/>
                    <a:gd name="connsiteY3" fmla="*/ 1794 h 1794"/>
                  </a:gdLst>
                  <a:ahLst/>
                  <a:cxnLst>
                    <a:cxn ang="0">
                      <a:pos x="connsiteX0" y="connsiteY0"/>
                    </a:cxn>
                    <a:cxn ang="0">
                      <a:pos x="connsiteX1" y="connsiteY1"/>
                    </a:cxn>
                    <a:cxn ang="0">
                      <a:pos x="connsiteX2" y="connsiteY2"/>
                    </a:cxn>
                    <a:cxn ang="0">
                      <a:pos x="connsiteX3" y="connsiteY3"/>
                    </a:cxn>
                  </a:cxnLst>
                  <a:rect l="l" t="t" r="r" b="b"/>
                  <a:pathLst>
                    <a:path w="2152" h="1794">
                      <a:moveTo>
                        <a:pt x="0" y="0"/>
                      </a:moveTo>
                      <a:lnTo>
                        <a:pt x="418" y="359"/>
                      </a:lnTo>
                      <a:lnTo>
                        <a:pt x="538" y="419"/>
                      </a:lnTo>
                      <a:lnTo>
                        <a:pt x="2153" y="1794"/>
                      </a:lnTo>
                    </a:path>
                  </a:pathLst>
                </a:custGeom>
                <a:noFill/>
                <a:ln w="6350" cap="flat">
                  <a:solidFill>
                    <a:schemeClr val="bg1">
                      <a:alpha val="80000"/>
                    </a:schemeClr>
                  </a:solidFill>
                  <a:prstDash val="solid"/>
                  <a:miter/>
                </a:ln>
              </p:spPr>
              <p:txBody>
                <a:bodyPr rtlCol="0" anchor="ctr"/>
                <a:lstStyle/>
                <a:p>
                  <a:endParaRPr lang="en-GB"/>
                </a:p>
              </p:txBody>
            </p:sp>
            <p:sp>
              <p:nvSpPr>
                <p:cNvPr id="7834" name="Vrije vorm: vorm 7833">
                  <a:extLst>
                    <a:ext uri="{FF2B5EF4-FFF2-40B4-BE49-F238E27FC236}">
                      <a16:creationId xmlns:a16="http://schemas.microsoft.com/office/drawing/2014/main" id="{9B5F07B1-2974-48B3-8028-A2EB1A2CE0FC}"/>
                    </a:ext>
                  </a:extLst>
                </p:cNvPr>
                <p:cNvSpPr/>
                <p:nvPr/>
              </p:nvSpPr>
              <p:spPr>
                <a:xfrm>
                  <a:off x="5852694" y="5155243"/>
                  <a:ext cx="4425" cy="8552"/>
                </a:xfrm>
                <a:custGeom>
                  <a:avLst/>
                  <a:gdLst>
                    <a:gd name="connsiteX0" fmla="*/ 0 w 4425"/>
                    <a:gd name="connsiteY0" fmla="*/ 8552 h 8552"/>
                    <a:gd name="connsiteX1" fmla="*/ 598 w 4425"/>
                    <a:gd name="connsiteY1" fmla="*/ 7416 h 8552"/>
                    <a:gd name="connsiteX2" fmla="*/ 837 w 4425"/>
                    <a:gd name="connsiteY2" fmla="*/ 6997 h 8552"/>
                    <a:gd name="connsiteX3" fmla="*/ 2392 w 4425"/>
                    <a:gd name="connsiteY3" fmla="*/ 3947 h 8552"/>
                    <a:gd name="connsiteX4" fmla="*/ 3947 w 4425"/>
                    <a:gd name="connsiteY4" fmla="*/ 897 h 8552"/>
                    <a:gd name="connsiteX5" fmla="*/ 4426 w 4425"/>
                    <a:gd name="connsiteY5" fmla="*/ 0 h 8552"/>
                    <a:gd name="connsiteX6" fmla="*/ 2871 w 4425"/>
                    <a:gd name="connsiteY6" fmla="*/ 3050 h 8552"/>
                    <a:gd name="connsiteX7" fmla="*/ 1316 w 4425"/>
                    <a:gd name="connsiteY7" fmla="*/ 6100 h 8552"/>
                    <a:gd name="connsiteX8" fmla="*/ 837 w 4425"/>
                    <a:gd name="connsiteY8" fmla="*/ 6997 h 8552"/>
                    <a:gd name="connsiteX9" fmla="*/ 598 w 4425"/>
                    <a:gd name="connsiteY9" fmla="*/ 7416 h 8552"/>
                    <a:gd name="connsiteX10" fmla="*/ 0 w 4425"/>
                    <a:gd name="connsiteY10" fmla="*/ 8552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5" h="8552">
                      <a:moveTo>
                        <a:pt x="0" y="8552"/>
                      </a:moveTo>
                      <a:lnTo>
                        <a:pt x="598" y="7416"/>
                      </a:lnTo>
                      <a:lnTo>
                        <a:pt x="837" y="6997"/>
                      </a:lnTo>
                      <a:lnTo>
                        <a:pt x="2392" y="3947"/>
                      </a:lnTo>
                      <a:lnTo>
                        <a:pt x="3947" y="897"/>
                      </a:lnTo>
                      <a:lnTo>
                        <a:pt x="4426" y="0"/>
                      </a:lnTo>
                      <a:lnTo>
                        <a:pt x="2871" y="3050"/>
                      </a:lnTo>
                      <a:lnTo>
                        <a:pt x="1316" y="6100"/>
                      </a:lnTo>
                      <a:lnTo>
                        <a:pt x="837" y="6997"/>
                      </a:lnTo>
                      <a:lnTo>
                        <a:pt x="598" y="7416"/>
                      </a:lnTo>
                      <a:lnTo>
                        <a:pt x="0" y="8552"/>
                      </a:lnTo>
                    </a:path>
                  </a:pathLst>
                </a:custGeom>
                <a:noFill/>
                <a:ln w="6350" cap="flat">
                  <a:solidFill>
                    <a:schemeClr val="bg1">
                      <a:alpha val="80000"/>
                    </a:schemeClr>
                  </a:solidFill>
                  <a:prstDash val="solid"/>
                  <a:miter/>
                </a:ln>
              </p:spPr>
              <p:txBody>
                <a:bodyPr rtlCol="0" anchor="ctr"/>
                <a:lstStyle/>
                <a:p>
                  <a:endParaRPr lang="en-GB"/>
                </a:p>
              </p:txBody>
            </p:sp>
            <p:sp>
              <p:nvSpPr>
                <p:cNvPr id="7835" name="Vrije vorm: vorm 7834">
                  <a:extLst>
                    <a:ext uri="{FF2B5EF4-FFF2-40B4-BE49-F238E27FC236}">
                      <a16:creationId xmlns:a16="http://schemas.microsoft.com/office/drawing/2014/main" id="{A17E342E-6CEB-426C-92A5-3517BEE4E1FE}"/>
                    </a:ext>
                  </a:extLst>
                </p:cNvPr>
                <p:cNvSpPr/>
                <p:nvPr/>
              </p:nvSpPr>
              <p:spPr>
                <a:xfrm>
                  <a:off x="5854668" y="5166905"/>
                  <a:ext cx="59" cy="298"/>
                </a:xfrm>
                <a:custGeom>
                  <a:avLst/>
                  <a:gdLst>
                    <a:gd name="connsiteX0" fmla="*/ 0 w 59"/>
                    <a:gd name="connsiteY0" fmla="*/ 0 h 298"/>
                    <a:gd name="connsiteX1" fmla="*/ 0 w 59"/>
                    <a:gd name="connsiteY1" fmla="*/ 179 h 298"/>
                    <a:gd name="connsiteX2" fmla="*/ 60 w 59"/>
                    <a:gd name="connsiteY2" fmla="*/ 299 h 298"/>
                  </a:gdLst>
                  <a:ahLst/>
                  <a:cxnLst>
                    <a:cxn ang="0">
                      <a:pos x="connsiteX0" y="connsiteY0"/>
                    </a:cxn>
                    <a:cxn ang="0">
                      <a:pos x="connsiteX1" y="connsiteY1"/>
                    </a:cxn>
                    <a:cxn ang="0">
                      <a:pos x="connsiteX2" y="connsiteY2"/>
                    </a:cxn>
                  </a:cxnLst>
                  <a:rect l="l" t="t" r="r" b="b"/>
                  <a:pathLst>
                    <a:path w="59" h="298">
                      <a:moveTo>
                        <a:pt x="0" y="0"/>
                      </a:moveTo>
                      <a:lnTo>
                        <a:pt x="0" y="179"/>
                      </a:lnTo>
                      <a:lnTo>
                        <a:pt x="60" y="299"/>
                      </a:lnTo>
                    </a:path>
                  </a:pathLst>
                </a:custGeom>
                <a:noFill/>
                <a:ln w="6350" cap="flat">
                  <a:solidFill>
                    <a:schemeClr val="bg1">
                      <a:alpha val="80000"/>
                    </a:schemeClr>
                  </a:solidFill>
                  <a:prstDash val="solid"/>
                  <a:miter/>
                </a:ln>
              </p:spPr>
              <p:txBody>
                <a:bodyPr rtlCol="0" anchor="ctr"/>
                <a:lstStyle/>
                <a:p>
                  <a:endParaRPr lang="en-GB"/>
                </a:p>
              </p:txBody>
            </p:sp>
            <p:sp>
              <p:nvSpPr>
                <p:cNvPr id="7836" name="Vrije vorm: vorm 7835">
                  <a:extLst>
                    <a:ext uri="{FF2B5EF4-FFF2-40B4-BE49-F238E27FC236}">
                      <a16:creationId xmlns:a16="http://schemas.microsoft.com/office/drawing/2014/main" id="{AA4A3A77-1BCC-4354-83F4-07697B53CB74}"/>
                    </a:ext>
                  </a:extLst>
                </p:cNvPr>
                <p:cNvSpPr/>
                <p:nvPr/>
              </p:nvSpPr>
              <p:spPr>
                <a:xfrm>
                  <a:off x="5855625" y="5164931"/>
                  <a:ext cx="239" cy="59"/>
                </a:xfrm>
                <a:custGeom>
                  <a:avLst/>
                  <a:gdLst>
                    <a:gd name="connsiteX0" fmla="*/ 239 w 239"/>
                    <a:gd name="connsiteY0" fmla="*/ 60 h 59"/>
                    <a:gd name="connsiteX1" fmla="*/ 120 w 239"/>
                    <a:gd name="connsiteY1" fmla="*/ 0 h 59"/>
                    <a:gd name="connsiteX2" fmla="*/ 0 w 239"/>
                    <a:gd name="connsiteY2" fmla="*/ 60 h 59"/>
                  </a:gdLst>
                  <a:ahLst/>
                  <a:cxnLst>
                    <a:cxn ang="0">
                      <a:pos x="connsiteX0" y="connsiteY0"/>
                    </a:cxn>
                    <a:cxn ang="0">
                      <a:pos x="connsiteX1" y="connsiteY1"/>
                    </a:cxn>
                    <a:cxn ang="0">
                      <a:pos x="connsiteX2" y="connsiteY2"/>
                    </a:cxn>
                  </a:cxnLst>
                  <a:rect l="l" t="t" r="r" b="b"/>
                  <a:pathLst>
                    <a:path w="239" h="59">
                      <a:moveTo>
                        <a:pt x="239" y="60"/>
                      </a:moveTo>
                      <a:lnTo>
                        <a:pt x="120" y="0"/>
                      </a:lnTo>
                      <a:lnTo>
                        <a:pt x="0" y="60"/>
                      </a:lnTo>
                    </a:path>
                  </a:pathLst>
                </a:custGeom>
                <a:noFill/>
                <a:ln w="6350" cap="flat">
                  <a:solidFill>
                    <a:schemeClr val="bg1">
                      <a:alpha val="80000"/>
                    </a:schemeClr>
                  </a:solidFill>
                  <a:prstDash val="solid"/>
                  <a:miter/>
                </a:ln>
              </p:spPr>
              <p:txBody>
                <a:bodyPr rtlCol="0" anchor="ctr"/>
                <a:lstStyle/>
                <a:p>
                  <a:endParaRPr lang="en-GB"/>
                </a:p>
              </p:txBody>
            </p:sp>
            <p:sp>
              <p:nvSpPr>
                <p:cNvPr id="7837" name="Vrije vorm: vorm 7836">
                  <a:extLst>
                    <a:ext uri="{FF2B5EF4-FFF2-40B4-BE49-F238E27FC236}">
                      <a16:creationId xmlns:a16="http://schemas.microsoft.com/office/drawing/2014/main" id="{26944165-487C-4C44-847E-436D4E8E8BE3}"/>
                    </a:ext>
                  </a:extLst>
                </p:cNvPr>
                <p:cNvSpPr/>
                <p:nvPr/>
              </p:nvSpPr>
              <p:spPr>
                <a:xfrm>
                  <a:off x="5853591" y="5168998"/>
                  <a:ext cx="179" cy="298"/>
                </a:xfrm>
                <a:custGeom>
                  <a:avLst/>
                  <a:gdLst>
                    <a:gd name="connsiteX0" fmla="*/ 0 w 179"/>
                    <a:gd name="connsiteY0" fmla="*/ 0 h 298"/>
                    <a:gd name="connsiteX1" fmla="*/ 0 w 179"/>
                    <a:gd name="connsiteY1" fmla="*/ 0 h 298"/>
                    <a:gd name="connsiteX2" fmla="*/ 0 w 179"/>
                    <a:gd name="connsiteY2" fmla="*/ 120 h 298"/>
                    <a:gd name="connsiteX3" fmla="*/ 0 w 179"/>
                    <a:gd name="connsiteY3" fmla="*/ 120 h 298"/>
                    <a:gd name="connsiteX4" fmla="*/ 60 w 179"/>
                    <a:gd name="connsiteY4" fmla="*/ 239 h 298"/>
                    <a:gd name="connsiteX5" fmla="*/ 180 w 179"/>
                    <a:gd name="connsiteY5" fmla="*/ 299 h 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 h="298">
                      <a:moveTo>
                        <a:pt x="0" y="0"/>
                      </a:moveTo>
                      <a:lnTo>
                        <a:pt x="0" y="0"/>
                      </a:lnTo>
                      <a:lnTo>
                        <a:pt x="0" y="120"/>
                      </a:lnTo>
                      <a:lnTo>
                        <a:pt x="0" y="120"/>
                      </a:lnTo>
                      <a:lnTo>
                        <a:pt x="60" y="239"/>
                      </a:lnTo>
                      <a:lnTo>
                        <a:pt x="180" y="299"/>
                      </a:lnTo>
                    </a:path>
                  </a:pathLst>
                </a:custGeom>
                <a:noFill/>
                <a:ln w="6350" cap="flat">
                  <a:solidFill>
                    <a:schemeClr val="bg1">
                      <a:alpha val="80000"/>
                    </a:schemeClr>
                  </a:solidFill>
                  <a:prstDash val="solid"/>
                  <a:miter/>
                </a:ln>
              </p:spPr>
              <p:txBody>
                <a:bodyPr rtlCol="0" anchor="ctr"/>
                <a:lstStyle/>
                <a:p>
                  <a:endParaRPr lang="en-GB"/>
                </a:p>
              </p:txBody>
            </p:sp>
            <p:sp>
              <p:nvSpPr>
                <p:cNvPr id="7838" name="Vrije vorm: vorm 7837">
                  <a:extLst>
                    <a:ext uri="{FF2B5EF4-FFF2-40B4-BE49-F238E27FC236}">
                      <a16:creationId xmlns:a16="http://schemas.microsoft.com/office/drawing/2014/main" id="{F41D211C-8052-48BE-A361-7895BC75ED12}"/>
                    </a:ext>
                  </a:extLst>
                </p:cNvPr>
                <p:cNvSpPr/>
                <p:nvPr/>
              </p:nvSpPr>
              <p:spPr>
                <a:xfrm>
                  <a:off x="5854309" y="5167323"/>
                  <a:ext cx="239" cy="59"/>
                </a:xfrm>
                <a:custGeom>
                  <a:avLst/>
                  <a:gdLst>
                    <a:gd name="connsiteX0" fmla="*/ 239 w 239"/>
                    <a:gd name="connsiteY0" fmla="*/ 0 h 59"/>
                    <a:gd name="connsiteX1" fmla="*/ 120 w 239"/>
                    <a:gd name="connsiteY1" fmla="*/ 0 h 59"/>
                    <a:gd name="connsiteX2" fmla="*/ 0 w 239"/>
                    <a:gd name="connsiteY2" fmla="*/ 60 h 59"/>
                  </a:gdLst>
                  <a:ahLst/>
                  <a:cxnLst>
                    <a:cxn ang="0">
                      <a:pos x="connsiteX0" y="connsiteY0"/>
                    </a:cxn>
                    <a:cxn ang="0">
                      <a:pos x="connsiteX1" y="connsiteY1"/>
                    </a:cxn>
                    <a:cxn ang="0">
                      <a:pos x="connsiteX2" y="connsiteY2"/>
                    </a:cxn>
                  </a:cxnLst>
                  <a:rect l="l" t="t" r="r" b="b"/>
                  <a:pathLst>
                    <a:path w="239" h="59">
                      <a:moveTo>
                        <a:pt x="239" y="0"/>
                      </a:moveTo>
                      <a:lnTo>
                        <a:pt x="120" y="0"/>
                      </a:lnTo>
                      <a:lnTo>
                        <a:pt x="0" y="60"/>
                      </a:lnTo>
                    </a:path>
                  </a:pathLst>
                </a:custGeom>
                <a:noFill/>
                <a:ln w="6350" cap="flat">
                  <a:solidFill>
                    <a:schemeClr val="bg1">
                      <a:alpha val="80000"/>
                    </a:schemeClr>
                  </a:solidFill>
                  <a:prstDash val="solid"/>
                  <a:miter/>
                </a:ln>
              </p:spPr>
              <p:txBody>
                <a:bodyPr rtlCol="0" anchor="ctr"/>
                <a:lstStyle/>
                <a:p>
                  <a:endParaRPr lang="en-GB"/>
                </a:p>
              </p:txBody>
            </p:sp>
            <p:sp>
              <p:nvSpPr>
                <p:cNvPr id="7839" name="Vrije vorm: vorm 7838">
                  <a:extLst>
                    <a:ext uri="{FF2B5EF4-FFF2-40B4-BE49-F238E27FC236}">
                      <a16:creationId xmlns:a16="http://schemas.microsoft.com/office/drawing/2014/main" id="{EF8F2A27-C2D1-473C-A38E-2CD555DEFE7D}"/>
                    </a:ext>
                  </a:extLst>
                </p:cNvPr>
                <p:cNvSpPr/>
                <p:nvPr/>
              </p:nvSpPr>
              <p:spPr>
                <a:xfrm>
                  <a:off x="5854668" y="5164991"/>
                  <a:ext cx="2272" cy="2750"/>
                </a:xfrm>
                <a:custGeom>
                  <a:avLst/>
                  <a:gdLst>
                    <a:gd name="connsiteX0" fmla="*/ 1196 w 2272"/>
                    <a:gd name="connsiteY0" fmla="*/ 0 h 2750"/>
                    <a:gd name="connsiteX1" fmla="*/ 2213 w 2272"/>
                    <a:gd name="connsiteY1" fmla="*/ 419 h 2750"/>
                    <a:gd name="connsiteX2" fmla="*/ 2273 w 2272"/>
                    <a:gd name="connsiteY2" fmla="*/ 538 h 2750"/>
                    <a:gd name="connsiteX3" fmla="*/ 2273 w 2272"/>
                    <a:gd name="connsiteY3" fmla="*/ 718 h 2750"/>
                    <a:gd name="connsiteX4" fmla="*/ 2273 w 2272"/>
                    <a:gd name="connsiteY4" fmla="*/ 957 h 2750"/>
                    <a:gd name="connsiteX5" fmla="*/ 2273 w 2272"/>
                    <a:gd name="connsiteY5" fmla="*/ 1076 h 2750"/>
                    <a:gd name="connsiteX6" fmla="*/ 2213 w 2272"/>
                    <a:gd name="connsiteY6" fmla="*/ 1256 h 2750"/>
                    <a:gd name="connsiteX7" fmla="*/ 2093 w 2272"/>
                    <a:gd name="connsiteY7" fmla="*/ 1555 h 2750"/>
                    <a:gd name="connsiteX8" fmla="*/ 1974 w 2272"/>
                    <a:gd name="connsiteY8" fmla="*/ 1854 h 2750"/>
                    <a:gd name="connsiteX9" fmla="*/ 1795 w 2272"/>
                    <a:gd name="connsiteY9" fmla="*/ 2153 h 2750"/>
                    <a:gd name="connsiteX10" fmla="*/ 1615 w 2272"/>
                    <a:gd name="connsiteY10" fmla="*/ 2392 h 2750"/>
                    <a:gd name="connsiteX11" fmla="*/ 1495 w 2272"/>
                    <a:gd name="connsiteY11" fmla="*/ 2512 h 2750"/>
                    <a:gd name="connsiteX12" fmla="*/ 1436 w 2272"/>
                    <a:gd name="connsiteY12" fmla="*/ 2572 h 2750"/>
                    <a:gd name="connsiteX13" fmla="*/ 1256 w 2272"/>
                    <a:gd name="connsiteY13" fmla="*/ 2691 h 2750"/>
                    <a:gd name="connsiteX14" fmla="*/ 1136 w 2272"/>
                    <a:gd name="connsiteY14" fmla="*/ 2751 h 2750"/>
                    <a:gd name="connsiteX15" fmla="*/ 1017 w 2272"/>
                    <a:gd name="connsiteY15" fmla="*/ 2691 h 2750"/>
                    <a:gd name="connsiteX16" fmla="*/ 0 w 2272"/>
                    <a:gd name="connsiteY16" fmla="*/ 2273 h 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2" h="2750">
                      <a:moveTo>
                        <a:pt x="1196" y="0"/>
                      </a:moveTo>
                      <a:lnTo>
                        <a:pt x="2213" y="419"/>
                      </a:lnTo>
                      <a:lnTo>
                        <a:pt x="2273" y="538"/>
                      </a:lnTo>
                      <a:lnTo>
                        <a:pt x="2273" y="718"/>
                      </a:lnTo>
                      <a:lnTo>
                        <a:pt x="2273" y="957"/>
                      </a:lnTo>
                      <a:lnTo>
                        <a:pt x="2273" y="1076"/>
                      </a:lnTo>
                      <a:lnTo>
                        <a:pt x="2213" y="1256"/>
                      </a:lnTo>
                      <a:lnTo>
                        <a:pt x="2093" y="1555"/>
                      </a:lnTo>
                      <a:lnTo>
                        <a:pt x="1974" y="1854"/>
                      </a:lnTo>
                      <a:lnTo>
                        <a:pt x="1795" y="2153"/>
                      </a:lnTo>
                      <a:lnTo>
                        <a:pt x="1615" y="2392"/>
                      </a:lnTo>
                      <a:lnTo>
                        <a:pt x="1495" y="2512"/>
                      </a:lnTo>
                      <a:lnTo>
                        <a:pt x="1436" y="2572"/>
                      </a:lnTo>
                      <a:lnTo>
                        <a:pt x="1256" y="2691"/>
                      </a:lnTo>
                      <a:lnTo>
                        <a:pt x="1136" y="2751"/>
                      </a:lnTo>
                      <a:lnTo>
                        <a:pt x="1017" y="2691"/>
                      </a:lnTo>
                      <a:lnTo>
                        <a:pt x="0" y="2273"/>
                      </a:lnTo>
                    </a:path>
                  </a:pathLst>
                </a:custGeom>
                <a:noFill/>
                <a:ln w="6350" cap="flat">
                  <a:solidFill>
                    <a:schemeClr val="bg1">
                      <a:alpha val="80000"/>
                    </a:schemeClr>
                  </a:solidFill>
                  <a:prstDash val="solid"/>
                  <a:miter/>
                </a:ln>
              </p:spPr>
              <p:txBody>
                <a:bodyPr rtlCol="0" anchor="ctr"/>
                <a:lstStyle/>
                <a:p>
                  <a:endParaRPr lang="en-GB"/>
                </a:p>
              </p:txBody>
            </p:sp>
            <p:sp>
              <p:nvSpPr>
                <p:cNvPr id="7840" name="Vrije vorm: vorm 7839">
                  <a:extLst>
                    <a:ext uri="{FF2B5EF4-FFF2-40B4-BE49-F238E27FC236}">
                      <a16:creationId xmlns:a16="http://schemas.microsoft.com/office/drawing/2014/main" id="{300B4912-A345-4F3C-84EB-E4A2386CCB88}"/>
                    </a:ext>
                  </a:extLst>
                </p:cNvPr>
                <p:cNvSpPr/>
                <p:nvPr/>
              </p:nvSpPr>
              <p:spPr>
                <a:xfrm>
                  <a:off x="5855744" y="5165230"/>
                  <a:ext cx="1255" cy="2332"/>
                </a:xfrm>
                <a:custGeom>
                  <a:avLst/>
                  <a:gdLst>
                    <a:gd name="connsiteX0" fmla="*/ 60 w 1255"/>
                    <a:gd name="connsiteY0" fmla="*/ 2333 h 2332"/>
                    <a:gd name="connsiteX1" fmla="*/ 0 w 1255"/>
                    <a:gd name="connsiteY1" fmla="*/ 2213 h 2332"/>
                    <a:gd name="connsiteX2" fmla="*/ 0 w 1255"/>
                    <a:gd name="connsiteY2" fmla="*/ 2034 h 2332"/>
                    <a:gd name="connsiteX3" fmla="*/ 0 w 1255"/>
                    <a:gd name="connsiteY3" fmla="*/ 1794 h 2332"/>
                    <a:gd name="connsiteX4" fmla="*/ 60 w 1255"/>
                    <a:gd name="connsiteY4" fmla="*/ 1495 h 2332"/>
                    <a:gd name="connsiteX5" fmla="*/ 179 w 1255"/>
                    <a:gd name="connsiteY5" fmla="*/ 1196 h 2332"/>
                    <a:gd name="connsiteX6" fmla="*/ 299 w 1255"/>
                    <a:gd name="connsiteY6" fmla="*/ 897 h 2332"/>
                    <a:gd name="connsiteX7" fmla="*/ 478 w 1255"/>
                    <a:gd name="connsiteY7" fmla="*/ 598 h 2332"/>
                    <a:gd name="connsiteX8" fmla="*/ 658 w 1255"/>
                    <a:gd name="connsiteY8" fmla="*/ 359 h 2332"/>
                    <a:gd name="connsiteX9" fmla="*/ 837 w 1255"/>
                    <a:gd name="connsiteY9" fmla="*/ 180 h 2332"/>
                    <a:gd name="connsiteX10" fmla="*/ 1017 w 1255"/>
                    <a:gd name="connsiteY10" fmla="*/ 60 h 2332"/>
                    <a:gd name="connsiteX11" fmla="*/ 1136 w 1255"/>
                    <a:gd name="connsiteY11" fmla="*/ 0 h 2332"/>
                    <a:gd name="connsiteX12" fmla="*/ 1256 w 1255"/>
                    <a:gd name="connsiteY12" fmla="*/ 60 h 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5" h="2332">
                      <a:moveTo>
                        <a:pt x="60" y="2333"/>
                      </a:moveTo>
                      <a:lnTo>
                        <a:pt x="0" y="2213"/>
                      </a:lnTo>
                      <a:lnTo>
                        <a:pt x="0" y="2034"/>
                      </a:lnTo>
                      <a:lnTo>
                        <a:pt x="0" y="1794"/>
                      </a:lnTo>
                      <a:lnTo>
                        <a:pt x="60" y="1495"/>
                      </a:lnTo>
                      <a:lnTo>
                        <a:pt x="179" y="1196"/>
                      </a:lnTo>
                      <a:lnTo>
                        <a:pt x="299" y="897"/>
                      </a:lnTo>
                      <a:lnTo>
                        <a:pt x="478" y="598"/>
                      </a:lnTo>
                      <a:lnTo>
                        <a:pt x="658" y="359"/>
                      </a:lnTo>
                      <a:lnTo>
                        <a:pt x="837" y="180"/>
                      </a:lnTo>
                      <a:lnTo>
                        <a:pt x="1017" y="60"/>
                      </a:lnTo>
                      <a:lnTo>
                        <a:pt x="1136" y="0"/>
                      </a:lnTo>
                      <a:lnTo>
                        <a:pt x="1256" y="60"/>
                      </a:lnTo>
                    </a:path>
                  </a:pathLst>
                </a:custGeom>
                <a:noFill/>
                <a:ln w="6350" cap="flat">
                  <a:solidFill>
                    <a:schemeClr val="bg1">
                      <a:alpha val="80000"/>
                    </a:schemeClr>
                  </a:solidFill>
                  <a:prstDash val="solid"/>
                  <a:miter/>
                </a:ln>
              </p:spPr>
              <p:txBody>
                <a:bodyPr rtlCol="0" anchor="ctr"/>
                <a:lstStyle/>
                <a:p>
                  <a:endParaRPr lang="en-GB"/>
                </a:p>
              </p:txBody>
            </p:sp>
            <p:sp>
              <p:nvSpPr>
                <p:cNvPr id="7841" name="Vrije vorm: vorm 7840">
                  <a:extLst>
                    <a:ext uri="{FF2B5EF4-FFF2-40B4-BE49-F238E27FC236}">
                      <a16:creationId xmlns:a16="http://schemas.microsoft.com/office/drawing/2014/main" id="{F2629467-D917-4576-A329-3E1F0A4B53BF}"/>
                    </a:ext>
                  </a:extLst>
                </p:cNvPr>
                <p:cNvSpPr/>
                <p:nvPr/>
              </p:nvSpPr>
              <p:spPr>
                <a:xfrm>
                  <a:off x="5853831" y="5167802"/>
                  <a:ext cx="1913" cy="1913"/>
                </a:xfrm>
                <a:custGeom>
                  <a:avLst/>
                  <a:gdLst>
                    <a:gd name="connsiteX0" fmla="*/ 1017 w 1913"/>
                    <a:gd name="connsiteY0" fmla="*/ 1854 h 1913"/>
                    <a:gd name="connsiteX1" fmla="*/ 897 w 1913"/>
                    <a:gd name="connsiteY1" fmla="*/ 1794 h 1913"/>
                    <a:gd name="connsiteX2" fmla="*/ 837 w 1913"/>
                    <a:gd name="connsiteY2" fmla="*/ 1675 h 1913"/>
                    <a:gd name="connsiteX3" fmla="*/ 837 w 1913"/>
                    <a:gd name="connsiteY3" fmla="*/ 1675 h 1913"/>
                    <a:gd name="connsiteX4" fmla="*/ 837 w 1913"/>
                    <a:gd name="connsiteY4" fmla="*/ 1555 h 1913"/>
                    <a:gd name="connsiteX5" fmla="*/ 837 w 1913"/>
                    <a:gd name="connsiteY5" fmla="*/ 1495 h 1913"/>
                    <a:gd name="connsiteX6" fmla="*/ 837 w 1913"/>
                    <a:gd name="connsiteY6" fmla="*/ 1316 h 1913"/>
                    <a:gd name="connsiteX7" fmla="*/ 837 w 1913"/>
                    <a:gd name="connsiteY7" fmla="*/ 1196 h 1913"/>
                    <a:gd name="connsiteX8" fmla="*/ 837 w 1913"/>
                    <a:gd name="connsiteY8" fmla="*/ 1076 h 1913"/>
                    <a:gd name="connsiteX9" fmla="*/ 897 w 1913"/>
                    <a:gd name="connsiteY9" fmla="*/ 837 h 1913"/>
                    <a:gd name="connsiteX10" fmla="*/ 1017 w 1913"/>
                    <a:gd name="connsiteY10" fmla="*/ 598 h 1913"/>
                    <a:gd name="connsiteX11" fmla="*/ 1136 w 1913"/>
                    <a:gd name="connsiteY11" fmla="*/ 359 h 1913"/>
                    <a:gd name="connsiteX12" fmla="*/ 1256 w 1913"/>
                    <a:gd name="connsiteY12" fmla="*/ 180 h 1913"/>
                    <a:gd name="connsiteX13" fmla="*/ 1435 w 1913"/>
                    <a:gd name="connsiteY13" fmla="*/ 60 h 1913"/>
                    <a:gd name="connsiteX14" fmla="*/ 1555 w 1913"/>
                    <a:gd name="connsiteY14" fmla="*/ 0 h 1913"/>
                    <a:gd name="connsiteX15" fmla="*/ 1674 w 1913"/>
                    <a:gd name="connsiteY15" fmla="*/ 0 h 1913"/>
                    <a:gd name="connsiteX16" fmla="*/ 1794 w 1913"/>
                    <a:gd name="connsiteY16" fmla="*/ 60 h 1913"/>
                    <a:gd name="connsiteX17" fmla="*/ 1854 w 1913"/>
                    <a:gd name="connsiteY17" fmla="*/ 180 h 1913"/>
                    <a:gd name="connsiteX18" fmla="*/ 1914 w 1913"/>
                    <a:gd name="connsiteY18" fmla="*/ 359 h 1913"/>
                    <a:gd name="connsiteX19" fmla="*/ 1914 w 1913"/>
                    <a:gd name="connsiteY19" fmla="*/ 538 h 1913"/>
                    <a:gd name="connsiteX20" fmla="*/ 1914 w 1913"/>
                    <a:gd name="connsiteY20" fmla="*/ 658 h 1913"/>
                    <a:gd name="connsiteX21" fmla="*/ 1914 w 1913"/>
                    <a:gd name="connsiteY21" fmla="*/ 778 h 1913"/>
                    <a:gd name="connsiteX22" fmla="*/ 1854 w 1913"/>
                    <a:gd name="connsiteY22" fmla="*/ 1017 h 1913"/>
                    <a:gd name="connsiteX23" fmla="*/ 1734 w 1913"/>
                    <a:gd name="connsiteY23" fmla="*/ 1256 h 1913"/>
                    <a:gd name="connsiteX24" fmla="*/ 1615 w 1913"/>
                    <a:gd name="connsiteY24" fmla="*/ 1495 h 1913"/>
                    <a:gd name="connsiteX25" fmla="*/ 1555 w 1913"/>
                    <a:gd name="connsiteY25" fmla="*/ 1555 h 1913"/>
                    <a:gd name="connsiteX26" fmla="*/ 1435 w 1913"/>
                    <a:gd name="connsiteY26" fmla="*/ 1675 h 1913"/>
                    <a:gd name="connsiteX27" fmla="*/ 1316 w 1913"/>
                    <a:gd name="connsiteY27" fmla="*/ 1794 h 1913"/>
                    <a:gd name="connsiteX28" fmla="*/ 1256 w 1913"/>
                    <a:gd name="connsiteY28" fmla="*/ 1854 h 1913"/>
                    <a:gd name="connsiteX29" fmla="*/ 1256 w 1913"/>
                    <a:gd name="connsiteY29" fmla="*/ 1854 h 1913"/>
                    <a:gd name="connsiteX30" fmla="*/ 1136 w 1913"/>
                    <a:gd name="connsiteY30" fmla="*/ 1914 h 1913"/>
                    <a:gd name="connsiteX31" fmla="*/ 1136 w 1913"/>
                    <a:gd name="connsiteY31" fmla="*/ 1914 h 1913"/>
                    <a:gd name="connsiteX32" fmla="*/ 1017 w 1913"/>
                    <a:gd name="connsiteY32" fmla="*/ 1854 h 1913"/>
                    <a:gd name="connsiteX33" fmla="*/ 0 w 1913"/>
                    <a:gd name="connsiteY33" fmla="*/ 1435 h 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13" h="1913">
                      <a:moveTo>
                        <a:pt x="1017" y="1854"/>
                      </a:moveTo>
                      <a:lnTo>
                        <a:pt x="897" y="1794"/>
                      </a:lnTo>
                      <a:lnTo>
                        <a:pt x="837" y="1675"/>
                      </a:lnTo>
                      <a:lnTo>
                        <a:pt x="837" y="1675"/>
                      </a:lnTo>
                      <a:lnTo>
                        <a:pt x="837" y="1555"/>
                      </a:lnTo>
                      <a:lnTo>
                        <a:pt x="837" y="1495"/>
                      </a:lnTo>
                      <a:lnTo>
                        <a:pt x="837" y="1316"/>
                      </a:lnTo>
                      <a:lnTo>
                        <a:pt x="837" y="1196"/>
                      </a:lnTo>
                      <a:lnTo>
                        <a:pt x="837" y="1076"/>
                      </a:lnTo>
                      <a:lnTo>
                        <a:pt x="897" y="837"/>
                      </a:lnTo>
                      <a:lnTo>
                        <a:pt x="1017" y="598"/>
                      </a:lnTo>
                      <a:lnTo>
                        <a:pt x="1136" y="359"/>
                      </a:lnTo>
                      <a:lnTo>
                        <a:pt x="1256" y="180"/>
                      </a:lnTo>
                      <a:lnTo>
                        <a:pt x="1435" y="60"/>
                      </a:lnTo>
                      <a:lnTo>
                        <a:pt x="1555" y="0"/>
                      </a:lnTo>
                      <a:lnTo>
                        <a:pt x="1674" y="0"/>
                      </a:lnTo>
                      <a:lnTo>
                        <a:pt x="1794" y="60"/>
                      </a:lnTo>
                      <a:lnTo>
                        <a:pt x="1854" y="180"/>
                      </a:lnTo>
                      <a:lnTo>
                        <a:pt x="1914" y="359"/>
                      </a:lnTo>
                      <a:lnTo>
                        <a:pt x="1914" y="538"/>
                      </a:lnTo>
                      <a:lnTo>
                        <a:pt x="1914" y="658"/>
                      </a:lnTo>
                      <a:lnTo>
                        <a:pt x="1914" y="778"/>
                      </a:lnTo>
                      <a:lnTo>
                        <a:pt x="1854" y="1017"/>
                      </a:lnTo>
                      <a:lnTo>
                        <a:pt x="1734" y="1256"/>
                      </a:lnTo>
                      <a:lnTo>
                        <a:pt x="1615" y="1495"/>
                      </a:lnTo>
                      <a:lnTo>
                        <a:pt x="1555" y="1555"/>
                      </a:lnTo>
                      <a:lnTo>
                        <a:pt x="1435" y="1675"/>
                      </a:lnTo>
                      <a:lnTo>
                        <a:pt x="1316" y="1794"/>
                      </a:lnTo>
                      <a:lnTo>
                        <a:pt x="1256" y="1854"/>
                      </a:lnTo>
                      <a:lnTo>
                        <a:pt x="1256" y="1854"/>
                      </a:lnTo>
                      <a:lnTo>
                        <a:pt x="1136" y="1914"/>
                      </a:lnTo>
                      <a:lnTo>
                        <a:pt x="1136" y="1914"/>
                      </a:lnTo>
                      <a:lnTo>
                        <a:pt x="1017" y="1854"/>
                      </a:lnTo>
                      <a:lnTo>
                        <a:pt x="0" y="1435"/>
                      </a:lnTo>
                    </a:path>
                  </a:pathLst>
                </a:custGeom>
                <a:noFill/>
                <a:ln w="6350" cap="flat">
                  <a:solidFill>
                    <a:schemeClr val="bg1">
                      <a:alpha val="80000"/>
                    </a:schemeClr>
                  </a:solidFill>
                  <a:prstDash val="solid"/>
                  <a:miter/>
                </a:ln>
              </p:spPr>
              <p:txBody>
                <a:bodyPr rtlCol="0" anchor="ctr"/>
                <a:lstStyle/>
                <a:p>
                  <a:endParaRPr lang="en-GB"/>
                </a:p>
              </p:txBody>
            </p:sp>
            <p:sp>
              <p:nvSpPr>
                <p:cNvPr id="7842" name="Vrije vorm: vorm 7841">
                  <a:extLst>
                    <a:ext uri="{FF2B5EF4-FFF2-40B4-BE49-F238E27FC236}">
                      <a16:creationId xmlns:a16="http://schemas.microsoft.com/office/drawing/2014/main" id="{BDE9EED6-014D-4B26-A0E3-FFFFCB9585EA}"/>
                    </a:ext>
                  </a:extLst>
                </p:cNvPr>
                <p:cNvSpPr/>
                <p:nvPr/>
              </p:nvSpPr>
              <p:spPr>
                <a:xfrm>
                  <a:off x="5854548" y="5167323"/>
                  <a:ext cx="1016" cy="418"/>
                </a:xfrm>
                <a:custGeom>
                  <a:avLst/>
                  <a:gdLst>
                    <a:gd name="connsiteX0" fmla="*/ 0 w 1016"/>
                    <a:gd name="connsiteY0" fmla="*/ 0 h 418"/>
                    <a:gd name="connsiteX1" fmla="*/ 1017 w 1016"/>
                    <a:gd name="connsiteY1" fmla="*/ 419 h 418"/>
                  </a:gdLst>
                  <a:ahLst/>
                  <a:cxnLst>
                    <a:cxn ang="0">
                      <a:pos x="connsiteX0" y="connsiteY0"/>
                    </a:cxn>
                    <a:cxn ang="0">
                      <a:pos x="connsiteX1" y="connsiteY1"/>
                    </a:cxn>
                  </a:cxnLst>
                  <a:rect l="l" t="t" r="r" b="b"/>
                  <a:pathLst>
                    <a:path w="1016" h="418">
                      <a:moveTo>
                        <a:pt x="0" y="0"/>
                      </a:moveTo>
                      <a:lnTo>
                        <a:pt x="1017" y="419"/>
                      </a:lnTo>
                    </a:path>
                  </a:pathLst>
                </a:custGeom>
                <a:noFill/>
                <a:ln w="6350" cap="flat">
                  <a:solidFill>
                    <a:schemeClr val="bg1">
                      <a:alpha val="80000"/>
                    </a:schemeClr>
                  </a:solidFill>
                  <a:prstDash val="solid"/>
                  <a:miter/>
                </a:ln>
              </p:spPr>
              <p:txBody>
                <a:bodyPr rtlCol="0" anchor="ctr"/>
                <a:lstStyle/>
                <a:p>
                  <a:endParaRPr lang="en-GB"/>
                </a:p>
              </p:txBody>
            </p:sp>
            <p:sp>
              <p:nvSpPr>
                <p:cNvPr id="7843" name="Vrije vorm: vorm 7842">
                  <a:extLst>
                    <a:ext uri="{FF2B5EF4-FFF2-40B4-BE49-F238E27FC236}">
                      <a16:creationId xmlns:a16="http://schemas.microsoft.com/office/drawing/2014/main" id="{0A496E44-2219-4C6F-ADAD-C68C38DA625C}"/>
                    </a:ext>
                  </a:extLst>
                </p:cNvPr>
                <p:cNvSpPr/>
                <p:nvPr/>
              </p:nvSpPr>
              <p:spPr>
                <a:xfrm>
                  <a:off x="5842407" y="5165170"/>
                  <a:ext cx="2033" cy="1136"/>
                </a:xfrm>
                <a:custGeom>
                  <a:avLst/>
                  <a:gdLst>
                    <a:gd name="connsiteX0" fmla="*/ 0 w 2033"/>
                    <a:gd name="connsiteY0" fmla="*/ 0 h 1136"/>
                    <a:gd name="connsiteX1" fmla="*/ 778 w 2033"/>
                    <a:gd name="connsiteY1" fmla="*/ 658 h 1136"/>
                    <a:gd name="connsiteX2" fmla="*/ 1196 w 2033"/>
                    <a:gd name="connsiteY2" fmla="*/ 837 h 1136"/>
                    <a:gd name="connsiteX3" fmla="*/ 2034 w 2033"/>
                    <a:gd name="connsiteY3" fmla="*/ 1136 h 1136"/>
                  </a:gdLst>
                  <a:ahLst/>
                  <a:cxnLst>
                    <a:cxn ang="0">
                      <a:pos x="connsiteX0" y="connsiteY0"/>
                    </a:cxn>
                    <a:cxn ang="0">
                      <a:pos x="connsiteX1" y="connsiteY1"/>
                    </a:cxn>
                    <a:cxn ang="0">
                      <a:pos x="connsiteX2" y="connsiteY2"/>
                    </a:cxn>
                    <a:cxn ang="0">
                      <a:pos x="connsiteX3" y="connsiteY3"/>
                    </a:cxn>
                  </a:cxnLst>
                  <a:rect l="l" t="t" r="r" b="b"/>
                  <a:pathLst>
                    <a:path w="2033" h="1136">
                      <a:moveTo>
                        <a:pt x="0" y="0"/>
                      </a:moveTo>
                      <a:lnTo>
                        <a:pt x="778" y="658"/>
                      </a:lnTo>
                      <a:lnTo>
                        <a:pt x="1196" y="837"/>
                      </a:lnTo>
                      <a:lnTo>
                        <a:pt x="2034" y="1136"/>
                      </a:lnTo>
                    </a:path>
                  </a:pathLst>
                </a:custGeom>
                <a:noFill/>
                <a:ln w="6350" cap="flat">
                  <a:solidFill>
                    <a:schemeClr val="bg1">
                      <a:alpha val="80000"/>
                    </a:schemeClr>
                  </a:solidFill>
                  <a:prstDash val="solid"/>
                  <a:miter/>
                </a:ln>
              </p:spPr>
              <p:txBody>
                <a:bodyPr rtlCol="0" anchor="ctr"/>
                <a:lstStyle/>
                <a:p>
                  <a:endParaRPr lang="en-GB"/>
                </a:p>
              </p:txBody>
            </p:sp>
            <p:sp>
              <p:nvSpPr>
                <p:cNvPr id="7844" name="Vrije vorm: vorm 7843">
                  <a:extLst>
                    <a:ext uri="{FF2B5EF4-FFF2-40B4-BE49-F238E27FC236}">
                      <a16:creationId xmlns:a16="http://schemas.microsoft.com/office/drawing/2014/main" id="{A5A37C6B-7F11-402A-BE99-C164F629D52E}"/>
                    </a:ext>
                  </a:extLst>
                </p:cNvPr>
                <p:cNvSpPr/>
                <p:nvPr/>
              </p:nvSpPr>
              <p:spPr>
                <a:xfrm>
                  <a:off x="5867287" y="5200158"/>
                  <a:ext cx="1734" cy="4844"/>
                </a:xfrm>
                <a:custGeom>
                  <a:avLst/>
                  <a:gdLst>
                    <a:gd name="connsiteX0" fmla="*/ 478 w 1734"/>
                    <a:gd name="connsiteY0" fmla="*/ 0 h 4844"/>
                    <a:gd name="connsiteX1" fmla="*/ 239 w 1734"/>
                    <a:gd name="connsiteY1" fmla="*/ 897 h 4844"/>
                    <a:gd name="connsiteX2" fmla="*/ 60 w 1734"/>
                    <a:gd name="connsiteY2" fmla="*/ 1734 h 4844"/>
                    <a:gd name="connsiteX3" fmla="*/ 0 w 1734"/>
                    <a:gd name="connsiteY3" fmla="*/ 2452 h 4844"/>
                    <a:gd name="connsiteX4" fmla="*/ 60 w 1734"/>
                    <a:gd name="connsiteY4" fmla="*/ 3050 h 4844"/>
                    <a:gd name="connsiteX5" fmla="*/ 119 w 1734"/>
                    <a:gd name="connsiteY5" fmla="*/ 3349 h 4844"/>
                    <a:gd name="connsiteX6" fmla="*/ 179 w 1734"/>
                    <a:gd name="connsiteY6" fmla="*/ 3528 h 4844"/>
                    <a:gd name="connsiteX7" fmla="*/ 419 w 1734"/>
                    <a:gd name="connsiteY7" fmla="*/ 3827 h 4844"/>
                    <a:gd name="connsiteX8" fmla="*/ 1734 w 1734"/>
                    <a:gd name="connsiteY8" fmla="*/ 4844 h 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4" h="4844">
                      <a:moveTo>
                        <a:pt x="478" y="0"/>
                      </a:moveTo>
                      <a:lnTo>
                        <a:pt x="239" y="897"/>
                      </a:lnTo>
                      <a:lnTo>
                        <a:pt x="60" y="1734"/>
                      </a:lnTo>
                      <a:lnTo>
                        <a:pt x="0" y="2452"/>
                      </a:lnTo>
                      <a:lnTo>
                        <a:pt x="60" y="3050"/>
                      </a:lnTo>
                      <a:lnTo>
                        <a:pt x="119" y="3349"/>
                      </a:lnTo>
                      <a:lnTo>
                        <a:pt x="179" y="3528"/>
                      </a:lnTo>
                      <a:lnTo>
                        <a:pt x="419" y="3827"/>
                      </a:lnTo>
                      <a:lnTo>
                        <a:pt x="1734" y="4844"/>
                      </a:lnTo>
                    </a:path>
                  </a:pathLst>
                </a:custGeom>
                <a:noFill/>
                <a:ln w="6350" cap="flat">
                  <a:solidFill>
                    <a:schemeClr val="bg1">
                      <a:alpha val="80000"/>
                    </a:schemeClr>
                  </a:solidFill>
                  <a:prstDash val="solid"/>
                  <a:miter/>
                </a:ln>
              </p:spPr>
              <p:txBody>
                <a:bodyPr rtlCol="0" anchor="ctr"/>
                <a:lstStyle/>
                <a:p>
                  <a:endParaRPr lang="en-GB"/>
                </a:p>
              </p:txBody>
            </p:sp>
            <p:sp>
              <p:nvSpPr>
                <p:cNvPr id="7845" name="Vrije vorm: vorm 7844">
                  <a:extLst>
                    <a:ext uri="{FF2B5EF4-FFF2-40B4-BE49-F238E27FC236}">
                      <a16:creationId xmlns:a16="http://schemas.microsoft.com/office/drawing/2014/main" id="{3C981A19-F036-421C-8AB2-D1C288C9EF02}"/>
                    </a:ext>
                  </a:extLst>
                </p:cNvPr>
                <p:cNvSpPr/>
                <p:nvPr/>
              </p:nvSpPr>
              <p:spPr>
                <a:xfrm>
                  <a:off x="5866390" y="5180840"/>
                  <a:ext cx="11243" cy="22068"/>
                </a:xfrm>
                <a:custGeom>
                  <a:avLst/>
                  <a:gdLst>
                    <a:gd name="connsiteX0" fmla="*/ 0 w 11243"/>
                    <a:gd name="connsiteY0" fmla="*/ 22069 h 22068"/>
                    <a:gd name="connsiteX1" fmla="*/ 359 w 11243"/>
                    <a:gd name="connsiteY1" fmla="*/ 21351 h 22068"/>
                    <a:gd name="connsiteX2" fmla="*/ 1375 w 11243"/>
                    <a:gd name="connsiteY2" fmla="*/ 19318 h 22068"/>
                    <a:gd name="connsiteX3" fmla="*/ 3170 w 11243"/>
                    <a:gd name="connsiteY3" fmla="*/ 15789 h 22068"/>
                    <a:gd name="connsiteX4" fmla="*/ 4964 w 11243"/>
                    <a:gd name="connsiteY4" fmla="*/ 12260 h 22068"/>
                    <a:gd name="connsiteX5" fmla="*/ 6758 w 11243"/>
                    <a:gd name="connsiteY5" fmla="*/ 8732 h 22068"/>
                    <a:gd name="connsiteX6" fmla="*/ 8493 w 11243"/>
                    <a:gd name="connsiteY6" fmla="*/ 5323 h 22068"/>
                    <a:gd name="connsiteX7" fmla="*/ 10287 w 11243"/>
                    <a:gd name="connsiteY7" fmla="*/ 1794 h 22068"/>
                    <a:gd name="connsiteX8" fmla="*/ 10885 w 11243"/>
                    <a:gd name="connsiteY8" fmla="*/ 658 h 22068"/>
                    <a:gd name="connsiteX9" fmla="*/ 11244 w 11243"/>
                    <a:gd name="connsiteY9" fmla="*/ 0 h 22068"/>
                    <a:gd name="connsiteX10" fmla="*/ 10885 w 11243"/>
                    <a:gd name="connsiteY10" fmla="*/ 658 h 22068"/>
                    <a:gd name="connsiteX11" fmla="*/ 9091 w 11243"/>
                    <a:gd name="connsiteY11" fmla="*/ 4187 h 22068"/>
                    <a:gd name="connsiteX12" fmla="*/ 7297 w 11243"/>
                    <a:gd name="connsiteY12" fmla="*/ 7715 h 22068"/>
                    <a:gd name="connsiteX13" fmla="*/ 5502 w 11243"/>
                    <a:gd name="connsiteY13" fmla="*/ 11244 h 22068"/>
                    <a:gd name="connsiteX14" fmla="*/ 3708 w 11243"/>
                    <a:gd name="connsiteY14" fmla="*/ 14773 h 22068"/>
                    <a:gd name="connsiteX15" fmla="*/ 1914 w 11243"/>
                    <a:gd name="connsiteY15" fmla="*/ 18301 h 22068"/>
                    <a:gd name="connsiteX16" fmla="*/ 419 w 11243"/>
                    <a:gd name="connsiteY16" fmla="*/ 21291 h 22068"/>
                    <a:gd name="connsiteX17" fmla="*/ 0 w 11243"/>
                    <a:gd name="connsiteY17" fmla="*/ 22069 h 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243" h="22068">
                      <a:moveTo>
                        <a:pt x="0" y="22069"/>
                      </a:moveTo>
                      <a:lnTo>
                        <a:pt x="359" y="21351"/>
                      </a:lnTo>
                      <a:lnTo>
                        <a:pt x="1375" y="19318"/>
                      </a:lnTo>
                      <a:lnTo>
                        <a:pt x="3170" y="15789"/>
                      </a:lnTo>
                      <a:lnTo>
                        <a:pt x="4964" y="12260"/>
                      </a:lnTo>
                      <a:lnTo>
                        <a:pt x="6758" y="8732"/>
                      </a:lnTo>
                      <a:lnTo>
                        <a:pt x="8493" y="5323"/>
                      </a:lnTo>
                      <a:lnTo>
                        <a:pt x="10287" y="1794"/>
                      </a:lnTo>
                      <a:lnTo>
                        <a:pt x="10885" y="658"/>
                      </a:lnTo>
                      <a:lnTo>
                        <a:pt x="11244" y="0"/>
                      </a:lnTo>
                      <a:lnTo>
                        <a:pt x="10885" y="658"/>
                      </a:lnTo>
                      <a:lnTo>
                        <a:pt x="9091" y="4187"/>
                      </a:lnTo>
                      <a:lnTo>
                        <a:pt x="7297" y="7715"/>
                      </a:lnTo>
                      <a:lnTo>
                        <a:pt x="5502" y="11244"/>
                      </a:lnTo>
                      <a:lnTo>
                        <a:pt x="3708" y="14773"/>
                      </a:lnTo>
                      <a:lnTo>
                        <a:pt x="1914" y="18301"/>
                      </a:lnTo>
                      <a:lnTo>
                        <a:pt x="419" y="21291"/>
                      </a:lnTo>
                      <a:lnTo>
                        <a:pt x="0" y="22069"/>
                      </a:lnTo>
                    </a:path>
                  </a:pathLst>
                </a:custGeom>
                <a:noFill/>
                <a:ln w="6350" cap="flat">
                  <a:solidFill>
                    <a:schemeClr val="bg1">
                      <a:alpha val="80000"/>
                    </a:schemeClr>
                  </a:solidFill>
                  <a:prstDash val="solid"/>
                  <a:miter/>
                </a:ln>
              </p:spPr>
              <p:txBody>
                <a:bodyPr rtlCol="0" anchor="ctr"/>
                <a:lstStyle/>
                <a:p>
                  <a:endParaRPr lang="en-GB"/>
                </a:p>
              </p:txBody>
            </p:sp>
            <p:sp>
              <p:nvSpPr>
                <p:cNvPr id="7846" name="Vrije vorm: vorm 7845">
                  <a:extLst>
                    <a:ext uri="{FF2B5EF4-FFF2-40B4-BE49-F238E27FC236}">
                      <a16:creationId xmlns:a16="http://schemas.microsoft.com/office/drawing/2014/main" id="{C74A0C03-DCD0-4FA7-B19A-1FF48B235AC4}"/>
                    </a:ext>
                  </a:extLst>
                </p:cNvPr>
                <p:cNvSpPr/>
                <p:nvPr/>
              </p:nvSpPr>
              <p:spPr>
                <a:xfrm>
                  <a:off x="5868962" y="5182814"/>
                  <a:ext cx="11423" cy="21949"/>
                </a:xfrm>
                <a:custGeom>
                  <a:avLst/>
                  <a:gdLst>
                    <a:gd name="connsiteX0" fmla="*/ 11124 w 11423"/>
                    <a:gd name="connsiteY0" fmla="*/ 658 h 21949"/>
                    <a:gd name="connsiteX1" fmla="*/ 11005 w 11423"/>
                    <a:gd name="connsiteY1" fmla="*/ 598 h 21949"/>
                    <a:gd name="connsiteX2" fmla="*/ 11005 w 11423"/>
                    <a:gd name="connsiteY2" fmla="*/ 598 h 21949"/>
                    <a:gd name="connsiteX3" fmla="*/ 10706 w 11423"/>
                    <a:gd name="connsiteY3" fmla="*/ 479 h 21949"/>
                    <a:gd name="connsiteX4" fmla="*/ 10167 w 11423"/>
                    <a:gd name="connsiteY4" fmla="*/ 658 h 21949"/>
                    <a:gd name="connsiteX5" fmla="*/ 9868 w 11423"/>
                    <a:gd name="connsiteY5" fmla="*/ 897 h 21949"/>
                    <a:gd name="connsiteX6" fmla="*/ 9808 w 11423"/>
                    <a:gd name="connsiteY6" fmla="*/ 957 h 21949"/>
                    <a:gd name="connsiteX7" fmla="*/ 9569 w 11423"/>
                    <a:gd name="connsiteY7" fmla="*/ 1136 h 21949"/>
                    <a:gd name="connsiteX8" fmla="*/ 8911 w 11423"/>
                    <a:gd name="connsiteY8" fmla="*/ 1914 h 21949"/>
                    <a:gd name="connsiteX9" fmla="*/ 8253 w 11423"/>
                    <a:gd name="connsiteY9" fmla="*/ 2871 h 21949"/>
                    <a:gd name="connsiteX10" fmla="*/ 7596 w 11423"/>
                    <a:gd name="connsiteY10" fmla="*/ 4007 h 21949"/>
                    <a:gd name="connsiteX11" fmla="*/ 5801 w 11423"/>
                    <a:gd name="connsiteY11" fmla="*/ 7536 h 21949"/>
                    <a:gd name="connsiteX12" fmla="*/ 4007 w 11423"/>
                    <a:gd name="connsiteY12" fmla="*/ 11064 h 21949"/>
                    <a:gd name="connsiteX13" fmla="*/ 2213 w 11423"/>
                    <a:gd name="connsiteY13" fmla="*/ 14593 h 21949"/>
                    <a:gd name="connsiteX14" fmla="*/ 479 w 11423"/>
                    <a:gd name="connsiteY14" fmla="*/ 18002 h 21949"/>
                    <a:gd name="connsiteX15" fmla="*/ 239 w 11423"/>
                    <a:gd name="connsiteY15" fmla="*/ 18899 h 21949"/>
                    <a:gd name="connsiteX16" fmla="*/ 60 w 11423"/>
                    <a:gd name="connsiteY16" fmla="*/ 19736 h 21949"/>
                    <a:gd name="connsiteX17" fmla="*/ 0 w 11423"/>
                    <a:gd name="connsiteY17" fmla="*/ 20454 h 21949"/>
                    <a:gd name="connsiteX18" fmla="*/ 60 w 11423"/>
                    <a:gd name="connsiteY18" fmla="*/ 20873 h 21949"/>
                    <a:gd name="connsiteX19" fmla="*/ 60 w 11423"/>
                    <a:gd name="connsiteY19" fmla="*/ 21052 h 21949"/>
                    <a:gd name="connsiteX20" fmla="*/ 180 w 11423"/>
                    <a:gd name="connsiteY20" fmla="*/ 21530 h 21949"/>
                    <a:gd name="connsiteX21" fmla="*/ 299 w 11423"/>
                    <a:gd name="connsiteY21" fmla="*/ 21710 h 21949"/>
                    <a:gd name="connsiteX22" fmla="*/ 299 w 11423"/>
                    <a:gd name="connsiteY22" fmla="*/ 21710 h 21949"/>
                    <a:gd name="connsiteX23" fmla="*/ 359 w 11423"/>
                    <a:gd name="connsiteY23" fmla="*/ 21830 h 21949"/>
                    <a:gd name="connsiteX24" fmla="*/ 658 w 11423"/>
                    <a:gd name="connsiteY24" fmla="*/ 21949 h 21949"/>
                    <a:gd name="connsiteX25" fmla="*/ 1017 w 11423"/>
                    <a:gd name="connsiteY25" fmla="*/ 21889 h 21949"/>
                    <a:gd name="connsiteX26" fmla="*/ 1495 w 11423"/>
                    <a:gd name="connsiteY26" fmla="*/ 21650 h 21949"/>
                    <a:gd name="connsiteX27" fmla="*/ 1974 w 11423"/>
                    <a:gd name="connsiteY27" fmla="*/ 21291 h 21949"/>
                    <a:gd name="connsiteX28" fmla="*/ 2512 w 11423"/>
                    <a:gd name="connsiteY28" fmla="*/ 20753 h 21949"/>
                    <a:gd name="connsiteX29" fmla="*/ 3050 w 11423"/>
                    <a:gd name="connsiteY29" fmla="*/ 20095 h 21949"/>
                    <a:gd name="connsiteX30" fmla="*/ 4545 w 11423"/>
                    <a:gd name="connsiteY30" fmla="*/ 17165 h 21949"/>
                    <a:gd name="connsiteX31" fmla="*/ 6340 w 11423"/>
                    <a:gd name="connsiteY31" fmla="*/ 13636 h 21949"/>
                    <a:gd name="connsiteX32" fmla="*/ 8134 w 11423"/>
                    <a:gd name="connsiteY32" fmla="*/ 10107 h 21949"/>
                    <a:gd name="connsiteX33" fmla="*/ 9928 w 11423"/>
                    <a:gd name="connsiteY33" fmla="*/ 6579 h 21949"/>
                    <a:gd name="connsiteX34" fmla="*/ 10107 w 11423"/>
                    <a:gd name="connsiteY34" fmla="*/ 6220 h 21949"/>
                    <a:gd name="connsiteX35" fmla="*/ 10646 w 11423"/>
                    <a:gd name="connsiteY35" fmla="*/ 5024 h 21949"/>
                    <a:gd name="connsiteX36" fmla="*/ 11065 w 11423"/>
                    <a:gd name="connsiteY36" fmla="*/ 3828 h 21949"/>
                    <a:gd name="connsiteX37" fmla="*/ 11304 w 11423"/>
                    <a:gd name="connsiteY37" fmla="*/ 2751 h 21949"/>
                    <a:gd name="connsiteX38" fmla="*/ 11423 w 11423"/>
                    <a:gd name="connsiteY38" fmla="*/ 1794 h 21949"/>
                    <a:gd name="connsiteX39" fmla="*/ 11364 w 11423"/>
                    <a:gd name="connsiteY39" fmla="*/ 1076 h 21949"/>
                    <a:gd name="connsiteX40" fmla="*/ 11124 w 11423"/>
                    <a:gd name="connsiteY40" fmla="*/ 658 h 21949"/>
                    <a:gd name="connsiteX41" fmla="*/ 11005 w 11423"/>
                    <a:gd name="connsiteY41" fmla="*/ 598 h 21949"/>
                    <a:gd name="connsiteX42" fmla="*/ 11005 w 11423"/>
                    <a:gd name="connsiteY42" fmla="*/ 598 h 21949"/>
                    <a:gd name="connsiteX43" fmla="*/ 10167 w 11423"/>
                    <a:gd name="connsiteY43" fmla="*/ 299 h 21949"/>
                    <a:gd name="connsiteX44" fmla="*/ 9450 w 11423"/>
                    <a:gd name="connsiteY44" fmla="*/ 0 h 2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23" h="21949">
                      <a:moveTo>
                        <a:pt x="11124" y="658"/>
                      </a:moveTo>
                      <a:lnTo>
                        <a:pt x="11005" y="598"/>
                      </a:lnTo>
                      <a:lnTo>
                        <a:pt x="11005" y="598"/>
                      </a:lnTo>
                      <a:lnTo>
                        <a:pt x="10706" y="479"/>
                      </a:lnTo>
                      <a:lnTo>
                        <a:pt x="10167" y="658"/>
                      </a:lnTo>
                      <a:lnTo>
                        <a:pt x="9868" y="897"/>
                      </a:lnTo>
                      <a:lnTo>
                        <a:pt x="9808" y="957"/>
                      </a:lnTo>
                      <a:lnTo>
                        <a:pt x="9569" y="1136"/>
                      </a:lnTo>
                      <a:lnTo>
                        <a:pt x="8911" y="1914"/>
                      </a:lnTo>
                      <a:lnTo>
                        <a:pt x="8253" y="2871"/>
                      </a:lnTo>
                      <a:lnTo>
                        <a:pt x="7596" y="4007"/>
                      </a:lnTo>
                      <a:lnTo>
                        <a:pt x="5801" y="7536"/>
                      </a:lnTo>
                      <a:lnTo>
                        <a:pt x="4007" y="11064"/>
                      </a:lnTo>
                      <a:lnTo>
                        <a:pt x="2213" y="14593"/>
                      </a:lnTo>
                      <a:lnTo>
                        <a:pt x="479" y="18002"/>
                      </a:lnTo>
                      <a:lnTo>
                        <a:pt x="239" y="18899"/>
                      </a:lnTo>
                      <a:lnTo>
                        <a:pt x="60" y="19736"/>
                      </a:lnTo>
                      <a:lnTo>
                        <a:pt x="0" y="20454"/>
                      </a:lnTo>
                      <a:lnTo>
                        <a:pt x="60" y="20873"/>
                      </a:lnTo>
                      <a:lnTo>
                        <a:pt x="60" y="21052"/>
                      </a:lnTo>
                      <a:lnTo>
                        <a:pt x="180" y="21530"/>
                      </a:lnTo>
                      <a:lnTo>
                        <a:pt x="299" y="21710"/>
                      </a:lnTo>
                      <a:lnTo>
                        <a:pt x="299" y="21710"/>
                      </a:lnTo>
                      <a:lnTo>
                        <a:pt x="359" y="21830"/>
                      </a:lnTo>
                      <a:lnTo>
                        <a:pt x="658" y="21949"/>
                      </a:lnTo>
                      <a:lnTo>
                        <a:pt x="1017" y="21889"/>
                      </a:lnTo>
                      <a:lnTo>
                        <a:pt x="1495" y="21650"/>
                      </a:lnTo>
                      <a:lnTo>
                        <a:pt x="1974" y="21291"/>
                      </a:lnTo>
                      <a:lnTo>
                        <a:pt x="2512" y="20753"/>
                      </a:lnTo>
                      <a:lnTo>
                        <a:pt x="3050" y="20095"/>
                      </a:lnTo>
                      <a:lnTo>
                        <a:pt x="4545" y="17165"/>
                      </a:lnTo>
                      <a:lnTo>
                        <a:pt x="6340" y="13636"/>
                      </a:lnTo>
                      <a:lnTo>
                        <a:pt x="8134" y="10107"/>
                      </a:lnTo>
                      <a:lnTo>
                        <a:pt x="9928" y="6579"/>
                      </a:lnTo>
                      <a:lnTo>
                        <a:pt x="10107" y="6220"/>
                      </a:lnTo>
                      <a:lnTo>
                        <a:pt x="10646" y="5024"/>
                      </a:lnTo>
                      <a:lnTo>
                        <a:pt x="11065" y="3828"/>
                      </a:lnTo>
                      <a:lnTo>
                        <a:pt x="11304" y="2751"/>
                      </a:lnTo>
                      <a:lnTo>
                        <a:pt x="11423" y="1794"/>
                      </a:lnTo>
                      <a:lnTo>
                        <a:pt x="11364" y="1076"/>
                      </a:lnTo>
                      <a:lnTo>
                        <a:pt x="11124" y="658"/>
                      </a:lnTo>
                      <a:lnTo>
                        <a:pt x="11005" y="598"/>
                      </a:lnTo>
                      <a:lnTo>
                        <a:pt x="11005" y="598"/>
                      </a:lnTo>
                      <a:lnTo>
                        <a:pt x="10167" y="299"/>
                      </a:lnTo>
                      <a:lnTo>
                        <a:pt x="9450" y="0"/>
                      </a:lnTo>
                    </a:path>
                  </a:pathLst>
                </a:custGeom>
                <a:noFill/>
                <a:ln w="6350" cap="flat">
                  <a:solidFill>
                    <a:schemeClr val="bg1">
                      <a:alpha val="80000"/>
                    </a:schemeClr>
                  </a:solidFill>
                  <a:prstDash val="solid"/>
                  <a:miter/>
                </a:ln>
              </p:spPr>
              <p:txBody>
                <a:bodyPr rtlCol="0" anchor="ctr"/>
                <a:lstStyle/>
                <a:p>
                  <a:endParaRPr lang="en-GB"/>
                </a:p>
              </p:txBody>
            </p:sp>
            <p:sp>
              <p:nvSpPr>
                <p:cNvPr id="7847" name="Vrije vorm: vorm 7846">
                  <a:extLst>
                    <a:ext uri="{FF2B5EF4-FFF2-40B4-BE49-F238E27FC236}">
                      <a16:creationId xmlns:a16="http://schemas.microsoft.com/office/drawing/2014/main" id="{2A2F6006-4A02-4039-A548-EAA3C87A61FF}"/>
                    </a:ext>
                  </a:extLst>
                </p:cNvPr>
                <p:cNvSpPr/>
                <p:nvPr/>
              </p:nvSpPr>
              <p:spPr>
                <a:xfrm>
                  <a:off x="5869081" y="5204524"/>
                  <a:ext cx="179" cy="358"/>
                </a:xfrm>
                <a:custGeom>
                  <a:avLst/>
                  <a:gdLst>
                    <a:gd name="connsiteX0" fmla="*/ 179 w 179"/>
                    <a:gd name="connsiteY0" fmla="*/ 0 h 358"/>
                    <a:gd name="connsiteX1" fmla="*/ 0 w 179"/>
                    <a:gd name="connsiteY1" fmla="*/ 359 h 358"/>
                    <a:gd name="connsiteX2" fmla="*/ 179 w 179"/>
                    <a:gd name="connsiteY2" fmla="*/ 0 h 358"/>
                  </a:gdLst>
                  <a:ahLst/>
                  <a:cxnLst>
                    <a:cxn ang="0">
                      <a:pos x="connsiteX0" y="connsiteY0"/>
                    </a:cxn>
                    <a:cxn ang="0">
                      <a:pos x="connsiteX1" y="connsiteY1"/>
                    </a:cxn>
                    <a:cxn ang="0">
                      <a:pos x="connsiteX2" y="connsiteY2"/>
                    </a:cxn>
                  </a:cxnLst>
                  <a:rect l="l" t="t" r="r" b="b"/>
                  <a:pathLst>
                    <a:path w="179" h="358">
                      <a:moveTo>
                        <a:pt x="179" y="0"/>
                      </a:moveTo>
                      <a:lnTo>
                        <a:pt x="0" y="359"/>
                      </a:lnTo>
                      <a:lnTo>
                        <a:pt x="179" y="0"/>
                      </a:lnTo>
                    </a:path>
                  </a:pathLst>
                </a:custGeom>
                <a:noFill/>
                <a:ln w="6350" cap="flat">
                  <a:solidFill>
                    <a:schemeClr val="bg1">
                      <a:alpha val="80000"/>
                    </a:schemeClr>
                  </a:solidFill>
                  <a:prstDash val="solid"/>
                  <a:miter/>
                </a:ln>
              </p:spPr>
              <p:txBody>
                <a:bodyPr rtlCol="0" anchor="ctr"/>
                <a:lstStyle/>
                <a:p>
                  <a:endParaRPr lang="en-GB"/>
                </a:p>
              </p:txBody>
            </p:sp>
            <p:sp>
              <p:nvSpPr>
                <p:cNvPr id="7848" name="Vrije vorm: vorm 7847">
                  <a:extLst>
                    <a:ext uri="{FF2B5EF4-FFF2-40B4-BE49-F238E27FC236}">
                      <a16:creationId xmlns:a16="http://schemas.microsoft.com/office/drawing/2014/main" id="{66073861-C522-4502-A77E-ED5688D87586}"/>
                    </a:ext>
                  </a:extLst>
                </p:cNvPr>
                <p:cNvSpPr/>
                <p:nvPr/>
              </p:nvSpPr>
              <p:spPr>
                <a:xfrm>
                  <a:off x="5879966" y="5183113"/>
                  <a:ext cx="119" cy="298"/>
                </a:xfrm>
                <a:custGeom>
                  <a:avLst/>
                  <a:gdLst>
                    <a:gd name="connsiteX0" fmla="*/ 0 w 119"/>
                    <a:gd name="connsiteY0" fmla="*/ 299 h 298"/>
                    <a:gd name="connsiteX1" fmla="*/ 119 w 119"/>
                    <a:gd name="connsiteY1" fmla="*/ 0 h 298"/>
                    <a:gd name="connsiteX2" fmla="*/ 0 w 119"/>
                    <a:gd name="connsiteY2" fmla="*/ 299 h 298"/>
                  </a:gdLst>
                  <a:ahLst/>
                  <a:cxnLst>
                    <a:cxn ang="0">
                      <a:pos x="connsiteX0" y="connsiteY0"/>
                    </a:cxn>
                    <a:cxn ang="0">
                      <a:pos x="connsiteX1" y="connsiteY1"/>
                    </a:cxn>
                    <a:cxn ang="0">
                      <a:pos x="connsiteX2" y="connsiteY2"/>
                    </a:cxn>
                  </a:cxnLst>
                  <a:rect l="l" t="t" r="r" b="b"/>
                  <a:pathLst>
                    <a:path w="119" h="298">
                      <a:moveTo>
                        <a:pt x="0" y="299"/>
                      </a:moveTo>
                      <a:lnTo>
                        <a:pt x="119" y="0"/>
                      </a:lnTo>
                      <a:lnTo>
                        <a:pt x="0" y="299"/>
                      </a:lnTo>
                    </a:path>
                  </a:pathLst>
                </a:custGeom>
                <a:noFill/>
                <a:ln w="6350" cap="flat">
                  <a:solidFill>
                    <a:schemeClr val="bg1">
                      <a:alpha val="80000"/>
                    </a:schemeClr>
                  </a:solidFill>
                  <a:prstDash val="solid"/>
                  <a:miter/>
                </a:ln>
              </p:spPr>
              <p:txBody>
                <a:bodyPr rtlCol="0" anchor="ctr"/>
                <a:lstStyle/>
                <a:p>
                  <a:endParaRPr lang="en-GB"/>
                </a:p>
              </p:txBody>
            </p:sp>
            <p:sp>
              <p:nvSpPr>
                <p:cNvPr id="7849" name="Vrije vorm: vorm 7848">
                  <a:extLst>
                    <a:ext uri="{FF2B5EF4-FFF2-40B4-BE49-F238E27FC236}">
                      <a16:creationId xmlns:a16="http://schemas.microsoft.com/office/drawing/2014/main" id="{8A3517B5-1B9F-4B32-8051-48E64B726E8C}"/>
                    </a:ext>
                  </a:extLst>
                </p:cNvPr>
                <p:cNvSpPr/>
                <p:nvPr/>
              </p:nvSpPr>
              <p:spPr>
                <a:xfrm>
                  <a:off x="5874823" y="5182694"/>
                  <a:ext cx="3588" cy="3528"/>
                </a:xfrm>
                <a:custGeom>
                  <a:avLst/>
                  <a:gdLst>
                    <a:gd name="connsiteX0" fmla="*/ 3588 w 3588"/>
                    <a:gd name="connsiteY0" fmla="*/ 120 h 3528"/>
                    <a:gd name="connsiteX1" fmla="*/ 3170 w 3588"/>
                    <a:gd name="connsiteY1" fmla="*/ 0 h 3528"/>
                    <a:gd name="connsiteX2" fmla="*/ 3110 w 3588"/>
                    <a:gd name="connsiteY2" fmla="*/ 0 h 3528"/>
                    <a:gd name="connsiteX3" fmla="*/ 2632 w 3588"/>
                    <a:gd name="connsiteY3" fmla="*/ 180 h 3528"/>
                    <a:gd name="connsiteX4" fmla="*/ 1973 w 3588"/>
                    <a:gd name="connsiteY4" fmla="*/ 658 h 3528"/>
                    <a:gd name="connsiteX5" fmla="*/ 1316 w 3588"/>
                    <a:gd name="connsiteY5" fmla="*/ 1435 h 3528"/>
                    <a:gd name="connsiteX6" fmla="*/ 658 w 3588"/>
                    <a:gd name="connsiteY6" fmla="*/ 2392 h 3528"/>
                    <a:gd name="connsiteX7" fmla="*/ 0 w 3588"/>
                    <a:gd name="connsiteY7" fmla="*/ 3529 h 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8" h="3528">
                      <a:moveTo>
                        <a:pt x="3588" y="120"/>
                      </a:moveTo>
                      <a:lnTo>
                        <a:pt x="3170" y="0"/>
                      </a:lnTo>
                      <a:lnTo>
                        <a:pt x="3110" y="0"/>
                      </a:lnTo>
                      <a:lnTo>
                        <a:pt x="2632" y="180"/>
                      </a:lnTo>
                      <a:lnTo>
                        <a:pt x="1973" y="658"/>
                      </a:lnTo>
                      <a:lnTo>
                        <a:pt x="1316" y="1435"/>
                      </a:lnTo>
                      <a:lnTo>
                        <a:pt x="658" y="2392"/>
                      </a:lnTo>
                      <a:lnTo>
                        <a:pt x="0" y="3529"/>
                      </a:lnTo>
                    </a:path>
                  </a:pathLst>
                </a:custGeom>
                <a:noFill/>
                <a:ln w="6350" cap="flat">
                  <a:solidFill>
                    <a:schemeClr val="bg1">
                      <a:alpha val="80000"/>
                    </a:schemeClr>
                  </a:solidFill>
                  <a:prstDash val="solid"/>
                  <a:miter/>
                </a:ln>
              </p:spPr>
              <p:txBody>
                <a:bodyPr rtlCol="0" anchor="ctr"/>
                <a:lstStyle/>
                <a:p>
                  <a:endParaRPr lang="en-GB"/>
                </a:p>
              </p:txBody>
            </p:sp>
            <p:sp>
              <p:nvSpPr>
                <p:cNvPr id="7850" name="Vrije vorm: vorm 7849">
                  <a:extLst>
                    <a:ext uri="{FF2B5EF4-FFF2-40B4-BE49-F238E27FC236}">
                      <a16:creationId xmlns:a16="http://schemas.microsoft.com/office/drawing/2014/main" id="{181D8FD3-3E09-40DC-BD48-536FB35D5E9E}"/>
                    </a:ext>
                  </a:extLst>
                </p:cNvPr>
                <p:cNvSpPr/>
                <p:nvPr/>
              </p:nvSpPr>
              <p:spPr>
                <a:xfrm>
                  <a:off x="5867706" y="5203866"/>
                  <a:ext cx="1614" cy="717"/>
                </a:xfrm>
                <a:custGeom>
                  <a:avLst/>
                  <a:gdLst>
                    <a:gd name="connsiteX0" fmla="*/ 1615 w 1614"/>
                    <a:gd name="connsiteY0" fmla="*/ 718 h 717"/>
                    <a:gd name="connsiteX1" fmla="*/ 1495 w 1614"/>
                    <a:gd name="connsiteY1" fmla="*/ 658 h 717"/>
                    <a:gd name="connsiteX2" fmla="*/ 1495 w 1614"/>
                    <a:gd name="connsiteY2" fmla="*/ 658 h 717"/>
                    <a:gd name="connsiteX3" fmla="*/ 0 w 1614"/>
                    <a:gd name="connsiteY3" fmla="*/ 0 h 717"/>
                  </a:gdLst>
                  <a:ahLst/>
                  <a:cxnLst>
                    <a:cxn ang="0">
                      <a:pos x="connsiteX0" y="connsiteY0"/>
                    </a:cxn>
                    <a:cxn ang="0">
                      <a:pos x="connsiteX1" y="connsiteY1"/>
                    </a:cxn>
                    <a:cxn ang="0">
                      <a:pos x="connsiteX2" y="connsiteY2"/>
                    </a:cxn>
                    <a:cxn ang="0">
                      <a:pos x="connsiteX3" y="connsiteY3"/>
                    </a:cxn>
                  </a:cxnLst>
                  <a:rect l="l" t="t" r="r" b="b"/>
                  <a:pathLst>
                    <a:path w="1614" h="717">
                      <a:moveTo>
                        <a:pt x="1615" y="718"/>
                      </a:moveTo>
                      <a:lnTo>
                        <a:pt x="1495" y="658"/>
                      </a:lnTo>
                      <a:lnTo>
                        <a:pt x="1495" y="658"/>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51" name="Vrije vorm: vorm 7850">
                  <a:extLst>
                    <a:ext uri="{FF2B5EF4-FFF2-40B4-BE49-F238E27FC236}">
                      <a16:creationId xmlns:a16="http://schemas.microsoft.com/office/drawing/2014/main" id="{C2E59D6E-985E-4183-A5AB-1E433CFB96B7}"/>
                    </a:ext>
                  </a:extLst>
                </p:cNvPr>
                <p:cNvSpPr/>
                <p:nvPr/>
              </p:nvSpPr>
              <p:spPr>
                <a:xfrm>
                  <a:off x="5743665" y="5065233"/>
                  <a:ext cx="109327" cy="62797"/>
                </a:xfrm>
                <a:custGeom>
                  <a:avLst/>
                  <a:gdLst>
                    <a:gd name="connsiteX0" fmla="*/ 11722 w 109327"/>
                    <a:gd name="connsiteY0" fmla="*/ 22308 h 62797"/>
                    <a:gd name="connsiteX1" fmla="*/ 11722 w 109327"/>
                    <a:gd name="connsiteY1" fmla="*/ 22308 h 62797"/>
                    <a:gd name="connsiteX2" fmla="*/ 9629 w 109327"/>
                    <a:gd name="connsiteY2" fmla="*/ 20394 h 62797"/>
                    <a:gd name="connsiteX3" fmla="*/ 7536 w 109327"/>
                    <a:gd name="connsiteY3" fmla="*/ 18480 h 62797"/>
                    <a:gd name="connsiteX4" fmla="*/ 5443 w 109327"/>
                    <a:gd name="connsiteY4" fmla="*/ 16566 h 62797"/>
                    <a:gd name="connsiteX5" fmla="*/ 4725 w 109327"/>
                    <a:gd name="connsiteY5" fmla="*/ 15909 h 62797"/>
                    <a:gd name="connsiteX6" fmla="*/ 2990 w 109327"/>
                    <a:gd name="connsiteY6" fmla="*/ 13576 h 62797"/>
                    <a:gd name="connsiteX7" fmla="*/ 1256 w 109327"/>
                    <a:gd name="connsiteY7" fmla="*/ 11243 h 62797"/>
                    <a:gd name="connsiteX8" fmla="*/ 658 w 109327"/>
                    <a:gd name="connsiteY8" fmla="*/ 10466 h 62797"/>
                    <a:gd name="connsiteX9" fmla="*/ 538 w 109327"/>
                    <a:gd name="connsiteY9" fmla="*/ 9748 h 62797"/>
                    <a:gd name="connsiteX10" fmla="*/ 60 w 109327"/>
                    <a:gd name="connsiteY10" fmla="*/ 6639 h 62797"/>
                    <a:gd name="connsiteX11" fmla="*/ 0 w 109327"/>
                    <a:gd name="connsiteY11" fmla="*/ 6399 h 62797"/>
                    <a:gd name="connsiteX12" fmla="*/ 1555 w 109327"/>
                    <a:gd name="connsiteY12" fmla="*/ 3349 h 62797"/>
                    <a:gd name="connsiteX13" fmla="*/ 1914 w 109327"/>
                    <a:gd name="connsiteY13" fmla="*/ 2691 h 62797"/>
                    <a:gd name="connsiteX14" fmla="*/ 4426 w 109327"/>
                    <a:gd name="connsiteY14" fmla="*/ 777 h 62797"/>
                    <a:gd name="connsiteX15" fmla="*/ 5084 w 109327"/>
                    <a:gd name="connsiteY15" fmla="*/ 299 h 62797"/>
                    <a:gd name="connsiteX16" fmla="*/ 7954 w 109327"/>
                    <a:gd name="connsiteY16" fmla="*/ 179 h 62797"/>
                    <a:gd name="connsiteX17" fmla="*/ 10825 w 109327"/>
                    <a:gd name="connsiteY17" fmla="*/ 60 h 62797"/>
                    <a:gd name="connsiteX18" fmla="*/ 11961 w 109327"/>
                    <a:gd name="connsiteY18" fmla="*/ 0 h 62797"/>
                    <a:gd name="connsiteX19" fmla="*/ 14713 w 109327"/>
                    <a:gd name="connsiteY19" fmla="*/ 538 h 62797"/>
                    <a:gd name="connsiteX20" fmla="*/ 17464 w 109327"/>
                    <a:gd name="connsiteY20" fmla="*/ 1076 h 62797"/>
                    <a:gd name="connsiteX21" fmla="*/ 20215 w 109327"/>
                    <a:gd name="connsiteY21" fmla="*/ 1615 h 62797"/>
                    <a:gd name="connsiteX22" fmla="*/ 22308 w 109327"/>
                    <a:gd name="connsiteY22" fmla="*/ 2033 h 62797"/>
                    <a:gd name="connsiteX23" fmla="*/ 24940 w 109327"/>
                    <a:gd name="connsiteY23" fmla="*/ 2871 h 62797"/>
                    <a:gd name="connsiteX24" fmla="*/ 27571 w 109327"/>
                    <a:gd name="connsiteY24" fmla="*/ 3708 h 62797"/>
                    <a:gd name="connsiteX25" fmla="*/ 30203 w 109327"/>
                    <a:gd name="connsiteY25" fmla="*/ 4545 h 62797"/>
                    <a:gd name="connsiteX26" fmla="*/ 32834 w 109327"/>
                    <a:gd name="connsiteY26" fmla="*/ 5382 h 62797"/>
                    <a:gd name="connsiteX27" fmla="*/ 35466 w 109327"/>
                    <a:gd name="connsiteY27" fmla="*/ 6220 h 62797"/>
                    <a:gd name="connsiteX28" fmla="*/ 38038 w 109327"/>
                    <a:gd name="connsiteY28" fmla="*/ 7296 h 62797"/>
                    <a:gd name="connsiteX29" fmla="*/ 40609 w 109327"/>
                    <a:gd name="connsiteY29" fmla="*/ 8373 h 62797"/>
                    <a:gd name="connsiteX30" fmla="*/ 43181 w 109327"/>
                    <a:gd name="connsiteY30" fmla="*/ 9449 h 62797"/>
                    <a:gd name="connsiteX31" fmla="*/ 45753 w 109327"/>
                    <a:gd name="connsiteY31" fmla="*/ 10526 h 62797"/>
                    <a:gd name="connsiteX32" fmla="*/ 48324 w 109327"/>
                    <a:gd name="connsiteY32" fmla="*/ 11602 h 62797"/>
                    <a:gd name="connsiteX33" fmla="*/ 50477 w 109327"/>
                    <a:gd name="connsiteY33" fmla="*/ 12500 h 62797"/>
                    <a:gd name="connsiteX34" fmla="*/ 52989 w 109327"/>
                    <a:gd name="connsiteY34" fmla="*/ 13756 h 62797"/>
                    <a:gd name="connsiteX35" fmla="*/ 55501 w 109327"/>
                    <a:gd name="connsiteY35" fmla="*/ 15011 h 62797"/>
                    <a:gd name="connsiteX36" fmla="*/ 57355 w 109327"/>
                    <a:gd name="connsiteY36" fmla="*/ 15968 h 62797"/>
                    <a:gd name="connsiteX37" fmla="*/ 59867 w 109327"/>
                    <a:gd name="connsiteY37" fmla="*/ 17224 h 62797"/>
                    <a:gd name="connsiteX38" fmla="*/ 62379 w 109327"/>
                    <a:gd name="connsiteY38" fmla="*/ 18480 h 62797"/>
                    <a:gd name="connsiteX39" fmla="*/ 64891 w 109327"/>
                    <a:gd name="connsiteY39" fmla="*/ 19736 h 62797"/>
                    <a:gd name="connsiteX40" fmla="*/ 66087 w 109327"/>
                    <a:gd name="connsiteY40" fmla="*/ 20334 h 62797"/>
                    <a:gd name="connsiteX41" fmla="*/ 68479 w 109327"/>
                    <a:gd name="connsiteY41" fmla="*/ 21710 h 62797"/>
                    <a:gd name="connsiteX42" fmla="*/ 70872 w 109327"/>
                    <a:gd name="connsiteY42" fmla="*/ 23085 h 62797"/>
                    <a:gd name="connsiteX43" fmla="*/ 72606 w 109327"/>
                    <a:gd name="connsiteY43" fmla="*/ 24102 h 62797"/>
                    <a:gd name="connsiteX44" fmla="*/ 74998 w 109327"/>
                    <a:gd name="connsiteY44" fmla="*/ 25478 h 62797"/>
                    <a:gd name="connsiteX45" fmla="*/ 77391 w 109327"/>
                    <a:gd name="connsiteY45" fmla="*/ 26853 h 62797"/>
                    <a:gd name="connsiteX46" fmla="*/ 79783 w 109327"/>
                    <a:gd name="connsiteY46" fmla="*/ 28229 h 62797"/>
                    <a:gd name="connsiteX47" fmla="*/ 80561 w 109327"/>
                    <a:gd name="connsiteY47" fmla="*/ 28707 h 62797"/>
                    <a:gd name="connsiteX48" fmla="*/ 82833 w 109327"/>
                    <a:gd name="connsiteY48" fmla="*/ 30262 h 62797"/>
                    <a:gd name="connsiteX49" fmla="*/ 85106 w 109327"/>
                    <a:gd name="connsiteY49" fmla="*/ 31817 h 62797"/>
                    <a:gd name="connsiteX50" fmla="*/ 87379 w 109327"/>
                    <a:gd name="connsiteY50" fmla="*/ 33372 h 62797"/>
                    <a:gd name="connsiteX51" fmla="*/ 89651 w 109327"/>
                    <a:gd name="connsiteY51" fmla="*/ 34927 h 62797"/>
                    <a:gd name="connsiteX52" fmla="*/ 91924 w 109327"/>
                    <a:gd name="connsiteY52" fmla="*/ 36482 h 62797"/>
                    <a:gd name="connsiteX53" fmla="*/ 92761 w 109327"/>
                    <a:gd name="connsiteY53" fmla="*/ 37020 h 62797"/>
                    <a:gd name="connsiteX54" fmla="*/ 94914 w 109327"/>
                    <a:gd name="connsiteY54" fmla="*/ 38815 h 62797"/>
                    <a:gd name="connsiteX55" fmla="*/ 97067 w 109327"/>
                    <a:gd name="connsiteY55" fmla="*/ 40609 h 62797"/>
                    <a:gd name="connsiteX56" fmla="*/ 98921 w 109327"/>
                    <a:gd name="connsiteY56" fmla="*/ 42164 h 62797"/>
                    <a:gd name="connsiteX57" fmla="*/ 101074 w 109327"/>
                    <a:gd name="connsiteY57" fmla="*/ 43958 h 62797"/>
                    <a:gd name="connsiteX58" fmla="*/ 101912 w 109327"/>
                    <a:gd name="connsiteY58" fmla="*/ 44676 h 62797"/>
                    <a:gd name="connsiteX59" fmla="*/ 102988 w 109327"/>
                    <a:gd name="connsiteY59" fmla="*/ 45991 h 62797"/>
                    <a:gd name="connsiteX60" fmla="*/ 103287 w 109327"/>
                    <a:gd name="connsiteY60" fmla="*/ 46351 h 62797"/>
                    <a:gd name="connsiteX61" fmla="*/ 105141 w 109327"/>
                    <a:gd name="connsiteY61" fmla="*/ 48563 h 62797"/>
                    <a:gd name="connsiteX62" fmla="*/ 106995 w 109327"/>
                    <a:gd name="connsiteY62" fmla="*/ 50776 h 62797"/>
                    <a:gd name="connsiteX63" fmla="*/ 108849 w 109327"/>
                    <a:gd name="connsiteY63" fmla="*/ 52989 h 62797"/>
                    <a:gd name="connsiteX64" fmla="*/ 109328 w 109327"/>
                    <a:gd name="connsiteY64" fmla="*/ 53527 h 62797"/>
                    <a:gd name="connsiteX65" fmla="*/ 109328 w 109327"/>
                    <a:gd name="connsiteY65" fmla="*/ 53527 h 62797"/>
                    <a:gd name="connsiteX66" fmla="*/ 108849 w 109327"/>
                    <a:gd name="connsiteY66" fmla="*/ 56817 h 62797"/>
                    <a:gd name="connsiteX67" fmla="*/ 108670 w 109327"/>
                    <a:gd name="connsiteY67" fmla="*/ 58132 h 62797"/>
                    <a:gd name="connsiteX68" fmla="*/ 107354 w 109327"/>
                    <a:gd name="connsiteY68" fmla="*/ 60704 h 62797"/>
                    <a:gd name="connsiteX69" fmla="*/ 106816 w 109327"/>
                    <a:gd name="connsiteY69" fmla="*/ 61721 h 62797"/>
                    <a:gd name="connsiteX70" fmla="*/ 106756 w 109327"/>
                    <a:gd name="connsiteY70" fmla="*/ 61840 h 62797"/>
                    <a:gd name="connsiteX71" fmla="*/ 103826 w 109327"/>
                    <a:gd name="connsiteY71" fmla="*/ 62199 h 62797"/>
                    <a:gd name="connsiteX72" fmla="*/ 100895 w 109327"/>
                    <a:gd name="connsiteY72" fmla="*/ 62558 h 62797"/>
                    <a:gd name="connsiteX73" fmla="*/ 100357 w 109327"/>
                    <a:gd name="connsiteY73" fmla="*/ 62618 h 62797"/>
                    <a:gd name="connsiteX74" fmla="*/ 98921 w 109327"/>
                    <a:gd name="connsiteY74" fmla="*/ 62798 h 62797"/>
                    <a:gd name="connsiteX75" fmla="*/ 97067 w 109327"/>
                    <a:gd name="connsiteY75" fmla="*/ 62558 h 62797"/>
                    <a:gd name="connsiteX76" fmla="*/ 94256 w 109327"/>
                    <a:gd name="connsiteY76" fmla="*/ 62139 h 62797"/>
                    <a:gd name="connsiteX77" fmla="*/ 91445 w 109327"/>
                    <a:gd name="connsiteY77" fmla="*/ 61721 h 62797"/>
                    <a:gd name="connsiteX78" fmla="*/ 90668 w 109327"/>
                    <a:gd name="connsiteY78" fmla="*/ 61601 h 62797"/>
                    <a:gd name="connsiteX79" fmla="*/ 87977 w 109327"/>
                    <a:gd name="connsiteY79" fmla="*/ 60884 h 62797"/>
                    <a:gd name="connsiteX80" fmla="*/ 87797 w 109327"/>
                    <a:gd name="connsiteY80" fmla="*/ 60824 h 6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9327" h="62797">
                      <a:moveTo>
                        <a:pt x="11722" y="22308"/>
                      </a:moveTo>
                      <a:lnTo>
                        <a:pt x="11722" y="22308"/>
                      </a:lnTo>
                      <a:lnTo>
                        <a:pt x="9629" y="20394"/>
                      </a:lnTo>
                      <a:lnTo>
                        <a:pt x="7536" y="18480"/>
                      </a:lnTo>
                      <a:lnTo>
                        <a:pt x="5443" y="16566"/>
                      </a:lnTo>
                      <a:lnTo>
                        <a:pt x="4725" y="15909"/>
                      </a:lnTo>
                      <a:lnTo>
                        <a:pt x="2990" y="13576"/>
                      </a:lnTo>
                      <a:lnTo>
                        <a:pt x="1256" y="11243"/>
                      </a:lnTo>
                      <a:lnTo>
                        <a:pt x="658" y="10466"/>
                      </a:lnTo>
                      <a:lnTo>
                        <a:pt x="538" y="9748"/>
                      </a:lnTo>
                      <a:lnTo>
                        <a:pt x="60" y="6639"/>
                      </a:lnTo>
                      <a:lnTo>
                        <a:pt x="0" y="6399"/>
                      </a:lnTo>
                      <a:lnTo>
                        <a:pt x="1555" y="3349"/>
                      </a:lnTo>
                      <a:lnTo>
                        <a:pt x="1914" y="2691"/>
                      </a:lnTo>
                      <a:lnTo>
                        <a:pt x="4426" y="777"/>
                      </a:lnTo>
                      <a:lnTo>
                        <a:pt x="5084" y="299"/>
                      </a:lnTo>
                      <a:lnTo>
                        <a:pt x="7954" y="179"/>
                      </a:lnTo>
                      <a:lnTo>
                        <a:pt x="10825" y="60"/>
                      </a:lnTo>
                      <a:lnTo>
                        <a:pt x="11961" y="0"/>
                      </a:lnTo>
                      <a:lnTo>
                        <a:pt x="14713" y="538"/>
                      </a:lnTo>
                      <a:lnTo>
                        <a:pt x="17464" y="1076"/>
                      </a:lnTo>
                      <a:lnTo>
                        <a:pt x="20215" y="1615"/>
                      </a:lnTo>
                      <a:lnTo>
                        <a:pt x="22308" y="2033"/>
                      </a:lnTo>
                      <a:lnTo>
                        <a:pt x="24940" y="2871"/>
                      </a:lnTo>
                      <a:lnTo>
                        <a:pt x="27571" y="3708"/>
                      </a:lnTo>
                      <a:lnTo>
                        <a:pt x="30203" y="4545"/>
                      </a:lnTo>
                      <a:lnTo>
                        <a:pt x="32834" y="5382"/>
                      </a:lnTo>
                      <a:lnTo>
                        <a:pt x="35466" y="6220"/>
                      </a:lnTo>
                      <a:lnTo>
                        <a:pt x="38038" y="7296"/>
                      </a:lnTo>
                      <a:lnTo>
                        <a:pt x="40609" y="8373"/>
                      </a:lnTo>
                      <a:lnTo>
                        <a:pt x="43181" y="9449"/>
                      </a:lnTo>
                      <a:lnTo>
                        <a:pt x="45753" y="10526"/>
                      </a:lnTo>
                      <a:lnTo>
                        <a:pt x="48324" y="11602"/>
                      </a:lnTo>
                      <a:lnTo>
                        <a:pt x="50477" y="12500"/>
                      </a:lnTo>
                      <a:lnTo>
                        <a:pt x="52989" y="13756"/>
                      </a:lnTo>
                      <a:lnTo>
                        <a:pt x="55501" y="15011"/>
                      </a:lnTo>
                      <a:lnTo>
                        <a:pt x="57355" y="15968"/>
                      </a:lnTo>
                      <a:lnTo>
                        <a:pt x="59867" y="17224"/>
                      </a:lnTo>
                      <a:lnTo>
                        <a:pt x="62379" y="18480"/>
                      </a:lnTo>
                      <a:lnTo>
                        <a:pt x="64891" y="19736"/>
                      </a:lnTo>
                      <a:lnTo>
                        <a:pt x="66087" y="20334"/>
                      </a:lnTo>
                      <a:lnTo>
                        <a:pt x="68479" y="21710"/>
                      </a:lnTo>
                      <a:lnTo>
                        <a:pt x="70872" y="23085"/>
                      </a:lnTo>
                      <a:lnTo>
                        <a:pt x="72606" y="24102"/>
                      </a:lnTo>
                      <a:lnTo>
                        <a:pt x="74998" y="25478"/>
                      </a:lnTo>
                      <a:lnTo>
                        <a:pt x="77391" y="26853"/>
                      </a:lnTo>
                      <a:lnTo>
                        <a:pt x="79783" y="28229"/>
                      </a:lnTo>
                      <a:lnTo>
                        <a:pt x="80561" y="28707"/>
                      </a:lnTo>
                      <a:lnTo>
                        <a:pt x="82833" y="30262"/>
                      </a:lnTo>
                      <a:lnTo>
                        <a:pt x="85106" y="31817"/>
                      </a:lnTo>
                      <a:lnTo>
                        <a:pt x="87379" y="33372"/>
                      </a:lnTo>
                      <a:lnTo>
                        <a:pt x="89651" y="34927"/>
                      </a:lnTo>
                      <a:lnTo>
                        <a:pt x="91924" y="36482"/>
                      </a:lnTo>
                      <a:lnTo>
                        <a:pt x="92761" y="37020"/>
                      </a:lnTo>
                      <a:lnTo>
                        <a:pt x="94914" y="38815"/>
                      </a:lnTo>
                      <a:lnTo>
                        <a:pt x="97067" y="40609"/>
                      </a:lnTo>
                      <a:lnTo>
                        <a:pt x="98921" y="42164"/>
                      </a:lnTo>
                      <a:lnTo>
                        <a:pt x="101074" y="43958"/>
                      </a:lnTo>
                      <a:lnTo>
                        <a:pt x="101912" y="44676"/>
                      </a:lnTo>
                      <a:lnTo>
                        <a:pt x="102988" y="45991"/>
                      </a:lnTo>
                      <a:lnTo>
                        <a:pt x="103287" y="46351"/>
                      </a:lnTo>
                      <a:lnTo>
                        <a:pt x="105141" y="48563"/>
                      </a:lnTo>
                      <a:lnTo>
                        <a:pt x="106995" y="50776"/>
                      </a:lnTo>
                      <a:lnTo>
                        <a:pt x="108849" y="52989"/>
                      </a:lnTo>
                      <a:lnTo>
                        <a:pt x="109328" y="53527"/>
                      </a:lnTo>
                      <a:lnTo>
                        <a:pt x="109328" y="53527"/>
                      </a:lnTo>
                      <a:lnTo>
                        <a:pt x="108849" y="56817"/>
                      </a:lnTo>
                      <a:lnTo>
                        <a:pt x="108670" y="58132"/>
                      </a:lnTo>
                      <a:lnTo>
                        <a:pt x="107354" y="60704"/>
                      </a:lnTo>
                      <a:lnTo>
                        <a:pt x="106816" y="61721"/>
                      </a:lnTo>
                      <a:lnTo>
                        <a:pt x="106756" y="61840"/>
                      </a:lnTo>
                      <a:lnTo>
                        <a:pt x="103826" y="62199"/>
                      </a:lnTo>
                      <a:lnTo>
                        <a:pt x="100895" y="62558"/>
                      </a:lnTo>
                      <a:lnTo>
                        <a:pt x="100357" y="62618"/>
                      </a:lnTo>
                      <a:lnTo>
                        <a:pt x="98921" y="62798"/>
                      </a:lnTo>
                      <a:lnTo>
                        <a:pt x="97067" y="62558"/>
                      </a:lnTo>
                      <a:lnTo>
                        <a:pt x="94256" y="62139"/>
                      </a:lnTo>
                      <a:lnTo>
                        <a:pt x="91445" y="61721"/>
                      </a:lnTo>
                      <a:lnTo>
                        <a:pt x="90668" y="61601"/>
                      </a:lnTo>
                      <a:lnTo>
                        <a:pt x="87977" y="60884"/>
                      </a:lnTo>
                      <a:lnTo>
                        <a:pt x="87797" y="60824"/>
                      </a:lnTo>
                    </a:path>
                  </a:pathLst>
                </a:custGeom>
                <a:noFill/>
                <a:ln w="6350" cap="flat">
                  <a:solidFill>
                    <a:schemeClr val="bg1">
                      <a:alpha val="80000"/>
                    </a:schemeClr>
                  </a:solidFill>
                  <a:prstDash val="solid"/>
                  <a:miter/>
                </a:ln>
              </p:spPr>
              <p:txBody>
                <a:bodyPr rtlCol="0" anchor="ctr"/>
                <a:lstStyle/>
                <a:p>
                  <a:endParaRPr lang="en-GB"/>
                </a:p>
              </p:txBody>
            </p:sp>
            <p:sp>
              <p:nvSpPr>
                <p:cNvPr id="7852" name="Vrije vorm: vorm 7851">
                  <a:extLst>
                    <a:ext uri="{FF2B5EF4-FFF2-40B4-BE49-F238E27FC236}">
                      <a16:creationId xmlns:a16="http://schemas.microsoft.com/office/drawing/2014/main" id="{899D4C99-CC5C-40B4-BB64-2086CA202AD6}"/>
                    </a:ext>
                  </a:extLst>
                </p:cNvPr>
                <p:cNvSpPr/>
                <p:nvPr/>
              </p:nvSpPr>
              <p:spPr>
                <a:xfrm>
                  <a:off x="5743845" y="5069240"/>
                  <a:ext cx="107354" cy="58072"/>
                </a:xfrm>
                <a:custGeom>
                  <a:avLst/>
                  <a:gdLst>
                    <a:gd name="connsiteX0" fmla="*/ 106756 w 107354"/>
                    <a:gd name="connsiteY0" fmla="*/ 58073 h 58072"/>
                    <a:gd name="connsiteX1" fmla="*/ 106935 w 107354"/>
                    <a:gd name="connsiteY1" fmla="*/ 56877 h 58072"/>
                    <a:gd name="connsiteX2" fmla="*/ 107234 w 107354"/>
                    <a:gd name="connsiteY2" fmla="*/ 54604 h 58072"/>
                    <a:gd name="connsiteX3" fmla="*/ 107354 w 107354"/>
                    <a:gd name="connsiteY3" fmla="*/ 53587 h 58072"/>
                    <a:gd name="connsiteX4" fmla="*/ 105500 w 107354"/>
                    <a:gd name="connsiteY4" fmla="*/ 51434 h 58072"/>
                    <a:gd name="connsiteX5" fmla="*/ 103646 w 107354"/>
                    <a:gd name="connsiteY5" fmla="*/ 49281 h 58072"/>
                    <a:gd name="connsiteX6" fmla="*/ 101792 w 107354"/>
                    <a:gd name="connsiteY6" fmla="*/ 47128 h 58072"/>
                    <a:gd name="connsiteX7" fmla="*/ 101313 w 107354"/>
                    <a:gd name="connsiteY7" fmla="*/ 46590 h 58072"/>
                    <a:gd name="connsiteX8" fmla="*/ 99878 w 107354"/>
                    <a:gd name="connsiteY8" fmla="*/ 44915 h 58072"/>
                    <a:gd name="connsiteX9" fmla="*/ 97725 w 107354"/>
                    <a:gd name="connsiteY9" fmla="*/ 43121 h 58072"/>
                    <a:gd name="connsiteX10" fmla="*/ 95572 w 107354"/>
                    <a:gd name="connsiteY10" fmla="*/ 41327 h 58072"/>
                    <a:gd name="connsiteX11" fmla="*/ 93419 w 107354"/>
                    <a:gd name="connsiteY11" fmla="*/ 39532 h 58072"/>
                    <a:gd name="connsiteX12" fmla="*/ 91266 w 107354"/>
                    <a:gd name="connsiteY12" fmla="*/ 37738 h 58072"/>
                    <a:gd name="connsiteX13" fmla="*/ 90727 w 107354"/>
                    <a:gd name="connsiteY13" fmla="*/ 37260 h 58072"/>
                    <a:gd name="connsiteX14" fmla="*/ 88455 w 107354"/>
                    <a:gd name="connsiteY14" fmla="*/ 35705 h 58072"/>
                    <a:gd name="connsiteX15" fmla="*/ 86182 w 107354"/>
                    <a:gd name="connsiteY15" fmla="*/ 34150 h 58072"/>
                    <a:gd name="connsiteX16" fmla="*/ 83909 w 107354"/>
                    <a:gd name="connsiteY16" fmla="*/ 32595 h 58072"/>
                    <a:gd name="connsiteX17" fmla="*/ 81637 w 107354"/>
                    <a:gd name="connsiteY17" fmla="*/ 31040 h 58072"/>
                    <a:gd name="connsiteX18" fmla="*/ 79364 w 107354"/>
                    <a:gd name="connsiteY18" fmla="*/ 29485 h 58072"/>
                    <a:gd name="connsiteX19" fmla="*/ 78527 w 107354"/>
                    <a:gd name="connsiteY19" fmla="*/ 28946 h 58072"/>
                    <a:gd name="connsiteX20" fmla="*/ 76134 w 107354"/>
                    <a:gd name="connsiteY20" fmla="*/ 27571 h 58072"/>
                    <a:gd name="connsiteX21" fmla="*/ 73742 w 107354"/>
                    <a:gd name="connsiteY21" fmla="*/ 26196 h 58072"/>
                    <a:gd name="connsiteX22" fmla="*/ 71350 w 107354"/>
                    <a:gd name="connsiteY22" fmla="*/ 24820 h 58072"/>
                    <a:gd name="connsiteX23" fmla="*/ 68958 w 107354"/>
                    <a:gd name="connsiteY23" fmla="*/ 23444 h 58072"/>
                    <a:gd name="connsiteX24" fmla="*/ 66565 w 107354"/>
                    <a:gd name="connsiteY24" fmla="*/ 22069 h 58072"/>
                    <a:gd name="connsiteX25" fmla="*/ 64054 w 107354"/>
                    <a:gd name="connsiteY25" fmla="*/ 20574 h 58072"/>
                    <a:gd name="connsiteX26" fmla="*/ 61542 w 107354"/>
                    <a:gd name="connsiteY26" fmla="*/ 19318 h 58072"/>
                    <a:gd name="connsiteX27" fmla="*/ 59030 w 107354"/>
                    <a:gd name="connsiteY27" fmla="*/ 18062 h 58072"/>
                    <a:gd name="connsiteX28" fmla="*/ 56518 w 107354"/>
                    <a:gd name="connsiteY28" fmla="*/ 16806 h 58072"/>
                    <a:gd name="connsiteX29" fmla="*/ 54006 w 107354"/>
                    <a:gd name="connsiteY29" fmla="*/ 15550 h 58072"/>
                    <a:gd name="connsiteX30" fmla="*/ 51494 w 107354"/>
                    <a:gd name="connsiteY30" fmla="*/ 14294 h 58072"/>
                    <a:gd name="connsiteX31" fmla="*/ 48982 w 107354"/>
                    <a:gd name="connsiteY31" fmla="*/ 13038 h 58072"/>
                    <a:gd name="connsiteX32" fmla="*/ 48444 w 107354"/>
                    <a:gd name="connsiteY32" fmla="*/ 12739 h 58072"/>
                    <a:gd name="connsiteX33" fmla="*/ 45872 w 107354"/>
                    <a:gd name="connsiteY33" fmla="*/ 11662 h 58072"/>
                    <a:gd name="connsiteX34" fmla="*/ 43300 w 107354"/>
                    <a:gd name="connsiteY34" fmla="*/ 10586 h 58072"/>
                    <a:gd name="connsiteX35" fmla="*/ 40729 w 107354"/>
                    <a:gd name="connsiteY35" fmla="*/ 9509 h 58072"/>
                    <a:gd name="connsiteX36" fmla="*/ 38157 w 107354"/>
                    <a:gd name="connsiteY36" fmla="*/ 8433 h 58072"/>
                    <a:gd name="connsiteX37" fmla="*/ 35585 w 107354"/>
                    <a:gd name="connsiteY37" fmla="*/ 7356 h 58072"/>
                    <a:gd name="connsiteX38" fmla="*/ 33432 w 107354"/>
                    <a:gd name="connsiteY38" fmla="*/ 6459 h 58072"/>
                    <a:gd name="connsiteX39" fmla="*/ 30801 w 107354"/>
                    <a:gd name="connsiteY39" fmla="*/ 5562 h 58072"/>
                    <a:gd name="connsiteX40" fmla="*/ 28169 w 107354"/>
                    <a:gd name="connsiteY40" fmla="*/ 4665 h 58072"/>
                    <a:gd name="connsiteX41" fmla="*/ 25538 w 107354"/>
                    <a:gd name="connsiteY41" fmla="*/ 3768 h 58072"/>
                    <a:gd name="connsiteX42" fmla="*/ 22906 w 107354"/>
                    <a:gd name="connsiteY42" fmla="*/ 2871 h 58072"/>
                    <a:gd name="connsiteX43" fmla="*/ 20275 w 107354"/>
                    <a:gd name="connsiteY43" fmla="*/ 2033 h 58072"/>
                    <a:gd name="connsiteX44" fmla="*/ 17523 w 107354"/>
                    <a:gd name="connsiteY44" fmla="*/ 1495 h 58072"/>
                    <a:gd name="connsiteX45" fmla="*/ 14772 w 107354"/>
                    <a:gd name="connsiteY45" fmla="*/ 957 h 58072"/>
                    <a:gd name="connsiteX46" fmla="*/ 12021 w 107354"/>
                    <a:gd name="connsiteY46" fmla="*/ 419 h 58072"/>
                    <a:gd name="connsiteX47" fmla="*/ 9928 w 107354"/>
                    <a:gd name="connsiteY47" fmla="*/ 0 h 58072"/>
                    <a:gd name="connsiteX48" fmla="*/ 7057 w 107354"/>
                    <a:gd name="connsiteY48" fmla="*/ 60 h 58072"/>
                    <a:gd name="connsiteX49" fmla="*/ 4187 w 107354"/>
                    <a:gd name="connsiteY49" fmla="*/ 119 h 58072"/>
                    <a:gd name="connsiteX50" fmla="*/ 3110 w 107354"/>
                    <a:gd name="connsiteY50" fmla="*/ 119 h 58072"/>
                    <a:gd name="connsiteX51" fmla="*/ 2213 w 107354"/>
                    <a:gd name="connsiteY51" fmla="*/ 778 h 58072"/>
                    <a:gd name="connsiteX52" fmla="*/ 0 w 107354"/>
                    <a:gd name="connsiteY52" fmla="*/ 2392 h 5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7354" h="58072">
                      <a:moveTo>
                        <a:pt x="106756" y="58073"/>
                      </a:moveTo>
                      <a:lnTo>
                        <a:pt x="106935" y="56877"/>
                      </a:lnTo>
                      <a:lnTo>
                        <a:pt x="107234" y="54604"/>
                      </a:lnTo>
                      <a:lnTo>
                        <a:pt x="107354" y="53587"/>
                      </a:lnTo>
                      <a:lnTo>
                        <a:pt x="105500" y="51434"/>
                      </a:lnTo>
                      <a:lnTo>
                        <a:pt x="103646" y="49281"/>
                      </a:lnTo>
                      <a:lnTo>
                        <a:pt x="101792" y="47128"/>
                      </a:lnTo>
                      <a:lnTo>
                        <a:pt x="101313" y="46590"/>
                      </a:lnTo>
                      <a:lnTo>
                        <a:pt x="99878" y="44915"/>
                      </a:lnTo>
                      <a:lnTo>
                        <a:pt x="97725" y="43121"/>
                      </a:lnTo>
                      <a:lnTo>
                        <a:pt x="95572" y="41327"/>
                      </a:lnTo>
                      <a:lnTo>
                        <a:pt x="93419" y="39532"/>
                      </a:lnTo>
                      <a:lnTo>
                        <a:pt x="91266" y="37738"/>
                      </a:lnTo>
                      <a:lnTo>
                        <a:pt x="90727" y="37260"/>
                      </a:lnTo>
                      <a:lnTo>
                        <a:pt x="88455" y="35705"/>
                      </a:lnTo>
                      <a:lnTo>
                        <a:pt x="86182" y="34150"/>
                      </a:lnTo>
                      <a:lnTo>
                        <a:pt x="83909" y="32595"/>
                      </a:lnTo>
                      <a:lnTo>
                        <a:pt x="81637" y="31040"/>
                      </a:lnTo>
                      <a:lnTo>
                        <a:pt x="79364" y="29485"/>
                      </a:lnTo>
                      <a:lnTo>
                        <a:pt x="78527" y="28946"/>
                      </a:lnTo>
                      <a:lnTo>
                        <a:pt x="76134" y="27571"/>
                      </a:lnTo>
                      <a:lnTo>
                        <a:pt x="73742" y="26196"/>
                      </a:lnTo>
                      <a:lnTo>
                        <a:pt x="71350" y="24820"/>
                      </a:lnTo>
                      <a:lnTo>
                        <a:pt x="68958" y="23444"/>
                      </a:lnTo>
                      <a:lnTo>
                        <a:pt x="66565" y="22069"/>
                      </a:lnTo>
                      <a:lnTo>
                        <a:pt x="64054" y="20574"/>
                      </a:lnTo>
                      <a:lnTo>
                        <a:pt x="61542" y="19318"/>
                      </a:lnTo>
                      <a:lnTo>
                        <a:pt x="59030" y="18062"/>
                      </a:lnTo>
                      <a:lnTo>
                        <a:pt x="56518" y="16806"/>
                      </a:lnTo>
                      <a:lnTo>
                        <a:pt x="54006" y="15550"/>
                      </a:lnTo>
                      <a:lnTo>
                        <a:pt x="51494" y="14294"/>
                      </a:lnTo>
                      <a:lnTo>
                        <a:pt x="48982" y="13038"/>
                      </a:lnTo>
                      <a:lnTo>
                        <a:pt x="48444" y="12739"/>
                      </a:lnTo>
                      <a:lnTo>
                        <a:pt x="45872" y="11662"/>
                      </a:lnTo>
                      <a:lnTo>
                        <a:pt x="43300" y="10586"/>
                      </a:lnTo>
                      <a:lnTo>
                        <a:pt x="40729" y="9509"/>
                      </a:lnTo>
                      <a:lnTo>
                        <a:pt x="38157" y="8433"/>
                      </a:lnTo>
                      <a:lnTo>
                        <a:pt x="35585" y="7356"/>
                      </a:lnTo>
                      <a:lnTo>
                        <a:pt x="33432" y="6459"/>
                      </a:lnTo>
                      <a:lnTo>
                        <a:pt x="30801" y="5562"/>
                      </a:lnTo>
                      <a:lnTo>
                        <a:pt x="28169" y="4665"/>
                      </a:lnTo>
                      <a:lnTo>
                        <a:pt x="25538" y="3768"/>
                      </a:lnTo>
                      <a:lnTo>
                        <a:pt x="22906" y="2871"/>
                      </a:lnTo>
                      <a:lnTo>
                        <a:pt x="20275" y="2033"/>
                      </a:lnTo>
                      <a:lnTo>
                        <a:pt x="17523" y="1495"/>
                      </a:lnTo>
                      <a:lnTo>
                        <a:pt x="14772" y="957"/>
                      </a:lnTo>
                      <a:lnTo>
                        <a:pt x="12021" y="419"/>
                      </a:lnTo>
                      <a:lnTo>
                        <a:pt x="9928" y="0"/>
                      </a:lnTo>
                      <a:lnTo>
                        <a:pt x="7057" y="60"/>
                      </a:lnTo>
                      <a:lnTo>
                        <a:pt x="4187" y="119"/>
                      </a:lnTo>
                      <a:lnTo>
                        <a:pt x="3110" y="119"/>
                      </a:lnTo>
                      <a:lnTo>
                        <a:pt x="2213" y="778"/>
                      </a:lnTo>
                      <a:lnTo>
                        <a:pt x="0" y="2392"/>
                      </a:lnTo>
                    </a:path>
                  </a:pathLst>
                </a:custGeom>
                <a:noFill/>
                <a:ln w="6350" cap="flat">
                  <a:solidFill>
                    <a:schemeClr val="bg1">
                      <a:alpha val="80000"/>
                    </a:schemeClr>
                  </a:solidFill>
                  <a:prstDash val="solid"/>
                  <a:miter/>
                </a:ln>
              </p:spPr>
              <p:txBody>
                <a:bodyPr rtlCol="0" anchor="ctr"/>
                <a:lstStyle/>
                <a:p>
                  <a:endParaRPr lang="en-GB"/>
                </a:p>
              </p:txBody>
            </p:sp>
            <p:sp>
              <p:nvSpPr>
                <p:cNvPr id="7853" name="Vrije vorm: vorm 7852">
                  <a:extLst>
                    <a:ext uri="{FF2B5EF4-FFF2-40B4-BE49-F238E27FC236}">
                      <a16:creationId xmlns:a16="http://schemas.microsoft.com/office/drawing/2014/main" id="{5792CBB9-6481-4738-8F50-D1BDFF6BFCDF}"/>
                    </a:ext>
                  </a:extLst>
                </p:cNvPr>
                <p:cNvSpPr/>
                <p:nvPr/>
              </p:nvSpPr>
              <p:spPr>
                <a:xfrm>
                  <a:off x="5758378" y="5370010"/>
                  <a:ext cx="11124" cy="20753"/>
                </a:xfrm>
                <a:custGeom>
                  <a:avLst/>
                  <a:gdLst>
                    <a:gd name="connsiteX0" fmla="*/ 3828 w 11124"/>
                    <a:gd name="connsiteY0" fmla="*/ 0 h 20753"/>
                    <a:gd name="connsiteX1" fmla="*/ 5562 w 11124"/>
                    <a:gd name="connsiteY1" fmla="*/ 1256 h 20753"/>
                    <a:gd name="connsiteX2" fmla="*/ 7117 w 11124"/>
                    <a:gd name="connsiteY2" fmla="*/ 2392 h 20753"/>
                    <a:gd name="connsiteX3" fmla="*/ 7117 w 11124"/>
                    <a:gd name="connsiteY3" fmla="*/ 2392 h 20753"/>
                    <a:gd name="connsiteX4" fmla="*/ 7177 w 11124"/>
                    <a:gd name="connsiteY4" fmla="*/ 2452 h 20753"/>
                    <a:gd name="connsiteX5" fmla="*/ 8911 w 11124"/>
                    <a:gd name="connsiteY5" fmla="*/ 3708 h 20753"/>
                    <a:gd name="connsiteX6" fmla="*/ 9689 w 11124"/>
                    <a:gd name="connsiteY6" fmla="*/ 4306 h 20753"/>
                    <a:gd name="connsiteX7" fmla="*/ 9689 w 11124"/>
                    <a:gd name="connsiteY7" fmla="*/ 4306 h 20753"/>
                    <a:gd name="connsiteX8" fmla="*/ 10526 w 11124"/>
                    <a:gd name="connsiteY8" fmla="*/ 4904 h 20753"/>
                    <a:gd name="connsiteX9" fmla="*/ 10885 w 11124"/>
                    <a:gd name="connsiteY9" fmla="*/ 5143 h 20753"/>
                    <a:gd name="connsiteX10" fmla="*/ 11124 w 11124"/>
                    <a:gd name="connsiteY10" fmla="*/ 5323 h 20753"/>
                    <a:gd name="connsiteX11" fmla="*/ 10945 w 11124"/>
                    <a:gd name="connsiteY11" fmla="*/ 6399 h 20753"/>
                    <a:gd name="connsiteX12" fmla="*/ 10765 w 11124"/>
                    <a:gd name="connsiteY12" fmla="*/ 7476 h 20753"/>
                    <a:gd name="connsiteX13" fmla="*/ 10646 w 11124"/>
                    <a:gd name="connsiteY13" fmla="*/ 8493 h 20753"/>
                    <a:gd name="connsiteX14" fmla="*/ 10586 w 11124"/>
                    <a:gd name="connsiteY14" fmla="*/ 9510 h 20753"/>
                    <a:gd name="connsiteX15" fmla="*/ 10526 w 11124"/>
                    <a:gd name="connsiteY15" fmla="*/ 10466 h 20753"/>
                    <a:gd name="connsiteX16" fmla="*/ 10526 w 11124"/>
                    <a:gd name="connsiteY16" fmla="*/ 10706 h 20753"/>
                    <a:gd name="connsiteX17" fmla="*/ 10526 w 11124"/>
                    <a:gd name="connsiteY17" fmla="*/ 11005 h 20753"/>
                    <a:gd name="connsiteX18" fmla="*/ 10526 w 11124"/>
                    <a:gd name="connsiteY18" fmla="*/ 11423 h 20753"/>
                    <a:gd name="connsiteX19" fmla="*/ 10526 w 11124"/>
                    <a:gd name="connsiteY19" fmla="*/ 11483 h 20753"/>
                    <a:gd name="connsiteX20" fmla="*/ 10526 w 11124"/>
                    <a:gd name="connsiteY20" fmla="*/ 12260 h 20753"/>
                    <a:gd name="connsiteX21" fmla="*/ 10586 w 11124"/>
                    <a:gd name="connsiteY21" fmla="*/ 13098 h 20753"/>
                    <a:gd name="connsiteX22" fmla="*/ 10646 w 11124"/>
                    <a:gd name="connsiteY22" fmla="*/ 13875 h 20753"/>
                    <a:gd name="connsiteX23" fmla="*/ 10765 w 11124"/>
                    <a:gd name="connsiteY23" fmla="*/ 14653 h 20753"/>
                    <a:gd name="connsiteX24" fmla="*/ 10885 w 11124"/>
                    <a:gd name="connsiteY24" fmla="*/ 15370 h 20753"/>
                    <a:gd name="connsiteX25" fmla="*/ 10945 w 11124"/>
                    <a:gd name="connsiteY25" fmla="*/ 15610 h 20753"/>
                    <a:gd name="connsiteX26" fmla="*/ 11064 w 11124"/>
                    <a:gd name="connsiteY26" fmla="*/ 16028 h 20753"/>
                    <a:gd name="connsiteX27" fmla="*/ 9988 w 11124"/>
                    <a:gd name="connsiteY27" fmla="*/ 17703 h 20753"/>
                    <a:gd name="connsiteX28" fmla="*/ 8552 w 11124"/>
                    <a:gd name="connsiteY28" fmla="*/ 19856 h 20753"/>
                    <a:gd name="connsiteX29" fmla="*/ 7954 w 11124"/>
                    <a:gd name="connsiteY29" fmla="*/ 20753 h 20753"/>
                    <a:gd name="connsiteX30" fmla="*/ 6639 w 11124"/>
                    <a:gd name="connsiteY30" fmla="*/ 19736 h 20753"/>
                    <a:gd name="connsiteX31" fmla="*/ 5742 w 11124"/>
                    <a:gd name="connsiteY31" fmla="*/ 19079 h 20753"/>
                    <a:gd name="connsiteX32" fmla="*/ 4904 w 11124"/>
                    <a:gd name="connsiteY32" fmla="*/ 18421 h 20753"/>
                    <a:gd name="connsiteX33" fmla="*/ 4545 w 11124"/>
                    <a:gd name="connsiteY33" fmla="*/ 18182 h 20753"/>
                    <a:gd name="connsiteX34" fmla="*/ 3947 w 11124"/>
                    <a:gd name="connsiteY34" fmla="*/ 17703 h 20753"/>
                    <a:gd name="connsiteX35" fmla="*/ 3588 w 11124"/>
                    <a:gd name="connsiteY35" fmla="*/ 17464 h 20753"/>
                    <a:gd name="connsiteX36" fmla="*/ 3349 w 11124"/>
                    <a:gd name="connsiteY36" fmla="*/ 17284 h 20753"/>
                    <a:gd name="connsiteX37" fmla="*/ 1555 w 11124"/>
                    <a:gd name="connsiteY37" fmla="*/ 15909 h 20753"/>
                    <a:gd name="connsiteX38" fmla="*/ 778 w 11124"/>
                    <a:gd name="connsiteY38" fmla="*/ 15311 h 20753"/>
                    <a:gd name="connsiteX39" fmla="*/ 538 w 11124"/>
                    <a:gd name="connsiteY39" fmla="*/ 14653 h 20753"/>
                    <a:gd name="connsiteX40" fmla="*/ 479 w 11124"/>
                    <a:gd name="connsiteY40" fmla="*/ 14473 h 20753"/>
                    <a:gd name="connsiteX41" fmla="*/ 359 w 11124"/>
                    <a:gd name="connsiteY41" fmla="*/ 13935 h 20753"/>
                    <a:gd name="connsiteX42" fmla="*/ 180 w 11124"/>
                    <a:gd name="connsiteY42" fmla="*/ 13158 h 20753"/>
                    <a:gd name="connsiteX43" fmla="*/ 60 w 11124"/>
                    <a:gd name="connsiteY43" fmla="*/ 12320 h 20753"/>
                    <a:gd name="connsiteX44" fmla="*/ 0 w 11124"/>
                    <a:gd name="connsiteY44" fmla="*/ 11423 h 20753"/>
                    <a:gd name="connsiteX45" fmla="*/ 0 w 11124"/>
                    <a:gd name="connsiteY45" fmla="*/ 10466 h 20753"/>
                    <a:gd name="connsiteX46" fmla="*/ 0 w 11124"/>
                    <a:gd name="connsiteY46" fmla="*/ 9450 h 20753"/>
                    <a:gd name="connsiteX47" fmla="*/ 60 w 11124"/>
                    <a:gd name="connsiteY47" fmla="*/ 8493 h 20753"/>
                    <a:gd name="connsiteX48" fmla="*/ 60 w 11124"/>
                    <a:gd name="connsiteY48" fmla="*/ 8373 h 20753"/>
                    <a:gd name="connsiteX49" fmla="*/ 180 w 11124"/>
                    <a:gd name="connsiteY49" fmla="*/ 7237 h 20753"/>
                    <a:gd name="connsiteX50" fmla="*/ 359 w 11124"/>
                    <a:gd name="connsiteY50" fmla="*/ 6100 h 20753"/>
                    <a:gd name="connsiteX51" fmla="*/ 598 w 11124"/>
                    <a:gd name="connsiteY51" fmla="*/ 4904 h 20753"/>
                    <a:gd name="connsiteX52" fmla="*/ 837 w 11124"/>
                    <a:gd name="connsiteY52" fmla="*/ 3648 h 20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124" h="20753">
                      <a:moveTo>
                        <a:pt x="3828" y="0"/>
                      </a:moveTo>
                      <a:lnTo>
                        <a:pt x="5562" y="1256"/>
                      </a:lnTo>
                      <a:lnTo>
                        <a:pt x="7117" y="2392"/>
                      </a:lnTo>
                      <a:lnTo>
                        <a:pt x="7117" y="2392"/>
                      </a:lnTo>
                      <a:lnTo>
                        <a:pt x="7177" y="2452"/>
                      </a:lnTo>
                      <a:lnTo>
                        <a:pt x="8911" y="3708"/>
                      </a:lnTo>
                      <a:lnTo>
                        <a:pt x="9689" y="4306"/>
                      </a:lnTo>
                      <a:lnTo>
                        <a:pt x="9689" y="4306"/>
                      </a:lnTo>
                      <a:lnTo>
                        <a:pt x="10526" y="4904"/>
                      </a:lnTo>
                      <a:lnTo>
                        <a:pt x="10885" y="5143"/>
                      </a:lnTo>
                      <a:lnTo>
                        <a:pt x="11124" y="5323"/>
                      </a:lnTo>
                      <a:lnTo>
                        <a:pt x="10945" y="6399"/>
                      </a:lnTo>
                      <a:lnTo>
                        <a:pt x="10765" y="7476"/>
                      </a:lnTo>
                      <a:lnTo>
                        <a:pt x="10646" y="8493"/>
                      </a:lnTo>
                      <a:lnTo>
                        <a:pt x="10586" y="9510"/>
                      </a:lnTo>
                      <a:lnTo>
                        <a:pt x="10526" y="10466"/>
                      </a:lnTo>
                      <a:lnTo>
                        <a:pt x="10526" y="10706"/>
                      </a:lnTo>
                      <a:lnTo>
                        <a:pt x="10526" y="11005"/>
                      </a:lnTo>
                      <a:lnTo>
                        <a:pt x="10526" y="11423"/>
                      </a:lnTo>
                      <a:lnTo>
                        <a:pt x="10526" y="11483"/>
                      </a:lnTo>
                      <a:lnTo>
                        <a:pt x="10526" y="12260"/>
                      </a:lnTo>
                      <a:lnTo>
                        <a:pt x="10586" y="13098"/>
                      </a:lnTo>
                      <a:lnTo>
                        <a:pt x="10646" y="13875"/>
                      </a:lnTo>
                      <a:lnTo>
                        <a:pt x="10765" y="14653"/>
                      </a:lnTo>
                      <a:lnTo>
                        <a:pt x="10885" y="15370"/>
                      </a:lnTo>
                      <a:lnTo>
                        <a:pt x="10945" y="15610"/>
                      </a:lnTo>
                      <a:lnTo>
                        <a:pt x="11064" y="16028"/>
                      </a:lnTo>
                      <a:lnTo>
                        <a:pt x="9988" y="17703"/>
                      </a:lnTo>
                      <a:lnTo>
                        <a:pt x="8552" y="19856"/>
                      </a:lnTo>
                      <a:lnTo>
                        <a:pt x="7954" y="20753"/>
                      </a:lnTo>
                      <a:lnTo>
                        <a:pt x="6639" y="19736"/>
                      </a:lnTo>
                      <a:lnTo>
                        <a:pt x="5742" y="19079"/>
                      </a:lnTo>
                      <a:lnTo>
                        <a:pt x="4904" y="18421"/>
                      </a:lnTo>
                      <a:lnTo>
                        <a:pt x="4545" y="18182"/>
                      </a:lnTo>
                      <a:lnTo>
                        <a:pt x="3947" y="17703"/>
                      </a:lnTo>
                      <a:lnTo>
                        <a:pt x="3588" y="17464"/>
                      </a:lnTo>
                      <a:lnTo>
                        <a:pt x="3349" y="17284"/>
                      </a:lnTo>
                      <a:lnTo>
                        <a:pt x="1555" y="15909"/>
                      </a:lnTo>
                      <a:lnTo>
                        <a:pt x="778" y="15311"/>
                      </a:lnTo>
                      <a:lnTo>
                        <a:pt x="538" y="14653"/>
                      </a:lnTo>
                      <a:lnTo>
                        <a:pt x="479" y="14473"/>
                      </a:lnTo>
                      <a:lnTo>
                        <a:pt x="359" y="13935"/>
                      </a:lnTo>
                      <a:lnTo>
                        <a:pt x="180" y="13158"/>
                      </a:lnTo>
                      <a:lnTo>
                        <a:pt x="60" y="12320"/>
                      </a:lnTo>
                      <a:lnTo>
                        <a:pt x="0" y="11423"/>
                      </a:lnTo>
                      <a:lnTo>
                        <a:pt x="0" y="10466"/>
                      </a:lnTo>
                      <a:lnTo>
                        <a:pt x="0" y="9450"/>
                      </a:lnTo>
                      <a:lnTo>
                        <a:pt x="60" y="8493"/>
                      </a:lnTo>
                      <a:lnTo>
                        <a:pt x="60" y="8373"/>
                      </a:lnTo>
                      <a:lnTo>
                        <a:pt x="180" y="7237"/>
                      </a:lnTo>
                      <a:lnTo>
                        <a:pt x="359" y="6100"/>
                      </a:lnTo>
                      <a:lnTo>
                        <a:pt x="598" y="4904"/>
                      </a:lnTo>
                      <a:lnTo>
                        <a:pt x="837" y="3648"/>
                      </a:lnTo>
                    </a:path>
                  </a:pathLst>
                </a:custGeom>
                <a:noFill/>
                <a:ln w="6350" cap="flat">
                  <a:solidFill>
                    <a:schemeClr val="bg1">
                      <a:alpha val="80000"/>
                    </a:schemeClr>
                  </a:solidFill>
                  <a:prstDash val="solid"/>
                  <a:miter/>
                </a:ln>
              </p:spPr>
              <p:txBody>
                <a:bodyPr rtlCol="0" anchor="ctr"/>
                <a:lstStyle/>
                <a:p>
                  <a:endParaRPr lang="en-GB"/>
                </a:p>
              </p:txBody>
            </p:sp>
            <p:sp>
              <p:nvSpPr>
                <p:cNvPr id="7854" name="Vrije vorm: vorm 7853">
                  <a:extLst>
                    <a:ext uri="{FF2B5EF4-FFF2-40B4-BE49-F238E27FC236}">
                      <a16:creationId xmlns:a16="http://schemas.microsoft.com/office/drawing/2014/main" id="{AF706863-291B-455A-98E9-3280C38BDB53}"/>
                    </a:ext>
                  </a:extLst>
                </p:cNvPr>
                <p:cNvSpPr/>
                <p:nvPr/>
              </p:nvSpPr>
              <p:spPr>
                <a:xfrm>
                  <a:off x="5765555" y="5379161"/>
                  <a:ext cx="896" cy="11602"/>
                </a:xfrm>
                <a:custGeom>
                  <a:avLst/>
                  <a:gdLst>
                    <a:gd name="connsiteX0" fmla="*/ 897 w 896"/>
                    <a:gd name="connsiteY0" fmla="*/ 0 h 11602"/>
                    <a:gd name="connsiteX1" fmla="*/ 837 w 896"/>
                    <a:gd name="connsiteY1" fmla="*/ 419 h 11602"/>
                    <a:gd name="connsiteX2" fmla="*/ 837 w 896"/>
                    <a:gd name="connsiteY2" fmla="*/ 419 h 11602"/>
                    <a:gd name="connsiteX3" fmla="*/ 658 w 896"/>
                    <a:gd name="connsiteY3" fmla="*/ 1256 h 11602"/>
                    <a:gd name="connsiteX4" fmla="*/ 419 w 896"/>
                    <a:gd name="connsiteY4" fmla="*/ 2452 h 11602"/>
                    <a:gd name="connsiteX5" fmla="*/ 239 w 896"/>
                    <a:gd name="connsiteY5" fmla="*/ 3588 h 11602"/>
                    <a:gd name="connsiteX6" fmla="*/ 120 w 896"/>
                    <a:gd name="connsiteY6" fmla="*/ 4725 h 11602"/>
                    <a:gd name="connsiteX7" fmla="*/ 60 w 896"/>
                    <a:gd name="connsiteY7" fmla="*/ 5801 h 11602"/>
                    <a:gd name="connsiteX8" fmla="*/ 0 w 896"/>
                    <a:gd name="connsiteY8" fmla="*/ 6818 h 11602"/>
                    <a:gd name="connsiteX9" fmla="*/ 0 w 896"/>
                    <a:gd name="connsiteY9" fmla="*/ 7775 h 11602"/>
                    <a:gd name="connsiteX10" fmla="*/ 60 w 896"/>
                    <a:gd name="connsiteY10" fmla="*/ 8672 h 11602"/>
                    <a:gd name="connsiteX11" fmla="*/ 179 w 896"/>
                    <a:gd name="connsiteY11" fmla="*/ 9509 h 11602"/>
                    <a:gd name="connsiteX12" fmla="*/ 299 w 896"/>
                    <a:gd name="connsiteY12" fmla="*/ 10287 h 11602"/>
                    <a:gd name="connsiteX13" fmla="*/ 419 w 896"/>
                    <a:gd name="connsiteY13" fmla="*/ 10645 h 11602"/>
                    <a:gd name="connsiteX14" fmla="*/ 479 w 896"/>
                    <a:gd name="connsiteY14" fmla="*/ 10944 h 11602"/>
                    <a:gd name="connsiteX15" fmla="*/ 718 w 896"/>
                    <a:gd name="connsiteY15" fmla="*/ 1160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6" h="11602">
                      <a:moveTo>
                        <a:pt x="897" y="0"/>
                      </a:moveTo>
                      <a:lnTo>
                        <a:pt x="837" y="419"/>
                      </a:lnTo>
                      <a:lnTo>
                        <a:pt x="837" y="419"/>
                      </a:lnTo>
                      <a:lnTo>
                        <a:pt x="658" y="1256"/>
                      </a:lnTo>
                      <a:lnTo>
                        <a:pt x="419" y="2452"/>
                      </a:lnTo>
                      <a:lnTo>
                        <a:pt x="239" y="3588"/>
                      </a:lnTo>
                      <a:lnTo>
                        <a:pt x="120" y="4725"/>
                      </a:lnTo>
                      <a:lnTo>
                        <a:pt x="60" y="5801"/>
                      </a:lnTo>
                      <a:lnTo>
                        <a:pt x="0" y="6818"/>
                      </a:lnTo>
                      <a:lnTo>
                        <a:pt x="0" y="7775"/>
                      </a:lnTo>
                      <a:lnTo>
                        <a:pt x="60" y="8672"/>
                      </a:lnTo>
                      <a:lnTo>
                        <a:pt x="179" y="9509"/>
                      </a:lnTo>
                      <a:lnTo>
                        <a:pt x="299" y="10287"/>
                      </a:lnTo>
                      <a:lnTo>
                        <a:pt x="419" y="10645"/>
                      </a:lnTo>
                      <a:lnTo>
                        <a:pt x="479" y="10944"/>
                      </a:lnTo>
                      <a:lnTo>
                        <a:pt x="718" y="11603"/>
                      </a:lnTo>
                    </a:path>
                  </a:pathLst>
                </a:custGeom>
                <a:noFill/>
                <a:ln w="6350" cap="flat">
                  <a:solidFill>
                    <a:schemeClr val="bg1">
                      <a:alpha val="80000"/>
                    </a:schemeClr>
                  </a:solidFill>
                  <a:prstDash val="solid"/>
                  <a:miter/>
                </a:ln>
              </p:spPr>
              <p:txBody>
                <a:bodyPr rtlCol="0" anchor="ctr"/>
                <a:lstStyle/>
                <a:p>
                  <a:endParaRPr lang="en-GB"/>
                </a:p>
              </p:txBody>
            </p:sp>
            <p:sp>
              <p:nvSpPr>
                <p:cNvPr id="7855" name="Vrije vorm: vorm 7854">
                  <a:extLst>
                    <a:ext uri="{FF2B5EF4-FFF2-40B4-BE49-F238E27FC236}">
                      <a16:creationId xmlns:a16="http://schemas.microsoft.com/office/drawing/2014/main" id="{602402D0-9145-465F-9246-1927324288B0}"/>
                    </a:ext>
                  </a:extLst>
                </p:cNvPr>
                <p:cNvSpPr/>
                <p:nvPr/>
              </p:nvSpPr>
              <p:spPr>
                <a:xfrm>
                  <a:off x="5759156" y="5370010"/>
                  <a:ext cx="10406" cy="9150"/>
                </a:xfrm>
                <a:custGeom>
                  <a:avLst/>
                  <a:gdLst>
                    <a:gd name="connsiteX0" fmla="*/ 3050 w 10406"/>
                    <a:gd name="connsiteY0" fmla="*/ 0 h 9150"/>
                    <a:gd name="connsiteX1" fmla="*/ 598 w 10406"/>
                    <a:gd name="connsiteY1" fmla="*/ 2990 h 9150"/>
                    <a:gd name="connsiteX2" fmla="*/ 0 w 10406"/>
                    <a:gd name="connsiteY2" fmla="*/ 3768 h 9150"/>
                    <a:gd name="connsiteX3" fmla="*/ 2273 w 10406"/>
                    <a:gd name="connsiteY3" fmla="*/ 5443 h 9150"/>
                    <a:gd name="connsiteX4" fmla="*/ 2512 w 10406"/>
                    <a:gd name="connsiteY4" fmla="*/ 5622 h 9150"/>
                    <a:gd name="connsiteX5" fmla="*/ 4785 w 10406"/>
                    <a:gd name="connsiteY5" fmla="*/ 7297 h 9150"/>
                    <a:gd name="connsiteX6" fmla="*/ 5024 w 10406"/>
                    <a:gd name="connsiteY6" fmla="*/ 7476 h 9150"/>
                    <a:gd name="connsiteX7" fmla="*/ 6459 w 10406"/>
                    <a:gd name="connsiteY7" fmla="*/ 8493 h 9150"/>
                    <a:gd name="connsiteX8" fmla="*/ 6937 w 10406"/>
                    <a:gd name="connsiteY8" fmla="*/ 8851 h 9150"/>
                    <a:gd name="connsiteX9" fmla="*/ 7356 w 10406"/>
                    <a:gd name="connsiteY9" fmla="*/ 9151 h 9150"/>
                    <a:gd name="connsiteX10" fmla="*/ 7656 w 10406"/>
                    <a:gd name="connsiteY10" fmla="*/ 8732 h 9150"/>
                    <a:gd name="connsiteX11" fmla="*/ 8134 w 10406"/>
                    <a:gd name="connsiteY11" fmla="*/ 8134 h 9150"/>
                    <a:gd name="connsiteX12" fmla="*/ 8134 w 10406"/>
                    <a:gd name="connsiteY12" fmla="*/ 8134 h 9150"/>
                    <a:gd name="connsiteX13" fmla="*/ 8134 w 10406"/>
                    <a:gd name="connsiteY13" fmla="*/ 8134 h 9150"/>
                    <a:gd name="connsiteX14" fmla="*/ 8194 w 10406"/>
                    <a:gd name="connsiteY14" fmla="*/ 8074 h 9150"/>
                    <a:gd name="connsiteX15" fmla="*/ 9689 w 10406"/>
                    <a:gd name="connsiteY15" fmla="*/ 6160 h 9150"/>
                    <a:gd name="connsiteX16" fmla="*/ 10406 w 10406"/>
                    <a:gd name="connsiteY16" fmla="*/ 5323 h 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06" h="9150">
                      <a:moveTo>
                        <a:pt x="3050" y="0"/>
                      </a:moveTo>
                      <a:lnTo>
                        <a:pt x="598" y="2990"/>
                      </a:lnTo>
                      <a:lnTo>
                        <a:pt x="0" y="3768"/>
                      </a:lnTo>
                      <a:lnTo>
                        <a:pt x="2273" y="5443"/>
                      </a:lnTo>
                      <a:lnTo>
                        <a:pt x="2512" y="5622"/>
                      </a:lnTo>
                      <a:lnTo>
                        <a:pt x="4785" y="7297"/>
                      </a:lnTo>
                      <a:lnTo>
                        <a:pt x="5024" y="7476"/>
                      </a:lnTo>
                      <a:lnTo>
                        <a:pt x="6459" y="8493"/>
                      </a:lnTo>
                      <a:lnTo>
                        <a:pt x="6937" y="8851"/>
                      </a:lnTo>
                      <a:lnTo>
                        <a:pt x="7356" y="9151"/>
                      </a:lnTo>
                      <a:lnTo>
                        <a:pt x="7656" y="8732"/>
                      </a:lnTo>
                      <a:lnTo>
                        <a:pt x="8134" y="8134"/>
                      </a:lnTo>
                      <a:lnTo>
                        <a:pt x="8134" y="8134"/>
                      </a:lnTo>
                      <a:lnTo>
                        <a:pt x="8134" y="8134"/>
                      </a:lnTo>
                      <a:lnTo>
                        <a:pt x="8194" y="8074"/>
                      </a:lnTo>
                      <a:lnTo>
                        <a:pt x="9689" y="6160"/>
                      </a:lnTo>
                      <a:lnTo>
                        <a:pt x="10406" y="5323"/>
                      </a:lnTo>
                    </a:path>
                  </a:pathLst>
                </a:custGeom>
                <a:noFill/>
                <a:ln w="6350" cap="flat">
                  <a:solidFill>
                    <a:schemeClr val="bg1">
                      <a:alpha val="80000"/>
                    </a:schemeClr>
                  </a:solidFill>
                  <a:prstDash val="solid"/>
                  <a:miter/>
                </a:ln>
              </p:spPr>
              <p:txBody>
                <a:bodyPr rtlCol="0" anchor="ctr"/>
                <a:lstStyle/>
                <a:p>
                  <a:endParaRPr lang="en-GB"/>
                </a:p>
              </p:txBody>
            </p:sp>
            <p:sp>
              <p:nvSpPr>
                <p:cNvPr id="7856" name="Vrije vorm: vorm 7855">
                  <a:extLst>
                    <a:ext uri="{FF2B5EF4-FFF2-40B4-BE49-F238E27FC236}">
                      <a16:creationId xmlns:a16="http://schemas.microsoft.com/office/drawing/2014/main" id="{A9CD9C66-291F-443F-A126-6F7BFED91C59}"/>
                    </a:ext>
                  </a:extLst>
                </p:cNvPr>
                <p:cNvSpPr/>
                <p:nvPr/>
              </p:nvSpPr>
              <p:spPr>
                <a:xfrm>
                  <a:off x="5714839" y="5395249"/>
                  <a:ext cx="30860" cy="15489"/>
                </a:xfrm>
                <a:custGeom>
                  <a:avLst/>
                  <a:gdLst>
                    <a:gd name="connsiteX0" fmla="*/ 30860 w 30860"/>
                    <a:gd name="connsiteY0" fmla="*/ 15490 h 15489"/>
                    <a:gd name="connsiteX1" fmla="*/ 27930 w 30860"/>
                    <a:gd name="connsiteY1" fmla="*/ 15490 h 15489"/>
                    <a:gd name="connsiteX2" fmla="*/ 24999 w 30860"/>
                    <a:gd name="connsiteY2" fmla="*/ 15490 h 15489"/>
                    <a:gd name="connsiteX3" fmla="*/ 22069 w 30860"/>
                    <a:gd name="connsiteY3" fmla="*/ 15490 h 15489"/>
                    <a:gd name="connsiteX4" fmla="*/ 19138 w 30860"/>
                    <a:gd name="connsiteY4" fmla="*/ 15490 h 15489"/>
                    <a:gd name="connsiteX5" fmla="*/ 18600 w 30860"/>
                    <a:gd name="connsiteY5" fmla="*/ 15490 h 15489"/>
                    <a:gd name="connsiteX6" fmla="*/ 16447 w 30860"/>
                    <a:gd name="connsiteY6" fmla="*/ 13696 h 15489"/>
                    <a:gd name="connsiteX7" fmla="*/ 14294 w 30860"/>
                    <a:gd name="connsiteY7" fmla="*/ 11902 h 15489"/>
                    <a:gd name="connsiteX8" fmla="*/ 12141 w 30860"/>
                    <a:gd name="connsiteY8" fmla="*/ 10107 h 15489"/>
                    <a:gd name="connsiteX9" fmla="*/ 9988 w 30860"/>
                    <a:gd name="connsiteY9" fmla="*/ 8313 h 15489"/>
                    <a:gd name="connsiteX10" fmla="*/ 7835 w 30860"/>
                    <a:gd name="connsiteY10" fmla="*/ 6519 h 15489"/>
                    <a:gd name="connsiteX11" fmla="*/ 5681 w 30860"/>
                    <a:gd name="connsiteY11" fmla="*/ 4725 h 15489"/>
                    <a:gd name="connsiteX12" fmla="*/ 3528 w 30860"/>
                    <a:gd name="connsiteY12" fmla="*/ 2930 h 15489"/>
                    <a:gd name="connsiteX13" fmla="*/ 1375 w 30860"/>
                    <a:gd name="connsiteY13" fmla="*/ 1136 h 15489"/>
                    <a:gd name="connsiteX14" fmla="*/ 0 w 30860"/>
                    <a:gd name="connsiteY14" fmla="*/ 0 h 1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860" h="15489">
                      <a:moveTo>
                        <a:pt x="30860" y="15490"/>
                      </a:moveTo>
                      <a:lnTo>
                        <a:pt x="27930" y="15490"/>
                      </a:lnTo>
                      <a:lnTo>
                        <a:pt x="24999" y="15490"/>
                      </a:lnTo>
                      <a:lnTo>
                        <a:pt x="22069" y="15490"/>
                      </a:lnTo>
                      <a:lnTo>
                        <a:pt x="19138" y="15490"/>
                      </a:lnTo>
                      <a:lnTo>
                        <a:pt x="18600" y="15490"/>
                      </a:lnTo>
                      <a:lnTo>
                        <a:pt x="16447" y="13696"/>
                      </a:lnTo>
                      <a:lnTo>
                        <a:pt x="14294" y="11902"/>
                      </a:lnTo>
                      <a:lnTo>
                        <a:pt x="12141" y="10107"/>
                      </a:lnTo>
                      <a:lnTo>
                        <a:pt x="9988" y="8313"/>
                      </a:lnTo>
                      <a:lnTo>
                        <a:pt x="7835" y="6519"/>
                      </a:lnTo>
                      <a:lnTo>
                        <a:pt x="5681" y="4725"/>
                      </a:lnTo>
                      <a:lnTo>
                        <a:pt x="3528" y="2930"/>
                      </a:lnTo>
                      <a:lnTo>
                        <a:pt x="1375" y="1136"/>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57" name="Vrije vorm: vorm 7856">
                  <a:extLst>
                    <a:ext uri="{FF2B5EF4-FFF2-40B4-BE49-F238E27FC236}">
                      <a16:creationId xmlns:a16="http://schemas.microsoft.com/office/drawing/2014/main" id="{0E480EEE-0DBF-4549-BEE7-CB4FDD7CF452}"/>
                    </a:ext>
                  </a:extLst>
                </p:cNvPr>
                <p:cNvSpPr/>
                <p:nvPr/>
              </p:nvSpPr>
              <p:spPr>
                <a:xfrm>
                  <a:off x="5766931" y="5382689"/>
                  <a:ext cx="8373" cy="7416"/>
                </a:xfrm>
                <a:custGeom>
                  <a:avLst/>
                  <a:gdLst>
                    <a:gd name="connsiteX0" fmla="*/ 8373 w 8373"/>
                    <a:gd name="connsiteY0" fmla="*/ 0 h 7416"/>
                    <a:gd name="connsiteX1" fmla="*/ 6579 w 8373"/>
                    <a:gd name="connsiteY1" fmla="*/ 3529 h 7416"/>
                    <a:gd name="connsiteX2" fmla="*/ 4785 w 8373"/>
                    <a:gd name="connsiteY2" fmla="*/ 7057 h 7416"/>
                    <a:gd name="connsiteX3" fmla="*/ 4605 w 8373"/>
                    <a:gd name="connsiteY3" fmla="*/ 7416 h 7416"/>
                    <a:gd name="connsiteX4" fmla="*/ 1735 w 8373"/>
                    <a:gd name="connsiteY4" fmla="*/ 7237 h 7416"/>
                    <a:gd name="connsiteX5" fmla="*/ 0 w 8373"/>
                    <a:gd name="connsiteY5" fmla="*/ 7117 h 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73" h="7416">
                      <a:moveTo>
                        <a:pt x="8373" y="0"/>
                      </a:moveTo>
                      <a:lnTo>
                        <a:pt x="6579" y="3529"/>
                      </a:lnTo>
                      <a:lnTo>
                        <a:pt x="4785" y="7057"/>
                      </a:lnTo>
                      <a:lnTo>
                        <a:pt x="4605" y="7416"/>
                      </a:lnTo>
                      <a:lnTo>
                        <a:pt x="1735" y="7237"/>
                      </a:lnTo>
                      <a:lnTo>
                        <a:pt x="0" y="7117"/>
                      </a:lnTo>
                    </a:path>
                  </a:pathLst>
                </a:custGeom>
                <a:noFill/>
                <a:ln w="6350" cap="flat">
                  <a:solidFill>
                    <a:schemeClr val="bg1">
                      <a:alpha val="80000"/>
                    </a:schemeClr>
                  </a:solidFill>
                  <a:prstDash val="solid"/>
                  <a:miter/>
                </a:ln>
              </p:spPr>
              <p:txBody>
                <a:bodyPr rtlCol="0" anchor="ctr"/>
                <a:lstStyle/>
                <a:p>
                  <a:endParaRPr lang="en-GB"/>
                </a:p>
              </p:txBody>
            </p:sp>
            <p:sp>
              <p:nvSpPr>
                <p:cNvPr id="7858" name="Vrije vorm: vorm 7857">
                  <a:extLst>
                    <a:ext uri="{FF2B5EF4-FFF2-40B4-BE49-F238E27FC236}">
                      <a16:creationId xmlns:a16="http://schemas.microsoft.com/office/drawing/2014/main" id="{5575FEAB-4969-4F1B-9839-F2622E7B0A8F}"/>
                    </a:ext>
                  </a:extLst>
                </p:cNvPr>
                <p:cNvSpPr/>
                <p:nvPr/>
              </p:nvSpPr>
              <p:spPr>
                <a:xfrm>
                  <a:off x="5758917" y="5387713"/>
                  <a:ext cx="3289" cy="1854"/>
                </a:xfrm>
                <a:custGeom>
                  <a:avLst/>
                  <a:gdLst>
                    <a:gd name="connsiteX0" fmla="*/ 0 w 3289"/>
                    <a:gd name="connsiteY0" fmla="*/ 60 h 1854"/>
                    <a:gd name="connsiteX1" fmla="*/ 1196 w 3289"/>
                    <a:gd name="connsiteY1" fmla="*/ 957 h 1854"/>
                    <a:gd name="connsiteX2" fmla="*/ 2332 w 3289"/>
                    <a:gd name="connsiteY2" fmla="*/ 1854 h 1854"/>
                    <a:gd name="connsiteX3" fmla="*/ 2990 w 3289"/>
                    <a:gd name="connsiteY3" fmla="*/ 598 h 1854"/>
                    <a:gd name="connsiteX4" fmla="*/ 3289 w 3289"/>
                    <a:gd name="connsiteY4" fmla="*/ 0 h 1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 h="1854">
                      <a:moveTo>
                        <a:pt x="0" y="60"/>
                      </a:moveTo>
                      <a:lnTo>
                        <a:pt x="1196" y="957"/>
                      </a:lnTo>
                      <a:lnTo>
                        <a:pt x="2332" y="1854"/>
                      </a:lnTo>
                      <a:lnTo>
                        <a:pt x="2990" y="598"/>
                      </a:lnTo>
                      <a:lnTo>
                        <a:pt x="3289" y="0"/>
                      </a:lnTo>
                    </a:path>
                  </a:pathLst>
                </a:custGeom>
                <a:noFill/>
                <a:ln w="6350" cap="flat">
                  <a:solidFill>
                    <a:schemeClr val="bg1">
                      <a:alpha val="80000"/>
                    </a:schemeClr>
                  </a:solidFill>
                  <a:prstDash val="solid"/>
                  <a:miter/>
                </a:ln>
              </p:spPr>
              <p:txBody>
                <a:bodyPr rtlCol="0" anchor="ctr"/>
                <a:lstStyle/>
                <a:p>
                  <a:endParaRPr lang="en-GB"/>
                </a:p>
              </p:txBody>
            </p:sp>
            <p:sp>
              <p:nvSpPr>
                <p:cNvPr id="7859" name="Vrije vorm: vorm 7858">
                  <a:extLst>
                    <a:ext uri="{FF2B5EF4-FFF2-40B4-BE49-F238E27FC236}">
                      <a16:creationId xmlns:a16="http://schemas.microsoft.com/office/drawing/2014/main" id="{7EAA1AEF-3068-43CE-85DD-844D76BED28E}"/>
                    </a:ext>
                  </a:extLst>
                </p:cNvPr>
                <p:cNvSpPr/>
                <p:nvPr/>
              </p:nvSpPr>
              <p:spPr>
                <a:xfrm>
                  <a:off x="5767289" y="5353683"/>
                  <a:ext cx="4725" cy="20035"/>
                </a:xfrm>
                <a:custGeom>
                  <a:avLst/>
                  <a:gdLst>
                    <a:gd name="connsiteX0" fmla="*/ 60 w 4725"/>
                    <a:gd name="connsiteY0" fmla="*/ 20035 h 20035"/>
                    <a:gd name="connsiteX1" fmla="*/ 60 w 4725"/>
                    <a:gd name="connsiteY1" fmla="*/ 19377 h 20035"/>
                    <a:gd name="connsiteX2" fmla="*/ 60 w 4725"/>
                    <a:gd name="connsiteY2" fmla="*/ 19138 h 20035"/>
                    <a:gd name="connsiteX3" fmla="*/ 0 w 4725"/>
                    <a:gd name="connsiteY3" fmla="*/ 17464 h 20035"/>
                    <a:gd name="connsiteX4" fmla="*/ 120 w 4725"/>
                    <a:gd name="connsiteY4" fmla="*/ 16866 h 20035"/>
                    <a:gd name="connsiteX5" fmla="*/ 598 w 4725"/>
                    <a:gd name="connsiteY5" fmla="*/ 14354 h 20035"/>
                    <a:gd name="connsiteX6" fmla="*/ 1316 w 4725"/>
                    <a:gd name="connsiteY6" fmla="*/ 10586 h 20035"/>
                    <a:gd name="connsiteX7" fmla="*/ 1615 w 4725"/>
                    <a:gd name="connsiteY7" fmla="*/ 9091 h 20035"/>
                    <a:gd name="connsiteX8" fmla="*/ 2871 w 4725"/>
                    <a:gd name="connsiteY8" fmla="*/ 5382 h 20035"/>
                    <a:gd name="connsiteX9" fmla="*/ 3529 w 4725"/>
                    <a:gd name="connsiteY9" fmla="*/ 3469 h 20035"/>
                    <a:gd name="connsiteX10" fmla="*/ 3648 w 4725"/>
                    <a:gd name="connsiteY10" fmla="*/ 3170 h 20035"/>
                    <a:gd name="connsiteX11" fmla="*/ 4725 w 4725"/>
                    <a:gd name="connsiteY11" fmla="*/ 0 h 2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 h="20035">
                      <a:moveTo>
                        <a:pt x="60" y="20035"/>
                      </a:moveTo>
                      <a:lnTo>
                        <a:pt x="60" y="19377"/>
                      </a:lnTo>
                      <a:lnTo>
                        <a:pt x="60" y="19138"/>
                      </a:lnTo>
                      <a:lnTo>
                        <a:pt x="0" y="17464"/>
                      </a:lnTo>
                      <a:lnTo>
                        <a:pt x="120" y="16866"/>
                      </a:lnTo>
                      <a:lnTo>
                        <a:pt x="598" y="14354"/>
                      </a:lnTo>
                      <a:lnTo>
                        <a:pt x="1316" y="10586"/>
                      </a:lnTo>
                      <a:lnTo>
                        <a:pt x="1615" y="9091"/>
                      </a:lnTo>
                      <a:lnTo>
                        <a:pt x="2871" y="5382"/>
                      </a:lnTo>
                      <a:lnTo>
                        <a:pt x="3529" y="3469"/>
                      </a:lnTo>
                      <a:lnTo>
                        <a:pt x="3648" y="3170"/>
                      </a:lnTo>
                      <a:lnTo>
                        <a:pt x="4725" y="0"/>
                      </a:lnTo>
                    </a:path>
                  </a:pathLst>
                </a:custGeom>
                <a:noFill/>
                <a:ln w="6350" cap="flat">
                  <a:solidFill>
                    <a:schemeClr val="bg1">
                      <a:alpha val="80000"/>
                    </a:schemeClr>
                  </a:solidFill>
                  <a:prstDash val="solid"/>
                  <a:miter/>
                </a:ln>
              </p:spPr>
              <p:txBody>
                <a:bodyPr rtlCol="0" anchor="ctr"/>
                <a:lstStyle/>
                <a:p>
                  <a:endParaRPr lang="en-GB"/>
                </a:p>
              </p:txBody>
            </p:sp>
            <p:sp>
              <p:nvSpPr>
                <p:cNvPr id="7860" name="Vrije vorm: vorm 7859">
                  <a:extLst>
                    <a:ext uri="{FF2B5EF4-FFF2-40B4-BE49-F238E27FC236}">
                      <a16:creationId xmlns:a16="http://schemas.microsoft.com/office/drawing/2014/main" id="{353FBD78-1F9D-4569-8A96-2B9A275A7944}"/>
                    </a:ext>
                  </a:extLst>
                </p:cNvPr>
                <p:cNvSpPr/>
                <p:nvPr/>
              </p:nvSpPr>
              <p:spPr>
                <a:xfrm>
                  <a:off x="5768904" y="5379938"/>
                  <a:ext cx="11961" cy="3349"/>
                </a:xfrm>
                <a:custGeom>
                  <a:avLst/>
                  <a:gdLst>
                    <a:gd name="connsiteX0" fmla="*/ 11961 w 11961"/>
                    <a:gd name="connsiteY0" fmla="*/ 0 h 3349"/>
                    <a:gd name="connsiteX1" fmla="*/ 8971 w 11961"/>
                    <a:gd name="connsiteY1" fmla="*/ 1854 h 3349"/>
                    <a:gd name="connsiteX2" fmla="*/ 8194 w 11961"/>
                    <a:gd name="connsiteY2" fmla="*/ 2332 h 3349"/>
                    <a:gd name="connsiteX3" fmla="*/ 6399 w 11961"/>
                    <a:gd name="connsiteY3" fmla="*/ 2751 h 3349"/>
                    <a:gd name="connsiteX4" fmla="*/ 3648 w 11961"/>
                    <a:gd name="connsiteY4" fmla="*/ 3349 h 3349"/>
                    <a:gd name="connsiteX5" fmla="*/ 1974 w 11961"/>
                    <a:gd name="connsiteY5" fmla="*/ 2572 h 3349"/>
                    <a:gd name="connsiteX6" fmla="*/ 299 w 11961"/>
                    <a:gd name="connsiteY6" fmla="*/ 1794 h 3349"/>
                    <a:gd name="connsiteX7" fmla="*/ 0 w 11961"/>
                    <a:gd name="connsiteY7" fmla="*/ 1076 h 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1" h="3349">
                      <a:moveTo>
                        <a:pt x="11961" y="0"/>
                      </a:moveTo>
                      <a:lnTo>
                        <a:pt x="8971" y="1854"/>
                      </a:lnTo>
                      <a:lnTo>
                        <a:pt x="8194" y="2332"/>
                      </a:lnTo>
                      <a:lnTo>
                        <a:pt x="6399" y="2751"/>
                      </a:lnTo>
                      <a:lnTo>
                        <a:pt x="3648" y="3349"/>
                      </a:lnTo>
                      <a:lnTo>
                        <a:pt x="1974" y="2572"/>
                      </a:lnTo>
                      <a:lnTo>
                        <a:pt x="299" y="1794"/>
                      </a:lnTo>
                      <a:lnTo>
                        <a:pt x="0" y="1076"/>
                      </a:lnTo>
                    </a:path>
                  </a:pathLst>
                </a:custGeom>
                <a:noFill/>
                <a:ln w="6350" cap="flat">
                  <a:solidFill>
                    <a:schemeClr val="bg1">
                      <a:alpha val="80000"/>
                    </a:schemeClr>
                  </a:solidFill>
                  <a:prstDash val="solid"/>
                  <a:miter/>
                </a:ln>
              </p:spPr>
              <p:txBody>
                <a:bodyPr rtlCol="0" anchor="ctr"/>
                <a:lstStyle/>
                <a:p>
                  <a:endParaRPr lang="en-GB"/>
                </a:p>
              </p:txBody>
            </p:sp>
            <p:sp>
              <p:nvSpPr>
                <p:cNvPr id="7861" name="Vrije vorm: vorm 7860">
                  <a:extLst>
                    <a:ext uri="{FF2B5EF4-FFF2-40B4-BE49-F238E27FC236}">
                      <a16:creationId xmlns:a16="http://schemas.microsoft.com/office/drawing/2014/main" id="{A1F001A2-A99A-429E-B102-06BE1B385D09}"/>
                    </a:ext>
                  </a:extLst>
                </p:cNvPr>
                <p:cNvSpPr/>
                <p:nvPr/>
              </p:nvSpPr>
              <p:spPr>
                <a:xfrm>
                  <a:off x="5718068" y="5288134"/>
                  <a:ext cx="35645" cy="56936"/>
                </a:xfrm>
                <a:custGeom>
                  <a:avLst/>
                  <a:gdLst>
                    <a:gd name="connsiteX0" fmla="*/ 0 w 35645"/>
                    <a:gd name="connsiteY0" fmla="*/ 56937 h 56936"/>
                    <a:gd name="connsiteX1" fmla="*/ 1794 w 35645"/>
                    <a:gd name="connsiteY1" fmla="*/ 53408 h 56936"/>
                    <a:gd name="connsiteX2" fmla="*/ 2213 w 35645"/>
                    <a:gd name="connsiteY2" fmla="*/ 52630 h 56936"/>
                    <a:gd name="connsiteX3" fmla="*/ 2572 w 35645"/>
                    <a:gd name="connsiteY3" fmla="*/ 51972 h 56936"/>
                    <a:gd name="connsiteX4" fmla="*/ 4366 w 35645"/>
                    <a:gd name="connsiteY4" fmla="*/ 48444 h 56936"/>
                    <a:gd name="connsiteX5" fmla="*/ 4964 w 35645"/>
                    <a:gd name="connsiteY5" fmla="*/ 47308 h 56936"/>
                    <a:gd name="connsiteX6" fmla="*/ 5263 w 35645"/>
                    <a:gd name="connsiteY6" fmla="*/ 46650 h 56936"/>
                    <a:gd name="connsiteX7" fmla="*/ 7057 w 35645"/>
                    <a:gd name="connsiteY7" fmla="*/ 43121 h 56936"/>
                    <a:gd name="connsiteX8" fmla="*/ 8851 w 35645"/>
                    <a:gd name="connsiteY8" fmla="*/ 39592 h 56936"/>
                    <a:gd name="connsiteX9" fmla="*/ 10645 w 35645"/>
                    <a:gd name="connsiteY9" fmla="*/ 36064 h 56936"/>
                    <a:gd name="connsiteX10" fmla="*/ 12380 w 35645"/>
                    <a:gd name="connsiteY10" fmla="*/ 32655 h 56936"/>
                    <a:gd name="connsiteX11" fmla="*/ 12679 w 35645"/>
                    <a:gd name="connsiteY11" fmla="*/ 32116 h 56936"/>
                    <a:gd name="connsiteX12" fmla="*/ 14473 w 35645"/>
                    <a:gd name="connsiteY12" fmla="*/ 28588 h 56936"/>
                    <a:gd name="connsiteX13" fmla="*/ 15490 w 35645"/>
                    <a:gd name="connsiteY13" fmla="*/ 26554 h 56936"/>
                    <a:gd name="connsiteX14" fmla="*/ 15729 w 35645"/>
                    <a:gd name="connsiteY14" fmla="*/ 26016 h 56936"/>
                    <a:gd name="connsiteX15" fmla="*/ 17523 w 35645"/>
                    <a:gd name="connsiteY15" fmla="*/ 22488 h 56936"/>
                    <a:gd name="connsiteX16" fmla="*/ 19318 w 35645"/>
                    <a:gd name="connsiteY16" fmla="*/ 18959 h 56936"/>
                    <a:gd name="connsiteX17" fmla="*/ 21112 w 35645"/>
                    <a:gd name="connsiteY17" fmla="*/ 15430 h 56936"/>
                    <a:gd name="connsiteX18" fmla="*/ 22906 w 35645"/>
                    <a:gd name="connsiteY18" fmla="*/ 11902 h 56936"/>
                    <a:gd name="connsiteX19" fmla="*/ 24700 w 35645"/>
                    <a:gd name="connsiteY19" fmla="*/ 8373 h 56936"/>
                    <a:gd name="connsiteX20" fmla="*/ 25717 w 35645"/>
                    <a:gd name="connsiteY20" fmla="*/ 6340 h 56936"/>
                    <a:gd name="connsiteX21" fmla="*/ 26196 w 35645"/>
                    <a:gd name="connsiteY21" fmla="*/ 5383 h 56936"/>
                    <a:gd name="connsiteX22" fmla="*/ 26734 w 35645"/>
                    <a:gd name="connsiteY22" fmla="*/ 4486 h 56936"/>
                    <a:gd name="connsiteX23" fmla="*/ 27332 w 35645"/>
                    <a:gd name="connsiteY23" fmla="*/ 3648 h 56936"/>
                    <a:gd name="connsiteX24" fmla="*/ 27930 w 35645"/>
                    <a:gd name="connsiteY24" fmla="*/ 2871 h 56936"/>
                    <a:gd name="connsiteX25" fmla="*/ 28588 w 35645"/>
                    <a:gd name="connsiteY25" fmla="*/ 2153 h 56936"/>
                    <a:gd name="connsiteX26" fmla="*/ 29246 w 35645"/>
                    <a:gd name="connsiteY26" fmla="*/ 1495 h 56936"/>
                    <a:gd name="connsiteX27" fmla="*/ 29844 w 35645"/>
                    <a:gd name="connsiteY27" fmla="*/ 957 h 56936"/>
                    <a:gd name="connsiteX28" fmla="*/ 30442 w 35645"/>
                    <a:gd name="connsiteY28" fmla="*/ 538 h 56936"/>
                    <a:gd name="connsiteX29" fmla="*/ 31040 w 35645"/>
                    <a:gd name="connsiteY29" fmla="*/ 239 h 56936"/>
                    <a:gd name="connsiteX30" fmla="*/ 31578 w 35645"/>
                    <a:gd name="connsiteY30" fmla="*/ 60 h 56936"/>
                    <a:gd name="connsiteX31" fmla="*/ 32057 w 35645"/>
                    <a:gd name="connsiteY31" fmla="*/ 0 h 56936"/>
                    <a:gd name="connsiteX32" fmla="*/ 32475 w 35645"/>
                    <a:gd name="connsiteY32" fmla="*/ 60 h 56936"/>
                    <a:gd name="connsiteX33" fmla="*/ 35167 w 35645"/>
                    <a:gd name="connsiteY33" fmla="*/ 897 h 56936"/>
                    <a:gd name="connsiteX34" fmla="*/ 35645 w 35645"/>
                    <a:gd name="connsiteY34" fmla="*/ 1076 h 56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5" h="56936">
                      <a:moveTo>
                        <a:pt x="0" y="56937"/>
                      </a:moveTo>
                      <a:lnTo>
                        <a:pt x="1794" y="53408"/>
                      </a:lnTo>
                      <a:lnTo>
                        <a:pt x="2213" y="52630"/>
                      </a:lnTo>
                      <a:lnTo>
                        <a:pt x="2572" y="51972"/>
                      </a:lnTo>
                      <a:lnTo>
                        <a:pt x="4366" y="48444"/>
                      </a:lnTo>
                      <a:lnTo>
                        <a:pt x="4964" y="47308"/>
                      </a:lnTo>
                      <a:lnTo>
                        <a:pt x="5263" y="46650"/>
                      </a:lnTo>
                      <a:lnTo>
                        <a:pt x="7057" y="43121"/>
                      </a:lnTo>
                      <a:lnTo>
                        <a:pt x="8851" y="39592"/>
                      </a:lnTo>
                      <a:lnTo>
                        <a:pt x="10645" y="36064"/>
                      </a:lnTo>
                      <a:lnTo>
                        <a:pt x="12380" y="32655"/>
                      </a:lnTo>
                      <a:lnTo>
                        <a:pt x="12679" y="32116"/>
                      </a:lnTo>
                      <a:lnTo>
                        <a:pt x="14473" y="28588"/>
                      </a:lnTo>
                      <a:lnTo>
                        <a:pt x="15490" y="26554"/>
                      </a:lnTo>
                      <a:lnTo>
                        <a:pt x="15729" y="26016"/>
                      </a:lnTo>
                      <a:lnTo>
                        <a:pt x="17523" y="22488"/>
                      </a:lnTo>
                      <a:lnTo>
                        <a:pt x="19318" y="18959"/>
                      </a:lnTo>
                      <a:lnTo>
                        <a:pt x="21112" y="15430"/>
                      </a:lnTo>
                      <a:lnTo>
                        <a:pt x="22906" y="11902"/>
                      </a:lnTo>
                      <a:lnTo>
                        <a:pt x="24700" y="8373"/>
                      </a:lnTo>
                      <a:lnTo>
                        <a:pt x="25717" y="6340"/>
                      </a:lnTo>
                      <a:lnTo>
                        <a:pt x="26196" y="5383"/>
                      </a:lnTo>
                      <a:lnTo>
                        <a:pt x="26734" y="4486"/>
                      </a:lnTo>
                      <a:lnTo>
                        <a:pt x="27332" y="3648"/>
                      </a:lnTo>
                      <a:lnTo>
                        <a:pt x="27930" y="2871"/>
                      </a:lnTo>
                      <a:lnTo>
                        <a:pt x="28588" y="2153"/>
                      </a:lnTo>
                      <a:lnTo>
                        <a:pt x="29246" y="1495"/>
                      </a:lnTo>
                      <a:lnTo>
                        <a:pt x="29844" y="957"/>
                      </a:lnTo>
                      <a:lnTo>
                        <a:pt x="30442" y="538"/>
                      </a:lnTo>
                      <a:lnTo>
                        <a:pt x="31040" y="239"/>
                      </a:lnTo>
                      <a:lnTo>
                        <a:pt x="31578" y="60"/>
                      </a:lnTo>
                      <a:lnTo>
                        <a:pt x="32057" y="0"/>
                      </a:lnTo>
                      <a:lnTo>
                        <a:pt x="32475" y="60"/>
                      </a:lnTo>
                      <a:lnTo>
                        <a:pt x="35167" y="897"/>
                      </a:lnTo>
                      <a:lnTo>
                        <a:pt x="35645" y="1076"/>
                      </a:lnTo>
                    </a:path>
                  </a:pathLst>
                </a:custGeom>
                <a:noFill/>
                <a:ln w="6350" cap="flat">
                  <a:solidFill>
                    <a:schemeClr val="bg1">
                      <a:alpha val="80000"/>
                    </a:schemeClr>
                  </a:solidFill>
                  <a:prstDash val="solid"/>
                  <a:miter/>
                </a:ln>
              </p:spPr>
              <p:txBody>
                <a:bodyPr rtlCol="0" anchor="ctr"/>
                <a:lstStyle/>
                <a:p>
                  <a:endParaRPr lang="en-GB"/>
                </a:p>
              </p:txBody>
            </p:sp>
            <p:sp>
              <p:nvSpPr>
                <p:cNvPr id="7862" name="Vrije vorm: vorm 7861">
                  <a:extLst>
                    <a:ext uri="{FF2B5EF4-FFF2-40B4-BE49-F238E27FC236}">
                      <a16:creationId xmlns:a16="http://schemas.microsoft.com/office/drawing/2014/main" id="{DA5848BC-ADA5-43D9-884B-73975E9C7912}"/>
                    </a:ext>
                  </a:extLst>
                </p:cNvPr>
                <p:cNvSpPr/>
                <p:nvPr/>
              </p:nvSpPr>
              <p:spPr>
                <a:xfrm>
                  <a:off x="5768904" y="5381493"/>
                  <a:ext cx="358" cy="239"/>
                </a:xfrm>
                <a:custGeom>
                  <a:avLst/>
                  <a:gdLst>
                    <a:gd name="connsiteX0" fmla="*/ 359 w 358"/>
                    <a:gd name="connsiteY0" fmla="*/ 239 h 239"/>
                    <a:gd name="connsiteX1" fmla="*/ 0 w 358"/>
                    <a:gd name="connsiteY1" fmla="*/ 0 h 239"/>
                  </a:gdLst>
                  <a:ahLst/>
                  <a:cxnLst>
                    <a:cxn ang="0">
                      <a:pos x="connsiteX0" y="connsiteY0"/>
                    </a:cxn>
                    <a:cxn ang="0">
                      <a:pos x="connsiteX1" y="connsiteY1"/>
                    </a:cxn>
                  </a:cxnLst>
                  <a:rect l="l" t="t" r="r" b="b"/>
                  <a:pathLst>
                    <a:path w="358" h="239">
                      <a:moveTo>
                        <a:pt x="359" y="239"/>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63" name="Vrije vorm: vorm 7862">
                  <a:extLst>
                    <a:ext uri="{FF2B5EF4-FFF2-40B4-BE49-F238E27FC236}">
                      <a16:creationId xmlns:a16="http://schemas.microsoft.com/office/drawing/2014/main" id="{A6881905-8CE4-41AB-BA9E-E8A75C9AEE1B}"/>
                    </a:ext>
                  </a:extLst>
                </p:cNvPr>
                <p:cNvSpPr/>
                <p:nvPr/>
              </p:nvSpPr>
              <p:spPr>
                <a:xfrm>
                  <a:off x="5751381" y="5385919"/>
                  <a:ext cx="8492" cy="16985"/>
                </a:xfrm>
                <a:custGeom>
                  <a:avLst/>
                  <a:gdLst>
                    <a:gd name="connsiteX0" fmla="*/ 8493 w 8492"/>
                    <a:gd name="connsiteY0" fmla="*/ 0 h 16985"/>
                    <a:gd name="connsiteX1" fmla="*/ 8253 w 8492"/>
                    <a:gd name="connsiteY1" fmla="*/ 478 h 16985"/>
                    <a:gd name="connsiteX2" fmla="*/ 7895 w 8492"/>
                    <a:gd name="connsiteY2" fmla="*/ 1196 h 16985"/>
                    <a:gd name="connsiteX3" fmla="*/ 7595 w 8492"/>
                    <a:gd name="connsiteY3" fmla="*/ 1854 h 16985"/>
                    <a:gd name="connsiteX4" fmla="*/ 5801 w 8492"/>
                    <a:gd name="connsiteY4" fmla="*/ 5382 h 16985"/>
                    <a:gd name="connsiteX5" fmla="*/ 4007 w 8492"/>
                    <a:gd name="connsiteY5" fmla="*/ 8911 h 16985"/>
                    <a:gd name="connsiteX6" fmla="*/ 3887 w 8492"/>
                    <a:gd name="connsiteY6" fmla="*/ 9210 h 16985"/>
                    <a:gd name="connsiteX7" fmla="*/ 3409 w 8492"/>
                    <a:gd name="connsiteY7" fmla="*/ 10167 h 16985"/>
                    <a:gd name="connsiteX8" fmla="*/ 1734 w 8492"/>
                    <a:gd name="connsiteY8" fmla="*/ 13516 h 16985"/>
                    <a:gd name="connsiteX9" fmla="*/ 1615 w 8492"/>
                    <a:gd name="connsiteY9" fmla="*/ 13696 h 16985"/>
                    <a:gd name="connsiteX10" fmla="*/ 1017 w 8492"/>
                    <a:gd name="connsiteY10" fmla="*/ 14832 h 16985"/>
                    <a:gd name="connsiteX11" fmla="*/ 359 w 8492"/>
                    <a:gd name="connsiteY11" fmla="*/ 16208 h 16985"/>
                    <a:gd name="connsiteX12" fmla="*/ 0 w 8492"/>
                    <a:gd name="connsiteY12" fmla="*/ 16985 h 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2" h="16985">
                      <a:moveTo>
                        <a:pt x="8493" y="0"/>
                      </a:moveTo>
                      <a:lnTo>
                        <a:pt x="8253" y="478"/>
                      </a:lnTo>
                      <a:lnTo>
                        <a:pt x="7895" y="1196"/>
                      </a:lnTo>
                      <a:lnTo>
                        <a:pt x="7595" y="1854"/>
                      </a:lnTo>
                      <a:lnTo>
                        <a:pt x="5801" y="5382"/>
                      </a:lnTo>
                      <a:lnTo>
                        <a:pt x="4007" y="8911"/>
                      </a:lnTo>
                      <a:lnTo>
                        <a:pt x="3887" y="9210"/>
                      </a:lnTo>
                      <a:lnTo>
                        <a:pt x="3409" y="10167"/>
                      </a:lnTo>
                      <a:lnTo>
                        <a:pt x="1734" y="13516"/>
                      </a:lnTo>
                      <a:lnTo>
                        <a:pt x="1615" y="13696"/>
                      </a:lnTo>
                      <a:lnTo>
                        <a:pt x="1017" y="14832"/>
                      </a:lnTo>
                      <a:lnTo>
                        <a:pt x="359" y="16208"/>
                      </a:lnTo>
                      <a:lnTo>
                        <a:pt x="0" y="16985"/>
                      </a:lnTo>
                    </a:path>
                  </a:pathLst>
                </a:custGeom>
                <a:noFill/>
                <a:ln w="6350" cap="flat">
                  <a:solidFill>
                    <a:schemeClr val="bg1">
                      <a:alpha val="80000"/>
                    </a:schemeClr>
                  </a:solidFill>
                  <a:prstDash val="solid"/>
                  <a:miter/>
                </a:ln>
              </p:spPr>
              <p:txBody>
                <a:bodyPr rtlCol="0" anchor="ctr"/>
                <a:lstStyle/>
                <a:p>
                  <a:endParaRPr lang="en-GB"/>
                </a:p>
              </p:txBody>
            </p:sp>
            <p:sp>
              <p:nvSpPr>
                <p:cNvPr id="7864" name="Vrije vorm: vorm 7863">
                  <a:extLst>
                    <a:ext uri="{FF2B5EF4-FFF2-40B4-BE49-F238E27FC236}">
                      <a16:creationId xmlns:a16="http://schemas.microsoft.com/office/drawing/2014/main" id="{72835E81-4BDF-4783-96BC-8F40D7F7BB65}"/>
                    </a:ext>
                  </a:extLst>
                </p:cNvPr>
                <p:cNvSpPr/>
                <p:nvPr/>
              </p:nvSpPr>
              <p:spPr>
                <a:xfrm>
                  <a:off x="5764120" y="5360381"/>
                  <a:ext cx="1555" cy="10107"/>
                </a:xfrm>
                <a:custGeom>
                  <a:avLst/>
                  <a:gdLst>
                    <a:gd name="connsiteX0" fmla="*/ 60 w 1555"/>
                    <a:gd name="connsiteY0" fmla="*/ 10107 h 10107"/>
                    <a:gd name="connsiteX1" fmla="*/ 60 w 1555"/>
                    <a:gd name="connsiteY1" fmla="*/ 9928 h 10107"/>
                    <a:gd name="connsiteX2" fmla="*/ 60 w 1555"/>
                    <a:gd name="connsiteY2" fmla="*/ 9928 h 10107"/>
                    <a:gd name="connsiteX3" fmla="*/ 0 w 1555"/>
                    <a:gd name="connsiteY3" fmla="*/ 8373 h 10107"/>
                    <a:gd name="connsiteX4" fmla="*/ 658 w 1555"/>
                    <a:gd name="connsiteY4" fmla="*/ 4605 h 10107"/>
                    <a:gd name="connsiteX5" fmla="*/ 1375 w 1555"/>
                    <a:gd name="connsiteY5" fmla="*/ 837 h 10107"/>
                    <a:gd name="connsiteX6" fmla="*/ 1555 w 1555"/>
                    <a:gd name="connsiteY6" fmla="*/ 0 h 1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5" h="10107">
                      <a:moveTo>
                        <a:pt x="60" y="10107"/>
                      </a:moveTo>
                      <a:lnTo>
                        <a:pt x="60" y="9928"/>
                      </a:lnTo>
                      <a:lnTo>
                        <a:pt x="60" y="9928"/>
                      </a:lnTo>
                      <a:lnTo>
                        <a:pt x="0" y="8373"/>
                      </a:lnTo>
                      <a:lnTo>
                        <a:pt x="658" y="4605"/>
                      </a:lnTo>
                      <a:lnTo>
                        <a:pt x="1375" y="837"/>
                      </a:lnTo>
                      <a:lnTo>
                        <a:pt x="1555" y="0"/>
                      </a:lnTo>
                    </a:path>
                  </a:pathLst>
                </a:custGeom>
                <a:noFill/>
                <a:ln w="6350" cap="flat">
                  <a:solidFill>
                    <a:schemeClr val="bg1">
                      <a:alpha val="80000"/>
                    </a:schemeClr>
                  </a:solidFill>
                  <a:prstDash val="solid"/>
                  <a:miter/>
                </a:ln>
              </p:spPr>
              <p:txBody>
                <a:bodyPr rtlCol="0" anchor="ctr"/>
                <a:lstStyle/>
                <a:p>
                  <a:endParaRPr lang="en-GB"/>
                </a:p>
              </p:txBody>
            </p:sp>
            <p:sp>
              <p:nvSpPr>
                <p:cNvPr id="7865" name="Vrije vorm: vorm 7864">
                  <a:extLst>
                    <a:ext uri="{FF2B5EF4-FFF2-40B4-BE49-F238E27FC236}">
                      <a16:creationId xmlns:a16="http://schemas.microsoft.com/office/drawing/2014/main" id="{6A8BAC4C-B779-4B97-92C4-27EAA8F84090}"/>
                    </a:ext>
                  </a:extLst>
                </p:cNvPr>
                <p:cNvSpPr/>
                <p:nvPr/>
              </p:nvSpPr>
              <p:spPr>
                <a:xfrm>
                  <a:off x="5733439" y="5322104"/>
                  <a:ext cx="33312" cy="88634"/>
                </a:xfrm>
                <a:custGeom>
                  <a:avLst/>
                  <a:gdLst>
                    <a:gd name="connsiteX0" fmla="*/ 0 w 33312"/>
                    <a:gd name="connsiteY0" fmla="*/ 88634 h 88634"/>
                    <a:gd name="connsiteX1" fmla="*/ 1794 w 33312"/>
                    <a:gd name="connsiteY1" fmla="*/ 85106 h 88634"/>
                    <a:gd name="connsiteX2" fmla="*/ 3588 w 33312"/>
                    <a:gd name="connsiteY2" fmla="*/ 81577 h 88634"/>
                    <a:gd name="connsiteX3" fmla="*/ 5263 w 33312"/>
                    <a:gd name="connsiteY3" fmla="*/ 78288 h 88634"/>
                    <a:gd name="connsiteX4" fmla="*/ 5263 w 33312"/>
                    <a:gd name="connsiteY4" fmla="*/ 78288 h 88634"/>
                    <a:gd name="connsiteX5" fmla="*/ 7057 w 33312"/>
                    <a:gd name="connsiteY5" fmla="*/ 74759 h 88634"/>
                    <a:gd name="connsiteX6" fmla="*/ 7835 w 33312"/>
                    <a:gd name="connsiteY6" fmla="*/ 73204 h 88634"/>
                    <a:gd name="connsiteX7" fmla="*/ 8493 w 33312"/>
                    <a:gd name="connsiteY7" fmla="*/ 71948 h 88634"/>
                    <a:gd name="connsiteX8" fmla="*/ 9629 w 33312"/>
                    <a:gd name="connsiteY8" fmla="*/ 69676 h 88634"/>
                    <a:gd name="connsiteX9" fmla="*/ 9749 w 33312"/>
                    <a:gd name="connsiteY9" fmla="*/ 69496 h 88634"/>
                    <a:gd name="connsiteX10" fmla="*/ 10945 w 33312"/>
                    <a:gd name="connsiteY10" fmla="*/ 67164 h 88634"/>
                    <a:gd name="connsiteX11" fmla="*/ 12739 w 33312"/>
                    <a:gd name="connsiteY11" fmla="*/ 63635 h 88634"/>
                    <a:gd name="connsiteX12" fmla="*/ 14533 w 33312"/>
                    <a:gd name="connsiteY12" fmla="*/ 60107 h 88634"/>
                    <a:gd name="connsiteX13" fmla="*/ 15490 w 33312"/>
                    <a:gd name="connsiteY13" fmla="*/ 58252 h 88634"/>
                    <a:gd name="connsiteX14" fmla="*/ 15490 w 33312"/>
                    <a:gd name="connsiteY14" fmla="*/ 58252 h 88634"/>
                    <a:gd name="connsiteX15" fmla="*/ 16267 w 33312"/>
                    <a:gd name="connsiteY15" fmla="*/ 56638 h 88634"/>
                    <a:gd name="connsiteX16" fmla="*/ 16746 w 33312"/>
                    <a:gd name="connsiteY16" fmla="*/ 55740 h 88634"/>
                    <a:gd name="connsiteX17" fmla="*/ 16806 w 33312"/>
                    <a:gd name="connsiteY17" fmla="*/ 55681 h 88634"/>
                    <a:gd name="connsiteX18" fmla="*/ 18361 w 33312"/>
                    <a:gd name="connsiteY18" fmla="*/ 52631 h 88634"/>
                    <a:gd name="connsiteX19" fmla="*/ 18839 w 33312"/>
                    <a:gd name="connsiteY19" fmla="*/ 51733 h 88634"/>
                    <a:gd name="connsiteX20" fmla="*/ 19437 w 33312"/>
                    <a:gd name="connsiteY20" fmla="*/ 50597 h 88634"/>
                    <a:gd name="connsiteX21" fmla="*/ 19497 w 33312"/>
                    <a:gd name="connsiteY21" fmla="*/ 50417 h 88634"/>
                    <a:gd name="connsiteX22" fmla="*/ 21291 w 33312"/>
                    <a:gd name="connsiteY22" fmla="*/ 46889 h 88634"/>
                    <a:gd name="connsiteX23" fmla="*/ 23086 w 33312"/>
                    <a:gd name="connsiteY23" fmla="*/ 43360 h 88634"/>
                    <a:gd name="connsiteX24" fmla="*/ 24880 w 33312"/>
                    <a:gd name="connsiteY24" fmla="*/ 39832 h 88634"/>
                    <a:gd name="connsiteX25" fmla="*/ 26016 w 33312"/>
                    <a:gd name="connsiteY25" fmla="*/ 37559 h 88634"/>
                    <a:gd name="connsiteX26" fmla="*/ 26435 w 33312"/>
                    <a:gd name="connsiteY26" fmla="*/ 36782 h 88634"/>
                    <a:gd name="connsiteX27" fmla="*/ 28229 w 33312"/>
                    <a:gd name="connsiteY27" fmla="*/ 33253 h 88634"/>
                    <a:gd name="connsiteX28" fmla="*/ 28528 w 33312"/>
                    <a:gd name="connsiteY28" fmla="*/ 32655 h 88634"/>
                    <a:gd name="connsiteX29" fmla="*/ 30322 w 33312"/>
                    <a:gd name="connsiteY29" fmla="*/ 29126 h 88634"/>
                    <a:gd name="connsiteX30" fmla="*/ 30741 w 33312"/>
                    <a:gd name="connsiteY30" fmla="*/ 28289 h 88634"/>
                    <a:gd name="connsiteX31" fmla="*/ 32535 w 33312"/>
                    <a:gd name="connsiteY31" fmla="*/ 24760 h 88634"/>
                    <a:gd name="connsiteX32" fmla="*/ 33313 w 33312"/>
                    <a:gd name="connsiteY32" fmla="*/ 23265 h 88634"/>
                    <a:gd name="connsiteX33" fmla="*/ 31159 w 33312"/>
                    <a:gd name="connsiteY33" fmla="*/ 22906 h 88634"/>
                    <a:gd name="connsiteX34" fmla="*/ 30442 w 33312"/>
                    <a:gd name="connsiteY34" fmla="*/ 22787 h 88634"/>
                    <a:gd name="connsiteX35" fmla="*/ 28349 w 33312"/>
                    <a:gd name="connsiteY35" fmla="*/ 21351 h 88634"/>
                    <a:gd name="connsiteX36" fmla="*/ 26674 w 33312"/>
                    <a:gd name="connsiteY36" fmla="*/ 20215 h 88634"/>
                    <a:gd name="connsiteX37" fmla="*/ 24401 w 33312"/>
                    <a:gd name="connsiteY37" fmla="*/ 18600 h 88634"/>
                    <a:gd name="connsiteX38" fmla="*/ 22129 w 33312"/>
                    <a:gd name="connsiteY38" fmla="*/ 16985 h 88634"/>
                    <a:gd name="connsiteX39" fmla="*/ 19856 w 33312"/>
                    <a:gd name="connsiteY39" fmla="*/ 15370 h 88634"/>
                    <a:gd name="connsiteX40" fmla="*/ 17583 w 33312"/>
                    <a:gd name="connsiteY40" fmla="*/ 13756 h 88634"/>
                    <a:gd name="connsiteX41" fmla="*/ 15311 w 33312"/>
                    <a:gd name="connsiteY41" fmla="*/ 12141 h 88634"/>
                    <a:gd name="connsiteX42" fmla="*/ 13038 w 33312"/>
                    <a:gd name="connsiteY42" fmla="*/ 10526 h 88634"/>
                    <a:gd name="connsiteX43" fmla="*/ 10765 w 33312"/>
                    <a:gd name="connsiteY43" fmla="*/ 8911 h 88634"/>
                    <a:gd name="connsiteX44" fmla="*/ 8493 w 33312"/>
                    <a:gd name="connsiteY44" fmla="*/ 7297 h 88634"/>
                    <a:gd name="connsiteX45" fmla="*/ 7775 w 33312"/>
                    <a:gd name="connsiteY45" fmla="*/ 6758 h 88634"/>
                    <a:gd name="connsiteX46" fmla="*/ 6878 w 33312"/>
                    <a:gd name="connsiteY46" fmla="*/ 6160 h 88634"/>
                    <a:gd name="connsiteX47" fmla="*/ 6639 w 33312"/>
                    <a:gd name="connsiteY47" fmla="*/ 5981 h 88634"/>
                    <a:gd name="connsiteX48" fmla="*/ 4725 w 33312"/>
                    <a:gd name="connsiteY48" fmla="*/ 4246 h 88634"/>
                    <a:gd name="connsiteX49" fmla="*/ 2632 w 33312"/>
                    <a:gd name="connsiteY49" fmla="*/ 2333 h 88634"/>
                    <a:gd name="connsiteX50" fmla="*/ 2273 w 33312"/>
                    <a:gd name="connsiteY50" fmla="*/ 2034 h 88634"/>
                    <a:gd name="connsiteX51" fmla="*/ 179 w 33312"/>
                    <a:gd name="connsiteY51" fmla="*/ 120 h 88634"/>
                    <a:gd name="connsiteX52" fmla="*/ 0 w 33312"/>
                    <a:gd name="connsiteY52" fmla="*/ 0 h 8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3312" h="88634">
                      <a:moveTo>
                        <a:pt x="0" y="88634"/>
                      </a:moveTo>
                      <a:lnTo>
                        <a:pt x="1794" y="85106"/>
                      </a:lnTo>
                      <a:lnTo>
                        <a:pt x="3588" y="81577"/>
                      </a:lnTo>
                      <a:lnTo>
                        <a:pt x="5263" y="78288"/>
                      </a:lnTo>
                      <a:lnTo>
                        <a:pt x="5263" y="78288"/>
                      </a:lnTo>
                      <a:lnTo>
                        <a:pt x="7057" y="74759"/>
                      </a:lnTo>
                      <a:lnTo>
                        <a:pt x="7835" y="73204"/>
                      </a:lnTo>
                      <a:lnTo>
                        <a:pt x="8493" y="71948"/>
                      </a:lnTo>
                      <a:lnTo>
                        <a:pt x="9629" y="69676"/>
                      </a:lnTo>
                      <a:lnTo>
                        <a:pt x="9749" y="69496"/>
                      </a:lnTo>
                      <a:lnTo>
                        <a:pt x="10945" y="67164"/>
                      </a:lnTo>
                      <a:lnTo>
                        <a:pt x="12739" y="63635"/>
                      </a:lnTo>
                      <a:lnTo>
                        <a:pt x="14533" y="60107"/>
                      </a:lnTo>
                      <a:lnTo>
                        <a:pt x="15490" y="58252"/>
                      </a:lnTo>
                      <a:lnTo>
                        <a:pt x="15490" y="58252"/>
                      </a:lnTo>
                      <a:lnTo>
                        <a:pt x="16267" y="56638"/>
                      </a:lnTo>
                      <a:lnTo>
                        <a:pt x="16746" y="55740"/>
                      </a:lnTo>
                      <a:lnTo>
                        <a:pt x="16806" y="55681"/>
                      </a:lnTo>
                      <a:lnTo>
                        <a:pt x="18361" y="52631"/>
                      </a:lnTo>
                      <a:lnTo>
                        <a:pt x="18839" y="51733"/>
                      </a:lnTo>
                      <a:lnTo>
                        <a:pt x="19437" y="50597"/>
                      </a:lnTo>
                      <a:lnTo>
                        <a:pt x="19497" y="50417"/>
                      </a:lnTo>
                      <a:lnTo>
                        <a:pt x="21291" y="46889"/>
                      </a:lnTo>
                      <a:lnTo>
                        <a:pt x="23086" y="43360"/>
                      </a:lnTo>
                      <a:lnTo>
                        <a:pt x="24880" y="39832"/>
                      </a:lnTo>
                      <a:lnTo>
                        <a:pt x="26016" y="37559"/>
                      </a:lnTo>
                      <a:lnTo>
                        <a:pt x="26435" y="36782"/>
                      </a:lnTo>
                      <a:lnTo>
                        <a:pt x="28229" y="33253"/>
                      </a:lnTo>
                      <a:lnTo>
                        <a:pt x="28528" y="32655"/>
                      </a:lnTo>
                      <a:lnTo>
                        <a:pt x="30322" y="29126"/>
                      </a:lnTo>
                      <a:lnTo>
                        <a:pt x="30741" y="28289"/>
                      </a:lnTo>
                      <a:lnTo>
                        <a:pt x="32535" y="24760"/>
                      </a:lnTo>
                      <a:lnTo>
                        <a:pt x="33313" y="23265"/>
                      </a:lnTo>
                      <a:lnTo>
                        <a:pt x="31159" y="22906"/>
                      </a:lnTo>
                      <a:lnTo>
                        <a:pt x="30442" y="22787"/>
                      </a:lnTo>
                      <a:lnTo>
                        <a:pt x="28349" y="21351"/>
                      </a:lnTo>
                      <a:lnTo>
                        <a:pt x="26674" y="20215"/>
                      </a:lnTo>
                      <a:lnTo>
                        <a:pt x="24401" y="18600"/>
                      </a:lnTo>
                      <a:lnTo>
                        <a:pt x="22129" y="16985"/>
                      </a:lnTo>
                      <a:lnTo>
                        <a:pt x="19856" y="15370"/>
                      </a:lnTo>
                      <a:lnTo>
                        <a:pt x="17583" y="13756"/>
                      </a:lnTo>
                      <a:lnTo>
                        <a:pt x="15311" y="12141"/>
                      </a:lnTo>
                      <a:lnTo>
                        <a:pt x="13038" y="10526"/>
                      </a:lnTo>
                      <a:lnTo>
                        <a:pt x="10765" y="8911"/>
                      </a:lnTo>
                      <a:lnTo>
                        <a:pt x="8493" y="7297"/>
                      </a:lnTo>
                      <a:lnTo>
                        <a:pt x="7775" y="6758"/>
                      </a:lnTo>
                      <a:lnTo>
                        <a:pt x="6878" y="6160"/>
                      </a:lnTo>
                      <a:lnTo>
                        <a:pt x="6639" y="5981"/>
                      </a:lnTo>
                      <a:lnTo>
                        <a:pt x="4725" y="4246"/>
                      </a:lnTo>
                      <a:lnTo>
                        <a:pt x="2632" y="2333"/>
                      </a:lnTo>
                      <a:lnTo>
                        <a:pt x="2273" y="2034"/>
                      </a:lnTo>
                      <a:lnTo>
                        <a:pt x="179" y="12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66" name="Vrije vorm: vorm 7865">
                  <a:extLst>
                    <a:ext uri="{FF2B5EF4-FFF2-40B4-BE49-F238E27FC236}">
                      <a16:creationId xmlns:a16="http://schemas.microsoft.com/office/drawing/2014/main" id="{8D5C31B5-5E9E-4CDE-B4C4-6048018D3AE6}"/>
                    </a:ext>
                  </a:extLst>
                </p:cNvPr>
                <p:cNvSpPr/>
                <p:nvPr/>
              </p:nvSpPr>
              <p:spPr>
                <a:xfrm>
                  <a:off x="5746776" y="5390165"/>
                  <a:ext cx="9329" cy="10287"/>
                </a:xfrm>
                <a:custGeom>
                  <a:avLst/>
                  <a:gdLst>
                    <a:gd name="connsiteX0" fmla="*/ 4665 w 9329"/>
                    <a:gd name="connsiteY0" fmla="*/ 10287 h 10287"/>
                    <a:gd name="connsiteX1" fmla="*/ 4844 w 9329"/>
                    <a:gd name="connsiteY1" fmla="*/ 9928 h 10287"/>
                    <a:gd name="connsiteX2" fmla="*/ 5443 w 9329"/>
                    <a:gd name="connsiteY2" fmla="*/ 8792 h 10287"/>
                    <a:gd name="connsiteX3" fmla="*/ 5562 w 9329"/>
                    <a:gd name="connsiteY3" fmla="*/ 8612 h 10287"/>
                    <a:gd name="connsiteX4" fmla="*/ 7237 w 9329"/>
                    <a:gd name="connsiteY4" fmla="*/ 5263 h 10287"/>
                    <a:gd name="connsiteX5" fmla="*/ 7715 w 9329"/>
                    <a:gd name="connsiteY5" fmla="*/ 4306 h 10287"/>
                    <a:gd name="connsiteX6" fmla="*/ 9330 w 9329"/>
                    <a:gd name="connsiteY6" fmla="*/ 1076 h 10287"/>
                    <a:gd name="connsiteX7" fmla="*/ 8373 w 9329"/>
                    <a:gd name="connsiteY7" fmla="*/ 359 h 10287"/>
                    <a:gd name="connsiteX8" fmla="*/ 5502 w 9329"/>
                    <a:gd name="connsiteY8" fmla="*/ 239 h 10287"/>
                    <a:gd name="connsiteX9" fmla="*/ 3529 w 9329"/>
                    <a:gd name="connsiteY9" fmla="*/ 120 h 10287"/>
                    <a:gd name="connsiteX10" fmla="*/ 3170 w 9329"/>
                    <a:gd name="connsiteY10" fmla="*/ 120 h 10287"/>
                    <a:gd name="connsiteX11" fmla="*/ 2930 w 9329"/>
                    <a:gd name="connsiteY11" fmla="*/ 120 h 10287"/>
                    <a:gd name="connsiteX12" fmla="*/ 2930 w 9329"/>
                    <a:gd name="connsiteY12" fmla="*/ 120 h 10287"/>
                    <a:gd name="connsiteX13" fmla="*/ 2512 w 9329"/>
                    <a:gd name="connsiteY13" fmla="*/ 120 h 10287"/>
                    <a:gd name="connsiteX14" fmla="*/ 0 w 9329"/>
                    <a:gd name="connsiteY14" fmla="*/ 0 h 1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329" h="10287">
                      <a:moveTo>
                        <a:pt x="4665" y="10287"/>
                      </a:moveTo>
                      <a:lnTo>
                        <a:pt x="4844" y="9928"/>
                      </a:lnTo>
                      <a:lnTo>
                        <a:pt x="5443" y="8792"/>
                      </a:lnTo>
                      <a:lnTo>
                        <a:pt x="5562" y="8612"/>
                      </a:lnTo>
                      <a:lnTo>
                        <a:pt x="7237" y="5263"/>
                      </a:lnTo>
                      <a:lnTo>
                        <a:pt x="7715" y="4306"/>
                      </a:lnTo>
                      <a:lnTo>
                        <a:pt x="9330" y="1076"/>
                      </a:lnTo>
                      <a:lnTo>
                        <a:pt x="8373" y="359"/>
                      </a:lnTo>
                      <a:lnTo>
                        <a:pt x="5502" y="239"/>
                      </a:lnTo>
                      <a:lnTo>
                        <a:pt x="3529" y="120"/>
                      </a:lnTo>
                      <a:lnTo>
                        <a:pt x="3170" y="120"/>
                      </a:lnTo>
                      <a:lnTo>
                        <a:pt x="2930" y="120"/>
                      </a:lnTo>
                      <a:lnTo>
                        <a:pt x="2930" y="120"/>
                      </a:lnTo>
                      <a:lnTo>
                        <a:pt x="2512" y="12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67" name="Vrije vorm: vorm 7866">
                  <a:extLst>
                    <a:ext uri="{FF2B5EF4-FFF2-40B4-BE49-F238E27FC236}">
                      <a16:creationId xmlns:a16="http://schemas.microsoft.com/office/drawing/2014/main" id="{304B9264-E13E-4A7B-85CF-2EA7F9D50229}"/>
                    </a:ext>
                  </a:extLst>
                </p:cNvPr>
                <p:cNvSpPr/>
                <p:nvPr/>
              </p:nvSpPr>
              <p:spPr>
                <a:xfrm>
                  <a:off x="5742709" y="5390165"/>
                  <a:ext cx="5023" cy="18181"/>
                </a:xfrm>
                <a:custGeom>
                  <a:avLst/>
                  <a:gdLst>
                    <a:gd name="connsiteX0" fmla="*/ 5024 w 5023"/>
                    <a:gd name="connsiteY0" fmla="*/ 718 h 18181"/>
                    <a:gd name="connsiteX1" fmla="*/ 4067 w 5023"/>
                    <a:gd name="connsiteY1" fmla="*/ 0 h 18181"/>
                    <a:gd name="connsiteX2" fmla="*/ 3708 w 5023"/>
                    <a:gd name="connsiteY2" fmla="*/ 778 h 18181"/>
                    <a:gd name="connsiteX3" fmla="*/ 2691 w 5023"/>
                    <a:gd name="connsiteY3" fmla="*/ 2811 h 18181"/>
                    <a:gd name="connsiteX4" fmla="*/ 2333 w 5023"/>
                    <a:gd name="connsiteY4" fmla="*/ 3529 h 18181"/>
                    <a:gd name="connsiteX5" fmla="*/ 837 w 5023"/>
                    <a:gd name="connsiteY5" fmla="*/ 6519 h 18181"/>
                    <a:gd name="connsiteX6" fmla="*/ 778 w 5023"/>
                    <a:gd name="connsiteY6" fmla="*/ 6998 h 18181"/>
                    <a:gd name="connsiteX7" fmla="*/ 538 w 5023"/>
                    <a:gd name="connsiteY7" fmla="*/ 10646 h 18181"/>
                    <a:gd name="connsiteX8" fmla="*/ 479 w 5023"/>
                    <a:gd name="connsiteY8" fmla="*/ 11244 h 18181"/>
                    <a:gd name="connsiteX9" fmla="*/ 419 w 5023"/>
                    <a:gd name="connsiteY9" fmla="*/ 11842 h 18181"/>
                    <a:gd name="connsiteX10" fmla="*/ 299 w 5023"/>
                    <a:gd name="connsiteY10" fmla="*/ 13815 h 18181"/>
                    <a:gd name="connsiteX11" fmla="*/ 299 w 5023"/>
                    <a:gd name="connsiteY11" fmla="*/ 13815 h 18181"/>
                    <a:gd name="connsiteX12" fmla="*/ 299 w 5023"/>
                    <a:gd name="connsiteY12" fmla="*/ 13815 h 18181"/>
                    <a:gd name="connsiteX13" fmla="*/ 60 w 5023"/>
                    <a:gd name="connsiteY13" fmla="*/ 17464 h 18181"/>
                    <a:gd name="connsiteX14" fmla="*/ 0 w 5023"/>
                    <a:gd name="connsiteY14" fmla="*/ 18182 h 1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23" h="18181">
                      <a:moveTo>
                        <a:pt x="5024" y="718"/>
                      </a:moveTo>
                      <a:lnTo>
                        <a:pt x="4067" y="0"/>
                      </a:lnTo>
                      <a:lnTo>
                        <a:pt x="3708" y="778"/>
                      </a:lnTo>
                      <a:lnTo>
                        <a:pt x="2691" y="2811"/>
                      </a:lnTo>
                      <a:lnTo>
                        <a:pt x="2333" y="3529"/>
                      </a:lnTo>
                      <a:lnTo>
                        <a:pt x="837" y="6519"/>
                      </a:lnTo>
                      <a:lnTo>
                        <a:pt x="778" y="6998"/>
                      </a:lnTo>
                      <a:lnTo>
                        <a:pt x="538" y="10646"/>
                      </a:lnTo>
                      <a:lnTo>
                        <a:pt x="479" y="11244"/>
                      </a:lnTo>
                      <a:lnTo>
                        <a:pt x="419" y="11842"/>
                      </a:lnTo>
                      <a:lnTo>
                        <a:pt x="299" y="13815"/>
                      </a:lnTo>
                      <a:lnTo>
                        <a:pt x="299" y="13815"/>
                      </a:lnTo>
                      <a:lnTo>
                        <a:pt x="299" y="13815"/>
                      </a:lnTo>
                      <a:lnTo>
                        <a:pt x="60" y="17464"/>
                      </a:lnTo>
                      <a:lnTo>
                        <a:pt x="0" y="18182"/>
                      </a:lnTo>
                    </a:path>
                  </a:pathLst>
                </a:custGeom>
                <a:noFill/>
                <a:ln w="6350" cap="flat">
                  <a:solidFill>
                    <a:schemeClr val="bg1">
                      <a:alpha val="80000"/>
                    </a:schemeClr>
                  </a:solidFill>
                  <a:prstDash val="solid"/>
                  <a:miter/>
                </a:ln>
              </p:spPr>
              <p:txBody>
                <a:bodyPr rtlCol="0" anchor="ctr"/>
                <a:lstStyle/>
                <a:p>
                  <a:endParaRPr lang="en-GB"/>
                </a:p>
              </p:txBody>
            </p:sp>
            <p:sp>
              <p:nvSpPr>
                <p:cNvPr id="7868" name="Vrije vorm: vorm 7867">
                  <a:extLst>
                    <a:ext uri="{FF2B5EF4-FFF2-40B4-BE49-F238E27FC236}">
                      <a16:creationId xmlns:a16="http://schemas.microsoft.com/office/drawing/2014/main" id="{FA229051-1AD0-49CF-BC69-3F2F22C41036}"/>
                    </a:ext>
                  </a:extLst>
                </p:cNvPr>
                <p:cNvSpPr/>
                <p:nvPr/>
              </p:nvSpPr>
              <p:spPr>
                <a:xfrm>
                  <a:off x="5763701" y="5337954"/>
                  <a:ext cx="3528" cy="6937"/>
                </a:xfrm>
                <a:custGeom>
                  <a:avLst/>
                  <a:gdLst>
                    <a:gd name="connsiteX0" fmla="*/ 0 w 3528"/>
                    <a:gd name="connsiteY0" fmla="*/ 6937 h 6937"/>
                    <a:gd name="connsiteX1" fmla="*/ 538 w 3528"/>
                    <a:gd name="connsiteY1" fmla="*/ 5861 h 6937"/>
                    <a:gd name="connsiteX2" fmla="*/ 1794 w 3528"/>
                    <a:gd name="connsiteY2" fmla="*/ 3409 h 6937"/>
                    <a:gd name="connsiteX3" fmla="*/ 3528 w 3528"/>
                    <a:gd name="connsiteY3" fmla="*/ 0 h 6937"/>
                  </a:gdLst>
                  <a:ahLst/>
                  <a:cxnLst>
                    <a:cxn ang="0">
                      <a:pos x="connsiteX0" y="connsiteY0"/>
                    </a:cxn>
                    <a:cxn ang="0">
                      <a:pos x="connsiteX1" y="connsiteY1"/>
                    </a:cxn>
                    <a:cxn ang="0">
                      <a:pos x="connsiteX2" y="connsiteY2"/>
                    </a:cxn>
                    <a:cxn ang="0">
                      <a:pos x="connsiteX3" y="connsiteY3"/>
                    </a:cxn>
                  </a:cxnLst>
                  <a:rect l="l" t="t" r="r" b="b"/>
                  <a:pathLst>
                    <a:path w="3528" h="6937">
                      <a:moveTo>
                        <a:pt x="0" y="6937"/>
                      </a:moveTo>
                      <a:lnTo>
                        <a:pt x="538" y="5861"/>
                      </a:lnTo>
                      <a:lnTo>
                        <a:pt x="1794" y="3409"/>
                      </a:lnTo>
                      <a:lnTo>
                        <a:pt x="3528" y="0"/>
                      </a:lnTo>
                    </a:path>
                  </a:pathLst>
                </a:custGeom>
                <a:noFill/>
                <a:ln w="6350" cap="flat">
                  <a:solidFill>
                    <a:schemeClr val="bg1">
                      <a:alpha val="80000"/>
                    </a:schemeClr>
                  </a:solidFill>
                  <a:prstDash val="solid"/>
                  <a:miter/>
                </a:ln>
              </p:spPr>
              <p:txBody>
                <a:bodyPr rtlCol="0" anchor="ctr"/>
                <a:lstStyle/>
                <a:p>
                  <a:endParaRPr lang="en-GB"/>
                </a:p>
              </p:txBody>
            </p:sp>
            <p:sp>
              <p:nvSpPr>
                <p:cNvPr id="7869" name="Vrije vorm: vorm 7868">
                  <a:extLst>
                    <a:ext uri="{FF2B5EF4-FFF2-40B4-BE49-F238E27FC236}">
                      <a16:creationId xmlns:a16="http://schemas.microsoft.com/office/drawing/2014/main" id="{02ABB68E-4A44-45B2-9E1E-93240B7DA65F}"/>
                    </a:ext>
                  </a:extLst>
                </p:cNvPr>
                <p:cNvSpPr/>
                <p:nvPr/>
              </p:nvSpPr>
              <p:spPr>
                <a:xfrm>
                  <a:off x="5709396" y="5385142"/>
                  <a:ext cx="10944" cy="7176"/>
                </a:xfrm>
                <a:custGeom>
                  <a:avLst/>
                  <a:gdLst>
                    <a:gd name="connsiteX0" fmla="*/ 10945 w 10944"/>
                    <a:gd name="connsiteY0" fmla="*/ 7177 h 7176"/>
                    <a:gd name="connsiteX1" fmla="*/ 8014 w 10944"/>
                    <a:gd name="connsiteY1" fmla="*/ 7057 h 7176"/>
                    <a:gd name="connsiteX2" fmla="*/ 7356 w 10944"/>
                    <a:gd name="connsiteY2" fmla="*/ 7057 h 7176"/>
                    <a:gd name="connsiteX3" fmla="*/ 4904 w 10944"/>
                    <a:gd name="connsiteY3" fmla="*/ 5801 h 7176"/>
                    <a:gd name="connsiteX4" fmla="*/ 3529 w 10944"/>
                    <a:gd name="connsiteY4" fmla="*/ 5083 h 7176"/>
                    <a:gd name="connsiteX5" fmla="*/ 2213 w 10944"/>
                    <a:gd name="connsiteY5" fmla="*/ 3469 h 7176"/>
                    <a:gd name="connsiteX6" fmla="*/ 1555 w 10944"/>
                    <a:gd name="connsiteY6" fmla="*/ 2691 h 7176"/>
                    <a:gd name="connsiteX7" fmla="*/ 538 w 10944"/>
                    <a:gd name="connsiteY7" fmla="*/ 1435 h 7176"/>
                    <a:gd name="connsiteX8" fmla="*/ 0 w 10944"/>
                    <a:gd name="connsiteY8" fmla="*/ 0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44" h="7176">
                      <a:moveTo>
                        <a:pt x="10945" y="7177"/>
                      </a:moveTo>
                      <a:lnTo>
                        <a:pt x="8014" y="7057"/>
                      </a:lnTo>
                      <a:lnTo>
                        <a:pt x="7356" y="7057"/>
                      </a:lnTo>
                      <a:lnTo>
                        <a:pt x="4904" y="5801"/>
                      </a:lnTo>
                      <a:lnTo>
                        <a:pt x="3529" y="5083"/>
                      </a:lnTo>
                      <a:lnTo>
                        <a:pt x="2213" y="3469"/>
                      </a:lnTo>
                      <a:lnTo>
                        <a:pt x="1555" y="2691"/>
                      </a:lnTo>
                      <a:lnTo>
                        <a:pt x="538" y="1435"/>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70" name="Vrije vorm: vorm 7869">
                  <a:extLst>
                    <a:ext uri="{FF2B5EF4-FFF2-40B4-BE49-F238E27FC236}">
                      <a16:creationId xmlns:a16="http://schemas.microsoft.com/office/drawing/2014/main" id="{21DF567C-1620-4C93-AE84-7902FEF07DDC}"/>
                    </a:ext>
                  </a:extLst>
                </p:cNvPr>
                <p:cNvSpPr/>
                <p:nvPr/>
              </p:nvSpPr>
              <p:spPr>
                <a:xfrm>
                  <a:off x="5720281" y="5338073"/>
                  <a:ext cx="17523" cy="5980"/>
                </a:xfrm>
                <a:custGeom>
                  <a:avLst/>
                  <a:gdLst>
                    <a:gd name="connsiteX0" fmla="*/ 0 w 17523"/>
                    <a:gd name="connsiteY0" fmla="*/ 5981 h 5980"/>
                    <a:gd name="connsiteX1" fmla="*/ 239 w 17523"/>
                    <a:gd name="connsiteY1" fmla="*/ 5741 h 5980"/>
                    <a:gd name="connsiteX2" fmla="*/ 2691 w 17523"/>
                    <a:gd name="connsiteY2" fmla="*/ 3887 h 5980"/>
                    <a:gd name="connsiteX3" fmla="*/ 3828 w 17523"/>
                    <a:gd name="connsiteY3" fmla="*/ 2990 h 5980"/>
                    <a:gd name="connsiteX4" fmla="*/ 4246 w 17523"/>
                    <a:gd name="connsiteY4" fmla="*/ 2691 h 5980"/>
                    <a:gd name="connsiteX5" fmla="*/ 4904 w 17523"/>
                    <a:gd name="connsiteY5" fmla="*/ 2153 h 5980"/>
                    <a:gd name="connsiteX6" fmla="*/ 6639 w 17523"/>
                    <a:gd name="connsiteY6" fmla="*/ 1435 h 5980"/>
                    <a:gd name="connsiteX7" fmla="*/ 9689 w 17523"/>
                    <a:gd name="connsiteY7" fmla="*/ 179 h 5980"/>
                    <a:gd name="connsiteX8" fmla="*/ 10825 w 17523"/>
                    <a:gd name="connsiteY8" fmla="*/ 119 h 5980"/>
                    <a:gd name="connsiteX9" fmla="*/ 13756 w 17523"/>
                    <a:gd name="connsiteY9" fmla="*/ 0 h 5980"/>
                    <a:gd name="connsiteX10" fmla="*/ 14174 w 17523"/>
                    <a:gd name="connsiteY10" fmla="*/ 0 h 5980"/>
                    <a:gd name="connsiteX11" fmla="*/ 15789 w 17523"/>
                    <a:gd name="connsiteY11" fmla="*/ 299 h 5980"/>
                    <a:gd name="connsiteX12" fmla="*/ 17523 w 17523"/>
                    <a:gd name="connsiteY12" fmla="*/ 598 h 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23" h="5980">
                      <a:moveTo>
                        <a:pt x="0" y="5981"/>
                      </a:moveTo>
                      <a:lnTo>
                        <a:pt x="239" y="5741"/>
                      </a:lnTo>
                      <a:lnTo>
                        <a:pt x="2691" y="3887"/>
                      </a:lnTo>
                      <a:lnTo>
                        <a:pt x="3828" y="2990"/>
                      </a:lnTo>
                      <a:lnTo>
                        <a:pt x="4246" y="2691"/>
                      </a:lnTo>
                      <a:lnTo>
                        <a:pt x="4904" y="2153"/>
                      </a:lnTo>
                      <a:lnTo>
                        <a:pt x="6639" y="1435"/>
                      </a:lnTo>
                      <a:lnTo>
                        <a:pt x="9689" y="179"/>
                      </a:lnTo>
                      <a:lnTo>
                        <a:pt x="10825" y="119"/>
                      </a:lnTo>
                      <a:lnTo>
                        <a:pt x="13756" y="0"/>
                      </a:lnTo>
                      <a:lnTo>
                        <a:pt x="14174" y="0"/>
                      </a:lnTo>
                      <a:lnTo>
                        <a:pt x="15789" y="299"/>
                      </a:lnTo>
                      <a:lnTo>
                        <a:pt x="17523" y="598"/>
                      </a:lnTo>
                    </a:path>
                  </a:pathLst>
                </a:custGeom>
                <a:noFill/>
                <a:ln w="6350" cap="flat">
                  <a:solidFill>
                    <a:schemeClr val="bg1">
                      <a:alpha val="80000"/>
                    </a:schemeClr>
                  </a:solidFill>
                  <a:prstDash val="solid"/>
                  <a:miter/>
                </a:ln>
              </p:spPr>
              <p:txBody>
                <a:bodyPr rtlCol="0" anchor="ctr"/>
                <a:lstStyle/>
                <a:p>
                  <a:endParaRPr lang="en-GB"/>
                </a:p>
              </p:txBody>
            </p:sp>
            <p:sp>
              <p:nvSpPr>
                <p:cNvPr id="7871" name="Vrije vorm: vorm 7870">
                  <a:extLst>
                    <a:ext uri="{FF2B5EF4-FFF2-40B4-BE49-F238E27FC236}">
                      <a16:creationId xmlns:a16="http://schemas.microsoft.com/office/drawing/2014/main" id="{CCFCDA2F-4D5A-4496-A7A4-44FC003ACCB5}"/>
                    </a:ext>
                  </a:extLst>
                </p:cNvPr>
                <p:cNvSpPr/>
                <p:nvPr/>
              </p:nvSpPr>
              <p:spPr>
                <a:xfrm>
                  <a:off x="5610654" y="5332332"/>
                  <a:ext cx="20872" cy="42104"/>
                </a:xfrm>
                <a:custGeom>
                  <a:avLst/>
                  <a:gdLst>
                    <a:gd name="connsiteX0" fmla="*/ 14832 w 20872"/>
                    <a:gd name="connsiteY0" fmla="*/ 0 h 42104"/>
                    <a:gd name="connsiteX1" fmla="*/ 15909 w 20872"/>
                    <a:gd name="connsiteY1" fmla="*/ 538 h 42104"/>
                    <a:gd name="connsiteX2" fmla="*/ 16507 w 20872"/>
                    <a:gd name="connsiteY2" fmla="*/ 837 h 42104"/>
                    <a:gd name="connsiteX3" fmla="*/ 17464 w 20872"/>
                    <a:gd name="connsiteY3" fmla="*/ 1316 h 42104"/>
                    <a:gd name="connsiteX4" fmla="*/ 17643 w 20872"/>
                    <a:gd name="connsiteY4" fmla="*/ 1555 h 42104"/>
                    <a:gd name="connsiteX5" fmla="*/ 17823 w 20872"/>
                    <a:gd name="connsiteY5" fmla="*/ 1794 h 42104"/>
                    <a:gd name="connsiteX6" fmla="*/ 18301 w 20872"/>
                    <a:gd name="connsiteY6" fmla="*/ 2452 h 42104"/>
                    <a:gd name="connsiteX7" fmla="*/ 18959 w 20872"/>
                    <a:gd name="connsiteY7" fmla="*/ 3289 h 42104"/>
                    <a:gd name="connsiteX8" fmla="*/ 19437 w 20872"/>
                    <a:gd name="connsiteY8" fmla="*/ 3947 h 42104"/>
                    <a:gd name="connsiteX9" fmla="*/ 19497 w 20872"/>
                    <a:gd name="connsiteY9" fmla="*/ 4067 h 42104"/>
                    <a:gd name="connsiteX10" fmla="*/ 20454 w 20872"/>
                    <a:gd name="connsiteY10" fmla="*/ 7177 h 42104"/>
                    <a:gd name="connsiteX11" fmla="*/ 20634 w 20872"/>
                    <a:gd name="connsiteY11" fmla="*/ 7775 h 42104"/>
                    <a:gd name="connsiteX12" fmla="*/ 20813 w 20872"/>
                    <a:gd name="connsiteY12" fmla="*/ 11304 h 42104"/>
                    <a:gd name="connsiteX13" fmla="*/ 20873 w 20872"/>
                    <a:gd name="connsiteY13" fmla="*/ 12559 h 42104"/>
                    <a:gd name="connsiteX14" fmla="*/ 20394 w 20872"/>
                    <a:gd name="connsiteY14" fmla="*/ 16267 h 42104"/>
                    <a:gd name="connsiteX15" fmla="*/ 20215 w 20872"/>
                    <a:gd name="connsiteY15" fmla="*/ 17942 h 42104"/>
                    <a:gd name="connsiteX16" fmla="*/ 19198 w 20872"/>
                    <a:gd name="connsiteY16" fmla="*/ 21710 h 42104"/>
                    <a:gd name="connsiteX17" fmla="*/ 18660 w 20872"/>
                    <a:gd name="connsiteY17" fmla="*/ 23564 h 42104"/>
                    <a:gd name="connsiteX18" fmla="*/ 17105 w 20872"/>
                    <a:gd name="connsiteY18" fmla="*/ 27212 h 42104"/>
                    <a:gd name="connsiteX19" fmla="*/ 16328 w 20872"/>
                    <a:gd name="connsiteY19" fmla="*/ 29006 h 42104"/>
                    <a:gd name="connsiteX20" fmla="*/ 14294 w 20872"/>
                    <a:gd name="connsiteY20" fmla="*/ 32415 h 42104"/>
                    <a:gd name="connsiteX21" fmla="*/ 13397 w 20872"/>
                    <a:gd name="connsiteY21" fmla="*/ 33911 h 42104"/>
                    <a:gd name="connsiteX22" fmla="*/ 10945 w 20872"/>
                    <a:gd name="connsiteY22" fmla="*/ 36841 h 42104"/>
                    <a:gd name="connsiteX23" fmla="*/ 10107 w 20872"/>
                    <a:gd name="connsiteY23" fmla="*/ 37858 h 42104"/>
                    <a:gd name="connsiteX24" fmla="*/ 8253 w 20872"/>
                    <a:gd name="connsiteY24" fmla="*/ 39353 h 42104"/>
                    <a:gd name="connsiteX25" fmla="*/ 7715 w 20872"/>
                    <a:gd name="connsiteY25" fmla="*/ 39772 h 42104"/>
                    <a:gd name="connsiteX26" fmla="*/ 6579 w 20872"/>
                    <a:gd name="connsiteY26" fmla="*/ 40669 h 42104"/>
                    <a:gd name="connsiteX27" fmla="*/ 6519 w 20872"/>
                    <a:gd name="connsiteY27" fmla="*/ 40669 h 42104"/>
                    <a:gd name="connsiteX28" fmla="*/ 4725 w 20872"/>
                    <a:gd name="connsiteY28" fmla="*/ 41446 h 42104"/>
                    <a:gd name="connsiteX29" fmla="*/ 3708 w 20872"/>
                    <a:gd name="connsiteY29" fmla="*/ 41865 h 42104"/>
                    <a:gd name="connsiteX30" fmla="*/ 3110 w 20872"/>
                    <a:gd name="connsiteY30" fmla="*/ 42104 h 42104"/>
                    <a:gd name="connsiteX31" fmla="*/ 180 w 20872"/>
                    <a:gd name="connsiteY31" fmla="*/ 42104 h 42104"/>
                    <a:gd name="connsiteX32" fmla="*/ 0 w 20872"/>
                    <a:gd name="connsiteY32" fmla="*/ 42104 h 4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872" h="42104">
                      <a:moveTo>
                        <a:pt x="14832" y="0"/>
                      </a:moveTo>
                      <a:lnTo>
                        <a:pt x="15909" y="538"/>
                      </a:lnTo>
                      <a:lnTo>
                        <a:pt x="16507" y="837"/>
                      </a:lnTo>
                      <a:lnTo>
                        <a:pt x="17464" y="1316"/>
                      </a:lnTo>
                      <a:lnTo>
                        <a:pt x="17643" y="1555"/>
                      </a:lnTo>
                      <a:lnTo>
                        <a:pt x="17823" y="1794"/>
                      </a:lnTo>
                      <a:lnTo>
                        <a:pt x="18301" y="2452"/>
                      </a:lnTo>
                      <a:lnTo>
                        <a:pt x="18959" y="3289"/>
                      </a:lnTo>
                      <a:lnTo>
                        <a:pt x="19437" y="3947"/>
                      </a:lnTo>
                      <a:lnTo>
                        <a:pt x="19497" y="4067"/>
                      </a:lnTo>
                      <a:lnTo>
                        <a:pt x="20454" y="7177"/>
                      </a:lnTo>
                      <a:lnTo>
                        <a:pt x="20634" y="7775"/>
                      </a:lnTo>
                      <a:lnTo>
                        <a:pt x="20813" y="11304"/>
                      </a:lnTo>
                      <a:lnTo>
                        <a:pt x="20873" y="12559"/>
                      </a:lnTo>
                      <a:lnTo>
                        <a:pt x="20394" y="16267"/>
                      </a:lnTo>
                      <a:lnTo>
                        <a:pt x="20215" y="17942"/>
                      </a:lnTo>
                      <a:lnTo>
                        <a:pt x="19198" y="21710"/>
                      </a:lnTo>
                      <a:lnTo>
                        <a:pt x="18660" y="23564"/>
                      </a:lnTo>
                      <a:lnTo>
                        <a:pt x="17105" y="27212"/>
                      </a:lnTo>
                      <a:lnTo>
                        <a:pt x="16328" y="29006"/>
                      </a:lnTo>
                      <a:lnTo>
                        <a:pt x="14294" y="32415"/>
                      </a:lnTo>
                      <a:lnTo>
                        <a:pt x="13397" y="33911"/>
                      </a:lnTo>
                      <a:lnTo>
                        <a:pt x="10945" y="36841"/>
                      </a:lnTo>
                      <a:lnTo>
                        <a:pt x="10107" y="37858"/>
                      </a:lnTo>
                      <a:lnTo>
                        <a:pt x="8253" y="39353"/>
                      </a:lnTo>
                      <a:lnTo>
                        <a:pt x="7715" y="39772"/>
                      </a:lnTo>
                      <a:lnTo>
                        <a:pt x="6579" y="40669"/>
                      </a:lnTo>
                      <a:lnTo>
                        <a:pt x="6519" y="40669"/>
                      </a:lnTo>
                      <a:lnTo>
                        <a:pt x="4725" y="41446"/>
                      </a:lnTo>
                      <a:lnTo>
                        <a:pt x="3708" y="41865"/>
                      </a:lnTo>
                      <a:lnTo>
                        <a:pt x="3110" y="42104"/>
                      </a:lnTo>
                      <a:lnTo>
                        <a:pt x="180" y="42104"/>
                      </a:lnTo>
                      <a:lnTo>
                        <a:pt x="0" y="42104"/>
                      </a:lnTo>
                    </a:path>
                  </a:pathLst>
                </a:custGeom>
                <a:noFill/>
                <a:ln w="6350" cap="flat">
                  <a:solidFill>
                    <a:schemeClr val="bg1">
                      <a:alpha val="80000"/>
                    </a:schemeClr>
                  </a:solidFill>
                  <a:prstDash val="solid"/>
                  <a:miter/>
                </a:ln>
              </p:spPr>
              <p:txBody>
                <a:bodyPr rtlCol="0" anchor="ctr"/>
                <a:lstStyle/>
                <a:p>
                  <a:endParaRPr lang="en-GB"/>
                </a:p>
              </p:txBody>
            </p:sp>
            <p:sp>
              <p:nvSpPr>
                <p:cNvPr id="7872" name="Vrije vorm: vorm 7871">
                  <a:extLst>
                    <a:ext uri="{FF2B5EF4-FFF2-40B4-BE49-F238E27FC236}">
                      <a16:creationId xmlns:a16="http://schemas.microsoft.com/office/drawing/2014/main" id="{9A0047EF-470F-424B-8E8E-4EAFE7024BB5}"/>
                    </a:ext>
                  </a:extLst>
                </p:cNvPr>
                <p:cNvSpPr/>
                <p:nvPr/>
              </p:nvSpPr>
              <p:spPr>
                <a:xfrm>
                  <a:off x="5605092" y="5362474"/>
                  <a:ext cx="10287" cy="12260"/>
                </a:xfrm>
                <a:custGeom>
                  <a:avLst/>
                  <a:gdLst>
                    <a:gd name="connsiteX0" fmla="*/ 10287 w 10287"/>
                    <a:gd name="connsiteY0" fmla="*/ 12261 h 12260"/>
                    <a:gd name="connsiteX1" fmla="*/ 9988 w 10287"/>
                    <a:gd name="connsiteY1" fmla="*/ 12261 h 12260"/>
                    <a:gd name="connsiteX2" fmla="*/ 7117 w 10287"/>
                    <a:gd name="connsiteY2" fmla="*/ 12081 h 12260"/>
                    <a:gd name="connsiteX3" fmla="*/ 5622 w 10287"/>
                    <a:gd name="connsiteY3" fmla="*/ 11961 h 12260"/>
                    <a:gd name="connsiteX4" fmla="*/ 3230 w 10287"/>
                    <a:gd name="connsiteY4" fmla="*/ 10586 h 12260"/>
                    <a:gd name="connsiteX5" fmla="*/ 3050 w 10287"/>
                    <a:gd name="connsiteY5" fmla="*/ 10526 h 12260"/>
                    <a:gd name="connsiteX6" fmla="*/ 1375 w 10287"/>
                    <a:gd name="connsiteY6" fmla="*/ 8074 h 12260"/>
                    <a:gd name="connsiteX7" fmla="*/ 1136 w 10287"/>
                    <a:gd name="connsiteY7" fmla="*/ 7775 h 12260"/>
                    <a:gd name="connsiteX8" fmla="*/ 299 w 10287"/>
                    <a:gd name="connsiteY8" fmla="*/ 4605 h 12260"/>
                    <a:gd name="connsiteX9" fmla="*/ 120 w 10287"/>
                    <a:gd name="connsiteY9" fmla="*/ 3888 h 12260"/>
                    <a:gd name="connsiteX10" fmla="*/ 60 w 10287"/>
                    <a:gd name="connsiteY10" fmla="*/ 1854 h 12260"/>
                    <a:gd name="connsiteX11" fmla="*/ 0 w 10287"/>
                    <a:gd name="connsiteY11" fmla="*/ 0 h 1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7" h="12260">
                      <a:moveTo>
                        <a:pt x="10287" y="12261"/>
                      </a:moveTo>
                      <a:lnTo>
                        <a:pt x="9988" y="12261"/>
                      </a:lnTo>
                      <a:lnTo>
                        <a:pt x="7117" y="12081"/>
                      </a:lnTo>
                      <a:lnTo>
                        <a:pt x="5622" y="11961"/>
                      </a:lnTo>
                      <a:lnTo>
                        <a:pt x="3230" y="10586"/>
                      </a:lnTo>
                      <a:lnTo>
                        <a:pt x="3050" y="10526"/>
                      </a:lnTo>
                      <a:lnTo>
                        <a:pt x="1375" y="8074"/>
                      </a:lnTo>
                      <a:lnTo>
                        <a:pt x="1136" y="7775"/>
                      </a:lnTo>
                      <a:lnTo>
                        <a:pt x="299" y="4605"/>
                      </a:lnTo>
                      <a:lnTo>
                        <a:pt x="120" y="3888"/>
                      </a:lnTo>
                      <a:lnTo>
                        <a:pt x="60" y="1854"/>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73" name="Vrije vorm: vorm 7872">
                  <a:extLst>
                    <a:ext uri="{FF2B5EF4-FFF2-40B4-BE49-F238E27FC236}">
                      <a16:creationId xmlns:a16="http://schemas.microsoft.com/office/drawing/2014/main" id="{CB795A21-95D5-41AC-BEC8-26202C3ECA30}"/>
                    </a:ext>
                  </a:extLst>
                </p:cNvPr>
                <p:cNvSpPr/>
                <p:nvPr/>
              </p:nvSpPr>
              <p:spPr>
                <a:xfrm>
                  <a:off x="5611611" y="5332392"/>
                  <a:ext cx="18420" cy="9628"/>
                </a:xfrm>
                <a:custGeom>
                  <a:avLst/>
                  <a:gdLst>
                    <a:gd name="connsiteX0" fmla="*/ 0 w 18420"/>
                    <a:gd name="connsiteY0" fmla="*/ 9629 h 9628"/>
                    <a:gd name="connsiteX1" fmla="*/ 718 w 18420"/>
                    <a:gd name="connsiteY1" fmla="*/ 8373 h 9628"/>
                    <a:gd name="connsiteX2" fmla="*/ 1734 w 18420"/>
                    <a:gd name="connsiteY2" fmla="*/ 7177 h 9628"/>
                    <a:gd name="connsiteX3" fmla="*/ 3947 w 18420"/>
                    <a:gd name="connsiteY3" fmla="*/ 4486 h 9628"/>
                    <a:gd name="connsiteX4" fmla="*/ 6758 w 18420"/>
                    <a:gd name="connsiteY4" fmla="*/ 2153 h 9628"/>
                    <a:gd name="connsiteX5" fmla="*/ 7356 w 18420"/>
                    <a:gd name="connsiteY5" fmla="*/ 1674 h 9628"/>
                    <a:gd name="connsiteX6" fmla="*/ 10406 w 18420"/>
                    <a:gd name="connsiteY6" fmla="*/ 299 h 9628"/>
                    <a:gd name="connsiteX7" fmla="*/ 10765 w 18420"/>
                    <a:gd name="connsiteY7" fmla="*/ 119 h 9628"/>
                    <a:gd name="connsiteX8" fmla="*/ 13756 w 18420"/>
                    <a:gd name="connsiteY8" fmla="*/ 0 h 9628"/>
                    <a:gd name="connsiteX9" fmla="*/ 13875 w 18420"/>
                    <a:gd name="connsiteY9" fmla="*/ 0 h 9628"/>
                    <a:gd name="connsiteX10" fmla="*/ 15371 w 18420"/>
                    <a:gd name="connsiteY10" fmla="*/ 239 h 9628"/>
                    <a:gd name="connsiteX11" fmla="*/ 17344 w 18420"/>
                    <a:gd name="connsiteY11" fmla="*/ 538 h 9628"/>
                    <a:gd name="connsiteX12" fmla="*/ 17583 w 18420"/>
                    <a:gd name="connsiteY12" fmla="*/ 598 h 9628"/>
                    <a:gd name="connsiteX13" fmla="*/ 18121 w 18420"/>
                    <a:gd name="connsiteY13" fmla="*/ 658 h 9628"/>
                    <a:gd name="connsiteX14" fmla="*/ 18420 w 18420"/>
                    <a:gd name="connsiteY14" fmla="*/ 718 h 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420" h="9628">
                      <a:moveTo>
                        <a:pt x="0" y="9629"/>
                      </a:moveTo>
                      <a:lnTo>
                        <a:pt x="718" y="8373"/>
                      </a:lnTo>
                      <a:lnTo>
                        <a:pt x="1734" y="7177"/>
                      </a:lnTo>
                      <a:lnTo>
                        <a:pt x="3947" y="4486"/>
                      </a:lnTo>
                      <a:lnTo>
                        <a:pt x="6758" y="2153"/>
                      </a:lnTo>
                      <a:lnTo>
                        <a:pt x="7356" y="1674"/>
                      </a:lnTo>
                      <a:lnTo>
                        <a:pt x="10406" y="299"/>
                      </a:lnTo>
                      <a:lnTo>
                        <a:pt x="10765" y="119"/>
                      </a:lnTo>
                      <a:lnTo>
                        <a:pt x="13756" y="0"/>
                      </a:lnTo>
                      <a:lnTo>
                        <a:pt x="13875" y="0"/>
                      </a:lnTo>
                      <a:lnTo>
                        <a:pt x="15371" y="239"/>
                      </a:lnTo>
                      <a:lnTo>
                        <a:pt x="17344" y="538"/>
                      </a:lnTo>
                      <a:lnTo>
                        <a:pt x="17583" y="598"/>
                      </a:lnTo>
                      <a:lnTo>
                        <a:pt x="18121" y="658"/>
                      </a:lnTo>
                      <a:lnTo>
                        <a:pt x="18420" y="718"/>
                      </a:lnTo>
                    </a:path>
                  </a:pathLst>
                </a:custGeom>
                <a:noFill/>
                <a:ln w="6350" cap="flat">
                  <a:solidFill>
                    <a:schemeClr val="bg1">
                      <a:alpha val="80000"/>
                    </a:schemeClr>
                  </a:solidFill>
                  <a:prstDash val="solid"/>
                  <a:miter/>
                </a:ln>
              </p:spPr>
              <p:txBody>
                <a:bodyPr rtlCol="0" anchor="ctr"/>
                <a:lstStyle/>
                <a:p>
                  <a:endParaRPr lang="en-GB"/>
                </a:p>
              </p:txBody>
            </p:sp>
            <p:sp>
              <p:nvSpPr>
                <p:cNvPr id="7874" name="Vrije vorm: vorm 7873">
                  <a:extLst>
                    <a:ext uri="{FF2B5EF4-FFF2-40B4-BE49-F238E27FC236}">
                      <a16:creationId xmlns:a16="http://schemas.microsoft.com/office/drawing/2014/main" id="{A26C45AE-5E7C-4D78-A847-1AB587C9838F}"/>
                    </a:ext>
                  </a:extLst>
                </p:cNvPr>
                <p:cNvSpPr/>
                <p:nvPr/>
              </p:nvSpPr>
              <p:spPr>
                <a:xfrm>
                  <a:off x="5602521" y="5362235"/>
                  <a:ext cx="4964" cy="657"/>
                </a:xfrm>
                <a:custGeom>
                  <a:avLst/>
                  <a:gdLst>
                    <a:gd name="connsiteX0" fmla="*/ 4964 w 4964"/>
                    <a:gd name="connsiteY0" fmla="*/ 658 h 657"/>
                    <a:gd name="connsiteX1" fmla="*/ 4665 w 4964"/>
                    <a:gd name="connsiteY1" fmla="*/ 538 h 657"/>
                    <a:gd name="connsiteX2" fmla="*/ 4306 w 4964"/>
                    <a:gd name="connsiteY2" fmla="*/ 419 h 657"/>
                    <a:gd name="connsiteX3" fmla="*/ 4246 w 4964"/>
                    <a:gd name="connsiteY3" fmla="*/ 419 h 657"/>
                    <a:gd name="connsiteX4" fmla="*/ 4187 w 4964"/>
                    <a:gd name="connsiteY4" fmla="*/ 419 h 657"/>
                    <a:gd name="connsiteX5" fmla="*/ 3888 w 4964"/>
                    <a:gd name="connsiteY5" fmla="*/ 359 h 657"/>
                    <a:gd name="connsiteX6" fmla="*/ 2811 w 4964"/>
                    <a:gd name="connsiteY6" fmla="*/ 239 h 657"/>
                    <a:gd name="connsiteX7" fmla="*/ 2512 w 4964"/>
                    <a:gd name="connsiteY7" fmla="*/ 239 h 657"/>
                    <a:gd name="connsiteX8" fmla="*/ 0 w 4964"/>
                    <a:gd name="connsiteY8" fmla="*/ 0 h 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64" h="657">
                      <a:moveTo>
                        <a:pt x="4964" y="658"/>
                      </a:moveTo>
                      <a:lnTo>
                        <a:pt x="4665" y="538"/>
                      </a:lnTo>
                      <a:lnTo>
                        <a:pt x="4306" y="419"/>
                      </a:lnTo>
                      <a:lnTo>
                        <a:pt x="4246" y="419"/>
                      </a:lnTo>
                      <a:lnTo>
                        <a:pt x="4187" y="419"/>
                      </a:lnTo>
                      <a:lnTo>
                        <a:pt x="3888" y="359"/>
                      </a:lnTo>
                      <a:lnTo>
                        <a:pt x="2811" y="239"/>
                      </a:lnTo>
                      <a:lnTo>
                        <a:pt x="2512" y="23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75" name="Vrije vorm: vorm 7874">
                  <a:extLst>
                    <a:ext uri="{FF2B5EF4-FFF2-40B4-BE49-F238E27FC236}">
                      <a16:creationId xmlns:a16="http://schemas.microsoft.com/office/drawing/2014/main" id="{E718B19F-4EE3-4178-AC92-BFEC55AC81DD}"/>
                    </a:ext>
                  </a:extLst>
                </p:cNvPr>
                <p:cNvSpPr/>
                <p:nvPr/>
              </p:nvSpPr>
              <p:spPr>
                <a:xfrm>
                  <a:off x="5606767" y="5362594"/>
                  <a:ext cx="179" cy="239"/>
                </a:xfrm>
                <a:custGeom>
                  <a:avLst/>
                  <a:gdLst>
                    <a:gd name="connsiteX0" fmla="*/ 179 w 179"/>
                    <a:gd name="connsiteY0" fmla="*/ 239 h 239"/>
                    <a:gd name="connsiteX1" fmla="*/ 0 w 179"/>
                    <a:gd name="connsiteY1" fmla="*/ 0 h 239"/>
                  </a:gdLst>
                  <a:ahLst/>
                  <a:cxnLst>
                    <a:cxn ang="0">
                      <a:pos x="connsiteX0" y="connsiteY0"/>
                    </a:cxn>
                    <a:cxn ang="0">
                      <a:pos x="connsiteX1" y="connsiteY1"/>
                    </a:cxn>
                  </a:cxnLst>
                  <a:rect l="l" t="t" r="r" b="b"/>
                  <a:pathLst>
                    <a:path w="179" h="239">
                      <a:moveTo>
                        <a:pt x="179" y="239"/>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76" name="Vrije vorm: vorm 7875">
                  <a:extLst>
                    <a:ext uri="{FF2B5EF4-FFF2-40B4-BE49-F238E27FC236}">
                      <a16:creationId xmlns:a16="http://schemas.microsoft.com/office/drawing/2014/main" id="{18F1E82F-4E0C-43D5-B445-552F7A148E57}"/>
                    </a:ext>
                  </a:extLst>
                </p:cNvPr>
                <p:cNvSpPr/>
                <p:nvPr/>
              </p:nvSpPr>
              <p:spPr>
                <a:xfrm>
                  <a:off x="5716752" y="5338073"/>
                  <a:ext cx="27810" cy="54185"/>
                </a:xfrm>
                <a:custGeom>
                  <a:avLst/>
                  <a:gdLst>
                    <a:gd name="connsiteX0" fmla="*/ 0 w 27810"/>
                    <a:gd name="connsiteY0" fmla="*/ 54125 h 54185"/>
                    <a:gd name="connsiteX1" fmla="*/ 2931 w 27810"/>
                    <a:gd name="connsiteY1" fmla="*/ 54185 h 54185"/>
                    <a:gd name="connsiteX2" fmla="*/ 3469 w 27810"/>
                    <a:gd name="connsiteY2" fmla="*/ 54185 h 54185"/>
                    <a:gd name="connsiteX3" fmla="*/ 4545 w 27810"/>
                    <a:gd name="connsiteY3" fmla="*/ 54185 h 54185"/>
                    <a:gd name="connsiteX4" fmla="*/ 7596 w 27810"/>
                    <a:gd name="connsiteY4" fmla="*/ 53049 h 54185"/>
                    <a:gd name="connsiteX5" fmla="*/ 9450 w 27810"/>
                    <a:gd name="connsiteY5" fmla="*/ 52391 h 54185"/>
                    <a:gd name="connsiteX6" fmla="*/ 9510 w 27810"/>
                    <a:gd name="connsiteY6" fmla="*/ 52331 h 54185"/>
                    <a:gd name="connsiteX7" fmla="*/ 9510 w 27810"/>
                    <a:gd name="connsiteY7" fmla="*/ 52331 h 54185"/>
                    <a:gd name="connsiteX8" fmla="*/ 12440 w 27810"/>
                    <a:gd name="connsiteY8" fmla="*/ 50238 h 54185"/>
                    <a:gd name="connsiteX9" fmla="*/ 14354 w 27810"/>
                    <a:gd name="connsiteY9" fmla="*/ 48862 h 54185"/>
                    <a:gd name="connsiteX10" fmla="*/ 16926 w 27810"/>
                    <a:gd name="connsiteY10" fmla="*/ 45992 h 54185"/>
                    <a:gd name="connsiteX11" fmla="*/ 18899 w 27810"/>
                    <a:gd name="connsiteY11" fmla="*/ 43779 h 54185"/>
                    <a:gd name="connsiteX12" fmla="*/ 20933 w 27810"/>
                    <a:gd name="connsiteY12" fmla="*/ 40429 h 54185"/>
                    <a:gd name="connsiteX13" fmla="*/ 22727 w 27810"/>
                    <a:gd name="connsiteY13" fmla="*/ 37499 h 54185"/>
                    <a:gd name="connsiteX14" fmla="*/ 23445 w 27810"/>
                    <a:gd name="connsiteY14" fmla="*/ 35765 h 54185"/>
                    <a:gd name="connsiteX15" fmla="*/ 23445 w 27810"/>
                    <a:gd name="connsiteY15" fmla="*/ 35765 h 54185"/>
                    <a:gd name="connsiteX16" fmla="*/ 24880 w 27810"/>
                    <a:gd name="connsiteY16" fmla="*/ 32236 h 54185"/>
                    <a:gd name="connsiteX17" fmla="*/ 25598 w 27810"/>
                    <a:gd name="connsiteY17" fmla="*/ 30502 h 54185"/>
                    <a:gd name="connsiteX18" fmla="*/ 26495 w 27810"/>
                    <a:gd name="connsiteY18" fmla="*/ 26734 h 54185"/>
                    <a:gd name="connsiteX19" fmla="*/ 27332 w 27810"/>
                    <a:gd name="connsiteY19" fmla="*/ 23205 h 54185"/>
                    <a:gd name="connsiteX20" fmla="*/ 27571 w 27810"/>
                    <a:gd name="connsiteY20" fmla="*/ 19557 h 54185"/>
                    <a:gd name="connsiteX21" fmla="*/ 27811 w 27810"/>
                    <a:gd name="connsiteY21" fmla="*/ 16267 h 54185"/>
                    <a:gd name="connsiteX22" fmla="*/ 27332 w 27810"/>
                    <a:gd name="connsiteY22" fmla="*/ 12858 h 54185"/>
                    <a:gd name="connsiteX23" fmla="*/ 27153 w 27810"/>
                    <a:gd name="connsiteY23" fmla="*/ 11363 h 54185"/>
                    <a:gd name="connsiteX24" fmla="*/ 27153 w 27810"/>
                    <a:gd name="connsiteY24" fmla="*/ 11363 h 54185"/>
                    <a:gd name="connsiteX25" fmla="*/ 27033 w 27810"/>
                    <a:gd name="connsiteY25" fmla="*/ 10347 h 54185"/>
                    <a:gd name="connsiteX26" fmla="*/ 26973 w 27810"/>
                    <a:gd name="connsiteY26" fmla="*/ 10048 h 54185"/>
                    <a:gd name="connsiteX27" fmla="*/ 25777 w 27810"/>
                    <a:gd name="connsiteY27" fmla="*/ 7177 h 54185"/>
                    <a:gd name="connsiteX28" fmla="*/ 24940 w 27810"/>
                    <a:gd name="connsiteY28" fmla="*/ 5083 h 54185"/>
                    <a:gd name="connsiteX29" fmla="*/ 23026 w 27810"/>
                    <a:gd name="connsiteY29" fmla="*/ 2990 h 54185"/>
                    <a:gd name="connsiteX30" fmla="*/ 21830 w 27810"/>
                    <a:gd name="connsiteY30" fmla="*/ 1674 h 54185"/>
                    <a:gd name="connsiteX31" fmla="*/ 19437 w 27810"/>
                    <a:gd name="connsiteY31" fmla="*/ 658 h 54185"/>
                    <a:gd name="connsiteX32" fmla="*/ 17883 w 27810"/>
                    <a:gd name="connsiteY32" fmla="*/ 0 h 5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810" h="54185">
                      <a:moveTo>
                        <a:pt x="0" y="54125"/>
                      </a:moveTo>
                      <a:lnTo>
                        <a:pt x="2931" y="54185"/>
                      </a:lnTo>
                      <a:lnTo>
                        <a:pt x="3469" y="54185"/>
                      </a:lnTo>
                      <a:lnTo>
                        <a:pt x="4545" y="54185"/>
                      </a:lnTo>
                      <a:lnTo>
                        <a:pt x="7596" y="53049"/>
                      </a:lnTo>
                      <a:lnTo>
                        <a:pt x="9450" y="52391"/>
                      </a:lnTo>
                      <a:lnTo>
                        <a:pt x="9510" y="52331"/>
                      </a:lnTo>
                      <a:lnTo>
                        <a:pt x="9510" y="52331"/>
                      </a:lnTo>
                      <a:lnTo>
                        <a:pt x="12440" y="50238"/>
                      </a:lnTo>
                      <a:lnTo>
                        <a:pt x="14354" y="48862"/>
                      </a:lnTo>
                      <a:lnTo>
                        <a:pt x="16926" y="45992"/>
                      </a:lnTo>
                      <a:lnTo>
                        <a:pt x="18899" y="43779"/>
                      </a:lnTo>
                      <a:lnTo>
                        <a:pt x="20933" y="40429"/>
                      </a:lnTo>
                      <a:lnTo>
                        <a:pt x="22727" y="37499"/>
                      </a:lnTo>
                      <a:lnTo>
                        <a:pt x="23445" y="35765"/>
                      </a:lnTo>
                      <a:lnTo>
                        <a:pt x="23445" y="35765"/>
                      </a:lnTo>
                      <a:lnTo>
                        <a:pt x="24880" y="32236"/>
                      </a:lnTo>
                      <a:lnTo>
                        <a:pt x="25598" y="30502"/>
                      </a:lnTo>
                      <a:lnTo>
                        <a:pt x="26495" y="26734"/>
                      </a:lnTo>
                      <a:lnTo>
                        <a:pt x="27332" y="23205"/>
                      </a:lnTo>
                      <a:lnTo>
                        <a:pt x="27571" y="19557"/>
                      </a:lnTo>
                      <a:lnTo>
                        <a:pt x="27811" y="16267"/>
                      </a:lnTo>
                      <a:lnTo>
                        <a:pt x="27332" y="12858"/>
                      </a:lnTo>
                      <a:lnTo>
                        <a:pt x="27153" y="11363"/>
                      </a:lnTo>
                      <a:lnTo>
                        <a:pt x="27153" y="11363"/>
                      </a:lnTo>
                      <a:lnTo>
                        <a:pt x="27033" y="10347"/>
                      </a:lnTo>
                      <a:lnTo>
                        <a:pt x="26973" y="10048"/>
                      </a:lnTo>
                      <a:lnTo>
                        <a:pt x="25777" y="7177"/>
                      </a:lnTo>
                      <a:lnTo>
                        <a:pt x="24940" y="5083"/>
                      </a:lnTo>
                      <a:lnTo>
                        <a:pt x="23026" y="2990"/>
                      </a:lnTo>
                      <a:lnTo>
                        <a:pt x="21830" y="1674"/>
                      </a:lnTo>
                      <a:lnTo>
                        <a:pt x="19437" y="658"/>
                      </a:lnTo>
                      <a:lnTo>
                        <a:pt x="17883" y="0"/>
                      </a:lnTo>
                    </a:path>
                  </a:pathLst>
                </a:custGeom>
                <a:noFill/>
                <a:ln w="6350" cap="flat">
                  <a:solidFill>
                    <a:schemeClr val="bg1">
                      <a:alpha val="80000"/>
                    </a:schemeClr>
                  </a:solidFill>
                  <a:prstDash val="solid"/>
                  <a:miter/>
                </a:ln>
              </p:spPr>
              <p:txBody>
                <a:bodyPr rtlCol="0" anchor="ctr"/>
                <a:lstStyle/>
                <a:p>
                  <a:endParaRPr lang="en-GB"/>
                </a:p>
              </p:txBody>
            </p:sp>
            <p:sp>
              <p:nvSpPr>
                <p:cNvPr id="7877" name="Vrije vorm: vorm 7876">
                  <a:extLst>
                    <a:ext uri="{FF2B5EF4-FFF2-40B4-BE49-F238E27FC236}">
                      <a16:creationId xmlns:a16="http://schemas.microsoft.com/office/drawing/2014/main" id="{222F1BC0-0DC3-4389-9F13-0AB85950560E}"/>
                    </a:ext>
                  </a:extLst>
                </p:cNvPr>
                <p:cNvSpPr/>
                <p:nvPr/>
              </p:nvSpPr>
              <p:spPr>
                <a:xfrm>
                  <a:off x="5720161" y="5338731"/>
                  <a:ext cx="27690" cy="53766"/>
                </a:xfrm>
                <a:custGeom>
                  <a:avLst/>
                  <a:gdLst>
                    <a:gd name="connsiteX0" fmla="*/ 17703 w 27690"/>
                    <a:gd name="connsiteY0" fmla="*/ 0 h 53766"/>
                    <a:gd name="connsiteX1" fmla="*/ 20275 w 27690"/>
                    <a:gd name="connsiteY1" fmla="*/ 1076 h 53766"/>
                    <a:gd name="connsiteX2" fmla="*/ 21650 w 27690"/>
                    <a:gd name="connsiteY2" fmla="*/ 1674 h 53766"/>
                    <a:gd name="connsiteX3" fmla="*/ 23624 w 27690"/>
                    <a:gd name="connsiteY3" fmla="*/ 3768 h 53766"/>
                    <a:gd name="connsiteX4" fmla="*/ 24820 w 27690"/>
                    <a:gd name="connsiteY4" fmla="*/ 5024 h 53766"/>
                    <a:gd name="connsiteX5" fmla="*/ 26016 w 27690"/>
                    <a:gd name="connsiteY5" fmla="*/ 7895 h 53766"/>
                    <a:gd name="connsiteX6" fmla="*/ 26853 w 27690"/>
                    <a:gd name="connsiteY6" fmla="*/ 9928 h 53766"/>
                    <a:gd name="connsiteX7" fmla="*/ 27093 w 27690"/>
                    <a:gd name="connsiteY7" fmla="*/ 11543 h 53766"/>
                    <a:gd name="connsiteX8" fmla="*/ 27332 w 27690"/>
                    <a:gd name="connsiteY8" fmla="*/ 13337 h 53766"/>
                    <a:gd name="connsiteX9" fmla="*/ 27332 w 27690"/>
                    <a:gd name="connsiteY9" fmla="*/ 13337 h 53766"/>
                    <a:gd name="connsiteX10" fmla="*/ 27691 w 27690"/>
                    <a:gd name="connsiteY10" fmla="*/ 16088 h 53766"/>
                    <a:gd name="connsiteX11" fmla="*/ 27452 w 27690"/>
                    <a:gd name="connsiteY11" fmla="*/ 19736 h 53766"/>
                    <a:gd name="connsiteX12" fmla="*/ 27272 w 27690"/>
                    <a:gd name="connsiteY12" fmla="*/ 22966 h 53766"/>
                    <a:gd name="connsiteX13" fmla="*/ 26375 w 27690"/>
                    <a:gd name="connsiteY13" fmla="*/ 26734 h 53766"/>
                    <a:gd name="connsiteX14" fmla="*/ 25538 w 27690"/>
                    <a:gd name="connsiteY14" fmla="*/ 30203 h 53766"/>
                    <a:gd name="connsiteX15" fmla="*/ 25059 w 27690"/>
                    <a:gd name="connsiteY15" fmla="*/ 31339 h 53766"/>
                    <a:gd name="connsiteX16" fmla="*/ 25059 w 27690"/>
                    <a:gd name="connsiteY16" fmla="*/ 31339 h 53766"/>
                    <a:gd name="connsiteX17" fmla="*/ 24820 w 27690"/>
                    <a:gd name="connsiteY17" fmla="*/ 31937 h 53766"/>
                    <a:gd name="connsiteX18" fmla="*/ 24102 w 27690"/>
                    <a:gd name="connsiteY18" fmla="*/ 33671 h 53766"/>
                    <a:gd name="connsiteX19" fmla="*/ 23385 w 27690"/>
                    <a:gd name="connsiteY19" fmla="*/ 35346 h 53766"/>
                    <a:gd name="connsiteX20" fmla="*/ 22966 w 27690"/>
                    <a:gd name="connsiteY20" fmla="*/ 36363 h 53766"/>
                    <a:gd name="connsiteX21" fmla="*/ 22727 w 27690"/>
                    <a:gd name="connsiteY21" fmla="*/ 36961 h 53766"/>
                    <a:gd name="connsiteX22" fmla="*/ 22727 w 27690"/>
                    <a:gd name="connsiteY22" fmla="*/ 36961 h 53766"/>
                    <a:gd name="connsiteX23" fmla="*/ 22607 w 27690"/>
                    <a:gd name="connsiteY23" fmla="*/ 37200 h 53766"/>
                    <a:gd name="connsiteX24" fmla="*/ 22607 w 27690"/>
                    <a:gd name="connsiteY24" fmla="*/ 37200 h 53766"/>
                    <a:gd name="connsiteX25" fmla="*/ 22607 w 27690"/>
                    <a:gd name="connsiteY25" fmla="*/ 37200 h 53766"/>
                    <a:gd name="connsiteX26" fmla="*/ 21650 w 27690"/>
                    <a:gd name="connsiteY26" fmla="*/ 38755 h 53766"/>
                    <a:gd name="connsiteX27" fmla="*/ 19976 w 27690"/>
                    <a:gd name="connsiteY27" fmla="*/ 41506 h 53766"/>
                    <a:gd name="connsiteX28" fmla="*/ 19976 w 27690"/>
                    <a:gd name="connsiteY28" fmla="*/ 41506 h 53766"/>
                    <a:gd name="connsiteX29" fmla="*/ 18780 w 27690"/>
                    <a:gd name="connsiteY29" fmla="*/ 43420 h 53766"/>
                    <a:gd name="connsiteX30" fmla="*/ 17045 w 27690"/>
                    <a:gd name="connsiteY30" fmla="*/ 45334 h 53766"/>
                    <a:gd name="connsiteX31" fmla="*/ 14474 w 27690"/>
                    <a:gd name="connsiteY31" fmla="*/ 48205 h 53766"/>
                    <a:gd name="connsiteX32" fmla="*/ 14234 w 27690"/>
                    <a:gd name="connsiteY32" fmla="*/ 48504 h 53766"/>
                    <a:gd name="connsiteX33" fmla="*/ 14174 w 27690"/>
                    <a:gd name="connsiteY33" fmla="*/ 48563 h 53766"/>
                    <a:gd name="connsiteX34" fmla="*/ 11244 w 27690"/>
                    <a:gd name="connsiteY34" fmla="*/ 50657 h 53766"/>
                    <a:gd name="connsiteX35" fmla="*/ 9390 w 27690"/>
                    <a:gd name="connsiteY35" fmla="*/ 52032 h 53766"/>
                    <a:gd name="connsiteX36" fmla="*/ 7237 w 27690"/>
                    <a:gd name="connsiteY36" fmla="*/ 52810 h 53766"/>
                    <a:gd name="connsiteX37" fmla="*/ 7237 w 27690"/>
                    <a:gd name="connsiteY37" fmla="*/ 52810 h 53766"/>
                    <a:gd name="connsiteX38" fmla="*/ 4545 w 27690"/>
                    <a:gd name="connsiteY38" fmla="*/ 53767 h 53766"/>
                    <a:gd name="connsiteX39" fmla="*/ 1615 w 27690"/>
                    <a:gd name="connsiteY39" fmla="*/ 53707 h 53766"/>
                    <a:gd name="connsiteX40" fmla="*/ 0 w 27690"/>
                    <a:gd name="connsiteY40" fmla="*/ 53647 h 5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7690" h="53766">
                      <a:moveTo>
                        <a:pt x="17703" y="0"/>
                      </a:moveTo>
                      <a:lnTo>
                        <a:pt x="20275" y="1076"/>
                      </a:lnTo>
                      <a:lnTo>
                        <a:pt x="21650" y="1674"/>
                      </a:lnTo>
                      <a:lnTo>
                        <a:pt x="23624" y="3768"/>
                      </a:lnTo>
                      <a:lnTo>
                        <a:pt x="24820" y="5024"/>
                      </a:lnTo>
                      <a:lnTo>
                        <a:pt x="26016" y="7895"/>
                      </a:lnTo>
                      <a:lnTo>
                        <a:pt x="26853" y="9928"/>
                      </a:lnTo>
                      <a:lnTo>
                        <a:pt x="27093" y="11543"/>
                      </a:lnTo>
                      <a:lnTo>
                        <a:pt x="27332" y="13337"/>
                      </a:lnTo>
                      <a:lnTo>
                        <a:pt x="27332" y="13337"/>
                      </a:lnTo>
                      <a:lnTo>
                        <a:pt x="27691" y="16088"/>
                      </a:lnTo>
                      <a:lnTo>
                        <a:pt x="27452" y="19736"/>
                      </a:lnTo>
                      <a:lnTo>
                        <a:pt x="27272" y="22966"/>
                      </a:lnTo>
                      <a:lnTo>
                        <a:pt x="26375" y="26734"/>
                      </a:lnTo>
                      <a:lnTo>
                        <a:pt x="25538" y="30203"/>
                      </a:lnTo>
                      <a:lnTo>
                        <a:pt x="25059" y="31339"/>
                      </a:lnTo>
                      <a:lnTo>
                        <a:pt x="25059" y="31339"/>
                      </a:lnTo>
                      <a:lnTo>
                        <a:pt x="24820" y="31937"/>
                      </a:lnTo>
                      <a:lnTo>
                        <a:pt x="24102" y="33671"/>
                      </a:lnTo>
                      <a:lnTo>
                        <a:pt x="23385" y="35346"/>
                      </a:lnTo>
                      <a:lnTo>
                        <a:pt x="22966" y="36363"/>
                      </a:lnTo>
                      <a:lnTo>
                        <a:pt x="22727" y="36961"/>
                      </a:lnTo>
                      <a:lnTo>
                        <a:pt x="22727" y="36961"/>
                      </a:lnTo>
                      <a:lnTo>
                        <a:pt x="22607" y="37200"/>
                      </a:lnTo>
                      <a:lnTo>
                        <a:pt x="22607" y="37200"/>
                      </a:lnTo>
                      <a:lnTo>
                        <a:pt x="22607" y="37200"/>
                      </a:lnTo>
                      <a:lnTo>
                        <a:pt x="21650" y="38755"/>
                      </a:lnTo>
                      <a:lnTo>
                        <a:pt x="19976" y="41506"/>
                      </a:lnTo>
                      <a:lnTo>
                        <a:pt x="19976" y="41506"/>
                      </a:lnTo>
                      <a:lnTo>
                        <a:pt x="18780" y="43420"/>
                      </a:lnTo>
                      <a:lnTo>
                        <a:pt x="17045" y="45334"/>
                      </a:lnTo>
                      <a:lnTo>
                        <a:pt x="14474" y="48205"/>
                      </a:lnTo>
                      <a:lnTo>
                        <a:pt x="14234" y="48504"/>
                      </a:lnTo>
                      <a:lnTo>
                        <a:pt x="14174" y="48563"/>
                      </a:lnTo>
                      <a:lnTo>
                        <a:pt x="11244" y="50657"/>
                      </a:lnTo>
                      <a:lnTo>
                        <a:pt x="9390" y="52032"/>
                      </a:lnTo>
                      <a:lnTo>
                        <a:pt x="7237" y="52810"/>
                      </a:lnTo>
                      <a:lnTo>
                        <a:pt x="7237" y="52810"/>
                      </a:lnTo>
                      <a:lnTo>
                        <a:pt x="4545" y="53767"/>
                      </a:lnTo>
                      <a:lnTo>
                        <a:pt x="1615" y="53707"/>
                      </a:lnTo>
                      <a:lnTo>
                        <a:pt x="0" y="53647"/>
                      </a:lnTo>
                    </a:path>
                  </a:pathLst>
                </a:custGeom>
                <a:noFill/>
                <a:ln w="6350" cap="flat">
                  <a:solidFill>
                    <a:schemeClr val="bg1">
                      <a:alpha val="80000"/>
                    </a:schemeClr>
                  </a:solidFill>
                  <a:prstDash val="solid"/>
                  <a:miter/>
                </a:ln>
              </p:spPr>
              <p:txBody>
                <a:bodyPr rtlCol="0" anchor="ctr"/>
                <a:lstStyle/>
                <a:p>
                  <a:endParaRPr lang="en-GB"/>
                </a:p>
              </p:txBody>
            </p:sp>
            <p:sp>
              <p:nvSpPr>
                <p:cNvPr id="7878" name="Vrije vorm: vorm 7877">
                  <a:extLst>
                    <a:ext uri="{FF2B5EF4-FFF2-40B4-BE49-F238E27FC236}">
                      <a16:creationId xmlns:a16="http://schemas.microsoft.com/office/drawing/2014/main" id="{2A56A492-88D5-426C-946E-5023C13E2752}"/>
                    </a:ext>
                  </a:extLst>
                </p:cNvPr>
                <p:cNvSpPr/>
                <p:nvPr/>
              </p:nvSpPr>
              <p:spPr>
                <a:xfrm>
                  <a:off x="5696238" y="5380177"/>
                  <a:ext cx="11303" cy="2033"/>
                </a:xfrm>
                <a:custGeom>
                  <a:avLst/>
                  <a:gdLst>
                    <a:gd name="connsiteX0" fmla="*/ 11304 w 11303"/>
                    <a:gd name="connsiteY0" fmla="*/ 2034 h 2033"/>
                    <a:gd name="connsiteX1" fmla="*/ 11065 w 11303"/>
                    <a:gd name="connsiteY1" fmla="*/ 1914 h 2033"/>
                    <a:gd name="connsiteX2" fmla="*/ 10586 w 11303"/>
                    <a:gd name="connsiteY2" fmla="*/ 1674 h 2033"/>
                    <a:gd name="connsiteX3" fmla="*/ 10048 w 11303"/>
                    <a:gd name="connsiteY3" fmla="*/ 1435 h 2033"/>
                    <a:gd name="connsiteX4" fmla="*/ 9749 w 11303"/>
                    <a:gd name="connsiteY4" fmla="*/ 1316 h 2033"/>
                    <a:gd name="connsiteX5" fmla="*/ 8194 w 11303"/>
                    <a:gd name="connsiteY5" fmla="*/ 837 h 2033"/>
                    <a:gd name="connsiteX6" fmla="*/ 8074 w 11303"/>
                    <a:gd name="connsiteY6" fmla="*/ 778 h 2033"/>
                    <a:gd name="connsiteX7" fmla="*/ 6579 w 11303"/>
                    <a:gd name="connsiteY7" fmla="*/ 479 h 2033"/>
                    <a:gd name="connsiteX8" fmla="*/ 4904 w 11303"/>
                    <a:gd name="connsiteY8" fmla="*/ 299 h 2033"/>
                    <a:gd name="connsiteX9" fmla="*/ 2034 w 11303"/>
                    <a:gd name="connsiteY9" fmla="*/ 120 h 2033"/>
                    <a:gd name="connsiteX10" fmla="*/ 0 w 11303"/>
                    <a:gd name="connsiteY10" fmla="*/ 0 h 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03" h="2033">
                      <a:moveTo>
                        <a:pt x="11304" y="2034"/>
                      </a:moveTo>
                      <a:lnTo>
                        <a:pt x="11065" y="1914"/>
                      </a:lnTo>
                      <a:lnTo>
                        <a:pt x="10586" y="1674"/>
                      </a:lnTo>
                      <a:lnTo>
                        <a:pt x="10048" y="1435"/>
                      </a:lnTo>
                      <a:lnTo>
                        <a:pt x="9749" y="1316"/>
                      </a:lnTo>
                      <a:lnTo>
                        <a:pt x="8194" y="837"/>
                      </a:lnTo>
                      <a:lnTo>
                        <a:pt x="8074" y="778"/>
                      </a:lnTo>
                      <a:lnTo>
                        <a:pt x="6579" y="479"/>
                      </a:lnTo>
                      <a:lnTo>
                        <a:pt x="4904" y="299"/>
                      </a:lnTo>
                      <a:lnTo>
                        <a:pt x="2034" y="12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79" name="Vrije vorm: vorm 7878">
                  <a:extLst>
                    <a:ext uri="{FF2B5EF4-FFF2-40B4-BE49-F238E27FC236}">
                      <a16:creationId xmlns:a16="http://schemas.microsoft.com/office/drawing/2014/main" id="{E3C7FB22-144E-445E-802D-5CF03C169CBC}"/>
                    </a:ext>
                  </a:extLst>
                </p:cNvPr>
                <p:cNvSpPr/>
                <p:nvPr/>
              </p:nvSpPr>
              <p:spPr>
                <a:xfrm>
                  <a:off x="5706346" y="5381673"/>
                  <a:ext cx="3289" cy="2930"/>
                </a:xfrm>
                <a:custGeom>
                  <a:avLst/>
                  <a:gdLst>
                    <a:gd name="connsiteX0" fmla="*/ 3289 w 3289"/>
                    <a:gd name="connsiteY0" fmla="*/ 2930 h 2930"/>
                    <a:gd name="connsiteX1" fmla="*/ 2572 w 3289"/>
                    <a:gd name="connsiteY1" fmla="*/ 2153 h 2930"/>
                    <a:gd name="connsiteX2" fmla="*/ 2572 w 3289"/>
                    <a:gd name="connsiteY2" fmla="*/ 2153 h 2930"/>
                    <a:gd name="connsiteX3" fmla="*/ 2273 w 3289"/>
                    <a:gd name="connsiteY3" fmla="*/ 1854 h 2930"/>
                    <a:gd name="connsiteX4" fmla="*/ 2153 w 3289"/>
                    <a:gd name="connsiteY4" fmla="*/ 1734 h 2930"/>
                    <a:gd name="connsiteX5" fmla="*/ 1974 w 3289"/>
                    <a:gd name="connsiteY5" fmla="*/ 1555 h 2930"/>
                    <a:gd name="connsiteX6" fmla="*/ 1136 w 3289"/>
                    <a:gd name="connsiteY6" fmla="*/ 837 h 2930"/>
                    <a:gd name="connsiteX7" fmla="*/ 1017 w 3289"/>
                    <a:gd name="connsiteY7" fmla="*/ 718 h 2930"/>
                    <a:gd name="connsiteX8" fmla="*/ 538 w 3289"/>
                    <a:gd name="connsiteY8" fmla="*/ 359 h 2930"/>
                    <a:gd name="connsiteX9" fmla="*/ 0 w 3289"/>
                    <a:gd name="connsiteY9" fmla="*/ 0 h 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9" h="2930">
                      <a:moveTo>
                        <a:pt x="3289" y="2930"/>
                      </a:moveTo>
                      <a:lnTo>
                        <a:pt x="2572" y="2153"/>
                      </a:lnTo>
                      <a:lnTo>
                        <a:pt x="2572" y="2153"/>
                      </a:lnTo>
                      <a:lnTo>
                        <a:pt x="2273" y="1854"/>
                      </a:lnTo>
                      <a:lnTo>
                        <a:pt x="2153" y="1734"/>
                      </a:lnTo>
                      <a:lnTo>
                        <a:pt x="1974" y="1555"/>
                      </a:lnTo>
                      <a:lnTo>
                        <a:pt x="1136" y="837"/>
                      </a:lnTo>
                      <a:lnTo>
                        <a:pt x="1017" y="718"/>
                      </a:lnTo>
                      <a:lnTo>
                        <a:pt x="538" y="35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80" name="Vrije vorm: vorm 7879">
                  <a:extLst>
                    <a:ext uri="{FF2B5EF4-FFF2-40B4-BE49-F238E27FC236}">
                      <a16:creationId xmlns:a16="http://schemas.microsoft.com/office/drawing/2014/main" id="{3BB988A1-6353-48C6-B722-AD29819398AA}"/>
                    </a:ext>
                  </a:extLst>
                </p:cNvPr>
                <p:cNvSpPr/>
                <p:nvPr/>
              </p:nvSpPr>
              <p:spPr>
                <a:xfrm>
                  <a:off x="5647376" y="5335621"/>
                  <a:ext cx="68658" cy="9928"/>
                </a:xfrm>
                <a:custGeom>
                  <a:avLst/>
                  <a:gdLst>
                    <a:gd name="connsiteX0" fmla="*/ 0 w 68658"/>
                    <a:gd name="connsiteY0" fmla="*/ 0 h 9928"/>
                    <a:gd name="connsiteX1" fmla="*/ 2811 w 68658"/>
                    <a:gd name="connsiteY1" fmla="*/ 419 h 9928"/>
                    <a:gd name="connsiteX2" fmla="*/ 5622 w 68658"/>
                    <a:gd name="connsiteY2" fmla="*/ 837 h 9928"/>
                    <a:gd name="connsiteX3" fmla="*/ 8433 w 68658"/>
                    <a:gd name="connsiteY3" fmla="*/ 1256 h 9928"/>
                    <a:gd name="connsiteX4" fmla="*/ 11244 w 68658"/>
                    <a:gd name="connsiteY4" fmla="*/ 1675 h 9928"/>
                    <a:gd name="connsiteX5" fmla="*/ 14055 w 68658"/>
                    <a:gd name="connsiteY5" fmla="*/ 2093 h 9928"/>
                    <a:gd name="connsiteX6" fmla="*/ 16866 w 68658"/>
                    <a:gd name="connsiteY6" fmla="*/ 2512 h 9928"/>
                    <a:gd name="connsiteX7" fmla="*/ 19676 w 68658"/>
                    <a:gd name="connsiteY7" fmla="*/ 2930 h 9928"/>
                    <a:gd name="connsiteX8" fmla="*/ 22488 w 68658"/>
                    <a:gd name="connsiteY8" fmla="*/ 3349 h 9928"/>
                    <a:gd name="connsiteX9" fmla="*/ 25298 w 68658"/>
                    <a:gd name="connsiteY9" fmla="*/ 3768 h 9928"/>
                    <a:gd name="connsiteX10" fmla="*/ 28109 w 68658"/>
                    <a:gd name="connsiteY10" fmla="*/ 4187 h 9928"/>
                    <a:gd name="connsiteX11" fmla="*/ 30920 w 68658"/>
                    <a:gd name="connsiteY11" fmla="*/ 4605 h 9928"/>
                    <a:gd name="connsiteX12" fmla="*/ 33731 w 68658"/>
                    <a:gd name="connsiteY12" fmla="*/ 5024 h 9928"/>
                    <a:gd name="connsiteX13" fmla="*/ 36542 w 68658"/>
                    <a:gd name="connsiteY13" fmla="*/ 5443 h 9928"/>
                    <a:gd name="connsiteX14" fmla="*/ 39353 w 68658"/>
                    <a:gd name="connsiteY14" fmla="*/ 5861 h 9928"/>
                    <a:gd name="connsiteX15" fmla="*/ 42164 w 68658"/>
                    <a:gd name="connsiteY15" fmla="*/ 6280 h 9928"/>
                    <a:gd name="connsiteX16" fmla="*/ 44975 w 68658"/>
                    <a:gd name="connsiteY16" fmla="*/ 6698 h 9928"/>
                    <a:gd name="connsiteX17" fmla="*/ 47786 w 68658"/>
                    <a:gd name="connsiteY17" fmla="*/ 7117 h 9928"/>
                    <a:gd name="connsiteX18" fmla="*/ 50597 w 68658"/>
                    <a:gd name="connsiteY18" fmla="*/ 7536 h 9928"/>
                    <a:gd name="connsiteX19" fmla="*/ 53408 w 68658"/>
                    <a:gd name="connsiteY19" fmla="*/ 7954 h 9928"/>
                    <a:gd name="connsiteX20" fmla="*/ 56219 w 68658"/>
                    <a:gd name="connsiteY20" fmla="*/ 8373 h 9928"/>
                    <a:gd name="connsiteX21" fmla="*/ 59030 w 68658"/>
                    <a:gd name="connsiteY21" fmla="*/ 8792 h 9928"/>
                    <a:gd name="connsiteX22" fmla="*/ 61841 w 68658"/>
                    <a:gd name="connsiteY22" fmla="*/ 9211 h 9928"/>
                    <a:gd name="connsiteX23" fmla="*/ 65309 w 68658"/>
                    <a:gd name="connsiteY23" fmla="*/ 9749 h 9928"/>
                    <a:gd name="connsiteX24" fmla="*/ 66984 w 68658"/>
                    <a:gd name="connsiteY24" fmla="*/ 9928 h 9928"/>
                    <a:gd name="connsiteX25" fmla="*/ 67163 w 68658"/>
                    <a:gd name="connsiteY25" fmla="*/ 9928 h 9928"/>
                    <a:gd name="connsiteX26" fmla="*/ 68659 w 68658"/>
                    <a:gd name="connsiteY26" fmla="*/ 9928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658" h="9928">
                      <a:moveTo>
                        <a:pt x="0" y="0"/>
                      </a:moveTo>
                      <a:lnTo>
                        <a:pt x="2811" y="419"/>
                      </a:lnTo>
                      <a:lnTo>
                        <a:pt x="5622" y="837"/>
                      </a:lnTo>
                      <a:lnTo>
                        <a:pt x="8433" y="1256"/>
                      </a:lnTo>
                      <a:lnTo>
                        <a:pt x="11244" y="1675"/>
                      </a:lnTo>
                      <a:lnTo>
                        <a:pt x="14055" y="2093"/>
                      </a:lnTo>
                      <a:lnTo>
                        <a:pt x="16866" y="2512"/>
                      </a:lnTo>
                      <a:lnTo>
                        <a:pt x="19676" y="2930"/>
                      </a:lnTo>
                      <a:lnTo>
                        <a:pt x="22488" y="3349"/>
                      </a:lnTo>
                      <a:lnTo>
                        <a:pt x="25298" y="3768"/>
                      </a:lnTo>
                      <a:lnTo>
                        <a:pt x="28109" y="4187"/>
                      </a:lnTo>
                      <a:lnTo>
                        <a:pt x="30920" y="4605"/>
                      </a:lnTo>
                      <a:lnTo>
                        <a:pt x="33731" y="5024"/>
                      </a:lnTo>
                      <a:lnTo>
                        <a:pt x="36542" y="5443"/>
                      </a:lnTo>
                      <a:lnTo>
                        <a:pt x="39353" y="5861"/>
                      </a:lnTo>
                      <a:lnTo>
                        <a:pt x="42164" y="6280"/>
                      </a:lnTo>
                      <a:lnTo>
                        <a:pt x="44975" y="6698"/>
                      </a:lnTo>
                      <a:lnTo>
                        <a:pt x="47786" y="7117"/>
                      </a:lnTo>
                      <a:lnTo>
                        <a:pt x="50597" y="7536"/>
                      </a:lnTo>
                      <a:lnTo>
                        <a:pt x="53408" y="7954"/>
                      </a:lnTo>
                      <a:lnTo>
                        <a:pt x="56219" y="8373"/>
                      </a:lnTo>
                      <a:lnTo>
                        <a:pt x="59030" y="8792"/>
                      </a:lnTo>
                      <a:lnTo>
                        <a:pt x="61841" y="9211"/>
                      </a:lnTo>
                      <a:lnTo>
                        <a:pt x="65309" y="9749"/>
                      </a:lnTo>
                      <a:lnTo>
                        <a:pt x="66984" y="9928"/>
                      </a:lnTo>
                      <a:lnTo>
                        <a:pt x="67163" y="9928"/>
                      </a:lnTo>
                      <a:lnTo>
                        <a:pt x="68659" y="9928"/>
                      </a:lnTo>
                    </a:path>
                  </a:pathLst>
                </a:custGeom>
                <a:noFill/>
                <a:ln w="6350" cap="flat">
                  <a:solidFill>
                    <a:schemeClr val="bg1">
                      <a:alpha val="80000"/>
                    </a:schemeClr>
                  </a:solidFill>
                  <a:prstDash val="solid"/>
                  <a:miter/>
                </a:ln>
              </p:spPr>
              <p:txBody>
                <a:bodyPr rtlCol="0" anchor="ctr"/>
                <a:lstStyle/>
                <a:p>
                  <a:endParaRPr lang="en-GB"/>
                </a:p>
              </p:txBody>
            </p:sp>
            <p:sp>
              <p:nvSpPr>
                <p:cNvPr id="7881" name="Vrije vorm: vorm 7880">
                  <a:extLst>
                    <a:ext uri="{FF2B5EF4-FFF2-40B4-BE49-F238E27FC236}">
                      <a16:creationId xmlns:a16="http://schemas.microsoft.com/office/drawing/2014/main" id="{974DAD61-842C-4BA1-A9B0-C70AA1BFDB6E}"/>
                    </a:ext>
                  </a:extLst>
                </p:cNvPr>
                <p:cNvSpPr/>
                <p:nvPr/>
              </p:nvSpPr>
              <p:spPr>
                <a:xfrm>
                  <a:off x="5714659" y="5344532"/>
                  <a:ext cx="5263" cy="1196"/>
                </a:xfrm>
                <a:custGeom>
                  <a:avLst/>
                  <a:gdLst>
                    <a:gd name="connsiteX0" fmla="*/ 0 w 5263"/>
                    <a:gd name="connsiteY0" fmla="*/ 1196 h 1196"/>
                    <a:gd name="connsiteX1" fmla="*/ 299 w 5263"/>
                    <a:gd name="connsiteY1" fmla="*/ 1196 h 1196"/>
                    <a:gd name="connsiteX2" fmla="*/ 1974 w 5263"/>
                    <a:gd name="connsiteY2" fmla="*/ 897 h 1196"/>
                    <a:gd name="connsiteX3" fmla="*/ 3349 w 5263"/>
                    <a:gd name="connsiteY3" fmla="*/ 538 h 1196"/>
                    <a:gd name="connsiteX4" fmla="*/ 3648 w 5263"/>
                    <a:gd name="connsiteY4" fmla="*/ 479 h 1196"/>
                    <a:gd name="connsiteX5" fmla="*/ 4187 w 5263"/>
                    <a:gd name="connsiteY5" fmla="*/ 299 h 1196"/>
                    <a:gd name="connsiteX6" fmla="*/ 4785 w 5263"/>
                    <a:gd name="connsiteY6" fmla="*/ 120 h 1196"/>
                    <a:gd name="connsiteX7" fmla="*/ 5024 w 5263"/>
                    <a:gd name="connsiteY7" fmla="*/ 60 h 1196"/>
                    <a:gd name="connsiteX8" fmla="*/ 5203 w 5263"/>
                    <a:gd name="connsiteY8" fmla="*/ 0 h 1196"/>
                    <a:gd name="connsiteX9" fmla="*/ 5263 w 5263"/>
                    <a:gd name="connsiteY9" fmla="*/ 0 h 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3" h="1196">
                      <a:moveTo>
                        <a:pt x="0" y="1196"/>
                      </a:moveTo>
                      <a:lnTo>
                        <a:pt x="299" y="1196"/>
                      </a:lnTo>
                      <a:lnTo>
                        <a:pt x="1974" y="897"/>
                      </a:lnTo>
                      <a:lnTo>
                        <a:pt x="3349" y="538"/>
                      </a:lnTo>
                      <a:lnTo>
                        <a:pt x="3648" y="479"/>
                      </a:lnTo>
                      <a:lnTo>
                        <a:pt x="4187" y="299"/>
                      </a:lnTo>
                      <a:lnTo>
                        <a:pt x="4785" y="120"/>
                      </a:lnTo>
                      <a:lnTo>
                        <a:pt x="5024" y="60"/>
                      </a:lnTo>
                      <a:lnTo>
                        <a:pt x="5203" y="0"/>
                      </a:lnTo>
                      <a:lnTo>
                        <a:pt x="5263" y="0"/>
                      </a:lnTo>
                    </a:path>
                  </a:pathLst>
                </a:custGeom>
                <a:noFill/>
                <a:ln w="6350" cap="flat">
                  <a:solidFill>
                    <a:schemeClr val="bg1">
                      <a:alpha val="80000"/>
                    </a:schemeClr>
                  </a:solidFill>
                  <a:prstDash val="solid"/>
                  <a:miter/>
                </a:ln>
              </p:spPr>
              <p:txBody>
                <a:bodyPr rtlCol="0" anchor="ctr"/>
                <a:lstStyle/>
                <a:p>
                  <a:endParaRPr lang="en-GB"/>
                </a:p>
              </p:txBody>
            </p:sp>
            <p:sp>
              <p:nvSpPr>
                <p:cNvPr id="7882" name="Vrije vorm: vorm 7881">
                  <a:extLst>
                    <a:ext uri="{FF2B5EF4-FFF2-40B4-BE49-F238E27FC236}">
                      <a16:creationId xmlns:a16="http://schemas.microsoft.com/office/drawing/2014/main" id="{3BE0FEEE-77D3-437C-8418-46FC174D4D76}"/>
                    </a:ext>
                  </a:extLst>
                </p:cNvPr>
                <p:cNvSpPr/>
                <p:nvPr/>
              </p:nvSpPr>
              <p:spPr>
                <a:xfrm>
                  <a:off x="5718906" y="5342618"/>
                  <a:ext cx="3528" cy="2213"/>
                </a:xfrm>
                <a:custGeom>
                  <a:avLst/>
                  <a:gdLst>
                    <a:gd name="connsiteX0" fmla="*/ 0 w 3528"/>
                    <a:gd name="connsiteY0" fmla="*/ 2213 h 2213"/>
                    <a:gd name="connsiteX1" fmla="*/ 658 w 3528"/>
                    <a:gd name="connsiteY1" fmla="*/ 1854 h 2213"/>
                    <a:gd name="connsiteX2" fmla="*/ 778 w 3528"/>
                    <a:gd name="connsiteY2" fmla="*/ 1795 h 2213"/>
                    <a:gd name="connsiteX3" fmla="*/ 1316 w 3528"/>
                    <a:gd name="connsiteY3" fmla="*/ 1495 h 2213"/>
                    <a:gd name="connsiteX4" fmla="*/ 1375 w 3528"/>
                    <a:gd name="connsiteY4" fmla="*/ 1436 h 2213"/>
                    <a:gd name="connsiteX5" fmla="*/ 2093 w 3528"/>
                    <a:gd name="connsiteY5" fmla="*/ 1017 h 2213"/>
                    <a:gd name="connsiteX6" fmla="*/ 3528 w 3528"/>
                    <a:gd name="connsiteY6" fmla="*/ 0 h 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8" h="2213">
                      <a:moveTo>
                        <a:pt x="0" y="2213"/>
                      </a:moveTo>
                      <a:lnTo>
                        <a:pt x="658" y="1854"/>
                      </a:lnTo>
                      <a:lnTo>
                        <a:pt x="778" y="1795"/>
                      </a:lnTo>
                      <a:lnTo>
                        <a:pt x="1316" y="1495"/>
                      </a:lnTo>
                      <a:lnTo>
                        <a:pt x="1375" y="1436"/>
                      </a:lnTo>
                      <a:lnTo>
                        <a:pt x="2093" y="1017"/>
                      </a:lnTo>
                      <a:lnTo>
                        <a:pt x="3528" y="0"/>
                      </a:lnTo>
                    </a:path>
                  </a:pathLst>
                </a:custGeom>
                <a:noFill/>
                <a:ln w="6350" cap="flat">
                  <a:solidFill>
                    <a:schemeClr val="bg1">
                      <a:alpha val="80000"/>
                    </a:schemeClr>
                  </a:solidFill>
                  <a:prstDash val="solid"/>
                  <a:miter/>
                </a:ln>
              </p:spPr>
              <p:txBody>
                <a:bodyPr rtlCol="0" anchor="ctr"/>
                <a:lstStyle/>
                <a:p>
                  <a:endParaRPr lang="en-GB"/>
                </a:p>
              </p:txBody>
            </p:sp>
            <p:sp>
              <p:nvSpPr>
                <p:cNvPr id="7883" name="Vrije vorm: vorm 7882">
                  <a:extLst>
                    <a:ext uri="{FF2B5EF4-FFF2-40B4-BE49-F238E27FC236}">
                      <a16:creationId xmlns:a16="http://schemas.microsoft.com/office/drawing/2014/main" id="{A66B651C-CC06-4EFC-A6F6-77678808EE1E}"/>
                    </a:ext>
                  </a:extLst>
                </p:cNvPr>
                <p:cNvSpPr/>
                <p:nvPr/>
              </p:nvSpPr>
              <p:spPr>
                <a:xfrm>
                  <a:off x="5708499" y="5383347"/>
                  <a:ext cx="956" cy="1854"/>
                </a:xfrm>
                <a:custGeom>
                  <a:avLst/>
                  <a:gdLst>
                    <a:gd name="connsiteX0" fmla="*/ 957 w 956"/>
                    <a:gd name="connsiteY0" fmla="*/ 1854 h 1854"/>
                    <a:gd name="connsiteX1" fmla="*/ 957 w 956"/>
                    <a:gd name="connsiteY1" fmla="*/ 1854 h 1854"/>
                    <a:gd name="connsiteX2" fmla="*/ 359 w 956"/>
                    <a:gd name="connsiteY2" fmla="*/ 598 h 1854"/>
                    <a:gd name="connsiteX3" fmla="*/ 0 w 956"/>
                    <a:gd name="connsiteY3" fmla="*/ 0 h 1854"/>
                  </a:gdLst>
                  <a:ahLst/>
                  <a:cxnLst>
                    <a:cxn ang="0">
                      <a:pos x="connsiteX0" y="connsiteY0"/>
                    </a:cxn>
                    <a:cxn ang="0">
                      <a:pos x="connsiteX1" y="connsiteY1"/>
                    </a:cxn>
                    <a:cxn ang="0">
                      <a:pos x="connsiteX2" y="connsiteY2"/>
                    </a:cxn>
                    <a:cxn ang="0">
                      <a:pos x="connsiteX3" y="connsiteY3"/>
                    </a:cxn>
                  </a:cxnLst>
                  <a:rect l="l" t="t" r="r" b="b"/>
                  <a:pathLst>
                    <a:path w="956" h="1854">
                      <a:moveTo>
                        <a:pt x="957" y="1854"/>
                      </a:moveTo>
                      <a:lnTo>
                        <a:pt x="957" y="1854"/>
                      </a:lnTo>
                      <a:lnTo>
                        <a:pt x="359" y="598"/>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84" name="Vrije vorm: vorm 7883">
                  <a:extLst>
                    <a:ext uri="{FF2B5EF4-FFF2-40B4-BE49-F238E27FC236}">
                      <a16:creationId xmlns:a16="http://schemas.microsoft.com/office/drawing/2014/main" id="{C869A7E1-0212-4ACE-BA13-50064EC527DA}"/>
                    </a:ext>
                  </a:extLst>
                </p:cNvPr>
                <p:cNvSpPr/>
                <p:nvPr/>
              </p:nvSpPr>
              <p:spPr>
                <a:xfrm>
                  <a:off x="5719743" y="5333827"/>
                  <a:ext cx="21052" cy="10585"/>
                </a:xfrm>
                <a:custGeom>
                  <a:avLst/>
                  <a:gdLst>
                    <a:gd name="connsiteX0" fmla="*/ 0 w 21052"/>
                    <a:gd name="connsiteY0" fmla="*/ 10586 h 10585"/>
                    <a:gd name="connsiteX1" fmla="*/ 2273 w 21052"/>
                    <a:gd name="connsiteY1" fmla="*/ 8014 h 10585"/>
                    <a:gd name="connsiteX2" fmla="*/ 3349 w 21052"/>
                    <a:gd name="connsiteY2" fmla="*/ 6818 h 10585"/>
                    <a:gd name="connsiteX3" fmla="*/ 3469 w 21052"/>
                    <a:gd name="connsiteY3" fmla="*/ 6758 h 10585"/>
                    <a:gd name="connsiteX4" fmla="*/ 6340 w 21052"/>
                    <a:gd name="connsiteY4" fmla="*/ 4545 h 10585"/>
                    <a:gd name="connsiteX5" fmla="*/ 8014 w 21052"/>
                    <a:gd name="connsiteY5" fmla="*/ 3229 h 10585"/>
                    <a:gd name="connsiteX6" fmla="*/ 8852 w 21052"/>
                    <a:gd name="connsiteY6" fmla="*/ 2572 h 10585"/>
                    <a:gd name="connsiteX7" fmla="*/ 8852 w 21052"/>
                    <a:gd name="connsiteY7" fmla="*/ 2572 h 10585"/>
                    <a:gd name="connsiteX8" fmla="*/ 9510 w 21052"/>
                    <a:gd name="connsiteY8" fmla="*/ 2273 h 10585"/>
                    <a:gd name="connsiteX9" fmla="*/ 12560 w 21052"/>
                    <a:gd name="connsiteY9" fmla="*/ 1017 h 10585"/>
                    <a:gd name="connsiteX10" fmla="*/ 14474 w 21052"/>
                    <a:gd name="connsiteY10" fmla="*/ 239 h 10585"/>
                    <a:gd name="connsiteX11" fmla="*/ 17404 w 21052"/>
                    <a:gd name="connsiteY11" fmla="*/ 120 h 10585"/>
                    <a:gd name="connsiteX12" fmla="*/ 18720 w 21052"/>
                    <a:gd name="connsiteY12" fmla="*/ 60 h 10585"/>
                    <a:gd name="connsiteX13" fmla="*/ 19737 w 21052"/>
                    <a:gd name="connsiteY13" fmla="*/ 0 h 10585"/>
                    <a:gd name="connsiteX14" fmla="*/ 21052 w 21052"/>
                    <a:gd name="connsiteY14" fmla="*/ 239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052" h="10585">
                      <a:moveTo>
                        <a:pt x="0" y="10586"/>
                      </a:moveTo>
                      <a:lnTo>
                        <a:pt x="2273" y="8014"/>
                      </a:lnTo>
                      <a:lnTo>
                        <a:pt x="3349" y="6818"/>
                      </a:lnTo>
                      <a:lnTo>
                        <a:pt x="3469" y="6758"/>
                      </a:lnTo>
                      <a:lnTo>
                        <a:pt x="6340" y="4545"/>
                      </a:lnTo>
                      <a:lnTo>
                        <a:pt x="8014" y="3229"/>
                      </a:lnTo>
                      <a:lnTo>
                        <a:pt x="8852" y="2572"/>
                      </a:lnTo>
                      <a:lnTo>
                        <a:pt x="8852" y="2572"/>
                      </a:lnTo>
                      <a:lnTo>
                        <a:pt x="9510" y="2273"/>
                      </a:lnTo>
                      <a:lnTo>
                        <a:pt x="12560" y="1017"/>
                      </a:lnTo>
                      <a:lnTo>
                        <a:pt x="14474" y="239"/>
                      </a:lnTo>
                      <a:lnTo>
                        <a:pt x="17404" y="120"/>
                      </a:lnTo>
                      <a:lnTo>
                        <a:pt x="18720" y="60"/>
                      </a:lnTo>
                      <a:lnTo>
                        <a:pt x="19737" y="0"/>
                      </a:lnTo>
                      <a:lnTo>
                        <a:pt x="21052" y="239"/>
                      </a:lnTo>
                    </a:path>
                  </a:pathLst>
                </a:custGeom>
                <a:noFill/>
                <a:ln w="6350" cap="flat">
                  <a:solidFill>
                    <a:schemeClr val="bg1">
                      <a:alpha val="80000"/>
                    </a:schemeClr>
                  </a:solidFill>
                  <a:prstDash val="solid"/>
                  <a:miter/>
                </a:ln>
              </p:spPr>
              <p:txBody>
                <a:bodyPr rtlCol="0" anchor="ctr"/>
                <a:lstStyle/>
                <a:p>
                  <a:endParaRPr lang="en-GB"/>
                </a:p>
              </p:txBody>
            </p:sp>
            <p:sp>
              <p:nvSpPr>
                <p:cNvPr id="7885" name="Vrije vorm: vorm 7884">
                  <a:extLst>
                    <a:ext uri="{FF2B5EF4-FFF2-40B4-BE49-F238E27FC236}">
                      <a16:creationId xmlns:a16="http://schemas.microsoft.com/office/drawing/2014/main" id="{03707225-607D-4B3E-BA63-8521232839FB}"/>
                    </a:ext>
                  </a:extLst>
                </p:cNvPr>
                <p:cNvSpPr/>
                <p:nvPr/>
              </p:nvSpPr>
              <p:spPr>
                <a:xfrm>
                  <a:off x="5708320" y="5333887"/>
                  <a:ext cx="43240" cy="63754"/>
                </a:xfrm>
                <a:custGeom>
                  <a:avLst/>
                  <a:gdLst>
                    <a:gd name="connsiteX0" fmla="*/ 31160 w 43240"/>
                    <a:gd name="connsiteY0" fmla="*/ 0 h 63754"/>
                    <a:gd name="connsiteX1" fmla="*/ 31817 w 43240"/>
                    <a:gd name="connsiteY1" fmla="*/ 299 h 63754"/>
                    <a:gd name="connsiteX2" fmla="*/ 34389 w 43240"/>
                    <a:gd name="connsiteY2" fmla="*/ 1375 h 63754"/>
                    <a:gd name="connsiteX3" fmla="*/ 35884 w 43240"/>
                    <a:gd name="connsiteY3" fmla="*/ 1974 h 63754"/>
                    <a:gd name="connsiteX4" fmla="*/ 37858 w 43240"/>
                    <a:gd name="connsiteY4" fmla="*/ 4067 h 63754"/>
                    <a:gd name="connsiteX5" fmla="*/ 39652 w 43240"/>
                    <a:gd name="connsiteY5" fmla="*/ 5981 h 63754"/>
                    <a:gd name="connsiteX6" fmla="*/ 40908 w 43240"/>
                    <a:gd name="connsiteY6" fmla="*/ 8851 h 63754"/>
                    <a:gd name="connsiteX7" fmla="*/ 42164 w 43240"/>
                    <a:gd name="connsiteY7" fmla="*/ 11722 h 63754"/>
                    <a:gd name="connsiteX8" fmla="*/ 42164 w 43240"/>
                    <a:gd name="connsiteY8" fmla="*/ 11782 h 63754"/>
                    <a:gd name="connsiteX9" fmla="*/ 42643 w 43240"/>
                    <a:gd name="connsiteY9" fmla="*/ 15191 h 63754"/>
                    <a:gd name="connsiteX10" fmla="*/ 42942 w 43240"/>
                    <a:gd name="connsiteY10" fmla="*/ 17105 h 63754"/>
                    <a:gd name="connsiteX11" fmla="*/ 43241 w 43240"/>
                    <a:gd name="connsiteY11" fmla="*/ 19079 h 63754"/>
                    <a:gd name="connsiteX12" fmla="*/ 43121 w 43240"/>
                    <a:gd name="connsiteY12" fmla="*/ 21052 h 63754"/>
                    <a:gd name="connsiteX13" fmla="*/ 43121 w 43240"/>
                    <a:gd name="connsiteY13" fmla="*/ 21052 h 63754"/>
                    <a:gd name="connsiteX14" fmla="*/ 42882 w 43240"/>
                    <a:gd name="connsiteY14" fmla="*/ 24641 h 63754"/>
                    <a:gd name="connsiteX15" fmla="*/ 42882 w 43240"/>
                    <a:gd name="connsiteY15" fmla="*/ 24641 h 63754"/>
                    <a:gd name="connsiteX16" fmla="*/ 42762 w 43240"/>
                    <a:gd name="connsiteY16" fmla="*/ 26674 h 63754"/>
                    <a:gd name="connsiteX17" fmla="*/ 42702 w 43240"/>
                    <a:gd name="connsiteY17" fmla="*/ 27212 h 63754"/>
                    <a:gd name="connsiteX18" fmla="*/ 42583 w 43240"/>
                    <a:gd name="connsiteY18" fmla="*/ 27631 h 63754"/>
                    <a:gd name="connsiteX19" fmla="*/ 41685 w 43240"/>
                    <a:gd name="connsiteY19" fmla="*/ 31399 h 63754"/>
                    <a:gd name="connsiteX20" fmla="*/ 40968 w 43240"/>
                    <a:gd name="connsiteY20" fmla="*/ 34389 h 63754"/>
                    <a:gd name="connsiteX21" fmla="*/ 40669 w 43240"/>
                    <a:gd name="connsiteY21" fmla="*/ 35585 h 63754"/>
                    <a:gd name="connsiteX22" fmla="*/ 40609 w 43240"/>
                    <a:gd name="connsiteY22" fmla="*/ 35765 h 63754"/>
                    <a:gd name="connsiteX23" fmla="*/ 40011 w 43240"/>
                    <a:gd name="connsiteY23" fmla="*/ 37200 h 63754"/>
                    <a:gd name="connsiteX24" fmla="*/ 39413 w 43240"/>
                    <a:gd name="connsiteY24" fmla="*/ 38635 h 63754"/>
                    <a:gd name="connsiteX25" fmla="*/ 39353 w 43240"/>
                    <a:gd name="connsiteY25" fmla="*/ 38755 h 63754"/>
                    <a:gd name="connsiteX26" fmla="*/ 38636 w 43240"/>
                    <a:gd name="connsiteY26" fmla="*/ 40549 h 63754"/>
                    <a:gd name="connsiteX27" fmla="*/ 37559 w 43240"/>
                    <a:gd name="connsiteY27" fmla="*/ 43240 h 63754"/>
                    <a:gd name="connsiteX28" fmla="*/ 37200 w 43240"/>
                    <a:gd name="connsiteY28" fmla="*/ 44078 h 63754"/>
                    <a:gd name="connsiteX29" fmla="*/ 37200 w 43240"/>
                    <a:gd name="connsiteY29" fmla="*/ 44078 h 63754"/>
                    <a:gd name="connsiteX30" fmla="*/ 37200 w 43240"/>
                    <a:gd name="connsiteY30" fmla="*/ 44078 h 63754"/>
                    <a:gd name="connsiteX31" fmla="*/ 35167 w 43240"/>
                    <a:gd name="connsiteY31" fmla="*/ 47427 h 63754"/>
                    <a:gd name="connsiteX32" fmla="*/ 33133 w 43240"/>
                    <a:gd name="connsiteY32" fmla="*/ 50776 h 63754"/>
                    <a:gd name="connsiteX33" fmla="*/ 32714 w 43240"/>
                    <a:gd name="connsiteY33" fmla="*/ 51494 h 63754"/>
                    <a:gd name="connsiteX34" fmla="*/ 31997 w 43240"/>
                    <a:gd name="connsiteY34" fmla="*/ 52331 h 63754"/>
                    <a:gd name="connsiteX35" fmla="*/ 31519 w 43240"/>
                    <a:gd name="connsiteY35" fmla="*/ 52869 h 63754"/>
                    <a:gd name="connsiteX36" fmla="*/ 31160 w 43240"/>
                    <a:gd name="connsiteY36" fmla="*/ 53228 h 63754"/>
                    <a:gd name="connsiteX37" fmla="*/ 28588 w 43240"/>
                    <a:gd name="connsiteY37" fmla="*/ 56099 h 63754"/>
                    <a:gd name="connsiteX38" fmla="*/ 27511 w 43240"/>
                    <a:gd name="connsiteY38" fmla="*/ 57295 h 63754"/>
                    <a:gd name="connsiteX39" fmla="*/ 27272 w 43240"/>
                    <a:gd name="connsiteY39" fmla="*/ 57535 h 63754"/>
                    <a:gd name="connsiteX40" fmla="*/ 25956 w 43240"/>
                    <a:gd name="connsiteY40" fmla="*/ 58491 h 63754"/>
                    <a:gd name="connsiteX41" fmla="*/ 25956 w 43240"/>
                    <a:gd name="connsiteY41" fmla="*/ 58491 h 63754"/>
                    <a:gd name="connsiteX42" fmla="*/ 25418 w 43240"/>
                    <a:gd name="connsiteY42" fmla="*/ 58850 h 63754"/>
                    <a:gd name="connsiteX43" fmla="*/ 23923 w 43240"/>
                    <a:gd name="connsiteY43" fmla="*/ 59927 h 63754"/>
                    <a:gd name="connsiteX44" fmla="*/ 22906 w 43240"/>
                    <a:gd name="connsiteY44" fmla="*/ 60704 h 63754"/>
                    <a:gd name="connsiteX45" fmla="*/ 22906 w 43240"/>
                    <a:gd name="connsiteY45" fmla="*/ 60704 h 63754"/>
                    <a:gd name="connsiteX46" fmla="*/ 21530 w 43240"/>
                    <a:gd name="connsiteY46" fmla="*/ 61721 h 63754"/>
                    <a:gd name="connsiteX47" fmla="*/ 18481 w 43240"/>
                    <a:gd name="connsiteY47" fmla="*/ 62798 h 63754"/>
                    <a:gd name="connsiteX48" fmla="*/ 15789 w 43240"/>
                    <a:gd name="connsiteY48" fmla="*/ 63754 h 63754"/>
                    <a:gd name="connsiteX49" fmla="*/ 15789 w 43240"/>
                    <a:gd name="connsiteY49" fmla="*/ 63754 h 63754"/>
                    <a:gd name="connsiteX50" fmla="*/ 12859 w 43240"/>
                    <a:gd name="connsiteY50" fmla="*/ 63694 h 63754"/>
                    <a:gd name="connsiteX51" fmla="*/ 10406 w 43240"/>
                    <a:gd name="connsiteY51" fmla="*/ 63635 h 63754"/>
                    <a:gd name="connsiteX52" fmla="*/ 7954 w 43240"/>
                    <a:gd name="connsiteY52" fmla="*/ 62379 h 63754"/>
                    <a:gd name="connsiteX53" fmla="*/ 6459 w 43240"/>
                    <a:gd name="connsiteY53" fmla="*/ 61601 h 63754"/>
                    <a:gd name="connsiteX54" fmla="*/ 5861 w 43240"/>
                    <a:gd name="connsiteY54" fmla="*/ 61302 h 63754"/>
                    <a:gd name="connsiteX55" fmla="*/ 5383 w 43240"/>
                    <a:gd name="connsiteY55" fmla="*/ 60704 h 63754"/>
                    <a:gd name="connsiteX56" fmla="*/ 3529 w 43240"/>
                    <a:gd name="connsiteY56" fmla="*/ 58431 h 63754"/>
                    <a:gd name="connsiteX57" fmla="*/ 2333 w 43240"/>
                    <a:gd name="connsiteY57" fmla="*/ 56936 h 63754"/>
                    <a:gd name="connsiteX58" fmla="*/ 2034 w 43240"/>
                    <a:gd name="connsiteY58" fmla="*/ 56099 h 63754"/>
                    <a:gd name="connsiteX59" fmla="*/ 957 w 43240"/>
                    <a:gd name="connsiteY59" fmla="*/ 53109 h 63754"/>
                    <a:gd name="connsiteX60" fmla="*/ 837 w 43240"/>
                    <a:gd name="connsiteY60" fmla="*/ 52810 h 63754"/>
                    <a:gd name="connsiteX61" fmla="*/ 180 w 43240"/>
                    <a:gd name="connsiteY61" fmla="*/ 50955 h 63754"/>
                    <a:gd name="connsiteX62" fmla="*/ 0 w 43240"/>
                    <a:gd name="connsiteY62" fmla="*/ 49460 h 6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240" h="63754">
                      <a:moveTo>
                        <a:pt x="31160" y="0"/>
                      </a:moveTo>
                      <a:lnTo>
                        <a:pt x="31817" y="299"/>
                      </a:lnTo>
                      <a:lnTo>
                        <a:pt x="34389" y="1375"/>
                      </a:lnTo>
                      <a:lnTo>
                        <a:pt x="35884" y="1974"/>
                      </a:lnTo>
                      <a:lnTo>
                        <a:pt x="37858" y="4067"/>
                      </a:lnTo>
                      <a:lnTo>
                        <a:pt x="39652" y="5981"/>
                      </a:lnTo>
                      <a:lnTo>
                        <a:pt x="40908" y="8851"/>
                      </a:lnTo>
                      <a:lnTo>
                        <a:pt x="42164" y="11722"/>
                      </a:lnTo>
                      <a:lnTo>
                        <a:pt x="42164" y="11782"/>
                      </a:lnTo>
                      <a:lnTo>
                        <a:pt x="42643" y="15191"/>
                      </a:lnTo>
                      <a:lnTo>
                        <a:pt x="42942" y="17105"/>
                      </a:lnTo>
                      <a:lnTo>
                        <a:pt x="43241" y="19079"/>
                      </a:lnTo>
                      <a:lnTo>
                        <a:pt x="43121" y="21052"/>
                      </a:lnTo>
                      <a:lnTo>
                        <a:pt x="43121" y="21052"/>
                      </a:lnTo>
                      <a:lnTo>
                        <a:pt x="42882" y="24641"/>
                      </a:lnTo>
                      <a:lnTo>
                        <a:pt x="42882" y="24641"/>
                      </a:lnTo>
                      <a:lnTo>
                        <a:pt x="42762" y="26674"/>
                      </a:lnTo>
                      <a:lnTo>
                        <a:pt x="42702" y="27212"/>
                      </a:lnTo>
                      <a:lnTo>
                        <a:pt x="42583" y="27631"/>
                      </a:lnTo>
                      <a:lnTo>
                        <a:pt x="41685" y="31399"/>
                      </a:lnTo>
                      <a:lnTo>
                        <a:pt x="40968" y="34389"/>
                      </a:lnTo>
                      <a:lnTo>
                        <a:pt x="40669" y="35585"/>
                      </a:lnTo>
                      <a:lnTo>
                        <a:pt x="40609" y="35765"/>
                      </a:lnTo>
                      <a:lnTo>
                        <a:pt x="40011" y="37200"/>
                      </a:lnTo>
                      <a:lnTo>
                        <a:pt x="39413" y="38635"/>
                      </a:lnTo>
                      <a:lnTo>
                        <a:pt x="39353" y="38755"/>
                      </a:lnTo>
                      <a:lnTo>
                        <a:pt x="38636" y="40549"/>
                      </a:lnTo>
                      <a:lnTo>
                        <a:pt x="37559" y="43240"/>
                      </a:lnTo>
                      <a:lnTo>
                        <a:pt x="37200" y="44078"/>
                      </a:lnTo>
                      <a:lnTo>
                        <a:pt x="37200" y="44078"/>
                      </a:lnTo>
                      <a:lnTo>
                        <a:pt x="37200" y="44078"/>
                      </a:lnTo>
                      <a:lnTo>
                        <a:pt x="35167" y="47427"/>
                      </a:lnTo>
                      <a:lnTo>
                        <a:pt x="33133" y="50776"/>
                      </a:lnTo>
                      <a:lnTo>
                        <a:pt x="32714" y="51494"/>
                      </a:lnTo>
                      <a:lnTo>
                        <a:pt x="31997" y="52331"/>
                      </a:lnTo>
                      <a:lnTo>
                        <a:pt x="31519" y="52869"/>
                      </a:lnTo>
                      <a:lnTo>
                        <a:pt x="31160" y="53228"/>
                      </a:lnTo>
                      <a:lnTo>
                        <a:pt x="28588" y="56099"/>
                      </a:lnTo>
                      <a:lnTo>
                        <a:pt x="27511" y="57295"/>
                      </a:lnTo>
                      <a:lnTo>
                        <a:pt x="27272" y="57535"/>
                      </a:lnTo>
                      <a:lnTo>
                        <a:pt x="25956" y="58491"/>
                      </a:lnTo>
                      <a:lnTo>
                        <a:pt x="25956" y="58491"/>
                      </a:lnTo>
                      <a:lnTo>
                        <a:pt x="25418" y="58850"/>
                      </a:lnTo>
                      <a:lnTo>
                        <a:pt x="23923" y="59927"/>
                      </a:lnTo>
                      <a:lnTo>
                        <a:pt x="22906" y="60704"/>
                      </a:lnTo>
                      <a:lnTo>
                        <a:pt x="22906" y="60704"/>
                      </a:lnTo>
                      <a:lnTo>
                        <a:pt x="21530" y="61721"/>
                      </a:lnTo>
                      <a:lnTo>
                        <a:pt x="18481" y="62798"/>
                      </a:lnTo>
                      <a:lnTo>
                        <a:pt x="15789" y="63754"/>
                      </a:lnTo>
                      <a:lnTo>
                        <a:pt x="15789" y="63754"/>
                      </a:lnTo>
                      <a:lnTo>
                        <a:pt x="12859" y="63694"/>
                      </a:lnTo>
                      <a:lnTo>
                        <a:pt x="10406" y="63635"/>
                      </a:lnTo>
                      <a:lnTo>
                        <a:pt x="7954" y="62379"/>
                      </a:lnTo>
                      <a:lnTo>
                        <a:pt x="6459" y="61601"/>
                      </a:lnTo>
                      <a:lnTo>
                        <a:pt x="5861" y="61302"/>
                      </a:lnTo>
                      <a:lnTo>
                        <a:pt x="5383" y="60704"/>
                      </a:lnTo>
                      <a:lnTo>
                        <a:pt x="3529" y="58431"/>
                      </a:lnTo>
                      <a:lnTo>
                        <a:pt x="2333" y="56936"/>
                      </a:lnTo>
                      <a:lnTo>
                        <a:pt x="2034" y="56099"/>
                      </a:lnTo>
                      <a:lnTo>
                        <a:pt x="957" y="53109"/>
                      </a:lnTo>
                      <a:lnTo>
                        <a:pt x="837" y="52810"/>
                      </a:lnTo>
                      <a:lnTo>
                        <a:pt x="180" y="50955"/>
                      </a:lnTo>
                      <a:lnTo>
                        <a:pt x="0" y="49460"/>
                      </a:lnTo>
                    </a:path>
                  </a:pathLst>
                </a:custGeom>
                <a:noFill/>
                <a:ln w="6350" cap="flat">
                  <a:solidFill>
                    <a:schemeClr val="bg1">
                      <a:alpha val="80000"/>
                    </a:schemeClr>
                  </a:solidFill>
                  <a:prstDash val="solid"/>
                  <a:miter/>
                </a:ln>
              </p:spPr>
              <p:txBody>
                <a:bodyPr rtlCol="0" anchor="ctr"/>
                <a:lstStyle/>
                <a:p>
                  <a:endParaRPr lang="en-GB"/>
                </a:p>
              </p:txBody>
            </p:sp>
            <p:sp>
              <p:nvSpPr>
                <p:cNvPr id="7886" name="Vrije vorm: vorm 7885">
                  <a:extLst>
                    <a:ext uri="{FF2B5EF4-FFF2-40B4-BE49-F238E27FC236}">
                      <a16:creationId xmlns:a16="http://schemas.microsoft.com/office/drawing/2014/main" id="{F9CE6100-FE25-4563-8FAE-D87FA7DAFC81}"/>
                    </a:ext>
                  </a:extLst>
                </p:cNvPr>
                <p:cNvSpPr/>
                <p:nvPr/>
              </p:nvSpPr>
              <p:spPr>
                <a:xfrm>
                  <a:off x="5725484" y="5334126"/>
                  <a:ext cx="27331" cy="63634"/>
                </a:xfrm>
                <a:custGeom>
                  <a:avLst/>
                  <a:gdLst>
                    <a:gd name="connsiteX0" fmla="*/ 15311 w 27331"/>
                    <a:gd name="connsiteY0" fmla="*/ 0 h 63634"/>
                    <a:gd name="connsiteX1" fmla="*/ 17882 w 27331"/>
                    <a:gd name="connsiteY1" fmla="*/ 1076 h 63634"/>
                    <a:gd name="connsiteX2" fmla="*/ 19976 w 27331"/>
                    <a:gd name="connsiteY2" fmla="*/ 1974 h 63634"/>
                    <a:gd name="connsiteX3" fmla="*/ 21949 w 27331"/>
                    <a:gd name="connsiteY3" fmla="*/ 4067 h 63634"/>
                    <a:gd name="connsiteX4" fmla="*/ 23744 w 27331"/>
                    <a:gd name="connsiteY4" fmla="*/ 5981 h 63634"/>
                    <a:gd name="connsiteX5" fmla="*/ 24999 w 27331"/>
                    <a:gd name="connsiteY5" fmla="*/ 8851 h 63634"/>
                    <a:gd name="connsiteX6" fmla="*/ 26255 w 27331"/>
                    <a:gd name="connsiteY6" fmla="*/ 11782 h 63634"/>
                    <a:gd name="connsiteX7" fmla="*/ 26734 w 27331"/>
                    <a:gd name="connsiteY7" fmla="*/ 15191 h 63634"/>
                    <a:gd name="connsiteX8" fmla="*/ 27033 w 27331"/>
                    <a:gd name="connsiteY8" fmla="*/ 17105 h 63634"/>
                    <a:gd name="connsiteX9" fmla="*/ 27332 w 27331"/>
                    <a:gd name="connsiteY9" fmla="*/ 19019 h 63634"/>
                    <a:gd name="connsiteX10" fmla="*/ 27212 w 27331"/>
                    <a:gd name="connsiteY10" fmla="*/ 20813 h 63634"/>
                    <a:gd name="connsiteX11" fmla="*/ 27033 w 27331"/>
                    <a:gd name="connsiteY11" fmla="*/ 23444 h 63634"/>
                    <a:gd name="connsiteX12" fmla="*/ 26973 w 27331"/>
                    <a:gd name="connsiteY12" fmla="*/ 24282 h 63634"/>
                    <a:gd name="connsiteX13" fmla="*/ 26913 w 27331"/>
                    <a:gd name="connsiteY13" fmla="*/ 25239 h 63634"/>
                    <a:gd name="connsiteX14" fmla="*/ 26794 w 27331"/>
                    <a:gd name="connsiteY14" fmla="*/ 27153 h 63634"/>
                    <a:gd name="connsiteX15" fmla="*/ 25897 w 27331"/>
                    <a:gd name="connsiteY15" fmla="*/ 30920 h 63634"/>
                    <a:gd name="connsiteX16" fmla="*/ 24999 w 27331"/>
                    <a:gd name="connsiteY16" fmla="*/ 34688 h 63634"/>
                    <a:gd name="connsiteX17" fmla="*/ 24760 w 27331"/>
                    <a:gd name="connsiteY17" fmla="*/ 35705 h 63634"/>
                    <a:gd name="connsiteX18" fmla="*/ 24461 w 27331"/>
                    <a:gd name="connsiteY18" fmla="*/ 36423 h 63634"/>
                    <a:gd name="connsiteX19" fmla="*/ 24401 w 27331"/>
                    <a:gd name="connsiteY19" fmla="*/ 36602 h 63634"/>
                    <a:gd name="connsiteX20" fmla="*/ 23923 w 27331"/>
                    <a:gd name="connsiteY20" fmla="*/ 37798 h 63634"/>
                    <a:gd name="connsiteX21" fmla="*/ 22846 w 27331"/>
                    <a:gd name="connsiteY21" fmla="*/ 40490 h 63634"/>
                    <a:gd name="connsiteX22" fmla="*/ 22009 w 27331"/>
                    <a:gd name="connsiteY22" fmla="*/ 42583 h 63634"/>
                    <a:gd name="connsiteX23" fmla="*/ 21830 w 27331"/>
                    <a:gd name="connsiteY23" fmla="*/ 43001 h 63634"/>
                    <a:gd name="connsiteX24" fmla="*/ 21590 w 27331"/>
                    <a:gd name="connsiteY24" fmla="*/ 43600 h 63634"/>
                    <a:gd name="connsiteX25" fmla="*/ 21411 w 27331"/>
                    <a:gd name="connsiteY25" fmla="*/ 44018 h 63634"/>
                    <a:gd name="connsiteX26" fmla="*/ 21052 w 27331"/>
                    <a:gd name="connsiteY26" fmla="*/ 44616 h 63634"/>
                    <a:gd name="connsiteX27" fmla="*/ 21052 w 27331"/>
                    <a:gd name="connsiteY27" fmla="*/ 44616 h 63634"/>
                    <a:gd name="connsiteX28" fmla="*/ 19019 w 27331"/>
                    <a:gd name="connsiteY28" fmla="*/ 47966 h 63634"/>
                    <a:gd name="connsiteX29" fmla="*/ 16926 w 27331"/>
                    <a:gd name="connsiteY29" fmla="*/ 51375 h 63634"/>
                    <a:gd name="connsiteX30" fmla="*/ 15669 w 27331"/>
                    <a:gd name="connsiteY30" fmla="*/ 52750 h 63634"/>
                    <a:gd name="connsiteX31" fmla="*/ 14414 w 27331"/>
                    <a:gd name="connsiteY31" fmla="*/ 54185 h 63634"/>
                    <a:gd name="connsiteX32" fmla="*/ 14055 w 27331"/>
                    <a:gd name="connsiteY32" fmla="*/ 54544 h 63634"/>
                    <a:gd name="connsiteX33" fmla="*/ 11543 w 27331"/>
                    <a:gd name="connsiteY33" fmla="*/ 57355 h 63634"/>
                    <a:gd name="connsiteX34" fmla="*/ 11124 w 27331"/>
                    <a:gd name="connsiteY34" fmla="*/ 57654 h 63634"/>
                    <a:gd name="connsiteX35" fmla="*/ 10646 w 27331"/>
                    <a:gd name="connsiteY35" fmla="*/ 58013 h 63634"/>
                    <a:gd name="connsiteX36" fmla="*/ 8194 w 27331"/>
                    <a:gd name="connsiteY36" fmla="*/ 59807 h 63634"/>
                    <a:gd name="connsiteX37" fmla="*/ 8014 w 27331"/>
                    <a:gd name="connsiteY37" fmla="*/ 59927 h 63634"/>
                    <a:gd name="connsiteX38" fmla="*/ 8014 w 27331"/>
                    <a:gd name="connsiteY38" fmla="*/ 59927 h 63634"/>
                    <a:gd name="connsiteX39" fmla="*/ 6459 w 27331"/>
                    <a:gd name="connsiteY39" fmla="*/ 61063 h 63634"/>
                    <a:gd name="connsiteX40" fmla="*/ 6459 w 27331"/>
                    <a:gd name="connsiteY40" fmla="*/ 61063 h 63634"/>
                    <a:gd name="connsiteX41" fmla="*/ 5742 w 27331"/>
                    <a:gd name="connsiteY41" fmla="*/ 61601 h 63634"/>
                    <a:gd name="connsiteX42" fmla="*/ 2691 w 27331"/>
                    <a:gd name="connsiteY42" fmla="*/ 62678 h 63634"/>
                    <a:gd name="connsiteX43" fmla="*/ 0 w 27331"/>
                    <a:gd name="connsiteY43" fmla="*/ 63635 h 6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7331" h="63634">
                      <a:moveTo>
                        <a:pt x="15311" y="0"/>
                      </a:moveTo>
                      <a:lnTo>
                        <a:pt x="17882" y="1076"/>
                      </a:lnTo>
                      <a:lnTo>
                        <a:pt x="19976" y="1974"/>
                      </a:lnTo>
                      <a:lnTo>
                        <a:pt x="21949" y="4067"/>
                      </a:lnTo>
                      <a:lnTo>
                        <a:pt x="23744" y="5981"/>
                      </a:lnTo>
                      <a:lnTo>
                        <a:pt x="24999" y="8851"/>
                      </a:lnTo>
                      <a:lnTo>
                        <a:pt x="26255" y="11782"/>
                      </a:lnTo>
                      <a:lnTo>
                        <a:pt x="26734" y="15191"/>
                      </a:lnTo>
                      <a:lnTo>
                        <a:pt x="27033" y="17105"/>
                      </a:lnTo>
                      <a:lnTo>
                        <a:pt x="27332" y="19019"/>
                      </a:lnTo>
                      <a:lnTo>
                        <a:pt x="27212" y="20813"/>
                      </a:lnTo>
                      <a:lnTo>
                        <a:pt x="27033" y="23444"/>
                      </a:lnTo>
                      <a:lnTo>
                        <a:pt x="26973" y="24282"/>
                      </a:lnTo>
                      <a:lnTo>
                        <a:pt x="26913" y="25239"/>
                      </a:lnTo>
                      <a:lnTo>
                        <a:pt x="26794" y="27153"/>
                      </a:lnTo>
                      <a:lnTo>
                        <a:pt x="25897" y="30920"/>
                      </a:lnTo>
                      <a:lnTo>
                        <a:pt x="24999" y="34688"/>
                      </a:lnTo>
                      <a:lnTo>
                        <a:pt x="24760" y="35705"/>
                      </a:lnTo>
                      <a:lnTo>
                        <a:pt x="24461" y="36423"/>
                      </a:lnTo>
                      <a:lnTo>
                        <a:pt x="24401" y="36602"/>
                      </a:lnTo>
                      <a:lnTo>
                        <a:pt x="23923" y="37798"/>
                      </a:lnTo>
                      <a:lnTo>
                        <a:pt x="22846" y="40490"/>
                      </a:lnTo>
                      <a:lnTo>
                        <a:pt x="22009" y="42583"/>
                      </a:lnTo>
                      <a:lnTo>
                        <a:pt x="21830" y="43001"/>
                      </a:lnTo>
                      <a:lnTo>
                        <a:pt x="21590" y="43600"/>
                      </a:lnTo>
                      <a:lnTo>
                        <a:pt x="21411" y="44018"/>
                      </a:lnTo>
                      <a:lnTo>
                        <a:pt x="21052" y="44616"/>
                      </a:lnTo>
                      <a:lnTo>
                        <a:pt x="21052" y="44616"/>
                      </a:lnTo>
                      <a:lnTo>
                        <a:pt x="19019" y="47966"/>
                      </a:lnTo>
                      <a:lnTo>
                        <a:pt x="16926" y="51375"/>
                      </a:lnTo>
                      <a:lnTo>
                        <a:pt x="15669" y="52750"/>
                      </a:lnTo>
                      <a:lnTo>
                        <a:pt x="14414" y="54185"/>
                      </a:lnTo>
                      <a:lnTo>
                        <a:pt x="14055" y="54544"/>
                      </a:lnTo>
                      <a:lnTo>
                        <a:pt x="11543" y="57355"/>
                      </a:lnTo>
                      <a:lnTo>
                        <a:pt x="11124" y="57654"/>
                      </a:lnTo>
                      <a:lnTo>
                        <a:pt x="10646" y="58013"/>
                      </a:lnTo>
                      <a:lnTo>
                        <a:pt x="8194" y="59807"/>
                      </a:lnTo>
                      <a:lnTo>
                        <a:pt x="8014" y="59927"/>
                      </a:lnTo>
                      <a:lnTo>
                        <a:pt x="8014" y="59927"/>
                      </a:lnTo>
                      <a:lnTo>
                        <a:pt x="6459" y="61063"/>
                      </a:lnTo>
                      <a:lnTo>
                        <a:pt x="6459" y="61063"/>
                      </a:lnTo>
                      <a:lnTo>
                        <a:pt x="5742" y="61601"/>
                      </a:lnTo>
                      <a:lnTo>
                        <a:pt x="2691" y="62678"/>
                      </a:lnTo>
                      <a:lnTo>
                        <a:pt x="0" y="63635"/>
                      </a:lnTo>
                    </a:path>
                  </a:pathLst>
                </a:custGeom>
                <a:noFill/>
                <a:ln w="6350" cap="flat">
                  <a:solidFill>
                    <a:schemeClr val="bg1">
                      <a:alpha val="80000"/>
                    </a:schemeClr>
                  </a:solidFill>
                  <a:prstDash val="solid"/>
                  <a:miter/>
                </a:ln>
              </p:spPr>
              <p:txBody>
                <a:bodyPr rtlCol="0" anchor="ctr"/>
                <a:lstStyle/>
                <a:p>
                  <a:endParaRPr lang="en-GB"/>
                </a:p>
              </p:txBody>
            </p:sp>
            <p:sp>
              <p:nvSpPr>
                <p:cNvPr id="7887" name="Vrije vorm: vorm 7886">
                  <a:extLst>
                    <a:ext uri="{FF2B5EF4-FFF2-40B4-BE49-F238E27FC236}">
                      <a16:creationId xmlns:a16="http://schemas.microsoft.com/office/drawing/2014/main" id="{A3003C6A-33B3-4405-821D-BCDDABDCF54E}"/>
                    </a:ext>
                  </a:extLst>
                </p:cNvPr>
                <p:cNvSpPr/>
                <p:nvPr/>
              </p:nvSpPr>
              <p:spPr>
                <a:xfrm>
                  <a:off x="5724049" y="5397462"/>
                  <a:ext cx="1375" cy="59"/>
                </a:xfrm>
                <a:custGeom>
                  <a:avLst/>
                  <a:gdLst>
                    <a:gd name="connsiteX0" fmla="*/ 1375 w 1375"/>
                    <a:gd name="connsiteY0" fmla="*/ 60 h 59"/>
                    <a:gd name="connsiteX1" fmla="*/ 0 w 1375"/>
                    <a:gd name="connsiteY1" fmla="*/ 0 h 59"/>
                  </a:gdLst>
                  <a:ahLst/>
                  <a:cxnLst>
                    <a:cxn ang="0">
                      <a:pos x="connsiteX0" y="connsiteY0"/>
                    </a:cxn>
                    <a:cxn ang="0">
                      <a:pos x="connsiteX1" y="connsiteY1"/>
                    </a:cxn>
                  </a:cxnLst>
                  <a:rect l="l" t="t" r="r" b="b"/>
                  <a:pathLst>
                    <a:path w="1375" h="59">
                      <a:moveTo>
                        <a:pt x="1375" y="6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88" name="Vrije vorm: vorm 7887">
                  <a:extLst>
                    <a:ext uri="{FF2B5EF4-FFF2-40B4-BE49-F238E27FC236}">
                      <a16:creationId xmlns:a16="http://schemas.microsoft.com/office/drawing/2014/main" id="{8C649967-CB08-4AD0-8D7A-A0341B12E210}"/>
                    </a:ext>
                  </a:extLst>
                </p:cNvPr>
                <p:cNvSpPr/>
                <p:nvPr/>
              </p:nvSpPr>
              <p:spPr>
                <a:xfrm>
                  <a:off x="5706824" y="5382031"/>
                  <a:ext cx="6877" cy="12380"/>
                </a:xfrm>
                <a:custGeom>
                  <a:avLst/>
                  <a:gdLst>
                    <a:gd name="connsiteX0" fmla="*/ 6878 w 6877"/>
                    <a:gd name="connsiteY0" fmla="*/ 12380 h 12380"/>
                    <a:gd name="connsiteX1" fmla="*/ 4725 w 6877"/>
                    <a:gd name="connsiteY1" fmla="*/ 10586 h 12380"/>
                    <a:gd name="connsiteX2" fmla="*/ 2572 w 6877"/>
                    <a:gd name="connsiteY2" fmla="*/ 8791 h 12380"/>
                    <a:gd name="connsiteX3" fmla="*/ 2333 w 6877"/>
                    <a:gd name="connsiteY3" fmla="*/ 8612 h 12380"/>
                    <a:gd name="connsiteX4" fmla="*/ 1555 w 6877"/>
                    <a:gd name="connsiteY4" fmla="*/ 6818 h 12380"/>
                    <a:gd name="connsiteX5" fmla="*/ 1256 w 6877"/>
                    <a:gd name="connsiteY5" fmla="*/ 5921 h 12380"/>
                    <a:gd name="connsiteX6" fmla="*/ 897 w 6877"/>
                    <a:gd name="connsiteY6" fmla="*/ 4904 h 12380"/>
                    <a:gd name="connsiteX7" fmla="*/ 419 w 6877"/>
                    <a:gd name="connsiteY7" fmla="*/ 2871 h 12380"/>
                    <a:gd name="connsiteX8" fmla="*/ 60 w 6877"/>
                    <a:gd name="connsiteY8" fmla="*/ 718 h 12380"/>
                    <a:gd name="connsiteX9" fmla="*/ 0 w 6877"/>
                    <a:gd name="connsiteY9" fmla="*/ 0 h 1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7" h="12380">
                      <a:moveTo>
                        <a:pt x="6878" y="12380"/>
                      </a:moveTo>
                      <a:lnTo>
                        <a:pt x="4725" y="10586"/>
                      </a:lnTo>
                      <a:lnTo>
                        <a:pt x="2572" y="8791"/>
                      </a:lnTo>
                      <a:lnTo>
                        <a:pt x="2333" y="8612"/>
                      </a:lnTo>
                      <a:lnTo>
                        <a:pt x="1555" y="6818"/>
                      </a:lnTo>
                      <a:lnTo>
                        <a:pt x="1256" y="5921"/>
                      </a:lnTo>
                      <a:lnTo>
                        <a:pt x="897" y="4904"/>
                      </a:lnTo>
                      <a:lnTo>
                        <a:pt x="419" y="2871"/>
                      </a:lnTo>
                      <a:lnTo>
                        <a:pt x="60" y="718"/>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89" name="Vrije vorm: vorm 7888">
                  <a:extLst>
                    <a:ext uri="{FF2B5EF4-FFF2-40B4-BE49-F238E27FC236}">
                      <a16:creationId xmlns:a16="http://schemas.microsoft.com/office/drawing/2014/main" id="{60401E1F-5558-4A16-B612-97B69278C946}"/>
                    </a:ext>
                  </a:extLst>
                </p:cNvPr>
                <p:cNvSpPr/>
                <p:nvPr/>
              </p:nvSpPr>
              <p:spPr>
                <a:xfrm>
                  <a:off x="5704313" y="5381134"/>
                  <a:ext cx="3767" cy="6877"/>
                </a:xfrm>
                <a:custGeom>
                  <a:avLst/>
                  <a:gdLst>
                    <a:gd name="connsiteX0" fmla="*/ 3768 w 3767"/>
                    <a:gd name="connsiteY0" fmla="*/ 6878 h 6877"/>
                    <a:gd name="connsiteX1" fmla="*/ 2093 w 3767"/>
                    <a:gd name="connsiteY1" fmla="*/ 5503 h 6877"/>
                    <a:gd name="connsiteX2" fmla="*/ 1495 w 3767"/>
                    <a:gd name="connsiteY2" fmla="*/ 4904 h 6877"/>
                    <a:gd name="connsiteX3" fmla="*/ 957 w 3767"/>
                    <a:gd name="connsiteY3" fmla="*/ 4127 h 6877"/>
                    <a:gd name="connsiteX4" fmla="*/ 538 w 3767"/>
                    <a:gd name="connsiteY4" fmla="*/ 3230 h 6877"/>
                    <a:gd name="connsiteX5" fmla="*/ 239 w 3767"/>
                    <a:gd name="connsiteY5" fmla="*/ 2213 h 6877"/>
                    <a:gd name="connsiteX6" fmla="*/ 60 w 3767"/>
                    <a:gd name="connsiteY6" fmla="*/ 1077 h 6877"/>
                    <a:gd name="connsiteX7" fmla="*/ 0 w 3767"/>
                    <a:gd name="connsiteY7" fmla="*/ 0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7" h="6877">
                      <a:moveTo>
                        <a:pt x="3768" y="6878"/>
                      </a:moveTo>
                      <a:lnTo>
                        <a:pt x="2093" y="5503"/>
                      </a:lnTo>
                      <a:lnTo>
                        <a:pt x="1495" y="4904"/>
                      </a:lnTo>
                      <a:lnTo>
                        <a:pt x="957" y="4127"/>
                      </a:lnTo>
                      <a:lnTo>
                        <a:pt x="538" y="3230"/>
                      </a:lnTo>
                      <a:lnTo>
                        <a:pt x="239" y="2213"/>
                      </a:lnTo>
                      <a:lnTo>
                        <a:pt x="60" y="1077"/>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890" name="Vrije vorm: vorm 7889">
                  <a:extLst>
                    <a:ext uri="{FF2B5EF4-FFF2-40B4-BE49-F238E27FC236}">
                      <a16:creationId xmlns:a16="http://schemas.microsoft.com/office/drawing/2014/main" id="{F21F5836-59E2-493F-A3AF-39ECE1C9C9D4}"/>
                    </a:ext>
                  </a:extLst>
                </p:cNvPr>
                <p:cNvSpPr/>
                <p:nvPr/>
              </p:nvSpPr>
              <p:spPr>
                <a:xfrm>
                  <a:off x="5604972" y="5325514"/>
                  <a:ext cx="36004" cy="56876"/>
                </a:xfrm>
                <a:custGeom>
                  <a:avLst/>
                  <a:gdLst>
                    <a:gd name="connsiteX0" fmla="*/ 8373 w 36004"/>
                    <a:gd name="connsiteY0" fmla="*/ 14055 h 56876"/>
                    <a:gd name="connsiteX1" fmla="*/ 9928 w 36004"/>
                    <a:gd name="connsiteY1" fmla="*/ 11483 h 56876"/>
                    <a:gd name="connsiteX2" fmla="*/ 12380 w 36004"/>
                    <a:gd name="connsiteY2" fmla="*/ 8493 h 56876"/>
                    <a:gd name="connsiteX3" fmla="*/ 14234 w 36004"/>
                    <a:gd name="connsiteY3" fmla="*/ 6220 h 56876"/>
                    <a:gd name="connsiteX4" fmla="*/ 17045 w 36004"/>
                    <a:gd name="connsiteY4" fmla="*/ 3888 h 56876"/>
                    <a:gd name="connsiteX5" fmla="*/ 18839 w 36004"/>
                    <a:gd name="connsiteY5" fmla="*/ 2392 h 56876"/>
                    <a:gd name="connsiteX6" fmla="*/ 21890 w 36004"/>
                    <a:gd name="connsiteY6" fmla="*/ 957 h 56876"/>
                    <a:gd name="connsiteX7" fmla="*/ 23385 w 36004"/>
                    <a:gd name="connsiteY7" fmla="*/ 239 h 56876"/>
                    <a:gd name="connsiteX8" fmla="*/ 26375 w 36004"/>
                    <a:gd name="connsiteY8" fmla="*/ 60 h 56876"/>
                    <a:gd name="connsiteX9" fmla="*/ 27631 w 36004"/>
                    <a:gd name="connsiteY9" fmla="*/ 0 h 56876"/>
                    <a:gd name="connsiteX10" fmla="*/ 30143 w 36004"/>
                    <a:gd name="connsiteY10" fmla="*/ 1196 h 56876"/>
                    <a:gd name="connsiteX11" fmla="*/ 30681 w 36004"/>
                    <a:gd name="connsiteY11" fmla="*/ 1435 h 56876"/>
                    <a:gd name="connsiteX12" fmla="*/ 30681 w 36004"/>
                    <a:gd name="connsiteY12" fmla="*/ 1435 h 56876"/>
                    <a:gd name="connsiteX13" fmla="*/ 31220 w 36004"/>
                    <a:gd name="connsiteY13" fmla="*/ 1675 h 56876"/>
                    <a:gd name="connsiteX14" fmla="*/ 32894 w 36004"/>
                    <a:gd name="connsiteY14" fmla="*/ 3888 h 56876"/>
                    <a:gd name="connsiteX15" fmla="*/ 33612 w 36004"/>
                    <a:gd name="connsiteY15" fmla="*/ 4844 h 56876"/>
                    <a:gd name="connsiteX16" fmla="*/ 33911 w 36004"/>
                    <a:gd name="connsiteY16" fmla="*/ 5203 h 56876"/>
                    <a:gd name="connsiteX17" fmla="*/ 34389 w 36004"/>
                    <a:gd name="connsiteY17" fmla="*/ 6639 h 56876"/>
                    <a:gd name="connsiteX18" fmla="*/ 35227 w 36004"/>
                    <a:gd name="connsiteY18" fmla="*/ 9270 h 56876"/>
                    <a:gd name="connsiteX19" fmla="*/ 35585 w 36004"/>
                    <a:gd name="connsiteY19" fmla="*/ 10347 h 56876"/>
                    <a:gd name="connsiteX20" fmla="*/ 35585 w 36004"/>
                    <a:gd name="connsiteY20" fmla="*/ 10586 h 56876"/>
                    <a:gd name="connsiteX21" fmla="*/ 35825 w 36004"/>
                    <a:gd name="connsiteY21" fmla="*/ 14114 h 56876"/>
                    <a:gd name="connsiteX22" fmla="*/ 36004 w 36004"/>
                    <a:gd name="connsiteY22" fmla="*/ 16806 h 56876"/>
                    <a:gd name="connsiteX23" fmla="*/ 35585 w 36004"/>
                    <a:gd name="connsiteY23" fmla="*/ 20514 h 56876"/>
                    <a:gd name="connsiteX24" fmla="*/ 35167 w 36004"/>
                    <a:gd name="connsiteY24" fmla="*/ 24102 h 56876"/>
                    <a:gd name="connsiteX25" fmla="*/ 34150 w 36004"/>
                    <a:gd name="connsiteY25" fmla="*/ 27870 h 56876"/>
                    <a:gd name="connsiteX26" fmla="*/ 33133 w 36004"/>
                    <a:gd name="connsiteY26" fmla="*/ 31638 h 56876"/>
                    <a:gd name="connsiteX27" fmla="*/ 33074 w 36004"/>
                    <a:gd name="connsiteY27" fmla="*/ 31758 h 56876"/>
                    <a:gd name="connsiteX28" fmla="*/ 31519 w 36004"/>
                    <a:gd name="connsiteY28" fmla="*/ 35406 h 56876"/>
                    <a:gd name="connsiteX29" fmla="*/ 29963 w 36004"/>
                    <a:gd name="connsiteY29" fmla="*/ 39054 h 56876"/>
                    <a:gd name="connsiteX30" fmla="*/ 29904 w 36004"/>
                    <a:gd name="connsiteY30" fmla="*/ 39174 h 56876"/>
                    <a:gd name="connsiteX31" fmla="*/ 27870 w 36004"/>
                    <a:gd name="connsiteY31" fmla="*/ 42583 h 56876"/>
                    <a:gd name="connsiteX32" fmla="*/ 25897 w 36004"/>
                    <a:gd name="connsiteY32" fmla="*/ 45813 h 56876"/>
                    <a:gd name="connsiteX33" fmla="*/ 23445 w 36004"/>
                    <a:gd name="connsiteY33" fmla="*/ 48743 h 56876"/>
                    <a:gd name="connsiteX34" fmla="*/ 23385 w 36004"/>
                    <a:gd name="connsiteY34" fmla="*/ 48803 h 56876"/>
                    <a:gd name="connsiteX35" fmla="*/ 21411 w 36004"/>
                    <a:gd name="connsiteY35" fmla="*/ 51195 h 56876"/>
                    <a:gd name="connsiteX36" fmla="*/ 20753 w 36004"/>
                    <a:gd name="connsiteY36" fmla="*/ 51733 h 56876"/>
                    <a:gd name="connsiteX37" fmla="*/ 17942 w 36004"/>
                    <a:gd name="connsiteY37" fmla="*/ 53946 h 56876"/>
                    <a:gd name="connsiteX38" fmla="*/ 16627 w 36004"/>
                    <a:gd name="connsiteY38" fmla="*/ 54963 h 56876"/>
                    <a:gd name="connsiteX39" fmla="*/ 16148 w 36004"/>
                    <a:gd name="connsiteY39" fmla="*/ 55142 h 56876"/>
                    <a:gd name="connsiteX40" fmla="*/ 13098 w 36004"/>
                    <a:gd name="connsiteY40" fmla="*/ 56398 h 56876"/>
                    <a:gd name="connsiteX41" fmla="*/ 11961 w 36004"/>
                    <a:gd name="connsiteY41" fmla="*/ 56877 h 56876"/>
                    <a:gd name="connsiteX42" fmla="*/ 9031 w 36004"/>
                    <a:gd name="connsiteY42" fmla="*/ 56817 h 56876"/>
                    <a:gd name="connsiteX43" fmla="*/ 7715 w 36004"/>
                    <a:gd name="connsiteY43" fmla="*/ 56817 h 56876"/>
                    <a:gd name="connsiteX44" fmla="*/ 5323 w 36004"/>
                    <a:gd name="connsiteY44" fmla="*/ 55441 h 56876"/>
                    <a:gd name="connsiteX45" fmla="*/ 4246 w 36004"/>
                    <a:gd name="connsiteY45" fmla="*/ 54843 h 56876"/>
                    <a:gd name="connsiteX46" fmla="*/ 2572 w 36004"/>
                    <a:gd name="connsiteY46" fmla="*/ 52391 h 56876"/>
                    <a:gd name="connsiteX47" fmla="*/ 1675 w 36004"/>
                    <a:gd name="connsiteY47" fmla="*/ 51076 h 56876"/>
                    <a:gd name="connsiteX48" fmla="*/ 837 w 36004"/>
                    <a:gd name="connsiteY48" fmla="*/ 47906 h 56876"/>
                    <a:gd name="connsiteX49" fmla="*/ 239 w 36004"/>
                    <a:gd name="connsiteY49" fmla="*/ 45813 h 56876"/>
                    <a:gd name="connsiteX50" fmla="*/ 120 w 36004"/>
                    <a:gd name="connsiteY50" fmla="*/ 42284 h 56876"/>
                    <a:gd name="connsiteX51" fmla="*/ 0 w 36004"/>
                    <a:gd name="connsiteY51" fmla="*/ 39413 h 56876"/>
                    <a:gd name="connsiteX52" fmla="*/ 60 w 36004"/>
                    <a:gd name="connsiteY52" fmla="*/ 38815 h 5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6004" h="56876">
                      <a:moveTo>
                        <a:pt x="8373" y="14055"/>
                      </a:moveTo>
                      <a:lnTo>
                        <a:pt x="9928" y="11483"/>
                      </a:lnTo>
                      <a:lnTo>
                        <a:pt x="12380" y="8493"/>
                      </a:lnTo>
                      <a:lnTo>
                        <a:pt x="14234" y="6220"/>
                      </a:lnTo>
                      <a:lnTo>
                        <a:pt x="17045" y="3888"/>
                      </a:lnTo>
                      <a:lnTo>
                        <a:pt x="18839" y="2392"/>
                      </a:lnTo>
                      <a:lnTo>
                        <a:pt x="21890" y="957"/>
                      </a:lnTo>
                      <a:lnTo>
                        <a:pt x="23385" y="239"/>
                      </a:lnTo>
                      <a:lnTo>
                        <a:pt x="26375" y="60"/>
                      </a:lnTo>
                      <a:lnTo>
                        <a:pt x="27631" y="0"/>
                      </a:lnTo>
                      <a:lnTo>
                        <a:pt x="30143" y="1196"/>
                      </a:lnTo>
                      <a:lnTo>
                        <a:pt x="30681" y="1435"/>
                      </a:lnTo>
                      <a:lnTo>
                        <a:pt x="30681" y="1435"/>
                      </a:lnTo>
                      <a:lnTo>
                        <a:pt x="31220" y="1675"/>
                      </a:lnTo>
                      <a:lnTo>
                        <a:pt x="32894" y="3888"/>
                      </a:lnTo>
                      <a:lnTo>
                        <a:pt x="33612" y="4844"/>
                      </a:lnTo>
                      <a:lnTo>
                        <a:pt x="33911" y="5203"/>
                      </a:lnTo>
                      <a:lnTo>
                        <a:pt x="34389" y="6639"/>
                      </a:lnTo>
                      <a:lnTo>
                        <a:pt x="35227" y="9270"/>
                      </a:lnTo>
                      <a:lnTo>
                        <a:pt x="35585" y="10347"/>
                      </a:lnTo>
                      <a:lnTo>
                        <a:pt x="35585" y="10586"/>
                      </a:lnTo>
                      <a:lnTo>
                        <a:pt x="35825" y="14114"/>
                      </a:lnTo>
                      <a:lnTo>
                        <a:pt x="36004" y="16806"/>
                      </a:lnTo>
                      <a:lnTo>
                        <a:pt x="35585" y="20514"/>
                      </a:lnTo>
                      <a:lnTo>
                        <a:pt x="35167" y="24102"/>
                      </a:lnTo>
                      <a:lnTo>
                        <a:pt x="34150" y="27870"/>
                      </a:lnTo>
                      <a:lnTo>
                        <a:pt x="33133" y="31638"/>
                      </a:lnTo>
                      <a:lnTo>
                        <a:pt x="33074" y="31758"/>
                      </a:lnTo>
                      <a:lnTo>
                        <a:pt x="31519" y="35406"/>
                      </a:lnTo>
                      <a:lnTo>
                        <a:pt x="29963" y="39054"/>
                      </a:lnTo>
                      <a:lnTo>
                        <a:pt x="29904" y="39174"/>
                      </a:lnTo>
                      <a:lnTo>
                        <a:pt x="27870" y="42583"/>
                      </a:lnTo>
                      <a:lnTo>
                        <a:pt x="25897" y="45813"/>
                      </a:lnTo>
                      <a:lnTo>
                        <a:pt x="23445" y="48743"/>
                      </a:lnTo>
                      <a:lnTo>
                        <a:pt x="23385" y="48803"/>
                      </a:lnTo>
                      <a:lnTo>
                        <a:pt x="21411" y="51195"/>
                      </a:lnTo>
                      <a:lnTo>
                        <a:pt x="20753" y="51733"/>
                      </a:lnTo>
                      <a:lnTo>
                        <a:pt x="17942" y="53946"/>
                      </a:lnTo>
                      <a:lnTo>
                        <a:pt x="16627" y="54963"/>
                      </a:lnTo>
                      <a:lnTo>
                        <a:pt x="16148" y="55142"/>
                      </a:lnTo>
                      <a:lnTo>
                        <a:pt x="13098" y="56398"/>
                      </a:lnTo>
                      <a:lnTo>
                        <a:pt x="11961" y="56877"/>
                      </a:lnTo>
                      <a:lnTo>
                        <a:pt x="9031" y="56817"/>
                      </a:lnTo>
                      <a:lnTo>
                        <a:pt x="7715" y="56817"/>
                      </a:lnTo>
                      <a:lnTo>
                        <a:pt x="5323" y="55441"/>
                      </a:lnTo>
                      <a:lnTo>
                        <a:pt x="4246" y="54843"/>
                      </a:lnTo>
                      <a:lnTo>
                        <a:pt x="2572" y="52391"/>
                      </a:lnTo>
                      <a:lnTo>
                        <a:pt x="1675" y="51076"/>
                      </a:lnTo>
                      <a:lnTo>
                        <a:pt x="837" y="47906"/>
                      </a:lnTo>
                      <a:lnTo>
                        <a:pt x="239" y="45813"/>
                      </a:lnTo>
                      <a:lnTo>
                        <a:pt x="120" y="42284"/>
                      </a:lnTo>
                      <a:lnTo>
                        <a:pt x="0" y="39413"/>
                      </a:lnTo>
                      <a:lnTo>
                        <a:pt x="60" y="38815"/>
                      </a:lnTo>
                    </a:path>
                  </a:pathLst>
                </a:custGeom>
                <a:noFill/>
                <a:ln w="6350" cap="flat">
                  <a:solidFill>
                    <a:schemeClr val="bg1">
                      <a:alpha val="80000"/>
                    </a:schemeClr>
                  </a:solidFill>
                  <a:prstDash val="solid"/>
                  <a:miter/>
                </a:ln>
              </p:spPr>
              <p:txBody>
                <a:bodyPr rtlCol="0" anchor="ctr"/>
                <a:lstStyle/>
                <a:p>
                  <a:endParaRPr lang="en-GB"/>
                </a:p>
              </p:txBody>
            </p:sp>
            <p:sp>
              <p:nvSpPr>
                <p:cNvPr id="7891" name="Vrije vorm: vorm 7890">
                  <a:extLst>
                    <a:ext uri="{FF2B5EF4-FFF2-40B4-BE49-F238E27FC236}">
                      <a16:creationId xmlns:a16="http://schemas.microsoft.com/office/drawing/2014/main" id="{D0D57EEF-A342-4A60-8663-FABE3023BF2C}"/>
                    </a:ext>
                  </a:extLst>
                </p:cNvPr>
                <p:cNvSpPr/>
                <p:nvPr/>
              </p:nvSpPr>
              <p:spPr>
                <a:xfrm>
                  <a:off x="5615379" y="5332810"/>
                  <a:ext cx="20693" cy="41924"/>
                </a:xfrm>
                <a:custGeom>
                  <a:avLst/>
                  <a:gdLst>
                    <a:gd name="connsiteX0" fmla="*/ 0 w 20693"/>
                    <a:gd name="connsiteY0" fmla="*/ 41925 h 41924"/>
                    <a:gd name="connsiteX1" fmla="*/ 598 w 20693"/>
                    <a:gd name="connsiteY1" fmla="*/ 41925 h 41924"/>
                    <a:gd name="connsiteX2" fmla="*/ 2572 w 20693"/>
                    <a:gd name="connsiteY2" fmla="*/ 41925 h 41924"/>
                    <a:gd name="connsiteX3" fmla="*/ 3110 w 20693"/>
                    <a:gd name="connsiteY3" fmla="*/ 41925 h 41924"/>
                    <a:gd name="connsiteX4" fmla="*/ 4964 w 20693"/>
                    <a:gd name="connsiteY4" fmla="*/ 41147 h 41924"/>
                    <a:gd name="connsiteX5" fmla="*/ 5143 w 20693"/>
                    <a:gd name="connsiteY5" fmla="*/ 41088 h 41924"/>
                    <a:gd name="connsiteX6" fmla="*/ 6519 w 20693"/>
                    <a:gd name="connsiteY6" fmla="*/ 40549 h 41924"/>
                    <a:gd name="connsiteX7" fmla="*/ 9390 w 20693"/>
                    <a:gd name="connsiteY7" fmla="*/ 38276 h 41924"/>
                    <a:gd name="connsiteX8" fmla="*/ 10048 w 20693"/>
                    <a:gd name="connsiteY8" fmla="*/ 37738 h 41924"/>
                    <a:gd name="connsiteX9" fmla="*/ 12500 w 20693"/>
                    <a:gd name="connsiteY9" fmla="*/ 34808 h 41924"/>
                    <a:gd name="connsiteX10" fmla="*/ 13337 w 20693"/>
                    <a:gd name="connsiteY10" fmla="*/ 33791 h 41924"/>
                    <a:gd name="connsiteX11" fmla="*/ 15371 w 20693"/>
                    <a:gd name="connsiteY11" fmla="*/ 30382 h 41924"/>
                    <a:gd name="connsiteX12" fmla="*/ 16267 w 20693"/>
                    <a:gd name="connsiteY12" fmla="*/ 28887 h 41924"/>
                    <a:gd name="connsiteX13" fmla="*/ 17822 w 20693"/>
                    <a:gd name="connsiteY13" fmla="*/ 25238 h 41924"/>
                    <a:gd name="connsiteX14" fmla="*/ 18600 w 20693"/>
                    <a:gd name="connsiteY14" fmla="*/ 23444 h 41924"/>
                    <a:gd name="connsiteX15" fmla="*/ 19617 w 20693"/>
                    <a:gd name="connsiteY15" fmla="*/ 19676 h 41924"/>
                    <a:gd name="connsiteX16" fmla="*/ 20095 w 20693"/>
                    <a:gd name="connsiteY16" fmla="*/ 17822 h 41924"/>
                    <a:gd name="connsiteX17" fmla="*/ 20514 w 20693"/>
                    <a:gd name="connsiteY17" fmla="*/ 14114 h 41924"/>
                    <a:gd name="connsiteX18" fmla="*/ 20693 w 20693"/>
                    <a:gd name="connsiteY18" fmla="*/ 12500 h 41924"/>
                    <a:gd name="connsiteX19" fmla="*/ 20454 w 20693"/>
                    <a:gd name="connsiteY19" fmla="*/ 8971 h 41924"/>
                    <a:gd name="connsiteX20" fmla="*/ 20394 w 20693"/>
                    <a:gd name="connsiteY20" fmla="*/ 7775 h 41924"/>
                    <a:gd name="connsiteX21" fmla="*/ 19437 w 20693"/>
                    <a:gd name="connsiteY21" fmla="*/ 4665 h 41924"/>
                    <a:gd name="connsiteX22" fmla="*/ 19198 w 20693"/>
                    <a:gd name="connsiteY22" fmla="*/ 3947 h 41924"/>
                    <a:gd name="connsiteX23" fmla="*/ 17643 w 20693"/>
                    <a:gd name="connsiteY23" fmla="*/ 1854 h 41924"/>
                    <a:gd name="connsiteX24" fmla="*/ 17225 w 20693"/>
                    <a:gd name="connsiteY24" fmla="*/ 1316 h 41924"/>
                    <a:gd name="connsiteX25" fmla="*/ 15669 w 20693"/>
                    <a:gd name="connsiteY25" fmla="*/ 538 h 41924"/>
                    <a:gd name="connsiteX26" fmla="*/ 14593 w 20693"/>
                    <a:gd name="connsiteY26" fmla="*/ 0 h 4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693" h="41924">
                      <a:moveTo>
                        <a:pt x="0" y="41925"/>
                      </a:moveTo>
                      <a:lnTo>
                        <a:pt x="598" y="41925"/>
                      </a:lnTo>
                      <a:lnTo>
                        <a:pt x="2572" y="41925"/>
                      </a:lnTo>
                      <a:lnTo>
                        <a:pt x="3110" y="41925"/>
                      </a:lnTo>
                      <a:lnTo>
                        <a:pt x="4964" y="41147"/>
                      </a:lnTo>
                      <a:lnTo>
                        <a:pt x="5143" y="41088"/>
                      </a:lnTo>
                      <a:lnTo>
                        <a:pt x="6519" y="40549"/>
                      </a:lnTo>
                      <a:lnTo>
                        <a:pt x="9390" y="38276"/>
                      </a:lnTo>
                      <a:lnTo>
                        <a:pt x="10048" y="37738"/>
                      </a:lnTo>
                      <a:lnTo>
                        <a:pt x="12500" y="34808"/>
                      </a:lnTo>
                      <a:lnTo>
                        <a:pt x="13337" y="33791"/>
                      </a:lnTo>
                      <a:lnTo>
                        <a:pt x="15371" y="30382"/>
                      </a:lnTo>
                      <a:lnTo>
                        <a:pt x="16267" y="28887"/>
                      </a:lnTo>
                      <a:lnTo>
                        <a:pt x="17822" y="25238"/>
                      </a:lnTo>
                      <a:lnTo>
                        <a:pt x="18600" y="23444"/>
                      </a:lnTo>
                      <a:lnTo>
                        <a:pt x="19617" y="19676"/>
                      </a:lnTo>
                      <a:lnTo>
                        <a:pt x="20095" y="17822"/>
                      </a:lnTo>
                      <a:lnTo>
                        <a:pt x="20514" y="14114"/>
                      </a:lnTo>
                      <a:lnTo>
                        <a:pt x="20693" y="12500"/>
                      </a:lnTo>
                      <a:lnTo>
                        <a:pt x="20454" y="8971"/>
                      </a:lnTo>
                      <a:lnTo>
                        <a:pt x="20394" y="7775"/>
                      </a:lnTo>
                      <a:lnTo>
                        <a:pt x="19437" y="4665"/>
                      </a:lnTo>
                      <a:lnTo>
                        <a:pt x="19198" y="3947"/>
                      </a:lnTo>
                      <a:lnTo>
                        <a:pt x="17643" y="1854"/>
                      </a:lnTo>
                      <a:lnTo>
                        <a:pt x="17225" y="1316"/>
                      </a:lnTo>
                      <a:lnTo>
                        <a:pt x="15669" y="538"/>
                      </a:lnTo>
                      <a:lnTo>
                        <a:pt x="14593" y="0"/>
                      </a:lnTo>
                    </a:path>
                  </a:pathLst>
                </a:custGeom>
                <a:noFill/>
                <a:ln w="6350" cap="flat">
                  <a:solidFill>
                    <a:schemeClr val="bg1">
                      <a:alpha val="80000"/>
                    </a:schemeClr>
                  </a:solidFill>
                  <a:prstDash val="solid"/>
                  <a:miter/>
                </a:ln>
              </p:spPr>
              <p:txBody>
                <a:bodyPr rtlCol="0" anchor="ctr"/>
                <a:lstStyle/>
                <a:p>
                  <a:endParaRPr lang="en-GB"/>
                </a:p>
              </p:txBody>
            </p:sp>
            <p:sp>
              <p:nvSpPr>
                <p:cNvPr id="7892" name="Vrije vorm: vorm 7891">
                  <a:extLst>
                    <a:ext uri="{FF2B5EF4-FFF2-40B4-BE49-F238E27FC236}">
                      <a16:creationId xmlns:a16="http://schemas.microsoft.com/office/drawing/2014/main" id="{707DE4EB-810C-480D-805F-B439BDD2496B}"/>
                    </a:ext>
                  </a:extLst>
                </p:cNvPr>
                <p:cNvSpPr/>
                <p:nvPr/>
              </p:nvSpPr>
              <p:spPr>
                <a:xfrm>
                  <a:off x="5612688" y="5325573"/>
                  <a:ext cx="35585" cy="57474"/>
                </a:xfrm>
                <a:custGeom>
                  <a:avLst/>
                  <a:gdLst>
                    <a:gd name="connsiteX0" fmla="*/ 19916 w 35585"/>
                    <a:gd name="connsiteY0" fmla="*/ 0 h 57474"/>
                    <a:gd name="connsiteX1" fmla="*/ 22727 w 35585"/>
                    <a:gd name="connsiteY1" fmla="*/ 479 h 57474"/>
                    <a:gd name="connsiteX2" fmla="*/ 25538 w 35585"/>
                    <a:gd name="connsiteY2" fmla="*/ 957 h 57474"/>
                    <a:gd name="connsiteX3" fmla="*/ 27212 w 35585"/>
                    <a:gd name="connsiteY3" fmla="*/ 1256 h 57474"/>
                    <a:gd name="connsiteX4" fmla="*/ 29724 w 35585"/>
                    <a:gd name="connsiteY4" fmla="*/ 2452 h 57474"/>
                    <a:gd name="connsiteX5" fmla="*/ 30801 w 35585"/>
                    <a:gd name="connsiteY5" fmla="*/ 2930 h 57474"/>
                    <a:gd name="connsiteX6" fmla="*/ 32595 w 35585"/>
                    <a:gd name="connsiteY6" fmla="*/ 5203 h 57474"/>
                    <a:gd name="connsiteX7" fmla="*/ 33492 w 35585"/>
                    <a:gd name="connsiteY7" fmla="*/ 6399 h 57474"/>
                    <a:gd name="connsiteX8" fmla="*/ 34509 w 35585"/>
                    <a:gd name="connsiteY8" fmla="*/ 9450 h 57474"/>
                    <a:gd name="connsiteX9" fmla="*/ 34748 w 35585"/>
                    <a:gd name="connsiteY9" fmla="*/ 10107 h 57474"/>
                    <a:gd name="connsiteX10" fmla="*/ 35167 w 35585"/>
                    <a:gd name="connsiteY10" fmla="*/ 11483 h 57474"/>
                    <a:gd name="connsiteX11" fmla="*/ 35406 w 35585"/>
                    <a:gd name="connsiteY11" fmla="*/ 15012 h 57474"/>
                    <a:gd name="connsiteX12" fmla="*/ 35585 w 35585"/>
                    <a:gd name="connsiteY12" fmla="*/ 17882 h 57474"/>
                    <a:gd name="connsiteX13" fmla="*/ 35167 w 35585"/>
                    <a:gd name="connsiteY13" fmla="*/ 21590 h 57474"/>
                    <a:gd name="connsiteX14" fmla="*/ 34748 w 35585"/>
                    <a:gd name="connsiteY14" fmla="*/ 25059 h 57474"/>
                    <a:gd name="connsiteX15" fmla="*/ 33731 w 35585"/>
                    <a:gd name="connsiteY15" fmla="*/ 28827 h 57474"/>
                    <a:gd name="connsiteX16" fmla="*/ 32714 w 35585"/>
                    <a:gd name="connsiteY16" fmla="*/ 32595 h 57474"/>
                    <a:gd name="connsiteX17" fmla="*/ 31159 w 35585"/>
                    <a:gd name="connsiteY17" fmla="*/ 36243 h 57474"/>
                    <a:gd name="connsiteX18" fmla="*/ 29605 w 35585"/>
                    <a:gd name="connsiteY18" fmla="*/ 39891 h 57474"/>
                    <a:gd name="connsiteX19" fmla="*/ 27571 w 35585"/>
                    <a:gd name="connsiteY19" fmla="*/ 43300 h 57474"/>
                    <a:gd name="connsiteX20" fmla="*/ 25657 w 35585"/>
                    <a:gd name="connsiteY20" fmla="*/ 46470 h 57474"/>
                    <a:gd name="connsiteX21" fmla="*/ 23145 w 35585"/>
                    <a:gd name="connsiteY21" fmla="*/ 49401 h 57474"/>
                    <a:gd name="connsiteX22" fmla="*/ 22069 w 35585"/>
                    <a:gd name="connsiteY22" fmla="*/ 50657 h 57474"/>
                    <a:gd name="connsiteX23" fmla="*/ 21112 w 35585"/>
                    <a:gd name="connsiteY23" fmla="*/ 51793 h 57474"/>
                    <a:gd name="connsiteX24" fmla="*/ 18241 w 35585"/>
                    <a:gd name="connsiteY24" fmla="*/ 54066 h 57474"/>
                    <a:gd name="connsiteX25" fmla="*/ 16387 w 35585"/>
                    <a:gd name="connsiteY25" fmla="*/ 55561 h 57474"/>
                    <a:gd name="connsiteX26" fmla="*/ 13337 w 35585"/>
                    <a:gd name="connsiteY26" fmla="*/ 56817 h 57474"/>
                    <a:gd name="connsiteX27" fmla="*/ 11782 w 35585"/>
                    <a:gd name="connsiteY27" fmla="*/ 57475 h 57474"/>
                    <a:gd name="connsiteX28" fmla="*/ 8851 w 35585"/>
                    <a:gd name="connsiteY28" fmla="*/ 57415 h 57474"/>
                    <a:gd name="connsiteX29" fmla="*/ 7596 w 35585"/>
                    <a:gd name="connsiteY29" fmla="*/ 57415 h 57474"/>
                    <a:gd name="connsiteX30" fmla="*/ 4725 w 35585"/>
                    <a:gd name="connsiteY30" fmla="*/ 57236 h 57474"/>
                    <a:gd name="connsiteX31" fmla="*/ 1854 w 35585"/>
                    <a:gd name="connsiteY31" fmla="*/ 57056 h 57474"/>
                    <a:gd name="connsiteX32" fmla="*/ 0 w 35585"/>
                    <a:gd name="connsiteY32" fmla="*/ 56937 h 5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585" h="57474">
                      <a:moveTo>
                        <a:pt x="19916" y="0"/>
                      </a:moveTo>
                      <a:lnTo>
                        <a:pt x="22727" y="479"/>
                      </a:lnTo>
                      <a:lnTo>
                        <a:pt x="25538" y="957"/>
                      </a:lnTo>
                      <a:lnTo>
                        <a:pt x="27212" y="1256"/>
                      </a:lnTo>
                      <a:lnTo>
                        <a:pt x="29724" y="2452"/>
                      </a:lnTo>
                      <a:lnTo>
                        <a:pt x="30801" y="2930"/>
                      </a:lnTo>
                      <a:lnTo>
                        <a:pt x="32595" y="5203"/>
                      </a:lnTo>
                      <a:lnTo>
                        <a:pt x="33492" y="6399"/>
                      </a:lnTo>
                      <a:lnTo>
                        <a:pt x="34509" y="9450"/>
                      </a:lnTo>
                      <a:lnTo>
                        <a:pt x="34748" y="10107"/>
                      </a:lnTo>
                      <a:lnTo>
                        <a:pt x="35167" y="11483"/>
                      </a:lnTo>
                      <a:lnTo>
                        <a:pt x="35406" y="15012"/>
                      </a:lnTo>
                      <a:lnTo>
                        <a:pt x="35585" y="17882"/>
                      </a:lnTo>
                      <a:lnTo>
                        <a:pt x="35167" y="21590"/>
                      </a:lnTo>
                      <a:lnTo>
                        <a:pt x="34748" y="25059"/>
                      </a:lnTo>
                      <a:lnTo>
                        <a:pt x="33731" y="28827"/>
                      </a:lnTo>
                      <a:lnTo>
                        <a:pt x="32714" y="32595"/>
                      </a:lnTo>
                      <a:lnTo>
                        <a:pt x="31159" y="36243"/>
                      </a:lnTo>
                      <a:lnTo>
                        <a:pt x="29605" y="39891"/>
                      </a:lnTo>
                      <a:lnTo>
                        <a:pt x="27571" y="43300"/>
                      </a:lnTo>
                      <a:lnTo>
                        <a:pt x="25657" y="46470"/>
                      </a:lnTo>
                      <a:lnTo>
                        <a:pt x="23145" y="49401"/>
                      </a:lnTo>
                      <a:lnTo>
                        <a:pt x="22069" y="50657"/>
                      </a:lnTo>
                      <a:lnTo>
                        <a:pt x="21112" y="51793"/>
                      </a:lnTo>
                      <a:lnTo>
                        <a:pt x="18241" y="54066"/>
                      </a:lnTo>
                      <a:lnTo>
                        <a:pt x="16387" y="55561"/>
                      </a:lnTo>
                      <a:lnTo>
                        <a:pt x="13337" y="56817"/>
                      </a:lnTo>
                      <a:lnTo>
                        <a:pt x="11782" y="57475"/>
                      </a:lnTo>
                      <a:lnTo>
                        <a:pt x="8851" y="57415"/>
                      </a:lnTo>
                      <a:lnTo>
                        <a:pt x="7596" y="57415"/>
                      </a:lnTo>
                      <a:lnTo>
                        <a:pt x="4725" y="57236"/>
                      </a:lnTo>
                      <a:lnTo>
                        <a:pt x="1854" y="57056"/>
                      </a:lnTo>
                      <a:lnTo>
                        <a:pt x="0" y="56937"/>
                      </a:lnTo>
                    </a:path>
                  </a:pathLst>
                </a:custGeom>
                <a:noFill/>
                <a:ln w="6350" cap="flat">
                  <a:solidFill>
                    <a:schemeClr val="bg1">
                      <a:alpha val="80000"/>
                    </a:schemeClr>
                  </a:solidFill>
                  <a:prstDash val="solid"/>
                  <a:miter/>
                </a:ln>
              </p:spPr>
              <p:txBody>
                <a:bodyPr rtlCol="0" anchor="ctr"/>
                <a:lstStyle/>
                <a:p>
                  <a:endParaRPr lang="en-GB"/>
                </a:p>
              </p:txBody>
            </p:sp>
            <p:sp>
              <p:nvSpPr>
                <p:cNvPr id="7893" name="Vrije vorm: vorm 7892">
                  <a:extLst>
                    <a:ext uri="{FF2B5EF4-FFF2-40B4-BE49-F238E27FC236}">
                      <a16:creationId xmlns:a16="http://schemas.microsoft.com/office/drawing/2014/main" id="{F4FE8226-5AF8-42C2-9359-DEDB4E520B8B}"/>
                    </a:ext>
                  </a:extLst>
                </p:cNvPr>
                <p:cNvSpPr/>
                <p:nvPr/>
              </p:nvSpPr>
              <p:spPr>
                <a:xfrm>
                  <a:off x="5654673" y="5377366"/>
                  <a:ext cx="12439" cy="3648"/>
                </a:xfrm>
                <a:custGeom>
                  <a:avLst/>
                  <a:gdLst>
                    <a:gd name="connsiteX0" fmla="*/ 0 w 12439"/>
                    <a:gd name="connsiteY0" fmla="*/ 0 h 3648"/>
                    <a:gd name="connsiteX1" fmla="*/ 1136 w 12439"/>
                    <a:gd name="connsiteY1" fmla="*/ 1495 h 3648"/>
                    <a:gd name="connsiteX2" fmla="*/ 1435 w 12439"/>
                    <a:gd name="connsiteY2" fmla="*/ 1914 h 3648"/>
                    <a:gd name="connsiteX3" fmla="*/ 3887 w 12439"/>
                    <a:gd name="connsiteY3" fmla="*/ 3230 h 3648"/>
                    <a:gd name="connsiteX4" fmla="*/ 4186 w 12439"/>
                    <a:gd name="connsiteY4" fmla="*/ 3350 h 3648"/>
                    <a:gd name="connsiteX5" fmla="*/ 7057 w 12439"/>
                    <a:gd name="connsiteY5" fmla="*/ 3529 h 3648"/>
                    <a:gd name="connsiteX6" fmla="*/ 8433 w 12439"/>
                    <a:gd name="connsiteY6" fmla="*/ 3589 h 3648"/>
                    <a:gd name="connsiteX7" fmla="*/ 11363 w 12439"/>
                    <a:gd name="connsiteY7" fmla="*/ 3649 h 3648"/>
                    <a:gd name="connsiteX8" fmla="*/ 11662 w 12439"/>
                    <a:gd name="connsiteY8" fmla="*/ 3649 h 3648"/>
                    <a:gd name="connsiteX9" fmla="*/ 12380 w 12439"/>
                    <a:gd name="connsiteY9" fmla="*/ 837 h 3648"/>
                    <a:gd name="connsiteX10" fmla="*/ 12440 w 12439"/>
                    <a:gd name="connsiteY10" fmla="*/ 658 h 3648"/>
                    <a:gd name="connsiteX11" fmla="*/ 9569 w 12439"/>
                    <a:gd name="connsiteY11" fmla="*/ 479 h 3648"/>
                    <a:gd name="connsiteX12" fmla="*/ 8194 w 12439"/>
                    <a:gd name="connsiteY12" fmla="*/ 359 h 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39" h="3648">
                      <a:moveTo>
                        <a:pt x="0" y="0"/>
                      </a:moveTo>
                      <a:lnTo>
                        <a:pt x="1136" y="1495"/>
                      </a:lnTo>
                      <a:lnTo>
                        <a:pt x="1435" y="1914"/>
                      </a:lnTo>
                      <a:lnTo>
                        <a:pt x="3887" y="3230"/>
                      </a:lnTo>
                      <a:lnTo>
                        <a:pt x="4186" y="3350"/>
                      </a:lnTo>
                      <a:lnTo>
                        <a:pt x="7057" y="3529"/>
                      </a:lnTo>
                      <a:lnTo>
                        <a:pt x="8433" y="3589"/>
                      </a:lnTo>
                      <a:lnTo>
                        <a:pt x="11363" y="3649"/>
                      </a:lnTo>
                      <a:lnTo>
                        <a:pt x="11662" y="3649"/>
                      </a:lnTo>
                      <a:lnTo>
                        <a:pt x="12380" y="837"/>
                      </a:lnTo>
                      <a:lnTo>
                        <a:pt x="12440" y="658"/>
                      </a:lnTo>
                      <a:lnTo>
                        <a:pt x="9569" y="479"/>
                      </a:lnTo>
                      <a:lnTo>
                        <a:pt x="8194" y="359"/>
                      </a:lnTo>
                    </a:path>
                  </a:pathLst>
                </a:custGeom>
                <a:noFill/>
                <a:ln w="6350" cap="flat">
                  <a:solidFill>
                    <a:schemeClr val="bg1">
                      <a:alpha val="80000"/>
                    </a:schemeClr>
                  </a:solidFill>
                  <a:prstDash val="solid"/>
                  <a:miter/>
                </a:ln>
              </p:spPr>
              <p:txBody>
                <a:bodyPr rtlCol="0" anchor="ctr"/>
                <a:lstStyle/>
                <a:p>
                  <a:endParaRPr lang="en-GB"/>
                </a:p>
              </p:txBody>
            </p:sp>
            <p:sp>
              <p:nvSpPr>
                <p:cNvPr id="7894" name="Vrije vorm: vorm 7893">
                  <a:extLst>
                    <a:ext uri="{FF2B5EF4-FFF2-40B4-BE49-F238E27FC236}">
                      <a16:creationId xmlns:a16="http://schemas.microsoft.com/office/drawing/2014/main" id="{246C3E7C-6563-42E0-9188-F78985EB4B55}"/>
                    </a:ext>
                  </a:extLst>
                </p:cNvPr>
                <p:cNvSpPr/>
                <p:nvPr/>
              </p:nvSpPr>
              <p:spPr>
                <a:xfrm>
                  <a:off x="5669265" y="5378383"/>
                  <a:ext cx="12081" cy="3528"/>
                </a:xfrm>
                <a:custGeom>
                  <a:avLst/>
                  <a:gdLst>
                    <a:gd name="connsiteX0" fmla="*/ 0 w 12081"/>
                    <a:gd name="connsiteY0" fmla="*/ 0 h 3528"/>
                    <a:gd name="connsiteX1" fmla="*/ 1136 w 12081"/>
                    <a:gd name="connsiteY1" fmla="*/ 1435 h 3528"/>
                    <a:gd name="connsiteX2" fmla="*/ 1436 w 12081"/>
                    <a:gd name="connsiteY2" fmla="*/ 1794 h 3528"/>
                    <a:gd name="connsiteX3" fmla="*/ 3888 w 12081"/>
                    <a:gd name="connsiteY3" fmla="*/ 3110 h 3528"/>
                    <a:gd name="connsiteX4" fmla="*/ 4127 w 12081"/>
                    <a:gd name="connsiteY4" fmla="*/ 3229 h 3528"/>
                    <a:gd name="connsiteX5" fmla="*/ 6998 w 12081"/>
                    <a:gd name="connsiteY5" fmla="*/ 3409 h 3528"/>
                    <a:gd name="connsiteX6" fmla="*/ 8134 w 12081"/>
                    <a:gd name="connsiteY6" fmla="*/ 3469 h 3528"/>
                    <a:gd name="connsiteX7" fmla="*/ 11065 w 12081"/>
                    <a:gd name="connsiteY7" fmla="*/ 3528 h 3528"/>
                    <a:gd name="connsiteX8" fmla="*/ 11304 w 12081"/>
                    <a:gd name="connsiteY8" fmla="*/ 3528 h 3528"/>
                    <a:gd name="connsiteX9" fmla="*/ 12021 w 12081"/>
                    <a:gd name="connsiteY9" fmla="*/ 778 h 3528"/>
                    <a:gd name="connsiteX10" fmla="*/ 12081 w 12081"/>
                    <a:gd name="connsiteY10" fmla="*/ 598 h 3528"/>
                    <a:gd name="connsiteX11" fmla="*/ 9211 w 12081"/>
                    <a:gd name="connsiteY11" fmla="*/ 419 h 3528"/>
                    <a:gd name="connsiteX12" fmla="*/ 8134 w 12081"/>
                    <a:gd name="connsiteY12" fmla="*/ 359 h 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81" h="3528">
                      <a:moveTo>
                        <a:pt x="0" y="0"/>
                      </a:moveTo>
                      <a:lnTo>
                        <a:pt x="1136" y="1435"/>
                      </a:lnTo>
                      <a:lnTo>
                        <a:pt x="1436" y="1794"/>
                      </a:lnTo>
                      <a:lnTo>
                        <a:pt x="3888" y="3110"/>
                      </a:lnTo>
                      <a:lnTo>
                        <a:pt x="4127" y="3229"/>
                      </a:lnTo>
                      <a:lnTo>
                        <a:pt x="6998" y="3409"/>
                      </a:lnTo>
                      <a:lnTo>
                        <a:pt x="8134" y="3469"/>
                      </a:lnTo>
                      <a:lnTo>
                        <a:pt x="11065" y="3528"/>
                      </a:lnTo>
                      <a:lnTo>
                        <a:pt x="11304" y="3528"/>
                      </a:lnTo>
                      <a:lnTo>
                        <a:pt x="12021" y="778"/>
                      </a:lnTo>
                      <a:lnTo>
                        <a:pt x="12081" y="598"/>
                      </a:lnTo>
                      <a:lnTo>
                        <a:pt x="9211" y="419"/>
                      </a:lnTo>
                      <a:lnTo>
                        <a:pt x="8134" y="359"/>
                      </a:lnTo>
                    </a:path>
                  </a:pathLst>
                </a:custGeom>
                <a:noFill/>
                <a:ln w="6350" cap="flat">
                  <a:solidFill>
                    <a:schemeClr val="bg1">
                      <a:alpha val="80000"/>
                    </a:schemeClr>
                  </a:solidFill>
                  <a:prstDash val="solid"/>
                  <a:miter/>
                </a:ln>
              </p:spPr>
              <p:txBody>
                <a:bodyPr rtlCol="0" anchor="ctr"/>
                <a:lstStyle/>
                <a:p>
                  <a:endParaRPr lang="en-GB"/>
                </a:p>
              </p:txBody>
            </p:sp>
            <p:sp>
              <p:nvSpPr>
                <p:cNvPr id="7895" name="Vrije vorm: vorm 7894">
                  <a:extLst>
                    <a:ext uri="{FF2B5EF4-FFF2-40B4-BE49-F238E27FC236}">
                      <a16:creationId xmlns:a16="http://schemas.microsoft.com/office/drawing/2014/main" id="{355865DE-AB22-4433-8631-DA3CD0DBCBA4}"/>
                    </a:ext>
                  </a:extLst>
                </p:cNvPr>
                <p:cNvSpPr/>
                <p:nvPr/>
              </p:nvSpPr>
              <p:spPr>
                <a:xfrm>
                  <a:off x="5684636" y="5379400"/>
                  <a:ext cx="11542" cy="3468"/>
                </a:xfrm>
                <a:custGeom>
                  <a:avLst/>
                  <a:gdLst>
                    <a:gd name="connsiteX0" fmla="*/ 0 w 11542"/>
                    <a:gd name="connsiteY0" fmla="*/ 0 h 3468"/>
                    <a:gd name="connsiteX1" fmla="*/ 1076 w 11542"/>
                    <a:gd name="connsiteY1" fmla="*/ 1435 h 3468"/>
                    <a:gd name="connsiteX2" fmla="*/ 1376 w 11542"/>
                    <a:gd name="connsiteY2" fmla="*/ 1794 h 3468"/>
                    <a:gd name="connsiteX3" fmla="*/ 3828 w 11542"/>
                    <a:gd name="connsiteY3" fmla="*/ 3050 h 3468"/>
                    <a:gd name="connsiteX4" fmla="*/ 4007 w 11542"/>
                    <a:gd name="connsiteY4" fmla="*/ 3170 h 3468"/>
                    <a:gd name="connsiteX5" fmla="*/ 6878 w 11542"/>
                    <a:gd name="connsiteY5" fmla="*/ 3349 h 3468"/>
                    <a:gd name="connsiteX6" fmla="*/ 7715 w 11542"/>
                    <a:gd name="connsiteY6" fmla="*/ 3409 h 3468"/>
                    <a:gd name="connsiteX7" fmla="*/ 10646 w 11542"/>
                    <a:gd name="connsiteY7" fmla="*/ 3469 h 3468"/>
                    <a:gd name="connsiteX8" fmla="*/ 10825 w 11542"/>
                    <a:gd name="connsiteY8" fmla="*/ 3469 h 3468"/>
                    <a:gd name="connsiteX9" fmla="*/ 11483 w 11542"/>
                    <a:gd name="connsiteY9" fmla="*/ 837 h 3468"/>
                    <a:gd name="connsiteX10" fmla="*/ 11543 w 11542"/>
                    <a:gd name="connsiteY10" fmla="*/ 658 h 3468"/>
                    <a:gd name="connsiteX11" fmla="*/ 8672 w 11542"/>
                    <a:gd name="connsiteY11" fmla="*/ 479 h 3468"/>
                    <a:gd name="connsiteX12" fmla="*/ 7835 w 11542"/>
                    <a:gd name="connsiteY12" fmla="*/ 419 h 3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2" h="3468">
                      <a:moveTo>
                        <a:pt x="0" y="0"/>
                      </a:moveTo>
                      <a:lnTo>
                        <a:pt x="1076" y="1435"/>
                      </a:lnTo>
                      <a:lnTo>
                        <a:pt x="1376" y="1794"/>
                      </a:lnTo>
                      <a:lnTo>
                        <a:pt x="3828" y="3050"/>
                      </a:lnTo>
                      <a:lnTo>
                        <a:pt x="4007" y="3170"/>
                      </a:lnTo>
                      <a:lnTo>
                        <a:pt x="6878" y="3349"/>
                      </a:lnTo>
                      <a:lnTo>
                        <a:pt x="7715" y="3409"/>
                      </a:lnTo>
                      <a:lnTo>
                        <a:pt x="10646" y="3469"/>
                      </a:lnTo>
                      <a:lnTo>
                        <a:pt x="10825" y="3469"/>
                      </a:lnTo>
                      <a:lnTo>
                        <a:pt x="11483" y="837"/>
                      </a:lnTo>
                      <a:lnTo>
                        <a:pt x="11543" y="658"/>
                      </a:lnTo>
                      <a:lnTo>
                        <a:pt x="8672" y="479"/>
                      </a:lnTo>
                      <a:lnTo>
                        <a:pt x="7835" y="419"/>
                      </a:lnTo>
                    </a:path>
                  </a:pathLst>
                </a:custGeom>
                <a:noFill/>
                <a:ln w="6350" cap="flat">
                  <a:solidFill>
                    <a:schemeClr val="bg1">
                      <a:alpha val="80000"/>
                    </a:schemeClr>
                  </a:solidFill>
                  <a:prstDash val="solid"/>
                  <a:miter/>
                </a:ln>
              </p:spPr>
              <p:txBody>
                <a:bodyPr rtlCol="0" anchor="ctr"/>
                <a:lstStyle/>
                <a:p>
                  <a:endParaRPr lang="en-GB"/>
                </a:p>
              </p:txBody>
            </p:sp>
            <p:sp>
              <p:nvSpPr>
                <p:cNvPr id="7896" name="Vrije vorm: vorm 7895">
                  <a:extLst>
                    <a:ext uri="{FF2B5EF4-FFF2-40B4-BE49-F238E27FC236}">
                      <a16:creationId xmlns:a16="http://schemas.microsoft.com/office/drawing/2014/main" id="{57FAB4CD-0745-433F-944B-C929BE572B1C}"/>
                    </a:ext>
                  </a:extLst>
                </p:cNvPr>
                <p:cNvSpPr/>
                <p:nvPr/>
              </p:nvSpPr>
              <p:spPr>
                <a:xfrm>
                  <a:off x="5610894" y="5341961"/>
                  <a:ext cx="3169" cy="358"/>
                </a:xfrm>
                <a:custGeom>
                  <a:avLst/>
                  <a:gdLst>
                    <a:gd name="connsiteX0" fmla="*/ 0 w 3169"/>
                    <a:gd name="connsiteY0" fmla="*/ 0 h 358"/>
                    <a:gd name="connsiteX1" fmla="*/ 778 w 3169"/>
                    <a:gd name="connsiteY1" fmla="*/ 120 h 358"/>
                    <a:gd name="connsiteX2" fmla="*/ 1017 w 3169"/>
                    <a:gd name="connsiteY2" fmla="*/ 180 h 358"/>
                    <a:gd name="connsiteX3" fmla="*/ 2452 w 3169"/>
                    <a:gd name="connsiteY3" fmla="*/ 359 h 358"/>
                    <a:gd name="connsiteX4" fmla="*/ 2572 w 3169"/>
                    <a:gd name="connsiteY4" fmla="*/ 359 h 358"/>
                    <a:gd name="connsiteX5" fmla="*/ 2811 w 3169"/>
                    <a:gd name="connsiteY5" fmla="*/ 359 h 358"/>
                    <a:gd name="connsiteX6" fmla="*/ 3170 w 3169"/>
                    <a:gd name="connsiteY6" fmla="*/ 359 h 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9" h="358">
                      <a:moveTo>
                        <a:pt x="0" y="0"/>
                      </a:moveTo>
                      <a:lnTo>
                        <a:pt x="778" y="120"/>
                      </a:lnTo>
                      <a:lnTo>
                        <a:pt x="1017" y="180"/>
                      </a:lnTo>
                      <a:lnTo>
                        <a:pt x="2452" y="359"/>
                      </a:lnTo>
                      <a:lnTo>
                        <a:pt x="2572" y="359"/>
                      </a:lnTo>
                      <a:lnTo>
                        <a:pt x="2811" y="359"/>
                      </a:lnTo>
                      <a:lnTo>
                        <a:pt x="3170" y="359"/>
                      </a:lnTo>
                    </a:path>
                  </a:pathLst>
                </a:custGeom>
                <a:noFill/>
                <a:ln w="6350" cap="flat">
                  <a:solidFill>
                    <a:schemeClr val="bg1">
                      <a:alpha val="80000"/>
                    </a:schemeClr>
                  </a:solidFill>
                  <a:prstDash val="solid"/>
                  <a:miter/>
                </a:ln>
              </p:spPr>
              <p:txBody>
                <a:bodyPr rtlCol="0" anchor="ctr"/>
                <a:lstStyle/>
                <a:p>
                  <a:endParaRPr lang="en-GB"/>
                </a:p>
              </p:txBody>
            </p:sp>
            <p:sp>
              <p:nvSpPr>
                <p:cNvPr id="7897" name="Vrije vorm: vorm 7896">
                  <a:extLst>
                    <a:ext uri="{FF2B5EF4-FFF2-40B4-BE49-F238E27FC236}">
                      <a16:creationId xmlns:a16="http://schemas.microsoft.com/office/drawing/2014/main" id="{289F40EB-6551-4E39-8E33-97B53D5CF22A}"/>
                    </a:ext>
                  </a:extLst>
                </p:cNvPr>
                <p:cNvSpPr/>
                <p:nvPr/>
              </p:nvSpPr>
              <p:spPr>
                <a:xfrm>
                  <a:off x="5613286" y="5341961"/>
                  <a:ext cx="657" cy="298"/>
                </a:xfrm>
                <a:custGeom>
                  <a:avLst/>
                  <a:gdLst>
                    <a:gd name="connsiteX0" fmla="*/ 0 w 657"/>
                    <a:gd name="connsiteY0" fmla="*/ 299 h 298"/>
                    <a:gd name="connsiteX1" fmla="*/ 299 w 657"/>
                    <a:gd name="connsiteY1" fmla="*/ 180 h 298"/>
                    <a:gd name="connsiteX2" fmla="*/ 658 w 657"/>
                    <a:gd name="connsiteY2" fmla="*/ 0 h 298"/>
                  </a:gdLst>
                  <a:ahLst/>
                  <a:cxnLst>
                    <a:cxn ang="0">
                      <a:pos x="connsiteX0" y="connsiteY0"/>
                    </a:cxn>
                    <a:cxn ang="0">
                      <a:pos x="connsiteX1" y="connsiteY1"/>
                    </a:cxn>
                    <a:cxn ang="0">
                      <a:pos x="connsiteX2" y="connsiteY2"/>
                    </a:cxn>
                  </a:cxnLst>
                  <a:rect l="l" t="t" r="r" b="b"/>
                  <a:pathLst>
                    <a:path w="657" h="298">
                      <a:moveTo>
                        <a:pt x="0" y="299"/>
                      </a:moveTo>
                      <a:lnTo>
                        <a:pt x="299" y="180"/>
                      </a:lnTo>
                      <a:lnTo>
                        <a:pt x="658" y="0"/>
                      </a:lnTo>
                    </a:path>
                  </a:pathLst>
                </a:custGeom>
                <a:noFill/>
                <a:ln w="6350" cap="flat">
                  <a:solidFill>
                    <a:schemeClr val="bg1">
                      <a:alpha val="80000"/>
                    </a:schemeClr>
                  </a:solidFill>
                  <a:prstDash val="solid"/>
                  <a:miter/>
                </a:ln>
              </p:spPr>
              <p:txBody>
                <a:bodyPr rtlCol="0" anchor="ctr"/>
                <a:lstStyle/>
                <a:p>
                  <a:endParaRPr lang="en-GB"/>
                </a:p>
              </p:txBody>
            </p:sp>
            <p:sp>
              <p:nvSpPr>
                <p:cNvPr id="7898" name="Vrije vorm: vorm 7897">
                  <a:extLst>
                    <a:ext uri="{FF2B5EF4-FFF2-40B4-BE49-F238E27FC236}">
                      <a16:creationId xmlns:a16="http://schemas.microsoft.com/office/drawing/2014/main" id="{E6EBFB12-0DA0-4554-ACFE-EBFE048D9414}"/>
                    </a:ext>
                  </a:extLst>
                </p:cNvPr>
                <p:cNvSpPr/>
                <p:nvPr/>
              </p:nvSpPr>
              <p:spPr>
                <a:xfrm>
                  <a:off x="5571421" y="5331913"/>
                  <a:ext cx="22188" cy="23803"/>
                </a:xfrm>
                <a:custGeom>
                  <a:avLst/>
                  <a:gdLst>
                    <a:gd name="connsiteX0" fmla="*/ 658 w 22188"/>
                    <a:gd name="connsiteY0" fmla="*/ 23803 h 23803"/>
                    <a:gd name="connsiteX1" fmla="*/ 180 w 22188"/>
                    <a:gd name="connsiteY1" fmla="*/ 22129 h 23803"/>
                    <a:gd name="connsiteX2" fmla="*/ 120 w 22188"/>
                    <a:gd name="connsiteY2" fmla="*/ 21949 h 23803"/>
                    <a:gd name="connsiteX3" fmla="*/ 0 w 22188"/>
                    <a:gd name="connsiteY3" fmla="*/ 21530 h 23803"/>
                    <a:gd name="connsiteX4" fmla="*/ 0 w 22188"/>
                    <a:gd name="connsiteY4" fmla="*/ 20813 h 23803"/>
                    <a:gd name="connsiteX5" fmla="*/ 60 w 22188"/>
                    <a:gd name="connsiteY5" fmla="*/ 18720 h 23803"/>
                    <a:gd name="connsiteX6" fmla="*/ 658 w 22188"/>
                    <a:gd name="connsiteY6" fmla="*/ 16268 h 23803"/>
                    <a:gd name="connsiteX7" fmla="*/ 837 w 22188"/>
                    <a:gd name="connsiteY7" fmla="*/ 15430 h 23803"/>
                    <a:gd name="connsiteX8" fmla="*/ 2273 w 22188"/>
                    <a:gd name="connsiteY8" fmla="*/ 12021 h 23803"/>
                    <a:gd name="connsiteX9" fmla="*/ 4306 w 22188"/>
                    <a:gd name="connsiteY9" fmla="*/ 8672 h 23803"/>
                    <a:gd name="connsiteX10" fmla="*/ 6758 w 22188"/>
                    <a:gd name="connsiteY10" fmla="*/ 5622 h 23803"/>
                    <a:gd name="connsiteX11" fmla="*/ 9450 w 22188"/>
                    <a:gd name="connsiteY11" fmla="*/ 3050 h 23803"/>
                    <a:gd name="connsiteX12" fmla="*/ 12141 w 22188"/>
                    <a:gd name="connsiteY12" fmla="*/ 1196 h 23803"/>
                    <a:gd name="connsiteX13" fmla="*/ 14713 w 22188"/>
                    <a:gd name="connsiteY13" fmla="*/ 180 h 23803"/>
                    <a:gd name="connsiteX14" fmla="*/ 16985 w 22188"/>
                    <a:gd name="connsiteY14" fmla="*/ 0 h 23803"/>
                    <a:gd name="connsiteX15" fmla="*/ 18780 w 22188"/>
                    <a:gd name="connsiteY15" fmla="*/ 718 h 23803"/>
                    <a:gd name="connsiteX16" fmla="*/ 20454 w 22188"/>
                    <a:gd name="connsiteY16" fmla="*/ 2213 h 23803"/>
                    <a:gd name="connsiteX17" fmla="*/ 22009 w 22188"/>
                    <a:gd name="connsiteY17" fmla="*/ 3648 h 23803"/>
                    <a:gd name="connsiteX18" fmla="*/ 22189 w 22188"/>
                    <a:gd name="connsiteY18" fmla="*/ 3828 h 2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188" h="23803">
                      <a:moveTo>
                        <a:pt x="658" y="23803"/>
                      </a:moveTo>
                      <a:lnTo>
                        <a:pt x="180" y="22129"/>
                      </a:lnTo>
                      <a:lnTo>
                        <a:pt x="120" y="21949"/>
                      </a:lnTo>
                      <a:lnTo>
                        <a:pt x="0" y="21530"/>
                      </a:lnTo>
                      <a:lnTo>
                        <a:pt x="0" y="20813"/>
                      </a:lnTo>
                      <a:lnTo>
                        <a:pt x="60" y="18720"/>
                      </a:lnTo>
                      <a:lnTo>
                        <a:pt x="658" y="16268"/>
                      </a:lnTo>
                      <a:lnTo>
                        <a:pt x="837" y="15430"/>
                      </a:lnTo>
                      <a:lnTo>
                        <a:pt x="2273" y="12021"/>
                      </a:lnTo>
                      <a:lnTo>
                        <a:pt x="4306" y="8672"/>
                      </a:lnTo>
                      <a:lnTo>
                        <a:pt x="6758" y="5622"/>
                      </a:lnTo>
                      <a:lnTo>
                        <a:pt x="9450" y="3050"/>
                      </a:lnTo>
                      <a:lnTo>
                        <a:pt x="12141" y="1196"/>
                      </a:lnTo>
                      <a:lnTo>
                        <a:pt x="14713" y="180"/>
                      </a:lnTo>
                      <a:lnTo>
                        <a:pt x="16985" y="0"/>
                      </a:lnTo>
                      <a:lnTo>
                        <a:pt x="18780" y="718"/>
                      </a:lnTo>
                      <a:lnTo>
                        <a:pt x="20454" y="2213"/>
                      </a:lnTo>
                      <a:lnTo>
                        <a:pt x="22009" y="3648"/>
                      </a:lnTo>
                      <a:lnTo>
                        <a:pt x="22189" y="3828"/>
                      </a:lnTo>
                    </a:path>
                  </a:pathLst>
                </a:custGeom>
                <a:noFill/>
                <a:ln w="6350" cap="flat">
                  <a:solidFill>
                    <a:schemeClr val="bg1">
                      <a:alpha val="80000"/>
                    </a:schemeClr>
                  </a:solidFill>
                  <a:prstDash val="solid"/>
                  <a:miter/>
                </a:ln>
              </p:spPr>
              <p:txBody>
                <a:bodyPr rtlCol="0" anchor="ctr"/>
                <a:lstStyle/>
                <a:p>
                  <a:endParaRPr lang="en-GB"/>
                </a:p>
              </p:txBody>
            </p:sp>
            <p:sp>
              <p:nvSpPr>
                <p:cNvPr id="7899" name="Vrije vorm: vorm 7898">
                  <a:extLst>
                    <a:ext uri="{FF2B5EF4-FFF2-40B4-BE49-F238E27FC236}">
                      <a16:creationId xmlns:a16="http://schemas.microsoft.com/office/drawing/2014/main" id="{15FFD0D0-0903-4AA6-A1B7-F76506DEA62F}"/>
                    </a:ext>
                  </a:extLst>
                </p:cNvPr>
                <p:cNvSpPr/>
                <p:nvPr/>
              </p:nvSpPr>
              <p:spPr>
                <a:xfrm>
                  <a:off x="5572976" y="5356852"/>
                  <a:ext cx="4425" cy="4426"/>
                </a:xfrm>
                <a:custGeom>
                  <a:avLst/>
                  <a:gdLst>
                    <a:gd name="connsiteX0" fmla="*/ 4426 w 4425"/>
                    <a:gd name="connsiteY0" fmla="*/ 4426 h 4426"/>
                    <a:gd name="connsiteX1" fmla="*/ 2392 w 4425"/>
                    <a:gd name="connsiteY1" fmla="*/ 2452 h 4426"/>
                    <a:gd name="connsiteX2" fmla="*/ 359 w 4425"/>
                    <a:gd name="connsiteY2" fmla="*/ 419 h 4426"/>
                    <a:gd name="connsiteX3" fmla="*/ 0 w 4425"/>
                    <a:gd name="connsiteY3" fmla="*/ 0 h 4426"/>
                  </a:gdLst>
                  <a:ahLst/>
                  <a:cxnLst>
                    <a:cxn ang="0">
                      <a:pos x="connsiteX0" y="connsiteY0"/>
                    </a:cxn>
                    <a:cxn ang="0">
                      <a:pos x="connsiteX1" y="connsiteY1"/>
                    </a:cxn>
                    <a:cxn ang="0">
                      <a:pos x="connsiteX2" y="connsiteY2"/>
                    </a:cxn>
                    <a:cxn ang="0">
                      <a:pos x="connsiteX3" y="connsiteY3"/>
                    </a:cxn>
                  </a:cxnLst>
                  <a:rect l="l" t="t" r="r" b="b"/>
                  <a:pathLst>
                    <a:path w="4425" h="4426">
                      <a:moveTo>
                        <a:pt x="4426" y="4426"/>
                      </a:moveTo>
                      <a:lnTo>
                        <a:pt x="2392" y="2452"/>
                      </a:lnTo>
                      <a:lnTo>
                        <a:pt x="359" y="41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00" name="Vrije vorm: vorm 7899">
                  <a:extLst>
                    <a:ext uri="{FF2B5EF4-FFF2-40B4-BE49-F238E27FC236}">
                      <a16:creationId xmlns:a16="http://schemas.microsoft.com/office/drawing/2014/main" id="{84EA20D9-F490-49A1-88CF-2E53072C02D1}"/>
                    </a:ext>
                  </a:extLst>
                </p:cNvPr>
                <p:cNvSpPr/>
                <p:nvPr/>
              </p:nvSpPr>
              <p:spPr>
                <a:xfrm>
                  <a:off x="5688703" y="5382570"/>
                  <a:ext cx="3169" cy="59"/>
                </a:xfrm>
                <a:custGeom>
                  <a:avLst/>
                  <a:gdLst>
                    <a:gd name="connsiteX0" fmla="*/ 0 w 3169"/>
                    <a:gd name="connsiteY0" fmla="*/ 0 h 59"/>
                    <a:gd name="connsiteX1" fmla="*/ 2931 w 3169"/>
                    <a:gd name="connsiteY1" fmla="*/ 60 h 59"/>
                    <a:gd name="connsiteX2" fmla="*/ 3170 w 3169"/>
                    <a:gd name="connsiteY2" fmla="*/ 60 h 59"/>
                  </a:gdLst>
                  <a:ahLst/>
                  <a:cxnLst>
                    <a:cxn ang="0">
                      <a:pos x="connsiteX0" y="connsiteY0"/>
                    </a:cxn>
                    <a:cxn ang="0">
                      <a:pos x="connsiteX1" y="connsiteY1"/>
                    </a:cxn>
                    <a:cxn ang="0">
                      <a:pos x="connsiteX2" y="connsiteY2"/>
                    </a:cxn>
                  </a:cxnLst>
                  <a:rect l="l" t="t" r="r" b="b"/>
                  <a:pathLst>
                    <a:path w="3169" h="59">
                      <a:moveTo>
                        <a:pt x="0" y="0"/>
                      </a:moveTo>
                      <a:lnTo>
                        <a:pt x="2931" y="60"/>
                      </a:lnTo>
                      <a:lnTo>
                        <a:pt x="3170" y="60"/>
                      </a:lnTo>
                    </a:path>
                  </a:pathLst>
                </a:custGeom>
                <a:noFill/>
                <a:ln w="6350" cap="flat">
                  <a:solidFill>
                    <a:schemeClr val="bg1">
                      <a:alpha val="80000"/>
                    </a:schemeClr>
                  </a:solidFill>
                  <a:prstDash val="solid"/>
                  <a:miter/>
                </a:ln>
              </p:spPr>
              <p:txBody>
                <a:bodyPr rtlCol="0" anchor="ctr"/>
                <a:lstStyle/>
                <a:p>
                  <a:endParaRPr lang="en-GB"/>
                </a:p>
              </p:txBody>
            </p:sp>
            <p:sp>
              <p:nvSpPr>
                <p:cNvPr id="7901" name="Vrije vorm: vorm 7900">
                  <a:extLst>
                    <a:ext uri="{FF2B5EF4-FFF2-40B4-BE49-F238E27FC236}">
                      <a16:creationId xmlns:a16="http://schemas.microsoft.com/office/drawing/2014/main" id="{C5D1A0A9-A55C-4B21-A1C2-C874E40BBB4C}"/>
                    </a:ext>
                  </a:extLst>
                </p:cNvPr>
                <p:cNvSpPr/>
                <p:nvPr/>
              </p:nvSpPr>
              <p:spPr>
                <a:xfrm>
                  <a:off x="5689660" y="5379759"/>
                  <a:ext cx="5920" cy="3110"/>
                </a:xfrm>
                <a:custGeom>
                  <a:avLst/>
                  <a:gdLst>
                    <a:gd name="connsiteX0" fmla="*/ 0 w 5920"/>
                    <a:gd name="connsiteY0" fmla="*/ 0 h 3110"/>
                    <a:gd name="connsiteX1" fmla="*/ 2930 w 5920"/>
                    <a:gd name="connsiteY1" fmla="*/ 60 h 3110"/>
                    <a:gd name="connsiteX2" fmla="*/ 2213 w 5920"/>
                    <a:gd name="connsiteY2" fmla="*/ 2871 h 3110"/>
                    <a:gd name="connsiteX3" fmla="*/ 5083 w 5920"/>
                    <a:gd name="connsiteY3" fmla="*/ 3050 h 3110"/>
                    <a:gd name="connsiteX4" fmla="*/ 5921 w 5920"/>
                    <a:gd name="connsiteY4" fmla="*/ 3110 h 3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0" h="3110">
                      <a:moveTo>
                        <a:pt x="0" y="0"/>
                      </a:moveTo>
                      <a:lnTo>
                        <a:pt x="2930" y="60"/>
                      </a:lnTo>
                      <a:lnTo>
                        <a:pt x="2213" y="2871"/>
                      </a:lnTo>
                      <a:lnTo>
                        <a:pt x="5083" y="3050"/>
                      </a:lnTo>
                      <a:lnTo>
                        <a:pt x="5921" y="3110"/>
                      </a:lnTo>
                    </a:path>
                  </a:pathLst>
                </a:custGeom>
                <a:noFill/>
                <a:ln w="6350" cap="flat">
                  <a:solidFill>
                    <a:schemeClr val="bg1">
                      <a:alpha val="80000"/>
                    </a:schemeClr>
                  </a:solidFill>
                  <a:prstDash val="solid"/>
                  <a:miter/>
                </a:ln>
              </p:spPr>
              <p:txBody>
                <a:bodyPr rtlCol="0" anchor="ctr"/>
                <a:lstStyle/>
                <a:p>
                  <a:endParaRPr lang="en-GB"/>
                </a:p>
              </p:txBody>
            </p:sp>
            <p:sp>
              <p:nvSpPr>
                <p:cNvPr id="7902" name="Vrije vorm: vorm 7901">
                  <a:extLst>
                    <a:ext uri="{FF2B5EF4-FFF2-40B4-BE49-F238E27FC236}">
                      <a16:creationId xmlns:a16="http://schemas.microsoft.com/office/drawing/2014/main" id="{C214DCA2-86A5-413A-998C-D3E376717598}"/>
                    </a:ext>
                  </a:extLst>
                </p:cNvPr>
                <p:cNvSpPr/>
                <p:nvPr/>
              </p:nvSpPr>
              <p:spPr>
                <a:xfrm>
                  <a:off x="5681287" y="5379221"/>
                  <a:ext cx="8373" cy="538"/>
                </a:xfrm>
                <a:custGeom>
                  <a:avLst/>
                  <a:gdLst>
                    <a:gd name="connsiteX0" fmla="*/ 8373 w 8373"/>
                    <a:gd name="connsiteY0" fmla="*/ 538 h 538"/>
                    <a:gd name="connsiteX1" fmla="*/ 7117 w 8373"/>
                    <a:gd name="connsiteY1" fmla="*/ 478 h 538"/>
                    <a:gd name="connsiteX2" fmla="*/ 4246 w 8373"/>
                    <a:gd name="connsiteY2" fmla="*/ 299 h 538"/>
                    <a:gd name="connsiteX3" fmla="*/ 3349 w 8373"/>
                    <a:gd name="connsiteY3" fmla="*/ 239 h 538"/>
                    <a:gd name="connsiteX4" fmla="*/ 479 w 8373"/>
                    <a:gd name="connsiteY4" fmla="*/ 60 h 538"/>
                    <a:gd name="connsiteX5" fmla="*/ 0 w 8373"/>
                    <a:gd name="connsiteY5" fmla="*/ 0 h 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73" h="538">
                      <a:moveTo>
                        <a:pt x="8373" y="538"/>
                      </a:moveTo>
                      <a:lnTo>
                        <a:pt x="7117" y="478"/>
                      </a:lnTo>
                      <a:lnTo>
                        <a:pt x="4246" y="299"/>
                      </a:lnTo>
                      <a:lnTo>
                        <a:pt x="3349" y="239"/>
                      </a:lnTo>
                      <a:lnTo>
                        <a:pt x="479" y="6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03" name="Vrije vorm: vorm 7902">
                  <a:extLst>
                    <a:ext uri="{FF2B5EF4-FFF2-40B4-BE49-F238E27FC236}">
                      <a16:creationId xmlns:a16="http://schemas.microsoft.com/office/drawing/2014/main" id="{E2419C97-919C-43BA-9CC1-9ABD6CB2EDFB}"/>
                    </a:ext>
                  </a:extLst>
                </p:cNvPr>
                <p:cNvSpPr/>
                <p:nvPr/>
              </p:nvSpPr>
              <p:spPr>
                <a:xfrm>
                  <a:off x="5666993" y="5378264"/>
                  <a:ext cx="7356" cy="478"/>
                </a:xfrm>
                <a:custGeom>
                  <a:avLst/>
                  <a:gdLst>
                    <a:gd name="connsiteX0" fmla="*/ 7356 w 7356"/>
                    <a:gd name="connsiteY0" fmla="*/ 479 h 478"/>
                    <a:gd name="connsiteX1" fmla="*/ 6280 w 7356"/>
                    <a:gd name="connsiteY1" fmla="*/ 419 h 478"/>
                    <a:gd name="connsiteX2" fmla="*/ 3409 w 7356"/>
                    <a:gd name="connsiteY2" fmla="*/ 239 h 478"/>
                    <a:gd name="connsiteX3" fmla="*/ 2272 w 7356"/>
                    <a:gd name="connsiteY3" fmla="*/ 180 h 478"/>
                    <a:gd name="connsiteX4" fmla="*/ 0 w 7356"/>
                    <a:gd name="connsiteY4" fmla="*/ 0 h 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6" h="478">
                      <a:moveTo>
                        <a:pt x="7356" y="479"/>
                      </a:moveTo>
                      <a:lnTo>
                        <a:pt x="6280" y="419"/>
                      </a:lnTo>
                      <a:lnTo>
                        <a:pt x="3409" y="239"/>
                      </a:lnTo>
                      <a:lnTo>
                        <a:pt x="2272" y="18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04" name="Vrije vorm: vorm 7903">
                  <a:extLst>
                    <a:ext uri="{FF2B5EF4-FFF2-40B4-BE49-F238E27FC236}">
                      <a16:creationId xmlns:a16="http://schemas.microsoft.com/office/drawing/2014/main" id="{6CC9FE82-2DBA-4441-978C-C93DB1190F45}"/>
                    </a:ext>
                  </a:extLst>
                </p:cNvPr>
                <p:cNvSpPr/>
                <p:nvPr/>
              </p:nvSpPr>
              <p:spPr>
                <a:xfrm>
                  <a:off x="5673392" y="5381613"/>
                  <a:ext cx="3169" cy="59"/>
                </a:xfrm>
                <a:custGeom>
                  <a:avLst/>
                  <a:gdLst>
                    <a:gd name="connsiteX0" fmla="*/ 0 w 3169"/>
                    <a:gd name="connsiteY0" fmla="*/ 0 h 59"/>
                    <a:gd name="connsiteX1" fmla="*/ 2931 w 3169"/>
                    <a:gd name="connsiteY1" fmla="*/ 60 h 59"/>
                    <a:gd name="connsiteX2" fmla="*/ 3170 w 3169"/>
                    <a:gd name="connsiteY2" fmla="*/ 60 h 59"/>
                  </a:gdLst>
                  <a:ahLst/>
                  <a:cxnLst>
                    <a:cxn ang="0">
                      <a:pos x="connsiteX0" y="connsiteY0"/>
                    </a:cxn>
                    <a:cxn ang="0">
                      <a:pos x="connsiteX1" y="connsiteY1"/>
                    </a:cxn>
                    <a:cxn ang="0">
                      <a:pos x="connsiteX2" y="connsiteY2"/>
                    </a:cxn>
                  </a:cxnLst>
                  <a:rect l="l" t="t" r="r" b="b"/>
                  <a:pathLst>
                    <a:path w="3169" h="59">
                      <a:moveTo>
                        <a:pt x="0" y="0"/>
                      </a:moveTo>
                      <a:lnTo>
                        <a:pt x="2931" y="60"/>
                      </a:lnTo>
                      <a:lnTo>
                        <a:pt x="3170" y="60"/>
                      </a:lnTo>
                    </a:path>
                  </a:pathLst>
                </a:custGeom>
                <a:noFill/>
                <a:ln w="6350" cap="flat">
                  <a:solidFill>
                    <a:schemeClr val="bg1">
                      <a:alpha val="80000"/>
                    </a:schemeClr>
                  </a:solidFill>
                  <a:prstDash val="solid"/>
                  <a:miter/>
                </a:ln>
              </p:spPr>
              <p:txBody>
                <a:bodyPr rtlCol="0" anchor="ctr"/>
                <a:lstStyle/>
                <a:p>
                  <a:endParaRPr lang="en-GB"/>
                </a:p>
              </p:txBody>
            </p:sp>
            <p:sp>
              <p:nvSpPr>
                <p:cNvPr id="7905" name="Vrije vorm: vorm 7904">
                  <a:extLst>
                    <a:ext uri="{FF2B5EF4-FFF2-40B4-BE49-F238E27FC236}">
                      <a16:creationId xmlns:a16="http://schemas.microsoft.com/office/drawing/2014/main" id="{CFD2468B-0C67-4204-97BC-D9C33B10EF31}"/>
                    </a:ext>
                  </a:extLst>
                </p:cNvPr>
                <p:cNvSpPr/>
                <p:nvPr/>
              </p:nvSpPr>
              <p:spPr>
                <a:xfrm>
                  <a:off x="5674349" y="5378742"/>
                  <a:ext cx="6100" cy="3229"/>
                </a:xfrm>
                <a:custGeom>
                  <a:avLst/>
                  <a:gdLst>
                    <a:gd name="connsiteX0" fmla="*/ 0 w 6100"/>
                    <a:gd name="connsiteY0" fmla="*/ 0 h 3229"/>
                    <a:gd name="connsiteX1" fmla="*/ 2930 w 6100"/>
                    <a:gd name="connsiteY1" fmla="*/ 60 h 3229"/>
                    <a:gd name="connsiteX2" fmla="*/ 2871 w 6100"/>
                    <a:gd name="connsiteY2" fmla="*/ 239 h 3229"/>
                    <a:gd name="connsiteX3" fmla="*/ 2153 w 6100"/>
                    <a:gd name="connsiteY3" fmla="*/ 2990 h 3229"/>
                    <a:gd name="connsiteX4" fmla="*/ 5024 w 6100"/>
                    <a:gd name="connsiteY4" fmla="*/ 3170 h 3229"/>
                    <a:gd name="connsiteX5" fmla="*/ 6100 w 6100"/>
                    <a:gd name="connsiteY5" fmla="*/ 3229 h 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00" h="3229">
                      <a:moveTo>
                        <a:pt x="0" y="0"/>
                      </a:moveTo>
                      <a:lnTo>
                        <a:pt x="2930" y="60"/>
                      </a:lnTo>
                      <a:lnTo>
                        <a:pt x="2871" y="239"/>
                      </a:lnTo>
                      <a:lnTo>
                        <a:pt x="2153" y="2990"/>
                      </a:lnTo>
                      <a:lnTo>
                        <a:pt x="5024" y="3170"/>
                      </a:lnTo>
                      <a:lnTo>
                        <a:pt x="6100" y="3229"/>
                      </a:lnTo>
                    </a:path>
                  </a:pathLst>
                </a:custGeom>
                <a:noFill/>
                <a:ln w="6350" cap="flat">
                  <a:solidFill>
                    <a:schemeClr val="bg1">
                      <a:alpha val="80000"/>
                    </a:schemeClr>
                  </a:solidFill>
                  <a:prstDash val="solid"/>
                  <a:miter/>
                </a:ln>
              </p:spPr>
              <p:txBody>
                <a:bodyPr rtlCol="0" anchor="ctr"/>
                <a:lstStyle/>
                <a:p>
                  <a:endParaRPr lang="en-GB"/>
                </a:p>
              </p:txBody>
            </p:sp>
            <p:sp>
              <p:nvSpPr>
                <p:cNvPr id="7906" name="Vrije vorm: vorm 7905">
                  <a:extLst>
                    <a:ext uri="{FF2B5EF4-FFF2-40B4-BE49-F238E27FC236}">
                      <a16:creationId xmlns:a16="http://schemas.microsoft.com/office/drawing/2014/main" id="{91C3F063-B91A-45C4-A7EC-CBD0BC99EC8C}"/>
                    </a:ext>
                  </a:extLst>
                </p:cNvPr>
                <p:cNvSpPr/>
                <p:nvPr/>
              </p:nvSpPr>
              <p:spPr>
                <a:xfrm>
                  <a:off x="5659816" y="5377785"/>
                  <a:ext cx="2990" cy="2990"/>
                </a:xfrm>
                <a:custGeom>
                  <a:avLst/>
                  <a:gdLst>
                    <a:gd name="connsiteX0" fmla="*/ 2213 w 2990"/>
                    <a:gd name="connsiteY0" fmla="*/ 2990 h 2990"/>
                    <a:gd name="connsiteX1" fmla="*/ 2930 w 2990"/>
                    <a:gd name="connsiteY1" fmla="*/ 180 h 2990"/>
                    <a:gd name="connsiteX2" fmla="*/ 2990 w 2990"/>
                    <a:gd name="connsiteY2" fmla="*/ 0 h 2990"/>
                    <a:gd name="connsiteX3" fmla="*/ 60 w 2990"/>
                    <a:gd name="connsiteY3" fmla="*/ 0 h 2990"/>
                    <a:gd name="connsiteX4" fmla="*/ 0 w 2990"/>
                    <a:gd name="connsiteY4" fmla="*/ 0 h 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0" h="2990">
                      <a:moveTo>
                        <a:pt x="2213" y="2990"/>
                      </a:moveTo>
                      <a:lnTo>
                        <a:pt x="2930" y="180"/>
                      </a:lnTo>
                      <a:lnTo>
                        <a:pt x="2990" y="0"/>
                      </a:lnTo>
                      <a:lnTo>
                        <a:pt x="60" y="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07" name="Vrije vorm: vorm 7906">
                  <a:extLst>
                    <a:ext uri="{FF2B5EF4-FFF2-40B4-BE49-F238E27FC236}">
                      <a16:creationId xmlns:a16="http://schemas.microsoft.com/office/drawing/2014/main" id="{DCA82603-6EEE-4AF5-9E08-7D12D03B10F3}"/>
                    </a:ext>
                  </a:extLst>
                </p:cNvPr>
                <p:cNvSpPr/>
                <p:nvPr/>
              </p:nvSpPr>
              <p:spPr>
                <a:xfrm>
                  <a:off x="5634936" y="5376111"/>
                  <a:ext cx="24880" cy="1614"/>
                </a:xfrm>
                <a:custGeom>
                  <a:avLst/>
                  <a:gdLst>
                    <a:gd name="connsiteX0" fmla="*/ 24880 w 24880"/>
                    <a:gd name="connsiteY0" fmla="*/ 1615 h 1614"/>
                    <a:gd name="connsiteX1" fmla="*/ 23983 w 24880"/>
                    <a:gd name="connsiteY1" fmla="*/ 1555 h 1614"/>
                    <a:gd name="connsiteX2" fmla="*/ 21112 w 24880"/>
                    <a:gd name="connsiteY2" fmla="*/ 1375 h 1614"/>
                    <a:gd name="connsiteX3" fmla="*/ 19737 w 24880"/>
                    <a:gd name="connsiteY3" fmla="*/ 1256 h 1614"/>
                    <a:gd name="connsiteX4" fmla="*/ 16866 w 24880"/>
                    <a:gd name="connsiteY4" fmla="*/ 1076 h 1614"/>
                    <a:gd name="connsiteX5" fmla="*/ 13995 w 24880"/>
                    <a:gd name="connsiteY5" fmla="*/ 897 h 1614"/>
                    <a:gd name="connsiteX6" fmla="*/ 11124 w 24880"/>
                    <a:gd name="connsiteY6" fmla="*/ 718 h 1614"/>
                    <a:gd name="connsiteX7" fmla="*/ 8253 w 24880"/>
                    <a:gd name="connsiteY7" fmla="*/ 538 h 1614"/>
                    <a:gd name="connsiteX8" fmla="*/ 5383 w 24880"/>
                    <a:gd name="connsiteY8" fmla="*/ 359 h 1614"/>
                    <a:gd name="connsiteX9" fmla="*/ 2512 w 24880"/>
                    <a:gd name="connsiteY9" fmla="*/ 179 h 1614"/>
                    <a:gd name="connsiteX10" fmla="*/ 0 w 24880"/>
                    <a:gd name="connsiteY10" fmla="*/ 0 h 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80" h="1614">
                      <a:moveTo>
                        <a:pt x="24880" y="1615"/>
                      </a:moveTo>
                      <a:lnTo>
                        <a:pt x="23983" y="1555"/>
                      </a:lnTo>
                      <a:lnTo>
                        <a:pt x="21112" y="1375"/>
                      </a:lnTo>
                      <a:lnTo>
                        <a:pt x="19737" y="1256"/>
                      </a:lnTo>
                      <a:lnTo>
                        <a:pt x="16866" y="1076"/>
                      </a:lnTo>
                      <a:lnTo>
                        <a:pt x="13995" y="897"/>
                      </a:lnTo>
                      <a:lnTo>
                        <a:pt x="11124" y="718"/>
                      </a:lnTo>
                      <a:lnTo>
                        <a:pt x="8253" y="538"/>
                      </a:lnTo>
                      <a:lnTo>
                        <a:pt x="5383" y="359"/>
                      </a:lnTo>
                      <a:lnTo>
                        <a:pt x="2512" y="17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08" name="Vrije vorm: vorm 7907">
                  <a:extLst>
                    <a:ext uri="{FF2B5EF4-FFF2-40B4-BE49-F238E27FC236}">
                      <a16:creationId xmlns:a16="http://schemas.microsoft.com/office/drawing/2014/main" id="{980F1259-E5B6-47E2-8B5C-C6DA819DF8F3}"/>
                    </a:ext>
                  </a:extLst>
                </p:cNvPr>
                <p:cNvSpPr/>
                <p:nvPr/>
              </p:nvSpPr>
              <p:spPr>
                <a:xfrm>
                  <a:off x="5658799" y="5380716"/>
                  <a:ext cx="7475" cy="298"/>
                </a:xfrm>
                <a:custGeom>
                  <a:avLst/>
                  <a:gdLst>
                    <a:gd name="connsiteX0" fmla="*/ 0 w 7475"/>
                    <a:gd name="connsiteY0" fmla="*/ 0 h 298"/>
                    <a:gd name="connsiteX1" fmla="*/ 2931 w 7475"/>
                    <a:gd name="connsiteY1" fmla="*/ 60 h 298"/>
                    <a:gd name="connsiteX2" fmla="*/ 3230 w 7475"/>
                    <a:gd name="connsiteY2" fmla="*/ 60 h 298"/>
                    <a:gd name="connsiteX3" fmla="*/ 6100 w 7475"/>
                    <a:gd name="connsiteY3" fmla="*/ 239 h 298"/>
                    <a:gd name="connsiteX4" fmla="*/ 7476 w 7475"/>
                    <a:gd name="connsiteY4" fmla="*/ 299 h 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5" h="298">
                      <a:moveTo>
                        <a:pt x="0" y="0"/>
                      </a:moveTo>
                      <a:lnTo>
                        <a:pt x="2931" y="60"/>
                      </a:lnTo>
                      <a:lnTo>
                        <a:pt x="3230" y="60"/>
                      </a:lnTo>
                      <a:lnTo>
                        <a:pt x="6100" y="239"/>
                      </a:lnTo>
                      <a:lnTo>
                        <a:pt x="7476" y="299"/>
                      </a:lnTo>
                    </a:path>
                  </a:pathLst>
                </a:custGeom>
                <a:noFill/>
                <a:ln w="6350" cap="flat">
                  <a:solidFill>
                    <a:schemeClr val="bg1">
                      <a:alpha val="80000"/>
                    </a:schemeClr>
                  </a:solidFill>
                  <a:prstDash val="solid"/>
                  <a:miter/>
                </a:ln>
              </p:spPr>
              <p:txBody>
                <a:bodyPr rtlCol="0" anchor="ctr"/>
                <a:lstStyle/>
                <a:p>
                  <a:endParaRPr lang="en-GB"/>
                </a:p>
              </p:txBody>
            </p:sp>
            <p:sp>
              <p:nvSpPr>
                <p:cNvPr id="7909" name="Vrije vorm: vorm 7908">
                  <a:extLst>
                    <a:ext uri="{FF2B5EF4-FFF2-40B4-BE49-F238E27FC236}">
                      <a16:creationId xmlns:a16="http://schemas.microsoft.com/office/drawing/2014/main" id="{AAADB03D-882D-48A5-8D3B-6DD3C6BF57DD}"/>
                    </a:ext>
                  </a:extLst>
                </p:cNvPr>
                <p:cNvSpPr/>
                <p:nvPr/>
              </p:nvSpPr>
              <p:spPr>
                <a:xfrm>
                  <a:off x="5750125" y="5395249"/>
                  <a:ext cx="2033" cy="1375"/>
                </a:xfrm>
                <a:custGeom>
                  <a:avLst/>
                  <a:gdLst>
                    <a:gd name="connsiteX0" fmla="*/ 2034 w 2033"/>
                    <a:gd name="connsiteY0" fmla="*/ 119 h 1375"/>
                    <a:gd name="connsiteX1" fmla="*/ 1735 w 2033"/>
                    <a:gd name="connsiteY1" fmla="*/ 0 h 1375"/>
                    <a:gd name="connsiteX2" fmla="*/ 1735 w 2033"/>
                    <a:gd name="connsiteY2" fmla="*/ 0 h 1375"/>
                    <a:gd name="connsiteX3" fmla="*/ 1375 w 2033"/>
                    <a:gd name="connsiteY3" fmla="*/ 60 h 1375"/>
                    <a:gd name="connsiteX4" fmla="*/ 897 w 2033"/>
                    <a:gd name="connsiteY4" fmla="*/ 359 h 1375"/>
                    <a:gd name="connsiteX5" fmla="*/ 419 w 2033"/>
                    <a:gd name="connsiteY5" fmla="*/ 837 h 1375"/>
                    <a:gd name="connsiteX6" fmla="*/ 0 w 2033"/>
                    <a:gd name="connsiteY6" fmla="*/ 1375 h 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3" h="1375">
                      <a:moveTo>
                        <a:pt x="2034" y="119"/>
                      </a:moveTo>
                      <a:lnTo>
                        <a:pt x="1735" y="0"/>
                      </a:lnTo>
                      <a:lnTo>
                        <a:pt x="1735" y="0"/>
                      </a:lnTo>
                      <a:lnTo>
                        <a:pt x="1375" y="60"/>
                      </a:lnTo>
                      <a:lnTo>
                        <a:pt x="897" y="359"/>
                      </a:lnTo>
                      <a:lnTo>
                        <a:pt x="419" y="837"/>
                      </a:lnTo>
                      <a:lnTo>
                        <a:pt x="0" y="1375"/>
                      </a:lnTo>
                    </a:path>
                  </a:pathLst>
                </a:custGeom>
                <a:noFill/>
                <a:ln w="6350" cap="flat">
                  <a:solidFill>
                    <a:schemeClr val="bg1">
                      <a:alpha val="80000"/>
                    </a:schemeClr>
                  </a:solidFill>
                  <a:prstDash val="solid"/>
                  <a:miter/>
                </a:ln>
              </p:spPr>
              <p:txBody>
                <a:bodyPr rtlCol="0" anchor="ctr"/>
                <a:lstStyle/>
                <a:p>
                  <a:endParaRPr lang="en-GB"/>
                </a:p>
              </p:txBody>
            </p:sp>
            <p:sp>
              <p:nvSpPr>
                <p:cNvPr id="7910" name="Vrije vorm: vorm 7909">
                  <a:extLst>
                    <a:ext uri="{FF2B5EF4-FFF2-40B4-BE49-F238E27FC236}">
                      <a16:creationId xmlns:a16="http://schemas.microsoft.com/office/drawing/2014/main" id="{6F596FBE-D195-4C57-984E-62B4573AE5DE}"/>
                    </a:ext>
                  </a:extLst>
                </p:cNvPr>
                <p:cNvSpPr/>
                <p:nvPr/>
              </p:nvSpPr>
              <p:spPr>
                <a:xfrm>
                  <a:off x="5751500" y="5395368"/>
                  <a:ext cx="837" cy="3050"/>
                </a:xfrm>
                <a:custGeom>
                  <a:avLst/>
                  <a:gdLst>
                    <a:gd name="connsiteX0" fmla="*/ 658 w 837"/>
                    <a:gd name="connsiteY0" fmla="*/ 0 h 3050"/>
                    <a:gd name="connsiteX1" fmla="*/ 837 w 837"/>
                    <a:gd name="connsiteY1" fmla="*/ 299 h 3050"/>
                    <a:gd name="connsiteX2" fmla="*/ 837 w 837"/>
                    <a:gd name="connsiteY2" fmla="*/ 718 h 3050"/>
                    <a:gd name="connsiteX3" fmla="*/ 837 w 837"/>
                    <a:gd name="connsiteY3" fmla="*/ 778 h 3050"/>
                    <a:gd name="connsiteX4" fmla="*/ 718 w 837"/>
                    <a:gd name="connsiteY4" fmla="*/ 1376 h 3050"/>
                    <a:gd name="connsiteX5" fmla="*/ 479 w 837"/>
                    <a:gd name="connsiteY5" fmla="*/ 2093 h 3050"/>
                    <a:gd name="connsiteX6" fmla="*/ 120 w 837"/>
                    <a:gd name="connsiteY6" fmla="*/ 2871 h 3050"/>
                    <a:gd name="connsiteX7" fmla="*/ 120 w 837"/>
                    <a:gd name="connsiteY7" fmla="*/ 2871 h 3050"/>
                    <a:gd name="connsiteX8" fmla="*/ 0 w 837"/>
                    <a:gd name="connsiteY8" fmla="*/ 3050 h 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7" h="3050">
                      <a:moveTo>
                        <a:pt x="658" y="0"/>
                      </a:moveTo>
                      <a:lnTo>
                        <a:pt x="837" y="299"/>
                      </a:lnTo>
                      <a:lnTo>
                        <a:pt x="837" y="718"/>
                      </a:lnTo>
                      <a:lnTo>
                        <a:pt x="837" y="778"/>
                      </a:lnTo>
                      <a:lnTo>
                        <a:pt x="718" y="1376"/>
                      </a:lnTo>
                      <a:lnTo>
                        <a:pt x="479" y="2093"/>
                      </a:lnTo>
                      <a:lnTo>
                        <a:pt x="120" y="2871"/>
                      </a:lnTo>
                      <a:lnTo>
                        <a:pt x="120" y="2871"/>
                      </a:lnTo>
                      <a:lnTo>
                        <a:pt x="0" y="3050"/>
                      </a:lnTo>
                    </a:path>
                  </a:pathLst>
                </a:custGeom>
                <a:noFill/>
                <a:ln w="6350" cap="flat">
                  <a:solidFill>
                    <a:schemeClr val="bg1">
                      <a:alpha val="80000"/>
                    </a:schemeClr>
                  </a:solidFill>
                  <a:prstDash val="solid"/>
                  <a:miter/>
                </a:ln>
              </p:spPr>
              <p:txBody>
                <a:bodyPr rtlCol="0" anchor="ctr"/>
                <a:lstStyle/>
                <a:p>
                  <a:endParaRPr lang="en-GB"/>
                </a:p>
              </p:txBody>
            </p:sp>
            <p:sp>
              <p:nvSpPr>
                <p:cNvPr id="7911" name="Vrije vorm: vorm 7910">
                  <a:extLst>
                    <a:ext uri="{FF2B5EF4-FFF2-40B4-BE49-F238E27FC236}">
                      <a16:creationId xmlns:a16="http://schemas.microsoft.com/office/drawing/2014/main" id="{3A8A570B-CA54-47B8-87D4-6F17C81F35CF}"/>
                    </a:ext>
                  </a:extLst>
                </p:cNvPr>
                <p:cNvSpPr/>
                <p:nvPr/>
              </p:nvSpPr>
              <p:spPr>
                <a:xfrm>
                  <a:off x="5749826" y="5394531"/>
                  <a:ext cx="3050" cy="4784"/>
                </a:xfrm>
                <a:custGeom>
                  <a:avLst/>
                  <a:gdLst>
                    <a:gd name="connsiteX0" fmla="*/ 0 w 3050"/>
                    <a:gd name="connsiteY0" fmla="*/ 1914 h 4784"/>
                    <a:gd name="connsiteX1" fmla="*/ 120 w 3050"/>
                    <a:gd name="connsiteY1" fmla="*/ 1794 h 4784"/>
                    <a:gd name="connsiteX2" fmla="*/ 778 w 3050"/>
                    <a:gd name="connsiteY2" fmla="*/ 1017 h 4784"/>
                    <a:gd name="connsiteX3" fmla="*/ 1435 w 3050"/>
                    <a:gd name="connsiteY3" fmla="*/ 418 h 4784"/>
                    <a:gd name="connsiteX4" fmla="*/ 1615 w 3050"/>
                    <a:gd name="connsiteY4" fmla="*/ 299 h 4784"/>
                    <a:gd name="connsiteX5" fmla="*/ 2034 w 3050"/>
                    <a:gd name="connsiteY5" fmla="*/ 60 h 4784"/>
                    <a:gd name="connsiteX6" fmla="*/ 2153 w 3050"/>
                    <a:gd name="connsiteY6" fmla="*/ 60 h 4784"/>
                    <a:gd name="connsiteX7" fmla="*/ 2512 w 3050"/>
                    <a:gd name="connsiteY7" fmla="*/ 0 h 4784"/>
                    <a:gd name="connsiteX8" fmla="*/ 2871 w 3050"/>
                    <a:gd name="connsiteY8" fmla="*/ 119 h 4784"/>
                    <a:gd name="connsiteX9" fmla="*/ 3050 w 3050"/>
                    <a:gd name="connsiteY9" fmla="*/ 538 h 4784"/>
                    <a:gd name="connsiteX10" fmla="*/ 3050 w 3050"/>
                    <a:gd name="connsiteY10" fmla="*/ 598 h 4784"/>
                    <a:gd name="connsiteX11" fmla="*/ 3050 w 3050"/>
                    <a:gd name="connsiteY11" fmla="*/ 1136 h 4784"/>
                    <a:gd name="connsiteX12" fmla="*/ 2930 w 3050"/>
                    <a:gd name="connsiteY12" fmla="*/ 1914 h 4784"/>
                    <a:gd name="connsiteX13" fmla="*/ 2632 w 3050"/>
                    <a:gd name="connsiteY13" fmla="*/ 2871 h 4784"/>
                    <a:gd name="connsiteX14" fmla="*/ 2213 w 3050"/>
                    <a:gd name="connsiteY14" fmla="*/ 3887 h 4784"/>
                    <a:gd name="connsiteX15" fmla="*/ 2093 w 3050"/>
                    <a:gd name="connsiteY15" fmla="*/ 4067 h 4784"/>
                    <a:gd name="connsiteX16" fmla="*/ 1974 w 3050"/>
                    <a:gd name="connsiteY16" fmla="*/ 4246 h 4784"/>
                    <a:gd name="connsiteX17" fmla="*/ 1674 w 3050"/>
                    <a:gd name="connsiteY17" fmla="*/ 4785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50" h="4784">
                      <a:moveTo>
                        <a:pt x="0" y="1914"/>
                      </a:moveTo>
                      <a:lnTo>
                        <a:pt x="120" y="1794"/>
                      </a:lnTo>
                      <a:lnTo>
                        <a:pt x="778" y="1017"/>
                      </a:lnTo>
                      <a:lnTo>
                        <a:pt x="1435" y="418"/>
                      </a:lnTo>
                      <a:lnTo>
                        <a:pt x="1615" y="299"/>
                      </a:lnTo>
                      <a:lnTo>
                        <a:pt x="2034" y="60"/>
                      </a:lnTo>
                      <a:lnTo>
                        <a:pt x="2153" y="60"/>
                      </a:lnTo>
                      <a:lnTo>
                        <a:pt x="2512" y="0"/>
                      </a:lnTo>
                      <a:lnTo>
                        <a:pt x="2871" y="119"/>
                      </a:lnTo>
                      <a:lnTo>
                        <a:pt x="3050" y="538"/>
                      </a:lnTo>
                      <a:lnTo>
                        <a:pt x="3050" y="598"/>
                      </a:lnTo>
                      <a:lnTo>
                        <a:pt x="3050" y="1136"/>
                      </a:lnTo>
                      <a:lnTo>
                        <a:pt x="2930" y="1914"/>
                      </a:lnTo>
                      <a:lnTo>
                        <a:pt x="2632" y="2871"/>
                      </a:lnTo>
                      <a:lnTo>
                        <a:pt x="2213" y="3887"/>
                      </a:lnTo>
                      <a:lnTo>
                        <a:pt x="2093" y="4067"/>
                      </a:lnTo>
                      <a:lnTo>
                        <a:pt x="1974" y="4246"/>
                      </a:lnTo>
                      <a:lnTo>
                        <a:pt x="1674" y="4785"/>
                      </a:lnTo>
                    </a:path>
                  </a:pathLst>
                </a:custGeom>
                <a:noFill/>
                <a:ln w="6350" cap="flat">
                  <a:solidFill>
                    <a:schemeClr val="bg1">
                      <a:alpha val="80000"/>
                    </a:schemeClr>
                  </a:solidFill>
                  <a:prstDash val="solid"/>
                  <a:miter/>
                </a:ln>
              </p:spPr>
              <p:txBody>
                <a:bodyPr rtlCol="0" anchor="ctr"/>
                <a:lstStyle/>
                <a:p>
                  <a:endParaRPr lang="en-GB"/>
                </a:p>
              </p:txBody>
            </p:sp>
            <p:sp>
              <p:nvSpPr>
                <p:cNvPr id="7912" name="Vrije vorm: vorm 7911">
                  <a:extLst>
                    <a:ext uri="{FF2B5EF4-FFF2-40B4-BE49-F238E27FC236}">
                      <a16:creationId xmlns:a16="http://schemas.microsoft.com/office/drawing/2014/main" id="{DEDB8C7B-0FF6-4182-84FF-DE39DAB2857F}"/>
                    </a:ext>
                  </a:extLst>
                </p:cNvPr>
                <p:cNvSpPr/>
                <p:nvPr/>
              </p:nvSpPr>
              <p:spPr>
                <a:xfrm>
                  <a:off x="5748869" y="5393634"/>
                  <a:ext cx="2870" cy="2033"/>
                </a:xfrm>
                <a:custGeom>
                  <a:avLst/>
                  <a:gdLst>
                    <a:gd name="connsiteX0" fmla="*/ 0 w 2870"/>
                    <a:gd name="connsiteY0" fmla="*/ 2034 h 2033"/>
                    <a:gd name="connsiteX1" fmla="*/ 119 w 2870"/>
                    <a:gd name="connsiteY1" fmla="*/ 1914 h 2033"/>
                    <a:gd name="connsiteX2" fmla="*/ 538 w 2870"/>
                    <a:gd name="connsiteY2" fmla="*/ 1375 h 2033"/>
                    <a:gd name="connsiteX3" fmla="*/ 777 w 2870"/>
                    <a:gd name="connsiteY3" fmla="*/ 1076 h 2033"/>
                    <a:gd name="connsiteX4" fmla="*/ 897 w 2870"/>
                    <a:gd name="connsiteY4" fmla="*/ 1017 h 2033"/>
                    <a:gd name="connsiteX5" fmla="*/ 1435 w 2870"/>
                    <a:gd name="connsiteY5" fmla="*/ 479 h 2033"/>
                    <a:gd name="connsiteX6" fmla="*/ 1615 w 2870"/>
                    <a:gd name="connsiteY6" fmla="*/ 359 h 2033"/>
                    <a:gd name="connsiteX7" fmla="*/ 2033 w 2870"/>
                    <a:gd name="connsiteY7" fmla="*/ 120 h 2033"/>
                    <a:gd name="connsiteX8" fmla="*/ 2512 w 2870"/>
                    <a:gd name="connsiteY8" fmla="*/ 0 h 2033"/>
                    <a:gd name="connsiteX9" fmla="*/ 2871 w 2870"/>
                    <a:gd name="connsiteY9" fmla="*/ 120 h 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0" h="2033">
                      <a:moveTo>
                        <a:pt x="0" y="2034"/>
                      </a:moveTo>
                      <a:lnTo>
                        <a:pt x="119" y="1914"/>
                      </a:lnTo>
                      <a:lnTo>
                        <a:pt x="538" y="1375"/>
                      </a:lnTo>
                      <a:lnTo>
                        <a:pt x="777" y="1076"/>
                      </a:lnTo>
                      <a:lnTo>
                        <a:pt x="897" y="1017"/>
                      </a:lnTo>
                      <a:lnTo>
                        <a:pt x="1435" y="479"/>
                      </a:lnTo>
                      <a:lnTo>
                        <a:pt x="1615" y="359"/>
                      </a:lnTo>
                      <a:lnTo>
                        <a:pt x="2033" y="120"/>
                      </a:lnTo>
                      <a:lnTo>
                        <a:pt x="2512" y="0"/>
                      </a:lnTo>
                      <a:lnTo>
                        <a:pt x="2871" y="120"/>
                      </a:lnTo>
                    </a:path>
                  </a:pathLst>
                </a:custGeom>
                <a:noFill/>
                <a:ln w="6350" cap="flat">
                  <a:solidFill>
                    <a:schemeClr val="bg1">
                      <a:alpha val="80000"/>
                    </a:schemeClr>
                  </a:solidFill>
                  <a:prstDash val="solid"/>
                  <a:miter/>
                </a:ln>
              </p:spPr>
              <p:txBody>
                <a:bodyPr rtlCol="0" anchor="ctr"/>
                <a:lstStyle/>
                <a:p>
                  <a:endParaRPr lang="en-GB"/>
                </a:p>
              </p:txBody>
            </p:sp>
            <p:sp>
              <p:nvSpPr>
                <p:cNvPr id="7913" name="Vrije vorm: vorm 7912">
                  <a:extLst>
                    <a:ext uri="{FF2B5EF4-FFF2-40B4-BE49-F238E27FC236}">
                      <a16:creationId xmlns:a16="http://schemas.microsoft.com/office/drawing/2014/main" id="{6978353D-5D7A-4B63-8987-DD2537F3708E}"/>
                    </a:ext>
                  </a:extLst>
                </p:cNvPr>
                <p:cNvSpPr/>
                <p:nvPr/>
              </p:nvSpPr>
              <p:spPr>
                <a:xfrm>
                  <a:off x="5751680" y="5393813"/>
                  <a:ext cx="956" cy="718"/>
                </a:xfrm>
                <a:custGeom>
                  <a:avLst/>
                  <a:gdLst>
                    <a:gd name="connsiteX0" fmla="*/ 0 w 956"/>
                    <a:gd name="connsiteY0" fmla="*/ 0 h 718"/>
                    <a:gd name="connsiteX1" fmla="*/ 957 w 956"/>
                    <a:gd name="connsiteY1" fmla="*/ 718 h 718"/>
                  </a:gdLst>
                  <a:ahLst/>
                  <a:cxnLst>
                    <a:cxn ang="0">
                      <a:pos x="connsiteX0" y="connsiteY0"/>
                    </a:cxn>
                    <a:cxn ang="0">
                      <a:pos x="connsiteX1" y="connsiteY1"/>
                    </a:cxn>
                  </a:cxnLst>
                  <a:rect l="l" t="t" r="r" b="b"/>
                  <a:pathLst>
                    <a:path w="956" h="718">
                      <a:moveTo>
                        <a:pt x="0" y="0"/>
                      </a:moveTo>
                      <a:lnTo>
                        <a:pt x="957" y="718"/>
                      </a:lnTo>
                    </a:path>
                  </a:pathLst>
                </a:custGeom>
                <a:noFill/>
                <a:ln w="6350" cap="flat">
                  <a:solidFill>
                    <a:schemeClr val="bg1">
                      <a:alpha val="80000"/>
                    </a:schemeClr>
                  </a:solidFill>
                  <a:prstDash val="solid"/>
                  <a:miter/>
                </a:ln>
              </p:spPr>
              <p:txBody>
                <a:bodyPr rtlCol="0" anchor="ctr"/>
                <a:lstStyle/>
                <a:p>
                  <a:endParaRPr lang="en-GB"/>
                </a:p>
              </p:txBody>
            </p:sp>
            <p:sp>
              <p:nvSpPr>
                <p:cNvPr id="7914" name="Vrije vorm: vorm 7913">
                  <a:extLst>
                    <a:ext uri="{FF2B5EF4-FFF2-40B4-BE49-F238E27FC236}">
                      <a16:creationId xmlns:a16="http://schemas.microsoft.com/office/drawing/2014/main" id="{AFF3F919-F72A-4114-948F-19B782F00429}"/>
                    </a:ext>
                  </a:extLst>
                </p:cNvPr>
                <p:cNvSpPr/>
                <p:nvPr/>
              </p:nvSpPr>
              <p:spPr>
                <a:xfrm>
                  <a:off x="5742649" y="5390943"/>
                  <a:ext cx="13396" cy="22367"/>
                </a:xfrm>
                <a:custGeom>
                  <a:avLst/>
                  <a:gdLst>
                    <a:gd name="connsiteX0" fmla="*/ 0 w 13396"/>
                    <a:gd name="connsiteY0" fmla="*/ 17344 h 22367"/>
                    <a:gd name="connsiteX1" fmla="*/ 2153 w 13396"/>
                    <a:gd name="connsiteY1" fmla="*/ 19138 h 22367"/>
                    <a:gd name="connsiteX2" fmla="*/ 3050 w 13396"/>
                    <a:gd name="connsiteY2" fmla="*/ 19856 h 22367"/>
                    <a:gd name="connsiteX3" fmla="*/ 5203 w 13396"/>
                    <a:gd name="connsiteY3" fmla="*/ 21650 h 22367"/>
                    <a:gd name="connsiteX4" fmla="*/ 6100 w 13396"/>
                    <a:gd name="connsiteY4" fmla="*/ 22368 h 22367"/>
                    <a:gd name="connsiteX5" fmla="*/ 8014 w 13396"/>
                    <a:gd name="connsiteY5" fmla="*/ 22368 h 22367"/>
                    <a:gd name="connsiteX6" fmla="*/ 8194 w 13396"/>
                    <a:gd name="connsiteY6" fmla="*/ 18720 h 22367"/>
                    <a:gd name="connsiteX7" fmla="*/ 8373 w 13396"/>
                    <a:gd name="connsiteY7" fmla="*/ 15072 h 22367"/>
                    <a:gd name="connsiteX8" fmla="*/ 8552 w 13396"/>
                    <a:gd name="connsiteY8" fmla="*/ 12021 h 22367"/>
                    <a:gd name="connsiteX9" fmla="*/ 8612 w 13396"/>
                    <a:gd name="connsiteY9" fmla="*/ 11244 h 22367"/>
                    <a:gd name="connsiteX10" fmla="*/ 8732 w 13396"/>
                    <a:gd name="connsiteY10" fmla="*/ 9629 h 22367"/>
                    <a:gd name="connsiteX11" fmla="*/ 8732 w 13396"/>
                    <a:gd name="connsiteY11" fmla="*/ 9211 h 22367"/>
                    <a:gd name="connsiteX12" fmla="*/ 8792 w 13396"/>
                    <a:gd name="connsiteY12" fmla="*/ 8373 h 22367"/>
                    <a:gd name="connsiteX13" fmla="*/ 8851 w 13396"/>
                    <a:gd name="connsiteY13" fmla="*/ 7655 h 22367"/>
                    <a:gd name="connsiteX14" fmla="*/ 8851 w 13396"/>
                    <a:gd name="connsiteY14" fmla="*/ 7655 h 22367"/>
                    <a:gd name="connsiteX15" fmla="*/ 8851 w 13396"/>
                    <a:gd name="connsiteY15" fmla="*/ 7416 h 22367"/>
                    <a:gd name="connsiteX16" fmla="*/ 8851 w 13396"/>
                    <a:gd name="connsiteY16" fmla="*/ 6997 h 22367"/>
                    <a:gd name="connsiteX17" fmla="*/ 8792 w 13396"/>
                    <a:gd name="connsiteY17" fmla="*/ 6938 h 22367"/>
                    <a:gd name="connsiteX18" fmla="*/ 8433 w 13396"/>
                    <a:gd name="connsiteY18" fmla="*/ 6639 h 22367"/>
                    <a:gd name="connsiteX19" fmla="*/ 7416 w 13396"/>
                    <a:gd name="connsiteY19" fmla="*/ 5861 h 22367"/>
                    <a:gd name="connsiteX20" fmla="*/ 7117 w 13396"/>
                    <a:gd name="connsiteY20" fmla="*/ 5622 h 22367"/>
                    <a:gd name="connsiteX21" fmla="*/ 7117 w 13396"/>
                    <a:gd name="connsiteY21" fmla="*/ 5622 h 22367"/>
                    <a:gd name="connsiteX22" fmla="*/ 6758 w 13396"/>
                    <a:gd name="connsiteY22" fmla="*/ 5323 h 22367"/>
                    <a:gd name="connsiteX23" fmla="*/ 6160 w 13396"/>
                    <a:gd name="connsiteY23" fmla="*/ 4844 h 22367"/>
                    <a:gd name="connsiteX24" fmla="*/ 6041 w 13396"/>
                    <a:gd name="connsiteY24" fmla="*/ 4725 h 22367"/>
                    <a:gd name="connsiteX25" fmla="*/ 4844 w 13396"/>
                    <a:gd name="connsiteY25" fmla="*/ 3768 h 22367"/>
                    <a:gd name="connsiteX26" fmla="*/ 4844 w 13396"/>
                    <a:gd name="connsiteY26" fmla="*/ 3768 h 22367"/>
                    <a:gd name="connsiteX27" fmla="*/ 3589 w 13396"/>
                    <a:gd name="connsiteY27" fmla="*/ 2811 h 22367"/>
                    <a:gd name="connsiteX28" fmla="*/ 4127 w 13396"/>
                    <a:gd name="connsiteY28" fmla="*/ 1794 h 22367"/>
                    <a:gd name="connsiteX29" fmla="*/ 4665 w 13396"/>
                    <a:gd name="connsiteY29" fmla="*/ 778 h 22367"/>
                    <a:gd name="connsiteX30" fmla="*/ 5024 w 13396"/>
                    <a:gd name="connsiteY30" fmla="*/ 0 h 22367"/>
                    <a:gd name="connsiteX31" fmla="*/ 6280 w 13396"/>
                    <a:gd name="connsiteY31" fmla="*/ 60 h 22367"/>
                    <a:gd name="connsiteX32" fmla="*/ 6698 w 13396"/>
                    <a:gd name="connsiteY32" fmla="*/ 60 h 22367"/>
                    <a:gd name="connsiteX33" fmla="*/ 6698 w 13396"/>
                    <a:gd name="connsiteY33" fmla="*/ 60 h 22367"/>
                    <a:gd name="connsiteX34" fmla="*/ 6938 w 13396"/>
                    <a:gd name="connsiteY34" fmla="*/ 60 h 22367"/>
                    <a:gd name="connsiteX35" fmla="*/ 7297 w 13396"/>
                    <a:gd name="connsiteY35" fmla="*/ 60 h 22367"/>
                    <a:gd name="connsiteX36" fmla="*/ 10167 w 13396"/>
                    <a:gd name="connsiteY36" fmla="*/ 180 h 22367"/>
                    <a:gd name="connsiteX37" fmla="*/ 12141 w 13396"/>
                    <a:gd name="connsiteY37" fmla="*/ 299 h 22367"/>
                    <a:gd name="connsiteX38" fmla="*/ 13397 w 13396"/>
                    <a:gd name="connsiteY38" fmla="*/ 359 h 2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396" h="22367">
                      <a:moveTo>
                        <a:pt x="0" y="17344"/>
                      </a:moveTo>
                      <a:lnTo>
                        <a:pt x="2153" y="19138"/>
                      </a:lnTo>
                      <a:lnTo>
                        <a:pt x="3050" y="19856"/>
                      </a:lnTo>
                      <a:lnTo>
                        <a:pt x="5203" y="21650"/>
                      </a:lnTo>
                      <a:lnTo>
                        <a:pt x="6100" y="22368"/>
                      </a:lnTo>
                      <a:lnTo>
                        <a:pt x="8014" y="22368"/>
                      </a:lnTo>
                      <a:lnTo>
                        <a:pt x="8194" y="18720"/>
                      </a:lnTo>
                      <a:lnTo>
                        <a:pt x="8373" y="15072"/>
                      </a:lnTo>
                      <a:lnTo>
                        <a:pt x="8552" y="12021"/>
                      </a:lnTo>
                      <a:lnTo>
                        <a:pt x="8612" y="11244"/>
                      </a:lnTo>
                      <a:lnTo>
                        <a:pt x="8732" y="9629"/>
                      </a:lnTo>
                      <a:lnTo>
                        <a:pt x="8732" y="9211"/>
                      </a:lnTo>
                      <a:lnTo>
                        <a:pt x="8792" y="8373"/>
                      </a:lnTo>
                      <a:lnTo>
                        <a:pt x="8851" y="7655"/>
                      </a:lnTo>
                      <a:lnTo>
                        <a:pt x="8851" y="7655"/>
                      </a:lnTo>
                      <a:lnTo>
                        <a:pt x="8851" y="7416"/>
                      </a:lnTo>
                      <a:lnTo>
                        <a:pt x="8851" y="6997"/>
                      </a:lnTo>
                      <a:lnTo>
                        <a:pt x="8792" y="6938"/>
                      </a:lnTo>
                      <a:lnTo>
                        <a:pt x="8433" y="6639"/>
                      </a:lnTo>
                      <a:lnTo>
                        <a:pt x="7416" y="5861"/>
                      </a:lnTo>
                      <a:lnTo>
                        <a:pt x="7117" y="5622"/>
                      </a:lnTo>
                      <a:lnTo>
                        <a:pt x="7117" y="5622"/>
                      </a:lnTo>
                      <a:lnTo>
                        <a:pt x="6758" y="5323"/>
                      </a:lnTo>
                      <a:lnTo>
                        <a:pt x="6160" y="4844"/>
                      </a:lnTo>
                      <a:lnTo>
                        <a:pt x="6041" y="4725"/>
                      </a:lnTo>
                      <a:lnTo>
                        <a:pt x="4844" y="3768"/>
                      </a:lnTo>
                      <a:lnTo>
                        <a:pt x="4844" y="3768"/>
                      </a:lnTo>
                      <a:lnTo>
                        <a:pt x="3589" y="2811"/>
                      </a:lnTo>
                      <a:lnTo>
                        <a:pt x="4127" y="1794"/>
                      </a:lnTo>
                      <a:lnTo>
                        <a:pt x="4665" y="778"/>
                      </a:lnTo>
                      <a:lnTo>
                        <a:pt x="5024" y="0"/>
                      </a:lnTo>
                      <a:lnTo>
                        <a:pt x="6280" y="60"/>
                      </a:lnTo>
                      <a:lnTo>
                        <a:pt x="6698" y="60"/>
                      </a:lnTo>
                      <a:lnTo>
                        <a:pt x="6698" y="60"/>
                      </a:lnTo>
                      <a:lnTo>
                        <a:pt x="6938" y="60"/>
                      </a:lnTo>
                      <a:lnTo>
                        <a:pt x="7297" y="60"/>
                      </a:lnTo>
                      <a:lnTo>
                        <a:pt x="10167" y="180"/>
                      </a:lnTo>
                      <a:lnTo>
                        <a:pt x="12141" y="299"/>
                      </a:lnTo>
                      <a:lnTo>
                        <a:pt x="13397" y="359"/>
                      </a:lnTo>
                    </a:path>
                  </a:pathLst>
                </a:custGeom>
                <a:noFill/>
                <a:ln w="6350" cap="flat">
                  <a:solidFill>
                    <a:schemeClr val="bg1">
                      <a:alpha val="80000"/>
                    </a:schemeClr>
                  </a:solidFill>
                  <a:prstDash val="solid"/>
                  <a:miter/>
                </a:ln>
              </p:spPr>
              <p:txBody>
                <a:bodyPr rtlCol="0" anchor="ctr"/>
                <a:lstStyle/>
                <a:p>
                  <a:endParaRPr lang="en-GB"/>
                </a:p>
              </p:txBody>
            </p:sp>
            <p:sp>
              <p:nvSpPr>
                <p:cNvPr id="7915" name="Vrije vorm: vorm 7914">
                  <a:extLst>
                    <a:ext uri="{FF2B5EF4-FFF2-40B4-BE49-F238E27FC236}">
                      <a16:creationId xmlns:a16="http://schemas.microsoft.com/office/drawing/2014/main" id="{3FB4F22C-A763-441E-AB3F-814E4F819C62}"/>
                    </a:ext>
                  </a:extLst>
                </p:cNvPr>
                <p:cNvSpPr/>
                <p:nvPr/>
              </p:nvSpPr>
              <p:spPr>
                <a:xfrm>
                  <a:off x="5748630" y="5397821"/>
                  <a:ext cx="2930" cy="15370"/>
                </a:xfrm>
                <a:custGeom>
                  <a:avLst/>
                  <a:gdLst>
                    <a:gd name="connsiteX0" fmla="*/ 2930 w 2930"/>
                    <a:gd name="connsiteY0" fmla="*/ 0 h 15370"/>
                    <a:gd name="connsiteX1" fmla="*/ 2751 w 2930"/>
                    <a:gd name="connsiteY1" fmla="*/ 299 h 15370"/>
                    <a:gd name="connsiteX2" fmla="*/ 2632 w 2930"/>
                    <a:gd name="connsiteY2" fmla="*/ 478 h 15370"/>
                    <a:gd name="connsiteX3" fmla="*/ 1076 w 2930"/>
                    <a:gd name="connsiteY3" fmla="*/ 3469 h 15370"/>
                    <a:gd name="connsiteX4" fmla="*/ 957 w 2930"/>
                    <a:gd name="connsiteY4" fmla="*/ 3708 h 15370"/>
                    <a:gd name="connsiteX5" fmla="*/ 897 w 2930"/>
                    <a:gd name="connsiteY5" fmla="*/ 4187 h 15370"/>
                    <a:gd name="connsiteX6" fmla="*/ 718 w 2930"/>
                    <a:gd name="connsiteY6" fmla="*/ 6459 h 15370"/>
                    <a:gd name="connsiteX7" fmla="*/ 538 w 2930"/>
                    <a:gd name="connsiteY7" fmla="*/ 8971 h 15370"/>
                    <a:gd name="connsiteX8" fmla="*/ 239 w 2930"/>
                    <a:gd name="connsiteY8" fmla="*/ 12619 h 15370"/>
                    <a:gd name="connsiteX9" fmla="*/ 0 w 2930"/>
                    <a:gd name="connsiteY9" fmla="*/ 15370 h 1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30" h="15370">
                      <a:moveTo>
                        <a:pt x="2930" y="0"/>
                      </a:moveTo>
                      <a:lnTo>
                        <a:pt x="2751" y="299"/>
                      </a:lnTo>
                      <a:lnTo>
                        <a:pt x="2632" y="478"/>
                      </a:lnTo>
                      <a:lnTo>
                        <a:pt x="1076" y="3469"/>
                      </a:lnTo>
                      <a:lnTo>
                        <a:pt x="957" y="3708"/>
                      </a:lnTo>
                      <a:lnTo>
                        <a:pt x="897" y="4187"/>
                      </a:lnTo>
                      <a:lnTo>
                        <a:pt x="718" y="6459"/>
                      </a:lnTo>
                      <a:lnTo>
                        <a:pt x="538" y="8971"/>
                      </a:lnTo>
                      <a:lnTo>
                        <a:pt x="239" y="12619"/>
                      </a:lnTo>
                      <a:lnTo>
                        <a:pt x="0" y="15370"/>
                      </a:lnTo>
                    </a:path>
                  </a:pathLst>
                </a:custGeom>
                <a:noFill/>
                <a:ln w="6350" cap="flat">
                  <a:solidFill>
                    <a:schemeClr val="bg1">
                      <a:alpha val="80000"/>
                    </a:schemeClr>
                  </a:solidFill>
                  <a:prstDash val="solid"/>
                  <a:miter/>
                </a:ln>
              </p:spPr>
              <p:txBody>
                <a:bodyPr rtlCol="0" anchor="ctr"/>
                <a:lstStyle/>
                <a:p>
                  <a:endParaRPr lang="en-GB"/>
                </a:p>
              </p:txBody>
            </p:sp>
            <p:sp>
              <p:nvSpPr>
                <p:cNvPr id="7916" name="Vrije vorm: vorm 7915">
                  <a:extLst>
                    <a:ext uri="{FF2B5EF4-FFF2-40B4-BE49-F238E27FC236}">
                      <a16:creationId xmlns:a16="http://schemas.microsoft.com/office/drawing/2014/main" id="{EA18882C-4043-414D-AA63-4BA5F1860070}"/>
                    </a:ext>
                  </a:extLst>
                </p:cNvPr>
                <p:cNvSpPr/>
                <p:nvPr/>
              </p:nvSpPr>
              <p:spPr>
                <a:xfrm>
                  <a:off x="5734754" y="5296268"/>
                  <a:ext cx="11183" cy="22906"/>
                </a:xfrm>
                <a:custGeom>
                  <a:avLst/>
                  <a:gdLst>
                    <a:gd name="connsiteX0" fmla="*/ 9629 w 11183"/>
                    <a:gd name="connsiteY0" fmla="*/ 22906 h 22906"/>
                    <a:gd name="connsiteX1" fmla="*/ 7297 w 11183"/>
                    <a:gd name="connsiteY1" fmla="*/ 21351 h 22906"/>
                    <a:gd name="connsiteX2" fmla="*/ 6579 w 11183"/>
                    <a:gd name="connsiteY2" fmla="*/ 20873 h 22906"/>
                    <a:gd name="connsiteX3" fmla="*/ 6579 w 11183"/>
                    <a:gd name="connsiteY3" fmla="*/ 20873 h 22906"/>
                    <a:gd name="connsiteX4" fmla="*/ 4246 w 11183"/>
                    <a:gd name="connsiteY4" fmla="*/ 19318 h 22906"/>
                    <a:gd name="connsiteX5" fmla="*/ 3947 w 11183"/>
                    <a:gd name="connsiteY5" fmla="*/ 19079 h 22906"/>
                    <a:gd name="connsiteX6" fmla="*/ 3947 w 11183"/>
                    <a:gd name="connsiteY6" fmla="*/ 19079 h 22906"/>
                    <a:gd name="connsiteX7" fmla="*/ 2452 w 11183"/>
                    <a:gd name="connsiteY7" fmla="*/ 18062 h 22906"/>
                    <a:gd name="connsiteX8" fmla="*/ 2452 w 11183"/>
                    <a:gd name="connsiteY8" fmla="*/ 18062 h 22906"/>
                    <a:gd name="connsiteX9" fmla="*/ 120 w 11183"/>
                    <a:gd name="connsiteY9" fmla="*/ 16507 h 22906"/>
                    <a:gd name="connsiteX10" fmla="*/ 0 w 11183"/>
                    <a:gd name="connsiteY10" fmla="*/ 16387 h 22906"/>
                    <a:gd name="connsiteX11" fmla="*/ 1794 w 11183"/>
                    <a:gd name="connsiteY11" fmla="*/ 12859 h 22906"/>
                    <a:gd name="connsiteX12" fmla="*/ 3589 w 11183"/>
                    <a:gd name="connsiteY12" fmla="*/ 9330 h 22906"/>
                    <a:gd name="connsiteX13" fmla="*/ 5383 w 11183"/>
                    <a:gd name="connsiteY13" fmla="*/ 5801 h 22906"/>
                    <a:gd name="connsiteX14" fmla="*/ 7177 w 11183"/>
                    <a:gd name="connsiteY14" fmla="*/ 2273 h 22906"/>
                    <a:gd name="connsiteX15" fmla="*/ 8313 w 11183"/>
                    <a:gd name="connsiteY15" fmla="*/ 0 h 22906"/>
                    <a:gd name="connsiteX16" fmla="*/ 11005 w 11183"/>
                    <a:gd name="connsiteY16" fmla="*/ 778 h 22906"/>
                    <a:gd name="connsiteX17" fmla="*/ 11184 w 11183"/>
                    <a:gd name="connsiteY17" fmla="*/ 837 h 2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83" h="22906">
                      <a:moveTo>
                        <a:pt x="9629" y="22906"/>
                      </a:moveTo>
                      <a:lnTo>
                        <a:pt x="7297" y="21351"/>
                      </a:lnTo>
                      <a:lnTo>
                        <a:pt x="6579" y="20873"/>
                      </a:lnTo>
                      <a:lnTo>
                        <a:pt x="6579" y="20873"/>
                      </a:lnTo>
                      <a:lnTo>
                        <a:pt x="4246" y="19318"/>
                      </a:lnTo>
                      <a:lnTo>
                        <a:pt x="3947" y="19079"/>
                      </a:lnTo>
                      <a:lnTo>
                        <a:pt x="3947" y="19079"/>
                      </a:lnTo>
                      <a:lnTo>
                        <a:pt x="2452" y="18062"/>
                      </a:lnTo>
                      <a:lnTo>
                        <a:pt x="2452" y="18062"/>
                      </a:lnTo>
                      <a:lnTo>
                        <a:pt x="120" y="16507"/>
                      </a:lnTo>
                      <a:lnTo>
                        <a:pt x="0" y="16387"/>
                      </a:lnTo>
                      <a:lnTo>
                        <a:pt x="1794" y="12859"/>
                      </a:lnTo>
                      <a:lnTo>
                        <a:pt x="3589" y="9330"/>
                      </a:lnTo>
                      <a:lnTo>
                        <a:pt x="5383" y="5801"/>
                      </a:lnTo>
                      <a:lnTo>
                        <a:pt x="7177" y="2273"/>
                      </a:lnTo>
                      <a:lnTo>
                        <a:pt x="8313" y="0"/>
                      </a:lnTo>
                      <a:lnTo>
                        <a:pt x="11005" y="778"/>
                      </a:lnTo>
                      <a:lnTo>
                        <a:pt x="11184" y="837"/>
                      </a:lnTo>
                    </a:path>
                  </a:pathLst>
                </a:custGeom>
                <a:noFill/>
                <a:ln w="6350" cap="flat">
                  <a:solidFill>
                    <a:schemeClr val="bg1">
                      <a:alpha val="80000"/>
                    </a:schemeClr>
                  </a:solidFill>
                  <a:prstDash val="solid"/>
                  <a:miter/>
                </a:ln>
              </p:spPr>
              <p:txBody>
                <a:bodyPr rtlCol="0" anchor="ctr"/>
                <a:lstStyle/>
                <a:p>
                  <a:endParaRPr lang="en-GB"/>
                </a:p>
              </p:txBody>
            </p:sp>
            <p:sp>
              <p:nvSpPr>
                <p:cNvPr id="7917" name="Vrije vorm: vorm 7916">
                  <a:extLst>
                    <a:ext uri="{FF2B5EF4-FFF2-40B4-BE49-F238E27FC236}">
                      <a16:creationId xmlns:a16="http://schemas.microsoft.com/office/drawing/2014/main" id="{0D0BE118-0AA2-4D75-B773-BB3F7B2295B1}"/>
                    </a:ext>
                  </a:extLst>
                </p:cNvPr>
                <p:cNvSpPr/>
                <p:nvPr/>
              </p:nvSpPr>
              <p:spPr>
                <a:xfrm>
                  <a:off x="5729013" y="5313851"/>
                  <a:ext cx="4664" cy="6997"/>
                </a:xfrm>
                <a:custGeom>
                  <a:avLst/>
                  <a:gdLst>
                    <a:gd name="connsiteX0" fmla="*/ 1316 w 4664"/>
                    <a:gd name="connsiteY0" fmla="*/ 6998 h 6997"/>
                    <a:gd name="connsiteX1" fmla="*/ 0 w 4664"/>
                    <a:gd name="connsiteY1" fmla="*/ 6100 h 6997"/>
                    <a:gd name="connsiteX2" fmla="*/ 1794 w 4664"/>
                    <a:gd name="connsiteY2" fmla="*/ 2572 h 6997"/>
                    <a:gd name="connsiteX3" fmla="*/ 3110 w 4664"/>
                    <a:gd name="connsiteY3" fmla="*/ 0 h 6997"/>
                    <a:gd name="connsiteX4" fmla="*/ 4665 w 4664"/>
                    <a:gd name="connsiteY4" fmla="*/ 359 h 6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4" h="6997">
                      <a:moveTo>
                        <a:pt x="1316" y="6998"/>
                      </a:moveTo>
                      <a:lnTo>
                        <a:pt x="0" y="6100"/>
                      </a:lnTo>
                      <a:lnTo>
                        <a:pt x="1794" y="2572"/>
                      </a:lnTo>
                      <a:lnTo>
                        <a:pt x="3110" y="0"/>
                      </a:lnTo>
                      <a:lnTo>
                        <a:pt x="4665" y="359"/>
                      </a:lnTo>
                    </a:path>
                  </a:pathLst>
                </a:custGeom>
                <a:noFill/>
                <a:ln w="6350" cap="flat">
                  <a:solidFill>
                    <a:schemeClr val="bg1">
                      <a:alpha val="80000"/>
                    </a:schemeClr>
                  </a:solidFill>
                  <a:prstDash val="solid"/>
                  <a:miter/>
                </a:ln>
              </p:spPr>
              <p:txBody>
                <a:bodyPr rtlCol="0" anchor="ctr"/>
                <a:lstStyle/>
                <a:p>
                  <a:endParaRPr lang="en-GB"/>
                </a:p>
              </p:txBody>
            </p:sp>
            <p:sp>
              <p:nvSpPr>
                <p:cNvPr id="7918" name="Vrije vorm: vorm 7917">
                  <a:extLst>
                    <a:ext uri="{FF2B5EF4-FFF2-40B4-BE49-F238E27FC236}">
                      <a16:creationId xmlns:a16="http://schemas.microsoft.com/office/drawing/2014/main" id="{C5244B63-E78F-45FE-AE22-06B9DF6EA3F1}"/>
                    </a:ext>
                  </a:extLst>
                </p:cNvPr>
                <p:cNvSpPr/>
                <p:nvPr/>
              </p:nvSpPr>
              <p:spPr>
                <a:xfrm>
                  <a:off x="5732183" y="5313792"/>
                  <a:ext cx="1315" cy="896"/>
                </a:xfrm>
                <a:custGeom>
                  <a:avLst/>
                  <a:gdLst>
                    <a:gd name="connsiteX0" fmla="*/ 0 w 1315"/>
                    <a:gd name="connsiteY0" fmla="*/ 0 h 896"/>
                    <a:gd name="connsiteX1" fmla="*/ 1316 w 1315"/>
                    <a:gd name="connsiteY1" fmla="*/ 897 h 896"/>
                  </a:gdLst>
                  <a:ahLst/>
                  <a:cxnLst>
                    <a:cxn ang="0">
                      <a:pos x="connsiteX0" y="connsiteY0"/>
                    </a:cxn>
                    <a:cxn ang="0">
                      <a:pos x="connsiteX1" y="connsiteY1"/>
                    </a:cxn>
                  </a:cxnLst>
                  <a:rect l="l" t="t" r="r" b="b"/>
                  <a:pathLst>
                    <a:path w="1315" h="896">
                      <a:moveTo>
                        <a:pt x="0" y="0"/>
                      </a:moveTo>
                      <a:lnTo>
                        <a:pt x="1316" y="897"/>
                      </a:lnTo>
                    </a:path>
                  </a:pathLst>
                </a:custGeom>
                <a:noFill/>
                <a:ln w="6350" cap="flat">
                  <a:solidFill>
                    <a:schemeClr val="bg1">
                      <a:alpha val="80000"/>
                    </a:schemeClr>
                  </a:solidFill>
                  <a:prstDash val="solid"/>
                  <a:miter/>
                </a:ln>
              </p:spPr>
              <p:txBody>
                <a:bodyPr rtlCol="0" anchor="ctr"/>
                <a:lstStyle/>
                <a:p>
                  <a:endParaRPr lang="en-GB"/>
                </a:p>
              </p:txBody>
            </p:sp>
            <p:sp>
              <p:nvSpPr>
                <p:cNvPr id="7919" name="Vrije vorm: vorm 7918">
                  <a:extLst>
                    <a:ext uri="{FF2B5EF4-FFF2-40B4-BE49-F238E27FC236}">
                      <a16:creationId xmlns:a16="http://schemas.microsoft.com/office/drawing/2014/main" id="{69CEE727-0C52-4065-B0FC-5978858BA871}"/>
                    </a:ext>
                  </a:extLst>
                </p:cNvPr>
                <p:cNvSpPr/>
                <p:nvPr/>
              </p:nvSpPr>
              <p:spPr>
                <a:xfrm>
                  <a:off x="5718965" y="5334485"/>
                  <a:ext cx="4305" cy="6279"/>
                </a:xfrm>
                <a:custGeom>
                  <a:avLst/>
                  <a:gdLst>
                    <a:gd name="connsiteX0" fmla="*/ 1256 w 4305"/>
                    <a:gd name="connsiteY0" fmla="*/ 6280 h 6279"/>
                    <a:gd name="connsiteX1" fmla="*/ 0 w 4305"/>
                    <a:gd name="connsiteY1" fmla="*/ 5323 h 6279"/>
                    <a:gd name="connsiteX2" fmla="*/ 1794 w 4305"/>
                    <a:gd name="connsiteY2" fmla="*/ 1794 h 6279"/>
                    <a:gd name="connsiteX3" fmla="*/ 2691 w 4305"/>
                    <a:gd name="connsiteY3" fmla="*/ 0 h 6279"/>
                    <a:gd name="connsiteX4" fmla="*/ 4306 w 4305"/>
                    <a:gd name="connsiteY4" fmla="*/ 299 h 6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5" h="6279">
                      <a:moveTo>
                        <a:pt x="1256" y="6280"/>
                      </a:moveTo>
                      <a:lnTo>
                        <a:pt x="0" y="5323"/>
                      </a:lnTo>
                      <a:lnTo>
                        <a:pt x="1794" y="1794"/>
                      </a:lnTo>
                      <a:lnTo>
                        <a:pt x="2691" y="0"/>
                      </a:lnTo>
                      <a:lnTo>
                        <a:pt x="4306" y="299"/>
                      </a:lnTo>
                    </a:path>
                  </a:pathLst>
                </a:custGeom>
                <a:noFill/>
                <a:ln w="6350" cap="flat">
                  <a:solidFill>
                    <a:schemeClr val="bg1">
                      <a:alpha val="80000"/>
                    </a:schemeClr>
                  </a:solidFill>
                  <a:prstDash val="solid"/>
                  <a:miter/>
                </a:ln>
              </p:spPr>
              <p:txBody>
                <a:bodyPr rtlCol="0" anchor="ctr"/>
                <a:lstStyle/>
                <a:p>
                  <a:endParaRPr lang="en-GB"/>
                </a:p>
              </p:txBody>
            </p:sp>
            <p:sp>
              <p:nvSpPr>
                <p:cNvPr id="7920" name="Vrije vorm: vorm 7919">
                  <a:extLst>
                    <a:ext uri="{FF2B5EF4-FFF2-40B4-BE49-F238E27FC236}">
                      <a16:creationId xmlns:a16="http://schemas.microsoft.com/office/drawing/2014/main" id="{F1DD054A-E693-4423-8557-4A29771679BE}"/>
                    </a:ext>
                  </a:extLst>
                </p:cNvPr>
                <p:cNvSpPr/>
                <p:nvPr/>
              </p:nvSpPr>
              <p:spPr>
                <a:xfrm>
                  <a:off x="5745998" y="5296986"/>
                  <a:ext cx="14772" cy="22248"/>
                </a:xfrm>
                <a:custGeom>
                  <a:avLst/>
                  <a:gdLst>
                    <a:gd name="connsiteX0" fmla="*/ 14773 w 14772"/>
                    <a:gd name="connsiteY0" fmla="*/ 22248 h 22248"/>
                    <a:gd name="connsiteX1" fmla="*/ 13516 w 14772"/>
                    <a:gd name="connsiteY1" fmla="*/ 21411 h 22248"/>
                    <a:gd name="connsiteX2" fmla="*/ 11184 w 14772"/>
                    <a:gd name="connsiteY2" fmla="*/ 19856 h 22248"/>
                    <a:gd name="connsiteX3" fmla="*/ 11124 w 14772"/>
                    <a:gd name="connsiteY3" fmla="*/ 19796 h 22248"/>
                    <a:gd name="connsiteX4" fmla="*/ 11065 w 14772"/>
                    <a:gd name="connsiteY4" fmla="*/ 19736 h 22248"/>
                    <a:gd name="connsiteX5" fmla="*/ 8732 w 14772"/>
                    <a:gd name="connsiteY5" fmla="*/ 18181 h 22248"/>
                    <a:gd name="connsiteX6" fmla="*/ 6878 w 14772"/>
                    <a:gd name="connsiteY6" fmla="*/ 16925 h 22248"/>
                    <a:gd name="connsiteX7" fmla="*/ 6818 w 14772"/>
                    <a:gd name="connsiteY7" fmla="*/ 13337 h 22248"/>
                    <a:gd name="connsiteX8" fmla="*/ 6758 w 14772"/>
                    <a:gd name="connsiteY8" fmla="*/ 9748 h 22248"/>
                    <a:gd name="connsiteX9" fmla="*/ 6698 w 14772"/>
                    <a:gd name="connsiteY9" fmla="*/ 6160 h 22248"/>
                    <a:gd name="connsiteX10" fmla="*/ 6639 w 14772"/>
                    <a:gd name="connsiteY10" fmla="*/ 4246 h 22248"/>
                    <a:gd name="connsiteX11" fmla="*/ 4306 w 14772"/>
                    <a:gd name="connsiteY11" fmla="*/ 2751 h 22248"/>
                    <a:gd name="connsiteX12" fmla="*/ 1974 w 14772"/>
                    <a:gd name="connsiteY12" fmla="*/ 1256 h 22248"/>
                    <a:gd name="connsiteX13" fmla="*/ 0 w 14772"/>
                    <a:gd name="connsiteY13" fmla="*/ 0 h 2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72" h="22248">
                      <a:moveTo>
                        <a:pt x="14773" y="22248"/>
                      </a:moveTo>
                      <a:lnTo>
                        <a:pt x="13516" y="21411"/>
                      </a:lnTo>
                      <a:lnTo>
                        <a:pt x="11184" y="19856"/>
                      </a:lnTo>
                      <a:lnTo>
                        <a:pt x="11124" y="19796"/>
                      </a:lnTo>
                      <a:lnTo>
                        <a:pt x="11065" y="19736"/>
                      </a:lnTo>
                      <a:lnTo>
                        <a:pt x="8732" y="18181"/>
                      </a:lnTo>
                      <a:lnTo>
                        <a:pt x="6878" y="16925"/>
                      </a:lnTo>
                      <a:lnTo>
                        <a:pt x="6818" y="13337"/>
                      </a:lnTo>
                      <a:lnTo>
                        <a:pt x="6758" y="9748"/>
                      </a:lnTo>
                      <a:lnTo>
                        <a:pt x="6698" y="6160"/>
                      </a:lnTo>
                      <a:lnTo>
                        <a:pt x="6639" y="4246"/>
                      </a:lnTo>
                      <a:lnTo>
                        <a:pt x="4306" y="2751"/>
                      </a:lnTo>
                      <a:lnTo>
                        <a:pt x="1974" y="1256"/>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21" name="Vrije vorm: vorm 7920">
                  <a:extLst>
                    <a:ext uri="{FF2B5EF4-FFF2-40B4-BE49-F238E27FC236}">
                      <a16:creationId xmlns:a16="http://schemas.microsoft.com/office/drawing/2014/main" id="{F13EBCDC-EB2B-4ED3-BAAB-D01337C63C8D}"/>
                    </a:ext>
                  </a:extLst>
                </p:cNvPr>
                <p:cNvSpPr/>
                <p:nvPr/>
              </p:nvSpPr>
              <p:spPr>
                <a:xfrm>
                  <a:off x="5743068" y="5296208"/>
                  <a:ext cx="17942" cy="24341"/>
                </a:xfrm>
                <a:custGeom>
                  <a:avLst/>
                  <a:gdLst>
                    <a:gd name="connsiteX0" fmla="*/ 17942 w 17942"/>
                    <a:gd name="connsiteY0" fmla="*/ 24341 h 24341"/>
                    <a:gd name="connsiteX1" fmla="*/ 15729 w 17942"/>
                    <a:gd name="connsiteY1" fmla="*/ 22906 h 24341"/>
                    <a:gd name="connsiteX2" fmla="*/ 13576 w 17942"/>
                    <a:gd name="connsiteY2" fmla="*/ 21471 h 24341"/>
                    <a:gd name="connsiteX3" fmla="*/ 13277 w 17942"/>
                    <a:gd name="connsiteY3" fmla="*/ 21291 h 24341"/>
                    <a:gd name="connsiteX4" fmla="*/ 10945 w 17942"/>
                    <a:gd name="connsiteY4" fmla="*/ 19736 h 24341"/>
                    <a:gd name="connsiteX5" fmla="*/ 8612 w 17942"/>
                    <a:gd name="connsiteY5" fmla="*/ 18181 h 24341"/>
                    <a:gd name="connsiteX6" fmla="*/ 6878 w 17942"/>
                    <a:gd name="connsiteY6" fmla="*/ 17045 h 24341"/>
                    <a:gd name="connsiteX7" fmla="*/ 6818 w 17942"/>
                    <a:gd name="connsiteY7" fmla="*/ 13457 h 24341"/>
                    <a:gd name="connsiteX8" fmla="*/ 6758 w 17942"/>
                    <a:gd name="connsiteY8" fmla="*/ 9868 h 24341"/>
                    <a:gd name="connsiteX9" fmla="*/ 6698 w 17942"/>
                    <a:gd name="connsiteY9" fmla="*/ 6280 h 24341"/>
                    <a:gd name="connsiteX10" fmla="*/ 6639 w 17942"/>
                    <a:gd name="connsiteY10" fmla="*/ 4306 h 24341"/>
                    <a:gd name="connsiteX11" fmla="*/ 4306 w 17942"/>
                    <a:gd name="connsiteY11" fmla="*/ 2811 h 24341"/>
                    <a:gd name="connsiteX12" fmla="*/ 2452 w 17942"/>
                    <a:gd name="connsiteY12" fmla="*/ 1615 h 24341"/>
                    <a:gd name="connsiteX13" fmla="*/ 2452 w 17942"/>
                    <a:gd name="connsiteY13" fmla="*/ 1615 h 24341"/>
                    <a:gd name="connsiteX14" fmla="*/ 120 w 17942"/>
                    <a:gd name="connsiteY14" fmla="*/ 119 h 24341"/>
                    <a:gd name="connsiteX15" fmla="*/ 0 w 17942"/>
                    <a:gd name="connsiteY15" fmla="*/ 0 h 2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942" h="24341">
                      <a:moveTo>
                        <a:pt x="17942" y="24341"/>
                      </a:moveTo>
                      <a:lnTo>
                        <a:pt x="15729" y="22906"/>
                      </a:lnTo>
                      <a:lnTo>
                        <a:pt x="13576" y="21471"/>
                      </a:lnTo>
                      <a:lnTo>
                        <a:pt x="13277" y="21291"/>
                      </a:lnTo>
                      <a:lnTo>
                        <a:pt x="10945" y="19736"/>
                      </a:lnTo>
                      <a:lnTo>
                        <a:pt x="8612" y="18181"/>
                      </a:lnTo>
                      <a:lnTo>
                        <a:pt x="6878" y="17045"/>
                      </a:lnTo>
                      <a:lnTo>
                        <a:pt x="6818" y="13457"/>
                      </a:lnTo>
                      <a:lnTo>
                        <a:pt x="6758" y="9868"/>
                      </a:lnTo>
                      <a:lnTo>
                        <a:pt x="6698" y="6280"/>
                      </a:lnTo>
                      <a:lnTo>
                        <a:pt x="6639" y="4306"/>
                      </a:lnTo>
                      <a:lnTo>
                        <a:pt x="4306" y="2811"/>
                      </a:lnTo>
                      <a:lnTo>
                        <a:pt x="2452" y="1615"/>
                      </a:lnTo>
                      <a:lnTo>
                        <a:pt x="2452" y="1615"/>
                      </a:lnTo>
                      <a:lnTo>
                        <a:pt x="120" y="11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22" name="Vrije vorm: vorm 7921">
                  <a:extLst>
                    <a:ext uri="{FF2B5EF4-FFF2-40B4-BE49-F238E27FC236}">
                      <a16:creationId xmlns:a16="http://schemas.microsoft.com/office/drawing/2014/main" id="{99C54C5D-E84A-4CCC-AADA-FD3E85C96ED2}"/>
                    </a:ext>
                  </a:extLst>
                </p:cNvPr>
                <p:cNvSpPr/>
                <p:nvPr/>
              </p:nvSpPr>
              <p:spPr>
                <a:xfrm>
                  <a:off x="5721656" y="5334544"/>
                  <a:ext cx="1256" cy="956"/>
                </a:xfrm>
                <a:custGeom>
                  <a:avLst/>
                  <a:gdLst>
                    <a:gd name="connsiteX0" fmla="*/ 0 w 1256"/>
                    <a:gd name="connsiteY0" fmla="*/ 0 h 956"/>
                    <a:gd name="connsiteX1" fmla="*/ 1256 w 1256"/>
                    <a:gd name="connsiteY1" fmla="*/ 957 h 956"/>
                  </a:gdLst>
                  <a:ahLst/>
                  <a:cxnLst>
                    <a:cxn ang="0">
                      <a:pos x="connsiteX0" y="connsiteY0"/>
                    </a:cxn>
                    <a:cxn ang="0">
                      <a:pos x="connsiteX1" y="connsiteY1"/>
                    </a:cxn>
                  </a:cxnLst>
                  <a:rect l="l" t="t" r="r" b="b"/>
                  <a:pathLst>
                    <a:path w="1256" h="956">
                      <a:moveTo>
                        <a:pt x="0" y="0"/>
                      </a:moveTo>
                      <a:lnTo>
                        <a:pt x="1256" y="957"/>
                      </a:lnTo>
                    </a:path>
                  </a:pathLst>
                </a:custGeom>
                <a:noFill/>
                <a:ln w="6350" cap="flat">
                  <a:solidFill>
                    <a:schemeClr val="bg1">
                      <a:alpha val="80000"/>
                    </a:schemeClr>
                  </a:solidFill>
                  <a:prstDash val="solid"/>
                  <a:miter/>
                </a:ln>
              </p:spPr>
              <p:txBody>
                <a:bodyPr rtlCol="0" anchor="ctr"/>
                <a:lstStyle/>
                <a:p>
                  <a:endParaRPr lang="en-GB"/>
                </a:p>
              </p:txBody>
            </p:sp>
            <p:sp>
              <p:nvSpPr>
                <p:cNvPr id="7923" name="Vrije vorm: vorm 7922">
                  <a:extLst>
                    <a:ext uri="{FF2B5EF4-FFF2-40B4-BE49-F238E27FC236}">
                      <a16:creationId xmlns:a16="http://schemas.microsoft.com/office/drawing/2014/main" id="{92E62639-3FA9-4CB7-A624-285B65729D71}"/>
                    </a:ext>
                  </a:extLst>
                </p:cNvPr>
                <p:cNvSpPr/>
                <p:nvPr/>
              </p:nvSpPr>
              <p:spPr>
                <a:xfrm>
                  <a:off x="5751321" y="5318755"/>
                  <a:ext cx="10406" cy="9928"/>
                </a:xfrm>
                <a:custGeom>
                  <a:avLst/>
                  <a:gdLst>
                    <a:gd name="connsiteX0" fmla="*/ 3110 w 10406"/>
                    <a:gd name="connsiteY0" fmla="*/ 180 h 9928"/>
                    <a:gd name="connsiteX1" fmla="*/ 2392 w 10406"/>
                    <a:gd name="connsiteY1" fmla="*/ 0 h 9928"/>
                    <a:gd name="connsiteX2" fmla="*/ 598 w 10406"/>
                    <a:gd name="connsiteY2" fmla="*/ 3529 h 9928"/>
                    <a:gd name="connsiteX3" fmla="*/ 0 w 10406"/>
                    <a:gd name="connsiteY3" fmla="*/ 4725 h 9928"/>
                    <a:gd name="connsiteX4" fmla="*/ 1734 w 10406"/>
                    <a:gd name="connsiteY4" fmla="*/ 5861 h 9928"/>
                    <a:gd name="connsiteX5" fmla="*/ 1854 w 10406"/>
                    <a:gd name="connsiteY5" fmla="*/ 5981 h 9928"/>
                    <a:gd name="connsiteX6" fmla="*/ 2333 w 10406"/>
                    <a:gd name="connsiteY6" fmla="*/ 6280 h 9928"/>
                    <a:gd name="connsiteX7" fmla="*/ 2751 w 10406"/>
                    <a:gd name="connsiteY7" fmla="*/ 6579 h 9928"/>
                    <a:gd name="connsiteX8" fmla="*/ 4067 w 10406"/>
                    <a:gd name="connsiteY8" fmla="*/ 7476 h 9928"/>
                    <a:gd name="connsiteX9" fmla="*/ 4127 w 10406"/>
                    <a:gd name="connsiteY9" fmla="*/ 7536 h 9928"/>
                    <a:gd name="connsiteX10" fmla="*/ 6459 w 10406"/>
                    <a:gd name="connsiteY10" fmla="*/ 9091 h 9928"/>
                    <a:gd name="connsiteX11" fmla="*/ 6519 w 10406"/>
                    <a:gd name="connsiteY11" fmla="*/ 9151 h 9928"/>
                    <a:gd name="connsiteX12" fmla="*/ 7476 w 10406"/>
                    <a:gd name="connsiteY12" fmla="*/ 9808 h 9928"/>
                    <a:gd name="connsiteX13" fmla="*/ 7596 w 10406"/>
                    <a:gd name="connsiteY13" fmla="*/ 9808 h 9928"/>
                    <a:gd name="connsiteX14" fmla="*/ 8194 w 10406"/>
                    <a:gd name="connsiteY14" fmla="*/ 9928 h 9928"/>
                    <a:gd name="connsiteX15" fmla="*/ 9988 w 10406"/>
                    <a:gd name="connsiteY15" fmla="*/ 6399 h 9928"/>
                    <a:gd name="connsiteX16" fmla="*/ 10406 w 10406"/>
                    <a:gd name="connsiteY16" fmla="*/ 5622 h 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06" h="9928">
                      <a:moveTo>
                        <a:pt x="3110" y="180"/>
                      </a:moveTo>
                      <a:lnTo>
                        <a:pt x="2392" y="0"/>
                      </a:lnTo>
                      <a:lnTo>
                        <a:pt x="598" y="3529"/>
                      </a:lnTo>
                      <a:lnTo>
                        <a:pt x="0" y="4725"/>
                      </a:lnTo>
                      <a:lnTo>
                        <a:pt x="1734" y="5861"/>
                      </a:lnTo>
                      <a:lnTo>
                        <a:pt x="1854" y="5981"/>
                      </a:lnTo>
                      <a:lnTo>
                        <a:pt x="2333" y="6280"/>
                      </a:lnTo>
                      <a:lnTo>
                        <a:pt x="2751" y="6579"/>
                      </a:lnTo>
                      <a:lnTo>
                        <a:pt x="4067" y="7476"/>
                      </a:lnTo>
                      <a:lnTo>
                        <a:pt x="4127" y="7536"/>
                      </a:lnTo>
                      <a:lnTo>
                        <a:pt x="6459" y="9091"/>
                      </a:lnTo>
                      <a:lnTo>
                        <a:pt x="6519" y="9151"/>
                      </a:lnTo>
                      <a:lnTo>
                        <a:pt x="7476" y="9808"/>
                      </a:lnTo>
                      <a:lnTo>
                        <a:pt x="7596" y="9808"/>
                      </a:lnTo>
                      <a:lnTo>
                        <a:pt x="8194" y="9928"/>
                      </a:lnTo>
                      <a:lnTo>
                        <a:pt x="9988" y="6399"/>
                      </a:lnTo>
                      <a:lnTo>
                        <a:pt x="10406" y="5622"/>
                      </a:lnTo>
                    </a:path>
                  </a:pathLst>
                </a:custGeom>
                <a:noFill/>
                <a:ln w="6350" cap="flat">
                  <a:solidFill>
                    <a:schemeClr val="bg1">
                      <a:alpha val="80000"/>
                    </a:schemeClr>
                  </a:solidFill>
                  <a:prstDash val="solid"/>
                  <a:miter/>
                </a:ln>
              </p:spPr>
              <p:txBody>
                <a:bodyPr rtlCol="0" anchor="ctr"/>
                <a:lstStyle/>
                <a:p>
                  <a:endParaRPr lang="en-GB"/>
                </a:p>
              </p:txBody>
            </p:sp>
            <p:sp>
              <p:nvSpPr>
                <p:cNvPr id="7924" name="Vrije vorm: vorm 7923">
                  <a:extLst>
                    <a:ext uri="{FF2B5EF4-FFF2-40B4-BE49-F238E27FC236}">
                      <a16:creationId xmlns:a16="http://schemas.microsoft.com/office/drawing/2014/main" id="{2D2253C6-C143-404D-B215-2C184C8645DD}"/>
                    </a:ext>
                  </a:extLst>
                </p:cNvPr>
                <p:cNvSpPr/>
                <p:nvPr/>
              </p:nvSpPr>
              <p:spPr>
                <a:xfrm>
                  <a:off x="5747134" y="5324916"/>
                  <a:ext cx="11004" cy="10645"/>
                </a:xfrm>
                <a:custGeom>
                  <a:avLst/>
                  <a:gdLst>
                    <a:gd name="connsiteX0" fmla="*/ 11005 w 11004"/>
                    <a:gd name="connsiteY0" fmla="*/ 5203 h 10645"/>
                    <a:gd name="connsiteX1" fmla="*/ 11005 w 11004"/>
                    <a:gd name="connsiteY1" fmla="*/ 5203 h 10645"/>
                    <a:gd name="connsiteX2" fmla="*/ 10526 w 11004"/>
                    <a:gd name="connsiteY2" fmla="*/ 4904 h 10645"/>
                    <a:gd name="connsiteX3" fmla="*/ 8194 w 11004"/>
                    <a:gd name="connsiteY3" fmla="*/ 3349 h 10645"/>
                    <a:gd name="connsiteX4" fmla="*/ 5861 w 11004"/>
                    <a:gd name="connsiteY4" fmla="*/ 1794 h 10645"/>
                    <a:gd name="connsiteX5" fmla="*/ 5263 w 11004"/>
                    <a:gd name="connsiteY5" fmla="*/ 1375 h 10645"/>
                    <a:gd name="connsiteX6" fmla="*/ 3529 w 11004"/>
                    <a:gd name="connsiteY6" fmla="*/ 179 h 10645"/>
                    <a:gd name="connsiteX7" fmla="*/ 2811 w 11004"/>
                    <a:gd name="connsiteY7" fmla="*/ 0 h 10645"/>
                    <a:gd name="connsiteX8" fmla="*/ 1017 w 11004"/>
                    <a:gd name="connsiteY8" fmla="*/ 3528 h 10645"/>
                    <a:gd name="connsiteX9" fmla="*/ 359 w 11004"/>
                    <a:gd name="connsiteY9" fmla="*/ 4785 h 10645"/>
                    <a:gd name="connsiteX10" fmla="*/ 0 w 11004"/>
                    <a:gd name="connsiteY10" fmla="*/ 5502 h 10645"/>
                    <a:gd name="connsiteX11" fmla="*/ 2273 w 11004"/>
                    <a:gd name="connsiteY11" fmla="*/ 7057 h 10645"/>
                    <a:gd name="connsiteX12" fmla="*/ 4545 w 11004"/>
                    <a:gd name="connsiteY12" fmla="*/ 8612 h 10645"/>
                    <a:gd name="connsiteX13" fmla="*/ 6818 w 11004"/>
                    <a:gd name="connsiteY13" fmla="*/ 10167 h 10645"/>
                    <a:gd name="connsiteX14" fmla="*/ 7356 w 11004"/>
                    <a:gd name="connsiteY14" fmla="*/ 10526 h 10645"/>
                    <a:gd name="connsiteX15" fmla="*/ 8074 w 11004"/>
                    <a:gd name="connsiteY15" fmla="*/ 10645 h 1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04" h="10645">
                      <a:moveTo>
                        <a:pt x="11005" y="5203"/>
                      </a:moveTo>
                      <a:lnTo>
                        <a:pt x="11005" y="5203"/>
                      </a:lnTo>
                      <a:lnTo>
                        <a:pt x="10526" y="4904"/>
                      </a:lnTo>
                      <a:lnTo>
                        <a:pt x="8194" y="3349"/>
                      </a:lnTo>
                      <a:lnTo>
                        <a:pt x="5861" y="1794"/>
                      </a:lnTo>
                      <a:lnTo>
                        <a:pt x="5263" y="1375"/>
                      </a:lnTo>
                      <a:lnTo>
                        <a:pt x="3529" y="179"/>
                      </a:lnTo>
                      <a:lnTo>
                        <a:pt x="2811" y="0"/>
                      </a:lnTo>
                      <a:lnTo>
                        <a:pt x="1017" y="3528"/>
                      </a:lnTo>
                      <a:lnTo>
                        <a:pt x="359" y="4785"/>
                      </a:lnTo>
                      <a:lnTo>
                        <a:pt x="0" y="5502"/>
                      </a:lnTo>
                      <a:lnTo>
                        <a:pt x="2273" y="7057"/>
                      </a:lnTo>
                      <a:lnTo>
                        <a:pt x="4545" y="8612"/>
                      </a:lnTo>
                      <a:lnTo>
                        <a:pt x="6818" y="10167"/>
                      </a:lnTo>
                      <a:lnTo>
                        <a:pt x="7356" y="10526"/>
                      </a:lnTo>
                      <a:lnTo>
                        <a:pt x="8074" y="10645"/>
                      </a:lnTo>
                    </a:path>
                  </a:pathLst>
                </a:custGeom>
                <a:noFill/>
                <a:ln w="6350" cap="flat">
                  <a:solidFill>
                    <a:schemeClr val="bg1">
                      <a:alpha val="80000"/>
                    </a:schemeClr>
                  </a:solidFill>
                  <a:prstDash val="solid"/>
                  <a:miter/>
                </a:ln>
              </p:spPr>
              <p:txBody>
                <a:bodyPr rtlCol="0" anchor="ctr"/>
                <a:lstStyle/>
                <a:p>
                  <a:endParaRPr lang="en-GB"/>
                </a:p>
              </p:txBody>
            </p:sp>
            <p:sp>
              <p:nvSpPr>
                <p:cNvPr id="7925" name="Vrije vorm: vorm 7924">
                  <a:extLst>
                    <a:ext uri="{FF2B5EF4-FFF2-40B4-BE49-F238E27FC236}">
                      <a16:creationId xmlns:a16="http://schemas.microsoft.com/office/drawing/2014/main" id="{0110F360-AB37-4D69-B492-B91FD5C8322C}"/>
                    </a:ext>
                  </a:extLst>
                </p:cNvPr>
                <p:cNvSpPr/>
                <p:nvPr/>
              </p:nvSpPr>
              <p:spPr>
                <a:xfrm>
                  <a:off x="5755268" y="5329939"/>
                  <a:ext cx="2870" cy="5741"/>
                </a:xfrm>
                <a:custGeom>
                  <a:avLst/>
                  <a:gdLst>
                    <a:gd name="connsiteX0" fmla="*/ 0 w 2870"/>
                    <a:gd name="connsiteY0" fmla="*/ 5742 h 5741"/>
                    <a:gd name="connsiteX1" fmla="*/ 239 w 2870"/>
                    <a:gd name="connsiteY1" fmla="*/ 5263 h 5741"/>
                    <a:gd name="connsiteX2" fmla="*/ 538 w 2870"/>
                    <a:gd name="connsiteY2" fmla="*/ 4665 h 5741"/>
                    <a:gd name="connsiteX3" fmla="*/ 2333 w 2870"/>
                    <a:gd name="connsiteY3" fmla="*/ 1136 h 5741"/>
                    <a:gd name="connsiteX4" fmla="*/ 2871 w 2870"/>
                    <a:gd name="connsiteY4" fmla="*/ 120 h 5741"/>
                    <a:gd name="connsiteX5" fmla="*/ 2811 w 2870"/>
                    <a:gd name="connsiteY5" fmla="*/ 120 h 5741"/>
                    <a:gd name="connsiteX6" fmla="*/ 2213 w 2870"/>
                    <a:gd name="connsiteY6" fmla="*/ 0 h 5741"/>
                    <a:gd name="connsiteX7" fmla="*/ 2153 w 2870"/>
                    <a:gd name="connsiteY7" fmla="*/ 0 h 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0" h="5741">
                      <a:moveTo>
                        <a:pt x="0" y="5742"/>
                      </a:moveTo>
                      <a:lnTo>
                        <a:pt x="239" y="5263"/>
                      </a:lnTo>
                      <a:lnTo>
                        <a:pt x="538" y="4665"/>
                      </a:lnTo>
                      <a:lnTo>
                        <a:pt x="2333" y="1136"/>
                      </a:lnTo>
                      <a:lnTo>
                        <a:pt x="2871" y="120"/>
                      </a:lnTo>
                      <a:lnTo>
                        <a:pt x="2811" y="120"/>
                      </a:lnTo>
                      <a:lnTo>
                        <a:pt x="2213" y="0"/>
                      </a:lnTo>
                      <a:lnTo>
                        <a:pt x="2153" y="0"/>
                      </a:lnTo>
                    </a:path>
                  </a:pathLst>
                </a:custGeom>
                <a:noFill/>
                <a:ln w="6350" cap="flat">
                  <a:solidFill>
                    <a:schemeClr val="bg1">
                      <a:alpha val="80000"/>
                    </a:schemeClr>
                  </a:solidFill>
                  <a:prstDash val="solid"/>
                  <a:miter/>
                </a:ln>
              </p:spPr>
              <p:txBody>
                <a:bodyPr rtlCol="0" anchor="ctr"/>
                <a:lstStyle/>
                <a:p>
                  <a:endParaRPr lang="en-GB"/>
                </a:p>
              </p:txBody>
            </p:sp>
            <p:sp>
              <p:nvSpPr>
                <p:cNvPr id="7926" name="Vrije vorm: vorm 7925">
                  <a:extLst>
                    <a:ext uri="{FF2B5EF4-FFF2-40B4-BE49-F238E27FC236}">
                      <a16:creationId xmlns:a16="http://schemas.microsoft.com/office/drawing/2014/main" id="{8D209D6E-F2A5-43AA-B218-1132E050BE05}"/>
                    </a:ext>
                  </a:extLst>
                </p:cNvPr>
                <p:cNvSpPr/>
                <p:nvPr/>
              </p:nvSpPr>
              <p:spPr>
                <a:xfrm>
                  <a:off x="5733199" y="5314330"/>
                  <a:ext cx="4067" cy="7954"/>
                </a:xfrm>
                <a:custGeom>
                  <a:avLst/>
                  <a:gdLst>
                    <a:gd name="connsiteX0" fmla="*/ 0 w 4067"/>
                    <a:gd name="connsiteY0" fmla="*/ 7954 h 7954"/>
                    <a:gd name="connsiteX1" fmla="*/ 120 w 4067"/>
                    <a:gd name="connsiteY1" fmla="*/ 7775 h 7954"/>
                    <a:gd name="connsiteX2" fmla="*/ 658 w 4067"/>
                    <a:gd name="connsiteY2" fmla="*/ 6639 h 7954"/>
                    <a:gd name="connsiteX3" fmla="*/ 2452 w 4067"/>
                    <a:gd name="connsiteY3" fmla="*/ 3110 h 7954"/>
                    <a:gd name="connsiteX4" fmla="*/ 3230 w 4067"/>
                    <a:gd name="connsiteY4" fmla="*/ 1615 h 7954"/>
                    <a:gd name="connsiteX5" fmla="*/ 3768 w 4067"/>
                    <a:gd name="connsiteY5" fmla="*/ 598 h 7954"/>
                    <a:gd name="connsiteX6" fmla="*/ 4067 w 4067"/>
                    <a:gd name="connsiteY6" fmla="*/ 0 h 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7" h="7954">
                      <a:moveTo>
                        <a:pt x="0" y="7954"/>
                      </a:moveTo>
                      <a:lnTo>
                        <a:pt x="120" y="7775"/>
                      </a:lnTo>
                      <a:lnTo>
                        <a:pt x="658" y="6639"/>
                      </a:lnTo>
                      <a:lnTo>
                        <a:pt x="2452" y="3110"/>
                      </a:lnTo>
                      <a:lnTo>
                        <a:pt x="3230" y="1615"/>
                      </a:lnTo>
                      <a:lnTo>
                        <a:pt x="3768" y="598"/>
                      </a:lnTo>
                      <a:lnTo>
                        <a:pt x="4067" y="0"/>
                      </a:lnTo>
                    </a:path>
                  </a:pathLst>
                </a:custGeom>
                <a:noFill/>
                <a:ln w="6350" cap="flat">
                  <a:solidFill>
                    <a:schemeClr val="bg1">
                      <a:alpha val="80000"/>
                    </a:schemeClr>
                  </a:solidFill>
                  <a:prstDash val="solid"/>
                  <a:miter/>
                </a:ln>
              </p:spPr>
              <p:txBody>
                <a:bodyPr rtlCol="0" anchor="ctr"/>
                <a:lstStyle/>
                <a:p>
                  <a:endParaRPr lang="en-GB"/>
                </a:p>
              </p:txBody>
            </p:sp>
            <p:sp>
              <p:nvSpPr>
                <p:cNvPr id="7927" name="Vrije vorm: vorm 7926">
                  <a:extLst>
                    <a:ext uri="{FF2B5EF4-FFF2-40B4-BE49-F238E27FC236}">
                      <a16:creationId xmlns:a16="http://schemas.microsoft.com/office/drawing/2014/main" id="{3EF4A5D8-4C67-4091-85A3-539F643C5BEF}"/>
                    </a:ext>
                  </a:extLst>
                </p:cNvPr>
                <p:cNvSpPr/>
                <p:nvPr/>
              </p:nvSpPr>
              <p:spPr>
                <a:xfrm>
                  <a:off x="5749886" y="5324856"/>
                  <a:ext cx="7475" cy="10705"/>
                </a:xfrm>
                <a:custGeom>
                  <a:avLst/>
                  <a:gdLst>
                    <a:gd name="connsiteX0" fmla="*/ 4665 w 7475"/>
                    <a:gd name="connsiteY0" fmla="*/ 10705 h 10705"/>
                    <a:gd name="connsiteX1" fmla="*/ 4785 w 7475"/>
                    <a:gd name="connsiteY1" fmla="*/ 10466 h 10705"/>
                    <a:gd name="connsiteX2" fmla="*/ 5024 w 7475"/>
                    <a:gd name="connsiteY2" fmla="*/ 9988 h 10705"/>
                    <a:gd name="connsiteX3" fmla="*/ 5323 w 7475"/>
                    <a:gd name="connsiteY3" fmla="*/ 9390 h 10705"/>
                    <a:gd name="connsiteX4" fmla="*/ 6698 w 7475"/>
                    <a:gd name="connsiteY4" fmla="*/ 6698 h 10705"/>
                    <a:gd name="connsiteX5" fmla="*/ 7416 w 7475"/>
                    <a:gd name="connsiteY5" fmla="*/ 5203 h 10705"/>
                    <a:gd name="connsiteX6" fmla="*/ 7476 w 7475"/>
                    <a:gd name="connsiteY6" fmla="*/ 5024 h 10705"/>
                    <a:gd name="connsiteX7" fmla="*/ 5143 w 7475"/>
                    <a:gd name="connsiteY7" fmla="*/ 3469 h 10705"/>
                    <a:gd name="connsiteX8" fmla="*/ 2811 w 7475"/>
                    <a:gd name="connsiteY8" fmla="*/ 1914 h 10705"/>
                    <a:gd name="connsiteX9" fmla="*/ 2333 w 7475"/>
                    <a:gd name="connsiteY9" fmla="*/ 1615 h 10705"/>
                    <a:gd name="connsiteX10" fmla="*/ 598 w 7475"/>
                    <a:gd name="connsiteY10" fmla="*/ 419 h 10705"/>
                    <a:gd name="connsiteX11" fmla="*/ 0 w 7475"/>
                    <a:gd name="connsiteY11" fmla="*/ 0 h 1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5" h="10705">
                      <a:moveTo>
                        <a:pt x="4665" y="10705"/>
                      </a:moveTo>
                      <a:lnTo>
                        <a:pt x="4785" y="10466"/>
                      </a:lnTo>
                      <a:lnTo>
                        <a:pt x="5024" y="9988"/>
                      </a:lnTo>
                      <a:lnTo>
                        <a:pt x="5323" y="9390"/>
                      </a:lnTo>
                      <a:lnTo>
                        <a:pt x="6698" y="6698"/>
                      </a:lnTo>
                      <a:lnTo>
                        <a:pt x="7416" y="5203"/>
                      </a:lnTo>
                      <a:lnTo>
                        <a:pt x="7476" y="5024"/>
                      </a:lnTo>
                      <a:lnTo>
                        <a:pt x="5143" y="3469"/>
                      </a:lnTo>
                      <a:lnTo>
                        <a:pt x="2811" y="1914"/>
                      </a:lnTo>
                      <a:lnTo>
                        <a:pt x="2333" y="1615"/>
                      </a:lnTo>
                      <a:lnTo>
                        <a:pt x="598" y="41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28" name="Vrije vorm: vorm 7927">
                  <a:extLst>
                    <a:ext uri="{FF2B5EF4-FFF2-40B4-BE49-F238E27FC236}">
                      <a16:creationId xmlns:a16="http://schemas.microsoft.com/office/drawing/2014/main" id="{6B51F635-218A-4238-A9B3-FD535327D233}"/>
                    </a:ext>
                  </a:extLst>
                </p:cNvPr>
                <p:cNvSpPr/>
                <p:nvPr/>
              </p:nvSpPr>
              <p:spPr>
                <a:xfrm>
                  <a:off x="5753654" y="5318755"/>
                  <a:ext cx="7535" cy="4964"/>
                </a:xfrm>
                <a:custGeom>
                  <a:avLst/>
                  <a:gdLst>
                    <a:gd name="connsiteX0" fmla="*/ 7536 w 7535"/>
                    <a:gd name="connsiteY0" fmla="*/ 4964 h 4964"/>
                    <a:gd name="connsiteX1" fmla="*/ 5203 w 7535"/>
                    <a:gd name="connsiteY1" fmla="*/ 3409 h 4964"/>
                    <a:gd name="connsiteX2" fmla="*/ 4007 w 7535"/>
                    <a:gd name="connsiteY2" fmla="*/ 2632 h 4964"/>
                    <a:gd name="connsiteX3" fmla="*/ 1854 w 7535"/>
                    <a:gd name="connsiteY3" fmla="*/ 1196 h 4964"/>
                    <a:gd name="connsiteX4" fmla="*/ 1555 w 7535"/>
                    <a:gd name="connsiteY4" fmla="*/ 1017 h 4964"/>
                    <a:gd name="connsiteX5" fmla="*/ 598 w 7535"/>
                    <a:gd name="connsiteY5" fmla="*/ 419 h 4964"/>
                    <a:gd name="connsiteX6" fmla="*/ 0 w 7535"/>
                    <a:gd name="connsiteY6" fmla="*/ 0 h 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5" h="4964">
                      <a:moveTo>
                        <a:pt x="7536" y="4964"/>
                      </a:moveTo>
                      <a:lnTo>
                        <a:pt x="5203" y="3409"/>
                      </a:lnTo>
                      <a:lnTo>
                        <a:pt x="4007" y="2632"/>
                      </a:lnTo>
                      <a:lnTo>
                        <a:pt x="1854" y="1196"/>
                      </a:lnTo>
                      <a:lnTo>
                        <a:pt x="1555" y="1017"/>
                      </a:lnTo>
                      <a:lnTo>
                        <a:pt x="598" y="41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29" name="Vrije vorm: vorm 7928">
                  <a:extLst>
                    <a:ext uri="{FF2B5EF4-FFF2-40B4-BE49-F238E27FC236}">
                      <a16:creationId xmlns:a16="http://schemas.microsoft.com/office/drawing/2014/main" id="{794DA0E1-6F0A-46A8-8EB2-50652C113C54}"/>
                    </a:ext>
                  </a:extLst>
                </p:cNvPr>
                <p:cNvSpPr/>
                <p:nvPr/>
              </p:nvSpPr>
              <p:spPr>
                <a:xfrm>
                  <a:off x="5758797" y="5323779"/>
                  <a:ext cx="2810" cy="4724"/>
                </a:xfrm>
                <a:custGeom>
                  <a:avLst/>
                  <a:gdLst>
                    <a:gd name="connsiteX0" fmla="*/ 0 w 2810"/>
                    <a:gd name="connsiteY0" fmla="*/ 4725 h 4724"/>
                    <a:gd name="connsiteX1" fmla="*/ 120 w 2810"/>
                    <a:gd name="connsiteY1" fmla="*/ 4486 h 4724"/>
                    <a:gd name="connsiteX2" fmla="*/ 1914 w 2810"/>
                    <a:gd name="connsiteY2" fmla="*/ 957 h 4724"/>
                    <a:gd name="connsiteX3" fmla="*/ 2392 w 2810"/>
                    <a:gd name="connsiteY3" fmla="*/ 0 h 4724"/>
                    <a:gd name="connsiteX4" fmla="*/ 2691 w 2810"/>
                    <a:gd name="connsiteY4" fmla="*/ 60 h 4724"/>
                    <a:gd name="connsiteX5" fmla="*/ 2811 w 2810"/>
                    <a:gd name="connsiteY5" fmla="*/ 60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0" h="4724">
                      <a:moveTo>
                        <a:pt x="0" y="4725"/>
                      </a:moveTo>
                      <a:lnTo>
                        <a:pt x="120" y="4486"/>
                      </a:lnTo>
                      <a:lnTo>
                        <a:pt x="1914" y="957"/>
                      </a:lnTo>
                      <a:lnTo>
                        <a:pt x="2392" y="0"/>
                      </a:lnTo>
                      <a:lnTo>
                        <a:pt x="2691" y="60"/>
                      </a:lnTo>
                      <a:lnTo>
                        <a:pt x="2811" y="60"/>
                      </a:lnTo>
                    </a:path>
                  </a:pathLst>
                </a:custGeom>
                <a:noFill/>
                <a:ln w="6350" cap="flat">
                  <a:solidFill>
                    <a:schemeClr val="bg1">
                      <a:alpha val="80000"/>
                    </a:schemeClr>
                  </a:solidFill>
                  <a:prstDash val="solid"/>
                  <a:miter/>
                </a:ln>
              </p:spPr>
              <p:txBody>
                <a:bodyPr rtlCol="0" anchor="ctr"/>
                <a:lstStyle/>
                <a:p>
                  <a:endParaRPr lang="en-GB"/>
                </a:p>
              </p:txBody>
            </p:sp>
            <p:sp>
              <p:nvSpPr>
                <p:cNvPr id="7930" name="Vrije vorm: vorm 7929">
                  <a:extLst>
                    <a:ext uri="{FF2B5EF4-FFF2-40B4-BE49-F238E27FC236}">
                      <a16:creationId xmlns:a16="http://schemas.microsoft.com/office/drawing/2014/main" id="{D6E9D819-2CE9-410D-9210-848B19E963AE}"/>
                    </a:ext>
                  </a:extLst>
                </p:cNvPr>
                <p:cNvSpPr/>
                <p:nvPr/>
              </p:nvSpPr>
              <p:spPr>
                <a:xfrm>
                  <a:off x="5571600" y="5354042"/>
                  <a:ext cx="1375" cy="2751"/>
                </a:xfrm>
                <a:custGeom>
                  <a:avLst/>
                  <a:gdLst>
                    <a:gd name="connsiteX0" fmla="*/ 1375 w 1375"/>
                    <a:gd name="connsiteY0" fmla="*/ 2751 h 2751"/>
                    <a:gd name="connsiteX1" fmla="*/ 299 w 1375"/>
                    <a:gd name="connsiteY1" fmla="*/ 2632 h 2751"/>
                    <a:gd name="connsiteX2" fmla="*/ 0 w 1375"/>
                    <a:gd name="connsiteY2" fmla="*/ 0 h 2751"/>
                  </a:gdLst>
                  <a:ahLst/>
                  <a:cxnLst>
                    <a:cxn ang="0">
                      <a:pos x="connsiteX0" y="connsiteY0"/>
                    </a:cxn>
                    <a:cxn ang="0">
                      <a:pos x="connsiteX1" y="connsiteY1"/>
                    </a:cxn>
                    <a:cxn ang="0">
                      <a:pos x="connsiteX2" y="connsiteY2"/>
                    </a:cxn>
                  </a:cxnLst>
                  <a:rect l="l" t="t" r="r" b="b"/>
                  <a:pathLst>
                    <a:path w="1375" h="2751">
                      <a:moveTo>
                        <a:pt x="1375" y="2751"/>
                      </a:moveTo>
                      <a:lnTo>
                        <a:pt x="299" y="2632"/>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31" name="Vrije vorm: vorm 7930">
                  <a:extLst>
                    <a:ext uri="{FF2B5EF4-FFF2-40B4-BE49-F238E27FC236}">
                      <a16:creationId xmlns:a16="http://schemas.microsoft.com/office/drawing/2014/main" id="{AC64DCE7-2F9C-4E9B-8E58-CEC79B657365}"/>
                    </a:ext>
                  </a:extLst>
                </p:cNvPr>
                <p:cNvSpPr/>
                <p:nvPr/>
              </p:nvSpPr>
              <p:spPr>
                <a:xfrm>
                  <a:off x="5571062" y="5311758"/>
                  <a:ext cx="52391" cy="40967"/>
                </a:xfrm>
                <a:custGeom>
                  <a:avLst/>
                  <a:gdLst>
                    <a:gd name="connsiteX0" fmla="*/ 359 w 52391"/>
                    <a:gd name="connsiteY0" fmla="*/ 40968 h 40967"/>
                    <a:gd name="connsiteX1" fmla="*/ 0 w 52391"/>
                    <a:gd name="connsiteY1" fmla="*/ 37559 h 40967"/>
                    <a:gd name="connsiteX2" fmla="*/ 0 w 52391"/>
                    <a:gd name="connsiteY2" fmla="*/ 37320 h 40967"/>
                    <a:gd name="connsiteX3" fmla="*/ 957 w 52391"/>
                    <a:gd name="connsiteY3" fmla="*/ 35466 h 40967"/>
                    <a:gd name="connsiteX4" fmla="*/ 2751 w 52391"/>
                    <a:gd name="connsiteY4" fmla="*/ 31937 h 40967"/>
                    <a:gd name="connsiteX5" fmla="*/ 4545 w 52391"/>
                    <a:gd name="connsiteY5" fmla="*/ 28408 h 40967"/>
                    <a:gd name="connsiteX6" fmla="*/ 6340 w 52391"/>
                    <a:gd name="connsiteY6" fmla="*/ 24880 h 40967"/>
                    <a:gd name="connsiteX7" fmla="*/ 8134 w 52391"/>
                    <a:gd name="connsiteY7" fmla="*/ 21351 h 40967"/>
                    <a:gd name="connsiteX8" fmla="*/ 9928 w 52391"/>
                    <a:gd name="connsiteY8" fmla="*/ 17822 h 40967"/>
                    <a:gd name="connsiteX9" fmla="*/ 11722 w 52391"/>
                    <a:gd name="connsiteY9" fmla="*/ 14294 h 40967"/>
                    <a:gd name="connsiteX10" fmla="*/ 13516 w 52391"/>
                    <a:gd name="connsiteY10" fmla="*/ 10765 h 40967"/>
                    <a:gd name="connsiteX11" fmla="*/ 15311 w 52391"/>
                    <a:gd name="connsiteY11" fmla="*/ 7237 h 40967"/>
                    <a:gd name="connsiteX12" fmla="*/ 17105 w 52391"/>
                    <a:gd name="connsiteY12" fmla="*/ 3708 h 40967"/>
                    <a:gd name="connsiteX13" fmla="*/ 18720 w 52391"/>
                    <a:gd name="connsiteY13" fmla="*/ 538 h 40967"/>
                    <a:gd name="connsiteX14" fmla="*/ 19019 w 52391"/>
                    <a:gd name="connsiteY14" fmla="*/ 0 h 40967"/>
                    <a:gd name="connsiteX15" fmla="*/ 19198 w 52391"/>
                    <a:gd name="connsiteY15" fmla="*/ 180 h 40967"/>
                    <a:gd name="connsiteX16" fmla="*/ 21351 w 52391"/>
                    <a:gd name="connsiteY16" fmla="*/ 2034 h 40967"/>
                    <a:gd name="connsiteX17" fmla="*/ 23504 w 52391"/>
                    <a:gd name="connsiteY17" fmla="*/ 3888 h 40967"/>
                    <a:gd name="connsiteX18" fmla="*/ 25658 w 52391"/>
                    <a:gd name="connsiteY18" fmla="*/ 5742 h 40967"/>
                    <a:gd name="connsiteX19" fmla="*/ 27811 w 52391"/>
                    <a:gd name="connsiteY19" fmla="*/ 7596 h 40967"/>
                    <a:gd name="connsiteX20" fmla="*/ 28289 w 52391"/>
                    <a:gd name="connsiteY20" fmla="*/ 8014 h 40967"/>
                    <a:gd name="connsiteX21" fmla="*/ 29904 w 52391"/>
                    <a:gd name="connsiteY21" fmla="*/ 9390 h 40967"/>
                    <a:gd name="connsiteX22" fmla="*/ 30861 w 52391"/>
                    <a:gd name="connsiteY22" fmla="*/ 10227 h 40967"/>
                    <a:gd name="connsiteX23" fmla="*/ 32116 w 52391"/>
                    <a:gd name="connsiteY23" fmla="*/ 10825 h 40967"/>
                    <a:gd name="connsiteX24" fmla="*/ 32535 w 52391"/>
                    <a:gd name="connsiteY24" fmla="*/ 11005 h 40967"/>
                    <a:gd name="connsiteX25" fmla="*/ 33432 w 52391"/>
                    <a:gd name="connsiteY25" fmla="*/ 11423 h 40967"/>
                    <a:gd name="connsiteX26" fmla="*/ 34449 w 52391"/>
                    <a:gd name="connsiteY26" fmla="*/ 11902 h 40967"/>
                    <a:gd name="connsiteX27" fmla="*/ 37260 w 52391"/>
                    <a:gd name="connsiteY27" fmla="*/ 12380 h 40967"/>
                    <a:gd name="connsiteX28" fmla="*/ 40071 w 52391"/>
                    <a:gd name="connsiteY28" fmla="*/ 12859 h 40967"/>
                    <a:gd name="connsiteX29" fmla="*/ 42882 w 52391"/>
                    <a:gd name="connsiteY29" fmla="*/ 13337 h 40967"/>
                    <a:gd name="connsiteX30" fmla="*/ 44975 w 52391"/>
                    <a:gd name="connsiteY30" fmla="*/ 13696 h 40967"/>
                    <a:gd name="connsiteX31" fmla="*/ 46171 w 52391"/>
                    <a:gd name="connsiteY31" fmla="*/ 13875 h 40967"/>
                    <a:gd name="connsiteX32" fmla="*/ 47846 w 52391"/>
                    <a:gd name="connsiteY32" fmla="*/ 14174 h 40967"/>
                    <a:gd name="connsiteX33" fmla="*/ 49640 w 52391"/>
                    <a:gd name="connsiteY33" fmla="*/ 10646 h 40967"/>
                    <a:gd name="connsiteX34" fmla="*/ 51434 w 52391"/>
                    <a:gd name="connsiteY34" fmla="*/ 7117 h 40967"/>
                    <a:gd name="connsiteX35" fmla="*/ 51972 w 52391"/>
                    <a:gd name="connsiteY35" fmla="*/ 6041 h 40967"/>
                    <a:gd name="connsiteX36" fmla="*/ 52391 w 52391"/>
                    <a:gd name="connsiteY36" fmla="*/ 5143 h 40967"/>
                    <a:gd name="connsiteX37" fmla="*/ 50417 w 52391"/>
                    <a:gd name="connsiteY37" fmla="*/ 3529 h 4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2391" h="40967">
                      <a:moveTo>
                        <a:pt x="359" y="40968"/>
                      </a:moveTo>
                      <a:lnTo>
                        <a:pt x="0" y="37559"/>
                      </a:lnTo>
                      <a:lnTo>
                        <a:pt x="0" y="37320"/>
                      </a:lnTo>
                      <a:lnTo>
                        <a:pt x="957" y="35466"/>
                      </a:lnTo>
                      <a:lnTo>
                        <a:pt x="2751" y="31937"/>
                      </a:lnTo>
                      <a:lnTo>
                        <a:pt x="4545" y="28408"/>
                      </a:lnTo>
                      <a:lnTo>
                        <a:pt x="6340" y="24880"/>
                      </a:lnTo>
                      <a:lnTo>
                        <a:pt x="8134" y="21351"/>
                      </a:lnTo>
                      <a:lnTo>
                        <a:pt x="9928" y="17822"/>
                      </a:lnTo>
                      <a:lnTo>
                        <a:pt x="11722" y="14294"/>
                      </a:lnTo>
                      <a:lnTo>
                        <a:pt x="13516" y="10765"/>
                      </a:lnTo>
                      <a:lnTo>
                        <a:pt x="15311" y="7237"/>
                      </a:lnTo>
                      <a:lnTo>
                        <a:pt x="17105" y="3708"/>
                      </a:lnTo>
                      <a:lnTo>
                        <a:pt x="18720" y="538"/>
                      </a:lnTo>
                      <a:lnTo>
                        <a:pt x="19019" y="0"/>
                      </a:lnTo>
                      <a:lnTo>
                        <a:pt x="19198" y="180"/>
                      </a:lnTo>
                      <a:lnTo>
                        <a:pt x="21351" y="2034"/>
                      </a:lnTo>
                      <a:lnTo>
                        <a:pt x="23504" y="3888"/>
                      </a:lnTo>
                      <a:lnTo>
                        <a:pt x="25658" y="5742"/>
                      </a:lnTo>
                      <a:lnTo>
                        <a:pt x="27811" y="7596"/>
                      </a:lnTo>
                      <a:lnTo>
                        <a:pt x="28289" y="8014"/>
                      </a:lnTo>
                      <a:lnTo>
                        <a:pt x="29904" y="9390"/>
                      </a:lnTo>
                      <a:lnTo>
                        <a:pt x="30861" y="10227"/>
                      </a:lnTo>
                      <a:lnTo>
                        <a:pt x="32116" y="10825"/>
                      </a:lnTo>
                      <a:lnTo>
                        <a:pt x="32535" y="11005"/>
                      </a:lnTo>
                      <a:lnTo>
                        <a:pt x="33432" y="11423"/>
                      </a:lnTo>
                      <a:lnTo>
                        <a:pt x="34449" y="11902"/>
                      </a:lnTo>
                      <a:lnTo>
                        <a:pt x="37260" y="12380"/>
                      </a:lnTo>
                      <a:lnTo>
                        <a:pt x="40071" y="12859"/>
                      </a:lnTo>
                      <a:lnTo>
                        <a:pt x="42882" y="13337"/>
                      </a:lnTo>
                      <a:lnTo>
                        <a:pt x="44975" y="13696"/>
                      </a:lnTo>
                      <a:lnTo>
                        <a:pt x="46171" y="13875"/>
                      </a:lnTo>
                      <a:lnTo>
                        <a:pt x="47846" y="14174"/>
                      </a:lnTo>
                      <a:lnTo>
                        <a:pt x="49640" y="10646"/>
                      </a:lnTo>
                      <a:lnTo>
                        <a:pt x="51434" y="7117"/>
                      </a:lnTo>
                      <a:lnTo>
                        <a:pt x="51972" y="6041"/>
                      </a:lnTo>
                      <a:lnTo>
                        <a:pt x="52391" y="5143"/>
                      </a:lnTo>
                      <a:lnTo>
                        <a:pt x="50417" y="3529"/>
                      </a:lnTo>
                    </a:path>
                  </a:pathLst>
                </a:custGeom>
                <a:noFill/>
                <a:ln w="6350" cap="flat">
                  <a:solidFill>
                    <a:schemeClr val="bg1">
                      <a:alpha val="80000"/>
                    </a:schemeClr>
                  </a:solidFill>
                  <a:prstDash val="solid"/>
                  <a:miter/>
                </a:ln>
              </p:spPr>
              <p:txBody>
                <a:bodyPr rtlCol="0" anchor="ctr"/>
                <a:lstStyle/>
                <a:p>
                  <a:endParaRPr lang="en-GB"/>
                </a:p>
              </p:txBody>
            </p:sp>
            <p:sp>
              <p:nvSpPr>
                <p:cNvPr id="7932" name="Vrije vorm: vorm 7931">
                  <a:extLst>
                    <a:ext uri="{FF2B5EF4-FFF2-40B4-BE49-F238E27FC236}">
                      <a16:creationId xmlns:a16="http://schemas.microsoft.com/office/drawing/2014/main" id="{1B5D5209-95A7-4A40-9180-761F89EA38D9}"/>
                    </a:ext>
                  </a:extLst>
                </p:cNvPr>
                <p:cNvSpPr/>
                <p:nvPr/>
              </p:nvSpPr>
              <p:spPr>
                <a:xfrm>
                  <a:off x="5587987" y="5302787"/>
                  <a:ext cx="34867" cy="14891"/>
                </a:xfrm>
                <a:custGeom>
                  <a:avLst/>
                  <a:gdLst>
                    <a:gd name="connsiteX0" fmla="*/ 34868 w 34867"/>
                    <a:gd name="connsiteY0" fmla="*/ 14892 h 14891"/>
                    <a:gd name="connsiteX1" fmla="*/ 32057 w 34867"/>
                    <a:gd name="connsiteY1" fmla="*/ 14413 h 14891"/>
                    <a:gd name="connsiteX2" fmla="*/ 29246 w 34867"/>
                    <a:gd name="connsiteY2" fmla="*/ 13935 h 14891"/>
                    <a:gd name="connsiteX3" fmla="*/ 26435 w 34867"/>
                    <a:gd name="connsiteY3" fmla="*/ 13457 h 14891"/>
                    <a:gd name="connsiteX4" fmla="*/ 23624 w 34867"/>
                    <a:gd name="connsiteY4" fmla="*/ 12978 h 14891"/>
                    <a:gd name="connsiteX5" fmla="*/ 21530 w 34867"/>
                    <a:gd name="connsiteY5" fmla="*/ 12619 h 14891"/>
                    <a:gd name="connsiteX6" fmla="*/ 19019 w 34867"/>
                    <a:gd name="connsiteY6" fmla="*/ 11423 h 14891"/>
                    <a:gd name="connsiteX7" fmla="*/ 17942 w 34867"/>
                    <a:gd name="connsiteY7" fmla="*/ 10945 h 14891"/>
                    <a:gd name="connsiteX8" fmla="*/ 15789 w 34867"/>
                    <a:gd name="connsiteY8" fmla="*/ 9151 h 14891"/>
                    <a:gd name="connsiteX9" fmla="*/ 13995 w 34867"/>
                    <a:gd name="connsiteY9" fmla="*/ 7655 h 14891"/>
                    <a:gd name="connsiteX10" fmla="*/ 12500 w 34867"/>
                    <a:gd name="connsiteY10" fmla="*/ 6399 h 14891"/>
                    <a:gd name="connsiteX11" fmla="*/ 10347 w 34867"/>
                    <a:gd name="connsiteY11" fmla="*/ 4605 h 14891"/>
                    <a:gd name="connsiteX12" fmla="*/ 9808 w 34867"/>
                    <a:gd name="connsiteY12" fmla="*/ 4187 h 14891"/>
                    <a:gd name="connsiteX13" fmla="*/ 8791 w 34867"/>
                    <a:gd name="connsiteY13" fmla="*/ 3289 h 14891"/>
                    <a:gd name="connsiteX14" fmla="*/ 7715 w 34867"/>
                    <a:gd name="connsiteY14" fmla="*/ 2392 h 14891"/>
                    <a:gd name="connsiteX15" fmla="*/ 7356 w 34867"/>
                    <a:gd name="connsiteY15" fmla="*/ 2093 h 14891"/>
                    <a:gd name="connsiteX16" fmla="*/ 5203 w 34867"/>
                    <a:gd name="connsiteY16" fmla="*/ 299 h 14891"/>
                    <a:gd name="connsiteX17" fmla="*/ 5203 w 34867"/>
                    <a:gd name="connsiteY17" fmla="*/ 0 h 14891"/>
                    <a:gd name="connsiteX18" fmla="*/ 3409 w 34867"/>
                    <a:gd name="connsiteY18" fmla="*/ 3529 h 14891"/>
                    <a:gd name="connsiteX19" fmla="*/ 2033 w 34867"/>
                    <a:gd name="connsiteY19" fmla="*/ 6220 h 14891"/>
                    <a:gd name="connsiteX20" fmla="*/ 239 w 34867"/>
                    <a:gd name="connsiteY20" fmla="*/ 9749 h 14891"/>
                    <a:gd name="connsiteX21" fmla="*/ 0 w 34867"/>
                    <a:gd name="connsiteY21" fmla="*/ 10287 h 1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867" h="14891">
                      <a:moveTo>
                        <a:pt x="34868" y="14892"/>
                      </a:moveTo>
                      <a:lnTo>
                        <a:pt x="32057" y="14413"/>
                      </a:lnTo>
                      <a:lnTo>
                        <a:pt x="29246" y="13935"/>
                      </a:lnTo>
                      <a:lnTo>
                        <a:pt x="26435" y="13457"/>
                      </a:lnTo>
                      <a:lnTo>
                        <a:pt x="23624" y="12978"/>
                      </a:lnTo>
                      <a:lnTo>
                        <a:pt x="21530" y="12619"/>
                      </a:lnTo>
                      <a:lnTo>
                        <a:pt x="19019" y="11423"/>
                      </a:lnTo>
                      <a:lnTo>
                        <a:pt x="17942" y="10945"/>
                      </a:lnTo>
                      <a:lnTo>
                        <a:pt x="15789" y="9151"/>
                      </a:lnTo>
                      <a:lnTo>
                        <a:pt x="13995" y="7655"/>
                      </a:lnTo>
                      <a:lnTo>
                        <a:pt x="12500" y="6399"/>
                      </a:lnTo>
                      <a:lnTo>
                        <a:pt x="10347" y="4605"/>
                      </a:lnTo>
                      <a:lnTo>
                        <a:pt x="9808" y="4187"/>
                      </a:lnTo>
                      <a:lnTo>
                        <a:pt x="8791" y="3289"/>
                      </a:lnTo>
                      <a:lnTo>
                        <a:pt x="7715" y="2392"/>
                      </a:lnTo>
                      <a:lnTo>
                        <a:pt x="7356" y="2093"/>
                      </a:lnTo>
                      <a:lnTo>
                        <a:pt x="5203" y="299"/>
                      </a:lnTo>
                      <a:lnTo>
                        <a:pt x="5203" y="0"/>
                      </a:lnTo>
                      <a:lnTo>
                        <a:pt x="3409" y="3529"/>
                      </a:lnTo>
                      <a:lnTo>
                        <a:pt x="2033" y="6220"/>
                      </a:lnTo>
                      <a:lnTo>
                        <a:pt x="239" y="9749"/>
                      </a:lnTo>
                      <a:lnTo>
                        <a:pt x="0" y="10287"/>
                      </a:lnTo>
                    </a:path>
                  </a:pathLst>
                </a:custGeom>
                <a:noFill/>
                <a:ln w="6350" cap="flat">
                  <a:solidFill>
                    <a:schemeClr val="bg1">
                      <a:alpha val="80000"/>
                    </a:schemeClr>
                  </a:solidFill>
                  <a:prstDash val="solid"/>
                  <a:miter/>
                </a:ln>
              </p:spPr>
              <p:txBody>
                <a:bodyPr rtlCol="0" anchor="ctr"/>
                <a:lstStyle/>
                <a:p>
                  <a:endParaRPr lang="en-GB"/>
                </a:p>
              </p:txBody>
            </p:sp>
            <p:sp>
              <p:nvSpPr>
                <p:cNvPr id="7933" name="Vrije vorm: vorm 7932">
                  <a:extLst>
                    <a:ext uri="{FF2B5EF4-FFF2-40B4-BE49-F238E27FC236}">
                      <a16:creationId xmlns:a16="http://schemas.microsoft.com/office/drawing/2014/main" id="{C021B435-60D6-4F91-A094-36100AB2155C}"/>
                    </a:ext>
                  </a:extLst>
                </p:cNvPr>
                <p:cNvSpPr/>
                <p:nvPr/>
              </p:nvSpPr>
              <p:spPr>
                <a:xfrm>
                  <a:off x="5596420" y="5302607"/>
                  <a:ext cx="24461" cy="13636"/>
                </a:xfrm>
                <a:custGeom>
                  <a:avLst/>
                  <a:gdLst>
                    <a:gd name="connsiteX0" fmla="*/ 897 w 24461"/>
                    <a:gd name="connsiteY0" fmla="*/ 0 h 13636"/>
                    <a:gd name="connsiteX1" fmla="*/ 419 w 24461"/>
                    <a:gd name="connsiteY1" fmla="*/ 897 h 13636"/>
                    <a:gd name="connsiteX2" fmla="*/ 419 w 24461"/>
                    <a:gd name="connsiteY2" fmla="*/ 897 h 13636"/>
                    <a:gd name="connsiteX3" fmla="*/ 359 w 24461"/>
                    <a:gd name="connsiteY3" fmla="*/ 1017 h 13636"/>
                    <a:gd name="connsiteX4" fmla="*/ 0 w 24461"/>
                    <a:gd name="connsiteY4" fmla="*/ 1735 h 13636"/>
                    <a:gd name="connsiteX5" fmla="*/ 0 w 24461"/>
                    <a:gd name="connsiteY5" fmla="*/ 1735 h 13636"/>
                    <a:gd name="connsiteX6" fmla="*/ 1196 w 24461"/>
                    <a:gd name="connsiteY6" fmla="*/ 2751 h 13636"/>
                    <a:gd name="connsiteX7" fmla="*/ 3349 w 24461"/>
                    <a:gd name="connsiteY7" fmla="*/ 4545 h 13636"/>
                    <a:gd name="connsiteX8" fmla="*/ 3409 w 24461"/>
                    <a:gd name="connsiteY8" fmla="*/ 4545 h 13636"/>
                    <a:gd name="connsiteX9" fmla="*/ 4067 w 24461"/>
                    <a:gd name="connsiteY9" fmla="*/ 5084 h 13636"/>
                    <a:gd name="connsiteX10" fmla="*/ 5861 w 24461"/>
                    <a:gd name="connsiteY10" fmla="*/ 6579 h 13636"/>
                    <a:gd name="connsiteX11" fmla="*/ 8014 w 24461"/>
                    <a:gd name="connsiteY11" fmla="*/ 8373 h 13636"/>
                    <a:gd name="connsiteX12" fmla="*/ 10167 w 24461"/>
                    <a:gd name="connsiteY12" fmla="*/ 10167 h 13636"/>
                    <a:gd name="connsiteX13" fmla="*/ 10945 w 24461"/>
                    <a:gd name="connsiteY13" fmla="*/ 10825 h 13636"/>
                    <a:gd name="connsiteX14" fmla="*/ 12620 w 24461"/>
                    <a:gd name="connsiteY14" fmla="*/ 11603 h 13636"/>
                    <a:gd name="connsiteX15" fmla="*/ 15430 w 24461"/>
                    <a:gd name="connsiteY15" fmla="*/ 12081 h 13636"/>
                    <a:gd name="connsiteX16" fmla="*/ 18241 w 24461"/>
                    <a:gd name="connsiteY16" fmla="*/ 12560 h 13636"/>
                    <a:gd name="connsiteX17" fmla="*/ 21052 w 24461"/>
                    <a:gd name="connsiteY17" fmla="*/ 13038 h 13636"/>
                    <a:gd name="connsiteX18" fmla="*/ 23863 w 24461"/>
                    <a:gd name="connsiteY18" fmla="*/ 13516 h 13636"/>
                    <a:gd name="connsiteX19" fmla="*/ 24461 w 24461"/>
                    <a:gd name="connsiteY19" fmla="*/ 13636 h 1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461" h="13636">
                      <a:moveTo>
                        <a:pt x="897" y="0"/>
                      </a:moveTo>
                      <a:lnTo>
                        <a:pt x="419" y="897"/>
                      </a:lnTo>
                      <a:lnTo>
                        <a:pt x="419" y="897"/>
                      </a:lnTo>
                      <a:lnTo>
                        <a:pt x="359" y="1017"/>
                      </a:lnTo>
                      <a:lnTo>
                        <a:pt x="0" y="1735"/>
                      </a:lnTo>
                      <a:lnTo>
                        <a:pt x="0" y="1735"/>
                      </a:lnTo>
                      <a:lnTo>
                        <a:pt x="1196" y="2751"/>
                      </a:lnTo>
                      <a:lnTo>
                        <a:pt x="3349" y="4545"/>
                      </a:lnTo>
                      <a:lnTo>
                        <a:pt x="3409" y="4545"/>
                      </a:lnTo>
                      <a:lnTo>
                        <a:pt x="4067" y="5084"/>
                      </a:lnTo>
                      <a:lnTo>
                        <a:pt x="5861" y="6579"/>
                      </a:lnTo>
                      <a:lnTo>
                        <a:pt x="8014" y="8373"/>
                      </a:lnTo>
                      <a:lnTo>
                        <a:pt x="10167" y="10167"/>
                      </a:lnTo>
                      <a:lnTo>
                        <a:pt x="10945" y="10825"/>
                      </a:lnTo>
                      <a:lnTo>
                        <a:pt x="12620" y="11603"/>
                      </a:lnTo>
                      <a:lnTo>
                        <a:pt x="15430" y="12081"/>
                      </a:lnTo>
                      <a:lnTo>
                        <a:pt x="18241" y="12560"/>
                      </a:lnTo>
                      <a:lnTo>
                        <a:pt x="21052" y="13038"/>
                      </a:lnTo>
                      <a:lnTo>
                        <a:pt x="23863" y="13516"/>
                      </a:lnTo>
                      <a:lnTo>
                        <a:pt x="24461" y="13636"/>
                      </a:lnTo>
                    </a:path>
                  </a:pathLst>
                </a:custGeom>
                <a:noFill/>
                <a:ln w="6350" cap="flat">
                  <a:solidFill>
                    <a:schemeClr val="bg1">
                      <a:alpha val="80000"/>
                    </a:schemeClr>
                  </a:solidFill>
                  <a:prstDash val="solid"/>
                  <a:miter/>
                </a:ln>
              </p:spPr>
              <p:txBody>
                <a:bodyPr rtlCol="0" anchor="ctr"/>
                <a:lstStyle/>
                <a:p>
                  <a:endParaRPr lang="en-GB"/>
                </a:p>
              </p:txBody>
            </p:sp>
            <p:sp>
              <p:nvSpPr>
                <p:cNvPr id="7934" name="Vrije vorm: vorm 7933">
                  <a:extLst>
                    <a:ext uri="{FF2B5EF4-FFF2-40B4-BE49-F238E27FC236}">
                      <a16:creationId xmlns:a16="http://schemas.microsoft.com/office/drawing/2014/main" id="{BC41C06D-3F5A-4890-86D1-BC0752EBAD95}"/>
                    </a:ext>
                  </a:extLst>
                </p:cNvPr>
                <p:cNvSpPr/>
                <p:nvPr/>
              </p:nvSpPr>
              <p:spPr>
                <a:xfrm>
                  <a:off x="5593191" y="5302787"/>
                  <a:ext cx="3648" cy="717"/>
                </a:xfrm>
                <a:custGeom>
                  <a:avLst/>
                  <a:gdLst>
                    <a:gd name="connsiteX0" fmla="*/ 3648 w 3648"/>
                    <a:gd name="connsiteY0" fmla="*/ 718 h 717"/>
                    <a:gd name="connsiteX1" fmla="*/ 897 w 3648"/>
                    <a:gd name="connsiteY1" fmla="*/ 180 h 717"/>
                    <a:gd name="connsiteX2" fmla="*/ 0 w 3648"/>
                    <a:gd name="connsiteY2" fmla="*/ 0 h 717"/>
                    <a:gd name="connsiteX3" fmla="*/ 2751 w 3648"/>
                    <a:gd name="connsiteY3" fmla="*/ 538 h 717"/>
                    <a:gd name="connsiteX4" fmla="*/ 3648 w 3648"/>
                    <a:gd name="connsiteY4" fmla="*/ 718 h 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8" h="717">
                      <a:moveTo>
                        <a:pt x="3648" y="718"/>
                      </a:moveTo>
                      <a:lnTo>
                        <a:pt x="897" y="180"/>
                      </a:lnTo>
                      <a:lnTo>
                        <a:pt x="0" y="0"/>
                      </a:lnTo>
                      <a:lnTo>
                        <a:pt x="2751" y="538"/>
                      </a:lnTo>
                      <a:lnTo>
                        <a:pt x="3648" y="718"/>
                      </a:lnTo>
                    </a:path>
                  </a:pathLst>
                </a:custGeom>
                <a:noFill/>
                <a:ln w="6350" cap="flat">
                  <a:solidFill>
                    <a:schemeClr val="bg1">
                      <a:alpha val="80000"/>
                    </a:schemeClr>
                  </a:solidFill>
                  <a:prstDash val="solid"/>
                  <a:miter/>
                </a:ln>
              </p:spPr>
              <p:txBody>
                <a:bodyPr rtlCol="0" anchor="ctr"/>
                <a:lstStyle/>
                <a:p>
                  <a:endParaRPr lang="en-GB"/>
                </a:p>
              </p:txBody>
            </p:sp>
            <p:sp>
              <p:nvSpPr>
                <p:cNvPr id="7935" name="Vrije vorm: vorm 7934">
                  <a:extLst>
                    <a:ext uri="{FF2B5EF4-FFF2-40B4-BE49-F238E27FC236}">
                      <a16:creationId xmlns:a16="http://schemas.microsoft.com/office/drawing/2014/main" id="{052A5F7B-D925-4D18-805C-62E1E9499E45}"/>
                    </a:ext>
                  </a:extLst>
                </p:cNvPr>
                <p:cNvSpPr/>
                <p:nvPr/>
              </p:nvSpPr>
              <p:spPr>
                <a:xfrm>
                  <a:off x="5568789" y="5309067"/>
                  <a:ext cx="21351" cy="47606"/>
                </a:xfrm>
                <a:custGeom>
                  <a:avLst/>
                  <a:gdLst>
                    <a:gd name="connsiteX0" fmla="*/ 3110 w 21351"/>
                    <a:gd name="connsiteY0" fmla="*/ 47607 h 47606"/>
                    <a:gd name="connsiteX1" fmla="*/ 1076 w 21351"/>
                    <a:gd name="connsiteY1" fmla="*/ 45633 h 47606"/>
                    <a:gd name="connsiteX2" fmla="*/ 778 w 21351"/>
                    <a:gd name="connsiteY2" fmla="*/ 45334 h 47606"/>
                    <a:gd name="connsiteX3" fmla="*/ 419 w 21351"/>
                    <a:gd name="connsiteY3" fmla="*/ 41925 h 47606"/>
                    <a:gd name="connsiteX4" fmla="*/ 60 w 21351"/>
                    <a:gd name="connsiteY4" fmla="*/ 38516 h 47606"/>
                    <a:gd name="connsiteX5" fmla="*/ 0 w 21351"/>
                    <a:gd name="connsiteY5" fmla="*/ 37798 h 47606"/>
                    <a:gd name="connsiteX6" fmla="*/ 1794 w 21351"/>
                    <a:gd name="connsiteY6" fmla="*/ 34270 h 47606"/>
                    <a:gd name="connsiteX7" fmla="*/ 3589 w 21351"/>
                    <a:gd name="connsiteY7" fmla="*/ 30741 h 47606"/>
                    <a:gd name="connsiteX8" fmla="*/ 5383 w 21351"/>
                    <a:gd name="connsiteY8" fmla="*/ 27212 h 47606"/>
                    <a:gd name="connsiteX9" fmla="*/ 7177 w 21351"/>
                    <a:gd name="connsiteY9" fmla="*/ 23684 h 47606"/>
                    <a:gd name="connsiteX10" fmla="*/ 8971 w 21351"/>
                    <a:gd name="connsiteY10" fmla="*/ 20155 h 47606"/>
                    <a:gd name="connsiteX11" fmla="*/ 10765 w 21351"/>
                    <a:gd name="connsiteY11" fmla="*/ 16627 h 47606"/>
                    <a:gd name="connsiteX12" fmla="*/ 12560 w 21351"/>
                    <a:gd name="connsiteY12" fmla="*/ 13098 h 47606"/>
                    <a:gd name="connsiteX13" fmla="*/ 14354 w 21351"/>
                    <a:gd name="connsiteY13" fmla="*/ 9569 h 47606"/>
                    <a:gd name="connsiteX14" fmla="*/ 16148 w 21351"/>
                    <a:gd name="connsiteY14" fmla="*/ 6041 h 47606"/>
                    <a:gd name="connsiteX15" fmla="*/ 17823 w 21351"/>
                    <a:gd name="connsiteY15" fmla="*/ 2751 h 47606"/>
                    <a:gd name="connsiteX16" fmla="*/ 20693 w 21351"/>
                    <a:gd name="connsiteY16" fmla="*/ 479 h 47606"/>
                    <a:gd name="connsiteX17" fmla="*/ 21351 w 21351"/>
                    <a:gd name="connsiteY17" fmla="*/ 0 h 4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351" h="47606">
                      <a:moveTo>
                        <a:pt x="3110" y="47607"/>
                      </a:moveTo>
                      <a:lnTo>
                        <a:pt x="1076" y="45633"/>
                      </a:lnTo>
                      <a:lnTo>
                        <a:pt x="778" y="45334"/>
                      </a:lnTo>
                      <a:lnTo>
                        <a:pt x="419" y="41925"/>
                      </a:lnTo>
                      <a:lnTo>
                        <a:pt x="60" y="38516"/>
                      </a:lnTo>
                      <a:lnTo>
                        <a:pt x="0" y="37798"/>
                      </a:lnTo>
                      <a:lnTo>
                        <a:pt x="1794" y="34270"/>
                      </a:lnTo>
                      <a:lnTo>
                        <a:pt x="3589" y="30741"/>
                      </a:lnTo>
                      <a:lnTo>
                        <a:pt x="5383" y="27212"/>
                      </a:lnTo>
                      <a:lnTo>
                        <a:pt x="7177" y="23684"/>
                      </a:lnTo>
                      <a:lnTo>
                        <a:pt x="8971" y="20155"/>
                      </a:lnTo>
                      <a:lnTo>
                        <a:pt x="10765" y="16627"/>
                      </a:lnTo>
                      <a:lnTo>
                        <a:pt x="12560" y="13098"/>
                      </a:lnTo>
                      <a:lnTo>
                        <a:pt x="14354" y="9569"/>
                      </a:lnTo>
                      <a:lnTo>
                        <a:pt x="16148" y="6041"/>
                      </a:lnTo>
                      <a:lnTo>
                        <a:pt x="17823" y="2751"/>
                      </a:lnTo>
                      <a:lnTo>
                        <a:pt x="20693" y="479"/>
                      </a:lnTo>
                      <a:lnTo>
                        <a:pt x="21351" y="0"/>
                      </a:lnTo>
                    </a:path>
                  </a:pathLst>
                </a:custGeom>
                <a:noFill/>
                <a:ln w="6350" cap="flat">
                  <a:solidFill>
                    <a:schemeClr val="bg1">
                      <a:alpha val="80000"/>
                    </a:schemeClr>
                  </a:solidFill>
                  <a:prstDash val="solid"/>
                  <a:miter/>
                </a:ln>
              </p:spPr>
              <p:txBody>
                <a:bodyPr rtlCol="0" anchor="ctr"/>
                <a:lstStyle/>
                <a:p>
                  <a:endParaRPr lang="en-GB"/>
                </a:p>
              </p:txBody>
            </p:sp>
            <p:sp>
              <p:nvSpPr>
                <p:cNvPr id="7936" name="Vrije vorm: vorm 7935">
                  <a:extLst>
                    <a:ext uri="{FF2B5EF4-FFF2-40B4-BE49-F238E27FC236}">
                      <a16:creationId xmlns:a16="http://schemas.microsoft.com/office/drawing/2014/main" id="{569F99AC-8F38-4768-BAC5-8F30A3514262}"/>
                    </a:ext>
                  </a:extLst>
                </p:cNvPr>
                <p:cNvSpPr/>
                <p:nvPr/>
              </p:nvSpPr>
              <p:spPr>
                <a:xfrm>
                  <a:off x="5593131" y="5323181"/>
                  <a:ext cx="11183" cy="16446"/>
                </a:xfrm>
                <a:custGeom>
                  <a:avLst/>
                  <a:gdLst>
                    <a:gd name="connsiteX0" fmla="*/ 11184 w 11183"/>
                    <a:gd name="connsiteY0" fmla="*/ 0 h 16446"/>
                    <a:gd name="connsiteX1" fmla="*/ 8672 w 11183"/>
                    <a:gd name="connsiteY1" fmla="*/ 2931 h 16446"/>
                    <a:gd name="connsiteX2" fmla="*/ 8373 w 11183"/>
                    <a:gd name="connsiteY2" fmla="*/ 3290 h 16446"/>
                    <a:gd name="connsiteX3" fmla="*/ 5861 w 11183"/>
                    <a:gd name="connsiteY3" fmla="*/ 6220 h 16446"/>
                    <a:gd name="connsiteX4" fmla="*/ 4187 w 11183"/>
                    <a:gd name="connsiteY4" fmla="*/ 8194 h 16446"/>
                    <a:gd name="connsiteX5" fmla="*/ 2392 w 11183"/>
                    <a:gd name="connsiteY5" fmla="*/ 11722 h 16446"/>
                    <a:gd name="connsiteX6" fmla="*/ 1495 w 11183"/>
                    <a:gd name="connsiteY6" fmla="*/ 13516 h 16446"/>
                    <a:gd name="connsiteX7" fmla="*/ 1076 w 11183"/>
                    <a:gd name="connsiteY7" fmla="*/ 14354 h 16446"/>
                    <a:gd name="connsiteX8" fmla="*/ 0 w 11183"/>
                    <a:gd name="connsiteY8" fmla="*/ 16447 h 1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83" h="16446">
                      <a:moveTo>
                        <a:pt x="11184" y="0"/>
                      </a:moveTo>
                      <a:lnTo>
                        <a:pt x="8672" y="2931"/>
                      </a:lnTo>
                      <a:lnTo>
                        <a:pt x="8373" y="3290"/>
                      </a:lnTo>
                      <a:lnTo>
                        <a:pt x="5861" y="6220"/>
                      </a:lnTo>
                      <a:lnTo>
                        <a:pt x="4187" y="8194"/>
                      </a:lnTo>
                      <a:lnTo>
                        <a:pt x="2392" y="11722"/>
                      </a:lnTo>
                      <a:lnTo>
                        <a:pt x="1495" y="13516"/>
                      </a:lnTo>
                      <a:lnTo>
                        <a:pt x="1076" y="14354"/>
                      </a:lnTo>
                      <a:lnTo>
                        <a:pt x="0" y="16447"/>
                      </a:lnTo>
                    </a:path>
                  </a:pathLst>
                </a:custGeom>
                <a:noFill/>
                <a:ln w="6350" cap="flat">
                  <a:solidFill>
                    <a:schemeClr val="bg1">
                      <a:alpha val="80000"/>
                    </a:schemeClr>
                  </a:solidFill>
                  <a:prstDash val="solid"/>
                  <a:miter/>
                </a:ln>
              </p:spPr>
              <p:txBody>
                <a:bodyPr rtlCol="0" anchor="ctr"/>
                <a:lstStyle/>
                <a:p>
                  <a:endParaRPr lang="en-GB"/>
                </a:p>
              </p:txBody>
            </p:sp>
            <p:sp>
              <p:nvSpPr>
                <p:cNvPr id="7937" name="Vrije vorm: vorm 7936">
                  <a:extLst>
                    <a:ext uri="{FF2B5EF4-FFF2-40B4-BE49-F238E27FC236}">
                      <a16:creationId xmlns:a16="http://schemas.microsoft.com/office/drawing/2014/main" id="{6EAF3E88-CB48-4DEC-9A4B-692E61C41EE8}"/>
                    </a:ext>
                  </a:extLst>
                </p:cNvPr>
                <p:cNvSpPr/>
                <p:nvPr/>
              </p:nvSpPr>
              <p:spPr>
                <a:xfrm>
                  <a:off x="5576923" y="5338910"/>
                  <a:ext cx="31757" cy="36661"/>
                </a:xfrm>
                <a:custGeom>
                  <a:avLst/>
                  <a:gdLst>
                    <a:gd name="connsiteX0" fmla="*/ 29305 w 31757"/>
                    <a:gd name="connsiteY0" fmla="*/ 0 h 36661"/>
                    <a:gd name="connsiteX1" fmla="*/ 30980 w 31757"/>
                    <a:gd name="connsiteY1" fmla="*/ 2213 h 36661"/>
                    <a:gd name="connsiteX2" fmla="*/ 31099 w 31757"/>
                    <a:gd name="connsiteY2" fmla="*/ 2632 h 36661"/>
                    <a:gd name="connsiteX3" fmla="*/ 31578 w 31757"/>
                    <a:gd name="connsiteY3" fmla="*/ 4725 h 36661"/>
                    <a:gd name="connsiteX4" fmla="*/ 31758 w 31757"/>
                    <a:gd name="connsiteY4" fmla="*/ 5443 h 36661"/>
                    <a:gd name="connsiteX5" fmla="*/ 31638 w 31757"/>
                    <a:gd name="connsiteY5" fmla="*/ 7596 h 36661"/>
                    <a:gd name="connsiteX6" fmla="*/ 31578 w 31757"/>
                    <a:gd name="connsiteY6" fmla="*/ 8852 h 36661"/>
                    <a:gd name="connsiteX7" fmla="*/ 31578 w 31757"/>
                    <a:gd name="connsiteY7" fmla="*/ 8971 h 36661"/>
                    <a:gd name="connsiteX8" fmla="*/ 31578 w 31757"/>
                    <a:gd name="connsiteY8" fmla="*/ 9151 h 36661"/>
                    <a:gd name="connsiteX9" fmla="*/ 31578 w 31757"/>
                    <a:gd name="connsiteY9" fmla="*/ 9450 h 36661"/>
                    <a:gd name="connsiteX10" fmla="*/ 30621 w 31757"/>
                    <a:gd name="connsiteY10" fmla="*/ 13218 h 36661"/>
                    <a:gd name="connsiteX11" fmla="*/ 30382 w 31757"/>
                    <a:gd name="connsiteY11" fmla="*/ 14055 h 36661"/>
                    <a:gd name="connsiteX12" fmla="*/ 28946 w 31757"/>
                    <a:gd name="connsiteY12" fmla="*/ 17404 h 36661"/>
                    <a:gd name="connsiteX13" fmla="*/ 28827 w 31757"/>
                    <a:gd name="connsiteY13" fmla="*/ 17703 h 36661"/>
                    <a:gd name="connsiteX14" fmla="*/ 28349 w 31757"/>
                    <a:gd name="connsiteY14" fmla="*/ 18899 h 36661"/>
                    <a:gd name="connsiteX15" fmla="*/ 26315 w 31757"/>
                    <a:gd name="connsiteY15" fmla="*/ 22308 h 36661"/>
                    <a:gd name="connsiteX16" fmla="*/ 25657 w 31757"/>
                    <a:gd name="connsiteY16" fmla="*/ 23385 h 36661"/>
                    <a:gd name="connsiteX17" fmla="*/ 25537 w 31757"/>
                    <a:gd name="connsiteY17" fmla="*/ 23624 h 36661"/>
                    <a:gd name="connsiteX18" fmla="*/ 23145 w 31757"/>
                    <a:gd name="connsiteY18" fmla="*/ 26734 h 36661"/>
                    <a:gd name="connsiteX19" fmla="*/ 22188 w 31757"/>
                    <a:gd name="connsiteY19" fmla="*/ 27990 h 36661"/>
                    <a:gd name="connsiteX20" fmla="*/ 19497 w 31757"/>
                    <a:gd name="connsiteY20" fmla="*/ 30681 h 36661"/>
                    <a:gd name="connsiteX21" fmla="*/ 18480 w 31757"/>
                    <a:gd name="connsiteY21" fmla="*/ 31698 h 36661"/>
                    <a:gd name="connsiteX22" fmla="*/ 15610 w 31757"/>
                    <a:gd name="connsiteY22" fmla="*/ 33851 h 36661"/>
                    <a:gd name="connsiteX23" fmla="*/ 14712 w 31757"/>
                    <a:gd name="connsiteY23" fmla="*/ 34509 h 36661"/>
                    <a:gd name="connsiteX24" fmla="*/ 11662 w 31757"/>
                    <a:gd name="connsiteY24" fmla="*/ 35884 h 36661"/>
                    <a:gd name="connsiteX25" fmla="*/ 11064 w 31757"/>
                    <a:gd name="connsiteY25" fmla="*/ 36184 h 36661"/>
                    <a:gd name="connsiteX26" fmla="*/ 8074 w 31757"/>
                    <a:gd name="connsiteY26" fmla="*/ 36602 h 36661"/>
                    <a:gd name="connsiteX27" fmla="*/ 7835 w 31757"/>
                    <a:gd name="connsiteY27" fmla="*/ 36662 h 36661"/>
                    <a:gd name="connsiteX28" fmla="*/ 5203 w 31757"/>
                    <a:gd name="connsiteY28" fmla="*/ 35825 h 36661"/>
                    <a:gd name="connsiteX29" fmla="*/ 3170 w 31757"/>
                    <a:gd name="connsiteY29" fmla="*/ 33791 h 36661"/>
                    <a:gd name="connsiteX30" fmla="*/ 2751 w 31757"/>
                    <a:gd name="connsiteY30" fmla="*/ 33373 h 36661"/>
                    <a:gd name="connsiteX31" fmla="*/ 897 w 31757"/>
                    <a:gd name="connsiteY31" fmla="*/ 31279 h 36661"/>
                    <a:gd name="connsiteX32" fmla="*/ 0 w 31757"/>
                    <a:gd name="connsiteY32" fmla="*/ 28169 h 36661"/>
                    <a:gd name="connsiteX33" fmla="*/ 0 w 31757"/>
                    <a:gd name="connsiteY33" fmla="*/ 28109 h 36661"/>
                    <a:gd name="connsiteX34" fmla="*/ 119 w 31757"/>
                    <a:gd name="connsiteY34" fmla="*/ 24461 h 36661"/>
                    <a:gd name="connsiteX35" fmla="*/ 119 w 31757"/>
                    <a:gd name="connsiteY35" fmla="*/ 24043 h 36661"/>
                    <a:gd name="connsiteX36" fmla="*/ 478 w 31757"/>
                    <a:gd name="connsiteY36" fmla="*/ 22488 h 36661"/>
                    <a:gd name="connsiteX37" fmla="*/ 1256 w 31757"/>
                    <a:gd name="connsiteY37" fmla="*/ 19378 h 36661"/>
                    <a:gd name="connsiteX38" fmla="*/ 1615 w 31757"/>
                    <a:gd name="connsiteY38" fmla="*/ 18600 h 36661"/>
                    <a:gd name="connsiteX39" fmla="*/ 1674 w 31757"/>
                    <a:gd name="connsiteY39" fmla="*/ 18421 h 36661"/>
                    <a:gd name="connsiteX40" fmla="*/ 2572 w 31757"/>
                    <a:gd name="connsiteY40" fmla="*/ 16268 h 36661"/>
                    <a:gd name="connsiteX41" fmla="*/ 2751 w 31757"/>
                    <a:gd name="connsiteY41" fmla="*/ 15849 h 36661"/>
                    <a:gd name="connsiteX42" fmla="*/ 3349 w 31757"/>
                    <a:gd name="connsiteY42" fmla="*/ 14354 h 36661"/>
                    <a:gd name="connsiteX43" fmla="*/ 4007 w 31757"/>
                    <a:gd name="connsiteY43" fmla="*/ 13277 h 36661"/>
                    <a:gd name="connsiteX44" fmla="*/ 5382 w 31757"/>
                    <a:gd name="connsiteY44" fmla="*/ 11005 h 36661"/>
                    <a:gd name="connsiteX45" fmla="*/ 6280 w 31757"/>
                    <a:gd name="connsiteY45" fmla="*/ 9510 h 36661"/>
                    <a:gd name="connsiteX46" fmla="*/ 8672 w 31757"/>
                    <a:gd name="connsiteY46" fmla="*/ 6459 h 36661"/>
                    <a:gd name="connsiteX47" fmla="*/ 9748 w 31757"/>
                    <a:gd name="connsiteY47" fmla="*/ 5084 h 36661"/>
                    <a:gd name="connsiteX48" fmla="*/ 10347 w 31757"/>
                    <a:gd name="connsiteY48" fmla="*/ 4486 h 36661"/>
                    <a:gd name="connsiteX49" fmla="*/ 13038 w 31757"/>
                    <a:gd name="connsiteY49" fmla="*/ 1854 h 36661"/>
                    <a:gd name="connsiteX50" fmla="*/ 13576 w 31757"/>
                    <a:gd name="connsiteY50" fmla="*/ 1376 h 36661"/>
                    <a:gd name="connsiteX51" fmla="*/ 14354 w 31757"/>
                    <a:gd name="connsiteY51" fmla="*/ 837 h 36661"/>
                    <a:gd name="connsiteX52" fmla="*/ 14533 w 31757"/>
                    <a:gd name="connsiteY52" fmla="*/ 718 h 36661"/>
                    <a:gd name="connsiteX53" fmla="*/ 14533 w 31757"/>
                    <a:gd name="connsiteY53" fmla="*/ 718 h 36661"/>
                    <a:gd name="connsiteX54" fmla="*/ 14892 w 31757"/>
                    <a:gd name="connsiteY54" fmla="*/ 479 h 36661"/>
                    <a:gd name="connsiteX55" fmla="*/ 14892 w 31757"/>
                    <a:gd name="connsiteY55" fmla="*/ 479 h 3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1757" h="36661">
                      <a:moveTo>
                        <a:pt x="29305" y="0"/>
                      </a:moveTo>
                      <a:lnTo>
                        <a:pt x="30980" y="2213"/>
                      </a:lnTo>
                      <a:lnTo>
                        <a:pt x="31099" y="2632"/>
                      </a:lnTo>
                      <a:lnTo>
                        <a:pt x="31578" y="4725"/>
                      </a:lnTo>
                      <a:lnTo>
                        <a:pt x="31758" y="5443"/>
                      </a:lnTo>
                      <a:lnTo>
                        <a:pt x="31638" y="7596"/>
                      </a:lnTo>
                      <a:lnTo>
                        <a:pt x="31578" y="8852"/>
                      </a:lnTo>
                      <a:lnTo>
                        <a:pt x="31578" y="8971"/>
                      </a:lnTo>
                      <a:lnTo>
                        <a:pt x="31578" y="9151"/>
                      </a:lnTo>
                      <a:lnTo>
                        <a:pt x="31578" y="9450"/>
                      </a:lnTo>
                      <a:lnTo>
                        <a:pt x="30621" y="13218"/>
                      </a:lnTo>
                      <a:lnTo>
                        <a:pt x="30382" y="14055"/>
                      </a:lnTo>
                      <a:lnTo>
                        <a:pt x="28946" y="17404"/>
                      </a:lnTo>
                      <a:lnTo>
                        <a:pt x="28827" y="17703"/>
                      </a:lnTo>
                      <a:lnTo>
                        <a:pt x="28349" y="18899"/>
                      </a:lnTo>
                      <a:lnTo>
                        <a:pt x="26315" y="22308"/>
                      </a:lnTo>
                      <a:lnTo>
                        <a:pt x="25657" y="23385"/>
                      </a:lnTo>
                      <a:lnTo>
                        <a:pt x="25537" y="23624"/>
                      </a:lnTo>
                      <a:lnTo>
                        <a:pt x="23145" y="26734"/>
                      </a:lnTo>
                      <a:lnTo>
                        <a:pt x="22188" y="27990"/>
                      </a:lnTo>
                      <a:lnTo>
                        <a:pt x="19497" y="30681"/>
                      </a:lnTo>
                      <a:lnTo>
                        <a:pt x="18480" y="31698"/>
                      </a:lnTo>
                      <a:lnTo>
                        <a:pt x="15610" y="33851"/>
                      </a:lnTo>
                      <a:lnTo>
                        <a:pt x="14712" y="34509"/>
                      </a:lnTo>
                      <a:lnTo>
                        <a:pt x="11662" y="35884"/>
                      </a:lnTo>
                      <a:lnTo>
                        <a:pt x="11064" y="36184"/>
                      </a:lnTo>
                      <a:lnTo>
                        <a:pt x="8074" y="36602"/>
                      </a:lnTo>
                      <a:lnTo>
                        <a:pt x="7835" y="36662"/>
                      </a:lnTo>
                      <a:lnTo>
                        <a:pt x="5203" y="35825"/>
                      </a:lnTo>
                      <a:lnTo>
                        <a:pt x="3170" y="33791"/>
                      </a:lnTo>
                      <a:lnTo>
                        <a:pt x="2751" y="33373"/>
                      </a:lnTo>
                      <a:lnTo>
                        <a:pt x="897" y="31279"/>
                      </a:lnTo>
                      <a:lnTo>
                        <a:pt x="0" y="28169"/>
                      </a:lnTo>
                      <a:lnTo>
                        <a:pt x="0" y="28109"/>
                      </a:lnTo>
                      <a:lnTo>
                        <a:pt x="119" y="24461"/>
                      </a:lnTo>
                      <a:lnTo>
                        <a:pt x="119" y="24043"/>
                      </a:lnTo>
                      <a:lnTo>
                        <a:pt x="478" y="22488"/>
                      </a:lnTo>
                      <a:lnTo>
                        <a:pt x="1256" y="19378"/>
                      </a:lnTo>
                      <a:lnTo>
                        <a:pt x="1615" y="18600"/>
                      </a:lnTo>
                      <a:lnTo>
                        <a:pt x="1674" y="18421"/>
                      </a:lnTo>
                      <a:lnTo>
                        <a:pt x="2572" y="16268"/>
                      </a:lnTo>
                      <a:lnTo>
                        <a:pt x="2751" y="15849"/>
                      </a:lnTo>
                      <a:lnTo>
                        <a:pt x="3349" y="14354"/>
                      </a:lnTo>
                      <a:lnTo>
                        <a:pt x="4007" y="13277"/>
                      </a:lnTo>
                      <a:lnTo>
                        <a:pt x="5382" y="11005"/>
                      </a:lnTo>
                      <a:lnTo>
                        <a:pt x="6280" y="9510"/>
                      </a:lnTo>
                      <a:lnTo>
                        <a:pt x="8672" y="6459"/>
                      </a:lnTo>
                      <a:lnTo>
                        <a:pt x="9748" y="5084"/>
                      </a:lnTo>
                      <a:lnTo>
                        <a:pt x="10347" y="4486"/>
                      </a:lnTo>
                      <a:lnTo>
                        <a:pt x="13038" y="1854"/>
                      </a:lnTo>
                      <a:lnTo>
                        <a:pt x="13576" y="1376"/>
                      </a:lnTo>
                      <a:lnTo>
                        <a:pt x="14354" y="837"/>
                      </a:lnTo>
                      <a:lnTo>
                        <a:pt x="14533" y="718"/>
                      </a:lnTo>
                      <a:lnTo>
                        <a:pt x="14533" y="718"/>
                      </a:lnTo>
                      <a:lnTo>
                        <a:pt x="14892" y="479"/>
                      </a:lnTo>
                      <a:lnTo>
                        <a:pt x="14892" y="479"/>
                      </a:lnTo>
                    </a:path>
                  </a:pathLst>
                </a:custGeom>
                <a:noFill/>
                <a:ln w="6350" cap="flat">
                  <a:solidFill>
                    <a:schemeClr val="bg1">
                      <a:alpha val="80000"/>
                    </a:schemeClr>
                  </a:solidFill>
                  <a:prstDash val="solid"/>
                  <a:miter/>
                </a:ln>
              </p:spPr>
              <p:txBody>
                <a:bodyPr rtlCol="0" anchor="ctr"/>
                <a:lstStyle/>
                <a:p>
                  <a:endParaRPr lang="en-GB"/>
                </a:p>
              </p:txBody>
            </p:sp>
            <p:sp>
              <p:nvSpPr>
                <p:cNvPr id="7938" name="Vrije vorm: vorm 7937">
                  <a:extLst>
                    <a:ext uri="{FF2B5EF4-FFF2-40B4-BE49-F238E27FC236}">
                      <a16:creationId xmlns:a16="http://schemas.microsoft.com/office/drawing/2014/main" id="{F7A66CB0-09B2-48FC-A5F4-E0072C4F307D}"/>
                    </a:ext>
                  </a:extLst>
                </p:cNvPr>
                <p:cNvSpPr/>
                <p:nvPr/>
              </p:nvSpPr>
              <p:spPr>
                <a:xfrm>
                  <a:off x="5579196" y="5337894"/>
                  <a:ext cx="27032" cy="36601"/>
                </a:xfrm>
                <a:custGeom>
                  <a:avLst/>
                  <a:gdLst>
                    <a:gd name="connsiteX0" fmla="*/ 27033 w 27032"/>
                    <a:gd name="connsiteY0" fmla="*/ 1017 h 36601"/>
                    <a:gd name="connsiteX1" fmla="*/ 24521 w 27032"/>
                    <a:gd name="connsiteY1" fmla="*/ 0 h 36601"/>
                    <a:gd name="connsiteX2" fmla="*/ 21531 w 27032"/>
                    <a:gd name="connsiteY2" fmla="*/ 239 h 36601"/>
                    <a:gd name="connsiteX3" fmla="*/ 21291 w 27032"/>
                    <a:gd name="connsiteY3" fmla="*/ 239 h 36601"/>
                    <a:gd name="connsiteX4" fmla="*/ 18361 w 27032"/>
                    <a:gd name="connsiteY4" fmla="*/ 1435 h 36601"/>
                    <a:gd name="connsiteX5" fmla="*/ 17583 w 27032"/>
                    <a:gd name="connsiteY5" fmla="*/ 1734 h 36601"/>
                    <a:gd name="connsiteX6" fmla="*/ 17045 w 27032"/>
                    <a:gd name="connsiteY6" fmla="*/ 2093 h 36601"/>
                    <a:gd name="connsiteX7" fmla="*/ 16985 w 27032"/>
                    <a:gd name="connsiteY7" fmla="*/ 2153 h 36601"/>
                    <a:gd name="connsiteX8" fmla="*/ 14414 w 27032"/>
                    <a:gd name="connsiteY8" fmla="*/ 3947 h 36601"/>
                    <a:gd name="connsiteX9" fmla="*/ 13696 w 27032"/>
                    <a:gd name="connsiteY9" fmla="*/ 4426 h 36601"/>
                    <a:gd name="connsiteX10" fmla="*/ 12201 w 27032"/>
                    <a:gd name="connsiteY10" fmla="*/ 5861 h 36601"/>
                    <a:gd name="connsiteX11" fmla="*/ 9868 w 27032"/>
                    <a:gd name="connsiteY11" fmla="*/ 8134 h 36601"/>
                    <a:gd name="connsiteX12" fmla="*/ 7596 w 27032"/>
                    <a:gd name="connsiteY12" fmla="*/ 11005 h 36601"/>
                    <a:gd name="connsiteX13" fmla="*/ 6340 w 27032"/>
                    <a:gd name="connsiteY13" fmla="*/ 12559 h 36601"/>
                    <a:gd name="connsiteX14" fmla="*/ 4306 w 27032"/>
                    <a:gd name="connsiteY14" fmla="*/ 15968 h 36601"/>
                    <a:gd name="connsiteX15" fmla="*/ 3708 w 27032"/>
                    <a:gd name="connsiteY15" fmla="*/ 16985 h 36601"/>
                    <a:gd name="connsiteX16" fmla="*/ 3409 w 27032"/>
                    <a:gd name="connsiteY16" fmla="*/ 17464 h 36601"/>
                    <a:gd name="connsiteX17" fmla="*/ 2751 w 27032"/>
                    <a:gd name="connsiteY17" fmla="*/ 18959 h 36601"/>
                    <a:gd name="connsiteX18" fmla="*/ 2034 w 27032"/>
                    <a:gd name="connsiteY18" fmla="*/ 20634 h 36601"/>
                    <a:gd name="connsiteX19" fmla="*/ 1256 w 27032"/>
                    <a:gd name="connsiteY19" fmla="*/ 22428 h 36601"/>
                    <a:gd name="connsiteX20" fmla="*/ 479 w 27032"/>
                    <a:gd name="connsiteY20" fmla="*/ 25598 h 36601"/>
                    <a:gd name="connsiteX21" fmla="*/ 120 w 27032"/>
                    <a:gd name="connsiteY21" fmla="*/ 27152 h 36601"/>
                    <a:gd name="connsiteX22" fmla="*/ 0 w 27032"/>
                    <a:gd name="connsiteY22" fmla="*/ 30801 h 36601"/>
                    <a:gd name="connsiteX23" fmla="*/ 0 w 27032"/>
                    <a:gd name="connsiteY23" fmla="*/ 31279 h 36601"/>
                    <a:gd name="connsiteX24" fmla="*/ 897 w 27032"/>
                    <a:gd name="connsiteY24" fmla="*/ 34449 h 36601"/>
                    <a:gd name="connsiteX25" fmla="*/ 897 w 27032"/>
                    <a:gd name="connsiteY25" fmla="*/ 34509 h 36601"/>
                    <a:gd name="connsiteX26" fmla="*/ 2751 w 27032"/>
                    <a:gd name="connsiteY26" fmla="*/ 36602 h 3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032" h="36601">
                      <a:moveTo>
                        <a:pt x="27033" y="1017"/>
                      </a:moveTo>
                      <a:lnTo>
                        <a:pt x="24521" y="0"/>
                      </a:lnTo>
                      <a:lnTo>
                        <a:pt x="21531" y="239"/>
                      </a:lnTo>
                      <a:lnTo>
                        <a:pt x="21291" y="239"/>
                      </a:lnTo>
                      <a:lnTo>
                        <a:pt x="18361" y="1435"/>
                      </a:lnTo>
                      <a:lnTo>
                        <a:pt x="17583" y="1734"/>
                      </a:lnTo>
                      <a:lnTo>
                        <a:pt x="17045" y="2093"/>
                      </a:lnTo>
                      <a:lnTo>
                        <a:pt x="16985" y="2153"/>
                      </a:lnTo>
                      <a:lnTo>
                        <a:pt x="14414" y="3947"/>
                      </a:lnTo>
                      <a:lnTo>
                        <a:pt x="13696" y="4426"/>
                      </a:lnTo>
                      <a:lnTo>
                        <a:pt x="12201" y="5861"/>
                      </a:lnTo>
                      <a:lnTo>
                        <a:pt x="9868" y="8134"/>
                      </a:lnTo>
                      <a:lnTo>
                        <a:pt x="7596" y="11005"/>
                      </a:lnTo>
                      <a:lnTo>
                        <a:pt x="6340" y="12559"/>
                      </a:lnTo>
                      <a:lnTo>
                        <a:pt x="4306" y="15968"/>
                      </a:lnTo>
                      <a:lnTo>
                        <a:pt x="3708" y="16985"/>
                      </a:lnTo>
                      <a:lnTo>
                        <a:pt x="3409" y="17464"/>
                      </a:lnTo>
                      <a:lnTo>
                        <a:pt x="2751" y="18959"/>
                      </a:lnTo>
                      <a:lnTo>
                        <a:pt x="2034" y="20634"/>
                      </a:lnTo>
                      <a:lnTo>
                        <a:pt x="1256" y="22428"/>
                      </a:lnTo>
                      <a:lnTo>
                        <a:pt x="479" y="25598"/>
                      </a:lnTo>
                      <a:lnTo>
                        <a:pt x="120" y="27152"/>
                      </a:lnTo>
                      <a:lnTo>
                        <a:pt x="0" y="30801"/>
                      </a:lnTo>
                      <a:lnTo>
                        <a:pt x="0" y="31279"/>
                      </a:lnTo>
                      <a:lnTo>
                        <a:pt x="897" y="34449"/>
                      </a:lnTo>
                      <a:lnTo>
                        <a:pt x="897" y="34509"/>
                      </a:lnTo>
                      <a:lnTo>
                        <a:pt x="2751" y="36602"/>
                      </a:lnTo>
                    </a:path>
                  </a:pathLst>
                </a:custGeom>
                <a:noFill/>
                <a:ln w="6350" cap="flat">
                  <a:solidFill>
                    <a:schemeClr val="bg1">
                      <a:alpha val="80000"/>
                    </a:schemeClr>
                  </a:solidFill>
                  <a:prstDash val="solid"/>
                  <a:miter/>
                </a:ln>
              </p:spPr>
              <p:txBody>
                <a:bodyPr rtlCol="0" anchor="ctr"/>
                <a:lstStyle/>
                <a:p>
                  <a:endParaRPr lang="en-GB"/>
                </a:p>
              </p:txBody>
            </p:sp>
            <p:sp>
              <p:nvSpPr>
                <p:cNvPr id="7939" name="Vrije vorm: vorm 7938">
                  <a:extLst>
                    <a:ext uri="{FF2B5EF4-FFF2-40B4-BE49-F238E27FC236}">
                      <a16:creationId xmlns:a16="http://schemas.microsoft.com/office/drawing/2014/main" id="{2D618876-69C0-4C9A-9BA3-2298C7AC8FE5}"/>
                    </a:ext>
                  </a:extLst>
                </p:cNvPr>
                <p:cNvSpPr/>
                <p:nvPr/>
              </p:nvSpPr>
              <p:spPr>
                <a:xfrm>
                  <a:off x="5595104" y="5356912"/>
                  <a:ext cx="9389" cy="12380"/>
                </a:xfrm>
                <a:custGeom>
                  <a:avLst/>
                  <a:gdLst>
                    <a:gd name="connsiteX0" fmla="*/ 9390 w 9389"/>
                    <a:gd name="connsiteY0" fmla="*/ 0 h 12380"/>
                    <a:gd name="connsiteX1" fmla="*/ 8851 w 9389"/>
                    <a:gd name="connsiteY1" fmla="*/ 1256 h 12380"/>
                    <a:gd name="connsiteX2" fmla="*/ 7895 w 9389"/>
                    <a:gd name="connsiteY2" fmla="*/ 2930 h 12380"/>
                    <a:gd name="connsiteX3" fmla="*/ 8373 w 9389"/>
                    <a:gd name="connsiteY3" fmla="*/ 3409 h 12380"/>
                    <a:gd name="connsiteX4" fmla="*/ 7296 w 9389"/>
                    <a:gd name="connsiteY4" fmla="*/ 5263 h 12380"/>
                    <a:gd name="connsiteX5" fmla="*/ 7117 w 9389"/>
                    <a:gd name="connsiteY5" fmla="*/ 5622 h 12380"/>
                    <a:gd name="connsiteX6" fmla="*/ 4725 w 9389"/>
                    <a:gd name="connsiteY6" fmla="*/ 8732 h 12380"/>
                    <a:gd name="connsiteX7" fmla="*/ 4366 w 9389"/>
                    <a:gd name="connsiteY7" fmla="*/ 9211 h 12380"/>
                    <a:gd name="connsiteX8" fmla="*/ 2632 w 9389"/>
                    <a:gd name="connsiteY8" fmla="*/ 10945 h 12380"/>
                    <a:gd name="connsiteX9" fmla="*/ 2153 w 9389"/>
                    <a:gd name="connsiteY9" fmla="*/ 10466 h 12380"/>
                    <a:gd name="connsiteX10" fmla="*/ 897 w 9389"/>
                    <a:gd name="connsiteY10" fmla="*/ 11722 h 12380"/>
                    <a:gd name="connsiteX11" fmla="*/ 0 w 9389"/>
                    <a:gd name="connsiteY11" fmla="*/ 12380 h 1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89" h="12380">
                      <a:moveTo>
                        <a:pt x="9390" y="0"/>
                      </a:moveTo>
                      <a:lnTo>
                        <a:pt x="8851" y="1256"/>
                      </a:lnTo>
                      <a:lnTo>
                        <a:pt x="7895" y="2930"/>
                      </a:lnTo>
                      <a:lnTo>
                        <a:pt x="8373" y="3409"/>
                      </a:lnTo>
                      <a:lnTo>
                        <a:pt x="7296" y="5263"/>
                      </a:lnTo>
                      <a:lnTo>
                        <a:pt x="7117" y="5622"/>
                      </a:lnTo>
                      <a:lnTo>
                        <a:pt x="4725" y="8732"/>
                      </a:lnTo>
                      <a:lnTo>
                        <a:pt x="4366" y="9211"/>
                      </a:lnTo>
                      <a:lnTo>
                        <a:pt x="2632" y="10945"/>
                      </a:lnTo>
                      <a:lnTo>
                        <a:pt x="2153" y="10466"/>
                      </a:lnTo>
                      <a:lnTo>
                        <a:pt x="897" y="11722"/>
                      </a:lnTo>
                      <a:lnTo>
                        <a:pt x="0" y="12380"/>
                      </a:lnTo>
                    </a:path>
                  </a:pathLst>
                </a:custGeom>
                <a:noFill/>
                <a:ln w="6350" cap="flat">
                  <a:solidFill>
                    <a:schemeClr val="bg1">
                      <a:alpha val="80000"/>
                    </a:schemeClr>
                  </a:solidFill>
                  <a:prstDash val="solid"/>
                  <a:miter/>
                </a:ln>
              </p:spPr>
              <p:txBody>
                <a:bodyPr rtlCol="0" anchor="ctr"/>
                <a:lstStyle/>
                <a:p>
                  <a:endParaRPr lang="en-GB"/>
                </a:p>
              </p:txBody>
            </p:sp>
            <p:sp>
              <p:nvSpPr>
                <p:cNvPr id="7940" name="Vrije vorm: vorm 7939">
                  <a:extLst>
                    <a:ext uri="{FF2B5EF4-FFF2-40B4-BE49-F238E27FC236}">
                      <a16:creationId xmlns:a16="http://schemas.microsoft.com/office/drawing/2014/main" id="{ECDBEF9C-2B03-46F7-8BC2-4717BE7CE2B4}"/>
                    </a:ext>
                  </a:extLst>
                </p:cNvPr>
                <p:cNvSpPr/>
                <p:nvPr/>
              </p:nvSpPr>
              <p:spPr>
                <a:xfrm>
                  <a:off x="5588705" y="5361876"/>
                  <a:ext cx="8432" cy="11124"/>
                </a:xfrm>
                <a:custGeom>
                  <a:avLst/>
                  <a:gdLst>
                    <a:gd name="connsiteX0" fmla="*/ 8433 w 8432"/>
                    <a:gd name="connsiteY0" fmla="*/ 0 h 11124"/>
                    <a:gd name="connsiteX1" fmla="*/ 8014 w 8432"/>
                    <a:gd name="connsiteY1" fmla="*/ 359 h 11124"/>
                    <a:gd name="connsiteX2" fmla="*/ 5861 w 8432"/>
                    <a:gd name="connsiteY2" fmla="*/ 2213 h 11124"/>
                    <a:gd name="connsiteX3" fmla="*/ 6041 w 8432"/>
                    <a:gd name="connsiteY3" fmla="*/ 4426 h 11124"/>
                    <a:gd name="connsiteX4" fmla="*/ 6220 w 8432"/>
                    <a:gd name="connsiteY4" fmla="*/ 6220 h 11124"/>
                    <a:gd name="connsiteX5" fmla="*/ 6340 w 8432"/>
                    <a:gd name="connsiteY5" fmla="*/ 7416 h 11124"/>
                    <a:gd name="connsiteX6" fmla="*/ 6399 w 8432"/>
                    <a:gd name="connsiteY6" fmla="*/ 8194 h 11124"/>
                    <a:gd name="connsiteX7" fmla="*/ 4605 w 8432"/>
                    <a:gd name="connsiteY7" fmla="*/ 9509 h 11124"/>
                    <a:gd name="connsiteX8" fmla="*/ 1615 w 8432"/>
                    <a:gd name="connsiteY8" fmla="*/ 10885 h 11124"/>
                    <a:gd name="connsiteX9" fmla="*/ 0 w 8432"/>
                    <a:gd name="connsiteY9" fmla="*/ 11124 h 11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32" h="11124">
                      <a:moveTo>
                        <a:pt x="8433" y="0"/>
                      </a:moveTo>
                      <a:lnTo>
                        <a:pt x="8014" y="359"/>
                      </a:lnTo>
                      <a:lnTo>
                        <a:pt x="5861" y="2213"/>
                      </a:lnTo>
                      <a:lnTo>
                        <a:pt x="6041" y="4426"/>
                      </a:lnTo>
                      <a:lnTo>
                        <a:pt x="6220" y="6220"/>
                      </a:lnTo>
                      <a:lnTo>
                        <a:pt x="6340" y="7416"/>
                      </a:lnTo>
                      <a:lnTo>
                        <a:pt x="6399" y="8194"/>
                      </a:lnTo>
                      <a:lnTo>
                        <a:pt x="4605" y="9509"/>
                      </a:lnTo>
                      <a:lnTo>
                        <a:pt x="1615" y="10885"/>
                      </a:lnTo>
                      <a:lnTo>
                        <a:pt x="0" y="11124"/>
                      </a:lnTo>
                    </a:path>
                  </a:pathLst>
                </a:custGeom>
                <a:noFill/>
                <a:ln w="6350" cap="flat">
                  <a:solidFill>
                    <a:schemeClr val="bg1">
                      <a:alpha val="80000"/>
                    </a:schemeClr>
                  </a:solidFill>
                  <a:prstDash val="solid"/>
                  <a:miter/>
                </a:ln>
              </p:spPr>
              <p:txBody>
                <a:bodyPr rtlCol="0" anchor="ctr"/>
                <a:lstStyle/>
                <a:p>
                  <a:endParaRPr lang="en-GB"/>
                </a:p>
              </p:txBody>
            </p:sp>
            <p:sp>
              <p:nvSpPr>
                <p:cNvPr id="7941" name="Vrije vorm: vorm 7940">
                  <a:extLst>
                    <a:ext uri="{FF2B5EF4-FFF2-40B4-BE49-F238E27FC236}">
                      <a16:creationId xmlns:a16="http://schemas.microsoft.com/office/drawing/2014/main" id="{CEB2FE88-7890-4246-9423-04F0DBA2A39F}"/>
                    </a:ext>
                  </a:extLst>
                </p:cNvPr>
                <p:cNvSpPr/>
                <p:nvPr/>
              </p:nvSpPr>
              <p:spPr>
                <a:xfrm>
                  <a:off x="5584279" y="5364747"/>
                  <a:ext cx="8492" cy="8253"/>
                </a:xfrm>
                <a:custGeom>
                  <a:avLst/>
                  <a:gdLst>
                    <a:gd name="connsiteX0" fmla="*/ 0 w 8492"/>
                    <a:gd name="connsiteY0" fmla="*/ 6459 h 8253"/>
                    <a:gd name="connsiteX1" fmla="*/ 1196 w 8492"/>
                    <a:gd name="connsiteY1" fmla="*/ 7655 h 8253"/>
                    <a:gd name="connsiteX2" fmla="*/ 1316 w 8492"/>
                    <a:gd name="connsiteY2" fmla="*/ 7715 h 8253"/>
                    <a:gd name="connsiteX3" fmla="*/ 2512 w 8492"/>
                    <a:gd name="connsiteY3" fmla="*/ 8074 h 8253"/>
                    <a:gd name="connsiteX4" fmla="*/ 2632 w 8492"/>
                    <a:gd name="connsiteY4" fmla="*/ 7775 h 8253"/>
                    <a:gd name="connsiteX5" fmla="*/ 3050 w 8492"/>
                    <a:gd name="connsiteY5" fmla="*/ 6998 h 8253"/>
                    <a:gd name="connsiteX6" fmla="*/ 3110 w 8492"/>
                    <a:gd name="connsiteY6" fmla="*/ 6878 h 8253"/>
                    <a:gd name="connsiteX7" fmla="*/ 4904 w 8492"/>
                    <a:gd name="connsiteY7" fmla="*/ 3349 h 8253"/>
                    <a:gd name="connsiteX8" fmla="*/ 6160 w 8492"/>
                    <a:gd name="connsiteY8" fmla="*/ 957 h 8253"/>
                    <a:gd name="connsiteX9" fmla="*/ 6160 w 8492"/>
                    <a:gd name="connsiteY9" fmla="*/ 957 h 8253"/>
                    <a:gd name="connsiteX10" fmla="*/ 6639 w 8492"/>
                    <a:gd name="connsiteY10" fmla="*/ 0 h 8253"/>
                    <a:gd name="connsiteX11" fmla="*/ 7416 w 8492"/>
                    <a:gd name="connsiteY11" fmla="*/ 60 h 8253"/>
                    <a:gd name="connsiteX12" fmla="*/ 7416 w 8492"/>
                    <a:gd name="connsiteY12" fmla="*/ 60 h 8253"/>
                    <a:gd name="connsiteX13" fmla="*/ 7775 w 8492"/>
                    <a:gd name="connsiteY13" fmla="*/ 120 h 8253"/>
                    <a:gd name="connsiteX14" fmla="*/ 8493 w 8492"/>
                    <a:gd name="connsiteY14" fmla="*/ 180 h 8253"/>
                    <a:gd name="connsiteX15" fmla="*/ 6698 w 8492"/>
                    <a:gd name="connsiteY15" fmla="*/ 3708 h 8253"/>
                    <a:gd name="connsiteX16" fmla="*/ 5801 w 8492"/>
                    <a:gd name="connsiteY16" fmla="*/ 5503 h 8253"/>
                    <a:gd name="connsiteX17" fmla="*/ 5203 w 8492"/>
                    <a:gd name="connsiteY17" fmla="*/ 6639 h 8253"/>
                    <a:gd name="connsiteX18" fmla="*/ 4366 w 8492"/>
                    <a:gd name="connsiteY18" fmla="*/ 8253 h 8253"/>
                    <a:gd name="connsiteX19" fmla="*/ 3887 w 8492"/>
                    <a:gd name="connsiteY19" fmla="*/ 7775 h 8253"/>
                    <a:gd name="connsiteX20" fmla="*/ 2871 w 8492"/>
                    <a:gd name="connsiteY20" fmla="*/ 7895 h 8253"/>
                    <a:gd name="connsiteX21" fmla="*/ 2691 w 8492"/>
                    <a:gd name="connsiteY21" fmla="*/ 7835 h 8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92" h="8253">
                      <a:moveTo>
                        <a:pt x="0" y="6459"/>
                      </a:moveTo>
                      <a:lnTo>
                        <a:pt x="1196" y="7655"/>
                      </a:lnTo>
                      <a:lnTo>
                        <a:pt x="1316" y="7715"/>
                      </a:lnTo>
                      <a:lnTo>
                        <a:pt x="2512" y="8074"/>
                      </a:lnTo>
                      <a:lnTo>
                        <a:pt x="2632" y="7775"/>
                      </a:lnTo>
                      <a:lnTo>
                        <a:pt x="3050" y="6998"/>
                      </a:lnTo>
                      <a:lnTo>
                        <a:pt x="3110" y="6878"/>
                      </a:lnTo>
                      <a:lnTo>
                        <a:pt x="4904" y="3349"/>
                      </a:lnTo>
                      <a:lnTo>
                        <a:pt x="6160" y="957"/>
                      </a:lnTo>
                      <a:lnTo>
                        <a:pt x="6160" y="957"/>
                      </a:lnTo>
                      <a:lnTo>
                        <a:pt x="6639" y="0"/>
                      </a:lnTo>
                      <a:lnTo>
                        <a:pt x="7416" y="60"/>
                      </a:lnTo>
                      <a:lnTo>
                        <a:pt x="7416" y="60"/>
                      </a:lnTo>
                      <a:lnTo>
                        <a:pt x="7775" y="120"/>
                      </a:lnTo>
                      <a:lnTo>
                        <a:pt x="8493" y="180"/>
                      </a:lnTo>
                      <a:lnTo>
                        <a:pt x="6698" y="3708"/>
                      </a:lnTo>
                      <a:lnTo>
                        <a:pt x="5801" y="5503"/>
                      </a:lnTo>
                      <a:lnTo>
                        <a:pt x="5203" y="6639"/>
                      </a:lnTo>
                      <a:lnTo>
                        <a:pt x="4366" y="8253"/>
                      </a:lnTo>
                      <a:lnTo>
                        <a:pt x="3887" y="7775"/>
                      </a:lnTo>
                      <a:lnTo>
                        <a:pt x="2871" y="7895"/>
                      </a:lnTo>
                      <a:lnTo>
                        <a:pt x="2691" y="7835"/>
                      </a:lnTo>
                    </a:path>
                  </a:pathLst>
                </a:custGeom>
                <a:noFill/>
                <a:ln w="6350" cap="flat">
                  <a:solidFill>
                    <a:schemeClr val="bg1">
                      <a:alpha val="80000"/>
                    </a:schemeClr>
                  </a:solidFill>
                  <a:prstDash val="solid"/>
                  <a:miter/>
                </a:ln>
              </p:spPr>
              <p:txBody>
                <a:bodyPr rtlCol="0" anchor="ctr"/>
                <a:lstStyle/>
                <a:p>
                  <a:endParaRPr lang="en-GB"/>
                </a:p>
              </p:txBody>
            </p:sp>
            <p:sp>
              <p:nvSpPr>
                <p:cNvPr id="7942" name="Vrije vorm: vorm 7941">
                  <a:extLst>
                    <a:ext uri="{FF2B5EF4-FFF2-40B4-BE49-F238E27FC236}">
                      <a16:creationId xmlns:a16="http://schemas.microsoft.com/office/drawing/2014/main" id="{F474873F-06B6-483F-AFC3-8E6DE1ECDFD7}"/>
                    </a:ext>
                  </a:extLst>
                </p:cNvPr>
                <p:cNvSpPr/>
                <p:nvPr/>
              </p:nvSpPr>
              <p:spPr>
                <a:xfrm>
                  <a:off x="5583562" y="5369053"/>
                  <a:ext cx="1973" cy="3409"/>
                </a:xfrm>
                <a:custGeom>
                  <a:avLst/>
                  <a:gdLst>
                    <a:gd name="connsiteX0" fmla="*/ 0 w 1973"/>
                    <a:gd name="connsiteY0" fmla="*/ 0 h 3409"/>
                    <a:gd name="connsiteX1" fmla="*/ 478 w 1973"/>
                    <a:gd name="connsiteY1" fmla="*/ 1734 h 3409"/>
                    <a:gd name="connsiteX2" fmla="*/ 957 w 1973"/>
                    <a:gd name="connsiteY2" fmla="*/ 2273 h 3409"/>
                    <a:gd name="connsiteX3" fmla="*/ 1973 w 1973"/>
                    <a:gd name="connsiteY3" fmla="*/ 3409 h 3409"/>
                  </a:gdLst>
                  <a:ahLst/>
                  <a:cxnLst>
                    <a:cxn ang="0">
                      <a:pos x="connsiteX0" y="connsiteY0"/>
                    </a:cxn>
                    <a:cxn ang="0">
                      <a:pos x="connsiteX1" y="connsiteY1"/>
                    </a:cxn>
                    <a:cxn ang="0">
                      <a:pos x="connsiteX2" y="connsiteY2"/>
                    </a:cxn>
                    <a:cxn ang="0">
                      <a:pos x="connsiteX3" y="connsiteY3"/>
                    </a:cxn>
                  </a:cxnLst>
                  <a:rect l="l" t="t" r="r" b="b"/>
                  <a:pathLst>
                    <a:path w="1973" h="3409">
                      <a:moveTo>
                        <a:pt x="0" y="0"/>
                      </a:moveTo>
                      <a:lnTo>
                        <a:pt x="478" y="1734"/>
                      </a:lnTo>
                      <a:lnTo>
                        <a:pt x="957" y="2273"/>
                      </a:lnTo>
                      <a:lnTo>
                        <a:pt x="1973" y="3409"/>
                      </a:lnTo>
                    </a:path>
                  </a:pathLst>
                </a:custGeom>
                <a:noFill/>
                <a:ln w="6350" cap="flat">
                  <a:solidFill>
                    <a:schemeClr val="bg1">
                      <a:alpha val="80000"/>
                    </a:schemeClr>
                  </a:solidFill>
                  <a:prstDash val="solid"/>
                  <a:miter/>
                </a:ln>
              </p:spPr>
              <p:txBody>
                <a:bodyPr rtlCol="0" anchor="ctr"/>
                <a:lstStyle/>
                <a:p>
                  <a:endParaRPr lang="en-GB"/>
                </a:p>
              </p:txBody>
            </p:sp>
            <p:sp>
              <p:nvSpPr>
                <p:cNvPr id="7943" name="Vrije vorm: vorm 7942">
                  <a:extLst>
                    <a:ext uri="{FF2B5EF4-FFF2-40B4-BE49-F238E27FC236}">
                      <a16:creationId xmlns:a16="http://schemas.microsoft.com/office/drawing/2014/main" id="{39762910-726B-47F1-96AF-5A037492C4CE}"/>
                    </a:ext>
                  </a:extLst>
                </p:cNvPr>
                <p:cNvSpPr/>
                <p:nvPr/>
              </p:nvSpPr>
              <p:spPr>
                <a:xfrm>
                  <a:off x="5582067" y="5341422"/>
                  <a:ext cx="22009" cy="29783"/>
                </a:xfrm>
                <a:custGeom>
                  <a:avLst/>
                  <a:gdLst>
                    <a:gd name="connsiteX0" fmla="*/ 2213 w 22009"/>
                    <a:gd name="connsiteY0" fmla="*/ 29784 h 29783"/>
                    <a:gd name="connsiteX1" fmla="*/ 718 w 22009"/>
                    <a:gd name="connsiteY1" fmla="*/ 28109 h 29783"/>
                    <a:gd name="connsiteX2" fmla="*/ 0 w 22009"/>
                    <a:gd name="connsiteY2" fmla="*/ 25537 h 29783"/>
                    <a:gd name="connsiteX3" fmla="*/ 60 w 22009"/>
                    <a:gd name="connsiteY3" fmla="*/ 24521 h 29783"/>
                    <a:gd name="connsiteX4" fmla="*/ 60 w 22009"/>
                    <a:gd name="connsiteY4" fmla="*/ 24342 h 29783"/>
                    <a:gd name="connsiteX5" fmla="*/ 119 w 22009"/>
                    <a:gd name="connsiteY5" fmla="*/ 22188 h 29783"/>
                    <a:gd name="connsiteX6" fmla="*/ 957 w 22009"/>
                    <a:gd name="connsiteY6" fmla="*/ 18899 h 29783"/>
                    <a:gd name="connsiteX7" fmla="*/ 1076 w 22009"/>
                    <a:gd name="connsiteY7" fmla="*/ 18361 h 29783"/>
                    <a:gd name="connsiteX8" fmla="*/ 2033 w 22009"/>
                    <a:gd name="connsiteY8" fmla="*/ 16148 h 29783"/>
                    <a:gd name="connsiteX9" fmla="*/ 2093 w 22009"/>
                    <a:gd name="connsiteY9" fmla="*/ 16028 h 29783"/>
                    <a:gd name="connsiteX10" fmla="*/ 2392 w 22009"/>
                    <a:gd name="connsiteY10" fmla="*/ 15311 h 29783"/>
                    <a:gd name="connsiteX11" fmla="*/ 2811 w 22009"/>
                    <a:gd name="connsiteY11" fmla="*/ 14294 h 29783"/>
                    <a:gd name="connsiteX12" fmla="*/ 3828 w 22009"/>
                    <a:gd name="connsiteY12" fmla="*/ 12619 h 29783"/>
                    <a:gd name="connsiteX13" fmla="*/ 4067 w 22009"/>
                    <a:gd name="connsiteY13" fmla="*/ 12260 h 29783"/>
                    <a:gd name="connsiteX14" fmla="*/ 5203 w 22009"/>
                    <a:gd name="connsiteY14" fmla="*/ 10347 h 29783"/>
                    <a:gd name="connsiteX15" fmla="*/ 7595 w 22009"/>
                    <a:gd name="connsiteY15" fmla="*/ 7296 h 29783"/>
                    <a:gd name="connsiteX16" fmla="*/ 8074 w 22009"/>
                    <a:gd name="connsiteY16" fmla="*/ 6698 h 29783"/>
                    <a:gd name="connsiteX17" fmla="*/ 8971 w 22009"/>
                    <a:gd name="connsiteY17" fmla="*/ 5801 h 29783"/>
                    <a:gd name="connsiteX18" fmla="*/ 11184 w 22009"/>
                    <a:gd name="connsiteY18" fmla="*/ 3648 h 29783"/>
                    <a:gd name="connsiteX19" fmla="*/ 14114 w 22009"/>
                    <a:gd name="connsiteY19" fmla="*/ 1615 h 29783"/>
                    <a:gd name="connsiteX20" fmla="*/ 14354 w 22009"/>
                    <a:gd name="connsiteY20" fmla="*/ 1435 h 29783"/>
                    <a:gd name="connsiteX21" fmla="*/ 16327 w 22009"/>
                    <a:gd name="connsiteY21" fmla="*/ 598 h 29783"/>
                    <a:gd name="connsiteX22" fmla="*/ 17344 w 22009"/>
                    <a:gd name="connsiteY22" fmla="*/ 179 h 29783"/>
                    <a:gd name="connsiteX23" fmla="*/ 17643 w 22009"/>
                    <a:gd name="connsiteY23" fmla="*/ 179 h 29783"/>
                    <a:gd name="connsiteX24" fmla="*/ 17942 w 22009"/>
                    <a:gd name="connsiteY24" fmla="*/ 179 h 29783"/>
                    <a:gd name="connsiteX25" fmla="*/ 19916 w 22009"/>
                    <a:gd name="connsiteY25" fmla="*/ 0 h 29783"/>
                    <a:gd name="connsiteX26" fmla="*/ 22009 w 22009"/>
                    <a:gd name="connsiteY26" fmla="*/ 837 h 2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009" h="29783">
                      <a:moveTo>
                        <a:pt x="2213" y="29784"/>
                      </a:moveTo>
                      <a:lnTo>
                        <a:pt x="718" y="28109"/>
                      </a:lnTo>
                      <a:lnTo>
                        <a:pt x="0" y="25537"/>
                      </a:lnTo>
                      <a:lnTo>
                        <a:pt x="60" y="24521"/>
                      </a:lnTo>
                      <a:lnTo>
                        <a:pt x="60" y="24342"/>
                      </a:lnTo>
                      <a:lnTo>
                        <a:pt x="119" y="22188"/>
                      </a:lnTo>
                      <a:lnTo>
                        <a:pt x="957" y="18899"/>
                      </a:lnTo>
                      <a:lnTo>
                        <a:pt x="1076" y="18361"/>
                      </a:lnTo>
                      <a:lnTo>
                        <a:pt x="2033" y="16148"/>
                      </a:lnTo>
                      <a:lnTo>
                        <a:pt x="2093" y="16028"/>
                      </a:lnTo>
                      <a:lnTo>
                        <a:pt x="2392" y="15311"/>
                      </a:lnTo>
                      <a:lnTo>
                        <a:pt x="2811" y="14294"/>
                      </a:lnTo>
                      <a:lnTo>
                        <a:pt x="3828" y="12619"/>
                      </a:lnTo>
                      <a:lnTo>
                        <a:pt x="4067" y="12260"/>
                      </a:lnTo>
                      <a:lnTo>
                        <a:pt x="5203" y="10347"/>
                      </a:lnTo>
                      <a:lnTo>
                        <a:pt x="7595" y="7296"/>
                      </a:lnTo>
                      <a:lnTo>
                        <a:pt x="8074" y="6698"/>
                      </a:lnTo>
                      <a:lnTo>
                        <a:pt x="8971" y="5801"/>
                      </a:lnTo>
                      <a:lnTo>
                        <a:pt x="11184" y="3648"/>
                      </a:lnTo>
                      <a:lnTo>
                        <a:pt x="14114" y="1615"/>
                      </a:lnTo>
                      <a:lnTo>
                        <a:pt x="14354" y="1435"/>
                      </a:lnTo>
                      <a:lnTo>
                        <a:pt x="16327" y="598"/>
                      </a:lnTo>
                      <a:lnTo>
                        <a:pt x="17344" y="179"/>
                      </a:lnTo>
                      <a:lnTo>
                        <a:pt x="17643" y="179"/>
                      </a:lnTo>
                      <a:lnTo>
                        <a:pt x="17942" y="179"/>
                      </a:lnTo>
                      <a:lnTo>
                        <a:pt x="19916" y="0"/>
                      </a:lnTo>
                      <a:lnTo>
                        <a:pt x="22009" y="837"/>
                      </a:lnTo>
                    </a:path>
                  </a:pathLst>
                </a:custGeom>
                <a:noFill/>
                <a:ln w="6350" cap="flat">
                  <a:solidFill>
                    <a:schemeClr val="bg1">
                      <a:alpha val="80000"/>
                    </a:schemeClr>
                  </a:solidFill>
                  <a:prstDash val="solid"/>
                  <a:miter/>
                </a:ln>
              </p:spPr>
              <p:txBody>
                <a:bodyPr rtlCol="0" anchor="ctr"/>
                <a:lstStyle/>
                <a:p>
                  <a:endParaRPr lang="en-GB"/>
                </a:p>
              </p:txBody>
            </p:sp>
            <p:sp>
              <p:nvSpPr>
                <p:cNvPr id="7944" name="Vrije vorm: vorm 7943">
                  <a:extLst>
                    <a:ext uri="{FF2B5EF4-FFF2-40B4-BE49-F238E27FC236}">
                      <a16:creationId xmlns:a16="http://schemas.microsoft.com/office/drawing/2014/main" id="{A66355FD-37A1-4DB0-A347-CD2D4E1F09B2}"/>
                    </a:ext>
                  </a:extLst>
                </p:cNvPr>
                <p:cNvSpPr/>
                <p:nvPr/>
              </p:nvSpPr>
              <p:spPr>
                <a:xfrm>
                  <a:off x="5583083" y="5363671"/>
                  <a:ext cx="6818" cy="5382"/>
                </a:xfrm>
                <a:custGeom>
                  <a:avLst/>
                  <a:gdLst>
                    <a:gd name="connsiteX0" fmla="*/ 0 w 6818"/>
                    <a:gd name="connsiteY0" fmla="*/ 4904 h 5382"/>
                    <a:gd name="connsiteX1" fmla="*/ 479 w 6818"/>
                    <a:gd name="connsiteY1" fmla="*/ 5383 h 5382"/>
                    <a:gd name="connsiteX2" fmla="*/ 2273 w 6818"/>
                    <a:gd name="connsiteY2" fmla="*/ 3888 h 5382"/>
                    <a:gd name="connsiteX3" fmla="*/ 2273 w 6818"/>
                    <a:gd name="connsiteY3" fmla="*/ 3888 h 5382"/>
                    <a:gd name="connsiteX4" fmla="*/ 5083 w 6818"/>
                    <a:gd name="connsiteY4" fmla="*/ 1495 h 5382"/>
                    <a:gd name="connsiteX5" fmla="*/ 6818 w 6818"/>
                    <a:gd name="connsiteY5" fmla="*/ 0 h 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8" h="5382">
                      <a:moveTo>
                        <a:pt x="0" y="4904"/>
                      </a:moveTo>
                      <a:lnTo>
                        <a:pt x="479" y="5383"/>
                      </a:lnTo>
                      <a:lnTo>
                        <a:pt x="2273" y="3888"/>
                      </a:lnTo>
                      <a:lnTo>
                        <a:pt x="2273" y="3888"/>
                      </a:lnTo>
                      <a:lnTo>
                        <a:pt x="5083" y="1495"/>
                      </a:lnTo>
                      <a:lnTo>
                        <a:pt x="6818" y="0"/>
                      </a:lnTo>
                    </a:path>
                  </a:pathLst>
                </a:custGeom>
                <a:noFill/>
                <a:ln w="6350" cap="flat">
                  <a:solidFill>
                    <a:schemeClr val="bg1">
                      <a:alpha val="80000"/>
                    </a:schemeClr>
                  </a:solidFill>
                  <a:prstDash val="solid"/>
                  <a:miter/>
                </a:ln>
              </p:spPr>
              <p:txBody>
                <a:bodyPr rtlCol="0" anchor="ctr"/>
                <a:lstStyle/>
                <a:p>
                  <a:endParaRPr lang="en-GB"/>
                </a:p>
              </p:txBody>
            </p:sp>
            <p:sp>
              <p:nvSpPr>
                <p:cNvPr id="7945" name="Vrije vorm: vorm 7944">
                  <a:extLst>
                    <a:ext uri="{FF2B5EF4-FFF2-40B4-BE49-F238E27FC236}">
                      <a16:creationId xmlns:a16="http://schemas.microsoft.com/office/drawing/2014/main" id="{582CF555-B1CD-4C38-BAAE-5E0AC0CF7A39}"/>
                    </a:ext>
                  </a:extLst>
                </p:cNvPr>
                <p:cNvSpPr/>
                <p:nvPr/>
              </p:nvSpPr>
              <p:spPr>
                <a:xfrm>
                  <a:off x="5582784" y="5361577"/>
                  <a:ext cx="6937" cy="6997"/>
                </a:xfrm>
                <a:custGeom>
                  <a:avLst/>
                  <a:gdLst>
                    <a:gd name="connsiteX0" fmla="*/ 6937 w 6937"/>
                    <a:gd name="connsiteY0" fmla="*/ 0 h 6997"/>
                    <a:gd name="connsiteX1" fmla="*/ 6519 w 6937"/>
                    <a:gd name="connsiteY1" fmla="*/ 359 h 6997"/>
                    <a:gd name="connsiteX2" fmla="*/ 3708 w 6937"/>
                    <a:gd name="connsiteY2" fmla="*/ 2751 h 6997"/>
                    <a:gd name="connsiteX3" fmla="*/ 897 w 6937"/>
                    <a:gd name="connsiteY3" fmla="*/ 5143 h 6997"/>
                    <a:gd name="connsiteX4" fmla="*/ 538 w 6937"/>
                    <a:gd name="connsiteY4" fmla="*/ 5442 h 6997"/>
                    <a:gd name="connsiteX5" fmla="*/ 538 w 6937"/>
                    <a:gd name="connsiteY5" fmla="*/ 5442 h 6997"/>
                    <a:gd name="connsiteX6" fmla="*/ 538 w 6937"/>
                    <a:gd name="connsiteY6" fmla="*/ 5442 h 6997"/>
                    <a:gd name="connsiteX7" fmla="*/ 479 w 6937"/>
                    <a:gd name="connsiteY7" fmla="*/ 5382 h 6997"/>
                    <a:gd name="connsiteX8" fmla="*/ 479 w 6937"/>
                    <a:gd name="connsiteY8" fmla="*/ 5382 h 6997"/>
                    <a:gd name="connsiteX9" fmla="*/ 60 w 6937"/>
                    <a:gd name="connsiteY9" fmla="*/ 4964 h 6997"/>
                    <a:gd name="connsiteX10" fmla="*/ 60 w 6937"/>
                    <a:gd name="connsiteY10" fmla="*/ 5024 h 6997"/>
                    <a:gd name="connsiteX11" fmla="*/ 60 w 6937"/>
                    <a:gd name="connsiteY11" fmla="*/ 5083 h 6997"/>
                    <a:gd name="connsiteX12" fmla="*/ 0 w 6937"/>
                    <a:gd name="connsiteY12" fmla="*/ 6100 h 6997"/>
                    <a:gd name="connsiteX13" fmla="*/ 239 w 6937"/>
                    <a:gd name="connsiteY13" fmla="*/ 6997 h 6997"/>
                    <a:gd name="connsiteX14" fmla="*/ 1615 w 6937"/>
                    <a:gd name="connsiteY14" fmla="*/ 5801 h 6997"/>
                    <a:gd name="connsiteX15" fmla="*/ 1615 w 6937"/>
                    <a:gd name="connsiteY15" fmla="*/ 5801 h 6997"/>
                    <a:gd name="connsiteX16" fmla="*/ 4426 w 6937"/>
                    <a:gd name="connsiteY16" fmla="*/ 3409 h 6997"/>
                    <a:gd name="connsiteX17" fmla="*/ 6579 w 6937"/>
                    <a:gd name="connsiteY17" fmla="*/ 1615 h 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37" h="6997">
                      <a:moveTo>
                        <a:pt x="6937" y="0"/>
                      </a:moveTo>
                      <a:lnTo>
                        <a:pt x="6519" y="359"/>
                      </a:lnTo>
                      <a:lnTo>
                        <a:pt x="3708" y="2751"/>
                      </a:lnTo>
                      <a:lnTo>
                        <a:pt x="897" y="5143"/>
                      </a:lnTo>
                      <a:lnTo>
                        <a:pt x="538" y="5442"/>
                      </a:lnTo>
                      <a:lnTo>
                        <a:pt x="538" y="5442"/>
                      </a:lnTo>
                      <a:lnTo>
                        <a:pt x="538" y="5442"/>
                      </a:lnTo>
                      <a:lnTo>
                        <a:pt x="479" y="5382"/>
                      </a:lnTo>
                      <a:lnTo>
                        <a:pt x="479" y="5382"/>
                      </a:lnTo>
                      <a:lnTo>
                        <a:pt x="60" y="4964"/>
                      </a:lnTo>
                      <a:lnTo>
                        <a:pt x="60" y="5024"/>
                      </a:lnTo>
                      <a:lnTo>
                        <a:pt x="60" y="5083"/>
                      </a:lnTo>
                      <a:lnTo>
                        <a:pt x="0" y="6100"/>
                      </a:lnTo>
                      <a:lnTo>
                        <a:pt x="239" y="6997"/>
                      </a:lnTo>
                      <a:lnTo>
                        <a:pt x="1615" y="5801"/>
                      </a:lnTo>
                      <a:lnTo>
                        <a:pt x="1615" y="5801"/>
                      </a:lnTo>
                      <a:lnTo>
                        <a:pt x="4426" y="3409"/>
                      </a:lnTo>
                      <a:lnTo>
                        <a:pt x="6579" y="1615"/>
                      </a:lnTo>
                    </a:path>
                  </a:pathLst>
                </a:custGeom>
                <a:noFill/>
                <a:ln w="6350" cap="flat">
                  <a:solidFill>
                    <a:schemeClr val="bg1">
                      <a:alpha val="80000"/>
                    </a:schemeClr>
                  </a:solidFill>
                  <a:prstDash val="solid"/>
                  <a:miter/>
                </a:ln>
              </p:spPr>
              <p:txBody>
                <a:bodyPr rtlCol="0" anchor="ctr"/>
                <a:lstStyle/>
                <a:p>
                  <a:endParaRPr lang="en-GB"/>
                </a:p>
              </p:txBody>
            </p:sp>
            <p:sp>
              <p:nvSpPr>
                <p:cNvPr id="7946" name="Vrije vorm: vorm 7945">
                  <a:extLst>
                    <a:ext uri="{FF2B5EF4-FFF2-40B4-BE49-F238E27FC236}">
                      <a16:creationId xmlns:a16="http://schemas.microsoft.com/office/drawing/2014/main" id="{F31A94A2-91E6-44B6-991E-7F3FAA8BB8A8}"/>
                    </a:ext>
                  </a:extLst>
                </p:cNvPr>
                <p:cNvSpPr/>
                <p:nvPr/>
              </p:nvSpPr>
              <p:spPr>
                <a:xfrm>
                  <a:off x="5583263" y="5358647"/>
                  <a:ext cx="2093" cy="8432"/>
                </a:xfrm>
                <a:custGeom>
                  <a:avLst/>
                  <a:gdLst>
                    <a:gd name="connsiteX0" fmla="*/ 2093 w 2093"/>
                    <a:gd name="connsiteY0" fmla="*/ 0 h 8432"/>
                    <a:gd name="connsiteX1" fmla="*/ 1256 w 2093"/>
                    <a:gd name="connsiteY1" fmla="*/ 1973 h 8432"/>
                    <a:gd name="connsiteX2" fmla="*/ 1076 w 2093"/>
                    <a:gd name="connsiteY2" fmla="*/ 2332 h 8432"/>
                    <a:gd name="connsiteX3" fmla="*/ 119 w 2093"/>
                    <a:gd name="connsiteY3" fmla="*/ 6100 h 8432"/>
                    <a:gd name="connsiteX4" fmla="*/ 119 w 2093"/>
                    <a:gd name="connsiteY4" fmla="*/ 6220 h 8432"/>
                    <a:gd name="connsiteX5" fmla="*/ 60 w 2093"/>
                    <a:gd name="connsiteY5" fmla="*/ 7535 h 8432"/>
                    <a:gd name="connsiteX6" fmla="*/ 0 w 2093"/>
                    <a:gd name="connsiteY6" fmla="*/ 8433 h 8432"/>
                    <a:gd name="connsiteX7" fmla="*/ 0 w 2093"/>
                    <a:gd name="connsiteY7" fmla="*/ 8433 h 8432"/>
                    <a:gd name="connsiteX8" fmla="*/ 0 w 2093"/>
                    <a:gd name="connsiteY8" fmla="*/ 8433 h 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3" h="8432">
                      <a:moveTo>
                        <a:pt x="2093" y="0"/>
                      </a:moveTo>
                      <a:lnTo>
                        <a:pt x="1256" y="1973"/>
                      </a:lnTo>
                      <a:lnTo>
                        <a:pt x="1076" y="2332"/>
                      </a:lnTo>
                      <a:lnTo>
                        <a:pt x="119" y="6100"/>
                      </a:lnTo>
                      <a:lnTo>
                        <a:pt x="119" y="6220"/>
                      </a:lnTo>
                      <a:lnTo>
                        <a:pt x="60" y="7535"/>
                      </a:lnTo>
                      <a:lnTo>
                        <a:pt x="0" y="8433"/>
                      </a:lnTo>
                      <a:lnTo>
                        <a:pt x="0" y="8433"/>
                      </a:lnTo>
                      <a:lnTo>
                        <a:pt x="0" y="8433"/>
                      </a:lnTo>
                    </a:path>
                  </a:pathLst>
                </a:custGeom>
                <a:noFill/>
                <a:ln w="6350" cap="flat">
                  <a:solidFill>
                    <a:schemeClr val="bg1">
                      <a:alpha val="80000"/>
                    </a:schemeClr>
                  </a:solidFill>
                  <a:prstDash val="solid"/>
                  <a:miter/>
                </a:ln>
              </p:spPr>
              <p:txBody>
                <a:bodyPr rtlCol="0" anchor="ctr"/>
                <a:lstStyle/>
                <a:p>
                  <a:endParaRPr lang="en-GB"/>
                </a:p>
              </p:txBody>
            </p:sp>
            <p:sp>
              <p:nvSpPr>
                <p:cNvPr id="7947" name="Vrije vorm: vorm 7946">
                  <a:extLst>
                    <a:ext uri="{FF2B5EF4-FFF2-40B4-BE49-F238E27FC236}">
                      <a16:creationId xmlns:a16="http://schemas.microsoft.com/office/drawing/2014/main" id="{97B28A8E-808E-42B9-BFF9-7A718639FA2F}"/>
                    </a:ext>
                  </a:extLst>
                </p:cNvPr>
                <p:cNvSpPr/>
                <p:nvPr/>
              </p:nvSpPr>
              <p:spPr>
                <a:xfrm>
                  <a:off x="5584877" y="5358168"/>
                  <a:ext cx="5502" cy="896"/>
                </a:xfrm>
                <a:custGeom>
                  <a:avLst/>
                  <a:gdLst>
                    <a:gd name="connsiteX0" fmla="*/ 0 w 5502"/>
                    <a:gd name="connsiteY0" fmla="*/ 0 h 896"/>
                    <a:gd name="connsiteX1" fmla="*/ 479 w 5502"/>
                    <a:gd name="connsiteY1" fmla="*/ 479 h 896"/>
                    <a:gd name="connsiteX2" fmla="*/ 3349 w 5502"/>
                    <a:gd name="connsiteY2" fmla="*/ 718 h 896"/>
                    <a:gd name="connsiteX3" fmla="*/ 5503 w 5502"/>
                    <a:gd name="connsiteY3" fmla="*/ 897 h 896"/>
                  </a:gdLst>
                  <a:ahLst/>
                  <a:cxnLst>
                    <a:cxn ang="0">
                      <a:pos x="connsiteX0" y="connsiteY0"/>
                    </a:cxn>
                    <a:cxn ang="0">
                      <a:pos x="connsiteX1" y="connsiteY1"/>
                    </a:cxn>
                    <a:cxn ang="0">
                      <a:pos x="connsiteX2" y="connsiteY2"/>
                    </a:cxn>
                    <a:cxn ang="0">
                      <a:pos x="connsiteX3" y="connsiteY3"/>
                    </a:cxn>
                  </a:cxnLst>
                  <a:rect l="l" t="t" r="r" b="b"/>
                  <a:pathLst>
                    <a:path w="5502" h="896">
                      <a:moveTo>
                        <a:pt x="0" y="0"/>
                      </a:moveTo>
                      <a:lnTo>
                        <a:pt x="479" y="479"/>
                      </a:lnTo>
                      <a:lnTo>
                        <a:pt x="3349" y="718"/>
                      </a:lnTo>
                      <a:lnTo>
                        <a:pt x="5503" y="897"/>
                      </a:lnTo>
                    </a:path>
                  </a:pathLst>
                </a:custGeom>
                <a:noFill/>
                <a:ln w="6350" cap="flat">
                  <a:solidFill>
                    <a:schemeClr val="bg1">
                      <a:alpha val="80000"/>
                    </a:schemeClr>
                  </a:solidFill>
                  <a:prstDash val="solid"/>
                  <a:miter/>
                </a:ln>
              </p:spPr>
              <p:txBody>
                <a:bodyPr rtlCol="0" anchor="ctr"/>
                <a:lstStyle/>
                <a:p>
                  <a:endParaRPr lang="en-GB"/>
                </a:p>
              </p:txBody>
            </p:sp>
            <p:sp>
              <p:nvSpPr>
                <p:cNvPr id="7948" name="Vrije vorm: vorm 7947">
                  <a:extLst>
                    <a:ext uri="{FF2B5EF4-FFF2-40B4-BE49-F238E27FC236}">
                      <a16:creationId xmlns:a16="http://schemas.microsoft.com/office/drawing/2014/main" id="{B59A6376-0E1B-4455-8F26-97AC9D031481}"/>
                    </a:ext>
                  </a:extLst>
                </p:cNvPr>
                <p:cNvSpPr/>
                <p:nvPr/>
              </p:nvSpPr>
              <p:spPr>
                <a:xfrm>
                  <a:off x="5587090" y="5347463"/>
                  <a:ext cx="6040" cy="7775"/>
                </a:xfrm>
                <a:custGeom>
                  <a:avLst/>
                  <a:gdLst>
                    <a:gd name="connsiteX0" fmla="*/ 6041 w 6040"/>
                    <a:gd name="connsiteY0" fmla="*/ 0 h 7775"/>
                    <a:gd name="connsiteX1" fmla="*/ 5622 w 6040"/>
                    <a:gd name="connsiteY1" fmla="*/ 419 h 7775"/>
                    <a:gd name="connsiteX2" fmla="*/ 4246 w 6040"/>
                    <a:gd name="connsiteY2" fmla="*/ 1795 h 7775"/>
                    <a:gd name="connsiteX3" fmla="*/ 1854 w 6040"/>
                    <a:gd name="connsiteY3" fmla="*/ 4845 h 7775"/>
                    <a:gd name="connsiteX4" fmla="*/ 1376 w 6040"/>
                    <a:gd name="connsiteY4" fmla="*/ 5443 h 7775"/>
                    <a:gd name="connsiteX5" fmla="*/ 239 w 6040"/>
                    <a:gd name="connsiteY5" fmla="*/ 7357 h 7775"/>
                    <a:gd name="connsiteX6" fmla="*/ 0 w 6040"/>
                    <a:gd name="connsiteY6" fmla="*/ 7775 h 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0" h="7775">
                      <a:moveTo>
                        <a:pt x="6041" y="0"/>
                      </a:moveTo>
                      <a:lnTo>
                        <a:pt x="5622" y="419"/>
                      </a:lnTo>
                      <a:lnTo>
                        <a:pt x="4246" y="1795"/>
                      </a:lnTo>
                      <a:lnTo>
                        <a:pt x="1854" y="4845"/>
                      </a:lnTo>
                      <a:lnTo>
                        <a:pt x="1376" y="5443"/>
                      </a:lnTo>
                      <a:lnTo>
                        <a:pt x="239" y="7357"/>
                      </a:lnTo>
                      <a:lnTo>
                        <a:pt x="0" y="7775"/>
                      </a:lnTo>
                    </a:path>
                  </a:pathLst>
                </a:custGeom>
                <a:noFill/>
                <a:ln w="6350" cap="flat">
                  <a:solidFill>
                    <a:schemeClr val="bg1">
                      <a:alpha val="80000"/>
                    </a:schemeClr>
                  </a:solidFill>
                  <a:prstDash val="solid"/>
                  <a:miter/>
                </a:ln>
              </p:spPr>
              <p:txBody>
                <a:bodyPr rtlCol="0" anchor="ctr"/>
                <a:lstStyle/>
                <a:p>
                  <a:endParaRPr lang="en-GB"/>
                </a:p>
              </p:txBody>
            </p:sp>
            <p:sp>
              <p:nvSpPr>
                <p:cNvPr id="7949" name="Vrije vorm: vorm 7948">
                  <a:extLst>
                    <a:ext uri="{FF2B5EF4-FFF2-40B4-BE49-F238E27FC236}">
                      <a16:creationId xmlns:a16="http://schemas.microsoft.com/office/drawing/2014/main" id="{C765DF6E-891A-4701-B493-2FDF9C47EC33}"/>
                    </a:ext>
                  </a:extLst>
                </p:cNvPr>
                <p:cNvSpPr/>
                <p:nvPr/>
              </p:nvSpPr>
              <p:spPr>
                <a:xfrm>
                  <a:off x="5586612" y="5354759"/>
                  <a:ext cx="5502" cy="956"/>
                </a:xfrm>
                <a:custGeom>
                  <a:avLst/>
                  <a:gdLst>
                    <a:gd name="connsiteX0" fmla="*/ 5502 w 5502"/>
                    <a:gd name="connsiteY0" fmla="*/ 957 h 956"/>
                    <a:gd name="connsiteX1" fmla="*/ 4785 w 5502"/>
                    <a:gd name="connsiteY1" fmla="*/ 897 h 956"/>
                    <a:gd name="connsiteX2" fmla="*/ 3648 w 5502"/>
                    <a:gd name="connsiteY2" fmla="*/ 778 h 956"/>
                    <a:gd name="connsiteX3" fmla="*/ 778 w 5502"/>
                    <a:gd name="connsiteY3" fmla="*/ 479 h 956"/>
                    <a:gd name="connsiteX4" fmla="*/ 538 w 5502"/>
                    <a:gd name="connsiteY4" fmla="*/ 479 h 956"/>
                    <a:gd name="connsiteX5" fmla="*/ 478 w 5502"/>
                    <a:gd name="connsiteY5" fmla="*/ 479 h 956"/>
                    <a:gd name="connsiteX6" fmla="*/ 0 w 5502"/>
                    <a:gd name="connsiteY6" fmla="*/ 0 h 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2" h="956">
                      <a:moveTo>
                        <a:pt x="5502" y="957"/>
                      </a:moveTo>
                      <a:lnTo>
                        <a:pt x="4785" y="897"/>
                      </a:lnTo>
                      <a:lnTo>
                        <a:pt x="3648" y="778"/>
                      </a:lnTo>
                      <a:lnTo>
                        <a:pt x="778" y="479"/>
                      </a:lnTo>
                      <a:lnTo>
                        <a:pt x="538" y="479"/>
                      </a:lnTo>
                      <a:lnTo>
                        <a:pt x="478" y="47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50" name="Vrije vorm: vorm 7949">
                  <a:extLst>
                    <a:ext uri="{FF2B5EF4-FFF2-40B4-BE49-F238E27FC236}">
                      <a16:creationId xmlns:a16="http://schemas.microsoft.com/office/drawing/2014/main" id="{18CA48BC-BEF4-41D0-8F73-D957FDA00EA1}"/>
                    </a:ext>
                  </a:extLst>
                </p:cNvPr>
                <p:cNvSpPr/>
                <p:nvPr/>
              </p:nvSpPr>
              <p:spPr>
                <a:xfrm>
                  <a:off x="5592652" y="5344832"/>
                  <a:ext cx="2631" cy="8851"/>
                </a:xfrm>
                <a:custGeom>
                  <a:avLst/>
                  <a:gdLst>
                    <a:gd name="connsiteX0" fmla="*/ 2632 w 2631"/>
                    <a:gd name="connsiteY0" fmla="*/ 0 h 8851"/>
                    <a:gd name="connsiteX1" fmla="*/ 1316 w 2631"/>
                    <a:gd name="connsiteY1" fmla="*/ 957 h 8851"/>
                    <a:gd name="connsiteX2" fmla="*/ 0 w 2631"/>
                    <a:gd name="connsiteY2" fmla="*/ 2213 h 8851"/>
                    <a:gd name="connsiteX3" fmla="*/ 479 w 2631"/>
                    <a:gd name="connsiteY3" fmla="*/ 2691 h 8851"/>
                    <a:gd name="connsiteX4" fmla="*/ 538 w 2631"/>
                    <a:gd name="connsiteY4" fmla="*/ 3588 h 8851"/>
                    <a:gd name="connsiteX5" fmla="*/ 837 w 2631"/>
                    <a:gd name="connsiteY5" fmla="*/ 7057 h 8851"/>
                    <a:gd name="connsiteX6" fmla="*/ 897 w 2631"/>
                    <a:gd name="connsiteY6" fmla="*/ 8014 h 8851"/>
                    <a:gd name="connsiteX7" fmla="*/ 957 w 2631"/>
                    <a:gd name="connsiteY7" fmla="*/ 8851 h 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1" h="8851">
                      <a:moveTo>
                        <a:pt x="2632" y="0"/>
                      </a:moveTo>
                      <a:lnTo>
                        <a:pt x="1316" y="957"/>
                      </a:lnTo>
                      <a:lnTo>
                        <a:pt x="0" y="2213"/>
                      </a:lnTo>
                      <a:lnTo>
                        <a:pt x="479" y="2691"/>
                      </a:lnTo>
                      <a:lnTo>
                        <a:pt x="538" y="3588"/>
                      </a:lnTo>
                      <a:lnTo>
                        <a:pt x="837" y="7057"/>
                      </a:lnTo>
                      <a:lnTo>
                        <a:pt x="897" y="8014"/>
                      </a:lnTo>
                      <a:lnTo>
                        <a:pt x="957" y="8851"/>
                      </a:lnTo>
                    </a:path>
                  </a:pathLst>
                </a:custGeom>
                <a:noFill/>
                <a:ln w="6350" cap="flat">
                  <a:solidFill>
                    <a:schemeClr val="bg1">
                      <a:alpha val="80000"/>
                    </a:schemeClr>
                  </a:solidFill>
                  <a:prstDash val="solid"/>
                  <a:miter/>
                </a:ln>
              </p:spPr>
              <p:txBody>
                <a:bodyPr rtlCol="0" anchor="ctr"/>
                <a:lstStyle/>
                <a:p>
                  <a:endParaRPr lang="en-GB"/>
                </a:p>
              </p:txBody>
            </p:sp>
            <p:sp>
              <p:nvSpPr>
                <p:cNvPr id="7951" name="Vrije vorm: vorm 7950">
                  <a:extLst>
                    <a:ext uri="{FF2B5EF4-FFF2-40B4-BE49-F238E27FC236}">
                      <a16:creationId xmlns:a16="http://schemas.microsoft.com/office/drawing/2014/main" id="{62EDAF0E-74C5-4949-B907-B31C39868B21}"/>
                    </a:ext>
                  </a:extLst>
                </p:cNvPr>
                <p:cNvSpPr/>
                <p:nvPr/>
              </p:nvSpPr>
              <p:spPr>
                <a:xfrm>
                  <a:off x="5595762" y="5342559"/>
                  <a:ext cx="6459" cy="2750"/>
                </a:xfrm>
                <a:custGeom>
                  <a:avLst/>
                  <a:gdLst>
                    <a:gd name="connsiteX0" fmla="*/ 6459 w 6459"/>
                    <a:gd name="connsiteY0" fmla="*/ 0 h 2750"/>
                    <a:gd name="connsiteX1" fmla="*/ 5682 w 6459"/>
                    <a:gd name="connsiteY1" fmla="*/ 60 h 2750"/>
                    <a:gd name="connsiteX2" fmla="*/ 5203 w 6459"/>
                    <a:gd name="connsiteY2" fmla="*/ 119 h 2750"/>
                    <a:gd name="connsiteX3" fmla="*/ 5203 w 6459"/>
                    <a:gd name="connsiteY3" fmla="*/ 119 h 2750"/>
                    <a:gd name="connsiteX4" fmla="*/ 4844 w 6459"/>
                    <a:gd name="connsiteY4" fmla="*/ 179 h 2750"/>
                    <a:gd name="connsiteX5" fmla="*/ 3349 w 6459"/>
                    <a:gd name="connsiteY5" fmla="*/ 837 h 2750"/>
                    <a:gd name="connsiteX6" fmla="*/ 1854 w 6459"/>
                    <a:gd name="connsiteY6" fmla="*/ 1435 h 2750"/>
                    <a:gd name="connsiteX7" fmla="*/ 0 w 6459"/>
                    <a:gd name="connsiteY7" fmla="*/ 2751 h 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9" h="2750">
                      <a:moveTo>
                        <a:pt x="6459" y="0"/>
                      </a:moveTo>
                      <a:lnTo>
                        <a:pt x="5682" y="60"/>
                      </a:lnTo>
                      <a:lnTo>
                        <a:pt x="5203" y="119"/>
                      </a:lnTo>
                      <a:lnTo>
                        <a:pt x="5203" y="119"/>
                      </a:lnTo>
                      <a:lnTo>
                        <a:pt x="4844" y="179"/>
                      </a:lnTo>
                      <a:lnTo>
                        <a:pt x="3349" y="837"/>
                      </a:lnTo>
                      <a:lnTo>
                        <a:pt x="1854" y="1435"/>
                      </a:lnTo>
                      <a:lnTo>
                        <a:pt x="0" y="2751"/>
                      </a:lnTo>
                    </a:path>
                  </a:pathLst>
                </a:custGeom>
                <a:noFill/>
                <a:ln w="6350" cap="flat">
                  <a:solidFill>
                    <a:schemeClr val="bg1">
                      <a:alpha val="80000"/>
                    </a:schemeClr>
                  </a:solidFill>
                  <a:prstDash val="solid"/>
                  <a:miter/>
                </a:ln>
              </p:spPr>
              <p:txBody>
                <a:bodyPr rtlCol="0" anchor="ctr"/>
                <a:lstStyle/>
                <a:p>
                  <a:endParaRPr lang="en-GB"/>
                </a:p>
              </p:txBody>
            </p:sp>
            <p:sp>
              <p:nvSpPr>
                <p:cNvPr id="7952" name="Vrije vorm: vorm 7951">
                  <a:extLst>
                    <a:ext uri="{FF2B5EF4-FFF2-40B4-BE49-F238E27FC236}">
                      <a16:creationId xmlns:a16="http://schemas.microsoft.com/office/drawing/2014/main" id="{AB2F8D6F-FBD6-48E6-B0C1-ACDD959105E7}"/>
                    </a:ext>
                  </a:extLst>
                </p:cNvPr>
                <p:cNvSpPr/>
                <p:nvPr/>
              </p:nvSpPr>
              <p:spPr>
                <a:xfrm>
                  <a:off x="5595284" y="5344832"/>
                  <a:ext cx="1016" cy="6638"/>
                </a:xfrm>
                <a:custGeom>
                  <a:avLst/>
                  <a:gdLst>
                    <a:gd name="connsiteX0" fmla="*/ 1017 w 1016"/>
                    <a:gd name="connsiteY0" fmla="*/ 6639 h 6638"/>
                    <a:gd name="connsiteX1" fmla="*/ 718 w 1016"/>
                    <a:gd name="connsiteY1" fmla="*/ 3170 h 6638"/>
                    <a:gd name="connsiteX2" fmla="*/ 479 w 1016"/>
                    <a:gd name="connsiteY2" fmla="*/ 478 h 6638"/>
                    <a:gd name="connsiteX3" fmla="*/ 0 w 1016"/>
                    <a:gd name="connsiteY3" fmla="*/ 0 h 6638"/>
                    <a:gd name="connsiteX4" fmla="*/ 299 w 1016"/>
                    <a:gd name="connsiteY4" fmla="*/ 3469 h 6638"/>
                    <a:gd name="connsiteX5" fmla="*/ 538 w 1016"/>
                    <a:gd name="connsiteY5" fmla="*/ 6160 h 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6" h="6638">
                      <a:moveTo>
                        <a:pt x="1017" y="6639"/>
                      </a:moveTo>
                      <a:lnTo>
                        <a:pt x="718" y="3170"/>
                      </a:lnTo>
                      <a:lnTo>
                        <a:pt x="479" y="478"/>
                      </a:lnTo>
                      <a:lnTo>
                        <a:pt x="0" y="0"/>
                      </a:lnTo>
                      <a:lnTo>
                        <a:pt x="299" y="3469"/>
                      </a:lnTo>
                      <a:lnTo>
                        <a:pt x="538" y="6160"/>
                      </a:lnTo>
                    </a:path>
                  </a:pathLst>
                </a:custGeom>
                <a:noFill/>
                <a:ln w="6350" cap="flat">
                  <a:solidFill>
                    <a:schemeClr val="bg1">
                      <a:alpha val="80000"/>
                    </a:schemeClr>
                  </a:solidFill>
                  <a:prstDash val="solid"/>
                  <a:miter/>
                </a:ln>
              </p:spPr>
              <p:txBody>
                <a:bodyPr rtlCol="0" anchor="ctr"/>
                <a:lstStyle/>
                <a:p>
                  <a:endParaRPr lang="en-GB"/>
                </a:p>
              </p:txBody>
            </p:sp>
            <p:sp>
              <p:nvSpPr>
                <p:cNvPr id="7953" name="Vrije vorm: vorm 7952">
                  <a:extLst>
                    <a:ext uri="{FF2B5EF4-FFF2-40B4-BE49-F238E27FC236}">
                      <a16:creationId xmlns:a16="http://schemas.microsoft.com/office/drawing/2014/main" id="{E8DC1E6C-26FB-4371-AA8A-B0FD31DCEE35}"/>
                    </a:ext>
                  </a:extLst>
                </p:cNvPr>
                <p:cNvSpPr/>
                <p:nvPr/>
              </p:nvSpPr>
              <p:spPr>
                <a:xfrm>
                  <a:off x="5598155" y="5342140"/>
                  <a:ext cx="4066" cy="8552"/>
                </a:xfrm>
                <a:custGeom>
                  <a:avLst/>
                  <a:gdLst>
                    <a:gd name="connsiteX0" fmla="*/ 3588 w 4066"/>
                    <a:gd name="connsiteY0" fmla="*/ 0 h 8552"/>
                    <a:gd name="connsiteX1" fmla="*/ 4067 w 4066"/>
                    <a:gd name="connsiteY1" fmla="*/ 478 h 8552"/>
                    <a:gd name="connsiteX2" fmla="*/ 3469 w 4066"/>
                    <a:gd name="connsiteY2" fmla="*/ 1674 h 8552"/>
                    <a:gd name="connsiteX3" fmla="*/ 3469 w 4066"/>
                    <a:gd name="connsiteY3" fmla="*/ 1674 h 8552"/>
                    <a:gd name="connsiteX4" fmla="*/ 2093 w 4066"/>
                    <a:gd name="connsiteY4" fmla="*/ 4426 h 8552"/>
                    <a:gd name="connsiteX5" fmla="*/ 299 w 4066"/>
                    <a:gd name="connsiteY5" fmla="*/ 7954 h 8552"/>
                    <a:gd name="connsiteX6" fmla="*/ 179 w 4066"/>
                    <a:gd name="connsiteY6" fmla="*/ 8194 h 8552"/>
                    <a:gd name="connsiteX7" fmla="*/ 0 w 4066"/>
                    <a:gd name="connsiteY7" fmla="*/ 8552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6" h="8552">
                      <a:moveTo>
                        <a:pt x="3588" y="0"/>
                      </a:moveTo>
                      <a:lnTo>
                        <a:pt x="4067" y="478"/>
                      </a:lnTo>
                      <a:lnTo>
                        <a:pt x="3469" y="1674"/>
                      </a:lnTo>
                      <a:lnTo>
                        <a:pt x="3469" y="1674"/>
                      </a:lnTo>
                      <a:lnTo>
                        <a:pt x="2093" y="4426"/>
                      </a:lnTo>
                      <a:lnTo>
                        <a:pt x="299" y="7954"/>
                      </a:lnTo>
                      <a:lnTo>
                        <a:pt x="179" y="8194"/>
                      </a:lnTo>
                      <a:lnTo>
                        <a:pt x="0" y="8552"/>
                      </a:lnTo>
                    </a:path>
                  </a:pathLst>
                </a:custGeom>
                <a:noFill/>
                <a:ln w="6350" cap="flat">
                  <a:solidFill>
                    <a:schemeClr val="bg1">
                      <a:alpha val="80000"/>
                    </a:schemeClr>
                  </a:solidFill>
                  <a:prstDash val="solid"/>
                  <a:miter/>
                </a:ln>
              </p:spPr>
              <p:txBody>
                <a:bodyPr rtlCol="0" anchor="ctr"/>
                <a:lstStyle/>
                <a:p>
                  <a:endParaRPr lang="en-GB"/>
                </a:p>
              </p:txBody>
            </p:sp>
            <p:sp>
              <p:nvSpPr>
                <p:cNvPr id="7954" name="Vrije vorm: vorm 7953">
                  <a:extLst>
                    <a:ext uri="{FF2B5EF4-FFF2-40B4-BE49-F238E27FC236}">
                      <a16:creationId xmlns:a16="http://schemas.microsoft.com/office/drawing/2014/main" id="{8158D517-CBA8-4BFA-8CC3-D170BD9F720D}"/>
                    </a:ext>
                  </a:extLst>
                </p:cNvPr>
                <p:cNvSpPr/>
                <p:nvPr/>
              </p:nvSpPr>
              <p:spPr>
                <a:xfrm>
                  <a:off x="5601683" y="5342080"/>
                  <a:ext cx="1794" cy="298"/>
                </a:xfrm>
                <a:custGeom>
                  <a:avLst/>
                  <a:gdLst>
                    <a:gd name="connsiteX0" fmla="*/ 1794 w 1794"/>
                    <a:gd name="connsiteY0" fmla="*/ 299 h 298"/>
                    <a:gd name="connsiteX1" fmla="*/ 1017 w 1794"/>
                    <a:gd name="connsiteY1" fmla="*/ 0 h 298"/>
                    <a:gd name="connsiteX2" fmla="*/ 0 w 1794"/>
                    <a:gd name="connsiteY2" fmla="*/ 60 h 298"/>
                  </a:gdLst>
                  <a:ahLst/>
                  <a:cxnLst>
                    <a:cxn ang="0">
                      <a:pos x="connsiteX0" y="connsiteY0"/>
                    </a:cxn>
                    <a:cxn ang="0">
                      <a:pos x="connsiteX1" y="connsiteY1"/>
                    </a:cxn>
                    <a:cxn ang="0">
                      <a:pos x="connsiteX2" y="connsiteY2"/>
                    </a:cxn>
                  </a:cxnLst>
                  <a:rect l="l" t="t" r="r" b="b"/>
                  <a:pathLst>
                    <a:path w="1794" h="298">
                      <a:moveTo>
                        <a:pt x="1794" y="299"/>
                      </a:moveTo>
                      <a:lnTo>
                        <a:pt x="1017" y="0"/>
                      </a:lnTo>
                      <a:lnTo>
                        <a:pt x="0" y="60"/>
                      </a:lnTo>
                    </a:path>
                  </a:pathLst>
                </a:custGeom>
                <a:noFill/>
                <a:ln w="6350" cap="flat">
                  <a:solidFill>
                    <a:schemeClr val="bg1">
                      <a:alpha val="80000"/>
                    </a:schemeClr>
                  </a:solidFill>
                  <a:prstDash val="solid"/>
                  <a:miter/>
                </a:ln>
              </p:spPr>
              <p:txBody>
                <a:bodyPr rtlCol="0" anchor="ctr"/>
                <a:lstStyle/>
                <a:p>
                  <a:endParaRPr lang="en-GB"/>
                </a:p>
              </p:txBody>
            </p:sp>
            <p:sp>
              <p:nvSpPr>
                <p:cNvPr id="7955" name="Vrije vorm: vorm 7954">
                  <a:extLst>
                    <a:ext uri="{FF2B5EF4-FFF2-40B4-BE49-F238E27FC236}">
                      <a16:creationId xmlns:a16="http://schemas.microsoft.com/office/drawing/2014/main" id="{2A8B4809-B306-49DE-8A22-40564812C369}"/>
                    </a:ext>
                  </a:extLst>
                </p:cNvPr>
                <p:cNvSpPr/>
                <p:nvPr/>
              </p:nvSpPr>
              <p:spPr>
                <a:xfrm>
                  <a:off x="5600906" y="5342738"/>
                  <a:ext cx="6160" cy="11482"/>
                </a:xfrm>
                <a:custGeom>
                  <a:avLst/>
                  <a:gdLst>
                    <a:gd name="connsiteX0" fmla="*/ 120 w 6160"/>
                    <a:gd name="connsiteY0" fmla="*/ 11483 h 11482"/>
                    <a:gd name="connsiteX1" fmla="*/ 60 w 6160"/>
                    <a:gd name="connsiteY1" fmla="*/ 10646 h 11482"/>
                    <a:gd name="connsiteX2" fmla="*/ 0 w 6160"/>
                    <a:gd name="connsiteY2" fmla="*/ 9390 h 11482"/>
                    <a:gd name="connsiteX3" fmla="*/ 0 w 6160"/>
                    <a:gd name="connsiteY3" fmla="*/ 9390 h 11482"/>
                    <a:gd name="connsiteX4" fmla="*/ 0 w 6160"/>
                    <a:gd name="connsiteY4" fmla="*/ 9330 h 11482"/>
                    <a:gd name="connsiteX5" fmla="*/ 60 w 6160"/>
                    <a:gd name="connsiteY5" fmla="*/ 9270 h 11482"/>
                    <a:gd name="connsiteX6" fmla="*/ 60 w 6160"/>
                    <a:gd name="connsiteY6" fmla="*/ 9270 h 11482"/>
                    <a:gd name="connsiteX7" fmla="*/ 2871 w 6160"/>
                    <a:gd name="connsiteY7" fmla="*/ 6878 h 11482"/>
                    <a:gd name="connsiteX8" fmla="*/ 4545 w 6160"/>
                    <a:gd name="connsiteY8" fmla="*/ 5443 h 11482"/>
                    <a:gd name="connsiteX9" fmla="*/ 5084 w 6160"/>
                    <a:gd name="connsiteY9" fmla="*/ 4964 h 11482"/>
                    <a:gd name="connsiteX10" fmla="*/ 5861 w 6160"/>
                    <a:gd name="connsiteY10" fmla="*/ 4306 h 11482"/>
                    <a:gd name="connsiteX11" fmla="*/ 5861 w 6160"/>
                    <a:gd name="connsiteY11" fmla="*/ 4306 h 11482"/>
                    <a:gd name="connsiteX12" fmla="*/ 6160 w 6160"/>
                    <a:gd name="connsiteY12" fmla="*/ 4067 h 11482"/>
                    <a:gd name="connsiteX13" fmla="*/ 6100 w 6160"/>
                    <a:gd name="connsiteY13" fmla="*/ 3828 h 11482"/>
                    <a:gd name="connsiteX14" fmla="*/ 5742 w 6160"/>
                    <a:gd name="connsiteY14" fmla="*/ 2333 h 11482"/>
                    <a:gd name="connsiteX15" fmla="*/ 5144 w 6160"/>
                    <a:gd name="connsiteY15" fmla="*/ 1555 h 11482"/>
                    <a:gd name="connsiteX16" fmla="*/ 4366 w 6160"/>
                    <a:gd name="connsiteY16" fmla="*/ 538 h 11482"/>
                    <a:gd name="connsiteX17" fmla="*/ 3828 w 6160"/>
                    <a:gd name="connsiteY17" fmla="*/ 299 h 11482"/>
                    <a:gd name="connsiteX18" fmla="*/ 3110 w 6160"/>
                    <a:gd name="connsiteY18" fmla="*/ 0 h 1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60" h="11482">
                      <a:moveTo>
                        <a:pt x="120" y="11483"/>
                      </a:moveTo>
                      <a:lnTo>
                        <a:pt x="60" y="10646"/>
                      </a:lnTo>
                      <a:lnTo>
                        <a:pt x="0" y="9390"/>
                      </a:lnTo>
                      <a:lnTo>
                        <a:pt x="0" y="9390"/>
                      </a:lnTo>
                      <a:lnTo>
                        <a:pt x="0" y="9330"/>
                      </a:lnTo>
                      <a:lnTo>
                        <a:pt x="60" y="9270"/>
                      </a:lnTo>
                      <a:lnTo>
                        <a:pt x="60" y="9270"/>
                      </a:lnTo>
                      <a:lnTo>
                        <a:pt x="2871" y="6878"/>
                      </a:lnTo>
                      <a:lnTo>
                        <a:pt x="4545" y="5443"/>
                      </a:lnTo>
                      <a:lnTo>
                        <a:pt x="5084" y="4964"/>
                      </a:lnTo>
                      <a:lnTo>
                        <a:pt x="5861" y="4306"/>
                      </a:lnTo>
                      <a:lnTo>
                        <a:pt x="5861" y="4306"/>
                      </a:lnTo>
                      <a:lnTo>
                        <a:pt x="6160" y="4067"/>
                      </a:lnTo>
                      <a:lnTo>
                        <a:pt x="6100" y="3828"/>
                      </a:lnTo>
                      <a:lnTo>
                        <a:pt x="5742" y="2333"/>
                      </a:lnTo>
                      <a:lnTo>
                        <a:pt x="5144" y="1555"/>
                      </a:lnTo>
                      <a:lnTo>
                        <a:pt x="4366" y="538"/>
                      </a:lnTo>
                      <a:lnTo>
                        <a:pt x="3828" y="299"/>
                      </a:lnTo>
                      <a:lnTo>
                        <a:pt x="3110" y="0"/>
                      </a:lnTo>
                    </a:path>
                  </a:pathLst>
                </a:custGeom>
                <a:noFill/>
                <a:ln w="6350" cap="flat">
                  <a:solidFill>
                    <a:schemeClr val="bg1">
                      <a:alpha val="80000"/>
                    </a:schemeClr>
                  </a:solidFill>
                  <a:prstDash val="solid"/>
                  <a:miter/>
                </a:ln>
              </p:spPr>
              <p:txBody>
                <a:bodyPr rtlCol="0" anchor="ctr"/>
                <a:lstStyle/>
                <a:p>
                  <a:endParaRPr lang="en-GB"/>
                </a:p>
              </p:txBody>
            </p:sp>
            <p:sp>
              <p:nvSpPr>
                <p:cNvPr id="7956" name="Vrije vorm: vorm 7955">
                  <a:extLst>
                    <a:ext uri="{FF2B5EF4-FFF2-40B4-BE49-F238E27FC236}">
                      <a16:creationId xmlns:a16="http://schemas.microsoft.com/office/drawing/2014/main" id="{4459809C-4AFE-4AF5-BB6A-DB2587ACBA9A}"/>
                    </a:ext>
                  </a:extLst>
                </p:cNvPr>
                <p:cNvSpPr/>
                <p:nvPr/>
              </p:nvSpPr>
              <p:spPr>
                <a:xfrm>
                  <a:off x="5599410" y="5342319"/>
                  <a:ext cx="4605" cy="8552"/>
                </a:xfrm>
                <a:custGeom>
                  <a:avLst/>
                  <a:gdLst>
                    <a:gd name="connsiteX0" fmla="*/ 479 w 4605"/>
                    <a:gd name="connsiteY0" fmla="*/ 8552 h 8552"/>
                    <a:gd name="connsiteX1" fmla="*/ 957 w 4605"/>
                    <a:gd name="connsiteY1" fmla="*/ 7655 h 8552"/>
                    <a:gd name="connsiteX2" fmla="*/ 2572 w 4605"/>
                    <a:gd name="connsiteY2" fmla="*/ 4486 h 8552"/>
                    <a:gd name="connsiteX3" fmla="*/ 2572 w 4605"/>
                    <a:gd name="connsiteY3" fmla="*/ 4486 h 8552"/>
                    <a:gd name="connsiteX4" fmla="*/ 4366 w 4605"/>
                    <a:gd name="connsiteY4" fmla="*/ 957 h 8552"/>
                    <a:gd name="connsiteX5" fmla="*/ 4605 w 4605"/>
                    <a:gd name="connsiteY5" fmla="*/ 479 h 8552"/>
                    <a:gd name="connsiteX6" fmla="*/ 4127 w 4605"/>
                    <a:gd name="connsiteY6" fmla="*/ 0 h 8552"/>
                    <a:gd name="connsiteX7" fmla="*/ 2572 w 4605"/>
                    <a:gd name="connsiteY7" fmla="*/ 2990 h 8552"/>
                    <a:gd name="connsiteX8" fmla="*/ 2572 w 4605"/>
                    <a:gd name="connsiteY8" fmla="*/ 2990 h 8552"/>
                    <a:gd name="connsiteX9" fmla="*/ 957 w 4605"/>
                    <a:gd name="connsiteY9" fmla="*/ 6100 h 8552"/>
                    <a:gd name="connsiteX10" fmla="*/ 0 w 4605"/>
                    <a:gd name="connsiteY10" fmla="*/ 8014 h 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5" h="8552">
                      <a:moveTo>
                        <a:pt x="479" y="8552"/>
                      </a:moveTo>
                      <a:lnTo>
                        <a:pt x="957" y="7655"/>
                      </a:lnTo>
                      <a:lnTo>
                        <a:pt x="2572" y="4486"/>
                      </a:lnTo>
                      <a:lnTo>
                        <a:pt x="2572" y="4486"/>
                      </a:lnTo>
                      <a:lnTo>
                        <a:pt x="4366" y="957"/>
                      </a:lnTo>
                      <a:lnTo>
                        <a:pt x="4605" y="479"/>
                      </a:lnTo>
                      <a:lnTo>
                        <a:pt x="4127" y="0"/>
                      </a:lnTo>
                      <a:lnTo>
                        <a:pt x="2572" y="2990"/>
                      </a:lnTo>
                      <a:lnTo>
                        <a:pt x="2572" y="2990"/>
                      </a:lnTo>
                      <a:lnTo>
                        <a:pt x="957" y="6100"/>
                      </a:lnTo>
                      <a:lnTo>
                        <a:pt x="0" y="8014"/>
                      </a:lnTo>
                    </a:path>
                  </a:pathLst>
                </a:custGeom>
                <a:noFill/>
                <a:ln w="6350" cap="flat">
                  <a:solidFill>
                    <a:schemeClr val="bg1">
                      <a:alpha val="80000"/>
                    </a:schemeClr>
                  </a:solidFill>
                  <a:prstDash val="solid"/>
                  <a:miter/>
                </a:ln>
              </p:spPr>
              <p:txBody>
                <a:bodyPr rtlCol="0" anchor="ctr"/>
                <a:lstStyle/>
                <a:p>
                  <a:endParaRPr lang="en-GB"/>
                </a:p>
              </p:txBody>
            </p:sp>
            <p:sp>
              <p:nvSpPr>
                <p:cNvPr id="7957" name="Vrije vorm: vorm 7956">
                  <a:extLst>
                    <a:ext uri="{FF2B5EF4-FFF2-40B4-BE49-F238E27FC236}">
                      <a16:creationId xmlns:a16="http://schemas.microsoft.com/office/drawing/2014/main" id="{913F7B18-AB30-46B4-B9CE-E8B079805D17}"/>
                    </a:ext>
                  </a:extLst>
                </p:cNvPr>
                <p:cNvSpPr/>
                <p:nvPr/>
              </p:nvSpPr>
              <p:spPr>
                <a:xfrm>
                  <a:off x="5604016" y="5342200"/>
                  <a:ext cx="1256" cy="1136"/>
                </a:xfrm>
                <a:custGeom>
                  <a:avLst/>
                  <a:gdLst>
                    <a:gd name="connsiteX0" fmla="*/ 0 w 1256"/>
                    <a:gd name="connsiteY0" fmla="*/ 0 h 1136"/>
                    <a:gd name="connsiteX1" fmla="*/ 1256 w 1256"/>
                    <a:gd name="connsiteY1" fmla="*/ 1136 h 1136"/>
                  </a:gdLst>
                  <a:ahLst/>
                  <a:cxnLst>
                    <a:cxn ang="0">
                      <a:pos x="connsiteX0" y="connsiteY0"/>
                    </a:cxn>
                    <a:cxn ang="0">
                      <a:pos x="connsiteX1" y="connsiteY1"/>
                    </a:cxn>
                  </a:cxnLst>
                  <a:rect l="l" t="t" r="r" b="b"/>
                  <a:pathLst>
                    <a:path w="1256" h="1136">
                      <a:moveTo>
                        <a:pt x="0" y="0"/>
                      </a:moveTo>
                      <a:lnTo>
                        <a:pt x="1256" y="1136"/>
                      </a:lnTo>
                    </a:path>
                  </a:pathLst>
                </a:custGeom>
                <a:noFill/>
                <a:ln w="6350" cap="flat">
                  <a:solidFill>
                    <a:schemeClr val="bg1">
                      <a:alpha val="80000"/>
                    </a:schemeClr>
                  </a:solidFill>
                  <a:prstDash val="solid"/>
                  <a:miter/>
                </a:ln>
              </p:spPr>
              <p:txBody>
                <a:bodyPr rtlCol="0" anchor="ctr"/>
                <a:lstStyle/>
                <a:p>
                  <a:endParaRPr lang="en-GB"/>
                </a:p>
              </p:txBody>
            </p:sp>
            <p:sp>
              <p:nvSpPr>
                <p:cNvPr id="7958" name="Vrije vorm: vorm 7957">
                  <a:extLst>
                    <a:ext uri="{FF2B5EF4-FFF2-40B4-BE49-F238E27FC236}">
                      <a16:creationId xmlns:a16="http://schemas.microsoft.com/office/drawing/2014/main" id="{64E2E723-C96C-41FC-99BE-4FA78D9EC047}"/>
                    </a:ext>
                  </a:extLst>
                </p:cNvPr>
                <p:cNvSpPr/>
                <p:nvPr/>
              </p:nvSpPr>
              <p:spPr>
                <a:xfrm>
                  <a:off x="5598753" y="5347104"/>
                  <a:ext cx="8433" cy="12798"/>
                </a:xfrm>
                <a:custGeom>
                  <a:avLst/>
                  <a:gdLst>
                    <a:gd name="connsiteX0" fmla="*/ 7954 w 8433"/>
                    <a:gd name="connsiteY0" fmla="*/ 0 h 12798"/>
                    <a:gd name="connsiteX1" fmla="*/ 7954 w 8433"/>
                    <a:gd name="connsiteY1" fmla="*/ 0 h 12798"/>
                    <a:gd name="connsiteX2" fmla="*/ 8014 w 8433"/>
                    <a:gd name="connsiteY2" fmla="*/ 180 h 12798"/>
                    <a:gd name="connsiteX3" fmla="*/ 7954 w 8433"/>
                    <a:gd name="connsiteY3" fmla="*/ 1436 h 12798"/>
                    <a:gd name="connsiteX4" fmla="*/ 8433 w 8433"/>
                    <a:gd name="connsiteY4" fmla="*/ 1914 h 12798"/>
                    <a:gd name="connsiteX5" fmla="*/ 8433 w 8433"/>
                    <a:gd name="connsiteY5" fmla="*/ 2093 h 12798"/>
                    <a:gd name="connsiteX6" fmla="*/ 8313 w 8433"/>
                    <a:gd name="connsiteY6" fmla="*/ 3947 h 12798"/>
                    <a:gd name="connsiteX7" fmla="*/ 8313 w 8433"/>
                    <a:gd name="connsiteY7" fmla="*/ 3947 h 12798"/>
                    <a:gd name="connsiteX8" fmla="*/ 8313 w 8433"/>
                    <a:gd name="connsiteY8" fmla="*/ 4007 h 12798"/>
                    <a:gd name="connsiteX9" fmla="*/ 7356 w 8433"/>
                    <a:gd name="connsiteY9" fmla="*/ 7715 h 12798"/>
                    <a:gd name="connsiteX10" fmla="*/ 7237 w 8433"/>
                    <a:gd name="connsiteY10" fmla="*/ 8014 h 12798"/>
                    <a:gd name="connsiteX11" fmla="*/ 7177 w 8433"/>
                    <a:gd name="connsiteY11" fmla="*/ 8134 h 12798"/>
                    <a:gd name="connsiteX12" fmla="*/ 6399 w 8433"/>
                    <a:gd name="connsiteY12" fmla="*/ 9928 h 12798"/>
                    <a:gd name="connsiteX13" fmla="*/ 5742 w 8433"/>
                    <a:gd name="connsiteY13" fmla="*/ 9868 h 12798"/>
                    <a:gd name="connsiteX14" fmla="*/ 4725 w 8433"/>
                    <a:gd name="connsiteY14" fmla="*/ 9749 h 12798"/>
                    <a:gd name="connsiteX15" fmla="*/ 4545 w 8433"/>
                    <a:gd name="connsiteY15" fmla="*/ 9749 h 12798"/>
                    <a:gd name="connsiteX16" fmla="*/ 3289 w 8433"/>
                    <a:gd name="connsiteY16" fmla="*/ 9629 h 12798"/>
                    <a:gd name="connsiteX17" fmla="*/ 3170 w 8433"/>
                    <a:gd name="connsiteY17" fmla="*/ 9629 h 12798"/>
                    <a:gd name="connsiteX18" fmla="*/ 1675 w 8433"/>
                    <a:gd name="connsiteY18" fmla="*/ 9510 h 12798"/>
                    <a:gd name="connsiteX19" fmla="*/ 837 w 8433"/>
                    <a:gd name="connsiteY19" fmla="*/ 11184 h 12798"/>
                    <a:gd name="connsiteX20" fmla="*/ 419 w 8433"/>
                    <a:gd name="connsiteY20" fmla="*/ 11902 h 12798"/>
                    <a:gd name="connsiteX21" fmla="*/ 180 w 8433"/>
                    <a:gd name="connsiteY21" fmla="*/ 12380 h 12798"/>
                    <a:gd name="connsiteX22" fmla="*/ 0 w 8433"/>
                    <a:gd name="connsiteY22" fmla="*/ 12799 h 1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433" h="12798">
                      <a:moveTo>
                        <a:pt x="7954" y="0"/>
                      </a:moveTo>
                      <a:lnTo>
                        <a:pt x="7954" y="0"/>
                      </a:lnTo>
                      <a:lnTo>
                        <a:pt x="8014" y="180"/>
                      </a:lnTo>
                      <a:lnTo>
                        <a:pt x="7954" y="1436"/>
                      </a:lnTo>
                      <a:lnTo>
                        <a:pt x="8433" y="1914"/>
                      </a:lnTo>
                      <a:lnTo>
                        <a:pt x="8433" y="2093"/>
                      </a:lnTo>
                      <a:lnTo>
                        <a:pt x="8313" y="3947"/>
                      </a:lnTo>
                      <a:lnTo>
                        <a:pt x="8313" y="3947"/>
                      </a:lnTo>
                      <a:lnTo>
                        <a:pt x="8313" y="4007"/>
                      </a:lnTo>
                      <a:lnTo>
                        <a:pt x="7356" y="7715"/>
                      </a:lnTo>
                      <a:lnTo>
                        <a:pt x="7237" y="8014"/>
                      </a:lnTo>
                      <a:lnTo>
                        <a:pt x="7177" y="8134"/>
                      </a:lnTo>
                      <a:lnTo>
                        <a:pt x="6399" y="9928"/>
                      </a:lnTo>
                      <a:lnTo>
                        <a:pt x="5742" y="9868"/>
                      </a:lnTo>
                      <a:lnTo>
                        <a:pt x="4725" y="9749"/>
                      </a:lnTo>
                      <a:lnTo>
                        <a:pt x="4545" y="9749"/>
                      </a:lnTo>
                      <a:lnTo>
                        <a:pt x="3289" y="9629"/>
                      </a:lnTo>
                      <a:lnTo>
                        <a:pt x="3170" y="9629"/>
                      </a:lnTo>
                      <a:lnTo>
                        <a:pt x="1675" y="9510"/>
                      </a:lnTo>
                      <a:lnTo>
                        <a:pt x="837" y="11184"/>
                      </a:lnTo>
                      <a:lnTo>
                        <a:pt x="419" y="11902"/>
                      </a:lnTo>
                      <a:lnTo>
                        <a:pt x="180" y="12380"/>
                      </a:lnTo>
                      <a:lnTo>
                        <a:pt x="0" y="12799"/>
                      </a:lnTo>
                    </a:path>
                  </a:pathLst>
                </a:custGeom>
                <a:noFill/>
                <a:ln w="6350" cap="flat">
                  <a:solidFill>
                    <a:schemeClr val="bg1">
                      <a:alpha val="80000"/>
                    </a:schemeClr>
                  </a:solidFill>
                  <a:prstDash val="solid"/>
                  <a:miter/>
                </a:ln>
              </p:spPr>
              <p:txBody>
                <a:bodyPr rtlCol="0" anchor="ctr"/>
                <a:lstStyle/>
                <a:p>
                  <a:endParaRPr lang="en-GB"/>
                </a:p>
              </p:txBody>
            </p:sp>
            <p:sp>
              <p:nvSpPr>
                <p:cNvPr id="7959" name="Vrije vorm: vorm 7958">
                  <a:extLst>
                    <a:ext uri="{FF2B5EF4-FFF2-40B4-BE49-F238E27FC236}">
                      <a16:creationId xmlns:a16="http://schemas.microsoft.com/office/drawing/2014/main" id="{DCA698DD-2DCF-47C1-9F57-2A547C807708}"/>
                    </a:ext>
                  </a:extLst>
                </p:cNvPr>
                <p:cNvSpPr/>
                <p:nvPr/>
              </p:nvSpPr>
              <p:spPr>
                <a:xfrm>
                  <a:off x="5591576" y="5322583"/>
                  <a:ext cx="11363" cy="17164"/>
                </a:xfrm>
                <a:custGeom>
                  <a:avLst/>
                  <a:gdLst>
                    <a:gd name="connsiteX0" fmla="*/ 0 w 11363"/>
                    <a:gd name="connsiteY0" fmla="*/ 17165 h 17164"/>
                    <a:gd name="connsiteX1" fmla="*/ 120 w 11363"/>
                    <a:gd name="connsiteY1" fmla="*/ 16866 h 17164"/>
                    <a:gd name="connsiteX2" fmla="*/ 239 w 11363"/>
                    <a:gd name="connsiteY2" fmla="*/ 16567 h 17164"/>
                    <a:gd name="connsiteX3" fmla="*/ 239 w 11363"/>
                    <a:gd name="connsiteY3" fmla="*/ 16567 h 17164"/>
                    <a:gd name="connsiteX4" fmla="*/ 1974 w 11363"/>
                    <a:gd name="connsiteY4" fmla="*/ 13158 h 17164"/>
                    <a:gd name="connsiteX5" fmla="*/ 3768 w 11363"/>
                    <a:gd name="connsiteY5" fmla="*/ 9629 h 17164"/>
                    <a:gd name="connsiteX6" fmla="*/ 4665 w 11363"/>
                    <a:gd name="connsiteY6" fmla="*/ 7835 h 17164"/>
                    <a:gd name="connsiteX7" fmla="*/ 7177 w 11363"/>
                    <a:gd name="connsiteY7" fmla="*/ 4904 h 17164"/>
                    <a:gd name="connsiteX8" fmla="*/ 9689 w 11363"/>
                    <a:gd name="connsiteY8" fmla="*/ 1974 h 17164"/>
                    <a:gd name="connsiteX9" fmla="*/ 11364 w 11363"/>
                    <a:gd name="connsiteY9" fmla="*/ 0 h 1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63" h="17164">
                      <a:moveTo>
                        <a:pt x="0" y="17165"/>
                      </a:moveTo>
                      <a:lnTo>
                        <a:pt x="120" y="16866"/>
                      </a:lnTo>
                      <a:lnTo>
                        <a:pt x="239" y="16567"/>
                      </a:lnTo>
                      <a:lnTo>
                        <a:pt x="239" y="16567"/>
                      </a:lnTo>
                      <a:lnTo>
                        <a:pt x="1974" y="13158"/>
                      </a:lnTo>
                      <a:lnTo>
                        <a:pt x="3768" y="9629"/>
                      </a:lnTo>
                      <a:lnTo>
                        <a:pt x="4665" y="7835"/>
                      </a:lnTo>
                      <a:lnTo>
                        <a:pt x="7177" y="4904"/>
                      </a:lnTo>
                      <a:lnTo>
                        <a:pt x="9689" y="1974"/>
                      </a:lnTo>
                      <a:lnTo>
                        <a:pt x="11364" y="0"/>
                      </a:lnTo>
                    </a:path>
                  </a:pathLst>
                </a:custGeom>
                <a:noFill/>
                <a:ln w="6350" cap="flat">
                  <a:solidFill>
                    <a:schemeClr val="bg1">
                      <a:alpha val="80000"/>
                    </a:schemeClr>
                  </a:solidFill>
                  <a:prstDash val="solid"/>
                  <a:miter/>
                </a:ln>
              </p:spPr>
              <p:txBody>
                <a:bodyPr rtlCol="0" anchor="ctr"/>
                <a:lstStyle/>
                <a:p>
                  <a:endParaRPr lang="en-GB"/>
                </a:p>
              </p:txBody>
            </p:sp>
            <p:sp>
              <p:nvSpPr>
                <p:cNvPr id="7960" name="Vrije vorm: vorm 7959">
                  <a:extLst>
                    <a:ext uri="{FF2B5EF4-FFF2-40B4-BE49-F238E27FC236}">
                      <a16:creationId xmlns:a16="http://schemas.microsoft.com/office/drawing/2014/main" id="{EFB1647C-71A6-4192-B628-F4BDB99B2E48}"/>
                    </a:ext>
                  </a:extLst>
                </p:cNvPr>
                <p:cNvSpPr/>
                <p:nvPr/>
              </p:nvSpPr>
              <p:spPr>
                <a:xfrm>
                  <a:off x="5608501" y="5325573"/>
                  <a:ext cx="8552" cy="20992"/>
                </a:xfrm>
                <a:custGeom>
                  <a:avLst/>
                  <a:gdLst>
                    <a:gd name="connsiteX0" fmla="*/ 8552 w 8552"/>
                    <a:gd name="connsiteY0" fmla="*/ 0 h 20992"/>
                    <a:gd name="connsiteX1" fmla="*/ 7596 w 8552"/>
                    <a:gd name="connsiteY1" fmla="*/ 3768 h 20992"/>
                    <a:gd name="connsiteX2" fmla="*/ 6639 w 8552"/>
                    <a:gd name="connsiteY2" fmla="*/ 7536 h 20992"/>
                    <a:gd name="connsiteX3" fmla="*/ 6459 w 8552"/>
                    <a:gd name="connsiteY3" fmla="*/ 8253 h 20992"/>
                    <a:gd name="connsiteX4" fmla="*/ 4665 w 8552"/>
                    <a:gd name="connsiteY4" fmla="*/ 11782 h 20992"/>
                    <a:gd name="connsiteX5" fmla="*/ 2871 w 8552"/>
                    <a:gd name="connsiteY5" fmla="*/ 15311 h 20992"/>
                    <a:gd name="connsiteX6" fmla="*/ 2333 w 8552"/>
                    <a:gd name="connsiteY6" fmla="*/ 16387 h 20992"/>
                    <a:gd name="connsiteX7" fmla="*/ 538 w 8552"/>
                    <a:gd name="connsiteY7" fmla="*/ 19916 h 20992"/>
                    <a:gd name="connsiteX8" fmla="*/ 0 w 8552"/>
                    <a:gd name="connsiteY8" fmla="*/ 20992 h 2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2" h="20992">
                      <a:moveTo>
                        <a:pt x="8552" y="0"/>
                      </a:moveTo>
                      <a:lnTo>
                        <a:pt x="7596" y="3768"/>
                      </a:lnTo>
                      <a:lnTo>
                        <a:pt x="6639" y="7536"/>
                      </a:lnTo>
                      <a:lnTo>
                        <a:pt x="6459" y="8253"/>
                      </a:lnTo>
                      <a:lnTo>
                        <a:pt x="4665" y="11782"/>
                      </a:lnTo>
                      <a:lnTo>
                        <a:pt x="2871" y="15311"/>
                      </a:lnTo>
                      <a:lnTo>
                        <a:pt x="2333" y="16387"/>
                      </a:lnTo>
                      <a:lnTo>
                        <a:pt x="538" y="19916"/>
                      </a:lnTo>
                      <a:lnTo>
                        <a:pt x="0" y="20992"/>
                      </a:lnTo>
                    </a:path>
                  </a:pathLst>
                </a:custGeom>
                <a:noFill/>
                <a:ln w="6350" cap="flat">
                  <a:solidFill>
                    <a:schemeClr val="bg1">
                      <a:alpha val="80000"/>
                    </a:schemeClr>
                  </a:solidFill>
                  <a:prstDash val="solid"/>
                  <a:miter/>
                </a:ln>
              </p:spPr>
              <p:txBody>
                <a:bodyPr rtlCol="0" anchor="ctr"/>
                <a:lstStyle/>
                <a:p>
                  <a:endParaRPr lang="en-GB"/>
                </a:p>
              </p:txBody>
            </p:sp>
            <p:sp>
              <p:nvSpPr>
                <p:cNvPr id="7961" name="Vrije vorm: vorm 7960">
                  <a:extLst>
                    <a:ext uri="{FF2B5EF4-FFF2-40B4-BE49-F238E27FC236}">
                      <a16:creationId xmlns:a16="http://schemas.microsoft.com/office/drawing/2014/main" id="{4A328C02-D6BE-4DD0-8E4E-33F32FDCFAC0}"/>
                    </a:ext>
                  </a:extLst>
                </p:cNvPr>
                <p:cNvSpPr/>
                <p:nvPr/>
              </p:nvSpPr>
              <p:spPr>
                <a:xfrm>
                  <a:off x="5597257" y="5302548"/>
                  <a:ext cx="24521" cy="12080"/>
                </a:xfrm>
                <a:custGeom>
                  <a:avLst/>
                  <a:gdLst>
                    <a:gd name="connsiteX0" fmla="*/ 21291 w 24521"/>
                    <a:gd name="connsiteY0" fmla="*/ 9031 h 12080"/>
                    <a:gd name="connsiteX1" fmla="*/ 23444 w 24521"/>
                    <a:gd name="connsiteY1" fmla="*/ 10825 h 12080"/>
                    <a:gd name="connsiteX2" fmla="*/ 24521 w 24521"/>
                    <a:gd name="connsiteY2" fmla="*/ 11662 h 12080"/>
                    <a:gd name="connsiteX3" fmla="*/ 24342 w 24521"/>
                    <a:gd name="connsiteY3" fmla="*/ 12081 h 12080"/>
                    <a:gd name="connsiteX4" fmla="*/ 23265 w 24521"/>
                    <a:gd name="connsiteY4" fmla="*/ 11902 h 12080"/>
                    <a:gd name="connsiteX5" fmla="*/ 21471 w 24521"/>
                    <a:gd name="connsiteY5" fmla="*/ 11543 h 12080"/>
                    <a:gd name="connsiteX6" fmla="*/ 18660 w 24521"/>
                    <a:gd name="connsiteY6" fmla="*/ 11004 h 12080"/>
                    <a:gd name="connsiteX7" fmla="*/ 15849 w 24521"/>
                    <a:gd name="connsiteY7" fmla="*/ 10466 h 12080"/>
                    <a:gd name="connsiteX8" fmla="*/ 13038 w 24521"/>
                    <a:gd name="connsiteY8" fmla="*/ 9928 h 12080"/>
                    <a:gd name="connsiteX9" fmla="*/ 12560 w 24521"/>
                    <a:gd name="connsiteY9" fmla="*/ 9868 h 12080"/>
                    <a:gd name="connsiteX10" fmla="*/ 10885 w 24521"/>
                    <a:gd name="connsiteY10" fmla="*/ 9090 h 12080"/>
                    <a:gd name="connsiteX11" fmla="*/ 8732 w 24521"/>
                    <a:gd name="connsiteY11" fmla="*/ 7296 h 12080"/>
                    <a:gd name="connsiteX12" fmla="*/ 6579 w 24521"/>
                    <a:gd name="connsiteY12" fmla="*/ 5502 h 12080"/>
                    <a:gd name="connsiteX13" fmla="*/ 5323 w 24521"/>
                    <a:gd name="connsiteY13" fmla="*/ 4426 h 12080"/>
                    <a:gd name="connsiteX14" fmla="*/ 3170 w 24521"/>
                    <a:gd name="connsiteY14" fmla="*/ 2632 h 12080"/>
                    <a:gd name="connsiteX15" fmla="*/ 2930 w 24521"/>
                    <a:gd name="connsiteY15" fmla="*/ 2452 h 12080"/>
                    <a:gd name="connsiteX16" fmla="*/ 1794 w 24521"/>
                    <a:gd name="connsiteY16" fmla="*/ 1495 h 12080"/>
                    <a:gd name="connsiteX17" fmla="*/ 1555 w 24521"/>
                    <a:gd name="connsiteY17" fmla="*/ 1316 h 12080"/>
                    <a:gd name="connsiteX18" fmla="*/ 1555 w 24521"/>
                    <a:gd name="connsiteY18" fmla="*/ 1316 h 12080"/>
                    <a:gd name="connsiteX19" fmla="*/ 359 w 24521"/>
                    <a:gd name="connsiteY19" fmla="*/ 299 h 12080"/>
                    <a:gd name="connsiteX20" fmla="*/ 359 w 24521"/>
                    <a:gd name="connsiteY20" fmla="*/ 299 h 12080"/>
                    <a:gd name="connsiteX21" fmla="*/ 0 w 24521"/>
                    <a:gd name="connsiteY21" fmla="*/ 0 h 1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521" h="12080">
                      <a:moveTo>
                        <a:pt x="21291" y="9031"/>
                      </a:moveTo>
                      <a:lnTo>
                        <a:pt x="23444" y="10825"/>
                      </a:lnTo>
                      <a:lnTo>
                        <a:pt x="24521" y="11662"/>
                      </a:lnTo>
                      <a:lnTo>
                        <a:pt x="24342" y="12081"/>
                      </a:lnTo>
                      <a:lnTo>
                        <a:pt x="23265" y="11902"/>
                      </a:lnTo>
                      <a:lnTo>
                        <a:pt x="21471" y="11543"/>
                      </a:lnTo>
                      <a:lnTo>
                        <a:pt x="18660" y="11004"/>
                      </a:lnTo>
                      <a:lnTo>
                        <a:pt x="15849" y="10466"/>
                      </a:lnTo>
                      <a:lnTo>
                        <a:pt x="13038" y="9928"/>
                      </a:lnTo>
                      <a:lnTo>
                        <a:pt x="12560" y="9868"/>
                      </a:lnTo>
                      <a:lnTo>
                        <a:pt x="10885" y="9090"/>
                      </a:lnTo>
                      <a:lnTo>
                        <a:pt x="8732" y="7296"/>
                      </a:lnTo>
                      <a:lnTo>
                        <a:pt x="6579" y="5502"/>
                      </a:lnTo>
                      <a:lnTo>
                        <a:pt x="5323" y="4426"/>
                      </a:lnTo>
                      <a:lnTo>
                        <a:pt x="3170" y="2632"/>
                      </a:lnTo>
                      <a:lnTo>
                        <a:pt x="2930" y="2452"/>
                      </a:lnTo>
                      <a:lnTo>
                        <a:pt x="1794" y="1495"/>
                      </a:lnTo>
                      <a:lnTo>
                        <a:pt x="1555" y="1316"/>
                      </a:lnTo>
                      <a:lnTo>
                        <a:pt x="1555" y="1316"/>
                      </a:lnTo>
                      <a:lnTo>
                        <a:pt x="359" y="299"/>
                      </a:lnTo>
                      <a:lnTo>
                        <a:pt x="359" y="29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62" name="Vrije vorm: vorm 7961">
                  <a:extLst>
                    <a:ext uri="{FF2B5EF4-FFF2-40B4-BE49-F238E27FC236}">
                      <a16:creationId xmlns:a16="http://schemas.microsoft.com/office/drawing/2014/main" id="{3A76587F-498D-4876-A3A1-F3A72E598190}"/>
                    </a:ext>
                  </a:extLst>
                </p:cNvPr>
                <p:cNvSpPr/>
                <p:nvPr/>
              </p:nvSpPr>
              <p:spPr>
                <a:xfrm>
                  <a:off x="5602042" y="5305119"/>
                  <a:ext cx="15609" cy="7655"/>
                </a:xfrm>
                <a:custGeom>
                  <a:avLst/>
                  <a:gdLst>
                    <a:gd name="connsiteX0" fmla="*/ 0 w 15609"/>
                    <a:gd name="connsiteY0" fmla="*/ 0 h 7655"/>
                    <a:gd name="connsiteX1" fmla="*/ 0 w 15609"/>
                    <a:gd name="connsiteY1" fmla="*/ 299 h 7655"/>
                    <a:gd name="connsiteX2" fmla="*/ 0 w 15609"/>
                    <a:gd name="connsiteY2" fmla="*/ 299 h 7655"/>
                    <a:gd name="connsiteX3" fmla="*/ 0 w 15609"/>
                    <a:gd name="connsiteY3" fmla="*/ 658 h 7655"/>
                    <a:gd name="connsiteX4" fmla="*/ 598 w 15609"/>
                    <a:gd name="connsiteY4" fmla="*/ 1495 h 7655"/>
                    <a:gd name="connsiteX5" fmla="*/ 598 w 15609"/>
                    <a:gd name="connsiteY5" fmla="*/ 1495 h 7655"/>
                    <a:gd name="connsiteX6" fmla="*/ 1675 w 15609"/>
                    <a:gd name="connsiteY6" fmla="*/ 2452 h 7655"/>
                    <a:gd name="connsiteX7" fmla="*/ 3170 w 15609"/>
                    <a:gd name="connsiteY7" fmla="*/ 3528 h 7655"/>
                    <a:gd name="connsiteX8" fmla="*/ 5024 w 15609"/>
                    <a:gd name="connsiteY8" fmla="*/ 4605 h 7655"/>
                    <a:gd name="connsiteX9" fmla="*/ 7057 w 15609"/>
                    <a:gd name="connsiteY9" fmla="*/ 5622 h 7655"/>
                    <a:gd name="connsiteX10" fmla="*/ 9151 w 15609"/>
                    <a:gd name="connsiteY10" fmla="*/ 6459 h 7655"/>
                    <a:gd name="connsiteX11" fmla="*/ 11124 w 15609"/>
                    <a:gd name="connsiteY11" fmla="*/ 7117 h 7655"/>
                    <a:gd name="connsiteX12" fmla="*/ 12859 w 15609"/>
                    <a:gd name="connsiteY12" fmla="*/ 7536 h 7655"/>
                    <a:gd name="connsiteX13" fmla="*/ 14234 w 15609"/>
                    <a:gd name="connsiteY13" fmla="*/ 7655 h 7655"/>
                    <a:gd name="connsiteX14" fmla="*/ 14832 w 15609"/>
                    <a:gd name="connsiteY14" fmla="*/ 7536 h 7655"/>
                    <a:gd name="connsiteX15" fmla="*/ 15191 w 15609"/>
                    <a:gd name="connsiteY15" fmla="*/ 7476 h 7655"/>
                    <a:gd name="connsiteX16" fmla="*/ 15610 w 15609"/>
                    <a:gd name="connsiteY16" fmla="*/ 7057 h 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09" h="7655">
                      <a:moveTo>
                        <a:pt x="0" y="0"/>
                      </a:moveTo>
                      <a:lnTo>
                        <a:pt x="0" y="299"/>
                      </a:lnTo>
                      <a:lnTo>
                        <a:pt x="0" y="299"/>
                      </a:lnTo>
                      <a:lnTo>
                        <a:pt x="0" y="658"/>
                      </a:lnTo>
                      <a:lnTo>
                        <a:pt x="598" y="1495"/>
                      </a:lnTo>
                      <a:lnTo>
                        <a:pt x="598" y="1495"/>
                      </a:lnTo>
                      <a:lnTo>
                        <a:pt x="1675" y="2452"/>
                      </a:lnTo>
                      <a:lnTo>
                        <a:pt x="3170" y="3528"/>
                      </a:lnTo>
                      <a:lnTo>
                        <a:pt x="5024" y="4605"/>
                      </a:lnTo>
                      <a:lnTo>
                        <a:pt x="7057" y="5622"/>
                      </a:lnTo>
                      <a:lnTo>
                        <a:pt x="9151" y="6459"/>
                      </a:lnTo>
                      <a:lnTo>
                        <a:pt x="11124" y="7117"/>
                      </a:lnTo>
                      <a:lnTo>
                        <a:pt x="12859" y="7536"/>
                      </a:lnTo>
                      <a:lnTo>
                        <a:pt x="14234" y="7655"/>
                      </a:lnTo>
                      <a:lnTo>
                        <a:pt x="14832" y="7536"/>
                      </a:lnTo>
                      <a:lnTo>
                        <a:pt x="15191" y="7476"/>
                      </a:lnTo>
                      <a:lnTo>
                        <a:pt x="15610" y="7057"/>
                      </a:lnTo>
                    </a:path>
                  </a:pathLst>
                </a:custGeom>
                <a:noFill/>
                <a:ln w="6350" cap="flat">
                  <a:solidFill>
                    <a:schemeClr val="bg1">
                      <a:alpha val="80000"/>
                    </a:schemeClr>
                  </a:solidFill>
                  <a:prstDash val="solid"/>
                  <a:miter/>
                </a:ln>
              </p:spPr>
              <p:txBody>
                <a:bodyPr rtlCol="0" anchor="ctr"/>
                <a:lstStyle/>
                <a:p>
                  <a:endParaRPr lang="en-GB"/>
                </a:p>
              </p:txBody>
            </p:sp>
            <p:sp>
              <p:nvSpPr>
                <p:cNvPr id="7963" name="Vrije vorm: vorm 7962">
                  <a:extLst>
                    <a:ext uri="{FF2B5EF4-FFF2-40B4-BE49-F238E27FC236}">
                      <a16:creationId xmlns:a16="http://schemas.microsoft.com/office/drawing/2014/main" id="{83FA3465-0B24-4EA3-844A-10482A184F2D}"/>
                    </a:ext>
                  </a:extLst>
                </p:cNvPr>
                <p:cNvSpPr/>
                <p:nvPr/>
              </p:nvSpPr>
              <p:spPr>
                <a:xfrm>
                  <a:off x="5597317" y="5302607"/>
                  <a:ext cx="4246" cy="837"/>
                </a:xfrm>
                <a:custGeom>
                  <a:avLst/>
                  <a:gdLst>
                    <a:gd name="connsiteX0" fmla="*/ 4246 w 4246"/>
                    <a:gd name="connsiteY0" fmla="*/ 837 h 837"/>
                    <a:gd name="connsiteX1" fmla="*/ 4187 w 4246"/>
                    <a:gd name="connsiteY1" fmla="*/ 837 h 837"/>
                    <a:gd name="connsiteX2" fmla="*/ 1435 w 4246"/>
                    <a:gd name="connsiteY2" fmla="*/ 299 h 837"/>
                    <a:gd name="connsiteX3" fmla="*/ 0 w 4246"/>
                    <a:gd name="connsiteY3" fmla="*/ 0 h 837"/>
                    <a:gd name="connsiteX4" fmla="*/ 2751 w 4246"/>
                    <a:gd name="connsiteY4" fmla="*/ 538 h 837"/>
                    <a:gd name="connsiteX5" fmla="*/ 4246 w 4246"/>
                    <a:gd name="connsiteY5" fmla="*/ 837 h 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6" h="837">
                      <a:moveTo>
                        <a:pt x="4246" y="837"/>
                      </a:moveTo>
                      <a:lnTo>
                        <a:pt x="4187" y="837"/>
                      </a:lnTo>
                      <a:lnTo>
                        <a:pt x="1435" y="299"/>
                      </a:lnTo>
                      <a:lnTo>
                        <a:pt x="0" y="0"/>
                      </a:lnTo>
                      <a:lnTo>
                        <a:pt x="2751" y="538"/>
                      </a:lnTo>
                      <a:lnTo>
                        <a:pt x="4246" y="837"/>
                      </a:lnTo>
                    </a:path>
                  </a:pathLst>
                </a:custGeom>
                <a:noFill/>
                <a:ln w="6350" cap="flat">
                  <a:solidFill>
                    <a:schemeClr val="bg1">
                      <a:alpha val="80000"/>
                    </a:schemeClr>
                  </a:solidFill>
                  <a:prstDash val="solid"/>
                  <a:miter/>
                </a:ln>
              </p:spPr>
              <p:txBody>
                <a:bodyPr rtlCol="0" anchor="ctr"/>
                <a:lstStyle/>
                <a:p>
                  <a:endParaRPr lang="en-GB"/>
                </a:p>
              </p:txBody>
            </p:sp>
            <p:sp>
              <p:nvSpPr>
                <p:cNvPr id="7964" name="Vrije vorm: vorm 7963">
                  <a:extLst>
                    <a:ext uri="{FF2B5EF4-FFF2-40B4-BE49-F238E27FC236}">
                      <a16:creationId xmlns:a16="http://schemas.microsoft.com/office/drawing/2014/main" id="{D0251D34-AF22-4369-BF88-23742A1E0845}"/>
                    </a:ext>
                  </a:extLst>
                </p:cNvPr>
                <p:cNvSpPr/>
                <p:nvPr/>
              </p:nvSpPr>
              <p:spPr>
                <a:xfrm>
                  <a:off x="5620762" y="5314629"/>
                  <a:ext cx="837" cy="1674"/>
                </a:xfrm>
                <a:custGeom>
                  <a:avLst/>
                  <a:gdLst>
                    <a:gd name="connsiteX0" fmla="*/ 837 w 837"/>
                    <a:gd name="connsiteY0" fmla="*/ 0 h 1674"/>
                    <a:gd name="connsiteX1" fmla="*/ 598 w 837"/>
                    <a:gd name="connsiteY1" fmla="*/ 479 h 1674"/>
                    <a:gd name="connsiteX2" fmla="*/ 0 w 837"/>
                    <a:gd name="connsiteY2" fmla="*/ 1675 h 1674"/>
                  </a:gdLst>
                  <a:ahLst/>
                  <a:cxnLst>
                    <a:cxn ang="0">
                      <a:pos x="connsiteX0" y="connsiteY0"/>
                    </a:cxn>
                    <a:cxn ang="0">
                      <a:pos x="connsiteX1" y="connsiteY1"/>
                    </a:cxn>
                    <a:cxn ang="0">
                      <a:pos x="connsiteX2" y="connsiteY2"/>
                    </a:cxn>
                  </a:cxnLst>
                  <a:rect l="l" t="t" r="r" b="b"/>
                  <a:pathLst>
                    <a:path w="837" h="1674">
                      <a:moveTo>
                        <a:pt x="837" y="0"/>
                      </a:moveTo>
                      <a:lnTo>
                        <a:pt x="598" y="479"/>
                      </a:lnTo>
                      <a:lnTo>
                        <a:pt x="0" y="1675"/>
                      </a:lnTo>
                    </a:path>
                  </a:pathLst>
                </a:custGeom>
                <a:noFill/>
                <a:ln w="6350" cap="flat">
                  <a:solidFill>
                    <a:schemeClr val="bg1">
                      <a:alpha val="80000"/>
                    </a:schemeClr>
                  </a:solidFill>
                  <a:prstDash val="solid"/>
                  <a:miter/>
                </a:ln>
              </p:spPr>
              <p:txBody>
                <a:bodyPr rtlCol="0" anchor="ctr"/>
                <a:lstStyle/>
                <a:p>
                  <a:endParaRPr lang="en-GB"/>
                </a:p>
              </p:txBody>
            </p:sp>
            <p:sp>
              <p:nvSpPr>
                <p:cNvPr id="7965" name="Vrije vorm: vorm 7964">
                  <a:extLst>
                    <a:ext uri="{FF2B5EF4-FFF2-40B4-BE49-F238E27FC236}">
                      <a16:creationId xmlns:a16="http://schemas.microsoft.com/office/drawing/2014/main" id="{56524AAC-27C6-4A42-8E32-55AB7D29AE35}"/>
                    </a:ext>
                  </a:extLst>
                </p:cNvPr>
                <p:cNvSpPr/>
                <p:nvPr/>
              </p:nvSpPr>
              <p:spPr>
                <a:xfrm>
                  <a:off x="5616336" y="5311399"/>
                  <a:ext cx="717" cy="1375"/>
                </a:xfrm>
                <a:custGeom>
                  <a:avLst/>
                  <a:gdLst>
                    <a:gd name="connsiteX0" fmla="*/ 0 w 717"/>
                    <a:gd name="connsiteY0" fmla="*/ 1375 h 1375"/>
                    <a:gd name="connsiteX1" fmla="*/ 239 w 717"/>
                    <a:gd name="connsiteY1" fmla="*/ 957 h 1375"/>
                    <a:gd name="connsiteX2" fmla="*/ 658 w 717"/>
                    <a:gd name="connsiteY2" fmla="*/ 179 h 1375"/>
                    <a:gd name="connsiteX3" fmla="*/ 718 w 717"/>
                    <a:gd name="connsiteY3" fmla="*/ 0 h 1375"/>
                  </a:gdLst>
                  <a:ahLst/>
                  <a:cxnLst>
                    <a:cxn ang="0">
                      <a:pos x="connsiteX0" y="connsiteY0"/>
                    </a:cxn>
                    <a:cxn ang="0">
                      <a:pos x="connsiteX1" y="connsiteY1"/>
                    </a:cxn>
                    <a:cxn ang="0">
                      <a:pos x="connsiteX2" y="connsiteY2"/>
                    </a:cxn>
                    <a:cxn ang="0">
                      <a:pos x="connsiteX3" y="connsiteY3"/>
                    </a:cxn>
                  </a:cxnLst>
                  <a:rect l="l" t="t" r="r" b="b"/>
                  <a:pathLst>
                    <a:path w="717" h="1375">
                      <a:moveTo>
                        <a:pt x="0" y="1375"/>
                      </a:moveTo>
                      <a:lnTo>
                        <a:pt x="239" y="957"/>
                      </a:lnTo>
                      <a:lnTo>
                        <a:pt x="658" y="179"/>
                      </a:lnTo>
                      <a:lnTo>
                        <a:pt x="718" y="0"/>
                      </a:lnTo>
                    </a:path>
                  </a:pathLst>
                </a:custGeom>
                <a:noFill/>
                <a:ln w="6350" cap="flat">
                  <a:solidFill>
                    <a:schemeClr val="bg1">
                      <a:alpha val="80000"/>
                    </a:schemeClr>
                  </a:solidFill>
                  <a:prstDash val="solid"/>
                  <a:miter/>
                </a:ln>
              </p:spPr>
              <p:txBody>
                <a:bodyPr rtlCol="0" anchor="ctr"/>
                <a:lstStyle/>
                <a:p>
                  <a:endParaRPr lang="en-GB"/>
                </a:p>
              </p:txBody>
            </p:sp>
            <p:sp>
              <p:nvSpPr>
                <p:cNvPr id="7966" name="Vrije vorm: vorm 7965">
                  <a:extLst>
                    <a:ext uri="{FF2B5EF4-FFF2-40B4-BE49-F238E27FC236}">
                      <a16:creationId xmlns:a16="http://schemas.microsoft.com/office/drawing/2014/main" id="{724D4AFF-F87C-4416-89BB-69865B742DE3}"/>
                    </a:ext>
                  </a:extLst>
                </p:cNvPr>
                <p:cNvSpPr/>
                <p:nvPr/>
              </p:nvSpPr>
              <p:spPr>
                <a:xfrm>
                  <a:off x="5602042" y="5304342"/>
                  <a:ext cx="358" cy="777"/>
                </a:xfrm>
                <a:custGeom>
                  <a:avLst/>
                  <a:gdLst>
                    <a:gd name="connsiteX0" fmla="*/ 0 w 358"/>
                    <a:gd name="connsiteY0" fmla="*/ 778 h 777"/>
                    <a:gd name="connsiteX1" fmla="*/ 239 w 358"/>
                    <a:gd name="connsiteY1" fmla="*/ 239 h 777"/>
                    <a:gd name="connsiteX2" fmla="*/ 239 w 358"/>
                    <a:gd name="connsiteY2" fmla="*/ 239 h 777"/>
                    <a:gd name="connsiteX3" fmla="*/ 359 w 358"/>
                    <a:gd name="connsiteY3" fmla="*/ 0 h 777"/>
                  </a:gdLst>
                  <a:ahLst/>
                  <a:cxnLst>
                    <a:cxn ang="0">
                      <a:pos x="connsiteX0" y="connsiteY0"/>
                    </a:cxn>
                    <a:cxn ang="0">
                      <a:pos x="connsiteX1" y="connsiteY1"/>
                    </a:cxn>
                    <a:cxn ang="0">
                      <a:pos x="connsiteX2" y="connsiteY2"/>
                    </a:cxn>
                    <a:cxn ang="0">
                      <a:pos x="connsiteX3" y="connsiteY3"/>
                    </a:cxn>
                  </a:cxnLst>
                  <a:rect l="l" t="t" r="r" b="b"/>
                  <a:pathLst>
                    <a:path w="358" h="777">
                      <a:moveTo>
                        <a:pt x="0" y="778"/>
                      </a:moveTo>
                      <a:lnTo>
                        <a:pt x="239" y="239"/>
                      </a:lnTo>
                      <a:lnTo>
                        <a:pt x="239" y="239"/>
                      </a:lnTo>
                      <a:lnTo>
                        <a:pt x="359" y="0"/>
                      </a:lnTo>
                    </a:path>
                  </a:pathLst>
                </a:custGeom>
                <a:noFill/>
                <a:ln w="6350" cap="flat">
                  <a:solidFill>
                    <a:schemeClr val="bg1">
                      <a:alpha val="80000"/>
                    </a:schemeClr>
                  </a:solidFill>
                  <a:prstDash val="solid"/>
                  <a:miter/>
                </a:ln>
              </p:spPr>
              <p:txBody>
                <a:bodyPr rtlCol="0" anchor="ctr"/>
                <a:lstStyle/>
                <a:p>
                  <a:endParaRPr lang="en-GB"/>
                </a:p>
              </p:txBody>
            </p:sp>
            <p:sp>
              <p:nvSpPr>
                <p:cNvPr id="7967" name="Vrije vorm: vorm 7966">
                  <a:extLst>
                    <a:ext uri="{FF2B5EF4-FFF2-40B4-BE49-F238E27FC236}">
                      <a16:creationId xmlns:a16="http://schemas.microsoft.com/office/drawing/2014/main" id="{7635A041-CAB4-41B6-AD44-B4A458EDB1F5}"/>
                    </a:ext>
                  </a:extLst>
                </p:cNvPr>
                <p:cNvSpPr/>
                <p:nvPr/>
              </p:nvSpPr>
              <p:spPr>
                <a:xfrm>
                  <a:off x="5601025" y="5348958"/>
                  <a:ext cx="6219" cy="5263"/>
                </a:xfrm>
                <a:custGeom>
                  <a:avLst/>
                  <a:gdLst>
                    <a:gd name="connsiteX0" fmla="*/ 0 w 6219"/>
                    <a:gd name="connsiteY0" fmla="*/ 5263 h 5263"/>
                    <a:gd name="connsiteX1" fmla="*/ 2811 w 6219"/>
                    <a:gd name="connsiteY1" fmla="*/ 2871 h 5263"/>
                    <a:gd name="connsiteX2" fmla="*/ 4785 w 6219"/>
                    <a:gd name="connsiteY2" fmla="*/ 1196 h 5263"/>
                    <a:gd name="connsiteX3" fmla="*/ 6220 w 6219"/>
                    <a:gd name="connsiteY3" fmla="*/ 0 h 5263"/>
                  </a:gdLst>
                  <a:ahLst/>
                  <a:cxnLst>
                    <a:cxn ang="0">
                      <a:pos x="connsiteX0" y="connsiteY0"/>
                    </a:cxn>
                    <a:cxn ang="0">
                      <a:pos x="connsiteX1" y="connsiteY1"/>
                    </a:cxn>
                    <a:cxn ang="0">
                      <a:pos x="connsiteX2" y="connsiteY2"/>
                    </a:cxn>
                    <a:cxn ang="0">
                      <a:pos x="connsiteX3" y="connsiteY3"/>
                    </a:cxn>
                  </a:cxnLst>
                  <a:rect l="l" t="t" r="r" b="b"/>
                  <a:pathLst>
                    <a:path w="6219" h="5263">
                      <a:moveTo>
                        <a:pt x="0" y="5263"/>
                      </a:moveTo>
                      <a:lnTo>
                        <a:pt x="2811" y="2871"/>
                      </a:lnTo>
                      <a:lnTo>
                        <a:pt x="4785" y="1196"/>
                      </a:lnTo>
                      <a:lnTo>
                        <a:pt x="6220" y="0"/>
                      </a:lnTo>
                    </a:path>
                  </a:pathLst>
                </a:custGeom>
                <a:noFill/>
                <a:ln w="6350" cap="flat">
                  <a:solidFill>
                    <a:schemeClr val="bg1">
                      <a:alpha val="80000"/>
                    </a:schemeClr>
                  </a:solidFill>
                  <a:prstDash val="solid"/>
                  <a:miter/>
                </a:ln>
              </p:spPr>
              <p:txBody>
                <a:bodyPr rtlCol="0" anchor="ctr"/>
                <a:lstStyle/>
                <a:p>
                  <a:endParaRPr lang="en-GB"/>
                </a:p>
              </p:txBody>
            </p:sp>
            <p:sp>
              <p:nvSpPr>
                <p:cNvPr id="7968" name="Vrije vorm: vorm 7967">
                  <a:extLst>
                    <a:ext uri="{FF2B5EF4-FFF2-40B4-BE49-F238E27FC236}">
                      <a16:creationId xmlns:a16="http://schemas.microsoft.com/office/drawing/2014/main" id="{74D16B7E-C7EC-4D4F-A47D-352F9A500C90}"/>
                    </a:ext>
                  </a:extLst>
                </p:cNvPr>
                <p:cNvSpPr/>
                <p:nvPr/>
              </p:nvSpPr>
              <p:spPr>
                <a:xfrm>
                  <a:off x="5597198" y="5361876"/>
                  <a:ext cx="478" cy="5980"/>
                </a:xfrm>
                <a:custGeom>
                  <a:avLst/>
                  <a:gdLst>
                    <a:gd name="connsiteX0" fmla="*/ 479 w 478"/>
                    <a:gd name="connsiteY0" fmla="*/ 5981 h 5980"/>
                    <a:gd name="connsiteX1" fmla="*/ 299 w 478"/>
                    <a:gd name="connsiteY1" fmla="*/ 3768 h 5980"/>
                    <a:gd name="connsiteX2" fmla="*/ 0 w 478"/>
                    <a:gd name="connsiteY2" fmla="*/ 299 h 5980"/>
                    <a:gd name="connsiteX3" fmla="*/ 0 w 478"/>
                    <a:gd name="connsiteY3" fmla="*/ 0 h 5980"/>
                  </a:gdLst>
                  <a:ahLst/>
                  <a:cxnLst>
                    <a:cxn ang="0">
                      <a:pos x="connsiteX0" y="connsiteY0"/>
                    </a:cxn>
                    <a:cxn ang="0">
                      <a:pos x="connsiteX1" y="connsiteY1"/>
                    </a:cxn>
                    <a:cxn ang="0">
                      <a:pos x="connsiteX2" y="connsiteY2"/>
                    </a:cxn>
                    <a:cxn ang="0">
                      <a:pos x="connsiteX3" y="connsiteY3"/>
                    </a:cxn>
                  </a:cxnLst>
                  <a:rect l="l" t="t" r="r" b="b"/>
                  <a:pathLst>
                    <a:path w="478" h="5980">
                      <a:moveTo>
                        <a:pt x="479" y="5981"/>
                      </a:moveTo>
                      <a:lnTo>
                        <a:pt x="299" y="3768"/>
                      </a:lnTo>
                      <a:lnTo>
                        <a:pt x="0" y="29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69" name="Vrije vorm: vorm 7968">
                  <a:extLst>
                    <a:ext uri="{FF2B5EF4-FFF2-40B4-BE49-F238E27FC236}">
                      <a16:creationId xmlns:a16="http://schemas.microsoft.com/office/drawing/2014/main" id="{A788009E-8F16-4539-941F-EB928DC5C2C6}"/>
                    </a:ext>
                  </a:extLst>
                </p:cNvPr>
                <p:cNvSpPr/>
                <p:nvPr/>
              </p:nvSpPr>
              <p:spPr>
                <a:xfrm>
                  <a:off x="5598693" y="5359903"/>
                  <a:ext cx="4725" cy="418"/>
                </a:xfrm>
                <a:custGeom>
                  <a:avLst/>
                  <a:gdLst>
                    <a:gd name="connsiteX0" fmla="*/ 0 w 4725"/>
                    <a:gd name="connsiteY0" fmla="*/ 0 h 418"/>
                    <a:gd name="connsiteX1" fmla="*/ 2871 w 4725"/>
                    <a:gd name="connsiteY1" fmla="*/ 239 h 418"/>
                    <a:gd name="connsiteX2" fmla="*/ 2930 w 4725"/>
                    <a:gd name="connsiteY2" fmla="*/ 239 h 418"/>
                    <a:gd name="connsiteX3" fmla="*/ 4725 w 4725"/>
                    <a:gd name="connsiteY3" fmla="*/ 419 h 418"/>
                  </a:gdLst>
                  <a:ahLst/>
                  <a:cxnLst>
                    <a:cxn ang="0">
                      <a:pos x="connsiteX0" y="connsiteY0"/>
                    </a:cxn>
                    <a:cxn ang="0">
                      <a:pos x="connsiteX1" y="connsiteY1"/>
                    </a:cxn>
                    <a:cxn ang="0">
                      <a:pos x="connsiteX2" y="connsiteY2"/>
                    </a:cxn>
                    <a:cxn ang="0">
                      <a:pos x="connsiteX3" y="connsiteY3"/>
                    </a:cxn>
                  </a:cxnLst>
                  <a:rect l="l" t="t" r="r" b="b"/>
                  <a:pathLst>
                    <a:path w="4725" h="418">
                      <a:moveTo>
                        <a:pt x="0" y="0"/>
                      </a:moveTo>
                      <a:lnTo>
                        <a:pt x="2871" y="239"/>
                      </a:lnTo>
                      <a:lnTo>
                        <a:pt x="2930" y="239"/>
                      </a:lnTo>
                      <a:lnTo>
                        <a:pt x="4725" y="419"/>
                      </a:lnTo>
                    </a:path>
                  </a:pathLst>
                </a:custGeom>
                <a:noFill/>
                <a:ln w="6350" cap="flat">
                  <a:solidFill>
                    <a:schemeClr val="bg1">
                      <a:alpha val="80000"/>
                    </a:schemeClr>
                  </a:solidFill>
                  <a:prstDash val="solid"/>
                  <a:miter/>
                </a:ln>
              </p:spPr>
              <p:txBody>
                <a:bodyPr rtlCol="0" anchor="ctr"/>
                <a:lstStyle/>
                <a:p>
                  <a:endParaRPr lang="en-GB"/>
                </a:p>
              </p:txBody>
            </p:sp>
            <p:sp>
              <p:nvSpPr>
                <p:cNvPr id="7970" name="Vrije vorm: vorm 7969">
                  <a:extLst>
                    <a:ext uri="{FF2B5EF4-FFF2-40B4-BE49-F238E27FC236}">
                      <a16:creationId xmlns:a16="http://schemas.microsoft.com/office/drawing/2014/main" id="{58CC36E8-44EF-434F-B4A3-FE8036C6F7C2}"/>
                    </a:ext>
                  </a:extLst>
                </p:cNvPr>
                <p:cNvSpPr/>
                <p:nvPr/>
              </p:nvSpPr>
              <p:spPr>
                <a:xfrm>
                  <a:off x="5598095" y="5350274"/>
                  <a:ext cx="1794" cy="597"/>
                </a:xfrm>
                <a:custGeom>
                  <a:avLst/>
                  <a:gdLst>
                    <a:gd name="connsiteX0" fmla="*/ 0 w 1794"/>
                    <a:gd name="connsiteY0" fmla="*/ 419 h 597"/>
                    <a:gd name="connsiteX1" fmla="*/ 1794 w 1794"/>
                    <a:gd name="connsiteY1" fmla="*/ 598 h 597"/>
                    <a:gd name="connsiteX2" fmla="*/ 1316 w 1794"/>
                    <a:gd name="connsiteY2" fmla="*/ 120 h 597"/>
                    <a:gd name="connsiteX3" fmla="*/ 179 w 1794"/>
                    <a:gd name="connsiteY3" fmla="*/ 0 h 597"/>
                  </a:gdLst>
                  <a:ahLst/>
                  <a:cxnLst>
                    <a:cxn ang="0">
                      <a:pos x="connsiteX0" y="connsiteY0"/>
                    </a:cxn>
                    <a:cxn ang="0">
                      <a:pos x="connsiteX1" y="connsiteY1"/>
                    </a:cxn>
                    <a:cxn ang="0">
                      <a:pos x="connsiteX2" y="connsiteY2"/>
                    </a:cxn>
                    <a:cxn ang="0">
                      <a:pos x="connsiteX3" y="connsiteY3"/>
                    </a:cxn>
                  </a:cxnLst>
                  <a:rect l="l" t="t" r="r" b="b"/>
                  <a:pathLst>
                    <a:path w="1794" h="597">
                      <a:moveTo>
                        <a:pt x="0" y="419"/>
                      </a:moveTo>
                      <a:lnTo>
                        <a:pt x="1794" y="598"/>
                      </a:lnTo>
                      <a:lnTo>
                        <a:pt x="1316" y="120"/>
                      </a:lnTo>
                      <a:lnTo>
                        <a:pt x="179" y="0"/>
                      </a:lnTo>
                    </a:path>
                  </a:pathLst>
                </a:custGeom>
                <a:noFill/>
                <a:ln w="6350" cap="flat">
                  <a:solidFill>
                    <a:schemeClr val="bg1">
                      <a:alpha val="80000"/>
                    </a:schemeClr>
                  </a:solidFill>
                  <a:prstDash val="solid"/>
                  <a:miter/>
                </a:ln>
              </p:spPr>
              <p:txBody>
                <a:bodyPr rtlCol="0" anchor="ctr"/>
                <a:lstStyle/>
                <a:p>
                  <a:endParaRPr lang="en-GB"/>
                </a:p>
              </p:txBody>
            </p:sp>
            <p:sp>
              <p:nvSpPr>
                <p:cNvPr id="7971" name="Vrije vorm: vorm 7970">
                  <a:extLst>
                    <a:ext uri="{FF2B5EF4-FFF2-40B4-BE49-F238E27FC236}">
                      <a16:creationId xmlns:a16="http://schemas.microsoft.com/office/drawing/2014/main" id="{8279324B-9B81-40DE-B69A-17717C8AD4C3}"/>
                    </a:ext>
                  </a:extLst>
                </p:cNvPr>
                <p:cNvSpPr/>
                <p:nvPr/>
              </p:nvSpPr>
              <p:spPr>
                <a:xfrm>
                  <a:off x="5593609" y="5350991"/>
                  <a:ext cx="2631" cy="2691"/>
                </a:xfrm>
                <a:custGeom>
                  <a:avLst/>
                  <a:gdLst>
                    <a:gd name="connsiteX0" fmla="*/ 60 w 2631"/>
                    <a:gd name="connsiteY0" fmla="*/ 2691 h 2691"/>
                    <a:gd name="connsiteX1" fmla="*/ 2632 w 2631"/>
                    <a:gd name="connsiteY1" fmla="*/ 479 h 2691"/>
                    <a:gd name="connsiteX2" fmla="*/ 2153 w 2631"/>
                    <a:gd name="connsiteY2" fmla="*/ 0 h 2691"/>
                    <a:gd name="connsiteX3" fmla="*/ 0 w 2631"/>
                    <a:gd name="connsiteY3" fmla="*/ 1854 h 2691"/>
                  </a:gdLst>
                  <a:ahLst/>
                  <a:cxnLst>
                    <a:cxn ang="0">
                      <a:pos x="connsiteX0" y="connsiteY0"/>
                    </a:cxn>
                    <a:cxn ang="0">
                      <a:pos x="connsiteX1" y="connsiteY1"/>
                    </a:cxn>
                    <a:cxn ang="0">
                      <a:pos x="connsiteX2" y="connsiteY2"/>
                    </a:cxn>
                    <a:cxn ang="0">
                      <a:pos x="connsiteX3" y="connsiteY3"/>
                    </a:cxn>
                  </a:cxnLst>
                  <a:rect l="l" t="t" r="r" b="b"/>
                  <a:pathLst>
                    <a:path w="2631" h="2691">
                      <a:moveTo>
                        <a:pt x="60" y="2691"/>
                      </a:moveTo>
                      <a:lnTo>
                        <a:pt x="2632" y="479"/>
                      </a:lnTo>
                      <a:lnTo>
                        <a:pt x="2153" y="0"/>
                      </a:lnTo>
                      <a:lnTo>
                        <a:pt x="0" y="1854"/>
                      </a:lnTo>
                    </a:path>
                  </a:pathLst>
                </a:custGeom>
                <a:noFill/>
                <a:ln w="6350" cap="flat">
                  <a:solidFill>
                    <a:schemeClr val="bg1">
                      <a:alpha val="80000"/>
                    </a:schemeClr>
                  </a:solidFill>
                  <a:prstDash val="solid"/>
                  <a:miter/>
                </a:ln>
              </p:spPr>
              <p:txBody>
                <a:bodyPr rtlCol="0" anchor="ctr"/>
                <a:lstStyle/>
                <a:p>
                  <a:endParaRPr lang="en-GB"/>
                </a:p>
              </p:txBody>
            </p:sp>
            <p:sp>
              <p:nvSpPr>
                <p:cNvPr id="7972" name="Vrije vorm: vorm 7971">
                  <a:extLst>
                    <a:ext uri="{FF2B5EF4-FFF2-40B4-BE49-F238E27FC236}">
                      <a16:creationId xmlns:a16="http://schemas.microsoft.com/office/drawing/2014/main" id="{736DA89C-66D3-4843-81B4-ABE1ADC516F0}"/>
                    </a:ext>
                  </a:extLst>
                </p:cNvPr>
                <p:cNvSpPr/>
                <p:nvPr/>
              </p:nvSpPr>
              <p:spPr>
                <a:xfrm>
                  <a:off x="5589303" y="5361577"/>
                  <a:ext cx="538" cy="2093"/>
                </a:xfrm>
                <a:custGeom>
                  <a:avLst/>
                  <a:gdLst>
                    <a:gd name="connsiteX0" fmla="*/ 0 w 538"/>
                    <a:gd name="connsiteY0" fmla="*/ 359 h 2093"/>
                    <a:gd name="connsiteX1" fmla="*/ 60 w 538"/>
                    <a:gd name="connsiteY1" fmla="*/ 1615 h 2093"/>
                    <a:gd name="connsiteX2" fmla="*/ 538 w 538"/>
                    <a:gd name="connsiteY2" fmla="*/ 2093 h 2093"/>
                    <a:gd name="connsiteX3" fmla="*/ 419 w 538"/>
                    <a:gd name="connsiteY3" fmla="*/ 0 h 2093"/>
                  </a:gdLst>
                  <a:ahLst/>
                  <a:cxnLst>
                    <a:cxn ang="0">
                      <a:pos x="connsiteX0" y="connsiteY0"/>
                    </a:cxn>
                    <a:cxn ang="0">
                      <a:pos x="connsiteX1" y="connsiteY1"/>
                    </a:cxn>
                    <a:cxn ang="0">
                      <a:pos x="connsiteX2" y="connsiteY2"/>
                    </a:cxn>
                    <a:cxn ang="0">
                      <a:pos x="connsiteX3" y="connsiteY3"/>
                    </a:cxn>
                  </a:cxnLst>
                  <a:rect l="l" t="t" r="r" b="b"/>
                  <a:pathLst>
                    <a:path w="538" h="2093">
                      <a:moveTo>
                        <a:pt x="0" y="359"/>
                      </a:moveTo>
                      <a:lnTo>
                        <a:pt x="60" y="1615"/>
                      </a:lnTo>
                      <a:lnTo>
                        <a:pt x="538" y="2093"/>
                      </a:lnTo>
                      <a:lnTo>
                        <a:pt x="419" y="0"/>
                      </a:lnTo>
                    </a:path>
                  </a:pathLst>
                </a:custGeom>
                <a:noFill/>
                <a:ln w="6350" cap="flat">
                  <a:solidFill>
                    <a:schemeClr val="bg1">
                      <a:alpha val="80000"/>
                    </a:schemeClr>
                  </a:solidFill>
                  <a:prstDash val="solid"/>
                  <a:miter/>
                </a:ln>
              </p:spPr>
              <p:txBody>
                <a:bodyPr rtlCol="0" anchor="ctr"/>
                <a:lstStyle/>
                <a:p>
                  <a:endParaRPr lang="en-GB"/>
                </a:p>
              </p:txBody>
            </p:sp>
            <p:sp>
              <p:nvSpPr>
                <p:cNvPr id="7973" name="Vrije vorm: vorm 7972">
                  <a:extLst>
                    <a:ext uri="{FF2B5EF4-FFF2-40B4-BE49-F238E27FC236}">
                      <a16:creationId xmlns:a16="http://schemas.microsoft.com/office/drawing/2014/main" id="{92D8F1D5-3BDD-428C-B48B-B4414528564E}"/>
                    </a:ext>
                  </a:extLst>
                </p:cNvPr>
                <p:cNvSpPr/>
                <p:nvPr/>
              </p:nvSpPr>
              <p:spPr>
                <a:xfrm>
                  <a:off x="5589901" y="5355716"/>
                  <a:ext cx="2152" cy="3409"/>
                </a:xfrm>
                <a:custGeom>
                  <a:avLst/>
                  <a:gdLst>
                    <a:gd name="connsiteX0" fmla="*/ 0 w 2152"/>
                    <a:gd name="connsiteY0" fmla="*/ 2931 h 3409"/>
                    <a:gd name="connsiteX1" fmla="*/ 479 w 2152"/>
                    <a:gd name="connsiteY1" fmla="*/ 3409 h 3409"/>
                    <a:gd name="connsiteX2" fmla="*/ 897 w 2152"/>
                    <a:gd name="connsiteY2" fmla="*/ 2512 h 3409"/>
                    <a:gd name="connsiteX3" fmla="*/ 1316 w 2152"/>
                    <a:gd name="connsiteY3" fmla="*/ 1675 h 3409"/>
                    <a:gd name="connsiteX4" fmla="*/ 2153 w 2152"/>
                    <a:gd name="connsiteY4" fmla="*/ 0 h 3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 h="3409">
                      <a:moveTo>
                        <a:pt x="0" y="2931"/>
                      </a:moveTo>
                      <a:lnTo>
                        <a:pt x="479" y="3409"/>
                      </a:lnTo>
                      <a:lnTo>
                        <a:pt x="897" y="2512"/>
                      </a:lnTo>
                      <a:lnTo>
                        <a:pt x="1316" y="1675"/>
                      </a:lnTo>
                      <a:lnTo>
                        <a:pt x="2153" y="0"/>
                      </a:lnTo>
                    </a:path>
                  </a:pathLst>
                </a:custGeom>
                <a:noFill/>
                <a:ln w="6350" cap="flat">
                  <a:solidFill>
                    <a:schemeClr val="bg1">
                      <a:alpha val="80000"/>
                    </a:schemeClr>
                  </a:solidFill>
                  <a:prstDash val="solid"/>
                  <a:miter/>
                </a:ln>
              </p:spPr>
              <p:txBody>
                <a:bodyPr rtlCol="0" anchor="ctr"/>
                <a:lstStyle/>
                <a:p>
                  <a:endParaRPr lang="en-GB"/>
                </a:p>
              </p:txBody>
            </p:sp>
            <p:sp>
              <p:nvSpPr>
                <p:cNvPr id="7974" name="Vrije vorm: vorm 7973">
                  <a:extLst>
                    <a:ext uri="{FF2B5EF4-FFF2-40B4-BE49-F238E27FC236}">
                      <a16:creationId xmlns:a16="http://schemas.microsoft.com/office/drawing/2014/main" id="{D89B0E5A-8A0D-4C5A-8DF4-14775F5423CE}"/>
                    </a:ext>
                  </a:extLst>
                </p:cNvPr>
                <p:cNvSpPr/>
                <p:nvPr/>
              </p:nvSpPr>
              <p:spPr>
                <a:xfrm>
                  <a:off x="5584877" y="5354759"/>
                  <a:ext cx="6519" cy="3827"/>
                </a:xfrm>
                <a:custGeom>
                  <a:avLst/>
                  <a:gdLst>
                    <a:gd name="connsiteX0" fmla="*/ 1735 w 6519"/>
                    <a:gd name="connsiteY0" fmla="*/ 0 h 3827"/>
                    <a:gd name="connsiteX1" fmla="*/ 718 w 6519"/>
                    <a:gd name="connsiteY1" fmla="*/ 1674 h 3827"/>
                    <a:gd name="connsiteX2" fmla="*/ 538 w 6519"/>
                    <a:gd name="connsiteY2" fmla="*/ 2093 h 3827"/>
                    <a:gd name="connsiteX3" fmla="*/ 180 w 6519"/>
                    <a:gd name="connsiteY3" fmla="*/ 2930 h 3827"/>
                    <a:gd name="connsiteX4" fmla="*/ 0 w 6519"/>
                    <a:gd name="connsiteY4" fmla="*/ 3409 h 3827"/>
                    <a:gd name="connsiteX5" fmla="*/ 2871 w 6519"/>
                    <a:gd name="connsiteY5" fmla="*/ 3648 h 3827"/>
                    <a:gd name="connsiteX6" fmla="*/ 5024 w 6519"/>
                    <a:gd name="connsiteY6" fmla="*/ 3828 h 3827"/>
                    <a:gd name="connsiteX7" fmla="*/ 5263 w 6519"/>
                    <a:gd name="connsiteY7" fmla="*/ 3349 h 3827"/>
                    <a:gd name="connsiteX8" fmla="*/ 5682 w 6519"/>
                    <a:gd name="connsiteY8" fmla="*/ 2512 h 3827"/>
                    <a:gd name="connsiteX9" fmla="*/ 6519 w 6519"/>
                    <a:gd name="connsiteY9" fmla="*/ 837 h 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9" h="3827">
                      <a:moveTo>
                        <a:pt x="1735" y="0"/>
                      </a:moveTo>
                      <a:lnTo>
                        <a:pt x="718" y="1674"/>
                      </a:lnTo>
                      <a:lnTo>
                        <a:pt x="538" y="2093"/>
                      </a:lnTo>
                      <a:lnTo>
                        <a:pt x="180" y="2930"/>
                      </a:lnTo>
                      <a:lnTo>
                        <a:pt x="0" y="3409"/>
                      </a:lnTo>
                      <a:lnTo>
                        <a:pt x="2871" y="3648"/>
                      </a:lnTo>
                      <a:lnTo>
                        <a:pt x="5024" y="3828"/>
                      </a:lnTo>
                      <a:lnTo>
                        <a:pt x="5263" y="3349"/>
                      </a:lnTo>
                      <a:lnTo>
                        <a:pt x="5682" y="2512"/>
                      </a:lnTo>
                      <a:lnTo>
                        <a:pt x="6519" y="837"/>
                      </a:lnTo>
                    </a:path>
                  </a:pathLst>
                </a:custGeom>
                <a:noFill/>
                <a:ln w="6350" cap="flat">
                  <a:solidFill>
                    <a:schemeClr val="bg1">
                      <a:alpha val="80000"/>
                    </a:schemeClr>
                  </a:solidFill>
                  <a:prstDash val="solid"/>
                  <a:miter/>
                </a:ln>
              </p:spPr>
              <p:txBody>
                <a:bodyPr rtlCol="0" anchor="ctr"/>
                <a:lstStyle/>
                <a:p>
                  <a:endParaRPr lang="en-GB"/>
                </a:p>
              </p:txBody>
            </p:sp>
            <p:sp>
              <p:nvSpPr>
                <p:cNvPr id="7975" name="Vrije vorm: vorm 7974">
                  <a:extLst>
                    <a:ext uri="{FF2B5EF4-FFF2-40B4-BE49-F238E27FC236}">
                      <a16:creationId xmlns:a16="http://schemas.microsoft.com/office/drawing/2014/main" id="{2CB8BE3C-4E4A-4836-854D-DF4A9B120787}"/>
                    </a:ext>
                  </a:extLst>
                </p:cNvPr>
                <p:cNvSpPr/>
                <p:nvPr/>
              </p:nvSpPr>
              <p:spPr>
                <a:xfrm>
                  <a:off x="5600965" y="5348540"/>
                  <a:ext cx="5741" cy="4903"/>
                </a:xfrm>
                <a:custGeom>
                  <a:avLst/>
                  <a:gdLst>
                    <a:gd name="connsiteX0" fmla="*/ 5742 w 5741"/>
                    <a:gd name="connsiteY0" fmla="*/ 0 h 4903"/>
                    <a:gd name="connsiteX1" fmla="*/ 4904 w 5741"/>
                    <a:gd name="connsiteY1" fmla="*/ 718 h 4903"/>
                    <a:gd name="connsiteX2" fmla="*/ 2093 w 5741"/>
                    <a:gd name="connsiteY2" fmla="*/ 3110 h 4903"/>
                    <a:gd name="connsiteX3" fmla="*/ 0 w 5741"/>
                    <a:gd name="connsiteY3" fmla="*/ 4904 h 4903"/>
                  </a:gdLst>
                  <a:ahLst/>
                  <a:cxnLst>
                    <a:cxn ang="0">
                      <a:pos x="connsiteX0" y="connsiteY0"/>
                    </a:cxn>
                    <a:cxn ang="0">
                      <a:pos x="connsiteX1" y="connsiteY1"/>
                    </a:cxn>
                    <a:cxn ang="0">
                      <a:pos x="connsiteX2" y="connsiteY2"/>
                    </a:cxn>
                    <a:cxn ang="0">
                      <a:pos x="connsiteX3" y="connsiteY3"/>
                    </a:cxn>
                  </a:cxnLst>
                  <a:rect l="l" t="t" r="r" b="b"/>
                  <a:pathLst>
                    <a:path w="5741" h="4903">
                      <a:moveTo>
                        <a:pt x="5742" y="0"/>
                      </a:moveTo>
                      <a:lnTo>
                        <a:pt x="4904" y="718"/>
                      </a:lnTo>
                      <a:lnTo>
                        <a:pt x="2093" y="3110"/>
                      </a:lnTo>
                      <a:lnTo>
                        <a:pt x="0" y="4904"/>
                      </a:lnTo>
                    </a:path>
                  </a:pathLst>
                </a:custGeom>
                <a:noFill/>
                <a:ln w="6350" cap="flat">
                  <a:solidFill>
                    <a:schemeClr val="bg1">
                      <a:alpha val="80000"/>
                    </a:schemeClr>
                  </a:solidFill>
                  <a:prstDash val="solid"/>
                  <a:miter/>
                </a:ln>
              </p:spPr>
              <p:txBody>
                <a:bodyPr rtlCol="0" anchor="ctr"/>
                <a:lstStyle/>
                <a:p>
                  <a:endParaRPr lang="en-GB"/>
                </a:p>
              </p:txBody>
            </p:sp>
            <p:sp>
              <p:nvSpPr>
                <p:cNvPr id="7976" name="Vrije vorm: vorm 7975">
                  <a:extLst>
                    <a:ext uri="{FF2B5EF4-FFF2-40B4-BE49-F238E27FC236}">
                      <a16:creationId xmlns:a16="http://schemas.microsoft.com/office/drawing/2014/main" id="{25436C21-6B12-4338-B93C-4E57D70979EF}"/>
                    </a:ext>
                  </a:extLst>
                </p:cNvPr>
                <p:cNvSpPr/>
                <p:nvPr/>
              </p:nvSpPr>
              <p:spPr>
                <a:xfrm>
                  <a:off x="5598932" y="5359484"/>
                  <a:ext cx="4066" cy="358"/>
                </a:xfrm>
                <a:custGeom>
                  <a:avLst/>
                  <a:gdLst>
                    <a:gd name="connsiteX0" fmla="*/ 4067 w 4066"/>
                    <a:gd name="connsiteY0" fmla="*/ 359 h 358"/>
                    <a:gd name="connsiteX1" fmla="*/ 2990 w 4066"/>
                    <a:gd name="connsiteY1" fmla="*/ 239 h 358"/>
                    <a:gd name="connsiteX2" fmla="*/ 119 w 4066"/>
                    <a:gd name="connsiteY2" fmla="*/ 0 h 358"/>
                    <a:gd name="connsiteX3" fmla="*/ 0 w 4066"/>
                    <a:gd name="connsiteY3" fmla="*/ 0 h 358"/>
                  </a:gdLst>
                  <a:ahLst/>
                  <a:cxnLst>
                    <a:cxn ang="0">
                      <a:pos x="connsiteX0" y="connsiteY0"/>
                    </a:cxn>
                    <a:cxn ang="0">
                      <a:pos x="connsiteX1" y="connsiteY1"/>
                    </a:cxn>
                    <a:cxn ang="0">
                      <a:pos x="connsiteX2" y="connsiteY2"/>
                    </a:cxn>
                    <a:cxn ang="0">
                      <a:pos x="connsiteX3" y="connsiteY3"/>
                    </a:cxn>
                  </a:cxnLst>
                  <a:rect l="l" t="t" r="r" b="b"/>
                  <a:pathLst>
                    <a:path w="4066" h="358">
                      <a:moveTo>
                        <a:pt x="4067" y="359"/>
                      </a:moveTo>
                      <a:lnTo>
                        <a:pt x="2990" y="239"/>
                      </a:lnTo>
                      <a:lnTo>
                        <a:pt x="119" y="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77" name="Vrije vorm: vorm 7976">
                  <a:extLst>
                    <a:ext uri="{FF2B5EF4-FFF2-40B4-BE49-F238E27FC236}">
                      <a16:creationId xmlns:a16="http://schemas.microsoft.com/office/drawing/2014/main" id="{B44387E5-30E7-4646-A4B9-29C4CFCC8651}"/>
                    </a:ext>
                  </a:extLst>
                </p:cNvPr>
                <p:cNvSpPr/>
                <p:nvPr/>
              </p:nvSpPr>
              <p:spPr>
                <a:xfrm>
                  <a:off x="5600786" y="5297823"/>
                  <a:ext cx="22128" cy="13815"/>
                </a:xfrm>
                <a:custGeom>
                  <a:avLst/>
                  <a:gdLst>
                    <a:gd name="connsiteX0" fmla="*/ 22128 w 22128"/>
                    <a:gd name="connsiteY0" fmla="*/ 9510 h 13815"/>
                    <a:gd name="connsiteX1" fmla="*/ 20334 w 22128"/>
                    <a:gd name="connsiteY1" fmla="*/ 13038 h 13815"/>
                    <a:gd name="connsiteX2" fmla="*/ 20274 w 22128"/>
                    <a:gd name="connsiteY2" fmla="*/ 13098 h 13815"/>
                    <a:gd name="connsiteX3" fmla="*/ 19736 w 22128"/>
                    <a:gd name="connsiteY3" fmla="*/ 13636 h 13815"/>
                    <a:gd name="connsiteX4" fmla="*/ 18540 w 22128"/>
                    <a:gd name="connsiteY4" fmla="*/ 13815 h 13815"/>
                    <a:gd name="connsiteX5" fmla="*/ 17703 w 22128"/>
                    <a:gd name="connsiteY5" fmla="*/ 13756 h 13815"/>
                    <a:gd name="connsiteX6" fmla="*/ 17225 w 22128"/>
                    <a:gd name="connsiteY6" fmla="*/ 13696 h 13815"/>
                    <a:gd name="connsiteX7" fmla="*/ 16806 w 22128"/>
                    <a:gd name="connsiteY7" fmla="*/ 13636 h 13815"/>
                    <a:gd name="connsiteX8" fmla="*/ 16746 w 22128"/>
                    <a:gd name="connsiteY8" fmla="*/ 13636 h 13815"/>
                    <a:gd name="connsiteX9" fmla="*/ 16208 w 22128"/>
                    <a:gd name="connsiteY9" fmla="*/ 13516 h 13815"/>
                    <a:gd name="connsiteX10" fmla="*/ 16208 w 22128"/>
                    <a:gd name="connsiteY10" fmla="*/ 13516 h 13815"/>
                    <a:gd name="connsiteX11" fmla="*/ 15789 w 22128"/>
                    <a:gd name="connsiteY11" fmla="*/ 13397 h 13815"/>
                    <a:gd name="connsiteX12" fmla="*/ 14473 w 22128"/>
                    <a:gd name="connsiteY12" fmla="*/ 13098 h 13815"/>
                    <a:gd name="connsiteX13" fmla="*/ 13756 w 22128"/>
                    <a:gd name="connsiteY13" fmla="*/ 12859 h 13815"/>
                    <a:gd name="connsiteX14" fmla="*/ 11902 w 22128"/>
                    <a:gd name="connsiteY14" fmla="*/ 12260 h 13815"/>
                    <a:gd name="connsiteX15" fmla="*/ 9330 w 22128"/>
                    <a:gd name="connsiteY15" fmla="*/ 11184 h 13815"/>
                    <a:gd name="connsiteX16" fmla="*/ 9210 w 22128"/>
                    <a:gd name="connsiteY16" fmla="*/ 11124 h 13815"/>
                    <a:gd name="connsiteX17" fmla="*/ 8373 w 22128"/>
                    <a:gd name="connsiteY17" fmla="*/ 10706 h 13815"/>
                    <a:gd name="connsiteX18" fmla="*/ 6579 w 22128"/>
                    <a:gd name="connsiteY18" fmla="*/ 9808 h 13815"/>
                    <a:gd name="connsiteX19" fmla="*/ 4186 w 22128"/>
                    <a:gd name="connsiteY19" fmla="*/ 8433 h 13815"/>
                    <a:gd name="connsiteX20" fmla="*/ 3768 w 22128"/>
                    <a:gd name="connsiteY20" fmla="*/ 8134 h 13815"/>
                    <a:gd name="connsiteX21" fmla="*/ 3469 w 22128"/>
                    <a:gd name="connsiteY21" fmla="*/ 7895 h 13815"/>
                    <a:gd name="connsiteX22" fmla="*/ 3469 w 22128"/>
                    <a:gd name="connsiteY22" fmla="*/ 7895 h 13815"/>
                    <a:gd name="connsiteX23" fmla="*/ 2332 w 22128"/>
                    <a:gd name="connsiteY23" fmla="*/ 7117 h 13815"/>
                    <a:gd name="connsiteX24" fmla="*/ 2213 w 22128"/>
                    <a:gd name="connsiteY24" fmla="*/ 7057 h 13815"/>
                    <a:gd name="connsiteX25" fmla="*/ 2033 w 22128"/>
                    <a:gd name="connsiteY25" fmla="*/ 6938 h 13815"/>
                    <a:gd name="connsiteX26" fmla="*/ 1854 w 22128"/>
                    <a:gd name="connsiteY26" fmla="*/ 6758 h 13815"/>
                    <a:gd name="connsiteX27" fmla="*/ 1854 w 22128"/>
                    <a:gd name="connsiteY27" fmla="*/ 6758 h 13815"/>
                    <a:gd name="connsiteX28" fmla="*/ 1794 w 22128"/>
                    <a:gd name="connsiteY28" fmla="*/ 6758 h 13815"/>
                    <a:gd name="connsiteX29" fmla="*/ 1435 w 22128"/>
                    <a:gd name="connsiteY29" fmla="*/ 6399 h 13815"/>
                    <a:gd name="connsiteX30" fmla="*/ 1435 w 22128"/>
                    <a:gd name="connsiteY30" fmla="*/ 6399 h 13815"/>
                    <a:gd name="connsiteX31" fmla="*/ 778 w 22128"/>
                    <a:gd name="connsiteY31" fmla="*/ 5742 h 13815"/>
                    <a:gd name="connsiteX32" fmla="*/ 658 w 22128"/>
                    <a:gd name="connsiteY32" fmla="*/ 5562 h 13815"/>
                    <a:gd name="connsiteX33" fmla="*/ 598 w 22128"/>
                    <a:gd name="connsiteY33" fmla="*/ 5443 h 13815"/>
                    <a:gd name="connsiteX34" fmla="*/ 598 w 22128"/>
                    <a:gd name="connsiteY34" fmla="*/ 5443 h 13815"/>
                    <a:gd name="connsiteX35" fmla="*/ 60 w 22128"/>
                    <a:gd name="connsiteY35" fmla="*/ 4605 h 13815"/>
                    <a:gd name="connsiteX36" fmla="*/ 0 w 22128"/>
                    <a:gd name="connsiteY36" fmla="*/ 3768 h 13815"/>
                    <a:gd name="connsiteX37" fmla="*/ 1794 w 22128"/>
                    <a:gd name="connsiteY37" fmla="*/ 239 h 13815"/>
                    <a:gd name="connsiteX38" fmla="*/ 1914 w 22128"/>
                    <a:gd name="connsiteY38" fmla="*/ 0 h 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128" h="13815">
                      <a:moveTo>
                        <a:pt x="22128" y="9510"/>
                      </a:moveTo>
                      <a:lnTo>
                        <a:pt x="20334" y="13038"/>
                      </a:lnTo>
                      <a:lnTo>
                        <a:pt x="20274" y="13098"/>
                      </a:lnTo>
                      <a:lnTo>
                        <a:pt x="19736" y="13636"/>
                      </a:lnTo>
                      <a:lnTo>
                        <a:pt x="18540" y="13815"/>
                      </a:lnTo>
                      <a:lnTo>
                        <a:pt x="17703" y="13756"/>
                      </a:lnTo>
                      <a:lnTo>
                        <a:pt x="17225" y="13696"/>
                      </a:lnTo>
                      <a:lnTo>
                        <a:pt x="16806" y="13636"/>
                      </a:lnTo>
                      <a:lnTo>
                        <a:pt x="16746" y="13636"/>
                      </a:lnTo>
                      <a:lnTo>
                        <a:pt x="16208" y="13516"/>
                      </a:lnTo>
                      <a:lnTo>
                        <a:pt x="16208" y="13516"/>
                      </a:lnTo>
                      <a:lnTo>
                        <a:pt x="15789" y="13397"/>
                      </a:lnTo>
                      <a:lnTo>
                        <a:pt x="14473" y="13098"/>
                      </a:lnTo>
                      <a:lnTo>
                        <a:pt x="13756" y="12859"/>
                      </a:lnTo>
                      <a:lnTo>
                        <a:pt x="11902" y="12260"/>
                      </a:lnTo>
                      <a:lnTo>
                        <a:pt x="9330" y="11184"/>
                      </a:lnTo>
                      <a:lnTo>
                        <a:pt x="9210" y="11124"/>
                      </a:lnTo>
                      <a:lnTo>
                        <a:pt x="8373" y="10706"/>
                      </a:lnTo>
                      <a:lnTo>
                        <a:pt x="6579" y="9808"/>
                      </a:lnTo>
                      <a:lnTo>
                        <a:pt x="4186" y="8433"/>
                      </a:lnTo>
                      <a:lnTo>
                        <a:pt x="3768" y="8134"/>
                      </a:lnTo>
                      <a:lnTo>
                        <a:pt x="3469" y="7895"/>
                      </a:lnTo>
                      <a:lnTo>
                        <a:pt x="3469" y="7895"/>
                      </a:lnTo>
                      <a:lnTo>
                        <a:pt x="2332" y="7117"/>
                      </a:lnTo>
                      <a:lnTo>
                        <a:pt x="2213" y="7057"/>
                      </a:lnTo>
                      <a:lnTo>
                        <a:pt x="2033" y="6938"/>
                      </a:lnTo>
                      <a:lnTo>
                        <a:pt x="1854" y="6758"/>
                      </a:lnTo>
                      <a:lnTo>
                        <a:pt x="1854" y="6758"/>
                      </a:lnTo>
                      <a:lnTo>
                        <a:pt x="1794" y="6758"/>
                      </a:lnTo>
                      <a:lnTo>
                        <a:pt x="1435" y="6399"/>
                      </a:lnTo>
                      <a:lnTo>
                        <a:pt x="1435" y="6399"/>
                      </a:lnTo>
                      <a:lnTo>
                        <a:pt x="778" y="5742"/>
                      </a:lnTo>
                      <a:lnTo>
                        <a:pt x="658" y="5562"/>
                      </a:lnTo>
                      <a:lnTo>
                        <a:pt x="598" y="5443"/>
                      </a:lnTo>
                      <a:lnTo>
                        <a:pt x="598" y="5443"/>
                      </a:lnTo>
                      <a:lnTo>
                        <a:pt x="60" y="4605"/>
                      </a:lnTo>
                      <a:lnTo>
                        <a:pt x="0" y="3768"/>
                      </a:lnTo>
                      <a:lnTo>
                        <a:pt x="1794" y="239"/>
                      </a:lnTo>
                      <a:lnTo>
                        <a:pt x="1914" y="0"/>
                      </a:lnTo>
                    </a:path>
                  </a:pathLst>
                </a:custGeom>
                <a:noFill/>
                <a:ln w="6350" cap="flat">
                  <a:solidFill>
                    <a:schemeClr val="bg1">
                      <a:alpha val="80000"/>
                    </a:schemeClr>
                  </a:solidFill>
                  <a:prstDash val="solid"/>
                  <a:miter/>
                </a:ln>
              </p:spPr>
              <p:txBody>
                <a:bodyPr rtlCol="0" anchor="ctr"/>
                <a:lstStyle/>
                <a:p>
                  <a:endParaRPr lang="en-GB"/>
                </a:p>
              </p:txBody>
            </p:sp>
            <p:sp>
              <p:nvSpPr>
                <p:cNvPr id="7978" name="Vrije vorm: vorm 7977">
                  <a:extLst>
                    <a:ext uri="{FF2B5EF4-FFF2-40B4-BE49-F238E27FC236}">
                      <a16:creationId xmlns:a16="http://schemas.microsoft.com/office/drawing/2014/main" id="{D75A9B6B-2079-4CFA-8DB1-F3D7F187622D}"/>
                    </a:ext>
                  </a:extLst>
                </p:cNvPr>
                <p:cNvSpPr/>
                <p:nvPr/>
              </p:nvSpPr>
              <p:spPr>
                <a:xfrm>
                  <a:off x="5601982" y="5290766"/>
                  <a:ext cx="25597" cy="16626"/>
                </a:xfrm>
                <a:custGeom>
                  <a:avLst/>
                  <a:gdLst>
                    <a:gd name="connsiteX0" fmla="*/ 60 w 25597"/>
                    <a:gd name="connsiteY0" fmla="*/ 6100 h 16626"/>
                    <a:gd name="connsiteX1" fmla="*/ 0 w 25597"/>
                    <a:gd name="connsiteY1" fmla="*/ 5203 h 16626"/>
                    <a:gd name="connsiteX2" fmla="*/ 1795 w 25597"/>
                    <a:gd name="connsiteY2" fmla="*/ 1675 h 16626"/>
                    <a:gd name="connsiteX3" fmla="*/ 2333 w 25597"/>
                    <a:gd name="connsiteY3" fmla="*/ 658 h 16626"/>
                    <a:gd name="connsiteX4" fmla="*/ 3050 w 25597"/>
                    <a:gd name="connsiteY4" fmla="*/ 120 h 16626"/>
                    <a:gd name="connsiteX5" fmla="*/ 4486 w 25597"/>
                    <a:gd name="connsiteY5" fmla="*/ 0 h 16626"/>
                    <a:gd name="connsiteX6" fmla="*/ 6579 w 25597"/>
                    <a:gd name="connsiteY6" fmla="*/ 299 h 16626"/>
                    <a:gd name="connsiteX7" fmla="*/ 9151 w 25597"/>
                    <a:gd name="connsiteY7" fmla="*/ 957 h 16626"/>
                    <a:gd name="connsiteX8" fmla="*/ 11782 w 25597"/>
                    <a:gd name="connsiteY8" fmla="*/ 1854 h 16626"/>
                    <a:gd name="connsiteX9" fmla="*/ 12021 w 25597"/>
                    <a:gd name="connsiteY9" fmla="*/ 1914 h 16626"/>
                    <a:gd name="connsiteX10" fmla="*/ 14593 w 25597"/>
                    <a:gd name="connsiteY10" fmla="*/ 2990 h 16626"/>
                    <a:gd name="connsiteX11" fmla="*/ 15012 w 25597"/>
                    <a:gd name="connsiteY11" fmla="*/ 3170 h 16626"/>
                    <a:gd name="connsiteX12" fmla="*/ 17524 w 25597"/>
                    <a:gd name="connsiteY12" fmla="*/ 4426 h 16626"/>
                    <a:gd name="connsiteX13" fmla="*/ 17942 w 25597"/>
                    <a:gd name="connsiteY13" fmla="*/ 4665 h 16626"/>
                    <a:gd name="connsiteX14" fmla="*/ 20335 w 25597"/>
                    <a:gd name="connsiteY14" fmla="*/ 6041 h 16626"/>
                    <a:gd name="connsiteX15" fmla="*/ 20574 w 25597"/>
                    <a:gd name="connsiteY15" fmla="*/ 6160 h 16626"/>
                    <a:gd name="connsiteX16" fmla="*/ 22787 w 25597"/>
                    <a:gd name="connsiteY16" fmla="*/ 7655 h 16626"/>
                    <a:gd name="connsiteX17" fmla="*/ 24461 w 25597"/>
                    <a:gd name="connsiteY17" fmla="*/ 9091 h 16626"/>
                    <a:gd name="connsiteX18" fmla="*/ 25418 w 25597"/>
                    <a:gd name="connsiteY18" fmla="*/ 10287 h 16626"/>
                    <a:gd name="connsiteX19" fmla="*/ 25598 w 25597"/>
                    <a:gd name="connsiteY19" fmla="*/ 11244 h 16626"/>
                    <a:gd name="connsiteX20" fmla="*/ 23804 w 25597"/>
                    <a:gd name="connsiteY20" fmla="*/ 14773 h 16626"/>
                    <a:gd name="connsiteX21" fmla="*/ 23265 w 25597"/>
                    <a:gd name="connsiteY21" fmla="*/ 15789 h 16626"/>
                    <a:gd name="connsiteX22" fmla="*/ 22667 w 25597"/>
                    <a:gd name="connsiteY22" fmla="*/ 16387 h 16626"/>
                    <a:gd name="connsiteX23" fmla="*/ 21292 w 25597"/>
                    <a:gd name="connsiteY23" fmla="*/ 16627 h 16626"/>
                    <a:gd name="connsiteX24" fmla="*/ 20933 w 25597"/>
                    <a:gd name="connsiteY24" fmla="*/ 16567 h 16626"/>
                    <a:gd name="connsiteX25" fmla="*/ 19258 w 25597"/>
                    <a:gd name="connsiteY25" fmla="*/ 16387 h 16626"/>
                    <a:gd name="connsiteX26" fmla="*/ 18421 w 25597"/>
                    <a:gd name="connsiteY26" fmla="*/ 16208 h 16626"/>
                    <a:gd name="connsiteX27" fmla="*/ 17464 w 25597"/>
                    <a:gd name="connsiteY27" fmla="*/ 15968 h 16626"/>
                    <a:gd name="connsiteX28" fmla="*/ 17464 w 25597"/>
                    <a:gd name="connsiteY28" fmla="*/ 15968 h 16626"/>
                    <a:gd name="connsiteX29" fmla="*/ 16686 w 25597"/>
                    <a:gd name="connsiteY29" fmla="*/ 15789 h 16626"/>
                    <a:gd name="connsiteX30" fmla="*/ 14055 w 25597"/>
                    <a:gd name="connsiteY30" fmla="*/ 14892 h 16626"/>
                    <a:gd name="connsiteX31" fmla="*/ 13756 w 25597"/>
                    <a:gd name="connsiteY31" fmla="*/ 14773 h 16626"/>
                    <a:gd name="connsiteX32" fmla="*/ 12620 w 25597"/>
                    <a:gd name="connsiteY32" fmla="*/ 14294 h 16626"/>
                    <a:gd name="connsiteX33" fmla="*/ 10586 w 25597"/>
                    <a:gd name="connsiteY33" fmla="*/ 13457 h 16626"/>
                    <a:gd name="connsiteX34" fmla="*/ 10048 w 25597"/>
                    <a:gd name="connsiteY34" fmla="*/ 13158 h 16626"/>
                    <a:gd name="connsiteX35" fmla="*/ 10048 w 25597"/>
                    <a:gd name="connsiteY35" fmla="*/ 13158 h 16626"/>
                    <a:gd name="connsiteX36" fmla="*/ 8074 w 25597"/>
                    <a:gd name="connsiteY36" fmla="*/ 12201 h 16626"/>
                    <a:gd name="connsiteX37" fmla="*/ 8074 w 25597"/>
                    <a:gd name="connsiteY37" fmla="*/ 12201 h 16626"/>
                    <a:gd name="connsiteX38" fmla="*/ 7954 w 25597"/>
                    <a:gd name="connsiteY38" fmla="*/ 12141 h 16626"/>
                    <a:gd name="connsiteX39" fmla="*/ 7536 w 25597"/>
                    <a:gd name="connsiteY39" fmla="*/ 11902 h 16626"/>
                    <a:gd name="connsiteX40" fmla="*/ 5144 w 25597"/>
                    <a:gd name="connsiteY40" fmla="*/ 10526 h 16626"/>
                    <a:gd name="connsiteX41" fmla="*/ 4785 w 25597"/>
                    <a:gd name="connsiteY41" fmla="*/ 10347 h 16626"/>
                    <a:gd name="connsiteX42" fmla="*/ 4785 w 25597"/>
                    <a:gd name="connsiteY42" fmla="*/ 10347 h 16626"/>
                    <a:gd name="connsiteX43" fmla="*/ 4785 w 25597"/>
                    <a:gd name="connsiteY43" fmla="*/ 10347 h 16626"/>
                    <a:gd name="connsiteX44" fmla="*/ 2811 w 25597"/>
                    <a:gd name="connsiteY44" fmla="*/ 8971 h 16626"/>
                    <a:gd name="connsiteX45" fmla="*/ 2811 w 25597"/>
                    <a:gd name="connsiteY45" fmla="*/ 8971 h 16626"/>
                    <a:gd name="connsiteX46" fmla="*/ 2512 w 25597"/>
                    <a:gd name="connsiteY46" fmla="*/ 8792 h 16626"/>
                    <a:gd name="connsiteX47" fmla="*/ 897 w 25597"/>
                    <a:gd name="connsiteY47" fmla="*/ 7356 h 16626"/>
                    <a:gd name="connsiteX48" fmla="*/ 897 w 25597"/>
                    <a:gd name="connsiteY48" fmla="*/ 7356 h 16626"/>
                    <a:gd name="connsiteX49" fmla="*/ 60 w 25597"/>
                    <a:gd name="connsiteY49" fmla="*/ 6100 h 1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597" h="16626">
                      <a:moveTo>
                        <a:pt x="60" y="6100"/>
                      </a:moveTo>
                      <a:lnTo>
                        <a:pt x="0" y="5203"/>
                      </a:lnTo>
                      <a:lnTo>
                        <a:pt x="1795" y="1675"/>
                      </a:lnTo>
                      <a:lnTo>
                        <a:pt x="2333" y="658"/>
                      </a:lnTo>
                      <a:lnTo>
                        <a:pt x="3050" y="120"/>
                      </a:lnTo>
                      <a:lnTo>
                        <a:pt x="4486" y="0"/>
                      </a:lnTo>
                      <a:lnTo>
                        <a:pt x="6579" y="299"/>
                      </a:lnTo>
                      <a:lnTo>
                        <a:pt x="9151" y="957"/>
                      </a:lnTo>
                      <a:lnTo>
                        <a:pt x="11782" y="1854"/>
                      </a:lnTo>
                      <a:lnTo>
                        <a:pt x="12021" y="1914"/>
                      </a:lnTo>
                      <a:lnTo>
                        <a:pt x="14593" y="2990"/>
                      </a:lnTo>
                      <a:lnTo>
                        <a:pt x="15012" y="3170"/>
                      </a:lnTo>
                      <a:lnTo>
                        <a:pt x="17524" y="4426"/>
                      </a:lnTo>
                      <a:lnTo>
                        <a:pt x="17942" y="4665"/>
                      </a:lnTo>
                      <a:lnTo>
                        <a:pt x="20335" y="6041"/>
                      </a:lnTo>
                      <a:lnTo>
                        <a:pt x="20574" y="6160"/>
                      </a:lnTo>
                      <a:lnTo>
                        <a:pt x="22787" y="7655"/>
                      </a:lnTo>
                      <a:lnTo>
                        <a:pt x="24461" y="9091"/>
                      </a:lnTo>
                      <a:lnTo>
                        <a:pt x="25418" y="10287"/>
                      </a:lnTo>
                      <a:lnTo>
                        <a:pt x="25598" y="11244"/>
                      </a:lnTo>
                      <a:lnTo>
                        <a:pt x="23804" y="14773"/>
                      </a:lnTo>
                      <a:lnTo>
                        <a:pt x="23265" y="15789"/>
                      </a:lnTo>
                      <a:lnTo>
                        <a:pt x="22667" y="16387"/>
                      </a:lnTo>
                      <a:lnTo>
                        <a:pt x="21292" y="16627"/>
                      </a:lnTo>
                      <a:lnTo>
                        <a:pt x="20933" y="16567"/>
                      </a:lnTo>
                      <a:lnTo>
                        <a:pt x="19258" y="16387"/>
                      </a:lnTo>
                      <a:lnTo>
                        <a:pt x="18421" y="16208"/>
                      </a:lnTo>
                      <a:lnTo>
                        <a:pt x="17464" y="15968"/>
                      </a:lnTo>
                      <a:lnTo>
                        <a:pt x="17464" y="15968"/>
                      </a:lnTo>
                      <a:lnTo>
                        <a:pt x="16686" y="15789"/>
                      </a:lnTo>
                      <a:lnTo>
                        <a:pt x="14055" y="14892"/>
                      </a:lnTo>
                      <a:lnTo>
                        <a:pt x="13756" y="14773"/>
                      </a:lnTo>
                      <a:lnTo>
                        <a:pt x="12620" y="14294"/>
                      </a:lnTo>
                      <a:lnTo>
                        <a:pt x="10586" y="13457"/>
                      </a:lnTo>
                      <a:lnTo>
                        <a:pt x="10048" y="13158"/>
                      </a:lnTo>
                      <a:lnTo>
                        <a:pt x="10048" y="13158"/>
                      </a:lnTo>
                      <a:lnTo>
                        <a:pt x="8074" y="12201"/>
                      </a:lnTo>
                      <a:lnTo>
                        <a:pt x="8074" y="12201"/>
                      </a:lnTo>
                      <a:lnTo>
                        <a:pt x="7954" y="12141"/>
                      </a:lnTo>
                      <a:lnTo>
                        <a:pt x="7536" y="11902"/>
                      </a:lnTo>
                      <a:lnTo>
                        <a:pt x="5144" y="10526"/>
                      </a:lnTo>
                      <a:lnTo>
                        <a:pt x="4785" y="10347"/>
                      </a:lnTo>
                      <a:lnTo>
                        <a:pt x="4785" y="10347"/>
                      </a:lnTo>
                      <a:lnTo>
                        <a:pt x="4785" y="10347"/>
                      </a:lnTo>
                      <a:lnTo>
                        <a:pt x="2811" y="8971"/>
                      </a:lnTo>
                      <a:lnTo>
                        <a:pt x="2811" y="8971"/>
                      </a:lnTo>
                      <a:lnTo>
                        <a:pt x="2512" y="8792"/>
                      </a:lnTo>
                      <a:lnTo>
                        <a:pt x="897" y="7356"/>
                      </a:lnTo>
                      <a:lnTo>
                        <a:pt x="897" y="7356"/>
                      </a:lnTo>
                      <a:lnTo>
                        <a:pt x="60" y="6100"/>
                      </a:lnTo>
                    </a:path>
                  </a:pathLst>
                </a:custGeom>
                <a:noFill/>
                <a:ln w="6350" cap="flat">
                  <a:solidFill>
                    <a:schemeClr val="bg1">
                      <a:alpha val="80000"/>
                    </a:schemeClr>
                  </a:solidFill>
                  <a:prstDash val="solid"/>
                  <a:miter/>
                </a:ln>
              </p:spPr>
              <p:txBody>
                <a:bodyPr rtlCol="0" anchor="ctr"/>
                <a:lstStyle/>
                <a:p>
                  <a:endParaRPr lang="en-GB"/>
                </a:p>
              </p:txBody>
            </p:sp>
            <p:sp>
              <p:nvSpPr>
                <p:cNvPr id="7979" name="Vrije vorm: vorm 7978">
                  <a:extLst>
                    <a:ext uri="{FF2B5EF4-FFF2-40B4-BE49-F238E27FC236}">
                      <a16:creationId xmlns:a16="http://schemas.microsoft.com/office/drawing/2014/main" id="{581B6758-6778-4670-A8BF-B1E3FB7D499A}"/>
                    </a:ext>
                  </a:extLst>
                </p:cNvPr>
                <p:cNvSpPr/>
                <p:nvPr/>
              </p:nvSpPr>
              <p:spPr>
                <a:xfrm>
                  <a:off x="5604255" y="5291364"/>
                  <a:ext cx="23324" cy="11423"/>
                </a:xfrm>
                <a:custGeom>
                  <a:avLst/>
                  <a:gdLst>
                    <a:gd name="connsiteX0" fmla="*/ 23325 w 23324"/>
                    <a:gd name="connsiteY0" fmla="*/ 10645 h 11423"/>
                    <a:gd name="connsiteX1" fmla="*/ 22727 w 23324"/>
                    <a:gd name="connsiteY1" fmla="*/ 11243 h 11423"/>
                    <a:gd name="connsiteX2" fmla="*/ 21351 w 23324"/>
                    <a:gd name="connsiteY2" fmla="*/ 11423 h 11423"/>
                    <a:gd name="connsiteX3" fmla="*/ 19318 w 23324"/>
                    <a:gd name="connsiteY3" fmla="*/ 11184 h 11423"/>
                    <a:gd name="connsiteX4" fmla="*/ 16746 w 23324"/>
                    <a:gd name="connsiteY4" fmla="*/ 10526 h 11423"/>
                    <a:gd name="connsiteX5" fmla="*/ 15072 w 23324"/>
                    <a:gd name="connsiteY5" fmla="*/ 9988 h 11423"/>
                    <a:gd name="connsiteX6" fmla="*/ 13756 w 23324"/>
                    <a:gd name="connsiteY6" fmla="*/ 9569 h 11423"/>
                    <a:gd name="connsiteX7" fmla="*/ 11184 w 23324"/>
                    <a:gd name="connsiteY7" fmla="*/ 8493 h 11423"/>
                    <a:gd name="connsiteX8" fmla="*/ 10646 w 23324"/>
                    <a:gd name="connsiteY8" fmla="*/ 8253 h 11423"/>
                    <a:gd name="connsiteX9" fmla="*/ 8134 w 23324"/>
                    <a:gd name="connsiteY9" fmla="*/ 6997 h 11423"/>
                    <a:gd name="connsiteX10" fmla="*/ 7596 w 23324"/>
                    <a:gd name="connsiteY10" fmla="*/ 6698 h 11423"/>
                    <a:gd name="connsiteX11" fmla="*/ 5861 w 23324"/>
                    <a:gd name="connsiteY11" fmla="*/ 5681 h 11423"/>
                    <a:gd name="connsiteX12" fmla="*/ 4844 w 23324"/>
                    <a:gd name="connsiteY12" fmla="*/ 5083 h 11423"/>
                    <a:gd name="connsiteX13" fmla="*/ 2572 w 23324"/>
                    <a:gd name="connsiteY13" fmla="*/ 3528 h 11423"/>
                    <a:gd name="connsiteX14" fmla="*/ 957 w 23324"/>
                    <a:gd name="connsiteY14" fmla="*/ 2093 h 11423"/>
                    <a:gd name="connsiteX15" fmla="*/ 60 w 23324"/>
                    <a:gd name="connsiteY15" fmla="*/ 897 h 11423"/>
                    <a:gd name="connsiteX16" fmla="*/ 0 w 23324"/>
                    <a:gd name="connsiteY16" fmla="*/ 0 h 1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324" h="11423">
                      <a:moveTo>
                        <a:pt x="23325" y="10645"/>
                      </a:moveTo>
                      <a:lnTo>
                        <a:pt x="22727" y="11243"/>
                      </a:lnTo>
                      <a:lnTo>
                        <a:pt x="21351" y="11423"/>
                      </a:lnTo>
                      <a:lnTo>
                        <a:pt x="19318" y="11184"/>
                      </a:lnTo>
                      <a:lnTo>
                        <a:pt x="16746" y="10526"/>
                      </a:lnTo>
                      <a:lnTo>
                        <a:pt x="15072" y="9988"/>
                      </a:lnTo>
                      <a:lnTo>
                        <a:pt x="13756" y="9569"/>
                      </a:lnTo>
                      <a:lnTo>
                        <a:pt x="11184" y="8493"/>
                      </a:lnTo>
                      <a:lnTo>
                        <a:pt x="10646" y="8253"/>
                      </a:lnTo>
                      <a:lnTo>
                        <a:pt x="8134" y="6997"/>
                      </a:lnTo>
                      <a:lnTo>
                        <a:pt x="7596" y="6698"/>
                      </a:lnTo>
                      <a:lnTo>
                        <a:pt x="5861" y="5681"/>
                      </a:lnTo>
                      <a:lnTo>
                        <a:pt x="4844" y="5083"/>
                      </a:lnTo>
                      <a:lnTo>
                        <a:pt x="2572" y="3528"/>
                      </a:lnTo>
                      <a:lnTo>
                        <a:pt x="957" y="2093"/>
                      </a:lnTo>
                      <a:lnTo>
                        <a:pt x="60" y="897"/>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80" name="Vrije vorm: vorm 7979">
                  <a:extLst>
                    <a:ext uri="{FF2B5EF4-FFF2-40B4-BE49-F238E27FC236}">
                      <a16:creationId xmlns:a16="http://schemas.microsoft.com/office/drawing/2014/main" id="{D7EEB2FB-A170-4A39-8F26-C719C23B101D}"/>
                    </a:ext>
                  </a:extLst>
                </p:cNvPr>
                <p:cNvSpPr/>
                <p:nvPr/>
              </p:nvSpPr>
              <p:spPr>
                <a:xfrm>
                  <a:off x="5705269" y="5143759"/>
                  <a:ext cx="18360" cy="29664"/>
                </a:xfrm>
                <a:custGeom>
                  <a:avLst/>
                  <a:gdLst>
                    <a:gd name="connsiteX0" fmla="*/ 11304 w 18360"/>
                    <a:gd name="connsiteY0" fmla="*/ 29665 h 29664"/>
                    <a:gd name="connsiteX1" fmla="*/ 8792 w 18360"/>
                    <a:gd name="connsiteY1" fmla="*/ 28468 h 29664"/>
                    <a:gd name="connsiteX2" fmla="*/ 6280 w 18360"/>
                    <a:gd name="connsiteY2" fmla="*/ 27272 h 29664"/>
                    <a:gd name="connsiteX3" fmla="*/ 5622 w 18360"/>
                    <a:gd name="connsiteY3" fmla="*/ 26973 h 29664"/>
                    <a:gd name="connsiteX4" fmla="*/ 3170 w 18360"/>
                    <a:gd name="connsiteY4" fmla="*/ 25598 h 29664"/>
                    <a:gd name="connsiteX5" fmla="*/ 718 w 18360"/>
                    <a:gd name="connsiteY5" fmla="*/ 24222 h 29664"/>
                    <a:gd name="connsiteX6" fmla="*/ 0 w 18360"/>
                    <a:gd name="connsiteY6" fmla="*/ 23863 h 29664"/>
                    <a:gd name="connsiteX7" fmla="*/ 60 w 18360"/>
                    <a:gd name="connsiteY7" fmla="*/ 20275 h 29664"/>
                    <a:gd name="connsiteX8" fmla="*/ 120 w 18360"/>
                    <a:gd name="connsiteY8" fmla="*/ 16985 h 29664"/>
                    <a:gd name="connsiteX9" fmla="*/ 1914 w 18360"/>
                    <a:gd name="connsiteY9" fmla="*/ 13457 h 29664"/>
                    <a:gd name="connsiteX10" fmla="*/ 3708 w 18360"/>
                    <a:gd name="connsiteY10" fmla="*/ 9928 h 29664"/>
                    <a:gd name="connsiteX11" fmla="*/ 5502 w 18360"/>
                    <a:gd name="connsiteY11" fmla="*/ 6399 h 29664"/>
                    <a:gd name="connsiteX12" fmla="*/ 6878 w 18360"/>
                    <a:gd name="connsiteY12" fmla="*/ 3649 h 29664"/>
                    <a:gd name="connsiteX13" fmla="*/ 9749 w 18360"/>
                    <a:gd name="connsiteY13" fmla="*/ 1495 h 29664"/>
                    <a:gd name="connsiteX14" fmla="*/ 11842 w 18360"/>
                    <a:gd name="connsiteY14" fmla="*/ 0 h 29664"/>
                    <a:gd name="connsiteX15" fmla="*/ 14414 w 18360"/>
                    <a:gd name="connsiteY15" fmla="*/ 1077 h 29664"/>
                    <a:gd name="connsiteX16" fmla="*/ 16985 w 18360"/>
                    <a:gd name="connsiteY16" fmla="*/ 2153 h 29664"/>
                    <a:gd name="connsiteX17" fmla="*/ 18361 w 18360"/>
                    <a:gd name="connsiteY17" fmla="*/ 2751 h 2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360" h="29664">
                      <a:moveTo>
                        <a:pt x="11304" y="29665"/>
                      </a:moveTo>
                      <a:lnTo>
                        <a:pt x="8792" y="28468"/>
                      </a:lnTo>
                      <a:lnTo>
                        <a:pt x="6280" y="27272"/>
                      </a:lnTo>
                      <a:lnTo>
                        <a:pt x="5622" y="26973"/>
                      </a:lnTo>
                      <a:lnTo>
                        <a:pt x="3170" y="25598"/>
                      </a:lnTo>
                      <a:lnTo>
                        <a:pt x="718" y="24222"/>
                      </a:lnTo>
                      <a:lnTo>
                        <a:pt x="0" y="23863"/>
                      </a:lnTo>
                      <a:lnTo>
                        <a:pt x="60" y="20275"/>
                      </a:lnTo>
                      <a:lnTo>
                        <a:pt x="120" y="16985"/>
                      </a:lnTo>
                      <a:lnTo>
                        <a:pt x="1914" y="13457"/>
                      </a:lnTo>
                      <a:lnTo>
                        <a:pt x="3708" y="9928"/>
                      </a:lnTo>
                      <a:lnTo>
                        <a:pt x="5502" y="6399"/>
                      </a:lnTo>
                      <a:lnTo>
                        <a:pt x="6878" y="3649"/>
                      </a:lnTo>
                      <a:lnTo>
                        <a:pt x="9749" y="1495"/>
                      </a:lnTo>
                      <a:lnTo>
                        <a:pt x="11842" y="0"/>
                      </a:lnTo>
                      <a:lnTo>
                        <a:pt x="14414" y="1077"/>
                      </a:lnTo>
                      <a:lnTo>
                        <a:pt x="16985" y="2153"/>
                      </a:lnTo>
                      <a:lnTo>
                        <a:pt x="18361" y="2751"/>
                      </a:lnTo>
                    </a:path>
                  </a:pathLst>
                </a:custGeom>
                <a:noFill/>
                <a:ln w="6350" cap="flat">
                  <a:solidFill>
                    <a:schemeClr val="bg1">
                      <a:alpha val="80000"/>
                    </a:schemeClr>
                  </a:solidFill>
                  <a:prstDash val="solid"/>
                  <a:miter/>
                </a:ln>
              </p:spPr>
              <p:txBody>
                <a:bodyPr rtlCol="0" anchor="ctr"/>
                <a:lstStyle/>
                <a:p>
                  <a:endParaRPr lang="en-GB"/>
                </a:p>
              </p:txBody>
            </p:sp>
            <p:sp>
              <p:nvSpPr>
                <p:cNvPr id="7981" name="Vrije vorm: vorm 7980">
                  <a:extLst>
                    <a:ext uri="{FF2B5EF4-FFF2-40B4-BE49-F238E27FC236}">
                      <a16:creationId xmlns:a16="http://schemas.microsoft.com/office/drawing/2014/main" id="{496E8153-2BAD-4053-822F-860507818C28}"/>
                    </a:ext>
                  </a:extLst>
                </p:cNvPr>
                <p:cNvSpPr/>
                <p:nvPr/>
              </p:nvSpPr>
              <p:spPr>
                <a:xfrm>
                  <a:off x="5751740" y="5389687"/>
                  <a:ext cx="12021" cy="12439"/>
                </a:xfrm>
                <a:custGeom>
                  <a:avLst/>
                  <a:gdLst>
                    <a:gd name="connsiteX0" fmla="*/ 12021 w 12021"/>
                    <a:gd name="connsiteY0" fmla="*/ 0 h 12439"/>
                    <a:gd name="connsiteX1" fmla="*/ 10287 w 12021"/>
                    <a:gd name="connsiteY1" fmla="*/ 3528 h 12439"/>
                    <a:gd name="connsiteX2" fmla="*/ 8552 w 12021"/>
                    <a:gd name="connsiteY2" fmla="*/ 7057 h 12439"/>
                    <a:gd name="connsiteX3" fmla="*/ 7117 w 12021"/>
                    <a:gd name="connsiteY3" fmla="*/ 9928 h 12439"/>
                    <a:gd name="connsiteX4" fmla="*/ 4127 w 12021"/>
                    <a:gd name="connsiteY4" fmla="*/ 11543 h 12439"/>
                    <a:gd name="connsiteX5" fmla="*/ 2452 w 12021"/>
                    <a:gd name="connsiteY5" fmla="*/ 12440 h 12439"/>
                    <a:gd name="connsiteX6" fmla="*/ 0 w 12021"/>
                    <a:gd name="connsiteY6" fmla="*/ 12380 h 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21" h="12439">
                      <a:moveTo>
                        <a:pt x="12021" y="0"/>
                      </a:moveTo>
                      <a:lnTo>
                        <a:pt x="10287" y="3528"/>
                      </a:lnTo>
                      <a:lnTo>
                        <a:pt x="8552" y="7057"/>
                      </a:lnTo>
                      <a:lnTo>
                        <a:pt x="7117" y="9928"/>
                      </a:lnTo>
                      <a:lnTo>
                        <a:pt x="4127" y="11543"/>
                      </a:lnTo>
                      <a:lnTo>
                        <a:pt x="2452" y="12440"/>
                      </a:lnTo>
                      <a:lnTo>
                        <a:pt x="0" y="12380"/>
                      </a:lnTo>
                    </a:path>
                  </a:pathLst>
                </a:custGeom>
                <a:noFill/>
                <a:ln w="6350" cap="flat">
                  <a:solidFill>
                    <a:schemeClr val="bg1">
                      <a:alpha val="80000"/>
                    </a:schemeClr>
                  </a:solidFill>
                  <a:prstDash val="solid"/>
                  <a:miter/>
                </a:ln>
              </p:spPr>
              <p:txBody>
                <a:bodyPr rtlCol="0" anchor="ctr"/>
                <a:lstStyle/>
                <a:p>
                  <a:endParaRPr lang="en-GB"/>
                </a:p>
              </p:txBody>
            </p:sp>
            <p:sp>
              <p:nvSpPr>
                <p:cNvPr id="7982" name="Vrije vorm: vorm 7981">
                  <a:extLst>
                    <a:ext uri="{FF2B5EF4-FFF2-40B4-BE49-F238E27FC236}">
                      <a16:creationId xmlns:a16="http://schemas.microsoft.com/office/drawing/2014/main" id="{0A8D845D-4BD5-493D-A44E-78792C86152A}"/>
                    </a:ext>
                  </a:extLst>
                </p:cNvPr>
                <p:cNvSpPr/>
                <p:nvPr/>
              </p:nvSpPr>
              <p:spPr>
                <a:xfrm>
                  <a:off x="5733259" y="5057936"/>
                  <a:ext cx="7535" cy="2152"/>
                </a:xfrm>
                <a:custGeom>
                  <a:avLst/>
                  <a:gdLst>
                    <a:gd name="connsiteX0" fmla="*/ 7536 w 7535"/>
                    <a:gd name="connsiteY0" fmla="*/ 2153 h 2152"/>
                    <a:gd name="connsiteX1" fmla="*/ 4844 w 7535"/>
                    <a:gd name="connsiteY1" fmla="*/ 1375 h 2152"/>
                    <a:gd name="connsiteX2" fmla="*/ 2153 w 7535"/>
                    <a:gd name="connsiteY2" fmla="*/ 598 h 2152"/>
                    <a:gd name="connsiteX3" fmla="*/ 0 w 7535"/>
                    <a:gd name="connsiteY3" fmla="*/ 0 h 2152"/>
                  </a:gdLst>
                  <a:ahLst/>
                  <a:cxnLst>
                    <a:cxn ang="0">
                      <a:pos x="connsiteX0" y="connsiteY0"/>
                    </a:cxn>
                    <a:cxn ang="0">
                      <a:pos x="connsiteX1" y="connsiteY1"/>
                    </a:cxn>
                    <a:cxn ang="0">
                      <a:pos x="connsiteX2" y="connsiteY2"/>
                    </a:cxn>
                    <a:cxn ang="0">
                      <a:pos x="connsiteX3" y="connsiteY3"/>
                    </a:cxn>
                  </a:cxnLst>
                  <a:rect l="l" t="t" r="r" b="b"/>
                  <a:pathLst>
                    <a:path w="7535" h="2152">
                      <a:moveTo>
                        <a:pt x="7536" y="2153"/>
                      </a:moveTo>
                      <a:lnTo>
                        <a:pt x="4844" y="1375"/>
                      </a:lnTo>
                      <a:lnTo>
                        <a:pt x="2153" y="598"/>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83" name="Vrije vorm: vorm 7982">
                  <a:extLst>
                    <a:ext uri="{FF2B5EF4-FFF2-40B4-BE49-F238E27FC236}">
                      <a16:creationId xmlns:a16="http://schemas.microsoft.com/office/drawing/2014/main" id="{AAEB87E1-799B-4FA7-8851-D870811C8FD9}"/>
                    </a:ext>
                  </a:extLst>
                </p:cNvPr>
                <p:cNvSpPr/>
                <p:nvPr/>
              </p:nvSpPr>
              <p:spPr>
                <a:xfrm>
                  <a:off x="5617771" y="5311578"/>
                  <a:ext cx="298" cy="658"/>
                </a:xfrm>
                <a:custGeom>
                  <a:avLst/>
                  <a:gdLst>
                    <a:gd name="connsiteX0" fmla="*/ 299 w 298"/>
                    <a:gd name="connsiteY0" fmla="*/ 0 h 658"/>
                    <a:gd name="connsiteX1" fmla="*/ 0 w 298"/>
                    <a:gd name="connsiteY1" fmla="*/ 658 h 658"/>
                    <a:gd name="connsiteX2" fmla="*/ 0 w 298"/>
                    <a:gd name="connsiteY2" fmla="*/ 658 h 658"/>
                  </a:gdLst>
                  <a:ahLst/>
                  <a:cxnLst>
                    <a:cxn ang="0">
                      <a:pos x="connsiteX0" y="connsiteY0"/>
                    </a:cxn>
                    <a:cxn ang="0">
                      <a:pos x="connsiteX1" y="connsiteY1"/>
                    </a:cxn>
                    <a:cxn ang="0">
                      <a:pos x="connsiteX2" y="connsiteY2"/>
                    </a:cxn>
                  </a:cxnLst>
                  <a:rect l="l" t="t" r="r" b="b"/>
                  <a:pathLst>
                    <a:path w="298" h="658">
                      <a:moveTo>
                        <a:pt x="299" y="0"/>
                      </a:moveTo>
                      <a:lnTo>
                        <a:pt x="0" y="658"/>
                      </a:lnTo>
                      <a:lnTo>
                        <a:pt x="0" y="658"/>
                      </a:lnTo>
                    </a:path>
                  </a:pathLst>
                </a:custGeom>
                <a:noFill/>
                <a:ln w="6350" cap="flat">
                  <a:solidFill>
                    <a:schemeClr val="bg1">
                      <a:alpha val="80000"/>
                    </a:schemeClr>
                  </a:solidFill>
                  <a:prstDash val="solid"/>
                  <a:miter/>
                </a:ln>
              </p:spPr>
              <p:txBody>
                <a:bodyPr rtlCol="0" anchor="ctr"/>
                <a:lstStyle/>
                <a:p>
                  <a:endParaRPr lang="en-GB"/>
                </a:p>
              </p:txBody>
            </p:sp>
            <p:sp>
              <p:nvSpPr>
                <p:cNvPr id="7984" name="Vrije vorm: vorm 7983">
                  <a:extLst>
                    <a:ext uri="{FF2B5EF4-FFF2-40B4-BE49-F238E27FC236}">
                      <a16:creationId xmlns:a16="http://schemas.microsoft.com/office/drawing/2014/main" id="{08CC3FDB-4F8D-4CE5-B8A8-F8AC599360D5}"/>
                    </a:ext>
                  </a:extLst>
                </p:cNvPr>
                <p:cNvSpPr/>
                <p:nvPr/>
              </p:nvSpPr>
              <p:spPr>
                <a:xfrm>
                  <a:off x="5588167" y="5364867"/>
                  <a:ext cx="3887" cy="7655"/>
                </a:xfrm>
                <a:custGeom>
                  <a:avLst/>
                  <a:gdLst>
                    <a:gd name="connsiteX0" fmla="*/ 3888 w 3887"/>
                    <a:gd name="connsiteY0" fmla="*/ 0 h 7655"/>
                    <a:gd name="connsiteX1" fmla="*/ 2093 w 3887"/>
                    <a:gd name="connsiteY1" fmla="*/ 3528 h 7655"/>
                    <a:gd name="connsiteX2" fmla="*/ 419 w 3887"/>
                    <a:gd name="connsiteY2" fmla="*/ 6758 h 7655"/>
                    <a:gd name="connsiteX3" fmla="*/ 0 w 3887"/>
                    <a:gd name="connsiteY3" fmla="*/ 7655 h 7655"/>
                  </a:gdLst>
                  <a:ahLst/>
                  <a:cxnLst>
                    <a:cxn ang="0">
                      <a:pos x="connsiteX0" y="connsiteY0"/>
                    </a:cxn>
                    <a:cxn ang="0">
                      <a:pos x="connsiteX1" y="connsiteY1"/>
                    </a:cxn>
                    <a:cxn ang="0">
                      <a:pos x="connsiteX2" y="connsiteY2"/>
                    </a:cxn>
                    <a:cxn ang="0">
                      <a:pos x="connsiteX3" y="connsiteY3"/>
                    </a:cxn>
                  </a:cxnLst>
                  <a:rect l="l" t="t" r="r" b="b"/>
                  <a:pathLst>
                    <a:path w="3887" h="7655">
                      <a:moveTo>
                        <a:pt x="3888" y="0"/>
                      </a:moveTo>
                      <a:lnTo>
                        <a:pt x="2093" y="3528"/>
                      </a:lnTo>
                      <a:lnTo>
                        <a:pt x="419" y="6758"/>
                      </a:lnTo>
                      <a:lnTo>
                        <a:pt x="0" y="7655"/>
                      </a:lnTo>
                    </a:path>
                  </a:pathLst>
                </a:custGeom>
                <a:noFill/>
                <a:ln w="6350" cap="flat">
                  <a:solidFill>
                    <a:schemeClr val="bg1">
                      <a:alpha val="80000"/>
                    </a:schemeClr>
                  </a:solidFill>
                  <a:prstDash val="solid"/>
                  <a:miter/>
                </a:ln>
              </p:spPr>
              <p:txBody>
                <a:bodyPr rtlCol="0" anchor="ctr"/>
                <a:lstStyle/>
                <a:p>
                  <a:endParaRPr lang="en-GB"/>
                </a:p>
              </p:txBody>
            </p:sp>
            <p:sp>
              <p:nvSpPr>
                <p:cNvPr id="7985" name="Vrije vorm: vorm 7984">
                  <a:extLst>
                    <a:ext uri="{FF2B5EF4-FFF2-40B4-BE49-F238E27FC236}">
                      <a16:creationId xmlns:a16="http://schemas.microsoft.com/office/drawing/2014/main" id="{335A3974-182F-4DEE-8EC1-C0AA45243339}"/>
                    </a:ext>
                  </a:extLst>
                </p:cNvPr>
                <p:cNvSpPr/>
                <p:nvPr/>
              </p:nvSpPr>
              <p:spPr>
                <a:xfrm>
                  <a:off x="5596719" y="5362235"/>
                  <a:ext cx="418" cy="5143"/>
                </a:xfrm>
                <a:custGeom>
                  <a:avLst/>
                  <a:gdLst>
                    <a:gd name="connsiteX0" fmla="*/ 0 w 418"/>
                    <a:gd name="connsiteY0" fmla="*/ 0 h 5143"/>
                    <a:gd name="connsiteX1" fmla="*/ 299 w 418"/>
                    <a:gd name="connsiteY1" fmla="*/ 3469 h 5143"/>
                    <a:gd name="connsiteX2" fmla="*/ 299 w 418"/>
                    <a:gd name="connsiteY2" fmla="*/ 3828 h 5143"/>
                    <a:gd name="connsiteX3" fmla="*/ 418 w 418"/>
                    <a:gd name="connsiteY3" fmla="*/ 5143 h 5143"/>
                  </a:gdLst>
                  <a:ahLst/>
                  <a:cxnLst>
                    <a:cxn ang="0">
                      <a:pos x="connsiteX0" y="connsiteY0"/>
                    </a:cxn>
                    <a:cxn ang="0">
                      <a:pos x="connsiteX1" y="connsiteY1"/>
                    </a:cxn>
                    <a:cxn ang="0">
                      <a:pos x="connsiteX2" y="connsiteY2"/>
                    </a:cxn>
                    <a:cxn ang="0">
                      <a:pos x="connsiteX3" y="connsiteY3"/>
                    </a:cxn>
                  </a:cxnLst>
                  <a:rect l="l" t="t" r="r" b="b"/>
                  <a:pathLst>
                    <a:path w="418" h="5143">
                      <a:moveTo>
                        <a:pt x="0" y="0"/>
                      </a:moveTo>
                      <a:lnTo>
                        <a:pt x="299" y="3469"/>
                      </a:lnTo>
                      <a:lnTo>
                        <a:pt x="299" y="3828"/>
                      </a:lnTo>
                      <a:lnTo>
                        <a:pt x="418" y="5143"/>
                      </a:lnTo>
                    </a:path>
                  </a:pathLst>
                </a:custGeom>
                <a:noFill/>
                <a:ln w="6350" cap="flat">
                  <a:solidFill>
                    <a:schemeClr val="bg1">
                      <a:alpha val="80000"/>
                    </a:schemeClr>
                  </a:solidFill>
                  <a:prstDash val="solid"/>
                  <a:miter/>
                </a:ln>
              </p:spPr>
              <p:txBody>
                <a:bodyPr rtlCol="0" anchor="ctr"/>
                <a:lstStyle/>
                <a:p>
                  <a:endParaRPr lang="en-GB"/>
                </a:p>
              </p:txBody>
            </p:sp>
            <p:sp>
              <p:nvSpPr>
                <p:cNvPr id="7986" name="Vrije vorm: vorm 7985">
                  <a:extLst>
                    <a:ext uri="{FF2B5EF4-FFF2-40B4-BE49-F238E27FC236}">
                      <a16:creationId xmlns:a16="http://schemas.microsoft.com/office/drawing/2014/main" id="{6A68F450-2046-4BC0-80D7-A9C4769281B6}"/>
                    </a:ext>
                  </a:extLst>
                </p:cNvPr>
                <p:cNvSpPr/>
                <p:nvPr/>
              </p:nvSpPr>
              <p:spPr>
                <a:xfrm>
                  <a:off x="5734575" y="5113856"/>
                  <a:ext cx="6279" cy="2272"/>
                </a:xfrm>
                <a:custGeom>
                  <a:avLst/>
                  <a:gdLst>
                    <a:gd name="connsiteX0" fmla="*/ 6280 w 6279"/>
                    <a:gd name="connsiteY0" fmla="*/ 2273 h 2272"/>
                    <a:gd name="connsiteX1" fmla="*/ 3648 w 6279"/>
                    <a:gd name="connsiteY1" fmla="*/ 1316 h 2272"/>
                    <a:gd name="connsiteX2" fmla="*/ 1017 w 6279"/>
                    <a:gd name="connsiteY2" fmla="*/ 359 h 2272"/>
                    <a:gd name="connsiteX3" fmla="*/ 0 w 6279"/>
                    <a:gd name="connsiteY3" fmla="*/ 0 h 2272"/>
                  </a:gdLst>
                  <a:ahLst/>
                  <a:cxnLst>
                    <a:cxn ang="0">
                      <a:pos x="connsiteX0" y="connsiteY0"/>
                    </a:cxn>
                    <a:cxn ang="0">
                      <a:pos x="connsiteX1" y="connsiteY1"/>
                    </a:cxn>
                    <a:cxn ang="0">
                      <a:pos x="connsiteX2" y="connsiteY2"/>
                    </a:cxn>
                    <a:cxn ang="0">
                      <a:pos x="connsiteX3" y="connsiteY3"/>
                    </a:cxn>
                  </a:cxnLst>
                  <a:rect l="l" t="t" r="r" b="b"/>
                  <a:pathLst>
                    <a:path w="6279" h="2272">
                      <a:moveTo>
                        <a:pt x="6280" y="2273"/>
                      </a:moveTo>
                      <a:lnTo>
                        <a:pt x="3648" y="1316"/>
                      </a:lnTo>
                      <a:lnTo>
                        <a:pt x="1017" y="359"/>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87" name="Vrije vorm: vorm 7986">
                  <a:extLst>
                    <a:ext uri="{FF2B5EF4-FFF2-40B4-BE49-F238E27FC236}">
                      <a16:creationId xmlns:a16="http://schemas.microsoft.com/office/drawing/2014/main" id="{B1A4A39C-D8DA-4ECF-9744-2C4BE23DD096}"/>
                    </a:ext>
                  </a:extLst>
                </p:cNvPr>
                <p:cNvSpPr/>
                <p:nvPr/>
              </p:nvSpPr>
              <p:spPr>
                <a:xfrm>
                  <a:off x="5814059" y="5034073"/>
                  <a:ext cx="59" cy="119"/>
                </a:xfrm>
                <a:custGeom>
                  <a:avLst/>
                  <a:gdLst>
                    <a:gd name="connsiteX0" fmla="*/ 60 w 59"/>
                    <a:gd name="connsiteY0" fmla="*/ 0 h 119"/>
                    <a:gd name="connsiteX1" fmla="*/ 0 w 59"/>
                    <a:gd name="connsiteY1" fmla="*/ 120 h 119"/>
                  </a:gdLst>
                  <a:ahLst/>
                  <a:cxnLst>
                    <a:cxn ang="0">
                      <a:pos x="connsiteX0" y="connsiteY0"/>
                    </a:cxn>
                    <a:cxn ang="0">
                      <a:pos x="connsiteX1" y="connsiteY1"/>
                    </a:cxn>
                  </a:cxnLst>
                  <a:rect l="l" t="t" r="r" b="b"/>
                  <a:pathLst>
                    <a:path w="59" h="119">
                      <a:moveTo>
                        <a:pt x="60" y="0"/>
                      </a:moveTo>
                      <a:lnTo>
                        <a:pt x="0" y="120"/>
                      </a:lnTo>
                    </a:path>
                  </a:pathLst>
                </a:custGeom>
                <a:noFill/>
                <a:ln w="6350" cap="flat">
                  <a:solidFill>
                    <a:schemeClr val="bg1">
                      <a:alpha val="80000"/>
                    </a:schemeClr>
                  </a:solidFill>
                  <a:prstDash val="solid"/>
                  <a:miter/>
                </a:ln>
              </p:spPr>
              <p:txBody>
                <a:bodyPr rtlCol="0" anchor="ctr"/>
                <a:lstStyle/>
                <a:p>
                  <a:endParaRPr lang="en-GB"/>
                </a:p>
              </p:txBody>
            </p:sp>
            <p:sp>
              <p:nvSpPr>
                <p:cNvPr id="7988" name="Vrije vorm: vorm 7987">
                  <a:extLst>
                    <a:ext uri="{FF2B5EF4-FFF2-40B4-BE49-F238E27FC236}">
                      <a16:creationId xmlns:a16="http://schemas.microsoft.com/office/drawing/2014/main" id="{F5D20306-42F6-4644-A5D5-AE3D09081B88}"/>
                    </a:ext>
                  </a:extLst>
                </p:cNvPr>
                <p:cNvSpPr/>
                <p:nvPr/>
              </p:nvSpPr>
              <p:spPr>
                <a:xfrm>
                  <a:off x="5826798" y="5041489"/>
                  <a:ext cx="59" cy="119"/>
                </a:xfrm>
                <a:custGeom>
                  <a:avLst/>
                  <a:gdLst>
                    <a:gd name="connsiteX0" fmla="*/ 60 w 59"/>
                    <a:gd name="connsiteY0" fmla="*/ 0 h 119"/>
                    <a:gd name="connsiteX1" fmla="*/ 0 w 59"/>
                    <a:gd name="connsiteY1" fmla="*/ 120 h 119"/>
                  </a:gdLst>
                  <a:ahLst/>
                  <a:cxnLst>
                    <a:cxn ang="0">
                      <a:pos x="connsiteX0" y="connsiteY0"/>
                    </a:cxn>
                    <a:cxn ang="0">
                      <a:pos x="connsiteX1" y="connsiteY1"/>
                    </a:cxn>
                  </a:cxnLst>
                  <a:rect l="l" t="t" r="r" b="b"/>
                  <a:pathLst>
                    <a:path w="59" h="119">
                      <a:moveTo>
                        <a:pt x="60" y="0"/>
                      </a:moveTo>
                      <a:lnTo>
                        <a:pt x="0" y="120"/>
                      </a:lnTo>
                    </a:path>
                  </a:pathLst>
                </a:custGeom>
                <a:noFill/>
                <a:ln w="6350" cap="flat">
                  <a:solidFill>
                    <a:schemeClr val="bg1">
                      <a:alpha val="80000"/>
                    </a:schemeClr>
                  </a:solidFill>
                  <a:prstDash val="solid"/>
                  <a:miter/>
                </a:ln>
              </p:spPr>
              <p:txBody>
                <a:bodyPr rtlCol="0" anchor="ctr"/>
                <a:lstStyle/>
                <a:p>
                  <a:endParaRPr lang="en-GB"/>
                </a:p>
              </p:txBody>
            </p:sp>
            <p:sp>
              <p:nvSpPr>
                <p:cNvPr id="7989" name="Vrije vorm: vorm 7988">
                  <a:extLst>
                    <a:ext uri="{FF2B5EF4-FFF2-40B4-BE49-F238E27FC236}">
                      <a16:creationId xmlns:a16="http://schemas.microsoft.com/office/drawing/2014/main" id="{8EB025FB-E489-49FF-8663-ABAA3A3FD83A}"/>
                    </a:ext>
                  </a:extLst>
                </p:cNvPr>
                <p:cNvSpPr/>
                <p:nvPr/>
              </p:nvSpPr>
              <p:spPr>
                <a:xfrm>
                  <a:off x="5729372" y="5217502"/>
                  <a:ext cx="2810" cy="13995"/>
                </a:xfrm>
                <a:custGeom>
                  <a:avLst/>
                  <a:gdLst>
                    <a:gd name="connsiteX0" fmla="*/ 0 w 2810"/>
                    <a:gd name="connsiteY0" fmla="*/ 0 h 13995"/>
                    <a:gd name="connsiteX1" fmla="*/ 658 w 2810"/>
                    <a:gd name="connsiteY1" fmla="*/ 3289 h 13995"/>
                    <a:gd name="connsiteX2" fmla="*/ 778 w 2810"/>
                    <a:gd name="connsiteY2" fmla="*/ 3828 h 13995"/>
                    <a:gd name="connsiteX3" fmla="*/ 1435 w 2810"/>
                    <a:gd name="connsiteY3" fmla="*/ 7117 h 13995"/>
                    <a:gd name="connsiteX4" fmla="*/ 2093 w 2810"/>
                    <a:gd name="connsiteY4" fmla="*/ 10406 h 13995"/>
                    <a:gd name="connsiteX5" fmla="*/ 2273 w 2810"/>
                    <a:gd name="connsiteY5" fmla="*/ 11423 h 13995"/>
                    <a:gd name="connsiteX6" fmla="*/ 2751 w 2810"/>
                    <a:gd name="connsiteY6" fmla="*/ 13636 h 13995"/>
                    <a:gd name="connsiteX7" fmla="*/ 2811 w 2810"/>
                    <a:gd name="connsiteY7" fmla="*/ 13995 h 1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0" h="13995">
                      <a:moveTo>
                        <a:pt x="0" y="0"/>
                      </a:moveTo>
                      <a:lnTo>
                        <a:pt x="658" y="3289"/>
                      </a:lnTo>
                      <a:lnTo>
                        <a:pt x="778" y="3828"/>
                      </a:lnTo>
                      <a:lnTo>
                        <a:pt x="1435" y="7117"/>
                      </a:lnTo>
                      <a:lnTo>
                        <a:pt x="2093" y="10406"/>
                      </a:lnTo>
                      <a:lnTo>
                        <a:pt x="2273" y="11423"/>
                      </a:lnTo>
                      <a:lnTo>
                        <a:pt x="2751" y="13636"/>
                      </a:lnTo>
                      <a:lnTo>
                        <a:pt x="2811" y="13995"/>
                      </a:lnTo>
                    </a:path>
                  </a:pathLst>
                </a:custGeom>
                <a:noFill/>
                <a:ln w="6350" cap="flat">
                  <a:solidFill>
                    <a:schemeClr val="bg1">
                      <a:alpha val="80000"/>
                    </a:schemeClr>
                  </a:solidFill>
                  <a:prstDash val="solid"/>
                  <a:miter/>
                </a:ln>
              </p:spPr>
              <p:txBody>
                <a:bodyPr rtlCol="0" anchor="ctr"/>
                <a:lstStyle/>
                <a:p>
                  <a:endParaRPr lang="en-GB"/>
                </a:p>
              </p:txBody>
            </p:sp>
            <p:sp>
              <p:nvSpPr>
                <p:cNvPr id="7990" name="Vrije vorm: vorm 7989">
                  <a:extLst>
                    <a:ext uri="{FF2B5EF4-FFF2-40B4-BE49-F238E27FC236}">
                      <a16:creationId xmlns:a16="http://schemas.microsoft.com/office/drawing/2014/main" id="{95FCB69A-22E1-43C6-9A18-FBF4529912FF}"/>
                    </a:ext>
                  </a:extLst>
                </p:cNvPr>
                <p:cNvSpPr/>
                <p:nvPr/>
              </p:nvSpPr>
              <p:spPr>
                <a:xfrm>
                  <a:off x="5801260" y="508120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91" name="Vrije vorm: vorm 7990">
                  <a:extLst>
                    <a:ext uri="{FF2B5EF4-FFF2-40B4-BE49-F238E27FC236}">
                      <a16:creationId xmlns:a16="http://schemas.microsoft.com/office/drawing/2014/main" id="{19AA46FA-CE76-4124-BF0D-5A550802998E}"/>
                    </a:ext>
                  </a:extLst>
                </p:cNvPr>
                <p:cNvSpPr/>
                <p:nvPr/>
              </p:nvSpPr>
              <p:spPr>
                <a:xfrm>
                  <a:off x="5742769" y="5208949"/>
                  <a:ext cx="3827" cy="1136"/>
                </a:xfrm>
                <a:custGeom>
                  <a:avLst/>
                  <a:gdLst>
                    <a:gd name="connsiteX0" fmla="*/ 3828 w 3827"/>
                    <a:gd name="connsiteY0" fmla="*/ 0 h 1136"/>
                    <a:gd name="connsiteX1" fmla="*/ 778 w 3827"/>
                    <a:gd name="connsiteY1" fmla="*/ 897 h 1136"/>
                    <a:gd name="connsiteX2" fmla="*/ 0 w 3827"/>
                    <a:gd name="connsiteY2" fmla="*/ 1136 h 1136"/>
                  </a:gdLst>
                  <a:ahLst/>
                  <a:cxnLst>
                    <a:cxn ang="0">
                      <a:pos x="connsiteX0" y="connsiteY0"/>
                    </a:cxn>
                    <a:cxn ang="0">
                      <a:pos x="connsiteX1" y="connsiteY1"/>
                    </a:cxn>
                    <a:cxn ang="0">
                      <a:pos x="connsiteX2" y="connsiteY2"/>
                    </a:cxn>
                  </a:cxnLst>
                  <a:rect l="l" t="t" r="r" b="b"/>
                  <a:pathLst>
                    <a:path w="3827" h="1136">
                      <a:moveTo>
                        <a:pt x="3828" y="0"/>
                      </a:moveTo>
                      <a:lnTo>
                        <a:pt x="778" y="897"/>
                      </a:lnTo>
                      <a:lnTo>
                        <a:pt x="0" y="1136"/>
                      </a:lnTo>
                    </a:path>
                  </a:pathLst>
                </a:custGeom>
                <a:noFill/>
                <a:ln w="6350" cap="flat">
                  <a:solidFill>
                    <a:schemeClr val="bg1">
                      <a:alpha val="80000"/>
                    </a:schemeClr>
                  </a:solidFill>
                  <a:prstDash val="solid"/>
                  <a:miter/>
                </a:ln>
              </p:spPr>
              <p:txBody>
                <a:bodyPr rtlCol="0" anchor="ctr"/>
                <a:lstStyle/>
                <a:p>
                  <a:endParaRPr lang="en-GB"/>
                </a:p>
              </p:txBody>
            </p:sp>
            <p:sp>
              <p:nvSpPr>
                <p:cNvPr id="7992" name="Vrije vorm: vorm 7991">
                  <a:extLst>
                    <a:ext uri="{FF2B5EF4-FFF2-40B4-BE49-F238E27FC236}">
                      <a16:creationId xmlns:a16="http://schemas.microsoft.com/office/drawing/2014/main" id="{B046DCA8-54AF-4D48-AB66-A2F85F2B4EF3}"/>
                    </a:ext>
                  </a:extLst>
                </p:cNvPr>
                <p:cNvSpPr/>
                <p:nvPr/>
              </p:nvSpPr>
              <p:spPr>
                <a:xfrm>
                  <a:off x="5784634" y="5165529"/>
                  <a:ext cx="1136" cy="1495"/>
                </a:xfrm>
                <a:custGeom>
                  <a:avLst/>
                  <a:gdLst>
                    <a:gd name="connsiteX0" fmla="*/ 1136 w 1136"/>
                    <a:gd name="connsiteY0" fmla="*/ 0 h 1495"/>
                    <a:gd name="connsiteX1" fmla="*/ 239 w 1136"/>
                    <a:gd name="connsiteY1" fmla="*/ 1196 h 1495"/>
                    <a:gd name="connsiteX2" fmla="*/ 0 w 1136"/>
                    <a:gd name="connsiteY2" fmla="*/ 1495 h 1495"/>
                  </a:gdLst>
                  <a:ahLst/>
                  <a:cxnLst>
                    <a:cxn ang="0">
                      <a:pos x="connsiteX0" y="connsiteY0"/>
                    </a:cxn>
                    <a:cxn ang="0">
                      <a:pos x="connsiteX1" y="connsiteY1"/>
                    </a:cxn>
                    <a:cxn ang="0">
                      <a:pos x="connsiteX2" y="connsiteY2"/>
                    </a:cxn>
                  </a:cxnLst>
                  <a:rect l="l" t="t" r="r" b="b"/>
                  <a:pathLst>
                    <a:path w="1136" h="1495">
                      <a:moveTo>
                        <a:pt x="1136" y="0"/>
                      </a:moveTo>
                      <a:lnTo>
                        <a:pt x="239" y="1196"/>
                      </a:lnTo>
                      <a:lnTo>
                        <a:pt x="0" y="1495"/>
                      </a:lnTo>
                    </a:path>
                  </a:pathLst>
                </a:custGeom>
                <a:noFill/>
                <a:ln w="6350" cap="flat">
                  <a:solidFill>
                    <a:schemeClr val="bg1">
                      <a:alpha val="80000"/>
                    </a:schemeClr>
                  </a:solidFill>
                  <a:prstDash val="solid"/>
                  <a:miter/>
                </a:ln>
              </p:spPr>
              <p:txBody>
                <a:bodyPr rtlCol="0" anchor="ctr"/>
                <a:lstStyle/>
                <a:p>
                  <a:endParaRPr lang="en-GB"/>
                </a:p>
              </p:txBody>
            </p:sp>
            <p:sp>
              <p:nvSpPr>
                <p:cNvPr id="7993" name="Vrije vorm: vorm 7992">
                  <a:extLst>
                    <a:ext uri="{FF2B5EF4-FFF2-40B4-BE49-F238E27FC236}">
                      <a16:creationId xmlns:a16="http://schemas.microsoft.com/office/drawing/2014/main" id="{69A45A27-040A-47F5-8D3D-0FDE9686028D}"/>
                    </a:ext>
                  </a:extLst>
                </p:cNvPr>
                <p:cNvSpPr/>
                <p:nvPr/>
              </p:nvSpPr>
              <p:spPr>
                <a:xfrm>
                  <a:off x="5789119" y="5168101"/>
                  <a:ext cx="418" cy="179"/>
                </a:xfrm>
                <a:custGeom>
                  <a:avLst/>
                  <a:gdLst>
                    <a:gd name="connsiteX0" fmla="*/ 0 w 418"/>
                    <a:gd name="connsiteY0" fmla="*/ 0 h 179"/>
                    <a:gd name="connsiteX1" fmla="*/ 419 w 418"/>
                    <a:gd name="connsiteY1" fmla="*/ 180 h 179"/>
                  </a:gdLst>
                  <a:ahLst/>
                  <a:cxnLst>
                    <a:cxn ang="0">
                      <a:pos x="connsiteX0" y="connsiteY0"/>
                    </a:cxn>
                    <a:cxn ang="0">
                      <a:pos x="connsiteX1" y="connsiteY1"/>
                    </a:cxn>
                  </a:cxnLst>
                  <a:rect l="l" t="t" r="r" b="b"/>
                  <a:pathLst>
                    <a:path w="418" h="179">
                      <a:moveTo>
                        <a:pt x="0" y="0"/>
                      </a:moveTo>
                      <a:lnTo>
                        <a:pt x="419" y="180"/>
                      </a:lnTo>
                    </a:path>
                  </a:pathLst>
                </a:custGeom>
                <a:noFill/>
                <a:ln w="6350" cap="flat">
                  <a:solidFill>
                    <a:schemeClr val="bg1">
                      <a:alpha val="80000"/>
                    </a:schemeClr>
                  </a:solidFill>
                  <a:prstDash val="solid"/>
                  <a:miter/>
                </a:ln>
              </p:spPr>
              <p:txBody>
                <a:bodyPr rtlCol="0" anchor="ctr"/>
                <a:lstStyle/>
                <a:p>
                  <a:endParaRPr lang="en-GB"/>
                </a:p>
              </p:txBody>
            </p:sp>
            <p:sp>
              <p:nvSpPr>
                <p:cNvPr id="7994" name="Vrije vorm: vorm 7993">
                  <a:extLst>
                    <a:ext uri="{FF2B5EF4-FFF2-40B4-BE49-F238E27FC236}">
                      <a16:creationId xmlns:a16="http://schemas.microsoft.com/office/drawing/2014/main" id="{FE54D8CB-461B-482B-9BA6-13A80575E657}"/>
                    </a:ext>
                  </a:extLst>
                </p:cNvPr>
                <p:cNvSpPr/>
                <p:nvPr/>
              </p:nvSpPr>
              <p:spPr>
                <a:xfrm>
                  <a:off x="5770878" y="5207753"/>
                  <a:ext cx="478" cy="538"/>
                </a:xfrm>
                <a:custGeom>
                  <a:avLst/>
                  <a:gdLst>
                    <a:gd name="connsiteX0" fmla="*/ 0 w 478"/>
                    <a:gd name="connsiteY0" fmla="*/ 538 h 538"/>
                    <a:gd name="connsiteX1" fmla="*/ 478 w 478"/>
                    <a:gd name="connsiteY1" fmla="*/ 0 h 538"/>
                  </a:gdLst>
                  <a:ahLst/>
                  <a:cxnLst>
                    <a:cxn ang="0">
                      <a:pos x="connsiteX0" y="connsiteY0"/>
                    </a:cxn>
                    <a:cxn ang="0">
                      <a:pos x="connsiteX1" y="connsiteY1"/>
                    </a:cxn>
                  </a:cxnLst>
                  <a:rect l="l" t="t" r="r" b="b"/>
                  <a:pathLst>
                    <a:path w="478" h="538">
                      <a:moveTo>
                        <a:pt x="0" y="538"/>
                      </a:moveTo>
                      <a:lnTo>
                        <a:pt x="478" y="0"/>
                      </a:lnTo>
                    </a:path>
                  </a:pathLst>
                </a:custGeom>
                <a:noFill/>
                <a:ln w="6350" cap="flat">
                  <a:solidFill>
                    <a:schemeClr val="bg1">
                      <a:alpha val="80000"/>
                    </a:schemeClr>
                  </a:solidFill>
                  <a:prstDash val="solid"/>
                  <a:miter/>
                </a:ln>
              </p:spPr>
              <p:txBody>
                <a:bodyPr rtlCol="0" anchor="ctr"/>
                <a:lstStyle/>
                <a:p>
                  <a:endParaRPr lang="en-GB"/>
                </a:p>
              </p:txBody>
            </p:sp>
            <p:sp>
              <p:nvSpPr>
                <p:cNvPr id="7995" name="Vrije vorm: vorm 7994">
                  <a:extLst>
                    <a:ext uri="{FF2B5EF4-FFF2-40B4-BE49-F238E27FC236}">
                      <a16:creationId xmlns:a16="http://schemas.microsoft.com/office/drawing/2014/main" id="{CFC8B031-1F14-4445-B3F4-0D6624883FAA}"/>
                    </a:ext>
                  </a:extLst>
                </p:cNvPr>
                <p:cNvSpPr/>
                <p:nvPr/>
              </p:nvSpPr>
              <p:spPr>
                <a:xfrm>
                  <a:off x="5771297" y="5204225"/>
                  <a:ext cx="5980" cy="1614"/>
                </a:xfrm>
                <a:custGeom>
                  <a:avLst/>
                  <a:gdLst>
                    <a:gd name="connsiteX0" fmla="*/ 0 w 5980"/>
                    <a:gd name="connsiteY0" fmla="*/ 0 h 1614"/>
                    <a:gd name="connsiteX1" fmla="*/ 0 w 5980"/>
                    <a:gd name="connsiteY1" fmla="*/ 1495 h 1614"/>
                    <a:gd name="connsiteX2" fmla="*/ 0 w 5980"/>
                    <a:gd name="connsiteY2" fmla="*/ 1615 h 1614"/>
                  </a:gdLst>
                  <a:ahLst/>
                  <a:cxnLst>
                    <a:cxn ang="0">
                      <a:pos x="connsiteX0" y="connsiteY0"/>
                    </a:cxn>
                    <a:cxn ang="0">
                      <a:pos x="connsiteX1" y="connsiteY1"/>
                    </a:cxn>
                    <a:cxn ang="0">
                      <a:pos x="connsiteX2" y="connsiteY2"/>
                    </a:cxn>
                  </a:cxnLst>
                  <a:rect l="l" t="t" r="r" b="b"/>
                  <a:pathLst>
                    <a:path w="5980" h="1614">
                      <a:moveTo>
                        <a:pt x="0" y="0"/>
                      </a:moveTo>
                      <a:lnTo>
                        <a:pt x="0" y="1495"/>
                      </a:lnTo>
                      <a:lnTo>
                        <a:pt x="0" y="1615"/>
                      </a:lnTo>
                    </a:path>
                  </a:pathLst>
                </a:custGeom>
                <a:noFill/>
                <a:ln w="6350" cap="flat">
                  <a:solidFill>
                    <a:schemeClr val="bg1">
                      <a:alpha val="80000"/>
                    </a:schemeClr>
                  </a:solidFill>
                  <a:prstDash val="solid"/>
                  <a:miter/>
                </a:ln>
              </p:spPr>
              <p:txBody>
                <a:bodyPr rtlCol="0" anchor="ctr"/>
                <a:lstStyle/>
                <a:p>
                  <a:endParaRPr lang="en-GB"/>
                </a:p>
              </p:txBody>
            </p:sp>
            <p:sp>
              <p:nvSpPr>
                <p:cNvPr id="7996" name="Vrije vorm: vorm 7995">
                  <a:extLst>
                    <a:ext uri="{FF2B5EF4-FFF2-40B4-BE49-F238E27FC236}">
                      <a16:creationId xmlns:a16="http://schemas.microsoft.com/office/drawing/2014/main" id="{B451D5A7-4808-4B5B-80FA-D4548F062A30}"/>
                    </a:ext>
                  </a:extLst>
                </p:cNvPr>
                <p:cNvSpPr/>
                <p:nvPr/>
              </p:nvSpPr>
              <p:spPr>
                <a:xfrm>
                  <a:off x="5818245" y="5164752"/>
                  <a:ext cx="3528" cy="10406"/>
                </a:xfrm>
                <a:custGeom>
                  <a:avLst/>
                  <a:gdLst>
                    <a:gd name="connsiteX0" fmla="*/ 0 w 3528"/>
                    <a:gd name="connsiteY0" fmla="*/ 0 h 10406"/>
                    <a:gd name="connsiteX1" fmla="*/ 957 w 3528"/>
                    <a:gd name="connsiteY1" fmla="*/ 2811 h 10406"/>
                    <a:gd name="connsiteX2" fmla="*/ 1974 w 3528"/>
                    <a:gd name="connsiteY2" fmla="*/ 5861 h 10406"/>
                    <a:gd name="connsiteX3" fmla="*/ 2632 w 3528"/>
                    <a:gd name="connsiteY3" fmla="*/ 7835 h 10406"/>
                    <a:gd name="connsiteX4" fmla="*/ 3528 w 3528"/>
                    <a:gd name="connsiteY4" fmla="*/ 10406 h 10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8" h="10406">
                      <a:moveTo>
                        <a:pt x="0" y="0"/>
                      </a:moveTo>
                      <a:lnTo>
                        <a:pt x="957" y="2811"/>
                      </a:lnTo>
                      <a:lnTo>
                        <a:pt x="1974" y="5861"/>
                      </a:lnTo>
                      <a:lnTo>
                        <a:pt x="2632" y="7835"/>
                      </a:lnTo>
                      <a:lnTo>
                        <a:pt x="3528" y="10406"/>
                      </a:lnTo>
                    </a:path>
                  </a:pathLst>
                </a:custGeom>
                <a:noFill/>
                <a:ln w="6350" cap="flat">
                  <a:solidFill>
                    <a:schemeClr val="bg1">
                      <a:alpha val="80000"/>
                    </a:schemeClr>
                  </a:solidFill>
                  <a:prstDash val="solid"/>
                  <a:miter/>
                </a:ln>
              </p:spPr>
              <p:txBody>
                <a:bodyPr rtlCol="0" anchor="ctr"/>
                <a:lstStyle/>
                <a:p>
                  <a:endParaRPr lang="en-GB"/>
                </a:p>
              </p:txBody>
            </p:sp>
            <p:sp>
              <p:nvSpPr>
                <p:cNvPr id="7997" name="Vrije vorm: vorm 7996">
                  <a:extLst>
                    <a:ext uri="{FF2B5EF4-FFF2-40B4-BE49-F238E27FC236}">
                      <a16:creationId xmlns:a16="http://schemas.microsoft.com/office/drawing/2014/main" id="{E4322D7C-3F1B-4FC3-8C2B-FD4C9577F00B}"/>
                    </a:ext>
                  </a:extLst>
                </p:cNvPr>
                <p:cNvSpPr/>
                <p:nvPr/>
              </p:nvSpPr>
              <p:spPr>
                <a:xfrm>
                  <a:off x="5796116" y="5235623"/>
                  <a:ext cx="1973" cy="1016"/>
                </a:xfrm>
                <a:custGeom>
                  <a:avLst/>
                  <a:gdLst>
                    <a:gd name="connsiteX0" fmla="*/ 0 w 1973"/>
                    <a:gd name="connsiteY0" fmla="*/ 0 h 1016"/>
                    <a:gd name="connsiteX1" fmla="*/ 359 w 1973"/>
                    <a:gd name="connsiteY1" fmla="*/ 179 h 1016"/>
                    <a:gd name="connsiteX2" fmla="*/ 1076 w 1973"/>
                    <a:gd name="connsiteY2" fmla="*/ 538 h 1016"/>
                    <a:gd name="connsiteX3" fmla="*/ 1076 w 1973"/>
                    <a:gd name="connsiteY3" fmla="*/ 538 h 1016"/>
                    <a:gd name="connsiteX4" fmla="*/ 1375 w 1973"/>
                    <a:gd name="connsiteY4" fmla="*/ 658 h 1016"/>
                    <a:gd name="connsiteX5" fmla="*/ 1435 w 1973"/>
                    <a:gd name="connsiteY5" fmla="*/ 718 h 1016"/>
                    <a:gd name="connsiteX6" fmla="*/ 1675 w 1973"/>
                    <a:gd name="connsiteY6" fmla="*/ 837 h 1016"/>
                    <a:gd name="connsiteX7" fmla="*/ 1974 w 1973"/>
                    <a:gd name="connsiteY7" fmla="*/ 1017 h 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3" h="1016">
                      <a:moveTo>
                        <a:pt x="0" y="0"/>
                      </a:moveTo>
                      <a:lnTo>
                        <a:pt x="359" y="179"/>
                      </a:lnTo>
                      <a:lnTo>
                        <a:pt x="1076" y="538"/>
                      </a:lnTo>
                      <a:lnTo>
                        <a:pt x="1076" y="538"/>
                      </a:lnTo>
                      <a:lnTo>
                        <a:pt x="1375" y="658"/>
                      </a:lnTo>
                      <a:lnTo>
                        <a:pt x="1435" y="718"/>
                      </a:lnTo>
                      <a:lnTo>
                        <a:pt x="1675" y="837"/>
                      </a:lnTo>
                      <a:lnTo>
                        <a:pt x="1974" y="1017"/>
                      </a:lnTo>
                    </a:path>
                  </a:pathLst>
                </a:custGeom>
                <a:noFill/>
                <a:ln w="6350" cap="flat">
                  <a:solidFill>
                    <a:schemeClr val="bg1">
                      <a:alpha val="80000"/>
                    </a:schemeClr>
                  </a:solidFill>
                  <a:prstDash val="solid"/>
                  <a:miter/>
                </a:ln>
              </p:spPr>
              <p:txBody>
                <a:bodyPr rtlCol="0" anchor="ctr"/>
                <a:lstStyle/>
                <a:p>
                  <a:endParaRPr lang="en-GB"/>
                </a:p>
              </p:txBody>
            </p:sp>
            <p:sp>
              <p:nvSpPr>
                <p:cNvPr id="7998" name="Vrije vorm: vorm 7997">
                  <a:extLst>
                    <a:ext uri="{FF2B5EF4-FFF2-40B4-BE49-F238E27FC236}">
                      <a16:creationId xmlns:a16="http://schemas.microsoft.com/office/drawing/2014/main" id="{F6AF7D17-6F52-4555-9A50-D797DD0530D9}"/>
                    </a:ext>
                  </a:extLst>
                </p:cNvPr>
                <p:cNvSpPr/>
                <p:nvPr/>
              </p:nvSpPr>
              <p:spPr>
                <a:xfrm>
                  <a:off x="5787983" y="5253027"/>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7999" name="Vrije vorm: vorm 7998">
                  <a:extLst>
                    <a:ext uri="{FF2B5EF4-FFF2-40B4-BE49-F238E27FC236}">
                      <a16:creationId xmlns:a16="http://schemas.microsoft.com/office/drawing/2014/main" id="{21C88EFB-403F-44F1-BCD1-6E005707F76E}"/>
                    </a:ext>
                  </a:extLst>
                </p:cNvPr>
                <p:cNvSpPr/>
                <p:nvPr/>
              </p:nvSpPr>
              <p:spPr>
                <a:xfrm>
                  <a:off x="5793186" y="5242561"/>
                  <a:ext cx="2751" cy="3409"/>
                </a:xfrm>
                <a:custGeom>
                  <a:avLst/>
                  <a:gdLst>
                    <a:gd name="connsiteX0" fmla="*/ 2751 w 2751"/>
                    <a:gd name="connsiteY0" fmla="*/ 0 h 3409"/>
                    <a:gd name="connsiteX1" fmla="*/ 299 w 2751"/>
                    <a:gd name="connsiteY1" fmla="*/ 2990 h 3409"/>
                    <a:gd name="connsiteX2" fmla="*/ 0 w 2751"/>
                    <a:gd name="connsiteY2" fmla="*/ 3409 h 3409"/>
                  </a:gdLst>
                  <a:ahLst/>
                  <a:cxnLst>
                    <a:cxn ang="0">
                      <a:pos x="connsiteX0" y="connsiteY0"/>
                    </a:cxn>
                    <a:cxn ang="0">
                      <a:pos x="connsiteX1" y="connsiteY1"/>
                    </a:cxn>
                    <a:cxn ang="0">
                      <a:pos x="connsiteX2" y="connsiteY2"/>
                    </a:cxn>
                  </a:cxnLst>
                  <a:rect l="l" t="t" r="r" b="b"/>
                  <a:pathLst>
                    <a:path w="2751" h="3409">
                      <a:moveTo>
                        <a:pt x="2751" y="0"/>
                      </a:moveTo>
                      <a:lnTo>
                        <a:pt x="299" y="2990"/>
                      </a:lnTo>
                      <a:lnTo>
                        <a:pt x="0" y="3409"/>
                      </a:lnTo>
                    </a:path>
                  </a:pathLst>
                </a:custGeom>
                <a:noFill/>
                <a:ln w="6350" cap="flat">
                  <a:solidFill>
                    <a:schemeClr val="bg1">
                      <a:alpha val="80000"/>
                    </a:schemeClr>
                  </a:solidFill>
                  <a:prstDash val="solid"/>
                  <a:miter/>
                </a:ln>
              </p:spPr>
              <p:txBody>
                <a:bodyPr rtlCol="0" anchor="ctr"/>
                <a:lstStyle/>
                <a:p>
                  <a:endParaRPr lang="en-GB"/>
                </a:p>
              </p:txBody>
            </p:sp>
            <p:sp>
              <p:nvSpPr>
                <p:cNvPr id="8000" name="Vrije vorm: vorm 7999">
                  <a:extLst>
                    <a:ext uri="{FF2B5EF4-FFF2-40B4-BE49-F238E27FC236}">
                      <a16:creationId xmlns:a16="http://schemas.microsoft.com/office/drawing/2014/main" id="{4290E0B5-4604-4F3F-A7EB-82A93366427F}"/>
                    </a:ext>
                  </a:extLst>
                </p:cNvPr>
                <p:cNvSpPr/>
                <p:nvPr/>
              </p:nvSpPr>
              <p:spPr>
                <a:xfrm>
                  <a:off x="5798090" y="5236700"/>
                  <a:ext cx="1734" cy="896"/>
                </a:xfrm>
                <a:custGeom>
                  <a:avLst/>
                  <a:gdLst>
                    <a:gd name="connsiteX0" fmla="*/ 0 w 1734"/>
                    <a:gd name="connsiteY0" fmla="*/ 0 h 896"/>
                    <a:gd name="connsiteX1" fmla="*/ 1734 w 1734"/>
                    <a:gd name="connsiteY1" fmla="*/ 897 h 896"/>
                  </a:gdLst>
                  <a:ahLst/>
                  <a:cxnLst>
                    <a:cxn ang="0">
                      <a:pos x="connsiteX0" y="connsiteY0"/>
                    </a:cxn>
                    <a:cxn ang="0">
                      <a:pos x="connsiteX1" y="connsiteY1"/>
                    </a:cxn>
                  </a:cxnLst>
                  <a:rect l="l" t="t" r="r" b="b"/>
                  <a:pathLst>
                    <a:path w="1734" h="896">
                      <a:moveTo>
                        <a:pt x="0" y="0"/>
                      </a:moveTo>
                      <a:lnTo>
                        <a:pt x="1734" y="897"/>
                      </a:lnTo>
                    </a:path>
                  </a:pathLst>
                </a:custGeom>
                <a:noFill/>
                <a:ln w="6350" cap="flat">
                  <a:solidFill>
                    <a:schemeClr val="bg1">
                      <a:alpha val="80000"/>
                    </a:schemeClr>
                  </a:solidFill>
                  <a:prstDash val="solid"/>
                  <a:miter/>
                </a:ln>
              </p:spPr>
              <p:txBody>
                <a:bodyPr rtlCol="0" anchor="ctr"/>
                <a:lstStyle/>
                <a:p>
                  <a:endParaRPr lang="en-GB"/>
                </a:p>
              </p:txBody>
            </p:sp>
            <p:sp>
              <p:nvSpPr>
                <p:cNvPr id="8001" name="Vrije vorm: vorm 8000">
                  <a:extLst>
                    <a:ext uri="{FF2B5EF4-FFF2-40B4-BE49-F238E27FC236}">
                      <a16:creationId xmlns:a16="http://schemas.microsoft.com/office/drawing/2014/main" id="{FA99D68E-783B-47F2-A3AD-786880132290}"/>
                    </a:ext>
                  </a:extLst>
                </p:cNvPr>
                <p:cNvSpPr/>
                <p:nvPr/>
              </p:nvSpPr>
              <p:spPr>
                <a:xfrm>
                  <a:off x="5797911" y="5240109"/>
                  <a:ext cx="59" cy="239"/>
                </a:xfrm>
                <a:custGeom>
                  <a:avLst/>
                  <a:gdLst>
                    <a:gd name="connsiteX0" fmla="*/ 0 w 59"/>
                    <a:gd name="connsiteY0" fmla="*/ 0 h 239"/>
                    <a:gd name="connsiteX1" fmla="*/ 60 w 59"/>
                    <a:gd name="connsiteY1" fmla="*/ 239 h 239"/>
                  </a:gdLst>
                  <a:ahLst/>
                  <a:cxnLst>
                    <a:cxn ang="0">
                      <a:pos x="connsiteX0" y="connsiteY0"/>
                    </a:cxn>
                    <a:cxn ang="0">
                      <a:pos x="connsiteX1" y="connsiteY1"/>
                    </a:cxn>
                  </a:cxnLst>
                  <a:rect l="l" t="t" r="r" b="b"/>
                  <a:pathLst>
                    <a:path w="59" h="239">
                      <a:moveTo>
                        <a:pt x="0" y="0"/>
                      </a:moveTo>
                      <a:lnTo>
                        <a:pt x="60" y="239"/>
                      </a:lnTo>
                    </a:path>
                  </a:pathLst>
                </a:custGeom>
                <a:noFill/>
                <a:ln w="6350" cap="flat">
                  <a:solidFill>
                    <a:schemeClr val="bg1">
                      <a:alpha val="80000"/>
                    </a:schemeClr>
                  </a:solidFill>
                  <a:prstDash val="solid"/>
                  <a:miter/>
                </a:ln>
              </p:spPr>
              <p:txBody>
                <a:bodyPr rtlCol="0" anchor="ctr"/>
                <a:lstStyle/>
                <a:p>
                  <a:endParaRPr lang="en-GB"/>
                </a:p>
              </p:txBody>
            </p:sp>
            <p:sp>
              <p:nvSpPr>
                <p:cNvPr id="8002" name="Vrije vorm: vorm 8001">
                  <a:extLst>
                    <a:ext uri="{FF2B5EF4-FFF2-40B4-BE49-F238E27FC236}">
                      <a16:creationId xmlns:a16="http://schemas.microsoft.com/office/drawing/2014/main" id="{AE6BA60A-A20F-4949-8236-403D2AFB8AB5}"/>
                    </a:ext>
                  </a:extLst>
                </p:cNvPr>
                <p:cNvSpPr/>
                <p:nvPr/>
              </p:nvSpPr>
              <p:spPr>
                <a:xfrm>
                  <a:off x="5794143" y="5243040"/>
                  <a:ext cx="2811" cy="3409"/>
                </a:xfrm>
                <a:custGeom>
                  <a:avLst/>
                  <a:gdLst>
                    <a:gd name="connsiteX0" fmla="*/ 2811 w 2811"/>
                    <a:gd name="connsiteY0" fmla="*/ 0 h 3409"/>
                    <a:gd name="connsiteX1" fmla="*/ 359 w 2811"/>
                    <a:gd name="connsiteY1" fmla="*/ 2990 h 3409"/>
                    <a:gd name="connsiteX2" fmla="*/ 299 w 2811"/>
                    <a:gd name="connsiteY2" fmla="*/ 3050 h 3409"/>
                    <a:gd name="connsiteX3" fmla="*/ 0 w 2811"/>
                    <a:gd name="connsiteY3" fmla="*/ 3409 h 3409"/>
                  </a:gdLst>
                  <a:ahLst/>
                  <a:cxnLst>
                    <a:cxn ang="0">
                      <a:pos x="connsiteX0" y="connsiteY0"/>
                    </a:cxn>
                    <a:cxn ang="0">
                      <a:pos x="connsiteX1" y="connsiteY1"/>
                    </a:cxn>
                    <a:cxn ang="0">
                      <a:pos x="connsiteX2" y="connsiteY2"/>
                    </a:cxn>
                    <a:cxn ang="0">
                      <a:pos x="connsiteX3" y="connsiteY3"/>
                    </a:cxn>
                  </a:cxnLst>
                  <a:rect l="l" t="t" r="r" b="b"/>
                  <a:pathLst>
                    <a:path w="2811" h="3409">
                      <a:moveTo>
                        <a:pt x="2811" y="0"/>
                      </a:moveTo>
                      <a:lnTo>
                        <a:pt x="359" y="2990"/>
                      </a:lnTo>
                      <a:lnTo>
                        <a:pt x="299" y="3050"/>
                      </a:lnTo>
                      <a:lnTo>
                        <a:pt x="0" y="3409"/>
                      </a:lnTo>
                    </a:path>
                  </a:pathLst>
                </a:custGeom>
                <a:noFill/>
                <a:ln w="6350" cap="flat">
                  <a:solidFill>
                    <a:schemeClr val="bg1">
                      <a:alpha val="80000"/>
                    </a:schemeClr>
                  </a:solidFill>
                  <a:prstDash val="solid"/>
                  <a:miter/>
                </a:ln>
              </p:spPr>
              <p:txBody>
                <a:bodyPr rtlCol="0" anchor="ctr"/>
                <a:lstStyle/>
                <a:p>
                  <a:endParaRPr lang="en-GB"/>
                </a:p>
              </p:txBody>
            </p:sp>
            <p:sp>
              <p:nvSpPr>
                <p:cNvPr id="8003" name="Vrije vorm: vorm 8002">
                  <a:extLst>
                    <a:ext uri="{FF2B5EF4-FFF2-40B4-BE49-F238E27FC236}">
                      <a16:creationId xmlns:a16="http://schemas.microsoft.com/office/drawing/2014/main" id="{2D0CAB0F-D8E5-43BF-92F3-D81F7F524363}"/>
                    </a:ext>
                  </a:extLst>
                </p:cNvPr>
                <p:cNvSpPr/>
                <p:nvPr/>
              </p:nvSpPr>
              <p:spPr>
                <a:xfrm>
                  <a:off x="5796655" y="5247166"/>
                  <a:ext cx="179" cy="59"/>
                </a:xfrm>
                <a:custGeom>
                  <a:avLst/>
                  <a:gdLst>
                    <a:gd name="connsiteX0" fmla="*/ 0 w 179"/>
                    <a:gd name="connsiteY0" fmla="*/ 0 h 59"/>
                    <a:gd name="connsiteX1" fmla="*/ 179 w 179"/>
                    <a:gd name="connsiteY1" fmla="*/ 60 h 59"/>
                  </a:gdLst>
                  <a:ahLst/>
                  <a:cxnLst>
                    <a:cxn ang="0">
                      <a:pos x="connsiteX0" y="connsiteY0"/>
                    </a:cxn>
                    <a:cxn ang="0">
                      <a:pos x="connsiteX1" y="connsiteY1"/>
                    </a:cxn>
                  </a:cxnLst>
                  <a:rect l="l" t="t" r="r" b="b"/>
                  <a:pathLst>
                    <a:path w="179" h="59">
                      <a:moveTo>
                        <a:pt x="0" y="0"/>
                      </a:moveTo>
                      <a:lnTo>
                        <a:pt x="179" y="60"/>
                      </a:lnTo>
                    </a:path>
                  </a:pathLst>
                </a:custGeom>
                <a:noFill/>
                <a:ln w="6350" cap="flat">
                  <a:solidFill>
                    <a:schemeClr val="bg1">
                      <a:alpha val="80000"/>
                    </a:schemeClr>
                  </a:solidFill>
                  <a:prstDash val="solid"/>
                  <a:miter/>
                </a:ln>
              </p:spPr>
              <p:txBody>
                <a:bodyPr rtlCol="0" anchor="ctr"/>
                <a:lstStyle/>
                <a:p>
                  <a:endParaRPr lang="en-GB"/>
                </a:p>
              </p:txBody>
            </p:sp>
            <p:sp>
              <p:nvSpPr>
                <p:cNvPr id="8004" name="Vrije vorm: vorm 8003">
                  <a:extLst>
                    <a:ext uri="{FF2B5EF4-FFF2-40B4-BE49-F238E27FC236}">
                      <a16:creationId xmlns:a16="http://schemas.microsoft.com/office/drawing/2014/main" id="{7CB93779-6E8A-4BED-B604-EBEC2ECA7B35}"/>
                    </a:ext>
                  </a:extLst>
                </p:cNvPr>
                <p:cNvSpPr/>
                <p:nvPr/>
              </p:nvSpPr>
              <p:spPr>
                <a:xfrm>
                  <a:off x="5794502" y="5246090"/>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8005" name="Vrije vorm: vorm 8004">
                  <a:extLst>
                    <a:ext uri="{FF2B5EF4-FFF2-40B4-BE49-F238E27FC236}">
                      <a16:creationId xmlns:a16="http://schemas.microsoft.com/office/drawing/2014/main" id="{AC9649FD-B327-47EC-B0FE-8613AD542DA5}"/>
                    </a:ext>
                  </a:extLst>
                </p:cNvPr>
                <p:cNvSpPr/>
                <p:nvPr/>
              </p:nvSpPr>
              <p:spPr>
                <a:xfrm>
                  <a:off x="5795698" y="5242441"/>
                  <a:ext cx="1256" cy="598"/>
                </a:xfrm>
                <a:custGeom>
                  <a:avLst/>
                  <a:gdLst>
                    <a:gd name="connsiteX0" fmla="*/ 1256 w 1256"/>
                    <a:gd name="connsiteY0" fmla="*/ 598 h 598"/>
                    <a:gd name="connsiteX1" fmla="*/ 1256 w 1256"/>
                    <a:gd name="connsiteY1" fmla="*/ 598 h 598"/>
                    <a:gd name="connsiteX2" fmla="*/ 239 w 1256"/>
                    <a:gd name="connsiteY2" fmla="*/ 120 h 598"/>
                    <a:gd name="connsiteX3" fmla="*/ 0 w 1256"/>
                    <a:gd name="connsiteY3" fmla="*/ 0 h 598"/>
                  </a:gdLst>
                  <a:ahLst/>
                  <a:cxnLst>
                    <a:cxn ang="0">
                      <a:pos x="connsiteX0" y="connsiteY0"/>
                    </a:cxn>
                    <a:cxn ang="0">
                      <a:pos x="connsiteX1" y="connsiteY1"/>
                    </a:cxn>
                    <a:cxn ang="0">
                      <a:pos x="connsiteX2" y="connsiteY2"/>
                    </a:cxn>
                    <a:cxn ang="0">
                      <a:pos x="connsiteX3" y="connsiteY3"/>
                    </a:cxn>
                  </a:cxnLst>
                  <a:rect l="l" t="t" r="r" b="b"/>
                  <a:pathLst>
                    <a:path w="1256" h="598">
                      <a:moveTo>
                        <a:pt x="1256" y="598"/>
                      </a:moveTo>
                      <a:lnTo>
                        <a:pt x="1256" y="598"/>
                      </a:lnTo>
                      <a:lnTo>
                        <a:pt x="239" y="12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8006" name="Vrije vorm: vorm 8005">
                  <a:extLst>
                    <a:ext uri="{FF2B5EF4-FFF2-40B4-BE49-F238E27FC236}">
                      <a16:creationId xmlns:a16="http://schemas.microsoft.com/office/drawing/2014/main" id="{25760C75-95B7-4DAD-8CFC-4502FA03A401}"/>
                    </a:ext>
                  </a:extLst>
                </p:cNvPr>
                <p:cNvSpPr/>
                <p:nvPr/>
              </p:nvSpPr>
              <p:spPr>
                <a:xfrm>
                  <a:off x="5842407" y="5164453"/>
                  <a:ext cx="2212" cy="1555"/>
                </a:xfrm>
                <a:custGeom>
                  <a:avLst/>
                  <a:gdLst>
                    <a:gd name="connsiteX0" fmla="*/ 359 w 2212"/>
                    <a:gd name="connsiteY0" fmla="*/ 0 h 1555"/>
                    <a:gd name="connsiteX1" fmla="*/ 0 w 2212"/>
                    <a:gd name="connsiteY1" fmla="*/ 718 h 1555"/>
                    <a:gd name="connsiteX2" fmla="*/ 957 w 2212"/>
                    <a:gd name="connsiteY2" fmla="*/ 1076 h 1555"/>
                    <a:gd name="connsiteX3" fmla="*/ 1376 w 2212"/>
                    <a:gd name="connsiteY3" fmla="*/ 1256 h 1555"/>
                    <a:gd name="connsiteX4" fmla="*/ 2213 w 2212"/>
                    <a:gd name="connsiteY4" fmla="*/ 1555 h 1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2" h="1555">
                      <a:moveTo>
                        <a:pt x="359" y="0"/>
                      </a:moveTo>
                      <a:lnTo>
                        <a:pt x="0" y="718"/>
                      </a:lnTo>
                      <a:lnTo>
                        <a:pt x="957" y="1076"/>
                      </a:lnTo>
                      <a:lnTo>
                        <a:pt x="1376" y="1256"/>
                      </a:lnTo>
                      <a:lnTo>
                        <a:pt x="2213" y="1555"/>
                      </a:lnTo>
                    </a:path>
                  </a:pathLst>
                </a:custGeom>
                <a:noFill/>
                <a:ln w="6350" cap="flat">
                  <a:solidFill>
                    <a:schemeClr val="bg1">
                      <a:alpha val="80000"/>
                    </a:schemeClr>
                  </a:solidFill>
                  <a:prstDash val="solid"/>
                  <a:miter/>
                </a:ln>
              </p:spPr>
              <p:txBody>
                <a:bodyPr rtlCol="0" anchor="ctr"/>
                <a:lstStyle/>
                <a:p>
                  <a:endParaRPr lang="en-GB"/>
                </a:p>
              </p:txBody>
            </p:sp>
            <p:sp>
              <p:nvSpPr>
                <p:cNvPr id="8007" name="Vrije vorm: vorm 8006">
                  <a:extLst>
                    <a:ext uri="{FF2B5EF4-FFF2-40B4-BE49-F238E27FC236}">
                      <a16:creationId xmlns:a16="http://schemas.microsoft.com/office/drawing/2014/main" id="{92297265-8A8D-49F3-A48E-5470CD223668}"/>
                    </a:ext>
                  </a:extLst>
                </p:cNvPr>
                <p:cNvSpPr/>
                <p:nvPr/>
              </p:nvSpPr>
              <p:spPr>
                <a:xfrm>
                  <a:off x="5754431" y="5318935"/>
                  <a:ext cx="7176" cy="4724"/>
                </a:xfrm>
                <a:custGeom>
                  <a:avLst/>
                  <a:gdLst>
                    <a:gd name="connsiteX0" fmla="*/ 7177 w 7176"/>
                    <a:gd name="connsiteY0" fmla="*/ 4725 h 4724"/>
                    <a:gd name="connsiteX1" fmla="*/ 7177 w 7176"/>
                    <a:gd name="connsiteY1" fmla="*/ 4725 h 4724"/>
                    <a:gd name="connsiteX2" fmla="*/ 4844 w 7176"/>
                    <a:gd name="connsiteY2" fmla="*/ 3170 h 4724"/>
                    <a:gd name="connsiteX3" fmla="*/ 3409 w 7176"/>
                    <a:gd name="connsiteY3" fmla="*/ 2213 h 4724"/>
                    <a:gd name="connsiteX4" fmla="*/ 1256 w 7176"/>
                    <a:gd name="connsiteY4" fmla="*/ 778 h 4724"/>
                    <a:gd name="connsiteX5" fmla="*/ 957 w 7176"/>
                    <a:gd name="connsiteY5" fmla="*/ 598 h 4724"/>
                    <a:gd name="connsiteX6" fmla="*/ 0 w 7176"/>
                    <a:gd name="connsiteY6" fmla="*/ 0 h 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6" h="4724">
                      <a:moveTo>
                        <a:pt x="7177" y="4725"/>
                      </a:moveTo>
                      <a:lnTo>
                        <a:pt x="7177" y="4725"/>
                      </a:lnTo>
                      <a:lnTo>
                        <a:pt x="4844" y="3170"/>
                      </a:lnTo>
                      <a:lnTo>
                        <a:pt x="3409" y="2213"/>
                      </a:lnTo>
                      <a:lnTo>
                        <a:pt x="1256" y="778"/>
                      </a:lnTo>
                      <a:lnTo>
                        <a:pt x="957" y="598"/>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8008" name="Vrije vorm: vorm 8007">
                  <a:extLst>
                    <a:ext uri="{FF2B5EF4-FFF2-40B4-BE49-F238E27FC236}">
                      <a16:creationId xmlns:a16="http://schemas.microsoft.com/office/drawing/2014/main" id="{A6FE8B6E-4AC9-464C-ABC7-7A024BA30E06}"/>
                    </a:ext>
                  </a:extLst>
                </p:cNvPr>
                <p:cNvSpPr/>
                <p:nvPr/>
              </p:nvSpPr>
              <p:spPr>
                <a:xfrm>
                  <a:off x="5847371" y="5155003"/>
                  <a:ext cx="2870" cy="5562"/>
                </a:xfrm>
                <a:custGeom>
                  <a:avLst/>
                  <a:gdLst>
                    <a:gd name="connsiteX0" fmla="*/ 0 w 2870"/>
                    <a:gd name="connsiteY0" fmla="*/ 5562 h 5562"/>
                    <a:gd name="connsiteX1" fmla="*/ 60 w 2870"/>
                    <a:gd name="connsiteY1" fmla="*/ 5443 h 5562"/>
                    <a:gd name="connsiteX2" fmla="*/ 299 w 2870"/>
                    <a:gd name="connsiteY2" fmla="*/ 5024 h 5562"/>
                    <a:gd name="connsiteX3" fmla="*/ 1854 w 2870"/>
                    <a:gd name="connsiteY3" fmla="*/ 1974 h 5562"/>
                    <a:gd name="connsiteX4" fmla="*/ 2871 w 2870"/>
                    <a:gd name="connsiteY4" fmla="*/ 0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 h="5562">
                      <a:moveTo>
                        <a:pt x="0" y="5562"/>
                      </a:moveTo>
                      <a:lnTo>
                        <a:pt x="60" y="5443"/>
                      </a:lnTo>
                      <a:lnTo>
                        <a:pt x="299" y="5024"/>
                      </a:lnTo>
                      <a:lnTo>
                        <a:pt x="1854" y="1974"/>
                      </a:lnTo>
                      <a:lnTo>
                        <a:pt x="2871" y="0"/>
                      </a:lnTo>
                    </a:path>
                  </a:pathLst>
                </a:custGeom>
                <a:noFill/>
                <a:ln w="6350" cap="flat">
                  <a:solidFill>
                    <a:schemeClr val="bg1">
                      <a:alpha val="80000"/>
                    </a:schemeClr>
                  </a:solidFill>
                  <a:prstDash val="solid"/>
                  <a:miter/>
                </a:ln>
              </p:spPr>
              <p:txBody>
                <a:bodyPr rtlCol="0" anchor="ctr"/>
                <a:lstStyle/>
                <a:p>
                  <a:endParaRPr lang="en-GB"/>
                </a:p>
              </p:txBody>
            </p:sp>
            <p:sp>
              <p:nvSpPr>
                <p:cNvPr id="8009" name="Vrije vorm: vorm 8008">
                  <a:extLst>
                    <a:ext uri="{FF2B5EF4-FFF2-40B4-BE49-F238E27FC236}">
                      <a16:creationId xmlns:a16="http://schemas.microsoft.com/office/drawing/2014/main" id="{A787288B-9DEE-4B5A-9F3A-55C8F64267DA}"/>
                    </a:ext>
                  </a:extLst>
                </p:cNvPr>
                <p:cNvSpPr/>
                <p:nvPr/>
              </p:nvSpPr>
              <p:spPr>
                <a:xfrm>
                  <a:off x="5850721" y="5169477"/>
                  <a:ext cx="4425" cy="8612"/>
                </a:xfrm>
                <a:custGeom>
                  <a:avLst/>
                  <a:gdLst>
                    <a:gd name="connsiteX0" fmla="*/ 4426 w 4425"/>
                    <a:gd name="connsiteY0" fmla="*/ 0 h 8612"/>
                    <a:gd name="connsiteX1" fmla="*/ 4366 w 4425"/>
                    <a:gd name="connsiteY1" fmla="*/ 60 h 8612"/>
                    <a:gd name="connsiteX2" fmla="*/ 4306 w 4425"/>
                    <a:gd name="connsiteY2" fmla="*/ 119 h 8612"/>
                    <a:gd name="connsiteX3" fmla="*/ 2751 w 4425"/>
                    <a:gd name="connsiteY3" fmla="*/ 3170 h 8612"/>
                    <a:gd name="connsiteX4" fmla="*/ 1196 w 4425"/>
                    <a:gd name="connsiteY4" fmla="*/ 6220 h 8612"/>
                    <a:gd name="connsiteX5" fmla="*/ 0 w 4425"/>
                    <a:gd name="connsiteY5" fmla="*/ 8612 h 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5" h="8612">
                      <a:moveTo>
                        <a:pt x="4426" y="0"/>
                      </a:moveTo>
                      <a:lnTo>
                        <a:pt x="4366" y="60"/>
                      </a:lnTo>
                      <a:lnTo>
                        <a:pt x="4306" y="119"/>
                      </a:lnTo>
                      <a:lnTo>
                        <a:pt x="2751" y="3170"/>
                      </a:lnTo>
                      <a:lnTo>
                        <a:pt x="1196" y="6220"/>
                      </a:lnTo>
                      <a:lnTo>
                        <a:pt x="0" y="8612"/>
                      </a:lnTo>
                    </a:path>
                  </a:pathLst>
                </a:custGeom>
                <a:noFill/>
                <a:ln w="6350" cap="flat">
                  <a:solidFill>
                    <a:schemeClr val="bg1">
                      <a:alpha val="80000"/>
                    </a:schemeClr>
                  </a:solidFill>
                  <a:prstDash val="solid"/>
                  <a:miter/>
                </a:ln>
              </p:spPr>
              <p:txBody>
                <a:bodyPr rtlCol="0" anchor="ctr"/>
                <a:lstStyle/>
                <a:p>
                  <a:endParaRPr lang="en-GB"/>
                </a:p>
              </p:txBody>
            </p:sp>
            <p:sp>
              <p:nvSpPr>
                <p:cNvPr id="8010" name="Vrije vorm: vorm 8009">
                  <a:extLst>
                    <a:ext uri="{FF2B5EF4-FFF2-40B4-BE49-F238E27FC236}">
                      <a16:creationId xmlns:a16="http://schemas.microsoft.com/office/drawing/2014/main" id="{42D70B48-05AB-4747-B948-5CAB70879BB8}"/>
                    </a:ext>
                  </a:extLst>
                </p:cNvPr>
                <p:cNvSpPr/>
                <p:nvPr/>
              </p:nvSpPr>
              <p:spPr>
                <a:xfrm>
                  <a:off x="5794442" y="5249738"/>
                  <a:ext cx="59" cy="418"/>
                </a:xfrm>
                <a:custGeom>
                  <a:avLst/>
                  <a:gdLst>
                    <a:gd name="connsiteX0" fmla="*/ 60 w 59"/>
                    <a:gd name="connsiteY0" fmla="*/ 419 h 418"/>
                    <a:gd name="connsiteX1" fmla="*/ 0 w 59"/>
                    <a:gd name="connsiteY1" fmla="*/ 0 h 418"/>
                  </a:gdLst>
                  <a:ahLst/>
                  <a:cxnLst>
                    <a:cxn ang="0">
                      <a:pos x="connsiteX0" y="connsiteY0"/>
                    </a:cxn>
                    <a:cxn ang="0">
                      <a:pos x="connsiteX1" y="connsiteY1"/>
                    </a:cxn>
                  </a:cxnLst>
                  <a:rect l="l" t="t" r="r" b="b"/>
                  <a:pathLst>
                    <a:path w="59" h="418">
                      <a:moveTo>
                        <a:pt x="60" y="419"/>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8011" name="Vrije vorm: vorm 8010">
                  <a:extLst>
                    <a:ext uri="{FF2B5EF4-FFF2-40B4-BE49-F238E27FC236}">
                      <a16:creationId xmlns:a16="http://schemas.microsoft.com/office/drawing/2014/main" id="{1B3185D3-1692-4F5D-B9BC-1982385367C3}"/>
                    </a:ext>
                  </a:extLst>
                </p:cNvPr>
                <p:cNvSpPr/>
                <p:nvPr/>
              </p:nvSpPr>
              <p:spPr>
                <a:xfrm>
                  <a:off x="5799585" y="5302667"/>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8012" name="Vrije vorm: vorm 8011">
                  <a:extLst>
                    <a:ext uri="{FF2B5EF4-FFF2-40B4-BE49-F238E27FC236}">
                      <a16:creationId xmlns:a16="http://schemas.microsoft.com/office/drawing/2014/main" id="{11332ED7-3BF9-49F8-B21D-45F0E768D143}"/>
                    </a:ext>
                  </a:extLst>
                </p:cNvPr>
                <p:cNvSpPr/>
                <p:nvPr/>
              </p:nvSpPr>
              <p:spPr>
                <a:xfrm>
                  <a:off x="5800662" y="5298720"/>
                  <a:ext cx="1973" cy="2571"/>
                </a:xfrm>
                <a:custGeom>
                  <a:avLst/>
                  <a:gdLst>
                    <a:gd name="connsiteX0" fmla="*/ 1974 w 1973"/>
                    <a:gd name="connsiteY0" fmla="*/ 0 h 2571"/>
                    <a:gd name="connsiteX1" fmla="*/ 0 w 1973"/>
                    <a:gd name="connsiteY1" fmla="*/ 2572 h 2571"/>
                  </a:gdLst>
                  <a:ahLst/>
                  <a:cxnLst>
                    <a:cxn ang="0">
                      <a:pos x="connsiteX0" y="connsiteY0"/>
                    </a:cxn>
                    <a:cxn ang="0">
                      <a:pos x="connsiteX1" y="connsiteY1"/>
                    </a:cxn>
                  </a:cxnLst>
                  <a:rect l="l" t="t" r="r" b="b"/>
                  <a:pathLst>
                    <a:path w="1973" h="2571">
                      <a:moveTo>
                        <a:pt x="1974" y="0"/>
                      </a:moveTo>
                      <a:lnTo>
                        <a:pt x="0" y="2572"/>
                      </a:lnTo>
                    </a:path>
                  </a:pathLst>
                </a:custGeom>
                <a:noFill/>
                <a:ln w="6350" cap="flat">
                  <a:solidFill>
                    <a:schemeClr val="bg1">
                      <a:alpha val="80000"/>
                    </a:schemeClr>
                  </a:solidFill>
                  <a:prstDash val="solid"/>
                  <a:miter/>
                </a:ln>
              </p:spPr>
              <p:txBody>
                <a:bodyPr rtlCol="0" anchor="ctr"/>
                <a:lstStyle/>
                <a:p>
                  <a:endParaRPr lang="en-GB"/>
                </a:p>
              </p:txBody>
            </p:sp>
            <p:sp>
              <p:nvSpPr>
                <p:cNvPr id="8013" name="Vrije vorm: vorm 8012">
                  <a:extLst>
                    <a:ext uri="{FF2B5EF4-FFF2-40B4-BE49-F238E27FC236}">
                      <a16:creationId xmlns:a16="http://schemas.microsoft.com/office/drawing/2014/main" id="{5E89287A-E1F7-4523-B439-BC59CC620588}"/>
                    </a:ext>
                  </a:extLst>
                </p:cNvPr>
                <p:cNvSpPr/>
                <p:nvPr/>
              </p:nvSpPr>
              <p:spPr>
                <a:xfrm>
                  <a:off x="5804071" y="5297285"/>
                  <a:ext cx="59" cy="239"/>
                </a:xfrm>
                <a:custGeom>
                  <a:avLst/>
                  <a:gdLst>
                    <a:gd name="connsiteX0" fmla="*/ 0 w 59"/>
                    <a:gd name="connsiteY0" fmla="*/ 0 h 239"/>
                    <a:gd name="connsiteX1" fmla="*/ 60 w 59"/>
                    <a:gd name="connsiteY1" fmla="*/ 239 h 239"/>
                  </a:gdLst>
                  <a:ahLst/>
                  <a:cxnLst>
                    <a:cxn ang="0">
                      <a:pos x="connsiteX0" y="connsiteY0"/>
                    </a:cxn>
                    <a:cxn ang="0">
                      <a:pos x="connsiteX1" y="connsiteY1"/>
                    </a:cxn>
                  </a:cxnLst>
                  <a:rect l="l" t="t" r="r" b="b"/>
                  <a:pathLst>
                    <a:path w="59" h="239">
                      <a:moveTo>
                        <a:pt x="0" y="0"/>
                      </a:moveTo>
                      <a:lnTo>
                        <a:pt x="60" y="239"/>
                      </a:lnTo>
                    </a:path>
                  </a:pathLst>
                </a:custGeom>
                <a:noFill/>
                <a:ln w="6350" cap="flat">
                  <a:solidFill>
                    <a:schemeClr val="bg1">
                      <a:alpha val="80000"/>
                    </a:schemeClr>
                  </a:solidFill>
                  <a:prstDash val="solid"/>
                  <a:miter/>
                </a:ln>
              </p:spPr>
              <p:txBody>
                <a:bodyPr rtlCol="0" anchor="ctr"/>
                <a:lstStyle/>
                <a:p>
                  <a:endParaRPr lang="en-GB"/>
                </a:p>
              </p:txBody>
            </p:sp>
            <p:sp>
              <p:nvSpPr>
                <p:cNvPr id="8014" name="Vrije vorm: vorm 8013">
                  <a:extLst>
                    <a:ext uri="{FF2B5EF4-FFF2-40B4-BE49-F238E27FC236}">
                      <a16:creationId xmlns:a16="http://schemas.microsoft.com/office/drawing/2014/main" id="{B18DD340-6F22-4E2F-A12B-4390486D2426}"/>
                    </a:ext>
                  </a:extLst>
                </p:cNvPr>
                <p:cNvSpPr/>
                <p:nvPr/>
              </p:nvSpPr>
              <p:spPr>
                <a:xfrm>
                  <a:off x="5802576" y="5146929"/>
                  <a:ext cx="33013" cy="12021"/>
                </a:xfrm>
                <a:custGeom>
                  <a:avLst/>
                  <a:gdLst>
                    <a:gd name="connsiteX0" fmla="*/ 0 w 33013"/>
                    <a:gd name="connsiteY0" fmla="*/ 0 h 12021"/>
                    <a:gd name="connsiteX1" fmla="*/ 2632 w 33013"/>
                    <a:gd name="connsiteY1" fmla="*/ 957 h 12021"/>
                    <a:gd name="connsiteX2" fmla="*/ 5263 w 33013"/>
                    <a:gd name="connsiteY2" fmla="*/ 1914 h 12021"/>
                    <a:gd name="connsiteX3" fmla="*/ 7895 w 33013"/>
                    <a:gd name="connsiteY3" fmla="*/ 2871 h 12021"/>
                    <a:gd name="connsiteX4" fmla="*/ 10526 w 33013"/>
                    <a:gd name="connsiteY4" fmla="*/ 3828 h 12021"/>
                    <a:gd name="connsiteX5" fmla="*/ 13158 w 33013"/>
                    <a:gd name="connsiteY5" fmla="*/ 4785 h 12021"/>
                    <a:gd name="connsiteX6" fmla="*/ 15789 w 33013"/>
                    <a:gd name="connsiteY6" fmla="*/ 5742 h 12021"/>
                    <a:gd name="connsiteX7" fmla="*/ 18421 w 33013"/>
                    <a:gd name="connsiteY7" fmla="*/ 6698 h 12021"/>
                    <a:gd name="connsiteX8" fmla="*/ 21052 w 33013"/>
                    <a:gd name="connsiteY8" fmla="*/ 7655 h 12021"/>
                    <a:gd name="connsiteX9" fmla="*/ 23683 w 33013"/>
                    <a:gd name="connsiteY9" fmla="*/ 8612 h 12021"/>
                    <a:gd name="connsiteX10" fmla="*/ 26315 w 33013"/>
                    <a:gd name="connsiteY10" fmla="*/ 9569 h 12021"/>
                    <a:gd name="connsiteX11" fmla="*/ 28946 w 33013"/>
                    <a:gd name="connsiteY11" fmla="*/ 10526 h 12021"/>
                    <a:gd name="connsiteX12" fmla="*/ 31578 w 33013"/>
                    <a:gd name="connsiteY12" fmla="*/ 11483 h 12021"/>
                    <a:gd name="connsiteX13" fmla="*/ 33014 w 33013"/>
                    <a:gd name="connsiteY13" fmla="*/ 12021 h 1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013" h="12021">
                      <a:moveTo>
                        <a:pt x="0" y="0"/>
                      </a:moveTo>
                      <a:lnTo>
                        <a:pt x="2632" y="957"/>
                      </a:lnTo>
                      <a:lnTo>
                        <a:pt x="5263" y="1914"/>
                      </a:lnTo>
                      <a:lnTo>
                        <a:pt x="7895" y="2871"/>
                      </a:lnTo>
                      <a:lnTo>
                        <a:pt x="10526" y="3828"/>
                      </a:lnTo>
                      <a:lnTo>
                        <a:pt x="13158" y="4785"/>
                      </a:lnTo>
                      <a:lnTo>
                        <a:pt x="15789" y="5742"/>
                      </a:lnTo>
                      <a:lnTo>
                        <a:pt x="18421" y="6698"/>
                      </a:lnTo>
                      <a:lnTo>
                        <a:pt x="21052" y="7655"/>
                      </a:lnTo>
                      <a:lnTo>
                        <a:pt x="23683" y="8612"/>
                      </a:lnTo>
                      <a:lnTo>
                        <a:pt x="26315" y="9569"/>
                      </a:lnTo>
                      <a:lnTo>
                        <a:pt x="28946" y="10526"/>
                      </a:lnTo>
                      <a:lnTo>
                        <a:pt x="31578" y="11483"/>
                      </a:lnTo>
                      <a:lnTo>
                        <a:pt x="33014" y="12021"/>
                      </a:lnTo>
                    </a:path>
                  </a:pathLst>
                </a:custGeom>
                <a:noFill/>
                <a:ln w="6350" cap="flat">
                  <a:solidFill>
                    <a:schemeClr val="bg1">
                      <a:alpha val="80000"/>
                    </a:schemeClr>
                  </a:solidFill>
                  <a:prstDash val="solid"/>
                  <a:miter/>
                </a:ln>
              </p:spPr>
              <p:txBody>
                <a:bodyPr rtlCol="0" anchor="ctr"/>
                <a:lstStyle/>
                <a:p>
                  <a:endParaRPr lang="en-GB"/>
                </a:p>
              </p:txBody>
            </p:sp>
            <p:sp>
              <p:nvSpPr>
                <p:cNvPr id="8015" name="Vrije vorm: vorm 8014">
                  <a:extLst>
                    <a:ext uri="{FF2B5EF4-FFF2-40B4-BE49-F238E27FC236}">
                      <a16:creationId xmlns:a16="http://schemas.microsoft.com/office/drawing/2014/main" id="{CB68B935-3437-4FEC-9345-F1CBC2144C89}"/>
                    </a:ext>
                  </a:extLst>
                </p:cNvPr>
                <p:cNvSpPr/>
                <p:nvPr/>
              </p:nvSpPr>
              <p:spPr>
                <a:xfrm>
                  <a:off x="5802396" y="5298600"/>
                  <a:ext cx="1794" cy="897"/>
                </a:xfrm>
                <a:custGeom>
                  <a:avLst/>
                  <a:gdLst>
                    <a:gd name="connsiteX0" fmla="*/ 1795 w 1794"/>
                    <a:gd name="connsiteY0" fmla="*/ 897 h 897"/>
                    <a:gd name="connsiteX1" fmla="*/ 239 w 1794"/>
                    <a:gd name="connsiteY1" fmla="*/ 120 h 897"/>
                    <a:gd name="connsiteX2" fmla="*/ 0 w 1794"/>
                    <a:gd name="connsiteY2" fmla="*/ 0 h 897"/>
                  </a:gdLst>
                  <a:ahLst/>
                  <a:cxnLst>
                    <a:cxn ang="0">
                      <a:pos x="connsiteX0" y="connsiteY0"/>
                    </a:cxn>
                    <a:cxn ang="0">
                      <a:pos x="connsiteX1" y="connsiteY1"/>
                    </a:cxn>
                    <a:cxn ang="0">
                      <a:pos x="connsiteX2" y="connsiteY2"/>
                    </a:cxn>
                  </a:cxnLst>
                  <a:rect l="l" t="t" r="r" b="b"/>
                  <a:pathLst>
                    <a:path w="1794" h="897">
                      <a:moveTo>
                        <a:pt x="1795" y="897"/>
                      </a:moveTo>
                      <a:lnTo>
                        <a:pt x="239" y="12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8016" name="Vrije vorm: vorm 8015">
                  <a:extLst>
                    <a:ext uri="{FF2B5EF4-FFF2-40B4-BE49-F238E27FC236}">
                      <a16:creationId xmlns:a16="http://schemas.microsoft.com/office/drawing/2014/main" id="{370D6CB4-C97D-4432-9D7F-90B8340B7BBB}"/>
                    </a:ext>
                  </a:extLst>
                </p:cNvPr>
                <p:cNvSpPr/>
                <p:nvPr/>
              </p:nvSpPr>
              <p:spPr>
                <a:xfrm>
                  <a:off x="5816391" y="5089335"/>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8017" name="Vrije vorm: vorm 8016">
                  <a:extLst>
                    <a:ext uri="{FF2B5EF4-FFF2-40B4-BE49-F238E27FC236}">
                      <a16:creationId xmlns:a16="http://schemas.microsoft.com/office/drawing/2014/main" id="{17A96E93-5979-4B73-A132-61242686CBA7}"/>
                    </a:ext>
                  </a:extLst>
                </p:cNvPr>
                <p:cNvSpPr/>
                <p:nvPr/>
              </p:nvSpPr>
              <p:spPr>
                <a:xfrm>
                  <a:off x="5761309" y="5389567"/>
                  <a:ext cx="3648" cy="179"/>
                </a:xfrm>
                <a:custGeom>
                  <a:avLst/>
                  <a:gdLst>
                    <a:gd name="connsiteX0" fmla="*/ 3648 w 3648"/>
                    <a:gd name="connsiteY0" fmla="*/ 179 h 179"/>
                    <a:gd name="connsiteX1" fmla="*/ 2452 w 3648"/>
                    <a:gd name="connsiteY1" fmla="*/ 120 h 179"/>
                    <a:gd name="connsiteX2" fmla="*/ 1435 w 3648"/>
                    <a:gd name="connsiteY2" fmla="*/ 60 h 179"/>
                    <a:gd name="connsiteX3" fmla="*/ 1076 w 3648"/>
                    <a:gd name="connsiteY3" fmla="*/ 60 h 179"/>
                    <a:gd name="connsiteX4" fmla="*/ 239 w 3648"/>
                    <a:gd name="connsiteY4" fmla="*/ 0 h 179"/>
                    <a:gd name="connsiteX5" fmla="*/ 0 w 3648"/>
                    <a:gd name="connsiteY5" fmla="*/ 0 h 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48" h="179">
                      <a:moveTo>
                        <a:pt x="3648" y="179"/>
                      </a:moveTo>
                      <a:lnTo>
                        <a:pt x="2452" y="120"/>
                      </a:lnTo>
                      <a:lnTo>
                        <a:pt x="1435" y="60"/>
                      </a:lnTo>
                      <a:lnTo>
                        <a:pt x="1076" y="60"/>
                      </a:lnTo>
                      <a:lnTo>
                        <a:pt x="239" y="0"/>
                      </a:ln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8018" name="Vrije vorm: vorm 8017">
                  <a:extLst>
                    <a:ext uri="{FF2B5EF4-FFF2-40B4-BE49-F238E27FC236}">
                      <a16:creationId xmlns:a16="http://schemas.microsoft.com/office/drawing/2014/main" id="{4778CEB1-7845-47EF-AFFB-E5B7D0168E5A}"/>
                    </a:ext>
                  </a:extLst>
                </p:cNvPr>
                <p:cNvSpPr/>
                <p:nvPr/>
              </p:nvSpPr>
              <p:spPr>
                <a:xfrm>
                  <a:off x="5877215" y="5181498"/>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8019" name="Vrije vorm: vorm 8018">
                  <a:extLst>
                    <a:ext uri="{FF2B5EF4-FFF2-40B4-BE49-F238E27FC236}">
                      <a16:creationId xmlns:a16="http://schemas.microsoft.com/office/drawing/2014/main" id="{8DB650A4-43A9-46F6-B857-EB1F1790C9BB}"/>
                    </a:ext>
                  </a:extLst>
                </p:cNvPr>
                <p:cNvSpPr/>
                <p:nvPr/>
              </p:nvSpPr>
              <p:spPr>
                <a:xfrm>
                  <a:off x="5873507" y="5176833"/>
                  <a:ext cx="8791" cy="17284"/>
                </a:xfrm>
                <a:custGeom>
                  <a:avLst/>
                  <a:gdLst>
                    <a:gd name="connsiteX0" fmla="*/ 8792 w 8791"/>
                    <a:gd name="connsiteY0" fmla="*/ 0 h 17284"/>
                    <a:gd name="connsiteX1" fmla="*/ 7237 w 8791"/>
                    <a:gd name="connsiteY1" fmla="*/ 3050 h 17284"/>
                    <a:gd name="connsiteX2" fmla="*/ 5682 w 8791"/>
                    <a:gd name="connsiteY2" fmla="*/ 6100 h 17284"/>
                    <a:gd name="connsiteX3" fmla="*/ 4127 w 8791"/>
                    <a:gd name="connsiteY3" fmla="*/ 9150 h 17284"/>
                    <a:gd name="connsiteX4" fmla="*/ 2572 w 8791"/>
                    <a:gd name="connsiteY4" fmla="*/ 12201 h 17284"/>
                    <a:gd name="connsiteX5" fmla="*/ 1017 w 8791"/>
                    <a:gd name="connsiteY5" fmla="*/ 15251 h 17284"/>
                    <a:gd name="connsiteX6" fmla="*/ 0 w 8791"/>
                    <a:gd name="connsiteY6" fmla="*/ 17284 h 1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1" h="17284">
                      <a:moveTo>
                        <a:pt x="8792" y="0"/>
                      </a:moveTo>
                      <a:lnTo>
                        <a:pt x="7237" y="3050"/>
                      </a:lnTo>
                      <a:lnTo>
                        <a:pt x="5682" y="6100"/>
                      </a:lnTo>
                      <a:lnTo>
                        <a:pt x="4127" y="9150"/>
                      </a:lnTo>
                      <a:lnTo>
                        <a:pt x="2572" y="12201"/>
                      </a:lnTo>
                      <a:lnTo>
                        <a:pt x="1017" y="15251"/>
                      </a:lnTo>
                      <a:lnTo>
                        <a:pt x="0" y="17284"/>
                      </a:lnTo>
                    </a:path>
                  </a:pathLst>
                </a:custGeom>
                <a:noFill/>
                <a:ln w="6350" cap="flat">
                  <a:solidFill>
                    <a:schemeClr val="bg1">
                      <a:alpha val="80000"/>
                    </a:schemeClr>
                  </a:solidFill>
                  <a:prstDash val="solid"/>
                  <a:miter/>
                </a:ln>
              </p:spPr>
              <p:txBody>
                <a:bodyPr rtlCol="0" anchor="ctr"/>
                <a:lstStyle/>
                <a:p>
                  <a:endParaRPr lang="en-GB"/>
                </a:p>
              </p:txBody>
            </p:sp>
            <p:sp>
              <p:nvSpPr>
                <p:cNvPr id="8020" name="Vrije vorm: vorm 8019">
                  <a:extLst>
                    <a:ext uri="{FF2B5EF4-FFF2-40B4-BE49-F238E27FC236}">
                      <a16:creationId xmlns:a16="http://schemas.microsoft.com/office/drawing/2014/main" id="{4887ECE1-A3A4-44F5-898A-E3260048A505}"/>
                    </a:ext>
                  </a:extLst>
                </p:cNvPr>
                <p:cNvSpPr/>
                <p:nvPr/>
              </p:nvSpPr>
              <p:spPr>
                <a:xfrm>
                  <a:off x="5866749" y="520219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8021" name="Vrije vorm: vorm 8020">
                  <a:extLst>
                    <a:ext uri="{FF2B5EF4-FFF2-40B4-BE49-F238E27FC236}">
                      <a16:creationId xmlns:a16="http://schemas.microsoft.com/office/drawing/2014/main" id="{7C493C5E-7EA8-4674-A11B-5E9564DE2092}"/>
                    </a:ext>
                  </a:extLst>
                </p:cNvPr>
                <p:cNvSpPr/>
                <p:nvPr/>
              </p:nvSpPr>
              <p:spPr>
                <a:xfrm>
                  <a:off x="5862084" y="5220253"/>
                  <a:ext cx="418" cy="119"/>
                </a:xfrm>
                <a:custGeom>
                  <a:avLst/>
                  <a:gdLst>
                    <a:gd name="connsiteX0" fmla="*/ 0 w 418"/>
                    <a:gd name="connsiteY0" fmla="*/ 119 h 119"/>
                    <a:gd name="connsiteX1" fmla="*/ 419 w 418"/>
                    <a:gd name="connsiteY1" fmla="*/ 0 h 119"/>
                  </a:gdLst>
                  <a:ahLst/>
                  <a:cxnLst>
                    <a:cxn ang="0">
                      <a:pos x="connsiteX0" y="connsiteY0"/>
                    </a:cxn>
                    <a:cxn ang="0">
                      <a:pos x="connsiteX1" y="connsiteY1"/>
                    </a:cxn>
                  </a:cxnLst>
                  <a:rect l="l" t="t" r="r" b="b"/>
                  <a:pathLst>
                    <a:path w="418" h="119">
                      <a:moveTo>
                        <a:pt x="0" y="119"/>
                      </a:moveTo>
                      <a:lnTo>
                        <a:pt x="419" y="0"/>
                      </a:lnTo>
                    </a:path>
                  </a:pathLst>
                </a:custGeom>
                <a:noFill/>
                <a:ln w="6350" cap="flat">
                  <a:solidFill>
                    <a:schemeClr val="bg1">
                      <a:alpha val="80000"/>
                    </a:schemeClr>
                  </a:solidFill>
                  <a:prstDash val="solid"/>
                  <a:miter/>
                </a:ln>
              </p:spPr>
              <p:txBody>
                <a:bodyPr rtlCol="0" anchor="ctr"/>
                <a:lstStyle/>
                <a:p>
                  <a:endParaRPr lang="en-GB"/>
                </a:p>
              </p:txBody>
            </p:sp>
            <p:sp>
              <p:nvSpPr>
                <p:cNvPr id="8022" name="Vrije vorm: vorm 8021">
                  <a:extLst>
                    <a:ext uri="{FF2B5EF4-FFF2-40B4-BE49-F238E27FC236}">
                      <a16:creationId xmlns:a16="http://schemas.microsoft.com/office/drawing/2014/main" id="{44A30535-20D1-4131-BF3E-DA427402F735}"/>
                    </a:ext>
                  </a:extLst>
                </p:cNvPr>
                <p:cNvSpPr/>
                <p:nvPr/>
              </p:nvSpPr>
              <p:spPr>
                <a:xfrm>
                  <a:off x="5858675" y="5233231"/>
                  <a:ext cx="5980" cy="5980"/>
                </a:xfrm>
                <a:custGeom>
                  <a:avLst/>
                  <a:gdLst>
                    <a:gd name="connsiteX0" fmla="*/ 0 w 5980"/>
                    <a:gd name="connsiteY0" fmla="*/ 0 h 5980"/>
                    <a:gd name="connsiteX1" fmla="*/ 0 w 5980"/>
                    <a:gd name="connsiteY1" fmla="*/ 0 h 5980"/>
                  </a:gdLst>
                  <a:ahLst/>
                  <a:cxnLst>
                    <a:cxn ang="0">
                      <a:pos x="connsiteX0" y="connsiteY0"/>
                    </a:cxn>
                    <a:cxn ang="0">
                      <a:pos x="connsiteX1" y="connsiteY1"/>
                    </a:cxn>
                  </a:cxnLst>
                  <a:rect l="l" t="t" r="r" b="b"/>
                  <a:pathLst>
                    <a:path w="5980" h="5980">
                      <a:moveTo>
                        <a:pt x="0" y="0"/>
                      </a:moveTo>
                      <a:lnTo>
                        <a:pt x="0" y="0"/>
                      </a:lnTo>
                    </a:path>
                  </a:pathLst>
                </a:custGeom>
                <a:noFill/>
                <a:ln w="6350" cap="flat">
                  <a:solidFill>
                    <a:schemeClr val="bg1">
                      <a:alpha val="80000"/>
                    </a:schemeClr>
                  </a:solidFill>
                  <a:prstDash val="solid"/>
                  <a:miter/>
                </a:ln>
              </p:spPr>
              <p:txBody>
                <a:bodyPr rtlCol="0" anchor="ctr"/>
                <a:lstStyle/>
                <a:p>
                  <a:endParaRPr lang="en-GB"/>
                </a:p>
              </p:txBody>
            </p:sp>
            <p:sp>
              <p:nvSpPr>
                <p:cNvPr id="8023" name="Vrije vorm: vorm 8022">
                  <a:extLst>
                    <a:ext uri="{FF2B5EF4-FFF2-40B4-BE49-F238E27FC236}">
                      <a16:creationId xmlns:a16="http://schemas.microsoft.com/office/drawing/2014/main" id="{6E7DBE6E-B59D-4711-ADC2-A375D426137C}"/>
                    </a:ext>
                  </a:extLst>
                </p:cNvPr>
                <p:cNvSpPr/>
                <p:nvPr/>
              </p:nvSpPr>
              <p:spPr>
                <a:xfrm>
                  <a:off x="5816212" y="5280180"/>
                  <a:ext cx="3169" cy="36542"/>
                </a:xfrm>
                <a:custGeom>
                  <a:avLst/>
                  <a:gdLst>
                    <a:gd name="connsiteX0" fmla="*/ 0 w 3169"/>
                    <a:gd name="connsiteY0" fmla="*/ 0 h 36542"/>
                    <a:gd name="connsiteX1" fmla="*/ 299 w 3169"/>
                    <a:gd name="connsiteY1" fmla="*/ 3469 h 36542"/>
                    <a:gd name="connsiteX2" fmla="*/ 598 w 3169"/>
                    <a:gd name="connsiteY2" fmla="*/ 6938 h 36542"/>
                    <a:gd name="connsiteX3" fmla="*/ 897 w 3169"/>
                    <a:gd name="connsiteY3" fmla="*/ 10407 h 36542"/>
                    <a:gd name="connsiteX4" fmla="*/ 1196 w 3169"/>
                    <a:gd name="connsiteY4" fmla="*/ 13875 h 36542"/>
                    <a:gd name="connsiteX5" fmla="*/ 1495 w 3169"/>
                    <a:gd name="connsiteY5" fmla="*/ 17344 h 36542"/>
                    <a:gd name="connsiteX6" fmla="*/ 1795 w 3169"/>
                    <a:gd name="connsiteY6" fmla="*/ 20813 h 36542"/>
                    <a:gd name="connsiteX7" fmla="*/ 2093 w 3169"/>
                    <a:gd name="connsiteY7" fmla="*/ 24282 h 36542"/>
                    <a:gd name="connsiteX8" fmla="*/ 2392 w 3169"/>
                    <a:gd name="connsiteY8" fmla="*/ 27751 h 36542"/>
                    <a:gd name="connsiteX9" fmla="*/ 2691 w 3169"/>
                    <a:gd name="connsiteY9" fmla="*/ 31220 h 36542"/>
                    <a:gd name="connsiteX10" fmla="*/ 2990 w 3169"/>
                    <a:gd name="connsiteY10" fmla="*/ 34688 h 36542"/>
                    <a:gd name="connsiteX11" fmla="*/ 3170 w 3169"/>
                    <a:gd name="connsiteY11" fmla="*/ 36542 h 3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9" h="36542">
                      <a:moveTo>
                        <a:pt x="0" y="0"/>
                      </a:moveTo>
                      <a:lnTo>
                        <a:pt x="299" y="3469"/>
                      </a:lnTo>
                      <a:lnTo>
                        <a:pt x="598" y="6938"/>
                      </a:lnTo>
                      <a:lnTo>
                        <a:pt x="897" y="10407"/>
                      </a:lnTo>
                      <a:lnTo>
                        <a:pt x="1196" y="13875"/>
                      </a:lnTo>
                      <a:lnTo>
                        <a:pt x="1495" y="17344"/>
                      </a:lnTo>
                      <a:lnTo>
                        <a:pt x="1795" y="20813"/>
                      </a:lnTo>
                      <a:lnTo>
                        <a:pt x="2093" y="24282"/>
                      </a:lnTo>
                      <a:lnTo>
                        <a:pt x="2392" y="27751"/>
                      </a:lnTo>
                      <a:lnTo>
                        <a:pt x="2691" y="31220"/>
                      </a:lnTo>
                      <a:lnTo>
                        <a:pt x="2990" y="34688"/>
                      </a:lnTo>
                      <a:lnTo>
                        <a:pt x="3170" y="36542"/>
                      </a:lnTo>
                    </a:path>
                  </a:pathLst>
                </a:custGeom>
                <a:noFill/>
                <a:ln w="6350" cap="flat">
                  <a:solidFill>
                    <a:schemeClr val="bg1">
                      <a:alpha val="80000"/>
                    </a:schemeClr>
                  </a:solidFill>
                  <a:prstDash val="solid"/>
                  <a:miter/>
                </a:ln>
              </p:spPr>
              <p:txBody>
                <a:bodyPr rtlCol="0" anchor="ctr"/>
                <a:lstStyle/>
                <a:p>
                  <a:endParaRPr lang="en-GB"/>
                </a:p>
              </p:txBody>
            </p:sp>
            <p:sp>
              <p:nvSpPr>
                <p:cNvPr id="8024" name="Vrije vorm: vorm 8023">
                  <a:extLst>
                    <a:ext uri="{FF2B5EF4-FFF2-40B4-BE49-F238E27FC236}">
                      <a16:creationId xmlns:a16="http://schemas.microsoft.com/office/drawing/2014/main" id="{2BF6E2C7-22DD-450B-9732-795AB4C43D60}"/>
                    </a:ext>
                  </a:extLst>
                </p:cNvPr>
                <p:cNvSpPr/>
                <p:nvPr/>
              </p:nvSpPr>
              <p:spPr>
                <a:xfrm>
                  <a:off x="5812982" y="5243398"/>
                  <a:ext cx="3110" cy="35704"/>
                </a:xfrm>
                <a:custGeom>
                  <a:avLst/>
                  <a:gdLst>
                    <a:gd name="connsiteX0" fmla="*/ 0 w 3110"/>
                    <a:gd name="connsiteY0" fmla="*/ 0 h 35704"/>
                    <a:gd name="connsiteX1" fmla="*/ 180 w 3110"/>
                    <a:gd name="connsiteY1" fmla="*/ 1854 h 35704"/>
                    <a:gd name="connsiteX2" fmla="*/ 479 w 3110"/>
                    <a:gd name="connsiteY2" fmla="*/ 5323 h 35704"/>
                    <a:gd name="connsiteX3" fmla="*/ 778 w 3110"/>
                    <a:gd name="connsiteY3" fmla="*/ 8791 h 35704"/>
                    <a:gd name="connsiteX4" fmla="*/ 1076 w 3110"/>
                    <a:gd name="connsiteY4" fmla="*/ 12260 h 35704"/>
                    <a:gd name="connsiteX5" fmla="*/ 1375 w 3110"/>
                    <a:gd name="connsiteY5" fmla="*/ 15729 h 35704"/>
                    <a:gd name="connsiteX6" fmla="*/ 1675 w 3110"/>
                    <a:gd name="connsiteY6" fmla="*/ 19198 h 35704"/>
                    <a:gd name="connsiteX7" fmla="*/ 1974 w 3110"/>
                    <a:gd name="connsiteY7" fmla="*/ 22667 h 35704"/>
                    <a:gd name="connsiteX8" fmla="*/ 2273 w 3110"/>
                    <a:gd name="connsiteY8" fmla="*/ 26136 h 35704"/>
                    <a:gd name="connsiteX9" fmla="*/ 2333 w 3110"/>
                    <a:gd name="connsiteY9" fmla="*/ 26614 h 35704"/>
                    <a:gd name="connsiteX10" fmla="*/ 2572 w 3110"/>
                    <a:gd name="connsiteY10" fmla="*/ 29665 h 35704"/>
                    <a:gd name="connsiteX11" fmla="*/ 2871 w 3110"/>
                    <a:gd name="connsiteY11" fmla="*/ 33133 h 35704"/>
                    <a:gd name="connsiteX12" fmla="*/ 3110 w 3110"/>
                    <a:gd name="connsiteY12" fmla="*/ 35705 h 35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10" h="35704">
                      <a:moveTo>
                        <a:pt x="0" y="0"/>
                      </a:moveTo>
                      <a:lnTo>
                        <a:pt x="180" y="1854"/>
                      </a:lnTo>
                      <a:lnTo>
                        <a:pt x="479" y="5323"/>
                      </a:lnTo>
                      <a:lnTo>
                        <a:pt x="778" y="8791"/>
                      </a:lnTo>
                      <a:lnTo>
                        <a:pt x="1076" y="12260"/>
                      </a:lnTo>
                      <a:lnTo>
                        <a:pt x="1375" y="15729"/>
                      </a:lnTo>
                      <a:lnTo>
                        <a:pt x="1675" y="19198"/>
                      </a:lnTo>
                      <a:lnTo>
                        <a:pt x="1974" y="22667"/>
                      </a:lnTo>
                      <a:lnTo>
                        <a:pt x="2273" y="26136"/>
                      </a:lnTo>
                      <a:lnTo>
                        <a:pt x="2333" y="26614"/>
                      </a:lnTo>
                      <a:lnTo>
                        <a:pt x="2572" y="29665"/>
                      </a:lnTo>
                      <a:lnTo>
                        <a:pt x="2871" y="33133"/>
                      </a:lnTo>
                      <a:lnTo>
                        <a:pt x="3110" y="35705"/>
                      </a:lnTo>
                    </a:path>
                  </a:pathLst>
                </a:custGeom>
                <a:noFill/>
                <a:ln w="6350" cap="flat">
                  <a:solidFill>
                    <a:schemeClr val="bg1">
                      <a:alpha val="80000"/>
                    </a:schemeClr>
                  </a:solidFill>
                  <a:prstDash val="solid"/>
                  <a:miter/>
                </a:ln>
              </p:spPr>
              <p:txBody>
                <a:bodyPr rtlCol="0" anchor="ctr"/>
                <a:lstStyle/>
                <a:p>
                  <a:endParaRPr lang="en-GB"/>
                </a:p>
              </p:txBody>
            </p:sp>
          </p:grpSp>
          <p:grpSp>
            <p:nvGrpSpPr>
              <p:cNvPr id="7543" name="Graphic 3">
                <a:extLst>
                  <a:ext uri="{FF2B5EF4-FFF2-40B4-BE49-F238E27FC236}">
                    <a16:creationId xmlns:a16="http://schemas.microsoft.com/office/drawing/2014/main" id="{9928B74A-CA62-42A2-BE87-E6C88539C866}"/>
                  </a:ext>
                </a:extLst>
              </p:cNvPr>
              <p:cNvGrpSpPr/>
              <p:nvPr/>
            </p:nvGrpSpPr>
            <p:grpSpPr>
              <a:xfrm>
                <a:off x="5655510" y="5460738"/>
                <a:ext cx="104303" cy="61035"/>
                <a:chOff x="5655510" y="5460738"/>
                <a:chExt cx="104303" cy="61035"/>
              </a:xfrm>
              <a:noFill/>
            </p:grpSpPr>
            <p:sp>
              <p:nvSpPr>
                <p:cNvPr id="7544" name="Vrije vorm: vorm 7543">
                  <a:extLst>
                    <a:ext uri="{FF2B5EF4-FFF2-40B4-BE49-F238E27FC236}">
                      <a16:creationId xmlns:a16="http://schemas.microsoft.com/office/drawing/2014/main" id="{A96647CA-813C-43E2-86A3-C9F59FEACEEF}"/>
                    </a:ext>
                  </a:extLst>
                </p:cNvPr>
                <p:cNvSpPr/>
                <p:nvPr/>
              </p:nvSpPr>
              <p:spPr>
                <a:xfrm>
                  <a:off x="5702339" y="5460738"/>
                  <a:ext cx="31996" cy="11782"/>
                </a:xfrm>
                <a:custGeom>
                  <a:avLst/>
                  <a:gdLst>
                    <a:gd name="connsiteX0" fmla="*/ 31997 w 31996"/>
                    <a:gd name="connsiteY0" fmla="*/ 7954 h 11782"/>
                    <a:gd name="connsiteX1" fmla="*/ 12619 w 31996"/>
                    <a:gd name="connsiteY1" fmla="*/ 10646 h 11782"/>
                    <a:gd name="connsiteX2" fmla="*/ 0 w 31996"/>
                    <a:gd name="connsiteY2" fmla="*/ 0 h 11782"/>
                  </a:gdLst>
                  <a:ahLst/>
                  <a:cxnLst>
                    <a:cxn ang="0">
                      <a:pos x="connsiteX0" y="connsiteY0"/>
                    </a:cxn>
                    <a:cxn ang="0">
                      <a:pos x="connsiteX1" y="connsiteY1"/>
                    </a:cxn>
                    <a:cxn ang="0">
                      <a:pos x="connsiteX2" y="connsiteY2"/>
                    </a:cxn>
                  </a:cxnLst>
                  <a:rect l="l" t="t" r="r" b="b"/>
                  <a:pathLst>
                    <a:path w="31996" h="11782">
                      <a:moveTo>
                        <a:pt x="31997" y="7954"/>
                      </a:moveTo>
                      <a:cubicBezTo>
                        <a:pt x="26495" y="11662"/>
                        <a:pt x="19437" y="12919"/>
                        <a:pt x="12619" y="10646"/>
                      </a:cubicBezTo>
                      <a:cubicBezTo>
                        <a:pt x="6937" y="8792"/>
                        <a:pt x="2572" y="4844"/>
                        <a:pt x="0" y="0"/>
                      </a:cubicBezTo>
                    </a:path>
                  </a:pathLst>
                </a:custGeom>
                <a:noFill/>
                <a:ln w="6350" cap="flat">
                  <a:solidFill>
                    <a:schemeClr val="bg1">
                      <a:alpha val="80000"/>
                    </a:schemeClr>
                  </a:solidFill>
                  <a:prstDash val="solid"/>
                  <a:miter/>
                </a:ln>
              </p:spPr>
              <p:txBody>
                <a:bodyPr rtlCol="0" anchor="ctr"/>
                <a:lstStyle/>
                <a:p>
                  <a:endParaRPr lang="en-GB"/>
                </a:p>
              </p:txBody>
            </p:sp>
            <p:sp>
              <p:nvSpPr>
                <p:cNvPr id="7545" name="Vrije vorm: vorm 7544">
                  <a:extLst>
                    <a:ext uri="{FF2B5EF4-FFF2-40B4-BE49-F238E27FC236}">
                      <a16:creationId xmlns:a16="http://schemas.microsoft.com/office/drawing/2014/main" id="{94D9B7FB-7876-47AE-A96E-85FAE8A2078F}"/>
                    </a:ext>
                  </a:extLst>
                </p:cNvPr>
                <p:cNvSpPr/>
                <p:nvPr/>
              </p:nvSpPr>
              <p:spPr>
                <a:xfrm>
                  <a:off x="5681586" y="5470785"/>
                  <a:ext cx="64053" cy="23555"/>
                </a:xfrm>
                <a:custGeom>
                  <a:avLst/>
                  <a:gdLst>
                    <a:gd name="connsiteX0" fmla="*/ 64053 w 64053"/>
                    <a:gd name="connsiteY0" fmla="*/ 15909 h 23555"/>
                    <a:gd name="connsiteX1" fmla="*/ 25298 w 64053"/>
                    <a:gd name="connsiteY1" fmla="*/ 21351 h 23555"/>
                    <a:gd name="connsiteX2" fmla="*/ 0 w 64053"/>
                    <a:gd name="connsiteY2" fmla="*/ 0 h 23555"/>
                  </a:gdLst>
                  <a:ahLst/>
                  <a:cxnLst>
                    <a:cxn ang="0">
                      <a:pos x="connsiteX0" y="connsiteY0"/>
                    </a:cxn>
                    <a:cxn ang="0">
                      <a:pos x="connsiteX1" y="connsiteY1"/>
                    </a:cxn>
                    <a:cxn ang="0">
                      <a:pos x="connsiteX2" y="connsiteY2"/>
                    </a:cxn>
                  </a:cxnLst>
                  <a:rect l="l" t="t" r="r" b="b"/>
                  <a:pathLst>
                    <a:path w="64053" h="23555">
                      <a:moveTo>
                        <a:pt x="64053" y="15909"/>
                      </a:moveTo>
                      <a:cubicBezTo>
                        <a:pt x="53049" y="23325"/>
                        <a:pt x="38875" y="25777"/>
                        <a:pt x="25298" y="21351"/>
                      </a:cubicBezTo>
                      <a:cubicBezTo>
                        <a:pt x="13995" y="17643"/>
                        <a:pt x="5203" y="9748"/>
                        <a:pt x="0" y="0"/>
                      </a:cubicBezTo>
                    </a:path>
                  </a:pathLst>
                </a:custGeom>
                <a:noFill/>
                <a:ln w="6350" cap="flat">
                  <a:solidFill>
                    <a:schemeClr val="bg1">
                      <a:alpha val="80000"/>
                    </a:schemeClr>
                  </a:solidFill>
                  <a:prstDash val="solid"/>
                  <a:miter/>
                </a:ln>
              </p:spPr>
              <p:txBody>
                <a:bodyPr rtlCol="0" anchor="ctr"/>
                <a:lstStyle/>
                <a:p>
                  <a:endParaRPr lang="en-GB"/>
                </a:p>
              </p:txBody>
            </p:sp>
            <p:sp>
              <p:nvSpPr>
                <p:cNvPr id="7546" name="Vrije vorm: vorm 7545">
                  <a:extLst>
                    <a:ext uri="{FF2B5EF4-FFF2-40B4-BE49-F238E27FC236}">
                      <a16:creationId xmlns:a16="http://schemas.microsoft.com/office/drawing/2014/main" id="{D12962D9-A701-4C57-A4EE-A90590326D28}"/>
                    </a:ext>
                  </a:extLst>
                </p:cNvPr>
                <p:cNvSpPr/>
                <p:nvPr/>
              </p:nvSpPr>
              <p:spPr>
                <a:xfrm>
                  <a:off x="5655510" y="5483405"/>
                  <a:ext cx="104303" cy="38368"/>
                </a:xfrm>
                <a:custGeom>
                  <a:avLst/>
                  <a:gdLst>
                    <a:gd name="connsiteX0" fmla="*/ 104304 w 104303"/>
                    <a:gd name="connsiteY0" fmla="*/ 25897 h 38368"/>
                    <a:gd name="connsiteX1" fmla="*/ 41207 w 104303"/>
                    <a:gd name="connsiteY1" fmla="*/ 34748 h 38368"/>
                    <a:gd name="connsiteX2" fmla="*/ 0 w 104303"/>
                    <a:gd name="connsiteY2" fmla="*/ 0 h 38368"/>
                  </a:gdLst>
                  <a:ahLst/>
                  <a:cxnLst>
                    <a:cxn ang="0">
                      <a:pos x="connsiteX0" y="connsiteY0"/>
                    </a:cxn>
                    <a:cxn ang="0">
                      <a:pos x="connsiteX1" y="connsiteY1"/>
                    </a:cxn>
                    <a:cxn ang="0">
                      <a:pos x="connsiteX2" y="connsiteY2"/>
                    </a:cxn>
                  </a:cxnLst>
                  <a:rect l="l" t="t" r="r" b="b"/>
                  <a:pathLst>
                    <a:path w="104303" h="38368">
                      <a:moveTo>
                        <a:pt x="104304" y="25897"/>
                      </a:moveTo>
                      <a:cubicBezTo>
                        <a:pt x="86422" y="38037"/>
                        <a:pt x="63276" y="41984"/>
                        <a:pt x="41207" y="34748"/>
                      </a:cubicBezTo>
                      <a:cubicBezTo>
                        <a:pt x="22727" y="28648"/>
                        <a:pt x="8433" y="15909"/>
                        <a:pt x="0" y="0"/>
                      </a:cubicBezTo>
                    </a:path>
                  </a:pathLst>
                </a:custGeom>
                <a:noFill/>
                <a:ln w="6350" cap="flat">
                  <a:solidFill>
                    <a:schemeClr val="bg1">
                      <a:alpha val="80000"/>
                    </a:schemeClr>
                  </a:solidFill>
                  <a:prstDash val="solid"/>
                  <a:miter/>
                </a:ln>
              </p:spPr>
              <p:txBody>
                <a:bodyPr rtlCol="0" anchor="ctr"/>
                <a:lstStyle/>
                <a:p>
                  <a:endParaRPr lang="en-GB"/>
                </a:p>
              </p:txBody>
            </p:sp>
          </p:grpSp>
        </p:grpSp>
        <p:grpSp>
          <p:nvGrpSpPr>
            <p:cNvPr id="7309" name="Graphic 3">
              <a:extLst>
                <a:ext uri="{FF2B5EF4-FFF2-40B4-BE49-F238E27FC236}">
                  <a16:creationId xmlns:a16="http://schemas.microsoft.com/office/drawing/2014/main" id="{237CC04E-1AA0-4450-85A0-5D2B293C0C86}"/>
                </a:ext>
              </a:extLst>
            </p:cNvPr>
            <p:cNvGrpSpPr/>
            <p:nvPr/>
          </p:nvGrpSpPr>
          <p:grpSpPr>
            <a:xfrm>
              <a:off x="4645844" y="4613971"/>
              <a:ext cx="1016719" cy="1018174"/>
              <a:chOff x="4645844" y="4613971"/>
              <a:chExt cx="1016719" cy="1018174"/>
            </a:xfrm>
            <a:noFill/>
          </p:grpSpPr>
          <p:sp>
            <p:nvSpPr>
              <p:cNvPr id="7310" name="Vrije vorm: vorm 7309">
                <a:extLst>
                  <a:ext uri="{FF2B5EF4-FFF2-40B4-BE49-F238E27FC236}">
                    <a16:creationId xmlns:a16="http://schemas.microsoft.com/office/drawing/2014/main" id="{E0801D41-2604-4313-9C20-AC6CE1D3BB70}"/>
                  </a:ext>
                </a:extLst>
              </p:cNvPr>
              <p:cNvSpPr/>
              <p:nvPr/>
            </p:nvSpPr>
            <p:spPr>
              <a:xfrm>
                <a:off x="5134060" y="4761465"/>
                <a:ext cx="175555" cy="154057"/>
              </a:xfrm>
              <a:custGeom>
                <a:avLst/>
                <a:gdLst>
                  <a:gd name="connsiteX0" fmla="*/ 104006 w 175555"/>
                  <a:gd name="connsiteY0" fmla="*/ 56465 h 154057"/>
                  <a:gd name="connsiteX1" fmla="*/ 159328 w 175555"/>
                  <a:gd name="connsiteY1" fmla="*/ 133494 h 154057"/>
                  <a:gd name="connsiteX2" fmla="*/ 71550 w 175555"/>
                  <a:gd name="connsiteY2" fmla="*/ 97592 h 154057"/>
                  <a:gd name="connsiteX3" fmla="*/ 16228 w 175555"/>
                  <a:gd name="connsiteY3" fmla="*/ 20564 h 154057"/>
                  <a:gd name="connsiteX4" fmla="*/ 104006 w 175555"/>
                  <a:gd name="connsiteY4" fmla="*/ 56465 h 154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555" h="154057">
                    <a:moveTo>
                      <a:pt x="104006" y="56465"/>
                    </a:moveTo>
                    <a:cubicBezTo>
                      <a:pt x="143522" y="87650"/>
                      <a:pt x="168290" y="122137"/>
                      <a:pt x="159328" y="133494"/>
                    </a:cubicBezTo>
                    <a:cubicBezTo>
                      <a:pt x="150365" y="144851"/>
                      <a:pt x="111066" y="128777"/>
                      <a:pt x="71550" y="97592"/>
                    </a:cubicBezTo>
                    <a:cubicBezTo>
                      <a:pt x="32034" y="66407"/>
                      <a:pt x="7266" y="31920"/>
                      <a:pt x="16228" y="20564"/>
                    </a:cubicBezTo>
                    <a:cubicBezTo>
                      <a:pt x="25191" y="9207"/>
                      <a:pt x="64491" y="25280"/>
                      <a:pt x="104006" y="56465"/>
                    </a:cubicBezTo>
                    <a:close/>
                  </a:path>
                </a:pathLst>
              </a:custGeom>
              <a:noFill/>
              <a:ln w="6350" cap="flat">
                <a:solidFill>
                  <a:schemeClr val="bg1">
                    <a:alpha val="80000"/>
                  </a:schemeClr>
                </a:solidFill>
                <a:prstDash val="solid"/>
                <a:miter/>
              </a:ln>
            </p:spPr>
            <p:txBody>
              <a:bodyPr rtlCol="0" anchor="ctr"/>
              <a:lstStyle/>
              <a:p>
                <a:endParaRPr lang="en-GB"/>
              </a:p>
            </p:txBody>
          </p:sp>
          <p:sp>
            <p:nvSpPr>
              <p:cNvPr id="7311" name="Vrije vorm: vorm 7310">
                <a:extLst>
                  <a:ext uri="{FF2B5EF4-FFF2-40B4-BE49-F238E27FC236}">
                    <a16:creationId xmlns:a16="http://schemas.microsoft.com/office/drawing/2014/main" id="{230C48B3-2CDC-4232-80B7-6A716AAB5E06}"/>
                  </a:ext>
                </a:extLst>
              </p:cNvPr>
              <p:cNvSpPr/>
              <p:nvPr/>
            </p:nvSpPr>
            <p:spPr>
              <a:xfrm>
                <a:off x="5354388" y="4993810"/>
                <a:ext cx="113271" cy="99414"/>
              </a:xfrm>
              <a:custGeom>
                <a:avLst/>
                <a:gdLst>
                  <a:gd name="connsiteX0" fmla="*/ 67121 w 113271"/>
                  <a:gd name="connsiteY0" fmla="*/ 36421 h 99414"/>
                  <a:gd name="connsiteX1" fmla="*/ 102786 w 113271"/>
                  <a:gd name="connsiteY1" fmla="*/ 86128 h 99414"/>
                  <a:gd name="connsiteX2" fmla="*/ 46150 w 113271"/>
                  <a:gd name="connsiteY2" fmla="*/ 62994 h 99414"/>
                  <a:gd name="connsiteX3" fmla="*/ 10485 w 113271"/>
                  <a:gd name="connsiteY3" fmla="*/ 13287 h 99414"/>
                  <a:gd name="connsiteX4" fmla="*/ 67121 w 113271"/>
                  <a:gd name="connsiteY4" fmla="*/ 36421 h 99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71" h="99414">
                    <a:moveTo>
                      <a:pt x="67121" y="36421"/>
                    </a:moveTo>
                    <a:cubicBezTo>
                      <a:pt x="92609" y="56535"/>
                      <a:pt x="108577" y="78790"/>
                      <a:pt x="102786" y="86128"/>
                    </a:cubicBezTo>
                    <a:cubicBezTo>
                      <a:pt x="96995" y="93466"/>
                      <a:pt x="71639" y="83108"/>
                      <a:pt x="46150" y="62994"/>
                    </a:cubicBezTo>
                    <a:cubicBezTo>
                      <a:pt x="20662" y="42879"/>
                      <a:pt x="4694" y="20625"/>
                      <a:pt x="10485" y="13287"/>
                    </a:cubicBezTo>
                    <a:cubicBezTo>
                      <a:pt x="16276" y="5949"/>
                      <a:pt x="41633" y="16306"/>
                      <a:pt x="67121" y="36421"/>
                    </a:cubicBezTo>
                    <a:close/>
                  </a:path>
                </a:pathLst>
              </a:custGeom>
              <a:noFill/>
              <a:ln w="6350" cap="flat">
                <a:solidFill>
                  <a:schemeClr val="bg1">
                    <a:alpha val="80000"/>
                  </a:schemeClr>
                </a:solidFill>
                <a:prstDash val="solid"/>
                <a:miter/>
              </a:ln>
            </p:spPr>
            <p:txBody>
              <a:bodyPr rtlCol="0" anchor="ctr"/>
              <a:lstStyle/>
              <a:p>
                <a:endParaRPr lang="en-GB"/>
              </a:p>
            </p:txBody>
          </p:sp>
          <p:sp>
            <p:nvSpPr>
              <p:cNvPr id="7312" name="Vrije vorm: vorm 7311">
                <a:extLst>
                  <a:ext uri="{FF2B5EF4-FFF2-40B4-BE49-F238E27FC236}">
                    <a16:creationId xmlns:a16="http://schemas.microsoft.com/office/drawing/2014/main" id="{8E3FE853-6639-474B-BAB2-35AA7CD31CB0}"/>
                  </a:ext>
                </a:extLst>
              </p:cNvPr>
              <p:cNvSpPr/>
              <p:nvPr/>
            </p:nvSpPr>
            <p:spPr>
              <a:xfrm>
                <a:off x="5470002" y="5130669"/>
                <a:ext cx="88583" cy="77735"/>
              </a:xfrm>
              <a:custGeom>
                <a:avLst/>
                <a:gdLst>
                  <a:gd name="connsiteX0" fmla="*/ 52480 w 88583"/>
                  <a:gd name="connsiteY0" fmla="*/ 28492 h 77735"/>
                  <a:gd name="connsiteX1" fmla="*/ 80395 w 88583"/>
                  <a:gd name="connsiteY1" fmla="*/ 67360 h 77735"/>
                  <a:gd name="connsiteX2" fmla="*/ 36103 w 88583"/>
                  <a:gd name="connsiteY2" fmla="*/ 49243 h 77735"/>
                  <a:gd name="connsiteX3" fmla="*/ 8188 w 88583"/>
                  <a:gd name="connsiteY3" fmla="*/ 10376 h 77735"/>
                  <a:gd name="connsiteX4" fmla="*/ 52480 w 88583"/>
                  <a:gd name="connsiteY4" fmla="*/ 28492 h 77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3" h="77735">
                    <a:moveTo>
                      <a:pt x="52480" y="28492"/>
                    </a:moveTo>
                    <a:cubicBezTo>
                      <a:pt x="72419" y="44227"/>
                      <a:pt x="84918" y="61629"/>
                      <a:pt x="80395" y="67360"/>
                    </a:cubicBezTo>
                    <a:cubicBezTo>
                      <a:pt x="75873" y="73090"/>
                      <a:pt x="56043" y="64979"/>
                      <a:pt x="36103" y="49243"/>
                    </a:cubicBezTo>
                    <a:cubicBezTo>
                      <a:pt x="16164" y="33508"/>
                      <a:pt x="3666" y="16106"/>
                      <a:pt x="8188" y="10376"/>
                    </a:cubicBezTo>
                    <a:cubicBezTo>
                      <a:pt x="12710" y="4646"/>
                      <a:pt x="32540" y="12756"/>
                      <a:pt x="52480" y="28492"/>
                    </a:cubicBezTo>
                    <a:close/>
                  </a:path>
                </a:pathLst>
              </a:custGeom>
              <a:noFill/>
              <a:ln w="6350" cap="flat">
                <a:solidFill>
                  <a:schemeClr val="bg1">
                    <a:alpha val="80000"/>
                  </a:schemeClr>
                </a:solidFill>
                <a:prstDash val="solid"/>
                <a:miter/>
              </a:ln>
            </p:spPr>
            <p:txBody>
              <a:bodyPr rtlCol="0" anchor="ctr"/>
              <a:lstStyle/>
              <a:p>
                <a:endParaRPr lang="en-GB"/>
              </a:p>
            </p:txBody>
          </p:sp>
          <p:grpSp>
            <p:nvGrpSpPr>
              <p:cNvPr id="7313" name="Graphic 3">
                <a:extLst>
                  <a:ext uri="{FF2B5EF4-FFF2-40B4-BE49-F238E27FC236}">
                    <a16:creationId xmlns:a16="http://schemas.microsoft.com/office/drawing/2014/main" id="{795DE8EF-79F9-4876-AB4A-285F7F94E910}"/>
                  </a:ext>
                </a:extLst>
              </p:cNvPr>
              <p:cNvGrpSpPr/>
              <p:nvPr/>
            </p:nvGrpSpPr>
            <p:grpSpPr>
              <a:xfrm>
                <a:off x="4645844" y="4613971"/>
                <a:ext cx="1016719" cy="1018174"/>
                <a:chOff x="4645844" y="4613971"/>
                <a:chExt cx="1016719" cy="1018174"/>
              </a:xfrm>
              <a:noFill/>
            </p:grpSpPr>
            <p:sp>
              <p:nvSpPr>
                <p:cNvPr id="7314" name="Vrije vorm: vorm 7313">
                  <a:extLst>
                    <a:ext uri="{FF2B5EF4-FFF2-40B4-BE49-F238E27FC236}">
                      <a16:creationId xmlns:a16="http://schemas.microsoft.com/office/drawing/2014/main" id="{15340F31-67AC-40B2-A176-1D8F3CE49630}"/>
                    </a:ext>
                  </a:extLst>
                </p:cNvPr>
                <p:cNvSpPr/>
                <p:nvPr/>
              </p:nvSpPr>
              <p:spPr>
                <a:xfrm>
                  <a:off x="4918625" y="4640242"/>
                  <a:ext cx="709014" cy="601002"/>
                </a:xfrm>
                <a:custGeom>
                  <a:avLst/>
                  <a:gdLst>
                    <a:gd name="connsiteX0" fmla="*/ 563324 w 709014"/>
                    <a:gd name="connsiteY0" fmla="*/ 550406 h 601002"/>
                    <a:gd name="connsiteX1" fmla="*/ 0 w 709014"/>
                    <a:gd name="connsiteY1" fmla="*/ 0 h 601002"/>
                    <a:gd name="connsiteX2" fmla="*/ 328999 w 709014"/>
                    <a:gd name="connsiteY2" fmla="*/ 96768 h 601002"/>
                    <a:gd name="connsiteX3" fmla="*/ 709015 w 709014"/>
                    <a:gd name="connsiteY3" fmla="*/ 601003 h 601002"/>
                  </a:gdLst>
                  <a:ahLst/>
                  <a:cxnLst>
                    <a:cxn ang="0">
                      <a:pos x="connsiteX0" y="connsiteY0"/>
                    </a:cxn>
                    <a:cxn ang="0">
                      <a:pos x="connsiteX1" y="connsiteY1"/>
                    </a:cxn>
                    <a:cxn ang="0">
                      <a:pos x="connsiteX2" y="connsiteY2"/>
                    </a:cxn>
                    <a:cxn ang="0">
                      <a:pos x="connsiteX3" y="connsiteY3"/>
                    </a:cxn>
                  </a:cxnLst>
                  <a:rect l="l" t="t" r="r" b="b"/>
                  <a:pathLst>
                    <a:path w="709014" h="601002">
                      <a:moveTo>
                        <a:pt x="563324" y="550406"/>
                      </a:moveTo>
                      <a:lnTo>
                        <a:pt x="0" y="0"/>
                      </a:lnTo>
                      <a:lnTo>
                        <a:pt x="328999" y="96768"/>
                      </a:lnTo>
                      <a:lnTo>
                        <a:pt x="709015" y="601003"/>
                      </a:lnTo>
                      <a:close/>
                    </a:path>
                  </a:pathLst>
                </a:custGeom>
                <a:noFill/>
                <a:ln w="6350" cap="flat">
                  <a:solidFill>
                    <a:schemeClr val="bg1">
                      <a:alpha val="80000"/>
                    </a:schemeClr>
                  </a:solidFill>
                  <a:prstDash val="solid"/>
                  <a:miter/>
                </a:ln>
              </p:spPr>
              <p:txBody>
                <a:bodyPr rtlCol="0" anchor="ctr"/>
                <a:lstStyle/>
                <a:p>
                  <a:endParaRPr lang="en-GB"/>
                </a:p>
              </p:txBody>
            </p:sp>
            <p:sp>
              <p:nvSpPr>
                <p:cNvPr id="7315" name="Vrije vorm: vorm 7314">
                  <a:extLst>
                    <a:ext uri="{FF2B5EF4-FFF2-40B4-BE49-F238E27FC236}">
                      <a16:creationId xmlns:a16="http://schemas.microsoft.com/office/drawing/2014/main" id="{3559E132-5536-42E0-814D-D255B88279BA}"/>
                    </a:ext>
                  </a:extLst>
                </p:cNvPr>
                <p:cNvSpPr/>
                <p:nvPr/>
              </p:nvSpPr>
              <p:spPr>
                <a:xfrm>
                  <a:off x="4954689" y="4618712"/>
                  <a:ext cx="328939" cy="96768"/>
                </a:xfrm>
                <a:custGeom>
                  <a:avLst/>
                  <a:gdLst>
                    <a:gd name="connsiteX0" fmla="*/ 0 w 328939"/>
                    <a:gd name="connsiteY0" fmla="*/ 0 h 96768"/>
                    <a:gd name="connsiteX1" fmla="*/ 328940 w 328939"/>
                    <a:gd name="connsiteY1" fmla="*/ 96768 h 96768"/>
                  </a:gdLst>
                  <a:ahLst/>
                  <a:cxnLst>
                    <a:cxn ang="0">
                      <a:pos x="connsiteX0" y="connsiteY0"/>
                    </a:cxn>
                    <a:cxn ang="0">
                      <a:pos x="connsiteX1" y="connsiteY1"/>
                    </a:cxn>
                  </a:cxnLst>
                  <a:rect l="l" t="t" r="r" b="b"/>
                  <a:pathLst>
                    <a:path w="328939" h="96768">
                      <a:moveTo>
                        <a:pt x="0" y="0"/>
                      </a:moveTo>
                      <a:lnTo>
                        <a:pt x="328940" y="96768"/>
                      </a:lnTo>
                    </a:path>
                  </a:pathLst>
                </a:custGeom>
                <a:ln w="6350" cap="flat">
                  <a:solidFill>
                    <a:schemeClr val="bg1">
                      <a:alpha val="80000"/>
                    </a:schemeClr>
                  </a:solidFill>
                  <a:prstDash val="solid"/>
                  <a:miter/>
                </a:ln>
              </p:spPr>
              <p:txBody>
                <a:bodyPr rtlCol="0" anchor="ctr"/>
                <a:lstStyle/>
                <a:p>
                  <a:endParaRPr lang="en-GB"/>
                </a:p>
              </p:txBody>
            </p:sp>
            <p:grpSp>
              <p:nvGrpSpPr>
                <p:cNvPr id="7316" name="Graphic 3">
                  <a:extLst>
                    <a:ext uri="{FF2B5EF4-FFF2-40B4-BE49-F238E27FC236}">
                      <a16:creationId xmlns:a16="http://schemas.microsoft.com/office/drawing/2014/main" id="{02B2BC5F-980A-4EEA-A6D7-92904D94F276}"/>
                    </a:ext>
                  </a:extLst>
                </p:cNvPr>
                <p:cNvGrpSpPr/>
                <p:nvPr/>
              </p:nvGrpSpPr>
              <p:grpSpPr>
                <a:xfrm>
                  <a:off x="4645844" y="4833420"/>
                  <a:ext cx="783594" cy="798725"/>
                  <a:chOff x="4645844" y="4833420"/>
                  <a:chExt cx="783594" cy="798725"/>
                </a:xfrm>
                <a:noFill/>
              </p:grpSpPr>
              <p:grpSp>
                <p:nvGrpSpPr>
                  <p:cNvPr id="7326" name="Graphic 3">
                    <a:extLst>
                      <a:ext uri="{FF2B5EF4-FFF2-40B4-BE49-F238E27FC236}">
                        <a16:creationId xmlns:a16="http://schemas.microsoft.com/office/drawing/2014/main" id="{99882D8D-5F2F-42B5-89AE-95D875983657}"/>
                      </a:ext>
                    </a:extLst>
                  </p:cNvPr>
                  <p:cNvGrpSpPr/>
                  <p:nvPr/>
                </p:nvGrpSpPr>
                <p:grpSpPr>
                  <a:xfrm>
                    <a:off x="4658045" y="4833420"/>
                    <a:ext cx="771393" cy="798725"/>
                    <a:chOff x="4658045" y="4833420"/>
                    <a:chExt cx="771393" cy="798725"/>
                  </a:xfrm>
                  <a:noFill/>
                </p:grpSpPr>
                <p:sp>
                  <p:nvSpPr>
                    <p:cNvPr id="7329" name="Vrije vorm: vorm 7328">
                      <a:extLst>
                        <a:ext uri="{FF2B5EF4-FFF2-40B4-BE49-F238E27FC236}">
                          <a16:creationId xmlns:a16="http://schemas.microsoft.com/office/drawing/2014/main" id="{C88F4191-6EEF-4F88-82C1-54EE5D891EF9}"/>
                        </a:ext>
                      </a:extLst>
                    </p:cNvPr>
                    <p:cNvSpPr/>
                    <p:nvPr/>
                  </p:nvSpPr>
                  <p:spPr>
                    <a:xfrm>
                      <a:off x="4658045" y="5187419"/>
                      <a:ext cx="706263" cy="444726"/>
                    </a:xfrm>
                    <a:custGeom>
                      <a:avLst/>
                      <a:gdLst>
                        <a:gd name="connsiteX0" fmla="*/ 705187 w 706263"/>
                        <a:gd name="connsiteY0" fmla="*/ 414643 h 444726"/>
                        <a:gd name="connsiteX1" fmla="*/ 682281 w 706263"/>
                        <a:gd name="connsiteY1" fmla="*/ 443710 h 444726"/>
                        <a:gd name="connsiteX2" fmla="*/ 1914 w 706263"/>
                        <a:gd name="connsiteY2" fmla="*/ 44377 h 444726"/>
                        <a:gd name="connsiteX3" fmla="*/ 35526 w 706263"/>
                        <a:gd name="connsiteY3" fmla="*/ 1734 h 444726"/>
                        <a:gd name="connsiteX4" fmla="*/ 705187 w 706263"/>
                        <a:gd name="connsiteY4" fmla="*/ 414643 h 444726"/>
                        <a:gd name="connsiteX5" fmla="*/ 0 w 706263"/>
                        <a:gd name="connsiteY5" fmla="*/ 44736 h 444726"/>
                        <a:gd name="connsiteX6" fmla="*/ 682221 w 706263"/>
                        <a:gd name="connsiteY6" fmla="*/ 444726 h 444726"/>
                        <a:gd name="connsiteX7" fmla="*/ 706263 w 706263"/>
                        <a:gd name="connsiteY7" fmla="*/ 414224 h 444726"/>
                        <a:gd name="connsiteX8" fmla="*/ 35286 w 706263"/>
                        <a:gd name="connsiteY8" fmla="*/ 0 h 444726"/>
                        <a:gd name="connsiteX9" fmla="*/ 0 w 706263"/>
                        <a:gd name="connsiteY9" fmla="*/ 44736 h 444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6263" h="444726">
                          <a:moveTo>
                            <a:pt x="705187" y="414643"/>
                          </a:moveTo>
                          <a:lnTo>
                            <a:pt x="682281" y="443710"/>
                          </a:lnTo>
                          <a:lnTo>
                            <a:pt x="1914" y="44377"/>
                          </a:lnTo>
                          <a:lnTo>
                            <a:pt x="35526" y="1734"/>
                          </a:lnTo>
                          <a:lnTo>
                            <a:pt x="705187" y="414643"/>
                          </a:lnTo>
                          <a:moveTo>
                            <a:pt x="0" y="44736"/>
                          </a:moveTo>
                          <a:lnTo>
                            <a:pt x="682221" y="444726"/>
                          </a:lnTo>
                          <a:lnTo>
                            <a:pt x="706263" y="414224"/>
                          </a:lnTo>
                          <a:lnTo>
                            <a:pt x="35286" y="0"/>
                          </a:lnTo>
                          <a:lnTo>
                            <a:pt x="0" y="44736"/>
                          </a:lnTo>
                        </a:path>
                      </a:pathLst>
                    </a:custGeom>
                    <a:noFill/>
                    <a:ln w="6350" cap="flat">
                      <a:solidFill>
                        <a:schemeClr val="bg1">
                          <a:alpha val="80000"/>
                        </a:schemeClr>
                      </a:solidFill>
                      <a:prstDash val="solid"/>
                      <a:miter/>
                    </a:ln>
                  </p:spPr>
                  <p:txBody>
                    <a:bodyPr rtlCol="0" anchor="ctr"/>
                    <a:lstStyle/>
                    <a:p>
                      <a:endParaRPr lang="en-GB"/>
                    </a:p>
                  </p:txBody>
                </p:sp>
                <p:sp>
                  <p:nvSpPr>
                    <p:cNvPr id="7330" name="Vrije vorm: vorm 7329">
                      <a:extLst>
                        <a:ext uri="{FF2B5EF4-FFF2-40B4-BE49-F238E27FC236}">
                          <a16:creationId xmlns:a16="http://schemas.microsoft.com/office/drawing/2014/main" id="{CC629EDF-7908-4DCE-9559-2624DDC21848}"/>
                        </a:ext>
                      </a:extLst>
                    </p:cNvPr>
                    <p:cNvSpPr/>
                    <p:nvPr/>
                  </p:nvSpPr>
                  <p:spPr>
                    <a:xfrm>
                      <a:off x="5163236" y="4905906"/>
                      <a:ext cx="239" cy="239"/>
                    </a:xfrm>
                    <a:custGeom>
                      <a:avLst/>
                      <a:gdLst>
                        <a:gd name="connsiteX0" fmla="*/ 0 w 239"/>
                        <a:gd name="connsiteY0" fmla="*/ 239 h 239"/>
                        <a:gd name="connsiteX1" fmla="*/ 239 w 239"/>
                        <a:gd name="connsiteY1" fmla="*/ 0 h 239"/>
                        <a:gd name="connsiteX2" fmla="*/ 120 w 239"/>
                        <a:gd name="connsiteY2" fmla="*/ 60 h 239"/>
                        <a:gd name="connsiteX3" fmla="*/ 0 w 239"/>
                        <a:gd name="connsiteY3" fmla="*/ 239 h 239"/>
                      </a:gdLst>
                      <a:ahLst/>
                      <a:cxnLst>
                        <a:cxn ang="0">
                          <a:pos x="connsiteX0" y="connsiteY0"/>
                        </a:cxn>
                        <a:cxn ang="0">
                          <a:pos x="connsiteX1" y="connsiteY1"/>
                        </a:cxn>
                        <a:cxn ang="0">
                          <a:pos x="connsiteX2" y="connsiteY2"/>
                        </a:cxn>
                        <a:cxn ang="0">
                          <a:pos x="connsiteX3" y="connsiteY3"/>
                        </a:cxn>
                      </a:cxnLst>
                      <a:rect l="l" t="t" r="r" b="b"/>
                      <a:pathLst>
                        <a:path w="239" h="239">
                          <a:moveTo>
                            <a:pt x="0" y="239"/>
                          </a:moveTo>
                          <a:lnTo>
                            <a:pt x="239" y="0"/>
                          </a:lnTo>
                          <a:lnTo>
                            <a:pt x="120" y="60"/>
                          </a:lnTo>
                          <a:lnTo>
                            <a:pt x="0" y="239"/>
                          </a:lnTo>
                        </a:path>
                      </a:pathLst>
                    </a:custGeom>
                    <a:noFill/>
                    <a:ln w="6350" cap="flat">
                      <a:solidFill>
                        <a:schemeClr val="bg1">
                          <a:alpha val="80000"/>
                        </a:schemeClr>
                      </a:solidFill>
                      <a:prstDash val="solid"/>
                      <a:miter/>
                    </a:ln>
                  </p:spPr>
                  <p:txBody>
                    <a:bodyPr rtlCol="0" anchor="ctr"/>
                    <a:lstStyle/>
                    <a:p>
                      <a:endParaRPr lang="en-GB"/>
                    </a:p>
                  </p:txBody>
                </p:sp>
                <p:sp>
                  <p:nvSpPr>
                    <p:cNvPr id="7331" name="Vrije vorm: vorm 7330">
                      <a:extLst>
                        <a:ext uri="{FF2B5EF4-FFF2-40B4-BE49-F238E27FC236}">
                          <a16:creationId xmlns:a16="http://schemas.microsoft.com/office/drawing/2014/main" id="{A790E446-5B63-46DB-804B-29C28867031C}"/>
                        </a:ext>
                      </a:extLst>
                    </p:cNvPr>
                    <p:cNvSpPr/>
                    <p:nvPr/>
                  </p:nvSpPr>
                  <p:spPr>
                    <a:xfrm>
                      <a:off x="5267002" y="5507806"/>
                      <a:ext cx="86361" cy="70093"/>
                    </a:xfrm>
                    <a:custGeom>
                      <a:avLst/>
                      <a:gdLst>
                        <a:gd name="connsiteX0" fmla="*/ 49042 w 86361"/>
                        <a:gd name="connsiteY0" fmla="*/ 16985 h 70093"/>
                        <a:gd name="connsiteX1" fmla="*/ 57774 w 86361"/>
                        <a:gd name="connsiteY1" fmla="*/ 22667 h 70093"/>
                        <a:gd name="connsiteX2" fmla="*/ 58372 w 86361"/>
                        <a:gd name="connsiteY2" fmla="*/ 21889 h 70093"/>
                        <a:gd name="connsiteX3" fmla="*/ 49640 w 86361"/>
                        <a:gd name="connsiteY3" fmla="*/ 16208 h 70093"/>
                        <a:gd name="connsiteX4" fmla="*/ 49042 w 86361"/>
                        <a:gd name="connsiteY4" fmla="*/ 16985 h 70093"/>
                        <a:gd name="connsiteX5" fmla="*/ 79962 w 86361"/>
                        <a:gd name="connsiteY5" fmla="*/ 47188 h 70093"/>
                        <a:gd name="connsiteX6" fmla="*/ 80201 w 86361"/>
                        <a:gd name="connsiteY6" fmla="*/ 47307 h 70093"/>
                        <a:gd name="connsiteX7" fmla="*/ 84627 w 86361"/>
                        <a:gd name="connsiteY7" fmla="*/ 41685 h 70093"/>
                        <a:gd name="connsiteX8" fmla="*/ 84926 w 86361"/>
                        <a:gd name="connsiteY8" fmla="*/ 41865 h 70093"/>
                        <a:gd name="connsiteX9" fmla="*/ 86362 w 86361"/>
                        <a:gd name="connsiteY9" fmla="*/ 40071 h 70093"/>
                        <a:gd name="connsiteX10" fmla="*/ 58970 w 86361"/>
                        <a:gd name="connsiteY10" fmla="*/ 22248 h 70093"/>
                        <a:gd name="connsiteX11" fmla="*/ 58372 w 86361"/>
                        <a:gd name="connsiteY11" fmla="*/ 23026 h 70093"/>
                        <a:gd name="connsiteX12" fmla="*/ 85285 w 86361"/>
                        <a:gd name="connsiteY12" fmla="*/ 40489 h 70093"/>
                        <a:gd name="connsiteX13" fmla="*/ 79962 w 86361"/>
                        <a:gd name="connsiteY13" fmla="*/ 47188 h 70093"/>
                        <a:gd name="connsiteX14" fmla="*/ 18600 w 86361"/>
                        <a:gd name="connsiteY14" fmla="*/ 7775 h 70093"/>
                        <a:gd name="connsiteX15" fmla="*/ 19138 w 86361"/>
                        <a:gd name="connsiteY15" fmla="*/ 8134 h 70093"/>
                        <a:gd name="connsiteX16" fmla="*/ 24641 w 86361"/>
                        <a:gd name="connsiteY16" fmla="*/ 1136 h 70093"/>
                        <a:gd name="connsiteX17" fmla="*/ 48504 w 86361"/>
                        <a:gd name="connsiteY17" fmla="*/ 16626 h 70093"/>
                        <a:gd name="connsiteX18" fmla="*/ 49101 w 86361"/>
                        <a:gd name="connsiteY18" fmla="*/ 15849 h 70093"/>
                        <a:gd name="connsiteX19" fmla="*/ 24700 w 86361"/>
                        <a:gd name="connsiteY19" fmla="*/ 0 h 70093"/>
                        <a:gd name="connsiteX20" fmla="*/ 18600 w 86361"/>
                        <a:gd name="connsiteY20" fmla="*/ 7775 h 70093"/>
                        <a:gd name="connsiteX21" fmla="*/ 78407 w 86361"/>
                        <a:gd name="connsiteY21" fmla="*/ 49101 h 70093"/>
                        <a:gd name="connsiteX22" fmla="*/ 78646 w 86361"/>
                        <a:gd name="connsiteY22" fmla="*/ 49221 h 70093"/>
                        <a:gd name="connsiteX23" fmla="*/ 79603 w 86361"/>
                        <a:gd name="connsiteY23" fmla="*/ 48025 h 70093"/>
                        <a:gd name="connsiteX24" fmla="*/ 79364 w 86361"/>
                        <a:gd name="connsiteY24" fmla="*/ 47905 h 70093"/>
                        <a:gd name="connsiteX25" fmla="*/ 78407 w 86361"/>
                        <a:gd name="connsiteY25" fmla="*/ 49101 h 70093"/>
                        <a:gd name="connsiteX26" fmla="*/ 66087 w 86361"/>
                        <a:gd name="connsiteY26" fmla="*/ 64951 h 70093"/>
                        <a:gd name="connsiteX27" fmla="*/ 66506 w 86361"/>
                        <a:gd name="connsiteY27" fmla="*/ 65190 h 70093"/>
                        <a:gd name="connsiteX28" fmla="*/ 76433 w 86361"/>
                        <a:gd name="connsiteY28" fmla="*/ 52630 h 70093"/>
                        <a:gd name="connsiteX29" fmla="*/ 76134 w 86361"/>
                        <a:gd name="connsiteY29" fmla="*/ 52451 h 70093"/>
                        <a:gd name="connsiteX30" fmla="*/ 78048 w 86361"/>
                        <a:gd name="connsiteY30" fmla="*/ 49999 h 70093"/>
                        <a:gd name="connsiteX31" fmla="*/ 77988 w 86361"/>
                        <a:gd name="connsiteY31" fmla="*/ 49939 h 70093"/>
                        <a:gd name="connsiteX32" fmla="*/ 66087 w 86361"/>
                        <a:gd name="connsiteY32" fmla="*/ 64951 h 70093"/>
                        <a:gd name="connsiteX33" fmla="*/ 0 w 86361"/>
                        <a:gd name="connsiteY33" fmla="*/ 31339 h 70093"/>
                        <a:gd name="connsiteX34" fmla="*/ 62618 w 86361"/>
                        <a:gd name="connsiteY34" fmla="*/ 70094 h 70093"/>
                        <a:gd name="connsiteX35" fmla="*/ 65907 w 86361"/>
                        <a:gd name="connsiteY35" fmla="*/ 65907 h 70093"/>
                        <a:gd name="connsiteX36" fmla="*/ 65369 w 86361"/>
                        <a:gd name="connsiteY36" fmla="*/ 65608 h 70093"/>
                        <a:gd name="connsiteX37" fmla="*/ 62618 w 86361"/>
                        <a:gd name="connsiteY37" fmla="*/ 69077 h 70093"/>
                        <a:gd name="connsiteX38" fmla="*/ 1136 w 86361"/>
                        <a:gd name="connsiteY38" fmla="*/ 30980 h 70093"/>
                        <a:gd name="connsiteX39" fmla="*/ 18540 w 86361"/>
                        <a:gd name="connsiteY39" fmla="*/ 8911 h 70093"/>
                        <a:gd name="connsiteX40" fmla="*/ 18002 w 86361"/>
                        <a:gd name="connsiteY40" fmla="*/ 8552 h 70093"/>
                        <a:gd name="connsiteX41" fmla="*/ 0 w 86361"/>
                        <a:gd name="connsiteY41" fmla="*/ 31339 h 7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6361" h="70093">
                          <a:moveTo>
                            <a:pt x="49042" y="16985"/>
                          </a:moveTo>
                          <a:lnTo>
                            <a:pt x="57774" y="22667"/>
                          </a:lnTo>
                          <a:lnTo>
                            <a:pt x="58372" y="21889"/>
                          </a:lnTo>
                          <a:lnTo>
                            <a:pt x="49640" y="16208"/>
                          </a:lnTo>
                          <a:lnTo>
                            <a:pt x="49042" y="16985"/>
                          </a:lnTo>
                          <a:moveTo>
                            <a:pt x="79962" y="47188"/>
                          </a:moveTo>
                          <a:lnTo>
                            <a:pt x="80201" y="47307"/>
                          </a:lnTo>
                          <a:lnTo>
                            <a:pt x="84627" y="41685"/>
                          </a:lnTo>
                          <a:lnTo>
                            <a:pt x="84926" y="41865"/>
                          </a:lnTo>
                          <a:lnTo>
                            <a:pt x="86362" y="40071"/>
                          </a:lnTo>
                          <a:lnTo>
                            <a:pt x="58970" y="22248"/>
                          </a:lnTo>
                          <a:lnTo>
                            <a:pt x="58372" y="23026"/>
                          </a:lnTo>
                          <a:lnTo>
                            <a:pt x="85285" y="40489"/>
                          </a:lnTo>
                          <a:lnTo>
                            <a:pt x="79962" y="47188"/>
                          </a:lnTo>
                          <a:moveTo>
                            <a:pt x="18600" y="7775"/>
                          </a:moveTo>
                          <a:lnTo>
                            <a:pt x="19138" y="8134"/>
                          </a:lnTo>
                          <a:lnTo>
                            <a:pt x="24641" y="1136"/>
                          </a:lnTo>
                          <a:lnTo>
                            <a:pt x="48504" y="16626"/>
                          </a:lnTo>
                          <a:lnTo>
                            <a:pt x="49101" y="15849"/>
                          </a:lnTo>
                          <a:lnTo>
                            <a:pt x="24700" y="0"/>
                          </a:lnTo>
                          <a:lnTo>
                            <a:pt x="18600" y="7775"/>
                          </a:lnTo>
                          <a:moveTo>
                            <a:pt x="78407" y="49101"/>
                          </a:moveTo>
                          <a:lnTo>
                            <a:pt x="78646" y="49221"/>
                          </a:lnTo>
                          <a:lnTo>
                            <a:pt x="79603" y="48025"/>
                          </a:lnTo>
                          <a:lnTo>
                            <a:pt x="79364" y="47905"/>
                          </a:lnTo>
                          <a:lnTo>
                            <a:pt x="78407" y="49101"/>
                          </a:lnTo>
                          <a:moveTo>
                            <a:pt x="66087" y="64951"/>
                          </a:moveTo>
                          <a:lnTo>
                            <a:pt x="66506" y="65190"/>
                          </a:lnTo>
                          <a:lnTo>
                            <a:pt x="76433" y="52630"/>
                          </a:lnTo>
                          <a:lnTo>
                            <a:pt x="76134" y="52451"/>
                          </a:lnTo>
                          <a:lnTo>
                            <a:pt x="78048" y="49999"/>
                          </a:lnTo>
                          <a:lnTo>
                            <a:pt x="77988" y="49939"/>
                          </a:lnTo>
                          <a:lnTo>
                            <a:pt x="66087" y="64951"/>
                          </a:lnTo>
                          <a:moveTo>
                            <a:pt x="0" y="31339"/>
                          </a:moveTo>
                          <a:lnTo>
                            <a:pt x="62618" y="70094"/>
                          </a:lnTo>
                          <a:lnTo>
                            <a:pt x="65907" y="65907"/>
                          </a:lnTo>
                          <a:lnTo>
                            <a:pt x="65369" y="65608"/>
                          </a:lnTo>
                          <a:lnTo>
                            <a:pt x="62618" y="69077"/>
                          </a:lnTo>
                          <a:lnTo>
                            <a:pt x="1136" y="30980"/>
                          </a:lnTo>
                          <a:lnTo>
                            <a:pt x="18540" y="8911"/>
                          </a:lnTo>
                          <a:lnTo>
                            <a:pt x="18002" y="8552"/>
                          </a:lnTo>
                          <a:lnTo>
                            <a:pt x="0" y="31339"/>
                          </a:lnTo>
                        </a:path>
                      </a:pathLst>
                    </a:custGeom>
                    <a:noFill/>
                    <a:ln w="6350" cap="flat">
                      <a:solidFill>
                        <a:schemeClr val="bg1">
                          <a:alpha val="80000"/>
                        </a:schemeClr>
                      </a:solidFill>
                      <a:prstDash val="solid"/>
                      <a:miter/>
                    </a:ln>
                  </p:spPr>
                  <p:txBody>
                    <a:bodyPr rtlCol="0" anchor="ctr"/>
                    <a:lstStyle/>
                    <a:p>
                      <a:endParaRPr lang="en-GB"/>
                    </a:p>
                  </p:txBody>
                </p:sp>
                <p:sp>
                  <p:nvSpPr>
                    <p:cNvPr id="7332" name="Vrije vorm: vorm 7331">
                      <a:extLst>
                        <a:ext uri="{FF2B5EF4-FFF2-40B4-BE49-F238E27FC236}">
                          <a16:creationId xmlns:a16="http://schemas.microsoft.com/office/drawing/2014/main" id="{E255E8E9-8017-43B6-A309-9F2AF616D713}"/>
                        </a:ext>
                      </a:extLst>
                    </p:cNvPr>
                    <p:cNvSpPr/>
                    <p:nvPr/>
                  </p:nvSpPr>
                  <p:spPr>
                    <a:xfrm>
                      <a:off x="5319692" y="5561094"/>
                      <a:ext cx="11841" cy="8373"/>
                    </a:xfrm>
                    <a:custGeom>
                      <a:avLst/>
                      <a:gdLst>
                        <a:gd name="connsiteX0" fmla="*/ 10765 w 11841"/>
                        <a:gd name="connsiteY0" fmla="*/ 6997 h 8373"/>
                        <a:gd name="connsiteX1" fmla="*/ 10526 w 11841"/>
                        <a:gd name="connsiteY1" fmla="*/ 7296 h 8373"/>
                        <a:gd name="connsiteX2" fmla="*/ 1136 w 11841"/>
                        <a:gd name="connsiteY2" fmla="*/ 1435 h 8373"/>
                        <a:gd name="connsiteX3" fmla="*/ 1375 w 11841"/>
                        <a:gd name="connsiteY3" fmla="*/ 1136 h 8373"/>
                        <a:gd name="connsiteX4" fmla="*/ 10765 w 11841"/>
                        <a:gd name="connsiteY4" fmla="*/ 6997 h 8373"/>
                        <a:gd name="connsiteX5" fmla="*/ 0 w 11841"/>
                        <a:gd name="connsiteY5" fmla="*/ 1854 h 8373"/>
                        <a:gd name="connsiteX6" fmla="*/ 10466 w 11841"/>
                        <a:gd name="connsiteY6" fmla="*/ 8373 h 8373"/>
                        <a:gd name="connsiteX7" fmla="*/ 11842 w 11841"/>
                        <a:gd name="connsiteY7" fmla="*/ 6579 h 8373"/>
                        <a:gd name="connsiteX8" fmla="*/ 1375 w 11841"/>
                        <a:gd name="connsiteY8" fmla="*/ 0 h 8373"/>
                        <a:gd name="connsiteX9" fmla="*/ 0 w 11841"/>
                        <a:gd name="connsiteY9" fmla="*/ 1854 h 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41" h="8373">
                          <a:moveTo>
                            <a:pt x="10765" y="6997"/>
                          </a:moveTo>
                          <a:lnTo>
                            <a:pt x="10526" y="7296"/>
                          </a:lnTo>
                          <a:lnTo>
                            <a:pt x="1136" y="1435"/>
                          </a:lnTo>
                          <a:lnTo>
                            <a:pt x="1375" y="1136"/>
                          </a:lnTo>
                          <a:lnTo>
                            <a:pt x="10765" y="6997"/>
                          </a:lnTo>
                          <a:moveTo>
                            <a:pt x="0" y="1854"/>
                          </a:moveTo>
                          <a:lnTo>
                            <a:pt x="10466" y="8373"/>
                          </a:lnTo>
                          <a:lnTo>
                            <a:pt x="11842" y="6579"/>
                          </a:lnTo>
                          <a:lnTo>
                            <a:pt x="1375" y="0"/>
                          </a:lnTo>
                          <a:lnTo>
                            <a:pt x="0" y="1854"/>
                          </a:lnTo>
                        </a:path>
                      </a:pathLst>
                    </a:custGeom>
                    <a:noFill/>
                    <a:ln w="6350" cap="flat">
                      <a:solidFill>
                        <a:schemeClr val="bg1">
                          <a:alpha val="80000"/>
                        </a:schemeClr>
                      </a:solidFill>
                      <a:prstDash val="solid"/>
                      <a:miter/>
                    </a:ln>
                  </p:spPr>
                  <p:txBody>
                    <a:bodyPr rtlCol="0" anchor="ctr"/>
                    <a:lstStyle/>
                    <a:p>
                      <a:endParaRPr lang="en-GB"/>
                    </a:p>
                  </p:txBody>
                </p:sp>
                <p:sp>
                  <p:nvSpPr>
                    <p:cNvPr id="7333" name="Vrije vorm: vorm 7332">
                      <a:extLst>
                        <a:ext uri="{FF2B5EF4-FFF2-40B4-BE49-F238E27FC236}">
                          <a16:creationId xmlns:a16="http://schemas.microsoft.com/office/drawing/2014/main" id="{F5FFE73B-9228-4984-A5F5-81FC19520016}"/>
                        </a:ext>
                      </a:extLst>
                    </p:cNvPr>
                    <p:cNvSpPr/>
                    <p:nvPr/>
                  </p:nvSpPr>
                  <p:spPr>
                    <a:xfrm>
                      <a:off x="5321606" y="5558702"/>
                      <a:ext cx="11841" cy="8373"/>
                    </a:xfrm>
                    <a:custGeom>
                      <a:avLst/>
                      <a:gdLst>
                        <a:gd name="connsiteX0" fmla="*/ 10765 w 11841"/>
                        <a:gd name="connsiteY0" fmla="*/ 6998 h 8373"/>
                        <a:gd name="connsiteX1" fmla="*/ 10526 w 11841"/>
                        <a:gd name="connsiteY1" fmla="*/ 7297 h 8373"/>
                        <a:gd name="connsiteX2" fmla="*/ 1136 w 11841"/>
                        <a:gd name="connsiteY2" fmla="*/ 1376 h 8373"/>
                        <a:gd name="connsiteX3" fmla="*/ 1375 w 11841"/>
                        <a:gd name="connsiteY3" fmla="*/ 1076 h 8373"/>
                        <a:gd name="connsiteX4" fmla="*/ 10765 w 11841"/>
                        <a:gd name="connsiteY4" fmla="*/ 6998 h 8373"/>
                        <a:gd name="connsiteX5" fmla="*/ 0 w 11841"/>
                        <a:gd name="connsiteY5" fmla="*/ 1795 h 8373"/>
                        <a:gd name="connsiteX6" fmla="*/ 10466 w 11841"/>
                        <a:gd name="connsiteY6" fmla="*/ 8373 h 8373"/>
                        <a:gd name="connsiteX7" fmla="*/ 11842 w 11841"/>
                        <a:gd name="connsiteY7" fmla="*/ 6579 h 8373"/>
                        <a:gd name="connsiteX8" fmla="*/ 1375 w 11841"/>
                        <a:gd name="connsiteY8" fmla="*/ 0 h 8373"/>
                        <a:gd name="connsiteX9" fmla="*/ 0 w 11841"/>
                        <a:gd name="connsiteY9" fmla="*/ 1795 h 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41" h="8373">
                          <a:moveTo>
                            <a:pt x="10765" y="6998"/>
                          </a:moveTo>
                          <a:lnTo>
                            <a:pt x="10526" y="7297"/>
                          </a:lnTo>
                          <a:lnTo>
                            <a:pt x="1136" y="1376"/>
                          </a:lnTo>
                          <a:lnTo>
                            <a:pt x="1375" y="1076"/>
                          </a:lnTo>
                          <a:lnTo>
                            <a:pt x="10765" y="6998"/>
                          </a:lnTo>
                          <a:moveTo>
                            <a:pt x="0" y="1795"/>
                          </a:moveTo>
                          <a:lnTo>
                            <a:pt x="10466" y="8373"/>
                          </a:lnTo>
                          <a:lnTo>
                            <a:pt x="11842" y="6579"/>
                          </a:lnTo>
                          <a:lnTo>
                            <a:pt x="1375" y="0"/>
                          </a:lnTo>
                          <a:lnTo>
                            <a:pt x="0" y="1795"/>
                          </a:lnTo>
                        </a:path>
                      </a:pathLst>
                    </a:custGeom>
                    <a:noFill/>
                    <a:ln w="6350" cap="flat">
                      <a:solidFill>
                        <a:schemeClr val="bg1">
                          <a:alpha val="80000"/>
                        </a:schemeClr>
                      </a:solidFill>
                      <a:prstDash val="solid"/>
                      <a:miter/>
                    </a:ln>
                  </p:spPr>
                  <p:txBody>
                    <a:bodyPr rtlCol="0" anchor="ctr"/>
                    <a:lstStyle/>
                    <a:p>
                      <a:endParaRPr lang="en-GB"/>
                    </a:p>
                  </p:txBody>
                </p:sp>
                <p:sp>
                  <p:nvSpPr>
                    <p:cNvPr id="7334" name="Vrije vorm: vorm 7333">
                      <a:extLst>
                        <a:ext uri="{FF2B5EF4-FFF2-40B4-BE49-F238E27FC236}">
                          <a16:creationId xmlns:a16="http://schemas.microsoft.com/office/drawing/2014/main" id="{86DECE7B-884C-4808-BEA5-D8B6C0032729}"/>
                        </a:ext>
                      </a:extLst>
                    </p:cNvPr>
                    <p:cNvSpPr/>
                    <p:nvPr/>
                  </p:nvSpPr>
                  <p:spPr>
                    <a:xfrm>
                      <a:off x="5323580" y="5556310"/>
                      <a:ext cx="11842" cy="8313"/>
                    </a:xfrm>
                    <a:custGeom>
                      <a:avLst/>
                      <a:gdLst>
                        <a:gd name="connsiteX0" fmla="*/ 10706 w 11842"/>
                        <a:gd name="connsiteY0" fmla="*/ 6937 h 8313"/>
                        <a:gd name="connsiteX1" fmla="*/ 10466 w 11842"/>
                        <a:gd name="connsiteY1" fmla="*/ 7236 h 8313"/>
                        <a:gd name="connsiteX2" fmla="*/ 1076 w 11842"/>
                        <a:gd name="connsiteY2" fmla="*/ 1316 h 8313"/>
                        <a:gd name="connsiteX3" fmla="*/ 1316 w 11842"/>
                        <a:gd name="connsiteY3" fmla="*/ 1017 h 8313"/>
                        <a:gd name="connsiteX4" fmla="*/ 10706 w 11842"/>
                        <a:gd name="connsiteY4" fmla="*/ 6937 h 8313"/>
                        <a:gd name="connsiteX5" fmla="*/ 0 w 11842"/>
                        <a:gd name="connsiteY5" fmla="*/ 1734 h 8313"/>
                        <a:gd name="connsiteX6" fmla="*/ 10466 w 11842"/>
                        <a:gd name="connsiteY6" fmla="*/ 8313 h 8313"/>
                        <a:gd name="connsiteX7" fmla="*/ 11842 w 11842"/>
                        <a:gd name="connsiteY7" fmla="*/ 6579 h 8313"/>
                        <a:gd name="connsiteX8" fmla="*/ 1435 w 11842"/>
                        <a:gd name="connsiteY8" fmla="*/ 0 h 8313"/>
                        <a:gd name="connsiteX9" fmla="*/ 0 w 11842"/>
                        <a:gd name="connsiteY9" fmla="*/ 1734 h 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42" h="8313">
                          <a:moveTo>
                            <a:pt x="10706" y="6937"/>
                          </a:moveTo>
                          <a:lnTo>
                            <a:pt x="10466" y="7236"/>
                          </a:lnTo>
                          <a:lnTo>
                            <a:pt x="1076" y="1316"/>
                          </a:lnTo>
                          <a:lnTo>
                            <a:pt x="1316" y="1017"/>
                          </a:lnTo>
                          <a:lnTo>
                            <a:pt x="10706" y="6937"/>
                          </a:lnTo>
                          <a:moveTo>
                            <a:pt x="0" y="1734"/>
                          </a:moveTo>
                          <a:lnTo>
                            <a:pt x="10466" y="8313"/>
                          </a:lnTo>
                          <a:lnTo>
                            <a:pt x="11842" y="6579"/>
                          </a:lnTo>
                          <a:lnTo>
                            <a:pt x="1435" y="0"/>
                          </a:lnTo>
                          <a:lnTo>
                            <a:pt x="0" y="1734"/>
                          </a:lnTo>
                        </a:path>
                      </a:pathLst>
                    </a:custGeom>
                    <a:noFill/>
                    <a:ln w="6350" cap="flat">
                      <a:solidFill>
                        <a:schemeClr val="bg1">
                          <a:alpha val="80000"/>
                        </a:schemeClr>
                      </a:solidFill>
                      <a:prstDash val="solid"/>
                      <a:miter/>
                    </a:ln>
                  </p:spPr>
                  <p:txBody>
                    <a:bodyPr rtlCol="0" anchor="ctr"/>
                    <a:lstStyle/>
                    <a:p>
                      <a:endParaRPr lang="en-GB"/>
                    </a:p>
                  </p:txBody>
                </p:sp>
                <p:sp>
                  <p:nvSpPr>
                    <p:cNvPr id="7335" name="Vrije vorm: vorm 7334">
                      <a:extLst>
                        <a:ext uri="{FF2B5EF4-FFF2-40B4-BE49-F238E27FC236}">
                          <a16:creationId xmlns:a16="http://schemas.microsoft.com/office/drawing/2014/main" id="{ADBCEF81-0830-477D-91F9-2D058A8BD5DB}"/>
                        </a:ext>
                      </a:extLst>
                    </p:cNvPr>
                    <p:cNvSpPr/>
                    <p:nvPr/>
                  </p:nvSpPr>
                  <p:spPr>
                    <a:xfrm>
                      <a:off x="5325493" y="5553857"/>
                      <a:ext cx="11782" cy="8313"/>
                    </a:xfrm>
                    <a:custGeom>
                      <a:avLst/>
                      <a:gdLst>
                        <a:gd name="connsiteX0" fmla="*/ 10706 w 11782"/>
                        <a:gd name="connsiteY0" fmla="*/ 6938 h 8313"/>
                        <a:gd name="connsiteX1" fmla="*/ 10466 w 11782"/>
                        <a:gd name="connsiteY1" fmla="*/ 7237 h 8313"/>
                        <a:gd name="connsiteX2" fmla="*/ 1076 w 11782"/>
                        <a:gd name="connsiteY2" fmla="*/ 1316 h 8313"/>
                        <a:gd name="connsiteX3" fmla="*/ 1316 w 11782"/>
                        <a:gd name="connsiteY3" fmla="*/ 1017 h 8313"/>
                        <a:gd name="connsiteX4" fmla="*/ 10706 w 11782"/>
                        <a:gd name="connsiteY4" fmla="*/ 6938 h 8313"/>
                        <a:gd name="connsiteX5" fmla="*/ 0 w 11782"/>
                        <a:gd name="connsiteY5" fmla="*/ 1735 h 8313"/>
                        <a:gd name="connsiteX6" fmla="*/ 10406 w 11782"/>
                        <a:gd name="connsiteY6" fmla="*/ 8313 h 8313"/>
                        <a:gd name="connsiteX7" fmla="*/ 11782 w 11782"/>
                        <a:gd name="connsiteY7" fmla="*/ 6579 h 8313"/>
                        <a:gd name="connsiteX8" fmla="*/ 1375 w 11782"/>
                        <a:gd name="connsiteY8" fmla="*/ 0 h 8313"/>
                        <a:gd name="connsiteX9" fmla="*/ 0 w 11782"/>
                        <a:gd name="connsiteY9" fmla="*/ 1735 h 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2" h="8313">
                          <a:moveTo>
                            <a:pt x="10706" y="6938"/>
                          </a:moveTo>
                          <a:lnTo>
                            <a:pt x="10466" y="7237"/>
                          </a:lnTo>
                          <a:lnTo>
                            <a:pt x="1076" y="1316"/>
                          </a:lnTo>
                          <a:lnTo>
                            <a:pt x="1316" y="1017"/>
                          </a:lnTo>
                          <a:lnTo>
                            <a:pt x="10706" y="6938"/>
                          </a:lnTo>
                          <a:moveTo>
                            <a:pt x="0" y="1735"/>
                          </a:moveTo>
                          <a:lnTo>
                            <a:pt x="10406" y="8313"/>
                          </a:lnTo>
                          <a:lnTo>
                            <a:pt x="11782" y="6579"/>
                          </a:lnTo>
                          <a:lnTo>
                            <a:pt x="1375" y="0"/>
                          </a:lnTo>
                          <a:lnTo>
                            <a:pt x="0" y="1735"/>
                          </a:lnTo>
                        </a:path>
                      </a:pathLst>
                    </a:custGeom>
                    <a:noFill/>
                    <a:ln w="6350" cap="flat">
                      <a:solidFill>
                        <a:schemeClr val="bg1">
                          <a:alpha val="80000"/>
                        </a:schemeClr>
                      </a:solidFill>
                      <a:prstDash val="solid"/>
                      <a:miter/>
                    </a:ln>
                  </p:spPr>
                  <p:txBody>
                    <a:bodyPr rtlCol="0" anchor="ctr"/>
                    <a:lstStyle/>
                    <a:p>
                      <a:endParaRPr lang="en-GB"/>
                    </a:p>
                  </p:txBody>
                </p:sp>
                <p:sp>
                  <p:nvSpPr>
                    <p:cNvPr id="7336" name="Vrije vorm: vorm 7335">
                      <a:extLst>
                        <a:ext uri="{FF2B5EF4-FFF2-40B4-BE49-F238E27FC236}">
                          <a16:creationId xmlns:a16="http://schemas.microsoft.com/office/drawing/2014/main" id="{19B99DC5-9DCC-4824-8B1E-437E69166C5D}"/>
                        </a:ext>
                      </a:extLst>
                    </p:cNvPr>
                    <p:cNvSpPr/>
                    <p:nvPr/>
                  </p:nvSpPr>
                  <p:spPr>
                    <a:xfrm>
                      <a:off x="5327407" y="5551346"/>
                      <a:ext cx="11782" cy="8432"/>
                    </a:xfrm>
                    <a:custGeom>
                      <a:avLst/>
                      <a:gdLst>
                        <a:gd name="connsiteX0" fmla="*/ 10705 w 11782"/>
                        <a:gd name="connsiteY0" fmla="*/ 7057 h 8432"/>
                        <a:gd name="connsiteX1" fmla="*/ 10466 w 11782"/>
                        <a:gd name="connsiteY1" fmla="*/ 7356 h 8432"/>
                        <a:gd name="connsiteX2" fmla="*/ 1136 w 11782"/>
                        <a:gd name="connsiteY2" fmla="*/ 1435 h 8432"/>
                        <a:gd name="connsiteX3" fmla="*/ 1375 w 11782"/>
                        <a:gd name="connsiteY3" fmla="*/ 1136 h 8432"/>
                        <a:gd name="connsiteX4" fmla="*/ 10705 w 11782"/>
                        <a:gd name="connsiteY4" fmla="*/ 7057 h 8432"/>
                        <a:gd name="connsiteX5" fmla="*/ 0 w 11782"/>
                        <a:gd name="connsiteY5" fmla="*/ 1794 h 8432"/>
                        <a:gd name="connsiteX6" fmla="*/ 10406 w 11782"/>
                        <a:gd name="connsiteY6" fmla="*/ 8433 h 8432"/>
                        <a:gd name="connsiteX7" fmla="*/ 11782 w 11782"/>
                        <a:gd name="connsiteY7" fmla="*/ 6639 h 8432"/>
                        <a:gd name="connsiteX8" fmla="*/ 1375 w 11782"/>
                        <a:gd name="connsiteY8" fmla="*/ 0 h 8432"/>
                        <a:gd name="connsiteX9" fmla="*/ 0 w 11782"/>
                        <a:gd name="connsiteY9" fmla="*/ 1794 h 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2" h="8432">
                          <a:moveTo>
                            <a:pt x="10705" y="7057"/>
                          </a:moveTo>
                          <a:lnTo>
                            <a:pt x="10466" y="7356"/>
                          </a:lnTo>
                          <a:lnTo>
                            <a:pt x="1136" y="1435"/>
                          </a:lnTo>
                          <a:lnTo>
                            <a:pt x="1375" y="1136"/>
                          </a:lnTo>
                          <a:lnTo>
                            <a:pt x="10705" y="7057"/>
                          </a:lnTo>
                          <a:moveTo>
                            <a:pt x="0" y="1794"/>
                          </a:moveTo>
                          <a:lnTo>
                            <a:pt x="10406" y="8433"/>
                          </a:lnTo>
                          <a:lnTo>
                            <a:pt x="11782" y="6639"/>
                          </a:lnTo>
                          <a:lnTo>
                            <a:pt x="1375" y="0"/>
                          </a:lnTo>
                          <a:lnTo>
                            <a:pt x="0" y="1794"/>
                          </a:lnTo>
                        </a:path>
                      </a:pathLst>
                    </a:custGeom>
                    <a:noFill/>
                    <a:ln w="6350" cap="flat">
                      <a:solidFill>
                        <a:schemeClr val="bg1">
                          <a:alpha val="80000"/>
                        </a:schemeClr>
                      </a:solidFill>
                      <a:prstDash val="solid"/>
                      <a:miter/>
                    </a:ln>
                  </p:spPr>
                  <p:txBody>
                    <a:bodyPr rtlCol="0" anchor="ctr"/>
                    <a:lstStyle/>
                    <a:p>
                      <a:endParaRPr lang="en-GB"/>
                    </a:p>
                  </p:txBody>
                </p:sp>
                <p:sp>
                  <p:nvSpPr>
                    <p:cNvPr id="7337" name="Vrije vorm: vorm 7336">
                      <a:extLst>
                        <a:ext uri="{FF2B5EF4-FFF2-40B4-BE49-F238E27FC236}">
                          <a16:creationId xmlns:a16="http://schemas.microsoft.com/office/drawing/2014/main" id="{ED5FA402-E64B-4B9B-A61A-991E94C38B5A}"/>
                        </a:ext>
                      </a:extLst>
                    </p:cNvPr>
                    <p:cNvSpPr/>
                    <p:nvPr/>
                  </p:nvSpPr>
                  <p:spPr>
                    <a:xfrm>
                      <a:off x="5328424" y="5572099"/>
                      <a:ext cx="2691" cy="2750"/>
                    </a:xfrm>
                    <a:custGeom>
                      <a:avLst/>
                      <a:gdLst>
                        <a:gd name="connsiteX0" fmla="*/ 1735 w 2691"/>
                        <a:gd name="connsiteY0" fmla="*/ 837 h 2750"/>
                        <a:gd name="connsiteX1" fmla="*/ 1854 w 2691"/>
                        <a:gd name="connsiteY1" fmla="*/ 957 h 2750"/>
                        <a:gd name="connsiteX2" fmla="*/ 1914 w 2691"/>
                        <a:gd name="connsiteY2" fmla="*/ 1136 h 2750"/>
                        <a:gd name="connsiteX3" fmla="*/ 1854 w 2691"/>
                        <a:gd name="connsiteY3" fmla="*/ 1375 h 2750"/>
                        <a:gd name="connsiteX4" fmla="*/ 1735 w 2691"/>
                        <a:gd name="connsiteY4" fmla="*/ 1615 h 2750"/>
                        <a:gd name="connsiteX5" fmla="*/ 1555 w 2691"/>
                        <a:gd name="connsiteY5" fmla="*/ 1794 h 2750"/>
                        <a:gd name="connsiteX6" fmla="*/ 1316 w 2691"/>
                        <a:gd name="connsiteY6" fmla="*/ 1914 h 2750"/>
                        <a:gd name="connsiteX7" fmla="*/ 1076 w 2691"/>
                        <a:gd name="connsiteY7" fmla="*/ 1973 h 2750"/>
                        <a:gd name="connsiteX8" fmla="*/ 897 w 2691"/>
                        <a:gd name="connsiteY8" fmla="*/ 1914 h 2750"/>
                        <a:gd name="connsiteX9" fmla="*/ 778 w 2691"/>
                        <a:gd name="connsiteY9" fmla="*/ 1794 h 2750"/>
                        <a:gd name="connsiteX10" fmla="*/ 718 w 2691"/>
                        <a:gd name="connsiteY10" fmla="*/ 1615 h 2750"/>
                        <a:gd name="connsiteX11" fmla="*/ 778 w 2691"/>
                        <a:gd name="connsiteY11" fmla="*/ 1375 h 2750"/>
                        <a:gd name="connsiteX12" fmla="*/ 897 w 2691"/>
                        <a:gd name="connsiteY12" fmla="*/ 1136 h 2750"/>
                        <a:gd name="connsiteX13" fmla="*/ 1076 w 2691"/>
                        <a:gd name="connsiteY13" fmla="*/ 957 h 2750"/>
                        <a:gd name="connsiteX14" fmla="*/ 1316 w 2691"/>
                        <a:gd name="connsiteY14" fmla="*/ 837 h 2750"/>
                        <a:gd name="connsiteX15" fmla="*/ 1555 w 2691"/>
                        <a:gd name="connsiteY15" fmla="*/ 777 h 2750"/>
                        <a:gd name="connsiteX16" fmla="*/ 1735 w 2691"/>
                        <a:gd name="connsiteY16" fmla="*/ 837 h 2750"/>
                        <a:gd name="connsiteX17" fmla="*/ 359 w 2691"/>
                        <a:gd name="connsiteY17" fmla="*/ 2631 h 2750"/>
                        <a:gd name="connsiteX18" fmla="*/ 778 w 2691"/>
                        <a:gd name="connsiteY18" fmla="*/ 2751 h 2750"/>
                        <a:gd name="connsiteX19" fmla="*/ 1256 w 2691"/>
                        <a:gd name="connsiteY19" fmla="*/ 2691 h 2750"/>
                        <a:gd name="connsiteX20" fmla="*/ 1795 w 2691"/>
                        <a:gd name="connsiteY20" fmla="*/ 2392 h 2750"/>
                        <a:gd name="connsiteX21" fmla="*/ 2273 w 2691"/>
                        <a:gd name="connsiteY21" fmla="*/ 1914 h 2750"/>
                        <a:gd name="connsiteX22" fmla="*/ 2572 w 2691"/>
                        <a:gd name="connsiteY22" fmla="*/ 1375 h 2750"/>
                        <a:gd name="connsiteX23" fmla="*/ 2691 w 2691"/>
                        <a:gd name="connsiteY23" fmla="*/ 837 h 2750"/>
                        <a:gd name="connsiteX24" fmla="*/ 2632 w 2691"/>
                        <a:gd name="connsiteY24" fmla="*/ 418 h 2750"/>
                        <a:gd name="connsiteX25" fmla="*/ 2333 w 2691"/>
                        <a:gd name="connsiteY25" fmla="*/ 119 h 2750"/>
                        <a:gd name="connsiteX26" fmla="*/ 1914 w 2691"/>
                        <a:gd name="connsiteY26" fmla="*/ 0 h 2750"/>
                        <a:gd name="connsiteX27" fmla="*/ 1435 w 2691"/>
                        <a:gd name="connsiteY27" fmla="*/ 60 h 2750"/>
                        <a:gd name="connsiteX28" fmla="*/ 897 w 2691"/>
                        <a:gd name="connsiteY28" fmla="*/ 359 h 2750"/>
                        <a:gd name="connsiteX29" fmla="*/ 419 w 2691"/>
                        <a:gd name="connsiteY29" fmla="*/ 837 h 2750"/>
                        <a:gd name="connsiteX30" fmla="*/ 120 w 2691"/>
                        <a:gd name="connsiteY30" fmla="*/ 1375 h 2750"/>
                        <a:gd name="connsiteX31" fmla="*/ 0 w 2691"/>
                        <a:gd name="connsiteY31" fmla="*/ 1914 h 2750"/>
                        <a:gd name="connsiteX32" fmla="*/ 60 w 2691"/>
                        <a:gd name="connsiteY32" fmla="*/ 2332 h 2750"/>
                        <a:gd name="connsiteX33" fmla="*/ 359 w 2691"/>
                        <a:gd name="connsiteY33" fmla="*/ 2631 h 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91" h="2750">
                          <a:moveTo>
                            <a:pt x="1735" y="837"/>
                          </a:moveTo>
                          <a:cubicBezTo>
                            <a:pt x="1795" y="897"/>
                            <a:pt x="1854" y="897"/>
                            <a:pt x="1854" y="957"/>
                          </a:cubicBezTo>
                          <a:cubicBezTo>
                            <a:pt x="1854" y="1017"/>
                            <a:pt x="1914" y="1076"/>
                            <a:pt x="1914" y="1136"/>
                          </a:cubicBezTo>
                          <a:cubicBezTo>
                            <a:pt x="1914" y="1196"/>
                            <a:pt x="1914" y="1256"/>
                            <a:pt x="1854" y="1375"/>
                          </a:cubicBezTo>
                          <a:cubicBezTo>
                            <a:pt x="1795" y="1435"/>
                            <a:pt x="1795" y="1555"/>
                            <a:pt x="1735" y="1615"/>
                          </a:cubicBezTo>
                          <a:cubicBezTo>
                            <a:pt x="1675" y="1674"/>
                            <a:pt x="1615" y="1734"/>
                            <a:pt x="1555" y="1794"/>
                          </a:cubicBezTo>
                          <a:cubicBezTo>
                            <a:pt x="1495" y="1854"/>
                            <a:pt x="1435" y="1854"/>
                            <a:pt x="1316" y="1914"/>
                          </a:cubicBezTo>
                          <a:cubicBezTo>
                            <a:pt x="1256" y="1914"/>
                            <a:pt x="1196" y="1973"/>
                            <a:pt x="1076" y="1973"/>
                          </a:cubicBezTo>
                          <a:cubicBezTo>
                            <a:pt x="957" y="1973"/>
                            <a:pt x="957" y="1973"/>
                            <a:pt x="897" y="1914"/>
                          </a:cubicBezTo>
                          <a:cubicBezTo>
                            <a:pt x="837" y="1854"/>
                            <a:pt x="837" y="1854"/>
                            <a:pt x="778" y="1794"/>
                          </a:cubicBezTo>
                          <a:cubicBezTo>
                            <a:pt x="778" y="1734"/>
                            <a:pt x="718" y="1674"/>
                            <a:pt x="718" y="1615"/>
                          </a:cubicBezTo>
                          <a:cubicBezTo>
                            <a:pt x="718" y="1555"/>
                            <a:pt x="718" y="1495"/>
                            <a:pt x="778" y="1375"/>
                          </a:cubicBezTo>
                          <a:cubicBezTo>
                            <a:pt x="837" y="1316"/>
                            <a:pt x="837" y="1196"/>
                            <a:pt x="897" y="1136"/>
                          </a:cubicBezTo>
                          <a:cubicBezTo>
                            <a:pt x="957" y="1076"/>
                            <a:pt x="1017" y="1017"/>
                            <a:pt x="1076" y="957"/>
                          </a:cubicBezTo>
                          <a:cubicBezTo>
                            <a:pt x="1136" y="897"/>
                            <a:pt x="1196" y="837"/>
                            <a:pt x="1316" y="837"/>
                          </a:cubicBezTo>
                          <a:cubicBezTo>
                            <a:pt x="1376" y="837"/>
                            <a:pt x="1435" y="777"/>
                            <a:pt x="1555" y="777"/>
                          </a:cubicBezTo>
                          <a:cubicBezTo>
                            <a:pt x="1675" y="777"/>
                            <a:pt x="1735" y="777"/>
                            <a:pt x="1735" y="837"/>
                          </a:cubicBezTo>
                          <a:moveTo>
                            <a:pt x="359" y="2631"/>
                          </a:moveTo>
                          <a:cubicBezTo>
                            <a:pt x="479" y="2691"/>
                            <a:pt x="658" y="2751"/>
                            <a:pt x="778" y="2751"/>
                          </a:cubicBezTo>
                          <a:cubicBezTo>
                            <a:pt x="957" y="2751"/>
                            <a:pt x="1136" y="2751"/>
                            <a:pt x="1256" y="2691"/>
                          </a:cubicBezTo>
                          <a:cubicBezTo>
                            <a:pt x="1435" y="2631"/>
                            <a:pt x="1615" y="2512"/>
                            <a:pt x="1795" y="2392"/>
                          </a:cubicBezTo>
                          <a:cubicBezTo>
                            <a:pt x="1974" y="2272"/>
                            <a:pt x="2093" y="2093"/>
                            <a:pt x="2273" y="1914"/>
                          </a:cubicBezTo>
                          <a:cubicBezTo>
                            <a:pt x="2392" y="1734"/>
                            <a:pt x="2512" y="1555"/>
                            <a:pt x="2572" y="1375"/>
                          </a:cubicBezTo>
                          <a:cubicBezTo>
                            <a:pt x="2632" y="1196"/>
                            <a:pt x="2691" y="1017"/>
                            <a:pt x="2691" y="837"/>
                          </a:cubicBezTo>
                          <a:cubicBezTo>
                            <a:pt x="2691" y="658"/>
                            <a:pt x="2691" y="538"/>
                            <a:pt x="2632" y="418"/>
                          </a:cubicBezTo>
                          <a:cubicBezTo>
                            <a:pt x="2572" y="299"/>
                            <a:pt x="2452" y="179"/>
                            <a:pt x="2333" y="119"/>
                          </a:cubicBezTo>
                          <a:cubicBezTo>
                            <a:pt x="2213" y="60"/>
                            <a:pt x="2093" y="0"/>
                            <a:pt x="1914" y="0"/>
                          </a:cubicBezTo>
                          <a:cubicBezTo>
                            <a:pt x="1735" y="0"/>
                            <a:pt x="1615" y="0"/>
                            <a:pt x="1435" y="60"/>
                          </a:cubicBezTo>
                          <a:cubicBezTo>
                            <a:pt x="1256" y="119"/>
                            <a:pt x="1076" y="239"/>
                            <a:pt x="897" y="359"/>
                          </a:cubicBezTo>
                          <a:cubicBezTo>
                            <a:pt x="718" y="478"/>
                            <a:pt x="598" y="658"/>
                            <a:pt x="419" y="837"/>
                          </a:cubicBezTo>
                          <a:cubicBezTo>
                            <a:pt x="239" y="1017"/>
                            <a:pt x="180" y="1196"/>
                            <a:pt x="120" y="1375"/>
                          </a:cubicBezTo>
                          <a:cubicBezTo>
                            <a:pt x="60" y="1555"/>
                            <a:pt x="0" y="1734"/>
                            <a:pt x="0" y="1914"/>
                          </a:cubicBezTo>
                          <a:cubicBezTo>
                            <a:pt x="0" y="2093"/>
                            <a:pt x="0" y="2213"/>
                            <a:pt x="60" y="2332"/>
                          </a:cubicBezTo>
                          <a:cubicBezTo>
                            <a:pt x="120" y="2452"/>
                            <a:pt x="239" y="2572"/>
                            <a:pt x="359" y="2631"/>
                          </a:cubicBezTo>
                        </a:path>
                      </a:pathLst>
                    </a:custGeom>
                    <a:noFill/>
                    <a:ln w="6350" cap="flat">
                      <a:solidFill>
                        <a:schemeClr val="bg1">
                          <a:alpha val="80000"/>
                        </a:schemeClr>
                      </a:solidFill>
                      <a:prstDash val="solid"/>
                      <a:miter/>
                    </a:ln>
                  </p:spPr>
                  <p:txBody>
                    <a:bodyPr rtlCol="0" anchor="ctr"/>
                    <a:lstStyle/>
                    <a:p>
                      <a:endParaRPr lang="en-GB"/>
                    </a:p>
                  </p:txBody>
                </p:sp>
                <p:sp>
                  <p:nvSpPr>
                    <p:cNvPr id="7338" name="Vrije vorm: vorm 7337">
                      <a:extLst>
                        <a:ext uri="{FF2B5EF4-FFF2-40B4-BE49-F238E27FC236}">
                          <a16:creationId xmlns:a16="http://schemas.microsoft.com/office/drawing/2014/main" id="{EC7E1FCC-FBB0-424E-A727-E4502991FEDD}"/>
                        </a:ext>
                      </a:extLst>
                    </p:cNvPr>
                    <p:cNvSpPr/>
                    <p:nvPr/>
                  </p:nvSpPr>
                  <p:spPr>
                    <a:xfrm>
                      <a:off x="5341881" y="5554994"/>
                      <a:ext cx="2631" cy="2811"/>
                    </a:xfrm>
                    <a:custGeom>
                      <a:avLst/>
                      <a:gdLst>
                        <a:gd name="connsiteX0" fmla="*/ 1735 w 2631"/>
                        <a:gd name="connsiteY0" fmla="*/ 957 h 2811"/>
                        <a:gd name="connsiteX1" fmla="*/ 1854 w 2631"/>
                        <a:gd name="connsiteY1" fmla="*/ 1076 h 2811"/>
                        <a:gd name="connsiteX2" fmla="*/ 1914 w 2631"/>
                        <a:gd name="connsiteY2" fmla="*/ 1256 h 2811"/>
                        <a:gd name="connsiteX3" fmla="*/ 1854 w 2631"/>
                        <a:gd name="connsiteY3" fmla="*/ 1495 h 2811"/>
                        <a:gd name="connsiteX4" fmla="*/ 1735 w 2631"/>
                        <a:gd name="connsiteY4" fmla="*/ 1735 h 2811"/>
                        <a:gd name="connsiteX5" fmla="*/ 1555 w 2631"/>
                        <a:gd name="connsiteY5" fmla="*/ 1914 h 2811"/>
                        <a:gd name="connsiteX6" fmla="*/ 1316 w 2631"/>
                        <a:gd name="connsiteY6" fmla="*/ 2034 h 2811"/>
                        <a:gd name="connsiteX7" fmla="*/ 1136 w 2631"/>
                        <a:gd name="connsiteY7" fmla="*/ 2034 h 2811"/>
                        <a:gd name="connsiteX8" fmla="*/ 957 w 2631"/>
                        <a:gd name="connsiteY8" fmla="*/ 1974 h 2811"/>
                        <a:gd name="connsiteX9" fmla="*/ 837 w 2631"/>
                        <a:gd name="connsiteY9" fmla="*/ 1854 h 2811"/>
                        <a:gd name="connsiteX10" fmla="*/ 778 w 2631"/>
                        <a:gd name="connsiteY10" fmla="*/ 1675 h 2811"/>
                        <a:gd name="connsiteX11" fmla="*/ 837 w 2631"/>
                        <a:gd name="connsiteY11" fmla="*/ 1435 h 2811"/>
                        <a:gd name="connsiteX12" fmla="*/ 957 w 2631"/>
                        <a:gd name="connsiteY12" fmla="*/ 1196 h 2811"/>
                        <a:gd name="connsiteX13" fmla="*/ 1136 w 2631"/>
                        <a:gd name="connsiteY13" fmla="*/ 1017 h 2811"/>
                        <a:gd name="connsiteX14" fmla="*/ 1376 w 2631"/>
                        <a:gd name="connsiteY14" fmla="*/ 897 h 2811"/>
                        <a:gd name="connsiteX15" fmla="*/ 1555 w 2631"/>
                        <a:gd name="connsiteY15" fmla="*/ 837 h 2811"/>
                        <a:gd name="connsiteX16" fmla="*/ 1735 w 2631"/>
                        <a:gd name="connsiteY16" fmla="*/ 957 h 2811"/>
                        <a:gd name="connsiteX17" fmla="*/ 299 w 2631"/>
                        <a:gd name="connsiteY17" fmla="*/ 2691 h 2811"/>
                        <a:gd name="connsiteX18" fmla="*/ 718 w 2631"/>
                        <a:gd name="connsiteY18" fmla="*/ 2811 h 2811"/>
                        <a:gd name="connsiteX19" fmla="*/ 1196 w 2631"/>
                        <a:gd name="connsiteY19" fmla="*/ 2751 h 2811"/>
                        <a:gd name="connsiteX20" fmla="*/ 1735 w 2631"/>
                        <a:gd name="connsiteY20" fmla="*/ 2452 h 2811"/>
                        <a:gd name="connsiteX21" fmla="*/ 2213 w 2631"/>
                        <a:gd name="connsiteY21" fmla="*/ 1974 h 2811"/>
                        <a:gd name="connsiteX22" fmla="*/ 2512 w 2631"/>
                        <a:gd name="connsiteY22" fmla="*/ 1435 h 2811"/>
                        <a:gd name="connsiteX23" fmla="*/ 2632 w 2631"/>
                        <a:gd name="connsiteY23" fmla="*/ 897 h 2811"/>
                        <a:gd name="connsiteX24" fmla="*/ 2572 w 2631"/>
                        <a:gd name="connsiteY24" fmla="*/ 419 h 2811"/>
                        <a:gd name="connsiteX25" fmla="*/ 2273 w 2631"/>
                        <a:gd name="connsiteY25" fmla="*/ 120 h 2811"/>
                        <a:gd name="connsiteX26" fmla="*/ 1854 w 2631"/>
                        <a:gd name="connsiteY26" fmla="*/ 0 h 2811"/>
                        <a:gd name="connsiteX27" fmla="*/ 1376 w 2631"/>
                        <a:gd name="connsiteY27" fmla="*/ 60 h 2811"/>
                        <a:gd name="connsiteX28" fmla="*/ 897 w 2631"/>
                        <a:gd name="connsiteY28" fmla="*/ 359 h 2811"/>
                        <a:gd name="connsiteX29" fmla="*/ 419 w 2631"/>
                        <a:gd name="connsiteY29" fmla="*/ 778 h 2811"/>
                        <a:gd name="connsiteX30" fmla="*/ 120 w 2631"/>
                        <a:gd name="connsiteY30" fmla="*/ 1316 h 2811"/>
                        <a:gd name="connsiteX31" fmla="*/ 0 w 2631"/>
                        <a:gd name="connsiteY31" fmla="*/ 1854 h 2811"/>
                        <a:gd name="connsiteX32" fmla="*/ 60 w 2631"/>
                        <a:gd name="connsiteY32" fmla="*/ 2273 h 2811"/>
                        <a:gd name="connsiteX33" fmla="*/ 299 w 2631"/>
                        <a:gd name="connsiteY33" fmla="*/ 2691 h 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1" h="2811">
                          <a:moveTo>
                            <a:pt x="1735" y="957"/>
                          </a:moveTo>
                          <a:cubicBezTo>
                            <a:pt x="1795" y="1017"/>
                            <a:pt x="1854" y="1017"/>
                            <a:pt x="1854" y="1076"/>
                          </a:cubicBezTo>
                          <a:cubicBezTo>
                            <a:pt x="1854" y="1136"/>
                            <a:pt x="1914" y="1196"/>
                            <a:pt x="1914" y="1256"/>
                          </a:cubicBezTo>
                          <a:cubicBezTo>
                            <a:pt x="1914" y="1316"/>
                            <a:pt x="1914" y="1376"/>
                            <a:pt x="1854" y="1495"/>
                          </a:cubicBezTo>
                          <a:cubicBezTo>
                            <a:pt x="1795" y="1615"/>
                            <a:pt x="1795" y="1675"/>
                            <a:pt x="1735" y="1735"/>
                          </a:cubicBezTo>
                          <a:cubicBezTo>
                            <a:pt x="1675" y="1794"/>
                            <a:pt x="1615" y="1854"/>
                            <a:pt x="1555" y="1914"/>
                          </a:cubicBezTo>
                          <a:cubicBezTo>
                            <a:pt x="1495" y="1974"/>
                            <a:pt x="1435" y="1974"/>
                            <a:pt x="1316" y="2034"/>
                          </a:cubicBezTo>
                          <a:cubicBezTo>
                            <a:pt x="1196" y="2093"/>
                            <a:pt x="1196" y="2093"/>
                            <a:pt x="1136" y="2034"/>
                          </a:cubicBezTo>
                          <a:cubicBezTo>
                            <a:pt x="1076" y="2034"/>
                            <a:pt x="1017" y="2034"/>
                            <a:pt x="957" y="1974"/>
                          </a:cubicBezTo>
                          <a:cubicBezTo>
                            <a:pt x="897" y="1914"/>
                            <a:pt x="897" y="1914"/>
                            <a:pt x="837" y="1854"/>
                          </a:cubicBezTo>
                          <a:cubicBezTo>
                            <a:pt x="837" y="1794"/>
                            <a:pt x="778" y="1735"/>
                            <a:pt x="778" y="1675"/>
                          </a:cubicBezTo>
                          <a:cubicBezTo>
                            <a:pt x="778" y="1615"/>
                            <a:pt x="778" y="1555"/>
                            <a:pt x="837" y="1435"/>
                          </a:cubicBezTo>
                          <a:cubicBezTo>
                            <a:pt x="897" y="1376"/>
                            <a:pt x="897" y="1256"/>
                            <a:pt x="957" y="1196"/>
                          </a:cubicBezTo>
                          <a:cubicBezTo>
                            <a:pt x="1017" y="1136"/>
                            <a:pt x="1076" y="1076"/>
                            <a:pt x="1136" y="1017"/>
                          </a:cubicBezTo>
                          <a:cubicBezTo>
                            <a:pt x="1196" y="957"/>
                            <a:pt x="1256" y="957"/>
                            <a:pt x="1376" y="897"/>
                          </a:cubicBezTo>
                          <a:cubicBezTo>
                            <a:pt x="1435" y="897"/>
                            <a:pt x="1495" y="837"/>
                            <a:pt x="1555" y="837"/>
                          </a:cubicBezTo>
                          <a:cubicBezTo>
                            <a:pt x="1615" y="837"/>
                            <a:pt x="1675" y="897"/>
                            <a:pt x="1735" y="957"/>
                          </a:cubicBezTo>
                          <a:moveTo>
                            <a:pt x="299" y="2691"/>
                          </a:moveTo>
                          <a:cubicBezTo>
                            <a:pt x="419" y="2751"/>
                            <a:pt x="598" y="2811"/>
                            <a:pt x="718" y="2811"/>
                          </a:cubicBezTo>
                          <a:cubicBezTo>
                            <a:pt x="897" y="2811"/>
                            <a:pt x="1017" y="2811"/>
                            <a:pt x="1196" y="2751"/>
                          </a:cubicBezTo>
                          <a:cubicBezTo>
                            <a:pt x="1376" y="2691"/>
                            <a:pt x="1555" y="2572"/>
                            <a:pt x="1735" y="2452"/>
                          </a:cubicBezTo>
                          <a:cubicBezTo>
                            <a:pt x="1914" y="2333"/>
                            <a:pt x="2034" y="2153"/>
                            <a:pt x="2213" y="1974"/>
                          </a:cubicBezTo>
                          <a:cubicBezTo>
                            <a:pt x="2333" y="1794"/>
                            <a:pt x="2452" y="1615"/>
                            <a:pt x="2512" y="1435"/>
                          </a:cubicBezTo>
                          <a:cubicBezTo>
                            <a:pt x="2572" y="1256"/>
                            <a:pt x="2632" y="1076"/>
                            <a:pt x="2632" y="897"/>
                          </a:cubicBezTo>
                          <a:cubicBezTo>
                            <a:pt x="2632" y="718"/>
                            <a:pt x="2632" y="598"/>
                            <a:pt x="2572" y="419"/>
                          </a:cubicBezTo>
                          <a:cubicBezTo>
                            <a:pt x="2512" y="299"/>
                            <a:pt x="2392" y="180"/>
                            <a:pt x="2273" y="120"/>
                          </a:cubicBezTo>
                          <a:cubicBezTo>
                            <a:pt x="2153" y="60"/>
                            <a:pt x="2034" y="0"/>
                            <a:pt x="1854" y="0"/>
                          </a:cubicBezTo>
                          <a:cubicBezTo>
                            <a:pt x="1675" y="0"/>
                            <a:pt x="1555" y="0"/>
                            <a:pt x="1376" y="60"/>
                          </a:cubicBezTo>
                          <a:cubicBezTo>
                            <a:pt x="1196" y="120"/>
                            <a:pt x="1017" y="239"/>
                            <a:pt x="897" y="359"/>
                          </a:cubicBezTo>
                          <a:cubicBezTo>
                            <a:pt x="718" y="479"/>
                            <a:pt x="598" y="598"/>
                            <a:pt x="419" y="778"/>
                          </a:cubicBezTo>
                          <a:cubicBezTo>
                            <a:pt x="299" y="957"/>
                            <a:pt x="180" y="1136"/>
                            <a:pt x="120" y="1316"/>
                          </a:cubicBezTo>
                          <a:cubicBezTo>
                            <a:pt x="60" y="1495"/>
                            <a:pt x="0" y="1675"/>
                            <a:pt x="0" y="1854"/>
                          </a:cubicBezTo>
                          <a:cubicBezTo>
                            <a:pt x="0" y="2034"/>
                            <a:pt x="0" y="2153"/>
                            <a:pt x="60" y="2273"/>
                          </a:cubicBezTo>
                          <a:cubicBezTo>
                            <a:pt x="120" y="2512"/>
                            <a:pt x="180" y="2632"/>
                            <a:pt x="299" y="2691"/>
                          </a:cubicBezTo>
                        </a:path>
                      </a:pathLst>
                    </a:custGeom>
                    <a:noFill/>
                    <a:ln w="6350" cap="flat">
                      <a:solidFill>
                        <a:schemeClr val="bg1">
                          <a:alpha val="80000"/>
                        </a:schemeClr>
                      </a:solidFill>
                      <a:prstDash val="solid"/>
                      <a:miter/>
                    </a:ln>
                  </p:spPr>
                  <p:txBody>
                    <a:bodyPr rtlCol="0" anchor="ctr"/>
                    <a:lstStyle/>
                    <a:p>
                      <a:endParaRPr lang="en-GB"/>
                    </a:p>
                  </p:txBody>
                </p:sp>
                <p:sp>
                  <p:nvSpPr>
                    <p:cNvPr id="7339" name="Vrije vorm: vorm 7338">
                      <a:extLst>
                        <a:ext uri="{FF2B5EF4-FFF2-40B4-BE49-F238E27FC236}">
                          <a16:creationId xmlns:a16="http://schemas.microsoft.com/office/drawing/2014/main" id="{4747D5FA-BD3B-4190-881E-E34218127AD4}"/>
                        </a:ext>
                      </a:extLst>
                    </p:cNvPr>
                    <p:cNvSpPr/>
                    <p:nvPr/>
                  </p:nvSpPr>
                  <p:spPr>
                    <a:xfrm>
                      <a:off x="5270172" y="5535855"/>
                      <a:ext cx="2870" cy="2870"/>
                    </a:xfrm>
                    <a:custGeom>
                      <a:avLst/>
                      <a:gdLst>
                        <a:gd name="connsiteX0" fmla="*/ 1914 w 2870"/>
                        <a:gd name="connsiteY0" fmla="*/ 897 h 2870"/>
                        <a:gd name="connsiteX1" fmla="*/ 2034 w 2870"/>
                        <a:gd name="connsiteY1" fmla="*/ 1017 h 2870"/>
                        <a:gd name="connsiteX2" fmla="*/ 2093 w 2870"/>
                        <a:gd name="connsiteY2" fmla="*/ 1196 h 2870"/>
                        <a:gd name="connsiteX3" fmla="*/ 2034 w 2870"/>
                        <a:gd name="connsiteY3" fmla="*/ 1436 h 2870"/>
                        <a:gd name="connsiteX4" fmla="*/ 1914 w 2870"/>
                        <a:gd name="connsiteY4" fmla="*/ 1675 h 2870"/>
                        <a:gd name="connsiteX5" fmla="*/ 1735 w 2870"/>
                        <a:gd name="connsiteY5" fmla="*/ 1854 h 2870"/>
                        <a:gd name="connsiteX6" fmla="*/ 1495 w 2870"/>
                        <a:gd name="connsiteY6" fmla="*/ 1974 h 2870"/>
                        <a:gd name="connsiteX7" fmla="*/ 1256 w 2870"/>
                        <a:gd name="connsiteY7" fmla="*/ 1974 h 2870"/>
                        <a:gd name="connsiteX8" fmla="*/ 1076 w 2870"/>
                        <a:gd name="connsiteY8" fmla="*/ 1914 h 2870"/>
                        <a:gd name="connsiteX9" fmla="*/ 957 w 2870"/>
                        <a:gd name="connsiteY9" fmla="*/ 1795 h 2870"/>
                        <a:gd name="connsiteX10" fmla="*/ 897 w 2870"/>
                        <a:gd name="connsiteY10" fmla="*/ 1615 h 2870"/>
                        <a:gd name="connsiteX11" fmla="*/ 957 w 2870"/>
                        <a:gd name="connsiteY11" fmla="*/ 1376 h 2870"/>
                        <a:gd name="connsiteX12" fmla="*/ 1076 w 2870"/>
                        <a:gd name="connsiteY12" fmla="*/ 1136 h 2870"/>
                        <a:gd name="connsiteX13" fmla="*/ 1256 w 2870"/>
                        <a:gd name="connsiteY13" fmla="*/ 957 h 2870"/>
                        <a:gd name="connsiteX14" fmla="*/ 1495 w 2870"/>
                        <a:gd name="connsiteY14" fmla="*/ 837 h 2870"/>
                        <a:gd name="connsiteX15" fmla="*/ 1735 w 2870"/>
                        <a:gd name="connsiteY15" fmla="*/ 778 h 2870"/>
                        <a:gd name="connsiteX16" fmla="*/ 1914 w 2870"/>
                        <a:gd name="connsiteY16" fmla="*/ 897 h 2870"/>
                        <a:gd name="connsiteX17" fmla="*/ 419 w 2870"/>
                        <a:gd name="connsiteY17" fmla="*/ 2751 h 2870"/>
                        <a:gd name="connsiteX18" fmla="*/ 897 w 2870"/>
                        <a:gd name="connsiteY18" fmla="*/ 2871 h 2870"/>
                        <a:gd name="connsiteX19" fmla="*/ 1435 w 2870"/>
                        <a:gd name="connsiteY19" fmla="*/ 2811 h 2870"/>
                        <a:gd name="connsiteX20" fmla="*/ 1974 w 2870"/>
                        <a:gd name="connsiteY20" fmla="*/ 2512 h 2870"/>
                        <a:gd name="connsiteX21" fmla="*/ 2452 w 2870"/>
                        <a:gd name="connsiteY21" fmla="*/ 2034 h 2870"/>
                        <a:gd name="connsiteX22" fmla="*/ 2751 w 2870"/>
                        <a:gd name="connsiteY22" fmla="*/ 1495 h 2870"/>
                        <a:gd name="connsiteX23" fmla="*/ 2871 w 2870"/>
                        <a:gd name="connsiteY23" fmla="*/ 957 h 2870"/>
                        <a:gd name="connsiteX24" fmla="*/ 2751 w 2870"/>
                        <a:gd name="connsiteY24" fmla="*/ 479 h 2870"/>
                        <a:gd name="connsiteX25" fmla="*/ 2452 w 2870"/>
                        <a:gd name="connsiteY25" fmla="*/ 120 h 2870"/>
                        <a:gd name="connsiteX26" fmla="*/ 1974 w 2870"/>
                        <a:gd name="connsiteY26" fmla="*/ 0 h 2870"/>
                        <a:gd name="connsiteX27" fmla="*/ 1435 w 2870"/>
                        <a:gd name="connsiteY27" fmla="*/ 60 h 2870"/>
                        <a:gd name="connsiteX28" fmla="*/ 897 w 2870"/>
                        <a:gd name="connsiteY28" fmla="*/ 359 h 2870"/>
                        <a:gd name="connsiteX29" fmla="*/ 419 w 2870"/>
                        <a:gd name="connsiteY29" fmla="*/ 837 h 2870"/>
                        <a:gd name="connsiteX30" fmla="*/ 120 w 2870"/>
                        <a:gd name="connsiteY30" fmla="*/ 1376 h 2870"/>
                        <a:gd name="connsiteX31" fmla="*/ 0 w 2870"/>
                        <a:gd name="connsiteY31" fmla="*/ 1914 h 2870"/>
                        <a:gd name="connsiteX32" fmla="*/ 120 w 2870"/>
                        <a:gd name="connsiteY32" fmla="*/ 2392 h 2870"/>
                        <a:gd name="connsiteX33" fmla="*/ 419 w 2870"/>
                        <a:gd name="connsiteY33" fmla="*/ 2751 h 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870" h="2870">
                          <a:moveTo>
                            <a:pt x="1914" y="897"/>
                          </a:moveTo>
                          <a:cubicBezTo>
                            <a:pt x="1974" y="957"/>
                            <a:pt x="2034" y="957"/>
                            <a:pt x="2034" y="1017"/>
                          </a:cubicBezTo>
                          <a:cubicBezTo>
                            <a:pt x="2034" y="1077"/>
                            <a:pt x="2093" y="1136"/>
                            <a:pt x="2093" y="1196"/>
                          </a:cubicBezTo>
                          <a:cubicBezTo>
                            <a:pt x="2093" y="1256"/>
                            <a:pt x="2093" y="1376"/>
                            <a:pt x="2034" y="1436"/>
                          </a:cubicBezTo>
                          <a:cubicBezTo>
                            <a:pt x="1974" y="1495"/>
                            <a:pt x="1974" y="1615"/>
                            <a:pt x="1914" y="1675"/>
                          </a:cubicBezTo>
                          <a:cubicBezTo>
                            <a:pt x="1854" y="1735"/>
                            <a:pt x="1794" y="1795"/>
                            <a:pt x="1735" y="1854"/>
                          </a:cubicBezTo>
                          <a:cubicBezTo>
                            <a:pt x="1675" y="1914"/>
                            <a:pt x="1615" y="1974"/>
                            <a:pt x="1495" y="1974"/>
                          </a:cubicBezTo>
                          <a:cubicBezTo>
                            <a:pt x="1435" y="1974"/>
                            <a:pt x="1316" y="2034"/>
                            <a:pt x="1256" y="1974"/>
                          </a:cubicBezTo>
                          <a:cubicBezTo>
                            <a:pt x="1196" y="1974"/>
                            <a:pt x="1136" y="1974"/>
                            <a:pt x="1076" y="1914"/>
                          </a:cubicBezTo>
                          <a:cubicBezTo>
                            <a:pt x="1017" y="1854"/>
                            <a:pt x="957" y="1854"/>
                            <a:pt x="957" y="1795"/>
                          </a:cubicBezTo>
                          <a:cubicBezTo>
                            <a:pt x="957" y="1735"/>
                            <a:pt x="897" y="1675"/>
                            <a:pt x="897" y="1615"/>
                          </a:cubicBezTo>
                          <a:cubicBezTo>
                            <a:pt x="897" y="1555"/>
                            <a:pt x="897" y="1495"/>
                            <a:pt x="957" y="1376"/>
                          </a:cubicBezTo>
                          <a:cubicBezTo>
                            <a:pt x="1017" y="1316"/>
                            <a:pt x="1017" y="1196"/>
                            <a:pt x="1076" y="1136"/>
                          </a:cubicBezTo>
                          <a:cubicBezTo>
                            <a:pt x="1136" y="1077"/>
                            <a:pt x="1196" y="1017"/>
                            <a:pt x="1256" y="957"/>
                          </a:cubicBezTo>
                          <a:cubicBezTo>
                            <a:pt x="1316" y="897"/>
                            <a:pt x="1435" y="837"/>
                            <a:pt x="1495" y="837"/>
                          </a:cubicBezTo>
                          <a:cubicBezTo>
                            <a:pt x="1555" y="837"/>
                            <a:pt x="1675" y="778"/>
                            <a:pt x="1735" y="778"/>
                          </a:cubicBezTo>
                          <a:cubicBezTo>
                            <a:pt x="1794" y="837"/>
                            <a:pt x="1854" y="837"/>
                            <a:pt x="1914" y="897"/>
                          </a:cubicBezTo>
                          <a:moveTo>
                            <a:pt x="419" y="2751"/>
                          </a:moveTo>
                          <a:cubicBezTo>
                            <a:pt x="538" y="2811"/>
                            <a:pt x="718" y="2871"/>
                            <a:pt x="897" y="2871"/>
                          </a:cubicBezTo>
                          <a:cubicBezTo>
                            <a:pt x="1076" y="2871"/>
                            <a:pt x="1256" y="2871"/>
                            <a:pt x="1435" y="2811"/>
                          </a:cubicBezTo>
                          <a:cubicBezTo>
                            <a:pt x="1615" y="2751"/>
                            <a:pt x="1794" y="2632"/>
                            <a:pt x="1974" y="2512"/>
                          </a:cubicBezTo>
                          <a:cubicBezTo>
                            <a:pt x="2153" y="2392"/>
                            <a:pt x="2333" y="2213"/>
                            <a:pt x="2452" y="2034"/>
                          </a:cubicBezTo>
                          <a:cubicBezTo>
                            <a:pt x="2572" y="1854"/>
                            <a:pt x="2691" y="1675"/>
                            <a:pt x="2751" y="1495"/>
                          </a:cubicBezTo>
                          <a:cubicBezTo>
                            <a:pt x="2811" y="1316"/>
                            <a:pt x="2871" y="1136"/>
                            <a:pt x="2871" y="957"/>
                          </a:cubicBezTo>
                          <a:cubicBezTo>
                            <a:pt x="2871" y="778"/>
                            <a:pt x="2811" y="598"/>
                            <a:pt x="2751" y="479"/>
                          </a:cubicBezTo>
                          <a:cubicBezTo>
                            <a:pt x="2691" y="359"/>
                            <a:pt x="2572" y="239"/>
                            <a:pt x="2452" y="120"/>
                          </a:cubicBezTo>
                          <a:cubicBezTo>
                            <a:pt x="2333" y="60"/>
                            <a:pt x="2153" y="0"/>
                            <a:pt x="1974" y="0"/>
                          </a:cubicBezTo>
                          <a:cubicBezTo>
                            <a:pt x="1794" y="0"/>
                            <a:pt x="1615" y="0"/>
                            <a:pt x="1435" y="60"/>
                          </a:cubicBezTo>
                          <a:cubicBezTo>
                            <a:pt x="1256" y="120"/>
                            <a:pt x="1076" y="239"/>
                            <a:pt x="897" y="359"/>
                          </a:cubicBezTo>
                          <a:cubicBezTo>
                            <a:pt x="718" y="479"/>
                            <a:pt x="538" y="658"/>
                            <a:pt x="419" y="837"/>
                          </a:cubicBezTo>
                          <a:cubicBezTo>
                            <a:pt x="299" y="1017"/>
                            <a:pt x="180" y="1196"/>
                            <a:pt x="120" y="1376"/>
                          </a:cubicBezTo>
                          <a:cubicBezTo>
                            <a:pt x="60" y="1555"/>
                            <a:pt x="0" y="1735"/>
                            <a:pt x="0" y="1914"/>
                          </a:cubicBezTo>
                          <a:cubicBezTo>
                            <a:pt x="0" y="2093"/>
                            <a:pt x="0" y="2273"/>
                            <a:pt x="120" y="2392"/>
                          </a:cubicBezTo>
                          <a:cubicBezTo>
                            <a:pt x="180" y="2572"/>
                            <a:pt x="299" y="2691"/>
                            <a:pt x="419" y="2751"/>
                          </a:cubicBezTo>
                        </a:path>
                      </a:pathLst>
                    </a:custGeom>
                    <a:noFill/>
                    <a:ln w="6350" cap="flat">
                      <a:solidFill>
                        <a:schemeClr val="bg1">
                          <a:alpha val="80000"/>
                        </a:schemeClr>
                      </a:solidFill>
                      <a:prstDash val="solid"/>
                      <a:miter/>
                    </a:ln>
                  </p:spPr>
                  <p:txBody>
                    <a:bodyPr rtlCol="0" anchor="ctr"/>
                    <a:lstStyle/>
                    <a:p>
                      <a:endParaRPr lang="en-GB"/>
                    </a:p>
                  </p:txBody>
                </p:sp>
                <p:sp>
                  <p:nvSpPr>
                    <p:cNvPr id="7340" name="Vrije vorm: vorm 7339">
                      <a:extLst>
                        <a:ext uri="{FF2B5EF4-FFF2-40B4-BE49-F238E27FC236}">
                          <a16:creationId xmlns:a16="http://schemas.microsoft.com/office/drawing/2014/main" id="{4984AA38-EF1E-46F9-BE5E-FEECE078D5E6}"/>
                        </a:ext>
                      </a:extLst>
                    </p:cNvPr>
                    <p:cNvSpPr/>
                    <p:nvPr/>
                  </p:nvSpPr>
                  <p:spPr>
                    <a:xfrm>
                      <a:off x="5284167" y="5518153"/>
                      <a:ext cx="2870" cy="2870"/>
                    </a:xfrm>
                    <a:custGeom>
                      <a:avLst/>
                      <a:gdLst>
                        <a:gd name="connsiteX0" fmla="*/ 1854 w 2870"/>
                        <a:gd name="connsiteY0" fmla="*/ 897 h 2870"/>
                        <a:gd name="connsiteX1" fmla="*/ 1973 w 2870"/>
                        <a:gd name="connsiteY1" fmla="*/ 1017 h 2870"/>
                        <a:gd name="connsiteX2" fmla="*/ 2033 w 2870"/>
                        <a:gd name="connsiteY2" fmla="*/ 1196 h 2870"/>
                        <a:gd name="connsiteX3" fmla="*/ 1973 w 2870"/>
                        <a:gd name="connsiteY3" fmla="*/ 1435 h 2870"/>
                        <a:gd name="connsiteX4" fmla="*/ 1854 w 2870"/>
                        <a:gd name="connsiteY4" fmla="*/ 1674 h 2870"/>
                        <a:gd name="connsiteX5" fmla="*/ 1674 w 2870"/>
                        <a:gd name="connsiteY5" fmla="*/ 1854 h 2870"/>
                        <a:gd name="connsiteX6" fmla="*/ 1435 w 2870"/>
                        <a:gd name="connsiteY6" fmla="*/ 1974 h 2870"/>
                        <a:gd name="connsiteX7" fmla="*/ 1196 w 2870"/>
                        <a:gd name="connsiteY7" fmla="*/ 1974 h 2870"/>
                        <a:gd name="connsiteX8" fmla="*/ 1017 w 2870"/>
                        <a:gd name="connsiteY8" fmla="*/ 1914 h 2870"/>
                        <a:gd name="connsiteX9" fmla="*/ 897 w 2870"/>
                        <a:gd name="connsiteY9" fmla="*/ 1794 h 2870"/>
                        <a:gd name="connsiteX10" fmla="*/ 837 w 2870"/>
                        <a:gd name="connsiteY10" fmla="*/ 1615 h 2870"/>
                        <a:gd name="connsiteX11" fmla="*/ 897 w 2870"/>
                        <a:gd name="connsiteY11" fmla="*/ 1375 h 2870"/>
                        <a:gd name="connsiteX12" fmla="*/ 1017 w 2870"/>
                        <a:gd name="connsiteY12" fmla="*/ 1136 h 2870"/>
                        <a:gd name="connsiteX13" fmla="*/ 1196 w 2870"/>
                        <a:gd name="connsiteY13" fmla="*/ 957 h 2870"/>
                        <a:gd name="connsiteX14" fmla="*/ 1435 w 2870"/>
                        <a:gd name="connsiteY14" fmla="*/ 837 h 2870"/>
                        <a:gd name="connsiteX15" fmla="*/ 1674 w 2870"/>
                        <a:gd name="connsiteY15" fmla="*/ 778 h 2870"/>
                        <a:gd name="connsiteX16" fmla="*/ 1854 w 2870"/>
                        <a:gd name="connsiteY16" fmla="*/ 897 h 2870"/>
                        <a:gd name="connsiteX17" fmla="*/ 419 w 2870"/>
                        <a:gd name="connsiteY17" fmla="*/ 2751 h 2870"/>
                        <a:gd name="connsiteX18" fmla="*/ 897 w 2870"/>
                        <a:gd name="connsiteY18" fmla="*/ 2871 h 2870"/>
                        <a:gd name="connsiteX19" fmla="*/ 1435 w 2870"/>
                        <a:gd name="connsiteY19" fmla="*/ 2811 h 2870"/>
                        <a:gd name="connsiteX20" fmla="*/ 1973 w 2870"/>
                        <a:gd name="connsiteY20" fmla="*/ 2512 h 2870"/>
                        <a:gd name="connsiteX21" fmla="*/ 2452 w 2870"/>
                        <a:gd name="connsiteY21" fmla="*/ 2033 h 2870"/>
                        <a:gd name="connsiteX22" fmla="*/ 2751 w 2870"/>
                        <a:gd name="connsiteY22" fmla="*/ 1495 h 2870"/>
                        <a:gd name="connsiteX23" fmla="*/ 2871 w 2870"/>
                        <a:gd name="connsiteY23" fmla="*/ 957 h 2870"/>
                        <a:gd name="connsiteX24" fmla="*/ 2751 w 2870"/>
                        <a:gd name="connsiteY24" fmla="*/ 479 h 2870"/>
                        <a:gd name="connsiteX25" fmla="*/ 2452 w 2870"/>
                        <a:gd name="connsiteY25" fmla="*/ 120 h 2870"/>
                        <a:gd name="connsiteX26" fmla="*/ 1973 w 2870"/>
                        <a:gd name="connsiteY26" fmla="*/ 0 h 2870"/>
                        <a:gd name="connsiteX27" fmla="*/ 1435 w 2870"/>
                        <a:gd name="connsiteY27" fmla="*/ 60 h 2870"/>
                        <a:gd name="connsiteX28" fmla="*/ 897 w 2870"/>
                        <a:gd name="connsiteY28" fmla="*/ 359 h 2870"/>
                        <a:gd name="connsiteX29" fmla="*/ 419 w 2870"/>
                        <a:gd name="connsiteY29" fmla="*/ 837 h 2870"/>
                        <a:gd name="connsiteX30" fmla="*/ 119 w 2870"/>
                        <a:gd name="connsiteY30" fmla="*/ 1375 h 2870"/>
                        <a:gd name="connsiteX31" fmla="*/ 0 w 2870"/>
                        <a:gd name="connsiteY31" fmla="*/ 1914 h 2870"/>
                        <a:gd name="connsiteX32" fmla="*/ 119 w 2870"/>
                        <a:gd name="connsiteY32" fmla="*/ 2392 h 2870"/>
                        <a:gd name="connsiteX33" fmla="*/ 419 w 2870"/>
                        <a:gd name="connsiteY33" fmla="*/ 2751 h 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870" h="2870">
                          <a:moveTo>
                            <a:pt x="1854" y="897"/>
                          </a:moveTo>
                          <a:cubicBezTo>
                            <a:pt x="1914" y="957"/>
                            <a:pt x="1973" y="957"/>
                            <a:pt x="1973" y="1017"/>
                          </a:cubicBezTo>
                          <a:cubicBezTo>
                            <a:pt x="1973" y="1076"/>
                            <a:pt x="2033" y="1136"/>
                            <a:pt x="2033" y="1196"/>
                          </a:cubicBezTo>
                          <a:cubicBezTo>
                            <a:pt x="2033" y="1256"/>
                            <a:pt x="2033" y="1316"/>
                            <a:pt x="1973" y="1435"/>
                          </a:cubicBezTo>
                          <a:cubicBezTo>
                            <a:pt x="1914" y="1495"/>
                            <a:pt x="1914" y="1615"/>
                            <a:pt x="1854" y="1674"/>
                          </a:cubicBezTo>
                          <a:cubicBezTo>
                            <a:pt x="1794" y="1734"/>
                            <a:pt x="1734" y="1794"/>
                            <a:pt x="1674" y="1854"/>
                          </a:cubicBezTo>
                          <a:cubicBezTo>
                            <a:pt x="1615" y="1914"/>
                            <a:pt x="1555" y="1914"/>
                            <a:pt x="1435" y="1974"/>
                          </a:cubicBezTo>
                          <a:cubicBezTo>
                            <a:pt x="1375" y="1974"/>
                            <a:pt x="1256" y="2033"/>
                            <a:pt x="1196" y="1974"/>
                          </a:cubicBezTo>
                          <a:cubicBezTo>
                            <a:pt x="1136" y="1914"/>
                            <a:pt x="1076" y="1974"/>
                            <a:pt x="1017" y="1914"/>
                          </a:cubicBezTo>
                          <a:cubicBezTo>
                            <a:pt x="957" y="1854"/>
                            <a:pt x="897" y="1854"/>
                            <a:pt x="897" y="1794"/>
                          </a:cubicBezTo>
                          <a:cubicBezTo>
                            <a:pt x="897" y="1734"/>
                            <a:pt x="837" y="1674"/>
                            <a:pt x="837" y="1615"/>
                          </a:cubicBezTo>
                          <a:cubicBezTo>
                            <a:pt x="837" y="1555"/>
                            <a:pt x="837" y="1495"/>
                            <a:pt x="897" y="1375"/>
                          </a:cubicBezTo>
                          <a:cubicBezTo>
                            <a:pt x="957" y="1256"/>
                            <a:pt x="957" y="1196"/>
                            <a:pt x="1017" y="1136"/>
                          </a:cubicBezTo>
                          <a:cubicBezTo>
                            <a:pt x="1076" y="1076"/>
                            <a:pt x="1136" y="1017"/>
                            <a:pt x="1196" y="957"/>
                          </a:cubicBezTo>
                          <a:cubicBezTo>
                            <a:pt x="1256" y="897"/>
                            <a:pt x="1316" y="837"/>
                            <a:pt x="1435" y="837"/>
                          </a:cubicBezTo>
                          <a:cubicBezTo>
                            <a:pt x="1495" y="837"/>
                            <a:pt x="1555" y="778"/>
                            <a:pt x="1674" y="778"/>
                          </a:cubicBezTo>
                          <a:cubicBezTo>
                            <a:pt x="1794" y="778"/>
                            <a:pt x="1794" y="897"/>
                            <a:pt x="1854" y="897"/>
                          </a:cubicBezTo>
                          <a:moveTo>
                            <a:pt x="419" y="2751"/>
                          </a:moveTo>
                          <a:cubicBezTo>
                            <a:pt x="538" y="2811"/>
                            <a:pt x="718" y="2871"/>
                            <a:pt x="897" y="2871"/>
                          </a:cubicBezTo>
                          <a:cubicBezTo>
                            <a:pt x="1076" y="2871"/>
                            <a:pt x="1256" y="2871"/>
                            <a:pt x="1435" y="2811"/>
                          </a:cubicBezTo>
                          <a:cubicBezTo>
                            <a:pt x="1615" y="2751"/>
                            <a:pt x="1794" y="2632"/>
                            <a:pt x="1973" y="2512"/>
                          </a:cubicBezTo>
                          <a:cubicBezTo>
                            <a:pt x="2153" y="2392"/>
                            <a:pt x="2332" y="2213"/>
                            <a:pt x="2452" y="2033"/>
                          </a:cubicBezTo>
                          <a:cubicBezTo>
                            <a:pt x="2572" y="1854"/>
                            <a:pt x="2691" y="1674"/>
                            <a:pt x="2751" y="1495"/>
                          </a:cubicBezTo>
                          <a:cubicBezTo>
                            <a:pt x="2811" y="1316"/>
                            <a:pt x="2871" y="1136"/>
                            <a:pt x="2871" y="957"/>
                          </a:cubicBezTo>
                          <a:cubicBezTo>
                            <a:pt x="2871" y="778"/>
                            <a:pt x="2871" y="598"/>
                            <a:pt x="2751" y="479"/>
                          </a:cubicBezTo>
                          <a:cubicBezTo>
                            <a:pt x="2691" y="359"/>
                            <a:pt x="2572" y="239"/>
                            <a:pt x="2452" y="120"/>
                          </a:cubicBezTo>
                          <a:cubicBezTo>
                            <a:pt x="2332" y="60"/>
                            <a:pt x="2153" y="0"/>
                            <a:pt x="1973" y="0"/>
                          </a:cubicBezTo>
                          <a:cubicBezTo>
                            <a:pt x="1794" y="0"/>
                            <a:pt x="1615" y="0"/>
                            <a:pt x="1435" y="60"/>
                          </a:cubicBezTo>
                          <a:cubicBezTo>
                            <a:pt x="1256" y="120"/>
                            <a:pt x="1076" y="239"/>
                            <a:pt x="897" y="359"/>
                          </a:cubicBezTo>
                          <a:cubicBezTo>
                            <a:pt x="718" y="479"/>
                            <a:pt x="538" y="658"/>
                            <a:pt x="419" y="837"/>
                          </a:cubicBezTo>
                          <a:cubicBezTo>
                            <a:pt x="299" y="1017"/>
                            <a:pt x="179" y="1196"/>
                            <a:pt x="119" y="1375"/>
                          </a:cubicBezTo>
                          <a:cubicBezTo>
                            <a:pt x="60" y="1555"/>
                            <a:pt x="0" y="1734"/>
                            <a:pt x="0" y="1914"/>
                          </a:cubicBezTo>
                          <a:cubicBezTo>
                            <a:pt x="0" y="2093"/>
                            <a:pt x="0" y="2273"/>
                            <a:pt x="119" y="2392"/>
                          </a:cubicBezTo>
                          <a:cubicBezTo>
                            <a:pt x="239" y="2512"/>
                            <a:pt x="239" y="2691"/>
                            <a:pt x="419" y="2751"/>
                          </a:cubicBezTo>
                        </a:path>
                      </a:pathLst>
                    </a:custGeom>
                    <a:noFill/>
                    <a:ln w="6350" cap="flat">
                      <a:solidFill>
                        <a:schemeClr val="bg1">
                          <a:alpha val="80000"/>
                        </a:schemeClr>
                      </a:solidFill>
                      <a:prstDash val="solid"/>
                      <a:miter/>
                    </a:ln>
                  </p:spPr>
                  <p:txBody>
                    <a:bodyPr rtlCol="0" anchor="ctr"/>
                    <a:lstStyle/>
                    <a:p>
                      <a:endParaRPr lang="en-GB"/>
                    </a:p>
                  </p:txBody>
                </p:sp>
                <p:sp>
                  <p:nvSpPr>
                    <p:cNvPr id="7341" name="Vrije vorm: vorm 7340">
                      <a:extLst>
                        <a:ext uri="{FF2B5EF4-FFF2-40B4-BE49-F238E27FC236}">
                          <a16:creationId xmlns:a16="http://schemas.microsoft.com/office/drawing/2014/main" id="{4C67661C-8FBC-4317-8921-0981456AF7E6}"/>
                        </a:ext>
                      </a:extLst>
                    </p:cNvPr>
                    <p:cNvSpPr/>
                    <p:nvPr/>
                  </p:nvSpPr>
                  <p:spPr>
                    <a:xfrm>
                      <a:off x="5343137" y="5549551"/>
                      <a:ext cx="21590" cy="19138"/>
                    </a:xfrm>
                    <a:custGeom>
                      <a:avLst/>
                      <a:gdLst>
                        <a:gd name="connsiteX0" fmla="*/ 18361 w 21590"/>
                        <a:gd name="connsiteY0" fmla="*/ 7476 h 19138"/>
                        <a:gd name="connsiteX1" fmla="*/ 19019 w 21590"/>
                        <a:gd name="connsiteY1" fmla="*/ 7895 h 19138"/>
                        <a:gd name="connsiteX2" fmla="*/ 19138 w 21590"/>
                        <a:gd name="connsiteY2" fmla="*/ 7715 h 19138"/>
                        <a:gd name="connsiteX3" fmla="*/ 19318 w 21590"/>
                        <a:gd name="connsiteY3" fmla="*/ 7536 h 19138"/>
                        <a:gd name="connsiteX4" fmla="*/ 19437 w 21590"/>
                        <a:gd name="connsiteY4" fmla="*/ 7356 h 19138"/>
                        <a:gd name="connsiteX5" fmla="*/ 19557 w 21590"/>
                        <a:gd name="connsiteY5" fmla="*/ 7177 h 19138"/>
                        <a:gd name="connsiteX6" fmla="*/ 18899 w 21590"/>
                        <a:gd name="connsiteY6" fmla="*/ 6758 h 19138"/>
                        <a:gd name="connsiteX7" fmla="*/ 18780 w 21590"/>
                        <a:gd name="connsiteY7" fmla="*/ 6937 h 19138"/>
                        <a:gd name="connsiteX8" fmla="*/ 18660 w 21590"/>
                        <a:gd name="connsiteY8" fmla="*/ 7117 h 19138"/>
                        <a:gd name="connsiteX9" fmla="*/ 18540 w 21590"/>
                        <a:gd name="connsiteY9" fmla="*/ 7296 h 19138"/>
                        <a:gd name="connsiteX10" fmla="*/ 18361 w 21590"/>
                        <a:gd name="connsiteY10" fmla="*/ 7476 h 19138"/>
                        <a:gd name="connsiteX11" fmla="*/ 15610 w 21590"/>
                        <a:gd name="connsiteY11" fmla="*/ 5682 h 19138"/>
                        <a:gd name="connsiteX12" fmla="*/ 17822 w 21590"/>
                        <a:gd name="connsiteY12" fmla="*/ 7117 h 19138"/>
                        <a:gd name="connsiteX13" fmla="*/ 18002 w 21590"/>
                        <a:gd name="connsiteY13" fmla="*/ 6937 h 19138"/>
                        <a:gd name="connsiteX14" fmla="*/ 18121 w 21590"/>
                        <a:gd name="connsiteY14" fmla="*/ 6758 h 19138"/>
                        <a:gd name="connsiteX15" fmla="*/ 18241 w 21590"/>
                        <a:gd name="connsiteY15" fmla="*/ 6579 h 19138"/>
                        <a:gd name="connsiteX16" fmla="*/ 18361 w 21590"/>
                        <a:gd name="connsiteY16" fmla="*/ 6399 h 19138"/>
                        <a:gd name="connsiteX17" fmla="*/ 16148 w 21590"/>
                        <a:gd name="connsiteY17" fmla="*/ 4964 h 19138"/>
                        <a:gd name="connsiteX18" fmla="*/ 15968 w 21590"/>
                        <a:gd name="connsiteY18" fmla="*/ 5143 h 19138"/>
                        <a:gd name="connsiteX19" fmla="*/ 15789 w 21590"/>
                        <a:gd name="connsiteY19" fmla="*/ 5323 h 19138"/>
                        <a:gd name="connsiteX20" fmla="*/ 15610 w 21590"/>
                        <a:gd name="connsiteY20" fmla="*/ 5502 h 19138"/>
                        <a:gd name="connsiteX21" fmla="*/ 15610 w 21590"/>
                        <a:gd name="connsiteY21" fmla="*/ 5682 h 19138"/>
                        <a:gd name="connsiteX22" fmla="*/ 14413 w 21590"/>
                        <a:gd name="connsiteY22" fmla="*/ 4904 h 19138"/>
                        <a:gd name="connsiteX23" fmla="*/ 15072 w 21590"/>
                        <a:gd name="connsiteY23" fmla="*/ 5323 h 19138"/>
                        <a:gd name="connsiteX24" fmla="*/ 15251 w 21590"/>
                        <a:gd name="connsiteY24" fmla="*/ 5143 h 19138"/>
                        <a:gd name="connsiteX25" fmla="*/ 15430 w 21590"/>
                        <a:gd name="connsiteY25" fmla="*/ 4964 h 19138"/>
                        <a:gd name="connsiteX26" fmla="*/ 15610 w 21590"/>
                        <a:gd name="connsiteY26" fmla="*/ 4785 h 19138"/>
                        <a:gd name="connsiteX27" fmla="*/ 15789 w 21590"/>
                        <a:gd name="connsiteY27" fmla="*/ 4605 h 19138"/>
                        <a:gd name="connsiteX28" fmla="*/ 15131 w 21590"/>
                        <a:gd name="connsiteY28" fmla="*/ 4187 h 19138"/>
                        <a:gd name="connsiteX29" fmla="*/ 14952 w 21590"/>
                        <a:gd name="connsiteY29" fmla="*/ 4366 h 19138"/>
                        <a:gd name="connsiteX30" fmla="*/ 14772 w 21590"/>
                        <a:gd name="connsiteY30" fmla="*/ 4545 h 19138"/>
                        <a:gd name="connsiteX31" fmla="*/ 14593 w 21590"/>
                        <a:gd name="connsiteY31" fmla="*/ 4725 h 19138"/>
                        <a:gd name="connsiteX32" fmla="*/ 14413 w 21590"/>
                        <a:gd name="connsiteY32" fmla="*/ 4904 h 19138"/>
                        <a:gd name="connsiteX33" fmla="*/ 11124 w 21590"/>
                        <a:gd name="connsiteY33" fmla="*/ 2811 h 19138"/>
                        <a:gd name="connsiteX34" fmla="*/ 13875 w 21590"/>
                        <a:gd name="connsiteY34" fmla="*/ 4605 h 19138"/>
                        <a:gd name="connsiteX35" fmla="*/ 14055 w 21590"/>
                        <a:gd name="connsiteY35" fmla="*/ 4426 h 19138"/>
                        <a:gd name="connsiteX36" fmla="*/ 14234 w 21590"/>
                        <a:gd name="connsiteY36" fmla="*/ 4246 h 19138"/>
                        <a:gd name="connsiteX37" fmla="*/ 14413 w 21590"/>
                        <a:gd name="connsiteY37" fmla="*/ 4067 h 19138"/>
                        <a:gd name="connsiteX38" fmla="*/ 14593 w 21590"/>
                        <a:gd name="connsiteY38" fmla="*/ 3887 h 19138"/>
                        <a:gd name="connsiteX39" fmla="*/ 11842 w 21590"/>
                        <a:gd name="connsiteY39" fmla="*/ 2093 h 19138"/>
                        <a:gd name="connsiteX40" fmla="*/ 11662 w 21590"/>
                        <a:gd name="connsiteY40" fmla="*/ 2273 h 19138"/>
                        <a:gd name="connsiteX41" fmla="*/ 11483 w 21590"/>
                        <a:gd name="connsiteY41" fmla="*/ 2452 h 19138"/>
                        <a:gd name="connsiteX42" fmla="*/ 11304 w 21590"/>
                        <a:gd name="connsiteY42" fmla="*/ 2632 h 19138"/>
                        <a:gd name="connsiteX43" fmla="*/ 11124 w 21590"/>
                        <a:gd name="connsiteY43" fmla="*/ 2811 h 19138"/>
                        <a:gd name="connsiteX44" fmla="*/ 9928 w 21590"/>
                        <a:gd name="connsiteY44" fmla="*/ 2033 h 19138"/>
                        <a:gd name="connsiteX45" fmla="*/ 10586 w 21590"/>
                        <a:gd name="connsiteY45" fmla="*/ 2452 h 19138"/>
                        <a:gd name="connsiteX46" fmla="*/ 10765 w 21590"/>
                        <a:gd name="connsiteY46" fmla="*/ 2273 h 19138"/>
                        <a:gd name="connsiteX47" fmla="*/ 10945 w 21590"/>
                        <a:gd name="connsiteY47" fmla="*/ 2093 h 19138"/>
                        <a:gd name="connsiteX48" fmla="*/ 11124 w 21590"/>
                        <a:gd name="connsiteY48" fmla="*/ 1914 h 19138"/>
                        <a:gd name="connsiteX49" fmla="*/ 11304 w 21590"/>
                        <a:gd name="connsiteY49" fmla="*/ 1734 h 19138"/>
                        <a:gd name="connsiteX50" fmla="*/ 10645 w 21590"/>
                        <a:gd name="connsiteY50" fmla="*/ 1316 h 19138"/>
                        <a:gd name="connsiteX51" fmla="*/ 10466 w 21590"/>
                        <a:gd name="connsiteY51" fmla="*/ 1495 h 19138"/>
                        <a:gd name="connsiteX52" fmla="*/ 10287 w 21590"/>
                        <a:gd name="connsiteY52" fmla="*/ 1674 h 19138"/>
                        <a:gd name="connsiteX53" fmla="*/ 10107 w 21590"/>
                        <a:gd name="connsiteY53" fmla="*/ 1854 h 19138"/>
                        <a:gd name="connsiteX54" fmla="*/ 9928 w 21590"/>
                        <a:gd name="connsiteY54" fmla="*/ 2033 h 19138"/>
                        <a:gd name="connsiteX55" fmla="*/ 16746 w 21590"/>
                        <a:gd name="connsiteY55" fmla="*/ 13696 h 19138"/>
                        <a:gd name="connsiteX56" fmla="*/ 17225 w 21590"/>
                        <a:gd name="connsiteY56" fmla="*/ 13995 h 19138"/>
                        <a:gd name="connsiteX57" fmla="*/ 21590 w 21590"/>
                        <a:gd name="connsiteY57" fmla="*/ 8433 h 19138"/>
                        <a:gd name="connsiteX58" fmla="*/ 20095 w 21590"/>
                        <a:gd name="connsiteY58" fmla="*/ 7476 h 19138"/>
                        <a:gd name="connsiteX59" fmla="*/ 19976 w 21590"/>
                        <a:gd name="connsiteY59" fmla="*/ 7655 h 19138"/>
                        <a:gd name="connsiteX60" fmla="*/ 19856 w 21590"/>
                        <a:gd name="connsiteY60" fmla="*/ 7835 h 19138"/>
                        <a:gd name="connsiteX61" fmla="*/ 19736 w 21590"/>
                        <a:gd name="connsiteY61" fmla="*/ 8014 h 19138"/>
                        <a:gd name="connsiteX62" fmla="*/ 19557 w 21590"/>
                        <a:gd name="connsiteY62" fmla="*/ 8194 h 19138"/>
                        <a:gd name="connsiteX63" fmla="*/ 20574 w 21590"/>
                        <a:gd name="connsiteY63" fmla="*/ 8851 h 19138"/>
                        <a:gd name="connsiteX64" fmla="*/ 16746 w 21590"/>
                        <a:gd name="connsiteY64" fmla="*/ 13696 h 19138"/>
                        <a:gd name="connsiteX65" fmla="*/ 4007 w 21590"/>
                        <a:gd name="connsiteY65" fmla="*/ 5562 h 19138"/>
                        <a:gd name="connsiteX66" fmla="*/ 4545 w 21590"/>
                        <a:gd name="connsiteY66" fmla="*/ 5921 h 19138"/>
                        <a:gd name="connsiteX67" fmla="*/ 8373 w 21590"/>
                        <a:gd name="connsiteY67" fmla="*/ 1076 h 19138"/>
                        <a:gd name="connsiteX68" fmla="*/ 9390 w 21590"/>
                        <a:gd name="connsiteY68" fmla="*/ 1734 h 19138"/>
                        <a:gd name="connsiteX69" fmla="*/ 9569 w 21590"/>
                        <a:gd name="connsiteY69" fmla="*/ 1555 h 19138"/>
                        <a:gd name="connsiteX70" fmla="*/ 9749 w 21590"/>
                        <a:gd name="connsiteY70" fmla="*/ 1375 h 19138"/>
                        <a:gd name="connsiteX71" fmla="*/ 9928 w 21590"/>
                        <a:gd name="connsiteY71" fmla="*/ 1196 h 19138"/>
                        <a:gd name="connsiteX72" fmla="*/ 10107 w 21590"/>
                        <a:gd name="connsiteY72" fmla="*/ 1017 h 19138"/>
                        <a:gd name="connsiteX73" fmla="*/ 8791 w 21590"/>
                        <a:gd name="connsiteY73" fmla="*/ 179 h 19138"/>
                        <a:gd name="connsiteX74" fmla="*/ 8493 w 21590"/>
                        <a:gd name="connsiteY74" fmla="*/ 0 h 19138"/>
                        <a:gd name="connsiteX75" fmla="*/ 4007 w 21590"/>
                        <a:gd name="connsiteY75" fmla="*/ 5562 h 19138"/>
                        <a:gd name="connsiteX76" fmla="*/ 15191 w 21590"/>
                        <a:gd name="connsiteY76" fmla="*/ 15669 h 19138"/>
                        <a:gd name="connsiteX77" fmla="*/ 15669 w 21590"/>
                        <a:gd name="connsiteY77" fmla="*/ 15968 h 19138"/>
                        <a:gd name="connsiteX78" fmla="*/ 16626 w 21590"/>
                        <a:gd name="connsiteY78" fmla="*/ 14772 h 19138"/>
                        <a:gd name="connsiteX79" fmla="*/ 16148 w 21590"/>
                        <a:gd name="connsiteY79" fmla="*/ 14473 h 19138"/>
                        <a:gd name="connsiteX80" fmla="*/ 15191 w 21590"/>
                        <a:gd name="connsiteY80" fmla="*/ 15669 h 19138"/>
                        <a:gd name="connsiteX81" fmla="*/ 2512 w 21590"/>
                        <a:gd name="connsiteY81" fmla="*/ 7536 h 19138"/>
                        <a:gd name="connsiteX82" fmla="*/ 3050 w 21590"/>
                        <a:gd name="connsiteY82" fmla="*/ 7895 h 19138"/>
                        <a:gd name="connsiteX83" fmla="*/ 4007 w 21590"/>
                        <a:gd name="connsiteY83" fmla="*/ 6698 h 19138"/>
                        <a:gd name="connsiteX84" fmla="*/ 3469 w 21590"/>
                        <a:gd name="connsiteY84" fmla="*/ 6340 h 19138"/>
                        <a:gd name="connsiteX85" fmla="*/ 2512 w 21590"/>
                        <a:gd name="connsiteY85" fmla="*/ 7536 h 19138"/>
                        <a:gd name="connsiteX86" fmla="*/ 5502 w 21590"/>
                        <a:gd name="connsiteY86" fmla="*/ 14234 h 19138"/>
                        <a:gd name="connsiteX87" fmla="*/ 13218 w 21590"/>
                        <a:gd name="connsiteY87" fmla="*/ 19138 h 19138"/>
                        <a:gd name="connsiteX88" fmla="*/ 15131 w 21590"/>
                        <a:gd name="connsiteY88" fmla="*/ 16686 h 19138"/>
                        <a:gd name="connsiteX89" fmla="*/ 14653 w 21590"/>
                        <a:gd name="connsiteY89" fmla="*/ 16387 h 19138"/>
                        <a:gd name="connsiteX90" fmla="*/ 13337 w 21590"/>
                        <a:gd name="connsiteY90" fmla="*/ 18062 h 19138"/>
                        <a:gd name="connsiteX91" fmla="*/ 6100 w 21590"/>
                        <a:gd name="connsiteY91" fmla="*/ 13457 h 19138"/>
                        <a:gd name="connsiteX92" fmla="*/ 5502 w 21590"/>
                        <a:gd name="connsiteY92" fmla="*/ 14234 h 19138"/>
                        <a:gd name="connsiteX93" fmla="*/ 1615 w 21590"/>
                        <a:gd name="connsiteY93" fmla="*/ 11722 h 19138"/>
                        <a:gd name="connsiteX94" fmla="*/ 4964 w 21590"/>
                        <a:gd name="connsiteY94" fmla="*/ 13875 h 19138"/>
                        <a:gd name="connsiteX95" fmla="*/ 5562 w 21590"/>
                        <a:gd name="connsiteY95" fmla="*/ 13158 h 19138"/>
                        <a:gd name="connsiteX96" fmla="*/ 2213 w 21590"/>
                        <a:gd name="connsiteY96" fmla="*/ 11004 h 19138"/>
                        <a:gd name="connsiteX97" fmla="*/ 1615 w 21590"/>
                        <a:gd name="connsiteY97" fmla="*/ 11722 h 19138"/>
                        <a:gd name="connsiteX98" fmla="*/ 0 w 21590"/>
                        <a:gd name="connsiteY98" fmla="*/ 10705 h 19138"/>
                        <a:gd name="connsiteX99" fmla="*/ 299 w 21590"/>
                        <a:gd name="connsiteY99" fmla="*/ 10885 h 19138"/>
                        <a:gd name="connsiteX100" fmla="*/ 1136 w 21590"/>
                        <a:gd name="connsiteY100" fmla="*/ 11423 h 19138"/>
                        <a:gd name="connsiteX101" fmla="*/ 1734 w 21590"/>
                        <a:gd name="connsiteY101" fmla="*/ 10705 h 19138"/>
                        <a:gd name="connsiteX102" fmla="*/ 1136 w 21590"/>
                        <a:gd name="connsiteY102" fmla="*/ 10347 h 19138"/>
                        <a:gd name="connsiteX103" fmla="*/ 2512 w 21590"/>
                        <a:gd name="connsiteY103" fmla="*/ 8612 h 19138"/>
                        <a:gd name="connsiteX104" fmla="*/ 1974 w 21590"/>
                        <a:gd name="connsiteY104" fmla="*/ 8253 h 19138"/>
                        <a:gd name="connsiteX105" fmla="*/ 0 w 21590"/>
                        <a:gd name="connsiteY105" fmla="*/ 10705 h 1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1590" h="19138">
                          <a:moveTo>
                            <a:pt x="18361" y="7476"/>
                          </a:moveTo>
                          <a:lnTo>
                            <a:pt x="19019" y="7895"/>
                          </a:lnTo>
                          <a:cubicBezTo>
                            <a:pt x="19079" y="7835"/>
                            <a:pt x="19138" y="7775"/>
                            <a:pt x="19138" y="7715"/>
                          </a:cubicBezTo>
                          <a:cubicBezTo>
                            <a:pt x="19198" y="7655"/>
                            <a:pt x="19258" y="7596"/>
                            <a:pt x="19318" y="7536"/>
                          </a:cubicBezTo>
                          <a:cubicBezTo>
                            <a:pt x="19377" y="7476"/>
                            <a:pt x="19437" y="7416"/>
                            <a:pt x="19437" y="7356"/>
                          </a:cubicBezTo>
                          <a:cubicBezTo>
                            <a:pt x="19437" y="7296"/>
                            <a:pt x="19557" y="7236"/>
                            <a:pt x="19557" y="7177"/>
                          </a:cubicBezTo>
                          <a:lnTo>
                            <a:pt x="18899" y="6758"/>
                          </a:lnTo>
                          <a:cubicBezTo>
                            <a:pt x="18839" y="6818"/>
                            <a:pt x="18780" y="6878"/>
                            <a:pt x="18780" y="6937"/>
                          </a:cubicBezTo>
                          <a:cubicBezTo>
                            <a:pt x="18720" y="6997"/>
                            <a:pt x="18660" y="7057"/>
                            <a:pt x="18660" y="7117"/>
                          </a:cubicBezTo>
                          <a:cubicBezTo>
                            <a:pt x="18600" y="7177"/>
                            <a:pt x="18540" y="7236"/>
                            <a:pt x="18540" y="7296"/>
                          </a:cubicBezTo>
                          <a:cubicBezTo>
                            <a:pt x="18421" y="7356"/>
                            <a:pt x="18421" y="7416"/>
                            <a:pt x="18361" y="7476"/>
                          </a:cubicBezTo>
                          <a:moveTo>
                            <a:pt x="15610" y="5682"/>
                          </a:moveTo>
                          <a:lnTo>
                            <a:pt x="17822" y="7117"/>
                          </a:lnTo>
                          <a:cubicBezTo>
                            <a:pt x="17882" y="7057"/>
                            <a:pt x="17942" y="6997"/>
                            <a:pt x="18002" y="6937"/>
                          </a:cubicBezTo>
                          <a:cubicBezTo>
                            <a:pt x="18062" y="6878"/>
                            <a:pt x="18121" y="6818"/>
                            <a:pt x="18121" y="6758"/>
                          </a:cubicBezTo>
                          <a:cubicBezTo>
                            <a:pt x="18181" y="6698"/>
                            <a:pt x="18241" y="6639"/>
                            <a:pt x="18241" y="6579"/>
                          </a:cubicBezTo>
                          <a:cubicBezTo>
                            <a:pt x="18301" y="6519"/>
                            <a:pt x="18361" y="6459"/>
                            <a:pt x="18361" y="6399"/>
                          </a:cubicBezTo>
                          <a:lnTo>
                            <a:pt x="16148" y="4964"/>
                          </a:lnTo>
                          <a:cubicBezTo>
                            <a:pt x="16088" y="5024"/>
                            <a:pt x="16028" y="5083"/>
                            <a:pt x="15968" y="5143"/>
                          </a:cubicBezTo>
                          <a:cubicBezTo>
                            <a:pt x="15909" y="5203"/>
                            <a:pt x="15849" y="5263"/>
                            <a:pt x="15789" y="5323"/>
                          </a:cubicBezTo>
                          <a:cubicBezTo>
                            <a:pt x="15729" y="5382"/>
                            <a:pt x="15669" y="5442"/>
                            <a:pt x="15610" y="5502"/>
                          </a:cubicBezTo>
                          <a:cubicBezTo>
                            <a:pt x="15669" y="5562"/>
                            <a:pt x="15610" y="5622"/>
                            <a:pt x="15610" y="5682"/>
                          </a:cubicBezTo>
                          <a:moveTo>
                            <a:pt x="14413" y="4904"/>
                          </a:moveTo>
                          <a:lnTo>
                            <a:pt x="15072" y="5323"/>
                          </a:lnTo>
                          <a:cubicBezTo>
                            <a:pt x="15131" y="5263"/>
                            <a:pt x="15191" y="5203"/>
                            <a:pt x="15251" y="5143"/>
                          </a:cubicBezTo>
                          <a:cubicBezTo>
                            <a:pt x="15311" y="5083"/>
                            <a:pt x="15371" y="5024"/>
                            <a:pt x="15430" y="4964"/>
                          </a:cubicBezTo>
                          <a:cubicBezTo>
                            <a:pt x="15490" y="4904"/>
                            <a:pt x="15550" y="4844"/>
                            <a:pt x="15610" y="4785"/>
                          </a:cubicBezTo>
                          <a:cubicBezTo>
                            <a:pt x="15669" y="4725"/>
                            <a:pt x="15729" y="4665"/>
                            <a:pt x="15789" y="4605"/>
                          </a:cubicBezTo>
                          <a:lnTo>
                            <a:pt x="15131" y="4187"/>
                          </a:lnTo>
                          <a:cubicBezTo>
                            <a:pt x="15072" y="4246"/>
                            <a:pt x="15012" y="4306"/>
                            <a:pt x="14952" y="4366"/>
                          </a:cubicBezTo>
                          <a:cubicBezTo>
                            <a:pt x="14892" y="4426"/>
                            <a:pt x="14832" y="4486"/>
                            <a:pt x="14772" y="4545"/>
                          </a:cubicBezTo>
                          <a:cubicBezTo>
                            <a:pt x="14713" y="4605"/>
                            <a:pt x="14653" y="4665"/>
                            <a:pt x="14593" y="4725"/>
                          </a:cubicBezTo>
                          <a:cubicBezTo>
                            <a:pt x="14473" y="4785"/>
                            <a:pt x="14473" y="4844"/>
                            <a:pt x="14413" y="4904"/>
                          </a:cubicBezTo>
                          <a:moveTo>
                            <a:pt x="11124" y="2811"/>
                          </a:moveTo>
                          <a:lnTo>
                            <a:pt x="13875" y="4605"/>
                          </a:lnTo>
                          <a:cubicBezTo>
                            <a:pt x="13935" y="4545"/>
                            <a:pt x="13995" y="4486"/>
                            <a:pt x="14055" y="4426"/>
                          </a:cubicBezTo>
                          <a:cubicBezTo>
                            <a:pt x="14114" y="4366"/>
                            <a:pt x="14174" y="4306"/>
                            <a:pt x="14234" y="4246"/>
                          </a:cubicBezTo>
                          <a:cubicBezTo>
                            <a:pt x="14294" y="4187"/>
                            <a:pt x="14354" y="4127"/>
                            <a:pt x="14413" y="4067"/>
                          </a:cubicBezTo>
                          <a:cubicBezTo>
                            <a:pt x="14473" y="4007"/>
                            <a:pt x="14533" y="3947"/>
                            <a:pt x="14593" y="3887"/>
                          </a:cubicBezTo>
                          <a:lnTo>
                            <a:pt x="11842" y="2093"/>
                          </a:lnTo>
                          <a:cubicBezTo>
                            <a:pt x="11782" y="2153"/>
                            <a:pt x="11722" y="2213"/>
                            <a:pt x="11662" y="2273"/>
                          </a:cubicBezTo>
                          <a:cubicBezTo>
                            <a:pt x="11603" y="2333"/>
                            <a:pt x="11543" y="2392"/>
                            <a:pt x="11483" y="2452"/>
                          </a:cubicBezTo>
                          <a:cubicBezTo>
                            <a:pt x="11423" y="2512"/>
                            <a:pt x="11364" y="2572"/>
                            <a:pt x="11304" y="2632"/>
                          </a:cubicBezTo>
                          <a:cubicBezTo>
                            <a:pt x="11244" y="2691"/>
                            <a:pt x="11184" y="2751"/>
                            <a:pt x="11124" y="2811"/>
                          </a:cubicBezTo>
                          <a:moveTo>
                            <a:pt x="9928" y="2033"/>
                          </a:moveTo>
                          <a:lnTo>
                            <a:pt x="10586" y="2452"/>
                          </a:lnTo>
                          <a:cubicBezTo>
                            <a:pt x="10645" y="2392"/>
                            <a:pt x="10705" y="2333"/>
                            <a:pt x="10765" y="2273"/>
                          </a:cubicBezTo>
                          <a:cubicBezTo>
                            <a:pt x="10825" y="2213"/>
                            <a:pt x="10885" y="2153"/>
                            <a:pt x="10945" y="2093"/>
                          </a:cubicBezTo>
                          <a:cubicBezTo>
                            <a:pt x="11005" y="2033"/>
                            <a:pt x="11064" y="1974"/>
                            <a:pt x="11124" y="1914"/>
                          </a:cubicBezTo>
                          <a:cubicBezTo>
                            <a:pt x="11184" y="1854"/>
                            <a:pt x="11244" y="1794"/>
                            <a:pt x="11304" y="1734"/>
                          </a:cubicBezTo>
                          <a:lnTo>
                            <a:pt x="10645" y="1316"/>
                          </a:lnTo>
                          <a:cubicBezTo>
                            <a:pt x="10586" y="1375"/>
                            <a:pt x="10526" y="1435"/>
                            <a:pt x="10466" y="1495"/>
                          </a:cubicBezTo>
                          <a:cubicBezTo>
                            <a:pt x="10406" y="1555"/>
                            <a:pt x="10347" y="1615"/>
                            <a:pt x="10287" y="1674"/>
                          </a:cubicBezTo>
                          <a:cubicBezTo>
                            <a:pt x="10227" y="1734"/>
                            <a:pt x="10167" y="1794"/>
                            <a:pt x="10107" y="1854"/>
                          </a:cubicBezTo>
                          <a:cubicBezTo>
                            <a:pt x="10048" y="1914"/>
                            <a:pt x="9988" y="1974"/>
                            <a:pt x="9928" y="2033"/>
                          </a:cubicBezTo>
                          <a:moveTo>
                            <a:pt x="16746" y="13696"/>
                          </a:moveTo>
                          <a:lnTo>
                            <a:pt x="17225" y="13995"/>
                          </a:lnTo>
                          <a:lnTo>
                            <a:pt x="21590" y="8433"/>
                          </a:lnTo>
                          <a:lnTo>
                            <a:pt x="20095" y="7476"/>
                          </a:lnTo>
                          <a:cubicBezTo>
                            <a:pt x="20035" y="7536"/>
                            <a:pt x="19976" y="7596"/>
                            <a:pt x="19976" y="7655"/>
                          </a:cubicBezTo>
                          <a:cubicBezTo>
                            <a:pt x="19916" y="7715"/>
                            <a:pt x="19856" y="7775"/>
                            <a:pt x="19856" y="7835"/>
                          </a:cubicBezTo>
                          <a:cubicBezTo>
                            <a:pt x="19856" y="7895"/>
                            <a:pt x="19736" y="7954"/>
                            <a:pt x="19736" y="8014"/>
                          </a:cubicBezTo>
                          <a:cubicBezTo>
                            <a:pt x="19676" y="8074"/>
                            <a:pt x="19617" y="8134"/>
                            <a:pt x="19557" y="8194"/>
                          </a:cubicBezTo>
                          <a:lnTo>
                            <a:pt x="20574" y="8851"/>
                          </a:lnTo>
                          <a:lnTo>
                            <a:pt x="16746" y="13696"/>
                          </a:lnTo>
                          <a:moveTo>
                            <a:pt x="4007" y="5562"/>
                          </a:moveTo>
                          <a:lnTo>
                            <a:pt x="4545" y="5921"/>
                          </a:lnTo>
                          <a:lnTo>
                            <a:pt x="8373" y="1076"/>
                          </a:lnTo>
                          <a:lnTo>
                            <a:pt x="9390" y="1734"/>
                          </a:lnTo>
                          <a:cubicBezTo>
                            <a:pt x="9450" y="1674"/>
                            <a:pt x="9510" y="1615"/>
                            <a:pt x="9569" y="1555"/>
                          </a:cubicBezTo>
                          <a:cubicBezTo>
                            <a:pt x="9629" y="1495"/>
                            <a:pt x="9689" y="1435"/>
                            <a:pt x="9749" y="1375"/>
                          </a:cubicBezTo>
                          <a:cubicBezTo>
                            <a:pt x="9808" y="1316"/>
                            <a:pt x="9868" y="1256"/>
                            <a:pt x="9928" y="1196"/>
                          </a:cubicBezTo>
                          <a:cubicBezTo>
                            <a:pt x="9988" y="1136"/>
                            <a:pt x="10048" y="1076"/>
                            <a:pt x="10107" y="1017"/>
                          </a:cubicBezTo>
                          <a:lnTo>
                            <a:pt x="8791" y="179"/>
                          </a:lnTo>
                          <a:lnTo>
                            <a:pt x="8493" y="0"/>
                          </a:lnTo>
                          <a:lnTo>
                            <a:pt x="4007" y="5562"/>
                          </a:lnTo>
                          <a:moveTo>
                            <a:pt x="15191" y="15669"/>
                          </a:moveTo>
                          <a:lnTo>
                            <a:pt x="15669" y="15968"/>
                          </a:lnTo>
                          <a:lnTo>
                            <a:pt x="16626" y="14772"/>
                          </a:lnTo>
                          <a:lnTo>
                            <a:pt x="16148" y="14473"/>
                          </a:lnTo>
                          <a:lnTo>
                            <a:pt x="15191" y="15669"/>
                          </a:lnTo>
                          <a:moveTo>
                            <a:pt x="2512" y="7536"/>
                          </a:moveTo>
                          <a:lnTo>
                            <a:pt x="3050" y="7895"/>
                          </a:lnTo>
                          <a:lnTo>
                            <a:pt x="4007" y="6698"/>
                          </a:lnTo>
                          <a:lnTo>
                            <a:pt x="3469" y="6340"/>
                          </a:lnTo>
                          <a:lnTo>
                            <a:pt x="2512" y="7536"/>
                          </a:lnTo>
                          <a:moveTo>
                            <a:pt x="5502" y="14234"/>
                          </a:moveTo>
                          <a:lnTo>
                            <a:pt x="13218" y="19138"/>
                          </a:lnTo>
                          <a:lnTo>
                            <a:pt x="15131" y="16686"/>
                          </a:lnTo>
                          <a:lnTo>
                            <a:pt x="14653" y="16387"/>
                          </a:lnTo>
                          <a:lnTo>
                            <a:pt x="13337" y="18062"/>
                          </a:lnTo>
                          <a:lnTo>
                            <a:pt x="6100" y="13457"/>
                          </a:lnTo>
                          <a:lnTo>
                            <a:pt x="5502" y="14234"/>
                          </a:lnTo>
                          <a:moveTo>
                            <a:pt x="1615" y="11722"/>
                          </a:moveTo>
                          <a:lnTo>
                            <a:pt x="4964" y="13875"/>
                          </a:lnTo>
                          <a:lnTo>
                            <a:pt x="5562" y="13158"/>
                          </a:lnTo>
                          <a:lnTo>
                            <a:pt x="2213" y="11004"/>
                          </a:lnTo>
                          <a:lnTo>
                            <a:pt x="1615" y="11722"/>
                          </a:lnTo>
                          <a:moveTo>
                            <a:pt x="0" y="10705"/>
                          </a:moveTo>
                          <a:lnTo>
                            <a:pt x="299" y="10885"/>
                          </a:lnTo>
                          <a:lnTo>
                            <a:pt x="1136" y="11423"/>
                          </a:lnTo>
                          <a:lnTo>
                            <a:pt x="1734" y="10705"/>
                          </a:lnTo>
                          <a:lnTo>
                            <a:pt x="1136" y="10347"/>
                          </a:lnTo>
                          <a:lnTo>
                            <a:pt x="2512" y="8612"/>
                          </a:lnTo>
                          <a:lnTo>
                            <a:pt x="1974" y="8253"/>
                          </a:lnTo>
                          <a:lnTo>
                            <a:pt x="0" y="10705"/>
                          </a:lnTo>
                        </a:path>
                      </a:pathLst>
                    </a:custGeom>
                    <a:noFill/>
                    <a:ln w="6350" cap="flat">
                      <a:solidFill>
                        <a:schemeClr val="bg1">
                          <a:alpha val="80000"/>
                        </a:schemeClr>
                      </a:solidFill>
                      <a:prstDash val="solid"/>
                      <a:miter/>
                    </a:ln>
                  </p:spPr>
                  <p:txBody>
                    <a:bodyPr rtlCol="0" anchor="ctr"/>
                    <a:lstStyle/>
                    <a:p>
                      <a:endParaRPr lang="en-GB"/>
                    </a:p>
                  </p:txBody>
                </p:sp>
                <p:sp>
                  <p:nvSpPr>
                    <p:cNvPr id="7342" name="Vrije vorm: vorm 7341">
                      <a:extLst>
                        <a:ext uri="{FF2B5EF4-FFF2-40B4-BE49-F238E27FC236}">
                          <a16:creationId xmlns:a16="http://schemas.microsoft.com/office/drawing/2014/main" id="{A40123B4-270F-4BFE-B766-6D44E1A8A094}"/>
                        </a:ext>
                      </a:extLst>
                    </p:cNvPr>
                    <p:cNvSpPr/>
                    <p:nvPr/>
                  </p:nvSpPr>
                  <p:spPr>
                    <a:xfrm>
                      <a:off x="5332013" y="5556669"/>
                      <a:ext cx="27630" cy="25717"/>
                    </a:xfrm>
                    <a:custGeom>
                      <a:avLst/>
                      <a:gdLst>
                        <a:gd name="connsiteX0" fmla="*/ 0 w 27630"/>
                        <a:gd name="connsiteY0" fmla="*/ 16507 h 25717"/>
                        <a:gd name="connsiteX1" fmla="*/ 359 w 27630"/>
                        <a:gd name="connsiteY1" fmla="*/ 16746 h 25717"/>
                        <a:gd name="connsiteX2" fmla="*/ 897 w 27630"/>
                        <a:gd name="connsiteY2" fmla="*/ 17045 h 25717"/>
                        <a:gd name="connsiteX3" fmla="*/ 1734 w 27630"/>
                        <a:gd name="connsiteY3" fmla="*/ 17583 h 25717"/>
                        <a:gd name="connsiteX4" fmla="*/ 2332 w 27630"/>
                        <a:gd name="connsiteY4" fmla="*/ 16866 h 25717"/>
                        <a:gd name="connsiteX5" fmla="*/ 1495 w 27630"/>
                        <a:gd name="connsiteY5" fmla="*/ 16327 h 25717"/>
                        <a:gd name="connsiteX6" fmla="*/ 1076 w 27630"/>
                        <a:gd name="connsiteY6" fmla="*/ 16088 h 25717"/>
                        <a:gd name="connsiteX7" fmla="*/ 12978 w 27630"/>
                        <a:gd name="connsiteY7" fmla="*/ 1076 h 25717"/>
                        <a:gd name="connsiteX8" fmla="*/ 13038 w 27630"/>
                        <a:gd name="connsiteY8" fmla="*/ 1136 h 25717"/>
                        <a:gd name="connsiteX9" fmla="*/ 13576 w 27630"/>
                        <a:gd name="connsiteY9" fmla="*/ 1435 h 25717"/>
                        <a:gd name="connsiteX10" fmla="*/ 14174 w 27630"/>
                        <a:gd name="connsiteY10" fmla="*/ 1854 h 25717"/>
                        <a:gd name="connsiteX11" fmla="*/ 14712 w 27630"/>
                        <a:gd name="connsiteY11" fmla="*/ 1136 h 25717"/>
                        <a:gd name="connsiteX12" fmla="*/ 19138 w 27630"/>
                        <a:gd name="connsiteY12" fmla="*/ 3947 h 25717"/>
                        <a:gd name="connsiteX13" fmla="*/ 18540 w 27630"/>
                        <a:gd name="connsiteY13" fmla="*/ 4665 h 25717"/>
                        <a:gd name="connsiteX14" fmla="*/ 25777 w 27630"/>
                        <a:gd name="connsiteY14" fmla="*/ 9270 h 25717"/>
                        <a:gd name="connsiteX15" fmla="*/ 26255 w 27630"/>
                        <a:gd name="connsiteY15" fmla="*/ 9569 h 25717"/>
                        <a:gd name="connsiteX16" fmla="*/ 26554 w 27630"/>
                        <a:gd name="connsiteY16" fmla="*/ 9808 h 25717"/>
                        <a:gd name="connsiteX17" fmla="*/ 14832 w 27630"/>
                        <a:gd name="connsiteY17" fmla="*/ 24641 h 25717"/>
                        <a:gd name="connsiteX18" fmla="*/ 6758 w 27630"/>
                        <a:gd name="connsiteY18" fmla="*/ 19617 h 25717"/>
                        <a:gd name="connsiteX19" fmla="*/ 6160 w 27630"/>
                        <a:gd name="connsiteY19" fmla="*/ 20334 h 25717"/>
                        <a:gd name="connsiteX20" fmla="*/ 14772 w 27630"/>
                        <a:gd name="connsiteY20" fmla="*/ 25717 h 25717"/>
                        <a:gd name="connsiteX21" fmla="*/ 27631 w 27630"/>
                        <a:gd name="connsiteY21" fmla="*/ 9390 h 25717"/>
                        <a:gd name="connsiteX22" fmla="*/ 26794 w 27630"/>
                        <a:gd name="connsiteY22" fmla="*/ 8851 h 25717"/>
                        <a:gd name="connsiteX23" fmla="*/ 26315 w 27630"/>
                        <a:gd name="connsiteY23" fmla="*/ 8552 h 25717"/>
                        <a:gd name="connsiteX24" fmla="*/ 14114 w 27630"/>
                        <a:gd name="connsiteY24" fmla="*/ 718 h 25717"/>
                        <a:gd name="connsiteX25" fmla="*/ 13636 w 27630"/>
                        <a:gd name="connsiteY25" fmla="*/ 419 h 25717"/>
                        <a:gd name="connsiteX26" fmla="*/ 13397 w 27630"/>
                        <a:gd name="connsiteY26" fmla="*/ 239 h 25717"/>
                        <a:gd name="connsiteX27" fmla="*/ 12978 w 27630"/>
                        <a:gd name="connsiteY27" fmla="*/ 0 h 25717"/>
                        <a:gd name="connsiteX28" fmla="*/ 0 w 27630"/>
                        <a:gd name="connsiteY28" fmla="*/ 16507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630" h="25717">
                          <a:moveTo>
                            <a:pt x="0" y="16507"/>
                          </a:moveTo>
                          <a:lnTo>
                            <a:pt x="359" y="16746"/>
                          </a:lnTo>
                          <a:lnTo>
                            <a:pt x="897" y="17045"/>
                          </a:lnTo>
                          <a:lnTo>
                            <a:pt x="1734" y="17583"/>
                          </a:lnTo>
                          <a:lnTo>
                            <a:pt x="2332" y="16866"/>
                          </a:lnTo>
                          <a:lnTo>
                            <a:pt x="1495" y="16327"/>
                          </a:lnTo>
                          <a:lnTo>
                            <a:pt x="1076" y="16088"/>
                          </a:lnTo>
                          <a:lnTo>
                            <a:pt x="12978" y="1076"/>
                          </a:lnTo>
                          <a:lnTo>
                            <a:pt x="13038" y="1136"/>
                          </a:lnTo>
                          <a:lnTo>
                            <a:pt x="13576" y="1435"/>
                          </a:lnTo>
                          <a:lnTo>
                            <a:pt x="14174" y="1854"/>
                          </a:lnTo>
                          <a:lnTo>
                            <a:pt x="14712" y="1136"/>
                          </a:lnTo>
                          <a:lnTo>
                            <a:pt x="19138" y="3947"/>
                          </a:lnTo>
                          <a:lnTo>
                            <a:pt x="18540" y="4665"/>
                          </a:lnTo>
                          <a:lnTo>
                            <a:pt x="25777" y="9270"/>
                          </a:lnTo>
                          <a:lnTo>
                            <a:pt x="26255" y="9569"/>
                          </a:lnTo>
                          <a:lnTo>
                            <a:pt x="26554" y="9808"/>
                          </a:lnTo>
                          <a:lnTo>
                            <a:pt x="14832" y="24641"/>
                          </a:lnTo>
                          <a:lnTo>
                            <a:pt x="6758" y="19617"/>
                          </a:lnTo>
                          <a:lnTo>
                            <a:pt x="6160" y="20334"/>
                          </a:lnTo>
                          <a:lnTo>
                            <a:pt x="14772" y="25717"/>
                          </a:lnTo>
                          <a:lnTo>
                            <a:pt x="27631" y="9390"/>
                          </a:lnTo>
                          <a:lnTo>
                            <a:pt x="26794" y="8851"/>
                          </a:lnTo>
                          <a:lnTo>
                            <a:pt x="26315" y="8552"/>
                          </a:lnTo>
                          <a:lnTo>
                            <a:pt x="14114" y="718"/>
                          </a:lnTo>
                          <a:lnTo>
                            <a:pt x="13636" y="419"/>
                          </a:lnTo>
                          <a:lnTo>
                            <a:pt x="13397" y="239"/>
                          </a:lnTo>
                          <a:lnTo>
                            <a:pt x="12978" y="0"/>
                          </a:lnTo>
                          <a:lnTo>
                            <a:pt x="0" y="16507"/>
                          </a:lnTo>
                        </a:path>
                      </a:pathLst>
                    </a:custGeom>
                    <a:noFill/>
                    <a:ln w="6350" cap="flat">
                      <a:solidFill>
                        <a:schemeClr val="bg1">
                          <a:alpha val="80000"/>
                        </a:schemeClr>
                      </a:solidFill>
                      <a:prstDash val="solid"/>
                      <a:miter/>
                    </a:ln>
                  </p:spPr>
                  <p:txBody>
                    <a:bodyPr rtlCol="0" anchor="ctr"/>
                    <a:lstStyle/>
                    <a:p>
                      <a:endParaRPr lang="en-GB"/>
                    </a:p>
                  </p:txBody>
                </p:sp>
                <p:sp>
                  <p:nvSpPr>
                    <p:cNvPr id="7343" name="Vrije vorm: vorm 7342">
                      <a:extLst>
                        <a:ext uri="{FF2B5EF4-FFF2-40B4-BE49-F238E27FC236}">
                          <a16:creationId xmlns:a16="http://schemas.microsoft.com/office/drawing/2014/main" id="{CBCAF14C-5769-4285-BAE0-44A937E59853}"/>
                        </a:ext>
                      </a:extLst>
                    </p:cNvPr>
                    <p:cNvSpPr/>
                    <p:nvPr/>
                  </p:nvSpPr>
                  <p:spPr>
                    <a:xfrm>
                      <a:off x="5333747" y="5557805"/>
                      <a:ext cx="17463" cy="19197"/>
                    </a:xfrm>
                    <a:custGeom>
                      <a:avLst/>
                      <a:gdLst>
                        <a:gd name="connsiteX0" fmla="*/ 14354 w 17463"/>
                        <a:gd name="connsiteY0" fmla="*/ 5622 h 19197"/>
                        <a:gd name="connsiteX1" fmla="*/ 4486 w 17463"/>
                        <a:gd name="connsiteY1" fmla="*/ 18121 h 19197"/>
                        <a:gd name="connsiteX2" fmla="*/ 1076 w 17463"/>
                        <a:gd name="connsiteY2" fmla="*/ 16028 h 19197"/>
                        <a:gd name="connsiteX3" fmla="*/ 11005 w 17463"/>
                        <a:gd name="connsiteY3" fmla="*/ 3469 h 19197"/>
                        <a:gd name="connsiteX4" fmla="*/ 11603 w 17463"/>
                        <a:gd name="connsiteY4" fmla="*/ 2751 h 19197"/>
                        <a:gd name="connsiteX5" fmla="*/ 12978 w 17463"/>
                        <a:gd name="connsiteY5" fmla="*/ 1017 h 19197"/>
                        <a:gd name="connsiteX6" fmla="*/ 16327 w 17463"/>
                        <a:gd name="connsiteY6" fmla="*/ 3170 h 19197"/>
                        <a:gd name="connsiteX7" fmla="*/ 14952 w 17463"/>
                        <a:gd name="connsiteY7" fmla="*/ 4904 h 19197"/>
                        <a:gd name="connsiteX8" fmla="*/ 14354 w 17463"/>
                        <a:gd name="connsiteY8" fmla="*/ 5622 h 19197"/>
                        <a:gd name="connsiteX9" fmla="*/ 0 w 17463"/>
                        <a:gd name="connsiteY9" fmla="*/ 16447 h 19197"/>
                        <a:gd name="connsiteX10" fmla="*/ 4426 w 17463"/>
                        <a:gd name="connsiteY10" fmla="*/ 19198 h 19197"/>
                        <a:gd name="connsiteX11" fmla="*/ 5024 w 17463"/>
                        <a:gd name="connsiteY11" fmla="*/ 18480 h 19197"/>
                        <a:gd name="connsiteX12" fmla="*/ 14892 w 17463"/>
                        <a:gd name="connsiteY12" fmla="*/ 5981 h 19197"/>
                        <a:gd name="connsiteX13" fmla="*/ 15490 w 17463"/>
                        <a:gd name="connsiteY13" fmla="*/ 5263 h 19197"/>
                        <a:gd name="connsiteX14" fmla="*/ 16866 w 17463"/>
                        <a:gd name="connsiteY14" fmla="*/ 3528 h 19197"/>
                        <a:gd name="connsiteX15" fmla="*/ 17464 w 17463"/>
                        <a:gd name="connsiteY15" fmla="*/ 2811 h 19197"/>
                        <a:gd name="connsiteX16" fmla="*/ 13098 w 17463"/>
                        <a:gd name="connsiteY16" fmla="*/ 0 h 19197"/>
                        <a:gd name="connsiteX17" fmla="*/ 12500 w 17463"/>
                        <a:gd name="connsiteY17" fmla="*/ 718 h 19197"/>
                        <a:gd name="connsiteX18" fmla="*/ 11124 w 17463"/>
                        <a:gd name="connsiteY18" fmla="*/ 2452 h 19197"/>
                        <a:gd name="connsiteX19" fmla="*/ 10526 w 17463"/>
                        <a:gd name="connsiteY19" fmla="*/ 3170 h 19197"/>
                        <a:gd name="connsiteX20" fmla="*/ 598 w 17463"/>
                        <a:gd name="connsiteY20" fmla="*/ 15729 h 19197"/>
                        <a:gd name="connsiteX21" fmla="*/ 0 w 17463"/>
                        <a:gd name="connsiteY21" fmla="*/ 16447 h 1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463" h="19197">
                          <a:moveTo>
                            <a:pt x="14354" y="5622"/>
                          </a:moveTo>
                          <a:lnTo>
                            <a:pt x="4486" y="18121"/>
                          </a:lnTo>
                          <a:lnTo>
                            <a:pt x="1076" y="16028"/>
                          </a:lnTo>
                          <a:lnTo>
                            <a:pt x="11005" y="3469"/>
                          </a:lnTo>
                          <a:lnTo>
                            <a:pt x="11603" y="2751"/>
                          </a:lnTo>
                          <a:lnTo>
                            <a:pt x="12978" y="1017"/>
                          </a:lnTo>
                          <a:lnTo>
                            <a:pt x="16327" y="3170"/>
                          </a:lnTo>
                          <a:lnTo>
                            <a:pt x="14952" y="4904"/>
                          </a:lnTo>
                          <a:lnTo>
                            <a:pt x="14354" y="5622"/>
                          </a:lnTo>
                          <a:moveTo>
                            <a:pt x="0" y="16447"/>
                          </a:moveTo>
                          <a:lnTo>
                            <a:pt x="4426" y="19198"/>
                          </a:lnTo>
                          <a:lnTo>
                            <a:pt x="5024" y="18480"/>
                          </a:lnTo>
                          <a:lnTo>
                            <a:pt x="14892" y="5981"/>
                          </a:lnTo>
                          <a:lnTo>
                            <a:pt x="15490" y="5263"/>
                          </a:lnTo>
                          <a:lnTo>
                            <a:pt x="16866" y="3528"/>
                          </a:lnTo>
                          <a:lnTo>
                            <a:pt x="17464" y="2811"/>
                          </a:lnTo>
                          <a:lnTo>
                            <a:pt x="13098" y="0"/>
                          </a:lnTo>
                          <a:lnTo>
                            <a:pt x="12500" y="718"/>
                          </a:lnTo>
                          <a:lnTo>
                            <a:pt x="11124" y="2452"/>
                          </a:lnTo>
                          <a:lnTo>
                            <a:pt x="10526" y="3170"/>
                          </a:lnTo>
                          <a:lnTo>
                            <a:pt x="598" y="15729"/>
                          </a:lnTo>
                          <a:lnTo>
                            <a:pt x="0" y="16447"/>
                          </a:lnTo>
                        </a:path>
                      </a:pathLst>
                    </a:custGeom>
                    <a:noFill/>
                    <a:ln w="6350" cap="flat">
                      <a:solidFill>
                        <a:schemeClr val="bg1">
                          <a:alpha val="80000"/>
                        </a:schemeClr>
                      </a:solidFill>
                      <a:prstDash val="solid"/>
                      <a:miter/>
                    </a:ln>
                  </p:spPr>
                  <p:txBody>
                    <a:bodyPr rtlCol="0" anchor="ctr"/>
                    <a:lstStyle/>
                    <a:p>
                      <a:endParaRPr lang="en-GB"/>
                    </a:p>
                  </p:txBody>
                </p:sp>
                <p:sp>
                  <p:nvSpPr>
                    <p:cNvPr id="7344" name="Vrije vorm: vorm 7343">
                      <a:extLst>
                        <a:ext uri="{FF2B5EF4-FFF2-40B4-BE49-F238E27FC236}">
                          <a16:creationId xmlns:a16="http://schemas.microsoft.com/office/drawing/2014/main" id="{CD48FF2A-FD61-4EDF-A5D9-6B4F04C1F2CD}"/>
                        </a:ext>
                      </a:extLst>
                    </p:cNvPr>
                    <p:cNvSpPr/>
                    <p:nvPr/>
                  </p:nvSpPr>
                  <p:spPr>
                    <a:xfrm>
                      <a:off x="4947751" y="5303684"/>
                      <a:ext cx="119076" cy="93956"/>
                    </a:xfrm>
                    <a:custGeom>
                      <a:avLst/>
                      <a:gdLst>
                        <a:gd name="connsiteX0" fmla="*/ 64113 w 119076"/>
                        <a:gd name="connsiteY0" fmla="*/ 23683 h 93956"/>
                        <a:gd name="connsiteX1" fmla="*/ 76792 w 119076"/>
                        <a:gd name="connsiteY1" fmla="*/ 31937 h 93956"/>
                        <a:gd name="connsiteX2" fmla="*/ 77510 w 119076"/>
                        <a:gd name="connsiteY2" fmla="*/ 31040 h 93956"/>
                        <a:gd name="connsiteX3" fmla="*/ 64831 w 119076"/>
                        <a:gd name="connsiteY3" fmla="*/ 22787 h 93956"/>
                        <a:gd name="connsiteX4" fmla="*/ 64113 w 119076"/>
                        <a:gd name="connsiteY4" fmla="*/ 23683 h 93956"/>
                        <a:gd name="connsiteX5" fmla="*/ 111301 w 119076"/>
                        <a:gd name="connsiteY5" fmla="*/ 66446 h 93956"/>
                        <a:gd name="connsiteX6" fmla="*/ 111600 w 119076"/>
                        <a:gd name="connsiteY6" fmla="*/ 66625 h 93956"/>
                        <a:gd name="connsiteX7" fmla="*/ 116923 w 119076"/>
                        <a:gd name="connsiteY7" fmla="*/ 59927 h 93956"/>
                        <a:gd name="connsiteX8" fmla="*/ 117342 w 119076"/>
                        <a:gd name="connsiteY8" fmla="*/ 60226 h 93956"/>
                        <a:gd name="connsiteX9" fmla="*/ 119076 w 119076"/>
                        <a:gd name="connsiteY9" fmla="*/ 58073 h 93956"/>
                        <a:gd name="connsiteX10" fmla="*/ 78347 w 119076"/>
                        <a:gd name="connsiteY10" fmla="*/ 31578 h 93956"/>
                        <a:gd name="connsiteX11" fmla="*/ 77630 w 119076"/>
                        <a:gd name="connsiteY11" fmla="*/ 32475 h 93956"/>
                        <a:gd name="connsiteX12" fmla="*/ 117641 w 119076"/>
                        <a:gd name="connsiteY12" fmla="*/ 58491 h 93956"/>
                        <a:gd name="connsiteX13" fmla="*/ 111301 w 119076"/>
                        <a:gd name="connsiteY13" fmla="*/ 66446 h 93956"/>
                        <a:gd name="connsiteX14" fmla="*/ 22488 w 119076"/>
                        <a:gd name="connsiteY14" fmla="*/ 9389 h 93956"/>
                        <a:gd name="connsiteX15" fmla="*/ 23325 w 119076"/>
                        <a:gd name="connsiteY15" fmla="*/ 9928 h 93956"/>
                        <a:gd name="connsiteX16" fmla="*/ 29963 w 119076"/>
                        <a:gd name="connsiteY16" fmla="*/ 1495 h 93956"/>
                        <a:gd name="connsiteX17" fmla="*/ 63336 w 119076"/>
                        <a:gd name="connsiteY17" fmla="*/ 23145 h 93956"/>
                        <a:gd name="connsiteX18" fmla="*/ 64053 w 119076"/>
                        <a:gd name="connsiteY18" fmla="*/ 22248 h 93956"/>
                        <a:gd name="connsiteX19" fmla="*/ 29844 w 119076"/>
                        <a:gd name="connsiteY19" fmla="*/ 0 h 93956"/>
                        <a:gd name="connsiteX20" fmla="*/ 22488 w 119076"/>
                        <a:gd name="connsiteY20" fmla="*/ 9389 h 93956"/>
                        <a:gd name="connsiteX21" fmla="*/ 109447 w 119076"/>
                        <a:gd name="connsiteY21" fmla="*/ 68778 h 93956"/>
                        <a:gd name="connsiteX22" fmla="*/ 109746 w 119076"/>
                        <a:gd name="connsiteY22" fmla="*/ 68958 h 93956"/>
                        <a:gd name="connsiteX23" fmla="*/ 110882 w 119076"/>
                        <a:gd name="connsiteY23" fmla="*/ 67462 h 93956"/>
                        <a:gd name="connsiteX24" fmla="*/ 110584 w 119076"/>
                        <a:gd name="connsiteY24" fmla="*/ 67283 h 93956"/>
                        <a:gd name="connsiteX25" fmla="*/ 109447 w 119076"/>
                        <a:gd name="connsiteY25" fmla="*/ 68778 h 93956"/>
                        <a:gd name="connsiteX26" fmla="*/ 94794 w 119076"/>
                        <a:gd name="connsiteY26" fmla="*/ 87737 h 93956"/>
                        <a:gd name="connsiteX27" fmla="*/ 95333 w 119076"/>
                        <a:gd name="connsiteY27" fmla="*/ 88096 h 93956"/>
                        <a:gd name="connsiteX28" fmla="*/ 107234 w 119076"/>
                        <a:gd name="connsiteY28" fmla="*/ 73024 h 93956"/>
                        <a:gd name="connsiteX29" fmla="*/ 106816 w 119076"/>
                        <a:gd name="connsiteY29" fmla="*/ 72725 h 93956"/>
                        <a:gd name="connsiteX30" fmla="*/ 109148 w 119076"/>
                        <a:gd name="connsiteY30" fmla="*/ 69795 h 93956"/>
                        <a:gd name="connsiteX31" fmla="*/ 109088 w 119076"/>
                        <a:gd name="connsiteY31" fmla="*/ 69735 h 93956"/>
                        <a:gd name="connsiteX32" fmla="*/ 94794 w 119076"/>
                        <a:gd name="connsiteY32" fmla="*/ 87737 h 93956"/>
                        <a:gd name="connsiteX33" fmla="*/ 0 w 119076"/>
                        <a:gd name="connsiteY33" fmla="*/ 37858 h 93956"/>
                        <a:gd name="connsiteX34" fmla="*/ 90668 w 119076"/>
                        <a:gd name="connsiteY34" fmla="*/ 93957 h 93956"/>
                        <a:gd name="connsiteX35" fmla="*/ 94615 w 119076"/>
                        <a:gd name="connsiteY35" fmla="*/ 88933 h 93956"/>
                        <a:gd name="connsiteX36" fmla="*/ 93897 w 119076"/>
                        <a:gd name="connsiteY36" fmla="*/ 88455 h 93956"/>
                        <a:gd name="connsiteX37" fmla="*/ 90608 w 119076"/>
                        <a:gd name="connsiteY37" fmla="*/ 92581 h 93956"/>
                        <a:gd name="connsiteX38" fmla="*/ 1555 w 119076"/>
                        <a:gd name="connsiteY38" fmla="*/ 37380 h 93956"/>
                        <a:gd name="connsiteX39" fmla="*/ 22607 w 119076"/>
                        <a:gd name="connsiteY39" fmla="*/ 10765 h 93956"/>
                        <a:gd name="connsiteX40" fmla="*/ 21770 w 119076"/>
                        <a:gd name="connsiteY40" fmla="*/ 10227 h 93956"/>
                        <a:gd name="connsiteX41" fmla="*/ 0 w 119076"/>
                        <a:gd name="connsiteY41" fmla="*/ 37858 h 9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9076" h="93956">
                          <a:moveTo>
                            <a:pt x="64113" y="23683"/>
                          </a:moveTo>
                          <a:lnTo>
                            <a:pt x="76792" y="31937"/>
                          </a:lnTo>
                          <a:lnTo>
                            <a:pt x="77510" y="31040"/>
                          </a:lnTo>
                          <a:lnTo>
                            <a:pt x="64831" y="22787"/>
                          </a:lnTo>
                          <a:lnTo>
                            <a:pt x="64113" y="23683"/>
                          </a:lnTo>
                          <a:moveTo>
                            <a:pt x="111301" y="66446"/>
                          </a:moveTo>
                          <a:lnTo>
                            <a:pt x="111600" y="66625"/>
                          </a:lnTo>
                          <a:lnTo>
                            <a:pt x="116923" y="59927"/>
                          </a:lnTo>
                          <a:lnTo>
                            <a:pt x="117342" y="60226"/>
                          </a:lnTo>
                          <a:lnTo>
                            <a:pt x="119076" y="58073"/>
                          </a:lnTo>
                          <a:lnTo>
                            <a:pt x="78347" y="31578"/>
                          </a:lnTo>
                          <a:lnTo>
                            <a:pt x="77630" y="32475"/>
                          </a:lnTo>
                          <a:lnTo>
                            <a:pt x="117641" y="58491"/>
                          </a:lnTo>
                          <a:lnTo>
                            <a:pt x="111301" y="66446"/>
                          </a:lnTo>
                          <a:moveTo>
                            <a:pt x="22488" y="9389"/>
                          </a:moveTo>
                          <a:lnTo>
                            <a:pt x="23325" y="9928"/>
                          </a:lnTo>
                          <a:lnTo>
                            <a:pt x="29963" y="1495"/>
                          </a:lnTo>
                          <a:lnTo>
                            <a:pt x="63336" y="23145"/>
                          </a:lnTo>
                          <a:lnTo>
                            <a:pt x="64053" y="22248"/>
                          </a:lnTo>
                          <a:lnTo>
                            <a:pt x="29844" y="0"/>
                          </a:lnTo>
                          <a:lnTo>
                            <a:pt x="22488" y="9389"/>
                          </a:lnTo>
                          <a:moveTo>
                            <a:pt x="109447" y="68778"/>
                          </a:moveTo>
                          <a:lnTo>
                            <a:pt x="109746" y="68958"/>
                          </a:lnTo>
                          <a:lnTo>
                            <a:pt x="110882" y="67462"/>
                          </a:lnTo>
                          <a:lnTo>
                            <a:pt x="110584" y="67283"/>
                          </a:lnTo>
                          <a:lnTo>
                            <a:pt x="109447" y="68778"/>
                          </a:lnTo>
                          <a:moveTo>
                            <a:pt x="94794" y="87737"/>
                          </a:moveTo>
                          <a:lnTo>
                            <a:pt x="95333" y="88096"/>
                          </a:lnTo>
                          <a:lnTo>
                            <a:pt x="107234" y="73024"/>
                          </a:lnTo>
                          <a:lnTo>
                            <a:pt x="106816" y="72725"/>
                          </a:lnTo>
                          <a:lnTo>
                            <a:pt x="109148" y="69795"/>
                          </a:lnTo>
                          <a:lnTo>
                            <a:pt x="109088" y="69735"/>
                          </a:lnTo>
                          <a:lnTo>
                            <a:pt x="94794" y="87737"/>
                          </a:lnTo>
                          <a:moveTo>
                            <a:pt x="0" y="37858"/>
                          </a:moveTo>
                          <a:lnTo>
                            <a:pt x="90668" y="93957"/>
                          </a:lnTo>
                          <a:lnTo>
                            <a:pt x="94615" y="88933"/>
                          </a:lnTo>
                          <a:lnTo>
                            <a:pt x="93897" y="88455"/>
                          </a:lnTo>
                          <a:lnTo>
                            <a:pt x="90608" y="92581"/>
                          </a:lnTo>
                          <a:lnTo>
                            <a:pt x="1555" y="37380"/>
                          </a:lnTo>
                          <a:lnTo>
                            <a:pt x="22607" y="10765"/>
                          </a:lnTo>
                          <a:lnTo>
                            <a:pt x="21770" y="10227"/>
                          </a:lnTo>
                          <a:lnTo>
                            <a:pt x="0" y="37858"/>
                          </a:lnTo>
                        </a:path>
                      </a:pathLst>
                    </a:custGeom>
                    <a:noFill/>
                    <a:ln w="6350" cap="flat">
                      <a:solidFill>
                        <a:schemeClr val="bg1">
                          <a:alpha val="80000"/>
                        </a:schemeClr>
                      </a:solidFill>
                      <a:prstDash val="solid"/>
                      <a:miter/>
                    </a:ln>
                  </p:spPr>
                  <p:txBody>
                    <a:bodyPr rtlCol="0" anchor="ctr"/>
                    <a:lstStyle/>
                    <a:p>
                      <a:endParaRPr lang="en-GB"/>
                    </a:p>
                  </p:txBody>
                </p:sp>
                <p:sp>
                  <p:nvSpPr>
                    <p:cNvPr id="7345" name="Vrije vorm: vorm 7344">
                      <a:extLst>
                        <a:ext uri="{FF2B5EF4-FFF2-40B4-BE49-F238E27FC236}">
                          <a16:creationId xmlns:a16="http://schemas.microsoft.com/office/drawing/2014/main" id="{0749421B-597C-4E93-A6D6-1D88ADEBFB1D}"/>
                        </a:ext>
                      </a:extLst>
                    </p:cNvPr>
                    <p:cNvSpPr/>
                    <p:nvPr/>
                  </p:nvSpPr>
                  <p:spPr>
                    <a:xfrm>
                      <a:off x="5022988" y="5375333"/>
                      <a:ext cx="16746" cy="11602"/>
                    </a:xfrm>
                    <a:custGeom>
                      <a:avLst/>
                      <a:gdLst>
                        <a:gd name="connsiteX0" fmla="*/ 15311 w 16746"/>
                        <a:gd name="connsiteY0" fmla="*/ 9928 h 11602"/>
                        <a:gd name="connsiteX1" fmla="*/ 15012 w 16746"/>
                        <a:gd name="connsiteY1" fmla="*/ 10287 h 11602"/>
                        <a:gd name="connsiteX2" fmla="*/ 1495 w 16746"/>
                        <a:gd name="connsiteY2" fmla="*/ 1794 h 11602"/>
                        <a:gd name="connsiteX3" fmla="*/ 1795 w 16746"/>
                        <a:gd name="connsiteY3" fmla="*/ 1435 h 11602"/>
                        <a:gd name="connsiteX4" fmla="*/ 15311 w 16746"/>
                        <a:gd name="connsiteY4" fmla="*/ 9928 h 11602"/>
                        <a:gd name="connsiteX5" fmla="*/ 0 w 16746"/>
                        <a:gd name="connsiteY5" fmla="*/ 2213 h 11602"/>
                        <a:gd name="connsiteX6" fmla="*/ 15072 w 16746"/>
                        <a:gd name="connsiteY6" fmla="*/ 11603 h 11602"/>
                        <a:gd name="connsiteX7" fmla="*/ 16746 w 16746"/>
                        <a:gd name="connsiteY7" fmla="*/ 9450 h 11602"/>
                        <a:gd name="connsiteX8" fmla="*/ 1675 w 16746"/>
                        <a:gd name="connsiteY8" fmla="*/ 0 h 11602"/>
                        <a:gd name="connsiteX9" fmla="*/ 0 w 16746"/>
                        <a:gd name="connsiteY9" fmla="*/ 221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46" h="11602">
                          <a:moveTo>
                            <a:pt x="15311" y="9928"/>
                          </a:moveTo>
                          <a:lnTo>
                            <a:pt x="15012" y="10287"/>
                          </a:lnTo>
                          <a:lnTo>
                            <a:pt x="1495" y="1794"/>
                          </a:lnTo>
                          <a:lnTo>
                            <a:pt x="1795" y="1435"/>
                          </a:lnTo>
                          <a:lnTo>
                            <a:pt x="15311" y="9928"/>
                          </a:lnTo>
                          <a:moveTo>
                            <a:pt x="0" y="2213"/>
                          </a:moveTo>
                          <a:lnTo>
                            <a:pt x="15072" y="11603"/>
                          </a:lnTo>
                          <a:lnTo>
                            <a:pt x="16746" y="9450"/>
                          </a:lnTo>
                          <a:lnTo>
                            <a:pt x="1675" y="0"/>
                          </a:lnTo>
                          <a:lnTo>
                            <a:pt x="0" y="2213"/>
                          </a:lnTo>
                        </a:path>
                      </a:pathLst>
                    </a:custGeom>
                    <a:noFill/>
                    <a:ln w="6350" cap="flat">
                      <a:solidFill>
                        <a:schemeClr val="bg1">
                          <a:alpha val="80000"/>
                        </a:schemeClr>
                      </a:solidFill>
                      <a:prstDash val="solid"/>
                      <a:miter/>
                    </a:ln>
                  </p:spPr>
                  <p:txBody>
                    <a:bodyPr rtlCol="0" anchor="ctr"/>
                    <a:lstStyle/>
                    <a:p>
                      <a:endParaRPr lang="en-GB"/>
                    </a:p>
                  </p:txBody>
                </p:sp>
                <p:sp>
                  <p:nvSpPr>
                    <p:cNvPr id="7346" name="Vrije vorm: vorm 7345">
                      <a:extLst>
                        <a:ext uri="{FF2B5EF4-FFF2-40B4-BE49-F238E27FC236}">
                          <a16:creationId xmlns:a16="http://schemas.microsoft.com/office/drawing/2014/main" id="{9A2236C6-3212-46AB-957E-215151EBDE94}"/>
                        </a:ext>
                      </a:extLst>
                    </p:cNvPr>
                    <p:cNvSpPr/>
                    <p:nvPr/>
                  </p:nvSpPr>
                  <p:spPr>
                    <a:xfrm>
                      <a:off x="5025321" y="5372462"/>
                      <a:ext cx="16745" cy="11602"/>
                    </a:xfrm>
                    <a:custGeom>
                      <a:avLst/>
                      <a:gdLst>
                        <a:gd name="connsiteX0" fmla="*/ 15251 w 16745"/>
                        <a:gd name="connsiteY0" fmla="*/ 9868 h 11602"/>
                        <a:gd name="connsiteX1" fmla="*/ 14952 w 16745"/>
                        <a:gd name="connsiteY1" fmla="*/ 10227 h 11602"/>
                        <a:gd name="connsiteX2" fmla="*/ 1435 w 16745"/>
                        <a:gd name="connsiteY2" fmla="*/ 1734 h 11602"/>
                        <a:gd name="connsiteX3" fmla="*/ 1735 w 16745"/>
                        <a:gd name="connsiteY3" fmla="*/ 1375 h 11602"/>
                        <a:gd name="connsiteX4" fmla="*/ 15251 w 16745"/>
                        <a:gd name="connsiteY4" fmla="*/ 9868 h 11602"/>
                        <a:gd name="connsiteX5" fmla="*/ 0 w 16745"/>
                        <a:gd name="connsiteY5" fmla="*/ 2153 h 11602"/>
                        <a:gd name="connsiteX6" fmla="*/ 15072 w 16745"/>
                        <a:gd name="connsiteY6" fmla="*/ 11603 h 11602"/>
                        <a:gd name="connsiteX7" fmla="*/ 16746 w 16745"/>
                        <a:gd name="connsiteY7" fmla="*/ 9449 h 11602"/>
                        <a:gd name="connsiteX8" fmla="*/ 1735 w 16745"/>
                        <a:gd name="connsiteY8" fmla="*/ 0 h 11602"/>
                        <a:gd name="connsiteX9" fmla="*/ 0 w 16745"/>
                        <a:gd name="connsiteY9" fmla="*/ 215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45" h="11602">
                          <a:moveTo>
                            <a:pt x="15251" y="9868"/>
                          </a:moveTo>
                          <a:lnTo>
                            <a:pt x="14952" y="10227"/>
                          </a:lnTo>
                          <a:lnTo>
                            <a:pt x="1435" y="1734"/>
                          </a:lnTo>
                          <a:lnTo>
                            <a:pt x="1735" y="1375"/>
                          </a:lnTo>
                          <a:lnTo>
                            <a:pt x="15251" y="9868"/>
                          </a:lnTo>
                          <a:moveTo>
                            <a:pt x="0" y="2153"/>
                          </a:moveTo>
                          <a:lnTo>
                            <a:pt x="15072" y="11603"/>
                          </a:lnTo>
                          <a:lnTo>
                            <a:pt x="16746" y="9449"/>
                          </a:lnTo>
                          <a:lnTo>
                            <a:pt x="1735" y="0"/>
                          </a:lnTo>
                          <a:lnTo>
                            <a:pt x="0" y="2153"/>
                          </a:lnTo>
                        </a:path>
                      </a:pathLst>
                    </a:custGeom>
                    <a:noFill/>
                    <a:ln w="6350" cap="flat">
                      <a:solidFill>
                        <a:schemeClr val="bg1">
                          <a:alpha val="80000"/>
                        </a:schemeClr>
                      </a:solidFill>
                      <a:prstDash val="solid"/>
                      <a:miter/>
                    </a:ln>
                  </p:spPr>
                  <p:txBody>
                    <a:bodyPr rtlCol="0" anchor="ctr"/>
                    <a:lstStyle/>
                    <a:p>
                      <a:endParaRPr lang="en-GB"/>
                    </a:p>
                  </p:txBody>
                </p:sp>
                <p:sp>
                  <p:nvSpPr>
                    <p:cNvPr id="7347" name="Vrije vorm: vorm 7346">
                      <a:extLst>
                        <a:ext uri="{FF2B5EF4-FFF2-40B4-BE49-F238E27FC236}">
                          <a16:creationId xmlns:a16="http://schemas.microsoft.com/office/drawing/2014/main" id="{2A78B208-EAEF-4746-A694-0595FAD8A193}"/>
                        </a:ext>
                      </a:extLst>
                    </p:cNvPr>
                    <p:cNvSpPr/>
                    <p:nvPr/>
                  </p:nvSpPr>
                  <p:spPr>
                    <a:xfrm>
                      <a:off x="5027654" y="5369472"/>
                      <a:ext cx="16686" cy="11602"/>
                    </a:xfrm>
                    <a:custGeom>
                      <a:avLst/>
                      <a:gdLst>
                        <a:gd name="connsiteX0" fmla="*/ 15191 w 16686"/>
                        <a:gd name="connsiteY0" fmla="*/ 9928 h 11602"/>
                        <a:gd name="connsiteX1" fmla="*/ 14952 w 16686"/>
                        <a:gd name="connsiteY1" fmla="*/ 10227 h 11602"/>
                        <a:gd name="connsiteX2" fmla="*/ 1435 w 16686"/>
                        <a:gd name="connsiteY2" fmla="*/ 1734 h 11602"/>
                        <a:gd name="connsiteX3" fmla="*/ 1674 w 16686"/>
                        <a:gd name="connsiteY3" fmla="*/ 1375 h 11602"/>
                        <a:gd name="connsiteX4" fmla="*/ 15191 w 16686"/>
                        <a:gd name="connsiteY4" fmla="*/ 9928 h 11602"/>
                        <a:gd name="connsiteX5" fmla="*/ 0 w 16686"/>
                        <a:gd name="connsiteY5" fmla="*/ 2153 h 11602"/>
                        <a:gd name="connsiteX6" fmla="*/ 15012 w 16686"/>
                        <a:gd name="connsiteY6" fmla="*/ 11603 h 11602"/>
                        <a:gd name="connsiteX7" fmla="*/ 16686 w 16686"/>
                        <a:gd name="connsiteY7" fmla="*/ 9509 h 11602"/>
                        <a:gd name="connsiteX8" fmla="*/ 1674 w 16686"/>
                        <a:gd name="connsiteY8" fmla="*/ 0 h 11602"/>
                        <a:gd name="connsiteX9" fmla="*/ 0 w 16686"/>
                        <a:gd name="connsiteY9" fmla="*/ 215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86" h="11602">
                          <a:moveTo>
                            <a:pt x="15191" y="9928"/>
                          </a:moveTo>
                          <a:lnTo>
                            <a:pt x="14952" y="10227"/>
                          </a:lnTo>
                          <a:lnTo>
                            <a:pt x="1435" y="1734"/>
                          </a:lnTo>
                          <a:lnTo>
                            <a:pt x="1674" y="1375"/>
                          </a:lnTo>
                          <a:lnTo>
                            <a:pt x="15191" y="9928"/>
                          </a:lnTo>
                          <a:moveTo>
                            <a:pt x="0" y="2153"/>
                          </a:moveTo>
                          <a:lnTo>
                            <a:pt x="15012" y="11603"/>
                          </a:lnTo>
                          <a:lnTo>
                            <a:pt x="16686" y="9509"/>
                          </a:lnTo>
                          <a:lnTo>
                            <a:pt x="1674" y="0"/>
                          </a:lnTo>
                          <a:lnTo>
                            <a:pt x="0" y="2153"/>
                          </a:lnTo>
                        </a:path>
                      </a:pathLst>
                    </a:custGeom>
                    <a:noFill/>
                    <a:ln w="6350" cap="flat">
                      <a:solidFill>
                        <a:schemeClr val="bg1">
                          <a:alpha val="80000"/>
                        </a:schemeClr>
                      </a:solidFill>
                      <a:prstDash val="solid"/>
                      <a:miter/>
                    </a:ln>
                  </p:spPr>
                  <p:txBody>
                    <a:bodyPr rtlCol="0" anchor="ctr"/>
                    <a:lstStyle/>
                    <a:p>
                      <a:endParaRPr lang="en-GB"/>
                    </a:p>
                  </p:txBody>
                </p:sp>
                <p:sp>
                  <p:nvSpPr>
                    <p:cNvPr id="7348" name="Vrije vorm: vorm 7347">
                      <a:extLst>
                        <a:ext uri="{FF2B5EF4-FFF2-40B4-BE49-F238E27FC236}">
                          <a16:creationId xmlns:a16="http://schemas.microsoft.com/office/drawing/2014/main" id="{A01711A3-3989-4943-8E87-7CD1E2E17791}"/>
                        </a:ext>
                      </a:extLst>
                    </p:cNvPr>
                    <p:cNvSpPr/>
                    <p:nvPr/>
                  </p:nvSpPr>
                  <p:spPr>
                    <a:xfrm>
                      <a:off x="5029986" y="5366601"/>
                      <a:ext cx="16686" cy="11602"/>
                    </a:xfrm>
                    <a:custGeom>
                      <a:avLst/>
                      <a:gdLst>
                        <a:gd name="connsiteX0" fmla="*/ 15191 w 16686"/>
                        <a:gd name="connsiteY0" fmla="*/ 9868 h 11602"/>
                        <a:gd name="connsiteX1" fmla="*/ 14892 w 16686"/>
                        <a:gd name="connsiteY1" fmla="*/ 10227 h 11602"/>
                        <a:gd name="connsiteX2" fmla="*/ 1435 w 16686"/>
                        <a:gd name="connsiteY2" fmla="*/ 1675 h 11602"/>
                        <a:gd name="connsiteX3" fmla="*/ 1734 w 16686"/>
                        <a:gd name="connsiteY3" fmla="*/ 1316 h 11602"/>
                        <a:gd name="connsiteX4" fmla="*/ 15191 w 16686"/>
                        <a:gd name="connsiteY4" fmla="*/ 9868 h 11602"/>
                        <a:gd name="connsiteX5" fmla="*/ 0 w 16686"/>
                        <a:gd name="connsiteY5" fmla="*/ 2093 h 11602"/>
                        <a:gd name="connsiteX6" fmla="*/ 15012 w 16686"/>
                        <a:gd name="connsiteY6" fmla="*/ 11603 h 11602"/>
                        <a:gd name="connsiteX7" fmla="*/ 16686 w 16686"/>
                        <a:gd name="connsiteY7" fmla="*/ 9510 h 11602"/>
                        <a:gd name="connsiteX8" fmla="*/ 1674 w 16686"/>
                        <a:gd name="connsiteY8" fmla="*/ 0 h 11602"/>
                        <a:gd name="connsiteX9" fmla="*/ 0 w 16686"/>
                        <a:gd name="connsiteY9" fmla="*/ 2093 h 1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86" h="11602">
                          <a:moveTo>
                            <a:pt x="15191" y="9868"/>
                          </a:moveTo>
                          <a:lnTo>
                            <a:pt x="14892" y="10227"/>
                          </a:lnTo>
                          <a:lnTo>
                            <a:pt x="1435" y="1675"/>
                          </a:lnTo>
                          <a:lnTo>
                            <a:pt x="1734" y="1316"/>
                          </a:lnTo>
                          <a:lnTo>
                            <a:pt x="15191" y="9868"/>
                          </a:lnTo>
                          <a:moveTo>
                            <a:pt x="0" y="2093"/>
                          </a:moveTo>
                          <a:lnTo>
                            <a:pt x="15012" y="11603"/>
                          </a:lnTo>
                          <a:lnTo>
                            <a:pt x="16686" y="9510"/>
                          </a:lnTo>
                          <a:lnTo>
                            <a:pt x="1674" y="0"/>
                          </a:lnTo>
                          <a:lnTo>
                            <a:pt x="0" y="2093"/>
                          </a:lnTo>
                        </a:path>
                      </a:pathLst>
                    </a:custGeom>
                    <a:noFill/>
                    <a:ln w="6350" cap="flat">
                      <a:solidFill>
                        <a:schemeClr val="bg1">
                          <a:alpha val="80000"/>
                        </a:schemeClr>
                      </a:solidFill>
                      <a:prstDash val="solid"/>
                      <a:miter/>
                    </a:ln>
                  </p:spPr>
                  <p:txBody>
                    <a:bodyPr rtlCol="0" anchor="ctr"/>
                    <a:lstStyle/>
                    <a:p>
                      <a:endParaRPr lang="en-GB"/>
                    </a:p>
                  </p:txBody>
                </p:sp>
                <p:sp>
                  <p:nvSpPr>
                    <p:cNvPr id="7349" name="Vrije vorm: vorm 7348">
                      <a:extLst>
                        <a:ext uri="{FF2B5EF4-FFF2-40B4-BE49-F238E27FC236}">
                          <a16:creationId xmlns:a16="http://schemas.microsoft.com/office/drawing/2014/main" id="{D75CAC1A-1202-476E-8258-B2E2980008C8}"/>
                        </a:ext>
                      </a:extLst>
                    </p:cNvPr>
                    <p:cNvSpPr/>
                    <p:nvPr/>
                  </p:nvSpPr>
                  <p:spPr>
                    <a:xfrm>
                      <a:off x="5032259" y="5363611"/>
                      <a:ext cx="16686" cy="11662"/>
                    </a:xfrm>
                    <a:custGeom>
                      <a:avLst/>
                      <a:gdLst>
                        <a:gd name="connsiteX0" fmla="*/ 15251 w 16686"/>
                        <a:gd name="connsiteY0" fmla="*/ 9928 h 11662"/>
                        <a:gd name="connsiteX1" fmla="*/ 14952 w 16686"/>
                        <a:gd name="connsiteY1" fmla="*/ 10287 h 11662"/>
                        <a:gd name="connsiteX2" fmla="*/ 1495 w 16686"/>
                        <a:gd name="connsiteY2" fmla="*/ 1735 h 11662"/>
                        <a:gd name="connsiteX3" fmla="*/ 1794 w 16686"/>
                        <a:gd name="connsiteY3" fmla="*/ 1376 h 11662"/>
                        <a:gd name="connsiteX4" fmla="*/ 15251 w 16686"/>
                        <a:gd name="connsiteY4" fmla="*/ 9928 h 11662"/>
                        <a:gd name="connsiteX5" fmla="*/ 0 w 16686"/>
                        <a:gd name="connsiteY5" fmla="*/ 2153 h 11662"/>
                        <a:gd name="connsiteX6" fmla="*/ 15011 w 16686"/>
                        <a:gd name="connsiteY6" fmla="*/ 11662 h 11662"/>
                        <a:gd name="connsiteX7" fmla="*/ 16686 w 16686"/>
                        <a:gd name="connsiteY7" fmla="*/ 9510 h 11662"/>
                        <a:gd name="connsiteX8" fmla="*/ 1734 w 16686"/>
                        <a:gd name="connsiteY8" fmla="*/ 0 h 11662"/>
                        <a:gd name="connsiteX9" fmla="*/ 0 w 16686"/>
                        <a:gd name="connsiteY9" fmla="*/ 2153 h 1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86" h="11662">
                          <a:moveTo>
                            <a:pt x="15251" y="9928"/>
                          </a:moveTo>
                          <a:lnTo>
                            <a:pt x="14952" y="10287"/>
                          </a:lnTo>
                          <a:lnTo>
                            <a:pt x="1495" y="1735"/>
                          </a:lnTo>
                          <a:lnTo>
                            <a:pt x="1794" y="1376"/>
                          </a:lnTo>
                          <a:lnTo>
                            <a:pt x="15251" y="9928"/>
                          </a:lnTo>
                          <a:moveTo>
                            <a:pt x="0" y="2153"/>
                          </a:moveTo>
                          <a:lnTo>
                            <a:pt x="15011" y="11662"/>
                          </a:lnTo>
                          <a:lnTo>
                            <a:pt x="16686" y="9510"/>
                          </a:lnTo>
                          <a:lnTo>
                            <a:pt x="1734" y="0"/>
                          </a:lnTo>
                          <a:lnTo>
                            <a:pt x="0" y="2153"/>
                          </a:lnTo>
                        </a:path>
                      </a:pathLst>
                    </a:custGeom>
                    <a:noFill/>
                    <a:ln w="6350" cap="flat">
                      <a:solidFill>
                        <a:schemeClr val="bg1">
                          <a:alpha val="80000"/>
                        </a:schemeClr>
                      </a:solidFill>
                      <a:prstDash val="solid"/>
                      <a:miter/>
                    </a:ln>
                  </p:spPr>
                  <p:txBody>
                    <a:bodyPr rtlCol="0" anchor="ctr"/>
                    <a:lstStyle/>
                    <a:p>
                      <a:endParaRPr lang="en-GB"/>
                    </a:p>
                  </p:txBody>
                </p:sp>
                <p:sp>
                  <p:nvSpPr>
                    <p:cNvPr id="7350" name="Vrije vorm: vorm 7349">
                      <a:extLst>
                        <a:ext uri="{FF2B5EF4-FFF2-40B4-BE49-F238E27FC236}">
                          <a16:creationId xmlns:a16="http://schemas.microsoft.com/office/drawing/2014/main" id="{82219D0A-D513-482B-B5D5-1432E072443C}"/>
                        </a:ext>
                      </a:extLst>
                    </p:cNvPr>
                    <p:cNvSpPr/>
                    <p:nvPr/>
                  </p:nvSpPr>
                  <p:spPr>
                    <a:xfrm>
                      <a:off x="5036266" y="5390285"/>
                      <a:ext cx="3588" cy="3409"/>
                    </a:xfrm>
                    <a:custGeom>
                      <a:avLst/>
                      <a:gdLst>
                        <a:gd name="connsiteX0" fmla="*/ 2333 w 3588"/>
                        <a:gd name="connsiteY0" fmla="*/ 1076 h 3409"/>
                        <a:gd name="connsiteX1" fmla="*/ 2512 w 3588"/>
                        <a:gd name="connsiteY1" fmla="*/ 1256 h 3409"/>
                        <a:gd name="connsiteX2" fmla="*/ 2572 w 3588"/>
                        <a:gd name="connsiteY2" fmla="*/ 1495 h 3409"/>
                        <a:gd name="connsiteX3" fmla="*/ 2512 w 3588"/>
                        <a:gd name="connsiteY3" fmla="*/ 1794 h 3409"/>
                        <a:gd name="connsiteX4" fmla="*/ 2333 w 3588"/>
                        <a:gd name="connsiteY4" fmla="*/ 2093 h 3409"/>
                        <a:gd name="connsiteX5" fmla="*/ 2093 w 3588"/>
                        <a:gd name="connsiteY5" fmla="*/ 2333 h 3409"/>
                        <a:gd name="connsiteX6" fmla="*/ 1794 w 3588"/>
                        <a:gd name="connsiteY6" fmla="*/ 2452 h 3409"/>
                        <a:gd name="connsiteX7" fmla="*/ 1495 w 3588"/>
                        <a:gd name="connsiteY7" fmla="*/ 2452 h 3409"/>
                        <a:gd name="connsiteX8" fmla="*/ 1256 w 3588"/>
                        <a:gd name="connsiteY8" fmla="*/ 2392 h 3409"/>
                        <a:gd name="connsiteX9" fmla="*/ 1076 w 3588"/>
                        <a:gd name="connsiteY9" fmla="*/ 2213 h 3409"/>
                        <a:gd name="connsiteX10" fmla="*/ 1017 w 3588"/>
                        <a:gd name="connsiteY10" fmla="*/ 1974 h 3409"/>
                        <a:gd name="connsiteX11" fmla="*/ 1076 w 3588"/>
                        <a:gd name="connsiteY11" fmla="*/ 1674 h 3409"/>
                        <a:gd name="connsiteX12" fmla="*/ 1256 w 3588"/>
                        <a:gd name="connsiteY12" fmla="*/ 1375 h 3409"/>
                        <a:gd name="connsiteX13" fmla="*/ 1495 w 3588"/>
                        <a:gd name="connsiteY13" fmla="*/ 1136 h 3409"/>
                        <a:gd name="connsiteX14" fmla="*/ 1794 w 3588"/>
                        <a:gd name="connsiteY14" fmla="*/ 1017 h 3409"/>
                        <a:gd name="connsiteX15" fmla="*/ 2093 w 3588"/>
                        <a:gd name="connsiteY15" fmla="*/ 1017 h 3409"/>
                        <a:gd name="connsiteX16" fmla="*/ 2333 w 3588"/>
                        <a:gd name="connsiteY16" fmla="*/ 1076 h 3409"/>
                        <a:gd name="connsiteX17" fmla="*/ 598 w 3588"/>
                        <a:gd name="connsiteY17" fmla="*/ 3229 h 3409"/>
                        <a:gd name="connsiteX18" fmla="*/ 1196 w 3588"/>
                        <a:gd name="connsiteY18" fmla="*/ 3409 h 3409"/>
                        <a:gd name="connsiteX19" fmla="*/ 1854 w 3588"/>
                        <a:gd name="connsiteY19" fmla="*/ 3349 h 3409"/>
                        <a:gd name="connsiteX20" fmla="*/ 2512 w 3588"/>
                        <a:gd name="connsiteY20" fmla="*/ 3050 h 3409"/>
                        <a:gd name="connsiteX21" fmla="*/ 3110 w 3588"/>
                        <a:gd name="connsiteY21" fmla="*/ 2512 h 3409"/>
                        <a:gd name="connsiteX22" fmla="*/ 3469 w 3588"/>
                        <a:gd name="connsiteY22" fmla="*/ 1854 h 3409"/>
                        <a:gd name="connsiteX23" fmla="*/ 3588 w 3588"/>
                        <a:gd name="connsiteY23" fmla="*/ 1196 h 3409"/>
                        <a:gd name="connsiteX24" fmla="*/ 3409 w 3588"/>
                        <a:gd name="connsiteY24" fmla="*/ 598 h 3409"/>
                        <a:gd name="connsiteX25" fmla="*/ 2990 w 3588"/>
                        <a:gd name="connsiteY25" fmla="*/ 179 h 3409"/>
                        <a:gd name="connsiteX26" fmla="*/ 2392 w 3588"/>
                        <a:gd name="connsiteY26" fmla="*/ 0 h 3409"/>
                        <a:gd name="connsiteX27" fmla="*/ 1734 w 3588"/>
                        <a:gd name="connsiteY27" fmla="*/ 60 h 3409"/>
                        <a:gd name="connsiteX28" fmla="*/ 1076 w 3588"/>
                        <a:gd name="connsiteY28" fmla="*/ 359 h 3409"/>
                        <a:gd name="connsiteX29" fmla="*/ 479 w 3588"/>
                        <a:gd name="connsiteY29" fmla="*/ 897 h 3409"/>
                        <a:gd name="connsiteX30" fmla="*/ 120 w 3588"/>
                        <a:gd name="connsiteY30" fmla="*/ 1555 h 3409"/>
                        <a:gd name="connsiteX31" fmla="*/ 0 w 3588"/>
                        <a:gd name="connsiteY31" fmla="*/ 2213 h 3409"/>
                        <a:gd name="connsiteX32" fmla="*/ 179 w 3588"/>
                        <a:gd name="connsiteY32" fmla="*/ 2811 h 3409"/>
                        <a:gd name="connsiteX33" fmla="*/ 598 w 3588"/>
                        <a:gd name="connsiteY33" fmla="*/ 3229 h 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88" h="3409">
                          <a:moveTo>
                            <a:pt x="2333" y="1076"/>
                          </a:moveTo>
                          <a:cubicBezTo>
                            <a:pt x="2392" y="1136"/>
                            <a:pt x="2452" y="1196"/>
                            <a:pt x="2512" y="1256"/>
                          </a:cubicBezTo>
                          <a:cubicBezTo>
                            <a:pt x="2572" y="1316"/>
                            <a:pt x="2572" y="1435"/>
                            <a:pt x="2572" y="1495"/>
                          </a:cubicBezTo>
                          <a:cubicBezTo>
                            <a:pt x="2572" y="1555"/>
                            <a:pt x="2572" y="1674"/>
                            <a:pt x="2512" y="1794"/>
                          </a:cubicBezTo>
                          <a:cubicBezTo>
                            <a:pt x="2452" y="1914"/>
                            <a:pt x="2452" y="1974"/>
                            <a:pt x="2333" y="2093"/>
                          </a:cubicBezTo>
                          <a:cubicBezTo>
                            <a:pt x="2213" y="2213"/>
                            <a:pt x="2153" y="2273"/>
                            <a:pt x="2093" y="2333"/>
                          </a:cubicBezTo>
                          <a:cubicBezTo>
                            <a:pt x="2033" y="2392"/>
                            <a:pt x="1914" y="2452"/>
                            <a:pt x="1794" y="2452"/>
                          </a:cubicBezTo>
                          <a:cubicBezTo>
                            <a:pt x="1674" y="2452"/>
                            <a:pt x="1615" y="2512"/>
                            <a:pt x="1495" y="2452"/>
                          </a:cubicBezTo>
                          <a:cubicBezTo>
                            <a:pt x="1435" y="2452"/>
                            <a:pt x="1316" y="2392"/>
                            <a:pt x="1256" y="2392"/>
                          </a:cubicBezTo>
                          <a:cubicBezTo>
                            <a:pt x="1196" y="2333"/>
                            <a:pt x="1136" y="2273"/>
                            <a:pt x="1076" y="2213"/>
                          </a:cubicBezTo>
                          <a:cubicBezTo>
                            <a:pt x="1017" y="2153"/>
                            <a:pt x="1017" y="2033"/>
                            <a:pt x="1017" y="1974"/>
                          </a:cubicBezTo>
                          <a:cubicBezTo>
                            <a:pt x="1017" y="1914"/>
                            <a:pt x="1017" y="1794"/>
                            <a:pt x="1076" y="1674"/>
                          </a:cubicBezTo>
                          <a:cubicBezTo>
                            <a:pt x="1136" y="1555"/>
                            <a:pt x="1136" y="1495"/>
                            <a:pt x="1256" y="1375"/>
                          </a:cubicBezTo>
                          <a:cubicBezTo>
                            <a:pt x="1375" y="1256"/>
                            <a:pt x="1435" y="1196"/>
                            <a:pt x="1495" y="1136"/>
                          </a:cubicBezTo>
                          <a:cubicBezTo>
                            <a:pt x="1555" y="1076"/>
                            <a:pt x="1674" y="1017"/>
                            <a:pt x="1794" y="1017"/>
                          </a:cubicBezTo>
                          <a:cubicBezTo>
                            <a:pt x="1914" y="1017"/>
                            <a:pt x="1974" y="957"/>
                            <a:pt x="2093" y="1017"/>
                          </a:cubicBezTo>
                          <a:cubicBezTo>
                            <a:pt x="2213" y="1076"/>
                            <a:pt x="2213" y="1017"/>
                            <a:pt x="2333" y="1076"/>
                          </a:cubicBezTo>
                          <a:moveTo>
                            <a:pt x="598" y="3229"/>
                          </a:moveTo>
                          <a:cubicBezTo>
                            <a:pt x="778" y="3349"/>
                            <a:pt x="957" y="3409"/>
                            <a:pt x="1196" y="3409"/>
                          </a:cubicBezTo>
                          <a:cubicBezTo>
                            <a:pt x="1435" y="3409"/>
                            <a:pt x="1615" y="3409"/>
                            <a:pt x="1854" y="3349"/>
                          </a:cubicBezTo>
                          <a:cubicBezTo>
                            <a:pt x="2093" y="3289"/>
                            <a:pt x="2273" y="3170"/>
                            <a:pt x="2512" y="3050"/>
                          </a:cubicBezTo>
                          <a:cubicBezTo>
                            <a:pt x="2751" y="2930"/>
                            <a:pt x="2930" y="2751"/>
                            <a:pt x="3110" y="2512"/>
                          </a:cubicBezTo>
                          <a:cubicBezTo>
                            <a:pt x="3289" y="2273"/>
                            <a:pt x="3409" y="2093"/>
                            <a:pt x="3469" y="1854"/>
                          </a:cubicBezTo>
                          <a:cubicBezTo>
                            <a:pt x="3528" y="1615"/>
                            <a:pt x="3588" y="1435"/>
                            <a:pt x="3588" y="1196"/>
                          </a:cubicBezTo>
                          <a:cubicBezTo>
                            <a:pt x="3588" y="1017"/>
                            <a:pt x="3528" y="778"/>
                            <a:pt x="3409" y="598"/>
                          </a:cubicBezTo>
                          <a:cubicBezTo>
                            <a:pt x="3289" y="419"/>
                            <a:pt x="3170" y="299"/>
                            <a:pt x="2990" y="179"/>
                          </a:cubicBezTo>
                          <a:cubicBezTo>
                            <a:pt x="2811" y="60"/>
                            <a:pt x="2572" y="0"/>
                            <a:pt x="2392" y="0"/>
                          </a:cubicBezTo>
                          <a:cubicBezTo>
                            <a:pt x="2153" y="0"/>
                            <a:pt x="1974" y="0"/>
                            <a:pt x="1734" y="60"/>
                          </a:cubicBezTo>
                          <a:cubicBezTo>
                            <a:pt x="1495" y="120"/>
                            <a:pt x="1256" y="239"/>
                            <a:pt x="1076" y="359"/>
                          </a:cubicBezTo>
                          <a:cubicBezTo>
                            <a:pt x="897" y="479"/>
                            <a:pt x="658" y="658"/>
                            <a:pt x="479" y="897"/>
                          </a:cubicBezTo>
                          <a:cubicBezTo>
                            <a:pt x="299" y="1136"/>
                            <a:pt x="179" y="1316"/>
                            <a:pt x="120" y="1555"/>
                          </a:cubicBezTo>
                          <a:cubicBezTo>
                            <a:pt x="60" y="1794"/>
                            <a:pt x="0" y="1974"/>
                            <a:pt x="0" y="2213"/>
                          </a:cubicBezTo>
                          <a:cubicBezTo>
                            <a:pt x="0" y="2392"/>
                            <a:pt x="60" y="2632"/>
                            <a:pt x="179" y="2811"/>
                          </a:cubicBezTo>
                          <a:cubicBezTo>
                            <a:pt x="299" y="2990"/>
                            <a:pt x="419" y="3110"/>
                            <a:pt x="598" y="3229"/>
                          </a:cubicBezTo>
                        </a:path>
                      </a:pathLst>
                    </a:custGeom>
                    <a:noFill/>
                    <a:ln w="6350" cap="flat">
                      <a:solidFill>
                        <a:schemeClr val="bg1">
                          <a:alpha val="80000"/>
                        </a:schemeClr>
                      </a:solidFill>
                      <a:prstDash val="solid"/>
                      <a:miter/>
                    </a:ln>
                  </p:spPr>
                  <p:txBody>
                    <a:bodyPr rtlCol="0" anchor="ctr"/>
                    <a:lstStyle/>
                    <a:p>
                      <a:endParaRPr lang="en-GB"/>
                    </a:p>
                  </p:txBody>
                </p:sp>
                <p:sp>
                  <p:nvSpPr>
                    <p:cNvPr id="7351" name="Vrije vorm: vorm 7350">
                      <a:extLst>
                        <a:ext uri="{FF2B5EF4-FFF2-40B4-BE49-F238E27FC236}">
                          <a16:creationId xmlns:a16="http://schemas.microsoft.com/office/drawing/2014/main" id="{51EEC0DE-6599-4D46-9272-F3760B460AC0}"/>
                        </a:ext>
                      </a:extLst>
                    </p:cNvPr>
                    <p:cNvSpPr/>
                    <p:nvPr/>
                  </p:nvSpPr>
                  <p:spPr>
                    <a:xfrm>
                      <a:off x="5052414" y="5369890"/>
                      <a:ext cx="3528" cy="3409"/>
                    </a:xfrm>
                    <a:custGeom>
                      <a:avLst/>
                      <a:gdLst>
                        <a:gd name="connsiteX0" fmla="*/ 2213 w 3528"/>
                        <a:gd name="connsiteY0" fmla="*/ 1136 h 3409"/>
                        <a:gd name="connsiteX1" fmla="*/ 2392 w 3528"/>
                        <a:gd name="connsiteY1" fmla="*/ 1316 h 3409"/>
                        <a:gd name="connsiteX2" fmla="*/ 2452 w 3528"/>
                        <a:gd name="connsiteY2" fmla="*/ 1555 h 3409"/>
                        <a:gd name="connsiteX3" fmla="*/ 2392 w 3528"/>
                        <a:gd name="connsiteY3" fmla="*/ 1854 h 3409"/>
                        <a:gd name="connsiteX4" fmla="*/ 2213 w 3528"/>
                        <a:gd name="connsiteY4" fmla="*/ 2153 h 3409"/>
                        <a:gd name="connsiteX5" fmla="*/ 1973 w 3528"/>
                        <a:gd name="connsiteY5" fmla="*/ 2392 h 3409"/>
                        <a:gd name="connsiteX6" fmla="*/ 1674 w 3528"/>
                        <a:gd name="connsiteY6" fmla="*/ 2512 h 3409"/>
                        <a:gd name="connsiteX7" fmla="*/ 1375 w 3528"/>
                        <a:gd name="connsiteY7" fmla="*/ 2512 h 3409"/>
                        <a:gd name="connsiteX8" fmla="*/ 1136 w 3528"/>
                        <a:gd name="connsiteY8" fmla="*/ 2452 h 3409"/>
                        <a:gd name="connsiteX9" fmla="*/ 957 w 3528"/>
                        <a:gd name="connsiteY9" fmla="*/ 2273 h 3409"/>
                        <a:gd name="connsiteX10" fmla="*/ 897 w 3528"/>
                        <a:gd name="connsiteY10" fmla="*/ 2034 h 3409"/>
                        <a:gd name="connsiteX11" fmla="*/ 957 w 3528"/>
                        <a:gd name="connsiteY11" fmla="*/ 1735 h 3409"/>
                        <a:gd name="connsiteX12" fmla="*/ 1136 w 3528"/>
                        <a:gd name="connsiteY12" fmla="*/ 1436 h 3409"/>
                        <a:gd name="connsiteX13" fmla="*/ 1375 w 3528"/>
                        <a:gd name="connsiteY13" fmla="*/ 1196 h 3409"/>
                        <a:gd name="connsiteX14" fmla="*/ 1674 w 3528"/>
                        <a:gd name="connsiteY14" fmla="*/ 1077 h 3409"/>
                        <a:gd name="connsiteX15" fmla="*/ 1973 w 3528"/>
                        <a:gd name="connsiteY15" fmla="*/ 1077 h 3409"/>
                        <a:gd name="connsiteX16" fmla="*/ 2213 w 3528"/>
                        <a:gd name="connsiteY16" fmla="*/ 1136 h 3409"/>
                        <a:gd name="connsiteX17" fmla="*/ 538 w 3528"/>
                        <a:gd name="connsiteY17" fmla="*/ 3230 h 3409"/>
                        <a:gd name="connsiteX18" fmla="*/ 1136 w 3528"/>
                        <a:gd name="connsiteY18" fmla="*/ 3409 h 3409"/>
                        <a:gd name="connsiteX19" fmla="*/ 1794 w 3528"/>
                        <a:gd name="connsiteY19" fmla="*/ 3350 h 3409"/>
                        <a:gd name="connsiteX20" fmla="*/ 2452 w 3528"/>
                        <a:gd name="connsiteY20" fmla="*/ 3050 h 3409"/>
                        <a:gd name="connsiteX21" fmla="*/ 3050 w 3528"/>
                        <a:gd name="connsiteY21" fmla="*/ 2512 h 3409"/>
                        <a:gd name="connsiteX22" fmla="*/ 3409 w 3528"/>
                        <a:gd name="connsiteY22" fmla="*/ 1854 h 3409"/>
                        <a:gd name="connsiteX23" fmla="*/ 3528 w 3528"/>
                        <a:gd name="connsiteY23" fmla="*/ 1196 h 3409"/>
                        <a:gd name="connsiteX24" fmla="*/ 3349 w 3528"/>
                        <a:gd name="connsiteY24" fmla="*/ 598 h 3409"/>
                        <a:gd name="connsiteX25" fmla="*/ 2930 w 3528"/>
                        <a:gd name="connsiteY25" fmla="*/ 180 h 3409"/>
                        <a:gd name="connsiteX26" fmla="*/ 2332 w 3528"/>
                        <a:gd name="connsiteY26" fmla="*/ 0 h 3409"/>
                        <a:gd name="connsiteX27" fmla="*/ 1674 w 3528"/>
                        <a:gd name="connsiteY27" fmla="*/ 60 h 3409"/>
                        <a:gd name="connsiteX28" fmla="*/ 1017 w 3528"/>
                        <a:gd name="connsiteY28" fmla="*/ 359 h 3409"/>
                        <a:gd name="connsiteX29" fmla="*/ 478 w 3528"/>
                        <a:gd name="connsiteY29" fmla="*/ 897 h 3409"/>
                        <a:gd name="connsiteX30" fmla="*/ 119 w 3528"/>
                        <a:gd name="connsiteY30" fmla="*/ 1555 h 3409"/>
                        <a:gd name="connsiteX31" fmla="*/ 0 w 3528"/>
                        <a:gd name="connsiteY31" fmla="*/ 2213 h 3409"/>
                        <a:gd name="connsiteX32" fmla="*/ 179 w 3528"/>
                        <a:gd name="connsiteY32" fmla="*/ 2811 h 3409"/>
                        <a:gd name="connsiteX33" fmla="*/ 538 w 3528"/>
                        <a:gd name="connsiteY33" fmla="*/ 3230 h 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28" h="3409">
                          <a:moveTo>
                            <a:pt x="2213" y="1136"/>
                          </a:moveTo>
                          <a:cubicBezTo>
                            <a:pt x="2273" y="1196"/>
                            <a:pt x="2332" y="1256"/>
                            <a:pt x="2392" y="1316"/>
                          </a:cubicBezTo>
                          <a:cubicBezTo>
                            <a:pt x="2452" y="1376"/>
                            <a:pt x="2452" y="1495"/>
                            <a:pt x="2452" y="1555"/>
                          </a:cubicBezTo>
                          <a:cubicBezTo>
                            <a:pt x="2452" y="1615"/>
                            <a:pt x="2452" y="1735"/>
                            <a:pt x="2392" y="1854"/>
                          </a:cubicBezTo>
                          <a:cubicBezTo>
                            <a:pt x="2332" y="1974"/>
                            <a:pt x="2332" y="2034"/>
                            <a:pt x="2213" y="2153"/>
                          </a:cubicBezTo>
                          <a:cubicBezTo>
                            <a:pt x="2153" y="2213"/>
                            <a:pt x="2033" y="2333"/>
                            <a:pt x="1973" y="2392"/>
                          </a:cubicBezTo>
                          <a:cubicBezTo>
                            <a:pt x="1914" y="2452"/>
                            <a:pt x="1794" y="2512"/>
                            <a:pt x="1674" y="2512"/>
                          </a:cubicBezTo>
                          <a:cubicBezTo>
                            <a:pt x="1555" y="2512"/>
                            <a:pt x="1495" y="2572"/>
                            <a:pt x="1375" y="2512"/>
                          </a:cubicBezTo>
                          <a:cubicBezTo>
                            <a:pt x="1316" y="2512"/>
                            <a:pt x="1196" y="2452"/>
                            <a:pt x="1136" y="2452"/>
                          </a:cubicBezTo>
                          <a:cubicBezTo>
                            <a:pt x="1076" y="2392"/>
                            <a:pt x="1017" y="2333"/>
                            <a:pt x="957" y="2273"/>
                          </a:cubicBezTo>
                          <a:cubicBezTo>
                            <a:pt x="897" y="2213"/>
                            <a:pt x="897" y="2093"/>
                            <a:pt x="897" y="2034"/>
                          </a:cubicBezTo>
                          <a:cubicBezTo>
                            <a:pt x="897" y="1974"/>
                            <a:pt x="897" y="1854"/>
                            <a:pt x="957" y="1735"/>
                          </a:cubicBezTo>
                          <a:cubicBezTo>
                            <a:pt x="1017" y="1615"/>
                            <a:pt x="1017" y="1555"/>
                            <a:pt x="1136" y="1436"/>
                          </a:cubicBezTo>
                          <a:cubicBezTo>
                            <a:pt x="1196" y="1316"/>
                            <a:pt x="1316" y="1256"/>
                            <a:pt x="1375" y="1196"/>
                          </a:cubicBezTo>
                          <a:cubicBezTo>
                            <a:pt x="1435" y="1136"/>
                            <a:pt x="1555" y="1077"/>
                            <a:pt x="1674" y="1077"/>
                          </a:cubicBezTo>
                          <a:cubicBezTo>
                            <a:pt x="1794" y="1077"/>
                            <a:pt x="1854" y="1077"/>
                            <a:pt x="1973" y="1077"/>
                          </a:cubicBezTo>
                          <a:cubicBezTo>
                            <a:pt x="2093" y="1017"/>
                            <a:pt x="2153" y="1077"/>
                            <a:pt x="2213" y="1136"/>
                          </a:cubicBezTo>
                          <a:moveTo>
                            <a:pt x="538" y="3230"/>
                          </a:moveTo>
                          <a:cubicBezTo>
                            <a:pt x="718" y="3350"/>
                            <a:pt x="897" y="3409"/>
                            <a:pt x="1136" y="3409"/>
                          </a:cubicBezTo>
                          <a:cubicBezTo>
                            <a:pt x="1375" y="3409"/>
                            <a:pt x="1555" y="3409"/>
                            <a:pt x="1794" y="3350"/>
                          </a:cubicBezTo>
                          <a:cubicBezTo>
                            <a:pt x="2033" y="3290"/>
                            <a:pt x="2213" y="3170"/>
                            <a:pt x="2452" y="3050"/>
                          </a:cubicBezTo>
                          <a:cubicBezTo>
                            <a:pt x="2632" y="2931"/>
                            <a:pt x="2871" y="2751"/>
                            <a:pt x="3050" y="2512"/>
                          </a:cubicBezTo>
                          <a:cubicBezTo>
                            <a:pt x="3229" y="2333"/>
                            <a:pt x="3349" y="2093"/>
                            <a:pt x="3409" y="1854"/>
                          </a:cubicBezTo>
                          <a:cubicBezTo>
                            <a:pt x="3469" y="1615"/>
                            <a:pt x="3528" y="1436"/>
                            <a:pt x="3528" y="1196"/>
                          </a:cubicBezTo>
                          <a:cubicBezTo>
                            <a:pt x="3528" y="957"/>
                            <a:pt x="3469" y="778"/>
                            <a:pt x="3349" y="598"/>
                          </a:cubicBezTo>
                          <a:cubicBezTo>
                            <a:pt x="3229" y="419"/>
                            <a:pt x="3110" y="299"/>
                            <a:pt x="2930" y="180"/>
                          </a:cubicBezTo>
                          <a:cubicBezTo>
                            <a:pt x="2751" y="60"/>
                            <a:pt x="2572" y="0"/>
                            <a:pt x="2332" y="0"/>
                          </a:cubicBezTo>
                          <a:cubicBezTo>
                            <a:pt x="2093" y="0"/>
                            <a:pt x="1914" y="0"/>
                            <a:pt x="1674" y="60"/>
                          </a:cubicBezTo>
                          <a:cubicBezTo>
                            <a:pt x="1435" y="120"/>
                            <a:pt x="1196" y="239"/>
                            <a:pt x="1017" y="359"/>
                          </a:cubicBezTo>
                          <a:cubicBezTo>
                            <a:pt x="837" y="479"/>
                            <a:pt x="598" y="658"/>
                            <a:pt x="478" y="897"/>
                          </a:cubicBezTo>
                          <a:cubicBezTo>
                            <a:pt x="299" y="1136"/>
                            <a:pt x="179" y="1316"/>
                            <a:pt x="119" y="1555"/>
                          </a:cubicBezTo>
                          <a:cubicBezTo>
                            <a:pt x="60" y="1795"/>
                            <a:pt x="0" y="1974"/>
                            <a:pt x="0" y="2213"/>
                          </a:cubicBezTo>
                          <a:cubicBezTo>
                            <a:pt x="0" y="2452"/>
                            <a:pt x="60" y="2632"/>
                            <a:pt x="179" y="2811"/>
                          </a:cubicBezTo>
                          <a:cubicBezTo>
                            <a:pt x="299" y="2990"/>
                            <a:pt x="359" y="3110"/>
                            <a:pt x="538" y="3230"/>
                          </a:cubicBezTo>
                        </a:path>
                      </a:pathLst>
                    </a:custGeom>
                    <a:noFill/>
                    <a:ln w="6350" cap="flat">
                      <a:solidFill>
                        <a:schemeClr val="bg1">
                          <a:alpha val="80000"/>
                        </a:schemeClr>
                      </a:solidFill>
                      <a:prstDash val="solid"/>
                      <a:miter/>
                    </a:ln>
                  </p:spPr>
                  <p:txBody>
                    <a:bodyPr rtlCol="0" anchor="ctr"/>
                    <a:lstStyle/>
                    <a:p>
                      <a:endParaRPr lang="en-GB"/>
                    </a:p>
                  </p:txBody>
                </p:sp>
                <p:sp>
                  <p:nvSpPr>
                    <p:cNvPr id="7352" name="Vrije vorm: vorm 7351">
                      <a:extLst>
                        <a:ext uri="{FF2B5EF4-FFF2-40B4-BE49-F238E27FC236}">
                          <a16:creationId xmlns:a16="http://schemas.microsoft.com/office/drawing/2014/main" id="{8DB4DD98-36A4-4755-A0F2-661F047C5097}"/>
                        </a:ext>
                      </a:extLst>
                    </p:cNvPr>
                    <p:cNvSpPr/>
                    <p:nvPr/>
                  </p:nvSpPr>
                  <p:spPr>
                    <a:xfrm>
                      <a:off x="4951913" y="5337809"/>
                      <a:ext cx="3817" cy="3672"/>
                    </a:xfrm>
                    <a:custGeom>
                      <a:avLst/>
                      <a:gdLst>
                        <a:gd name="connsiteX0" fmla="*/ 2477 w 3817"/>
                        <a:gd name="connsiteY0" fmla="*/ 1161 h 3672"/>
                        <a:gd name="connsiteX1" fmla="*/ 2656 w 3817"/>
                        <a:gd name="connsiteY1" fmla="*/ 1341 h 3672"/>
                        <a:gd name="connsiteX2" fmla="*/ 2716 w 3817"/>
                        <a:gd name="connsiteY2" fmla="*/ 1580 h 3672"/>
                        <a:gd name="connsiteX3" fmla="*/ 2656 w 3817"/>
                        <a:gd name="connsiteY3" fmla="*/ 1879 h 3672"/>
                        <a:gd name="connsiteX4" fmla="*/ 2477 w 3817"/>
                        <a:gd name="connsiteY4" fmla="*/ 2178 h 3672"/>
                        <a:gd name="connsiteX5" fmla="*/ 2238 w 3817"/>
                        <a:gd name="connsiteY5" fmla="*/ 2417 h 3672"/>
                        <a:gd name="connsiteX6" fmla="*/ 1938 w 3817"/>
                        <a:gd name="connsiteY6" fmla="*/ 2537 h 3672"/>
                        <a:gd name="connsiteX7" fmla="*/ 1639 w 3817"/>
                        <a:gd name="connsiteY7" fmla="*/ 2537 h 3672"/>
                        <a:gd name="connsiteX8" fmla="*/ 1400 w 3817"/>
                        <a:gd name="connsiteY8" fmla="*/ 2477 h 3672"/>
                        <a:gd name="connsiteX9" fmla="*/ 1221 w 3817"/>
                        <a:gd name="connsiteY9" fmla="*/ 2298 h 3672"/>
                        <a:gd name="connsiteX10" fmla="*/ 1101 w 3817"/>
                        <a:gd name="connsiteY10" fmla="*/ 2058 h 3672"/>
                        <a:gd name="connsiteX11" fmla="*/ 1101 w 3817"/>
                        <a:gd name="connsiteY11" fmla="*/ 1759 h 3672"/>
                        <a:gd name="connsiteX12" fmla="*/ 1281 w 3817"/>
                        <a:gd name="connsiteY12" fmla="*/ 1460 h 3672"/>
                        <a:gd name="connsiteX13" fmla="*/ 1520 w 3817"/>
                        <a:gd name="connsiteY13" fmla="*/ 1221 h 3672"/>
                        <a:gd name="connsiteX14" fmla="*/ 1819 w 3817"/>
                        <a:gd name="connsiteY14" fmla="*/ 1101 h 3672"/>
                        <a:gd name="connsiteX15" fmla="*/ 2118 w 3817"/>
                        <a:gd name="connsiteY15" fmla="*/ 1101 h 3672"/>
                        <a:gd name="connsiteX16" fmla="*/ 2477 w 3817"/>
                        <a:gd name="connsiteY16" fmla="*/ 1161 h 3672"/>
                        <a:gd name="connsiteX17" fmla="*/ 683 w 3817"/>
                        <a:gd name="connsiteY17" fmla="*/ 3434 h 3672"/>
                        <a:gd name="connsiteX18" fmla="*/ 1340 w 3817"/>
                        <a:gd name="connsiteY18" fmla="*/ 3673 h 3672"/>
                        <a:gd name="connsiteX19" fmla="*/ 2058 w 3817"/>
                        <a:gd name="connsiteY19" fmla="*/ 3613 h 3672"/>
                        <a:gd name="connsiteX20" fmla="*/ 2776 w 3817"/>
                        <a:gd name="connsiteY20" fmla="*/ 3314 h 3672"/>
                        <a:gd name="connsiteX21" fmla="*/ 3374 w 3817"/>
                        <a:gd name="connsiteY21" fmla="*/ 2776 h 3672"/>
                        <a:gd name="connsiteX22" fmla="*/ 3733 w 3817"/>
                        <a:gd name="connsiteY22" fmla="*/ 2058 h 3672"/>
                        <a:gd name="connsiteX23" fmla="*/ 3792 w 3817"/>
                        <a:gd name="connsiteY23" fmla="*/ 1341 h 3672"/>
                        <a:gd name="connsiteX24" fmla="*/ 3613 w 3817"/>
                        <a:gd name="connsiteY24" fmla="*/ 742 h 3672"/>
                        <a:gd name="connsiteX25" fmla="*/ 3135 w 3817"/>
                        <a:gd name="connsiteY25" fmla="*/ 264 h 3672"/>
                        <a:gd name="connsiteX26" fmla="*/ 2477 w 3817"/>
                        <a:gd name="connsiteY26" fmla="*/ 25 h 3672"/>
                        <a:gd name="connsiteX27" fmla="*/ 1759 w 3817"/>
                        <a:gd name="connsiteY27" fmla="*/ 85 h 3672"/>
                        <a:gd name="connsiteX28" fmla="*/ 1041 w 3817"/>
                        <a:gd name="connsiteY28" fmla="*/ 384 h 3672"/>
                        <a:gd name="connsiteX29" fmla="*/ 443 w 3817"/>
                        <a:gd name="connsiteY29" fmla="*/ 922 h 3672"/>
                        <a:gd name="connsiteX30" fmla="*/ 84 w 3817"/>
                        <a:gd name="connsiteY30" fmla="*/ 1640 h 3672"/>
                        <a:gd name="connsiteX31" fmla="*/ 25 w 3817"/>
                        <a:gd name="connsiteY31" fmla="*/ 2357 h 3672"/>
                        <a:gd name="connsiteX32" fmla="*/ 204 w 3817"/>
                        <a:gd name="connsiteY32" fmla="*/ 2955 h 3672"/>
                        <a:gd name="connsiteX33" fmla="*/ 683 w 3817"/>
                        <a:gd name="connsiteY33" fmla="*/ 3434 h 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17" h="3672">
                          <a:moveTo>
                            <a:pt x="2477" y="1161"/>
                          </a:moveTo>
                          <a:cubicBezTo>
                            <a:pt x="2537" y="1221"/>
                            <a:pt x="2596" y="1281"/>
                            <a:pt x="2656" y="1341"/>
                          </a:cubicBezTo>
                          <a:cubicBezTo>
                            <a:pt x="2716" y="1401"/>
                            <a:pt x="2716" y="1520"/>
                            <a:pt x="2716" y="1580"/>
                          </a:cubicBezTo>
                          <a:cubicBezTo>
                            <a:pt x="2716" y="1700"/>
                            <a:pt x="2716" y="1759"/>
                            <a:pt x="2656" y="1879"/>
                          </a:cubicBezTo>
                          <a:cubicBezTo>
                            <a:pt x="2596" y="1999"/>
                            <a:pt x="2596" y="2058"/>
                            <a:pt x="2477" y="2178"/>
                          </a:cubicBezTo>
                          <a:cubicBezTo>
                            <a:pt x="2417" y="2298"/>
                            <a:pt x="2297" y="2357"/>
                            <a:pt x="2238" y="2417"/>
                          </a:cubicBezTo>
                          <a:cubicBezTo>
                            <a:pt x="2118" y="2477"/>
                            <a:pt x="2058" y="2537"/>
                            <a:pt x="1938" y="2537"/>
                          </a:cubicBezTo>
                          <a:cubicBezTo>
                            <a:pt x="1819" y="2537"/>
                            <a:pt x="1759" y="2596"/>
                            <a:pt x="1639" y="2537"/>
                          </a:cubicBezTo>
                          <a:cubicBezTo>
                            <a:pt x="1520" y="2477"/>
                            <a:pt x="1460" y="2477"/>
                            <a:pt x="1400" y="2477"/>
                          </a:cubicBezTo>
                          <a:cubicBezTo>
                            <a:pt x="1340" y="2417"/>
                            <a:pt x="1221" y="2357"/>
                            <a:pt x="1221" y="2298"/>
                          </a:cubicBezTo>
                          <a:cubicBezTo>
                            <a:pt x="1161" y="2238"/>
                            <a:pt x="1161" y="2118"/>
                            <a:pt x="1101" y="2058"/>
                          </a:cubicBezTo>
                          <a:cubicBezTo>
                            <a:pt x="1101" y="1939"/>
                            <a:pt x="1101" y="1879"/>
                            <a:pt x="1101" y="1759"/>
                          </a:cubicBezTo>
                          <a:cubicBezTo>
                            <a:pt x="1161" y="1640"/>
                            <a:pt x="1161" y="1580"/>
                            <a:pt x="1281" y="1460"/>
                          </a:cubicBezTo>
                          <a:cubicBezTo>
                            <a:pt x="1340" y="1341"/>
                            <a:pt x="1460" y="1281"/>
                            <a:pt x="1520" y="1221"/>
                          </a:cubicBezTo>
                          <a:cubicBezTo>
                            <a:pt x="1639" y="1161"/>
                            <a:pt x="1699" y="1101"/>
                            <a:pt x="1819" y="1101"/>
                          </a:cubicBezTo>
                          <a:cubicBezTo>
                            <a:pt x="1938" y="1101"/>
                            <a:pt x="2058" y="1042"/>
                            <a:pt x="2118" y="1101"/>
                          </a:cubicBezTo>
                          <a:cubicBezTo>
                            <a:pt x="2297" y="1101"/>
                            <a:pt x="2417" y="1101"/>
                            <a:pt x="2477" y="1161"/>
                          </a:cubicBezTo>
                          <a:moveTo>
                            <a:pt x="683" y="3434"/>
                          </a:moveTo>
                          <a:cubicBezTo>
                            <a:pt x="862" y="3554"/>
                            <a:pt x="1101" y="3613"/>
                            <a:pt x="1340" y="3673"/>
                          </a:cubicBezTo>
                          <a:cubicBezTo>
                            <a:pt x="1579" y="3673"/>
                            <a:pt x="1819" y="3673"/>
                            <a:pt x="2058" y="3613"/>
                          </a:cubicBezTo>
                          <a:cubicBezTo>
                            <a:pt x="2297" y="3554"/>
                            <a:pt x="2537" y="3434"/>
                            <a:pt x="2776" y="3314"/>
                          </a:cubicBezTo>
                          <a:cubicBezTo>
                            <a:pt x="3015" y="3195"/>
                            <a:pt x="3194" y="3015"/>
                            <a:pt x="3374" y="2776"/>
                          </a:cubicBezTo>
                          <a:cubicBezTo>
                            <a:pt x="3553" y="2537"/>
                            <a:pt x="3673" y="2298"/>
                            <a:pt x="3733" y="2058"/>
                          </a:cubicBezTo>
                          <a:cubicBezTo>
                            <a:pt x="3792" y="1819"/>
                            <a:pt x="3852" y="1580"/>
                            <a:pt x="3792" y="1341"/>
                          </a:cubicBezTo>
                          <a:cubicBezTo>
                            <a:pt x="3733" y="1101"/>
                            <a:pt x="3733" y="922"/>
                            <a:pt x="3613" y="742"/>
                          </a:cubicBezTo>
                          <a:cubicBezTo>
                            <a:pt x="3493" y="563"/>
                            <a:pt x="3374" y="384"/>
                            <a:pt x="3135" y="264"/>
                          </a:cubicBezTo>
                          <a:cubicBezTo>
                            <a:pt x="2955" y="145"/>
                            <a:pt x="2716" y="85"/>
                            <a:pt x="2477" y="25"/>
                          </a:cubicBezTo>
                          <a:cubicBezTo>
                            <a:pt x="2238" y="-35"/>
                            <a:pt x="1998" y="25"/>
                            <a:pt x="1759" y="85"/>
                          </a:cubicBezTo>
                          <a:cubicBezTo>
                            <a:pt x="1520" y="145"/>
                            <a:pt x="1281" y="264"/>
                            <a:pt x="1041" y="384"/>
                          </a:cubicBezTo>
                          <a:cubicBezTo>
                            <a:pt x="802" y="503"/>
                            <a:pt x="623" y="683"/>
                            <a:pt x="443" y="922"/>
                          </a:cubicBezTo>
                          <a:cubicBezTo>
                            <a:pt x="264" y="1161"/>
                            <a:pt x="144" y="1401"/>
                            <a:pt x="84" y="1640"/>
                          </a:cubicBezTo>
                          <a:cubicBezTo>
                            <a:pt x="25" y="1879"/>
                            <a:pt x="-35" y="2118"/>
                            <a:pt x="25" y="2357"/>
                          </a:cubicBezTo>
                          <a:cubicBezTo>
                            <a:pt x="25" y="2596"/>
                            <a:pt x="84" y="2776"/>
                            <a:pt x="204" y="2955"/>
                          </a:cubicBezTo>
                          <a:cubicBezTo>
                            <a:pt x="324" y="3135"/>
                            <a:pt x="503" y="3314"/>
                            <a:pt x="683" y="3434"/>
                          </a:cubicBezTo>
                        </a:path>
                      </a:pathLst>
                    </a:custGeom>
                    <a:noFill/>
                    <a:ln w="6350" cap="flat">
                      <a:solidFill>
                        <a:schemeClr val="bg1">
                          <a:alpha val="80000"/>
                        </a:schemeClr>
                      </a:solidFill>
                      <a:prstDash val="solid"/>
                      <a:miter/>
                    </a:ln>
                  </p:spPr>
                  <p:txBody>
                    <a:bodyPr rtlCol="0" anchor="ctr"/>
                    <a:lstStyle/>
                    <a:p>
                      <a:endParaRPr lang="en-GB"/>
                    </a:p>
                  </p:txBody>
                </p:sp>
                <p:sp>
                  <p:nvSpPr>
                    <p:cNvPr id="7353" name="Vrije vorm: vorm 7352">
                      <a:extLst>
                        <a:ext uri="{FF2B5EF4-FFF2-40B4-BE49-F238E27FC236}">
                          <a16:creationId xmlns:a16="http://schemas.microsoft.com/office/drawing/2014/main" id="{DFF34C57-0D5C-4656-8C16-E0CBA7594988}"/>
                        </a:ext>
                      </a:extLst>
                    </p:cNvPr>
                    <p:cNvSpPr/>
                    <p:nvPr/>
                  </p:nvSpPr>
                  <p:spPr>
                    <a:xfrm>
                      <a:off x="4968898" y="5316483"/>
                      <a:ext cx="3732" cy="3613"/>
                    </a:xfrm>
                    <a:custGeom>
                      <a:avLst/>
                      <a:gdLst>
                        <a:gd name="connsiteX0" fmla="*/ 2357 w 3732"/>
                        <a:gd name="connsiteY0" fmla="*/ 1136 h 3613"/>
                        <a:gd name="connsiteX1" fmla="*/ 2537 w 3732"/>
                        <a:gd name="connsiteY1" fmla="*/ 1316 h 3613"/>
                        <a:gd name="connsiteX2" fmla="*/ 2596 w 3732"/>
                        <a:gd name="connsiteY2" fmla="*/ 1555 h 3613"/>
                        <a:gd name="connsiteX3" fmla="*/ 2537 w 3732"/>
                        <a:gd name="connsiteY3" fmla="*/ 1854 h 3613"/>
                        <a:gd name="connsiteX4" fmla="*/ 2357 w 3732"/>
                        <a:gd name="connsiteY4" fmla="*/ 2153 h 3613"/>
                        <a:gd name="connsiteX5" fmla="*/ 2118 w 3732"/>
                        <a:gd name="connsiteY5" fmla="*/ 2392 h 3613"/>
                        <a:gd name="connsiteX6" fmla="*/ 1819 w 3732"/>
                        <a:gd name="connsiteY6" fmla="*/ 2512 h 3613"/>
                        <a:gd name="connsiteX7" fmla="*/ 1520 w 3732"/>
                        <a:gd name="connsiteY7" fmla="*/ 2512 h 3613"/>
                        <a:gd name="connsiteX8" fmla="*/ 1281 w 3732"/>
                        <a:gd name="connsiteY8" fmla="*/ 2392 h 3613"/>
                        <a:gd name="connsiteX9" fmla="*/ 1101 w 3732"/>
                        <a:gd name="connsiteY9" fmla="*/ 2213 h 3613"/>
                        <a:gd name="connsiteX10" fmla="*/ 1041 w 3732"/>
                        <a:gd name="connsiteY10" fmla="*/ 1974 h 3613"/>
                        <a:gd name="connsiteX11" fmla="*/ 1101 w 3732"/>
                        <a:gd name="connsiteY11" fmla="*/ 1675 h 3613"/>
                        <a:gd name="connsiteX12" fmla="*/ 1281 w 3732"/>
                        <a:gd name="connsiteY12" fmla="*/ 1376 h 3613"/>
                        <a:gd name="connsiteX13" fmla="*/ 1520 w 3732"/>
                        <a:gd name="connsiteY13" fmla="*/ 1136 h 3613"/>
                        <a:gd name="connsiteX14" fmla="*/ 1819 w 3732"/>
                        <a:gd name="connsiteY14" fmla="*/ 1017 h 3613"/>
                        <a:gd name="connsiteX15" fmla="*/ 2118 w 3732"/>
                        <a:gd name="connsiteY15" fmla="*/ 1017 h 3613"/>
                        <a:gd name="connsiteX16" fmla="*/ 2357 w 3732"/>
                        <a:gd name="connsiteY16" fmla="*/ 1136 h 3613"/>
                        <a:gd name="connsiteX17" fmla="*/ 563 w 3732"/>
                        <a:gd name="connsiteY17" fmla="*/ 3349 h 3613"/>
                        <a:gd name="connsiteX18" fmla="*/ 1221 w 3732"/>
                        <a:gd name="connsiteY18" fmla="*/ 3589 h 3613"/>
                        <a:gd name="connsiteX19" fmla="*/ 1939 w 3732"/>
                        <a:gd name="connsiteY19" fmla="*/ 3529 h 3613"/>
                        <a:gd name="connsiteX20" fmla="*/ 2656 w 3732"/>
                        <a:gd name="connsiteY20" fmla="*/ 3230 h 3613"/>
                        <a:gd name="connsiteX21" fmla="*/ 3254 w 3732"/>
                        <a:gd name="connsiteY21" fmla="*/ 2691 h 3613"/>
                        <a:gd name="connsiteX22" fmla="*/ 3613 w 3732"/>
                        <a:gd name="connsiteY22" fmla="*/ 2034 h 3613"/>
                        <a:gd name="connsiteX23" fmla="*/ 3733 w 3732"/>
                        <a:gd name="connsiteY23" fmla="*/ 1316 h 3613"/>
                        <a:gd name="connsiteX24" fmla="*/ 3554 w 3732"/>
                        <a:gd name="connsiteY24" fmla="*/ 718 h 3613"/>
                        <a:gd name="connsiteX25" fmla="*/ 3135 w 3732"/>
                        <a:gd name="connsiteY25" fmla="*/ 239 h 3613"/>
                        <a:gd name="connsiteX26" fmla="*/ 2477 w 3732"/>
                        <a:gd name="connsiteY26" fmla="*/ 0 h 3613"/>
                        <a:gd name="connsiteX27" fmla="*/ 1759 w 3732"/>
                        <a:gd name="connsiteY27" fmla="*/ 60 h 3613"/>
                        <a:gd name="connsiteX28" fmla="*/ 1041 w 3732"/>
                        <a:gd name="connsiteY28" fmla="*/ 359 h 3613"/>
                        <a:gd name="connsiteX29" fmla="*/ 443 w 3732"/>
                        <a:gd name="connsiteY29" fmla="*/ 897 h 3613"/>
                        <a:gd name="connsiteX30" fmla="*/ 85 w 3732"/>
                        <a:gd name="connsiteY30" fmla="*/ 1615 h 3613"/>
                        <a:gd name="connsiteX31" fmla="*/ 25 w 3732"/>
                        <a:gd name="connsiteY31" fmla="*/ 2333 h 3613"/>
                        <a:gd name="connsiteX32" fmla="*/ 204 w 3732"/>
                        <a:gd name="connsiteY32" fmla="*/ 2931 h 3613"/>
                        <a:gd name="connsiteX33" fmla="*/ 563 w 3732"/>
                        <a:gd name="connsiteY33" fmla="*/ 3349 h 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732" h="3613">
                          <a:moveTo>
                            <a:pt x="2357" y="1136"/>
                          </a:moveTo>
                          <a:cubicBezTo>
                            <a:pt x="2417" y="1196"/>
                            <a:pt x="2477" y="1256"/>
                            <a:pt x="2537" y="1316"/>
                          </a:cubicBezTo>
                          <a:cubicBezTo>
                            <a:pt x="2596" y="1376"/>
                            <a:pt x="2596" y="1495"/>
                            <a:pt x="2596" y="1555"/>
                          </a:cubicBezTo>
                          <a:cubicBezTo>
                            <a:pt x="2596" y="1615"/>
                            <a:pt x="2596" y="1735"/>
                            <a:pt x="2537" y="1854"/>
                          </a:cubicBezTo>
                          <a:cubicBezTo>
                            <a:pt x="2477" y="1974"/>
                            <a:pt x="2477" y="2034"/>
                            <a:pt x="2357" y="2153"/>
                          </a:cubicBezTo>
                          <a:cubicBezTo>
                            <a:pt x="2298" y="2273"/>
                            <a:pt x="2178" y="2333"/>
                            <a:pt x="2118" y="2392"/>
                          </a:cubicBezTo>
                          <a:cubicBezTo>
                            <a:pt x="1999" y="2452"/>
                            <a:pt x="1939" y="2512"/>
                            <a:pt x="1819" y="2512"/>
                          </a:cubicBezTo>
                          <a:cubicBezTo>
                            <a:pt x="1700" y="2512"/>
                            <a:pt x="1640" y="2512"/>
                            <a:pt x="1520" y="2512"/>
                          </a:cubicBezTo>
                          <a:cubicBezTo>
                            <a:pt x="1400" y="2512"/>
                            <a:pt x="1341" y="2452"/>
                            <a:pt x="1281" y="2392"/>
                          </a:cubicBezTo>
                          <a:cubicBezTo>
                            <a:pt x="1221" y="2333"/>
                            <a:pt x="1101" y="2273"/>
                            <a:pt x="1101" y="2213"/>
                          </a:cubicBezTo>
                          <a:cubicBezTo>
                            <a:pt x="1041" y="2153"/>
                            <a:pt x="1041" y="2034"/>
                            <a:pt x="1041" y="1974"/>
                          </a:cubicBezTo>
                          <a:cubicBezTo>
                            <a:pt x="1041" y="1854"/>
                            <a:pt x="1041" y="1795"/>
                            <a:pt x="1101" y="1675"/>
                          </a:cubicBezTo>
                          <a:cubicBezTo>
                            <a:pt x="1161" y="1555"/>
                            <a:pt x="1161" y="1495"/>
                            <a:pt x="1281" y="1376"/>
                          </a:cubicBezTo>
                          <a:cubicBezTo>
                            <a:pt x="1341" y="1256"/>
                            <a:pt x="1460" y="1196"/>
                            <a:pt x="1520" y="1136"/>
                          </a:cubicBezTo>
                          <a:cubicBezTo>
                            <a:pt x="1640" y="1076"/>
                            <a:pt x="1700" y="1017"/>
                            <a:pt x="1819" y="1017"/>
                          </a:cubicBezTo>
                          <a:cubicBezTo>
                            <a:pt x="1939" y="1017"/>
                            <a:pt x="1999" y="1017"/>
                            <a:pt x="2118" y="1017"/>
                          </a:cubicBezTo>
                          <a:cubicBezTo>
                            <a:pt x="2238" y="1017"/>
                            <a:pt x="2238" y="1076"/>
                            <a:pt x="2357" y="1136"/>
                          </a:cubicBezTo>
                          <a:moveTo>
                            <a:pt x="563" y="3349"/>
                          </a:moveTo>
                          <a:cubicBezTo>
                            <a:pt x="742" y="3469"/>
                            <a:pt x="982" y="3529"/>
                            <a:pt x="1221" y="3589"/>
                          </a:cubicBezTo>
                          <a:cubicBezTo>
                            <a:pt x="1460" y="3649"/>
                            <a:pt x="1700" y="3589"/>
                            <a:pt x="1939" y="3529"/>
                          </a:cubicBezTo>
                          <a:cubicBezTo>
                            <a:pt x="2178" y="3469"/>
                            <a:pt x="2417" y="3349"/>
                            <a:pt x="2656" y="3230"/>
                          </a:cubicBezTo>
                          <a:cubicBezTo>
                            <a:pt x="2895" y="3110"/>
                            <a:pt x="3075" y="2931"/>
                            <a:pt x="3254" y="2691"/>
                          </a:cubicBezTo>
                          <a:cubicBezTo>
                            <a:pt x="3434" y="2452"/>
                            <a:pt x="3554" y="2273"/>
                            <a:pt x="3613" y="2034"/>
                          </a:cubicBezTo>
                          <a:cubicBezTo>
                            <a:pt x="3673" y="1795"/>
                            <a:pt x="3733" y="1555"/>
                            <a:pt x="3733" y="1316"/>
                          </a:cubicBezTo>
                          <a:cubicBezTo>
                            <a:pt x="3733" y="1076"/>
                            <a:pt x="3673" y="897"/>
                            <a:pt x="3554" y="718"/>
                          </a:cubicBezTo>
                          <a:cubicBezTo>
                            <a:pt x="3434" y="538"/>
                            <a:pt x="3314" y="359"/>
                            <a:pt x="3135" y="239"/>
                          </a:cubicBezTo>
                          <a:cubicBezTo>
                            <a:pt x="2955" y="120"/>
                            <a:pt x="2716" y="60"/>
                            <a:pt x="2477" y="0"/>
                          </a:cubicBezTo>
                          <a:cubicBezTo>
                            <a:pt x="2238" y="0"/>
                            <a:pt x="1999" y="0"/>
                            <a:pt x="1759" y="60"/>
                          </a:cubicBezTo>
                          <a:cubicBezTo>
                            <a:pt x="1520" y="120"/>
                            <a:pt x="1281" y="239"/>
                            <a:pt x="1041" y="359"/>
                          </a:cubicBezTo>
                          <a:cubicBezTo>
                            <a:pt x="802" y="479"/>
                            <a:pt x="623" y="658"/>
                            <a:pt x="443" y="897"/>
                          </a:cubicBezTo>
                          <a:cubicBezTo>
                            <a:pt x="264" y="1136"/>
                            <a:pt x="145" y="1376"/>
                            <a:pt x="85" y="1615"/>
                          </a:cubicBezTo>
                          <a:cubicBezTo>
                            <a:pt x="25" y="1854"/>
                            <a:pt x="-35" y="2093"/>
                            <a:pt x="25" y="2333"/>
                          </a:cubicBezTo>
                          <a:cubicBezTo>
                            <a:pt x="25" y="2572"/>
                            <a:pt x="85" y="2751"/>
                            <a:pt x="204" y="2931"/>
                          </a:cubicBezTo>
                          <a:cubicBezTo>
                            <a:pt x="264" y="3050"/>
                            <a:pt x="384" y="3230"/>
                            <a:pt x="563" y="3349"/>
                          </a:cubicBezTo>
                        </a:path>
                      </a:pathLst>
                    </a:custGeom>
                    <a:noFill/>
                    <a:ln w="6350" cap="flat">
                      <a:solidFill>
                        <a:schemeClr val="bg1">
                          <a:alpha val="80000"/>
                        </a:schemeClr>
                      </a:solidFill>
                      <a:prstDash val="solid"/>
                      <a:miter/>
                    </a:ln>
                  </p:spPr>
                  <p:txBody>
                    <a:bodyPr rtlCol="0" anchor="ctr"/>
                    <a:lstStyle/>
                    <a:p>
                      <a:endParaRPr lang="en-GB"/>
                    </a:p>
                  </p:txBody>
                </p:sp>
                <p:sp>
                  <p:nvSpPr>
                    <p:cNvPr id="7354" name="Vrije vorm: vorm 7353">
                      <a:extLst>
                        <a:ext uri="{FF2B5EF4-FFF2-40B4-BE49-F238E27FC236}">
                          <a16:creationId xmlns:a16="http://schemas.microsoft.com/office/drawing/2014/main" id="{FB0BC094-AC28-42ED-BA15-0CBD3A200C95}"/>
                        </a:ext>
                      </a:extLst>
                    </p:cNvPr>
                    <p:cNvSpPr/>
                    <p:nvPr/>
                  </p:nvSpPr>
                  <p:spPr>
                    <a:xfrm>
                      <a:off x="5054507" y="5363491"/>
                      <a:ext cx="29066" cy="25059"/>
                    </a:xfrm>
                    <a:custGeom>
                      <a:avLst/>
                      <a:gdLst>
                        <a:gd name="connsiteX0" fmla="*/ 23564 w 29066"/>
                        <a:gd name="connsiteY0" fmla="*/ 10107 h 25059"/>
                        <a:gd name="connsiteX1" fmla="*/ 24521 w 29066"/>
                        <a:gd name="connsiteY1" fmla="*/ 10705 h 25059"/>
                        <a:gd name="connsiteX2" fmla="*/ 24700 w 29066"/>
                        <a:gd name="connsiteY2" fmla="*/ 10466 h 25059"/>
                        <a:gd name="connsiteX3" fmla="*/ 24880 w 29066"/>
                        <a:gd name="connsiteY3" fmla="*/ 10227 h 25059"/>
                        <a:gd name="connsiteX4" fmla="*/ 25059 w 29066"/>
                        <a:gd name="connsiteY4" fmla="*/ 9988 h 25059"/>
                        <a:gd name="connsiteX5" fmla="*/ 25239 w 29066"/>
                        <a:gd name="connsiteY5" fmla="*/ 9749 h 25059"/>
                        <a:gd name="connsiteX6" fmla="*/ 24282 w 29066"/>
                        <a:gd name="connsiteY6" fmla="*/ 9150 h 25059"/>
                        <a:gd name="connsiteX7" fmla="*/ 24102 w 29066"/>
                        <a:gd name="connsiteY7" fmla="*/ 9389 h 25059"/>
                        <a:gd name="connsiteX8" fmla="*/ 23923 w 29066"/>
                        <a:gd name="connsiteY8" fmla="*/ 9629 h 25059"/>
                        <a:gd name="connsiteX9" fmla="*/ 23744 w 29066"/>
                        <a:gd name="connsiteY9" fmla="*/ 9868 h 25059"/>
                        <a:gd name="connsiteX10" fmla="*/ 23564 w 29066"/>
                        <a:gd name="connsiteY10" fmla="*/ 10107 h 25059"/>
                        <a:gd name="connsiteX11" fmla="*/ 19736 w 29066"/>
                        <a:gd name="connsiteY11" fmla="*/ 7595 h 25059"/>
                        <a:gd name="connsiteX12" fmla="*/ 22846 w 29066"/>
                        <a:gd name="connsiteY12" fmla="*/ 9629 h 25059"/>
                        <a:gd name="connsiteX13" fmla="*/ 23026 w 29066"/>
                        <a:gd name="connsiteY13" fmla="*/ 9389 h 25059"/>
                        <a:gd name="connsiteX14" fmla="*/ 23205 w 29066"/>
                        <a:gd name="connsiteY14" fmla="*/ 9150 h 25059"/>
                        <a:gd name="connsiteX15" fmla="*/ 23385 w 29066"/>
                        <a:gd name="connsiteY15" fmla="*/ 8911 h 25059"/>
                        <a:gd name="connsiteX16" fmla="*/ 23564 w 29066"/>
                        <a:gd name="connsiteY16" fmla="*/ 8672 h 25059"/>
                        <a:gd name="connsiteX17" fmla="*/ 20454 w 29066"/>
                        <a:gd name="connsiteY17" fmla="*/ 6698 h 25059"/>
                        <a:gd name="connsiteX18" fmla="*/ 20275 w 29066"/>
                        <a:gd name="connsiteY18" fmla="*/ 6937 h 25059"/>
                        <a:gd name="connsiteX19" fmla="*/ 20095 w 29066"/>
                        <a:gd name="connsiteY19" fmla="*/ 7177 h 25059"/>
                        <a:gd name="connsiteX20" fmla="*/ 19916 w 29066"/>
                        <a:gd name="connsiteY20" fmla="*/ 7416 h 25059"/>
                        <a:gd name="connsiteX21" fmla="*/ 19736 w 29066"/>
                        <a:gd name="connsiteY21" fmla="*/ 7595 h 25059"/>
                        <a:gd name="connsiteX22" fmla="*/ 18002 w 29066"/>
                        <a:gd name="connsiteY22" fmla="*/ 6519 h 25059"/>
                        <a:gd name="connsiteX23" fmla="*/ 18959 w 29066"/>
                        <a:gd name="connsiteY23" fmla="*/ 7177 h 25059"/>
                        <a:gd name="connsiteX24" fmla="*/ 19138 w 29066"/>
                        <a:gd name="connsiteY24" fmla="*/ 6937 h 25059"/>
                        <a:gd name="connsiteX25" fmla="*/ 19318 w 29066"/>
                        <a:gd name="connsiteY25" fmla="*/ 6698 h 25059"/>
                        <a:gd name="connsiteX26" fmla="*/ 19497 w 29066"/>
                        <a:gd name="connsiteY26" fmla="*/ 6459 h 25059"/>
                        <a:gd name="connsiteX27" fmla="*/ 19676 w 29066"/>
                        <a:gd name="connsiteY27" fmla="*/ 6220 h 25059"/>
                        <a:gd name="connsiteX28" fmla="*/ 18720 w 29066"/>
                        <a:gd name="connsiteY28" fmla="*/ 5622 h 25059"/>
                        <a:gd name="connsiteX29" fmla="*/ 18540 w 29066"/>
                        <a:gd name="connsiteY29" fmla="*/ 5861 h 25059"/>
                        <a:gd name="connsiteX30" fmla="*/ 18361 w 29066"/>
                        <a:gd name="connsiteY30" fmla="*/ 6100 h 25059"/>
                        <a:gd name="connsiteX31" fmla="*/ 18181 w 29066"/>
                        <a:gd name="connsiteY31" fmla="*/ 6340 h 25059"/>
                        <a:gd name="connsiteX32" fmla="*/ 18002 w 29066"/>
                        <a:gd name="connsiteY32" fmla="*/ 6519 h 25059"/>
                        <a:gd name="connsiteX33" fmla="*/ 13516 w 29066"/>
                        <a:gd name="connsiteY33" fmla="*/ 3588 h 25059"/>
                        <a:gd name="connsiteX34" fmla="*/ 17284 w 29066"/>
                        <a:gd name="connsiteY34" fmla="*/ 6040 h 25059"/>
                        <a:gd name="connsiteX35" fmla="*/ 17464 w 29066"/>
                        <a:gd name="connsiteY35" fmla="*/ 5801 h 25059"/>
                        <a:gd name="connsiteX36" fmla="*/ 17643 w 29066"/>
                        <a:gd name="connsiteY36" fmla="*/ 5562 h 25059"/>
                        <a:gd name="connsiteX37" fmla="*/ 17822 w 29066"/>
                        <a:gd name="connsiteY37" fmla="*/ 5323 h 25059"/>
                        <a:gd name="connsiteX38" fmla="*/ 18002 w 29066"/>
                        <a:gd name="connsiteY38" fmla="*/ 5083 h 25059"/>
                        <a:gd name="connsiteX39" fmla="*/ 14294 w 29066"/>
                        <a:gd name="connsiteY39" fmla="*/ 2691 h 25059"/>
                        <a:gd name="connsiteX40" fmla="*/ 14114 w 29066"/>
                        <a:gd name="connsiteY40" fmla="*/ 2930 h 25059"/>
                        <a:gd name="connsiteX41" fmla="*/ 13935 w 29066"/>
                        <a:gd name="connsiteY41" fmla="*/ 3170 h 25059"/>
                        <a:gd name="connsiteX42" fmla="*/ 13756 w 29066"/>
                        <a:gd name="connsiteY42" fmla="*/ 3409 h 25059"/>
                        <a:gd name="connsiteX43" fmla="*/ 13516 w 29066"/>
                        <a:gd name="connsiteY43" fmla="*/ 3588 h 25059"/>
                        <a:gd name="connsiteX44" fmla="*/ 11842 w 29066"/>
                        <a:gd name="connsiteY44" fmla="*/ 2512 h 25059"/>
                        <a:gd name="connsiteX45" fmla="*/ 12799 w 29066"/>
                        <a:gd name="connsiteY45" fmla="*/ 3110 h 25059"/>
                        <a:gd name="connsiteX46" fmla="*/ 12978 w 29066"/>
                        <a:gd name="connsiteY46" fmla="*/ 2871 h 25059"/>
                        <a:gd name="connsiteX47" fmla="*/ 13158 w 29066"/>
                        <a:gd name="connsiteY47" fmla="*/ 2632 h 25059"/>
                        <a:gd name="connsiteX48" fmla="*/ 13337 w 29066"/>
                        <a:gd name="connsiteY48" fmla="*/ 2392 h 25059"/>
                        <a:gd name="connsiteX49" fmla="*/ 13516 w 29066"/>
                        <a:gd name="connsiteY49" fmla="*/ 2153 h 25059"/>
                        <a:gd name="connsiteX50" fmla="*/ 12560 w 29066"/>
                        <a:gd name="connsiteY50" fmla="*/ 1555 h 25059"/>
                        <a:gd name="connsiteX51" fmla="*/ 12380 w 29066"/>
                        <a:gd name="connsiteY51" fmla="*/ 1794 h 25059"/>
                        <a:gd name="connsiteX52" fmla="*/ 12201 w 29066"/>
                        <a:gd name="connsiteY52" fmla="*/ 2033 h 25059"/>
                        <a:gd name="connsiteX53" fmla="*/ 12021 w 29066"/>
                        <a:gd name="connsiteY53" fmla="*/ 2273 h 25059"/>
                        <a:gd name="connsiteX54" fmla="*/ 11842 w 29066"/>
                        <a:gd name="connsiteY54" fmla="*/ 2512 h 25059"/>
                        <a:gd name="connsiteX55" fmla="*/ 23086 w 29066"/>
                        <a:gd name="connsiteY55" fmla="*/ 18480 h 25059"/>
                        <a:gd name="connsiteX56" fmla="*/ 23803 w 29066"/>
                        <a:gd name="connsiteY56" fmla="*/ 18959 h 25059"/>
                        <a:gd name="connsiteX57" fmla="*/ 29066 w 29066"/>
                        <a:gd name="connsiteY57" fmla="*/ 12320 h 25059"/>
                        <a:gd name="connsiteX58" fmla="*/ 25956 w 29066"/>
                        <a:gd name="connsiteY58" fmla="*/ 10287 h 25059"/>
                        <a:gd name="connsiteX59" fmla="*/ 25777 w 29066"/>
                        <a:gd name="connsiteY59" fmla="*/ 10526 h 25059"/>
                        <a:gd name="connsiteX60" fmla="*/ 25598 w 29066"/>
                        <a:gd name="connsiteY60" fmla="*/ 10765 h 25059"/>
                        <a:gd name="connsiteX61" fmla="*/ 25418 w 29066"/>
                        <a:gd name="connsiteY61" fmla="*/ 11004 h 25059"/>
                        <a:gd name="connsiteX62" fmla="*/ 25239 w 29066"/>
                        <a:gd name="connsiteY62" fmla="*/ 11244 h 25059"/>
                        <a:gd name="connsiteX63" fmla="*/ 27631 w 29066"/>
                        <a:gd name="connsiteY63" fmla="*/ 12798 h 25059"/>
                        <a:gd name="connsiteX64" fmla="*/ 23086 w 29066"/>
                        <a:gd name="connsiteY64" fmla="*/ 18480 h 25059"/>
                        <a:gd name="connsiteX65" fmla="*/ 4844 w 29066"/>
                        <a:gd name="connsiteY65" fmla="*/ 6818 h 25059"/>
                        <a:gd name="connsiteX66" fmla="*/ 5622 w 29066"/>
                        <a:gd name="connsiteY66" fmla="*/ 7296 h 25059"/>
                        <a:gd name="connsiteX67" fmla="*/ 10227 w 29066"/>
                        <a:gd name="connsiteY67" fmla="*/ 1495 h 25059"/>
                        <a:gd name="connsiteX68" fmla="*/ 11124 w 29066"/>
                        <a:gd name="connsiteY68" fmla="*/ 2033 h 25059"/>
                        <a:gd name="connsiteX69" fmla="*/ 11304 w 29066"/>
                        <a:gd name="connsiteY69" fmla="*/ 1794 h 25059"/>
                        <a:gd name="connsiteX70" fmla="*/ 11483 w 29066"/>
                        <a:gd name="connsiteY70" fmla="*/ 1555 h 25059"/>
                        <a:gd name="connsiteX71" fmla="*/ 11662 w 29066"/>
                        <a:gd name="connsiteY71" fmla="*/ 1316 h 25059"/>
                        <a:gd name="connsiteX72" fmla="*/ 11842 w 29066"/>
                        <a:gd name="connsiteY72" fmla="*/ 1076 h 25059"/>
                        <a:gd name="connsiteX73" fmla="*/ 10646 w 29066"/>
                        <a:gd name="connsiteY73" fmla="*/ 299 h 25059"/>
                        <a:gd name="connsiteX74" fmla="*/ 10227 w 29066"/>
                        <a:gd name="connsiteY74" fmla="*/ 0 h 25059"/>
                        <a:gd name="connsiteX75" fmla="*/ 4844 w 29066"/>
                        <a:gd name="connsiteY75" fmla="*/ 6818 h 25059"/>
                        <a:gd name="connsiteX76" fmla="*/ 21231 w 29066"/>
                        <a:gd name="connsiteY76" fmla="*/ 20813 h 25059"/>
                        <a:gd name="connsiteX77" fmla="*/ 21949 w 29066"/>
                        <a:gd name="connsiteY77" fmla="*/ 21291 h 25059"/>
                        <a:gd name="connsiteX78" fmla="*/ 23086 w 29066"/>
                        <a:gd name="connsiteY78" fmla="*/ 19856 h 25059"/>
                        <a:gd name="connsiteX79" fmla="*/ 22368 w 29066"/>
                        <a:gd name="connsiteY79" fmla="*/ 19377 h 25059"/>
                        <a:gd name="connsiteX80" fmla="*/ 21231 w 29066"/>
                        <a:gd name="connsiteY80" fmla="*/ 20813 h 25059"/>
                        <a:gd name="connsiteX81" fmla="*/ 2990 w 29066"/>
                        <a:gd name="connsiteY81" fmla="*/ 9150 h 25059"/>
                        <a:gd name="connsiteX82" fmla="*/ 3768 w 29066"/>
                        <a:gd name="connsiteY82" fmla="*/ 9629 h 25059"/>
                        <a:gd name="connsiteX83" fmla="*/ 4904 w 29066"/>
                        <a:gd name="connsiteY83" fmla="*/ 8134 h 25059"/>
                        <a:gd name="connsiteX84" fmla="*/ 4127 w 29066"/>
                        <a:gd name="connsiteY84" fmla="*/ 7655 h 25059"/>
                        <a:gd name="connsiteX85" fmla="*/ 2990 w 29066"/>
                        <a:gd name="connsiteY85" fmla="*/ 9150 h 25059"/>
                        <a:gd name="connsiteX86" fmla="*/ 7895 w 29066"/>
                        <a:gd name="connsiteY86" fmla="*/ 18002 h 25059"/>
                        <a:gd name="connsiteX87" fmla="*/ 18959 w 29066"/>
                        <a:gd name="connsiteY87" fmla="*/ 25059 h 25059"/>
                        <a:gd name="connsiteX88" fmla="*/ 21231 w 29066"/>
                        <a:gd name="connsiteY88" fmla="*/ 22128 h 25059"/>
                        <a:gd name="connsiteX89" fmla="*/ 20514 w 29066"/>
                        <a:gd name="connsiteY89" fmla="*/ 21650 h 25059"/>
                        <a:gd name="connsiteX90" fmla="*/ 18899 w 29066"/>
                        <a:gd name="connsiteY90" fmla="*/ 23683 h 25059"/>
                        <a:gd name="connsiteX91" fmla="*/ 8552 w 29066"/>
                        <a:gd name="connsiteY91" fmla="*/ 17105 h 25059"/>
                        <a:gd name="connsiteX92" fmla="*/ 7895 w 29066"/>
                        <a:gd name="connsiteY92" fmla="*/ 18002 h 25059"/>
                        <a:gd name="connsiteX93" fmla="*/ 2333 w 29066"/>
                        <a:gd name="connsiteY93" fmla="*/ 14473 h 25059"/>
                        <a:gd name="connsiteX94" fmla="*/ 7177 w 29066"/>
                        <a:gd name="connsiteY94" fmla="*/ 17523 h 25059"/>
                        <a:gd name="connsiteX95" fmla="*/ 7895 w 29066"/>
                        <a:gd name="connsiteY95" fmla="*/ 16626 h 25059"/>
                        <a:gd name="connsiteX96" fmla="*/ 3050 w 29066"/>
                        <a:gd name="connsiteY96" fmla="*/ 13576 h 25059"/>
                        <a:gd name="connsiteX97" fmla="*/ 2333 w 29066"/>
                        <a:gd name="connsiteY97" fmla="*/ 14473 h 25059"/>
                        <a:gd name="connsiteX98" fmla="*/ 0 w 29066"/>
                        <a:gd name="connsiteY98" fmla="*/ 12978 h 25059"/>
                        <a:gd name="connsiteX99" fmla="*/ 419 w 29066"/>
                        <a:gd name="connsiteY99" fmla="*/ 13277 h 25059"/>
                        <a:gd name="connsiteX100" fmla="*/ 1615 w 29066"/>
                        <a:gd name="connsiteY100" fmla="*/ 13995 h 25059"/>
                        <a:gd name="connsiteX101" fmla="*/ 2333 w 29066"/>
                        <a:gd name="connsiteY101" fmla="*/ 13098 h 25059"/>
                        <a:gd name="connsiteX102" fmla="*/ 1495 w 29066"/>
                        <a:gd name="connsiteY102" fmla="*/ 12559 h 25059"/>
                        <a:gd name="connsiteX103" fmla="*/ 3110 w 29066"/>
                        <a:gd name="connsiteY103" fmla="*/ 10526 h 25059"/>
                        <a:gd name="connsiteX104" fmla="*/ 2333 w 29066"/>
                        <a:gd name="connsiteY104" fmla="*/ 10048 h 25059"/>
                        <a:gd name="connsiteX105" fmla="*/ 0 w 29066"/>
                        <a:gd name="connsiteY105" fmla="*/ 12978 h 25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9066" h="25059">
                          <a:moveTo>
                            <a:pt x="23564" y="10107"/>
                          </a:moveTo>
                          <a:lnTo>
                            <a:pt x="24521" y="10705"/>
                          </a:lnTo>
                          <a:cubicBezTo>
                            <a:pt x="24581" y="10645"/>
                            <a:pt x="24641" y="10586"/>
                            <a:pt x="24700" y="10466"/>
                          </a:cubicBezTo>
                          <a:cubicBezTo>
                            <a:pt x="24760" y="10406"/>
                            <a:pt x="24820" y="10347"/>
                            <a:pt x="24880" y="10227"/>
                          </a:cubicBezTo>
                          <a:cubicBezTo>
                            <a:pt x="24940" y="10107"/>
                            <a:pt x="24999" y="10107"/>
                            <a:pt x="25059" y="9988"/>
                          </a:cubicBezTo>
                          <a:cubicBezTo>
                            <a:pt x="25119" y="9928"/>
                            <a:pt x="25179" y="9868"/>
                            <a:pt x="25239" y="9749"/>
                          </a:cubicBezTo>
                          <a:lnTo>
                            <a:pt x="24282" y="9150"/>
                          </a:lnTo>
                          <a:cubicBezTo>
                            <a:pt x="24222" y="9210"/>
                            <a:pt x="24162" y="9270"/>
                            <a:pt x="24102" y="9389"/>
                          </a:cubicBezTo>
                          <a:cubicBezTo>
                            <a:pt x="24043" y="9509"/>
                            <a:pt x="23983" y="9509"/>
                            <a:pt x="23923" y="9629"/>
                          </a:cubicBezTo>
                          <a:cubicBezTo>
                            <a:pt x="23863" y="9689"/>
                            <a:pt x="23803" y="9749"/>
                            <a:pt x="23744" y="9868"/>
                          </a:cubicBezTo>
                          <a:cubicBezTo>
                            <a:pt x="23684" y="9988"/>
                            <a:pt x="23624" y="10048"/>
                            <a:pt x="23564" y="10107"/>
                          </a:cubicBezTo>
                          <a:moveTo>
                            <a:pt x="19736" y="7595"/>
                          </a:moveTo>
                          <a:lnTo>
                            <a:pt x="22846" y="9629"/>
                          </a:lnTo>
                          <a:cubicBezTo>
                            <a:pt x="22906" y="9569"/>
                            <a:pt x="22966" y="9509"/>
                            <a:pt x="23026" y="9389"/>
                          </a:cubicBezTo>
                          <a:cubicBezTo>
                            <a:pt x="23086" y="9330"/>
                            <a:pt x="23145" y="9270"/>
                            <a:pt x="23205" y="9150"/>
                          </a:cubicBezTo>
                          <a:cubicBezTo>
                            <a:pt x="23265" y="9090"/>
                            <a:pt x="23325" y="9031"/>
                            <a:pt x="23385" y="8911"/>
                          </a:cubicBezTo>
                          <a:cubicBezTo>
                            <a:pt x="23444" y="8851"/>
                            <a:pt x="23504" y="8791"/>
                            <a:pt x="23564" y="8672"/>
                          </a:cubicBezTo>
                          <a:lnTo>
                            <a:pt x="20454" y="6698"/>
                          </a:lnTo>
                          <a:cubicBezTo>
                            <a:pt x="20394" y="6758"/>
                            <a:pt x="20335" y="6818"/>
                            <a:pt x="20275" y="6937"/>
                          </a:cubicBezTo>
                          <a:cubicBezTo>
                            <a:pt x="20215" y="6997"/>
                            <a:pt x="20155" y="7057"/>
                            <a:pt x="20095" y="7177"/>
                          </a:cubicBezTo>
                          <a:cubicBezTo>
                            <a:pt x="20036" y="7236"/>
                            <a:pt x="19976" y="7296"/>
                            <a:pt x="19916" y="7416"/>
                          </a:cubicBezTo>
                          <a:cubicBezTo>
                            <a:pt x="19856" y="7476"/>
                            <a:pt x="19796" y="7535"/>
                            <a:pt x="19736" y="7595"/>
                          </a:cubicBezTo>
                          <a:moveTo>
                            <a:pt x="18002" y="6519"/>
                          </a:moveTo>
                          <a:lnTo>
                            <a:pt x="18959" y="7177"/>
                          </a:lnTo>
                          <a:cubicBezTo>
                            <a:pt x="19019" y="7117"/>
                            <a:pt x="19079" y="7057"/>
                            <a:pt x="19138" y="6937"/>
                          </a:cubicBezTo>
                          <a:cubicBezTo>
                            <a:pt x="19198" y="6878"/>
                            <a:pt x="19258" y="6818"/>
                            <a:pt x="19318" y="6698"/>
                          </a:cubicBezTo>
                          <a:cubicBezTo>
                            <a:pt x="19377" y="6639"/>
                            <a:pt x="19437" y="6579"/>
                            <a:pt x="19497" y="6459"/>
                          </a:cubicBezTo>
                          <a:cubicBezTo>
                            <a:pt x="19557" y="6399"/>
                            <a:pt x="19617" y="6340"/>
                            <a:pt x="19676" y="6220"/>
                          </a:cubicBezTo>
                          <a:lnTo>
                            <a:pt x="18720" y="5622"/>
                          </a:lnTo>
                          <a:cubicBezTo>
                            <a:pt x="18660" y="5681"/>
                            <a:pt x="18600" y="5741"/>
                            <a:pt x="18540" y="5861"/>
                          </a:cubicBezTo>
                          <a:cubicBezTo>
                            <a:pt x="18481" y="5921"/>
                            <a:pt x="18421" y="5981"/>
                            <a:pt x="18361" y="6100"/>
                          </a:cubicBezTo>
                          <a:cubicBezTo>
                            <a:pt x="18301" y="6160"/>
                            <a:pt x="18241" y="6220"/>
                            <a:pt x="18181" y="6340"/>
                          </a:cubicBezTo>
                          <a:cubicBezTo>
                            <a:pt x="18122" y="6340"/>
                            <a:pt x="18062" y="6459"/>
                            <a:pt x="18002" y="6519"/>
                          </a:cubicBezTo>
                          <a:moveTo>
                            <a:pt x="13516" y="3588"/>
                          </a:moveTo>
                          <a:lnTo>
                            <a:pt x="17284" y="6040"/>
                          </a:lnTo>
                          <a:cubicBezTo>
                            <a:pt x="17344" y="5981"/>
                            <a:pt x="17404" y="5921"/>
                            <a:pt x="17464" y="5801"/>
                          </a:cubicBezTo>
                          <a:cubicBezTo>
                            <a:pt x="17523" y="5741"/>
                            <a:pt x="17583" y="5681"/>
                            <a:pt x="17643" y="5562"/>
                          </a:cubicBezTo>
                          <a:cubicBezTo>
                            <a:pt x="17703" y="5502"/>
                            <a:pt x="17763" y="5442"/>
                            <a:pt x="17822" y="5323"/>
                          </a:cubicBezTo>
                          <a:cubicBezTo>
                            <a:pt x="17882" y="5263"/>
                            <a:pt x="17942" y="5203"/>
                            <a:pt x="18002" y="5083"/>
                          </a:cubicBezTo>
                          <a:lnTo>
                            <a:pt x="14294" y="2691"/>
                          </a:lnTo>
                          <a:cubicBezTo>
                            <a:pt x="14234" y="2751"/>
                            <a:pt x="14174" y="2811"/>
                            <a:pt x="14114" y="2930"/>
                          </a:cubicBezTo>
                          <a:cubicBezTo>
                            <a:pt x="14055" y="3050"/>
                            <a:pt x="13995" y="3050"/>
                            <a:pt x="13935" y="3170"/>
                          </a:cubicBezTo>
                          <a:cubicBezTo>
                            <a:pt x="13875" y="3229"/>
                            <a:pt x="13815" y="3289"/>
                            <a:pt x="13756" y="3409"/>
                          </a:cubicBezTo>
                          <a:cubicBezTo>
                            <a:pt x="13636" y="3469"/>
                            <a:pt x="13576" y="3528"/>
                            <a:pt x="13516" y="3588"/>
                          </a:cubicBezTo>
                          <a:moveTo>
                            <a:pt x="11842" y="2512"/>
                          </a:moveTo>
                          <a:lnTo>
                            <a:pt x="12799" y="3110"/>
                          </a:lnTo>
                          <a:cubicBezTo>
                            <a:pt x="12859" y="3050"/>
                            <a:pt x="12919" y="2990"/>
                            <a:pt x="12978" y="2871"/>
                          </a:cubicBezTo>
                          <a:cubicBezTo>
                            <a:pt x="13038" y="2811"/>
                            <a:pt x="13098" y="2751"/>
                            <a:pt x="13158" y="2632"/>
                          </a:cubicBezTo>
                          <a:cubicBezTo>
                            <a:pt x="13218" y="2572"/>
                            <a:pt x="13277" y="2512"/>
                            <a:pt x="13337" y="2392"/>
                          </a:cubicBezTo>
                          <a:cubicBezTo>
                            <a:pt x="13397" y="2273"/>
                            <a:pt x="13457" y="2273"/>
                            <a:pt x="13516" y="2153"/>
                          </a:cubicBezTo>
                          <a:lnTo>
                            <a:pt x="12560" y="1555"/>
                          </a:lnTo>
                          <a:cubicBezTo>
                            <a:pt x="12500" y="1615"/>
                            <a:pt x="12440" y="1674"/>
                            <a:pt x="12380" y="1794"/>
                          </a:cubicBezTo>
                          <a:cubicBezTo>
                            <a:pt x="12320" y="1914"/>
                            <a:pt x="12260" y="1914"/>
                            <a:pt x="12201" y="2033"/>
                          </a:cubicBezTo>
                          <a:cubicBezTo>
                            <a:pt x="12141" y="2153"/>
                            <a:pt x="12081" y="2153"/>
                            <a:pt x="12021" y="2273"/>
                          </a:cubicBezTo>
                          <a:cubicBezTo>
                            <a:pt x="11961" y="2332"/>
                            <a:pt x="11902" y="2452"/>
                            <a:pt x="11842" y="2512"/>
                          </a:cubicBezTo>
                          <a:moveTo>
                            <a:pt x="23086" y="18480"/>
                          </a:moveTo>
                          <a:lnTo>
                            <a:pt x="23803" y="18959"/>
                          </a:lnTo>
                          <a:lnTo>
                            <a:pt x="29066" y="12320"/>
                          </a:lnTo>
                          <a:lnTo>
                            <a:pt x="25956" y="10287"/>
                          </a:lnTo>
                          <a:cubicBezTo>
                            <a:pt x="25897" y="10347"/>
                            <a:pt x="25837" y="10406"/>
                            <a:pt x="25777" y="10526"/>
                          </a:cubicBezTo>
                          <a:cubicBezTo>
                            <a:pt x="25717" y="10586"/>
                            <a:pt x="25657" y="10645"/>
                            <a:pt x="25598" y="10765"/>
                          </a:cubicBezTo>
                          <a:cubicBezTo>
                            <a:pt x="25538" y="10885"/>
                            <a:pt x="25478" y="10885"/>
                            <a:pt x="25418" y="11004"/>
                          </a:cubicBezTo>
                          <a:cubicBezTo>
                            <a:pt x="25358" y="11064"/>
                            <a:pt x="25298" y="11124"/>
                            <a:pt x="25239" y="11244"/>
                          </a:cubicBezTo>
                          <a:lnTo>
                            <a:pt x="27631" y="12798"/>
                          </a:lnTo>
                          <a:lnTo>
                            <a:pt x="23086" y="18480"/>
                          </a:lnTo>
                          <a:moveTo>
                            <a:pt x="4844" y="6818"/>
                          </a:moveTo>
                          <a:lnTo>
                            <a:pt x="5622" y="7296"/>
                          </a:lnTo>
                          <a:lnTo>
                            <a:pt x="10227" y="1495"/>
                          </a:lnTo>
                          <a:lnTo>
                            <a:pt x="11124" y="2033"/>
                          </a:lnTo>
                          <a:cubicBezTo>
                            <a:pt x="11184" y="1973"/>
                            <a:pt x="11244" y="1914"/>
                            <a:pt x="11304" y="1794"/>
                          </a:cubicBezTo>
                          <a:cubicBezTo>
                            <a:pt x="11364" y="1734"/>
                            <a:pt x="11423" y="1674"/>
                            <a:pt x="11483" y="1555"/>
                          </a:cubicBezTo>
                          <a:cubicBezTo>
                            <a:pt x="11543" y="1495"/>
                            <a:pt x="11603" y="1435"/>
                            <a:pt x="11662" y="1316"/>
                          </a:cubicBezTo>
                          <a:cubicBezTo>
                            <a:pt x="11722" y="1256"/>
                            <a:pt x="11782" y="1196"/>
                            <a:pt x="11842" y="1076"/>
                          </a:cubicBezTo>
                          <a:lnTo>
                            <a:pt x="10646" y="299"/>
                          </a:lnTo>
                          <a:lnTo>
                            <a:pt x="10227" y="0"/>
                          </a:lnTo>
                          <a:lnTo>
                            <a:pt x="4844" y="6818"/>
                          </a:lnTo>
                          <a:moveTo>
                            <a:pt x="21231" y="20813"/>
                          </a:moveTo>
                          <a:lnTo>
                            <a:pt x="21949" y="21291"/>
                          </a:lnTo>
                          <a:lnTo>
                            <a:pt x="23086" y="19856"/>
                          </a:lnTo>
                          <a:lnTo>
                            <a:pt x="22368" y="19377"/>
                          </a:lnTo>
                          <a:lnTo>
                            <a:pt x="21231" y="20813"/>
                          </a:lnTo>
                          <a:moveTo>
                            <a:pt x="2990" y="9150"/>
                          </a:moveTo>
                          <a:lnTo>
                            <a:pt x="3768" y="9629"/>
                          </a:lnTo>
                          <a:lnTo>
                            <a:pt x="4904" y="8134"/>
                          </a:lnTo>
                          <a:lnTo>
                            <a:pt x="4127" y="7655"/>
                          </a:lnTo>
                          <a:lnTo>
                            <a:pt x="2990" y="9150"/>
                          </a:lnTo>
                          <a:moveTo>
                            <a:pt x="7895" y="18002"/>
                          </a:moveTo>
                          <a:lnTo>
                            <a:pt x="18959" y="25059"/>
                          </a:lnTo>
                          <a:lnTo>
                            <a:pt x="21231" y="22128"/>
                          </a:lnTo>
                          <a:lnTo>
                            <a:pt x="20514" y="21650"/>
                          </a:lnTo>
                          <a:lnTo>
                            <a:pt x="18899" y="23683"/>
                          </a:lnTo>
                          <a:lnTo>
                            <a:pt x="8552" y="17105"/>
                          </a:lnTo>
                          <a:lnTo>
                            <a:pt x="7895" y="18002"/>
                          </a:lnTo>
                          <a:moveTo>
                            <a:pt x="2333" y="14473"/>
                          </a:moveTo>
                          <a:lnTo>
                            <a:pt x="7177" y="17523"/>
                          </a:lnTo>
                          <a:lnTo>
                            <a:pt x="7895" y="16626"/>
                          </a:lnTo>
                          <a:lnTo>
                            <a:pt x="3050" y="13576"/>
                          </a:lnTo>
                          <a:lnTo>
                            <a:pt x="2333" y="14473"/>
                          </a:lnTo>
                          <a:moveTo>
                            <a:pt x="0" y="12978"/>
                          </a:moveTo>
                          <a:lnTo>
                            <a:pt x="419" y="13277"/>
                          </a:lnTo>
                          <a:lnTo>
                            <a:pt x="1615" y="13995"/>
                          </a:lnTo>
                          <a:lnTo>
                            <a:pt x="2333" y="13098"/>
                          </a:lnTo>
                          <a:lnTo>
                            <a:pt x="1495" y="12559"/>
                          </a:lnTo>
                          <a:lnTo>
                            <a:pt x="3110" y="10526"/>
                          </a:lnTo>
                          <a:lnTo>
                            <a:pt x="2333" y="10048"/>
                          </a:lnTo>
                          <a:lnTo>
                            <a:pt x="0" y="12978"/>
                          </a:lnTo>
                        </a:path>
                      </a:pathLst>
                    </a:custGeom>
                    <a:noFill/>
                    <a:ln w="6350" cap="flat">
                      <a:solidFill>
                        <a:schemeClr val="bg1">
                          <a:alpha val="80000"/>
                        </a:schemeClr>
                      </a:solidFill>
                      <a:prstDash val="solid"/>
                      <a:miter/>
                    </a:ln>
                  </p:spPr>
                  <p:txBody>
                    <a:bodyPr rtlCol="0" anchor="ctr"/>
                    <a:lstStyle/>
                    <a:p>
                      <a:endParaRPr lang="en-GB"/>
                    </a:p>
                  </p:txBody>
                </p:sp>
                <p:sp>
                  <p:nvSpPr>
                    <p:cNvPr id="7355" name="Vrije vorm: vorm 7354">
                      <a:extLst>
                        <a:ext uri="{FF2B5EF4-FFF2-40B4-BE49-F238E27FC236}">
                          <a16:creationId xmlns:a16="http://schemas.microsoft.com/office/drawing/2014/main" id="{F32A68B5-A955-4146-832C-7F3295130ADE}"/>
                        </a:ext>
                      </a:extLst>
                    </p:cNvPr>
                    <p:cNvSpPr/>
                    <p:nvPr/>
                  </p:nvSpPr>
                  <p:spPr>
                    <a:xfrm>
                      <a:off x="5041050" y="5372104"/>
                      <a:ext cx="36601" cy="32953"/>
                    </a:xfrm>
                    <a:custGeom>
                      <a:avLst/>
                      <a:gdLst>
                        <a:gd name="connsiteX0" fmla="*/ 0 w 36601"/>
                        <a:gd name="connsiteY0" fmla="*/ 19736 h 32953"/>
                        <a:gd name="connsiteX1" fmla="*/ 598 w 36601"/>
                        <a:gd name="connsiteY1" fmla="*/ 20095 h 32953"/>
                        <a:gd name="connsiteX2" fmla="*/ 1316 w 36601"/>
                        <a:gd name="connsiteY2" fmla="*/ 20574 h 32953"/>
                        <a:gd name="connsiteX3" fmla="*/ 2512 w 36601"/>
                        <a:gd name="connsiteY3" fmla="*/ 21291 h 32953"/>
                        <a:gd name="connsiteX4" fmla="*/ 3170 w 36601"/>
                        <a:gd name="connsiteY4" fmla="*/ 20394 h 32953"/>
                        <a:gd name="connsiteX5" fmla="*/ 2034 w 36601"/>
                        <a:gd name="connsiteY5" fmla="*/ 19676 h 32953"/>
                        <a:gd name="connsiteX6" fmla="*/ 1495 w 36601"/>
                        <a:gd name="connsiteY6" fmla="*/ 19318 h 32953"/>
                        <a:gd name="connsiteX7" fmla="*/ 15669 w 36601"/>
                        <a:gd name="connsiteY7" fmla="*/ 1375 h 32953"/>
                        <a:gd name="connsiteX8" fmla="*/ 15729 w 36601"/>
                        <a:gd name="connsiteY8" fmla="*/ 1435 h 32953"/>
                        <a:gd name="connsiteX9" fmla="*/ 16507 w 36601"/>
                        <a:gd name="connsiteY9" fmla="*/ 1914 h 32953"/>
                        <a:gd name="connsiteX10" fmla="*/ 17344 w 36601"/>
                        <a:gd name="connsiteY10" fmla="*/ 2452 h 32953"/>
                        <a:gd name="connsiteX11" fmla="*/ 18062 w 36601"/>
                        <a:gd name="connsiteY11" fmla="*/ 1555 h 32953"/>
                        <a:gd name="connsiteX12" fmla="*/ 24342 w 36601"/>
                        <a:gd name="connsiteY12" fmla="*/ 5622 h 32953"/>
                        <a:gd name="connsiteX13" fmla="*/ 23684 w 36601"/>
                        <a:gd name="connsiteY13" fmla="*/ 6459 h 32953"/>
                        <a:gd name="connsiteX14" fmla="*/ 33970 w 36601"/>
                        <a:gd name="connsiteY14" fmla="*/ 13098 h 32953"/>
                        <a:gd name="connsiteX15" fmla="*/ 34748 w 36601"/>
                        <a:gd name="connsiteY15" fmla="*/ 13516 h 32953"/>
                        <a:gd name="connsiteX16" fmla="*/ 35167 w 36601"/>
                        <a:gd name="connsiteY16" fmla="*/ 13815 h 32953"/>
                        <a:gd name="connsiteX17" fmla="*/ 21112 w 36601"/>
                        <a:gd name="connsiteY17" fmla="*/ 31638 h 32953"/>
                        <a:gd name="connsiteX18" fmla="*/ 9569 w 36601"/>
                        <a:gd name="connsiteY18" fmla="*/ 24401 h 32953"/>
                        <a:gd name="connsiteX19" fmla="*/ 8851 w 36601"/>
                        <a:gd name="connsiteY19" fmla="*/ 25238 h 32953"/>
                        <a:gd name="connsiteX20" fmla="*/ 21172 w 36601"/>
                        <a:gd name="connsiteY20" fmla="*/ 32953 h 32953"/>
                        <a:gd name="connsiteX21" fmla="*/ 36602 w 36601"/>
                        <a:gd name="connsiteY21" fmla="*/ 13397 h 32953"/>
                        <a:gd name="connsiteX22" fmla="*/ 35406 w 36601"/>
                        <a:gd name="connsiteY22" fmla="*/ 12679 h 32953"/>
                        <a:gd name="connsiteX23" fmla="*/ 34688 w 36601"/>
                        <a:gd name="connsiteY23" fmla="*/ 12201 h 32953"/>
                        <a:gd name="connsiteX24" fmla="*/ 17225 w 36601"/>
                        <a:gd name="connsiteY24" fmla="*/ 1017 h 32953"/>
                        <a:gd name="connsiteX25" fmla="*/ 16447 w 36601"/>
                        <a:gd name="connsiteY25" fmla="*/ 538 h 32953"/>
                        <a:gd name="connsiteX26" fmla="*/ 16148 w 36601"/>
                        <a:gd name="connsiteY26" fmla="*/ 359 h 32953"/>
                        <a:gd name="connsiteX27" fmla="*/ 15610 w 36601"/>
                        <a:gd name="connsiteY27" fmla="*/ 0 h 32953"/>
                        <a:gd name="connsiteX28" fmla="*/ 0 w 36601"/>
                        <a:gd name="connsiteY28" fmla="*/ 19736 h 3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601" h="32953">
                          <a:moveTo>
                            <a:pt x="0" y="19736"/>
                          </a:moveTo>
                          <a:lnTo>
                            <a:pt x="598" y="20095"/>
                          </a:lnTo>
                          <a:lnTo>
                            <a:pt x="1316" y="20574"/>
                          </a:lnTo>
                          <a:lnTo>
                            <a:pt x="2512" y="21291"/>
                          </a:lnTo>
                          <a:lnTo>
                            <a:pt x="3170" y="20394"/>
                          </a:lnTo>
                          <a:lnTo>
                            <a:pt x="2034" y="19676"/>
                          </a:lnTo>
                          <a:lnTo>
                            <a:pt x="1495" y="19318"/>
                          </a:lnTo>
                          <a:lnTo>
                            <a:pt x="15669" y="1375"/>
                          </a:lnTo>
                          <a:lnTo>
                            <a:pt x="15729" y="1435"/>
                          </a:lnTo>
                          <a:lnTo>
                            <a:pt x="16507" y="1914"/>
                          </a:lnTo>
                          <a:lnTo>
                            <a:pt x="17344" y="2452"/>
                          </a:lnTo>
                          <a:lnTo>
                            <a:pt x="18062" y="1555"/>
                          </a:lnTo>
                          <a:lnTo>
                            <a:pt x="24342" y="5622"/>
                          </a:lnTo>
                          <a:lnTo>
                            <a:pt x="23684" y="6459"/>
                          </a:lnTo>
                          <a:lnTo>
                            <a:pt x="33970" y="13098"/>
                          </a:lnTo>
                          <a:lnTo>
                            <a:pt x="34748" y="13516"/>
                          </a:lnTo>
                          <a:lnTo>
                            <a:pt x="35167" y="13815"/>
                          </a:lnTo>
                          <a:lnTo>
                            <a:pt x="21112" y="31638"/>
                          </a:lnTo>
                          <a:lnTo>
                            <a:pt x="9569" y="24401"/>
                          </a:lnTo>
                          <a:lnTo>
                            <a:pt x="8851" y="25238"/>
                          </a:lnTo>
                          <a:lnTo>
                            <a:pt x="21172" y="32953"/>
                          </a:lnTo>
                          <a:lnTo>
                            <a:pt x="36602" y="13397"/>
                          </a:lnTo>
                          <a:lnTo>
                            <a:pt x="35406" y="12679"/>
                          </a:lnTo>
                          <a:lnTo>
                            <a:pt x="34688" y="12201"/>
                          </a:lnTo>
                          <a:lnTo>
                            <a:pt x="17225" y="1017"/>
                          </a:lnTo>
                          <a:lnTo>
                            <a:pt x="16447" y="538"/>
                          </a:lnTo>
                          <a:lnTo>
                            <a:pt x="16148" y="359"/>
                          </a:lnTo>
                          <a:lnTo>
                            <a:pt x="15610" y="0"/>
                          </a:lnTo>
                          <a:lnTo>
                            <a:pt x="0" y="19736"/>
                          </a:lnTo>
                        </a:path>
                      </a:pathLst>
                    </a:custGeom>
                    <a:noFill/>
                    <a:ln w="6350" cap="flat">
                      <a:solidFill>
                        <a:schemeClr val="bg1">
                          <a:alpha val="80000"/>
                        </a:schemeClr>
                      </a:solidFill>
                      <a:prstDash val="solid"/>
                      <a:miter/>
                    </a:ln>
                  </p:spPr>
                  <p:txBody>
                    <a:bodyPr rtlCol="0" anchor="ctr"/>
                    <a:lstStyle/>
                    <a:p>
                      <a:endParaRPr lang="en-GB"/>
                    </a:p>
                  </p:txBody>
                </p:sp>
                <p:sp>
                  <p:nvSpPr>
                    <p:cNvPr id="7356" name="Vrije vorm: vorm 7355">
                      <a:extLst>
                        <a:ext uri="{FF2B5EF4-FFF2-40B4-BE49-F238E27FC236}">
                          <a16:creationId xmlns:a16="http://schemas.microsoft.com/office/drawing/2014/main" id="{63C65077-5579-469C-A73F-AA9DE7A0B5AC}"/>
                        </a:ext>
                      </a:extLst>
                    </p:cNvPr>
                    <p:cNvSpPr/>
                    <p:nvPr/>
                  </p:nvSpPr>
                  <p:spPr>
                    <a:xfrm>
                      <a:off x="5043562" y="5373599"/>
                      <a:ext cx="21949" cy="23743"/>
                    </a:xfrm>
                    <a:custGeom>
                      <a:avLst/>
                      <a:gdLst>
                        <a:gd name="connsiteX0" fmla="*/ 18122 w 21949"/>
                        <a:gd name="connsiteY0" fmla="*/ 7416 h 23743"/>
                        <a:gd name="connsiteX1" fmla="*/ 6280 w 21949"/>
                        <a:gd name="connsiteY1" fmla="*/ 22428 h 23743"/>
                        <a:gd name="connsiteX2" fmla="*/ 1436 w 21949"/>
                        <a:gd name="connsiteY2" fmla="*/ 19377 h 23743"/>
                        <a:gd name="connsiteX3" fmla="*/ 13277 w 21949"/>
                        <a:gd name="connsiteY3" fmla="*/ 4366 h 23743"/>
                        <a:gd name="connsiteX4" fmla="*/ 13995 w 21949"/>
                        <a:gd name="connsiteY4" fmla="*/ 3469 h 23743"/>
                        <a:gd name="connsiteX5" fmla="*/ 15610 w 21949"/>
                        <a:gd name="connsiteY5" fmla="*/ 1435 h 23743"/>
                        <a:gd name="connsiteX6" fmla="*/ 20394 w 21949"/>
                        <a:gd name="connsiteY6" fmla="*/ 4486 h 23743"/>
                        <a:gd name="connsiteX7" fmla="*/ 18780 w 21949"/>
                        <a:gd name="connsiteY7" fmla="*/ 6519 h 23743"/>
                        <a:gd name="connsiteX8" fmla="*/ 18122 w 21949"/>
                        <a:gd name="connsiteY8" fmla="*/ 7416 h 23743"/>
                        <a:gd name="connsiteX9" fmla="*/ 0 w 21949"/>
                        <a:gd name="connsiteY9" fmla="*/ 19796 h 23743"/>
                        <a:gd name="connsiteX10" fmla="*/ 6340 w 21949"/>
                        <a:gd name="connsiteY10" fmla="*/ 23743 h 23743"/>
                        <a:gd name="connsiteX11" fmla="*/ 7058 w 21949"/>
                        <a:gd name="connsiteY11" fmla="*/ 22846 h 23743"/>
                        <a:gd name="connsiteX12" fmla="*/ 18899 w 21949"/>
                        <a:gd name="connsiteY12" fmla="*/ 7835 h 23743"/>
                        <a:gd name="connsiteX13" fmla="*/ 19617 w 21949"/>
                        <a:gd name="connsiteY13" fmla="*/ 6937 h 23743"/>
                        <a:gd name="connsiteX14" fmla="*/ 21232 w 21949"/>
                        <a:gd name="connsiteY14" fmla="*/ 4904 h 23743"/>
                        <a:gd name="connsiteX15" fmla="*/ 21950 w 21949"/>
                        <a:gd name="connsiteY15" fmla="*/ 4007 h 23743"/>
                        <a:gd name="connsiteX16" fmla="*/ 15669 w 21949"/>
                        <a:gd name="connsiteY16" fmla="*/ 0 h 23743"/>
                        <a:gd name="connsiteX17" fmla="*/ 14952 w 21949"/>
                        <a:gd name="connsiteY17" fmla="*/ 897 h 23743"/>
                        <a:gd name="connsiteX18" fmla="*/ 13337 w 21949"/>
                        <a:gd name="connsiteY18" fmla="*/ 2930 h 23743"/>
                        <a:gd name="connsiteX19" fmla="*/ 12620 w 21949"/>
                        <a:gd name="connsiteY19" fmla="*/ 3827 h 23743"/>
                        <a:gd name="connsiteX20" fmla="*/ 778 w 21949"/>
                        <a:gd name="connsiteY20" fmla="*/ 18899 h 23743"/>
                        <a:gd name="connsiteX21" fmla="*/ 0 w 21949"/>
                        <a:gd name="connsiteY21" fmla="*/ 19796 h 2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949" h="23743">
                          <a:moveTo>
                            <a:pt x="18122" y="7416"/>
                          </a:moveTo>
                          <a:lnTo>
                            <a:pt x="6280" y="22428"/>
                          </a:lnTo>
                          <a:lnTo>
                            <a:pt x="1436" y="19377"/>
                          </a:lnTo>
                          <a:lnTo>
                            <a:pt x="13277" y="4366"/>
                          </a:lnTo>
                          <a:lnTo>
                            <a:pt x="13995" y="3469"/>
                          </a:lnTo>
                          <a:lnTo>
                            <a:pt x="15610" y="1435"/>
                          </a:lnTo>
                          <a:lnTo>
                            <a:pt x="20394" y="4486"/>
                          </a:lnTo>
                          <a:lnTo>
                            <a:pt x="18780" y="6519"/>
                          </a:lnTo>
                          <a:lnTo>
                            <a:pt x="18122" y="7416"/>
                          </a:lnTo>
                          <a:moveTo>
                            <a:pt x="0" y="19796"/>
                          </a:moveTo>
                          <a:lnTo>
                            <a:pt x="6340" y="23743"/>
                          </a:lnTo>
                          <a:lnTo>
                            <a:pt x="7058" y="22846"/>
                          </a:lnTo>
                          <a:lnTo>
                            <a:pt x="18899" y="7835"/>
                          </a:lnTo>
                          <a:lnTo>
                            <a:pt x="19617" y="6937"/>
                          </a:lnTo>
                          <a:lnTo>
                            <a:pt x="21232" y="4904"/>
                          </a:lnTo>
                          <a:lnTo>
                            <a:pt x="21950" y="4007"/>
                          </a:lnTo>
                          <a:lnTo>
                            <a:pt x="15669" y="0"/>
                          </a:lnTo>
                          <a:lnTo>
                            <a:pt x="14952" y="897"/>
                          </a:lnTo>
                          <a:lnTo>
                            <a:pt x="13337" y="2930"/>
                          </a:lnTo>
                          <a:lnTo>
                            <a:pt x="12620" y="3827"/>
                          </a:lnTo>
                          <a:lnTo>
                            <a:pt x="778" y="18899"/>
                          </a:lnTo>
                          <a:lnTo>
                            <a:pt x="0" y="19796"/>
                          </a:lnTo>
                        </a:path>
                      </a:pathLst>
                    </a:custGeom>
                    <a:noFill/>
                    <a:ln w="6350" cap="flat">
                      <a:solidFill>
                        <a:schemeClr val="bg1">
                          <a:alpha val="80000"/>
                        </a:schemeClr>
                      </a:solidFill>
                      <a:prstDash val="solid"/>
                      <a:miter/>
                    </a:ln>
                  </p:spPr>
                  <p:txBody>
                    <a:bodyPr rtlCol="0" anchor="ctr"/>
                    <a:lstStyle/>
                    <a:p>
                      <a:endParaRPr lang="en-GB"/>
                    </a:p>
                  </p:txBody>
                </p:sp>
                <p:sp>
                  <p:nvSpPr>
                    <p:cNvPr id="7357" name="Vrije vorm: vorm 7356">
                      <a:extLst>
                        <a:ext uri="{FF2B5EF4-FFF2-40B4-BE49-F238E27FC236}">
                          <a16:creationId xmlns:a16="http://schemas.microsoft.com/office/drawing/2014/main" id="{800EBC80-FF20-4479-9E9A-F603B96A5833}"/>
                        </a:ext>
                      </a:extLst>
                    </p:cNvPr>
                    <p:cNvSpPr/>
                    <p:nvPr/>
                  </p:nvSpPr>
                  <p:spPr>
                    <a:xfrm>
                      <a:off x="4700269" y="5145494"/>
                      <a:ext cx="147723" cy="114590"/>
                    </a:xfrm>
                    <a:custGeom>
                      <a:avLst/>
                      <a:gdLst>
                        <a:gd name="connsiteX0" fmla="*/ 76852 w 147723"/>
                        <a:gd name="connsiteY0" fmla="*/ 29485 h 114590"/>
                        <a:gd name="connsiteX1" fmla="*/ 93120 w 147723"/>
                        <a:gd name="connsiteY1" fmla="*/ 40011 h 114590"/>
                        <a:gd name="connsiteX2" fmla="*/ 93897 w 147723"/>
                        <a:gd name="connsiteY2" fmla="*/ 38994 h 114590"/>
                        <a:gd name="connsiteX3" fmla="*/ 77630 w 147723"/>
                        <a:gd name="connsiteY3" fmla="*/ 28468 h 114590"/>
                        <a:gd name="connsiteX4" fmla="*/ 76852 w 147723"/>
                        <a:gd name="connsiteY4" fmla="*/ 29485 h 114590"/>
                        <a:gd name="connsiteX5" fmla="*/ 138932 w 147723"/>
                        <a:gd name="connsiteY5" fmla="*/ 83431 h 114590"/>
                        <a:gd name="connsiteX6" fmla="*/ 139291 w 147723"/>
                        <a:gd name="connsiteY6" fmla="*/ 83670 h 114590"/>
                        <a:gd name="connsiteX7" fmla="*/ 145272 w 147723"/>
                        <a:gd name="connsiteY7" fmla="*/ 76134 h 114590"/>
                        <a:gd name="connsiteX8" fmla="*/ 145810 w 147723"/>
                        <a:gd name="connsiteY8" fmla="*/ 76493 h 114590"/>
                        <a:gd name="connsiteX9" fmla="*/ 147724 w 147723"/>
                        <a:gd name="connsiteY9" fmla="*/ 74041 h 114590"/>
                        <a:gd name="connsiteX10" fmla="*/ 94794 w 147723"/>
                        <a:gd name="connsiteY10" fmla="*/ 39652 h 114590"/>
                        <a:gd name="connsiteX11" fmla="*/ 94017 w 147723"/>
                        <a:gd name="connsiteY11" fmla="*/ 40669 h 114590"/>
                        <a:gd name="connsiteX12" fmla="*/ 145989 w 147723"/>
                        <a:gd name="connsiteY12" fmla="*/ 74400 h 114590"/>
                        <a:gd name="connsiteX13" fmla="*/ 138932 w 147723"/>
                        <a:gd name="connsiteY13" fmla="*/ 83431 h 114590"/>
                        <a:gd name="connsiteX14" fmla="*/ 25537 w 147723"/>
                        <a:gd name="connsiteY14" fmla="*/ 10586 h 114590"/>
                        <a:gd name="connsiteX15" fmla="*/ 26614 w 147723"/>
                        <a:gd name="connsiteY15" fmla="*/ 11244 h 114590"/>
                        <a:gd name="connsiteX16" fmla="*/ 34150 w 147723"/>
                        <a:gd name="connsiteY16" fmla="*/ 1674 h 114590"/>
                        <a:gd name="connsiteX17" fmla="*/ 75836 w 147723"/>
                        <a:gd name="connsiteY17" fmla="*/ 28767 h 114590"/>
                        <a:gd name="connsiteX18" fmla="*/ 76673 w 147723"/>
                        <a:gd name="connsiteY18" fmla="*/ 27751 h 114590"/>
                        <a:gd name="connsiteX19" fmla="*/ 33911 w 147723"/>
                        <a:gd name="connsiteY19" fmla="*/ 0 h 114590"/>
                        <a:gd name="connsiteX20" fmla="*/ 25537 w 147723"/>
                        <a:gd name="connsiteY20" fmla="*/ 10586 h 114590"/>
                        <a:gd name="connsiteX21" fmla="*/ 136839 w 147723"/>
                        <a:gd name="connsiteY21" fmla="*/ 86063 h 114590"/>
                        <a:gd name="connsiteX22" fmla="*/ 137198 w 147723"/>
                        <a:gd name="connsiteY22" fmla="*/ 86302 h 114590"/>
                        <a:gd name="connsiteX23" fmla="*/ 138513 w 147723"/>
                        <a:gd name="connsiteY23" fmla="*/ 84627 h 114590"/>
                        <a:gd name="connsiteX24" fmla="*/ 138155 w 147723"/>
                        <a:gd name="connsiteY24" fmla="*/ 84388 h 114590"/>
                        <a:gd name="connsiteX25" fmla="*/ 136839 w 147723"/>
                        <a:gd name="connsiteY25" fmla="*/ 86063 h 114590"/>
                        <a:gd name="connsiteX26" fmla="*/ 120332 w 147723"/>
                        <a:gd name="connsiteY26" fmla="*/ 107473 h 114590"/>
                        <a:gd name="connsiteX27" fmla="*/ 121050 w 147723"/>
                        <a:gd name="connsiteY27" fmla="*/ 107892 h 114590"/>
                        <a:gd name="connsiteX28" fmla="*/ 134447 w 147723"/>
                        <a:gd name="connsiteY28" fmla="*/ 90967 h 114590"/>
                        <a:gd name="connsiteX29" fmla="*/ 133908 w 147723"/>
                        <a:gd name="connsiteY29" fmla="*/ 90608 h 114590"/>
                        <a:gd name="connsiteX30" fmla="*/ 136540 w 147723"/>
                        <a:gd name="connsiteY30" fmla="*/ 87318 h 114590"/>
                        <a:gd name="connsiteX31" fmla="*/ 136420 w 147723"/>
                        <a:gd name="connsiteY31" fmla="*/ 87199 h 114590"/>
                        <a:gd name="connsiteX32" fmla="*/ 120332 w 147723"/>
                        <a:gd name="connsiteY32" fmla="*/ 107473 h 114590"/>
                        <a:gd name="connsiteX33" fmla="*/ 0 w 147723"/>
                        <a:gd name="connsiteY33" fmla="*/ 42942 h 114590"/>
                        <a:gd name="connsiteX34" fmla="*/ 115787 w 147723"/>
                        <a:gd name="connsiteY34" fmla="*/ 114590 h 114590"/>
                        <a:gd name="connsiteX35" fmla="*/ 120272 w 147723"/>
                        <a:gd name="connsiteY35" fmla="*/ 108909 h 114590"/>
                        <a:gd name="connsiteX36" fmla="*/ 119315 w 147723"/>
                        <a:gd name="connsiteY36" fmla="*/ 108311 h 114590"/>
                        <a:gd name="connsiteX37" fmla="*/ 115607 w 147723"/>
                        <a:gd name="connsiteY37" fmla="*/ 112976 h 114590"/>
                        <a:gd name="connsiteX38" fmla="*/ 1914 w 147723"/>
                        <a:gd name="connsiteY38" fmla="*/ 42523 h 114590"/>
                        <a:gd name="connsiteX39" fmla="*/ 25777 w 147723"/>
                        <a:gd name="connsiteY39" fmla="*/ 12320 h 114590"/>
                        <a:gd name="connsiteX40" fmla="*/ 24700 w 147723"/>
                        <a:gd name="connsiteY40" fmla="*/ 11662 h 114590"/>
                        <a:gd name="connsiteX41" fmla="*/ 0 w 147723"/>
                        <a:gd name="connsiteY41" fmla="*/ 42942 h 11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723" h="114590">
                          <a:moveTo>
                            <a:pt x="76852" y="29485"/>
                          </a:moveTo>
                          <a:lnTo>
                            <a:pt x="93120" y="40011"/>
                          </a:lnTo>
                          <a:lnTo>
                            <a:pt x="93897" y="38994"/>
                          </a:lnTo>
                          <a:lnTo>
                            <a:pt x="77630" y="28468"/>
                          </a:lnTo>
                          <a:lnTo>
                            <a:pt x="76852" y="29485"/>
                          </a:lnTo>
                          <a:moveTo>
                            <a:pt x="138932" y="83431"/>
                          </a:moveTo>
                          <a:lnTo>
                            <a:pt x="139291" y="83670"/>
                          </a:lnTo>
                          <a:lnTo>
                            <a:pt x="145272" y="76134"/>
                          </a:lnTo>
                          <a:lnTo>
                            <a:pt x="145810" y="76493"/>
                          </a:lnTo>
                          <a:lnTo>
                            <a:pt x="147724" y="74041"/>
                          </a:lnTo>
                          <a:lnTo>
                            <a:pt x="94794" y="39652"/>
                          </a:lnTo>
                          <a:lnTo>
                            <a:pt x="94017" y="40669"/>
                          </a:lnTo>
                          <a:lnTo>
                            <a:pt x="145989" y="74400"/>
                          </a:lnTo>
                          <a:lnTo>
                            <a:pt x="138932" y="83431"/>
                          </a:lnTo>
                          <a:moveTo>
                            <a:pt x="25537" y="10586"/>
                          </a:moveTo>
                          <a:lnTo>
                            <a:pt x="26614" y="11244"/>
                          </a:lnTo>
                          <a:lnTo>
                            <a:pt x="34150" y="1674"/>
                          </a:lnTo>
                          <a:lnTo>
                            <a:pt x="75836" y="28767"/>
                          </a:lnTo>
                          <a:lnTo>
                            <a:pt x="76673" y="27751"/>
                          </a:lnTo>
                          <a:lnTo>
                            <a:pt x="33911" y="0"/>
                          </a:lnTo>
                          <a:lnTo>
                            <a:pt x="25537" y="10586"/>
                          </a:lnTo>
                          <a:moveTo>
                            <a:pt x="136839" y="86063"/>
                          </a:moveTo>
                          <a:lnTo>
                            <a:pt x="137198" y="86302"/>
                          </a:lnTo>
                          <a:lnTo>
                            <a:pt x="138513" y="84627"/>
                          </a:lnTo>
                          <a:lnTo>
                            <a:pt x="138155" y="84388"/>
                          </a:lnTo>
                          <a:lnTo>
                            <a:pt x="136839" y="86063"/>
                          </a:lnTo>
                          <a:moveTo>
                            <a:pt x="120332" y="107473"/>
                          </a:moveTo>
                          <a:lnTo>
                            <a:pt x="121050" y="107892"/>
                          </a:lnTo>
                          <a:lnTo>
                            <a:pt x="134447" y="90967"/>
                          </a:lnTo>
                          <a:lnTo>
                            <a:pt x="133908" y="90608"/>
                          </a:lnTo>
                          <a:lnTo>
                            <a:pt x="136540" y="87318"/>
                          </a:lnTo>
                          <a:lnTo>
                            <a:pt x="136420" y="87199"/>
                          </a:lnTo>
                          <a:lnTo>
                            <a:pt x="120332" y="107473"/>
                          </a:lnTo>
                          <a:moveTo>
                            <a:pt x="0" y="42942"/>
                          </a:moveTo>
                          <a:lnTo>
                            <a:pt x="115787" y="114590"/>
                          </a:lnTo>
                          <a:lnTo>
                            <a:pt x="120272" y="108909"/>
                          </a:lnTo>
                          <a:lnTo>
                            <a:pt x="119315" y="108311"/>
                          </a:lnTo>
                          <a:lnTo>
                            <a:pt x="115607" y="112976"/>
                          </a:lnTo>
                          <a:lnTo>
                            <a:pt x="1914" y="42523"/>
                          </a:lnTo>
                          <a:lnTo>
                            <a:pt x="25777" y="12320"/>
                          </a:lnTo>
                          <a:lnTo>
                            <a:pt x="24700" y="11662"/>
                          </a:lnTo>
                          <a:lnTo>
                            <a:pt x="0" y="42942"/>
                          </a:lnTo>
                        </a:path>
                      </a:pathLst>
                    </a:custGeom>
                    <a:noFill/>
                    <a:ln w="6350" cap="flat">
                      <a:solidFill>
                        <a:schemeClr val="bg1">
                          <a:alpha val="80000"/>
                        </a:schemeClr>
                      </a:solidFill>
                      <a:prstDash val="solid"/>
                      <a:miter/>
                    </a:ln>
                  </p:spPr>
                  <p:txBody>
                    <a:bodyPr rtlCol="0" anchor="ctr"/>
                    <a:lstStyle/>
                    <a:p>
                      <a:endParaRPr lang="en-GB"/>
                    </a:p>
                  </p:txBody>
                </p:sp>
                <p:sp>
                  <p:nvSpPr>
                    <p:cNvPr id="7358" name="Vrije vorm: vorm 7357">
                      <a:extLst>
                        <a:ext uri="{FF2B5EF4-FFF2-40B4-BE49-F238E27FC236}">
                          <a16:creationId xmlns:a16="http://schemas.microsoft.com/office/drawing/2014/main" id="{9397CF51-5EF9-405F-A3BF-2DC05D280DDE}"/>
                        </a:ext>
                      </a:extLst>
                    </p:cNvPr>
                    <p:cNvSpPr/>
                    <p:nvPr/>
                  </p:nvSpPr>
                  <p:spPr>
                    <a:xfrm>
                      <a:off x="4795661" y="5233052"/>
                      <a:ext cx="21051" cy="14413"/>
                    </a:xfrm>
                    <a:custGeom>
                      <a:avLst/>
                      <a:gdLst>
                        <a:gd name="connsiteX0" fmla="*/ 19318 w 21051"/>
                        <a:gd name="connsiteY0" fmla="*/ 12380 h 14413"/>
                        <a:gd name="connsiteX1" fmla="*/ 19019 w 21051"/>
                        <a:gd name="connsiteY1" fmla="*/ 12798 h 14413"/>
                        <a:gd name="connsiteX2" fmla="*/ 1794 w 21051"/>
                        <a:gd name="connsiteY2" fmla="*/ 2033 h 14413"/>
                        <a:gd name="connsiteX3" fmla="*/ 2093 w 21051"/>
                        <a:gd name="connsiteY3" fmla="*/ 1615 h 14413"/>
                        <a:gd name="connsiteX4" fmla="*/ 19318 w 21051"/>
                        <a:gd name="connsiteY4" fmla="*/ 12380 h 14413"/>
                        <a:gd name="connsiteX5" fmla="*/ 0 w 21051"/>
                        <a:gd name="connsiteY5" fmla="*/ 2452 h 14413"/>
                        <a:gd name="connsiteX6" fmla="*/ 19138 w 21051"/>
                        <a:gd name="connsiteY6" fmla="*/ 14413 h 14413"/>
                        <a:gd name="connsiteX7" fmla="*/ 21052 w 21051"/>
                        <a:gd name="connsiteY7" fmla="*/ 12021 h 14413"/>
                        <a:gd name="connsiteX8" fmla="*/ 1914 w 21051"/>
                        <a:gd name="connsiteY8" fmla="*/ 0 h 14413"/>
                        <a:gd name="connsiteX9" fmla="*/ 0 w 21051"/>
                        <a:gd name="connsiteY9" fmla="*/ 2452 h 1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51" h="14413">
                          <a:moveTo>
                            <a:pt x="19318" y="12380"/>
                          </a:moveTo>
                          <a:lnTo>
                            <a:pt x="19019" y="12798"/>
                          </a:lnTo>
                          <a:lnTo>
                            <a:pt x="1794" y="2033"/>
                          </a:lnTo>
                          <a:lnTo>
                            <a:pt x="2093" y="1615"/>
                          </a:lnTo>
                          <a:lnTo>
                            <a:pt x="19318" y="12380"/>
                          </a:lnTo>
                          <a:moveTo>
                            <a:pt x="0" y="2452"/>
                          </a:moveTo>
                          <a:lnTo>
                            <a:pt x="19138" y="14413"/>
                          </a:lnTo>
                          <a:lnTo>
                            <a:pt x="21052" y="12021"/>
                          </a:lnTo>
                          <a:lnTo>
                            <a:pt x="1914" y="0"/>
                          </a:lnTo>
                          <a:lnTo>
                            <a:pt x="0" y="2452"/>
                          </a:lnTo>
                        </a:path>
                      </a:pathLst>
                    </a:custGeom>
                    <a:noFill/>
                    <a:ln w="6350" cap="flat">
                      <a:solidFill>
                        <a:schemeClr val="bg1">
                          <a:alpha val="80000"/>
                        </a:schemeClr>
                      </a:solidFill>
                      <a:prstDash val="solid"/>
                      <a:miter/>
                    </a:ln>
                  </p:spPr>
                  <p:txBody>
                    <a:bodyPr rtlCol="0" anchor="ctr"/>
                    <a:lstStyle/>
                    <a:p>
                      <a:endParaRPr lang="en-GB"/>
                    </a:p>
                  </p:txBody>
                </p:sp>
                <p:sp>
                  <p:nvSpPr>
                    <p:cNvPr id="7359" name="Vrije vorm: vorm 7358">
                      <a:extLst>
                        <a:ext uri="{FF2B5EF4-FFF2-40B4-BE49-F238E27FC236}">
                          <a16:creationId xmlns:a16="http://schemas.microsoft.com/office/drawing/2014/main" id="{1B3A68AE-B15D-4A52-A12A-9C70117D2956}"/>
                        </a:ext>
                      </a:extLst>
                    </p:cNvPr>
                    <p:cNvSpPr/>
                    <p:nvPr/>
                  </p:nvSpPr>
                  <p:spPr>
                    <a:xfrm>
                      <a:off x="4798293" y="5229762"/>
                      <a:ext cx="21051" cy="14413"/>
                    </a:xfrm>
                    <a:custGeom>
                      <a:avLst/>
                      <a:gdLst>
                        <a:gd name="connsiteX0" fmla="*/ 19258 w 21051"/>
                        <a:gd name="connsiteY0" fmla="*/ 12440 h 14413"/>
                        <a:gd name="connsiteX1" fmla="*/ 18959 w 21051"/>
                        <a:gd name="connsiteY1" fmla="*/ 12859 h 14413"/>
                        <a:gd name="connsiteX2" fmla="*/ 1794 w 21051"/>
                        <a:gd name="connsiteY2" fmla="*/ 2093 h 14413"/>
                        <a:gd name="connsiteX3" fmla="*/ 2093 w 21051"/>
                        <a:gd name="connsiteY3" fmla="*/ 1675 h 14413"/>
                        <a:gd name="connsiteX4" fmla="*/ 19258 w 21051"/>
                        <a:gd name="connsiteY4" fmla="*/ 12440 h 14413"/>
                        <a:gd name="connsiteX5" fmla="*/ 0 w 21051"/>
                        <a:gd name="connsiteY5" fmla="*/ 2392 h 14413"/>
                        <a:gd name="connsiteX6" fmla="*/ 19138 w 21051"/>
                        <a:gd name="connsiteY6" fmla="*/ 14414 h 14413"/>
                        <a:gd name="connsiteX7" fmla="*/ 21052 w 21051"/>
                        <a:gd name="connsiteY7" fmla="*/ 12021 h 14413"/>
                        <a:gd name="connsiteX8" fmla="*/ 1914 w 21051"/>
                        <a:gd name="connsiteY8" fmla="*/ 0 h 14413"/>
                        <a:gd name="connsiteX9" fmla="*/ 0 w 21051"/>
                        <a:gd name="connsiteY9" fmla="*/ 2392 h 1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51" h="14413">
                          <a:moveTo>
                            <a:pt x="19258" y="12440"/>
                          </a:moveTo>
                          <a:lnTo>
                            <a:pt x="18959" y="12859"/>
                          </a:lnTo>
                          <a:lnTo>
                            <a:pt x="1794" y="2093"/>
                          </a:lnTo>
                          <a:lnTo>
                            <a:pt x="2093" y="1675"/>
                          </a:lnTo>
                          <a:lnTo>
                            <a:pt x="19258" y="12440"/>
                          </a:lnTo>
                          <a:moveTo>
                            <a:pt x="0" y="2392"/>
                          </a:moveTo>
                          <a:lnTo>
                            <a:pt x="19138" y="14414"/>
                          </a:lnTo>
                          <a:lnTo>
                            <a:pt x="21052" y="12021"/>
                          </a:lnTo>
                          <a:lnTo>
                            <a:pt x="1914" y="0"/>
                          </a:lnTo>
                          <a:lnTo>
                            <a:pt x="0" y="2392"/>
                          </a:lnTo>
                        </a:path>
                      </a:pathLst>
                    </a:custGeom>
                    <a:noFill/>
                    <a:ln w="6350" cap="flat">
                      <a:solidFill>
                        <a:schemeClr val="bg1">
                          <a:alpha val="80000"/>
                        </a:schemeClr>
                      </a:solidFill>
                      <a:prstDash val="solid"/>
                      <a:miter/>
                    </a:ln>
                  </p:spPr>
                  <p:txBody>
                    <a:bodyPr rtlCol="0" anchor="ctr"/>
                    <a:lstStyle/>
                    <a:p>
                      <a:endParaRPr lang="en-GB"/>
                    </a:p>
                  </p:txBody>
                </p:sp>
                <p:sp>
                  <p:nvSpPr>
                    <p:cNvPr id="7360" name="Vrije vorm: vorm 7359">
                      <a:extLst>
                        <a:ext uri="{FF2B5EF4-FFF2-40B4-BE49-F238E27FC236}">
                          <a16:creationId xmlns:a16="http://schemas.microsoft.com/office/drawing/2014/main" id="{41EF61C9-2A2E-481E-9544-6352F404E9B4}"/>
                        </a:ext>
                      </a:extLst>
                    </p:cNvPr>
                    <p:cNvSpPr/>
                    <p:nvPr/>
                  </p:nvSpPr>
                  <p:spPr>
                    <a:xfrm>
                      <a:off x="4800925" y="5226413"/>
                      <a:ext cx="20932" cy="14413"/>
                    </a:xfrm>
                    <a:custGeom>
                      <a:avLst/>
                      <a:gdLst>
                        <a:gd name="connsiteX0" fmla="*/ 19198 w 20932"/>
                        <a:gd name="connsiteY0" fmla="*/ 12500 h 14413"/>
                        <a:gd name="connsiteX1" fmla="*/ 18899 w 20932"/>
                        <a:gd name="connsiteY1" fmla="*/ 12859 h 14413"/>
                        <a:gd name="connsiteX2" fmla="*/ 1734 w 20932"/>
                        <a:gd name="connsiteY2" fmla="*/ 2034 h 14413"/>
                        <a:gd name="connsiteX3" fmla="*/ 2033 w 20932"/>
                        <a:gd name="connsiteY3" fmla="*/ 1675 h 14413"/>
                        <a:gd name="connsiteX4" fmla="*/ 19198 w 20932"/>
                        <a:gd name="connsiteY4" fmla="*/ 12500 h 14413"/>
                        <a:gd name="connsiteX5" fmla="*/ 0 w 20932"/>
                        <a:gd name="connsiteY5" fmla="*/ 2392 h 14413"/>
                        <a:gd name="connsiteX6" fmla="*/ 19078 w 20932"/>
                        <a:gd name="connsiteY6" fmla="*/ 14414 h 14413"/>
                        <a:gd name="connsiteX7" fmla="*/ 20933 w 20932"/>
                        <a:gd name="connsiteY7" fmla="*/ 12081 h 14413"/>
                        <a:gd name="connsiteX8" fmla="*/ 1854 w 20932"/>
                        <a:gd name="connsiteY8" fmla="*/ 0 h 14413"/>
                        <a:gd name="connsiteX9" fmla="*/ 0 w 20932"/>
                        <a:gd name="connsiteY9" fmla="*/ 2392 h 1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32" h="14413">
                          <a:moveTo>
                            <a:pt x="19198" y="12500"/>
                          </a:moveTo>
                          <a:lnTo>
                            <a:pt x="18899" y="12859"/>
                          </a:lnTo>
                          <a:lnTo>
                            <a:pt x="1734" y="2034"/>
                          </a:lnTo>
                          <a:lnTo>
                            <a:pt x="2033" y="1675"/>
                          </a:lnTo>
                          <a:lnTo>
                            <a:pt x="19198" y="12500"/>
                          </a:lnTo>
                          <a:moveTo>
                            <a:pt x="0" y="2392"/>
                          </a:moveTo>
                          <a:lnTo>
                            <a:pt x="19078" y="14414"/>
                          </a:lnTo>
                          <a:lnTo>
                            <a:pt x="20933" y="12081"/>
                          </a:lnTo>
                          <a:lnTo>
                            <a:pt x="1854" y="0"/>
                          </a:lnTo>
                          <a:lnTo>
                            <a:pt x="0" y="2392"/>
                          </a:lnTo>
                        </a:path>
                      </a:pathLst>
                    </a:custGeom>
                    <a:noFill/>
                    <a:ln w="6350" cap="flat">
                      <a:solidFill>
                        <a:schemeClr val="bg1">
                          <a:alpha val="80000"/>
                        </a:schemeClr>
                      </a:solidFill>
                      <a:prstDash val="solid"/>
                      <a:miter/>
                    </a:ln>
                  </p:spPr>
                  <p:txBody>
                    <a:bodyPr rtlCol="0" anchor="ctr"/>
                    <a:lstStyle/>
                    <a:p>
                      <a:endParaRPr lang="en-GB"/>
                    </a:p>
                  </p:txBody>
                </p:sp>
                <p:sp>
                  <p:nvSpPr>
                    <p:cNvPr id="7361" name="Vrije vorm: vorm 7360">
                      <a:extLst>
                        <a:ext uri="{FF2B5EF4-FFF2-40B4-BE49-F238E27FC236}">
                          <a16:creationId xmlns:a16="http://schemas.microsoft.com/office/drawing/2014/main" id="{8DFCA7AF-7411-4D80-AB6C-21A2C18BF1E9}"/>
                        </a:ext>
                      </a:extLst>
                    </p:cNvPr>
                    <p:cNvSpPr/>
                    <p:nvPr/>
                  </p:nvSpPr>
                  <p:spPr>
                    <a:xfrm>
                      <a:off x="4803556" y="5223183"/>
                      <a:ext cx="20932" cy="14413"/>
                    </a:xfrm>
                    <a:custGeom>
                      <a:avLst/>
                      <a:gdLst>
                        <a:gd name="connsiteX0" fmla="*/ 19198 w 20932"/>
                        <a:gd name="connsiteY0" fmla="*/ 12380 h 14413"/>
                        <a:gd name="connsiteX1" fmla="*/ 18899 w 20932"/>
                        <a:gd name="connsiteY1" fmla="*/ 12799 h 14413"/>
                        <a:gd name="connsiteX2" fmla="*/ 1795 w 20932"/>
                        <a:gd name="connsiteY2" fmla="*/ 1974 h 14413"/>
                        <a:gd name="connsiteX3" fmla="*/ 2093 w 20932"/>
                        <a:gd name="connsiteY3" fmla="*/ 1555 h 14413"/>
                        <a:gd name="connsiteX4" fmla="*/ 19198 w 20932"/>
                        <a:gd name="connsiteY4" fmla="*/ 12380 h 14413"/>
                        <a:gd name="connsiteX5" fmla="*/ 0 w 20932"/>
                        <a:gd name="connsiteY5" fmla="*/ 2333 h 14413"/>
                        <a:gd name="connsiteX6" fmla="*/ 19079 w 20932"/>
                        <a:gd name="connsiteY6" fmla="*/ 14413 h 14413"/>
                        <a:gd name="connsiteX7" fmla="*/ 20933 w 20932"/>
                        <a:gd name="connsiteY7" fmla="*/ 12081 h 14413"/>
                        <a:gd name="connsiteX8" fmla="*/ 1854 w 20932"/>
                        <a:gd name="connsiteY8" fmla="*/ 0 h 14413"/>
                        <a:gd name="connsiteX9" fmla="*/ 0 w 20932"/>
                        <a:gd name="connsiteY9" fmla="*/ 2333 h 1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32" h="14413">
                          <a:moveTo>
                            <a:pt x="19198" y="12380"/>
                          </a:moveTo>
                          <a:lnTo>
                            <a:pt x="18899" y="12799"/>
                          </a:lnTo>
                          <a:lnTo>
                            <a:pt x="1795" y="1974"/>
                          </a:lnTo>
                          <a:lnTo>
                            <a:pt x="2093" y="1555"/>
                          </a:lnTo>
                          <a:lnTo>
                            <a:pt x="19198" y="12380"/>
                          </a:lnTo>
                          <a:moveTo>
                            <a:pt x="0" y="2333"/>
                          </a:moveTo>
                          <a:lnTo>
                            <a:pt x="19079" y="14413"/>
                          </a:lnTo>
                          <a:lnTo>
                            <a:pt x="20933" y="12081"/>
                          </a:lnTo>
                          <a:lnTo>
                            <a:pt x="1854" y="0"/>
                          </a:lnTo>
                          <a:lnTo>
                            <a:pt x="0" y="2333"/>
                          </a:lnTo>
                        </a:path>
                      </a:pathLst>
                    </a:custGeom>
                    <a:noFill/>
                    <a:ln w="6350" cap="flat">
                      <a:solidFill>
                        <a:schemeClr val="bg1">
                          <a:alpha val="80000"/>
                        </a:schemeClr>
                      </a:solidFill>
                      <a:prstDash val="solid"/>
                      <a:miter/>
                    </a:ln>
                  </p:spPr>
                  <p:txBody>
                    <a:bodyPr rtlCol="0" anchor="ctr"/>
                    <a:lstStyle/>
                    <a:p>
                      <a:endParaRPr lang="en-GB"/>
                    </a:p>
                  </p:txBody>
                </p:sp>
                <p:sp>
                  <p:nvSpPr>
                    <p:cNvPr id="7362" name="Vrije vorm: vorm 7361">
                      <a:extLst>
                        <a:ext uri="{FF2B5EF4-FFF2-40B4-BE49-F238E27FC236}">
                          <a16:creationId xmlns:a16="http://schemas.microsoft.com/office/drawing/2014/main" id="{C32D6992-95B1-402E-B564-AEF6161965F8}"/>
                        </a:ext>
                      </a:extLst>
                    </p:cNvPr>
                    <p:cNvSpPr/>
                    <p:nvPr/>
                  </p:nvSpPr>
                  <p:spPr>
                    <a:xfrm>
                      <a:off x="4806128" y="5219774"/>
                      <a:ext cx="20992" cy="14533"/>
                    </a:xfrm>
                    <a:custGeom>
                      <a:avLst/>
                      <a:gdLst>
                        <a:gd name="connsiteX0" fmla="*/ 19198 w 20992"/>
                        <a:gd name="connsiteY0" fmla="*/ 12500 h 14533"/>
                        <a:gd name="connsiteX1" fmla="*/ 18899 w 20992"/>
                        <a:gd name="connsiteY1" fmla="*/ 12919 h 14533"/>
                        <a:gd name="connsiteX2" fmla="*/ 1794 w 20992"/>
                        <a:gd name="connsiteY2" fmla="*/ 2034 h 14533"/>
                        <a:gd name="connsiteX3" fmla="*/ 2093 w 20992"/>
                        <a:gd name="connsiteY3" fmla="*/ 1615 h 14533"/>
                        <a:gd name="connsiteX4" fmla="*/ 19198 w 20992"/>
                        <a:gd name="connsiteY4" fmla="*/ 12500 h 14533"/>
                        <a:gd name="connsiteX5" fmla="*/ 0 w 20992"/>
                        <a:gd name="connsiteY5" fmla="*/ 2452 h 14533"/>
                        <a:gd name="connsiteX6" fmla="*/ 19079 w 20992"/>
                        <a:gd name="connsiteY6" fmla="*/ 14533 h 14533"/>
                        <a:gd name="connsiteX7" fmla="*/ 20992 w 20992"/>
                        <a:gd name="connsiteY7" fmla="*/ 12141 h 14533"/>
                        <a:gd name="connsiteX8" fmla="*/ 1973 w 20992"/>
                        <a:gd name="connsiteY8" fmla="*/ 0 h 14533"/>
                        <a:gd name="connsiteX9" fmla="*/ 0 w 20992"/>
                        <a:gd name="connsiteY9" fmla="*/ 2452 h 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92" h="14533">
                          <a:moveTo>
                            <a:pt x="19198" y="12500"/>
                          </a:moveTo>
                          <a:lnTo>
                            <a:pt x="18899" y="12919"/>
                          </a:lnTo>
                          <a:lnTo>
                            <a:pt x="1794" y="2034"/>
                          </a:lnTo>
                          <a:lnTo>
                            <a:pt x="2093" y="1615"/>
                          </a:lnTo>
                          <a:lnTo>
                            <a:pt x="19198" y="12500"/>
                          </a:lnTo>
                          <a:moveTo>
                            <a:pt x="0" y="2452"/>
                          </a:moveTo>
                          <a:lnTo>
                            <a:pt x="19079" y="14533"/>
                          </a:lnTo>
                          <a:lnTo>
                            <a:pt x="20992" y="12141"/>
                          </a:lnTo>
                          <a:lnTo>
                            <a:pt x="1973" y="0"/>
                          </a:lnTo>
                          <a:lnTo>
                            <a:pt x="0" y="2452"/>
                          </a:lnTo>
                        </a:path>
                      </a:pathLst>
                    </a:custGeom>
                    <a:noFill/>
                    <a:ln w="6350" cap="flat">
                      <a:solidFill>
                        <a:schemeClr val="bg1">
                          <a:alpha val="80000"/>
                        </a:schemeClr>
                      </a:solidFill>
                      <a:prstDash val="solid"/>
                      <a:miter/>
                    </a:ln>
                  </p:spPr>
                  <p:txBody>
                    <a:bodyPr rtlCol="0" anchor="ctr"/>
                    <a:lstStyle/>
                    <a:p>
                      <a:endParaRPr lang="en-GB"/>
                    </a:p>
                  </p:txBody>
                </p:sp>
                <p:sp>
                  <p:nvSpPr>
                    <p:cNvPr id="7363" name="Vrije vorm: vorm 7362">
                      <a:extLst>
                        <a:ext uri="{FF2B5EF4-FFF2-40B4-BE49-F238E27FC236}">
                          <a16:creationId xmlns:a16="http://schemas.microsoft.com/office/drawing/2014/main" id="{0A388732-1632-4A85-9339-9A041A718EBA}"/>
                        </a:ext>
                      </a:extLst>
                    </p:cNvPr>
                    <p:cNvSpPr/>
                    <p:nvPr/>
                  </p:nvSpPr>
                  <p:spPr>
                    <a:xfrm>
                      <a:off x="4813160" y="5251388"/>
                      <a:ext cx="4250" cy="4017"/>
                    </a:xfrm>
                    <a:custGeom>
                      <a:avLst/>
                      <a:gdLst>
                        <a:gd name="connsiteX0" fmla="*/ 2596 w 4250"/>
                        <a:gd name="connsiteY0" fmla="*/ 1281 h 4017"/>
                        <a:gd name="connsiteX1" fmla="*/ 2836 w 4250"/>
                        <a:gd name="connsiteY1" fmla="*/ 1520 h 4017"/>
                        <a:gd name="connsiteX2" fmla="*/ 2955 w 4250"/>
                        <a:gd name="connsiteY2" fmla="*/ 1819 h 4017"/>
                        <a:gd name="connsiteX3" fmla="*/ 2895 w 4250"/>
                        <a:gd name="connsiteY3" fmla="*/ 2178 h 4017"/>
                        <a:gd name="connsiteX4" fmla="*/ 2716 w 4250"/>
                        <a:gd name="connsiteY4" fmla="*/ 2477 h 4017"/>
                        <a:gd name="connsiteX5" fmla="*/ 2417 w 4250"/>
                        <a:gd name="connsiteY5" fmla="*/ 2716 h 4017"/>
                        <a:gd name="connsiteX6" fmla="*/ 2118 w 4250"/>
                        <a:gd name="connsiteY6" fmla="*/ 2836 h 4017"/>
                        <a:gd name="connsiteX7" fmla="*/ 1759 w 4250"/>
                        <a:gd name="connsiteY7" fmla="*/ 2836 h 4017"/>
                        <a:gd name="connsiteX8" fmla="*/ 1460 w 4250"/>
                        <a:gd name="connsiteY8" fmla="*/ 2716 h 4017"/>
                        <a:gd name="connsiteX9" fmla="*/ 1221 w 4250"/>
                        <a:gd name="connsiteY9" fmla="*/ 2477 h 4017"/>
                        <a:gd name="connsiteX10" fmla="*/ 1101 w 4250"/>
                        <a:gd name="connsiteY10" fmla="*/ 2178 h 4017"/>
                        <a:gd name="connsiteX11" fmla="*/ 1101 w 4250"/>
                        <a:gd name="connsiteY11" fmla="*/ 1879 h 4017"/>
                        <a:gd name="connsiteX12" fmla="*/ 1281 w 4250"/>
                        <a:gd name="connsiteY12" fmla="*/ 1580 h 4017"/>
                        <a:gd name="connsiteX13" fmla="*/ 1580 w 4250"/>
                        <a:gd name="connsiteY13" fmla="*/ 1341 h 4017"/>
                        <a:gd name="connsiteX14" fmla="*/ 1939 w 4250"/>
                        <a:gd name="connsiteY14" fmla="*/ 1221 h 4017"/>
                        <a:gd name="connsiteX15" fmla="*/ 2298 w 4250"/>
                        <a:gd name="connsiteY15" fmla="*/ 1221 h 4017"/>
                        <a:gd name="connsiteX16" fmla="*/ 2596 w 4250"/>
                        <a:gd name="connsiteY16" fmla="*/ 1281 h 4017"/>
                        <a:gd name="connsiteX17" fmla="*/ 683 w 4250"/>
                        <a:gd name="connsiteY17" fmla="*/ 3673 h 4017"/>
                        <a:gd name="connsiteX18" fmla="*/ 1460 w 4250"/>
                        <a:gd name="connsiteY18" fmla="*/ 3972 h 4017"/>
                        <a:gd name="connsiteX19" fmla="*/ 2298 w 4250"/>
                        <a:gd name="connsiteY19" fmla="*/ 3972 h 4017"/>
                        <a:gd name="connsiteX20" fmla="*/ 3075 w 4250"/>
                        <a:gd name="connsiteY20" fmla="*/ 3673 h 4017"/>
                        <a:gd name="connsiteX21" fmla="*/ 3733 w 4250"/>
                        <a:gd name="connsiteY21" fmla="*/ 3075 h 4017"/>
                        <a:gd name="connsiteX22" fmla="*/ 4152 w 4250"/>
                        <a:gd name="connsiteY22" fmla="*/ 2297 h 4017"/>
                        <a:gd name="connsiteX23" fmla="*/ 4211 w 4250"/>
                        <a:gd name="connsiteY23" fmla="*/ 1520 h 4017"/>
                        <a:gd name="connsiteX24" fmla="*/ 3972 w 4250"/>
                        <a:gd name="connsiteY24" fmla="*/ 802 h 4017"/>
                        <a:gd name="connsiteX25" fmla="*/ 3434 w 4250"/>
                        <a:gd name="connsiteY25" fmla="*/ 264 h 4017"/>
                        <a:gd name="connsiteX26" fmla="*/ 2716 w 4250"/>
                        <a:gd name="connsiteY26" fmla="*/ 25 h 4017"/>
                        <a:gd name="connsiteX27" fmla="*/ 1939 w 4250"/>
                        <a:gd name="connsiteY27" fmla="*/ 85 h 4017"/>
                        <a:gd name="connsiteX28" fmla="*/ 1161 w 4250"/>
                        <a:gd name="connsiteY28" fmla="*/ 383 h 4017"/>
                        <a:gd name="connsiteX29" fmla="*/ 503 w 4250"/>
                        <a:gd name="connsiteY29" fmla="*/ 982 h 4017"/>
                        <a:gd name="connsiteX30" fmla="*/ 85 w 4250"/>
                        <a:gd name="connsiteY30" fmla="*/ 1759 h 4017"/>
                        <a:gd name="connsiteX31" fmla="*/ 25 w 4250"/>
                        <a:gd name="connsiteY31" fmla="*/ 2537 h 4017"/>
                        <a:gd name="connsiteX32" fmla="*/ 264 w 4250"/>
                        <a:gd name="connsiteY32" fmla="*/ 3195 h 4017"/>
                        <a:gd name="connsiteX33" fmla="*/ 683 w 4250"/>
                        <a:gd name="connsiteY33" fmla="*/ 3673 h 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250" h="4017">
                          <a:moveTo>
                            <a:pt x="2596" y="1281"/>
                          </a:moveTo>
                          <a:cubicBezTo>
                            <a:pt x="2716" y="1341"/>
                            <a:pt x="2776" y="1400"/>
                            <a:pt x="2836" y="1520"/>
                          </a:cubicBezTo>
                          <a:cubicBezTo>
                            <a:pt x="2895" y="1640"/>
                            <a:pt x="2955" y="1699"/>
                            <a:pt x="2955" y="1819"/>
                          </a:cubicBezTo>
                          <a:cubicBezTo>
                            <a:pt x="2955" y="1939"/>
                            <a:pt x="2955" y="2058"/>
                            <a:pt x="2895" y="2178"/>
                          </a:cubicBezTo>
                          <a:cubicBezTo>
                            <a:pt x="2836" y="2297"/>
                            <a:pt x="2836" y="2417"/>
                            <a:pt x="2716" y="2477"/>
                          </a:cubicBezTo>
                          <a:cubicBezTo>
                            <a:pt x="2656" y="2597"/>
                            <a:pt x="2537" y="2656"/>
                            <a:pt x="2417" y="2716"/>
                          </a:cubicBezTo>
                          <a:cubicBezTo>
                            <a:pt x="2298" y="2776"/>
                            <a:pt x="2178" y="2836"/>
                            <a:pt x="2118" y="2836"/>
                          </a:cubicBezTo>
                          <a:cubicBezTo>
                            <a:pt x="1998" y="2836"/>
                            <a:pt x="1879" y="2836"/>
                            <a:pt x="1759" y="2836"/>
                          </a:cubicBezTo>
                          <a:cubicBezTo>
                            <a:pt x="1639" y="2836"/>
                            <a:pt x="1520" y="2776"/>
                            <a:pt x="1460" y="2716"/>
                          </a:cubicBezTo>
                          <a:cubicBezTo>
                            <a:pt x="1400" y="2656"/>
                            <a:pt x="1281" y="2597"/>
                            <a:pt x="1221" y="2477"/>
                          </a:cubicBezTo>
                          <a:cubicBezTo>
                            <a:pt x="1161" y="2417"/>
                            <a:pt x="1161" y="2297"/>
                            <a:pt x="1101" y="2178"/>
                          </a:cubicBezTo>
                          <a:cubicBezTo>
                            <a:pt x="1101" y="2058"/>
                            <a:pt x="1101" y="1998"/>
                            <a:pt x="1101" y="1879"/>
                          </a:cubicBezTo>
                          <a:cubicBezTo>
                            <a:pt x="1161" y="1759"/>
                            <a:pt x="1161" y="1640"/>
                            <a:pt x="1281" y="1580"/>
                          </a:cubicBezTo>
                          <a:cubicBezTo>
                            <a:pt x="1340" y="1460"/>
                            <a:pt x="1460" y="1400"/>
                            <a:pt x="1580" y="1341"/>
                          </a:cubicBezTo>
                          <a:cubicBezTo>
                            <a:pt x="1699" y="1281"/>
                            <a:pt x="1819" y="1221"/>
                            <a:pt x="1939" y="1221"/>
                          </a:cubicBezTo>
                          <a:cubicBezTo>
                            <a:pt x="2058" y="1221"/>
                            <a:pt x="2178" y="1161"/>
                            <a:pt x="2298" y="1221"/>
                          </a:cubicBezTo>
                          <a:cubicBezTo>
                            <a:pt x="2417" y="1161"/>
                            <a:pt x="2477" y="1221"/>
                            <a:pt x="2596" y="1281"/>
                          </a:cubicBezTo>
                          <a:moveTo>
                            <a:pt x="683" y="3673"/>
                          </a:moveTo>
                          <a:cubicBezTo>
                            <a:pt x="922" y="3793"/>
                            <a:pt x="1161" y="3912"/>
                            <a:pt x="1460" y="3972"/>
                          </a:cubicBezTo>
                          <a:cubicBezTo>
                            <a:pt x="1759" y="4032"/>
                            <a:pt x="1998" y="4032"/>
                            <a:pt x="2298" y="3972"/>
                          </a:cubicBezTo>
                          <a:cubicBezTo>
                            <a:pt x="2596" y="3912"/>
                            <a:pt x="2836" y="3793"/>
                            <a:pt x="3075" y="3673"/>
                          </a:cubicBezTo>
                          <a:cubicBezTo>
                            <a:pt x="3314" y="3494"/>
                            <a:pt x="3553" y="3314"/>
                            <a:pt x="3733" y="3075"/>
                          </a:cubicBezTo>
                          <a:cubicBezTo>
                            <a:pt x="3912" y="2836"/>
                            <a:pt x="4032" y="2597"/>
                            <a:pt x="4152" y="2297"/>
                          </a:cubicBezTo>
                          <a:cubicBezTo>
                            <a:pt x="4271" y="1998"/>
                            <a:pt x="4271" y="1759"/>
                            <a:pt x="4211" y="1520"/>
                          </a:cubicBezTo>
                          <a:cubicBezTo>
                            <a:pt x="4152" y="1281"/>
                            <a:pt x="4092" y="1042"/>
                            <a:pt x="3972" y="802"/>
                          </a:cubicBezTo>
                          <a:cubicBezTo>
                            <a:pt x="3852" y="623"/>
                            <a:pt x="3673" y="383"/>
                            <a:pt x="3434" y="264"/>
                          </a:cubicBezTo>
                          <a:cubicBezTo>
                            <a:pt x="3194" y="144"/>
                            <a:pt x="2955" y="25"/>
                            <a:pt x="2716" y="25"/>
                          </a:cubicBezTo>
                          <a:cubicBezTo>
                            <a:pt x="2477" y="-35"/>
                            <a:pt x="2178" y="25"/>
                            <a:pt x="1939" y="85"/>
                          </a:cubicBezTo>
                          <a:cubicBezTo>
                            <a:pt x="1639" y="144"/>
                            <a:pt x="1400" y="264"/>
                            <a:pt x="1161" y="383"/>
                          </a:cubicBezTo>
                          <a:cubicBezTo>
                            <a:pt x="922" y="563"/>
                            <a:pt x="683" y="743"/>
                            <a:pt x="503" y="982"/>
                          </a:cubicBezTo>
                          <a:cubicBezTo>
                            <a:pt x="324" y="1221"/>
                            <a:pt x="204" y="1460"/>
                            <a:pt x="85" y="1759"/>
                          </a:cubicBezTo>
                          <a:cubicBezTo>
                            <a:pt x="25" y="1998"/>
                            <a:pt x="-35" y="2297"/>
                            <a:pt x="25" y="2537"/>
                          </a:cubicBezTo>
                          <a:cubicBezTo>
                            <a:pt x="85" y="2776"/>
                            <a:pt x="144" y="3015"/>
                            <a:pt x="264" y="3195"/>
                          </a:cubicBezTo>
                          <a:cubicBezTo>
                            <a:pt x="264" y="3374"/>
                            <a:pt x="443" y="3553"/>
                            <a:pt x="683" y="3673"/>
                          </a:cubicBezTo>
                        </a:path>
                      </a:pathLst>
                    </a:custGeom>
                    <a:noFill/>
                    <a:ln w="6350" cap="flat">
                      <a:solidFill>
                        <a:schemeClr val="bg1">
                          <a:alpha val="80000"/>
                        </a:schemeClr>
                      </a:solidFill>
                      <a:prstDash val="solid"/>
                      <a:miter/>
                    </a:ln>
                  </p:spPr>
                  <p:txBody>
                    <a:bodyPr rtlCol="0" anchor="ctr"/>
                    <a:lstStyle/>
                    <a:p>
                      <a:endParaRPr lang="en-GB"/>
                    </a:p>
                  </p:txBody>
                </p:sp>
                <p:sp>
                  <p:nvSpPr>
                    <p:cNvPr id="7364" name="Vrije vorm: vorm 7363">
                      <a:extLst>
                        <a:ext uri="{FF2B5EF4-FFF2-40B4-BE49-F238E27FC236}">
                          <a16:creationId xmlns:a16="http://schemas.microsoft.com/office/drawing/2014/main" id="{185624CC-69C7-4A00-9A3D-99AE397130B3}"/>
                        </a:ext>
                      </a:extLst>
                    </p:cNvPr>
                    <p:cNvSpPr/>
                    <p:nvPr/>
                  </p:nvSpPr>
                  <p:spPr>
                    <a:xfrm>
                      <a:off x="4831148" y="5228482"/>
                      <a:ext cx="4310" cy="3956"/>
                    </a:xfrm>
                    <a:custGeom>
                      <a:avLst/>
                      <a:gdLst>
                        <a:gd name="connsiteX0" fmla="*/ 2730 w 4310"/>
                        <a:gd name="connsiteY0" fmla="*/ 1221 h 3956"/>
                        <a:gd name="connsiteX1" fmla="*/ 2970 w 4310"/>
                        <a:gd name="connsiteY1" fmla="*/ 1460 h 3956"/>
                        <a:gd name="connsiteX2" fmla="*/ 3089 w 4310"/>
                        <a:gd name="connsiteY2" fmla="*/ 1759 h 3956"/>
                        <a:gd name="connsiteX3" fmla="*/ 3089 w 4310"/>
                        <a:gd name="connsiteY3" fmla="*/ 2058 h 3956"/>
                        <a:gd name="connsiteX4" fmla="*/ 2910 w 4310"/>
                        <a:gd name="connsiteY4" fmla="*/ 2357 h 3956"/>
                        <a:gd name="connsiteX5" fmla="*/ 2611 w 4310"/>
                        <a:gd name="connsiteY5" fmla="*/ 2596 h 3956"/>
                        <a:gd name="connsiteX6" fmla="*/ 2312 w 4310"/>
                        <a:gd name="connsiteY6" fmla="*/ 2716 h 3956"/>
                        <a:gd name="connsiteX7" fmla="*/ 1953 w 4310"/>
                        <a:gd name="connsiteY7" fmla="*/ 2716 h 3956"/>
                        <a:gd name="connsiteX8" fmla="*/ 1654 w 4310"/>
                        <a:gd name="connsiteY8" fmla="*/ 2596 h 3956"/>
                        <a:gd name="connsiteX9" fmla="*/ 1415 w 4310"/>
                        <a:gd name="connsiteY9" fmla="*/ 2357 h 3956"/>
                        <a:gd name="connsiteX10" fmla="*/ 1295 w 4310"/>
                        <a:gd name="connsiteY10" fmla="*/ 2058 h 3956"/>
                        <a:gd name="connsiteX11" fmla="*/ 1295 w 4310"/>
                        <a:gd name="connsiteY11" fmla="*/ 1759 h 3956"/>
                        <a:gd name="connsiteX12" fmla="*/ 1475 w 4310"/>
                        <a:gd name="connsiteY12" fmla="*/ 1460 h 3956"/>
                        <a:gd name="connsiteX13" fmla="*/ 1774 w 4310"/>
                        <a:gd name="connsiteY13" fmla="*/ 1221 h 3956"/>
                        <a:gd name="connsiteX14" fmla="*/ 2073 w 4310"/>
                        <a:gd name="connsiteY14" fmla="*/ 1101 h 3956"/>
                        <a:gd name="connsiteX15" fmla="*/ 2431 w 4310"/>
                        <a:gd name="connsiteY15" fmla="*/ 1101 h 3956"/>
                        <a:gd name="connsiteX16" fmla="*/ 2730 w 4310"/>
                        <a:gd name="connsiteY16" fmla="*/ 1221 h 3956"/>
                        <a:gd name="connsiteX17" fmla="*/ 817 w 4310"/>
                        <a:gd name="connsiteY17" fmla="*/ 3613 h 3956"/>
                        <a:gd name="connsiteX18" fmla="*/ 1594 w 4310"/>
                        <a:gd name="connsiteY18" fmla="*/ 3912 h 3956"/>
                        <a:gd name="connsiteX19" fmla="*/ 2431 w 4310"/>
                        <a:gd name="connsiteY19" fmla="*/ 3912 h 3956"/>
                        <a:gd name="connsiteX20" fmla="*/ 3209 w 4310"/>
                        <a:gd name="connsiteY20" fmla="*/ 3613 h 3956"/>
                        <a:gd name="connsiteX21" fmla="*/ 3867 w 4310"/>
                        <a:gd name="connsiteY21" fmla="*/ 3015 h 3956"/>
                        <a:gd name="connsiteX22" fmla="*/ 4226 w 4310"/>
                        <a:gd name="connsiteY22" fmla="*/ 2298 h 3956"/>
                        <a:gd name="connsiteX23" fmla="*/ 4285 w 4310"/>
                        <a:gd name="connsiteY23" fmla="*/ 1520 h 3956"/>
                        <a:gd name="connsiteX24" fmla="*/ 4046 w 4310"/>
                        <a:gd name="connsiteY24" fmla="*/ 802 h 3956"/>
                        <a:gd name="connsiteX25" fmla="*/ 3508 w 4310"/>
                        <a:gd name="connsiteY25" fmla="*/ 264 h 3956"/>
                        <a:gd name="connsiteX26" fmla="*/ 2790 w 4310"/>
                        <a:gd name="connsiteY26" fmla="*/ 25 h 3956"/>
                        <a:gd name="connsiteX27" fmla="*/ 1953 w 4310"/>
                        <a:gd name="connsiteY27" fmla="*/ 85 h 3956"/>
                        <a:gd name="connsiteX28" fmla="*/ 1176 w 4310"/>
                        <a:gd name="connsiteY28" fmla="*/ 384 h 3956"/>
                        <a:gd name="connsiteX29" fmla="*/ 518 w 4310"/>
                        <a:gd name="connsiteY29" fmla="*/ 982 h 3956"/>
                        <a:gd name="connsiteX30" fmla="*/ 99 w 4310"/>
                        <a:gd name="connsiteY30" fmla="*/ 1759 h 3956"/>
                        <a:gd name="connsiteX31" fmla="*/ 39 w 4310"/>
                        <a:gd name="connsiteY31" fmla="*/ 2537 h 3956"/>
                        <a:gd name="connsiteX32" fmla="*/ 278 w 4310"/>
                        <a:gd name="connsiteY32" fmla="*/ 3254 h 3956"/>
                        <a:gd name="connsiteX33" fmla="*/ 817 w 4310"/>
                        <a:gd name="connsiteY33" fmla="*/ 3613 h 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10" h="3956">
                          <a:moveTo>
                            <a:pt x="2730" y="1221"/>
                          </a:moveTo>
                          <a:cubicBezTo>
                            <a:pt x="2850" y="1281"/>
                            <a:pt x="2910" y="1340"/>
                            <a:pt x="2970" y="1460"/>
                          </a:cubicBezTo>
                          <a:cubicBezTo>
                            <a:pt x="3030" y="1520"/>
                            <a:pt x="3089" y="1639"/>
                            <a:pt x="3089" y="1759"/>
                          </a:cubicBezTo>
                          <a:cubicBezTo>
                            <a:pt x="3089" y="1879"/>
                            <a:pt x="3089" y="1998"/>
                            <a:pt x="3089" y="2058"/>
                          </a:cubicBezTo>
                          <a:cubicBezTo>
                            <a:pt x="3089" y="2118"/>
                            <a:pt x="3030" y="2298"/>
                            <a:pt x="2910" y="2357"/>
                          </a:cubicBezTo>
                          <a:cubicBezTo>
                            <a:pt x="2850" y="2477"/>
                            <a:pt x="2730" y="2537"/>
                            <a:pt x="2611" y="2596"/>
                          </a:cubicBezTo>
                          <a:cubicBezTo>
                            <a:pt x="2491" y="2656"/>
                            <a:pt x="2372" y="2716"/>
                            <a:pt x="2312" y="2716"/>
                          </a:cubicBezTo>
                          <a:cubicBezTo>
                            <a:pt x="2192" y="2716"/>
                            <a:pt x="2073" y="2716"/>
                            <a:pt x="1953" y="2716"/>
                          </a:cubicBezTo>
                          <a:cubicBezTo>
                            <a:pt x="1833" y="2716"/>
                            <a:pt x="1714" y="2656"/>
                            <a:pt x="1654" y="2596"/>
                          </a:cubicBezTo>
                          <a:cubicBezTo>
                            <a:pt x="1594" y="2537"/>
                            <a:pt x="1475" y="2477"/>
                            <a:pt x="1415" y="2357"/>
                          </a:cubicBezTo>
                          <a:cubicBezTo>
                            <a:pt x="1355" y="2298"/>
                            <a:pt x="1355" y="2178"/>
                            <a:pt x="1295" y="2058"/>
                          </a:cubicBezTo>
                          <a:cubicBezTo>
                            <a:pt x="1295" y="1939"/>
                            <a:pt x="1295" y="1879"/>
                            <a:pt x="1295" y="1759"/>
                          </a:cubicBezTo>
                          <a:cubicBezTo>
                            <a:pt x="1355" y="1639"/>
                            <a:pt x="1355" y="1520"/>
                            <a:pt x="1475" y="1460"/>
                          </a:cubicBezTo>
                          <a:cubicBezTo>
                            <a:pt x="1535" y="1340"/>
                            <a:pt x="1654" y="1281"/>
                            <a:pt x="1774" y="1221"/>
                          </a:cubicBezTo>
                          <a:cubicBezTo>
                            <a:pt x="1893" y="1161"/>
                            <a:pt x="2013" y="1101"/>
                            <a:pt x="2073" y="1101"/>
                          </a:cubicBezTo>
                          <a:cubicBezTo>
                            <a:pt x="2132" y="1101"/>
                            <a:pt x="2312" y="1101"/>
                            <a:pt x="2431" y="1101"/>
                          </a:cubicBezTo>
                          <a:cubicBezTo>
                            <a:pt x="2551" y="1101"/>
                            <a:pt x="2611" y="1161"/>
                            <a:pt x="2730" y="1221"/>
                          </a:cubicBezTo>
                          <a:moveTo>
                            <a:pt x="817" y="3613"/>
                          </a:moveTo>
                          <a:cubicBezTo>
                            <a:pt x="1056" y="3733"/>
                            <a:pt x="1295" y="3852"/>
                            <a:pt x="1594" y="3912"/>
                          </a:cubicBezTo>
                          <a:cubicBezTo>
                            <a:pt x="1833" y="3972"/>
                            <a:pt x="2132" y="3972"/>
                            <a:pt x="2431" y="3912"/>
                          </a:cubicBezTo>
                          <a:cubicBezTo>
                            <a:pt x="2730" y="3852"/>
                            <a:pt x="2970" y="3733"/>
                            <a:pt x="3209" y="3613"/>
                          </a:cubicBezTo>
                          <a:cubicBezTo>
                            <a:pt x="3448" y="3434"/>
                            <a:pt x="3688" y="3254"/>
                            <a:pt x="3867" y="3015"/>
                          </a:cubicBezTo>
                          <a:cubicBezTo>
                            <a:pt x="4046" y="2776"/>
                            <a:pt x="4166" y="2537"/>
                            <a:pt x="4226" y="2298"/>
                          </a:cubicBezTo>
                          <a:cubicBezTo>
                            <a:pt x="4285" y="2058"/>
                            <a:pt x="4345" y="1759"/>
                            <a:pt x="4285" y="1520"/>
                          </a:cubicBezTo>
                          <a:cubicBezTo>
                            <a:pt x="4285" y="1281"/>
                            <a:pt x="4166" y="1041"/>
                            <a:pt x="4046" y="802"/>
                          </a:cubicBezTo>
                          <a:cubicBezTo>
                            <a:pt x="3927" y="563"/>
                            <a:pt x="3747" y="384"/>
                            <a:pt x="3508" y="264"/>
                          </a:cubicBezTo>
                          <a:cubicBezTo>
                            <a:pt x="3269" y="144"/>
                            <a:pt x="3030" y="25"/>
                            <a:pt x="2790" y="25"/>
                          </a:cubicBezTo>
                          <a:cubicBezTo>
                            <a:pt x="2551" y="-35"/>
                            <a:pt x="2252" y="25"/>
                            <a:pt x="1953" y="85"/>
                          </a:cubicBezTo>
                          <a:cubicBezTo>
                            <a:pt x="1654" y="144"/>
                            <a:pt x="1415" y="264"/>
                            <a:pt x="1176" y="384"/>
                          </a:cubicBezTo>
                          <a:cubicBezTo>
                            <a:pt x="936" y="503"/>
                            <a:pt x="697" y="742"/>
                            <a:pt x="518" y="982"/>
                          </a:cubicBezTo>
                          <a:cubicBezTo>
                            <a:pt x="338" y="1221"/>
                            <a:pt x="219" y="1460"/>
                            <a:pt x="99" y="1759"/>
                          </a:cubicBezTo>
                          <a:cubicBezTo>
                            <a:pt x="-21" y="2058"/>
                            <a:pt x="-21" y="2298"/>
                            <a:pt x="39" y="2537"/>
                          </a:cubicBezTo>
                          <a:cubicBezTo>
                            <a:pt x="39" y="2776"/>
                            <a:pt x="159" y="3015"/>
                            <a:pt x="278" y="3254"/>
                          </a:cubicBezTo>
                          <a:cubicBezTo>
                            <a:pt x="398" y="3493"/>
                            <a:pt x="577" y="3493"/>
                            <a:pt x="817" y="3613"/>
                          </a:cubicBezTo>
                        </a:path>
                      </a:pathLst>
                    </a:custGeom>
                    <a:noFill/>
                    <a:ln w="6350" cap="flat">
                      <a:solidFill>
                        <a:schemeClr val="bg1">
                          <a:alpha val="80000"/>
                        </a:schemeClr>
                      </a:solidFill>
                      <a:prstDash val="solid"/>
                      <a:miter/>
                    </a:ln>
                  </p:spPr>
                  <p:txBody>
                    <a:bodyPr rtlCol="0" anchor="ctr"/>
                    <a:lstStyle/>
                    <a:p>
                      <a:endParaRPr lang="en-GB"/>
                    </a:p>
                  </p:txBody>
                </p:sp>
                <p:sp>
                  <p:nvSpPr>
                    <p:cNvPr id="7365" name="Vrije vorm: vorm 7364">
                      <a:extLst>
                        <a:ext uri="{FF2B5EF4-FFF2-40B4-BE49-F238E27FC236}">
                          <a16:creationId xmlns:a16="http://schemas.microsoft.com/office/drawing/2014/main" id="{856C00A1-5562-4BBC-8438-E7434588E4DD}"/>
                        </a:ext>
                      </a:extLst>
                    </p:cNvPr>
                    <p:cNvSpPr/>
                    <p:nvPr/>
                  </p:nvSpPr>
                  <p:spPr>
                    <a:xfrm>
                      <a:off x="4705412" y="5184443"/>
                      <a:ext cx="4689" cy="4216"/>
                    </a:xfrm>
                    <a:custGeom>
                      <a:avLst/>
                      <a:gdLst>
                        <a:gd name="connsiteX0" fmla="*/ 2871 w 4689"/>
                        <a:gd name="connsiteY0" fmla="*/ 1301 h 4216"/>
                        <a:gd name="connsiteX1" fmla="*/ 3110 w 4689"/>
                        <a:gd name="connsiteY1" fmla="*/ 1540 h 4216"/>
                        <a:gd name="connsiteX2" fmla="*/ 3229 w 4689"/>
                        <a:gd name="connsiteY2" fmla="*/ 1839 h 4216"/>
                        <a:gd name="connsiteX3" fmla="*/ 3229 w 4689"/>
                        <a:gd name="connsiteY3" fmla="*/ 2198 h 4216"/>
                        <a:gd name="connsiteX4" fmla="*/ 3050 w 4689"/>
                        <a:gd name="connsiteY4" fmla="*/ 2557 h 4216"/>
                        <a:gd name="connsiteX5" fmla="*/ 2751 w 4689"/>
                        <a:gd name="connsiteY5" fmla="*/ 2796 h 4216"/>
                        <a:gd name="connsiteX6" fmla="*/ 2392 w 4689"/>
                        <a:gd name="connsiteY6" fmla="*/ 2916 h 4216"/>
                        <a:gd name="connsiteX7" fmla="*/ 2034 w 4689"/>
                        <a:gd name="connsiteY7" fmla="*/ 2916 h 4216"/>
                        <a:gd name="connsiteX8" fmla="*/ 1734 w 4689"/>
                        <a:gd name="connsiteY8" fmla="*/ 2796 h 4216"/>
                        <a:gd name="connsiteX9" fmla="*/ 1495 w 4689"/>
                        <a:gd name="connsiteY9" fmla="*/ 2557 h 4216"/>
                        <a:gd name="connsiteX10" fmla="*/ 1375 w 4689"/>
                        <a:gd name="connsiteY10" fmla="*/ 2258 h 4216"/>
                        <a:gd name="connsiteX11" fmla="*/ 1375 w 4689"/>
                        <a:gd name="connsiteY11" fmla="*/ 1899 h 4216"/>
                        <a:gd name="connsiteX12" fmla="*/ 1555 w 4689"/>
                        <a:gd name="connsiteY12" fmla="*/ 1540 h 4216"/>
                        <a:gd name="connsiteX13" fmla="*/ 1854 w 4689"/>
                        <a:gd name="connsiteY13" fmla="*/ 1301 h 4216"/>
                        <a:gd name="connsiteX14" fmla="*/ 2213 w 4689"/>
                        <a:gd name="connsiteY14" fmla="*/ 1181 h 4216"/>
                        <a:gd name="connsiteX15" fmla="*/ 2572 w 4689"/>
                        <a:gd name="connsiteY15" fmla="*/ 1181 h 4216"/>
                        <a:gd name="connsiteX16" fmla="*/ 2871 w 4689"/>
                        <a:gd name="connsiteY16" fmla="*/ 1301 h 4216"/>
                        <a:gd name="connsiteX17" fmla="*/ 897 w 4689"/>
                        <a:gd name="connsiteY17" fmla="*/ 3872 h 4216"/>
                        <a:gd name="connsiteX18" fmla="*/ 1734 w 4689"/>
                        <a:gd name="connsiteY18" fmla="*/ 4171 h 4216"/>
                        <a:gd name="connsiteX19" fmla="*/ 2632 w 4689"/>
                        <a:gd name="connsiteY19" fmla="*/ 4171 h 4216"/>
                        <a:gd name="connsiteX20" fmla="*/ 3469 w 4689"/>
                        <a:gd name="connsiteY20" fmla="*/ 3872 h 4216"/>
                        <a:gd name="connsiteX21" fmla="*/ 4187 w 4689"/>
                        <a:gd name="connsiteY21" fmla="*/ 3274 h 4216"/>
                        <a:gd name="connsiteX22" fmla="*/ 4605 w 4689"/>
                        <a:gd name="connsiteY22" fmla="*/ 2497 h 4216"/>
                        <a:gd name="connsiteX23" fmla="*/ 4665 w 4689"/>
                        <a:gd name="connsiteY23" fmla="*/ 1660 h 4216"/>
                        <a:gd name="connsiteX24" fmla="*/ 4366 w 4689"/>
                        <a:gd name="connsiteY24" fmla="*/ 942 h 4216"/>
                        <a:gd name="connsiteX25" fmla="*/ 3768 w 4689"/>
                        <a:gd name="connsiteY25" fmla="*/ 344 h 4216"/>
                        <a:gd name="connsiteX26" fmla="*/ 2930 w 4689"/>
                        <a:gd name="connsiteY26" fmla="*/ 45 h 4216"/>
                        <a:gd name="connsiteX27" fmla="*/ 2034 w 4689"/>
                        <a:gd name="connsiteY27" fmla="*/ 45 h 4216"/>
                        <a:gd name="connsiteX28" fmla="*/ 1196 w 4689"/>
                        <a:gd name="connsiteY28" fmla="*/ 344 h 4216"/>
                        <a:gd name="connsiteX29" fmla="*/ 479 w 4689"/>
                        <a:gd name="connsiteY29" fmla="*/ 942 h 4216"/>
                        <a:gd name="connsiteX30" fmla="*/ 60 w 4689"/>
                        <a:gd name="connsiteY30" fmla="*/ 1719 h 4216"/>
                        <a:gd name="connsiteX31" fmla="*/ 0 w 4689"/>
                        <a:gd name="connsiteY31" fmla="*/ 2557 h 4216"/>
                        <a:gd name="connsiteX32" fmla="*/ 299 w 4689"/>
                        <a:gd name="connsiteY32" fmla="*/ 3274 h 4216"/>
                        <a:gd name="connsiteX33" fmla="*/ 897 w 4689"/>
                        <a:gd name="connsiteY33" fmla="*/ 3872 h 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89" h="4216">
                          <a:moveTo>
                            <a:pt x="2871" y="1301"/>
                          </a:moveTo>
                          <a:cubicBezTo>
                            <a:pt x="2990" y="1361"/>
                            <a:pt x="3050" y="1420"/>
                            <a:pt x="3110" y="1540"/>
                          </a:cubicBezTo>
                          <a:cubicBezTo>
                            <a:pt x="3170" y="1660"/>
                            <a:pt x="3229" y="1719"/>
                            <a:pt x="3229" y="1839"/>
                          </a:cubicBezTo>
                          <a:cubicBezTo>
                            <a:pt x="3229" y="1959"/>
                            <a:pt x="3229" y="2078"/>
                            <a:pt x="3229" y="2198"/>
                          </a:cubicBezTo>
                          <a:cubicBezTo>
                            <a:pt x="3170" y="2317"/>
                            <a:pt x="3110" y="2437"/>
                            <a:pt x="3050" y="2557"/>
                          </a:cubicBezTo>
                          <a:cubicBezTo>
                            <a:pt x="2990" y="2676"/>
                            <a:pt x="2871" y="2736"/>
                            <a:pt x="2751" y="2796"/>
                          </a:cubicBezTo>
                          <a:cubicBezTo>
                            <a:pt x="2632" y="2856"/>
                            <a:pt x="2512" y="2916"/>
                            <a:pt x="2392" y="2916"/>
                          </a:cubicBezTo>
                          <a:cubicBezTo>
                            <a:pt x="2273" y="2916"/>
                            <a:pt x="2153" y="2916"/>
                            <a:pt x="2034" y="2916"/>
                          </a:cubicBezTo>
                          <a:cubicBezTo>
                            <a:pt x="1914" y="2916"/>
                            <a:pt x="1794" y="2856"/>
                            <a:pt x="1734" y="2796"/>
                          </a:cubicBezTo>
                          <a:cubicBezTo>
                            <a:pt x="1615" y="2736"/>
                            <a:pt x="1555" y="2617"/>
                            <a:pt x="1495" y="2557"/>
                          </a:cubicBezTo>
                          <a:cubicBezTo>
                            <a:pt x="1435" y="2437"/>
                            <a:pt x="1375" y="2377"/>
                            <a:pt x="1375" y="2258"/>
                          </a:cubicBezTo>
                          <a:cubicBezTo>
                            <a:pt x="1375" y="2138"/>
                            <a:pt x="1375" y="2018"/>
                            <a:pt x="1375" y="1899"/>
                          </a:cubicBezTo>
                          <a:cubicBezTo>
                            <a:pt x="1375" y="1779"/>
                            <a:pt x="1435" y="1660"/>
                            <a:pt x="1555" y="1540"/>
                          </a:cubicBezTo>
                          <a:cubicBezTo>
                            <a:pt x="1675" y="1420"/>
                            <a:pt x="1734" y="1361"/>
                            <a:pt x="1854" y="1301"/>
                          </a:cubicBezTo>
                          <a:cubicBezTo>
                            <a:pt x="1974" y="1241"/>
                            <a:pt x="2093" y="1181"/>
                            <a:pt x="2213" y="1181"/>
                          </a:cubicBezTo>
                          <a:cubicBezTo>
                            <a:pt x="2333" y="1181"/>
                            <a:pt x="2452" y="1181"/>
                            <a:pt x="2572" y="1181"/>
                          </a:cubicBezTo>
                          <a:cubicBezTo>
                            <a:pt x="2691" y="1181"/>
                            <a:pt x="2811" y="1241"/>
                            <a:pt x="2871" y="1301"/>
                          </a:cubicBezTo>
                          <a:moveTo>
                            <a:pt x="897" y="3872"/>
                          </a:moveTo>
                          <a:cubicBezTo>
                            <a:pt x="1136" y="4052"/>
                            <a:pt x="1435" y="4112"/>
                            <a:pt x="1734" y="4171"/>
                          </a:cubicBezTo>
                          <a:cubicBezTo>
                            <a:pt x="2034" y="4231"/>
                            <a:pt x="2333" y="4231"/>
                            <a:pt x="2632" y="4171"/>
                          </a:cubicBezTo>
                          <a:cubicBezTo>
                            <a:pt x="2930" y="4112"/>
                            <a:pt x="3229" y="3992"/>
                            <a:pt x="3469" y="3872"/>
                          </a:cubicBezTo>
                          <a:cubicBezTo>
                            <a:pt x="3708" y="3693"/>
                            <a:pt x="3947" y="3514"/>
                            <a:pt x="4187" y="3274"/>
                          </a:cubicBezTo>
                          <a:cubicBezTo>
                            <a:pt x="4366" y="3035"/>
                            <a:pt x="4545" y="2736"/>
                            <a:pt x="4605" y="2497"/>
                          </a:cubicBezTo>
                          <a:cubicBezTo>
                            <a:pt x="4665" y="2198"/>
                            <a:pt x="4725" y="1959"/>
                            <a:pt x="4665" y="1660"/>
                          </a:cubicBezTo>
                          <a:cubicBezTo>
                            <a:pt x="4605" y="1420"/>
                            <a:pt x="4545" y="1121"/>
                            <a:pt x="4366" y="942"/>
                          </a:cubicBezTo>
                          <a:cubicBezTo>
                            <a:pt x="4246" y="703"/>
                            <a:pt x="4007" y="523"/>
                            <a:pt x="3768" y="344"/>
                          </a:cubicBezTo>
                          <a:cubicBezTo>
                            <a:pt x="3529" y="164"/>
                            <a:pt x="3229" y="104"/>
                            <a:pt x="2930" y="45"/>
                          </a:cubicBezTo>
                          <a:cubicBezTo>
                            <a:pt x="2632" y="-15"/>
                            <a:pt x="2333" y="-15"/>
                            <a:pt x="2034" y="45"/>
                          </a:cubicBezTo>
                          <a:cubicBezTo>
                            <a:pt x="1734" y="104"/>
                            <a:pt x="1435" y="224"/>
                            <a:pt x="1196" y="344"/>
                          </a:cubicBezTo>
                          <a:cubicBezTo>
                            <a:pt x="957" y="523"/>
                            <a:pt x="718" y="703"/>
                            <a:pt x="479" y="942"/>
                          </a:cubicBezTo>
                          <a:cubicBezTo>
                            <a:pt x="239" y="1181"/>
                            <a:pt x="120" y="1480"/>
                            <a:pt x="60" y="1719"/>
                          </a:cubicBezTo>
                          <a:cubicBezTo>
                            <a:pt x="0" y="1959"/>
                            <a:pt x="0" y="2258"/>
                            <a:pt x="0" y="2557"/>
                          </a:cubicBezTo>
                          <a:cubicBezTo>
                            <a:pt x="60" y="2796"/>
                            <a:pt x="120" y="3095"/>
                            <a:pt x="299" y="3274"/>
                          </a:cubicBezTo>
                          <a:cubicBezTo>
                            <a:pt x="419" y="3514"/>
                            <a:pt x="598" y="3693"/>
                            <a:pt x="897" y="3872"/>
                          </a:cubicBezTo>
                        </a:path>
                      </a:pathLst>
                    </a:custGeom>
                    <a:noFill/>
                    <a:ln w="6350" cap="flat">
                      <a:solidFill>
                        <a:schemeClr val="bg1">
                          <a:alpha val="80000"/>
                        </a:schemeClr>
                      </a:solidFill>
                      <a:prstDash val="solid"/>
                      <a:miter/>
                    </a:ln>
                  </p:spPr>
                  <p:txBody>
                    <a:bodyPr rtlCol="0" anchor="ctr"/>
                    <a:lstStyle/>
                    <a:p>
                      <a:endParaRPr lang="en-GB"/>
                    </a:p>
                  </p:txBody>
                </p:sp>
                <p:sp>
                  <p:nvSpPr>
                    <p:cNvPr id="7366" name="Vrije vorm: vorm 7365">
                      <a:extLst>
                        <a:ext uri="{FF2B5EF4-FFF2-40B4-BE49-F238E27FC236}">
                          <a16:creationId xmlns:a16="http://schemas.microsoft.com/office/drawing/2014/main" id="{33DB7E81-3807-4081-9E5D-893E348464F6}"/>
                        </a:ext>
                      </a:extLst>
                    </p:cNvPr>
                    <p:cNvSpPr/>
                    <p:nvPr/>
                  </p:nvSpPr>
                  <p:spPr>
                    <a:xfrm>
                      <a:off x="4724406" y="5160162"/>
                      <a:ext cx="4714" cy="4276"/>
                    </a:xfrm>
                    <a:custGeom>
                      <a:avLst/>
                      <a:gdLst>
                        <a:gd name="connsiteX0" fmla="*/ 3015 w 4714"/>
                        <a:gd name="connsiteY0" fmla="*/ 1420 h 4276"/>
                        <a:gd name="connsiteX1" fmla="*/ 3255 w 4714"/>
                        <a:gd name="connsiteY1" fmla="*/ 1660 h 4276"/>
                        <a:gd name="connsiteX2" fmla="*/ 3374 w 4714"/>
                        <a:gd name="connsiteY2" fmla="*/ 1959 h 4276"/>
                        <a:gd name="connsiteX3" fmla="*/ 3374 w 4714"/>
                        <a:gd name="connsiteY3" fmla="*/ 2317 h 4276"/>
                        <a:gd name="connsiteX4" fmla="*/ 3195 w 4714"/>
                        <a:gd name="connsiteY4" fmla="*/ 2676 h 4276"/>
                        <a:gd name="connsiteX5" fmla="*/ 2895 w 4714"/>
                        <a:gd name="connsiteY5" fmla="*/ 2916 h 4276"/>
                        <a:gd name="connsiteX6" fmla="*/ 2537 w 4714"/>
                        <a:gd name="connsiteY6" fmla="*/ 3035 h 4276"/>
                        <a:gd name="connsiteX7" fmla="*/ 2178 w 4714"/>
                        <a:gd name="connsiteY7" fmla="*/ 3035 h 4276"/>
                        <a:gd name="connsiteX8" fmla="*/ 1879 w 4714"/>
                        <a:gd name="connsiteY8" fmla="*/ 2916 h 4276"/>
                        <a:gd name="connsiteX9" fmla="*/ 1640 w 4714"/>
                        <a:gd name="connsiteY9" fmla="*/ 2676 h 4276"/>
                        <a:gd name="connsiteX10" fmla="*/ 1520 w 4714"/>
                        <a:gd name="connsiteY10" fmla="*/ 2377 h 4276"/>
                        <a:gd name="connsiteX11" fmla="*/ 1520 w 4714"/>
                        <a:gd name="connsiteY11" fmla="*/ 2018 h 4276"/>
                        <a:gd name="connsiteX12" fmla="*/ 1700 w 4714"/>
                        <a:gd name="connsiteY12" fmla="*/ 1660 h 4276"/>
                        <a:gd name="connsiteX13" fmla="*/ 1999 w 4714"/>
                        <a:gd name="connsiteY13" fmla="*/ 1420 h 4276"/>
                        <a:gd name="connsiteX14" fmla="*/ 2357 w 4714"/>
                        <a:gd name="connsiteY14" fmla="*/ 1301 h 4276"/>
                        <a:gd name="connsiteX15" fmla="*/ 2716 w 4714"/>
                        <a:gd name="connsiteY15" fmla="*/ 1301 h 4276"/>
                        <a:gd name="connsiteX16" fmla="*/ 3015 w 4714"/>
                        <a:gd name="connsiteY16" fmla="*/ 1420 h 4276"/>
                        <a:gd name="connsiteX17" fmla="*/ 982 w 4714"/>
                        <a:gd name="connsiteY17" fmla="*/ 3932 h 4276"/>
                        <a:gd name="connsiteX18" fmla="*/ 1759 w 4714"/>
                        <a:gd name="connsiteY18" fmla="*/ 4231 h 4276"/>
                        <a:gd name="connsiteX19" fmla="*/ 2656 w 4714"/>
                        <a:gd name="connsiteY19" fmla="*/ 4231 h 4276"/>
                        <a:gd name="connsiteX20" fmla="*/ 3494 w 4714"/>
                        <a:gd name="connsiteY20" fmla="*/ 3932 h 4276"/>
                        <a:gd name="connsiteX21" fmla="*/ 4211 w 4714"/>
                        <a:gd name="connsiteY21" fmla="*/ 3334 h 4276"/>
                        <a:gd name="connsiteX22" fmla="*/ 4630 w 4714"/>
                        <a:gd name="connsiteY22" fmla="*/ 2557 h 4276"/>
                        <a:gd name="connsiteX23" fmla="*/ 4690 w 4714"/>
                        <a:gd name="connsiteY23" fmla="*/ 1719 h 4276"/>
                        <a:gd name="connsiteX24" fmla="*/ 4391 w 4714"/>
                        <a:gd name="connsiteY24" fmla="*/ 942 h 4276"/>
                        <a:gd name="connsiteX25" fmla="*/ 3793 w 4714"/>
                        <a:gd name="connsiteY25" fmla="*/ 344 h 4276"/>
                        <a:gd name="connsiteX26" fmla="*/ 2955 w 4714"/>
                        <a:gd name="connsiteY26" fmla="*/ 45 h 4276"/>
                        <a:gd name="connsiteX27" fmla="*/ 2058 w 4714"/>
                        <a:gd name="connsiteY27" fmla="*/ 45 h 4276"/>
                        <a:gd name="connsiteX28" fmla="*/ 1221 w 4714"/>
                        <a:gd name="connsiteY28" fmla="*/ 344 h 4276"/>
                        <a:gd name="connsiteX29" fmla="*/ 503 w 4714"/>
                        <a:gd name="connsiteY29" fmla="*/ 942 h 4276"/>
                        <a:gd name="connsiteX30" fmla="*/ 85 w 4714"/>
                        <a:gd name="connsiteY30" fmla="*/ 1719 h 4276"/>
                        <a:gd name="connsiteX31" fmla="*/ 25 w 4714"/>
                        <a:gd name="connsiteY31" fmla="*/ 2557 h 4276"/>
                        <a:gd name="connsiteX32" fmla="*/ 324 w 4714"/>
                        <a:gd name="connsiteY32" fmla="*/ 3334 h 4276"/>
                        <a:gd name="connsiteX33" fmla="*/ 982 w 4714"/>
                        <a:gd name="connsiteY33" fmla="*/ 3932 h 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714" h="4276">
                          <a:moveTo>
                            <a:pt x="3015" y="1420"/>
                          </a:moveTo>
                          <a:cubicBezTo>
                            <a:pt x="3135" y="1480"/>
                            <a:pt x="3195" y="1540"/>
                            <a:pt x="3255" y="1660"/>
                          </a:cubicBezTo>
                          <a:cubicBezTo>
                            <a:pt x="3314" y="1779"/>
                            <a:pt x="3374" y="1839"/>
                            <a:pt x="3374" y="1959"/>
                          </a:cubicBezTo>
                          <a:cubicBezTo>
                            <a:pt x="3374" y="2078"/>
                            <a:pt x="3374" y="2198"/>
                            <a:pt x="3374" y="2317"/>
                          </a:cubicBezTo>
                          <a:cubicBezTo>
                            <a:pt x="3314" y="2437"/>
                            <a:pt x="3314" y="2557"/>
                            <a:pt x="3195" y="2676"/>
                          </a:cubicBezTo>
                          <a:cubicBezTo>
                            <a:pt x="3135" y="2796"/>
                            <a:pt x="3015" y="2856"/>
                            <a:pt x="2895" y="2916"/>
                          </a:cubicBezTo>
                          <a:cubicBezTo>
                            <a:pt x="2776" y="2975"/>
                            <a:pt x="2656" y="3035"/>
                            <a:pt x="2537" y="3035"/>
                          </a:cubicBezTo>
                          <a:cubicBezTo>
                            <a:pt x="2417" y="3035"/>
                            <a:pt x="2298" y="3035"/>
                            <a:pt x="2178" y="3035"/>
                          </a:cubicBezTo>
                          <a:cubicBezTo>
                            <a:pt x="2058" y="3035"/>
                            <a:pt x="1939" y="2975"/>
                            <a:pt x="1879" y="2916"/>
                          </a:cubicBezTo>
                          <a:cubicBezTo>
                            <a:pt x="1759" y="2856"/>
                            <a:pt x="1700" y="2736"/>
                            <a:pt x="1640" y="2676"/>
                          </a:cubicBezTo>
                          <a:cubicBezTo>
                            <a:pt x="1580" y="2557"/>
                            <a:pt x="1520" y="2497"/>
                            <a:pt x="1520" y="2377"/>
                          </a:cubicBezTo>
                          <a:cubicBezTo>
                            <a:pt x="1520" y="2258"/>
                            <a:pt x="1520" y="2138"/>
                            <a:pt x="1520" y="2018"/>
                          </a:cubicBezTo>
                          <a:cubicBezTo>
                            <a:pt x="1520" y="1899"/>
                            <a:pt x="1580" y="1779"/>
                            <a:pt x="1700" y="1660"/>
                          </a:cubicBezTo>
                          <a:cubicBezTo>
                            <a:pt x="1759" y="1540"/>
                            <a:pt x="1879" y="1480"/>
                            <a:pt x="1999" y="1420"/>
                          </a:cubicBezTo>
                          <a:cubicBezTo>
                            <a:pt x="2118" y="1361"/>
                            <a:pt x="2238" y="1301"/>
                            <a:pt x="2357" y="1301"/>
                          </a:cubicBezTo>
                          <a:cubicBezTo>
                            <a:pt x="2477" y="1301"/>
                            <a:pt x="2596" y="1301"/>
                            <a:pt x="2716" y="1301"/>
                          </a:cubicBezTo>
                          <a:cubicBezTo>
                            <a:pt x="2836" y="1301"/>
                            <a:pt x="2895" y="1361"/>
                            <a:pt x="3015" y="1420"/>
                          </a:cubicBezTo>
                          <a:moveTo>
                            <a:pt x="982" y="3932"/>
                          </a:moveTo>
                          <a:cubicBezTo>
                            <a:pt x="1221" y="4112"/>
                            <a:pt x="1520" y="4171"/>
                            <a:pt x="1759" y="4231"/>
                          </a:cubicBezTo>
                          <a:cubicBezTo>
                            <a:pt x="2058" y="4291"/>
                            <a:pt x="2357" y="4291"/>
                            <a:pt x="2656" y="4231"/>
                          </a:cubicBezTo>
                          <a:cubicBezTo>
                            <a:pt x="2955" y="4171"/>
                            <a:pt x="3255" y="4052"/>
                            <a:pt x="3494" y="3932"/>
                          </a:cubicBezTo>
                          <a:cubicBezTo>
                            <a:pt x="3733" y="3753"/>
                            <a:pt x="3972" y="3573"/>
                            <a:pt x="4211" y="3334"/>
                          </a:cubicBezTo>
                          <a:cubicBezTo>
                            <a:pt x="4391" y="3095"/>
                            <a:pt x="4510" y="2856"/>
                            <a:pt x="4630" y="2557"/>
                          </a:cubicBezTo>
                          <a:cubicBezTo>
                            <a:pt x="4690" y="2258"/>
                            <a:pt x="4750" y="2018"/>
                            <a:pt x="4690" y="1719"/>
                          </a:cubicBezTo>
                          <a:cubicBezTo>
                            <a:pt x="4630" y="1420"/>
                            <a:pt x="4570" y="1181"/>
                            <a:pt x="4391" y="942"/>
                          </a:cubicBezTo>
                          <a:cubicBezTo>
                            <a:pt x="4271" y="703"/>
                            <a:pt x="4032" y="523"/>
                            <a:pt x="3793" y="344"/>
                          </a:cubicBezTo>
                          <a:cubicBezTo>
                            <a:pt x="3554" y="164"/>
                            <a:pt x="3255" y="104"/>
                            <a:pt x="2955" y="45"/>
                          </a:cubicBezTo>
                          <a:cubicBezTo>
                            <a:pt x="2656" y="-15"/>
                            <a:pt x="2357" y="-15"/>
                            <a:pt x="2058" y="45"/>
                          </a:cubicBezTo>
                          <a:cubicBezTo>
                            <a:pt x="1759" y="104"/>
                            <a:pt x="1460" y="224"/>
                            <a:pt x="1221" y="344"/>
                          </a:cubicBezTo>
                          <a:cubicBezTo>
                            <a:pt x="982" y="463"/>
                            <a:pt x="742" y="703"/>
                            <a:pt x="503" y="942"/>
                          </a:cubicBezTo>
                          <a:cubicBezTo>
                            <a:pt x="324" y="1181"/>
                            <a:pt x="145" y="1480"/>
                            <a:pt x="85" y="1719"/>
                          </a:cubicBezTo>
                          <a:cubicBezTo>
                            <a:pt x="25" y="2018"/>
                            <a:pt x="-35" y="2258"/>
                            <a:pt x="25" y="2557"/>
                          </a:cubicBezTo>
                          <a:cubicBezTo>
                            <a:pt x="85" y="2796"/>
                            <a:pt x="145" y="3095"/>
                            <a:pt x="324" y="3334"/>
                          </a:cubicBezTo>
                          <a:cubicBezTo>
                            <a:pt x="503" y="3573"/>
                            <a:pt x="742" y="3753"/>
                            <a:pt x="982" y="3932"/>
                          </a:cubicBezTo>
                        </a:path>
                      </a:pathLst>
                    </a:custGeom>
                    <a:noFill/>
                    <a:ln w="6350" cap="flat">
                      <a:solidFill>
                        <a:schemeClr val="bg1">
                          <a:alpha val="80000"/>
                        </a:schemeClr>
                      </a:solidFill>
                      <a:prstDash val="solid"/>
                      <a:miter/>
                    </a:ln>
                  </p:spPr>
                  <p:txBody>
                    <a:bodyPr rtlCol="0" anchor="ctr"/>
                    <a:lstStyle/>
                    <a:p>
                      <a:endParaRPr lang="en-GB"/>
                    </a:p>
                  </p:txBody>
                </p:sp>
                <p:sp>
                  <p:nvSpPr>
                    <p:cNvPr id="7367" name="Vrije vorm: vorm 7366">
                      <a:extLst>
                        <a:ext uri="{FF2B5EF4-FFF2-40B4-BE49-F238E27FC236}">
                          <a16:creationId xmlns:a16="http://schemas.microsoft.com/office/drawing/2014/main" id="{24489314-622F-4E5A-B7A6-562D7899B187}"/>
                        </a:ext>
                      </a:extLst>
                    </p:cNvPr>
                    <p:cNvSpPr/>
                    <p:nvPr/>
                  </p:nvSpPr>
                  <p:spPr>
                    <a:xfrm>
                      <a:off x="4834117" y="5221569"/>
                      <a:ext cx="35465" cy="29843"/>
                    </a:xfrm>
                    <a:custGeom>
                      <a:avLst/>
                      <a:gdLst>
                        <a:gd name="connsiteX0" fmla="*/ 28827 w 35465"/>
                        <a:gd name="connsiteY0" fmla="*/ 12799 h 29843"/>
                        <a:gd name="connsiteX1" fmla="*/ 30023 w 35465"/>
                        <a:gd name="connsiteY1" fmla="*/ 13576 h 29843"/>
                        <a:gd name="connsiteX2" fmla="*/ 30203 w 35465"/>
                        <a:gd name="connsiteY2" fmla="*/ 13337 h 29843"/>
                        <a:gd name="connsiteX3" fmla="*/ 30382 w 35465"/>
                        <a:gd name="connsiteY3" fmla="*/ 13098 h 29843"/>
                        <a:gd name="connsiteX4" fmla="*/ 30561 w 35465"/>
                        <a:gd name="connsiteY4" fmla="*/ 12859 h 29843"/>
                        <a:gd name="connsiteX5" fmla="*/ 30741 w 35465"/>
                        <a:gd name="connsiteY5" fmla="*/ 12620 h 29843"/>
                        <a:gd name="connsiteX6" fmla="*/ 29545 w 35465"/>
                        <a:gd name="connsiteY6" fmla="*/ 11842 h 29843"/>
                        <a:gd name="connsiteX7" fmla="*/ 29365 w 35465"/>
                        <a:gd name="connsiteY7" fmla="*/ 12081 h 29843"/>
                        <a:gd name="connsiteX8" fmla="*/ 29186 w 35465"/>
                        <a:gd name="connsiteY8" fmla="*/ 12320 h 29843"/>
                        <a:gd name="connsiteX9" fmla="*/ 29006 w 35465"/>
                        <a:gd name="connsiteY9" fmla="*/ 12560 h 29843"/>
                        <a:gd name="connsiteX10" fmla="*/ 28827 w 35465"/>
                        <a:gd name="connsiteY10" fmla="*/ 12799 h 29843"/>
                        <a:gd name="connsiteX11" fmla="*/ 24282 w 35465"/>
                        <a:gd name="connsiteY11" fmla="*/ 9808 h 29843"/>
                        <a:gd name="connsiteX12" fmla="*/ 27930 w 35465"/>
                        <a:gd name="connsiteY12" fmla="*/ 12141 h 29843"/>
                        <a:gd name="connsiteX13" fmla="*/ 28109 w 35465"/>
                        <a:gd name="connsiteY13" fmla="*/ 11902 h 29843"/>
                        <a:gd name="connsiteX14" fmla="*/ 28289 w 35465"/>
                        <a:gd name="connsiteY14" fmla="*/ 11662 h 29843"/>
                        <a:gd name="connsiteX15" fmla="*/ 28468 w 35465"/>
                        <a:gd name="connsiteY15" fmla="*/ 11423 h 29843"/>
                        <a:gd name="connsiteX16" fmla="*/ 28648 w 35465"/>
                        <a:gd name="connsiteY16" fmla="*/ 11184 h 29843"/>
                        <a:gd name="connsiteX17" fmla="*/ 24999 w 35465"/>
                        <a:gd name="connsiteY17" fmla="*/ 8852 h 29843"/>
                        <a:gd name="connsiteX18" fmla="*/ 24820 w 35465"/>
                        <a:gd name="connsiteY18" fmla="*/ 9091 h 29843"/>
                        <a:gd name="connsiteX19" fmla="*/ 24641 w 35465"/>
                        <a:gd name="connsiteY19" fmla="*/ 9330 h 29843"/>
                        <a:gd name="connsiteX20" fmla="*/ 24461 w 35465"/>
                        <a:gd name="connsiteY20" fmla="*/ 9569 h 29843"/>
                        <a:gd name="connsiteX21" fmla="*/ 24282 w 35465"/>
                        <a:gd name="connsiteY21" fmla="*/ 9808 h 29843"/>
                        <a:gd name="connsiteX22" fmla="*/ 22129 w 35465"/>
                        <a:gd name="connsiteY22" fmla="*/ 8433 h 29843"/>
                        <a:gd name="connsiteX23" fmla="*/ 23325 w 35465"/>
                        <a:gd name="connsiteY23" fmla="*/ 9211 h 29843"/>
                        <a:gd name="connsiteX24" fmla="*/ 23504 w 35465"/>
                        <a:gd name="connsiteY24" fmla="*/ 8971 h 29843"/>
                        <a:gd name="connsiteX25" fmla="*/ 23683 w 35465"/>
                        <a:gd name="connsiteY25" fmla="*/ 8732 h 29843"/>
                        <a:gd name="connsiteX26" fmla="*/ 23863 w 35465"/>
                        <a:gd name="connsiteY26" fmla="*/ 8493 h 29843"/>
                        <a:gd name="connsiteX27" fmla="*/ 24042 w 35465"/>
                        <a:gd name="connsiteY27" fmla="*/ 8253 h 29843"/>
                        <a:gd name="connsiteX28" fmla="*/ 22846 w 35465"/>
                        <a:gd name="connsiteY28" fmla="*/ 7476 h 29843"/>
                        <a:gd name="connsiteX29" fmla="*/ 22667 w 35465"/>
                        <a:gd name="connsiteY29" fmla="*/ 7715 h 29843"/>
                        <a:gd name="connsiteX30" fmla="*/ 22488 w 35465"/>
                        <a:gd name="connsiteY30" fmla="*/ 7954 h 29843"/>
                        <a:gd name="connsiteX31" fmla="*/ 22308 w 35465"/>
                        <a:gd name="connsiteY31" fmla="*/ 8194 h 29843"/>
                        <a:gd name="connsiteX32" fmla="*/ 22129 w 35465"/>
                        <a:gd name="connsiteY32" fmla="*/ 8433 h 29843"/>
                        <a:gd name="connsiteX33" fmla="*/ 16806 w 35465"/>
                        <a:gd name="connsiteY33" fmla="*/ 5024 h 29843"/>
                        <a:gd name="connsiteX34" fmla="*/ 21172 w 35465"/>
                        <a:gd name="connsiteY34" fmla="*/ 7835 h 29843"/>
                        <a:gd name="connsiteX35" fmla="*/ 21351 w 35465"/>
                        <a:gd name="connsiteY35" fmla="*/ 7596 h 29843"/>
                        <a:gd name="connsiteX36" fmla="*/ 21530 w 35465"/>
                        <a:gd name="connsiteY36" fmla="*/ 7357 h 29843"/>
                        <a:gd name="connsiteX37" fmla="*/ 21710 w 35465"/>
                        <a:gd name="connsiteY37" fmla="*/ 7117 h 29843"/>
                        <a:gd name="connsiteX38" fmla="*/ 21889 w 35465"/>
                        <a:gd name="connsiteY38" fmla="*/ 6878 h 29843"/>
                        <a:gd name="connsiteX39" fmla="*/ 17523 w 35465"/>
                        <a:gd name="connsiteY39" fmla="*/ 4067 h 29843"/>
                        <a:gd name="connsiteX40" fmla="*/ 17284 w 35465"/>
                        <a:gd name="connsiteY40" fmla="*/ 4306 h 29843"/>
                        <a:gd name="connsiteX41" fmla="*/ 17045 w 35465"/>
                        <a:gd name="connsiteY41" fmla="*/ 4545 h 29843"/>
                        <a:gd name="connsiteX42" fmla="*/ 16806 w 35465"/>
                        <a:gd name="connsiteY42" fmla="*/ 4785 h 29843"/>
                        <a:gd name="connsiteX43" fmla="*/ 16806 w 35465"/>
                        <a:gd name="connsiteY43" fmla="*/ 5024 h 29843"/>
                        <a:gd name="connsiteX44" fmla="*/ 14653 w 35465"/>
                        <a:gd name="connsiteY44" fmla="*/ 3589 h 29843"/>
                        <a:gd name="connsiteX45" fmla="*/ 15909 w 35465"/>
                        <a:gd name="connsiteY45" fmla="*/ 4366 h 29843"/>
                        <a:gd name="connsiteX46" fmla="*/ 16148 w 35465"/>
                        <a:gd name="connsiteY46" fmla="*/ 4127 h 29843"/>
                        <a:gd name="connsiteX47" fmla="*/ 16387 w 35465"/>
                        <a:gd name="connsiteY47" fmla="*/ 3888 h 29843"/>
                        <a:gd name="connsiteX48" fmla="*/ 16626 w 35465"/>
                        <a:gd name="connsiteY48" fmla="*/ 3649 h 29843"/>
                        <a:gd name="connsiteX49" fmla="*/ 16866 w 35465"/>
                        <a:gd name="connsiteY49" fmla="*/ 3409 h 29843"/>
                        <a:gd name="connsiteX50" fmla="*/ 15610 w 35465"/>
                        <a:gd name="connsiteY50" fmla="*/ 2632 h 29843"/>
                        <a:gd name="connsiteX51" fmla="*/ 15371 w 35465"/>
                        <a:gd name="connsiteY51" fmla="*/ 2871 h 29843"/>
                        <a:gd name="connsiteX52" fmla="*/ 15131 w 35465"/>
                        <a:gd name="connsiteY52" fmla="*/ 3110 h 29843"/>
                        <a:gd name="connsiteX53" fmla="*/ 14892 w 35465"/>
                        <a:gd name="connsiteY53" fmla="*/ 3349 h 29843"/>
                        <a:gd name="connsiteX54" fmla="*/ 14653 w 35465"/>
                        <a:gd name="connsiteY54" fmla="*/ 3589 h 29843"/>
                        <a:gd name="connsiteX55" fmla="*/ 28588 w 35465"/>
                        <a:gd name="connsiteY55" fmla="*/ 22428 h 29843"/>
                        <a:gd name="connsiteX56" fmla="*/ 29545 w 35465"/>
                        <a:gd name="connsiteY56" fmla="*/ 23026 h 29843"/>
                        <a:gd name="connsiteX57" fmla="*/ 35466 w 35465"/>
                        <a:gd name="connsiteY57" fmla="*/ 15550 h 29843"/>
                        <a:gd name="connsiteX58" fmla="*/ 31817 w 35465"/>
                        <a:gd name="connsiteY58" fmla="*/ 13218 h 29843"/>
                        <a:gd name="connsiteX59" fmla="*/ 31638 w 35465"/>
                        <a:gd name="connsiteY59" fmla="*/ 13457 h 29843"/>
                        <a:gd name="connsiteX60" fmla="*/ 31459 w 35465"/>
                        <a:gd name="connsiteY60" fmla="*/ 13696 h 29843"/>
                        <a:gd name="connsiteX61" fmla="*/ 31279 w 35465"/>
                        <a:gd name="connsiteY61" fmla="*/ 13935 h 29843"/>
                        <a:gd name="connsiteX62" fmla="*/ 31100 w 35465"/>
                        <a:gd name="connsiteY62" fmla="*/ 14174 h 29843"/>
                        <a:gd name="connsiteX63" fmla="*/ 33851 w 35465"/>
                        <a:gd name="connsiteY63" fmla="*/ 15969 h 29843"/>
                        <a:gd name="connsiteX64" fmla="*/ 28588 w 35465"/>
                        <a:gd name="connsiteY64" fmla="*/ 22428 h 29843"/>
                        <a:gd name="connsiteX65" fmla="*/ 5502 w 35465"/>
                        <a:gd name="connsiteY65" fmla="*/ 7596 h 29843"/>
                        <a:gd name="connsiteX66" fmla="*/ 6459 w 35465"/>
                        <a:gd name="connsiteY66" fmla="*/ 8194 h 29843"/>
                        <a:gd name="connsiteX67" fmla="*/ 11662 w 35465"/>
                        <a:gd name="connsiteY67" fmla="*/ 1615 h 29843"/>
                        <a:gd name="connsiteX68" fmla="*/ 13756 w 35465"/>
                        <a:gd name="connsiteY68" fmla="*/ 2930 h 29843"/>
                        <a:gd name="connsiteX69" fmla="*/ 13995 w 35465"/>
                        <a:gd name="connsiteY69" fmla="*/ 2691 h 29843"/>
                        <a:gd name="connsiteX70" fmla="*/ 14234 w 35465"/>
                        <a:gd name="connsiteY70" fmla="*/ 2452 h 29843"/>
                        <a:gd name="connsiteX71" fmla="*/ 14473 w 35465"/>
                        <a:gd name="connsiteY71" fmla="*/ 2213 h 29843"/>
                        <a:gd name="connsiteX72" fmla="*/ 14712 w 35465"/>
                        <a:gd name="connsiteY72" fmla="*/ 1974 h 29843"/>
                        <a:gd name="connsiteX73" fmla="*/ 12201 w 35465"/>
                        <a:gd name="connsiteY73" fmla="*/ 359 h 29843"/>
                        <a:gd name="connsiteX74" fmla="*/ 11662 w 35465"/>
                        <a:gd name="connsiteY74" fmla="*/ 0 h 29843"/>
                        <a:gd name="connsiteX75" fmla="*/ 5502 w 35465"/>
                        <a:gd name="connsiteY75" fmla="*/ 7596 h 29843"/>
                        <a:gd name="connsiteX76" fmla="*/ 26495 w 35465"/>
                        <a:gd name="connsiteY76" fmla="*/ 25059 h 29843"/>
                        <a:gd name="connsiteX77" fmla="*/ 27451 w 35465"/>
                        <a:gd name="connsiteY77" fmla="*/ 25658 h 29843"/>
                        <a:gd name="connsiteX78" fmla="*/ 28767 w 35465"/>
                        <a:gd name="connsiteY78" fmla="*/ 24043 h 29843"/>
                        <a:gd name="connsiteX79" fmla="*/ 27810 w 35465"/>
                        <a:gd name="connsiteY79" fmla="*/ 23445 h 29843"/>
                        <a:gd name="connsiteX80" fmla="*/ 26495 w 35465"/>
                        <a:gd name="connsiteY80" fmla="*/ 25059 h 29843"/>
                        <a:gd name="connsiteX81" fmla="*/ 3409 w 35465"/>
                        <a:gd name="connsiteY81" fmla="*/ 10227 h 29843"/>
                        <a:gd name="connsiteX82" fmla="*/ 4366 w 35465"/>
                        <a:gd name="connsiteY82" fmla="*/ 10825 h 29843"/>
                        <a:gd name="connsiteX83" fmla="*/ 5682 w 35465"/>
                        <a:gd name="connsiteY83" fmla="*/ 9151 h 29843"/>
                        <a:gd name="connsiteX84" fmla="*/ 4725 w 35465"/>
                        <a:gd name="connsiteY84" fmla="*/ 8552 h 29843"/>
                        <a:gd name="connsiteX85" fmla="*/ 3409 w 35465"/>
                        <a:gd name="connsiteY85" fmla="*/ 10227 h 29843"/>
                        <a:gd name="connsiteX86" fmla="*/ 10048 w 35465"/>
                        <a:gd name="connsiteY86" fmla="*/ 20933 h 29843"/>
                        <a:gd name="connsiteX87" fmla="*/ 24102 w 35465"/>
                        <a:gd name="connsiteY87" fmla="*/ 29844 h 29843"/>
                        <a:gd name="connsiteX88" fmla="*/ 26674 w 35465"/>
                        <a:gd name="connsiteY88" fmla="*/ 26554 h 29843"/>
                        <a:gd name="connsiteX89" fmla="*/ 25717 w 35465"/>
                        <a:gd name="connsiteY89" fmla="*/ 25956 h 29843"/>
                        <a:gd name="connsiteX90" fmla="*/ 23923 w 35465"/>
                        <a:gd name="connsiteY90" fmla="*/ 28229 h 29843"/>
                        <a:gd name="connsiteX91" fmla="*/ 10825 w 35465"/>
                        <a:gd name="connsiteY91" fmla="*/ 19856 h 29843"/>
                        <a:gd name="connsiteX92" fmla="*/ 10048 w 35465"/>
                        <a:gd name="connsiteY92" fmla="*/ 20933 h 29843"/>
                        <a:gd name="connsiteX93" fmla="*/ 2990 w 35465"/>
                        <a:gd name="connsiteY93" fmla="*/ 16447 h 29843"/>
                        <a:gd name="connsiteX94" fmla="*/ 9090 w 35465"/>
                        <a:gd name="connsiteY94" fmla="*/ 20335 h 29843"/>
                        <a:gd name="connsiteX95" fmla="*/ 9868 w 35465"/>
                        <a:gd name="connsiteY95" fmla="*/ 19377 h 29843"/>
                        <a:gd name="connsiteX96" fmla="*/ 3768 w 35465"/>
                        <a:gd name="connsiteY96" fmla="*/ 15490 h 29843"/>
                        <a:gd name="connsiteX97" fmla="*/ 2990 w 35465"/>
                        <a:gd name="connsiteY97" fmla="*/ 16447 h 29843"/>
                        <a:gd name="connsiteX98" fmla="*/ 0 w 35465"/>
                        <a:gd name="connsiteY98" fmla="*/ 14533 h 29843"/>
                        <a:gd name="connsiteX99" fmla="*/ 538 w 35465"/>
                        <a:gd name="connsiteY99" fmla="*/ 14892 h 29843"/>
                        <a:gd name="connsiteX100" fmla="*/ 2033 w 35465"/>
                        <a:gd name="connsiteY100" fmla="*/ 15849 h 29843"/>
                        <a:gd name="connsiteX101" fmla="*/ 2811 w 35465"/>
                        <a:gd name="connsiteY101" fmla="*/ 14832 h 29843"/>
                        <a:gd name="connsiteX102" fmla="*/ 1734 w 35465"/>
                        <a:gd name="connsiteY102" fmla="*/ 14115 h 29843"/>
                        <a:gd name="connsiteX103" fmla="*/ 3528 w 35465"/>
                        <a:gd name="connsiteY103" fmla="*/ 11782 h 29843"/>
                        <a:gd name="connsiteX104" fmla="*/ 2572 w 35465"/>
                        <a:gd name="connsiteY104" fmla="*/ 11184 h 29843"/>
                        <a:gd name="connsiteX105" fmla="*/ 0 w 35465"/>
                        <a:gd name="connsiteY105" fmla="*/ 14533 h 29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5465" h="29843">
                          <a:moveTo>
                            <a:pt x="28827" y="12799"/>
                          </a:moveTo>
                          <a:lnTo>
                            <a:pt x="30023" y="13576"/>
                          </a:lnTo>
                          <a:cubicBezTo>
                            <a:pt x="30083" y="13516"/>
                            <a:pt x="30143" y="13397"/>
                            <a:pt x="30203" y="13337"/>
                          </a:cubicBezTo>
                          <a:cubicBezTo>
                            <a:pt x="30262" y="13277"/>
                            <a:pt x="30322" y="13158"/>
                            <a:pt x="30382" y="13098"/>
                          </a:cubicBezTo>
                          <a:cubicBezTo>
                            <a:pt x="30442" y="13038"/>
                            <a:pt x="30502" y="12919"/>
                            <a:pt x="30561" y="12859"/>
                          </a:cubicBezTo>
                          <a:cubicBezTo>
                            <a:pt x="30621" y="12799"/>
                            <a:pt x="30681" y="12679"/>
                            <a:pt x="30741" y="12620"/>
                          </a:cubicBezTo>
                          <a:lnTo>
                            <a:pt x="29545" y="11842"/>
                          </a:lnTo>
                          <a:cubicBezTo>
                            <a:pt x="29485" y="11902"/>
                            <a:pt x="29425" y="12021"/>
                            <a:pt x="29365" y="12081"/>
                          </a:cubicBezTo>
                          <a:cubicBezTo>
                            <a:pt x="29305" y="12141"/>
                            <a:pt x="29245" y="12260"/>
                            <a:pt x="29186" y="12320"/>
                          </a:cubicBezTo>
                          <a:cubicBezTo>
                            <a:pt x="29126" y="12380"/>
                            <a:pt x="29066" y="12500"/>
                            <a:pt x="29006" y="12560"/>
                          </a:cubicBezTo>
                          <a:cubicBezTo>
                            <a:pt x="28946" y="12620"/>
                            <a:pt x="28887" y="12679"/>
                            <a:pt x="28827" y="12799"/>
                          </a:cubicBezTo>
                          <a:moveTo>
                            <a:pt x="24282" y="9808"/>
                          </a:moveTo>
                          <a:lnTo>
                            <a:pt x="27930" y="12141"/>
                          </a:lnTo>
                          <a:cubicBezTo>
                            <a:pt x="27990" y="12081"/>
                            <a:pt x="28050" y="11961"/>
                            <a:pt x="28109" y="11902"/>
                          </a:cubicBezTo>
                          <a:cubicBezTo>
                            <a:pt x="28169" y="11842"/>
                            <a:pt x="28229" y="11722"/>
                            <a:pt x="28289" y="11662"/>
                          </a:cubicBezTo>
                          <a:cubicBezTo>
                            <a:pt x="28349" y="11603"/>
                            <a:pt x="28408" y="11483"/>
                            <a:pt x="28468" y="11423"/>
                          </a:cubicBezTo>
                          <a:cubicBezTo>
                            <a:pt x="28528" y="11364"/>
                            <a:pt x="28588" y="11244"/>
                            <a:pt x="28648" y="11184"/>
                          </a:cubicBezTo>
                          <a:lnTo>
                            <a:pt x="24999" y="8852"/>
                          </a:lnTo>
                          <a:cubicBezTo>
                            <a:pt x="24940" y="8911"/>
                            <a:pt x="24880" y="9031"/>
                            <a:pt x="24820" y="9091"/>
                          </a:cubicBezTo>
                          <a:cubicBezTo>
                            <a:pt x="24760" y="9151"/>
                            <a:pt x="24700" y="9270"/>
                            <a:pt x="24641" y="9330"/>
                          </a:cubicBezTo>
                          <a:cubicBezTo>
                            <a:pt x="24581" y="9390"/>
                            <a:pt x="24521" y="9510"/>
                            <a:pt x="24461" y="9569"/>
                          </a:cubicBezTo>
                          <a:cubicBezTo>
                            <a:pt x="24401" y="9629"/>
                            <a:pt x="24342" y="9749"/>
                            <a:pt x="24282" y="9808"/>
                          </a:cubicBezTo>
                          <a:moveTo>
                            <a:pt x="22129" y="8433"/>
                          </a:moveTo>
                          <a:lnTo>
                            <a:pt x="23325" y="9211"/>
                          </a:lnTo>
                          <a:cubicBezTo>
                            <a:pt x="23384" y="9151"/>
                            <a:pt x="23444" y="9031"/>
                            <a:pt x="23504" y="8971"/>
                          </a:cubicBezTo>
                          <a:cubicBezTo>
                            <a:pt x="23564" y="8911"/>
                            <a:pt x="23624" y="8792"/>
                            <a:pt x="23683" y="8732"/>
                          </a:cubicBezTo>
                          <a:cubicBezTo>
                            <a:pt x="23743" y="8672"/>
                            <a:pt x="23803" y="8552"/>
                            <a:pt x="23863" y="8493"/>
                          </a:cubicBezTo>
                          <a:cubicBezTo>
                            <a:pt x="23923" y="8433"/>
                            <a:pt x="23983" y="8313"/>
                            <a:pt x="24042" y="8253"/>
                          </a:cubicBezTo>
                          <a:lnTo>
                            <a:pt x="22846" y="7476"/>
                          </a:lnTo>
                          <a:cubicBezTo>
                            <a:pt x="22787" y="7536"/>
                            <a:pt x="22727" y="7655"/>
                            <a:pt x="22667" y="7715"/>
                          </a:cubicBezTo>
                          <a:cubicBezTo>
                            <a:pt x="22607" y="7775"/>
                            <a:pt x="22547" y="7895"/>
                            <a:pt x="22488" y="7954"/>
                          </a:cubicBezTo>
                          <a:cubicBezTo>
                            <a:pt x="22428" y="8014"/>
                            <a:pt x="22368" y="8134"/>
                            <a:pt x="22308" y="8194"/>
                          </a:cubicBezTo>
                          <a:cubicBezTo>
                            <a:pt x="22248" y="8313"/>
                            <a:pt x="22188" y="8373"/>
                            <a:pt x="22129" y="8433"/>
                          </a:cubicBezTo>
                          <a:moveTo>
                            <a:pt x="16806" y="5024"/>
                          </a:moveTo>
                          <a:lnTo>
                            <a:pt x="21172" y="7835"/>
                          </a:lnTo>
                          <a:cubicBezTo>
                            <a:pt x="21231" y="7775"/>
                            <a:pt x="21291" y="7655"/>
                            <a:pt x="21351" y="7596"/>
                          </a:cubicBezTo>
                          <a:cubicBezTo>
                            <a:pt x="21411" y="7536"/>
                            <a:pt x="21471" y="7416"/>
                            <a:pt x="21530" y="7357"/>
                          </a:cubicBezTo>
                          <a:cubicBezTo>
                            <a:pt x="21590" y="7297"/>
                            <a:pt x="21650" y="7177"/>
                            <a:pt x="21710" y="7117"/>
                          </a:cubicBezTo>
                          <a:cubicBezTo>
                            <a:pt x="21770" y="7057"/>
                            <a:pt x="21829" y="6938"/>
                            <a:pt x="21889" y="6878"/>
                          </a:cubicBezTo>
                          <a:lnTo>
                            <a:pt x="17523" y="4067"/>
                          </a:lnTo>
                          <a:cubicBezTo>
                            <a:pt x="17464" y="4127"/>
                            <a:pt x="17404" y="4246"/>
                            <a:pt x="17284" y="4306"/>
                          </a:cubicBezTo>
                          <a:cubicBezTo>
                            <a:pt x="17165" y="4366"/>
                            <a:pt x="17165" y="4486"/>
                            <a:pt x="17045" y="4545"/>
                          </a:cubicBezTo>
                          <a:cubicBezTo>
                            <a:pt x="16985" y="4605"/>
                            <a:pt x="16925" y="4725"/>
                            <a:pt x="16806" y="4785"/>
                          </a:cubicBezTo>
                          <a:cubicBezTo>
                            <a:pt x="16925" y="4844"/>
                            <a:pt x="16866" y="4904"/>
                            <a:pt x="16806" y="5024"/>
                          </a:cubicBezTo>
                          <a:moveTo>
                            <a:pt x="14653" y="3589"/>
                          </a:moveTo>
                          <a:lnTo>
                            <a:pt x="15909" y="4366"/>
                          </a:lnTo>
                          <a:cubicBezTo>
                            <a:pt x="15968" y="4306"/>
                            <a:pt x="16028" y="4187"/>
                            <a:pt x="16148" y="4127"/>
                          </a:cubicBezTo>
                          <a:cubicBezTo>
                            <a:pt x="16208" y="4067"/>
                            <a:pt x="16267" y="3947"/>
                            <a:pt x="16387" y="3888"/>
                          </a:cubicBezTo>
                          <a:cubicBezTo>
                            <a:pt x="16447" y="3828"/>
                            <a:pt x="16507" y="3708"/>
                            <a:pt x="16626" y="3649"/>
                          </a:cubicBezTo>
                          <a:cubicBezTo>
                            <a:pt x="16686" y="3589"/>
                            <a:pt x="16746" y="3469"/>
                            <a:pt x="16866" y="3409"/>
                          </a:cubicBezTo>
                          <a:lnTo>
                            <a:pt x="15610" y="2632"/>
                          </a:lnTo>
                          <a:cubicBezTo>
                            <a:pt x="15550" y="2691"/>
                            <a:pt x="15490" y="2811"/>
                            <a:pt x="15371" y="2871"/>
                          </a:cubicBezTo>
                          <a:cubicBezTo>
                            <a:pt x="15311" y="2930"/>
                            <a:pt x="15251" y="3050"/>
                            <a:pt x="15131" y="3110"/>
                          </a:cubicBezTo>
                          <a:cubicBezTo>
                            <a:pt x="15071" y="3170"/>
                            <a:pt x="15012" y="3289"/>
                            <a:pt x="14892" y="3349"/>
                          </a:cubicBezTo>
                          <a:cubicBezTo>
                            <a:pt x="14772" y="3409"/>
                            <a:pt x="14712" y="3529"/>
                            <a:pt x="14653" y="3589"/>
                          </a:cubicBezTo>
                          <a:moveTo>
                            <a:pt x="28588" y="22428"/>
                          </a:moveTo>
                          <a:lnTo>
                            <a:pt x="29545" y="23026"/>
                          </a:lnTo>
                          <a:lnTo>
                            <a:pt x="35466" y="15550"/>
                          </a:lnTo>
                          <a:lnTo>
                            <a:pt x="31817" y="13218"/>
                          </a:lnTo>
                          <a:cubicBezTo>
                            <a:pt x="31758" y="13277"/>
                            <a:pt x="31698" y="13397"/>
                            <a:pt x="31638" y="13457"/>
                          </a:cubicBezTo>
                          <a:cubicBezTo>
                            <a:pt x="31578" y="13516"/>
                            <a:pt x="31518" y="13636"/>
                            <a:pt x="31459" y="13696"/>
                          </a:cubicBezTo>
                          <a:cubicBezTo>
                            <a:pt x="31399" y="13756"/>
                            <a:pt x="31339" y="13875"/>
                            <a:pt x="31279" y="13935"/>
                          </a:cubicBezTo>
                          <a:cubicBezTo>
                            <a:pt x="31219" y="13995"/>
                            <a:pt x="31159" y="14115"/>
                            <a:pt x="31100" y="14174"/>
                          </a:cubicBezTo>
                          <a:lnTo>
                            <a:pt x="33851" y="15969"/>
                          </a:lnTo>
                          <a:lnTo>
                            <a:pt x="28588" y="22428"/>
                          </a:lnTo>
                          <a:moveTo>
                            <a:pt x="5502" y="7596"/>
                          </a:moveTo>
                          <a:lnTo>
                            <a:pt x="6459" y="8194"/>
                          </a:lnTo>
                          <a:lnTo>
                            <a:pt x="11662" y="1615"/>
                          </a:lnTo>
                          <a:lnTo>
                            <a:pt x="13756" y="2930"/>
                          </a:lnTo>
                          <a:cubicBezTo>
                            <a:pt x="13815" y="2871"/>
                            <a:pt x="13875" y="2751"/>
                            <a:pt x="13995" y="2691"/>
                          </a:cubicBezTo>
                          <a:cubicBezTo>
                            <a:pt x="14055" y="2632"/>
                            <a:pt x="14114" y="2512"/>
                            <a:pt x="14234" y="2452"/>
                          </a:cubicBezTo>
                          <a:cubicBezTo>
                            <a:pt x="14294" y="2392"/>
                            <a:pt x="14354" y="2273"/>
                            <a:pt x="14473" y="2213"/>
                          </a:cubicBezTo>
                          <a:cubicBezTo>
                            <a:pt x="14593" y="2153"/>
                            <a:pt x="14593" y="2034"/>
                            <a:pt x="14712" y="1974"/>
                          </a:cubicBezTo>
                          <a:lnTo>
                            <a:pt x="12201" y="359"/>
                          </a:lnTo>
                          <a:lnTo>
                            <a:pt x="11662" y="0"/>
                          </a:lnTo>
                          <a:lnTo>
                            <a:pt x="5502" y="7596"/>
                          </a:lnTo>
                          <a:moveTo>
                            <a:pt x="26495" y="25059"/>
                          </a:moveTo>
                          <a:lnTo>
                            <a:pt x="27451" y="25658"/>
                          </a:lnTo>
                          <a:lnTo>
                            <a:pt x="28767" y="24043"/>
                          </a:lnTo>
                          <a:lnTo>
                            <a:pt x="27810" y="23445"/>
                          </a:lnTo>
                          <a:lnTo>
                            <a:pt x="26495" y="25059"/>
                          </a:lnTo>
                          <a:moveTo>
                            <a:pt x="3409" y="10227"/>
                          </a:moveTo>
                          <a:lnTo>
                            <a:pt x="4366" y="10825"/>
                          </a:lnTo>
                          <a:lnTo>
                            <a:pt x="5682" y="9151"/>
                          </a:lnTo>
                          <a:lnTo>
                            <a:pt x="4725" y="8552"/>
                          </a:lnTo>
                          <a:lnTo>
                            <a:pt x="3409" y="10227"/>
                          </a:lnTo>
                          <a:moveTo>
                            <a:pt x="10048" y="20933"/>
                          </a:moveTo>
                          <a:lnTo>
                            <a:pt x="24102" y="29844"/>
                          </a:lnTo>
                          <a:lnTo>
                            <a:pt x="26674" y="26554"/>
                          </a:lnTo>
                          <a:lnTo>
                            <a:pt x="25717" y="25956"/>
                          </a:lnTo>
                          <a:lnTo>
                            <a:pt x="23923" y="28229"/>
                          </a:lnTo>
                          <a:lnTo>
                            <a:pt x="10825" y="19856"/>
                          </a:lnTo>
                          <a:lnTo>
                            <a:pt x="10048" y="20933"/>
                          </a:lnTo>
                          <a:moveTo>
                            <a:pt x="2990" y="16447"/>
                          </a:moveTo>
                          <a:lnTo>
                            <a:pt x="9090" y="20335"/>
                          </a:lnTo>
                          <a:lnTo>
                            <a:pt x="9868" y="19377"/>
                          </a:lnTo>
                          <a:lnTo>
                            <a:pt x="3768" y="15490"/>
                          </a:lnTo>
                          <a:lnTo>
                            <a:pt x="2990" y="16447"/>
                          </a:lnTo>
                          <a:moveTo>
                            <a:pt x="0" y="14533"/>
                          </a:moveTo>
                          <a:lnTo>
                            <a:pt x="538" y="14892"/>
                          </a:lnTo>
                          <a:lnTo>
                            <a:pt x="2033" y="15849"/>
                          </a:lnTo>
                          <a:lnTo>
                            <a:pt x="2811" y="14832"/>
                          </a:lnTo>
                          <a:lnTo>
                            <a:pt x="1734" y="14115"/>
                          </a:lnTo>
                          <a:lnTo>
                            <a:pt x="3528" y="11782"/>
                          </a:lnTo>
                          <a:lnTo>
                            <a:pt x="2572" y="11184"/>
                          </a:lnTo>
                          <a:lnTo>
                            <a:pt x="0" y="14533"/>
                          </a:lnTo>
                        </a:path>
                      </a:pathLst>
                    </a:custGeom>
                    <a:noFill/>
                    <a:ln w="6350" cap="flat">
                      <a:solidFill>
                        <a:schemeClr val="bg1">
                          <a:alpha val="80000"/>
                        </a:schemeClr>
                      </a:solidFill>
                      <a:prstDash val="solid"/>
                      <a:miter/>
                    </a:ln>
                  </p:spPr>
                  <p:txBody>
                    <a:bodyPr rtlCol="0" anchor="ctr"/>
                    <a:lstStyle/>
                    <a:p>
                      <a:endParaRPr lang="en-GB"/>
                    </a:p>
                  </p:txBody>
                </p:sp>
                <p:sp>
                  <p:nvSpPr>
                    <p:cNvPr id="7368" name="Vrije vorm: vorm 7367">
                      <a:extLst>
                        <a:ext uri="{FF2B5EF4-FFF2-40B4-BE49-F238E27FC236}">
                          <a16:creationId xmlns:a16="http://schemas.microsoft.com/office/drawing/2014/main" id="{174EB96B-424F-4549-937F-C4DA58B22769}"/>
                        </a:ext>
                      </a:extLst>
                    </p:cNvPr>
                    <p:cNvSpPr/>
                    <p:nvPr/>
                  </p:nvSpPr>
                  <p:spPr>
                    <a:xfrm>
                      <a:off x="4818867" y="5231138"/>
                      <a:ext cx="44137" cy="38994"/>
                    </a:xfrm>
                    <a:custGeom>
                      <a:avLst/>
                      <a:gdLst>
                        <a:gd name="connsiteX0" fmla="*/ 0 w 44137"/>
                        <a:gd name="connsiteY0" fmla="*/ 22248 h 38994"/>
                        <a:gd name="connsiteX1" fmla="*/ 718 w 44137"/>
                        <a:gd name="connsiteY1" fmla="*/ 22667 h 38994"/>
                        <a:gd name="connsiteX2" fmla="*/ 1674 w 44137"/>
                        <a:gd name="connsiteY2" fmla="*/ 23265 h 38994"/>
                        <a:gd name="connsiteX3" fmla="*/ 3170 w 44137"/>
                        <a:gd name="connsiteY3" fmla="*/ 24222 h 38994"/>
                        <a:gd name="connsiteX4" fmla="*/ 3947 w 44137"/>
                        <a:gd name="connsiteY4" fmla="*/ 23205 h 38994"/>
                        <a:gd name="connsiteX5" fmla="*/ 2452 w 44137"/>
                        <a:gd name="connsiteY5" fmla="*/ 22308 h 38994"/>
                        <a:gd name="connsiteX6" fmla="*/ 1734 w 44137"/>
                        <a:gd name="connsiteY6" fmla="*/ 21829 h 38994"/>
                        <a:gd name="connsiteX7" fmla="*/ 17703 w 44137"/>
                        <a:gd name="connsiteY7" fmla="*/ 1555 h 38994"/>
                        <a:gd name="connsiteX8" fmla="*/ 17882 w 44137"/>
                        <a:gd name="connsiteY8" fmla="*/ 1674 h 38994"/>
                        <a:gd name="connsiteX9" fmla="*/ 18839 w 44137"/>
                        <a:gd name="connsiteY9" fmla="*/ 2273 h 38994"/>
                        <a:gd name="connsiteX10" fmla="*/ 19916 w 44137"/>
                        <a:gd name="connsiteY10" fmla="*/ 2990 h 38994"/>
                        <a:gd name="connsiteX11" fmla="*/ 20693 w 44137"/>
                        <a:gd name="connsiteY11" fmla="*/ 1973 h 38994"/>
                        <a:gd name="connsiteX12" fmla="*/ 28707 w 44137"/>
                        <a:gd name="connsiteY12" fmla="*/ 7117 h 38994"/>
                        <a:gd name="connsiteX13" fmla="*/ 27930 w 44137"/>
                        <a:gd name="connsiteY13" fmla="*/ 8074 h 38994"/>
                        <a:gd name="connsiteX14" fmla="*/ 40968 w 44137"/>
                        <a:gd name="connsiteY14" fmla="*/ 16447 h 38994"/>
                        <a:gd name="connsiteX15" fmla="*/ 41925 w 44137"/>
                        <a:gd name="connsiteY15" fmla="*/ 17045 h 38994"/>
                        <a:gd name="connsiteX16" fmla="*/ 42463 w 44137"/>
                        <a:gd name="connsiteY16" fmla="*/ 17404 h 38994"/>
                        <a:gd name="connsiteX17" fmla="*/ 26674 w 44137"/>
                        <a:gd name="connsiteY17" fmla="*/ 37380 h 38994"/>
                        <a:gd name="connsiteX18" fmla="*/ 12021 w 44137"/>
                        <a:gd name="connsiteY18" fmla="*/ 28229 h 38994"/>
                        <a:gd name="connsiteX19" fmla="*/ 11243 w 44137"/>
                        <a:gd name="connsiteY19" fmla="*/ 29245 h 38994"/>
                        <a:gd name="connsiteX20" fmla="*/ 26853 w 44137"/>
                        <a:gd name="connsiteY20" fmla="*/ 38994 h 38994"/>
                        <a:gd name="connsiteX21" fmla="*/ 44137 w 44137"/>
                        <a:gd name="connsiteY21" fmla="*/ 16985 h 38994"/>
                        <a:gd name="connsiteX22" fmla="*/ 42702 w 44137"/>
                        <a:gd name="connsiteY22" fmla="*/ 16088 h 38994"/>
                        <a:gd name="connsiteX23" fmla="*/ 41745 w 44137"/>
                        <a:gd name="connsiteY23" fmla="*/ 15490 h 38994"/>
                        <a:gd name="connsiteX24" fmla="*/ 19617 w 44137"/>
                        <a:gd name="connsiteY24" fmla="*/ 1256 h 38994"/>
                        <a:gd name="connsiteX25" fmla="*/ 18660 w 44137"/>
                        <a:gd name="connsiteY25" fmla="*/ 658 h 38994"/>
                        <a:gd name="connsiteX26" fmla="*/ 18241 w 44137"/>
                        <a:gd name="connsiteY26" fmla="*/ 419 h 38994"/>
                        <a:gd name="connsiteX27" fmla="*/ 17583 w 44137"/>
                        <a:gd name="connsiteY27" fmla="*/ 0 h 38994"/>
                        <a:gd name="connsiteX28" fmla="*/ 0 w 44137"/>
                        <a:gd name="connsiteY28" fmla="*/ 22248 h 3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137" h="38994">
                          <a:moveTo>
                            <a:pt x="0" y="22248"/>
                          </a:moveTo>
                          <a:lnTo>
                            <a:pt x="718" y="22667"/>
                          </a:lnTo>
                          <a:lnTo>
                            <a:pt x="1674" y="23265"/>
                          </a:lnTo>
                          <a:lnTo>
                            <a:pt x="3170" y="24222"/>
                          </a:lnTo>
                          <a:lnTo>
                            <a:pt x="3947" y="23205"/>
                          </a:lnTo>
                          <a:lnTo>
                            <a:pt x="2452" y="22308"/>
                          </a:lnTo>
                          <a:lnTo>
                            <a:pt x="1734" y="21829"/>
                          </a:lnTo>
                          <a:lnTo>
                            <a:pt x="17703" y="1555"/>
                          </a:lnTo>
                          <a:lnTo>
                            <a:pt x="17882" y="1674"/>
                          </a:lnTo>
                          <a:lnTo>
                            <a:pt x="18839" y="2273"/>
                          </a:lnTo>
                          <a:lnTo>
                            <a:pt x="19916" y="2990"/>
                          </a:lnTo>
                          <a:lnTo>
                            <a:pt x="20693" y="1973"/>
                          </a:lnTo>
                          <a:lnTo>
                            <a:pt x="28707" y="7117"/>
                          </a:lnTo>
                          <a:lnTo>
                            <a:pt x="27930" y="8074"/>
                          </a:lnTo>
                          <a:lnTo>
                            <a:pt x="40968" y="16447"/>
                          </a:lnTo>
                          <a:lnTo>
                            <a:pt x="41925" y="17045"/>
                          </a:lnTo>
                          <a:lnTo>
                            <a:pt x="42463" y="17404"/>
                          </a:lnTo>
                          <a:lnTo>
                            <a:pt x="26674" y="37380"/>
                          </a:lnTo>
                          <a:lnTo>
                            <a:pt x="12021" y="28229"/>
                          </a:lnTo>
                          <a:lnTo>
                            <a:pt x="11243" y="29245"/>
                          </a:lnTo>
                          <a:lnTo>
                            <a:pt x="26853" y="38994"/>
                          </a:lnTo>
                          <a:lnTo>
                            <a:pt x="44137" y="16985"/>
                          </a:lnTo>
                          <a:lnTo>
                            <a:pt x="42702" y="16088"/>
                          </a:lnTo>
                          <a:lnTo>
                            <a:pt x="41745" y="15490"/>
                          </a:lnTo>
                          <a:lnTo>
                            <a:pt x="19617" y="1256"/>
                          </a:lnTo>
                          <a:lnTo>
                            <a:pt x="18660" y="658"/>
                          </a:lnTo>
                          <a:lnTo>
                            <a:pt x="18241" y="419"/>
                          </a:lnTo>
                          <a:lnTo>
                            <a:pt x="17583" y="0"/>
                          </a:lnTo>
                          <a:lnTo>
                            <a:pt x="0" y="22248"/>
                          </a:lnTo>
                        </a:path>
                      </a:pathLst>
                    </a:custGeom>
                    <a:noFill/>
                    <a:ln w="6350" cap="flat">
                      <a:solidFill>
                        <a:schemeClr val="bg1">
                          <a:alpha val="80000"/>
                        </a:schemeClr>
                      </a:solidFill>
                      <a:prstDash val="solid"/>
                      <a:miter/>
                    </a:ln>
                  </p:spPr>
                  <p:txBody>
                    <a:bodyPr rtlCol="0" anchor="ctr"/>
                    <a:lstStyle/>
                    <a:p>
                      <a:endParaRPr lang="en-GB"/>
                    </a:p>
                  </p:txBody>
                </p:sp>
                <p:sp>
                  <p:nvSpPr>
                    <p:cNvPr id="7369" name="Vrije vorm: vorm 7368">
                      <a:extLst>
                        <a:ext uri="{FF2B5EF4-FFF2-40B4-BE49-F238E27FC236}">
                          <a16:creationId xmlns:a16="http://schemas.microsoft.com/office/drawing/2014/main" id="{5353DB83-91D0-4C02-BE9B-FBCFD6582AE2}"/>
                        </a:ext>
                      </a:extLst>
                    </p:cNvPr>
                    <p:cNvSpPr/>
                    <p:nvPr/>
                  </p:nvSpPr>
                  <p:spPr>
                    <a:xfrm>
                      <a:off x="4822036" y="5233231"/>
                      <a:ext cx="25537" cy="27152"/>
                    </a:xfrm>
                    <a:custGeom>
                      <a:avLst/>
                      <a:gdLst>
                        <a:gd name="connsiteX0" fmla="*/ 21172 w 25537"/>
                        <a:gd name="connsiteY0" fmla="*/ 8672 h 27152"/>
                        <a:gd name="connsiteX1" fmla="*/ 7835 w 25537"/>
                        <a:gd name="connsiteY1" fmla="*/ 25538 h 27152"/>
                        <a:gd name="connsiteX2" fmla="*/ 1675 w 25537"/>
                        <a:gd name="connsiteY2" fmla="*/ 21710 h 27152"/>
                        <a:gd name="connsiteX3" fmla="*/ 15012 w 25537"/>
                        <a:gd name="connsiteY3" fmla="*/ 4785 h 27152"/>
                        <a:gd name="connsiteX4" fmla="*/ 15789 w 25537"/>
                        <a:gd name="connsiteY4" fmla="*/ 3768 h 27152"/>
                        <a:gd name="connsiteX5" fmla="*/ 17583 w 25537"/>
                        <a:gd name="connsiteY5" fmla="*/ 1435 h 27152"/>
                        <a:gd name="connsiteX6" fmla="*/ 23684 w 25537"/>
                        <a:gd name="connsiteY6" fmla="*/ 5323 h 27152"/>
                        <a:gd name="connsiteX7" fmla="*/ 21889 w 25537"/>
                        <a:gd name="connsiteY7" fmla="*/ 7596 h 27152"/>
                        <a:gd name="connsiteX8" fmla="*/ 21172 w 25537"/>
                        <a:gd name="connsiteY8" fmla="*/ 8672 h 27152"/>
                        <a:gd name="connsiteX9" fmla="*/ 0 w 25537"/>
                        <a:gd name="connsiteY9" fmla="*/ 22129 h 27152"/>
                        <a:gd name="connsiteX10" fmla="*/ 8074 w 25537"/>
                        <a:gd name="connsiteY10" fmla="*/ 27152 h 27152"/>
                        <a:gd name="connsiteX11" fmla="*/ 8851 w 25537"/>
                        <a:gd name="connsiteY11" fmla="*/ 26196 h 27152"/>
                        <a:gd name="connsiteX12" fmla="*/ 22189 w 25537"/>
                        <a:gd name="connsiteY12" fmla="*/ 9330 h 27152"/>
                        <a:gd name="connsiteX13" fmla="*/ 22966 w 25537"/>
                        <a:gd name="connsiteY13" fmla="*/ 8373 h 27152"/>
                        <a:gd name="connsiteX14" fmla="*/ 24760 w 25537"/>
                        <a:gd name="connsiteY14" fmla="*/ 6100 h 27152"/>
                        <a:gd name="connsiteX15" fmla="*/ 25538 w 25537"/>
                        <a:gd name="connsiteY15" fmla="*/ 5143 h 27152"/>
                        <a:gd name="connsiteX16" fmla="*/ 17523 w 25537"/>
                        <a:gd name="connsiteY16" fmla="*/ 0 h 27152"/>
                        <a:gd name="connsiteX17" fmla="*/ 16746 w 25537"/>
                        <a:gd name="connsiteY17" fmla="*/ 1017 h 27152"/>
                        <a:gd name="connsiteX18" fmla="*/ 14952 w 25537"/>
                        <a:gd name="connsiteY18" fmla="*/ 3349 h 27152"/>
                        <a:gd name="connsiteX19" fmla="*/ 14174 w 25537"/>
                        <a:gd name="connsiteY19" fmla="*/ 4366 h 27152"/>
                        <a:gd name="connsiteX20" fmla="*/ 778 w 25537"/>
                        <a:gd name="connsiteY20" fmla="*/ 21291 h 27152"/>
                        <a:gd name="connsiteX21" fmla="*/ 0 w 25537"/>
                        <a:gd name="connsiteY21" fmla="*/ 22129 h 2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537" h="27152">
                          <a:moveTo>
                            <a:pt x="21172" y="8672"/>
                          </a:moveTo>
                          <a:lnTo>
                            <a:pt x="7835" y="25538"/>
                          </a:lnTo>
                          <a:lnTo>
                            <a:pt x="1675" y="21710"/>
                          </a:lnTo>
                          <a:lnTo>
                            <a:pt x="15012" y="4785"/>
                          </a:lnTo>
                          <a:lnTo>
                            <a:pt x="15789" y="3768"/>
                          </a:lnTo>
                          <a:lnTo>
                            <a:pt x="17583" y="1435"/>
                          </a:lnTo>
                          <a:lnTo>
                            <a:pt x="23684" y="5323"/>
                          </a:lnTo>
                          <a:lnTo>
                            <a:pt x="21889" y="7596"/>
                          </a:lnTo>
                          <a:lnTo>
                            <a:pt x="21172" y="8672"/>
                          </a:lnTo>
                          <a:moveTo>
                            <a:pt x="0" y="22129"/>
                          </a:moveTo>
                          <a:lnTo>
                            <a:pt x="8074" y="27152"/>
                          </a:lnTo>
                          <a:lnTo>
                            <a:pt x="8851" y="26196"/>
                          </a:lnTo>
                          <a:lnTo>
                            <a:pt x="22189" y="9330"/>
                          </a:lnTo>
                          <a:lnTo>
                            <a:pt x="22966" y="8373"/>
                          </a:lnTo>
                          <a:lnTo>
                            <a:pt x="24760" y="6100"/>
                          </a:lnTo>
                          <a:lnTo>
                            <a:pt x="25538" y="5143"/>
                          </a:lnTo>
                          <a:lnTo>
                            <a:pt x="17523" y="0"/>
                          </a:lnTo>
                          <a:lnTo>
                            <a:pt x="16746" y="1017"/>
                          </a:lnTo>
                          <a:lnTo>
                            <a:pt x="14952" y="3349"/>
                          </a:lnTo>
                          <a:lnTo>
                            <a:pt x="14174" y="4366"/>
                          </a:lnTo>
                          <a:lnTo>
                            <a:pt x="778" y="21291"/>
                          </a:lnTo>
                          <a:lnTo>
                            <a:pt x="0" y="22129"/>
                          </a:lnTo>
                        </a:path>
                      </a:pathLst>
                    </a:custGeom>
                    <a:noFill/>
                    <a:ln w="6350" cap="flat">
                      <a:solidFill>
                        <a:schemeClr val="bg1">
                          <a:alpha val="80000"/>
                        </a:schemeClr>
                      </a:solidFill>
                      <a:prstDash val="solid"/>
                      <a:miter/>
                    </a:ln>
                  </p:spPr>
                  <p:txBody>
                    <a:bodyPr rtlCol="0" anchor="ctr"/>
                    <a:lstStyle/>
                    <a:p>
                      <a:endParaRPr lang="en-GB"/>
                    </a:p>
                  </p:txBody>
                </p:sp>
                <p:sp>
                  <p:nvSpPr>
                    <p:cNvPr id="7370" name="Vrije vorm: vorm 7369">
                      <a:extLst>
                        <a:ext uri="{FF2B5EF4-FFF2-40B4-BE49-F238E27FC236}">
                          <a16:creationId xmlns:a16="http://schemas.microsoft.com/office/drawing/2014/main" id="{CE2D42CA-C3D6-4AF7-8C90-BFE4A4EB9A10}"/>
                        </a:ext>
                      </a:extLst>
                    </p:cNvPr>
                    <p:cNvSpPr/>
                    <p:nvPr/>
                  </p:nvSpPr>
                  <p:spPr>
                    <a:xfrm>
                      <a:off x="5072928" y="4906145"/>
                      <a:ext cx="28707" cy="32296"/>
                    </a:xfrm>
                    <a:custGeom>
                      <a:avLst/>
                      <a:gdLst>
                        <a:gd name="connsiteX0" fmla="*/ 16926 w 28707"/>
                        <a:gd name="connsiteY0" fmla="*/ 897 h 32296"/>
                        <a:gd name="connsiteX1" fmla="*/ 17523 w 28707"/>
                        <a:gd name="connsiteY1" fmla="*/ 180 h 32296"/>
                        <a:gd name="connsiteX2" fmla="*/ 17344 w 28707"/>
                        <a:gd name="connsiteY2" fmla="*/ 0 h 32296"/>
                        <a:gd name="connsiteX3" fmla="*/ 16746 w 28707"/>
                        <a:gd name="connsiteY3" fmla="*/ 718 h 32296"/>
                        <a:gd name="connsiteX4" fmla="*/ 16926 w 28707"/>
                        <a:gd name="connsiteY4" fmla="*/ 897 h 32296"/>
                        <a:gd name="connsiteX5" fmla="*/ 19617 w 28707"/>
                        <a:gd name="connsiteY5" fmla="*/ 3409 h 32296"/>
                        <a:gd name="connsiteX6" fmla="*/ 20215 w 28707"/>
                        <a:gd name="connsiteY6" fmla="*/ 2691 h 32296"/>
                        <a:gd name="connsiteX7" fmla="*/ 21650 w 28707"/>
                        <a:gd name="connsiteY7" fmla="*/ 4067 h 32296"/>
                        <a:gd name="connsiteX8" fmla="*/ 21650 w 28707"/>
                        <a:gd name="connsiteY8" fmla="*/ 4067 h 32296"/>
                        <a:gd name="connsiteX9" fmla="*/ 18361 w 28707"/>
                        <a:gd name="connsiteY9" fmla="*/ 957 h 32296"/>
                        <a:gd name="connsiteX10" fmla="*/ 17763 w 28707"/>
                        <a:gd name="connsiteY10" fmla="*/ 1675 h 32296"/>
                        <a:gd name="connsiteX11" fmla="*/ 19617 w 28707"/>
                        <a:gd name="connsiteY11" fmla="*/ 3409 h 32296"/>
                        <a:gd name="connsiteX12" fmla="*/ 28109 w 28707"/>
                        <a:gd name="connsiteY12" fmla="*/ 11423 h 32296"/>
                        <a:gd name="connsiteX13" fmla="*/ 28707 w 28707"/>
                        <a:gd name="connsiteY13" fmla="*/ 10705 h 32296"/>
                        <a:gd name="connsiteX14" fmla="*/ 22488 w 28707"/>
                        <a:gd name="connsiteY14" fmla="*/ 4844 h 32296"/>
                        <a:gd name="connsiteX15" fmla="*/ 22488 w 28707"/>
                        <a:gd name="connsiteY15" fmla="*/ 4844 h 32296"/>
                        <a:gd name="connsiteX16" fmla="*/ 23923 w 28707"/>
                        <a:gd name="connsiteY16" fmla="*/ 6160 h 32296"/>
                        <a:gd name="connsiteX17" fmla="*/ 23325 w 28707"/>
                        <a:gd name="connsiteY17" fmla="*/ 6878 h 32296"/>
                        <a:gd name="connsiteX18" fmla="*/ 28109 w 28707"/>
                        <a:gd name="connsiteY18" fmla="*/ 11423 h 32296"/>
                        <a:gd name="connsiteX19" fmla="*/ 10825 w 28707"/>
                        <a:gd name="connsiteY19" fmla="*/ 8134 h 32296"/>
                        <a:gd name="connsiteX20" fmla="*/ 11662 w 28707"/>
                        <a:gd name="connsiteY20" fmla="*/ 8911 h 32296"/>
                        <a:gd name="connsiteX21" fmla="*/ 16806 w 28707"/>
                        <a:gd name="connsiteY21" fmla="*/ 2512 h 32296"/>
                        <a:gd name="connsiteX22" fmla="*/ 16327 w 28707"/>
                        <a:gd name="connsiteY22" fmla="*/ 2093 h 32296"/>
                        <a:gd name="connsiteX23" fmla="*/ 16148 w 28707"/>
                        <a:gd name="connsiteY23" fmla="*/ 1914 h 32296"/>
                        <a:gd name="connsiteX24" fmla="*/ 16148 w 28707"/>
                        <a:gd name="connsiteY24" fmla="*/ 1914 h 32296"/>
                        <a:gd name="connsiteX25" fmla="*/ 15968 w 28707"/>
                        <a:gd name="connsiteY25" fmla="*/ 1734 h 32296"/>
                        <a:gd name="connsiteX26" fmla="*/ 10825 w 28707"/>
                        <a:gd name="connsiteY26" fmla="*/ 8134 h 32296"/>
                        <a:gd name="connsiteX27" fmla="*/ 22248 w 28707"/>
                        <a:gd name="connsiteY27" fmla="*/ 18720 h 32296"/>
                        <a:gd name="connsiteX28" fmla="*/ 27272 w 28707"/>
                        <a:gd name="connsiteY28" fmla="*/ 12440 h 32296"/>
                        <a:gd name="connsiteX29" fmla="*/ 26435 w 28707"/>
                        <a:gd name="connsiteY29" fmla="*/ 11662 h 32296"/>
                        <a:gd name="connsiteX30" fmla="*/ 21351 w 28707"/>
                        <a:gd name="connsiteY30" fmla="*/ 18002 h 32296"/>
                        <a:gd name="connsiteX31" fmla="*/ 22248 w 28707"/>
                        <a:gd name="connsiteY31" fmla="*/ 18720 h 32296"/>
                        <a:gd name="connsiteX32" fmla="*/ 18720 w 28707"/>
                        <a:gd name="connsiteY32" fmla="*/ 21351 h 32296"/>
                        <a:gd name="connsiteX33" fmla="*/ 19557 w 28707"/>
                        <a:gd name="connsiteY33" fmla="*/ 22129 h 32296"/>
                        <a:gd name="connsiteX34" fmla="*/ 21530 w 28707"/>
                        <a:gd name="connsiteY34" fmla="*/ 19676 h 32296"/>
                        <a:gd name="connsiteX35" fmla="*/ 20693 w 28707"/>
                        <a:gd name="connsiteY35" fmla="*/ 18899 h 32296"/>
                        <a:gd name="connsiteX36" fmla="*/ 18720 w 28707"/>
                        <a:gd name="connsiteY36" fmla="*/ 21351 h 32296"/>
                        <a:gd name="connsiteX37" fmla="*/ 8074 w 28707"/>
                        <a:gd name="connsiteY37" fmla="*/ 11603 h 32296"/>
                        <a:gd name="connsiteX38" fmla="*/ 8911 w 28707"/>
                        <a:gd name="connsiteY38" fmla="*/ 12380 h 32296"/>
                        <a:gd name="connsiteX39" fmla="*/ 10885 w 28707"/>
                        <a:gd name="connsiteY39" fmla="*/ 9928 h 32296"/>
                        <a:gd name="connsiteX40" fmla="*/ 10048 w 28707"/>
                        <a:gd name="connsiteY40" fmla="*/ 9151 h 32296"/>
                        <a:gd name="connsiteX41" fmla="*/ 8074 w 28707"/>
                        <a:gd name="connsiteY41" fmla="*/ 11603 h 32296"/>
                        <a:gd name="connsiteX42" fmla="*/ 1674 w 28707"/>
                        <a:gd name="connsiteY42" fmla="*/ 19796 h 32296"/>
                        <a:gd name="connsiteX43" fmla="*/ 2392 w 28707"/>
                        <a:gd name="connsiteY43" fmla="*/ 20454 h 32296"/>
                        <a:gd name="connsiteX44" fmla="*/ 8134 w 28707"/>
                        <a:gd name="connsiteY44" fmla="*/ 13277 h 32296"/>
                        <a:gd name="connsiteX45" fmla="*/ 7356 w 28707"/>
                        <a:gd name="connsiteY45" fmla="*/ 12560 h 32296"/>
                        <a:gd name="connsiteX46" fmla="*/ 1674 w 28707"/>
                        <a:gd name="connsiteY46" fmla="*/ 19796 h 32296"/>
                        <a:gd name="connsiteX47" fmla="*/ 13038 w 28707"/>
                        <a:gd name="connsiteY47" fmla="*/ 30143 h 32296"/>
                        <a:gd name="connsiteX48" fmla="*/ 18720 w 28707"/>
                        <a:gd name="connsiteY48" fmla="*/ 23026 h 32296"/>
                        <a:gd name="connsiteX49" fmla="*/ 17882 w 28707"/>
                        <a:gd name="connsiteY49" fmla="*/ 22248 h 32296"/>
                        <a:gd name="connsiteX50" fmla="*/ 12201 w 28707"/>
                        <a:gd name="connsiteY50" fmla="*/ 29366 h 32296"/>
                        <a:gd name="connsiteX51" fmla="*/ 13038 w 28707"/>
                        <a:gd name="connsiteY51" fmla="*/ 30143 h 32296"/>
                        <a:gd name="connsiteX52" fmla="*/ 6399 w 28707"/>
                        <a:gd name="connsiteY52" fmla="*/ 26136 h 32296"/>
                        <a:gd name="connsiteX53" fmla="*/ 6399 w 28707"/>
                        <a:gd name="connsiteY53" fmla="*/ 26136 h 32296"/>
                        <a:gd name="connsiteX54" fmla="*/ 4366 w 28707"/>
                        <a:gd name="connsiteY54" fmla="*/ 24222 h 32296"/>
                        <a:gd name="connsiteX55" fmla="*/ 4366 w 28707"/>
                        <a:gd name="connsiteY55" fmla="*/ 24222 h 32296"/>
                        <a:gd name="connsiteX56" fmla="*/ 6399 w 28707"/>
                        <a:gd name="connsiteY56" fmla="*/ 26136 h 32296"/>
                        <a:gd name="connsiteX57" fmla="*/ 2632 w 28707"/>
                        <a:gd name="connsiteY57" fmla="*/ 24282 h 32296"/>
                        <a:gd name="connsiteX58" fmla="*/ 3409 w 28707"/>
                        <a:gd name="connsiteY58" fmla="*/ 23265 h 32296"/>
                        <a:gd name="connsiteX59" fmla="*/ 1495 w 28707"/>
                        <a:gd name="connsiteY59" fmla="*/ 21531 h 32296"/>
                        <a:gd name="connsiteX60" fmla="*/ 1555 w 28707"/>
                        <a:gd name="connsiteY60" fmla="*/ 21411 h 32296"/>
                        <a:gd name="connsiteX61" fmla="*/ 837 w 28707"/>
                        <a:gd name="connsiteY61" fmla="*/ 20753 h 32296"/>
                        <a:gd name="connsiteX62" fmla="*/ 0 w 28707"/>
                        <a:gd name="connsiteY62" fmla="*/ 21830 h 32296"/>
                        <a:gd name="connsiteX63" fmla="*/ 2632 w 28707"/>
                        <a:gd name="connsiteY63" fmla="*/ 24282 h 32296"/>
                        <a:gd name="connsiteX64" fmla="*/ 11363 w 28707"/>
                        <a:gd name="connsiteY64" fmla="*/ 32296 h 32296"/>
                        <a:gd name="connsiteX65" fmla="*/ 12320 w 28707"/>
                        <a:gd name="connsiteY65" fmla="*/ 31100 h 32296"/>
                        <a:gd name="connsiteX66" fmla="*/ 11483 w 28707"/>
                        <a:gd name="connsiteY66" fmla="*/ 30322 h 32296"/>
                        <a:gd name="connsiteX67" fmla="*/ 11304 w 28707"/>
                        <a:gd name="connsiteY67" fmla="*/ 30502 h 32296"/>
                        <a:gd name="connsiteX68" fmla="*/ 7655 w 28707"/>
                        <a:gd name="connsiteY68" fmla="*/ 27152 h 32296"/>
                        <a:gd name="connsiteX69" fmla="*/ 6878 w 28707"/>
                        <a:gd name="connsiteY69" fmla="*/ 28109 h 32296"/>
                        <a:gd name="connsiteX70" fmla="*/ 11363 w 28707"/>
                        <a:gd name="connsiteY70"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8707" h="32296">
                          <a:moveTo>
                            <a:pt x="16926" y="897"/>
                          </a:moveTo>
                          <a:lnTo>
                            <a:pt x="17523" y="180"/>
                          </a:lnTo>
                          <a:lnTo>
                            <a:pt x="17344" y="0"/>
                          </a:lnTo>
                          <a:lnTo>
                            <a:pt x="16746" y="718"/>
                          </a:lnTo>
                          <a:lnTo>
                            <a:pt x="16926" y="897"/>
                          </a:lnTo>
                          <a:moveTo>
                            <a:pt x="19617" y="3409"/>
                          </a:moveTo>
                          <a:lnTo>
                            <a:pt x="20215" y="2691"/>
                          </a:lnTo>
                          <a:lnTo>
                            <a:pt x="21650" y="4067"/>
                          </a:lnTo>
                          <a:lnTo>
                            <a:pt x="21650" y="4067"/>
                          </a:lnTo>
                          <a:lnTo>
                            <a:pt x="18361" y="957"/>
                          </a:lnTo>
                          <a:lnTo>
                            <a:pt x="17763" y="1675"/>
                          </a:lnTo>
                          <a:lnTo>
                            <a:pt x="19617" y="3409"/>
                          </a:lnTo>
                          <a:moveTo>
                            <a:pt x="28109" y="11423"/>
                          </a:moveTo>
                          <a:lnTo>
                            <a:pt x="28707" y="10705"/>
                          </a:lnTo>
                          <a:lnTo>
                            <a:pt x="22488" y="4844"/>
                          </a:lnTo>
                          <a:lnTo>
                            <a:pt x="22488" y="4844"/>
                          </a:lnTo>
                          <a:lnTo>
                            <a:pt x="23923" y="6160"/>
                          </a:lnTo>
                          <a:lnTo>
                            <a:pt x="23325" y="6878"/>
                          </a:lnTo>
                          <a:lnTo>
                            <a:pt x="28109" y="11423"/>
                          </a:lnTo>
                          <a:moveTo>
                            <a:pt x="10825" y="8134"/>
                          </a:moveTo>
                          <a:lnTo>
                            <a:pt x="11662" y="8911"/>
                          </a:lnTo>
                          <a:lnTo>
                            <a:pt x="16806" y="2512"/>
                          </a:lnTo>
                          <a:lnTo>
                            <a:pt x="16327" y="2093"/>
                          </a:lnTo>
                          <a:lnTo>
                            <a:pt x="16148" y="1914"/>
                          </a:lnTo>
                          <a:lnTo>
                            <a:pt x="16148" y="1914"/>
                          </a:lnTo>
                          <a:lnTo>
                            <a:pt x="15968" y="1734"/>
                          </a:lnTo>
                          <a:lnTo>
                            <a:pt x="10825" y="8134"/>
                          </a:lnTo>
                          <a:moveTo>
                            <a:pt x="22248" y="18720"/>
                          </a:moveTo>
                          <a:lnTo>
                            <a:pt x="27272" y="12440"/>
                          </a:lnTo>
                          <a:lnTo>
                            <a:pt x="26435" y="11662"/>
                          </a:lnTo>
                          <a:lnTo>
                            <a:pt x="21351" y="18002"/>
                          </a:lnTo>
                          <a:lnTo>
                            <a:pt x="22248" y="18720"/>
                          </a:lnTo>
                          <a:moveTo>
                            <a:pt x="18720" y="21351"/>
                          </a:moveTo>
                          <a:lnTo>
                            <a:pt x="19557" y="22129"/>
                          </a:lnTo>
                          <a:lnTo>
                            <a:pt x="21530" y="19676"/>
                          </a:lnTo>
                          <a:lnTo>
                            <a:pt x="20693" y="18899"/>
                          </a:lnTo>
                          <a:lnTo>
                            <a:pt x="18720" y="21351"/>
                          </a:lnTo>
                          <a:moveTo>
                            <a:pt x="8074" y="11603"/>
                          </a:moveTo>
                          <a:lnTo>
                            <a:pt x="8911" y="12380"/>
                          </a:lnTo>
                          <a:lnTo>
                            <a:pt x="10885" y="9928"/>
                          </a:lnTo>
                          <a:lnTo>
                            <a:pt x="10048" y="9151"/>
                          </a:lnTo>
                          <a:lnTo>
                            <a:pt x="8074" y="11603"/>
                          </a:lnTo>
                          <a:moveTo>
                            <a:pt x="1674" y="19796"/>
                          </a:moveTo>
                          <a:lnTo>
                            <a:pt x="2392" y="20454"/>
                          </a:lnTo>
                          <a:lnTo>
                            <a:pt x="8134" y="13277"/>
                          </a:lnTo>
                          <a:lnTo>
                            <a:pt x="7356" y="12560"/>
                          </a:lnTo>
                          <a:lnTo>
                            <a:pt x="1674" y="19796"/>
                          </a:lnTo>
                          <a:moveTo>
                            <a:pt x="13038" y="30143"/>
                          </a:moveTo>
                          <a:lnTo>
                            <a:pt x="18720" y="23026"/>
                          </a:lnTo>
                          <a:lnTo>
                            <a:pt x="17882" y="22248"/>
                          </a:lnTo>
                          <a:lnTo>
                            <a:pt x="12201" y="29366"/>
                          </a:lnTo>
                          <a:lnTo>
                            <a:pt x="13038" y="30143"/>
                          </a:lnTo>
                          <a:moveTo>
                            <a:pt x="6399" y="26136"/>
                          </a:moveTo>
                          <a:lnTo>
                            <a:pt x="6399" y="26136"/>
                          </a:lnTo>
                          <a:lnTo>
                            <a:pt x="4366" y="24222"/>
                          </a:lnTo>
                          <a:lnTo>
                            <a:pt x="4366" y="24222"/>
                          </a:lnTo>
                          <a:lnTo>
                            <a:pt x="6399" y="26136"/>
                          </a:lnTo>
                          <a:moveTo>
                            <a:pt x="2632" y="24282"/>
                          </a:moveTo>
                          <a:lnTo>
                            <a:pt x="3409" y="23265"/>
                          </a:lnTo>
                          <a:lnTo>
                            <a:pt x="1495" y="21531"/>
                          </a:lnTo>
                          <a:lnTo>
                            <a:pt x="1555" y="21411"/>
                          </a:lnTo>
                          <a:lnTo>
                            <a:pt x="837" y="20753"/>
                          </a:lnTo>
                          <a:lnTo>
                            <a:pt x="0" y="21830"/>
                          </a:lnTo>
                          <a:lnTo>
                            <a:pt x="2632" y="24282"/>
                          </a:lnTo>
                          <a:moveTo>
                            <a:pt x="11363" y="32296"/>
                          </a:moveTo>
                          <a:lnTo>
                            <a:pt x="12320" y="31100"/>
                          </a:lnTo>
                          <a:lnTo>
                            <a:pt x="11483" y="30322"/>
                          </a:lnTo>
                          <a:lnTo>
                            <a:pt x="11304" y="30502"/>
                          </a:lnTo>
                          <a:lnTo>
                            <a:pt x="7655" y="27152"/>
                          </a:lnTo>
                          <a:lnTo>
                            <a:pt x="6878" y="28109"/>
                          </a:lnTo>
                          <a:lnTo>
                            <a:pt x="11363" y="32296"/>
                          </a:lnTo>
                        </a:path>
                      </a:pathLst>
                    </a:custGeom>
                    <a:noFill/>
                    <a:ln w="6350" cap="flat">
                      <a:solidFill>
                        <a:schemeClr val="bg1">
                          <a:alpha val="80000"/>
                        </a:schemeClr>
                      </a:solidFill>
                      <a:prstDash val="solid"/>
                      <a:miter/>
                    </a:ln>
                  </p:spPr>
                  <p:txBody>
                    <a:bodyPr rtlCol="0" anchor="ctr"/>
                    <a:lstStyle/>
                    <a:p>
                      <a:endParaRPr lang="en-GB"/>
                    </a:p>
                  </p:txBody>
                </p:sp>
                <p:sp>
                  <p:nvSpPr>
                    <p:cNvPr id="7371" name="Vrije vorm: vorm 7370">
                      <a:extLst>
                        <a:ext uri="{FF2B5EF4-FFF2-40B4-BE49-F238E27FC236}">
                          <a16:creationId xmlns:a16="http://schemas.microsoft.com/office/drawing/2014/main" id="{C12A76F7-3D2F-4750-8EAF-63842A0BFBB7}"/>
                        </a:ext>
                      </a:extLst>
                    </p:cNvPr>
                    <p:cNvSpPr/>
                    <p:nvPr/>
                  </p:nvSpPr>
                  <p:spPr>
                    <a:xfrm>
                      <a:off x="5076397" y="4908837"/>
                      <a:ext cx="20394" cy="24760"/>
                    </a:xfrm>
                    <a:custGeom>
                      <a:avLst/>
                      <a:gdLst>
                        <a:gd name="connsiteX0" fmla="*/ 17583 w 20394"/>
                        <a:gd name="connsiteY0" fmla="*/ 2093 h 24760"/>
                        <a:gd name="connsiteX1" fmla="*/ 18181 w 20394"/>
                        <a:gd name="connsiteY1" fmla="*/ 1375 h 24760"/>
                        <a:gd name="connsiteX2" fmla="*/ 16746 w 20394"/>
                        <a:gd name="connsiteY2" fmla="*/ 0 h 24760"/>
                        <a:gd name="connsiteX3" fmla="*/ 16148 w 20394"/>
                        <a:gd name="connsiteY3" fmla="*/ 718 h 24760"/>
                        <a:gd name="connsiteX4" fmla="*/ 17583 w 20394"/>
                        <a:gd name="connsiteY4" fmla="*/ 2093 h 24760"/>
                        <a:gd name="connsiteX5" fmla="*/ 19796 w 20394"/>
                        <a:gd name="connsiteY5" fmla="*/ 4187 h 24760"/>
                        <a:gd name="connsiteX6" fmla="*/ 20394 w 20394"/>
                        <a:gd name="connsiteY6" fmla="*/ 3469 h 24760"/>
                        <a:gd name="connsiteX7" fmla="*/ 18959 w 20394"/>
                        <a:gd name="connsiteY7" fmla="*/ 2153 h 24760"/>
                        <a:gd name="connsiteX8" fmla="*/ 18360 w 20394"/>
                        <a:gd name="connsiteY8" fmla="*/ 2871 h 24760"/>
                        <a:gd name="connsiteX9" fmla="*/ 19796 w 20394"/>
                        <a:gd name="connsiteY9" fmla="*/ 4187 h 24760"/>
                        <a:gd name="connsiteX10" fmla="*/ 10227 w 20394"/>
                        <a:gd name="connsiteY10" fmla="*/ 8134 h 24760"/>
                        <a:gd name="connsiteX11" fmla="*/ 11064 w 20394"/>
                        <a:gd name="connsiteY11" fmla="*/ 8911 h 24760"/>
                        <a:gd name="connsiteX12" fmla="*/ 16208 w 20394"/>
                        <a:gd name="connsiteY12" fmla="*/ 2512 h 24760"/>
                        <a:gd name="connsiteX13" fmla="*/ 15370 w 20394"/>
                        <a:gd name="connsiteY13" fmla="*/ 1734 h 24760"/>
                        <a:gd name="connsiteX14" fmla="*/ 10227 w 20394"/>
                        <a:gd name="connsiteY14" fmla="*/ 8134 h 24760"/>
                        <a:gd name="connsiteX15" fmla="*/ 13935 w 20394"/>
                        <a:gd name="connsiteY15" fmla="*/ 11543 h 24760"/>
                        <a:gd name="connsiteX16" fmla="*/ 19019 w 20394"/>
                        <a:gd name="connsiteY16" fmla="*/ 5203 h 24760"/>
                        <a:gd name="connsiteX17" fmla="*/ 18181 w 20394"/>
                        <a:gd name="connsiteY17" fmla="*/ 4426 h 24760"/>
                        <a:gd name="connsiteX18" fmla="*/ 13098 w 20394"/>
                        <a:gd name="connsiteY18" fmla="*/ 10765 h 24760"/>
                        <a:gd name="connsiteX19" fmla="*/ 13935 w 20394"/>
                        <a:gd name="connsiteY19" fmla="*/ 11543 h 24760"/>
                        <a:gd name="connsiteX20" fmla="*/ 10347 w 20394"/>
                        <a:gd name="connsiteY20" fmla="*/ 14174 h 24760"/>
                        <a:gd name="connsiteX21" fmla="*/ 11184 w 20394"/>
                        <a:gd name="connsiteY21" fmla="*/ 14952 h 24760"/>
                        <a:gd name="connsiteX22" fmla="*/ 13157 w 20394"/>
                        <a:gd name="connsiteY22" fmla="*/ 12500 h 24760"/>
                        <a:gd name="connsiteX23" fmla="*/ 12320 w 20394"/>
                        <a:gd name="connsiteY23" fmla="*/ 11722 h 24760"/>
                        <a:gd name="connsiteX24" fmla="*/ 10347 w 20394"/>
                        <a:gd name="connsiteY24" fmla="*/ 14174 h 24760"/>
                        <a:gd name="connsiteX25" fmla="*/ 7476 w 20394"/>
                        <a:gd name="connsiteY25" fmla="*/ 11543 h 24760"/>
                        <a:gd name="connsiteX26" fmla="*/ 8313 w 20394"/>
                        <a:gd name="connsiteY26" fmla="*/ 12320 h 24760"/>
                        <a:gd name="connsiteX27" fmla="*/ 10287 w 20394"/>
                        <a:gd name="connsiteY27" fmla="*/ 9868 h 24760"/>
                        <a:gd name="connsiteX28" fmla="*/ 9449 w 20394"/>
                        <a:gd name="connsiteY28" fmla="*/ 9091 h 24760"/>
                        <a:gd name="connsiteX29" fmla="*/ 7476 w 20394"/>
                        <a:gd name="connsiteY29" fmla="*/ 11543 h 24760"/>
                        <a:gd name="connsiteX30" fmla="*/ 1674 w 20394"/>
                        <a:gd name="connsiteY30" fmla="*/ 20215 h 24760"/>
                        <a:gd name="connsiteX31" fmla="*/ 1854 w 20394"/>
                        <a:gd name="connsiteY31" fmla="*/ 20394 h 24760"/>
                        <a:gd name="connsiteX32" fmla="*/ 7595 w 20394"/>
                        <a:gd name="connsiteY32" fmla="*/ 13277 h 24760"/>
                        <a:gd name="connsiteX33" fmla="*/ 7356 w 20394"/>
                        <a:gd name="connsiteY33" fmla="*/ 13098 h 24760"/>
                        <a:gd name="connsiteX34" fmla="*/ 1674 w 20394"/>
                        <a:gd name="connsiteY34" fmla="*/ 20215 h 24760"/>
                        <a:gd name="connsiteX35" fmla="*/ 4246 w 20394"/>
                        <a:gd name="connsiteY35" fmla="*/ 22607 h 24760"/>
                        <a:gd name="connsiteX36" fmla="*/ 9868 w 20394"/>
                        <a:gd name="connsiteY36" fmla="*/ 15430 h 24760"/>
                        <a:gd name="connsiteX37" fmla="*/ 9569 w 20394"/>
                        <a:gd name="connsiteY37" fmla="*/ 15131 h 24760"/>
                        <a:gd name="connsiteX38" fmla="*/ 3887 w 20394"/>
                        <a:gd name="connsiteY38" fmla="*/ 22248 h 24760"/>
                        <a:gd name="connsiteX39" fmla="*/ 4246 w 20394"/>
                        <a:gd name="connsiteY39" fmla="*/ 22607 h 24760"/>
                        <a:gd name="connsiteX40" fmla="*/ 2572 w 20394"/>
                        <a:gd name="connsiteY40" fmla="*/ 24760 h 24760"/>
                        <a:gd name="connsiteX41" fmla="*/ 3469 w 20394"/>
                        <a:gd name="connsiteY41" fmla="*/ 23624 h 24760"/>
                        <a:gd name="connsiteX42" fmla="*/ 3110 w 20394"/>
                        <a:gd name="connsiteY42" fmla="*/ 23265 h 24760"/>
                        <a:gd name="connsiteX43" fmla="*/ 2990 w 20394"/>
                        <a:gd name="connsiteY43" fmla="*/ 23384 h 24760"/>
                        <a:gd name="connsiteX44" fmla="*/ 2990 w 20394"/>
                        <a:gd name="connsiteY44" fmla="*/ 23384 h 24760"/>
                        <a:gd name="connsiteX45" fmla="*/ 957 w 20394"/>
                        <a:gd name="connsiteY45" fmla="*/ 21471 h 24760"/>
                        <a:gd name="connsiteX46" fmla="*/ 957 w 20394"/>
                        <a:gd name="connsiteY46" fmla="*/ 21471 h 24760"/>
                        <a:gd name="connsiteX47" fmla="*/ 1076 w 20394"/>
                        <a:gd name="connsiteY47" fmla="*/ 21351 h 24760"/>
                        <a:gd name="connsiteX48" fmla="*/ 897 w 20394"/>
                        <a:gd name="connsiteY48" fmla="*/ 21172 h 24760"/>
                        <a:gd name="connsiteX49" fmla="*/ 0 w 20394"/>
                        <a:gd name="connsiteY49" fmla="*/ 22308 h 24760"/>
                        <a:gd name="connsiteX50" fmla="*/ 2572 w 20394"/>
                        <a:gd name="connsiteY50" fmla="*/ 24760 h 2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0394" h="24760">
                          <a:moveTo>
                            <a:pt x="17583" y="2093"/>
                          </a:moveTo>
                          <a:lnTo>
                            <a:pt x="18181" y="1375"/>
                          </a:lnTo>
                          <a:lnTo>
                            <a:pt x="16746" y="0"/>
                          </a:lnTo>
                          <a:lnTo>
                            <a:pt x="16148" y="718"/>
                          </a:lnTo>
                          <a:lnTo>
                            <a:pt x="17583" y="2093"/>
                          </a:lnTo>
                          <a:moveTo>
                            <a:pt x="19796" y="4187"/>
                          </a:moveTo>
                          <a:lnTo>
                            <a:pt x="20394" y="3469"/>
                          </a:lnTo>
                          <a:lnTo>
                            <a:pt x="18959" y="2153"/>
                          </a:lnTo>
                          <a:lnTo>
                            <a:pt x="18360" y="2871"/>
                          </a:lnTo>
                          <a:lnTo>
                            <a:pt x="19796" y="4187"/>
                          </a:lnTo>
                          <a:moveTo>
                            <a:pt x="10227" y="8134"/>
                          </a:moveTo>
                          <a:lnTo>
                            <a:pt x="11064" y="8911"/>
                          </a:lnTo>
                          <a:lnTo>
                            <a:pt x="16208" y="2512"/>
                          </a:lnTo>
                          <a:lnTo>
                            <a:pt x="15370" y="1734"/>
                          </a:lnTo>
                          <a:lnTo>
                            <a:pt x="10227" y="8134"/>
                          </a:lnTo>
                          <a:moveTo>
                            <a:pt x="13935" y="11543"/>
                          </a:moveTo>
                          <a:lnTo>
                            <a:pt x="19019" y="5203"/>
                          </a:lnTo>
                          <a:lnTo>
                            <a:pt x="18181" y="4426"/>
                          </a:lnTo>
                          <a:lnTo>
                            <a:pt x="13098" y="10765"/>
                          </a:lnTo>
                          <a:lnTo>
                            <a:pt x="13935" y="11543"/>
                          </a:lnTo>
                          <a:moveTo>
                            <a:pt x="10347" y="14174"/>
                          </a:moveTo>
                          <a:lnTo>
                            <a:pt x="11184" y="14952"/>
                          </a:lnTo>
                          <a:lnTo>
                            <a:pt x="13157" y="12500"/>
                          </a:lnTo>
                          <a:lnTo>
                            <a:pt x="12320" y="11722"/>
                          </a:lnTo>
                          <a:lnTo>
                            <a:pt x="10347" y="14174"/>
                          </a:lnTo>
                          <a:moveTo>
                            <a:pt x="7476" y="11543"/>
                          </a:moveTo>
                          <a:lnTo>
                            <a:pt x="8313" y="12320"/>
                          </a:lnTo>
                          <a:lnTo>
                            <a:pt x="10287" y="9868"/>
                          </a:lnTo>
                          <a:lnTo>
                            <a:pt x="9449" y="9091"/>
                          </a:lnTo>
                          <a:lnTo>
                            <a:pt x="7476" y="11543"/>
                          </a:lnTo>
                          <a:moveTo>
                            <a:pt x="1674" y="20215"/>
                          </a:moveTo>
                          <a:lnTo>
                            <a:pt x="1854" y="20394"/>
                          </a:lnTo>
                          <a:lnTo>
                            <a:pt x="7595" y="13277"/>
                          </a:lnTo>
                          <a:lnTo>
                            <a:pt x="7356" y="13098"/>
                          </a:lnTo>
                          <a:lnTo>
                            <a:pt x="1674" y="20215"/>
                          </a:lnTo>
                          <a:moveTo>
                            <a:pt x="4246" y="22607"/>
                          </a:moveTo>
                          <a:lnTo>
                            <a:pt x="9868" y="15430"/>
                          </a:lnTo>
                          <a:lnTo>
                            <a:pt x="9569" y="15131"/>
                          </a:lnTo>
                          <a:lnTo>
                            <a:pt x="3887" y="22248"/>
                          </a:lnTo>
                          <a:lnTo>
                            <a:pt x="4246" y="22607"/>
                          </a:lnTo>
                          <a:moveTo>
                            <a:pt x="2572" y="24760"/>
                          </a:moveTo>
                          <a:lnTo>
                            <a:pt x="3469" y="23624"/>
                          </a:lnTo>
                          <a:lnTo>
                            <a:pt x="3110" y="23265"/>
                          </a:lnTo>
                          <a:lnTo>
                            <a:pt x="2990" y="23384"/>
                          </a:lnTo>
                          <a:lnTo>
                            <a:pt x="2990" y="23384"/>
                          </a:lnTo>
                          <a:lnTo>
                            <a:pt x="957" y="21471"/>
                          </a:lnTo>
                          <a:lnTo>
                            <a:pt x="957" y="21471"/>
                          </a:lnTo>
                          <a:lnTo>
                            <a:pt x="1076" y="21351"/>
                          </a:lnTo>
                          <a:lnTo>
                            <a:pt x="897" y="21172"/>
                          </a:lnTo>
                          <a:lnTo>
                            <a:pt x="0" y="22308"/>
                          </a:lnTo>
                          <a:lnTo>
                            <a:pt x="2572" y="24760"/>
                          </a:lnTo>
                        </a:path>
                      </a:pathLst>
                    </a:custGeom>
                    <a:noFill/>
                    <a:ln w="6350" cap="flat">
                      <a:solidFill>
                        <a:schemeClr val="bg1">
                          <a:alpha val="80000"/>
                        </a:schemeClr>
                      </a:solidFill>
                      <a:prstDash val="solid"/>
                      <a:miter/>
                    </a:ln>
                  </p:spPr>
                  <p:txBody>
                    <a:bodyPr rtlCol="0" anchor="ctr"/>
                    <a:lstStyle/>
                    <a:p>
                      <a:endParaRPr lang="en-GB"/>
                    </a:p>
                  </p:txBody>
                </p:sp>
                <p:sp>
                  <p:nvSpPr>
                    <p:cNvPr id="7372" name="Vrije vorm: vorm 7371">
                      <a:extLst>
                        <a:ext uri="{FF2B5EF4-FFF2-40B4-BE49-F238E27FC236}">
                          <a16:creationId xmlns:a16="http://schemas.microsoft.com/office/drawing/2014/main" id="{8D9F8361-F30D-46BC-9BE9-04D1C8CA3B4F}"/>
                        </a:ext>
                      </a:extLst>
                    </p:cNvPr>
                    <p:cNvSpPr/>
                    <p:nvPr/>
                  </p:nvSpPr>
                  <p:spPr>
                    <a:xfrm>
                      <a:off x="5085308" y="4894543"/>
                      <a:ext cx="26075" cy="27810"/>
                    </a:xfrm>
                    <a:custGeom>
                      <a:avLst/>
                      <a:gdLst>
                        <a:gd name="connsiteX0" fmla="*/ 16925 w 26075"/>
                        <a:gd name="connsiteY0" fmla="*/ 8612 h 27810"/>
                        <a:gd name="connsiteX1" fmla="*/ 16925 w 26075"/>
                        <a:gd name="connsiteY1" fmla="*/ 8612 h 27810"/>
                        <a:gd name="connsiteX2" fmla="*/ 7895 w 26075"/>
                        <a:gd name="connsiteY2" fmla="*/ 0 h 27810"/>
                        <a:gd name="connsiteX3" fmla="*/ 7835 w 26075"/>
                        <a:gd name="connsiteY3" fmla="*/ 60 h 27810"/>
                        <a:gd name="connsiteX4" fmla="*/ 11662 w 26075"/>
                        <a:gd name="connsiteY4" fmla="*/ 3648 h 27810"/>
                        <a:gd name="connsiteX5" fmla="*/ 11662 w 26075"/>
                        <a:gd name="connsiteY5" fmla="*/ 3648 h 27810"/>
                        <a:gd name="connsiteX6" fmla="*/ 16447 w 26075"/>
                        <a:gd name="connsiteY6" fmla="*/ 8134 h 27810"/>
                        <a:gd name="connsiteX7" fmla="*/ 16925 w 26075"/>
                        <a:gd name="connsiteY7" fmla="*/ 8612 h 27810"/>
                        <a:gd name="connsiteX8" fmla="*/ 19497 w 26075"/>
                        <a:gd name="connsiteY8" fmla="*/ 11065 h 27810"/>
                        <a:gd name="connsiteX9" fmla="*/ 17763 w 26075"/>
                        <a:gd name="connsiteY9" fmla="*/ 9450 h 27810"/>
                        <a:gd name="connsiteX10" fmla="*/ 17763 w 26075"/>
                        <a:gd name="connsiteY10" fmla="*/ 9450 h 27810"/>
                        <a:gd name="connsiteX11" fmla="*/ 19497 w 26075"/>
                        <a:gd name="connsiteY11" fmla="*/ 11065 h 27810"/>
                        <a:gd name="connsiteX12" fmla="*/ 3768 w 26075"/>
                        <a:gd name="connsiteY12" fmla="*/ 13516 h 27810"/>
                        <a:gd name="connsiteX13" fmla="*/ 4545 w 26075"/>
                        <a:gd name="connsiteY13" fmla="*/ 12500 h 27810"/>
                        <a:gd name="connsiteX14" fmla="*/ 4366 w 26075"/>
                        <a:gd name="connsiteY14" fmla="*/ 12320 h 27810"/>
                        <a:gd name="connsiteX15" fmla="*/ 1615 w 26075"/>
                        <a:gd name="connsiteY15" fmla="*/ 9689 h 27810"/>
                        <a:gd name="connsiteX16" fmla="*/ 7895 w 26075"/>
                        <a:gd name="connsiteY16" fmla="*/ 1854 h 27810"/>
                        <a:gd name="connsiteX17" fmla="*/ 7057 w 26075"/>
                        <a:gd name="connsiteY17" fmla="*/ 1076 h 27810"/>
                        <a:gd name="connsiteX18" fmla="*/ 0 w 26075"/>
                        <a:gd name="connsiteY18" fmla="*/ 9928 h 27810"/>
                        <a:gd name="connsiteX19" fmla="*/ 3588 w 26075"/>
                        <a:gd name="connsiteY19" fmla="*/ 13337 h 27810"/>
                        <a:gd name="connsiteX20" fmla="*/ 3768 w 26075"/>
                        <a:gd name="connsiteY20" fmla="*/ 13516 h 27810"/>
                        <a:gd name="connsiteX21" fmla="*/ 18959 w 26075"/>
                        <a:gd name="connsiteY21" fmla="*/ 27811 h 27810"/>
                        <a:gd name="connsiteX22" fmla="*/ 26076 w 26075"/>
                        <a:gd name="connsiteY22" fmla="*/ 18899 h 27810"/>
                        <a:gd name="connsiteX23" fmla="*/ 16985 w 26075"/>
                        <a:gd name="connsiteY23" fmla="*/ 10406 h 27810"/>
                        <a:gd name="connsiteX24" fmla="*/ 16985 w 26075"/>
                        <a:gd name="connsiteY24" fmla="*/ 10406 h 27810"/>
                        <a:gd name="connsiteX25" fmla="*/ 16626 w 26075"/>
                        <a:gd name="connsiteY25" fmla="*/ 10048 h 27810"/>
                        <a:gd name="connsiteX26" fmla="*/ 25238 w 26075"/>
                        <a:gd name="connsiteY26" fmla="*/ 18182 h 27810"/>
                        <a:gd name="connsiteX27" fmla="*/ 18959 w 26075"/>
                        <a:gd name="connsiteY27" fmla="*/ 26016 h 27810"/>
                        <a:gd name="connsiteX28" fmla="*/ 15729 w 26075"/>
                        <a:gd name="connsiteY28" fmla="*/ 22966 h 27810"/>
                        <a:gd name="connsiteX29" fmla="*/ 10944 w 26075"/>
                        <a:gd name="connsiteY29" fmla="*/ 18421 h 27810"/>
                        <a:gd name="connsiteX30" fmla="*/ 9509 w 26075"/>
                        <a:gd name="connsiteY30" fmla="*/ 17105 h 27810"/>
                        <a:gd name="connsiteX31" fmla="*/ 8732 w 26075"/>
                        <a:gd name="connsiteY31" fmla="*/ 18062 h 27810"/>
                        <a:gd name="connsiteX32" fmla="*/ 3947 w 26075"/>
                        <a:gd name="connsiteY32" fmla="*/ 13576 h 27810"/>
                        <a:gd name="connsiteX33" fmla="*/ 4426 w 26075"/>
                        <a:gd name="connsiteY33" fmla="*/ 13995 h 27810"/>
                        <a:gd name="connsiteX34" fmla="*/ 6459 w 26075"/>
                        <a:gd name="connsiteY34" fmla="*/ 15909 h 27810"/>
                        <a:gd name="connsiteX35" fmla="*/ 7296 w 26075"/>
                        <a:gd name="connsiteY35" fmla="*/ 16686 h 27810"/>
                        <a:gd name="connsiteX36" fmla="*/ 9330 w 26075"/>
                        <a:gd name="connsiteY36" fmla="*/ 18600 h 27810"/>
                        <a:gd name="connsiteX37" fmla="*/ 10167 w 26075"/>
                        <a:gd name="connsiteY37" fmla="*/ 19377 h 27810"/>
                        <a:gd name="connsiteX38" fmla="*/ 14174 w 26075"/>
                        <a:gd name="connsiteY38" fmla="*/ 23145 h 27810"/>
                        <a:gd name="connsiteX39" fmla="*/ 15012 w 26075"/>
                        <a:gd name="connsiteY39" fmla="*/ 23923 h 27810"/>
                        <a:gd name="connsiteX40" fmla="*/ 18959 w 26075"/>
                        <a:gd name="connsiteY40" fmla="*/ 27811 h 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6075" h="27810">
                          <a:moveTo>
                            <a:pt x="16925" y="8612"/>
                          </a:moveTo>
                          <a:lnTo>
                            <a:pt x="16925" y="8612"/>
                          </a:lnTo>
                          <a:lnTo>
                            <a:pt x="7895" y="0"/>
                          </a:lnTo>
                          <a:lnTo>
                            <a:pt x="7835" y="60"/>
                          </a:lnTo>
                          <a:lnTo>
                            <a:pt x="11662" y="3648"/>
                          </a:lnTo>
                          <a:lnTo>
                            <a:pt x="11662" y="3648"/>
                          </a:lnTo>
                          <a:lnTo>
                            <a:pt x="16447" y="8134"/>
                          </a:lnTo>
                          <a:lnTo>
                            <a:pt x="16925" y="8612"/>
                          </a:lnTo>
                          <a:moveTo>
                            <a:pt x="19497" y="11065"/>
                          </a:moveTo>
                          <a:lnTo>
                            <a:pt x="17763" y="9450"/>
                          </a:lnTo>
                          <a:lnTo>
                            <a:pt x="17763" y="9450"/>
                          </a:lnTo>
                          <a:lnTo>
                            <a:pt x="19497" y="11065"/>
                          </a:lnTo>
                          <a:moveTo>
                            <a:pt x="3768" y="13516"/>
                          </a:moveTo>
                          <a:lnTo>
                            <a:pt x="4545" y="12500"/>
                          </a:lnTo>
                          <a:lnTo>
                            <a:pt x="4366" y="12320"/>
                          </a:lnTo>
                          <a:lnTo>
                            <a:pt x="1615" y="9689"/>
                          </a:lnTo>
                          <a:lnTo>
                            <a:pt x="7895" y="1854"/>
                          </a:lnTo>
                          <a:lnTo>
                            <a:pt x="7057" y="1076"/>
                          </a:lnTo>
                          <a:lnTo>
                            <a:pt x="0" y="9928"/>
                          </a:lnTo>
                          <a:lnTo>
                            <a:pt x="3588" y="13337"/>
                          </a:lnTo>
                          <a:lnTo>
                            <a:pt x="3768" y="13516"/>
                          </a:lnTo>
                          <a:moveTo>
                            <a:pt x="18959" y="27811"/>
                          </a:moveTo>
                          <a:lnTo>
                            <a:pt x="26076" y="18899"/>
                          </a:lnTo>
                          <a:lnTo>
                            <a:pt x="16985" y="10406"/>
                          </a:lnTo>
                          <a:lnTo>
                            <a:pt x="16985" y="10406"/>
                          </a:lnTo>
                          <a:lnTo>
                            <a:pt x="16626" y="10048"/>
                          </a:lnTo>
                          <a:lnTo>
                            <a:pt x="25238" y="18182"/>
                          </a:lnTo>
                          <a:lnTo>
                            <a:pt x="18959" y="26016"/>
                          </a:lnTo>
                          <a:lnTo>
                            <a:pt x="15729" y="22966"/>
                          </a:lnTo>
                          <a:lnTo>
                            <a:pt x="10944" y="18421"/>
                          </a:lnTo>
                          <a:lnTo>
                            <a:pt x="9509" y="17105"/>
                          </a:lnTo>
                          <a:lnTo>
                            <a:pt x="8732" y="18062"/>
                          </a:lnTo>
                          <a:lnTo>
                            <a:pt x="3947" y="13576"/>
                          </a:lnTo>
                          <a:lnTo>
                            <a:pt x="4426" y="13995"/>
                          </a:lnTo>
                          <a:lnTo>
                            <a:pt x="6459" y="15909"/>
                          </a:lnTo>
                          <a:lnTo>
                            <a:pt x="7296" y="16686"/>
                          </a:lnTo>
                          <a:lnTo>
                            <a:pt x="9330" y="18600"/>
                          </a:lnTo>
                          <a:lnTo>
                            <a:pt x="10167" y="19377"/>
                          </a:lnTo>
                          <a:lnTo>
                            <a:pt x="14174" y="23145"/>
                          </a:lnTo>
                          <a:lnTo>
                            <a:pt x="15012" y="23923"/>
                          </a:lnTo>
                          <a:lnTo>
                            <a:pt x="18959" y="27811"/>
                          </a:lnTo>
                        </a:path>
                      </a:pathLst>
                    </a:custGeom>
                    <a:noFill/>
                    <a:ln w="6350" cap="flat">
                      <a:solidFill>
                        <a:schemeClr val="bg1">
                          <a:alpha val="80000"/>
                        </a:schemeClr>
                      </a:solidFill>
                      <a:prstDash val="solid"/>
                      <a:miter/>
                    </a:ln>
                  </p:spPr>
                  <p:txBody>
                    <a:bodyPr rtlCol="0" anchor="ctr"/>
                    <a:lstStyle/>
                    <a:p>
                      <a:endParaRPr lang="en-GB"/>
                    </a:p>
                  </p:txBody>
                </p:sp>
                <p:sp>
                  <p:nvSpPr>
                    <p:cNvPr id="7373" name="Vrije vorm: vorm 7372">
                      <a:extLst>
                        <a:ext uri="{FF2B5EF4-FFF2-40B4-BE49-F238E27FC236}">
                          <a16:creationId xmlns:a16="http://schemas.microsoft.com/office/drawing/2014/main" id="{1EE8A7A2-D360-4A61-9BE5-61195EF0E3DC}"/>
                        </a:ext>
                      </a:extLst>
                    </p:cNvPr>
                    <p:cNvSpPr/>
                    <p:nvPr/>
                  </p:nvSpPr>
                  <p:spPr>
                    <a:xfrm>
                      <a:off x="5089076" y="4898191"/>
                      <a:ext cx="12679" cy="14473"/>
                    </a:xfrm>
                    <a:custGeom>
                      <a:avLst/>
                      <a:gdLst>
                        <a:gd name="connsiteX0" fmla="*/ 12679 w 12679"/>
                        <a:gd name="connsiteY0" fmla="*/ 4486 h 14473"/>
                        <a:gd name="connsiteX1" fmla="*/ 7895 w 12679"/>
                        <a:gd name="connsiteY1" fmla="*/ 0 h 14473"/>
                        <a:gd name="connsiteX2" fmla="*/ 7895 w 12679"/>
                        <a:gd name="connsiteY2" fmla="*/ 0 h 14473"/>
                        <a:gd name="connsiteX3" fmla="*/ 12679 w 12679"/>
                        <a:gd name="connsiteY3" fmla="*/ 4486 h 14473"/>
                        <a:gd name="connsiteX4" fmla="*/ 4964 w 12679"/>
                        <a:gd name="connsiteY4" fmla="*/ 14474 h 14473"/>
                        <a:gd name="connsiteX5" fmla="*/ 5741 w 12679"/>
                        <a:gd name="connsiteY5" fmla="*/ 13516 h 14473"/>
                        <a:gd name="connsiteX6" fmla="*/ 6340 w 12679"/>
                        <a:gd name="connsiteY6" fmla="*/ 12799 h 14473"/>
                        <a:gd name="connsiteX7" fmla="*/ 6340 w 12679"/>
                        <a:gd name="connsiteY7" fmla="*/ 12799 h 14473"/>
                        <a:gd name="connsiteX8" fmla="*/ 12081 w 12679"/>
                        <a:gd name="connsiteY8" fmla="*/ 5682 h 14473"/>
                        <a:gd name="connsiteX9" fmla="*/ 10526 w 12679"/>
                        <a:gd name="connsiteY9" fmla="*/ 4246 h 14473"/>
                        <a:gd name="connsiteX10" fmla="*/ 11244 w 12679"/>
                        <a:gd name="connsiteY10" fmla="*/ 4904 h 14473"/>
                        <a:gd name="connsiteX11" fmla="*/ 5502 w 12679"/>
                        <a:gd name="connsiteY11" fmla="*/ 12021 h 14473"/>
                        <a:gd name="connsiteX12" fmla="*/ 5502 w 12679"/>
                        <a:gd name="connsiteY12" fmla="*/ 12021 h 14473"/>
                        <a:gd name="connsiteX13" fmla="*/ 4904 w 12679"/>
                        <a:gd name="connsiteY13" fmla="*/ 12739 h 14473"/>
                        <a:gd name="connsiteX14" fmla="*/ 3469 w 12679"/>
                        <a:gd name="connsiteY14" fmla="*/ 11364 h 14473"/>
                        <a:gd name="connsiteX15" fmla="*/ 1615 w 12679"/>
                        <a:gd name="connsiteY15" fmla="*/ 9629 h 14473"/>
                        <a:gd name="connsiteX16" fmla="*/ 2213 w 12679"/>
                        <a:gd name="connsiteY16" fmla="*/ 8912 h 14473"/>
                        <a:gd name="connsiteX17" fmla="*/ 7954 w 12679"/>
                        <a:gd name="connsiteY17" fmla="*/ 1795 h 14473"/>
                        <a:gd name="connsiteX18" fmla="*/ 7117 w 12679"/>
                        <a:gd name="connsiteY18" fmla="*/ 1017 h 14473"/>
                        <a:gd name="connsiteX19" fmla="*/ 1375 w 12679"/>
                        <a:gd name="connsiteY19" fmla="*/ 8194 h 14473"/>
                        <a:gd name="connsiteX20" fmla="*/ 778 w 12679"/>
                        <a:gd name="connsiteY20" fmla="*/ 8912 h 14473"/>
                        <a:gd name="connsiteX21" fmla="*/ 0 w 12679"/>
                        <a:gd name="connsiteY21" fmla="*/ 9928 h 14473"/>
                        <a:gd name="connsiteX22" fmla="*/ 0 w 12679"/>
                        <a:gd name="connsiteY22" fmla="*/ 9928 h 14473"/>
                        <a:gd name="connsiteX23" fmla="*/ 179 w 12679"/>
                        <a:gd name="connsiteY23" fmla="*/ 10107 h 14473"/>
                        <a:gd name="connsiteX24" fmla="*/ 4964 w 12679"/>
                        <a:gd name="connsiteY24" fmla="*/ 14474 h 1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679" h="14473">
                          <a:moveTo>
                            <a:pt x="12679" y="4486"/>
                          </a:moveTo>
                          <a:lnTo>
                            <a:pt x="7895" y="0"/>
                          </a:lnTo>
                          <a:lnTo>
                            <a:pt x="7895" y="0"/>
                          </a:lnTo>
                          <a:lnTo>
                            <a:pt x="12679" y="4486"/>
                          </a:lnTo>
                          <a:moveTo>
                            <a:pt x="4964" y="14474"/>
                          </a:moveTo>
                          <a:lnTo>
                            <a:pt x="5741" y="13516"/>
                          </a:lnTo>
                          <a:lnTo>
                            <a:pt x="6340" y="12799"/>
                          </a:lnTo>
                          <a:lnTo>
                            <a:pt x="6340" y="12799"/>
                          </a:lnTo>
                          <a:lnTo>
                            <a:pt x="12081" y="5682"/>
                          </a:lnTo>
                          <a:lnTo>
                            <a:pt x="10526" y="4246"/>
                          </a:lnTo>
                          <a:lnTo>
                            <a:pt x="11244" y="4904"/>
                          </a:lnTo>
                          <a:lnTo>
                            <a:pt x="5502" y="12021"/>
                          </a:lnTo>
                          <a:lnTo>
                            <a:pt x="5502" y="12021"/>
                          </a:lnTo>
                          <a:lnTo>
                            <a:pt x="4904" y="12739"/>
                          </a:lnTo>
                          <a:lnTo>
                            <a:pt x="3469" y="11364"/>
                          </a:lnTo>
                          <a:lnTo>
                            <a:pt x="1615" y="9629"/>
                          </a:lnTo>
                          <a:lnTo>
                            <a:pt x="2213" y="8912"/>
                          </a:lnTo>
                          <a:lnTo>
                            <a:pt x="7954" y="1795"/>
                          </a:lnTo>
                          <a:lnTo>
                            <a:pt x="7117" y="1017"/>
                          </a:lnTo>
                          <a:lnTo>
                            <a:pt x="1375" y="8194"/>
                          </a:lnTo>
                          <a:lnTo>
                            <a:pt x="778" y="8912"/>
                          </a:lnTo>
                          <a:lnTo>
                            <a:pt x="0" y="9928"/>
                          </a:lnTo>
                          <a:lnTo>
                            <a:pt x="0" y="9928"/>
                          </a:lnTo>
                          <a:lnTo>
                            <a:pt x="179" y="10107"/>
                          </a:lnTo>
                          <a:lnTo>
                            <a:pt x="4964" y="14474"/>
                          </a:lnTo>
                        </a:path>
                      </a:pathLst>
                    </a:custGeom>
                    <a:noFill/>
                    <a:ln w="6350" cap="flat">
                      <a:solidFill>
                        <a:schemeClr val="bg1">
                          <a:alpha val="80000"/>
                        </a:schemeClr>
                      </a:solidFill>
                      <a:prstDash val="solid"/>
                      <a:miter/>
                    </a:ln>
                  </p:spPr>
                  <p:txBody>
                    <a:bodyPr rtlCol="0" anchor="ctr"/>
                    <a:lstStyle/>
                    <a:p>
                      <a:endParaRPr lang="en-GB"/>
                    </a:p>
                  </p:txBody>
                </p:sp>
                <p:sp>
                  <p:nvSpPr>
                    <p:cNvPr id="7374" name="Vrije vorm: vorm 7373">
                      <a:extLst>
                        <a:ext uri="{FF2B5EF4-FFF2-40B4-BE49-F238E27FC236}">
                          <a16:creationId xmlns:a16="http://schemas.microsoft.com/office/drawing/2014/main" id="{842C6EAD-DA28-4E58-A710-CEF36CEAFDA9}"/>
                        </a:ext>
                      </a:extLst>
                    </p:cNvPr>
                    <p:cNvSpPr/>
                    <p:nvPr/>
                  </p:nvSpPr>
                  <p:spPr>
                    <a:xfrm>
                      <a:off x="5068502" y="4859556"/>
                      <a:ext cx="97545" cy="84208"/>
                    </a:xfrm>
                    <a:custGeom>
                      <a:avLst/>
                      <a:gdLst>
                        <a:gd name="connsiteX0" fmla="*/ 39114 w 97545"/>
                        <a:gd name="connsiteY0" fmla="*/ 36961 h 84208"/>
                        <a:gd name="connsiteX1" fmla="*/ 39114 w 97545"/>
                        <a:gd name="connsiteY1" fmla="*/ 36961 h 84208"/>
                        <a:gd name="connsiteX2" fmla="*/ 0 w 97545"/>
                        <a:gd name="connsiteY2" fmla="*/ 0 h 84208"/>
                        <a:gd name="connsiteX3" fmla="*/ 39114 w 97545"/>
                        <a:gd name="connsiteY3" fmla="*/ 36961 h 84208"/>
                        <a:gd name="connsiteX4" fmla="*/ 74998 w 97545"/>
                        <a:gd name="connsiteY4" fmla="*/ 84029 h 84208"/>
                        <a:gd name="connsiteX5" fmla="*/ 75178 w 97545"/>
                        <a:gd name="connsiteY5" fmla="*/ 84208 h 84208"/>
                        <a:gd name="connsiteX6" fmla="*/ 91804 w 97545"/>
                        <a:gd name="connsiteY6" fmla="*/ 78287 h 84208"/>
                        <a:gd name="connsiteX7" fmla="*/ 97546 w 97545"/>
                        <a:gd name="connsiteY7" fmla="*/ 47008 h 84208"/>
                        <a:gd name="connsiteX8" fmla="*/ 97546 w 97545"/>
                        <a:gd name="connsiteY8" fmla="*/ 46530 h 84208"/>
                        <a:gd name="connsiteX9" fmla="*/ 97426 w 97545"/>
                        <a:gd name="connsiteY9" fmla="*/ 46052 h 84208"/>
                        <a:gd name="connsiteX10" fmla="*/ 97247 w 97545"/>
                        <a:gd name="connsiteY10" fmla="*/ 45633 h 84208"/>
                        <a:gd name="connsiteX11" fmla="*/ 96947 w 97545"/>
                        <a:gd name="connsiteY11" fmla="*/ 45274 h 84208"/>
                        <a:gd name="connsiteX12" fmla="*/ 96768 w 97545"/>
                        <a:gd name="connsiteY12" fmla="*/ 45095 h 84208"/>
                        <a:gd name="connsiteX13" fmla="*/ 96588 w 97545"/>
                        <a:gd name="connsiteY13" fmla="*/ 44975 h 84208"/>
                        <a:gd name="connsiteX14" fmla="*/ 96409 w 97545"/>
                        <a:gd name="connsiteY14" fmla="*/ 44855 h 84208"/>
                        <a:gd name="connsiteX15" fmla="*/ 96170 w 97545"/>
                        <a:gd name="connsiteY15" fmla="*/ 44796 h 84208"/>
                        <a:gd name="connsiteX16" fmla="*/ 95991 w 97545"/>
                        <a:gd name="connsiteY16" fmla="*/ 44736 h 84208"/>
                        <a:gd name="connsiteX17" fmla="*/ 95811 w 97545"/>
                        <a:gd name="connsiteY17" fmla="*/ 44736 h 84208"/>
                        <a:gd name="connsiteX18" fmla="*/ 95632 w 97545"/>
                        <a:gd name="connsiteY18" fmla="*/ 44736 h 84208"/>
                        <a:gd name="connsiteX19" fmla="*/ 95452 w 97545"/>
                        <a:gd name="connsiteY19" fmla="*/ 44736 h 84208"/>
                        <a:gd name="connsiteX20" fmla="*/ 95153 w 97545"/>
                        <a:gd name="connsiteY20" fmla="*/ 44796 h 84208"/>
                        <a:gd name="connsiteX21" fmla="*/ 94854 w 97545"/>
                        <a:gd name="connsiteY21" fmla="*/ 44915 h 84208"/>
                        <a:gd name="connsiteX22" fmla="*/ 94555 w 97545"/>
                        <a:gd name="connsiteY22" fmla="*/ 45095 h 84208"/>
                        <a:gd name="connsiteX23" fmla="*/ 94316 w 97545"/>
                        <a:gd name="connsiteY23" fmla="*/ 45274 h 84208"/>
                        <a:gd name="connsiteX24" fmla="*/ 94256 w 97545"/>
                        <a:gd name="connsiteY24" fmla="*/ 45334 h 84208"/>
                        <a:gd name="connsiteX25" fmla="*/ 94196 w 97545"/>
                        <a:gd name="connsiteY25" fmla="*/ 45393 h 84208"/>
                        <a:gd name="connsiteX26" fmla="*/ 94137 w 97545"/>
                        <a:gd name="connsiteY26" fmla="*/ 45453 h 84208"/>
                        <a:gd name="connsiteX27" fmla="*/ 94077 w 97545"/>
                        <a:gd name="connsiteY27" fmla="*/ 45573 h 84208"/>
                        <a:gd name="connsiteX28" fmla="*/ 93957 w 97545"/>
                        <a:gd name="connsiteY28" fmla="*/ 45812 h 84208"/>
                        <a:gd name="connsiteX29" fmla="*/ 93598 w 97545"/>
                        <a:gd name="connsiteY29" fmla="*/ 46470 h 84208"/>
                        <a:gd name="connsiteX30" fmla="*/ 92641 w 97545"/>
                        <a:gd name="connsiteY30" fmla="*/ 49221 h 84208"/>
                        <a:gd name="connsiteX31" fmla="*/ 85584 w 97545"/>
                        <a:gd name="connsiteY31" fmla="*/ 69795 h 84208"/>
                        <a:gd name="connsiteX32" fmla="*/ 77929 w 97545"/>
                        <a:gd name="connsiteY32" fmla="*/ 72068 h 84208"/>
                        <a:gd name="connsiteX33" fmla="*/ 40669 w 97545"/>
                        <a:gd name="connsiteY33" fmla="*/ 36781 h 84208"/>
                        <a:gd name="connsiteX34" fmla="*/ 39891 w 97545"/>
                        <a:gd name="connsiteY34" fmla="*/ 37738 h 84208"/>
                        <a:gd name="connsiteX35" fmla="*/ 77391 w 97545"/>
                        <a:gd name="connsiteY35" fmla="*/ 73144 h 84208"/>
                        <a:gd name="connsiteX36" fmla="*/ 77570 w 97545"/>
                        <a:gd name="connsiteY36" fmla="*/ 73324 h 84208"/>
                        <a:gd name="connsiteX37" fmla="*/ 86362 w 97545"/>
                        <a:gd name="connsiteY37" fmla="*/ 70692 h 84208"/>
                        <a:gd name="connsiteX38" fmla="*/ 94615 w 97545"/>
                        <a:gd name="connsiteY38" fmla="*/ 46709 h 84208"/>
                        <a:gd name="connsiteX39" fmla="*/ 94734 w 97545"/>
                        <a:gd name="connsiteY39" fmla="*/ 46530 h 84208"/>
                        <a:gd name="connsiteX40" fmla="*/ 94854 w 97545"/>
                        <a:gd name="connsiteY40" fmla="*/ 46351 h 84208"/>
                        <a:gd name="connsiteX41" fmla="*/ 94974 w 97545"/>
                        <a:gd name="connsiteY41" fmla="*/ 46291 h 84208"/>
                        <a:gd name="connsiteX42" fmla="*/ 95572 w 97545"/>
                        <a:gd name="connsiteY42" fmla="*/ 45932 h 84208"/>
                        <a:gd name="connsiteX43" fmla="*/ 96230 w 97545"/>
                        <a:gd name="connsiteY43" fmla="*/ 46171 h 84208"/>
                        <a:gd name="connsiteX44" fmla="*/ 96529 w 97545"/>
                        <a:gd name="connsiteY44" fmla="*/ 46949 h 84208"/>
                        <a:gd name="connsiteX45" fmla="*/ 90967 w 97545"/>
                        <a:gd name="connsiteY45" fmla="*/ 77391 h 84208"/>
                        <a:gd name="connsiteX46" fmla="*/ 75596 w 97545"/>
                        <a:gd name="connsiteY46" fmla="*/ 82893 h 84208"/>
                        <a:gd name="connsiteX47" fmla="*/ 36363 w 97545"/>
                        <a:gd name="connsiteY47" fmla="*/ 46052 h 84208"/>
                        <a:gd name="connsiteX48" fmla="*/ 34628 w 97545"/>
                        <a:gd name="connsiteY48" fmla="*/ 44437 h 84208"/>
                        <a:gd name="connsiteX49" fmla="*/ 33851 w 97545"/>
                        <a:gd name="connsiteY49" fmla="*/ 45393 h 84208"/>
                        <a:gd name="connsiteX50" fmla="*/ 42942 w 97545"/>
                        <a:gd name="connsiteY50" fmla="*/ 53886 h 84208"/>
                        <a:gd name="connsiteX51" fmla="*/ 74998 w 97545"/>
                        <a:gd name="connsiteY51" fmla="*/ 84029 h 8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7545" h="84208">
                          <a:moveTo>
                            <a:pt x="39114" y="36961"/>
                          </a:moveTo>
                          <a:lnTo>
                            <a:pt x="39114" y="36961"/>
                          </a:lnTo>
                          <a:lnTo>
                            <a:pt x="0" y="0"/>
                          </a:lnTo>
                          <a:lnTo>
                            <a:pt x="39114" y="36961"/>
                          </a:lnTo>
                          <a:moveTo>
                            <a:pt x="74998" y="84029"/>
                          </a:moveTo>
                          <a:lnTo>
                            <a:pt x="75178" y="84208"/>
                          </a:lnTo>
                          <a:lnTo>
                            <a:pt x="91804" y="78287"/>
                          </a:lnTo>
                          <a:lnTo>
                            <a:pt x="97546" y="47008"/>
                          </a:lnTo>
                          <a:cubicBezTo>
                            <a:pt x="97546" y="46829"/>
                            <a:pt x="97546" y="46709"/>
                            <a:pt x="97546" y="46530"/>
                          </a:cubicBezTo>
                          <a:cubicBezTo>
                            <a:pt x="97546" y="46351"/>
                            <a:pt x="97486" y="46231"/>
                            <a:pt x="97426" y="46052"/>
                          </a:cubicBezTo>
                          <a:cubicBezTo>
                            <a:pt x="97366" y="45872"/>
                            <a:pt x="97306" y="45752"/>
                            <a:pt x="97247" y="45633"/>
                          </a:cubicBezTo>
                          <a:cubicBezTo>
                            <a:pt x="97187" y="45513"/>
                            <a:pt x="97067" y="45393"/>
                            <a:pt x="96947" y="45274"/>
                          </a:cubicBezTo>
                          <a:cubicBezTo>
                            <a:pt x="96887" y="45214"/>
                            <a:pt x="96828" y="45154"/>
                            <a:pt x="96768" y="45095"/>
                          </a:cubicBezTo>
                          <a:cubicBezTo>
                            <a:pt x="96708" y="45035"/>
                            <a:pt x="96648" y="44975"/>
                            <a:pt x="96588" y="44975"/>
                          </a:cubicBezTo>
                          <a:cubicBezTo>
                            <a:pt x="96529" y="44915"/>
                            <a:pt x="96469" y="44915"/>
                            <a:pt x="96409" y="44855"/>
                          </a:cubicBezTo>
                          <a:cubicBezTo>
                            <a:pt x="96349" y="44855"/>
                            <a:pt x="96289" y="44796"/>
                            <a:pt x="96170" y="44796"/>
                          </a:cubicBezTo>
                          <a:cubicBezTo>
                            <a:pt x="96110" y="44796"/>
                            <a:pt x="96050" y="44796"/>
                            <a:pt x="95991" y="44736"/>
                          </a:cubicBezTo>
                          <a:cubicBezTo>
                            <a:pt x="95931" y="44736"/>
                            <a:pt x="95871" y="44736"/>
                            <a:pt x="95811" y="44736"/>
                          </a:cubicBezTo>
                          <a:cubicBezTo>
                            <a:pt x="95751" y="44736"/>
                            <a:pt x="95692" y="44736"/>
                            <a:pt x="95632" y="44736"/>
                          </a:cubicBezTo>
                          <a:cubicBezTo>
                            <a:pt x="95572" y="44736"/>
                            <a:pt x="95512" y="44736"/>
                            <a:pt x="95452" y="44736"/>
                          </a:cubicBezTo>
                          <a:cubicBezTo>
                            <a:pt x="95333" y="44736"/>
                            <a:pt x="95273" y="44796"/>
                            <a:pt x="95153" y="44796"/>
                          </a:cubicBezTo>
                          <a:cubicBezTo>
                            <a:pt x="95033" y="44796"/>
                            <a:pt x="94974" y="44855"/>
                            <a:pt x="94854" y="44915"/>
                          </a:cubicBezTo>
                          <a:cubicBezTo>
                            <a:pt x="94734" y="44975"/>
                            <a:pt x="94675" y="45035"/>
                            <a:pt x="94555" y="45095"/>
                          </a:cubicBezTo>
                          <a:cubicBezTo>
                            <a:pt x="94495" y="45154"/>
                            <a:pt x="94376" y="45214"/>
                            <a:pt x="94316" y="45274"/>
                          </a:cubicBezTo>
                          <a:cubicBezTo>
                            <a:pt x="94316" y="45274"/>
                            <a:pt x="94256" y="45334"/>
                            <a:pt x="94256" y="45334"/>
                          </a:cubicBezTo>
                          <a:cubicBezTo>
                            <a:pt x="94256" y="45334"/>
                            <a:pt x="94196" y="45393"/>
                            <a:pt x="94196" y="45393"/>
                          </a:cubicBezTo>
                          <a:cubicBezTo>
                            <a:pt x="94196" y="45393"/>
                            <a:pt x="94137" y="45453"/>
                            <a:pt x="94137" y="45453"/>
                          </a:cubicBezTo>
                          <a:cubicBezTo>
                            <a:pt x="94137" y="45513"/>
                            <a:pt x="94077" y="45513"/>
                            <a:pt x="94077" y="45573"/>
                          </a:cubicBezTo>
                          <a:lnTo>
                            <a:pt x="93957" y="45812"/>
                          </a:lnTo>
                          <a:lnTo>
                            <a:pt x="93598" y="46470"/>
                          </a:lnTo>
                          <a:lnTo>
                            <a:pt x="92641" y="49221"/>
                          </a:lnTo>
                          <a:lnTo>
                            <a:pt x="85584" y="69795"/>
                          </a:lnTo>
                          <a:lnTo>
                            <a:pt x="77929" y="72068"/>
                          </a:lnTo>
                          <a:lnTo>
                            <a:pt x="40669" y="36781"/>
                          </a:lnTo>
                          <a:lnTo>
                            <a:pt x="39891" y="37738"/>
                          </a:lnTo>
                          <a:lnTo>
                            <a:pt x="77391" y="73144"/>
                          </a:lnTo>
                          <a:lnTo>
                            <a:pt x="77570" y="73324"/>
                          </a:lnTo>
                          <a:lnTo>
                            <a:pt x="86362" y="70692"/>
                          </a:lnTo>
                          <a:lnTo>
                            <a:pt x="94615" y="46709"/>
                          </a:lnTo>
                          <a:lnTo>
                            <a:pt x="94734" y="46530"/>
                          </a:lnTo>
                          <a:lnTo>
                            <a:pt x="94854" y="46351"/>
                          </a:lnTo>
                          <a:lnTo>
                            <a:pt x="94974" y="46291"/>
                          </a:lnTo>
                          <a:lnTo>
                            <a:pt x="95572" y="45932"/>
                          </a:lnTo>
                          <a:lnTo>
                            <a:pt x="96230" y="46171"/>
                          </a:lnTo>
                          <a:lnTo>
                            <a:pt x="96529" y="46949"/>
                          </a:lnTo>
                          <a:lnTo>
                            <a:pt x="90967" y="77391"/>
                          </a:lnTo>
                          <a:lnTo>
                            <a:pt x="75596" y="82893"/>
                          </a:lnTo>
                          <a:lnTo>
                            <a:pt x="36363" y="46052"/>
                          </a:lnTo>
                          <a:lnTo>
                            <a:pt x="34628" y="44437"/>
                          </a:lnTo>
                          <a:lnTo>
                            <a:pt x="33851" y="45393"/>
                          </a:lnTo>
                          <a:lnTo>
                            <a:pt x="42942" y="53886"/>
                          </a:lnTo>
                          <a:lnTo>
                            <a:pt x="74998" y="84029"/>
                          </a:lnTo>
                        </a:path>
                      </a:pathLst>
                    </a:custGeom>
                    <a:noFill/>
                    <a:ln w="6350" cap="flat">
                      <a:solidFill>
                        <a:schemeClr val="bg1">
                          <a:alpha val="80000"/>
                        </a:schemeClr>
                      </a:solidFill>
                      <a:prstDash val="solid"/>
                      <a:miter/>
                    </a:ln>
                  </p:spPr>
                  <p:txBody>
                    <a:bodyPr rtlCol="0" anchor="ctr"/>
                    <a:lstStyle/>
                    <a:p>
                      <a:endParaRPr lang="en-GB"/>
                    </a:p>
                  </p:txBody>
                </p:sp>
                <p:sp>
                  <p:nvSpPr>
                    <p:cNvPr id="7375" name="Vrije vorm: vorm 7374">
                      <a:extLst>
                        <a:ext uri="{FF2B5EF4-FFF2-40B4-BE49-F238E27FC236}">
                          <a16:creationId xmlns:a16="http://schemas.microsoft.com/office/drawing/2014/main" id="{92BD23FB-4249-43FE-BAFE-DEBAC156A384}"/>
                        </a:ext>
                      </a:extLst>
                    </p:cNvPr>
                    <p:cNvSpPr/>
                    <p:nvPr/>
                  </p:nvSpPr>
                  <p:spPr>
                    <a:xfrm>
                      <a:off x="5058395" y="4833420"/>
                      <a:ext cx="50776" cy="71529"/>
                    </a:xfrm>
                    <a:custGeom>
                      <a:avLst/>
                      <a:gdLst>
                        <a:gd name="connsiteX0" fmla="*/ 43838 w 50776"/>
                        <a:gd name="connsiteY0" fmla="*/ 69735 h 71529"/>
                        <a:gd name="connsiteX1" fmla="*/ 43838 w 50776"/>
                        <a:gd name="connsiteY1" fmla="*/ 69735 h 71529"/>
                        <a:gd name="connsiteX2" fmla="*/ 43300 w 50776"/>
                        <a:gd name="connsiteY2" fmla="*/ 69256 h 71529"/>
                        <a:gd name="connsiteX3" fmla="*/ 38516 w 50776"/>
                        <a:gd name="connsiteY3" fmla="*/ 64771 h 71529"/>
                        <a:gd name="connsiteX4" fmla="*/ 34688 w 50776"/>
                        <a:gd name="connsiteY4" fmla="*/ 61183 h 71529"/>
                        <a:gd name="connsiteX5" fmla="*/ 1076 w 50776"/>
                        <a:gd name="connsiteY5" fmla="*/ 29664 h 71529"/>
                        <a:gd name="connsiteX6" fmla="*/ 3827 w 50776"/>
                        <a:gd name="connsiteY6" fmla="*/ 11004 h 71529"/>
                        <a:gd name="connsiteX7" fmla="*/ 32415 w 50776"/>
                        <a:gd name="connsiteY7" fmla="*/ 1196 h 71529"/>
                        <a:gd name="connsiteX8" fmla="*/ 33253 w 50776"/>
                        <a:gd name="connsiteY8" fmla="*/ 1495 h 71529"/>
                        <a:gd name="connsiteX9" fmla="*/ 33492 w 50776"/>
                        <a:gd name="connsiteY9" fmla="*/ 1854 h 71529"/>
                        <a:gd name="connsiteX10" fmla="*/ 33552 w 50776"/>
                        <a:gd name="connsiteY10" fmla="*/ 2273 h 71529"/>
                        <a:gd name="connsiteX11" fmla="*/ 33492 w 50776"/>
                        <a:gd name="connsiteY11" fmla="*/ 2691 h 71529"/>
                        <a:gd name="connsiteX12" fmla="*/ 33253 w 50776"/>
                        <a:gd name="connsiteY12" fmla="*/ 3110 h 71529"/>
                        <a:gd name="connsiteX13" fmla="*/ 32834 w 50776"/>
                        <a:gd name="connsiteY13" fmla="*/ 3409 h 71529"/>
                        <a:gd name="connsiteX14" fmla="*/ 11004 w 50776"/>
                        <a:gd name="connsiteY14" fmla="*/ 15610 h 71529"/>
                        <a:gd name="connsiteX15" fmla="*/ 9988 w 50776"/>
                        <a:gd name="connsiteY15" fmla="*/ 26196 h 71529"/>
                        <a:gd name="connsiteX16" fmla="*/ 49101 w 50776"/>
                        <a:gd name="connsiteY16" fmla="*/ 63097 h 71529"/>
                        <a:gd name="connsiteX17" fmla="*/ 49101 w 50776"/>
                        <a:gd name="connsiteY17" fmla="*/ 63097 h 71529"/>
                        <a:gd name="connsiteX18" fmla="*/ 43838 w 50776"/>
                        <a:gd name="connsiteY18" fmla="*/ 69735 h 71529"/>
                        <a:gd name="connsiteX19" fmla="*/ 43480 w 50776"/>
                        <a:gd name="connsiteY19" fmla="*/ 71170 h 71529"/>
                        <a:gd name="connsiteX20" fmla="*/ 43480 w 50776"/>
                        <a:gd name="connsiteY20" fmla="*/ 71170 h 71529"/>
                        <a:gd name="connsiteX21" fmla="*/ 43898 w 50776"/>
                        <a:gd name="connsiteY21" fmla="*/ 71529 h 71529"/>
                        <a:gd name="connsiteX22" fmla="*/ 43898 w 50776"/>
                        <a:gd name="connsiteY22" fmla="*/ 71529 h 71529"/>
                        <a:gd name="connsiteX23" fmla="*/ 44676 w 50776"/>
                        <a:gd name="connsiteY23" fmla="*/ 70572 h 71529"/>
                        <a:gd name="connsiteX24" fmla="*/ 44676 w 50776"/>
                        <a:gd name="connsiteY24" fmla="*/ 70572 h 71529"/>
                        <a:gd name="connsiteX25" fmla="*/ 49999 w 50776"/>
                        <a:gd name="connsiteY25" fmla="*/ 63934 h 71529"/>
                        <a:gd name="connsiteX26" fmla="*/ 50776 w 50776"/>
                        <a:gd name="connsiteY26" fmla="*/ 62977 h 71529"/>
                        <a:gd name="connsiteX27" fmla="*/ 50776 w 50776"/>
                        <a:gd name="connsiteY27" fmla="*/ 62977 h 71529"/>
                        <a:gd name="connsiteX28" fmla="*/ 11303 w 50776"/>
                        <a:gd name="connsiteY28" fmla="*/ 25657 h 71529"/>
                        <a:gd name="connsiteX29" fmla="*/ 12260 w 50776"/>
                        <a:gd name="connsiteY29" fmla="*/ 16447 h 71529"/>
                        <a:gd name="connsiteX30" fmla="*/ 31339 w 50776"/>
                        <a:gd name="connsiteY30" fmla="*/ 5801 h 71529"/>
                        <a:gd name="connsiteX31" fmla="*/ 33432 w 50776"/>
                        <a:gd name="connsiteY31" fmla="*/ 4665 h 71529"/>
                        <a:gd name="connsiteX32" fmla="*/ 34210 w 50776"/>
                        <a:gd name="connsiteY32" fmla="*/ 4007 h 71529"/>
                        <a:gd name="connsiteX33" fmla="*/ 34688 w 50776"/>
                        <a:gd name="connsiteY33" fmla="*/ 3170 h 71529"/>
                        <a:gd name="connsiteX34" fmla="*/ 34808 w 50776"/>
                        <a:gd name="connsiteY34" fmla="*/ 2213 h 71529"/>
                        <a:gd name="connsiteX35" fmla="*/ 34628 w 50776"/>
                        <a:gd name="connsiteY35" fmla="*/ 1316 h 71529"/>
                        <a:gd name="connsiteX36" fmla="*/ 34150 w 50776"/>
                        <a:gd name="connsiteY36" fmla="*/ 538 h 71529"/>
                        <a:gd name="connsiteX37" fmla="*/ 33791 w 50776"/>
                        <a:gd name="connsiteY37" fmla="*/ 239 h 71529"/>
                        <a:gd name="connsiteX38" fmla="*/ 33372 w 50776"/>
                        <a:gd name="connsiteY38" fmla="*/ 60 h 71529"/>
                        <a:gd name="connsiteX39" fmla="*/ 32894 w 50776"/>
                        <a:gd name="connsiteY39" fmla="*/ 0 h 71529"/>
                        <a:gd name="connsiteX40" fmla="*/ 32415 w 50776"/>
                        <a:gd name="connsiteY40" fmla="*/ 60 h 71529"/>
                        <a:gd name="connsiteX41" fmla="*/ 3349 w 50776"/>
                        <a:gd name="connsiteY41" fmla="*/ 9988 h 71529"/>
                        <a:gd name="connsiteX42" fmla="*/ 2930 w 50776"/>
                        <a:gd name="connsiteY42" fmla="*/ 10167 h 71529"/>
                        <a:gd name="connsiteX43" fmla="*/ 0 w 50776"/>
                        <a:gd name="connsiteY43" fmla="*/ 30322 h 71529"/>
                        <a:gd name="connsiteX44" fmla="*/ 34090 w 50776"/>
                        <a:gd name="connsiteY44" fmla="*/ 62319 h 71529"/>
                        <a:gd name="connsiteX45" fmla="*/ 34927 w 50776"/>
                        <a:gd name="connsiteY45" fmla="*/ 63097 h 71529"/>
                        <a:gd name="connsiteX46" fmla="*/ 37918 w 50776"/>
                        <a:gd name="connsiteY46" fmla="*/ 65907 h 71529"/>
                        <a:gd name="connsiteX47" fmla="*/ 38755 w 50776"/>
                        <a:gd name="connsiteY47" fmla="*/ 66685 h 71529"/>
                        <a:gd name="connsiteX48" fmla="*/ 41386 w 50776"/>
                        <a:gd name="connsiteY48" fmla="*/ 69137 h 71529"/>
                        <a:gd name="connsiteX49" fmla="*/ 42942 w 50776"/>
                        <a:gd name="connsiteY49" fmla="*/ 70572 h 71529"/>
                        <a:gd name="connsiteX50" fmla="*/ 43480 w 50776"/>
                        <a:gd name="connsiteY50" fmla="*/ 71170 h 7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0776" h="71529">
                          <a:moveTo>
                            <a:pt x="43838" y="69735"/>
                          </a:moveTo>
                          <a:lnTo>
                            <a:pt x="43838" y="69735"/>
                          </a:lnTo>
                          <a:lnTo>
                            <a:pt x="43300" y="69256"/>
                          </a:lnTo>
                          <a:lnTo>
                            <a:pt x="38516" y="64771"/>
                          </a:lnTo>
                          <a:lnTo>
                            <a:pt x="34688" y="61183"/>
                          </a:lnTo>
                          <a:lnTo>
                            <a:pt x="1076" y="29664"/>
                          </a:lnTo>
                          <a:lnTo>
                            <a:pt x="3827" y="11004"/>
                          </a:lnTo>
                          <a:lnTo>
                            <a:pt x="32415" y="1196"/>
                          </a:lnTo>
                          <a:lnTo>
                            <a:pt x="33253" y="1495"/>
                          </a:lnTo>
                          <a:cubicBezTo>
                            <a:pt x="33372" y="1615"/>
                            <a:pt x="33432" y="1734"/>
                            <a:pt x="33492" y="1854"/>
                          </a:cubicBezTo>
                          <a:cubicBezTo>
                            <a:pt x="33552" y="1973"/>
                            <a:pt x="33552" y="2153"/>
                            <a:pt x="33552" y="2273"/>
                          </a:cubicBezTo>
                          <a:cubicBezTo>
                            <a:pt x="33552" y="2392"/>
                            <a:pt x="33552" y="2572"/>
                            <a:pt x="33492" y="2691"/>
                          </a:cubicBezTo>
                          <a:cubicBezTo>
                            <a:pt x="33432" y="2811"/>
                            <a:pt x="33372" y="2990"/>
                            <a:pt x="33253" y="3110"/>
                          </a:cubicBezTo>
                          <a:lnTo>
                            <a:pt x="32834" y="3409"/>
                          </a:lnTo>
                          <a:lnTo>
                            <a:pt x="11004" y="15610"/>
                          </a:lnTo>
                          <a:lnTo>
                            <a:pt x="9988" y="26196"/>
                          </a:lnTo>
                          <a:lnTo>
                            <a:pt x="49101" y="63097"/>
                          </a:lnTo>
                          <a:lnTo>
                            <a:pt x="49101" y="63097"/>
                          </a:lnTo>
                          <a:lnTo>
                            <a:pt x="43838" y="69735"/>
                          </a:lnTo>
                          <a:moveTo>
                            <a:pt x="43480" y="71170"/>
                          </a:moveTo>
                          <a:lnTo>
                            <a:pt x="43480" y="71170"/>
                          </a:lnTo>
                          <a:lnTo>
                            <a:pt x="43898" y="71529"/>
                          </a:lnTo>
                          <a:lnTo>
                            <a:pt x="43898" y="71529"/>
                          </a:lnTo>
                          <a:lnTo>
                            <a:pt x="44676" y="70572"/>
                          </a:lnTo>
                          <a:lnTo>
                            <a:pt x="44676" y="70572"/>
                          </a:lnTo>
                          <a:lnTo>
                            <a:pt x="49999" y="63934"/>
                          </a:lnTo>
                          <a:lnTo>
                            <a:pt x="50776" y="62977"/>
                          </a:lnTo>
                          <a:lnTo>
                            <a:pt x="50776" y="62977"/>
                          </a:lnTo>
                          <a:lnTo>
                            <a:pt x="11303" y="25657"/>
                          </a:lnTo>
                          <a:lnTo>
                            <a:pt x="12260" y="16447"/>
                          </a:lnTo>
                          <a:lnTo>
                            <a:pt x="31339" y="5801"/>
                          </a:lnTo>
                          <a:lnTo>
                            <a:pt x="33432" y="4665"/>
                          </a:lnTo>
                          <a:lnTo>
                            <a:pt x="34210" y="4007"/>
                          </a:lnTo>
                          <a:cubicBezTo>
                            <a:pt x="34389" y="3768"/>
                            <a:pt x="34568" y="3469"/>
                            <a:pt x="34688" y="3170"/>
                          </a:cubicBezTo>
                          <a:cubicBezTo>
                            <a:pt x="34808" y="2871"/>
                            <a:pt x="34808" y="2572"/>
                            <a:pt x="34808" y="2213"/>
                          </a:cubicBezTo>
                          <a:cubicBezTo>
                            <a:pt x="34808" y="1914"/>
                            <a:pt x="34748" y="1615"/>
                            <a:pt x="34628" y="1316"/>
                          </a:cubicBezTo>
                          <a:cubicBezTo>
                            <a:pt x="34509" y="1017"/>
                            <a:pt x="34329" y="778"/>
                            <a:pt x="34150" y="538"/>
                          </a:cubicBezTo>
                          <a:cubicBezTo>
                            <a:pt x="34030" y="419"/>
                            <a:pt x="33911" y="299"/>
                            <a:pt x="33791" y="239"/>
                          </a:cubicBezTo>
                          <a:cubicBezTo>
                            <a:pt x="33671" y="179"/>
                            <a:pt x="33492" y="119"/>
                            <a:pt x="33372" y="60"/>
                          </a:cubicBezTo>
                          <a:cubicBezTo>
                            <a:pt x="33193" y="0"/>
                            <a:pt x="33073" y="0"/>
                            <a:pt x="32894" y="0"/>
                          </a:cubicBezTo>
                          <a:cubicBezTo>
                            <a:pt x="32714" y="0"/>
                            <a:pt x="32535" y="0"/>
                            <a:pt x="32415" y="60"/>
                          </a:cubicBezTo>
                          <a:lnTo>
                            <a:pt x="3349" y="9988"/>
                          </a:lnTo>
                          <a:lnTo>
                            <a:pt x="2930" y="10167"/>
                          </a:lnTo>
                          <a:lnTo>
                            <a:pt x="0" y="30322"/>
                          </a:lnTo>
                          <a:lnTo>
                            <a:pt x="34090" y="62319"/>
                          </a:lnTo>
                          <a:lnTo>
                            <a:pt x="34927" y="63097"/>
                          </a:lnTo>
                          <a:lnTo>
                            <a:pt x="37918" y="65907"/>
                          </a:lnTo>
                          <a:lnTo>
                            <a:pt x="38755" y="66685"/>
                          </a:lnTo>
                          <a:lnTo>
                            <a:pt x="41386" y="69137"/>
                          </a:lnTo>
                          <a:lnTo>
                            <a:pt x="42942" y="70572"/>
                          </a:lnTo>
                          <a:lnTo>
                            <a:pt x="43480" y="71170"/>
                          </a:lnTo>
                        </a:path>
                      </a:pathLst>
                    </a:custGeom>
                    <a:noFill/>
                    <a:ln w="6350" cap="flat">
                      <a:solidFill>
                        <a:schemeClr val="bg1">
                          <a:alpha val="80000"/>
                        </a:schemeClr>
                      </a:solidFill>
                      <a:prstDash val="solid"/>
                      <a:miter/>
                    </a:ln>
                  </p:spPr>
                  <p:txBody>
                    <a:bodyPr rtlCol="0" anchor="ctr"/>
                    <a:lstStyle/>
                    <a:p>
                      <a:endParaRPr lang="en-GB"/>
                    </a:p>
                  </p:txBody>
                </p:sp>
                <p:sp>
                  <p:nvSpPr>
                    <p:cNvPr id="7376" name="Vrije vorm: vorm 7375">
                      <a:extLst>
                        <a:ext uri="{FF2B5EF4-FFF2-40B4-BE49-F238E27FC236}">
                          <a16:creationId xmlns:a16="http://schemas.microsoft.com/office/drawing/2014/main" id="{0DF40BB8-38E1-489C-9380-FCF03DF67488}"/>
                        </a:ext>
                      </a:extLst>
                    </p:cNvPr>
                    <p:cNvSpPr/>
                    <p:nvPr/>
                  </p:nvSpPr>
                  <p:spPr>
                    <a:xfrm>
                      <a:off x="5059830" y="4917090"/>
                      <a:ext cx="33850" cy="37798"/>
                    </a:xfrm>
                    <a:custGeom>
                      <a:avLst/>
                      <a:gdLst>
                        <a:gd name="connsiteX0" fmla="*/ 24521 w 33850"/>
                        <a:gd name="connsiteY0" fmla="*/ 5382 h 37798"/>
                        <a:gd name="connsiteX1" fmla="*/ 24521 w 33850"/>
                        <a:gd name="connsiteY1" fmla="*/ 5382 h 37798"/>
                        <a:gd name="connsiteX2" fmla="*/ 23863 w 33850"/>
                        <a:gd name="connsiteY2" fmla="*/ 4785 h 37798"/>
                        <a:gd name="connsiteX3" fmla="*/ 23863 w 33850"/>
                        <a:gd name="connsiteY3" fmla="*/ 4785 h 37798"/>
                        <a:gd name="connsiteX4" fmla="*/ 24102 w 33850"/>
                        <a:gd name="connsiteY4" fmla="*/ 4964 h 37798"/>
                        <a:gd name="connsiteX5" fmla="*/ 24521 w 33850"/>
                        <a:gd name="connsiteY5" fmla="*/ 5382 h 37798"/>
                        <a:gd name="connsiteX6" fmla="*/ 13995 w 33850"/>
                        <a:gd name="connsiteY6" fmla="*/ 8194 h 37798"/>
                        <a:gd name="connsiteX7" fmla="*/ 14713 w 33850"/>
                        <a:gd name="connsiteY7" fmla="*/ 8851 h 37798"/>
                        <a:gd name="connsiteX8" fmla="*/ 20394 w 33850"/>
                        <a:gd name="connsiteY8" fmla="*/ 1674 h 37798"/>
                        <a:gd name="connsiteX9" fmla="*/ 21172 w 33850"/>
                        <a:gd name="connsiteY9" fmla="*/ 2392 h 37798"/>
                        <a:gd name="connsiteX10" fmla="*/ 23026 w 33850"/>
                        <a:gd name="connsiteY10" fmla="*/ 4067 h 37798"/>
                        <a:gd name="connsiteX11" fmla="*/ 23803 w 33850"/>
                        <a:gd name="connsiteY11" fmla="*/ 3110 h 37798"/>
                        <a:gd name="connsiteX12" fmla="*/ 25298 w 33850"/>
                        <a:gd name="connsiteY12" fmla="*/ 4486 h 37798"/>
                        <a:gd name="connsiteX13" fmla="*/ 24880 w 33850"/>
                        <a:gd name="connsiteY13" fmla="*/ 4127 h 37798"/>
                        <a:gd name="connsiteX14" fmla="*/ 24043 w 33850"/>
                        <a:gd name="connsiteY14" fmla="*/ 3349 h 37798"/>
                        <a:gd name="connsiteX15" fmla="*/ 21949 w 33850"/>
                        <a:gd name="connsiteY15" fmla="*/ 1435 h 37798"/>
                        <a:gd name="connsiteX16" fmla="*/ 21112 w 33850"/>
                        <a:gd name="connsiteY16" fmla="*/ 658 h 37798"/>
                        <a:gd name="connsiteX17" fmla="*/ 20394 w 33850"/>
                        <a:gd name="connsiteY17" fmla="*/ 0 h 37798"/>
                        <a:gd name="connsiteX18" fmla="*/ 13995 w 33850"/>
                        <a:gd name="connsiteY18" fmla="*/ 8194 h 37798"/>
                        <a:gd name="connsiteX19" fmla="*/ 27451 w 33850"/>
                        <a:gd name="connsiteY19" fmla="*/ 20394 h 37798"/>
                        <a:gd name="connsiteX20" fmla="*/ 33851 w 33850"/>
                        <a:gd name="connsiteY20" fmla="*/ 12260 h 37798"/>
                        <a:gd name="connsiteX21" fmla="*/ 32655 w 33850"/>
                        <a:gd name="connsiteY21" fmla="*/ 11184 h 37798"/>
                        <a:gd name="connsiteX22" fmla="*/ 31817 w 33850"/>
                        <a:gd name="connsiteY22" fmla="*/ 10406 h 37798"/>
                        <a:gd name="connsiteX23" fmla="*/ 27751 w 33850"/>
                        <a:gd name="connsiteY23" fmla="*/ 6698 h 37798"/>
                        <a:gd name="connsiteX24" fmla="*/ 26913 w 33850"/>
                        <a:gd name="connsiteY24" fmla="*/ 5921 h 37798"/>
                        <a:gd name="connsiteX25" fmla="*/ 26076 w 33850"/>
                        <a:gd name="connsiteY25" fmla="*/ 5143 h 37798"/>
                        <a:gd name="connsiteX26" fmla="*/ 28050 w 33850"/>
                        <a:gd name="connsiteY26" fmla="*/ 6937 h 37798"/>
                        <a:gd name="connsiteX27" fmla="*/ 27272 w 33850"/>
                        <a:gd name="connsiteY27" fmla="*/ 7895 h 37798"/>
                        <a:gd name="connsiteX28" fmla="*/ 30980 w 33850"/>
                        <a:gd name="connsiteY28" fmla="*/ 11304 h 37798"/>
                        <a:gd name="connsiteX29" fmla="*/ 31817 w 33850"/>
                        <a:gd name="connsiteY29" fmla="*/ 12081 h 37798"/>
                        <a:gd name="connsiteX30" fmla="*/ 32236 w 33850"/>
                        <a:gd name="connsiteY30" fmla="*/ 12440 h 37798"/>
                        <a:gd name="connsiteX31" fmla="*/ 26614 w 33850"/>
                        <a:gd name="connsiteY31" fmla="*/ 19557 h 37798"/>
                        <a:gd name="connsiteX32" fmla="*/ 27451 w 33850"/>
                        <a:gd name="connsiteY32" fmla="*/ 20394 h 37798"/>
                        <a:gd name="connsiteX33" fmla="*/ 21710 w 33850"/>
                        <a:gd name="connsiteY33" fmla="*/ 27571 h 37798"/>
                        <a:gd name="connsiteX34" fmla="*/ 26614 w 33850"/>
                        <a:gd name="connsiteY34" fmla="*/ 21351 h 37798"/>
                        <a:gd name="connsiteX35" fmla="*/ 25837 w 33850"/>
                        <a:gd name="connsiteY35" fmla="*/ 20634 h 37798"/>
                        <a:gd name="connsiteX36" fmla="*/ 21172 w 33850"/>
                        <a:gd name="connsiteY36" fmla="*/ 26495 h 37798"/>
                        <a:gd name="connsiteX37" fmla="*/ 21291 w 33850"/>
                        <a:gd name="connsiteY37" fmla="*/ 26794 h 37798"/>
                        <a:gd name="connsiteX38" fmla="*/ 21411 w 33850"/>
                        <a:gd name="connsiteY38" fmla="*/ 27092 h 37798"/>
                        <a:gd name="connsiteX39" fmla="*/ 21530 w 33850"/>
                        <a:gd name="connsiteY39" fmla="*/ 27392 h 37798"/>
                        <a:gd name="connsiteX40" fmla="*/ 21710 w 33850"/>
                        <a:gd name="connsiteY40" fmla="*/ 27571 h 37798"/>
                        <a:gd name="connsiteX41" fmla="*/ 7954 w 33850"/>
                        <a:gd name="connsiteY41" fmla="*/ 15610 h 37798"/>
                        <a:gd name="connsiteX42" fmla="*/ 8134 w 33850"/>
                        <a:gd name="connsiteY42" fmla="*/ 15669 h 37798"/>
                        <a:gd name="connsiteX43" fmla="*/ 8313 w 33850"/>
                        <a:gd name="connsiteY43" fmla="*/ 15729 h 37798"/>
                        <a:gd name="connsiteX44" fmla="*/ 8493 w 33850"/>
                        <a:gd name="connsiteY44" fmla="*/ 15789 h 37798"/>
                        <a:gd name="connsiteX45" fmla="*/ 8672 w 33850"/>
                        <a:gd name="connsiteY45" fmla="*/ 15849 h 37798"/>
                        <a:gd name="connsiteX46" fmla="*/ 8791 w 33850"/>
                        <a:gd name="connsiteY46" fmla="*/ 15909 h 37798"/>
                        <a:gd name="connsiteX47" fmla="*/ 8911 w 33850"/>
                        <a:gd name="connsiteY47" fmla="*/ 15968 h 37798"/>
                        <a:gd name="connsiteX48" fmla="*/ 9031 w 33850"/>
                        <a:gd name="connsiteY48" fmla="*/ 16028 h 37798"/>
                        <a:gd name="connsiteX49" fmla="*/ 9150 w 33850"/>
                        <a:gd name="connsiteY49" fmla="*/ 16088 h 37798"/>
                        <a:gd name="connsiteX50" fmla="*/ 13098 w 33850"/>
                        <a:gd name="connsiteY50" fmla="*/ 11064 h 37798"/>
                        <a:gd name="connsiteX51" fmla="*/ 13935 w 33850"/>
                        <a:gd name="connsiteY51" fmla="*/ 9988 h 37798"/>
                        <a:gd name="connsiteX52" fmla="*/ 13098 w 33850"/>
                        <a:gd name="connsiteY52" fmla="*/ 9210 h 37798"/>
                        <a:gd name="connsiteX53" fmla="*/ 7954 w 33850"/>
                        <a:gd name="connsiteY53" fmla="*/ 15610 h 37798"/>
                        <a:gd name="connsiteX54" fmla="*/ 19079 w 33850"/>
                        <a:gd name="connsiteY54" fmla="*/ 30920 h 37798"/>
                        <a:gd name="connsiteX55" fmla="*/ 20933 w 33850"/>
                        <a:gd name="connsiteY55" fmla="*/ 28588 h 37798"/>
                        <a:gd name="connsiteX56" fmla="*/ 20813 w 33850"/>
                        <a:gd name="connsiteY56" fmla="*/ 28289 h 37798"/>
                        <a:gd name="connsiteX57" fmla="*/ 20693 w 33850"/>
                        <a:gd name="connsiteY57" fmla="*/ 27990 h 37798"/>
                        <a:gd name="connsiteX58" fmla="*/ 20574 w 33850"/>
                        <a:gd name="connsiteY58" fmla="*/ 27691 h 37798"/>
                        <a:gd name="connsiteX59" fmla="*/ 20454 w 33850"/>
                        <a:gd name="connsiteY59" fmla="*/ 27392 h 37798"/>
                        <a:gd name="connsiteX60" fmla="*/ 18660 w 33850"/>
                        <a:gd name="connsiteY60" fmla="*/ 29664 h 37798"/>
                        <a:gd name="connsiteX61" fmla="*/ 18780 w 33850"/>
                        <a:gd name="connsiteY61" fmla="*/ 29963 h 37798"/>
                        <a:gd name="connsiteX62" fmla="*/ 18899 w 33850"/>
                        <a:gd name="connsiteY62" fmla="*/ 30262 h 37798"/>
                        <a:gd name="connsiteX63" fmla="*/ 19019 w 33850"/>
                        <a:gd name="connsiteY63" fmla="*/ 30561 h 37798"/>
                        <a:gd name="connsiteX64" fmla="*/ 19079 w 33850"/>
                        <a:gd name="connsiteY64" fmla="*/ 30920 h 37798"/>
                        <a:gd name="connsiteX65" fmla="*/ 5263 w 33850"/>
                        <a:gd name="connsiteY65" fmla="*/ 19079 h 37798"/>
                        <a:gd name="connsiteX66" fmla="*/ 5562 w 33850"/>
                        <a:gd name="connsiteY66" fmla="*/ 19138 h 37798"/>
                        <a:gd name="connsiteX67" fmla="*/ 5861 w 33850"/>
                        <a:gd name="connsiteY67" fmla="*/ 19198 h 37798"/>
                        <a:gd name="connsiteX68" fmla="*/ 6160 w 33850"/>
                        <a:gd name="connsiteY68" fmla="*/ 19258 h 37798"/>
                        <a:gd name="connsiteX69" fmla="*/ 6459 w 33850"/>
                        <a:gd name="connsiteY69" fmla="*/ 19318 h 37798"/>
                        <a:gd name="connsiteX70" fmla="*/ 8313 w 33850"/>
                        <a:gd name="connsiteY70" fmla="*/ 16985 h 37798"/>
                        <a:gd name="connsiteX71" fmla="*/ 8014 w 33850"/>
                        <a:gd name="connsiteY71" fmla="*/ 16926 h 37798"/>
                        <a:gd name="connsiteX72" fmla="*/ 7715 w 33850"/>
                        <a:gd name="connsiteY72" fmla="*/ 16866 h 37798"/>
                        <a:gd name="connsiteX73" fmla="*/ 7416 w 33850"/>
                        <a:gd name="connsiteY73" fmla="*/ 16806 h 37798"/>
                        <a:gd name="connsiteX74" fmla="*/ 7117 w 33850"/>
                        <a:gd name="connsiteY74" fmla="*/ 16746 h 37798"/>
                        <a:gd name="connsiteX75" fmla="*/ 5263 w 33850"/>
                        <a:gd name="connsiteY75" fmla="*/ 19079 h 37798"/>
                        <a:gd name="connsiteX76" fmla="*/ 16567 w 33850"/>
                        <a:gd name="connsiteY76" fmla="*/ 34150 h 37798"/>
                        <a:gd name="connsiteX77" fmla="*/ 18002 w 33850"/>
                        <a:gd name="connsiteY77" fmla="*/ 32356 h 37798"/>
                        <a:gd name="connsiteX78" fmla="*/ 17882 w 33850"/>
                        <a:gd name="connsiteY78" fmla="*/ 32057 h 37798"/>
                        <a:gd name="connsiteX79" fmla="*/ 17763 w 33850"/>
                        <a:gd name="connsiteY79" fmla="*/ 31758 h 37798"/>
                        <a:gd name="connsiteX80" fmla="*/ 17643 w 33850"/>
                        <a:gd name="connsiteY80" fmla="*/ 31459 h 37798"/>
                        <a:gd name="connsiteX81" fmla="*/ 17523 w 33850"/>
                        <a:gd name="connsiteY81" fmla="*/ 31159 h 37798"/>
                        <a:gd name="connsiteX82" fmla="*/ 16806 w 33850"/>
                        <a:gd name="connsiteY82" fmla="*/ 32116 h 37798"/>
                        <a:gd name="connsiteX83" fmla="*/ 16866 w 33850"/>
                        <a:gd name="connsiteY83" fmla="*/ 32595 h 37798"/>
                        <a:gd name="connsiteX84" fmla="*/ 16866 w 33850"/>
                        <a:gd name="connsiteY84" fmla="*/ 33073 h 37798"/>
                        <a:gd name="connsiteX85" fmla="*/ 16806 w 33850"/>
                        <a:gd name="connsiteY85" fmla="*/ 33552 h 37798"/>
                        <a:gd name="connsiteX86" fmla="*/ 16686 w 33850"/>
                        <a:gd name="connsiteY86" fmla="*/ 34030 h 37798"/>
                        <a:gd name="connsiteX87" fmla="*/ 16686 w 33850"/>
                        <a:gd name="connsiteY87" fmla="*/ 34090 h 37798"/>
                        <a:gd name="connsiteX88" fmla="*/ 16686 w 33850"/>
                        <a:gd name="connsiteY88" fmla="*/ 34150 h 37798"/>
                        <a:gd name="connsiteX89" fmla="*/ 16567 w 33850"/>
                        <a:gd name="connsiteY89" fmla="*/ 34150 h 37798"/>
                        <a:gd name="connsiteX90" fmla="*/ 16567 w 33850"/>
                        <a:gd name="connsiteY90" fmla="*/ 34150 h 37798"/>
                        <a:gd name="connsiteX91" fmla="*/ 14294 w 33850"/>
                        <a:gd name="connsiteY91" fmla="*/ 35227 h 37798"/>
                        <a:gd name="connsiteX92" fmla="*/ 14294 w 33850"/>
                        <a:gd name="connsiteY92" fmla="*/ 35227 h 37798"/>
                        <a:gd name="connsiteX93" fmla="*/ 14294 w 33850"/>
                        <a:gd name="connsiteY93" fmla="*/ 35227 h 37798"/>
                        <a:gd name="connsiteX94" fmla="*/ 14354 w 33850"/>
                        <a:gd name="connsiteY94" fmla="*/ 35167 h 37798"/>
                        <a:gd name="connsiteX95" fmla="*/ 14354 w 33850"/>
                        <a:gd name="connsiteY95" fmla="*/ 35167 h 37798"/>
                        <a:gd name="connsiteX96" fmla="*/ 14713 w 33850"/>
                        <a:gd name="connsiteY96" fmla="*/ 34868 h 37798"/>
                        <a:gd name="connsiteX97" fmla="*/ 15072 w 33850"/>
                        <a:gd name="connsiteY97" fmla="*/ 34509 h 37798"/>
                        <a:gd name="connsiteX98" fmla="*/ 15371 w 33850"/>
                        <a:gd name="connsiteY98" fmla="*/ 34090 h 37798"/>
                        <a:gd name="connsiteX99" fmla="*/ 15550 w 33850"/>
                        <a:gd name="connsiteY99" fmla="*/ 33612 h 37798"/>
                        <a:gd name="connsiteX100" fmla="*/ 15550 w 33850"/>
                        <a:gd name="connsiteY100" fmla="*/ 33612 h 37798"/>
                        <a:gd name="connsiteX101" fmla="*/ 15550 w 33850"/>
                        <a:gd name="connsiteY101" fmla="*/ 33612 h 37798"/>
                        <a:gd name="connsiteX102" fmla="*/ 15550 w 33850"/>
                        <a:gd name="connsiteY102" fmla="*/ 33612 h 37798"/>
                        <a:gd name="connsiteX103" fmla="*/ 15550 w 33850"/>
                        <a:gd name="connsiteY103" fmla="*/ 33612 h 37798"/>
                        <a:gd name="connsiteX104" fmla="*/ 14294 w 33850"/>
                        <a:gd name="connsiteY104" fmla="*/ 35227 h 37798"/>
                        <a:gd name="connsiteX105" fmla="*/ 3708 w 33850"/>
                        <a:gd name="connsiteY105" fmla="*/ 27691 h 37798"/>
                        <a:gd name="connsiteX106" fmla="*/ 4127 w 33850"/>
                        <a:gd name="connsiteY106" fmla="*/ 27930 h 37798"/>
                        <a:gd name="connsiteX107" fmla="*/ 4246 w 33850"/>
                        <a:gd name="connsiteY107" fmla="*/ 27810 h 37798"/>
                        <a:gd name="connsiteX108" fmla="*/ 3110 w 33850"/>
                        <a:gd name="connsiteY108" fmla="*/ 26794 h 37798"/>
                        <a:gd name="connsiteX109" fmla="*/ 3229 w 33850"/>
                        <a:gd name="connsiteY109" fmla="*/ 27033 h 37798"/>
                        <a:gd name="connsiteX110" fmla="*/ 3349 w 33850"/>
                        <a:gd name="connsiteY110" fmla="*/ 27272 h 37798"/>
                        <a:gd name="connsiteX111" fmla="*/ 3528 w 33850"/>
                        <a:gd name="connsiteY111" fmla="*/ 27511 h 37798"/>
                        <a:gd name="connsiteX112" fmla="*/ 3708 w 33850"/>
                        <a:gd name="connsiteY112" fmla="*/ 27691 h 37798"/>
                        <a:gd name="connsiteX113" fmla="*/ 11722 w 33850"/>
                        <a:gd name="connsiteY113" fmla="*/ 35047 h 37798"/>
                        <a:gd name="connsiteX114" fmla="*/ 11902 w 33850"/>
                        <a:gd name="connsiteY114" fmla="*/ 35167 h 37798"/>
                        <a:gd name="connsiteX115" fmla="*/ 12081 w 33850"/>
                        <a:gd name="connsiteY115" fmla="*/ 35286 h 37798"/>
                        <a:gd name="connsiteX116" fmla="*/ 12260 w 33850"/>
                        <a:gd name="connsiteY116" fmla="*/ 35406 h 37798"/>
                        <a:gd name="connsiteX117" fmla="*/ 12500 w 33850"/>
                        <a:gd name="connsiteY117" fmla="*/ 35466 h 37798"/>
                        <a:gd name="connsiteX118" fmla="*/ 12619 w 33850"/>
                        <a:gd name="connsiteY118" fmla="*/ 35466 h 37798"/>
                        <a:gd name="connsiteX119" fmla="*/ 12739 w 33850"/>
                        <a:gd name="connsiteY119" fmla="*/ 35466 h 37798"/>
                        <a:gd name="connsiteX120" fmla="*/ 12858 w 33850"/>
                        <a:gd name="connsiteY120" fmla="*/ 35466 h 37798"/>
                        <a:gd name="connsiteX121" fmla="*/ 12978 w 33850"/>
                        <a:gd name="connsiteY121" fmla="*/ 35466 h 37798"/>
                        <a:gd name="connsiteX122" fmla="*/ 11184 w 33850"/>
                        <a:gd name="connsiteY122" fmla="*/ 33851 h 37798"/>
                        <a:gd name="connsiteX123" fmla="*/ 11184 w 33850"/>
                        <a:gd name="connsiteY123" fmla="*/ 33970 h 37798"/>
                        <a:gd name="connsiteX124" fmla="*/ 11184 w 33850"/>
                        <a:gd name="connsiteY124" fmla="*/ 34030 h 37798"/>
                        <a:gd name="connsiteX125" fmla="*/ 11244 w 33850"/>
                        <a:gd name="connsiteY125" fmla="*/ 34090 h 37798"/>
                        <a:gd name="connsiteX126" fmla="*/ 11304 w 33850"/>
                        <a:gd name="connsiteY126" fmla="*/ 34150 h 37798"/>
                        <a:gd name="connsiteX127" fmla="*/ 11423 w 33850"/>
                        <a:gd name="connsiteY127" fmla="*/ 34329 h 37798"/>
                        <a:gd name="connsiteX128" fmla="*/ 11543 w 33850"/>
                        <a:gd name="connsiteY128" fmla="*/ 34509 h 37798"/>
                        <a:gd name="connsiteX129" fmla="*/ 11662 w 33850"/>
                        <a:gd name="connsiteY129" fmla="*/ 34688 h 37798"/>
                        <a:gd name="connsiteX130" fmla="*/ 11722 w 33850"/>
                        <a:gd name="connsiteY130" fmla="*/ 35047 h 37798"/>
                        <a:gd name="connsiteX131" fmla="*/ 12320 w 33850"/>
                        <a:gd name="connsiteY131" fmla="*/ 36662 h 37798"/>
                        <a:gd name="connsiteX132" fmla="*/ 13636 w 33850"/>
                        <a:gd name="connsiteY132" fmla="*/ 37798 h 37798"/>
                        <a:gd name="connsiteX133" fmla="*/ 15012 w 33850"/>
                        <a:gd name="connsiteY133" fmla="*/ 36064 h 37798"/>
                        <a:gd name="connsiteX134" fmla="*/ 14952 w 33850"/>
                        <a:gd name="connsiteY134" fmla="*/ 36123 h 37798"/>
                        <a:gd name="connsiteX135" fmla="*/ 14892 w 33850"/>
                        <a:gd name="connsiteY135" fmla="*/ 36183 h 37798"/>
                        <a:gd name="connsiteX136" fmla="*/ 14832 w 33850"/>
                        <a:gd name="connsiteY136" fmla="*/ 36243 h 37798"/>
                        <a:gd name="connsiteX137" fmla="*/ 14772 w 33850"/>
                        <a:gd name="connsiteY137" fmla="*/ 36303 h 37798"/>
                        <a:gd name="connsiteX138" fmla="*/ 14174 w 33850"/>
                        <a:gd name="connsiteY138" fmla="*/ 36602 h 37798"/>
                        <a:gd name="connsiteX139" fmla="*/ 13576 w 33850"/>
                        <a:gd name="connsiteY139" fmla="*/ 36781 h 37798"/>
                        <a:gd name="connsiteX140" fmla="*/ 12978 w 33850"/>
                        <a:gd name="connsiteY140" fmla="*/ 36841 h 37798"/>
                        <a:gd name="connsiteX141" fmla="*/ 12320 w 33850"/>
                        <a:gd name="connsiteY141" fmla="*/ 36662 h 37798"/>
                        <a:gd name="connsiteX142" fmla="*/ 7775 w 33850"/>
                        <a:gd name="connsiteY142" fmla="*/ 32655 h 37798"/>
                        <a:gd name="connsiteX143" fmla="*/ 10107 w 33850"/>
                        <a:gd name="connsiteY143" fmla="*/ 34748 h 37798"/>
                        <a:gd name="connsiteX144" fmla="*/ 9988 w 33850"/>
                        <a:gd name="connsiteY144" fmla="*/ 34329 h 37798"/>
                        <a:gd name="connsiteX145" fmla="*/ 9928 w 33850"/>
                        <a:gd name="connsiteY145" fmla="*/ 33851 h 37798"/>
                        <a:gd name="connsiteX146" fmla="*/ 9928 w 33850"/>
                        <a:gd name="connsiteY146" fmla="*/ 33373 h 37798"/>
                        <a:gd name="connsiteX147" fmla="*/ 9988 w 33850"/>
                        <a:gd name="connsiteY147" fmla="*/ 32894 h 37798"/>
                        <a:gd name="connsiteX148" fmla="*/ 8612 w 33850"/>
                        <a:gd name="connsiteY148" fmla="*/ 31698 h 37798"/>
                        <a:gd name="connsiteX149" fmla="*/ 7775 w 33850"/>
                        <a:gd name="connsiteY149" fmla="*/ 32655 h 37798"/>
                        <a:gd name="connsiteX150" fmla="*/ 0 w 33850"/>
                        <a:gd name="connsiteY150" fmla="*/ 25717 h 37798"/>
                        <a:gd name="connsiteX151" fmla="*/ 2153 w 33850"/>
                        <a:gd name="connsiteY151" fmla="*/ 27631 h 37798"/>
                        <a:gd name="connsiteX152" fmla="*/ 2153 w 33850"/>
                        <a:gd name="connsiteY152" fmla="*/ 27631 h 37798"/>
                        <a:gd name="connsiteX153" fmla="*/ 2153 w 33850"/>
                        <a:gd name="connsiteY153" fmla="*/ 27631 h 37798"/>
                        <a:gd name="connsiteX154" fmla="*/ 2153 w 33850"/>
                        <a:gd name="connsiteY154" fmla="*/ 27631 h 37798"/>
                        <a:gd name="connsiteX155" fmla="*/ 2153 w 33850"/>
                        <a:gd name="connsiteY155" fmla="*/ 27631 h 37798"/>
                        <a:gd name="connsiteX156" fmla="*/ 1974 w 33850"/>
                        <a:gd name="connsiteY156" fmla="*/ 27212 h 37798"/>
                        <a:gd name="connsiteX157" fmla="*/ 1854 w 33850"/>
                        <a:gd name="connsiteY157" fmla="*/ 26734 h 37798"/>
                        <a:gd name="connsiteX158" fmla="*/ 1794 w 33850"/>
                        <a:gd name="connsiteY158" fmla="*/ 26255 h 37798"/>
                        <a:gd name="connsiteX159" fmla="*/ 1794 w 33850"/>
                        <a:gd name="connsiteY159" fmla="*/ 25777 h 37798"/>
                        <a:gd name="connsiteX160" fmla="*/ 1615 w 33850"/>
                        <a:gd name="connsiteY160" fmla="*/ 25597 h 37798"/>
                        <a:gd name="connsiteX161" fmla="*/ 1914 w 33850"/>
                        <a:gd name="connsiteY161" fmla="*/ 25238 h 37798"/>
                        <a:gd name="connsiteX162" fmla="*/ 1914 w 33850"/>
                        <a:gd name="connsiteY162" fmla="*/ 25119 h 37798"/>
                        <a:gd name="connsiteX163" fmla="*/ 1914 w 33850"/>
                        <a:gd name="connsiteY163" fmla="*/ 24999 h 37798"/>
                        <a:gd name="connsiteX164" fmla="*/ 1974 w 33850"/>
                        <a:gd name="connsiteY164" fmla="*/ 24880 h 37798"/>
                        <a:gd name="connsiteX165" fmla="*/ 2033 w 33850"/>
                        <a:gd name="connsiteY165" fmla="*/ 24760 h 37798"/>
                        <a:gd name="connsiteX166" fmla="*/ 2333 w 33850"/>
                        <a:gd name="connsiteY166" fmla="*/ 24043 h 37798"/>
                        <a:gd name="connsiteX167" fmla="*/ 2751 w 33850"/>
                        <a:gd name="connsiteY167" fmla="*/ 23384 h 37798"/>
                        <a:gd name="connsiteX168" fmla="*/ 3289 w 33850"/>
                        <a:gd name="connsiteY168" fmla="*/ 22846 h 37798"/>
                        <a:gd name="connsiteX169" fmla="*/ 3887 w 33850"/>
                        <a:gd name="connsiteY169" fmla="*/ 22428 h 37798"/>
                        <a:gd name="connsiteX170" fmla="*/ 3947 w 33850"/>
                        <a:gd name="connsiteY170" fmla="*/ 22368 h 37798"/>
                        <a:gd name="connsiteX171" fmla="*/ 4007 w 33850"/>
                        <a:gd name="connsiteY171" fmla="*/ 22308 h 37798"/>
                        <a:gd name="connsiteX172" fmla="*/ 4067 w 33850"/>
                        <a:gd name="connsiteY172" fmla="*/ 22248 h 37798"/>
                        <a:gd name="connsiteX173" fmla="*/ 4127 w 33850"/>
                        <a:gd name="connsiteY173" fmla="*/ 22188 h 37798"/>
                        <a:gd name="connsiteX174" fmla="*/ 5323 w 33850"/>
                        <a:gd name="connsiteY174" fmla="*/ 20693 h 37798"/>
                        <a:gd name="connsiteX175" fmla="*/ 5024 w 33850"/>
                        <a:gd name="connsiteY175" fmla="*/ 20634 h 37798"/>
                        <a:gd name="connsiteX176" fmla="*/ 4725 w 33850"/>
                        <a:gd name="connsiteY176" fmla="*/ 20574 h 37798"/>
                        <a:gd name="connsiteX177" fmla="*/ 4426 w 33850"/>
                        <a:gd name="connsiteY177" fmla="*/ 20514 h 37798"/>
                        <a:gd name="connsiteX178" fmla="*/ 4127 w 33850"/>
                        <a:gd name="connsiteY178" fmla="*/ 20454 h 37798"/>
                        <a:gd name="connsiteX179" fmla="*/ 0 w 33850"/>
                        <a:gd name="connsiteY179" fmla="*/ 25717 h 3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33850" h="37798">
                          <a:moveTo>
                            <a:pt x="24521" y="5382"/>
                          </a:moveTo>
                          <a:lnTo>
                            <a:pt x="24521" y="5382"/>
                          </a:lnTo>
                          <a:lnTo>
                            <a:pt x="23863" y="4785"/>
                          </a:lnTo>
                          <a:lnTo>
                            <a:pt x="23863" y="4785"/>
                          </a:lnTo>
                          <a:lnTo>
                            <a:pt x="24102" y="4964"/>
                          </a:lnTo>
                          <a:lnTo>
                            <a:pt x="24521" y="5382"/>
                          </a:lnTo>
                          <a:moveTo>
                            <a:pt x="13995" y="8194"/>
                          </a:moveTo>
                          <a:lnTo>
                            <a:pt x="14713" y="8851"/>
                          </a:lnTo>
                          <a:lnTo>
                            <a:pt x="20394" y="1674"/>
                          </a:lnTo>
                          <a:lnTo>
                            <a:pt x="21172" y="2392"/>
                          </a:lnTo>
                          <a:lnTo>
                            <a:pt x="23026" y="4067"/>
                          </a:lnTo>
                          <a:lnTo>
                            <a:pt x="23803" y="3110"/>
                          </a:lnTo>
                          <a:lnTo>
                            <a:pt x="25298" y="4486"/>
                          </a:lnTo>
                          <a:lnTo>
                            <a:pt x="24880" y="4127"/>
                          </a:lnTo>
                          <a:lnTo>
                            <a:pt x="24043" y="3349"/>
                          </a:lnTo>
                          <a:lnTo>
                            <a:pt x="21949" y="1435"/>
                          </a:lnTo>
                          <a:lnTo>
                            <a:pt x="21112" y="658"/>
                          </a:lnTo>
                          <a:lnTo>
                            <a:pt x="20394" y="0"/>
                          </a:lnTo>
                          <a:lnTo>
                            <a:pt x="13995" y="8194"/>
                          </a:lnTo>
                          <a:moveTo>
                            <a:pt x="27451" y="20394"/>
                          </a:moveTo>
                          <a:lnTo>
                            <a:pt x="33851" y="12260"/>
                          </a:lnTo>
                          <a:lnTo>
                            <a:pt x="32655" y="11184"/>
                          </a:lnTo>
                          <a:lnTo>
                            <a:pt x="31817" y="10406"/>
                          </a:lnTo>
                          <a:lnTo>
                            <a:pt x="27751" y="6698"/>
                          </a:lnTo>
                          <a:lnTo>
                            <a:pt x="26913" y="5921"/>
                          </a:lnTo>
                          <a:lnTo>
                            <a:pt x="26076" y="5143"/>
                          </a:lnTo>
                          <a:lnTo>
                            <a:pt x="28050" y="6937"/>
                          </a:lnTo>
                          <a:lnTo>
                            <a:pt x="27272" y="7895"/>
                          </a:lnTo>
                          <a:lnTo>
                            <a:pt x="30980" y="11304"/>
                          </a:lnTo>
                          <a:lnTo>
                            <a:pt x="31817" y="12081"/>
                          </a:lnTo>
                          <a:lnTo>
                            <a:pt x="32236" y="12440"/>
                          </a:lnTo>
                          <a:lnTo>
                            <a:pt x="26614" y="19557"/>
                          </a:lnTo>
                          <a:lnTo>
                            <a:pt x="27451" y="20394"/>
                          </a:lnTo>
                          <a:moveTo>
                            <a:pt x="21710" y="27571"/>
                          </a:moveTo>
                          <a:lnTo>
                            <a:pt x="26614" y="21351"/>
                          </a:lnTo>
                          <a:lnTo>
                            <a:pt x="25837" y="20634"/>
                          </a:lnTo>
                          <a:lnTo>
                            <a:pt x="21172" y="26495"/>
                          </a:lnTo>
                          <a:cubicBezTo>
                            <a:pt x="21231" y="26614"/>
                            <a:pt x="21291" y="26674"/>
                            <a:pt x="21291" y="26794"/>
                          </a:cubicBezTo>
                          <a:cubicBezTo>
                            <a:pt x="21351" y="26913"/>
                            <a:pt x="21351" y="26973"/>
                            <a:pt x="21411" y="27092"/>
                          </a:cubicBezTo>
                          <a:cubicBezTo>
                            <a:pt x="21471" y="27212"/>
                            <a:pt x="21471" y="27272"/>
                            <a:pt x="21530" y="27392"/>
                          </a:cubicBezTo>
                          <a:cubicBezTo>
                            <a:pt x="21590" y="27511"/>
                            <a:pt x="21710" y="27511"/>
                            <a:pt x="21710" y="27571"/>
                          </a:cubicBezTo>
                          <a:moveTo>
                            <a:pt x="7954" y="15610"/>
                          </a:moveTo>
                          <a:cubicBezTo>
                            <a:pt x="8014" y="15610"/>
                            <a:pt x="8074" y="15669"/>
                            <a:pt x="8134" y="15669"/>
                          </a:cubicBezTo>
                          <a:cubicBezTo>
                            <a:pt x="8194" y="15669"/>
                            <a:pt x="8253" y="15729"/>
                            <a:pt x="8313" y="15729"/>
                          </a:cubicBezTo>
                          <a:cubicBezTo>
                            <a:pt x="8373" y="15729"/>
                            <a:pt x="8433" y="15789"/>
                            <a:pt x="8493" y="15789"/>
                          </a:cubicBezTo>
                          <a:cubicBezTo>
                            <a:pt x="8552" y="15789"/>
                            <a:pt x="8612" y="15849"/>
                            <a:pt x="8672" y="15849"/>
                          </a:cubicBezTo>
                          <a:cubicBezTo>
                            <a:pt x="8732" y="15849"/>
                            <a:pt x="8732" y="15849"/>
                            <a:pt x="8791" y="15909"/>
                          </a:cubicBezTo>
                          <a:cubicBezTo>
                            <a:pt x="8851" y="15909"/>
                            <a:pt x="8851" y="15909"/>
                            <a:pt x="8911" y="15968"/>
                          </a:cubicBezTo>
                          <a:cubicBezTo>
                            <a:pt x="8971" y="16028"/>
                            <a:pt x="8971" y="15968"/>
                            <a:pt x="9031" y="16028"/>
                          </a:cubicBezTo>
                          <a:cubicBezTo>
                            <a:pt x="9091" y="16028"/>
                            <a:pt x="9091" y="16028"/>
                            <a:pt x="9150" y="16088"/>
                          </a:cubicBezTo>
                          <a:lnTo>
                            <a:pt x="13098" y="11064"/>
                          </a:lnTo>
                          <a:lnTo>
                            <a:pt x="13935" y="9988"/>
                          </a:lnTo>
                          <a:lnTo>
                            <a:pt x="13098" y="9210"/>
                          </a:lnTo>
                          <a:lnTo>
                            <a:pt x="7954" y="15610"/>
                          </a:lnTo>
                          <a:moveTo>
                            <a:pt x="19079" y="30920"/>
                          </a:moveTo>
                          <a:lnTo>
                            <a:pt x="20933" y="28588"/>
                          </a:lnTo>
                          <a:cubicBezTo>
                            <a:pt x="20873" y="28468"/>
                            <a:pt x="20873" y="28408"/>
                            <a:pt x="20813" y="28289"/>
                          </a:cubicBezTo>
                          <a:cubicBezTo>
                            <a:pt x="20753" y="28169"/>
                            <a:pt x="20753" y="28109"/>
                            <a:pt x="20693" y="27990"/>
                          </a:cubicBezTo>
                          <a:cubicBezTo>
                            <a:pt x="20634" y="27870"/>
                            <a:pt x="20634" y="27810"/>
                            <a:pt x="20574" y="27691"/>
                          </a:cubicBezTo>
                          <a:cubicBezTo>
                            <a:pt x="20514" y="27571"/>
                            <a:pt x="20514" y="27511"/>
                            <a:pt x="20454" y="27392"/>
                          </a:cubicBezTo>
                          <a:lnTo>
                            <a:pt x="18660" y="29664"/>
                          </a:lnTo>
                          <a:cubicBezTo>
                            <a:pt x="18720" y="29784"/>
                            <a:pt x="18720" y="29844"/>
                            <a:pt x="18780" y="29963"/>
                          </a:cubicBezTo>
                          <a:cubicBezTo>
                            <a:pt x="18839" y="30083"/>
                            <a:pt x="18839" y="30143"/>
                            <a:pt x="18899" y="30262"/>
                          </a:cubicBezTo>
                          <a:cubicBezTo>
                            <a:pt x="18959" y="30382"/>
                            <a:pt x="18959" y="30442"/>
                            <a:pt x="19019" y="30561"/>
                          </a:cubicBezTo>
                          <a:cubicBezTo>
                            <a:pt x="19019" y="30741"/>
                            <a:pt x="19079" y="30800"/>
                            <a:pt x="19079" y="30920"/>
                          </a:cubicBezTo>
                          <a:moveTo>
                            <a:pt x="5263" y="19079"/>
                          </a:moveTo>
                          <a:cubicBezTo>
                            <a:pt x="5382" y="19079"/>
                            <a:pt x="5442" y="19138"/>
                            <a:pt x="5562" y="19138"/>
                          </a:cubicBezTo>
                          <a:cubicBezTo>
                            <a:pt x="5682" y="19138"/>
                            <a:pt x="5742" y="19198"/>
                            <a:pt x="5861" y="19198"/>
                          </a:cubicBezTo>
                          <a:cubicBezTo>
                            <a:pt x="5981" y="19198"/>
                            <a:pt x="6041" y="19258"/>
                            <a:pt x="6160" y="19258"/>
                          </a:cubicBezTo>
                          <a:cubicBezTo>
                            <a:pt x="6280" y="19258"/>
                            <a:pt x="6340" y="19318"/>
                            <a:pt x="6459" y="19318"/>
                          </a:cubicBezTo>
                          <a:lnTo>
                            <a:pt x="8313" y="16985"/>
                          </a:lnTo>
                          <a:cubicBezTo>
                            <a:pt x="8194" y="16926"/>
                            <a:pt x="8134" y="16926"/>
                            <a:pt x="8014" y="16926"/>
                          </a:cubicBezTo>
                          <a:cubicBezTo>
                            <a:pt x="7895" y="16926"/>
                            <a:pt x="7835" y="16866"/>
                            <a:pt x="7715" y="16866"/>
                          </a:cubicBezTo>
                          <a:cubicBezTo>
                            <a:pt x="7596" y="16866"/>
                            <a:pt x="7536" y="16806"/>
                            <a:pt x="7416" y="16806"/>
                          </a:cubicBezTo>
                          <a:cubicBezTo>
                            <a:pt x="7296" y="16806"/>
                            <a:pt x="7237" y="16746"/>
                            <a:pt x="7117" y="16746"/>
                          </a:cubicBezTo>
                          <a:lnTo>
                            <a:pt x="5263" y="19079"/>
                          </a:lnTo>
                          <a:moveTo>
                            <a:pt x="16567" y="34150"/>
                          </a:moveTo>
                          <a:lnTo>
                            <a:pt x="18002" y="32356"/>
                          </a:lnTo>
                          <a:cubicBezTo>
                            <a:pt x="17942" y="32236"/>
                            <a:pt x="17942" y="32176"/>
                            <a:pt x="17882" y="32057"/>
                          </a:cubicBezTo>
                          <a:cubicBezTo>
                            <a:pt x="17822" y="31937"/>
                            <a:pt x="17822" y="31877"/>
                            <a:pt x="17763" y="31758"/>
                          </a:cubicBezTo>
                          <a:cubicBezTo>
                            <a:pt x="17703" y="31638"/>
                            <a:pt x="17703" y="31578"/>
                            <a:pt x="17643" y="31459"/>
                          </a:cubicBezTo>
                          <a:cubicBezTo>
                            <a:pt x="17583" y="31339"/>
                            <a:pt x="17583" y="31279"/>
                            <a:pt x="17523" y="31159"/>
                          </a:cubicBezTo>
                          <a:lnTo>
                            <a:pt x="16806" y="32116"/>
                          </a:lnTo>
                          <a:cubicBezTo>
                            <a:pt x="16806" y="32296"/>
                            <a:pt x="16866" y="32415"/>
                            <a:pt x="16866" y="32595"/>
                          </a:cubicBezTo>
                          <a:cubicBezTo>
                            <a:pt x="16866" y="32774"/>
                            <a:pt x="16866" y="32894"/>
                            <a:pt x="16866" y="33073"/>
                          </a:cubicBezTo>
                          <a:cubicBezTo>
                            <a:pt x="16866" y="33253"/>
                            <a:pt x="16806" y="33432"/>
                            <a:pt x="16806" y="33552"/>
                          </a:cubicBezTo>
                          <a:cubicBezTo>
                            <a:pt x="16746" y="33731"/>
                            <a:pt x="16746" y="33911"/>
                            <a:pt x="16686" y="34030"/>
                          </a:cubicBezTo>
                          <a:cubicBezTo>
                            <a:pt x="16686" y="34030"/>
                            <a:pt x="16686" y="34030"/>
                            <a:pt x="16686" y="34090"/>
                          </a:cubicBezTo>
                          <a:cubicBezTo>
                            <a:pt x="16686" y="34090"/>
                            <a:pt x="16686" y="34090"/>
                            <a:pt x="16686" y="34150"/>
                          </a:cubicBezTo>
                          <a:cubicBezTo>
                            <a:pt x="16567" y="34090"/>
                            <a:pt x="16567" y="34090"/>
                            <a:pt x="16567" y="34150"/>
                          </a:cubicBezTo>
                          <a:cubicBezTo>
                            <a:pt x="16567" y="34090"/>
                            <a:pt x="16567" y="34090"/>
                            <a:pt x="16567" y="34150"/>
                          </a:cubicBezTo>
                          <a:moveTo>
                            <a:pt x="14294" y="35227"/>
                          </a:moveTo>
                          <a:cubicBezTo>
                            <a:pt x="14294" y="35227"/>
                            <a:pt x="14294" y="35227"/>
                            <a:pt x="14294" y="35227"/>
                          </a:cubicBezTo>
                          <a:cubicBezTo>
                            <a:pt x="14294" y="35227"/>
                            <a:pt x="14294" y="35227"/>
                            <a:pt x="14294" y="35227"/>
                          </a:cubicBezTo>
                          <a:cubicBezTo>
                            <a:pt x="14354" y="35227"/>
                            <a:pt x="14354" y="35167"/>
                            <a:pt x="14354" y="35167"/>
                          </a:cubicBezTo>
                          <a:cubicBezTo>
                            <a:pt x="14354" y="35167"/>
                            <a:pt x="14354" y="35167"/>
                            <a:pt x="14354" y="35167"/>
                          </a:cubicBezTo>
                          <a:cubicBezTo>
                            <a:pt x="14473" y="35107"/>
                            <a:pt x="14593" y="34987"/>
                            <a:pt x="14713" y="34868"/>
                          </a:cubicBezTo>
                          <a:cubicBezTo>
                            <a:pt x="14832" y="34748"/>
                            <a:pt x="14952" y="34628"/>
                            <a:pt x="15072" y="34509"/>
                          </a:cubicBezTo>
                          <a:cubicBezTo>
                            <a:pt x="15191" y="34389"/>
                            <a:pt x="15251" y="34269"/>
                            <a:pt x="15371" y="34090"/>
                          </a:cubicBezTo>
                          <a:cubicBezTo>
                            <a:pt x="15430" y="33970"/>
                            <a:pt x="15550" y="33791"/>
                            <a:pt x="15550" y="33612"/>
                          </a:cubicBezTo>
                          <a:cubicBezTo>
                            <a:pt x="15550" y="33612"/>
                            <a:pt x="15550" y="33612"/>
                            <a:pt x="15550" y="33612"/>
                          </a:cubicBezTo>
                          <a:cubicBezTo>
                            <a:pt x="15550" y="33612"/>
                            <a:pt x="15550" y="33612"/>
                            <a:pt x="15550" y="33612"/>
                          </a:cubicBezTo>
                          <a:cubicBezTo>
                            <a:pt x="15550" y="33612"/>
                            <a:pt x="15550" y="33612"/>
                            <a:pt x="15550" y="33612"/>
                          </a:cubicBezTo>
                          <a:cubicBezTo>
                            <a:pt x="15550" y="33612"/>
                            <a:pt x="15550" y="33612"/>
                            <a:pt x="15550" y="33612"/>
                          </a:cubicBezTo>
                          <a:lnTo>
                            <a:pt x="14294" y="35227"/>
                          </a:lnTo>
                          <a:moveTo>
                            <a:pt x="3708" y="27691"/>
                          </a:moveTo>
                          <a:lnTo>
                            <a:pt x="4127" y="27930"/>
                          </a:lnTo>
                          <a:lnTo>
                            <a:pt x="4246" y="27810"/>
                          </a:lnTo>
                          <a:lnTo>
                            <a:pt x="3110" y="26794"/>
                          </a:lnTo>
                          <a:cubicBezTo>
                            <a:pt x="3170" y="26853"/>
                            <a:pt x="3170" y="26973"/>
                            <a:pt x="3229" y="27033"/>
                          </a:cubicBezTo>
                          <a:cubicBezTo>
                            <a:pt x="3289" y="27092"/>
                            <a:pt x="3289" y="27212"/>
                            <a:pt x="3349" y="27272"/>
                          </a:cubicBezTo>
                          <a:cubicBezTo>
                            <a:pt x="3409" y="27332"/>
                            <a:pt x="3469" y="27451"/>
                            <a:pt x="3528" y="27511"/>
                          </a:cubicBezTo>
                          <a:cubicBezTo>
                            <a:pt x="3588" y="27571"/>
                            <a:pt x="3648" y="27631"/>
                            <a:pt x="3708" y="27691"/>
                          </a:cubicBezTo>
                          <a:moveTo>
                            <a:pt x="11722" y="35047"/>
                          </a:moveTo>
                          <a:cubicBezTo>
                            <a:pt x="11782" y="35107"/>
                            <a:pt x="11842" y="35167"/>
                            <a:pt x="11902" y="35167"/>
                          </a:cubicBezTo>
                          <a:cubicBezTo>
                            <a:pt x="11961" y="35227"/>
                            <a:pt x="12021" y="35227"/>
                            <a:pt x="12081" y="35286"/>
                          </a:cubicBezTo>
                          <a:cubicBezTo>
                            <a:pt x="12141" y="35346"/>
                            <a:pt x="12201" y="35346"/>
                            <a:pt x="12260" y="35406"/>
                          </a:cubicBezTo>
                          <a:cubicBezTo>
                            <a:pt x="12320" y="35466"/>
                            <a:pt x="12380" y="35466"/>
                            <a:pt x="12500" y="35466"/>
                          </a:cubicBezTo>
                          <a:cubicBezTo>
                            <a:pt x="12559" y="35466"/>
                            <a:pt x="12559" y="35466"/>
                            <a:pt x="12619" y="35466"/>
                          </a:cubicBezTo>
                          <a:cubicBezTo>
                            <a:pt x="12679" y="35466"/>
                            <a:pt x="12679" y="35466"/>
                            <a:pt x="12739" y="35466"/>
                          </a:cubicBezTo>
                          <a:cubicBezTo>
                            <a:pt x="12799" y="35466"/>
                            <a:pt x="12799" y="35466"/>
                            <a:pt x="12858" y="35466"/>
                          </a:cubicBezTo>
                          <a:cubicBezTo>
                            <a:pt x="12918" y="35466"/>
                            <a:pt x="12918" y="35466"/>
                            <a:pt x="12978" y="35466"/>
                          </a:cubicBezTo>
                          <a:lnTo>
                            <a:pt x="11184" y="33851"/>
                          </a:lnTo>
                          <a:cubicBezTo>
                            <a:pt x="11184" y="33911"/>
                            <a:pt x="11184" y="33911"/>
                            <a:pt x="11184" y="33970"/>
                          </a:cubicBezTo>
                          <a:cubicBezTo>
                            <a:pt x="11184" y="34030"/>
                            <a:pt x="11184" y="34030"/>
                            <a:pt x="11184" y="34030"/>
                          </a:cubicBezTo>
                          <a:cubicBezTo>
                            <a:pt x="11184" y="34030"/>
                            <a:pt x="11184" y="34090"/>
                            <a:pt x="11244" y="34090"/>
                          </a:cubicBezTo>
                          <a:cubicBezTo>
                            <a:pt x="11244" y="34090"/>
                            <a:pt x="11244" y="34150"/>
                            <a:pt x="11304" y="34150"/>
                          </a:cubicBezTo>
                          <a:cubicBezTo>
                            <a:pt x="11304" y="34210"/>
                            <a:pt x="11363" y="34269"/>
                            <a:pt x="11423" y="34329"/>
                          </a:cubicBezTo>
                          <a:cubicBezTo>
                            <a:pt x="11483" y="34389"/>
                            <a:pt x="11483" y="34449"/>
                            <a:pt x="11543" y="34509"/>
                          </a:cubicBezTo>
                          <a:cubicBezTo>
                            <a:pt x="11603" y="34568"/>
                            <a:pt x="11603" y="34628"/>
                            <a:pt x="11662" y="34688"/>
                          </a:cubicBezTo>
                          <a:cubicBezTo>
                            <a:pt x="11662" y="34927"/>
                            <a:pt x="11662" y="34987"/>
                            <a:pt x="11722" y="35047"/>
                          </a:cubicBezTo>
                          <a:moveTo>
                            <a:pt x="12320" y="36662"/>
                          </a:moveTo>
                          <a:lnTo>
                            <a:pt x="13636" y="37798"/>
                          </a:lnTo>
                          <a:lnTo>
                            <a:pt x="15012" y="36064"/>
                          </a:lnTo>
                          <a:cubicBezTo>
                            <a:pt x="15012" y="36064"/>
                            <a:pt x="14952" y="36064"/>
                            <a:pt x="14952" y="36123"/>
                          </a:cubicBezTo>
                          <a:cubicBezTo>
                            <a:pt x="14952" y="36123"/>
                            <a:pt x="14892" y="36123"/>
                            <a:pt x="14892" y="36183"/>
                          </a:cubicBezTo>
                          <a:cubicBezTo>
                            <a:pt x="14892" y="36183"/>
                            <a:pt x="14832" y="36183"/>
                            <a:pt x="14832" y="36243"/>
                          </a:cubicBezTo>
                          <a:cubicBezTo>
                            <a:pt x="14832" y="36243"/>
                            <a:pt x="14772" y="36243"/>
                            <a:pt x="14772" y="36303"/>
                          </a:cubicBezTo>
                          <a:cubicBezTo>
                            <a:pt x="14593" y="36422"/>
                            <a:pt x="14413" y="36542"/>
                            <a:pt x="14174" y="36602"/>
                          </a:cubicBezTo>
                          <a:cubicBezTo>
                            <a:pt x="13935" y="36662"/>
                            <a:pt x="13756" y="36722"/>
                            <a:pt x="13576" y="36781"/>
                          </a:cubicBezTo>
                          <a:cubicBezTo>
                            <a:pt x="13397" y="36841"/>
                            <a:pt x="13158" y="36841"/>
                            <a:pt x="12978" y="36841"/>
                          </a:cubicBezTo>
                          <a:cubicBezTo>
                            <a:pt x="12799" y="36841"/>
                            <a:pt x="12500" y="36722"/>
                            <a:pt x="12320" y="36662"/>
                          </a:cubicBezTo>
                          <a:moveTo>
                            <a:pt x="7775" y="32655"/>
                          </a:moveTo>
                          <a:lnTo>
                            <a:pt x="10107" y="34748"/>
                          </a:lnTo>
                          <a:cubicBezTo>
                            <a:pt x="10048" y="34628"/>
                            <a:pt x="9988" y="34449"/>
                            <a:pt x="9988" y="34329"/>
                          </a:cubicBezTo>
                          <a:cubicBezTo>
                            <a:pt x="9928" y="34150"/>
                            <a:pt x="9928" y="34030"/>
                            <a:pt x="9928" y="33851"/>
                          </a:cubicBezTo>
                          <a:cubicBezTo>
                            <a:pt x="9928" y="33671"/>
                            <a:pt x="9928" y="33552"/>
                            <a:pt x="9928" y="33373"/>
                          </a:cubicBezTo>
                          <a:cubicBezTo>
                            <a:pt x="9928" y="33193"/>
                            <a:pt x="9928" y="33073"/>
                            <a:pt x="9988" y="32894"/>
                          </a:cubicBezTo>
                          <a:lnTo>
                            <a:pt x="8612" y="31698"/>
                          </a:lnTo>
                          <a:lnTo>
                            <a:pt x="7775" y="32655"/>
                          </a:lnTo>
                          <a:moveTo>
                            <a:pt x="0" y="25717"/>
                          </a:moveTo>
                          <a:lnTo>
                            <a:pt x="2153" y="27631"/>
                          </a:lnTo>
                          <a:cubicBezTo>
                            <a:pt x="2153" y="27631"/>
                            <a:pt x="2153" y="27631"/>
                            <a:pt x="2153" y="27631"/>
                          </a:cubicBezTo>
                          <a:cubicBezTo>
                            <a:pt x="2153" y="27631"/>
                            <a:pt x="2153" y="27631"/>
                            <a:pt x="2153" y="27631"/>
                          </a:cubicBezTo>
                          <a:cubicBezTo>
                            <a:pt x="2153" y="27631"/>
                            <a:pt x="2153" y="27631"/>
                            <a:pt x="2153" y="27631"/>
                          </a:cubicBezTo>
                          <a:cubicBezTo>
                            <a:pt x="2153" y="27631"/>
                            <a:pt x="2153" y="27631"/>
                            <a:pt x="2153" y="27631"/>
                          </a:cubicBezTo>
                          <a:cubicBezTo>
                            <a:pt x="2093" y="27511"/>
                            <a:pt x="2033" y="27332"/>
                            <a:pt x="1974" y="27212"/>
                          </a:cubicBezTo>
                          <a:cubicBezTo>
                            <a:pt x="1914" y="27092"/>
                            <a:pt x="1914" y="26913"/>
                            <a:pt x="1854" y="26734"/>
                          </a:cubicBezTo>
                          <a:cubicBezTo>
                            <a:pt x="1854" y="26554"/>
                            <a:pt x="1794" y="26435"/>
                            <a:pt x="1794" y="26255"/>
                          </a:cubicBezTo>
                          <a:cubicBezTo>
                            <a:pt x="1794" y="26076"/>
                            <a:pt x="1794" y="25956"/>
                            <a:pt x="1794" y="25777"/>
                          </a:cubicBezTo>
                          <a:lnTo>
                            <a:pt x="1615" y="25597"/>
                          </a:lnTo>
                          <a:lnTo>
                            <a:pt x="1914" y="25238"/>
                          </a:lnTo>
                          <a:cubicBezTo>
                            <a:pt x="1914" y="25179"/>
                            <a:pt x="1914" y="25179"/>
                            <a:pt x="1914" y="25119"/>
                          </a:cubicBezTo>
                          <a:cubicBezTo>
                            <a:pt x="1914" y="25059"/>
                            <a:pt x="1914" y="25059"/>
                            <a:pt x="1914" y="24999"/>
                          </a:cubicBezTo>
                          <a:cubicBezTo>
                            <a:pt x="1914" y="24940"/>
                            <a:pt x="1914" y="24940"/>
                            <a:pt x="1974" y="24880"/>
                          </a:cubicBezTo>
                          <a:cubicBezTo>
                            <a:pt x="1974" y="24820"/>
                            <a:pt x="1974" y="24820"/>
                            <a:pt x="2033" y="24760"/>
                          </a:cubicBezTo>
                          <a:cubicBezTo>
                            <a:pt x="2093" y="24521"/>
                            <a:pt x="2213" y="24282"/>
                            <a:pt x="2333" y="24043"/>
                          </a:cubicBezTo>
                          <a:cubicBezTo>
                            <a:pt x="2452" y="23803"/>
                            <a:pt x="2572" y="23624"/>
                            <a:pt x="2751" y="23384"/>
                          </a:cubicBezTo>
                          <a:cubicBezTo>
                            <a:pt x="2930" y="23205"/>
                            <a:pt x="3110" y="23026"/>
                            <a:pt x="3289" y="22846"/>
                          </a:cubicBezTo>
                          <a:cubicBezTo>
                            <a:pt x="3469" y="22667"/>
                            <a:pt x="3648" y="22547"/>
                            <a:pt x="3887" y="22428"/>
                          </a:cubicBezTo>
                          <a:cubicBezTo>
                            <a:pt x="3887" y="22428"/>
                            <a:pt x="3947" y="22368"/>
                            <a:pt x="3947" y="22368"/>
                          </a:cubicBezTo>
                          <a:cubicBezTo>
                            <a:pt x="3947" y="22368"/>
                            <a:pt x="4007" y="22308"/>
                            <a:pt x="4007" y="22308"/>
                          </a:cubicBezTo>
                          <a:cubicBezTo>
                            <a:pt x="4007" y="22308"/>
                            <a:pt x="4067" y="22308"/>
                            <a:pt x="4067" y="22248"/>
                          </a:cubicBezTo>
                          <a:cubicBezTo>
                            <a:pt x="4067" y="22248"/>
                            <a:pt x="4127" y="22248"/>
                            <a:pt x="4127" y="22188"/>
                          </a:cubicBezTo>
                          <a:lnTo>
                            <a:pt x="5323" y="20693"/>
                          </a:lnTo>
                          <a:cubicBezTo>
                            <a:pt x="5203" y="20693"/>
                            <a:pt x="5083" y="20634"/>
                            <a:pt x="5024" y="20634"/>
                          </a:cubicBezTo>
                          <a:cubicBezTo>
                            <a:pt x="4904" y="20634"/>
                            <a:pt x="4785" y="20574"/>
                            <a:pt x="4725" y="20574"/>
                          </a:cubicBezTo>
                          <a:cubicBezTo>
                            <a:pt x="4605" y="20574"/>
                            <a:pt x="4486" y="20514"/>
                            <a:pt x="4426" y="20514"/>
                          </a:cubicBezTo>
                          <a:cubicBezTo>
                            <a:pt x="4306" y="20514"/>
                            <a:pt x="4187" y="20454"/>
                            <a:pt x="4127" y="20454"/>
                          </a:cubicBezTo>
                          <a:lnTo>
                            <a:pt x="0" y="25717"/>
                          </a:lnTo>
                        </a:path>
                      </a:pathLst>
                    </a:custGeom>
                    <a:noFill/>
                    <a:ln w="6350" cap="flat">
                      <a:solidFill>
                        <a:schemeClr val="bg1">
                          <a:alpha val="80000"/>
                        </a:schemeClr>
                      </a:solidFill>
                      <a:prstDash val="solid"/>
                      <a:miter/>
                    </a:ln>
                  </p:spPr>
                  <p:txBody>
                    <a:bodyPr rtlCol="0" anchor="ctr"/>
                    <a:lstStyle/>
                    <a:p>
                      <a:endParaRPr lang="en-GB"/>
                    </a:p>
                  </p:txBody>
                </p:sp>
                <p:sp>
                  <p:nvSpPr>
                    <p:cNvPr id="7377" name="Vrije vorm: vorm 7376">
                      <a:extLst>
                        <a:ext uri="{FF2B5EF4-FFF2-40B4-BE49-F238E27FC236}">
                          <a16:creationId xmlns:a16="http://schemas.microsoft.com/office/drawing/2014/main" id="{789E2330-0E8B-47D3-BA0B-1C8357D8637A}"/>
                        </a:ext>
                      </a:extLst>
                    </p:cNvPr>
                    <p:cNvSpPr/>
                    <p:nvPr/>
                  </p:nvSpPr>
                  <p:spPr>
                    <a:xfrm>
                      <a:off x="5063897" y="4920200"/>
                      <a:ext cx="24042" cy="29544"/>
                    </a:xfrm>
                    <a:custGeom>
                      <a:avLst/>
                      <a:gdLst>
                        <a:gd name="connsiteX0" fmla="*/ 13337 w 24042"/>
                        <a:gd name="connsiteY0" fmla="*/ 8134 h 29544"/>
                        <a:gd name="connsiteX1" fmla="*/ 14174 w 24042"/>
                        <a:gd name="connsiteY1" fmla="*/ 8911 h 29544"/>
                        <a:gd name="connsiteX2" fmla="*/ 19856 w 24042"/>
                        <a:gd name="connsiteY2" fmla="*/ 1734 h 29544"/>
                        <a:gd name="connsiteX3" fmla="*/ 19856 w 24042"/>
                        <a:gd name="connsiteY3" fmla="*/ 1734 h 29544"/>
                        <a:gd name="connsiteX4" fmla="*/ 20514 w 24042"/>
                        <a:gd name="connsiteY4" fmla="*/ 2332 h 29544"/>
                        <a:gd name="connsiteX5" fmla="*/ 21291 w 24042"/>
                        <a:gd name="connsiteY5" fmla="*/ 1375 h 29544"/>
                        <a:gd name="connsiteX6" fmla="*/ 19796 w 24042"/>
                        <a:gd name="connsiteY6" fmla="*/ 0 h 29544"/>
                        <a:gd name="connsiteX7" fmla="*/ 19019 w 24042"/>
                        <a:gd name="connsiteY7" fmla="*/ 957 h 29544"/>
                        <a:gd name="connsiteX8" fmla="*/ 13337 w 24042"/>
                        <a:gd name="connsiteY8" fmla="*/ 8134 h 29544"/>
                        <a:gd name="connsiteX9" fmla="*/ 17583 w 24042"/>
                        <a:gd name="connsiteY9" fmla="*/ 12021 h 29544"/>
                        <a:gd name="connsiteX10" fmla="*/ 23265 w 24042"/>
                        <a:gd name="connsiteY10" fmla="*/ 4844 h 29544"/>
                        <a:gd name="connsiteX11" fmla="*/ 24043 w 24042"/>
                        <a:gd name="connsiteY11" fmla="*/ 3887 h 29544"/>
                        <a:gd name="connsiteX12" fmla="*/ 22069 w 24042"/>
                        <a:gd name="connsiteY12" fmla="*/ 2093 h 29544"/>
                        <a:gd name="connsiteX13" fmla="*/ 21291 w 24042"/>
                        <a:gd name="connsiteY13" fmla="*/ 3050 h 29544"/>
                        <a:gd name="connsiteX14" fmla="*/ 22069 w 24042"/>
                        <a:gd name="connsiteY14" fmla="*/ 3827 h 29544"/>
                        <a:gd name="connsiteX15" fmla="*/ 22368 w 24042"/>
                        <a:gd name="connsiteY15" fmla="*/ 4126 h 29544"/>
                        <a:gd name="connsiteX16" fmla="*/ 16746 w 24042"/>
                        <a:gd name="connsiteY16" fmla="*/ 11303 h 29544"/>
                        <a:gd name="connsiteX17" fmla="*/ 17583 w 24042"/>
                        <a:gd name="connsiteY17" fmla="*/ 12021 h 29544"/>
                        <a:gd name="connsiteX18" fmla="*/ 13038 w 24042"/>
                        <a:gd name="connsiteY18" fmla="*/ 17763 h 29544"/>
                        <a:gd name="connsiteX19" fmla="*/ 15909 w 24042"/>
                        <a:gd name="connsiteY19" fmla="*/ 14174 h 29544"/>
                        <a:gd name="connsiteX20" fmla="*/ 16686 w 24042"/>
                        <a:gd name="connsiteY20" fmla="*/ 13217 h 29544"/>
                        <a:gd name="connsiteX21" fmla="*/ 16806 w 24042"/>
                        <a:gd name="connsiteY21" fmla="*/ 13038 h 29544"/>
                        <a:gd name="connsiteX22" fmla="*/ 15968 w 24042"/>
                        <a:gd name="connsiteY22" fmla="*/ 12260 h 29544"/>
                        <a:gd name="connsiteX23" fmla="*/ 15072 w 24042"/>
                        <a:gd name="connsiteY23" fmla="*/ 13397 h 29544"/>
                        <a:gd name="connsiteX24" fmla="*/ 12260 w 24042"/>
                        <a:gd name="connsiteY24" fmla="*/ 16985 h 29544"/>
                        <a:gd name="connsiteX25" fmla="*/ 12320 w 24042"/>
                        <a:gd name="connsiteY25" fmla="*/ 16985 h 29544"/>
                        <a:gd name="connsiteX26" fmla="*/ 12380 w 24042"/>
                        <a:gd name="connsiteY26" fmla="*/ 16985 h 29544"/>
                        <a:gd name="connsiteX27" fmla="*/ 12440 w 24042"/>
                        <a:gd name="connsiteY27" fmla="*/ 16985 h 29544"/>
                        <a:gd name="connsiteX28" fmla="*/ 12500 w 24042"/>
                        <a:gd name="connsiteY28" fmla="*/ 16985 h 29544"/>
                        <a:gd name="connsiteX29" fmla="*/ 12679 w 24042"/>
                        <a:gd name="connsiteY29" fmla="*/ 17165 h 29544"/>
                        <a:gd name="connsiteX30" fmla="*/ 12859 w 24042"/>
                        <a:gd name="connsiteY30" fmla="*/ 17344 h 29544"/>
                        <a:gd name="connsiteX31" fmla="*/ 13038 w 24042"/>
                        <a:gd name="connsiteY31" fmla="*/ 17523 h 29544"/>
                        <a:gd name="connsiteX32" fmla="*/ 13038 w 24042"/>
                        <a:gd name="connsiteY32" fmla="*/ 17763 h 29544"/>
                        <a:gd name="connsiteX33" fmla="*/ 8433 w 24042"/>
                        <a:gd name="connsiteY33" fmla="*/ 14294 h 29544"/>
                        <a:gd name="connsiteX34" fmla="*/ 8672 w 24042"/>
                        <a:gd name="connsiteY34" fmla="*/ 14413 h 29544"/>
                        <a:gd name="connsiteX35" fmla="*/ 8911 w 24042"/>
                        <a:gd name="connsiteY35" fmla="*/ 14533 h 29544"/>
                        <a:gd name="connsiteX36" fmla="*/ 9151 w 24042"/>
                        <a:gd name="connsiteY36" fmla="*/ 14652 h 29544"/>
                        <a:gd name="connsiteX37" fmla="*/ 9390 w 24042"/>
                        <a:gd name="connsiteY37" fmla="*/ 14772 h 29544"/>
                        <a:gd name="connsiteX38" fmla="*/ 12440 w 24042"/>
                        <a:gd name="connsiteY38" fmla="*/ 10885 h 29544"/>
                        <a:gd name="connsiteX39" fmla="*/ 13337 w 24042"/>
                        <a:gd name="connsiteY39" fmla="*/ 9748 h 29544"/>
                        <a:gd name="connsiteX40" fmla="*/ 12500 w 24042"/>
                        <a:gd name="connsiteY40" fmla="*/ 8971 h 29544"/>
                        <a:gd name="connsiteX41" fmla="*/ 12380 w 24042"/>
                        <a:gd name="connsiteY41" fmla="*/ 9090 h 29544"/>
                        <a:gd name="connsiteX42" fmla="*/ 11603 w 24042"/>
                        <a:gd name="connsiteY42" fmla="*/ 10107 h 29544"/>
                        <a:gd name="connsiteX43" fmla="*/ 8433 w 24042"/>
                        <a:gd name="connsiteY43" fmla="*/ 14294 h 29544"/>
                        <a:gd name="connsiteX44" fmla="*/ 10586 w 24042"/>
                        <a:gd name="connsiteY44" fmla="*/ 20813 h 29544"/>
                        <a:gd name="connsiteX45" fmla="*/ 12260 w 24042"/>
                        <a:gd name="connsiteY45" fmla="*/ 18660 h 29544"/>
                        <a:gd name="connsiteX46" fmla="*/ 12081 w 24042"/>
                        <a:gd name="connsiteY46" fmla="*/ 18480 h 29544"/>
                        <a:gd name="connsiteX47" fmla="*/ 11902 w 24042"/>
                        <a:gd name="connsiteY47" fmla="*/ 18301 h 29544"/>
                        <a:gd name="connsiteX48" fmla="*/ 11722 w 24042"/>
                        <a:gd name="connsiteY48" fmla="*/ 18121 h 29544"/>
                        <a:gd name="connsiteX49" fmla="*/ 11543 w 24042"/>
                        <a:gd name="connsiteY49" fmla="*/ 17942 h 29544"/>
                        <a:gd name="connsiteX50" fmla="*/ 11483 w 24042"/>
                        <a:gd name="connsiteY50" fmla="*/ 17942 h 29544"/>
                        <a:gd name="connsiteX51" fmla="*/ 11423 w 24042"/>
                        <a:gd name="connsiteY51" fmla="*/ 17942 h 29544"/>
                        <a:gd name="connsiteX52" fmla="*/ 11364 w 24042"/>
                        <a:gd name="connsiteY52" fmla="*/ 17942 h 29544"/>
                        <a:gd name="connsiteX53" fmla="*/ 11304 w 24042"/>
                        <a:gd name="connsiteY53" fmla="*/ 17942 h 29544"/>
                        <a:gd name="connsiteX54" fmla="*/ 9629 w 24042"/>
                        <a:gd name="connsiteY54" fmla="*/ 20095 h 29544"/>
                        <a:gd name="connsiteX55" fmla="*/ 9689 w 24042"/>
                        <a:gd name="connsiteY55" fmla="*/ 20095 h 29544"/>
                        <a:gd name="connsiteX56" fmla="*/ 9749 w 24042"/>
                        <a:gd name="connsiteY56" fmla="*/ 20095 h 29544"/>
                        <a:gd name="connsiteX57" fmla="*/ 9808 w 24042"/>
                        <a:gd name="connsiteY57" fmla="*/ 20095 h 29544"/>
                        <a:gd name="connsiteX58" fmla="*/ 9868 w 24042"/>
                        <a:gd name="connsiteY58" fmla="*/ 20095 h 29544"/>
                        <a:gd name="connsiteX59" fmla="*/ 10048 w 24042"/>
                        <a:gd name="connsiteY59" fmla="*/ 20274 h 29544"/>
                        <a:gd name="connsiteX60" fmla="*/ 10227 w 24042"/>
                        <a:gd name="connsiteY60" fmla="*/ 20454 h 29544"/>
                        <a:gd name="connsiteX61" fmla="*/ 10406 w 24042"/>
                        <a:gd name="connsiteY61" fmla="*/ 20633 h 29544"/>
                        <a:gd name="connsiteX62" fmla="*/ 10586 w 24042"/>
                        <a:gd name="connsiteY62" fmla="*/ 20813 h 29544"/>
                        <a:gd name="connsiteX63" fmla="*/ 5921 w 24042"/>
                        <a:gd name="connsiteY63" fmla="*/ 17464 h 29544"/>
                        <a:gd name="connsiteX64" fmla="*/ 6160 w 24042"/>
                        <a:gd name="connsiteY64" fmla="*/ 17583 h 29544"/>
                        <a:gd name="connsiteX65" fmla="*/ 6399 w 24042"/>
                        <a:gd name="connsiteY65" fmla="*/ 17703 h 29544"/>
                        <a:gd name="connsiteX66" fmla="*/ 6639 w 24042"/>
                        <a:gd name="connsiteY66" fmla="*/ 17822 h 29544"/>
                        <a:gd name="connsiteX67" fmla="*/ 6878 w 24042"/>
                        <a:gd name="connsiteY67" fmla="*/ 17942 h 29544"/>
                        <a:gd name="connsiteX68" fmla="*/ 8612 w 24042"/>
                        <a:gd name="connsiteY68" fmla="*/ 15789 h 29544"/>
                        <a:gd name="connsiteX69" fmla="*/ 8373 w 24042"/>
                        <a:gd name="connsiteY69" fmla="*/ 15669 h 29544"/>
                        <a:gd name="connsiteX70" fmla="*/ 8134 w 24042"/>
                        <a:gd name="connsiteY70" fmla="*/ 15550 h 29544"/>
                        <a:gd name="connsiteX71" fmla="*/ 7895 w 24042"/>
                        <a:gd name="connsiteY71" fmla="*/ 15430 h 29544"/>
                        <a:gd name="connsiteX72" fmla="*/ 7656 w 24042"/>
                        <a:gd name="connsiteY72" fmla="*/ 15311 h 29544"/>
                        <a:gd name="connsiteX73" fmla="*/ 5921 w 24042"/>
                        <a:gd name="connsiteY73" fmla="*/ 17464 h 29544"/>
                        <a:gd name="connsiteX74" fmla="*/ 4545 w 24042"/>
                        <a:gd name="connsiteY74" fmla="*/ 20992 h 29544"/>
                        <a:gd name="connsiteX75" fmla="*/ 5921 w 24042"/>
                        <a:gd name="connsiteY75" fmla="*/ 19258 h 29544"/>
                        <a:gd name="connsiteX76" fmla="*/ 5682 w 24042"/>
                        <a:gd name="connsiteY76" fmla="*/ 19138 h 29544"/>
                        <a:gd name="connsiteX77" fmla="*/ 5442 w 24042"/>
                        <a:gd name="connsiteY77" fmla="*/ 19019 h 29544"/>
                        <a:gd name="connsiteX78" fmla="*/ 5203 w 24042"/>
                        <a:gd name="connsiteY78" fmla="*/ 18899 h 29544"/>
                        <a:gd name="connsiteX79" fmla="*/ 4964 w 24042"/>
                        <a:gd name="connsiteY79" fmla="*/ 18779 h 29544"/>
                        <a:gd name="connsiteX80" fmla="*/ 4067 w 24042"/>
                        <a:gd name="connsiteY80" fmla="*/ 19916 h 29544"/>
                        <a:gd name="connsiteX81" fmla="*/ 4187 w 24042"/>
                        <a:gd name="connsiteY81" fmla="*/ 20095 h 29544"/>
                        <a:gd name="connsiteX82" fmla="*/ 4306 w 24042"/>
                        <a:gd name="connsiteY82" fmla="*/ 20274 h 29544"/>
                        <a:gd name="connsiteX83" fmla="*/ 4426 w 24042"/>
                        <a:gd name="connsiteY83" fmla="*/ 20454 h 29544"/>
                        <a:gd name="connsiteX84" fmla="*/ 4486 w 24042"/>
                        <a:gd name="connsiteY84" fmla="*/ 20693 h 29544"/>
                        <a:gd name="connsiteX85" fmla="*/ 4545 w 24042"/>
                        <a:gd name="connsiteY85" fmla="*/ 20753 h 29544"/>
                        <a:gd name="connsiteX86" fmla="*/ 4605 w 24042"/>
                        <a:gd name="connsiteY86" fmla="*/ 20813 h 29544"/>
                        <a:gd name="connsiteX87" fmla="*/ 4665 w 24042"/>
                        <a:gd name="connsiteY87" fmla="*/ 20873 h 29544"/>
                        <a:gd name="connsiteX88" fmla="*/ 4545 w 24042"/>
                        <a:gd name="connsiteY88" fmla="*/ 20992 h 29544"/>
                        <a:gd name="connsiteX89" fmla="*/ 60 w 24042"/>
                        <a:gd name="connsiteY89" fmla="*/ 24880 h 29544"/>
                        <a:gd name="connsiteX90" fmla="*/ 419 w 24042"/>
                        <a:gd name="connsiteY90" fmla="*/ 25059 h 29544"/>
                        <a:gd name="connsiteX91" fmla="*/ 658 w 24042"/>
                        <a:gd name="connsiteY91" fmla="*/ 25119 h 29544"/>
                        <a:gd name="connsiteX92" fmla="*/ 897 w 24042"/>
                        <a:gd name="connsiteY92" fmla="*/ 25119 h 29544"/>
                        <a:gd name="connsiteX93" fmla="*/ 1136 w 24042"/>
                        <a:gd name="connsiteY93" fmla="*/ 25119 h 29544"/>
                        <a:gd name="connsiteX94" fmla="*/ 1375 w 24042"/>
                        <a:gd name="connsiteY94" fmla="*/ 25119 h 29544"/>
                        <a:gd name="connsiteX95" fmla="*/ 3648 w 24042"/>
                        <a:gd name="connsiteY95" fmla="*/ 22248 h 29544"/>
                        <a:gd name="connsiteX96" fmla="*/ 3648 w 24042"/>
                        <a:gd name="connsiteY96" fmla="*/ 22009 h 29544"/>
                        <a:gd name="connsiteX97" fmla="*/ 3588 w 24042"/>
                        <a:gd name="connsiteY97" fmla="*/ 21770 h 29544"/>
                        <a:gd name="connsiteX98" fmla="*/ 3529 w 24042"/>
                        <a:gd name="connsiteY98" fmla="*/ 21530 h 29544"/>
                        <a:gd name="connsiteX99" fmla="*/ 3469 w 24042"/>
                        <a:gd name="connsiteY99" fmla="*/ 21291 h 29544"/>
                        <a:gd name="connsiteX100" fmla="*/ 3409 w 24042"/>
                        <a:gd name="connsiteY100" fmla="*/ 21172 h 29544"/>
                        <a:gd name="connsiteX101" fmla="*/ 3349 w 24042"/>
                        <a:gd name="connsiteY101" fmla="*/ 21052 h 29544"/>
                        <a:gd name="connsiteX102" fmla="*/ 3289 w 24042"/>
                        <a:gd name="connsiteY102" fmla="*/ 20933 h 29544"/>
                        <a:gd name="connsiteX103" fmla="*/ 3229 w 24042"/>
                        <a:gd name="connsiteY103" fmla="*/ 20813 h 29544"/>
                        <a:gd name="connsiteX104" fmla="*/ 180 w 24042"/>
                        <a:gd name="connsiteY104" fmla="*/ 24641 h 29544"/>
                        <a:gd name="connsiteX105" fmla="*/ 60 w 24042"/>
                        <a:gd name="connsiteY105" fmla="*/ 24880 h 29544"/>
                        <a:gd name="connsiteX106" fmla="*/ 0 w 24042"/>
                        <a:gd name="connsiteY106" fmla="*/ 26255 h 29544"/>
                        <a:gd name="connsiteX107" fmla="*/ 3708 w 24042"/>
                        <a:gd name="connsiteY107" fmla="*/ 29544 h 29544"/>
                        <a:gd name="connsiteX108" fmla="*/ 4486 w 24042"/>
                        <a:gd name="connsiteY108" fmla="*/ 28528 h 29544"/>
                        <a:gd name="connsiteX109" fmla="*/ 9629 w 24042"/>
                        <a:gd name="connsiteY109" fmla="*/ 22009 h 29544"/>
                        <a:gd name="connsiteX110" fmla="*/ 9450 w 24042"/>
                        <a:gd name="connsiteY110" fmla="*/ 21829 h 29544"/>
                        <a:gd name="connsiteX111" fmla="*/ 9270 w 24042"/>
                        <a:gd name="connsiteY111" fmla="*/ 21650 h 29544"/>
                        <a:gd name="connsiteX112" fmla="*/ 9091 w 24042"/>
                        <a:gd name="connsiteY112" fmla="*/ 21471 h 29544"/>
                        <a:gd name="connsiteX113" fmla="*/ 8911 w 24042"/>
                        <a:gd name="connsiteY113" fmla="*/ 21291 h 29544"/>
                        <a:gd name="connsiteX114" fmla="*/ 8851 w 24042"/>
                        <a:gd name="connsiteY114" fmla="*/ 21291 h 29544"/>
                        <a:gd name="connsiteX115" fmla="*/ 8791 w 24042"/>
                        <a:gd name="connsiteY115" fmla="*/ 21291 h 29544"/>
                        <a:gd name="connsiteX116" fmla="*/ 8732 w 24042"/>
                        <a:gd name="connsiteY116" fmla="*/ 21291 h 29544"/>
                        <a:gd name="connsiteX117" fmla="*/ 8672 w 24042"/>
                        <a:gd name="connsiteY117" fmla="*/ 21291 h 29544"/>
                        <a:gd name="connsiteX118" fmla="*/ 3529 w 24042"/>
                        <a:gd name="connsiteY118" fmla="*/ 27810 h 29544"/>
                        <a:gd name="connsiteX119" fmla="*/ 1734 w 24042"/>
                        <a:gd name="connsiteY119" fmla="*/ 26195 h 29544"/>
                        <a:gd name="connsiteX120" fmla="*/ 1256 w 24042"/>
                        <a:gd name="connsiteY120" fmla="*/ 26315 h 29544"/>
                        <a:gd name="connsiteX121" fmla="*/ 778 w 24042"/>
                        <a:gd name="connsiteY121" fmla="*/ 26375 h 29544"/>
                        <a:gd name="connsiteX122" fmla="*/ 299 w 24042"/>
                        <a:gd name="connsiteY122" fmla="*/ 26375 h 29544"/>
                        <a:gd name="connsiteX123" fmla="*/ 0 w 24042"/>
                        <a:gd name="connsiteY123" fmla="*/ 26255 h 2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4042" h="29544">
                          <a:moveTo>
                            <a:pt x="13337" y="8134"/>
                          </a:moveTo>
                          <a:lnTo>
                            <a:pt x="14174" y="8911"/>
                          </a:lnTo>
                          <a:lnTo>
                            <a:pt x="19856" y="1734"/>
                          </a:lnTo>
                          <a:lnTo>
                            <a:pt x="19856" y="1734"/>
                          </a:lnTo>
                          <a:lnTo>
                            <a:pt x="20514" y="2332"/>
                          </a:lnTo>
                          <a:lnTo>
                            <a:pt x="21291" y="1375"/>
                          </a:lnTo>
                          <a:lnTo>
                            <a:pt x="19796" y="0"/>
                          </a:lnTo>
                          <a:lnTo>
                            <a:pt x="19019" y="957"/>
                          </a:lnTo>
                          <a:lnTo>
                            <a:pt x="13337" y="8134"/>
                          </a:lnTo>
                          <a:moveTo>
                            <a:pt x="17583" y="12021"/>
                          </a:moveTo>
                          <a:lnTo>
                            <a:pt x="23265" y="4844"/>
                          </a:lnTo>
                          <a:lnTo>
                            <a:pt x="24043" y="3887"/>
                          </a:lnTo>
                          <a:lnTo>
                            <a:pt x="22069" y="2093"/>
                          </a:lnTo>
                          <a:lnTo>
                            <a:pt x="21291" y="3050"/>
                          </a:lnTo>
                          <a:lnTo>
                            <a:pt x="22069" y="3827"/>
                          </a:lnTo>
                          <a:lnTo>
                            <a:pt x="22368" y="4126"/>
                          </a:lnTo>
                          <a:lnTo>
                            <a:pt x="16746" y="11303"/>
                          </a:lnTo>
                          <a:lnTo>
                            <a:pt x="17583" y="12021"/>
                          </a:lnTo>
                          <a:moveTo>
                            <a:pt x="13038" y="17763"/>
                          </a:moveTo>
                          <a:lnTo>
                            <a:pt x="15909" y="14174"/>
                          </a:lnTo>
                          <a:lnTo>
                            <a:pt x="16686" y="13217"/>
                          </a:lnTo>
                          <a:lnTo>
                            <a:pt x="16806" y="13038"/>
                          </a:lnTo>
                          <a:lnTo>
                            <a:pt x="15968" y="12260"/>
                          </a:lnTo>
                          <a:lnTo>
                            <a:pt x="15072" y="13397"/>
                          </a:lnTo>
                          <a:lnTo>
                            <a:pt x="12260" y="16985"/>
                          </a:lnTo>
                          <a:cubicBezTo>
                            <a:pt x="12260" y="16985"/>
                            <a:pt x="12260" y="16985"/>
                            <a:pt x="12320" y="16985"/>
                          </a:cubicBezTo>
                          <a:cubicBezTo>
                            <a:pt x="12320" y="16985"/>
                            <a:pt x="12320" y="16985"/>
                            <a:pt x="12380" y="16985"/>
                          </a:cubicBezTo>
                          <a:cubicBezTo>
                            <a:pt x="12380" y="16985"/>
                            <a:pt x="12380" y="16985"/>
                            <a:pt x="12440" y="16985"/>
                          </a:cubicBezTo>
                          <a:cubicBezTo>
                            <a:pt x="12440" y="16985"/>
                            <a:pt x="12440" y="16985"/>
                            <a:pt x="12500" y="16985"/>
                          </a:cubicBezTo>
                          <a:cubicBezTo>
                            <a:pt x="12559" y="17045"/>
                            <a:pt x="12619" y="17105"/>
                            <a:pt x="12679" y="17165"/>
                          </a:cubicBezTo>
                          <a:cubicBezTo>
                            <a:pt x="12739" y="17224"/>
                            <a:pt x="12799" y="17284"/>
                            <a:pt x="12859" y="17344"/>
                          </a:cubicBezTo>
                          <a:cubicBezTo>
                            <a:pt x="12918" y="17404"/>
                            <a:pt x="12978" y="17464"/>
                            <a:pt x="13038" y="17523"/>
                          </a:cubicBezTo>
                          <a:cubicBezTo>
                            <a:pt x="13098" y="17583"/>
                            <a:pt x="12978" y="17703"/>
                            <a:pt x="13038" y="17763"/>
                          </a:cubicBezTo>
                          <a:moveTo>
                            <a:pt x="8433" y="14294"/>
                          </a:moveTo>
                          <a:cubicBezTo>
                            <a:pt x="8493" y="14354"/>
                            <a:pt x="8612" y="14413"/>
                            <a:pt x="8672" y="14413"/>
                          </a:cubicBezTo>
                          <a:cubicBezTo>
                            <a:pt x="8732" y="14473"/>
                            <a:pt x="8851" y="14533"/>
                            <a:pt x="8911" y="14533"/>
                          </a:cubicBezTo>
                          <a:cubicBezTo>
                            <a:pt x="8971" y="14593"/>
                            <a:pt x="9091" y="14652"/>
                            <a:pt x="9151" y="14652"/>
                          </a:cubicBezTo>
                          <a:cubicBezTo>
                            <a:pt x="9210" y="14652"/>
                            <a:pt x="9330" y="14772"/>
                            <a:pt x="9390" y="14772"/>
                          </a:cubicBezTo>
                          <a:lnTo>
                            <a:pt x="12440" y="10885"/>
                          </a:lnTo>
                          <a:lnTo>
                            <a:pt x="13337" y="9748"/>
                          </a:lnTo>
                          <a:lnTo>
                            <a:pt x="12500" y="8971"/>
                          </a:lnTo>
                          <a:lnTo>
                            <a:pt x="12380" y="9090"/>
                          </a:lnTo>
                          <a:lnTo>
                            <a:pt x="11603" y="10107"/>
                          </a:lnTo>
                          <a:lnTo>
                            <a:pt x="8433" y="14294"/>
                          </a:lnTo>
                          <a:moveTo>
                            <a:pt x="10586" y="20813"/>
                          </a:moveTo>
                          <a:lnTo>
                            <a:pt x="12260" y="18660"/>
                          </a:lnTo>
                          <a:cubicBezTo>
                            <a:pt x="12201" y="18600"/>
                            <a:pt x="12141" y="18540"/>
                            <a:pt x="12081" y="18480"/>
                          </a:cubicBezTo>
                          <a:cubicBezTo>
                            <a:pt x="12021" y="18420"/>
                            <a:pt x="11961" y="18360"/>
                            <a:pt x="11902" y="18301"/>
                          </a:cubicBezTo>
                          <a:cubicBezTo>
                            <a:pt x="11842" y="18241"/>
                            <a:pt x="11782" y="18181"/>
                            <a:pt x="11722" y="18121"/>
                          </a:cubicBezTo>
                          <a:cubicBezTo>
                            <a:pt x="11662" y="18062"/>
                            <a:pt x="11603" y="18002"/>
                            <a:pt x="11543" y="17942"/>
                          </a:cubicBezTo>
                          <a:cubicBezTo>
                            <a:pt x="11543" y="17942"/>
                            <a:pt x="11543" y="17942"/>
                            <a:pt x="11483" y="17942"/>
                          </a:cubicBezTo>
                          <a:cubicBezTo>
                            <a:pt x="11483" y="17942"/>
                            <a:pt x="11483" y="17942"/>
                            <a:pt x="11423" y="17942"/>
                          </a:cubicBezTo>
                          <a:cubicBezTo>
                            <a:pt x="11423" y="17942"/>
                            <a:pt x="11423" y="17942"/>
                            <a:pt x="11364" y="17942"/>
                          </a:cubicBezTo>
                          <a:cubicBezTo>
                            <a:pt x="11364" y="17942"/>
                            <a:pt x="11364" y="17942"/>
                            <a:pt x="11304" y="17942"/>
                          </a:cubicBezTo>
                          <a:lnTo>
                            <a:pt x="9629" y="20095"/>
                          </a:lnTo>
                          <a:cubicBezTo>
                            <a:pt x="9629" y="20095"/>
                            <a:pt x="9629" y="20095"/>
                            <a:pt x="9689" y="20095"/>
                          </a:cubicBezTo>
                          <a:cubicBezTo>
                            <a:pt x="9689" y="20095"/>
                            <a:pt x="9689" y="20095"/>
                            <a:pt x="9749" y="20095"/>
                          </a:cubicBezTo>
                          <a:cubicBezTo>
                            <a:pt x="9749" y="20095"/>
                            <a:pt x="9749" y="20095"/>
                            <a:pt x="9808" y="20095"/>
                          </a:cubicBezTo>
                          <a:cubicBezTo>
                            <a:pt x="9808" y="20095"/>
                            <a:pt x="9808" y="20095"/>
                            <a:pt x="9868" y="20095"/>
                          </a:cubicBezTo>
                          <a:cubicBezTo>
                            <a:pt x="9928" y="20155"/>
                            <a:pt x="9988" y="20215"/>
                            <a:pt x="10048" y="20274"/>
                          </a:cubicBezTo>
                          <a:cubicBezTo>
                            <a:pt x="10107" y="20334"/>
                            <a:pt x="10167" y="20394"/>
                            <a:pt x="10227" y="20454"/>
                          </a:cubicBezTo>
                          <a:cubicBezTo>
                            <a:pt x="10287" y="20514"/>
                            <a:pt x="10347" y="20573"/>
                            <a:pt x="10406" y="20633"/>
                          </a:cubicBezTo>
                          <a:cubicBezTo>
                            <a:pt x="10466" y="20693"/>
                            <a:pt x="10526" y="20753"/>
                            <a:pt x="10586" y="20813"/>
                          </a:cubicBezTo>
                          <a:moveTo>
                            <a:pt x="5921" y="17464"/>
                          </a:moveTo>
                          <a:cubicBezTo>
                            <a:pt x="5981" y="17523"/>
                            <a:pt x="6100" y="17523"/>
                            <a:pt x="6160" y="17583"/>
                          </a:cubicBezTo>
                          <a:cubicBezTo>
                            <a:pt x="6220" y="17643"/>
                            <a:pt x="6340" y="17643"/>
                            <a:pt x="6399" y="17703"/>
                          </a:cubicBezTo>
                          <a:cubicBezTo>
                            <a:pt x="6459" y="17763"/>
                            <a:pt x="6579" y="17763"/>
                            <a:pt x="6639" y="17822"/>
                          </a:cubicBezTo>
                          <a:cubicBezTo>
                            <a:pt x="6698" y="17882"/>
                            <a:pt x="6818" y="17942"/>
                            <a:pt x="6878" y="17942"/>
                          </a:cubicBezTo>
                          <a:lnTo>
                            <a:pt x="8612" y="15789"/>
                          </a:lnTo>
                          <a:cubicBezTo>
                            <a:pt x="8552" y="15729"/>
                            <a:pt x="8433" y="15669"/>
                            <a:pt x="8373" y="15669"/>
                          </a:cubicBezTo>
                          <a:cubicBezTo>
                            <a:pt x="8313" y="15610"/>
                            <a:pt x="8194" y="15550"/>
                            <a:pt x="8134" y="15550"/>
                          </a:cubicBezTo>
                          <a:cubicBezTo>
                            <a:pt x="8074" y="15490"/>
                            <a:pt x="7954" y="15430"/>
                            <a:pt x="7895" y="15430"/>
                          </a:cubicBezTo>
                          <a:cubicBezTo>
                            <a:pt x="7835" y="15370"/>
                            <a:pt x="7715" y="15311"/>
                            <a:pt x="7656" y="15311"/>
                          </a:cubicBezTo>
                          <a:lnTo>
                            <a:pt x="5921" y="17464"/>
                          </a:lnTo>
                          <a:moveTo>
                            <a:pt x="4545" y="20992"/>
                          </a:moveTo>
                          <a:lnTo>
                            <a:pt x="5921" y="19258"/>
                          </a:lnTo>
                          <a:cubicBezTo>
                            <a:pt x="5861" y="19198"/>
                            <a:pt x="5742" y="19138"/>
                            <a:pt x="5682" y="19138"/>
                          </a:cubicBezTo>
                          <a:cubicBezTo>
                            <a:pt x="5622" y="19078"/>
                            <a:pt x="5502" y="19078"/>
                            <a:pt x="5442" y="19019"/>
                          </a:cubicBezTo>
                          <a:cubicBezTo>
                            <a:pt x="5383" y="18959"/>
                            <a:pt x="5263" y="18959"/>
                            <a:pt x="5203" y="18899"/>
                          </a:cubicBezTo>
                          <a:cubicBezTo>
                            <a:pt x="5143" y="18839"/>
                            <a:pt x="5024" y="18839"/>
                            <a:pt x="4964" y="18779"/>
                          </a:cubicBezTo>
                          <a:lnTo>
                            <a:pt x="4067" y="19916"/>
                          </a:lnTo>
                          <a:cubicBezTo>
                            <a:pt x="4127" y="19975"/>
                            <a:pt x="4127" y="20035"/>
                            <a:pt x="4187" y="20095"/>
                          </a:cubicBezTo>
                          <a:cubicBezTo>
                            <a:pt x="4246" y="20155"/>
                            <a:pt x="4246" y="20215"/>
                            <a:pt x="4306" y="20274"/>
                          </a:cubicBezTo>
                          <a:cubicBezTo>
                            <a:pt x="4366" y="20334"/>
                            <a:pt x="4366" y="20394"/>
                            <a:pt x="4426" y="20454"/>
                          </a:cubicBezTo>
                          <a:cubicBezTo>
                            <a:pt x="4486" y="20514"/>
                            <a:pt x="4486" y="20573"/>
                            <a:pt x="4486" y="20693"/>
                          </a:cubicBezTo>
                          <a:cubicBezTo>
                            <a:pt x="4486" y="20693"/>
                            <a:pt x="4486" y="20753"/>
                            <a:pt x="4545" y="20753"/>
                          </a:cubicBezTo>
                          <a:cubicBezTo>
                            <a:pt x="4605" y="20753"/>
                            <a:pt x="4545" y="20813"/>
                            <a:pt x="4605" y="20813"/>
                          </a:cubicBezTo>
                          <a:cubicBezTo>
                            <a:pt x="4605" y="20813"/>
                            <a:pt x="4605" y="20873"/>
                            <a:pt x="4665" y="20873"/>
                          </a:cubicBezTo>
                          <a:cubicBezTo>
                            <a:pt x="4545" y="20933"/>
                            <a:pt x="4545" y="20992"/>
                            <a:pt x="4545" y="20992"/>
                          </a:cubicBezTo>
                          <a:moveTo>
                            <a:pt x="60" y="24880"/>
                          </a:moveTo>
                          <a:lnTo>
                            <a:pt x="419" y="25059"/>
                          </a:lnTo>
                          <a:cubicBezTo>
                            <a:pt x="479" y="25059"/>
                            <a:pt x="598" y="25119"/>
                            <a:pt x="658" y="25119"/>
                          </a:cubicBezTo>
                          <a:cubicBezTo>
                            <a:pt x="718" y="25119"/>
                            <a:pt x="837" y="25119"/>
                            <a:pt x="897" y="25119"/>
                          </a:cubicBezTo>
                          <a:cubicBezTo>
                            <a:pt x="957" y="25119"/>
                            <a:pt x="1076" y="25119"/>
                            <a:pt x="1136" y="25119"/>
                          </a:cubicBezTo>
                          <a:cubicBezTo>
                            <a:pt x="1196" y="25119"/>
                            <a:pt x="1316" y="25119"/>
                            <a:pt x="1375" y="25119"/>
                          </a:cubicBezTo>
                          <a:lnTo>
                            <a:pt x="3648" y="22248"/>
                          </a:lnTo>
                          <a:cubicBezTo>
                            <a:pt x="3648" y="22188"/>
                            <a:pt x="3648" y="22069"/>
                            <a:pt x="3648" y="22009"/>
                          </a:cubicBezTo>
                          <a:cubicBezTo>
                            <a:pt x="3648" y="21949"/>
                            <a:pt x="3648" y="21829"/>
                            <a:pt x="3588" y="21770"/>
                          </a:cubicBezTo>
                          <a:cubicBezTo>
                            <a:pt x="3588" y="21710"/>
                            <a:pt x="3529" y="21590"/>
                            <a:pt x="3529" y="21530"/>
                          </a:cubicBezTo>
                          <a:cubicBezTo>
                            <a:pt x="3529" y="21471"/>
                            <a:pt x="3469" y="21411"/>
                            <a:pt x="3469" y="21291"/>
                          </a:cubicBezTo>
                          <a:cubicBezTo>
                            <a:pt x="3469" y="21231"/>
                            <a:pt x="3409" y="21231"/>
                            <a:pt x="3409" y="21172"/>
                          </a:cubicBezTo>
                          <a:cubicBezTo>
                            <a:pt x="3409" y="21112"/>
                            <a:pt x="3349" y="21112"/>
                            <a:pt x="3349" y="21052"/>
                          </a:cubicBezTo>
                          <a:cubicBezTo>
                            <a:pt x="3349" y="20992"/>
                            <a:pt x="3289" y="20992"/>
                            <a:pt x="3289" y="20933"/>
                          </a:cubicBezTo>
                          <a:cubicBezTo>
                            <a:pt x="3289" y="20873"/>
                            <a:pt x="3229" y="20873"/>
                            <a:pt x="3229" y="20813"/>
                          </a:cubicBezTo>
                          <a:lnTo>
                            <a:pt x="180" y="24641"/>
                          </a:lnTo>
                          <a:lnTo>
                            <a:pt x="60" y="24880"/>
                          </a:lnTo>
                          <a:moveTo>
                            <a:pt x="0" y="26255"/>
                          </a:moveTo>
                          <a:lnTo>
                            <a:pt x="3708" y="29544"/>
                          </a:lnTo>
                          <a:lnTo>
                            <a:pt x="4486" y="28528"/>
                          </a:lnTo>
                          <a:lnTo>
                            <a:pt x="9629" y="22009"/>
                          </a:lnTo>
                          <a:cubicBezTo>
                            <a:pt x="9569" y="21949"/>
                            <a:pt x="9510" y="21889"/>
                            <a:pt x="9450" y="21829"/>
                          </a:cubicBezTo>
                          <a:cubicBezTo>
                            <a:pt x="9390" y="21770"/>
                            <a:pt x="9330" y="21710"/>
                            <a:pt x="9270" y="21650"/>
                          </a:cubicBezTo>
                          <a:cubicBezTo>
                            <a:pt x="9210" y="21590"/>
                            <a:pt x="9151" y="21530"/>
                            <a:pt x="9091" y="21471"/>
                          </a:cubicBezTo>
                          <a:cubicBezTo>
                            <a:pt x="9031" y="21411"/>
                            <a:pt x="8971" y="21351"/>
                            <a:pt x="8911" y="21291"/>
                          </a:cubicBezTo>
                          <a:cubicBezTo>
                            <a:pt x="8911" y="21291"/>
                            <a:pt x="8911" y="21291"/>
                            <a:pt x="8851" y="21291"/>
                          </a:cubicBezTo>
                          <a:cubicBezTo>
                            <a:pt x="8851" y="21291"/>
                            <a:pt x="8851" y="21291"/>
                            <a:pt x="8791" y="21291"/>
                          </a:cubicBezTo>
                          <a:cubicBezTo>
                            <a:pt x="8791" y="21291"/>
                            <a:pt x="8791" y="21291"/>
                            <a:pt x="8732" y="21291"/>
                          </a:cubicBezTo>
                          <a:cubicBezTo>
                            <a:pt x="8732" y="21291"/>
                            <a:pt x="8732" y="21291"/>
                            <a:pt x="8672" y="21291"/>
                          </a:cubicBezTo>
                          <a:lnTo>
                            <a:pt x="3529" y="27810"/>
                          </a:lnTo>
                          <a:lnTo>
                            <a:pt x="1734" y="26195"/>
                          </a:lnTo>
                          <a:cubicBezTo>
                            <a:pt x="1555" y="26255"/>
                            <a:pt x="1435" y="26255"/>
                            <a:pt x="1256" y="26315"/>
                          </a:cubicBezTo>
                          <a:cubicBezTo>
                            <a:pt x="1076" y="26315"/>
                            <a:pt x="957" y="26375"/>
                            <a:pt x="778" y="26375"/>
                          </a:cubicBezTo>
                          <a:cubicBezTo>
                            <a:pt x="598" y="26375"/>
                            <a:pt x="479" y="26375"/>
                            <a:pt x="299" y="26375"/>
                          </a:cubicBezTo>
                          <a:cubicBezTo>
                            <a:pt x="299" y="26315"/>
                            <a:pt x="120" y="26255"/>
                            <a:pt x="0" y="26255"/>
                          </a:cubicBezTo>
                        </a:path>
                      </a:pathLst>
                    </a:custGeom>
                    <a:noFill/>
                    <a:ln w="6350" cap="flat">
                      <a:solidFill>
                        <a:schemeClr val="bg1">
                          <a:alpha val="80000"/>
                        </a:schemeClr>
                      </a:solidFill>
                      <a:prstDash val="solid"/>
                      <a:miter/>
                    </a:ln>
                  </p:spPr>
                  <p:txBody>
                    <a:bodyPr rtlCol="0" anchor="ctr"/>
                    <a:lstStyle/>
                    <a:p>
                      <a:endParaRPr lang="en-GB"/>
                    </a:p>
                  </p:txBody>
                </p:sp>
                <p:sp>
                  <p:nvSpPr>
                    <p:cNvPr id="7378" name="Vrije vorm: vorm 7377">
                      <a:extLst>
                        <a:ext uri="{FF2B5EF4-FFF2-40B4-BE49-F238E27FC236}">
                          <a16:creationId xmlns:a16="http://schemas.microsoft.com/office/drawing/2014/main" id="{97900239-82B6-4829-B7AE-390118B95592}"/>
                        </a:ext>
                      </a:extLst>
                    </p:cNvPr>
                    <p:cNvSpPr/>
                    <p:nvPr/>
                  </p:nvSpPr>
                  <p:spPr>
                    <a:xfrm>
                      <a:off x="5068921" y="4909853"/>
                      <a:ext cx="31279" cy="32116"/>
                    </a:xfrm>
                    <a:custGeom>
                      <a:avLst/>
                      <a:gdLst>
                        <a:gd name="connsiteX0" fmla="*/ 21411 w 31279"/>
                        <a:gd name="connsiteY0" fmla="*/ 32116 h 32116"/>
                        <a:gd name="connsiteX1" fmla="*/ 31279 w 31279"/>
                        <a:gd name="connsiteY1" fmla="*/ 19617 h 32116"/>
                        <a:gd name="connsiteX2" fmla="*/ 26255 w 31279"/>
                        <a:gd name="connsiteY2" fmla="*/ 15012 h 32116"/>
                        <a:gd name="connsiteX3" fmla="*/ 25418 w 31279"/>
                        <a:gd name="connsiteY3" fmla="*/ 14234 h 32116"/>
                        <a:gd name="connsiteX4" fmla="*/ 21411 w 31279"/>
                        <a:gd name="connsiteY4" fmla="*/ 10526 h 32116"/>
                        <a:gd name="connsiteX5" fmla="*/ 20574 w 31279"/>
                        <a:gd name="connsiteY5" fmla="*/ 9749 h 32116"/>
                        <a:gd name="connsiteX6" fmla="*/ 19736 w 31279"/>
                        <a:gd name="connsiteY6" fmla="*/ 8971 h 32116"/>
                        <a:gd name="connsiteX7" fmla="*/ 18959 w 31279"/>
                        <a:gd name="connsiteY7" fmla="*/ 9988 h 32116"/>
                        <a:gd name="connsiteX8" fmla="*/ 19796 w 31279"/>
                        <a:gd name="connsiteY8" fmla="*/ 10706 h 32116"/>
                        <a:gd name="connsiteX9" fmla="*/ 20633 w 31279"/>
                        <a:gd name="connsiteY9" fmla="*/ 11483 h 32116"/>
                        <a:gd name="connsiteX10" fmla="*/ 24700 w 31279"/>
                        <a:gd name="connsiteY10" fmla="*/ 15191 h 32116"/>
                        <a:gd name="connsiteX11" fmla="*/ 25478 w 31279"/>
                        <a:gd name="connsiteY11" fmla="*/ 15968 h 32116"/>
                        <a:gd name="connsiteX12" fmla="*/ 29724 w 31279"/>
                        <a:gd name="connsiteY12" fmla="*/ 19796 h 32116"/>
                        <a:gd name="connsiteX13" fmla="*/ 21411 w 31279"/>
                        <a:gd name="connsiteY13" fmla="*/ 30382 h 32116"/>
                        <a:gd name="connsiteX14" fmla="*/ 18360 w 31279"/>
                        <a:gd name="connsiteY14" fmla="*/ 27631 h 32116"/>
                        <a:gd name="connsiteX15" fmla="*/ 17523 w 31279"/>
                        <a:gd name="connsiteY15" fmla="*/ 26853 h 32116"/>
                        <a:gd name="connsiteX16" fmla="*/ 17045 w 31279"/>
                        <a:gd name="connsiteY16" fmla="*/ 26435 h 32116"/>
                        <a:gd name="connsiteX17" fmla="*/ 16267 w 31279"/>
                        <a:gd name="connsiteY17" fmla="*/ 25717 h 32116"/>
                        <a:gd name="connsiteX18" fmla="*/ 12559 w 31279"/>
                        <a:gd name="connsiteY18" fmla="*/ 22368 h 32116"/>
                        <a:gd name="connsiteX19" fmla="*/ 11722 w 31279"/>
                        <a:gd name="connsiteY19" fmla="*/ 21590 h 32116"/>
                        <a:gd name="connsiteX20" fmla="*/ 11363 w 31279"/>
                        <a:gd name="connsiteY20" fmla="*/ 21231 h 32116"/>
                        <a:gd name="connsiteX21" fmla="*/ 10586 w 31279"/>
                        <a:gd name="connsiteY21" fmla="*/ 20574 h 32116"/>
                        <a:gd name="connsiteX22" fmla="*/ 9808 w 31279"/>
                        <a:gd name="connsiteY22" fmla="*/ 21531 h 32116"/>
                        <a:gd name="connsiteX23" fmla="*/ 3289 w 31279"/>
                        <a:gd name="connsiteY23" fmla="*/ 15610 h 32116"/>
                        <a:gd name="connsiteX24" fmla="*/ 4067 w 31279"/>
                        <a:gd name="connsiteY24" fmla="*/ 14653 h 32116"/>
                        <a:gd name="connsiteX25" fmla="*/ 1674 w 31279"/>
                        <a:gd name="connsiteY25" fmla="*/ 12440 h 32116"/>
                        <a:gd name="connsiteX26" fmla="*/ 10048 w 31279"/>
                        <a:gd name="connsiteY26" fmla="*/ 1794 h 32116"/>
                        <a:gd name="connsiteX27" fmla="*/ 12500 w 31279"/>
                        <a:gd name="connsiteY27" fmla="*/ 4007 h 32116"/>
                        <a:gd name="connsiteX28" fmla="*/ 13277 w 31279"/>
                        <a:gd name="connsiteY28" fmla="*/ 3050 h 32116"/>
                        <a:gd name="connsiteX29" fmla="*/ 9988 w 31279"/>
                        <a:gd name="connsiteY29" fmla="*/ 0 h 32116"/>
                        <a:gd name="connsiteX30" fmla="*/ 0 w 31279"/>
                        <a:gd name="connsiteY30" fmla="*/ 12679 h 32116"/>
                        <a:gd name="connsiteX31" fmla="*/ 4067 w 31279"/>
                        <a:gd name="connsiteY31" fmla="*/ 16328 h 32116"/>
                        <a:gd name="connsiteX32" fmla="*/ 4904 w 31279"/>
                        <a:gd name="connsiteY32" fmla="*/ 17105 h 32116"/>
                        <a:gd name="connsiteX33" fmla="*/ 5562 w 31279"/>
                        <a:gd name="connsiteY33" fmla="*/ 17703 h 32116"/>
                        <a:gd name="connsiteX34" fmla="*/ 7476 w 31279"/>
                        <a:gd name="connsiteY34" fmla="*/ 19437 h 32116"/>
                        <a:gd name="connsiteX35" fmla="*/ 8313 w 31279"/>
                        <a:gd name="connsiteY35" fmla="*/ 20215 h 32116"/>
                        <a:gd name="connsiteX36" fmla="*/ 8493 w 31279"/>
                        <a:gd name="connsiteY36" fmla="*/ 20394 h 32116"/>
                        <a:gd name="connsiteX37" fmla="*/ 10586 w 31279"/>
                        <a:gd name="connsiteY37" fmla="*/ 22248 h 32116"/>
                        <a:gd name="connsiteX38" fmla="*/ 10944 w 31279"/>
                        <a:gd name="connsiteY38" fmla="*/ 22547 h 32116"/>
                        <a:gd name="connsiteX39" fmla="*/ 11782 w 31279"/>
                        <a:gd name="connsiteY39" fmla="*/ 23325 h 32116"/>
                        <a:gd name="connsiteX40" fmla="*/ 15430 w 31279"/>
                        <a:gd name="connsiteY40" fmla="*/ 26674 h 32116"/>
                        <a:gd name="connsiteX41" fmla="*/ 16267 w 31279"/>
                        <a:gd name="connsiteY41" fmla="*/ 27452 h 32116"/>
                        <a:gd name="connsiteX42" fmla="*/ 16746 w 31279"/>
                        <a:gd name="connsiteY42" fmla="*/ 27870 h 32116"/>
                        <a:gd name="connsiteX43" fmla="*/ 17583 w 31279"/>
                        <a:gd name="connsiteY43" fmla="*/ 28588 h 32116"/>
                        <a:gd name="connsiteX44" fmla="*/ 21411 w 31279"/>
                        <a:gd name="connsiteY44" fmla="*/ 32116 h 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1279" h="32116">
                          <a:moveTo>
                            <a:pt x="21411" y="32116"/>
                          </a:moveTo>
                          <a:lnTo>
                            <a:pt x="31279" y="19617"/>
                          </a:lnTo>
                          <a:lnTo>
                            <a:pt x="26255" y="15012"/>
                          </a:lnTo>
                          <a:lnTo>
                            <a:pt x="25418" y="14234"/>
                          </a:lnTo>
                          <a:lnTo>
                            <a:pt x="21411" y="10526"/>
                          </a:lnTo>
                          <a:lnTo>
                            <a:pt x="20574" y="9749"/>
                          </a:lnTo>
                          <a:lnTo>
                            <a:pt x="19736" y="8971"/>
                          </a:lnTo>
                          <a:lnTo>
                            <a:pt x="18959" y="9988"/>
                          </a:lnTo>
                          <a:lnTo>
                            <a:pt x="19796" y="10706"/>
                          </a:lnTo>
                          <a:lnTo>
                            <a:pt x="20633" y="11483"/>
                          </a:lnTo>
                          <a:lnTo>
                            <a:pt x="24700" y="15191"/>
                          </a:lnTo>
                          <a:lnTo>
                            <a:pt x="25478" y="15968"/>
                          </a:lnTo>
                          <a:lnTo>
                            <a:pt x="29724" y="19796"/>
                          </a:lnTo>
                          <a:lnTo>
                            <a:pt x="21411" y="30382"/>
                          </a:lnTo>
                          <a:lnTo>
                            <a:pt x="18360" y="27631"/>
                          </a:lnTo>
                          <a:lnTo>
                            <a:pt x="17523" y="26853"/>
                          </a:lnTo>
                          <a:lnTo>
                            <a:pt x="17045" y="26435"/>
                          </a:lnTo>
                          <a:lnTo>
                            <a:pt x="16267" y="25717"/>
                          </a:lnTo>
                          <a:lnTo>
                            <a:pt x="12559" y="22368"/>
                          </a:lnTo>
                          <a:lnTo>
                            <a:pt x="11722" y="21590"/>
                          </a:lnTo>
                          <a:lnTo>
                            <a:pt x="11363" y="21231"/>
                          </a:lnTo>
                          <a:lnTo>
                            <a:pt x="10586" y="20574"/>
                          </a:lnTo>
                          <a:lnTo>
                            <a:pt x="9808" y="21531"/>
                          </a:lnTo>
                          <a:lnTo>
                            <a:pt x="3289" y="15610"/>
                          </a:lnTo>
                          <a:lnTo>
                            <a:pt x="4067" y="14653"/>
                          </a:lnTo>
                          <a:lnTo>
                            <a:pt x="1674" y="12440"/>
                          </a:lnTo>
                          <a:lnTo>
                            <a:pt x="10048" y="1794"/>
                          </a:lnTo>
                          <a:lnTo>
                            <a:pt x="12500" y="4007"/>
                          </a:lnTo>
                          <a:lnTo>
                            <a:pt x="13277" y="3050"/>
                          </a:lnTo>
                          <a:lnTo>
                            <a:pt x="9988" y="0"/>
                          </a:lnTo>
                          <a:lnTo>
                            <a:pt x="0" y="12679"/>
                          </a:lnTo>
                          <a:lnTo>
                            <a:pt x="4067" y="16328"/>
                          </a:lnTo>
                          <a:lnTo>
                            <a:pt x="4904" y="17105"/>
                          </a:lnTo>
                          <a:lnTo>
                            <a:pt x="5562" y="17703"/>
                          </a:lnTo>
                          <a:lnTo>
                            <a:pt x="7476" y="19437"/>
                          </a:lnTo>
                          <a:lnTo>
                            <a:pt x="8313" y="20215"/>
                          </a:lnTo>
                          <a:lnTo>
                            <a:pt x="8493" y="20394"/>
                          </a:lnTo>
                          <a:lnTo>
                            <a:pt x="10586" y="22248"/>
                          </a:lnTo>
                          <a:lnTo>
                            <a:pt x="10944" y="22547"/>
                          </a:lnTo>
                          <a:lnTo>
                            <a:pt x="11782" y="23325"/>
                          </a:lnTo>
                          <a:lnTo>
                            <a:pt x="15430" y="26674"/>
                          </a:lnTo>
                          <a:lnTo>
                            <a:pt x="16267" y="27452"/>
                          </a:lnTo>
                          <a:lnTo>
                            <a:pt x="16746" y="27870"/>
                          </a:lnTo>
                          <a:lnTo>
                            <a:pt x="17583" y="28588"/>
                          </a:lnTo>
                          <a:lnTo>
                            <a:pt x="21411" y="32116"/>
                          </a:lnTo>
                        </a:path>
                      </a:pathLst>
                    </a:custGeom>
                    <a:noFill/>
                    <a:ln w="6350" cap="flat">
                      <a:solidFill>
                        <a:schemeClr val="bg1">
                          <a:alpha val="80000"/>
                        </a:schemeClr>
                      </a:solidFill>
                      <a:prstDash val="solid"/>
                      <a:miter/>
                    </a:ln>
                  </p:spPr>
                  <p:txBody>
                    <a:bodyPr rtlCol="0" anchor="ctr"/>
                    <a:lstStyle/>
                    <a:p>
                      <a:endParaRPr lang="en-GB"/>
                    </a:p>
                  </p:txBody>
                </p:sp>
                <p:sp>
                  <p:nvSpPr>
                    <p:cNvPr id="7379" name="Vrije vorm: vorm 7378">
                      <a:extLst>
                        <a:ext uri="{FF2B5EF4-FFF2-40B4-BE49-F238E27FC236}">
                          <a16:creationId xmlns:a16="http://schemas.microsoft.com/office/drawing/2014/main" id="{CD9CA3DB-7567-4286-8505-E02697E27F4A}"/>
                        </a:ext>
                      </a:extLst>
                    </p:cNvPr>
                    <p:cNvSpPr/>
                    <p:nvPr/>
                  </p:nvSpPr>
                  <p:spPr>
                    <a:xfrm>
                      <a:off x="5072210" y="4912844"/>
                      <a:ext cx="16506" cy="18480"/>
                    </a:xfrm>
                    <a:custGeom>
                      <a:avLst/>
                      <a:gdLst>
                        <a:gd name="connsiteX0" fmla="*/ 2392 w 16506"/>
                        <a:gd name="connsiteY0" fmla="*/ 13098 h 18480"/>
                        <a:gd name="connsiteX1" fmla="*/ 1674 w 16506"/>
                        <a:gd name="connsiteY1" fmla="*/ 12440 h 18480"/>
                        <a:gd name="connsiteX2" fmla="*/ 8134 w 16506"/>
                        <a:gd name="connsiteY2" fmla="*/ 4246 h 18480"/>
                        <a:gd name="connsiteX3" fmla="*/ 10107 w 16506"/>
                        <a:gd name="connsiteY3" fmla="*/ 1794 h 18480"/>
                        <a:gd name="connsiteX4" fmla="*/ 10825 w 16506"/>
                        <a:gd name="connsiteY4" fmla="*/ 2452 h 18480"/>
                        <a:gd name="connsiteX5" fmla="*/ 11662 w 16506"/>
                        <a:gd name="connsiteY5" fmla="*/ 3230 h 18480"/>
                        <a:gd name="connsiteX6" fmla="*/ 13756 w 16506"/>
                        <a:gd name="connsiteY6" fmla="*/ 5143 h 18480"/>
                        <a:gd name="connsiteX7" fmla="*/ 14593 w 16506"/>
                        <a:gd name="connsiteY7" fmla="*/ 5921 h 18480"/>
                        <a:gd name="connsiteX8" fmla="*/ 15012 w 16506"/>
                        <a:gd name="connsiteY8" fmla="*/ 6280 h 18480"/>
                        <a:gd name="connsiteX9" fmla="*/ 13098 w 16506"/>
                        <a:gd name="connsiteY9" fmla="*/ 8732 h 18480"/>
                        <a:gd name="connsiteX10" fmla="*/ 12320 w 16506"/>
                        <a:gd name="connsiteY10" fmla="*/ 9689 h 18480"/>
                        <a:gd name="connsiteX11" fmla="*/ 12320 w 16506"/>
                        <a:gd name="connsiteY11" fmla="*/ 9689 h 18480"/>
                        <a:gd name="connsiteX12" fmla="*/ 6639 w 16506"/>
                        <a:gd name="connsiteY12" fmla="*/ 16866 h 18480"/>
                        <a:gd name="connsiteX13" fmla="*/ 6160 w 16506"/>
                        <a:gd name="connsiteY13" fmla="*/ 16447 h 18480"/>
                        <a:gd name="connsiteX14" fmla="*/ 5981 w 16506"/>
                        <a:gd name="connsiteY14" fmla="*/ 16268 h 18480"/>
                        <a:gd name="connsiteX15" fmla="*/ 5143 w 16506"/>
                        <a:gd name="connsiteY15" fmla="*/ 15490 h 18480"/>
                        <a:gd name="connsiteX16" fmla="*/ 3229 w 16506"/>
                        <a:gd name="connsiteY16" fmla="*/ 13756 h 18480"/>
                        <a:gd name="connsiteX17" fmla="*/ 2392 w 16506"/>
                        <a:gd name="connsiteY17" fmla="*/ 13098 h 18480"/>
                        <a:gd name="connsiteX18" fmla="*/ 0 w 16506"/>
                        <a:gd name="connsiteY18" fmla="*/ 12619 h 18480"/>
                        <a:gd name="connsiteX19" fmla="*/ 6519 w 16506"/>
                        <a:gd name="connsiteY19" fmla="*/ 18481 h 18480"/>
                        <a:gd name="connsiteX20" fmla="*/ 7296 w 16506"/>
                        <a:gd name="connsiteY20" fmla="*/ 17523 h 18480"/>
                        <a:gd name="connsiteX21" fmla="*/ 12978 w 16506"/>
                        <a:gd name="connsiteY21" fmla="*/ 10347 h 18480"/>
                        <a:gd name="connsiteX22" fmla="*/ 13756 w 16506"/>
                        <a:gd name="connsiteY22" fmla="*/ 9390 h 18480"/>
                        <a:gd name="connsiteX23" fmla="*/ 15729 w 16506"/>
                        <a:gd name="connsiteY23" fmla="*/ 6938 h 18480"/>
                        <a:gd name="connsiteX24" fmla="*/ 16507 w 16506"/>
                        <a:gd name="connsiteY24" fmla="*/ 5981 h 18480"/>
                        <a:gd name="connsiteX25" fmla="*/ 16507 w 16506"/>
                        <a:gd name="connsiteY25" fmla="*/ 5981 h 18480"/>
                        <a:gd name="connsiteX26" fmla="*/ 15311 w 16506"/>
                        <a:gd name="connsiteY26" fmla="*/ 4844 h 18480"/>
                        <a:gd name="connsiteX27" fmla="*/ 14473 w 16506"/>
                        <a:gd name="connsiteY27" fmla="*/ 4067 h 18480"/>
                        <a:gd name="connsiteX28" fmla="*/ 12440 w 16506"/>
                        <a:gd name="connsiteY28" fmla="*/ 2153 h 18480"/>
                        <a:gd name="connsiteX29" fmla="*/ 11603 w 16506"/>
                        <a:gd name="connsiteY29" fmla="*/ 1376 h 18480"/>
                        <a:gd name="connsiteX30" fmla="*/ 10107 w 16506"/>
                        <a:gd name="connsiteY30" fmla="*/ 0 h 18480"/>
                        <a:gd name="connsiteX31" fmla="*/ 10107 w 16506"/>
                        <a:gd name="connsiteY31" fmla="*/ 0 h 18480"/>
                        <a:gd name="connsiteX32" fmla="*/ 9330 w 16506"/>
                        <a:gd name="connsiteY32" fmla="*/ 957 h 18480"/>
                        <a:gd name="connsiteX33" fmla="*/ 897 w 16506"/>
                        <a:gd name="connsiteY33" fmla="*/ 11543 h 18480"/>
                        <a:gd name="connsiteX34" fmla="*/ 0 w 16506"/>
                        <a:gd name="connsiteY34" fmla="*/ 12619 h 1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506" h="18480">
                          <a:moveTo>
                            <a:pt x="2392" y="13098"/>
                          </a:moveTo>
                          <a:lnTo>
                            <a:pt x="1674" y="12440"/>
                          </a:lnTo>
                          <a:lnTo>
                            <a:pt x="8134" y="4246"/>
                          </a:lnTo>
                          <a:lnTo>
                            <a:pt x="10107" y="1794"/>
                          </a:lnTo>
                          <a:lnTo>
                            <a:pt x="10825" y="2452"/>
                          </a:lnTo>
                          <a:lnTo>
                            <a:pt x="11662" y="3230"/>
                          </a:lnTo>
                          <a:lnTo>
                            <a:pt x="13756" y="5143"/>
                          </a:lnTo>
                          <a:lnTo>
                            <a:pt x="14593" y="5921"/>
                          </a:lnTo>
                          <a:lnTo>
                            <a:pt x="15012" y="6280"/>
                          </a:lnTo>
                          <a:lnTo>
                            <a:pt x="13098" y="8732"/>
                          </a:lnTo>
                          <a:lnTo>
                            <a:pt x="12320" y="9689"/>
                          </a:lnTo>
                          <a:lnTo>
                            <a:pt x="12320" y="9689"/>
                          </a:lnTo>
                          <a:lnTo>
                            <a:pt x="6639" y="16866"/>
                          </a:lnTo>
                          <a:lnTo>
                            <a:pt x="6160" y="16447"/>
                          </a:lnTo>
                          <a:lnTo>
                            <a:pt x="5981" y="16268"/>
                          </a:lnTo>
                          <a:lnTo>
                            <a:pt x="5143" y="15490"/>
                          </a:lnTo>
                          <a:lnTo>
                            <a:pt x="3229" y="13756"/>
                          </a:lnTo>
                          <a:lnTo>
                            <a:pt x="2392" y="13098"/>
                          </a:lnTo>
                          <a:moveTo>
                            <a:pt x="0" y="12619"/>
                          </a:moveTo>
                          <a:lnTo>
                            <a:pt x="6519" y="18481"/>
                          </a:lnTo>
                          <a:lnTo>
                            <a:pt x="7296" y="17523"/>
                          </a:lnTo>
                          <a:lnTo>
                            <a:pt x="12978" y="10347"/>
                          </a:lnTo>
                          <a:lnTo>
                            <a:pt x="13756" y="9390"/>
                          </a:lnTo>
                          <a:lnTo>
                            <a:pt x="15729" y="6938"/>
                          </a:lnTo>
                          <a:lnTo>
                            <a:pt x="16507" y="5981"/>
                          </a:lnTo>
                          <a:lnTo>
                            <a:pt x="16507" y="5981"/>
                          </a:lnTo>
                          <a:lnTo>
                            <a:pt x="15311" y="4844"/>
                          </a:lnTo>
                          <a:lnTo>
                            <a:pt x="14473" y="4067"/>
                          </a:lnTo>
                          <a:lnTo>
                            <a:pt x="12440" y="2153"/>
                          </a:lnTo>
                          <a:lnTo>
                            <a:pt x="11603" y="1376"/>
                          </a:lnTo>
                          <a:lnTo>
                            <a:pt x="10107" y="0"/>
                          </a:lnTo>
                          <a:lnTo>
                            <a:pt x="10107" y="0"/>
                          </a:lnTo>
                          <a:lnTo>
                            <a:pt x="9330" y="957"/>
                          </a:lnTo>
                          <a:lnTo>
                            <a:pt x="897" y="11543"/>
                          </a:lnTo>
                          <a:lnTo>
                            <a:pt x="0" y="12619"/>
                          </a:lnTo>
                        </a:path>
                      </a:pathLst>
                    </a:custGeom>
                    <a:noFill/>
                    <a:ln w="6350" cap="flat">
                      <a:solidFill>
                        <a:schemeClr val="bg1">
                          <a:alpha val="80000"/>
                        </a:schemeClr>
                      </a:solidFill>
                      <a:prstDash val="solid"/>
                      <a:miter/>
                    </a:ln>
                  </p:spPr>
                  <p:txBody>
                    <a:bodyPr rtlCol="0" anchor="ctr"/>
                    <a:lstStyle/>
                    <a:p>
                      <a:endParaRPr lang="en-GB"/>
                    </a:p>
                  </p:txBody>
                </p:sp>
                <p:sp>
                  <p:nvSpPr>
                    <p:cNvPr id="7380" name="Vrije vorm: vorm 7379">
                      <a:extLst>
                        <a:ext uri="{FF2B5EF4-FFF2-40B4-BE49-F238E27FC236}">
                          <a16:creationId xmlns:a16="http://schemas.microsoft.com/office/drawing/2014/main" id="{CB955115-02A0-4D66-8C97-F294DE62F034}"/>
                        </a:ext>
                      </a:extLst>
                    </p:cNvPr>
                    <p:cNvSpPr/>
                    <p:nvPr/>
                  </p:nvSpPr>
                  <p:spPr>
                    <a:xfrm>
                      <a:off x="4751643" y="5097170"/>
                      <a:ext cx="661049" cy="453996"/>
                    </a:xfrm>
                    <a:custGeom>
                      <a:avLst/>
                      <a:gdLst>
                        <a:gd name="connsiteX0" fmla="*/ 630009 w 661049"/>
                        <a:gd name="connsiteY0" fmla="*/ 422777 h 453996"/>
                        <a:gd name="connsiteX1" fmla="*/ 630907 w 661049"/>
                        <a:gd name="connsiteY1" fmla="*/ 423375 h 453996"/>
                        <a:gd name="connsiteX2" fmla="*/ 630966 w 661049"/>
                        <a:gd name="connsiteY2" fmla="*/ 423136 h 453996"/>
                        <a:gd name="connsiteX3" fmla="*/ 631026 w 661049"/>
                        <a:gd name="connsiteY3" fmla="*/ 422897 h 453996"/>
                        <a:gd name="connsiteX4" fmla="*/ 631086 w 661049"/>
                        <a:gd name="connsiteY4" fmla="*/ 422657 h 453996"/>
                        <a:gd name="connsiteX5" fmla="*/ 631146 w 661049"/>
                        <a:gd name="connsiteY5" fmla="*/ 422418 h 453996"/>
                        <a:gd name="connsiteX6" fmla="*/ 630249 w 661049"/>
                        <a:gd name="connsiteY6" fmla="*/ 421761 h 453996"/>
                        <a:gd name="connsiteX7" fmla="*/ 630249 w 661049"/>
                        <a:gd name="connsiteY7" fmla="*/ 422000 h 453996"/>
                        <a:gd name="connsiteX8" fmla="*/ 630249 w 661049"/>
                        <a:gd name="connsiteY8" fmla="*/ 422239 h 453996"/>
                        <a:gd name="connsiteX9" fmla="*/ 630249 w 661049"/>
                        <a:gd name="connsiteY9" fmla="*/ 422478 h 453996"/>
                        <a:gd name="connsiteX10" fmla="*/ 630249 w 661049"/>
                        <a:gd name="connsiteY10" fmla="*/ 422717 h 453996"/>
                        <a:gd name="connsiteX11" fmla="*/ 630249 w 661049"/>
                        <a:gd name="connsiteY11" fmla="*/ 422717 h 453996"/>
                        <a:gd name="connsiteX12" fmla="*/ 630009 w 661049"/>
                        <a:gd name="connsiteY12" fmla="*/ 422777 h 453996"/>
                        <a:gd name="connsiteX13" fmla="*/ 630009 w 661049"/>
                        <a:gd name="connsiteY13" fmla="*/ 422777 h 453996"/>
                        <a:gd name="connsiteX14" fmla="*/ 630009 w 661049"/>
                        <a:gd name="connsiteY14" fmla="*/ 422777 h 453996"/>
                        <a:gd name="connsiteX15" fmla="*/ 627498 w 661049"/>
                        <a:gd name="connsiteY15" fmla="*/ 421103 h 453996"/>
                        <a:gd name="connsiteX16" fmla="*/ 629352 w 661049"/>
                        <a:gd name="connsiteY16" fmla="*/ 422359 h 453996"/>
                        <a:gd name="connsiteX17" fmla="*/ 629352 w 661049"/>
                        <a:gd name="connsiteY17" fmla="*/ 422060 h 453996"/>
                        <a:gd name="connsiteX18" fmla="*/ 629352 w 661049"/>
                        <a:gd name="connsiteY18" fmla="*/ 421761 h 453996"/>
                        <a:gd name="connsiteX19" fmla="*/ 629352 w 661049"/>
                        <a:gd name="connsiteY19" fmla="*/ 421462 h 453996"/>
                        <a:gd name="connsiteX20" fmla="*/ 629352 w 661049"/>
                        <a:gd name="connsiteY20" fmla="*/ 421162 h 453996"/>
                        <a:gd name="connsiteX21" fmla="*/ 627318 w 661049"/>
                        <a:gd name="connsiteY21" fmla="*/ 419787 h 453996"/>
                        <a:gd name="connsiteX22" fmla="*/ 627378 w 661049"/>
                        <a:gd name="connsiteY22" fmla="*/ 420086 h 453996"/>
                        <a:gd name="connsiteX23" fmla="*/ 627438 w 661049"/>
                        <a:gd name="connsiteY23" fmla="*/ 420385 h 453996"/>
                        <a:gd name="connsiteX24" fmla="*/ 627438 w 661049"/>
                        <a:gd name="connsiteY24" fmla="*/ 420684 h 453996"/>
                        <a:gd name="connsiteX25" fmla="*/ 627498 w 661049"/>
                        <a:gd name="connsiteY25" fmla="*/ 421103 h 453996"/>
                        <a:gd name="connsiteX26" fmla="*/ 625344 w 661049"/>
                        <a:gd name="connsiteY26" fmla="*/ 419608 h 453996"/>
                        <a:gd name="connsiteX27" fmla="*/ 626660 w 661049"/>
                        <a:gd name="connsiteY27" fmla="*/ 420505 h 453996"/>
                        <a:gd name="connsiteX28" fmla="*/ 626600 w 661049"/>
                        <a:gd name="connsiteY28" fmla="*/ 420146 h 453996"/>
                        <a:gd name="connsiteX29" fmla="*/ 626541 w 661049"/>
                        <a:gd name="connsiteY29" fmla="*/ 419847 h 453996"/>
                        <a:gd name="connsiteX30" fmla="*/ 626481 w 661049"/>
                        <a:gd name="connsiteY30" fmla="*/ 419548 h 453996"/>
                        <a:gd name="connsiteX31" fmla="*/ 626421 w 661049"/>
                        <a:gd name="connsiteY31" fmla="*/ 419248 h 453996"/>
                        <a:gd name="connsiteX32" fmla="*/ 624866 w 661049"/>
                        <a:gd name="connsiteY32" fmla="*/ 418172 h 453996"/>
                        <a:gd name="connsiteX33" fmla="*/ 625045 w 661049"/>
                        <a:gd name="connsiteY33" fmla="*/ 418531 h 453996"/>
                        <a:gd name="connsiteX34" fmla="*/ 625165 w 661049"/>
                        <a:gd name="connsiteY34" fmla="*/ 418890 h 453996"/>
                        <a:gd name="connsiteX35" fmla="*/ 625285 w 661049"/>
                        <a:gd name="connsiteY35" fmla="*/ 419248 h 453996"/>
                        <a:gd name="connsiteX36" fmla="*/ 625344 w 661049"/>
                        <a:gd name="connsiteY36" fmla="*/ 419608 h 453996"/>
                        <a:gd name="connsiteX37" fmla="*/ 623012 w 661049"/>
                        <a:gd name="connsiteY37" fmla="*/ 418053 h 453996"/>
                        <a:gd name="connsiteX38" fmla="*/ 624089 w 661049"/>
                        <a:gd name="connsiteY38" fmla="*/ 418770 h 453996"/>
                        <a:gd name="connsiteX39" fmla="*/ 623909 w 661049"/>
                        <a:gd name="connsiteY39" fmla="*/ 418292 h 453996"/>
                        <a:gd name="connsiteX40" fmla="*/ 623670 w 661049"/>
                        <a:gd name="connsiteY40" fmla="*/ 417873 h 453996"/>
                        <a:gd name="connsiteX41" fmla="*/ 623431 w 661049"/>
                        <a:gd name="connsiteY41" fmla="*/ 417454 h 453996"/>
                        <a:gd name="connsiteX42" fmla="*/ 623132 w 661049"/>
                        <a:gd name="connsiteY42" fmla="*/ 417036 h 453996"/>
                        <a:gd name="connsiteX43" fmla="*/ 618168 w 661049"/>
                        <a:gd name="connsiteY43" fmla="*/ 413627 h 453996"/>
                        <a:gd name="connsiteX44" fmla="*/ 617988 w 661049"/>
                        <a:gd name="connsiteY44" fmla="*/ 413866 h 453996"/>
                        <a:gd name="connsiteX45" fmla="*/ 619364 w 661049"/>
                        <a:gd name="connsiteY45" fmla="*/ 414942 h 453996"/>
                        <a:gd name="connsiteX46" fmla="*/ 620680 w 661049"/>
                        <a:gd name="connsiteY46" fmla="*/ 416019 h 453996"/>
                        <a:gd name="connsiteX47" fmla="*/ 621876 w 661049"/>
                        <a:gd name="connsiteY47" fmla="*/ 417036 h 453996"/>
                        <a:gd name="connsiteX48" fmla="*/ 623012 w 661049"/>
                        <a:gd name="connsiteY48" fmla="*/ 418053 h 453996"/>
                        <a:gd name="connsiteX49" fmla="*/ 586888 w 661049"/>
                        <a:gd name="connsiteY49" fmla="*/ 393412 h 453996"/>
                        <a:gd name="connsiteX50" fmla="*/ 613742 w 661049"/>
                        <a:gd name="connsiteY50" fmla="*/ 411713 h 453996"/>
                        <a:gd name="connsiteX51" fmla="*/ 614220 w 661049"/>
                        <a:gd name="connsiteY51" fmla="*/ 411115 h 453996"/>
                        <a:gd name="connsiteX52" fmla="*/ 614460 w 661049"/>
                        <a:gd name="connsiteY52" fmla="*/ 411294 h 453996"/>
                        <a:gd name="connsiteX53" fmla="*/ 615237 w 661049"/>
                        <a:gd name="connsiteY53" fmla="*/ 411832 h 453996"/>
                        <a:gd name="connsiteX54" fmla="*/ 616014 w 661049"/>
                        <a:gd name="connsiteY54" fmla="*/ 412371 h 453996"/>
                        <a:gd name="connsiteX55" fmla="*/ 616792 w 661049"/>
                        <a:gd name="connsiteY55" fmla="*/ 412909 h 453996"/>
                        <a:gd name="connsiteX56" fmla="*/ 617510 w 661049"/>
                        <a:gd name="connsiteY56" fmla="*/ 413447 h 453996"/>
                        <a:gd name="connsiteX57" fmla="*/ 617689 w 661049"/>
                        <a:gd name="connsiteY57" fmla="*/ 413208 h 453996"/>
                        <a:gd name="connsiteX58" fmla="*/ 587546 w 661049"/>
                        <a:gd name="connsiteY58" fmla="*/ 392575 h 453996"/>
                        <a:gd name="connsiteX59" fmla="*/ 586888 w 661049"/>
                        <a:gd name="connsiteY59" fmla="*/ 393412 h 453996"/>
                        <a:gd name="connsiteX60" fmla="*/ 577738 w 661049"/>
                        <a:gd name="connsiteY60" fmla="*/ 387132 h 453996"/>
                        <a:gd name="connsiteX61" fmla="*/ 586410 w 661049"/>
                        <a:gd name="connsiteY61" fmla="*/ 393053 h 453996"/>
                        <a:gd name="connsiteX62" fmla="*/ 587008 w 661049"/>
                        <a:gd name="connsiteY62" fmla="*/ 392276 h 453996"/>
                        <a:gd name="connsiteX63" fmla="*/ 578396 w 661049"/>
                        <a:gd name="connsiteY63" fmla="*/ 386354 h 453996"/>
                        <a:gd name="connsiteX64" fmla="*/ 577738 w 661049"/>
                        <a:gd name="connsiteY64" fmla="*/ 387132 h 453996"/>
                        <a:gd name="connsiteX65" fmla="*/ 570681 w 661049"/>
                        <a:gd name="connsiteY65" fmla="*/ 382288 h 453996"/>
                        <a:gd name="connsiteX66" fmla="*/ 577200 w 661049"/>
                        <a:gd name="connsiteY66" fmla="*/ 386773 h 453996"/>
                        <a:gd name="connsiteX67" fmla="*/ 577798 w 661049"/>
                        <a:gd name="connsiteY67" fmla="*/ 385996 h 453996"/>
                        <a:gd name="connsiteX68" fmla="*/ 571279 w 661049"/>
                        <a:gd name="connsiteY68" fmla="*/ 381510 h 453996"/>
                        <a:gd name="connsiteX69" fmla="*/ 570681 w 661049"/>
                        <a:gd name="connsiteY69" fmla="*/ 382288 h 453996"/>
                        <a:gd name="connsiteX70" fmla="*/ 348497 w 661049"/>
                        <a:gd name="connsiteY70" fmla="*/ 230617 h 453996"/>
                        <a:gd name="connsiteX71" fmla="*/ 570142 w 661049"/>
                        <a:gd name="connsiteY71" fmla="*/ 381869 h 453996"/>
                        <a:gd name="connsiteX72" fmla="*/ 570740 w 661049"/>
                        <a:gd name="connsiteY72" fmla="*/ 381092 h 453996"/>
                        <a:gd name="connsiteX73" fmla="*/ 348557 w 661049"/>
                        <a:gd name="connsiteY73" fmla="*/ 229241 h 453996"/>
                        <a:gd name="connsiteX74" fmla="*/ 348557 w 661049"/>
                        <a:gd name="connsiteY74" fmla="*/ 229241 h 453996"/>
                        <a:gd name="connsiteX75" fmla="*/ 348557 w 661049"/>
                        <a:gd name="connsiteY75" fmla="*/ 229241 h 453996"/>
                        <a:gd name="connsiteX76" fmla="*/ 348557 w 661049"/>
                        <a:gd name="connsiteY76" fmla="*/ 229241 h 453996"/>
                        <a:gd name="connsiteX77" fmla="*/ 348557 w 661049"/>
                        <a:gd name="connsiteY77" fmla="*/ 229241 h 453996"/>
                        <a:gd name="connsiteX78" fmla="*/ 348557 w 661049"/>
                        <a:gd name="connsiteY78" fmla="*/ 229540 h 453996"/>
                        <a:gd name="connsiteX79" fmla="*/ 348557 w 661049"/>
                        <a:gd name="connsiteY79" fmla="*/ 229839 h 453996"/>
                        <a:gd name="connsiteX80" fmla="*/ 348557 w 661049"/>
                        <a:gd name="connsiteY80" fmla="*/ 230138 h 453996"/>
                        <a:gd name="connsiteX81" fmla="*/ 348497 w 661049"/>
                        <a:gd name="connsiteY81" fmla="*/ 230617 h 453996"/>
                        <a:gd name="connsiteX82" fmla="*/ 346164 w 661049"/>
                        <a:gd name="connsiteY82" fmla="*/ 229062 h 453996"/>
                        <a:gd name="connsiteX83" fmla="*/ 347480 w 661049"/>
                        <a:gd name="connsiteY83" fmla="*/ 229959 h 453996"/>
                        <a:gd name="connsiteX84" fmla="*/ 347480 w 661049"/>
                        <a:gd name="connsiteY84" fmla="*/ 229899 h 453996"/>
                        <a:gd name="connsiteX85" fmla="*/ 347480 w 661049"/>
                        <a:gd name="connsiteY85" fmla="*/ 229839 h 453996"/>
                        <a:gd name="connsiteX86" fmla="*/ 347480 w 661049"/>
                        <a:gd name="connsiteY86" fmla="*/ 229779 h 453996"/>
                        <a:gd name="connsiteX87" fmla="*/ 347480 w 661049"/>
                        <a:gd name="connsiteY87" fmla="*/ 229720 h 453996"/>
                        <a:gd name="connsiteX88" fmla="*/ 347480 w 661049"/>
                        <a:gd name="connsiteY88" fmla="*/ 229480 h 453996"/>
                        <a:gd name="connsiteX89" fmla="*/ 347480 w 661049"/>
                        <a:gd name="connsiteY89" fmla="*/ 229241 h 453996"/>
                        <a:gd name="connsiteX90" fmla="*/ 347480 w 661049"/>
                        <a:gd name="connsiteY90" fmla="*/ 229002 h 453996"/>
                        <a:gd name="connsiteX91" fmla="*/ 347480 w 661049"/>
                        <a:gd name="connsiteY91" fmla="*/ 228763 h 453996"/>
                        <a:gd name="connsiteX92" fmla="*/ 346104 w 661049"/>
                        <a:gd name="connsiteY92" fmla="*/ 227806 h 453996"/>
                        <a:gd name="connsiteX93" fmla="*/ 346164 w 661049"/>
                        <a:gd name="connsiteY93" fmla="*/ 228165 h 453996"/>
                        <a:gd name="connsiteX94" fmla="*/ 346224 w 661049"/>
                        <a:gd name="connsiteY94" fmla="*/ 228523 h 453996"/>
                        <a:gd name="connsiteX95" fmla="*/ 346224 w 661049"/>
                        <a:gd name="connsiteY95" fmla="*/ 228882 h 453996"/>
                        <a:gd name="connsiteX96" fmla="*/ 346164 w 661049"/>
                        <a:gd name="connsiteY96" fmla="*/ 229062 h 453996"/>
                        <a:gd name="connsiteX97" fmla="*/ 342217 w 661049"/>
                        <a:gd name="connsiteY97" fmla="*/ 226370 h 453996"/>
                        <a:gd name="connsiteX98" fmla="*/ 345088 w 661049"/>
                        <a:gd name="connsiteY98" fmla="*/ 228344 h 453996"/>
                        <a:gd name="connsiteX99" fmla="*/ 345028 w 661049"/>
                        <a:gd name="connsiteY99" fmla="*/ 227985 h 453996"/>
                        <a:gd name="connsiteX100" fmla="*/ 344968 w 661049"/>
                        <a:gd name="connsiteY100" fmla="*/ 227626 h 453996"/>
                        <a:gd name="connsiteX101" fmla="*/ 344909 w 661049"/>
                        <a:gd name="connsiteY101" fmla="*/ 227267 h 453996"/>
                        <a:gd name="connsiteX102" fmla="*/ 344849 w 661049"/>
                        <a:gd name="connsiteY102" fmla="*/ 226909 h 453996"/>
                        <a:gd name="connsiteX103" fmla="*/ 341739 w 661049"/>
                        <a:gd name="connsiteY103" fmla="*/ 224756 h 453996"/>
                        <a:gd name="connsiteX104" fmla="*/ 341858 w 661049"/>
                        <a:gd name="connsiteY104" fmla="*/ 225174 h 453996"/>
                        <a:gd name="connsiteX105" fmla="*/ 341978 w 661049"/>
                        <a:gd name="connsiteY105" fmla="*/ 225593 h 453996"/>
                        <a:gd name="connsiteX106" fmla="*/ 342097 w 661049"/>
                        <a:gd name="connsiteY106" fmla="*/ 226011 h 453996"/>
                        <a:gd name="connsiteX107" fmla="*/ 342217 w 661049"/>
                        <a:gd name="connsiteY107" fmla="*/ 226370 h 453996"/>
                        <a:gd name="connsiteX108" fmla="*/ 338868 w 661049"/>
                        <a:gd name="connsiteY108" fmla="*/ 224098 h 453996"/>
                        <a:gd name="connsiteX109" fmla="*/ 340842 w 661049"/>
                        <a:gd name="connsiteY109" fmla="*/ 225473 h 453996"/>
                        <a:gd name="connsiteX110" fmla="*/ 340722 w 661049"/>
                        <a:gd name="connsiteY110" fmla="*/ 224995 h 453996"/>
                        <a:gd name="connsiteX111" fmla="*/ 340542 w 661049"/>
                        <a:gd name="connsiteY111" fmla="*/ 224516 h 453996"/>
                        <a:gd name="connsiteX112" fmla="*/ 340363 w 661049"/>
                        <a:gd name="connsiteY112" fmla="*/ 224098 h 453996"/>
                        <a:gd name="connsiteX113" fmla="*/ 340184 w 661049"/>
                        <a:gd name="connsiteY113" fmla="*/ 223679 h 453996"/>
                        <a:gd name="connsiteX114" fmla="*/ 337791 w 661049"/>
                        <a:gd name="connsiteY114" fmla="*/ 222064 h 453996"/>
                        <a:gd name="connsiteX115" fmla="*/ 338090 w 661049"/>
                        <a:gd name="connsiteY115" fmla="*/ 222603 h 453996"/>
                        <a:gd name="connsiteX116" fmla="*/ 338389 w 661049"/>
                        <a:gd name="connsiteY116" fmla="*/ 223141 h 453996"/>
                        <a:gd name="connsiteX117" fmla="*/ 338628 w 661049"/>
                        <a:gd name="connsiteY117" fmla="*/ 223679 h 453996"/>
                        <a:gd name="connsiteX118" fmla="*/ 338868 w 661049"/>
                        <a:gd name="connsiteY118" fmla="*/ 224098 h 453996"/>
                        <a:gd name="connsiteX119" fmla="*/ 335100 w 661049"/>
                        <a:gd name="connsiteY119" fmla="*/ 221526 h 453996"/>
                        <a:gd name="connsiteX120" fmla="*/ 337014 w 661049"/>
                        <a:gd name="connsiteY120" fmla="*/ 222842 h 453996"/>
                        <a:gd name="connsiteX121" fmla="*/ 336655 w 661049"/>
                        <a:gd name="connsiteY121" fmla="*/ 222244 h 453996"/>
                        <a:gd name="connsiteX122" fmla="*/ 336236 w 661049"/>
                        <a:gd name="connsiteY122" fmla="*/ 221646 h 453996"/>
                        <a:gd name="connsiteX123" fmla="*/ 335818 w 661049"/>
                        <a:gd name="connsiteY123" fmla="*/ 221048 h 453996"/>
                        <a:gd name="connsiteX124" fmla="*/ 335339 w 661049"/>
                        <a:gd name="connsiteY124" fmla="*/ 220449 h 453996"/>
                        <a:gd name="connsiteX125" fmla="*/ 331751 w 661049"/>
                        <a:gd name="connsiteY125" fmla="*/ 217997 h 453996"/>
                        <a:gd name="connsiteX126" fmla="*/ 331332 w 661049"/>
                        <a:gd name="connsiteY126" fmla="*/ 218476 h 453996"/>
                        <a:gd name="connsiteX127" fmla="*/ 332289 w 661049"/>
                        <a:gd name="connsiteY127" fmla="*/ 219253 h 453996"/>
                        <a:gd name="connsiteX128" fmla="*/ 333246 w 661049"/>
                        <a:gd name="connsiteY128" fmla="*/ 220031 h 453996"/>
                        <a:gd name="connsiteX129" fmla="*/ 334143 w 661049"/>
                        <a:gd name="connsiteY129" fmla="*/ 220808 h 453996"/>
                        <a:gd name="connsiteX130" fmla="*/ 335100 w 661049"/>
                        <a:gd name="connsiteY130" fmla="*/ 221526 h 453996"/>
                        <a:gd name="connsiteX131" fmla="*/ 286656 w 661049"/>
                        <a:gd name="connsiteY131" fmla="*/ 188453 h 453996"/>
                        <a:gd name="connsiteX132" fmla="*/ 321643 w 661049"/>
                        <a:gd name="connsiteY132" fmla="*/ 212316 h 453996"/>
                        <a:gd name="connsiteX133" fmla="*/ 322181 w 661049"/>
                        <a:gd name="connsiteY133" fmla="*/ 211598 h 453996"/>
                        <a:gd name="connsiteX134" fmla="*/ 322600 w 661049"/>
                        <a:gd name="connsiteY134" fmla="*/ 211837 h 453996"/>
                        <a:gd name="connsiteX135" fmla="*/ 324813 w 661049"/>
                        <a:gd name="connsiteY135" fmla="*/ 213332 h 453996"/>
                        <a:gd name="connsiteX136" fmla="*/ 326907 w 661049"/>
                        <a:gd name="connsiteY136" fmla="*/ 214827 h 453996"/>
                        <a:gd name="connsiteX137" fmla="*/ 328880 w 661049"/>
                        <a:gd name="connsiteY137" fmla="*/ 216323 h 453996"/>
                        <a:gd name="connsiteX138" fmla="*/ 330734 w 661049"/>
                        <a:gd name="connsiteY138" fmla="*/ 217758 h 453996"/>
                        <a:gd name="connsiteX139" fmla="*/ 331093 w 661049"/>
                        <a:gd name="connsiteY139" fmla="*/ 217340 h 453996"/>
                        <a:gd name="connsiteX140" fmla="*/ 287434 w 661049"/>
                        <a:gd name="connsiteY140" fmla="*/ 187495 h 453996"/>
                        <a:gd name="connsiteX141" fmla="*/ 286656 w 661049"/>
                        <a:gd name="connsiteY141" fmla="*/ 188453 h 453996"/>
                        <a:gd name="connsiteX142" fmla="*/ 273259 w 661049"/>
                        <a:gd name="connsiteY142" fmla="*/ 179302 h 453996"/>
                        <a:gd name="connsiteX143" fmla="*/ 285819 w 661049"/>
                        <a:gd name="connsiteY143" fmla="*/ 187914 h 453996"/>
                        <a:gd name="connsiteX144" fmla="*/ 286537 w 661049"/>
                        <a:gd name="connsiteY144" fmla="*/ 187017 h 453996"/>
                        <a:gd name="connsiteX145" fmla="*/ 273977 w 661049"/>
                        <a:gd name="connsiteY145" fmla="*/ 178405 h 453996"/>
                        <a:gd name="connsiteX146" fmla="*/ 273259 w 661049"/>
                        <a:gd name="connsiteY146" fmla="*/ 179302 h 453996"/>
                        <a:gd name="connsiteX147" fmla="*/ 262913 w 661049"/>
                        <a:gd name="connsiteY147" fmla="*/ 172245 h 453996"/>
                        <a:gd name="connsiteX148" fmla="*/ 272482 w 661049"/>
                        <a:gd name="connsiteY148" fmla="*/ 178764 h 453996"/>
                        <a:gd name="connsiteX149" fmla="*/ 273199 w 661049"/>
                        <a:gd name="connsiteY149" fmla="*/ 177867 h 453996"/>
                        <a:gd name="connsiteX150" fmla="*/ 263630 w 661049"/>
                        <a:gd name="connsiteY150" fmla="*/ 171348 h 453996"/>
                        <a:gd name="connsiteX151" fmla="*/ 262913 w 661049"/>
                        <a:gd name="connsiteY151" fmla="*/ 172245 h 453996"/>
                        <a:gd name="connsiteX152" fmla="*/ 137437 w 661049"/>
                        <a:gd name="connsiteY152" fmla="*/ 86601 h 453996"/>
                        <a:gd name="connsiteX153" fmla="*/ 262195 w 661049"/>
                        <a:gd name="connsiteY153" fmla="*/ 171767 h 453996"/>
                        <a:gd name="connsiteX154" fmla="*/ 262913 w 661049"/>
                        <a:gd name="connsiteY154" fmla="*/ 170869 h 453996"/>
                        <a:gd name="connsiteX155" fmla="*/ 137437 w 661049"/>
                        <a:gd name="connsiteY155" fmla="*/ 85106 h 453996"/>
                        <a:gd name="connsiteX156" fmla="*/ 137437 w 661049"/>
                        <a:gd name="connsiteY156" fmla="*/ 85464 h 453996"/>
                        <a:gd name="connsiteX157" fmla="*/ 137437 w 661049"/>
                        <a:gd name="connsiteY157" fmla="*/ 85823 h 453996"/>
                        <a:gd name="connsiteX158" fmla="*/ 137437 w 661049"/>
                        <a:gd name="connsiteY158" fmla="*/ 86182 h 453996"/>
                        <a:gd name="connsiteX159" fmla="*/ 137437 w 661049"/>
                        <a:gd name="connsiteY159" fmla="*/ 86601 h 453996"/>
                        <a:gd name="connsiteX160" fmla="*/ 134566 w 661049"/>
                        <a:gd name="connsiteY160" fmla="*/ 84627 h 453996"/>
                        <a:gd name="connsiteX161" fmla="*/ 136181 w 661049"/>
                        <a:gd name="connsiteY161" fmla="*/ 85764 h 453996"/>
                        <a:gd name="connsiteX162" fmla="*/ 136181 w 661049"/>
                        <a:gd name="connsiteY162" fmla="*/ 85464 h 453996"/>
                        <a:gd name="connsiteX163" fmla="*/ 136181 w 661049"/>
                        <a:gd name="connsiteY163" fmla="*/ 85165 h 453996"/>
                        <a:gd name="connsiteX164" fmla="*/ 136181 w 661049"/>
                        <a:gd name="connsiteY164" fmla="*/ 84866 h 453996"/>
                        <a:gd name="connsiteX165" fmla="*/ 136181 w 661049"/>
                        <a:gd name="connsiteY165" fmla="*/ 84567 h 453996"/>
                        <a:gd name="connsiteX166" fmla="*/ 136181 w 661049"/>
                        <a:gd name="connsiteY166" fmla="*/ 84448 h 453996"/>
                        <a:gd name="connsiteX167" fmla="*/ 136181 w 661049"/>
                        <a:gd name="connsiteY167" fmla="*/ 84328 h 453996"/>
                        <a:gd name="connsiteX168" fmla="*/ 136181 w 661049"/>
                        <a:gd name="connsiteY168" fmla="*/ 84209 h 453996"/>
                        <a:gd name="connsiteX169" fmla="*/ 136181 w 661049"/>
                        <a:gd name="connsiteY169" fmla="*/ 84089 h 453996"/>
                        <a:gd name="connsiteX170" fmla="*/ 134447 w 661049"/>
                        <a:gd name="connsiteY170" fmla="*/ 82893 h 453996"/>
                        <a:gd name="connsiteX171" fmla="*/ 134507 w 661049"/>
                        <a:gd name="connsiteY171" fmla="*/ 83311 h 453996"/>
                        <a:gd name="connsiteX172" fmla="*/ 134566 w 661049"/>
                        <a:gd name="connsiteY172" fmla="*/ 83730 h 453996"/>
                        <a:gd name="connsiteX173" fmla="*/ 134626 w 661049"/>
                        <a:gd name="connsiteY173" fmla="*/ 84149 h 453996"/>
                        <a:gd name="connsiteX174" fmla="*/ 134566 w 661049"/>
                        <a:gd name="connsiteY174" fmla="*/ 84627 h 453996"/>
                        <a:gd name="connsiteX175" fmla="*/ 129901 w 661049"/>
                        <a:gd name="connsiteY175" fmla="*/ 81457 h 453996"/>
                        <a:gd name="connsiteX176" fmla="*/ 133311 w 661049"/>
                        <a:gd name="connsiteY176" fmla="*/ 83790 h 453996"/>
                        <a:gd name="connsiteX177" fmla="*/ 133251 w 661049"/>
                        <a:gd name="connsiteY177" fmla="*/ 83371 h 453996"/>
                        <a:gd name="connsiteX178" fmla="*/ 133191 w 661049"/>
                        <a:gd name="connsiteY178" fmla="*/ 82953 h 453996"/>
                        <a:gd name="connsiteX179" fmla="*/ 133131 w 661049"/>
                        <a:gd name="connsiteY179" fmla="*/ 82534 h 453996"/>
                        <a:gd name="connsiteX180" fmla="*/ 133071 w 661049"/>
                        <a:gd name="connsiteY180" fmla="*/ 82115 h 453996"/>
                        <a:gd name="connsiteX181" fmla="*/ 129363 w 661049"/>
                        <a:gd name="connsiteY181" fmla="*/ 79544 h 453996"/>
                        <a:gd name="connsiteX182" fmla="*/ 129543 w 661049"/>
                        <a:gd name="connsiteY182" fmla="*/ 80022 h 453996"/>
                        <a:gd name="connsiteX183" fmla="*/ 129662 w 661049"/>
                        <a:gd name="connsiteY183" fmla="*/ 80501 h 453996"/>
                        <a:gd name="connsiteX184" fmla="*/ 129782 w 661049"/>
                        <a:gd name="connsiteY184" fmla="*/ 80979 h 453996"/>
                        <a:gd name="connsiteX185" fmla="*/ 129901 w 661049"/>
                        <a:gd name="connsiteY185" fmla="*/ 81457 h 453996"/>
                        <a:gd name="connsiteX186" fmla="*/ 125895 w 661049"/>
                        <a:gd name="connsiteY186" fmla="*/ 78706 h 453996"/>
                        <a:gd name="connsiteX187" fmla="*/ 128346 w 661049"/>
                        <a:gd name="connsiteY187" fmla="*/ 80381 h 453996"/>
                        <a:gd name="connsiteX188" fmla="*/ 128167 w 661049"/>
                        <a:gd name="connsiteY188" fmla="*/ 79842 h 453996"/>
                        <a:gd name="connsiteX189" fmla="*/ 127988 w 661049"/>
                        <a:gd name="connsiteY189" fmla="*/ 79304 h 453996"/>
                        <a:gd name="connsiteX190" fmla="*/ 127749 w 661049"/>
                        <a:gd name="connsiteY190" fmla="*/ 78766 h 453996"/>
                        <a:gd name="connsiteX191" fmla="*/ 127509 w 661049"/>
                        <a:gd name="connsiteY191" fmla="*/ 78228 h 453996"/>
                        <a:gd name="connsiteX192" fmla="*/ 124579 w 661049"/>
                        <a:gd name="connsiteY192" fmla="*/ 76194 h 453996"/>
                        <a:gd name="connsiteX193" fmla="*/ 124937 w 661049"/>
                        <a:gd name="connsiteY193" fmla="*/ 76793 h 453996"/>
                        <a:gd name="connsiteX194" fmla="*/ 125296 w 661049"/>
                        <a:gd name="connsiteY194" fmla="*/ 77391 h 453996"/>
                        <a:gd name="connsiteX195" fmla="*/ 125595 w 661049"/>
                        <a:gd name="connsiteY195" fmla="*/ 77988 h 453996"/>
                        <a:gd name="connsiteX196" fmla="*/ 125895 w 661049"/>
                        <a:gd name="connsiteY196" fmla="*/ 78706 h 453996"/>
                        <a:gd name="connsiteX197" fmla="*/ 121169 w 661049"/>
                        <a:gd name="connsiteY197" fmla="*/ 75477 h 453996"/>
                        <a:gd name="connsiteX198" fmla="*/ 123562 w 661049"/>
                        <a:gd name="connsiteY198" fmla="*/ 77092 h 453996"/>
                        <a:gd name="connsiteX199" fmla="*/ 123083 w 661049"/>
                        <a:gd name="connsiteY199" fmla="*/ 76374 h 453996"/>
                        <a:gd name="connsiteX200" fmla="*/ 122605 w 661049"/>
                        <a:gd name="connsiteY200" fmla="*/ 75656 h 453996"/>
                        <a:gd name="connsiteX201" fmla="*/ 122067 w 661049"/>
                        <a:gd name="connsiteY201" fmla="*/ 74939 h 453996"/>
                        <a:gd name="connsiteX202" fmla="*/ 121468 w 661049"/>
                        <a:gd name="connsiteY202" fmla="*/ 74221 h 453996"/>
                        <a:gd name="connsiteX203" fmla="*/ 112258 w 661049"/>
                        <a:gd name="connsiteY203" fmla="*/ 67881 h 453996"/>
                        <a:gd name="connsiteX204" fmla="*/ 112019 w 661049"/>
                        <a:gd name="connsiteY204" fmla="*/ 68180 h 453996"/>
                        <a:gd name="connsiteX205" fmla="*/ 114531 w 661049"/>
                        <a:gd name="connsiteY205" fmla="*/ 70094 h 453996"/>
                        <a:gd name="connsiteX206" fmla="*/ 116923 w 661049"/>
                        <a:gd name="connsiteY206" fmla="*/ 71948 h 453996"/>
                        <a:gd name="connsiteX207" fmla="*/ 119136 w 661049"/>
                        <a:gd name="connsiteY207" fmla="*/ 73742 h 453996"/>
                        <a:gd name="connsiteX208" fmla="*/ 121169 w 661049"/>
                        <a:gd name="connsiteY208" fmla="*/ 75477 h 453996"/>
                        <a:gd name="connsiteX209" fmla="*/ 54724 w 661049"/>
                        <a:gd name="connsiteY209" fmla="*/ 30143 h 453996"/>
                        <a:gd name="connsiteX210" fmla="*/ 104364 w 661049"/>
                        <a:gd name="connsiteY210" fmla="*/ 64054 h 453996"/>
                        <a:gd name="connsiteX211" fmla="*/ 104962 w 661049"/>
                        <a:gd name="connsiteY211" fmla="*/ 63276 h 453996"/>
                        <a:gd name="connsiteX212" fmla="*/ 105440 w 661049"/>
                        <a:gd name="connsiteY212" fmla="*/ 63575 h 453996"/>
                        <a:gd name="connsiteX213" fmla="*/ 106875 w 661049"/>
                        <a:gd name="connsiteY213" fmla="*/ 64592 h 453996"/>
                        <a:gd name="connsiteX214" fmla="*/ 108311 w 661049"/>
                        <a:gd name="connsiteY214" fmla="*/ 65609 h 453996"/>
                        <a:gd name="connsiteX215" fmla="*/ 109687 w 661049"/>
                        <a:gd name="connsiteY215" fmla="*/ 66565 h 453996"/>
                        <a:gd name="connsiteX216" fmla="*/ 111062 w 661049"/>
                        <a:gd name="connsiteY216" fmla="*/ 67522 h 453996"/>
                        <a:gd name="connsiteX217" fmla="*/ 111302 w 661049"/>
                        <a:gd name="connsiteY217" fmla="*/ 67223 h 453996"/>
                        <a:gd name="connsiteX218" fmla="*/ 55561 w 661049"/>
                        <a:gd name="connsiteY218" fmla="*/ 29126 h 453996"/>
                        <a:gd name="connsiteX219" fmla="*/ 54724 w 661049"/>
                        <a:gd name="connsiteY219" fmla="*/ 30143 h 453996"/>
                        <a:gd name="connsiteX220" fmla="*/ 37559 w 661049"/>
                        <a:gd name="connsiteY220" fmla="*/ 18421 h 453996"/>
                        <a:gd name="connsiteX221" fmla="*/ 53707 w 661049"/>
                        <a:gd name="connsiteY221" fmla="*/ 29425 h 453996"/>
                        <a:gd name="connsiteX222" fmla="*/ 54544 w 661049"/>
                        <a:gd name="connsiteY222" fmla="*/ 28408 h 453996"/>
                        <a:gd name="connsiteX223" fmla="*/ 38397 w 661049"/>
                        <a:gd name="connsiteY223" fmla="*/ 17404 h 453996"/>
                        <a:gd name="connsiteX224" fmla="*/ 37559 w 661049"/>
                        <a:gd name="connsiteY224" fmla="*/ 18421 h 453996"/>
                        <a:gd name="connsiteX225" fmla="*/ 24342 w 661049"/>
                        <a:gd name="connsiteY225" fmla="*/ 9390 h 453996"/>
                        <a:gd name="connsiteX226" fmla="*/ 36602 w 661049"/>
                        <a:gd name="connsiteY226" fmla="*/ 17763 h 453996"/>
                        <a:gd name="connsiteX227" fmla="*/ 37439 w 661049"/>
                        <a:gd name="connsiteY227" fmla="*/ 16746 h 453996"/>
                        <a:gd name="connsiteX228" fmla="*/ 25179 w 661049"/>
                        <a:gd name="connsiteY228" fmla="*/ 8373 h 453996"/>
                        <a:gd name="connsiteX229" fmla="*/ 24342 w 661049"/>
                        <a:gd name="connsiteY229" fmla="*/ 9390 h 453996"/>
                        <a:gd name="connsiteX230" fmla="*/ 7177 w 661049"/>
                        <a:gd name="connsiteY230" fmla="*/ 7177 h 453996"/>
                        <a:gd name="connsiteX231" fmla="*/ 8194 w 661049"/>
                        <a:gd name="connsiteY231" fmla="*/ 7835 h 453996"/>
                        <a:gd name="connsiteX232" fmla="*/ 13098 w 661049"/>
                        <a:gd name="connsiteY232" fmla="*/ 1675 h 453996"/>
                        <a:gd name="connsiteX233" fmla="*/ 23325 w 661049"/>
                        <a:gd name="connsiteY233" fmla="*/ 8672 h 453996"/>
                        <a:gd name="connsiteX234" fmla="*/ 24162 w 661049"/>
                        <a:gd name="connsiteY234" fmla="*/ 7655 h 453996"/>
                        <a:gd name="connsiteX235" fmla="*/ 12919 w 661049"/>
                        <a:gd name="connsiteY235" fmla="*/ 0 h 453996"/>
                        <a:gd name="connsiteX236" fmla="*/ 7177 w 661049"/>
                        <a:gd name="connsiteY236" fmla="*/ 7177 h 453996"/>
                        <a:gd name="connsiteX237" fmla="*/ 628335 w 661049"/>
                        <a:gd name="connsiteY237" fmla="*/ 437968 h 453996"/>
                        <a:gd name="connsiteX238" fmla="*/ 652258 w 661049"/>
                        <a:gd name="connsiteY238" fmla="*/ 453997 h 453996"/>
                        <a:gd name="connsiteX239" fmla="*/ 661049 w 661049"/>
                        <a:gd name="connsiteY239" fmla="*/ 442872 h 453996"/>
                        <a:gd name="connsiteX240" fmla="*/ 631684 w 661049"/>
                        <a:gd name="connsiteY240" fmla="*/ 422837 h 453996"/>
                        <a:gd name="connsiteX241" fmla="*/ 631624 w 661049"/>
                        <a:gd name="connsiteY241" fmla="*/ 423076 h 453996"/>
                        <a:gd name="connsiteX242" fmla="*/ 631565 w 661049"/>
                        <a:gd name="connsiteY242" fmla="*/ 423316 h 453996"/>
                        <a:gd name="connsiteX243" fmla="*/ 631505 w 661049"/>
                        <a:gd name="connsiteY243" fmla="*/ 423555 h 453996"/>
                        <a:gd name="connsiteX244" fmla="*/ 631445 w 661049"/>
                        <a:gd name="connsiteY244" fmla="*/ 423794 h 453996"/>
                        <a:gd name="connsiteX245" fmla="*/ 659913 w 661049"/>
                        <a:gd name="connsiteY245" fmla="*/ 443231 h 453996"/>
                        <a:gd name="connsiteX246" fmla="*/ 656564 w 661049"/>
                        <a:gd name="connsiteY246" fmla="*/ 447478 h 453996"/>
                        <a:gd name="connsiteX247" fmla="*/ 657042 w 661049"/>
                        <a:gd name="connsiteY247" fmla="*/ 447777 h 453996"/>
                        <a:gd name="connsiteX248" fmla="*/ 654411 w 661049"/>
                        <a:gd name="connsiteY248" fmla="*/ 451126 h 453996"/>
                        <a:gd name="connsiteX249" fmla="*/ 653932 w 661049"/>
                        <a:gd name="connsiteY249" fmla="*/ 450827 h 453996"/>
                        <a:gd name="connsiteX250" fmla="*/ 652258 w 661049"/>
                        <a:gd name="connsiteY250" fmla="*/ 452920 h 453996"/>
                        <a:gd name="connsiteX251" fmla="*/ 628634 w 661049"/>
                        <a:gd name="connsiteY251" fmla="*/ 437011 h 453996"/>
                        <a:gd name="connsiteX252" fmla="*/ 628574 w 661049"/>
                        <a:gd name="connsiteY252" fmla="*/ 437250 h 453996"/>
                        <a:gd name="connsiteX253" fmla="*/ 628454 w 661049"/>
                        <a:gd name="connsiteY253" fmla="*/ 437490 h 453996"/>
                        <a:gd name="connsiteX254" fmla="*/ 628335 w 661049"/>
                        <a:gd name="connsiteY254" fmla="*/ 437729 h 453996"/>
                        <a:gd name="connsiteX255" fmla="*/ 628335 w 661049"/>
                        <a:gd name="connsiteY255" fmla="*/ 437968 h 453996"/>
                        <a:gd name="connsiteX256" fmla="*/ 627079 w 661049"/>
                        <a:gd name="connsiteY256" fmla="*/ 437131 h 453996"/>
                        <a:gd name="connsiteX257" fmla="*/ 627797 w 661049"/>
                        <a:gd name="connsiteY257" fmla="*/ 437609 h 453996"/>
                        <a:gd name="connsiteX258" fmla="*/ 627916 w 661049"/>
                        <a:gd name="connsiteY258" fmla="*/ 437370 h 453996"/>
                        <a:gd name="connsiteX259" fmla="*/ 628036 w 661049"/>
                        <a:gd name="connsiteY259" fmla="*/ 437131 h 453996"/>
                        <a:gd name="connsiteX260" fmla="*/ 628096 w 661049"/>
                        <a:gd name="connsiteY260" fmla="*/ 436892 h 453996"/>
                        <a:gd name="connsiteX261" fmla="*/ 628155 w 661049"/>
                        <a:gd name="connsiteY261" fmla="*/ 436653 h 453996"/>
                        <a:gd name="connsiteX262" fmla="*/ 627438 w 661049"/>
                        <a:gd name="connsiteY262" fmla="*/ 436174 h 453996"/>
                        <a:gd name="connsiteX263" fmla="*/ 627378 w 661049"/>
                        <a:gd name="connsiteY263" fmla="*/ 436413 h 453996"/>
                        <a:gd name="connsiteX264" fmla="*/ 627318 w 661049"/>
                        <a:gd name="connsiteY264" fmla="*/ 436653 h 453996"/>
                        <a:gd name="connsiteX265" fmla="*/ 627258 w 661049"/>
                        <a:gd name="connsiteY265" fmla="*/ 436892 h 453996"/>
                        <a:gd name="connsiteX266" fmla="*/ 627079 w 661049"/>
                        <a:gd name="connsiteY266" fmla="*/ 437131 h 453996"/>
                        <a:gd name="connsiteX267" fmla="*/ 625703 w 661049"/>
                        <a:gd name="connsiteY267" fmla="*/ 436174 h 453996"/>
                        <a:gd name="connsiteX268" fmla="*/ 626541 w 661049"/>
                        <a:gd name="connsiteY268" fmla="*/ 436772 h 453996"/>
                        <a:gd name="connsiteX269" fmla="*/ 626600 w 661049"/>
                        <a:gd name="connsiteY269" fmla="*/ 436533 h 453996"/>
                        <a:gd name="connsiteX270" fmla="*/ 626660 w 661049"/>
                        <a:gd name="connsiteY270" fmla="*/ 436294 h 453996"/>
                        <a:gd name="connsiteX271" fmla="*/ 626720 w 661049"/>
                        <a:gd name="connsiteY271" fmla="*/ 436055 h 453996"/>
                        <a:gd name="connsiteX272" fmla="*/ 626780 w 661049"/>
                        <a:gd name="connsiteY272" fmla="*/ 435815 h 453996"/>
                        <a:gd name="connsiteX273" fmla="*/ 626122 w 661049"/>
                        <a:gd name="connsiteY273" fmla="*/ 435396 h 453996"/>
                        <a:gd name="connsiteX274" fmla="*/ 626002 w 661049"/>
                        <a:gd name="connsiteY274" fmla="*/ 435576 h 453996"/>
                        <a:gd name="connsiteX275" fmla="*/ 625883 w 661049"/>
                        <a:gd name="connsiteY275" fmla="*/ 435755 h 453996"/>
                        <a:gd name="connsiteX276" fmla="*/ 625763 w 661049"/>
                        <a:gd name="connsiteY276" fmla="*/ 435935 h 453996"/>
                        <a:gd name="connsiteX277" fmla="*/ 625703 w 661049"/>
                        <a:gd name="connsiteY277" fmla="*/ 436174 h 453996"/>
                        <a:gd name="connsiteX278" fmla="*/ 624507 w 661049"/>
                        <a:gd name="connsiteY278" fmla="*/ 435396 h 453996"/>
                        <a:gd name="connsiteX279" fmla="*/ 625165 w 661049"/>
                        <a:gd name="connsiteY279" fmla="*/ 435875 h 453996"/>
                        <a:gd name="connsiteX280" fmla="*/ 625285 w 661049"/>
                        <a:gd name="connsiteY280" fmla="*/ 435695 h 453996"/>
                        <a:gd name="connsiteX281" fmla="*/ 625404 w 661049"/>
                        <a:gd name="connsiteY281" fmla="*/ 435516 h 453996"/>
                        <a:gd name="connsiteX282" fmla="*/ 625524 w 661049"/>
                        <a:gd name="connsiteY282" fmla="*/ 435337 h 453996"/>
                        <a:gd name="connsiteX283" fmla="*/ 625644 w 661049"/>
                        <a:gd name="connsiteY283" fmla="*/ 435157 h 453996"/>
                        <a:gd name="connsiteX284" fmla="*/ 624986 w 661049"/>
                        <a:gd name="connsiteY284" fmla="*/ 434679 h 453996"/>
                        <a:gd name="connsiteX285" fmla="*/ 624866 w 661049"/>
                        <a:gd name="connsiteY285" fmla="*/ 434858 h 453996"/>
                        <a:gd name="connsiteX286" fmla="*/ 624746 w 661049"/>
                        <a:gd name="connsiteY286" fmla="*/ 435038 h 453996"/>
                        <a:gd name="connsiteX287" fmla="*/ 624627 w 661049"/>
                        <a:gd name="connsiteY287" fmla="*/ 435217 h 453996"/>
                        <a:gd name="connsiteX288" fmla="*/ 624507 w 661049"/>
                        <a:gd name="connsiteY288" fmla="*/ 435396 h 453996"/>
                        <a:gd name="connsiteX289" fmla="*/ 622474 w 661049"/>
                        <a:gd name="connsiteY289" fmla="*/ 434021 h 453996"/>
                        <a:gd name="connsiteX290" fmla="*/ 623969 w 661049"/>
                        <a:gd name="connsiteY290" fmla="*/ 435038 h 453996"/>
                        <a:gd name="connsiteX291" fmla="*/ 624089 w 661049"/>
                        <a:gd name="connsiteY291" fmla="*/ 434858 h 453996"/>
                        <a:gd name="connsiteX292" fmla="*/ 624208 w 661049"/>
                        <a:gd name="connsiteY292" fmla="*/ 434679 h 453996"/>
                        <a:gd name="connsiteX293" fmla="*/ 624328 w 661049"/>
                        <a:gd name="connsiteY293" fmla="*/ 434500 h 453996"/>
                        <a:gd name="connsiteX294" fmla="*/ 624447 w 661049"/>
                        <a:gd name="connsiteY294" fmla="*/ 434320 h 453996"/>
                        <a:gd name="connsiteX295" fmla="*/ 622952 w 661049"/>
                        <a:gd name="connsiteY295" fmla="*/ 433303 h 453996"/>
                        <a:gd name="connsiteX296" fmla="*/ 622833 w 661049"/>
                        <a:gd name="connsiteY296" fmla="*/ 433483 h 453996"/>
                        <a:gd name="connsiteX297" fmla="*/ 622713 w 661049"/>
                        <a:gd name="connsiteY297" fmla="*/ 433662 h 453996"/>
                        <a:gd name="connsiteX298" fmla="*/ 622593 w 661049"/>
                        <a:gd name="connsiteY298" fmla="*/ 433841 h 453996"/>
                        <a:gd name="connsiteX299" fmla="*/ 622474 w 661049"/>
                        <a:gd name="connsiteY299" fmla="*/ 434021 h 453996"/>
                        <a:gd name="connsiteX300" fmla="*/ 621337 w 661049"/>
                        <a:gd name="connsiteY300" fmla="*/ 433243 h 453996"/>
                        <a:gd name="connsiteX301" fmla="*/ 621995 w 661049"/>
                        <a:gd name="connsiteY301" fmla="*/ 433662 h 453996"/>
                        <a:gd name="connsiteX302" fmla="*/ 622115 w 661049"/>
                        <a:gd name="connsiteY302" fmla="*/ 433483 h 453996"/>
                        <a:gd name="connsiteX303" fmla="*/ 622235 w 661049"/>
                        <a:gd name="connsiteY303" fmla="*/ 433303 h 453996"/>
                        <a:gd name="connsiteX304" fmla="*/ 622354 w 661049"/>
                        <a:gd name="connsiteY304" fmla="*/ 433124 h 453996"/>
                        <a:gd name="connsiteX305" fmla="*/ 622474 w 661049"/>
                        <a:gd name="connsiteY305" fmla="*/ 432945 h 453996"/>
                        <a:gd name="connsiteX306" fmla="*/ 621816 w 661049"/>
                        <a:gd name="connsiteY306" fmla="*/ 432526 h 453996"/>
                        <a:gd name="connsiteX307" fmla="*/ 621696 w 661049"/>
                        <a:gd name="connsiteY307" fmla="*/ 432705 h 453996"/>
                        <a:gd name="connsiteX308" fmla="*/ 621576 w 661049"/>
                        <a:gd name="connsiteY308" fmla="*/ 432885 h 453996"/>
                        <a:gd name="connsiteX309" fmla="*/ 621457 w 661049"/>
                        <a:gd name="connsiteY309" fmla="*/ 433064 h 453996"/>
                        <a:gd name="connsiteX310" fmla="*/ 621337 w 661049"/>
                        <a:gd name="connsiteY310" fmla="*/ 433243 h 453996"/>
                        <a:gd name="connsiteX311" fmla="*/ 609137 w 661049"/>
                        <a:gd name="connsiteY311" fmla="*/ 425050 h 453996"/>
                        <a:gd name="connsiteX312" fmla="*/ 620799 w 661049"/>
                        <a:gd name="connsiteY312" fmla="*/ 432885 h 453996"/>
                        <a:gd name="connsiteX313" fmla="*/ 620919 w 661049"/>
                        <a:gd name="connsiteY313" fmla="*/ 432705 h 453996"/>
                        <a:gd name="connsiteX314" fmla="*/ 621038 w 661049"/>
                        <a:gd name="connsiteY314" fmla="*/ 432526 h 453996"/>
                        <a:gd name="connsiteX315" fmla="*/ 621158 w 661049"/>
                        <a:gd name="connsiteY315" fmla="*/ 432346 h 453996"/>
                        <a:gd name="connsiteX316" fmla="*/ 621277 w 661049"/>
                        <a:gd name="connsiteY316" fmla="*/ 432167 h 453996"/>
                        <a:gd name="connsiteX317" fmla="*/ 609675 w 661049"/>
                        <a:gd name="connsiteY317" fmla="*/ 424392 h 453996"/>
                        <a:gd name="connsiteX318" fmla="*/ 609137 w 661049"/>
                        <a:gd name="connsiteY318" fmla="*/ 425050 h 453996"/>
                        <a:gd name="connsiteX319" fmla="*/ 578276 w 661049"/>
                        <a:gd name="connsiteY319" fmla="*/ 404356 h 453996"/>
                        <a:gd name="connsiteX320" fmla="*/ 608658 w 661049"/>
                        <a:gd name="connsiteY320" fmla="*/ 424751 h 453996"/>
                        <a:gd name="connsiteX321" fmla="*/ 609256 w 661049"/>
                        <a:gd name="connsiteY321" fmla="*/ 424033 h 453996"/>
                        <a:gd name="connsiteX322" fmla="*/ 578934 w 661049"/>
                        <a:gd name="connsiteY322" fmla="*/ 403639 h 453996"/>
                        <a:gd name="connsiteX323" fmla="*/ 578276 w 661049"/>
                        <a:gd name="connsiteY323" fmla="*/ 404356 h 453996"/>
                        <a:gd name="connsiteX324" fmla="*/ 569066 w 661049"/>
                        <a:gd name="connsiteY324" fmla="*/ 398137 h 453996"/>
                        <a:gd name="connsiteX325" fmla="*/ 577738 w 661049"/>
                        <a:gd name="connsiteY325" fmla="*/ 403938 h 453996"/>
                        <a:gd name="connsiteX326" fmla="*/ 578336 w 661049"/>
                        <a:gd name="connsiteY326" fmla="*/ 403161 h 453996"/>
                        <a:gd name="connsiteX327" fmla="*/ 569664 w 661049"/>
                        <a:gd name="connsiteY327" fmla="*/ 397299 h 453996"/>
                        <a:gd name="connsiteX328" fmla="*/ 569066 w 661049"/>
                        <a:gd name="connsiteY328" fmla="*/ 398137 h 453996"/>
                        <a:gd name="connsiteX329" fmla="*/ 561949 w 661049"/>
                        <a:gd name="connsiteY329" fmla="*/ 393352 h 453996"/>
                        <a:gd name="connsiteX330" fmla="*/ 568527 w 661049"/>
                        <a:gd name="connsiteY330" fmla="*/ 397778 h 453996"/>
                        <a:gd name="connsiteX331" fmla="*/ 569126 w 661049"/>
                        <a:gd name="connsiteY331" fmla="*/ 397000 h 453996"/>
                        <a:gd name="connsiteX332" fmla="*/ 562547 w 661049"/>
                        <a:gd name="connsiteY332" fmla="*/ 392575 h 453996"/>
                        <a:gd name="connsiteX333" fmla="*/ 561949 w 661049"/>
                        <a:gd name="connsiteY333" fmla="*/ 393352 h 453996"/>
                        <a:gd name="connsiteX334" fmla="*/ 346942 w 661049"/>
                        <a:gd name="connsiteY334" fmla="*/ 249097 h 453996"/>
                        <a:gd name="connsiteX335" fmla="*/ 561351 w 661049"/>
                        <a:gd name="connsiteY335" fmla="*/ 392993 h 453996"/>
                        <a:gd name="connsiteX336" fmla="*/ 561949 w 661049"/>
                        <a:gd name="connsiteY336" fmla="*/ 392216 h 453996"/>
                        <a:gd name="connsiteX337" fmla="*/ 347241 w 661049"/>
                        <a:gd name="connsiteY337" fmla="*/ 247961 h 453996"/>
                        <a:gd name="connsiteX338" fmla="*/ 347181 w 661049"/>
                        <a:gd name="connsiteY338" fmla="*/ 248260 h 453996"/>
                        <a:gd name="connsiteX339" fmla="*/ 347121 w 661049"/>
                        <a:gd name="connsiteY339" fmla="*/ 248559 h 453996"/>
                        <a:gd name="connsiteX340" fmla="*/ 347062 w 661049"/>
                        <a:gd name="connsiteY340" fmla="*/ 248858 h 453996"/>
                        <a:gd name="connsiteX341" fmla="*/ 346942 w 661049"/>
                        <a:gd name="connsiteY341" fmla="*/ 249097 h 453996"/>
                        <a:gd name="connsiteX342" fmla="*/ 345028 w 661049"/>
                        <a:gd name="connsiteY342" fmla="*/ 247841 h 453996"/>
                        <a:gd name="connsiteX343" fmla="*/ 346104 w 661049"/>
                        <a:gd name="connsiteY343" fmla="*/ 248559 h 453996"/>
                        <a:gd name="connsiteX344" fmla="*/ 346164 w 661049"/>
                        <a:gd name="connsiteY344" fmla="*/ 248260 h 453996"/>
                        <a:gd name="connsiteX345" fmla="*/ 346224 w 661049"/>
                        <a:gd name="connsiteY345" fmla="*/ 247961 h 453996"/>
                        <a:gd name="connsiteX346" fmla="*/ 346284 w 661049"/>
                        <a:gd name="connsiteY346" fmla="*/ 247662 h 453996"/>
                        <a:gd name="connsiteX347" fmla="*/ 346344 w 661049"/>
                        <a:gd name="connsiteY347" fmla="*/ 247363 h 453996"/>
                        <a:gd name="connsiteX348" fmla="*/ 345207 w 661049"/>
                        <a:gd name="connsiteY348" fmla="*/ 246585 h 453996"/>
                        <a:gd name="connsiteX349" fmla="*/ 345148 w 661049"/>
                        <a:gd name="connsiteY349" fmla="*/ 246884 h 453996"/>
                        <a:gd name="connsiteX350" fmla="*/ 345088 w 661049"/>
                        <a:gd name="connsiteY350" fmla="*/ 247183 h 453996"/>
                        <a:gd name="connsiteX351" fmla="*/ 345028 w 661049"/>
                        <a:gd name="connsiteY351" fmla="*/ 247482 h 453996"/>
                        <a:gd name="connsiteX352" fmla="*/ 345028 w 661049"/>
                        <a:gd name="connsiteY352" fmla="*/ 247841 h 453996"/>
                        <a:gd name="connsiteX353" fmla="*/ 343353 w 661049"/>
                        <a:gd name="connsiteY353" fmla="*/ 246705 h 453996"/>
                        <a:gd name="connsiteX354" fmla="*/ 344191 w 661049"/>
                        <a:gd name="connsiteY354" fmla="*/ 247303 h 453996"/>
                        <a:gd name="connsiteX355" fmla="*/ 344250 w 661049"/>
                        <a:gd name="connsiteY355" fmla="*/ 247004 h 453996"/>
                        <a:gd name="connsiteX356" fmla="*/ 344310 w 661049"/>
                        <a:gd name="connsiteY356" fmla="*/ 246705 h 453996"/>
                        <a:gd name="connsiteX357" fmla="*/ 344370 w 661049"/>
                        <a:gd name="connsiteY357" fmla="*/ 246406 h 453996"/>
                        <a:gd name="connsiteX358" fmla="*/ 344430 w 661049"/>
                        <a:gd name="connsiteY358" fmla="*/ 246107 h 453996"/>
                        <a:gd name="connsiteX359" fmla="*/ 343951 w 661049"/>
                        <a:gd name="connsiteY359" fmla="*/ 245748 h 453996"/>
                        <a:gd name="connsiteX360" fmla="*/ 343832 w 661049"/>
                        <a:gd name="connsiteY360" fmla="*/ 245987 h 453996"/>
                        <a:gd name="connsiteX361" fmla="*/ 343712 w 661049"/>
                        <a:gd name="connsiteY361" fmla="*/ 246226 h 453996"/>
                        <a:gd name="connsiteX362" fmla="*/ 343593 w 661049"/>
                        <a:gd name="connsiteY362" fmla="*/ 246466 h 453996"/>
                        <a:gd name="connsiteX363" fmla="*/ 343353 w 661049"/>
                        <a:gd name="connsiteY363" fmla="*/ 246705 h 453996"/>
                        <a:gd name="connsiteX364" fmla="*/ 341619 w 661049"/>
                        <a:gd name="connsiteY364" fmla="*/ 245509 h 453996"/>
                        <a:gd name="connsiteX365" fmla="*/ 342576 w 661049"/>
                        <a:gd name="connsiteY365" fmla="*/ 246167 h 453996"/>
                        <a:gd name="connsiteX366" fmla="*/ 342696 w 661049"/>
                        <a:gd name="connsiteY366" fmla="*/ 245927 h 453996"/>
                        <a:gd name="connsiteX367" fmla="*/ 342815 w 661049"/>
                        <a:gd name="connsiteY367" fmla="*/ 245688 h 453996"/>
                        <a:gd name="connsiteX368" fmla="*/ 342935 w 661049"/>
                        <a:gd name="connsiteY368" fmla="*/ 245449 h 453996"/>
                        <a:gd name="connsiteX369" fmla="*/ 343055 w 661049"/>
                        <a:gd name="connsiteY369" fmla="*/ 245210 h 453996"/>
                        <a:gd name="connsiteX370" fmla="*/ 342097 w 661049"/>
                        <a:gd name="connsiteY370" fmla="*/ 244552 h 453996"/>
                        <a:gd name="connsiteX371" fmla="*/ 341978 w 661049"/>
                        <a:gd name="connsiteY371" fmla="*/ 244791 h 453996"/>
                        <a:gd name="connsiteX372" fmla="*/ 341858 w 661049"/>
                        <a:gd name="connsiteY372" fmla="*/ 245030 h 453996"/>
                        <a:gd name="connsiteX373" fmla="*/ 341739 w 661049"/>
                        <a:gd name="connsiteY373" fmla="*/ 245269 h 453996"/>
                        <a:gd name="connsiteX374" fmla="*/ 341619 w 661049"/>
                        <a:gd name="connsiteY374" fmla="*/ 245509 h 453996"/>
                        <a:gd name="connsiteX375" fmla="*/ 338569 w 661049"/>
                        <a:gd name="connsiteY375" fmla="*/ 243475 h 453996"/>
                        <a:gd name="connsiteX376" fmla="*/ 340842 w 661049"/>
                        <a:gd name="connsiteY376" fmla="*/ 245030 h 453996"/>
                        <a:gd name="connsiteX377" fmla="*/ 340961 w 661049"/>
                        <a:gd name="connsiteY377" fmla="*/ 244791 h 453996"/>
                        <a:gd name="connsiteX378" fmla="*/ 341081 w 661049"/>
                        <a:gd name="connsiteY378" fmla="*/ 244552 h 453996"/>
                        <a:gd name="connsiteX379" fmla="*/ 341201 w 661049"/>
                        <a:gd name="connsiteY379" fmla="*/ 244312 h 453996"/>
                        <a:gd name="connsiteX380" fmla="*/ 341320 w 661049"/>
                        <a:gd name="connsiteY380" fmla="*/ 244073 h 453996"/>
                        <a:gd name="connsiteX381" fmla="*/ 339047 w 661049"/>
                        <a:gd name="connsiteY381" fmla="*/ 242578 h 453996"/>
                        <a:gd name="connsiteX382" fmla="*/ 338928 w 661049"/>
                        <a:gd name="connsiteY382" fmla="*/ 242817 h 453996"/>
                        <a:gd name="connsiteX383" fmla="*/ 338808 w 661049"/>
                        <a:gd name="connsiteY383" fmla="*/ 243057 h 453996"/>
                        <a:gd name="connsiteX384" fmla="*/ 338688 w 661049"/>
                        <a:gd name="connsiteY384" fmla="*/ 243296 h 453996"/>
                        <a:gd name="connsiteX385" fmla="*/ 338569 w 661049"/>
                        <a:gd name="connsiteY385" fmla="*/ 243475 h 453996"/>
                        <a:gd name="connsiteX386" fmla="*/ 336834 w 661049"/>
                        <a:gd name="connsiteY386" fmla="*/ 242339 h 453996"/>
                        <a:gd name="connsiteX387" fmla="*/ 337791 w 661049"/>
                        <a:gd name="connsiteY387" fmla="*/ 242997 h 453996"/>
                        <a:gd name="connsiteX388" fmla="*/ 337911 w 661049"/>
                        <a:gd name="connsiteY388" fmla="*/ 242758 h 453996"/>
                        <a:gd name="connsiteX389" fmla="*/ 338031 w 661049"/>
                        <a:gd name="connsiteY389" fmla="*/ 242518 h 453996"/>
                        <a:gd name="connsiteX390" fmla="*/ 338150 w 661049"/>
                        <a:gd name="connsiteY390" fmla="*/ 242279 h 453996"/>
                        <a:gd name="connsiteX391" fmla="*/ 338270 w 661049"/>
                        <a:gd name="connsiteY391" fmla="*/ 242040 h 453996"/>
                        <a:gd name="connsiteX392" fmla="*/ 337313 w 661049"/>
                        <a:gd name="connsiteY392" fmla="*/ 241382 h 453996"/>
                        <a:gd name="connsiteX393" fmla="*/ 337193 w 661049"/>
                        <a:gd name="connsiteY393" fmla="*/ 241621 h 453996"/>
                        <a:gd name="connsiteX394" fmla="*/ 337074 w 661049"/>
                        <a:gd name="connsiteY394" fmla="*/ 241860 h 453996"/>
                        <a:gd name="connsiteX395" fmla="*/ 336954 w 661049"/>
                        <a:gd name="connsiteY395" fmla="*/ 242099 h 453996"/>
                        <a:gd name="connsiteX396" fmla="*/ 336834 w 661049"/>
                        <a:gd name="connsiteY396" fmla="*/ 242339 h 453996"/>
                        <a:gd name="connsiteX397" fmla="*/ 320926 w 661049"/>
                        <a:gd name="connsiteY397" fmla="*/ 231633 h 453996"/>
                        <a:gd name="connsiteX398" fmla="*/ 336117 w 661049"/>
                        <a:gd name="connsiteY398" fmla="*/ 241860 h 453996"/>
                        <a:gd name="connsiteX399" fmla="*/ 336236 w 661049"/>
                        <a:gd name="connsiteY399" fmla="*/ 241621 h 453996"/>
                        <a:gd name="connsiteX400" fmla="*/ 336356 w 661049"/>
                        <a:gd name="connsiteY400" fmla="*/ 241382 h 453996"/>
                        <a:gd name="connsiteX401" fmla="*/ 336476 w 661049"/>
                        <a:gd name="connsiteY401" fmla="*/ 241143 h 453996"/>
                        <a:gd name="connsiteX402" fmla="*/ 336595 w 661049"/>
                        <a:gd name="connsiteY402" fmla="*/ 240904 h 453996"/>
                        <a:gd name="connsiteX403" fmla="*/ 321584 w 661049"/>
                        <a:gd name="connsiteY403" fmla="*/ 230796 h 453996"/>
                        <a:gd name="connsiteX404" fmla="*/ 320926 w 661049"/>
                        <a:gd name="connsiteY404" fmla="*/ 231633 h 453996"/>
                        <a:gd name="connsiteX405" fmla="*/ 276190 w 661049"/>
                        <a:gd name="connsiteY405" fmla="*/ 201610 h 453996"/>
                        <a:gd name="connsiteX406" fmla="*/ 320148 w 661049"/>
                        <a:gd name="connsiteY406" fmla="*/ 231095 h 453996"/>
                        <a:gd name="connsiteX407" fmla="*/ 320866 w 661049"/>
                        <a:gd name="connsiteY407" fmla="*/ 230198 h 453996"/>
                        <a:gd name="connsiteX408" fmla="*/ 276908 w 661049"/>
                        <a:gd name="connsiteY408" fmla="*/ 200653 h 453996"/>
                        <a:gd name="connsiteX409" fmla="*/ 276190 w 661049"/>
                        <a:gd name="connsiteY409" fmla="*/ 201610 h 453996"/>
                        <a:gd name="connsiteX410" fmla="*/ 262793 w 661049"/>
                        <a:gd name="connsiteY410" fmla="*/ 192639 h 453996"/>
                        <a:gd name="connsiteX411" fmla="*/ 275413 w 661049"/>
                        <a:gd name="connsiteY411" fmla="*/ 201132 h 453996"/>
                        <a:gd name="connsiteX412" fmla="*/ 276130 w 661049"/>
                        <a:gd name="connsiteY412" fmla="*/ 200234 h 453996"/>
                        <a:gd name="connsiteX413" fmla="*/ 263511 w 661049"/>
                        <a:gd name="connsiteY413" fmla="*/ 191742 h 453996"/>
                        <a:gd name="connsiteX414" fmla="*/ 262793 w 661049"/>
                        <a:gd name="connsiteY414" fmla="*/ 192639 h 453996"/>
                        <a:gd name="connsiteX415" fmla="*/ 252387 w 661049"/>
                        <a:gd name="connsiteY415" fmla="*/ 185641 h 453996"/>
                        <a:gd name="connsiteX416" fmla="*/ 262015 w 661049"/>
                        <a:gd name="connsiteY416" fmla="*/ 192101 h 453996"/>
                        <a:gd name="connsiteX417" fmla="*/ 262733 w 661049"/>
                        <a:gd name="connsiteY417" fmla="*/ 191204 h 453996"/>
                        <a:gd name="connsiteX418" fmla="*/ 253104 w 661049"/>
                        <a:gd name="connsiteY418" fmla="*/ 184745 h 453996"/>
                        <a:gd name="connsiteX419" fmla="*/ 252387 w 661049"/>
                        <a:gd name="connsiteY419" fmla="*/ 185641 h 453996"/>
                        <a:gd name="connsiteX420" fmla="*/ 135882 w 661049"/>
                        <a:gd name="connsiteY420" fmla="*/ 107474 h 453996"/>
                        <a:gd name="connsiteX421" fmla="*/ 251609 w 661049"/>
                        <a:gd name="connsiteY421" fmla="*/ 185163 h 453996"/>
                        <a:gd name="connsiteX422" fmla="*/ 252327 w 661049"/>
                        <a:gd name="connsiteY422" fmla="*/ 184266 h 453996"/>
                        <a:gd name="connsiteX423" fmla="*/ 136241 w 661049"/>
                        <a:gd name="connsiteY423" fmla="*/ 106278 h 453996"/>
                        <a:gd name="connsiteX424" fmla="*/ 136181 w 661049"/>
                        <a:gd name="connsiteY424" fmla="*/ 106576 h 453996"/>
                        <a:gd name="connsiteX425" fmla="*/ 136121 w 661049"/>
                        <a:gd name="connsiteY425" fmla="*/ 106875 h 453996"/>
                        <a:gd name="connsiteX426" fmla="*/ 136002 w 661049"/>
                        <a:gd name="connsiteY426" fmla="*/ 107174 h 453996"/>
                        <a:gd name="connsiteX427" fmla="*/ 135882 w 661049"/>
                        <a:gd name="connsiteY427" fmla="*/ 107474 h 453996"/>
                        <a:gd name="connsiteX428" fmla="*/ 133550 w 661049"/>
                        <a:gd name="connsiteY428" fmla="*/ 105919 h 453996"/>
                        <a:gd name="connsiteX429" fmla="*/ 134866 w 661049"/>
                        <a:gd name="connsiteY429" fmla="*/ 106816 h 453996"/>
                        <a:gd name="connsiteX430" fmla="*/ 134985 w 661049"/>
                        <a:gd name="connsiteY430" fmla="*/ 106517 h 453996"/>
                        <a:gd name="connsiteX431" fmla="*/ 135045 w 661049"/>
                        <a:gd name="connsiteY431" fmla="*/ 106218 h 453996"/>
                        <a:gd name="connsiteX432" fmla="*/ 135105 w 661049"/>
                        <a:gd name="connsiteY432" fmla="*/ 105919 h 453996"/>
                        <a:gd name="connsiteX433" fmla="*/ 135165 w 661049"/>
                        <a:gd name="connsiteY433" fmla="*/ 105620 h 453996"/>
                        <a:gd name="connsiteX434" fmla="*/ 133849 w 661049"/>
                        <a:gd name="connsiteY434" fmla="*/ 104722 h 453996"/>
                        <a:gd name="connsiteX435" fmla="*/ 133789 w 661049"/>
                        <a:gd name="connsiteY435" fmla="*/ 105021 h 453996"/>
                        <a:gd name="connsiteX436" fmla="*/ 133729 w 661049"/>
                        <a:gd name="connsiteY436" fmla="*/ 105320 h 453996"/>
                        <a:gd name="connsiteX437" fmla="*/ 133669 w 661049"/>
                        <a:gd name="connsiteY437" fmla="*/ 105620 h 453996"/>
                        <a:gd name="connsiteX438" fmla="*/ 133550 w 661049"/>
                        <a:gd name="connsiteY438" fmla="*/ 105919 h 453996"/>
                        <a:gd name="connsiteX439" fmla="*/ 131397 w 661049"/>
                        <a:gd name="connsiteY439" fmla="*/ 104424 h 453996"/>
                        <a:gd name="connsiteX440" fmla="*/ 132533 w 661049"/>
                        <a:gd name="connsiteY440" fmla="*/ 105201 h 453996"/>
                        <a:gd name="connsiteX441" fmla="*/ 132593 w 661049"/>
                        <a:gd name="connsiteY441" fmla="*/ 104842 h 453996"/>
                        <a:gd name="connsiteX442" fmla="*/ 132652 w 661049"/>
                        <a:gd name="connsiteY442" fmla="*/ 104483 h 453996"/>
                        <a:gd name="connsiteX443" fmla="*/ 132712 w 661049"/>
                        <a:gd name="connsiteY443" fmla="*/ 104125 h 453996"/>
                        <a:gd name="connsiteX444" fmla="*/ 132772 w 661049"/>
                        <a:gd name="connsiteY444" fmla="*/ 103765 h 453996"/>
                        <a:gd name="connsiteX445" fmla="*/ 131995 w 661049"/>
                        <a:gd name="connsiteY445" fmla="*/ 103227 h 453996"/>
                        <a:gd name="connsiteX446" fmla="*/ 131815 w 661049"/>
                        <a:gd name="connsiteY446" fmla="*/ 103466 h 453996"/>
                        <a:gd name="connsiteX447" fmla="*/ 131636 w 661049"/>
                        <a:gd name="connsiteY447" fmla="*/ 103706 h 453996"/>
                        <a:gd name="connsiteX448" fmla="*/ 131457 w 661049"/>
                        <a:gd name="connsiteY448" fmla="*/ 103945 h 453996"/>
                        <a:gd name="connsiteX449" fmla="*/ 131397 w 661049"/>
                        <a:gd name="connsiteY449" fmla="*/ 104424 h 453996"/>
                        <a:gd name="connsiteX450" fmla="*/ 129184 w 661049"/>
                        <a:gd name="connsiteY450" fmla="*/ 102988 h 453996"/>
                        <a:gd name="connsiteX451" fmla="*/ 130380 w 661049"/>
                        <a:gd name="connsiteY451" fmla="*/ 103825 h 453996"/>
                        <a:gd name="connsiteX452" fmla="*/ 130559 w 661049"/>
                        <a:gd name="connsiteY452" fmla="*/ 103586 h 453996"/>
                        <a:gd name="connsiteX453" fmla="*/ 130739 w 661049"/>
                        <a:gd name="connsiteY453" fmla="*/ 103287 h 453996"/>
                        <a:gd name="connsiteX454" fmla="*/ 130918 w 661049"/>
                        <a:gd name="connsiteY454" fmla="*/ 102988 h 453996"/>
                        <a:gd name="connsiteX455" fmla="*/ 131098 w 661049"/>
                        <a:gd name="connsiteY455" fmla="*/ 102689 h 453996"/>
                        <a:gd name="connsiteX456" fmla="*/ 129842 w 661049"/>
                        <a:gd name="connsiteY456" fmla="*/ 101852 h 453996"/>
                        <a:gd name="connsiteX457" fmla="*/ 129662 w 661049"/>
                        <a:gd name="connsiteY457" fmla="*/ 102151 h 453996"/>
                        <a:gd name="connsiteX458" fmla="*/ 129483 w 661049"/>
                        <a:gd name="connsiteY458" fmla="*/ 102450 h 453996"/>
                        <a:gd name="connsiteX459" fmla="*/ 129303 w 661049"/>
                        <a:gd name="connsiteY459" fmla="*/ 102749 h 453996"/>
                        <a:gd name="connsiteX460" fmla="*/ 129184 w 661049"/>
                        <a:gd name="connsiteY460" fmla="*/ 102988 h 453996"/>
                        <a:gd name="connsiteX461" fmla="*/ 125775 w 661049"/>
                        <a:gd name="connsiteY461" fmla="*/ 100656 h 453996"/>
                        <a:gd name="connsiteX462" fmla="*/ 128287 w 661049"/>
                        <a:gd name="connsiteY462" fmla="*/ 102330 h 453996"/>
                        <a:gd name="connsiteX463" fmla="*/ 128466 w 661049"/>
                        <a:gd name="connsiteY463" fmla="*/ 102031 h 453996"/>
                        <a:gd name="connsiteX464" fmla="*/ 128645 w 661049"/>
                        <a:gd name="connsiteY464" fmla="*/ 101732 h 453996"/>
                        <a:gd name="connsiteX465" fmla="*/ 128825 w 661049"/>
                        <a:gd name="connsiteY465" fmla="*/ 101433 h 453996"/>
                        <a:gd name="connsiteX466" fmla="*/ 129004 w 661049"/>
                        <a:gd name="connsiteY466" fmla="*/ 101134 h 453996"/>
                        <a:gd name="connsiteX467" fmla="*/ 126492 w 661049"/>
                        <a:gd name="connsiteY467" fmla="*/ 99459 h 453996"/>
                        <a:gd name="connsiteX468" fmla="*/ 126313 w 661049"/>
                        <a:gd name="connsiteY468" fmla="*/ 99699 h 453996"/>
                        <a:gd name="connsiteX469" fmla="*/ 126134 w 661049"/>
                        <a:gd name="connsiteY469" fmla="*/ 99938 h 453996"/>
                        <a:gd name="connsiteX470" fmla="*/ 125954 w 661049"/>
                        <a:gd name="connsiteY470" fmla="*/ 100177 h 453996"/>
                        <a:gd name="connsiteX471" fmla="*/ 125775 w 661049"/>
                        <a:gd name="connsiteY471" fmla="*/ 100656 h 453996"/>
                        <a:gd name="connsiteX472" fmla="*/ 123622 w 661049"/>
                        <a:gd name="connsiteY472" fmla="*/ 99220 h 453996"/>
                        <a:gd name="connsiteX473" fmla="*/ 124818 w 661049"/>
                        <a:gd name="connsiteY473" fmla="*/ 100057 h 453996"/>
                        <a:gd name="connsiteX474" fmla="*/ 124997 w 661049"/>
                        <a:gd name="connsiteY474" fmla="*/ 99818 h 453996"/>
                        <a:gd name="connsiteX475" fmla="*/ 125176 w 661049"/>
                        <a:gd name="connsiteY475" fmla="*/ 99579 h 453996"/>
                        <a:gd name="connsiteX476" fmla="*/ 125356 w 661049"/>
                        <a:gd name="connsiteY476" fmla="*/ 99340 h 453996"/>
                        <a:gd name="connsiteX477" fmla="*/ 125536 w 661049"/>
                        <a:gd name="connsiteY477" fmla="*/ 99101 h 453996"/>
                        <a:gd name="connsiteX478" fmla="*/ 124339 w 661049"/>
                        <a:gd name="connsiteY478" fmla="*/ 98263 h 453996"/>
                        <a:gd name="connsiteX479" fmla="*/ 124160 w 661049"/>
                        <a:gd name="connsiteY479" fmla="*/ 98562 h 453996"/>
                        <a:gd name="connsiteX480" fmla="*/ 123981 w 661049"/>
                        <a:gd name="connsiteY480" fmla="*/ 98802 h 453996"/>
                        <a:gd name="connsiteX481" fmla="*/ 123801 w 661049"/>
                        <a:gd name="connsiteY481" fmla="*/ 99041 h 453996"/>
                        <a:gd name="connsiteX482" fmla="*/ 123622 w 661049"/>
                        <a:gd name="connsiteY482" fmla="*/ 99220 h 453996"/>
                        <a:gd name="connsiteX483" fmla="*/ 99998 w 661049"/>
                        <a:gd name="connsiteY483" fmla="*/ 83371 h 453996"/>
                        <a:gd name="connsiteX484" fmla="*/ 122665 w 661049"/>
                        <a:gd name="connsiteY484" fmla="*/ 98562 h 453996"/>
                        <a:gd name="connsiteX485" fmla="*/ 122844 w 661049"/>
                        <a:gd name="connsiteY485" fmla="*/ 98263 h 453996"/>
                        <a:gd name="connsiteX486" fmla="*/ 123024 w 661049"/>
                        <a:gd name="connsiteY486" fmla="*/ 97964 h 453996"/>
                        <a:gd name="connsiteX487" fmla="*/ 123203 w 661049"/>
                        <a:gd name="connsiteY487" fmla="*/ 97665 h 453996"/>
                        <a:gd name="connsiteX488" fmla="*/ 123382 w 661049"/>
                        <a:gd name="connsiteY488" fmla="*/ 97366 h 453996"/>
                        <a:gd name="connsiteX489" fmla="*/ 100895 w 661049"/>
                        <a:gd name="connsiteY489" fmla="*/ 82235 h 453996"/>
                        <a:gd name="connsiteX490" fmla="*/ 99998 w 661049"/>
                        <a:gd name="connsiteY490" fmla="*/ 83371 h 453996"/>
                        <a:gd name="connsiteX491" fmla="*/ 42882 w 661049"/>
                        <a:gd name="connsiteY491" fmla="*/ 45035 h 453996"/>
                        <a:gd name="connsiteX492" fmla="*/ 98981 w 661049"/>
                        <a:gd name="connsiteY492" fmla="*/ 82713 h 453996"/>
                        <a:gd name="connsiteX493" fmla="*/ 99758 w 661049"/>
                        <a:gd name="connsiteY493" fmla="*/ 81697 h 453996"/>
                        <a:gd name="connsiteX494" fmla="*/ 43660 w 661049"/>
                        <a:gd name="connsiteY494" fmla="*/ 44018 h 453996"/>
                        <a:gd name="connsiteX495" fmla="*/ 42882 w 661049"/>
                        <a:gd name="connsiteY495" fmla="*/ 45035 h 453996"/>
                        <a:gd name="connsiteX496" fmla="*/ 25658 w 661049"/>
                        <a:gd name="connsiteY496" fmla="*/ 33492 h 453996"/>
                        <a:gd name="connsiteX497" fmla="*/ 41865 w 661049"/>
                        <a:gd name="connsiteY497" fmla="*/ 44377 h 453996"/>
                        <a:gd name="connsiteX498" fmla="*/ 42702 w 661049"/>
                        <a:gd name="connsiteY498" fmla="*/ 43360 h 453996"/>
                        <a:gd name="connsiteX499" fmla="*/ 26495 w 661049"/>
                        <a:gd name="connsiteY499" fmla="*/ 32475 h 453996"/>
                        <a:gd name="connsiteX500" fmla="*/ 25658 w 661049"/>
                        <a:gd name="connsiteY500" fmla="*/ 33492 h 453996"/>
                        <a:gd name="connsiteX501" fmla="*/ 12320 w 661049"/>
                        <a:gd name="connsiteY501" fmla="*/ 24521 h 453996"/>
                        <a:gd name="connsiteX502" fmla="*/ 24641 w 661049"/>
                        <a:gd name="connsiteY502" fmla="*/ 32774 h 453996"/>
                        <a:gd name="connsiteX503" fmla="*/ 25478 w 661049"/>
                        <a:gd name="connsiteY503" fmla="*/ 31758 h 453996"/>
                        <a:gd name="connsiteX504" fmla="*/ 13158 w 661049"/>
                        <a:gd name="connsiteY504" fmla="*/ 23504 h 453996"/>
                        <a:gd name="connsiteX505" fmla="*/ 12320 w 661049"/>
                        <a:gd name="connsiteY505" fmla="*/ 24521 h 453996"/>
                        <a:gd name="connsiteX506" fmla="*/ 0 w 661049"/>
                        <a:gd name="connsiteY506" fmla="*/ 16268 h 453996"/>
                        <a:gd name="connsiteX507" fmla="*/ 11304 w 661049"/>
                        <a:gd name="connsiteY507" fmla="*/ 23863 h 453996"/>
                        <a:gd name="connsiteX508" fmla="*/ 12141 w 661049"/>
                        <a:gd name="connsiteY508" fmla="*/ 22846 h 453996"/>
                        <a:gd name="connsiteX509" fmla="*/ 1854 w 661049"/>
                        <a:gd name="connsiteY509" fmla="*/ 15909 h 453996"/>
                        <a:gd name="connsiteX510" fmla="*/ 4306 w 661049"/>
                        <a:gd name="connsiteY510" fmla="*/ 12799 h 453996"/>
                        <a:gd name="connsiteX511" fmla="*/ 3290 w 661049"/>
                        <a:gd name="connsiteY511" fmla="*/ 12141 h 453996"/>
                        <a:gd name="connsiteX512" fmla="*/ 0 w 661049"/>
                        <a:gd name="connsiteY512" fmla="*/ 16268 h 45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Lst>
                      <a:rect l="l" t="t" r="r" b="b"/>
                      <a:pathLst>
                        <a:path w="661049" h="453996">
                          <a:moveTo>
                            <a:pt x="630009" y="422777"/>
                          </a:moveTo>
                          <a:lnTo>
                            <a:pt x="630907" y="423375"/>
                          </a:lnTo>
                          <a:cubicBezTo>
                            <a:pt x="630907" y="423316"/>
                            <a:pt x="630907" y="423196"/>
                            <a:pt x="630966" y="423136"/>
                          </a:cubicBezTo>
                          <a:cubicBezTo>
                            <a:pt x="630966" y="423076"/>
                            <a:pt x="630966" y="422957"/>
                            <a:pt x="631026" y="422897"/>
                          </a:cubicBezTo>
                          <a:cubicBezTo>
                            <a:pt x="631026" y="422837"/>
                            <a:pt x="631026" y="422717"/>
                            <a:pt x="631086" y="422657"/>
                          </a:cubicBezTo>
                          <a:cubicBezTo>
                            <a:pt x="631086" y="422598"/>
                            <a:pt x="631086" y="422478"/>
                            <a:pt x="631146" y="422418"/>
                          </a:cubicBezTo>
                          <a:lnTo>
                            <a:pt x="630249" y="421761"/>
                          </a:lnTo>
                          <a:cubicBezTo>
                            <a:pt x="630249" y="421820"/>
                            <a:pt x="630249" y="421940"/>
                            <a:pt x="630249" y="422000"/>
                          </a:cubicBezTo>
                          <a:cubicBezTo>
                            <a:pt x="630249" y="422060"/>
                            <a:pt x="630249" y="422179"/>
                            <a:pt x="630249" y="422239"/>
                          </a:cubicBezTo>
                          <a:cubicBezTo>
                            <a:pt x="630249" y="422299"/>
                            <a:pt x="630249" y="422418"/>
                            <a:pt x="630249" y="422478"/>
                          </a:cubicBezTo>
                          <a:cubicBezTo>
                            <a:pt x="630249" y="422538"/>
                            <a:pt x="630249" y="422657"/>
                            <a:pt x="630249" y="422717"/>
                          </a:cubicBezTo>
                          <a:cubicBezTo>
                            <a:pt x="630249" y="422717"/>
                            <a:pt x="630249" y="422717"/>
                            <a:pt x="630249" y="422717"/>
                          </a:cubicBezTo>
                          <a:cubicBezTo>
                            <a:pt x="630009" y="422717"/>
                            <a:pt x="630009" y="422717"/>
                            <a:pt x="630009" y="422777"/>
                          </a:cubicBezTo>
                          <a:cubicBezTo>
                            <a:pt x="630009" y="422777"/>
                            <a:pt x="630009" y="422777"/>
                            <a:pt x="630009" y="422777"/>
                          </a:cubicBezTo>
                          <a:cubicBezTo>
                            <a:pt x="630009" y="422777"/>
                            <a:pt x="630009" y="422777"/>
                            <a:pt x="630009" y="422777"/>
                          </a:cubicBezTo>
                          <a:moveTo>
                            <a:pt x="627498" y="421103"/>
                          </a:moveTo>
                          <a:lnTo>
                            <a:pt x="629352" y="422359"/>
                          </a:lnTo>
                          <a:cubicBezTo>
                            <a:pt x="629352" y="422239"/>
                            <a:pt x="629352" y="422179"/>
                            <a:pt x="629352" y="422060"/>
                          </a:cubicBezTo>
                          <a:cubicBezTo>
                            <a:pt x="629352" y="421940"/>
                            <a:pt x="629352" y="421880"/>
                            <a:pt x="629352" y="421761"/>
                          </a:cubicBezTo>
                          <a:cubicBezTo>
                            <a:pt x="629352" y="421641"/>
                            <a:pt x="629352" y="421581"/>
                            <a:pt x="629352" y="421462"/>
                          </a:cubicBezTo>
                          <a:cubicBezTo>
                            <a:pt x="629352" y="421342"/>
                            <a:pt x="629352" y="421282"/>
                            <a:pt x="629352" y="421162"/>
                          </a:cubicBezTo>
                          <a:lnTo>
                            <a:pt x="627318" y="419787"/>
                          </a:lnTo>
                          <a:cubicBezTo>
                            <a:pt x="627318" y="419907"/>
                            <a:pt x="627378" y="419966"/>
                            <a:pt x="627378" y="420086"/>
                          </a:cubicBezTo>
                          <a:cubicBezTo>
                            <a:pt x="627378" y="420206"/>
                            <a:pt x="627378" y="420265"/>
                            <a:pt x="627438" y="420385"/>
                          </a:cubicBezTo>
                          <a:cubicBezTo>
                            <a:pt x="627438" y="420505"/>
                            <a:pt x="627438" y="420564"/>
                            <a:pt x="627438" y="420684"/>
                          </a:cubicBezTo>
                          <a:cubicBezTo>
                            <a:pt x="627438" y="420863"/>
                            <a:pt x="627438" y="420983"/>
                            <a:pt x="627498" y="421103"/>
                          </a:cubicBezTo>
                          <a:moveTo>
                            <a:pt x="625344" y="419608"/>
                          </a:moveTo>
                          <a:lnTo>
                            <a:pt x="626660" y="420505"/>
                          </a:lnTo>
                          <a:cubicBezTo>
                            <a:pt x="626660" y="420385"/>
                            <a:pt x="626600" y="420265"/>
                            <a:pt x="626600" y="420146"/>
                          </a:cubicBezTo>
                          <a:cubicBezTo>
                            <a:pt x="626600" y="420026"/>
                            <a:pt x="626541" y="419907"/>
                            <a:pt x="626541" y="419847"/>
                          </a:cubicBezTo>
                          <a:cubicBezTo>
                            <a:pt x="626541" y="419727"/>
                            <a:pt x="626481" y="419608"/>
                            <a:pt x="626481" y="419548"/>
                          </a:cubicBezTo>
                          <a:cubicBezTo>
                            <a:pt x="626481" y="419428"/>
                            <a:pt x="626421" y="419308"/>
                            <a:pt x="626421" y="419248"/>
                          </a:cubicBezTo>
                          <a:lnTo>
                            <a:pt x="624866" y="418172"/>
                          </a:lnTo>
                          <a:cubicBezTo>
                            <a:pt x="624926" y="418292"/>
                            <a:pt x="624986" y="418411"/>
                            <a:pt x="625045" y="418531"/>
                          </a:cubicBezTo>
                          <a:cubicBezTo>
                            <a:pt x="625105" y="418651"/>
                            <a:pt x="625165" y="418770"/>
                            <a:pt x="625165" y="418890"/>
                          </a:cubicBezTo>
                          <a:cubicBezTo>
                            <a:pt x="625225" y="419009"/>
                            <a:pt x="625225" y="419129"/>
                            <a:pt x="625285" y="419248"/>
                          </a:cubicBezTo>
                          <a:cubicBezTo>
                            <a:pt x="625285" y="419368"/>
                            <a:pt x="625285" y="419488"/>
                            <a:pt x="625344" y="419608"/>
                          </a:cubicBezTo>
                          <a:moveTo>
                            <a:pt x="623012" y="418053"/>
                          </a:moveTo>
                          <a:lnTo>
                            <a:pt x="624089" y="418770"/>
                          </a:lnTo>
                          <a:cubicBezTo>
                            <a:pt x="624029" y="418591"/>
                            <a:pt x="623969" y="418471"/>
                            <a:pt x="623909" y="418292"/>
                          </a:cubicBezTo>
                          <a:cubicBezTo>
                            <a:pt x="623849" y="418172"/>
                            <a:pt x="623790" y="417993"/>
                            <a:pt x="623670" y="417873"/>
                          </a:cubicBezTo>
                          <a:cubicBezTo>
                            <a:pt x="623610" y="417753"/>
                            <a:pt x="623490" y="417574"/>
                            <a:pt x="623431" y="417454"/>
                          </a:cubicBezTo>
                          <a:cubicBezTo>
                            <a:pt x="623371" y="417335"/>
                            <a:pt x="623251" y="417155"/>
                            <a:pt x="623132" y="417036"/>
                          </a:cubicBezTo>
                          <a:lnTo>
                            <a:pt x="618168" y="413627"/>
                          </a:lnTo>
                          <a:lnTo>
                            <a:pt x="617988" y="413866"/>
                          </a:lnTo>
                          <a:cubicBezTo>
                            <a:pt x="618467" y="414225"/>
                            <a:pt x="618945" y="414584"/>
                            <a:pt x="619364" y="414942"/>
                          </a:cubicBezTo>
                          <a:cubicBezTo>
                            <a:pt x="619842" y="415301"/>
                            <a:pt x="620261" y="415660"/>
                            <a:pt x="620680" y="416019"/>
                          </a:cubicBezTo>
                          <a:cubicBezTo>
                            <a:pt x="621098" y="416378"/>
                            <a:pt x="621517" y="416737"/>
                            <a:pt x="621876" y="417036"/>
                          </a:cubicBezTo>
                          <a:cubicBezTo>
                            <a:pt x="622294" y="417394"/>
                            <a:pt x="622653" y="417694"/>
                            <a:pt x="623012" y="418053"/>
                          </a:cubicBezTo>
                          <a:moveTo>
                            <a:pt x="586888" y="393412"/>
                          </a:moveTo>
                          <a:lnTo>
                            <a:pt x="613742" y="411713"/>
                          </a:lnTo>
                          <a:lnTo>
                            <a:pt x="614220" y="411115"/>
                          </a:lnTo>
                          <a:lnTo>
                            <a:pt x="614460" y="411294"/>
                          </a:lnTo>
                          <a:cubicBezTo>
                            <a:pt x="614759" y="411474"/>
                            <a:pt x="614998" y="411653"/>
                            <a:pt x="615237" y="411832"/>
                          </a:cubicBezTo>
                          <a:cubicBezTo>
                            <a:pt x="615476" y="412012"/>
                            <a:pt x="615775" y="412191"/>
                            <a:pt x="616014" y="412371"/>
                          </a:cubicBezTo>
                          <a:cubicBezTo>
                            <a:pt x="616254" y="412550"/>
                            <a:pt x="616493" y="412730"/>
                            <a:pt x="616792" y="412909"/>
                          </a:cubicBezTo>
                          <a:cubicBezTo>
                            <a:pt x="617031" y="413088"/>
                            <a:pt x="617271" y="413268"/>
                            <a:pt x="617510" y="413447"/>
                          </a:cubicBezTo>
                          <a:lnTo>
                            <a:pt x="617689" y="413208"/>
                          </a:lnTo>
                          <a:lnTo>
                            <a:pt x="587546" y="392575"/>
                          </a:lnTo>
                          <a:lnTo>
                            <a:pt x="586888" y="393412"/>
                          </a:lnTo>
                          <a:moveTo>
                            <a:pt x="577738" y="387132"/>
                          </a:moveTo>
                          <a:lnTo>
                            <a:pt x="586410" y="393053"/>
                          </a:lnTo>
                          <a:lnTo>
                            <a:pt x="587008" y="392276"/>
                          </a:lnTo>
                          <a:lnTo>
                            <a:pt x="578396" y="386354"/>
                          </a:lnTo>
                          <a:lnTo>
                            <a:pt x="577738" y="387132"/>
                          </a:lnTo>
                          <a:moveTo>
                            <a:pt x="570681" y="382288"/>
                          </a:moveTo>
                          <a:lnTo>
                            <a:pt x="577200" y="386773"/>
                          </a:lnTo>
                          <a:lnTo>
                            <a:pt x="577798" y="385996"/>
                          </a:lnTo>
                          <a:lnTo>
                            <a:pt x="571279" y="381510"/>
                          </a:lnTo>
                          <a:lnTo>
                            <a:pt x="570681" y="382288"/>
                          </a:lnTo>
                          <a:moveTo>
                            <a:pt x="348497" y="230617"/>
                          </a:moveTo>
                          <a:lnTo>
                            <a:pt x="570142" y="381869"/>
                          </a:lnTo>
                          <a:lnTo>
                            <a:pt x="570740" y="381092"/>
                          </a:lnTo>
                          <a:lnTo>
                            <a:pt x="348557" y="229241"/>
                          </a:lnTo>
                          <a:cubicBezTo>
                            <a:pt x="348557" y="229241"/>
                            <a:pt x="348557" y="229241"/>
                            <a:pt x="348557" y="229241"/>
                          </a:cubicBezTo>
                          <a:cubicBezTo>
                            <a:pt x="348557" y="229241"/>
                            <a:pt x="348557" y="229241"/>
                            <a:pt x="348557" y="229241"/>
                          </a:cubicBezTo>
                          <a:cubicBezTo>
                            <a:pt x="348557" y="229241"/>
                            <a:pt x="348557" y="229241"/>
                            <a:pt x="348557" y="229241"/>
                          </a:cubicBezTo>
                          <a:cubicBezTo>
                            <a:pt x="348557" y="229241"/>
                            <a:pt x="348557" y="229241"/>
                            <a:pt x="348557" y="229241"/>
                          </a:cubicBezTo>
                          <a:cubicBezTo>
                            <a:pt x="348557" y="229361"/>
                            <a:pt x="348557" y="229480"/>
                            <a:pt x="348557" y="229540"/>
                          </a:cubicBezTo>
                          <a:cubicBezTo>
                            <a:pt x="348557" y="229660"/>
                            <a:pt x="348557" y="229779"/>
                            <a:pt x="348557" y="229839"/>
                          </a:cubicBezTo>
                          <a:cubicBezTo>
                            <a:pt x="348557" y="229899"/>
                            <a:pt x="348557" y="230079"/>
                            <a:pt x="348557" y="230138"/>
                          </a:cubicBezTo>
                          <a:cubicBezTo>
                            <a:pt x="348497" y="230437"/>
                            <a:pt x="348497" y="230557"/>
                            <a:pt x="348497" y="230617"/>
                          </a:cubicBezTo>
                          <a:moveTo>
                            <a:pt x="346164" y="229062"/>
                          </a:moveTo>
                          <a:lnTo>
                            <a:pt x="347480" y="229959"/>
                          </a:lnTo>
                          <a:cubicBezTo>
                            <a:pt x="347480" y="229959"/>
                            <a:pt x="347480" y="229899"/>
                            <a:pt x="347480" y="229899"/>
                          </a:cubicBezTo>
                          <a:cubicBezTo>
                            <a:pt x="347480" y="229899"/>
                            <a:pt x="347480" y="229839"/>
                            <a:pt x="347480" y="229839"/>
                          </a:cubicBezTo>
                          <a:cubicBezTo>
                            <a:pt x="347480" y="229839"/>
                            <a:pt x="347480" y="229779"/>
                            <a:pt x="347480" y="229779"/>
                          </a:cubicBezTo>
                          <a:cubicBezTo>
                            <a:pt x="347480" y="229779"/>
                            <a:pt x="347480" y="229720"/>
                            <a:pt x="347480" y="229720"/>
                          </a:cubicBezTo>
                          <a:cubicBezTo>
                            <a:pt x="347480" y="229660"/>
                            <a:pt x="347480" y="229540"/>
                            <a:pt x="347480" y="229480"/>
                          </a:cubicBezTo>
                          <a:cubicBezTo>
                            <a:pt x="347480" y="229420"/>
                            <a:pt x="347480" y="229301"/>
                            <a:pt x="347480" y="229241"/>
                          </a:cubicBezTo>
                          <a:cubicBezTo>
                            <a:pt x="347480" y="229181"/>
                            <a:pt x="347480" y="229062"/>
                            <a:pt x="347480" y="229002"/>
                          </a:cubicBezTo>
                          <a:cubicBezTo>
                            <a:pt x="347480" y="228942"/>
                            <a:pt x="347480" y="228822"/>
                            <a:pt x="347480" y="228763"/>
                          </a:cubicBezTo>
                          <a:lnTo>
                            <a:pt x="346104" y="227806"/>
                          </a:lnTo>
                          <a:cubicBezTo>
                            <a:pt x="346104" y="227925"/>
                            <a:pt x="346104" y="228045"/>
                            <a:pt x="346164" y="228165"/>
                          </a:cubicBezTo>
                          <a:cubicBezTo>
                            <a:pt x="346164" y="228284"/>
                            <a:pt x="346164" y="228404"/>
                            <a:pt x="346224" y="228523"/>
                          </a:cubicBezTo>
                          <a:cubicBezTo>
                            <a:pt x="346224" y="228643"/>
                            <a:pt x="346224" y="228763"/>
                            <a:pt x="346224" y="228882"/>
                          </a:cubicBezTo>
                          <a:cubicBezTo>
                            <a:pt x="346224" y="229002"/>
                            <a:pt x="346164" y="228942"/>
                            <a:pt x="346164" y="229062"/>
                          </a:cubicBezTo>
                          <a:moveTo>
                            <a:pt x="342217" y="226370"/>
                          </a:moveTo>
                          <a:lnTo>
                            <a:pt x="345088" y="228344"/>
                          </a:lnTo>
                          <a:cubicBezTo>
                            <a:pt x="345088" y="228225"/>
                            <a:pt x="345088" y="228105"/>
                            <a:pt x="345028" y="227985"/>
                          </a:cubicBezTo>
                          <a:cubicBezTo>
                            <a:pt x="345028" y="227865"/>
                            <a:pt x="345028" y="227746"/>
                            <a:pt x="344968" y="227626"/>
                          </a:cubicBezTo>
                          <a:cubicBezTo>
                            <a:pt x="344968" y="227507"/>
                            <a:pt x="344909" y="227387"/>
                            <a:pt x="344909" y="227267"/>
                          </a:cubicBezTo>
                          <a:cubicBezTo>
                            <a:pt x="344909" y="227148"/>
                            <a:pt x="344849" y="227028"/>
                            <a:pt x="344849" y="226909"/>
                          </a:cubicBezTo>
                          <a:lnTo>
                            <a:pt x="341739" y="224756"/>
                          </a:lnTo>
                          <a:cubicBezTo>
                            <a:pt x="341798" y="224875"/>
                            <a:pt x="341798" y="225055"/>
                            <a:pt x="341858" y="225174"/>
                          </a:cubicBezTo>
                          <a:cubicBezTo>
                            <a:pt x="341918" y="225294"/>
                            <a:pt x="341918" y="225473"/>
                            <a:pt x="341978" y="225593"/>
                          </a:cubicBezTo>
                          <a:cubicBezTo>
                            <a:pt x="342038" y="225712"/>
                            <a:pt x="342038" y="225892"/>
                            <a:pt x="342097" y="226011"/>
                          </a:cubicBezTo>
                          <a:cubicBezTo>
                            <a:pt x="342157" y="226071"/>
                            <a:pt x="342157" y="226251"/>
                            <a:pt x="342217" y="226370"/>
                          </a:cubicBezTo>
                          <a:moveTo>
                            <a:pt x="338868" y="224098"/>
                          </a:moveTo>
                          <a:lnTo>
                            <a:pt x="340842" y="225473"/>
                          </a:lnTo>
                          <a:cubicBezTo>
                            <a:pt x="340782" y="225294"/>
                            <a:pt x="340722" y="225174"/>
                            <a:pt x="340722" y="224995"/>
                          </a:cubicBezTo>
                          <a:cubicBezTo>
                            <a:pt x="340662" y="224815"/>
                            <a:pt x="340602" y="224696"/>
                            <a:pt x="340542" y="224516"/>
                          </a:cubicBezTo>
                          <a:cubicBezTo>
                            <a:pt x="340482" y="224397"/>
                            <a:pt x="340423" y="224217"/>
                            <a:pt x="340363" y="224098"/>
                          </a:cubicBezTo>
                          <a:cubicBezTo>
                            <a:pt x="340303" y="223978"/>
                            <a:pt x="340243" y="223798"/>
                            <a:pt x="340184" y="223679"/>
                          </a:cubicBezTo>
                          <a:lnTo>
                            <a:pt x="337791" y="222064"/>
                          </a:lnTo>
                          <a:cubicBezTo>
                            <a:pt x="337911" y="222244"/>
                            <a:pt x="337971" y="222423"/>
                            <a:pt x="338090" y="222603"/>
                          </a:cubicBezTo>
                          <a:cubicBezTo>
                            <a:pt x="338210" y="222782"/>
                            <a:pt x="338270" y="222961"/>
                            <a:pt x="338389" y="223141"/>
                          </a:cubicBezTo>
                          <a:cubicBezTo>
                            <a:pt x="338449" y="223320"/>
                            <a:pt x="338569" y="223500"/>
                            <a:pt x="338628" y="223679"/>
                          </a:cubicBezTo>
                          <a:cubicBezTo>
                            <a:pt x="338748" y="223739"/>
                            <a:pt x="338808" y="223918"/>
                            <a:pt x="338868" y="224098"/>
                          </a:cubicBezTo>
                          <a:moveTo>
                            <a:pt x="335100" y="221526"/>
                          </a:moveTo>
                          <a:lnTo>
                            <a:pt x="337014" y="222842"/>
                          </a:lnTo>
                          <a:cubicBezTo>
                            <a:pt x="336894" y="222662"/>
                            <a:pt x="336774" y="222423"/>
                            <a:pt x="336655" y="222244"/>
                          </a:cubicBezTo>
                          <a:cubicBezTo>
                            <a:pt x="336535" y="222064"/>
                            <a:pt x="336416" y="221825"/>
                            <a:pt x="336236" y="221646"/>
                          </a:cubicBezTo>
                          <a:cubicBezTo>
                            <a:pt x="336117" y="221466"/>
                            <a:pt x="335937" y="221227"/>
                            <a:pt x="335818" y="221048"/>
                          </a:cubicBezTo>
                          <a:cubicBezTo>
                            <a:pt x="335698" y="220868"/>
                            <a:pt x="335519" y="220629"/>
                            <a:pt x="335339" y="220449"/>
                          </a:cubicBezTo>
                          <a:lnTo>
                            <a:pt x="331751" y="217997"/>
                          </a:lnTo>
                          <a:lnTo>
                            <a:pt x="331332" y="218476"/>
                          </a:lnTo>
                          <a:cubicBezTo>
                            <a:pt x="331691" y="218715"/>
                            <a:pt x="331990" y="219014"/>
                            <a:pt x="332289" y="219253"/>
                          </a:cubicBezTo>
                          <a:cubicBezTo>
                            <a:pt x="332588" y="219493"/>
                            <a:pt x="332947" y="219792"/>
                            <a:pt x="333246" y="220031"/>
                          </a:cubicBezTo>
                          <a:cubicBezTo>
                            <a:pt x="333545" y="220270"/>
                            <a:pt x="333844" y="220569"/>
                            <a:pt x="334143" y="220808"/>
                          </a:cubicBezTo>
                          <a:cubicBezTo>
                            <a:pt x="334502" y="220988"/>
                            <a:pt x="334801" y="221287"/>
                            <a:pt x="335100" y="221526"/>
                          </a:cubicBezTo>
                          <a:moveTo>
                            <a:pt x="286656" y="188453"/>
                          </a:moveTo>
                          <a:lnTo>
                            <a:pt x="321643" y="212316"/>
                          </a:lnTo>
                          <a:lnTo>
                            <a:pt x="322181" y="211598"/>
                          </a:lnTo>
                          <a:lnTo>
                            <a:pt x="322600" y="211837"/>
                          </a:lnTo>
                          <a:cubicBezTo>
                            <a:pt x="323318" y="212375"/>
                            <a:pt x="324095" y="212854"/>
                            <a:pt x="324813" y="213332"/>
                          </a:cubicBezTo>
                          <a:cubicBezTo>
                            <a:pt x="325531" y="213811"/>
                            <a:pt x="326189" y="214349"/>
                            <a:pt x="326907" y="214827"/>
                          </a:cubicBezTo>
                          <a:cubicBezTo>
                            <a:pt x="327564" y="215306"/>
                            <a:pt x="328222" y="215785"/>
                            <a:pt x="328880" y="216323"/>
                          </a:cubicBezTo>
                          <a:cubicBezTo>
                            <a:pt x="329538" y="216801"/>
                            <a:pt x="330136" y="217280"/>
                            <a:pt x="330734" y="217758"/>
                          </a:cubicBezTo>
                          <a:lnTo>
                            <a:pt x="331093" y="217340"/>
                          </a:lnTo>
                          <a:lnTo>
                            <a:pt x="287434" y="187495"/>
                          </a:lnTo>
                          <a:lnTo>
                            <a:pt x="286656" y="188453"/>
                          </a:lnTo>
                          <a:moveTo>
                            <a:pt x="273259" y="179302"/>
                          </a:moveTo>
                          <a:lnTo>
                            <a:pt x="285819" y="187914"/>
                          </a:lnTo>
                          <a:lnTo>
                            <a:pt x="286537" y="187017"/>
                          </a:lnTo>
                          <a:lnTo>
                            <a:pt x="273977" y="178405"/>
                          </a:lnTo>
                          <a:lnTo>
                            <a:pt x="273259" y="179302"/>
                          </a:lnTo>
                          <a:moveTo>
                            <a:pt x="262913" y="172245"/>
                          </a:moveTo>
                          <a:lnTo>
                            <a:pt x="272482" y="178764"/>
                          </a:lnTo>
                          <a:lnTo>
                            <a:pt x="273199" y="177867"/>
                          </a:lnTo>
                          <a:lnTo>
                            <a:pt x="263630" y="171348"/>
                          </a:lnTo>
                          <a:lnTo>
                            <a:pt x="262913" y="172245"/>
                          </a:lnTo>
                          <a:moveTo>
                            <a:pt x="137437" y="86601"/>
                          </a:moveTo>
                          <a:lnTo>
                            <a:pt x="262195" y="171767"/>
                          </a:lnTo>
                          <a:lnTo>
                            <a:pt x="262913" y="170869"/>
                          </a:lnTo>
                          <a:lnTo>
                            <a:pt x="137437" y="85106"/>
                          </a:lnTo>
                          <a:cubicBezTo>
                            <a:pt x="137437" y="85225"/>
                            <a:pt x="137437" y="85345"/>
                            <a:pt x="137437" y="85464"/>
                          </a:cubicBezTo>
                          <a:cubicBezTo>
                            <a:pt x="137437" y="85584"/>
                            <a:pt x="137437" y="85704"/>
                            <a:pt x="137437" y="85823"/>
                          </a:cubicBezTo>
                          <a:cubicBezTo>
                            <a:pt x="137437" y="85943"/>
                            <a:pt x="137437" y="86063"/>
                            <a:pt x="137437" y="86182"/>
                          </a:cubicBezTo>
                          <a:cubicBezTo>
                            <a:pt x="137437" y="86302"/>
                            <a:pt x="137437" y="86421"/>
                            <a:pt x="137437" y="86601"/>
                          </a:cubicBezTo>
                          <a:moveTo>
                            <a:pt x="134566" y="84627"/>
                          </a:moveTo>
                          <a:lnTo>
                            <a:pt x="136181" y="85764"/>
                          </a:lnTo>
                          <a:cubicBezTo>
                            <a:pt x="136181" y="85644"/>
                            <a:pt x="136181" y="85584"/>
                            <a:pt x="136181" y="85464"/>
                          </a:cubicBezTo>
                          <a:cubicBezTo>
                            <a:pt x="136181" y="85345"/>
                            <a:pt x="136181" y="85285"/>
                            <a:pt x="136181" y="85165"/>
                          </a:cubicBezTo>
                          <a:cubicBezTo>
                            <a:pt x="136181" y="85046"/>
                            <a:pt x="136181" y="84986"/>
                            <a:pt x="136181" y="84866"/>
                          </a:cubicBezTo>
                          <a:cubicBezTo>
                            <a:pt x="136181" y="84747"/>
                            <a:pt x="136181" y="84687"/>
                            <a:pt x="136181" y="84567"/>
                          </a:cubicBezTo>
                          <a:cubicBezTo>
                            <a:pt x="136181" y="84508"/>
                            <a:pt x="136181" y="84508"/>
                            <a:pt x="136181" y="84448"/>
                          </a:cubicBezTo>
                          <a:cubicBezTo>
                            <a:pt x="136181" y="84388"/>
                            <a:pt x="136181" y="84388"/>
                            <a:pt x="136181" y="84328"/>
                          </a:cubicBezTo>
                          <a:cubicBezTo>
                            <a:pt x="136181" y="84269"/>
                            <a:pt x="136181" y="84269"/>
                            <a:pt x="136181" y="84209"/>
                          </a:cubicBezTo>
                          <a:cubicBezTo>
                            <a:pt x="136181" y="84149"/>
                            <a:pt x="136181" y="84149"/>
                            <a:pt x="136181" y="84089"/>
                          </a:cubicBezTo>
                          <a:lnTo>
                            <a:pt x="134447" y="82893"/>
                          </a:lnTo>
                          <a:cubicBezTo>
                            <a:pt x="134447" y="83012"/>
                            <a:pt x="134507" y="83192"/>
                            <a:pt x="134507" y="83311"/>
                          </a:cubicBezTo>
                          <a:cubicBezTo>
                            <a:pt x="134507" y="83431"/>
                            <a:pt x="134507" y="83610"/>
                            <a:pt x="134566" y="83730"/>
                          </a:cubicBezTo>
                          <a:cubicBezTo>
                            <a:pt x="134626" y="83850"/>
                            <a:pt x="134566" y="84029"/>
                            <a:pt x="134626" y="84149"/>
                          </a:cubicBezTo>
                          <a:cubicBezTo>
                            <a:pt x="134566" y="84388"/>
                            <a:pt x="134566" y="84508"/>
                            <a:pt x="134566" y="84627"/>
                          </a:cubicBezTo>
                          <a:moveTo>
                            <a:pt x="129901" y="81457"/>
                          </a:moveTo>
                          <a:lnTo>
                            <a:pt x="133311" y="83790"/>
                          </a:lnTo>
                          <a:cubicBezTo>
                            <a:pt x="133311" y="83670"/>
                            <a:pt x="133251" y="83491"/>
                            <a:pt x="133251" y="83371"/>
                          </a:cubicBezTo>
                          <a:cubicBezTo>
                            <a:pt x="133251" y="83252"/>
                            <a:pt x="133191" y="83072"/>
                            <a:pt x="133191" y="82953"/>
                          </a:cubicBezTo>
                          <a:cubicBezTo>
                            <a:pt x="133191" y="82833"/>
                            <a:pt x="133131" y="82654"/>
                            <a:pt x="133131" y="82534"/>
                          </a:cubicBezTo>
                          <a:cubicBezTo>
                            <a:pt x="133131" y="82415"/>
                            <a:pt x="133071" y="82235"/>
                            <a:pt x="133071" y="82115"/>
                          </a:cubicBezTo>
                          <a:lnTo>
                            <a:pt x="129363" y="79544"/>
                          </a:lnTo>
                          <a:cubicBezTo>
                            <a:pt x="129423" y="79723"/>
                            <a:pt x="129483" y="79842"/>
                            <a:pt x="129543" y="80022"/>
                          </a:cubicBezTo>
                          <a:cubicBezTo>
                            <a:pt x="129603" y="80202"/>
                            <a:pt x="129662" y="80321"/>
                            <a:pt x="129662" y="80501"/>
                          </a:cubicBezTo>
                          <a:cubicBezTo>
                            <a:pt x="129722" y="80680"/>
                            <a:pt x="129782" y="80800"/>
                            <a:pt x="129782" y="80979"/>
                          </a:cubicBezTo>
                          <a:cubicBezTo>
                            <a:pt x="129842" y="81158"/>
                            <a:pt x="129842" y="81278"/>
                            <a:pt x="129901" y="81457"/>
                          </a:cubicBezTo>
                          <a:moveTo>
                            <a:pt x="125895" y="78706"/>
                          </a:moveTo>
                          <a:lnTo>
                            <a:pt x="128346" y="80381"/>
                          </a:lnTo>
                          <a:cubicBezTo>
                            <a:pt x="128287" y="80202"/>
                            <a:pt x="128227" y="80022"/>
                            <a:pt x="128167" y="79842"/>
                          </a:cubicBezTo>
                          <a:cubicBezTo>
                            <a:pt x="128107" y="79663"/>
                            <a:pt x="128047" y="79484"/>
                            <a:pt x="127988" y="79304"/>
                          </a:cubicBezTo>
                          <a:cubicBezTo>
                            <a:pt x="127928" y="79125"/>
                            <a:pt x="127868" y="78946"/>
                            <a:pt x="127749" y="78766"/>
                          </a:cubicBezTo>
                          <a:cubicBezTo>
                            <a:pt x="127689" y="78587"/>
                            <a:pt x="127569" y="78407"/>
                            <a:pt x="127509" y="78228"/>
                          </a:cubicBezTo>
                          <a:lnTo>
                            <a:pt x="124579" y="76194"/>
                          </a:lnTo>
                          <a:cubicBezTo>
                            <a:pt x="124698" y="76374"/>
                            <a:pt x="124818" y="76613"/>
                            <a:pt x="124937" y="76793"/>
                          </a:cubicBezTo>
                          <a:cubicBezTo>
                            <a:pt x="125057" y="76972"/>
                            <a:pt x="125176" y="77211"/>
                            <a:pt x="125296" y="77391"/>
                          </a:cubicBezTo>
                          <a:cubicBezTo>
                            <a:pt x="125416" y="77570"/>
                            <a:pt x="125536" y="77809"/>
                            <a:pt x="125595" y="77988"/>
                          </a:cubicBezTo>
                          <a:cubicBezTo>
                            <a:pt x="125655" y="78288"/>
                            <a:pt x="125775" y="78467"/>
                            <a:pt x="125895" y="78706"/>
                          </a:cubicBezTo>
                          <a:moveTo>
                            <a:pt x="121169" y="75477"/>
                          </a:moveTo>
                          <a:lnTo>
                            <a:pt x="123562" y="77092"/>
                          </a:lnTo>
                          <a:cubicBezTo>
                            <a:pt x="123382" y="76852"/>
                            <a:pt x="123263" y="76613"/>
                            <a:pt x="123083" y="76374"/>
                          </a:cubicBezTo>
                          <a:cubicBezTo>
                            <a:pt x="122904" y="76134"/>
                            <a:pt x="122725" y="75895"/>
                            <a:pt x="122605" y="75656"/>
                          </a:cubicBezTo>
                          <a:cubicBezTo>
                            <a:pt x="122426" y="75417"/>
                            <a:pt x="122246" y="75178"/>
                            <a:pt x="122067" y="74939"/>
                          </a:cubicBezTo>
                          <a:cubicBezTo>
                            <a:pt x="121887" y="74699"/>
                            <a:pt x="121708" y="74460"/>
                            <a:pt x="121468" y="74221"/>
                          </a:cubicBezTo>
                          <a:lnTo>
                            <a:pt x="112258" y="67881"/>
                          </a:lnTo>
                          <a:lnTo>
                            <a:pt x="112019" y="68180"/>
                          </a:lnTo>
                          <a:cubicBezTo>
                            <a:pt x="112856" y="68838"/>
                            <a:pt x="113753" y="69436"/>
                            <a:pt x="114531" y="70094"/>
                          </a:cubicBezTo>
                          <a:cubicBezTo>
                            <a:pt x="115368" y="70692"/>
                            <a:pt x="116146" y="71350"/>
                            <a:pt x="116923" y="71948"/>
                          </a:cubicBezTo>
                          <a:cubicBezTo>
                            <a:pt x="117701" y="72546"/>
                            <a:pt x="118419" y="73144"/>
                            <a:pt x="119136" y="73742"/>
                          </a:cubicBezTo>
                          <a:cubicBezTo>
                            <a:pt x="119794" y="74340"/>
                            <a:pt x="120512" y="74939"/>
                            <a:pt x="121169" y="75477"/>
                          </a:cubicBezTo>
                          <a:moveTo>
                            <a:pt x="54724" y="30143"/>
                          </a:moveTo>
                          <a:lnTo>
                            <a:pt x="104364" y="64054"/>
                          </a:lnTo>
                          <a:lnTo>
                            <a:pt x="104962" y="63276"/>
                          </a:lnTo>
                          <a:lnTo>
                            <a:pt x="105440" y="63575"/>
                          </a:lnTo>
                          <a:cubicBezTo>
                            <a:pt x="105919" y="63934"/>
                            <a:pt x="106397" y="64233"/>
                            <a:pt x="106875" y="64592"/>
                          </a:cubicBezTo>
                          <a:cubicBezTo>
                            <a:pt x="107354" y="64951"/>
                            <a:pt x="107833" y="65250"/>
                            <a:pt x="108311" y="65609"/>
                          </a:cubicBezTo>
                          <a:cubicBezTo>
                            <a:pt x="108789" y="65968"/>
                            <a:pt x="109268" y="66266"/>
                            <a:pt x="109687" y="66565"/>
                          </a:cubicBezTo>
                          <a:cubicBezTo>
                            <a:pt x="110165" y="66864"/>
                            <a:pt x="110584" y="67223"/>
                            <a:pt x="111062" y="67522"/>
                          </a:cubicBezTo>
                          <a:lnTo>
                            <a:pt x="111302" y="67223"/>
                          </a:lnTo>
                          <a:lnTo>
                            <a:pt x="55561" y="29126"/>
                          </a:lnTo>
                          <a:lnTo>
                            <a:pt x="54724" y="30143"/>
                          </a:lnTo>
                          <a:moveTo>
                            <a:pt x="37559" y="18421"/>
                          </a:moveTo>
                          <a:lnTo>
                            <a:pt x="53707" y="29425"/>
                          </a:lnTo>
                          <a:lnTo>
                            <a:pt x="54544" y="28408"/>
                          </a:lnTo>
                          <a:lnTo>
                            <a:pt x="38397" y="17404"/>
                          </a:lnTo>
                          <a:lnTo>
                            <a:pt x="37559" y="18421"/>
                          </a:lnTo>
                          <a:moveTo>
                            <a:pt x="24342" y="9390"/>
                          </a:moveTo>
                          <a:lnTo>
                            <a:pt x="36602" y="17763"/>
                          </a:lnTo>
                          <a:lnTo>
                            <a:pt x="37439" y="16746"/>
                          </a:lnTo>
                          <a:lnTo>
                            <a:pt x="25179" y="8373"/>
                          </a:lnTo>
                          <a:lnTo>
                            <a:pt x="24342" y="9390"/>
                          </a:lnTo>
                          <a:moveTo>
                            <a:pt x="7177" y="7177"/>
                          </a:moveTo>
                          <a:lnTo>
                            <a:pt x="8194" y="7835"/>
                          </a:lnTo>
                          <a:lnTo>
                            <a:pt x="13098" y="1675"/>
                          </a:lnTo>
                          <a:lnTo>
                            <a:pt x="23325" y="8672"/>
                          </a:lnTo>
                          <a:lnTo>
                            <a:pt x="24162" y="7655"/>
                          </a:lnTo>
                          <a:lnTo>
                            <a:pt x="12919" y="0"/>
                          </a:lnTo>
                          <a:lnTo>
                            <a:pt x="7177" y="7177"/>
                          </a:lnTo>
                          <a:moveTo>
                            <a:pt x="628335" y="437968"/>
                          </a:moveTo>
                          <a:lnTo>
                            <a:pt x="652258" y="453997"/>
                          </a:lnTo>
                          <a:lnTo>
                            <a:pt x="661049" y="442872"/>
                          </a:lnTo>
                          <a:lnTo>
                            <a:pt x="631684" y="422837"/>
                          </a:lnTo>
                          <a:cubicBezTo>
                            <a:pt x="631684" y="422897"/>
                            <a:pt x="631684" y="423016"/>
                            <a:pt x="631624" y="423076"/>
                          </a:cubicBezTo>
                          <a:cubicBezTo>
                            <a:pt x="631624" y="423136"/>
                            <a:pt x="631624" y="423256"/>
                            <a:pt x="631565" y="423316"/>
                          </a:cubicBezTo>
                          <a:cubicBezTo>
                            <a:pt x="631565" y="423375"/>
                            <a:pt x="631505" y="423495"/>
                            <a:pt x="631505" y="423555"/>
                          </a:cubicBezTo>
                          <a:cubicBezTo>
                            <a:pt x="631505" y="423615"/>
                            <a:pt x="631445" y="423734"/>
                            <a:pt x="631445" y="423794"/>
                          </a:cubicBezTo>
                          <a:lnTo>
                            <a:pt x="659913" y="443231"/>
                          </a:lnTo>
                          <a:lnTo>
                            <a:pt x="656564" y="447478"/>
                          </a:lnTo>
                          <a:lnTo>
                            <a:pt x="657042" y="447777"/>
                          </a:lnTo>
                          <a:lnTo>
                            <a:pt x="654411" y="451126"/>
                          </a:lnTo>
                          <a:lnTo>
                            <a:pt x="653932" y="450827"/>
                          </a:lnTo>
                          <a:lnTo>
                            <a:pt x="652258" y="452920"/>
                          </a:lnTo>
                          <a:lnTo>
                            <a:pt x="628634" y="437011"/>
                          </a:lnTo>
                          <a:cubicBezTo>
                            <a:pt x="628634" y="437071"/>
                            <a:pt x="628574" y="437131"/>
                            <a:pt x="628574" y="437250"/>
                          </a:cubicBezTo>
                          <a:cubicBezTo>
                            <a:pt x="628514" y="437310"/>
                            <a:pt x="628514" y="437370"/>
                            <a:pt x="628454" y="437490"/>
                          </a:cubicBezTo>
                          <a:cubicBezTo>
                            <a:pt x="628395" y="437550"/>
                            <a:pt x="628395" y="437609"/>
                            <a:pt x="628335" y="437729"/>
                          </a:cubicBezTo>
                          <a:cubicBezTo>
                            <a:pt x="628395" y="437789"/>
                            <a:pt x="628395" y="437849"/>
                            <a:pt x="628335" y="437968"/>
                          </a:cubicBezTo>
                          <a:moveTo>
                            <a:pt x="627079" y="437131"/>
                          </a:moveTo>
                          <a:lnTo>
                            <a:pt x="627797" y="437609"/>
                          </a:lnTo>
                          <a:cubicBezTo>
                            <a:pt x="627857" y="437550"/>
                            <a:pt x="627857" y="437490"/>
                            <a:pt x="627916" y="437370"/>
                          </a:cubicBezTo>
                          <a:cubicBezTo>
                            <a:pt x="627976" y="437310"/>
                            <a:pt x="627976" y="437250"/>
                            <a:pt x="628036" y="437131"/>
                          </a:cubicBezTo>
                          <a:cubicBezTo>
                            <a:pt x="628096" y="437071"/>
                            <a:pt x="628096" y="437011"/>
                            <a:pt x="628096" y="436892"/>
                          </a:cubicBezTo>
                          <a:cubicBezTo>
                            <a:pt x="628096" y="436832"/>
                            <a:pt x="628155" y="436772"/>
                            <a:pt x="628155" y="436653"/>
                          </a:cubicBezTo>
                          <a:lnTo>
                            <a:pt x="627438" y="436174"/>
                          </a:lnTo>
                          <a:cubicBezTo>
                            <a:pt x="627438" y="436234"/>
                            <a:pt x="627378" y="436294"/>
                            <a:pt x="627378" y="436413"/>
                          </a:cubicBezTo>
                          <a:cubicBezTo>
                            <a:pt x="627378" y="436473"/>
                            <a:pt x="627318" y="436533"/>
                            <a:pt x="627318" y="436653"/>
                          </a:cubicBezTo>
                          <a:cubicBezTo>
                            <a:pt x="627318" y="436712"/>
                            <a:pt x="627258" y="436772"/>
                            <a:pt x="627258" y="436892"/>
                          </a:cubicBezTo>
                          <a:cubicBezTo>
                            <a:pt x="627139" y="436951"/>
                            <a:pt x="627139" y="437011"/>
                            <a:pt x="627079" y="437131"/>
                          </a:cubicBezTo>
                          <a:moveTo>
                            <a:pt x="625703" y="436174"/>
                          </a:moveTo>
                          <a:lnTo>
                            <a:pt x="626541" y="436772"/>
                          </a:lnTo>
                          <a:cubicBezTo>
                            <a:pt x="626541" y="436712"/>
                            <a:pt x="626600" y="436593"/>
                            <a:pt x="626600" y="436533"/>
                          </a:cubicBezTo>
                          <a:cubicBezTo>
                            <a:pt x="626600" y="436473"/>
                            <a:pt x="626660" y="436354"/>
                            <a:pt x="626660" y="436294"/>
                          </a:cubicBezTo>
                          <a:cubicBezTo>
                            <a:pt x="626660" y="436234"/>
                            <a:pt x="626720" y="436114"/>
                            <a:pt x="626720" y="436055"/>
                          </a:cubicBezTo>
                          <a:cubicBezTo>
                            <a:pt x="626720" y="435995"/>
                            <a:pt x="626780" y="435875"/>
                            <a:pt x="626780" y="435815"/>
                          </a:cubicBezTo>
                          <a:lnTo>
                            <a:pt x="626122" y="435396"/>
                          </a:lnTo>
                          <a:cubicBezTo>
                            <a:pt x="626062" y="435456"/>
                            <a:pt x="626062" y="435516"/>
                            <a:pt x="626002" y="435576"/>
                          </a:cubicBezTo>
                          <a:cubicBezTo>
                            <a:pt x="625943" y="435636"/>
                            <a:pt x="625943" y="435695"/>
                            <a:pt x="625883" y="435755"/>
                          </a:cubicBezTo>
                          <a:cubicBezTo>
                            <a:pt x="625823" y="435815"/>
                            <a:pt x="625823" y="435875"/>
                            <a:pt x="625763" y="435935"/>
                          </a:cubicBezTo>
                          <a:cubicBezTo>
                            <a:pt x="625763" y="436055"/>
                            <a:pt x="625703" y="436114"/>
                            <a:pt x="625703" y="436174"/>
                          </a:cubicBezTo>
                          <a:moveTo>
                            <a:pt x="624507" y="435396"/>
                          </a:moveTo>
                          <a:lnTo>
                            <a:pt x="625165" y="435875"/>
                          </a:lnTo>
                          <a:cubicBezTo>
                            <a:pt x="625225" y="435815"/>
                            <a:pt x="625225" y="435755"/>
                            <a:pt x="625285" y="435695"/>
                          </a:cubicBezTo>
                          <a:cubicBezTo>
                            <a:pt x="625344" y="435636"/>
                            <a:pt x="625344" y="435576"/>
                            <a:pt x="625404" y="435516"/>
                          </a:cubicBezTo>
                          <a:cubicBezTo>
                            <a:pt x="625464" y="435456"/>
                            <a:pt x="625464" y="435396"/>
                            <a:pt x="625524" y="435337"/>
                          </a:cubicBezTo>
                          <a:cubicBezTo>
                            <a:pt x="625584" y="435277"/>
                            <a:pt x="625584" y="435217"/>
                            <a:pt x="625644" y="435157"/>
                          </a:cubicBezTo>
                          <a:lnTo>
                            <a:pt x="624986" y="434679"/>
                          </a:lnTo>
                          <a:cubicBezTo>
                            <a:pt x="624926" y="434739"/>
                            <a:pt x="624926" y="434799"/>
                            <a:pt x="624866" y="434858"/>
                          </a:cubicBezTo>
                          <a:cubicBezTo>
                            <a:pt x="624806" y="434918"/>
                            <a:pt x="624806" y="434978"/>
                            <a:pt x="624746" y="435038"/>
                          </a:cubicBezTo>
                          <a:cubicBezTo>
                            <a:pt x="624687" y="435097"/>
                            <a:pt x="624687" y="435157"/>
                            <a:pt x="624627" y="435217"/>
                          </a:cubicBezTo>
                          <a:cubicBezTo>
                            <a:pt x="624567" y="435217"/>
                            <a:pt x="624567" y="435277"/>
                            <a:pt x="624507" y="435396"/>
                          </a:cubicBezTo>
                          <a:moveTo>
                            <a:pt x="622474" y="434021"/>
                          </a:moveTo>
                          <a:lnTo>
                            <a:pt x="623969" y="435038"/>
                          </a:lnTo>
                          <a:cubicBezTo>
                            <a:pt x="624029" y="434978"/>
                            <a:pt x="624029" y="434918"/>
                            <a:pt x="624089" y="434858"/>
                          </a:cubicBezTo>
                          <a:cubicBezTo>
                            <a:pt x="624148" y="434799"/>
                            <a:pt x="624148" y="434739"/>
                            <a:pt x="624208" y="434679"/>
                          </a:cubicBezTo>
                          <a:cubicBezTo>
                            <a:pt x="624268" y="434619"/>
                            <a:pt x="624268" y="434559"/>
                            <a:pt x="624328" y="434500"/>
                          </a:cubicBezTo>
                          <a:cubicBezTo>
                            <a:pt x="624388" y="434440"/>
                            <a:pt x="624388" y="434380"/>
                            <a:pt x="624447" y="434320"/>
                          </a:cubicBezTo>
                          <a:lnTo>
                            <a:pt x="622952" y="433303"/>
                          </a:lnTo>
                          <a:cubicBezTo>
                            <a:pt x="622892" y="433363"/>
                            <a:pt x="622892" y="433423"/>
                            <a:pt x="622833" y="433483"/>
                          </a:cubicBezTo>
                          <a:cubicBezTo>
                            <a:pt x="622773" y="433542"/>
                            <a:pt x="622713" y="433602"/>
                            <a:pt x="622713" y="433662"/>
                          </a:cubicBezTo>
                          <a:cubicBezTo>
                            <a:pt x="622713" y="433722"/>
                            <a:pt x="622593" y="433782"/>
                            <a:pt x="622593" y="433841"/>
                          </a:cubicBezTo>
                          <a:cubicBezTo>
                            <a:pt x="622593" y="433901"/>
                            <a:pt x="622534" y="433961"/>
                            <a:pt x="622474" y="434021"/>
                          </a:cubicBezTo>
                          <a:moveTo>
                            <a:pt x="621337" y="433243"/>
                          </a:moveTo>
                          <a:lnTo>
                            <a:pt x="621995" y="433662"/>
                          </a:lnTo>
                          <a:cubicBezTo>
                            <a:pt x="622055" y="433602"/>
                            <a:pt x="622115" y="433542"/>
                            <a:pt x="622115" y="433483"/>
                          </a:cubicBezTo>
                          <a:cubicBezTo>
                            <a:pt x="622175" y="433423"/>
                            <a:pt x="622235" y="433363"/>
                            <a:pt x="622235" y="433303"/>
                          </a:cubicBezTo>
                          <a:cubicBezTo>
                            <a:pt x="622294" y="433243"/>
                            <a:pt x="622354" y="433184"/>
                            <a:pt x="622354" y="433124"/>
                          </a:cubicBezTo>
                          <a:cubicBezTo>
                            <a:pt x="622414" y="433064"/>
                            <a:pt x="622414" y="433004"/>
                            <a:pt x="622474" y="432945"/>
                          </a:cubicBezTo>
                          <a:lnTo>
                            <a:pt x="621816" y="432526"/>
                          </a:lnTo>
                          <a:cubicBezTo>
                            <a:pt x="621756" y="432586"/>
                            <a:pt x="621756" y="432646"/>
                            <a:pt x="621696" y="432705"/>
                          </a:cubicBezTo>
                          <a:cubicBezTo>
                            <a:pt x="621636" y="432765"/>
                            <a:pt x="621636" y="432825"/>
                            <a:pt x="621576" y="432885"/>
                          </a:cubicBezTo>
                          <a:cubicBezTo>
                            <a:pt x="621517" y="432945"/>
                            <a:pt x="621457" y="433004"/>
                            <a:pt x="621457" y="433064"/>
                          </a:cubicBezTo>
                          <a:cubicBezTo>
                            <a:pt x="621397" y="433124"/>
                            <a:pt x="621337" y="433184"/>
                            <a:pt x="621337" y="433243"/>
                          </a:cubicBezTo>
                          <a:moveTo>
                            <a:pt x="609137" y="425050"/>
                          </a:moveTo>
                          <a:lnTo>
                            <a:pt x="620799" y="432885"/>
                          </a:lnTo>
                          <a:cubicBezTo>
                            <a:pt x="620859" y="432825"/>
                            <a:pt x="620919" y="432765"/>
                            <a:pt x="620919" y="432705"/>
                          </a:cubicBezTo>
                          <a:cubicBezTo>
                            <a:pt x="620919" y="432646"/>
                            <a:pt x="621038" y="432586"/>
                            <a:pt x="621038" y="432526"/>
                          </a:cubicBezTo>
                          <a:cubicBezTo>
                            <a:pt x="621098" y="432466"/>
                            <a:pt x="621158" y="432406"/>
                            <a:pt x="621158" y="432346"/>
                          </a:cubicBezTo>
                          <a:cubicBezTo>
                            <a:pt x="621158" y="432287"/>
                            <a:pt x="621218" y="432227"/>
                            <a:pt x="621277" y="432167"/>
                          </a:cubicBezTo>
                          <a:lnTo>
                            <a:pt x="609675" y="424392"/>
                          </a:lnTo>
                          <a:lnTo>
                            <a:pt x="609137" y="425050"/>
                          </a:lnTo>
                          <a:moveTo>
                            <a:pt x="578276" y="404356"/>
                          </a:moveTo>
                          <a:lnTo>
                            <a:pt x="608658" y="424751"/>
                          </a:lnTo>
                          <a:lnTo>
                            <a:pt x="609256" y="424033"/>
                          </a:lnTo>
                          <a:lnTo>
                            <a:pt x="578934" y="403639"/>
                          </a:lnTo>
                          <a:lnTo>
                            <a:pt x="578276" y="404356"/>
                          </a:lnTo>
                          <a:moveTo>
                            <a:pt x="569066" y="398137"/>
                          </a:moveTo>
                          <a:lnTo>
                            <a:pt x="577738" y="403938"/>
                          </a:lnTo>
                          <a:lnTo>
                            <a:pt x="578336" y="403161"/>
                          </a:lnTo>
                          <a:lnTo>
                            <a:pt x="569664" y="397299"/>
                          </a:lnTo>
                          <a:lnTo>
                            <a:pt x="569066" y="398137"/>
                          </a:lnTo>
                          <a:moveTo>
                            <a:pt x="561949" y="393352"/>
                          </a:moveTo>
                          <a:lnTo>
                            <a:pt x="568527" y="397778"/>
                          </a:lnTo>
                          <a:lnTo>
                            <a:pt x="569126" y="397000"/>
                          </a:lnTo>
                          <a:lnTo>
                            <a:pt x="562547" y="392575"/>
                          </a:lnTo>
                          <a:lnTo>
                            <a:pt x="561949" y="393352"/>
                          </a:lnTo>
                          <a:moveTo>
                            <a:pt x="346942" y="249097"/>
                          </a:moveTo>
                          <a:lnTo>
                            <a:pt x="561351" y="392993"/>
                          </a:lnTo>
                          <a:lnTo>
                            <a:pt x="561949" y="392216"/>
                          </a:lnTo>
                          <a:lnTo>
                            <a:pt x="347241" y="247961"/>
                          </a:lnTo>
                          <a:cubicBezTo>
                            <a:pt x="347241" y="248080"/>
                            <a:pt x="347181" y="248140"/>
                            <a:pt x="347181" y="248260"/>
                          </a:cubicBezTo>
                          <a:cubicBezTo>
                            <a:pt x="347181" y="248380"/>
                            <a:pt x="347121" y="248439"/>
                            <a:pt x="347121" y="248559"/>
                          </a:cubicBezTo>
                          <a:cubicBezTo>
                            <a:pt x="347121" y="248678"/>
                            <a:pt x="347062" y="248738"/>
                            <a:pt x="347062" y="248858"/>
                          </a:cubicBezTo>
                          <a:cubicBezTo>
                            <a:pt x="347002" y="248918"/>
                            <a:pt x="347002" y="249037"/>
                            <a:pt x="346942" y="249097"/>
                          </a:cubicBezTo>
                          <a:moveTo>
                            <a:pt x="345028" y="247841"/>
                          </a:moveTo>
                          <a:lnTo>
                            <a:pt x="346104" y="248559"/>
                          </a:lnTo>
                          <a:cubicBezTo>
                            <a:pt x="346104" y="248439"/>
                            <a:pt x="346164" y="248380"/>
                            <a:pt x="346164" y="248260"/>
                          </a:cubicBezTo>
                          <a:cubicBezTo>
                            <a:pt x="346164" y="248140"/>
                            <a:pt x="346224" y="248080"/>
                            <a:pt x="346224" y="247961"/>
                          </a:cubicBezTo>
                          <a:cubicBezTo>
                            <a:pt x="346224" y="247841"/>
                            <a:pt x="346284" y="247781"/>
                            <a:pt x="346284" y="247662"/>
                          </a:cubicBezTo>
                          <a:cubicBezTo>
                            <a:pt x="346284" y="247542"/>
                            <a:pt x="346344" y="247482"/>
                            <a:pt x="346344" y="247363"/>
                          </a:cubicBezTo>
                          <a:lnTo>
                            <a:pt x="345207" y="246585"/>
                          </a:lnTo>
                          <a:cubicBezTo>
                            <a:pt x="345207" y="246705"/>
                            <a:pt x="345148" y="246765"/>
                            <a:pt x="345148" y="246884"/>
                          </a:cubicBezTo>
                          <a:cubicBezTo>
                            <a:pt x="345148" y="247004"/>
                            <a:pt x="345088" y="247064"/>
                            <a:pt x="345088" y="247183"/>
                          </a:cubicBezTo>
                          <a:cubicBezTo>
                            <a:pt x="345088" y="247303"/>
                            <a:pt x="345028" y="247363"/>
                            <a:pt x="345028" y="247482"/>
                          </a:cubicBezTo>
                          <a:cubicBezTo>
                            <a:pt x="345088" y="247662"/>
                            <a:pt x="345088" y="247721"/>
                            <a:pt x="345028" y="247841"/>
                          </a:cubicBezTo>
                          <a:moveTo>
                            <a:pt x="343353" y="246705"/>
                          </a:moveTo>
                          <a:lnTo>
                            <a:pt x="344191" y="247303"/>
                          </a:lnTo>
                          <a:cubicBezTo>
                            <a:pt x="344191" y="247183"/>
                            <a:pt x="344250" y="247123"/>
                            <a:pt x="344250" y="247004"/>
                          </a:cubicBezTo>
                          <a:cubicBezTo>
                            <a:pt x="344250" y="246884"/>
                            <a:pt x="344310" y="246824"/>
                            <a:pt x="344310" y="246705"/>
                          </a:cubicBezTo>
                          <a:cubicBezTo>
                            <a:pt x="344310" y="246585"/>
                            <a:pt x="344370" y="246526"/>
                            <a:pt x="344370" y="246406"/>
                          </a:cubicBezTo>
                          <a:cubicBezTo>
                            <a:pt x="344370" y="246286"/>
                            <a:pt x="344370" y="246226"/>
                            <a:pt x="344430" y="246107"/>
                          </a:cubicBezTo>
                          <a:lnTo>
                            <a:pt x="343951" y="245748"/>
                          </a:lnTo>
                          <a:cubicBezTo>
                            <a:pt x="343892" y="245808"/>
                            <a:pt x="343892" y="245927"/>
                            <a:pt x="343832" y="245987"/>
                          </a:cubicBezTo>
                          <a:cubicBezTo>
                            <a:pt x="343772" y="246047"/>
                            <a:pt x="343772" y="246167"/>
                            <a:pt x="343712" y="246226"/>
                          </a:cubicBezTo>
                          <a:cubicBezTo>
                            <a:pt x="343652" y="246286"/>
                            <a:pt x="343652" y="246406"/>
                            <a:pt x="343593" y="246466"/>
                          </a:cubicBezTo>
                          <a:cubicBezTo>
                            <a:pt x="343533" y="246526"/>
                            <a:pt x="343413" y="246585"/>
                            <a:pt x="343353" y="246705"/>
                          </a:cubicBezTo>
                          <a:moveTo>
                            <a:pt x="341619" y="245509"/>
                          </a:moveTo>
                          <a:lnTo>
                            <a:pt x="342576" y="246167"/>
                          </a:lnTo>
                          <a:cubicBezTo>
                            <a:pt x="342636" y="246107"/>
                            <a:pt x="342696" y="245987"/>
                            <a:pt x="342696" y="245927"/>
                          </a:cubicBezTo>
                          <a:cubicBezTo>
                            <a:pt x="342755" y="245867"/>
                            <a:pt x="342755" y="245748"/>
                            <a:pt x="342815" y="245688"/>
                          </a:cubicBezTo>
                          <a:cubicBezTo>
                            <a:pt x="342875" y="245628"/>
                            <a:pt x="342875" y="245509"/>
                            <a:pt x="342935" y="245449"/>
                          </a:cubicBezTo>
                          <a:cubicBezTo>
                            <a:pt x="342995" y="245389"/>
                            <a:pt x="342995" y="245269"/>
                            <a:pt x="343055" y="245210"/>
                          </a:cubicBezTo>
                          <a:lnTo>
                            <a:pt x="342097" y="244552"/>
                          </a:lnTo>
                          <a:cubicBezTo>
                            <a:pt x="342038" y="244612"/>
                            <a:pt x="342038" y="244731"/>
                            <a:pt x="341978" y="244791"/>
                          </a:cubicBezTo>
                          <a:cubicBezTo>
                            <a:pt x="341918" y="244851"/>
                            <a:pt x="341918" y="244970"/>
                            <a:pt x="341858" y="245030"/>
                          </a:cubicBezTo>
                          <a:cubicBezTo>
                            <a:pt x="341798" y="245090"/>
                            <a:pt x="341798" y="245210"/>
                            <a:pt x="341739" y="245269"/>
                          </a:cubicBezTo>
                          <a:cubicBezTo>
                            <a:pt x="341739" y="245389"/>
                            <a:pt x="341679" y="245449"/>
                            <a:pt x="341619" y="245509"/>
                          </a:cubicBezTo>
                          <a:moveTo>
                            <a:pt x="338569" y="243475"/>
                          </a:moveTo>
                          <a:lnTo>
                            <a:pt x="340842" y="245030"/>
                          </a:lnTo>
                          <a:cubicBezTo>
                            <a:pt x="340901" y="244970"/>
                            <a:pt x="340901" y="244851"/>
                            <a:pt x="340961" y="244791"/>
                          </a:cubicBezTo>
                          <a:cubicBezTo>
                            <a:pt x="341021" y="244731"/>
                            <a:pt x="341021" y="244612"/>
                            <a:pt x="341081" y="244552"/>
                          </a:cubicBezTo>
                          <a:cubicBezTo>
                            <a:pt x="341141" y="244492"/>
                            <a:pt x="341141" y="244372"/>
                            <a:pt x="341201" y="244312"/>
                          </a:cubicBezTo>
                          <a:cubicBezTo>
                            <a:pt x="341260" y="244253"/>
                            <a:pt x="341260" y="244133"/>
                            <a:pt x="341320" y="244073"/>
                          </a:cubicBezTo>
                          <a:lnTo>
                            <a:pt x="339047" y="242578"/>
                          </a:lnTo>
                          <a:cubicBezTo>
                            <a:pt x="338987" y="242638"/>
                            <a:pt x="338987" y="242758"/>
                            <a:pt x="338928" y="242817"/>
                          </a:cubicBezTo>
                          <a:cubicBezTo>
                            <a:pt x="338868" y="242877"/>
                            <a:pt x="338808" y="242997"/>
                            <a:pt x="338808" y="243057"/>
                          </a:cubicBezTo>
                          <a:cubicBezTo>
                            <a:pt x="338748" y="243116"/>
                            <a:pt x="338688" y="243236"/>
                            <a:pt x="338688" y="243296"/>
                          </a:cubicBezTo>
                          <a:cubicBezTo>
                            <a:pt x="338688" y="243356"/>
                            <a:pt x="338628" y="243415"/>
                            <a:pt x="338569" y="243475"/>
                          </a:cubicBezTo>
                          <a:moveTo>
                            <a:pt x="336834" y="242339"/>
                          </a:moveTo>
                          <a:lnTo>
                            <a:pt x="337791" y="242997"/>
                          </a:lnTo>
                          <a:cubicBezTo>
                            <a:pt x="337851" y="242937"/>
                            <a:pt x="337911" y="242817"/>
                            <a:pt x="337911" y="242758"/>
                          </a:cubicBezTo>
                          <a:cubicBezTo>
                            <a:pt x="337971" y="242698"/>
                            <a:pt x="338031" y="242578"/>
                            <a:pt x="338031" y="242518"/>
                          </a:cubicBezTo>
                          <a:cubicBezTo>
                            <a:pt x="338090" y="242458"/>
                            <a:pt x="338150" y="242339"/>
                            <a:pt x="338150" y="242279"/>
                          </a:cubicBezTo>
                          <a:cubicBezTo>
                            <a:pt x="338210" y="242219"/>
                            <a:pt x="338210" y="242099"/>
                            <a:pt x="338270" y="242040"/>
                          </a:cubicBezTo>
                          <a:lnTo>
                            <a:pt x="337313" y="241382"/>
                          </a:lnTo>
                          <a:cubicBezTo>
                            <a:pt x="337253" y="241442"/>
                            <a:pt x="337253" y="241561"/>
                            <a:pt x="337193" y="241621"/>
                          </a:cubicBezTo>
                          <a:cubicBezTo>
                            <a:pt x="337133" y="241681"/>
                            <a:pt x="337133" y="241801"/>
                            <a:pt x="337074" y="241860"/>
                          </a:cubicBezTo>
                          <a:cubicBezTo>
                            <a:pt x="337014" y="241920"/>
                            <a:pt x="337014" y="242040"/>
                            <a:pt x="336954" y="242099"/>
                          </a:cubicBezTo>
                          <a:cubicBezTo>
                            <a:pt x="336954" y="242159"/>
                            <a:pt x="336894" y="242279"/>
                            <a:pt x="336834" y="242339"/>
                          </a:cubicBezTo>
                          <a:moveTo>
                            <a:pt x="320926" y="231633"/>
                          </a:moveTo>
                          <a:lnTo>
                            <a:pt x="336117" y="241860"/>
                          </a:lnTo>
                          <a:cubicBezTo>
                            <a:pt x="336177" y="241801"/>
                            <a:pt x="336236" y="241681"/>
                            <a:pt x="336236" y="241621"/>
                          </a:cubicBezTo>
                          <a:cubicBezTo>
                            <a:pt x="336296" y="241561"/>
                            <a:pt x="336296" y="241442"/>
                            <a:pt x="336356" y="241382"/>
                          </a:cubicBezTo>
                          <a:cubicBezTo>
                            <a:pt x="336416" y="241322"/>
                            <a:pt x="336416" y="241203"/>
                            <a:pt x="336476" y="241143"/>
                          </a:cubicBezTo>
                          <a:cubicBezTo>
                            <a:pt x="336535" y="241083"/>
                            <a:pt x="336535" y="240963"/>
                            <a:pt x="336595" y="240904"/>
                          </a:cubicBezTo>
                          <a:lnTo>
                            <a:pt x="321584" y="230796"/>
                          </a:lnTo>
                          <a:lnTo>
                            <a:pt x="320926" y="231633"/>
                          </a:lnTo>
                          <a:moveTo>
                            <a:pt x="276190" y="201610"/>
                          </a:moveTo>
                          <a:lnTo>
                            <a:pt x="320148" y="231095"/>
                          </a:lnTo>
                          <a:lnTo>
                            <a:pt x="320866" y="230198"/>
                          </a:lnTo>
                          <a:lnTo>
                            <a:pt x="276908" y="200653"/>
                          </a:lnTo>
                          <a:lnTo>
                            <a:pt x="276190" y="201610"/>
                          </a:lnTo>
                          <a:moveTo>
                            <a:pt x="262793" y="192639"/>
                          </a:moveTo>
                          <a:lnTo>
                            <a:pt x="275413" y="201132"/>
                          </a:lnTo>
                          <a:lnTo>
                            <a:pt x="276130" y="200234"/>
                          </a:lnTo>
                          <a:lnTo>
                            <a:pt x="263511" y="191742"/>
                          </a:lnTo>
                          <a:lnTo>
                            <a:pt x="262793" y="192639"/>
                          </a:lnTo>
                          <a:moveTo>
                            <a:pt x="252387" y="185641"/>
                          </a:moveTo>
                          <a:lnTo>
                            <a:pt x="262015" y="192101"/>
                          </a:lnTo>
                          <a:lnTo>
                            <a:pt x="262733" y="191204"/>
                          </a:lnTo>
                          <a:lnTo>
                            <a:pt x="253104" y="184745"/>
                          </a:lnTo>
                          <a:lnTo>
                            <a:pt x="252387" y="185641"/>
                          </a:lnTo>
                          <a:moveTo>
                            <a:pt x="135882" y="107474"/>
                          </a:moveTo>
                          <a:lnTo>
                            <a:pt x="251609" y="185163"/>
                          </a:lnTo>
                          <a:lnTo>
                            <a:pt x="252327" y="184266"/>
                          </a:lnTo>
                          <a:lnTo>
                            <a:pt x="136241" y="106278"/>
                          </a:lnTo>
                          <a:cubicBezTo>
                            <a:pt x="136241" y="106397"/>
                            <a:pt x="136181" y="106517"/>
                            <a:pt x="136181" y="106576"/>
                          </a:cubicBezTo>
                          <a:cubicBezTo>
                            <a:pt x="136181" y="106636"/>
                            <a:pt x="136121" y="106816"/>
                            <a:pt x="136121" y="106875"/>
                          </a:cubicBezTo>
                          <a:cubicBezTo>
                            <a:pt x="136061" y="106995"/>
                            <a:pt x="136061" y="107115"/>
                            <a:pt x="136002" y="107174"/>
                          </a:cubicBezTo>
                          <a:cubicBezTo>
                            <a:pt x="135942" y="107234"/>
                            <a:pt x="135882" y="107354"/>
                            <a:pt x="135882" y="107474"/>
                          </a:cubicBezTo>
                          <a:moveTo>
                            <a:pt x="133550" y="105919"/>
                          </a:moveTo>
                          <a:lnTo>
                            <a:pt x="134866" y="106816"/>
                          </a:lnTo>
                          <a:cubicBezTo>
                            <a:pt x="134925" y="106696"/>
                            <a:pt x="134925" y="106576"/>
                            <a:pt x="134985" y="106517"/>
                          </a:cubicBezTo>
                          <a:cubicBezTo>
                            <a:pt x="135045" y="106397"/>
                            <a:pt x="135045" y="106278"/>
                            <a:pt x="135045" y="106218"/>
                          </a:cubicBezTo>
                          <a:cubicBezTo>
                            <a:pt x="135045" y="106098"/>
                            <a:pt x="135105" y="105979"/>
                            <a:pt x="135105" y="105919"/>
                          </a:cubicBezTo>
                          <a:cubicBezTo>
                            <a:pt x="135105" y="105799"/>
                            <a:pt x="135165" y="105679"/>
                            <a:pt x="135165" y="105620"/>
                          </a:cubicBezTo>
                          <a:lnTo>
                            <a:pt x="133849" y="104722"/>
                          </a:lnTo>
                          <a:cubicBezTo>
                            <a:pt x="133849" y="104842"/>
                            <a:pt x="133789" y="104962"/>
                            <a:pt x="133789" y="105021"/>
                          </a:cubicBezTo>
                          <a:cubicBezTo>
                            <a:pt x="133789" y="105141"/>
                            <a:pt x="133729" y="105261"/>
                            <a:pt x="133729" y="105320"/>
                          </a:cubicBezTo>
                          <a:cubicBezTo>
                            <a:pt x="133729" y="105440"/>
                            <a:pt x="133669" y="105560"/>
                            <a:pt x="133669" y="105620"/>
                          </a:cubicBezTo>
                          <a:cubicBezTo>
                            <a:pt x="133610" y="105679"/>
                            <a:pt x="133610" y="105799"/>
                            <a:pt x="133550" y="105919"/>
                          </a:cubicBezTo>
                          <a:moveTo>
                            <a:pt x="131397" y="104424"/>
                          </a:moveTo>
                          <a:lnTo>
                            <a:pt x="132533" y="105201"/>
                          </a:lnTo>
                          <a:cubicBezTo>
                            <a:pt x="132533" y="105081"/>
                            <a:pt x="132593" y="104962"/>
                            <a:pt x="132593" y="104842"/>
                          </a:cubicBezTo>
                          <a:cubicBezTo>
                            <a:pt x="132593" y="104722"/>
                            <a:pt x="132652" y="104603"/>
                            <a:pt x="132652" y="104483"/>
                          </a:cubicBezTo>
                          <a:cubicBezTo>
                            <a:pt x="132652" y="104364"/>
                            <a:pt x="132712" y="104244"/>
                            <a:pt x="132712" y="104125"/>
                          </a:cubicBezTo>
                          <a:cubicBezTo>
                            <a:pt x="132712" y="104005"/>
                            <a:pt x="132772" y="103885"/>
                            <a:pt x="132772" y="103765"/>
                          </a:cubicBezTo>
                          <a:lnTo>
                            <a:pt x="131995" y="103227"/>
                          </a:lnTo>
                          <a:cubicBezTo>
                            <a:pt x="131935" y="103347"/>
                            <a:pt x="131875" y="103407"/>
                            <a:pt x="131815" y="103466"/>
                          </a:cubicBezTo>
                          <a:cubicBezTo>
                            <a:pt x="131755" y="103586"/>
                            <a:pt x="131696" y="103646"/>
                            <a:pt x="131636" y="103706"/>
                          </a:cubicBezTo>
                          <a:cubicBezTo>
                            <a:pt x="131576" y="103765"/>
                            <a:pt x="131516" y="103885"/>
                            <a:pt x="131457" y="103945"/>
                          </a:cubicBezTo>
                          <a:cubicBezTo>
                            <a:pt x="131397" y="104005"/>
                            <a:pt x="131397" y="104364"/>
                            <a:pt x="131397" y="104424"/>
                          </a:cubicBezTo>
                          <a:moveTo>
                            <a:pt x="129184" y="102988"/>
                          </a:moveTo>
                          <a:lnTo>
                            <a:pt x="130380" y="103825"/>
                          </a:lnTo>
                          <a:cubicBezTo>
                            <a:pt x="130440" y="103765"/>
                            <a:pt x="130499" y="103646"/>
                            <a:pt x="130559" y="103586"/>
                          </a:cubicBezTo>
                          <a:cubicBezTo>
                            <a:pt x="130619" y="103526"/>
                            <a:pt x="130679" y="103407"/>
                            <a:pt x="130739" y="103287"/>
                          </a:cubicBezTo>
                          <a:cubicBezTo>
                            <a:pt x="130798" y="103167"/>
                            <a:pt x="130858" y="103108"/>
                            <a:pt x="130918" y="102988"/>
                          </a:cubicBezTo>
                          <a:cubicBezTo>
                            <a:pt x="130978" y="102868"/>
                            <a:pt x="131038" y="102809"/>
                            <a:pt x="131098" y="102689"/>
                          </a:cubicBezTo>
                          <a:lnTo>
                            <a:pt x="129842" y="101852"/>
                          </a:lnTo>
                          <a:cubicBezTo>
                            <a:pt x="129782" y="101971"/>
                            <a:pt x="129722" y="102031"/>
                            <a:pt x="129662" y="102151"/>
                          </a:cubicBezTo>
                          <a:cubicBezTo>
                            <a:pt x="129603" y="102270"/>
                            <a:pt x="129543" y="102330"/>
                            <a:pt x="129483" y="102450"/>
                          </a:cubicBezTo>
                          <a:cubicBezTo>
                            <a:pt x="129423" y="102570"/>
                            <a:pt x="129363" y="102629"/>
                            <a:pt x="129303" y="102749"/>
                          </a:cubicBezTo>
                          <a:cubicBezTo>
                            <a:pt x="129244" y="102868"/>
                            <a:pt x="129244" y="102868"/>
                            <a:pt x="129184" y="102988"/>
                          </a:cubicBezTo>
                          <a:moveTo>
                            <a:pt x="125775" y="100656"/>
                          </a:moveTo>
                          <a:lnTo>
                            <a:pt x="128287" y="102330"/>
                          </a:lnTo>
                          <a:cubicBezTo>
                            <a:pt x="128346" y="102211"/>
                            <a:pt x="128406" y="102151"/>
                            <a:pt x="128466" y="102031"/>
                          </a:cubicBezTo>
                          <a:cubicBezTo>
                            <a:pt x="128526" y="101911"/>
                            <a:pt x="128586" y="101852"/>
                            <a:pt x="128645" y="101732"/>
                          </a:cubicBezTo>
                          <a:cubicBezTo>
                            <a:pt x="128705" y="101612"/>
                            <a:pt x="128765" y="101553"/>
                            <a:pt x="128825" y="101433"/>
                          </a:cubicBezTo>
                          <a:cubicBezTo>
                            <a:pt x="128885" y="101313"/>
                            <a:pt x="128944" y="101254"/>
                            <a:pt x="129004" y="101134"/>
                          </a:cubicBezTo>
                          <a:lnTo>
                            <a:pt x="126492" y="99459"/>
                          </a:lnTo>
                          <a:cubicBezTo>
                            <a:pt x="126433" y="99519"/>
                            <a:pt x="126373" y="99639"/>
                            <a:pt x="126313" y="99699"/>
                          </a:cubicBezTo>
                          <a:cubicBezTo>
                            <a:pt x="126253" y="99758"/>
                            <a:pt x="126193" y="99878"/>
                            <a:pt x="126134" y="99938"/>
                          </a:cubicBezTo>
                          <a:cubicBezTo>
                            <a:pt x="126074" y="99998"/>
                            <a:pt x="126014" y="100117"/>
                            <a:pt x="125954" y="100177"/>
                          </a:cubicBezTo>
                          <a:cubicBezTo>
                            <a:pt x="125835" y="100476"/>
                            <a:pt x="125775" y="100596"/>
                            <a:pt x="125775" y="100656"/>
                          </a:cubicBezTo>
                          <a:moveTo>
                            <a:pt x="123622" y="99220"/>
                          </a:moveTo>
                          <a:lnTo>
                            <a:pt x="124818" y="100057"/>
                          </a:lnTo>
                          <a:cubicBezTo>
                            <a:pt x="124878" y="99998"/>
                            <a:pt x="124937" y="99878"/>
                            <a:pt x="124997" y="99818"/>
                          </a:cubicBezTo>
                          <a:cubicBezTo>
                            <a:pt x="125057" y="99758"/>
                            <a:pt x="125117" y="99639"/>
                            <a:pt x="125176" y="99579"/>
                          </a:cubicBezTo>
                          <a:cubicBezTo>
                            <a:pt x="125236" y="99519"/>
                            <a:pt x="125296" y="99400"/>
                            <a:pt x="125356" y="99340"/>
                          </a:cubicBezTo>
                          <a:cubicBezTo>
                            <a:pt x="125416" y="99280"/>
                            <a:pt x="125476" y="99160"/>
                            <a:pt x="125536" y="99101"/>
                          </a:cubicBezTo>
                          <a:lnTo>
                            <a:pt x="124339" y="98263"/>
                          </a:lnTo>
                          <a:cubicBezTo>
                            <a:pt x="124280" y="98383"/>
                            <a:pt x="124220" y="98443"/>
                            <a:pt x="124160" y="98562"/>
                          </a:cubicBezTo>
                          <a:cubicBezTo>
                            <a:pt x="124100" y="98622"/>
                            <a:pt x="124040" y="98742"/>
                            <a:pt x="123981" y="98802"/>
                          </a:cubicBezTo>
                          <a:cubicBezTo>
                            <a:pt x="123921" y="98862"/>
                            <a:pt x="123861" y="98981"/>
                            <a:pt x="123801" y="99041"/>
                          </a:cubicBezTo>
                          <a:cubicBezTo>
                            <a:pt x="123741" y="99101"/>
                            <a:pt x="123681" y="99101"/>
                            <a:pt x="123622" y="99220"/>
                          </a:cubicBezTo>
                          <a:moveTo>
                            <a:pt x="99998" y="83371"/>
                          </a:moveTo>
                          <a:lnTo>
                            <a:pt x="122665" y="98562"/>
                          </a:lnTo>
                          <a:cubicBezTo>
                            <a:pt x="122725" y="98443"/>
                            <a:pt x="122784" y="98383"/>
                            <a:pt x="122844" y="98263"/>
                          </a:cubicBezTo>
                          <a:cubicBezTo>
                            <a:pt x="122904" y="98144"/>
                            <a:pt x="122964" y="98084"/>
                            <a:pt x="123024" y="97964"/>
                          </a:cubicBezTo>
                          <a:cubicBezTo>
                            <a:pt x="123083" y="97845"/>
                            <a:pt x="123143" y="97785"/>
                            <a:pt x="123203" y="97665"/>
                          </a:cubicBezTo>
                          <a:cubicBezTo>
                            <a:pt x="123263" y="97546"/>
                            <a:pt x="123322" y="97486"/>
                            <a:pt x="123382" y="97366"/>
                          </a:cubicBezTo>
                          <a:lnTo>
                            <a:pt x="100895" y="82235"/>
                          </a:lnTo>
                          <a:lnTo>
                            <a:pt x="99998" y="83371"/>
                          </a:lnTo>
                          <a:moveTo>
                            <a:pt x="42882" y="45035"/>
                          </a:moveTo>
                          <a:lnTo>
                            <a:pt x="98981" y="82713"/>
                          </a:lnTo>
                          <a:lnTo>
                            <a:pt x="99758" y="81697"/>
                          </a:lnTo>
                          <a:lnTo>
                            <a:pt x="43660" y="44018"/>
                          </a:lnTo>
                          <a:lnTo>
                            <a:pt x="42882" y="45035"/>
                          </a:lnTo>
                          <a:moveTo>
                            <a:pt x="25658" y="33492"/>
                          </a:moveTo>
                          <a:lnTo>
                            <a:pt x="41865" y="44377"/>
                          </a:lnTo>
                          <a:lnTo>
                            <a:pt x="42702" y="43360"/>
                          </a:lnTo>
                          <a:lnTo>
                            <a:pt x="26495" y="32475"/>
                          </a:lnTo>
                          <a:lnTo>
                            <a:pt x="25658" y="33492"/>
                          </a:lnTo>
                          <a:moveTo>
                            <a:pt x="12320" y="24521"/>
                          </a:moveTo>
                          <a:lnTo>
                            <a:pt x="24641" y="32774"/>
                          </a:lnTo>
                          <a:lnTo>
                            <a:pt x="25478" y="31758"/>
                          </a:lnTo>
                          <a:lnTo>
                            <a:pt x="13158" y="23504"/>
                          </a:lnTo>
                          <a:lnTo>
                            <a:pt x="12320" y="24521"/>
                          </a:lnTo>
                          <a:moveTo>
                            <a:pt x="0" y="16268"/>
                          </a:moveTo>
                          <a:lnTo>
                            <a:pt x="11304" y="23863"/>
                          </a:lnTo>
                          <a:lnTo>
                            <a:pt x="12141" y="22846"/>
                          </a:lnTo>
                          <a:lnTo>
                            <a:pt x="1854" y="15909"/>
                          </a:lnTo>
                          <a:lnTo>
                            <a:pt x="4306" y="12799"/>
                          </a:lnTo>
                          <a:lnTo>
                            <a:pt x="3290" y="12141"/>
                          </a:lnTo>
                          <a:lnTo>
                            <a:pt x="0" y="16268"/>
                          </a:lnTo>
                        </a:path>
                      </a:pathLst>
                    </a:custGeom>
                    <a:noFill/>
                    <a:ln w="6350" cap="flat">
                      <a:solidFill>
                        <a:schemeClr val="bg1">
                          <a:alpha val="80000"/>
                        </a:schemeClr>
                      </a:solidFill>
                      <a:prstDash val="solid"/>
                      <a:miter/>
                    </a:ln>
                  </p:spPr>
                  <p:txBody>
                    <a:bodyPr rtlCol="0" anchor="ctr"/>
                    <a:lstStyle/>
                    <a:p>
                      <a:endParaRPr lang="en-GB"/>
                    </a:p>
                  </p:txBody>
                </p:sp>
                <p:sp>
                  <p:nvSpPr>
                    <p:cNvPr id="7381" name="Vrije vorm: vorm 7380">
                      <a:extLst>
                        <a:ext uri="{FF2B5EF4-FFF2-40B4-BE49-F238E27FC236}">
                          <a16:creationId xmlns:a16="http://schemas.microsoft.com/office/drawing/2014/main" id="{10C74146-633F-4131-8896-49AABB1C7BA7}"/>
                        </a:ext>
                      </a:extLst>
                    </p:cNvPr>
                    <p:cNvSpPr/>
                    <p:nvPr/>
                  </p:nvSpPr>
                  <p:spPr>
                    <a:xfrm>
                      <a:off x="4754933" y="5104347"/>
                      <a:ext cx="653872" cy="443948"/>
                    </a:xfrm>
                    <a:custGeom>
                      <a:avLst/>
                      <a:gdLst>
                        <a:gd name="connsiteX0" fmla="*/ 624387 w 653872"/>
                        <a:gd name="connsiteY0" fmla="*/ 421282 h 443948"/>
                        <a:gd name="connsiteX1" fmla="*/ 624447 w 653872"/>
                        <a:gd name="connsiteY1" fmla="*/ 421162 h 443948"/>
                        <a:gd name="connsiteX2" fmla="*/ 624507 w 653872"/>
                        <a:gd name="connsiteY2" fmla="*/ 421043 h 443948"/>
                        <a:gd name="connsiteX3" fmla="*/ 624567 w 653872"/>
                        <a:gd name="connsiteY3" fmla="*/ 420923 h 443948"/>
                        <a:gd name="connsiteX4" fmla="*/ 624627 w 653872"/>
                        <a:gd name="connsiteY4" fmla="*/ 420803 h 443948"/>
                        <a:gd name="connsiteX5" fmla="*/ 624148 w 653872"/>
                        <a:gd name="connsiteY5" fmla="*/ 420505 h 443948"/>
                        <a:gd name="connsiteX6" fmla="*/ 624208 w 653872"/>
                        <a:gd name="connsiteY6" fmla="*/ 420684 h 443948"/>
                        <a:gd name="connsiteX7" fmla="*/ 624267 w 653872"/>
                        <a:gd name="connsiteY7" fmla="*/ 420863 h 443948"/>
                        <a:gd name="connsiteX8" fmla="*/ 624327 w 653872"/>
                        <a:gd name="connsiteY8" fmla="*/ 421043 h 443948"/>
                        <a:gd name="connsiteX9" fmla="*/ 624387 w 653872"/>
                        <a:gd name="connsiteY9" fmla="*/ 421282 h 443948"/>
                        <a:gd name="connsiteX10" fmla="*/ 129064 w 653872"/>
                        <a:gd name="connsiteY10" fmla="*/ 86182 h 443948"/>
                        <a:gd name="connsiteX11" fmla="*/ 129124 w 653872"/>
                        <a:gd name="connsiteY11" fmla="*/ 85883 h 443948"/>
                        <a:gd name="connsiteX12" fmla="*/ 129183 w 653872"/>
                        <a:gd name="connsiteY12" fmla="*/ 85584 h 443948"/>
                        <a:gd name="connsiteX13" fmla="*/ 129243 w 653872"/>
                        <a:gd name="connsiteY13" fmla="*/ 85285 h 443948"/>
                        <a:gd name="connsiteX14" fmla="*/ 129303 w 653872"/>
                        <a:gd name="connsiteY14" fmla="*/ 84986 h 443948"/>
                        <a:gd name="connsiteX15" fmla="*/ 127987 w 653872"/>
                        <a:gd name="connsiteY15" fmla="*/ 84089 h 443948"/>
                        <a:gd name="connsiteX16" fmla="*/ 128286 w 653872"/>
                        <a:gd name="connsiteY16" fmla="*/ 84567 h 443948"/>
                        <a:gd name="connsiteX17" fmla="*/ 128526 w 653872"/>
                        <a:gd name="connsiteY17" fmla="*/ 85046 h 443948"/>
                        <a:gd name="connsiteX18" fmla="*/ 128765 w 653872"/>
                        <a:gd name="connsiteY18" fmla="*/ 85524 h 443948"/>
                        <a:gd name="connsiteX19" fmla="*/ 129064 w 653872"/>
                        <a:gd name="connsiteY19" fmla="*/ 86182 h 443948"/>
                        <a:gd name="connsiteX20" fmla="*/ 624806 w 653872"/>
                        <a:gd name="connsiteY20" fmla="*/ 422060 h 443948"/>
                        <a:gd name="connsiteX21" fmla="*/ 625524 w 653872"/>
                        <a:gd name="connsiteY21" fmla="*/ 422538 h 443948"/>
                        <a:gd name="connsiteX22" fmla="*/ 625583 w 653872"/>
                        <a:gd name="connsiteY22" fmla="*/ 422418 h 443948"/>
                        <a:gd name="connsiteX23" fmla="*/ 625643 w 653872"/>
                        <a:gd name="connsiteY23" fmla="*/ 422299 h 443948"/>
                        <a:gd name="connsiteX24" fmla="*/ 625703 w 653872"/>
                        <a:gd name="connsiteY24" fmla="*/ 422179 h 443948"/>
                        <a:gd name="connsiteX25" fmla="*/ 625763 w 653872"/>
                        <a:gd name="connsiteY25" fmla="*/ 422060 h 443948"/>
                        <a:gd name="connsiteX26" fmla="*/ 625763 w 653872"/>
                        <a:gd name="connsiteY26" fmla="*/ 421940 h 443948"/>
                        <a:gd name="connsiteX27" fmla="*/ 625763 w 653872"/>
                        <a:gd name="connsiteY27" fmla="*/ 421820 h 443948"/>
                        <a:gd name="connsiteX28" fmla="*/ 625763 w 653872"/>
                        <a:gd name="connsiteY28" fmla="*/ 421701 h 443948"/>
                        <a:gd name="connsiteX29" fmla="*/ 625763 w 653872"/>
                        <a:gd name="connsiteY29" fmla="*/ 421581 h 443948"/>
                        <a:gd name="connsiteX30" fmla="*/ 625284 w 653872"/>
                        <a:gd name="connsiteY30" fmla="*/ 421282 h 443948"/>
                        <a:gd name="connsiteX31" fmla="*/ 625165 w 653872"/>
                        <a:gd name="connsiteY31" fmla="*/ 421521 h 443948"/>
                        <a:gd name="connsiteX32" fmla="*/ 625045 w 653872"/>
                        <a:gd name="connsiteY32" fmla="*/ 421761 h 443948"/>
                        <a:gd name="connsiteX33" fmla="*/ 624926 w 653872"/>
                        <a:gd name="connsiteY33" fmla="*/ 422000 h 443948"/>
                        <a:gd name="connsiteX34" fmla="*/ 624806 w 653872"/>
                        <a:gd name="connsiteY34" fmla="*/ 422060 h 443948"/>
                        <a:gd name="connsiteX35" fmla="*/ 622832 w 653872"/>
                        <a:gd name="connsiteY35" fmla="*/ 420744 h 443948"/>
                        <a:gd name="connsiteX36" fmla="*/ 623490 w 653872"/>
                        <a:gd name="connsiteY36" fmla="*/ 421162 h 443948"/>
                        <a:gd name="connsiteX37" fmla="*/ 623371 w 653872"/>
                        <a:gd name="connsiteY37" fmla="*/ 420923 h 443948"/>
                        <a:gd name="connsiteX38" fmla="*/ 623251 w 653872"/>
                        <a:gd name="connsiteY38" fmla="*/ 420684 h 443948"/>
                        <a:gd name="connsiteX39" fmla="*/ 623132 w 653872"/>
                        <a:gd name="connsiteY39" fmla="*/ 420445 h 443948"/>
                        <a:gd name="connsiteX40" fmla="*/ 623012 w 653872"/>
                        <a:gd name="connsiteY40" fmla="*/ 420206 h 443948"/>
                        <a:gd name="connsiteX41" fmla="*/ 622952 w 653872"/>
                        <a:gd name="connsiteY41" fmla="*/ 420325 h 443948"/>
                        <a:gd name="connsiteX42" fmla="*/ 622892 w 653872"/>
                        <a:gd name="connsiteY42" fmla="*/ 420445 h 443948"/>
                        <a:gd name="connsiteX43" fmla="*/ 622832 w 653872"/>
                        <a:gd name="connsiteY43" fmla="*/ 420564 h 443948"/>
                        <a:gd name="connsiteX44" fmla="*/ 622832 w 653872"/>
                        <a:gd name="connsiteY44" fmla="*/ 420744 h 443948"/>
                        <a:gd name="connsiteX45" fmla="*/ 621517 w 653872"/>
                        <a:gd name="connsiteY45" fmla="*/ 419847 h 443948"/>
                        <a:gd name="connsiteX46" fmla="*/ 622234 w 653872"/>
                        <a:gd name="connsiteY46" fmla="*/ 420325 h 443948"/>
                        <a:gd name="connsiteX47" fmla="*/ 622294 w 653872"/>
                        <a:gd name="connsiteY47" fmla="*/ 420086 h 443948"/>
                        <a:gd name="connsiteX48" fmla="*/ 622354 w 653872"/>
                        <a:gd name="connsiteY48" fmla="*/ 419847 h 443948"/>
                        <a:gd name="connsiteX49" fmla="*/ 622413 w 653872"/>
                        <a:gd name="connsiteY49" fmla="*/ 419607 h 443948"/>
                        <a:gd name="connsiteX50" fmla="*/ 622473 w 653872"/>
                        <a:gd name="connsiteY50" fmla="*/ 419368 h 443948"/>
                        <a:gd name="connsiteX51" fmla="*/ 621696 w 653872"/>
                        <a:gd name="connsiteY51" fmla="*/ 418830 h 443948"/>
                        <a:gd name="connsiteX52" fmla="*/ 621636 w 653872"/>
                        <a:gd name="connsiteY52" fmla="*/ 419069 h 443948"/>
                        <a:gd name="connsiteX53" fmla="*/ 621576 w 653872"/>
                        <a:gd name="connsiteY53" fmla="*/ 419308 h 443948"/>
                        <a:gd name="connsiteX54" fmla="*/ 621517 w 653872"/>
                        <a:gd name="connsiteY54" fmla="*/ 419547 h 443948"/>
                        <a:gd name="connsiteX55" fmla="*/ 621517 w 653872"/>
                        <a:gd name="connsiteY55" fmla="*/ 419847 h 443948"/>
                        <a:gd name="connsiteX56" fmla="*/ 610333 w 653872"/>
                        <a:gd name="connsiteY56" fmla="*/ 412251 h 443948"/>
                        <a:gd name="connsiteX57" fmla="*/ 620978 w 653872"/>
                        <a:gd name="connsiteY57" fmla="*/ 419488 h 443948"/>
                        <a:gd name="connsiteX58" fmla="*/ 621038 w 653872"/>
                        <a:gd name="connsiteY58" fmla="*/ 419248 h 443948"/>
                        <a:gd name="connsiteX59" fmla="*/ 621098 w 653872"/>
                        <a:gd name="connsiteY59" fmla="*/ 419009 h 443948"/>
                        <a:gd name="connsiteX60" fmla="*/ 621158 w 653872"/>
                        <a:gd name="connsiteY60" fmla="*/ 418770 h 443948"/>
                        <a:gd name="connsiteX61" fmla="*/ 621218 w 653872"/>
                        <a:gd name="connsiteY61" fmla="*/ 418531 h 443948"/>
                        <a:gd name="connsiteX62" fmla="*/ 610871 w 653872"/>
                        <a:gd name="connsiteY62" fmla="*/ 411474 h 443948"/>
                        <a:gd name="connsiteX63" fmla="*/ 610333 w 653872"/>
                        <a:gd name="connsiteY63" fmla="*/ 412251 h 443948"/>
                        <a:gd name="connsiteX64" fmla="*/ 579532 w 653872"/>
                        <a:gd name="connsiteY64" fmla="*/ 391438 h 443948"/>
                        <a:gd name="connsiteX65" fmla="*/ 609794 w 653872"/>
                        <a:gd name="connsiteY65" fmla="*/ 411952 h 443948"/>
                        <a:gd name="connsiteX66" fmla="*/ 610393 w 653872"/>
                        <a:gd name="connsiteY66" fmla="*/ 411234 h 443948"/>
                        <a:gd name="connsiteX67" fmla="*/ 580130 w 653872"/>
                        <a:gd name="connsiteY67" fmla="*/ 390721 h 443948"/>
                        <a:gd name="connsiteX68" fmla="*/ 579532 w 653872"/>
                        <a:gd name="connsiteY68" fmla="*/ 391438 h 443948"/>
                        <a:gd name="connsiteX69" fmla="*/ 570322 w 653872"/>
                        <a:gd name="connsiteY69" fmla="*/ 385158 h 443948"/>
                        <a:gd name="connsiteX70" fmla="*/ 578994 w 653872"/>
                        <a:gd name="connsiteY70" fmla="*/ 391020 h 443948"/>
                        <a:gd name="connsiteX71" fmla="*/ 579592 w 653872"/>
                        <a:gd name="connsiteY71" fmla="*/ 390242 h 443948"/>
                        <a:gd name="connsiteX72" fmla="*/ 570920 w 653872"/>
                        <a:gd name="connsiteY72" fmla="*/ 384381 h 443948"/>
                        <a:gd name="connsiteX73" fmla="*/ 570322 w 653872"/>
                        <a:gd name="connsiteY73" fmla="*/ 385158 h 443948"/>
                        <a:gd name="connsiteX74" fmla="*/ 563205 w 653872"/>
                        <a:gd name="connsiteY74" fmla="*/ 380374 h 443948"/>
                        <a:gd name="connsiteX75" fmla="*/ 569723 w 653872"/>
                        <a:gd name="connsiteY75" fmla="*/ 384799 h 443948"/>
                        <a:gd name="connsiteX76" fmla="*/ 570322 w 653872"/>
                        <a:gd name="connsiteY76" fmla="*/ 384022 h 443948"/>
                        <a:gd name="connsiteX77" fmla="*/ 563802 w 653872"/>
                        <a:gd name="connsiteY77" fmla="*/ 379596 h 443948"/>
                        <a:gd name="connsiteX78" fmla="*/ 563205 w 653872"/>
                        <a:gd name="connsiteY78" fmla="*/ 380374 h 443948"/>
                        <a:gd name="connsiteX79" fmla="*/ 344071 w 653872"/>
                        <a:gd name="connsiteY79" fmla="*/ 231992 h 443948"/>
                        <a:gd name="connsiteX80" fmla="*/ 562726 w 653872"/>
                        <a:gd name="connsiteY80" fmla="*/ 380015 h 443948"/>
                        <a:gd name="connsiteX81" fmla="*/ 563324 w 653872"/>
                        <a:gd name="connsiteY81" fmla="*/ 379237 h 443948"/>
                        <a:gd name="connsiteX82" fmla="*/ 344011 w 653872"/>
                        <a:gd name="connsiteY82" fmla="*/ 230557 h 443948"/>
                        <a:gd name="connsiteX83" fmla="*/ 343951 w 653872"/>
                        <a:gd name="connsiteY83" fmla="*/ 230676 h 443948"/>
                        <a:gd name="connsiteX84" fmla="*/ 343892 w 653872"/>
                        <a:gd name="connsiteY84" fmla="*/ 230796 h 443948"/>
                        <a:gd name="connsiteX85" fmla="*/ 343832 w 653872"/>
                        <a:gd name="connsiteY85" fmla="*/ 230916 h 443948"/>
                        <a:gd name="connsiteX86" fmla="*/ 343772 w 653872"/>
                        <a:gd name="connsiteY86" fmla="*/ 231035 h 443948"/>
                        <a:gd name="connsiteX87" fmla="*/ 343832 w 653872"/>
                        <a:gd name="connsiteY87" fmla="*/ 231274 h 443948"/>
                        <a:gd name="connsiteX88" fmla="*/ 343892 w 653872"/>
                        <a:gd name="connsiteY88" fmla="*/ 231514 h 443948"/>
                        <a:gd name="connsiteX89" fmla="*/ 343951 w 653872"/>
                        <a:gd name="connsiteY89" fmla="*/ 231753 h 443948"/>
                        <a:gd name="connsiteX90" fmla="*/ 344071 w 653872"/>
                        <a:gd name="connsiteY90" fmla="*/ 231992 h 443948"/>
                        <a:gd name="connsiteX91" fmla="*/ 341738 w 653872"/>
                        <a:gd name="connsiteY91" fmla="*/ 230378 h 443948"/>
                        <a:gd name="connsiteX92" fmla="*/ 342695 w 653872"/>
                        <a:gd name="connsiteY92" fmla="*/ 231035 h 443948"/>
                        <a:gd name="connsiteX93" fmla="*/ 342576 w 653872"/>
                        <a:gd name="connsiteY93" fmla="*/ 230617 h 443948"/>
                        <a:gd name="connsiteX94" fmla="*/ 342396 w 653872"/>
                        <a:gd name="connsiteY94" fmla="*/ 230198 h 443948"/>
                        <a:gd name="connsiteX95" fmla="*/ 342217 w 653872"/>
                        <a:gd name="connsiteY95" fmla="*/ 229779 h 443948"/>
                        <a:gd name="connsiteX96" fmla="*/ 342038 w 653872"/>
                        <a:gd name="connsiteY96" fmla="*/ 229361 h 443948"/>
                        <a:gd name="connsiteX97" fmla="*/ 342038 w 653872"/>
                        <a:gd name="connsiteY97" fmla="*/ 229361 h 443948"/>
                        <a:gd name="connsiteX98" fmla="*/ 341978 w 653872"/>
                        <a:gd name="connsiteY98" fmla="*/ 229659 h 443948"/>
                        <a:gd name="connsiteX99" fmla="*/ 341918 w 653872"/>
                        <a:gd name="connsiteY99" fmla="*/ 229959 h 443948"/>
                        <a:gd name="connsiteX100" fmla="*/ 341858 w 653872"/>
                        <a:gd name="connsiteY100" fmla="*/ 230258 h 443948"/>
                        <a:gd name="connsiteX101" fmla="*/ 341738 w 653872"/>
                        <a:gd name="connsiteY101" fmla="*/ 230378 h 443948"/>
                        <a:gd name="connsiteX102" fmla="*/ 340722 w 653872"/>
                        <a:gd name="connsiteY102" fmla="*/ 229719 h 443948"/>
                        <a:gd name="connsiteX103" fmla="*/ 340901 w 653872"/>
                        <a:gd name="connsiteY103" fmla="*/ 229839 h 443948"/>
                        <a:gd name="connsiteX104" fmla="*/ 340961 w 653872"/>
                        <a:gd name="connsiteY104" fmla="*/ 229540 h 443948"/>
                        <a:gd name="connsiteX105" fmla="*/ 341021 w 653872"/>
                        <a:gd name="connsiteY105" fmla="*/ 229241 h 443948"/>
                        <a:gd name="connsiteX106" fmla="*/ 341080 w 653872"/>
                        <a:gd name="connsiteY106" fmla="*/ 228942 h 443948"/>
                        <a:gd name="connsiteX107" fmla="*/ 341140 w 653872"/>
                        <a:gd name="connsiteY107" fmla="*/ 228643 h 443948"/>
                        <a:gd name="connsiteX108" fmla="*/ 339705 w 653872"/>
                        <a:gd name="connsiteY108" fmla="*/ 227686 h 443948"/>
                        <a:gd name="connsiteX109" fmla="*/ 339944 w 653872"/>
                        <a:gd name="connsiteY109" fmla="*/ 228164 h 443948"/>
                        <a:gd name="connsiteX110" fmla="*/ 340183 w 653872"/>
                        <a:gd name="connsiteY110" fmla="*/ 228643 h 443948"/>
                        <a:gd name="connsiteX111" fmla="*/ 340423 w 653872"/>
                        <a:gd name="connsiteY111" fmla="*/ 229121 h 443948"/>
                        <a:gd name="connsiteX112" fmla="*/ 340722 w 653872"/>
                        <a:gd name="connsiteY112" fmla="*/ 229719 h 443948"/>
                        <a:gd name="connsiteX113" fmla="*/ 338688 w 653872"/>
                        <a:gd name="connsiteY113" fmla="*/ 228344 h 443948"/>
                        <a:gd name="connsiteX114" fmla="*/ 339047 w 653872"/>
                        <a:gd name="connsiteY114" fmla="*/ 228583 h 443948"/>
                        <a:gd name="connsiteX115" fmla="*/ 338987 w 653872"/>
                        <a:gd name="connsiteY115" fmla="*/ 228464 h 443948"/>
                        <a:gd name="connsiteX116" fmla="*/ 338927 w 653872"/>
                        <a:gd name="connsiteY116" fmla="*/ 228344 h 443948"/>
                        <a:gd name="connsiteX117" fmla="*/ 338868 w 653872"/>
                        <a:gd name="connsiteY117" fmla="*/ 228224 h 443948"/>
                        <a:gd name="connsiteX118" fmla="*/ 338808 w 653872"/>
                        <a:gd name="connsiteY118" fmla="*/ 228105 h 443948"/>
                        <a:gd name="connsiteX119" fmla="*/ 338808 w 653872"/>
                        <a:gd name="connsiteY119" fmla="*/ 228164 h 443948"/>
                        <a:gd name="connsiteX120" fmla="*/ 338808 w 653872"/>
                        <a:gd name="connsiteY120" fmla="*/ 228224 h 443948"/>
                        <a:gd name="connsiteX121" fmla="*/ 338808 w 653872"/>
                        <a:gd name="connsiteY121" fmla="*/ 228284 h 443948"/>
                        <a:gd name="connsiteX122" fmla="*/ 338688 w 653872"/>
                        <a:gd name="connsiteY122" fmla="*/ 228344 h 443948"/>
                        <a:gd name="connsiteX123" fmla="*/ 336715 w 653872"/>
                        <a:gd name="connsiteY123" fmla="*/ 226968 h 443948"/>
                        <a:gd name="connsiteX124" fmla="*/ 337851 w 653872"/>
                        <a:gd name="connsiteY124" fmla="*/ 227746 h 443948"/>
                        <a:gd name="connsiteX125" fmla="*/ 337911 w 653872"/>
                        <a:gd name="connsiteY125" fmla="*/ 227507 h 443948"/>
                        <a:gd name="connsiteX126" fmla="*/ 337970 w 653872"/>
                        <a:gd name="connsiteY126" fmla="*/ 227267 h 443948"/>
                        <a:gd name="connsiteX127" fmla="*/ 338030 w 653872"/>
                        <a:gd name="connsiteY127" fmla="*/ 227028 h 443948"/>
                        <a:gd name="connsiteX128" fmla="*/ 338090 w 653872"/>
                        <a:gd name="connsiteY128" fmla="*/ 226789 h 443948"/>
                        <a:gd name="connsiteX129" fmla="*/ 338030 w 653872"/>
                        <a:gd name="connsiteY129" fmla="*/ 226669 h 443948"/>
                        <a:gd name="connsiteX130" fmla="*/ 337970 w 653872"/>
                        <a:gd name="connsiteY130" fmla="*/ 226550 h 443948"/>
                        <a:gd name="connsiteX131" fmla="*/ 337911 w 653872"/>
                        <a:gd name="connsiteY131" fmla="*/ 226430 h 443948"/>
                        <a:gd name="connsiteX132" fmla="*/ 337851 w 653872"/>
                        <a:gd name="connsiteY132" fmla="*/ 226310 h 443948"/>
                        <a:gd name="connsiteX133" fmla="*/ 337073 w 653872"/>
                        <a:gd name="connsiteY133" fmla="*/ 225772 h 443948"/>
                        <a:gd name="connsiteX134" fmla="*/ 337014 w 653872"/>
                        <a:gd name="connsiteY134" fmla="*/ 226071 h 443948"/>
                        <a:gd name="connsiteX135" fmla="*/ 336954 w 653872"/>
                        <a:gd name="connsiteY135" fmla="*/ 226370 h 443948"/>
                        <a:gd name="connsiteX136" fmla="*/ 336894 w 653872"/>
                        <a:gd name="connsiteY136" fmla="*/ 226669 h 443948"/>
                        <a:gd name="connsiteX137" fmla="*/ 336715 w 653872"/>
                        <a:gd name="connsiteY137" fmla="*/ 226968 h 443948"/>
                        <a:gd name="connsiteX138" fmla="*/ 322959 w 653872"/>
                        <a:gd name="connsiteY138" fmla="*/ 217698 h 443948"/>
                        <a:gd name="connsiteX139" fmla="*/ 335817 w 653872"/>
                        <a:gd name="connsiteY139" fmla="*/ 226430 h 443948"/>
                        <a:gd name="connsiteX140" fmla="*/ 335877 w 653872"/>
                        <a:gd name="connsiteY140" fmla="*/ 226131 h 443948"/>
                        <a:gd name="connsiteX141" fmla="*/ 335937 w 653872"/>
                        <a:gd name="connsiteY141" fmla="*/ 225832 h 443948"/>
                        <a:gd name="connsiteX142" fmla="*/ 335997 w 653872"/>
                        <a:gd name="connsiteY142" fmla="*/ 225533 h 443948"/>
                        <a:gd name="connsiteX143" fmla="*/ 335997 w 653872"/>
                        <a:gd name="connsiteY143" fmla="*/ 225234 h 443948"/>
                        <a:gd name="connsiteX144" fmla="*/ 323677 w 653872"/>
                        <a:gd name="connsiteY144" fmla="*/ 216861 h 443948"/>
                        <a:gd name="connsiteX145" fmla="*/ 322959 w 653872"/>
                        <a:gd name="connsiteY145" fmla="*/ 217698 h 443948"/>
                        <a:gd name="connsiteX146" fmla="*/ 278403 w 653872"/>
                        <a:gd name="connsiteY146" fmla="*/ 187555 h 443948"/>
                        <a:gd name="connsiteX147" fmla="*/ 322241 w 653872"/>
                        <a:gd name="connsiteY147" fmla="*/ 217220 h 443948"/>
                        <a:gd name="connsiteX148" fmla="*/ 322959 w 653872"/>
                        <a:gd name="connsiteY148" fmla="*/ 216323 h 443948"/>
                        <a:gd name="connsiteX149" fmla="*/ 279180 w 653872"/>
                        <a:gd name="connsiteY149" fmla="*/ 186658 h 443948"/>
                        <a:gd name="connsiteX150" fmla="*/ 278403 w 653872"/>
                        <a:gd name="connsiteY150" fmla="*/ 187555 h 443948"/>
                        <a:gd name="connsiteX151" fmla="*/ 265006 w 653872"/>
                        <a:gd name="connsiteY151" fmla="*/ 178465 h 443948"/>
                        <a:gd name="connsiteX152" fmla="*/ 277625 w 653872"/>
                        <a:gd name="connsiteY152" fmla="*/ 187017 h 443948"/>
                        <a:gd name="connsiteX153" fmla="*/ 278343 w 653872"/>
                        <a:gd name="connsiteY153" fmla="*/ 186120 h 443948"/>
                        <a:gd name="connsiteX154" fmla="*/ 265723 w 653872"/>
                        <a:gd name="connsiteY154" fmla="*/ 177568 h 443948"/>
                        <a:gd name="connsiteX155" fmla="*/ 265006 w 653872"/>
                        <a:gd name="connsiteY155" fmla="*/ 178465 h 443948"/>
                        <a:gd name="connsiteX156" fmla="*/ 254659 w 653872"/>
                        <a:gd name="connsiteY156" fmla="*/ 171407 h 443948"/>
                        <a:gd name="connsiteX157" fmla="*/ 264228 w 653872"/>
                        <a:gd name="connsiteY157" fmla="*/ 177867 h 443948"/>
                        <a:gd name="connsiteX158" fmla="*/ 264946 w 653872"/>
                        <a:gd name="connsiteY158" fmla="*/ 176969 h 443948"/>
                        <a:gd name="connsiteX159" fmla="*/ 255377 w 653872"/>
                        <a:gd name="connsiteY159" fmla="*/ 170451 h 443948"/>
                        <a:gd name="connsiteX160" fmla="*/ 254659 w 653872"/>
                        <a:gd name="connsiteY160" fmla="*/ 171407 h 443948"/>
                        <a:gd name="connsiteX161" fmla="*/ 133131 w 653872"/>
                        <a:gd name="connsiteY161" fmla="*/ 89113 h 443948"/>
                        <a:gd name="connsiteX162" fmla="*/ 253881 w 653872"/>
                        <a:gd name="connsiteY162" fmla="*/ 170869 h 443948"/>
                        <a:gd name="connsiteX163" fmla="*/ 254599 w 653872"/>
                        <a:gd name="connsiteY163" fmla="*/ 169972 h 443948"/>
                        <a:gd name="connsiteX164" fmla="*/ 132712 w 653872"/>
                        <a:gd name="connsiteY164" fmla="*/ 87378 h 443948"/>
                        <a:gd name="connsiteX165" fmla="*/ 132712 w 653872"/>
                        <a:gd name="connsiteY165" fmla="*/ 87438 h 443948"/>
                        <a:gd name="connsiteX166" fmla="*/ 132712 w 653872"/>
                        <a:gd name="connsiteY166" fmla="*/ 87498 h 443948"/>
                        <a:gd name="connsiteX167" fmla="*/ 132712 w 653872"/>
                        <a:gd name="connsiteY167" fmla="*/ 87558 h 443948"/>
                        <a:gd name="connsiteX168" fmla="*/ 132712 w 653872"/>
                        <a:gd name="connsiteY168" fmla="*/ 87617 h 443948"/>
                        <a:gd name="connsiteX169" fmla="*/ 132832 w 653872"/>
                        <a:gd name="connsiteY169" fmla="*/ 88036 h 443948"/>
                        <a:gd name="connsiteX170" fmla="*/ 132951 w 653872"/>
                        <a:gd name="connsiteY170" fmla="*/ 88455 h 443948"/>
                        <a:gd name="connsiteX171" fmla="*/ 133071 w 653872"/>
                        <a:gd name="connsiteY171" fmla="*/ 88873 h 443948"/>
                        <a:gd name="connsiteX172" fmla="*/ 133131 w 653872"/>
                        <a:gd name="connsiteY172" fmla="*/ 89113 h 443948"/>
                        <a:gd name="connsiteX173" fmla="*/ 130021 w 653872"/>
                        <a:gd name="connsiteY173" fmla="*/ 87019 h 443948"/>
                        <a:gd name="connsiteX174" fmla="*/ 131336 w 653872"/>
                        <a:gd name="connsiteY174" fmla="*/ 87917 h 443948"/>
                        <a:gd name="connsiteX175" fmla="*/ 131336 w 653872"/>
                        <a:gd name="connsiteY175" fmla="*/ 87857 h 443948"/>
                        <a:gd name="connsiteX176" fmla="*/ 131336 w 653872"/>
                        <a:gd name="connsiteY176" fmla="*/ 87797 h 443948"/>
                        <a:gd name="connsiteX177" fmla="*/ 131336 w 653872"/>
                        <a:gd name="connsiteY177" fmla="*/ 87737 h 443948"/>
                        <a:gd name="connsiteX178" fmla="*/ 131336 w 653872"/>
                        <a:gd name="connsiteY178" fmla="*/ 87677 h 443948"/>
                        <a:gd name="connsiteX179" fmla="*/ 131217 w 653872"/>
                        <a:gd name="connsiteY179" fmla="*/ 87259 h 443948"/>
                        <a:gd name="connsiteX180" fmla="*/ 131037 w 653872"/>
                        <a:gd name="connsiteY180" fmla="*/ 86840 h 443948"/>
                        <a:gd name="connsiteX181" fmla="*/ 130858 w 653872"/>
                        <a:gd name="connsiteY181" fmla="*/ 86421 h 443948"/>
                        <a:gd name="connsiteX182" fmla="*/ 130679 w 653872"/>
                        <a:gd name="connsiteY182" fmla="*/ 86003 h 443948"/>
                        <a:gd name="connsiteX183" fmla="*/ 130260 w 653872"/>
                        <a:gd name="connsiteY183" fmla="*/ 85704 h 443948"/>
                        <a:gd name="connsiteX184" fmla="*/ 130200 w 653872"/>
                        <a:gd name="connsiteY184" fmla="*/ 86003 h 443948"/>
                        <a:gd name="connsiteX185" fmla="*/ 130081 w 653872"/>
                        <a:gd name="connsiteY185" fmla="*/ 86302 h 443948"/>
                        <a:gd name="connsiteX186" fmla="*/ 129961 w 653872"/>
                        <a:gd name="connsiteY186" fmla="*/ 86601 h 443948"/>
                        <a:gd name="connsiteX187" fmla="*/ 130021 w 653872"/>
                        <a:gd name="connsiteY187" fmla="*/ 87019 h 443948"/>
                        <a:gd name="connsiteX188" fmla="*/ 126492 w 653872"/>
                        <a:gd name="connsiteY188" fmla="*/ 84627 h 443948"/>
                        <a:gd name="connsiteX189" fmla="*/ 127090 w 653872"/>
                        <a:gd name="connsiteY189" fmla="*/ 85046 h 443948"/>
                        <a:gd name="connsiteX190" fmla="*/ 126971 w 653872"/>
                        <a:gd name="connsiteY190" fmla="*/ 84807 h 443948"/>
                        <a:gd name="connsiteX191" fmla="*/ 126851 w 653872"/>
                        <a:gd name="connsiteY191" fmla="*/ 84567 h 443948"/>
                        <a:gd name="connsiteX192" fmla="*/ 126732 w 653872"/>
                        <a:gd name="connsiteY192" fmla="*/ 84328 h 443948"/>
                        <a:gd name="connsiteX193" fmla="*/ 126612 w 653872"/>
                        <a:gd name="connsiteY193" fmla="*/ 84089 h 443948"/>
                        <a:gd name="connsiteX194" fmla="*/ 126612 w 653872"/>
                        <a:gd name="connsiteY194" fmla="*/ 84209 h 443948"/>
                        <a:gd name="connsiteX195" fmla="*/ 126612 w 653872"/>
                        <a:gd name="connsiteY195" fmla="*/ 84328 h 443948"/>
                        <a:gd name="connsiteX196" fmla="*/ 126612 w 653872"/>
                        <a:gd name="connsiteY196" fmla="*/ 84448 h 443948"/>
                        <a:gd name="connsiteX197" fmla="*/ 126492 w 653872"/>
                        <a:gd name="connsiteY197" fmla="*/ 84627 h 443948"/>
                        <a:gd name="connsiteX198" fmla="*/ 124100 w 653872"/>
                        <a:gd name="connsiteY198" fmla="*/ 83012 h 443948"/>
                        <a:gd name="connsiteX199" fmla="*/ 125475 w 653872"/>
                        <a:gd name="connsiteY199" fmla="*/ 83909 h 443948"/>
                        <a:gd name="connsiteX200" fmla="*/ 125535 w 653872"/>
                        <a:gd name="connsiteY200" fmla="*/ 83610 h 443948"/>
                        <a:gd name="connsiteX201" fmla="*/ 125595 w 653872"/>
                        <a:gd name="connsiteY201" fmla="*/ 83311 h 443948"/>
                        <a:gd name="connsiteX202" fmla="*/ 125655 w 653872"/>
                        <a:gd name="connsiteY202" fmla="*/ 83012 h 443948"/>
                        <a:gd name="connsiteX203" fmla="*/ 125715 w 653872"/>
                        <a:gd name="connsiteY203" fmla="*/ 82713 h 443948"/>
                        <a:gd name="connsiteX204" fmla="*/ 125655 w 653872"/>
                        <a:gd name="connsiteY204" fmla="*/ 82654 h 443948"/>
                        <a:gd name="connsiteX205" fmla="*/ 125595 w 653872"/>
                        <a:gd name="connsiteY205" fmla="*/ 82534 h 443948"/>
                        <a:gd name="connsiteX206" fmla="*/ 125535 w 653872"/>
                        <a:gd name="connsiteY206" fmla="*/ 82414 h 443948"/>
                        <a:gd name="connsiteX207" fmla="*/ 125475 w 653872"/>
                        <a:gd name="connsiteY207" fmla="*/ 82295 h 443948"/>
                        <a:gd name="connsiteX208" fmla="*/ 124339 w 653872"/>
                        <a:gd name="connsiteY208" fmla="*/ 81517 h 443948"/>
                        <a:gd name="connsiteX209" fmla="*/ 124279 w 653872"/>
                        <a:gd name="connsiteY209" fmla="*/ 81876 h 443948"/>
                        <a:gd name="connsiteX210" fmla="*/ 124219 w 653872"/>
                        <a:gd name="connsiteY210" fmla="*/ 82235 h 443948"/>
                        <a:gd name="connsiteX211" fmla="*/ 124159 w 653872"/>
                        <a:gd name="connsiteY211" fmla="*/ 82594 h 443948"/>
                        <a:gd name="connsiteX212" fmla="*/ 124100 w 653872"/>
                        <a:gd name="connsiteY212" fmla="*/ 83012 h 443948"/>
                        <a:gd name="connsiteX213" fmla="*/ 102689 w 653872"/>
                        <a:gd name="connsiteY213" fmla="*/ 68539 h 443948"/>
                        <a:gd name="connsiteX214" fmla="*/ 122964 w 653872"/>
                        <a:gd name="connsiteY214" fmla="*/ 82295 h 443948"/>
                        <a:gd name="connsiteX215" fmla="*/ 123023 w 653872"/>
                        <a:gd name="connsiteY215" fmla="*/ 81936 h 443948"/>
                        <a:gd name="connsiteX216" fmla="*/ 123083 w 653872"/>
                        <a:gd name="connsiteY216" fmla="*/ 81577 h 443948"/>
                        <a:gd name="connsiteX217" fmla="*/ 123143 w 653872"/>
                        <a:gd name="connsiteY217" fmla="*/ 81218 h 443948"/>
                        <a:gd name="connsiteX218" fmla="*/ 123203 w 653872"/>
                        <a:gd name="connsiteY218" fmla="*/ 80859 h 443948"/>
                        <a:gd name="connsiteX219" fmla="*/ 103526 w 653872"/>
                        <a:gd name="connsiteY219" fmla="*/ 67522 h 443948"/>
                        <a:gd name="connsiteX220" fmla="*/ 102689 w 653872"/>
                        <a:gd name="connsiteY220" fmla="*/ 68539 h 443948"/>
                        <a:gd name="connsiteX221" fmla="*/ 45812 w 653872"/>
                        <a:gd name="connsiteY221" fmla="*/ 30023 h 443948"/>
                        <a:gd name="connsiteX222" fmla="*/ 101732 w 653872"/>
                        <a:gd name="connsiteY222" fmla="*/ 67881 h 443948"/>
                        <a:gd name="connsiteX223" fmla="*/ 102509 w 653872"/>
                        <a:gd name="connsiteY223" fmla="*/ 66864 h 443948"/>
                        <a:gd name="connsiteX224" fmla="*/ 46590 w 653872"/>
                        <a:gd name="connsiteY224" fmla="*/ 28946 h 443948"/>
                        <a:gd name="connsiteX225" fmla="*/ 45812 w 653872"/>
                        <a:gd name="connsiteY225" fmla="*/ 30023 h 443948"/>
                        <a:gd name="connsiteX226" fmla="*/ 28648 w 653872"/>
                        <a:gd name="connsiteY226" fmla="*/ 18421 h 443948"/>
                        <a:gd name="connsiteX227" fmla="*/ 44796 w 653872"/>
                        <a:gd name="connsiteY227" fmla="*/ 29365 h 443948"/>
                        <a:gd name="connsiteX228" fmla="*/ 45633 w 653872"/>
                        <a:gd name="connsiteY228" fmla="*/ 28349 h 443948"/>
                        <a:gd name="connsiteX229" fmla="*/ 29485 w 653872"/>
                        <a:gd name="connsiteY229" fmla="*/ 17404 h 443948"/>
                        <a:gd name="connsiteX230" fmla="*/ 28648 w 653872"/>
                        <a:gd name="connsiteY230" fmla="*/ 18421 h 443948"/>
                        <a:gd name="connsiteX231" fmla="*/ 15370 w 653872"/>
                        <a:gd name="connsiteY231" fmla="*/ 9390 h 443948"/>
                        <a:gd name="connsiteX232" fmla="*/ 27631 w 653872"/>
                        <a:gd name="connsiteY232" fmla="*/ 17703 h 443948"/>
                        <a:gd name="connsiteX233" fmla="*/ 28468 w 653872"/>
                        <a:gd name="connsiteY233" fmla="*/ 16686 h 443948"/>
                        <a:gd name="connsiteX234" fmla="*/ 16208 w 653872"/>
                        <a:gd name="connsiteY234" fmla="*/ 8373 h 443948"/>
                        <a:gd name="connsiteX235" fmla="*/ 15370 w 653872"/>
                        <a:gd name="connsiteY235" fmla="*/ 9390 h 443948"/>
                        <a:gd name="connsiteX236" fmla="*/ 626301 w 653872"/>
                        <a:gd name="connsiteY236" fmla="*/ 427203 h 443948"/>
                        <a:gd name="connsiteX237" fmla="*/ 650762 w 653872"/>
                        <a:gd name="connsiteY237" fmla="*/ 443650 h 443948"/>
                        <a:gd name="connsiteX238" fmla="*/ 651241 w 653872"/>
                        <a:gd name="connsiteY238" fmla="*/ 443949 h 443948"/>
                        <a:gd name="connsiteX239" fmla="*/ 653872 w 653872"/>
                        <a:gd name="connsiteY239" fmla="*/ 440600 h 443948"/>
                        <a:gd name="connsiteX240" fmla="*/ 653394 w 653872"/>
                        <a:gd name="connsiteY240" fmla="*/ 440301 h 443948"/>
                        <a:gd name="connsiteX241" fmla="*/ 626600 w 653872"/>
                        <a:gd name="connsiteY241" fmla="*/ 422119 h 443948"/>
                        <a:gd name="connsiteX242" fmla="*/ 626660 w 653872"/>
                        <a:gd name="connsiteY242" fmla="*/ 422418 h 443948"/>
                        <a:gd name="connsiteX243" fmla="*/ 626720 w 653872"/>
                        <a:gd name="connsiteY243" fmla="*/ 422717 h 443948"/>
                        <a:gd name="connsiteX244" fmla="*/ 626720 w 653872"/>
                        <a:gd name="connsiteY244" fmla="*/ 423016 h 443948"/>
                        <a:gd name="connsiteX245" fmla="*/ 626720 w 653872"/>
                        <a:gd name="connsiteY245" fmla="*/ 423315 h 443948"/>
                        <a:gd name="connsiteX246" fmla="*/ 652856 w 653872"/>
                        <a:gd name="connsiteY246" fmla="*/ 441018 h 443948"/>
                        <a:gd name="connsiteX247" fmla="*/ 651300 w 653872"/>
                        <a:gd name="connsiteY247" fmla="*/ 442932 h 443948"/>
                        <a:gd name="connsiteX248" fmla="*/ 626481 w 653872"/>
                        <a:gd name="connsiteY248" fmla="*/ 426186 h 443948"/>
                        <a:gd name="connsiteX249" fmla="*/ 626421 w 653872"/>
                        <a:gd name="connsiteY249" fmla="*/ 426425 h 443948"/>
                        <a:gd name="connsiteX250" fmla="*/ 626361 w 653872"/>
                        <a:gd name="connsiteY250" fmla="*/ 426664 h 443948"/>
                        <a:gd name="connsiteX251" fmla="*/ 626301 w 653872"/>
                        <a:gd name="connsiteY251" fmla="*/ 426904 h 443948"/>
                        <a:gd name="connsiteX252" fmla="*/ 626301 w 653872"/>
                        <a:gd name="connsiteY252" fmla="*/ 427203 h 443948"/>
                        <a:gd name="connsiteX253" fmla="*/ 624806 w 653872"/>
                        <a:gd name="connsiteY253" fmla="*/ 426186 h 443948"/>
                        <a:gd name="connsiteX254" fmla="*/ 625643 w 653872"/>
                        <a:gd name="connsiteY254" fmla="*/ 426784 h 443948"/>
                        <a:gd name="connsiteX255" fmla="*/ 625703 w 653872"/>
                        <a:gd name="connsiteY255" fmla="*/ 426545 h 443948"/>
                        <a:gd name="connsiteX256" fmla="*/ 625763 w 653872"/>
                        <a:gd name="connsiteY256" fmla="*/ 426306 h 443948"/>
                        <a:gd name="connsiteX257" fmla="*/ 625823 w 653872"/>
                        <a:gd name="connsiteY257" fmla="*/ 426067 h 443948"/>
                        <a:gd name="connsiteX258" fmla="*/ 625882 w 653872"/>
                        <a:gd name="connsiteY258" fmla="*/ 425827 h 443948"/>
                        <a:gd name="connsiteX259" fmla="*/ 624986 w 653872"/>
                        <a:gd name="connsiteY259" fmla="*/ 425229 h 443948"/>
                        <a:gd name="connsiteX260" fmla="*/ 624986 w 653872"/>
                        <a:gd name="connsiteY260" fmla="*/ 425349 h 443948"/>
                        <a:gd name="connsiteX261" fmla="*/ 624986 w 653872"/>
                        <a:gd name="connsiteY261" fmla="*/ 425469 h 443948"/>
                        <a:gd name="connsiteX262" fmla="*/ 624986 w 653872"/>
                        <a:gd name="connsiteY262" fmla="*/ 425588 h 443948"/>
                        <a:gd name="connsiteX263" fmla="*/ 624986 w 653872"/>
                        <a:gd name="connsiteY263" fmla="*/ 425708 h 443948"/>
                        <a:gd name="connsiteX264" fmla="*/ 624986 w 653872"/>
                        <a:gd name="connsiteY264" fmla="*/ 425827 h 443948"/>
                        <a:gd name="connsiteX265" fmla="*/ 624986 w 653872"/>
                        <a:gd name="connsiteY265" fmla="*/ 425947 h 443948"/>
                        <a:gd name="connsiteX266" fmla="*/ 624986 w 653872"/>
                        <a:gd name="connsiteY266" fmla="*/ 426067 h 443948"/>
                        <a:gd name="connsiteX267" fmla="*/ 624806 w 653872"/>
                        <a:gd name="connsiteY267" fmla="*/ 426186 h 443948"/>
                        <a:gd name="connsiteX268" fmla="*/ 623191 w 653872"/>
                        <a:gd name="connsiteY268" fmla="*/ 425110 h 443948"/>
                        <a:gd name="connsiteX269" fmla="*/ 623849 w 653872"/>
                        <a:gd name="connsiteY269" fmla="*/ 425588 h 443948"/>
                        <a:gd name="connsiteX270" fmla="*/ 623909 w 653872"/>
                        <a:gd name="connsiteY270" fmla="*/ 425469 h 443948"/>
                        <a:gd name="connsiteX271" fmla="*/ 623969 w 653872"/>
                        <a:gd name="connsiteY271" fmla="*/ 425349 h 443948"/>
                        <a:gd name="connsiteX272" fmla="*/ 624028 w 653872"/>
                        <a:gd name="connsiteY272" fmla="*/ 425229 h 443948"/>
                        <a:gd name="connsiteX273" fmla="*/ 624088 w 653872"/>
                        <a:gd name="connsiteY273" fmla="*/ 425110 h 443948"/>
                        <a:gd name="connsiteX274" fmla="*/ 624088 w 653872"/>
                        <a:gd name="connsiteY274" fmla="*/ 425050 h 443948"/>
                        <a:gd name="connsiteX275" fmla="*/ 624088 w 653872"/>
                        <a:gd name="connsiteY275" fmla="*/ 424990 h 443948"/>
                        <a:gd name="connsiteX276" fmla="*/ 624088 w 653872"/>
                        <a:gd name="connsiteY276" fmla="*/ 424930 h 443948"/>
                        <a:gd name="connsiteX277" fmla="*/ 624088 w 653872"/>
                        <a:gd name="connsiteY277" fmla="*/ 424870 h 443948"/>
                        <a:gd name="connsiteX278" fmla="*/ 623550 w 653872"/>
                        <a:gd name="connsiteY278" fmla="*/ 424511 h 443948"/>
                        <a:gd name="connsiteX279" fmla="*/ 623430 w 653872"/>
                        <a:gd name="connsiteY279" fmla="*/ 424691 h 443948"/>
                        <a:gd name="connsiteX280" fmla="*/ 623311 w 653872"/>
                        <a:gd name="connsiteY280" fmla="*/ 424870 h 443948"/>
                        <a:gd name="connsiteX281" fmla="*/ 623191 w 653872"/>
                        <a:gd name="connsiteY281" fmla="*/ 425050 h 443948"/>
                        <a:gd name="connsiteX282" fmla="*/ 623191 w 653872"/>
                        <a:gd name="connsiteY282" fmla="*/ 425110 h 443948"/>
                        <a:gd name="connsiteX283" fmla="*/ 621277 w 653872"/>
                        <a:gd name="connsiteY283" fmla="*/ 423794 h 443948"/>
                        <a:gd name="connsiteX284" fmla="*/ 622713 w 653872"/>
                        <a:gd name="connsiteY284" fmla="*/ 424751 h 443948"/>
                        <a:gd name="connsiteX285" fmla="*/ 622832 w 653872"/>
                        <a:gd name="connsiteY285" fmla="*/ 424571 h 443948"/>
                        <a:gd name="connsiteX286" fmla="*/ 622952 w 653872"/>
                        <a:gd name="connsiteY286" fmla="*/ 424392 h 443948"/>
                        <a:gd name="connsiteX287" fmla="*/ 623072 w 653872"/>
                        <a:gd name="connsiteY287" fmla="*/ 424213 h 443948"/>
                        <a:gd name="connsiteX288" fmla="*/ 623191 w 653872"/>
                        <a:gd name="connsiteY288" fmla="*/ 424033 h 443948"/>
                        <a:gd name="connsiteX289" fmla="*/ 621756 w 653872"/>
                        <a:gd name="connsiteY289" fmla="*/ 423076 h 443948"/>
                        <a:gd name="connsiteX290" fmla="*/ 621636 w 653872"/>
                        <a:gd name="connsiteY290" fmla="*/ 423256 h 443948"/>
                        <a:gd name="connsiteX291" fmla="*/ 621517 w 653872"/>
                        <a:gd name="connsiteY291" fmla="*/ 423435 h 443948"/>
                        <a:gd name="connsiteX292" fmla="*/ 621397 w 653872"/>
                        <a:gd name="connsiteY292" fmla="*/ 423615 h 443948"/>
                        <a:gd name="connsiteX293" fmla="*/ 621277 w 653872"/>
                        <a:gd name="connsiteY293" fmla="*/ 423794 h 443948"/>
                        <a:gd name="connsiteX294" fmla="*/ 620081 w 653872"/>
                        <a:gd name="connsiteY294" fmla="*/ 422956 h 443948"/>
                        <a:gd name="connsiteX295" fmla="*/ 620739 w 653872"/>
                        <a:gd name="connsiteY295" fmla="*/ 423435 h 443948"/>
                        <a:gd name="connsiteX296" fmla="*/ 620859 w 653872"/>
                        <a:gd name="connsiteY296" fmla="*/ 423256 h 443948"/>
                        <a:gd name="connsiteX297" fmla="*/ 620978 w 653872"/>
                        <a:gd name="connsiteY297" fmla="*/ 423076 h 443948"/>
                        <a:gd name="connsiteX298" fmla="*/ 621098 w 653872"/>
                        <a:gd name="connsiteY298" fmla="*/ 422897 h 443948"/>
                        <a:gd name="connsiteX299" fmla="*/ 621218 w 653872"/>
                        <a:gd name="connsiteY299" fmla="*/ 422717 h 443948"/>
                        <a:gd name="connsiteX300" fmla="*/ 620559 w 653872"/>
                        <a:gd name="connsiteY300" fmla="*/ 422239 h 443948"/>
                        <a:gd name="connsiteX301" fmla="*/ 620440 w 653872"/>
                        <a:gd name="connsiteY301" fmla="*/ 422418 h 443948"/>
                        <a:gd name="connsiteX302" fmla="*/ 620320 w 653872"/>
                        <a:gd name="connsiteY302" fmla="*/ 422598 h 443948"/>
                        <a:gd name="connsiteX303" fmla="*/ 620201 w 653872"/>
                        <a:gd name="connsiteY303" fmla="*/ 422777 h 443948"/>
                        <a:gd name="connsiteX304" fmla="*/ 620081 w 653872"/>
                        <a:gd name="connsiteY304" fmla="*/ 422956 h 443948"/>
                        <a:gd name="connsiteX305" fmla="*/ 608180 w 653872"/>
                        <a:gd name="connsiteY305" fmla="*/ 414942 h 443948"/>
                        <a:gd name="connsiteX306" fmla="*/ 619543 w 653872"/>
                        <a:gd name="connsiteY306" fmla="*/ 422598 h 443948"/>
                        <a:gd name="connsiteX307" fmla="*/ 619663 w 653872"/>
                        <a:gd name="connsiteY307" fmla="*/ 422418 h 443948"/>
                        <a:gd name="connsiteX308" fmla="*/ 619782 w 653872"/>
                        <a:gd name="connsiteY308" fmla="*/ 422239 h 443948"/>
                        <a:gd name="connsiteX309" fmla="*/ 619902 w 653872"/>
                        <a:gd name="connsiteY309" fmla="*/ 422060 h 443948"/>
                        <a:gd name="connsiteX310" fmla="*/ 620021 w 653872"/>
                        <a:gd name="connsiteY310" fmla="*/ 421880 h 443948"/>
                        <a:gd name="connsiteX311" fmla="*/ 608778 w 653872"/>
                        <a:gd name="connsiteY311" fmla="*/ 414285 h 443948"/>
                        <a:gd name="connsiteX312" fmla="*/ 608180 w 653872"/>
                        <a:gd name="connsiteY312" fmla="*/ 414942 h 443948"/>
                        <a:gd name="connsiteX313" fmla="*/ 577319 w 653872"/>
                        <a:gd name="connsiteY313" fmla="*/ 394189 h 443948"/>
                        <a:gd name="connsiteX314" fmla="*/ 607641 w 653872"/>
                        <a:gd name="connsiteY314" fmla="*/ 414644 h 443948"/>
                        <a:gd name="connsiteX315" fmla="*/ 608180 w 653872"/>
                        <a:gd name="connsiteY315" fmla="*/ 413926 h 443948"/>
                        <a:gd name="connsiteX316" fmla="*/ 577857 w 653872"/>
                        <a:gd name="connsiteY316" fmla="*/ 393472 h 443948"/>
                        <a:gd name="connsiteX317" fmla="*/ 577319 w 653872"/>
                        <a:gd name="connsiteY317" fmla="*/ 394189 h 443948"/>
                        <a:gd name="connsiteX318" fmla="*/ 568109 w 653872"/>
                        <a:gd name="connsiteY318" fmla="*/ 387969 h 443948"/>
                        <a:gd name="connsiteX319" fmla="*/ 576781 w 653872"/>
                        <a:gd name="connsiteY319" fmla="*/ 393830 h 443948"/>
                        <a:gd name="connsiteX320" fmla="*/ 577379 w 653872"/>
                        <a:gd name="connsiteY320" fmla="*/ 393113 h 443948"/>
                        <a:gd name="connsiteX321" fmla="*/ 568707 w 653872"/>
                        <a:gd name="connsiteY321" fmla="*/ 387252 h 443948"/>
                        <a:gd name="connsiteX322" fmla="*/ 568109 w 653872"/>
                        <a:gd name="connsiteY322" fmla="*/ 387969 h 443948"/>
                        <a:gd name="connsiteX323" fmla="*/ 560992 w 653872"/>
                        <a:gd name="connsiteY323" fmla="*/ 383185 h 443948"/>
                        <a:gd name="connsiteX324" fmla="*/ 567570 w 653872"/>
                        <a:gd name="connsiteY324" fmla="*/ 387611 h 443948"/>
                        <a:gd name="connsiteX325" fmla="*/ 568169 w 653872"/>
                        <a:gd name="connsiteY325" fmla="*/ 386893 h 443948"/>
                        <a:gd name="connsiteX326" fmla="*/ 561590 w 653872"/>
                        <a:gd name="connsiteY326" fmla="*/ 382467 h 443948"/>
                        <a:gd name="connsiteX327" fmla="*/ 560992 w 653872"/>
                        <a:gd name="connsiteY327" fmla="*/ 383185 h 443948"/>
                        <a:gd name="connsiteX328" fmla="*/ 344489 w 653872"/>
                        <a:gd name="connsiteY328" fmla="*/ 237195 h 443948"/>
                        <a:gd name="connsiteX329" fmla="*/ 560453 w 653872"/>
                        <a:gd name="connsiteY329" fmla="*/ 382826 h 443948"/>
                        <a:gd name="connsiteX330" fmla="*/ 561052 w 653872"/>
                        <a:gd name="connsiteY330" fmla="*/ 382108 h 443948"/>
                        <a:gd name="connsiteX331" fmla="*/ 344489 w 653872"/>
                        <a:gd name="connsiteY331" fmla="*/ 235940 h 443948"/>
                        <a:gd name="connsiteX332" fmla="*/ 344489 w 653872"/>
                        <a:gd name="connsiteY332" fmla="*/ 236238 h 443948"/>
                        <a:gd name="connsiteX333" fmla="*/ 344489 w 653872"/>
                        <a:gd name="connsiteY333" fmla="*/ 236537 h 443948"/>
                        <a:gd name="connsiteX334" fmla="*/ 344489 w 653872"/>
                        <a:gd name="connsiteY334" fmla="*/ 236836 h 443948"/>
                        <a:gd name="connsiteX335" fmla="*/ 344489 w 653872"/>
                        <a:gd name="connsiteY335" fmla="*/ 237195 h 443948"/>
                        <a:gd name="connsiteX336" fmla="*/ 342157 w 653872"/>
                        <a:gd name="connsiteY336" fmla="*/ 235640 h 443948"/>
                        <a:gd name="connsiteX337" fmla="*/ 343473 w 653872"/>
                        <a:gd name="connsiteY337" fmla="*/ 236537 h 443948"/>
                        <a:gd name="connsiteX338" fmla="*/ 343473 w 653872"/>
                        <a:gd name="connsiteY338" fmla="*/ 236418 h 443948"/>
                        <a:gd name="connsiteX339" fmla="*/ 343473 w 653872"/>
                        <a:gd name="connsiteY339" fmla="*/ 236298 h 443948"/>
                        <a:gd name="connsiteX340" fmla="*/ 343473 w 653872"/>
                        <a:gd name="connsiteY340" fmla="*/ 236179 h 443948"/>
                        <a:gd name="connsiteX341" fmla="*/ 343473 w 653872"/>
                        <a:gd name="connsiteY341" fmla="*/ 236059 h 443948"/>
                        <a:gd name="connsiteX342" fmla="*/ 343473 w 653872"/>
                        <a:gd name="connsiteY342" fmla="*/ 235880 h 443948"/>
                        <a:gd name="connsiteX343" fmla="*/ 343473 w 653872"/>
                        <a:gd name="connsiteY343" fmla="*/ 235700 h 443948"/>
                        <a:gd name="connsiteX344" fmla="*/ 343473 w 653872"/>
                        <a:gd name="connsiteY344" fmla="*/ 235521 h 443948"/>
                        <a:gd name="connsiteX345" fmla="*/ 343473 w 653872"/>
                        <a:gd name="connsiteY345" fmla="*/ 235341 h 443948"/>
                        <a:gd name="connsiteX346" fmla="*/ 342516 w 653872"/>
                        <a:gd name="connsiteY346" fmla="*/ 234683 h 443948"/>
                        <a:gd name="connsiteX347" fmla="*/ 342456 w 653872"/>
                        <a:gd name="connsiteY347" fmla="*/ 234863 h 443948"/>
                        <a:gd name="connsiteX348" fmla="*/ 342396 w 653872"/>
                        <a:gd name="connsiteY348" fmla="*/ 235042 h 443948"/>
                        <a:gd name="connsiteX349" fmla="*/ 342337 w 653872"/>
                        <a:gd name="connsiteY349" fmla="*/ 235222 h 443948"/>
                        <a:gd name="connsiteX350" fmla="*/ 342277 w 653872"/>
                        <a:gd name="connsiteY350" fmla="*/ 235401 h 443948"/>
                        <a:gd name="connsiteX351" fmla="*/ 342277 w 653872"/>
                        <a:gd name="connsiteY351" fmla="*/ 235461 h 443948"/>
                        <a:gd name="connsiteX352" fmla="*/ 342277 w 653872"/>
                        <a:gd name="connsiteY352" fmla="*/ 235521 h 443948"/>
                        <a:gd name="connsiteX353" fmla="*/ 342277 w 653872"/>
                        <a:gd name="connsiteY353" fmla="*/ 235581 h 443948"/>
                        <a:gd name="connsiteX354" fmla="*/ 342157 w 653872"/>
                        <a:gd name="connsiteY354" fmla="*/ 235640 h 443948"/>
                        <a:gd name="connsiteX355" fmla="*/ 340303 w 653872"/>
                        <a:gd name="connsiteY355" fmla="*/ 234325 h 443948"/>
                        <a:gd name="connsiteX356" fmla="*/ 341080 w 653872"/>
                        <a:gd name="connsiteY356" fmla="*/ 234863 h 443948"/>
                        <a:gd name="connsiteX357" fmla="*/ 341021 w 653872"/>
                        <a:gd name="connsiteY357" fmla="*/ 234504 h 443948"/>
                        <a:gd name="connsiteX358" fmla="*/ 340961 w 653872"/>
                        <a:gd name="connsiteY358" fmla="*/ 234145 h 443948"/>
                        <a:gd name="connsiteX359" fmla="*/ 340901 w 653872"/>
                        <a:gd name="connsiteY359" fmla="*/ 233786 h 443948"/>
                        <a:gd name="connsiteX360" fmla="*/ 340841 w 653872"/>
                        <a:gd name="connsiteY360" fmla="*/ 233427 h 443948"/>
                        <a:gd name="connsiteX361" fmla="*/ 340722 w 653872"/>
                        <a:gd name="connsiteY361" fmla="*/ 233368 h 443948"/>
                        <a:gd name="connsiteX362" fmla="*/ 340602 w 653872"/>
                        <a:gd name="connsiteY362" fmla="*/ 233607 h 443948"/>
                        <a:gd name="connsiteX363" fmla="*/ 340482 w 653872"/>
                        <a:gd name="connsiteY363" fmla="*/ 233846 h 443948"/>
                        <a:gd name="connsiteX364" fmla="*/ 340363 w 653872"/>
                        <a:gd name="connsiteY364" fmla="*/ 234086 h 443948"/>
                        <a:gd name="connsiteX365" fmla="*/ 340303 w 653872"/>
                        <a:gd name="connsiteY365" fmla="*/ 234325 h 443948"/>
                        <a:gd name="connsiteX366" fmla="*/ 337313 w 653872"/>
                        <a:gd name="connsiteY366" fmla="*/ 232351 h 443948"/>
                        <a:gd name="connsiteX367" fmla="*/ 339525 w 653872"/>
                        <a:gd name="connsiteY367" fmla="*/ 233846 h 443948"/>
                        <a:gd name="connsiteX368" fmla="*/ 339645 w 653872"/>
                        <a:gd name="connsiteY368" fmla="*/ 233607 h 443948"/>
                        <a:gd name="connsiteX369" fmla="*/ 339765 w 653872"/>
                        <a:gd name="connsiteY369" fmla="*/ 233368 h 443948"/>
                        <a:gd name="connsiteX370" fmla="*/ 339884 w 653872"/>
                        <a:gd name="connsiteY370" fmla="*/ 233128 h 443948"/>
                        <a:gd name="connsiteX371" fmla="*/ 340004 w 653872"/>
                        <a:gd name="connsiteY371" fmla="*/ 232889 h 443948"/>
                        <a:gd name="connsiteX372" fmla="*/ 337791 w 653872"/>
                        <a:gd name="connsiteY372" fmla="*/ 231394 h 443948"/>
                        <a:gd name="connsiteX373" fmla="*/ 337671 w 653872"/>
                        <a:gd name="connsiteY373" fmla="*/ 231633 h 443948"/>
                        <a:gd name="connsiteX374" fmla="*/ 337552 w 653872"/>
                        <a:gd name="connsiteY374" fmla="*/ 231873 h 443948"/>
                        <a:gd name="connsiteX375" fmla="*/ 337432 w 653872"/>
                        <a:gd name="connsiteY375" fmla="*/ 232112 h 443948"/>
                        <a:gd name="connsiteX376" fmla="*/ 337313 w 653872"/>
                        <a:gd name="connsiteY376" fmla="*/ 232351 h 443948"/>
                        <a:gd name="connsiteX377" fmla="*/ 335518 w 653872"/>
                        <a:gd name="connsiteY377" fmla="*/ 231095 h 443948"/>
                        <a:gd name="connsiteX378" fmla="*/ 336535 w 653872"/>
                        <a:gd name="connsiteY378" fmla="*/ 231813 h 443948"/>
                        <a:gd name="connsiteX379" fmla="*/ 336655 w 653872"/>
                        <a:gd name="connsiteY379" fmla="*/ 231573 h 443948"/>
                        <a:gd name="connsiteX380" fmla="*/ 336774 w 653872"/>
                        <a:gd name="connsiteY380" fmla="*/ 231334 h 443948"/>
                        <a:gd name="connsiteX381" fmla="*/ 336894 w 653872"/>
                        <a:gd name="connsiteY381" fmla="*/ 231095 h 443948"/>
                        <a:gd name="connsiteX382" fmla="*/ 337014 w 653872"/>
                        <a:gd name="connsiteY382" fmla="*/ 230856 h 443948"/>
                        <a:gd name="connsiteX383" fmla="*/ 335997 w 653872"/>
                        <a:gd name="connsiteY383" fmla="*/ 230138 h 443948"/>
                        <a:gd name="connsiteX384" fmla="*/ 335877 w 653872"/>
                        <a:gd name="connsiteY384" fmla="*/ 230378 h 443948"/>
                        <a:gd name="connsiteX385" fmla="*/ 335757 w 653872"/>
                        <a:gd name="connsiteY385" fmla="*/ 230617 h 443948"/>
                        <a:gd name="connsiteX386" fmla="*/ 335638 w 653872"/>
                        <a:gd name="connsiteY386" fmla="*/ 230856 h 443948"/>
                        <a:gd name="connsiteX387" fmla="*/ 335518 w 653872"/>
                        <a:gd name="connsiteY387" fmla="*/ 231095 h 443948"/>
                        <a:gd name="connsiteX388" fmla="*/ 320387 w 653872"/>
                        <a:gd name="connsiteY388" fmla="*/ 220928 h 443948"/>
                        <a:gd name="connsiteX389" fmla="*/ 334741 w 653872"/>
                        <a:gd name="connsiteY389" fmla="*/ 230557 h 443948"/>
                        <a:gd name="connsiteX390" fmla="*/ 334861 w 653872"/>
                        <a:gd name="connsiteY390" fmla="*/ 230318 h 443948"/>
                        <a:gd name="connsiteX391" fmla="*/ 334980 w 653872"/>
                        <a:gd name="connsiteY391" fmla="*/ 230078 h 443948"/>
                        <a:gd name="connsiteX392" fmla="*/ 335040 w 653872"/>
                        <a:gd name="connsiteY392" fmla="*/ 229839 h 443948"/>
                        <a:gd name="connsiteX393" fmla="*/ 335100 w 653872"/>
                        <a:gd name="connsiteY393" fmla="*/ 229600 h 443948"/>
                        <a:gd name="connsiteX394" fmla="*/ 321105 w 653872"/>
                        <a:gd name="connsiteY394" fmla="*/ 220150 h 443948"/>
                        <a:gd name="connsiteX395" fmla="*/ 320387 w 653872"/>
                        <a:gd name="connsiteY395" fmla="*/ 220928 h 443948"/>
                        <a:gd name="connsiteX396" fmla="*/ 275771 w 653872"/>
                        <a:gd name="connsiteY396" fmla="*/ 190845 h 443948"/>
                        <a:gd name="connsiteX397" fmla="*/ 319669 w 653872"/>
                        <a:gd name="connsiteY397" fmla="*/ 220449 h 443948"/>
                        <a:gd name="connsiteX398" fmla="*/ 320327 w 653872"/>
                        <a:gd name="connsiteY398" fmla="*/ 219612 h 443948"/>
                        <a:gd name="connsiteX399" fmla="*/ 276489 w 653872"/>
                        <a:gd name="connsiteY399" fmla="*/ 190008 h 443948"/>
                        <a:gd name="connsiteX400" fmla="*/ 275771 w 653872"/>
                        <a:gd name="connsiteY400" fmla="*/ 190845 h 443948"/>
                        <a:gd name="connsiteX401" fmla="*/ 262374 w 653872"/>
                        <a:gd name="connsiteY401" fmla="*/ 181814 h 443948"/>
                        <a:gd name="connsiteX402" fmla="*/ 274994 w 653872"/>
                        <a:gd name="connsiteY402" fmla="*/ 190307 h 443948"/>
                        <a:gd name="connsiteX403" fmla="*/ 275711 w 653872"/>
                        <a:gd name="connsiteY403" fmla="*/ 189409 h 443948"/>
                        <a:gd name="connsiteX404" fmla="*/ 263092 w 653872"/>
                        <a:gd name="connsiteY404" fmla="*/ 180917 h 443948"/>
                        <a:gd name="connsiteX405" fmla="*/ 262374 w 653872"/>
                        <a:gd name="connsiteY405" fmla="*/ 181814 h 443948"/>
                        <a:gd name="connsiteX406" fmla="*/ 251968 w 653872"/>
                        <a:gd name="connsiteY406" fmla="*/ 174816 h 443948"/>
                        <a:gd name="connsiteX407" fmla="*/ 261537 w 653872"/>
                        <a:gd name="connsiteY407" fmla="*/ 181276 h 443948"/>
                        <a:gd name="connsiteX408" fmla="*/ 262255 w 653872"/>
                        <a:gd name="connsiteY408" fmla="*/ 180378 h 443948"/>
                        <a:gd name="connsiteX409" fmla="*/ 252686 w 653872"/>
                        <a:gd name="connsiteY409" fmla="*/ 173919 h 443948"/>
                        <a:gd name="connsiteX410" fmla="*/ 251968 w 653872"/>
                        <a:gd name="connsiteY410" fmla="*/ 174816 h 443948"/>
                        <a:gd name="connsiteX411" fmla="*/ 133609 w 653872"/>
                        <a:gd name="connsiteY411" fmla="*/ 94974 h 443948"/>
                        <a:gd name="connsiteX412" fmla="*/ 251190 w 653872"/>
                        <a:gd name="connsiteY412" fmla="*/ 174278 h 443948"/>
                        <a:gd name="connsiteX413" fmla="*/ 251908 w 653872"/>
                        <a:gd name="connsiteY413" fmla="*/ 173381 h 443948"/>
                        <a:gd name="connsiteX414" fmla="*/ 133669 w 653872"/>
                        <a:gd name="connsiteY414" fmla="*/ 93598 h 443948"/>
                        <a:gd name="connsiteX415" fmla="*/ 133669 w 653872"/>
                        <a:gd name="connsiteY415" fmla="*/ 93957 h 443948"/>
                        <a:gd name="connsiteX416" fmla="*/ 133669 w 653872"/>
                        <a:gd name="connsiteY416" fmla="*/ 94316 h 443948"/>
                        <a:gd name="connsiteX417" fmla="*/ 133669 w 653872"/>
                        <a:gd name="connsiteY417" fmla="*/ 94675 h 443948"/>
                        <a:gd name="connsiteX418" fmla="*/ 133609 w 653872"/>
                        <a:gd name="connsiteY418" fmla="*/ 94974 h 443948"/>
                        <a:gd name="connsiteX419" fmla="*/ 130858 w 653872"/>
                        <a:gd name="connsiteY419" fmla="*/ 93180 h 443948"/>
                        <a:gd name="connsiteX420" fmla="*/ 132413 w 653872"/>
                        <a:gd name="connsiteY420" fmla="*/ 94256 h 443948"/>
                        <a:gd name="connsiteX421" fmla="*/ 132413 w 653872"/>
                        <a:gd name="connsiteY421" fmla="*/ 93897 h 443948"/>
                        <a:gd name="connsiteX422" fmla="*/ 132413 w 653872"/>
                        <a:gd name="connsiteY422" fmla="*/ 93539 h 443948"/>
                        <a:gd name="connsiteX423" fmla="*/ 132413 w 653872"/>
                        <a:gd name="connsiteY423" fmla="*/ 93180 h 443948"/>
                        <a:gd name="connsiteX424" fmla="*/ 132413 w 653872"/>
                        <a:gd name="connsiteY424" fmla="*/ 92821 h 443948"/>
                        <a:gd name="connsiteX425" fmla="*/ 130978 w 653872"/>
                        <a:gd name="connsiteY425" fmla="*/ 91864 h 443948"/>
                        <a:gd name="connsiteX426" fmla="*/ 130918 w 653872"/>
                        <a:gd name="connsiteY426" fmla="*/ 91984 h 443948"/>
                        <a:gd name="connsiteX427" fmla="*/ 130858 w 653872"/>
                        <a:gd name="connsiteY427" fmla="*/ 92103 h 443948"/>
                        <a:gd name="connsiteX428" fmla="*/ 130798 w 653872"/>
                        <a:gd name="connsiteY428" fmla="*/ 92223 h 443948"/>
                        <a:gd name="connsiteX429" fmla="*/ 130739 w 653872"/>
                        <a:gd name="connsiteY429" fmla="*/ 92342 h 443948"/>
                        <a:gd name="connsiteX430" fmla="*/ 130739 w 653872"/>
                        <a:gd name="connsiteY430" fmla="*/ 92522 h 443948"/>
                        <a:gd name="connsiteX431" fmla="*/ 130739 w 653872"/>
                        <a:gd name="connsiteY431" fmla="*/ 92701 h 443948"/>
                        <a:gd name="connsiteX432" fmla="*/ 130739 w 653872"/>
                        <a:gd name="connsiteY432" fmla="*/ 92880 h 443948"/>
                        <a:gd name="connsiteX433" fmla="*/ 130739 w 653872"/>
                        <a:gd name="connsiteY433" fmla="*/ 93060 h 443948"/>
                        <a:gd name="connsiteX434" fmla="*/ 130739 w 653872"/>
                        <a:gd name="connsiteY434" fmla="*/ 93120 h 443948"/>
                        <a:gd name="connsiteX435" fmla="*/ 130739 w 653872"/>
                        <a:gd name="connsiteY435" fmla="*/ 93180 h 443948"/>
                        <a:gd name="connsiteX436" fmla="*/ 130858 w 653872"/>
                        <a:gd name="connsiteY436" fmla="*/ 93180 h 443948"/>
                        <a:gd name="connsiteX437" fmla="*/ 130858 w 653872"/>
                        <a:gd name="connsiteY437" fmla="*/ 93180 h 443948"/>
                        <a:gd name="connsiteX438" fmla="*/ 128286 w 653872"/>
                        <a:gd name="connsiteY438" fmla="*/ 91385 h 443948"/>
                        <a:gd name="connsiteX439" fmla="*/ 129542 w 653872"/>
                        <a:gd name="connsiteY439" fmla="*/ 92223 h 443948"/>
                        <a:gd name="connsiteX440" fmla="*/ 129542 w 653872"/>
                        <a:gd name="connsiteY440" fmla="*/ 92223 h 443948"/>
                        <a:gd name="connsiteX441" fmla="*/ 129542 w 653872"/>
                        <a:gd name="connsiteY441" fmla="*/ 92223 h 443948"/>
                        <a:gd name="connsiteX442" fmla="*/ 129542 w 653872"/>
                        <a:gd name="connsiteY442" fmla="*/ 92223 h 443948"/>
                        <a:gd name="connsiteX443" fmla="*/ 129542 w 653872"/>
                        <a:gd name="connsiteY443" fmla="*/ 92223 h 443948"/>
                        <a:gd name="connsiteX444" fmla="*/ 129482 w 653872"/>
                        <a:gd name="connsiteY444" fmla="*/ 91804 h 443948"/>
                        <a:gd name="connsiteX445" fmla="*/ 129423 w 653872"/>
                        <a:gd name="connsiteY445" fmla="*/ 91385 h 443948"/>
                        <a:gd name="connsiteX446" fmla="*/ 129363 w 653872"/>
                        <a:gd name="connsiteY446" fmla="*/ 90967 h 443948"/>
                        <a:gd name="connsiteX447" fmla="*/ 129303 w 653872"/>
                        <a:gd name="connsiteY447" fmla="*/ 90548 h 443948"/>
                        <a:gd name="connsiteX448" fmla="*/ 128825 w 653872"/>
                        <a:gd name="connsiteY448" fmla="*/ 90249 h 443948"/>
                        <a:gd name="connsiteX449" fmla="*/ 128705 w 653872"/>
                        <a:gd name="connsiteY449" fmla="*/ 90548 h 443948"/>
                        <a:gd name="connsiteX450" fmla="*/ 128586 w 653872"/>
                        <a:gd name="connsiteY450" fmla="*/ 90847 h 443948"/>
                        <a:gd name="connsiteX451" fmla="*/ 128466 w 653872"/>
                        <a:gd name="connsiteY451" fmla="*/ 91146 h 443948"/>
                        <a:gd name="connsiteX452" fmla="*/ 128286 w 653872"/>
                        <a:gd name="connsiteY452" fmla="*/ 91385 h 443948"/>
                        <a:gd name="connsiteX453" fmla="*/ 124877 w 653872"/>
                        <a:gd name="connsiteY453" fmla="*/ 89113 h 443948"/>
                        <a:gd name="connsiteX454" fmla="*/ 127329 w 653872"/>
                        <a:gd name="connsiteY454" fmla="*/ 90787 h 443948"/>
                        <a:gd name="connsiteX455" fmla="*/ 127449 w 653872"/>
                        <a:gd name="connsiteY455" fmla="*/ 90488 h 443948"/>
                        <a:gd name="connsiteX456" fmla="*/ 127569 w 653872"/>
                        <a:gd name="connsiteY456" fmla="*/ 90189 h 443948"/>
                        <a:gd name="connsiteX457" fmla="*/ 127688 w 653872"/>
                        <a:gd name="connsiteY457" fmla="*/ 89890 h 443948"/>
                        <a:gd name="connsiteX458" fmla="*/ 127808 w 653872"/>
                        <a:gd name="connsiteY458" fmla="*/ 89591 h 443948"/>
                        <a:gd name="connsiteX459" fmla="*/ 125356 w 653872"/>
                        <a:gd name="connsiteY459" fmla="*/ 87917 h 443948"/>
                        <a:gd name="connsiteX460" fmla="*/ 125236 w 653872"/>
                        <a:gd name="connsiteY460" fmla="*/ 88216 h 443948"/>
                        <a:gd name="connsiteX461" fmla="*/ 125117 w 653872"/>
                        <a:gd name="connsiteY461" fmla="*/ 88515 h 443948"/>
                        <a:gd name="connsiteX462" fmla="*/ 124997 w 653872"/>
                        <a:gd name="connsiteY462" fmla="*/ 88814 h 443948"/>
                        <a:gd name="connsiteX463" fmla="*/ 124877 w 653872"/>
                        <a:gd name="connsiteY463" fmla="*/ 89113 h 443948"/>
                        <a:gd name="connsiteX464" fmla="*/ 122664 w 653872"/>
                        <a:gd name="connsiteY464" fmla="*/ 87617 h 443948"/>
                        <a:gd name="connsiteX465" fmla="*/ 123920 w 653872"/>
                        <a:gd name="connsiteY465" fmla="*/ 88455 h 443948"/>
                        <a:gd name="connsiteX466" fmla="*/ 124040 w 653872"/>
                        <a:gd name="connsiteY466" fmla="*/ 88156 h 443948"/>
                        <a:gd name="connsiteX467" fmla="*/ 124159 w 653872"/>
                        <a:gd name="connsiteY467" fmla="*/ 87857 h 443948"/>
                        <a:gd name="connsiteX468" fmla="*/ 124279 w 653872"/>
                        <a:gd name="connsiteY468" fmla="*/ 87558 h 443948"/>
                        <a:gd name="connsiteX469" fmla="*/ 124399 w 653872"/>
                        <a:gd name="connsiteY469" fmla="*/ 87259 h 443948"/>
                        <a:gd name="connsiteX470" fmla="*/ 123143 w 653872"/>
                        <a:gd name="connsiteY470" fmla="*/ 86421 h 443948"/>
                        <a:gd name="connsiteX471" fmla="*/ 123023 w 653872"/>
                        <a:gd name="connsiteY471" fmla="*/ 86720 h 443948"/>
                        <a:gd name="connsiteX472" fmla="*/ 122904 w 653872"/>
                        <a:gd name="connsiteY472" fmla="*/ 87019 h 443948"/>
                        <a:gd name="connsiteX473" fmla="*/ 122784 w 653872"/>
                        <a:gd name="connsiteY473" fmla="*/ 87318 h 443948"/>
                        <a:gd name="connsiteX474" fmla="*/ 122664 w 653872"/>
                        <a:gd name="connsiteY474" fmla="*/ 87617 h 443948"/>
                        <a:gd name="connsiteX475" fmla="*/ 99818 w 653872"/>
                        <a:gd name="connsiteY475" fmla="*/ 72247 h 443948"/>
                        <a:gd name="connsiteX476" fmla="*/ 121648 w 653872"/>
                        <a:gd name="connsiteY476" fmla="*/ 86960 h 443948"/>
                        <a:gd name="connsiteX477" fmla="*/ 121767 w 653872"/>
                        <a:gd name="connsiteY477" fmla="*/ 86661 h 443948"/>
                        <a:gd name="connsiteX478" fmla="*/ 121887 w 653872"/>
                        <a:gd name="connsiteY478" fmla="*/ 86362 h 443948"/>
                        <a:gd name="connsiteX479" fmla="*/ 122007 w 653872"/>
                        <a:gd name="connsiteY479" fmla="*/ 86063 h 443948"/>
                        <a:gd name="connsiteX480" fmla="*/ 122126 w 653872"/>
                        <a:gd name="connsiteY480" fmla="*/ 85763 h 443948"/>
                        <a:gd name="connsiteX481" fmla="*/ 100595 w 653872"/>
                        <a:gd name="connsiteY481" fmla="*/ 71230 h 443948"/>
                        <a:gd name="connsiteX482" fmla="*/ 99818 w 653872"/>
                        <a:gd name="connsiteY482" fmla="*/ 72247 h 443948"/>
                        <a:gd name="connsiteX483" fmla="*/ 42822 w 653872"/>
                        <a:gd name="connsiteY483" fmla="*/ 33791 h 443948"/>
                        <a:gd name="connsiteX484" fmla="*/ 98861 w 653872"/>
                        <a:gd name="connsiteY484" fmla="*/ 71589 h 443948"/>
                        <a:gd name="connsiteX485" fmla="*/ 99639 w 653872"/>
                        <a:gd name="connsiteY485" fmla="*/ 70632 h 443948"/>
                        <a:gd name="connsiteX486" fmla="*/ 43659 w 653872"/>
                        <a:gd name="connsiteY486" fmla="*/ 32834 h 443948"/>
                        <a:gd name="connsiteX487" fmla="*/ 42822 w 653872"/>
                        <a:gd name="connsiteY487" fmla="*/ 33791 h 443948"/>
                        <a:gd name="connsiteX488" fmla="*/ 25657 w 653872"/>
                        <a:gd name="connsiteY488" fmla="*/ 22189 h 443948"/>
                        <a:gd name="connsiteX489" fmla="*/ 41865 w 653872"/>
                        <a:gd name="connsiteY489" fmla="*/ 33133 h 443948"/>
                        <a:gd name="connsiteX490" fmla="*/ 42642 w 653872"/>
                        <a:gd name="connsiteY490" fmla="*/ 32116 h 443948"/>
                        <a:gd name="connsiteX491" fmla="*/ 26435 w 653872"/>
                        <a:gd name="connsiteY491" fmla="*/ 21172 h 443948"/>
                        <a:gd name="connsiteX492" fmla="*/ 25657 w 653872"/>
                        <a:gd name="connsiteY492" fmla="*/ 22189 h 443948"/>
                        <a:gd name="connsiteX493" fmla="*/ 12320 w 653872"/>
                        <a:gd name="connsiteY493" fmla="*/ 13218 h 443948"/>
                        <a:gd name="connsiteX494" fmla="*/ 24581 w 653872"/>
                        <a:gd name="connsiteY494" fmla="*/ 21530 h 443948"/>
                        <a:gd name="connsiteX495" fmla="*/ 25358 w 653872"/>
                        <a:gd name="connsiteY495" fmla="*/ 20514 h 443948"/>
                        <a:gd name="connsiteX496" fmla="*/ 13098 w 653872"/>
                        <a:gd name="connsiteY496" fmla="*/ 12201 h 443948"/>
                        <a:gd name="connsiteX497" fmla="*/ 12320 w 653872"/>
                        <a:gd name="connsiteY497" fmla="*/ 13218 h 443948"/>
                        <a:gd name="connsiteX498" fmla="*/ 0 w 653872"/>
                        <a:gd name="connsiteY498" fmla="*/ 4904 h 443948"/>
                        <a:gd name="connsiteX499" fmla="*/ 1017 w 653872"/>
                        <a:gd name="connsiteY499" fmla="*/ 5562 h 443948"/>
                        <a:gd name="connsiteX500" fmla="*/ 11303 w 653872"/>
                        <a:gd name="connsiteY500" fmla="*/ 12500 h 443948"/>
                        <a:gd name="connsiteX501" fmla="*/ 12081 w 653872"/>
                        <a:gd name="connsiteY501" fmla="*/ 11483 h 443948"/>
                        <a:gd name="connsiteX502" fmla="*/ 1794 w 653872"/>
                        <a:gd name="connsiteY502" fmla="*/ 4545 h 443948"/>
                        <a:gd name="connsiteX503" fmla="*/ 4007 w 653872"/>
                        <a:gd name="connsiteY503" fmla="*/ 1674 h 443948"/>
                        <a:gd name="connsiteX504" fmla="*/ 14234 w 653872"/>
                        <a:gd name="connsiteY504" fmla="*/ 8612 h 443948"/>
                        <a:gd name="connsiteX505" fmla="*/ 15071 w 653872"/>
                        <a:gd name="connsiteY505" fmla="*/ 7596 h 443948"/>
                        <a:gd name="connsiteX506" fmla="*/ 4844 w 653872"/>
                        <a:gd name="connsiteY506" fmla="*/ 658 h 443948"/>
                        <a:gd name="connsiteX507" fmla="*/ 3827 w 653872"/>
                        <a:gd name="connsiteY507" fmla="*/ 0 h 443948"/>
                        <a:gd name="connsiteX508" fmla="*/ 0 w 653872"/>
                        <a:gd name="connsiteY508" fmla="*/ 4904 h 443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Lst>
                      <a:rect l="l" t="t" r="r" b="b"/>
                      <a:pathLst>
                        <a:path w="653872" h="443948">
                          <a:moveTo>
                            <a:pt x="624387" y="421282"/>
                          </a:moveTo>
                          <a:cubicBezTo>
                            <a:pt x="624387" y="421222"/>
                            <a:pt x="624447" y="421222"/>
                            <a:pt x="624447" y="421162"/>
                          </a:cubicBezTo>
                          <a:cubicBezTo>
                            <a:pt x="624447" y="421102"/>
                            <a:pt x="624507" y="421102"/>
                            <a:pt x="624507" y="421043"/>
                          </a:cubicBezTo>
                          <a:cubicBezTo>
                            <a:pt x="624507" y="420983"/>
                            <a:pt x="624567" y="420983"/>
                            <a:pt x="624567" y="420923"/>
                          </a:cubicBezTo>
                          <a:cubicBezTo>
                            <a:pt x="624567" y="420863"/>
                            <a:pt x="624627" y="420863"/>
                            <a:pt x="624627" y="420803"/>
                          </a:cubicBezTo>
                          <a:lnTo>
                            <a:pt x="624148" y="420505"/>
                          </a:lnTo>
                          <a:cubicBezTo>
                            <a:pt x="624148" y="420564"/>
                            <a:pt x="624208" y="420624"/>
                            <a:pt x="624208" y="420684"/>
                          </a:cubicBezTo>
                          <a:cubicBezTo>
                            <a:pt x="624208" y="420744"/>
                            <a:pt x="624267" y="420803"/>
                            <a:pt x="624267" y="420863"/>
                          </a:cubicBezTo>
                          <a:cubicBezTo>
                            <a:pt x="624267" y="420923"/>
                            <a:pt x="624327" y="420983"/>
                            <a:pt x="624327" y="421043"/>
                          </a:cubicBezTo>
                          <a:cubicBezTo>
                            <a:pt x="624387" y="421162"/>
                            <a:pt x="624387" y="421222"/>
                            <a:pt x="624387" y="421282"/>
                          </a:cubicBezTo>
                          <a:moveTo>
                            <a:pt x="129064" y="86182"/>
                          </a:moveTo>
                          <a:cubicBezTo>
                            <a:pt x="129064" y="86063"/>
                            <a:pt x="129124" y="86003"/>
                            <a:pt x="129124" y="85883"/>
                          </a:cubicBezTo>
                          <a:cubicBezTo>
                            <a:pt x="129124" y="85763"/>
                            <a:pt x="129183" y="85704"/>
                            <a:pt x="129183" y="85584"/>
                          </a:cubicBezTo>
                          <a:cubicBezTo>
                            <a:pt x="129183" y="85464"/>
                            <a:pt x="129243" y="85405"/>
                            <a:pt x="129243" y="85285"/>
                          </a:cubicBezTo>
                          <a:cubicBezTo>
                            <a:pt x="129243" y="85165"/>
                            <a:pt x="129303" y="85106"/>
                            <a:pt x="129303" y="84986"/>
                          </a:cubicBezTo>
                          <a:lnTo>
                            <a:pt x="127987" y="84089"/>
                          </a:lnTo>
                          <a:cubicBezTo>
                            <a:pt x="128107" y="84268"/>
                            <a:pt x="128167" y="84448"/>
                            <a:pt x="128286" y="84567"/>
                          </a:cubicBezTo>
                          <a:cubicBezTo>
                            <a:pt x="128406" y="84747"/>
                            <a:pt x="128466" y="84926"/>
                            <a:pt x="128526" y="85046"/>
                          </a:cubicBezTo>
                          <a:cubicBezTo>
                            <a:pt x="128586" y="85165"/>
                            <a:pt x="128705" y="85405"/>
                            <a:pt x="128765" y="85524"/>
                          </a:cubicBezTo>
                          <a:cubicBezTo>
                            <a:pt x="128884" y="85883"/>
                            <a:pt x="129004" y="86003"/>
                            <a:pt x="129064" y="86182"/>
                          </a:cubicBezTo>
                          <a:moveTo>
                            <a:pt x="624806" y="422060"/>
                          </a:moveTo>
                          <a:lnTo>
                            <a:pt x="625524" y="422538"/>
                          </a:lnTo>
                          <a:cubicBezTo>
                            <a:pt x="625524" y="422478"/>
                            <a:pt x="625583" y="422478"/>
                            <a:pt x="625583" y="422418"/>
                          </a:cubicBezTo>
                          <a:cubicBezTo>
                            <a:pt x="625583" y="422359"/>
                            <a:pt x="625643" y="422359"/>
                            <a:pt x="625643" y="422299"/>
                          </a:cubicBezTo>
                          <a:cubicBezTo>
                            <a:pt x="625643" y="422239"/>
                            <a:pt x="625703" y="422239"/>
                            <a:pt x="625703" y="422179"/>
                          </a:cubicBezTo>
                          <a:cubicBezTo>
                            <a:pt x="625703" y="422119"/>
                            <a:pt x="625763" y="422119"/>
                            <a:pt x="625763" y="422060"/>
                          </a:cubicBezTo>
                          <a:cubicBezTo>
                            <a:pt x="625763" y="422000"/>
                            <a:pt x="625763" y="422000"/>
                            <a:pt x="625763" y="421940"/>
                          </a:cubicBezTo>
                          <a:cubicBezTo>
                            <a:pt x="625763" y="421880"/>
                            <a:pt x="625763" y="421880"/>
                            <a:pt x="625763" y="421820"/>
                          </a:cubicBezTo>
                          <a:cubicBezTo>
                            <a:pt x="625763" y="421761"/>
                            <a:pt x="625763" y="421761"/>
                            <a:pt x="625763" y="421701"/>
                          </a:cubicBezTo>
                          <a:cubicBezTo>
                            <a:pt x="625763" y="421641"/>
                            <a:pt x="625763" y="421641"/>
                            <a:pt x="625763" y="421581"/>
                          </a:cubicBezTo>
                          <a:lnTo>
                            <a:pt x="625284" y="421282"/>
                          </a:lnTo>
                          <a:cubicBezTo>
                            <a:pt x="625225" y="421342"/>
                            <a:pt x="625225" y="421402"/>
                            <a:pt x="625165" y="421521"/>
                          </a:cubicBezTo>
                          <a:cubicBezTo>
                            <a:pt x="625105" y="421581"/>
                            <a:pt x="625105" y="421641"/>
                            <a:pt x="625045" y="421761"/>
                          </a:cubicBezTo>
                          <a:cubicBezTo>
                            <a:pt x="624986" y="421880"/>
                            <a:pt x="624986" y="421880"/>
                            <a:pt x="624926" y="422000"/>
                          </a:cubicBezTo>
                          <a:cubicBezTo>
                            <a:pt x="624866" y="421940"/>
                            <a:pt x="624806" y="422000"/>
                            <a:pt x="624806" y="422060"/>
                          </a:cubicBezTo>
                          <a:moveTo>
                            <a:pt x="622832" y="420744"/>
                          </a:moveTo>
                          <a:lnTo>
                            <a:pt x="623490" y="421162"/>
                          </a:lnTo>
                          <a:cubicBezTo>
                            <a:pt x="623430" y="421102"/>
                            <a:pt x="623430" y="420983"/>
                            <a:pt x="623371" y="420923"/>
                          </a:cubicBezTo>
                          <a:cubicBezTo>
                            <a:pt x="623311" y="420863"/>
                            <a:pt x="623311" y="420744"/>
                            <a:pt x="623251" y="420684"/>
                          </a:cubicBezTo>
                          <a:cubicBezTo>
                            <a:pt x="623191" y="420624"/>
                            <a:pt x="623191" y="420505"/>
                            <a:pt x="623132" y="420445"/>
                          </a:cubicBezTo>
                          <a:cubicBezTo>
                            <a:pt x="623072" y="420385"/>
                            <a:pt x="623072" y="420265"/>
                            <a:pt x="623012" y="420206"/>
                          </a:cubicBezTo>
                          <a:cubicBezTo>
                            <a:pt x="623012" y="420265"/>
                            <a:pt x="622952" y="420325"/>
                            <a:pt x="622952" y="420325"/>
                          </a:cubicBezTo>
                          <a:cubicBezTo>
                            <a:pt x="622952" y="420385"/>
                            <a:pt x="622892" y="420445"/>
                            <a:pt x="622892" y="420445"/>
                          </a:cubicBezTo>
                          <a:cubicBezTo>
                            <a:pt x="622892" y="420505"/>
                            <a:pt x="622832" y="420564"/>
                            <a:pt x="622832" y="420564"/>
                          </a:cubicBezTo>
                          <a:cubicBezTo>
                            <a:pt x="622832" y="420624"/>
                            <a:pt x="622832" y="420684"/>
                            <a:pt x="622832" y="420744"/>
                          </a:cubicBezTo>
                          <a:moveTo>
                            <a:pt x="621517" y="419847"/>
                          </a:moveTo>
                          <a:lnTo>
                            <a:pt x="622234" y="420325"/>
                          </a:lnTo>
                          <a:cubicBezTo>
                            <a:pt x="622294" y="420265"/>
                            <a:pt x="622294" y="420206"/>
                            <a:pt x="622294" y="420086"/>
                          </a:cubicBezTo>
                          <a:cubicBezTo>
                            <a:pt x="622294" y="420026"/>
                            <a:pt x="622354" y="419966"/>
                            <a:pt x="622354" y="419847"/>
                          </a:cubicBezTo>
                          <a:cubicBezTo>
                            <a:pt x="622354" y="419787"/>
                            <a:pt x="622413" y="419727"/>
                            <a:pt x="622413" y="419607"/>
                          </a:cubicBezTo>
                          <a:cubicBezTo>
                            <a:pt x="622413" y="419547"/>
                            <a:pt x="622473" y="419488"/>
                            <a:pt x="622473" y="419368"/>
                          </a:cubicBezTo>
                          <a:lnTo>
                            <a:pt x="621696" y="418830"/>
                          </a:lnTo>
                          <a:cubicBezTo>
                            <a:pt x="621696" y="418890"/>
                            <a:pt x="621636" y="419009"/>
                            <a:pt x="621636" y="419069"/>
                          </a:cubicBezTo>
                          <a:cubicBezTo>
                            <a:pt x="621636" y="419129"/>
                            <a:pt x="621576" y="419248"/>
                            <a:pt x="621576" y="419308"/>
                          </a:cubicBezTo>
                          <a:cubicBezTo>
                            <a:pt x="621576" y="419368"/>
                            <a:pt x="621517" y="419488"/>
                            <a:pt x="621517" y="419547"/>
                          </a:cubicBezTo>
                          <a:cubicBezTo>
                            <a:pt x="621576" y="419727"/>
                            <a:pt x="621576" y="419787"/>
                            <a:pt x="621517" y="419847"/>
                          </a:cubicBezTo>
                          <a:moveTo>
                            <a:pt x="610333" y="412251"/>
                          </a:moveTo>
                          <a:lnTo>
                            <a:pt x="620978" y="419488"/>
                          </a:lnTo>
                          <a:cubicBezTo>
                            <a:pt x="620978" y="419428"/>
                            <a:pt x="621038" y="419308"/>
                            <a:pt x="621038" y="419248"/>
                          </a:cubicBezTo>
                          <a:cubicBezTo>
                            <a:pt x="621038" y="419189"/>
                            <a:pt x="621098" y="419069"/>
                            <a:pt x="621098" y="419009"/>
                          </a:cubicBezTo>
                          <a:cubicBezTo>
                            <a:pt x="621098" y="418949"/>
                            <a:pt x="621158" y="418830"/>
                            <a:pt x="621158" y="418770"/>
                          </a:cubicBezTo>
                          <a:cubicBezTo>
                            <a:pt x="621158" y="418710"/>
                            <a:pt x="621218" y="418591"/>
                            <a:pt x="621218" y="418531"/>
                          </a:cubicBezTo>
                          <a:lnTo>
                            <a:pt x="610871" y="411474"/>
                          </a:lnTo>
                          <a:lnTo>
                            <a:pt x="610333" y="412251"/>
                          </a:lnTo>
                          <a:moveTo>
                            <a:pt x="579532" y="391438"/>
                          </a:moveTo>
                          <a:lnTo>
                            <a:pt x="609794" y="411952"/>
                          </a:lnTo>
                          <a:lnTo>
                            <a:pt x="610393" y="411234"/>
                          </a:lnTo>
                          <a:lnTo>
                            <a:pt x="580130" y="390721"/>
                          </a:lnTo>
                          <a:lnTo>
                            <a:pt x="579532" y="391438"/>
                          </a:lnTo>
                          <a:moveTo>
                            <a:pt x="570322" y="385158"/>
                          </a:moveTo>
                          <a:lnTo>
                            <a:pt x="578994" y="391020"/>
                          </a:lnTo>
                          <a:lnTo>
                            <a:pt x="579592" y="390242"/>
                          </a:lnTo>
                          <a:lnTo>
                            <a:pt x="570920" y="384381"/>
                          </a:lnTo>
                          <a:lnTo>
                            <a:pt x="570322" y="385158"/>
                          </a:lnTo>
                          <a:moveTo>
                            <a:pt x="563205" y="380374"/>
                          </a:moveTo>
                          <a:lnTo>
                            <a:pt x="569723" y="384799"/>
                          </a:lnTo>
                          <a:lnTo>
                            <a:pt x="570322" y="384022"/>
                          </a:lnTo>
                          <a:lnTo>
                            <a:pt x="563802" y="379596"/>
                          </a:lnTo>
                          <a:lnTo>
                            <a:pt x="563205" y="380374"/>
                          </a:lnTo>
                          <a:moveTo>
                            <a:pt x="344071" y="231992"/>
                          </a:moveTo>
                          <a:lnTo>
                            <a:pt x="562726" y="380015"/>
                          </a:lnTo>
                          <a:lnTo>
                            <a:pt x="563324" y="379237"/>
                          </a:lnTo>
                          <a:lnTo>
                            <a:pt x="344011" y="230557"/>
                          </a:lnTo>
                          <a:cubicBezTo>
                            <a:pt x="344011" y="230617"/>
                            <a:pt x="344011" y="230617"/>
                            <a:pt x="343951" y="230676"/>
                          </a:cubicBezTo>
                          <a:cubicBezTo>
                            <a:pt x="343951" y="230736"/>
                            <a:pt x="343951" y="230736"/>
                            <a:pt x="343892" y="230796"/>
                          </a:cubicBezTo>
                          <a:cubicBezTo>
                            <a:pt x="343892" y="230856"/>
                            <a:pt x="343892" y="230856"/>
                            <a:pt x="343832" y="230916"/>
                          </a:cubicBezTo>
                          <a:cubicBezTo>
                            <a:pt x="343832" y="230975"/>
                            <a:pt x="343832" y="230975"/>
                            <a:pt x="343772" y="231035"/>
                          </a:cubicBezTo>
                          <a:cubicBezTo>
                            <a:pt x="343772" y="231095"/>
                            <a:pt x="343832" y="231215"/>
                            <a:pt x="343832" y="231274"/>
                          </a:cubicBezTo>
                          <a:cubicBezTo>
                            <a:pt x="343832" y="231334"/>
                            <a:pt x="343892" y="231454"/>
                            <a:pt x="343892" y="231514"/>
                          </a:cubicBezTo>
                          <a:cubicBezTo>
                            <a:pt x="343892" y="231573"/>
                            <a:pt x="343951" y="231693"/>
                            <a:pt x="343951" y="231753"/>
                          </a:cubicBezTo>
                          <a:cubicBezTo>
                            <a:pt x="344011" y="231813"/>
                            <a:pt x="344011" y="231873"/>
                            <a:pt x="344071" y="231992"/>
                          </a:cubicBezTo>
                          <a:moveTo>
                            <a:pt x="341738" y="230378"/>
                          </a:moveTo>
                          <a:lnTo>
                            <a:pt x="342695" y="231035"/>
                          </a:lnTo>
                          <a:cubicBezTo>
                            <a:pt x="342635" y="230916"/>
                            <a:pt x="342576" y="230736"/>
                            <a:pt x="342576" y="230617"/>
                          </a:cubicBezTo>
                          <a:cubicBezTo>
                            <a:pt x="342516" y="230497"/>
                            <a:pt x="342456" y="230318"/>
                            <a:pt x="342396" y="230198"/>
                          </a:cubicBezTo>
                          <a:cubicBezTo>
                            <a:pt x="342337" y="230078"/>
                            <a:pt x="342277" y="229899"/>
                            <a:pt x="342217" y="229779"/>
                          </a:cubicBezTo>
                          <a:cubicBezTo>
                            <a:pt x="342157" y="229659"/>
                            <a:pt x="342097" y="229480"/>
                            <a:pt x="342038" y="229361"/>
                          </a:cubicBezTo>
                          <a:lnTo>
                            <a:pt x="342038" y="229361"/>
                          </a:lnTo>
                          <a:cubicBezTo>
                            <a:pt x="342038" y="229480"/>
                            <a:pt x="341978" y="229540"/>
                            <a:pt x="341978" y="229659"/>
                          </a:cubicBezTo>
                          <a:cubicBezTo>
                            <a:pt x="341978" y="229779"/>
                            <a:pt x="341918" y="229839"/>
                            <a:pt x="341918" y="229959"/>
                          </a:cubicBezTo>
                          <a:cubicBezTo>
                            <a:pt x="341918" y="230078"/>
                            <a:pt x="341858" y="230138"/>
                            <a:pt x="341858" y="230258"/>
                          </a:cubicBezTo>
                          <a:cubicBezTo>
                            <a:pt x="341858" y="230378"/>
                            <a:pt x="341738" y="230318"/>
                            <a:pt x="341738" y="230378"/>
                          </a:cubicBezTo>
                          <a:moveTo>
                            <a:pt x="340722" y="229719"/>
                          </a:moveTo>
                          <a:lnTo>
                            <a:pt x="340901" y="229839"/>
                          </a:lnTo>
                          <a:cubicBezTo>
                            <a:pt x="340901" y="229719"/>
                            <a:pt x="340961" y="229659"/>
                            <a:pt x="340961" y="229540"/>
                          </a:cubicBezTo>
                          <a:cubicBezTo>
                            <a:pt x="340961" y="229420"/>
                            <a:pt x="341021" y="229361"/>
                            <a:pt x="341021" y="229241"/>
                          </a:cubicBezTo>
                          <a:cubicBezTo>
                            <a:pt x="341021" y="229121"/>
                            <a:pt x="341080" y="229062"/>
                            <a:pt x="341080" y="228942"/>
                          </a:cubicBezTo>
                          <a:cubicBezTo>
                            <a:pt x="341080" y="228822"/>
                            <a:pt x="341140" y="228763"/>
                            <a:pt x="341140" y="228643"/>
                          </a:cubicBezTo>
                          <a:lnTo>
                            <a:pt x="339705" y="227686"/>
                          </a:lnTo>
                          <a:cubicBezTo>
                            <a:pt x="339824" y="227865"/>
                            <a:pt x="339884" y="228045"/>
                            <a:pt x="339944" y="228164"/>
                          </a:cubicBezTo>
                          <a:cubicBezTo>
                            <a:pt x="340004" y="228344"/>
                            <a:pt x="340124" y="228523"/>
                            <a:pt x="340183" y="228643"/>
                          </a:cubicBezTo>
                          <a:cubicBezTo>
                            <a:pt x="340243" y="228822"/>
                            <a:pt x="340363" y="229002"/>
                            <a:pt x="340423" y="229121"/>
                          </a:cubicBezTo>
                          <a:cubicBezTo>
                            <a:pt x="340602" y="229420"/>
                            <a:pt x="340662" y="229600"/>
                            <a:pt x="340722" y="229719"/>
                          </a:cubicBezTo>
                          <a:moveTo>
                            <a:pt x="338688" y="228344"/>
                          </a:moveTo>
                          <a:lnTo>
                            <a:pt x="339047" y="228583"/>
                          </a:lnTo>
                          <a:cubicBezTo>
                            <a:pt x="339047" y="228523"/>
                            <a:pt x="338987" y="228523"/>
                            <a:pt x="338987" y="228464"/>
                          </a:cubicBezTo>
                          <a:cubicBezTo>
                            <a:pt x="338987" y="228404"/>
                            <a:pt x="338927" y="228404"/>
                            <a:pt x="338927" y="228344"/>
                          </a:cubicBezTo>
                          <a:cubicBezTo>
                            <a:pt x="338927" y="228284"/>
                            <a:pt x="338868" y="228284"/>
                            <a:pt x="338868" y="228224"/>
                          </a:cubicBezTo>
                          <a:cubicBezTo>
                            <a:pt x="338868" y="228164"/>
                            <a:pt x="338808" y="228164"/>
                            <a:pt x="338808" y="228105"/>
                          </a:cubicBezTo>
                          <a:cubicBezTo>
                            <a:pt x="338808" y="228105"/>
                            <a:pt x="338808" y="228164"/>
                            <a:pt x="338808" y="228164"/>
                          </a:cubicBezTo>
                          <a:cubicBezTo>
                            <a:pt x="338808" y="228164"/>
                            <a:pt x="338808" y="228224"/>
                            <a:pt x="338808" y="228224"/>
                          </a:cubicBezTo>
                          <a:cubicBezTo>
                            <a:pt x="338808" y="228224"/>
                            <a:pt x="338808" y="228284"/>
                            <a:pt x="338808" y="228284"/>
                          </a:cubicBezTo>
                          <a:cubicBezTo>
                            <a:pt x="338688" y="228284"/>
                            <a:pt x="338688" y="228284"/>
                            <a:pt x="338688" y="228344"/>
                          </a:cubicBezTo>
                          <a:moveTo>
                            <a:pt x="336715" y="226968"/>
                          </a:moveTo>
                          <a:lnTo>
                            <a:pt x="337851" y="227746"/>
                          </a:lnTo>
                          <a:cubicBezTo>
                            <a:pt x="337851" y="227686"/>
                            <a:pt x="337911" y="227566"/>
                            <a:pt x="337911" y="227507"/>
                          </a:cubicBezTo>
                          <a:cubicBezTo>
                            <a:pt x="337911" y="227447"/>
                            <a:pt x="337970" y="227327"/>
                            <a:pt x="337970" y="227267"/>
                          </a:cubicBezTo>
                          <a:cubicBezTo>
                            <a:pt x="337970" y="227208"/>
                            <a:pt x="338030" y="227088"/>
                            <a:pt x="338030" y="227028"/>
                          </a:cubicBezTo>
                          <a:cubicBezTo>
                            <a:pt x="338030" y="226968"/>
                            <a:pt x="338030" y="226849"/>
                            <a:pt x="338090" y="226789"/>
                          </a:cubicBezTo>
                          <a:cubicBezTo>
                            <a:pt x="338090" y="226729"/>
                            <a:pt x="338030" y="226669"/>
                            <a:pt x="338030" y="226669"/>
                          </a:cubicBezTo>
                          <a:cubicBezTo>
                            <a:pt x="338030" y="226610"/>
                            <a:pt x="337970" y="226550"/>
                            <a:pt x="337970" y="226550"/>
                          </a:cubicBezTo>
                          <a:cubicBezTo>
                            <a:pt x="337970" y="226490"/>
                            <a:pt x="337911" y="226430"/>
                            <a:pt x="337911" y="226430"/>
                          </a:cubicBezTo>
                          <a:cubicBezTo>
                            <a:pt x="337911" y="226370"/>
                            <a:pt x="337851" y="226310"/>
                            <a:pt x="337851" y="226310"/>
                          </a:cubicBezTo>
                          <a:lnTo>
                            <a:pt x="337073" y="225772"/>
                          </a:lnTo>
                          <a:cubicBezTo>
                            <a:pt x="337073" y="225892"/>
                            <a:pt x="337073" y="225951"/>
                            <a:pt x="337014" y="226071"/>
                          </a:cubicBezTo>
                          <a:cubicBezTo>
                            <a:pt x="337014" y="226191"/>
                            <a:pt x="337014" y="226251"/>
                            <a:pt x="336954" y="226370"/>
                          </a:cubicBezTo>
                          <a:cubicBezTo>
                            <a:pt x="336894" y="226490"/>
                            <a:pt x="336894" y="226550"/>
                            <a:pt x="336894" y="226669"/>
                          </a:cubicBezTo>
                          <a:cubicBezTo>
                            <a:pt x="336715" y="226789"/>
                            <a:pt x="336715" y="226909"/>
                            <a:pt x="336715" y="226968"/>
                          </a:cubicBezTo>
                          <a:moveTo>
                            <a:pt x="322959" y="217698"/>
                          </a:moveTo>
                          <a:lnTo>
                            <a:pt x="335817" y="226430"/>
                          </a:lnTo>
                          <a:cubicBezTo>
                            <a:pt x="335817" y="226310"/>
                            <a:pt x="335877" y="226251"/>
                            <a:pt x="335877" y="226131"/>
                          </a:cubicBezTo>
                          <a:cubicBezTo>
                            <a:pt x="335877" y="226011"/>
                            <a:pt x="335877" y="225951"/>
                            <a:pt x="335937" y="225832"/>
                          </a:cubicBezTo>
                          <a:cubicBezTo>
                            <a:pt x="335937" y="225712"/>
                            <a:pt x="335937" y="225653"/>
                            <a:pt x="335997" y="225533"/>
                          </a:cubicBezTo>
                          <a:cubicBezTo>
                            <a:pt x="335997" y="225413"/>
                            <a:pt x="335997" y="225354"/>
                            <a:pt x="335997" y="225234"/>
                          </a:cubicBezTo>
                          <a:lnTo>
                            <a:pt x="323677" y="216861"/>
                          </a:lnTo>
                          <a:lnTo>
                            <a:pt x="322959" y="217698"/>
                          </a:lnTo>
                          <a:moveTo>
                            <a:pt x="278403" y="187555"/>
                          </a:moveTo>
                          <a:lnTo>
                            <a:pt x="322241" y="217220"/>
                          </a:lnTo>
                          <a:lnTo>
                            <a:pt x="322959" y="216323"/>
                          </a:lnTo>
                          <a:lnTo>
                            <a:pt x="279180" y="186658"/>
                          </a:lnTo>
                          <a:lnTo>
                            <a:pt x="278403" y="187555"/>
                          </a:lnTo>
                          <a:moveTo>
                            <a:pt x="265006" y="178465"/>
                          </a:moveTo>
                          <a:lnTo>
                            <a:pt x="277625" y="187017"/>
                          </a:lnTo>
                          <a:lnTo>
                            <a:pt x="278343" y="186120"/>
                          </a:lnTo>
                          <a:lnTo>
                            <a:pt x="265723" y="177568"/>
                          </a:lnTo>
                          <a:lnTo>
                            <a:pt x="265006" y="178465"/>
                          </a:lnTo>
                          <a:moveTo>
                            <a:pt x="254659" y="171407"/>
                          </a:moveTo>
                          <a:lnTo>
                            <a:pt x="264228" y="177867"/>
                          </a:lnTo>
                          <a:lnTo>
                            <a:pt x="264946" y="176969"/>
                          </a:lnTo>
                          <a:lnTo>
                            <a:pt x="255377" y="170451"/>
                          </a:lnTo>
                          <a:lnTo>
                            <a:pt x="254659" y="171407"/>
                          </a:lnTo>
                          <a:moveTo>
                            <a:pt x="133131" y="89113"/>
                          </a:moveTo>
                          <a:lnTo>
                            <a:pt x="253881" y="170869"/>
                          </a:lnTo>
                          <a:lnTo>
                            <a:pt x="254599" y="169972"/>
                          </a:lnTo>
                          <a:lnTo>
                            <a:pt x="132712" y="87378"/>
                          </a:lnTo>
                          <a:cubicBezTo>
                            <a:pt x="132712" y="87378"/>
                            <a:pt x="132712" y="87438"/>
                            <a:pt x="132712" y="87438"/>
                          </a:cubicBezTo>
                          <a:cubicBezTo>
                            <a:pt x="132712" y="87438"/>
                            <a:pt x="132712" y="87438"/>
                            <a:pt x="132712" y="87498"/>
                          </a:cubicBezTo>
                          <a:cubicBezTo>
                            <a:pt x="132712" y="87498"/>
                            <a:pt x="132712" y="87498"/>
                            <a:pt x="132712" y="87558"/>
                          </a:cubicBezTo>
                          <a:cubicBezTo>
                            <a:pt x="132712" y="87617"/>
                            <a:pt x="132712" y="87617"/>
                            <a:pt x="132712" y="87617"/>
                          </a:cubicBezTo>
                          <a:cubicBezTo>
                            <a:pt x="132772" y="87737"/>
                            <a:pt x="132772" y="87857"/>
                            <a:pt x="132832" y="88036"/>
                          </a:cubicBezTo>
                          <a:cubicBezTo>
                            <a:pt x="132891" y="88156"/>
                            <a:pt x="132891" y="88276"/>
                            <a:pt x="132951" y="88455"/>
                          </a:cubicBezTo>
                          <a:cubicBezTo>
                            <a:pt x="133011" y="88634"/>
                            <a:pt x="133011" y="88694"/>
                            <a:pt x="133071" y="88873"/>
                          </a:cubicBezTo>
                          <a:cubicBezTo>
                            <a:pt x="133071" y="88873"/>
                            <a:pt x="133071" y="88993"/>
                            <a:pt x="133131" y="89113"/>
                          </a:cubicBezTo>
                          <a:moveTo>
                            <a:pt x="130021" y="87019"/>
                          </a:moveTo>
                          <a:lnTo>
                            <a:pt x="131336" y="87917"/>
                          </a:lnTo>
                          <a:cubicBezTo>
                            <a:pt x="131336" y="87917"/>
                            <a:pt x="131336" y="87857"/>
                            <a:pt x="131336" y="87857"/>
                          </a:cubicBezTo>
                          <a:cubicBezTo>
                            <a:pt x="131336" y="87857"/>
                            <a:pt x="131336" y="87797"/>
                            <a:pt x="131336" y="87797"/>
                          </a:cubicBezTo>
                          <a:cubicBezTo>
                            <a:pt x="131336" y="87797"/>
                            <a:pt x="131336" y="87737"/>
                            <a:pt x="131336" y="87737"/>
                          </a:cubicBezTo>
                          <a:cubicBezTo>
                            <a:pt x="131336" y="87737"/>
                            <a:pt x="131336" y="87677"/>
                            <a:pt x="131336" y="87677"/>
                          </a:cubicBezTo>
                          <a:cubicBezTo>
                            <a:pt x="131277" y="87558"/>
                            <a:pt x="131217" y="87438"/>
                            <a:pt x="131217" y="87259"/>
                          </a:cubicBezTo>
                          <a:cubicBezTo>
                            <a:pt x="131217" y="87079"/>
                            <a:pt x="131097" y="87019"/>
                            <a:pt x="131037" y="86840"/>
                          </a:cubicBezTo>
                          <a:cubicBezTo>
                            <a:pt x="130978" y="86661"/>
                            <a:pt x="130918" y="86541"/>
                            <a:pt x="130858" y="86421"/>
                          </a:cubicBezTo>
                          <a:cubicBezTo>
                            <a:pt x="130798" y="86302"/>
                            <a:pt x="130739" y="86122"/>
                            <a:pt x="130679" y="86003"/>
                          </a:cubicBezTo>
                          <a:lnTo>
                            <a:pt x="130260" y="85704"/>
                          </a:lnTo>
                          <a:cubicBezTo>
                            <a:pt x="130260" y="85823"/>
                            <a:pt x="130200" y="85943"/>
                            <a:pt x="130200" y="86003"/>
                          </a:cubicBezTo>
                          <a:cubicBezTo>
                            <a:pt x="130140" y="86122"/>
                            <a:pt x="130140" y="86242"/>
                            <a:pt x="130081" y="86302"/>
                          </a:cubicBezTo>
                          <a:cubicBezTo>
                            <a:pt x="130021" y="86421"/>
                            <a:pt x="130021" y="86541"/>
                            <a:pt x="129961" y="86601"/>
                          </a:cubicBezTo>
                          <a:cubicBezTo>
                            <a:pt x="130081" y="86840"/>
                            <a:pt x="130021" y="86960"/>
                            <a:pt x="130021" y="87019"/>
                          </a:cubicBezTo>
                          <a:moveTo>
                            <a:pt x="126492" y="84627"/>
                          </a:moveTo>
                          <a:lnTo>
                            <a:pt x="127090" y="85046"/>
                          </a:lnTo>
                          <a:cubicBezTo>
                            <a:pt x="127030" y="84986"/>
                            <a:pt x="127030" y="84926"/>
                            <a:pt x="126971" y="84807"/>
                          </a:cubicBezTo>
                          <a:cubicBezTo>
                            <a:pt x="126911" y="84747"/>
                            <a:pt x="126911" y="84687"/>
                            <a:pt x="126851" y="84567"/>
                          </a:cubicBezTo>
                          <a:cubicBezTo>
                            <a:pt x="126791" y="84508"/>
                            <a:pt x="126791" y="84448"/>
                            <a:pt x="126732" y="84328"/>
                          </a:cubicBezTo>
                          <a:cubicBezTo>
                            <a:pt x="126672" y="84268"/>
                            <a:pt x="126672" y="84209"/>
                            <a:pt x="126612" y="84089"/>
                          </a:cubicBezTo>
                          <a:cubicBezTo>
                            <a:pt x="126612" y="84149"/>
                            <a:pt x="126612" y="84149"/>
                            <a:pt x="126612" y="84209"/>
                          </a:cubicBezTo>
                          <a:cubicBezTo>
                            <a:pt x="126612" y="84268"/>
                            <a:pt x="126612" y="84268"/>
                            <a:pt x="126612" y="84328"/>
                          </a:cubicBezTo>
                          <a:cubicBezTo>
                            <a:pt x="126612" y="84388"/>
                            <a:pt x="126612" y="84388"/>
                            <a:pt x="126612" y="84448"/>
                          </a:cubicBezTo>
                          <a:cubicBezTo>
                            <a:pt x="126492" y="84567"/>
                            <a:pt x="126492" y="84627"/>
                            <a:pt x="126492" y="84627"/>
                          </a:cubicBezTo>
                          <a:moveTo>
                            <a:pt x="124100" y="83012"/>
                          </a:moveTo>
                          <a:lnTo>
                            <a:pt x="125475" y="83909"/>
                          </a:lnTo>
                          <a:cubicBezTo>
                            <a:pt x="125475" y="83790"/>
                            <a:pt x="125535" y="83730"/>
                            <a:pt x="125535" y="83610"/>
                          </a:cubicBezTo>
                          <a:cubicBezTo>
                            <a:pt x="125535" y="83491"/>
                            <a:pt x="125595" y="83431"/>
                            <a:pt x="125595" y="83311"/>
                          </a:cubicBezTo>
                          <a:cubicBezTo>
                            <a:pt x="125595" y="83192"/>
                            <a:pt x="125655" y="83132"/>
                            <a:pt x="125655" y="83012"/>
                          </a:cubicBezTo>
                          <a:cubicBezTo>
                            <a:pt x="125655" y="82893"/>
                            <a:pt x="125715" y="82833"/>
                            <a:pt x="125715" y="82713"/>
                          </a:cubicBezTo>
                          <a:cubicBezTo>
                            <a:pt x="125715" y="82713"/>
                            <a:pt x="125655" y="82654"/>
                            <a:pt x="125655" y="82654"/>
                          </a:cubicBezTo>
                          <a:cubicBezTo>
                            <a:pt x="125655" y="82594"/>
                            <a:pt x="125595" y="82594"/>
                            <a:pt x="125595" y="82534"/>
                          </a:cubicBezTo>
                          <a:cubicBezTo>
                            <a:pt x="125595" y="82474"/>
                            <a:pt x="125535" y="82474"/>
                            <a:pt x="125535" y="82414"/>
                          </a:cubicBezTo>
                          <a:cubicBezTo>
                            <a:pt x="125535" y="82355"/>
                            <a:pt x="125475" y="82355"/>
                            <a:pt x="125475" y="82295"/>
                          </a:cubicBezTo>
                          <a:lnTo>
                            <a:pt x="124339" y="81517"/>
                          </a:lnTo>
                          <a:cubicBezTo>
                            <a:pt x="124339" y="81637"/>
                            <a:pt x="124339" y="81756"/>
                            <a:pt x="124279" y="81876"/>
                          </a:cubicBezTo>
                          <a:cubicBezTo>
                            <a:pt x="124279" y="81996"/>
                            <a:pt x="124219" y="82115"/>
                            <a:pt x="124219" y="82235"/>
                          </a:cubicBezTo>
                          <a:cubicBezTo>
                            <a:pt x="124219" y="82355"/>
                            <a:pt x="124159" y="82474"/>
                            <a:pt x="124159" y="82594"/>
                          </a:cubicBezTo>
                          <a:cubicBezTo>
                            <a:pt x="124159" y="82833"/>
                            <a:pt x="124100" y="82953"/>
                            <a:pt x="124100" y="83012"/>
                          </a:cubicBezTo>
                          <a:moveTo>
                            <a:pt x="102689" y="68539"/>
                          </a:moveTo>
                          <a:lnTo>
                            <a:pt x="122964" y="82295"/>
                          </a:lnTo>
                          <a:cubicBezTo>
                            <a:pt x="122964" y="82175"/>
                            <a:pt x="123023" y="82055"/>
                            <a:pt x="123023" y="81936"/>
                          </a:cubicBezTo>
                          <a:cubicBezTo>
                            <a:pt x="123023" y="81816"/>
                            <a:pt x="123083" y="81696"/>
                            <a:pt x="123083" y="81577"/>
                          </a:cubicBezTo>
                          <a:cubicBezTo>
                            <a:pt x="123083" y="81457"/>
                            <a:pt x="123083" y="81338"/>
                            <a:pt x="123143" y="81218"/>
                          </a:cubicBezTo>
                          <a:cubicBezTo>
                            <a:pt x="123143" y="81099"/>
                            <a:pt x="123143" y="80979"/>
                            <a:pt x="123203" y="80859"/>
                          </a:cubicBezTo>
                          <a:lnTo>
                            <a:pt x="103526" y="67522"/>
                          </a:lnTo>
                          <a:lnTo>
                            <a:pt x="102689" y="68539"/>
                          </a:lnTo>
                          <a:moveTo>
                            <a:pt x="45812" y="30023"/>
                          </a:moveTo>
                          <a:lnTo>
                            <a:pt x="101732" y="67881"/>
                          </a:lnTo>
                          <a:lnTo>
                            <a:pt x="102509" y="66864"/>
                          </a:lnTo>
                          <a:lnTo>
                            <a:pt x="46590" y="28946"/>
                          </a:lnTo>
                          <a:lnTo>
                            <a:pt x="45812" y="30023"/>
                          </a:lnTo>
                          <a:moveTo>
                            <a:pt x="28648" y="18421"/>
                          </a:moveTo>
                          <a:lnTo>
                            <a:pt x="44796" y="29365"/>
                          </a:lnTo>
                          <a:lnTo>
                            <a:pt x="45633" y="28349"/>
                          </a:lnTo>
                          <a:lnTo>
                            <a:pt x="29485" y="17404"/>
                          </a:lnTo>
                          <a:lnTo>
                            <a:pt x="28648" y="18421"/>
                          </a:lnTo>
                          <a:moveTo>
                            <a:pt x="15370" y="9390"/>
                          </a:moveTo>
                          <a:lnTo>
                            <a:pt x="27631" y="17703"/>
                          </a:lnTo>
                          <a:lnTo>
                            <a:pt x="28468" y="16686"/>
                          </a:lnTo>
                          <a:lnTo>
                            <a:pt x="16208" y="8373"/>
                          </a:lnTo>
                          <a:lnTo>
                            <a:pt x="15370" y="9390"/>
                          </a:lnTo>
                          <a:moveTo>
                            <a:pt x="626301" y="427203"/>
                          </a:moveTo>
                          <a:lnTo>
                            <a:pt x="650762" y="443650"/>
                          </a:lnTo>
                          <a:lnTo>
                            <a:pt x="651241" y="443949"/>
                          </a:lnTo>
                          <a:lnTo>
                            <a:pt x="653872" y="440600"/>
                          </a:lnTo>
                          <a:lnTo>
                            <a:pt x="653394" y="440301"/>
                          </a:lnTo>
                          <a:lnTo>
                            <a:pt x="626600" y="422119"/>
                          </a:lnTo>
                          <a:cubicBezTo>
                            <a:pt x="626600" y="422239"/>
                            <a:pt x="626600" y="422299"/>
                            <a:pt x="626660" y="422418"/>
                          </a:cubicBezTo>
                          <a:cubicBezTo>
                            <a:pt x="626660" y="422538"/>
                            <a:pt x="626660" y="422598"/>
                            <a:pt x="626720" y="422717"/>
                          </a:cubicBezTo>
                          <a:cubicBezTo>
                            <a:pt x="626720" y="422837"/>
                            <a:pt x="626720" y="422897"/>
                            <a:pt x="626720" y="423016"/>
                          </a:cubicBezTo>
                          <a:cubicBezTo>
                            <a:pt x="626720" y="423136"/>
                            <a:pt x="626720" y="423196"/>
                            <a:pt x="626720" y="423315"/>
                          </a:cubicBezTo>
                          <a:lnTo>
                            <a:pt x="652856" y="441018"/>
                          </a:lnTo>
                          <a:lnTo>
                            <a:pt x="651300" y="442932"/>
                          </a:lnTo>
                          <a:lnTo>
                            <a:pt x="626481" y="426186"/>
                          </a:lnTo>
                          <a:cubicBezTo>
                            <a:pt x="626481" y="426246"/>
                            <a:pt x="626481" y="426365"/>
                            <a:pt x="626421" y="426425"/>
                          </a:cubicBezTo>
                          <a:cubicBezTo>
                            <a:pt x="626361" y="426485"/>
                            <a:pt x="626361" y="426605"/>
                            <a:pt x="626361" y="426664"/>
                          </a:cubicBezTo>
                          <a:cubicBezTo>
                            <a:pt x="626361" y="426724"/>
                            <a:pt x="626301" y="426844"/>
                            <a:pt x="626301" y="426904"/>
                          </a:cubicBezTo>
                          <a:cubicBezTo>
                            <a:pt x="626361" y="427023"/>
                            <a:pt x="626301" y="427083"/>
                            <a:pt x="626301" y="427203"/>
                          </a:cubicBezTo>
                          <a:moveTo>
                            <a:pt x="624806" y="426186"/>
                          </a:moveTo>
                          <a:lnTo>
                            <a:pt x="625643" y="426784"/>
                          </a:lnTo>
                          <a:cubicBezTo>
                            <a:pt x="625643" y="426724"/>
                            <a:pt x="625703" y="426605"/>
                            <a:pt x="625703" y="426545"/>
                          </a:cubicBezTo>
                          <a:cubicBezTo>
                            <a:pt x="625703" y="426485"/>
                            <a:pt x="625703" y="426365"/>
                            <a:pt x="625763" y="426306"/>
                          </a:cubicBezTo>
                          <a:cubicBezTo>
                            <a:pt x="625763" y="426246"/>
                            <a:pt x="625763" y="426126"/>
                            <a:pt x="625823" y="426067"/>
                          </a:cubicBezTo>
                          <a:cubicBezTo>
                            <a:pt x="625882" y="426007"/>
                            <a:pt x="625823" y="425887"/>
                            <a:pt x="625882" y="425827"/>
                          </a:cubicBezTo>
                          <a:lnTo>
                            <a:pt x="624986" y="425229"/>
                          </a:lnTo>
                          <a:cubicBezTo>
                            <a:pt x="624986" y="425289"/>
                            <a:pt x="624986" y="425349"/>
                            <a:pt x="624986" y="425349"/>
                          </a:cubicBezTo>
                          <a:cubicBezTo>
                            <a:pt x="624986" y="425409"/>
                            <a:pt x="624986" y="425469"/>
                            <a:pt x="624986" y="425469"/>
                          </a:cubicBezTo>
                          <a:cubicBezTo>
                            <a:pt x="624986" y="425528"/>
                            <a:pt x="624986" y="425588"/>
                            <a:pt x="624986" y="425588"/>
                          </a:cubicBezTo>
                          <a:cubicBezTo>
                            <a:pt x="624986" y="425588"/>
                            <a:pt x="624986" y="425708"/>
                            <a:pt x="624986" y="425708"/>
                          </a:cubicBezTo>
                          <a:cubicBezTo>
                            <a:pt x="624986" y="425768"/>
                            <a:pt x="624986" y="425768"/>
                            <a:pt x="624986" y="425827"/>
                          </a:cubicBezTo>
                          <a:cubicBezTo>
                            <a:pt x="624986" y="425887"/>
                            <a:pt x="624986" y="425887"/>
                            <a:pt x="624986" y="425947"/>
                          </a:cubicBezTo>
                          <a:cubicBezTo>
                            <a:pt x="624986" y="426007"/>
                            <a:pt x="624986" y="426007"/>
                            <a:pt x="624986" y="426067"/>
                          </a:cubicBezTo>
                          <a:cubicBezTo>
                            <a:pt x="624806" y="426126"/>
                            <a:pt x="624806" y="426126"/>
                            <a:pt x="624806" y="426186"/>
                          </a:cubicBezTo>
                          <a:moveTo>
                            <a:pt x="623191" y="425110"/>
                          </a:moveTo>
                          <a:lnTo>
                            <a:pt x="623849" y="425588"/>
                          </a:lnTo>
                          <a:cubicBezTo>
                            <a:pt x="623849" y="425528"/>
                            <a:pt x="623909" y="425528"/>
                            <a:pt x="623909" y="425469"/>
                          </a:cubicBezTo>
                          <a:cubicBezTo>
                            <a:pt x="623909" y="425409"/>
                            <a:pt x="623969" y="425409"/>
                            <a:pt x="623969" y="425349"/>
                          </a:cubicBezTo>
                          <a:cubicBezTo>
                            <a:pt x="623969" y="425289"/>
                            <a:pt x="624028" y="425289"/>
                            <a:pt x="624028" y="425229"/>
                          </a:cubicBezTo>
                          <a:cubicBezTo>
                            <a:pt x="624028" y="425169"/>
                            <a:pt x="624088" y="425169"/>
                            <a:pt x="624088" y="425110"/>
                          </a:cubicBezTo>
                          <a:cubicBezTo>
                            <a:pt x="624088" y="425050"/>
                            <a:pt x="624088" y="425050"/>
                            <a:pt x="624088" y="425050"/>
                          </a:cubicBezTo>
                          <a:cubicBezTo>
                            <a:pt x="624088" y="424990"/>
                            <a:pt x="624088" y="424990"/>
                            <a:pt x="624088" y="424990"/>
                          </a:cubicBezTo>
                          <a:cubicBezTo>
                            <a:pt x="624088" y="424990"/>
                            <a:pt x="624088" y="424930"/>
                            <a:pt x="624088" y="424930"/>
                          </a:cubicBezTo>
                          <a:cubicBezTo>
                            <a:pt x="624088" y="424930"/>
                            <a:pt x="624088" y="424870"/>
                            <a:pt x="624088" y="424870"/>
                          </a:cubicBezTo>
                          <a:lnTo>
                            <a:pt x="623550" y="424511"/>
                          </a:lnTo>
                          <a:cubicBezTo>
                            <a:pt x="623490" y="424571"/>
                            <a:pt x="623490" y="424631"/>
                            <a:pt x="623430" y="424691"/>
                          </a:cubicBezTo>
                          <a:cubicBezTo>
                            <a:pt x="623371" y="424751"/>
                            <a:pt x="623371" y="424810"/>
                            <a:pt x="623311" y="424870"/>
                          </a:cubicBezTo>
                          <a:cubicBezTo>
                            <a:pt x="623251" y="424930"/>
                            <a:pt x="623251" y="424990"/>
                            <a:pt x="623191" y="425050"/>
                          </a:cubicBezTo>
                          <a:cubicBezTo>
                            <a:pt x="623132" y="425110"/>
                            <a:pt x="623251" y="425050"/>
                            <a:pt x="623191" y="425110"/>
                          </a:cubicBezTo>
                          <a:moveTo>
                            <a:pt x="621277" y="423794"/>
                          </a:moveTo>
                          <a:lnTo>
                            <a:pt x="622713" y="424751"/>
                          </a:lnTo>
                          <a:cubicBezTo>
                            <a:pt x="622772" y="424691"/>
                            <a:pt x="622772" y="424631"/>
                            <a:pt x="622832" y="424571"/>
                          </a:cubicBezTo>
                          <a:cubicBezTo>
                            <a:pt x="622892" y="424511"/>
                            <a:pt x="622892" y="424452"/>
                            <a:pt x="622952" y="424392"/>
                          </a:cubicBezTo>
                          <a:cubicBezTo>
                            <a:pt x="623012" y="424332"/>
                            <a:pt x="623012" y="424272"/>
                            <a:pt x="623072" y="424213"/>
                          </a:cubicBezTo>
                          <a:cubicBezTo>
                            <a:pt x="623132" y="424153"/>
                            <a:pt x="623132" y="424093"/>
                            <a:pt x="623191" y="424033"/>
                          </a:cubicBezTo>
                          <a:lnTo>
                            <a:pt x="621756" y="423076"/>
                          </a:lnTo>
                          <a:cubicBezTo>
                            <a:pt x="621696" y="423136"/>
                            <a:pt x="621696" y="423196"/>
                            <a:pt x="621636" y="423256"/>
                          </a:cubicBezTo>
                          <a:cubicBezTo>
                            <a:pt x="621576" y="423315"/>
                            <a:pt x="621576" y="423375"/>
                            <a:pt x="621517" y="423435"/>
                          </a:cubicBezTo>
                          <a:cubicBezTo>
                            <a:pt x="621457" y="423495"/>
                            <a:pt x="621457" y="423555"/>
                            <a:pt x="621397" y="423615"/>
                          </a:cubicBezTo>
                          <a:cubicBezTo>
                            <a:pt x="621337" y="423674"/>
                            <a:pt x="621277" y="423734"/>
                            <a:pt x="621277" y="423794"/>
                          </a:cubicBezTo>
                          <a:moveTo>
                            <a:pt x="620081" y="422956"/>
                          </a:moveTo>
                          <a:lnTo>
                            <a:pt x="620739" y="423435"/>
                          </a:lnTo>
                          <a:cubicBezTo>
                            <a:pt x="620799" y="423375"/>
                            <a:pt x="620799" y="423315"/>
                            <a:pt x="620859" y="423256"/>
                          </a:cubicBezTo>
                          <a:cubicBezTo>
                            <a:pt x="620918" y="423196"/>
                            <a:pt x="620918" y="423136"/>
                            <a:pt x="620978" y="423076"/>
                          </a:cubicBezTo>
                          <a:cubicBezTo>
                            <a:pt x="621038" y="423016"/>
                            <a:pt x="621038" y="422956"/>
                            <a:pt x="621098" y="422897"/>
                          </a:cubicBezTo>
                          <a:cubicBezTo>
                            <a:pt x="621158" y="422837"/>
                            <a:pt x="621158" y="422777"/>
                            <a:pt x="621218" y="422717"/>
                          </a:cubicBezTo>
                          <a:lnTo>
                            <a:pt x="620559" y="422239"/>
                          </a:lnTo>
                          <a:cubicBezTo>
                            <a:pt x="620500" y="422299"/>
                            <a:pt x="620500" y="422359"/>
                            <a:pt x="620440" y="422418"/>
                          </a:cubicBezTo>
                          <a:cubicBezTo>
                            <a:pt x="620380" y="422478"/>
                            <a:pt x="620380" y="422538"/>
                            <a:pt x="620320" y="422598"/>
                          </a:cubicBezTo>
                          <a:cubicBezTo>
                            <a:pt x="620261" y="422657"/>
                            <a:pt x="620261" y="422717"/>
                            <a:pt x="620201" y="422777"/>
                          </a:cubicBezTo>
                          <a:cubicBezTo>
                            <a:pt x="620141" y="422837"/>
                            <a:pt x="620081" y="422897"/>
                            <a:pt x="620081" y="422956"/>
                          </a:cubicBezTo>
                          <a:moveTo>
                            <a:pt x="608180" y="414942"/>
                          </a:moveTo>
                          <a:lnTo>
                            <a:pt x="619543" y="422598"/>
                          </a:lnTo>
                          <a:cubicBezTo>
                            <a:pt x="619603" y="422538"/>
                            <a:pt x="619603" y="422478"/>
                            <a:pt x="619663" y="422418"/>
                          </a:cubicBezTo>
                          <a:cubicBezTo>
                            <a:pt x="619722" y="422359"/>
                            <a:pt x="619722" y="422299"/>
                            <a:pt x="619782" y="422239"/>
                          </a:cubicBezTo>
                          <a:cubicBezTo>
                            <a:pt x="619842" y="422179"/>
                            <a:pt x="619842" y="422119"/>
                            <a:pt x="619902" y="422060"/>
                          </a:cubicBezTo>
                          <a:cubicBezTo>
                            <a:pt x="619962" y="422000"/>
                            <a:pt x="619962" y="421940"/>
                            <a:pt x="620021" y="421880"/>
                          </a:cubicBezTo>
                          <a:lnTo>
                            <a:pt x="608778" y="414285"/>
                          </a:lnTo>
                          <a:lnTo>
                            <a:pt x="608180" y="414942"/>
                          </a:lnTo>
                          <a:moveTo>
                            <a:pt x="577319" y="394189"/>
                          </a:moveTo>
                          <a:lnTo>
                            <a:pt x="607641" y="414644"/>
                          </a:lnTo>
                          <a:lnTo>
                            <a:pt x="608180" y="413926"/>
                          </a:lnTo>
                          <a:lnTo>
                            <a:pt x="577857" y="393472"/>
                          </a:lnTo>
                          <a:lnTo>
                            <a:pt x="577319" y="394189"/>
                          </a:lnTo>
                          <a:moveTo>
                            <a:pt x="568109" y="387969"/>
                          </a:moveTo>
                          <a:lnTo>
                            <a:pt x="576781" y="393830"/>
                          </a:lnTo>
                          <a:lnTo>
                            <a:pt x="577379" y="393113"/>
                          </a:lnTo>
                          <a:lnTo>
                            <a:pt x="568707" y="387252"/>
                          </a:lnTo>
                          <a:lnTo>
                            <a:pt x="568109" y="387969"/>
                          </a:lnTo>
                          <a:moveTo>
                            <a:pt x="560992" y="383185"/>
                          </a:moveTo>
                          <a:lnTo>
                            <a:pt x="567570" y="387611"/>
                          </a:lnTo>
                          <a:lnTo>
                            <a:pt x="568169" y="386893"/>
                          </a:lnTo>
                          <a:lnTo>
                            <a:pt x="561590" y="382467"/>
                          </a:lnTo>
                          <a:lnTo>
                            <a:pt x="560992" y="383185"/>
                          </a:lnTo>
                          <a:moveTo>
                            <a:pt x="344489" y="237195"/>
                          </a:moveTo>
                          <a:lnTo>
                            <a:pt x="560453" y="382826"/>
                          </a:lnTo>
                          <a:lnTo>
                            <a:pt x="561052" y="382108"/>
                          </a:lnTo>
                          <a:lnTo>
                            <a:pt x="344489" y="235940"/>
                          </a:lnTo>
                          <a:cubicBezTo>
                            <a:pt x="344489" y="236059"/>
                            <a:pt x="344489" y="236179"/>
                            <a:pt x="344489" y="236238"/>
                          </a:cubicBezTo>
                          <a:cubicBezTo>
                            <a:pt x="344489" y="236298"/>
                            <a:pt x="344489" y="236478"/>
                            <a:pt x="344489" y="236537"/>
                          </a:cubicBezTo>
                          <a:cubicBezTo>
                            <a:pt x="344489" y="236657"/>
                            <a:pt x="344489" y="236777"/>
                            <a:pt x="344489" y="236836"/>
                          </a:cubicBezTo>
                          <a:cubicBezTo>
                            <a:pt x="344489" y="236956"/>
                            <a:pt x="344489" y="237076"/>
                            <a:pt x="344489" y="237195"/>
                          </a:cubicBezTo>
                          <a:moveTo>
                            <a:pt x="342157" y="235640"/>
                          </a:moveTo>
                          <a:lnTo>
                            <a:pt x="343473" y="236537"/>
                          </a:lnTo>
                          <a:cubicBezTo>
                            <a:pt x="343473" y="236478"/>
                            <a:pt x="343473" y="236478"/>
                            <a:pt x="343473" y="236418"/>
                          </a:cubicBezTo>
                          <a:cubicBezTo>
                            <a:pt x="343473" y="236358"/>
                            <a:pt x="343473" y="236358"/>
                            <a:pt x="343473" y="236298"/>
                          </a:cubicBezTo>
                          <a:cubicBezTo>
                            <a:pt x="343473" y="236238"/>
                            <a:pt x="343473" y="236238"/>
                            <a:pt x="343473" y="236179"/>
                          </a:cubicBezTo>
                          <a:cubicBezTo>
                            <a:pt x="343473" y="236119"/>
                            <a:pt x="343473" y="236119"/>
                            <a:pt x="343473" y="236059"/>
                          </a:cubicBezTo>
                          <a:cubicBezTo>
                            <a:pt x="343473" y="235999"/>
                            <a:pt x="343473" y="235940"/>
                            <a:pt x="343473" y="235880"/>
                          </a:cubicBezTo>
                          <a:cubicBezTo>
                            <a:pt x="343473" y="235820"/>
                            <a:pt x="343473" y="235760"/>
                            <a:pt x="343473" y="235700"/>
                          </a:cubicBezTo>
                          <a:cubicBezTo>
                            <a:pt x="343473" y="235640"/>
                            <a:pt x="343473" y="235581"/>
                            <a:pt x="343473" y="235521"/>
                          </a:cubicBezTo>
                          <a:cubicBezTo>
                            <a:pt x="343473" y="235461"/>
                            <a:pt x="343473" y="235401"/>
                            <a:pt x="343473" y="235341"/>
                          </a:cubicBezTo>
                          <a:lnTo>
                            <a:pt x="342516" y="234683"/>
                          </a:lnTo>
                          <a:cubicBezTo>
                            <a:pt x="342516" y="234743"/>
                            <a:pt x="342456" y="234803"/>
                            <a:pt x="342456" y="234863"/>
                          </a:cubicBezTo>
                          <a:cubicBezTo>
                            <a:pt x="342456" y="234923"/>
                            <a:pt x="342396" y="234982"/>
                            <a:pt x="342396" y="235042"/>
                          </a:cubicBezTo>
                          <a:cubicBezTo>
                            <a:pt x="342396" y="235102"/>
                            <a:pt x="342337" y="235162"/>
                            <a:pt x="342337" y="235222"/>
                          </a:cubicBezTo>
                          <a:cubicBezTo>
                            <a:pt x="342337" y="235281"/>
                            <a:pt x="342277" y="235341"/>
                            <a:pt x="342277" y="235401"/>
                          </a:cubicBezTo>
                          <a:cubicBezTo>
                            <a:pt x="342277" y="235401"/>
                            <a:pt x="342277" y="235461"/>
                            <a:pt x="342277" y="235461"/>
                          </a:cubicBezTo>
                          <a:cubicBezTo>
                            <a:pt x="342277" y="235461"/>
                            <a:pt x="342277" y="235521"/>
                            <a:pt x="342277" y="235521"/>
                          </a:cubicBezTo>
                          <a:cubicBezTo>
                            <a:pt x="342277" y="235521"/>
                            <a:pt x="342277" y="235581"/>
                            <a:pt x="342277" y="235581"/>
                          </a:cubicBezTo>
                          <a:cubicBezTo>
                            <a:pt x="342277" y="235581"/>
                            <a:pt x="342157" y="235581"/>
                            <a:pt x="342157" y="235640"/>
                          </a:cubicBezTo>
                          <a:moveTo>
                            <a:pt x="340303" y="234325"/>
                          </a:moveTo>
                          <a:lnTo>
                            <a:pt x="341080" y="234863"/>
                          </a:lnTo>
                          <a:cubicBezTo>
                            <a:pt x="341080" y="234743"/>
                            <a:pt x="341021" y="234624"/>
                            <a:pt x="341021" y="234504"/>
                          </a:cubicBezTo>
                          <a:cubicBezTo>
                            <a:pt x="341021" y="234384"/>
                            <a:pt x="340961" y="234265"/>
                            <a:pt x="340961" y="234145"/>
                          </a:cubicBezTo>
                          <a:cubicBezTo>
                            <a:pt x="340961" y="234026"/>
                            <a:pt x="340901" y="233906"/>
                            <a:pt x="340901" y="233786"/>
                          </a:cubicBezTo>
                          <a:cubicBezTo>
                            <a:pt x="340901" y="233667"/>
                            <a:pt x="340841" y="233547"/>
                            <a:pt x="340841" y="233427"/>
                          </a:cubicBezTo>
                          <a:lnTo>
                            <a:pt x="340722" y="233368"/>
                          </a:lnTo>
                          <a:cubicBezTo>
                            <a:pt x="340662" y="233427"/>
                            <a:pt x="340662" y="233547"/>
                            <a:pt x="340602" y="233607"/>
                          </a:cubicBezTo>
                          <a:cubicBezTo>
                            <a:pt x="340542" y="233667"/>
                            <a:pt x="340542" y="233786"/>
                            <a:pt x="340482" y="233846"/>
                          </a:cubicBezTo>
                          <a:cubicBezTo>
                            <a:pt x="340423" y="233906"/>
                            <a:pt x="340423" y="234026"/>
                            <a:pt x="340363" y="234086"/>
                          </a:cubicBezTo>
                          <a:cubicBezTo>
                            <a:pt x="340363" y="234205"/>
                            <a:pt x="340303" y="234265"/>
                            <a:pt x="340303" y="234325"/>
                          </a:cubicBezTo>
                          <a:moveTo>
                            <a:pt x="337313" y="232351"/>
                          </a:moveTo>
                          <a:lnTo>
                            <a:pt x="339525" y="233846"/>
                          </a:lnTo>
                          <a:cubicBezTo>
                            <a:pt x="339585" y="233786"/>
                            <a:pt x="339585" y="233667"/>
                            <a:pt x="339645" y="233607"/>
                          </a:cubicBezTo>
                          <a:cubicBezTo>
                            <a:pt x="339705" y="233547"/>
                            <a:pt x="339705" y="233427"/>
                            <a:pt x="339765" y="233368"/>
                          </a:cubicBezTo>
                          <a:cubicBezTo>
                            <a:pt x="339824" y="233308"/>
                            <a:pt x="339824" y="233188"/>
                            <a:pt x="339884" y="233128"/>
                          </a:cubicBezTo>
                          <a:cubicBezTo>
                            <a:pt x="339944" y="233069"/>
                            <a:pt x="339944" y="232949"/>
                            <a:pt x="340004" y="232889"/>
                          </a:cubicBezTo>
                          <a:lnTo>
                            <a:pt x="337791" y="231394"/>
                          </a:lnTo>
                          <a:cubicBezTo>
                            <a:pt x="337731" y="231454"/>
                            <a:pt x="337731" y="231573"/>
                            <a:pt x="337671" y="231633"/>
                          </a:cubicBezTo>
                          <a:cubicBezTo>
                            <a:pt x="337611" y="231693"/>
                            <a:pt x="337611" y="231813"/>
                            <a:pt x="337552" y="231873"/>
                          </a:cubicBezTo>
                          <a:cubicBezTo>
                            <a:pt x="337492" y="231932"/>
                            <a:pt x="337492" y="232052"/>
                            <a:pt x="337432" y="232112"/>
                          </a:cubicBezTo>
                          <a:cubicBezTo>
                            <a:pt x="337372" y="232172"/>
                            <a:pt x="337313" y="232232"/>
                            <a:pt x="337313" y="232351"/>
                          </a:cubicBezTo>
                          <a:moveTo>
                            <a:pt x="335518" y="231095"/>
                          </a:moveTo>
                          <a:lnTo>
                            <a:pt x="336535" y="231813"/>
                          </a:lnTo>
                          <a:cubicBezTo>
                            <a:pt x="336595" y="231753"/>
                            <a:pt x="336595" y="231633"/>
                            <a:pt x="336655" y="231573"/>
                          </a:cubicBezTo>
                          <a:cubicBezTo>
                            <a:pt x="336715" y="231514"/>
                            <a:pt x="336715" y="231394"/>
                            <a:pt x="336774" y="231334"/>
                          </a:cubicBezTo>
                          <a:cubicBezTo>
                            <a:pt x="336834" y="231274"/>
                            <a:pt x="336834" y="231155"/>
                            <a:pt x="336894" y="231095"/>
                          </a:cubicBezTo>
                          <a:cubicBezTo>
                            <a:pt x="336954" y="231035"/>
                            <a:pt x="336954" y="230916"/>
                            <a:pt x="337014" y="230856"/>
                          </a:cubicBezTo>
                          <a:lnTo>
                            <a:pt x="335997" y="230138"/>
                          </a:lnTo>
                          <a:cubicBezTo>
                            <a:pt x="335937" y="230198"/>
                            <a:pt x="335937" y="230318"/>
                            <a:pt x="335877" y="230378"/>
                          </a:cubicBezTo>
                          <a:cubicBezTo>
                            <a:pt x="335817" y="230437"/>
                            <a:pt x="335817" y="230557"/>
                            <a:pt x="335757" y="230617"/>
                          </a:cubicBezTo>
                          <a:cubicBezTo>
                            <a:pt x="335698" y="230676"/>
                            <a:pt x="335698" y="230796"/>
                            <a:pt x="335638" y="230856"/>
                          </a:cubicBezTo>
                          <a:cubicBezTo>
                            <a:pt x="335578" y="230916"/>
                            <a:pt x="335518" y="231035"/>
                            <a:pt x="335518" y="231095"/>
                          </a:cubicBezTo>
                          <a:moveTo>
                            <a:pt x="320387" y="220928"/>
                          </a:moveTo>
                          <a:lnTo>
                            <a:pt x="334741" y="230557"/>
                          </a:lnTo>
                          <a:cubicBezTo>
                            <a:pt x="334801" y="230497"/>
                            <a:pt x="334801" y="230378"/>
                            <a:pt x="334861" y="230318"/>
                          </a:cubicBezTo>
                          <a:cubicBezTo>
                            <a:pt x="334920" y="230258"/>
                            <a:pt x="334920" y="230138"/>
                            <a:pt x="334980" y="230078"/>
                          </a:cubicBezTo>
                          <a:cubicBezTo>
                            <a:pt x="335040" y="230019"/>
                            <a:pt x="335040" y="229899"/>
                            <a:pt x="335040" y="229839"/>
                          </a:cubicBezTo>
                          <a:cubicBezTo>
                            <a:pt x="335040" y="229779"/>
                            <a:pt x="335100" y="229659"/>
                            <a:pt x="335100" y="229600"/>
                          </a:cubicBezTo>
                          <a:lnTo>
                            <a:pt x="321105" y="220150"/>
                          </a:lnTo>
                          <a:lnTo>
                            <a:pt x="320387" y="220928"/>
                          </a:lnTo>
                          <a:moveTo>
                            <a:pt x="275771" y="190845"/>
                          </a:moveTo>
                          <a:lnTo>
                            <a:pt x="319669" y="220449"/>
                          </a:lnTo>
                          <a:lnTo>
                            <a:pt x="320327" y="219612"/>
                          </a:lnTo>
                          <a:lnTo>
                            <a:pt x="276489" y="190008"/>
                          </a:lnTo>
                          <a:lnTo>
                            <a:pt x="275771" y="190845"/>
                          </a:lnTo>
                          <a:moveTo>
                            <a:pt x="262374" y="181814"/>
                          </a:moveTo>
                          <a:lnTo>
                            <a:pt x="274994" y="190307"/>
                          </a:lnTo>
                          <a:lnTo>
                            <a:pt x="275711" y="189409"/>
                          </a:lnTo>
                          <a:lnTo>
                            <a:pt x="263092" y="180917"/>
                          </a:lnTo>
                          <a:lnTo>
                            <a:pt x="262374" y="181814"/>
                          </a:lnTo>
                          <a:moveTo>
                            <a:pt x="251968" y="174816"/>
                          </a:moveTo>
                          <a:lnTo>
                            <a:pt x="261537" y="181276"/>
                          </a:lnTo>
                          <a:lnTo>
                            <a:pt x="262255" y="180378"/>
                          </a:lnTo>
                          <a:lnTo>
                            <a:pt x="252686" y="173919"/>
                          </a:lnTo>
                          <a:lnTo>
                            <a:pt x="251968" y="174816"/>
                          </a:lnTo>
                          <a:moveTo>
                            <a:pt x="133609" y="94974"/>
                          </a:moveTo>
                          <a:lnTo>
                            <a:pt x="251190" y="174278"/>
                          </a:lnTo>
                          <a:lnTo>
                            <a:pt x="251908" y="173381"/>
                          </a:lnTo>
                          <a:lnTo>
                            <a:pt x="133669" y="93598"/>
                          </a:lnTo>
                          <a:cubicBezTo>
                            <a:pt x="133669" y="93718"/>
                            <a:pt x="133669" y="93838"/>
                            <a:pt x="133669" y="93957"/>
                          </a:cubicBezTo>
                          <a:cubicBezTo>
                            <a:pt x="133669" y="94077"/>
                            <a:pt x="133669" y="94196"/>
                            <a:pt x="133669" y="94316"/>
                          </a:cubicBezTo>
                          <a:cubicBezTo>
                            <a:pt x="133669" y="94435"/>
                            <a:pt x="133669" y="94555"/>
                            <a:pt x="133669" y="94675"/>
                          </a:cubicBezTo>
                          <a:cubicBezTo>
                            <a:pt x="133609" y="94734"/>
                            <a:pt x="133609" y="94854"/>
                            <a:pt x="133609" y="94974"/>
                          </a:cubicBezTo>
                          <a:moveTo>
                            <a:pt x="130858" y="93180"/>
                          </a:moveTo>
                          <a:lnTo>
                            <a:pt x="132413" y="94256"/>
                          </a:lnTo>
                          <a:cubicBezTo>
                            <a:pt x="132413" y="94136"/>
                            <a:pt x="132413" y="94017"/>
                            <a:pt x="132413" y="93897"/>
                          </a:cubicBezTo>
                          <a:cubicBezTo>
                            <a:pt x="132413" y="93778"/>
                            <a:pt x="132413" y="93658"/>
                            <a:pt x="132413" y="93539"/>
                          </a:cubicBezTo>
                          <a:cubicBezTo>
                            <a:pt x="132413" y="93419"/>
                            <a:pt x="132413" y="93299"/>
                            <a:pt x="132413" y="93180"/>
                          </a:cubicBezTo>
                          <a:cubicBezTo>
                            <a:pt x="132413" y="93060"/>
                            <a:pt x="132413" y="92940"/>
                            <a:pt x="132413" y="92821"/>
                          </a:cubicBezTo>
                          <a:lnTo>
                            <a:pt x="130978" y="91864"/>
                          </a:lnTo>
                          <a:cubicBezTo>
                            <a:pt x="130978" y="91924"/>
                            <a:pt x="130918" y="91924"/>
                            <a:pt x="130918" y="91984"/>
                          </a:cubicBezTo>
                          <a:cubicBezTo>
                            <a:pt x="130918" y="92043"/>
                            <a:pt x="130858" y="92043"/>
                            <a:pt x="130858" y="92103"/>
                          </a:cubicBezTo>
                          <a:cubicBezTo>
                            <a:pt x="130858" y="92163"/>
                            <a:pt x="130798" y="92163"/>
                            <a:pt x="130798" y="92223"/>
                          </a:cubicBezTo>
                          <a:cubicBezTo>
                            <a:pt x="130798" y="92282"/>
                            <a:pt x="130739" y="92282"/>
                            <a:pt x="130739" y="92342"/>
                          </a:cubicBezTo>
                          <a:cubicBezTo>
                            <a:pt x="130739" y="92402"/>
                            <a:pt x="130739" y="92462"/>
                            <a:pt x="130739" y="92522"/>
                          </a:cubicBezTo>
                          <a:cubicBezTo>
                            <a:pt x="130739" y="92581"/>
                            <a:pt x="130739" y="92641"/>
                            <a:pt x="130739" y="92701"/>
                          </a:cubicBezTo>
                          <a:cubicBezTo>
                            <a:pt x="130739" y="92761"/>
                            <a:pt x="130739" y="92821"/>
                            <a:pt x="130739" y="92880"/>
                          </a:cubicBezTo>
                          <a:cubicBezTo>
                            <a:pt x="130739" y="92940"/>
                            <a:pt x="130739" y="93000"/>
                            <a:pt x="130739" y="93060"/>
                          </a:cubicBezTo>
                          <a:cubicBezTo>
                            <a:pt x="130739" y="93060"/>
                            <a:pt x="130739" y="93120"/>
                            <a:pt x="130739" y="93120"/>
                          </a:cubicBezTo>
                          <a:cubicBezTo>
                            <a:pt x="130739" y="93120"/>
                            <a:pt x="130739" y="93180"/>
                            <a:pt x="130739" y="93180"/>
                          </a:cubicBezTo>
                          <a:cubicBezTo>
                            <a:pt x="130858" y="93060"/>
                            <a:pt x="130858" y="93060"/>
                            <a:pt x="130858" y="93180"/>
                          </a:cubicBezTo>
                          <a:cubicBezTo>
                            <a:pt x="130858" y="93120"/>
                            <a:pt x="130858" y="93120"/>
                            <a:pt x="130858" y="93180"/>
                          </a:cubicBezTo>
                          <a:moveTo>
                            <a:pt x="128286" y="91385"/>
                          </a:moveTo>
                          <a:lnTo>
                            <a:pt x="129542" y="92223"/>
                          </a:lnTo>
                          <a:cubicBezTo>
                            <a:pt x="129542" y="92223"/>
                            <a:pt x="129542" y="92223"/>
                            <a:pt x="129542" y="92223"/>
                          </a:cubicBezTo>
                          <a:cubicBezTo>
                            <a:pt x="129542" y="92223"/>
                            <a:pt x="129542" y="92223"/>
                            <a:pt x="129542" y="92223"/>
                          </a:cubicBezTo>
                          <a:cubicBezTo>
                            <a:pt x="129542" y="92223"/>
                            <a:pt x="129542" y="92223"/>
                            <a:pt x="129542" y="92223"/>
                          </a:cubicBezTo>
                          <a:cubicBezTo>
                            <a:pt x="129542" y="92223"/>
                            <a:pt x="129542" y="92223"/>
                            <a:pt x="129542" y="92223"/>
                          </a:cubicBezTo>
                          <a:cubicBezTo>
                            <a:pt x="129542" y="92103"/>
                            <a:pt x="129482" y="91984"/>
                            <a:pt x="129482" y="91804"/>
                          </a:cubicBezTo>
                          <a:cubicBezTo>
                            <a:pt x="129482" y="91685"/>
                            <a:pt x="129423" y="91565"/>
                            <a:pt x="129423" y="91385"/>
                          </a:cubicBezTo>
                          <a:cubicBezTo>
                            <a:pt x="129423" y="91266"/>
                            <a:pt x="129363" y="91146"/>
                            <a:pt x="129363" y="90967"/>
                          </a:cubicBezTo>
                          <a:cubicBezTo>
                            <a:pt x="129363" y="90787"/>
                            <a:pt x="129303" y="90727"/>
                            <a:pt x="129303" y="90548"/>
                          </a:cubicBezTo>
                          <a:lnTo>
                            <a:pt x="128825" y="90249"/>
                          </a:lnTo>
                          <a:cubicBezTo>
                            <a:pt x="128765" y="90369"/>
                            <a:pt x="128765" y="90428"/>
                            <a:pt x="128705" y="90548"/>
                          </a:cubicBezTo>
                          <a:cubicBezTo>
                            <a:pt x="128645" y="90668"/>
                            <a:pt x="128645" y="90727"/>
                            <a:pt x="128586" y="90847"/>
                          </a:cubicBezTo>
                          <a:cubicBezTo>
                            <a:pt x="128526" y="90967"/>
                            <a:pt x="128526" y="91026"/>
                            <a:pt x="128466" y="91146"/>
                          </a:cubicBezTo>
                          <a:cubicBezTo>
                            <a:pt x="128346" y="91206"/>
                            <a:pt x="128346" y="91326"/>
                            <a:pt x="128286" y="91385"/>
                          </a:cubicBezTo>
                          <a:moveTo>
                            <a:pt x="124877" y="89113"/>
                          </a:moveTo>
                          <a:lnTo>
                            <a:pt x="127329" y="90787"/>
                          </a:lnTo>
                          <a:cubicBezTo>
                            <a:pt x="127389" y="90668"/>
                            <a:pt x="127389" y="90608"/>
                            <a:pt x="127449" y="90488"/>
                          </a:cubicBezTo>
                          <a:cubicBezTo>
                            <a:pt x="127509" y="90369"/>
                            <a:pt x="127509" y="90309"/>
                            <a:pt x="127569" y="90189"/>
                          </a:cubicBezTo>
                          <a:cubicBezTo>
                            <a:pt x="127628" y="90070"/>
                            <a:pt x="127628" y="90010"/>
                            <a:pt x="127688" y="89890"/>
                          </a:cubicBezTo>
                          <a:cubicBezTo>
                            <a:pt x="127748" y="89771"/>
                            <a:pt x="127748" y="89711"/>
                            <a:pt x="127808" y="89591"/>
                          </a:cubicBezTo>
                          <a:lnTo>
                            <a:pt x="125356" y="87917"/>
                          </a:lnTo>
                          <a:cubicBezTo>
                            <a:pt x="125296" y="88036"/>
                            <a:pt x="125296" y="88096"/>
                            <a:pt x="125236" y="88216"/>
                          </a:cubicBezTo>
                          <a:cubicBezTo>
                            <a:pt x="125176" y="88335"/>
                            <a:pt x="125176" y="88395"/>
                            <a:pt x="125117" y="88515"/>
                          </a:cubicBezTo>
                          <a:cubicBezTo>
                            <a:pt x="125057" y="88634"/>
                            <a:pt x="125057" y="88694"/>
                            <a:pt x="124997" y="88814"/>
                          </a:cubicBezTo>
                          <a:cubicBezTo>
                            <a:pt x="124937" y="88933"/>
                            <a:pt x="124877" y="88993"/>
                            <a:pt x="124877" y="89113"/>
                          </a:cubicBezTo>
                          <a:moveTo>
                            <a:pt x="122664" y="87617"/>
                          </a:moveTo>
                          <a:lnTo>
                            <a:pt x="123920" y="88455"/>
                          </a:lnTo>
                          <a:cubicBezTo>
                            <a:pt x="123980" y="88335"/>
                            <a:pt x="123980" y="88276"/>
                            <a:pt x="124040" y="88156"/>
                          </a:cubicBezTo>
                          <a:cubicBezTo>
                            <a:pt x="124100" y="88036"/>
                            <a:pt x="124100" y="87977"/>
                            <a:pt x="124159" y="87857"/>
                          </a:cubicBezTo>
                          <a:cubicBezTo>
                            <a:pt x="124219" y="87737"/>
                            <a:pt x="124219" y="87677"/>
                            <a:pt x="124279" y="87558"/>
                          </a:cubicBezTo>
                          <a:cubicBezTo>
                            <a:pt x="124339" y="87438"/>
                            <a:pt x="124339" y="87378"/>
                            <a:pt x="124399" y="87259"/>
                          </a:cubicBezTo>
                          <a:lnTo>
                            <a:pt x="123143" y="86421"/>
                          </a:lnTo>
                          <a:cubicBezTo>
                            <a:pt x="123083" y="86541"/>
                            <a:pt x="123083" y="86601"/>
                            <a:pt x="123023" y="86720"/>
                          </a:cubicBezTo>
                          <a:cubicBezTo>
                            <a:pt x="122964" y="86840"/>
                            <a:pt x="122964" y="86900"/>
                            <a:pt x="122904" y="87019"/>
                          </a:cubicBezTo>
                          <a:cubicBezTo>
                            <a:pt x="122844" y="87139"/>
                            <a:pt x="122844" y="87199"/>
                            <a:pt x="122784" y="87318"/>
                          </a:cubicBezTo>
                          <a:cubicBezTo>
                            <a:pt x="122724" y="87438"/>
                            <a:pt x="122724" y="87498"/>
                            <a:pt x="122664" y="87617"/>
                          </a:cubicBezTo>
                          <a:moveTo>
                            <a:pt x="99818" y="72247"/>
                          </a:moveTo>
                          <a:lnTo>
                            <a:pt x="121648" y="86960"/>
                          </a:lnTo>
                          <a:cubicBezTo>
                            <a:pt x="121708" y="86840"/>
                            <a:pt x="121708" y="86780"/>
                            <a:pt x="121767" y="86661"/>
                          </a:cubicBezTo>
                          <a:cubicBezTo>
                            <a:pt x="121827" y="86541"/>
                            <a:pt x="121827" y="86481"/>
                            <a:pt x="121887" y="86362"/>
                          </a:cubicBezTo>
                          <a:cubicBezTo>
                            <a:pt x="121947" y="86242"/>
                            <a:pt x="121947" y="86182"/>
                            <a:pt x="122007" y="86063"/>
                          </a:cubicBezTo>
                          <a:cubicBezTo>
                            <a:pt x="122066" y="85943"/>
                            <a:pt x="122066" y="85883"/>
                            <a:pt x="122126" y="85763"/>
                          </a:cubicBezTo>
                          <a:lnTo>
                            <a:pt x="100595" y="71230"/>
                          </a:lnTo>
                          <a:lnTo>
                            <a:pt x="99818" y="72247"/>
                          </a:lnTo>
                          <a:moveTo>
                            <a:pt x="42822" y="33791"/>
                          </a:moveTo>
                          <a:lnTo>
                            <a:pt x="98861" y="71589"/>
                          </a:lnTo>
                          <a:lnTo>
                            <a:pt x="99639" y="70632"/>
                          </a:lnTo>
                          <a:lnTo>
                            <a:pt x="43659" y="32834"/>
                          </a:lnTo>
                          <a:lnTo>
                            <a:pt x="42822" y="33791"/>
                          </a:lnTo>
                          <a:moveTo>
                            <a:pt x="25657" y="22189"/>
                          </a:moveTo>
                          <a:lnTo>
                            <a:pt x="41865" y="33133"/>
                          </a:lnTo>
                          <a:lnTo>
                            <a:pt x="42642" y="32116"/>
                          </a:lnTo>
                          <a:lnTo>
                            <a:pt x="26435" y="21172"/>
                          </a:lnTo>
                          <a:lnTo>
                            <a:pt x="25657" y="22189"/>
                          </a:lnTo>
                          <a:moveTo>
                            <a:pt x="12320" y="13218"/>
                          </a:moveTo>
                          <a:lnTo>
                            <a:pt x="24581" y="21530"/>
                          </a:lnTo>
                          <a:lnTo>
                            <a:pt x="25358" y="20514"/>
                          </a:lnTo>
                          <a:lnTo>
                            <a:pt x="13098" y="12201"/>
                          </a:lnTo>
                          <a:lnTo>
                            <a:pt x="12320" y="13218"/>
                          </a:lnTo>
                          <a:moveTo>
                            <a:pt x="0" y="4904"/>
                          </a:moveTo>
                          <a:lnTo>
                            <a:pt x="1017" y="5562"/>
                          </a:lnTo>
                          <a:lnTo>
                            <a:pt x="11303" y="12500"/>
                          </a:lnTo>
                          <a:lnTo>
                            <a:pt x="12081" y="11483"/>
                          </a:lnTo>
                          <a:lnTo>
                            <a:pt x="1794" y="4545"/>
                          </a:lnTo>
                          <a:lnTo>
                            <a:pt x="4007" y="1674"/>
                          </a:lnTo>
                          <a:lnTo>
                            <a:pt x="14234" y="8612"/>
                          </a:lnTo>
                          <a:lnTo>
                            <a:pt x="15071" y="7596"/>
                          </a:lnTo>
                          <a:lnTo>
                            <a:pt x="4844" y="658"/>
                          </a:lnTo>
                          <a:lnTo>
                            <a:pt x="3827" y="0"/>
                          </a:lnTo>
                          <a:lnTo>
                            <a:pt x="0" y="4904"/>
                          </a:lnTo>
                        </a:path>
                      </a:pathLst>
                    </a:custGeom>
                    <a:noFill/>
                    <a:ln w="6350" cap="flat">
                      <a:solidFill>
                        <a:schemeClr val="bg1">
                          <a:alpha val="80000"/>
                        </a:schemeClr>
                      </a:solidFill>
                      <a:prstDash val="solid"/>
                      <a:miter/>
                    </a:ln>
                  </p:spPr>
                  <p:txBody>
                    <a:bodyPr rtlCol="0" anchor="ctr"/>
                    <a:lstStyle/>
                    <a:p>
                      <a:endParaRPr lang="en-GB"/>
                    </a:p>
                  </p:txBody>
                </p:sp>
                <p:sp>
                  <p:nvSpPr>
                    <p:cNvPr id="7382" name="Vrije vorm: vorm 7381">
                      <a:extLst>
                        <a:ext uri="{FF2B5EF4-FFF2-40B4-BE49-F238E27FC236}">
                          <a16:creationId xmlns:a16="http://schemas.microsoft.com/office/drawing/2014/main" id="{38A83CA7-5DC5-462F-9D57-935F1CAB7B0B}"/>
                        </a:ext>
                      </a:extLst>
                    </p:cNvPr>
                    <p:cNvSpPr/>
                    <p:nvPr/>
                  </p:nvSpPr>
                  <p:spPr>
                    <a:xfrm>
                      <a:off x="4744586" y="5114873"/>
                      <a:ext cx="658537" cy="442393"/>
                    </a:xfrm>
                    <a:custGeom>
                      <a:avLst/>
                      <a:gdLst>
                        <a:gd name="connsiteX0" fmla="*/ 633179 w 658537"/>
                        <a:gd name="connsiteY0" fmla="*/ 421401 h 442393"/>
                        <a:gd name="connsiteX1" fmla="*/ 633837 w 658537"/>
                        <a:gd name="connsiteY1" fmla="*/ 421880 h 442393"/>
                        <a:gd name="connsiteX2" fmla="*/ 633957 w 658537"/>
                        <a:gd name="connsiteY2" fmla="*/ 421701 h 442393"/>
                        <a:gd name="connsiteX3" fmla="*/ 634076 w 658537"/>
                        <a:gd name="connsiteY3" fmla="*/ 421521 h 442393"/>
                        <a:gd name="connsiteX4" fmla="*/ 634196 w 658537"/>
                        <a:gd name="connsiteY4" fmla="*/ 421342 h 442393"/>
                        <a:gd name="connsiteX5" fmla="*/ 634315 w 658537"/>
                        <a:gd name="connsiteY5" fmla="*/ 421162 h 442393"/>
                        <a:gd name="connsiteX6" fmla="*/ 633658 w 658537"/>
                        <a:gd name="connsiteY6" fmla="*/ 420684 h 442393"/>
                        <a:gd name="connsiteX7" fmla="*/ 633538 w 658537"/>
                        <a:gd name="connsiteY7" fmla="*/ 420863 h 442393"/>
                        <a:gd name="connsiteX8" fmla="*/ 633419 w 658537"/>
                        <a:gd name="connsiteY8" fmla="*/ 421043 h 442393"/>
                        <a:gd name="connsiteX9" fmla="*/ 633299 w 658537"/>
                        <a:gd name="connsiteY9" fmla="*/ 421222 h 442393"/>
                        <a:gd name="connsiteX10" fmla="*/ 633179 w 658537"/>
                        <a:gd name="connsiteY10" fmla="*/ 421401 h 442393"/>
                        <a:gd name="connsiteX11" fmla="*/ 631445 w 658537"/>
                        <a:gd name="connsiteY11" fmla="*/ 420265 h 442393"/>
                        <a:gd name="connsiteX12" fmla="*/ 632641 w 658537"/>
                        <a:gd name="connsiteY12" fmla="*/ 421102 h 442393"/>
                        <a:gd name="connsiteX13" fmla="*/ 632760 w 658537"/>
                        <a:gd name="connsiteY13" fmla="*/ 420863 h 442393"/>
                        <a:gd name="connsiteX14" fmla="*/ 632880 w 658537"/>
                        <a:gd name="connsiteY14" fmla="*/ 420624 h 442393"/>
                        <a:gd name="connsiteX15" fmla="*/ 633000 w 658537"/>
                        <a:gd name="connsiteY15" fmla="*/ 420445 h 442393"/>
                        <a:gd name="connsiteX16" fmla="*/ 633119 w 658537"/>
                        <a:gd name="connsiteY16" fmla="*/ 420265 h 442393"/>
                        <a:gd name="connsiteX17" fmla="*/ 632043 w 658537"/>
                        <a:gd name="connsiteY17" fmla="*/ 419547 h 442393"/>
                        <a:gd name="connsiteX18" fmla="*/ 631923 w 658537"/>
                        <a:gd name="connsiteY18" fmla="*/ 419727 h 442393"/>
                        <a:gd name="connsiteX19" fmla="*/ 631804 w 658537"/>
                        <a:gd name="connsiteY19" fmla="*/ 419906 h 442393"/>
                        <a:gd name="connsiteX20" fmla="*/ 631684 w 658537"/>
                        <a:gd name="connsiteY20" fmla="*/ 420086 h 442393"/>
                        <a:gd name="connsiteX21" fmla="*/ 631445 w 658537"/>
                        <a:gd name="connsiteY21" fmla="*/ 420265 h 442393"/>
                        <a:gd name="connsiteX22" fmla="*/ 630249 w 658537"/>
                        <a:gd name="connsiteY22" fmla="*/ 419428 h 442393"/>
                        <a:gd name="connsiteX23" fmla="*/ 630906 w 658537"/>
                        <a:gd name="connsiteY23" fmla="*/ 419906 h 442393"/>
                        <a:gd name="connsiteX24" fmla="*/ 631026 w 658537"/>
                        <a:gd name="connsiteY24" fmla="*/ 419727 h 442393"/>
                        <a:gd name="connsiteX25" fmla="*/ 631146 w 658537"/>
                        <a:gd name="connsiteY25" fmla="*/ 419547 h 442393"/>
                        <a:gd name="connsiteX26" fmla="*/ 631265 w 658537"/>
                        <a:gd name="connsiteY26" fmla="*/ 419368 h 442393"/>
                        <a:gd name="connsiteX27" fmla="*/ 631385 w 658537"/>
                        <a:gd name="connsiteY27" fmla="*/ 419189 h 442393"/>
                        <a:gd name="connsiteX28" fmla="*/ 630727 w 658537"/>
                        <a:gd name="connsiteY28" fmla="*/ 418710 h 442393"/>
                        <a:gd name="connsiteX29" fmla="*/ 630607 w 658537"/>
                        <a:gd name="connsiteY29" fmla="*/ 418890 h 442393"/>
                        <a:gd name="connsiteX30" fmla="*/ 630488 w 658537"/>
                        <a:gd name="connsiteY30" fmla="*/ 419069 h 442393"/>
                        <a:gd name="connsiteX31" fmla="*/ 630368 w 658537"/>
                        <a:gd name="connsiteY31" fmla="*/ 419248 h 442393"/>
                        <a:gd name="connsiteX32" fmla="*/ 630249 w 658537"/>
                        <a:gd name="connsiteY32" fmla="*/ 419428 h 442393"/>
                        <a:gd name="connsiteX33" fmla="*/ 628215 w 658537"/>
                        <a:gd name="connsiteY33" fmla="*/ 418052 h 442393"/>
                        <a:gd name="connsiteX34" fmla="*/ 629770 w 658537"/>
                        <a:gd name="connsiteY34" fmla="*/ 419129 h 442393"/>
                        <a:gd name="connsiteX35" fmla="*/ 629890 w 658537"/>
                        <a:gd name="connsiteY35" fmla="*/ 418949 h 442393"/>
                        <a:gd name="connsiteX36" fmla="*/ 630009 w 658537"/>
                        <a:gd name="connsiteY36" fmla="*/ 418770 h 442393"/>
                        <a:gd name="connsiteX37" fmla="*/ 630129 w 658537"/>
                        <a:gd name="connsiteY37" fmla="*/ 418591 h 442393"/>
                        <a:gd name="connsiteX38" fmla="*/ 630249 w 658537"/>
                        <a:gd name="connsiteY38" fmla="*/ 418411 h 442393"/>
                        <a:gd name="connsiteX39" fmla="*/ 628694 w 658537"/>
                        <a:gd name="connsiteY39" fmla="*/ 417394 h 442393"/>
                        <a:gd name="connsiteX40" fmla="*/ 628574 w 658537"/>
                        <a:gd name="connsiteY40" fmla="*/ 417574 h 442393"/>
                        <a:gd name="connsiteX41" fmla="*/ 628454 w 658537"/>
                        <a:gd name="connsiteY41" fmla="*/ 417753 h 442393"/>
                        <a:gd name="connsiteX42" fmla="*/ 628335 w 658537"/>
                        <a:gd name="connsiteY42" fmla="*/ 417933 h 442393"/>
                        <a:gd name="connsiteX43" fmla="*/ 628215 w 658537"/>
                        <a:gd name="connsiteY43" fmla="*/ 418052 h 442393"/>
                        <a:gd name="connsiteX44" fmla="*/ 627019 w 658537"/>
                        <a:gd name="connsiteY44" fmla="*/ 417275 h 442393"/>
                        <a:gd name="connsiteX45" fmla="*/ 627677 w 658537"/>
                        <a:gd name="connsiteY45" fmla="*/ 417693 h 442393"/>
                        <a:gd name="connsiteX46" fmla="*/ 627797 w 658537"/>
                        <a:gd name="connsiteY46" fmla="*/ 417514 h 442393"/>
                        <a:gd name="connsiteX47" fmla="*/ 627916 w 658537"/>
                        <a:gd name="connsiteY47" fmla="*/ 417335 h 442393"/>
                        <a:gd name="connsiteX48" fmla="*/ 628036 w 658537"/>
                        <a:gd name="connsiteY48" fmla="*/ 417155 h 442393"/>
                        <a:gd name="connsiteX49" fmla="*/ 628155 w 658537"/>
                        <a:gd name="connsiteY49" fmla="*/ 416976 h 442393"/>
                        <a:gd name="connsiteX50" fmla="*/ 627498 w 658537"/>
                        <a:gd name="connsiteY50" fmla="*/ 416557 h 442393"/>
                        <a:gd name="connsiteX51" fmla="*/ 627378 w 658537"/>
                        <a:gd name="connsiteY51" fmla="*/ 416737 h 442393"/>
                        <a:gd name="connsiteX52" fmla="*/ 627258 w 658537"/>
                        <a:gd name="connsiteY52" fmla="*/ 416916 h 442393"/>
                        <a:gd name="connsiteX53" fmla="*/ 627138 w 658537"/>
                        <a:gd name="connsiteY53" fmla="*/ 417095 h 442393"/>
                        <a:gd name="connsiteX54" fmla="*/ 627019 w 658537"/>
                        <a:gd name="connsiteY54" fmla="*/ 417275 h 442393"/>
                        <a:gd name="connsiteX55" fmla="*/ 614818 w 658537"/>
                        <a:gd name="connsiteY55" fmla="*/ 409141 h 442393"/>
                        <a:gd name="connsiteX56" fmla="*/ 626481 w 658537"/>
                        <a:gd name="connsiteY56" fmla="*/ 416976 h 442393"/>
                        <a:gd name="connsiteX57" fmla="*/ 626600 w 658537"/>
                        <a:gd name="connsiteY57" fmla="*/ 416796 h 442393"/>
                        <a:gd name="connsiteX58" fmla="*/ 626720 w 658537"/>
                        <a:gd name="connsiteY58" fmla="*/ 416617 h 442393"/>
                        <a:gd name="connsiteX59" fmla="*/ 626840 w 658537"/>
                        <a:gd name="connsiteY59" fmla="*/ 416438 h 442393"/>
                        <a:gd name="connsiteX60" fmla="*/ 626959 w 658537"/>
                        <a:gd name="connsiteY60" fmla="*/ 416258 h 442393"/>
                        <a:gd name="connsiteX61" fmla="*/ 615297 w 658537"/>
                        <a:gd name="connsiteY61" fmla="*/ 408423 h 442393"/>
                        <a:gd name="connsiteX62" fmla="*/ 614818 w 658537"/>
                        <a:gd name="connsiteY62" fmla="*/ 409141 h 442393"/>
                        <a:gd name="connsiteX63" fmla="*/ 609556 w 658537"/>
                        <a:gd name="connsiteY63" fmla="*/ 405613 h 442393"/>
                        <a:gd name="connsiteX64" fmla="*/ 614280 w 658537"/>
                        <a:gd name="connsiteY64" fmla="*/ 408782 h 442393"/>
                        <a:gd name="connsiteX65" fmla="*/ 614878 w 658537"/>
                        <a:gd name="connsiteY65" fmla="*/ 408065 h 442393"/>
                        <a:gd name="connsiteX66" fmla="*/ 609256 w 658537"/>
                        <a:gd name="connsiteY66" fmla="*/ 404297 h 442393"/>
                        <a:gd name="connsiteX67" fmla="*/ 609376 w 658537"/>
                        <a:gd name="connsiteY67" fmla="*/ 404596 h 442393"/>
                        <a:gd name="connsiteX68" fmla="*/ 609436 w 658537"/>
                        <a:gd name="connsiteY68" fmla="*/ 404895 h 442393"/>
                        <a:gd name="connsiteX69" fmla="*/ 609496 w 658537"/>
                        <a:gd name="connsiteY69" fmla="*/ 405254 h 442393"/>
                        <a:gd name="connsiteX70" fmla="*/ 609556 w 658537"/>
                        <a:gd name="connsiteY70" fmla="*/ 405613 h 442393"/>
                        <a:gd name="connsiteX71" fmla="*/ 603515 w 658537"/>
                        <a:gd name="connsiteY71" fmla="*/ 401545 h 442393"/>
                        <a:gd name="connsiteX72" fmla="*/ 608539 w 658537"/>
                        <a:gd name="connsiteY72" fmla="*/ 404895 h 442393"/>
                        <a:gd name="connsiteX73" fmla="*/ 608359 w 658537"/>
                        <a:gd name="connsiteY73" fmla="*/ 404416 h 442393"/>
                        <a:gd name="connsiteX74" fmla="*/ 608120 w 658537"/>
                        <a:gd name="connsiteY74" fmla="*/ 403938 h 442393"/>
                        <a:gd name="connsiteX75" fmla="*/ 607821 w 658537"/>
                        <a:gd name="connsiteY75" fmla="*/ 403519 h 442393"/>
                        <a:gd name="connsiteX76" fmla="*/ 607522 w 658537"/>
                        <a:gd name="connsiteY76" fmla="*/ 403100 h 442393"/>
                        <a:gd name="connsiteX77" fmla="*/ 605668 w 658537"/>
                        <a:gd name="connsiteY77" fmla="*/ 401845 h 442393"/>
                        <a:gd name="connsiteX78" fmla="*/ 605129 w 658537"/>
                        <a:gd name="connsiteY78" fmla="*/ 401665 h 442393"/>
                        <a:gd name="connsiteX79" fmla="*/ 604591 w 658537"/>
                        <a:gd name="connsiteY79" fmla="*/ 401545 h 442393"/>
                        <a:gd name="connsiteX80" fmla="*/ 604053 w 658537"/>
                        <a:gd name="connsiteY80" fmla="*/ 401486 h 442393"/>
                        <a:gd name="connsiteX81" fmla="*/ 603515 w 658537"/>
                        <a:gd name="connsiteY81" fmla="*/ 401545 h 442393"/>
                        <a:gd name="connsiteX82" fmla="*/ 583898 w 658537"/>
                        <a:gd name="connsiteY82" fmla="*/ 388448 h 442393"/>
                        <a:gd name="connsiteX83" fmla="*/ 602498 w 658537"/>
                        <a:gd name="connsiteY83" fmla="*/ 400888 h 442393"/>
                        <a:gd name="connsiteX84" fmla="*/ 602857 w 658537"/>
                        <a:gd name="connsiteY84" fmla="*/ 400828 h 442393"/>
                        <a:gd name="connsiteX85" fmla="*/ 603216 w 658537"/>
                        <a:gd name="connsiteY85" fmla="*/ 400768 h 442393"/>
                        <a:gd name="connsiteX86" fmla="*/ 603575 w 658537"/>
                        <a:gd name="connsiteY86" fmla="*/ 400768 h 442393"/>
                        <a:gd name="connsiteX87" fmla="*/ 603934 w 658537"/>
                        <a:gd name="connsiteY87" fmla="*/ 400768 h 442393"/>
                        <a:gd name="connsiteX88" fmla="*/ 584436 w 658537"/>
                        <a:gd name="connsiteY88" fmla="*/ 387730 h 442393"/>
                        <a:gd name="connsiteX89" fmla="*/ 583898 w 658537"/>
                        <a:gd name="connsiteY89" fmla="*/ 388448 h 442393"/>
                        <a:gd name="connsiteX90" fmla="*/ 579412 w 658537"/>
                        <a:gd name="connsiteY90" fmla="*/ 385398 h 442393"/>
                        <a:gd name="connsiteX91" fmla="*/ 583360 w 658537"/>
                        <a:gd name="connsiteY91" fmla="*/ 388029 h 442393"/>
                        <a:gd name="connsiteX92" fmla="*/ 583958 w 658537"/>
                        <a:gd name="connsiteY92" fmla="*/ 387252 h 442393"/>
                        <a:gd name="connsiteX93" fmla="*/ 579113 w 658537"/>
                        <a:gd name="connsiteY93" fmla="*/ 383962 h 442393"/>
                        <a:gd name="connsiteX94" fmla="*/ 579233 w 658537"/>
                        <a:gd name="connsiteY94" fmla="*/ 384261 h 442393"/>
                        <a:gd name="connsiteX95" fmla="*/ 579293 w 658537"/>
                        <a:gd name="connsiteY95" fmla="*/ 384620 h 442393"/>
                        <a:gd name="connsiteX96" fmla="*/ 579353 w 658537"/>
                        <a:gd name="connsiteY96" fmla="*/ 384979 h 442393"/>
                        <a:gd name="connsiteX97" fmla="*/ 579412 w 658537"/>
                        <a:gd name="connsiteY97" fmla="*/ 385398 h 442393"/>
                        <a:gd name="connsiteX98" fmla="*/ 574688 w 658537"/>
                        <a:gd name="connsiteY98" fmla="*/ 382228 h 442393"/>
                        <a:gd name="connsiteX99" fmla="*/ 578396 w 658537"/>
                        <a:gd name="connsiteY99" fmla="*/ 384680 h 442393"/>
                        <a:gd name="connsiteX100" fmla="*/ 578216 w 658537"/>
                        <a:gd name="connsiteY100" fmla="*/ 384142 h 442393"/>
                        <a:gd name="connsiteX101" fmla="*/ 577977 w 658537"/>
                        <a:gd name="connsiteY101" fmla="*/ 383663 h 442393"/>
                        <a:gd name="connsiteX102" fmla="*/ 577678 w 658537"/>
                        <a:gd name="connsiteY102" fmla="*/ 383185 h 442393"/>
                        <a:gd name="connsiteX103" fmla="*/ 577319 w 658537"/>
                        <a:gd name="connsiteY103" fmla="*/ 382766 h 442393"/>
                        <a:gd name="connsiteX104" fmla="*/ 575405 w 658537"/>
                        <a:gd name="connsiteY104" fmla="*/ 381450 h 442393"/>
                        <a:gd name="connsiteX105" fmla="*/ 575346 w 658537"/>
                        <a:gd name="connsiteY105" fmla="*/ 381450 h 442393"/>
                        <a:gd name="connsiteX106" fmla="*/ 575286 w 658537"/>
                        <a:gd name="connsiteY106" fmla="*/ 381450 h 442393"/>
                        <a:gd name="connsiteX107" fmla="*/ 575226 w 658537"/>
                        <a:gd name="connsiteY107" fmla="*/ 381450 h 442393"/>
                        <a:gd name="connsiteX108" fmla="*/ 575166 w 658537"/>
                        <a:gd name="connsiteY108" fmla="*/ 381450 h 442393"/>
                        <a:gd name="connsiteX109" fmla="*/ 574688 w 658537"/>
                        <a:gd name="connsiteY109" fmla="*/ 382228 h 442393"/>
                        <a:gd name="connsiteX110" fmla="*/ 573133 w 658537"/>
                        <a:gd name="connsiteY110" fmla="*/ 381211 h 442393"/>
                        <a:gd name="connsiteX111" fmla="*/ 574149 w 658537"/>
                        <a:gd name="connsiteY111" fmla="*/ 381869 h 442393"/>
                        <a:gd name="connsiteX112" fmla="*/ 574568 w 658537"/>
                        <a:gd name="connsiteY112" fmla="*/ 381331 h 442393"/>
                        <a:gd name="connsiteX113" fmla="*/ 574209 w 658537"/>
                        <a:gd name="connsiteY113" fmla="*/ 381271 h 442393"/>
                        <a:gd name="connsiteX114" fmla="*/ 573850 w 658537"/>
                        <a:gd name="connsiteY114" fmla="*/ 381211 h 442393"/>
                        <a:gd name="connsiteX115" fmla="*/ 573492 w 658537"/>
                        <a:gd name="connsiteY115" fmla="*/ 381211 h 442393"/>
                        <a:gd name="connsiteX116" fmla="*/ 573133 w 658537"/>
                        <a:gd name="connsiteY116" fmla="*/ 381211 h 442393"/>
                        <a:gd name="connsiteX117" fmla="*/ 567571 w 658537"/>
                        <a:gd name="connsiteY117" fmla="*/ 377503 h 442393"/>
                        <a:gd name="connsiteX118" fmla="*/ 572116 w 658537"/>
                        <a:gd name="connsiteY118" fmla="*/ 380553 h 442393"/>
                        <a:gd name="connsiteX119" fmla="*/ 572475 w 658537"/>
                        <a:gd name="connsiteY119" fmla="*/ 380493 h 442393"/>
                        <a:gd name="connsiteX120" fmla="*/ 572834 w 658537"/>
                        <a:gd name="connsiteY120" fmla="*/ 380434 h 442393"/>
                        <a:gd name="connsiteX121" fmla="*/ 573193 w 658537"/>
                        <a:gd name="connsiteY121" fmla="*/ 380434 h 442393"/>
                        <a:gd name="connsiteX122" fmla="*/ 573551 w 658537"/>
                        <a:gd name="connsiteY122" fmla="*/ 380434 h 442393"/>
                        <a:gd name="connsiteX123" fmla="*/ 568109 w 658537"/>
                        <a:gd name="connsiteY123" fmla="*/ 376785 h 442393"/>
                        <a:gd name="connsiteX124" fmla="*/ 567571 w 658537"/>
                        <a:gd name="connsiteY124" fmla="*/ 377503 h 442393"/>
                        <a:gd name="connsiteX125" fmla="*/ 353102 w 658537"/>
                        <a:gd name="connsiteY125" fmla="*/ 233966 h 442393"/>
                        <a:gd name="connsiteX126" fmla="*/ 566972 w 658537"/>
                        <a:gd name="connsiteY126" fmla="*/ 377084 h 442393"/>
                        <a:gd name="connsiteX127" fmla="*/ 567571 w 658537"/>
                        <a:gd name="connsiteY127" fmla="*/ 376307 h 442393"/>
                        <a:gd name="connsiteX128" fmla="*/ 353520 w 658537"/>
                        <a:gd name="connsiteY128" fmla="*/ 232889 h 442393"/>
                        <a:gd name="connsiteX129" fmla="*/ 353401 w 658537"/>
                        <a:gd name="connsiteY129" fmla="*/ 233128 h 442393"/>
                        <a:gd name="connsiteX130" fmla="*/ 353281 w 658537"/>
                        <a:gd name="connsiteY130" fmla="*/ 233368 h 442393"/>
                        <a:gd name="connsiteX131" fmla="*/ 353162 w 658537"/>
                        <a:gd name="connsiteY131" fmla="*/ 233607 h 442393"/>
                        <a:gd name="connsiteX132" fmla="*/ 353102 w 658537"/>
                        <a:gd name="connsiteY132" fmla="*/ 233966 h 442393"/>
                        <a:gd name="connsiteX133" fmla="*/ 351367 w 658537"/>
                        <a:gd name="connsiteY133" fmla="*/ 232770 h 442393"/>
                        <a:gd name="connsiteX134" fmla="*/ 352384 w 658537"/>
                        <a:gd name="connsiteY134" fmla="*/ 233427 h 442393"/>
                        <a:gd name="connsiteX135" fmla="*/ 352504 w 658537"/>
                        <a:gd name="connsiteY135" fmla="*/ 233128 h 442393"/>
                        <a:gd name="connsiteX136" fmla="*/ 352624 w 658537"/>
                        <a:gd name="connsiteY136" fmla="*/ 232829 h 442393"/>
                        <a:gd name="connsiteX137" fmla="*/ 352743 w 658537"/>
                        <a:gd name="connsiteY137" fmla="*/ 232530 h 442393"/>
                        <a:gd name="connsiteX138" fmla="*/ 352863 w 658537"/>
                        <a:gd name="connsiteY138" fmla="*/ 232291 h 442393"/>
                        <a:gd name="connsiteX139" fmla="*/ 351846 w 658537"/>
                        <a:gd name="connsiteY139" fmla="*/ 231573 h 442393"/>
                        <a:gd name="connsiteX140" fmla="*/ 351786 w 658537"/>
                        <a:gd name="connsiteY140" fmla="*/ 231872 h 442393"/>
                        <a:gd name="connsiteX141" fmla="*/ 351726 w 658537"/>
                        <a:gd name="connsiteY141" fmla="*/ 232172 h 442393"/>
                        <a:gd name="connsiteX142" fmla="*/ 351607 w 658537"/>
                        <a:gd name="connsiteY142" fmla="*/ 232471 h 442393"/>
                        <a:gd name="connsiteX143" fmla="*/ 351367 w 658537"/>
                        <a:gd name="connsiteY143" fmla="*/ 232770 h 442393"/>
                        <a:gd name="connsiteX144" fmla="*/ 349095 w 658537"/>
                        <a:gd name="connsiteY144" fmla="*/ 231274 h 442393"/>
                        <a:gd name="connsiteX145" fmla="*/ 350590 w 658537"/>
                        <a:gd name="connsiteY145" fmla="*/ 232231 h 442393"/>
                        <a:gd name="connsiteX146" fmla="*/ 350710 w 658537"/>
                        <a:gd name="connsiteY146" fmla="*/ 231932 h 442393"/>
                        <a:gd name="connsiteX147" fmla="*/ 350770 w 658537"/>
                        <a:gd name="connsiteY147" fmla="*/ 231633 h 442393"/>
                        <a:gd name="connsiteX148" fmla="*/ 350829 w 658537"/>
                        <a:gd name="connsiteY148" fmla="*/ 231334 h 442393"/>
                        <a:gd name="connsiteX149" fmla="*/ 350889 w 658537"/>
                        <a:gd name="connsiteY149" fmla="*/ 231035 h 442393"/>
                        <a:gd name="connsiteX150" fmla="*/ 349633 w 658537"/>
                        <a:gd name="connsiteY150" fmla="*/ 230198 h 442393"/>
                        <a:gd name="connsiteX151" fmla="*/ 349513 w 658537"/>
                        <a:gd name="connsiteY151" fmla="*/ 230437 h 442393"/>
                        <a:gd name="connsiteX152" fmla="*/ 349394 w 658537"/>
                        <a:gd name="connsiteY152" fmla="*/ 230676 h 442393"/>
                        <a:gd name="connsiteX153" fmla="*/ 349274 w 658537"/>
                        <a:gd name="connsiteY153" fmla="*/ 230916 h 442393"/>
                        <a:gd name="connsiteX154" fmla="*/ 349095 w 658537"/>
                        <a:gd name="connsiteY154" fmla="*/ 231274 h 442393"/>
                        <a:gd name="connsiteX155" fmla="*/ 347360 w 658537"/>
                        <a:gd name="connsiteY155" fmla="*/ 230138 h 442393"/>
                        <a:gd name="connsiteX156" fmla="*/ 348317 w 658537"/>
                        <a:gd name="connsiteY156" fmla="*/ 230796 h 442393"/>
                        <a:gd name="connsiteX157" fmla="*/ 348437 w 658537"/>
                        <a:gd name="connsiteY157" fmla="*/ 230557 h 442393"/>
                        <a:gd name="connsiteX158" fmla="*/ 348557 w 658537"/>
                        <a:gd name="connsiteY158" fmla="*/ 230318 h 442393"/>
                        <a:gd name="connsiteX159" fmla="*/ 348676 w 658537"/>
                        <a:gd name="connsiteY159" fmla="*/ 230078 h 442393"/>
                        <a:gd name="connsiteX160" fmla="*/ 348796 w 658537"/>
                        <a:gd name="connsiteY160" fmla="*/ 229839 h 442393"/>
                        <a:gd name="connsiteX161" fmla="*/ 347839 w 658537"/>
                        <a:gd name="connsiteY161" fmla="*/ 229181 h 442393"/>
                        <a:gd name="connsiteX162" fmla="*/ 347719 w 658537"/>
                        <a:gd name="connsiteY162" fmla="*/ 229420 h 442393"/>
                        <a:gd name="connsiteX163" fmla="*/ 347600 w 658537"/>
                        <a:gd name="connsiteY163" fmla="*/ 229659 h 442393"/>
                        <a:gd name="connsiteX164" fmla="*/ 347480 w 658537"/>
                        <a:gd name="connsiteY164" fmla="*/ 229899 h 442393"/>
                        <a:gd name="connsiteX165" fmla="*/ 347360 w 658537"/>
                        <a:gd name="connsiteY165" fmla="*/ 230138 h 442393"/>
                        <a:gd name="connsiteX166" fmla="*/ 344250 w 658537"/>
                        <a:gd name="connsiteY166" fmla="*/ 228045 h 442393"/>
                        <a:gd name="connsiteX167" fmla="*/ 346643 w 658537"/>
                        <a:gd name="connsiteY167" fmla="*/ 229600 h 442393"/>
                        <a:gd name="connsiteX168" fmla="*/ 346763 w 658537"/>
                        <a:gd name="connsiteY168" fmla="*/ 229361 h 442393"/>
                        <a:gd name="connsiteX169" fmla="*/ 346882 w 658537"/>
                        <a:gd name="connsiteY169" fmla="*/ 229121 h 442393"/>
                        <a:gd name="connsiteX170" fmla="*/ 347002 w 658537"/>
                        <a:gd name="connsiteY170" fmla="*/ 228882 h 442393"/>
                        <a:gd name="connsiteX171" fmla="*/ 347121 w 658537"/>
                        <a:gd name="connsiteY171" fmla="*/ 228643 h 442393"/>
                        <a:gd name="connsiteX172" fmla="*/ 344789 w 658537"/>
                        <a:gd name="connsiteY172" fmla="*/ 227088 h 442393"/>
                        <a:gd name="connsiteX173" fmla="*/ 344669 w 658537"/>
                        <a:gd name="connsiteY173" fmla="*/ 227327 h 442393"/>
                        <a:gd name="connsiteX174" fmla="*/ 344549 w 658537"/>
                        <a:gd name="connsiteY174" fmla="*/ 227566 h 442393"/>
                        <a:gd name="connsiteX175" fmla="*/ 344370 w 658537"/>
                        <a:gd name="connsiteY175" fmla="*/ 227805 h 442393"/>
                        <a:gd name="connsiteX176" fmla="*/ 344250 w 658537"/>
                        <a:gd name="connsiteY176" fmla="*/ 228045 h 442393"/>
                        <a:gd name="connsiteX177" fmla="*/ 342576 w 658537"/>
                        <a:gd name="connsiteY177" fmla="*/ 226909 h 442393"/>
                        <a:gd name="connsiteX178" fmla="*/ 343533 w 658537"/>
                        <a:gd name="connsiteY178" fmla="*/ 227566 h 442393"/>
                        <a:gd name="connsiteX179" fmla="*/ 343712 w 658537"/>
                        <a:gd name="connsiteY179" fmla="*/ 227327 h 442393"/>
                        <a:gd name="connsiteX180" fmla="*/ 343892 w 658537"/>
                        <a:gd name="connsiteY180" fmla="*/ 227088 h 442393"/>
                        <a:gd name="connsiteX181" fmla="*/ 344011 w 658537"/>
                        <a:gd name="connsiteY181" fmla="*/ 226849 h 442393"/>
                        <a:gd name="connsiteX182" fmla="*/ 344131 w 658537"/>
                        <a:gd name="connsiteY182" fmla="*/ 226609 h 442393"/>
                        <a:gd name="connsiteX183" fmla="*/ 343174 w 658537"/>
                        <a:gd name="connsiteY183" fmla="*/ 225951 h 442393"/>
                        <a:gd name="connsiteX184" fmla="*/ 343054 w 658537"/>
                        <a:gd name="connsiteY184" fmla="*/ 226191 h 442393"/>
                        <a:gd name="connsiteX185" fmla="*/ 342935 w 658537"/>
                        <a:gd name="connsiteY185" fmla="*/ 226430 h 442393"/>
                        <a:gd name="connsiteX186" fmla="*/ 342815 w 658537"/>
                        <a:gd name="connsiteY186" fmla="*/ 226669 h 442393"/>
                        <a:gd name="connsiteX187" fmla="*/ 342576 w 658537"/>
                        <a:gd name="connsiteY187" fmla="*/ 226909 h 442393"/>
                        <a:gd name="connsiteX188" fmla="*/ 326308 w 658537"/>
                        <a:gd name="connsiteY188" fmla="*/ 216024 h 442393"/>
                        <a:gd name="connsiteX189" fmla="*/ 341798 w 658537"/>
                        <a:gd name="connsiteY189" fmla="*/ 226430 h 442393"/>
                        <a:gd name="connsiteX190" fmla="*/ 341978 w 658537"/>
                        <a:gd name="connsiteY190" fmla="*/ 226191 h 442393"/>
                        <a:gd name="connsiteX191" fmla="*/ 342097 w 658537"/>
                        <a:gd name="connsiteY191" fmla="*/ 225951 h 442393"/>
                        <a:gd name="connsiteX192" fmla="*/ 342217 w 658537"/>
                        <a:gd name="connsiteY192" fmla="*/ 225712 h 442393"/>
                        <a:gd name="connsiteX193" fmla="*/ 342337 w 658537"/>
                        <a:gd name="connsiteY193" fmla="*/ 225473 h 442393"/>
                        <a:gd name="connsiteX194" fmla="*/ 326966 w 658537"/>
                        <a:gd name="connsiteY194" fmla="*/ 215186 h 442393"/>
                        <a:gd name="connsiteX195" fmla="*/ 326308 w 658537"/>
                        <a:gd name="connsiteY195" fmla="*/ 216024 h 442393"/>
                        <a:gd name="connsiteX196" fmla="*/ 318713 w 658537"/>
                        <a:gd name="connsiteY196" fmla="*/ 210940 h 442393"/>
                        <a:gd name="connsiteX197" fmla="*/ 325591 w 658537"/>
                        <a:gd name="connsiteY197" fmla="*/ 215545 h 442393"/>
                        <a:gd name="connsiteX198" fmla="*/ 326308 w 658537"/>
                        <a:gd name="connsiteY198" fmla="*/ 214648 h 442393"/>
                        <a:gd name="connsiteX199" fmla="*/ 318175 w 658537"/>
                        <a:gd name="connsiteY199" fmla="*/ 209206 h 442393"/>
                        <a:gd name="connsiteX200" fmla="*/ 318354 w 658537"/>
                        <a:gd name="connsiteY200" fmla="*/ 209624 h 442393"/>
                        <a:gd name="connsiteX201" fmla="*/ 318533 w 658537"/>
                        <a:gd name="connsiteY201" fmla="*/ 210043 h 442393"/>
                        <a:gd name="connsiteX202" fmla="*/ 318653 w 658537"/>
                        <a:gd name="connsiteY202" fmla="*/ 210462 h 442393"/>
                        <a:gd name="connsiteX203" fmla="*/ 318713 w 658537"/>
                        <a:gd name="connsiteY203" fmla="*/ 210940 h 442393"/>
                        <a:gd name="connsiteX204" fmla="*/ 309981 w 658537"/>
                        <a:gd name="connsiteY204" fmla="*/ 205139 h 442393"/>
                        <a:gd name="connsiteX205" fmla="*/ 317277 w 658537"/>
                        <a:gd name="connsiteY205" fmla="*/ 209983 h 442393"/>
                        <a:gd name="connsiteX206" fmla="*/ 316978 w 658537"/>
                        <a:gd name="connsiteY206" fmla="*/ 209325 h 442393"/>
                        <a:gd name="connsiteX207" fmla="*/ 316619 w 658537"/>
                        <a:gd name="connsiteY207" fmla="*/ 208727 h 442393"/>
                        <a:gd name="connsiteX208" fmla="*/ 316201 w 658537"/>
                        <a:gd name="connsiteY208" fmla="*/ 208129 h 442393"/>
                        <a:gd name="connsiteX209" fmla="*/ 315723 w 658537"/>
                        <a:gd name="connsiteY209" fmla="*/ 207591 h 442393"/>
                        <a:gd name="connsiteX210" fmla="*/ 313031 w 658537"/>
                        <a:gd name="connsiteY210" fmla="*/ 205796 h 442393"/>
                        <a:gd name="connsiteX211" fmla="*/ 312314 w 658537"/>
                        <a:gd name="connsiteY211" fmla="*/ 205557 h 442393"/>
                        <a:gd name="connsiteX212" fmla="*/ 311596 w 658537"/>
                        <a:gd name="connsiteY212" fmla="*/ 205378 h 442393"/>
                        <a:gd name="connsiteX213" fmla="*/ 310818 w 658537"/>
                        <a:gd name="connsiteY213" fmla="*/ 205258 h 442393"/>
                        <a:gd name="connsiteX214" fmla="*/ 309981 w 658537"/>
                        <a:gd name="connsiteY214" fmla="*/ 205139 h 442393"/>
                        <a:gd name="connsiteX215" fmla="*/ 281573 w 658537"/>
                        <a:gd name="connsiteY215" fmla="*/ 186060 h 442393"/>
                        <a:gd name="connsiteX216" fmla="*/ 308546 w 658537"/>
                        <a:gd name="connsiteY216" fmla="*/ 204122 h 442393"/>
                        <a:gd name="connsiteX217" fmla="*/ 309024 w 658537"/>
                        <a:gd name="connsiteY217" fmla="*/ 204062 h 442393"/>
                        <a:gd name="connsiteX218" fmla="*/ 309502 w 658537"/>
                        <a:gd name="connsiteY218" fmla="*/ 204062 h 442393"/>
                        <a:gd name="connsiteX219" fmla="*/ 309981 w 658537"/>
                        <a:gd name="connsiteY219" fmla="*/ 204062 h 442393"/>
                        <a:gd name="connsiteX220" fmla="*/ 310460 w 658537"/>
                        <a:gd name="connsiteY220" fmla="*/ 204062 h 442393"/>
                        <a:gd name="connsiteX221" fmla="*/ 282230 w 658537"/>
                        <a:gd name="connsiteY221" fmla="*/ 185163 h 442393"/>
                        <a:gd name="connsiteX222" fmla="*/ 281573 w 658537"/>
                        <a:gd name="connsiteY222" fmla="*/ 186060 h 442393"/>
                        <a:gd name="connsiteX223" fmla="*/ 274994 w 658537"/>
                        <a:gd name="connsiteY223" fmla="*/ 181694 h 442393"/>
                        <a:gd name="connsiteX224" fmla="*/ 280735 w 658537"/>
                        <a:gd name="connsiteY224" fmla="*/ 185582 h 442393"/>
                        <a:gd name="connsiteX225" fmla="*/ 281453 w 658537"/>
                        <a:gd name="connsiteY225" fmla="*/ 184685 h 442393"/>
                        <a:gd name="connsiteX226" fmla="*/ 274336 w 658537"/>
                        <a:gd name="connsiteY226" fmla="*/ 179900 h 442393"/>
                        <a:gd name="connsiteX227" fmla="*/ 274515 w 658537"/>
                        <a:gd name="connsiteY227" fmla="*/ 180319 h 442393"/>
                        <a:gd name="connsiteX228" fmla="*/ 274695 w 658537"/>
                        <a:gd name="connsiteY228" fmla="*/ 180737 h 442393"/>
                        <a:gd name="connsiteX229" fmla="*/ 274814 w 658537"/>
                        <a:gd name="connsiteY229" fmla="*/ 181216 h 442393"/>
                        <a:gd name="connsiteX230" fmla="*/ 274994 w 658537"/>
                        <a:gd name="connsiteY230" fmla="*/ 181694 h 442393"/>
                        <a:gd name="connsiteX231" fmla="*/ 268116 w 658537"/>
                        <a:gd name="connsiteY231" fmla="*/ 177089 h 442393"/>
                        <a:gd name="connsiteX232" fmla="*/ 273499 w 658537"/>
                        <a:gd name="connsiteY232" fmla="*/ 180677 h 442393"/>
                        <a:gd name="connsiteX233" fmla="*/ 273140 w 658537"/>
                        <a:gd name="connsiteY233" fmla="*/ 180020 h 442393"/>
                        <a:gd name="connsiteX234" fmla="*/ 272721 w 658537"/>
                        <a:gd name="connsiteY234" fmla="*/ 179362 h 442393"/>
                        <a:gd name="connsiteX235" fmla="*/ 272243 w 658537"/>
                        <a:gd name="connsiteY235" fmla="*/ 178763 h 442393"/>
                        <a:gd name="connsiteX236" fmla="*/ 271704 w 658537"/>
                        <a:gd name="connsiteY236" fmla="*/ 178166 h 442393"/>
                        <a:gd name="connsiteX237" fmla="*/ 268893 w 658537"/>
                        <a:gd name="connsiteY237" fmla="*/ 176312 h 442393"/>
                        <a:gd name="connsiteX238" fmla="*/ 268834 w 658537"/>
                        <a:gd name="connsiteY238" fmla="*/ 176312 h 442393"/>
                        <a:gd name="connsiteX239" fmla="*/ 268774 w 658537"/>
                        <a:gd name="connsiteY239" fmla="*/ 176312 h 442393"/>
                        <a:gd name="connsiteX240" fmla="*/ 268714 w 658537"/>
                        <a:gd name="connsiteY240" fmla="*/ 176312 h 442393"/>
                        <a:gd name="connsiteX241" fmla="*/ 268654 w 658537"/>
                        <a:gd name="connsiteY241" fmla="*/ 176312 h 442393"/>
                        <a:gd name="connsiteX242" fmla="*/ 268116 w 658537"/>
                        <a:gd name="connsiteY242" fmla="*/ 177089 h 442393"/>
                        <a:gd name="connsiteX243" fmla="*/ 265843 w 658537"/>
                        <a:gd name="connsiteY243" fmla="*/ 175594 h 442393"/>
                        <a:gd name="connsiteX244" fmla="*/ 267338 w 658537"/>
                        <a:gd name="connsiteY244" fmla="*/ 176611 h 442393"/>
                        <a:gd name="connsiteX245" fmla="*/ 267877 w 658537"/>
                        <a:gd name="connsiteY245" fmla="*/ 175953 h 442393"/>
                        <a:gd name="connsiteX246" fmla="*/ 267398 w 658537"/>
                        <a:gd name="connsiteY246" fmla="*/ 175833 h 442393"/>
                        <a:gd name="connsiteX247" fmla="*/ 266920 w 658537"/>
                        <a:gd name="connsiteY247" fmla="*/ 175714 h 442393"/>
                        <a:gd name="connsiteX248" fmla="*/ 266441 w 658537"/>
                        <a:gd name="connsiteY248" fmla="*/ 175654 h 442393"/>
                        <a:gd name="connsiteX249" fmla="*/ 265843 w 658537"/>
                        <a:gd name="connsiteY249" fmla="*/ 175594 h 442393"/>
                        <a:gd name="connsiteX250" fmla="*/ 257709 w 658537"/>
                        <a:gd name="connsiteY250" fmla="*/ 170092 h 442393"/>
                        <a:gd name="connsiteX251" fmla="*/ 264348 w 658537"/>
                        <a:gd name="connsiteY251" fmla="*/ 174517 h 442393"/>
                        <a:gd name="connsiteX252" fmla="*/ 264886 w 658537"/>
                        <a:gd name="connsiteY252" fmla="*/ 174458 h 442393"/>
                        <a:gd name="connsiteX253" fmla="*/ 265425 w 658537"/>
                        <a:gd name="connsiteY253" fmla="*/ 174458 h 442393"/>
                        <a:gd name="connsiteX254" fmla="*/ 265963 w 658537"/>
                        <a:gd name="connsiteY254" fmla="*/ 174458 h 442393"/>
                        <a:gd name="connsiteX255" fmla="*/ 266501 w 658537"/>
                        <a:gd name="connsiteY255" fmla="*/ 174458 h 442393"/>
                        <a:gd name="connsiteX256" fmla="*/ 258547 w 658537"/>
                        <a:gd name="connsiteY256" fmla="*/ 169135 h 442393"/>
                        <a:gd name="connsiteX257" fmla="*/ 257709 w 658537"/>
                        <a:gd name="connsiteY257" fmla="*/ 170092 h 442393"/>
                        <a:gd name="connsiteX258" fmla="*/ 141863 w 658537"/>
                        <a:gd name="connsiteY258" fmla="*/ 92581 h 442393"/>
                        <a:gd name="connsiteX259" fmla="*/ 256932 w 658537"/>
                        <a:gd name="connsiteY259" fmla="*/ 169613 h 442393"/>
                        <a:gd name="connsiteX260" fmla="*/ 257650 w 658537"/>
                        <a:gd name="connsiteY260" fmla="*/ 168716 h 442393"/>
                        <a:gd name="connsiteX261" fmla="*/ 142341 w 658537"/>
                        <a:gd name="connsiteY261" fmla="*/ 91445 h 442393"/>
                        <a:gd name="connsiteX262" fmla="*/ 142222 w 658537"/>
                        <a:gd name="connsiteY262" fmla="*/ 91744 h 442393"/>
                        <a:gd name="connsiteX263" fmla="*/ 142102 w 658537"/>
                        <a:gd name="connsiteY263" fmla="*/ 92043 h 442393"/>
                        <a:gd name="connsiteX264" fmla="*/ 141982 w 658537"/>
                        <a:gd name="connsiteY264" fmla="*/ 92342 h 442393"/>
                        <a:gd name="connsiteX265" fmla="*/ 141863 w 658537"/>
                        <a:gd name="connsiteY265" fmla="*/ 92581 h 442393"/>
                        <a:gd name="connsiteX266" fmla="*/ 139650 w 658537"/>
                        <a:gd name="connsiteY266" fmla="*/ 91086 h 442393"/>
                        <a:gd name="connsiteX267" fmla="*/ 140906 w 658537"/>
                        <a:gd name="connsiteY267" fmla="*/ 91924 h 442393"/>
                        <a:gd name="connsiteX268" fmla="*/ 141026 w 658537"/>
                        <a:gd name="connsiteY268" fmla="*/ 91625 h 442393"/>
                        <a:gd name="connsiteX269" fmla="*/ 141145 w 658537"/>
                        <a:gd name="connsiteY269" fmla="*/ 91325 h 442393"/>
                        <a:gd name="connsiteX270" fmla="*/ 141265 w 658537"/>
                        <a:gd name="connsiteY270" fmla="*/ 91026 h 442393"/>
                        <a:gd name="connsiteX271" fmla="*/ 141384 w 658537"/>
                        <a:gd name="connsiteY271" fmla="*/ 90727 h 442393"/>
                        <a:gd name="connsiteX272" fmla="*/ 140128 w 658537"/>
                        <a:gd name="connsiteY272" fmla="*/ 89890 h 442393"/>
                        <a:gd name="connsiteX273" fmla="*/ 140009 w 658537"/>
                        <a:gd name="connsiteY273" fmla="*/ 90189 h 442393"/>
                        <a:gd name="connsiteX274" fmla="*/ 139889 w 658537"/>
                        <a:gd name="connsiteY274" fmla="*/ 90488 h 442393"/>
                        <a:gd name="connsiteX275" fmla="*/ 139769 w 658537"/>
                        <a:gd name="connsiteY275" fmla="*/ 90787 h 442393"/>
                        <a:gd name="connsiteX276" fmla="*/ 139650 w 658537"/>
                        <a:gd name="connsiteY276" fmla="*/ 91086 h 442393"/>
                        <a:gd name="connsiteX277" fmla="*/ 136839 w 658537"/>
                        <a:gd name="connsiteY277" fmla="*/ 89232 h 442393"/>
                        <a:gd name="connsiteX278" fmla="*/ 138693 w 658537"/>
                        <a:gd name="connsiteY278" fmla="*/ 90488 h 442393"/>
                        <a:gd name="connsiteX279" fmla="*/ 138813 w 658537"/>
                        <a:gd name="connsiteY279" fmla="*/ 90189 h 442393"/>
                        <a:gd name="connsiteX280" fmla="*/ 138932 w 658537"/>
                        <a:gd name="connsiteY280" fmla="*/ 89890 h 442393"/>
                        <a:gd name="connsiteX281" fmla="*/ 139052 w 658537"/>
                        <a:gd name="connsiteY281" fmla="*/ 89591 h 442393"/>
                        <a:gd name="connsiteX282" fmla="*/ 139172 w 658537"/>
                        <a:gd name="connsiteY282" fmla="*/ 89292 h 442393"/>
                        <a:gd name="connsiteX283" fmla="*/ 137616 w 658537"/>
                        <a:gd name="connsiteY283" fmla="*/ 88216 h 442393"/>
                        <a:gd name="connsiteX284" fmla="*/ 137437 w 658537"/>
                        <a:gd name="connsiteY284" fmla="*/ 88455 h 442393"/>
                        <a:gd name="connsiteX285" fmla="*/ 137258 w 658537"/>
                        <a:gd name="connsiteY285" fmla="*/ 88694 h 442393"/>
                        <a:gd name="connsiteX286" fmla="*/ 137078 w 658537"/>
                        <a:gd name="connsiteY286" fmla="*/ 88933 h 442393"/>
                        <a:gd name="connsiteX287" fmla="*/ 136839 w 658537"/>
                        <a:gd name="connsiteY287" fmla="*/ 89232 h 442393"/>
                        <a:gd name="connsiteX288" fmla="*/ 134686 w 658537"/>
                        <a:gd name="connsiteY288" fmla="*/ 87797 h 442393"/>
                        <a:gd name="connsiteX289" fmla="*/ 135882 w 658537"/>
                        <a:gd name="connsiteY289" fmla="*/ 88634 h 442393"/>
                        <a:gd name="connsiteX290" fmla="*/ 136061 w 658537"/>
                        <a:gd name="connsiteY290" fmla="*/ 88395 h 442393"/>
                        <a:gd name="connsiteX291" fmla="*/ 136241 w 658537"/>
                        <a:gd name="connsiteY291" fmla="*/ 88156 h 442393"/>
                        <a:gd name="connsiteX292" fmla="*/ 136420 w 658537"/>
                        <a:gd name="connsiteY292" fmla="*/ 87917 h 442393"/>
                        <a:gd name="connsiteX293" fmla="*/ 136600 w 658537"/>
                        <a:gd name="connsiteY293" fmla="*/ 87677 h 442393"/>
                        <a:gd name="connsiteX294" fmla="*/ 135404 w 658537"/>
                        <a:gd name="connsiteY294" fmla="*/ 86840 h 442393"/>
                        <a:gd name="connsiteX295" fmla="*/ 135224 w 658537"/>
                        <a:gd name="connsiteY295" fmla="*/ 87079 h 442393"/>
                        <a:gd name="connsiteX296" fmla="*/ 135045 w 658537"/>
                        <a:gd name="connsiteY296" fmla="*/ 87318 h 442393"/>
                        <a:gd name="connsiteX297" fmla="*/ 134865 w 658537"/>
                        <a:gd name="connsiteY297" fmla="*/ 87557 h 442393"/>
                        <a:gd name="connsiteX298" fmla="*/ 134686 w 658537"/>
                        <a:gd name="connsiteY298" fmla="*/ 87797 h 442393"/>
                        <a:gd name="connsiteX299" fmla="*/ 131157 w 658537"/>
                        <a:gd name="connsiteY299" fmla="*/ 85405 h 442393"/>
                        <a:gd name="connsiteX300" fmla="*/ 133789 w 658537"/>
                        <a:gd name="connsiteY300" fmla="*/ 87139 h 442393"/>
                        <a:gd name="connsiteX301" fmla="*/ 133968 w 658537"/>
                        <a:gd name="connsiteY301" fmla="*/ 86900 h 442393"/>
                        <a:gd name="connsiteX302" fmla="*/ 134148 w 658537"/>
                        <a:gd name="connsiteY302" fmla="*/ 86661 h 442393"/>
                        <a:gd name="connsiteX303" fmla="*/ 134327 w 658537"/>
                        <a:gd name="connsiteY303" fmla="*/ 86421 h 442393"/>
                        <a:gd name="connsiteX304" fmla="*/ 134506 w 658537"/>
                        <a:gd name="connsiteY304" fmla="*/ 86182 h 442393"/>
                        <a:gd name="connsiteX305" fmla="*/ 131935 w 658537"/>
                        <a:gd name="connsiteY305" fmla="*/ 84448 h 442393"/>
                        <a:gd name="connsiteX306" fmla="*/ 131755 w 658537"/>
                        <a:gd name="connsiteY306" fmla="*/ 84687 h 442393"/>
                        <a:gd name="connsiteX307" fmla="*/ 131576 w 658537"/>
                        <a:gd name="connsiteY307" fmla="*/ 84926 h 442393"/>
                        <a:gd name="connsiteX308" fmla="*/ 131397 w 658537"/>
                        <a:gd name="connsiteY308" fmla="*/ 85165 h 442393"/>
                        <a:gd name="connsiteX309" fmla="*/ 131157 w 658537"/>
                        <a:gd name="connsiteY309" fmla="*/ 85405 h 442393"/>
                        <a:gd name="connsiteX310" fmla="*/ 129004 w 658537"/>
                        <a:gd name="connsiteY310" fmla="*/ 83969 h 442393"/>
                        <a:gd name="connsiteX311" fmla="*/ 130200 w 658537"/>
                        <a:gd name="connsiteY311" fmla="*/ 84747 h 442393"/>
                        <a:gd name="connsiteX312" fmla="*/ 130380 w 658537"/>
                        <a:gd name="connsiteY312" fmla="*/ 84508 h 442393"/>
                        <a:gd name="connsiteX313" fmla="*/ 130559 w 658537"/>
                        <a:gd name="connsiteY313" fmla="*/ 84268 h 442393"/>
                        <a:gd name="connsiteX314" fmla="*/ 130739 w 658537"/>
                        <a:gd name="connsiteY314" fmla="*/ 84029 h 442393"/>
                        <a:gd name="connsiteX315" fmla="*/ 130918 w 658537"/>
                        <a:gd name="connsiteY315" fmla="*/ 83790 h 442393"/>
                        <a:gd name="connsiteX316" fmla="*/ 129722 w 658537"/>
                        <a:gd name="connsiteY316" fmla="*/ 82953 h 442393"/>
                        <a:gd name="connsiteX317" fmla="*/ 129543 w 658537"/>
                        <a:gd name="connsiteY317" fmla="*/ 83192 h 442393"/>
                        <a:gd name="connsiteX318" fmla="*/ 129363 w 658537"/>
                        <a:gd name="connsiteY318" fmla="*/ 83431 h 442393"/>
                        <a:gd name="connsiteX319" fmla="*/ 129184 w 658537"/>
                        <a:gd name="connsiteY319" fmla="*/ 83670 h 442393"/>
                        <a:gd name="connsiteX320" fmla="*/ 129004 w 658537"/>
                        <a:gd name="connsiteY320" fmla="*/ 83969 h 442393"/>
                        <a:gd name="connsiteX321" fmla="*/ 105201 w 658537"/>
                        <a:gd name="connsiteY321" fmla="*/ 68061 h 442393"/>
                        <a:gd name="connsiteX322" fmla="*/ 128107 w 658537"/>
                        <a:gd name="connsiteY322" fmla="*/ 83371 h 442393"/>
                        <a:gd name="connsiteX323" fmla="*/ 128287 w 658537"/>
                        <a:gd name="connsiteY323" fmla="*/ 83132 h 442393"/>
                        <a:gd name="connsiteX324" fmla="*/ 128466 w 658537"/>
                        <a:gd name="connsiteY324" fmla="*/ 82893 h 442393"/>
                        <a:gd name="connsiteX325" fmla="*/ 128645 w 658537"/>
                        <a:gd name="connsiteY325" fmla="*/ 82654 h 442393"/>
                        <a:gd name="connsiteX326" fmla="*/ 128825 w 658537"/>
                        <a:gd name="connsiteY326" fmla="*/ 82414 h 442393"/>
                        <a:gd name="connsiteX327" fmla="*/ 106038 w 658537"/>
                        <a:gd name="connsiteY327" fmla="*/ 67104 h 442393"/>
                        <a:gd name="connsiteX328" fmla="*/ 105201 w 658537"/>
                        <a:gd name="connsiteY328" fmla="*/ 68061 h 442393"/>
                        <a:gd name="connsiteX329" fmla="*/ 95512 w 658537"/>
                        <a:gd name="connsiteY329" fmla="*/ 61541 h 442393"/>
                        <a:gd name="connsiteX330" fmla="*/ 104244 w 658537"/>
                        <a:gd name="connsiteY330" fmla="*/ 67343 h 442393"/>
                        <a:gd name="connsiteX331" fmla="*/ 105021 w 658537"/>
                        <a:gd name="connsiteY331" fmla="*/ 66326 h 442393"/>
                        <a:gd name="connsiteX332" fmla="*/ 94675 w 658537"/>
                        <a:gd name="connsiteY332" fmla="*/ 59389 h 442393"/>
                        <a:gd name="connsiteX333" fmla="*/ 94914 w 658537"/>
                        <a:gd name="connsiteY333" fmla="*/ 59867 h 442393"/>
                        <a:gd name="connsiteX334" fmla="*/ 95154 w 658537"/>
                        <a:gd name="connsiteY334" fmla="*/ 60405 h 442393"/>
                        <a:gd name="connsiteX335" fmla="*/ 95333 w 658537"/>
                        <a:gd name="connsiteY335" fmla="*/ 60944 h 442393"/>
                        <a:gd name="connsiteX336" fmla="*/ 95512 w 658537"/>
                        <a:gd name="connsiteY336" fmla="*/ 61541 h 442393"/>
                        <a:gd name="connsiteX337" fmla="*/ 84388 w 658537"/>
                        <a:gd name="connsiteY337" fmla="*/ 54125 h 442393"/>
                        <a:gd name="connsiteX338" fmla="*/ 93658 w 658537"/>
                        <a:gd name="connsiteY338" fmla="*/ 60345 h 442393"/>
                        <a:gd name="connsiteX339" fmla="*/ 93240 w 658537"/>
                        <a:gd name="connsiteY339" fmla="*/ 59568 h 442393"/>
                        <a:gd name="connsiteX340" fmla="*/ 92761 w 658537"/>
                        <a:gd name="connsiteY340" fmla="*/ 58790 h 442393"/>
                        <a:gd name="connsiteX341" fmla="*/ 92163 w 658537"/>
                        <a:gd name="connsiteY341" fmla="*/ 58073 h 442393"/>
                        <a:gd name="connsiteX342" fmla="*/ 91505 w 658537"/>
                        <a:gd name="connsiteY342" fmla="*/ 57415 h 442393"/>
                        <a:gd name="connsiteX343" fmla="*/ 88096 w 658537"/>
                        <a:gd name="connsiteY343" fmla="*/ 55142 h 442393"/>
                        <a:gd name="connsiteX344" fmla="*/ 87199 w 658537"/>
                        <a:gd name="connsiteY344" fmla="*/ 54783 h 442393"/>
                        <a:gd name="connsiteX345" fmla="*/ 86302 w 658537"/>
                        <a:gd name="connsiteY345" fmla="*/ 54484 h 442393"/>
                        <a:gd name="connsiteX346" fmla="*/ 85345 w 658537"/>
                        <a:gd name="connsiteY346" fmla="*/ 54305 h 442393"/>
                        <a:gd name="connsiteX347" fmla="*/ 84388 w 658537"/>
                        <a:gd name="connsiteY347" fmla="*/ 54125 h 442393"/>
                        <a:gd name="connsiteX348" fmla="*/ 48025 w 658537"/>
                        <a:gd name="connsiteY348" fmla="*/ 29784 h 442393"/>
                        <a:gd name="connsiteX349" fmla="*/ 82534 w 658537"/>
                        <a:gd name="connsiteY349" fmla="*/ 52869 h 442393"/>
                        <a:gd name="connsiteX350" fmla="*/ 83132 w 658537"/>
                        <a:gd name="connsiteY350" fmla="*/ 52869 h 442393"/>
                        <a:gd name="connsiteX351" fmla="*/ 83730 w 658537"/>
                        <a:gd name="connsiteY351" fmla="*/ 52869 h 442393"/>
                        <a:gd name="connsiteX352" fmla="*/ 84328 w 658537"/>
                        <a:gd name="connsiteY352" fmla="*/ 52929 h 442393"/>
                        <a:gd name="connsiteX353" fmla="*/ 84926 w 658537"/>
                        <a:gd name="connsiteY353" fmla="*/ 52989 h 442393"/>
                        <a:gd name="connsiteX354" fmla="*/ 48803 w 658537"/>
                        <a:gd name="connsiteY354" fmla="*/ 28827 h 442393"/>
                        <a:gd name="connsiteX355" fmla="*/ 48025 w 658537"/>
                        <a:gd name="connsiteY355" fmla="*/ 29784 h 442393"/>
                        <a:gd name="connsiteX356" fmla="*/ 39652 w 658537"/>
                        <a:gd name="connsiteY356" fmla="*/ 24162 h 442393"/>
                        <a:gd name="connsiteX357" fmla="*/ 47008 w 658537"/>
                        <a:gd name="connsiteY357" fmla="*/ 29126 h 442393"/>
                        <a:gd name="connsiteX358" fmla="*/ 47846 w 658537"/>
                        <a:gd name="connsiteY358" fmla="*/ 28109 h 442393"/>
                        <a:gd name="connsiteX359" fmla="*/ 38755 w 658537"/>
                        <a:gd name="connsiteY359" fmla="*/ 22009 h 442393"/>
                        <a:gd name="connsiteX360" fmla="*/ 38994 w 658537"/>
                        <a:gd name="connsiteY360" fmla="*/ 22547 h 442393"/>
                        <a:gd name="connsiteX361" fmla="*/ 39234 w 658537"/>
                        <a:gd name="connsiteY361" fmla="*/ 23085 h 442393"/>
                        <a:gd name="connsiteX362" fmla="*/ 39473 w 658537"/>
                        <a:gd name="connsiteY362" fmla="*/ 23624 h 442393"/>
                        <a:gd name="connsiteX363" fmla="*/ 39652 w 658537"/>
                        <a:gd name="connsiteY363" fmla="*/ 24162 h 442393"/>
                        <a:gd name="connsiteX364" fmla="*/ 30801 w 658537"/>
                        <a:gd name="connsiteY364" fmla="*/ 18241 h 442393"/>
                        <a:gd name="connsiteX365" fmla="*/ 37678 w 658537"/>
                        <a:gd name="connsiteY365" fmla="*/ 22846 h 442393"/>
                        <a:gd name="connsiteX366" fmla="*/ 37200 w 658537"/>
                        <a:gd name="connsiteY366" fmla="*/ 22009 h 442393"/>
                        <a:gd name="connsiteX367" fmla="*/ 36662 w 658537"/>
                        <a:gd name="connsiteY367" fmla="*/ 21231 h 442393"/>
                        <a:gd name="connsiteX368" fmla="*/ 36064 w 658537"/>
                        <a:gd name="connsiteY368" fmla="*/ 20454 h 442393"/>
                        <a:gd name="connsiteX369" fmla="*/ 35406 w 658537"/>
                        <a:gd name="connsiteY369" fmla="*/ 19736 h 442393"/>
                        <a:gd name="connsiteX370" fmla="*/ 31817 w 658537"/>
                        <a:gd name="connsiteY370" fmla="*/ 17344 h 442393"/>
                        <a:gd name="connsiteX371" fmla="*/ 31758 w 658537"/>
                        <a:gd name="connsiteY371" fmla="*/ 17344 h 442393"/>
                        <a:gd name="connsiteX372" fmla="*/ 31698 w 658537"/>
                        <a:gd name="connsiteY372" fmla="*/ 17344 h 442393"/>
                        <a:gd name="connsiteX373" fmla="*/ 31638 w 658537"/>
                        <a:gd name="connsiteY373" fmla="*/ 17344 h 442393"/>
                        <a:gd name="connsiteX374" fmla="*/ 31578 w 658537"/>
                        <a:gd name="connsiteY374" fmla="*/ 17344 h 442393"/>
                        <a:gd name="connsiteX375" fmla="*/ 30801 w 658537"/>
                        <a:gd name="connsiteY375" fmla="*/ 18241 h 442393"/>
                        <a:gd name="connsiteX376" fmla="*/ 27870 w 658537"/>
                        <a:gd name="connsiteY376" fmla="*/ 16327 h 442393"/>
                        <a:gd name="connsiteX377" fmla="*/ 29724 w 658537"/>
                        <a:gd name="connsiteY377" fmla="*/ 17583 h 442393"/>
                        <a:gd name="connsiteX378" fmla="*/ 30322 w 658537"/>
                        <a:gd name="connsiteY378" fmla="*/ 16806 h 442393"/>
                        <a:gd name="connsiteX379" fmla="*/ 29724 w 658537"/>
                        <a:gd name="connsiteY379" fmla="*/ 16626 h 442393"/>
                        <a:gd name="connsiteX380" fmla="*/ 29126 w 658537"/>
                        <a:gd name="connsiteY380" fmla="*/ 16507 h 442393"/>
                        <a:gd name="connsiteX381" fmla="*/ 28528 w 658537"/>
                        <a:gd name="connsiteY381" fmla="*/ 16387 h 442393"/>
                        <a:gd name="connsiteX382" fmla="*/ 27870 w 658537"/>
                        <a:gd name="connsiteY382" fmla="*/ 16327 h 442393"/>
                        <a:gd name="connsiteX383" fmla="*/ 17464 w 658537"/>
                        <a:gd name="connsiteY383" fmla="*/ 9330 h 442393"/>
                        <a:gd name="connsiteX384" fmla="*/ 25897 w 658537"/>
                        <a:gd name="connsiteY384" fmla="*/ 15012 h 442393"/>
                        <a:gd name="connsiteX385" fmla="*/ 26554 w 658537"/>
                        <a:gd name="connsiteY385" fmla="*/ 15012 h 442393"/>
                        <a:gd name="connsiteX386" fmla="*/ 27212 w 658537"/>
                        <a:gd name="connsiteY386" fmla="*/ 15012 h 442393"/>
                        <a:gd name="connsiteX387" fmla="*/ 27870 w 658537"/>
                        <a:gd name="connsiteY387" fmla="*/ 15071 h 442393"/>
                        <a:gd name="connsiteX388" fmla="*/ 28528 w 658537"/>
                        <a:gd name="connsiteY388" fmla="*/ 15131 h 442393"/>
                        <a:gd name="connsiteX389" fmla="*/ 18361 w 658537"/>
                        <a:gd name="connsiteY389" fmla="*/ 8313 h 442393"/>
                        <a:gd name="connsiteX390" fmla="*/ 17464 w 658537"/>
                        <a:gd name="connsiteY390" fmla="*/ 9330 h 442393"/>
                        <a:gd name="connsiteX391" fmla="*/ 631325 w 658537"/>
                        <a:gd name="connsiteY391" fmla="*/ 426963 h 442393"/>
                        <a:gd name="connsiteX392" fmla="*/ 654530 w 658537"/>
                        <a:gd name="connsiteY392" fmla="*/ 442394 h 442393"/>
                        <a:gd name="connsiteX393" fmla="*/ 658537 w 658537"/>
                        <a:gd name="connsiteY393" fmla="*/ 437310 h 442393"/>
                        <a:gd name="connsiteX394" fmla="*/ 634854 w 658537"/>
                        <a:gd name="connsiteY394" fmla="*/ 421401 h 442393"/>
                        <a:gd name="connsiteX395" fmla="*/ 634734 w 658537"/>
                        <a:gd name="connsiteY395" fmla="*/ 421581 h 442393"/>
                        <a:gd name="connsiteX396" fmla="*/ 634614 w 658537"/>
                        <a:gd name="connsiteY396" fmla="*/ 421760 h 442393"/>
                        <a:gd name="connsiteX397" fmla="*/ 634495 w 658537"/>
                        <a:gd name="connsiteY397" fmla="*/ 421940 h 442393"/>
                        <a:gd name="connsiteX398" fmla="*/ 634375 w 658537"/>
                        <a:gd name="connsiteY398" fmla="*/ 422119 h 442393"/>
                        <a:gd name="connsiteX399" fmla="*/ 657461 w 658537"/>
                        <a:gd name="connsiteY399" fmla="*/ 437609 h 442393"/>
                        <a:gd name="connsiteX400" fmla="*/ 654530 w 658537"/>
                        <a:gd name="connsiteY400" fmla="*/ 441317 h 442393"/>
                        <a:gd name="connsiteX401" fmla="*/ 631744 w 658537"/>
                        <a:gd name="connsiteY401" fmla="*/ 426186 h 442393"/>
                        <a:gd name="connsiteX402" fmla="*/ 631624 w 658537"/>
                        <a:gd name="connsiteY402" fmla="*/ 426365 h 442393"/>
                        <a:gd name="connsiteX403" fmla="*/ 631505 w 658537"/>
                        <a:gd name="connsiteY403" fmla="*/ 426545 h 442393"/>
                        <a:gd name="connsiteX404" fmla="*/ 631385 w 658537"/>
                        <a:gd name="connsiteY404" fmla="*/ 426724 h 442393"/>
                        <a:gd name="connsiteX405" fmla="*/ 631325 w 658537"/>
                        <a:gd name="connsiteY405" fmla="*/ 426963 h 442393"/>
                        <a:gd name="connsiteX406" fmla="*/ 630129 w 658537"/>
                        <a:gd name="connsiteY406" fmla="*/ 426186 h 442393"/>
                        <a:gd name="connsiteX407" fmla="*/ 630787 w 658537"/>
                        <a:gd name="connsiteY407" fmla="*/ 426605 h 442393"/>
                        <a:gd name="connsiteX408" fmla="*/ 630906 w 658537"/>
                        <a:gd name="connsiteY408" fmla="*/ 426425 h 442393"/>
                        <a:gd name="connsiteX409" fmla="*/ 631026 w 658537"/>
                        <a:gd name="connsiteY409" fmla="*/ 426246 h 442393"/>
                        <a:gd name="connsiteX410" fmla="*/ 631146 w 658537"/>
                        <a:gd name="connsiteY410" fmla="*/ 426067 h 442393"/>
                        <a:gd name="connsiteX411" fmla="*/ 631265 w 658537"/>
                        <a:gd name="connsiteY411" fmla="*/ 425887 h 442393"/>
                        <a:gd name="connsiteX412" fmla="*/ 630607 w 658537"/>
                        <a:gd name="connsiteY412" fmla="*/ 425468 h 442393"/>
                        <a:gd name="connsiteX413" fmla="*/ 630488 w 658537"/>
                        <a:gd name="connsiteY413" fmla="*/ 425648 h 442393"/>
                        <a:gd name="connsiteX414" fmla="*/ 630368 w 658537"/>
                        <a:gd name="connsiteY414" fmla="*/ 425827 h 442393"/>
                        <a:gd name="connsiteX415" fmla="*/ 630249 w 658537"/>
                        <a:gd name="connsiteY415" fmla="*/ 426007 h 442393"/>
                        <a:gd name="connsiteX416" fmla="*/ 630129 w 658537"/>
                        <a:gd name="connsiteY416" fmla="*/ 426186 h 442393"/>
                        <a:gd name="connsiteX417" fmla="*/ 627916 w 658537"/>
                        <a:gd name="connsiteY417" fmla="*/ 424691 h 442393"/>
                        <a:gd name="connsiteX418" fmla="*/ 629651 w 658537"/>
                        <a:gd name="connsiteY418" fmla="*/ 425827 h 442393"/>
                        <a:gd name="connsiteX419" fmla="*/ 629770 w 658537"/>
                        <a:gd name="connsiteY419" fmla="*/ 425648 h 442393"/>
                        <a:gd name="connsiteX420" fmla="*/ 629890 w 658537"/>
                        <a:gd name="connsiteY420" fmla="*/ 425468 h 442393"/>
                        <a:gd name="connsiteX421" fmla="*/ 630009 w 658537"/>
                        <a:gd name="connsiteY421" fmla="*/ 425289 h 442393"/>
                        <a:gd name="connsiteX422" fmla="*/ 630129 w 658537"/>
                        <a:gd name="connsiteY422" fmla="*/ 425109 h 442393"/>
                        <a:gd name="connsiteX423" fmla="*/ 628454 w 658537"/>
                        <a:gd name="connsiteY423" fmla="*/ 424033 h 442393"/>
                        <a:gd name="connsiteX424" fmla="*/ 628335 w 658537"/>
                        <a:gd name="connsiteY424" fmla="*/ 424213 h 442393"/>
                        <a:gd name="connsiteX425" fmla="*/ 628215 w 658537"/>
                        <a:gd name="connsiteY425" fmla="*/ 424392 h 442393"/>
                        <a:gd name="connsiteX426" fmla="*/ 628096 w 658537"/>
                        <a:gd name="connsiteY426" fmla="*/ 424571 h 442393"/>
                        <a:gd name="connsiteX427" fmla="*/ 627916 w 658537"/>
                        <a:gd name="connsiteY427" fmla="*/ 424691 h 442393"/>
                        <a:gd name="connsiteX428" fmla="*/ 626780 w 658537"/>
                        <a:gd name="connsiteY428" fmla="*/ 423914 h 442393"/>
                        <a:gd name="connsiteX429" fmla="*/ 627438 w 658537"/>
                        <a:gd name="connsiteY429" fmla="*/ 424332 h 442393"/>
                        <a:gd name="connsiteX430" fmla="*/ 627557 w 658537"/>
                        <a:gd name="connsiteY430" fmla="*/ 424153 h 442393"/>
                        <a:gd name="connsiteX431" fmla="*/ 627677 w 658537"/>
                        <a:gd name="connsiteY431" fmla="*/ 423973 h 442393"/>
                        <a:gd name="connsiteX432" fmla="*/ 627797 w 658537"/>
                        <a:gd name="connsiteY432" fmla="*/ 423794 h 442393"/>
                        <a:gd name="connsiteX433" fmla="*/ 627916 w 658537"/>
                        <a:gd name="connsiteY433" fmla="*/ 423614 h 442393"/>
                        <a:gd name="connsiteX434" fmla="*/ 627258 w 658537"/>
                        <a:gd name="connsiteY434" fmla="*/ 423196 h 442393"/>
                        <a:gd name="connsiteX435" fmla="*/ 627138 w 658537"/>
                        <a:gd name="connsiteY435" fmla="*/ 423375 h 442393"/>
                        <a:gd name="connsiteX436" fmla="*/ 627019 w 658537"/>
                        <a:gd name="connsiteY436" fmla="*/ 423555 h 442393"/>
                        <a:gd name="connsiteX437" fmla="*/ 626899 w 658537"/>
                        <a:gd name="connsiteY437" fmla="*/ 423734 h 442393"/>
                        <a:gd name="connsiteX438" fmla="*/ 626780 w 658537"/>
                        <a:gd name="connsiteY438" fmla="*/ 423914 h 442393"/>
                        <a:gd name="connsiteX439" fmla="*/ 624447 w 658537"/>
                        <a:gd name="connsiteY439" fmla="*/ 422359 h 442393"/>
                        <a:gd name="connsiteX440" fmla="*/ 626242 w 658537"/>
                        <a:gd name="connsiteY440" fmla="*/ 423555 h 442393"/>
                        <a:gd name="connsiteX441" fmla="*/ 626361 w 658537"/>
                        <a:gd name="connsiteY441" fmla="*/ 423375 h 442393"/>
                        <a:gd name="connsiteX442" fmla="*/ 626481 w 658537"/>
                        <a:gd name="connsiteY442" fmla="*/ 423196 h 442393"/>
                        <a:gd name="connsiteX443" fmla="*/ 626600 w 658537"/>
                        <a:gd name="connsiteY443" fmla="*/ 423016 h 442393"/>
                        <a:gd name="connsiteX444" fmla="*/ 626720 w 658537"/>
                        <a:gd name="connsiteY444" fmla="*/ 422837 h 442393"/>
                        <a:gd name="connsiteX445" fmla="*/ 624926 w 658537"/>
                        <a:gd name="connsiteY445" fmla="*/ 421641 h 442393"/>
                        <a:gd name="connsiteX446" fmla="*/ 624746 w 658537"/>
                        <a:gd name="connsiteY446" fmla="*/ 421820 h 442393"/>
                        <a:gd name="connsiteX447" fmla="*/ 624567 w 658537"/>
                        <a:gd name="connsiteY447" fmla="*/ 422000 h 442393"/>
                        <a:gd name="connsiteX448" fmla="*/ 624388 w 658537"/>
                        <a:gd name="connsiteY448" fmla="*/ 422179 h 442393"/>
                        <a:gd name="connsiteX449" fmla="*/ 624447 w 658537"/>
                        <a:gd name="connsiteY449" fmla="*/ 422359 h 442393"/>
                        <a:gd name="connsiteX450" fmla="*/ 623251 w 658537"/>
                        <a:gd name="connsiteY450" fmla="*/ 421581 h 442393"/>
                        <a:gd name="connsiteX451" fmla="*/ 623909 w 658537"/>
                        <a:gd name="connsiteY451" fmla="*/ 422000 h 442393"/>
                        <a:gd name="connsiteX452" fmla="*/ 624089 w 658537"/>
                        <a:gd name="connsiteY452" fmla="*/ 421820 h 442393"/>
                        <a:gd name="connsiteX453" fmla="*/ 624268 w 658537"/>
                        <a:gd name="connsiteY453" fmla="*/ 421641 h 442393"/>
                        <a:gd name="connsiteX454" fmla="*/ 624447 w 658537"/>
                        <a:gd name="connsiteY454" fmla="*/ 421461 h 442393"/>
                        <a:gd name="connsiteX455" fmla="*/ 624627 w 658537"/>
                        <a:gd name="connsiteY455" fmla="*/ 421282 h 442393"/>
                        <a:gd name="connsiteX456" fmla="*/ 623969 w 658537"/>
                        <a:gd name="connsiteY456" fmla="*/ 420863 h 442393"/>
                        <a:gd name="connsiteX457" fmla="*/ 623789 w 658537"/>
                        <a:gd name="connsiteY457" fmla="*/ 421043 h 442393"/>
                        <a:gd name="connsiteX458" fmla="*/ 623610 w 658537"/>
                        <a:gd name="connsiteY458" fmla="*/ 421222 h 442393"/>
                        <a:gd name="connsiteX459" fmla="*/ 623430 w 658537"/>
                        <a:gd name="connsiteY459" fmla="*/ 421401 h 442393"/>
                        <a:gd name="connsiteX460" fmla="*/ 623251 w 658537"/>
                        <a:gd name="connsiteY460" fmla="*/ 421581 h 442393"/>
                        <a:gd name="connsiteX461" fmla="*/ 611290 w 658537"/>
                        <a:gd name="connsiteY461" fmla="*/ 413627 h 442393"/>
                        <a:gd name="connsiteX462" fmla="*/ 622773 w 658537"/>
                        <a:gd name="connsiteY462" fmla="*/ 421222 h 442393"/>
                        <a:gd name="connsiteX463" fmla="*/ 622952 w 658537"/>
                        <a:gd name="connsiteY463" fmla="*/ 421043 h 442393"/>
                        <a:gd name="connsiteX464" fmla="*/ 623132 w 658537"/>
                        <a:gd name="connsiteY464" fmla="*/ 420863 h 442393"/>
                        <a:gd name="connsiteX465" fmla="*/ 623311 w 658537"/>
                        <a:gd name="connsiteY465" fmla="*/ 420684 h 442393"/>
                        <a:gd name="connsiteX466" fmla="*/ 623490 w 658537"/>
                        <a:gd name="connsiteY466" fmla="*/ 420505 h 442393"/>
                        <a:gd name="connsiteX467" fmla="*/ 611948 w 658537"/>
                        <a:gd name="connsiteY467" fmla="*/ 412849 h 442393"/>
                        <a:gd name="connsiteX468" fmla="*/ 611290 w 658537"/>
                        <a:gd name="connsiteY468" fmla="*/ 413627 h 442393"/>
                        <a:gd name="connsiteX469" fmla="*/ 608299 w 658537"/>
                        <a:gd name="connsiteY469" fmla="*/ 411653 h 442393"/>
                        <a:gd name="connsiteX470" fmla="*/ 610751 w 658537"/>
                        <a:gd name="connsiteY470" fmla="*/ 413268 h 442393"/>
                        <a:gd name="connsiteX471" fmla="*/ 611290 w 658537"/>
                        <a:gd name="connsiteY471" fmla="*/ 412550 h 442393"/>
                        <a:gd name="connsiteX472" fmla="*/ 608658 w 658537"/>
                        <a:gd name="connsiteY472" fmla="*/ 410816 h 442393"/>
                        <a:gd name="connsiteX473" fmla="*/ 608539 w 658537"/>
                        <a:gd name="connsiteY473" fmla="*/ 410995 h 442393"/>
                        <a:gd name="connsiteX474" fmla="*/ 608419 w 658537"/>
                        <a:gd name="connsiteY474" fmla="*/ 411175 h 442393"/>
                        <a:gd name="connsiteX475" fmla="*/ 608299 w 658537"/>
                        <a:gd name="connsiteY475" fmla="*/ 411354 h 442393"/>
                        <a:gd name="connsiteX476" fmla="*/ 608299 w 658537"/>
                        <a:gd name="connsiteY476" fmla="*/ 411653 h 442393"/>
                        <a:gd name="connsiteX477" fmla="*/ 605309 w 658537"/>
                        <a:gd name="connsiteY477" fmla="*/ 409679 h 442393"/>
                        <a:gd name="connsiteX478" fmla="*/ 607761 w 658537"/>
                        <a:gd name="connsiteY478" fmla="*/ 411294 h 442393"/>
                        <a:gd name="connsiteX479" fmla="*/ 607881 w 658537"/>
                        <a:gd name="connsiteY479" fmla="*/ 411055 h 442393"/>
                        <a:gd name="connsiteX480" fmla="*/ 608000 w 658537"/>
                        <a:gd name="connsiteY480" fmla="*/ 410816 h 442393"/>
                        <a:gd name="connsiteX481" fmla="*/ 608120 w 658537"/>
                        <a:gd name="connsiteY481" fmla="*/ 410576 h 442393"/>
                        <a:gd name="connsiteX482" fmla="*/ 608180 w 658537"/>
                        <a:gd name="connsiteY482" fmla="*/ 410337 h 442393"/>
                        <a:gd name="connsiteX483" fmla="*/ 605548 w 658537"/>
                        <a:gd name="connsiteY483" fmla="*/ 408603 h 442393"/>
                        <a:gd name="connsiteX484" fmla="*/ 605548 w 658537"/>
                        <a:gd name="connsiteY484" fmla="*/ 408842 h 442393"/>
                        <a:gd name="connsiteX485" fmla="*/ 605488 w 658537"/>
                        <a:gd name="connsiteY485" fmla="*/ 409081 h 442393"/>
                        <a:gd name="connsiteX486" fmla="*/ 605429 w 658537"/>
                        <a:gd name="connsiteY486" fmla="*/ 409321 h 442393"/>
                        <a:gd name="connsiteX487" fmla="*/ 605309 w 658537"/>
                        <a:gd name="connsiteY487" fmla="*/ 409679 h 442393"/>
                        <a:gd name="connsiteX488" fmla="*/ 600345 w 658537"/>
                        <a:gd name="connsiteY488" fmla="*/ 406390 h 442393"/>
                        <a:gd name="connsiteX489" fmla="*/ 604651 w 658537"/>
                        <a:gd name="connsiteY489" fmla="*/ 409261 h 442393"/>
                        <a:gd name="connsiteX490" fmla="*/ 604711 w 658537"/>
                        <a:gd name="connsiteY490" fmla="*/ 408962 h 442393"/>
                        <a:gd name="connsiteX491" fmla="*/ 604711 w 658537"/>
                        <a:gd name="connsiteY491" fmla="*/ 408662 h 442393"/>
                        <a:gd name="connsiteX492" fmla="*/ 604711 w 658537"/>
                        <a:gd name="connsiteY492" fmla="*/ 408423 h 442393"/>
                        <a:gd name="connsiteX493" fmla="*/ 604711 w 658537"/>
                        <a:gd name="connsiteY493" fmla="*/ 408184 h 442393"/>
                        <a:gd name="connsiteX494" fmla="*/ 601481 w 658537"/>
                        <a:gd name="connsiteY494" fmla="*/ 406031 h 442393"/>
                        <a:gd name="connsiteX495" fmla="*/ 601182 w 658537"/>
                        <a:gd name="connsiteY495" fmla="*/ 406091 h 442393"/>
                        <a:gd name="connsiteX496" fmla="*/ 600883 w 658537"/>
                        <a:gd name="connsiteY496" fmla="*/ 406151 h 442393"/>
                        <a:gd name="connsiteX497" fmla="*/ 600584 w 658537"/>
                        <a:gd name="connsiteY497" fmla="*/ 406270 h 442393"/>
                        <a:gd name="connsiteX498" fmla="*/ 600345 w 658537"/>
                        <a:gd name="connsiteY498" fmla="*/ 406390 h 442393"/>
                        <a:gd name="connsiteX499" fmla="*/ 597175 w 658537"/>
                        <a:gd name="connsiteY499" fmla="*/ 404237 h 442393"/>
                        <a:gd name="connsiteX500" fmla="*/ 599687 w 658537"/>
                        <a:gd name="connsiteY500" fmla="*/ 405912 h 442393"/>
                        <a:gd name="connsiteX501" fmla="*/ 599926 w 658537"/>
                        <a:gd name="connsiteY501" fmla="*/ 405792 h 442393"/>
                        <a:gd name="connsiteX502" fmla="*/ 600166 w 658537"/>
                        <a:gd name="connsiteY502" fmla="*/ 405672 h 442393"/>
                        <a:gd name="connsiteX503" fmla="*/ 600405 w 658537"/>
                        <a:gd name="connsiteY503" fmla="*/ 405553 h 442393"/>
                        <a:gd name="connsiteX504" fmla="*/ 600644 w 658537"/>
                        <a:gd name="connsiteY504" fmla="*/ 405433 h 442393"/>
                        <a:gd name="connsiteX505" fmla="*/ 597953 w 658537"/>
                        <a:gd name="connsiteY505" fmla="*/ 403639 h 442393"/>
                        <a:gd name="connsiteX506" fmla="*/ 597773 w 658537"/>
                        <a:gd name="connsiteY506" fmla="*/ 403759 h 442393"/>
                        <a:gd name="connsiteX507" fmla="*/ 597594 w 658537"/>
                        <a:gd name="connsiteY507" fmla="*/ 403878 h 442393"/>
                        <a:gd name="connsiteX508" fmla="*/ 597414 w 658537"/>
                        <a:gd name="connsiteY508" fmla="*/ 403998 h 442393"/>
                        <a:gd name="connsiteX509" fmla="*/ 597175 w 658537"/>
                        <a:gd name="connsiteY509" fmla="*/ 404237 h 442393"/>
                        <a:gd name="connsiteX510" fmla="*/ 592450 w 658537"/>
                        <a:gd name="connsiteY510" fmla="*/ 401127 h 442393"/>
                        <a:gd name="connsiteX511" fmla="*/ 596637 w 658537"/>
                        <a:gd name="connsiteY511" fmla="*/ 403878 h 442393"/>
                        <a:gd name="connsiteX512" fmla="*/ 596817 w 658537"/>
                        <a:gd name="connsiteY512" fmla="*/ 403699 h 442393"/>
                        <a:gd name="connsiteX513" fmla="*/ 596996 w 658537"/>
                        <a:gd name="connsiteY513" fmla="*/ 403519 h 442393"/>
                        <a:gd name="connsiteX514" fmla="*/ 597175 w 658537"/>
                        <a:gd name="connsiteY514" fmla="*/ 403400 h 442393"/>
                        <a:gd name="connsiteX515" fmla="*/ 597355 w 658537"/>
                        <a:gd name="connsiteY515" fmla="*/ 403280 h 442393"/>
                        <a:gd name="connsiteX516" fmla="*/ 592989 w 658537"/>
                        <a:gd name="connsiteY516" fmla="*/ 400409 h 442393"/>
                        <a:gd name="connsiteX517" fmla="*/ 592450 w 658537"/>
                        <a:gd name="connsiteY517" fmla="*/ 401127 h 442393"/>
                        <a:gd name="connsiteX518" fmla="*/ 583240 w 658537"/>
                        <a:gd name="connsiteY518" fmla="*/ 395027 h 442393"/>
                        <a:gd name="connsiteX519" fmla="*/ 591912 w 658537"/>
                        <a:gd name="connsiteY519" fmla="*/ 400768 h 442393"/>
                        <a:gd name="connsiteX520" fmla="*/ 592510 w 658537"/>
                        <a:gd name="connsiteY520" fmla="*/ 400050 h 442393"/>
                        <a:gd name="connsiteX521" fmla="*/ 583838 w 658537"/>
                        <a:gd name="connsiteY521" fmla="*/ 394309 h 442393"/>
                        <a:gd name="connsiteX522" fmla="*/ 583240 w 658537"/>
                        <a:gd name="connsiteY522" fmla="*/ 395027 h 442393"/>
                        <a:gd name="connsiteX523" fmla="*/ 580250 w 658537"/>
                        <a:gd name="connsiteY523" fmla="*/ 393053 h 442393"/>
                        <a:gd name="connsiteX524" fmla="*/ 582702 w 658537"/>
                        <a:gd name="connsiteY524" fmla="*/ 394668 h 442393"/>
                        <a:gd name="connsiteX525" fmla="*/ 583300 w 658537"/>
                        <a:gd name="connsiteY525" fmla="*/ 393950 h 442393"/>
                        <a:gd name="connsiteX526" fmla="*/ 580848 w 658537"/>
                        <a:gd name="connsiteY526" fmla="*/ 392335 h 442393"/>
                        <a:gd name="connsiteX527" fmla="*/ 580250 w 658537"/>
                        <a:gd name="connsiteY527" fmla="*/ 393053 h 442393"/>
                        <a:gd name="connsiteX528" fmla="*/ 578157 w 658537"/>
                        <a:gd name="connsiteY528" fmla="*/ 391618 h 442393"/>
                        <a:gd name="connsiteX529" fmla="*/ 579771 w 658537"/>
                        <a:gd name="connsiteY529" fmla="*/ 392694 h 442393"/>
                        <a:gd name="connsiteX530" fmla="*/ 580370 w 658537"/>
                        <a:gd name="connsiteY530" fmla="*/ 391976 h 442393"/>
                        <a:gd name="connsiteX531" fmla="*/ 578575 w 658537"/>
                        <a:gd name="connsiteY531" fmla="*/ 390780 h 442393"/>
                        <a:gd name="connsiteX532" fmla="*/ 578456 w 658537"/>
                        <a:gd name="connsiteY532" fmla="*/ 391020 h 442393"/>
                        <a:gd name="connsiteX533" fmla="*/ 578336 w 658537"/>
                        <a:gd name="connsiteY533" fmla="*/ 391259 h 442393"/>
                        <a:gd name="connsiteX534" fmla="*/ 578216 w 658537"/>
                        <a:gd name="connsiteY534" fmla="*/ 391498 h 442393"/>
                        <a:gd name="connsiteX535" fmla="*/ 578157 w 658537"/>
                        <a:gd name="connsiteY535" fmla="*/ 391618 h 442393"/>
                        <a:gd name="connsiteX536" fmla="*/ 575047 w 658537"/>
                        <a:gd name="connsiteY536" fmla="*/ 389584 h 442393"/>
                        <a:gd name="connsiteX537" fmla="*/ 577558 w 658537"/>
                        <a:gd name="connsiteY537" fmla="*/ 391259 h 442393"/>
                        <a:gd name="connsiteX538" fmla="*/ 577678 w 658537"/>
                        <a:gd name="connsiteY538" fmla="*/ 391020 h 442393"/>
                        <a:gd name="connsiteX539" fmla="*/ 577798 w 658537"/>
                        <a:gd name="connsiteY539" fmla="*/ 390780 h 442393"/>
                        <a:gd name="connsiteX540" fmla="*/ 577917 w 658537"/>
                        <a:gd name="connsiteY540" fmla="*/ 390541 h 442393"/>
                        <a:gd name="connsiteX541" fmla="*/ 577977 w 658537"/>
                        <a:gd name="connsiteY541" fmla="*/ 390302 h 442393"/>
                        <a:gd name="connsiteX542" fmla="*/ 575226 w 658537"/>
                        <a:gd name="connsiteY542" fmla="*/ 388507 h 442393"/>
                        <a:gd name="connsiteX543" fmla="*/ 575226 w 658537"/>
                        <a:gd name="connsiteY543" fmla="*/ 388747 h 442393"/>
                        <a:gd name="connsiteX544" fmla="*/ 575166 w 658537"/>
                        <a:gd name="connsiteY544" fmla="*/ 388986 h 442393"/>
                        <a:gd name="connsiteX545" fmla="*/ 575106 w 658537"/>
                        <a:gd name="connsiteY545" fmla="*/ 389225 h 442393"/>
                        <a:gd name="connsiteX546" fmla="*/ 575047 w 658537"/>
                        <a:gd name="connsiteY546" fmla="*/ 389584 h 442393"/>
                        <a:gd name="connsiteX547" fmla="*/ 571040 w 658537"/>
                        <a:gd name="connsiteY547" fmla="*/ 386893 h 442393"/>
                        <a:gd name="connsiteX548" fmla="*/ 574389 w 658537"/>
                        <a:gd name="connsiteY548" fmla="*/ 389106 h 442393"/>
                        <a:gd name="connsiteX549" fmla="*/ 574448 w 658537"/>
                        <a:gd name="connsiteY549" fmla="*/ 388807 h 442393"/>
                        <a:gd name="connsiteX550" fmla="*/ 574448 w 658537"/>
                        <a:gd name="connsiteY550" fmla="*/ 388507 h 442393"/>
                        <a:gd name="connsiteX551" fmla="*/ 574448 w 658537"/>
                        <a:gd name="connsiteY551" fmla="*/ 388208 h 442393"/>
                        <a:gd name="connsiteX552" fmla="*/ 574448 w 658537"/>
                        <a:gd name="connsiteY552" fmla="*/ 387969 h 442393"/>
                        <a:gd name="connsiteX553" fmla="*/ 571638 w 658537"/>
                        <a:gd name="connsiteY553" fmla="*/ 386115 h 442393"/>
                        <a:gd name="connsiteX554" fmla="*/ 571040 w 658537"/>
                        <a:gd name="connsiteY554" fmla="*/ 386893 h 442393"/>
                        <a:gd name="connsiteX555" fmla="*/ 569843 w 658537"/>
                        <a:gd name="connsiteY555" fmla="*/ 386115 h 442393"/>
                        <a:gd name="connsiteX556" fmla="*/ 570441 w 658537"/>
                        <a:gd name="connsiteY556" fmla="*/ 386534 h 442393"/>
                        <a:gd name="connsiteX557" fmla="*/ 571040 w 658537"/>
                        <a:gd name="connsiteY557" fmla="*/ 385816 h 442393"/>
                        <a:gd name="connsiteX558" fmla="*/ 570980 w 658537"/>
                        <a:gd name="connsiteY558" fmla="*/ 385816 h 442393"/>
                        <a:gd name="connsiteX559" fmla="*/ 570681 w 658537"/>
                        <a:gd name="connsiteY559" fmla="*/ 385876 h 442393"/>
                        <a:gd name="connsiteX560" fmla="*/ 570381 w 658537"/>
                        <a:gd name="connsiteY560" fmla="*/ 385936 h 442393"/>
                        <a:gd name="connsiteX561" fmla="*/ 570083 w 658537"/>
                        <a:gd name="connsiteY561" fmla="*/ 386055 h 442393"/>
                        <a:gd name="connsiteX562" fmla="*/ 569843 w 658537"/>
                        <a:gd name="connsiteY562" fmla="*/ 386115 h 442393"/>
                        <a:gd name="connsiteX563" fmla="*/ 566554 w 658537"/>
                        <a:gd name="connsiteY563" fmla="*/ 383903 h 442393"/>
                        <a:gd name="connsiteX564" fmla="*/ 569186 w 658537"/>
                        <a:gd name="connsiteY564" fmla="*/ 385637 h 442393"/>
                        <a:gd name="connsiteX565" fmla="*/ 569425 w 658537"/>
                        <a:gd name="connsiteY565" fmla="*/ 385517 h 442393"/>
                        <a:gd name="connsiteX566" fmla="*/ 569664 w 658537"/>
                        <a:gd name="connsiteY566" fmla="*/ 385398 h 442393"/>
                        <a:gd name="connsiteX567" fmla="*/ 569903 w 658537"/>
                        <a:gd name="connsiteY567" fmla="*/ 385278 h 442393"/>
                        <a:gd name="connsiteX568" fmla="*/ 570142 w 658537"/>
                        <a:gd name="connsiteY568" fmla="*/ 385158 h 442393"/>
                        <a:gd name="connsiteX569" fmla="*/ 567331 w 658537"/>
                        <a:gd name="connsiteY569" fmla="*/ 383304 h 442393"/>
                        <a:gd name="connsiteX570" fmla="*/ 567152 w 658537"/>
                        <a:gd name="connsiteY570" fmla="*/ 383424 h 442393"/>
                        <a:gd name="connsiteX571" fmla="*/ 566972 w 658537"/>
                        <a:gd name="connsiteY571" fmla="*/ 383544 h 442393"/>
                        <a:gd name="connsiteX572" fmla="*/ 566793 w 658537"/>
                        <a:gd name="connsiteY572" fmla="*/ 383723 h 442393"/>
                        <a:gd name="connsiteX573" fmla="*/ 566554 w 658537"/>
                        <a:gd name="connsiteY573" fmla="*/ 383903 h 442393"/>
                        <a:gd name="connsiteX574" fmla="*/ 563863 w 658537"/>
                        <a:gd name="connsiteY574" fmla="*/ 382108 h 442393"/>
                        <a:gd name="connsiteX575" fmla="*/ 565956 w 658537"/>
                        <a:gd name="connsiteY575" fmla="*/ 383544 h 442393"/>
                        <a:gd name="connsiteX576" fmla="*/ 566135 w 658537"/>
                        <a:gd name="connsiteY576" fmla="*/ 383364 h 442393"/>
                        <a:gd name="connsiteX577" fmla="*/ 566315 w 658537"/>
                        <a:gd name="connsiteY577" fmla="*/ 383185 h 442393"/>
                        <a:gd name="connsiteX578" fmla="*/ 566494 w 658537"/>
                        <a:gd name="connsiteY578" fmla="*/ 383005 h 442393"/>
                        <a:gd name="connsiteX579" fmla="*/ 566673 w 658537"/>
                        <a:gd name="connsiteY579" fmla="*/ 382886 h 442393"/>
                        <a:gd name="connsiteX580" fmla="*/ 564401 w 658537"/>
                        <a:gd name="connsiteY580" fmla="*/ 381331 h 442393"/>
                        <a:gd name="connsiteX581" fmla="*/ 563863 w 658537"/>
                        <a:gd name="connsiteY581" fmla="*/ 382108 h 442393"/>
                        <a:gd name="connsiteX582" fmla="*/ 350052 w 658537"/>
                        <a:gd name="connsiteY582" fmla="*/ 240066 h 442393"/>
                        <a:gd name="connsiteX583" fmla="*/ 563324 w 658537"/>
                        <a:gd name="connsiteY583" fmla="*/ 381749 h 442393"/>
                        <a:gd name="connsiteX584" fmla="*/ 563923 w 658537"/>
                        <a:gd name="connsiteY584" fmla="*/ 381032 h 442393"/>
                        <a:gd name="connsiteX585" fmla="*/ 350650 w 658537"/>
                        <a:gd name="connsiteY585" fmla="*/ 239169 h 442393"/>
                        <a:gd name="connsiteX586" fmla="*/ 350530 w 658537"/>
                        <a:gd name="connsiteY586" fmla="*/ 239408 h 442393"/>
                        <a:gd name="connsiteX587" fmla="*/ 350411 w 658537"/>
                        <a:gd name="connsiteY587" fmla="*/ 239648 h 442393"/>
                        <a:gd name="connsiteX588" fmla="*/ 350291 w 658537"/>
                        <a:gd name="connsiteY588" fmla="*/ 239887 h 442393"/>
                        <a:gd name="connsiteX589" fmla="*/ 350052 w 658537"/>
                        <a:gd name="connsiteY589" fmla="*/ 240066 h 442393"/>
                        <a:gd name="connsiteX590" fmla="*/ 348377 w 658537"/>
                        <a:gd name="connsiteY590" fmla="*/ 238930 h 442393"/>
                        <a:gd name="connsiteX591" fmla="*/ 349334 w 658537"/>
                        <a:gd name="connsiteY591" fmla="*/ 239528 h 442393"/>
                        <a:gd name="connsiteX592" fmla="*/ 349454 w 658537"/>
                        <a:gd name="connsiteY592" fmla="*/ 239289 h 442393"/>
                        <a:gd name="connsiteX593" fmla="*/ 349573 w 658537"/>
                        <a:gd name="connsiteY593" fmla="*/ 239049 h 442393"/>
                        <a:gd name="connsiteX594" fmla="*/ 349693 w 658537"/>
                        <a:gd name="connsiteY594" fmla="*/ 238810 h 442393"/>
                        <a:gd name="connsiteX595" fmla="*/ 349812 w 658537"/>
                        <a:gd name="connsiteY595" fmla="*/ 238571 h 442393"/>
                        <a:gd name="connsiteX596" fmla="*/ 348856 w 658537"/>
                        <a:gd name="connsiteY596" fmla="*/ 237913 h 442393"/>
                        <a:gd name="connsiteX597" fmla="*/ 348736 w 658537"/>
                        <a:gd name="connsiteY597" fmla="*/ 238152 h 442393"/>
                        <a:gd name="connsiteX598" fmla="*/ 348617 w 658537"/>
                        <a:gd name="connsiteY598" fmla="*/ 238391 h 442393"/>
                        <a:gd name="connsiteX599" fmla="*/ 348497 w 658537"/>
                        <a:gd name="connsiteY599" fmla="*/ 238631 h 442393"/>
                        <a:gd name="connsiteX600" fmla="*/ 348377 w 658537"/>
                        <a:gd name="connsiteY600" fmla="*/ 238930 h 442393"/>
                        <a:gd name="connsiteX601" fmla="*/ 345327 w 658537"/>
                        <a:gd name="connsiteY601" fmla="*/ 236896 h 442393"/>
                        <a:gd name="connsiteX602" fmla="*/ 347659 w 658537"/>
                        <a:gd name="connsiteY602" fmla="*/ 238451 h 442393"/>
                        <a:gd name="connsiteX603" fmla="*/ 347779 w 658537"/>
                        <a:gd name="connsiteY603" fmla="*/ 238212 h 442393"/>
                        <a:gd name="connsiteX604" fmla="*/ 347899 w 658537"/>
                        <a:gd name="connsiteY604" fmla="*/ 237973 h 442393"/>
                        <a:gd name="connsiteX605" fmla="*/ 348018 w 658537"/>
                        <a:gd name="connsiteY605" fmla="*/ 237734 h 442393"/>
                        <a:gd name="connsiteX606" fmla="*/ 348138 w 658537"/>
                        <a:gd name="connsiteY606" fmla="*/ 237494 h 442393"/>
                        <a:gd name="connsiteX607" fmla="*/ 345925 w 658537"/>
                        <a:gd name="connsiteY607" fmla="*/ 235999 h 442393"/>
                        <a:gd name="connsiteX608" fmla="*/ 345746 w 658537"/>
                        <a:gd name="connsiteY608" fmla="*/ 236238 h 442393"/>
                        <a:gd name="connsiteX609" fmla="*/ 345566 w 658537"/>
                        <a:gd name="connsiteY609" fmla="*/ 236478 h 442393"/>
                        <a:gd name="connsiteX610" fmla="*/ 345387 w 658537"/>
                        <a:gd name="connsiteY610" fmla="*/ 236717 h 442393"/>
                        <a:gd name="connsiteX611" fmla="*/ 345327 w 658537"/>
                        <a:gd name="connsiteY611" fmla="*/ 236896 h 442393"/>
                        <a:gd name="connsiteX612" fmla="*/ 343652 w 658537"/>
                        <a:gd name="connsiteY612" fmla="*/ 235820 h 442393"/>
                        <a:gd name="connsiteX613" fmla="*/ 344609 w 658537"/>
                        <a:gd name="connsiteY613" fmla="*/ 236478 h 442393"/>
                        <a:gd name="connsiteX614" fmla="*/ 344789 w 658537"/>
                        <a:gd name="connsiteY614" fmla="*/ 236238 h 442393"/>
                        <a:gd name="connsiteX615" fmla="*/ 344968 w 658537"/>
                        <a:gd name="connsiteY615" fmla="*/ 235999 h 442393"/>
                        <a:gd name="connsiteX616" fmla="*/ 345148 w 658537"/>
                        <a:gd name="connsiteY616" fmla="*/ 235760 h 442393"/>
                        <a:gd name="connsiteX617" fmla="*/ 345327 w 658537"/>
                        <a:gd name="connsiteY617" fmla="*/ 235521 h 442393"/>
                        <a:gd name="connsiteX618" fmla="*/ 344370 w 658537"/>
                        <a:gd name="connsiteY618" fmla="*/ 234863 h 442393"/>
                        <a:gd name="connsiteX619" fmla="*/ 344191 w 658537"/>
                        <a:gd name="connsiteY619" fmla="*/ 235102 h 442393"/>
                        <a:gd name="connsiteX620" fmla="*/ 344011 w 658537"/>
                        <a:gd name="connsiteY620" fmla="*/ 235341 h 442393"/>
                        <a:gd name="connsiteX621" fmla="*/ 343832 w 658537"/>
                        <a:gd name="connsiteY621" fmla="*/ 235580 h 442393"/>
                        <a:gd name="connsiteX622" fmla="*/ 343652 w 658537"/>
                        <a:gd name="connsiteY622" fmla="*/ 235820 h 442393"/>
                        <a:gd name="connsiteX623" fmla="*/ 340243 w 658537"/>
                        <a:gd name="connsiteY623" fmla="*/ 233547 h 442393"/>
                        <a:gd name="connsiteX624" fmla="*/ 342875 w 658537"/>
                        <a:gd name="connsiteY624" fmla="*/ 235341 h 442393"/>
                        <a:gd name="connsiteX625" fmla="*/ 343054 w 658537"/>
                        <a:gd name="connsiteY625" fmla="*/ 235102 h 442393"/>
                        <a:gd name="connsiteX626" fmla="*/ 343234 w 658537"/>
                        <a:gd name="connsiteY626" fmla="*/ 234863 h 442393"/>
                        <a:gd name="connsiteX627" fmla="*/ 343413 w 658537"/>
                        <a:gd name="connsiteY627" fmla="*/ 234624 h 442393"/>
                        <a:gd name="connsiteX628" fmla="*/ 343593 w 658537"/>
                        <a:gd name="connsiteY628" fmla="*/ 234384 h 442393"/>
                        <a:gd name="connsiteX629" fmla="*/ 340961 w 658537"/>
                        <a:gd name="connsiteY629" fmla="*/ 232650 h 442393"/>
                        <a:gd name="connsiteX630" fmla="*/ 340782 w 658537"/>
                        <a:gd name="connsiteY630" fmla="*/ 232889 h 442393"/>
                        <a:gd name="connsiteX631" fmla="*/ 340602 w 658537"/>
                        <a:gd name="connsiteY631" fmla="*/ 233128 h 442393"/>
                        <a:gd name="connsiteX632" fmla="*/ 340423 w 658537"/>
                        <a:gd name="connsiteY632" fmla="*/ 233368 h 442393"/>
                        <a:gd name="connsiteX633" fmla="*/ 340243 w 658537"/>
                        <a:gd name="connsiteY633" fmla="*/ 233547 h 442393"/>
                        <a:gd name="connsiteX634" fmla="*/ 338569 w 658537"/>
                        <a:gd name="connsiteY634" fmla="*/ 232411 h 442393"/>
                        <a:gd name="connsiteX635" fmla="*/ 339526 w 658537"/>
                        <a:gd name="connsiteY635" fmla="*/ 233069 h 442393"/>
                        <a:gd name="connsiteX636" fmla="*/ 339705 w 658537"/>
                        <a:gd name="connsiteY636" fmla="*/ 232829 h 442393"/>
                        <a:gd name="connsiteX637" fmla="*/ 339885 w 658537"/>
                        <a:gd name="connsiteY637" fmla="*/ 232590 h 442393"/>
                        <a:gd name="connsiteX638" fmla="*/ 340064 w 658537"/>
                        <a:gd name="connsiteY638" fmla="*/ 232351 h 442393"/>
                        <a:gd name="connsiteX639" fmla="*/ 340243 w 658537"/>
                        <a:gd name="connsiteY639" fmla="*/ 232112 h 442393"/>
                        <a:gd name="connsiteX640" fmla="*/ 339287 w 658537"/>
                        <a:gd name="connsiteY640" fmla="*/ 231454 h 442393"/>
                        <a:gd name="connsiteX641" fmla="*/ 339107 w 658537"/>
                        <a:gd name="connsiteY641" fmla="*/ 231693 h 442393"/>
                        <a:gd name="connsiteX642" fmla="*/ 338928 w 658537"/>
                        <a:gd name="connsiteY642" fmla="*/ 231932 h 442393"/>
                        <a:gd name="connsiteX643" fmla="*/ 338748 w 658537"/>
                        <a:gd name="connsiteY643" fmla="*/ 232172 h 442393"/>
                        <a:gd name="connsiteX644" fmla="*/ 338569 w 658537"/>
                        <a:gd name="connsiteY644" fmla="*/ 232411 h 442393"/>
                        <a:gd name="connsiteX645" fmla="*/ 322002 w 658537"/>
                        <a:gd name="connsiteY645" fmla="*/ 221406 h 442393"/>
                        <a:gd name="connsiteX646" fmla="*/ 337791 w 658537"/>
                        <a:gd name="connsiteY646" fmla="*/ 231872 h 442393"/>
                        <a:gd name="connsiteX647" fmla="*/ 337971 w 658537"/>
                        <a:gd name="connsiteY647" fmla="*/ 231633 h 442393"/>
                        <a:gd name="connsiteX648" fmla="*/ 338150 w 658537"/>
                        <a:gd name="connsiteY648" fmla="*/ 231394 h 442393"/>
                        <a:gd name="connsiteX649" fmla="*/ 338330 w 658537"/>
                        <a:gd name="connsiteY649" fmla="*/ 231155 h 442393"/>
                        <a:gd name="connsiteX650" fmla="*/ 338509 w 658537"/>
                        <a:gd name="connsiteY650" fmla="*/ 230916 h 442393"/>
                        <a:gd name="connsiteX651" fmla="*/ 322720 w 658537"/>
                        <a:gd name="connsiteY651" fmla="*/ 220449 h 442393"/>
                        <a:gd name="connsiteX652" fmla="*/ 322002 w 658537"/>
                        <a:gd name="connsiteY652" fmla="*/ 221406 h 442393"/>
                        <a:gd name="connsiteX653" fmla="*/ 317756 w 658537"/>
                        <a:gd name="connsiteY653" fmla="*/ 218595 h 442393"/>
                        <a:gd name="connsiteX654" fmla="*/ 321344 w 658537"/>
                        <a:gd name="connsiteY654" fmla="*/ 220988 h 442393"/>
                        <a:gd name="connsiteX655" fmla="*/ 322002 w 658537"/>
                        <a:gd name="connsiteY655" fmla="*/ 220150 h 442393"/>
                        <a:gd name="connsiteX656" fmla="*/ 318175 w 658537"/>
                        <a:gd name="connsiteY656" fmla="*/ 217638 h 442393"/>
                        <a:gd name="connsiteX657" fmla="*/ 318055 w 658537"/>
                        <a:gd name="connsiteY657" fmla="*/ 217878 h 442393"/>
                        <a:gd name="connsiteX658" fmla="*/ 317935 w 658537"/>
                        <a:gd name="connsiteY658" fmla="*/ 218117 h 442393"/>
                        <a:gd name="connsiteX659" fmla="*/ 317816 w 658537"/>
                        <a:gd name="connsiteY659" fmla="*/ 218356 h 442393"/>
                        <a:gd name="connsiteX660" fmla="*/ 317756 w 658537"/>
                        <a:gd name="connsiteY660" fmla="*/ 218595 h 442393"/>
                        <a:gd name="connsiteX661" fmla="*/ 313450 w 658537"/>
                        <a:gd name="connsiteY661" fmla="*/ 215725 h 442393"/>
                        <a:gd name="connsiteX662" fmla="*/ 316978 w 658537"/>
                        <a:gd name="connsiteY662" fmla="*/ 218057 h 442393"/>
                        <a:gd name="connsiteX663" fmla="*/ 317098 w 658537"/>
                        <a:gd name="connsiteY663" fmla="*/ 217818 h 442393"/>
                        <a:gd name="connsiteX664" fmla="*/ 317218 w 658537"/>
                        <a:gd name="connsiteY664" fmla="*/ 217579 h 442393"/>
                        <a:gd name="connsiteX665" fmla="*/ 317337 w 658537"/>
                        <a:gd name="connsiteY665" fmla="*/ 217339 h 442393"/>
                        <a:gd name="connsiteX666" fmla="*/ 317457 w 658537"/>
                        <a:gd name="connsiteY666" fmla="*/ 217100 h 442393"/>
                        <a:gd name="connsiteX667" fmla="*/ 313689 w 658537"/>
                        <a:gd name="connsiteY667" fmla="*/ 214588 h 442393"/>
                        <a:gd name="connsiteX668" fmla="*/ 313689 w 658537"/>
                        <a:gd name="connsiteY668" fmla="*/ 214887 h 442393"/>
                        <a:gd name="connsiteX669" fmla="*/ 313689 w 658537"/>
                        <a:gd name="connsiteY669" fmla="*/ 215186 h 442393"/>
                        <a:gd name="connsiteX670" fmla="*/ 313629 w 658537"/>
                        <a:gd name="connsiteY670" fmla="*/ 215485 h 442393"/>
                        <a:gd name="connsiteX671" fmla="*/ 313450 w 658537"/>
                        <a:gd name="connsiteY671" fmla="*/ 215725 h 442393"/>
                        <a:gd name="connsiteX672" fmla="*/ 306273 w 658537"/>
                        <a:gd name="connsiteY672" fmla="*/ 210940 h 442393"/>
                        <a:gd name="connsiteX673" fmla="*/ 312493 w 658537"/>
                        <a:gd name="connsiteY673" fmla="*/ 215067 h 442393"/>
                        <a:gd name="connsiteX674" fmla="*/ 312493 w 658537"/>
                        <a:gd name="connsiteY674" fmla="*/ 214708 h 442393"/>
                        <a:gd name="connsiteX675" fmla="*/ 312493 w 658537"/>
                        <a:gd name="connsiteY675" fmla="*/ 214349 h 442393"/>
                        <a:gd name="connsiteX676" fmla="*/ 312433 w 658537"/>
                        <a:gd name="connsiteY676" fmla="*/ 213990 h 442393"/>
                        <a:gd name="connsiteX677" fmla="*/ 312373 w 658537"/>
                        <a:gd name="connsiteY677" fmla="*/ 213631 h 442393"/>
                        <a:gd name="connsiteX678" fmla="*/ 307648 w 658537"/>
                        <a:gd name="connsiteY678" fmla="*/ 210521 h 442393"/>
                        <a:gd name="connsiteX679" fmla="*/ 307290 w 658537"/>
                        <a:gd name="connsiteY679" fmla="*/ 210581 h 442393"/>
                        <a:gd name="connsiteX680" fmla="*/ 306931 w 658537"/>
                        <a:gd name="connsiteY680" fmla="*/ 210641 h 442393"/>
                        <a:gd name="connsiteX681" fmla="*/ 306572 w 658537"/>
                        <a:gd name="connsiteY681" fmla="*/ 210761 h 442393"/>
                        <a:gd name="connsiteX682" fmla="*/ 306273 w 658537"/>
                        <a:gd name="connsiteY682" fmla="*/ 210940 h 442393"/>
                        <a:gd name="connsiteX683" fmla="*/ 301668 w 658537"/>
                        <a:gd name="connsiteY683" fmla="*/ 207890 h 442393"/>
                        <a:gd name="connsiteX684" fmla="*/ 305316 w 658537"/>
                        <a:gd name="connsiteY684" fmla="*/ 210282 h 442393"/>
                        <a:gd name="connsiteX685" fmla="*/ 305615 w 658537"/>
                        <a:gd name="connsiteY685" fmla="*/ 210162 h 442393"/>
                        <a:gd name="connsiteX686" fmla="*/ 305914 w 658537"/>
                        <a:gd name="connsiteY686" fmla="*/ 210043 h 442393"/>
                        <a:gd name="connsiteX687" fmla="*/ 306213 w 658537"/>
                        <a:gd name="connsiteY687" fmla="*/ 209923 h 442393"/>
                        <a:gd name="connsiteX688" fmla="*/ 306512 w 658537"/>
                        <a:gd name="connsiteY688" fmla="*/ 209803 h 442393"/>
                        <a:gd name="connsiteX689" fmla="*/ 302565 w 658537"/>
                        <a:gd name="connsiteY689" fmla="*/ 207172 h 442393"/>
                        <a:gd name="connsiteX690" fmla="*/ 302325 w 658537"/>
                        <a:gd name="connsiteY690" fmla="*/ 207352 h 442393"/>
                        <a:gd name="connsiteX691" fmla="*/ 302086 w 658537"/>
                        <a:gd name="connsiteY691" fmla="*/ 207531 h 442393"/>
                        <a:gd name="connsiteX692" fmla="*/ 301847 w 658537"/>
                        <a:gd name="connsiteY692" fmla="*/ 207710 h 442393"/>
                        <a:gd name="connsiteX693" fmla="*/ 301668 w 658537"/>
                        <a:gd name="connsiteY693" fmla="*/ 207890 h 442393"/>
                        <a:gd name="connsiteX694" fmla="*/ 294850 w 658537"/>
                        <a:gd name="connsiteY694" fmla="*/ 203404 h 442393"/>
                        <a:gd name="connsiteX695" fmla="*/ 300890 w 658537"/>
                        <a:gd name="connsiteY695" fmla="*/ 207411 h 442393"/>
                        <a:gd name="connsiteX696" fmla="*/ 301130 w 658537"/>
                        <a:gd name="connsiteY696" fmla="*/ 207232 h 442393"/>
                        <a:gd name="connsiteX697" fmla="*/ 301369 w 658537"/>
                        <a:gd name="connsiteY697" fmla="*/ 207053 h 442393"/>
                        <a:gd name="connsiteX698" fmla="*/ 301608 w 658537"/>
                        <a:gd name="connsiteY698" fmla="*/ 206873 h 442393"/>
                        <a:gd name="connsiteX699" fmla="*/ 301847 w 658537"/>
                        <a:gd name="connsiteY699" fmla="*/ 206694 h 442393"/>
                        <a:gd name="connsiteX700" fmla="*/ 295568 w 658537"/>
                        <a:gd name="connsiteY700" fmla="*/ 202507 h 442393"/>
                        <a:gd name="connsiteX701" fmla="*/ 294850 w 658537"/>
                        <a:gd name="connsiteY701" fmla="*/ 203404 h 442393"/>
                        <a:gd name="connsiteX702" fmla="*/ 281453 w 658537"/>
                        <a:gd name="connsiteY702" fmla="*/ 194493 h 442393"/>
                        <a:gd name="connsiteX703" fmla="*/ 294072 w 658537"/>
                        <a:gd name="connsiteY703" fmla="*/ 202866 h 442393"/>
                        <a:gd name="connsiteX704" fmla="*/ 294730 w 658537"/>
                        <a:gd name="connsiteY704" fmla="*/ 201969 h 442393"/>
                        <a:gd name="connsiteX705" fmla="*/ 282111 w 658537"/>
                        <a:gd name="connsiteY705" fmla="*/ 193596 h 442393"/>
                        <a:gd name="connsiteX706" fmla="*/ 281453 w 658537"/>
                        <a:gd name="connsiteY706" fmla="*/ 194493 h 442393"/>
                        <a:gd name="connsiteX707" fmla="*/ 277207 w 658537"/>
                        <a:gd name="connsiteY707" fmla="*/ 191622 h 442393"/>
                        <a:gd name="connsiteX708" fmla="*/ 280735 w 658537"/>
                        <a:gd name="connsiteY708" fmla="*/ 193955 h 442393"/>
                        <a:gd name="connsiteX709" fmla="*/ 281453 w 658537"/>
                        <a:gd name="connsiteY709" fmla="*/ 193057 h 442393"/>
                        <a:gd name="connsiteX710" fmla="*/ 277924 w 658537"/>
                        <a:gd name="connsiteY710" fmla="*/ 190725 h 442393"/>
                        <a:gd name="connsiteX711" fmla="*/ 277207 w 658537"/>
                        <a:gd name="connsiteY711" fmla="*/ 191622 h 442393"/>
                        <a:gd name="connsiteX712" fmla="*/ 274097 w 658537"/>
                        <a:gd name="connsiteY712" fmla="*/ 189589 h 442393"/>
                        <a:gd name="connsiteX713" fmla="*/ 276429 w 658537"/>
                        <a:gd name="connsiteY713" fmla="*/ 191144 h 442393"/>
                        <a:gd name="connsiteX714" fmla="*/ 277147 w 658537"/>
                        <a:gd name="connsiteY714" fmla="*/ 190247 h 442393"/>
                        <a:gd name="connsiteX715" fmla="*/ 274575 w 658537"/>
                        <a:gd name="connsiteY715" fmla="*/ 188512 h 442393"/>
                        <a:gd name="connsiteX716" fmla="*/ 274455 w 658537"/>
                        <a:gd name="connsiteY716" fmla="*/ 188752 h 442393"/>
                        <a:gd name="connsiteX717" fmla="*/ 274336 w 658537"/>
                        <a:gd name="connsiteY717" fmla="*/ 188991 h 442393"/>
                        <a:gd name="connsiteX718" fmla="*/ 274216 w 658537"/>
                        <a:gd name="connsiteY718" fmla="*/ 189230 h 442393"/>
                        <a:gd name="connsiteX719" fmla="*/ 274097 w 658537"/>
                        <a:gd name="connsiteY719" fmla="*/ 189589 h 442393"/>
                        <a:gd name="connsiteX720" fmla="*/ 269551 w 658537"/>
                        <a:gd name="connsiteY720" fmla="*/ 186599 h 442393"/>
                        <a:gd name="connsiteX721" fmla="*/ 273259 w 658537"/>
                        <a:gd name="connsiteY721" fmla="*/ 189051 h 442393"/>
                        <a:gd name="connsiteX722" fmla="*/ 273379 w 658537"/>
                        <a:gd name="connsiteY722" fmla="*/ 188811 h 442393"/>
                        <a:gd name="connsiteX723" fmla="*/ 273499 w 658537"/>
                        <a:gd name="connsiteY723" fmla="*/ 188572 h 442393"/>
                        <a:gd name="connsiteX724" fmla="*/ 273618 w 658537"/>
                        <a:gd name="connsiteY724" fmla="*/ 188333 h 442393"/>
                        <a:gd name="connsiteX725" fmla="*/ 273738 w 658537"/>
                        <a:gd name="connsiteY725" fmla="*/ 188094 h 442393"/>
                        <a:gd name="connsiteX726" fmla="*/ 269790 w 658537"/>
                        <a:gd name="connsiteY726" fmla="*/ 185462 h 442393"/>
                        <a:gd name="connsiteX727" fmla="*/ 269790 w 658537"/>
                        <a:gd name="connsiteY727" fmla="*/ 185761 h 442393"/>
                        <a:gd name="connsiteX728" fmla="*/ 269790 w 658537"/>
                        <a:gd name="connsiteY728" fmla="*/ 186060 h 442393"/>
                        <a:gd name="connsiteX729" fmla="*/ 269731 w 658537"/>
                        <a:gd name="connsiteY729" fmla="*/ 186359 h 442393"/>
                        <a:gd name="connsiteX730" fmla="*/ 269551 w 658537"/>
                        <a:gd name="connsiteY730" fmla="*/ 186599 h 442393"/>
                        <a:gd name="connsiteX731" fmla="*/ 263690 w 658537"/>
                        <a:gd name="connsiteY731" fmla="*/ 182711 h 442393"/>
                        <a:gd name="connsiteX732" fmla="*/ 268594 w 658537"/>
                        <a:gd name="connsiteY732" fmla="*/ 185940 h 442393"/>
                        <a:gd name="connsiteX733" fmla="*/ 268594 w 658537"/>
                        <a:gd name="connsiteY733" fmla="*/ 185582 h 442393"/>
                        <a:gd name="connsiteX734" fmla="*/ 268594 w 658537"/>
                        <a:gd name="connsiteY734" fmla="*/ 185223 h 442393"/>
                        <a:gd name="connsiteX735" fmla="*/ 268535 w 658537"/>
                        <a:gd name="connsiteY735" fmla="*/ 184864 h 442393"/>
                        <a:gd name="connsiteX736" fmla="*/ 268475 w 658537"/>
                        <a:gd name="connsiteY736" fmla="*/ 184505 h 442393"/>
                        <a:gd name="connsiteX737" fmla="*/ 264408 w 658537"/>
                        <a:gd name="connsiteY737" fmla="*/ 181814 h 442393"/>
                        <a:gd name="connsiteX738" fmla="*/ 263690 w 658537"/>
                        <a:gd name="connsiteY738" fmla="*/ 182711 h 442393"/>
                        <a:gd name="connsiteX739" fmla="*/ 262015 w 658537"/>
                        <a:gd name="connsiteY739" fmla="*/ 181575 h 442393"/>
                        <a:gd name="connsiteX740" fmla="*/ 262913 w 658537"/>
                        <a:gd name="connsiteY740" fmla="*/ 182173 h 442393"/>
                        <a:gd name="connsiteX741" fmla="*/ 263630 w 658537"/>
                        <a:gd name="connsiteY741" fmla="*/ 181276 h 442393"/>
                        <a:gd name="connsiteX742" fmla="*/ 263570 w 658537"/>
                        <a:gd name="connsiteY742" fmla="*/ 181216 h 442393"/>
                        <a:gd name="connsiteX743" fmla="*/ 263212 w 658537"/>
                        <a:gd name="connsiteY743" fmla="*/ 181276 h 442393"/>
                        <a:gd name="connsiteX744" fmla="*/ 262853 w 658537"/>
                        <a:gd name="connsiteY744" fmla="*/ 181336 h 442393"/>
                        <a:gd name="connsiteX745" fmla="*/ 262494 w 658537"/>
                        <a:gd name="connsiteY745" fmla="*/ 181455 h 442393"/>
                        <a:gd name="connsiteX746" fmla="*/ 262015 w 658537"/>
                        <a:gd name="connsiteY746" fmla="*/ 181575 h 442393"/>
                        <a:gd name="connsiteX747" fmla="*/ 257171 w 658537"/>
                        <a:gd name="connsiteY747" fmla="*/ 178345 h 442393"/>
                        <a:gd name="connsiteX748" fmla="*/ 260999 w 658537"/>
                        <a:gd name="connsiteY748" fmla="*/ 180917 h 442393"/>
                        <a:gd name="connsiteX749" fmla="*/ 261298 w 658537"/>
                        <a:gd name="connsiteY749" fmla="*/ 180797 h 442393"/>
                        <a:gd name="connsiteX750" fmla="*/ 261597 w 658537"/>
                        <a:gd name="connsiteY750" fmla="*/ 180677 h 442393"/>
                        <a:gd name="connsiteX751" fmla="*/ 261896 w 658537"/>
                        <a:gd name="connsiteY751" fmla="*/ 180558 h 442393"/>
                        <a:gd name="connsiteX752" fmla="*/ 262195 w 658537"/>
                        <a:gd name="connsiteY752" fmla="*/ 180438 h 442393"/>
                        <a:gd name="connsiteX753" fmla="*/ 258068 w 658537"/>
                        <a:gd name="connsiteY753" fmla="*/ 177687 h 442393"/>
                        <a:gd name="connsiteX754" fmla="*/ 257829 w 658537"/>
                        <a:gd name="connsiteY754" fmla="*/ 177867 h 442393"/>
                        <a:gd name="connsiteX755" fmla="*/ 257590 w 658537"/>
                        <a:gd name="connsiteY755" fmla="*/ 178046 h 442393"/>
                        <a:gd name="connsiteX756" fmla="*/ 257351 w 658537"/>
                        <a:gd name="connsiteY756" fmla="*/ 178225 h 442393"/>
                        <a:gd name="connsiteX757" fmla="*/ 257171 w 658537"/>
                        <a:gd name="connsiteY757" fmla="*/ 178345 h 442393"/>
                        <a:gd name="connsiteX758" fmla="*/ 253284 w 658537"/>
                        <a:gd name="connsiteY758" fmla="*/ 175773 h 442393"/>
                        <a:gd name="connsiteX759" fmla="*/ 256394 w 658537"/>
                        <a:gd name="connsiteY759" fmla="*/ 177867 h 442393"/>
                        <a:gd name="connsiteX760" fmla="*/ 256633 w 658537"/>
                        <a:gd name="connsiteY760" fmla="*/ 177687 h 442393"/>
                        <a:gd name="connsiteX761" fmla="*/ 256872 w 658537"/>
                        <a:gd name="connsiteY761" fmla="*/ 177508 h 442393"/>
                        <a:gd name="connsiteX762" fmla="*/ 257111 w 658537"/>
                        <a:gd name="connsiteY762" fmla="*/ 177328 h 442393"/>
                        <a:gd name="connsiteX763" fmla="*/ 257351 w 658537"/>
                        <a:gd name="connsiteY763" fmla="*/ 177149 h 442393"/>
                        <a:gd name="connsiteX764" fmla="*/ 253942 w 658537"/>
                        <a:gd name="connsiteY764" fmla="*/ 174876 h 442393"/>
                        <a:gd name="connsiteX765" fmla="*/ 253284 w 658537"/>
                        <a:gd name="connsiteY765" fmla="*/ 175773 h 442393"/>
                        <a:gd name="connsiteX766" fmla="*/ 138095 w 658537"/>
                        <a:gd name="connsiteY766" fmla="*/ 99220 h 442393"/>
                        <a:gd name="connsiteX767" fmla="*/ 252446 w 658537"/>
                        <a:gd name="connsiteY767" fmla="*/ 175235 h 442393"/>
                        <a:gd name="connsiteX768" fmla="*/ 253164 w 658537"/>
                        <a:gd name="connsiteY768" fmla="*/ 174338 h 442393"/>
                        <a:gd name="connsiteX769" fmla="*/ 138753 w 658537"/>
                        <a:gd name="connsiteY769" fmla="*/ 98203 h 442393"/>
                        <a:gd name="connsiteX770" fmla="*/ 138574 w 658537"/>
                        <a:gd name="connsiteY770" fmla="*/ 98442 h 442393"/>
                        <a:gd name="connsiteX771" fmla="*/ 138394 w 658537"/>
                        <a:gd name="connsiteY771" fmla="*/ 98682 h 442393"/>
                        <a:gd name="connsiteX772" fmla="*/ 138214 w 658537"/>
                        <a:gd name="connsiteY772" fmla="*/ 98921 h 442393"/>
                        <a:gd name="connsiteX773" fmla="*/ 138095 w 658537"/>
                        <a:gd name="connsiteY773" fmla="*/ 99220 h 442393"/>
                        <a:gd name="connsiteX774" fmla="*/ 136002 w 658537"/>
                        <a:gd name="connsiteY774" fmla="*/ 97845 h 442393"/>
                        <a:gd name="connsiteX775" fmla="*/ 137198 w 658537"/>
                        <a:gd name="connsiteY775" fmla="*/ 98622 h 442393"/>
                        <a:gd name="connsiteX776" fmla="*/ 137377 w 658537"/>
                        <a:gd name="connsiteY776" fmla="*/ 98383 h 442393"/>
                        <a:gd name="connsiteX777" fmla="*/ 137557 w 658537"/>
                        <a:gd name="connsiteY777" fmla="*/ 98143 h 442393"/>
                        <a:gd name="connsiteX778" fmla="*/ 137736 w 658537"/>
                        <a:gd name="connsiteY778" fmla="*/ 97904 h 442393"/>
                        <a:gd name="connsiteX779" fmla="*/ 137915 w 658537"/>
                        <a:gd name="connsiteY779" fmla="*/ 97665 h 442393"/>
                        <a:gd name="connsiteX780" fmla="*/ 136719 w 658537"/>
                        <a:gd name="connsiteY780" fmla="*/ 96888 h 442393"/>
                        <a:gd name="connsiteX781" fmla="*/ 136540 w 658537"/>
                        <a:gd name="connsiteY781" fmla="*/ 97127 h 442393"/>
                        <a:gd name="connsiteX782" fmla="*/ 136360 w 658537"/>
                        <a:gd name="connsiteY782" fmla="*/ 97366 h 442393"/>
                        <a:gd name="connsiteX783" fmla="*/ 136181 w 658537"/>
                        <a:gd name="connsiteY783" fmla="*/ 97605 h 442393"/>
                        <a:gd name="connsiteX784" fmla="*/ 136002 w 658537"/>
                        <a:gd name="connsiteY784" fmla="*/ 97845 h 442393"/>
                        <a:gd name="connsiteX785" fmla="*/ 132294 w 658537"/>
                        <a:gd name="connsiteY785" fmla="*/ 95393 h 442393"/>
                        <a:gd name="connsiteX786" fmla="*/ 135045 w 658537"/>
                        <a:gd name="connsiteY786" fmla="*/ 97247 h 442393"/>
                        <a:gd name="connsiteX787" fmla="*/ 135224 w 658537"/>
                        <a:gd name="connsiteY787" fmla="*/ 97007 h 442393"/>
                        <a:gd name="connsiteX788" fmla="*/ 135404 w 658537"/>
                        <a:gd name="connsiteY788" fmla="*/ 96768 h 442393"/>
                        <a:gd name="connsiteX789" fmla="*/ 135583 w 658537"/>
                        <a:gd name="connsiteY789" fmla="*/ 96529 h 442393"/>
                        <a:gd name="connsiteX790" fmla="*/ 135762 w 658537"/>
                        <a:gd name="connsiteY790" fmla="*/ 96289 h 442393"/>
                        <a:gd name="connsiteX791" fmla="*/ 133071 w 658537"/>
                        <a:gd name="connsiteY791" fmla="*/ 94495 h 442393"/>
                        <a:gd name="connsiteX792" fmla="*/ 132892 w 658537"/>
                        <a:gd name="connsiteY792" fmla="*/ 94734 h 442393"/>
                        <a:gd name="connsiteX793" fmla="*/ 132712 w 658537"/>
                        <a:gd name="connsiteY793" fmla="*/ 94974 h 442393"/>
                        <a:gd name="connsiteX794" fmla="*/ 132533 w 658537"/>
                        <a:gd name="connsiteY794" fmla="*/ 95213 h 442393"/>
                        <a:gd name="connsiteX795" fmla="*/ 132294 w 658537"/>
                        <a:gd name="connsiteY795" fmla="*/ 95393 h 442393"/>
                        <a:gd name="connsiteX796" fmla="*/ 130200 w 658537"/>
                        <a:gd name="connsiteY796" fmla="*/ 93957 h 442393"/>
                        <a:gd name="connsiteX797" fmla="*/ 131397 w 658537"/>
                        <a:gd name="connsiteY797" fmla="*/ 94734 h 442393"/>
                        <a:gd name="connsiteX798" fmla="*/ 131576 w 658537"/>
                        <a:gd name="connsiteY798" fmla="*/ 94495 h 442393"/>
                        <a:gd name="connsiteX799" fmla="*/ 131755 w 658537"/>
                        <a:gd name="connsiteY799" fmla="*/ 94256 h 442393"/>
                        <a:gd name="connsiteX800" fmla="*/ 131935 w 658537"/>
                        <a:gd name="connsiteY800" fmla="*/ 94017 h 442393"/>
                        <a:gd name="connsiteX801" fmla="*/ 132114 w 658537"/>
                        <a:gd name="connsiteY801" fmla="*/ 93778 h 442393"/>
                        <a:gd name="connsiteX802" fmla="*/ 130918 w 658537"/>
                        <a:gd name="connsiteY802" fmla="*/ 93000 h 442393"/>
                        <a:gd name="connsiteX803" fmla="*/ 130739 w 658537"/>
                        <a:gd name="connsiteY803" fmla="*/ 93239 h 442393"/>
                        <a:gd name="connsiteX804" fmla="*/ 130559 w 658537"/>
                        <a:gd name="connsiteY804" fmla="*/ 93479 h 442393"/>
                        <a:gd name="connsiteX805" fmla="*/ 130380 w 658537"/>
                        <a:gd name="connsiteY805" fmla="*/ 93718 h 442393"/>
                        <a:gd name="connsiteX806" fmla="*/ 130200 w 658537"/>
                        <a:gd name="connsiteY806" fmla="*/ 93957 h 442393"/>
                        <a:gd name="connsiteX807" fmla="*/ 126253 w 658537"/>
                        <a:gd name="connsiteY807" fmla="*/ 91385 h 442393"/>
                        <a:gd name="connsiteX808" fmla="*/ 129243 w 658537"/>
                        <a:gd name="connsiteY808" fmla="*/ 93359 h 442393"/>
                        <a:gd name="connsiteX809" fmla="*/ 129423 w 658537"/>
                        <a:gd name="connsiteY809" fmla="*/ 93120 h 442393"/>
                        <a:gd name="connsiteX810" fmla="*/ 129603 w 658537"/>
                        <a:gd name="connsiteY810" fmla="*/ 92880 h 442393"/>
                        <a:gd name="connsiteX811" fmla="*/ 129782 w 658537"/>
                        <a:gd name="connsiteY811" fmla="*/ 92641 h 442393"/>
                        <a:gd name="connsiteX812" fmla="*/ 129961 w 658537"/>
                        <a:gd name="connsiteY812" fmla="*/ 92402 h 442393"/>
                        <a:gd name="connsiteX813" fmla="*/ 127030 w 658537"/>
                        <a:gd name="connsiteY813" fmla="*/ 90488 h 442393"/>
                        <a:gd name="connsiteX814" fmla="*/ 126851 w 658537"/>
                        <a:gd name="connsiteY814" fmla="*/ 90727 h 442393"/>
                        <a:gd name="connsiteX815" fmla="*/ 126672 w 658537"/>
                        <a:gd name="connsiteY815" fmla="*/ 90967 h 442393"/>
                        <a:gd name="connsiteX816" fmla="*/ 126492 w 658537"/>
                        <a:gd name="connsiteY816" fmla="*/ 91206 h 442393"/>
                        <a:gd name="connsiteX817" fmla="*/ 126253 w 658537"/>
                        <a:gd name="connsiteY817" fmla="*/ 91385 h 442393"/>
                        <a:gd name="connsiteX818" fmla="*/ 124160 w 658537"/>
                        <a:gd name="connsiteY818" fmla="*/ 89950 h 442393"/>
                        <a:gd name="connsiteX819" fmla="*/ 125356 w 658537"/>
                        <a:gd name="connsiteY819" fmla="*/ 90727 h 442393"/>
                        <a:gd name="connsiteX820" fmla="*/ 125535 w 658537"/>
                        <a:gd name="connsiteY820" fmla="*/ 90488 h 442393"/>
                        <a:gd name="connsiteX821" fmla="*/ 125715 w 658537"/>
                        <a:gd name="connsiteY821" fmla="*/ 90249 h 442393"/>
                        <a:gd name="connsiteX822" fmla="*/ 125894 w 658537"/>
                        <a:gd name="connsiteY822" fmla="*/ 90010 h 442393"/>
                        <a:gd name="connsiteX823" fmla="*/ 126074 w 658537"/>
                        <a:gd name="connsiteY823" fmla="*/ 89771 h 442393"/>
                        <a:gd name="connsiteX824" fmla="*/ 124878 w 658537"/>
                        <a:gd name="connsiteY824" fmla="*/ 88993 h 442393"/>
                        <a:gd name="connsiteX825" fmla="*/ 124698 w 658537"/>
                        <a:gd name="connsiteY825" fmla="*/ 89232 h 442393"/>
                        <a:gd name="connsiteX826" fmla="*/ 124519 w 658537"/>
                        <a:gd name="connsiteY826" fmla="*/ 89471 h 442393"/>
                        <a:gd name="connsiteX827" fmla="*/ 124339 w 658537"/>
                        <a:gd name="connsiteY827" fmla="*/ 89711 h 442393"/>
                        <a:gd name="connsiteX828" fmla="*/ 124160 w 658537"/>
                        <a:gd name="connsiteY828" fmla="*/ 89950 h 442393"/>
                        <a:gd name="connsiteX829" fmla="*/ 100357 w 658537"/>
                        <a:gd name="connsiteY829" fmla="*/ 74161 h 442393"/>
                        <a:gd name="connsiteX830" fmla="*/ 123203 w 658537"/>
                        <a:gd name="connsiteY830" fmla="*/ 89352 h 442393"/>
                        <a:gd name="connsiteX831" fmla="*/ 123382 w 658537"/>
                        <a:gd name="connsiteY831" fmla="*/ 89113 h 442393"/>
                        <a:gd name="connsiteX832" fmla="*/ 123562 w 658537"/>
                        <a:gd name="connsiteY832" fmla="*/ 88873 h 442393"/>
                        <a:gd name="connsiteX833" fmla="*/ 123741 w 658537"/>
                        <a:gd name="connsiteY833" fmla="*/ 88634 h 442393"/>
                        <a:gd name="connsiteX834" fmla="*/ 123921 w 658537"/>
                        <a:gd name="connsiteY834" fmla="*/ 88395 h 442393"/>
                        <a:gd name="connsiteX835" fmla="*/ 101014 w 658537"/>
                        <a:gd name="connsiteY835" fmla="*/ 73144 h 442393"/>
                        <a:gd name="connsiteX836" fmla="*/ 100357 w 658537"/>
                        <a:gd name="connsiteY836" fmla="*/ 74161 h 442393"/>
                        <a:gd name="connsiteX837" fmla="*/ 94854 w 658537"/>
                        <a:gd name="connsiteY837" fmla="*/ 70513 h 442393"/>
                        <a:gd name="connsiteX838" fmla="*/ 99400 w 658537"/>
                        <a:gd name="connsiteY838" fmla="*/ 73503 h 442393"/>
                        <a:gd name="connsiteX839" fmla="*/ 100177 w 658537"/>
                        <a:gd name="connsiteY839" fmla="*/ 72546 h 442393"/>
                        <a:gd name="connsiteX840" fmla="*/ 95333 w 658537"/>
                        <a:gd name="connsiteY840" fmla="*/ 69316 h 442393"/>
                        <a:gd name="connsiteX841" fmla="*/ 95213 w 658537"/>
                        <a:gd name="connsiteY841" fmla="*/ 69615 h 442393"/>
                        <a:gd name="connsiteX842" fmla="*/ 95094 w 658537"/>
                        <a:gd name="connsiteY842" fmla="*/ 69915 h 442393"/>
                        <a:gd name="connsiteX843" fmla="*/ 94974 w 658537"/>
                        <a:gd name="connsiteY843" fmla="*/ 70214 h 442393"/>
                        <a:gd name="connsiteX844" fmla="*/ 94854 w 658537"/>
                        <a:gd name="connsiteY844" fmla="*/ 70513 h 442393"/>
                        <a:gd name="connsiteX845" fmla="*/ 89352 w 658537"/>
                        <a:gd name="connsiteY845" fmla="*/ 66864 h 442393"/>
                        <a:gd name="connsiteX846" fmla="*/ 93838 w 658537"/>
                        <a:gd name="connsiteY846" fmla="*/ 69855 h 442393"/>
                        <a:gd name="connsiteX847" fmla="*/ 93957 w 658537"/>
                        <a:gd name="connsiteY847" fmla="*/ 69556 h 442393"/>
                        <a:gd name="connsiteX848" fmla="*/ 94077 w 658537"/>
                        <a:gd name="connsiteY848" fmla="*/ 69256 h 442393"/>
                        <a:gd name="connsiteX849" fmla="*/ 94196 w 658537"/>
                        <a:gd name="connsiteY849" fmla="*/ 68958 h 442393"/>
                        <a:gd name="connsiteX850" fmla="*/ 94316 w 658537"/>
                        <a:gd name="connsiteY850" fmla="*/ 68659 h 442393"/>
                        <a:gd name="connsiteX851" fmla="*/ 89472 w 658537"/>
                        <a:gd name="connsiteY851" fmla="*/ 65429 h 442393"/>
                        <a:gd name="connsiteX852" fmla="*/ 89472 w 658537"/>
                        <a:gd name="connsiteY852" fmla="*/ 65788 h 442393"/>
                        <a:gd name="connsiteX853" fmla="*/ 89472 w 658537"/>
                        <a:gd name="connsiteY853" fmla="*/ 66147 h 442393"/>
                        <a:gd name="connsiteX854" fmla="*/ 89472 w 658537"/>
                        <a:gd name="connsiteY854" fmla="*/ 66506 h 442393"/>
                        <a:gd name="connsiteX855" fmla="*/ 89352 w 658537"/>
                        <a:gd name="connsiteY855" fmla="*/ 66864 h 442393"/>
                        <a:gd name="connsiteX856" fmla="*/ 80202 w 658537"/>
                        <a:gd name="connsiteY856" fmla="*/ 60764 h 442393"/>
                        <a:gd name="connsiteX857" fmla="*/ 88156 w 658537"/>
                        <a:gd name="connsiteY857" fmla="*/ 66027 h 442393"/>
                        <a:gd name="connsiteX858" fmla="*/ 88156 w 658537"/>
                        <a:gd name="connsiteY858" fmla="*/ 65608 h 442393"/>
                        <a:gd name="connsiteX859" fmla="*/ 88096 w 658537"/>
                        <a:gd name="connsiteY859" fmla="*/ 65190 h 442393"/>
                        <a:gd name="connsiteX860" fmla="*/ 88036 w 658537"/>
                        <a:gd name="connsiteY860" fmla="*/ 64771 h 442393"/>
                        <a:gd name="connsiteX861" fmla="*/ 87917 w 658537"/>
                        <a:gd name="connsiteY861" fmla="*/ 64353 h 442393"/>
                        <a:gd name="connsiteX862" fmla="*/ 81936 w 658537"/>
                        <a:gd name="connsiteY862" fmla="*/ 60345 h 442393"/>
                        <a:gd name="connsiteX863" fmla="*/ 81517 w 658537"/>
                        <a:gd name="connsiteY863" fmla="*/ 60405 h 442393"/>
                        <a:gd name="connsiteX864" fmla="*/ 81099 w 658537"/>
                        <a:gd name="connsiteY864" fmla="*/ 60465 h 442393"/>
                        <a:gd name="connsiteX865" fmla="*/ 80680 w 658537"/>
                        <a:gd name="connsiteY865" fmla="*/ 60585 h 442393"/>
                        <a:gd name="connsiteX866" fmla="*/ 80202 w 658537"/>
                        <a:gd name="connsiteY866" fmla="*/ 60764 h 442393"/>
                        <a:gd name="connsiteX867" fmla="*/ 74400 w 658537"/>
                        <a:gd name="connsiteY867" fmla="*/ 56936 h 442393"/>
                        <a:gd name="connsiteX868" fmla="*/ 79065 w 658537"/>
                        <a:gd name="connsiteY868" fmla="*/ 60046 h 442393"/>
                        <a:gd name="connsiteX869" fmla="*/ 79424 w 658537"/>
                        <a:gd name="connsiteY869" fmla="*/ 59867 h 442393"/>
                        <a:gd name="connsiteX870" fmla="*/ 79783 w 658537"/>
                        <a:gd name="connsiteY870" fmla="*/ 59747 h 442393"/>
                        <a:gd name="connsiteX871" fmla="*/ 80142 w 658537"/>
                        <a:gd name="connsiteY871" fmla="*/ 59628 h 442393"/>
                        <a:gd name="connsiteX872" fmla="*/ 80501 w 658537"/>
                        <a:gd name="connsiteY872" fmla="*/ 59508 h 442393"/>
                        <a:gd name="connsiteX873" fmla="*/ 75477 w 658537"/>
                        <a:gd name="connsiteY873" fmla="*/ 56159 h 442393"/>
                        <a:gd name="connsiteX874" fmla="*/ 75178 w 658537"/>
                        <a:gd name="connsiteY874" fmla="*/ 56338 h 442393"/>
                        <a:gd name="connsiteX875" fmla="*/ 74879 w 658537"/>
                        <a:gd name="connsiteY875" fmla="*/ 56518 h 442393"/>
                        <a:gd name="connsiteX876" fmla="*/ 74580 w 658537"/>
                        <a:gd name="connsiteY876" fmla="*/ 56697 h 442393"/>
                        <a:gd name="connsiteX877" fmla="*/ 74400 w 658537"/>
                        <a:gd name="connsiteY877" fmla="*/ 56936 h 442393"/>
                        <a:gd name="connsiteX878" fmla="*/ 65669 w 658537"/>
                        <a:gd name="connsiteY878" fmla="*/ 51135 h 442393"/>
                        <a:gd name="connsiteX879" fmla="*/ 73384 w 658537"/>
                        <a:gd name="connsiteY879" fmla="*/ 56278 h 442393"/>
                        <a:gd name="connsiteX880" fmla="*/ 73623 w 658537"/>
                        <a:gd name="connsiteY880" fmla="*/ 56099 h 442393"/>
                        <a:gd name="connsiteX881" fmla="*/ 73922 w 658537"/>
                        <a:gd name="connsiteY881" fmla="*/ 55920 h 442393"/>
                        <a:gd name="connsiteX882" fmla="*/ 74221 w 658537"/>
                        <a:gd name="connsiteY882" fmla="*/ 55740 h 442393"/>
                        <a:gd name="connsiteX883" fmla="*/ 74520 w 658537"/>
                        <a:gd name="connsiteY883" fmla="*/ 55561 h 442393"/>
                        <a:gd name="connsiteX884" fmla="*/ 66506 w 658537"/>
                        <a:gd name="connsiteY884" fmla="*/ 50238 h 442393"/>
                        <a:gd name="connsiteX885" fmla="*/ 65669 w 658537"/>
                        <a:gd name="connsiteY885" fmla="*/ 51135 h 442393"/>
                        <a:gd name="connsiteX886" fmla="*/ 48563 w 658537"/>
                        <a:gd name="connsiteY886" fmla="*/ 39712 h 442393"/>
                        <a:gd name="connsiteX887" fmla="*/ 64652 w 658537"/>
                        <a:gd name="connsiteY887" fmla="*/ 50417 h 442393"/>
                        <a:gd name="connsiteX888" fmla="*/ 65429 w 658537"/>
                        <a:gd name="connsiteY888" fmla="*/ 49460 h 442393"/>
                        <a:gd name="connsiteX889" fmla="*/ 49341 w 658537"/>
                        <a:gd name="connsiteY889" fmla="*/ 38755 h 442393"/>
                        <a:gd name="connsiteX890" fmla="*/ 48563 w 658537"/>
                        <a:gd name="connsiteY890" fmla="*/ 39712 h 442393"/>
                        <a:gd name="connsiteX891" fmla="*/ 43061 w 658537"/>
                        <a:gd name="connsiteY891" fmla="*/ 36064 h 442393"/>
                        <a:gd name="connsiteX892" fmla="*/ 47547 w 658537"/>
                        <a:gd name="connsiteY892" fmla="*/ 39054 h 442393"/>
                        <a:gd name="connsiteX893" fmla="*/ 48324 w 658537"/>
                        <a:gd name="connsiteY893" fmla="*/ 38037 h 442393"/>
                        <a:gd name="connsiteX894" fmla="*/ 43839 w 658537"/>
                        <a:gd name="connsiteY894" fmla="*/ 35047 h 442393"/>
                        <a:gd name="connsiteX895" fmla="*/ 43061 w 658537"/>
                        <a:gd name="connsiteY895" fmla="*/ 36064 h 442393"/>
                        <a:gd name="connsiteX896" fmla="*/ 39114 w 658537"/>
                        <a:gd name="connsiteY896" fmla="*/ 33432 h 442393"/>
                        <a:gd name="connsiteX897" fmla="*/ 42105 w 658537"/>
                        <a:gd name="connsiteY897" fmla="*/ 35406 h 442393"/>
                        <a:gd name="connsiteX898" fmla="*/ 42882 w 658537"/>
                        <a:gd name="connsiteY898" fmla="*/ 34389 h 442393"/>
                        <a:gd name="connsiteX899" fmla="*/ 39592 w 658537"/>
                        <a:gd name="connsiteY899" fmla="*/ 32176 h 442393"/>
                        <a:gd name="connsiteX900" fmla="*/ 39473 w 658537"/>
                        <a:gd name="connsiteY900" fmla="*/ 32475 h 442393"/>
                        <a:gd name="connsiteX901" fmla="*/ 39353 w 658537"/>
                        <a:gd name="connsiteY901" fmla="*/ 32774 h 442393"/>
                        <a:gd name="connsiteX902" fmla="*/ 39234 w 658537"/>
                        <a:gd name="connsiteY902" fmla="*/ 33073 h 442393"/>
                        <a:gd name="connsiteX903" fmla="*/ 39114 w 658537"/>
                        <a:gd name="connsiteY903" fmla="*/ 33432 h 442393"/>
                        <a:gd name="connsiteX904" fmla="*/ 33313 w 658537"/>
                        <a:gd name="connsiteY904" fmla="*/ 29605 h 442393"/>
                        <a:gd name="connsiteX905" fmla="*/ 38037 w 658537"/>
                        <a:gd name="connsiteY905" fmla="*/ 32714 h 442393"/>
                        <a:gd name="connsiteX906" fmla="*/ 38157 w 658537"/>
                        <a:gd name="connsiteY906" fmla="*/ 32415 h 442393"/>
                        <a:gd name="connsiteX907" fmla="*/ 38277 w 658537"/>
                        <a:gd name="connsiteY907" fmla="*/ 32116 h 442393"/>
                        <a:gd name="connsiteX908" fmla="*/ 38397 w 658537"/>
                        <a:gd name="connsiteY908" fmla="*/ 31817 h 442393"/>
                        <a:gd name="connsiteX909" fmla="*/ 38516 w 658537"/>
                        <a:gd name="connsiteY909" fmla="*/ 31518 h 442393"/>
                        <a:gd name="connsiteX910" fmla="*/ 33432 w 658537"/>
                        <a:gd name="connsiteY910" fmla="*/ 28109 h 442393"/>
                        <a:gd name="connsiteX911" fmla="*/ 33432 w 658537"/>
                        <a:gd name="connsiteY911" fmla="*/ 28468 h 442393"/>
                        <a:gd name="connsiteX912" fmla="*/ 33432 w 658537"/>
                        <a:gd name="connsiteY912" fmla="*/ 28827 h 442393"/>
                        <a:gd name="connsiteX913" fmla="*/ 33432 w 658537"/>
                        <a:gd name="connsiteY913" fmla="*/ 29186 h 442393"/>
                        <a:gd name="connsiteX914" fmla="*/ 33313 w 658537"/>
                        <a:gd name="connsiteY914" fmla="*/ 29605 h 442393"/>
                        <a:gd name="connsiteX915" fmla="*/ 25777 w 658537"/>
                        <a:gd name="connsiteY915" fmla="*/ 24581 h 442393"/>
                        <a:gd name="connsiteX916" fmla="*/ 32057 w 658537"/>
                        <a:gd name="connsiteY916" fmla="*/ 28767 h 442393"/>
                        <a:gd name="connsiteX917" fmla="*/ 32057 w 658537"/>
                        <a:gd name="connsiteY917" fmla="*/ 28349 h 442393"/>
                        <a:gd name="connsiteX918" fmla="*/ 31997 w 658537"/>
                        <a:gd name="connsiteY918" fmla="*/ 27930 h 442393"/>
                        <a:gd name="connsiteX919" fmla="*/ 31937 w 658537"/>
                        <a:gd name="connsiteY919" fmla="*/ 27511 h 442393"/>
                        <a:gd name="connsiteX920" fmla="*/ 31817 w 658537"/>
                        <a:gd name="connsiteY920" fmla="*/ 27092 h 442393"/>
                        <a:gd name="connsiteX921" fmla="*/ 26554 w 658537"/>
                        <a:gd name="connsiteY921" fmla="*/ 23624 h 442393"/>
                        <a:gd name="connsiteX922" fmla="*/ 25777 w 658537"/>
                        <a:gd name="connsiteY922" fmla="*/ 24581 h 442393"/>
                        <a:gd name="connsiteX923" fmla="*/ 23624 w 658537"/>
                        <a:gd name="connsiteY923" fmla="*/ 23145 h 442393"/>
                        <a:gd name="connsiteX924" fmla="*/ 24760 w 658537"/>
                        <a:gd name="connsiteY924" fmla="*/ 23863 h 442393"/>
                        <a:gd name="connsiteX925" fmla="*/ 25538 w 658537"/>
                        <a:gd name="connsiteY925" fmla="*/ 22846 h 442393"/>
                        <a:gd name="connsiteX926" fmla="*/ 25478 w 658537"/>
                        <a:gd name="connsiteY926" fmla="*/ 22787 h 442393"/>
                        <a:gd name="connsiteX927" fmla="*/ 24999 w 658537"/>
                        <a:gd name="connsiteY927" fmla="*/ 22846 h 442393"/>
                        <a:gd name="connsiteX928" fmla="*/ 24521 w 658537"/>
                        <a:gd name="connsiteY928" fmla="*/ 22906 h 442393"/>
                        <a:gd name="connsiteX929" fmla="*/ 24043 w 658537"/>
                        <a:gd name="connsiteY929" fmla="*/ 23026 h 442393"/>
                        <a:gd name="connsiteX930" fmla="*/ 23624 w 658537"/>
                        <a:gd name="connsiteY930" fmla="*/ 23145 h 442393"/>
                        <a:gd name="connsiteX931" fmla="*/ 17464 w 658537"/>
                        <a:gd name="connsiteY931" fmla="*/ 19079 h 442393"/>
                        <a:gd name="connsiteX932" fmla="*/ 22368 w 658537"/>
                        <a:gd name="connsiteY932" fmla="*/ 22368 h 442393"/>
                        <a:gd name="connsiteX933" fmla="*/ 22727 w 658537"/>
                        <a:gd name="connsiteY933" fmla="*/ 22188 h 442393"/>
                        <a:gd name="connsiteX934" fmla="*/ 23086 w 658537"/>
                        <a:gd name="connsiteY934" fmla="*/ 22069 h 442393"/>
                        <a:gd name="connsiteX935" fmla="*/ 23504 w 658537"/>
                        <a:gd name="connsiteY935" fmla="*/ 21949 h 442393"/>
                        <a:gd name="connsiteX936" fmla="*/ 23923 w 658537"/>
                        <a:gd name="connsiteY936" fmla="*/ 21829 h 442393"/>
                        <a:gd name="connsiteX937" fmla="*/ 18660 w 658537"/>
                        <a:gd name="connsiteY937" fmla="*/ 18301 h 442393"/>
                        <a:gd name="connsiteX938" fmla="*/ 18361 w 658537"/>
                        <a:gd name="connsiteY938" fmla="*/ 18480 h 442393"/>
                        <a:gd name="connsiteX939" fmla="*/ 18062 w 658537"/>
                        <a:gd name="connsiteY939" fmla="*/ 18660 h 442393"/>
                        <a:gd name="connsiteX940" fmla="*/ 17763 w 658537"/>
                        <a:gd name="connsiteY940" fmla="*/ 18839 h 442393"/>
                        <a:gd name="connsiteX941" fmla="*/ 17464 w 658537"/>
                        <a:gd name="connsiteY941" fmla="*/ 19079 h 442393"/>
                        <a:gd name="connsiteX942" fmla="*/ 12380 w 658537"/>
                        <a:gd name="connsiteY942" fmla="*/ 15729 h 442393"/>
                        <a:gd name="connsiteX943" fmla="*/ 16328 w 658537"/>
                        <a:gd name="connsiteY943" fmla="*/ 18361 h 442393"/>
                        <a:gd name="connsiteX944" fmla="*/ 16627 w 658537"/>
                        <a:gd name="connsiteY944" fmla="*/ 18181 h 442393"/>
                        <a:gd name="connsiteX945" fmla="*/ 16926 w 658537"/>
                        <a:gd name="connsiteY945" fmla="*/ 18002 h 442393"/>
                        <a:gd name="connsiteX946" fmla="*/ 17225 w 658537"/>
                        <a:gd name="connsiteY946" fmla="*/ 17822 h 442393"/>
                        <a:gd name="connsiteX947" fmla="*/ 17523 w 658537"/>
                        <a:gd name="connsiteY947" fmla="*/ 17643 h 442393"/>
                        <a:gd name="connsiteX948" fmla="*/ 13218 w 658537"/>
                        <a:gd name="connsiteY948" fmla="*/ 14772 h 442393"/>
                        <a:gd name="connsiteX949" fmla="*/ 12380 w 658537"/>
                        <a:gd name="connsiteY949" fmla="*/ 15729 h 442393"/>
                        <a:gd name="connsiteX950" fmla="*/ 0 w 658537"/>
                        <a:gd name="connsiteY950" fmla="*/ 7476 h 442393"/>
                        <a:gd name="connsiteX951" fmla="*/ 11364 w 658537"/>
                        <a:gd name="connsiteY951" fmla="*/ 15012 h 442393"/>
                        <a:gd name="connsiteX952" fmla="*/ 12141 w 658537"/>
                        <a:gd name="connsiteY952" fmla="*/ 13995 h 442393"/>
                        <a:gd name="connsiteX953" fmla="*/ 1794 w 658537"/>
                        <a:gd name="connsiteY953" fmla="*/ 7117 h 442393"/>
                        <a:gd name="connsiteX954" fmla="*/ 6041 w 658537"/>
                        <a:gd name="connsiteY954" fmla="*/ 1734 h 442393"/>
                        <a:gd name="connsiteX955" fmla="*/ 16328 w 658537"/>
                        <a:gd name="connsiteY955" fmla="*/ 8612 h 442393"/>
                        <a:gd name="connsiteX956" fmla="*/ 17165 w 658537"/>
                        <a:gd name="connsiteY956" fmla="*/ 7595 h 442393"/>
                        <a:gd name="connsiteX957" fmla="*/ 5861 w 658537"/>
                        <a:gd name="connsiteY957" fmla="*/ 0 h 442393"/>
                        <a:gd name="connsiteX958" fmla="*/ 0 w 658537"/>
                        <a:gd name="connsiteY958" fmla="*/ 7476 h 442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Lst>
                      <a:rect l="l" t="t" r="r" b="b"/>
                      <a:pathLst>
                        <a:path w="658537" h="442393">
                          <a:moveTo>
                            <a:pt x="633179" y="421401"/>
                          </a:moveTo>
                          <a:lnTo>
                            <a:pt x="633837" y="421880"/>
                          </a:lnTo>
                          <a:cubicBezTo>
                            <a:pt x="633897" y="421820"/>
                            <a:pt x="633897" y="421760"/>
                            <a:pt x="633957" y="421701"/>
                          </a:cubicBezTo>
                          <a:cubicBezTo>
                            <a:pt x="634016" y="421641"/>
                            <a:pt x="634016" y="421581"/>
                            <a:pt x="634076" y="421521"/>
                          </a:cubicBezTo>
                          <a:cubicBezTo>
                            <a:pt x="634136" y="421461"/>
                            <a:pt x="634136" y="421401"/>
                            <a:pt x="634196" y="421342"/>
                          </a:cubicBezTo>
                          <a:cubicBezTo>
                            <a:pt x="634256" y="421282"/>
                            <a:pt x="634256" y="421222"/>
                            <a:pt x="634315" y="421162"/>
                          </a:cubicBezTo>
                          <a:lnTo>
                            <a:pt x="633658" y="420684"/>
                          </a:lnTo>
                          <a:cubicBezTo>
                            <a:pt x="633598" y="420744"/>
                            <a:pt x="633598" y="420803"/>
                            <a:pt x="633538" y="420863"/>
                          </a:cubicBezTo>
                          <a:cubicBezTo>
                            <a:pt x="633478" y="420923"/>
                            <a:pt x="633478" y="420983"/>
                            <a:pt x="633419" y="421043"/>
                          </a:cubicBezTo>
                          <a:cubicBezTo>
                            <a:pt x="633359" y="421102"/>
                            <a:pt x="633359" y="421162"/>
                            <a:pt x="633299" y="421222"/>
                          </a:cubicBezTo>
                          <a:cubicBezTo>
                            <a:pt x="633239" y="421282"/>
                            <a:pt x="633239" y="421342"/>
                            <a:pt x="633179" y="421401"/>
                          </a:cubicBezTo>
                          <a:moveTo>
                            <a:pt x="631445" y="420265"/>
                          </a:moveTo>
                          <a:lnTo>
                            <a:pt x="632641" y="421102"/>
                          </a:lnTo>
                          <a:cubicBezTo>
                            <a:pt x="632701" y="421043"/>
                            <a:pt x="632701" y="420983"/>
                            <a:pt x="632760" y="420863"/>
                          </a:cubicBezTo>
                          <a:cubicBezTo>
                            <a:pt x="632820" y="420744"/>
                            <a:pt x="632820" y="420744"/>
                            <a:pt x="632880" y="420624"/>
                          </a:cubicBezTo>
                          <a:cubicBezTo>
                            <a:pt x="632940" y="420564"/>
                            <a:pt x="632940" y="420505"/>
                            <a:pt x="633000" y="420445"/>
                          </a:cubicBezTo>
                          <a:cubicBezTo>
                            <a:pt x="633060" y="420385"/>
                            <a:pt x="633060" y="420325"/>
                            <a:pt x="633119" y="420265"/>
                          </a:cubicBezTo>
                          <a:lnTo>
                            <a:pt x="632043" y="419547"/>
                          </a:lnTo>
                          <a:cubicBezTo>
                            <a:pt x="631983" y="419607"/>
                            <a:pt x="631923" y="419667"/>
                            <a:pt x="631923" y="419727"/>
                          </a:cubicBezTo>
                          <a:cubicBezTo>
                            <a:pt x="631863" y="419787"/>
                            <a:pt x="631804" y="419847"/>
                            <a:pt x="631804" y="419906"/>
                          </a:cubicBezTo>
                          <a:cubicBezTo>
                            <a:pt x="631744" y="419966"/>
                            <a:pt x="631684" y="420026"/>
                            <a:pt x="631684" y="420086"/>
                          </a:cubicBezTo>
                          <a:cubicBezTo>
                            <a:pt x="631565" y="420146"/>
                            <a:pt x="631505" y="420206"/>
                            <a:pt x="631445" y="420265"/>
                          </a:cubicBezTo>
                          <a:moveTo>
                            <a:pt x="630249" y="419428"/>
                          </a:moveTo>
                          <a:lnTo>
                            <a:pt x="630906" y="419906"/>
                          </a:lnTo>
                          <a:cubicBezTo>
                            <a:pt x="630966" y="419847"/>
                            <a:pt x="631026" y="419787"/>
                            <a:pt x="631026" y="419727"/>
                          </a:cubicBezTo>
                          <a:cubicBezTo>
                            <a:pt x="631026" y="419667"/>
                            <a:pt x="631146" y="419607"/>
                            <a:pt x="631146" y="419547"/>
                          </a:cubicBezTo>
                          <a:cubicBezTo>
                            <a:pt x="631146" y="419488"/>
                            <a:pt x="631265" y="419428"/>
                            <a:pt x="631265" y="419368"/>
                          </a:cubicBezTo>
                          <a:cubicBezTo>
                            <a:pt x="631265" y="419308"/>
                            <a:pt x="631385" y="419248"/>
                            <a:pt x="631385" y="419189"/>
                          </a:cubicBezTo>
                          <a:lnTo>
                            <a:pt x="630727" y="418710"/>
                          </a:lnTo>
                          <a:cubicBezTo>
                            <a:pt x="630667" y="418770"/>
                            <a:pt x="630607" y="418830"/>
                            <a:pt x="630607" y="418890"/>
                          </a:cubicBezTo>
                          <a:cubicBezTo>
                            <a:pt x="630607" y="418949"/>
                            <a:pt x="630488" y="419009"/>
                            <a:pt x="630488" y="419069"/>
                          </a:cubicBezTo>
                          <a:cubicBezTo>
                            <a:pt x="630428" y="419129"/>
                            <a:pt x="630368" y="419189"/>
                            <a:pt x="630368" y="419248"/>
                          </a:cubicBezTo>
                          <a:cubicBezTo>
                            <a:pt x="630368" y="419308"/>
                            <a:pt x="630308" y="419368"/>
                            <a:pt x="630249" y="419428"/>
                          </a:cubicBezTo>
                          <a:moveTo>
                            <a:pt x="628215" y="418052"/>
                          </a:moveTo>
                          <a:lnTo>
                            <a:pt x="629770" y="419129"/>
                          </a:lnTo>
                          <a:cubicBezTo>
                            <a:pt x="629830" y="419069"/>
                            <a:pt x="629890" y="419009"/>
                            <a:pt x="629890" y="418949"/>
                          </a:cubicBezTo>
                          <a:cubicBezTo>
                            <a:pt x="629950" y="418890"/>
                            <a:pt x="630009" y="418830"/>
                            <a:pt x="630009" y="418770"/>
                          </a:cubicBezTo>
                          <a:cubicBezTo>
                            <a:pt x="630069" y="418710"/>
                            <a:pt x="630129" y="418651"/>
                            <a:pt x="630129" y="418591"/>
                          </a:cubicBezTo>
                          <a:cubicBezTo>
                            <a:pt x="630189" y="418531"/>
                            <a:pt x="630249" y="418471"/>
                            <a:pt x="630249" y="418411"/>
                          </a:cubicBezTo>
                          <a:lnTo>
                            <a:pt x="628694" y="417394"/>
                          </a:lnTo>
                          <a:cubicBezTo>
                            <a:pt x="628634" y="417454"/>
                            <a:pt x="628574" y="417514"/>
                            <a:pt x="628574" y="417574"/>
                          </a:cubicBezTo>
                          <a:cubicBezTo>
                            <a:pt x="628514" y="417634"/>
                            <a:pt x="628454" y="417693"/>
                            <a:pt x="628454" y="417753"/>
                          </a:cubicBezTo>
                          <a:cubicBezTo>
                            <a:pt x="628395" y="417813"/>
                            <a:pt x="628335" y="417873"/>
                            <a:pt x="628335" y="417933"/>
                          </a:cubicBezTo>
                          <a:cubicBezTo>
                            <a:pt x="628275" y="417933"/>
                            <a:pt x="628275" y="417992"/>
                            <a:pt x="628215" y="418052"/>
                          </a:cubicBezTo>
                          <a:moveTo>
                            <a:pt x="627019" y="417275"/>
                          </a:moveTo>
                          <a:lnTo>
                            <a:pt x="627677" y="417693"/>
                          </a:lnTo>
                          <a:cubicBezTo>
                            <a:pt x="627737" y="417634"/>
                            <a:pt x="627797" y="417574"/>
                            <a:pt x="627797" y="417514"/>
                          </a:cubicBezTo>
                          <a:cubicBezTo>
                            <a:pt x="627857" y="417454"/>
                            <a:pt x="627916" y="417394"/>
                            <a:pt x="627916" y="417335"/>
                          </a:cubicBezTo>
                          <a:cubicBezTo>
                            <a:pt x="627916" y="417275"/>
                            <a:pt x="628036" y="417215"/>
                            <a:pt x="628036" y="417155"/>
                          </a:cubicBezTo>
                          <a:cubicBezTo>
                            <a:pt x="628036" y="417095"/>
                            <a:pt x="628155" y="417036"/>
                            <a:pt x="628155" y="416976"/>
                          </a:cubicBezTo>
                          <a:lnTo>
                            <a:pt x="627498" y="416557"/>
                          </a:lnTo>
                          <a:cubicBezTo>
                            <a:pt x="627438" y="416617"/>
                            <a:pt x="627378" y="416677"/>
                            <a:pt x="627378" y="416737"/>
                          </a:cubicBezTo>
                          <a:cubicBezTo>
                            <a:pt x="627318" y="416796"/>
                            <a:pt x="627258" y="416856"/>
                            <a:pt x="627258" y="416916"/>
                          </a:cubicBezTo>
                          <a:cubicBezTo>
                            <a:pt x="627198" y="416976"/>
                            <a:pt x="627138" y="417036"/>
                            <a:pt x="627138" y="417095"/>
                          </a:cubicBezTo>
                          <a:cubicBezTo>
                            <a:pt x="627138" y="417155"/>
                            <a:pt x="627079" y="417215"/>
                            <a:pt x="627019" y="417275"/>
                          </a:cubicBezTo>
                          <a:moveTo>
                            <a:pt x="614818" y="409141"/>
                          </a:moveTo>
                          <a:lnTo>
                            <a:pt x="626481" y="416976"/>
                          </a:lnTo>
                          <a:cubicBezTo>
                            <a:pt x="626541" y="416916"/>
                            <a:pt x="626600" y="416856"/>
                            <a:pt x="626600" y="416796"/>
                          </a:cubicBezTo>
                          <a:cubicBezTo>
                            <a:pt x="626660" y="416737"/>
                            <a:pt x="626720" y="416677"/>
                            <a:pt x="626720" y="416617"/>
                          </a:cubicBezTo>
                          <a:cubicBezTo>
                            <a:pt x="626720" y="416557"/>
                            <a:pt x="626840" y="416497"/>
                            <a:pt x="626840" y="416438"/>
                          </a:cubicBezTo>
                          <a:cubicBezTo>
                            <a:pt x="626899" y="416378"/>
                            <a:pt x="626959" y="416318"/>
                            <a:pt x="626959" y="416258"/>
                          </a:cubicBezTo>
                          <a:lnTo>
                            <a:pt x="615297" y="408423"/>
                          </a:lnTo>
                          <a:lnTo>
                            <a:pt x="614818" y="409141"/>
                          </a:lnTo>
                          <a:moveTo>
                            <a:pt x="609556" y="405613"/>
                          </a:moveTo>
                          <a:lnTo>
                            <a:pt x="614280" y="408782"/>
                          </a:lnTo>
                          <a:lnTo>
                            <a:pt x="614878" y="408065"/>
                          </a:lnTo>
                          <a:lnTo>
                            <a:pt x="609256" y="404297"/>
                          </a:lnTo>
                          <a:cubicBezTo>
                            <a:pt x="609316" y="404416"/>
                            <a:pt x="609316" y="404536"/>
                            <a:pt x="609376" y="404596"/>
                          </a:cubicBezTo>
                          <a:cubicBezTo>
                            <a:pt x="609436" y="404715"/>
                            <a:pt x="609436" y="404835"/>
                            <a:pt x="609436" y="404895"/>
                          </a:cubicBezTo>
                          <a:cubicBezTo>
                            <a:pt x="609436" y="405014"/>
                            <a:pt x="609496" y="405134"/>
                            <a:pt x="609496" y="405254"/>
                          </a:cubicBezTo>
                          <a:cubicBezTo>
                            <a:pt x="609556" y="405373"/>
                            <a:pt x="609556" y="405493"/>
                            <a:pt x="609556" y="405613"/>
                          </a:cubicBezTo>
                          <a:moveTo>
                            <a:pt x="603515" y="401545"/>
                          </a:moveTo>
                          <a:lnTo>
                            <a:pt x="608539" y="404895"/>
                          </a:lnTo>
                          <a:cubicBezTo>
                            <a:pt x="608479" y="404715"/>
                            <a:pt x="608419" y="404536"/>
                            <a:pt x="608359" y="404416"/>
                          </a:cubicBezTo>
                          <a:cubicBezTo>
                            <a:pt x="608299" y="404297"/>
                            <a:pt x="608240" y="404117"/>
                            <a:pt x="608120" y="403938"/>
                          </a:cubicBezTo>
                          <a:cubicBezTo>
                            <a:pt x="608060" y="403759"/>
                            <a:pt x="607941" y="403639"/>
                            <a:pt x="607821" y="403519"/>
                          </a:cubicBezTo>
                          <a:cubicBezTo>
                            <a:pt x="607701" y="403400"/>
                            <a:pt x="607642" y="403220"/>
                            <a:pt x="607522" y="403100"/>
                          </a:cubicBezTo>
                          <a:lnTo>
                            <a:pt x="605668" y="401845"/>
                          </a:lnTo>
                          <a:cubicBezTo>
                            <a:pt x="605488" y="401785"/>
                            <a:pt x="605309" y="401725"/>
                            <a:pt x="605129" y="401665"/>
                          </a:cubicBezTo>
                          <a:cubicBezTo>
                            <a:pt x="604950" y="401605"/>
                            <a:pt x="604771" y="401605"/>
                            <a:pt x="604591" y="401545"/>
                          </a:cubicBezTo>
                          <a:cubicBezTo>
                            <a:pt x="604412" y="401545"/>
                            <a:pt x="604233" y="401486"/>
                            <a:pt x="604053" y="401486"/>
                          </a:cubicBezTo>
                          <a:cubicBezTo>
                            <a:pt x="603934" y="401545"/>
                            <a:pt x="603754" y="401545"/>
                            <a:pt x="603515" y="401545"/>
                          </a:cubicBezTo>
                          <a:moveTo>
                            <a:pt x="583898" y="388448"/>
                          </a:moveTo>
                          <a:lnTo>
                            <a:pt x="602498" y="400888"/>
                          </a:lnTo>
                          <a:cubicBezTo>
                            <a:pt x="602618" y="400888"/>
                            <a:pt x="602737" y="400828"/>
                            <a:pt x="602857" y="400828"/>
                          </a:cubicBezTo>
                          <a:cubicBezTo>
                            <a:pt x="602976" y="400828"/>
                            <a:pt x="603096" y="400768"/>
                            <a:pt x="603216" y="400768"/>
                          </a:cubicBezTo>
                          <a:cubicBezTo>
                            <a:pt x="603335" y="400768"/>
                            <a:pt x="603455" y="400768"/>
                            <a:pt x="603575" y="400768"/>
                          </a:cubicBezTo>
                          <a:cubicBezTo>
                            <a:pt x="603694" y="400768"/>
                            <a:pt x="603814" y="400768"/>
                            <a:pt x="603934" y="400768"/>
                          </a:cubicBezTo>
                          <a:lnTo>
                            <a:pt x="584436" y="387730"/>
                          </a:lnTo>
                          <a:lnTo>
                            <a:pt x="583898" y="388448"/>
                          </a:lnTo>
                          <a:moveTo>
                            <a:pt x="579412" y="385398"/>
                          </a:moveTo>
                          <a:lnTo>
                            <a:pt x="583360" y="388029"/>
                          </a:lnTo>
                          <a:lnTo>
                            <a:pt x="583958" y="387252"/>
                          </a:lnTo>
                          <a:lnTo>
                            <a:pt x="579113" y="383962"/>
                          </a:lnTo>
                          <a:cubicBezTo>
                            <a:pt x="579173" y="384082"/>
                            <a:pt x="579173" y="384201"/>
                            <a:pt x="579233" y="384261"/>
                          </a:cubicBezTo>
                          <a:cubicBezTo>
                            <a:pt x="579293" y="384381"/>
                            <a:pt x="579293" y="384500"/>
                            <a:pt x="579293" y="384620"/>
                          </a:cubicBezTo>
                          <a:cubicBezTo>
                            <a:pt x="579293" y="384740"/>
                            <a:pt x="579353" y="384859"/>
                            <a:pt x="579353" y="384979"/>
                          </a:cubicBezTo>
                          <a:cubicBezTo>
                            <a:pt x="579353" y="385158"/>
                            <a:pt x="579412" y="385278"/>
                            <a:pt x="579412" y="385398"/>
                          </a:cubicBezTo>
                          <a:moveTo>
                            <a:pt x="574688" y="382228"/>
                          </a:moveTo>
                          <a:lnTo>
                            <a:pt x="578396" y="384680"/>
                          </a:lnTo>
                          <a:cubicBezTo>
                            <a:pt x="578336" y="384500"/>
                            <a:pt x="578276" y="384321"/>
                            <a:pt x="578216" y="384142"/>
                          </a:cubicBezTo>
                          <a:cubicBezTo>
                            <a:pt x="578157" y="383962"/>
                            <a:pt x="578037" y="383843"/>
                            <a:pt x="577977" y="383663"/>
                          </a:cubicBezTo>
                          <a:cubicBezTo>
                            <a:pt x="577917" y="383484"/>
                            <a:pt x="577798" y="383364"/>
                            <a:pt x="577678" y="383185"/>
                          </a:cubicBezTo>
                          <a:cubicBezTo>
                            <a:pt x="577558" y="383005"/>
                            <a:pt x="577439" y="382886"/>
                            <a:pt x="577319" y="382766"/>
                          </a:cubicBezTo>
                          <a:lnTo>
                            <a:pt x="575405" y="381450"/>
                          </a:lnTo>
                          <a:cubicBezTo>
                            <a:pt x="575405" y="381450"/>
                            <a:pt x="575405" y="381450"/>
                            <a:pt x="575346" y="381450"/>
                          </a:cubicBezTo>
                          <a:cubicBezTo>
                            <a:pt x="575346" y="381450"/>
                            <a:pt x="575346" y="381450"/>
                            <a:pt x="575286" y="381450"/>
                          </a:cubicBezTo>
                          <a:cubicBezTo>
                            <a:pt x="575226" y="381450"/>
                            <a:pt x="575286" y="381450"/>
                            <a:pt x="575226" y="381450"/>
                          </a:cubicBezTo>
                          <a:cubicBezTo>
                            <a:pt x="575166" y="381450"/>
                            <a:pt x="575226" y="381450"/>
                            <a:pt x="575166" y="381450"/>
                          </a:cubicBezTo>
                          <a:lnTo>
                            <a:pt x="574688" y="382228"/>
                          </a:lnTo>
                          <a:moveTo>
                            <a:pt x="573133" y="381211"/>
                          </a:moveTo>
                          <a:lnTo>
                            <a:pt x="574149" y="381869"/>
                          </a:lnTo>
                          <a:lnTo>
                            <a:pt x="574568" y="381331"/>
                          </a:lnTo>
                          <a:cubicBezTo>
                            <a:pt x="574448" y="381331"/>
                            <a:pt x="574329" y="381271"/>
                            <a:pt x="574209" y="381271"/>
                          </a:cubicBezTo>
                          <a:cubicBezTo>
                            <a:pt x="574090" y="381271"/>
                            <a:pt x="573970" y="381211"/>
                            <a:pt x="573850" y="381211"/>
                          </a:cubicBezTo>
                          <a:cubicBezTo>
                            <a:pt x="573731" y="381211"/>
                            <a:pt x="573611" y="381211"/>
                            <a:pt x="573492" y="381211"/>
                          </a:cubicBezTo>
                          <a:cubicBezTo>
                            <a:pt x="573372" y="381211"/>
                            <a:pt x="573252" y="381211"/>
                            <a:pt x="573133" y="381211"/>
                          </a:cubicBezTo>
                          <a:moveTo>
                            <a:pt x="567571" y="377503"/>
                          </a:moveTo>
                          <a:lnTo>
                            <a:pt x="572116" y="380553"/>
                          </a:lnTo>
                          <a:cubicBezTo>
                            <a:pt x="572235" y="380553"/>
                            <a:pt x="572355" y="380493"/>
                            <a:pt x="572475" y="380493"/>
                          </a:cubicBezTo>
                          <a:cubicBezTo>
                            <a:pt x="572594" y="380493"/>
                            <a:pt x="572714" y="380434"/>
                            <a:pt x="572834" y="380434"/>
                          </a:cubicBezTo>
                          <a:cubicBezTo>
                            <a:pt x="572953" y="380434"/>
                            <a:pt x="573073" y="380434"/>
                            <a:pt x="573193" y="380434"/>
                          </a:cubicBezTo>
                          <a:cubicBezTo>
                            <a:pt x="573312" y="380434"/>
                            <a:pt x="573432" y="380434"/>
                            <a:pt x="573551" y="380434"/>
                          </a:cubicBezTo>
                          <a:lnTo>
                            <a:pt x="568109" y="376785"/>
                          </a:lnTo>
                          <a:lnTo>
                            <a:pt x="567571" y="377503"/>
                          </a:lnTo>
                          <a:moveTo>
                            <a:pt x="353102" y="233966"/>
                          </a:moveTo>
                          <a:lnTo>
                            <a:pt x="566972" y="377084"/>
                          </a:lnTo>
                          <a:lnTo>
                            <a:pt x="567571" y="376307"/>
                          </a:lnTo>
                          <a:lnTo>
                            <a:pt x="353520" y="232889"/>
                          </a:lnTo>
                          <a:cubicBezTo>
                            <a:pt x="353461" y="232949"/>
                            <a:pt x="353461" y="233069"/>
                            <a:pt x="353401" y="233128"/>
                          </a:cubicBezTo>
                          <a:cubicBezTo>
                            <a:pt x="353341" y="233188"/>
                            <a:pt x="353341" y="233308"/>
                            <a:pt x="353281" y="233368"/>
                          </a:cubicBezTo>
                          <a:cubicBezTo>
                            <a:pt x="353221" y="233427"/>
                            <a:pt x="353221" y="233547"/>
                            <a:pt x="353162" y="233607"/>
                          </a:cubicBezTo>
                          <a:cubicBezTo>
                            <a:pt x="353221" y="233786"/>
                            <a:pt x="353162" y="233906"/>
                            <a:pt x="353102" y="233966"/>
                          </a:cubicBezTo>
                          <a:moveTo>
                            <a:pt x="351367" y="232770"/>
                          </a:moveTo>
                          <a:lnTo>
                            <a:pt x="352384" y="233427"/>
                          </a:lnTo>
                          <a:cubicBezTo>
                            <a:pt x="352444" y="233308"/>
                            <a:pt x="352444" y="233248"/>
                            <a:pt x="352504" y="233128"/>
                          </a:cubicBezTo>
                          <a:cubicBezTo>
                            <a:pt x="352564" y="233009"/>
                            <a:pt x="352564" y="232949"/>
                            <a:pt x="352624" y="232829"/>
                          </a:cubicBezTo>
                          <a:cubicBezTo>
                            <a:pt x="352683" y="232710"/>
                            <a:pt x="352683" y="232650"/>
                            <a:pt x="352743" y="232530"/>
                          </a:cubicBezTo>
                          <a:cubicBezTo>
                            <a:pt x="352803" y="232411"/>
                            <a:pt x="352803" y="232351"/>
                            <a:pt x="352863" y="232291"/>
                          </a:cubicBezTo>
                          <a:lnTo>
                            <a:pt x="351846" y="231573"/>
                          </a:lnTo>
                          <a:cubicBezTo>
                            <a:pt x="351846" y="231693"/>
                            <a:pt x="351786" y="231753"/>
                            <a:pt x="351786" y="231872"/>
                          </a:cubicBezTo>
                          <a:cubicBezTo>
                            <a:pt x="351786" y="231992"/>
                            <a:pt x="351726" y="232052"/>
                            <a:pt x="351726" y="232172"/>
                          </a:cubicBezTo>
                          <a:cubicBezTo>
                            <a:pt x="351666" y="232291"/>
                            <a:pt x="351666" y="232351"/>
                            <a:pt x="351607" y="232471"/>
                          </a:cubicBezTo>
                          <a:cubicBezTo>
                            <a:pt x="351427" y="232590"/>
                            <a:pt x="351367" y="232710"/>
                            <a:pt x="351367" y="232770"/>
                          </a:cubicBezTo>
                          <a:moveTo>
                            <a:pt x="349095" y="231274"/>
                          </a:moveTo>
                          <a:lnTo>
                            <a:pt x="350590" y="232231"/>
                          </a:lnTo>
                          <a:cubicBezTo>
                            <a:pt x="350650" y="232112"/>
                            <a:pt x="350650" y="232052"/>
                            <a:pt x="350710" y="231932"/>
                          </a:cubicBezTo>
                          <a:cubicBezTo>
                            <a:pt x="350770" y="231813"/>
                            <a:pt x="350770" y="231753"/>
                            <a:pt x="350770" y="231633"/>
                          </a:cubicBezTo>
                          <a:cubicBezTo>
                            <a:pt x="350770" y="231513"/>
                            <a:pt x="350829" y="231454"/>
                            <a:pt x="350829" y="231334"/>
                          </a:cubicBezTo>
                          <a:cubicBezTo>
                            <a:pt x="350829" y="231215"/>
                            <a:pt x="350889" y="231155"/>
                            <a:pt x="350889" y="231035"/>
                          </a:cubicBezTo>
                          <a:lnTo>
                            <a:pt x="349633" y="230198"/>
                          </a:lnTo>
                          <a:cubicBezTo>
                            <a:pt x="349573" y="230258"/>
                            <a:pt x="349513" y="230377"/>
                            <a:pt x="349513" y="230437"/>
                          </a:cubicBezTo>
                          <a:cubicBezTo>
                            <a:pt x="349454" y="230497"/>
                            <a:pt x="349394" y="230617"/>
                            <a:pt x="349394" y="230676"/>
                          </a:cubicBezTo>
                          <a:cubicBezTo>
                            <a:pt x="349334" y="230736"/>
                            <a:pt x="349274" y="230856"/>
                            <a:pt x="349274" y="230916"/>
                          </a:cubicBezTo>
                          <a:cubicBezTo>
                            <a:pt x="349274" y="230975"/>
                            <a:pt x="349095" y="231215"/>
                            <a:pt x="349095" y="231274"/>
                          </a:cubicBezTo>
                          <a:moveTo>
                            <a:pt x="347360" y="230138"/>
                          </a:moveTo>
                          <a:lnTo>
                            <a:pt x="348317" y="230796"/>
                          </a:lnTo>
                          <a:cubicBezTo>
                            <a:pt x="348377" y="230736"/>
                            <a:pt x="348437" y="230617"/>
                            <a:pt x="348437" y="230557"/>
                          </a:cubicBezTo>
                          <a:cubicBezTo>
                            <a:pt x="348497" y="230497"/>
                            <a:pt x="348557" y="230377"/>
                            <a:pt x="348557" y="230318"/>
                          </a:cubicBezTo>
                          <a:cubicBezTo>
                            <a:pt x="348617" y="230258"/>
                            <a:pt x="348676" y="230138"/>
                            <a:pt x="348676" y="230078"/>
                          </a:cubicBezTo>
                          <a:cubicBezTo>
                            <a:pt x="348736" y="230018"/>
                            <a:pt x="348796" y="229899"/>
                            <a:pt x="348796" y="229839"/>
                          </a:cubicBezTo>
                          <a:lnTo>
                            <a:pt x="347839" y="229181"/>
                          </a:lnTo>
                          <a:cubicBezTo>
                            <a:pt x="347779" y="229241"/>
                            <a:pt x="347719" y="229361"/>
                            <a:pt x="347719" y="229420"/>
                          </a:cubicBezTo>
                          <a:cubicBezTo>
                            <a:pt x="347719" y="229480"/>
                            <a:pt x="347600" y="229600"/>
                            <a:pt x="347600" y="229659"/>
                          </a:cubicBezTo>
                          <a:cubicBezTo>
                            <a:pt x="347600" y="229719"/>
                            <a:pt x="347480" y="229839"/>
                            <a:pt x="347480" y="229899"/>
                          </a:cubicBezTo>
                          <a:cubicBezTo>
                            <a:pt x="347480" y="229959"/>
                            <a:pt x="347420" y="230018"/>
                            <a:pt x="347360" y="230138"/>
                          </a:cubicBezTo>
                          <a:moveTo>
                            <a:pt x="344250" y="228045"/>
                          </a:moveTo>
                          <a:lnTo>
                            <a:pt x="346643" y="229600"/>
                          </a:lnTo>
                          <a:cubicBezTo>
                            <a:pt x="346703" y="229540"/>
                            <a:pt x="346763" y="229420"/>
                            <a:pt x="346763" y="229361"/>
                          </a:cubicBezTo>
                          <a:cubicBezTo>
                            <a:pt x="346822" y="229301"/>
                            <a:pt x="346882" y="229181"/>
                            <a:pt x="346882" y="229121"/>
                          </a:cubicBezTo>
                          <a:cubicBezTo>
                            <a:pt x="346882" y="229062"/>
                            <a:pt x="347002" y="228942"/>
                            <a:pt x="347002" y="228882"/>
                          </a:cubicBezTo>
                          <a:cubicBezTo>
                            <a:pt x="347062" y="228822"/>
                            <a:pt x="347121" y="228703"/>
                            <a:pt x="347121" y="228643"/>
                          </a:cubicBezTo>
                          <a:lnTo>
                            <a:pt x="344789" y="227088"/>
                          </a:lnTo>
                          <a:cubicBezTo>
                            <a:pt x="344729" y="227148"/>
                            <a:pt x="344669" y="227267"/>
                            <a:pt x="344669" y="227327"/>
                          </a:cubicBezTo>
                          <a:cubicBezTo>
                            <a:pt x="344669" y="227387"/>
                            <a:pt x="344549" y="227507"/>
                            <a:pt x="344549" y="227566"/>
                          </a:cubicBezTo>
                          <a:cubicBezTo>
                            <a:pt x="344490" y="227626"/>
                            <a:pt x="344430" y="227746"/>
                            <a:pt x="344370" y="227805"/>
                          </a:cubicBezTo>
                          <a:cubicBezTo>
                            <a:pt x="344370" y="227865"/>
                            <a:pt x="344310" y="227985"/>
                            <a:pt x="344250" y="228045"/>
                          </a:cubicBezTo>
                          <a:moveTo>
                            <a:pt x="342576" y="226909"/>
                          </a:moveTo>
                          <a:lnTo>
                            <a:pt x="343533" y="227566"/>
                          </a:lnTo>
                          <a:cubicBezTo>
                            <a:pt x="343593" y="227507"/>
                            <a:pt x="343652" y="227387"/>
                            <a:pt x="343712" y="227327"/>
                          </a:cubicBezTo>
                          <a:cubicBezTo>
                            <a:pt x="343772" y="227267"/>
                            <a:pt x="343832" y="227148"/>
                            <a:pt x="343892" y="227088"/>
                          </a:cubicBezTo>
                          <a:cubicBezTo>
                            <a:pt x="343951" y="227028"/>
                            <a:pt x="344011" y="226909"/>
                            <a:pt x="344011" y="226849"/>
                          </a:cubicBezTo>
                          <a:cubicBezTo>
                            <a:pt x="344071" y="226789"/>
                            <a:pt x="344131" y="226669"/>
                            <a:pt x="344131" y="226609"/>
                          </a:cubicBezTo>
                          <a:lnTo>
                            <a:pt x="343174" y="225951"/>
                          </a:lnTo>
                          <a:cubicBezTo>
                            <a:pt x="343114" y="226011"/>
                            <a:pt x="343054" y="226131"/>
                            <a:pt x="343054" y="226191"/>
                          </a:cubicBezTo>
                          <a:cubicBezTo>
                            <a:pt x="342995" y="226250"/>
                            <a:pt x="342935" y="226370"/>
                            <a:pt x="342935" y="226430"/>
                          </a:cubicBezTo>
                          <a:cubicBezTo>
                            <a:pt x="342935" y="226490"/>
                            <a:pt x="342815" y="226609"/>
                            <a:pt x="342815" y="226669"/>
                          </a:cubicBezTo>
                          <a:cubicBezTo>
                            <a:pt x="342636" y="226729"/>
                            <a:pt x="342576" y="226789"/>
                            <a:pt x="342576" y="226909"/>
                          </a:cubicBezTo>
                          <a:moveTo>
                            <a:pt x="326308" y="216024"/>
                          </a:moveTo>
                          <a:lnTo>
                            <a:pt x="341798" y="226430"/>
                          </a:lnTo>
                          <a:cubicBezTo>
                            <a:pt x="341858" y="226370"/>
                            <a:pt x="341918" y="226250"/>
                            <a:pt x="341978" y="226191"/>
                          </a:cubicBezTo>
                          <a:cubicBezTo>
                            <a:pt x="342038" y="226131"/>
                            <a:pt x="342097" y="226011"/>
                            <a:pt x="342097" y="225951"/>
                          </a:cubicBezTo>
                          <a:cubicBezTo>
                            <a:pt x="342157" y="225892"/>
                            <a:pt x="342217" y="225772"/>
                            <a:pt x="342217" y="225712"/>
                          </a:cubicBezTo>
                          <a:cubicBezTo>
                            <a:pt x="342277" y="225653"/>
                            <a:pt x="342337" y="225533"/>
                            <a:pt x="342337" y="225473"/>
                          </a:cubicBezTo>
                          <a:lnTo>
                            <a:pt x="326966" y="215186"/>
                          </a:lnTo>
                          <a:lnTo>
                            <a:pt x="326308" y="216024"/>
                          </a:lnTo>
                          <a:moveTo>
                            <a:pt x="318713" y="210940"/>
                          </a:moveTo>
                          <a:lnTo>
                            <a:pt x="325591" y="215545"/>
                          </a:lnTo>
                          <a:lnTo>
                            <a:pt x="326308" y="214648"/>
                          </a:lnTo>
                          <a:lnTo>
                            <a:pt x="318175" y="209206"/>
                          </a:lnTo>
                          <a:cubicBezTo>
                            <a:pt x="318234" y="209325"/>
                            <a:pt x="318294" y="209504"/>
                            <a:pt x="318354" y="209624"/>
                          </a:cubicBezTo>
                          <a:cubicBezTo>
                            <a:pt x="318414" y="209744"/>
                            <a:pt x="318473" y="209923"/>
                            <a:pt x="318533" y="210043"/>
                          </a:cubicBezTo>
                          <a:cubicBezTo>
                            <a:pt x="318593" y="210162"/>
                            <a:pt x="318653" y="210342"/>
                            <a:pt x="318653" y="210462"/>
                          </a:cubicBezTo>
                          <a:cubicBezTo>
                            <a:pt x="318653" y="210641"/>
                            <a:pt x="318713" y="210820"/>
                            <a:pt x="318713" y="210940"/>
                          </a:cubicBezTo>
                          <a:moveTo>
                            <a:pt x="309981" y="205139"/>
                          </a:moveTo>
                          <a:lnTo>
                            <a:pt x="317277" y="209983"/>
                          </a:lnTo>
                          <a:cubicBezTo>
                            <a:pt x="317158" y="209744"/>
                            <a:pt x="317098" y="209564"/>
                            <a:pt x="316978" y="209325"/>
                          </a:cubicBezTo>
                          <a:cubicBezTo>
                            <a:pt x="316859" y="209086"/>
                            <a:pt x="316739" y="208907"/>
                            <a:pt x="316619" y="208727"/>
                          </a:cubicBezTo>
                          <a:cubicBezTo>
                            <a:pt x="316500" y="208548"/>
                            <a:pt x="316321" y="208308"/>
                            <a:pt x="316201" y="208129"/>
                          </a:cubicBezTo>
                          <a:cubicBezTo>
                            <a:pt x="316022" y="207949"/>
                            <a:pt x="315902" y="207770"/>
                            <a:pt x="315723" y="207591"/>
                          </a:cubicBezTo>
                          <a:lnTo>
                            <a:pt x="313031" y="205796"/>
                          </a:lnTo>
                          <a:cubicBezTo>
                            <a:pt x="312792" y="205677"/>
                            <a:pt x="312553" y="205617"/>
                            <a:pt x="312314" y="205557"/>
                          </a:cubicBezTo>
                          <a:cubicBezTo>
                            <a:pt x="312074" y="205498"/>
                            <a:pt x="311835" y="205438"/>
                            <a:pt x="311596" y="205378"/>
                          </a:cubicBezTo>
                          <a:cubicBezTo>
                            <a:pt x="311356" y="205318"/>
                            <a:pt x="311117" y="205258"/>
                            <a:pt x="310818" y="205258"/>
                          </a:cubicBezTo>
                          <a:cubicBezTo>
                            <a:pt x="310519" y="205258"/>
                            <a:pt x="310280" y="205139"/>
                            <a:pt x="309981" y="205139"/>
                          </a:cubicBezTo>
                          <a:moveTo>
                            <a:pt x="281573" y="186060"/>
                          </a:moveTo>
                          <a:lnTo>
                            <a:pt x="308546" y="204122"/>
                          </a:lnTo>
                          <a:cubicBezTo>
                            <a:pt x="308725" y="204122"/>
                            <a:pt x="308904" y="204062"/>
                            <a:pt x="309024" y="204062"/>
                          </a:cubicBezTo>
                          <a:cubicBezTo>
                            <a:pt x="309203" y="204062"/>
                            <a:pt x="309383" y="204062"/>
                            <a:pt x="309502" y="204062"/>
                          </a:cubicBezTo>
                          <a:cubicBezTo>
                            <a:pt x="309682" y="204062"/>
                            <a:pt x="309861" y="204062"/>
                            <a:pt x="309981" y="204062"/>
                          </a:cubicBezTo>
                          <a:cubicBezTo>
                            <a:pt x="310160" y="204062"/>
                            <a:pt x="310280" y="204062"/>
                            <a:pt x="310460" y="204062"/>
                          </a:cubicBezTo>
                          <a:lnTo>
                            <a:pt x="282230" y="185163"/>
                          </a:lnTo>
                          <a:lnTo>
                            <a:pt x="281573" y="186060"/>
                          </a:lnTo>
                          <a:moveTo>
                            <a:pt x="274994" y="181694"/>
                          </a:moveTo>
                          <a:lnTo>
                            <a:pt x="280735" y="185582"/>
                          </a:lnTo>
                          <a:lnTo>
                            <a:pt x="281453" y="184685"/>
                          </a:lnTo>
                          <a:lnTo>
                            <a:pt x="274336" y="179900"/>
                          </a:lnTo>
                          <a:cubicBezTo>
                            <a:pt x="274396" y="180020"/>
                            <a:pt x="274455" y="180199"/>
                            <a:pt x="274515" y="180319"/>
                          </a:cubicBezTo>
                          <a:cubicBezTo>
                            <a:pt x="274575" y="180438"/>
                            <a:pt x="274635" y="180618"/>
                            <a:pt x="274695" y="180737"/>
                          </a:cubicBezTo>
                          <a:cubicBezTo>
                            <a:pt x="274754" y="180857"/>
                            <a:pt x="274814" y="181036"/>
                            <a:pt x="274814" y="181216"/>
                          </a:cubicBezTo>
                          <a:cubicBezTo>
                            <a:pt x="274934" y="181395"/>
                            <a:pt x="274994" y="181515"/>
                            <a:pt x="274994" y="181694"/>
                          </a:cubicBezTo>
                          <a:moveTo>
                            <a:pt x="268116" y="177089"/>
                          </a:moveTo>
                          <a:lnTo>
                            <a:pt x="273499" y="180677"/>
                          </a:lnTo>
                          <a:cubicBezTo>
                            <a:pt x="273379" y="180438"/>
                            <a:pt x="273259" y="180199"/>
                            <a:pt x="273140" y="180020"/>
                          </a:cubicBezTo>
                          <a:cubicBezTo>
                            <a:pt x="273020" y="179840"/>
                            <a:pt x="272900" y="179601"/>
                            <a:pt x="272721" y="179362"/>
                          </a:cubicBezTo>
                          <a:cubicBezTo>
                            <a:pt x="272601" y="179123"/>
                            <a:pt x="272422" y="178943"/>
                            <a:pt x="272243" y="178763"/>
                          </a:cubicBezTo>
                          <a:cubicBezTo>
                            <a:pt x="272063" y="178584"/>
                            <a:pt x="271884" y="178345"/>
                            <a:pt x="271704" y="178166"/>
                          </a:cubicBezTo>
                          <a:lnTo>
                            <a:pt x="268893" y="176312"/>
                          </a:lnTo>
                          <a:cubicBezTo>
                            <a:pt x="268893" y="176312"/>
                            <a:pt x="268893" y="176312"/>
                            <a:pt x="268834" y="176312"/>
                          </a:cubicBezTo>
                          <a:cubicBezTo>
                            <a:pt x="268834" y="176312"/>
                            <a:pt x="268834" y="176312"/>
                            <a:pt x="268774" y="176312"/>
                          </a:cubicBezTo>
                          <a:cubicBezTo>
                            <a:pt x="268774" y="176312"/>
                            <a:pt x="268774" y="176312"/>
                            <a:pt x="268714" y="176312"/>
                          </a:cubicBezTo>
                          <a:cubicBezTo>
                            <a:pt x="268714" y="176312"/>
                            <a:pt x="268714" y="176312"/>
                            <a:pt x="268654" y="176312"/>
                          </a:cubicBezTo>
                          <a:lnTo>
                            <a:pt x="268116" y="177089"/>
                          </a:lnTo>
                          <a:moveTo>
                            <a:pt x="265843" y="175594"/>
                          </a:moveTo>
                          <a:lnTo>
                            <a:pt x="267338" y="176611"/>
                          </a:lnTo>
                          <a:lnTo>
                            <a:pt x="267877" y="175953"/>
                          </a:lnTo>
                          <a:cubicBezTo>
                            <a:pt x="267697" y="175893"/>
                            <a:pt x="267577" y="175893"/>
                            <a:pt x="267398" y="175833"/>
                          </a:cubicBezTo>
                          <a:cubicBezTo>
                            <a:pt x="267219" y="175773"/>
                            <a:pt x="267039" y="175773"/>
                            <a:pt x="266920" y="175714"/>
                          </a:cubicBezTo>
                          <a:cubicBezTo>
                            <a:pt x="266740" y="175714"/>
                            <a:pt x="266561" y="175654"/>
                            <a:pt x="266441" y="175654"/>
                          </a:cubicBezTo>
                          <a:cubicBezTo>
                            <a:pt x="266322" y="175654"/>
                            <a:pt x="266023" y="175594"/>
                            <a:pt x="265843" y="175594"/>
                          </a:cubicBezTo>
                          <a:moveTo>
                            <a:pt x="257709" y="170092"/>
                          </a:moveTo>
                          <a:lnTo>
                            <a:pt x="264348" y="174517"/>
                          </a:lnTo>
                          <a:cubicBezTo>
                            <a:pt x="264528" y="174517"/>
                            <a:pt x="264707" y="174517"/>
                            <a:pt x="264886" y="174458"/>
                          </a:cubicBezTo>
                          <a:cubicBezTo>
                            <a:pt x="265066" y="174458"/>
                            <a:pt x="265245" y="174458"/>
                            <a:pt x="265425" y="174458"/>
                          </a:cubicBezTo>
                          <a:cubicBezTo>
                            <a:pt x="265604" y="174458"/>
                            <a:pt x="265783" y="174458"/>
                            <a:pt x="265963" y="174458"/>
                          </a:cubicBezTo>
                          <a:cubicBezTo>
                            <a:pt x="266142" y="174458"/>
                            <a:pt x="266322" y="174458"/>
                            <a:pt x="266501" y="174458"/>
                          </a:cubicBezTo>
                          <a:lnTo>
                            <a:pt x="258547" y="169135"/>
                          </a:lnTo>
                          <a:lnTo>
                            <a:pt x="257709" y="170092"/>
                          </a:lnTo>
                          <a:moveTo>
                            <a:pt x="141863" y="92581"/>
                          </a:moveTo>
                          <a:lnTo>
                            <a:pt x="256932" y="169613"/>
                          </a:lnTo>
                          <a:lnTo>
                            <a:pt x="257650" y="168716"/>
                          </a:lnTo>
                          <a:lnTo>
                            <a:pt x="142341" y="91445"/>
                          </a:lnTo>
                          <a:cubicBezTo>
                            <a:pt x="142282" y="91565"/>
                            <a:pt x="142282" y="91625"/>
                            <a:pt x="142222" y="91744"/>
                          </a:cubicBezTo>
                          <a:cubicBezTo>
                            <a:pt x="142162" y="91864"/>
                            <a:pt x="142162" y="91924"/>
                            <a:pt x="142102" y="92043"/>
                          </a:cubicBezTo>
                          <a:cubicBezTo>
                            <a:pt x="142042" y="92163"/>
                            <a:pt x="142042" y="92223"/>
                            <a:pt x="141982" y="92342"/>
                          </a:cubicBezTo>
                          <a:cubicBezTo>
                            <a:pt x="141923" y="92402"/>
                            <a:pt x="141863" y="92462"/>
                            <a:pt x="141863" y="92581"/>
                          </a:cubicBezTo>
                          <a:moveTo>
                            <a:pt x="139650" y="91086"/>
                          </a:moveTo>
                          <a:lnTo>
                            <a:pt x="140906" y="91924"/>
                          </a:lnTo>
                          <a:cubicBezTo>
                            <a:pt x="140966" y="91804"/>
                            <a:pt x="140966" y="91744"/>
                            <a:pt x="141026" y="91625"/>
                          </a:cubicBezTo>
                          <a:cubicBezTo>
                            <a:pt x="141085" y="91505"/>
                            <a:pt x="141085" y="91445"/>
                            <a:pt x="141145" y="91325"/>
                          </a:cubicBezTo>
                          <a:cubicBezTo>
                            <a:pt x="141205" y="91206"/>
                            <a:pt x="141205" y="91146"/>
                            <a:pt x="141265" y="91026"/>
                          </a:cubicBezTo>
                          <a:cubicBezTo>
                            <a:pt x="141325" y="90907"/>
                            <a:pt x="141325" y="90847"/>
                            <a:pt x="141384" y="90727"/>
                          </a:cubicBezTo>
                          <a:lnTo>
                            <a:pt x="140128" y="89890"/>
                          </a:lnTo>
                          <a:cubicBezTo>
                            <a:pt x="140069" y="90010"/>
                            <a:pt x="140069" y="90070"/>
                            <a:pt x="140009" y="90189"/>
                          </a:cubicBezTo>
                          <a:cubicBezTo>
                            <a:pt x="139949" y="90309"/>
                            <a:pt x="139949" y="90369"/>
                            <a:pt x="139889" y="90488"/>
                          </a:cubicBezTo>
                          <a:cubicBezTo>
                            <a:pt x="139829" y="90608"/>
                            <a:pt x="139829" y="90668"/>
                            <a:pt x="139769" y="90787"/>
                          </a:cubicBezTo>
                          <a:cubicBezTo>
                            <a:pt x="139710" y="90907"/>
                            <a:pt x="139710" y="91026"/>
                            <a:pt x="139650" y="91086"/>
                          </a:cubicBezTo>
                          <a:moveTo>
                            <a:pt x="136839" y="89232"/>
                          </a:moveTo>
                          <a:lnTo>
                            <a:pt x="138693" y="90488"/>
                          </a:lnTo>
                          <a:cubicBezTo>
                            <a:pt x="138753" y="90369"/>
                            <a:pt x="138753" y="90309"/>
                            <a:pt x="138813" y="90189"/>
                          </a:cubicBezTo>
                          <a:cubicBezTo>
                            <a:pt x="138873" y="90070"/>
                            <a:pt x="138873" y="90010"/>
                            <a:pt x="138932" y="89890"/>
                          </a:cubicBezTo>
                          <a:cubicBezTo>
                            <a:pt x="138992" y="89771"/>
                            <a:pt x="138992" y="89711"/>
                            <a:pt x="139052" y="89591"/>
                          </a:cubicBezTo>
                          <a:cubicBezTo>
                            <a:pt x="139112" y="89471"/>
                            <a:pt x="139112" y="89412"/>
                            <a:pt x="139172" y="89292"/>
                          </a:cubicBezTo>
                          <a:lnTo>
                            <a:pt x="137616" y="88216"/>
                          </a:lnTo>
                          <a:cubicBezTo>
                            <a:pt x="137557" y="88276"/>
                            <a:pt x="137497" y="88395"/>
                            <a:pt x="137437" y="88455"/>
                          </a:cubicBezTo>
                          <a:cubicBezTo>
                            <a:pt x="137377" y="88515"/>
                            <a:pt x="137318" y="88634"/>
                            <a:pt x="137258" y="88694"/>
                          </a:cubicBezTo>
                          <a:cubicBezTo>
                            <a:pt x="137198" y="88754"/>
                            <a:pt x="137138" y="88873"/>
                            <a:pt x="137078" y="88933"/>
                          </a:cubicBezTo>
                          <a:cubicBezTo>
                            <a:pt x="136959" y="89053"/>
                            <a:pt x="136899" y="89113"/>
                            <a:pt x="136839" y="89232"/>
                          </a:cubicBezTo>
                          <a:moveTo>
                            <a:pt x="134686" y="87797"/>
                          </a:moveTo>
                          <a:lnTo>
                            <a:pt x="135882" y="88634"/>
                          </a:lnTo>
                          <a:cubicBezTo>
                            <a:pt x="135942" y="88574"/>
                            <a:pt x="136002" y="88455"/>
                            <a:pt x="136061" y="88395"/>
                          </a:cubicBezTo>
                          <a:cubicBezTo>
                            <a:pt x="136121" y="88335"/>
                            <a:pt x="136181" y="88216"/>
                            <a:pt x="136241" y="88156"/>
                          </a:cubicBezTo>
                          <a:cubicBezTo>
                            <a:pt x="136301" y="88096"/>
                            <a:pt x="136360" y="87976"/>
                            <a:pt x="136420" y="87917"/>
                          </a:cubicBezTo>
                          <a:cubicBezTo>
                            <a:pt x="136480" y="87857"/>
                            <a:pt x="136540" y="87737"/>
                            <a:pt x="136600" y="87677"/>
                          </a:cubicBezTo>
                          <a:lnTo>
                            <a:pt x="135404" y="86840"/>
                          </a:lnTo>
                          <a:cubicBezTo>
                            <a:pt x="135344" y="86900"/>
                            <a:pt x="135284" y="87019"/>
                            <a:pt x="135224" y="87079"/>
                          </a:cubicBezTo>
                          <a:cubicBezTo>
                            <a:pt x="135165" y="87139"/>
                            <a:pt x="135105" y="87259"/>
                            <a:pt x="135045" y="87318"/>
                          </a:cubicBezTo>
                          <a:cubicBezTo>
                            <a:pt x="134985" y="87378"/>
                            <a:pt x="134925" y="87498"/>
                            <a:pt x="134865" y="87557"/>
                          </a:cubicBezTo>
                          <a:cubicBezTo>
                            <a:pt x="134806" y="87617"/>
                            <a:pt x="134746" y="87677"/>
                            <a:pt x="134686" y="87797"/>
                          </a:cubicBezTo>
                          <a:moveTo>
                            <a:pt x="131157" y="85405"/>
                          </a:moveTo>
                          <a:lnTo>
                            <a:pt x="133789" y="87139"/>
                          </a:lnTo>
                          <a:cubicBezTo>
                            <a:pt x="133849" y="87079"/>
                            <a:pt x="133908" y="86960"/>
                            <a:pt x="133968" y="86900"/>
                          </a:cubicBezTo>
                          <a:cubicBezTo>
                            <a:pt x="134028" y="86840"/>
                            <a:pt x="134088" y="86720"/>
                            <a:pt x="134148" y="86661"/>
                          </a:cubicBezTo>
                          <a:cubicBezTo>
                            <a:pt x="134207" y="86601"/>
                            <a:pt x="134267" y="86481"/>
                            <a:pt x="134327" y="86421"/>
                          </a:cubicBezTo>
                          <a:cubicBezTo>
                            <a:pt x="134387" y="86362"/>
                            <a:pt x="134447" y="86242"/>
                            <a:pt x="134506" y="86182"/>
                          </a:cubicBezTo>
                          <a:lnTo>
                            <a:pt x="131935" y="84448"/>
                          </a:lnTo>
                          <a:cubicBezTo>
                            <a:pt x="131875" y="84508"/>
                            <a:pt x="131815" y="84627"/>
                            <a:pt x="131755" y="84687"/>
                          </a:cubicBezTo>
                          <a:cubicBezTo>
                            <a:pt x="131696" y="84747"/>
                            <a:pt x="131636" y="84866"/>
                            <a:pt x="131576" y="84926"/>
                          </a:cubicBezTo>
                          <a:cubicBezTo>
                            <a:pt x="131516" y="84986"/>
                            <a:pt x="131457" y="85106"/>
                            <a:pt x="131397" y="85165"/>
                          </a:cubicBezTo>
                          <a:cubicBezTo>
                            <a:pt x="131277" y="85225"/>
                            <a:pt x="131217" y="85345"/>
                            <a:pt x="131157" y="85405"/>
                          </a:cubicBezTo>
                          <a:moveTo>
                            <a:pt x="129004" y="83969"/>
                          </a:moveTo>
                          <a:lnTo>
                            <a:pt x="130200" y="84747"/>
                          </a:lnTo>
                          <a:cubicBezTo>
                            <a:pt x="130260" y="84687"/>
                            <a:pt x="130320" y="84567"/>
                            <a:pt x="130380" y="84508"/>
                          </a:cubicBezTo>
                          <a:cubicBezTo>
                            <a:pt x="130440" y="84448"/>
                            <a:pt x="130499" y="84328"/>
                            <a:pt x="130559" y="84268"/>
                          </a:cubicBezTo>
                          <a:cubicBezTo>
                            <a:pt x="130619" y="84208"/>
                            <a:pt x="130679" y="84089"/>
                            <a:pt x="130739" y="84029"/>
                          </a:cubicBezTo>
                          <a:cubicBezTo>
                            <a:pt x="130798" y="83969"/>
                            <a:pt x="130858" y="83849"/>
                            <a:pt x="130918" y="83790"/>
                          </a:cubicBezTo>
                          <a:lnTo>
                            <a:pt x="129722" y="82953"/>
                          </a:lnTo>
                          <a:cubicBezTo>
                            <a:pt x="129662" y="83012"/>
                            <a:pt x="129603" y="83132"/>
                            <a:pt x="129543" y="83192"/>
                          </a:cubicBezTo>
                          <a:cubicBezTo>
                            <a:pt x="129483" y="83252"/>
                            <a:pt x="129423" y="83371"/>
                            <a:pt x="129363" y="83431"/>
                          </a:cubicBezTo>
                          <a:cubicBezTo>
                            <a:pt x="129303" y="83491"/>
                            <a:pt x="129243" y="83610"/>
                            <a:pt x="129184" y="83670"/>
                          </a:cubicBezTo>
                          <a:cubicBezTo>
                            <a:pt x="129124" y="83790"/>
                            <a:pt x="129064" y="83909"/>
                            <a:pt x="129004" y="83969"/>
                          </a:cubicBezTo>
                          <a:moveTo>
                            <a:pt x="105201" y="68061"/>
                          </a:moveTo>
                          <a:lnTo>
                            <a:pt x="128107" y="83371"/>
                          </a:lnTo>
                          <a:cubicBezTo>
                            <a:pt x="128167" y="83311"/>
                            <a:pt x="128227" y="83192"/>
                            <a:pt x="128287" y="83132"/>
                          </a:cubicBezTo>
                          <a:cubicBezTo>
                            <a:pt x="128346" y="83072"/>
                            <a:pt x="128406" y="82953"/>
                            <a:pt x="128466" y="82893"/>
                          </a:cubicBezTo>
                          <a:cubicBezTo>
                            <a:pt x="128526" y="82833"/>
                            <a:pt x="128586" y="82713"/>
                            <a:pt x="128645" y="82654"/>
                          </a:cubicBezTo>
                          <a:cubicBezTo>
                            <a:pt x="128705" y="82594"/>
                            <a:pt x="128765" y="82474"/>
                            <a:pt x="128825" y="82414"/>
                          </a:cubicBezTo>
                          <a:lnTo>
                            <a:pt x="106038" y="67104"/>
                          </a:lnTo>
                          <a:lnTo>
                            <a:pt x="105201" y="68061"/>
                          </a:lnTo>
                          <a:moveTo>
                            <a:pt x="95512" y="61541"/>
                          </a:moveTo>
                          <a:lnTo>
                            <a:pt x="104244" y="67343"/>
                          </a:lnTo>
                          <a:lnTo>
                            <a:pt x="105021" y="66326"/>
                          </a:lnTo>
                          <a:lnTo>
                            <a:pt x="94675" y="59389"/>
                          </a:lnTo>
                          <a:cubicBezTo>
                            <a:pt x="94735" y="59568"/>
                            <a:pt x="94854" y="59747"/>
                            <a:pt x="94914" y="59867"/>
                          </a:cubicBezTo>
                          <a:cubicBezTo>
                            <a:pt x="94974" y="59986"/>
                            <a:pt x="95094" y="60226"/>
                            <a:pt x="95154" y="60405"/>
                          </a:cubicBezTo>
                          <a:cubicBezTo>
                            <a:pt x="95213" y="60585"/>
                            <a:pt x="95273" y="60764"/>
                            <a:pt x="95333" y="60944"/>
                          </a:cubicBezTo>
                          <a:cubicBezTo>
                            <a:pt x="95393" y="61183"/>
                            <a:pt x="95452" y="61362"/>
                            <a:pt x="95512" y="61541"/>
                          </a:cubicBezTo>
                          <a:moveTo>
                            <a:pt x="84388" y="54125"/>
                          </a:moveTo>
                          <a:lnTo>
                            <a:pt x="93658" y="60345"/>
                          </a:lnTo>
                          <a:cubicBezTo>
                            <a:pt x="93539" y="60046"/>
                            <a:pt x="93359" y="59807"/>
                            <a:pt x="93240" y="59568"/>
                          </a:cubicBezTo>
                          <a:cubicBezTo>
                            <a:pt x="93060" y="59329"/>
                            <a:pt x="92941" y="59030"/>
                            <a:pt x="92761" y="58790"/>
                          </a:cubicBezTo>
                          <a:cubicBezTo>
                            <a:pt x="92582" y="58551"/>
                            <a:pt x="92402" y="58312"/>
                            <a:pt x="92163" y="58073"/>
                          </a:cubicBezTo>
                          <a:cubicBezTo>
                            <a:pt x="91984" y="57833"/>
                            <a:pt x="91744" y="57594"/>
                            <a:pt x="91505" y="57415"/>
                          </a:cubicBezTo>
                          <a:lnTo>
                            <a:pt x="88096" y="55142"/>
                          </a:lnTo>
                          <a:cubicBezTo>
                            <a:pt x="87797" y="55023"/>
                            <a:pt x="87498" y="54903"/>
                            <a:pt x="87199" y="54783"/>
                          </a:cubicBezTo>
                          <a:cubicBezTo>
                            <a:pt x="86900" y="54664"/>
                            <a:pt x="86601" y="54604"/>
                            <a:pt x="86302" y="54484"/>
                          </a:cubicBezTo>
                          <a:cubicBezTo>
                            <a:pt x="86003" y="54424"/>
                            <a:pt x="85704" y="54365"/>
                            <a:pt x="85345" y="54305"/>
                          </a:cubicBezTo>
                          <a:cubicBezTo>
                            <a:pt x="85046" y="54185"/>
                            <a:pt x="84687" y="54185"/>
                            <a:pt x="84388" y="54125"/>
                          </a:cubicBezTo>
                          <a:moveTo>
                            <a:pt x="48025" y="29784"/>
                          </a:moveTo>
                          <a:lnTo>
                            <a:pt x="82534" y="52869"/>
                          </a:lnTo>
                          <a:cubicBezTo>
                            <a:pt x="82713" y="52869"/>
                            <a:pt x="82953" y="52869"/>
                            <a:pt x="83132" y="52869"/>
                          </a:cubicBezTo>
                          <a:cubicBezTo>
                            <a:pt x="83311" y="52869"/>
                            <a:pt x="83551" y="52869"/>
                            <a:pt x="83730" y="52869"/>
                          </a:cubicBezTo>
                          <a:cubicBezTo>
                            <a:pt x="83910" y="52869"/>
                            <a:pt x="84149" y="52869"/>
                            <a:pt x="84328" y="52929"/>
                          </a:cubicBezTo>
                          <a:cubicBezTo>
                            <a:pt x="84508" y="52929"/>
                            <a:pt x="84747" y="52989"/>
                            <a:pt x="84926" y="52989"/>
                          </a:cubicBezTo>
                          <a:lnTo>
                            <a:pt x="48803" y="28827"/>
                          </a:lnTo>
                          <a:lnTo>
                            <a:pt x="48025" y="29784"/>
                          </a:lnTo>
                          <a:moveTo>
                            <a:pt x="39652" y="24162"/>
                          </a:moveTo>
                          <a:lnTo>
                            <a:pt x="47008" y="29126"/>
                          </a:lnTo>
                          <a:lnTo>
                            <a:pt x="47846" y="28109"/>
                          </a:lnTo>
                          <a:lnTo>
                            <a:pt x="38755" y="22009"/>
                          </a:lnTo>
                          <a:cubicBezTo>
                            <a:pt x="38875" y="22188"/>
                            <a:pt x="38935" y="22368"/>
                            <a:pt x="38994" y="22547"/>
                          </a:cubicBezTo>
                          <a:cubicBezTo>
                            <a:pt x="39054" y="22727"/>
                            <a:pt x="39174" y="22906"/>
                            <a:pt x="39234" y="23085"/>
                          </a:cubicBezTo>
                          <a:cubicBezTo>
                            <a:pt x="39293" y="23265"/>
                            <a:pt x="39353" y="23444"/>
                            <a:pt x="39473" y="23624"/>
                          </a:cubicBezTo>
                          <a:cubicBezTo>
                            <a:pt x="39532" y="23803"/>
                            <a:pt x="39592" y="23983"/>
                            <a:pt x="39652" y="24162"/>
                          </a:cubicBezTo>
                          <a:moveTo>
                            <a:pt x="30801" y="18241"/>
                          </a:moveTo>
                          <a:lnTo>
                            <a:pt x="37678" y="22846"/>
                          </a:lnTo>
                          <a:cubicBezTo>
                            <a:pt x="37559" y="22547"/>
                            <a:pt x="37380" y="22308"/>
                            <a:pt x="37200" y="22009"/>
                          </a:cubicBezTo>
                          <a:cubicBezTo>
                            <a:pt x="37021" y="21710"/>
                            <a:pt x="36841" y="21471"/>
                            <a:pt x="36662" y="21231"/>
                          </a:cubicBezTo>
                          <a:cubicBezTo>
                            <a:pt x="36483" y="20992"/>
                            <a:pt x="36243" y="20693"/>
                            <a:pt x="36064" y="20454"/>
                          </a:cubicBezTo>
                          <a:cubicBezTo>
                            <a:pt x="35824" y="20215"/>
                            <a:pt x="35645" y="19975"/>
                            <a:pt x="35406" y="19736"/>
                          </a:cubicBezTo>
                          <a:lnTo>
                            <a:pt x="31817" y="17344"/>
                          </a:lnTo>
                          <a:cubicBezTo>
                            <a:pt x="31817" y="17344"/>
                            <a:pt x="31758" y="17344"/>
                            <a:pt x="31758" y="17344"/>
                          </a:cubicBezTo>
                          <a:cubicBezTo>
                            <a:pt x="31758" y="17344"/>
                            <a:pt x="31698" y="17344"/>
                            <a:pt x="31698" y="17344"/>
                          </a:cubicBezTo>
                          <a:cubicBezTo>
                            <a:pt x="31698" y="17344"/>
                            <a:pt x="31638" y="17344"/>
                            <a:pt x="31638" y="17344"/>
                          </a:cubicBezTo>
                          <a:cubicBezTo>
                            <a:pt x="31638" y="17344"/>
                            <a:pt x="31578" y="17344"/>
                            <a:pt x="31578" y="17344"/>
                          </a:cubicBezTo>
                          <a:lnTo>
                            <a:pt x="30801" y="18241"/>
                          </a:lnTo>
                          <a:moveTo>
                            <a:pt x="27870" y="16327"/>
                          </a:moveTo>
                          <a:lnTo>
                            <a:pt x="29724" y="17583"/>
                          </a:lnTo>
                          <a:lnTo>
                            <a:pt x="30322" y="16806"/>
                          </a:lnTo>
                          <a:cubicBezTo>
                            <a:pt x="30143" y="16746"/>
                            <a:pt x="29904" y="16686"/>
                            <a:pt x="29724" y="16626"/>
                          </a:cubicBezTo>
                          <a:cubicBezTo>
                            <a:pt x="29545" y="16566"/>
                            <a:pt x="29306" y="16507"/>
                            <a:pt x="29126" y="16507"/>
                          </a:cubicBezTo>
                          <a:cubicBezTo>
                            <a:pt x="28947" y="16447"/>
                            <a:pt x="28707" y="16447"/>
                            <a:pt x="28528" y="16387"/>
                          </a:cubicBezTo>
                          <a:cubicBezTo>
                            <a:pt x="28289" y="16387"/>
                            <a:pt x="28109" y="16327"/>
                            <a:pt x="27870" y="16327"/>
                          </a:cubicBezTo>
                          <a:moveTo>
                            <a:pt x="17464" y="9330"/>
                          </a:moveTo>
                          <a:lnTo>
                            <a:pt x="25897" y="15012"/>
                          </a:lnTo>
                          <a:cubicBezTo>
                            <a:pt x="26136" y="15012"/>
                            <a:pt x="26315" y="15012"/>
                            <a:pt x="26554" y="15012"/>
                          </a:cubicBezTo>
                          <a:cubicBezTo>
                            <a:pt x="26794" y="15012"/>
                            <a:pt x="26973" y="15012"/>
                            <a:pt x="27212" y="15012"/>
                          </a:cubicBezTo>
                          <a:cubicBezTo>
                            <a:pt x="27452" y="15012"/>
                            <a:pt x="27631" y="15012"/>
                            <a:pt x="27870" y="15071"/>
                          </a:cubicBezTo>
                          <a:cubicBezTo>
                            <a:pt x="28109" y="15071"/>
                            <a:pt x="28289" y="15131"/>
                            <a:pt x="28528" y="15131"/>
                          </a:cubicBezTo>
                          <a:lnTo>
                            <a:pt x="18361" y="8313"/>
                          </a:lnTo>
                          <a:lnTo>
                            <a:pt x="17464" y="9330"/>
                          </a:lnTo>
                          <a:moveTo>
                            <a:pt x="631325" y="426963"/>
                          </a:moveTo>
                          <a:lnTo>
                            <a:pt x="654530" y="442394"/>
                          </a:lnTo>
                          <a:lnTo>
                            <a:pt x="658537" y="437310"/>
                          </a:lnTo>
                          <a:lnTo>
                            <a:pt x="634854" y="421401"/>
                          </a:lnTo>
                          <a:cubicBezTo>
                            <a:pt x="634794" y="421461"/>
                            <a:pt x="634794" y="421521"/>
                            <a:pt x="634734" y="421581"/>
                          </a:cubicBezTo>
                          <a:cubicBezTo>
                            <a:pt x="634674" y="421641"/>
                            <a:pt x="634674" y="421701"/>
                            <a:pt x="634614" y="421760"/>
                          </a:cubicBezTo>
                          <a:cubicBezTo>
                            <a:pt x="634555" y="421820"/>
                            <a:pt x="634555" y="421880"/>
                            <a:pt x="634495" y="421940"/>
                          </a:cubicBezTo>
                          <a:cubicBezTo>
                            <a:pt x="634435" y="422000"/>
                            <a:pt x="634435" y="422060"/>
                            <a:pt x="634375" y="422119"/>
                          </a:cubicBezTo>
                          <a:lnTo>
                            <a:pt x="657461" y="437609"/>
                          </a:lnTo>
                          <a:lnTo>
                            <a:pt x="654530" y="441317"/>
                          </a:lnTo>
                          <a:lnTo>
                            <a:pt x="631744" y="426186"/>
                          </a:lnTo>
                          <a:cubicBezTo>
                            <a:pt x="631684" y="426246"/>
                            <a:pt x="631684" y="426306"/>
                            <a:pt x="631624" y="426365"/>
                          </a:cubicBezTo>
                          <a:cubicBezTo>
                            <a:pt x="631565" y="426425"/>
                            <a:pt x="631565" y="426485"/>
                            <a:pt x="631505" y="426545"/>
                          </a:cubicBezTo>
                          <a:cubicBezTo>
                            <a:pt x="631445" y="426605"/>
                            <a:pt x="631445" y="426664"/>
                            <a:pt x="631385" y="426724"/>
                          </a:cubicBezTo>
                          <a:cubicBezTo>
                            <a:pt x="631385" y="426844"/>
                            <a:pt x="631325" y="426904"/>
                            <a:pt x="631325" y="426963"/>
                          </a:cubicBezTo>
                          <a:moveTo>
                            <a:pt x="630129" y="426186"/>
                          </a:moveTo>
                          <a:lnTo>
                            <a:pt x="630787" y="426605"/>
                          </a:lnTo>
                          <a:cubicBezTo>
                            <a:pt x="630847" y="426545"/>
                            <a:pt x="630847" y="426485"/>
                            <a:pt x="630906" y="426425"/>
                          </a:cubicBezTo>
                          <a:cubicBezTo>
                            <a:pt x="630966" y="426365"/>
                            <a:pt x="630966" y="426306"/>
                            <a:pt x="631026" y="426246"/>
                          </a:cubicBezTo>
                          <a:cubicBezTo>
                            <a:pt x="631086" y="426186"/>
                            <a:pt x="631086" y="426126"/>
                            <a:pt x="631146" y="426067"/>
                          </a:cubicBezTo>
                          <a:cubicBezTo>
                            <a:pt x="631206" y="426007"/>
                            <a:pt x="631206" y="425947"/>
                            <a:pt x="631265" y="425887"/>
                          </a:cubicBezTo>
                          <a:lnTo>
                            <a:pt x="630607" y="425468"/>
                          </a:lnTo>
                          <a:cubicBezTo>
                            <a:pt x="630548" y="425528"/>
                            <a:pt x="630548" y="425588"/>
                            <a:pt x="630488" y="425648"/>
                          </a:cubicBezTo>
                          <a:cubicBezTo>
                            <a:pt x="630428" y="425708"/>
                            <a:pt x="630428" y="425768"/>
                            <a:pt x="630368" y="425827"/>
                          </a:cubicBezTo>
                          <a:cubicBezTo>
                            <a:pt x="630308" y="425887"/>
                            <a:pt x="630308" y="425947"/>
                            <a:pt x="630249" y="426007"/>
                          </a:cubicBezTo>
                          <a:cubicBezTo>
                            <a:pt x="630249" y="426067"/>
                            <a:pt x="630189" y="426126"/>
                            <a:pt x="630129" y="426186"/>
                          </a:cubicBezTo>
                          <a:moveTo>
                            <a:pt x="627916" y="424691"/>
                          </a:moveTo>
                          <a:lnTo>
                            <a:pt x="629651" y="425827"/>
                          </a:lnTo>
                          <a:cubicBezTo>
                            <a:pt x="629711" y="425768"/>
                            <a:pt x="629711" y="425708"/>
                            <a:pt x="629770" y="425648"/>
                          </a:cubicBezTo>
                          <a:cubicBezTo>
                            <a:pt x="629830" y="425588"/>
                            <a:pt x="629830" y="425528"/>
                            <a:pt x="629890" y="425468"/>
                          </a:cubicBezTo>
                          <a:cubicBezTo>
                            <a:pt x="629950" y="425409"/>
                            <a:pt x="629950" y="425349"/>
                            <a:pt x="630009" y="425289"/>
                          </a:cubicBezTo>
                          <a:cubicBezTo>
                            <a:pt x="630069" y="425229"/>
                            <a:pt x="630069" y="425169"/>
                            <a:pt x="630129" y="425109"/>
                          </a:cubicBezTo>
                          <a:lnTo>
                            <a:pt x="628454" y="424033"/>
                          </a:lnTo>
                          <a:cubicBezTo>
                            <a:pt x="628395" y="424093"/>
                            <a:pt x="628335" y="424153"/>
                            <a:pt x="628335" y="424213"/>
                          </a:cubicBezTo>
                          <a:cubicBezTo>
                            <a:pt x="628275" y="424272"/>
                            <a:pt x="628215" y="424332"/>
                            <a:pt x="628215" y="424392"/>
                          </a:cubicBezTo>
                          <a:cubicBezTo>
                            <a:pt x="628155" y="424452"/>
                            <a:pt x="628096" y="424511"/>
                            <a:pt x="628096" y="424571"/>
                          </a:cubicBezTo>
                          <a:cubicBezTo>
                            <a:pt x="628096" y="424631"/>
                            <a:pt x="627976" y="424631"/>
                            <a:pt x="627916" y="424691"/>
                          </a:cubicBezTo>
                          <a:moveTo>
                            <a:pt x="626780" y="423914"/>
                          </a:moveTo>
                          <a:lnTo>
                            <a:pt x="627438" y="424332"/>
                          </a:lnTo>
                          <a:cubicBezTo>
                            <a:pt x="627498" y="424272"/>
                            <a:pt x="627557" y="424213"/>
                            <a:pt x="627557" y="424153"/>
                          </a:cubicBezTo>
                          <a:cubicBezTo>
                            <a:pt x="627557" y="424093"/>
                            <a:pt x="627677" y="424033"/>
                            <a:pt x="627677" y="423973"/>
                          </a:cubicBezTo>
                          <a:cubicBezTo>
                            <a:pt x="627737" y="423914"/>
                            <a:pt x="627797" y="423854"/>
                            <a:pt x="627797" y="423794"/>
                          </a:cubicBezTo>
                          <a:cubicBezTo>
                            <a:pt x="627797" y="423734"/>
                            <a:pt x="627916" y="423674"/>
                            <a:pt x="627916" y="423614"/>
                          </a:cubicBezTo>
                          <a:lnTo>
                            <a:pt x="627258" y="423196"/>
                          </a:lnTo>
                          <a:cubicBezTo>
                            <a:pt x="627198" y="423255"/>
                            <a:pt x="627138" y="423315"/>
                            <a:pt x="627138" y="423375"/>
                          </a:cubicBezTo>
                          <a:cubicBezTo>
                            <a:pt x="627079" y="423435"/>
                            <a:pt x="627019" y="423495"/>
                            <a:pt x="627019" y="423555"/>
                          </a:cubicBezTo>
                          <a:cubicBezTo>
                            <a:pt x="626959" y="423614"/>
                            <a:pt x="626899" y="423674"/>
                            <a:pt x="626899" y="423734"/>
                          </a:cubicBezTo>
                          <a:cubicBezTo>
                            <a:pt x="626840" y="423794"/>
                            <a:pt x="626780" y="423854"/>
                            <a:pt x="626780" y="423914"/>
                          </a:cubicBezTo>
                          <a:moveTo>
                            <a:pt x="624447" y="422359"/>
                          </a:moveTo>
                          <a:lnTo>
                            <a:pt x="626242" y="423555"/>
                          </a:lnTo>
                          <a:cubicBezTo>
                            <a:pt x="626301" y="423495"/>
                            <a:pt x="626361" y="423435"/>
                            <a:pt x="626361" y="423375"/>
                          </a:cubicBezTo>
                          <a:cubicBezTo>
                            <a:pt x="626421" y="423315"/>
                            <a:pt x="626481" y="423255"/>
                            <a:pt x="626481" y="423196"/>
                          </a:cubicBezTo>
                          <a:cubicBezTo>
                            <a:pt x="626541" y="423136"/>
                            <a:pt x="626600" y="423076"/>
                            <a:pt x="626600" y="423016"/>
                          </a:cubicBezTo>
                          <a:cubicBezTo>
                            <a:pt x="626600" y="422956"/>
                            <a:pt x="626720" y="422897"/>
                            <a:pt x="626720" y="422837"/>
                          </a:cubicBezTo>
                          <a:lnTo>
                            <a:pt x="624926" y="421641"/>
                          </a:lnTo>
                          <a:cubicBezTo>
                            <a:pt x="624866" y="421701"/>
                            <a:pt x="624806" y="421760"/>
                            <a:pt x="624746" y="421820"/>
                          </a:cubicBezTo>
                          <a:cubicBezTo>
                            <a:pt x="624687" y="421880"/>
                            <a:pt x="624627" y="421940"/>
                            <a:pt x="624567" y="422000"/>
                          </a:cubicBezTo>
                          <a:cubicBezTo>
                            <a:pt x="624507" y="422060"/>
                            <a:pt x="624447" y="422119"/>
                            <a:pt x="624388" y="422179"/>
                          </a:cubicBezTo>
                          <a:cubicBezTo>
                            <a:pt x="624507" y="422239"/>
                            <a:pt x="624507" y="422299"/>
                            <a:pt x="624447" y="422359"/>
                          </a:cubicBezTo>
                          <a:moveTo>
                            <a:pt x="623251" y="421581"/>
                          </a:moveTo>
                          <a:lnTo>
                            <a:pt x="623909" y="422000"/>
                          </a:lnTo>
                          <a:cubicBezTo>
                            <a:pt x="623969" y="421940"/>
                            <a:pt x="624029" y="421880"/>
                            <a:pt x="624089" y="421820"/>
                          </a:cubicBezTo>
                          <a:cubicBezTo>
                            <a:pt x="624148" y="421760"/>
                            <a:pt x="624208" y="421701"/>
                            <a:pt x="624268" y="421641"/>
                          </a:cubicBezTo>
                          <a:cubicBezTo>
                            <a:pt x="624328" y="421581"/>
                            <a:pt x="624388" y="421521"/>
                            <a:pt x="624447" y="421461"/>
                          </a:cubicBezTo>
                          <a:cubicBezTo>
                            <a:pt x="624507" y="421401"/>
                            <a:pt x="624567" y="421342"/>
                            <a:pt x="624627" y="421282"/>
                          </a:cubicBezTo>
                          <a:lnTo>
                            <a:pt x="623969" y="420863"/>
                          </a:lnTo>
                          <a:cubicBezTo>
                            <a:pt x="623909" y="420923"/>
                            <a:pt x="623849" y="420983"/>
                            <a:pt x="623789" y="421043"/>
                          </a:cubicBezTo>
                          <a:cubicBezTo>
                            <a:pt x="623730" y="421102"/>
                            <a:pt x="623670" y="421162"/>
                            <a:pt x="623610" y="421222"/>
                          </a:cubicBezTo>
                          <a:cubicBezTo>
                            <a:pt x="623550" y="421282"/>
                            <a:pt x="623490" y="421342"/>
                            <a:pt x="623430" y="421401"/>
                          </a:cubicBezTo>
                          <a:cubicBezTo>
                            <a:pt x="623371" y="421461"/>
                            <a:pt x="623311" y="421521"/>
                            <a:pt x="623251" y="421581"/>
                          </a:cubicBezTo>
                          <a:moveTo>
                            <a:pt x="611290" y="413627"/>
                          </a:moveTo>
                          <a:lnTo>
                            <a:pt x="622773" y="421222"/>
                          </a:lnTo>
                          <a:cubicBezTo>
                            <a:pt x="622833" y="421162"/>
                            <a:pt x="622892" y="421102"/>
                            <a:pt x="622952" y="421043"/>
                          </a:cubicBezTo>
                          <a:cubicBezTo>
                            <a:pt x="623012" y="420983"/>
                            <a:pt x="623072" y="420923"/>
                            <a:pt x="623132" y="420863"/>
                          </a:cubicBezTo>
                          <a:cubicBezTo>
                            <a:pt x="623191" y="420803"/>
                            <a:pt x="623251" y="420744"/>
                            <a:pt x="623311" y="420684"/>
                          </a:cubicBezTo>
                          <a:cubicBezTo>
                            <a:pt x="623371" y="420624"/>
                            <a:pt x="623430" y="420564"/>
                            <a:pt x="623490" y="420505"/>
                          </a:cubicBezTo>
                          <a:lnTo>
                            <a:pt x="611948" y="412849"/>
                          </a:lnTo>
                          <a:lnTo>
                            <a:pt x="611290" y="413627"/>
                          </a:lnTo>
                          <a:moveTo>
                            <a:pt x="608299" y="411653"/>
                          </a:moveTo>
                          <a:lnTo>
                            <a:pt x="610751" y="413268"/>
                          </a:lnTo>
                          <a:lnTo>
                            <a:pt x="611290" y="412550"/>
                          </a:lnTo>
                          <a:lnTo>
                            <a:pt x="608658" y="410816"/>
                          </a:lnTo>
                          <a:cubicBezTo>
                            <a:pt x="608658" y="410876"/>
                            <a:pt x="608598" y="410935"/>
                            <a:pt x="608539" y="410995"/>
                          </a:cubicBezTo>
                          <a:cubicBezTo>
                            <a:pt x="608479" y="411055"/>
                            <a:pt x="608479" y="411115"/>
                            <a:pt x="608419" y="411175"/>
                          </a:cubicBezTo>
                          <a:cubicBezTo>
                            <a:pt x="608359" y="411234"/>
                            <a:pt x="608359" y="411294"/>
                            <a:pt x="608299" y="411354"/>
                          </a:cubicBezTo>
                          <a:cubicBezTo>
                            <a:pt x="608359" y="411474"/>
                            <a:pt x="608299" y="411593"/>
                            <a:pt x="608299" y="411653"/>
                          </a:cubicBezTo>
                          <a:moveTo>
                            <a:pt x="605309" y="409679"/>
                          </a:moveTo>
                          <a:lnTo>
                            <a:pt x="607761" y="411294"/>
                          </a:lnTo>
                          <a:cubicBezTo>
                            <a:pt x="607821" y="411234"/>
                            <a:pt x="607821" y="411175"/>
                            <a:pt x="607881" y="411055"/>
                          </a:cubicBezTo>
                          <a:cubicBezTo>
                            <a:pt x="607941" y="410995"/>
                            <a:pt x="607941" y="410935"/>
                            <a:pt x="608000" y="410816"/>
                          </a:cubicBezTo>
                          <a:cubicBezTo>
                            <a:pt x="608060" y="410756"/>
                            <a:pt x="608060" y="410696"/>
                            <a:pt x="608120" y="410576"/>
                          </a:cubicBezTo>
                          <a:cubicBezTo>
                            <a:pt x="608180" y="410457"/>
                            <a:pt x="608180" y="410457"/>
                            <a:pt x="608180" y="410337"/>
                          </a:cubicBezTo>
                          <a:lnTo>
                            <a:pt x="605548" y="408603"/>
                          </a:lnTo>
                          <a:cubicBezTo>
                            <a:pt x="605548" y="408662"/>
                            <a:pt x="605548" y="408782"/>
                            <a:pt x="605548" y="408842"/>
                          </a:cubicBezTo>
                          <a:cubicBezTo>
                            <a:pt x="605548" y="408902"/>
                            <a:pt x="605548" y="409021"/>
                            <a:pt x="605488" y="409081"/>
                          </a:cubicBezTo>
                          <a:cubicBezTo>
                            <a:pt x="605488" y="409141"/>
                            <a:pt x="605429" y="409261"/>
                            <a:pt x="605429" y="409321"/>
                          </a:cubicBezTo>
                          <a:cubicBezTo>
                            <a:pt x="605369" y="409500"/>
                            <a:pt x="605309" y="409560"/>
                            <a:pt x="605309" y="409679"/>
                          </a:cubicBezTo>
                          <a:moveTo>
                            <a:pt x="600345" y="406390"/>
                          </a:moveTo>
                          <a:lnTo>
                            <a:pt x="604651" y="409261"/>
                          </a:lnTo>
                          <a:cubicBezTo>
                            <a:pt x="604651" y="409141"/>
                            <a:pt x="604651" y="409081"/>
                            <a:pt x="604711" y="408962"/>
                          </a:cubicBezTo>
                          <a:cubicBezTo>
                            <a:pt x="604711" y="408842"/>
                            <a:pt x="604711" y="408782"/>
                            <a:pt x="604711" y="408662"/>
                          </a:cubicBezTo>
                          <a:cubicBezTo>
                            <a:pt x="604711" y="408603"/>
                            <a:pt x="604711" y="408483"/>
                            <a:pt x="604711" y="408423"/>
                          </a:cubicBezTo>
                          <a:cubicBezTo>
                            <a:pt x="604711" y="408363"/>
                            <a:pt x="604711" y="408244"/>
                            <a:pt x="604711" y="408184"/>
                          </a:cubicBezTo>
                          <a:lnTo>
                            <a:pt x="601481" y="406031"/>
                          </a:lnTo>
                          <a:cubicBezTo>
                            <a:pt x="601362" y="406031"/>
                            <a:pt x="601302" y="406091"/>
                            <a:pt x="601182" y="406091"/>
                          </a:cubicBezTo>
                          <a:cubicBezTo>
                            <a:pt x="601063" y="406091"/>
                            <a:pt x="601003" y="406151"/>
                            <a:pt x="600883" y="406151"/>
                          </a:cubicBezTo>
                          <a:cubicBezTo>
                            <a:pt x="600764" y="406210"/>
                            <a:pt x="600704" y="406210"/>
                            <a:pt x="600584" y="406270"/>
                          </a:cubicBezTo>
                          <a:cubicBezTo>
                            <a:pt x="600525" y="406270"/>
                            <a:pt x="600405" y="406330"/>
                            <a:pt x="600345" y="406390"/>
                          </a:cubicBezTo>
                          <a:moveTo>
                            <a:pt x="597175" y="404237"/>
                          </a:moveTo>
                          <a:lnTo>
                            <a:pt x="599687" y="405912"/>
                          </a:lnTo>
                          <a:cubicBezTo>
                            <a:pt x="599747" y="405852"/>
                            <a:pt x="599866" y="405852"/>
                            <a:pt x="599926" y="405792"/>
                          </a:cubicBezTo>
                          <a:cubicBezTo>
                            <a:pt x="599986" y="405732"/>
                            <a:pt x="600106" y="405732"/>
                            <a:pt x="600166" y="405672"/>
                          </a:cubicBezTo>
                          <a:cubicBezTo>
                            <a:pt x="600225" y="405613"/>
                            <a:pt x="600345" y="405613"/>
                            <a:pt x="600405" y="405553"/>
                          </a:cubicBezTo>
                          <a:cubicBezTo>
                            <a:pt x="600465" y="405493"/>
                            <a:pt x="600584" y="405493"/>
                            <a:pt x="600644" y="405433"/>
                          </a:cubicBezTo>
                          <a:lnTo>
                            <a:pt x="597953" y="403639"/>
                          </a:lnTo>
                          <a:cubicBezTo>
                            <a:pt x="597893" y="403699"/>
                            <a:pt x="597833" y="403759"/>
                            <a:pt x="597773" y="403759"/>
                          </a:cubicBezTo>
                          <a:cubicBezTo>
                            <a:pt x="597713" y="403818"/>
                            <a:pt x="597654" y="403878"/>
                            <a:pt x="597594" y="403878"/>
                          </a:cubicBezTo>
                          <a:cubicBezTo>
                            <a:pt x="597534" y="403938"/>
                            <a:pt x="597474" y="403998"/>
                            <a:pt x="597414" y="403998"/>
                          </a:cubicBezTo>
                          <a:cubicBezTo>
                            <a:pt x="597295" y="404177"/>
                            <a:pt x="597235" y="404237"/>
                            <a:pt x="597175" y="404237"/>
                          </a:cubicBezTo>
                          <a:moveTo>
                            <a:pt x="592450" y="401127"/>
                          </a:moveTo>
                          <a:lnTo>
                            <a:pt x="596637" y="403878"/>
                          </a:lnTo>
                          <a:cubicBezTo>
                            <a:pt x="596697" y="403818"/>
                            <a:pt x="596757" y="403759"/>
                            <a:pt x="596817" y="403699"/>
                          </a:cubicBezTo>
                          <a:cubicBezTo>
                            <a:pt x="596876" y="403639"/>
                            <a:pt x="596936" y="403579"/>
                            <a:pt x="596996" y="403519"/>
                          </a:cubicBezTo>
                          <a:cubicBezTo>
                            <a:pt x="597056" y="403459"/>
                            <a:pt x="597116" y="403400"/>
                            <a:pt x="597175" y="403400"/>
                          </a:cubicBezTo>
                          <a:cubicBezTo>
                            <a:pt x="597235" y="403340"/>
                            <a:pt x="597295" y="403280"/>
                            <a:pt x="597355" y="403280"/>
                          </a:cubicBezTo>
                          <a:lnTo>
                            <a:pt x="592989" y="400409"/>
                          </a:lnTo>
                          <a:lnTo>
                            <a:pt x="592450" y="401127"/>
                          </a:lnTo>
                          <a:moveTo>
                            <a:pt x="583240" y="395027"/>
                          </a:moveTo>
                          <a:lnTo>
                            <a:pt x="591912" y="400768"/>
                          </a:lnTo>
                          <a:lnTo>
                            <a:pt x="592510" y="400050"/>
                          </a:lnTo>
                          <a:lnTo>
                            <a:pt x="583838" y="394309"/>
                          </a:lnTo>
                          <a:lnTo>
                            <a:pt x="583240" y="395027"/>
                          </a:lnTo>
                          <a:moveTo>
                            <a:pt x="580250" y="393053"/>
                          </a:moveTo>
                          <a:lnTo>
                            <a:pt x="582702" y="394668"/>
                          </a:lnTo>
                          <a:lnTo>
                            <a:pt x="583300" y="393950"/>
                          </a:lnTo>
                          <a:lnTo>
                            <a:pt x="580848" y="392335"/>
                          </a:lnTo>
                          <a:lnTo>
                            <a:pt x="580250" y="393053"/>
                          </a:lnTo>
                          <a:moveTo>
                            <a:pt x="578157" y="391618"/>
                          </a:moveTo>
                          <a:lnTo>
                            <a:pt x="579771" y="392694"/>
                          </a:lnTo>
                          <a:lnTo>
                            <a:pt x="580370" y="391976"/>
                          </a:lnTo>
                          <a:lnTo>
                            <a:pt x="578575" y="390780"/>
                          </a:lnTo>
                          <a:cubicBezTo>
                            <a:pt x="578516" y="390840"/>
                            <a:pt x="578516" y="390900"/>
                            <a:pt x="578456" y="391020"/>
                          </a:cubicBezTo>
                          <a:cubicBezTo>
                            <a:pt x="578396" y="391079"/>
                            <a:pt x="578396" y="391139"/>
                            <a:pt x="578336" y="391259"/>
                          </a:cubicBezTo>
                          <a:cubicBezTo>
                            <a:pt x="578276" y="391319"/>
                            <a:pt x="578276" y="391378"/>
                            <a:pt x="578216" y="391498"/>
                          </a:cubicBezTo>
                          <a:cubicBezTo>
                            <a:pt x="578216" y="391498"/>
                            <a:pt x="578157" y="391558"/>
                            <a:pt x="578157" y="391618"/>
                          </a:cubicBezTo>
                          <a:moveTo>
                            <a:pt x="575047" y="389584"/>
                          </a:moveTo>
                          <a:lnTo>
                            <a:pt x="577558" y="391259"/>
                          </a:lnTo>
                          <a:cubicBezTo>
                            <a:pt x="577618" y="391199"/>
                            <a:pt x="577618" y="391139"/>
                            <a:pt x="577678" y="391020"/>
                          </a:cubicBezTo>
                          <a:cubicBezTo>
                            <a:pt x="577738" y="390960"/>
                            <a:pt x="577738" y="390900"/>
                            <a:pt x="577798" y="390780"/>
                          </a:cubicBezTo>
                          <a:cubicBezTo>
                            <a:pt x="577857" y="390720"/>
                            <a:pt x="577857" y="390661"/>
                            <a:pt x="577917" y="390541"/>
                          </a:cubicBezTo>
                          <a:cubicBezTo>
                            <a:pt x="577977" y="390421"/>
                            <a:pt x="577977" y="390421"/>
                            <a:pt x="577977" y="390302"/>
                          </a:cubicBezTo>
                          <a:lnTo>
                            <a:pt x="575226" y="388507"/>
                          </a:lnTo>
                          <a:cubicBezTo>
                            <a:pt x="575226" y="388567"/>
                            <a:pt x="575226" y="388687"/>
                            <a:pt x="575226" y="388747"/>
                          </a:cubicBezTo>
                          <a:cubicBezTo>
                            <a:pt x="575226" y="388807"/>
                            <a:pt x="575226" y="388926"/>
                            <a:pt x="575166" y="388986"/>
                          </a:cubicBezTo>
                          <a:cubicBezTo>
                            <a:pt x="575106" y="389046"/>
                            <a:pt x="575106" y="389166"/>
                            <a:pt x="575106" y="389225"/>
                          </a:cubicBezTo>
                          <a:cubicBezTo>
                            <a:pt x="575106" y="389405"/>
                            <a:pt x="575047" y="389465"/>
                            <a:pt x="575047" y="389584"/>
                          </a:cubicBezTo>
                          <a:moveTo>
                            <a:pt x="571040" y="386893"/>
                          </a:moveTo>
                          <a:lnTo>
                            <a:pt x="574389" y="389106"/>
                          </a:lnTo>
                          <a:cubicBezTo>
                            <a:pt x="574389" y="388986"/>
                            <a:pt x="574389" y="388926"/>
                            <a:pt x="574448" y="388807"/>
                          </a:cubicBezTo>
                          <a:cubicBezTo>
                            <a:pt x="574448" y="388687"/>
                            <a:pt x="574448" y="388627"/>
                            <a:pt x="574448" y="388507"/>
                          </a:cubicBezTo>
                          <a:cubicBezTo>
                            <a:pt x="574448" y="388388"/>
                            <a:pt x="574448" y="388328"/>
                            <a:pt x="574448" y="388208"/>
                          </a:cubicBezTo>
                          <a:cubicBezTo>
                            <a:pt x="574448" y="388089"/>
                            <a:pt x="574448" y="388029"/>
                            <a:pt x="574448" y="387969"/>
                          </a:cubicBezTo>
                          <a:lnTo>
                            <a:pt x="571638" y="386115"/>
                          </a:lnTo>
                          <a:lnTo>
                            <a:pt x="571040" y="386893"/>
                          </a:lnTo>
                          <a:moveTo>
                            <a:pt x="569843" y="386115"/>
                          </a:moveTo>
                          <a:lnTo>
                            <a:pt x="570441" y="386534"/>
                          </a:lnTo>
                          <a:lnTo>
                            <a:pt x="571040" y="385816"/>
                          </a:lnTo>
                          <a:lnTo>
                            <a:pt x="570980" y="385816"/>
                          </a:lnTo>
                          <a:cubicBezTo>
                            <a:pt x="570860" y="385816"/>
                            <a:pt x="570800" y="385876"/>
                            <a:pt x="570681" y="385876"/>
                          </a:cubicBezTo>
                          <a:cubicBezTo>
                            <a:pt x="570561" y="385876"/>
                            <a:pt x="570501" y="385936"/>
                            <a:pt x="570381" y="385936"/>
                          </a:cubicBezTo>
                          <a:cubicBezTo>
                            <a:pt x="570262" y="385996"/>
                            <a:pt x="570202" y="385996"/>
                            <a:pt x="570083" y="386055"/>
                          </a:cubicBezTo>
                          <a:cubicBezTo>
                            <a:pt x="570083" y="386055"/>
                            <a:pt x="569963" y="386055"/>
                            <a:pt x="569843" y="386115"/>
                          </a:cubicBezTo>
                          <a:moveTo>
                            <a:pt x="566554" y="383903"/>
                          </a:moveTo>
                          <a:lnTo>
                            <a:pt x="569186" y="385637"/>
                          </a:lnTo>
                          <a:cubicBezTo>
                            <a:pt x="569245" y="385577"/>
                            <a:pt x="569365" y="385517"/>
                            <a:pt x="569425" y="385517"/>
                          </a:cubicBezTo>
                          <a:cubicBezTo>
                            <a:pt x="569485" y="385458"/>
                            <a:pt x="569604" y="385458"/>
                            <a:pt x="569664" y="385398"/>
                          </a:cubicBezTo>
                          <a:cubicBezTo>
                            <a:pt x="569724" y="385338"/>
                            <a:pt x="569843" y="385338"/>
                            <a:pt x="569903" y="385278"/>
                          </a:cubicBezTo>
                          <a:cubicBezTo>
                            <a:pt x="569963" y="385218"/>
                            <a:pt x="570083" y="385218"/>
                            <a:pt x="570142" y="385158"/>
                          </a:cubicBezTo>
                          <a:lnTo>
                            <a:pt x="567331" y="383304"/>
                          </a:lnTo>
                          <a:cubicBezTo>
                            <a:pt x="567272" y="383364"/>
                            <a:pt x="567212" y="383424"/>
                            <a:pt x="567152" y="383424"/>
                          </a:cubicBezTo>
                          <a:cubicBezTo>
                            <a:pt x="567092" y="383484"/>
                            <a:pt x="567032" y="383544"/>
                            <a:pt x="566972" y="383544"/>
                          </a:cubicBezTo>
                          <a:cubicBezTo>
                            <a:pt x="566913" y="383603"/>
                            <a:pt x="566853" y="383663"/>
                            <a:pt x="566793" y="383723"/>
                          </a:cubicBezTo>
                          <a:cubicBezTo>
                            <a:pt x="566673" y="383843"/>
                            <a:pt x="566614" y="383903"/>
                            <a:pt x="566554" y="383903"/>
                          </a:cubicBezTo>
                          <a:moveTo>
                            <a:pt x="563863" y="382108"/>
                          </a:moveTo>
                          <a:lnTo>
                            <a:pt x="565956" y="383544"/>
                          </a:lnTo>
                          <a:cubicBezTo>
                            <a:pt x="566016" y="383484"/>
                            <a:pt x="566076" y="383424"/>
                            <a:pt x="566135" y="383364"/>
                          </a:cubicBezTo>
                          <a:cubicBezTo>
                            <a:pt x="566195" y="383304"/>
                            <a:pt x="566255" y="383244"/>
                            <a:pt x="566315" y="383185"/>
                          </a:cubicBezTo>
                          <a:cubicBezTo>
                            <a:pt x="566375" y="383125"/>
                            <a:pt x="566434" y="383065"/>
                            <a:pt x="566494" y="383005"/>
                          </a:cubicBezTo>
                          <a:cubicBezTo>
                            <a:pt x="566554" y="382945"/>
                            <a:pt x="566614" y="382886"/>
                            <a:pt x="566673" y="382886"/>
                          </a:cubicBezTo>
                          <a:lnTo>
                            <a:pt x="564401" y="381331"/>
                          </a:lnTo>
                          <a:lnTo>
                            <a:pt x="563863" y="382108"/>
                          </a:lnTo>
                          <a:moveTo>
                            <a:pt x="350052" y="240066"/>
                          </a:moveTo>
                          <a:lnTo>
                            <a:pt x="563324" y="381749"/>
                          </a:lnTo>
                          <a:lnTo>
                            <a:pt x="563923" y="381032"/>
                          </a:lnTo>
                          <a:lnTo>
                            <a:pt x="350650" y="239169"/>
                          </a:lnTo>
                          <a:cubicBezTo>
                            <a:pt x="350590" y="239229"/>
                            <a:pt x="350590" y="239348"/>
                            <a:pt x="350530" y="239408"/>
                          </a:cubicBezTo>
                          <a:cubicBezTo>
                            <a:pt x="350471" y="239468"/>
                            <a:pt x="350471" y="239588"/>
                            <a:pt x="350411" y="239648"/>
                          </a:cubicBezTo>
                          <a:cubicBezTo>
                            <a:pt x="350351" y="239707"/>
                            <a:pt x="350291" y="239827"/>
                            <a:pt x="350291" y="239887"/>
                          </a:cubicBezTo>
                          <a:cubicBezTo>
                            <a:pt x="350171" y="239887"/>
                            <a:pt x="350112" y="240006"/>
                            <a:pt x="350052" y="240066"/>
                          </a:cubicBezTo>
                          <a:moveTo>
                            <a:pt x="348377" y="238930"/>
                          </a:moveTo>
                          <a:lnTo>
                            <a:pt x="349334" y="239528"/>
                          </a:lnTo>
                          <a:cubicBezTo>
                            <a:pt x="349394" y="239468"/>
                            <a:pt x="349454" y="239348"/>
                            <a:pt x="349454" y="239289"/>
                          </a:cubicBezTo>
                          <a:cubicBezTo>
                            <a:pt x="349513" y="239229"/>
                            <a:pt x="349573" y="239109"/>
                            <a:pt x="349573" y="239049"/>
                          </a:cubicBezTo>
                          <a:cubicBezTo>
                            <a:pt x="349633" y="238989"/>
                            <a:pt x="349633" y="238870"/>
                            <a:pt x="349693" y="238810"/>
                          </a:cubicBezTo>
                          <a:cubicBezTo>
                            <a:pt x="349753" y="238750"/>
                            <a:pt x="349753" y="238631"/>
                            <a:pt x="349812" y="238571"/>
                          </a:cubicBezTo>
                          <a:lnTo>
                            <a:pt x="348856" y="237913"/>
                          </a:lnTo>
                          <a:cubicBezTo>
                            <a:pt x="348796" y="237973"/>
                            <a:pt x="348796" y="238093"/>
                            <a:pt x="348736" y="238152"/>
                          </a:cubicBezTo>
                          <a:cubicBezTo>
                            <a:pt x="348676" y="238212"/>
                            <a:pt x="348676" y="238332"/>
                            <a:pt x="348617" y="238391"/>
                          </a:cubicBezTo>
                          <a:cubicBezTo>
                            <a:pt x="348557" y="238451"/>
                            <a:pt x="348557" y="238571"/>
                            <a:pt x="348497" y="238631"/>
                          </a:cubicBezTo>
                          <a:cubicBezTo>
                            <a:pt x="348497" y="238810"/>
                            <a:pt x="348437" y="238870"/>
                            <a:pt x="348377" y="238930"/>
                          </a:cubicBezTo>
                          <a:moveTo>
                            <a:pt x="345327" y="236896"/>
                          </a:moveTo>
                          <a:lnTo>
                            <a:pt x="347659" y="238451"/>
                          </a:lnTo>
                          <a:cubicBezTo>
                            <a:pt x="347719" y="238391"/>
                            <a:pt x="347779" y="238272"/>
                            <a:pt x="347779" y="238212"/>
                          </a:cubicBezTo>
                          <a:cubicBezTo>
                            <a:pt x="347839" y="238152"/>
                            <a:pt x="347839" y="238033"/>
                            <a:pt x="347899" y="237973"/>
                          </a:cubicBezTo>
                          <a:cubicBezTo>
                            <a:pt x="347958" y="237913"/>
                            <a:pt x="347958" y="237794"/>
                            <a:pt x="348018" y="237734"/>
                          </a:cubicBezTo>
                          <a:cubicBezTo>
                            <a:pt x="348078" y="237674"/>
                            <a:pt x="348078" y="237554"/>
                            <a:pt x="348138" y="237494"/>
                          </a:cubicBezTo>
                          <a:lnTo>
                            <a:pt x="345925" y="235999"/>
                          </a:lnTo>
                          <a:cubicBezTo>
                            <a:pt x="345865" y="236059"/>
                            <a:pt x="345805" y="236119"/>
                            <a:pt x="345746" y="236238"/>
                          </a:cubicBezTo>
                          <a:cubicBezTo>
                            <a:pt x="345686" y="236298"/>
                            <a:pt x="345626" y="236358"/>
                            <a:pt x="345566" y="236478"/>
                          </a:cubicBezTo>
                          <a:cubicBezTo>
                            <a:pt x="345506" y="236537"/>
                            <a:pt x="345447" y="236597"/>
                            <a:pt x="345387" y="236717"/>
                          </a:cubicBezTo>
                          <a:cubicBezTo>
                            <a:pt x="345327" y="236836"/>
                            <a:pt x="345387" y="236836"/>
                            <a:pt x="345327" y="236896"/>
                          </a:cubicBezTo>
                          <a:moveTo>
                            <a:pt x="343652" y="235820"/>
                          </a:moveTo>
                          <a:lnTo>
                            <a:pt x="344609" y="236478"/>
                          </a:lnTo>
                          <a:cubicBezTo>
                            <a:pt x="344669" y="236418"/>
                            <a:pt x="344729" y="236358"/>
                            <a:pt x="344789" y="236238"/>
                          </a:cubicBezTo>
                          <a:cubicBezTo>
                            <a:pt x="344849" y="236179"/>
                            <a:pt x="344909" y="236119"/>
                            <a:pt x="344968" y="235999"/>
                          </a:cubicBezTo>
                          <a:cubicBezTo>
                            <a:pt x="345028" y="235940"/>
                            <a:pt x="345088" y="235880"/>
                            <a:pt x="345148" y="235760"/>
                          </a:cubicBezTo>
                          <a:cubicBezTo>
                            <a:pt x="345207" y="235700"/>
                            <a:pt x="345267" y="235640"/>
                            <a:pt x="345327" y="235521"/>
                          </a:cubicBezTo>
                          <a:lnTo>
                            <a:pt x="344370" y="234863"/>
                          </a:lnTo>
                          <a:cubicBezTo>
                            <a:pt x="344310" y="234923"/>
                            <a:pt x="344250" y="234982"/>
                            <a:pt x="344191" y="235102"/>
                          </a:cubicBezTo>
                          <a:cubicBezTo>
                            <a:pt x="344131" y="235162"/>
                            <a:pt x="344071" y="235222"/>
                            <a:pt x="344011" y="235341"/>
                          </a:cubicBezTo>
                          <a:cubicBezTo>
                            <a:pt x="343951" y="235401"/>
                            <a:pt x="343892" y="235461"/>
                            <a:pt x="343832" y="235580"/>
                          </a:cubicBezTo>
                          <a:cubicBezTo>
                            <a:pt x="343772" y="235700"/>
                            <a:pt x="343652" y="235700"/>
                            <a:pt x="343652" y="235820"/>
                          </a:cubicBezTo>
                          <a:moveTo>
                            <a:pt x="340243" y="233547"/>
                          </a:moveTo>
                          <a:lnTo>
                            <a:pt x="342875" y="235341"/>
                          </a:lnTo>
                          <a:cubicBezTo>
                            <a:pt x="342935" y="235281"/>
                            <a:pt x="342995" y="235222"/>
                            <a:pt x="343054" y="235102"/>
                          </a:cubicBezTo>
                          <a:cubicBezTo>
                            <a:pt x="343114" y="235042"/>
                            <a:pt x="343174" y="234982"/>
                            <a:pt x="343234" y="234863"/>
                          </a:cubicBezTo>
                          <a:cubicBezTo>
                            <a:pt x="343294" y="234803"/>
                            <a:pt x="343353" y="234743"/>
                            <a:pt x="343413" y="234624"/>
                          </a:cubicBezTo>
                          <a:cubicBezTo>
                            <a:pt x="343473" y="234504"/>
                            <a:pt x="343533" y="234504"/>
                            <a:pt x="343593" y="234384"/>
                          </a:cubicBezTo>
                          <a:lnTo>
                            <a:pt x="340961" y="232650"/>
                          </a:lnTo>
                          <a:cubicBezTo>
                            <a:pt x="340901" y="232710"/>
                            <a:pt x="340841" y="232770"/>
                            <a:pt x="340782" y="232889"/>
                          </a:cubicBezTo>
                          <a:cubicBezTo>
                            <a:pt x="340722" y="232949"/>
                            <a:pt x="340662" y="233009"/>
                            <a:pt x="340602" y="233128"/>
                          </a:cubicBezTo>
                          <a:cubicBezTo>
                            <a:pt x="340542" y="233248"/>
                            <a:pt x="340482" y="233248"/>
                            <a:pt x="340423" y="233368"/>
                          </a:cubicBezTo>
                          <a:cubicBezTo>
                            <a:pt x="340363" y="233427"/>
                            <a:pt x="340303" y="233487"/>
                            <a:pt x="340243" y="233547"/>
                          </a:cubicBezTo>
                          <a:moveTo>
                            <a:pt x="338569" y="232411"/>
                          </a:moveTo>
                          <a:lnTo>
                            <a:pt x="339526" y="233069"/>
                          </a:lnTo>
                          <a:cubicBezTo>
                            <a:pt x="339586" y="233009"/>
                            <a:pt x="339645" y="232949"/>
                            <a:pt x="339705" y="232829"/>
                          </a:cubicBezTo>
                          <a:cubicBezTo>
                            <a:pt x="339765" y="232770"/>
                            <a:pt x="339825" y="232710"/>
                            <a:pt x="339885" y="232590"/>
                          </a:cubicBezTo>
                          <a:cubicBezTo>
                            <a:pt x="339944" y="232530"/>
                            <a:pt x="340004" y="232471"/>
                            <a:pt x="340064" y="232351"/>
                          </a:cubicBezTo>
                          <a:cubicBezTo>
                            <a:pt x="340124" y="232291"/>
                            <a:pt x="340184" y="232231"/>
                            <a:pt x="340243" y="232112"/>
                          </a:cubicBezTo>
                          <a:lnTo>
                            <a:pt x="339287" y="231454"/>
                          </a:lnTo>
                          <a:cubicBezTo>
                            <a:pt x="339227" y="231513"/>
                            <a:pt x="339167" y="231573"/>
                            <a:pt x="339107" y="231693"/>
                          </a:cubicBezTo>
                          <a:cubicBezTo>
                            <a:pt x="339047" y="231753"/>
                            <a:pt x="338987" y="231813"/>
                            <a:pt x="338928" y="231932"/>
                          </a:cubicBezTo>
                          <a:cubicBezTo>
                            <a:pt x="338868" y="232052"/>
                            <a:pt x="338808" y="232052"/>
                            <a:pt x="338748" y="232172"/>
                          </a:cubicBezTo>
                          <a:cubicBezTo>
                            <a:pt x="338628" y="232291"/>
                            <a:pt x="338569" y="232351"/>
                            <a:pt x="338569" y="232411"/>
                          </a:cubicBezTo>
                          <a:moveTo>
                            <a:pt x="322002" y="221406"/>
                          </a:moveTo>
                          <a:lnTo>
                            <a:pt x="337791" y="231872"/>
                          </a:lnTo>
                          <a:cubicBezTo>
                            <a:pt x="337851" y="231813"/>
                            <a:pt x="337911" y="231753"/>
                            <a:pt x="337971" y="231633"/>
                          </a:cubicBezTo>
                          <a:cubicBezTo>
                            <a:pt x="338031" y="231513"/>
                            <a:pt x="338090" y="231513"/>
                            <a:pt x="338150" y="231394"/>
                          </a:cubicBezTo>
                          <a:cubicBezTo>
                            <a:pt x="338210" y="231334"/>
                            <a:pt x="338270" y="231274"/>
                            <a:pt x="338330" y="231155"/>
                          </a:cubicBezTo>
                          <a:cubicBezTo>
                            <a:pt x="338389" y="231035"/>
                            <a:pt x="338449" y="231035"/>
                            <a:pt x="338509" y="230916"/>
                          </a:cubicBezTo>
                          <a:lnTo>
                            <a:pt x="322720" y="220449"/>
                          </a:lnTo>
                          <a:lnTo>
                            <a:pt x="322002" y="221406"/>
                          </a:lnTo>
                          <a:moveTo>
                            <a:pt x="317756" y="218595"/>
                          </a:moveTo>
                          <a:lnTo>
                            <a:pt x="321344" y="220988"/>
                          </a:lnTo>
                          <a:lnTo>
                            <a:pt x="322002" y="220150"/>
                          </a:lnTo>
                          <a:lnTo>
                            <a:pt x="318175" y="217638"/>
                          </a:lnTo>
                          <a:cubicBezTo>
                            <a:pt x="318115" y="217698"/>
                            <a:pt x="318115" y="217818"/>
                            <a:pt x="318055" y="217878"/>
                          </a:cubicBezTo>
                          <a:cubicBezTo>
                            <a:pt x="317995" y="217938"/>
                            <a:pt x="317995" y="218057"/>
                            <a:pt x="317935" y="218117"/>
                          </a:cubicBezTo>
                          <a:cubicBezTo>
                            <a:pt x="317876" y="218177"/>
                            <a:pt x="317876" y="218296"/>
                            <a:pt x="317816" y="218356"/>
                          </a:cubicBezTo>
                          <a:cubicBezTo>
                            <a:pt x="317756" y="218416"/>
                            <a:pt x="317756" y="218476"/>
                            <a:pt x="317756" y="218595"/>
                          </a:cubicBezTo>
                          <a:moveTo>
                            <a:pt x="313450" y="215725"/>
                          </a:moveTo>
                          <a:lnTo>
                            <a:pt x="316978" y="218057"/>
                          </a:lnTo>
                          <a:cubicBezTo>
                            <a:pt x="317038" y="217997"/>
                            <a:pt x="317038" y="217878"/>
                            <a:pt x="317098" y="217818"/>
                          </a:cubicBezTo>
                          <a:cubicBezTo>
                            <a:pt x="317158" y="217758"/>
                            <a:pt x="317158" y="217638"/>
                            <a:pt x="317218" y="217579"/>
                          </a:cubicBezTo>
                          <a:cubicBezTo>
                            <a:pt x="317277" y="217519"/>
                            <a:pt x="317277" y="217399"/>
                            <a:pt x="317337" y="217339"/>
                          </a:cubicBezTo>
                          <a:cubicBezTo>
                            <a:pt x="317397" y="217279"/>
                            <a:pt x="317397" y="217160"/>
                            <a:pt x="317457" y="217100"/>
                          </a:cubicBezTo>
                          <a:lnTo>
                            <a:pt x="313689" y="214588"/>
                          </a:lnTo>
                          <a:cubicBezTo>
                            <a:pt x="313689" y="214708"/>
                            <a:pt x="313689" y="214768"/>
                            <a:pt x="313689" y="214887"/>
                          </a:cubicBezTo>
                          <a:cubicBezTo>
                            <a:pt x="313689" y="215007"/>
                            <a:pt x="313689" y="215067"/>
                            <a:pt x="313689" y="215186"/>
                          </a:cubicBezTo>
                          <a:cubicBezTo>
                            <a:pt x="313689" y="215306"/>
                            <a:pt x="313689" y="215366"/>
                            <a:pt x="313629" y="215485"/>
                          </a:cubicBezTo>
                          <a:cubicBezTo>
                            <a:pt x="313450" y="215545"/>
                            <a:pt x="313450" y="215605"/>
                            <a:pt x="313450" y="215725"/>
                          </a:cubicBezTo>
                          <a:moveTo>
                            <a:pt x="306273" y="210940"/>
                          </a:moveTo>
                          <a:lnTo>
                            <a:pt x="312493" y="215067"/>
                          </a:lnTo>
                          <a:cubicBezTo>
                            <a:pt x="312493" y="214947"/>
                            <a:pt x="312493" y="214827"/>
                            <a:pt x="312493" y="214708"/>
                          </a:cubicBezTo>
                          <a:cubicBezTo>
                            <a:pt x="312493" y="214588"/>
                            <a:pt x="312493" y="214469"/>
                            <a:pt x="312493" y="214349"/>
                          </a:cubicBezTo>
                          <a:cubicBezTo>
                            <a:pt x="312493" y="214229"/>
                            <a:pt x="312493" y="214110"/>
                            <a:pt x="312433" y="213990"/>
                          </a:cubicBezTo>
                          <a:cubicBezTo>
                            <a:pt x="312373" y="213871"/>
                            <a:pt x="312373" y="213751"/>
                            <a:pt x="312373" y="213631"/>
                          </a:cubicBezTo>
                          <a:lnTo>
                            <a:pt x="307648" y="210521"/>
                          </a:lnTo>
                          <a:cubicBezTo>
                            <a:pt x="307529" y="210521"/>
                            <a:pt x="307409" y="210581"/>
                            <a:pt x="307290" y="210581"/>
                          </a:cubicBezTo>
                          <a:cubicBezTo>
                            <a:pt x="307170" y="210581"/>
                            <a:pt x="307050" y="210641"/>
                            <a:pt x="306931" y="210641"/>
                          </a:cubicBezTo>
                          <a:cubicBezTo>
                            <a:pt x="306811" y="210641"/>
                            <a:pt x="306692" y="210701"/>
                            <a:pt x="306572" y="210761"/>
                          </a:cubicBezTo>
                          <a:cubicBezTo>
                            <a:pt x="306512" y="210880"/>
                            <a:pt x="306393" y="210940"/>
                            <a:pt x="306273" y="210940"/>
                          </a:cubicBezTo>
                          <a:moveTo>
                            <a:pt x="301668" y="207890"/>
                          </a:moveTo>
                          <a:lnTo>
                            <a:pt x="305316" y="210282"/>
                          </a:lnTo>
                          <a:cubicBezTo>
                            <a:pt x="305436" y="210222"/>
                            <a:pt x="305495" y="210162"/>
                            <a:pt x="305615" y="210162"/>
                          </a:cubicBezTo>
                          <a:cubicBezTo>
                            <a:pt x="305735" y="210162"/>
                            <a:pt x="305794" y="210103"/>
                            <a:pt x="305914" y="210043"/>
                          </a:cubicBezTo>
                          <a:cubicBezTo>
                            <a:pt x="306034" y="209983"/>
                            <a:pt x="306093" y="209983"/>
                            <a:pt x="306213" y="209923"/>
                          </a:cubicBezTo>
                          <a:cubicBezTo>
                            <a:pt x="306333" y="209863"/>
                            <a:pt x="306393" y="209863"/>
                            <a:pt x="306512" y="209803"/>
                          </a:cubicBezTo>
                          <a:lnTo>
                            <a:pt x="302565" y="207172"/>
                          </a:lnTo>
                          <a:cubicBezTo>
                            <a:pt x="302505" y="207232"/>
                            <a:pt x="302385" y="207292"/>
                            <a:pt x="302325" y="207352"/>
                          </a:cubicBezTo>
                          <a:cubicBezTo>
                            <a:pt x="302266" y="207411"/>
                            <a:pt x="302146" y="207471"/>
                            <a:pt x="302086" y="207531"/>
                          </a:cubicBezTo>
                          <a:cubicBezTo>
                            <a:pt x="302026" y="207591"/>
                            <a:pt x="301907" y="207650"/>
                            <a:pt x="301847" y="207710"/>
                          </a:cubicBezTo>
                          <a:cubicBezTo>
                            <a:pt x="301787" y="207770"/>
                            <a:pt x="301728" y="207830"/>
                            <a:pt x="301668" y="207890"/>
                          </a:cubicBezTo>
                          <a:moveTo>
                            <a:pt x="294850" y="203404"/>
                          </a:moveTo>
                          <a:lnTo>
                            <a:pt x="300890" y="207411"/>
                          </a:lnTo>
                          <a:cubicBezTo>
                            <a:pt x="300950" y="207352"/>
                            <a:pt x="301070" y="207292"/>
                            <a:pt x="301130" y="207232"/>
                          </a:cubicBezTo>
                          <a:cubicBezTo>
                            <a:pt x="301189" y="207172"/>
                            <a:pt x="301309" y="207112"/>
                            <a:pt x="301369" y="207053"/>
                          </a:cubicBezTo>
                          <a:cubicBezTo>
                            <a:pt x="301429" y="206993"/>
                            <a:pt x="301548" y="206933"/>
                            <a:pt x="301608" y="206873"/>
                          </a:cubicBezTo>
                          <a:cubicBezTo>
                            <a:pt x="301668" y="206813"/>
                            <a:pt x="301787" y="206754"/>
                            <a:pt x="301847" y="206694"/>
                          </a:cubicBezTo>
                          <a:lnTo>
                            <a:pt x="295568" y="202507"/>
                          </a:lnTo>
                          <a:lnTo>
                            <a:pt x="294850" y="203404"/>
                          </a:lnTo>
                          <a:moveTo>
                            <a:pt x="281453" y="194493"/>
                          </a:moveTo>
                          <a:lnTo>
                            <a:pt x="294072" y="202866"/>
                          </a:lnTo>
                          <a:lnTo>
                            <a:pt x="294730" y="201969"/>
                          </a:lnTo>
                          <a:lnTo>
                            <a:pt x="282111" y="193596"/>
                          </a:lnTo>
                          <a:lnTo>
                            <a:pt x="281453" y="194493"/>
                          </a:lnTo>
                          <a:moveTo>
                            <a:pt x="277207" y="191622"/>
                          </a:moveTo>
                          <a:lnTo>
                            <a:pt x="280735" y="193955"/>
                          </a:lnTo>
                          <a:lnTo>
                            <a:pt x="281453" y="193057"/>
                          </a:lnTo>
                          <a:lnTo>
                            <a:pt x="277924" y="190725"/>
                          </a:lnTo>
                          <a:lnTo>
                            <a:pt x="277207" y="191622"/>
                          </a:lnTo>
                          <a:moveTo>
                            <a:pt x="274097" y="189589"/>
                          </a:moveTo>
                          <a:lnTo>
                            <a:pt x="276429" y="191144"/>
                          </a:lnTo>
                          <a:lnTo>
                            <a:pt x="277147" y="190247"/>
                          </a:lnTo>
                          <a:lnTo>
                            <a:pt x="274575" y="188512"/>
                          </a:lnTo>
                          <a:cubicBezTo>
                            <a:pt x="274515" y="188572"/>
                            <a:pt x="274515" y="188692"/>
                            <a:pt x="274455" y="188752"/>
                          </a:cubicBezTo>
                          <a:cubicBezTo>
                            <a:pt x="274396" y="188811"/>
                            <a:pt x="274396" y="188931"/>
                            <a:pt x="274336" y="188991"/>
                          </a:cubicBezTo>
                          <a:cubicBezTo>
                            <a:pt x="274276" y="189051"/>
                            <a:pt x="274276" y="189170"/>
                            <a:pt x="274216" y="189230"/>
                          </a:cubicBezTo>
                          <a:cubicBezTo>
                            <a:pt x="274156" y="189409"/>
                            <a:pt x="274097" y="189469"/>
                            <a:pt x="274097" y="189589"/>
                          </a:cubicBezTo>
                          <a:moveTo>
                            <a:pt x="269551" y="186599"/>
                          </a:moveTo>
                          <a:lnTo>
                            <a:pt x="273259" y="189051"/>
                          </a:lnTo>
                          <a:cubicBezTo>
                            <a:pt x="273319" y="188991"/>
                            <a:pt x="273319" y="188871"/>
                            <a:pt x="273379" y="188811"/>
                          </a:cubicBezTo>
                          <a:cubicBezTo>
                            <a:pt x="273439" y="188752"/>
                            <a:pt x="273439" y="188632"/>
                            <a:pt x="273499" y="188572"/>
                          </a:cubicBezTo>
                          <a:cubicBezTo>
                            <a:pt x="273558" y="188512"/>
                            <a:pt x="273558" y="188393"/>
                            <a:pt x="273618" y="188333"/>
                          </a:cubicBezTo>
                          <a:cubicBezTo>
                            <a:pt x="273678" y="188273"/>
                            <a:pt x="273678" y="188153"/>
                            <a:pt x="273738" y="188094"/>
                          </a:cubicBezTo>
                          <a:lnTo>
                            <a:pt x="269790" y="185462"/>
                          </a:lnTo>
                          <a:cubicBezTo>
                            <a:pt x="269790" y="185582"/>
                            <a:pt x="269790" y="185641"/>
                            <a:pt x="269790" y="185761"/>
                          </a:cubicBezTo>
                          <a:cubicBezTo>
                            <a:pt x="269790" y="185881"/>
                            <a:pt x="269790" y="186000"/>
                            <a:pt x="269790" y="186060"/>
                          </a:cubicBezTo>
                          <a:cubicBezTo>
                            <a:pt x="269790" y="186180"/>
                            <a:pt x="269790" y="186299"/>
                            <a:pt x="269731" y="186359"/>
                          </a:cubicBezTo>
                          <a:cubicBezTo>
                            <a:pt x="269611" y="186359"/>
                            <a:pt x="269551" y="186479"/>
                            <a:pt x="269551" y="186599"/>
                          </a:cubicBezTo>
                          <a:moveTo>
                            <a:pt x="263690" y="182711"/>
                          </a:moveTo>
                          <a:lnTo>
                            <a:pt x="268594" y="185940"/>
                          </a:lnTo>
                          <a:cubicBezTo>
                            <a:pt x="268594" y="185821"/>
                            <a:pt x="268594" y="185701"/>
                            <a:pt x="268594" y="185582"/>
                          </a:cubicBezTo>
                          <a:cubicBezTo>
                            <a:pt x="268594" y="185462"/>
                            <a:pt x="268594" y="185342"/>
                            <a:pt x="268594" y="185223"/>
                          </a:cubicBezTo>
                          <a:cubicBezTo>
                            <a:pt x="268594" y="185103"/>
                            <a:pt x="268594" y="184984"/>
                            <a:pt x="268535" y="184864"/>
                          </a:cubicBezTo>
                          <a:cubicBezTo>
                            <a:pt x="268535" y="184744"/>
                            <a:pt x="268475" y="184625"/>
                            <a:pt x="268475" y="184505"/>
                          </a:cubicBezTo>
                          <a:lnTo>
                            <a:pt x="264408" y="181814"/>
                          </a:lnTo>
                          <a:lnTo>
                            <a:pt x="263690" y="182711"/>
                          </a:lnTo>
                          <a:moveTo>
                            <a:pt x="262015" y="181575"/>
                          </a:moveTo>
                          <a:lnTo>
                            <a:pt x="262913" y="182173"/>
                          </a:lnTo>
                          <a:lnTo>
                            <a:pt x="263630" y="181276"/>
                          </a:lnTo>
                          <a:lnTo>
                            <a:pt x="263570" y="181216"/>
                          </a:lnTo>
                          <a:cubicBezTo>
                            <a:pt x="263451" y="181216"/>
                            <a:pt x="263331" y="181216"/>
                            <a:pt x="263212" y="181276"/>
                          </a:cubicBezTo>
                          <a:cubicBezTo>
                            <a:pt x="263092" y="181276"/>
                            <a:pt x="262973" y="181336"/>
                            <a:pt x="262853" y="181336"/>
                          </a:cubicBezTo>
                          <a:cubicBezTo>
                            <a:pt x="262733" y="181336"/>
                            <a:pt x="262614" y="181395"/>
                            <a:pt x="262494" y="181455"/>
                          </a:cubicBezTo>
                          <a:cubicBezTo>
                            <a:pt x="262255" y="181455"/>
                            <a:pt x="262135" y="181515"/>
                            <a:pt x="262015" y="181575"/>
                          </a:cubicBezTo>
                          <a:moveTo>
                            <a:pt x="257171" y="178345"/>
                          </a:moveTo>
                          <a:lnTo>
                            <a:pt x="260999" y="180917"/>
                          </a:lnTo>
                          <a:cubicBezTo>
                            <a:pt x="261119" y="180857"/>
                            <a:pt x="261238" y="180797"/>
                            <a:pt x="261298" y="180797"/>
                          </a:cubicBezTo>
                          <a:cubicBezTo>
                            <a:pt x="261418" y="180737"/>
                            <a:pt x="261537" y="180737"/>
                            <a:pt x="261597" y="180677"/>
                          </a:cubicBezTo>
                          <a:cubicBezTo>
                            <a:pt x="261716" y="180618"/>
                            <a:pt x="261836" y="180618"/>
                            <a:pt x="261896" y="180558"/>
                          </a:cubicBezTo>
                          <a:cubicBezTo>
                            <a:pt x="262015" y="180498"/>
                            <a:pt x="262135" y="180498"/>
                            <a:pt x="262195" y="180438"/>
                          </a:cubicBezTo>
                          <a:lnTo>
                            <a:pt x="258068" y="177687"/>
                          </a:lnTo>
                          <a:cubicBezTo>
                            <a:pt x="258008" y="177747"/>
                            <a:pt x="257889" y="177807"/>
                            <a:pt x="257829" y="177867"/>
                          </a:cubicBezTo>
                          <a:cubicBezTo>
                            <a:pt x="257769" y="177926"/>
                            <a:pt x="257650" y="177986"/>
                            <a:pt x="257590" y="178046"/>
                          </a:cubicBezTo>
                          <a:cubicBezTo>
                            <a:pt x="257530" y="178106"/>
                            <a:pt x="257411" y="178166"/>
                            <a:pt x="257351" y="178225"/>
                          </a:cubicBezTo>
                          <a:cubicBezTo>
                            <a:pt x="257351" y="178225"/>
                            <a:pt x="257291" y="178285"/>
                            <a:pt x="257171" y="178345"/>
                          </a:cubicBezTo>
                          <a:moveTo>
                            <a:pt x="253284" y="175773"/>
                          </a:moveTo>
                          <a:lnTo>
                            <a:pt x="256394" y="177867"/>
                          </a:lnTo>
                          <a:cubicBezTo>
                            <a:pt x="256453" y="177807"/>
                            <a:pt x="256573" y="177747"/>
                            <a:pt x="256633" y="177687"/>
                          </a:cubicBezTo>
                          <a:cubicBezTo>
                            <a:pt x="256693" y="177628"/>
                            <a:pt x="256812" y="177568"/>
                            <a:pt x="256872" y="177508"/>
                          </a:cubicBezTo>
                          <a:cubicBezTo>
                            <a:pt x="256932" y="177448"/>
                            <a:pt x="257052" y="177388"/>
                            <a:pt x="257111" y="177328"/>
                          </a:cubicBezTo>
                          <a:cubicBezTo>
                            <a:pt x="257171" y="177268"/>
                            <a:pt x="257291" y="177209"/>
                            <a:pt x="257351" y="177149"/>
                          </a:cubicBezTo>
                          <a:lnTo>
                            <a:pt x="253942" y="174876"/>
                          </a:lnTo>
                          <a:lnTo>
                            <a:pt x="253284" y="175773"/>
                          </a:lnTo>
                          <a:moveTo>
                            <a:pt x="138095" y="99220"/>
                          </a:moveTo>
                          <a:lnTo>
                            <a:pt x="252446" y="175235"/>
                          </a:lnTo>
                          <a:lnTo>
                            <a:pt x="253164" y="174338"/>
                          </a:lnTo>
                          <a:lnTo>
                            <a:pt x="138753" y="98203"/>
                          </a:lnTo>
                          <a:cubicBezTo>
                            <a:pt x="138693" y="98263"/>
                            <a:pt x="138633" y="98383"/>
                            <a:pt x="138574" y="98442"/>
                          </a:cubicBezTo>
                          <a:cubicBezTo>
                            <a:pt x="138514" y="98502"/>
                            <a:pt x="138454" y="98622"/>
                            <a:pt x="138394" y="98682"/>
                          </a:cubicBezTo>
                          <a:cubicBezTo>
                            <a:pt x="138334" y="98742"/>
                            <a:pt x="138274" y="98861"/>
                            <a:pt x="138214" y="98921"/>
                          </a:cubicBezTo>
                          <a:cubicBezTo>
                            <a:pt x="138155" y="98981"/>
                            <a:pt x="138155" y="99160"/>
                            <a:pt x="138095" y="99220"/>
                          </a:cubicBezTo>
                          <a:moveTo>
                            <a:pt x="136002" y="97845"/>
                          </a:moveTo>
                          <a:lnTo>
                            <a:pt x="137198" y="98622"/>
                          </a:lnTo>
                          <a:cubicBezTo>
                            <a:pt x="137258" y="98562"/>
                            <a:pt x="137318" y="98442"/>
                            <a:pt x="137377" y="98383"/>
                          </a:cubicBezTo>
                          <a:cubicBezTo>
                            <a:pt x="137437" y="98323"/>
                            <a:pt x="137497" y="98203"/>
                            <a:pt x="137557" y="98143"/>
                          </a:cubicBezTo>
                          <a:cubicBezTo>
                            <a:pt x="137616" y="98084"/>
                            <a:pt x="137676" y="97964"/>
                            <a:pt x="137736" y="97904"/>
                          </a:cubicBezTo>
                          <a:cubicBezTo>
                            <a:pt x="137796" y="97845"/>
                            <a:pt x="137856" y="97725"/>
                            <a:pt x="137915" y="97665"/>
                          </a:cubicBezTo>
                          <a:lnTo>
                            <a:pt x="136719" y="96888"/>
                          </a:lnTo>
                          <a:cubicBezTo>
                            <a:pt x="136660" y="96947"/>
                            <a:pt x="136600" y="97067"/>
                            <a:pt x="136540" y="97127"/>
                          </a:cubicBezTo>
                          <a:cubicBezTo>
                            <a:pt x="136480" y="97187"/>
                            <a:pt x="136420" y="97306"/>
                            <a:pt x="136360" y="97366"/>
                          </a:cubicBezTo>
                          <a:cubicBezTo>
                            <a:pt x="136301" y="97426"/>
                            <a:pt x="136241" y="97546"/>
                            <a:pt x="136181" y="97605"/>
                          </a:cubicBezTo>
                          <a:cubicBezTo>
                            <a:pt x="136061" y="97665"/>
                            <a:pt x="136061" y="97725"/>
                            <a:pt x="136002" y="97845"/>
                          </a:cubicBezTo>
                          <a:moveTo>
                            <a:pt x="132294" y="95393"/>
                          </a:moveTo>
                          <a:lnTo>
                            <a:pt x="135045" y="97247"/>
                          </a:lnTo>
                          <a:cubicBezTo>
                            <a:pt x="135105" y="97187"/>
                            <a:pt x="135165" y="97067"/>
                            <a:pt x="135224" y="97007"/>
                          </a:cubicBezTo>
                          <a:cubicBezTo>
                            <a:pt x="135284" y="96947"/>
                            <a:pt x="135344" y="96828"/>
                            <a:pt x="135404" y="96768"/>
                          </a:cubicBezTo>
                          <a:cubicBezTo>
                            <a:pt x="135464" y="96708"/>
                            <a:pt x="135523" y="96588"/>
                            <a:pt x="135583" y="96529"/>
                          </a:cubicBezTo>
                          <a:cubicBezTo>
                            <a:pt x="135643" y="96469"/>
                            <a:pt x="135703" y="96349"/>
                            <a:pt x="135762" y="96289"/>
                          </a:cubicBezTo>
                          <a:lnTo>
                            <a:pt x="133071" y="94495"/>
                          </a:lnTo>
                          <a:cubicBezTo>
                            <a:pt x="133011" y="94555"/>
                            <a:pt x="132952" y="94675"/>
                            <a:pt x="132892" y="94734"/>
                          </a:cubicBezTo>
                          <a:cubicBezTo>
                            <a:pt x="132832" y="94794"/>
                            <a:pt x="132772" y="94914"/>
                            <a:pt x="132712" y="94974"/>
                          </a:cubicBezTo>
                          <a:cubicBezTo>
                            <a:pt x="132652" y="95033"/>
                            <a:pt x="132593" y="95153"/>
                            <a:pt x="132533" y="95213"/>
                          </a:cubicBezTo>
                          <a:cubicBezTo>
                            <a:pt x="132413" y="95213"/>
                            <a:pt x="132353" y="95273"/>
                            <a:pt x="132294" y="95393"/>
                          </a:cubicBezTo>
                          <a:moveTo>
                            <a:pt x="130200" y="93957"/>
                          </a:moveTo>
                          <a:lnTo>
                            <a:pt x="131397" y="94734"/>
                          </a:lnTo>
                          <a:cubicBezTo>
                            <a:pt x="131457" y="94675"/>
                            <a:pt x="131516" y="94555"/>
                            <a:pt x="131576" y="94495"/>
                          </a:cubicBezTo>
                          <a:cubicBezTo>
                            <a:pt x="131636" y="94435"/>
                            <a:pt x="131696" y="94316"/>
                            <a:pt x="131755" y="94256"/>
                          </a:cubicBezTo>
                          <a:cubicBezTo>
                            <a:pt x="131815" y="94196"/>
                            <a:pt x="131875" y="94077"/>
                            <a:pt x="131935" y="94017"/>
                          </a:cubicBezTo>
                          <a:cubicBezTo>
                            <a:pt x="131995" y="93957"/>
                            <a:pt x="132054" y="93838"/>
                            <a:pt x="132114" y="93778"/>
                          </a:cubicBezTo>
                          <a:lnTo>
                            <a:pt x="130918" y="93000"/>
                          </a:lnTo>
                          <a:cubicBezTo>
                            <a:pt x="130858" y="93060"/>
                            <a:pt x="130798" y="93179"/>
                            <a:pt x="130739" y="93239"/>
                          </a:cubicBezTo>
                          <a:cubicBezTo>
                            <a:pt x="130679" y="93299"/>
                            <a:pt x="130619" y="93419"/>
                            <a:pt x="130559" y="93479"/>
                          </a:cubicBezTo>
                          <a:cubicBezTo>
                            <a:pt x="130499" y="93538"/>
                            <a:pt x="130440" y="93658"/>
                            <a:pt x="130380" y="93718"/>
                          </a:cubicBezTo>
                          <a:cubicBezTo>
                            <a:pt x="130320" y="93778"/>
                            <a:pt x="130260" y="93897"/>
                            <a:pt x="130200" y="93957"/>
                          </a:cubicBezTo>
                          <a:moveTo>
                            <a:pt x="126253" y="91385"/>
                          </a:moveTo>
                          <a:lnTo>
                            <a:pt x="129243" y="93359"/>
                          </a:lnTo>
                          <a:cubicBezTo>
                            <a:pt x="129303" y="93299"/>
                            <a:pt x="129363" y="93179"/>
                            <a:pt x="129423" y="93120"/>
                          </a:cubicBezTo>
                          <a:cubicBezTo>
                            <a:pt x="129483" y="93060"/>
                            <a:pt x="129543" y="92940"/>
                            <a:pt x="129603" y="92880"/>
                          </a:cubicBezTo>
                          <a:cubicBezTo>
                            <a:pt x="129662" y="92821"/>
                            <a:pt x="129722" y="92701"/>
                            <a:pt x="129782" y="92641"/>
                          </a:cubicBezTo>
                          <a:cubicBezTo>
                            <a:pt x="129842" y="92581"/>
                            <a:pt x="129901" y="92462"/>
                            <a:pt x="129961" y="92402"/>
                          </a:cubicBezTo>
                          <a:lnTo>
                            <a:pt x="127030" y="90488"/>
                          </a:lnTo>
                          <a:cubicBezTo>
                            <a:pt x="126971" y="90548"/>
                            <a:pt x="126911" y="90668"/>
                            <a:pt x="126851" y="90727"/>
                          </a:cubicBezTo>
                          <a:cubicBezTo>
                            <a:pt x="126791" y="90787"/>
                            <a:pt x="126732" y="90907"/>
                            <a:pt x="126672" y="90967"/>
                          </a:cubicBezTo>
                          <a:cubicBezTo>
                            <a:pt x="126612" y="91026"/>
                            <a:pt x="126552" y="91146"/>
                            <a:pt x="126492" y="91206"/>
                          </a:cubicBezTo>
                          <a:cubicBezTo>
                            <a:pt x="126433" y="91266"/>
                            <a:pt x="126373" y="91325"/>
                            <a:pt x="126253" y="91385"/>
                          </a:cubicBezTo>
                          <a:moveTo>
                            <a:pt x="124160" y="89950"/>
                          </a:moveTo>
                          <a:lnTo>
                            <a:pt x="125356" y="90727"/>
                          </a:lnTo>
                          <a:cubicBezTo>
                            <a:pt x="125416" y="90668"/>
                            <a:pt x="125476" y="90548"/>
                            <a:pt x="125535" y="90488"/>
                          </a:cubicBezTo>
                          <a:cubicBezTo>
                            <a:pt x="125595" y="90428"/>
                            <a:pt x="125655" y="90309"/>
                            <a:pt x="125715" y="90249"/>
                          </a:cubicBezTo>
                          <a:cubicBezTo>
                            <a:pt x="125775" y="90189"/>
                            <a:pt x="125835" y="90070"/>
                            <a:pt x="125894" y="90010"/>
                          </a:cubicBezTo>
                          <a:cubicBezTo>
                            <a:pt x="125954" y="89950"/>
                            <a:pt x="126014" y="89830"/>
                            <a:pt x="126074" y="89771"/>
                          </a:cubicBezTo>
                          <a:lnTo>
                            <a:pt x="124878" y="88993"/>
                          </a:lnTo>
                          <a:cubicBezTo>
                            <a:pt x="124818" y="89053"/>
                            <a:pt x="124758" y="89172"/>
                            <a:pt x="124698" y="89232"/>
                          </a:cubicBezTo>
                          <a:cubicBezTo>
                            <a:pt x="124638" y="89292"/>
                            <a:pt x="124579" y="89412"/>
                            <a:pt x="124519" y="89471"/>
                          </a:cubicBezTo>
                          <a:cubicBezTo>
                            <a:pt x="124459" y="89531"/>
                            <a:pt x="124399" y="89651"/>
                            <a:pt x="124339" y="89711"/>
                          </a:cubicBezTo>
                          <a:cubicBezTo>
                            <a:pt x="124280" y="89771"/>
                            <a:pt x="124220" y="89890"/>
                            <a:pt x="124160" y="89950"/>
                          </a:cubicBezTo>
                          <a:moveTo>
                            <a:pt x="100357" y="74161"/>
                          </a:moveTo>
                          <a:lnTo>
                            <a:pt x="123203" y="89352"/>
                          </a:lnTo>
                          <a:cubicBezTo>
                            <a:pt x="123263" y="89292"/>
                            <a:pt x="123322" y="89172"/>
                            <a:pt x="123382" y="89113"/>
                          </a:cubicBezTo>
                          <a:cubicBezTo>
                            <a:pt x="123442" y="89053"/>
                            <a:pt x="123502" y="88933"/>
                            <a:pt x="123562" y="88873"/>
                          </a:cubicBezTo>
                          <a:cubicBezTo>
                            <a:pt x="123622" y="88814"/>
                            <a:pt x="123681" y="88694"/>
                            <a:pt x="123741" y="88634"/>
                          </a:cubicBezTo>
                          <a:cubicBezTo>
                            <a:pt x="123801" y="88574"/>
                            <a:pt x="123861" y="88455"/>
                            <a:pt x="123921" y="88395"/>
                          </a:cubicBezTo>
                          <a:lnTo>
                            <a:pt x="101014" y="73144"/>
                          </a:lnTo>
                          <a:lnTo>
                            <a:pt x="100357" y="74161"/>
                          </a:lnTo>
                          <a:moveTo>
                            <a:pt x="94854" y="70513"/>
                          </a:moveTo>
                          <a:lnTo>
                            <a:pt x="99400" y="73503"/>
                          </a:lnTo>
                          <a:lnTo>
                            <a:pt x="100177" y="72546"/>
                          </a:lnTo>
                          <a:lnTo>
                            <a:pt x="95333" y="69316"/>
                          </a:lnTo>
                          <a:cubicBezTo>
                            <a:pt x="95273" y="69436"/>
                            <a:pt x="95273" y="69496"/>
                            <a:pt x="95213" y="69615"/>
                          </a:cubicBezTo>
                          <a:cubicBezTo>
                            <a:pt x="95154" y="69735"/>
                            <a:pt x="95154" y="69795"/>
                            <a:pt x="95094" y="69915"/>
                          </a:cubicBezTo>
                          <a:cubicBezTo>
                            <a:pt x="95034" y="70034"/>
                            <a:pt x="95034" y="70094"/>
                            <a:pt x="94974" y="70214"/>
                          </a:cubicBezTo>
                          <a:cubicBezTo>
                            <a:pt x="94914" y="70333"/>
                            <a:pt x="94914" y="70393"/>
                            <a:pt x="94854" y="70513"/>
                          </a:cubicBezTo>
                          <a:moveTo>
                            <a:pt x="89352" y="66864"/>
                          </a:moveTo>
                          <a:lnTo>
                            <a:pt x="93838" y="69855"/>
                          </a:lnTo>
                          <a:cubicBezTo>
                            <a:pt x="93897" y="69735"/>
                            <a:pt x="93897" y="69675"/>
                            <a:pt x="93957" y="69556"/>
                          </a:cubicBezTo>
                          <a:cubicBezTo>
                            <a:pt x="94017" y="69436"/>
                            <a:pt x="94017" y="69376"/>
                            <a:pt x="94077" y="69256"/>
                          </a:cubicBezTo>
                          <a:cubicBezTo>
                            <a:pt x="94137" y="69137"/>
                            <a:pt x="94137" y="69077"/>
                            <a:pt x="94196" y="68958"/>
                          </a:cubicBezTo>
                          <a:cubicBezTo>
                            <a:pt x="94256" y="68838"/>
                            <a:pt x="94256" y="68778"/>
                            <a:pt x="94316" y="68659"/>
                          </a:cubicBezTo>
                          <a:lnTo>
                            <a:pt x="89472" y="65429"/>
                          </a:lnTo>
                          <a:cubicBezTo>
                            <a:pt x="89472" y="65548"/>
                            <a:pt x="89472" y="65668"/>
                            <a:pt x="89472" y="65788"/>
                          </a:cubicBezTo>
                          <a:cubicBezTo>
                            <a:pt x="89472" y="65907"/>
                            <a:pt x="89472" y="66027"/>
                            <a:pt x="89472" y="66147"/>
                          </a:cubicBezTo>
                          <a:cubicBezTo>
                            <a:pt x="89472" y="66266"/>
                            <a:pt x="89472" y="66386"/>
                            <a:pt x="89472" y="66506"/>
                          </a:cubicBezTo>
                          <a:cubicBezTo>
                            <a:pt x="89472" y="66625"/>
                            <a:pt x="89412" y="66745"/>
                            <a:pt x="89352" y="66864"/>
                          </a:cubicBezTo>
                          <a:moveTo>
                            <a:pt x="80202" y="60764"/>
                          </a:moveTo>
                          <a:lnTo>
                            <a:pt x="88156" y="66027"/>
                          </a:lnTo>
                          <a:cubicBezTo>
                            <a:pt x="88156" y="65907"/>
                            <a:pt x="88156" y="65728"/>
                            <a:pt x="88156" y="65608"/>
                          </a:cubicBezTo>
                          <a:cubicBezTo>
                            <a:pt x="88156" y="65489"/>
                            <a:pt x="88156" y="65309"/>
                            <a:pt x="88096" y="65190"/>
                          </a:cubicBezTo>
                          <a:cubicBezTo>
                            <a:pt x="88036" y="65070"/>
                            <a:pt x="88036" y="64891"/>
                            <a:pt x="88036" y="64771"/>
                          </a:cubicBezTo>
                          <a:cubicBezTo>
                            <a:pt x="88036" y="64652"/>
                            <a:pt x="87977" y="64532"/>
                            <a:pt x="87917" y="64353"/>
                          </a:cubicBezTo>
                          <a:lnTo>
                            <a:pt x="81936" y="60345"/>
                          </a:lnTo>
                          <a:cubicBezTo>
                            <a:pt x="81816" y="60345"/>
                            <a:pt x="81637" y="60345"/>
                            <a:pt x="81517" y="60405"/>
                          </a:cubicBezTo>
                          <a:cubicBezTo>
                            <a:pt x="81398" y="60465"/>
                            <a:pt x="81218" y="60465"/>
                            <a:pt x="81099" y="60465"/>
                          </a:cubicBezTo>
                          <a:cubicBezTo>
                            <a:pt x="80979" y="60465"/>
                            <a:pt x="80800" y="60525"/>
                            <a:pt x="80680" y="60585"/>
                          </a:cubicBezTo>
                          <a:cubicBezTo>
                            <a:pt x="80501" y="60704"/>
                            <a:pt x="80381" y="60704"/>
                            <a:pt x="80202" y="60764"/>
                          </a:cubicBezTo>
                          <a:moveTo>
                            <a:pt x="74400" y="56936"/>
                          </a:moveTo>
                          <a:lnTo>
                            <a:pt x="79065" y="60046"/>
                          </a:lnTo>
                          <a:cubicBezTo>
                            <a:pt x="79185" y="59986"/>
                            <a:pt x="79304" y="59927"/>
                            <a:pt x="79424" y="59867"/>
                          </a:cubicBezTo>
                          <a:cubicBezTo>
                            <a:pt x="79544" y="59807"/>
                            <a:pt x="79663" y="59747"/>
                            <a:pt x="79783" y="59747"/>
                          </a:cubicBezTo>
                          <a:cubicBezTo>
                            <a:pt x="79902" y="59687"/>
                            <a:pt x="80022" y="59687"/>
                            <a:pt x="80142" y="59628"/>
                          </a:cubicBezTo>
                          <a:cubicBezTo>
                            <a:pt x="80262" y="59568"/>
                            <a:pt x="80381" y="59568"/>
                            <a:pt x="80501" y="59508"/>
                          </a:cubicBezTo>
                          <a:lnTo>
                            <a:pt x="75477" y="56159"/>
                          </a:lnTo>
                          <a:cubicBezTo>
                            <a:pt x="75357" y="56219"/>
                            <a:pt x="75297" y="56278"/>
                            <a:pt x="75178" y="56338"/>
                          </a:cubicBezTo>
                          <a:cubicBezTo>
                            <a:pt x="75058" y="56398"/>
                            <a:pt x="74998" y="56458"/>
                            <a:pt x="74879" y="56518"/>
                          </a:cubicBezTo>
                          <a:cubicBezTo>
                            <a:pt x="74759" y="56577"/>
                            <a:pt x="74699" y="56637"/>
                            <a:pt x="74580" y="56697"/>
                          </a:cubicBezTo>
                          <a:cubicBezTo>
                            <a:pt x="74580" y="56757"/>
                            <a:pt x="74520" y="56817"/>
                            <a:pt x="74400" y="56936"/>
                          </a:cubicBezTo>
                          <a:moveTo>
                            <a:pt x="65669" y="51135"/>
                          </a:moveTo>
                          <a:lnTo>
                            <a:pt x="73384" y="56278"/>
                          </a:lnTo>
                          <a:cubicBezTo>
                            <a:pt x="73443" y="56219"/>
                            <a:pt x="73563" y="56159"/>
                            <a:pt x="73623" y="56099"/>
                          </a:cubicBezTo>
                          <a:cubicBezTo>
                            <a:pt x="73683" y="56039"/>
                            <a:pt x="73802" y="55979"/>
                            <a:pt x="73922" y="55920"/>
                          </a:cubicBezTo>
                          <a:cubicBezTo>
                            <a:pt x="74041" y="55860"/>
                            <a:pt x="74101" y="55800"/>
                            <a:pt x="74221" y="55740"/>
                          </a:cubicBezTo>
                          <a:cubicBezTo>
                            <a:pt x="74340" y="55681"/>
                            <a:pt x="74400" y="55621"/>
                            <a:pt x="74520" y="55561"/>
                          </a:cubicBezTo>
                          <a:lnTo>
                            <a:pt x="66506" y="50238"/>
                          </a:lnTo>
                          <a:lnTo>
                            <a:pt x="65669" y="51135"/>
                          </a:lnTo>
                          <a:moveTo>
                            <a:pt x="48563" y="39712"/>
                          </a:moveTo>
                          <a:lnTo>
                            <a:pt x="64652" y="50417"/>
                          </a:lnTo>
                          <a:lnTo>
                            <a:pt x="65429" y="49460"/>
                          </a:lnTo>
                          <a:lnTo>
                            <a:pt x="49341" y="38755"/>
                          </a:lnTo>
                          <a:lnTo>
                            <a:pt x="48563" y="39712"/>
                          </a:lnTo>
                          <a:moveTo>
                            <a:pt x="43061" y="36064"/>
                          </a:moveTo>
                          <a:lnTo>
                            <a:pt x="47547" y="39054"/>
                          </a:lnTo>
                          <a:lnTo>
                            <a:pt x="48324" y="38037"/>
                          </a:lnTo>
                          <a:lnTo>
                            <a:pt x="43839" y="35047"/>
                          </a:lnTo>
                          <a:lnTo>
                            <a:pt x="43061" y="36064"/>
                          </a:lnTo>
                          <a:moveTo>
                            <a:pt x="39114" y="33432"/>
                          </a:moveTo>
                          <a:lnTo>
                            <a:pt x="42105" y="35406"/>
                          </a:lnTo>
                          <a:lnTo>
                            <a:pt x="42882" y="34389"/>
                          </a:lnTo>
                          <a:lnTo>
                            <a:pt x="39592" y="32176"/>
                          </a:lnTo>
                          <a:cubicBezTo>
                            <a:pt x="39532" y="32296"/>
                            <a:pt x="39532" y="32356"/>
                            <a:pt x="39473" y="32475"/>
                          </a:cubicBezTo>
                          <a:cubicBezTo>
                            <a:pt x="39413" y="32595"/>
                            <a:pt x="39413" y="32655"/>
                            <a:pt x="39353" y="32774"/>
                          </a:cubicBezTo>
                          <a:cubicBezTo>
                            <a:pt x="39293" y="32894"/>
                            <a:pt x="39293" y="32954"/>
                            <a:pt x="39234" y="33073"/>
                          </a:cubicBezTo>
                          <a:cubicBezTo>
                            <a:pt x="39174" y="33253"/>
                            <a:pt x="39114" y="33313"/>
                            <a:pt x="39114" y="33432"/>
                          </a:cubicBezTo>
                          <a:moveTo>
                            <a:pt x="33313" y="29605"/>
                          </a:moveTo>
                          <a:lnTo>
                            <a:pt x="38037" y="32714"/>
                          </a:lnTo>
                          <a:cubicBezTo>
                            <a:pt x="38097" y="32595"/>
                            <a:pt x="38097" y="32535"/>
                            <a:pt x="38157" y="32415"/>
                          </a:cubicBezTo>
                          <a:cubicBezTo>
                            <a:pt x="38217" y="32296"/>
                            <a:pt x="38217" y="32236"/>
                            <a:pt x="38277" y="32116"/>
                          </a:cubicBezTo>
                          <a:cubicBezTo>
                            <a:pt x="38337" y="31997"/>
                            <a:pt x="38337" y="31937"/>
                            <a:pt x="38397" y="31817"/>
                          </a:cubicBezTo>
                          <a:cubicBezTo>
                            <a:pt x="38456" y="31698"/>
                            <a:pt x="38456" y="31638"/>
                            <a:pt x="38516" y="31518"/>
                          </a:cubicBezTo>
                          <a:lnTo>
                            <a:pt x="33432" y="28109"/>
                          </a:lnTo>
                          <a:cubicBezTo>
                            <a:pt x="33432" y="28229"/>
                            <a:pt x="33432" y="28349"/>
                            <a:pt x="33432" y="28468"/>
                          </a:cubicBezTo>
                          <a:cubicBezTo>
                            <a:pt x="33432" y="28588"/>
                            <a:pt x="33432" y="28707"/>
                            <a:pt x="33432" y="28827"/>
                          </a:cubicBezTo>
                          <a:cubicBezTo>
                            <a:pt x="33432" y="28946"/>
                            <a:pt x="33432" y="29066"/>
                            <a:pt x="33432" y="29186"/>
                          </a:cubicBezTo>
                          <a:cubicBezTo>
                            <a:pt x="33313" y="29365"/>
                            <a:pt x="33313" y="29485"/>
                            <a:pt x="33313" y="29605"/>
                          </a:cubicBezTo>
                          <a:moveTo>
                            <a:pt x="25777" y="24581"/>
                          </a:moveTo>
                          <a:lnTo>
                            <a:pt x="32057" y="28767"/>
                          </a:lnTo>
                          <a:cubicBezTo>
                            <a:pt x="32057" y="28648"/>
                            <a:pt x="32057" y="28468"/>
                            <a:pt x="32057" y="28349"/>
                          </a:cubicBezTo>
                          <a:cubicBezTo>
                            <a:pt x="32057" y="28229"/>
                            <a:pt x="32057" y="28050"/>
                            <a:pt x="31997" y="27930"/>
                          </a:cubicBezTo>
                          <a:cubicBezTo>
                            <a:pt x="31997" y="27810"/>
                            <a:pt x="31937" y="27631"/>
                            <a:pt x="31937" y="27511"/>
                          </a:cubicBezTo>
                          <a:cubicBezTo>
                            <a:pt x="31937" y="27391"/>
                            <a:pt x="31877" y="27212"/>
                            <a:pt x="31817" y="27092"/>
                          </a:cubicBezTo>
                          <a:lnTo>
                            <a:pt x="26554" y="23624"/>
                          </a:lnTo>
                          <a:lnTo>
                            <a:pt x="25777" y="24581"/>
                          </a:lnTo>
                          <a:moveTo>
                            <a:pt x="23624" y="23145"/>
                          </a:moveTo>
                          <a:lnTo>
                            <a:pt x="24760" y="23863"/>
                          </a:lnTo>
                          <a:lnTo>
                            <a:pt x="25538" y="22846"/>
                          </a:lnTo>
                          <a:lnTo>
                            <a:pt x="25478" y="22787"/>
                          </a:lnTo>
                          <a:cubicBezTo>
                            <a:pt x="25299" y="22787"/>
                            <a:pt x="25179" y="22787"/>
                            <a:pt x="24999" y="22846"/>
                          </a:cubicBezTo>
                          <a:cubicBezTo>
                            <a:pt x="24820" y="22846"/>
                            <a:pt x="24700" y="22906"/>
                            <a:pt x="24521" y="22906"/>
                          </a:cubicBezTo>
                          <a:cubicBezTo>
                            <a:pt x="24342" y="22906"/>
                            <a:pt x="24222" y="22966"/>
                            <a:pt x="24043" y="23026"/>
                          </a:cubicBezTo>
                          <a:cubicBezTo>
                            <a:pt x="23923" y="23085"/>
                            <a:pt x="23804" y="23145"/>
                            <a:pt x="23624" y="23145"/>
                          </a:cubicBezTo>
                          <a:moveTo>
                            <a:pt x="17464" y="19079"/>
                          </a:moveTo>
                          <a:lnTo>
                            <a:pt x="22368" y="22368"/>
                          </a:lnTo>
                          <a:cubicBezTo>
                            <a:pt x="22488" y="22308"/>
                            <a:pt x="22607" y="22248"/>
                            <a:pt x="22727" y="22188"/>
                          </a:cubicBezTo>
                          <a:cubicBezTo>
                            <a:pt x="22846" y="22129"/>
                            <a:pt x="22966" y="22069"/>
                            <a:pt x="23086" y="22069"/>
                          </a:cubicBezTo>
                          <a:cubicBezTo>
                            <a:pt x="23205" y="22069"/>
                            <a:pt x="23325" y="22009"/>
                            <a:pt x="23504" y="21949"/>
                          </a:cubicBezTo>
                          <a:cubicBezTo>
                            <a:pt x="23684" y="21889"/>
                            <a:pt x="23744" y="21889"/>
                            <a:pt x="23923" y="21829"/>
                          </a:cubicBezTo>
                          <a:lnTo>
                            <a:pt x="18660" y="18301"/>
                          </a:lnTo>
                          <a:cubicBezTo>
                            <a:pt x="18540" y="18361"/>
                            <a:pt x="18481" y="18420"/>
                            <a:pt x="18361" y="18480"/>
                          </a:cubicBezTo>
                          <a:cubicBezTo>
                            <a:pt x="18241" y="18540"/>
                            <a:pt x="18182" y="18600"/>
                            <a:pt x="18062" y="18660"/>
                          </a:cubicBezTo>
                          <a:cubicBezTo>
                            <a:pt x="17942" y="18720"/>
                            <a:pt x="17882" y="18779"/>
                            <a:pt x="17763" y="18839"/>
                          </a:cubicBezTo>
                          <a:cubicBezTo>
                            <a:pt x="17643" y="18959"/>
                            <a:pt x="17583" y="19019"/>
                            <a:pt x="17464" y="19079"/>
                          </a:cubicBezTo>
                          <a:moveTo>
                            <a:pt x="12380" y="15729"/>
                          </a:moveTo>
                          <a:lnTo>
                            <a:pt x="16328" y="18361"/>
                          </a:lnTo>
                          <a:cubicBezTo>
                            <a:pt x="16447" y="18301"/>
                            <a:pt x="16507" y="18241"/>
                            <a:pt x="16627" y="18181"/>
                          </a:cubicBezTo>
                          <a:cubicBezTo>
                            <a:pt x="16746" y="18121"/>
                            <a:pt x="16806" y="18062"/>
                            <a:pt x="16926" y="18002"/>
                          </a:cubicBezTo>
                          <a:cubicBezTo>
                            <a:pt x="17045" y="17942"/>
                            <a:pt x="17105" y="17882"/>
                            <a:pt x="17225" y="17822"/>
                          </a:cubicBezTo>
                          <a:cubicBezTo>
                            <a:pt x="17344" y="17763"/>
                            <a:pt x="17404" y="17703"/>
                            <a:pt x="17523" y="17643"/>
                          </a:cubicBezTo>
                          <a:lnTo>
                            <a:pt x="13218" y="14772"/>
                          </a:lnTo>
                          <a:lnTo>
                            <a:pt x="12380" y="15729"/>
                          </a:lnTo>
                          <a:moveTo>
                            <a:pt x="0" y="7476"/>
                          </a:moveTo>
                          <a:lnTo>
                            <a:pt x="11364" y="15012"/>
                          </a:lnTo>
                          <a:lnTo>
                            <a:pt x="12141" y="13995"/>
                          </a:lnTo>
                          <a:lnTo>
                            <a:pt x="1794" y="7117"/>
                          </a:lnTo>
                          <a:lnTo>
                            <a:pt x="6041" y="1734"/>
                          </a:lnTo>
                          <a:lnTo>
                            <a:pt x="16328" y="8612"/>
                          </a:lnTo>
                          <a:lnTo>
                            <a:pt x="17165" y="7595"/>
                          </a:lnTo>
                          <a:lnTo>
                            <a:pt x="5861" y="0"/>
                          </a:lnTo>
                          <a:lnTo>
                            <a:pt x="0" y="7476"/>
                          </a:lnTo>
                        </a:path>
                      </a:pathLst>
                    </a:custGeom>
                    <a:noFill/>
                    <a:ln w="6350" cap="flat">
                      <a:solidFill>
                        <a:schemeClr val="bg1">
                          <a:alpha val="80000"/>
                        </a:schemeClr>
                      </a:solidFill>
                      <a:prstDash val="solid"/>
                      <a:miter/>
                    </a:ln>
                  </p:spPr>
                  <p:txBody>
                    <a:bodyPr rtlCol="0" anchor="ctr"/>
                    <a:lstStyle/>
                    <a:p>
                      <a:endParaRPr lang="en-GB"/>
                    </a:p>
                  </p:txBody>
                </p:sp>
                <p:sp>
                  <p:nvSpPr>
                    <p:cNvPr id="7383" name="Vrije vorm: vorm 7382">
                      <a:extLst>
                        <a:ext uri="{FF2B5EF4-FFF2-40B4-BE49-F238E27FC236}">
                          <a16:creationId xmlns:a16="http://schemas.microsoft.com/office/drawing/2014/main" id="{184293E1-2457-4897-8324-37F25603BBAC}"/>
                        </a:ext>
                      </a:extLst>
                    </p:cNvPr>
                    <p:cNvSpPr/>
                    <p:nvPr/>
                  </p:nvSpPr>
                  <p:spPr>
                    <a:xfrm>
                      <a:off x="5350254" y="5505593"/>
                      <a:ext cx="28886" cy="49520"/>
                    </a:xfrm>
                    <a:custGeom>
                      <a:avLst/>
                      <a:gdLst>
                        <a:gd name="connsiteX0" fmla="*/ 19916 w 28886"/>
                        <a:gd name="connsiteY0" fmla="*/ 3768 h 49520"/>
                        <a:gd name="connsiteX1" fmla="*/ 20514 w 28886"/>
                        <a:gd name="connsiteY1" fmla="*/ 3050 h 49520"/>
                        <a:gd name="connsiteX2" fmla="*/ 20215 w 28886"/>
                        <a:gd name="connsiteY2" fmla="*/ 2811 h 49520"/>
                        <a:gd name="connsiteX3" fmla="*/ 19916 w 28886"/>
                        <a:gd name="connsiteY3" fmla="*/ 2572 h 49520"/>
                        <a:gd name="connsiteX4" fmla="*/ 19557 w 28886"/>
                        <a:gd name="connsiteY4" fmla="*/ 2333 h 49520"/>
                        <a:gd name="connsiteX5" fmla="*/ 19198 w 28886"/>
                        <a:gd name="connsiteY5" fmla="*/ 2093 h 49520"/>
                        <a:gd name="connsiteX6" fmla="*/ 19975 w 28886"/>
                        <a:gd name="connsiteY6" fmla="*/ 1136 h 49520"/>
                        <a:gd name="connsiteX7" fmla="*/ 20335 w 28886"/>
                        <a:gd name="connsiteY7" fmla="*/ 1376 h 49520"/>
                        <a:gd name="connsiteX8" fmla="*/ 20693 w 28886"/>
                        <a:gd name="connsiteY8" fmla="*/ 1615 h 49520"/>
                        <a:gd name="connsiteX9" fmla="*/ 20992 w 28886"/>
                        <a:gd name="connsiteY9" fmla="*/ 1854 h 49520"/>
                        <a:gd name="connsiteX10" fmla="*/ 21291 w 28886"/>
                        <a:gd name="connsiteY10" fmla="*/ 2093 h 49520"/>
                        <a:gd name="connsiteX11" fmla="*/ 21889 w 28886"/>
                        <a:gd name="connsiteY11" fmla="*/ 1376 h 49520"/>
                        <a:gd name="connsiteX12" fmla="*/ 21530 w 28886"/>
                        <a:gd name="connsiteY12" fmla="*/ 1077 h 49520"/>
                        <a:gd name="connsiteX13" fmla="*/ 21172 w 28886"/>
                        <a:gd name="connsiteY13" fmla="*/ 778 h 49520"/>
                        <a:gd name="connsiteX14" fmla="*/ 20753 w 28886"/>
                        <a:gd name="connsiteY14" fmla="*/ 479 h 49520"/>
                        <a:gd name="connsiteX15" fmla="*/ 20335 w 28886"/>
                        <a:gd name="connsiteY15" fmla="*/ 180 h 49520"/>
                        <a:gd name="connsiteX16" fmla="*/ 20095 w 28886"/>
                        <a:gd name="connsiteY16" fmla="*/ 0 h 49520"/>
                        <a:gd name="connsiteX17" fmla="*/ 18181 w 28886"/>
                        <a:gd name="connsiteY17" fmla="*/ 2452 h 49520"/>
                        <a:gd name="connsiteX18" fmla="*/ 18421 w 28886"/>
                        <a:gd name="connsiteY18" fmla="*/ 2632 h 49520"/>
                        <a:gd name="connsiteX19" fmla="*/ 18839 w 28886"/>
                        <a:gd name="connsiteY19" fmla="*/ 2931 h 49520"/>
                        <a:gd name="connsiteX20" fmla="*/ 19258 w 28886"/>
                        <a:gd name="connsiteY20" fmla="*/ 3230 h 49520"/>
                        <a:gd name="connsiteX21" fmla="*/ 19617 w 28886"/>
                        <a:gd name="connsiteY21" fmla="*/ 3529 h 49520"/>
                        <a:gd name="connsiteX22" fmla="*/ 19916 w 28886"/>
                        <a:gd name="connsiteY22" fmla="*/ 3768 h 49520"/>
                        <a:gd name="connsiteX23" fmla="*/ 26973 w 28886"/>
                        <a:gd name="connsiteY23" fmla="*/ 12261 h 49520"/>
                        <a:gd name="connsiteX24" fmla="*/ 26913 w 28886"/>
                        <a:gd name="connsiteY24" fmla="*/ 11961 h 49520"/>
                        <a:gd name="connsiteX25" fmla="*/ 26853 w 28886"/>
                        <a:gd name="connsiteY25" fmla="*/ 11662 h 49520"/>
                        <a:gd name="connsiteX26" fmla="*/ 26794 w 28886"/>
                        <a:gd name="connsiteY26" fmla="*/ 11364 h 49520"/>
                        <a:gd name="connsiteX27" fmla="*/ 26734 w 28886"/>
                        <a:gd name="connsiteY27" fmla="*/ 11124 h 49520"/>
                        <a:gd name="connsiteX28" fmla="*/ 26614 w 28886"/>
                        <a:gd name="connsiteY28" fmla="*/ 10766 h 49520"/>
                        <a:gd name="connsiteX29" fmla="*/ 26495 w 28886"/>
                        <a:gd name="connsiteY29" fmla="*/ 10407 h 49520"/>
                        <a:gd name="connsiteX30" fmla="*/ 26375 w 28886"/>
                        <a:gd name="connsiteY30" fmla="*/ 10048 h 49520"/>
                        <a:gd name="connsiteX31" fmla="*/ 26196 w 28886"/>
                        <a:gd name="connsiteY31" fmla="*/ 9689 h 49520"/>
                        <a:gd name="connsiteX32" fmla="*/ 25358 w 28886"/>
                        <a:gd name="connsiteY32" fmla="*/ 8074 h 49520"/>
                        <a:gd name="connsiteX33" fmla="*/ 24222 w 28886"/>
                        <a:gd name="connsiteY33" fmla="*/ 6459 h 49520"/>
                        <a:gd name="connsiteX34" fmla="*/ 22787 w 28886"/>
                        <a:gd name="connsiteY34" fmla="*/ 4904 h 49520"/>
                        <a:gd name="connsiteX35" fmla="*/ 21052 w 28886"/>
                        <a:gd name="connsiteY35" fmla="*/ 3349 h 49520"/>
                        <a:gd name="connsiteX36" fmla="*/ 20454 w 28886"/>
                        <a:gd name="connsiteY36" fmla="*/ 4067 h 49520"/>
                        <a:gd name="connsiteX37" fmla="*/ 21710 w 28886"/>
                        <a:gd name="connsiteY37" fmla="*/ 5144 h 49520"/>
                        <a:gd name="connsiteX38" fmla="*/ 22846 w 28886"/>
                        <a:gd name="connsiteY38" fmla="*/ 6220 h 49520"/>
                        <a:gd name="connsiteX39" fmla="*/ 23803 w 28886"/>
                        <a:gd name="connsiteY39" fmla="*/ 7357 h 49520"/>
                        <a:gd name="connsiteX40" fmla="*/ 24641 w 28886"/>
                        <a:gd name="connsiteY40" fmla="*/ 8493 h 49520"/>
                        <a:gd name="connsiteX41" fmla="*/ 24940 w 28886"/>
                        <a:gd name="connsiteY41" fmla="*/ 8912 h 49520"/>
                        <a:gd name="connsiteX42" fmla="*/ 25179 w 28886"/>
                        <a:gd name="connsiteY42" fmla="*/ 9330 h 49520"/>
                        <a:gd name="connsiteX43" fmla="*/ 25418 w 28886"/>
                        <a:gd name="connsiteY43" fmla="*/ 9749 h 49520"/>
                        <a:gd name="connsiteX44" fmla="*/ 25597 w 28886"/>
                        <a:gd name="connsiteY44" fmla="*/ 10227 h 49520"/>
                        <a:gd name="connsiteX45" fmla="*/ 25657 w 28886"/>
                        <a:gd name="connsiteY45" fmla="*/ 10347 h 49520"/>
                        <a:gd name="connsiteX46" fmla="*/ 25717 w 28886"/>
                        <a:gd name="connsiteY46" fmla="*/ 10466 h 49520"/>
                        <a:gd name="connsiteX47" fmla="*/ 25777 w 28886"/>
                        <a:gd name="connsiteY47" fmla="*/ 10586 h 49520"/>
                        <a:gd name="connsiteX48" fmla="*/ 25837 w 28886"/>
                        <a:gd name="connsiteY48" fmla="*/ 10706 h 49520"/>
                        <a:gd name="connsiteX49" fmla="*/ 26136 w 28886"/>
                        <a:gd name="connsiteY49" fmla="*/ 11065 h 49520"/>
                        <a:gd name="connsiteX50" fmla="*/ 26435 w 28886"/>
                        <a:gd name="connsiteY50" fmla="*/ 11423 h 49520"/>
                        <a:gd name="connsiteX51" fmla="*/ 26734 w 28886"/>
                        <a:gd name="connsiteY51" fmla="*/ 11782 h 49520"/>
                        <a:gd name="connsiteX52" fmla="*/ 26973 w 28886"/>
                        <a:gd name="connsiteY52" fmla="*/ 12261 h 49520"/>
                        <a:gd name="connsiteX53" fmla="*/ 28827 w 28886"/>
                        <a:gd name="connsiteY53" fmla="*/ 14713 h 49520"/>
                        <a:gd name="connsiteX54" fmla="*/ 28887 w 28886"/>
                        <a:gd name="connsiteY54" fmla="*/ 14175 h 49520"/>
                        <a:gd name="connsiteX55" fmla="*/ 28887 w 28886"/>
                        <a:gd name="connsiteY55" fmla="*/ 13636 h 49520"/>
                        <a:gd name="connsiteX56" fmla="*/ 28887 w 28886"/>
                        <a:gd name="connsiteY56" fmla="*/ 13098 h 49520"/>
                        <a:gd name="connsiteX57" fmla="*/ 28887 w 28886"/>
                        <a:gd name="connsiteY57" fmla="*/ 12620 h 49520"/>
                        <a:gd name="connsiteX58" fmla="*/ 28887 w 28886"/>
                        <a:gd name="connsiteY58" fmla="*/ 12320 h 49520"/>
                        <a:gd name="connsiteX59" fmla="*/ 28887 w 28886"/>
                        <a:gd name="connsiteY59" fmla="*/ 12021 h 49520"/>
                        <a:gd name="connsiteX60" fmla="*/ 28827 w 28886"/>
                        <a:gd name="connsiteY60" fmla="*/ 11722 h 49520"/>
                        <a:gd name="connsiteX61" fmla="*/ 28767 w 28886"/>
                        <a:gd name="connsiteY61" fmla="*/ 11423 h 49520"/>
                        <a:gd name="connsiteX62" fmla="*/ 28050 w 28886"/>
                        <a:gd name="connsiteY62" fmla="*/ 8852 h 49520"/>
                        <a:gd name="connsiteX63" fmla="*/ 26734 w 28886"/>
                        <a:gd name="connsiteY63" fmla="*/ 6399 h 49520"/>
                        <a:gd name="connsiteX64" fmla="*/ 24820 w 28886"/>
                        <a:gd name="connsiteY64" fmla="*/ 4007 h 49520"/>
                        <a:gd name="connsiteX65" fmla="*/ 22308 w 28886"/>
                        <a:gd name="connsiteY65" fmla="*/ 1675 h 49520"/>
                        <a:gd name="connsiteX66" fmla="*/ 21710 w 28886"/>
                        <a:gd name="connsiteY66" fmla="*/ 2392 h 49520"/>
                        <a:gd name="connsiteX67" fmla="*/ 23923 w 28886"/>
                        <a:gd name="connsiteY67" fmla="*/ 4366 h 49520"/>
                        <a:gd name="connsiteX68" fmla="*/ 25657 w 28886"/>
                        <a:gd name="connsiteY68" fmla="*/ 6399 h 49520"/>
                        <a:gd name="connsiteX69" fmla="*/ 26913 w 28886"/>
                        <a:gd name="connsiteY69" fmla="*/ 8493 h 49520"/>
                        <a:gd name="connsiteX70" fmla="*/ 27691 w 28886"/>
                        <a:gd name="connsiteY70" fmla="*/ 10646 h 49520"/>
                        <a:gd name="connsiteX71" fmla="*/ 27751 w 28886"/>
                        <a:gd name="connsiteY71" fmla="*/ 10945 h 49520"/>
                        <a:gd name="connsiteX72" fmla="*/ 27811 w 28886"/>
                        <a:gd name="connsiteY72" fmla="*/ 11244 h 49520"/>
                        <a:gd name="connsiteX73" fmla="*/ 27870 w 28886"/>
                        <a:gd name="connsiteY73" fmla="*/ 11543 h 49520"/>
                        <a:gd name="connsiteX74" fmla="*/ 27930 w 28886"/>
                        <a:gd name="connsiteY74" fmla="*/ 11902 h 49520"/>
                        <a:gd name="connsiteX75" fmla="*/ 27990 w 28886"/>
                        <a:gd name="connsiteY75" fmla="*/ 12320 h 49520"/>
                        <a:gd name="connsiteX76" fmla="*/ 28050 w 28886"/>
                        <a:gd name="connsiteY76" fmla="*/ 12739 h 49520"/>
                        <a:gd name="connsiteX77" fmla="*/ 28050 w 28886"/>
                        <a:gd name="connsiteY77" fmla="*/ 13158 h 49520"/>
                        <a:gd name="connsiteX78" fmla="*/ 28050 w 28886"/>
                        <a:gd name="connsiteY78" fmla="*/ 13576 h 49520"/>
                        <a:gd name="connsiteX79" fmla="*/ 28229 w 28886"/>
                        <a:gd name="connsiteY79" fmla="*/ 13815 h 49520"/>
                        <a:gd name="connsiteX80" fmla="*/ 28408 w 28886"/>
                        <a:gd name="connsiteY80" fmla="*/ 14055 h 49520"/>
                        <a:gd name="connsiteX81" fmla="*/ 28588 w 28886"/>
                        <a:gd name="connsiteY81" fmla="*/ 14294 h 49520"/>
                        <a:gd name="connsiteX82" fmla="*/ 28827 w 28886"/>
                        <a:gd name="connsiteY82" fmla="*/ 14713 h 49520"/>
                        <a:gd name="connsiteX83" fmla="*/ 26973 w 28886"/>
                        <a:gd name="connsiteY83" fmla="*/ 15789 h 49520"/>
                        <a:gd name="connsiteX84" fmla="*/ 26973 w 28886"/>
                        <a:gd name="connsiteY84" fmla="*/ 15789 h 49520"/>
                        <a:gd name="connsiteX85" fmla="*/ 26973 w 28886"/>
                        <a:gd name="connsiteY85" fmla="*/ 15789 h 49520"/>
                        <a:gd name="connsiteX86" fmla="*/ 26973 w 28886"/>
                        <a:gd name="connsiteY86" fmla="*/ 15789 h 49520"/>
                        <a:gd name="connsiteX87" fmla="*/ 26973 w 28886"/>
                        <a:gd name="connsiteY87" fmla="*/ 15789 h 49520"/>
                        <a:gd name="connsiteX88" fmla="*/ 27033 w 28886"/>
                        <a:gd name="connsiteY88" fmla="*/ 15311 h 49520"/>
                        <a:gd name="connsiteX89" fmla="*/ 27092 w 28886"/>
                        <a:gd name="connsiteY89" fmla="*/ 14832 h 49520"/>
                        <a:gd name="connsiteX90" fmla="*/ 27092 w 28886"/>
                        <a:gd name="connsiteY90" fmla="*/ 14354 h 49520"/>
                        <a:gd name="connsiteX91" fmla="*/ 27092 w 28886"/>
                        <a:gd name="connsiteY91" fmla="*/ 13875 h 49520"/>
                        <a:gd name="connsiteX92" fmla="*/ 26853 w 28886"/>
                        <a:gd name="connsiteY92" fmla="*/ 13636 h 49520"/>
                        <a:gd name="connsiteX93" fmla="*/ 26614 w 28886"/>
                        <a:gd name="connsiteY93" fmla="*/ 13397 h 49520"/>
                        <a:gd name="connsiteX94" fmla="*/ 26375 w 28886"/>
                        <a:gd name="connsiteY94" fmla="*/ 13158 h 49520"/>
                        <a:gd name="connsiteX95" fmla="*/ 26136 w 28886"/>
                        <a:gd name="connsiteY95" fmla="*/ 12859 h 49520"/>
                        <a:gd name="connsiteX96" fmla="*/ 26196 w 28886"/>
                        <a:gd name="connsiteY96" fmla="*/ 13397 h 49520"/>
                        <a:gd name="connsiteX97" fmla="*/ 26255 w 28886"/>
                        <a:gd name="connsiteY97" fmla="*/ 13935 h 49520"/>
                        <a:gd name="connsiteX98" fmla="*/ 26255 w 28886"/>
                        <a:gd name="connsiteY98" fmla="*/ 14474 h 49520"/>
                        <a:gd name="connsiteX99" fmla="*/ 26255 w 28886"/>
                        <a:gd name="connsiteY99" fmla="*/ 15012 h 49520"/>
                        <a:gd name="connsiteX100" fmla="*/ 26435 w 28886"/>
                        <a:gd name="connsiteY100" fmla="*/ 15251 h 49520"/>
                        <a:gd name="connsiteX101" fmla="*/ 26614 w 28886"/>
                        <a:gd name="connsiteY101" fmla="*/ 15490 h 49520"/>
                        <a:gd name="connsiteX102" fmla="*/ 26794 w 28886"/>
                        <a:gd name="connsiteY102" fmla="*/ 15729 h 49520"/>
                        <a:gd name="connsiteX103" fmla="*/ 26973 w 28886"/>
                        <a:gd name="connsiteY103" fmla="*/ 15789 h 49520"/>
                        <a:gd name="connsiteX104" fmla="*/ 28109 w 28886"/>
                        <a:gd name="connsiteY104" fmla="*/ 17763 h 49520"/>
                        <a:gd name="connsiteX105" fmla="*/ 28229 w 28886"/>
                        <a:gd name="connsiteY105" fmla="*/ 17344 h 49520"/>
                        <a:gd name="connsiteX106" fmla="*/ 28349 w 28886"/>
                        <a:gd name="connsiteY106" fmla="*/ 16926 h 49520"/>
                        <a:gd name="connsiteX107" fmla="*/ 28468 w 28886"/>
                        <a:gd name="connsiteY107" fmla="*/ 16507 h 49520"/>
                        <a:gd name="connsiteX108" fmla="*/ 28588 w 28886"/>
                        <a:gd name="connsiteY108" fmla="*/ 16088 h 49520"/>
                        <a:gd name="connsiteX109" fmla="*/ 28468 w 28886"/>
                        <a:gd name="connsiteY109" fmla="*/ 15849 h 49520"/>
                        <a:gd name="connsiteX110" fmla="*/ 28349 w 28886"/>
                        <a:gd name="connsiteY110" fmla="*/ 15610 h 49520"/>
                        <a:gd name="connsiteX111" fmla="*/ 28229 w 28886"/>
                        <a:gd name="connsiteY111" fmla="*/ 15370 h 49520"/>
                        <a:gd name="connsiteX112" fmla="*/ 28109 w 28886"/>
                        <a:gd name="connsiteY112" fmla="*/ 15131 h 49520"/>
                        <a:gd name="connsiteX113" fmla="*/ 28109 w 28886"/>
                        <a:gd name="connsiteY113" fmla="*/ 15191 h 49520"/>
                        <a:gd name="connsiteX114" fmla="*/ 28109 w 28886"/>
                        <a:gd name="connsiteY114" fmla="*/ 15251 h 49520"/>
                        <a:gd name="connsiteX115" fmla="*/ 28109 w 28886"/>
                        <a:gd name="connsiteY115" fmla="*/ 15311 h 49520"/>
                        <a:gd name="connsiteX116" fmla="*/ 28109 w 28886"/>
                        <a:gd name="connsiteY116" fmla="*/ 15370 h 49520"/>
                        <a:gd name="connsiteX117" fmla="*/ 28050 w 28886"/>
                        <a:gd name="connsiteY117" fmla="*/ 15729 h 49520"/>
                        <a:gd name="connsiteX118" fmla="*/ 27990 w 28886"/>
                        <a:gd name="connsiteY118" fmla="*/ 16088 h 49520"/>
                        <a:gd name="connsiteX119" fmla="*/ 27930 w 28886"/>
                        <a:gd name="connsiteY119" fmla="*/ 16447 h 49520"/>
                        <a:gd name="connsiteX120" fmla="*/ 27870 w 28886"/>
                        <a:gd name="connsiteY120" fmla="*/ 16806 h 49520"/>
                        <a:gd name="connsiteX121" fmla="*/ 27990 w 28886"/>
                        <a:gd name="connsiteY121" fmla="*/ 16985 h 49520"/>
                        <a:gd name="connsiteX122" fmla="*/ 28109 w 28886"/>
                        <a:gd name="connsiteY122" fmla="*/ 17165 h 49520"/>
                        <a:gd name="connsiteX123" fmla="*/ 28229 w 28886"/>
                        <a:gd name="connsiteY123" fmla="*/ 17344 h 49520"/>
                        <a:gd name="connsiteX124" fmla="*/ 28109 w 28886"/>
                        <a:gd name="connsiteY124" fmla="*/ 17763 h 49520"/>
                        <a:gd name="connsiteX125" fmla="*/ 12021 w 28886"/>
                        <a:gd name="connsiteY125" fmla="*/ 37619 h 49520"/>
                        <a:gd name="connsiteX126" fmla="*/ 12559 w 28886"/>
                        <a:gd name="connsiteY126" fmla="*/ 37978 h 49520"/>
                        <a:gd name="connsiteX127" fmla="*/ 14114 w 28886"/>
                        <a:gd name="connsiteY127" fmla="*/ 36423 h 49520"/>
                        <a:gd name="connsiteX128" fmla="*/ 15669 w 28886"/>
                        <a:gd name="connsiteY128" fmla="*/ 34868 h 49520"/>
                        <a:gd name="connsiteX129" fmla="*/ 17225 w 28886"/>
                        <a:gd name="connsiteY129" fmla="*/ 33313 h 49520"/>
                        <a:gd name="connsiteX130" fmla="*/ 18720 w 28886"/>
                        <a:gd name="connsiteY130" fmla="*/ 31758 h 49520"/>
                        <a:gd name="connsiteX131" fmla="*/ 18899 w 28886"/>
                        <a:gd name="connsiteY131" fmla="*/ 31578 h 49520"/>
                        <a:gd name="connsiteX132" fmla="*/ 19079 w 28886"/>
                        <a:gd name="connsiteY132" fmla="*/ 31399 h 49520"/>
                        <a:gd name="connsiteX133" fmla="*/ 19258 w 28886"/>
                        <a:gd name="connsiteY133" fmla="*/ 31220 h 49520"/>
                        <a:gd name="connsiteX134" fmla="*/ 19437 w 28886"/>
                        <a:gd name="connsiteY134" fmla="*/ 31040 h 49520"/>
                        <a:gd name="connsiteX135" fmla="*/ 20275 w 28886"/>
                        <a:gd name="connsiteY135" fmla="*/ 30143 h 49520"/>
                        <a:gd name="connsiteX136" fmla="*/ 21052 w 28886"/>
                        <a:gd name="connsiteY136" fmla="*/ 29246 h 49520"/>
                        <a:gd name="connsiteX137" fmla="*/ 21830 w 28886"/>
                        <a:gd name="connsiteY137" fmla="*/ 28349 h 49520"/>
                        <a:gd name="connsiteX138" fmla="*/ 22607 w 28886"/>
                        <a:gd name="connsiteY138" fmla="*/ 27452 h 49520"/>
                        <a:gd name="connsiteX139" fmla="*/ 22727 w 28886"/>
                        <a:gd name="connsiteY139" fmla="*/ 27272 h 49520"/>
                        <a:gd name="connsiteX140" fmla="*/ 22846 w 28886"/>
                        <a:gd name="connsiteY140" fmla="*/ 27093 h 49520"/>
                        <a:gd name="connsiteX141" fmla="*/ 22966 w 28886"/>
                        <a:gd name="connsiteY141" fmla="*/ 26913 h 49520"/>
                        <a:gd name="connsiteX142" fmla="*/ 23086 w 28886"/>
                        <a:gd name="connsiteY142" fmla="*/ 26734 h 49520"/>
                        <a:gd name="connsiteX143" fmla="*/ 23265 w 28886"/>
                        <a:gd name="connsiteY143" fmla="*/ 26495 h 49520"/>
                        <a:gd name="connsiteX144" fmla="*/ 23444 w 28886"/>
                        <a:gd name="connsiteY144" fmla="*/ 26255 h 49520"/>
                        <a:gd name="connsiteX145" fmla="*/ 23624 w 28886"/>
                        <a:gd name="connsiteY145" fmla="*/ 26016 h 49520"/>
                        <a:gd name="connsiteX146" fmla="*/ 23803 w 28886"/>
                        <a:gd name="connsiteY146" fmla="*/ 25777 h 49520"/>
                        <a:gd name="connsiteX147" fmla="*/ 23923 w 28886"/>
                        <a:gd name="connsiteY147" fmla="*/ 25598 h 49520"/>
                        <a:gd name="connsiteX148" fmla="*/ 24043 w 28886"/>
                        <a:gd name="connsiteY148" fmla="*/ 25418 h 49520"/>
                        <a:gd name="connsiteX149" fmla="*/ 24162 w 28886"/>
                        <a:gd name="connsiteY149" fmla="*/ 25239 h 49520"/>
                        <a:gd name="connsiteX150" fmla="*/ 24282 w 28886"/>
                        <a:gd name="connsiteY150" fmla="*/ 25059 h 49520"/>
                        <a:gd name="connsiteX151" fmla="*/ 24700 w 28886"/>
                        <a:gd name="connsiteY151" fmla="*/ 24461 h 49520"/>
                        <a:gd name="connsiteX152" fmla="*/ 25059 w 28886"/>
                        <a:gd name="connsiteY152" fmla="*/ 23863 h 49520"/>
                        <a:gd name="connsiteX153" fmla="*/ 25418 w 28886"/>
                        <a:gd name="connsiteY153" fmla="*/ 23265 h 49520"/>
                        <a:gd name="connsiteX154" fmla="*/ 25777 w 28886"/>
                        <a:gd name="connsiteY154" fmla="*/ 22667 h 49520"/>
                        <a:gd name="connsiteX155" fmla="*/ 25897 w 28886"/>
                        <a:gd name="connsiteY155" fmla="*/ 22488 h 49520"/>
                        <a:gd name="connsiteX156" fmla="*/ 26016 w 28886"/>
                        <a:gd name="connsiteY156" fmla="*/ 22308 h 49520"/>
                        <a:gd name="connsiteX157" fmla="*/ 26136 w 28886"/>
                        <a:gd name="connsiteY157" fmla="*/ 22129 h 49520"/>
                        <a:gd name="connsiteX158" fmla="*/ 26255 w 28886"/>
                        <a:gd name="connsiteY158" fmla="*/ 21950 h 49520"/>
                        <a:gd name="connsiteX159" fmla="*/ 26554 w 28886"/>
                        <a:gd name="connsiteY159" fmla="*/ 21411 h 49520"/>
                        <a:gd name="connsiteX160" fmla="*/ 26853 w 28886"/>
                        <a:gd name="connsiteY160" fmla="*/ 20813 h 49520"/>
                        <a:gd name="connsiteX161" fmla="*/ 27152 w 28886"/>
                        <a:gd name="connsiteY161" fmla="*/ 20215 h 49520"/>
                        <a:gd name="connsiteX162" fmla="*/ 27392 w 28886"/>
                        <a:gd name="connsiteY162" fmla="*/ 19617 h 49520"/>
                        <a:gd name="connsiteX163" fmla="*/ 27451 w 28886"/>
                        <a:gd name="connsiteY163" fmla="*/ 19497 h 49520"/>
                        <a:gd name="connsiteX164" fmla="*/ 27511 w 28886"/>
                        <a:gd name="connsiteY164" fmla="*/ 19378 h 49520"/>
                        <a:gd name="connsiteX165" fmla="*/ 27571 w 28886"/>
                        <a:gd name="connsiteY165" fmla="*/ 19258 h 49520"/>
                        <a:gd name="connsiteX166" fmla="*/ 27631 w 28886"/>
                        <a:gd name="connsiteY166" fmla="*/ 19138 h 49520"/>
                        <a:gd name="connsiteX167" fmla="*/ 27511 w 28886"/>
                        <a:gd name="connsiteY167" fmla="*/ 18959 h 49520"/>
                        <a:gd name="connsiteX168" fmla="*/ 27392 w 28886"/>
                        <a:gd name="connsiteY168" fmla="*/ 18780 h 49520"/>
                        <a:gd name="connsiteX169" fmla="*/ 27272 w 28886"/>
                        <a:gd name="connsiteY169" fmla="*/ 18600 h 49520"/>
                        <a:gd name="connsiteX170" fmla="*/ 27152 w 28886"/>
                        <a:gd name="connsiteY170" fmla="*/ 18421 h 49520"/>
                        <a:gd name="connsiteX171" fmla="*/ 27152 w 28886"/>
                        <a:gd name="connsiteY171" fmla="*/ 18421 h 49520"/>
                        <a:gd name="connsiteX172" fmla="*/ 27152 w 28886"/>
                        <a:gd name="connsiteY172" fmla="*/ 18421 h 49520"/>
                        <a:gd name="connsiteX173" fmla="*/ 27152 w 28886"/>
                        <a:gd name="connsiteY173" fmla="*/ 18421 h 49520"/>
                        <a:gd name="connsiteX174" fmla="*/ 27152 w 28886"/>
                        <a:gd name="connsiteY174" fmla="*/ 18421 h 49520"/>
                        <a:gd name="connsiteX175" fmla="*/ 27092 w 28886"/>
                        <a:gd name="connsiteY175" fmla="*/ 18660 h 49520"/>
                        <a:gd name="connsiteX176" fmla="*/ 27033 w 28886"/>
                        <a:gd name="connsiteY176" fmla="*/ 18899 h 49520"/>
                        <a:gd name="connsiteX177" fmla="*/ 26973 w 28886"/>
                        <a:gd name="connsiteY177" fmla="*/ 19138 h 49520"/>
                        <a:gd name="connsiteX178" fmla="*/ 26913 w 28886"/>
                        <a:gd name="connsiteY178" fmla="*/ 19378 h 49520"/>
                        <a:gd name="connsiteX179" fmla="*/ 26674 w 28886"/>
                        <a:gd name="connsiteY179" fmla="*/ 19976 h 49520"/>
                        <a:gd name="connsiteX180" fmla="*/ 26435 w 28886"/>
                        <a:gd name="connsiteY180" fmla="*/ 20574 h 49520"/>
                        <a:gd name="connsiteX181" fmla="*/ 26136 w 28886"/>
                        <a:gd name="connsiteY181" fmla="*/ 21172 h 49520"/>
                        <a:gd name="connsiteX182" fmla="*/ 25837 w 28886"/>
                        <a:gd name="connsiteY182" fmla="*/ 21770 h 49520"/>
                        <a:gd name="connsiteX183" fmla="*/ 25717 w 28886"/>
                        <a:gd name="connsiteY183" fmla="*/ 21950 h 49520"/>
                        <a:gd name="connsiteX184" fmla="*/ 25597 w 28886"/>
                        <a:gd name="connsiteY184" fmla="*/ 22129 h 49520"/>
                        <a:gd name="connsiteX185" fmla="*/ 25478 w 28886"/>
                        <a:gd name="connsiteY185" fmla="*/ 22308 h 49520"/>
                        <a:gd name="connsiteX186" fmla="*/ 25358 w 28886"/>
                        <a:gd name="connsiteY186" fmla="*/ 22488 h 49520"/>
                        <a:gd name="connsiteX187" fmla="*/ 24999 w 28886"/>
                        <a:gd name="connsiteY187" fmla="*/ 23086 h 49520"/>
                        <a:gd name="connsiteX188" fmla="*/ 24641 w 28886"/>
                        <a:gd name="connsiteY188" fmla="*/ 23684 h 49520"/>
                        <a:gd name="connsiteX189" fmla="*/ 24282 w 28886"/>
                        <a:gd name="connsiteY189" fmla="*/ 24282 h 49520"/>
                        <a:gd name="connsiteX190" fmla="*/ 23863 w 28886"/>
                        <a:gd name="connsiteY190" fmla="*/ 24880 h 49520"/>
                        <a:gd name="connsiteX191" fmla="*/ 23743 w 28886"/>
                        <a:gd name="connsiteY191" fmla="*/ 25059 h 49520"/>
                        <a:gd name="connsiteX192" fmla="*/ 23624 w 28886"/>
                        <a:gd name="connsiteY192" fmla="*/ 25239 h 49520"/>
                        <a:gd name="connsiteX193" fmla="*/ 23504 w 28886"/>
                        <a:gd name="connsiteY193" fmla="*/ 25418 h 49520"/>
                        <a:gd name="connsiteX194" fmla="*/ 23384 w 28886"/>
                        <a:gd name="connsiteY194" fmla="*/ 25598 h 49520"/>
                        <a:gd name="connsiteX195" fmla="*/ 23205 w 28886"/>
                        <a:gd name="connsiteY195" fmla="*/ 25837 h 49520"/>
                        <a:gd name="connsiteX196" fmla="*/ 23026 w 28886"/>
                        <a:gd name="connsiteY196" fmla="*/ 26076 h 49520"/>
                        <a:gd name="connsiteX197" fmla="*/ 22846 w 28886"/>
                        <a:gd name="connsiteY197" fmla="*/ 26315 h 49520"/>
                        <a:gd name="connsiteX198" fmla="*/ 22667 w 28886"/>
                        <a:gd name="connsiteY198" fmla="*/ 26554 h 49520"/>
                        <a:gd name="connsiteX199" fmla="*/ 22547 w 28886"/>
                        <a:gd name="connsiteY199" fmla="*/ 26734 h 49520"/>
                        <a:gd name="connsiteX200" fmla="*/ 22428 w 28886"/>
                        <a:gd name="connsiteY200" fmla="*/ 26913 h 49520"/>
                        <a:gd name="connsiteX201" fmla="*/ 22308 w 28886"/>
                        <a:gd name="connsiteY201" fmla="*/ 27093 h 49520"/>
                        <a:gd name="connsiteX202" fmla="*/ 22189 w 28886"/>
                        <a:gd name="connsiteY202" fmla="*/ 27272 h 49520"/>
                        <a:gd name="connsiteX203" fmla="*/ 21411 w 28886"/>
                        <a:gd name="connsiteY203" fmla="*/ 28169 h 49520"/>
                        <a:gd name="connsiteX204" fmla="*/ 20634 w 28886"/>
                        <a:gd name="connsiteY204" fmla="*/ 29067 h 49520"/>
                        <a:gd name="connsiteX205" fmla="*/ 19856 w 28886"/>
                        <a:gd name="connsiteY205" fmla="*/ 29963 h 49520"/>
                        <a:gd name="connsiteX206" fmla="*/ 19019 w 28886"/>
                        <a:gd name="connsiteY206" fmla="*/ 30861 h 49520"/>
                        <a:gd name="connsiteX207" fmla="*/ 18839 w 28886"/>
                        <a:gd name="connsiteY207" fmla="*/ 31040 h 49520"/>
                        <a:gd name="connsiteX208" fmla="*/ 18660 w 28886"/>
                        <a:gd name="connsiteY208" fmla="*/ 31220 h 49520"/>
                        <a:gd name="connsiteX209" fmla="*/ 18480 w 28886"/>
                        <a:gd name="connsiteY209" fmla="*/ 31399 h 49520"/>
                        <a:gd name="connsiteX210" fmla="*/ 18301 w 28886"/>
                        <a:gd name="connsiteY210" fmla="*/ 31578 h 49520"/>
                        <a:gd name="connsiteX211" fmla="*/ 16806 w 28886"/>
                        <a:gd name="connsiteY211" fmla="*/ 33133 h 49520"/>
                        <a:gd name="connsiteX212" fmla="*/ 15251 w 28886"/>
                        <a:gd name="connsiteY212" fmla="*/ 34688 h 49520"/>
                        <a:gd name="connsiteX213" fmla="*/ 13696 w 28886"/>
                        <a:gd name="connsiteY213" fmla="*/ 36243 h 49520"/>
                        <a:gd name="connsiteX214" fmla="*/ 12021 w 28886"/>
                        <a:gd name="connsiteY214" fmla="*/ 37619 h 49520"/>
                        <a:gd name="connsiteX215" fmla="*/ 10825 w 28886"/>
                        <a:gd name="connsiteY215" fmla="*/ 36841 h 49520"/>
                        <a:gd name="connsiteX216" fmla="*/ 11364 w 28886"/>
                        <a:gd name="connsiteY216" fmla="*/ 37200 h 49520"/>
                        <a:gd name="connsiteX217" fmla="*/ 12978 w 28886"/>
                        <a:gd name="connsiteY217" fmla="*/ 35645 h 49520"/>
                        <a:gd name="connsiteX218" fmla="*/ 14533 w 28886"/>
                        <a:gd name="connsiteY218" fmla="*/ 34090 h 49520"/>
                        <a:gd name="connsiteX219" fmla="*/ 16088 w 28886"/>
                        <a:gd name="connsiteY219" fmla="*/ 32535 h 49520"/>
                        <a:gd name="connsiteX220" fmla="*/ 17583 w 28886"/>
                        <a:gd name="connsiteY220" fmla="*/ 30980 h 49520"/>
                        <a:gd name="connsiteX221" fmla="*/ 17763 w 28886"/>
                        <a:gd name="connsiteY221" fmla="*/ 30801 h 49520"/>
                        <a:gd name="connsiteX222" fmla="*/ 17942 w 28886"/>
                        <a:gd name="connsiteY222" fmla="*/ 30622 h 49520"/>
                        <a:gd name="connsiteX223" fmla="*/ 18121 w 28886"/>
                        <a:gd name="connsiteY223" fmla="*/ 30442 h 49520"/>
                        <a:gd name="connsiteX224" fmla="*/ 18301 w 28886"/>
                        <a:gd name="connsiteY224" fmla="*/ 30262 h 49520"/>
                        <a:gd name="connsiteX225" fmla="*/ 19138 w 28886"/>
                        <a:gd name="connsiteY225" fmla="*/ 29366 h 49520"/>
                        <a:gd name="connsiteX226" fmla="*/ 19916 w 28886"/>
                        <a:gd name="connsiteY226" fmla="*/ 28468 h 49520"/>
                        <a:gd name="connsiteX227" fmla="*/ 20693 w 28886"/>
                        <a:gd name="connsiteY227" fmla="*/ 27571 h 49520"/>
                        <a:gd name="connsiteX228" fmla="*/ 21471 w 28886"/>
                        <a:gd name="connsiteY228" fmla="*/ 26674 h 49520"/>
                        <a:gd name="connsiteX229" fmla="*/ 21590 w 28886"/>
                        <a:gd name="connsiteY229" fmla="*/ 26495 h 49520"/>
                        <a:gd name="connsiteX230" fmla="*/ 21710 w 28886"/>
                        <a:gd name="connsiteY230" fmla="*/ 26315 h 49520"/>
                        <a:gd name="connsiteX231" fmla="*/ 21830 w 28886"/>
                        <a:gd name="connsiteY231" fmla="*/ 26136 h 49520"/>
                        <a:gd name="connsiteX232" fmla="*/ 21949 w 28886"/>
                        <a:gd name="connsiteY232" fmla="*/ 25956 h 49520"/>
                        <a:gd name="connsiteX233" fmla="*/ 22129 w 28886"/>
                        <a:gd name="connsiteY233" fmla="*/ 25717 h 49520"/>
                        <a:gd name="connsiteX234" fmla="*/ 22308 w 28886"/>
                        <a:gd name="connsiteY234" fmla="*/ 25478 h 49520"/>
                        <a:gd name="connsiteX235" fmla="*/ 22488 w 28886"/>
                        <a:gd name="connsiteY235" fmla="*/ 25239 h 49520"/>
                        <a:gd name="connsiteX236" fmla="*/ 22667 w 28886"/>
                        <a:gd name="connsiteY236" fmla="*/ 25000 h 49520"/>
                        <a:gd name="connsiteX237" fmla="*/ 22787 w 28886"/>
                        <a:gd name="connsiteY237" fmla="*/ 24820 h 49520"/>
                        <a:gd name="connsiteX238" fmla="*/ 22906 w 28886"/>
                        <a:gd name="connsiteY238" fmla="*/ 24641 h 49520"/>
                        <a:gd name="connsiteX239" fmla="*/ 23026 w 28886"/>
                        <a:gd name="connsiteY239" fmla="*/ 24461 h 49520"/>
                        <a:gd name="connsiteX240" fmla="*/ 23145 w 28886"/>
                        <a:gd name="connsiteY240" fmla="*/ 24282 h 49520"/>
                        <a:gd name="connsiteX241" fmla="*/ 23564 w 28886"/>
                        <a:gd name="connsiteY241" fmla="*/ 23684 h 49520"/>
                        <a:gd name="connsiteX242" fmla="*/ 23923 w 28886"/>
                        <a:gd name="connsiteY242" fmla="*/ 23086 h 49520"/>
                        <a:gd name="connsiteX243" fmla="*/ 24282 w 28886"/>
                        <a:gd name="connsiteY243" fmla="*/ 22488 h 49520"/>
                        <a:gd name="connsiteX244" fmla="*/ 24641 w 28886"/>
                        <a:gd name="connsiteY244" fmla="*/ 21890 h 49520"/>
                        <a:gd name="connsiteX245" fmla="*/ 24760 w 28886"/>
                        <a:gd name="connsiteY245" fmla="*/ 21710 h 49520"/>
                        <a:gd name="connsiteX246" fmla="*/ 24880 w 28886"/>
                        <a:gd name="connsiteY246" fmla="*/ 21531 h 49520"/>
                        <a:gd name="connsiteX247" fmla="*/ 24999 w 28886"/>
                        <a:gd name="connsiteY247" fmla="*/ 21351 h 49520"/>
                        <a:gd name="connsiteX248" fmla="*/ 25119 w 28886"/>
                        <a:gd name="connsiteY248" fmla="*/ 21172 h 49520"/>
                        <a:gd name="connsiteX249" fmla="*/ 25418 w 28886"/>
                        <a:gd name="connsiteY249" fmla="*/ 20574 h 49520"/>
                        <a:gd name="connsiteX250" fmla="*/ 25717 w 28886"/>
                        <a:gd name="connsiteY250" fmla="*/ 19976 h 49520"/>
                        <a:gd name="connsiteX251" fmla="*/ 25956 w 28886"/>
                        <a:gd name="connsiteY251" fmla="*/ 19378 h 49520"/>
                        <a:gd name="connsiteX252" fmla="*/ 26196 w 28886"/>
                        <a:gd name="connsiteY252" fmla="*/ 18780 h 49520"/>
                        <a:gd name="connsiteX253" fmla="*/ 26255 w 28886"/>
                        <a:gd name="connsiteY253" fmla="*/ 18540 h 49520"/>
                        <a:gd name="connsiteX254" fmla="*/ 26315 w 28886"/>
                        <a:gd name="connsiteY254" fmla="*/ 18301 h 49520"/>
                        <a:gd name="connsiteX255" fmla="*/ 26375 w 28886"/>
                        <a:gd name="connsiteY255" fmla="*/ 18062 h 49520"/>
                        <a:gd name="connsiteX256" fmla="*/ 26435 w 28886"/>
                        <a:gd name="connsiteY256" fmla="*/ 17823 h 49520"/>
                        <a:gd name="connsiteX257" fmla="*/ 26495 w 28886"/>
                        <a:gd name="connsiteY257" fmla="*/ 17643 h 49520"/>
                        <a:gd name="connsiteX258" fmla="*/ 26554 w 28886"/>
                        <a:gd name="connsiteY258" fmla="*/ 17464 h 49520"/>
                        <a:gd name="connsiteX259" fmla="*/ 26614 w 28886"/>
                        <a:gd name="connsiteY259" fmla="*/ 17284 h 49520"/>
                        <a:gd name="connsiteX260" fmla="*/ 26674 w 28886"/>
                        <a:gd name="connsiteY260" fmla="*/ 17105 h 49520"/>
                        <a:gd name="connsiteX261" fmla="*/ 26554 w 28886"/>
                        <a:gd name="connsiteY261" fmla="*/ 16926 h 49520"/>
                        <a:gd name="connsiteX262" fmla="*/ 26435 w 28886"/>
                        <a:gd name="connsiteY262" fmla="*/ 16746 h 49520"/>
                        <a:gd name="connsiteX263" fmla="*/ 26315 w 28886"/>
                        <a:gd name="connsiteY263" fmla="*/ 16567 h 49520"/>
                        <a:gd name="connsiteX264" fmla="*/ 26196 w 28886"/>
                        <a:gd name="connsiteY264" fmla="*/ 16387 h 49520"/>
                        <a:gd name="connsiteX265" fmla="*/ 26136 w 28886"/>
                        <a:gd name="connsiteY265" fmla="*/ 16627 h 49520"/>
                        <a:gd name="connsiteX266" fmla="*/ 26076 w 28886"/>
                        <a:gd name="connsiteY266" fmla="*/ 16866 h 49520"/>
                        <a:gd name="connsiteX267" fmla="*/ 26016 w 28886"/>
                        <a:gd name="connsiteY267" fmla="*/ 17105 h 49520"/>
                        <a:gd name="connsiteX268" fmla="*/ 25956 w 28886"/>
                        <a:gd name="connsiteY268" fmla="*/ 17344 h 49520"/>
                        <a:gd name="connsiteX269" fmla="*/ 25897 w 28886"/>
                        <a:gd name="connsiteY269" fmla="*/ 17583 h 49520"/>
                        <a:gd name="connsiteX270" fmla="*/ 25837 w 28886"/>
                        <a:gd name="connsiteY270" fmla="*/ 17823 h 49520"/>
                        <a:gd name="connsiteX271" fmla="*/ 25777 w 28886"/>
                        <a:gd name="connsiteY271" fmla="*/ 18062 h 49520"/>
                        <a:gd name="connsiteX272" fmla="*/ 25717 w 28886"/>
                        <a:gd name="connsiteY272" fmla="*/ 18301 h 49520"/>
                        <a:gd name="connsiteX273" fmla="*/ 25478 w 28886"/>
                        <a:gd name="connsiteY273" fmla="*/ 18899 h 49520"/>
                        <a:gd name="connsiteX274" fmla="*/ 25238 w 28886"/>
                        <a:gd name="connsiteY274" fmla="*/ 19497 h 49520"/>
                        <a:gd name="connsiteX275" fmla="*/ 24999 w 28886"/>
                        <a:gd name="connsiteY275" fmla="*/ 20096 h 49520"/>
                        <a:gd name="connsiteX276" fmla="*/ 24700 w 28886"/>
                        <a:gd name="connsiteY276" fmla="*/ 20693 h 49520"/>
                        <a:gd name="connsiteX277" fmla="*/ 24581 w 28886"/>
                        <a:gd name="connsiteY277" fmla="*/ 20873 h 49520"/>
                        <a:gd name="connsiteX278" fmla="*/ 24461 w 28886"/>
                        <a:gd name="connsiteY278" fmla="*/ 21052 h 49520"/>
                        <a:gd name="connsiteX279" fmla="*/ 24342 w 28886"/>
                        <a:gd name="connsiteY279" fmla="*/ 21232 h 49520"/>
                        <a:gd name="connsiteX280" fmla="*/ 24222 w 28886"/>
                        <a:gd name="connsiteY280" fmla="*/ 21411 h 49520"/>
                        <a:gd name="connsiteX281" fmla="*/ 23863 w 28886"/>
                        <a:gd name="connsiteY281" fmla="*/ 22009 h 49520"/>
                        <a:gd name="connsiteX282" fmla="*/ 23504 w 28886"/>
                        <a:gd name="connsiteY282" fmla="*/ 22607 h 49520"/>
                        <a:gd name="connsiteX283" fmla="*/ 23145 w 28886"/>
                        <a:gd name="connsiteY283" fmla="*/ 23205 h 49520"/>
                        <a:gd name="connsiteX284" fmla="*/ 22727 w 28886"/>
                        <a:gd name="connsiteY284" fmla="*/ 23804 h 49520"/>
                        <a:gd name="connsiteX285" fmla="*/ 22607 w 28886"/>
                        <a:gd name="connsiteY285" fmla="*/ 23983 h 49520"/>
                        <a:gd name="connsiteX286" fmla="*/ 22488 w 28886"/>
                        <a:gd name="connsiteY286" fmla="*/ 24162 h 49520"/>
                        <a:gd name="connsiteX287" fmla="*/ 22368 w 28886"/>
                        <a:gd name="connsiteY287" fmla="*/ 24342 h 49520"/>
                        <a:gd name="connsiteX288" fmla="*/ 22248 w 28886"/>
                        <a:gd name="connsiteY288" fmla="*/ 24521 h 49520"/>
                        <a:gd name="connsiteX289" fmla="*/ 22069 w 28886"/>
                        <a:gd name="connsiteY289" fmla="*/ 24760 h 49520"/>
                        <a:gd name="connsiteX290" fmla="*/ 21889 w 28886"/>
                        <a:gd name="connsiteY290" fmla="*/ 25000 h 49520"/>
                        <a:gd name="connsiteX291" fmla="*/ 21710 w 28886"/>
                        <a:gd name="connsiteY291" fmla="*/ 25239 h 49520"/>
                        <a:gd name="connsiteX292" fmla="*/ 21530 w 28886"/>
                        <a:gd name="connsiteY292" fmla="*/ 25478 h 49520"/>
                        <a:gd name="connsiteX293" fmla="*/ 21411 w 28886"/>
                        <a:gd name="connsiteY293" fmla="*/ 25658 h 49520"/>
                        <a:gd name="connsiteX294" fmla="*/ 21291 w 28886"/>
                        <a:gd name="connsiteY294" fmla="*/ 25837 h 49520"/>
                        <a:gd name="connsiteX295" fmla="*/ 21172 w 28886"/>
                        <a:gd name="connsiteY295" fmla="*/ 26016 h 49520"/>
                        <a:gd name="connsiteX296" fmla="*/ 21052 w 28886"/>
                        <a:gd name="connsiteY296" fmla="*/ 26196 h 49520"/>
                        <a:gd name="connsiteX297" fmla="*/ 20275 w 28886"/>
                        <a:gd name="connsiteY297" fmla="*/ 27093 h 49520"/>
                        <a:gd name="connsiteX298" fmla="*/ 19497 w 28886"/>
                        <a:gd name="connsiteY298" fmla="*/ 27990 h 49520"/>
                        <a:gd name="connsiteX299" fmla="*/ 18720 w 28886"/>
                        <a:gd name="connsiteY299" fmla="*/ 28887 h 49520"/>
                        <a:gd name="connsiteX300" fmla="*/ 17882 w 28886"/>
                        <a:gd name="connsiteY300" fmla="*/ 29784 h 49520"/>
                        <a:gd name="connsiteX301" fmla="*/ 17703 w 28886"/>
                        <a:gd name="connsiteY301" fmla="*/ 29963 h 49520"/>
                        <a:gd name="connsiteX302" fmla="*/ 17523 w 28886"/>
                        <a:gd name="connsiteY302" fmla="*/ 30143 h 49520"/>
                        <a:gd name="connsiteX303" fmla="*/ 17344 w 28886"/>
                        <a:gd name="connsiteY303" fmla="*/ 30322 h 49520"/>
                        <a:gd name="connsiteX304" fmla="*/ 17165 w 28886"/>
                        <a:gd name="connsiteY304" fmla="*/ 30502 h 49520"/>
                        <a:gd name="connsiteX305" fmla="*/ 15669 w 28886"/>
                        <a:gd name="connsiteY305" fmla="*/ 32057 h 49520"/>
                        <a:gd name="connsiteX306" fmla="*/ 14114 w 28886"/>
                        <a:gd name="connsiteY306" fmla="*/ 33612 h 49520"/>
                        <a:gd name="connsiteX307" fmla="*/ 12559 w 28886"/>
                        <a:gd name="connsiteY307" fmla="*/ 35167 h 49520"/>
                        <a:gd name="connsiteX308" fmla="*/ 10825 w 28886"/>
                        <a:gd name="connsiteY308" fmla="*/ 36841 h 49520"/>
                        <a:gd name="connsiteX309" fmla="*/ 10167 w 28886"/>
                        <a:gd name="connsiteY309" fmla="*/ 39413 h 49520"/>
                        <a:gd name="connsiteX310" fmla="*/ 10705 w 28886"/>
                        <a:gd name="connsiteY310" fmla="*/ 39772 h 49520"/>
                        <a:gd name="connsiteX311" fmla="*/ 11004 w 28886"/>
                        <a:gd name="connsiteY311" fmla="*/ 39473 h 49520"/>
                        <a:gd name="connsiteX312" fmla="*/ 11304 w 28886"/>
                        <a:gd name="connsiteY312" fmla="*/ 39174 h 49520"/>
                        <a:gd name="connsiteX313" fmla="*/ 11603 w 28886"/>
                        <a:gd name="connsiteY313" fmla="*/ 38875 h 49520"/>
                        <a:gd name="connsiteX314" fmla="*/ 11902 w 28886"/>
                        <a:gd name="connsiteY314" fmla="*/ 38576 h 49520"/>
                        <a:gd name="connsiteX315" fmla="*/ 11364 w 28886"/>
                        <a:gd name="connsiteY315" fmla="*/ 38217 h 49520"/>
                        <a:gd name="connsiteX316" fmla="*/ 11064 w 28886"/>
                        <a:gd name="connsiteY316" fmla="*/ 38516 h 49520"/>
                        <a:gd name="connsiteX317" fmla="*/ 10765 w 28886"/>
                        <a:gd name="connsiteY317" fmla="*/ 38815 h 49520"/>
                        <a:gd name="connsiteX318" fmla="*/ 10466 w 28886"/>
                        <a:gd name="connsiteY318" fmla="*/ 39114 h 49520"/>
                        <a:gd name="connsiteX319" fmla="*/ 10167 w 28886"/>
                        <a:gd name="connsiteY319" fmla="*/ 39413 h 49520"/>
                        <a:gd name="connsiteX320" fmla="*/ 8971 w 28886"/>
                        <a:gd name="connsiteY320" fmla="*/ 38636 h 49520"/>
                        <a:gd name="connsiteX321" fmla="*/ 9509 w 28886"/>
                        <a:gd name="connsiteY321" fmla="*/ 38994 h 49520"/>
                        <a:gd name="connsiteX322" fmla="*/ 9808 w 28886"/>
                        <a:gd name="connsiteY322" fmla="*/ 38695 h 49520"/>
                        <a:gd name="connsiteX323" fmla="*/ 10107 w 28886"/>
                        <a:gd name="connsiteY323" fmla="*/ 38396 h 49520"/>
                        <a:gd name="connsiteX324" fmla="*/ 10406 w 28886"/>
                        <a:gd name="connsiteY324" fmla="*/ 38098 h 49520"/>
                        <a:gd name="connsiteX325" fmla="*/ 10705 w 28886"/>
                        <a:gd name="connsiteY325" fmla="*/ 37798 h 49520"/>
                        <a:gd name="connsiteX326" fmla="*/ 10167 w 28886"/>
                        <a:gd name="connsiteY326" fmla="*/ 37439 h 49520"/>
                        <a:gd name="connsiteX327" fmla="*/ 9868 w 28886"/>
                        <a:gd name="connsiteY327" fmla="*/ 37738 h 49520"/>
                        <a:gd name="connsiteX328" fmla="*/ 9569 w 28886"/>
                        <a:gd name="connsiteY328" fmla="*/ 38038 h 49520"/>
                        <a:gd name="connsiteX329" fmla="*/ 9270 w 28886"/>
                        <a:gd name="connsiteY329" fmla="*/ 38337 h 49520"/>
                        <a:gd name="connsiteX330" fmla="*/ 8971 w 28886"/>
                        <a:gd name="connsiteY330" fmla="*/ 38636 h 49520"/>
                        <a:gd name="connsiteX331" fmla="*/ 8493 w 28886"/>
                        <a:gd name="connsiteY331" fmla="*/ 41147 h 49520"/>
                        <a:gd name="connsiteX332" fmla="*/ 9031 w 28886"/>
                        <a:gd name="connsiteY332" fmla="*/ 41506 h 49520"/>
                        <a:gd name="connsiteX333" fmla="*/ 9270 w 28886"/>
                        <a:gd name="connsiteY333" fmla="*/ 41267 h 49520"/>
                        <a:gd name="connsiteX334" fmla="*/ 9509 w 28886"/>
                        <a:gd name="connsiteY334" fmla="*/ 41028 h 49520"/>
                        <a:gd name="connsiteX335" fmla="*/ 9749 w 28886"/>
                        <a:gd name="connsiteY335" fmla="*/ 40789 h 49520"/>
                        <a:gd name="connsiteX336" fmla="*/ 9988 w 28886"/>
                        <a:gd name="connsiteY336" fmla="*/ 40549 h 49520"/>
                        <a:gd name="connsiteX337" fmla="*/ 9450 w 28886"/>
                        <a:gd name="connsiteY337" fmla="*/ 40191 h 49520"/>
                        <a:gd name="connsiteX338" fmla="*/ 9210 w 28886"/>
                        <a:gd name="connsiteY338" fmla="*/ 40430 h 49520"/>
                        <a:gd name="connsiteX339" fmla="*/ 8971 w 28886"/>
                        <a:gd name="connsiteY339" fmla="*/ 40669 h 49520"/>
                        <a:gd name="connsiteX340" fmla="*/ 8732 w 28886"/>
                        <a:gd name="connsiteY340" fmla="*/ 40908 h 49520"/>
                        <a:gd name="connsiteX341" fmla="*/ 8493 w 28886"/>
                        <a:gd name="connsiteY341" fmla="*/ 41147 h 49520"/>
                        <a:gd name="connsiteX342" fmla="*/ 7296 w 28886"/>
                        <a:gd name="connsiteY342" fmla="*/ 40370 h 49520"/>
                        <a:gd name="connsiteX343" fmla="*/ 7835 w 28886"/>
                        <a:gd name="connsiteY343" fmla="*/ 40729 h 49520"/>
                        <a:gd name="connsiteX344" fmla="*/ 8074 w 28886"/>
                        <a:gd name="connsiteY344" fmla="*/ 40490 h 49520"/>
                        <a:gd name="connsiteX345" fmla="*/ 8313 w 28886"/>
                        <a:gd name="connsiteY345" fmla="*/ 40251 h 49520"/>
                        <a:gd name="connsiteX346" fmla="*/ 8552 w 28886"/>
                        <a:gd name="connsiteY346" fmla="*/ 40011 h 49520"/>
                        <a:gd name="connsiteX347" fmla="*/ 8791 w 28886"/>
                        <a:gd name="connsiteY347" fmla="*/ 39772 h 49520"/>
                        <a:gd name="connsiteX348" fmla="*/ 8253 w 28886"/>
                        <a:gd name="connsiteY348" fmla="*/ 39413 h 49520"/>
                        <a:gd name="connsiteX349" fmla="*/ 8014 w 28886"/>
                        <a:gd name="connsiteY349" fmla="*/ 39652 h 49520"/>
                        <a:gd name="connsiteX350" fmla="*/ 7775 w 28886"/>
                        <a:gd name="connsiteY350" fmla="*/ 39892 h 49520"/>
                        <a:gd name="connsiteX351" fmla="*/ 7536 w 28886"/>
                        <a:gd name="connsiteY351" fmla="*/ 40131 h 49520"/>
                        <a:gd name="connsiteX352" fmla="*/ 7296 w 28886"/>
                        <a:gd name="connsiteY352" fmla="*/ 40370 h 49520"/>
                        <a:gd name="connsiteX353" fmla="*/ 0 w 28886"/>
                        <a:gd name="connsiteY353" fmla="*/ 48444 h 49520"/>
                        <a:gd name="connsiteX354" fmla="*/ 1674 w 28886"/>
                        <a:gd name="connsiteY354" fmla="*/ 49521 h 49520"/>
                        <a:gd name="connsiteX355" fmla="*/ 1974 w 28886"/>
                        <a:gd name="connsiteY355" fmla="*/ 49162 h 49520"/>
                        <a:gd name="connsiteX356" fmla="*/ 2452 w 28886"/>
                        <a:gd name="connsiteY356" fmla="*/ 48564 h 49520"/>
                        <a:gd name="connsiteX357" fmla="*/ 2930 w 28886"/>
                        <a:gd name="connsiteY357" fmla="*/ 47966 h 49520"/>
                        <a:gd name="connsiteX358" fmla="*/ 3469 w 28886"/>
                        <a:gd name="connsiteY358" fmla="*/ 47368 h 49520"/>
                        <a:gd name="connsiteX359" fmla="*/ 4007 w 28886"/>
                        <a:gd name="connsiteY359" fmla="*/ 46769 h 49520"/>
                        <a:gd name="connsiteX360" fmla="*/ 4187 w 28886"/>
                        <a:gd name="connsiteY360" fmla="*/ 46590 h 49520"/>
                        <a:gd name="connsiteX361" fmla="*/ 4366 w 28886"/>
                        <a:gd name="connsiteY361" fmla="*/ 46410 h 49520"/>
                        <a:gd name="connsiteX362" fmla="*/ 4545 w 28886"/>
                        <a:gd name="connsiteY362" fmla="*/ 46231 h 49520"/>
                        <a:gd name="connsiteX363" fmla="*/ 4725 w 28886"/>
                        <a:gd name="connsiteY363" fmla="*/ 46052 h 49520"/>
                        <a:gd name="connsiteX364" fmla="*/ 5622 w 28886"/>
                        <a:gd name="connsiteY364" fmla="*/ 45095 h 49520"/>
                        <a:gd name="connsiteX365" fmla="*/ 6519 w 28886"/>
                        <a:gd name="connsiteY365" fmla="*/ 44138 h 49520"/>
                        <a:gd name="connsiteX366" fmla="*/ 7476 w 28886"/>
                        <a:gd name="connsiteY366" fmla="*/ 43181 h 49520"/>
                        <a:gd name="connsiteX367" fmla="*/ 8433 w 28886"/>
                        <a:gd name="connsiteY367" fmla="*/ 42224 h 49520"/>
                        <a:gd name="connsiteX368" fmla="*/ 7895 w 28886"/>
                        <a:gd name="connsiteY368" fmla="*/ 41865 h 49520"/>
                        <a:gd name="connsiteX369" fmla="*/ 6937 w 28886"/>
                        <a:gd name="connsiteY369" fmla="*/ 42822 h 49520"/>
                        <a:gd name="connsiteX370" fmla="*/ 5981 w 28886"/>
                        <a:gd name="connsiteY370" fmla="*/ 43779 h 49520"/>
                        <a:gd name="connsiteX371" fmla="*/ 5083 w 28886"/>
                        <a:gd name="connsiteY371" fmla="*/ 44736 h 49520"/>
                        <a:gd name="connsiteX372" fmla="*/ 4187 w 28886"/>
                        <a:gd name="connsiteY372" fmla="*/ 45693 h 49520"/>
                        <a:gd name="connsiteX373" fmla="*/ 4007 w 28886"/>
                        <a:gd name="connsiteY373" fmla="*/ 45872 h 49520"/>
                        <a:gd name="connsiteX374" fmla="*/ 3828 w 28886"/>
                        <a:gd name="connsiteY374" fmla="*/ 46052 h 49520"/>
                        <a:gd name="connsiteX375" fmla="*/ 3648 w 28886"/>
                        <a:gd name="connsiteY375" fmla="*/ 46231 h 49520"/>
                        <a:gd name="connsiteX376" fmla="*/ 3469 w 28886"/>
                        <a:gd name="connsiteY376" fmla="*/ 46410 h 49520"/>
                        <a:gd name="connsiteX377" fmla="*/ 3050 w 28886"/>
                        <a:gd name="connsiteY377" fmla="*/ 46949 h 49520"/>
                        <a:gd name="connsiteX378" fmla="*/ 2632 w 28886"/>
                        <a:gd name="connsiteY378" fmla="*/ 47487 h 49520"/>
                        <a:gd name="connsiteX379" fmla="*/ 2213 w 28886"/>
                        <a:gd name="connsiteY379" fmla="*/ 48025 h 49520"/>
                        <a:gd name="connsiteX380" fmla="*/ 1794 w 28886"/>
                        <a:gd name="connsiteY380" fmla="*/ 48504 h 49520"/>
                        <a:gd name="connsiteX381" fmla="*/ 1136 w 28886"/>
                        <a:gd name="connsiteY381" fmla="*/ 48085 h 49520"/>
                        <a:gd name="connsiteX382" fmla="*/ 1555 w 28886"/>
                        <a:gd name="connsiteY382" fmla="*/ 47547 h 49520"/>
                        <a:gd name="connsiteX383" fmla="*/ 1974 w 28886"/>
                        <a:gd name="connsiteY383" fmla="*/ 47009 h 49520"/>
                        <a:gd name="connsiteX384" fmla="*/ 2392 w 28886"/>
                        <a:gd name="connsiteY384" fmla="*/ 46470 h 49520"/>
                        <a:gd name="connsiteX385" fmla="*/ 2811 w 28886"/>
                        <a:gd name="connsiteY385" fmla="*/ 45932 h 49520"/>
                        <a:gd name="connsiteX386" fmla="*/ 2990 w 28886"/>
                        <a:gd name="connsiteY386" fmla="*/ 45753 h 49520"/>
                        <a:gd name="connsiteX387" fmla="*/ 3170 w 28886"/>
                        <a:gd name="connsiteY387" fmla="*/ 45573 h 49520"/>
                        <a:gd name="connsiteX388" fmla="*/ 3349 w 28886"/>
                        <a:gd name="connsiteY388" fmla="*/ 45394 h 49520"/>
                        <a:gd name="connsiteX389" fmla="*/ 3528 w 28886"/>
                        <a:gd name="connsiteY389" fmla="*/ 45214 h 49520"/>
                        <a:gd name="connsiteX390" fmla="*/ 4426 w 28886"/>
                        <a:gd name="connsiteY390" fmla="*/ 44257 h 49520"/>
                        <a:gd name="connsiteX391" fmla="*/ 5323 w 28886"/>
                        <a:gd name="connsiteY391" fmla="*/ 43301 h 49520"/>
                        <a:gd name="connsiteX392" fmla="*/ 6280 w 28886"/>
                        <a:gd name="connsiteY392" fmla="*/ 42344 h 49520"/>
                        <a:gd name="connsiteX393" fmla="*/ 7237 w 28886"/>
                        <a:gd name="connsiteY393" fmla="*/ 41387 h 49520"/>
                        <a:gd name="connsiteX394" fmla="*/ 6698 w 28886"/>
                        <a:gd name="connsiteY394" fmla="*/ 41028 h 49520"/>
                        <a:gd name="connsiteX395" fmla="*/ 5742 w 28886"/>
                        <a:gd name="connsiteY395" fmla="*/ 41985 h 49520"/>
                        <a:gd name="connsiteX396" fmla="*/ 4785 w 28886"/>
                        <a:gd name="connsiteY396" fmla="*/ 42942 h 49520"/>
                        <a:gd name="connsiteX397" fmla="*/ 3888 w 28886"/>
                        <a:gd name="connsiteY397" fmla="*/ 43899 h 49520"/>
                        <a:gd name="connsiteX398" fmla="*/ 2990 w 28886"/>
                        <a:gd name="connsiteY398" fmla="*/ 44855 h 49520"/>
                        <a:gd name="connsiteX399" fmla="*/ 2811 w 28886"/>
                        <a:gd name="connsiteY399" fmla="*/ 45035 h 49520"/>
                        <a:gd name="connsiteX400" fmla="*/ 2632 w 28886"/>
                        <a:gd name="connsiteY400" fmla="*/ 45214 h 49520"/>
                        <a:gd name="connsiteX401" fmla="*/ 2452 w 28886"/>
                        <a:gd name="connsiteY401" fmla="*/ 45394 h 49520"/>
                        <a:gd name="connsiteX402" fmla="*/ 2273 w 28886"/>
                        <a:gd name="connsiteY402" fmla="*/ 45573 h 49520"/>
                        <a:gd name="connsiteX403" fmla="*/ 1734 w 28886"/>
                        <a:gd name="connsiteY403" fmla="*/ 46171 h 49520"/>
                        <a:gd name="connsiteX404" fmla="*/ 1196 w 28886"/>
                        <a:gd name="connsiteY404" fmla="*/ 46769 h 49520"/>
                        <a:gd name="connsiteX405" fmla="*/ 718 w 28886"/>
                        <a:gd name="connsiteY405" fmla="*/ 47368 h 49520"/>
                        <a:gd name="connsiteX406" fmla="*/ 239 w 28886"/>
                        <a:gd name="connsiteY406" fmla="*/ 47966 h 49520"/>
                        <a:gd name="connsiteX407" fmla="*/ 0 w 28886"/>
                        <a:gd name="connsiteY407" fmla="*/ 48444 h 4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Lst>
                      <a:rect l="l" t="t" r="r" b="b"/>
                      <a:pathLst>
                        <a:path w="28886" h="49520">
                          <a:moveTo>
                            <a:pt x="19916" y="3768"/>
                          </a:moveTo>
                          <a:lnTo>
                            <a:pt x="20514" y="3050"/>
                          </a:lnTo>
                          <a:cubicBezTo>
                            <a:pt x="20394" y="2990"/>
                            <a:pt x="20275" y="2871"/>
                            <a:pt x="20215" y="2811"/>
                          </a:cubicBezTo>
                          <a:cubicBezTo>
                            <a:pt x="20095" y="2751"/>
                            <a:pt x="19975" y="2632"/>
                            <a:pt x="19916" y="2572"/>
                          </a:cubicBezTo>
                          <a:cubicBezTo>
                            <a:pt x="19856" y="2512"/>
                            <a:pt x="19676" y="2392"/>
                            <a:pt x="19557" y="2333"/>
                          </a:cubicBezTo>
                          <a:cubicBezTo>
                            <a:pt x="19437" y="2273"/>
                            <a:pt x="19318" y="2153"/>
                            <a:pt x="19198" y="2093"/>
                          </a:cubicBezTo>
                          <a:lnTo>
                            <a:pt x="19975" y="1136"/>
                          </a:lnTo>
                          <a:cubicBezTo>
                            <a:pt x="20095" y="1196"/>
                            <a:pt x="20215" y="1316"/>
                            <a:pt x="20335" y="1376"/>
                          </a:cubicBezTo>
                          <a:cubicBezTo>
                            <a:pt x="20454" y="1436"/>
                            <a:pt x="20574" y="1555"/>
                            <a:pt x="20693" y="1615"/>
                          </a:cubicBezTo>
                          <a:cubicBezTo>
                            <a:pt x="20813" y="1675"/>
                            <a:pt x="20933" y="1795"/>
                            <a:pt x="20992" y="1854"/>
                          </a:cubicBezTo>
                          <a:cubicBezTo>
                            <a:pt x="21112" y="1914"/>
                            <a:pt x="21231" y="2034"/>
                            <a:pt x="21291" y="2093"/>
                          </a:cubicBezTo>
                          <a:lnTo>
                            <a:pt x="21889" y="1376"/>
                          </a:lnTo>
                          <a:cubicBezTo>
                            <a:pt x="21770" y="1256"/>
                            <a:pt x="21650" y="1196"/>
                            <a:pt x="21530" y="1077"/>
                          </a:cubicBezTo>
                          <a:cubicBezTo>
                            <a:pt x="21411" y="957"/>
                            <a:pt x="21291" y="897"/>
                            <a:pt x="21172" y="778"/>
                          </a:cubicBezTo>
                          <a:cubicBezTo>
                            <a:pt x="21052" y="658"/>
                            <a:pt x="20933" y="598"/>
                            <a:pt x="20753" y="479"/>
                          </a:cubicBezTo>
                          <a:cubicBezTo>
                            <a:pt x="20634" y="359"/>
                            <a:pt x="20454" y="299"/>
                            <a:pt x="20335" y="180"/>
                          </a:cubicBezTo>
                          <a:lnTo>
                            <a:pt x="20095" y="0"/>
                          </a:lnTo>
                          <a:lnTo>
                            <a:pt x="18181" y="2452"/>
                          </a:lnTo>
                          <a:lnTo>
                            <a:pt x="18421" y="2632"/>
                          </a:lnTo>
                          <a:cubicBezTo>
                            <a:pt x="18540" y="2751"/>
                            <a:pt x="18720" y="2811"/>
                            <a:pt x="18839" y="2931"/>
                          </a:cubicBezTo>
                          <a:cubicBezTo>
                            <a:pt x="18959" y="3050"/>
                            <a:pt x="19079" y="3110"/>
                            <a:pt x="19258" y="3230"/>
                          </a:cubicBezTo>
                          <a:cubicBezTo>
                            <a:pt x="19377" y="3349"/>
                            <a:pt x="19497" y="3409"/>
                            <a:pt x="19617" y="3529"/>
                          </a:cubicBezTo>
                          <a:cubicBezTo>
                            <a:pt x="19676" y="3589"/>
                            <a:pt x="19796" y="3649"/>
                            <a:pt x="19916" y="3768"/>
                          </a:cubicBezTo>
                          <a:moveTo>
                            <a:pt x="26973" y="12261"/>
                          </a:moveTo>
                          <a:cubicBezTo>
                            <a:pt x="26973" y="12141"/>
                            <a:pt x="26913" y="12081"/>
                            <a:pt x="26913" y="11961"/>
                          </a:cubicBezTo>
                          <a:cubicBezTo>
                            <a:pt x="26913" y="11842"/>
                            <a:pt x="26853" y="11782"/>
                            <a:pt x="26853" y="11662"/>
                          </a:cubicBezTo>
                          <a:cubicBezTo>
                            <a:pt x="26853" y="11543"/>
                            <a:pt x="26794" y="11483"/>
                            <a:pt x="26794" y="11364"/>
                          </a:cubicBezTo>
                          <a:cubicBezTo>
                            <a:pt x="26794" y="11244"/>
                            <a:pt x="26734" y="11184"/>
                            <a:pt x="26734" y="11124"/>
                          </a:cubicBezTo>
                          <a:cubicBezTo>
                            <a:pt x="26674" y="11005"/>
                            <a:pt x="26674" y="10885"/>
                            <a:pt x="26614" y="10766"/>
                          </a:cubicBezTo>
                          <a:cubicBezTo>
                            <a:pt x="26554" y="10646"/>
                            <a:pt x="26554" y="10526"/>
                            <a:pt x="26495" y="10407"/>
                          </a:cubicBezTo>
                          <a:cubicBezTo>
                            <a:pt x="26435" y="10287"/>
                            <a:pt x="26375" y="10167"/>
                            <a:pt x="26375" y="10048"/>
                          </a:cubicBezTo>
                          <a:cubicBezTo>
                            <a:pt x="26375" y="9928"/>
                            <a:pt x="26255" y="9808"/>
                            <a:pt x="26196" y="9689"/>
                          </a:cubicBezTo>
                          <a:cubicBezTo>
                            <a:pt x="25956" y="9151"/>
                            <a:pt x="25657" y="8612"/>
                            <a:pt x="25358" y="8074"/>
                          </a:cubicBezTo>
                          <a:cubicBezTo>
                            <a:pt x="24999" y="7536"/>
                            <a:pt x="24641" y="6998"/>
                            <a:pt x="24222" y="6459"/>
                          </a:cubicBezTo>
                          <a:cubicBezTo>
                            <a:pt x="23803" y="5921"/>
                            <a:pt x="23325" y="5443"/>
                            <a:pt x="22787" y="4904"/>
                          </a:cubicBezTo>
                          <a:cubicBezTo>
                            <a:pt x="22248" y="4366"/>
                            <a:pt x="21710" y="3888"/>
                            <a:pt x="21052" y="3349"/>
                          </a:cubicBezTo>
                          <a:lnTo>
                            <a:pt x="20454" y="4067"/>
                          </a:lnTo>
                          <a:cubicBezTo>
                            <a:pt x="20933" y="4426"/>
                            <a:pt x="21351" y="4785"/>
                            <a:pt x="21710" y="5144"/>
                          </a:cubicBezTo>
                          <a:cubicBezTo>
                            <a:pt x="22129" y="5503"/>
                            <a:pt x="22488" y="5861"/>
                            <a:pt x="22846" y="6220"/>
                          </a:cubicBezTo>
                          <a:cubicBezTo>
                            <a:pt x="23205" y="6579"/>
                            <a:pt x="23504" y="6938"/>
                            <a:pt x="23803" y="7357"/>
                          </a:cubicBezTo>
                          <a:cubicBezTo>
                            <a:pt x="24102" y="7715"/>
                            <a:pt x="24342" y="8134"/>
                            <a:pt x="24641" y="8493"/>
                          </a:cubicBezTo>
                          <a:cubicBezTo>
                            <a:pt x="24760" y="8612"/>
                            <a:pt x="24820" y="8792"/>
                            <a:pt x="24940" y="8912"/>
                          </a:cubicBezTo>
                          <a:cubicBezTo>
                            <a:pt x="24999" y="9031"/>
                            <a:pt x="25119" y="9211"/>
                            <a:pt x="25179" y="9330"/>
                          </a:cubicBezTo>
                          <a:cubicBezTo>
                            <a:pt x="25238" y="9450"/>
                            <a:pt x="25358" y="9629"/>
                            <a:pt x="25418" y="9749"/>
                          </a:cubicBezTo>
                          <a:cubicBezTo>
                            <a:pt x="25478" y="9868"/>
                            <a:pt x="25538" y="10048"/>
                            <a:pt x="25597" y="10227"/>
                          </a:cubicBezTo>
                          <a:cubicBezTo>
                            <a:pt x="25597" y="10287"/>
                            <a:pt x="25657" y="10347"/>
                            <a:pt x="25657" y="10347"/>
                          </a:cubicBezTo>
                          <a:cubicBezTo>
                            <a:pt x="25657" y="10407"/>
                            <a:pt x="25717" y="10466"/>
                            <a:pt x="25717" y="10466"/>
                          </a:cubicBezTo>
                          <a:cubicBezTo>
                            <a:pt x="25717" y="10526"/>
                            <a:pt x="25777" y="10586"/>
                            <a:pt x="25777" y="10586"/>
                          </a:cubicBezTo>
                          <a:cubicBezTo>
                            <a:pt x="25777" y="10646"/>
                            <a:pt x="25837" y="10706"/>
                            <a:pt x="25837" y="10706"/>
                          </a:cubicBezTo>
                          <a:cubicBezTo>
                            <a:pt x="25956" y="10825"/>
                            <a:pt x="26076" y="10945"/>
                            <a:pt x="26136" y="11065"/>
                          </a:cubicBezTo>
                          <a:cubicBezTo>
                            <a:pt x="26255" y="11184"/>
                            <a:pt x="26315" y="11304"/>
                            <a:pt x="26435" y="11423"/>
                          </a:cubicBezTo>
                          <a:cubicBezTo>
                            <a:pt x="26554" y="11543"/>
                            <a:pt x="26614" y="11662"/>
                            <a:pt x="26734" y="11782"/>
                          </a:cubicBezTo>
                          <a:cubicBezTo>
                            <a:pt x="26794" y="12081"/>
                            <a:pt x="26853" y="12141"/>
                            <a:pt x="26973" y="12261"/>
                          </a:cubicBezTo>
                          <a:moveTo>
                            <a:pt x="28827" y="14713"/>
                          </a:moveTo>
                          <a:cubicBezTo>
                            <a:pt x="28827" y="14533"/>
                            <a:pt x="28887" y="14354"/>
                            <a:pt x="28887" y="14175"/>
                          </a:cubicBezTo>
                          <a:cubicBezTo>
                            <a:pt x="28887" y="13995"/>
                            <a:pt x="28887" y="13815"/>
                            <a:pt x="28887" y="13636"/>
                          </a:cubicBezTo>
                          <a:cubicBezTo>
                            <a:pt x="28887" y="13457"/>
                            <a:pt x="28887" y="13277"/>
                            <a:pt x="28887" y="13098"/>
                          </a:cubicBezTo>
                          <a:cubicBezTo>
                            <a:pt x="28887" y="12919"/>
                            <a:pt x="28887" y="12739"/>
                            <a:pt x="28887" y="12620"/>
                          </a:cubicBezTo>
                          <a:cubicBezTo>
                            <a:pt x="28887" y="12500"/>
                            <a:pt x="28887" y="12440"/>
                            <a:pt x="28887" y="12320"/>
                          </a:cubicBezTo>
                          <a:cubicBezTo>
                            <a:pt x="28887" y="12201"/>
                            <a:pt x="28887" y="12141"/>
                            <a:pt x="28887" y="12021"/>
                          </a:cubicBezTo>
                          <a:cubicBezTo>
                            <a:pt x="28887" y="11902"/>
                            <a:pt x="28887" y="11842"/>
                            <a:pt x="28827" y="11722"/>
                          </a:cubicBezTo>
                          <a:cubicBezTo>
                            <a:pt x="28827" y="11603"/>
                            <a:pt x="28827" y="11543"/>
                            <a:pt x="28767" y="11423"/>
                          </a:cubicBezTo>
                          <a:cubicBezTo>
                            <a:pt x="28648" y="10526"/>
                            <a:pt x="28408" y="9689"/>
                            <a:pt x="28050" y="8852"/>
                          </a:cubicBezTo>
                          <a:cubicBezTo>
                            <a:pt x="27691" y="8014"/>
                            <a:pt x="27272" y="7177"/>
                            <a:pt x="26734" y="6399"/>
                          </a:cubicBezTo>
                          <a:cubicBezTo>
                            <a:pt x="26196" y="5562"/>
                            <a:pt x="25597" y="4785"/>
                            <a:pt x="24820" y="4007"/>
                          </a:cubicBezTo>
                          <a:cubicBezTo>
                            <a:pt x="24102" y="3230"/>
                            <a:pt x="23265" y="2452"/>
                            <a:pt x="22308" y="1675"/>
                          </a:cubicBezTo>
                          <a:lnTo>
                            <a:pt x="21710" y="2392"/>
                          </a:lnTo>
                          <a:cubicBezTo>
                            <a:pt x="22547" y="3050"/>
                            <a:pt x="23265" y="3708"/>
                            <a:pt x="23923" y="4366"/>
                          </a:cubicBezTo>
                          <a:cubicBezTo>
                            <a:pt x="24581" y="5024"/>
                            <a:pt x="25179" y="5742"/>
                            <a:pt x="25657" y="6399"/>
                          </a:cubicBezTo>
                          <a:cubicBezTo>
                            <a:pt x="26136" y="7117"/>
                            <a:pt x="26554" y="7775"/>
                            <a:pt x="26913" y="8493"/>
                          </a:cubicBezTo>
                          <a:cubicBezTo>
                            <a:pt x="27272" y="9211"/>
                            <a:pt x="27511" y="9928"/>
                            <a:pt x="27691" y="10646"/>
                          </a:cubicBezTo>
                          <a:cubicBezTo>
                            <a:pt x="27691" y="10766"/>
                            <a:pt x="27751" y="10885"/>
                            <a:pt x="27751" y="10945"/>
                          </a:cubicBezTo>
                          <a:cubicBezTo>
                            <a:pt x="27751" y="11065"/>
                            <a:pt x="27811" y="11184"/>
                            <a:pt x="27811" y="11244"/>
                          </a:cubicBezTo>
                          <a:cubicBezTo>
                            <a:pt x="27811" y="11364"/>
                            <a:pt x="27870" y="11483"/>
                            <a:pt x="27870" y="11543"/>
                          </a:cubicBezTo>
                          <a:cubicBezTo>
                            <a:pt x="27870" y="11662"/>
                            <a:pt x="27930" y="11782"/>
                            <a:pt x="27930" y="11902"/>
                          </a:cubicBezTo>
                          <a:cubicBezTo>
                            <a:pt x="27930" y="12021"/>
                            <a:pt x="27990" y="12201"/>
                            <a:pt x="27990" y="12320"/>
                          </a:cubicBezTo>
                          <a:cubicBezTo>
                            <a:pt x="27990" y="12440"/>
                            <a:pt x="27990" y="12620"/>
                            <a:pt x="28050" y="12739"/>
                          </a:cubicBezTo>
                          <a:cubicBezTo>
                            <a:pt x="28050" y="12859"/>
                            <a:pt x="28050" y="13038"/>
                            <a:pt x="28050" y="13158"/>
                          </a:cubicBezTo>
                          <a:cubicBezTo>
                            <a:pt x="28050" y="13277"/>
                            <a:pt x="28050" y="13457"/>
                            <a:pt x="28050" y="13576"/>
                          </a:cubicBezTo>
                          <a:cubicBezTo>
                            <a:pt x="28109" y="13636"/>
                            <a:pt x="28169" y="13756"/>
                            <a:pt x="28229" y="13815"/>
                          </a:cubicBezTo>
                          <a:cubicBezTo>
                            <a:pt x="28289" y="13875"/>
                            <a:pt x="28349" y="13995"/>
                            <a:pt x="28408" y="14055"/>
                          </a:cubicBezTo>
                          <a:cubicBezTo>
                            <a:pt x="28468" y="14115"/>
                            <a:pt x="28528" y="14234"/>
                            <a:pt x="28588" y="14294"/>
                          </a:cubicBezTo>
                          <a:cubicBezTo>
                            <a:pt x="28707" y="14533"/>
                            <a:pt x="28767" y="14653"/>
                            <a:pt x="28827" y="14713"/>
                          </a:cubicBezTo>
                          <a:moveTo>
                            <a:pt x="26973" y="15789"/>
                          </a:moveTo>
                          <a:cubicBezTo>
                            <a:pt x="26973" y="15789"/>
                            <a:pt x="26973" y="15789"/>
                            <a:pt x="26973" y="15789"/>
                          </a:cubicBezTo>
                          <a:cubicBezTo>
                            <a:pt x="26973" y="15789"/>
                            <a:pt x="26973" y="15789"/>
                            <a:pt x="26973" y="15789"/>
                          </a:cubicBezTo>
                          <a:cubicBezTo>
                            <a:pt x="26973" y="15789"/>
                            <a:pt x="26973" y="15789"/>
                            <a:pt x="26973" y="15789"/>
                          </a:cubicBezTo>
                          <a:cubicBezTo>
                            <a:pt x="26973" y="15789"/>
                            <a:pt x="26973" y="15789"/>
                            <a:pt x="26973" y="15789"/>
                          </a:cubicBezTo>
                          <a:cubicBezTo>
                            <a:pt x="26973" y="15610"/>
                            <a:pt x="27033" y="15430"/>
                            <a:pt x="27033" y="15311"/>
                          </a:cubicBezTo>
                          <a:cubicBezTo>
                            <a:pt x="27033" y="15131"/>
                            <a:pt x="27092" y="15012"/>
                            <a:pt x="27092" y="14832"/>
                          </a:cubicBezTo>
                          <a:cubicBezTo>
                            <a:pt x="27092" y="14653"/>
                            <a:pt x="27092" y="14533"/>
                            <a:pt x="27092" y="14354"/>
                          </a:cubicBezTo>
                          <a:cubicBezTo>
                            <a:pt x="27092" y="14175"/>
                            <a:pt x="27092" y="14055"/>
                            <a:pt x="27092" y="13875"/>
                          </a:cubicBezTo>
                          <a:cubicBezTo>
                            <a:pt x="27033" y="13815"/>
                            <a:pt x="26973" y="13696"/>
                            <a:pt x="26853" y="13636"/>
                          </a:cubicBezTo>
                          <a:cubicBezTo>
                            <a:pt x="26794" y="13576"/>
                            <a:pt x="26734" y="13457"/>
                            <a:pt x="26614" y="13397"/>
                          </a:cubicBezTo>
                          <a:cubicBezTo>
                            <a:pt x="26495" y="13337"/>
                            <a:pt x="26495" y="13218"/>
                            <a:pt x="26375" y="13158"/>
                          </a:cubicBezTo>
                          <a:cubicBezTo>
                            <a:pt x="26255" y="13098"/>
                            <a:pt x="26196" y="12978"/>
                            <a:pt x="26136" y="12859"/>
                          </a:cubicBezTo>
                          <a:cubicBezTo>
                            <a:pt x="26136" y="13038"/>
                            <a:pt x="26196" y="13218"/>
                            <a:pt x="26196" y="13397"/>
                          </a:cubicBezTo>
                          <a:cubicBezTo>
                            <a:pt x="26196" y="13576"/>
                            <a:pt x="26196" y="13756"/>
                            <a:pt x="26255" y="13935"/>
                          </a:cubicBezTo>
                          <a:cubicBezTo>
                            <a:pt x="26255" y="14115"/>
                            <a:pt x="26255" y="14294"/>
                            <a:pt x="26255" y="14474"/>
                          </a:cubicBezTo>
                          <a:cubicBezTo>
                            <a:pt x="26255" y="14653"/>
                            <a:pt x="26255" y="14832"/>
                            <a:pt x="26255" y="15012"/>
                          </a:cubicBezTo>
                          <a:cubicBezTo>
                            <a:pt x="26315" y="15072"/>
                            <a:pt x="26375" y="15191"/>
                            <a:pt x="26435" y="15251"/>
                          </a:cubicBezTo>
                          <a:cubicBezTo>
                            <a:pt x="26495" y="15311"/>
                            <a:pt x="26554" y="15370"/>
                            <a:pt x="26614" y="15490"/>
                          </a:cubicBezTo>
                          <a:cubicBezTo>
                            <a:pt x="26674" y="15550"/>
                            <a:pt x="26734" y="15610"/>
                            <a:pt x="26794" y="15729"/>
                          </a:cubicBezTo>
                          <a:cubicBezTo>
                            <a:pt x="26853" y="15670"/>
                            <a:pt x="26913" y="15729"/>
                            <a:pt x="26973" y="15789"/>
                          </a:cubicBezTo>
                          <a:moveTo>
                            <a:pt x="28109" y="17763"/>
                          </a:moveTo>
                          <a:cubicBezTo>
                            <a:pt x="28169" y="17643"/>
                            <a:pt x="28169" y="17464"/>
                            <a:pt x="28229" y="17344"/>
                          </a:cubicBezTo>
                          <a:cubicBezTo>
                            <a:pt x="28289" y="17225"/>
                            <a:pt x="28289" y="17045"/>
                            <a:pt x="28349" y="16926"/>
                          </a:cubicBezTo>
                          <a:cubicBezTo>
                            <a:pt x="28408" y="16806"/>
                            <a:pt x="28408" y="16627"/>
                            <a:pt x="28468" y="16507"/>
                          </a:cubicBezTo>
                          <a:cubicBezTo>
                            <a:pt x="28528" y="16387"/>
                            <a:pt x="28528" y="16208"/>
                            <a:pt x="28588" y="16088"/>
                          </a:cubicBezTo>
                          <a:cubicBezTo>
                            <a:pt x="28528" y="16029"/>
                            <a:pt x="28528" y="15969"/>
                            <a:pt x="28468" y="15849"/>
                          </a:cubicBezTo>
                          <a:cubicBezTo>
                            <a:pt x="28408" y="15789"/>
                            <a:pt x="28349" y="15729"/>
                            <a:pt x="28349" y="15610"/>
                          </a:cubicBezTo>
                          <a:cubicBezTo>
                            <a:pt x="28349" y="15490"/>
                            <a:pt x="28229" y="15490"/>
                            <a:pt x="28229" y="15370"/>
                          </a:cubicBezTo>
                          <a:cubicBezTo>
                            <a:pt x="28229" y="15251"/>
                            <a:pt x="28109" y="15251"/>
                            <a:pt x="28109" y="15131"/>
                          </a:cubicBezTo>
                          <a:cubicBezTo>
                            <a:pt x="28109" y="15131"/>
                            <a:pt x="28109" y="15191"/>
                            <a:pt x="28109" y="15191"/>
                          </a:cubicBezTo>
                          <a:cubicBezTo>
                            <a:pt x="28109" y="15191"/>
                            <a:pt x="28109" y="15251"/>
                            <a:pt x="28109" y="15251"/>
                          </a:cubicBezTo>
                          <a:cubicBezTo>
                            <a:pt x="28109" y="15251"/>
                            <a:pt x="28109" y="15311"/>
                            <a:pt x="28109" y="15311"/>
                          </a:cubicBezTo>
                          <a:cubicBezTo>
                            <a:pt x="28109" y="15311"/>
                            <a:pt x="28109" y="15370"/>
                            <a:pt x="28109" y="15370"/>
                          </a:cubicBezTo>
                          <a:cubicBezTo>
                            <a:pt x="28109" y="15490"/>
                            <a:pt x="28050" y="15610"/>
                            <a:pt x="28050" y="15729"/>
                          </a:cubicBezTo>
                          <a:cubicBezTo>
                            <a:pt x="28050" y="15849"/>
                            <a:pt x="27990" y="15969"/>
                            <a:pt x="27990" y="16088"/>
                          </a:cubicBezTo>
                          <a:cubicBezTo>
                            <a:pt x="27990" y="16208"/>
                            <a:pt x="27930" y="16328"/>
                            <a:pt x="27930" y="16447"/>
                          </a:cubicBezTo>
                          <a:cubicBezTo>
                            <a:pt x="27930" y="16567"/>
                            <a:pt x="27870" y="16686"/>
                            <a:pt x="27870" y="16806"/>
                          </a:cubicBezTo>
                          <a:cubicBezTo>
                            <a:pt x="27930" y="16866"/>
                            <a:pt x="27930" y="16926"/>
                            <a:pt x="27990" y="16985"/>
                          </a:cubicBezTo>
                          <a:cubicBezTo>
                            <a:pt x="28050" y="17045"/>
                            <a:pt x="28050" y="17105"/>
                            <a:pt x="28109" y="17165"/>
                          </a:cubicBezTo>
                          <a:cubicBezTo>
                            <a:pt x="28169" y="17225"/>
                            <a:pt x="28169" y="17284"/>
                            <a:pt x="28229" y="17344"/>
                          </a:cubicBezTo>
                          <a:cubicBezTo>
                            <a:pt x="28289" y="17404"/>
                            <a:pt x="28109" y="17703"/>
                            <a:pt x="28109" y="17763"/>
                          </a:cubicBezTo>
                          <a:moveTo>
                            <a:pt x="12021" y="37619"/>
                          </a:moveTo>
                          <a:lnTo>
                            <a:pt x="12559" y="37978"/>
                          </a:lnTo>
                          <a:cubicBezTo>
                            <a:pt x="13098" y="37439"/>
                            <a:pt x="13636" y="36961"/>
                            <a:pt x="14114" y="36423"/>
                          </a:cubicBezTo>
                          <a:cubicBezTo>
                            <a:pt x="14653" y="35884"/>
                            <a:pt x="15191" y="35346"/>
                            <a:pt x="15669" y="34868"/>
                          </a:cubicBezTo>
                          <a:cubicBezTo>
                            <a:pt x="16208" y="34330"/>
                            <a:pt x="16686" y="33791"/>
                            <a:pt x="17225" y="33313"/>
                          </a:cubicBezTo>
                          <a:cubicBezTo>
                            <a:pt x="17763" y="32775"/>
                            <a:pt x="18241" y="32236"/>
                            <a:pt x="18720" y="31758"/>
                          </a:cubicBezTo>
                          <a:cubicBezTo>
                            <a:pt x="18780" y="31698"/>
                            <a:pt x="18839" y="31638"/>
                            <a:pt x="18899" y="31578"/>
                          </a:cubicBezTo>
                          <a:cubicBezTo>
                            <a:pt x="18959" y="31519"/>
                            <a:pt x="19019" y="31459"/>
                            <a:pt x="19079" y="31399"/>
                          </a:cubicBezTo>
                          <a:cubicBezTo>
                            <a:pt x="19138" y="31339"/>
                            <a:pt x="19198" y="31279"/>
                            <a:pt x="19258" y="31220"/>
                          </a:cubicBezTo>
                          <a:cubicBezTo>
                            <a:pt x="19318" y="31160"/>
                            <a:pt x="19377" y="31100"/>
                            <a:pt x="19437" y="31040"/>
                          </a:cubicBezTo>
                          <a:cubicBezTo>
                            <a:pt x="19736" y="30741"/>
                            <a:pt x="19975" y="30442"/>
                            <a:pt x="20275" y="30143"/>
                          </a:cubicBezTo>
                          <a:cubicBezTo>
                            <a:pt x="20574" y="29844"/>
                            <a:pt x="20813" y="29545"/>
                            <a:pt x="21052" y="29246"/>
                          </a:cubicBezTo>
                          <a:cubicBezTo>
                            <a:pt x="21291" y="28947"/>
                            <a:pt x="21590" y="28648"/>
                            <a:pt x="21830" y="28349"/>
                          </a:cubicBezTo>
                          <a:cubicBezTo>
                            <a:pt x="22069" y="28050"/>
                            <a:pt x="22308" y="27751"/>
                            <a:pt x="22607" y="27452"/>
                          </a:cubicBezTo>
                          <a:cubicBezTo>
                            <a:pt x="22667" y="27392"/>
                            <a:pt x="22727" y="27332"/>
                            <a:pt x="22727" y="27272"/>
                          </a:cubicBezTo>
                          <a:cubicBezTo>
                            <a:pt x="22787" y="27213"/>
                            <a:pt x="22846" y="27153"/>
                            <a:pt x="22846" y="27093"/>
                          </a:cubicBezTo>
                          <a:cubicBezTo>
                            <a:pt x="22906" y="27033"/>
                            <a:pt x="22966" y="26973"/>
                            <a:pt x="22966" y="26913"/>
                          </a:cubicBezTo>
                          <a:cubicBezTo>
                            <a:pt x="23026" y="26854"/>
                            <a:pt x="23086" y="26794"/>
                            <a:pt x="23086" y="26734"/>
                          </a:cubicBezTo>
                          <a:cubicBezTo>
                            <a:pt x="23145" y="26674"/>
                            <a:pt x="23205" y="26554"/>
                            <a:pt x="23265" y="26495"/>
                          </a:cubicBezTo>
                          <a:cubicBezTo>
                            <a:pt x="23325" y="26435"/>
                            <a:pt x="23384" y="26315"/>
                            <a:pt x="23444" y="26255"/>
                          </a:cubicBezTo>
                          <a:cubicBezTo>
                            <a:pt x="23504" y="26196"/>
                            <a:pt x="23564" y="26076"/>
                            <a:pt x="23624" y="26016"/>
                          </a:cubicBezTo>
                          <a:cubicBezTo>
                            <a:pt x="23684" y="25956"/>
                            <a:pt x="23743" y="25837"/>
                            <a:pt x="23803" y="25777"/>
                          </a:cubicBezTo>
                          <a:cubicBezTo>
                            <a:pt x="23863" y="25717"/>
                            <a:pt x="23923" y="25658"/>
                            <a:pt x="23923" y="25598"/>
                          </a:cubicBezTo>
                          <a:cubicBezTo>
                            <a:pt x="23983" y="25538"/>
                            <a:pt x="24043" y="25478"/>
                            <a:pt x="24043" y="25418"/>
                          </a:cubicBezTo>
                          <a:cubicBezTo>
                            <a:pt x="24043" y="25359"/>
                            <a:pt x="24162" y="25299"/>
                            <a:pt x="24162" y="25239"/>
                          </a:cubicBezTo>
                          <a:cubicBezTo>
                            <a:pt x="24162" y="25179"/>
                            <a:pt x="24222" y="25119"/>
                            <a:pt x="24282" y="25059"/>
                          </a:cubicBezTo>
                          <a:cubicBezTo>
                            <a:pt x="24401" y="24880"/>
                            <a:pt x="24521" y="24700"/>
                            <a:pt x="24700" y="24461"/>
                          </a:cubicBezTo>
                          <a:cubicBezTo>
                            <a:pt x="24880" y="24222"/>
                            <a:pt x="24940" y="24102"/>
                            <a:pt x="25059" y="23863"/>
                          </a:cubicBezTo>
                          <a:cubicBezTo>
                            <a:pt x="25179" y="23684"/>
                            <a:pt x="25298" y="23505"/>
                            <a:pt x="25418" y="23265"/>
                          </a:cubicBezTo>
                          <a:cubicBezTo>
                            <a:pt x="25538" y="23086"/>
                            <a:pt x="25657" y="22906"/>
                            <a:pt x="25777" y="22667"/>
                          </a:cubicBezTo>
                          <a:cubicBezTo>
                            <a:pt x="25837" y="22607"/>
                            <a:pt x="25837" y="22547"/>
                            <a:pt x="25897" y="22488"/>
                          </a:cubicBezTo>
                          <a:cubicBezTo>
                            <a:pt x="25956" y="22428"/>
                            <a:pt x="25956" y="22368"/>
                            <a:pt x="26016" y="22308"/>
                          </a:cubicBezTo>
                          <a:cubicBezTo>
                            <a:pt x="26076" y="22248"/>
                            <a:pt x="26076" y="22189"/>
                            <a:pt x="26136" y="22129"/>
                          </a:cubicBezTo>
                          <a:cubicBezTo>
                            <a:pt x="26196" y="22069"/>
                            <a:pt x="26196" y="22009"/>
                            <a:pt x="26255" y="21950"/>
                          </a:cubicBezTo>
                          <a:cubicBezTo>
                            <a:pt x="26375" y="21770"/>
                            <a:pt x="26435" y="21591"/>
                            <a:pt x="26554" y="21411"/>
                          </a:cubicBezTo>
                          <a:cubicBezTo>
                            <a:pt x="26674" y="21232"/>
                            <a:pt x="26734" y="21052"/>
                            <a:pt x="26853" y="20813"/>
                          </a:cubicBezTo>
                          <a:cubicBezTo>
                            <a:pt x="26973" y="20634"/>
                            <a:pt x="27033" y="20454"/>
                            <a:pt x="27152" y="20215"/>
                          </a:cubicBezTo>
                          <a:cubicBezTo>
                            <a:pt x="27212" y="20036"/>
                            <a:pt x="27332" y="19856"/>
                            <a:pt x="27392" y="19617"/>
                          </a:cubicBezTo>
                          <a:cubicBezTo>
                            <a:pt x="27392" y="19557"/>
                            <a:pt x="27451" y="19497"/>
                            <a:pt x="27451" y="19497"/>
                          </a:cubicBezTo>
                          <a:cubicBezTo>
                            <a:pt x="27451" y="19437"/>
                            <a:pt x="27511" y="19378"/>
                            <a:pt x="27511" y="19378"/>
                          </a:cubicBezTo>
                          <a:cubicBezTo>
                            <a:pt x="27511" y="19318"/>
                            <a:pt x="27571" y="19258"/>
                            <a:pt x="27571" y="19258"/>
                          </a:cubicBezTo>
                          <a:cubicBezTo>
                            <a:pt x="27571" y="19198"/>
                            <a:pt x="27631" y="19138"/>
                            <a:pt x="27631" y="19138"/>
                          </a:cubicBezTo>
                          <a:cubicBezTo>
                            <a:pt x="27571" y="19079"/>
                            <a:pt x="27571" y="19019"/>
                            <a:pt x="27511" y="18959"/>
                          </a:cubicBezTo>
                          <a:cubicBezTo>
                            <a:pt x="27451" y="18899"/>
                            <a:pt x="27451" y="18839"/>
                            <a:pt x="27392" y="18780"/>
                          </a:cubicBezTo>
                          <a:cubicBezTo>
                            <a:pt x="27332" y="18720"/>
                            <a:pt x="27332" y="18660"/>
                            <a:pt x="27272" y="18600"/>
                          </a:cubicBezTo>
                          <a:cubicBezTo>
                            <a:pt x="27212" y="18540"/>
                            <a:pt x="27212" y="18481"/>
                            <a:pt x="27152" y="18421"/>
                          </a:cubicBezTo>
                          <a:cubicBezTo>
                            <a:pt x="27152" y="18421"/>
                            <a:pt x="27152" y="18421"/>
                            <a:pt x="27152" y="18421"/>
                          </a:cubicBezTo>
                          <a:cubicBezTo>
                            <a:pt x="27152" y="18421"/>
                            <a:pt x="27152" y="18421"/>
                            <a:pt x="27152" y="18421"/>
                          </a:cubicBezTo>
                          <a:cubicBezTo>
                            <a:pt x="27152" y="18421"/>
                            <a:pt x="27152" y="18421"/>
                            <a:pt x="27152" y="18421"/>
                          </a:cubicBezTo>
                          <a:cubicBezTo>
                            <a:pt x="27152" y="18421"/>
                            <a:pt x="27152" y="18421"/>
                            <a:pt x="27152" y="18421"/>
                          </a:cubicBezTo>
                          <a:cubicBezTo>
                            <a:pt x="27152" y="18481"/>
                            <a:pt x="27092" y="18540"/>
                            <a:pt x="27092" y="18660"/>
                          </a:cubicBezTo>
                          <a:cubicBezTo>
                            <a:pt x="27092" y="18720"/>
                            <a:pt x="27033" y="18780"/>
                            <a:pt x="27033" y="18899"/>
                          </a:cubicBezTo>
                          <a:cubicBezTo>
                            <a:pt x="27033" y="18959"/>
                            <a:pt x="26973" y="19019"/>
                            <a:pt x="26973" y="19138"/>
                          </a:cubicBezTo>
                          <a:cubicBezTo>
                            <a:pt x="26973" y="19198"/>
                            <a:pt x="26913" y="19258"/>
                            <a:pt x="26913" y="19378"/>
                          </a:cubicBezTo>
                          <a:cubicBezTo>
                            <a:pt x="26853" y="19557"/>
                            <a:pt x="26734" y="19737"/>
                            <a:pt x="26674" y="19976"/>
                          </a:cubicBezTo>
                          <a:cubicBezTo>
                            <a:pt x="26614" y="20155"/>
                            <a:pt x="26495" y="20335"/>
                            <a:pt x="26435" y="20574"/>
                          </a:cubicBezTo>
                          <a:cubicBezTo>
                            <a:pt x="26315" y="20753"/>
                            <a:pt x="26255" y="20933"/>
                            <a:pt x="26136" y="21172"/>
                          </a:cubicBezTo>
                          <a:cubicBezTo>
                            <a:pt x="26016" y="21351"/>
                            <a:pt x="25956" y="21531"/>
                            <a:pt x="25837" y="21770"/>
                          </a:cubicBezTo>
                          <a:cubicBezTo>
                            <a:pt x="25777" y="21830"/>
                            <a:pt x="25777" y="21890"/>
                            <a:pt x="25717" y="21950"/>
                          </a:cubicBezTo>
                          <a:cubicBezTo>
                            <a:pt x="25657" y="22009"/>
                            <a:pt x="25657" y="22069"/>
                            <a:pt x="25597" y="22129"/>
                          </a:cubicBezTo>
                          <a:cubicBezTo>
                            <a:pt x="25538" y="22189"/>
                            <a:pt x="25538" y="22248"/>
                            <a:pt x="25478" y="22308"/>
                          </a:cubicBezTo>
                          <a:cubicBezTo>
                            <a:pt x="25418" y="22368"/>
                            <a:pt x="25418" y="22428"/>
                            <a:pt x="25358" y="22488"/>
                          </a:cubicBezTo>
                          <a:cubicBezTo>
                            <a:pt x="25238" y="22667"/>
                            <a:pt x="25119" y="22846"/>
                            <a:pt x="24999" y="23086"/>
                          </a:cubicBezTo>
                          <a:cubicBezTo>
                            <a:pt x="24880" y="23265"/>
                            <a:pt x="24760" y="23445"/>
                            <a:pt x="24641" y="23684"/>
                          </a:cubicBezTo>
                          <a:cubicBezTo>
                            <a:pt x="24521" y="23923"/>
                            <a:pt x="24401" y="24043"/>
                            <a:pt x="24282" y="24282"/>
                          </a:cubicBezTo>
                          <a:cubicBezTo>
                            <a:pt x="24162" y="24461"/>
                            <a:pt x="24043" y="24641"/>
                            <a:pt x="23863" y="24880"/>
                          </a:cubicBezTo>
                          <a:cubicBezTo>
                            <a:pt x="23803" y="24940"/>
                            <a:pt x="23803" y="25000"/>
                            <a:pt x="23743" y="25059"/>
                          </a:cubicBezTo>
                          <a:cubicBezTo>
                            <a:pt x="23684" y="25119"/>
                            <a:pt x="23684" y="25179"/>
                            <a:pt x="23624" y="25239"/>
                          </a:cubicBezTo>
                          <a:cubicBezTo>
                            <a:pt x="23564" y="25299"/>
                            <a:pt x="23504" y="25359"/>
                            <a:pt x="23504" y="25418"/>
                          </a:cubicBezTo>
                          <a:cubicBezTo>
                            <a:pt x="23444" y="25478"/>
                            <a:pt x="23384" y="25538"/>
                            <a:pt x="23384" y="25598"/>
                          </a:cubicBezTo>
                          <a:cubicBezTo>
                            <a:pt x="23325" y="25658"/>
                            <a:pt x="23265" y="25777"/>
                            <a:pt x="23205" y="25837"/>
                          </a:cubicBezTo>
                          <a:cubicBezTo>
                            <a:pt x="23145" y="25897"/>
                            <a:pt x="23086" y="26016"/>
                            <a:pt x="23026" y="26076"/>
                          </a:cubicBezTo>
                          <a:cubicBezTo>
                            <a:pt x="22966" y="26136"/>
                            <a:pt x="22906" y="26255"/>
                            <a:pt x="22846" y="26315"/>
                          </a:cubicBezTo>
                          <a:cubicBezTo>
                            <a:pt x="22787" y="26375"/>
                            <a:pt x="22727" y="26495"/>
                            <a:pt x="22667" y="26554"/>
                          </a:cubicBezTo>
                          <a:cubicBezTo>
                            <a:pt x="22607" y="26614"/>
                            <a:pt x="22547" y="26674"/>
                            <a:pt x="22547" y="26734"/>
                          </a:cubicBezTo>
                          <a:cubicBezTo>
                            <a:pt x="22547" y="26794"/>
                            <a:pt x="22428" y="26854"/>
                            <a:pt x="22428" y="26913"/>
                          </a:cubicBezTo>
                          <a:cubicBezTo>
                            <a:pt x="22428" y="26973"/>
                            <a:pt x="22308" y="27033"/>
                            <a:pt x="22308" y="27093"/>
                          </a:cubicBezTo>
                          <a:cubicBezTo>
                            <a:pt x="22248" y="27153"/>
                            <a:pt x="22189" y="27213"/>
                            <a:pt x="22189" y="27272"/>
                          </a:cubicBezTo>
                          <a:cubicBezTo>
                            <a:pt x="21949" y="27571"/>
                            <a:pt x="21710" y="27870"/>
                            <a:pt x="21411" y="28169"/>
                          </a:cubicBezTo>
                          <a:cubicBezTo>
                            <a:pt x="21112" y="28468"/>
                            <a:pt x="20873" y="28767"/>
                            <a:pt x="20634" y="29067"/>
                          </a:cubicBezTo>
                          <a:cubicBezTo>
                            <a:pt x="20394" y="29366"/>
                            <a:pt x="20095" y="29665"/>
                            <a:pt x="19856" y="29963"/>
                          </a:cubicBezTo>
                          <a:cubicBezTo>
                            <a:pt x="19557" y="30262"/>
                            <a:pt x="19318" y="30562"/>
                            <a:pt x="19019" y="30861"/>
                          </a:cubicBezTo>
                          <a:cubicBezTo>
                            <a:pt x="18959" y="30921"/>
                            <a:pt x="18899" y="30980"/>
                            <a:pt x="18839" y="31040"/>
                          </a:cubicBezTo>
                          <a:cubicBezTo>
                            <a:pt x="18780" y="31100"/>
                            <a:pt x="18720" y="31160"/>
                            <a:pt x="18660" y="31220"/>
                          </a:cubicBezTo>
                          <a:cubicBezTo>
                            <a:pt x="18600" y="31279"/>
                            <a:pt x="18540" y="31339"/>
                            <a:pt x="18480" y="31399"/>
                          </a:cubicBezTo>
                          <a:cubicBezTo>
                            <a:pt x="18421" y="31459"/>
                            <a:pt x="18361" y="31519"/>
                            <a:pt x="18301" y="31578"/>
                          </a:cubicBezTo>
                          <a:cubicBezTo>
                            <a:pt x="17822" y="32117"/>
                            <a:pt x="17284" y="32655"/>
                            <a:pt x="16806" y="33133"/>
                          </a:cubicBezTo>
                          <a:cubicBezTo>
                            <a:pt x="16267" y="33671"/>
                            <a:pt x="15789" y="34210"/>
                            <a:pt x="15251" y="34688"/>
                          </a:cubicBezTo>
                          <a:cubicBezTo>
                            <a:pt x="14713" y="35167"/>
                            <a:pt x="14234" y="35765"/>
                            <a:pt x="13696" y="36243"/>
                          </a:cubicBezTo>
                          <a:cubicBezTo>
                            <a:pt x="13098" y="36542"/>
                            <a:pt x="12559" y="37081"/>
                            <a:pt x="12021" y="37619"/>
                          </a:cubicBezTo>
                          <a:moveTo>
                            <a:pt x="10825" y="36841"/>
                          </a:moveTo>
                          <a:lnTo>
                            <a:pt x="11364" y="37200"/>
                          </a:lnTo>
                          <a:cubicBezTo>
                            <a:pt x="11902" y="36662"/>
                            <a:pt x="12440" y="36184"/>
                            <a:pt x="12978" y="35645"/>
                          </a:cubicBezTo>
                          <a:cubicBezTo>
                            <a:pt x="13516" y="35107"/>
                            <a:pt x="14055" y="34629"/>
                            <a:pt x="14533" y="34090"/>
                          </a:cubicBezTo>
                          <a:cubicBezTo>
                            <a:pt x="15072" y="33552"/>
                            <a:pt x="15550" y="33014"/>
                            <a:pt x="16088" y="32535"/>
                          </a:cubicBezTo>
                          <a:cubicBezTo>
                            <a:pt x="16626" y="32057"/>
                            <a:pt x="17105" y="31459"/>
                            <a:pt x="17583" y="30980"/>
                          </a:cubicBezTo>
                          <a:cubicBezTo>
                            <a:pt x="17643" y="30921"/>
                            <a:pt x="17703" y="30861"/>
                            <a:pt x="17763" y="30801"/>
                          </a:cubicBezTo>
                          <a:cubicBezTo>
                            <a:pt x="17822" y="30741"/>
                            <a:pt x="17882" y="30681"/>
                            <a:pt x="17942" y="30622"/>
                          </a:cubicBezTo>
                          <a:cubicBezTo>
                            <a:pt x="18002" y="30562"/>
                            <a:pt x="18062" y="30502"/>
                            <a:pt x="18121" y="30442"/>
                          </a:cubicBezTo>
                          <a:cubicBezTo>
                            <a:pt x="18181" y="30382"/>
                            <a:pt x="18241" y="30322"/>
                            <a:pt x="18301" y="30262"/>
                          </a:cubicBezTo>
                          <a:cubicBezTo>
                            <a:pt x="18600" y="29963"/>
                            <a:pt x="18839" y="29665"/>
                            <a:pt x="19138" y="29366"/>
                          </a:cubicBezTo>
                          <a:cubicBezTo>
                            <a:pt x="19437" y="29067"/>
                            <a:pt x="19676" y="28767"/>
                            <a:pt x="19916" y="28468"/>
                          </a:cubicBezTo>
                          <a:cubicBezTo>
                            <a:pt x="20155" y="28169"/>
                            <a:pt x="20454" y="27870"/>
                            <a:pt x="20693" y="27571"/>
                          </a:cubicBezTo>
                          <a:cubicBezTo>
                            <a:pt x="20933" y="27272"/>
                            <a:pt x="21172" y="26973"/>
                            <a:pt x="21471" y="26674"/>
                          </a:cubicBezTo>
                          <a:cubicBezTo>
                            <a:pt x="21530" y="26614"/>
                            <a:pt x="21590" y="26554"/>
                            <a:pt x="21590" y="26495"/>
                          </a:cubicBezTo>
                          <a:cubicBezTo>
                            <a:pt x="21650" y="26435"/>
                            <a:pt x="21710" y="26375"/>
                            <a:pt x="21710" y="26315"/>
                          </a:cubicBezTo>
                          <a:cubicBezTo>
                            <a:pt x="21770" y="26255"/>
                            <a:pt x="21830" y="26196"/>
                            <a:pt x="21830" y="26136"/>
                          </a:cubicBezTo>
                          <a:cubicBezTo>
                            <a:pt x="21889" y="26076"/>
                            <a:pt x="21949" y="26016"/>
                            <a:pt x="21949" y="25956"/>
                          </a:cubicBezTo>
                          <a:cubicBezTo>
                            <a:pt x="22009" y="25897"/>
                            <a:pt x="22069" y="25777"/>
                            <a:pt x="22129" y="25717"/>
                          </a:cubicBezTo>
                          <a:cubicBezTo>
                            <a:pt x="22189" y="25658"/>
                            <a:pt x="22248" y="25538"/>
                            <a:pt x="22308" y="25478"/>
                          </a:cubicBezTo>
                          <a:cubicBezTo>
                            <a:pt x="22368" y="25418"/>
                            <a:pt x="22428" y="25299"/>
                            <a:pt x="22488" y="25239"/>
                          </a:cubicBezTo>
                          <a:cubicBezTo>
                            <a:pt x="22547" y="25179"/>
                            <a:pt x="22607" y="25059"/>
                            <a:pt x="22667" y="25000"/>
                          </a:cubicBezTo>
                          <a:cubicBezTo>
                            <a:pt x="22727" y="24940"/>
                            <a:pt x="22787" y="24880"/>
                            <a:pt x="22787" y="24820"/>
                          </a:cubicBezTo>
                          <a:cubicBezTo>
                            <a:pt x="22846" y="24760"/>
                            <a:pt x="22906" y="24700"/>
                            <a:pt x="22906" y="24641"/>
                          </a:cubicBezTo>
                          <a:cubicBezTo>
                            <a:pt x="22906" y="24581"/>
                            <a:pt x="23026" y="24521"/>
                            <a:pt x="23026" y="24461"/>
                          </a:cubicBezTo>
                          <a:cubicBezTo>
                            <a:pt x="23086" y="24401"/>
                            <a:pt x="23086" y="24342"/>
                            <a:pt x="23145" y="24282"/>
                          </a:cubicBezTo>
                          <a:cubicBezTo>
                            <a:pt x="23265" y="24102"/>
                            <a:pt x="23384" y="23923"/>
                            <a:pt x="23564" y="23684"/>
                          </a:cubicBezTo>
                          <a:cubicBezTo>
                            <a:pt x="23743" y="23445"/>
                            <a:pt x="23803" y="23325"/>
                            <a:pt x="23923" y="23086"/>
                          </a:cubicBezTo>
                          <a:cubicBezTo>
                            <a:pt x="24043" y="22906"/>
                            <a:pt x="24162" y="22727"/>
                            <a:pt x="24282" y="22488"/>
                          </a:cubicBezTo>
                          <a:cubicBezTo>
                            <a:pt x="24401" y="22308"/>
                            <a:pt x="24521" y="22129"/>
                            <a:pt x="24641" y="21890"/>
                          </a:cubicBezTo>
                          <a:cubicBezTo>
                            <a:pt x="24700" y="21830"/>
                            <a:pt x="24700" y="21770"/>
                            <a:pt x="24760" y="21710"/>
                          </a:cubicBezTo>
                          <a:cubicBezTo>
                            <a:pt x="24820" y="21651"/>
                            <a:pt x="24820" y="21591"/>
                            <a:pt x="24880" y="21531"/>
                          </a:cubicBezTo>
                          <a:cubicBezTo>
                            <a:pt x="24940" y="21471"/>
                            <a:pt x="24940" y="21411"/>
                            <a:pt x="24999" y="21351"/>
                          </a:cubicBezTo>
                          <a:cubicBezTo>
                            <a:pt x="25059" y="21291"/>
                            <a:pt x="25059" y="21232"/>
                            <a:pt x="25119" y="21172"/>
                          </a:cubicBezTo>
                          <a:cubicBezTo>
                            <a:pt x="25238" y="20992"/>
                            <a:pt x="25298" y="20813"/>
                            <a:pt x="25418" y="20574"/>
                          </a:cubicBezTo>
                          <a:cubicBezTo>
                            <a:pt x="25538" y="20394"/>
                            <a:pt x="25597" y="20215"/>
                            <a:pt x="25717" y="19976"/>
                          </a:cubicBezTo>
                          <a:cubicBezTo>
                            <a:pt x="25777" y="19796"/>
                            <a:pt x="25897" y="19617"/>
                            <a:pt x="25956" y="19378"/>
                          </a:cubicBezTo>
                          <a:cubicBezTo>
                            <a:pt x="26016" y="19198"/>
                            <a:pt x="26136" y="19019"/>
                            <a:pt x="26196" y="18780"/>
                          </a:cubicBezTo>
                          <a:cubicBezTo>
                            <a:pt x="26196" y="18720"/>
                            <a:pt x="26255" y="18600"/>
                            <a:pt x="26255" y="18540"/>
                          </a:cubicBezTo>
                          <a:cubicBezTo>
                            <a:pt x="26255" y="18481"/>
                            <a:pt x="26315" y="18361"/>
                            <a:pt x="26315" y="18301"/>
                          </a:cubicBezTo>
                          <a:cubicBezTo>
                            <a:pt x="26315" y="18241"/>
                            <a:pt x="26375" y="18122"/>
                            <a:pt x="26375" y="18062"/>
                          </a:cubicBezTo>
                          <a:cubicBezTo>
                            <a:pt x="26375" y="18002"/>
                            <a:pt x="26435" y="17883"/>
                            <a:pt x="26435" y="17823"/>
                          </a:cubicBezTo>
                          <a:cubicBezTo>
                            <a:pt x="26435" y="17763"/>
                            <a:pt x="26495" y="17703"/>
                            <a:pt x="26495" y="17643"/>
                          </a:cubicBezTo>
                          <a:cubicBezTo>
                            <a:pt x="26495" y="17583"/>
                            <a:pt x="26554" y="17524"/>
                            <a:pt x="26554" y="17464"/>
                          </a:cubicBezTo>
                          <a:cubicBezTo>
                            <a:pt x="26554" y="17404"/>
                            <a:pt x="26614" y="17344"/>
                            <a:pt x="26614" y="17284"/>
                          </a:cubicBezTo>
                          <a:cubicBezTo>
                            <a:pt x="26614" y="17225"/>
                            <a:pt x="26614" y="17165"/>
                            <a:pt x="26674" y="17105"/>
                          </a:cubicBezTo>
                          <a:cubicBezTo>
                            <a:pt x="26614" y="17045"/>
                            <a:pt x="26614" y="16985"/>
                            <a:pt x="26554" y="16926"/>
                          </a:cubicBezTo>
                          <a:cubicBezTo>
                            <a:pt x="26495" y="16866"/>
                            <a:pt x="26495" y="16806"/>
                            <a:pt x="26435" y="16746"/>
                          </a:cubicBezTo>
                          <a:cubicBezTo>
                            <a:pt x="26375" y="16686"/>
                            <a:pt x="26315" y="16627"/>
                            <a:pt x="26315" y="16567"/>
                          </a:cubicBezTo>
                          <a:cubicBezTo>
                            <a:pt x="26315" y="16507"/>
                            <a:pt x="26196" y="16447"/>
                            <a:pt x="26196" y="16387"/>
                          </a:cubicBezTo>
                          <a:cubicBezTo>
                            <a:pt x="26196" y="16447"/>
                            <a:pt x="26136" y="16567"/>
                            <a:pt x="26136" y="16627"/>
                          </a:cubicBezTo>
                          <a:cubicBezTo>
                            <a:pt x="26136" y="16686"/>
                            <a:pt x="26076" y="16806"/>
                            <a:pt x="26076" y="16866"/>
                          </a:cubicBezTo>
                          <a:cubicBezTo>
                            <a:pt x="26076" y="16926"/>
                            <a:pt x="26016" y="17045"/>
                            <a:pt x="26016" y="17105"/>
                          </a:cubicBezTo>
                          <a:cubicBezTo>
                            <a:pt x="26016" y="17165"/>
                            <a:pt x="25956" y="17284"/>
                            <a:pt x="25956" y="17344"/>
                          </a:cubicBezTo>
                          <a:cubicBezTo>
                            <a:pt x="25956" y="17404"/>
                            <a:pt x="25897" y="17524"/>
                            <a:pt x="25897" y="17583"/>
                          </a:cubicBezTo>
                          <a:cubicBezTo>
                            <a:pt x="25897" y="17643"/>
                            <a:pt x="25837" y="17763"/>
                            <a:pt x="25837" y="17823"/>
                          </a:cubicBezTo>
                          <a:cubicBezTo>
                            <a:pt x="25837" y="17883"/>
                            <a:pt x="25777" y="18002"/>
                            <a:pt x="25777" y="18062"/>
                          </a:cubicBezTo>
                          <a:cubicBezTo>
                            <a:pt x="25777" y="18122"/>
                            <a:pt x="25717" y="18241"/>
                            <a:pt x="25717" y="18301"/>
                          </a:cubicBezTo>
                          <a:cubicBezTo>
                            <a:pt x="25657" y="18481"/>
                            <a:pt x="25597" y="18720"/>
                            <a:pt x="25478" y="18899"/>
                          </a:cubicBezTo>
                          <a:cubicBezTo>
                            <a:pt x="25358" y="19079"/>
                            <a:pt x="25298" y="19318"/>
                            <a:pt x="25238" y="19497"/>
                          </a:cubicBezTo>
                          <a:cubicBezTo>
                            <a:pt x="25179" y="19677"/>
                            <a:pt x="25059" y="19916"/>
                            <a:pt x="24999" y="20096"/>
                          </a:cubicBezTo>
                          <a:cubicBezTo>
                            <a:pt x="24880" y="20275"/>
                            <a:pt x="24820" y="20514"/>
                            <a:pt x="24700" y="20693"/>
                          </a:cubicBezTo>
                          <a:cubicBezTo>
                            <a:pt x="24641" y="20753"/>
                            <a:pt x="24641" y="20813"/>
                            <a:pt x="24581" y="20873"/>
                          </a:cubicBezTo>
                          <a:cubicBezTo>
                            <a:pt x="24521" y="20933"/>
                            <a:pt x="24521" y="20992"/>
                            <a:pt x="24461" y="21052"/>
                          </a:cubicBezTo>
                          <a:cubicBezTo>
                            <a:pt x="24401" y="21112"/>
                            <a:pt x="24401" y="21172"/>
                            <a:pt x="24342" y="21232"/>
                          </a:cubicBezTo>
                          <a:cubicBezTo>
                            <a:pt x="24282" y="21291"/>
                            <a:pt x="24282" y="21351"/>
                            <a:pt x="24222" y="21411"/>
                          </a:cubicBezTo>
                          <a:cubicBezTo>
                            <a:pt x="24102" y="21591"/>
                            <a:pt x="23983" y="21770"/>
                            <a:pt x="23863" y="22009"/>
                          </a:cubicBezTo>
                          <a:cubicBezTo>
                            <a:pt x="23743" y="22189"/>
                            <a:pt x="23624" y="22368"/>
                            <a:pt x="23504" y="22607"/>
                          </a:cubicBezTo>
                          <a:cubicBezTo>
                            <a:pt x="23384" y="22787"/>
                            <a:pt x="23265" y="23026"/>
                            <a:pt x="23145" y="23205"/>
                          </a:cubicBezTo>
                          <a:cubicBezTo>
                            <a:pt x="23026" y="23385"/>
                            <a:pt x="22906" y="23624"/>
                            <a:pt x="22727" y="23804"/>
                          </a:cubicBezTo>
                          <a:cubicBezTo>
                            <a:pt x="22667" y="23863"/>
                            <a:pt x="22667" y="23923"/>
                            <a:pt x="22607" y="23983"/>
                          </a:cubicBezTo>
                          <a:cubicBezTo>
                            <a:pt x="22547" y="24043"/>
                            <a:pt x="22547" y="24102"/>
                            <a:pt x="22488" y="24162"/>
                          </a:cubicBezTo>
                          <a:cubicBezTo>
                            <a:pt x="22428" y="24222"/>
                            <a:pt x="22368" y="24282"/>
                            <a:pt x="22368" y="24342"/>
                          </a:cubicBezTo>
                          <a:cubicBezTo>
                            <a:pt x="22368" y="24401"/>
                            <a:pt x="22248" y="24461"/>
                            <a:pt x="22248" y="24521"/>
                          </a:cubicBezTo>
                          <a:cubicBezTo>
                            <a:pt x="22189" y="24581"/>
                            <a:pt x="22129" y="24700"/>
                            <a:pt x="22069" y="24760"/>
                          </a:cubicBezTo>
                          <a:cubicBezTo>
                            <a:pt x="22009" y="24820"/>
                            <a:pt x="21949" y="24940"/>
                            <a:pt x="21889" y="25000"/>
                          </a:cubicBezTo>
                          <a:cubicBezTo>
                            <a:pt x="21830" y="25059"/>
                            <a:pt x="21770" y="25179"/>
                            <a:pt x="21710" y="25239"/>
                          </a:cubicBezTo>
                          <a:cubicBezTo>
                            <a:pt x="21650" y="25299"/>
                            <a:pt x="21590" y="25418"/>
                            <a:pt x="21530" y="25478"/>
                          </a:cubicBezTo>
                          <a:cubicBezTo>
                            <a:pt x="21471" y="25538"/>
                            <a:pt x="21411" y="25598"/>
                            <a:pt x="21411" y="25658"/>
                          </a:cubicBezTo>
                          <a:cubicBezTo>
                            <a:pt x="21351" y="25717"/>
                            <a:pt x="21291" y="25777"/>
                            <a:pt x="21291" y="25837"/>
                          </a:cubicBezTo>
                          <a:cubicBezTo>
                            <a:pt x="21291" y="25897"/>
                            <a:pt x="21172" y="25956"/>
                            <a:pt x="21172" y="26016"/>
                          </a:cubicBezTo>
                          <a:cubicBezTo>
                            <a:pt x="21112" y="26076"/>
                            <a:pt x="21052" y="26136"/>
                            <a:pt x="21052" y="26196"/>
                          </a:cubicBezTo>
                          <a:cubicBezTo>
                            <a:pt x="20813" y="26495"/>
                            <a:pt x="20574" y="26794"/>
                            <a:pt x="20275" y="27093"/>
                          </a:cubicBezTo>
                          <a:cubicBezTo>
                            <a:pt x="20035" y="27392"/>
                            <a:pt x="19736" y="27691"/>
                            <a:pt x="19497" y="27990"/>
                          </a:cubicBezTo>
                          <a:cubicBezTo>
                            <a:pt x="19258" y="28289"/>
                            <a:pt x="18959" y="28588"/>
                            <a:pt x="18720" y="28887"/>
                          </a:cubicBezTo>
                          <a:cubicBezTo>
                            <a:pt x="18421" y="29186"/>
                            <a:pt x="18181" y="29485"/>
                            <a:pt x="17882" y="29784"/>
                          </a:cubicBezTo>
                          <a:cubicBezTo>
                            <a:pt x="17822" y="29844"/>
                            <a:pt x="17763" y="29904"/>
                            <a:pt x="17703" y="29963"/>
                          </a:cubicBezTo>
                          <a:cubicBezTo>
                            <a:pt x="17643" y="30023"/>
                            <a:pt x="17583" y="30083"/>
                            <a:pt x="17523" y="30143"/>
                          </a:cubicBezTo>
                          <a:cubicBezTo>
                            <a:pt x="17464" y="30203"/>
                            <a:pt x="17404" y="30262"/>
                            <a:pt x="17344" y="30322"/>
                          </a:cubicBezTo>
                          <a:cubicBezTo>
                            <a:pt x="17284" y="30382"/>
                            <a:pt x="17225" y="30442"/>
                            <a:pt x="17165" y="30502"/>
                          </a:cubicBezTo>
                          <a:cubicBezTo>
                            <a:pt x="16686" y="31040"/>
                            <a:pt x="16148" y="31578"/>
                            <a:pt x="15669" y="32057"/>
                          </a:cubicBezTo>
                          <a:cubicBezTo>
                            <a:pt x="15131" y="32595"/>
                            <a:pt x="14653" y="33133"/>
                            <a:pt x="14114" y="33612"/>
                          </a:cubicBezTo>
                          <a:cubicBezTo>
                            <a:pt x="13576" y="34150"/>
                            <a:pt x="13038" y="34688"/>
                            <a:pt x="12559" y="35167"/>
                          </a:cubicBezTo>
                          <a:cubicBezTo>
                            <a:pt x="11902" y="35765"/>
                            <a:pt x="11364" y="36303"/>
                            <a:pt x="10825" y="36841"/>
                          </a:cubicBezTo>
                          <a:moveTo>
                            <a:pt x="10167" y="39413"/>
                          </a:moveTo>
                          <a:lnTo>
                            <a:pt x="10705" y="39772"/>
                          </a:lnTo>
                          <a:cubicBezTo>
                            <a:pt x="10825" y="39652"/>
                            <a:pt x="10885" y="39593"/>
                            <a:pt x="11004" y="39473"/>
                          </a:cubicBezTo>
                          <a:cubicBezTo>
                            <a:pt x="11124" y="39353"/>
                            <a:pt x="11184" y="39293"/>
                            <a:pt x="11304" y="39174"/>
                          </a:cubicBezTo>
                          <a:cubicBezTo>
                            <a:pt x="11423" y="39054"/>
                            <a:pt x="11483" y="38994"/>
                            <a:pt x="11603" y="38875"/>
                          </a:cubicBezTo>
                          <a:cubicBezTo>
                            <a:pt x="11722" y="38755"/>
                            <a:pt x="11782" y="38695"/>
                            <a:pt x="11902" y="38576"/>
                          </a:cubicBezTo>
                          <a:lnTo>
                            <a:pt x="11364" y="38217"/>
                          </a:lnTo>
                          <a:cubicBezTo>
                            <a:pt x="11244" y="38337"/>
                            <a:pt x="11184" y="38396"/>
                            <a:pt x="11064" y="38516"/>
                          </a:cubicBezTo>
                          <a:cubicBezTo>
                            <a:pt x="10945" y="38636"/>
                            <a:pt x="10885" y="38695"/>
                            <a:pt x="10765" y="38815"/>
                          </a:cubicBezTo>
                          <a:cubicBezTo>
                            <a:pt x="10645" y="38935"/>
                            <a:pt x="10586" y="38994"/>
                            <a:pt x="10466" y="39114"/>
                          </a:cubicBezTo>
                          <a:cubicBezTo>
                            <a:pt x="10406" y="39234"/>
                            <a:pt x="10287" y="39353"/>
                            <a:pt x="10167" y="39413"/>
                          </a:cubicBezTo>
                          <a:moveTo>
                            <a:pt x="8971" y="38636"/>
                          </a:moveTo>
                          <a:lnTo>
                            <a:pt x="9509" y="38994"/>
                          </a:lnTo>
                          <a:cubicBezTo>
                            <a:pt x="9629" y="38875"/>
                            <a:pt x="9689" y="38815"/>
                            <a:pt x="9808" y="38695"/>
                          </a:cubicBezTo>
                          <a:cubicBezTo>
                            <a:pt x="9928" y="38576"/>
                            <a:pt x="9988" y="38516"/>
                            <a:pt x="10107" y="38396"/>
                          </a:cubicBezTo>
                          <a:cubicBezTo>
                            <a:pt x="10227" y="38277"/>
                            <a:pt x="10287" y="38217"/>
                            <a:pt x="10406" y="38098"/>
                          </a:cubicBezTo>
                          <a:cubicBezTo>
                            <a:pt x="10526" y="37978"/>
                            <a:pt x="10586" y="37918"/>
                            <a:pt x="10705" y="37798"/>
                          </a:cubicBezTo>
                          <a:lnTo>
                            <a:pt x="10167" y="37439"/>
                          </a:lnTo>
                          <a:cubicBezTo>
                            <a:pt x="10048" y="37559"/>
                            <a:pt x="9988" y="37619"/>
                            <a:pt x="9868" y="37738"/>
                          </a:cubicBezTo>
                          <a:cubicBezTo>
                            <a:pt x="9749" y="37858"/>
                            <a:pt x="9689" y="37918"/>
                            <a:pt x="9569" y="38038"/>
                          </a:cubicBezTo>
                          <a:cubicBezTo>
                            <a:pt x="9450" y="38157"/>
                            <a:pt x="9390" y="38217"/>
                            <a:pt x="9270" y="38337"/>
                          </a:cubicBezTo>
                          <a:cubicBezTo>
                            <a:pt x="9210" y="38456"/>
                            <a:pt x="9091" y="38576"/>
                            <a:pt x="8971" y="38636"/>
                          </a:cubicBezTo>
                          <a:moveTo>
                            <a:pt x="8493" y="41147"/>
                          </a:moveTo>
                          <a:lnTo>
                            <a:pt x="9031" y="41506"/>
                          </a:lnTo>
                          <a:cubicBezTo>
                            <a:pt x="9091" y="41447"/>
                            <a:pt x="9210" y="41327"/>
                            <a:pt x="9270" y="41267"/>
                          </a:cubicBezTo>
                          <a:cubicBezTo>
                            <a:pt x="9330" y="41207"/>
                            <a:pt x="9450" y="41088"/>
                            <a:pt x="9509" y="41028"/>
                          </a:cubicBezTo>
                          <a:cubicBezTo>
                            <a:pt x="9569" y="40968"/>
                            <a:pt x="9689" y="40848"/>
                            <a:pt x="9749" y="40789"/>
                          </a:cubicBezTo>
                          <a:cubicBezTo>
                            <a:pt x="9808" y="40729"/>
                            <a:pt x="9928" y="40609"/>
                            <a:pt x="9988" y="40549"/>
                          </a:cubicBezTo>
                          <a:lnTo>
                            <a:pt x="9450" y="40191"/>
                          </a:lnTo>
                          <a:cubicBezTo>
                            <a:pt x="9390" y="40251"/>
                            <a:pt x="9270" y="40370"/>
                            <a:pt x="9210" y="40430"/>
                          </a:cubicBezTo>
                          <a:cubicBezTo>
                            <a:pt x="9150" y="40490"/>
                            <a:pt x="9031" y="40609"/>
                            <a:pt x="8971" y="40669"/>
                          </a:cubicBezTo>
                          <a:cubicBezTo>
                            <a:pt x="8911" y="40729"/>
                            <a:pt x="8791" y="40848"/>
                            <a:pt x="8732" y="40908"/>
                          </a:cubicBezTo>
                          <a:cubicBezTo>
                            <a:pt x="8672" y="40968"/>
                            <a:pt x="8612" y="41028"/>
                            <a:pt x="8493" y="41147"/>
                          </a:cubicBezTo>
                          <a:moveTo>
                            <a:pt x="7296" y="40370"/>
                          </a:moveTo>
                          <a:lnTo>
                            <a:pt x="7835" y="40729"/>
                          </a:lnTo>
                          <a:cubicBezTo>
                            <a:pt x="7895" y="40669"/>
                            <a:pt x="8014" y="40549"/>
                            <a:pt x="8074" y="40490"/>
                          </a:cubicBezTo>
                          <a:cubicBezTo>
                            <a:pt x="8134" y="40430"/>
                            <a:pt x="8253" y="40310"/>
                            <a:pt x="8313" y="40251"/>
                          </a:cubicBezTo>
                          <a:cubicBezTo>
                            <a:pt x="8373" y="40191"/>
                            <a:pt x="8493" y="40071"/>
                            <a:pt x="8552" y="40011"/>
                          </a:cubicBezTo>
                          <a:cubicBezTo>
                            <a:pt x="8612" y="39952"/>
                            <a:pt x="8732" y="39832"/>
                            <a:pt x="8791" y="39772"/>
                          </a:cubicBezTo>
                          <a:lnTo>
                            <a:pt x="8253" y="39413"/>
                          </a:lnTo>
                          <a:cubicBezTo>
                            <a:pt x="8194" y="39473"/>
                            <a:pt x="8074" y="39593"/>
                            <a:pt x="8014" y="39652"/>
                          </a:cubicBezTo>
                          <a:cubicBezTo>
                            <a:pt x="7954" y="39712"/>
                            <a:pt x="7835" y="39832"/>
                            <a:pt x="7775" y="39892"/>
                          </a:cubicBezTo>
                          <a:cubicBezTo>
                            <a:pt x="7715" y="39952"/>
                            <a:pt x="7596" y="40071"/>
                            <a:pt x="7536" y="40131"/>
                          </a:cubicBezTo>
                          <a:cubicBezTo>
                            <a:pt x="7476" y="40191"/>
                            <a:pt x="7356" y="40251"/>
                            <a:pt x="7296" y="40370"/>
                          </a:cubicBezTo>
                          <a:moveTo>
                            <a:pt x="0" y="48444"/>
                          </a:moveTo>
                          <a:lnTo>
                            <a:pt x="1674" y="49521"/>
                          </a:lnTo>
                          <a:lnTo>
                            <a:pt x="1974" y="49162"/>
                          </a:lnTo>
                          <a:cubicBezTo>
                            <a:pt x="2153" y="48982"/>
                            <a:pt x="2273" y="48743"/>
                            <a:pt x="2452" y="48564"/>
                          </a:cubicBezTo>
                          <a:cubicBezTo>
                            <a:pt x="2632" y="48384"/>
                            <a:pt x="2811" y="48145"/>
                            <a:pt x="2930" y="47966"/>
                          </a:cubicBezTo>
                          <a:cubicBezTo>
                            <a:pt x="3110" y="47786"/>
                            <a:pt x="3289" y="47547"/>
                            <a:pt x="3469" y="47368"/>
                          </a:cubicBezTo>
                          <a:cubicBezTo>
                            <a:pt x="3648" y="47188"/>
                            <a:pt x="3828" y="46949"/>
                            <a:pt x="4007" y="46769"/>
                          </a:cubicBezTo>
                          <a:cubicBezTo>
                            <a:pt x="4067" y="46709"/>
                            <a:pt x="4127" y="46650"/>
                            <a:pt x="4187" y="46590"/>
                          </a:cubicBezTo>
                          <a:cubicBezTo>
                            <a:pt x="4246" y="46530"/>
                            <a:pt x="4306" y="46470"/>
                            <a:pt x="4366" y="46410"/>
                          </a:cubicBezTo>
                          <a:cubicBezTo>
                            <a:pt x="4426" y="46351"/>
                            <a:pt x="4486" y="46291"/>
                            <a:pt x="4545" y="46231"/>
                          </a:cubicBezTo>
                          <a:cubicBezTo>
                            <a:pt x="4605" y="46171"/>
                            <a:pt x="4665" y="46111"/>
                            <a:pt x="4725" y="46052"/>
                          </a:cubicBezTo>
                          <a:cubicBezTo>
                            <a:pt x="5024" y="45753"/>
                            <a:pt x="5323" y="45394"/>
                            <a:pt x="5622" y="45095"/>
                          </a:cubicBezTo>
                          <a:cubicBezTo>
                            <a:pt x="5921" y="44796"/>
                            <a:pt x="6220" y="44437"/>
                            <a:pt x="6519" y="44138"/>
                          </a:cubicBezTo>
                          <a:cubicBezTo>
                            <a:pt x="6818" y="43839"/>
                            <a:pt x="7117" y="43480"/>
                            <a:pt x="7476" y="43181"/>
                          </a:cubicBezTo>
                          <a:cubicBezTo>
                            <a:pt x="7775" y="42882"/>
                            <a:pt x="8134" y="42523"/>
                            <a:pt x="8433" y="42224"/>
                          </a:cubicBezTo>
                          <a:lnTo>
                            <a:pt x="7895" y="41865"/>
                          </a:lnTo>
                          <a:cubicBezTo>
                            <a:pt x="7596" y="42164"/>
                            <a:pt x="7237" y="42523"/>
                            <a:pt x="6937" y="42822"/>
                          </a:cubicBezTo>
                          <a:cubicBezTo>
                            <a:pt x="6639" y="43121"/>
                            <a:pt x="6280" y="43480"/>
                            <a:pt x="5981" y="43779"/>
                          </a:cubicBezTo>
                          <a:cubicBezTo>
                            <a:pt x="5682" y="44078"/>
                            <a:pt x="5383" y="44437"/>
                            <a:pt x="5083" y="44736"/>
                          </a:cubicBezTo>
                          <a:cubicBezTo>
                            <a:pt x="4785" y="45035"/>
                            <a:pt x="4486" y="45394"/>
                            <a:pt x="4187" y="45693"/>
                          </a:cubicBezTo>
                          <a:cubicBezTo>
                            <a:pt x="4127" y="45753"/>
                            <a:pt x="4067" y="45813"/>
                            <a:pt x="4007" y="45872"/>
                          </a:cubicBezTo>
                          <a:cubicBezTo>
                            <a:pt x="3947" y="45932"/>
                            <a:pt x="3888" y="45992"/>
                            <a:pt x="3828" y="46052"/>
                          </a:cubicBezTo>
                          <a:cubicBezTo>
                            <a:pt x="3768" y="46111"/>
                            <a:pt x="3708" y="46171"/>
                            <a:pt x="3648" y="46231"/>
                          </a:cubicBezTo>
                          <a:cubicBezTo>
                            <a:pt x="3588" y="46291"/>
                            <a:pt x="3528" y="46351"/>
                            <a:pt x="3469" y="46410"/>
                          </a:cubicBezTo>
                          <a:cubicBezTo>
                            <a:pt x="3289" y="46590"/>
                            <a:pt x="3170" y="46769"/>
                            <a:pt x="3050" y="46949"/>
                          </a:cubicBezTo>
                          <a:cubicBezTo>
                            <a:pt x="2930" y="47128"/>
                            <a:pt x="2751" y="47308"/>
                            <a:pt x="2632" y="47487"/>
                          </a:cubicBezTo>
                          <a:cubicBezTo>
                            <a:pt x="2512" y="47667"/>
                            <a:pt x="2333" y="47846"/>
                            <a:pt x="2213" y="48025"/>
                          </a:cubicBezTo>
                          <a:cubicBezTo>
                            <a:pt x="2093" y="48205"/>
                            <a:pt x="1914" y="48384"/>
                            <a:pt x="1794" y="48504"/>
                          </a:cubicBezTo>
                          <a:lnTo>
                            <a:pt x="1136" y="48085"/>
                          </a:lnTo>
                          <a:cubicBezTo>
                            <a:pt x="1256" y="47906"/>
                            <a:pt x="1435" y="47726"/>
                            <a:pt x="1555" y="47547"/>
                          </a:cubicBezTo>
                          <a:cubicBezTo>
                            <a:pt x="1674" y="47368"/>
                            <a:pt x="1854" y="47188"/>
                            <a:pt x="1974" y="47009"/>
                          </a:cubicBezTo>
                          <a:cubicBezTo>
                            <a:pt x="2093" y="46829"/>
                            <a:pt x="2273" y="46650"/>
                            <a:pt x="2392" y="46470"/>
                          </a:cubicBezTo>
                          <a:cubicBezTo>
                            <a:pt x="2512" y="46291"/>
                            <a:pt x="2691" y="46111"/>
                            <a:pt x="2811" y="45932"/>
                          </a:cubicBezTo>
                          <a:cubicBezTo>
                            <a:pt x="2871" y="45872"/>
                            <a:pt x="2930" y="45813"/>
                            <a:pt x="2990" y="45753"/>
                          </a:cubicBezTo>
                          <a:cubicBezTo>
                            <a:pt x="3050" y="45693"/>
                            <a:pt x="3110" y="45633"/>
                            <a:pt x="3170" y="45573"/>
                          </a:cubicBezTo>
                          <a:cubicBezTo>
                            <a:pt x="3229" y="45514"/>
                            <a:pt x="3289" y="45454"/>
                            <a:pt x="3349" y="45394"/>
                          </a:cubicBezTo>
                          <a:cubicBezTo>
                            <a:pt x="3409" y="45334"/>
                            <a:pt x="3469" y="45274"/>
                            <a:pt x="3528" y="45214"/>
                          </a:cubicBezTo>
                          <a:cubicBezTo>
                            <a:pt x="3828" y="44915"/>
                            <a:pt x="4127" y="44556"/>
                            <a:pt x="4426" y="44257"/>
                          </a:cubicBezTo>
                          <a:cubicBezTo>
                            <a:pt x="4725" y="43959"/>
                            <a:pt x="5024" y="43600"/>
                            <a:pt x="5323" y="43301"/>
                          </a:cubicBezTo>
                          <a:cubicBezTo>
                            <a:pt x="5622" y="43001"/>
                            <a:pt x="5921" y="42643"/>
                            <a:pt x="6280" y="42344"/>
                          </a:cubicBezTo>
                          <a:cubicBezTo>
                            <a:pt x="6579" y="42045"/>
                            <a:pt x="6937" y="41686"/>
                            <a:pt x="7237" y="41387"/>
                          </a:cubicBezTo>
                          <a:lnTo>
                            <a:pt x="6698" y="41028"/>
                          </a:lnTo>
                          <a:cubicBezTo>
                            <a:pt x="6399" y="41327"/>
                            <a:pt x="6041" y="41686"/>
                            <a:pt x="5742" y="41985"/>
                          </a:cubicBezTo>
                          <a:cubicBezTo>
                            <a:pt x="5442" y="42284"/>
                            <a:pt x="5143" y="42643"/>
                            <a:pt x="4785" y="42942"/>
                          </a:cubicBezTo>
                          <a:cubicBezTo>
                            <a:pt x="4486" y="43241"/>
                            <a:pt x="4187" y="43600"/>
                            <a:pt x="3888" y="43899"/>
                          </a:cubicBezTo>
                          <a:cubicBezTo>
                            <a:pt x="3588" y="44198"/>
                            <a:pt x="3289" y="44556"/>
                            <a:pt x="2990" y="44855"/>
                          </a:cubicBezTo>
                          <a:cubicBezTo>
                            <a:pt x="2930" y="44915"/>
                            <a:pt x="2871" y="44975"/>
                            <a:pt x="2811" y="45035"/>
                          </a:cubicBezTo>
                          <a:cubicBezTo>
                            <a:pt x="2751" y="45095"/>
                            <a:pt x="2691" y="45155"/>
                            <a:pt x="2632" y="45214"/>
                          </a:cubicBezTo>
                          <a:cubicBezTo>
                            <a:pt x="2572" y="45274"/>
                            <a:pt x="2512" y="45334"/>
                            <a:pt x="2452" y="45394"/>
                          </a:cubicBezTo>
                          <a:cubicBezTo>
                            <a:pt x="2392" y="45454"/>
                            <a:pt x="2333" y="45514"/>
                            <a:pt x="2273" y="45573"/>
                          </a:cubicBezTo>
                          <a:cubicBezTo>
                            <a:pt x="2093" y="45753"/>
                            <a:pt x="1914" y="45992"/>
                            <a:pt x="1734" y="46171"/>
                          </a:cubicBezTo>
                          <a:cubicBezTo>
                            <a:pt x="1555" y="46351"/>
                            <a:pt x="1375" y="46590"/>
                            <a:pt x="1196" y="46769"/>
                          </a:cubicBezTo>
                          <a:cubicBezTo>
                            <a:pt x="1017" y="46949"/>
                            <a:pt x="837" y="47188"/>
                            <a:pt x="718" y="47368"/>
                          </a:cubicBezTo>
                          <a:cubicBezTo>
                            <a:pt x="538" y="47547"/>
                            <a:pt x="419" y="47786"/>
                            <a:pt x="239" y="47966"/>
                          </a:cubicBezTo>
                          <a:lnTo>
                            <a:pt x="0" y="48444"/>
                          </a:lnTo>
                        </a:path>
                      </a:pathLst>
                    </a:custGeom>
                    <a:noFill/>
                    <a:ln w="6350" cap="flat">
                      <a:solidFill>
                        <a:schemeClr val="bg1">
                          <a:alpha val="80000"/>
                        </a:schemeClr>
                      </a:solidFill>
                      <a:prstDash val="solid"/>
                      <a:miter/>
                    </a:ln>
                  </p:spPr>
                  <p:txBody>
                    <a:bodyPr rtlCol="0" anchor="ctr"/>
                    <a:lstStyle/>
                    <a:p>
                      <a:endParaRPr lang="en-GB"/>
                    </a:p>
                  </p:txBody>
                </p:sp>
                <p:sp>
                  <p:nvSpPr>
                    <p:cNvPr id="7384" name="Vrije vorm: vorm 7383">
                      <a:extLst>
                        <a:ext uri="{FF2B5EF4-FFF2-40B4-BE49-F238E27FC236}">
                          <a16:creationId xmlns:a16="http://schemas.microsoft.com/office/drawing/2014/main" id="{125276FC-A683-4DF1-BE03-66B3B782CA44}"/>
                        </a:ext>
                      </a:extLst>
                    </p:cNvPr>
                    <p:cNvSpPr/>
                    <p:nvPr/>
                  </p:nvSpPr>
                  <p:spPr>
                    <a:xfrm>
                      <a:off x="5354799" y="5501825"/>
                      <a:ext cx="28696" cy="56158"/>
                    </a:xfrm>
                    <a:custGeom>
                      <a:avLst/>
                      <a:gdLst>
                        <a:gd name="connsiteX0" fmla="*/ 18480 w 28696"/>
                        <a:gd name="connsiteY0" fmla="*/ 3528 h 56158"/>
                        <a:gd name="connsiteX1" fmla="*/ 18600 w 28696"/>
                        <a:gd name="connsiteY1" fmla="*/ 3349 h 56158"/>
                        <a:gd name="connsiteX2" fmla="*/ 18720 w 28696"/>
                        <a:gd name="connsiteY2" fmla="*/ 3170 h 56158"/>
                        <a:gd name="connsiteX3" fmla="*/ 18839 w 28696"/>
                        <a:gd name="connsiteY3" fmla="*/ 2990 h 56158"/>
                        <a:gd name="connsiteX4" fmla="*/ 18959 w 28696"/>
                        <a:gd name="connsiteY4" fmla="*/ 2811 h 56158"/>
                        <a:gd name="connsiteX5" fmla="*/ 18660 w 28696"/>
                        <a:gd name="connsiteY5" fmla="*/ 2631 h 56158"/>
                        <a:gd name="connsiteX6" fmla="*/ 18361 w 28696"/>
                        <a:gd name="connsiteY6" fmla="*/ 2452 h 56158"/>
                        <a:gd name="connsiteX7" fmla="*/ 18062 w 28696"/>
                        <a:gd name="connsiteY7" fmla="*/ 2272 h 56158"/>
                        <a:gd name="connsiteX8" fmla="*/ 17763 w 28696"/>
                        <a:gd name="connsiteY8" fmla="*/ 2093 h 56158"/>
                        <a:gd name="connsiteX9" fmla="*/ 18540 w 28696"/>
                        <a:gd name="connsiteY9" fmla="*/ 1136 h 56158"/>
                        <a:gd name="connsiteX10" fmla="*/ 18780 w 28696"/>
                        <a:gd name="connsiteY10" fmla="*/ 1316 h 56158"/>
                        <a:gd name="connsiteX11" fmla="*/ 19019 w 28696"/>
                        <a:gd name="connsiteY11" fmla="*/ 1495 h 56158"/>
                        <a:gd name="connsiteX12" fmla="*/ 19258 w 28696"/>
                        <a:gd name="connsiteY12" fmla="*/ 1674 h 56158"/>
                        <a:gd name="connsiteX13" fmla="*/ 19497 w 28696"/>
                        <a:gd name="connsiteY13" fmla="*/ 1854 h 56158"/>
                        <a:gd name="connsiteX14" fmla="*/ 19617 w 28696"/>
                        <a:gd name="connsiteY14" fmla="*/ 1674 h 56158"/>
                        <a:gd name="connsiteX15" fmla="*/ 19736 w 28696"/>
                        <a:gd name="connsiteY15" fmla="*/ 1495 h 56158"/>
                        <a:gd name="connsiteX16" fmla="*/ 19856 w 28696"/>
                        <a:gd name="connsiteY16" fmla="*/ 1316 h 56158"/>
                        <a:gd name="connsiteX17" fmla="*/ 19975 w 28696"/>
                        <a:gd name="connsiteY17" fmla="*/ 1136 h 56158"/>
                        <a:gd name="connsiteX18" fmla="*/ 19676 w 28696"/>
                        <a:gd name="connsiteY18" fmla="*/ 897 h 56158"/>
                        <a:gd name="connsiteX19" fmla="*/ 19377 w 28696"/>
                        <a:gd name="connsiteY19" fmla="*/ 658 h 56158"/>
                        <a:gd name="connsiteX20" fmla="*/ 19079 w 28696"/>
                        <a:gd name="connsiteY20" fmla="*/ 418 h 56158"/>
                        <a:gd name="connsiteX21" fmla="*/ 18780 w 28696"/>
                        <a:gd name="connsiteY21" fmla="*/ 179 h 56158"/>
                        <a:gd name="connsiteX22" fmla="*/ 18540 w 28696"/>
                        <a:gd name="connsiteY22" fmla="*/ 0 h 56158"/>
                        <a:gd name="connsiteX23" fmla="*/ 16626 w 28696"/>
                        <a:gd name="connsiteY23" fmla="*/ 2452 h 56158"/>
                        <a:gd name="connsiteX24" fmla="*/ 16866 w 28696"/>
                        <a:gd name="connsiteY24" fmla="*/ 2631 h 56158"/>
                        <a:gd name="connsiteX25" fmla="*/ 17225 w 28696"/>
                        <a:gd name="connsiteY25" fmla="*/ 2871 h 56158"/>
                        <a:gd name="connsiteX26" fmla="*/ 17583 w 28696"/>
                        <a:gd name="connsiteY26" fmla="*/ 3110 h 56158"/>
                        <a:gd name="connsiteX27" fmla="*/ 17942 w 28696"/>
                        <a:gd name="connsiteY27" fmla="*/ 3349 h 56158"/>
                        <a:gd name="connsiteX28" fmla="*/ 18480 w 28696"/>
                        <a:gd name="connsiteY28" fmla="*/ 3528 h 56158"/>
                        <a:gd name="connsiteX29" fmla="*/ 26016 w 28696"/>
                        <a:gd name="connsiteY29" fmla="*/ 21889 h 56158"/>
                        <a:gd name="connsiteX30" fmla="*/ 26315 w 28696"/>
                        <a:gd name="connsiteY30" fmla="*/ 20933 h 56158"/>
                        <a:gd name="connsiteX31" fmla="*/ 26554 w 28696"/>
                        <a:gd name="connsiteY31" fmla="*/ 19975 h 56158"/>
                        <a:gd name="connsiteX32" fmla="*/ 26734 w 28696"/>
                        <a:gd name="connsiteY32" fmla="*/ 19078 h 56158"/>
                        <a:gd name="connsiteX33" fmla="*/ 26853 w 28696"/>
                        <a:gd name="connsiteY33" fmla="*/ 18181 h 56158"/>
                        <a:gd name="connsiteX34" fmla="*/ 26853 w 28696"/>
                        <a:gd name="connsiteY34" fmla="*/ 18181 h 56158"/>
                        <a:gd name="connsiteX35" fmla="*/ 26853 w 28696"/>
                        <a:gd name="connsiteY35" fmla="*/ 18181 h 56158"/>
                        <a:gd name="connsiteX36" fmla="*/ 26853 w 28696"/>
                        <a:gd name="connsiteY36" fmla="*/ 18181 h 56158"/>
                        <a:gd name="connsiteX37" fmla="*/ 26853 w 28696"/>
                        <a:gd name="connsiteY37" fmla="*/ 18181 h 56158"/>
                        <a:gd name="connsiteX38" fmla="*/ 26853 w 28696"/>
                        <a:gd name="connsiteY38" fmla="*/ 17942 h 56158"/>
                        <a:gd name="connsiteX39" fmla="*/ 26853 w 28696"/>
                        <a:gd name="connsiteY39" fmla="*/ 17703 h 56158"/>
                        <a:gd name="connsiteX40" fmla="*/ 26853 w 28696"/>
                        <a:gd name="connsiteY40" fmla="*/ 17464 h 56158"/>
                        <a:gd name="connsiteX41" fmla="*/ 26853 w 28696"/>
                        <a:gd name="connsiteY41" fmla="*/ 17224 h 56158"/>
                        <a:gd name="connsiteX42" fmla="*/ 26554 w 28696"/>
                        <a:gd name="connsiteY42" fmla="*/ 13457 h 56158"/>
                        <a:gd name="connsiteX43" fmla="*/ 25238 w 28696"/>
                        <a:gd name="connsiteY43" fmla="*/ 9868 h 56158"/>
                        <a:gd name="connsiteX44" fmla="*/ 22906 w 28696"/>
                        <a:gd name="connsiteY44" fmla="*/ 6519 h 56158"/>
                        <a:gd name="connsiteX45" fmla="*/ 19497 w 28696"/>
                        <a:gd name="connsiteY45" fmla="*/ 3349 h 56158"/>
                        <a:gd name="connsiteX46" fmla="*/ 19377 w 28696"/>
                        <a:gd name="connsiteY46" fmla="*/ 3528 h 56158"/>
                        <a:gd name="connsiteX47" fmla="*/ 19258 w 28696"/>
                        <a:gd name="connsiteY47" fmla="*/ 3708 h 56158"/>
                        <a:gd name="connsiteX48" fmla="*/ 19138 w 28696"/>
                        <a:gd name="connsiteY48" fmla="*/ 3887 h 56158"/>
                        <a:gd name="connsiteX49" fmla="*/ 19019 w 28696"/>
                        <a:gd name="connsiteY49" fmla="*/ 4067 h 56158"/>
                        <a:gd name="connsiteX50" fmla="*/ 22188 w 28696"/>
                        <a:gd name="connsiteY50" fmla="*/ 6997 h 56158"/>
                        <a:gd name="connsiteX51" fmla="*/ 24461 w 28696"/>
                        <a:gd name="connsiteY51" fmla="*/ 10107 h 56158"/>
                        <a:gd name="connsiteX52" fmla="*/ 25777 w 28696"/>
                        <a:gd name="connsiteY52" fmla="*/ 13337 h 56158"/>
                        <a:gd name="connsiteX53" fmla="*/ 26255 w 28696"/>
                        <a:gd name="connsiteY53" fmla="*/ 16746 h 56158"/>
                        <a:gd name="connsiteX54" fmla="*/ 26255 w 28696"/>
                        <a:gd name="connsiteY54" fmla="*/ 17045 h 56158"/>
                        <a:gd name="connsiteX55" fmla="*/ 26255 w 28696"/>
                        <a:gd name="connsiteY55" fmla="*/ 17344 h 56158"/>
                        <a:gd name="connsiteX56" fmla="*/ 26255 w 28696"/>
                        <a:gd name="connsiteY56" fmla="*/ 17643 h 56158"/>
                        <a:gd name="connsiteX57" fmla="*/ 26255 w 28696"/>
                        <a:gd name="connsiteY57" fmla="*/ 17942 h 56158"/>
                        <a:gd name="connsiteX58" fmla="*/ 26255 w 28696"/>
                        <a:gd name="connsiteY58" fmla="*/ 18062 h 56158"/>
                        <a:gd name="connsiteX59" fmla="*/ 26255 w 28696"/>
                        <a:gd name="connsiteY59" fmla="*/ 18181 h 56158"/>
                        <a:gd name="connsiteX60" fmla="*/ 26255 w 28696"/>
                        <a:gd name="connsiteY60" fmla="*/ 18301 h 56158"/>
                        <a:gd name="connsiteX61" fmla="*/ 26255 w 28696"/>
                        <a:gd name="connsiteY61" fmla="*/ 18420 h 56158"/>
                        <a:gd name="connsiteX62" fmla="*/ 26196 w 28696"/>
                        <a:gd name="connsiteY62" fmla="*/ 19078 h 56158"/>
                        <a:gd name="connsiteX63" fmla="*/ 26076 w 28696"/>
                        <a:gd name="connsiteY63" fmla="*/ 19736 h 56158"/>
                        <a:gd name="connsiteX64" fmla="*/ 25956 w 28696"/>
                        <a:gd name="connsiteY64" fmla="*/ 20394 h 56158"/>
                        <a:gd name="connsiteX65" fmla="*/ 25777 w 28696"/>
                        <a:gd name="connsiteY65" fmla="*/ 21052 h 56158"/>
                        <a:gd name="connsiteX66" fmla="*/ 25896 w 28696"/>
                        <a:gd name="connsiteY66" fmla="*/ 21291 h 56158"/>
                        <a:gd name="connsiteX67" fmla="*/ 26016 w 28696"/>
                        <a:gd name="connsiteY67" fmla="*/ 21530 h 56158"/>
                        <a:gd name="connsiteX68" fmla="*/ 26136 w 28696"/>
                        <a:gd name="connsiteY68" fmla="*/ 21770 h 56158"/>
                        <a:gd name="connsiteX69" fmla="*/ 26016 w 28696"/>
                        <a:gd name="connsiteY69" fmla="*/ 21889 h 56158"/>
                        <a:gd name="connsiteX70" fmla="*/ 26674 w 28696"/>
                        <a:gd name="connsiteY70" fmla="*/ 24341 h 56158"/>
                        <a:gd name="connsiteX71" fmla="*/ 27212 w 28696"/>
                        <a:gd name="connsiteY71" fmla="*/ 23026 h 56158"/>
                        <a:gd name="connsiteX72" fmla="*/ 27691 w 28696"/>
                        <a:gd name="connsiteY72" fmla="*/ 21710 h 56158"/>
                        <a:gd name="connsiteX73" fmla="*/ 28050 w 28696"/>
                        <a:gd name="connsiteY73" fmla="*/ 20394 h 56158"/>
                        <a:gd name="connsiteX74" fmla="*/ 28349 w 28696"/>
                        <a:gd name="connsiteY74" fmla="*/ 19078 h 56158"/>
                        <a:gd name="connsiteX75" fmla="*/ 28408 w 28696"/>
                        <a:gd name="connsiteY75" fmla="*/ 18839 h 56158"/>
                        <a:gd name="connsiteX76" fmla="*/ 28468 w 28696"/>
                        <a:gd name="connsiteY76" fmla="*/ 18600 h 56158"/>
                        <a:gd name="connsiteX77" fmla="*/ 28528 w 28696"/>
                        <a:gd name="connsiteY77" fmla="*/ 18360 h 56158"/>
                        <a:gd name="connsiteX78" fmla="*/ 28588 w 28696"/>
                        <a:gd name="connsiteY78" fmla="*/ 18121 h 56158"/>
                        <a:gd name="connsiteX79" fmla="*/ 28588 w 28696"/>
                        <a:gd name="connsiteY79" fmla="*/ 17942 h 56158"/>
                        <a:gd name="connsiteX80" fmla="*/ 28588 w 28696"/>
                        <a:gd name="connsiteY80" fmla="*/ 17763 h 56158"/>
                        <a:gd name="connsiteX81" fmla="*/ 28588 w 28696"/>
                        <a:gd name="connsiteY81" fmla="*/ 17583 h 56158"/>
                        <a:gd name="connsiteX82" fmla="*/ 28588 w 28696"/>
                        <a:gd name="connsiteY82" fmla="*/ 17404 h 56158"/>
                        <a:gd name="connsiteX83" fmla="*/ 28528 w 28696"/>
                        <a:gd name="connsiteY83" fmla="*/ 12978 h 56158"/>
                        <a:gd name="connsiteX84" fmla="*/ 27212 w 28696"/>
                        <a:gd name="connsiteY84" fmla="*/ 8851 h 56158"/>
                        <a:gd name="connsiteX85" fmla="*/ 24641 w 28696"/>
                        <a:gd name="connsiteY85" fmla="*/ 4964 h 56158"/>
                        <a:gd name="connsiteX86" fmla="*/ 20753 w 28696"/>
                        <a:gd name="connsiteY86" fmla="*/ 1316 h 56158"/>
                        <a:gd name="connsiteX87" fmla="*/ 20634 w 28696"/>
                        <a:gd name="connsiteY87" fmla="*/ 1495 h 56158"/>
                        <a:gd name="connsiteX88" fmla="*/ 20514 w 28696"/>
                        <a:gd name="connsiteY88" fmla="*/ 1674 h 56158"/>
                        <a:gd name="connsiteX89" fmla="*/ 20394 w 28696"/>
                        <a:gd name="connsiteY89" fmla="*/ 1854 h 56158"/>
                        <a:gd name="connsiteX90" fmla="*/ 20275 w 28696"/>
                        <a:gd name="connsiteY90" fmla="*/ 2033 h 56158"/>
                        <a:gd name="connsiteX91" fmla="*/ 24042 w 28696"/>
                        <a:gd name="connsiteY91" fmla="*/ 5562 h 56158"/>
                        <a:gd name="connsiteX92" fmla="*/ 26554 w 28696"/>
                        <a:gd name="connsiteY92" fmla="*/ 9330 h 56158"/>
                        <a:gd name="connsiteX93" fmla="*/ 27810 w 28696"/>
                        <a:gd name="connsiteY93" fmla="*/ 13337 h 56158"/>
                        <a:gd name="connsiteX94" fmla="*/ 27870 w 28696"/>
                        <a:gd name="connsiteY94" fmla="*/ 17583 h 56158"/>
                        <a:gd name="connsiteX95" fmla="*/ 27810 w 28696"/>
                        <a:gd name="connsiteY95" fmla="*/ 17822 h 56158"/>
                        <a:gd name="connsiteX96" fmla="*/ 27751 w 28696"/>
                        <a:gd name="connsiteY96" fmla="*/ 18062 h 56158"/>
                        <a:gd name="connsiteX97" fmla="*/ 27691 w 28696"/>
                        <a:gd name="connsiteY97" fmla="*/ 18301 h 56158"/>
                        <a:gd name="connsiteX98" fmla="*/ 27631 w 28696"/>
                        <a:gd name="connsiteY98" fmla="*/ 18540 h 56158"/>
                        <a:gd name="connsiteX99" fmla="*/ 27391 w 28696"/>
                        <a:gd name="connsiteY99" fmla="*/ 19676 h 56158"/>
                        <a:gd name="connsiteX100" fmla="*/ 27092 w 28696"/>
                        <a:gd name="connsiteY100" fmla="*/ 20813 h 56158"/>
                        <a:gd name="connsiteX101" fmla="*/ 26734 w 28696"/>
                        <a:gd name="connsiteY101" fmla="*/ 21949 h 56158"/>
                        <a:gd name="connsiteX102" fmla="*/ 26315 w 28696"/>
                        <a:gd name="connsiteY102" fmla="*/ 23085 h 56158"/>
                        <a:gd name="connsiteX103" fmla="*/ 26375 w 28696"/>
                        <a:gd name="connsiteY103" fmla="*/ 23384 h 56158"/>
                        <a:gd name="connsiteX104" fmla="*/ 26435 w 28696"/>
                        <a:gd name="connsiteY104" fmla="*/ 23683 h 56158"/>
                        <a:gd name="connsiteX105" fmla="*/ 26495 w 28696"/>
                        <a:gd name="connsiteY105" fmla="*/ 23982 h 56158"/>
                        <a:gd name="connsiteX106" fmla="*/ 26674 w 28696"/>
                        <a:gd name="connsiteY106" fmla="*/ 24341 h 56158"/>
                        <a:gd name="connsiteX107" fmla="*/ 24820 w 28696"/>
                        <a:gd name="connsiteY107" fmla="*/ 24820 h 56158"/>
                        <a:gd name="connsiteX108" fmla="*/ 24820 w 28696"/>
                        <a:gd name="connsiteY108" fmla="*/ 24760 h 56158"/>
                        <a:gd name="connsiteX109" fmla="*/ 24820 w 28696"/>
                        <a:gd name="connsiteY109" fmla="*/ 24700 h 56158"/>
                        <a:gd name="connsiteX110" fmla="*/ 24820 w 28696"/>
                        <a:gd name="connsiteY110" fmla="*/ 24641 h 56158"/>
                        <a:gd name="connsiteX111" fmla="*/ 24820 w 28696"/>
                        <a:gd name="connsiteY111" fmla="*/ 24581 h 56158"/>
                        <a:gd name="connsiteX112" fmla="*/ 24940 w 28696"/>
                        <a:gd name="connsiteY112" fmla="*/ 24341 h 56158"/>
                        <a:gd name="connsiteX113" fmla="*/ 25059 w 28696"/>
                        <a:gd name="connsiteY113" fmla="*/ 24102 h 56158"/>
                        <a:gd name="connsiteX114" fmla="*/ 25179 w 28696"/>
                        <a:gd name="connsiteY114" fmla="*/ 23863 h 56158"/>
                        <a:gd name="connsiteX115" fmla="*/ 25298 w 28696"/>
                        <a:gd name="connsiteY115" fmla="*/ 23624 h 56158"/>
                        <a:gd name="connsiteX116" fmla="*/ 25358 w 28696"/>
                        <a:gd name="connsiteY116" fmla="*/ 23504 h 56158"/>
                        <a:gd name="connsiteX117" fmla="*/ 25418 w 28696"/>
                        <a:gd name="connsiteY117" fmla="*/ 23384 h 56158"/>
                        <a:gd name="connsiteX118" fmla="*/ 25478 w 28696"/>
                        <a:gd name="connsiteY118" fmla="*/ 23265 h 56158"/>
                        <a:gd name="connsiteX119" fmla="*/ 25537 w 28696"/>
                        <a:gd name="connsiteY119" fmla="*/ 23145 h 56158"/>
                        <a:gd name="connsiteX120" fmla="*/ 25478 w 28696"/>
                        <a:gd name="connsiteY120" fmla="*/ 22906 h 56158"/>
                        <a:gd name="connsiteX121" fmla="*/ 25418 w 28696"/>
                        <a:gd name="connsiteY121" fmla="*/ 22667 h 56158"/>
                        <a:gd name="connsiteX122" fmla="*/ 25358 w 28696"/>
                        <a:gd name="connsiteY122" fmla="*/ 22428 h 56158"/>
                        <a:gd name="connsiteX123" fmla="*/ 25238 w 28696"/>
                        <a:gd name="connsiteY123" fmla="*/ 22188 h 56158"/>
                        <a:gd name="connsiteX124" fmla="*/ 25119 w 28696"/>
                        <a:gd name="connsiteY124" fmla="*/ 22487 h 56158"/>
                        <a:gd name="connsiteX125" fmla="*/ 24999 w 28696"/>
                        <a:gd name="connsiteY125" fmla="*/ 22787 h 56158"/>
                        <a:gd name="connsiteX126" fmla="*/ 24880 w 28696"/>
                        <a:gd name="connsiteY126" fmla="*/ 23085 h 56158"/>
                        <a:gd name="connsiteX127" fmla="*/ 24760 w 28696"/>
                        <a:gd name="connsiteY127" fmla="*/ 23384 h 56158"/>
                        <a:gd name="connsiteX128" fmla="*/ 24700 w 28696"/>
                        <a:gd name="connsiteY128" fmla="*/ 23504 h 56158"/>
                        <a:gd name="connsiteX129" fmla="*/ 24641 w 28696"/>
                        <a:gd name="connsiteY129" fmla="*/ 23624 h 56158"/>
                        <a:gd name="connsiteX130" fmla="*/ 24581 w 28696"/>
                        <a:gd name="connsiteY130" fmla="*/ 23743 h 56158"/>
                        <a:gd name="connsiteX131" fmla="*/ 24521 w 28696"/>
                        <a:gd name="connsiteY131" fmla="*/ 23863 h 56158"/>
                        <a:gd name="connsiteX132" fmla="*/ 24581 w 28696"/>
                        <a:gd name="connsiteY132" fmla="*/ 24102 h 56158"/>
                        <a:gd name="connsiteX133" fmla="*/ 24641 w 28696"/>
                        <a:gd name="connsiteY133" fmla="*/ 24341 h 56158"/>
                        <a:gd name="connsiteX134" fmla="*/ 24700 w 28696"/>
                        <a:gd name="connsiteY134" fmla="*/ 24581 h 56158"/>
                        <a:gd name="connsiteX135" fmla="*/ 24820 w 28696"/>
                        <a:gd name="connsiteY135" fmla="*/ 24820 h 56158"/>
                        <a:gd name="connsiteX136" fmla="*/ 25059 w 28696"/>
                        <a:gd name="connsiteY136" fmla="*/ 27511 h 56158"/>
                        <a:gd name="connsiteX137" fmla="*/ 25298 w 28696"/>
                        <a:gd name="connsiteY137" fmla="*/ 27033 h 56158"/>
                        <a:gd name="connsiteX138" fmla="*/ 25537 w 28696"/>
                        <a:gd name="connsiteY138" fmla="*/ 26554 h 56158"/>
                        <a:gd name="connsiteX139" fmla="*/ 25777 w 28696"/>
                        <a:gd name="connsiteY139" fmla="*/ 26076 h 56158"/>
                        <a:gd name="connsiteX140" fmla="*/ 26016 w 28696"/>
                        <a:gd name="connsiteY140" fmla="*/ 25597 h 56158"/>
                        <a:gd name="connsiteX141" fmla="*/ 26016 w 28696"/>
                        <a:gd name="connsiteY141" fmla="*/ 25298 h 56158"/>
                        <a:gd name="connsiteX142" fmla="*/ 25956 w 28696"/>
                        <a:gd name="connsiteY142" fmla="*/ 24999 h 56158"/>
                        <a:gd name="connsiteX143" fmla="*/ 25896 w 28696"/>
                        <a:gd name="connsiteY143" fmla="*/ 24700 h 56158"/>
                        <a:gd name="connsiteX144" fmla="*/ 25837 w 28696"/>
                        <a:gd name="connsiteY144" fmla="*/ 24401 h 56158"/>
                        <a:gd name="connsiteX145" fmla="*/ 25777 w 28696"/>
                        <a:gd name="connsiteY145" fmla="*/ 24521 h 56158"/>
                        <a:gd name="connsiteX146" fmla="*/ 25717 w 28696"/>
                        <a:gd name="connsiteY146" fmla="*/ 24641 h 56158"/>
                        <a:gd name="connsiteX147" fmla="*/ 25657 w 28696"/>
                        <a:gd name="connsiteY147" fmla="*/ 24760 h 56158"/>
                        <a:gd name="connsiteX148" fmla="*/ 25597 w 28696"/>
                        <a:gd name="connsiteY148" fmla="*/ 24880 h 56158"/>
                        <a:gd name="connsiteX149" fmla="*/ 25478 w 28696"/>
                        <a:gd name="connsiteY149" fmla="*/ 25179 h 56158"/>
                        <a:gd name="connsiteX150" fmla="*/ 25298 w 28696"/>
                        <a:gd name="connsiteY150" fmla="*/ 25478 h 56158"/>
                        <a:gd name="connsiteX151" fmla="*/ 25119 w 28696"/>
                        <a:gd name="connsiteY151" fmla="*/ 25777 h 56158"/>
                        <a:gd name="connsiteX152" fmla="*/ 24940 w 28696"/>
                        <a:gd name="connsiteY152" fmla="*/ 26076 h 56158"/>
                        <a:gd name="connsiteX153" fmla="*/ 24940 w 28696"/>
                        <a:gd name="connsiteY153" fmla="*/ 26375 h 56158"/>
                        <a:gd name="connsiteX154" fmla="*/ 24940 w 28696"/>
                        <a:gd name="connsiteY154" fmla="*/ 26674 h 56158"/>
                        <a:gd name="connsiteX155" fmla="*/ 24940 w 28696"/>
                        <a:gd name="connsiteY155" fmla="*/ 26973 h 56158"/>
                        <a:gd name="connsiteX156" fmla="*/ 25059 w 28696"/>
                        <a:gd name="connsiteY156" fmla="*/ 27511 h 56158"/>
                        <a:gd name="connsiteX157" fmla="*/ 11483 w 28696"/>
                        <a:gd name="connsiteY157" fmla="*/ 43958 h 56158"/>
                        <a:gd name="connsiteX158" fmla="*/ 12021 w 28696"/>
                        <a:gd name="connsiteY158" fmla="*/ 44317 h 56158"/>
                        <a:gd name="connsiteX159" fmla="*/ 13457 w 28696"/>
                        <a:gd name="connsiteY159" fmla="*/ 42702 h 56158"/>
                        <a:gd name="connsiteX160" fmla="*/ 14892 w 28696"/>
                        <a:gd name="connsiteY160" fmla="*/ 41088 h 56158"/>
                        <a:gd name="connsiteX161" fmla="*/ 16327 w 28696"/>
                        <a:gd name="connsiteY161" fmla="*/ 39413 h 56158"/>
                        <a:gd name="connsiteX162" fmla="*/ 17703 w 28696"/>
                        <a:gd name="connsiteY162" fmla="*/ 37738 h 56158"/>
                        <a:gd name="connsiteX163" fmla="*/ 17822 w 28696"/>
                        <a:gd name="connsiteY163" fmla="*/ 37559 h 56158"/>
                        <a:gd name="connsiteX164" fmla="*/ 17942 w 28696"/>
                        <a:gd name="connsiteY164" fmla="*/ 37380 h 56158"/>
                        <a:gd name="connsiteX165" fmla="*/ 18062 w 28696"/>
                        <a:gd name="connsiteY165" fmla="*/ 37200 h 56158"/>
                        <a:gd name="connsiteX166" fmla="*/ 18181 w 28696"/>
                        <a:gd name="connsiteY166" fmla="*/ 37020 h 56158"/>
                        <a:gd name="connsiteX167" fmla="*/ 18959 w 28696"/>
                        <a:gd name="connsiteY167" fmla="*/ 36064 h 56158"/>
                        <a:gd name="connsiteX168" fmla="*/ 19736 w 28696"/>
                        <a:gd name="connsiteY168" fmla="*/ 35107 h 56158"/>
                        <a:gd name="connsiteX169" fmla="*/ 20454 w 28696"/>
                        <a:gd name="connsiteY169" fmla="*/ 34150 h 56158"/>
                        <a:gd name="connsiteX170" fmla="*/ 21172 w 28696"/>
                        <a:gd name="connsiteY170" fmla="*/ 33193 h 56158"/>
                        <a:gd name="connsiteX171" fmla="*/ 21291 w 28696"/>
                        <a:gd name="connsiteY171" fmla="*/ 33013 h 56158"/>
                        <a:gd name="connsiteX172" fmla="*/ 21411 w 28696"/>
                        <a:gd name="connsiteY172" fmla="*/ 32834 h 56158"/>
                        <a:gd name="connsiteX173" fmla="*/ 21530 w 28696"/>
                        <a:gd name="connsiteY173" fmla="*/ 32655 h 56158"/>
                        <a:gd name="connsiteX174" fmla="*/ 21650 w 28696"/>
                        <a:gd name="connsiteY174" fmla="*/ 32475 h 56158"/>
                        <a:gd name="connsiteX175" fmla="*/ 21829 w 28696"/>
                        <a:gd name="connsiteY175" fmla="*/ 32236 h 56158"/>
                        <a:gd name="connsiteX176" fmla="*/ 22009 w 28696"/>
                        <a:gd name="connsiteY176" fmla="*/ 31997 h 56158"/>
                        <a:gd name="connsiteX177" fmla="*/ 22188 w 28696"/>
                        <a:gd name="connsiteY177" fmla="*/ 31758 h 56158"/>
                        <a:gd name="connsiteX178" fmla="*/ 22368 w 28696"/>
                        <a:gd name="connsiteY178" fmla="*/ 31518 h 56158"/>
                        <a:gd name="connsiteX179" fmla="*/ 22488 w 28696"/>
                        <a:gd name="connsiteY179" fmla="*/ 31339 h 56158"/>
                        <a:gd name="connsiteX180" fmla="*/ 22607 w 28696"/>
                        <a:gd name="connsiteY180" fmla="*/ 31159 h 56158"/>
                        <a:gd name="connsiteX181" fmla="*/ 22727 w 28696"/>
                        <a:gd name="connsiteY181" fmla="*/ 30980 h 56158"/>
                        <a:gd name="connsiteX182" fmla="*/ 22846 w 28696"/>
                        <a:gd name="connsiteY182" fmla="*/ 30800 h 56158"/>
                        <a:gd name="connsiteX183" fmla="*/ 23145 w 28696"/>
                        <a:gd name="connsiteY183" fmla="*/ 30322 h 56158"/>
                        <a:gd name="connsiteX184" fmla="*/ 23444 w 28696"/>
                        <a:gd name="connsiteY184" fmla="*/ 29844 h 56158"/>
                        <a:gd name="connsiteX185" fmla="*/ 23743 w 28696"/>
                        <a:gd name="connsiteY185" fmla="*/ 29365 h 56158"/>
                        <a:gd name="connsiteX186" fmla="*/ 24042 w 28696"/>
                        <a:gd name="connsiteY186" fmla="*/ 28887 h 56158"/>
                        <a:gd name="connsiteX187" fmla="*/ 24042 w 28696"/>
                        <a:gd name="connsiteY187" fmla="*/ 28767 h 56158"/>
                        <a:gd name="connsiteX188" fmla="*/ 24042 w 28696"/>
                        <a:gd name="connsiteY188" fmla="*/ 28648 h 56158"/>
                        <a:gd name="connsiteX189" fmla="*/ 24042 w 28696"/>
                        <a:gd name="connsiteY189" fmla="*/ 28528 h 56158"/>
                        <a:gd name="connsiteX190" fmla="*/ 24042 w 28696"/>
                        <a:gd name="connsiteY190" fmla="*/ 28408 h 56158"/>
                        <a:gd name="connsiteX191" fmla="*/ 24042 w 28696"/>
                        <a:gd name="connsiteY191" fmla="*/ 28169 h 56158"/>
                        <a:gd name="connsiteX192" fmla="*/ 24042 w 28696"/>
                        <a:gd name="connsiteY192" fmla="*/ 27930 h 56158"/>
                        <a:gd name="connsiteX193" fmla="*/ 24042 w 28696"/>
                        <a:gd name="connsiteY193" fmla="*/ 27690 h 56158"/>
                        <a:gd name="connsiteX194" fmla="*/ 24042 w 28696"/>
                        <a:gd name="connsiteY194" fmla="*/ 27451 h 56158"/>
                        <a:gd name="connsiteX195" fmla="*/ 23983 w 28696"/>
                        <a:gd name="connsiteY195" fmla="*/ 27571 h 56158"/>
                        <a:gd name="connsiteX196" fmla="*/ 23923 w 28696"/>
                        <a:gd name="connsiteY196" fmla="*/ 27690 h 56158"/>
                        <a:gd name="connsiteX197" fmla="*/ 23863 w 28696"/>
                        <a:gd name="connsiteY197" fmla="*/ 27810 h 56158"/>
                        <a:gd name="connsiteX198" fmla="*/ 23803 w 28696"/>
                        <a:gd name="connsiteY198" fmla="*/ 27930 h 56158"/>
                        <a:gd name="connsiteX199" fmla="*/ 23444 w 28696"/>
                        <a:gd name="connsiteY199" fmla="*/ 28528 h 56158"/>
                        <a:gd name="connsiteX200" fmla="*/ 23086 w 28696"/>
                        <a:gd name="connsiteY200" fmla="*/ 29126 h 56158"/>
                        <a:gd name="connsiteX201" fmla="*/ 22727 w 28696"/>
                        <a:gd name="connsiteY201" fmla="*/ 29724 h 56158"/>
                        <a:gd name="connsiteX202" fmla="*/ 22368 w 28696"/>
                        <a:gd name="connsiteY202" fmla="*/ 30322 h 56158"/>
                        <a:gd name="connsiteX203" fmla="*/ 22248 w 28696"/>
                        <a:gd name="connsiteY203" fmla="*/ 30502 h 56158"/>
                        <a:gd name="connsiteX204" fmla="*/ 22129 w 28696"/>
                        <a:gd name="connsiteY204" fmla="*/ 30681 h 56158"/>
                        <a:gd name="connsiteX205" fmla="*/ 22009 w 28696"/>
                        <a:gd name="connsiteY205" fmla="*/ 30860 h 56158"/>
                        <a:gd name="connsiteX206" fmla="*/ 21889 w 28696"/>
                        <a:gd name="connsiteY206" fmla="*/ 31040 h 56158"/>
                        <a:gd name="connsiteX207" fmla="*/ 21710 w 28696"/>
                        <a:gd name="connsiteY207" fmla="*/ 31279 h 56158"/>
                        <a:gd name="connsiteX208" fmla="*/ 21530 w 28696"/>
                        <a:gd name="connsiteY208" fmla="*/ 31518 h 56158"/>
                        <a:gd name="connsiteX209" fmla="*/ 21351 w 28696"/>
                        <a:gd name="connsiteY209" fmla="*/ 31758 h 56158"/>
                        <a:gd name="connsiteX210" fmla="*/ 21172 w 28696"/>
                        <a:gd name="connsiteY210" fmla="*/ 31997 h 56158"/>
                        <a:gd name="connsiteX211" fmla="*/ 21052 w 28696"/>
                        <a:gd name="connsiteY211" fmla="*/ 32176 h 56158"/>
                        <a:gd name="connsiteX212" fmla="*/ 20933 w 28696"/>
                        <a:gd name="connsiteY212" fmla="*/ 32356 h 56158"/>
                        <a:gd name="connsiteX213" fmla="*/ 20813 w 28696"/>
                        <a:gd name="connsiteY213" fmla="*/ 32535 h 56158"/>
                        <a:gd name="connsiteX214" fmla="*/ 20693 w 28696"/>
                        <a:gd name="connsiteY214" fmla="*/ 32714 h 56158"/>
                        <a:gd name="connsiteX215" fmla="*/ 19975 w 28696"/>
                        <a:gd name="connsiteY215" fmla="*/ 33671 h 56158"/>
                        <a:gd name="connsiteX216" fmla="*/ 19258 w 28696"/>
                        <a:gd name="connsiteY216" fmla="*/ 34628 h 56158"/>
                        <a:gd name="connsiteX217" fmla="*/ 18480 w 28696"/>
                        <a:gd name="connsiteY217" fmla="*/ 35585 h 56158"/>
                        <a:gd name="connsiteX218" fmla="*/ 17703 w 28696"/>
                        <a:gd name="connsiteY218" fmla="*/ 36542 h 56158"/>
                        <a:gd name="connsiteX219" fmla="*/ 17583 w 28696"/>
                        <a:gd name="connsiteY219" fmla="*/ 36721 h 56158"/>
                        <a:gd name="connsiteX220" fmla="*/ 17464 w 28696"/>
                        <a:gd name="connsiteY220" fmla="*/ 36901 h 56158"/>
                        <a:gd name="connsiteX221" fmla="*/ 17344 w 28696"/>
                        <a:gd name="connsiteY221" fmla="*/ 37080 h 56158"/>
                        <a:gd name="connsiteX222" fmla="*/ 17225 w 28696"/>
                        <a:gd name="connsiteY222" fmla="*/ 37260 h 56158"/>
                        <a:gd name="connsiteX223" fmla="*/ 15849 w 28696"/>
                        <a:gd name="connsiteY223" fmla="*/ 38934 h 56158"/>
                        <a:gd name="connsiteX224" fmla="*/ 14413 w 28696"/>
                        <a:gd name="connsiteY224" fmla="*/ 40609 h 56158"/>
                        <a:gd name="connsiteX225" fmla="*/ 12978 w 28696"/>
                        <a:gd name="connsiteY225" fmla="*/ 42224 h 56158"/>
                        <a:gd name="connsiteX226" fmla="*/ 11483 w 28696"/>
                        <a:gd name="connsiteY226" fmla="*/ 43958 h 56158"/>
                        <a:gd name="connsiteX227" fmla="*/ 10287 w 28696"/>
                        <a:gd name="connsiteY227" fmla="*/ 43240 h 56158"/>
                        <a:gd name="connsiteX228" fmla="*/ 10765 w 28696"/>
                        <a:gd name="connsiteY228" fmla="*/ 43539 h 56158"/>
                        <a:gd name="connsiteX229" fmla="*/ 12260 w 28696"/>
                        <a:gd name="connsiteY229" fmla="*/ 41925 h 56158"/>
                        <a:gd name="connsiteX230" fmla="*/ 13696 w 28696"/>
                        <a:gd name="connsiteY230" fmla="*/ 40310 h 56158"/>
                        <a:gd name="connsiteX231" fmla="*/ 15131 w 28696"/>
                        <a:gd name="connsiteY231" fmla="*/ 38635 h 56158"/>
                        <a:gd name="connsiteX232" fmla="*/ 16507 w 28696"/>
                        <a:gd name="connsiteY232" fmla="*/ 36961 h 56158"/>
                        <a:gd name="connsiteX233" fmla="*/ 16626 w 28696"/>
                        <a:gd name="connsiteY233" fmla="*/ 36781 h 56158"/>
                        <a:gd name="connsiteX234" fmla="*/ 16746 w 28696"/>
                        <a:gd name="connsiteY234" fmla="*/ 36602 h 56158"/>
                        <a:gd name="connsiteX235" fmla="*/ 16866 w 28696"/>
                        <a:gd name="connsiteY235" fmla="*/ 36422 h 56158"/>
                        <a:gd name="connsiteX236" fmla="*/ 16985 w 28696"/>
                        <a:gd name="connsiteY236" fmla="*/ 36243 h 56158"/>
                        <a:gd name="connsiteX237" fmla="*/ 17763 w 28696"/>
                        <a:gd name="connsiteY237" fmla="*/ 35286 h 56158"/>
                        <a:gd name="connsiteX238" fmla="*/ 18540 w 28696"/>
                        <a:gd name="connsiteY238" fmla="*/ 34329 h 56158"/>
                        <a:gd name="connsiteX239" fmla="*/ 19258 w 28696"/>
                        <a:gd name="connsiteY239" fmla="*/ 33372 h 56158"/>
                        <a:gd name="connsiteX240" fmla="*/ 19975 w 28696"/>
                        <a:gd name="connsiteY240" fmla="*/ 32415 h 56158"/>
                        <a:gd name="connsiteX241" fmla="*/ 20095 w 28696"/>
                        <a:gd name="connsiteY241" fmla="*/ 32236 h 56158"/>
                        <a:gd name="connsiteX242" fmla="*/ 20215 w 28696"/>
                        <a:gd name="connsiteY242" fmla="*/ 32057 h 56158"/>
                        <a:gd name="connsiteX243" fmla="*/ 20334 w 28696"/>
                        <a:gd name="connsiteY243" fmla="*/ 31877 h 56158"/>
                        <a:gd name="connsiteX244" fmla="*/ 20454 w 28696"/>
                        <a:gd name="connsiteY244" fmla="*/ 31698 h 56158"/>
                        <a:gd name="connsiteX245" fmla="*/ 20634 w 28696"/>
                        <a:gd name="connsiteY245" fmla="*/ 31458 h 56158"/>
                        <a:gd name="connsiteX246" fmla="*/ 20813 w 28696"/>
                        <a:gd name="connsiteY246" fmla="*/ 31219 h 56158"/>
                        <a:gd name="connsiteX247" fmla="*/ 20992 w 28696"/>
                        <a:gd name="connsiteY247" fmla="*/ 30980 h 56158"/>
                        <a:gd name="connsiteX248" fmla="*/ 21172 w 28696"/>
                        <a:gd name="connsiteY248" fmla="*/ 30741 h 56158"/>
                        <a:gd name="connsiteX249" fmla="*/ 21291 w 28696"/>
                        <a:gd name="connsiteY249" fmla="*/ 30561 h 56158"/>
                        <a:gd name="connsiteX250" fmla="*/ 21411 w 28696"/>
                        <a:gd name="connsiteY250" fmla="*/ 30382 h 56158"/>
                        <a:gd name="connsiteX251" fmla="*/ 21530 w 28696"/>
                        <a:gd name="connsiteY251" fmla="*/ 30203 h 56158"/>
                        <a:gd name="connsiteX252" fmla="*/ 21650 w 28696"/>
                        <a:gd name="connsiteY252" fmla="*/ 30023 h 56158"/>
                        <a:gd name="connsiteX253" fmla="*/ 22009 w 28696"/>
                        <a:gd name="connsiteY253" fmla="*/ 29425 h 56158"/>
                        <a:gd name="connsiteX254" fmla="*/ 22368 w 28696"/>
                        <a:gd name="connsiteY254" fmla="*/ 28827 h 56158"/>
                        <a:gd name="connsiteX255" fmla="*/ 22727 w 28696"/>
                        <a:gd name="connsiteY255" fmla="*/ 28229 h 56158"/>
                        <a:gd name="connsiteX256" fmla="*/ 23086 w 28696"/>
                        <a:gd name="connsiteY256" fmla="*/ 27631 h 56158"/>
                        <a:gd name="connsiteX257" fmla="*/ 23205 w 28696"/>
                        <a:gd name="connsiteY257" fmla="*/ 27451 h 56158"/>
                        <a:gd name="connsiteX258" fmla="*/ 23325 w 28696"/>
                        <a:gd name="connsiteY258" fmla="*/ 27272 h 56158"/>
                        <a:gd name="connsiteX259" fmla="*/ 23444 w 28696"/>
                        <a:gd name="connsiteY259" fmla="*/ 27092 h 56158"/>
                        <a:gd name="connsiteX260" fmla="*/ 23564 w 28696"/>
                        <a:gd name="connsiteY260" fmla="*/ 26913 h 56158"/>
                        <a:gd name="connsiteX261" fmla="*/ 23683 w 28696"/>
                        <a:gd name="connsiteY261" fmla="*/ 26734 h 56158"/>
                        <a:gd name="connsiteX262" fmla="*/ 23803 w 28696"/>
                        <a:gd name="connsiteY262" fmla="*/ 26554 h 56158"/>
                        <a:gd name="connsiteX263" fmla="*/ 23923 w 28696"/>
                        <a:gd name="connsiteY263" fmla="*/ 26375 h 56158"/>
                        <a:gd name="connsiteX264" fmla="*/ 24042 w 28696"/>
                        <a:gd name="connsiteY264" fmla="*/ 26195 h 56158"/>
                        <a:gd name="connsiteX265" fmla="*/ 23983 w 28696"/>
                        <a:gd name="connsiteY265" fmla="*/ 25956 h 56158"/>
                        <a:gd name="connsiteX266" fmla="*/ 23923 w 28696"/>
                        <a:gd name="connsiteY266" fmla="*/ 25717 h 56158"/>
                        <a:gd name="connsiteX267" fmla="*/ 23863 w 28696"/>
                        <a:gd name="connsiteY267" fmla="*/ 25478 h 56158"/>
                        <a:gd name="connsiteX268" fmla="*/ 23803 w 28696"/>
                        <a:gd name="connsiteY268" fmla="*/ 25238 h 56158"/>
                        <a:gd name="connsiteX269" fmla="*/ 23624 w 28696"/>
                        <a:gd name="connsiteY269" fmla="*/ 25597 h 56158"/>
                        <a:gd name="connsiteX270" fmla="*/ 23444 w 28696"/>
                        <a:gd name="connsiteY270" fmla="*/ 25956 h 56158"/>
                        <a:gd name="connsiteX271" fmla="*/ 23265 w 28696"/>
                        <a:gd name="connsiteY271" fmla="*/ 26315 h 56158"/>
                        <a:gd name="connsiteX272" fmla="*/ 23086 w 28696"/>
                        <a:gd name="connsiteY272" fmla="*/ 26674 h 56158"/>
                        <a:gd name="connsiteX273" fmla="*/ 22966 w 28696"/>
                        <a:gd name="connsiteY273" fmla="*/ 26853 h 56158"/>
                        <a:gd name="connsiteX274" fmla="*/ 22846 w 28696"/>
                        <a:gd name="connsiteY274" fmla="*/ 27033 h 56158"/>
                        <a:gd name="connsiteX275" fmla="*/ 22727 w 28696"/>
                        <a:gd name="connsiteY275" fmla="*/ 27212 h 56158"/>
                        <a:gd name="connsiteX276" fmla="*/ 22607 w 28696"/>
                        <a:gd name="connsiteY276" fmla="*/ 27391 h 56158"/>
                        <a:gd name="connsiteX277" fmla="*/ 22248 w 28696"/>
                        <a:gd name="connsiteY277" fmla="*/ 27990 h 56158"/>
                        <a:gd name="connsiteX278" fmla="*/ 21889 w 28696"/>
                        <a:gd name="connsiteY278" fmla="*/ 28588 h 56158"/>
                        <a:gd name="connsiteX279" fmla="*/ 21530 w 28696"/>
                        <a:gd name="connsiteY279" fmla="*/ 29186 h 56158"/>
                        <a:gd name="connsiteX280" fmla="*/ 21172 w 28696"/>
                        <a:gd name="connsiteY280" fmla="*/ 29784 h 56158"/>
                        <a:gd name="connsiteX281" fmla="*/ 21052 w 28696"/>
                        <a:gd name="connsiteY281" fmla="*/ 29963 h 56158"/>
                        <a:gd name="connsiteX282" fmla="*/ 20933 w 28696"/>
                        <a:gd name="connsiteY282" fmla="*/ 30143 h 56158"/>
                        <a:gd name="connsiteX283" fmla="*/ 20813 w 28696"/>
                        <a:gd name="connsiteY283" fmla="*/ 30322 h 56158"/>
                        <a:gd name="connsiteX284" fmla="*/ 20693 w 28696"/>
                        <a:gd name="connsiteY284" fmla="*/ 30502 h 56158"/>
                        <a:gd name="connsiteX285" fmla="*/ 20514 w 28696"/>
                        <a:gd name="connsiteY285" fmla="*/ 30741 h 56158"/>
                        <a:gd name="connsiteX286" fmla="*/ 20334 w 28696"/>
                        <a:gd name="connsiteY286" fmla="*/ 30980 h 56158"/>
                        <a:gd name="connsiteX287" fmla="*/ 20155 w 28696"/>
                        <a:gd name="connsiteY287" fmla="*/ 31219 h 56158"/>
                        <a:gd name="connsiteX288" fmla="*/ 19975 w 28696"/>
                        <a:gd name="connsiteY288" fmla="*/ 31458 h 56158"/>
                        <a:gd name="connsiteX289" fmla="*/ 19856 w 28696"/>
                        <a:gd name="connsiteY289" fmla="*/ 31638 h 56158"/>
                        <a:gd name="connsiteX290" fmla="*/ 19736 w 28696"/>
                        <a:gd name="connsiteY290" fmla="*/ 31817 h 56158"/>
                        <a:gd name="connsiteX291" fmla="*/ 19617 w 28696"/>
                        <a:gd name="connsiteY291" fmla="*/ 31997 h 56158"/>
                        <a:gd name="connsiteX292" fmla="*/ 19497 w 28696"/>
                        <a:gd name="connsiteY292" fmla="*/ 32176 h 56158"/>
                        <a:gd name="connsiteX293" fmla="*/ 18780 w 28696"/>
                        <a:gd name="connsiteY293" fmla="*/ 33133 h 56158"/>
                        <a:gd name="connsiteX294" fmla="*/ 18062 w 28696"/>
                        <a:gd name="connsiteY294" fmla="*/ 34090 h 56158"/>
                        <a:gd name="connsiteX295" fmla="*/ 17284 w 28696"/>
                        <a:gd name="connsiteY295" fmla="*/ 35047 h 56158"/>
                        <a:gd name="connsiteX296" fmla="*/ 16507 w 28696"/>
                        <a:gd name="connsiteY296" fmla="*/ 36004 h 56158"/>
                        <a:gd name="connsiteX297" fmla="*/ 16387 w 28696"/>
                        <a:gd name="connsiteY297" fmla="*/ 36183 h 56158"/>
                        <a:gd name="connsiteX298" fmla="*/ 16267 w 28696"/>
                        <a:gd name="connsiteY298" fmla="*/ 36363 h 56158"/>
                        <a:gd name="connsiteX299" fmla="*/ 16148 w 28696"/>
                        <a:gd name="connsiteY299" fmla="*/ 36542 h 56158"/>
                        <a:gd name="connsiteX300" fmla="*/ 16028 w 28696"/>
                        <a:gd name="connsiteY300" fmla="*/ 36721 h 56158"/>
                        <a:gd name="connsiteX301" fmla="*/ 14653 w 28696"/>
                        <a:gd name="connsiteY301" fmla="*/ 38396 h 56158"/>
                        <a:gd name="connsiteX302" fmla="*/ 13217 w 28696"/>
                        <a:gd name="connsiteY302" fmla="*/ 40071 h 56158"/>
                        <a:gd name="connsiteX303" fmla="*/ 11782 w 28696"/>
                        <a:gd name="connsiteY303" fmla="*/ 41745 h 56158"/>
                        <a:gd name="connsiteX304" fmla="*/ 10287 w 28696"/>
                        <a:gd name="connsiteY304" fmla="*/ 43240 h 56158"/>
                        <a:gd name="connsiteX305" fmla="*/ 9749 w 28696"/>
                        <a:gd name="connsiteY305" fmla="*/ 45872 h 56158"/>
                        <a:gd name="connsiteX306" fmla="*/ 10287 w 28696"/>
                        <a:gd name="connsiteY306" fmla="*/ 46231 h 56158"/>
                        <a:gd name="connsiteX307" fmla="*/ 10287 w 28696"/>
                        <a:gd name="connsiteY307" fmla="*/ 46231 h 56158"/>
                        <a:gd name="connsiteX308" fmla="*/ 10287 w 28696"/>
                        <a:gd name="connsiteY308" fmla="*/ 46231 h 56158"/>
                        <a:gd name="connsiteX309" fmla="*/ 10287 w 28696"/>
                        <a:gd name="connsiteY309" fmla="*/ 46231 h 56158"/>
                        <a:gd name="connsiteX310" fmla="*/ 10287 w 28696"/>
                        <a:gd name="connsiteY310" fmla="*/ 46231 h 56158"/>
                        <a:gd name="connsiteX311" fmla="*/ 10526 w 28696"/>
                        <a:gd name="connsiteY311" fmla="*/ 45932 h 56158"/>
                        <a:gd name="connsiteX312" fmla="*/ 10765 w 28696"/>
                        <a:gd name="connsiteY312" fmla="*/ 45633 h 56158"/>
                        <a:gd name="connsiteX313" fmla="*/ 11004 w 28696"/>
                        <a:gd name="connsiteY313" fmla="*/ 45334 h 56158"/>
                        <a:gd name="connsiteX314" fmla="*/ 11244 w 28696"/>
                        <a:gd name="connsiteY314" fmla="*/ 45035 h 56158"/>
                        <a:gd name="connsiteX315" fmla="*/ 10705 w 28696"/>
                        <a:gd name="connsiteY315" fmla="*/ 44676 h 56158"/>
                        <a:gd name="connsiteX316" fmla="*/ 10466 w 28696"/>
                        <a:gd name="connsiteY316" fmla="*/ 44915 h 56158"/>
                        <a:gd name="connsiteX317" fmla="*/ 10227 w 28696"/>
                        <a:gd name="connsiteY317" fmla="*/ 45154 h 56158"/>
                        <a:gd name="connsiteX318" fmla="*/ 9988 w 28696"/>
                        <a:gd name="connsiteY318" fmla="*/ 45393 h 56158"/>
                        <a:gd name="connsiteX319" fmla="*/ 9749 w 28696"/>
                        <a:gd name="connsiteY319" fmla="*/ 45633 h 56158"/>
                        <a:gd name="connsiteX320" fmla="*/ 9689 w 28696"/>
                        <a:gd name="connsiteY320" fmla="*/ 45692 h 56158"/>
                        <a:gd name="connsiteX321" fmla="*/ 9629 w 28696"/>
                        <a:gd name="connsiteY321" fmla="*/ 45752 h 56158"/>
                        <a:gd name="connsiteX322" fmla="*/ 9749 w 28696"/>
                        <a:gd name="connsiteY322" fmla="*/ 45872 h 56158"/>
                        <a:gd name="connsiteX323" fmla="*/ 9749 w 28696"/>
                        <a:gd name="connsiteY323" fmla="*/ 45872 h 56158"/>
                        <a:gd name="connsiteX324" fmla="*/ 8552 w 28696"/>
                        <a:gd name="connsiteY324" fmla="*/ 45095 h 56158"/>
                        <a:gd name="connsiteX325" fmla="*/ 9031 w 28696"/>
                        <a:gd name="connsiteY325" fmla="*/ 45393 h 56158"/>
                        <a:gd name="connsiteX326" fmla="*/ 9090 w 28696"/>
                        <a:gd name="connsiteY326" fmla="*/ 45334 h 56158"/>
                        <a:gd name="connsiteX327" fmla="*/ 9150 w 28696"/>
                        <a:gd name="connsiteY327" fmla="*/ 45274 h 56158"/>
                        <a:gd name="connsiteX328" fmla="*/ 9210 w 28696"/>
                        <a:gd name="connsiteY328" fmla="*/ 45214 h 56158"/>
                        <a:gd name="connsiteX329" fmla="*/ 9270 w 28696"/>
                        <a:gd name="connsiteY329" fmla="*/ 45154 h 56158"/>
                        <a:gd name="connsiteX330" fmla="*/ 9509 w 28696"/>
                        <a:gd name="connsiteY330" fmla="*/ 44915 h 56158"/>
                        <a:gd name="connsiteX331" fmla="*/ 9749 w 28696"/>
                        <a:gd name="connsiteY331" fmla="*/ 44676 h 56158"/>
                        <a:gd name="connsiteX332" fmla="*/ 9988 w 28696"/>
                        <a:gd name="connsiteY332" fmla="*/ 44437 h 56158"/>
                        <a:gd name="connsiteX333" fmla="*/ 10227 w 28696"/>
                        <a:gd name="connsiteY333" fmla="*/ 44197 h 56158"/>
                        <a:gd name="connsiteX334" fmla="*/ 9749 w 28696"/>
                        <a:gd name="connsiteY334" fmla="*/ 43898 h 56158"/>
                        <a:gd name="connsiteX335" fmla="*/ 9509 w 28696"/>
                        <a:gd name="connsiteY335" fmla="*/ 44137 h 56158"/>
                        <a:gd name="connsiteX336" fmla="*/ 9270 w 28696"/>
                        <a:gd name="connsiteY336" fmla="*/ 44377 h 56158"/>
                        <a:gd name="connsiteX337" fmla="*/ 9031 w 28696"/>
                        <a:gd name="connsiteY337" fmla="*/ 44616 h 56158"/>
                        <a:gd name="connsiteX338" fmla="*/ 8791 w 28696"/>
                        <a:gd name="connsiteY338" fmla="*/ 44855 h 56158"/>
                        <a:gd name="connsiteX339" fmla="*/ 8732 w 28696"/>
                        <a:gd name="connsiteY339" fmla="*/ 44915 h 56158"/>
                        <a:gd name="connsiteX340" fmla="*/ 8672 w 28696"/>
                        <a:gd name="connsiteY340" fmla="*/ 44975 h 56158"/>
                        <a:gd name="connsiteX341" fmla="*/ 8612 w 28696"/>
                        <a:gd name="connsiteY341" fmla="*/ 45035 h 56158"/>
                        <a:gd name="connsiteX342" fmla="*/ 8552 w 28696"/>
                        <a:gd name="connsiteY342" fmla="*/ 45095 h 56158"/>
                        <a:gd name="connsiteX343" fmla="*/ 8194 w 28696"/>
                        <a:gd name="connsiteY343" fmla="*/ 47666 h 56158"/>
                        <a:gd name="connsiteX344" fmla="*/ 8732 w 28696"/>
                        <a:gd name="connsiteY344" fmla="*/ 48025 h 56158"/>
                        <a:gd name="connsiteX345" fmla="*/ 8971 w 28696"/>
                        <a:gd name="connsiteY345" fmla="*/ 47786 h 56158"/>
                        <a:gd name="connsiteX346" fmla="*/ 9210 w 28696"/>
                        <a:gd name="connsiteY346" fmla="*/ 47546 h 56158"/>
                        <a:gd name="connsiteX347" fmla="*/ 9449 w 28696"/>
                        <a:gd name="connsiteY347" fmla="*/ 47307 h 56158"/>
                        <a:gd name="connsiteX348" fmla="*/ 9689 w 28696"/>
                        <a:gd name="connsiteY348" fmla="*/ 47068 h 56158"/>
                        <a:gd name="connsiteX349" fmla="*/ 9150 w 28696"/>
                        <a:gd name="connsiteY349" fmla="*/ 46709 h 56158"/>
                        <a:gd name="connsiteX350" fmla="*/ 8911 w 28696"/>
                        <a:gd name="connsiteY350" fmla="*/ 46949 h 56158"/>
                        <a:gd name="connsiteX351" fmla="*/ 8672 w 28696"/>
                        <a:gd name="connsiteY351" fmla="*/ 47188 h 56158"/>
                        <a:gd name="connsiteX352" fmla="*/ 8433 w 28696"/>
                        <a:gd name="connsiteY352" fmla="*/ 47427 h 56158"/>
                        <a:gd name="connsiteX353" fmla="*/ 8194 w 28696"/>
                        <a:gd name="connsiteY353" fmla="*/ 47666 h 56158"/>
                        <a:gd name="connsiteX354" fmla="*/ 6997 w 28696"/>
                        <a:gd name="connsiteY354" fmla="*/ 46889 h 56158"/>
                        <a:gd name="connsiteX355" fmla="*/ 7536 w 28696"/>
                        <a:gd name="connsiteY355" fmla="*/ 47247 h 56158"/>
                        <a:gd name="connsiteX356" fmla="*/ 7775 w 28696"/>
                        <a:gd name="connsiteY356" fmla="*/ 47008 h 56158"/>
                        <a:gd name="connsiteX357" fmla="*/ 8014 w 28696"/>
                        <a:gd name="connsiteY357" fmla="*/ 46769 h 56158"/>
                        <a:gd name="connsiteX358" fmla="*/ 8253 w 28696"/>
                        <a:gd name="connsiteY358" fmla="*/ 46530 h 56158"/>
                        <a:gd name="connsiteX359" fmla="*/ 8493 w 28696"/>
                        <a:gd name="connsiteY359" fmla="*/ 46291 h 56158"/>
                        <a:gd name="connsiteX360" fmla="*/ 8014 w 28696"/>
                        <a:gd name="connsiteY360" fmla="*/ 45932 h 56158"/>
                        <a:gd name="connsiteX361" fmla="*/ 7775 w 28696"/>
                        <a:gd name="connsiteY361" fmla="*/ 46171 h 56158"/>
                        <a:gd name="connsiteX362" fmla="*/ 7536 w 28696"/>
                        <a:gd name="connsiteY362" fmla="*/ 46410 h 56158"/>
                        <a:gd name="connsiteX363" fmla="*/ 7296 w 28696"/>
                        <a:gd name="connsiteY363" fmla="*/ 46650 h 56158"/>
                        <a:gd name="connsiteX364" fmla="*/ 6997 w 28696"/>
                        <a:gd name="connsiteY364" fmla="*/ 46889 h 56158"/>
                        <a:gd name="connsiteX365" fmla="*/ 0 w 28696"/>
                        <a:gd name="connsiteY365" fmla="*/ 55082 h 56158"/>
                        <a:gd name="connsiteX366" fmla="*/ 1674 w 28696"/>
                        <a:gd name="connsiteY366" fmla="*/ 56159 h 56158"/>
                        <a:gd name="connsiteX367" fmla="*/ 1973 w 28696"/>
                        <a:gd name="connsiteY367" fmla="*/ 55800 h 56158"/>
                        <a:gd name="connsiteX368" fmla="*/ 2452 w 28696"/>
                        <a:gd name="connsiteY368" fmla="*/ 55202 h 56158"/>
                        <a:gd name="connsiteX369" fmla="*/ 2930 w 28696"/>
                        <a:gd name="connsiteY369" fmla="*/ 54604 h 56158"/>
                        <a:gd name="connsiteX370" fmla="*/ 3409 w 28696"/>
                        <a:gd name="connsiteY370" fmla="*/ 54006 h 56158"/>
                        <a:gd name="connsiteX371" fmla="*/ 3947 w 28696"/>
                        <a:gd name="connsiteY371" fmla="*/ 53408 h 56158"/>
                        <a:gd name="connsiteX372" fmla="*/ 4127 w 28696"/>
                        <a:gd name="connsiteY372" fmla="*/ 53228 h 56158"/>
                        <a:gd name="connsiteX373" fmla="*/ 4306 w 28696"/>
                        <a:gd name="connsiteY373" fmla="*/ 53049 h 56158"/>
                        <a:gd name="connsiteX374" fmla="*/ 4486 w 28696"/>
                        <a:gd name="connsiteY374" fmla="*/ 52869 h 56158"/>
                        <a:gd name="connsiteX375" fmla="*/ 4665 w 28696"/>
                        <a:gd name="connsiteY375" fmla="*/ 52690 h 56158"/>
                        <a:gd name="connsiteX376" fmla="*/ 5502 w 28696"/>
                        <a:gd name="connsiteY376" fmla="*/ 51673 h 56158"/>
                        <a:gd name="connsiteX377" fmla="*/ 6399 w 28696"/>
                        <a:gd name="connsiteY377" fmla="*/ 50657 h 56158"/>
                        <a:gd name="connsiteX378" fmla="*/ 7296 w 28696"/>
                        <a:gd name="connsiteY378" fmla="*/ 49640 h 56158"/>
                        <a:gd name="connsiteX379" fmla="*/ 8194 w 28696"/>
                        <a:gd name="connsiteY379" fmla="*/ 48623 h 56158"/>
                        <a:gd name="connsiteX380" fmla="*/ 7655 w 28696"/>
                        <a:gd name="connsiteY380" fmla="*/ 48264 h 56158"/>
                        <a:gd name="connsiteX381" fmla="*/ 6758 w 28696"/>
                        <a:gd name="connsiteY381" fmla="*/ 49281 h 56158"/>
                        <a:gd name="connsiteX382" fmla="*/ 5861 w 28696"/>
                        <a:gd name="connsiteY382" fmla="*/ 50298 h 56158"/>
                        <a:gd name="connsiteX383" fmla="*/ 4964 w 28696"/>
                        <a:gd name="connsiteY383" fmla="*/ 51314 h 56158"/>
                        <a:gd name="connsiteX384" fmla="*/ 4127 w 28696"/>
                        <a:gd name="connsiteY384" fmla="*/ 52331 h 56158"/>
                        <a:gd name="connsiteX385" fmla="*/ 3947 w 28696"/>
                        <a:gd name="connsiteY385" fmla="*/ 52511 h 56158"/>
                        <a:gd name="connsiteX386" fmla="*/ 3768 w 28696"/>
                        <a:gd name="connsiteY386" fmla="*/ 52690 h 56158"/>
                        <a:gd name="connsiteX387" fmla="*/ 3588 w 28696"/>
                        <a:gd name="connsiteY387" fmla="*/ 52869 h 56158"/>
                        <a:gd name="connsiteX388" fmla="*/ 3409 w 28696"/>
                        <a:gd name="connsiteY388" fmla="*/ 53049 h 56158"/>
                        <a:gd name="connsiteX389" fmla="*/ 2990 w 28696"/>
                        <a:gd name="connsiteY389" fmla="*/ 53587 h 56158"/>
                        <a:gd name="connsiteX390" fmla="*/ 2572 w 28696"/>
                        <a:gd name="connsiteY390" fmla="*/ 54125 h 56158"/>
                        <a:gd name="connsiteX391" fmla="*/ 2153 w 28696"/>
                        <a:gd name="connsiteY391" fmla="*/ 54664 h 56158"/>
                        <a:gd name="connsiteX392" fmla="*/ 1734 w 28696"/>
                        <a:gd name="connsiteY392" fmla="*/ 55202 h 56158"/>
                        <a:gd name="connsiteX393" fmla="*/ 1017 w 28696"/>
                        <a:gd name="connsiteY393" fmla="*/ 54783 h 56158"/>
                        <a:gd name="connsiteX394" fmla="*/ 1435 w 28696"/>
                        <a:gd name="connsiteY394" fmla="*/ 54245 h 56158"/>
                        <a:gd name="connsiteX395" fmla="*/ 1854 w 28696"/>
                        <a:gd name="connsiteY395" fmla="*/ 53707 h 56158"/>
                        <a:gd name="connsiteX396" fmla="*/ 2273 w 28696"/>
                        <a:gd name="connsiteY396" fmla="*/ 53168 h 56158"/>
                        <a:gd name="connsiteX397" fmla="*/ 2691 w 28696"/>
                        <a:gd name="connsiteY397" fmla="*/ 52630 h 56158"/>
                        <a:gd name="connsiteX398" fmla="*/ 2871 w 28696"/>
                        <a:gd name="connsiteY398" fmla="*/ 52451 h 56158"/>
                        <a:gd name="connsiteX399" fmla="*/ 3050 w 28696"/>
                        <a:gd name="connsiteY399" fmla="*/ 52271 h 56158"/>
                        <a:gd name="connsiteX400" fmla="*/ 3229 w 28696"/>
                        <a:gd name="connsiteY400" fmla="*/ 52092 h 56158"/>
                        <a:gd name="connsiteX401" fmla="*/ 3409 w 28696"/>
                        <a:gd name="connsiteY401" fmla="*/ 51913 h 56158"/>
                        <a:gd name="connsiteX402" fmla="*/ 4246 w 28696"/>
                        <a:gd name="connsiteY402" fmla="*/ 50896 h 56158"/>
                        <a:gd name="connsiteX403" fmla="*/ 5143 w 28696"/>
                        <a:gd name="connsiteY403" fmla="*/ 49879 h 56158"/>
                        <a:gd name="connsiteX404" fmla="*/ 6041 w 28696"/>
                        <a:gd name="connsiteY404" fmla="*/ 48862 h 56158"/>
                        <a:gd name="connsiteX405" fmla="*/ 6937 w 28696"/>
                        <a:gd name="connsiteY405" fmla="*/ 47846 h 56158"/>
                        <a:gd name="connsiteX406" fmla="*/ 6399 w 28696"/>
                        <a:gd name="connsiteY406" fmla="*/ 47487 h 56158"/>
                        <a:gd name="connsiteX407" fmla="*/ 5502 w 28696"/>
                        <a:gd name="connsiteY407" fmla="*/ 48504 h 56158"/>
                        <a:gd name="connsiteX408" fmla="*/ 4605 w 28696"/>
                        <a:gd name="connsiteY408" fmla="*/ 49520 h 56158"/>
                        <a:gd name="connsiteX409" fmla="*/ 3708 w 28696"/>
                        <a:gd name="connsiteY409" fmla="*/ 50537 h 56158"/>
                        <a:gd name="connsiteX410" fmla="*/ 2871 w 28696"/>
                        <a:gd name="connsiteY410" fmla="*/ 51554 h 56158"/>
                        <a:gd name="connsiteX411" fmla="*/ 2691 w 28696"/>
                        <a:gd name="connsiteY411" fmla="*/ 51733 h 56158"/>
                        <a:gd name="connsiteX412" fmla="*/ 2512 w 28696"/>
                        <a:gd name="connsiteY412" fmla="*/ 51913 h 56158"/>
                        <a:gd name="connsiteX413" fmla="*/ 2333 w 28696"/>
                        <a:gd name="connsiteY413" fmla="*/ 52092 h 56158"/>
                        <a:gd name="connsiteX414" fmla="*/ 2153 w 28696"/>
                        <a:gd name="connsiteY414" fmla="*/ 52271 h 56158"/>
                        <a:gd name="connsiteX415" fmla="*/ 1615 w 28696"/>
                        <a:gd name="connsiteY415" fmla="*/ 52869 h 56158"/>
                        <a:gd name="connsiteX416" fmla="*/ 1136 w 28696"/>
                        <a:gd name="connsiteY416" fmla="*/ 53467 h 56158"/>
                        <a:gd name="connsiteX417" fmla="*/ 658 w 28696"/>
                        <a:gd name="connsiteY417" fmla="*/ 54066 h 56158"/>
                        <a:gd name="connsiteX418" fmla="*/ 179 w 28696"/>
                        <a:gd name="connsiteY418" fmla="*/ 54664 h 56158"/>
                        <a:gd name="connsiteX419" fmla="*/ 0 w 28696"/>
                        <a:gd name="connsiteY419" fmla="*/ 55082 h 56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Lst>
                      <a:rect l="l" t="t" r="r" b="b"/>
                      <a:pathLst>
                        <a:path w="28696" h="56158">
                          <a:moveTo>
                            <a:pt x="18480" y="3528"/>
                          </a:moveTo>
                          <a:cubicBezTo>
                            <a:pt x="18540" y="3469"/>
                            <a:pt x="18600" y="3409"/>
                            <a:pt x="18600" y="3349"/>
                          </a:cubicBezTo>
                          <a:cubicBezTo>
                            <a:pt x="18660" y="3289"/>
                            <a:pt x="18720" y="3229"/>
                            <a:pt x="18720" y="3170"/>
                          </a:cubicBezTo>
                          <a:cubicBezTo>
                            <a:pt x="18780" y="3110"/>
                            <a:pt x="18780" y="3050"/>
                            <a:pt x="18839" y="2990"/>
                          </a:cubicBezTo>
                          <a:cubicBezTo>
                            <a:pt x="18899" y="2930"/>
                            <a:pt x="18899" y="2871"/>
                            <a:pt x="18959" y="2811"/>
                          </a:cubicBezTo>
                          <a:cubicBezTo>
                            <a:pt x="18839" y="2751"/>
                            <a:pt x="18780" y="2691"/>
                            <a:pt x="18660" y="2631"/>
                          </a:cubicBezTo>
                          <a:cubicBezTo>
                            <a:pt x="18540" y="2572"/>
                            <a:pt x="18480" y="2512"/>
                            <a:pt x="18361" y="2452"/>
                          </a:cubicBezTo>
                          <a:cubicBezTo>
                            <a:pt x="18241" y="2392"/>
                            <a:pt x="18181" y="2332"/>
                            <a:pt x="18062" y="2272"/>
                          </a:cubicBezTo>
                          <a:cubicBezTo>
                            <a:pt x="17942" y="2213"/>
                            <a:pt x="17882" y="2153"/>
                            <a:pt x="17763" y="2093"/>
                          </a:cubicBezTo>
                          <a:lnTo>
                            <a:pt x="18540" y="1136"/>
                          </a:lnTo>
                          <a:cubicBezTo>
                            <a:pt x="18660" y="1196"/>
                            <a:pt x="18720" y="1256"/>
                            <a:pt x="18780" y="1316"/>
                          </a:cubicBezTo>
                          <a:cubicBezTo>
                            <a:pt x="18839" y="1375"/>
                            <a:pt x="18959" y="1435"/>
                            <a:pt x="19019" y="1495"/>
                          </a:cubicBezTo>
                          <a:cubicBezTo>
                            <a:pt x="19079" y="1555"/>
                            <a:pt x="19198" y="1615"/>
                            <a:pt x="19258" y="1674"/>
                          </a:cubicBezTo>
                          <a:cubicBezTo>
                            <a:pt x="19318" y="1734"/>
                            <a:pt x="19437" y="1794"/>
                            <a:pt x="19497" y="1854"/>
                          </a:cubicBezTo>
                          <a:cubicBezTo>
                            <a:pt x="19557" y="1794"/>
                            <a:pt x="19557" y="1734"/>
                            <a:pt x="19617" y="1674"/>
                          </a:cubicBezTo>
                          <a:cubicBezTo>
                            <a:pt x="19676" y="1615"/>
                            <a:pt x="19676" y="1555"/>
                            <a:pt x="19736" y="1495"/>
                          </a:cubicBezTo>
                          <a:cubicBezTo>
                            <a:pt x="19796" y="1435"/>
                            <a:pt x="19796" y="1375"/>
                            <a:pt x="19856" y="1316"/>
                          </a:cubicBezTo>
                          <a:cubicBezTo>
                            <a:pt x="19916" y="1256"/>
                            <a:pt x="19916" y="1196"/>
                            <a:pt x="19975" y="1136"/>
                          </a:cubicBezTo>
                          <a:cubicBezTo>
                            <a:pt x="19856" y="1076"/>
                            <a:pt x="19796" y="1017"/>
                            <a:pt x="19676" y="897"/>
                          </a:cubicBezTo>
                          <a:cubicBezTo>
                            <a:pt x="19557" y="837"/>
                            <a:pt x="19497" y="777"/>
                            <a:pt x="19377" y="658"/>
                          </a:cubicBezTo>
                          <a:cubicBezTo>
                            <a:pt x="19258" y="598"/>
                            <a:pt x="19198" y="538"/>
                            <a:pt x="19079" y="418"/>
                          </a:cubicBezTo>
                          <a:cubicBezTo>
                            <a:pt x="18959" y="359"/>
                            <a:pt x="18899" y="299"/>
                            <a:pt x="18780" y="179"/>
                          </a:cubicBezTo>
                          <a:lnTo>
                            <a:pt x="18540" y="0"/>
                          </a:lnTo>
                          <a:lnTo>
                            <a:pt x="16626" y="2452"/>
                          </a:lnTo>
                          <a:lnTo>
                            <a:pt x="16866" y="2631"/>
                          </a:lnTo>
                          <a:cubicBezTo>
                            <a:pt x="16985" y="2691"/>
                            <a:pt x="17105" y="2811"/>
                            <a:pt x="17225" y="2871"/>
                          </a:cubicBezTo>
                          <a:cubicBezTo>
                            <a:pt x="17344" y="2930"/>
                            <a:pt x="17464" y="3050"/>
                            <a:pt x="17583" y="3110"/>
                          </a:cubicBezTo>
                          <a:cubicBezTo>
                            <a:pt x="17703" y="3170"/>
                            <a:pt x="17822" y="3289"/>
                            <a:pt x="17942" y="3349"/>
                          </a:cubicBezTo>
                          <a:cubicBezTo>
                            <a:pt x="18301" y="3349"/>
                            <a:pt x="18361" y="3469"/>
                            <a:pt x="18480" y="3528"/>
                          </a:cubicBezTo>
                          <a:moveTo>
                            <a:pt x="26016" y="21889"/>
                          </a:moveTo>
                          <a:cubicBezTo>
                            <a:pt x="26136" y="21590"/>
                            <a:pt x="26196" y="21291"/>
                            <a:pt x="26315" y="20933"/>
                          </a:cubicBezTo>
                          <a:cubicBezTo>
                            <a:pt x="26435" y="20573"/>
                            <a:pt x="26495" y="20334"/>
                            <a:pt x="26554" y="19975"/>
                          </a:cubicBezTo>
                          <a:cubicBezTo>
                            <a:pt x="26614" y="19617"/>
                            <a:pt x="26674" y="19377"/>
                            <a:pt x="26734" y="19078"/>
                          </a:cubicBezTo>
                          <a:cubicBezTo>
                            <a:pt x="26794" y="18779"/>
                            <a:pt x="26853" y="18480"/>
                            <a:pt x="26853" y="18181"/>
                          </a:cubicBezTo>
                          <a:cubicBezTo>
                            <a:pt x="26853" y="18181"/>
                            <a:pt x="26853" y="18181"/>
                            <a:pt x="26853" y="18181"/>
                          </a:cubicBezTo>
                          <a:cubicBezTo>
                            <a:pt x="26853" y="18181"/>
                            <a:pt x="26853" y="18181"/>
                            <a:pt x="26853" y="18181"/>
                          </a:cubicBezTo>
                          <a:cubicBezTo>
                            <a:pt x="26853" y="18181"/>
                            <a:pt x="26853" y="18181"/>
                            <a:pt x="26853" y="18181"/>
                          </a:cubicBezTo>
                          <a:cubicBezTo>
                            <a:pt x="26853" y="18181"/>
                            <a:pt x="26853" y="18181"/>
                            <a:pt x="26853" y="18181"/>
                          </a:cubicBezTo>
                          <a:cubicBezTo>
                            <a:pt x="26853" y="18121"/>
                            <a:pt x="26853" y="18002"/>
                            <a:pt x="26853" y="17942"/>
                          </a:cubicBezTo>
                          <a:cubicBezTo>
                            <a:pt x="26853" y="17882"/>
                            <a:pt x="26853" y="17763"/>
                            <a:pt x="26853" y="17703"/>
                          </a:cubicBezTo>
                          <a:cubicBezTo>
                            <a:pt x="26853" y="17643"/>
                            <a:pt x="26853" y="17523"/>
                            <a:pt x="26853" y="17464"/>
                          </a:cubicBezTo>
                          <a:cubicBezTo>
                            <a:pt x="26853" y="17404"/>
                            <a:pt x="26853" y="17284"/>
                            <a:pt x="26853" y="17224"/>
                          </a:cubicBezTo>
                          <a:cubicBezTo>
                            <a:pt x="26913" y="15909"/>
                            <a:pt x="26794" y="14652"/>
                            <a:pt x="26554" y="13457"/>
                          </a:cubicBezTo>
                          <a:cubicBezTo>
                            <a:pt x="26255" y="12260"/>
                            <a:pt x="25837" y="11064"/>
                            <a:pt x="25238" y="9868"/>
                          </a:cubicBezTo>
                          <a:cubicBezTo>
                            <a:pt x="24641" y="8732"/>
                            <a:pt x="23863" y="7595"/>
                            <a:pt x="22906" y="6519"/>
                          </a:cubicBezTo>
                          <a:cubicBezTo>
                            <a:pt x="21949" y="5442"/>
                            <a:pt x="20813" y="4366"/>
                            <a:pt x="19497" y="3349"/>
                          </a:cubicBezTo>
                          <a:cubicBezTo>
                            <a:pt x="19437" y="3409"/>
                            <a:pt x="19437" y="3469"/>
                            <a:pt x="19377" y="3528"/>
                          </a:cubicBezTo>
                          <a:cubicBezTo>
                            <a:pt x="19318" y="3588"/>
                            <a:pt x="19318" y="3648"/>
                            <a:pt x="19258" y="3708"/>
                          </a:cubicBezTo>
                          <a:cubicBezTo>
                            <a:pt x="19198" y="3768"/>
                            <a:pt x="19138" y="3827"/>
                            <a:pt x="19138" y="3887"/>
                          </a:cubicBezTo>
                          <a:cubicBezTo>
                            <a:pt x="19138" y="3947"/>
                            <a:pt x="19019" y="4007"/>
                            <a:pt x="19019" y="4067"/>
                          </a:cubicBezTo>
                          <a:cubicBezTo>
                            <a:pt x="20215" y="5024"/>
                            <a:pt x="21291" y="5981"/>
                            <a:pt x="22188" y="6997"/>
                          </a:cubicBezTo>
                          <a:cubicBezTo>
                            <a:pt x="23086" y="8014"/>
                            <a:pt x="23863" y="9031"/>
                            <a:pt x="24461" y="10107"/>
                          </a:cubicBezTo>
                          <a:cubicBezTo>
                            <a:pt x="25059" y="11184"/>
                            <a:pt x="25478" y="12260"/>
                            <a:pt x="25777" y="13337"/>
                          </a:cubicBezTo>
                          <a:cubicBezTo>
                            <a:pt x="26076" y="14413"/>
                            <a:pt x="26196" y="15550"/>
                            <a:pt x="26255" y="16746"/>
                          </a:cubicBezTo>
                          <a:cubicBezTo>
                            <a:pt x="26255" y="16865"/>
                            <a:pt x="26255" y="16925"/>
                            <a:pt x="26255" y="17045"/>
                          </a:cubicBezTo>
                          <a:cubicBezTo>
                            <a:pt x="26255" y="17165"/>
                            <a:pt x="26255" y="17224"/>
                            <a:pt x="26255" y="17344"/>
                          </a:cubicBezTo>
                          <a:cubicBezTo>
                            <a:pt x="26255" y="17464"/>
                            <a:pt x="26255" y="17523"/>
                            <a:pt x="26255" y="17643"/>
                          </a:cubicBezTo>
                          <a:cubicBezTo>
                            <a:pt x="26255" y="17763"/>
                            <a:pt x="26255" y="17822"/>
                            <a:pt x="26255" y="17942"/>
                          </a:cubicBezTo>
                          <a:cubicBezTo>
                            <a:pt x="26255" y="18002"/>
                            <a:pt x="26255" y="18062"/>
                            <a:pt x="26255" y="18062"/>
                          </a:cubicBezTo>
                          <a:cubicBezTo>
                            <a:pt x="26255" y="18062"/>
                            <a:pt x="26255" y="18181"/>
                            <a:pt x="26255" y="18181"/>
                          </a:cubicBezTo>
                          <a:cubicBezTo>
                            <a:pt x="26255" y="18241"/>
                            <a:pt x="26255" y="18301"/>
                            <a:pt x="26255" y="18301"/>
                          </a:cubicBezTo>
                          <a:cubicBezTo>
                            <a:pt x="26255" y="18360"/>
                            <a:pt x="26255" y="18420"/>
                            <a:pt x="26255" y="18420"/>
                          </a:cubicBezTo>
                          <a:cubicBezTo>
                            <a:pt x="26255" y="18660"/>
                            <a:pt x="26196" y="18839"/>
                            <a:pt x="26196" y="19078"/>
                          </a:cubicBezTo>
                          <a:cubicBezTo>
                            <a:pt x="26136" y="19318"/>
                            <a:pt x="26136" y="19497"/>
                            <a:pt x="26076" y="19736"/>
                          </a:cubicBezTo>
                          <a:cubicBezTo>
                            <a:pt x="26016" y="19975"/>
                            <a:pt x="25956" y="20155"/>
                            <a:pt x="25956" y="20394"/>
                          </a:cubicBezTo>
                          <a:cubicBezTo>
                            <a:pt x="25896" y="20633"/>
                            <a:pt x="25837" y="20813"/>
                            <a:pt x="25777" y="21052"/>
                          </a:cubicBezTo>
                          <a:cubicBezTo>
                            <a:pt x="25837" y="21112"/>
                            <a:pt x="25837" y="21231"/>
                            <a:pt x="25896" y="21291"/>
                          </a:cubicBezTo>
                          <a:cubicBezTo>
                            <a:pt x="25956" y="21351"/>
                            <a:pt x="25956" y="21471"/>
                            <a:pt x="26016" y="21530"/>
                          </a:cubicBezTo>
                          <a:cubicBezTo>
                            <a:pt x="26076" y="21590"/>
                            <a:pt x="26076" y="21710"/>
                            <a:pt x="26136" y="21770"/>
                          </a:cubicBezTo>
                          <a:cubicBezTo>
                            <a:pt x="25956" y="21710"/>
                            <a:pt x="25956" y="21770"/>
                            <a:pt x="26016" y="21889"/>
                          </a:cubicBezTo>
                          <a:moveTo>
                            <a:pt x="26674" y="24341"/>
                          </a:moveTo>
                          <a:cubicBezTo>
                            <a:pt x="26853" y="23923"/>
                            <a:pt x="27033" y="23504"/>
                            <a:pt x="27212" y="23026"/>
                          </a:cubicBezTo>
                          <a:cubicBezTo>
                            <a:pt x="27391" y="22607"/>
                            <a:pt x="27511" y="22188"/>
                            <a:pt x="27691" y="21710"/>
                          </a:cubicBezTo>
                          <a:cubicBezTo>
                            <a:pt x="27810" y="21291"/>
                            <a:pt x="27990" y="20873"/>
                            <a:pt x="28050" y="20394"/>
                          </a:cubicBezTo>
                          <a:cubicBezTo>
                            <a:pt x="28169" y="19975"/>
                            <a:pt x="28289" y="19557"/>
                            <a:pt x="28349" y="19078"/>
                          </a:cubicBezTo>
                          <a:cubicBezTo>
                            <a:pt x="28349" y="19019"/>
                            <a:pt x="28408" y="18899"/>
                            <a:pt x="28408" y="18839"/>
                          </a:cubicBezTo>
                          <a:cubicBezTo>
                            <a:pt x="28408" y="18779"/>
                            <a:pt x="28468" y="18660"/>
                            <a:pt x="28468" y="18600"/>
                          </a:cubicBezTo>
                          <a:cubicBezTo>
                            <a:pt x="28468" y="18540"/>
                            <a:pt x="28468" y="18420"/>
                            <a:pt x="28528" y="18360"/>
                          </a:cubicBezTo>
                          <a:cubicBezTo>
                            <a:pt x="28528" y="18301"/>
                            <a:pt x="28528" y="18181"/>
                            <a:pt x="28588" y="18121"/>
                          </a:cubicBezTo>
                          <a:cubicBezTo>
                            <a:pt x="28588" y="18062"/>
                            <a:pt x="28588" y="18002"/>
                            <a:pt x="28588" y="17942"/>
                          </a:cubicBezTo>
                          <a:cubicBezTo>
                            <a:pt x="28588" y="17882"/>
                            <a:pt x="28588" y="17822"/>
                            <a:pt x="28588" y="17763"/>
                          </a:cubicBezTo>
                          <a:cubicBezTo>
                            <a:pt x="28588" y="17703"/>
                            <a:pt x="28588" y="17643"/>
                            <a:pt x="28588" y="17583"/>
                          </a:cubicBezTo>
                          <a:cubicBezTo>
                            <a:pt x="28588" y="17523"/>
                            <a:pt x="28588" y="17464"/>
                            <a:pt x="28588" y="17404"/>
                          </a:cubicBezTo>
                          <a:cubicBezTo>
                            <a:pt x="28767" y="15849"/>
                            <a:pt x="28707" y="14413"/>
                            <a:pt x="28528" y="12978"/>
                          </a:cubicBezTo>
                          <a:cubicBezTo>
                            <a:pt x="28289" y="11543"/>
                            <a:pt x="27870" y="10167"/>
                            <a:pt x="27212" y="8851"/>
                          </a:cubicBezTo>
                          <a:cubicBezTo>
                            <a:pt x="26554" y="7535"/>
                            <a:pt x="25717" y="6220"/>
                            <a:pt x="24641" y="4964"/>
                          </a:cubicBezTo>
                          <a:cubicBezTo>
                            <a:pt x="23564" y="3708"/>
                            <a:pt x="22248" y="2512"/>
                            <a:pt x="20753" y="1316"/>
                          </a:cubicBezTo>
                          <a:cubicBezTo>
                            <a:pt x="20693" y="1375"/>
                            <a:pt x="20693" y="1435"/>
                            <a:pt x="20634" y="1495"/>
                          </a:cubicBezTo>
                          <a:cubicBezTo>
                            <a:pt x="20574" y="1555"/>
                            <a:pt x="20574" y="1615"/>
                            <a:pt x="20514" y="1674"/>
                          </a:cubicBezTo>
                          <a:cubicBezTo>
                            <a:pt x="20454" y="1734"/>
                            <a:pt x="20454" y="1794"/>
                            <a:pt x="20394" y="1854"/>
                          </a:cubicBezTo>
                          <a:cubicBezTo>
                            <a:pt x="20334" y="1914"/>
                            <a:pt x="20334" y="1973"/>
                            <a:pt x="20275" y="2033"/>
                          </a:cubicBezTo>
                          <a:cubicBezTo>
                            <a:pt x="21710" y="3170"/>
                            <a:pt x="22966" y="4366"/>
                            <a:pt x="24042" y="5562"/>
                          </a:cubicBezTo>
                          <a:cubicBezTo>
                            <a:pt x="25059" y="6758"/>
                            <a:pt x="25896" y="8014"/>
                            <a:pt x="26554" y="9330"/>
                          </a:cubicBezTo>
                          <a:cubicBezTo>
                            <a:pt x="27212" y="10645"/>
                            <a:pt x="27631" y="11961"/>
                            <a:pt x="27810" y="13337"/>
                          </a:cubicBezTo>
                          <a:cubicBezTo>
                            <a:pt x="28050" y="14712"/>
                            <a:pt x="28050" y="16148"/>
                            <a:pt x="27870" y="17583"/>
                          </a:cubicBezTo>
                          <a:cubicBezTo>
                            <a:pt x="27870" y="17643"/>
                            <a:pt x="27870" y="17763"/>
                            <a:pt x="27810" y="17822"/>
                          </a:cubicBezTo>
                          <a:cubicBezTo>
                            <a:pt x="27810" y="17882"/>
                            <a:pt x="27810" y="18002"/>
                            <a:pt x="27751" y="18062"/>
                          </a:cubicBezTo>
                          <a:cubicBezTo>
                            <a:pt x="27751" y="18121"/>
                            <a:pt x="27751" y="18241"/>
                            <a:pt x="27691" y="18301"/>
                          </a:cubicBezTo>
                          <a:cubicBezTo>
                            <a:pt x="27691" y="18360"/>
                            <a:pt x="27691" y="18480"/>
                            <a:pt x="27631" y="18540"/>
                          </a:cubicBezTo>
                          <a:cubicBezTo>
                            <a:pt x="27571" y="18899"/>
                            <a:pt x="27511" y="19258"/>
                            <a:pt x="27391" y="19676"/>
                          </a:cubicBezTo>
                          <a:cubicBezTo>
                            <a:pt x="27332" y="20035"/>
                            <a:pt x="27212" y="20394"/>
                            <a:pt x="27092" y="20813"/>
                          </a:cubicBezTo>
                          <a:cubicBezTo>
                            <a:pt x="26973" y="21172"/>
                            <a:pt x="26853" y="21530"/>
                            <a:pt x="26734" y="21949"/>
                          </a:cubicBezTo>
                          <a:cubicBezTo>
                            <a:pt x="26614" y="22368"/>
                            <a:pt x="26495" y="22727"/>
                            <a:pt x="26315" y="23085"/>
                          </a:cubicBezTo>
                          <a:cubicBezTo>
                            <a:pt x="26315" y="23205"/>
                            <a:pt x="26375" y="23265"/>
                            <a:pt x="26375" y="23384"/>
                          </a:cubicBezTo>
                          <a:cubicBezTo>
                            <a:pt x="26375" y="23504"/>
                            <a:pt x="26435" y="23564"/>
                            <a:pt x="26435" y="23683"/>
                          </a:cubicBezTo>
                          <a:cubicBezTo>
                            <a:pt x="26435" y="23803"/>
                            <a:pt x="26495" y="23863"/>
                            <a:pt x="26495" y="23982"/>
                          </a:cubicBezTo>
                          <a:cubicBezTo>
                            <a:pt x="26614" y="24162"/>
                            <a:pt x="26614" y="24282"/>
                            <a:pt x="26674" y="24341"/>
                          </a:cubicBezTo>
                          <a:moveTo>
                            <a:pt x="24820" y="24820"/>
                          </a:moveTo>
                          <a:cubicBezTo>
                            <a:pt x="24820" y="24820"/>
                            <a:pt x="24820" y="24760"/>
                            <a:pt x="24820" y="24760"/>
                          </a:cubicBezTo>
                          <a:cubicBezTo>
                            <a:pt x="24820" y="24760"/>
                            <a:pt x="24820" y="24700"/>
                            <a:pt x="24820" y="24700"/>
                          </a:cubicBezTo>
                          <a:cubicBezTo>
                            <a:pt x="24820" y="24700"/>
                            <a:pt x="24820" y="24641"/>
                            <a:pt x="24820" y="24641"/>
                          </a:cubicBezTo>
                          <a:cubicBezTo>
                            <a:pt x="24820" y="24641"/>
                            <a:pt x="24820" y="24581"/>
                            <a:pt x="24820" y="24581"/>
                          </a:cubicBezTo>
                          <a:cubicBezTo>
                            <a:pt x="24880" y="24521"/>
                            <a:pt x="24880" y="24461"/>
                            <a:pt x="24940" y="24341"/>
                          </a:cubicBezTo>
                          <a:cubicBezTo>
                            <a:pt x="24999" y="24282"/>
                            <a:pt x="24999" y="24222"/>
                            <a:pt x="25059" y="24102"/>
                          </a:cubicBezTo>
                          <a:cubicBezTo>
                            <a:pt x="25119" y="23982"/>
                            <a:pt x="25119" y="23982"/>
                            <a:pt x="25179" y="23863"/>
                          </a:cubicBezTo>
                          <a:cubicBezTo>
                            <a:pt x="25238" y="23803"/>
                            <a:pt x="25238" y="23743"/>
                            <a:pt x="25298" y="23624"/>
                          </a:cubicBezTo>
                          <a:cubicBezTo>
                            <a:pt x="25298" y="23564"/>
                            <a:pt x="25358" y="23504"/>
                            <a:pt x="25358" y="23504"/>
                          </a:cubicBezTo>
                          <a:cubicBezTo>
                            <a:pt x="25358" y="23504"/>
                            <a:pt x="25418" y="23384"/>
                            <a:pt x="25418" y="23384"/>
                          </a:cubicBezTo>
                          <a:cubicBezTo>
                            <a:pt x="25418" y="23325"/>
                            <a:pt x="25478" y="23265"/>
                            <a:pt x="25478" y="23265"/>
                          </a:cubicBezTo>
                          <a:cubicBezTo>
                            <a:pt x="25478" y="23265"/>
                            <a:pt x="25537" y="23145"/>
                            <a:pt x="25537" y="23145"/>
                          </a:cubicBezTo>
                          <a:cubicBezTo>
                            <a:pt x="25537" y="23085"/>
                            <a:pt x="25478" y="22966"/>
                            <a:pt x="25478" y="22906"/>
                          </a:cubicBezTo>
                          <a:cubicBezTo>
                            <a:pt x="25478" y="22846"/>
                            <a:pt x="25418" y="22727"/>
                            <a:pt x="25418" y="22667"/>
                          </a:cubicBezTo>
                          <a:cubicBezTo>
                            <a:pt x="25418" y="22607"/>
                            <a:pt x="25358" y="22487"/>
                            <a:pt x="25358" y="22428"/>
                          </a:cubicBezTo>
                          <a:cubicBezTo>
                            <a:pt x="25298" y="22368"/>
                            <a:pt x="25298" y="22248"/>
                            <a:pt x="25238" y="22188"/>
                          </a:cubicBezTo>
                          <a:cubicBezTo>
                            <a:pt x="25179" y="22308"/>
                            <a:pt x="25179" y="22368"/>
                            <a:pt x="25119" y="22487"/>
                          </a:cubicBezTo>
                          <a:cubicBezTo>
                            <a:pt x="25059" y="22607"/>
                            <a:pt x="25059" y="22667"/>
                            <a:pt x="24999" y="22787"/>
                          </a:cubicBezTo>
                          <a:cubicBezTo>
                            <a:pt x="24940" y="22906"/>
                            <a:pt x="24940" y="22966"/>
                            <a:pt x="24880" y="23085"/>
                          </a:cubicBezTo>
                          <a:cubicBezTo>
                            <a:pt x="24820" y="23205"/>
                            <a:pt x="24820" y="23265"/>
                            <a:pt x="24760" y="23384"/>
                          </a:cubicBezTo>
                          <a:cubicBezTo>
                            <a:pt x="24760" y="23444"/>
                            <a:pt x="24700" y="23444"/>
                            <a:pt x="24700" y="23504"/>
                          </a:cubicBezTo>
                          <a:cubicBezTo>
                            <a:pt x="24700" y="23564"/>
                            <a:pt x="24641" y="23564"/>
                            <a:pt x="24641" y="23624"/>
                          </a:cubicBezTo>
                          <a:cubicBezTo>
                            <a:pt x="24641" y="23683"/>
                            <a:pt x="24581" y="23683"/>
                            <a:pt x="24581" y="23743"/>
                          </a:cubicBezTo>
                          <a:cubicBezTo>
                            <a:pt x="24581" y="23803"/>
                            <a:pt x="24521" y="23803"/>
                            <a:pt x="24521" y="23863"/>
                          </a:cubicBezTo>
                          <a:cubicBezTo>
                            <a:pt x="24521" y="23923"/>
                            <a:pt x="24581" y="24042"/>
                            <a:pt x="24581" y="24102"/>
                          </a:cubicBezTo>
                          <a:cubicBezTo>
                            <a:pt x="24581" y="24162"/>
                            <a:pt x="24641" y="24282"/>
                            <a:pt x="24641" y="24341"/>
                          </a:cubicBezTo>
                          <a:cubicBezTo>
                            <a:pt x="24641" y="24401"/>
                            <a:pt x="24700" y="24521"/>
                            <a:pt x="24700" y="24581"/>
                          </a:cubicBezTo>
                          <a:cubicBezTo>
                            <a:pt x="24700" y="24641"/>
                            <a:pt x="24760" y="24760"/>
                            <a:pt x="24820" y="24820"/>
                          </a:cubicBezTo>
                          <a:moveTo>
                            <a:pt x="25059" y="27511"/>
                          </a:moveTo>
                          <a:cubicBezTo>
                            <a:pt x="25119" y="27332"/>
                            <a:pt x="25238" y="27212"/>
                            <a:pt x="25298" y="27033"/>
                          </a:cubicBezTo>
                          <a:cubicBezTo>
                            <a:pt x="25358" y="26853"/>
                            <a:pt x="25478" y="26734"/>
                            <a:pt x="25537" y="26554"/>
                          </a:cubicBezTo>
                          <a:cubicBezTo>
                            <a:pt x="25597" y="26375"/>
                            <a:pt x="25717" y="26255"/>
                            <a:pt x="25777" y="26076"/>
                          </a:cubicBezTo>
                          <a:cubicBezTo>
                            <a:pt x="25837" y="25896"/>
                            <a:pt x="25956" y="25777"/>
                            <a:pt x="26016" y="25597"/>
                          </a:cubicBezTo>
                          <a:cubicBezTo>
                            <a:pt x="26016" y="25478"/>
                            <a:pt x="26016" y="25418"/>
                            <a:pt x="26016" y="25298"/>
                          </a:cubicBezTo>
                          <a:cubicBezTo>
                            <a:pt x="26016" y="25179"/>
                            <a:pt x="26016" y="25119"/>
                            <a:pt x="25956" y="24999"/>
                          </a:cubicBezTo>
                          <a:cubicBezTo>
                            <a:pt x="25956" y="24880"/>
                            <a:pt x="25956" y="24820"/>
                            <a:pt x="25896" y="24700"/>
                          </a:cubicBezTo>
                          <a:cubicBezTo>
                            <a:pt x="25837" y="24581"/>
                            <a:pt x="25837" y="24521"/>
                            <a:pt x="25837" y="24401"/>
                          </a:cubicBezTo>
                          <a:cubicBezTo>
                            <a:pt x="25837" y="24461"/>
                            <a:pt x="25777" y="24461"/>
                            <a:pt x="25777" y="24521"/>
                          </a:cubicBezTo>
                          <a:cubicBezTo>
                            <a:pt x="25777" y="24581"/>
                            <a:pt x="25717" y="24581"/>
                            <a:pt x="25717" y="24641"/>
                          </a:cubicBezTo>
                          <a:cubicBezTo>
                            <a:pt x="25717" y="24700"/>
                            <a:pt x="25657" y="24700"/>
                            <a:pt x="25657" y="24760"/>
                          </a:cubicBezTo>
                          <a:cubicBezTo>
                            <a:pt x="25657" y="24820"/>
                            <a:pt x="25597" y="24820"/>
                            <a:pt x="25597" y="24880"/>
                          </a:cubicBezTo>
                          <a:cubicBezTo>
                            <a:pt x="25537" y="24999"/>
                            <a:pt x="25478" y="25059"/>
                            <a:pt x="25478" y="25179"/>
                          </a:cubicBezTo>
                          <a:cubicBezTo>
                            <a:pt x="25418" y="25298"/>
                            <a:pt x="25358" y="25358"/>
                            <a:pt x="25298" y="25478"/>
                          </a:cubicBezTo>
                          <a:cubicBezTo>
                            <a:pt x="25238" y="25597"/>
                            <a:pt x="25179" y="25657"/>
                            <a:pt x="25119" y="25777"/>
                          </a:cubicBezTo>
                          <a:cubicBezTo>
                            <a:pt x="25059" y="25896"/>
                            <a:pt x="24999" y="25956"/>
                            <a:pt x="24940" y="26076"/>
                          </a:cubicBezTo>
                          <a:cubicBezTo>
                            <a:pt x="24940" y="26195"/>
                            <a:pt x="24940" y="26255"/>
                            <a:pt x="24940" y="26375"/>
                          </a:cubicBezTo>
                          <a:cubicBezTo>
                            <a:pt x="24940" y="26495"/>
                            <a:pt x="24940" y="26554"/>
                            <a:pt x="24940" y="26674"/>
                          </a:cubicBezTo>
                          <a:cubicBezTo>
                            <a:pt x="24940" y="26794"/>
                            <a:pt x="24940" y="26853"/>
                            <a:pt x="24940" y="26973"/>
                          </a:cubicBezTo>
                          <a:cubicBezTo>
                            <a:pt x="25059" y="27332"/>
                            <a:pt x="25059" y="27391"/>
                            <a:pt x="25059" y="27511"/>
                          </a:cubicBezTo>
                          <a:moveTo>
                            <a:pt x="11483" y="43958"/>
                          </a:moveTo>
                          <a:lnTo>
                            <a:pt x="12021" y="44317"/>
                          </a:lnTo>
                          <a:cubicBezTo>
                            <a:pt x="12500" y="43779"/>
                            <a:pt x="12978" y="43240"/>
                            <a:pt x="13457" y="42702"/>
                          </a:cubicBezTo>
                          <a:cubicBezTo>
                            <a:pt x="13935" y="42164"/>
                            <a:pt x="14413" y="41626"/>
                            <a:pt x="14892" y="41088"/>
                          </a:cubicBezTo>
                          <a:cubicBezTo>
                            <a:pt x="15371" y="40549"/>
                            <a:pt x="15849" y="40011"/>
                            <a:pt x="16327" y="39413"/>
                          </a:cubicBezTo>
                          <a:cubicBezTo>
                            <a:pt x="16806" y="38875"/>
                            <a:pt x="17284" y="38336"/>
                            <a:pt x="17703" y="37738"/>
                          </a:cubicBezTo>
                          <a:cubicBezTo>
                            <a:pt x="17763" y="37678"/>
                            <a:pt x="17822" y="37619"/>
                            <a:pt x="17822" y="37559"/>
                          </a:cubicBezTo>
                          <a:cubicBezTo>
                            <a:pt x="17822" y="37499"/>
                            <a:pt x="17942" y="37439"/>
                            <a:pt x="17942" y="37380"/>
                          </a:cubicBezTo>
                          <a:cubicBezTo>
                            <a:pt x="18002" y="37320"/>
                            <a:pt x="18062" y="37260"/>
                            <a:pt x="18062" y="37200"/>
                          </a:cubicBezTo>
                          <a:cubicBezTo>
                            <a:pt x="18121" y="37140"/>
                            <a:pt x="18181" y="37080"/>
                            <a:pt x="18181" y="37020"/>
                          </a:cubicBezTo>
                          <a:cubicBezTo>
                            <a:pt x="18420" y="36721"/>
                            <a:pt x="18720" y="36422"/>
                            <a:pt x="18959" y="36064"/>
                          </a:cubicBezTo>
                          <a:cubicBezTo>
                            <a:pt x="19198" y="35705"/>
                            <a:pt x="19437" y="35466"/>
                            <a:pt x="19736" y="35107"/>
                          </a:cubicBezTo>
                          <a:cubicBezTo>
                            <a:pt x="19975" y="34807"/>
                            <a:pt x="20215" y="34509"/>
                            <a:pt x="20454" y="34150"/>
                          </a:cubicBezTo>
                          <a:cubicBezTo>
                            <a:pt x="20693" y="33851"/>
                            <a:pt x="20933" y="33492"/>
                            <a:pt x="21172" y="33193"/>
                          </a:cubicBezTo>
                          <a:cubicBezTo>
                            <a:pt x="21231" y="33133"/>
                            <a:pt x="21291" y="33073"/>
                            <a:pt x="21291" y="33013"/>
                          </a:cubicBezTo>
                          <a:cubicBezTo>
                            <a:pt x="21351" y="32953"/>
                            <a:pt x="21411" y="32894"/>
                            <a:pt x="21411" y="32834"/>
                          </a:cubicBezTo>
                          <a:cubicBezTo>
                            <a:pt x="21471" y="32774"/>
                            <a:pt x="21530" y="32714"/>
                            <a:pt x="21530" y="32655"/>
                          </a:cubicBezTo>
                          <a:cubicBezTo>
                            <a:pt x="21590" y="32595"/>
                            <a:pt x="21650" y="32535"/>
                            <a:pt x="21650" y="32475"/>
                          </a:cubicBezTo>
                          <a:cubicBezTo>
                            <a:pt x="21710" y="32415"/>
                            <a:pt x="21770" y="32296"/>
                            <a:pt x="21829" y="32236"/>
                          </a:cubicBezTo>
                          <a:cubicBezTo>
                            <a:pt x="21889" y="32176"/>
                            <a:pt x="21949" y="32057"/>
                            <a:pt x="22009" y="31997"/>
                          </a:cubicBezTo>
                          <a:cubicBezTo>
                            <a:pt x="22069" y="31937"/>
                            <a:pt x="22129" y="31817"/>
                            <a:pt x="22188" y="31758"/>
                          </a:cubicBezTo>
                          <a:cubicBezTo>
                            <a:pt x="22248" y="31698"/>
                            <a:pt x="22308" y="31578"/>
                            <a:pt x="22368" y="31518"/>
                          </a:cubicBezTo>
                          <a:cubicBezTo>
                            <a:pt x="22428" y="31458"/>
                            <a:pt x="22428" y="31399"/>
                            <a:pt x="22488" y="31339"/>
                          </a:cubicBezTo>
                          <a:cubicBezTo>
                            <a:pt x="22547" y="31279"/>
                            <a:pt x="22547" y="31219"/>
                            <a:pt x="22607" y="31159"/>
                          </a:cubicBezTo>
                          <a:cubicBezTo>
                            <a:pt x="22667" y="31099"/>
                            <a:pt x="22667" y="31040"/>
                            <a:pt x="22727" y="30980"/>
                          </a:cubicBezTo>
                          <a:cubicBezTo>
                            <a:pt x="22787" y="30920"/>
                            <a:pt x="22787" y="30860"/>
                            <a:pt x="22846" y="30800"/>
                          </a:cubicBezTo>
                          <a:cubicBezTo>
                            <a:pt x="22966" y="30621"/>
                            <a:pt x="23026" y="30502"/>
                            <a:pt x="23145" y="30322"/>
                          </a:cubicBezTo>
                          <a:cubicBezTo>
                            <a:pt x="23265" y="30143"/>
                            <a:pt x="23325" y="30023"/>
                            <a:pt x="23444" y="29844"/>
                          </a:cubicBezTo>
                          <a:cubicBezTo>
                            <a:pt x="23564" y="29664"/>
                            <a:pt x="23624" y="29544"/>
                            <a:pt x="23743" y="29365"/>
                          </a:cubicBezTo>
                          <a:cubicBezTo>
                            <a:pt x="23863" y="29186"/>
                            <a:pt x="23923" y="29066"/>
                            <a:pt x="24042" y="28887"/>
                          </a:cubicBezTo>
                          <a:cubicBezTo>
                            <a:pt x="24042" y="28827"/>
                            <a:pt x="24042" y="28827"/>
                            <a:pt x="24042" y="28767"/>
                          </a:cubicBezTo>
                          <a:cubicBezTo>
                            <a:pt x="24042" y="28707"/>
                            <a:pt x="24042" y="28707"/>
                            <a:pt x="24042" y="28648"/>
                          </a:cubicBezTo>
                          <a:cubicBezTo>
                            <a:pt x="24042" y="28588"/>
                            <a:pt x="24042" y="28588"/>
                            <a:pt x="24042" y="28528"/>
                          </a:cubicBezTo>
                          <a:cubicBezTo>
                            <a:pt x="24042" y="28468"/>
                            <a:pt x="24042" y="28468"/>
                            <a:pt x="24042" y="28408"/>
                          </a:cubicBezTo>
                          <a:cubicBezTo>
                            <a:pt x="24042" y="28349"/>
                            <a:pt x="24042" y="28229"/>
                            <a:pt x="24042" y="28169"/>
                          </a:cubicBezTo>
                          <a:cubicBezTo>
                            <a:pt x="24042" y="28109"/>
                            <a:pt x="24042" y="27990"/>
                            <a:pt x="24042" y="27930"/>
                          </a:cubicBezTo>
                          <a:cubicBezTo>
                            <a:pt x="24042" y="27870"/>
                            <a:pt x="24042" y="27750"/>
                            <a:pt x="24042" y="27690"/>
                          </a:cubicBezTo>
                          <a:cubicBezTo>
                            <a:pt x="24042" y="27631"/>
                            <a:pt x="24042" y="27511"/>
                            <a:pt x="24042" y="27451"/>
                          </a:cubicBezTo>
                          <a:cubicBezTo>
                            <a:pt x="24042" y="27511"/>
                            <a:pt x="23983" y="27511"/>
                            <a:pt x="23983" y="27571"/>
                          </a:cubicBezTo>
                          <a:cubicBezTo>
                            <a:pt x="23983" y="27631"/>
                            <a:pt x="23923" y="27631"/>
                            <a:pt x="23923" y="27690"/>
                          </a:cubicBezTo>
                          <a:cubicBezTo>
                            <a:pt x="23923" y="27750"/>
                            <a:pt x="23863" y="27750"/>
                            <a:pt x="23863" y="27810"/>
                          </a:cubicBezTo>
                          <a:cubicBezTo>
                            <a:pt x="23863" y="27870"/>
                            <a:pt x="23803" y="27870"/>
                            <a:pt x="23803" y="27930"/>
                          </a:cubicBezTo>
                          <a:cubicBezTo>
                            <a:pt x="23683" y="28109"/>
                            <a:pt x="23564" y="28289"/>
                            <a:pt x="23444" y="28528"/>
                          </a:cubicBezTo>
                          <a:cubicBezTo>
                            <a:pt x="23325" y="28707"/>
                            <a:pt x="23205" y="28887"/>
                            <a:pt x="23086" y="29126"/>
                          </a:cubicBezTo>
                          <a:cubicBezTo>
                            <a:pt x="22966" y="29305"/>
                            <a:pt x="22846" y="29485"/>
                            <a:pt x="22727" y="29724"/>
                          </a:cubicBezTo>
                          <a:cubicBezTo>
                            <a:pt x="22607" y="29963"/>
                            <a:pt x="22488" y="30083"/>
                            <a:pt x="22368" y="30322"/>
                          </a:cubicBezTo>
                          <a:cubicBezTo>
                            <a:pt x="22308" y="30382"/>
                            <a:pt x="22308" y="30442"/>
                            <a:pt x="22248" y="30502"/>
                          </a:cubicBezTo>
                          <a:cubicBezTo>
                            <a:pt x="22188" y="30561"/>
                            <a:pt x="22188" y="30621"/>
                            <a:pt x="22129" y="30681"/>
                          </a:cubicBezTo>
                          <a:cubicBezTo>
                            <a:pt x="22069" y="30741"/>
                            <a:pt x="22069" y="30800"/>
                            <a:pt x="22009" y="30860"/>
                          </a:cubicBezTo>
                          <a:cubicBezTo>
                            <a:pt x="21949" y="30920"/>
                            <a:pt x="21949" y="30980"/>
                            <a:pt x="21889" y="31040"/>
                          </a:cubicBezTo>
                          <a:cubicBezTo>
                            <a:pt x="21829" y="31099"/>
                            <a:pt x="21770" y="31219"/>
                            <a:pt x="21710" y="31279"/>
                          </a:cubicBezTo>
                          <a:cubicBezTo>
                            <a:pt x="21650" y="31339"/>
                            <a:pt x="21590" y="31458"/>
                            <a:pt x="21530" y="31518"/>
                          </a:cubicBezTo>
                          <a:cubicBezTo>
                            <a:pt x="21471" y="31578"/>
                            <a:pt x="21411" y="31698"/>
                            <a:pt x="21351" y="31758"/>
                          </a:cubicBezTo>
                          <a:cubicBezTo>
                            <a:pt x="21291" y="31817"/>
                            <a:pt x="21231" y="31937"/>
                            <a:pt x="21172" y="31997"/>
                          </a:cubicBezTo>
                          <a:cubicBezTo>
                            <a:pt x="21112" y="32057"/>
                            <a:pt x="21052" y="32116"/>
                            <a:pt x="21052" y="32176"/>
                          </a:cubicBezTo>
                          <a:cubicBezTo>
                            <a:pt x="21052" y="32236"/>
                            <a:pt x="20933" y="32296"/>
                            <a:pt x="20933" y="32356"/>
                          </a:cubicBezTo>
                          <a:cubicBezTo>
                            <a:pt x="20933" y="32415"/>
                            <a:pt x="20813" y="32475"/>
                            <a:pt x="20813" y="32535"/>
                          </a:cubicBezTo>
                          <a:cubicBezTo>
                            <a:pt x="20813" y="32595"/>
                            <a:pt x="20693" y="32655"/>
                            <a:pt x="20693" y="32714"/>
                          </a:cubicBezTo>
                          <a:cubicBezTo>
                            <a:pt x="20454" y="33013"/>
                            <a:pt x="20215" y="33372"/>
                            <a:pt x="19975" y="33671"/>
                          </a:cubicBezTo>
                          <a:cubicBezTo>
                            <a:pt x="19736" y="33970"/>
                            <a:pt x="19497" y="34329"/>
                            <a:pt x="19258" y="34628"/>
                          </a:cubicBezTo>
                          <a:cubicBezTo>
                            <a:pt x="19019" y="34927"/>
                            <a:pt x="18780" y="35286"/>
                            <a:pt x="18480" y="35585"/>
                          </a:cubicBezTo>
                          <a:cubicBezTo>
                            <a:pt x="18241" y="35884"/>
                            <a:pt x="18002" y="36183"/>
                            <a:pt x="17703" y="36542"/>
                          </a:cubicBezTo>
                          <a:cubicBezTo>
                            <a:pt x="17643" y="36602"/>
                            <a:pt x="17583" y="36661"/>
                            <a:pt x="17583" y="36721"/>
                          </a:cubicBezTo>
                          <a:cubicBezTo>
                            <a:pt x="17583" y="36781"/>
                            <a:pt x="17464" y="36841"/>
                            <a:pt x="17464" y="36901"/>
                          </a:cubicBezTo>
                          <a:cubicBezTo>
                            <a:pt x="17404" y="36961"/>
                            <a:pt x="17344" y="37020"/>
                            <a:pt x="17344" y="37080"/>
                          </a:cubicBezTo>
                          <a:cubicBezTo>
                            <a:pt x="17344" y="37140"/>
                            <a:pt x="17225" y="37200"/>
                            <a:pt x="17225" y="37260"/>
                          </a:cubicBezTo>
                          <a:cubicBezTo>
                            <a:pt x="16746" y="37798"/>
                            <a:pt x="16327" y="38336"/>
                            <a:pt x="15849" y="38934"/>
                          </a:cubicBezTo>
                          <a:cubicBezTo>
                            <a:pt x="15371" y="39473"/>
                            <a:pt x="14892" y="40011"/>
                            <a:pt x="14413" y="40609"/>
                          </a:cubicBezTo>
                          <a:cubicBezTo>
                            <a:pt x="13935" y="41147"/>
                            <a:pt x="13457" y="41685"/>
                            <a:pt x="12978" y="42224"/>
                          </a:cubicBezTo>
                          <a:cubicBezTo>
                            <a:pt x="12440" y="42882"/>
                            <a:pt x="11961" y="43420"/>
                            <a:pt x="11483" y="43958"/>
                          </a:cubicBezTo>
                          <a:moveTo>
                            <a:pt x="10287" y="43240"/>
                          </a:moveTo>
                          <a:lnTo>
                            <a:pt x="10765" y="43539"/>
                          </a:lnTo>
                          <a:cubicBezTo>
                            <a:pt x="11244" y="43001"/>
                            <a:pt x="11722" y="42463"/>
                            <a:pt x="12260" y="41925"/>
                          </a:cubicBezTo>
                          <a:cubicBezTo>
                            <a:pt x="12739" y="41386"/>
                            <a:pt x="13217" y="40848"/>
                            <a:pt x="13696" y="40310"/>
                          </a:cubicBezTo>
                          <a:cubicBezTo>
                            <a:pt x="14174" y="39772"/>
                            <a:pt x="14653" y="39234"/>
                            <a:pt x="15131" y="38635"/>
                          </a:cubicBezTo>
                          <a:cubicBezTo>
                            <a:pt x="15610" y="38097"/>
                            <a:pt x="16088" y="37559"/>
                            <a:pt x="16507" y="36961"/>
                          </a:cubicBezTo>
                          <a:cubicBezTo>
                            <a:pt x="16566" y="36901"/>
                            <a:pt x="16626" y="36841"/>
                            <a:pt x="16626" y="36781"/>
                          </a:cubicBezTo>
                          <a:cubicBezTo>
                            <a:pt x="16686" y="36721"/>
                            <a:pt x="16746" y="36661"/>
                            <a:pt x="16746" y="36602"/>
                          </a:cubicBezTo>
                          <a:cubicBezTo>
                            <a:pt x="16806" y="36542"/>
                            <a:pt x="16866" y="36482"/>
                            <a:pt x="16866" y="36422"/>
                          </a:cubicBezTo>
                          <a:cubicBezTo>
                            <a:pt x="16925" y="36363"/>
                            <a:pt x="16985" y="36303"/>
                            <a:pt x="16985" y="36243"/>
                          </a:cubicBezTo>
                          <a:cubicBezTo>
                            <a:pt x="17225" y="35944"/>
                            <a:pt x="17523" y="35585"/>
                            <a:pt x="17763" y="35286"/>
                          </a:cubicBezTo>
                          <a:cubicBezTo>
                            <a:pt x="18002" y="34987"/>
                            <a:pt x="18241" y="34628"/>
                            <a:pt x="18540" y="34329"/>
                          </a:cubicBezTo>
                          <a:cubicBezTo>
                            <a:pt x="18780" y="34030"/>
                            <a:pt x="19019" y="33671"/>
                            <a:pt x="19258" y="33372"/>
                          </a:cubicBezTo>
                          <a:cubicBezTo>
                            <a:pt x="19497" y="33073"/>
                            <a:pt x="19736" y="32714"/>
                            <a:pt x="19975" y="32415"/>
                          </a:cubicBezTo>
                          <a:cubicBezTo>
                            <a:pt x="20035" y="32356"/>
                            <a:pt x="20095" y="32296"/>
                            <a:pt x="20095" y="32236"/>
                          </a:cubicBezTo>
                          <a:cubicBezTo>
                            <a:pt x="20155" y="32176"/>
                            <a:pt x="20215" y="32116"/>
                            <a:pt x="20215" y="32057"/>
                          </a:cubicBezTo>
                          <a:cubicBezTo>
                            <a:pt x="20275" y="31997"/>
                            <a:pt x="20334" y="31937"/>
                            <a:pt x="20334" y="31877"/>
                          </a:cubicBezTo>
                          <a:cubicBezTo>
                            <a:pt x="20334" y="31817"/>
                            <a:pt x="20454" y="31758"/>
                            <a:pt x="20454" y="31698"/>
                          </a:cubicBezTo>
                          <a:cubicBezTo>
                            <a:pt x="20514" y="31638"/>
                            <a:pt x="20574" y="31518"/>
                            <a:pt x="20634" y="31458"/>
                          </a:cubicBezTo>
                          <a:cubicBezTo>
                            <a:pt x="20693" y="31399"/>
                            <a:pt x="20753" y="31279"/>
                            <a:pt x="20813" y="31219"/>
                          </a:cubicBezTo>
                          <a:cubicBezTo>
                            <a:pt x="20873" y="31159"/>
                            <a:pt x="20933" y="31040"/>
                            <a:pt x="20992" y="30980"/>
                          </a:cubicBezTo>
                          <a:cubicBezTo>
                            <a:pt x="21052" y="30920"/>
                            <a:pt x="21112" y="30800"/>
                            <a:pt x="21172" y="30741"/>
                          </a:cubicBezTo>
                          <a:cubicBezTo>
                            <a:pt x="21231" y="30681"/>
                            <a:pt x="21231" y="30621"/>
                            <a:pt x="21291" y="30561"/>
                          </a:cubicBezTo>
                          <a:cubicBezTo>
                            <a:pt x="21351" y="30502"/>
                            <a:pt x="21351" y="30442"/>
                            <a:pt x="21411" y="30382"/>
                          </a:cubicBezTo>
                          <a:cubicBezTo>
                            <a:pt x="21471" y="30322"/>
                            <a:pt x="21471" y="30262"/>
                            <a:pt x="21530" y="30203"/>
                          </a:cubicBezTo>
                          <a:cubicBezTo>
                            <a:pt x="21590" y="30143"/>
                            <a:pt x="21590" y="30083"/>
                            <a:pt x="21650" y="30023"/>
                          </a:cubicBezTo>
                          <a:cubicBezTo>
                            <a:pt x="21770" y="29844"/>
                            <a:pt x="21889" y="29604"/>
                            <a:pt x="22009" y="29425"/>
                          </a:cubicBezTo>
                          <a:cubicBezTo>
                            <a:pt x="22129" y="29245"/>
                            <a:pt x="22248" y="29006"/>
                            <a:pt x="22368" y="28827"/>
                          </a:cubicBezTo>
                          <a:cubicBezTo>
                            <a:pt x="22488" y="28648"/>
                            <a:pt x="22607" y="28408"/>
                            <a:pt x="22727" y="28229"/>
                          </a:cubicBezTo>
                          <a:cubicBezTo>
                            <a:pt x="22846" y="28049"/>
                            <a:pt x="22966" y="27870"/>
                            <a:pt x="23086" y="27631"/>
                          </a:cubicBezTo>
                          <a:cubicBezTo>
                            <a:pt x="23145" y="27571"/>
                            <a:pt x="23145" y="27511"/>
                            <a:pt x="23205" y="27451"/>
                          </a:cubicBezTo>
                          <a:cubicBezTo>
                            <a:pt x="23265" y="27391"/>
                            <a:pt x="23265" y="27332"/>
                            <a:pt x="23325" y="27272"/>
                          </a:cubicBezTo>
                          <a:cubicBezTo>
                            <a:pt x="23384" y="27212"/>
                            <a:pt x="23384" y="27152"/>
                            <a:pt x="23444" y="27092"/>
                          </a:cubicBezTo>
                          <a:cubicBezTo>
                            <a:pt x="23504" y="27033"/>
                            <a:pt x="23504" y="26973"/>
                            <a:pt x="23564" y="26913"/>
                          </a:cubicBezTo>
                          <a:cubicBezTo>
                            <a:pt x="23624" y="26853"/>
                            <a:pt x="23624" y="26794"/>
                            <a:pt x="23683" y="26734"/>
                          </a:cubicBezTo>
                          <a:cubicBezTo>
                            <a:pt x="23743" y="26674"/>
                            <a:pt x="23743" y="26614"/>
                            <a:pt x="23803" y="26554"/>
                          </a:cubicBezTo>
                          <a:cubicBezTo>
                            <a:pt x="23863" y="26495"/>
                            <a:pt x="23863" y="26435"/>
                            <a:pt x="23923" y="26375"/>
                          </a:cubicBezTo>
                          <a:cubicBezTo>
                            <a:pt x="23983" y="26315"/>
                            <a:pt x="23983" y="26255"/>
                            <a:pt x="24042" y="26195"/>
                          </a:cubicBezTo>
                          <a:cubicBezTo>
                            <a:pt x="24042" y="26136"/>
                            <a:pt x="24042" y="26016"/>
                            <a:pt x="23983" y="25956"/>
                          </a:cubicBezTo>
                          <a:cubicBezTo>
                            <a:pt x="23923" y="25896"/>
                            <a:pt x="23923" y="25777"/>
                            <a:pt x="23923" y="25717"/>
                          </a:cubicBezTo>
                          <a:cubicBezTo>
                            <a:pt x="23923" y="25657"/>
                            <a:pt x="23863" y="25537"/>
                            <a:pt x="23863" y="25478"/>
                          </a:cubicBezTo>
                          <a:cubicBezTo>
                            <a:pt x="23863" y="25418"/>
                            <a:pt x="23803" y="25298"/>
                            <a:pt x="23803" y="25238"/>
                          </a:cubicBezTo>
                          <a:cubicBezTo>
                            <a:pt x="23743" y="25358"/>
                            <a:pt x="23683" y="25478"/>
                            <a:pt x="23624" y="25597"/>
                          </a:cubicBezTo>
                          <a:cubicBezTo>
                            <a:pt x="23564" y="25717"/>
                            <a:pt x="23504" y="25836"/>
                            <a:pt x="23444" y="25956"/>
                          </a:cubicBezTo>
                          <a:cubicBezTo>
                            <a:pt x="23384" y="26076"/>
                            <a:pt x="23325" y="26195"/>
                            <a:pt x="23265" y="26315"/>
                          </a:cubicBezTo>
                          <a:cubicBezTo>
                            <a:pt x="23205" y="26435"/>
                            <a:pt x="23145" y="26554"/>
                            <a:pt x="23086" y="26674"/>
                          </a:cubicBezTo>
                          <a:cubicBezTo>
                            <a:pt x="23026" y="26734"/>
                            <a:pt x="23026" y="26794"/>
                            <a:pt x="22966" y="26853"/>
                          </a:cubicBezTo>
                          <a:cubicBezTo>
                            <a:pt x="22906" y="26913"/>
                            <a:pt x="22906" y="26973"/>
                            <a:pt x="22846" y="27033"/>
                          </a:cubicBezTo>
                          <a:cubicBezTo>
                            <a:pt x="22787" y="27092"/>
                            <a:pt x="22787" y="27152"/>
                            <a:pt x="22727" y="27212"/>
                          </a:cubicBezTo>
                          <a:cubicBezTo>
                            <a:pt x="22667" y="27272"/>
                            <a:pt x="22667" y="27332"/>
                            <a:pt x="22607" y="27391"/>
                          </a:cubicBezTo>
                          <a:cubicBezTo>
                            <a:pt x="22488" y="27571"/>
                            <a:pt x="22368" y="27750"/>
                            <a:pt x="22248" y="27990"/>
                          </a:cubicBezTo>
                          <a:cubicBezTo>
                            <a:pt x="22129" y="28169"/>
                            <a:pt x="22009" y="28408"/>
                            <a:pt x="21889" y="28588"/>
                          </a:cubicBezTo>
                          <a:cubicBezTo>
                            <a:pt x="21770" y="28767"/>
                            <a:pt x="21650" y="29006"/>
                            <a:pt x="21530" y="29186"/>
                          </a:cubicBezTo>
                          <a:cubicBezTo>
                            <a:pt x="21411" y="29365"/>
                            <a:pt x="21291" y="29604"/>
                            <a:pt x="21172" y="29784"/>
                          </a:cubicBezTo>
                          <a:cubicBezTo>
                            <a:pt x="21112" y="29844"/>
                            <a:pt x="21112" y="29904"/>
                            <a:pt x="21052" y="29963"/>
                          </a:cubicBezTo>
                          <a:cubicBezTo>
                            <a:pt x="20992" y="30023"/>
                            <a:pt x="20992" y="30083"/>
                            <a:pt x="20933" y="30143"/>
                          </a:cubicBezTo>
                          <a:cubicBezTo>
                            <a:pt x="20873" y="30203"/>
                            <a:pt x="20873" y="30262"/>
                            <a:pt x="20813" y="30322"/>
                          </a:cubicBezTo>
                          <a:cubicBezTo>
                            <a:pt x="20753" y="30382"/>
                            <a:pt x="20753" y="30442"/>
                            <a:pt x="20693" y="30502"/>
                          </a:cubicBezTo>
                          <a:cubicBezTo>
                            <a:pt x="20634" y="30561"/>
                            <a:pt x="20574" y="30681"/>
                            <a:pt x="20514" y="30741"/>
                          </a:cubicBezTo>
                          <a:cubicBezTo>
                            <a:pt x="20454" y="30800"/>
                            <a:pt x="20394" y="30920"/>
                            <a:pt x="20334" y="30980"/>
                          </a:cubicBezTo>
                          <a:cubicBezTo>
                            <a:pt x="20275" y="31040"/>
                            <a:pt x="20215" y="31159"/>
                            <a:pt x="20155" y="31219"/>
                          </a:cubicBezTo>
                          <a:cubicBezTo>
                            <a:pt x="20095" y="31279"/>
                            <a:pt x="20035" y="31399"/>
                            <a:pt x="19975" y="31458"/>
                          </a:cubicBezTo>
                          <a:cubicBezTo>
                            <a:pt x="19916" y="31518"/>
                            <a:pt x="19856" y="31578"/>
                            <a:pt x="19856" y="31638"/>
                          </a:cubicBezTo>
                          <a:cubicBezTo>
                            <a:pt x="19796" y="31698"/>
                            <a:pt x="19736" y="31758"/>
                            <a:pt x="19736" y="31817"/>
                          </a:cubicBezTo>
                          <a:cubicBezTo>
                            <a:pt x="19676" y="31877"/>
                            <a:pt x="19617" y="31937"/>
                            <a:pt x="19617" y="31997"/>
                          </a:cubicBezTo>
                          <a:cubicBezTo>
                            <a:pt x="19557" y="32057"/>
                            <a:pt x="19497" y="32116"/>
                            <a:pt x="19497" y="32176"/>
                          </a:cubicBezTo>
                          <a:cubicBezTo>
                            <a:pt x="19258" y="32475"/>
                            <a:pt x="19019" y="32774"/>
                            <a:pt x="18780" y="33133"/>
                          </a:cubicBezTo>
                          <a:cubicBezTo>
                            <a:pt x="18540" y="33492"/>
                            <a:pt x="18301" y="33791"/>
                            <a:pt x="18062" y="34090"/>
                          </a:cubicBezTo>
                          <a:cubicBezTo>
                            <a:pt x="17822" y="34389"/>
                            <a:pt x="17583" y="34748"/>
                            <a:pt x="17284" y="35047"/>
                          </a:cubicBezTo>
                          <a:cubicBezTo>
                            <a:pt x="16985" y="35346"/>
                            <a:pt x="16806" y="35705"/>
                            <a:pt x="16507" y="36004"/>
                          </a:cubicBezTo>
                          <a:cubicBezTo>
                            <a:pt x="16447" y="36064"/>
                            <a:pt x="16387" y="36123"/>
                            <a:pt x="16387" y="36183"/>
                          </a:cubicBezTo>
                          <a:cubicBezTo>
                            <a:pt x="16387" y="36243"/>
                            <a:pt x="16267" y="36303"/>
                            <a:pt x="16267" y="36363"/>
                          </a:cubicBezTo>
                          <a:cubicBezTo>
                            <a:pt x="16208" y="36422"/>
                            <a:pt x="16148" y="36482"/>
                            <a:pt x="16148" y="36542"/>
                          </a:cubicBezTo>
                          <a:cubicBezTo>
                            <a:pt x="16088" y="36602"/>
                            <a:pt x="16028" y="36661"/>
                            <a:pt x="16028" y="36721"/>
                          </a:cubicBezTo>
                          <a:cubicBezTo>
                            <a:pt x="15550" y="37260"/>
                            <a:pt x="15131" y="37798"/>
                            <a:pt x="14653" y="38396"/>
                          </a:cubicBezTo>
                          <a:cubicBezTo>
                            <a:pt x="14174" y="38934"/>
                            <a:pt x="13696" y="39473"/>
                            <a:pt x="13217" y="40071"/>
                          </a:cubicBezTo>
                          <a:cubicBezTo>
                            <a:pt x="12739" y="40609"/>
                            <a:pt x="12260" y="41147"/>
                            <a:pt x="11782" y="41745"/>
                          </a:cubicBezTo>
                          <a:cubicBezTo>
                            <a:pt x="11304" y="42104"/>
                            <a:pt x="10765" y="42642"/>
                            <a:pt x="10287" y="43240"/>
                          </a:cubicBezTo>
                          <a:moveTo>
                            <a:pt x="9749" y="45872"/>
                          </a:moveTo>
                          <a:lnTo>
                            <a:pt x="10287" y="46231"/>
                          </a:lnTo>
                          <a:cubicBezTo>
                            <a:pt x="10287" y="46231"/>
                            <a:pt x="10287" y="46231"/>
                            <a:pt x="10287" y="46231"/>
                          </a:cubicBezTo>
                          <a:cubicBezTo>
                            <a:pt x="10287" y="46231"/>
                            <a:pt x="10287" y="46231"/>
                            <a:pt x="10287" y="46231"/>
                          </a:cubicBezTo>
                          <a:cubicBezTo>
                            <a:pt x="10287" y="46231"/>
                            <a:pt x="10287" y="46231"/>
                            <a:pt x="10287" y="46231"/>
                          </a:cubicBezTo>
                          <a:cubicBezTo>
                            <a:pt x="10287" y="46231"/>
                            <a:pt x="10287" y="46231"/>
                            <a:pt x="10287" y="46231"/>
                          </a:cubicBezTo>
                          <a:cubicBezTo>
                            <a:pt x="10347" y="46111"/>
                            <a:pt x="10466" y="46051"/>
                            <a:pt x="10526" y="45932"/>
                          </a:cubicBezTo>
                          <a:cubicBezTo>
                            <a:pt x="10586" y="45812"/>
                            <a:pt x="10705" y="45752"/>
                            <a:pt x="10765" y="45633"/>
                          </a:cubicBezTo>
                          <a:cubicBezTo>
                            <a:pt x="10825" y="45513"/>
                            <a:pt x="10944" y="45453"/>
                            <a:pt x="11004" y="45334"/>
                          </a:cubicBezTo>
                          <a:cubicBezTo>
                            <a:pt x="11064" y="45214"/>
                            <a:pt x="11184" y="45154"/>
                            <a:pt x="11244" y="45035"/>
                          </a:cubicBezTo>
                          <a:lnTo>
                            <a:pt x="10705" y="44676"/>
                          </a:lnTo>
                          <a:cubicBezTo>
                            <a:pt x="10645" y="44736"/>
                            <a:pt x="10526" y="44855"/>
                            <a:pt x="10466" y="44915"/>
                          </a:cubicBezTo>
                          <a:cubicBezTo>
                            <a:pt x="10406" y="44975"/>
                            <a:pt x="10287" y="45095"/>
                            <a:pt x="10227" y="45154"/>
                          </a:cubicBezTo>
                          <a:cubicBezTo>
                            <a:pt x="10167" y="45214"/>
                            <a:pt x="10048" y="45334"/>
                            <a:pt x="9988" y="45393"/>
                          </a:cubicBezTo>
                          <a:cubicBezTo>
                            <a:pt x="9928" y="45453"/>
                            <a:pt x="9808" y="45573"/>
                            <a:pt x="9749" y="45633"/>
                          </a:cubicBezTo>
                          <a:cubicBezTo>
                            <a:pt x="9749" y="45633"/>
                            <a:pt x="9749" y="45633"/>
                            <a:pt x="9689" y="45692"/>
                          </a:cubicBezTo>
                          <a:cubicBezTo>
                            <a:pt x="9689" y="45692"/>
                            <a:pt x="9689" y="45692"/>
                            <a:pt x="9629" y="45752"/>
                          </a:cubicBezTo>
                          <a:cubicBezTo>
                            <a:pt x="9808" y="45812"/>
                            <a:pt x="9808" y="45812"/>
                            <a:pt x="9749" y="45872"/>
                          </a:cubicBezTo>
                          <a:cubicBezTo>
                            <a:pt x="9749" y="45872"/>
                            <a:pt x="9749" y="45872"/>
                            <a:pt x="9749" y="45872"/>
                          </a:cubicBezTo>
                          <a:moveTo>
                            <a:pt x="8552" y="45095"/>
                          </a:moveTo>
                          <a:lnTo>
                            <a:pt x="9031" y="45393"/>
                          </a:lnTo>
                          <a:cubicBezTo>
                            <a:pt x="9031" y="45393"/>
                            <a:pt x="9090" y="45334"/>
                            <a:pt x="9090" y="45334"/>
                          </a:cubicBezTo>
                          <a:cubicBezTo>
                            <a:pt x="9090" y="45334"/>
                            <a:pt x="9150" y="45274"/>
                            <a:pt x="9150" y="45274"/>
                          </a:cubicBezTo>
                          <a:cubicBezTo>
                            <a:pt x="9150" y="45274"/>
                            <a:pt x="9210" y="45214"/>
                            <a:pt x="9210" y="45214"/>
                          </a:cubicBezTo>
                          <a:cubicBezTo>
                            <a:pt x="9210" y="45214"/>
                            <a:pt x="9270" y="45154"/>
                            <a:pt x="9270" y="45154"/>
                          </a:cubicBezTo>
                          <a:cubicBezTo>
                            <a:pt x="9330" y="45095"/>
                            <a:pt x="9390" y="44975"/>
                            <a:pt x="9509" y="44915"/>
                          </a:cubicBezTo>
                          <a:cubicBezTo>
                            <a:pt x="9569" y="44855"/>
                            <a:pt x="9629" y="44736"/>
                            <a:pt x="9749" y="44676"/>
                          </a:cubicBezTo>
                          <a:cubicBezTo>
                            <a:pt x="9868" y="44616"/>
                            <a:pt x="9868" y="44496"/>
                            <a:pt x="9988" y="44437"/>
                          </a:cubicBezTo>
                          <a:cubicBezTo>
                            <a:pt x="10107" y="44377"/>
                            <a:pt x="10107" y="44257"/>
                            <a:pt x="10227" y="44197"/>
                          </a:cubicBezTo>
                          <a:lnTo>
                            <a:pt x="9749" y="43898"/>
                          </a:lnTo>
                          <a:cubicBezTo>
                            <a:pt x="9689" y="43958"/>
                            <a:pt x="9629" y="44078"/>
                            <a:pt x="9509" y="44137"/>
                          </a:cubicBezTo>
                          <a:cubicBezTo>
                            <a:pt x="9449" y="44197"/>
                            <a:pt x="9390" y="44317"/>
                            <a:pt x="9270" y="44377"/>
                          </a:cubicBezTo>
                          <a:cubicBezTo>
                            <a:pt x="9210" y="44437"/>
                            <a:pt x="9150" y="44556"/>
                            <a:pt x="9031" y="44616"/>
                          </a:cubicBezTo>
                          <a:cubicBezTo>
                            <a:pt x="8971" y="44676"/>
                            <a:pt x="8911" y="44796"/>
                            <a:pt x="8791" y="44855"/>
                          </a:cubicBezTo>
                          <a:cubicBezTo>
                            <a:pt x="8791" y="44855"/>
                            <a:pt x="8732" y="44915"/>
                            <a:pt x="8732" y="44915"/>
                          </a:cubicBezTo>
                          <a:cubicBezTo>
                            <a:pt x="8732" y="44915"/>
                            <a:pt x="8672" y="44975"/>
                            <a:pt x="8672" y="44975"/>
                          </a:cubicBezTo>
                          <a:cubicBezTo>
                            <a:pt x="8672" y="44975"/>
                            <a:pt x="8612" y="45035"/>
                            <a:pt x="8612" y="45035"/>
                          </a:cubicBezTo>
                          <a:cubicBezTo>
                            <a:pt x="8612" y="45095"/>
                            <a:pt x="8612" y="45095"/>
                            <a:pt x="8552" y="45095"/>
                          </a:cubicBezTo>
                          <a:moveTo>
                            <a:pt x="8194" y="47666"/>
                          </a:moveTo>
                          <a:lnTo>
                            <a:pt x="8732" y="48025"/>
                          </a:lnTo>
                          <a:cubicBezTo>
                            <a:pt x="8791" y="47965"/>
                            <a:pt x="8911" y="47846"/>
                            <a:pt x="8971" y="47786"/>
                          </a:cubicBezTo>
                          <a:cubicBezTo>
                            <a:pt x="9031" y="47726"/>
                            <a:pt x="9150" y="47606"/>
                            <a:pt x="9210" y="47546"/>
                          </a:cubicBezTo>
                          <a:cubicBezTo>
                            <a:pt x="9270" y="47487"/>
                            <a:pt x="9390" y="47367"/>
                            <a:pt x="9449" y="47307"/>
                          </a:cubicBezTo>
                          <a:cubicBezTo>
                            <a:pt x="9509" y="47247"/>
                            <a:pt x="9629" y="47128"/>
                            <a:pt x="9689" y="47068"/>
                          </a:cubicBezTo>
                          <a:lnTo>
                            <a:pt x="9150" y="46709"/>
                          </a:lnTo>
                          <a:cubicBezTo>
                            <a:pt x="9090" y="46769"/>
                            <a:pt x="8971" y="46889"/>
                            <a:pt x="8911" y="46949"/>
                          </a:cubicBezTo>
                          <a:cubicBezTo>
                            <a:pt x="8851" y="47008"/>
                            <a:pt x="8732" y="47128"/>
                            <a:pt x="8672" y="47188"/>
                          </a:cubicBezTo>
                          <a:cubicBezTo>
                            <a:pt x="8612" y="47247"/>
                            <a:pt x="8493" y="47367"/>
                            <a:pt x="8433" y="47427"/>
                          </a:cubicBezTo>
                          <a:cubicBezTo>
                            <a:pt x="8313" y="47487"/>
                            <a:pt x="8253" y="47546"/>
                            <a:pt x="8194" y="47666"/>
                          </a:cubicBezTo>
                          <a:moveTo>
                            <a:pt x="6997" y="46889"/>
                          </a:moveTo>
                          <a:lnTo>
                            <a:pt x="7536" y="47247"/>
                          </a:lnTo>
                          <a:cubicBezTo>
                            <a:pt x="7595" y="47188"/>
                            <a:pt x="7715" y="47068"/>
                            <a:pt x="7775" y="47008"/>
                          </a:cubicBezTo>
                          <a:cubicBezTo>
                            <a:pt x="7835" y="46949"/>
                            <a:pt x="7954" y="46829"/>
                            <a:pt x="8014" y="46769"/>
                          </a:cubicBezTo>
                          <a:cubicBezTo>
                            <a:pt x="8074" y="46709"/>
                            <a:pt x="8194" y="46590"/>
                            <a:pt x="8253" y="46530"/>
                          </a:cubicBezTo>
                          <a:cubicBezTo>
                            <a:pt x="8313" y="46470"/>
                            <a:pt x="8433" y="46351"/>
                            <a:pt x="8493" y="46291"/>
                          </a:cubicBezTo>
                          <a:lnTo>
                            <a:pt x="8014" y="45932"/>
                          </a:lnTo>
                          <a:cubicBezTo>
                            <a:pt x="7954" y="45991"/>
                            <a:pt x="7835" y="46111"/>
                            <a:pt x="7775" y="46171"/>
                          </a:cubicBezTo>
                          <a:cubicBezTo>
                            <a:pt x="7715" y="46231"/>
                            <a:pt x="7595" y="46351"/>
                            <a:pt x="7536" y="46410"/>
                          </a:cubicBezTo>
                          <a:cubicBezTo>
                            <a:pt x="7476" y="46470"/>
                            <a:pt x="7356" y="46590"/>
                            <a:pt x="7296" y="46650"/>
                          </a:cubicBezTo>
                          <a:cubicBezTo>
                            <a:pt x="7117" y="46709"/>
                            <a:pt x="7057" y="46769"/>
                            <a:pt x="6997" y="46889"/>
                          </a:cubicBezTo>
                          <a:moveTo>
                            <a:pt x="0" y="55082"/>
                          </a:moveTo>
                          <a:lnTo>
                            <a:pt x="1674" y="56159"/>
                          </a:lnTo>
                          <a:lnTo>
                            <a:pt x="1973" y="55800"/>
                          </a:lnTo>
                          <a:cubicBezTo>
                            <a:pt x="2153" y="55621"/>
                            <a:pt x="2273" y="55381"/>
                            <a:pt x="2452" y="55202"/>
                          </a:cubicBezTo>
                          <a:cubicBezTo>
                            <a:pt x="2632" y="55022"/>
                            <a:pt x="2751" y="54783"/>
                            <a:pt x="2930" y="54604"/>
                          </a:cubicBezTo>
                          <a:cubicBezTo>
                            <a:pt x="3110" y="54424"/>
                            <a:pt x="3289" y="54185"/>
                            <a:pt x="3409" y="54006"/>
                          </a:cubicBezTo>
                          <a:cubicBezTo>
                            <a:pt x="3588" y="53826"/>
                            <a:pt x="3768" y="53587"/>
                            <a:pt x="3947" y="53408"/>
                          </a:cubicBezTo>
                          <a:cubicBezTo>
                            <a:pt x="4007" y="53348"/>
                            <a:pt x="4067" y="53288"/>
                            <a:pt x="4127" y="53228"/>
                          </a:cubicBezTo>
                          <a:cubicBezTo>
                            <a:pt x="4187" y="53168"/>
                            <a:pt x="4246" y="53108"/>
                            <a:pt x="4306" y="53049"/>
                          </a:cubicBezTo>
                          <a:cubicBezTo>
                            <a:pt x="4366" y="52989"/>
                            <a:pt x="4426" y="52929"/>
                            <a:pt x="4486" y="52869"/>
                          </a:cubicBezTo>
                          <a:cubicBezTo>
                            <a:pt x="4545" y="52810"/>
                            <a:pt x="4605" y="52750"/>
                            <a:pt x="4665" y="52690"/>
                          </a:cubicBezTo>
                          <a:cubicBezTo>
                            <a:pt x="4964" y="52391"/>
                            <a:pt x="5203" y="52032"/>
                            <a:pt x="5502" y="51673"/>
                          </a:cubicBezTo>
                          <a:cubicBezTo>
                            <a:pt x="5801" y="51314"/>
                            <a:pt x="6100" y="51015"/>
                            <a:pt x="6399" y="50657"/>
                          </a:cubicBezTo>
                          <a:cubicBezTo>
                            <a:pt x="6698" y="50298"/>
                            <a:pt x="6997" y="49999"/>
                            <a:pt x="7296" y="49640"/>
                          </a:cubicBezTo>
                          <a:cubicBezTo>
                            <a:pt x="7595" y="49281"/>
                            <a:pt x="7895" y="48982"/>
                            <a:pt x="8194" y="48623"/>
                          </a:cubicBezTo>
                          <a:lnTo>
                            <a:pt x="7655" y="48264"/>
                          </a:lnTo>
                          <a:cubicBezTo>
                            <a:pt x="7356" y="48623"/>
                            <a:pt x="7057" y="48922"/>
                            <a:pt x="6758" y="49281"/>
                          </a:cubicBezTo>
                          <a:cubicBezTo>
                            <a:pt x="6459" y="49640"/>
                            <a:pt x="6160" y="49939"/>
                            <a:pt x="5861" y="50298"/>
                          </a:cubicBezTo>
                          <a:cubicBezTo>
                            <a:pt x="5562" y="50657"/>
                            <a:pt x="5263" y="50955"/>
                            <a:pt x="4964" y="51314"/>
                          </a:cubicBezTo>
                          <a:cubicBezTo>
                            <a:pt x="4665" y="51673"/>
                            <a:pt x="4366" y="51972"/>
                            <a:pt x="4127" y="52331"/>
                          </a:cubicBezTo>
                          <a:cubicBezTo>
                            <a:pt x="4067" y="52391"/>
                            <a:pt x="4007" y="52451"/>
                            <a:pt x="3947" y="52511"/>
                          </a:cubicBezTo>
                          <a:cubicBezTo>
                            <a:pt x="3887" y="52570"/>
                            <a:pt x="3828" y="52630"/>
                            <a:pt x="3768" y="52690"/>
                          </a:cubicBezTo>
                          <a:cubicBezTo>
                            <a:pt x="3708" y="52750"/>
                            <a:pt x="3648" y="52810"/>
                            <a:pt x="3588" y="52869"/>
                          </a:cubicBezTo>
                          <a:cubicBezTo>
                            <a:pt x="3528" y="52929"/>
                            <a:pt x="3469" y="52989"/>
                            <a:pt x="3409" y="53049"/>
                          </a:cubicBezTo>
                          <a:cubicBezTo>
                            <a:pt x="3289" y="53228"/>
                            <a:pt x="3110" y="53408"/>
                            <a:pt x="2990" y="53587"/>
                          </a:cubicBezTo>
                          <a:cubicBezTo>
                            <a:pt x="2871" y="53767"/>
                            <a:pt x="2691" y="53946"/>
                            <a:pt x="2572" y="54125"/>
                          </a:cubicBezTo>
                          <a:cubicBezTo>
                            <a:pt x="2452" y="54305"/>
                            <a:pt x="2273" y="54484"/>
                            <a:pt x="2153" y="54664"/>
                          </a:cubicBezTo>
                          <a:cubicBezTo>
                            <a:pt x="2033" y="54843"/>
                            <a:pt x="1854" y="55022"/>
                            <a:pt x="1734" y="55202"/>
                          </a:cubicBezTo>
                          <a:lnTo>
                            <a:pt x="1017" y="54783"/>
                          </a:lnTo>
                          <a:cubicBezTo>
                            <a:pt x="1136" y="54604"/>
                            <a:pt x="1316" y="54424"/>
                            <a:pt x="1435" y="54245"/>
                          </a:cubicBezTo>
                          <a:cubicBezTo>
                            <a:pt x="1555" y="54066"/>
                            <a:pt x="1734" y="53886"/>
                            <a:pt x="1854" y="53707"/>
                          </a:cubicBezTo>
                          <a:cubicBezTo>
                            <a:pt x="1973" y="53527"/>
                            <a:pt x="2153" y="53348"/>
                            <a:pt x="2273" y="53168"/>
                          </a:cubicBezTo>
                          <a:cubicBezTo>
                            <a:pt x="2392" y="52989"/>
                            <a:pt x="2572" y="52810"/>
                            <a:pt x="2691" y="52630"/>
                          </a:cubicBezTo>
                          <a:cubicBezTo>
                            <a:pt x="2751" y="52570"/>
                            <a:pt x="2811" y="52511"/>
                            <a:pt x="2871" y="52451"/>
                          </a:cubicBezTo>
                          <a:cubicBezTo>
                            <a:pt x="2930" y="52391"/>
                            <a:pt x="2990" y="52331"/>
                            <a:pt x="3050" y="52271"/>
                          </a:cubicBezTo>
                          <a:cubicBezTo>
                            <a:pt x="3110" y="52212"/>
                            <a:pt x="3170" y="52152"/>
                            <a:pt x="3229" y="52092"/>
                          </a:cubicBezTo>
                          <a:cubicBezTo>
                            <a:pt x="3289" y="52032"/>
                            <a:pt x="3349" y="51972"/>
                            <a:pt x="3409" y="51913"/>
                          </a:cubicBezTo>
                          <a:cubicBezTo>
                            <a:pt x="3708" y="51554"/>
                            <a:pt x="3947" y="51254"/>
                            <a:pt x="4246" y="50896"/>
                          </a:cubicBezTo>
                          <a:cubicBezTo>
                            <a:pt x="4545" y="50537"/>
                            <a:pt x="4844" y="50238"/>
                            <a:pt x="5143" y="49879"/>
                          </a:cubicBezTo>
                          <a:cubicBezTo>
                            <a:pt x="5442" y="49520"/>
                            <a:pt x="5741" y="49221"/>
                            <a:pt x="6041" y="48862"/>
                          </a:cubicBezTo>
                          <a:cubicBezTo>
                            <a:pt x="6340" y="48504"/>
                            <a:pt x="6639" y="48205"/>
                            <a:pt x="6937" y="47846"/>
                          </a:cubicBezTo>
                          <a:lnTo>
                            <a:pt x="6399" y="47487"/>
                          </a:lnTo>
                          <a:cubicBezTo>
                            <a:pt x="6100" y="47846"/>
                            <a:pt x="5801" y="48145"/>
                            <a:pt x="5502" y="48504"/>
                          </a:cubicBezTo>
                          <a:cubicBezTo>
                            <a:pt x="5203" y="48862"/>
                            <a:pt x="4904" y="49161"/>
                            <a:pt x="4605" y="49520"/>
                          </a:cubicBezTo>
                          <a:cubicBezTo>
                            <a:pt x="4306" y="49879"/>
                            <a:pt x="4007" y="50178"/>
                            <a:pt x="3708" y="50537"/>
                          </a:cubicBezTo>
                          <a:cubicBezTo>
                            <a:pt x="3409" y="50896"/>
                            <a:pt x="3110" y="51195"/>
                            <a:pt x="2871" y="51554"/>
                          </a:cubicBezTo>
                          <a:cubicBezTo>
                            <a:pt x="2811" y="51613"/>
                            <a:pt x="2751" y="51673"/>
                            <a:pt x="2691" y="51733"/>
                          </a:cubicBezTo>
                          <a:cubicBezTo>
                            <a:pt x="2632" y="51793"/>
                            <a:pt x="2572" y="51853"/>
                            <a:pt x="2512" y="51913"/>
                          </a:cubicBezTo>
                          <a:cubicBezTo>
                            <a:pt x="2452" y="51972"/>
                            <a:pt x="2392" y="52032"/>
                            <a:pt x="2333" y="52092"/>
                          </a:cubicBezTo>
                          <a:cubicBezTo>
                            <a:pt x="2273" y="52152"/>
                            <a:pt x="2213" y="52212"/>
                            <a:pt x="2153" y="52271"/>
                          </a:cubicBezTo>
                          <a:cubicBezTo>
                            <a:pt x="1973" y="52451"/>
                            <a:pt x="1794" y="52690"/>
                            <a:pt x="1615" y="52869"/>
                          </a:cubicBezTo>
                          <a:cubicBezTo>
                            <a:pt x="1435" y="53049"/>
                            <a:pt x="1256" y="53288"/>
                            <a:pt x="1136" y="53467"/>
                          </a:cubicBezTo>
                          <a:cubicBezTo>
                            <a:pt x="957" y="53647"/>
                            <a:pt x="778" y="53886"/>
                            <a:pt x="658" y="54066"/>
                          </a:cubicBezTo>
                          <a:cubicBezTo>
                            <a:pt x="478" y="54245"/>
                            <a:pt x="359" y="54484"/>
                            <a:pt x="179" y="54664"/>
                          </a:cubicBezTo>
                          <a:lnTo>
                            <a:pt x="0" y="55082"/>
                          </a:lnTo>
                        </a:path>
                      </a:pathLst>
                    </a:custGeom>
                    <a:noFill/>
                    <a:ln w="6350" cap="flat">
                      <a:solidFill>
                        <a:schemeClr val="bg1">
                          <a:alpha val="80000"/>
                        </a:schemeClr>
                      </a:solidFill>
                      <a:prstDash val="solid"/>
                      <a:miter/>
                    </a:ln>
                  </p:spPr>
                  <p:txBody>
                    <a:bodyPr rtlCol="0" anchor="ctr"/>
                    <a:lstStyle/>
                    <a:p>
                      <a:endParaRPr lang="en-GB"/>
                    </a:p>
                  </p:txBody>
                </p:sp>
                <p:sp>
                  <p:nvSpPr>
                    <p:cNvPr id="7385" name="Vrije vorm: vorm 7384">
                      <a:extLst>
                        <a:ext uri="{FF2B5EF4-FFF2-40B4-BE49-F238E27FC236}">
                          <a16:creationId xmlns:a16="http://schemas.microsoft.com/office/drawing/2014/main" id="{580A1139-5336-4D53-BE57-B7DC0B6060A5}"/>
                        </a:ext>
                      </a:extLst>
                    </p:cNvPr>
                    <p:cNvSpPr/>
                    <p:nvPr/>
                  </p:nvSpPr>
                  <p:spPr>
                    <a:xfrm>
                      <a:off x="5357072" y="5508344"/>
                      <a:ext cx="24607" cy="54185"/>
                    </a:xfrm>
                    <a:custGeom>
                      <a:avLst/>
                      <a:gdLst>
                        <a:gd name="connsiteX0" fmla="*/ 10167 w 24607"/>
                        <a:gd name="connsiteY0" fmla="*/ 4725 h 54185"/>
                        <a:gd name="connsiteX1" fmla="*/ 10765 w 24607"/>
                        <a:gd name="connsiteY1" fmla="*/ 4007 h 54185"/>
                        <a:gd name="connsiteX2" fmla="*/ 10107 w 24607"/>
                        <a:gd name="connsiteY2" fmla="*/ 3529 h 54185"/>
                        <a:gd name="connsiteX3" fmla="*/ 9449 w 24607"/>
                        <a:gd name="connsiteY3" fmla="*/ 3050 h 54185"/>
                        <a:gd name="connsiteX4" fmla="*/ 8732 w 24607"/>
                        <a:gd name="connsiteY4" fmla="*/ 2572 h 54185"/>
                        <a:gd name="connsiteX5" fmla="*/ 8014 w 24607"/>
                        <a:gd name="connsiteY5" fmla="*/ 2093 h 54185"/>
                        <a:gd name="connsiteX6" fmla="*/ 8791 w 24607"/>
                        <a:gd name="connsiteY6" fmla="*/ 1136 h 54185"/>
                        <a:gd name="connsiteX7" fmla="*/ 9509 w 24607"/>
                        <a:gd name="connsiteY7" fmla="*/ 1615 h 54185"/>
                        <a:gd name="connsiteX8" fmla="*/ 10227 w 24607"/>
                        <a:gd name="connsiteY8" fmla="*/ 2093 h 54185"/>
                        <a:gd name="connsiteX9" fmla="*/ 10885 w 24607"/>
                        <a:gd name="connsiteY9" fmla="*/ 2572 h 54185"/>
                        <a:gd name="connsiteX10" fmla="*/ 11543 w 24607"/>
                        <a:gd name="connsiteY10" fmla="*/ 3050 h 54185"/>
                        <a:gd name="connsiteX11" fmla="*/ 12141 w 24607"/>
                        <a:gd name="connsiteY11" fmla="*/ 2333 h 54185"/>
                        <a:gd name="connsiteX12" fmla="*/ 11423 w 24607"/>
                        <a:gd name="connsiteY12" fmla="*/ 1794 h 54185"/>
                        <a:gd name="connsiteX13" fmla="*/ 10645 w 24607"/>
                        <a:gd name="connsiteY13" fmla="*/ 1256 h 54185"/>
                        <a:gd name="connsiteX14" fmla="*/ 9868 w 24607"/>
                        <a:gd name="connsiteY14" fmla="*/ 718 h 54185"/>
                        <a:gd name="connsiteX15" fmla="*/ 9090 w 24607"/>
                        <a:gd name="connsiteY15" fmla="*/ 180 h 54185"/>
                        <a:gd name="connsiteX16" fmla="*/ 8851 w 24607"/>
                        <a:gd name="connsiteY16" fmla="*/ 0 h 54185"/>
                        <a:gd name="connsiteX17" fmla="*/ 8373 w 24607"/>
                        <a:gd name="connsiteY17" fmla="*/ 598 h 54185"/>
                        <a:gd name="connsiteX18" fmla="*/ 6878 w 24607"/>
                        <a:gd name="connsiteY18" fmla="*/ 2452 h 54185"/>
                        <a:gd name="connsiteX19" fmla="*/ 7117 w 24607"/>
                        <a:gd name="connsiteY19" fmla="*/ 2632 h 54185"/>
                        <a:gd name="connsiteX20" fmla="*/ 7895 w 24607"/>
                        <a:gd name="connsiteY20" fmla="*/ 3170 h 54185"/>
                        <a:gd name="connsiteX21" fmla="*/ 8672 w 24607"/>
                        <a:gd name="connsiteY21" fmla="*/ 3708 h 54185"/>
                        <a:gd name="connsiteX22" fmla="*/ 9449 w 24607"/>
                        <a:gd name="connsiteY22" fmla="*/ 4246 h 54185"/>
                        <a:gd name="connsiteX23" fmla="*/ 10167 w 24607"/>
                        <a:gd name="connsiteY23" fmla="*/ 4725 h 54185"/>
                        <a:gd name="connsiteX24" fmla="*/ 12858 w 24607"/>
                        <a:gd name="connsiteY24" fmla="*/ 39891 h 54185"/>
                        <a:gd name="connsiteX25" fmla="*/ 13397 w 24607"/>
                        <a:gd name="connsiteY25" fmla="*/ 40250 h 54185"/>
                        <a:gd name="connsiteX26" fmla="*/ 14892 w 24607"/>
                        <a:gd name="connsiteY26" fmla="*/ 38516 h 54185"/>
                        <a:gd name="connsiteX27" fmla="*/ 16267 w 24607"/>
                        <a:gd name="connsiteY27" fmla="*/ 36782 h 54185"/>
                        <a:gd name="connsiteX28" fmla="*/ 17583 w 24607"/>
                        <a:gd name="connsiteY28" fmla="*/ 35107 h 54185"/>
                        <a:gd name="connsiteX29" fmla="*/ 18839 w 24607"/>
                        <a:gd name="connsiteY29" fmla="*/ 33492 h 54185"/>
                        <a:gd name="connsiteX30" fmla="*/ 18959 w 24607"/>
                        <a:gd name="connsiteY30" fmla="*/ 33313 h 54185"/>
                        <a:gd name="connsiteX31" fmla="*/ 19079 w 24607"/>
                        <a:gd name="connsiteY31" fmla="*/ 33133 h 54185"/>
                        <a:gd name="connsiteX32" fmla="*/ 19198 w 24607"/>
                        <a:gd name="connsiteY32" fmla="*/ 32954 h 54185"/>
                        <a:gd name="connsiteX33" fmla="*/ 19318 w 24607"/>
                        <a:gd name="connsiteY33" fmla="*/ 32774 h 54185"/>
                        <a:gd name="connsiteX34" fmla="*/ 20035 w 24607"/>
                        <a:gd name="connsiteY34" fmla="*/ 31758 h 54185"/>
                        <a:gd name="connsiteX35" fmla="*/ 20693 w 24607"/>
                        <a:gd name="connsiteY35" fmla="*/ 30741 h 54185"/>
                        <a:gd name="connsiteX36" fmla="*/ 21291 w 24607"/>
                        <a:gd name="connsiteY36" fmla="*/ 29724 h 54185"/>
                        <a:gd name="connsiteX37" fmla="*/ 21889 w 24607"/>
                        <a:gd name="connsiteY37" fmla="*/ 28707 h 54185"/>
                        <a:gd name="connsiteX38" fmla="*/ 22009 w 24607"/>
                        <a:gd name="connsiteY38" fmla="*/ 28528 h 54185"/>
                        <a:gd name="connsiteX39" fmla="*/ 22128 w 24607"/>
                        <a:gd name="connsiteY39" fmla="*/ 28349 h 54185"/>
                        <a:gd name="connsiteX40" fmla="*/ 22248 w 24607"/>
                        <a:gd name="connsiteY40" fmla="*/ 28169 h 54185"/>
                        <a:gd name="connsiteX41" fmla="*/ 22368 w 24607"/>
                        <a:gd name="connsiteY41" fmla="*/ 27990 h 54185"/>
                        <a:gd name="connsiteX42" fmla="*/ 22488 w 24607"/>
                        <a:gd name="connsiteY42" fmla="*/ 27691 h 54185"/>
                        <a:gd name="connsiteX43" fmla="*/ 22607 w 24607"/>
                        <a:gd name="connsiteY43" fmla="*/ 27392 h 54185"/>
                        <a:gd name="connsiteX44" fmla="*/ 22727 w 24607"/>
                        <a:gd name="connsiteY44" fmla="*/ 27093 h 54185"/>
                        <a:gd name="connsiteX45" fmla="*/ 22846 w 24607"/>
                        <a:gd name="connsiteY45" fmla="*/ 26794 h 54185"/>
                        <a:gd name="connsiteX46" fmla="*/ 22966 w 24607"/>
                        <a:gd name="connsiteY46" fmla="*/ 26554 h 54185"/>
                        <a:gd name="connsiteX47" fmla="*/ 23086 w 24607"/>
                        <a:gd name="connsiteY47" fmla="*/ 26315 h 54185"/>
                        <a:gd name="connsiteX48" fmla="*/ 23205 w 24607"/>
                        <a:gd name="connsiteY48" fmla="*/ 26076 h 54185"/>
                        <a:gd name="connsiteX49" fmla="*/ 23265 w 24607"/>
                        <a:gd name="connsiteY49" fmla="*/ 25837 h 54185"/>
                        <a:gd name="connsiteX50" fmla="*/ 23504 w 24607"/>
                        <a:gd name="connsiteY50" fmla="*/ 25179 h 54185"/>
                        <a:gd name="connsiteX51" fmla="*/ 23743 w 24607"/>
                        <a:gd name="connsiteY51" fmla="*/ 24521 h 54185"/>
                        <a:gd name="connsiteX52" fmla="*/ 23923 w 24607"/>
                        <a:gd name="connsiteY52" fmla="*/ 23863 h 54185"/>
                        <a:gd name="connsiteX53" fmla="*/ 24102 w 24607"/>
                        <a:gd name="connsiteY53" fmla="*/ 23205 h 54185"/>
                        <a:gd name="connsiteX54" fmla="*/ 24162 w 24607"/>
                        <a:gd name="connsiteY54" fmla="*/ 22966 h 54185"/>
                        <a:gd name="connsiteX55" fmla="*/ 24222 w 24607"/>
                        <a:gd name="connsiteY55" fmla="*/ 22727 h 54185"/>
                        <a:gd name="connsiteX56" fmla="*/ 24282 w 24607"/>
                        <a:gd name="connsiteY56" fmla="*/ 22488 h 54185"/>
                        <a:gd name="connsiteX57" fmla="*/ 24342 w 24607"/>
                        <a:gd name="connsiteY57" fmla="*/ 22248 h 54185"/>
                        <a:gd name="connsiteX58" fmla="*/ 24401 w 24607"/>
                        <a:gd name="connsiteY58" fmla="*/ 22009 h 54185"/>
                        <a:gd name="connsiteX59" fmla="*/ 24461 w 24607"/>
                        <a:gd name="connsiteY59" fmla="*/ 21770 h 54185"/>
                        <a:gd name="connsiteX60" fmla="*/ 24521 w 24607"/>
                        <a:gd name="connsiteY60" fmla="*/ 21530 h 54185"/>
                        <a:gd name="connsiteX61" fmla="*/ 24521 w 24607"/>
                        <a:gd name="connsiteY61" fmla="*/ 21291 h 54185"/>
                        <a:gd name="connsiteX62" fmla="*/ 24581 w 24607"/>
                        <a:gd name="connsiteY62" fmla="*/ 20813 h 54185"/>
                        <a:gd name="connsiteX63" fmla="*/ 24581 w 24607"/>
                        <a:gd name="connsiteY63" fmla="*/ 20335 h 54185"/>
                        <a:gd name="connsiteX64" fmla="*/ 24581 w 24607"/>
                        <a:gd name="connsiteY64" fmla="*/ 19856 h 54185"/>
                        <a:gd name="connsiteX65" fmla="*/ 24581 w 24607"/>
                        <a:gd name="connsiteY65" fmla="*/ 19377 h 54185"/>
                        <a:gd name="connsiteX66" fmla="*/ 24581 w 24607"/>
                        <a:gd name="connsiteY66" fmla="*/ 19079 h 54185"/>
                        <a:gd name="connsiteX67" fmla="*/ 24581 w 24607"/>
                        <a:gd name="connsiteY67" fmla="*/ 18780 h 54185"/>
                        <a:gd name="connsiteX68" fmla="*/ 24521 w 24607"/>
                        <a:gd name="connsiteY68" fmla="*/ 18481 h 54185"/>
                        <a:gd name="connsiteX69" fmla="*/ 24461 w 24607"/>
                        <a:gd name="connsiteY69" fmla="*/ 18181 h 54185"/>
                        <a:gd name="connsiteX70" fmla="*/ 24461 w 24607"/>
                        <a:gd name="connsiteY70" fmla="*/ 18122 h 54185"/>
                        <a:gd name="connsiteX71" fmla="*/ 24461 w 24607"/>
                        <a:gd name="connsiteY71" fmla="*/ 18062 h 54185"/>
                        <a:gd name="connsiteX72" fmla="*/ 24461 w 24607"/>
                        <a:gd name="connsiteY72" fmla="*/ 18002 h 54185"/>
                        <a:gd name="connsiteX73" fmla="*/ 24461 w 24607"/>
                        <a:gd name="connsiteY73" fmla="*/ 17942 h 54185"/>
                        <a:gd name="connsiteX74" fmla="*/ 24401 w 24607"/>
                        <a:gd name="connsiteY74" fmla="*/ 17643 h 54185"/>
                        <a:gd name="connsiteX75" fmla="*/ 24342 w 24607"/>
                        <a:gd name="connsiteY75" fmla="*/ 17344 h 54185"/>
                        <a:gd name="connsiteX76" fmla="*/ 24282 w 24607"/>
                        <a:gd name="connsiteY76" fmla="*/ 17045 h 54185"/>
                        <a:gd name="connsiteX77" fmla="*/ 24222 w 24607"/>
                        <a:gd name="connsiteY77" fmla="*/ 16746 h 54185"/>
                        <a:gd name="connsiteX78" fmla="*/ 24102 w 24607"/>
                        <a:gd name="connsiteY78" fmla="*/ 16387 h 54185"/>
                        <a:gd name="connsiteX79" fmla="*/ 23983 w 24607"/>
                        <a:gd name="connsiteY79" fmla="*/ 16028 h 54185"/>
                        <a:gd name="connsiteX80" fmla="*/ 23863 w 24607"/>
                        <a:gd name="connsiteY80" fmla="*/ 15669 h 54185"/>
                        <a:gd name="connsiteX81" fmla="*/ 23743 w 24607"/>
                        <a:gd name="connsiteY81" fmla="*/ 15311 h 54185"/>
                        <a:gd name="connsiteX82" fmla="*/ 23624 w 24607"/>
                        <a:gd name="connsiteY82" fmla="*/ 15072 h 54185"/>
                        <a:gd name="connsiteX83" fmla="*/ 23504 w 24607"/>
                        <a:gd name="connsiteY83" fmla="*/ 14832 h 54185"/>
                        <a:gd name="connsiteX84" fmla="*/ 23384 w 24607"/>
                        <a:gd name="connsiteY84" fmla="*/ 14593 h 54185"/>
                        <a:gd name="connsiteX85" fmla="*/ 23265 w 24607"/>
                        <a:gd name="connsiteY85" fmla="*/ 14354 h 54185"/>
                        <a:gd name="connsiteX86" fmla="*/ 22966 w 24607"/>
                        <a:gd name="connsiteY86" fmla="*/ 13756 h 54185"/>
                        <a:gd name="connsiteX87" fmla="*/ 22667 w 24607"/>
                        <a:gd name="connsiteY87" fmla="*/ 13158 h 54185"/>
                        <a:gd name="connsiteX88" fmla="*/ 22308 w 24607"/>
                        <a:gd name="connsiteY88" fmla="*/ 12559 h 54185"/>
                        <a:gd name="connsiteX89" fmla="*/ 21949 w 24607"/>
                        <a:gd name="connsiteY89" fmla="*/ 11961 h 54185"/>
                        <a:gd name="connsiteX90" fmla="*/ 21770 w 24607"/>
                        <a:gd name="connsiteY90" fmla="*/ 11722 h 54185"/>
                        <a:gd name="connsiteX91" fmla="*/ 21590 w 24607"/>
                        <a:gd name="connsiteY91" fmla="*/ 11483 h 54185"/>
                        <a:gd name="connsiteX92" fmla="*/ 21411 w 24607"/>
                        <a:gd name="connsiteY92" fmla="*/ 11244 h 54185"/>
                        <a:gd name="connsiteX93" fmla="*/ 21231 w 24607"/>
                        <a:gd name="connsiteY93" fmla="*/ 11005 h 54185"/>
                        <a:gd name="connsiteX94" fmla="*/ 20933 w 24607"/>
                        <a:gd name="connsiteY94" fmla="*/ 10646 h 54185"/>
                        <a:gd name="connsiteX95" fmla="*/ 20633 w 24607"/>
                        <a:gd name="connsiteY95" fmla="*/ 10287 h 54185"/>
                        <a:gd name="connsiteX96" fmla="*/ 20334 w 24607"/>
                        <a:gd name="connsiteY96" fmla="*/ 9928 h 54185"/>
                        <a:gd name="connsiteX97" fmla="*/ 20035 w 24607"/>
                        <a:gd name="connsiteY97" fmla="*/ 9569 h 54185"/>
                        <a:gd name="connsiteX98" fmla="*/ 19736 w 24607"/>
                        <a:gd name="connsiteY98" fmla="*/ 9210 h 54185"/>
                        <a:gd name="connsiteX99" fmla="*/ 19437 w 24607"/>
                        <a:gd name="connsiteY99" fmla="*/ 8851 h 54185"/>
                        <a:gd name="connsiteX100" fmla="*/ 19138 w 24607"/>
                        <a:gd name="connsiteY100" fmla="*/ 8493 h 54185"/>
                        <a:gd name="connsiteX101" fmla="*/ 18839 w 24607"/>
                        <a:gd name="connsiteY101" fmla="*/ 8134 h 54185"/>
                        <a:gd name="connsiteX102" fmla="*/ 18540 w 24607"/>
                        <a:gd name="connsiteY102" fmla="*/ 7835 h 54185"/>
                        <a:gd name="connsiteX103" fmla="*/ 18241 w 24607"/>
                        <a:gd name="connsiteY103" fmla="*/ 7536 h 54185"/>
                        <a:gd name="connsiteX104" fmla="*/ 17882 w 24607"/>
                        <a:gd name="connsiteY104" fmla="*/ 7237 h 54185"/>
                        <a:gd name="connsiteX105" fmla="*/ 17523 w 24607"/>
                        <a:gd name="connsiteY105" fmla="*/ 6938 h 54185"/>
                        <a:gd name="connsiteX106" fmla="*/ 16387 w 24607"/>
                        <a:gd name="connsiteY106" fmla="*/ 5921 h 54185"/>
                        <a:gd name="connsiteX107" fmla="*/ 15191 w 24607"/>
                        <a:gd name="connsiteY107" fmla="*/ 4904 h 54185"/>
                        <a:gd name="connsiteX108" fmla="*/ 13875 w 24607"/>
                        <a:gd name="connsiteY108" fmla="*/ 3828 h 54185"/>
                        <a:gd name="connsiteX109" fmla="*/ 12500 w 24607"/>
                        <a:gd name="connsiteY109" fmla="*/ 2751 h 54185"/>
                        <a:gd name="connsiteX110" fmla="*/ 11902 w 24607"/>
                        <a:gd name="connsiteY110" fmla="*/ 3469 h 54185"/>
                        <a:gd name="connsiteX111" fmla="*/ 14114 w 24607"/>
                        <a:gd name="connsiteY111" fmla="*/ 5203 h 54185"/>
                        <a:gd name="connsiteX112" fmla="*/ 16088 w 24607"/>
                        <a:gd name="connsiteY112" fmla="*/ 6878 h 54185"/>
                        <a:gd name="connsiteX113" fmla="*/ 17822 w 24607"/>
                        <a:gd name="connsiteY113" fmla="*/ 8552 h 54185"/>
                        <a:gd name="connsiteX114" fmla="*/ 19318 w 24607"/>
                        <a:gd name="connsiteY114" fmla="*/ 10167 h 54185"/>
                        <a:gd name="connsiteX115" fmla="*/ 19557 w 24607"/>
                        <a:gd name="connsiteY115" fmla="*/ 10466 h 54185"/>
                        <a:gd name="connsiteX116" fmla="*/ 19796 w 24607"/>
                        <a:gd name="connsiteY116" fmla="*/ 10705 h 54185"/>
                        <a:gd name="connsiteX117" fmla="*/ 20035 w 24607"/>
                        <a:gd name="connsiteY117" fmla="*/ 10945 h 54185"/>
                        <a:gd name="connsiteX118" fmla="*/ 20274 w 24607"/>
                        <a:gd name="connsiteY118" fmla="*/ 11184 h 54185"/>
                        <a:gd name="connsiteX119" fmla="*/ 20514 w 24607"/>
                        <a:gd name="connsiteY119" fmla="*/ 11483 h 54185"/>
                        <a:gd name="connsiteX120" fmla="*/ 20753 w 24607"/>
                        <a:gd name="connsiteY120" fmla="*/ 11782 h 54185"/>
                        <a:gd name="connsiteX121" fmla="*/ 20992 w 24607"/>
                        <a:gd name="connsiteY121" fmla="*/ 12081 h 54185"/>
                        <a:gd name="connsiteX122" fmla="*/ 21231 w 24607"/>
                        <a:gd name="connsiteY122" fmla="*/ 12380 h 54185"/>
                        <a:gd name="connsiteX123" fmla="*/ 21351 w 24607"/>
                        <a:gd name="connsiteY123" fmla="*/ 12619 h 54185"/>
                        <a:gd name="connsiteX124" fmla="*/ 21471 w 24607"/>
                        <a:gd name="connsiteY124" fmla="*/ 12859 h 54185"/>
                        <a:gd name="connsiteX125" fmla="*/ 21590 w 24607"/>
                        <a:gd name="connsiteY125" fmla="*/ 13098 h 54185"/>
                        <a:gd name="connsiteX126" fmla="*/ 21710 w 24607"/>
                        <a:gd name="connsiteY126" fmla="*/ 13337 h 54185"/>
                        <a:gd name="connsiteX127" fmla="*/ 22069 w 24607"/>
                        <a:gd name="connsiteY127" fmla="*/ 13935 h 54185"/>
                        <a:gd name="connsiteX128" fmla="*/ 22368 w 24607"/>
                        <a:gd name="connsiteY128" fmla="*/ 14533 h 54185"/>
                        <a:gd name="connsiteX129" fmla="*/ 22667 w 24607"/>
                        <a:gd name="connsiteY129" fmla="*/ 15131 h 54185"/>
                        <a:gd name="connsiteX130" fmla="*/ 22906 w 24607"/>
                        <a:gd name="connsiteY130" fmla="*/ 15729 h 54185"/>
                        <a:gd name="connsiteX131" fmla="*/ 23026 w 24607"/>
                        <a:gd name="connsiteY131" fmla="*/ 15968 h 54185"/>
                        <a:gd name="connsiteX132" fmla="*/ 23086 w 24607"/>
                        <a:gd name="connsiteY132" fmla="*/ 16208 h 54185"/>
                        <a:gd name="connsiteX133" fmla="*/ 23145 w 24607"/>
                        <a:gd name="connsiteY133" fmla="*/ 16447 h 54185"/>
                        <a:gd name="connsiteX134" fmla="*/ 23205 w 24607"/>
                        <a:gd name="connsiteY134" fmla="*/ 16686 h 54185"/>
                        <a:gd name="connsiteX135" fmla="*/ 23265 w 24607"/>
                        <a:gd name="connsiteY135" fmla="*/ 16926 h 54185"/>
                        <a:gd name="connsiteX136" fmla="*/ 23325 w 24607"/>
                        <a:gd name="connsiteY136" fmla="*/ 17165 h 54185"/>
                        <a:gd name="connsiteX137" fmla="*/ 23384 w 24607"/>
                        <a:gd name="connsiteY137" fmla="*/ 17404 h 54185"/>
                        <a:gd name="connsiteX138" fmla="*/ 23444 w 24607"/>
                        <a:gd name="connsiteY138" fmla="*/ 17643 h 54185"/>
                        <a:gd name="connsiteX139" fmla="*/ 23444 w 24607"/>
                        <a:gd name="connsiteY139" fmla="*/ 17763 h 54185"/>
                        <a:gd name="connsiteX140" fmla="*/ 23444 w 24607"/>
                        <a:gd name="connsiteY140" fmla="*/ 17882 h 54185"/>
                        <a:gd name="connsiteX141" fmla="*/ 23444 w 24607"/>
                        <a:gd name="connsiteY141" fmla="*/ 18002 h 54185"/>
                        <a:gd name="connsiteX142" fmla="*/ 23444 w 24607"/>
                        <a:gd name="connsiteY142" fmla="*/ 18122 h 54185"/>
                        <a:gd name="connsiteX143" fmla="*/ 23504 w 24607"/>
                        <a:gd name="connsiteY143" fmla="*/ 18421 h 54185"/>
                        <a:gd name="connsiteX144" fmla="*/ 23564 w 24607"/>
                        <a:gd name="connsiteY144" fmla="*/ 18720 h 54185"/>
                        <a:gd name="connsiteX145" fmla="*/ 23624 w 24607"/>
                        <a:gd name="connsiteY145" fmla="*/ 19019 h 54185"/>
                        <a:gd name="connsiteX146" fmla="*/ 23624 w 24607"/>
                        <a:gd name="connsiteY146" fmla="*/ 19318 h 54185"/>
                        <a:gd name="connsiteX147" fmla="*/ 23683 w 24607"/>
                        <a:gd name="connsiteY147" fmla="*/ 19856 h 54185"/>
                        <a:gd name="connsiteX148" fmla="*/ 23683 w 24607"/>
                        <a:gd name="connsiteY148" fmla="*/ 20394 h 54185"/>
                        <a:gd name="connsiteX149" fmla="*/ 23683 w 24607"/>
                        <a:gd name="connsiteY149" fmla="*/ 20933 h 54185"/>
                        <a:gd name="connsiteX150" fmla="*/ 23624 w 24607"/>
                        <a:gd name="connsiteY150" fmla="*/ 21530 h 54185"/>
                        <a:gd name="connsiteX151" fmla="*/ 23624 w 24607"/>
                        <a:gd name="connsiteY151" fmla="*/ 21590 h 54185"/>
                        <a:gd name="connsiteX152" fmla="*/ 23624 w 24607"/>
                        <a:gd name="connsiteY152" fmla="*/ 21650 h 54185"/>
                        <a:gd name="connsiteX153" fmla="*/ 23624 w 24607"/>
                        <a:gd name="connsiteY153" fmla="*/ 21710 h 54185"/>
                        <a:gd name="connsiteX154" fmla="*/ 23624 w 24607"/>
                        <a:gd name="connsiteY154" fmla="*/ 21770 h 54185"/>
                        <a:gd name="connsiteX155" fmla="*/ 23564 w 24607"/>
                        <a:gd name="connsiteY155" fmla="*/ 22009 h 54185"/>
                        <a:gd name="connsiteX156" fmla="*/ 23504 w 24607"/>
                        <a:gd name="connsiteY156" fmla="*/ 22248 h 54185"/>
                        <a:gd name="connsiteX157" fmla="*/ 23444 w 24607"/>
                        <a:gd name="connsiteY157" fmla="*/ 22488 h 54185"/>
                        <a:gd name="connsiteX158" fmla="*/ 23384 w 24607"/>
                        <a:gd name="connsiteY158" fmla="*/ 22727 h 54185"/>
                        <a:gd name="connsiteX159" fmla="*/ 23205 w 24607"/>
                        <a:gd name="connsiteY159" fmla="*/ 23385 h 54185"/>
                        <a:gd name="connsiteX160" fmla="*/ 23026 w 24607"/>
                        <a:gd name="connsiteY160" fmla="*/ 24102 h 54185"/>
                        <a:gd name="connsiteX161" fmla="*/ 22787 w 24607"/>
                        <a:gd name="connsiteY161" fmla="*/ 24820 h 54185"/>
                        <a:gd name="connsiteX162" fmla="*/ 22547 w 24607"/>
                        <a:gd name="connsiteY162" fmla="*/ 25538 h 54185"/>
                        <a:gd name="connsiteX163" fmla="*/ 22488 w 24607"/>
                        <a:gd name="connsiteY163" fmla="*/ 25777 h 54185"/>
                        <a:gd name="connsiteX164" fmla="*/ 22428 w 24607"/>
                        <a:gd name="connsiteY164" fmla="*/ 26016 h 54185"/>
                        <a:gd name="connsiteX165" fmla="*/ 22308 w 24607"/>
                        <a:gd name="connsiteY165" fmla="*/ 26255 h 54185"/>
                        <a:gd name="connsiteX166" fmla="*/ 22188 w 24607"/>
                        <a:gd name="connsiteY166" fmla="*/ 26495 h 54185"/>
                        <a:gd name="connsiteX167" fmla="*/ 22069 w 24607"/>
                        <a:gd name="connsiteY167" fmla="*/ 26794 h 54185"/>
                        <a:gd name="connsiteX168" fmla="*/ 21949 w 24607"/>
                        <a:gd name="connsiteY168" fmla="*/ 27093 h 54185"/>
                        <a:gd name="connsiteX169" fmla="*/ 21829 w 24607"/>
                        <a:gd name="connsiteY169" fmla="*/ 27392 h 54185"/>
                        <a:gd name="connsiteX170" fmla="*/ 21710 w 24607"/>
                        <a:gd name="connsiteY170" fmla="*/ 27691 h 54185"/>
                        <a:gd name="connsiteX171" fmla="*/ 21590 w 24607"/>
                        <a:gd name="connsiteY171" fmla="*/ 27870 h 54185"/>
                        <a:gd name="connsiteX172" fmla="*/ 21471 w 24607"/>
                        <a:gd name="connsiteY172" fmla="*/ 28050 h 54185"/>
                        <a:gd name="connsiteX173" fmla="*/ 21351 w 24607"/>
                        <a:gd name="connsiteY173" fmla="*/ 28229 h 54185"/>
                        <a:gd name="connsiteX174" fmla="*/ 21231 w 24607"/>
                        <a:gd name="connsiteY174" fmla="*/ 28408 h 54185"/>
                        <a:gd name="connsiteX175" fmla="*/ 20693 w 24607"/>
                        <a:gd name="connsiteY175" fmla="*/ 29425 h 54185"/>
                        <a:gd name="connsiteX176" fmla="*/ 20095 w 24607"/>
                        <a:gd name="connsiteY176" fmla="*/ 30442 h 54185"/>
                        <a:gd name="connsiteX177" fmla="*/ 19437 w 24607"/>
                        <a:gd name="connsiteY177" fmla="*/ 31459 h 54185"/>
                        <a:gd name="connsiteX178" fmla="*/ 18720 w 24607"/>
                        <a:gd name="connsiteY178" fmla="*/ 32475 h 54185"/>
                        <a:gd name="connsiteX179" fmla="*/ 18600 w 24607"/>
                        <a:gd name="connsiteY179" fmla="*/ 32655 h 54185"/>
                        <a:gd name="connsiteX180" fmla="*/ 18480 w 24607"/>
                        <a:gd name="connsiteY180" fmla="*/ 32834 h 54185"/>
                        <a:gd name="connsiteX181" fmla="*/ 18361 w 24607"/>
                        <a:gd name="connsiteY181" fmla="*/ 33014 h 54185"/>
                        <a:gd name="connsiteX182" fmla="*/ 18241 w 24607"/>
                        <a:gd name="connsiteY182" fmla="*/ 33193 h 54185"/>
                        <a:gd name="connsiteX183" fmla="*/ 16985 w 24607"/>
                        <a:gd name="connsiteY183" fmla="*/ 34808 h 54185"/>
                        <a:gd name="connsiteX184" fmla="*/ 15669 w 24607"/>
                        <a:gd name="connsiteY184" fmla="*/ 36482 h 54185"/>
                        <a:gd name="connsiteX185" fmla="*/ 14294 w 24607"/>
                        <a:gd name="connsiteY185" fmla="*/ 38217 h 54185"/>
                        <a:gd name="connsiteX186" fmla="*/ 12858 w 24607"/>
                        <a:gd name="connsiteY186" fmla="*/ 39891 h 54185"/>
                        <a:gd name="connsiteX187" fmla="*/ 11722 w 24607"/>
                        <a:gd name="connsiteY187" fmla="*/ 39114 h 54185"/>
                        <a:gd name="connsiteX188" fmla="*/ 12260 w 24607"/>
                        <a:gd name="connsiteY188" fmla="*/ 39473 h 54185"/>
                        <a:gd name="connsiteX189" fmla="*/ 13756 w 24607"/>
                        <a:gd name="connsiteY189" fmla="*/ 37678 h 54185"/>
                        <a:gd name="connsiteX190" fmla="*/ 15191 w 24607"/>
                        <a:gd name="connsiteY190" fmla="*/ 35944 h 54185"/>
                        <a:gd name="connsiteX191" fmla="*/ 16507 w 24607"/>
                        <a:gd name="connsiteY191" fmla="*/ 34269 h 54185"/>
                        <a:gd name="connsiteX192" fmla="*/ 17703 w 24607"/>
                        <a:gd name="connsiteY192" fmla="*/ 32655 h 54185"/>
                        <a:gd name="connsiteX193" fmla="*/ 17822 w 24607"/>
                        <a:gd name="connsiteY193" fmla="*/ 32475 h 54185"/>
                        <a:gd name="connsiteX194" fmla="*/ 17942 w 24607"/>
                        <a:gd name="connsiteY194" fmla="*/ 32296 h 54185"/>
                        <a:gd name="connsiteX195" fmla="*/ 18062 w 24607"/>
                        <a:gd name="connsiteY195" fmla="*/ 32116 h 54185"/>
                        <a:gd name="connsiteX196" fmla="*/ 18181 w 24607"/>
                        <a:gd name="connsiteY196" fmla="*/ 31937 h 54185"/>
                        <a:gd name="connsiteX197" fmla="*/ 18899 w 24607"/>
                        <a:gd name="connsiteY197" fmla="*/ 30920 h 54185"/>
                        <a:gd name="connsiteX198" fmla="*/ 19557 w 24607"/>
                        <a:gd name="connsiteY198" fmla="*/ 29904 h 54185"/>
                        <a:gd name="connsiteX199" fmla="*/ 20155 w 24607"/>
                        <a:gd name="connsiteY199" fmla="*/ 28887 h 54185"/>
                        <a:gd name="connsiteX200" fmla="*/ 20693 w 24607"/>
                        <a:gd name="connsiteY200" fmla="*/ 27930 h 54185"/>
                        <a:gd name="connsiteX201" fmla="*/ 20813 w 24607"/>
                        <a:gd name="connsiteY201" fmla="*/ 27751 h 54185"/>
                        <a:gd name="connsiteX202" fmla="*/ 20933 w 24607"/>
                        <a:gd name="connsiteY202" fmla="*/ 27571 h 54185"/>
                        <a:gd name="connsiteX203" fmla="*/ 21052 w 24607"/>
                        <a:gd name="connsiteY203" fmla="*/ 27392 h 54185"/>
                        <a:gd name="connsiteX204" fmla="*/ 21172 w 24607"/>
                        <a:gd name="connsiteY204" fmla="*/ 27212 h 54185"/>
                        <a:gd name="connsiteX205" fmla="*/ 21291 w 24607"/>
                        <a:gd name="connsiteY205" fmla="*/ 26913 h 54185"/>
                        <a:gd name="connsiteX206" fmla="*/ 21411 w 24607"/>
                        <a:gd name="connsiteY206" fmla="*/ 26614 h 54185"/>
                        <a:gd name="connsiteX207" fmla="*/ 21530 w 24607"/>
                        <a:gd name="connsiteY207" fmla="*/ 26315 h 54185"/>
                        <a:gd name="connsiteX208" fmla="*/ 21650 w 24607"/>
                        <a:gd name="connsiteY208" fmla="*/ 26016 h 54185"/>
                        <a:gd name="connsiteX209" fmla="*/ 21710 w 24607"/>
                        <a:gd name="connsiteY209" fmla="*/ 25777 h 54185"/>
                        <a:gd name="connsiteX210" fmla="*/ 21770 w 24607"/>
                        <a:gd name="connsiteY210" fmla="*/ 25538 h 54185"/>
                        <a:gd name="connsiteX211" fmla="*/ 21829 w 24607"/>
                        <a:gd name="connsiteY211" fmla="*/ 25298 h 54185"/>
                        <a:gd name="connsiteX212" fmla="*/ 21889 w 24607"/>
                        <a:gd name="connsiteY212" fmla="*/ 25059 h 54185"/>
                        <a:gd name="connsiteX213" fmla="*/ 22128 w 24607"/>
                        <a:gd name="connsiteY213" fmla="*/ 24342 h 54185"/>
                        <a:gd name="connsiteX214" fmla="*/ 22308 w 24607"/>
                        <a:gd name="connsiteY214" fmla="*/ 23624 h 54185"/>
                        <a:gd name="connsiteX215" fmla="*/ 22488 w 24607"/>
                        <a:gd name="connsiteY215" fmla="*/ 22906 h 54185"/>
                        <a:gd name="connsiteX216" fmla="*/ 22607 w 24607"/>
                        <a:gd name="connsiteY216" fmla="*/ 22189 h 54185"/>
                        <a:gd name="connsiteX217" fmla="*/ 22607 w 24607"/>
                        <a:gd name="connsiteY217" fmla="*/ 22069 h 54185"/>
                        <a:gd name="connsiteX218" fmla="*/ 22607 w 24607"/>
                        <a:gd name="connsiteY218" fmla="*/ 21949 h 54185"/>
                        <a:gd name="connsiteX219" fmla="*/ 22607 w 24607"/>
                        <a:gd name="connsiteY219" fmla="*/ 21830 h 54185"/>
                        <a:gd name="connsiteX220" fmla="*/ 22607 w 24607"/>
                        <a:gd name="connsiteY220" fmla="*/ 21710 h 54185"/>
                        <a:gd name="connsiteX221" fmla="*/ 22607 w 24607"/>
                        <a:gd name="connsiteY221" fmla="*/ 21590 h 54185"/>
                        <a:gd name="connsiteX222" fmla="*/ 22607 w 24607"/>
                        <a:gd name="connsiteY222" fmla="*/ 21471 h 54185"/>
                        <a:gd name="connsiteX223" fmla="*/ 22607 w 24607"/>
                        <a:gd name="connsiteY223" fmla="*/ 21351 h 54185"/>
                        <a:gd name="connsiteX224" fmla="*/ 22607 w 24607"/>
                        <a:gd name="connsiteY224" fmla="*/ 21231 h 54185"/>
                        <a:gd name="connsiteX225" fmla="*/ 22607 w 24607"/>
                        <a:gd name="connsiteY225" fmla="*/ 21172 h 54185"/>
                        <a:gd name="connsiteX226" fmla="*/ 22607 w 24607"/>
                        <a:gd name="connsiteY226" fmla="*/ 21112 h 54185"/>
                        <a:gd name="connsiteX227" fmla="*/ 22607 w 24607"/>
                        <a:gd name="connsiteY227" fmla="*/ 21052 h 54185"/>
                        <a:gd name="connsiteX228" fmla="*/ 22607 w 24607"/>
                        <a:gd name="connsiteY228" fmla="*/ 20992 h 54185"/>
                        <a:gd name="connsiteX229" fmla="*/ 22607 w 24607"/>
                        <a:gd name="connsiteY229" fmla="*/ 20693 h 54185"/>
                        <a:gd name="connsiteX230" fmla="*/ 22607 w 24607"/>
                        <a:gd name="connsiteY230" fmla="*/ 20394 h 54185"/>
                        <a:gd name="connsiteX231" fmla="*/ 22607 w 24607"/>
                        <a:gd name="connsiteY231" fmla="*/ 20095 h 54185"/>
                        <a:gd name="connsiteX232" fmla="*/ 22607 w 24607"/>
                        <a:gd name="connsiteY232" fmla="*/ 19796 h 54185"/>
                        <a:gd name="connsiteX233" fmla="*/ 22547 w 24607"/>
                        <a:gd name="connsiteY233" fmla="*/ 19437 h 54185"/>
                        <a:gd name="connsiteX234" fmla="*/ 22488 w 24607"/>
                        <a:gd name="connsiteY234" fmla="*/ 19079 h 54185"/>
                        <a:gd name="connsiteX235" fmla="*/ 22428 w 24607"/>
                        <a:gd name="connsiteY235" fmla="*/ 18720 h 54185"/>
                        <a:gd name="connsiteX236" fmla="*/ 22368 w 24607"/>
                        <a:gd name="connsiteY236" fmla="*/ 18361 h 54185"/>
                        <a:gd name="connsiteX237" fmla="*/ 22308 w 24607"/>
                        <a:gd name="connsiteY237" fmla="*/ 18122 h 54185"/>
                        <a:gd name="connsiteX238" fmla="*/ 22248 w 24607"/>
                        <a:gd name="connsiteY238" fmla="*/ 17882 h 54185"/>
                        <a:gd name="connsiteX239" fmla="*/ 22188 w 24607"/>
                        <a:gd name="connsiteY239" fmla="*/ 17643 h 54185"/>
                        <a:gd name="connsiteX240" fmla="*/ 22128 w 24607"/>
                        <a:gd name="connsiteY240" fmla="*/ 17404 h 54185"/>
                        <a:gd name="connsiteX241" fmla="*/ 22069 w 24607"/>
                        <a:gd name="connsiteY241" fmla="*/ 17225 h 54185"/>
                        <a:gd name="connsiteX242" fmla="*/ 22009 w 24607"/>
                        <a:gd name="connsiteY242" fmla="*/ 17045 h 54185"/>
                        <a:gd name="connsiteX243" fmla="*/ 21949 w 24607"/>
                        <a:gd name="connsiteY243" fmla="*/ 16866 h 54185"/>
                        <a:gd name="connsiteX244" fmla="*/ 21889 w 24607"/>
                        <a:gd name="connsiteY244" fmla="*/ 16686 h 54185"/>
                        <a:gd name="connsiteX245" fmla="*/ 21770 w 24607"/>
                        <a:gd name="connsiteY245" fmla="*/ 16327 h 54185"/>
                        <a:gd name="connsiteX246" fmla="*/ 21590 w 24607"/>
                        <a:gd name="connsiteY246" fmla="*/ 15968 h 54185"/>
                        <a:gd name="connsiteX247" fmla="*/ 21411 w 24607"/>
                        <a:gd name="connsiteY247" fmla="*/ 15610 h 54185"/>
                        <a:gd name="connsiteX248" fmla="*/ 21231 w 24607"/>
                        <a:gd name="connsiteY248" fmla="*/ 15251 h 54185"/>
                        <a:gd name="connsiteX249" fmla="*/ 21112 w 24607"/>
                        <a:gd name="connsiteY249" fmla="*/ 15072 h 54185"/>
                        <a:gd name="connsiteX250" fmla="*/ 20992 w 24607"/>
                        <a:gd name="connsiteY250" fmla="*/ 14892 h 54185"/>
                        <a:gd name="connsiteX251" fmla="*/ 20873 w 24607"/>
                        <a:gd name="connsiteY251" fmla="*/ 14713 h 54185"/>
                        <a:gd name="connsiteX252" fmla="*/ 20753 w 24607"/>
                        <a:gd name="connsiteY252" fmla="*/ 14533 h 54185"/>
                        <a:gd name="connsiteX253" fmla="*/ 20574 w 24607"/>
                        <a:gd name="connsiteY253" fmla="*/ 14234 h 54185"/>
                        <a:gd name="connsiteX254" fmla="*/ 20394 w 24607"/>
                        <a:gd name="connsiteY254" fmla="*/ 13935 h 54185"/>
                        <a:gd name="connsiteX255" fmla="*/ 20215 w 24607"/>
                        <a:gd name="connsiteY255" fmla="*/ 13636 h 54185"/>
                        <a:gd name="connsiteX256" fmla="*/ 20035 w 24607"/>
                        <a:gd name="connsiteY256" fmla="*/ 13337 h 54185"/>
                        <a:gd name="connsiteX257" fmla="*/ 19856 w 24607"/>
                        <a:gd name="connsiteY257" fmla="*/ 13098 h 54185"/>
                        <a:gd name="connsiteX258" fmla="*/ 19676 w 24607"/>
                        <a:gd name="connsiteY258" fmla="*/ 12859 h 54185"/>
                        <a:gd name="connsiteX259" fmla="*/ 19497 w 24607"/>
                        <a:gd name="connsiteY259" fmla="*/ 12619 h 54185"/>
                        <a:gd name="connsiteX260" fmla="*/ 19318 w 24607"/>
                        <a:gd name="connsiteY260" fmla="*/ 12380 h 54185"/>
                        <a:gd name="connsiteX261" fmla="*/ 17763 w 24607"/>
                        <a:gd name="connsiteY261" fmla="*/ 10526 h 54185"/>
                        <a:gd name="connsiteX262" fmla="*/ 15849 w 24607"/>
                        <a:gd name="connsiteY262" fmla="*/ 8612 h 54185"/>
                        <a:gd name="connsiteX263" fmla="*/ 13636 w 24607"/>
                        <a:gd name="connsiteY263" fmla="*/ 6639 h 54185"/>
                        <a:gd name="connsiteX264" fmla="*/ 11064 w 24607"/>
                        <a:gd name="connsiteY264" fmla="*/ 4605 h 54185"/>
                        <a:gd name="connsiteX265" fmla="*/ 10466 w 24607"/>
                        <a:gd name="connsiteY265" fmla="*/ 5323 h 54185"/>
                        <a:gd name="connsiteX266" fmla="*/ 13217 w 24607"/>
                        <a:gd name="connsiteY266" fmla="*/ 7536 h 54185"/>
                        <a:gd name="connsiteX267" fmla="*/ 15610 w 24607"/>
                        <a:gd name="connsiteY267" fmla="*/ 9689 h 54185"/>
                        <a:gd name="connsiteX268" fmla="*/ 17583 w 24607"/>
                        <a:gd name="connsiteY268" fmla="*/ 11722 h 54185"/>
                        <a:gd name="connsiteX269" fmla="*/ 19198 w 24607"/>
                        <a:gd name="connsiteY269" fmla="*/ 13756 h 54185"/>
                        <a:gd name="connsiteX270" fmla="*/ 19318 w 24607"/>
                        <a:gd name="connsiteY270" fmla="*/ 13935 h 54185"/>
                        <a:gd name="connsiteX271" fmla="*/ 19437 w 24607"/>
                        <a:gd name="connsiteY271" fmla="*/ 14114 h 54185"/>
                        <a:gd name="connsiteX272" fmla="*/ 19557 w 24607"/>
                        <a:gd name="connsiteY272" fmla="*/ 14294 h 54185"/>
                        <a:gd name="connsiteX273" fmla="*/ 19676 w 24607"/>
                        <a:gd name="connsiteY273" fmla="*/ 14473 h 54185"/>
                        <a:gd name="connsiteX274" fmla="*/ 19856 w 24607"/>
                        <a:gd name="connsiteY274" fmla="*/ 14713 h 54185"/>
                        <a:gd name="connsiteX275" fmla="*/ 20035 w 24607"/>
                        <a:gd name="connsiteY275" fmla="*/ 14952 h 54185"/>
                        <a:gd name="connsiteX276" fmla="*/ 20215 w 24607"/>
                        <a:gd name="connsiteY276" fmla="*/ 15191 h 54185"/>
                        <a:gd name="connsiteX277" fmla="*/ 20334 w 24607"/>
                        <a:gd name="connsiteY277" fmla="*/ 15430 h 54185"/>
                        <a:gd name="connsiteX278" fmla="*/ 20454 w 24607"/>
                        <a:gd name="connsiteY278" fmla="*/ 15610 h 54185"/>
                        <a:gd name="connsiteX279" fmla="*/ 20574 w 24607"/>
                        <a:gd name="connsiteY279" fmla="*/ 15789 h 54185"/>
                        <a:gd name="connsiteX280" fmla="*/ 20693 w 24607"/>
                        <a:gd name="connsiteY280" fmla="*/ 15968 h 54185"/>
                        <a:gd name="connsiteX281" fmla="*/ 20813 w 24607"/>
                        <a:gd name="connsiteY281" fmla="*/ 16148 h 54185"/>
                        <a:gd name="connsiteX282" fmla="*/ 20933 w 24607"/>
                        <a:gd name="connsiteY282" fmla="*/ 16387 h 54185"/>
                        <a:gd name="connsiteX283" fmla="*/ 21052 w 24607"/>
                        <a:gd name="connsiteY283" fmla="*/ 16627 h 54185"/>
                        <a:gd name="connsiteX284" fmla="*/ 21172 w 24607"/>
                        <a:gd name="connsiteY284" fmla="*/ 16866 h 54185"/>
                        <a:gd name="connsiteX285" fmla="*/ 21291 w 24607"/>
                        <a:gd name="connsiteY285" fmla="*/ 17105 h 54185"/>
                        <a:gd name="connsiteX286" fmla="*/ 21411 w 24607"/>
                        <a:gd name="connsiteY286" fmla="*/ 17464 h 54185"/>
                        <a:gd name="connsiteX287" fmla="*/ 21530 w 24607"/>
                        <a:gd name="connsiteY287" fmla="*/ 17763 h 54185"/>
                        <a:gd name="connsiteX288" fmla="*/ 21650 w 24607"/>
                        <a:gd name="connsiteY288" fmla="*/ 18062 h 54185"/>
                        <a:gd name="connsiteX289" fmla="*/ 21710 w 24607"/>
                        <a:gd name="connsiteY289" fmla="*/ 18361 h 54185"/>
                        <a:gd name="connsiteX290" fmla="*/ 21770 w 24607"/>
                        <a:gd name="connsiteY290" fmla="*/ 18600 h 54185"/>
                        <a:gd name="connsiteX291" fmla="*/ 21829 w 24607"/>
                        <a:gd name="connsiteY291" fmla="*/ 18839 h 54185"/>
                        <a:gd name="connsiteX292" fmla="*/ 21889 w 24607"/>
                        <a:gd name="connsiteY292" fmla="*/ 19079 h 54185"/>
                        <a:gd name="connsiteX293" fmla="*/ 21949 w 24607"/>
                        <a:gd name="connsiteY293" fmla="*/ 19318 h 54185"/>
                        <a:gd name="connsiteX294" fmla="*/ 22009 w 24607"/>
                        <a:gd name="connsiteY294" fmla="*/ 19617 h 54185"/>
                        <a:gd name="connsiteX295" fmla="*/ 22009 w 24607"/>
                        <a:gd name="connsiteY295" fmla="*/ 19916 h 54185"/>
                        <a:gd name="connsiteX296" fmla="*/ 22009 w 24607"/>
                        <a:gd name="connsiteY296" fmla="*/ 20215 h 54185"/>
                        <a:gd name="connsiteX297" fmla="*/ 22009 w 24607"/>
                        <a:gd name="connsiteY297" fmla="*/ 20514 h 54185"/>
                        <a:gd name="connsiteX298" fmla="*/ 22009 w 24607"/>
                        <a:gd name="connsiteY298" fmla="*/ 20574 h 54185"/>
                        <a:gd name="connsiteX299" fmla="*/ 22009 w 24607"/>
                        <a:gd name="connsiteY299" fmla="*/ 20634 h 54185"/>
                        <a:gd name="connsiteX300" fmla="*/ 22009 w 24607"/>
                        <a:gd name="connsiteY300" fmla="*/ 20693 h 54185"/>
                        <a:gd name="connsiteX301" fmla="*/ 22009 w 24607"/>
                        <a:gd name="connsiteY301" fmla="*/ 20753 h 54185"/>
                        <a:gd name="connsiteX302" fmla="*/ 22009 w 24607"/>
                        <a:gd name="connsiteY302" fmla="*/ 20992 h 54185"/>
                        <a:gd name="connsiteX303" fmla="*/ 22009 w 24607"/>
                        <a:gd name="connsiteY303" fmla="*/ 21231 h 54185"/>
                        <a:gd name="connsiteX304" fmla="*/ 22009 w 24607"/>
                        <a:gd name="connsiteY304" fmla="*/ 21471 h 54185"/>
                        <a:gd name="connsiteX305" fmla="*/ 22009 w 24607"/>
                        <a:gd name="connsiteY305" fmla="*/ 21710 h 54185"/>
                        <a:gd name="connsiteX306" fmla="*/ 22009 w 24607"/>
                        <a:gd name="connsiteY306" fmla="*/ 21830 h 54185"/>
                        <a:gd name="connsiteX307" fmla="*/ 22009 w 24607"/>
                        <a:gd name="connsiteY307" fmla="*/ 21949 h 54185"/>
                        <a:gd name="connsiteX308" fmla="*/ 22009 w 24607"/>
                        <a:gd name="connsiteY308" fmla="*/ 22069 h 54185"/>
                        <a:gd name="connsiteX309" fmla="*/ 22009 w 24607"/>
                        <a:gd name="connsiteY309" fmla="*/ 22189 h 54185"/>
                        <a:gd name="connsiteX310" fmla="*/ 21949 w 24607"/>
                        <a:gd name="connsiteY310" fmla="*/ 22727 h 54185"/>
                        <a:gd name="connsiteX311" fmla="*/ 21829 w 24607"/>
                        <a:gd name="connsiteY311" fmla="*/ 23265 h 54185"/>
                        <a:gd name="connsiteX312" fmla="*/ 21710 w 24607"/>
                        <a:gd name="connsiteY312" fmla="*/ 23803 h 54185"/>
                        <a:gd name="connsiteX313" fmla="*/ 21530 w 24607"/>
                        <a:gd name="connsiteY313" fmla="*/ 24342 h 54185"/>
                        <a:gd name="connsiteX314" fmla="*/ 21471 w 24607"/>
                        <a:gd name="connsiteY314" fmla="*/ 24581 h 54185"/>
                        <a:gd name="connsiteX315" fmla="*/ 21411 w 24607"/>
                        <a:gd name="connsiteY315" fmla="*/ 24820 h 54185"/>
                        <a:gd name="connsiteX316" fmla="*/ 21351 w 24607"/>
                        <a:gd name="connsiteY316" fmla="*/ 25059 h 54185"/>
                        <a:gd name="connsiteX317" fmla="*/ 21291 w 24607"/>
                        <a:gd name="connsiteY317" fmla="*/ 25298 h 54185"/>
                        <a:gd name="connsiteX318" fmla="*/ 21172 w 24607"/>
                        <a:gd name="connsiteY318" fmla="*/ 25598 h 54185"/>
                        <a:gd name="connsiteX319" fmla="*/ 21052 w 24607"/>
                        <a:gd name="connsiteY319" fmla="*/ 25897 h 54185"/>
                        <a:gd name="connsiteX320" fmla="*/ 20933 w 24607"/>
                        <a:gd name="connsiteY320" fmla="*/ 26196 h 54185"/>
                        <a:gd name="connsiteX321" fmla="*/ 20813 w 24607"/>
                        <a:gd name="connsiteY321" fmla="*/ 26495 h 54185"/>
                        <a:gd name="connsiteX322" fmla="*/ 20693 w 24607"/>
                        <a:gd name="connsiteY322" fmla="*/ 26674 h 54185"/>
                        <a:gd name="connsiteX323" fmla="*/ 20574 w 24607"/>
                        <a:gd name="connsiteY323" fmla="*/ 26853 h 54185"/>
                        <a:gd name="connsiteX324" fmla="*/ 20454 w 24607"/>
                        <a:gd name="connsiteY324" fmla="*/ 27093 h 54185"/>
                        <a:gd name="connsiteX325" fmla="*/ 20334 w 24607"/>
                        <a:gd name="connsiteY325" fmla="*/ 27332 h 54185"/>
                        <a:gd name="connsiteX326" fmla="*/ 19796 w 24607"/>
                        <a:gd name="connsiteY326" fmla="*/ 28289 h 54185"/>
                        <a:gd name="connsiteX327" fmla="*/ 19198 w 24607"/>
                        <a:gd name="connsiteY327" fmla="*/ 29306 h 54185"/>
                        <a:gd name="connsiteX328" fmla="*/ 18540 w 24607"/>
                        <a:gd name="connsiteY328" fmla="*/ 30322 h 54185"/>
                        <a:gd name="connsiteX329" fmla="*/ 17822 w 24607"/>
                        <a:gd name="connsiteY329" fmla="*/ 31339 h 54185"/>
                        <a:gd name="connsiteX330" fmla="*/ 17703 w 24607"/>
                        <a:gd name="connsiteY330" fmla="*/ 31519 h 54185"/>
                        <a:gd name="connsiteX331" fmla="*/ 17583 w 24607"/>
                        <a:gd name="connsiteY331" fmla="*/ 31698 h 54185"/>
                        <a:gd name="connsiteX332" fmla="*/ 17464 w 24607"/>
                        <a:gd name="connsiteY332" fmla="*/ 31877 h 54185"/>
                        <a:gd name="connsiteX333" fmla="*/ 17344 w 24607"/>
                        <a:gd name="connsiteY333" fmla="*/ 32057 h 54185"/>
                        <a:gd name="connsiteX334" fmla="*/ 16148 w 24607"/>
                        <a:gd name="connsiteY334" fmla="*/ 33671 h 54185"/>
                        <a:gd name="connsiteX335" fmla="*/ 14832 w 24607"/>
                        <a:gd name="connsiteY335" fmla="*/ 35346 h 54185"/>
                        <a:gd name="connsiteX336" fmla="*/ 13397 w 24607"/>
                        <a:gd name="connsiteY336" fmla="*/ 37081 h 54185"/>
                        <a:gd name="connsiteX337" fmla="*/ 11722 w 24607"/>
                        <a:gd name="connsiteY337" fmla="*/ 39114 h 54185"/>
                        <a:gd name="connsiteX338" fmla="*/ 11244 w 24607"/>
                        <a:gd name="connsiteY338" fmla="*/ 41865 h 54185"/>
                        <a:gd name="connsiteX339" fmla="*/ 11782 w 24607"/>
                        <a:gd name="connsiteY339" fmla="*/ 42224 h 54185"/>
                        <a:gd name="connsiteX340" fmla="*/ 12021 w 24607"/>
                        <a:gd name="connsiteY340" fmla="*/ 41925 h 54185"/>
                        <a:gd name="connsiteX341" fmla="*/ 12260 w 24607"/>
                        <a:gd name="connsiteY341" fmla="*/ 41626 h 54185"/>
                        <a:gd name="connsiteX342" fmla="*/ 12500 w 24607"/>
                        <a:gd name="connsiteY342" fmla="*/ 41327 h 54185"/>
                        <a:gd name="connsiteX343" fmla="*/ 12739 w 24607"/>
                        <a:gd name="connsiteY343" fmla="*/ 41028 h 54185"/>
                        <a:gd name="connsiteX344" fmla="*/ 12201 w 24607"/>
                        <a:gd name="connsiteY344" fmla="*/ 40669 h 54185"/>
                        <a:gd name="connsiteX345" fmla="*/ 11961 w 24607"/>
                        <a:gd name="connsiteY345" fmla="*/ 40968 h 54185"/>
                        <a:gd name="connsiteX346" fmla="*/ 11722 w 24607"/>
                        <a:gd name="connsiteY346" fmla="*/ 41267 h 54185"/>
                        <a:gd name="connsiteX347" fmla="*/ 11483 w 24607"/>
                        <a:gd name="connsiteY347" fmla="*/ 41566 h 54185"/>
                        <a:gd name="connsiteX348" fmla="*/ 11244 w 24607"/>
                        <a:gd name="connsiteY348" fmla="*/ 41865 h 54185"/>
                        <a:gd name="connsiteX349" fmla="*/ 10048 w 24607"/>
                        <a:gd name="connsiteY349" fmla="*/ 41088 h 54185"/>
                        <a:gd name="connsiteX350" fmla="*/ 10586 w 24607"/>
                        <a:gd name="connsiteY350" fmla="*/ 41446 h 54185"/>
                        <a:gd name="connsiteX351" fmla="*/ 10825 w 24607"/>
                        <a:gd name="connsiteY351" fmla="*/ 41147 h 54185"/>
                        <a:gd name="connsiteX352" fmla="*/ 11064 w 24607"/>
                        <a:gd name="connsiteY352" fmla="*/ 40848 h 54185"/>
                        <a:gd name="connsiteX353" fmla="*/ 11303 w 24607"/>
                        <a:gd name="connsiteY353" fmla="*/ 40549 h 54185"/>
                        <a:gd name="connsiteX354" fmla="*/ 11543 w 24607"/>
                        <a:gd name="connsiteY354" fmla="*/ 40250 h 54185"/>
                        <a:gd name="connsiteX355" fmla="*/ 11004 w 24607"/>
                        <a:gd name="connsiteY355" fmla="*/ 39891 h 54185"/>
                        <a:gd name="connsiteX356" fmla="*/ 10765 w 24607"/>
                        <a:gd name="connsiteY356" fmla="*/ 40191 h 54185"/>
                        <a:gd name="connsiteX357" fmla="*/ 10526 w 24607"/>
                        <a:gd name="connsiteY357" fmla="*/ 40490 h 54185"/>
                        <a:gd name="connsiteX358" fmla="*/ 10287 w 24607"/>
                        <a:gd name="connsiteY358" fmla="*/ 40789 h 54185"/>
                        <a:gd name="connsiteX359" fmla="*/ 10048 w 24607"/>
                        <a:gd name="connsiteY359" fmla="*/ 41088 h 54185"/>
                        <a:gd name="connsiteX360" fmla="*/ 9689 w 24607"/>
                        <a:gd name="connsiteY360" fmla="*/ 43599 h 54185"/>
                        <a:gd name="connsiteX361" fmla="*/ 10227 w 24607"/>
                        <a:gd name="connsiteY361" fmla="*/ 43958 h 54185"/>
                        <a:gd name="connsiteX362" fmla="*/ 10287 w 24607"/>
                        <a:gd name="connsiteY362" fmla="*/ 43839 h 54185"/>
                        <a:gd name="connsiteX363" fmla="*/ 10347 w 24607"/>
                        <a:gd name="connsiteY363" fmla="*/ 43719 h 54185"/>
                        <a:gd name="connsiteX364" fmla="*/ 10406 w 24607"/>
                        <a:gd name="connsiteY364" fmla="*/ 43599 h 54185"/>
                        <a:gd name="connsiteX365" fmla="*/ 10466 w 24607"/>
                        <a:gd name="connsiteY365" fmla="*/ 43480 h 54185"/>
                        <a:gd name="connsiteX366" fmla="*/ 10526 w 24607"/>
                        <a:gd name="connsiteY366" fmla="*/ 43420 h 54185"/>
                        <a:gd name="connsiteX367" fmla="*/ 10645 w 24607"/>
                        <a:gd name="connsiteY367" fmla="*/ 43240 h 54185"/>
                        <a:gd name="connsiteX368" fmla="*/ 10765 w 24607"/>
                        <a:gd name="connsiteY368" fmla="*/ 43061 h 54185"/>
                        <a:gd name="connsiteX369" fmla="*/ 10885 w 24607"/>
                        <a:gd name="connsiteY369" fmla="*/ 42882 h 54185"/>
                        <a:gd name="connsiteX370" fmla="*/ 11004 w 24607"/>
                        <a:gd name="connsiteY370" fmla="*/ 42702 h 54185"/>
                        <a:gd name="connsiteX371" fmla="*/ 10466 w 24607"/>
                        <a:gd name="connsiteY371" fmla="*/ 42344 h 54185"/>
                        <a:gd name="connsiteX372" fmla="*/ 10347 w 24607"/>
                        <a:gd name="connsiteY372" fmla="*/ 42463 h 54185"/>
                        <a:gd name="connsiteX373" fmla="*/ 10227 w 24607"/>
                        <a:gd name="connsiteY373" fmla="*/ 42583 h 54185"/>
                        <a:gd name="connsiteX374" fmla="*/ 10107 w 24607"/>
                        <a:gd name="connsiteY374" fmla="*/ 42702 h 54185"/>
                        <a:gd name="connsiteX375" fmla="*/ 9988 w 24607"/>
                        <a:gd name="connsiteY375" fmla="*/ 42822 h 54185"/>
                        <a:gd name="connsiteX376" fmla="*/ 9928 w 24607"/>
                        <a:gd name="connsiteY376" fmla="*/ 42882 h 54185"/>
                        <a:gd name="connsiteX377" fmla="*/ 9808 w 24607"/>
                        <a:gd name="connsiteY377" fmla="*/ 43001 h 54185"/>
                        <a:gd name="connsiteX378" fmla="*/ 9689 w 24607"/>
                        <a:gd name="connsiteY378" fmla="*/ 43121 h 54185"/>
                        <a:gd name="connsiteX379" fmla="*/ 9569 w 24607"/>
                        <a:gd name="connsiteY379" fmla="*/ 43240 h 54185"/>
                        <a:gd name="connsiteX380" fmla="*/ 9689 w 24607"/>
                        <a:gd name="connsiteY380" fmla="*/ 43599 h 54185"/>
                        <a:gd name="connsiteX381" fmla="*/ 8552 w 24607"/>
                        <a:gd name="connsiteY381" fmla="*/ 42882 h 54185"/>
                        <a:gd name="connsiteX382" fmla="*/ 9090 w 24607"/>
                        <a:gd name="connsiteY382" fmla="*/ 43240 h 54185"/>
                        <a:gd name="connsiteX383" fmla="*/ 9210 w 24607"/>
                        <a:gd name="connsiteY383" fmla="*/ 43121 h 54185"/>
                        <a:gd name="connsiteX384" fmla="*/ 9330 w 24607"/>
                        <a:gd name="connsiteY384" fmla="*/ 43001 h 54185"/>
                        <a:gd name="connsiteX385" fmla="*/ 9449 w 24607"/>
                        <a:gd name="connsiteY385" fmla="*/ 42882 h 54185"/>
                        <a:gd name="connsiteX386" fmla="*/ 9569 w 24607"/>
                        <a:gd name="connsiteY386" fmla="*/ 42762 h 54185"/>
                        <a:gd name="connsiteX387" fmla="*/ 9689 w 24607"/>
                        <a:gd name="connsiteY387" fmla="*/ 42643 h 54185"/>
                        <a:gd name="connsiteX388" fmla="*/ 9808 w 24607"/>
                        <a:gd name="connsiteY388" fmla="*/ 42523 h 54185"/>
                        <a:gd name="connsiteX389" fmla="*/ 9928 w 24607"/>
                        <a:gd name="connsiteY389" fmla="*/ 42403 h 54185"/>
                        <a:gd name="connsiteX390" fmla="*/ 10048 w 24607"/>
                        <a:gd name="connsiteY390" fmla="*/ 42284 h 54185"/>
                        <a:gd name="connsiteX391" fmla="*/ 9509 w 24607"/>
                        <a:gd name="connsiteY391" fmla="*/ 41925 h 54185"/>
                        <a:gd name="connsiteX392" fmla="*/ 9390 w 24607"/>
                        <a:gd name="connsiteY392" fmla="*/ 42045 h 54185"/>
                        <a:gd name="connsiteX393" fmla="*/ 9270 w 24607"/>
                        <a:gd name="connsiteY393" fmla="*/ 42164 h 54185"/>
                        <a:gd name="connsiteX394" fmla="*/ 9150 w 24607"/>
                        <a:gd name="connsiteY394" fmla="*/ 42284 h 54185"/>
                        <a:gd name="connsiteX395" fmla="*/ 9031 w 24607"/>
                        <a:gd name="connsiteY395" fmla="*/ 42403 h 54185"/>
                        <a:gd name="connsiteX396" fmla="*/ 8911 w 24607"/>
                        <a:gd name="connsiteY396" fmla="*/ 42583 h 54185"/>
                        <a:gd name="connsiteX397" fmla="*/ 8791 w 24607"/>
                        <a:gd name="connsiteY397" fmla="*/ 42762 h 54185"/>
                        <a:gd name="connsiteX398" fmla="*/ 8672 w 24607"/>
                        <a:gd name="connsiteY398" fmla="*/ 42942 h 54185"/>
                        <a:gd name="connsiteX399" fmla="*/ 8552 w 24607"/>
                        <a:gd name="connsiteY399" fmla="*/ 42882 h 54185"/>
                        <a:gd name="connsiteX400" fmla="*/ 0 w 24607"/>
                        <a:gd name="connsiteY400" fmla="*/ 53109 h 54185"/>
                        <a:gd name="connsiteX401" fmla="*/ 1674 w 24607"/>
                        <a:gd name="connsiteY401" fmla="*/ 54185 h 54185"/>
                        <a:gd name="connsiteX402" fmla="*/ 1734 w 24607"/>
                        <a:gd name="connsiteY402" fmla="*/ 54125 h 54185"/>
                        <a:gd name="connsiteX403" fmla="*/ 2691 w 24607"/>
                        <a:gd name="connsiteY403" fmla="*/ 52929 h 54185"/>
                        <a:gd name="connsiteX404" fmla="*/ 3648 w 24607"/>
                        <a:gd name="connsiteY404" fmla="*/ 51733 h 54185"/>
                        <a:gd name="connsiteX405" fmla="*/ 4605 w 24607"/>
                        <a:gd name="connsiteY405" fmla="*/ 50597 h 54185"/>
                        <a:gd name="connsiteX406" fmla="*/ 5562 w 24607"/>
                        <a:gd name="connsiteY406" fmla="*/ 49461 h 54185"/>
                        <a:gd name="connsiteX407" fmla="*/ 5741 w 24607"/>
                        <a:gd name="connsiteY407" fmla="*/ 49281 h 54185"/>
                        <a:gd name="connsiteX408" fmla="*/ 5861 w 24607"/>
                        <a:gd name="connsiteY408" fmla="*/ 49102 h 54185"/>
                        <a:gd name="connsiteX409" fmla="*/ 5981 w 24607"/>
                        <a:gd name="connsiteY409" fmla="*/ 48922 h 54185"/>
                        <a:gd name="connsiteX410" fmla="*/ 6100 w 24607"/>
                        <a:gd name="connsiteY410" fmla="*/ 48743 h 54185"/>
                        <a:gd name="connsiteX411" fmla="*/ 6997 w 24607"/>
                        <a:gd name="connsiteY411" fmla="*/ 47726 h 54185"/>
                        <a:gd name="connsiteX412" fmla="*/ 7895 w 24607"/>
                        <a:gd name="connsiteY412" fmla="*/ 46709 h 54185"/>
                        <a:gd name="connsiteX413" fmla="*/ 8732 w 24607"/>
                        <a:gd name="connsiteY413" fmla="*/ 45693 h 54185"/>
                        <a:gd name="connsiteX414" fmla="*/ 9569 w 24607"/>
                        <a:gd name="connsiteY414" fmla="*/ 44736 h 54185"/>
                        <a:gd name="connsiteX415" fmla="*/ 9031 w 24607"/>
                        <a:gd name="connsiteY415" fmla="*/ 44377 h 54185"/>
                        <a:gd name="connsiteX416" fmla="*/ 8194 w 24607"/>
                        <a:gd name="connsiteY416" fmla="*/ 45334 h 54185"/>
                        <a:gd name="connsiteX417" fmla="*/ 7356 w 24607"/>
                        <a:gd name="connsiteY417" fmla="*/ 46351 h 54185"/>
                        <a:gd name="connsiteX418" fmla="*/ 6519 w 24607"/>
                        <a:gd name="connsiteY418" fmla="*/ 47367 h 54185"/>
                        <a:gd name="connsiteX419" fmla="*/ 5622 w 24607"/>
                        <a:gd name="connsiteY419" fmla="*/ 48384 h 54185"/>
                        <a:gd name="connsiteX420" fmla="*/ 5502 w 24607"/>
                        <a:gd name="connsiteY420" fmla="*/ 48563 h 54185"/>
                        <a:gd name="connsiteX421" fmla="*/ 5382 w 24607"/>
                        <a:gd name="connsiteY421" fmla="*/ 48743 h 54185"/>
                        <a:gd name="connsiteX422" fmla="*/ 5203 w 24607"/>
                        <a:gd name="connsiteY422" fmla="*/ 48922 h 54185"/>
                        <a:gd name="connsiteX423" fmla="*/ 5083 w 24607"/>
                        <a:gd name="connsiteY423" fmla="*/ 49102 h 54185"/>
                        <a:gd name="connsiteX424" fmla="*/ 4186 w 24607"/>
                        <a:gd name="connsiteY424" fmla="*/ 50178 h 54185"/>
                        <a:gd name="connsiteX425" fmla="*/ 3289 w 24607"/>
                        <a:gd name="connsiteY425" fmla="*/ 51255 h 54185"/>
                        <a:gd name="connsiteX426" fmla="*/ 2392 w 24607"/>
                        <a:gd name="connsiteY426" fmla="*/ 52331 h 54185"/>
                        <a:gd name="connsiteX427" fmla="*/ 1495 w 24607"/>
                        <a:gd name="connsiteY427" fmla="*/ 53468 h 54185"/>
                        <a:gd name="connsiteX428" fmla="*/ 837 w 24607"/>
                        <a:gd name="connsiteY428" fmla="*/ 53049 h 54185"/>
                        <a:gd name="connsiteX429" fmla="*/ 1734 w 24607"/>
                        <a:gd name="connsiteY429" fmla="*/ 51913 h 54185"/>
                        <a:gd name="connsiteX430" fmla="*/ 2632 w 24607"/>
                        <a:gd name="connsiteY430" fmla="*/ 50836 h 54185"/>
                        <a:gd name="connsiteX431" fmla="*/ 3528 w 24607"/>
                        <a:gd name="connsiteY431" fmla="*/ 49760 h 54185"/>
                        <a:gd name="connsiteX432" fmla="*/ 4426 w 24607"/>
                        <a:gd name="connsiteY432" fmla="*/ 48683 h 54185"/>
                        <a:gd name="connsiteX433" fmla="*/ 4605 w 24607"/>
                        <a:gd name="connsiteY433" fmla="*/ 48504 h 54185"/>
                        <a:gd name="connsiteX434" fmla="*/ 4725 w 24607"/>
                        <a:gd name="connsiteY434" fmla="*/ 48324 h 54185"/>
                        <a:gd name="connsiteX435" fmla="*/ 4844 w 24607"/>
                        <a:gd name="connsiteY435" fmla="*/ 48145 h 54185"/>
                        <a:gd name="connsiteX436" fmla="*/ 4964 w 24607"/>
                        <a:gd name="connsiteY436" fmla="*/ 47966 h 54185"/>
                        <a:gd name="connsiteX437" fmla="*/ 5861 w 24607"/>
                        <a:gd name="connsiteY437" fmla="*/ 46889 h 54185"/>
                        <a:gd name="connsiteX438" fmla="*/ 6698 w 24607"/>
                        <a:gd name="connsiteY438" fmla="*/ 45872 h 54185"/>
                        <a:gd name="connsiteX439" fmla="*/ 7536 w 24607"/>
                        <a:gd name="connsiteY439" fmla="*/ 44855 h 54185"/>
                        <a:gd name="connsiteX440" fmla="*/ 8373 w 24607"/>
                        <a:gd name="connsiteY440" fmla="*/ 43899 h 54185"/>
                        <a:gd name="connsiteX441" fmla="*/ 7835 w 24607"/>
                        <a:gd name="connsiteY441" fmla="*/ 43540 h 54185"/>
                        <a:gd name="connsiteX442" fmla="*/ 6997 w 24607"/>
                        <a:gd name="connsiteY442" fmla="*/ 44497 h 54185"/>
                        <a:gd name="connsiteX443" fmla="*/ 6160 w 24607"/>
                        <a:gd name="connsiteY443" fmla="*/ 45513 h 54185"/>
                        <a:gd name="connsiteX444" fmla="*/ 5263 w 24607"/>
                        <a:gd name="connsiteY444" fmla="*/ 46530 h 54185"/>
                        <a:gd name="connsiteX445" fmla="*/ 4366 w 24607"/>
                        <a:gd name="connsiteY445" fmla="*/ 47607 h 54185"/>
                        <a:gd name="connsiteX446" fmla="*/ 4246 w 24607"/>
                        <a:gd name="connsiteY446" fmla="*/ 47786 h 54185"/>
                        <a:gd name="connsiteX447" fmla="*/ 4127 w 24607"/>
                        <a:gd name="connsiteY447" fmla="*/ 47966 h 54185"/>
                        <a:gd name="connsiteX448" fmla="*/ 4007 w 24607"/>
                        <a:gd name="connsiteY448" fmla="*/ 48145 h 54185"/>
                        <a:gd name="connsiteX449" fmla="*/ 3827 w 24607"/>
                        <a:gd name="connsiteY449" fmla="*/ 48324 h 54185"/>
                        <a:gd name="connsiteX450" fmla="*/ 2871 w 24607"/>
                        <a:gd name="connsiteY450" fmla="*/ 49461 h 54185"/>
                        <a:gd name="connsiteX451" fmla="*/ 1914 w 24607"/>
                        <a:gd name="connsiteY451" fmla="*/ 50597 h 54185"/>
                        <a:gd name="connsiteX452" fmla="*/ 957 w 24607"/>
                        <a:gd name="connsiteY452" fmla="*/ 51793 h 54185"/>
                        <a:gd name="connsiteX453" fmla="*/ 0 w 24607"/>
                        <a:gd name="connsiteY453" fmla="*/ 52989 h 54185"/>
                        <a:gd name="connsiteX454" fmla="*/ 0 w 24607"/>
                        <a:gd name="connsiteY454" fmla="*/ 53109 h 5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Lst>
                      <a:rect l="l" t="t" r="r" b="b"/>
                      <a:pathLst>
                        <a:path w="24607" h="54185">
                          <a:moveTo>
                            <a:pt x="10167" y="4725"/>
                          </a:moveTo>
                          <a:lnTo>
                            <a:pt x="10765" y="4007"/>
                          </a:lnTo>
                          <a:cubicBezTo>
                            <a:pt x="10526" y="3828"/>
                            <a:pt x="10347" y="3708"/>
                            <a:pt x="10107" y="3529"/>
                          </a:cubicBezTo>
                          <a:cubicBezTo>
                            <a:pt x="9868" y="3349"/>
                            <a:pt x="9629" y="3229"/>
                            <a:pt x="9449" y="3050"/>
                          </a:cubicBezTo>
                          <a:cubicBezTo>
                            <a:pt x="9210" y="2871"/>
                            <a:pt x="8971" y="2691"/>
                            <a:pt x="8732" y="2572"/>
                          </a:cubicBezTo>
                          <a:cubicBezTo>
                            <a:pt x="8493" y="2392"/>
                            <a:pt x="8253" y="2213"/>
                            <a:pt x="8014" y="2093"/>
                          </a:cubicBezTo>
                          <a:lnTo>
                            <a:pt x="8791" y="1136"/>
                          </a:lnTo>
                          <a:cubicBezTo>
                            <a:pt x="9031" y="1316"/>
                            <a:pt x="9270" y="1495"/>
                            <a:pt x="9509" y="1615"/>
                          </a:cubicBezTo>
                          <a:cubicBezTo>
                            <a:pt x="9749" y="1734"/>
                            <a:pt x="9988" y="1974"/>
                            <a:pt x="10227" y="2093"/>
                          </a:cubicBezTo>
                          <a:cubicBezTo>
                            <a:pt x="10466" y="2273"/>
                            <a:pt x="10705" y="2392"/>
                            <a:pt x="10885" y="2572"/>
                          </a:cubicBezTo>
                          <a:cubicBezTo>
                            <a:pt x="11124" y="2751"/>
                            <a:pt x="11303" y="2871"/>
                            <a:pt x="11543" y="3050"/>
                          </a:cubicBezTo>
                          <a:lnTo>
                            <a:pt x="12141" y="2333"/>
                          </a:lnTo>
                          <a:cubicBezTo>
                            <a:pt x="11902" y="2153"/>
                            <a:pt x="11662" y="1974"/>
                            <a:pt x="11423" y="1794"/>
                          </a:cubicBezTo>
                          <a:cubicBezTo>
                            <a:pt x="11184" y="1615"/>
                            <a:pt x="10944" y="1435"/>
                            <a:pt x="10645" y="1256"/>
                          </a:cubicBezTo>
                          <a:cubicBezTo>
                            <a:pt x="10406" y="1076"/>
                            <a:pt x="10107" y="897"/>
                            <a:pt x="9868" y="718"/>
                          </a:cubicBezTo>
                          <a:cubicBezTo>
                            <a:pt x="9629" y="538"/>
                            <a:pt x="9330" y="359"/>
                            <a:pt x="9090" y="180"/>
                          </a:cubicBezTo>
                          <a:lnTo>
                            <a:pt x="8851" y="0"/>
                          </a:lnTo>
                          <a:lnTo>
                            <a:pt x="8373" y="598"/>
                          </a:lnTo>
                          <a:lnTo>
                            <a:pt x="6878" y="2452"/>
                          </a:lnTo>
                          <a:lnTo>
                            <a:pt x="7117" y="2632"/>
                          </a:lnTo>
                          <a:cubicBezTo>
                            <a:pt x="7416" y="2811"/>
                            <a:pt x="7655" y="2990"/>
                            <a:pt x="7895" y="3170"/>
                          </a:cubicBezTo>
                          <a:cubicBezTo>
                            <a:pt x="8134" y="3349"/>
                            <a:pt x="8433" y="3529"/>
                            <a:pt x="8672" y="3708"/>
                          </a:cubicBezTo>
                          <a:cubicBezTo>
                            <a:pt x="8911" y="3888"/>
                            <a:pt x="9150" y="4067"/>
                            <a:pt x="9449" y="4246"/>
                          </a:cubicBezTo>
                          <a:cubicBezTo>
                            <a:pt x="9749" y="4426"/>
                            <a:pt x="9928" y="4545"/>
                            <a:pt x="10167" y="4725"/>
                          </a:cubicBezTo>
                          <a:moveTo>
                            <a:pt x="12858" y="39891"/>
                          </a:moveTo>
                          <a:lnTo>
                            <a:pt x="13397" y="40250"/>
                          </a:lnTo>
                          <a:cubicBezTo>
                            <a:pt x="13875" y="39652"/>
                            <a:pt x="14413" y="39054"/>
                            <a:pt x="14892" y="38516"/>
                          </a:cubicBezTo>
                          <a:cubicBezTo>
                            <a:pt x="15371" y="37918"/>
                            <a:pt x="15849" y="37380"/>
                            <a:pt x="16267" y="36782"/>
                          </a:cubicBezTo>
                          <a:cubicBezTo>
                            <a:pt x="16746" y="36243"/>
                            <a:pt x="17165" y="35645"/>
                            <a:pt x="17583" y="35107"/>
                          </a:cubicBezTo>
                          <a:cubicBezTo>
                            <a:pt x="18002" y="34569"/>
                            <a:pt x="18420" y="34030"/>
                            <a:pt x="18839" y="33492"/>
                          </a:cubicBezTo>
                          <a:cubicBezTo>
                            <a:pt x="18899" y="33432"/>
                            <a:pt x="18899" y="33373"/>
                            <a:pt x="18959" y="33313"/>
                          </a:cubicBezTo>
                          <a:cubicBezTo>
                            <a:pt x="19019" y="33253"/>
                            <a:pt x="19019" y="33193"/>
                            <a:pt x="19079" y="33133"/>
                          </a:cubicBezTo>
                          <a:cubicBezTo>
                            <a:pt x="19138" y="33074"/>
                            <a:pt x="19138" y="33014"/>
                            <a:pt x="19198" y="32954"/>
                          </a:cubicBezTo>
                          <a:cubicBezTo>
                            <a:pt x="19258" y="32894"/>
                            <a:pt x="19258" y="32834"/>
                            <a:pt x="19318" y="32774"/>
                          </a:cubicBezTo>
                          <a:cubicBezTo>
                            <a:pt x="19557" y="32415"/>
                            <a:pt x="19796" y="32116"/>
                            <a:pt x="20035" y="31758"/>
                          </a:cubicBezTo>
                          <a:cubicBezTo>
                            <a:pt x="20274" y="31399"/>
                            <a:pt x="20514" y="31100"/>
                            <a:pt x="20693" y="30741"/>
                          </a:cubicBezTo>
                          <a:cubicBezTo>
                            <a:pt x="20933" y="30382"/>
                            <a:pt x="21112" y="30083"/>
                            <a:pt x="21291" y="29724"/>
                          </a:cubicBezTo>
                          <a:cubicBezTo>
                            <a:pt x="21471" y="29366"/>
                            <a:pt x="21710" y="29066"/>
                            <a:pt x="21889" y="28707"/>
                          </a:cubicBezTo>
                          <a:cubicBezTo>
                            <a:pt x="21949" y="28648"/>
                            <a:pt x="21949" y="28588"/>
                            <a:pt x="22009" y="28528"/>
                          </a:cubicBezTo>
                          <a:cubicBezTo>
                            <a:pt x="22069" y="28468"/>
                            <a:pt x="22069" y="28408"/>
                            <a:pt x="22128" y="28349"/>
                          </a:cubicBezTo>
                          <a:cubicBezTo>
                            <a:pt x="22188" y="28289"/>
                            <a:pt x="22188" y="28229"/>
                            <a:pt x="22248" y="28169"/>
                          </a:cubicBezTo>
                          <a:cubicBezTo>
                            <a:pt x="22308" y="28109"/>
                            <a:pt x="22308" y="28050"/>
                            <a:pt x="22368" y="27990"/>
                          </a:cubicBezTo>
                          <a:cubicBezTo>
                            <a:pt x="22428" y="27870"/>
                            <a:pt x="22488" y="27811"/>
                            <a:pt x="22488" y="27691"/>
                          </a:cubicBezTo>
                          <a:cubicBezTo>
                            <a:pt x="22547" y="27571"/>
                            <a:pt x="22607" y="27511"/>
                            <a:pt x="22607" y="27392"/>
                          </a:cubicBezTo>
                          <a:cubicBezTo>
                            <a:pt x="22667" y="27272"/>
                            <a:pt x="22727" y="27212"/>
                            <a:pt x="22727" y="27093"/>
                          </a:cubicBezTo>
                          <a:cubicBezTo>
                            <a:pt x="22787" y="26973"/>
                            <a:pt x="22787" y="26913"/>
                            <a:pt x="22846" y="26794"/>
                          </a:cubicBezTo>
                          <a:cubicBezTo>
                            <a:pt x="22906" y="26734"/>
                            <a:pt x="22906" y="26674"/>
                            <a:pt x="22966" y="26554"/>
                          </a:cubicBezTo>
                          <a:cubicBezTo>
                            <a:pt x="23026" y="26495"/>
                            <a:pt x="23026" y="26435"/>
                            <a:pt x="23086" y="26315"/>
                          </a:cubicBezTo>
                          <a:cubicBezTo>
                            <a:pt x="23145" y="26255"/>
                            <a:pt x="23145" y="26196"/>
                            <a:pt x="23205" y="26076"/>
                          </a:cubicBezTo>
                          <a:cubicBezTo>
                            <a:pt x="23265" y="26016"/>
                            <a:pt x="23265" y="25956"/>
                            <a:pt x="23265" y="25837"/>
                          </a:cubicBezTo>
                          <a:cubicBezTo>
                            <a:pt x="23384" y="25598"/>
                            <a:pt x="23444" y="25358"/>
                            <a:pt x="23504" y="25179"/>
                          </a:cubicBezTo>
                          <a:cubicBezTo>
                            <a:pt x="23564" y="24940"/>
                            <a:pt x="23683" y="24700"/>
                            <a:pt x="23743" y="24521"/>
                          </a:cubicBezTo>
                          <a:cubicBezTo>
                            <a:pt x="23803" y="24282"/>
                            <a:pt x="23863" y="24043"/>
                            <a:pt x="23923" y="23863"/>
                          </a:cubicBezTo>
                          <a:cubicBezTo>
                            <a:pt x="23983" y="23624"/>
                            <a:pt x="24042" y="23385"/>
                            <a:pt x="24102" y="23205"/>
                          </a:cubicBezTo>
                          <a:cubicBezTo>
                            <a:pt x="24102" y="23145"/>
                            <a:pt x="24162" y="23026"/>
                            <a:pt x="24162" y="22966"/>
                          </a:cubicBezTo>
                          <a:cubicBezTo>
                            <a:pt x="24162" y="22906"/>
                            <a:pt x="24222" y="22787"/>
                            <a:pt x="24222" y="22727"/>
                          </a:cubicBezTo>
                          <a:cubicBezTo>
                            <a:pt x="24222" y="22667"/>
                            <a:pt x="24282" y="22547"/>
                            <a:pt x="24282" y="22488"/>
                          </a:cubicBezTo>
                          <a:cubicBezTo>
                            <a:pt x="24282" y="22428"/>
                            <a:pt x="24282" y="22308"/>
                            <a:pt x="24342" y="22248"/>
                          </a:cubicBezTo>
                          <a:cubicBezTo>
                            <a:pt x="24342" y="22189"/>
                            <a:pt x="24342" y="22069"/>
                            <a:pt x="24401" y="22009"/>
                          </a:cubicBezTo>
                          <a:cubicBezTo>
                            <a:pt x="24461" y="21949"/>
                            <a:pt x="24401" y="21830"/>
                            <a:pt x="24461" y="21770"/>
                          </a:cubicBezTo>
                          <a:cubicBezTo>
                            <a:pt x="24461" y="21710"/>
                            <a:pt x="24461" y="21590"/>
                            <a:pt x="24521" y="21530"/>
                          </a:cubicBezTo>
                          <a:cubicBezTo>
                            <a:pt x="24521" y="21471"/>
                            <a:pt x="24521" y="21351"/>
                            <a:pt x="24521" y="21291"/>
                          </a:cubicBezTo>
                          <a:cubicBezTo>
                            <a:pt x="24521" y="21112"/>
                            <a:pt x="24521" y="20992"/>
                            <a:pt x="24581" y="20813"/>
                          </a:cubicBezTo>
                          <a:cubicBezTo>
                            <a:pt x="24641" y="20634"/>
                            <a:pt x="24581" y="20514"/>
                            <a:pt x="24581" y="20335"/>
                          </a:cubicBezTo>
                          <a:cubicBezTo>
                            <a:pt x="24581" y="20155"/>
                            <a:pt x="24581" y="20035"/>
                            <a:pt x="24581" y="19856"/>
                          </a:cubicBezTo>
                          <a:cubicBezTo>
                            <a:pt x="24581" y="19676"/>
                            <a:pt x="24581" y="19557"/>
                            <a:pt x="24581" y="19377"/>
                          </a:cubicBezTo>
                          <a:cubicBezTo>
                            <a:pt x="24581" y="19258"/>
                            <a:pt x="24581" y="19198"/>
                            <a:pt x="24581" y="19079"/>
                          </a:cubicBezTo>
                          <a:cubicBezTo>
                            <a:pt x="24581" y="18959"/>
                            <a:pt x="24581" y="18899"/>
                            <a:pt x="24581" y="18780"/>
                          </a:cubicBezTo>
                          <a:cubicBezTo>
                            <a:pt x="24581" y="18660"/>
                            <a:pt x="24581" y="18600"/>
                            <a:pt x="24521" y="18481"/>
                          </a:cubicBezTo>
                          <a:cubicBezTo>
                            <a:pt x="24521" y="18361"/>
                            <a:pt x="24521" y="18301"/>
                            <a:pt x="24461" y="18181"/>
                          </a:cubicBezTo>
                          <a:cubicBezTo>
                            <a:pt x="24461" y="18181"/>
                            <a:pt x="24461" y="18122"/>
                            <a:pt x="24461" y="18122"/>
                          </a:cubicBezTo>
                          <a:cubicBezTo>
                            <a:pt x="24461" y="18122"/>
                            <a:pt x="24461" y="18062"/>
                            <a:pt x="24461" y="18062"/>
                          </a:cubicBezTo>
                          <a:cubicBezTo>
                            <a:pt x="24461" y="18062"/>
                            <a:pt x="24461" y="18002"/>
                            <a:pt x="24461" y="18002"/>
                          </a:cubicBezTo>
                          <a:cubicBezTo>
                            <a:pt x="24461" y="18002"/>
                            <a:pt x="24461" y="17942"/>
                            <a:pt x="24461" y="17942"/>
                          </a:cubicBezTo>
                          <a:cubicBezTo>
                            <a:pt x="24461" y="17822"/>
                            <a:pt x="24401" y="17763"/>
                            <a:pt x="24401" y="17643"/>
                          </a:cubicBezTo>
                          <a:cubicBezTo>
                            <a:pt x="24401" y="17523"/>
                            <a:pt x="24342" y="17464"/>
                            <a:pt x="24342" y="17344"/>
                          </a:cubicBezTo>
                          <a:cubicBezTo>
                            <a:pt x="24342" y="17225"/>
                            <a:pt x="24282" y="17165"/>
                            <a:pt x="24282" y="17045"/>
                          </a:cubicBezTo>
                          <a:cubicBezTo>
                            <a:pt x="24282" y="16926"/>
                            <a:pt x="24222" y="16866"/>
                            <a:pt x="24222" y="16746"/>
                          </a:cubicBezTo>
                          <a:cubicBezTo>
                            <a:pt x="24222" y="16627"/>
                            <a:pt x="24162" y="16507"/>
                            <a:pt x="24102" y="16387"/>
                          </a:cubicBezTo>
                          <a:cubicBezTo>
                            <a:pt x="24042" y="16268"/>
                            <a:pt x="24042" y="16148"/>
                            <a:pt x="23983" y="16028"/>
                          </a:cubicBezTo>
                          <a:cubicBezTo>
                            <a:pt x="23923" y="15909"/>
                            <a:pt x="23923" y="15789"/>
                            <a:pt x="23863" y="15669"/>
                          </a:cubicBezTo>
                          <a:cubicBezTo>
                            <a:pt x="23803" y="15550"/>
                            <a:pt x="23803" y="15430"/>
                            <a:pt x="23743" y="15311"/>
                          </a:cubicBezTo>
                          <a:cubicBezTo>
                            <a:pt x="23683" y="15251"/>
                            <a:pt x="23683" y="15131"/>
                            <a:pt x="23624" y="15072"/>
                          </a:cubicBezTo>
                          <a:cubicBezTo>
                            <a:pt x="23564" y="15012"/>
                            <a:pt x="23564" y="14892"/>
                            <a:pt x="23504" y="14832"/>
                          </a:cubicBezTo>
                          <a:cubicBezTo>
                            <a:pt x="23444" y="14773"/>
                            <a:pt x="23444" y="14653"/>
                            <a:pt x="23384" y="14593"/>
                          </a:cubicBezTo>
                          <a:cubicBezTo>
                            <a:pt x="23325" y="14533"/>
                            <a:pt x="23325" y="14414"/>
                            <a:pt x="23265" y="14354"/>
                          </a:cubicBezTo>
                          <a:cubicBezTo>
                            <a:pt x="23145" y="14174"/>
                            <a:pt x="23086" y="13935"/>
                            <a:pt x="22966" y="13756"/>
                          </a:cubicBezTo>
                          <a:cubicBezTo>
                            <a:pt x="22846" y="13576"/>
                            <a:pt x="22787" y="13337"/>
                            <a:pt x="22667" y="13158"/>
                          </a:cubicBezTo>
                          <a:cubicBezTo>
                            <a:pt x="22547" y="12978"/>
                            <a:pt x="22428" y="12739"/>
                            <a:pt x="22308" y="12559"/>
                          </a:cubicBezTo>
                          <a:cubicBezTo>
                            <a:pt x="22188" y="12380"/>
                            <a:pt x="22069" y="12141"/>
                            <a:pt x="21949" y="11961"/>
                          </a:cubicBezTo>
                          <a:cubicBezTo>
                            <a:pt x="21889" y="11902"/>
                            <a:pt x="21829" y="11782"/>
                            <a:pt x="21770" y="11722"/>
                          </a:cubicBezTo>
                          <a:cubicBezTo>
                            <a:pt x="21710" y="11662"/>
                            <a:pt x="21650" y="11543"/>
                            <a:pt x="21590" y="11483"/>
                          </a:cubicBezTo>
                          <a:cubicBezTo>
                            <a:pt x="21530" y="11423"/>
                            <a:pt x="21471" y="11304"/>
                            <a:pt x="21411" y="11244"/>
                          </a:cubicBezTo>
                          <a:cubicBezTo>
                            <a:pt x="21351" y="11184"/>
                            <a:pt x="21291" y="11064"/>
                            <a:pt x="21231" y="11005"/>
                          </a:cubicBezTo>
                          <a:cubicBezTo>
                            <a:pt x="21172" y="10885"/>
                            <a:pt x="21052" y="10765"/>
                            <a:pt x="20933" y="10646"/>
                          </a:cubicBezTo>
                          <a:cubicBezTo>
                            <a:pt x="20813" y="10526"/>
                            <a:pt x="20753" y="10406"/>
                            <a:pt x="20633" y="10287"/>
                          </a:cubicBezTo>
                          <a:cubicBezTo>
                            <a:pt x="20514" y="10167"/>
                            <a:pt x="20454" y="10048"/>
                            <a:pt x="20334" y="9928"/>
                          </a:cubicBezTo>
                          <a:cubicBezTo>
                            <a:pt x="20215" y="9808"/>
                            <a:pt x="20155" y="9689"/>
                            <a:pt x="20035" y="9569"/>
                          </a:cubicBezTo>
                          <a:cubicBezTo>
                            <a:pt x="19916" y="9450"/>
                            <a:pt x="19856" y="9330"/>
                            <a:pt x="19736" y="9210"/>
                          </a:cubicBezTo>
                          <a:cubicBezTo>
                            <a:pt x="19617" y="9091"/>
                            <a:pt x="19557" y="8971"/>
                            <a:pt x="19437" y="8851"/>
                          </a:cubicBezTo>
                          <a:cubicBezTo>
                            <a:pt x="19318" y="8732"/>
                            <a:pt x="19258" y="8612"/>
                            <a:pt x="19138" y="8493"/>
                          </a:cubicBezTo>
                          <a:cubicBezTo>
                            <a:pt x="19019" y="8373"/>
                            <a:pt x="18899" y="8253"/>
                            <a:pt x="18839" y="8134"/>
                          </a:cubicBezTo>
                          <a:cubicBezTo>
                            <a:pt x="18720" y="8014"/>
                            <a:pt x="18660" y="7895"/>
                            <a:pt x="18540" y="7835"/>
                          </a:cubicBezTo>
                          <a:cubicBezTo>
                            <a:pt x="18420" y="7715"/>
                            <a:pt x="18301" y="7596"/>
                            <a:pt x="18241" y="7536"/>
                          </a:cubicBezTo>
                          <a:cubicBezTo>
                            <a:pt x="18121" y="7416"/>
                            <a:pt x="18002" y="7297"/>
                            <a:pt x="17882" y="7237"/>
                          </a:cubicBezTo>
                          <a:cubicBezTo>
                            <a:pt x="17763" y="7117"/>
                            <a:pt x="17643" y="6997"/>
                            <a:pt x="17523" y="6938"/>
                          </a:cubicBezTo>
                          <a:cubicBezTo>
                            <a:pt x="17165" y="6579"/>
                            <a:pt x="16806" y="6280"/>
                            <a:pt x="16387" y="5921"/>
                          </a:cubicBezTo>
                          <a:cubicBezTo>
                            <a:pt x="15968" y="5562"/>
                            <a:pt x="15610" y="5203"/>
                            <a:pt x="15191" y="4904"/>
                          </a:cubicBezTo>
                          <a:cubicBezTo>
                            <a:pt x="14772" y="4545"/>
                            <a:pt x="14354" y="4187"/>
                            <a:pt x="13875" y="3828"/>
                          </a:cubicBezTo>
                          <a:cubicBezTo>
                            <a:pt x="13397" y="3469"/>
                            <a:pt x="12978" y="3110"/>
                            <a:pt x="12500" y="2751"/>
                          </a:cubicBezTo>
                          <a:lnTo>
                            <a:pt x="11902" y="3469"/>
                          </a:lnTo>
                          <a:cubicBezTo>
                            <a:pt x="12679" y="4067"/>
                            <a:pt x="13397" y="4605"/>
                            <a:pt x="14114" y="5203"/>
                          </a:cubicBezTo>
                          <a:cubicBezTo>
                            <a:pt x="14832" y="5801"/>
                            <a:pt x="15490" y="6340"/>
                            <a:pt x="16088" y="6878"/>
                          </a:cubicBezTo>
                          <a:cubicBezTo>
                            <a:pt x="16686" y="7416"/>
                            <a:pt x="17284" y="7954"/>
                            <a:pt x="17822" y="8552"/>
                          </a:cubicBezTo>
                          <a:cubicBezTo>
                            <a:pt x="18361" y="9091"/>
                            <a:pt x="18839" y="9629"/>
                            <a:pt x="19318" y="10167"/>
                          </a:cubicBezTo>
                          <a:cubicBezTo>
                            <a:pt x="19377" y="10287"/>
                            <a:pt x="19497" y="10347"/>
                            <a:pt x="19557" y="10466"/>
                          </a:cubicBezTo>
                          <a:cubicBezTo>
                            <a:pt x="19617" y="10586"/>
                            <a:pt x="19736" y="10646"/>
                            <a:pt x="19796" y="10705"/>
                          </a:cubicBezTo>
                          <a:cubicBezTo>
                            <a:pt x="19856" y="10765"/>
                            <a:pt x="19916" y="10885"/>
                            <a:pt x="20035" y="10945"/>
                          </a:cubicBezTo>
                          <a:cubicBezTo>
                            <a:pt x="20095" y="11005"/>
                            <a:pt x="20155" y="11124"/>
                            <a:pt x="20274" y="11184"/>
                          </a:cubicBezTo>
                          <a:cubicBezTo>
                            <a:pt x="20334" y="11304"/>
                            <a:pt x="20454" y="11423"/>
                            <a:pt x="20514" y="11483"/>
                          </a:cubicBezTo>
                          <a:cubicBezTo>
                            <a:pt x="20574" y="11543"/>
                            <a:pt x="20693" y="11722"/>
                            <a:pt x="20753" y="11782"/>
                          </a:cubicBezTo>
                          <a:cubicBezTo>
                            <a:pt x="20813" y="11902"/>
                            <a:pt x="20933" y="12021"/>
                            <a:pt x="20992" y="12081"/>
                          </a:cubicBezTo>
                          <a:cubicBezTo>
                            <a:pt x="21052" y="12201"/>
                            <a:pt x="21112" y="12320"/>
                            <a:pt x="21231" y="12380"/>
                          </a:cubicBezTo>
                          <a:cubicBezTo>
                            <a:pt x="21291" y="12440"/>
                            <a:pt x="21351" y="12500"/>
                            <a:pt x="21351" y="12619"/>
                          </a:cubicBezTo>
                          <a:cubicBezTo>
                            <a:pt x="21351" y="12739"/>
                            <a:pt x="21471" y="12739"/>
                            <a:pt x="21471" y="12859"/>
                          </a:cubicBezTo>
                          <a:cubicBezTo>
                            <a:pt x="21471" y="12978"/>
                            <a:pt x="21590" y="12978"/>
                            <a:pt x="21590" y="13098"/>
                          </a:cubicBezTo>
                          <a:cubicBezTo>
                            <a:pt x="21650" y="13158"/>
                            <a:pt x="21650" y="13218"/>
                            <a:pt x="21710" y="13337"/>
                          </a:cubicBezTo>
                          <a:cubicBezTo>
                            <a:pt x="21829" y="13516"/>
                            <a:pt x="21949" y="13756"/>
                            <a:pt x="22069" y="13935"/>
                          </a:cubicBezTo>
                          <a:cubicBezTo>
                            <a:pt x="22188" y="14114"/>
                            <a:pt x="22248" y="14354"/>
                            <a:pt x="22368" y="14533"/>
                          </a:cubicBezTo>
                          <a:cubicBezTo>
                            <a:pt x="22488" y="14713"/>
                            <a:pt x="22547" y="14952"/>
                            <a:pt x="22667" y="15131"/>
                          </a:cubicBezTo>
                          <a:cubicBezTo>
                            <a:pt x="22727" y="15311"/>
                            <a:pt x="22846" y="15490"/>
                            <a:pt x="22906" y="15729"/>
                          </a:cubicBezTo>
                          <a:cubicBezTo>
                            <a:pt x="22966" y="15789"/>
                            <a:pt x="22966" y="15909"/>
                            <a:pt x="23026" y="15968"/>
                          </a:cubicBezTo>
                          <a:cubicBezTo>
                            <a:pt x="23086" y="16028"/>
                            <a:pt x="23086" y="16148"/>
                            <a:pt x="23086" y="16208"/>
                          </a:cubicBezTo>
                          <a:cubicBezTo>
                            <a:pt x="23086" y="16268"/>
                            <a:pt x="23145" y="16387"/>
                            <a:pt x="23145" y="16447"/>
                          </a:cubicBezTo>
                          <a:cubicBezTo>
                            <a:pt x="23145" y="16507"/>
                            <a:pt x="23205" y="16627"/>
                            <a:pt x="23205" y="16686"/>
                          </a:cubicBezTo>
                          <a:cubicBezTo>
                            <a:pt x="23205" y="16746"/>
                            <a:pt x="23265" y="16806"/>
                            <a:pt x="23265" y="16926"/>
                          </a:cubicBezTo>
                          <a:cubicBezTo>
                            <a:pt x="23265" y="16985"/>
                            <a:pt x="23325" y="17045"/>
                            <a:pt x="23325" y="17165"/>
                          </a:cubicBezTo>
                          <a:cubicBezTo>
                            <a:pt x="23325" y="17225"/>
                            <a:pt x="23384" y="17284"/>
                            <a:pt x="23384" y="17404"/>
                          </a:cubicBezTo>
                          <a:cubicBezTo>
                            <a:pt x="23384" y="17464"/>
                            <a:pt x="23444" y="17523"/>
                            <a:pt x="23444" y="17643"/>
                          </a:cubicBezTo>
                          <a:cubicBezTo>
                            <a:pt x="23444" y="17703"/>
                            <a:pt x="23444" y="17703"/>
                            <a:pt x="23444" y="17763"/>
                          </a:cubicBezTo>
                          <a:cubicBezTo>
                            <a:pt x="23444" y="17822"/>
                            <a:pt x="23444" y="17822"/>
                            <a:pt x="23444" y="17882"/>
                          </a:cubicBezTo>
                          <a:cubicBezTo>
                            <a:pt x="23444" y="17942"/>
                            <a:pt x="23444" y="17942"/>
                            <a:pt x="23444" y="18002"/>
                          </a:cubicBezTo>
                          <a:cubicBezTo>
                            <a:pt x="23444" y="18062"/>
                            <a:pt x="23444" y="18062"/>
                            <a:pt x="23444" y="18122"/>
                          </a:cubicBezTo>
                          <a:cubicBezTo>
                            <a:pt x="23444" y="18241"/>
                            <a:pt x="23504" y="18301"/>
                            <a:pt x="23504" y="18421"/>
                          </a:cubicBezTo>
                          <a:cubicBezTo>
                            <a:pt x="23504" y="18540"/>
                            <a:pt x="23504" y="18600"/>
                            <a:pt x="23564" y="18720"/>
                          </a:cubicBezTo>
                          <a:cubicBezTo>
                            <a:pt x="23564" y="18839"/>
                            <a:pt x="23564" y="18899"/>
                            <a:pt x="23624" y="19019"/>
                          </a:cubicBezTo>
                          <a:cubicBezTo>
                            <a:pt x="23624" y="19138"/>
                            <a:pt x="23624" y="19198"/>
                            <a:pt x="23624" y="19318"/>
                          </a:cubicBezTo>
                          <a:cubicBezTo>
                            <a:pt x="23624" y="19497"/>
                            <a:pt x="23624" y="19676"/>
                            <a:pt x="23683" y="19856"/>
                          </a:cubicBezTo>
                          <a:cubicBezTo>
                            <a:pt x="23683" y="20035"/>
                            <a:pt x="23683" y="20215"/>
                            <a:pt x="23683" y="20394"/>
                          </a:cubicBezTo>
                          <a:cubicBezTo>
                            <a:pt x="23683" y="20574"/>
                            <a:pt x="23683" y="20753"/>
                            <a:pt x="23683" y="20933"/>
                          </a:cubicBezTo>
                          <a:cubicBezTo>
                            <a:pt x="23683" y="21112"/>
                            <a:pt x="23683" y="21291"/>
                            <a:pt x="23624" y="21530"/>
                          </a:cubicBezTo>
                          <a:cubicBezTo>
                            <a:pt x="23624" y="21530"/>
                            <a:pt x="23624" y="21590"/>
                            <a:pt x="23624" y="21590"/>
                          </a:cubicBezTo>
                          <a:cubicBezTo>
                            <a:pt x="23624" y="21590"/>
                            <a:pt x="23624" y="21650"/>
                            <a:pt x="23624" y="21650"/>
                          </a:cubicBezTo>
                          <a:cubicBezTo>
                            <a:pt x="23624" y="21650"/>
                            <a:pt x="23624" y="21710"/>
                            <a:pt x="23624" y="21710"/>
                          </a:cubicBezTo>
                          <a:cubicBezTo>
                            <a:pt x="23624" y="21710"/>
                            <a:pt x="23624" y="21770"/>
                            <a:pt x="23624" y="21770"/>
                          </a:cubicBezTo>
                          <a:cubicBezTo>
                            <a:pt x="23624" y="21830"/>
                            <a:pt x="23624" y="21949"/>
                            <a:pt x="23564" y="22009"/>
                          </a:cubicBezTo>
                          <a:cubicBezTo>
                            <a:pt x="23504" y="22069"/>
                            <a:pt x="23564" y="22189"/>
                            <a:pt x="23504" y="22248"/>
                          </a:cubicBezTo>
                          <a:cubicBezTo>
                            <a:pt x="23504" y="22308"/>
                            <a:pt x="23504" y="22428"/>
                            <a:pt x="23444" y="22488"/>
                          </a:cubicBezTo>
                          <a:cubicBezTo>
                            <a:pt x="23444" y="22547"/>
                            <a:pt x="23444" y="22667"/>
                            <a:pt x="23384" y="22727"/>
                          </a:cubicBezTo>
                          <a:cubicBezTo>
                            <a:pt x="23325" y="22966"/>
                            <a:pt x="23265" y="23205"/>
                            <a:pt x="23205" y="23385"/>
                          </a:cubicBezTo>
                          <a:cubicBezTo>
                            <a:pt x="23145" y="23624"/>
                            <a:pt x="23086" y="23863"/>
                            <a:pt x="23026" y="24102"/>
                          </a:cubicBezTo>
                          <a:cubicBezTo>
                            <a:pt x="22966" y="24342"/>
                            <a:pt x="22906" y="24581"/>
                            <a:pt x="22787" y="24820"/>
                          </a:cubicBezTo>
                          <a:cubicBezTo>
                            <a:pt x="22727" y="25059"/>
                            <a:pt x="22607" y="25298"/>
                            <a:pt x="22547" y="25538"/>
                          </a:cubicBezTo>
                          <a:cubicBezTo>
                            <a:pt x="22547" y="25598"/>
                            <a:pt x="22488" y="25657"/>
                            <a:pt x="22488" y="25777"/>
                          </a:cubicBezTo>
                          <a:cubicBezTo>
                            <a:pt x="22488" y="25837"/>
                            <a:pt x="22428" y="25897"/>
                            <a:pt x="22428" y="26016"/>
                          </a:cubicBezTo>
                          <a:cubicBezTo>
                            <a:pt x="22368" y="26076"/>
                            <a:pt x="22368" y="26136"/>
                            <a:pt x="22308" y="26255"/>
                          </a:cubicBezTo>
                          <a:cubicBezTo>
                            <a:pt x="22248" y="26315"/>
                            <a:pt x="22248" y="26375"/>
                            <a:pt x="22188" y="26495"/>
                          </a:cubicBezTo>
                          <a:cubicBezTo>
                            <a:pt x="22128" y="26614"/>
                            <a:pt x="22128" y="26674"/>
                            <a:pt x="22069" y="26794"/>
                          </a:cubicBezTo>
                          <a:cubicBezTo>
                            <a:pt x="22009" y="26913"/>
                            <a:pt x="22009" y="26973"/>
                            <a:pt x="21949" y="27093"/>
                          </a:cubicBezTo>
                          <a:cubicBezTo>
                            <a:pt x="21889" y="27212"/>
                            <a:pt x="21829" y="27272"/>
                            <a:pt x="21829" y="27392"/>
                          </a:cubicBezTo>
                          <a:cubicBezTo>
                            <a:pt x="21770" y="27511"/>
                            <a:pt x="21710" y="27571"/>
                            <a:pt x="21710" y="27691"/>
                          </a:cubicBezTo>
                          <a:cubicBezTo>
                            <a:pt x="21650" y="27751"/>
                            <a:pt x="21650" y="27811"/>
                            <a:pt x="21590" y="27870"/>
                          </a:cubicBezTo>
                          <a:cubicBezTo>
                            <a:pt x="21530" y="27930"/>
                            <a:pt x="21530" y="27990"/>
                            <a:pt x="21471" y="28050"/>
                          </a:cubicBezTo>
                          <a:cubicBezTo>
                            <a:pt x="21411" y="28109"/>
                            <a:pt x="21411" y="28169"/>
                            <a:pt x="21351" y="28229"/>
                          </a:cubicBezTo>
                          <a:cubicBezTo>
                            <a:pt x="21291" y="28289"/>
                            <a:pt x="21291" y="28349"/>
                            <a:pt x="21231" y="28408"/>
                          </a:cubicBezTo>
                          <a:cubicBezTo>
                            <a:pt x="21052" y="28707"/>
                            <a:pt x="20873" y="29066"/>
                            <a:pt x="20693" y="29425"/>
                          </a:cubicBezTo>
                          <a:cubicBezTo>
                            <a:pt x="20514" y="29784"/>
                            <a:pt x="20274" y="30083"/>
                            <a:pt x="20095" y="30442"/>
                          </a:cubicBezTo>
                          <a:cubicBezTo>
                            <a:pt x="19856" y="30801"/>
                            <a:pt x="19676" y="31100"/>
                            <a:pt x="19437" y="31459"/>
                          </a:cubicBezTo>
                          <a:cubicBezTo>
                            <a:pt x="19198" y="31817"/>
                            <a:pt x="18959" y="32116"/>
                            <a:pt x="18720" y="32475"/>
                          </a:cubicBezTo>
                          <a:cubicBezTo>
                            <a:pt x="18660" y="32535"/>
                            <a:pt x="18660" y="32595"/>
                            <a:pt x="18600" y="32655"/>
                          </a:cubicBezTo>
                          <a:cubicBezTo>
                            <a:pt x="18540" y="32715"/>
                            <a:pt x="18540" y="32774"/>
                            <a:pt x="18480" y="32834"/>
                          </a:cubicBezTo>
                          <a:cubicBezTo>
                            <a:pt x="18420" y="32894"/>
                            <a:pt x="18420" y="32954"/>
                            <a:pt x="18361" y="33014"/>
                          </a:cubicBezTo>
                          <a:cubicBezTo>
                            <a:pt x="18301" y="33074"/>
                            <a:pt x="18301" y="33133"/>
                            <a:pt x="18241" y="33193"/>
                          </a:cubicBezTo>
                          <a:cubicBezTo>
                            <a:pt x="17822" y="33731"/>
                            <a:pt x="17464" y="34269"/>
                            <a:pt x="16985" y="34808"/>
                          </a:cubicBezTo>
                          <a:cubicBezTo>
                            <a:pt x="16566" y="35346"/>
                            <a:pt x="16148" y="35884"/>
                            <a:pt x="15669" y="36482"/>
                          </a:cubicBezTo>
                          <a:cubicBezTo>
                            <a:pt x="15191" y="37081"/>
                            <a:pt x="14772" y="37619"/>
                            <a:pt x="14294" y="38217"/>
                          </a:cubicBezTo>
                          <a:cubicBezTo>
                            <a:pt x="13875" y="38695"/>
                            <a:pt x="13397" y="39293"/>
                            <a:pt x="12858" y="39891"/>
                          </a:cubicBezTo>
                          <a:moveTo>
                            <a:pt x="11722" y="39114"/>
                          </a:moveTo>
                          <a:lnTo>
                            <a:pt x="12260" y="39473"/>
                          </a:lnTo>
                          <a:cubicBezTo>
                            <a:pt x="12798" y="38875"/>
                            <a:pt x="13277" y="38277"/>
                            <a:pt x="13756" y="37678"/>
                          </a:cubicBezTo>
                          <a:cubicBezTo>
                            <a:pt x="14234" y="37081"/>
                            <a:pt x="14712" y="36542"/>
                            <a:pt x="15191" y="35944"/>
                          </a:cubicBezTo>
                          <a:cubicBezTo>
                            <a:pt x="15669" y="35406"/>
                            <a:pt x="16088" y="34808"/>
                            <a:pt x="16507" y="34269"/>
                          </a:cubicBezTo>
                          <a:cubicBezTo>
                            <a:pt x="16925" y="33731"/>
                            <a:pt x="17344" y="33193"/>
                            <a:pt x="17703" y="32655"/>
                          </a:cubicBezTo>
                          <a:cubicBezTo>
                            <a:pt x="17763" y="32595"/>
                            <a:pt x="17763" y="32535"/>
                            <a:pt x="17822" y="32475"/>
                          </a:cubicBezTo>
                          <a:cubicBezTo>
                            <a:pt x="17882" y="32415"/>
                            <a:pt x="17882" y="32356"/>
                            <a:pt x="17942" y="32296"/>
                          </a:cubicBezTo>
                          <a:cubicBezTo>
                            <a:pt x="18002" y="32236"/>
                            <a:pt x="18002" y="32176"/>
                            <a:pt x="18062" y="32116"/>
                          </a:cubicBezTo>
                          <a:cubicBezTo>
                            <a:pt x="18121" y="32057"/>
                            <a:pt x="18121" y="31997"/>
                            <a:pt x="18181" y="31937"/>
                          </a:cubicBezTo>
                          <a:cubicBezTo>
                            <a:pt x="18420" y="31578"/>
                            <a:pt x="18660" y="31220"/>
                            <a:pt x="18899" y="30920"/>
                          </a:cubicBezTo>
                          <a:cubicBezTo>
                            <a:pt x="19138" y="30561"/>
                            <a:pt x="19377" y="30262"/>
                            <a:pt x="19557" y="29904"/>
                          </a:cubicBezTo>
                          <a:cubicBezTo>
                            <a:pt x="19796" y="29545"/>
                            <a:pt x="19975" y="29246"/>
                            <a:pt x="20155" y="28887"/>
                          </a:cubicBezTo>
                          <a:cubicBezTo>
                            <a:pt x="20334" y="28528"/>
                            <a:pt x="20514" y="28229"/>
                            <a:pt x="20693" y="27930"/>
                          </a:cubicBezTo>
                          <a:cubicBezTo>
                            <a:pt x="20753" y="27870"/>
                            <a:pt x="20753" y="27811"/>
                            <a:pt x="20813" y="27751"/>
                          </a:cubicBezTo>
                          <a:cubicBezTo>
                            <a:pt x="20873" y="27691"/>
                            <a:pt x="20873" y="27631"/>
                            <a:pt x="20933" y="27571"/>
                          </a:cubicBezTo>
                          <a:cubicBezTo>
                            <a:pt x="20992" y="27511"/>
                            <a:pt x="20992" y="27452"/>
                            <a:pt x="21052" y="27392"/>
                          </a:cubicBezTo>
                          <a:cubicBezTo>
                            <a:pt x="21112" y="27332"/>
                            <a:pt x="21112" y="27272"/>
                            <a:pt x="21172" y="27212"/>
                          </a:cubicBezTo>
                          <a:cubicBezTo>
                            <a:pt x="21231" y="27093"/>
                            <a:pt x="21291" y="27033"/>
                            <a:pt x="21291" y="26913"/>
                          </a:cubicBezTo>
                          <a:cubicBezTo>
                            <a:pt x="21351" y="26794"/>
                            <a:pt x="21411" y="26734"/>
                            <a:pt x="21411" y="26614"/>
                          </a:cubicBezTo>
                          <a:cubicBezTo>
                            <a:pt x="21471" y="26495"/>
                            <a:pt x="21471" y="26435"/>
                            <a:pt x="21530" y="26315"/>
                          </a:cubicBezTo>
                          <a:cubicBezTo>
                            <a:pt x="21590" y="26196"/>
                            <a:pt x="21590" y="26136"/>
                            <a:pt x="21650" y="26016"/>
                          </a:cubicBezTo>
                          <a:cubicBezTo>
                            <a:pt x="21710" y="25956"/>
                            <a:pt x="21710" y="25897"/>
                            <a:pt x="21710" y="25777"/>
                          </a:cubicBezTo>
                          <a:cubicBezTo>
                            <a:pt x="21710" y="25717"/>
                            <a:pt x="21770" y="25657"/>
                            <a:pt x="21770" y="25538"/>
                          </a:cubicBezTo>
                          <a:cubicBezTo>
                            <a:pt x="21770" y="25478"/>
                            <a:pt x="21829" y="25418"/>
                            <a:pt x="21829" y="25298"/>
                          </a:cubicBezTo>
                          <a:cubicBezTo>
                            <a:pt x="21829" y="25239"/>
                            <a:pt x="21889" y="25179"/>
                            <a:pt x="21889" y="25059"/>
                          </a:cubicBezTo>
                          <a:cubicBezTo>
                            <a:pt x="21949" y="24820"/>
                            <a:pt x="22069" y="24581"/>
                            <a:pt x="22128" y="24342"/>
                          </a:cubicBezTo>
                          <a:cubicBezTo>
                            <a:pt x="22188" y="24102"/>
                            <a:pt x="22248" y="23863"/>
                            <a:pt x="22308" y="23624"/>
                          </a:cubicBezTo>
                          <a:cubicBezTo>
                            <a:pt x="22368" y="23385"/>
                            <a:pt x="22428" y="23145"/>
                            <a:pt x="22488" y="22906"/>
                          </a:cubicBezTo>
                          <a:cubicBezTo>
                            <a:pt x="22547" y="22667"/>
                            <a:pt x="22547" y="22428"/>
                            <a:pt x="22607" y="22189"/>
                          </a:cubicBezTo>
                          <a:cubicBezTo>
                            <a:pt x="22607" y="22129"/>
                            <a:pt x="22607" y="22129"/>
                            <a:pt x="22607" y="22069"/>
                          </a:cubicBezTo>
                          <a:cubicBezTo>
                            <a:pt x="22607" y="22009"/>
                            <a:pt x="22607" y="22009"/>
                            <a:pt x="22607" y="21949"/>
                          </a:cubicBezTo>
                          <a:cubicBezTo>
                            <a:pt x="22607" y="21890"/>
                            <a:pt x="22607" y="21890"/>
                            <a:pt x="22607" y="21830"/>
                          </a:cubicBezTo>
                          <a:cubicBezTo>
                            <a:pt x="22607" y="21770"/>
                            <a:pt x="22607" y="21770"/>
                            <a:pt x="22607" y="21710"/>
                          </a:cubicBezTo>
                          <a:cubicBezTo>
                            <a:pt x="22607" y="21650"/>
                            <a:pt x="22607" y="21590"/>
                            <a:pt x="22607" y="21590"/>
                          </a:cubicBezTo>
                          <a:cubicBezTo>
                            <a:pt x="22607" y="21590"/>
                            <a:pt x="22607" y="21471"/>
                            <a:pt x="22607" y="21471"/>
                          </a:cubicBezTo>
                          <a:cubicBezTo>
                            <a:pt x="22607" y="21411"/>
                            <a:pt x="22607" y="21351"/>
                            <a:pt x="22607" y="21351"/>
                          </a:cubicBezTo>
                          <a:cubicBezTo>
                            <a:pt x="22607" y="21291"/>
                            <a:pt x="22607" y="21231"/>
                            <a:pt x="22607" y="21231"/>
                          </a:cubicBezTo>
                          <a:cubicBezTo>
                            <a:pt x="22607" y="21231"/>
                            <a:pt x="22607" y="21231"/>
                            <a:pt x="22607" y="21172"/>
                          </a:cubicBezTo>
                          <a:cubicBezTo>
                            <a:pt x="22607" y="21172"/>
                            <a:pt x="22607" y="21112"/>
                            <a:pt x="22607" y="21112"/>
                          </a:cubicBezTo>
                          <a:cubicBezTo>
                            <a:pt x="22607" y="21112"/>
                            <a:pt x="22607" y="21052"/>
                            <a:pt x="22607" y="21052"/>
                          </a:cubicBezTo>
                          <a:cubicBezTo>
                            <a:pt x="22607" y="21052"/>
                            <a:pt x="22607" y="21052"/>
                            <a:pt x="22607" y="20992"/>
                          </a:cubicBezTo>
                          <a:cubicBezTo>
                            <a:pt x="22607" y="20873"/>
                            <a:pt x="22607" y="20813"/>
                            <a:pt x="22607" y="20693"/>
                          </a:cubicBezTo>
                          <a:cubicBezTo>
                            <a:pt x="22607" y="20574"/>
                            <a:pt x="22607" y="20514"/>
                            <a:pt x="22607" y="20394"/>
                          </a:cubicBezTo>
                          <a:cubicBezTo>
                            <a:pt x="22607" y="20275"/>
                            <a:pt x="22607" y="20215"/>
                            <a:pt x="22607" y="20095"/>
                          </a:cubicBezTo>
                          <a:cubicBezTo>
                            <a:pt x="22607" y="19976"/>
                            <a:pt x="22607" y="19916"/>
                            <a:pt x="22607" y="19796"/>
                          </a:cubicBezTo>
                          <a:cubicBezTo>
                            <a:pt x="22607" y="19676"/>
                            <a:pt x="22607" y="19557"/>
                            <a:pt x="22547" y="19437"/>
                          </a:cubicBezTo>
                          <a:cubicBezTo>
                            <a:pt x="22547" y="19318"/>
                            <a:pt x="22488" y="19198"/>
                            <a:pt x="22488" y="19079"/>
                          </a:cubicBezTo>
                          <a:cubicBezTo>
                            <a:pt x="22488" y="18959"/>
                            <a:pt x="22428" y="18839"/>
                            <a:pt x="22428" y="18720"/>
                          </a:cubicBezTo>
                          <a:cubicBezTo>
                            <a:pt x="22428" y="18600"/>
                            <a:pt x="22368" y="18481"/>
                            <a:pt x="22368" y="18361"/>
                          </a:cubicBezTo>
                          <a:cubicBezTo>
                            <a:pt x="22368" y="18301"/>
                            <a:pt x="22308" y="18181"/>
                            <a:pt x="22308" y="18122"/>
                          </a:cubicBezTo>
                          <a:cubicBezTo>
                            <a:pt x="22308" y="18062"/>
                            <a:pt x="22248" y="17942"/>
                            <a:pt x="22248" y="17882"/>
                          </a:cubicBezTo>
                          <a:cubicBezTo>
                            <a:pt x="22248" y="17822"/>
                            <a:pt x="22188" y="17703"/>
                            <a:pt x="22188" y="17643"/>
                          </a:cubicBezTo>
                          <a:cubicBezTo>
                            <a:pt x="22188" y="17583"/>
                            <a:pt x="22128" y="17464"/>
                            <a:pt x="22128" y="17404"/>
                          </a:cubicBezTo>
                          <a:cubicBezTo>
                            <a:pt x="22128" y="17344"/>
                            <a:pt x="22069" y="17284"/>
                            <a:pt x="22069" y="17225"/>
                          </a:cubicBezTo>
                          <a:cubicBezTo>
                            <a:pt x="22069" y="17165"/>
                            <a:pt x="22009" y="17105"/>
                            <a:pt x="22009" y="17045"/>
                          </a:cubicBezTo>
                          <a:cubicBezTo>
                            <a:pt x="22009" y="16985"/>
                            <a:pt x="21949" y="16926"/>
                            <a:pt x="21949" y="16866"/>
                          </a:cubicBezTo>
                          <a:cubicBezTo>
                            <a:pt x="21949" y="16806"/>
                            <a:pt x="21889" y="16746"/>
                            <a:pt x="21889" y="16686"/>
                          </a:cubicBezTo>
                          <a:cubicBezTo>
                            <a:pt x="21829" y="16567"/>
                            <a:pt x="21770" y="16447"/>
                            <a:pt x="21770" y="16327"/>
                          </a:cubicBezTo>
                          <a:cubicBezTo>
                            <a:pt x="21710" y="16208"/>
                            <a:pt x="21650" y="16088"/>
                            <a:pt x="21590" y="15968"/>
                          </a:cubicBezTo>
                          <a:cubicBezTo>
                            <a:pt x="21530" y="15849"/>
                            <a:pt x="21471" y="15729"/>
                            <a:pt x="21411" y="15610"/>
                          </a:cubicBezTo>
                          <a:cubicBezTo>
                            <a:pt x="21351" y="15490"/>
                            <a:pt x="21291" y="15370"/>
                            <a:pt x="21231" y="15251"/>
                          </a:cubicBezTo>
                          <a:cubicBezTo>
                            <a:pt x="21172" y="15191"/>
                            <a:pt x="21172" y="15131"/>
                            <a:pt x="21112" y="15072"/>
                          </a:cubicBezTo>
                          <a:cubicBezTo>
                            <a:pt x="21052" y="15012"/>
                            <a:pt x="21052" y="14952"/>
                            <a:pt x="20992" y="14892"/>
                          </a:cubicBezTo>
                          <a:cubicBezTo>
                            <a:pt x="20933" y="14832"/>
                            <a:pt x="20933" y="14773"/>
                            <a:pt x="20873" y="14713"/>
                          </a:cubicBezTo>
                          <a:cubicBezTo>
                            <a:pt x="20813" y="14653"/>
                            <a:pt x="20813" y="14593"/>
                            <a:pt x="20753" y="14533"/>
                          </a:cubicBezTo>
                          <a:cubicBezTo>
                            <a:pt x="20693" y="14414"/>
                            <a:pt x="20633" y="14354"/>
                            <a:pt x="20574" y="14234"/>
                          </a:cubicBezTo>
                          <a:cubicBezTo>
                            <a:pt x="20514" y="14114"/>
                            <a:pt x="20454" y="14055"/>
                            <a:pt x="20394" y="13935"/>
                          </a:cubicBezTo>
                          <a:cubicBezTo>
                            <a:pt x="20334" y="13815"/>
                            <a:pt x="20274" y="13756"/>
                            <a:pt x="20215" y="13636"/>
                          </a:cubicBezTo>
                          <a:cubicBezTo>
                            <a:pt x="20155" y="13516"/>
                            <a:pt x="20095" y="13457"/>
                            <a:pt x="20035" y="13337"/>
                          </a:cubicBezTo>
                          <a:cubicBezTo>
                            <a:pt x="19975" y="13277"/>
                            <a:pt x="19916" y="13218"/>
                            <a:pt x="19856" y="13098"/>
                          </a:cubicBezTo>
                          <a:cubicBezTo>
                            <a:pt x="19796" y="13038"/>
                            <a:pt x="19736" y="12978"/>
                            <a:pt x="19676" y="12859"/>
                          </a:cubicBezTo>
                          <a:cubicBezTo>
                            <a:pt x="19617" y="12799"/>
                            <a:pt x="19557" y="12739"/>
                            <a:pt x="19497" y="12619"/>
                          </a:cubicBezTo>
                          <a:cubicBezTo>
                            <a:pt x="19437" y="12559"/>
                            <a:pt x="19377" y="12500"/>
                            <a:pt x="19318" y="12380"/>
                          </a:cubicBezTo>
                          <a:cubicBezTo>
                            <a:pt x="18839" y="11782"/>
                            <a:pt x="18301" y="11124"/>
                            <a:pt x="17763" y="10526"/>
                          </a:cubicBezTo>
                          <a:cubicBezTo>
                            <a:pt x="17165" y="9868"/>
                            <a:pt x="16566" y="9270"/>
                            <a:pt x="15849" y="8612"/>
                          </a:cubicBezTo>
                          <a:cubicBezTo>
                            <a:pt x="15191" y="7954"/>
                            <a:pt x="14413" y="7297"/>
                            <a:pt x="13636" y="6639"/>
                          </a:cubicBezTo>
                          <a:cubicBezTo>
                            <a:pt x="12858" y="5981"/>
                            <a:pt x="11961" y="5323"/>
                            <a:pt x="11064" y="4605"/>
                          </a:cubicBezTo>
                          <a:lnTo>
                            <a:pt x="10466" y="5323"/>
                          </a:lnTo>
                          <a:cubicBezTo>
                            <a:pt x="11483" y="6100"/>
                            <a:pt x="12380" y="6818"/>
                            <a:pt x="13217" y="7536"/>
                          </a:cubicBezTo>
                          <a:cubicBezTo>
                            <a:pt x="14055" y="8253"/>
                            <a:pt x="14892" y="8971"/>
                            <a:pt x="15610" y="9689"/>
                          </a:cubicBezTo>
                          <a:cubicBezTo>
                            <a:pt x="16327" y="10406"/>
                            <a:pt x="16985" y="11064"/>
                            <a:pt x="17583" y="11722"/>
                          </a:cubicBezTo>
                          <a:cubicBezTo>
                            <a:pt x="18181" y="12380"/>
                            <a:pt x="18720" y="13038"/>
                            <a:pt x="19198" y="13756"/>
                          </a:cubicBezTo>
                          <a:cubicBezTo>
                            <a:pt x="19258" y="13815"/>
                            <a:pt x="19318" y="13875"/>
                            <a:pt x="19318" y="13935"/>
                          </a:cubicBezTo>
                          <a:cubicBezTo>
                            <a:pt x="19318" y="13995"/>
                            <a:pt x="19437" y="14055"/>
                            <a:pt x="19437" y="14114"/>
                          </a:cubicBezTo>
                          <a:cubicBezTo>
                            <a:pt x="19497" y="14174"/>
                            <a:pt x="19557" y="14234"/>
                            <a:pt x="19557" y="14294"/>
                          </a:cubicBezTo>
                          <a:cubicBezTo>
                            <a:pt x="19617" y="14354"/>
                            <a:pt x="19617" y="14414"/>
                            <a:pt x="19676" y="14473"/>
                          </a:cubicBezTo>
                          <a:cubicBezTo>
                            <a:pt x="19736" y="14533"/>
                            <a:pt x="19796" y="14653"/>
                            <a:pt x="19856" y="14713"/>
                          </a:cubicBezTo>
                          <a:cubicBezTo>
                            <a:pt x="19916" y="14773"/>
                            <a:pt x="19975" y="14892"/>
                            <a:pt x="20035" y="14952"/>
                          </a:cubicBezTo>
                          <a:cubicBezTo>
                            <a:pt x="20095" y="15012"/>
                            <a:pt x="20155" y="15131"/>
                            <a:pt x="20215" y="15191"/>
                          </a:cubicBezTo>
                          <a:cubicBezTo>
                            <a:pt x="20274" y="15251"/>
                            <a:pt x="20334" y="15370"/>
                            <a:pt x="20334" y="15430"/>
                          </a:cubicBezTo>
                          <a:cubicBezTo>
                            <a:pt x="20394" y="15490"/>
                            <a:pt x="20394" y="15550"/>
                            <a:pt x="20454" y="15610"/>
                          </a:cubicBezTo>
                          <a:cubicBezTo>
                            <a:pt x="20514" y="15669"/>
                            <a:pt x="20514" y="15729"/>
                            <a:pt x="20574" y="15789"/>
                          </a:cubicBezTo>
                          <a:cubicBezTo>
                            <a:pt x="20633" y="15849"/>
                            <a:pt x="20633" y="15909"/>
                            <a:pt x="20693" y="15968"/>
                          </a:cubicBezTo>
                          <a:cubicBezTo>
                            <a:pt x="20753" y="16028"/>
                            <a:pt x="20753" y="16088"/>
                            <a:pt x="20813" y="16148"/>
                          </a:cubicBezTo>
                          <a:cubicBezTo>
                            <a:pt x="20873" y="16208"/>
                            <a:pt x="20873" y="16327"/>
                            <a:pt x="20933" y="16387"/>
                          </a:cubicBezTo>
                          <a:cubicBezTo>
                            <a:pt x="20992" y="16447"/>
                            <a:pt x="20992" y="16567"/>
                            <a:pt x="21052" y="16627"/>
                          </a:cubicBezTo>
                          <a:cubicBezTo>
                            <a:pt x="21112" y="16686"/>
                            <a:pt x="21112" y="16806"/>
                            <a:pt x="21172" y="16866"/>
                          </a:cubicBezTo>
                          <a:cubicBezTo>
                            <a:pt x="21231" y="16926"/>
                            <a:pt x="21231" y="17045"/>
                            <a:pt x="21291" y="17105"/>
                          </a:cubicBezTo>
                          <a:cubicBezTo>
                            <a:pt x="21351" y="17225"/>
                            <a:pt x="21351" y="17344"/>
                            <a:pt x="21411" y="17464"/>
                          </a:cubicBezTo>
                          <a:cubicBezTo>
                            <a:pt x="21471" y="17583"/>
                            <a:pt x="21471" y="17703"/>
                            <a:pt x="21530" y="17763"/>
                          </a:cubicBezTo>
                          <a:cubicBezTo>
                            <a:pt x="21590" y="17822"/>
                            <a:pt x="21590" y="18002"/>
                            <a:pt x="21650" y="18062"/>
                          </a:cubicBezTo>
                          <a:cubicBezTo>
                            <a:pt x="21710" y="18181"/>
                            <a:pt x="21710" y="18301"/>
                            <a:pt x="21710" y="18361"/>
                          </a:cubicBezTo>
                          <a:cubicBezTo>
                            <a:pt x="21710" y="18421"/>
                            <a:pt x="21770" y="18540"/>
                            <a:pt x="21770" y="18600"/>
                          </a:cubicBezTo>
                          <a:cubicBezTo>
                            <a:pt x="21770" y="18660"/>
                            <a:pt x="21829" y="18780"/>
                            <a:pt x="21829" y="18839"/>
                          </a:cubicBezTo>
                          <a:cubicBezTo>
                            <a:pt x="21829" y="18899"/>
                            <a:pt x="21889" y="19019"/>
                            <a:pt x="21889" y="19079"/>
                          </a:cubicBezTo>
                          <a:cubicBezTo>
                            <a:pt x="21889" y="19138"/>
                            <a:pt x="21889" y="19258"/>
                            <a:pt x="21949" y="19318"/>
                          </a:cubicBezTo>
                          <a:cubicBezTo>
                            <a:pt x="21949" y="19437"/>
                            <a:pt x="21949" y="19497"/>
                            <a:pt x="22009" y="19617"/>
                          </a:cubicBezTo>
                          <a:cubicBezTo>
                            <a:pt x="22009" y="19736"/>
                            <a:pt x="22009" y="19796"/>
                            <a:pt x="22009" y="19916"/>
                          </a:cubicBezTo>
                          <a:cubicBezTo>
                            <a:pt x="22009" y="20035"/>
                            <a:pt x="22009" y="20095"/>
                            <a:pt x="22009" y="20215"/>
                          </a:cubicBezTo>
                          <a:cubicBezTo>
                            <a:pt x="22009" y="20335"/>
                            <a:pt x="22009" y="20394"/>
                            <a:pt x="22009" y="20514"/>
                          </a:cubicBezTo>
                          <a:cubicBezTo>
                            <a:pt x="22009" y="20574"/>
                            <a:pt x="22009" y="20574"/>
                            <a:pt x="22009" y="20574"/>
                          </a:cubicBezTo>
                          <a:cubicBezTo>
                            <a:pt x="22009" y="20634"/>
                            <a:pt x="22009" y="20634"/>
                            <a:pt x="22009" y="20634"/>
                          </a:cubicBezTo>
                          <a:cubicBezTo>
                            <a:pt x="22009" y="20693"/>
                            <a:pt x="22009" y="20693"/>
                            <a:pt x="22009" y="20693"/>
                          </a:cubicBezTo>
                          <a:cubicBezTo>
                            <a:pt x="22009" y="20693"/>
                            <a:pt x="22009" y="20753"/>
                            <a:pt x="22009" y="20753"/>
                          </a:cubicBezTo>
                          <a:cubicBezTo>
                            <a:pt x="22009" y="20813"/>
                            <a:pt x="22009" y="20933"/>
                            <a:pt x="22009" y="20992"/>
                          </a:cubicBezTo>
                          <a:cubicBezTo>
                            <a:pt x="22009" y="21052"/>
                            <a:pt x="22009" y="21172"/>
                            <a:pt x="22009" y="21231"/>
                          </a:cubicBezTo>
                          <a:cubicBezTo>
                            <a:pt x="22009" y="21291"/>
                            <a:pt x="22009" y="21411"/>
                            <a:pt x="22009" y="21471"/>
                          </a:cubicBezTo>
                          <a:cubicBezTo>
                            <a:pt x="22009" y="21530"/>
                            <a:pt x="22009" y="21650"/>
                            <a:pt x="22009" y="21710"/>
                          </a:cubicBezTo>
                          <a:cubicBezTo>
                            <a:pt x="22009" y="21770"/>
                            <a:pt x="22009" y="21770"/>
                            <a:pt x="22009" y="21830"/>
                          </a:cubicBezTo>
                          <a:cubicBezTo>
                            <a:pt x="22009" y="21890"/>
                            <a:pt x="22009" y="21890"/>
                            <a:pt x="22009" y="21949"/>
                          </a:cubicBezTo>
                          <a:cubicBezTo>
                            <a:pt x="22009" y="22009"/>
                            <a:pt x="22009" y="22009"/>
                            <a:pt x="22009" y="22069"/>
                          </a:cubicBezTo>
                          <a:cubicBezTo>
                            <a:pt x="22009" y="22129"/>
                            <a:pt x="22009" y="22129"/>
                            <a:pt x="22009" y="22189"/>
                          </a:cubicBezTo>
                          <a:cubicBezTo>
                            <a:pt x="22009" y="22368"/>
                            <a:pt x="21949" y="22547"/>
                            <a:pt x="21949" y="22727"/>
                          </a:cubicBezTo>
                          <a:cubicBezTo>
                            <a:pt x="21949" y="22906"/>
                            <a:pt x="21889" y="23085"/>
                            <a:pt x="21829" y="23265"/>
                          </a:cubicBezTo>
                          <a:cubicBezTo>
                            <a:pt x="21770" y="23444"/>
                            <a:pt x="21710" y="23624"/>
                            <a:pt x="21710" y="23803"/>
                          </a:cubicBezTo>
                          <a:cubicBezTo>
                            <a:pt x="21650" y="23983"/>
                            <a:pt x="21590" y="24162"/>
                            <a:pt x="21530" y="24342"/>
                          </a:cubicBezTo>
                          <a:cubicBezTo>
                            <a:pt x="21530" y="24401"/>
                            <a:pt x="21471" y="24521"/>
                            <a:pt x="21471" y="24581"/>
                          </a:cubicBezTo>
                          <a:cubicBezTo>
                            <a:pt x="21471" y="24641"/>
                            <a:pt x="21411" y="24760"/>
                            <a:pt x="21411" y="24820"/>
                          </a:cubicBezTo>
                          <a:cubicBezTo>
                            <a:pt x="21411" y="24880"/>
                            <a:pt x="21351" y="24999"/>
                            <a:pt x="21351" y="25059"/>
                          </a:cubicBezTo>
                          <a:cubicBezTo>
                            <a:pt x="21351" y="25119"/>
                            <a:pt x="21291" y="25239"/>
                            <a:pt x="21291" y="25298"/>
                          </a:cubicBezTo>
                          <a:cubicBezTo>
                            <a:pt x="21231" y="25418"/>
                            <a:pt x="21231" y="25478"/>
                            <a:pt x="21172" y="25598"/>
                          </a:cubicBezTo>
                          <a:cubicBezTo>
                            <a:pt x="21112" y="25717"/>
                            <a:pt x="21112" y="25777"/>
                            <a:pt x="21052" y="25897"/>
                          </a:cubicBezTo>
                          <a:cubicBezTo>
                            <a:pt x="20992" y="26016"/>
                            <a:pt x="20992" y="26076"/>
                            <a:pt x="20933" y="26196"/>
                          </a:cubicBezTo>
                          <a:cubicBezTo>
                            <a:pt x="20873" y="26315"/>
                            <a:pt x="20813" y="26375"/>
                            <a:pt x="20813" y="26495"/>
                          </a:cubicBezTo>
                          <a:cubicBezTo>
                            <a:pt x="20753" y="26554"/>
                            <a:pt x="20753" y="26614"/>
                            <a:pt x="20693" y="26674"/>
                          </a:cubicBezTo>
                          <a:cubicBezTo>
                            <a:pt x="20633" y="26734"/>
                            <a:pt x="20633" y="26794"/>
                            <a:pt x="20574" y="26853"/>
                          </a:cubicBezTo>
                          <a:cubicBezTo>
                            <a:pt x="20514" y="26913"/>
                            <a:pt x="20514" y="26973"/>
                            <a:pt x="20454" y="27093"/>
                          </a:cubicBezTo>
                          <a:cubicBezTo>
                            <a:pt x="20394" y="27212"/>
                            <a:pt x="20394" y="27212"/>
                            <a:pt x="20334" y="27332"/>
                          </a:cubicBezTo>
                          <a:cubicBezTo>
                            <a:pt x="20155" y="27631"/>
                            <a:pt x="19975" y="27990"/>
                            <a:pt x="19796" y="28289"/>
                          </a:cubicBezTo>
                          <a:cubicBezTo>
                            <a:pt x="19617" y="28648"/>
                            <a:pt x="19377" y="28947"/>
                            <a:pt x="19198" y="29306"/>
                          </a:cubicBezTo>
                          <a:cubicBezTo>
                            <a:pt x="18959" y="29665"/>
                            <a:pt x="18779" y="29963"/>
                            <a:pt x="18540" y="30322"/>
                          </a:cubicBezTo>
                          <a:cubicBezTo>
                            <a:pt x="18301" y="30681"/>
                            <a:pt x="18062" y="31040"/>
                            <a:pt x="17822" y="31339"/>
                          </a:cubicBezTo>
                          <a:cubicBezTo>
                            <a:pt x="17763" y="31399"/>
                            <a:pt x="17763" y="31459"/>
                            <a:pt x="17703" y="31519"/>
                          </a:cubicBezTo>
                          <a:cubicBezTo>
                            <a:pt x="17643" y="31578"/>
                            <a:pt x="17643" y="31638"/>
                            <a:pt x="17583" y="31698"/>
                          </a:cubicBezTo>
                          <a:cubicBezTo>
                            <a:pt x="17523" y="31758"/>
                            <a:pt x="17523" y="31817"/>
                            <a:pt x="17464" y="31877"/>
                          </a:cubicBezTo>
                          <a:cubicBezTo>
                            <a:pt x="17404" y="31937"/>
                            <a:pt x="17404" y="31997"/>
                            <a:pt x="17344" y="32057"/>
                          </a:cubicBezTo>
                          <a:cubicBezTo>
                            <a:pt x="16985" y="32595"/>
                            <a:pt x="16566" y="33133"/>
                            <a:pt x="16148" y="33671"/>
                          </a:cubicBezTo>
                          <a:cubicBezTo>
                            <a:pt x="15729" y="34210"/>
                            <a:pt x="15311" y="34748"/>
                            <a:pt x="14832" y="35346"/>
                          </a:cubicBezTo>
                          <a:cubicBezTo>
                            <a:pt x="14354" y="35884"/>
                            <a:pt x="13935" y="36482"/>
                            <a:pt x="13397" y="37081"/>
                          </a:cubicBezTo>
                          <a:cubicBezTo>
                            <a:pt x="12739" y="37918"/>
                            <a:pt x="12260" y="38516"/>
                            <a:pt x="11722" y="39114"/>
                          </a:cubicBezTo>
                          <a:moveTo>
                            <a:pt x="11244" y="41865"/>
                          </a:moveTo>
                          <a:lnTo>
                            <a:pt x="11782" y="42224"/>
                          </a:lnTo>
                          <a:cubicBezTo>
                            <a:pt x="11842" y="42104"/>
                            <a:pt x="11961" y="42045"/>
                            <a:pt x="12021" y="41925"/>
                          </a:cubicBezTo>
                          <a:cubicBezTo>
                            <a:pt x="12081" y="41805"/>
                            <a:pt x="12201" y="41745"/>
                            <a:pt x="12260" y="41626"/>
                          </a:cubicBezTo>
                          <a:cubicBezTo>
                            <a:pt x="12320" y="41506"/>
                            <a:pt x="12440" y="41446"/>
                            <a:pt x="12500" y="41327"/>
                          </a:cubicBezTo>
                          <a:cubicBezTo>
                            <a:pt x="12559" y="41207"/>
                            <a:pt x="12679" y="41147"/>
                            <a:pt x="12739" y="41028"/>
                          </a:cubicBezTo>
                          <a:lnTo>
                            <a:pt x="12201" y="40669"/>
                          </a:lnTo>
                          <a:cubicBezTo>
                            <a:pt x="12141" y="40789"/>
                            <a:pt x="12021" y="40848"/>
                            <a:pt x="11961" y="40968"/>
                          </a:cubicBezTo>
                          <a:cubicBezTo>
                            <a:pt x="11902" y="41088"/>
                            <a:pt x="11782" y="41147"/>
                            <a:pt x="11722" y="41267"/>
                          </a:cubicBezTo>
                          <a:cubicBezTo>
                            <a:pt x="11662" y="41386"/>
                            <a:pt x="11543" y="41446"/>
                            <a:pt x="11483" y="41566"/>
                          </a:cubicBezTo>
                          <a:cubicBezTo>
                            <a:pt x="11423" y="41626"/>
                            <a:pt x="11303" y="41745"/>
                            <a:pt x="11244" y="41865"/>
                          </a:cubicBezTo>
                          <a:moveTo>
                            <a:pt x="10048" y="41088"/>
                          </a:moveTo>
                          <a:lnTo>
                            <a:pt x="10586" y="41446"/>
                          </a:lnTo>
                          <a:cubicBezTo>
                            <a:pt x="10645" y="41327"/>
                            <a:pt x="10765" y="41267"/>
                            <a:pt x="10825" y="41147"/>
                          </a:cubicBezTo>
                          <a:cubicBezTo>
                            <a:pt x="10885" y="41028"/>
                            <a:pt x="11004" y="40968"/>
                            <a:pt x="11064" y="40848"/>
                          </a:cubicBezTo>
                          <a:cubicBezTo>
                            <a:pt x="11124" y="40729"/>
                            <a:pt x="11244" y="40669"/>
                            <a:pt x="11303" y="40549"/>
                          </a:cubicBezTo>
                          <a:cubicBezTo>
                            <a:pt x="11363" y="40430"/>
                            <a:pt x="11483" y="40370"/>
                            <a:pt x="11543" y="40250"/>
                          </a:cubicBezTo>
                          <a:lnTo>
                            <a:pt x="11004" y="39891"/>
                          </a:lnTo>
                          <a:cubicBezTo>
                            <a:pt x="10944" y="40011"/>
                            <a:pt x="10825" y="40071"/>
                            <a:pt x="10765" y="40191"/>
                          </a:cubicBezTo>
                          <a:cubicBezTo>
                            <a:pt x="10705" y="40310"/>
                            <a:pt x="10586" y="40370"/>
                            <a:pt x="10526" y="40490"/>
                          </a:cubicBezTo>
                          <a:cubicBezTo>
                            <a:pt x="10466" y="40609"/>
                            <a:pt x="10347" y="40669"/>
                            <a:pt x="10287" y="40789"/>
                          </a:cubicBezTo>
                          <a:cubicBezTo>
                            <a:pt x="10227" y="40908"/>
                            <a:pt x="10167" y="40968"/>
                            <a:pt x="10048" y="41088"/>
                          </a:cubicBezTo>
                          <a:moveTo>
                            <a:pt x="9689" y="43599"/>
                          </a:moveTo>
                          <a:lnTo>
                            <a:pt x="10227" y="43958"/>
                          </a:lnTo>
                          <a:cubicBezTo>
                            <a:pt x="10227" y="43899"/>
                            <a:pt x="10287" y="43899"/>
                            <a:pt x="10287" y="43839"/>
                          </a:cubicBezTo>
                          <a:cubicBezTo>
                            <a:pt x="10287" y="43779"/>
                            <a:pt x="10347" y="43779"/>
                            <a:pt x="10347" y="43719"/>
                          </a:cubicBezTo>
                          <a:cubicBezTo>
                            <a:pt x="10347" y="43659"/>
                            <a:pt x="10406" y="43659"/>
                            <a:pt x="10406" y="43599"/>
                          </a:cubicBezTo>
                          <a:cubicBezTo>
                            <a:pt x="10406" y="43540"/>
                            <a:pt x="10466" y="43540"/>
                            <a:pt x="10466" y="43480"/>
                          </a:cubicBezTo>
                          <a:lnTo>
                            <a:pt x="10526" y="43420"/>
                          </a:lnTo>
                          <a:cubicBezTo>
                            <a:pt x="10586" y="43360"/>
                            <a:pt x="10586" y="43300"/>
                            <a:pt x="10645" y="43240"/>
                          </a:cubicBezTo>
                          <a:cubicBezTo>
                            <a:pt x="10705" y="43181"/>
                            <a:pt x="10705" y="43121"/>
                            <a:pt x="10765" y="43061"/>
                          </a:cubicBezTo>
                          <a:cubicBezTo>
                            <a:pt x="10825" y="43001"/>
                            <a:pt x="10825" y="42942"/>
                            <a:pt x="10885" y="42882"/>
                          </a:cubicBezTo>
                          <a:cubicBezTo>
                            <a:pt x="10944" y="42822"/>
                            <a:pt x="10944" y="42762"/>
                            <a:pt x="11004" y="42702"/>
                          </a:cubicBezTo>
                          <a:lnTo>
                            <a:pt x="10466" y="42344"/>
                          </a:lnTo>
                          <a:cubicBezTo>
                            <a:pt x="10406" y="42403"/>
                            <a:pt x="10406" y="42463"/>
                            <a:pt x="10347" y="42463"/>
                          </a:cubicBezTo>
                          <a:cubicBezTo>
                            <a:pt x="10287" y="42523"/>
                            <a:pt x="10287" y="42583"/>
                            <a:pt x="10227" y="42583"/>
                          </a:cubicBezTo>
                          <a:cubicBezTo>
                            <a:pt x="10167" y="42643"/>
                            <a:pt x="10167" y="42702"/>
                            <a:pt x="10107" y="42702"/>
                          </a:cubicBezTo>
                          <a:cubicBezTo>
                            <a:pt x="10048" y="42702"/>
                            <a:pt x="10048" y="42822"/>
                            <a:pt x="9988" y="42822"/>
                          </a:cubicBezTo>
                          <a:lnTo>
                            <a:pt x="9928" y="42882"/>
                          </a:lnTo>
                          <a:cubicBezTo>
                            <a:pt x="9868" y="42942"/>
                            <a:pt x="9868" y="42942"/>
                            <a:pt x="9808" y="43001"/>
                          </a:cubicBezTo>
                          <a:cubicBezTo>
                            <a:pt x="9749" y="43061"/>
                            <a:pt x="9749" y="43061"/>
                            <a:pt x="9689" y="43121"/>
                          </a:cubicBezTo>
                          <a:cubicBezTo>
                            <a:pt x="9629" y="43181"/>
                            <a:pt x="9629" y="43181"/>
                            <a:pt x="9569" y="43240"/>
                          </a:cubicBezTo>
                          <a:cubicBezTo>
                            <a:pt x="9509" y="43300"/>
                            <a:pt x="9749" y="43599"/>
                            <a:pt x="9689" y="43599"/>
                          </a:cubicBezTo>
                          <a:moveTo>
                            <a:pt x="8552" y="42882"/>
                          </a:moveTo>
                          <a:lnTo>
                            <a:pt x="9090" y="43240"/>
                          </a:lnTo>
                          <a:cubicBezTo>
                            <a:pt x="9150" y="43181"/>
                            <a:pt x="9150" y="43121"/>
                            <a:pt x="9210" y="43121"/>
                          </a:cubicBezTo>
                          <a:cubicBezTo>
                            <a:pt x="9270" y="43061"/>
                            <a:pt x="9270" y="43001"/>
                            <a:pt x="9330" y="43001"/>
                          </a:cubicBezTo>
                          <a:cubicBezTo>
                            <a:pt x="9390" y="42942"/>
                            <a:pt x="9390" y="42882"/>
                            <a:pt x="9449" y="42882"/>
                          </a:cubicBezTo>
                          <a:cubicBezTo>
                            <a:pt x="9509" y="42822"/>
                            <a:pt x="9509" y="42762"/>
                            <a:pt x="9569" y="42762"/>
                          </a:cubicBezTo>
                          <a:cubicBezTo>
                            <a:pt x="9629" y="42702"/>
                            <a:pt x="9629" y="42702"/>
                            <a:pt x="9689" y="42643"/>
                          </a:cubicBezTo>
                          <a:cubicBezTo>
                            <a:pt x="9749" y="42583"/>
                            <a:pt x="9749" y="42583"/>
                            <a:pt x="9808" y="42523"/>
                          </a:cubicBezTo>
                          <a:cubicBezTo>
                            <a:pt x="9868" y="42463"/>
                            <a:pt x="9868" y="42463"/>
                            <a:pt x="9928" y="42403"/>
                          </a:cubicBezTo>
                          <a:cubicBezTo>
                            <a:pt x="9988" y="42344"/>
                            <a:pt x="9988" y="42344"/>
                            <a:pt x="10048" y="42284"/>
                          </a:cubicBezTo>
                          <a:lnTo>
                            <a:pt x="9509" y="41925"/>
                          </a:lnTo>
                          <a:cubicBezTo>
                            <a:pt x="9449" y="41985"/>
                            <a:pt x="9449" y="41985"/>
                            <a:pt x="9390" y="42045"/>
                          </a:cubicBezTo>
                          <a:cubicBezTo>
                            <a:pt x="9330" y="42104"/>
                            <a:pt x="9330" y="42104"/>
                            <a:pt x="9270" y="42164"/>
                          </a:cubicBezTo>
                          <a:cubicBezTo>
                            <a:pt x="9210" y="42224"/>
                            <a:pt x="9210" y="42224"/>
                            <a:pt x="9150" y="42284"/>
                          </a:cubicBezTo>
                          <a:cubicBezTo>
                            <a:pt x="9090" y="42344"/>
                            <a:pt x="9090" y="42344"/>
                            <a:pt x="9031" y="42403"/>
                          </a:cubicBezTo>
                          <a:cubicBezTo>
                            <a:pt x="8971" y="42463"/>
                            <a:pt x="8971" y="42523"/>
                            <a:pt x="8911" y="42583"/>
                          </a:cubicBezTo>
                          <a:cubicBezTo>
                            <a:pt x="8851" y="42643"/>
                            <a:pt x="8851" y="42702"/>
                            <a:pt x="8791" y="42762"/>
                          </a:cubicBezTo>
                          <a:cubicBezTo>
                            <a:pt x="8732" y="42822"/>
                            <a:pt x="8732" y="42882"/>
                            <a:pt x="8672" y="42942"/>
                          </a:cubicBezTo>
                          <a:cubicBezTo>
                            <a:pt x="8612" y="42762"/>
                            <a:pt x="8552" y="42822"/>
                            <a:pt x="8552" y="42882"/>
                          </a:cubicBezTo>
                          <a:moveTo>
                            <a:pt x="0" y="53109"/>
                          </a:moveTo>
                          <a:lnTo>
                            <a:pt x="1674" y="54185"/>
                          </a:lnTo>
                          <a:lnTo>
                            <a:pt x="1734" y="54125"/>
                          </a:lnTo>
                          <a:cubicBezTo>
                            <a:pt x="2033" y="53707"/>
                            <a:pt x="2392" y="53288"/>
                            <a:pt x="2691" y="52929"/>
                          </a:cubicBezTo>
                          <a:cubicBezTo>
                            <a:pt x="2990" y="52511"/>
                            <a:pt x="3349" y="52152"/>
                            <a:pt x="3648" y="51733"/>
                          </a:cubicBezTo>
                          <a:cubicBezTo>
                            <a:pt x="3947" y="51315"/>
                            <a:pt x="4306" y="50956"/>
                            <a:pt x="4605" y="50597"/>
                          </a:cubicBezTo>
                          <a:cubicBezTo>
                            <a:pt x="4904" y="50238"/>
                            <a:pt x="5263" y="49820"/>
                            <a:pt x="5562" y="49461"/>
                          </a:cubicBezTo>
                          <a:cubicBezTo>
                            <a:pt x="5622" y="49401"/>
                            <a:pt x="5681" y="49341"/>
                            <a:pt x="5741" y="49281"/>
                          </a:cubicBezTo>
                          <a:cubicBezTo>
                            <a:pt x="5801" y="49221"/>
                            <a:pt x="5861" y="49162"/>
                            <a:pt x="5861" y="49102"/>
                          </a:cubicBezTo>
                          <a:cubicBezTo>
                            <a:pt x="5861" y="49042"/>
                            <a:pt x="5981" y="48982"/>
                            <a:pt x="5981" y="48922"/>
                          </a:cubicBezTo>
                          <a:cubicBezTo>
                            <a:pt x="6041" y="48862"/>
                            <a:pt x="6100" y="48803"/>
                            <a:pt x="6100" y="48743"/>
                          </a:cubicBezTo>
                          <a:cubicBezTo>
                            <a:pt x="6399" y="48384"/>
                            <a:pt x="6698" y="48025"/>
                            <a:pt x="6997" y="47726"/>
                          </a:cubicBezTo>
                          <a:cubicBezTo>
                            <a:pt x="7296" y="47367"/>
                            <a:pt x="7595" y="47068"/>
                            <a:pt x="7895" y="46709"/>
                          </a:cubicBezTo>
                          <a:cubicBezTo>
                            <a:pt x="8194" y="46351"/>
                            <a:pt x="8493" y="46052"/>
                            <a:pt x="8732" y="45693"/>
                          </a:cubicBezTo>
                          <a:cubicBezTo>
                            <a:pt x="9031" y="45334"/>
                            <a:pt x="9270" y="45035"/>
                            <a:pt x="9569" y="44736"/>
                          </a:cubicBezTo>
                          <a:lnTo>
                            <a:pt x="9031" y="44377"/>
                          </a:lnTo>
                          <a:cubicBezTo>
                            <a:pt x="8732" y="44676"/>
                            <a:pt x="8493" y="45035"/>
                            <a:pt x="8194" y="45334"/>
                          </a:cubicBezTo>
                          <a:cubicBezTo>
                            <a:pt x="7895" y="45693"/>
                            <a:pt x="7655" y="45992"/>
                            <a:pt x="7356" y="46351"/>
                          </a:cubicBezTo>
                          <a:cubicBezTo>
                            <a:pt x="7057" y="46709"/>
                            <a:pt x="6758" y="47008"/>
                            <a:pt x="6519" y="47367"/>
                          </a:cubicBezTo>
                          <a:cubicBezTo>
                            <a:pt x="6220" y="47726"/>
                            <a:pt x="5921" y="48085"/>
                            <a:pt x="5622" y="48384"/>
                          </a:cubicBezTo>
                          <a:cubicBezTo>
                            <a:pt x="5562" y="48444"/>
                            <a:pt x="5502" y="48504"/>
                            <a:pt x="5502" y="48563"/>
                          </a:cubicBezTo>
                          <a:cubicBezTo>
                            <a:pt x="5502" y="48623"/>
                            <a:pt x="5382" y="48683"/>
                            <a:pt x="5382" y="48743"/>
                          </a:cubicBezTo>
                          <a:cubicBezTo>
                            <a:pt x="5323" y="48803"/>
                            <a:pt x="5263" y="48862"/>
                            <a:pt x="5203" y="48922"/>
                          </a:cubicBezTo>
                          <a:cubicBezTo>
                            <a:pt x="5143" y="48982"/>
                            <a:pt x="5083" y="49042"/>
                            <a:pt x="5083" y="49102"/>
                          </a:cubicBezTo>
                          <a:cubicBezTo>
                            <a:pt x="4785" y="49461"/>
                            <a:pt x="4486" y="49820"/>
                            <a:pt x="4186" y="50178"/>
                          </a:cubicBezTo>
                          <a:cubicBezTo>
                            <a:pt x="3887" y="50537"/>
                            <a:pt x="3588" y="50896"/>
                            <a:pt x="3289" y="51255"/>
                          </a:cubicBezTo>
                          <a:cubicBezTo>
                            <a:pt x="2990" y="51614"/>
                            <a:pt x="2691" y="51972"/>
                            <a:pt x="2392" y="52331"/>
                          </a:cubicBezTo>
                          <a:cubicBezTo>
                            <a:pt x="2093" y="52690"/>
                            <a:pt x="1794" y="53049"/>
                            <a:pt x="1495" y="53468"/>
                          </a:cubicBezTo>
                          <a:lnTo>
                            <a:pt x="837" y="53049"/>
                          </a:lnTo>
                          <a:cubicBezTo>
                            <a:pt x="1136" y="52690"/>
                            <a:pt x="1435" y="52331"/>
                            <a:pt x="1734" y="51913"/>
                          </a:cubicBezTo>
                          <a:cubicBezTo>
                            <a:pt x="2033" y="51554"/>
                            <a:pt x="2332" y="51195"/>
                            <a:pt x="2632" y="50836"/>
                          </a:cubicBezTo>
                          <a:cubicBezTo>
                            <a:pt x="2930" y="50477"/>
                            <a:pt x="3229" y="50118"/>
                            <a:pt x="3528" y="49760"/>
                          </a:cubicBezTo>
                          <a:cubicBezTo>
                            <a:pt x="3827" y="49401"/>
                            <a:pt x="4127" y="49042"/>
                            <a:pt x="4426" y="48683"/>
                          </a:cubicBezTo>
                          <a:cubicBezTo>
                            <a:pt x="4486" y="48623"/>
                            <a:pt x="4545" y="48563"/>
                            <a:pt x="4605" y="48504"/>
                          </a:cubicBezTo>
                          <a:cubicBezTo>
                            <a:pt x="4665" y="48444"/>
                            <a:pt x="4725" y="48384"/>
                            <a:pt x="4725" y="48324"/>
                          </a:cubicBezTo>
                          <a:cubicBezTo>
                            <a:pt x="4785" y="48264"/>
                            <a:pt x="4844" y="48205"/>
                            <a:pt x="4844" y="48145"/>
                          </a:cubicBezTo>
                          <a:cubicBezTo>
                            <a:pt x="4904" y="48085"/>
                            <a:pt x="4964" y="48025"/>
                            <a:pt x="4964" y="47966"/>
                          </a:cubicBezTo>
                          <a:cubicBezTo>
                            <a:pt x="5263" y="47607"/>
                            <a:pt x="5562" y="47248"/>
                            <a:pt x="5861" y="46889"/>
                          </a:cubicBezTo>
                          <a:cubicBezTo>
                            <a:pt x="6160" y="46530"/>
                            <a:pt x="6459" y="46231"/>
                            <a:pt x="6698" y="45872"/>
                          </a:cubicBezTo>
                          <a:cubicBezTo>
                            <a:pt x="6997" y="45513"/>
                            <a:pt x="7296" y="45214"/>
                            <a:pt x="7536" y="44855"/>
                          </a:cubicBezTo>
                          <a:cubicBezTo>
                            <a:pt x="7835" y="44497"/>
                            <a:pt x="8074" y="44198"/>
                            <a:pt x="8373" y="43899"/>
                          </a:cubicBezTo>
                          <a:lnTo>
                            <a:pt x="7835" y="43540"/>
                          </a:lnTo>
                          <a:cubicBezTo>
                            <a:pt x="7536" y="43839"/>
                            <a:pt x="7296" y="44198"/>
                            <a:pt x="6997" y="44497"/>
                          </a:cubicBezTo>
                          <a:cubicBezTo>
                            <a:pt x="6698" y="44855"/>
                            <a:pt x="6459" y="45154"/>
                            <a:pt x="6160" y="45513"/>
                          </a:cubicBezTo>
                          <a:cubicBezTo>
                            <a:pt x="5861" y="45872"/>
                            <a:pt x="5562" y="46171"/>
                            <a:pt x="5263" y="46530"/>
                          </a:cubicBezTo>
                          <a:cubicBezTo>
                            <a:pt x="4964" y="46889"/>
                            <a:pt x="4665" y="47248"/>
                            <a:pt x="4366" y="47607"/>
                          </a:cubicBezTo>
                          <a:cubicBezTo>
                            <a:pt x="4306" y="47667"/>
                            <a:pt x="4246" y="47726"/>
                            <a:pt x="4246" y="47786"/>
                          </a:cubicBezTo>
                          <a:cubicBezTo>
                            <a:pt x="4186" y="47846"/>
                            <a:pt x="4127" y="47906"/>
                            <a:pt x="4127" y="47966"/>
                          </a:cubicBezTo>
                          <a:cubicBezTo>
                            <a:pt x="4067" y="48025"/>
                            <a:pt x="4007" y="48085"/>
                            <a:pt x="4007" y="48145"/>
                          </a:cubicBezTo>
                          <a:cubicBezTo>
                            <a:pt x="3947" y="48205"/>
                            <a:pt x="3887" y="48264"/>
                            <a:pt x="3827" y="48324"/>
                          </a:cubicBezTo>
                          <a:cubicBezTo>
                            <a:pt x="3528" y="48683"/>
                            <a:pt x="3170" y="49102"/>
                            <a:pt x="2871" y="49461"/>
                          </a:cubicBezTo>
                          <a:cubicBezTo>
                            <a:pt x="2572" y="49820"/>
                            <a:pt x="2213" y="50238"/>
                            <a:pt x="1914" y="50597"/>
                          </a:cubicBezTo>
                          <a:cubicBezTo>
                            <a:pt x="1615" y="51016"/>
                            <a:pt x="1256" y="51375"/>
                            <a:pt x="957" y="51793"/>
                          </a:cubicBezTo>
                          <a:cubicBezTo>
                            <a:pt x="658" y="52212"/>
                            <a:pt x="299" y="52570"/>
                            <a:pt x="0" y="52989"/>
                          </a:cubicBezTo>
                          <a:lnTo>
                            <a:pt x="0" y="53109"/>
                          </a:lnTo>
                        </a:path>
                      </a:pathLst>
                    </a:custGeom>
                    <a:noFill/>
                    <a:ln w="6350" cap="flat">
                      <a:solidFill>
                        <a:schemeClr val="bg1">
                          <a:alpha val="80000"/>
                        </a:schemeClr>
                      </a:solidFill>
                      <a:prstDash val="solid"/>
                      <a:miter/>
                    </a:ln>
                  </p:spPr>
                  <p:txBody>
                    <a:bodyPr rtlCol="0" anchor="ctr"/>
                    <a:lstStyle/>
                    <a:p>
                      <a:endParaRPr lang="en-GB"/>
                    </a:p>
                  </p:txBody>
                </p:sp>
                <p:sp>
                  <p:nvSpPr>
                    <p:cNvPr id="7386" name="Vrije vorm: vorm 7385">
                      <a:extLst>
                        <a:ext uri="{FF2B5EF4-FFF2-40B4-BE49-F238E27FC236}">
                          <a16:creationId xmlns:a16="http://schemas.microsoft.com/office/drawing/2014/main" id="{D5CBE7E8-FC52-4626-8CC8-A78897AE04E8}"/>
                        </a:ext>
                      </a:extLst>
                    </p:cNvPr>
                    <p:cNvSpPr/>
                    <p:nvPr/>
                  </p:nvSpPr>
                  <p:spPr>
                    <a:xfrm>
                      <a:off x="5336053" y="5515880"/>
                      <a:ext cx="18088" cy="18599"/>
                    </a:xfrm>
                    <a:custGeom>
                      <a:avLst/>
                      <a:gdLst>
                        <a:gd name="connsiteX0" fmla="*/ 3256 w 18088"/>
                        <a:gd name="connsiteY0" fmla="*/ 4785 h 18599"/>
                        <a:gd name="connsiteX1" fmla="*/ 3794 w 18088"/>
                        <a:gd name="connsiteY1" fmla="*/ 5143 h 18599"/>
                        <a:gd name="connsiteX2" fmla="*/ 4273 w 18088"/>
                        <a:gd name="connsiteY2" fmla="*/ 4605 h 18599"/>
                        <a:gd name="connsiteX3" fmla="*/ 4751 w 18088"/>
                        <a:gd name="connsiteY3" fmla="*/ 4127 h 18599"/>
                        <a:gd name="connsiteX4" fmla="*/ 5230 w 18088"/>
                        <a:gd name="connsiteY4" fmla="*/ 3648 h 18599"/>
                        <a:gd name="connsiteX5" fmla="*/ 5708 w 18088"/>
                        <a:gd name="connsiteY5" fmla="*/ 3229 h 18599"/>
                        <a:gd name="connsiteX6" fmla="*/ 5888 w 18088"/>
                        <a:gd name="connsiteY6" fmla="*/ 3050 h 18599"/>
                        <a:gd name="connsiteX7" fmla="*/ 6067 w 18088"/>
                        <a:gd name="connsiteY7" fmla="*/ 2930 h 18599"/>
                        <a:gd name="connsiteX8" fmla="*/ 6246 w 18088"/>
                        <a:gd name="connsiteY8" fmla="*/ 2811 h 18599"/>
                        <a:gd name="connsiteX9" fmla="*/ 6426 w 18088"/>
                        <a:gd name="connsiteY9" fmla="*/ 2691 h 18599"/>
                        <a:gd name="connsiteX10" fmla="*/ 7801 w 18088"/>
                        <a:gd name="connsiteY10" fmla="*/ 1794 h 18599"/>
                        <a:gd name="connsiteX11" fmla="*/ 9237 w 18088"/>
                        <a:gd name="connsiteY11" fmla="*/ 1136 h 18599"/>
                        <a:gd name="connsiteX12" fmla="*/ 10672 w 18088"/>
                        <a:gd name="connsiteY12" fmla="*/ 718 h 18599"/>
                        <a:gd name="connsiteX13" fmla="*/ 12048 w 18088"/>
                        <a:gd name="connsiteY13" fmla="*/ 538 h 18599"/>
                        <a:gd name="connsiteX14" fmla="*/ 12646 w 18088"/>
                        <a:gd name="connsiteY14" fmla="*/ 538 h 18599"/>
                        <a:gd name="connsiteX15" fmla="*/ 13184 w 18088"/>
                        <a:gd name="connsiteY15" fmla="*/ 598 h 18599"/>
                        <a:gd name="connsiteX16" fmla="*/ 13722 w 18088"/>
                        <a:gd name="connsiteY16" fmla="*/ 718 h 18599"/>
                        <a:gd name="connsiteX17" fmla="*/ 14261 w 18088"/>
                        <a:gd name="connsiteY17" fmla="*/ 897 h 18599"/>
                        <a:gd name="connsiteX18" fmla="*/ 14500 w 18088"/>
                        <a:gd name="connsiteY18" fmla="*/ 1017 h 18599"/>
                        <a:gd name="connsiteX19" fmla="*/ 14739 w 18088"/>
                        <a:gd name="connsiteY19" fmla="*/ 1136 h 18599"/>
                        <a:gd name="connsiteX20" fmla="*/ 14978 w 18088"/>
                        <a:gd name="connsiteY20" fmla="*/ 1256 h 18599"/>
                        <a:gd name="connsiteX21" fmla="*/ 15218 w 18088"/>
                        <a:gd name="connsiteY21" fmla="*/ 1435 h 18599"/>
                        <a:gd name="connsiteX22" fmla="*/ 15457 w 18088"/>
                        <a:gd name="connsiteY22" fmla="*/ 1615 h 18599"/>
                        <a:gd name="connsiteX23" fmla="*/ 15696 w 18088"/>
                        <a:gd name="connsiteY23" fmla="*/ 1794 h 18599"/>
                        <a:gd name="connsiteX24" fmla="*/ 15875 w 18088"/>
                        <a:gd name="connsiteY24" fmla="*/ 1974 h 18599"/>
                        <a:gd name="connsiteX25" fmla="*/ 16055 w 18088"/>
                        <a:gd name="connsiteY25" fmla="*/ 2153 h 18599"/>
                        <a:gd name="connsiteX26" fmla="*/ 16354 w 18088"/>
                        <a:gd name="connsiteY26" fmla="*/ 2572 h 18599"/>
                        <a:gd name="connsiteX27" fmla="*/ 16653 w 18088"/>
                        <a:gd name="connsiteY27" fmla="*/ 2990 h 18599"/>
                        <a:gd name="connsiteX28" fmla="*/ 16892 w 18088"/>
                        <a:gd name="connsiteY28" fmla="*/ 3469 h 18599"/>
                        <a:gd name="connsiteX29" fmla="*/ 17072 w 18088"/>
                        <a:gd name="connsiteY29" fmla="*/ 3947 h 18599"/>
                        <a:gd name="connsiteX30" fmla="*/ 17311 w 18088"/>
                        <a:gd name="connsiteY30" fmla="*/ 5203 h 18599"/>
                        <a:gd name="connsiteX31" fmla="*/ 17311 w 18088"/>
                        <a:gd name="connsiteY31" fmla="*/ 6579 h 18599"/>
                        <a:gd name="connsiteX32" fmla="*/ 17072 w 18088"/>
                        <a:gd name="connsiteY32" fmla="*/ 8014 h 18599"/>
                        <a:gd name="connsiteX33" fmla="*/ 16593 w 18088"/>
                        <a:gd name="connsiteY33" fmla="*/ 9509 h 18599"/>
                        <a:gd name="connsiteX34" fmla="*/ 16533 w 18088"/>
                        <a:gd name="connsiteY34" fmla="*/ 9749 h 18599"/>
                        <a:gd name="connsiteX35" fmla="*/ 16414 w 18088"/>
                        <a:gd name="connsiteY35" fmla="*/ 9988 h 18599"/>
                        <a:gd name="connsiteX36" fmla="*/ 16294 w 18088"/>
                        <a:gd name="connsiteY36" fmla="*/ 10227 h 18599"/>
                        <a:gd name="connsiteX37" fmla="*/ 16175 w 18088"/>
                        <a:gd name="connsiteY37" fmla="*/ 10466 h 18599"/>
                        <a:gd name="connsiteX38" fmla="*/ 15875 w 18088"/>
                        <a:gd name="connsiteY38" fmla="*/ 11004 h 18599"/>
                        <a:gd name="connsiteX39" fmla="*/ 15576 w 18088"/>
                        <a:gd name="connsiteY39" fmla="*/ 11543 h 18599"/>
                        <a:gd name="connsiteX40" fmla="*/ 15218 w 18088"/>
                        <a:gd name="connsiteY40" fmla="*/ 12081 h 18599"/>
                        <a:gd name="connsiteX41" fmla="*/ 14799 w 18088"/>
                        <a:gd name="connsiteY41" fmla="*/ 12619 h 18599"/>
                        <a:gd name="connsiteX42" fmla="*/ 15277 w 18088"/>
                        <a:gd name="connsiteY42" fmla="*/ 12978 h 18599"/>
                        <a:gd name="connsiteX43" fmla="*/ 15696 w 18088"/>
                        <a:gd name="connsiteY43" fmla="*/ 12440 h 18599"/>
                        <a:gd name="connsiteX44" fmla="*/ 16055 w 18088"/>
                        <a:gd name="connsiteY44" fmla="*/ 11902 h 18599"/>
                        <a:gd name="connsiteX45" fmla="*/ 16414 w 18088"/>
                        <a:gd name="connsiteY45" fmla="*/ 11364 h 18599"/>
                        <a:gd name="connsiteX46" fmla="*/ 16713 w 18088"/>
                        <a:gd name="connsiteY46" fmla="*/ 10825 h 18599"/>
                        <a:gd name="connsiteX47" fmla="*/ 16832 w 18088"/>
                        <a:gd name="connsiteY47" fmla="*/ 10645 h 18599"/>
                        <a:gd name="connsiteX48" fmla="*/ 16952 w 18088"/>
                        <a:gd name="connsiteY48" fmla="*/ 10466 h 18599"/>
                        <a:gd name="connsiteX49" fmla="*/ 17072 w 18088"/>
                        <a:gd name="connsiteY49" fmla="*/ 10287 h 18599"/>
                        <a:gd name="connsiteX50" fmla="*/ 17191 w 18088"/>
                        <a:gd name="connsiteY50" fmla="*/ 10107 h 18599"/>
                        <a:gd name="connsiteX51" fmla="*/ 17670 w 18088"/>
                        <a:gd name="connsiteY51" fmla="*/ 8732 h 18599"/>
                        <a:gd name="connsiteX52" fmla="*/ 17969 w 18088"/>
                        <a:gd name="connsiteY52" fmla="*/ 7416 h 18599"/>
                        <a:gd name="connsiteX53" fmla="*/ 18089 w 18088"/>
                        <a:gd name="connsiteY53" fmla="*/ 6100 h 18599"/>
                        <a:gd name="connsiteX54" fmla="*/ 18029 w 18088"/>
                        <a:gd name="connsiteY54" fmla="*/ 4904 h 18599"/>
                        <a:gd name="connsiteX55" fmla="*/ 17969 w 18088"/>
                        <a:gd name="connsiteY55" fmla="*/ 4545 h 18599"/>
                        <a:gd name="connsiteX56" fmla="*/ 17909 w 18088"/>
                        <a:gd name="connsiteY56" fmla="*/ 4187 h 18599"/>
                        <a:gd name="connsiteX57" fmla="*/ 17849 w 18088"/>
                        <a:gd name="connsiteY57" fmla="*/ 3888 h 18599"/>
                        <a:gd name="connsiteX58" fmla="*/ 17729 w 18088"/>
                        <a:gd name="connsiteY58" fmla="*/ 3588 h 18599"/>
                        <a:gd name="connsiteX59" fmla="*/ 17430 w 18088"/>
                        <a:gd name="connsiteY59" fmla="*/ 2811 h 18599"/>
                        <a:gd name="connsiteX60" fmla="*/ 17012 w 18088"/>
                        <a:gd name="connsiteY60" fmla="*/ 2093 h 18599"/>
                        <a:gd name="connsiteX61" fmla="*/ 16474 w 18088"/>
                        <a:gd name="connsiteY61" fmla="*/ 1495 h 18599"/>
                        <a:gd name="connsiteX62" fmla="*/ 15816 w 18088"/>
                        <a:gd name="connsiteY62" fmla="*/ 957 h 18599"/>
                        <a:gd name="connsiteX63" fmla="*/ 15098 w 18088"/>
                        <a:gd name="connsiteY63" fmla="*/ 538 h 18599"/>
                        <a:gd name="connsiteX64" fmla="*/ 14261 w 18088"/>
                        <a:gd name="connsiteY64" fmla="*/ 239 h 18599"/>
                        <a:gd name="connsiteX65" fmla="*/ 13423 w 18088"/>
                        <a:gd name="connsiteY65" fmla="*/ 60 h 18599"/>
                        <a:gd name="connsiteX66" fmla="*/ 12526 w 18088"/>
                        <a:gd name="connsiteY66" fmla="*/ 0 h 18599"/>
                        <a:gd name="connsiteX67" fmla="*/ 12167 w 18088"/>
                        <a:gd name="connsiteY67" fmla="*/ 0 h 18599"/>
                        <a:gd name="connsiteX68" fmla="*/ 11808 w 18088"/>
                        <a:gd name="connsiteY68" fmla="*/ 0 h 18599"/>
                        <a:gd name="connsiteX69" fmla="*/ 11450 w 18088"/>
                        <a:gd name="connsiteY69" fmla="*/ 60 h 18599"/>
                        <a:gd name="connsiteX70" fmla="*/ 11091 w 18088"/>
                        <a:gd name="connsiteY70" fmla="*/ 120 h 18599"/>
                        <a:gd name="connsiteX71" fmla="*/ 9775 w 18088"/>
                        <a:gd name="connsiteY71" fmla="*/ 479 h 18599"/>
                        <a:gd name="connsiteX72" fmla="*/ 8459 w 18088"/>
                        <a:gd name="connsiteY72" fmla="*/ 1017 h 18599"/>
                        <a:gd name="connsiteX73" fmla="*/ 7144 w 18088"/>
                        <a:gd name="connsiteY73" fmla="*/ 1734 h 18599"/>
                        <a:gd name="connsiteX74" fmla="*/ 5888 w 18088"/>
                        <a:gd name="connsiteY74" fmla="*/ 2572 h 18599"/>
                        <a:gd name="connsiteX75" fmla="*/ 5708 w 18088"/>
                        <a:gd name="connsiteY75" fmla="*/ 2691 h 18599"/>
                        <a:gd name="connsiteX76" fmla="*/ 5529 w 18088"/>
                        <a:gd name="connsiteY76" fmla="*/ 2811 h 18599"/>
                        <a:gd name="connsiteX77" fmla="*/ 5350 w 18088"/>
                        <a:gd name="connsiteY77" fmla="*/ 2990 h 18599"/>
                        <a:gd name="connsiteX78" fmla="*/ 5170 w 18088"/>
                        <a:gd name="connsiteY78" fmla="*/ 3170 h 18599"/>
                        <a:gd name="connsiteX79" fmla="*/ 4691 w 18088"/>
                        <a:gd name="connsiteY79" fmla="*/ 3588 h 18599"/>
                        <a:gd name="connsiteX80" fmla="*/ 4213 w 18088"/>
                        <a:gd name="connsiteY80" fmla="*/ 4067 h 18599"/>
                        <a:gd name="connsiteX81" fmla="*/ 3735 w 18088"/>
                        <a:gd name="connsiteY81" fmla="*/ 4545 h 18599"/>
                        <a:gd name="connsiteX82" fmla="*/ 3256 w 18088"/>
                        <a:gd name="connsiteY82" fmla="*/ 4785 h 18599"/>
                        <a:gd name="connsiteX83" fmla="*/ 10074 w 18088"/>
                        <a:gd name="connsiteY83" fmla="*/ 16686 h 18599"/>
                        <a:gd name="connsiteX84" fmla="*/ 10672 w 18088"/>
                        <a:gd name="connsiteY84" fmla="*/ 17105 h 18599"/>
                        <a:gd name="connsiteX85" fmla="*/ 11749 w 18088"/>
                        <a:gd name="connsiteY85" fmla="*/ 16387 h 18599"/>
                        <a:gd name="connsiteX86" fmla="*/ 12825 w 18088"/>
                        <a:gd name="connsiteY86" fmla="*/ 15550 h 18599"/>
                        <a:gd name="connsiteX87" fmla="*/ 13842 w 18088"/>
                        <a:gd name="connsiteY87" fmla="*/ 14593 h 18599"/>
                        <a:gd name="connsiteX88" fmla="*/ 14799 w 18088"/>
                        <a:gd name="connsiteY88" fmla="*/ 13516 h 18599"/>
                        <a:gd name="connsiteX89" fmla="*/ 14321 w 18088"/>
                        <a:gd name="connsiteY89" fmla="*/ 13158 h 18599"/>
                        <a:gd name="connsiteX90" fmla="*/ 13364 w 18088"/>
                        <a:gd name="connsiteY90" fmla="*/ 14234 h 18599"/>
                        <a:gd name="connsiteX91" fmla="*/ 12287 w 18088"/>
                        <a:gd name="connsiteY91" fmla="*/ 15191 h 18599"/>
                        <a:gd name="connsiteX92" fmla="*/ 11211 w 18088"/>
                        <a:gd name="connsiteY92" fmla="*/ 15968 h 18599"/>
                        <a:gd name="connsiteX93" fmla="*/ 10074 w 18088"/>
                        <a:gd name="connsiteY93" fmla="*/ 16686 h 18599"/>
                        <a:gd name="connsiteX94" fmla="*/ 326 w 18088"/>
                        <a:gd name="connsiteY94" fmla="*/ 10287 h 18599"/>
                        <a:gd name="connsiteX95" fmla="*/ 983 w 18088"/>
                        <a:gd name="connsiteY95" fmla="*/ 10705 h 18599"/>
                        <a:gd name="connsiteX96" fmla="*/ 1282 w 18088"/>
                        <a:gd name="connsiteY96" fmla="*/ 9509 h 18599"/>
                        <a:gd name="connsiteX97" fmla="*/ 1761 w 18088"/>
                        <a:gd name="connsiteY97" fmla="*/ 8313 h 18599"/>
                        <a:gd name="connsiteX98" fmla="*/ 2419 w 18088"/>
                        <a:gd name="connsiteY98" fmla="*/ 7117 h 18599"/>
                        <a:gd name="connsiteX99" fmla="*/ 3196 w 18088"/>
                        <a:gd name="connsiteY99" fmla="*/ 5921 h 18599"/>
                        <a:gd name="connsiteX100" fmla="*/ 2658 w 18088"/>
                        <a:gd name="connsiteY100" fmla="*/ 5562 h 18599"/>
                        <a:gd name="connsiteX101" fmla="*/ 1881 w 18088"/>
                        <a:gd name="connsiteY101" fmla="*/ 6758 h 18599"/>
                        <a:gd name="connsiteX102" fmla="*/ 1223 w 18088"/>
                        <a:gd name="connsiteY102" fmla="*/ 7954 h 18599"/>
                        <a:gd name="connsiteX103" fmla="*/ 684 w 18088"/>
                        <a:gd name="connsiteY103" fmla="*/ 9150 h 18599"/>
                        <a:gd name="connsiteX104" fmla="*/ 326 w 18088"/>
                        <a:gd name="connsiteY104" fmla="*/ 10287 h 18599"/>
                        <a:gd name="connsiteX105" fmla="*/ 6964 w 18088"/>
                        <a:gd name="connsiteY105" fmla="*/ 17703 h 18599"/>
                        <a:gd name="connsiteX106" fmla="*/ 7861 w 18088"/>
                        <a:gd name="connsiteY106" fmla="*/ 18301 h 18599"/>
                        <a:gd name="connsiteX107" fmla="*/ 8340 w 18088"/>
                        <a:gd name="connsiteY107" fmla="*/ 18181 h 18599"/>
                        <a:gd name="connsiteX108" fmla="*/ 8818 w 18088"/>
                        <a:gd name="connsiteY108" fmla="*/ 18002 h 18599"/>
                        <a:gd name="connsiteX109" fmla="*/ 9297 w 18088"/>
                        <a:gd name="connsiteY109" fmla="*/ 17822 h 18599"/>
                        <a:gd name="connsiteX110" fmla="*/ 9775 w 18088"/>
                        <a:gd name="connsiteY110" fmla="*/ 17583 h 18599"/>
                        <a:gd name="connsiteX111" fmla="*/ 9117 w 18088"/>
                        <a:gd name="connsiteY111" fmla="*/ 17165 h 18599"/>
                        <a:gd name="connsiteX112" fmla="*/ 8579 w 18088"/>
                        <a:gd name="connsiteY112" fmla="*/ 17344 h 18599"/>
                        <a:gd name="connsiteX113" fmla="*/ 8041 w 18088"/>
                        <a:gd name="connsiteY113" fmla="*/ 17523 h 18599"/>
                        <a:gd name="connsiteX114" fmla="*/ 7503 w 18088"/>
                        <a:gd name="connsiteY114" fmla="*/ 17643 h 18599"/>
                        <a:gd name="connsiteX115" fmla="*/ 6964 w 18088"/>
                        <a:gd name="connsiteY115" fmla="*/ 17703 h 18599"/>
                        <a:gd name="connsiteX116" fmla="*/ 27 w 18088"/>
                        <a:gd name="connsiteY116" fmla="*/ 13158 h 18599"/>
                        <a:gd name="connsiteX117" fmla="*/ 923 w 18088"/>
                        <a:gd name="connsiteY117" fmla="*/ 13756 h 18599"/>
                        <a:gd name="connsiteX118" fmla="*/ 864 w 18088"/>
                        <a:gd name="connsiteY118" fmla="*/ 13277 h 18599"/>
                        <a:gd name="connsiteX119" fmla="*/ 804 w 18088"/>
                        <a:gd name="connsiteY119" fmla="*/ 12799 h 18599"/>
                        <a:gd name="connsiteX120" fmla="*/ 804 w 18088"/>
                        <a:gd name="connsiteY120" fmla="*/ 12260 h 18599"/>
                        <a:gd name="connsiteX121" fmla="*/ 864 w 18088"/>
                        <a:gd name="connsiteY121" fmla="*/ 11722 h 18599"/>
                        <a:gd name="connsiteX122" fmla="*/ 146 w 18088"/>
                        <a:gd name="connsiteY122" fmla="*/ 11244 h 18599"/>
                        <a:gd name="connsiteX123" fmla="*/ 86 w 18088"/>
                        <a:gd name="connsiteY123" fmla="*/ 11722 h 18599"/>
                        <a:gd name="connsiteX124" fmla="*/ 27 w 18088"/>
                        <a:gd name="connsiteY124" fmla="*/ 12201 h 18599"/>
                        <a:gd name="connsiteX125" fmla="*/ 27 w 18088"/>
                        <a:gd name="connsiteY125" fmla="*/ 12679 h 18599"/>
                        <a:gd name="connsiteX126" fmla="*/ 27 w 18088"/>
                        <a:gd name="connsiteY126" fmla="*/ 13158 h 18599"/>
                        <a:gd name="connsiteX127" fmla="*/ 1462 w 18088"/>
                        <a:gd name="connsiteY127" fmla="*/ 16985 h 18599"/>
                        <a:gd name="connsiteX128" fmla="*/ 3436 w 18088"/>
                        <a:gd name="connsiteY128" fmla="*/ 18241 h 18599"/>
                        <a:gd name="connsiteX129" fmla="*/ 4153 w 18088"/>
                        <a:gd name="connsiteY129" fmla="*/ 18421 h 18599"/>
                        <a:gd name="connsiteX130" fmla="*/ 4931 w 18088"/>
                        <a:gd name="connsiteY130" fmla="*/ 18540 h 18599"/>
                        <a:gd name="connsiteX131" fmla="*/ 5708 w 18088"/>
                        <a:gd name="connsiteY131" fmla="*/ 18600 h 18599"/>
                        <a:gd name="connsiteX132" fmla="*/ 6545 w 18088"/>
                        <a:gd name="connsiteY132" fmla="*/ 18540 h 18599"/>
                        <a:gd name="connsiteX133" fmla="*/ 5350 w 18088"/>
                        <a:gd name="connsiteY133" fmla="*/ 17763 h 18599"/>
                        <a:gd name="connsiteX134" fmla="*/ 4691 w 18088"/>
                        <a:gd name="connsiteY134" fmla="*/ 17643 h 18599"/>
                        <a:gd name="connsiteX135" fmla="*/ 4093 w 18088"/>
                        <a:gd name="connsiteY135" fmla="*/ 17464 h 18599"/>
                        <a:gd name="connsiteX136" fmla="*/ 3496 w 18088"/>
                        <a:gd name="connsiteY136" fmla="*/ 17225 h 18599"/>
                        <a:gd name="connsiteX137" fmla="*/ 2957 w 18088"/>
                        <a:gd name="connsiteY137" fmla="*/ 16926 h 18599"/>
                        <a:gd name="connsiteX138" fmla="*/ 2479 w 18088"/>
                        <a:gd name="connsiteY138" fmla="*/ 16567 h 18599"/>
                        <a:gd name="connsiteX139" fmla="*/ 2060 w 18088"/>
                        <a:gd name="connsiteY139" fmla="*/ 16148 h 18599"/>
                        <a:gd name="connsiteX140" fmla="*/ 1701 w 18088"/>
                        <a:gd name="connsiteY140" fmla="*/ 15669 h 18599"/>
                        <a:gd name="connsiteX141" fmla="*/ 1402 w 18088"/>
                        <a:gd name="connsiteY141" fmla="*/ 15131 h 18599"/>
                        <a:gd name="connsiteX142" fmla="*/ 206 w 18088"/>
                        <a:gd name="connsiteY142" fmla="*/ 14354 h 18599"/>
                        <a:gd name="connsiteX143" fmla="*/ 385 w 18088"/>
                        <a:gd name="connsiteY143" fmla="*/ 15072 h 18599"/>
                        <a:gd name="connsiteX144" fmla="*/ 684 w 18088"/>
                        <a:gd name="connsiteY144" fmla="*/ 15729 h 18599"/>
                        <a:gd name="connsiteX145" fmla="*/ 1043 w 18088"/>
                        <a:gd name="connsiteY145" fmla="*/ 16327 h 18599"/>
                        <a:gd name="connsiteX146" fmla="*/ 1462 w 18088"/>
                        <a:gd name="connsiteY146" fmla="*/ 16985 h 1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8088" h="18599">
                          <a:moveTo>
                            <a:pt x="3256" y="4785"/>
                          </a:moveTo>
                          <a:lnTo>
                            <a:pt x="3794" y="5143"/>
                          </a:lnTo>
                          <a:cubicBezTo>
                            <a:pt x="3914" y="4964"/>
                            <a:pt x="4093" y="4785"/>
                            <a:pt x="4273" y="4605"/>
                          </a:cubicBezTo>
                          <a:cubicBezTo>
                            <a:pt x="4452" y="4426"/>
                            <a:pt x="4572" y="4246"/>
                            <a:pt x="4751" y="4127"/>
                          </a:cubicBezTo>
                          <a:cubicBezTo>
                            <a:pt x="4931" y="3947"/>
                            <a:pt x="5050" y="3828"/>
                            <a:pt x="5230" y="3648"/>
                          </a:cubicBezTo>
                          <a:cubicBezTo>
                            <a:pt x="5409" y="3528"/>
                            <a:pt x="5589" y="3349"/>
                            <a:pt x="5708" y="3229"/>
                          </a:cubicBezTo>
                          <a:cubicBezTo>
                            <a:pt x="5768" y="3170"/>
                            <a:pt x="5828" y="3110"/>
                            <a:pt x="5888" y="3050"/>
                          </a:cubicBezTo>
                          <a:cubicBezTo>
                            <a:pt x="5947" y="2990"/>
                            <a:pt x="6007" y="2930"/>
                            <a:pt x="6067" y="2930"/>
                          </a:cubicBezTo>
                          <a:cubicBezTo>
                            <a:pt x="6127" y="2871"/>
                            <a:pt x="6187" y="2811"/>
                            <a:pt x="6246" y="2811"/>
                          </a:cubicBezTo>
                          <a:cubicBezTo>
                            <a:pt x="6306" y="2751"/>
                            <a:pt x="6366" y="2691"/>
                            <a:pt x="6426" y="2691"/>
                          </a:cubicBezTo>
                          <a:cubicBezTo>
                            <a:pt x="6904" y="2392"/>
                            <a:pt x="7323" y="2093"/>
                            <a:pt x="7801" y="1794"/>
                          </a:cubicBezTo>
                          <a:cubicBezTo>
                            <a:pt x="8280" y="1555"/>
                            <a:pt x="8758" y="1316"/>
                            <a:pt x="9237" y="1136"/>
                          </a:cubicBezTo>
                          <a:cubicBezTo>
                            <a:pt x="9715" y="957"/>
                            <a:pt x="10194" y="837"/>
                            <a:pt x="10672" y="718"/>
                          </a:cubicBezTo>
                          <a:cubicBezTo>
                            <a:pt x="11151" y="598"/>
                            <a:pt x="11569" y="538"/>
                            <a:pt x="12048" y="538"/>
                          </a:cubicBezTo>
                          <a:cubicBezTo>
                            <a:pt x="12227" y="538"/>
                            <a:pt x="12407" y="538"/>
                            <a:pt x="12646" y="538"/>
                          </a:cubicBezTo>
                          <a:cubicBezTo>
                            <a:pt x="12825" y="538"/>
                            <a:pt x="13005" y="538"/>
                            <a:pt x="13184" y="598"/>
                          </a:cubicBezTo>
                          <a:cubicBezTo>
                            <a:pt x="13364" y="598"/>
                            <a:pt x="13543" y="658"/>
                            <a:pt x="13722" y="718"/>
                          </a:cubicBezTo>
                          <a:cubicBezTo>
                            <a:pt x="13902" y="778"/>
                            <a:pt x="14081" y="837"/>
                            <a:pt x="14261" y="897"/>
                          </a:cubicBezTo>
                          <a:cubicBezTo>
                            <a:pt x="14321" y="957"/>
                            <a:pt x="14440" y="957"/>
                            <a:pt x="14500" y="1017"/>
                          </a:cubicBezTo>
                          <a:cubicBezTo>
                            <a:pt x="14560" y="1076"/>
                            <a:pt x="14679" y="1076"/>
                            <a:pt x="14739" y="1136"/>
                          </a:cubicBezTo>
                          <a:cubicBezTo>
                            <a:pt x="14799" y="1196"/>
                            <a:pt x="14919" y="1196"/>
                            <a:pt x="14978" y="1256"/>
                          </a:cubicBezTo>
                          <a:cubicBezTo>
                            <a:pt x="15038" y="1316"/>
                            <a:pt x="15158" y="1375"/>
                            <a:pt x="15218" y="1435"/>
                          </a:cubicBezTo>
                          <a:cubicBezTo>
                            <a:pt x="15277" y="1495"/>
                            <a:pt x="15397" y="1555"/>
                            <a:pt x="15457" y="1615"/>
                          </a:cubicBezTo>
                          <a:cubicBezTo>
                            <a:pt x="15516" y="1674"/>
                            <a:pt x="15576" y="1734"/>
                            <a:pt x="15696" y="1794"/>
                          </a:cubicBezTo>
                          <a:cubicBezTo>
                            <a:pt x="15756" y="1854"/>
                            <a:pt x="15816" y="1914"/>
                            <a:pt x="15875" y="1974"/>
                          </a:cubicBezTo>
                          <a:cubicBezTo>
                            <a:pt x="15935" y="2033"/>
                            <a:pt x="15995" y="2093"/>
                            <a:pt x="16055" y="2153"/>
                          </a:cubicBezTo>
                          <a:cubicBezTo>
                            <a:pt x="16175" y="2273"/>
                            <a:pt x="16294" y="2392"/>
                            <a:pt x="16354" y="2572"/>
                          </a:cubicBezTo>
                          <a:cubicBezTo>
                            <a:pt x="16414" y="2751"/>
                            <a:pt x="16533" y="2871"/>
                            <a:pt x="16653" y="2990"/>
                          </a:cubicBezTo>
                          <a:cubicBezTo>
                            <a:pt x="16713" y="3170"/>
                            <a:pt x="16832" y="3289"/>
                            <a:pt x="16892" y="3469"/>
                          </a:cubicBezTo>
                          <a:cubicBezTo>
                            <a:pt x="16952" y="3648"/>
                            <a:pt x="17012" y="3768"/>
                            <a:pt x="17072" y="3947"/>
                          </a:cubicBezTo>
                          <a:cubicBezTo>
                            <a:pt x="17191" y="4366"/>
                            <a:pt x="17251" y="4785"/>
                            <a:pt x="17311" y="5203"/>
                          </a:cubicBezTo>
                          <a:cubicBezTo>
                            <a:pt x="17370" y="5622"/>
                            <a:pt x="17370" y="6100"/>
                            <a:pt x="17311" y="6579"/>
                          </a:cubicBezTo>
                          <a:cubicBezTo>
                            <a:pt x="17251" y="7057"/>
                            <a:pt x="17191" y="7536"/>
                            <a:pt x="17072" y="8014"/>
                          </a:cubicBezTo>
                          <a:cubicBezTo>
                            <a:pt x="16952" y="8493"/>
                            <a:pt x="16773" y="8971"/>
                            <a:pt x="16593" y="9509"/>
                          </a:cubicBezTo>
                          <a:cubicBezTo>
                            <a:pt x="16593" y="9569"/>
                            <a:pt x="16533" y="9629"/>
                            <a:pt x="16533" y="9749"/>
                          </a:cubicBezTo>
                          <a:cubicBezTo>
                            <a:pt x="16533" y="9868"/>
                            <a:pt x="16474" y="9868"/>
                            <a:pt x="16414" y="9988"/>
                          </a:cubicBezTo>
                          <a:cubicBezTo>
                            <a:pt x="16354" y="10048"/>
                            <a:pt x="16354" y="10107"/>
                            <a:pt x="16294" y="10227"/>
                          </a:cubicBezTo>
                          <a:cubicBezTo>
                            <a:pt x="16234" y="10287"/>
                            <a:pt x="16234" y="10347"/>
                            <a:pt x="16175" y="10466"/>
                          </a:cubicBezTo>
                          <a:cubicBezTo>
                            <a:pt x="16055" y="10645"/>
                            <a:pt x="15995" y="10825"/>
                            <a:pt x="15875" y="11004"/>
                          </a:cubicBezTo>
                          <a:cubicBezTo>
                            <a:pt x="15756" y="11184"/>
                            <a:pt x="15696" y="11364"/>
                            <a:pt x="15576" y="11543"/>
                          </a:cubicBezTo>
                          <a:cubicBezTo>
                            <a:pt x="15457" y="11722"/>
                            <a:pt x="15337" y="11902"/>
                            <a:pt x="15218" y="12081"/>
                          </a:cubicBezTo>
                          <a:cubicBezTo>
                            <a:pt x="15098" y="12260"/>
                            <a:pt x="14978" y="12440"/>
                            <a:pt x="14799" y="12619"/>
                          </a:cubicBezTo>
                          <a:lnTo>
                            <a:pt x="15277" y="12978"/>
                          </a:lnTo>
                          <a:cubicBezTo>
                            <a:pt x="15397" y="12799"/>
                            <a:pt x="15516" y="12619"/>
                            <a:pt x="15696" y="12440"/>
                          </a:cubicBezTo>
                          <a:cubicBezTo>
                            <a:pt x="15875" y="12260"/>
                            <a:pt x="15935" y="12081"/>
                            <a:pt x="16055" y="11902"/>
                          </a:cubicBezTo>
                          <a:cubicBezTo>
                            <a:pt x="16175" y="11722"/>
                            <a:pt x="16294" y="11543"/>
                            <a:pt x="16414" y="11364"/>
                          </a:cubicBezTo>
                          <a:cubicBezTo>
                            <a:pt x="16533" y="11184"/>
                            <a:pt x="16593" y="11004"/>
                            <a:pt x="16713" y="10825"/>
                          </a:cubicBezTo>
                          <a:cubicBezTo>
                            <a:pt x="16773" y="10765"/>
                            <a:pt x="16773" y="10705"/>
                            <a:pt x="16832" y="10645"/>
                          </a:cubicBezTo>
                          <a:cubicBezTo>
                            <a:pt x="16892" y="10586"/>
                            <a:pt x="16892" y="10526"/>
                            <a:pt x="16952" y="10466"/>
                          </a:cubicBezTo>
                          <a:cubicBezTo>
                            <a:pt x="17012" y="10406"/>
                            <a:pt x="17012" y="10347"/>
                            <a:pt x="17072" y="10287"/>
                          </a:cubicBezTo>
                          <a:cubicBezTo>
                            <a:pt x="17131" y="10227"/>
                            <a:pt x="17131" y="10167"/>
                            <a:pt x="17191" y="10107"/>
                          </a:cubicBezTo>
                          <a:cubicBezTo>
                            <a:pt x="17370" y="9629"/>
                            <a:pt x="17550" y="9210"/>
                            <a:pt x="17670" y="8732"/>
                          </a:cubicBezTo>
                          <a:cubicBezTo>
                            <a:pt x="17789" y="8253"/>
                            <a:pt x="17909" y="7835"/>
                            <a:pt x="17969" y="7416"/>
                          </a:cubicBezTo>
                          <a:cubicBezTo>
                            <a:pt x="18029" y="6997"/>
                            <a:pt x="18089" y="6519"/>
                            <a:pt x="18089" y="6100"/>
                          </a:cubicBezTo>
                          <a:cubicBezTo>
                            <a:pt x="18089" y="5682"/>
                            <a:pt x="18089" y="5263"/>
                            <a:pt x="18029" y="4904"/>
                          </a:cubicBezTo>
                          <a:cubicBezTo>
                            <a:pt x="18029" y="4785"/>
                            <a:pt x="17969" y="4665"/>
                            <a:pt x="17969" y="4545"/>
                          </a:cubicBezTo>
                          <a:cubicBezTo>
                            <a:pt x="17969" y="4426"/>
                            <a:pt x="17909" y="4306"/>
                            <a:pt x="17909" y="4187"/>
                          </a:cubicBezTo>
                          <a:cubicBezTo>
                            <a:pt x="17909" y="4067"/>
                            <a:pt x="17849" y="3947"/>
                            <a:pt x="17849" y="3888"/>
                          </a:cubicBezTo>
                          <a:cubicBezTo>
                            <a:pt x="17849" y="3768"/>
                            <a:pt x="17789" y="3648"/>
                            <a:pt x="17729" y="3588"/>
                          </a:cubicBezTo>
                          <a:cubicBezTo>
                            <a:pt x="17610" y="3349"/>
                            <a:pt x="17550" y="3050"/>
                            <a:pt x="17430" y="2811"/>
                          </a:cubicBezTo>
                          <a:cubicBezTo>
                            <a:pt x="17311" y="2572"/>
                            <a:pt x="17131" y="2333"/>
                            <a:pt x="17012" y="2093"/>
                          </a:cubicBezTo>
                          <a:cubicBezTo>
                            <a:pt x="16832" y="1854"/>
                            <a:pt x="16653" y="1674"/>
                            <a:pt x="16474" y="1495"/>
                          </a:cubicBezTo>
                          <a:cubicBezTo>
                            <a:pt x="16294" y="1316"/>
                            <a:pt x="16055" y="1136"/>
                            <a:pt x="15816" y="957"/>
                          </a:cubicBezTo>
                          <a:cubicBezTo>
                            <a:pt x="15576" y="778"/>
                            <a:pt x="15337" y="658"/>
                            <a:pt x="15098" y="538"/>
                          </a:cubicBezTo>
                          <a:cubicBezTo>
                            <a:pt x="14859" y="419"/>
                            <a:pt x="14560" y="299"/>
                            <a:pt x="14261" y="239"/>
                          </a:cubicBezTo>
                          <a:cubicBezTo>
                            <a:pt x="13962" y="179"/>
                            <a:pt x="13722" y="120"/>
                            <a:pt x="13423" y="60"/>
                          </a:cubicBezTo>
                          <a:cubicBezTo>
                            <a:pt x="13124" y="0"/>
                            <a:pt x="12825" y="0"/>
                            <a:pt x="12526" y="0"/>
                          </a:cubicBezTo>
                          <a:cubicBezTo>
                            <a:pt x="12407" y="0"/>
                            <a:pt x="12287" y="0"/>
                            <a:pt x="12167" y="0"/>
                          </a:cubicBezTo>
                          <a:cubicBezTo>
                            <a:pt x="12048" y="0"/>
                            <a:pt x="11928" y="0"/>
                            <a:pt x="11808" y="0"/>
                          </a:cubicBezTo>
                          <a:cubicBezTo>
                            <a:pt x="11689" y="0"/>
                            <a:pt x="11569" y="0"/>
                            <a:pt x="11450" y="60"/>
                          </a:cubicBezTo>
                          <a:cubicBezTo>
                            <a:pt x="11330" y="120"/>
                            <a:pt x="11211" y="120"/>
                            <a:pt x="11091" y="120"/>
                          </a:cubicBezTo>
                          <a:cubicBezTo>
                            <a:pt x="10672" y="179"/>
                            <a:pt x="10253" y="299"/>
                            <a:pt x="9775" y="479"/>
                          </a:cubicBezTo>
                          <a:cubicBezTo>
                            <a:pt x="9357" y="598"/>
                            <a:pt x="8878" y="778"/>
                            <a:pt x="8459" y="1017"/>
                          </a:cubicBezTo>
                          <a:cubicBezTo>
                            <a:pt x="8041" y="1196"/>
                            <a:pt x="7562" y="1435"/>
                            <a:pt x="7144" y="1734"/>
                          </a:cubicBezTo>
                          <a:cubicBezTo>
                            <a:pt x="6725" y="1974"/>
                            <a:pt x="6306" y="2273"/>
                            <a:pt x="5888" y="2572"/>
                          </a:cubicBezTo>
                          <a:cubicBezTo>
                            <a:pt x="5828" y="2632"/>
                            <a:pt x="5768" y="2691"/>
                            <a:pt x="5708" y="2691"/>
                          </a:cubicBezTo>
                          <a:cubicBezTo>
                            <a:pt x="5649" y="2751"/>
                            <a:pt x="5589" y="2811"/>
                            <a:pt x="5529" y="2811"/>
                          </a:cubicBezTo>
                          <a:cubicBezTo>
                            <a:pt x="5469" y="2871"/>
                            <a:pt x="5409" y="2930"/>
                            <a:pt x="5350" y="2990"/>
                          </a:cubicBezTo>
                          <a:cubicBezTo>
                            <a:pt x="5290" y="3050"/>
                            <a:pt x="5230" y="3110"/>
                            <a:pt x="5170" y="3170"/>
                          </a:cubicBezTo>
                          <a:cubicBezTo>
                            <a:pt x="4991" y="3289"/>
                            <a:pt x="4871" y="3469"/>
                            <a:pt x="4691" y="3588"/>
                          </a:cubicBezTo>
                          <a:cubicBezTo>
                            <a:pt x="4512" y="3708"/>
                            <a:pt x="4392" y="3888"/>
                            <a:pt x="4213" y="4067"/>
                          </a:cubicBezTo>
                          <a:cubicBezTo>
                            <a:pt x="4034" y="4246"/>
                            <a:pt x="3914" y="4366"/>
                            <a:pt x="3735" y="4545"/>
                          </a:cubicBezTo>
                          <a:cubicBezTo>
                            <a:pt x="3555" y="4426"/>
                            <a:pt x="3436" y="4605"/>
                            <a:pt x="3256" y="4785"/>
                          </a:cubicBezTo>
                          <a:moveTo>
                            <a:pt x="10074" y="16686"/>
                          </a:moveTo>
                          <a:lnTo>
                            <a:pt x="10672" y="17105"/>
                          </a:lnTo>
                          <a:cubicBezTo>
                            <a:pt x="11031" y="16866"/>
                            <a:pt x="11390" y="16686"/>
                            <a:pt x="11749" y="16387"/>
                          </a:cubicBezTo>
                          <a:cubicBezTo>
                            <a:pt x="12108" y="16088"/>
                            <a:pt x="12467" y="15849"/>
                            <a:pt x="12825" y="15550"/>
                          </a:cubicBezTo>
                          <a:cubicBezTo>
                            <a:pt x="13184" y="15251"/>
                            <a:pt x="13543" y="14952"/>
                            <a:pt x="13842" y="14593"/>
                          </a:cubicBezTo>
                          <a:cubicBezTo>
                            <a:pt x="14201" y="14234"/>
                            <a:pt x="14500" y="13935"/>
                            <a:pt x="14799" y="13516"/>
                          </a:cubicBezTo>
                          <a:lnTo>
                            <a:pt x="14321" y="13158"/>
                          </a:lnTo>
                          <a:cubicBezTo>
                            <a:pt x="14021" y="13516"/>
                            <a:pt x="13662" y="13875"/>
                            <a:pt x="13364" y="14234"/>
                          </a:cubicBezTo>
                          <a:cubicBezTo>
                            <a:pt x="13005" y="14593"/>
                            <a:pt x="12646" y="14892"/>
                            <a:pt x="12287" y="15191"/>
                          </a:cubicBezTo>
                          <a:cubicBezTo>
                            <a:pt x="11928" y="15490"/>
                            <a:pt x="11569" y="15729"/>
                            <a:pt x="11211" y="15968"/>
                          </a:cubicBezTo>
                          <a:cubicBezTo>
                            <a:pt x="10852" y="16267"/>
                            <a:pt x="10433" y="16507"/>
                            <a:pt x="10074" y="16686"/>
                          </a:cubicBezTo>
                          <a:moveTo>
                            <a:pt x="326" y="10287"/>
                          </a:moveTo>
                          <a:lnTo>
                            <a:pt x="983" y="10705"/>
                          </a:lnTo>
                          <a:cubicBezTo>
                            <a:pt x="1043" y="10287"/>
                            <a:pt x="1163" y="9928"/>
                            <a:pt x="1282" y="9509"/>
                          </a:cubicBezTo>
                          <a:cubicBezTo>
                            <a:pt x="1402" y="9091"/>
                            <a:pt x="1582" y="8672"/>
                            <a:pt x="1761" y="8313"/>
                          </a:cubicBezTo>
                          <a:cubicBezTo>
                            <a:pt x="1940" y="7895"/>
                            <a:pt x="2180" y="7476"/>
                            <a:pt x="2419" y="7117"/>
                          </a:cubicBezTo>
                          <a:cubicBezTo>
                            <a:pt x="2658" y="6698"/>
                            <a:pt x="2897" y="6340"/>
                            <a:pt x="3196" y="5921"/>
                          </a:cubicBezTo>
                          <a:lnTo>
                            <a:pt x="2658" y="5562"/>
                          </a:lnTo>
                          <a:cubicBezTo>
                            <a:pt x="2359" y="5921"/>
                            <a:pt x="2120" y="6340"/>
                            <a:pt x="1881" y="6758"/>
                          </a:cubicBezTo>
                          <a:cubicBezTo>
                            <a:pt x="1642" y="7177"/>
                            <a:pt x="1402" y="7536"/>
                            <a:pt x="1223" y="7954"/>
                          </a:cubicBezTo>
                          <a:cubicBezTo>
                            <a:pt x="1043" y="8373"/>
                            <a:pt x="864" y="8732"/>
                            <a:pt x="684" y="9150"/>
                          </a:cubicBezTo>
                          <a:cubicBezTo>
                            <a:pt x="565" y="9509"/>
                            <a:pt x="445" y="9928"/>
                            <a:pt x="326" y="10287"/>
                          </a:cubicBezTo>
                          <a:moveTo>
                            <a:pt x="6964" y="17703"/>
                          </a:moveTo>
                          <a:lnTo>
                            <a:pt x="7861" y="18301"/>
                          </a:lnTo>
                          <a:cubicBezTo>
                            <a:pt x="8041" y="18241"/>
                            <a:pt x="8160" y="18241"/>
                            <a:pt x="8340" y="18181"/>
                          </a:cubicBezTo>
                          <a:cubicBezTo>
                            <a:pt x="8519" y="18121"/>
                            <a:pt x="8639" y="18062"/>
                            <a:pt x="8818" y="18002"/>
                          </a:cubicBezTo>
                          <a:cubicBezTo>
                            <a:pt x="8998" y="17942"/>
                            <a:pt x="9117" y="17882"/>
                            <a:pt x="9297" y="17822"/>
                          </a:cubicBezTo>
                          <a:cubicBezTo>
                            <a:pt x="9476" y="17763"/>
                            <a:pt x="9596" y="17703"/>
                            <a:pt x="9775" y="17583"/>
                          </a:cubicBezTo>
                          <a:lnTo>
                            <a:pt x="9117" y="17165"/>
                          </a:lnTo>
                          <a:cubicBezTo>
                            <a:pt x="8938" y="17225"/>
                            <a:pt x="8758" y="17284"/>
                            <a:pt x="8579" y="17344"/>
                          </a:cubicBezTo>
                          <a:cubicBezTo>
                            <a:pt x="8399" y="17404"/>
                            <a:pt x="8220" y="17464"/>
                            <a:pt x="8041" y="17523"/>
                          </a:cubicBezTo>
                          <a:cubicBezTo>
                            <a:pt x="7861" y="17583"/>
                            <a:pt x="7682" y="17643"/>
                            <a:pt x="7503" y="17643"/>
                          </a:cubicBezTo>
                          <a:cubicBezTo>
                            <a:pt x="7323" y="17643"/>
                            <a:pt x="7084" y="17703"/>
                            <a:pt x="6964" y="17703"/>
                          </a:cubicBezTo>
                          <a:moveTo>
                            <a:pt x="27" y="13158"/>
                          </a:moveTo>
                          <a:lnTo>
                            <a:pt x="923" y="13756"/>
                          </a:lnTo>
                          <a:cubicBezTo>
                            <a:pt x="864" y="13576"/>
                            <a:pt x="864" y="13457"/>
                            <a:pt x="864" y="13277"/>
                          </a:cubicBezTo>
                          <a:cubicBezTo>
                            <a:pt x="864" y="13098"/>
                            <a:pt x="804" y="12918"/>
                            <a:pt x="804" y="12799"/>
                          </a:cubicBezTo>
                          <a:cubicBezTo>
                            <a:pt x="804" y="12619"/>
                            <a:pt x="804" y="12440"/>
                            <a:pt x="804" y="12260"/>
                          </a:cubicBezTo>
                          <a:cubicBezTo>
                            <a:pt x="804" y="12081"/>
                            <a:pt x="804" y="11902"/>
                            <a:pt x="864" y="11722"/>
                          </a:cubicBezTo>
                          <a:lnTo>
                            <a:pt x="146" y="11244"/>
                          </a:lnTo>
                          <a:cubicBezTo>
                            <a:pt x="146" y="11423"/>
                            <a:pt x="86" y="11543"/>
                            <a:pt x="86" y="11722"/>
                          </a:cubicBezTo>
                          <a:cubicBezTo>
                            <a:pt x="86" y="11902"/>
                            <a:pt x="27" y="12021"/>
                            <a:pt x="27" y="12201"/>
                          </a:cubicBezTo>
                          <a:cubicBezTo>
                            <a:pt x="27" y="12380"/>
                            <a:pt x="27" y="12500"/>
                            <a:pt x="27" y="12679"/>
                          </a:cubicBezTo>
                          <a:cubicBezTo>
                            <a:pt x="-33" y="12859"/>
                            <a:pt x="27" y="13038"/>
                            <a:pt x="27" y="13158"/>
                          </a:cubicBezTo>
                          <a:moveTo>
                            <a:pt x="1462" y="16985"/>
                          </a:moveTo>
                          <a:lnTo>
                            <a:pt x="3436" y="18241"/>
                          </a:lnTo>
                          <a:cubicBezTo>
                            <a:pt x="3675" y="18301"/>
                            <a:pt x="3914" y="18421"/>
                            <a:pt x="4153" y="18421"/>
                          </a:cubicBezTo>
                          <a:cubicBezTo>
                            <a:pt x="4392" y="18480"/>
                            <a:pt x="4632" y="18540"/>
                            <a:pt x="4931" y="18540"/>
                          </a:cubicBezTo>
                          <a:cubicBezTo>
                            <a:pt x="5170" y="18540"/>
                            <a:pt x="5469" y="18600"/>
                            <a:pt x="5708" y="18600"/>
                          </a:cubicBezTo>
                          <a:cubicBezTo>
                            <a:pt x="5947" y="18600"/>
                            <a:pt x="6246" y="18600"/>
                            <a:pt x="6545" y="18540"/>
                          </a:cubicBezTo>
                          <a:lnTo>
                            <a:pt x="5350" y="17763"/>
                          </a:lnTo>
                          <a:cubicBezTo>
                            <a:pt x="5110" y="17763"/>
                            <a:pt x="4931" y="17703"/>
                            <a:pt x="4691" y="17643"/>
                          </a:cubicBezTo>
                          <a:cubicBezTo>
                            <a:pt x="4512" y="17583"/>
                            <a:pt x="4273" y="17523"/>
                            <a:pt x="4093" y="17464"/>
                          </a:cubicBezTo>
                          <a:cubicBezTo>
                            <a:pt x="3914" y="17404"/>
                            <a:pt x="3735" y="17344"/>
                            <a:pt x="3496" y="17225"/>
                          </a:cubicBezTo>
                          <a:cubicBezTo>
                            <a:pt x="3316" y="17165"/>
                            <a:pt x="3137" y="17045"/>
                            <a:pt x="2957" y="16926"/>
                          </a:cubicBezTo>
                          <a:cubicBezTo>
                            <a:pt x="2778" y="16806"/>
                            <a:pt x="2598" y="16686"/>
                            <a:pt x="2479" y="16567"/>
                          </a:cubicBezTo>
                          <a:cubicBezTo>
                            <a:pt x="2359" y="16447"/>
                            <a:pt x="2180" y="16267"/>
                            <a:pt x="2060" y="16148"/>
                          </a:cubicBezTo>
                          <a:cubicBezTo>
                            <a:pt x="1940" y="16028"/>
                            <a:pt x="1821" y="15849"/>
                            <a:pt x="1701" y="15669"/>
                          </a:cubicBezTo>
                          <a:cubicBezTo>
                            <a:pt x="1582" y="15490"/>
                            <a:pt x="1462" y="15311"/>
                            <a:pt x="1402" y="15131"/>
                          </a:cubicBezTo>
                          <a:lnTo>
                            <a:pt x="206" y="14354"/>
                          </a:lnTo>
                          <a:cubicBezTo>
                            <a:pt x="266" y="14593"/>
                            <a:pt x="326" y="14832"/>
                            <a:pt x="385" y="15072"/>
                          </a:cubicBezTo>
                          <a:cubicBezTo>
                            <a:pt x="445" y="15311"/>
                            <a:pt x="565" y="15550"/>
                            <a:pt x="684" y="15729"/>
                          </a:cubicBezTo>
                          <a:cubicBezTo>
                            <a:pt x="804" y="15968"/>
                            <a:pt x="923" y="16148"/>
                            <a:pt x="1043" y="16327"/>
                          </a:cubicBezTo>
                          <a:cubicBezTo>
                            <a:pt x="1163" y="16626"/>
                            <a:pt x="1282" y="16806"/>
                            <a:pt x="1462" y="16985"/>
                          </a:cubicBezTo>
                        </a:path>
                      </a:pathLst>
                    </a:custGeom>
                    <a:noFill/>
                    <a:ln w="6350" cap="flat">
                      <a:solidFill>
                        <a:schemeClr val="bg1">
                          <a:alpha val="80000"/>
                        </a:schemeClr>
                      </a:solidFill>
                      <a:prstDash val="solid"/>
                      <a:miter/>
                    </a:ln>
                  </p:spPr>
                  <p:txBody>
                    <a:bodyPr rtlCol="0" anchor="ctr"/>
                    <a:lstStyle/>
                    <a:p>
                      <a:endParaRPr lang="en-GB"/>
                    </a:p>
                  </p:txBody>
                </p:sp>
                <p:sp>
                  <p:nvSpPr>
                    <p:cNvPr id="7387" name="Vrije vorm: vorm 7386">
                      <a:extLst>
                        <a:ext uri="{FF2B5EF4-FFF2-40B4-BE49-F238E27FC236}">
                          <a16:creationId xmlns:a16="http://schemas.microsoft.com/office/drawing/2014/main" id="{45A3A27E-F877-47DF-8CA2-5A65B9B9E2B6}"/>
                        </a:ext>
                      </a:extLst>
                    </p:cNvPr>
                    <p:cNvSpPr/>
                    <p:nvPr/>
                  </p:nvSpPr>
                  <p:spPr>
                    <a:xfrm>
                      <a:off x="5340107" y="5519947"/>
                      <a:ext cx="10086" cy="10310"/>
                    </a:xfrm>
                    <a:custGeom>
                      <a:avLst/>
                      <a:gdLst>
                        <a:gd name="connsiteX0" fmla="*/ 2073 w 10086"/>
                        <a:gd name="connsiteY0" fmla="*/ 2632 h 10310"/>
                        <a:gd name="connsiteX1" fmla="*/ 2611 w 10086"/>
                        <a:gd name="connsiteY1" fmla="*/ 2990 h 10310"/>
                        <a:gd name="connsiteX2" fmla="*/ 3149 w 10086"/>
                        <a:gd name="connsiteY2" fmla="*/ 2452 h 10310"/>
                        <a:gd name="connsiteX3" fmla="*/ 3687 w 10086"/>
                        <a:gd name="connsiteY3" fmla="*/ 1974 h 10310"/>
                        <a:gd name="connsiteX4" fmla="*/ 4286 w 10086"/>
                        <a:gd name="connsiteY4" fmla="*/ 1615 h 10310"/>
                        <a:gd name="connsiteX5" fmla="*/ 4884 w 10086"/>
                        <a:gd name="connsiteY5" fmla="*/ 1316 h 10310"/>
                        <a:gd name="connsiteX6" fmla="*/ 5183 w 10086"/>
                        <a:gd name="connsiteY6" fmla="*/ 1196 h 10310"/>
                        <a:gd name="connsiteX7" fmla="*/ 5482 w 10086"/>
                        <a:gd name="connsiteY7" fmla="*/ 1076 h 10310"/>
                        <a:gd name="connsiteX8" fmla="*/ 5781 w 10086"/>
                        <a:gd name="connsiteY8" fmla="*/ 1017 h 10310"/>
                        <a:gd name="connsiteX9" fmla="*/ 6080 w 10086"/>
                        <a:gd name="connsiteY9" fmla="*/ 957 h 10310"/>
                        <a:gd name="connsiteX10" fmla="*/ 6678 w 10086"/>
                        <a:gd name="connsiteY10" fmla="*/ 897 h 10310"/>
                        <a:gd name="connsiteX11" fmla="*/ 7276 w 10086"/>
                        <a:gd name="connsiteY11" fmla="*/ 897 h 10310"/>
                        <a:gd name="connsiteX12" fmla="*/ 7814 w 10086"/>
                        <a:gd name="connsiteY12" fmla="*/ 1017 h 10310"/>
                        <a:gd name="connsiteX13" fmla="*/ 8293 w 10086"/>
                        <a:gd name="connsiteY13" fmla="*/ 1256 h 10310"/>
                        <a:gd name="connsiteX14" fmla="*/ 8711 w 10086"/>
                        <a:gd name="connsiteY14" fmla="*/ 1615 h 10310"/>
                        <a:gd name="connsiteX15" fmla="*/ 9010 w 10086"/>
                        <a:gd name="connsiteY15" fmla="*/ 2034 h 10310"/>
                        <a:gd name="connsiteX16" fmla="*/ 9250 w 10086"/>
                        <a:gd name="connsiteY16" fmla="*/ 2512 h 10310"/>
                        <a:gd name="connsiteX17" fmla="*/ 9369 w 10086"/>
                        <a:gd name="connsiteY17" fmla="*/ 3050 h 10310"/>
                        <a:gd name="connsiteX18" fmla="*/ 9369 w 10086"/>
                        <a:gd name="connsiteY18" fmla="*/ 3289 h 10310"/>
                        <a:gd name="connsiteX19" fmla="*/ 9369 w 10086"/>
                        <a:gd name="connsiteY19" fmla="*/ 3529 h 10310"/>
                        <a:gd name="connsiteX20" fmla="*/ 9369 w 10086"/>
                        <a:gd name="connsiteY20" fmla="*/ 3828 h 10310"/>
                        <a:gd name="connsiteX21" fmla="*/ 9309 w 10086"/>
                        <a:gd name="connsiteY21" fmla="*/ 4127 h 10310"/>
                        <a:gd name="connsiteX22" fmla="*/ 9190 w 10086"/>
                        <a:gd name="connsiteY22" fmla="*/ 4725 h 10310"/>
                        <a:gd name="connsiteX23" fmla="*/ 8951 w 10086"/>
                        <a:gd name="connsiteY23" fmla="*/ 5323 h 10310"/>
                        <a:gd name="connsiteX24" fmla="*/ 8652 w 10086"/>
                        <a:gd name="connsiteY24" fmla="*/ 5921 h 10310"/>
                        <a:gd name="connsiteX25" fmla="*/ 8293 w 10086"/>
                        <a:gd name="connsiteY25" fmla="*/ 6519 h 10310"/>
                        <a:gd name="connsiteX26" fmla="*/ 8831 w 10086"/>
                        <a:gd name="connsiteY26" fmla="*/ 6878 h 10310"/>
                        <a:gd name="connsiteX27" fmla="*/ 9190 w 10086"/>
                        <a:gd name="connsiteY27" fmla="*/ 6280 h 10310"/>
                        <a:gd name="connsiteX28" fmla="*/ 9489 w 10086"/>
                        <a:gd name="connsiteY28" fmla="*/ 5682 h 10310"/>
                        <a:gd name="connsiteX29" fmla="*/ 9728 w 10086"/>
                        <a:gd name="connsiteY29" fmla="*/ 5083 h 10310"/>
                        <a:gd name="connsiteX30" fmla="*/ 9908 w 10086"/>
                        <a:gd name="connsiteY30" fmla="*/ 4486 h 10310"/>
                        <a:gd name="connsiteX31" fmla="*/ 9967 w 10086"/>
                        <a:gd name="connsiteY31" fmla="*/ 4246 h 10310"/>
                        <a:gd name="connsiteX32" fmla="*/ 10027 w 10086"/>
                        <a:gd name="connsiteY32" fmla="*/ 4007 h 10310"/>
                        <a:gd name="connsiteX33" fmla="*/ 10087 w 10086"/>
                        <a:gd name="connsiteY33" fmla="*/ 3768 h 10310"/>
                        <a:gd name="connsiteX34" fmla="*/ 10087 w 10086"/>
                        <a:gd name="connsiteY34" fmla="*/ 3529 h 10310"/>
                        <a:gd name="connsiteX35" fmla="*/ 10087 w 10086"/>
                        <a:gd name="connsiteY35" fmla="*/ 2572 h 10310"/>
                        <a:gd name="connsiteX36" fmla="*/ 9848 w 10086"/>
                        <a:gd name="connsiteY36" fmla="*/ 1734 h 10310"/>
                        <a:gd name="connsiteX37" fmla="*/ 9429 w 10086"/>
                        <a:gd name="connsiteY37" fmla="*/ 1017 h 10310"/>
                        <a:gd name="connsiteX38" fmla="*/ 8831 w 10086"/>
                        <a:gd name="connsiteY38" fmla="*/ 479 h 10310"/>
                        <a:gd name="connsiteX39" fmla="*/ 8054 w 10086"/>
                        <a:gd name="connsiteY39" fmla="*/ 120 h 10310"/>
                        <a:gd name="connsiteX40" fmla="*/ 7156 w 10086"/>
                        <a:gd name="connsiteY40" fmla="*/ 0 h 10310"/>
                        <a:gd name="connsiteX41" fmla="*/ 6199 w 10086"/>
                        <a:gd name="connsiteY41" fmla="*/ 60 h 10310"/>
                        <a:gd name="connsiteX42" fmla="*/ 5243 w 10086"/>
                        <a:gd name="connsiteY42" fmla="*/ 359 h 10310"/>
                        <a:gd name="connsiteX43" fmla="*/ 5003 w 10086"/>
                        <a:gd name="connsiteY43" fmla="*/ 479 h 10310"/>
                        <a:gd name="connsiteX44" fmla="*/ 4764 w 10086"/>
                        <a:gd name="connsiteY44" fmla="*/ 598 h 10310"/>
                        <a:gd name="connsiteX45" fmla="*/ 4525 w 10086"/>
                        <a:gd name="connsiteY45" fmla="*/ 718 h 10310"/>
                        <a:gd name="connsiteX46" fmla="*/ 4286 w 10086"/>
                        <a:gd name="connsiteY46" fmla="*/ 837 h 10310"/>
                        <a:gd name="connsiteX47" fmla="*/ 3747 w 10086"/>
                        <a:gd name="connsiteY47" fmla="*/ 1196 h 10310"/>
                        <a:gd name="connsiteX48" fmla="*/ 3209 w 10086"/>
                        <a:gd name="connsiteY48" fmla="*/ 1615 h 10310"/>
                        <a:gd name="connsiteX49" fmla="*/ 2671 w 10086"/>
                        <a:gd name="connsiteY49" fmla="*/ 2093 h 10310"/>
                        <a:gd name="connsiteX50" fmla="*/ 2073 w 10086"/>
                        <a:gd name="connsiteY50" fmla="*/ 2632 h 10310"/>
                        <a:gd name="connsiteX51" fmla="*/ 757 w 10086"/>
                        <a:gd name="connsiteY51" fmla="*/ 9210 h 10310"/>
                        <a:gd name="connsiteX52" fmla="*/ 2192 w 10086"/>
                        <a:gd name="connsiteY52" fmla="*/ 10167 h 10310"/>
                        <a:gd name="connsiteX53" fmla="*/ 3568 w 10086"/>
                        <a:gd name="connsiteY53" fmla="*/ 10287 h 10310"/>
                        <a:gd name="connsiteX54" fmla="*/ 5063 w 10086"/>
                        <a:gd name="connsiteY54" fmla="*/ 9868 h 10310"/>
                        <a:gd name="connsiteX55" fmla="*/ 6558 w 10086"/>
                        <a:gd name="connsiteY55" fmla="*/ 9031 h 10310"/>
                        <a:gd name="connsiteX56" fmla="*/ 7934 w 10086"/>
                        <a:gd name="connsiteY56" fmla="*/ 7775 h 10310"/>
                        <a:gd name="connsiteX57" fmla="*/ 7395 w 10086"/>
                        <a:gd name="connsiteY57" fmla="*/ 7416 h 10310"/>
                        <a:gd name="connsiteX58" fmla="*/ 6020 w 10086"/>
                        <a:gd name="connsiteY58" fmla="*/ 8612 h 10310"/>
                        <a:gd name="connsiteX59" fmla="*/ 4525 w 10086"/>
                        <a:gd name="connsiteY59" fmla="*/ 9330 h 10310"/>
                        <a:gd name="connsiteX60" fmla="*/ 3090 w 10086"/>
                        <a:gd name="connsiteY60" fmla="*/ 9510 h 10310"/>
                        <a:gd name="connsiteX61" fmla="*/ 1833 w 10086"/>
                        <a:gd name="connsiteY61" fmla="*/ 9091 h 10310"/>
                        <a:gd name="connsiteX62" fmla="*/ 1056 w 10086"/>
                        <a:gd name="connsiteY62" fmla="*/ 8134 h 10310"/>
                        <a:gd name="connsiteX63" fmla="*/ 817 w 10086"/>
                        <a:gd name="connsiteY63" fmla="*/ 6818 h 10310"/>
                        <a:gd name="connsiteX64" fmla="*/ 1116 w 10086"/>
                        <a:gd name="connsiteY64" fmla="*/ 5323 h 10310"/>
                        <a:gd name="connsiteX65" fmla="*/ 1893 w 10086"/>
                        <a:gd name="connsiteY65" fmla="*/ 3768 h 10310"/>
                        <a:gd name="connsiteX66" fmla="*/ 1355 w 10086"/>
                        <a:gd name="connsiteY66" fmla="*/ 3409 h 10310"/>
                        <a:gd name="connsiteX67" fmla="*/ 458 w 10086"/>
                        <a:gd name="connsiteY67" fmla="*/ 5024 h 10310"/>
                        <a:gd name="connsiteX68" fmla="*/ 39 w 10086"/>
                        <a:gd name="connsiteY68" fmla="*/ 6639 h 10310"/>
                        <a:gd name="connsiteX69" fmla="*/ 99 w 10086"/>
                        <a:gd name="connsiteY69" fmla="*/ 8074 h 10310"/>
                        <a:gd name="connsiteX70" fmla="*/ 757 w 10086"/>
                        <a:gd name="connsiteY70" fmla="*/ 9210 h 1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086" h="10310">
                          <a:moveTo>
                            <a:pt x="2073" y="2632"/>
                          </a:moveTo>
                          <a:lnTo>
                            <a:pt x="2611" y="2990"/>
                          </a:lnTo>
                          <a:cubicBezTo>
                            <a:pt x="2791" y="2811"/>
                            <a:pt x="2970" y="2632"/>
                            <a:pt x="3149" y="2452"/>
                          </a:cubicBezTo>
                          <a:cubicBezTo>
                            <a:pt x="3329" y="2273"/>
                            <a:pt x="3508" y="2153"/>
                            <a:pt x="3687" y="1974"/>
                          </a:cubicBezTo>
                          <a:cubicBezTo>
                            <a:pt x="3867" y="1854"/>
                            <a:pt x="4046" y="1734"/>
                            <a:pt x="4286" y="1615"/>
                          </a:cubicBezTo>
                          <a:cubicBezTo>
                            <a:pt x="4465" y="1495"/>
                            <a:pt x="4704" y="1375"/>
                            <a:pt x="4884" y="1316"/>
                          </a:cubicBezTo>
                          <a:cubicBezTo>
                            <a:pt x="5003" y="1256"/>
                            <a:pt x="5063" y="1256"/>
                            <a:pt x="5183" y="1196"/>
                          </a:cubicBezTo>
                          <a:cubicBezTo>
                            <a:pt x="5302" y="1136"/>
                            <a:pt x="5362" y="1136"/>
                            <a:pt x="5482" y="1076"/>
                          </a:cubicBezTo>
                          <a:cubicBezTo>
                            <a:pt x="5601" y="1017"/>
                            <a:pt x="5661" y="1017"/>
                            <a:pt x="5781" y="1017"/>
                          </a:cubicBezTo>
                          <a:cubicBezTo>
                            <a:pt x="5900" y="1017"/>
                            <a:pt x="5960" y="957"/>
                            <a:pt x="6080" y="957"/>
                          </a:cubicBezTo>
                          <a:cubicBezTo>
                            <a:pt x="6259" y="897"/>
                            <a:pt x="6499" y="897"/>
                            <a:pt x="6678" y="897"/>
                          </a:cubicBezTo>
                          <a:cubicBezTo>
                            <a:pt x="6857" y="897"/>
                            <a:pt x="7097" y="897"/>
                            <a:pt x="7276" y="897"/>
                          </a:cubicBezTo>
                          <a:cubicBezTo>
                            <a:pt x="7455" y="897"/>
                            <a:pt x="7635" y="957"/>
                            <a:pt x="7814" y="1017"/>
                          </a:cubicBezTo>
                          <a:cubicBezTo>
                            <a:pt x="7994" y="1076"/>
                            <a:pt x="8173" y="1136"/>
                            <a:pt x="8293" y="1256"/>
                          </a:cubicBezTo>
                          <a:cubicBezTo>
                            <a:pt x="8472" y="1375"/>
                            <a:pt x="8592" y="1495"/>
                            <a:pt x="8711" y="1615"/>
                          </a:cubicBezTo>
                          <a:cubicBezTo>
                            <a:pt x="8831" y="1734"/>
                            <a:pt x="8951" y="1914"/>
                            <a:pt x="9010" y="2034"/>
                          </a:cubicBezTo>
                          <a:cubicBezTo>
                            <a:pt x="9070" y="2213"/>
                            <a:pt x="9190" y="2333"/>
                            <a:pt x="9250" y="2512"/>
                          </a:cubicBezTo>
                          <a:cubicBezTo>
                            <a:pt x="9309" y="2691"/>
                            <a:pt x="9369" y="2871"/>
                            <a:pt x="9369" y="3050"/>
                          </a:cubicBezTo>
                          <a:cubicBezTo>
                            <a:pt x="9369" y="3110"/>
                            <a:pt x="9369" y="3229"/>
                            <a:pt x="9369" y="3289"/>
                          </a:cubicBezTo>
                          <a:cubicBezTo>
                            <a:pt x="9369" y="3349"/>
                            <a:pt x="9369" y="3469"/>
                            <a:pt x="9369" y="3529"/>
                          </a:cubicBezTo>
                          <a:cubicBezTo>
                            <a:pt x="9369" y="3588"/>
                            <a:pt x="9369" y="3708"/>
                            <a:pt x="9369" y="3828"/>
                          </a:cubicBezTo>
                          <a:cubicBezTo>
                            <a:pt x="9369" y="3947"/>
                            <a:pt x="9369" y="4007"/>
                            <a:pt x="9309" y="4127"/>
                          </a:cubicBezTo>
                          <a:cubicBezTo>
                            <a:pt x="9250" y="4306"/>
                            <a:pt x="9250" y="4545"/>
                            <a:pt x="9190" y="4725"/>
                          </a:cubicBezTo>
                          <a:cubicBezTo>
                            <a:pt x="9130" y="4904"/>
                            <a:pt x="9070" y="5143"/>
                            <a:pt x="8951" y="5323"/>
                          </a:cubicBezTo>
                          <a:cubicBezTo>
                            <a:pt x="8891" y="5502"/>
                            <a:pt x="8771" y="5742"/>
                            <a:pt x="8652" y="5921"/>
                          </a:cubicBezTo>
                          <a:cubicBezTo>
                            <a:pt x="8532" y="6100"/>
                            <a:pt x="8412" y="6340"/>
                            <a:pt x="8293" y="6519"/>
                          </a:cubicBezTo>
                          <a:lnTo>
                            <a:pt x="8831" y="6878"/>
                          </a:lnTo>
                          <a:cubicBezTo>
                            <a:pt x="8951" y="6698"/>
                            <a:pt x="9070" y="6459"/>
                            <a:pt x="9190" y="6280"/>
                          </a:cubicBezTo>
                          <a:cubicBezTo>
                            <a:pt x="9309" y="6100"/>
                            <a:pt x="9429" y="5861"/>
                            <a:pt x="9489" y="5682"/>
                          </a:cubicBezTo>
                          <a:cubicBezTo>
                            <a:pt x="9608" y="5502"/>
                            <a:pt x="9668" y="5263"/>
                            <a:pt x="9728" y="5083"/>
                          </a:cubicBezTo>
                          <a:cubicBezTo>
                            <a:pt x="9788" y="4904"/>
                            <a:pt x="9848" y="4665"/>
                            <a:pt x="9908" y="4486"/>
                          </a:cubicBezTo>
                          <a:cubicBezTo>
                            <a:pt x="9908" y="4426"/>
                            <a:pt x="9967" y="4306"/>
                            <a:pt x="9967" y="4246"/>
                          </a:cubicBezTo>
                          <a:cubicBezTo>
                            <a:pt x="9967" y="4187"/>
                            <a:pt x="10027" y="4067"/>
                            <a:pt x="10027" y="4007"/>
                          </a:cubicBezTo>
                          <a:cubicBezTo>
                            <a:pt x="10027" y="3947"/>
                            <a:pt x="10027" y="3828"/>
                            <a:pt x="10087" y="3768"/>
                          </a:cubicBezTo>
                          <a:cubicBezTo>
                            <a:pt x="10087" y="3708"/>
                            <a:pt x="10087" y="3588"/>
                            <a:pt x="10087" y="3529"/>
                          </a:cubicBezTo>
                          <a:cubicBezTo>
                            <a:pt x="10087" y="3229"/>
                            <a:pt x="10087" y="2871"/>
                            <a:pt x="10087" y="2572"/>
                          </a:cubicBezTo>
                          <a:cubicBezTo>
                            <a:pt x="10027" y="2273"/>
                            <a:pt x="9967" y="1974"/>
                            <a:pt x="9848" y="1734"/>
                          </a:cubicBezTo>
                          <a:cubicBezTo>
                            <a:pt x="9728" y="1495"/>
                            <a:pt x="9608" y="1196"/>
                            <a:pt x="9429" y="1017"/>
                          </a:cubicBezTo>
                          <a:cubicBezTo>
                            <a:pt x="9250" y="837"/>
                            <a:pt x="9070" y="598"/>
                            <a:pt x="8831" y="479"/>
                          </a:cubicBezTo>
                          <a:cubicBezTo>
                            <a:pt x="8592" y="299"/>
                            <a:pt x="8353" y="180"/>
                            <a:pt x="8054" y="120"/>
                          </a:cubicBezTo>
                          <a:cubicBezTo>
                            <a:pt x="7754" y="60"/>
                            <a:pt x="7455" y="0"/>
                            <a:pt x="7156" y="0"/>
                          </a:cubicBezTo>
                          <a:cubicBezTo>
                            <a:pt x="6857" y="0"/>
                            <a:pt x="6558" y="0"/>
                            <a:pt x="6199" y="60"/>
                          </a:cubicBezTo>
                          <a:cubicBezTo>
                            <a:pt x="5840" y="120"/>
                            <a:pt x="5541" y="239"/>
                            <a:pt x="5243" y="359"/>
                          </a:cubicBezTo>
                          <a:cubicBezTo>
                            <a:pt x="5183" y="419"/>
                            <a:pt x="5063" y="419"/>
                            <a:pt x="5003" y="479"/>
                          </a:cubicBezTo>
                          <a:cubicBezTo>
                            <a:pt x="4944" y="538"/>
                            <a:pt x="4824" y="538"/>
                            <a:pt x="4764" y="598"/>
                          </a:cubicBezTo>
                          <a:cubicBezTo>
                            <a:pt x="4704" y="658"/>
                            <a:pt x="4585" y="658"/>
                            <a:pt x="4525" y="718"/>
                          </a:cubicBezTo>
                          <a:cubicBezTo>
                            <a:pt x="4465" y="778"/>
                            <a:pt x="4345" y="778"/>
                            <a:pt x="4286" y="837"/>
                          </a:cubicBezTo>
                          <a:cubicBezTo>
                            <a:pt x="4106" y="957"/>
                            <a:pt x="3927" y="1076"/>
                            <a:pt x="3747" y="1196"/>
                          </a:cubicBezTo>
                          <a:cubicBezTo>
                            <a:pt x="3568" y="1316"/>
                            <a:pt x="3389" y="1435"/>
                            <a:pt x="3209" y="1615"/>
                          </a:cubicBezTo>
                          <a:cubicBezTo>
                            <a:pt x="3030" y="1794"/>
                            <a:pt x="2850" y="1914"/>
                            <a:pt x="2671" y="2093"/>
                          </a:cubicBezTo>
                          <a:cubicBezTo>
                            <a:pt x="2491" y="2273"/>
                            <a:pt x="2192" y="2452"/>
                            <a:pt x="2073" y="2632"/>
                          </a:cubicBezTo>
                          <a:moveTo>
                            <a:pt x="757" y="9210"/>
                          </a:moveTo>
                          <a:lnTo>
                            <a:pt x="2192" y="10167"/>
                          </a:lnTo>
                          <a:cubicBezTo>
                            <a:pt x="2611" y="10287"/>
                            <a:pt x="3090" y="10347"/>
                            <a:pt x="3568" y="10287"/>
                          </a:cubicBezTo>
                          <a:cubicBezTo>
                            <a:pt x="4046" y="10227"/>
                            <a:pt x="4585" y="10107"/>
                            <a:pt x="5063" y="9868"/>
                          </a:cubicBezTo>
                          <a:cubicBezTo>
                            <a:pt x="5541" y="9629"/>
                            <a:pt x="6080" y="9390"/>
                            <a:pt x="6558" y="9031"/>
                          </a:cubicBezTo>
                          <a:cubicBezTo>
                            <a:pt x="7037" y="8672"/>
                            <a:pt x="7515" y="8253"/>
                            <a:pt x="7934" y="7775"/>
                          </a:cubicBezTo>
                          <a:lnTo>
                            <a:pt x="7395" y="7416"/>
                          </a:lnTo>
                          <a:cubicBezTo>
                            <a:pt x="6977" y="7895"/>
                            <a:pt x="6499" y="8253"/>
                            <a:pt x="6020" y="8612"/>
                          </a:cubicBezTo>
                          <a:cubicBezTo>
                            <a:pt x="5541" y="8911"/>
                            <a:pt x="5063" y="9151"/>
                            <a:pt x="4525" y="9330"/>
                          </a:cubicBezTo>
                          <a:cubicBezTo>
                            <a:pt x="4046" y="9510"/>
                            <a:pt x="3568" y="9569"/>
                            <a:pt x="3090" y="9510"/>
                          </a:cubicBezTo>
                          <a:cubicBezTo>
                            <a:pt x="2611" y="9450"/>
                            <a:pt x="2192" y="9330"/>
                            <a:pt x="1833" y="9091"/>
                          </a:cubicBezTo>
                          <a:cubicBezTo>
                            <a:pt x="1475" y="8851"/>
                            <a:pt x="1236" y="8552"/>
                            <a:pt x="1056" y="8134"/>
                          </a:cubicBezTo>
                          <a:cubicBezTo>
                            <a:pt x="877" y="7715"/>
                            <a:pt x="817" y="7297"/>
                            <a:pt x="817" y="6818"/>
                          </a:cubicBezTo>
                          <a:cubicBezTo>
                            <a:pt x="817" y="6340"/>
                            <a:pt x="937" y="5801"/>
                            <a:pt x="1116" y="5323"/>
                          </a:cubicBezTo>
                          <a:cubicBezTo>
                            <a:pt x="1295" y="4785"/>
                            <a:pt x="1535" y="4246"/>
                            <a:pt x="1893" y="3768"/>
                          </a:cubicBezTo>
                          <a:lnTo>
                            <a:pt x="1355" y="3409"/>
                          </a:lnTo>
                          <a:cubicBezTo>
                            <a:pt x="996" y="3947"/>
                            <a:pt x="697" y="4486"/>
                            <a:pt x="458" y="5024"/>
                          </a:cubicBezTo>
                          <a:cubicBezTo>
                            <a:pt x="219" y="5562"/>
                            <a:pt x="99" y="6100"/>
                            <a:pt x="39" y="6639"/>
                          </a:cubicBezTo>
                          <a:cubicBezTo>
                            <a:pt x="-21" y="7177"/>
                            <a:pt x="-21" y="7655"/>
                            <a:pt x="99" y="8074"/>
                          </a:cubicBezTo>
                          <a:cubicBezTo>
                            <a:pt x="338" y="8433"/>
                            <a:pt x="518" y="8851"/>
                            <a:pt x="757" y="9210"/>
                          </a:cubicBezTo>
                        </a:path>
                      </a:pathLst>
                    </a:custGeom>
                    <a:noFill/>
                    <a:ln w="6350" cap="flat">
                      <a:solidFill>
                        <a:schemeClr val="bg1">
                          <a:alpha val="80000"/>
                        </a:schemeClr>
                      </a:solidFill>
                      <a:prstDash val="solid"/>
                      <a:miter/>
                    </a:ln>
                  </p:spPr>
                  <p:txBody>
                    <a:bodyPr rtlCol="0" anchor="ctr"/>
                    <a:lstStyle/>
                    <a:p>
                      <a:endParaRPr lang="en-GB"/>
                    </a:p>
                  </p:txBody>
                </p:sp>
                <p:sp>
                  <p:nvSpPr>
                    <p:cNvPr id="7388" name="Vrije vorm: vorm 7387">
                      <a:extLst>
                        <a:ext uri="{FF2B5EF4-FFF2-40B4-BE49-F238E27FC236}">
                          <a16:creationId xmlns:a16="http://schemas.microsoft.com/office/drawing/2014/main" id="{9D12A802-5D66-4784-9B12-717B689A3757}"/>
                        </a:ext>
                      </a:extLst>
                    </p:cNvPr>
                    <p:cNvSpPr/>
                    <p:nvPr/>
                  </p:nvSpPr>
                  <p:spPr>
                    <a:xfrm>
                      <a:off x="5305353" y="5495246"/>
                      <a:ext cx="18764" cy="19377"/>
                    </a:xfrm>
                    <a:custGeom>
                      <a:avLst/>
                      <a:gdLst>
                        <a:gd name="connsiteX0" fmla="*/ 15415 w 18764"/>
                        <a:gd name="connsiteY0" fmla="*/ 13158 h 19377"/>
                        <a:gd name="connsiteX1" fmla="*/ 15953 w 18764"/>
                        <a:gd name="connsiteY1" fmla="*/ 13516 h 19377"/>
                        <a:gd name="connsiteX2" fmla="*/ 16372 w 18764"/>
                        <a:gd name="connsiteY2" fmla="*/ 12978 h 19377"/>
                        <a:gd name="connsiteX3" fmla="*/ 16731 w 18764"/>
                        <a:gd name="connsiteY3" fmla="*/ 12440 h 19377"/>
                        <a:gd name="connsiteX4" fmla="*/ 17090 w 18764"/>
                        <a:gd name="connsiteY4" fmla="*/ 11842 h 19377"/>
                        <a:gd name="connsiteX5" fmla="*/ 17389 w 18764"/>
                        <a:gd name="connsiteY5" fmla="*/ 11244 h 19377"/>
                        <a:gd name="connsiteX6" fmla="*/ 17509 w 18764"/>
                        <a:gd name="connsiteY6" fmla="*/ 11005 h 19377"/>
                        <a:gd name="connsiteX7" fmla="*/ 17628 w 18764"/>
                        <a:gd name="connsiteY7" fmla="*/ 10765 h 19377"/>
                        <a:gd name="connsiteX8" fmla="*/ 17748 w 18764"/>
                        <a:gd name="connsiteY8" fmla="*/ 10526 h 19377"/>
                        <a:gd name="connsiteX9" fmla="*/ 17867 w 18764"/>
                        <a:gd name="connsiteY9" fmla="*/ 10287 h 19377"/>
                        <a:gd name="connsiteX10" fmla="*/ 18346 w 18764"/>
                        <a:gd name="connsiteY10" fmla="*/ 8911 h 19377"/>
                        <a:gd name="connsiteX11" fmla="*/ 18645 w 18764"/>
                        <a:gd name="connsiteY11" fmla="*/ 7536 h 19377"/>
                        <a:gd name="connsiteX12" fmla="*/ 18765 w 18764"/>
                        <a:gd name="connsiteY12" fmla="*/ 6220 h 19377"/>
                        <a:gd name="connsiteX13" fmla="*/ 18705 w 18764"/>
                        <a:gd name="connsiteY13" fmla="*/ 4964 h 19377"/>
                        <a:gd name="connsiteX14" fmla="*/ 18645 w 18764"/>
                        <a:gd name="connsiteY14" fmla="*/ 4605 h 19377"/>
                        <a:gd name="connsiteX15" fmla="*/ 18585 w 18764"/>
                        <a:gd name="connsiteY15" fmla="*/ 4246 h 19377"/>
                        <a:gd name="connsiteX16" fmla="*/ 18525 w 18764"/>
                        <a:gd name="connsiteY16" fmla="*/ 3888 h 19377"/>
                        <a:gd name="connsiteX17" fmla="*/ 18406 w 18764"/>
                        <a:gd name="connsiteY17" fmla="*/ 3589 h 19377"/>
                        <a:gd name="connsiteX18" fmla="*/ 18047 w 18764"/>
                        <a:gd name="connsiteY18" fmla="*/ 2811 h 19377"/>
                        <a:gd name="connsiteX19" fmla="*/ 17568 w 18764"/>
                        <a:gd name="connsiteY19" fmla="*/ 2093 h 19377"/>
                        <a:gd name="connsiteX20" fmla="*/ 16970 w 18764"/>
                        <a:gd name="connsiteY20" fmla="*/ 1435 h 19377"/>
                        <a:gd name="connsiteX21" fmla="*/ 16312 w 18764"/>
                        <a:gd name="connsiteY21" fmla="*/ 897 h 19377"/>
                        <a:gd name="connsiteX22" fmla="*/ 16013 w 18764"/>
                        <a:gd name="connsiteY22" fmla="*/ 718 h 19377"/>
                        <a:gd name="connsiteX23" fmla="*/ 15714 w 18764"/>
                        <a:gd name="connsiteY23" fmla="*/ 538 h 19377"/>
                        <a:gd name="connsiteX24" fmla="*/ 15415 w 18764"/>
                        <a:gd name="connsiteY24" fmla="*/ 419 h 19377"/>
                        <a:gd name="connsiteX25" fmla="*/ 15116 w 18764"/>
                        <a:gd name="connsiteY25" fmla="*/ 299 h 19377"/>
                        <a:gd name="connsiteX26" fmla="*/ 14518 w 18764"/>
                        <a:gd name="connsiteY26" fmla="*/ 1076 h 19377"/>
                        <a:gd name="connsiteX27" fmla="*/ 14578 w 18764"/>
                        <a:gd name="connsiteY27" fmla="*/ 1076 h 19377"/>
                        <a:gd name="connsiteX28" fmla="*/ 14638 w 18764"/>
                        <a:gd name="connsiteY28" fmla="*/ 1076 h 19377"/>
                        <a:gd name="connsiteX29" fmla="*/ 14698 w 18764"/>
                        <a:gd name="connsiteY29" fmla="*/ 1076 h 19377"/>
                        <a:gd name="connsiteX30" fmla="*/ 14758 w 18764"/>
                        <a:gd name="connsiteY30" fmla="*/ 1076 h 19377"/>
                        <a:gd name="connsiteX31" fmla="*/ 15057 w 18764"/>
                        <a:gd name="connsiteY31" fmla="*/ 1196 h 19377"/>
                        <a:gd name="connsiteX32" fmla="*/ 15296 w 18764"/>
                        <a:gd name="connsiteY32" fmla="*/ 1316 h 19377"/>
                        <a:gd name="connsiteX33" fmla="*/ 15535 w 18764"/>
                        <a:gd name="connsiteY33" fmla="*/ 1435 h 19377"/>
                        <a:gd name="connsiteX34" fmla="*/ 15774 w 18764"/>
                        <a:gd name="connsiteY34" fmla="*/ 1615 h 19377"/>
                        <a:gd name="connsiteX35" fmla="*/ 16013 w 18764"/>
                        <a:gd name="connsiteY35" fmla="*/ 1794 h 19377"/>
                        <a:gd name="connsiteX36" fmla="*/ 16253 w 18764"/>
                        <a:gd name="connsiteY36" fmla="*/ 1974 h 19377"/>
                        <a:gd name="connsiteX37" fmla="*/ 16492 w 18764"/>
                        <a:gd name="connsiteY37" fmla="*/ 2153 h 19377"/>
                        <a:gd name="connsiteX38" fmla="*/ 16671 w 18764"/>
                        <a:gd name="connsiteY38" fmla="*/ 2333 h 19377"/>
                        <a:gd name="connsiteX39" fmla="*/ 17030 w 18764"/>
                        <a:gd name="connsiteY39" fmla="*/ 2751 h 19377"/>
                        <a:gd name="connsiteX40" fmla="*/ 17329 w 18764"/>
                        <a:gd name="connsiteY40" fmla="*/ 3229 h 19377"/>
                        <a:gd name="connsiteX41" fmla="*/ 17568 w 18764"/>
                        <a:gd name="connsiteY41" fmla="*/ 3708 h 19377"/>
                        <a:gd name="connsiteX42" fmla="*/ 17748 w 18764"/>
                        <a:gd name="connsiteY42" fmla="*/ 4246 h 19377"/>
                        <a:gd name="connsiteX43" fmla="*/ 17987 w 18764"/>
                        <a:gd name="connsiteY43" fmla="*/ 5502 h 19377"/>
                        <a:gd name="connsiteX44" fmla="*/ 17987 w 18764"/>
                        <a:gd name="connsiteY44" fmla="*/ 6878 h 19377"/>
                        <a:gd name="connsiteX45" fmla="*/ 17748 w 18764"/>
                        <a:gd name="connsiteY45" fmla="*/ 8373 h 19377"/>
                        <a:gd name="connsiteX46" fmla="*/ 17269 w 18764"/>
                        <a:gd name="connsiteY46" fmla="*/ 9868 h 19377"/>
                        <a:gd name="connsiteX47" fmla="*/ 17210 w 18764"/>
                        <a:gd name="connsiteY47" fmla="*/ 10107 h 19377"/>
                        <a:gd name="connsiteX48" fmla="*/ 17090 w 18764"/>
                        <a:gd name="connsiteY48" fmla="*/ 10347 h 19377"/>
                        <a:gd name="connsiteX49" fmla="*/ 16970 w 18764"/>
                        <a:gd name="connsiteY49" fmla="*/ 10586 h 19377"/>
                        <a:gd name="connsiteX50" fmla="*/ 16851 w 18764"/>
                        <a:gd name="connsiteY50" fmla="*/ 10825 h 19377"/>
                        <a:gd name="connsiteX51" fmla="*/ 16552 w 18764"/>
                        <a:gd name="connsiteY51" fmla="*/ 11423 h 19377"/>
                        <a:gd name="connsiteX52" fmla="*/ 16253 w 18764"/>
                        <a:gd name="connsiteY52" fmla="*/ 12021 h 19377"/>
                        <a:gd name="connsiteX53" fmla="*/ 15894 w 18764"/>
                        <a:gd name="connsiteY53" fmla="*/ 12619 h 19377"/>
                        <a:gd name="connsiteX54" fmla="*/ 15415 w 18764"/>
                        <a:gd name="connsiteY54" fmla="*/ 13158 h 19377"/>
                        <a:gd name="connsiteX55" fmla="*/ 3274 w 18764"/>
                        <a:gd name="connsiteY55" fmla="*/ 5143 h 19377"/>
                        <a:gd name="connsiteX56" fmla="*/ 3813 w 18764"/>
                        <a:gd name="connsiteY56" fmla="*/ 5502 h 19377"/>
                        <a:gd name="connsiteX57" fmla="*/ 4291 w 18764"/>
                        <a:gd name="connsiteY57" fmla="*/ 4964 h 19377"/>
                        <a:gd name="connsiteX58" fmla="*/ 4770 w 18764"/>
                        <a:gd name="connsiteY58" fmla="*/ 4486 h 19377"/>
                        <a:gd name="connsiteX59" fmla="*/ 5248 w 18764"/>
                        <a:gd name="connsiteY59" fmla="*/ 4007 h 19377"/>
                        <a:gd name="connsiteX60" fmla="*/ 5787 w 18764"/>
                        <a:gd name="connsiteY60" fmla="*/ 3589 h 19377"/>
                        <a:gd name="connsiteX61" fmla="*/ 5966 w 18764"/>
                        <a:gd name="connsiteY61" fmla="*/ 3409 h 19377"/>
                        <a:gd name="connsiteX62" fmla="*/ 6145 w 18764"/>
                        <a:gd name="connsiteY62" fmla="*/ 3229 h 19377"/>
                        <a:gd name="connsiteX63" fmla="*/ 6325 w 18764"/>
                        <a:gd name="connsiteY63" fmla="*/ 3110 h 19377"/>
                        <a:gd name="connsiteX64" fmla="*/ 6504 w 18764"/>
                        <a:gd name="connsiteY64" fmla="*/ 2990 h 19377"/>
                        <a:gd name="connsiteX65" fmla="*/ 7939 w 18764"/>
                        <a:gd name="connsiteY65" fmla="*/ 2093 h 19377"/>
                        <a:gd name="connsiteX66" fmla="*/ 9375 w 18764"/>
                        <a:gd name="connsiteY66" fmla="*/ 1435 h 19377"/>
                        <a:gd name="connsiteX67" fmla="*/ 10810 w 18764"/>
                        <a:gd name="connsiteY67" fmla="*/ 1017 h 19377"/>
                        <a:gd name="connsiteX68" fmla="*/ 12245 w 18764"/>
                        <a:gd name="connsiteY68" fmla="*/ 837 h 19377"/>
                        <a:gd name="connsiteX69" fmla="*/ 12604 w 18764"/>
                        <a:gd name="connsiteY69" fmla="*/ 837 h 19377"/>
                        <a:gd name="connsiteX70" fmla="*/ 12963 w 18764"/>
                        <a:gd name="connsiteY70" fmla="*/ 837 h 19377"/>
                        <a:gd name="connsiteX71" fmla="*/ 13322 w 18764"/>
                        <a:gd name="connsiteY71" fmla="*/ 897 h 19377"/>
                        <a:gd name="connsiteX72" fmla="*/ 13681 w 18764"/>
                        <a:gd name="connsiteY72" fmla="*/ 957 h 19377"/>
                        <a:gd name="connsiteX73" fmla="*/ 14279 w 18764"/>
                        <a:gd name="connsiteY73" fmla="*/ 180 h 19377"/>
                        <a:gd name="connsiteX74" fmla="*/ 13920 w 18764"/>
                        <a:gd name="connsiteY74" fmla="*/ 120 h 19377"/>
                        <a:gd name="connsiteX75" fmla="*/ 13502 w 18764"/>
                        <a:gd name="connsiteY75" fmla="*/ 60 h 19377"/>
                        <a:gd name="connsiteX76" fmla="*/ 13083 w 18764"/>
                        <a:gd name="connsiteY76" fmla="*/ 0 h 19377"/>
                        <a:gd name="connsiteX77" fmla="*/ 12664 w 18764"/>
                        <a:gd name="connsiteY77" fmla="*/ 0 h 19377"/>
                        <a:gd name="connsiteX78" fmla="*/ 12305 w 18764"/>
                        <a:gd name="connsiteY78" fmla="*/ 0 h 19377"/>
                        <a:gd name="connsiteX79" fmla="*/ 11946 w 18764"/>
                        <a:gd name="connsiteY79" fmla="*/ 0 h 19377"/>
                        <a:gd name="connsiteX80" fmla="*/ 11588 w 18764"/>
                        <a:gd name="connsiteY80" fmla="*/ 60 h 19377"/>
                        <a:gd name="connsiteX81" fmla="*/ 11229 w 18764"/>
                        <a:gd name="connsiteY81" fmla="*/ 120 h 19377"/>
                        <a:gd name="connsiteX82" fmla="*/ 9913 w 18764"/>
                        <a:gd name="connsiteY82" fmla="*/ 479 h 19377"/>
                        <a:gd name="connsiteX83" fmla="*/ 8537 w 18764"/>
                        <a:gd name="connsiteY83" fmla="*/ 1017 h 19377"/>
                        <a:gd name="connsiteX84" fmla="*/ 7222 w 18764"/>
                        <a:gd name="connsiteY84" fmla="*/ 1734 h 19377"/>
                        <a:gd name="connsiteX85" fmla="*/ 5906 w 18764"/>
                        <a:gd name="connsiteY85" fmla="*/ 2632 h 19377"/>
                        <a:gd name="connsiteX86" fmla="*/ 5727 w 18764"/>
                        <a:gd name="connsiteY86" fmla="*/ 2751 h 19377"/>
                        <a:gd name="connsiteX87" fmla="*/ 5547 w 18764"/>
                        <a:gd name="connsiteY87" fmla="*/ 2930 h 19377"/>
                        <a:gd name="connsiteX88" fmla="*/ 5368 w 18764"/>
                        <a:gd name="connsiteY88" fmla="*/ 3110 h 19377"/>
                        <a:gd name="connsiteX89" fmla="*/ 5188 w 18764"/>
                        <a:gd name="connsiteY89" fmla="*/ 3289 h 19377"/>
                        <a:gd name="connsiteX90" fmla="*/ 4710 w 18764"/>
                        <a:gd name="connsiteY90" fmla="*/ 3708 h 19377"/>
                        <a:gd name="connsiteX91" fmla="*/ 4231 w 18764"/>
                        <a:gd name="connsiteY91" fmla="*/ 4187 h 19377"/>
                        <a:gd name="connsiteX92" fmla="*/ 3753 w 18764"/>
                        <a:gd name="connsiteY92" fmla="*/ 4665 h 19377"/>
                        <a:gd name="connsiteX93" fmla="*/ 3274 w 18764"/>
                        <a:gd name="connsiteY93" fmla="*/ 5143 h 19377"/>
                        <a:gd name="connsiteX94" fmla="*/ 10451 w 18764"/>
                        <a:gd name="connsiteY94" fmla="*/ 17404 h 19377"/>
                        <a:gd name="connsiteX95" fmla="*/ 11109 w 18764"/>
                        <a:gd name="connsiteY95" fmla="*/ 17822 h 19377"/>
                        <a:gd name="connsiteX96" fmla="*/ 12245 w 18764"/>
                        <a:gd name="connsiteY96" fmla="*/ 17105 h 19377"/>
                        <a:gd name="connsiteX97" fmla="*/ 13322 w 18764"/>
                        <a:gd name="connsiteY97" fmla="*/ 16268 h 19377"/>
                        <a:gd name="connsiteX98" fmla="*/ 14399 w 18764"/>
                        <a:gd name="connsiteY98" fmla="*/ 15311 h 19377"/>
                        <a:gd name="connsiteX99" fmla="*/ 15356 w 18764"/>
                        <a:gd name="connsiteY99" fmla="*/ 14234 h 19377"/>
                        <a:gd name="connsiteX100" fmla="*/ 14817 w 18764"/>
                        <a:gd name="connsiteY100" fmla="*/ 13875 h 19377"/>
                        <a:gd name="connsiteX101" fmla="*/ 13800 w 18764"/>
                        <a:gd name="connsiteY101" fmla="*/ 14952 h 19377"/>
                        <a:gd name="connsiteX102" fmla="*/ 12724 w 18764"/>
                        <a:gd name="connsiteY102" fmla="*/ 15909 h 19377"/>
                        <a:gd name="connsiteX103" fmla="*/ 11588 w 18764"/>
                        <a:gd name="connsiteY103" fmla="*/ 16746 h 19377"/>
                        <a:gd name="connsiteX104" fmla="*/ 10451 w 18764"/>
                        <a:gd name="connsiteY104" fmla="*/ 17404 h 19377"/>
                        <a:gd name="connsiteX105" fmla="*/ 344 w 18764"/>
                        <a:gd name="connsiteY105" fmla="*/ 10765 h 19377"/>
                        <a:gd name="connsiteX106" fmla="*/ 1002 w 18764"/>
                        <a:gd name="connsiteY106" fmla="*/ 11184 h 19377"/>
                        <a:gd name="connsiteX107" fmla="*/ 1301 w 18764"/>
                        <a:gd name="connsiteY107" fmla="*/ 9928 h 19377"/>
                        <a:gd name="connsiteX108" fmla="*/ 1779 w 18764"/>
                        <a:gd name="connsiteY108" fmla="*/ 8672 h 19377"/>
                        <a:gd name="connsiteX109" fmla="*/ 2437 w 18764"/>
                        <a:gd name="connsiteY109" fmla="*/ 7416 h 19377"/>
                        <a:gd name="connsiteX110" fmla="*/ 3274 w 18764"/>
                        <a:gd name="connsiteY110" fmla="*/ 6220 h 19377"/>
                        <a:gd name="connsiteX111" fmla="*/ 2736 w 18764"/>
                        <a:gd name="connsiteY111" fmla="*/ 5861 h 19377"/>
                        <a:gd name="connsiteX112" fmla="*/ 1899 w 18764"/>
                        <a:gd name="connsiteY112" fmla="*/ 7057 h 19377"/>
                        <a:gd name="connsiteX113" fmla="*/ 1241 w 18764"/>
                        <a:gd name="connsiteY113" fmla="*/ 8253 h 19377"/>
                        <a:gd name="connsiteX114" fmla="*/ 703 w 18764"/>
                        <a:gd name="connsiteY114" fmla="*/ 9510 h 19377"/>
                        <a:gd name="connsiteX115" fmla="*/ 344 w 18764"/>
                        <a:gd name="connsiteY115" fmla="*/ 10765 h 19377"/>
                        <a:gd name="connsiteX116" fmla="*/ 7222 w 18764"/>
                        <a:gd name="connsiteY116" fmla="*/ 18421 h 19377"/>
                        <a:gd name="connsiteX117" fmla="*/ 8119 w 18764"/>
                        <a:gd name="connsiteY117" fmla="*/ 19019 h 19377"/>
                        <a:gd name="connsiteX118" fmla="*/ 8597 w 18764"/>
                        <a:gd name="connsiteY118" fmla="*/ 18899 h 19377"/>
                        <a:gd name="connsiteX119" fmla="*/ 9076 w 18764"/>
                        <a:gd name="connsiteY119" fmla="*/ 18720 h 19377"/>
                        <a:gd name="connsiteX120" fmla="*/ 9554 w 18764"/>
                        <a:gd name="connsiteY120" fmla="*/ 18540 h 19377"/>
                        <a:gd name="connsiteX121" fmla="*/ 10033 w 18764"/>
                        <a:gd name="connsiteY121" fmla="*/ 18301 h 19377"/>
                        <a:gd name="connsiteX122" fmla="*/ 9315 w 18764"/>
                        <a:gd name="connsiteY122" fmla="*/ 17822 h 19377"/>
                        <a:gd name="connsiteX123" fmla="*/ 8777 w 18764"/>
                        <a:gd name="connsiteY123" fmla="*/ 18002 h 19377"/>
                        <a:gd name="connsiteX124" fmla="*/ 8238 w 18764"/>
                        <a:gd name="connsiteY124" fmla="*/ 18181 h 19377"/>
                        <a:gd name="connsiteX125" fmla="*/ 7700 w 18764"/>
                        <a:gd name="connsiteY125" fmla="*/ 18301 h 19377"/>
                        <a:gd name="connsiteX126" fmla="*/ 7222 w 18764"/>
                        <a:gd name="connsiteY126" fmla="*/ 18421 h 19377"/>
                        <a:gd name="connsiteX127" fmla="*/ 45 w 18764"/>
                        <a:gd name="connsiteY127" fmla="*/ 13696 h 19377"/>
                        <a:gd name="connsiteX128" fmla="*/ 1002 w 18764"/>
                        <a:gd name="connsiteY128" fmla="*/ 14294 h 19377"/>
                        <a:gd name="connsiteX129" fmla="*/ 942 w 18764"/>
                        <a:gd name="connsiteY129" fmla="*/ 13815 h 19377"/>
                        <a:gd name="connsiteX130" fmla="*/ 882 w 18764"/>
                        <a:gd name="connsiteY130" fmla="*/ 13277 h 19377"/>
                        <a:gd name="connsiteX131" fmla="*/ 882 w 18764"/>
                        <a:gd name="connsiteY131" fmla="*/ 12739 h 19377"/>
                        <a:gd name="connsiteX132" fmla="*/ 882 w 18764"/>
                        <a:gd name="connsiteY132" fmla="*/ 12201 h 19377"/>
                        <a:gd name="connsiteX133" fmla="*/ 165 w 18764"/>
                        <a:gd name="connsiteY133" fmla="*/ 11722 h 19377"/>
                        <a:gd name="connsiteX134" fmla="*/ 105 w 18764"/>
                        <a:gd name="connsiteY134" fmla="*/ 12201 h 19377"/>
                        <a:gd name="connsiteX135" fmla="*/ 45 w 18764"/>
                        <a:gd name="connsiteY135" fmla="*/ 12679 h 19377"/>
                        <a:gd name="connsiteX136" fmla="*/ 45 w 18764"/>
                        <a:gd name="connsiteY136" fmla="*/ 13158 h 19377"/>
                        <a:gd name="connsiteX137" fmla="*/ 45 w 18764"/>
                        <a:gd name="connsiteY137" fmla="*/ 13696 h 19377"/>
                        <a:gd name="connsiteX138" fmla="*/ 1600 w 18764"/>
                        <a:gd name="connsiteY138" fmla="*/ 17643 h 19377"/>
                        <a:gd name="connsiteX139" fmla="*/ 3633 w 18764"/>
                        <a:gd name="connsiteY139" fmla="*/ 18959 h 19377"/>
                        <a:gd name="connsiteX140" fmla="*/ 4351 w 18764"/>
                        <a:gd name="connsiteY140" fmla="*/ 19198 h 19377"/>
                        <a:gd name="connsiteX141" fmla="*/ 5128 w 18764"/>
                        <a:gd name="connsiteY141" fmla="*/ 19318 h 19377"/>
                        <a:gd name="connsiteX142" fmla="*/ 5966 w 18764"/>
                        <a:gd name="connsiteY142" fmla="*/ 19377 h 19377"/>
                        <a:gd name="connsiteX143" fmla="*/ 6803 w 18764"/>
                        <a:gd name="connsiteY143" fmla="*/ 19318 h 19377"/>
                        <a:gd name="connsiteX144" fmla="*/ 5547 w 18764"/>
                        <a:gd name="connsiteY144" fmla="*/ 18481 h 19377"/>
                        <a:gd name="connsiteX145" fmla="*/ 4889 w 18764"/>
                        <a:gd name="connsiteY145" fmla="*/ 18361 h 19377"/>
                        <a:gd name="connsiteX146" fmla="*/ 4291 w 18764"/>
                        <a:gd name="connsiteY146" fmla="*/ 18181 h 19377"/>
                        <a:gd name="connsiteX147" fmla="*/ 3693 w 18764"/>
                        <a:gd name="connsiteY147" fmla="*/ 17942 h 19377"/>
                        <a:gd name="connsiteX148" fmla="*/ 3155 w 18764"/>
                        <a:gd name="connsiteY148" fmla="*/ 17643 h 19377"/>
                        <a:gd name="connsiteX149" fmla="*/ 2676 w 18764"/>
                        <a:gd name="connsiteY149" fmla="*/ 17284 h 19377"/>
                        <a:gd name="connsiteX150" fmla="*/ 2258 w 18764"/>
                        <a:gd name="connsiteY150" fmla="*/ 16866 h 19377"/>
                        <a:gd name="connsiteX151" fmla="*/ 1899 w 18764"/>
                        <a:gd name="connsiteY151" fmla="*/ 16387 h 19377"/>
                        <a:gd name="connsiteX152" fmla="*/ 1600 w 18764"/>
                        <a:gd name="connsiteY152" fmla="*/ 15849 h 19377"/>
                        <a:gd name="connsiteX153" fmla="*/ 344 w 18764"/>
                        <a:gd name="connsiteY153" fmla="*/ 15012 h 19377"/>
                        <a:gd name="connsiteX154" fmla="*/ 583 w 18764"/>
                        <a:gd name="connsiteY154" fmla="*/ 15729 h 19377"/>
                        <a:gd name="connsiteX155" fmla="*/ 882 w 18764"/>
                        <a:gd name="connsiteY155" fmla="*/ 16447 h 19377"/>
                        <a:gd name="connsiteX156" fmla="*/ 1241 w 18764"/>
                        <a:gd name="connsiteY156" fmla="*/ 17105 h 19377"/>
                        <a:gd name="connsiteX157" fmla="*/ 1600 w 18764"/>
                        <a:gd name="connsiteY157" fmla="*/ 17643 h 1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8764" h="19377">
                          <a:moveTo>
                            <a:pt x="15415" y="13158"/>
                          </a:moveTo>
                          <a:lnTo>
                            <a:pt x="15953" y="13516"/>
                          </a:lnTo>
                          <a:cubicBezTo>
                            <a:pt x="16073" y="13337"/>
                            <a:pt x="16253" y="13158"/>
                            <a:pt x="16372" y="12978"/>
                          </a:cubicBezTo>
                          <a:cubicBezTo>
                            <a:pt x="16492" y="12799"/>
                            <a:pt x="16612" y="12619"/>
                            <a:pt x="16731" y="12440"/>
                          </a:cubicBezTo>
                          <a:cubicBezTo>
                            <a:pt x="16851" y="12260"/>
                            <a:pt x="16970" y="12081"/>
                            <a:pt x="17090" y="11842"/>
                          </a:cubicBezTo>
                          <a:cubicBezTo>
                            <a:pt x="17210" y="11662"/>
                            <a:pt x="17269" y="11483"/>
                            <a:pt x="17389" y="11244"/>
                          </a:cubicBezTo>
                          <a:cubicBezTo>
                            <a:pt x="17449" y="11184"/>
                            <a:pt x="17449" y="11124"/>
                            <a:pt x="17509" y="11005"/>
                          </a:cubicBezTo>
                          <a:cubicBezTo>
                            <a:pt x="17568" y="10945"/>
                            <a:pt x="17568" y="10885"/>
                            <a:pt x="17628" y="10765"/>
                          </a:cubicBezTo>
                          <a:cubicBezTo>
                            <a:pt x="17688" y="10705"/>
                            <a:pt x="17688" y="10646"/>
                            <a:pt x="17748" y="10526"/>
                          </a:cubicBezTo>
                          <a:cubicBezTo>
                            <a:pt x="17807" y="10466"/>
                            <a:pt x="17807" y="10406"/>
                            <a:pt x="17867" y="10287"/>
                          </a:cubicBezTo>
                          <a:cubicBezTo>
                            <a:pt x="18047" y="9808"/>
                            <a:pt x="18226" y="9330"/>
                            <a:pt x="18346" y="8911"/>
                          </a:cubicBezTo>
                          <a:cubicBezTo>
                            <a:pt x="18466" y="8433"/>
                            <a:pt x="18585" y="8014"/>
                            <a:pt x="18645" y="7536"/>
                          </a:cubicBezTo>
                          <a:cubicBezTo>
                            <a:pt x="18705" y="7057"/>
                            <a:pt x="18765" y="6639"/>
                            <a:pt x="18765" y="6220"/>
                          </a:cubicBezTo>
                          <a:cubicBezTo>
                            <a:pt x="18765" y="5801"/>
                            <a:pt x="18765" y="5383"/>
                            <a:pt x="18705" y="4964"/>
                          </a:cubicBezTo>
                          <a:cubicBezTo>
                            <a:pt x="18705" y="4844"/>
                            <a:pt x="18645" y="4725"/>
                            <a:pt x="18645" y="4605"/>
                          </a:cubicBezTo>
                          <a:cubicBezTo>
                            <a:pt x="18645" y="4486"/>
                            <a:pt x="18585" y="4366"/>
                            <a:pt x="18585" y="4246"/>
                          </a:cubicBezTo>
                          <a:cubicBezTo>
                            <a:pt x="18585" y="4127"/>
                            <a:pt x="18525" y="4007"/>
                            <a:pt x="18525" y="3888"/>
                          </a:cubicBezTo>
                          <a:cubicBezTo>
                            <a:pt x="18466" y="3768"/>
                            <a:pt x="18466" y="3648"/>
                            <a:pt x="18406" y="3589"/>
                          </a:cubicBezTo>
                          <a:cubicBezTo>
                            <a:pt x="18286" y="3289"/>
                            <a:pt x="18166" y="3050"/>
                            <a:pt x="18047" y="2811"/>
                          </a:cubicBezTo>
                          <a:cubicBezTo>
                            <a:pt x="17927" y="2572"/>
                            <a:pt x="17748" y="2333"/>
                            <a:pt x="17568" y="2093"/>
                          </a:cubicBezTo>
                          <a:cubicBezTo>
                            <a:pt x="17389" y="1854"/>
                            <a:pt x="17210" y="1675"/>
                            <a:pt x="16970" y="1435"/>
                          </a:cubicBezTo>
                          <a:cubicBezTo>
                            <a:pt x="16791" y="1256"/>
                            <a:pt x="16552" y="1076"/>
                            <a:pt x="16312" y="897"/>
                          </a:cubicBezTo>
                          <a:cubicBezTo>
                            <a:pt x="16193" y="837"/>
                            <a:pt x="16133" y="778"/>
                            <a:pt x="16013" y="718"/>
                          </a:cubicBezTo>
                          <a:cubicBezTo>
                            <a:pt x="15894" y="658"/>
                            <a:pt x="15834" y="598"/>
                            <a:pt x="15714" y="538"/>
                          </a:cubicBezTo>
                          <a:cubicBezTo>
                            <a:pt x="15595" y="479"/>
                            <a:pt x="15535" y="419"/>
                            <a:pt x="15415" y="419"/>
                          </a:cubicBezTo>
                          <a:cubicBezTo>
                            <a:pt x="15296" y="359"/>
                            <a:pt x="15236" y="359"/>
                            <a:pt x="15116" y="299"/>
                          </a:cubicBezTo>
                          <a:lnTo>
                            <a:pt x="14518" y="1076"/>
                          </a:lnTo>
                          <a:cubicBezTo>
                            <a:pt x="14518" y="1076"/>
                            <a:pt x="14518" y="1076"/>
                            <a:pt x="14578" y="1076"/>
                          </a:cubicBezTo>
                          <a:cubicBezTo>
                            <a:pt x="14638" y="1076"/>
                            <a:pt x="14578" y="1076"/>
                            <a:pt x="14638" y="1076"/>
                          </a:cubicBezTo>
                          <a:cubicBezTo>
                            <a:pt x="14698" y="1076"/>
                            <a:pt x="14638" y="1076"/>
                            <a:pt x="14698" y="1076"/>
                          </a:cubicBezTo>
                          <a:cubicBezTo>
                            <a:pt x="14698" y="1076"/>
                            <a:pt x="14698" y="1076"/>
                            <a:pt x="14758" y="1076"/>
                          </a:cubicBezTo>
                          <a:cubicBezTo>
                            <a:pt x="14877" y="1136"/>
                            <a:pt x="14937" y="1136"/>
                            <a:pt x="15057" y="1196"/>
                          </a:cubicBezTo>
                          <a:cubicBezTo>
                            <a:pt x="15176" y="1256"/>
                            <a:pt x="15236" y="1256"/>
                            <a:pt x="15296" y="1316"/>
                          </a:cubicBezTo>
                          <a:cubicBezTo>
                            <a:pt x="15356" y="1375"/>
                            <a:pt x="15475" y="1435"/>
                            <a:pt x="15535" y="1435"/>
                          </a:cubicBezTo>
                          <a:cubicBezTo>
                            <a:pt x="15595" y="1495"/>
                            <a:pt x="15714" y="1555"/>
                            <a:pt x="15774" y="1615"/>
                          </a:cubicBezTo>
                          <a:cubicBezTo>
                            <a:pt x="15834" y="1675"/>
                            <a:pt x="15953" y="1734"/>
                            <a:pt x="16013" y="1794"/>
                          </a:cubicBezTo>
                          <a:cubicBezTo>
                            <a:pt x="16073" y="1854"/>
                            <a:pt x="16193" y="1914"/>
                            <a:pt x="16253" y="1974"/>
                          </a:cubicBezTo>
                          <a:cubicBezTo>
                            <a:pt x="16312" y="2034"/>
                            <a:pt x="16372" y="2093"/>
                            <a:pt x="16492" y="2153"/>
                          </a:cubicBezTo>
                          <a:cubicBezTo>
                            <a:pt x="16612" y="2213"/>
                            <a:pt x="16612" y="2273"/>
                            <a:pt x="16671" y="2333"/>
                          </a:cubicBezTo>
                          <a:cubicBezTo>
                            <a:pt x="16791" y="2452"/>
                            <a:pt x="16911" y="2632"/>
                            <a:pt x="17030" y="2751"/>
                          </a:cubicBezTo>
                          <a:cubicBezTo>
                            <a:pt x="17150" y="2871"/>
                            <a:pt x="17210" y="3050"/>
                            <a:pt x="17329" y="3229"/>
                          </a:cubicBezTo>
                          <a:cubicBezTo>
                            <a:pt x="17389" y="3409"/>
                            <a:pt x="17509" y="3529"/>
                            <a:pt x="17568" y="3708"/>
                          </a:cubicBezTo>
                          <a:cubicBezTo>
                            <a:pt x="17628" y="3888"/>
                            <a:pt x="17688" y="4067"/>
                            <a:pt x="17748" y="4246"/>
                          </a:cubicBezTo>
                          <a:cubicBezTo>
                            <a:pt x="17867" y="4665"/>
                            <a:pt x="17987" y="5084"/>
                            <a:pt x="17987" y="5502"/>
                          </a:cubicBezTo>
                          <a:cubicBezTo>
                            <a:pt x="18047" y="5921"/>
                            <a:pt x="18047" y="6399"/>
                            <a:pt x="17987" y="6878"/>
                          </a:cubicBezTo>
                          <a:cubicBezTo>
                            <a:pt x="17927" y="7356"/>
                            <a:pt x="17867" y="7835"/>
                            <a:pt x="17748" y="8373"/>
                          </a:cubicBezTo>
                          <a:cubicBezTo>
                            <a:pt x="17628" y="8851"/>
                            <a:pt x="17449" y="9390"/>
                            <a:pt x="17269" y="9868"/>
                          </a:cubicBezTo>
                          <a:cubicBezTo>
                            <a:pt x="17269" y="9928"/>
                            <a:pt x="17210" y="9988"/>
                            <a:pt x="17210" y="10107"/>
                          </a:cubicBezTo>
                          <a:cubicBezTo>
                            <a:pt x="17210" y="10227"/>
                            <a:pt x="17150" y="10227"/>
                            <a:pt x="17090" y="10347"/>
                          </a:cubicBezTo>
                          <a:cubicBezTo>
                            <a:pt x="17030" y="10406"/>
                            <a:pt x="17030" y="10466"/>
                            <a:pt x="16970" y="10586"/>
                          </a:cubicBezTo>
                          <a:cubicBezTo>
                            <a:pt x="16911" y="10646"/>
                            <a:pt x="16911" y="10705"/>
                            <a:pt x="16851" y="10825"/>
                          </a:cubicBezTo>
                          <a:cubicBezTo>
                            <a:pt x="16731" y="11005"/>
                            <a:pt x="16671" y="11184"/>
                            <a:pt x="16552" y="11423"/>
                          </a:cubicBezTo>
                          <a:cubicBezTo>
                            <a:pt x="16432" y="11603"/>
                            <a:pt x="16312" y="11782"/>
                            <a:pt x="16253" y="12021"/>
                          </a:cubicBezTo>
                          <a:cubicBezTo>
                            <a:pt x="16133" y="12201"/>
                            <a:pt x="16013" y="12380"/>
                            <a:pt x="15894" y="12619"/>
                          </a:cubicBezTo>
                          <a:cubicBezTo>
                            <a:pt x="15774" y="12859"/>
                            <a:pt x="15595" y="12978"/>
                            <a:pt x="15415" y="13158"/>
                          </a:cubicBezTo>
                          <a:moveTo>
                            <a:pt x="3274" y="5143"/>
                          </a:moveTo>
                          <a:lnTo>
                            <a:pt x="3813" y="5502"/>
                          </a:lnTo>
                          <a:cubicBezTo>
                            <a:pt x="3992" y="5323"/>
                            <a:pt x="4112" y="5143"/>
                            <a:pt x="4291" y="4964"/>
                          </a:cubicBezTo>
                          <a:cubicBezTo>
                            <a:pt x="4471" y="4785"/>
                            <a:pt x="4590" y="4605"/>
                            <a:pt x="4770" y="4486"/>
                          </a:cubicBezTo>
                          <a:cubicBezTo>
                            <a:pt x="4949" y="4306"/>
                            <a:pt x="5069" y="4187"/>
                            <a:pt x="5248" y="4007"/>
                          </a:cubicBezTo>
                          <a:cubicBezTo>
                            <a:pt x="5428" y="3828"/>
                            <a:pt x="5607" y="3708"/>
                            <a:pt x="5787" y="3589"/>
                          </a:cubicBezTo>
                          <a:cubicBezTo>
                            <a:pt x="5846" y="3529"/>
                            <a:pt x="5906" y="3469"/>
                            <a:pt x="5966" y="3409"/>
                          </a:cubicBezTo>
                          <a:cubicBezTo>
                            <a:pt x="6026" y="3349"/>
                            <a:pt x="6085" y="3289"/>
                            <a:pt x="6145" y="3229"/>
                          </a:cubicBezTo>
                          <a:cubicBezTo>
                            <a:pt x="6205" y="3170"/>
                            <a:pt x="6265" y="3110"/>
                            <a:pt x="6325" y="3110"/>
                          </a:cubicBezTo>
                          <a:cubicBezTo>
                            <a:pt x="6384" y="3050"/>
                            <a:pt x="6444" y="2990"/>
                            <a:pt x="6504" y="2990"/>
                          </a:cubicBezTo>
                          <a:cubicBezTo>
                            <a:pt x="6982" y="2632"/>
                            <a:pt x="7461" y="2333"/>
                            <a:pt x="7939" y="2093"/>
                          </a:cubicBezTo>
                          <a:cubicBezTo>
                            <a:pt x="8418" y="1854"/>
                            <a:pt x="8896" y="1615"/>
                            <a:pt x="9375" y="1435"/>
                          </a:cubicBezTo>
                          <a:cubicBezTo>
                            <a:pt x="9853" y="1256"/>
                            <a:pt x="10332" y="1136"/>
                            <a:pt x="10810" y="1017"/>
                          </a:cubicBezTo>
                          <a:cubicBezTo>
                            <a:pt x="11289" y="897"/>
                            <a:pt x="11767" y="837"/>
                            <a:pt x="12245" y="837"/>
                          </a:cubicBezTo>
                          <a:cubicBezTo>
                            <a:pt x="12365" y="837"/>
                            <a:pt x="12485" y="837"/>
                            <a:pt x="12604" y="837"/>
                          </a:cubicBezTo>
                          <a:cubicBezTo>
                            <a:pt x="12724" y="837"/>
                            <a:pt x="12844" y="837"/>
                            <a:pt x="12963" y="837"/>
                          </a:cubicBezTo>
                          <a:cubicBezTo>
                            <a:pt x="13083" y="837"/>
                            <a:pt x="13203" y="837"/>
                            <a:pt x="13322" y="897"/>
                          </a:cubicBezTo>
                          <a:cubicBezTo>
                            <a:pt x="13442" y="897"/>
                            <a:pt x="13561" y="957"/>
                            <a:pt x="13681" y="957"/>
                          </a:cubicBezTo>
                          <a:lnTo>
                            <a:pt x="14279" y="180"/>
                          </a:lnTo>
                          <a:cubicBezTo>
                            <a:pt x="14159" y="180"/>
                            <a:pt x="14040" y="120"/>
                            <a:pt x="13920" y="120"/>
                          </a:cubicBezTo>
                          <a:cubicBezTo>
                            <a:pt x="13800" y="120"/>
                            <a:pt x="13681" y="60"/>
                            <a:pt x="13502" y="60"/>
                          </a:cubicBezTo>
                          <a:cubicBezTo>
                            <a:pt x="13382" y="60"/>
                            <a:pt x="13262" y="60"/>
                            <a:pt x="13083" y="0"/>
                          </a:cubicBezTo>
                          <a:cubicBezTo>
                            <a:pt x="12963" y="0"/>
                            <a:pt x="12784" y="0"/>
                            <a:pt x="12664" y="0"/>
                          </a:cubicBezTo>
                          <a:cubicBezTo>
                            <a:pt x="12544" y="0"/>
                            <a:pt x="12425" y="0"/>
                            <a:pt x="12305" y="0"/>
                          </a:cubicBezTo>
                          <a:cubicBezTo>
                            <a:pt x="12186" y="0"/>
                            <a:pt x="12066" y="0"/>
                            <a:pt x="11946" y="0"/>
                          </a:cubicBezTo>
                          <a:cubicBezTo>
                            <a:pt x="11827" y="0"/>
                            <a:pt x="11707" y="0"/>
                            <a:pt x="11588" y="60"/>
                          </a:cubicBezTo>
                          <a:cubicBezTo>
                            <a:pt x="11468" y="120"/>
                            <a:pt x="11349" y="120"/>
                            <a:pt x="11229" y="120"/>
                          </a:cubicBezTo>
                          <a:cubicBezTo>
                            <a:pt x="10810" y="180"/>
                            <a:pt x="10332" y="299"/>
                            <a:pt x="9913" y="479"/>
                          </a:cubicBezTo>
                          <a:cubicBezTo>
                            <a:pt x="9495" y="658"/>
                            <a:pt x="9016" y="778"/>
                            <a:pt x="8537" y="1017"/>
                          </a:cubicBezTo>
                          <a:cubicBezTo>
                            <a:pt x="8059" y="1196"/>
                            <a:pt x="7641" y="1435"/>
                            <a:pt x="7222" y="1734"/>
                          </a:cubicBezTo>
                          <a:cubicBezTo>
                            <a:pt x="6803" y="1974"/>
                            <a:pt x="6325" y="2273"/>
                            <a:pt x="5906" y="2632"/>
                          </a:cubicBezTo>
                          <a:cubicBezTo>
                            <a:pt x="5846" y="2691"/>
                            <a:pt x="5787" y="2751"/>
                            <a:pt x="5727" y="2751"/>
                          </a:cubicBezTo>
                          <a:cubicBezTo>
                            <a:pt x="5667" y="2811"/>
                            <a:pt x="5607" y="2871"/>
                            <a:pt x="5547" y="2930"/>
                          </a:cubicBezTo>
                          <a:cubicBezTo>
                            <a:pt x="5487" y="2990"/>
                            <a:pt x="5428" y="3050"/>
                            <a:pt x="5368" y="3110"/>
                          </a:cubicBezTo>
                          <a:cubicBezTo>
                            <a:pt x="5308" y="3170"/>
                            <a:pt x="5248" y="3229"/>
                            <a:pt x="5188" y="3289"/>
                          </a:cubicBezTo>
                          <a:cubicBezTo>
                            <a:pt x="5009" y="3409"/>
                            <a:pt x="4829" y="3589"/>
                            <a:pt x="4710" y="3708"/>
                          </a:cubicBezTo>
                          <a:cubicBezTo>
                            <a:pt x="4530" y="3888"/>
                            <a:pt x="4411" y="4007"/>
                            <a:pt x="4231" y="4187"/>
                          </a:cubicBezTo>
                          <a:cubicBezTo>
                            <a:pt x="4052" y="4366"/>
                            <a:pt x="3933" y="4486"/>
                            <a:pt x="3753" y="4665"/>
                          </a:cubicBezTo>
                          <a:cubicBezTo>
                            <a:pt x="3573" y="4785"/>
                            <a:pt x="3454" y="4964"/>
                            <a:pt x="3274" y="5143"/>
                          </a:cubicBezTo>
                          <a:moveTo>
                            <a:pt x="10451" y="17404"/>
                          </a:moveTo>
                          <a:lnTo>
                            <a:pt x="11109" y="17822"/>
                          </a:lnTo>
                          <a:cubicBezTo>
                            <a:pt x="11468" y="17583"/>
                            <a:pt x="11887" y="17344"/>
                            <a:pt x="12245" y="17105"/>
                          </a:cubicBezTo>
                          <a:cubicBezTo>
                            <a:pt x="12604" y="16866"/>
                            <a:pt x="12963" y="16567"/>
                            <a:pt x="13322" y="16268"/>
                          </a:cubicBezTo>
                          <a:cubicBezTo>
                            <a:pt x="13681" y="15968"/>
                            <a:pt x="14040" y="15669"/>
                            <a:pt x="14399" y="15311"/>
                          </a:cubicBezTo>
                          <a:cubicBezTo>
                            <a:pt x="14758" y="14952"/>
                            <a:pt x="15057" y="14593"/>
                            <a:pt x="15356" y="14234"/>
                          </a:cubicBezTo>
                          <a:lnTo>
                            <a:pt x="14817" y="13875"/>
                          </a:lnTo>
                          <a:cubicBezTo>
                            <a:pt x="14518" y="14234"/>
                            <a:pt x="14159" y="14593"/>
                            <a:pt x="13800" y="14952"/>
                          </a:cubicBezTo>
                          <a:cubicBezTo>
                            <a:pt x="13442" y="15311"/>
                            <a:pt x="13083" y="15610"/>
                            <a:pt x="12724" y="15909"/>
                          </a:cubicBezTo>
                          <a:cubicBezTo>
                            <a:pt x="12365" y="16208"/>
                            <a:pt x="12006" y="16447"/>
                            <a:pt x="11588" y="16746"/>
                          </a:cubicBezTo>
                          <a:cubicBezTo>
                            <a:pt x="11169" y="17045"/>
                            <a:pt x="10870" y="17225"/>
                            <a:pt x="10451" y="17404"/>
                          </a:cubicBezTo>
                          <a:moveTo>
                            <a:pt x="344" y="10765"/>
                          </a:moveTo>
                          <a:lnTo>
                            <a:pt x="1002" y="11184"/>
                          </a:lnTo>
                          <a:cubicBezTo>
                            <a:pt x="1062" y="10765"/>
                            <a:pt x="1181" y="10347"/>
                            <a:pt x="1301" y="9928"/>
                          </a:cubicBezTo>
                          <a:cubicBezTo>
                            <a:pt x="1420" y="9510"/>
                            <a:pt x="1600" y="9091"/>
                            <a:pt x="1779" y="8672"/>
                          </a:cubicBezTo>
                          <a:cubicBezTo>
                            <a:pt x="1959" y="8253"/>
                            <a:pt x="2198" y="7835"/>
                            <a:pt x="2437" y="7416"/>
                          </a:cubicBezTo>
                          <a:cubicBezTo>
                            <a:pt x="2676" y="6997"/>
                            <a:pt x="2975" y="6579"/>
                            <a:pt x="3274" y="6220"/>
                          </a:cubicBezTo>
                          <a:lnTo>
                            <a:pt x="2736" y="5861"/>
                          </a:lnTo>
                          <a:cubicBezTo>
                            <a:pt x="2437" y="6280"/>
                            <a:pt x="2198" y="6639"/>
                            <a:pt x="1899" y="7057"/>
                          </a:cubicBezTo>
                          <a:cubicBezTo>
                            <a:pt x="1660" y="7476"/>
                            <a:pt x="1420" y="7895"/>
                            <a:pt x="1241" y="8253"/>
                          </a:cubicBezTo>
                          <a:cubicBezTo>
                            <a:pt x="1062" y="8672"/>
                            <a:pt x="882" y="9091"/>
                            <a:pt x="703" y="9510"/>
                          </a:cubicBezTo>
                          <a:cubicBezTo>
                            <a:pt x="583" y="9928"/>
                            <a:pt x="404" y="10347"/>
                            <a:pt x="344" y="10765"/>
                          </a:cubicBezTo>
                          <a:moveTo>
                            <a:pt x="7222" y="18421"/>
                          </a:moveTo>
                          <a:lnTo>
                            <a:pt x="8119" y="19019"/>
                          </a:lnTo>
                          <a:cubicBezTo>
                            <a:pt x="8298" y="18959"/>
                            <a:pt x="8418" y="18959"/>
                            <a:pt x="8597" y="18899"/>
                          </a:cubicBezTo>
                          <a:cubicBezTo>
                            <a:pt x="8777" y="18839"/>
                            <a:pt x="8896" y="18780"/>
                            <a:pt x="9076" y="18720"/>
                          </a:cubicBezTo>
                          <a:cubicBezTo>
                            <a:pt x="9255" y="18660"/>
                            <a:pt x="9375" y="18600"/>
                            <a:pt x="9554" y="18540"/>
                          </a:cubicBezTo>
                          <a:cubicBezTo>
                            <a:pt x="9734" y="18481"/>
                            <a:pt x="9853" y="18421"/>
                            <a:pt x="10033" y="18301"/>
                          </a:cubicBezTo>
                          <a:lnTo>
                            <a:pt x="9315" y="17822"/>
                          </a:lnTo>
                          <a:cubicBezTo>
                            <a:pt x="9136" y="17882"/>
                            <a:pt x="8956" y="17942"/>
                            <a:pt x="8777" y="18002"/>
                          </a:cubicBezTo>
                          <a:cubicBezTo>
                            <a:pt x="8597" y="18062"/>
                            <a:pt x="8418" y="18122"/>
                            <a:pt x="8238" y="18181"/>
                          </a:cubicBezTo>
                          <a:cubicBezTo>
                            <a:pt x="8059" y="18241"/>
                            <a:pt x="7880" y="18241"/>
                            <a:pt x="7700" y="18301"/>
                          </a:cubicBezTo>
                          <a:cubicBezTo>
                            <a:pt x="7581" y="18361"/>
                            <a:pt x="7401" y="18421"/>
                            <a:pt x="7222" y="18421"/>
                          </a:cubicBezTo>
                          <a:moveTo>
                            <a:pt x="45" y="13696"/>
                          </a:moveTo>
                          <a:lnTo>
                            <a:pt x="1002" y="14294"/>
                          </a:lnTo>
                          <a:cubicBezTo>
                            <a:pt x="942" y="14114"/>
                            <a:pt x="942" y="13995"/>
                            <a:pt x="942" y="13815"/>
                          </a:cubicBezTo>
                          <a:cubicBezTo>
                            <a:pt x="942" y="13636"/>
                            <a:pt x="882" y="13457"/>
                            <a:pt x="882" y="13277"/>
                          </a:cubicBezTo>
                          <a:cubicBezTo>
                            <a:pt x="882" y="13098"/>
                            <a:pt x="882" y="12919"/>
                            <a:pt x="882" y="12739"/>
                          </a:cubicBezTo>
                          <a:cubicBezTo>
                            <a:pt x="882" y="12560"/>
                            <a:pt x="882" y="12380"/>
                            <a:pt x="882" y="12201"/>
                          </a:cubicBezTo>
                          <a:lnTo>
                            <a:pt x="165" y="11722"/>
                          </a:lnTo>
                          <a:cubicBezTo>
                            <a:pt x="165" y="11902"/>
                            <a:pt x="105" y="12081"/>
                            <a:pt x="105" y="12201"/>
                          </a:cubicBezTo>
                          <a:cubicBezTo>
                            <a:pt x="105" y="12380"/>
                            <a:pt x="45" y="12500"/>
                            <a:pt x="45" y="12679"/>
                          </a:cubicBezTo>
                          <a:cubicBezTo>
                            <a:pt x="45" y="12859"/>
                            <a:pt x="45" y="12978"/>
                            <a:pt x="45" y="13158"/>
                          </a:cubicBezTo>
                          <a:cubicBezTo>
                            <a:pt x="-15" y="13397"/>
                            <a:pt x="-15" y="13576"/>
                            <a:pt x="45" y="13696"/>
                          </a:cubicBezTo>
                          <a:moveTo>
                            <a:pt x="1600" y="17643"/>
                          </a:moveTo>
                          <a:lnTo>
                            <a:pt x="3633" y="18959"/>
                          </a:lnTo>
                          <a:cubicBezTo>
                            <a:pt x="3873" y="19019"/>
                            <a:pt x="4112" y="19138"/>
                            <a:pt x="4351" y="19198"/>
                          </a:cubicBezTo>
                          <a:cubicBezTo>
                            <a:pt x="4590" y="19258"/>
                            <a:pt x="4889" y="19318"/>
                            <a:pt x="5128" y="19318"/>
                          </a:cubicBezTo>
                          <a:cubicBezTo>
                            <a:pt x="5368" y="19318"/>
                            <a:pt x="5667" y="19377"/>
                            <a:pt x="5966" y="19377"/>
                          </a:cubicBezTo>
                          <a:cubicBezTo>
                            <a:pt x="6265" y="19377"/>
                            <a:pt x="6504" y="19377"/>
                            <a:pt x="6803" y="19318"/>
                          </a:cubicBezTo>
                          <a:lnTo>
                            <a:pt x="5547" y="18481"/>
                          </a:lnTo>
                          <a:cubicBezTo>
                            <a:pt x="5308" y="18481"/>
                            <a:pt x="5128" y="18421"/>
                            <a:pt x="4889" y="18361"/>
                          </a:cubicBezTo>
                          <a:cubicBezTo>
                            <a:pt x="4650" y="18301"/>
                            <a:pt x="4471" y="18241"/>
                            <a:pt x="4291" y="18181"/>
                          </a:cubicBezTo>
                          <a:cubicBezTo>
                            <a:pt x="4112" y="18122"/>
                            <a:pt x="3873" y="18062"/>
                            <a:pt x="3693" y="17942"/>
                          </a:cubicBezTo>
                          <a:cubicBezTo>
                            <a:pt x="3514" y="17822"/>
                            <a:pt x="3334" y="17763"/>
                            <a:pt x="3155" y="17643"/>
                          </a:cubicBezTo>
                          <a:cubicBezTo>
                            <a:pt x="2975" y="17523"/>
                            <a:pt x="2796" y="17404"/>
                            <a:pt x="2676" y="17284"/>
                          </a:cubicBezTo>
                          <a:cubicBezTo>
                            <a:pt x="2497" y="17165"/>
                            <a:pt x="2377" y="16985"/>
                            <a:pt x="2258" y="16866"/>
                          </a:cubicBezTo>
                          <a:cubicBezTo>
                            <a:pt x="2138" y="16746"/>
                            <a:pt x="2019" y="16567"/>
                            <a:pt x="1899" y="16387"/>
                          </a:cubicBezTo>
                          <a:cubicBezTo>
                            <a:pt x="1779" y="16208"/>
                            <a:pt x="1660" y="16028"/>
                            <a:pt x="1600" y="15849"/>
                          </a:cubicBezTo>
                          <a:lnTo>
                            <a:pt x="344" y="15012"/>
                          </a:lnTo>
                          <a:cubicBezTo>
                            <a:pt x="404" y="15251"/>
                            <a:pt x="464" y="15490"/>
                            <a:pt x="583" y="15729"/>
                          </a:cubicBezTo>
                          <a:cubicBezTo>
                            <a:pt x="643" y="15968"/>
                            <a:pt x="763" y="16208"/>
                            <a:pt x="882" y="16447"/>
                          </a:cubicBezTo>
                          <a:cubicBezTo>
                            <a:pt x="1002" y="16686"/>
                            <a:pt x="1121" y="16866"/>
                            <a:pt x="1241" y="17105"/>
                          </a:cubicBezTo>
                          <a:cubicBezTo>
                            <a:pt x="1241" y="17284"/>
                            <a:pt x="1420" y="17464"/>
                            <a:pt x="1600" y="17643"/>
                          </a:cubicBezTo>
                        </a:path>
                      </a:pathLst>
                    </a:custGeom>
                    <a:noFill/>
                    <a:ln w="6350" cap="flat">
                      <a:solidFill>
                        <a:schemeClr val="bg1">
                          <a:alpha val="80000"/>
                        </a:schemeClr>
                      </a:solidFill>
                      <a:prstDash val="solid"/>
                      <a:miter/>
                    </a:ln>
                  </p:spPr>
                  <p:txBody>
                    <a:bodyPr rtlCol="0" anchor="ctr"/>
                    <a:lstStyle/>
                    <a:p>
                      <a:endParaRPr lang="en-GB"/>
                    </a:p>
                  </p:txBody>
                </p:sp>
                <p:sp>
                  <p:nvSpPr>
                    <p:cNvPr id="7389" name="Vrije vorm: vorm 7388">
                      <a:extLst>
                        <a:ext uri="{FF2B5EF4-FFF2-40B4-BE49-F238E27FC236}">
                          <a16:creationId xmlns:a16="http://schemas.microsoft.com/office/drawing/2014/main" id="{F42CF370-5EAD-4484-94FD-0C5F824CDB03}"/>
                        </a:ext>
                      </a:extLst>
                    </p:cNvPr>
                    <p:cNvSpPr/>
                    <p:nvPr/>
                  </p:nvSpPr>
                  <p:spPr>
                    <a:xfrm>
                      <a:off x="5309620" y="5499672"/>
                      <a:ext cx="10132" cy="10489"/>
                    </a:xfrm>
                    <a:custGeom>
                      <a:avLst/>
                      <a:gdLst>
                        <a:gd name="connsiteX0" fmla="*/ 8278 w 10132"/>
                        <a:gd name="connsiteY0" fmla="*/ 6818 h 10489"/>
                        <a:gd name="connsiteX1" fmla="*/ 8816 w 10132"/>
                        <a:gd name="connsiteY1" fmla="*/ 7177 h 10489"/>
                        <a:gd name="connsiteX2" fmla="*/ 9235 w 10132"/>
                        <a:gd name="connsiteY2" fmla="*/ 6579 h 10489"/>
                        <a:gd name="connsiteX3" fmla="*/ 9534 w 10132"/>
                        <a:gd name="connsiteY3" fmla="*/ 5981 h 10489"/>
                        <a:gd name="connsiteX4" fmla="*/ 9773 w 10132"/>
                        <a:gd name="connsiteY4" fmla="*/ 5383 h 10489"/>
                        <a:gd name="connsiteX5" fmla="*/ 9953 w 10132"/>
                        <a:gd name="connsiteY5" fmla="*/ 4785 h 10489"/>
                        <a:gd name="connsiteX6" fmla="*/ 10013 w 10132"/>
                        <a:gd name="connsiteY6" fmla="*/ 4545 h 10489"/>
                        <a:gd name="connsiteX7" fmla="*/ 10072 w 10132"/>
                        <a:gd name="connsiteY7" fmla="*/ 4306 h 10489"/>
                        <a:gd name="connsiteX8" fmla="*/ 10132 w 10132"/>
                        <a:gd name="connsiteY8" fmla="*/ 4067 h 10489"/>
                        <a:gd name="connsiteX9" fmla="*/ 10132 w 10132"/>
                        <a:gd name="connsiteY9" fmla="*/ 3828 h 10489"/>
                        <a:gd name="connsiteX10" fmla="*/ 10132 w 10132"/>
                        <a:gd name="connsiteY10" fmla="*/ 2871 h 10489"/>
                        <a:gd name="connsiteX11" fmla="*/ 9893 w 10132"/>
                        <a:gd name="connsiteY11" fmla="*/ 1974 h 10489"/>
                        <a:gd name="connsiteX12" fmla="*/ 9474 w 10132"/>
                        <a:gd name="connsiteY12" fmla="*/ 1196 h 10489"/>
                        <a:gd name="connsiteX13" fmla="*/ 8816 w 10132"/>
                        <a:gd name="connsiteY13" fmla="*/ 598 h 10489"/>
                        <a:gd name="connsiteX14" fmla="*/ 8517 w 10132"/>
                        <a:gd name="connsiteY14" fmla="*/ 419 h 10489"/>
                        <a:gd name="connsiteX15" fmla="*/ 8218 w 10132"/>
                        <a:gd name="connsiteY15" fmla="*/ 299 h 10489"/>
                        <a:gd name="connsiteX16" fmla="*/ 7860 w 10132"/>
                        <a:gd name="connsiteY16" fmla="*/ 180 h 10489"/>
                        <a:gd name="connsiteX17" fmla="*/ 7501 w 10132"/>
                        <a:gd name="connsiteY17" fmla="*/ 120 h 10489"/>
                        <a:gd name="connsiteX18" fmla="*/ 6843 w 10132"/>
                        <a:gd name="connsiteY18" fmla="*/ 897 h 10489"/>
                        <a:gd name="connsiteX19" fmla="*/ 7201 w 10132"/>
                        <a:gd name="connsiteY19" fmla="*/ 957 h 10489"/>
                        <a:gd name="connsiteX20" fmla="*/ 7560 w 10132"/>
                        <a:gd name="connsiteY20" fmla="*/ 1017 h 10489"/>
                        <a:gd name="connsiteX21" fmla="*/ 7860 w 10132"/>
                        <a:gd name="connsiteY21" fmla="*/ 1136 h 10489"/>
                        <a:gd name="connsiteX22" fmla="*/ 8159 w 10132"/>
                        <a:gd name="connsiteY22" fmla="*/ 1316 h 10489"/>
                        <a:gd name="connsiteX23" fmla="*/ 8577 w 10132"/>
                        <a:gd name="connsiteY23" fmla="*/ 1675 h 10489"/>
                        <a:gd name="connsiteX24" fmla="*/ 8876 w 10132"/>
                        <a:gd name="connsiteY24" fmla="*/ 2093 h 10489"/>
                        <a:gd name="connsiteX25" fmla="*/ 9115 w 10132"/>
                        <a:gd name="connsiteY25" fmla="*/ 2632 h 10489"/>
                        <a:gd name="connsiteX26" fmla="*/ 9235 w 10132"/>
                        <a:gd name="connsiteY26" fmla="*/ 3230 h 10489"/>
                        <a:gd name="connsiteX27" fmla="*/ 9235 w 10132"/>
                        <a:gd name="connsiteY27" fmla="*/ 3469 h 10489"/>
                        <a:gd name="connsiteX28" fmla="*/ 9235 w 10132"/>
                        <a:gd name="connsiteY28" fmla="*/ 3768 h 10489"/>
                        <a:gd name="connsiteX29" fmla="*/ 9235 w 10132"/>
                        <a:gd name="connsiteY29" fmla="*/ 4067 h 10489"/>
                        <a:gd name="connsiteX30" fmla="*/ 9175 w 10132"/>
                        <a:gd name="connsiteY30" fmla="*/ 4366 h 10489"/>
                        <a:gd name="connsiteX31" fmla="*/ 9055 w 10132"/>
                        <a:gd name="connsiteY31" fmla="*/ 4964 h 10489"/>
                        <a:gd name="connsiteX32" fmla="*/ 8816 w 10132"/>
                        <a:gd name="connsiteY32" fmla="*/ 5622 h 10489"/>
                        <a:gd name="connsiteX33" fmla="*/ 8517 w 10132"/>
                        <a:gd name="connsiteY33" fmla="*/ 6280 h 10489"/>
                        <a:gd name="connsiteX34" fmla="*/ 8278 w 10132"/>
                        <a:gd name="connsiteY34" fmla="*/ 6818 h 10489"/>
                        <a:gd name="connsiteX35" fmla="*/ 1998 w 10132"/>
                        <a:gd name="connsiteY35" fmla="*/ 2632 h 10489"/>
                        <a:gd name="connsiteX36" fmla="*/ 2537 w 10132"/>
                        <a:gd name="connsiteY36" fmla="*/ 2990 h 10489"/>
                        <a:gd name="connsiteX37" fmla="*/ 3075 w 10132"/>
                        <a:gd name="connsiteY37" fmla="*/ 2452 h 10489"/>
                        <a:gd name="connsiteX38" fmla="*/ 3613 w 10132"/>
                        <a:gd name="connsiteY38" fmla="*/ 1974 h 10489"/>
                        <a:gd name="connsiteX39" fmla="*/ 4211 w 10132"/>
                        <a:gd name="connsiteY39" fmla="*/ 1555 h 10489"/>
                        <a:gd name="connsiteX40" fmla="*/ 4809 w 10132"/>
                        <a:gd name="connsiteY40" fmla="*/ 1256 h 10489"/>
                        <a:gd name="connsiteX41" fmla="*/ 5108 w 10132"/>
                        <a:gd name="connsiteY41" fmla="*/ 1136 h 10489"/>
                        <a:gd name="connsiteX42" fmla="*/ 5407 w 10132"/>
                        <a:gd name="connsiteY42" fmla="*/ 1017 h 10489"/>
                        <a:gd name="connsiteX43" fmla="*/ 5706 w 10132"/>
                        <a:gd name="connsiteY43" fmla="*/ 957 h 10489"/>
                        <a:gd name="connsiteX44" fmla="*/ 6006 w 10132"/>
                        <a:gd name="connsiteY44" fmla="*/ 897 h 10489"/>
                        <a:gd name="connsiteX45" fmla="*/ 6006 w 10132"/>
                        <a:gd name="connsiteY45" fmla="*/ 897 h 10489"/>
                        <a:gd name="connsiteX46" fmla="*/ 6006 w 10132"/>
                        <a:gd name="connsiteY46" fmla="*/ 897 h 10489"/>
                        <a:gd name="connsiteX47" fmla="*/ 6006 w 10132"/>
                        <a:gd name="connsiteY47" fmla="*/ 897 h 10489"/>
                        <a:gd name="connsiteX48" fmla="*/ 6006 w 10132"/>
                        <a:gd name="connsiteY48" fmla="*/ 897 h 10489"/>
                        <a:gd name="connsiteX49" fmla="*/ 6723 w 10132"/>
                        <a:gd name="connsiteY49" fmla="*/ 0 h 10489"/>
                        <a:gd name="connsiteX50" fmla="*/ 6304 w 10132"/>
                        <a:gd name="connsiteY50" fmla="*/ 60 h 10489"/>
                        <a:gd name="connsiteX51" fmla="*/ 5886 w 10132"/>
                        <a:gd name="connsiteY51" fmla="*/ 120 h 10489"/>
                        <a:gd name="connsiteX52" fmla="*/ 5467 w 10132"/>
                        <a:gd name="connsiteY52" fmla="*/ 239 h 10489"/>
                        <a:gd name="connsiteX53" fmla="*/ 5048 w 10132"/>
                        <a:gd name="connsiteY53" fmla="*/ 359 h 10489"/>
                        <a:gd name="connsiteX54" fmla="*/ 4809 w 10132"/>
                        <a:gd name="connsiteY54" fmla="*/ 479 h 10489"/>
                        <a:gd name="connsiteX55" fmla="*/ 4570 w 10132"/>
                        <a:gd name="connsiteY55" fmla="*/ 598 h 10489"/>
                        <a:gd name="connsiteX56" fmla="*/ 4331 w 10132"/>
                        <a:gd name="connsiteY56" fmla="*/ 718 h 10489"/>
                        <a:gd name="connsiteX57" fmla="*/ 4092 w 10132"/>
                        <a:gd name="connsiteY57" fmla="*/ 837 h 10489"/>
                        <a:gd name="connsiteX58" fmla="*/ 3493 w 10132"/>
                        <a:gd name="connsiteY58" fmla="*/ 1196 h 10489"/>
                        <a:gd name="connsiteX59" fmla="*/ 2955 w 10132"/>
                        <a:gd name="connsiteY59" fmla="*/ 1615 h 10489"/>
                        <a:gd name="connsiteX60" fmla="*/ 2417 w 10132"/>
                        <a:gd name="connsiteY60" fmla="*/ 2093 h 10489"/>
                        <a:gd name="connsiteX61" fmla="*/ 1998 w 10132"/>
                        <a:gd name="connsiteY61" fmla="*/ 2632 h 10489"/>
                        <a:gd name="connsiteX62" fmla="*/ 742 w 10132"/>
                        <a:gd name="connsiteY62" fmla="*/ 9390 h 10489"/>
                        <a:gd name="connsiteX63" fmla="*/ 2238 w 10132"/>
                        <a:gd name="connsiteY63" fmla="*/ 10347 h 10489"/>
                        <a:gd name="connsiteX64" fmla="*/ 3673 w 10132"/>
                        <a:gd name="connsiteY64" fmla="*/ 10466 h 10489"/>
                        <a:gd name="connsiteX65" fmla="*/ 5228 w 10132"/>
                        <a:gd name="connsiteY65" fmla="*/ 10048 h 10489"/>
                        <a:gd name="connsiteX66" fmla="*/ 6783 w 10132"/>
                        <a:gd name="connsiteY66" fmla="*/ 9211 h 10489"/>
                        <a:gd name="connsiteX67" fmla="*/ 8218 w 10132"/>
                        <a:gd name="connsiteY67" fmla="*/ 7895 h 10489"/>
                        <a:gd name="connsiteX68" fmla="*/ 7680 w 10132"/>
                        <a:gd name="connsiteY68" fmla="*/ 7536 h 10489"/>
                        <a:gd name="connsiteX69" fmla="*/ 6245 w 10132"/>
                        <a:gd name="connsiteY69" fmla="*/ 8732 h 10489"/>
                        <a:gd name="connsiteX70" fmla="*/ 4690 w 10132"/>
                        <a:gd name="connsiteY70" fmla="*/ 9450 h 10489"/>
                        <a:gd name="connsiteX71" fmla="*/ 3194 w 10132"/>
                        <a:gd name="connsiteY71" fmla="*/ 9629 h 10489"/>
                        <a:gd name="connsiteX72" fmla="*/ 1938 w 10132"/>
                        <a:gd name="connsiteY72" fmla="*/ 9211 h 10489"/>
                        <a:gd name="connsiteX73" fmla="*/ 1101 w 10132"/>
                        <a:gd name="connsiteY73" fmla="*/ 8253 h 10489"/>
                        <a:gd name="connsiteX74" fmla="*/ 802 w 10132"/>
                        <a:gd name="connsiteY74" fmla="*/ 6938 h 10489"/>
                        <a:gd name="connsiteX75" fmla="*/ 1041 w 10132"/>
                        <a:gd name="connsiteY75" fmla="*/ 5383 h 10489"/>
                        <a:gd name="connsiteX76" fmla="*/ 1879 w 10132"/>
                        <a:gd name="connsiteY76" fmla="*/ 3768 h 10489"/>
                        <a:gd name="connsiteX77" fmla="*/ 1340 w 10132"/>
                        <a:gd name="connsiteY77" fmla="*/ 3409 h 10489"/>
                        <a:gd name="connsiteX78" fmla="*/ 443 w 10132"/>
                        <a:gd name="connsiteY78" fmla="*/ 5084 h 10489"/>
                        <a:gd name="connsiteX79" fmla="*/ 25 w 10132"/>
                        <a:gd name="connsiteY79" fmla="*/ 6698 h 10489"/>
                        <a:gd name="connsiteX80" fmla="*/ 84 w 10132"/>
                        <a:gd name="connsiteY80" fmla="*/ 8194 h 10489"/>
                        <a:gd name="connsiteX81" fmla="*/ 742 w 10132"/>
                        <a:gd name="connsiteY81" fmla="*/ 9390 h 1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0132" h="10489">
                          <a:moveTo>
                            <a:pt x="8278" y="6818"/>
                          </a:moveTo>
                          <a:lnTo>
                            <a:pt x="8816" y="7177"/>
                          </a:lnTo>
                          <a:cubicBezTo>
                            <a:pt x="8936" y="6998"/>
                            <a:pt x="9115" y="6758"/>
                            <a:pt x="9235" y="6579"/>
                          </a:cubicBezTo>
                          <a:cubicBezTo>
                            <a:pt x="9355" y="6399"/>
                            <a:pt x="9474" y="6160"/>
                            <a:pt x="9534" y="5981"/>
                          </a:cubicBezTo>
                          <a:cubicBezTo>
                            <a:pt x="9654" y="5801"/>
                            <a:pt x="9714" y="5562"/>
                            <a:pt x="9773" y="5383"/>
                          </a:cubicBezTo>
                          <a:cubicBezTo>
                            <a:pt x="9833" y="5203"/>
                            <a:pt x="9893" y="4964"/>
                            <a:pt x="9953" y="4785"/>
                          </a:cubicBezTo>
                          <a:cubicBezTo>
                            <a:pt x="9953" y="4725"/>
                            <a:pt x="10013" y="4605"/>
                            <a:pt x="10013" y="4545"/>
                          </a:cubicBezTo>
                          <a:cubicBezTo>
                            <a:pt x="10013" y="4486"/>
                            <a:pt x="10072" y="4366"/>
                            <a:pt x="10072" y="4306"/>
                          </a:cubicBezTo>
                          <a:cubicBezTo>
                            <a:pt x="10072" y="4246"/>
                            <a:pt x="10072" y="4127"/>
                            <a:pt x="10132" y="4067"/>
                          </a:cubicBezTo>
                          <a:cubicBezTo>
                            <a:pt x="10132" y="4007"/>
                            <a:pt x="10132" y="3888"/>
                            <a:pt x="10132" y="3828"/>
                          </a:cubicBezTo>
                          <a:cubicBezTo>
                            <a:pt x="10132" y="3469"/>
                            <a:pt x="10132" y="3170"/>
                            <a:pt x="10132" y="2871"/>
                          </a:cubicBezTo>
                          <a:cubicBezTo>
                            <a:pt x="10132" y="2572"/>
                            <a:pt x="10013" y="2273"/>
                            <a:pt x="9893" y="1974"/>
                          </a:cubicBezTo>
                          <a:cubicBezTo>
                            <a:pt x="9773" y="1675"/>
                            <a:pt x="9654" y="1435"/>
                            <a:pt x="9474" y="1196"/>
                          </a:cubicBezTo>
                          <a:cubicBezTo>
                            <a:pt x="9295" y="957"/>
                            <a:pt x="9055" y="778"/>
                            <a:pt x="8816" y="598"/>
                          </a:cubicBezTo>
                          <a:cubicBezTo>
                            <a:pt x="8697" y="538"/>
                            <a:pt x="8637" y="479"/>
                            <a:pt x="8517" y="419"/>
                          </a:cubicBezTo>
                          <a:cubicBezTo>
                            <a:pt x="8398" y="359"/>
                            <a:pt x="8338" y="299"/>
                            <a:pt x="8218" y="299"/>
                          </a:cubicBezTo>
                          <a:cubicBezTo>
                            <a:pt x="8099" y="299"/>
                            <a:pt x="7979" y="239"/>
                            <a:pt x="7860" y="180"/>
                          </a:cubicBezTo>
                          <a:cubicBezTo>
                            <a:pt x="7740" y="180"/>
                            <a:pt x="7620" y="120"/>
                            <a:pt x="7501" y="120"/>
                          </a:cubicBezTo>
                          <a:lnTo>
                            <a:pt x="6843" y="897"/>
                          </a:lnTo>
                          <a:cubicBezTo>
                            <a:pt x="6962" y="897"/>
                            <a:pt x="7082" y="897"/>
                            <a:pt x="7201" y="957"/>
                          </a:cubicBezTo>
                          <a:cubicBezTo>
                            <a:pt x="7321" y="957"/>
                            <a:pt x="7441" y="1017"/>
                            <a:pt x="7560" y="1017"/>
                          </a:cubicBezTo>
                          <a:cubicBezTo>
                            <a:pt x="7680" y="1076"/>
                            <a:pt x="7800" y="1076"/>
                            <a:pt x="7860" y="1136"/>
                          </a:cubicBezTo>
                          <a:cubicBezTo>
                            <a:pt x="7979" y="1196"/>
                            <a:pt x="8039" y="1256"/>
                            <a:pt x="8159" y="1316"/>
                          </a:cubicBezTo>
                          <a:cubicBezTo>
                            <a:pt x="8338" y="1435"/>
                            <a:pt x="8457" y="1555"/>
                            <a:pt x="8577" y="1675"/>
                          </a:cubicBezTo>
                          <a:cubicBezTo>
                            <a:pt x="8697" y="1794"/>
                            <a:pt x="8816" y="1974"/>
                            <a:pt x="8876" y="2093"/>
                          </a:cubicBezTo>
                          <a:cubicBezTo>
                            <a:pt x="8996" y="2273"/>
                            <a:pt x="9055" y="2452"/>
                            <a:pt x="9115" y="2632"/>
                          </a:cubicBezTo>
                          <a:cubicBezTo>
                            <a:pt x="9175" y="2811"/>
                            <a:pt x="9235" y="2990"/>
                            <a:pt x="9235" y="3230"/>
                          </a:cubicBezTo>
                          <a:cubicBezTo>
                            <a:pt x="9235" y="3289"/>
                            <a:pt x="9235" y="3409"/>
                            <a:pt x="9235" y="3469"/>
                          </a:cubicBezTo>
                          <a:cubicBezTo>
                            <a:pt x="9235" y="3529"/>
                            <a:pt x="9235" y="3649"/>
                            <a:pt x="9235" y="3768"/>
                          </a:cubicBezTo>
                          <a:cubicBezTo>
                            <a:pt x="9235" y="3888"/>
                            <a:pt x="9235" y="3947"/>
                            <a:pt x="9235" y="4067"/>
                          </a:cubicBezTo>
                          <a:cubicBezTo>
                            <a:pt x="9235" y="4187"/>
                            <a:pt x="9235" y="4246"/>
                            <a:pt x="9175" y="4366"/>
                          </a:cubicBezTo>
                          <a:cubicBezTo>
                            <a:pt x="9115" y="4545"/>
                            <a:pt x="9115" y="4785"/>
                            <a:pt x="9055" y="4964"/>
                          </a:cubicBezTo>
                          <a:cubicBezTo>
                            <a:pt x="8996" y="5203"/>
                            <a:pt x="8936" y="5383"/>
                            <a:pt x="8816" y="5622"/>
                          </a:cubicBezTo>
                          <a:cubicBezTo>
                            <a:pt x="8756" y="5861"/>
                            <a:pt x="8637" y="6041"/>
                            <a:pt x="8517" y="6280"/>
                          </a:cubicBezTo>
                          <a:cubicBezTo>
                            <a:pt x="8577" y="6399"/>
                            <a:pt x="8457" y="6639"/>
                            <a:pt x="8278" y="6818"/>
                          </a:cubicBezTo>
                          <a:moveTo>
                            <a:pt x="1998" y="2632"/>
                          </a:moveTo>
                          <a:lnTo>
                            <a:pt x="2537" y="2990"/>
                          </a:lnTo>
                          <a:cubicBezTo>
                            <a:pt x="2716" y="2811"/>
                            <a:pt x="2895" y="2632"/>
                            <a:pt x="3075" y="2452"/>
                          </a:cubicBezTo>
                          <a:cubicBezTo>
                            <a:pt x="3254" y="2273"/>
                            <a:pt x="3433" y="2153"/>
                            <a:pt x="3613" y="1974"/>
                          </a:cubicBezTo>
                          <a:cubicBezTo>
                            <a:pt x="3792" y="1854"/>
                            <a:pt x="4032" y="1675"/>
                            <a:pt x="4211" y="1555"/>
                          </a:cubicBezTo>
                          <a:cubicBezTo>
                            <a:pt x="4391" y="1435"/>
                            <a:pt x="4630" y="1316"/>
                            <a:pt x="4809" y="1256"/>
                          </a:cubicBezTo>
                          <a:cubicBezTo>
                            <a:pt x="4929" y="1196"/>
                            <a:pt x="4989" y="1196"/>
                            <a:pt x="5108" y="1136"/>
                          </a:cubicBezTo>
                          <a:cubicBezTo>
                            <a:pt x="5228" y="1076"/>
                            <a:pt x="5288" y="1076"/>
                            <a:pt x="5407" y="1017"/>
                          </a:cubicBezTo>
                          <a:cubicBezTo>
                            <a:pt x="5527" y="957"/>
                            <a:pt x="5587" y="957"/>
                            <a:pt x="5706" y="957"/>
                          </a:cubicBezTo>
                          <a:cubicBezTo>
                            <a:pt x="5826" y="957"/>
                            <a:pt x="5886" y="897"/>
                            <a:pt x="6006" y="897"/>
                          </a:cubicBezTo>
                          <a:cubicBezTo>
                            <a:pt x="6006" y="897"/>
                            <a:pt x="6006" y="897"/>
                            <a:pt x="6006" y="897"/>
                          </a:cubicBezTo>
                          <a:cubicBezTo>
                            <a:pt x="6006" y="897"/>
                            <a:pt x="6006" y="897"/>
                            <a:pt x="6006" y="897"/>
                          </a:cubicBezTo>
                          <a:cubicBezTo>
                            <a:pt x="6006" y="897"/>
                            <a:pt x="6006" y="897"/>
                            <a:pt x="6006" y="897"/>
                          </a:cubicBezTo>
                          <a:cubicBezTo>
                            <a:pt x="6006" y="897"/>
                            <a:pt x="6006" y="897"/>
                            <a:pt x="6006" y="897"/>
                          </a:cubicBezTo>
                          <a:lnTo>
                            <a:pt x="6723" y="0"/>
                          </a:lnTo>
                          <a:cubicBezTo>
                            <a:pt x="6603" y="0"/>
                            <a:pt x="6484" y="0"/>
                            <a:pt x="6304" y="60"/>
                          </a:cubicBezTo>
                          <a:cubicBezTo>
                            <a:pt x="6185" y="60"/>
                            <a:pt x="6065" y="120"/>
                            <a:pt x="5886" y="120"/>
                          </a:cubicBezTo>
                          <a:cubicBezTo>
                            <a:pt x="5766" y="120"/>
                            <a:pt x="5647" y="180"/>
                            <a:pt x="5467" y="239"/>
                          </a:cubicBezTo>
                          <a:cubicBezTo>
                            <a:pt x="5288" y="299"/>
                            <a:pt x="5168" y="299"/>
                            <a:pt x="5048" y="359"/>
                          </a:cubicBezTo>
                          <a:cubicBezTo>
                            <a:pt x="4989" y="419"/>
                            <a:pt x="4869" y="419"/>
                            <a:pt x="4809" y="479"/>
                          </a:cubicBezTo>
                          <a:cubicBezTo>
                            <a:pt x="4749" y="538"/>
                            <a:pt x="4630" y="538"/>
                            <a:pt x="4570" y="598"/>
                          </a:cubicBezTo>
                          <a:cubicBezTo>
                            <a:pt x="4510" y="658"/>
                            <a:pt x="4391" y="658"/>
                            <a:pt x="4331" y="718"/>
                          </a:cubicBezTo>
                          <a:cubicBezTo>
                            <a:pt x="4271" y="778"/>
                            <a:pt x="4152" y="778"/>
                            <a:pt x="4092" y="837"/>
                          </a:cubicBezTo>
                          <a:cubicBezTo>
                            <a:pt x="3912" y="957"/>
                            <a:pt x="3733" y="1076"/>
                            <a:pt x="3493" y="1196"/>
                          </a:cubicBezTo>
                          <a:cubicBezTo>
                            <a:pt x="3314" y="1316"/>
                            <a:pt x="3135" y="1435"/>
                            <a:pt x="2955" y="1615"/>
                          </a:cubicBezTo>
                          <a:cubicBezTo>
                            <a:pt x="2776" y="1735"/>
                            <a:pt x="2596" y="1914"/>
                            <a:pt x="2417" y="2093"/>
                          </a:cubicBezTo>
                          <a:cubicBezTo>
                            <a:pt x="2297" y="2273"/>
                            <a:pt x="2178" y="2452"/>
                            <a:pt x="1998" y="2632"/>
                          </a:cubicBezTo>
                          <a:moveTo>
                            <a:pt x="742" y="9390"/>
                          </a:moveTo>
                          <a:lnTo>
                            <a:pt x="2238" y="10347"/>
                          </a:lnTo>
                          <a:cubicBezTo>
                            <a:pt x="2716" y="10466"/>
                            <a:pt x="3194" y="10526"/>
                            <a:pt x="3673" y="10466"/>
                          </a:cubicBezTo>
                          <a:cubicBezTo>
                            <a:pt x="4211" y="10406"/>
                            <a:pt x="4690" y="10287"/>
                            <a:pt x="5228" y="10048"/>
                          </a:cubicBezTo>
                          <a:cubicBezTo>
                            <a:pt x="5766" y="9808"/>
                            <a:pt x="6304" y="9569"/>
                            <a:pt x="6783" y="9211"/>
                          </a:cubicBezTo>
                          <a:cubicBezTo>
                            <a:pt x="7261" y="8852"/>
                            <a:pt x="7800" y="8433"/>
                            <a:pt x="8218" y="7895"/>
                          </a:cubicBezTo>
                          <a:lnTo>
                            <a:pt x="7680" y="7536"/>
                          </a:lnTo>
                          <a:cubicBezTo>
                            <a:pt x="7261" y="8014"/>
                            <a:pt x="6783" y="8433"/>
                            <a:pt x="6245" y="8732"/>
                          </a:cubicBezTo>
                          <a:cubicBezTo>
                            <a:pt x="5766" y="9031"/>
                            <a:pt x="5228" y="9270"/>
                            <a:pt x="4690" y="9450"/>
                          </a:cubicBezTo>
                          <a:cubicBezTo>
                            <a:pt x="4152" y="9629"/>
                            <a:pt x="3673" y="9689"/>
                            <a:pt x="3194" y="9629"/>
                          </a:cubicBezTo>
                          <a:cubicBezTo>
                            <a:pt x="2716" y="9569"/>
                            <a:pt x="2297" y="9450"/>
                            <a:pt x="1938" y="9211"/>
                          </a:cubicBezTo>
                          <a:cubicBezTo>
                            <a:pt x="1579" y="8971"/>
                            <a:pt x="1281" y="8612"/>
                            <a:pt x="1101" y="8253"/>
                          </a:cubicBezTo>
                          <a:cubicBezTo>
                            <a:pt x="922" y="7835"/>
                            <a:pt x="802" y="7416"/>
                            <a:pt x="802" y="6938"/>
                          </a:cubicBezTo>
                          <a:cubicBezTo>
                            <a:pt x="802" y="6459"/>
                            <a:pt x="862" y="5921"/>
                            <a:pt x="1041" y="5383"/>
                          </a:cubicBezTo>
                          <a:cubicBezTo>
                            <a:pt x="1221" y="4844"/>
                            <a:pt x="1520" y="4306"/>
                            <a:pt x="1879" y="3768"/>
                          </a:cubicBezTo>
                          <a:lnTo>
                            <a:pt x="1340" y="3409"/>
                          </a:lnTo>
                          <a:cubicBezTo>
                            <a:pt x="982" y="3947"/>
                            <a:pt x="683" y="4486"/>
                            <a:pt x="443" y="5084"/>
                          </a:cubicBezTo>
                          <a:cubicBezTo>
                            <a:pt x="204" y="5622"/>
                            <a:pt x="84" y="6160"/>
                            <a:pt x="25" y="6698"/>
                          </a:cubicBezTo>
                          <a:cubicBezTo>
                            <a:pt x="-35" y="7237"/>
                            <a:pt x="25" y="7715"/>
                            <a:pt x="84" y="8194"/>
                          </a:cubicBezTo>
                          <a:cubicBezTo>
                            <a:pt x="264" y="8672"/>
                            <a:pt x="503" y="9031"/>
                            <a:pt x="742" y="9390"/>
                          </a:cubicBezTo>
                        </a:path>
                      </a:pathLst>
                    </a:custGeom>
                    <a:noFill/>
                    <a:ln w="6350" cap="flat">
                      <a:solidFill>
                        <a:schemeClr val="bg1">
                          <a:alpha val="80000"/>
                        </a:schemeClr>
                      </a:solidFill>
                      <a:prstDash val="solid"/>
                      <a:miter/>
                    </a:ln>
                  </p:spPr>
                  <p:txBody>
                    <a:bodyPr rtlCol="0" anchor="ctr"/>
                    <a:lstStyle/>
                    <a:p>
                      <a:endParaRPr lang="en-GB"/>
                    </a:p>
                  </p:txBody>
                </p:sp>
                <p:sp>
                  <p:nvSpPr>
                    <p:cNvPr id="7390" name="Vrije vorm: vorm 7389">
                      <a:extLst>
                        <a:ext uri="{FF2B5EF4-FFF2-40B4-BE49-F238E27FC236}">
                          <a16:creationId xmlns:a16="http://schemas.microsoft.com/office/drawing/2014/main" id="{0275E2A1-4A8C-44BA-9CAB-064626A31E30}"/>
                        </a:ext>
                      </a:extLst>
                    </p:cNvPr>
                    <p:cNvSpPr/>
                    <p:nvPr/>
                  </p:nvSpPr>
                  <p:spPr>
                    <a:xfrm>
                      <a:off x="5310123" y="5506191"/>
                      <a:ext cx="29604" cy="31458"/>
                    </a:xfrm>
                    <a:custGeom>
                      <a:avLst/>
                      <a:gdLst>
                        <a:gd name="connsiteX0" fmla="*/ 15490 w 29604"/>
                        <a:gd name="connsiteY0" fmla="*/ 5442 h 31458"/>
                        <a:gd name="connsiteX1" fmla="*/ 16028 w 29604"/>
                        <a:gd name="connsiteY1" fmla="*/ 5801 h 31458"/>
                        <a:gd name="connsiteX2" fmla="*/ 17703 w 29604"/>
                        <a:gd name="connsiteY2" fmla="*/ 3708 h 31458"/>
                        <a:gd name="connsiteX3" fmla="*/ 18301 w 29604"/>
                        <a:gd name="connsiteY3" fmla="*/ 2990 h 31458"/>
                        <a:gd name="connsiteX4" fmla="*/ 19796 w 29604"/>
                        <a:gd name="connsiteY4" fmla="*/ 1076 h 31458"/>
                        <a:gd name="connsiteX5" fmla="*/ 28468 w 29604"/>
                        <a:gd name="connsiteY5" fmla="*/ 6878 h 31458"/>
                        <a:gd name="connsiteX6" fmla="*/ 26973 w 29604"/>
                        <a:gd name="connsiteY6" fmla="*/ 8791 h 31458"/>
                        <a:gd name="connsiteX7" fmla="*/ 26375 w 29604"/>
                        <a:gd name="connsiteY7" fmla="*/ 9509 h 31458"/>
                        <a:gd name="connsiteX8" fmla="*/ 24760 w 29604"/>
                        <a:gd name="connsiteY8" fmla="*/ 11603 h 31458"/>
                        <a:gd name="connsiteX9" fmla="*/ 25299 w 29604"/>
                        <a:gd name="connsiteY9" fmla="*/ 11961 h 31458"/>
                        <a:gd name="connsiteX10" fmla="*/ 26913 w 29604"/>
                        <a:gd name="connsiteY10" fmla="*/ 9868 h 31458"/>
                        <a:gd name="connsiteX11" fmla="*/ 27512 w 29604"/>
                        <a:gd name="connsiteY11" fmla="*/ 9150 h 31458"/>
                        <a:gd name="connsiteX12" fmla="*/ 29605 w 29604"/>
                        <a:gd name="connsiteY12" fmla="*/ 6519 h 31458"/>
                        <a:gd name="connsiteX13" fmla="*/ 19856 w 29604"/>
                        <a:gd name="connsiteY13" fmla="*/ 0 h 31458"/>
                        <a:gd name="connsiteX14" fmla="*/ 17763 w 29604"/>
                        <a:gd name="connsiteY14" fmla="*/ 2632 h 31458"/>
                        <a:gd name="connsiteX15" fmla="*/ 17165 w 29604"/>
                        <a:gd name="connsiteY15" fmla="*/ 3349 h 31458"/>
                        <a:gd name="connsiteX16" fmla="*/ 15490 w 29604"/>
                        <a:gd name="connsiteY16" fmla="*/ 5442 h 31458"/>
                        <a:gd name="connsiteX17" fmla="*/ 20873 w 29604"/>
                        <a:gd name="connsiteY17" fmla="*/ 16447 h 31458"/>
                        <a:gd name="connsiteX18" fmla="*/ 21411 w 29604"/>
                        <a:gd name="connsiteY18" fmla="*/ 16806 h 31458"/>
                        <a:gd name="connsiteX19" fmla="*/ 24700 w 29604"/>
                        <a:gd name="connsiteY19" fmla="*/ 12679 h 31458"/>
                        <a:gd name="connsiteX20" fmla="*/ 24162 w 29604"/>
                        <a:gd name="connsiteY20" fmla="*/ 12320 h 31458"/>
                        <a:gd name="connsiteX21" fmla="*/ 20873 w 29604"/>
                        <a:gd name="connsiteY21" fmla="*/ 16447 h 31458"/>
                        <a:gd name="connsiteX22" fmla="*/ 11603 w 29604"/>
                        <a:gd name="connsiteY22" fmla="*/ 10347 h 31458"/>
                        <a:gd name="connsiteX23" fmla="*/ 12141 w 29604"/>
                        <a:gd name="connsiteY23" fmla="*/ 10705 h 31458"/>
                        <a:gd name="connsiteX24" fmla="*/ 15430 w 29604"/>
                        <a:gd name="connsiteY24" fmla="*/ 6519 h 31458"/>
                        <a:gd name="connsiteX25" fmla="*/ 14892 w 29604"/>
                        <a:gd name="connsiteY25" fmla="*/ 6160 h 31458"/>
                        <a:gd name="connsiteX26" fmla="*/ 11603 w 29604"/>
                        <a:gd name="connsiteY26" fmla="*/ 10347 h 31458"/>
                        <a:gd name="connsiteX27" fmla="*/ 19258 w 29604"/>
                        <a:gd name="connsiteY27" fmla="*/ 18480 h 31458"/>
                        <a:gd name="connsiteX28" fmla="*/ 19796 w 29604"/>
                        <a:gd name="connsiteY28" fmla="*/ 18839 h 31458"/>
                        <a:gd name="connsiteX29" fmla="*/ 20813 w 29604"/>
                        <a:gd name="connsiteY29" fmla="*/ 17523 h 31458"/>
                        <a:gd name="connsiteX30" fmla="*/ 20275 w 29604"/>
                        <a:gd name="connsiteY30" fmla="*/ 17165 h 31458"/>
                        <a:gd name="connsiteX31" fmla="*/ 19258 w 29604"/>
                        <a:gd name="connsiteY31" fmla="*/ 18480 h 31458"/>
                        <a:gd name="connsiteX32" fmla="*/ 9988 w 29604"/>
                        <a:gd name="connsiteY32" fmla="*/ 12440 h 31458"/>
                        <a:gd name="connsiteX33" fmla="*/ 10526 w 29604"/>
                        <a:gd name="connsiteY33" fmla="*/ 12799 h 31458"/>
                        <a:gd name="connsiteX34" fmla="*/ 11543 w 29604"/>
                        <a:gd name="connsiteY34" fmla="*/ 11483 h 31458"/>
                        <a:gd name="connsiteX35" fmla="*/ 11005 w 29604"/>
                        <a:gd name="connsiteY35" fmla="*/ 11124 h 31458"/>
                        <a:gd name="connsiteX36" fmla="*/ 9988 w 29604"/>
                        <a:gd name="connsiteY36" fmla="*/ 12440 h 31458"/>
                        <a:gd name="connsiteX37" fmla="*/ 17763 w 29604"/>
                        <a:gd name="connsiteY37" fmla="*/ 20394 h 31458"/>
                        <a:gd name="connsiteX38" fmla="*/ 18301 w 29604"/>
                        <a:gd name="connsiteY38" fmla="*/ 20753 h 31458"/>
                        <a:gd name="connsiteX39" fmla="*/ 19198 w 29604"/>
                        <a:gd name="connsiteY39" fmla="*/ 19617 h 31458"/>
                        <a:gd name="connsiteX40" fmla="*/ 18660 w 29604"/>
                        <a:gd name="connsiteY40" fmla="*/ 19258 h 31458"/>
                        <a:gd name="connsiteX41" fmla="*/ 17763 w 29604"/>
                        <a:gd name="connsiteY41" fmla="*/ 20394 h 31458"/>
                        <a:gd name="connsiteX42" fmla="*/ 8493 w 29604"/>
                        <a:gd name="connsiteY42" fmla="*/ 14294 h 31458"/>
                        <a:gd name="connsiteX43" fmla="*/ 9031 w 29604"/>
                        <a:gd name="connsiteY43" fmla="*/ 14653 h 31458"/>
                        <a:gd name="connsiteX44" fmla="*/ 9928 w 29604"/>
                        <a:gd name="connsiteY44" fmla="*/ 13516 h 31458"/>
                        <a:gd name="connsiteX45" fmla="*/ 9390 w 29604"/>
                        <a:gd name="connsiteY45" fmla="*/ 13158 h 31458"/>
                        <a:gd name="connsiteX46" fmla="*/ 8493 w 29604"/>
                        <a:gd name="connsiteY46" fmla="*/ 14294 h 31458"/>
                        <a:gd name="connsiteX47" fmla="*/ 0 w 29604"/>
                        <a:gd name="connsiteY47" fmla="*/ 25119 h 31458"/>
                        <a:gd name="connsiteX48" fmla="*/ 9868 w 29604"/>
                        <a:gd name="connsiteY48" fmla="*/ 31459 h 31458"/>
                        <a:gd name="connsiteX49" fmla="*/ 15251 w 29604"/>
                        <a:gd name="connsiteY49" fmla="*/ 24641 h 31458"/>
                        <a:gd name="connsiteX50" fmla="*/ 15849 w 29604"/>
                        <a:gd name="connsiteY50" fmla="*/ 23863 h 31458"/>
                        <a:gd name="connsiteX51" fmla="*/ 17763 w 29604"/>
                        <a:gd name="connsiteY51" fmla="*/ 21471 h 31458"/>
                        <a:gd name="connsiteX52" fmla="*/ 17225 w 29604"/>
                        <a:gd name="connsiteY52" fmla="*/ 21112 h 31458"/>
                        <a:gd name="connsiteX53" fmla="*/ 15311 w 29604"/>
                        <a:gd name="connsiteY53" fmla="*/ 23504 h 31458"/>
                        <a:gd name="connsiteX54" fmla="*/ 14713 w 29604"/>
                        <a:gd name="connsiteY54" fmla="*/ 24282 h 31458"/>
                        <a:gd name="connsiteX55" fmla="*/ 9928 w 29604"/>
                        <a:gd name="connsiteY55" fmla="*/ 30382 h 31458"/>
                        <a:gd name="connsiteX56" fmla="*/ 1136 w 29604"/>
                        <a:gd name="connsiteY56" fmla="*/ 24760 h 31458"/>
                        <a:gd name="connsiteX57" fmla="*/ 5981 w 29604"/>
                        <a:gd name="connsiteY57" fmla="*/ 18600 h 31458"/>
                        <a:gd name="connsiteX58" fmla="*/ 6579 w 29604"/>
                        <a:gd name="connsiteY58" fmla="*/ 17822 h 31458"/>
                        <a:gd name="connsiteX59" fmla="*/ 8493 w 29604"/>
                        <a:gd name="connsiteY59" fmla="*/ 15370 h 31458"/>
                        <a:gd name="connsiteX60" fmla="*/ 7954 w 29604"/>
                        <a:gd name="connsiteY60" fmla="*/ 15012 h 31458"/>
                        <a:gd name="connsiteX61" fmla="*/ 6041 w 29604"/>
                        <a:gd name="connsiteY61" fmla="*/ 17464 h 31458"/>
                        <a:gd name="connsiteX62" fmla="*/ 5443 w 29604"/>
                        <a:gd name="connsiteY62" fmla="*/ 18241 h 31458"/>
                        <a:gd name="connsiteX63" fmla="*/ 0 w 29604"/>
                        <a:gd name="connsiteY63" fmla="*/ 25119 h 3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9604" h="31458">
                          <a:moveTo>
                            <a:pt x="15490" y="5442"/>
                          </a:moveTo>
                          <a:lnTo>
                            <a:pt x="16028" y="5801"/>
                          </a:lnTo>
                          <a:lnTo>
                            <a:pt x="17703" y="3708"/>
                          </a:lnTo>
                          <a:lnTo>
                            <a:pt x="18301" y="2990"/>
                          </a:lnTo>
                          <a:lnTo>
                            <a:pt x="19796" y="1076"/>
                          </a:lnTo>
                          <a:lnTo>
                            <a:pt x="28468" y="6878"/>
                          </a:lnTo>
                          <a:lnTo>
                            <a:pt x="26973" y="8791"/>
                          </a:lnTo>
                          <a:lnTo>
                            <a:pt x="26375" y="9509"/>
                          </a:lnTo>
                          <a:lnTo>
                            <a:pt x="24760" y="11603"/>
                          </a:lnTo>
                          <a:lnTo>
                            <a:pt x="25299" y="11961"/>
                          </a:lnTo>
                          <a:lnTo>
                            <a:pt x="26913" y="9868"/>
                          </a:lnTo>
                          <a:lnTo>
                            <a:pt x="27512" y="9150"/>
                          </a:lnTo>
                          <a:lnTo>
                            <a:pt x="29605" y="6519"/>
                          </a:lnTo>
                          <a:lnTo>
                            <a:pt x="19856" y="0"/>
                          </a:lnTo>
                          <a:lnTo>
                            <a:pt x="17763" y="2632"/>
                          </a:lnTo>
                          <a:lnTo>
                            <a:pt x="17165" y="3349"/>
                          </a:lnTo>
                          <a:lnTo>
                            <a:pt x="15490" y="5442"/>
                          </a:lnTo>
                          <a:moveTo>
                            <a:pt x="20873" y="16447"/>
                          </a:moveTo>
                          <a:lnTo>
                            <a:pt x="21411" y="16806"/>
                          </a:lnTo>
                          <a:lnTo>
                            <a:pt x="24700" y="12679"/>
                          </a:lnTo>
                          <a:lnTo>
                            <a:pt x="24162" y="12320"/>
                          </a:lnTo>
                          <a:lnTo>
                            <a:pt x="20873" y="16447"/>
                          </a:lnTo>
                          <a:moveTo>
                            <a:pt x="11603" y="10347"/>
                          </a:moveTo>
                          <a:lnTo>
                            <a:pt x="12141" y="10705"/>
                          </a:lnTo>
                          <a:lnTo>
                            <a:pt x="15430" y="6519"/>
                          </a:lnTo>
                          <a:lnTo>
                            <a:pt x="14892" y="6160"/>
                          </a:lnTo>
                          <a:lnTo>
                            <a:pt x="11603" y="10347"/>
                          </a:lnTo>
                          <a:moveTo>
                            <a:pt x="19258" y="18480"/>
                          </a:moveTo>
                          <a:lnTo>
                            <a:pt x="19796" y="18839"/>
                          </a:lnTo>
                          <a:lnTo>
                            <a:pt x="20813" y="17523"/>
                          </a:lnTo>
                          <a:lnTo>
                            <a:pt x="20275" y="17165"/>
                          </a:lnTo>
                          <a:lnTo>
                            <a:pt x="19258" y="18480"/>
                          </a:lnTo>
                          <a:moveTo>
                            <a:pt x="9988" y="12440"/>
                          </a:moveTo>
                          <a:lnTo>
                            <a:pt x="10526" y="12799"/>
                          </a:lnTo>
                          <a:lnTo>
                            <a:pt x="11543" y="11483"/>
                          </a:lnTo>
                          <a:lnTo>
                            <a:pt x="11005" y="11124"/>
                          </a:lnTo>
                          <a:lnTo>
                            <a:pt x="9988" y="12440"/>
                          </a:lnTo>
                          <a:moveTo>
                            <a:pt x="17763" y="20394"/>
                          </a:moveTo>
                          <a:lnTo>
                            <a:pt x="18301" y="20753"/>
                          </a:lnTo>
                          <a:lnTo>
                            <a:pt x="19198" y="19617"/>
                          </a:lnTo>
                          <a:lnTo>
                            <a:pt x="18660" y="19258"/>
                          </a:lnTo>
                          <a:lnTo>
                            <a:pt x="17763" y="20394"/>
                          </a:lnTo>
                          <a:moveTo>
                            <a:pt x="8493" y="14294"/>
                          </a:moveTo>
                          <a:lnTo>
                            <a:pt x="9031" y="14653"/>
                          </a:lnTo>
                          <a:lnTo>
                            <a:pt x="9928" y="13516"/>
                          </a:lnTo>
                          <a:lnTo>
                            <a:pt x="9390" y="13158"/>
                          </a:lnTo>
                          <a:lnTo>
                            <a:pt x="8493" y="14294"/>
                          </a:lnTo>
                          <a:moveTo>
                            <a:pt x="0" y="25119"/>
                          </a:moveTo>
                          <a:lnTo>
                            <a:pt x="9868" y="31459"/>
                          </a:lnTo>
                          <a:lnTo>
                            <a:pt x="15251" y="24641"/>
                          </a:lnTo>
                          <a:lnTo>
                            <a:pt x="15849" y="23863"/>
                          </a:lnTo>
                          <a:lnTo>
                            <a:pt x="17763" y="21471"/>
                          </a:lnTo>
                          <a:lnTo>
                            <a:pt x="17225" y="21112"/>
                          </a:lnTo>
                          <a:lnTo>
                            <a:pt x="15311" y="23504"/>
                          </a:lnTo>
                          <a:lnTo>
                            <a:pt x="14713" y="24282"/>
                          </a:lnTo>
                          <a:lnTo>
                            <a:pt x="9928" y="30382"/>
                          </a:lnTo>
                          <a:lnTo>
                            <a:pt x="1136" y="24760"/>
                          </a:lnTo>
                          <a:lnTo>
                            <a:pt x="5981" y="18600"/>
                          </a:lnTo>
                          <a:lnTo>
                            <a:pt x="6579" y="17822"/>
                          </a:lnTo>
                          <a:lnTo>
                            <a:pt x="8493" y="15370"/>
                          </a:lnTo>
                          <a:lnTo>
                            <a:pt x="7954" y="15012"/>
                          </a:lnTo>
                          <a:lnTo>
                            <a:pt x="6041" y="17464"/>
                          </a:lnTo>
                          <a:lnTo>
                            <a:pt x="5443" y="18241"/>
                          </a:lnTo>
                          <a:lnTo>
                            <a:pt x="0" y="25119"/>
                          </a:lnTo>
                        </a:path>
                      </a:pathLst>
                    </a:custGeom>
                    <a:noFill/>
                    <a:ln w="6350" cap="flat">
                      <a:solidFill>
                        <a:schemeClr val="bg1">
                          <a:alpha val="80000"/>
                        </a:schemeClr>
                      </a:solidFill>
                      <a:prstDash val="solid"/>
                      <a:miter/>
                    </a:ln>
                  </p:spPr>
                  <p:txBody>
                    <a:bodyPr rtlCol="0" anchor="ctr"/>
                    <a:lstStyle/>
                    <a:p>
                      <a:endParaRPr lang="en-GB"/>
                    </a:p>
                  </p:txBody>
                </p:sp>
                <p:sp>
                  <p:nvSpPr>
                    <p:cNvPr id="7391" name="Vrije vorm: vorm 7390">
                      <a:extLst>
                        <a:ext uri="{FF2B5EF4-FFF2-40B4-BE49-F238E27FC236}">
                          <a16:creationId xmlns:a16="http://schemas.microsoft.com/office/drawing/2014/main" id="{F2AF5B62-4DF3-4EDE-98FE-195C20F60F22}"/>
                        </a:ext>
                      </a:extLst>
                    </p:cNvPr>
                    <p:cNvSpPr/>
                    <p:nvPr/>
                  </p:nvSpPr>
                  <p:spPr>
                    <a:xfrm>
                      <a:off x="5305936" y="5294892"/>
                      <a:ext cx="63156" cy="103825"/>
                    </a:xfrm>
                    <a:custGeom>
                      <a:avLst/>
                      <a:gdLst>
                        <a:gd name="connsiteX0" fmla="*/ 59987 w 63156"/>
                        <a:gd name="connsiteY0" fmla="*/ 4545 h 103825"/>
                        <a:gd name="connsiteX1" fmla="*/ 60824 w 63156"/>
                        <a:gd name="connsiteY1" fmla="*/ 4725 h 103825"/>
                        <a:gd name="connsiteX2" fmla="*/ 61003 w 63156"/>
                        <a:gd name="connsiteY2" fmla="*/ 4486 h 103825"/>
                        <a:gd name="connsiteX3" fmla="*/ 61243 w 63156"/>
                        <a:gd name="connsiteY3" fmla="*/ 4306 h 103825"/>
                        <a:gd name="connsiteX4" fmla="*/ 61482 w 63156"/>
                        <a:gd name="connsiteY4" fmla="*/ 4127 h 103825"/>
                        <a:gd name="connsiteX5" fmla="*/ 61721 w 63156"/>
                        <a:gd name="connsiteY5" fmla="*/ 3947 h 103825"/>
                        <a:gd name="connsiteX6" fmla="*/ 60346 w 63156"/>
                        <a:gd name="connsiteY6" fmla="*/ 3648 h 103825"/>
                        <a:gd name="connsiteX7" fmla="*/ 60286 w 63156"/>
                        <a:gd name="connsiteY7" fmla="*/ 3888 h 103825"/>
                        <a:gd name="connsiteX8" fmla="*/ 60226 w 63156"/>
                        <a:gd name="connsiteY8" fmla="*/ 4127 h 103825"/>
                        <a:gd name="connsiteX9" fmla="*/ 60107 w 63156"/>
                        <a:gd name="connsiteY9" fmla="*/ 4366 h 103825"/>
                        <a:gd name="connsiteX10" fmla="*/ 59987 w 63156"/>
                        <a:gd name="connsiteY10" fmla="*/ 4545 h 103825"/>
                        <a:gd name="connsiteX11" fmla="*/ 57774 w 63156"/>
                        <a:gd name="connsiteY11" fmla="*/ 4007 h 103825"/>
                        <a:gd name="connsiteX12" fmla="*/ 59090 w 63156"/>
                        <a:gd name="connsiteY12" fmla="*/ 4306 h 103825"/>
                        <a:gd name="connsiteX13" fmla="*/ 59209 w 63156"/>
                        <a:gd name="connsiteY13" fmla="*/ 4067 h 103825"/>
                        <a:gd name="connsiteX14" fmla="*/ 59269 w 63156"/>
                        <a:gd name="connsiteY14" fmla="*/ 3828 h 103825"/>
                        <a:gd name="connsiteX15" fmla="*/ 59329 w 63156"/>
                        <a:gd name="connsiteY15" fmla="*/ 3589 h 103825"/>
                        <a:gd name="connsiteX16" fmla="*/ 59389 w 63156"/>
                        <a:gd name="connsiteY16" fmla="*/ 3349 h 103825"/>
                        <a:gd name="connsiteX17" fmla="*/ 58073 w 63156"/>
                        <a:gd name="connsiteY17" fmla="*/ 3050 h 103825"/>
                        <a:gd name="connsiteX18" fmla="*/ 58013 w 63156"/>
                        <a:gd name="connsiteY18" fmla="*/ 3289 h 103825"/>
                        <a:gd name="connsiteX19" fmla="*/ 57953 w 63156"/>
                        <a:gd name="connsiteY19" fmla="*/ 3529 h 103825"/>
                        <a:gd name="connsiteX20" fmla="*/ 57894 w 63156"/>
                        <a:gd name="connsiteY20" fmla="*/ 3768 h 103825"/>
                        <a:gd name="connsiteX21" fmla="*/ 57774 w 63156"/>
                        <a:gd name="connsiteY21" fmla="*/ 4007 h 103825"/>
                        <a:gd name="connsiteX22" fmla="*/ 61123 w 63156"/>
                        <a:gd name="connsiteY22" fmla="*/ 7895 h 103825"/>
                        <a:gd name="connsiteX23" fmla="*/ 61482 w 63156"/>
                        <a:gd name="connsiteY23" fmla="*/ 8074 h 103825"/>
                        <a:gd name="connsiteX24" fmla="*/ 61482 w 63156"/>
                        <a:gd name="connsiteY24" fmla="*/ 8074 h 103825"/>
                        <a:gd name="connsiteX25" fmla="*/ 61482 w 63156"/>
                        <a:gd name="connsiteY25" fmla="*/ 8074 h 103825"/>
                        <a:gd name="connsiteX26" fmla="*/ 61482 w 63156"/>
                        <a:gd name="connsiteY26" fmla="*/ 8074 h 103825"/>
                        <a:gd name="connsiteX27" fmla="*/ 61482 w 63156"/>
                        <a:gd name="connsiteY27" fmla="*/ 8074 h 103825"/>
                        <a:gd name="connsiteX28" fmla="*/ 62977 w 63156"/>
                        <a:gd name="connsiteY28" fmla="*/ 4725 h 103825"/>
                        <a:gd name="connsiteX29" fmla="*/ 63157 w 63156"/>
                        <a:gd name="connsiteY29" fmla="*/ 4366 h 103825"/>
                        <a:gd name="connsiteX30" fmla="*/ 62857 w 63156"/>
                        <a:gd name="connsiteY30" fmla="*/ 4366 h 103825"/>
                        <a:gd name="connsiteX31" fmla="*/ 62558 w 63156"/>
                        <a:gd name="connsiteY31" fmla="*/ 4366 h 103825"/>
                        <a:gd name="connsiteX32" fmla="*/ 62260 w 63156"/>
                        <a:gd name="connsiteY32" fmla="*/ 4426 h 103825"/>
                        <a:gd name="connsiteX33" fmla="*/ 61961 w 63156"/>
                        <a:gd name="connsiteY33" fmla="*/ 4545 h 103825"/>
                        <a:gd name="connsiteX34" fmla="*/ 61841 w 63156"/>
                        <a:gd name="connsiteY34" fmla="*/ 4605 h 103825"/>
                        <a:gd name="connsiteX35" fmla="*/ 61721 w 63156"/>
                        <a:gd name="connsiteY35" fmla="*/ 4665 h 103825"/>
                        <a:gd name="connsiteX36" fmla="*/ 61602 w 63156"/>
                        <a:gd name="connsiteY36" fmla="*/ 4725 h 103825"/>
                        <a:gd name="connsiteX37" fmla="*/ 61482 w 63156"/>
                        <a:gd name="connsiteY37" fmla="*/ 4785 h 103825"/>
                        <a:gd name="connsiteX38" fmla="*/ 61961 w 63156"/>
                        <a:gd name="connsiteY38" fmla="*/ 4904 h 103825"/>
                        <a:gd name="connsiteX39" fmla="*/ 60764 w 63156"/>
                        <a:gd name="connsiteY39" fmla="*/ 7476 h 103825"/>
                        <a:gd name="connsiteX40" fmla="*/ 61123 w 63156"/>
                        <a:gd name="connsiteY40" fmla="*/ 7895 h 103825"/>
                        <a:gd name="connsiteX41" fmla="*/ 51434 w 63156"/>
                        <a:gd name="connsiteY41" fmla="*/ 1555 h 103825"/>
                        <a:gd name="connsiteX42" fmla="*/ 56578 w 63156"/>
                        <a:gd name="connsiteY42" fmla="*/ 2751 h 103825"/>
                        <a:gd name="connsiteX43" fmla="*/ 56399 w 63156"/>
                        <a:gd name="connsiteY43" fmla="*/ 3170 h 103825"/>
                        <a:gd name="connsiteX44" fmla="*/ 56219 w 63156"/>
                        <a:gd name="connsiteY44" fmla="*/ 3648 h 103825"/>
                        <a:gd name="connsiteX45" fmla="*/ 56817 w 63156"/>
                        <a:gd name="connsiteY45" fmla="*/ 3768 h 103825"/>
                        <a:gd name="connsiteX46" fmla="*/ 56937 w 63156"/>
                        <a:gd name="connsiteY46" fmla="*/ 3529 h 103825"/>
                        <a:gd name="connsiteX47" fmla="*/ 56996 w 63156"/>
                        <a:gd name="connsiteY47" fmla="*/ 3289 h 103825"/>
                        <a:gd name="connsiteX48" fmla="*/ 57056 w 63156"/>
                        <a:gd name="connsiteY48" fmla="*/ 3050 h 103825"/>
                        <a:gd name="connsiteX49" fmla="*/ 57116 w 63156"/>
                        <a:gd name="connsiteY49" fmla="*/ 2811 h 103825"/>
                        <a:gd name="connsiteX50" fmla="*/ 51434 w 63156"/>
                        <a:gd name="connsiteY50" fmla="*/ 1555 h 103825"/>
                        <a:gd name="connsiteX51" fmla="*/ 48025 w 63156"/>
                        <a:gd name="connsiteY51" fmla="*/ 1734 h 103825"/>
                        <a:gd name="connsiteX52" fmla="*/ 49341 w 63156"/>
                        <a:gd name="connsiteY52" fmla="*/ 2034 h 103825"/>
                        <a:gd name="connsiteX53" fmla="*/ 49760 w 63156"/>
                        <a:gd name="connsiteY53" fmla="*/ 1136 h 103825"/>
                        <a:gd name="connsiteX54" fmla="*/ 48564 w 63156"/>
                        <a:gd name="connsiteY54" fmla="*/ 837 h 103825"/>
                        <a:gd name="connsiteX55" fmla="*/ 48504 w 63156"/>
                        <a:gd name="connsiteY55" fmla="*/ 957 h 103825"/>
                        <a:gd name="connsiteX56" fmla="*/ 48444 w 63156"/>
                        <a:gd name="connsiteY56" fmla="*/ 1076 h 103825"/>
                        <a:gd name="connsiteX57" fmla="*/ 48384 w 63156"/>
                        <a:gd name="connsiteY57" fmla="*/ 1196 h 103825"/>
                        <a:gd name="connsiteX58" fmla="*/ 48324 w 63156"/>
                        <a:gd name="connsiteY58" fmla="*/ 1316 h 103825"/>
                        <a:gd name="connsiteX59" fmla="*/ 48264 w 63156"/>
                        <a:gd name="connsiteY59" fmla="*/ 1435 h 103825"/>
                        <a:gd name="connsiteX60" fmla="*/ 48205 w 63156"/>
                        <a:gd name="connsiteY60" fmla="*/ 1555 h 103825"/>
                        <a:gd name="connsiteX61" fmla="*/ 48145 w 63156"/>
                        <a:gd name="connsiteY61" fmla="*/ 1675 h 103825"/>
                        <a:gd name="connsiteX62" fmla="*/ 48025 w 63156"/>
                        <a:gd name="connsiteY62" fmla="*/ 1734 h 103825"/>
                        <a:gd name="connsiteX63" fmla="*/ 46291 w 63156"/>
                        <a:gd name="connsiteY63" fmla="*/ 1375 h 103825"/>
                        <a:gd name="connsiteX64" fmla="*/ 47128 w 63156"/>
                        <a:gd name="connsiteY64" fmla="*/ 1555 h 103825"/>
                        <a:gd name="connsiteX65" fmla="*/ 47188 w 63156"/>
                        <a:gd name="connsiteY65" fmla="*/ 1435 h 103825"/>
                        <a:gd name="connsiteX66" fmla="*/ 47248 w 63156"/>
                        <a:gd name="connsiteY66" fmla="*/ 1316 h 103825"/>
                        <a:gd name="connsiteX67" fmla="*/ 47308 w 63156"/>
                        <a:gd name="connsiteY67" fmla="*/ 1196 h 103825"/>
                        <a:gd name="connsiteX68" fmla="*/ 47368 w 63156"/>
                        <a:gd name="connsiteY68" fmla="*/ 1076 h 103825"/>
                        <a:gd name="connsiteX69" fmla="*/ 47427 w 63156"/>
                        <a:gd name="connsiteY69" fmla="*/ 957 h 103825"/>
                        <a:gd name="connsiteX70" fmla="*/ 47487 w 63156"/>
                        <a:gd name="connsiteY70" fmla="*/ 837 h 103825"/>
                        <a:gd name="connsiteX71" fmla="*/ 47547 w 63156"/>
                        <a:gd name="connsiteY71" fmla="*/ 718 h 103825"/>
                        <a:gd name="connsiteX72" fmla="*/ 47607 w 63156"/>
                        <a:gd name="connsiteY72" fmla="*/ 598 h 103825"/>
                        <a:gd name="connsiteX73" fmla="*/ 46829 w 63156"/>
                        <a:gd name="connsiteY73" fmla="*/ 419 h 103825"/>
                        <a:gd name="connsiteX74" fmla="*/ 46829 w 63156"/>
                        <a:gd name="connsiteY74" fmla="*/ 479 h 103825"/>
                        <a:gd name="connsiteX75" fmla="*/ 46829 w 63156"/>
                        <a:gd name="connsiteY75" fmla="*/ 538 h 103825"/>
                        <a:gd name="connsiteX76" fmla="*/ 46829 w 63156"/>
                        <a:gd name="connsiteY76" fmla="*/ 598 h 103825"/>
                        <a:gd name="connsiteX77" fmla="*/ 46769 w 63156"/>
                        <a:gd name="connsiteY77" fmla="*/ 658 h 103825"/>
                        <a:gd name="connsiteX78" fmla="*/ 46650 w 63156"/>
                        <a:gd name="connsiteY78" fmla="*/ 837 h 103825"/>
                        <a:gd name="connsiteX79" fmla="*/ 46530 w 63156"/>
                        <a:gd name="connsiteY79" fmla="*/ 1017 h 103825"/>
                        <a:gd name="connsiteX80" fmla="*/ 46410 w 63156"/>
                        <a:gd name="connsiteY80" fmla="*/ 1196 h 103825"/>
                        <a:gd name="connsiteX81" fmla="*/ 46291 w 63156"/>
                        <a:gd name="connsiteY81" fmla="*/ 1375 h 103825"/>
                        <a:gd name="connsiteX82" fmla="*/ 44078 w 63156"/>
                        <a:gd name="connsiteY82" fmla="*/ 1854 h 103825"/>
                        <a:gd name="connsiteX83" fmla="*/ 44317 w 63156"/>
                        <a:gd name="connsiteY83" fmla="*/ 1854 h 103825"/>
                        <a:gd name="connsiteX84" fmla="*/ 44556 w 63156"/>
                        <a:gd name="connsiteY84" fmla="*/ 1794 h 103825"/>
                        <a:gd name="connsiteX85" fmla="*/ 44796 w 63156"/>
                        <a:gd name="connsiteY85" fmla="*/ 1675 h 103825"/>
                        <a:gd name="connsiteX86" fmla="*/ 45035 w 63156"/>
                        <a:gd name="connsiteY86" fmla="*/ 1555 h 103825"/>
                        <a:gd name="connsiteX87" fmla="*/ 45215 w 63156"/>
                        <a:gd name="connsiteY87" fmla="*/ 1136 h 103825"/>
                        <a:gd name="connsiteX88" fmla="*/ 45514 w 63156"/>
                        <a:gd name="connsiteY88" fmla="*/ 1196 h 103825"/>
                        <a:gd name="connsiteX89" fmla="*/ 45633 w 63156"/>
                        <a:gd name="connsiteY89" fmla="*/ 1017 h 103825"/>
                        <a:gd name="connsiteX90" fmla="*/ 45753 w 63156"/>
                        <a:gd name="connsiteY90" fmla="*/ 837 h 103825"/>
                        <a:gd name="connsiteX91" fmla="*/ 45872 w 63156"/>
                        <a:gd name="connsiteY91" fmla="*/ 658 h 103825"/>
                        <a:gd name="connsiteX92" fmla="*/ 45992 w 63156"/>
                        <a:gd name="connsiteY92" fmla="*/ 479 h 103825"/>
                        <a:gd name="connsiteX93" fmla="*/ 45992 w 63156"/>
                        <a:gd name="connsiteY93" fmla="*/ 419 h 103825"/>
                        <a:gd name="connsiteX94" fmla="*/ 45992 w 63156"/>
                        <a:gd name="connsiteY94" fmla="*/ 359 h 103825"/>
                        <a:gd name="connsiteX95" fmla="*/ 45992 w 63156"/>
                        <a:gd name="connsiteY95" fmla="*/ 299 h 103825"/>
                        <a:gd name="connsiteX96" fmla="*/ 45992 w 63156"/>
                        <a:gd name="connsiteY96" fmla="*/ 239 h 103825"/>
                        <a:gd name="connsiteX97" fmla="*/ 45155 w 63156"/>
                        <a:gd name="connsiteY97" fmla="*/ 60 h 103825"/>
                        <a:gd name="connsiteX98" fmla="*/ 44796 w 63156"/>
                        <a:gd name="connsiteY98" fmla="*/ 0 h 103825"/>
                        <a:gd name="connsiteX99" fmla="*/ 44078 w 63156"/>
                        <a:gd name="connsiteY99" fmla="*/ 1854 h 103825"/>
                        <a:gd name="connsiteX100" fmla="*/ 57355 w 63156"/>
                        <a:gd name="connsiteY100" fmla="*/ 15669 h 103825"/>
                        <a:gd name="connsiteX101" fmla="*/ 57654 w 63156"/>
                        <a:gd name="connsiteY101" fmla="*/ 15490 h 103825"/>
                        <a:gd name="connsiteX102" fmla="*/ 57953 w 63156"/>
                        <a:gd name="connsiteY102" fmla="*/ 15311 h 103825"/>
                        <a:gd name="connsiteX103" fmla="*/ 58253 w 63156"/>
                        <a:gd name="connsiteY103" fmla="*/ 15131 h 103825"/>
                        <a:gd name="connsiteX104" fmla="*/ 58552 w 63156"/>
                        <a:gd name="connsiteY104" fmla="*/ 14952 h 103825"/>
                        <a:gd name="connsiteX105" fmla="*/ 61183 w 63156"/>
                        <a:gd name="connsiteY105" fmla="*/ 9091 h 103825"/>
                        <a:gd name="connsiteX106" fmla="*/ 61123 w 63156"/>
                        <a:gd name="connsiteY106" fmla="*/ 9091 h 103825"/>
                        <a:gd name="connsiteX107" fmla="*/ 61063 w 63156"/>
                        <a:gd name="connsiteY107" fmla="*/ 9091 h 103825"/>
                        <a:gd name="connsiteX108" fmla="*/ 61003 w 63156"/>
                        <a:gd name="connsiteY108" fmla="*/ 9091 h 103825"/>
                        <a:gd name="connsiteX109" fmla="*/ 60944 w 63156"/>
                        <a:gd name="connsiteY109" fmla="*/ 9091 h 103825"/>
                        <a:gd name="connsiteX110" fmla="*/ 60824 w 63156"/>
                        <a:gd name="connsiteY110" fmla="*/ 9031 h 103825"/>
                        <a:gd name="connsiteX111" fmla="*/ 60704 w 63156"/>
                        <a:gd name="connsiteY111" fmla="*/ 8971 h 103825"/>
                        <a:gd name="connsiteX112" fmla="*/ 60585 w 63156"/>
                        <a:gd name="connsiteY112" fmla="*/ 8911 h 103825"/>
                        <a:gd name="connsiteX113" fmla="*/ 60465 w 63156"/>
                        <a:gd name="connsiteY113" fmla="*/ 8851 h 103825"/>
                        <a:gd name="connsiteX114" fmla="*/ 57355 w 63156"/>
                        <a:gd name="connsiteY114" fmla="*/ 15669 h 103825"/>
                        <a:gd name="connsiteX115" fmla="*/ 41865 w 63156"/>
                        <a:gd name="connsiteY115" fmla="*/ 6878 h 103825"/>
                        <a:gd name="connsiteX116" fmla="*/ 41985 w 63156"/>
                        <a:gd name="connsiteY116" fmla="*/ 6758 h 103825"/>
                        <a:gd name="connsiteX117" fmla="*/ 42105 w 63156"/>
                        <a:gd name="connsiteY117" fmla="*/ 6639 h 103825"/>
                        <a:gd name="connsiteX118" fmla="*/ 42284 w 63156"/>
                        <a:gd name="connsiteY118" fmla="*/ 6519 h 103825"/>
                        <a:gd name="connsiteX119" fmla="*/ 42463 w 63156"/>
                        <a:gd name="connsiteY119" fmla="*/ 6399 h 103825"/>
                        <a:gd name="connsiteX120" fmla="*/ 42583 w 63156"/>
                        <a:gd name="connsiteY120" fmla="*/ 6340 h 103825"/>
                        <a:gd name="connsiteX121" fmla="*/ 42702 w 63156"/>
                        <a:gd name="connsiteY121" fmla="*/ 6280 h 103825"/>
                        <a:gd name="connsiteX122" fmla="*/ 42822 w 63156"/>
                        <a:gd name="connsiteY122" fmla="*/ 6220 h 103825"/>
                        <a:gd name="connsiteX123" fmla="*/ 42942 w 63156"/>
                        <a:gd name="connsiteY123" fmla="*/ 6160 h 103825"/>
                        <a:gd name="connsiteX124" fmla="*/ 44556 w 63156"/>
                        <a:gd name="connsiteY124" fmla="*/ 2572 h 103825"/>
                        <a:gd name="connsiteX125" fmla="*/ 44317 w 63156"/>
                        <a:gd name="connsiteY125" fmla="*/ 2632 h 103825"/>
                        <a:gd name="connsiteX126" fmla="*/ 44078 w 63156"/>
                        <a:gd name="connsiteY126" fmla="*/ 2691 h 103825"/>
                        <a:gd name="connsiteX127" fmla="*/ 43839 w 63156"/>
                        <a:gd name="connsiteY127" fmla="*/ 2691 h 103825"/>
                        <a:gd name="connsiteX128" fmla="*/ 43600 w 63156"/>
                        <a:gd name="connsiteY128" fmla="*/ 2691 h 103825"/>
                        <a:gd name="connsiteX129" fmla="*/ 41865 w 63156"/>
                        <a:gd name="connsiteY129" fmla="*/ 6878 h 103825"/>
                        <a:gd name="connsiteX130" fmla="*/ 55501 w 63156"/>
                        <a:gd name="connsiteY130" fmla="*/ 19736 h 103825"/>
                        <a:gd name="connsiteX131" fmla="*/ 55740 w 63156"/>
                        <a:gd name="connsiteY131" fmla="*/ 19617 h 103825"/>
                        <a:gd name="connsiteX132" fmla="*/ 55980 w 63156"/>
                        <a:gd name="connsiteY132" fmla="*/ 19497 h 103825"/>
                        <a:gd name="connsiteX133" fmla="*/ 56219 w 63156"/>
                        <a:gd name="connsiteY133" fmla="*/ 19377 h 103825"/>
                        <a:gd name="connsiteX134" fmla="*/ 56458 w 63156"/>
                        <a:gd name="connsiteY134" fmla="*/ 19258 h 103825"/>
                        <a:gd name="connsiteX135" fmla="*/ 57654 w 63156"/>
                        <a:gd name="connsiteY135" fmla="*/ 16567 h 103825"/>
                        <a:gd name="connsiteX136" fmla="*/ 57355 w 63156"/>
                        <a:gd name="connsiteY136" fmla="*/ 16746 h 103825"/>
                        <a:gd name="connsiteX137" fmla="*/ 57056 w 63156"/>
                        <a:gd name="connsiteY137" fmla="*/ 16926 h 103825"/>
                        <a:gd name="connsiteX138" fmla="*/ 56757 w 63156"/>
                        <a:gd name="connsiteY138" fmla="*/ 17105 h 103825"/>
                        <a:gd name="connsiteX139" fmla="*/ 56458 w 63156"/>
                        <a:gd name="connsiteY139" fmla="*/ 17284 h 103825"/>
                        <a:gd name="connsiteX140" fmla="*/ 55501 w 63156"/>
                        <a:gd name="connsiteY140" fmla="*/ 19736 h 103825"/>
                        <a:gd name="connsiteX141" fmla="*/ 41327 w 63156"/>
                        <a:gd name="connsiteY141" fmla="*/ 9868 h 103825"/>
                        <a:gd name="connsiteX142" fmla="*/ 42463 w 63156"/>
                        <a:gd name="connsiteY142" fmla="*/ 7356 h 103825"/>
                        <a:gd name="connsiteX143" fmla="*/ 42224 w 63156"/>
                        <a:gd name="connsiteY143" fmla="*/ 7536 h 103825"/>
                        <a:gd name="connsiteX144" fmla="*/ 41985 w 63156"/>
                        <a:gd name="connsiteY144" fmla="*/ 7775 h 103825"/>
                        <a:gd name="connsiteX145" fmla="*/ 41746 w 63156"/>
                        <a:gd name="connsiteY145" fmla="*/ 8074 h 103825"/>
                        <a:gd name="connsiteX146" fmla="*/ 41566 w 63156"/>
                        <a:gd name="connsiteY146" fmla="*/ 8373 h 103825"/>
                        <a:gd name="connsiteX147" fmla="*/ 41387 w 63156"/>
                        <a:gd name="connsiteY147" fmla="*/ 8732 h 103825"/>
                        <a:gd name="connsiteX148" fmla="*/ 41267 w 63156"/>
                        <a:gd name="connsiteY148" fmla="*/ 9091 h 103825"/>
                        <a:gd name="connsiteX149" fmla="*/ 41267 w 63156"/>
                        <a:gd name="connsiteY149" fmla="*/ 9450 h 103825"/>
                        <a:gd name="connsiteX150" fmla="*/ 41327 w 63156"/>
                        <a:gd name="connsiteY150" fmla="*/ 9808 h 103825"/>
                        <a:gd name="connsiteX151" fmla="*/ 41327 w 63156"/>
                        <a:gd name="connsiteY151" fmla="*/ 9868 h 103825"/>
                        <a:gd name="connsiteX152" fmla="*/ 40251 w 63156"/>
                        <a:gd name="connsiteY152" fmla="*/ 12260 h 103825"/>
                        <a:gd name="connsiteX153" fmla="*/ 40789 w 63156"/>
                        <a:gd name="connsiteY153" fmla="*/ 11065 h 103825"/>
                        <a:gd name="connsiteX154" fmla="*/ 40669 w 63156"/>
                        <a:gd name="connsiteY154" fmla="*/ 10885 h 103825"/>
                        <a:gd name="connsiteX155" fmla="*/ 40549 w 63156"/>
                        <a:gd name="connsiteY155" fmla="*/ 10705 h 103825"/>
                        <a:gd name="connsiteX156" fmla="*/ 40490 w 63156"/>
                        <a:gd name="connsiteY156" fmla="*/ 10526 h 103825"/>
                        <a:gd name="connsiteX157" fmla="*/ 40430 w 63156"/>
                        <a:gd name="connsiteY157" fmla="*/ 10287 h 103825"/>
                        <a:gd name="connsiteX158" fmla="*/ 40430 w 63156"/>
                        <a:gd name="connsiteY158" fmla="*/ 10227 h 103825"/>
                        <a:gd name="connsiteX159" fmla="*/ 40430 w 63156"/>
                        <a:gd name="connsiteY159" fmla="*/ 10167 h 103825"/>
                        <a:gd name="connsiteX160" fmla="*/ 40430 w 63156"/>
                        <a:gd name="connsiteY160" fmla="*/ 10107 h 103825"/>
                        <a:gd name="connsiteX161" fmla="*/ 40430 w 63156"/>
                        <a:gd name="connsiteY161" fmla="*/ 10048 h 103825"/>
                        <a:gd name="connsiteX162" fmla="*/ 39952 w 63156"/>
                        <a:gd name="connsiteY162" fmla="*/ 11124 h 103825"/>
                        <a:gd name="connsiteX163" fmla="*/ 40011 w 63156"/>
                        <a:gd name="connsiteY163" fmla="*/ 11423 h 103825"/>
                        <a:gd name="connsiteX164" fmla="*/ 40071 w 63156"/>
                        <a:gd name="connsiteY164" fmla="*/ 11662 h 103825"/>
                        <a:gd name="connsiteX165" fmla="*/ 40131 w 63156"/>
                        <a:gd name="connsiteY165" fmla="*/ 11902 h 103825"/>
                        <a:gd name="connsiteX166" fmla="*/ 40251 w 63156"/>
                        <a:gd name="connsiteY166" fmla="*/ 12260 h 103825"/>
                        <a:gd name="connsiteX167" fmla="*/ 38516 w 63156"/>
                        <a:gd name="connsiteY167" fmla="*/ 16208 h 103825"/>
                        <a:gd name="connsiteX168" fmla="*/ 39593 w 63156"/>
                        <a:gd name="connsiteY168" fmla="*/ 13756 h 103825"/>
                        <a:gd name="connsiteX169" fmla="*/ 39473 w 63156"/>
                        <a:gd name="connsiteY169" fmla="*/ 13516 h 103825"/>
                        <a:gd name="connsiteX170" fmla="*/ 39353 w 63156"/>
                        <a:gd name="connsiteY170" fmla="*/ 13277 h 103825"/>
                        <a:gd name="connsiteX171" fmla="*/ 39234 w 63156"/>
                        <a:gd name="connsiteY171" fmla="*/ 13038 h 103825"/>
                        <a:gd name="connsiteX172" fmla="*/ 39114 w 63156"/>
                        <a:gd name="connsiteY172" fmla="*/ 12799 h 103825"/>
                        <a:gd name="connsiteX173" fmla="*/ 37978 w 63156"/>
                        <a:gd name="connsiteY173" fmla="*/ 15370 h 103825"/>
                        <a:gd name="connsiteX174" fmla="*/ 38098 w 63156"/>
                        <a:gd name="connsiteY174" fmla="*/ 15610 h 103825"/>
                        <a:gd name="connsiteX175" fmla="*/ 38217 w 63156"/>
                        <a:gd name="connsiteY175" fmla="*/ 15789 h 103825"/>
                        <a:gd name="connsiteX176" fmla="*/ 38337 w 63156"/>
                        <a:gd name="connsiteY176" fmla="*/ 15968 h 103825"/>
                        <a:gd name="connsiteX177" fmla="*/ 38516 w 63156"/>
                        <a:gd name="connsiteY177" fmla="*/ 16208 h 103825"/>
                        <a:gd name="connsiteX178" fmla="*/ 19976 w 63156"/>
                        <a:gd name="connsiteY178" fmla="*/ 100536 h 103825"/>
                        <a:gd name="connsiteX179" fmla="*/ 56040 w 63156"/>
                        <a:gd name="connsiteY179" fmla="*/ 20335 h 103825"/>
                        <a:gd name="connsiteX180" fmla="*/ 55800 w 63156"/>
                        <a:gd name="connsiteY180" fmla="*/ 20454 h 103825"/>
                        <a:gd name="connsiteX181" fmla="*/ 55561 w 63156"/>
                        <a:gd name="connsiteY181" fmla="*/ 20574 h 103825"/>
                        <a:gd name="connsiteX182" fmla="*/ 55322 w 63156"/>
                        <a:gd name="connsiteY182" fmla="*/ 20693 h 103825"/>
                        <a:gd name="connsiteX183" fmla="*/ 55083 w 63156"/>
                        <a:gd name="connsiteY183" fmla="*/ 20813 h 103825"/>
                        <a:gd name="connsiteX184" fmla="*/ 19557 w 63156"/>
                        <a:gd name="connsiteY184" fmla="*/ 99818 h 103825"/>
                        <a:gd name="connsiteX185" fmla="*/ 19677 w 63156"/>
                        <a:gd name="connsiteY185" fmla="*/ 99998 h 103825"/>
                        <a:gd name="connsiteX186" fmla="*/ 19797 w 63156"/>
                        <a:gd name="connsiteY186" fmla="*/ 100177 h 103825"/>
                        <a:gd name="connsiteX187" fmla="*/ 19916 w 63156"/>
                        <a:gd name="connsiteY187" fmla="*/ 100357 h 103825"/>
                        <a:gd name="connsiteX188" fmla="*/ 19976 w 63156"/>
                        <a:gd name="connsiteY188" fmla="*/ 100536 h 103825"/>
                        <a:gd name="connsiteX189" fmla="*/ 18241 w 63156"/>
                        <a:gd name="connsiteY189" fmla="*/ 103766 h 103825"/>
                        <a:gd name="connsiteX190" fmla="*/ 18481 w 63156"/>
                        <a:gd name="connsiteY190" fmla="*/ 103825 h 103825"/>
                        <a:gd name="connsiteX191" fmla="*/ 19497 w 63156"/>
                        <a:gd name="connsiteY191" fmla="*/ 101612 h 103825"/>
                        <a:gd name="connsiteX192" fmla="*/ 19378 w 63156"/>
                        <a:gd name="connsiteY192" fmla="*/ 101433 h 103825"/>
                        <a:gd name="connsiteX193" fmla="*/ 19258 w 63156"/>
                        <a:gd name="connsiteY193" fmla="*/ 101254 h 103825"/>
                        <a:gd name="connsiteX194" fmla="*/ 19138 w 63156"/>
                        <a:gd name="connsiteY194" fmla="*/ 101074 h 103825"/>
                        <a:gd name="connsiteX195" fmla="*/ 19019 w 63156"/>
                        <a:gd name="connsiteY195" fmla="*/ 100895 h 103825"/>
                        <a:gd name="connsiteX196" fmla="*/ 18122 w 63156"/>
                        <a:gd name="connsiteY196" fmla="*/ 102928 h 103825"/>
                        <a:gd name="connsiteX197" fmla="*/ 17763 w 63156"/>
                        <a:gd name="connsiteY197" fmla="*/ 102868 h 103825"/>
                        <a:gd name="connsiteX198" fmla="*/ 17883 w 63156"/>
                        <a:gd name="connsiteY198" fmla="*/ 103108 h 103825"/>
                        <a:gd name="connsiteX199" fmla="*/ 18002 w 63156"/>
                        <a:gd name="connsiteY199" fmla="*/ 103347 h 103825"/>
                        <a:gd name="connsiteX200" fmla="*/ 18122 w 63156"/>
                        <a:gd name="connsiteY200" fmla="*/ 103586 h 103825"/>
                        <a:gd name="connsiteX201" fmla="*/ 18241 w 63156"/>
                        <a:gd name="connsiteY201" fmla="*/ 103766 h 103825"/>
                        <a:gd name="connsiteX202" fmla="*/ 15072 w 63156"/>
                        <a:gd name="connsiteY202" fmla="*/ 103167 h 103825"/>
                        <a:gd name="connsiteX203" fmla="*/ 16806 w 63156"/>
                        <a:gd name="connsiteY203" fmla="*/ 103466 h 103825"/>
                        <a:gd name="connsiteX204" fmla="*/ 16627 w 63156"/>
                        <a:gd name="connsiteY204" fmla="*/ 103227 h 103825"/>
                        <a:gd name="connsiteX205" fmla="*/ 16447 w 63156"/>
                        <a:gd name="connsiteY205" fmla="*/ 102988 h 103825"/>
                        <a:gd name="connsiteX206" fmla="*/ 16268 w 63156"/>
                        <a:gd name="connsiteY206" fmla="*/ 102749 h 103825"/>
                        <a:gd name="connsiteX207" fmla="*/ 16088 w 63156"/>
                        <a:gd name="connsiteY207" fmla="*/ 102510 h 103825"/>
                        <a:gd name="connsiteX208" fmla="*/ 14773 w 63156"/>
                        <a:gd name="connsiteY208" fmla="*/ 102271 h 103825"/>
                        <a:gd name="connsiteX209" fmla="*/ 14892 w 63156"/>
                        <a:gd name="connsiteY209" fmla="*/ 102510 h 103825"/>
                        <a:gd name="connsiteX210" fmla="*/ 14952 w 63156"/>
                        <a:gd name="connsiteY210" fmla="*/ 102749 h 103825"/>
                        <a:gd name="connsiteX211" fmla="*/ 15012 w 63156"/>
                        <a:gd name="connsiteY211" fmla="*/ 102988 h 103825"/>
                        <a:gd name="connsiteX212" fmla="*/ 15072 w 63156"/>
                        <a:gd name="connsiteY212" fmla="*/ 103167 h 103825"/>
                        <a:gd name="connsiteX213" fmla="*/ 11961 w 63156"/>
                        <a:gd name="connsiteY213" fmla="*/ 102629 h 103825"/>
                        <a:gd name="connsiteX214" fmla="*/ 14115 w 63156"/>
                        <a:gd name="connsiteY214" fmla="*/ 102988 h 103825"/>
                        <a:gd name="connsiteX215" fmla="*/ 14055 w 63156"/>
                        <a:gd name="connsiteY215" fmla="*/ 102868 h 103825"/>
                        <a:gd name="connsiteX216" fmla="*/ 13995 w 63156"/>
                        <a:gd name="connsiteY216" fmla="*/ 102749 h 103825"/>
                        <a:gd name="connsiteX217" fmla="*/ 13935 w 63156"/>
                        <a:gd name="connsiteY217" fmla="*/ 102629 h 103825"/>
                        <a:gd name="connsiteX218" fmla="*/ 13816 w 63156"/>
                        <a:gd name="connsiteY218" fmla="*/ 102510 h 103825"/>
                        <a:gd name="connsiteX219" fmla="*/ 13576 w 63156"/>
                        <a:gd name="connsiteY219" fmla="*/ 102390 h 103825"/>
                        <a:gd name="connsiteX220" fmla="*/ 13277 w 63156"/>
                        <a:gd name="connsiteY220" fmla="*/ 102330 h 103825"/>
                        <a:gd name="connsiteX221" fmla="*/ 12978 w 63156"/>
                        <a:gd name="connsiteY221" fmla="*/ 102330 h 103825"/>
                        <a:gd name="connsiteX222" fmla="*/ 12679 w 63156"/>
                        <a:gd name="connsiteY222" fmla="*/ 102390 h 103825"/>
                        <a:gd name="connsiteX223" fmla="*/ 12500 w 63156"/>
                        <a:gd name="connsiteY223" fmla="*/ 102450 h 103825"/>
                        <a:gd name="connsiteX224" fmla="*/ 12321 w 63156"/>
                        <a:gd name="connsiteY224" fmla="*/ 102510 h 103825"/>
                        <a:gd name="connsiteX225" fmla="*/ 12141 w 63156"/>
                        <a:gd name="connsiteY225" fmla="*/ 102570 h 103825"/>
                        <a:gd name="connsiteX226" fmla="*/ 11961 w 63156"/>
                        <a:gd name="connsiteY226" fmla="*/ 102629 h 103825"/>
                        <a:gd name="connsiteX227" fmla="*/ 1436 w 63156"/>
                        <a:gd name="connsiteY227" fmla="*/ 97247 h 103825"/>
                        <a:gd name="connsiteX228" fmla="*/ 1675 w 63156"/>
                        <a:gd name="connsiteY228" fmla="*/ 97127 h 103825"/>
                        <a:gd name="connsiteX229" fmla="*/ 1914 w 63156"/>
                        <a:gd name="connsiteY229" fmla="*/ 97007 h 103825"/>
                        <a:gd name="connsiteX230" fmla="*/ 2153 w 63156"/>
                        <a:gd name="connsiteY230" fmla="*/ 96888 h 103825"/>
                        <a:gd name="connsiteX231" fmla="*/ 2392 w 63156"/>
                        <a:gd name="connsiteY231" fmla="*/ 96768 h 103825"/>
                        <a:gd name="connsiteX232" fmla="*/ 37918 w 63156"/>
                        <a:gd name="connsiteY232" fmla="*/ 17225 h 103825"/>
                        <a:gd name="connsiteX233" fmla="*/ 37798 w 63156"/>
                        <a:gd name="connsiteY233" fmla="*/ 17045 h 103825"/>
                        <a:gd name="connsiteX234" fmla="*/ 37679 w 63156"/>
                        <a:gd name="connsiteY234" fmla="*/ 16866 h 103825"/>
                        <a:gd name="connsiteX235" fmla="*/ 37559 w 63156"/>
                        <a:gd name="connsiteY235" fmla="*/ 16686 h 103825"/>
                        <a:gd name="connsiteX236" fmla="*/ 37439 w 63156"/>
                        <a:gd name="connsiteY236" fmla="*/ 16507 h 103825"/>
                        <a:gd name="connsiteX237" fmla="*/ 1436 w 63156"/>
                        <a:gd name="connsiteY237" fmla="*/ 97247 h 103825"/>
                        <a:gd name="connsiteX238" fmla="*/ 4665 w 63156"/>
                        <a:gd name="connsiteY238" fmla="*/ 101313 h 103825"/>
                        <a:gd name="connsiteX239" fmla="*/ 4904 w 63156"/>
                        <a:gd name="connsiteY239" fmla="*/ 101373 h 103825"/>
                        <a:gd name="connsiteX240" fmla="*/ 5024 w 63156"/>
                        <a:gd name="connsiteY240" fmla="*/ 101134 h 103825"/>
                        <a:gd name="connsiteX241" fmla="*/ 4964 w 63156"/>
                        <a:gd name="connsiteY241" fmla="*/ 101194 h 103825"/>
                        <a:gd name="connsiteX242" fmla="*/ 4904 w 63156"/>
                        <a:gd name="connsiteY242" fmla="*/ 101254 h 103825"/>
                        <a:gd name="connsiteX243" fmla="*/ 4845 w 63156"/>
                        <a:gd name="connsiteY243" fmla="*/ 101313 h 103825"/>
                        <a:gd name="connsiteX244" fmla="*/ 4665 w 63156"/>
                        <a:gd name="connsiteY244" fmla="*/ 101313 h 103825"/>
                        <a:gd name="connsiteX245" fmla="*/ 1854 w 63156"/>
                        <a:gd name="connsiteY245" fmla="*/ 100835 h 103825"/>
                        <a:gd name="connsiteX246" fmla="*/ 3768 w 63156"/>
                        <a:gd name="connsiteY246" fmla="*/ 101194 h 103825"/>
                        <a:gd name="connsiteX247" fmla="*/ 4007 w 63156"/>
                        <a:gd name="connsiteY247" fmla="*/ 100955 h 103825"/>
                        <a:gd name="connsiteX248" fmla="*/ 4246 w 63156"/>
                        <a:gd name="connsiteY248" fmla="*/ 100775 h 103825"/>
                        <a:gd name="connsiteX249" fmla="*/ 4486 w 63156"/>
                        <a:gd name="connsiteY249" fmla="*/ 100596 h 103825"/>
                        <a:gd name="connsiteX250" fmla="*/ 4725 w 63156"/>
                        <a:gd name="connsiteY250" fmla="*/ 100416 h 103825"/>
                        <a:gd name="connsiteX251" fmla="*/ 3290 w 63156"/>
                        <a:gd name="connsiteY251" fmla="*/ 100177 h 103825"/>
                        <a:gd name="connsiteX252" fmla="*/ 2931 w 63156"/>
                        <a:gd name="connsiteY252" fmla="*/ 100357 h 103825"/>
                        <a:gd name="connsiteX253" fmla="*/ 2572 w 63156"/>
                        <a:gd name="connsiteY253" fmla="*/ 100536 h 103825"/>
                        <a:gd name="connsiteX254" fmla="*/ 2213 w 63156"/>
                        <a:gd name="connsiteY254" fmla="*/ 100716 h 103825"/>
                        <a:gd name="connsiteX255" fmla="*/ 1854 w 63156"/>
                        <a:gd name="connsiteY255" fmla="*/ 100835 h 103825"/>
                        <a:gd name="connsiteX256" fmla="*/ 0 w 63156"/>
                        <a:gd name="connsiteY256" fmla="*/ 100476 h 103825"/>
                        <a:gd name="connsiteX257" fmla="*/ 419 w 63156"/>
                        <a:gd name="connsiteY257" fmla="*/ 100536 h 103825"/>
                        <a:gd name="connsiteX258" fmla="*/ 718 w 63156"/>
                        <a:gd name="connsiteY258" fmla="*/ 100357 h 103825"/>
                        <a:gd name="connsiteX259" fmla="*/ 1017 w 63156"/>
                        <a:gd name="connsiteY259" fmla="*/ 100177 h 103825"/>
                        <a:gd name="connsiteX260" fmla="*/ 1316 w 63156"/>
                        <a:gd name="connsiteY260" fmla="*/ 99998 h 103825"/>
                        <a:gd name="connsiteX261" fmla="*/ 1615 w 63156"/>
                        <a:gd name="connsiteY261" fmla="*/ 99818 h 103825"/>
                        <a:gd name="connsiteX262" fmla="*/ 1077 w 63156"/>
                        <a:gd name="connsiteY262" fmla="*/ 99699 h 103825"/>
                        <a:gd name="connsiteX263" fmla="*/ 1914 w 63156"/>
                        <a:gd name="connsiteY263" fmla="*/ 97785 h 103825"/>
                        <a:gd name="connsiteX264" fmla="*/ 1675 w 63156"/>
                        <a:gd name="connsiteY264" fmla="*/ 97904 h 103825"/>
                        <a:gd name="connsiteX265" fmla="*/ 1436 w 63156"/>
                        <a:gd name="connsiteY265" fmla="*/ 98024 h 103825"/>
                        <a:gd name="connsiteX266" fmla="*/ 1196 w 63156"/>
                        <a:gd name="connsiteY266" fmla="*/ 98144 h 103825"/>
                        <a:gd name="connsiteX267" fmla="*/ 957 w 63156"/>
                        <a:gd name="connsiteY267" fmla="*/ 98263 h 103825"/>
                        <a:gd name="connsiteX268" fmla="*/ 239 w 63156"/>
                        <a:gd name="connsiteY268" fmla="*/ 99938 h 103825"/>
                        <a:gd name="connsiteX269" fmla="*/ 0 w 63156"/>
                        <a:gd name="connsiteY269" fmla="*/ 100476 h 10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63156" h="103825">
                          <a:moveTo>
                            <a:pt x="59987" y="4545"/>
                          </a:moveTo>
                          <a:lnTo>
                            <a:pt x="60824" y="4725"/>
                          </a:lnTo>
                          <a:cubicBezTo>
                            <a:pt x="60884" y="4665"/>
                            <a:pt x="60944" y="4545"/>
                            <a:pt x="61003" y="4486"/>
                          </a:cubicBezTo>
                          <a:cubicBezTo>
                            <a:pt x="61063" y="4426"/>
                            <a:pt x="61123" y="4366"/>
                            <a:pt x="61243" y="4306"/>
                          </a:cubicBezTo>
                          <a:cubicBezTo>
                            <a:pt x="61302" y="4246"/>
                            <a:pt x="61422" y="4187"/>
                            <a:pt x="61482" y="4127"/>
                          </a:cubicBezTo>
                          <a:cubicBezTo>
                            <a:pt x="61542" y="4067"/>
                            <a:pt x="61662" y="4007"/>
                            <a:pt x="61721" y="3947"/>
                          </a:cubicBezTo>
                          <a:lnTo>
                            <a:pt x="60346" y="3648"/>
                          </a:lnTo>
                          <a:cubicBezTo>
                            <a:pt x="60346" y="3708"/>
                            <a:pt x="60286" y="3828"/>
                            <a:pt x="60286" y="3888"/>
                          </a:cubicBezTo>
                          <a:cubicBezTo>
                            <a:pt x="60286" y="3947"/>
                            <a:pt x="60226" y="4067"/>
                            <a:pt x="60226" y="4127"/>
                          </a:cubicBezTo>
                          <a:cubicBezTo>
                            <a:pt x="60226" y="4187"/>
                            <a:pt x="60166" y="4306"/>
                            <a:pt x="60107" y="4366"/>
                          </a:cubicBezTo>
                          <a:cubicBezTo>
                            <a:pt x="60047" y="4366"/>
                            <a:pt x="60047" y="4486"/>
                            <a:pt x="59987" y="4545"/>
                          </a:cubicBezTo>
                          <a:moveTo>
                            <a:pt x="57774" y="4007"/>
                          </a:moveTo>
                          <a:lnTo>
                            <a:pt x="59090" y="4306"/>
                          </a:lnTo>
                          <a:cubicBezTo>
                            <a:pt x="59149" y="4246"/>
                            <a:pt x="59149" y="4127"/>
                            <a:pt x="59209" y="4067"/>
                          </a:cubicBezTo>
                          <a:cubicBezTo>
                            <a:pt x="59269" y="4007"/>
                            <a:pt x="59269" y="3888"/>
                            <a:pt x="59269" y="3828"/>
                          </a:cubicBezTo>
                          <a:cubicBezTo>
                            <a:pt x="59269" y="3768"/>
                            <a:pt x="59329" y="3648"/>
                            <a:pt x="59329" y="3589"/>
                          </a:cubicBezTo>
                          <a:cubicBezTo>
                            <a:pt x="59329" y="3529"/>
                            <a:pt x="59389" y="3409"/>
                            <a:pt x="59389" y="3349"/>
                          </a:cubicBezTo>
                          <a:lnTo>
                            <a:pt x="58073" y="3050"/>
                          </a:lnTo>
                          <a:cubicBezTo>
                            <a:pt x="58073" y="3110"/>
                            <a:pt x="58013" y="3229"/>
                            <a:pt x="58013" y="3289"/>
                          </a:cubicBezTo>
                          <a:cubicBezTo>
                            <a:pt x="58013" y="3349"/>
                            <a:pt x="57953" y="3469"/>
                            <a:pt x="57953" y="3529"/>
                          </a:cubicBezTo>
                          <a:cubicBezTo>
                            <a:pt x="57953" y="3589"/>
                            <a:pt x="57894" y="3708"/>
                            <a:pt x="57894" y="3768"/>
                          </a:cubicBezTo>
                          <a:cubicBezTo>
                            <a:pt x="57834" y="3888"/>
                            <a:pt x="57774" y="3947"/>
                            <a:pt x="57774" y="4007"/>
                          </a:cubicBezTo>
                          <a:moveTo>
                            <a:pt x="61123" y="7895"/>
                          </a:moveTo>
                          <a:lnTo>
                            <a:pt x="61482" y="8074"/>
                          </a:lnTo>
                          <a:cubicBezTo>
                            <a:pt x="61482" y="8074"/>
                            <a:pt x="61482" y="8074"/>
                            <a:pt x="61482" y="8074"/>
                          </a:cubicBezTo>
                          <a:cubicBezTo>
                            <a:pt x="61482" y="8074"/>
                            <a:pt x="61482" y="8074"/>
                            <a:pt x="61482" y="8074"/>
                          </a:cubicBezTo>
                          <a:cubicBezTo>
                            <a:pt x="61482" y="8074"/>
                            <a:pt x="61482" y="8074"/>
                            <a:pt x="61482" y="8074"/>
                          </a:cubicBezTo>
                          <a:cubicBezTo>
                            <a:pt x="61482" y="8074"/>
                            <a:pt x="61482" y="8074"/>
                            <a:pt x="61482" y="8074"/>
                          </a:cubicBezTo>
                          <a:lnTo>
                            <a:pt x="62977" y="4725"/>
                          </a:lnTo>
                          <a:lnTo>
                            <a:pt x="63157" y="4366"/>
                          </a:lnTo>
                          <a:cubicBezTo>
                            <a:pt x="63037" y="4366"/>
                            <a:pt x="62977" y="4366"/>
                            <a:pt x="62857" y="4366"/>
                          </a:cubicBezTo>
                          <a:cubicBezTo>
                            <a:pt x="62738" y="4366"/>
                            <a:pt x="62678" y="4366"/>
                            <a:pt x="62558" y="4366"/>
                          </a:cubicBezTo>
                          <a:cubicBezTo>
                            <a:pt x="62439" y="4366"/>
                            <a:pt x="62379" y="4426"/>
                            <a:pt x="62260" y="4426"/>
                          </a:cubicBezTo>
                          <a:cubicBezTo>
                            <a:pt x="62140" y="4426"/>
                            <a:pt x="62080" y="4486"/>
                            <a:pt x="61961" y="4545"/>
                          </a:cubicBezTo>
                          <a:cubicBezTo>
                            <a:pt x="61901" y="4545"/>
                            <a:pt x="61901" y="4605"/>
                            <a:pt x="61841" y="4605"/>
                          </a:cubicBezTo>
                          <a:cubicBezTo>
                            <a:pt x="61781" y="4605"/>
                            <a:pt x="61781" y="4665"/>
                            <a:pt x="61721" y="4665"/>
                          </a:cubicBezTo>
                          <a:cubicBezTo>
                            <a:pt x="61662" y="4665"/>
                            <a:pt x="61662" y="4725"/>
                            <a:pt x="61602" y="4725"/>
                          </a:cubicBezTo>
                          <a:cubicBezTo>
                            <a:pt x="61542" y="4725"/>
                            <a:pt x="61542" y="4785"/>
                            <a:pt x="61482" y="4785"/>
                          </a:cubicBezTo>
                          <a:lnTo>
                            <a:pt x="61961" y="4904"/>
                          </a:lnTo>
                          <a:lnTo>
                            <a:pt x="60764" y="7476"/>
                          </a:lnTo>
                          <a:lnTo>
                            <a:pt x="61123" y="7895"/>
                          </a:lnTo>
                          <a:moveTo>
                            <a:pt x="51434" y="1555"/>
                          </a:moveTo>
                          <a:lnTo>
                            <a:pt x="56578" y="2751"/>
                          </a:lnTo>
                          <a:lnTo>
                            <a:pt x="56399" y="3170"/>
                          </a:lnTo>
                          <a:lnTo>
                            <a:pt x="56219" y="3648"/>
                          </a:lnTo>
                          <a:lnTo>
                            <a:pt x="56817" y="3768"/>
                          </a:lnTo>
                          <a:cubicBezTo>
                            <a:pt x="56877" y="3708"/>
                            <a:pt x="56877" y="3589"/>
                            <a:pt x="56937" y="3529"/>
                          </a:cubicBezTo>
                          <a:cubicBezTo>
                            <a:pt x="56937" y="3469"/>
                            <a:pt x="56996" y="3349"/>
                            <a:pt x="56996" y="3289"/>
                          </a:cubicBezTo>
                          <a:cubicBezTo>
                            <a:pt x="56996" y="3229"/>
                            <a:pt x="57056" y="3110"/>
                            <a:pt x="57056" y="3050"/>
                          </a:cubicBezTo>
                          <a:cubicBezTo>
                            <a:pt x="57056" y="2990"/>
                            <a:pt x="57116" y="2871"/>
                            <a:pt x="57116" y="2811"/>
                          </a:cubicBezTo>
                          <a:lnTo>
                            <a:pt x="51434" y="1555"/>
                          </a:lnTo>
                          <a:moveTo>
                            <a:pt x="48025" y="1734"/>
                          </a:moveTo>
                          <a:lnTo>
                            <a:pt x="49341" y="2034"/>
                          </a:lnTo>
                          <a:lnTo>
                            <a:pt x="49760" y="1136"/>
                          </a:lnTo>
                          <a:lnTo>
                            <a:pt x="48564" y="837"/>
                          </a:lnTo>
                          <a:cubicBezTo>
                            <a:pt x="48564" y="897"/>
                            <a:pt x="48504" y="897"/>
                            <a:pt x="48504" y="957"/>
                          </a:cubicBezTo>
                          <a:cubicBezTo>
                            <a:pt x="48504" y="1017"/>
                            <a:pt x="48444" y="1017"/>
                            <a:pt x="48444" y="1076"/>
                          </a:cubicBezTo>
                          <a:cubicBezTo>
                            <a:pt x="48444" y="1136"/>
                            <a:pt x="48384" y="1136"/>
                            <a:pt x="48384" y="1196"/>
                          </a:cubicBezTo>
                          <a:cubicBezTo>
                            <a:pt x="48384" y="1256"/>
                            <a:pt x="48324" y="1256"/>
                            <a:pt x="48324" y="1316"/>
                          </a:cubicBezTo>
                          <a:cubicBezTo>
                            <a:pt x="48324" y="1375"/>
                            <a:pt x="48264" y="1375"/>
                            <a:pt x="48264" y="1435"/>
                          </a:cubicBezTo>
                          <a:cubicBezTo>
                            <a:pt x="48264" y="1495"/>
                            <a:pt x="48205" y="1495"/>
                            <a:pt x="48205" y="1555"/>
                          </a:cubicBezTo>
                          <a:cubicBezTo>
                            <a:pt x="48205" y="1615"/>
                            <a:pt x="48145" y="1615"/>
                            <a:pt x="48145" y="1675"/>
                          </a:cubicBezTo>
                          <a:cubicBezTo>
                            <a:pt x="48085" y="1675"/>
                            <a:pt x="48085" y="1734"/>
                            <a:pt x="48025" y="1734"/>
                          </a:cubicBezTo>
                          <a:moveTo>
                            <a:pt x="46291" y="1375"/>
                          </a:moveTo>
                          <a:lnTo>
                            <a:pt x="47128" y="1555"/>
                          </a:lnTo>
                          <a:cubicBezTo>
                            <a:pt x="47128" y="1495"/>
                            <a:pt x="47188" y="1495"/>
                            <a:pt x="47188" y="1435"/>
                          </a:cubicBezTo>
                          <a:cubicBezTo>
                            <a:pt x="47188" y="1375"/>
                            <a:pt x="47248" y="1375"/>
                            <a:pt x="47248" y="1316"/>
                          </a:cubicBezTo>
                          <a:cubicBezTo>
                            <a:pt x="47248" y="1256"/>
                            <a:pt x="47308" y="1256"/>
                            <a:pt x="47308" y="1196"/>
                          </a:cubicBezTo>
                          <a:cubicBezTo>
                            <a:pt x="47308" y="1136"/>
                            <a:pt x="47368" y="1136"/>
                            <a:pt x="47368" y="1076"/>
                          </a:cubicBezTo>
                          <a:cubicBezTo>
                            <a:pt x="47368" y="1017"/>
                            <a:pt x="47427" y="1017"/>
                            <a:pt x="47427" y="957"/>
                          </a:cubicBezTo>
                          <a:cubicBezTo>
                            <a:pt x="47427" y="897"/>
                            <a:pt x="47487" y="897"/>
                            <a:pt x="47487" y="837"/>
                          </a:cubicBezTo>
                          <a:cubicBezTo>
                            <a:pt x="47487" y="778"/>
                            <a:pt x="47547" y="778"/>
                            <a:pt x="47547" y="718"/>
                          </a:cubicBezTo>
                          <a:cubicBezTo>
                            <a:pt x="47547" y="658"/>
                            <a:pt x="47607" y="658"/>
                            <a:pt x="47607" y="598"/>
                          </a:cubicBezTo>
                          <a:lnTo>
                            <a:pt x="46829" y="419"/>
                          </a:lnTo>
                          <a:cubicBezTo>
                            <a:pt x="46829" y="419"/>
                            <a:pt x="46829" y="479"/>
                            <a:pt x="46829" y="479"/>
                          </a:cubicBezTo>
                          <a:cubicBezTo>
                            <a:pt x="46829" y="479"/>
                            <a:pt x="46829" y="538"/>
                            <a:pt x="46829" y="538"/>
                          </a:cubicBezTo>
                          <a:cubicBezTo>
                            <a:pt x="46829" y="538"/>
                            <a:pt x="46829" y="598"/>
                            <a:pt x="46829" y="598"/>
                          </a:cubicBezTo>
                          <a:cubicBezTo>
                            <a:pt x="46829" y="598"/>
                            <a:pt x="46829" y="658"/>
                            <a:pt x="46769" y="658"/>
                          </a:cubicBezTo>
                          <a:cubicBezTo>
                            <a:pt x="46710" y="718"/>
                            <a:pt x="46710" y="778"/>
                            <a:pt x="46650" y="837"/>
                          </a:cubicBezTo>
                          <a:cubicBezTo>
                            <a:pt x="46590" y="897"/>
                            <a:pt x="46590" y="957"/>
                            <a:pt x="46530" y="1017"/>
                          </a:cubicBezTo>
                          <a:cubicBezTo>
                            <a:pt x="46470" y="1076"/>
                            <a:pt x="46470" y="1136"/>
                            <a:pt x="46410" y="1196"/>
                          </a:cubicBezTo>
                          <a:cubicBezTo>
                            <a:pt x="46351" y="1256"/>
                            <a:pt x="46351" y="1316"/>
                            <a:pt x="46291" y="1375"/>
                          </a:cubicBezTo>
                          <a:moveTo>
                            <a:pt x="44078" y="1854"/>
                          </a:moveTo>
                          <a:cubicBezTo>
                            <a:pt x="44138" y="1854"/>
                            <a:pt x="44257" y="1854"/>
                            <a:pt x="44317" y="1854"/>
                          </a:cubicBezTo>
                          <a:cubicBezTo>
                            <a:pt x="44377" y="1854"/>
                            <a:pt x="44497" y="1794"/>
                            <a:pt x="44556" y="1794"/>
                          </a:cubicBezTo>
                          <a:cubicBezTo>
                            <a:pt x="44616" y="1794"/>
                            <a:pt x="44736" y="1734"/>
                            <a:pt x="44796" y="1675"/>
                          </a:cubicBezTo>
                          <a:cubicBezTo>
                            <a:pt x="44855" y="1615"/>
                            <a:pt x="44975" y="1615"/>
                            <a:pt x="45035" y="1555"/>
                          </a:cubicBezTo>
                          <a:lnTo>
                            <a:pt x="45215" y="1136"/>
                          </a:lnTo>
                          <a:lnTo>
                            <a:pt x="45514" y="1196"/>
                          </a:lnTo>
                          <a:cubicBezTo>
                            <a:pt x="45573" y="1136"/>
                            <a:pt x="45633" y="1076"/>
                            <a:pt x="45633" y="1017"/>
                          </a:cubicBezTo>
                          <a:cubicBezTo>
                            <a:pt x="45693" y="957"/>
                            <a:pt x="45753" y="897"/>
                            <a:pt x="45753" y="837"/>
                          </a:cubicBezTo>
                          <a:cubicBezTo>
                            <a:pt x="45813" y="778"/>
                            <a:pt x="45813" y="718"/>
                            <a:pt x="45872" y="658"/>
                          </a:cubicBezTo>
                          <a:cubicBezTo>
                            <a:pt x="45932" y="598"/>
                            <a:pt x="45932" y="538"/>
                            <a:pt x="45992" y="479"/>
                          </a:cubicBezTo>
                          <a:cubicBezTo>
                            <a:pt x="45992" y="479"/>
                            <a:pt x="45992" y="479"/>
                            <a:pt x="45992" y="419"/>
                          </a:cubicBezTo>
                          <a:cubicBezTo>
                            <a:pt x="45992" y="419"/>
                            <a:pt x="45992" y="419"/>
                            <a:pt x="45992" y="359"/>
                          </a:cubicBezTo>
                          <a:cubicBezTo>
                            <a:pt x="45992" y="299"/>
                            <a:pt x="45992" y="359"/>
                            <a:pt x="45992" y="299"/>
                          </a:cubicBezTo>
                          <a:cubicBezTo>
                            <a:pt x="45992" y="239"/>
                            <a:pt x="45992" y="299"/>
                            <a:pt x="45992" y="239"/>
                          </a:cubicBezTo>
                          <a:lnTo>
                            <a:pt x="45155" y="60"/>
                          </a:lnTo>
                          <a:lnTo>
                            <a:pt x="44796" y="0"/>
                          </a:lnTo>
                          <a:lnTo>
                            <a:pt x="44078" y="1854"/>
                          </a:lnTo>
                          <a:moveTo>
                            <a:pt x="57355" y="15669"/>
                          </a:moveTo>
                          <a:cubicBezTo>
                            <a:pt x="57475" y="15610"/>
                            <a:pt x="57535" y="15550"/>
                            <a:pt x="57654" y="15490"/>
                          </a:cubicBezTo>
                          <a:cubicBezTo>
                            <a:pt x="57774" y="15430"/>
                            <a:pt x="57834" y="15370"/>
                            <a:pt x="57953" y="15311"/>
                          </a:cubicBezTo>
                          <a:cubicBezTo>
                            <a:pt x="58073" y="15251"/>
                            <a:pt x="58133" y="15191"/>
                            <a:pt x="58253" y="15131"/>
                          </a:cubicBezTo>
                          <a:cubicBezTo>
                            <a:pt x="58372" y="15072"/>
                            <a:pt x="58432" y="15012"/>
                            <a:pt x="58552" y="14952"/>
                          </a:cubicBezTo>
                          <a:lnTo>
                            <a:pt x="61183" y="9091"/>
                          </a:lnTo>
                          <a:cubicBezTo>
                            <a:pt x="61183" y="9091"/>
                            <a:pt x="61183" y="9091"/>
                            <a:pt x="61123" y="9091"/>
                          </a:cubicBezTo>
                          <a:cubicBezTo>
                            <a:pt x="61123" y="9091"/>
                            <a:pt x="61123" y="9091"/>
                            <a:pt x="61063" y="9091"/>
                          </a:cubicBezTo>
                          <a:cubicBezTo>
                            <a:pt x="61063" y="9091"/>
                            <a:pt x="61063" y="9091"/>
                            <a:pt x="61003" y="9091"/>
                          </a:cubicBezTo>
                          <a:cubicBezTo>
                            <a:pt x="61003" y="9091"/>
                            <a:pt x="61003" y="9091"/>
                            <a:pt x="60944" y="9091"/>
                          </a:cubicBezTo>
                          <a:cubicBezTo>
                            <a:pt x="60884" y="9091"/>
                            <a:pt x="60824" y="9031"/>
                            <a:pt x="60824" y="9031"/>
                          </a:cubicBezTo>
                          <a:cubicBezTo>
                            <a:pt x="60824" y="9031"/>
                            <a:pt x="60704" y="8971"/>
                            <a:pt x="60704" y="8971"/>
                          </a:cubicBezTo>
                          <a:cubicBezTo>
                            <a:pt x="60645" y="8971"/>
                            <a:pt x="60645" y="8911"/>
                            <a:pt x="60585" y="8911"/>
                          </a:cubicBezTo>
                          <a:cubicBezTo>
                            <a:pt x="60525" y="8911"/>
                            <a:pt x="60525" y="8851"/>
                            <a:pt x="60465" y="8851"/>
                          </a:cubicBezTo>
                          <a:lnTo>
                            <a:pt x="57355" y="15669"/>
                          </a:lnTo>
                          <a:moveTo>
                            <a:pt x="41865" y="6878"/>
                          </a:moveTo>
                          <a:cubicBezTo>
                            <a:pt x="41925" y="6818"/>
                            <a:pt x="41985" y="6818"/>
                            <a:pt x="41985" y="6758"/>
                          </a:cubicBezTo>
                          <a:cubicBezTo>
                            <a:pt x="42045" y="6698"/>
                            <a:pt x="42105" y="6698"/>
                            <a:pt x="42105" y="6639"/>
                          </a:cubicBezTo>
                          <a:cubicBezTo>
                            <a:pt x="42164" y="6579"/>
                            <a:pt x="42224" y="6579"/>
                            <a:pt x="42284" y="6519"/>
                          </a:cubicBezTo>
                          <a:cubicBezTo>
                            <a:pt x="42344" y="6459"/>
                            <a:pt x="42403" y="6459"/>
                            <a:pt x="42463" y="6399"/>
                          </a:cubicBezTo>
                          <a:cubicBezTo>
                            <a:pt x="42523" y="6399"/>
                            <a:pt x="42523" y="6340"/>
                            <a:pt x="42583" y="6340"/>
                          </a:cubicBezTo>
                          <a:cubicBezTo>
                            <a:pt x="42643" y="6340"/>
                            <a:pt x="42643" y="6280"/>
                            <a:pt x="42702" y="6280"/>
                          </a:cubicBezTo>
                          <a:cubicBezTo>
                            <a:pt x="42762" y="6280"/>
                            <a:pt x="42762" y="6220"/>
                            <a:pt x="42822" y="6220"/>
                          </a:cubicBezTo>
                          <a:cubicBezTo>
                            <a:pt x="42882" y="6220"/>
                            <a:pt x="42882" y="6160"/>
                            <a:pt x="42942" y="6160"/>
                          </a:cubicBezTo>
                          <a:lnTo>
                            <a:pt x="44556" y="2572"/>
                          </a:lnTo>
                          <a:cubicBezTo>
                            <a:pt x="44497" y="2572"/>
                            <a:pt x="44437" y="2632"/>
                            <a:pt x="44317" y="2632"/>
                          </a:cubicBezTo>
                          <a:cubicBezTo>
                            <a:pt x="44198" y="2632"/>
                            <a:pt x="44198" y="2691"/>
                            <a:pt x="44078" y="2691"/>
                          </a:cubicBezTo>
                          <a:cubicBezTo>
                            <a:pt x="44018" y="2691"/>
                            <a:pt x="43959" y="2691"/>
                            <a:pt x="43839" y="2691"/>
                          </a:cubicBezTo>
                          <a:cubicBezTo>
                            <a:pt x="43779" y="2691"/>
                            <a:pt x="43719" y="2691"/>
                            <a:pt x="43600" y="2691"/>
                          </a:cubicBezTo>
                          <a:lnTo>
                            <a:pt x="41865" y="6878"/>
                          </a:lnTo>
                          <a:moveTo>
                            <a:pt x="55501" y="19736"/>
                          </a:moveTo>
                          <a:cubicBezTo>
                            <a:pt x="55561" y="19676"/>
                            <a:pt x="55681" y="19676"/>
                            <a:pt x="55740" y="19617"/>
                          </a:cubicBezTo>
                          <a:cubicBezTo>
                            <a:pt x="55800" y="19557"/>
                            <a:pt x="55920" y="19557"/>
                            <a:pt x="55980" y="19497"/>
                          </a:cubicBezTo>
                          <a:cubicBezTo>
                            <a:pt x="56040" y="19437"/>
                            <a:pt x="56159" y="19437"/>
                            <a:pt x="56219" y="19377"/>
                          </a:cubicBezTo>
                          <a:cubicBezTo>
                            <a:pt x="56279" y="19318"/>
                            <a:pt x="56399" y="19258"/>
                            <a:pt x="56458" y="19258"/>
                          </a:cubicBezTo>
                          <a:lnTo>
                            <a:pt x="57654" y="16567"/>
                          </a:lnTo>
                          <a:cubicBezTo>
                            <a:pt x="57535" y="16627"/>
                            <a:pt x="57475" y="16686"/>
                            <a:pt x="57355" y="16746"/>
                          </a:cubicBezTo>
                          <a:cubicBezTo>
                            <a:pt x="57236" y="16806"/>
                            <a:pt x="57176" y="16866"/>
                            <a:pt x="57056" y="16926"/>
                          </a:cubicBezTo>
                          <a:cubicBezTo>
                            <a:pt x="56937" y="16985"/>
                            <a:pt x="56877" y="17045"/>
                            <a:pt x="56757" y="17105"/>
                          </a:cubicBezTo>
                          <a:cubicBezTo>
                            <a:pt x="56638" y="17165"/>
                            <a:pt x="56578" y="17225"/>
                            <a:pt x="56458" y="17284"/>
                          </a:cubicBezTo>
                          <a:lnTo>
                            <a:pt x="55501" y="19736"/>
                          </a:lnTo>
                          <a:moveTo>
                            <a:pt x="41327" y="9868"/>
                          </a:moveTo>
                          <a:lnTo>
                            <a:pt x="42463" y="7356"/>
                          </a:lnTo>
                          <a:cubicBezTo>
                            <a:pt x="42344" y="7416"/>
                            <a:pt x="42284" y="7476"/>
                            <a:pt x="42224" y="7536"/>
                          </a:cubicBezTo>
                          <a:cubicBezTo>
                            <a:pt x="42164" y="7596"/>
                            <a:pt x="42045" y="7715"/>
                            <a:pt x="41985" y="7775"/>
                          </a:cubicBezTo>
                          <a:cubicBezTo>
                            <a:pt x="41925" y="7895"/>
                            <a:pt x="41806" y="7954"/>
                            <a:pt x="41746" y="8074"/>
                          </a:cubicBezTo>
                          <a:cubicBezTo>
                            <a:pt x="41686" y="8194"/>
                            <a:pt x="41626" y="8253"/>
                            <a:pt x="41566" y="8373"/>
                          </a:cubicBezTo>
                          <a:cubicBezTo>
                            <a:pt x="41506" y="8493"/>
                            <a:pt x="41447" y="8612"/>
                            <a:pt x="41387" y="8732"/>
                          </a:cubicBezTo>
                          <a:cubicBezTo>
                            <a:pt x="41327" y="8851"/>
                            <a:pt x="41327" y="8971"/>
                            <a:pt x="41267" y="9091"/>
                          </a:cubicBezTo>
                          <a:cubicBezTo>
                            <a:pt x="41267" y="9210"/>
                            <a:pt x="41207" y="9330"/>
                            <a:pt x="41267" y="9450"/>
                          </a:cubicBezTo>
                          <a:cubicBezTo>
                            <a:pt x="41267" y="9569"/>
                            <a:pt x="41267" y="9689"/>
                            <a:pt x="41327" y="9808"/>
                          </a:cubicBezTo>
                          <a:lnTo>
                            <a:pt x="41327" y="9868"/>
                          </a:lnTo>
                          <a:moveTo>
                            <a:pt x="40251" y="12260"/>
                          </a:moveTo>
                          <a:lnTo>
                            <a:pt x="40789" y="11065"/>
                          </a:lnTo>
                          <a:cubicBezTo>
                            <a:pt x="40729" y="11005"/>
                            <a:pt x="40729" y="10945"/>
                            <a:pt x="40669" y="10885"/>
                          </a:cubicBezTo>
                          <a:cubicBezTo>
                            <a:pt x="40609" y="10825"/>
                            <a:pt x="40609" y="10765"/>
                            <a:pt x="40549" y="10705"/>
                          </a:cubicBezTo>
                          <a:cubicBezTo>
                            <a:pt x="40549" y="10646"/>
                            <a:pt x="40490" y="10586"/>
                            <a:pt x="40490" y="10526"/>
                          </a:cubicBezTo>
                          <a:cubicBezTo>
                            <a:pt x="40490" y="10466"/>
                            <a:pt x="40430" y="10406"/>
                            <a:pt x="40430" y="10287"/>
                          </a:cubicBezTo>
                          <a:cubicBezTo>
                            <a:pt x="40430" y="10287"/>
                            <a:pt x="40430" y="10227"/>
                            <a:pt x="40430" y="10227"/>
                          </a:cubicBezTo>
                          <a:cubicBezTo>
                            <a:pt x="40430" y="10227"/>
                            <a:pt x="40430" y="10167"/>
                            <a:pt x="40430" y="10167"/>
                          </a:cubicBezTo>
                          <a:cubicBezTo>
                            <a:pt x="40430" y="10167"/>
                            <a:pt x="40430" y="10107"/>
                            <a:pt x="40430" y="10107"/>
                          </a:cubicBezTo>
                          <a:cubicBezTo>
                            <a:pt x="40430" y="10107"/>
                            <a:pt x="40430" y="10048"/>
                            <a:pt x="40430" y="10048"/>
                          </a:cubicBezTo>
                          <a:lnTo>
                            <a:pt x="39952" y="11124"/>
                          </a:lnTo>
                          <a:cubicBezTo>
                            <a:pt x="39952" y="11244"/>
                            <a:pt x="40011" y="11304"/>
                            <a:pt x="40011" y="11423"/>
                          </a:cubicBezTo>
                          <a:cubicBezTo>
                            <a:pt x="40011" y="11543"/>
                            <a:pt x="40071" y="11603"/>
                            <a:pt x="40071" y="11662"/>
                          </a:cubicBezTo>
                          <a:cubicBezTo>
                            <a:pt x="40071" y="11722"/>
                            <a:pt x="40131" y="11842"/>
                            <a:pt x="40131" y="11902"/>
                          </a:cubicBezTo>
                          <a:cubicBezTo>
                            <a:pt x="40191" y="12081"/>
                            <a:pt x="40191" y="12141"/>
                            <a:pt x="40251" y="12260"/>
                          </a:cubicBezTo>
                          <a:moveTo>
                            <a:pt x="38516" y="16208"/>
                          </a:moveTo>
                          <a:lnTo>
                            <a:pt x="39593" y="13756"/>
                          </a:lnTo>
                          <a:cubicBezTo>
                            <a:pt x="39533" y="13696"/>
                            <a:pt x="39533" y="13576"/>
                            <a:pt x="39473" y="13516"/>
                          </a:cubicBezTo>
                          <a:cubicBezTo>
                            <a:pt x="39413" y="13457"/>
                            <a:pt x="39413" y="13337"/>
                            <a:pt x="39353" y="13277"/>
                          </a:cubicBezTo>
                          <a:cubicBezTo>
                            <a:pt x="39293" y="13218"/>
                            <a:pt x="39293" y="13098"/>
                            <a:pt x="39234" y="13038"/>
                          </a:cubicBezTo>
                          <a:cubicBezTo>
                            <a:pt x="39174" y="12978"/>
                            <a:pt x="39174" y="12859"/>
                            <a:pt x="39114" y="12799"/>
                          </a:cubicBezTo>
                          <a:lnTo>
                            <a:pt x="37978" y="15370"/>
                          </a:lnTo>
                          <a:cubicBezTo>
                            <a:pt x="38038" y="15430"/>
                            <a:pt x="38038" y="15490"/>
                            <a:pt x="38098" y="15610"/>
                          </a:cubicBezTo>
                          <a:cubicBezTo>
                            <a:pt x="38157" y="15669"/>
                            <a:pt x="38157" y="15729"/>
                            <a:pt x="38217" y="15789"/>
                          </a:cubicBezTo>
                          <a:cubicBezTo>
                            <a:pt x="38277" y="15849"/>
                            <a:pt x="38277" y="15909"/>
                            <a:pt x="38337" y="15968"/>
                          </a:cubicBezTo>
                          <a:cubicBezTo>
                            <a:pt x="38397" y="16028"/>
                            <a:pt x="38456" y="16148"/>
                            <a:pt x="38516" y="16208"/>
                          </a:cubicBezTo>
                          <a:moveTo>
                            <a:pt x="19976" y="100536"/>
                          </a:moveTo>
                          <a:lnTo>
                            <a:pt x="56040" y="20335"/>
                          </a:lnTo>
                          <a:cubicBezTo>
                            <a:pt x="55980" y="20394"/>
                            <a:pt x="55860" y="20394"/>
                            <a:pt x="55800" y="20454"/>
                          </a:cubicBezTo>
                          <a:cubicBezTo>
                            <a:pt x="55740" y="20514"/>
                            <a:pt x="55621" y="20514"/>
                            <a:pt x="55561" y="20574"/>
                          </a:cubicBezTo>
                          <a:cubicBezTo>
                            <a:pt x="55501" y="20634"/>
                            <a:pt x="55382" y="20634"/>
                            <a:pt x="55322" y="20693"/>
                          </a:cubicBezTo>
                          <a:cubicBezTo>
                            <a:pt x="55262" y="20753"/>
                            <a:pt x="55142" y="20753"/>
                            <a:pt x="55083" y="20813"/>
                          </a:cubicBezTo>
                          <a:lnTo>
                            <a:pt x="19557" y="99818"/>
                          </a:lnTo>
                          <a:cubicBezTo>
                            <a:pt x="19617" y="99878"/>
                            <a:pt x="19617" y="99938"/>
                            <a:pt x="19677" y="99998"/>
                          </a:cubicBezTo>
                          <a:cubicBezTo>
                            <a:pt x="19737" y="100057"/>
                            <a:pt x="19737" y="100117"/>
                            <a:pt x="19797" y="100177"/>
                          </a:cubicBezTo>
                          <a:cubicBezTo>
                            <a:pt x="19856" y="100237"/>
                            <a:pt x="19856" y="100297"/>
                            <a:pt x="19916" y="100357"/>
                          </a:cubicBezTo>
                          <a:cubicBezTo>
                            <a:pt x="19916" y="100416"/>
                            <a:pt x="19976" y="100476"/>
                            <a:pt x="19976" y="100536"/>
                          </a:cubicBezTo>
                          <a:moveTo>
                            <a:pt x="18241" y="103766"/>
                          </a:moveTo>
                          <a:lnTo>
                            <a:pt x="18481" y="103825"/>
                          </a:lnTo>
                          <a:lnTo>
                            <a:pt x="19497" y="101612"/>
                          </a:lnTo>
                          <a:cubicBezTo>
                            <a:pt x="19437" y="101553"/>
                            <a:pt x="19437" y="101493"/>
                            <a:pt x="19378" y="101433"/>
                          </a:cubicBezTo>
                          <a:cubicBezTo>
                            <a:pt x="19318" y="101373"/>
                            <a:pt x="19318" y="101313"/>
                            <a:pt x="19258" y="101254"/>
                          </a:cubicBezTo>
                          <a:cubicBezTo>
                            <a:pt x="19198" y="101194"/>
                            <a:pt x="19198" y="101134"/>
                            <a:pt x="19138" y="101074"/>
                          </a:cubicBezTo>
                          <a:cubicBezTo>
                            <a:pt x="19079" y="101014"/>
                            <a:pt x="19079" y="100955"/>
                            <a:pt x="19019" y="100895"/>
                          </a:cubicBezTo>
                          <a:lnTo>
                            <a:pt x="18122" y="102928"/>
                          </a:lnTo>
                          <a:lnTo>
                            <a:pt x="17763" y="102868"/>
                          </a:lnTo>
                          <a:cubicBezTo>
                            <a:pt x="17823" y="102928"/>
                            <a:pt x="17823" y="103048"/>
                            <a:pt x="17883" y="103108"/>
                          </a:cubicBezTo>
                          <a:cubicBezTo>
                            <a:pt x="17942" y="103167"/>
                            <a:pt x="17942" y="103287"/>
                            <a:pt x="18002" y="103347"/>
                          </a:cubicBezTo>
                          <a:cubicBezTo>
                            <a:pt x="18062" y="103407"/>
                            <a:pt x="18062" y="103526"/>
                            <a:pt x="18122" y="103586"/>
                          </a:cubicBezTo>
                          <a:cubicBezTo>
                            <a:pt x="18182" y="103586"/>
                            <a:pt x="18182" y="103646"/>
                            <a:pt x="18241" y="103766"/>
                          </a:cubicBezTo>
                          <a:moveTo>
                            <a:pt x="15072" y="103167"/>
                          </a:moveTo>
                          <a:lnTo>
                            <a:pt x="16806" y="103466"/>
                          </a:lnTo>
                          <a:cubicBezTo>
                            <a:pt x="16746" y="103347"/>
                            <a:pt x="16686" y="103287"/>
                            <a:pt x="16627" y="103227"/>
                          </a:cubicBezTo>
                          <a:cubicBezTo>
                            <a:pt x="16567" y="103167"/>
                            <a:pt x="16507" y="103048"/>
                            <a:pt x="16447" y="102988"/>
                          </a:cubicBezTo>
                          <a:cubicBezTo>
                            <a:pt x="16387" y="102928"/>
                            <a:pt x="16328" y="102809"/>
                            <a:pt x="16268" y="102749"/>
                          </a:cubicBezTo>
                          <a:cubicBezTo>
                            <a:pt x="16208" y="102689"/>
                            <a:pt x="16148" y="102570"/>
                            <a:pt x="16088" y="102510"/>
                          </a:cubicBezTo>
                          <a:lnTo>
                            <a:pt x="14773" y="102271"/>
                          </a:lnTo>
                          <a:cubicBezTo>
                            <a:pt x="14832" y="102330"/>
                            <a:pt x="14832" y="102390"/>
                            <a:pt x="14892" y="102510"/>
                          </a:cubicBezTo>
                          <a:cubicBezTo>
                            <a:pt x="14952" y="102629"/>
                            <a:pt x="14952" y="102689"/>
                            <a:pt x="14952" y="102749"/>
                          </a:cubicBezTo>
                          <a:cubicBezTo>
                            <a:pt x="14952" y="102809"/>
                            <a:pt x="15012" y="102928"/>
                            <a:pt x="15012" y="102988"/>
                          </a:cubicBezTo>
                          <a:cubicBezTo>
                            <a:pt x="15012" y="102988"/>
                            <a:pt x="15072" y="103108"/>
                            <a:pt x="15072" y="103167"/>
                          </a:cubicBezTo>
                          <a:moveTo>
                            <a:pt x="11961" y="102629"/>
                          </a:moveTo>
                          <a:lnTo>
                            <a:pt x="14115" y="102988"/>
                          </a:lnTo>
                          <a:cubicBezTo>
                            <a:pt x="14115" y="102928"/>
                            <a:pt x="14055" y="102868"/>
                            <a:pt x="14055" y="102868"/>
                          </a:cubicBezTo>
                          <a:cubicBezTo>
                            <a:pt x="14055" y="102868"/>
                            <a:pt x="13995" y="102809"/>
                            <a:pt x="13995" y="102749"/>
                          </a:cubicBezTo>
                          <a:cubicBezTo>
                            <a:pt x="13995" y="102689"/>
                            <a:pt x="13935" y="102689"/>
                            <a:pt x="13935" y="102629"/>
                          </a:cubicBezTo>
                          <a:cubicBezTo>
                            <a:pt x="13935" y="102570"/>
                            <a:pt x="13875" y="102570"/>
                            <a:pt x="13816" y="102510"/>
                          </a:cubicBezTo>
                          <a:cubicBezTo>
                            <a:pt x="13756" y="102450"/>
                            <a:pt x="13636" y="102390"/>
                            <a:pt x="13576" y="102390"/>
                          </a:cubicBezTo>
                          <a:cubicBezTo>
                            <a:pt x="13457" y="102330"/>
                            <a:pt x="13397" y="102330"/>
                            <a:pt x="13277" y="102330"/>
                          </a:cubicBezTo>
                          <a:cubicBezTo>
                            <a:pt x="13158" y="102330"/>
                            <a:pt x="13098" y="102330"/>
                            <a:pt x="12978" y="102330"/>
                          </a:cubicBezTo>
                          <a:cubicBezTo>
                            <a:pt x="12859" y="102330"/>
                            <a:pt x="12739" y="102330"/>
                            <a:pt x="12679" y="102390"/>
                          </a:cubicBezTo>
                          <a:cubicBezTo>
                            <a:pt x="12620" y="102390"/>
                            <a:pt x="12560" y="102450"/>
                            <a:pt x="12500" y="102450"/>
                          </a:cubicBezTo>
                          <a:cubicBezTo>
                            <a:pt x="12440" y="102450"/>
                            <a:pt x="12380" y="102510"/>
                            <a:pt x="12321" y="102510"/>
                          </a:cubicBezTo>
                          <a:cubicBezTo>
                            <a:pt x="12261" y="102510"/>
                            <a:pt x="12201" y="102570"/>
                            <a:pt x="12141" y="102570"/>
                          </a:cubicBezTo>
                          <a:cubicBezTo>
                            <a:pt x="12081" y="102570"/>
                            <a:pt x="12021" y="102570"/>
                            <a:pt x="11961" y="102629"/>
                          </a:cubicBezTo>
                          <a:moveTo>
                            <a:pt x="1436" y="97247"/>
                          </a:moveTo>
                          <a:cubicBezTo>
                            <a:pt x="1495" y="97187"/>
                            <a:pt x="1615" y="97187"/>
                            <a:pt x="1675" y="97127"/>
                          </a:cubicBezTo>
                          <a:cubicBezTo>
                            <a:pt x="1735" y="97067"/>
                            <a:pt x="1854" y="97067"/>
                            <a:pt x="1914" y="97007"/>
                          </a:cubicBezTo>
                          <a:cubicBezTo>
                            <a:pt x="1974" y="96948"/>
                            <a:pt x="2093" y="96948"/>
                            <a:pt x="2153" y="96888"/>
                          </a:cubicBezTo>
                          <a:cubicBezTo>
                            <a:pt x="2213" y="96828"/>
                            <a:pt x="2333" y="96828"/>
                            <a:pt x="2392" y="96768"/>
                          </a:cubicBezTo>
                          <a:lnTo>
                            <a:pt x="37918" y="17225"/>
                          </a:lnTo>
                          <a:cubicBezTo>
                            <a:pt x="37858" y="17165"/>
                            <a:pt x="37858" y="17105"/>
                            <a:pt x="37798" y="17045"/>
                          </a:cubicBezTo>
                          <a:cubicBezTo>
                            <a:pt x="37739" y="16985"/>
                            <a:pt x="37739" y="16926"/>
                            <a:pt x="37679" y="16866"/>
                          </a:cubicBezTo>
                          <a:cubicBezTo>
                            <a:pt x="37619" y="16806"/>
                            <a:pt x="37619" y="16746"/>
                            <a:pt x="37559" y="16686"/>
                          </a:cubicBezTo>
                          <a:cubicBezTo>
                            <a:pt x="37499" y="16627"/>
                            <a:pt x="37499" y="16567"/>
                            <a:pt x="37439" y="16507"/>
                          </a:cubicBezTo>
                          <a:lnTo>
                            <a:pt x="1436" y="97247"/>
                          </a:lnTo>
                          <a:moveTo>
                            <a:pt x="4665" y="101313"/>
                          </a:moveTo>
                          <a:lnTo>
                            <a:pt x="4904" y="101373"/>
                          </a:lnTo>
                          <a:lnTo>
                            <a:pt x="5024" y="101134"/>
                          </a:lnTo>
                          <a:cubicBezTo>
                            <a:pt x="5024" y="101134"/>
                            <a:pt x="4964" y="101134"/>
                            <a:pt x="4964" y="101194"/>
                          </a:cubicBezTo>
                          <a:cubicBezTo>
                            <a:pt x="4964" y="101194"/>
                            <a:pt x="4904" y="101194"/>
                            <a:pt x="4904" y="101254"/>
                          </a:cubicBezTo>
                          <a:cubicBezTo>
                            <a:pt x="4904" y="101254"/>
                            <a:pt x="4845" y="101313"/>
                            <a:pt x="4845" y="101313"/>
                          </a:cubicBezTo>
                          <a:cubicBezTo>
                            <a:pt x="4845" y="101313"/>
                            <a:pt x="4665" y="101313"/>
                            <a:pt x="4665" y="101313"/>
                          </a:cubicBezTo>
                          <a:moveTo>
                            <a:pt x="1854" y="100835"/>
                          </a:moveTo>
                          <a:lnTo>
                            <a:pt x="3768" y="101194"/>
                          </a:lnTo>
                          <a:cubicBezTo>
                            <a:pt x="3828" y="101134"/>
                            <a:pt x="3947" y="101014"/>
                            <a:pt x="4007" y="100955"/>
                          </a:cubicBezTo>
                          <a:cubicBezTo>
                            <a:pt x="4067" y="100895"/>
                            <a:pt x="4187" y="100835"/>
                            <a:pt x="4246" y="100775"/>
                          </a:cubicBezTo>
                          <a:cubicBezTo>
                            <a:pt x="4306" y="100716"/>
                            <a:pt x="4426" y="100656"/>
                            <a:pt x="4486" y="100596"/>
                          </a:cubicBezTo>
                          <a:cubicBezTo>
                            <a:pt x="4545" y="100536"/>
                            <a:pt x="4665" y="100476"/>
                            <a:pt x="4725" y="100416"/>
                          </a:cubicBezTo>
                          <a:lnTo>
                            <a:pt x="3290" y="100177"/>
                          </a:lnTo>
                          <a:cubicBezTo>
                            <a:pt x="3170" y="100237"/>
                            <a:pt x="3050" y="100297"/>
                            <a:pt x="2931" y="100357"/>
                          </a:cubicBezTo>
                          <a:cubicBezTo>
                            <a:pt x="2811" y="100416"/>
                            <a:pt x="2691" y="100476"/>
                            <a:pt x="2572" y="100536"/>
                          </a:cubicBezTo>
                          <a:cubicBezTo>
                            <a:pt x="2452" y="100596"/>
                            <a:pt x="2333" y="100656"/>
                            <a:pt x="2213" y="100716"/>
                          </a:cubicBezTo>
                          <a:cubicBezTo>
                            <a:pt x="2093" y="100656"/>
                            <a:pt x="1974" y="100716"/>
                            <a:pt x="1854" y="100835"/>
                          </a:cubicBezTo>
                          <a:moveTo>
                            <a:pt x="0" y="100476"/>
                          </a:moveTo>
                          <a:lnTo>
                            <a:pt x="419" y="100536"/>
                          </a:lnTo>
                          <a:cubicBezTo>
                            <a:pt x="538" y="100476"/>
                            <a:pt x="658" y="100416"/>
                            <a:pt x="718" y="100357"/>
                          </a:cubicBezTo>
                          <a:cubicBezTo>
                            <a:pt x="837" y="100297"/>
                            <a:pt x="957" y="100237"/>
                            <a:pt x="1017" y="100177"/>
                          </a:cubicBezTo>
                          <a:cubicBezTo>
                            <a:pt x="1136" y="100117"/>
                            <a:pt x="1256" y="100057"/>
                            <a:pt x="1316" y="99998"/>
                          </a:cubicBezTo>
                          <a:cubicBezTo>
                            <a:pt x="1436" y="99938"/>
                            <a:pt x="1555" y="99878"/>
                            <a:pt x="1615" y="99818"/>
                          </a:cubicBezTo>
                          <a:lnTo>
                            <a:pt x="1077" y="99699"/>
                          </a:lnTo>
                          <a:lnTo>
                            <a:pt x="1914" y="97785"/>
                          </a:lnTo>
                          <a:cubicBezTo>
                            <a:pt x="1854" y="97845"/>
                            <a:pt x="1735" y="97845"/>
                            <a:pt x="1675" y="97904"/>
                          </a:cubicBezTo>
                          <a:cubicBezTo>
                            <a:pt x="1615" y="97964"/>
                            <a:pt x="1495" y="97964"/>
                            <a:pt x="1436" y="98024"/>
                          </a:cubicBezTo>
                          <a:cubicBezTo>
                            <a:pt x="1376" y="98084"/>
                            <a:pt x="1256" y="98084"/>
                            <a:pt x="1196" y="98144"/>
                          </a:cubicBezTo>
                          <a:cubicBezTo>
                            <a:pt x="1136" y="98203"/>
                            <a:pt x="1017" y="98263"/>
                            <a:pt x="957" y="98263"/>
                          </a:cubicBezTo>
                          <a:lnTo>
                            <a:pt x="239" y="99938"/>
                          </a:lnTo>
                          <a:lnTo>
                            <a:pt x="0" y="100476"/>
                          </a:lnTo>
                        </a:path>
                      </a:pathLst>
                    </a:custGeom>
                    <a:noFill/>
                    <a:ln w="6350" cap="flat">
                      <a:solidFill>
                        <a:schemeClr val="bg1">
                          <a:alpha val="80000"/>
                        </a:schemeClr>
                      </a:solidFill>
                      <a:prstDash val="solid"/>
                      <a:miter/>
                    </a:ln>
                  </p:spPr>
                  <p:txBody>
                    <a:bodyPr rtlCol="0" anchor="ctr"/>
                    <a:lstStyle/>
                    <a:p>
                      <a:endParaRPr lang="en-GB"/>
                    </a:p>
                  </p:txBody>
                </p:sp>
                <p:sp>
                  <p:nvSpPr>
                    <p:cNvPr id="7392" name="Vrije vorm: vorm 7391">
                      <a:extLst>
                        <a:ext uri="{FF2B5EF4-FFF2-40B4-BE49-F238E27FC236}">
                          <a16:creationId xmlns:a16="http://schemas.microsoft.com/office/drawing/2014/main" id="{961C252C-0DA6-4AE7-BD3C-6CAA16423472}"/>
                        </a:ext>
                      </a:extLst>
                    </p:cNvPr>
                    <p:cNvSpPr/>
                    <p:nvPr/>
                  </p:nvSpPr>
                  <p:spPr>
                    <a:xfrm>
                      <a:off x="5310781" y="5296148"/>
                      <a:ext cx="51792" cy="101253"/>
                    </a:xfrm>
                    <a:custGeom>
                      <a:avLst/>
                      <a:gdLst>
                        <a:gd name="connsiteX0" fmla="*/ 49161 w 51792"/>
                        <a:gd name="connsiteY0" fmla="*/ 5622 h 101253"/>
                        <a:gd name="connsiteX1" fmla="*/ 49221 w 51792"/>
                        <a:gd name="connsiteY1" fmla="*/ 5562 h 101253"/>
                        <a:gd name="connsiteX2" fmla="*/ 49281 w 51792"/>
                        <a:gd name="connsiteY2" fmla="*/ 5502 h 101253"/>
                        <a:gd name="connsiteX3" fmla="*/ 49341 w 51792"/>
                        <a:gd name="connsiteY3" fmla="*/ 5442 h 101253"/>
                        <a:gd name="connsiteX4" fmla="*/ 49400 w 51792"/>
                        <a:gd name="connsiteY4" fmla="*/ 5382 h 101253"/>
                        <a:gd name="connsiteX5" fmla="*/ 49640 w 51792"/>
                        <a:gd name="connsiteY5" fmla="*/ 5263 h 101253"/>
                        <a:gd name="connsiteX6" fmla="*/ 49879 w 51792"/>
                        <a:gd name="connsiteY6" fmla="*/ 5083 h 101253"/>
                        <a:gd name="connsiteX7" fmla="*/ 50118 w 51792"/>
                        <a:gd name="connsiteY7" fmla="*/ 4904 h 101253"/>
                        <a:gd name="connsiteX8" fmla="*/ 50358 w 51792"/>
                        <a:gd name="connsiteY8" fmla="*/ 4725 h 101253"/>
                        <a:gd name="connsiteX9" fmla="*/ 51434 w 51792"/>
                        <a:gd name="connsiteY9" fmla="*/ 2273 h 101253"/>
                        <a:gd name="connsiteX10" fmla="*/ 51613 w 51792"/>
                        <a:gd name="connsiteY10" fmla="*/ 1794 h 101253"/>
                        <a:gd name="connsiteX11" fmla="*/ 51793 w 51792"/>
                        <a:gd name="connsiteY11" fmla="*/ 1375 h 101253"/>
                        <a:gd name="connsiteX12" fmla="*/ 46650 w 51792"/>
                        <a:gd name="connsiteY12" fmla="*/ 179 h 101253"/>
                        <a:gd name="connsiteX13" fmla="*/ 45991 w 51792"/>
                        <a:gd name="connsiteY13" fmla="*/ 0 h 101253"/>
                        <a:gd name="connsiteX14" fmla="*/ 45872 w 51792"/>
                        <a:gd name="connsiteY14" fmla="*/ 179 h 101253"/>
                        <a:gd name="connsiteX15" fmla="*/ 45752 w 51792"/>
                        <a:gd name="connsiteY15" fmla="*/ 359 h 101253"/>
                        <a:gd name="connsiteX16" fmla="*/ 45633 w 51792"/>
                        <a:gd name="connsiteY16" fmla="*/ 538 h 101253"/>
                        <a:gd name="connsiteX17" fmla="*/ 45513 w 51792"/>
                        <a:gd name="connsiteY17" fmla="*/ 718 h 101253"/>
                        <a:gd name="connsiteX18" fmla="*/ 45453 w 51792"/>
                        <a:gd name="connsiteY18" fmla="*/ 778 h 101253"/>
                        <a:gd name="connsiteX19" fmla="*/ 45393 w 51792"/>
                        <a:gd name="connsiteY19" fmla="*/ 837 h 101253"/>
                        <a:gd name="connsiteX20" fmla="*/ 45393 w 51792"/>
                        <a:gd name="connsiteY20" fmla="*/ 897 h 101253"/>
                        <a:gd name="connsiteX21" fmla="*/ 45393 w 51792"/>
                        <a:gd name="connsiteY21" fmla="*/ 957 h 101253"/>
                        <a:gd name="connsiteX22" fmla="*/ 50597 w 51792"/>
                        <a:gd name="connsiteY22" fmla="*/ 2153 h 101253"/>
                        <a:gd name="connsiteX23" fmla="*/ 49161 w 51792"/>
                        <a:gd name="connsiteY23" fmla="*/ 5622 h 101253"/>
                        <a:gd name="connsiteX24" fmla="*/ 47786 w 51792"/>
                        <a:gd name="connsiteY24" fmla="*/ 8672 h 101253"/>
                        <a:gd name="connsiteX25" fmla="*/ 48025 w 51792"/>
                        <a:gd name="connsiteY25" fmla="*/ 8612 h 101253"/>
                        <a:gd name="connsiteX26" fmla="*/ 48264 w 51792"/>
                        <a:gd name="connsiteY26" fmla="*/ 8552 h 101253"/>
                        <a:gd name="connsiteX27" fmla="*/ 48504 w 51792"/>
                        <a:gd name="connsiteY27" fmla="*/ 8493 h 101253"/>
                        <a:gd name="connsiteX28" fmla="*/ 48743 w 51792"/>
                        <a:gd name="connsiteY28" fmla="*/ 8433 h 101253"/>
                        <a:gd name="connsiteX29" fmla="*/ 49580 w 51792"/>
                        <a:gd name="connsiteY29" fmla="*/ 6519 h 101253"/>
                        <a:gd name="connsiteX30" fmla="*/ 49341 w 51792"/>
                        <a:gd name="connsiteY30" fmla="*/ 6639 h 101253"/>
                        <a:gd name="connsiteX31" fmla="*/ 49101 w 51792"/>
                        <a:gd name="connsiteY31" fmla="*/ 6758 h 101253"/>
                        <a:gd name="connsiteX32" fmla="*/ 48862 w 51792"/>
                        <a:gd name="connsiteY32" fmla="*/ 6878 h 101253"/>
                        <a:gd name="connsiteX33" fmla="*/ 48623 w 51792"/>
                        <a:gd name="connsiteY33" fmla="*/ 6937 h 101253"/>
                        <a:gd name="connsiteX34" fmla="*/ 47786 w 51792"/>
                        <a:gd name="connsiteY34" fmla="*/ 8672 h 101253"/>
                        <a:gd name="connsiteX35" fmla="*/ 42822 w 51792"/>
                        <a:gd name="connsiteY35" fmla="*/ 6340 h 101253"/>
                        <a:gd name="connsiteX36" fmla="*/ 43898 w 51792"/>
                        <a:gd name="connsiteY36" fmla="*/ 3887 h 101253"/>
                        <a:gd name="connsiteX37" fmla="*/ 43898 w 51792"/>
                        <a:gd name="connsiteY37" fmla="*/ 3110 h 101253"/>
                        <a:gd name="connsiteX38" fmla="*/ 44018 w 51792"/>
                        <a:gd name="connsiteY38" fmla="*/ 2273 h 101253"/>
                        <a:gd name="connsiteX39" fmla="*/ 44257 w 51792"/>
                        <a:gd name="connsiteY39" fmla="*/ 1435 h 101253"/>
                        <a:gd name="connsiteX40" fmla="*/ 44616 w 51792"/>
                        <a:gd name="connsiteY40" fmla="*/ 598 h 101253"/>
                        <a:gd name="connsiteX41" fmla="*/ 44676 w 51792"/>
                        <a:gd name="connsiteY41" fmla="*/ 478 h 101253"/>
                        <a:gd name="connsiteX42" fmla="*/ 44736 w 51792"/>
                        <a:gd name="connsiteY42" fmla="*/ 359 h 101253"/>
                        <a:gd name="connsiteX43" fmla="*/ 44796 w 51792"/>
                        <a:gd name="connsiteY43" fmla="*/ 239 h 101253"/>
                        <a:gd name="connsiteX44" fmla="*/ 44855 w 51792"/>
                        <a:gd name="connsiteY44" fmla="*/ 119 h 101253"/>
                        <a:gd name="connsiteX45" fmla="*/ 44736 w 51792"/>
                        <a:gd name="connsiteY45" fmla="*/ 60 h 101253"/>
                        <a:gd name="connsiteX46" fmla="*/ 44736 w 51792"/>
                        <a:gd name="connsiteY46" fmla="*/ 60 h 101253"/>
                        <a:gd name="connsiteX47" fmla="*/ 44317 w 51792"/>
                        <a:gd name="connsiteY47" fmla="*/ 957 h 101253"/>
                        <a:gd name="connsiteX48" fmla="*/ 42343 w 51792"/>
                        <a:gd name="connsiteY48" fmla="*/ 5442 h 101253"/>
                        <a:gd name="connsiteX49" fmla="*/ 42403 w 51792"/>
                        <a:gd name="connsiteY49" fmla="*/ 5741 h 101253"/>
                        <a:gd name="connsiteX50" fmla="*/ 42463 w 51792"/>
                        <a:gd name="connsiteY50" fmla="*/ 5981 h 101253"/>
                        <a:gd name="connsiteX51" fmla="*/ 42583 w 51792"/>
                        <a:gd name="connsiteY51" fmla="*/ 6220 h 101253"/>
                        <a:gd name="connsiteX52" fmla="*/ 42822 w 51792"/>
                        <a:gd name="connsiteY52" fmla="*/ 6340 h 101253"/>
                        <a:gd name="connsiteX53" fmla="*/ 44018 w 51792"/>
                        <a:gd name="connsiteY53" fmla="*/ 17045 h 101253"/>
                        <a:gd name="connsiteX54" fmla="*/ 44197 w 51792"/>
                        <a:gd name="connsiteY54" fmla="*/ 17045 h 101253"/>
                        <a:gd name="connsiteX55" fmla="*/ 44377 w 51792"/>
                        <a:gd name="connsiteY55" fmla="*/ 17045 h 101253"/>
                        <a:gd name="connsiteX56" fmla="*/ 44556 w 51792"/>
                        <a:gd name="connsiteY56" fmla="*/ 17045 h 101253"/>
                        <a:gd name="connsiteX57" fmla="*/ 44736 w 51792"/>
                        <a:gd name="connsiteY57" fmla="*/ 17045 h 101253"/>
                        <a:gd name="connsiteX58" fmla="*/ 48025 w 51792"/>
                        <a:gd name="connsiteY58" fmla="*/ 9689 h 101253"/>
                        <a:gd name="connsiteX59" fmla="*/ 47786 w 51792"/>
                        <a:gd name="connsiteY59" fmla="*/ 9749 h 101253"/>
                        <a:gd name="connsiteX60" fmla="*/ 47546 w 51792"/>
                        <a:gd name="connsiteY60" fmla="*/ 9808 h 101253"/>
                        <a:gd name="connsiteX61" fmla="*/ 47307 w 51792"/>
                        <a:gd name="connsiteY61" fmla="*/ 9868 h 101253"/>
                        <a:gd name="connsiteX62" fmla="*/ 47068 w 51792"/>
                        <a:gd name="connsiteY62" fmla="*/ 9928 h 101253"/>
                        <a:gd name="connsiteX63" fmla="*/ 44018 w 51792"/>
                        <a:gd name="connsiteY63" fmla="*/ 17045 h 101253"/>
                        <a:gd name="connsiteX64" fmla="*/ 38217 w 51792"/>
                        <a:gd name="connsiteY64" fmla="*/ 15071 h 101253"/>
                        <a:gd name="connsiteX65" fmla="*/ 38336 w 51792"/>
                        <a:gd name="connsiteY65" fmla="*/ 15191 h 101253"/>
                        <a:gd name="connsiteX66" fmla="*/ 38456 w 51792"/>
                        <a:gd name="connsiteY66" fmla="*/ 15311 h 101253"/>
                        <a:gd name="connsiteX67" fmla="*/ 38575 w 51792"/>
                        <a:gd name="connsiteY67" fmla="*/ 15430 h 101253"/>
                        <a:gd name="connsiteX68" fmla="*/ 38695 w 51792"/>
                        <a:gd name="connsiteY68" fmla="*/ 15550 h 101253"/>
                        <a:gd name="connsiteX69" fmla="*/ 42164 w 51792"/>
                        <a:gd name="connsiteY69" fmla="*/ 7835 h 101253"/>
                        <a:gd name="connsiteX70" fmla="*/ 42044 w 51792"/>
                        <a:gd name="connsiteY70" fmla="*/ 7655 h 101253"/>
                        <a:gd name="connsiteX71" fmla="*/ 41925 w 51792"/>
                        <a:gd name="connsiteY71" fmla="*/ 7476 h 101253"/>
                        <a:gd name="connsiteX72" fmla="*/ 41805 w 51792"/>
                        <a:gd name="connsiteY72" fmla="*/ 7236 h 101253"/>
                        <a:gd name="connsiteX73" fmla="*/ 41685 w 51792"/>
                        <a:gd name="connsiteY73" fmla="*/ 6997 h 101253"/>
                        <a:gd name="connsiteX74" fmla="*/ 38037 w 51792"/>
                        <a:gd name="connsiteY74" fmla="*/ 15131 h 101253"/>
                        <a:gd name="connsiteX75" fmla="*/ 38037 w 51792"/>
                        <a:gd name="connsiteY75" fmla="*/ 15131 h 101253"/>
                        <a:gd name="connsiteX76" fmla="*/ 38217 w 51792"/>
                        <a:gd name="connsiteY76" fmla="*/ 15071 h 101253"/>
                        <a:gd name="connsiteX77" fmla="*/ 38217 w 51792"/>
                        <a:gd name="connsiteY77" fmla="*/ 15071 h 101253"/>
                        <a:gd name="connsiteX78" fmla="*/ 38217 w 51792"/>
                        <a:gd name="connsiteY78" fmla="*/ 15071 h 101253"/>
                        <a:gd name="connsiteX79" fmla="*/ 42583 w 51792"/>
                        <a:gd name="connsiteY79" fmla="*/ 20155 h 101253"/>
                        <a:gd name="connsiteX80" fmla="*/ 42762 w 51792"/>
                        <a:gd name="connsiteY80" fmla="*/ 20155 h 101253"/>
                        <a:gd name="connsiteX81" fmla="*/ 42942 w 51792"/>
                        <a:gd name="connsiteY81" fmla="*/ 20155 h 101253"/>
                        <a:gd name="connsiteX82" fmla="*/ 43121 w 51792"/>
                        <a:gd name="connsiteY82" fmla="*/ 20155 h 101253"/>
                        <a:gd name="connsiteX83" fmla="*/ 43300 w 51792"/>
                        <a:gd name="connsiteY83" fmla="*/ 20155 h 101253"/>
                        <a:gd name="connsiteX84" fmla="*/ 44197 w 51792"/>
                        <a:gd name="connsiteY84" fmla="*/ 18181 h 101253"/>
                        <a:gd name="connsiteX85" fmla="*/ 44018 w 51792"/>
                        <a:gd name="connsiteY85" fmla="*/ 18181 h 101253"/>
                        <a:gd name="connsiteX86" fmla="*/ 43838 w 51792"/>
                        <a:gd name="connsiteY86" fmla="*/ 18181 h 101253"/>
                        <a:gd name="connsiteX87" fmla="*/ 43659 w 51792"/>
                        <a:gd name="connsiteY87" fmla="*/ 18181 h 101253"/>
                        <a:gd name="connsiteX88" fmla="*/ 43480 w 51792"/>
                        <a:gd name="connsiteY88" fmla="*/ 18181 h 101253"/>
                        <a:gd name="connsiteX89" fmla="*/ 42583 w 51792"/>
                        <a:gd name="connsiteY89" fmla="*/ 20155 h 101253"/>
                        <a:gd name="connsiteX90" fmla="*/ 36661 w 51792"/>
                        <a:gd name="connsiteY90" fmla="*/ 18181 h 101253"/>
                        <a:gd name="connsiteX91" fmla="*/ 36841 w 51792"/>
                        <a:gd name="connsiteY91" fmla="*/ 18301 h 101253"/>
                        <a:gd name="connsiteX92" fmla="*/ 37020 w 51792"/>
                        <a:gd name="connsiteY92" fmla="*/ 18420 h 101253"/>
                        <a:gd name="connsiteX93" fmla="*/ 37200 w 51792"/>
                        <a:gd name="connsiteY93" fmla="*/ 18540 h 101253"/>
                        <a:gd name="connsiteX94" fmla="*/ 37380 w 51792"/>
                        <a:gd name="connsiteY94" fmla="*/ 18660 h 101253"/>
                        <a:gd name="connsiteX95" fmla="*/ 38276 w 51792"/>
                        <a:gd name="connsiteY95" fmla="*/ 16626 h 101253"/>
                        <a:gd name="connsiteX96" fmla="*/ 38097 w 51792"/>
                        <a:gd name="connsiteY96" fmla="*/ 16507 h 101253"/>
                        <a:gd name="connsiteX97" fmla="*/ 37918 w 51792"/>
                        <a:gd name="connsiteY97" fmla="*/ 16387 h 101253"/>
                        <a:gd name="connsiteX98" fmla="*/ 37738 w 51792"/>
                        <a:gd name="connsiteY98" fmla="*/ 16267 h 101253"/>
                        <a:gd name="connsiteX99" fmla="*/ 37619 w 51792"/>
                        <a:gd name="connsiteY99" fmla="*/ 16148 h 101253"/>
                        <a:gd name="connsiteX100" fmla="*/ 36661 w 51792"/>
                        <a:gd name="connsiteY100" fmla="*/ 18181 h 101253"/>
                        <a:gd name="connsiteX101" fmla="*/ 9270 w 51792"/>
                        <a:gd name="connsiteY101" fmla="*/ 94495 h 101253"/>
                        <a:gd name="connsiteX102" fmla="*/ 9449 w 51792"/>
                        <a:gd name="connsiteY102" fmla="*/ 94555 h 101253"/>
                        <a:gd name="connsiteX103" fmla="*/ 9629 w 51792"/>
                        <a:gd name="connsiteY103" fmla="*/ 94615 h 101253"/>
                        <a:gd name="connsiteX104" fmla="*/ 9808 w 51792"/>
                        <a:gd name="connsiteY104" fmla="*/ 94675 h 101253"/>
                        <a:gd name="connsiteX105" fmla="*/ 9988 w 51792"/>
                        <a:gd name="connsiteY105" fmla="*/ 94734 h 101253"/>
                        <a:gd name="connsiteX106" fmla="*/ 43061 w 51792"/>
                        <a:gd name="connsiteY106" fmla="*/ 21112 h 101253"/>
                        <a:gd name="connsiteX107" fmla="*/ 42882 w 51792"/>
                        <a:gd name="connsiteY107" fmla="*/ 21112 h 101253"/>
                        <a:gd name="connsiteX108" fmla="*/ 42702 w 51792"/>
                        <a:gd name="connsiteY108" fmla="*/ 21112 h 101253"/>
                        <a:gd name="connsiteX109" fmla="*/ 42523 w 51792"/>
                        <a:gd name="connsiteY109" fmla="*/ 21112 h 101253"/>
                        <a:gd name="connsiteX110" fmla="*/ 42343 w 51792"/>
                        <a:gd name="connsiteY110" fmla="*/ 21112 h 101253"/>
                        <a:gd name="connsiteX111" fmla="*/ 9270 w 51792"/>
                        <a:gd name="connsiteY111" fmla="*/ 94495 h 101253"/>
                        <a:gd name="connsiteX112" fmla="*/ 8014 w 51792"/>
                        <a:gd name="connsiteY112" fmla="*/ 97306 h 101253"/>
                        <a:gd name="connsiteX113" fmla="*/ 8194 w 51792"/>
                        <a:gd name="connsiteY113" fmla="*/ 97366 h 101253"/>
                        <a:gd name="connsiteX114" fmla="*/ 8373 w 51792"/>
                        <a:gd name="connsiteY114" fmla="*/ 97426 h 101253"/>
                        <a:gd name="connsiteX115" fmla="*/ 8552 w 51792"/>
                        <a:gd name="connsiteY115" fmla="*/ 97486 h 101253"/>
                        <a:gd name="connsiteX116" fmla="*/ 8732 w 51792"/>
                        <a:gd name="connsiteY116" fmla="*/ 97546 h 101253"/>
                        <a:gd name="connsiteX117" fmla="*/ 9629 w 51792"/>
                        <a:gd name="connsiteY117" fmla="*/ 95572 h 101253"/>
                        <a:gd name="connsiteX118" fmla="*/ 9449 w 51792"/>
                        <a:gd name="connsiteY118" fmla="*/ 95512 h 101253"/>
                        <a:gd name="connsiteX119" fmla="*/ 9270 w 51792"/>
                        <a:gd name="connsiteY119" fmla="*/ 95452 h 101253"/>
                        <a:gd name="connsiteX120" fmla="*/ 9090 w 51792"/>
                        <a:gd name="connsiteY120" fmla="*/ 95393 h 101253"/>
                        <a:gd name="connsiteX121" fmla="*/ 8911 w 51792"/>
                        <a:gd name="connsiteY121" fmla="*/ 95333 h 101253"/>
                        <a:gd name="connsiteX122" fmla="*/ 8014 w 51792"/>
                        <a:gd name="connsiteY122" fmla="*/ 97306 h 101253"/>
                        <a:gd name="connsiteX123" fmla="*/ 2751 w 51792"/>
                        <a:gd name="connsiteY123" fmla="*/ 94017 h 101253"/>
                        <a:gd name="connsiteX124" fmla="*/ 2990 w 51792"/>
                        <a:gd name="connsiteY124" fmla="*/ 93957 h 101253"/>
                        <a:gd name="connsiteX125" fmla="*/ 3229 w 51792"/>
                        <a:gd name="connsiteY125" fmla="*/ 93957 h 101253"/>
                        <a:gd name="connsiteX126" fmla="*/ 3469 w 51792"/>
                        <a:gd name="connsiteY126" fmla="*/ 93957 h 101253"/>
                        <a:gd name="connsiteX127" fmla="*/ 3708 w 51792"/>
                        <a:gd name="connsiteY127" fmla="*/ 93957 h 101253"/>
                        <a:gd name="connsiteX128" fmla="*/ 37020 w 51792"/>
                        <a:gd name="connsiteY128" fmla="*/ 19557 h 101253"/>
                        <a:gd name="connsiteX129" fmla="*/ 36841 w 51792"/>
                        <a:gd name="connsiteY129" fmla="*/ 19437 h 101253"/>
                        <a:gd name="connsiteX130" fmla="*/ 36661 w 51792"/>
                        <a:gd name="connsiteY130" fmla="*/ 19318 h 101253"/>
                        <a:gd name="connsiteX131" fmla="*/ 36482 w 51792"/>
                        <a:gd name="connsiteY131" fmla="*/ 19198 h 101253"/>
                        <a:gd name="connsiteX132" fmla="*/ 36303 w 51792"/>
                        <a:gd name="connsiteY132" fmla="*/ 19079 h 101253"/>
                        <a:gd name="connsiteX133" fmla="*/ 2751 w 51792"/>
                        <a:gd name="connsiteY133" fmla="*/ 94017 h 101253"/>
                        <a:gd name="connsiteX134" fmla="*/ 1435 w 51792"/>
                        <a:gd name="connsiteY134" fmla="*/ 96947 h 101253"/>
                        <a:gd name="connsiteX135" fmla="*/ 1674 w 51792"/>
                        <a:gd name="connsiteY135" fmla="*/ 96888 h 101253"/>
                        <a:gd name="connsiteX136" fmla="*/ 1914 w 51792"/>
                        <a:gd name="connsiteY136" fmla="*/ 96828 h 101253"/>
                        <a:gd name="connsiteX137" fmla="*/ 2153 w 51792"/>
                        <a:gd name="connsiteY137" fmla="*/ 96768 h 101253"/>
                        <a:gd name="connsiteX138" fmla="*/ 2392 w 51792"/>
                        <a:gd name="connsiteY138" fmla="*/ 96708 h 101253"/>
                        <a:gd name="connsiteX139" fmla="*/ 3289 w 51792"/>
                        <a:gd name="connsiteY139" fmla="*/ 94734 h 101253"/>
                        <a:gd name="connsiteX140" fmla="*/ 3050 w 51792"/>
                        <a:gd name="connsiteY140" fmla="*/ 94734 h 101253"/>
                        <a:gd name="connsiteX141" fmla="*/ 2811 w 51792"/>
                        <a:gd name="connsiteY141" fmla="*/ 94734 h 101253"/>
                        <a:gd name="connsiteX142" fmla="*/ 2572 w 51792"/>
                        <a:gd name="connsiteY142" fmla="*/ 94794 h 101253"/>
                        <a:gd name="connsiteX143" fmla="*/ 2332 w 51792"/>
                        <a:gd name="connsiteY143" fmla="*/ 94854 h 101253"/>
                        <a:gd name="connsiteX144" fmla="*/ 1435 w 51792"/>
                        <a:gd name="connsiteY144" fmla="*/ 96947 h 101253"/>
                        <a:gd name="connsiteX145" fmla="*/ 598 w 51792"/>
                        <a:gd name="connsiteY145" fmla="*/ 98861 h 101253"/>
                        <a:gd name="connsiteX146" fmla="*/ 598 w 51792"/>
                        <a:gd name="connsiteY146" fmla="*/ 98861 h 101253"/>
                        <a:gd name="connsiteX147" fmla="*/ 598 w 51792"/>
                        <a:gd name="connsiteY147" fmla="*/ 98861 h 101253"/>
                        <a:gd name="connsiteX148" fmla="*/ 658 w 51792"/>
                        <a:gd name="connsiteY148" fmla="*/ 98861 h 101253"/>
                        <a:gd name="connsiteX149" fmla="*/ 658 w 51792"/>
                        <a:gd name="connsiteY149" fmla="*/ 98861 h 101253"/>
                        <a:gd name="connsiteX150" fmla="*/ 837 w 51792"/>
                        <a:gd name="connsiteY150" fmla="*/ 98801 h 101253"/>
                        <a:gd name="connsiteX151" fmla="*/ 1017 w 51792"/>
                        <a:gd name="connsiteY151" fmla="*/ 98801 h 101253"/>
                        <a:gd name="connsiteX152" fmla="*/ 1196 w 51792"/>
                        <a:gd name="connsiteY152" fmla="*/ 98801 h 101253"/>
                        <a:gd name="connsiteX153" fmla="*/ 1375 w 51792"/>
                        <a:gd name="connsiteY153" fmla="*/ 98801 h 101253"/>
                        <a:gd name="connsiteX154" fmla="*/ 1734 w 51792"/>
                        <a:gd name="connsiteY154" fmla="*/ 97964 h 101253"/>
                        <a:gd name="connsiteX155" fmla="*/ 1495 w 51792"/>
                        <a:gd name="connsiteY155" fmla="*/ 98024 h 101253"/>
                        <a:gd name="connsiteX156" fmla="*/ 1256 w 51792"/>
                        <a:gd name="connsiteY156" fmla="*/ 98084 h 101253"/>
                        <a:gd name="connsiteX157" fmla="*/ 1017 w 51792"/>
                        <a:gd name="connsiteY157" fmla="*/ 98143 h 101253"/>
                        <a:gd name="connsiteX158" fmla="*/ 777 w 51792"/>
                        <a:gd name="connsiteY158" fmla="*/ 98203 h 101253"/>
                        <a:gd name="connsiteX159" fmla="*/ 598 w 51792"/>
                        <a:gd name="connsiteY159" fmla="*/ 98861 h 101253"/>
                        <a:gd name="connsiteX160" fmla="*/ 2990 w 51792"/>
                        <a:gd name="connsiteY160" fmla="*/ 100655 h 101253"/>
                        <a:gd name="connsiteX161" fmla="*/ 6220 w 51792"/>
                        <a:gd name="connsiteY161" fmla="*/ 101254 h 101253"/>
                        <a:gd name="connsiteX162" fmla="*/ 6519 w 51792"/>
                        <a:gd name="connsiteY162" fmla="*/ 101014 h 101253"/>
                        <a:gd name="connsiteX163" fmla="*/ 6818 w 51792"/>
                        <a:gd name="connsiteY163" fmla="*/ 100775 h 101253"/>
                        <a:gd name="connsiteX164" fmla="*/ 7117 w 51792"/>
                        <a:gd name="connsiteY164" fmla="*/ 100596 h 101253"/>
                        <a:gd name="connsiteX165" fmla="*/ 7416 w 51792"/>
                        <a:gd name="connsiteY165" fmla="*/ 100416 h 101253"/>
                        <a:gd name="connsiteX166" fmla="*/ 8194 w 51792"/>
                        <a:gd name="connsiteY166" fmla="*/ 98742 h 101253"/>
                        <a:gd name="connsiteX167" fmla="*/ 8014 w 51792"/>
                        <a:gd name="connsiteY167" fmla="*/ 98682 h 101253"/>
                        <a:gd name="connsiteX168" fmla="*/ 7835 w 51792"/>
                        <a:gd name="connsiteY168" fmla="*/ 98622 h 101253"/>
                        <a:gd name="connsiteX169" fmla="*/ 7655 w 51792"/>
                        <a:gd name="connsiteY169" fmla="*/ 98562 h 101253"/>
                        <a:gd name="connsiteX170" fmla="*/ 7476 w 51792"/>
                        <a:gd name="connsiteY170" fmla="*/ 98502 h 101253"/>
                        <a:gd name="connsiteX171" fmla="*/ 6579 w 51792"/>
                        <a:gd name="connsiteY171" fmla="*/ 100476 h 101253"/>
                        <a:gd name="connsiteX172" fmla="*/ 2751 w 51792"/>
                        <a:gd name="connsiteY172" fmla="*/ 99818 h 101253"/>
                        <a:gd name="connsiteX173" fmla="*/ 2871 w 51792"/>
                        <a:gd name="connsiteY173" fmla="*/ 100057 h 101253"/>
                        <a:gd name="connsiteX174" fmla="*/ 2930 w 51792"/>
                        <a:gd name="connsiteY174" fmla="*/ 100296 h 101253"/>
                        <a:gd name="connsiteX175" fmla="*/ 2990 w 51792"/>
                        <a:gd name="connsiteY175" fmla="*/ 100536 h 101253"/>
                        <a:gd name="connsiteX176" fmla="*/ 2990 w 51792"/>
                        <a:gd name="connsiteY176" fmla="*/ 100655 h 101253"/>
                        <a:gd name="connsiteX177" fmla="*/ 0 w 51792"/>
                        <a:gd name="connsiteY177" fmla="*/ 100117 h 101253"/>
                        <a:gd name="connsiteX178" fmla="*/ 2093 w 51792"/>
                        <a:gd name="connsiteY178" fmla="*/ 100476 h 101253"/>
                        <a:gd name="connsiteX179" fmla="*/ 2033 w 51792"/>
                        <a:gd name="connsiteY179" fmla="*/ 100296 h 101253"/>
                        <a:gd name="connsiteX180" fmla="*/ 1914 w 51792"/>
                        <a:gd name="connsiteY180" fmla="*/ 100117 h 101253"/>
                        <a:gd name="connsiteX181" fmla="*/ 1794 w 51792"/>
                        <a:gd name="connsiteY181" fmla="*/ 99997 h 101253"/>
                        <a:gd name="connsiteX182" fmla="*/ 1674 w 51792"/>
                        <a:gd name="connsiteY182" fmla="*/ 99878 h 101253"/>
                        <a:gd name="connsiteX183" fmla="*/ 1435 w 51792"/>
                        <a:gd name="connsiteY183" fmla="*/ 99758 h 101253"/>
                        <a:gd name="connsiteX184" fmla="*/ 1196 w 51792"/>
                        <a:gd name="connsiteY184" fmla="*/ 99699 h 101253"/>
                        <a:gd name="connsiteX185" fmla="*/ 897 w 51792"/>
                        <a:gd name="connsiteY185" fmla="*/ 99699 h 101253"/>
                        <a:gd name="connsiteX186" fmla="*/ 598 w 51792"/>
                        <a:gd name="connsiteY186" fmla="*/ 99758 h 101253"/>
                        <a:gd name="connsiteX187" fmla="*/ 478 w 51792"/>
                        <a:gd name="connsiteY187" fmla="*/ 99818 h 101253"/>
                        <a:gd name="connsiteX188" fmla="*/ 359 w 51792"/>
                        <a:gd name="connsiteY188" fmla="*/ 99878 h 101253"/>
                        <a:gd name="connsiteX189" fmla="*/ 239 w 51792"/>
                        <a:gd name="connsiteY189" fmla="*/ 99938 h 101253"/>
                        <a:gd name="connsiteX190" fmla="*/ 119 w 51792"/>
                        <a:gd name="connsiteY190" fmla="*/ 99997 h 101253"/>
                        <a:gd name="connsiteX191" fmla="*/ 0 w 51792"/>
                        <a:gd name="connsiteY191" fmla="*/ 100117 h 101253"/>
                        <a:gd name="connsiteX192" fmla="*/ 0 w 51792"/>
                        <a:gd name="connsiteY192" fmla="*/ 100117 h 10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51792" h="101253">
                          <a:moveTo>
                            <a:pt x="49161" y="5622"/>
                          </a:moveTo>
                          <a:cubicBezTo>
                            <a:pt x="49161" y="5622"/>
                            <a:pt x="49221" y="5622"/>
                            <a:pt x="49221" y="5562"/>
                          </a:cubicBezTo>
                          <a:cubicBezTo>
                            <a:pt x="49221" y="5562"/>
                            <a:pt x="49281" y="5562"/>
                            <a:pt x="49281" y="5502"/>
                          </a:cubicBezTo>
                          <a:cubicBezTo>
                            <a:pt x="49281" y="5502"/>
                            <a:pt x="49341" y="5502"/>
                            <a:pt x="49341" y="5442"/>
                          </a:cubicBezTo>
                          <a:cubicBezTo>
                            <a:pt x="49341" y="5442"/>
                            <a:pt x="49400" y="5442"/>
                            <a:pt x="49400" y="5382"/>
                          </a:cubicBezTo>
                          <a:cubicBezTo>
                            <a:pt x="49460" y="5323"/>
                            <a:pt x="49580" y="5263"/>
                            <a:pt x="49640" y="5263"/>
                          </a:cubicBezTo>
                          <a:cubicBezTo>
                            <a:pt x="49700" y="5203"/>
                            <a:pt x="49819" y="5143"/>
                            <a:pt x="49879" y="5083"/>
                          </a:cubicBezTo>
                          <a:cubicBezTo>
                            <a:pt x="49939" y="5024"/>
                            <a:pt x="49999" y="4964"/>
                            <a:pt x="50118" y="4904"/>
                          </a:cubicBezTo>
                          <a:cubicBezTo>
                            <a:pt x="50238" y="4844"/>
                            <a:pt x="50238" y="4785"/>
                            <a:pt x="50358" y="4725"/>
                          </a:cubicBezTo>
                          <a:lnTo>
                            <a:pt x="51434" y="2273"/>
                          </a:lnTo>
                          <a:lnTo>
                            <a:pt x="51613" y="1794"/>
                          </a:lnTo>
                          <a:lnTo>
                            <a:pt x="51793" y="1375"/>
                          </a:lnTo>
                          <a:lnTo>
                            <a:pt x="46650" y="179"/>
                          </a:lnTo>
                          <a:lnTo>
                            <a:pt x="45991" y="0"/>
                          </a:lnTo>
                          <a:cubicBezTo>
                            <a:pt x="45932" y="60"/>
                            <a:pt x="45932" y="119"/>
                            <a:pt x="45872" y="179"/>
                          </a:cubicBezTo>
                          <a:cubicBezTo>
                            <a:pt x="45812" y="239"/>
                            <a:pt x="45812" y="299"/>
                            <a:pt x="45752" y="359"/>
                          </a:cubicBezTo>
                          <a:cubicBezTo>
                            <a:pt x="45692" y="419"/>
                            <a:pt x="45692" y="478"/>
                            <a:pt x="45633" y="538"/>
                          </a:cubicBezTo>
                          <a:cubicBezTo>
                            <a:pt x="45573" y="598"/>
                            <a:pt x="45573" y="658"/>
                            <a:pt x="45513" y="718"/>
                          </a:cubicBezTo>
                          <a:cubicBezTo>
                            <a:pt x="45513" y="718"/>
                            <a:pt x="45513" y="778"/>
                            <a:pt x="45453" y="778"/>
                          </a:cubicBezTo>
                          <a:cubicBezTo>
                            <a:pt x="45393" y="778"/>
                            <a:pt x="45453" y="837"/>
                            <a:pt x="45393" y="837"/>
                          </a:cubicBezTo>
                          <a:cubicBezTo>
                            <a:pt x="45334" y="837"/>
                            <a:pt x="45393" y="897"/>
                            <a:pt x="45393" y="897"/>
                          </a:cubicBezTo>
                          <a:cubicBezTo>
                            <a:pt x="45393" y="897"/>
                            <a:pt x="45393" y="957"/>
                            <a:pt x="45393" y="957"/>
                          </a:cubicBezTo>
                          <a:lnTo>
                            <a:pt x="50597" y="2153"/>
                          </a:lnTo>
                          <a:lnTo>
                            <a:pt x="49161" y="5622"/>
                          </a:lnTo>
                          <a:moveTo>
                            <a:pt x="47786" y="8672"/>
                          </a:moveTo>
                          <a:cubicBezTo>
                            <a:pt x="47846" y="8672"/>
                            <a:pt x="47965" y="8612"/>
                            <a:pt x="48025" y="8612"/>
                          </a:cubicBezTo>
                          <a:cubicBezTo>
                            <a:pt x="48085" y="8612"/>
                            <a:pt x="48205" y="8552"/>
                            <a:pt x="48264" y="8552"/>
                          </a:cubicBezTo>
                          <a:cubicBezTo>
                            <a:pt x="48324" y="8552"/>
                            <a:pt x="48444" y="8493"/>
                            <a:pt x="48504" y="8493"/>
                          </a:cubicBezTo>
                          <a:cubicBezTo>
                            <a:pt x="48563" y="8493"/>
                            <a:pt x="48683" y="8433"/>
                            <a:pt x="48743" y="8433"/>
                          </a:cubicBezTo>
                          <a:lnTo>
                            <a:pt x="49580" y="6519"/>
                          </a:lnTo>
                          <a:cubicBezTo>
                            <a:pt x="49520" y="6579"/>
                            <a:pt x="49400" y="6579"/>
                            <a:pt x="49341" y="6639"/>
                          </a:cubicBezTo>
                          <a:cubicBezTo>
                            <a:pt x="49281" y="6698"/>
                            <a:pt x="49161" y="6698"/>
                            <a:pt x="49101" y="6758"/>
                          </a:cubicBezTo>
                          <a:cubicBezTo>
                            <a:pt x="49042" y="6818"/>
                            <a:pt x="48922" y="6818"/>
                            <a:pt x="48862" y="6878"/>
                          </a:cubicBezTo>
                          <a:cubicBezTo>
                            <a:pt x="48803" y="6937"/>
                            <a:pt x="48683" y="6937"/>
                            <a:pt x="48623" y="6937"/>
                          </a:cubicBezTo>
                          <a:lnTo>
                            <a:pt x="47786" y="8672"/>
                          </a:lnTo>
                          <a:moveTo>
                            <a:pt x="42822" y="6340"/>
                          </a:moveTo>
                          <a:lnTo>
                            <a:pt x="43898" y="3887"/>
                          </a:lnTo>
                          <a:cubicBezTo>
                            <a:pt x="43898" y="3648"/>
                            <a:pt x="43898" y="3349"/>
                            <a:pt x="43898" y="3110"/>
                          </a:cubicBezTo>
                          <a:cubicBezTo>
                            <a:pt x="43898" y="2871"/>
                            <a:pt x="43958" y="2572"/>
                            <a:pt x="44018" y="2273"/>
                          </a:cubicBezTo>
                          <a:cubicBezTo>
                            <a:pt x="44078" y="1973"/>
                            <a:pt x="44197" y="1674"/>
                            <a:pt x="44257" y="1435"/>
                          </a:cubicBezTo>
                          <a:cubicBezTo>
                            <a:pt x="44377" y="1136"/>
                            <a:pt x="44496" y="837"/>
                            <a:pt x="44616" y="598"/>
                          </a:cubicBezTo>
                          <a:cubicBezTo>
                            <a:pt x="44616" y="538"/>
                            <a:pt x="44676" y="478"/>
                            <a:pt x="44676" y="478"/>
                          </a:cubicBezTo>
                          <a:cubicBezTo>
                            <a:pt x="44676" y="419"/>
                            <a:pt x="44736" y="359"/>
                            <a:pt x="44736" y="359"/>
                          </a:cubicBezTo>
                          <a:cubicBezTo>
                            <a:pt x="44736" y="299"/>
                            <a:pt x="44796" y="239"/>
                            <a:pt x="44796" y="239"/>
                          </a:cubicBezTo>
                          <a:cubicBezTo>
                            <a:pt x="44796" y="179"/>
                            <a:pt x="44855" y="119"/>
                            <a:pt x="44855" y="119"/>
                          </a:cubicBezTo>
                          <a:lnTo>
                            <a:pt x="44736" y="60"/>
                          </a:lnTo>
                          <a:lnTo>
                            <a:pt x="44736" y="60"/>
                          </a:lnTo>
                          <a:lnTo>
                            <a:pt x="44317" y="957"/>
                          </a:lnTo>
                          <a:lnTo>
                            <a:pt x="42343" y="5442"/>
                          </a:lnTo>
                          <a:cubicBezTo>
                            <a:pt x="42343" y="5562"/>
                            <a:pt x="42403" y="5622"/>
                            <a:pt x="42403" y="5741"/>
                          </a:cubicBezTo>
                          <a:cubicBezTo>
                            <a:pt x="42403" y="5861"/>
                            <a:pt x="42463" y="5921"/>
                            <a:pt x="42463" y="5981"/>
                          </a:cubicBezTo>
                          <a:cubicBezTo>
                            <a:pt x="42463" y="6041"/>
                            <a:pt x="42523" y="6160"/>
                            <a:pt x="42583" y="6220"/>
                          </a:cubicBezTo>
                          <a:cubicBezTo>
                            <a:pt x="42762" y="6160"/>
                            <a:pt x="42762" y="6220"/>
                            <a:pt x="42822" y="6340"/>
                          </a:cubicBezTo>
                          <a:moveTo>
                            <a:pt x="44018" y="17045"/>
                          </a:moveTo>
                          <a:cubicBezTo>
                            <a:pt x="44078" y="17045"/>
                            <a:pt x="44137" y="17045"/>
                            <a:pt x="44197" y="17045"/>
                          </a:cubicBezTo>
                          <a:cubicBezTo>
                            <a:pt x="44257" y="17045"/>
                            <a:pt x="44317" y="17045"/>
                            <a:pt x="44377" y="17045"/>
                          </a:cubicBezTo>
                          <a:cubicBezTo>
                            <a:pt x="44437" y="17045"/>
                            <a:pt x="44496" y="17045"/>
                            <a:pt x="44556" y="17045"/>
                          </a:cubicBezTo>
                          <a:cubicBezTo>
                            <a:pt x="44616" y="17045"/>
                            <a:pt x="44676" y="17045"/>
                            <a:pt x="44736" y="17045"/>
                          </a:cubicBezTo>
                          <a:lnTo>
                            <a:pt x="48025" y="9689"/>
                          </a:lnTo>
                          <a:cubicBezTo>
                            <a:pt x="47965" y="9689"/>
                            <a:pt x="47846" y="9749"/>
                            <a:pt x="47786" y="9749"/>
                          </a:cubicBezTo>
                          <a:cubicBezTo>
                            <a:pt x="47726" y="9749"/>
                            <a:pt x="47606" y="9808"/>
                            <a:pt x="47546" y="9808"/>
                          </a:cubicBezTo>
                          <a:cubicBezTo>
                            <a:pt x="47487" y="9808"/>
                            <a:pt x="47367" y="9808"/>
                            <a:pt x="47307" y="9868"/>
                          </a:cubicBezTo>
                          <a:cubicBezTo>
                            <a:pt x="47247" y="9868"/>
                            <a:pt x="47128" y="9868"/>
                            <a:pt x="47068" y="9928"/>
                          </a:cubicBezTo>
                          <a:lnTo>
                            <a:pt x="44018" y="17045"/>
                          </a:lnTo>
                          <a:moveTo>
                            <a:pt x="38217" y="15071"/>
                          </a:moveTo>
                          <a:cubicBezTo>
                            <a:pt x="38276" y="15131"/>
                            <a:pt x="38276" y="15131"/>
                            <a:pt x="38336" y="15191"/>
                          </a:cubicBezTo>
                          <a:cubicBezTo>
                            <a:pt x="38396" y="15251"/>
                            <a:pt x="38396" y="15251"/>
                            <a:pt x="38456" y="15311"/>
                          </a:cubicBezTo>
                          <a:cubicBezTo>
                            <a:pt x="38516" y="15370"/>
                            <a:pt x="38516" y="15370"/>
                            <a:pt x="38575" y="15430"/>
                          </a:cubicBezTo>
                          <a:cubicBezTo>
                            <a:pt x="38635" y="15490"/>
                            <a:pt x="38635" y="15490"/>
                            <a:pt x="38695" y="15550"/>
                          </a:cubicBezTo>
                          <a:lnTo>
                            <a:pt x="42164" y="7835"/>
                          </a:lnTo>
                          <a:cubicBezTo>
                            <a:pt x="42104" y="7775"/>
                            <a:pt x="42104" y="7715"/>
                            <a:pt x="42044" y="7655"/>
                          </a:cubicBezTo>
                          <a:cubicBezTo>
                            <a:pt x="41984" y="7595"/>
                            <a:pt x="41984" y="7536"/>
                            <a:pt x="41925" y="7476"/>
                          </a:cubicBezTo>
                          <a:cubicBezTo>
                            <a:pt x="41865" y="7416"/>
                            <a:pt x="41865" y="7356"/>
                            <a:pt x="41805" y="7236"/>
                          </a:cubicBezTo>
                          <a:cubicBezTo>
                            <a:pt x="41745" y="7177"/>
                            <a:pt x="41745" y="7117"/>
                            <a:pt x="41685" y="6997"/>
                          </a:cubicBezTo>
                          <a:lnTo>
                            <a:pt x="38037" y="15131"/>
                          </a:lnTo>
                          <a:cubicBezTo>
                            <a:pt x="38037" y="15131"/>
                            <a:pt x="38037" y="15131"/>
                            <a:pt x="38037" y="15131"/>
                          </a:cubicBezTo>
                          <a:cubicBezTo>
                            <a:pt x="38157" y="15012"/>
                            <a:pt x="38157" y="15012"/>
                            <a:pt x="38217" y="15071"/>
                          </a:cubicBezTo>
                          <a:cubicBezTo>
                            <a:pt x="38217" y="15012"/>
                            <a:pt x="38217" y="15012"/>
                            <a:pt x="38217" y="15071"/>
                          </a:cubicBezTo>
                          <a:cubicBezTo>
                            <a:pt x="38217" y="15012"/>
                            <a:pt x="38217" y="15012"/>
                            <a:pt x="38217" y="15071"/>
                          </a:cubicBezTo>
                          <a:moveTo>
                            <a:pt x="42583" y="20155"/>
                          </a:moveTo>
                          <a:cubicBezTo>
                            <a:pt x="42642" y="20155"/>
                            <a:pt x="42702" y="20155"/>
                            <a:pt x="42762" y="20155"/>
                          </a:cubicBezTo>
                          <a:cubicBezTo>
                            <a:pt x="42822" y="20155"/>
                            <a:pt x="42882" y="20155"/>
                            <a:pt x="42942" y="20155"/>
                          </a:cubicBezTo>
                          <a:cubicBezTo>
                            <a:pt x="43001" y="20155"/>
                            <a:pt x="43061" y="20155"/>
                            <a:pt x="43121" y="20155"/>
                          </a:cubicBezTo>
                          <a:cubicBezTo>
                            <a:pt x="43181" y="20155"/>
                            <a:pt x="43241" y="20155"/>
                            <a:pt x="43300" y="20155"/>
                          </a:cubicBezTo>
                          <a:lnTo>
                            <a:pt x="44197" y="18181"/>
                          </a:lnTo>
                          <a:cubicBezTo>
                            <a:pt x="44137" y="18181"/>
                            <a:pt x="44078" y="18181"/>
                            <a:pt x="44018" y="18181"/>
                          </a:cubicBezTo>
                          <a:cubicBezTo>
                            <a:pt x="43958" y="18181"/>
                            <a:pt x="43898" y="18181"/>
                            <a:pt x="43838" y="18181"/>
                          </a:cubicBezTo>
                          <a:cubicBezTo>
                            <a:pt x="43779" y="18181"/>
                            <a:pt x="43719" y="18181"/>
                            <a:pt x="43659" y="18181"/>
                          </a:cubicBezTo>
                          <a:cubicBezTo>
                            <a:pt x="43599" y="18181"/>
                            <a:pt x="43539" y="18181"/>
                            <a:pt x="43480" y="18181"/>
                          </a:cubicBezTo>
                          <a:lnTo>
                            <a:pt x="42583" y="20155"/>
                          </a:lnTo>
                          <a:moveTo>
                            <a:pt x="36661" y="18181"/>
                          </a:moveTo>
                          <a:cubicBezTo>
                            <a:pt x="36721" y="18241"/>
                            <a:pt x="36781" y="18241"/>
                            <a:pt x="36841" y="18301"/>
                          </a:cubicBezTo>
                          <a:cubicBezTo>
                            <a:pt x="36901" y="18361"/>
                            <a:pt x="36961" y="18361"/>
                            <a:pt x="37020" y="18420"/>
                          </a:cubicBezTo>
                          <a:cubicBezTo>
                            <a:pt x="37080" y="18480"/>
                            <a:pt x="37140" y="18480"/>
                            <a:pt x="37200" y="18540"/>
                          </a:cubicBezTo>
                          <a:cubicBezTo>
                            <a:pt x="37260" y="18600"/>
                            <a:pt x="37320" y="18600"/>
                            <a:pt x="37380" y="18660"/>
                          </a:cubicBezTo>
                          <a:lnTo>
                            <a:pt x="38276" y="16626"/>
                          </a:lnTo>
                          <a:cubicBezTo>
                            <a:pt x="38217" y="16566"/>
                            <a:pt x="38157" y="16566"/>
                            <a:pt x="38097" y="16507"/>
                          </a:cubicBezTo>
                          <a:cubicBezTo>
                            <a:pt x="38037" y="16447"/>
                            <a:pt x="37977" y="16447"/>
                            <a:pt x="37918" y="16387"/>
                          </a:cubicBezTo>
                          <a:cubicBezTo>
                            <a:pt x="37858" y="16327"/>
                            <a:pt x="37798" y="16327"/>
                            <a:pt x="37738" y="16267"/>
                          </a:cubicBezTo>
                          <a:cubicBezTo>
                            <a:pt x="37678" y="16208"/>
                            <a:pt x="37619" y="16208"/>
                            <a:pt x="37619" y="16148"/>
                          </a:cubicBezTo>
                          <a:lnTo>
                            <a:pt x="36661" y="18181"/>
                          </a:lnTo>
                          <a:moveTo>
                            <a:pt x="9270" y="94495"/>
                          </a:moveTo>
                          <a:cubicBezTo>
                            <a:pt x="9330" y="94495"/>
                            <a:pt x="9389" y="94555"/>
                            <a:pt x="9449" y="94555"/>
                          </a:cubicBezTo>
                          <a:cubicBezTo>
                            <a:pt x="9509" y="94555"/>
                            <a:pt x="9569" y="94615"/>
                            <a:pt x="9629" y="94615"/>
                          </a:cubicBezTo>
                          <a:cubicBezTo>
                            <a:pt x="9689" y="94615"/>
                            <a:pt x="9748" y="94675"/>
                            <a:pt x="9808" y="94675"/>
                          </a:cubicBezTo>
                          <a:cubicBezTo>
                            <a:pt x="9868" y="94675"/>
                            <a:pt x="9928" y="94734"/>
                            <a:pt x="9988" y="94734"/>
                          </a:cubicBezTo>
                          <a:lnTo>
                            <a:pt x="43061" y="21112"/>
                          </a:lnTo>
                          <a:cubicBezTo>
                            <a:pt x="43001" y="21112"/>
                            <a:pt x="42942" y="21112"/>
                            <a:pt x="42882" y="21112"/>
                          </a:cubicBezTo>
                          <a:cubicBezTo>
                            <a:pt x="42822" y="21112"/>
                            <a:pt x="42762" y="21112"/>
                            <a:pt x="42702" y="21112"/>
                          </a:cubicBezTo>
                          <a:cubicBezTo>
                            <a:pt x="42642" y="21112"/>
                            <a:pt x="42583" y="21112"/>
                            <a:pt x="42523" y="21112"/>
                          </a:cubicBezTo>
                          <a:cubicBezTo>
                            <a:pt x="42463" y="21112"/>
                            <a:pt x="42403" y="21112"/>
                            <a:pt x="42343" y="21112"/>
                          </a:cubicBezTo>
                          <a:lnTo>
                            <a:pt x="9270" y="94495"/>
                          </a:lnTo>
                          <a:moveTo>
                            <a:pt x="8014" y="97306"/>
                          </a:moveTo>
                          <a:cubicBezTo>
                            <a:pt x="8074" y="97306"/>
                            <a:pt x="8134" y="97366"/>
                            <a:pt x="8194" y="97366"/>
                          </a:cubicBezTo>
                          <a:cubicBezTo>
                            <a:pt x="8253" y="97366"/>
                            <a:pt x="8313" y="97426"/>
                            <a:pt x="8373" y="97426"/>
                          </a:cubicBezTo>
                          <a:cubicBezTo>
                            <a:pt x="8433" y="97426"/>
                            <a:pt x="8493" y="97486"/>
                            <a:pt x="8552" y="97486"/>
                          </a:cubicBezTo>
                          <a:cubicBezTo>
                            <a:pt x="8612" y="97486"/>
                            <a:pt x="8672" y="97546"/>
                            <a:pt x="8732" y="97546"/>
                          </a:cubicBezTo>
                          <a:lnTo>
                            <a:pt x="9629" y="95572"/>
                          </a:lnTo>
                          <a:cubicBezTo>
                            <a:pt x="9569" y="95572"/>
                            <a:pt x="9509" y="95512"/>
                            <a:pt x="9449" y="95512"/>
                          </a:cubicBezTo>
                          <a:cubicBezTo>
                            <a:pt x="9389" y="95512"/>
                            <a:pt x="9330" y="95452"/>
                            <a:pt x="9270" y="95452"/>
                          </a:cubicBezTo>
                          <a:cubicBezTo>
                            <a:pt x="9210" y="95452"/>
                            <a:pt x="9150" y="95393"/>
                            <a:pt x="9090" y="95393"/>
                          </a:cubicBezTo>
                          <a:cubicBezTo>
                            <a:pt x="9031" y="95393"/>
                            <a:pt x="8971" y="95333"/>
                            <a:pt x="8911" y="95333"/>
                          </a:cubicBezTo>
                          <a:lnTo>
                            <a:pt x="8014" y="97306"/>
                          </a:lnTo>
                          <a:moveTo>
                            <a:pt x="2751" y="94017"/>
                          </a:moveTo>
                          <a:cubicBezTo>
                            <a:pt x="2811" y="94017"/>
                            <a:pt x="2871" y="94017"/>
                            <a:pt x="2990" y="93957"/>
                          </a:cubicBezTo>
                          <a:cubicBezTo>
                            <a:pt x="3110" y="93897"/>
                            <a:pt x="3110" y="93957"/>
                            <a:pt x="3229" y="93957"/>
                          </a:cubicBezTo>
                          <a:cubicBezTo>
                            <a:pt x="3289" y="93957"/>
                            <a:pt x="3349" y="93957"/>
                            <a:pt x="3469" y="93957"/>
                          </a:cubicBezTo>
                          <a:cubicBezTo>
                            <a:pt x="3588" y="93957"/>
                            <a:pt x="3588" y="93957"/>
                            <a:pt x="3708" y="93957"/>
                          </a:cubicBezTo>
                          <a:lnTo>
                            <a:pt x="37020" y="19557"/>
                          </a:lnTo>
                          <a:cubicBezTo>
                            <a:pt x="36961" y="19497"/>
                            <a:pt x="36901" y="19497"/>
                            <a:pt x="36841" y="19437"/>
                          </a:cubicBezTo>
                          <a:cubicBezTo>
                            <a:pt x="36781" y="19377"/>
                            <a:pt x="36721" y="19377"/>
                            <a:pt x="36661" y="19318"/>
                          </a:cubicBezTo>
                          <a:cubicBezTo>
                            <a:pt x="36602" y="19258"/>
                            <a:pt x="36542" y="19258"/>
                            <a:pt x="36482" y="19198"/>
                          </a:cubicBezTo>
                          <a:cubicBezTo>
                            <a:pt x="36422" y="19138"/>
                            <a:pt x="36363" y="19138"/>
                            <a:pt x="36303" y="19079"/>
                          </a:cubicBezTo>
                          <a:lnTo>
                            <a:pt x="2751" y="94017"/>
                          </a:lnTo>
                          <a:moveTo>
                            <a:pt x="1435" y="96947"/>
                          </a:moveTo>
                          <a:cubicBezTo>
                            <a:pt x="1495" y="96947"/>
                            <a:pt x="1555" y="96947"/>
                            <a:pt x="1674" y="96888"/>
                          </a:cubicBezTo>
                          <a:cubicBezTo>
                            <a:pt x="1734" y="96888"/>
                            <a:pt x="1794" y="96888"/>
                            <a:pt x="1914" y="96828"/>
                          </a:cubicBezTo>
                          <a:cubicBezTo>
                            <a:pt x="1973" y="96828"/>
                            <a:pt x="2033" y="96828"/>
                            <a:pt x="2153" y="96768"/>
                          </a:cubicBezTo>
                          <a:cubicBezTo>
                            <a:pt x="2272" y="96708"/>
                            <a:pt x="2272" y="96768"/>
                            <a:pt x="2392" y="96708"/>
                          </a:cubicBezTo>
                          <a:lnTo>
                            <a:pt x="3289" y="94734"/>
                          </a:lnTo>
                          <a:cubicBezTo>
                            <a:pt x="3229" y="94734"/>
                            <a:pt x="3170" y="94734"/>
                            <a:pt x="3050" y="94734"/>
                          </a:cubicBezTo>
                          <a:cubicBezTo>
                            <a:pt x="2930" y="94734"/>
                            <a:pt x="2930" y="94734"/>
                            <a:pt x="2811" y="94734"/>
                          </a:cubicBezTo>
                          <a:cubicBezTo>
                            <a:pt x="2751" y="94734"/>
                            <a:pt x="2691" y="94734"/>
                            <a:pt x="2572" y="94794"/>
                          </a:cubicBezTo>
                          <a:cubicBezTo>
                            <a:pt x="2512" y="94794"/>
                            <a:pt x="2452" y="94794"/>
                            <a:pt x="2332" y="94854"/>
                          </a:cubicBezTo>
                          <a:lnTo>
                            <a:pt x="1435" y="96947"/>
                          </a:lnTo>
                          <a:moveTo>
                            <a:pt x="598" y="98861"/>
                          </a:moveTo>
                          <a:cubicBezTo>
                            <a:pt x="598" y="98861"/>
                            <a:pt x="598" y="98861"/>
                            <a:pt x="598" y="98861"/>
                          </a:cubicBezTo>
                          <a:cubicBezTo>
                            <a:pt x="598" y="98861"/>
                            <a:pt x="598" y="98861"/>
                            <a:pt x="598" y="98861"/>
                          </a:cubicBezTo>
                          <a:cubicBezTo>
                            <a:pt x="658" y="98861"/>
                            <a:pt x="658" y="98861"/>
                            <a:pt x="658" y="98861"/>
                          </a:cubicBezTo>
                          <a:cubicBezTo>
                            <a:pt x="658" y="98861"/>
                            <a:pt x="658" y="98861"/>
                            <a:pt x="658" y="98861"/>
                          </a:cubicBezTo>
                          <a:cubicBezTo>
                            <a:pt x="718" y="98861"/>
                            <a:pt x="777" y="98801"/>
                            <a:pt x="837" y="98801"/>
                          </a:cubicBezTo>
                          <a:cubicBezTo>
                            <a:pt x="897" y="98801"/>
                            <a:pt x="957" y="98801"/>
                            <a:pt x="1017" y="98801"/>
                          </a:cubicBezTo>
                          <a:cubicBezTo>
                            <a:pt x="1076" y="98801"/>
                            <a:pt x="1136" y="98801"/>
                            <a:pt x="1196" y="98801"/>
                          </a:cubicBezTo>
                          <a:cubicBezTo>
                            <a:pt x="1256" y="98801"/>
                            <a:pt x="1316" y="98801"/>
                            <a:pt x="1375" y="98801"/>
                          </a:cubicBezTo>
                          <a:lnTo>
                            <a:pt x="1734" y="97964"/>
                          </a:lnTo>
                          <a:cubicBezTo>
                            <a:pt x="1674" y="97964"/>
                            <a:pt x="1615" y="97964"/>
                            <a:pt x="1495" y="98024"/>
                          </a:cubicBezTo>
                          <a:cubicBezTo>
                            <a:pt x="1435" y="98024"/>
                            <a:pt x="1375" y="98024"/>
                            <a:pt x="1256" y="98084"/>
                          </a:cubicBezTo>
                          <a:cubicBezTo>
                            <a:pt x="1196" y="98084"/>
                            <a:pt x="1136" y="98143"/>
                            <a:pt x="1017" y="98143"/>
                          </a:cubicBezTo>
                          <a:cubicBezTo>
                            <a:pt x="897" y="98143"/>
                            <a:pt x="897" y="98203"/>
                            <a:pt x="777" y="98203"/>
                          </a:cubicBezTo>
                          <a:lnTo>
                            <a:pt x="598" y="98861"/>
                          </a:lnTo>
                          <a:moveTo>
                            <a:pt x="2990" y="100655"/>
                          </a:moveTo>
                          <a:lnTo>
                            <a:pt x="6220" y="101254"/>
                          </a:lnTo>
                          <a:cubicBezTo>
                            <a:pt x="6340" y="101134"/>
                            <a:pt x="6399" y="101074"/>
                            <a:pt x="6519" y="101014"/>
                          </a:cubicBezTo>
                          <a:cubicBezTo>
                            <a:pt x="6639" y="100955"/>
                            <a:pt x="6698" y="100835"/>
                            <a:pt x="6818" y="100775"/>
                          </a:cubicBezTo>
                          <a:cubicBezTo>
                            <a:pt x="6937" y="100715"/>
                            <a:pt x="6997" y="100655"/>
                            <a:pt x="7117" y="100596"/>
                          </a:cubicBezTo>
                          <a:cubicBezTo>
                            <a:pt x="7236" y="100536"/>
                            <a:pt x="7356" y="100476"/>
                            <a:pt x="7416" y="100416"/>
                          </a:cubicBezTo>
                          <a:lnTo>
                            <a:pt x="8194" y="98742"/>
                          </a:lnTo>
                          <a:cubicBezTo>
                            <a:pt x="8134" y="98742"/>
                            <a:pt x="8074" y="98682"/>
                            <a:pt x="8014" y="98682"/>
                          </a:cubicBezTo>
                          <a:cubicBezTo>
                            <a:pt x="7954" y="98682"/>
                            <a:pt x="7894" y="98622"/>
                            <a:pt x="7835" y="98622"/>
                          </a:cubicBezTo>
                          <a:cubicBezTo>
                            <a:pt x="7775" y="98622"/>
                            <a:pt x="7715" y="98562"/>
                            <a:pt x="7655" y="98562"/>
                          </a:cubicBezTo>
                          <a:cubicBezTo>
                            <a:pt x="7595" y="98562"/>
                            <a:pt x="7535" y="98502"/>
                            <a:pt x="7476" y="98502"/>
                          </a:cubicBezTo>
                          <a:lnTo>
                            <a:pt x="6579" y="100476"/>
                          </a:lnTo>
                          <a:lnTo>
                            <a:pt x="2751" y="99818"/>
                          </a:lnTo>
                          <a:cubicBezTo>
                            <a:pt x="2811" y="99878"/>
                            <a:pt x="2811" y="99938"/>
                            <a:pt x="2871" y="100057"/>
                          </a:cubicBezTo>
                          <a:cubicBezTo>
                            <a:pt x="2871" y="100117"/>
                            <a:pt x="2930" y="100237"/>
                            <a:pt x="2930" y="100296"/>
                          </a:cubicBezTo>
                          <a:cubicBezTo>
                            <a:pt x="2930" y="100356"/>
                            <a:pt x="2930" y="100476"/>
                            <a:pt x="2990" y="100536"/>
                          </a:cubicBezTo>
                          <a:cubicBezTo>
                            <a:pt x="2990" y="100476"/>
                            <a:pt x="2990" y="100536"/>
                            <a:pt x="2990" y="100655"/>
                          </a:cubicBezTo>
                          <a:moveTo>
                            <a:pt x="0" y="100117"/>
                          </a:moveTo>
                          <a:lnTo>
                            <a:pt x="2093" y="100476"/>
                          </a:lnTo>
                          <a:cubicBezTo>
                            <a:pt x="2093" y="100416"/>
                            <a:pt x="2033" y="100356"/>
                            <a:pt x="2033" y="100296"/>
                          </a:cubicBezTo>
                          <a:cubicBezTo>
                            <a:pt x="2033" y="100237"/>
                            <a:pt x="1973" y="100177"/>
                            <a:pt x="1914" y="100117"/>
                          </a:cubicBezTo>
                          <a:cubicBezTo>
                            <a:pt x="1854" y="100057"/>
                            <a:pt x="1854" y="99997"/>
                            <a:pt x="1794" y="99997"/>
                          </a:cubicBezTo>
                          <a:cubicBezTo>
                            <a:pt x="1734" y="99938"/>
                            <a:pt x="1734" y="99938"/>
                            <a:pt x="1674" y="99878"/>
                          </a:cubicBezTo>
                          <a:cubicBezTo>
                            <a:pt x="1615" y="99818"/>
                            <a:pt x="1555" y="99758"/>
                            <a:pt x="1435" y="99758"/>
                          </a:cubicBezTo>
                          <a:cubicBezTo>
                            <a:pt x="1375" y="99699"/>
                            <a:pt x="1256" y="99699"/>
                            <a:pt x="1196" y="99699"/>
                          </a:cubicBezTo>
                          <a:cubicBezTo>
                            <a:pt x="1076" y="99699"/>
                            <a:pt x="1017" y="99699"/>
                            <a:pt x="897" y="99699"/>
                          </a:cubicBezTo>
                          <a:cubicBezTo>
                            <a:pt x="777" y="99699"/>
                            <a:pt x="718" y="99699"/>
                            <a:pt x="598" y="99758"/>
                          </a:cubicBezTo>
                          <a:cubicBezTo>
                            <a:pt x="538" y="99758"/>
                            <a:pt x="538" y="99758"/>
                            <a:pt x="478" y="99818"/>
                          </a:cubicBezTo>
                          <a:cubicBezTo>
                            <a:pt x="418" y="99818"/>
                            <a:pt x="418" y="99818"/>
                            <a:pt x="359" y="99878"/>
                          </a:cubicBezTo>
                          <a:cubicBezTo>
                            <a:pt x="299" y="99878"/>
                            <a:pt x="299" y="99938"/>
                            <a:pt x="239" y="99938"/>
                          </a:cubicBezTo>
                          <a:cubicBezTo>
                            <a:pt x="179" y="99938"/>
                            <a:pt x="179" y="99997"/>
                            <a:pt x="119" y="99997"/>
                          </a:cubicBezTo>
                          <a:lnTo>
                            <a:pt x="0" y="100117"/>
                          </a:lnTo>
                          <a:lnTo>
                            <a:pt x="0" y="100117"/>
                          </a:lnTo>
                        </a:path>
                      </a:pathLst>
                    </a:custGeom>
                    <a:noFill/>
                    <a:ln w="6350" cap="flat">
                      <a:solidFill>
                        <a:schemeClr val="bg1">
                          <a:alpha val="80000"/>
                        </a:schemeClr>
                      </a:solidFill>
                      <a:prstDash val="solid"/>
                      <a:miter/>
                    </a:ln>
                  </p:spPr>
                  <p:txBody>
                    <a:bodyPr rtlCol="0" anchor="ctr"/>
                    <a:lstStyle/>
                    <a:p>
                      <a:endParaRPr lang="en-GB"/>
                    </a:p>
                  </p:txBody>
                </p:sp>
                <p:sp>
                  <p:nvSpPr>
                    <p:cNvPr id="7393" name="Vrije vorm: vorm 7392">
                      <a:extLst>
                        <a:ext uri="{FF2B5EF4-FFF2-40B4-BE49-F238E27FC236}">
                          <a16:creationId xmlns:a16="http://schemas.microsoft.com/office/drawing/2014/main" id="{30CBA5C3-C6C7-4AEB-B989-C264AA9AA5AF}"/>
                        </a:ext>
                      </a:extLst>
                    </p:cNvPr>
                    <p:cNvSpPr/>
                    <p:nvPr/>
                  </p:nvSpPr>
                  <p:spPr>
                    <a:xfrm>
                      <a:off x="5341701" y="5278659"/>
                      <a:ext cx="35190" cy="38601"/>
                    </a:xfrm>
                    <a:custGeom>
                      <a:avLst/>
                      <a:gdLst>
                        <a:gd name="connsiteX0" fmla="*/ 28528 w 35190"/>
                        <a:gd name="connsiteY0" fmla="*/ 2298 h 38601"/>
                        <a:gd name="connsiteX1" fmla="*/ 29006 w 35190"/>
                        <a:gd name="connsiteY1" fmla="*/ 2598 h 38601"/>
                        <a:gd name="connsiteX2" fmla="*/ 29485 w 35190"/>
                        <a:gd name="connsiteY2" fmla="*/ 2896 h 38601"/>
                        <a:gd name="connsiteX3" fmla="*/ 29904 w 35190"/>
                        <a:gd name="connsiteY3" fmla="*/ 3195 h 38601"/>
                        <a:gd name="connsiteX4" fmla="*/ 30322 w 35190"/>
                        <a:gd name="connsiteY4" fmla="*/ 3554 h 38601"/>
                        <a:gd name="connsiteX5" fmla="*/ 30322 w 35190"/>
                        <a:gd name="connsiteY5" fmla="*/ 3554 h 38601"/>
                        <a:gd name="connsiteX6" fmla="*/ 30322 w 35190"/>
                        <a:gd name="connsiteY6" fmla="*/ 3554 h 38601"/>
                        <a:gd name="connsiteX7" fmla="*/ 30322 w 35190"/>
                        <a:gd name="connsiteY7" fmla="*/ 3554 h 38601"/>
                        <a:gd name="connsiteX8" fmla="*/ 30322 w 35190"/>
                        <a:gd name="connsiteY8" fmla="*/ 3554 h 38601"/>
                        <a:gd name="connsiteX9" fmla="*/ 30980 w 35190"/>
                        <a:gd name="connsiteY9" fmla="*/ 2717 h 38601"/>
                        <a:gd name="connsiteX10" fmla="*/ 30920 w 35190"/>
                        <a:gd name="connsiteY10" fmla="*/ 2717 h 38601"/>
                        <a:gd name="connsiteX11" fmla="*/ 30860 w 35190"/>
                        <a:gd name="connsiteY11" fmla="*/ 2717 h 38601"/>
                        <a:gd name="connsiteX12" fmla="*/ 30801 w 35190"/>
                        <a:gd name="connsiteY12" fmla="*/ 2717 h 38601"/>
                        <a:gd name="connsiteX13" fmla="*/ 30741 w 35190"/>
                        <a:gd name="connsiteY13" fmla="*/ 2717 h 38601"/>
                        <a:gd name="connsiteX14" fmla="*/ 30322 w 35190"/>
                        <a:gd name="connsiteY14" fmla="*/ 2358 h 38601"/>
                        <a:gd name="connsiteX15" fmla="*/ 29904 w 35190"/>
                        <a:gd name="connsiteY15" fmla="*/ 2059 h 38601"/>
                        <a:gd name="connsiteX16" fmla="*/ 29485 w 35190"/>
                        <a:gd name="connsiteY16" fmla="*/ 1760 h 38601"/>
                        <a:gd name="connsiteX17" fmla="*/ 29006 w 35190"/>
                        <a:gd name="connsiteY17" fmla="*/ 1521 h 38601"/>
                        <a:gd name="connsiteX18" fmla="*/ 28528 w 35190"/>
                        <a:gd name="connsiteY18" fmla="*/ 2298 h 38601"/>
                        <a:gd name="connsiteX19" fmla="*/ 25537 w 35190"/>
                        <a:gd name="connsiteY19" fmla="*/ 1162 h 38601"/>
                        <a:gd name="connsiteX20" fmla="*/ 25956 w 35190"/>
                        <a:gd name="connsiteY20" fmla="*/ 1282 h 38601"/>
                        <a:gd name="connsiteX21" fmla="*/ 26375 w 35190"/>
                        <a:gd name="connsiteY21" fmla="*/ 1401 h 38601"/>
                        <a:gd name="connsiteX22" fmla="*/ 26734 w 35190"/>
                        <a:gd name="connsiteY22" fmla="*/ 1521 h 38601"/>
                        <a:gd name="connsiteX23" fmla="*/ 27092 w 35190"/>
                        <a:gd name="connsiteY23" fmla="*/ 1640 h 38601"/>
                        <a:gd name="connsiteX24" fmla="*/ 27272 w 35190"/>
                        <a:gd name="connsiteY24" fmla="*/ 1700 h 38601"/>
                        <a:gd name="connsiteX25" fmla="*/ 27451 w 35190"/>
                        <a:gd name="connsiteY25" fmla="*/ 1760 h 38601"/>
                        <a:gd name="connsiteX26" fmla="*/ 27631 w 35190"/>
                        <a:gd name="connsiteY26" fmla="*/ 1820 h 38601"/>
                        <a:gd name="connsiteX27" fmla="*/ 27810 w 35190"/>
                        <a:gd name="connsiteY27" fmla="*/ 1880 h 38601"/>
                        <a:gd name="connsiteX28" fmla="*/ 28468 w 35190"/>
                        <a:gd name="connsiteY28" fmla="*/ 1042 h 38601"/>
                        <a:gd name="connsiteX29" fmla="*/ 28229 w 35190"/>
                        <a:gd name="connsiteY29" fmla="*/ 923 h 38601"/>
                        <a:gd name="connsiteX30" fmla="*/ 27990 w 35190"/>
                        <a:gd name="connsiteY30" fmla="*/ 803 h 38601"/>
                        <a:gd name="connsiteX31" fmla="*/ 27751 w 35190"/>
                        <a:gd name="connsiteY31" fmla="*/ 684 h 38601"/>
                        <a:gd name="connsiteX32" fmla="*/ 27511 w 35190"/>
                        <a:gd name="connsiteY32" fmla="*/ 564 h 38601"/>
                        <a:gd name="connsiteX33" fmla="*/ 27152 w 35190"/>
                        <a:gd name="connsiteY33" fmla="*/ 444 h 38601"/>
                        <a:gd name="connsiteX34" fmla="*/ 26794 w 35190"/>
                        <a:gd name="connsiteY34" fmla="*/ 325 h 38601"/>
                        <a:gd name="connsiteX35" fmla="*/ 26435 w 35190"/>
                        <a:gd name="connsiteY35" fmla="*/ 205 h 38601"/>
                        <a:gd name="connsiteX36" fmla="*/ 26076 w 35190"/>
                        <a:gd name="connsiteY36" fmla="*/ 145 h 38601"/>
                        <a:gd name="connsiteX37" fmla="*/ 25537 w 35190"/>
                        <a:gd name="connsiteY37" fmla="*/ 1162 h 38601"/>
                        <a:gd name="connsiteX38" fmla="*/ 33432 w 35190"/>
                        <a:gd name="connsiteY38" fmla="*/ 7980 h 38601"/>
                        <a:gd name="connsiteX39" fmla="*/ 34090 w 35190"/>
                        <a:gd name="connsiteY39" fmla="*/ 7143 h 38601"/>
                        <a:gd name="connsiteX40" fmla="*/ 33612 w 35190"/>
                        <a:gd name="connsiteY40" fmla="*/ 6066 h 38601"/>
                        <a:gd name="connsiteX41" fmla="*/ 33013 w 35190"/>
                        <a:gd name="connsiteY41" fmla="*/ 5049 h 38601"/>
                        <a:gd name="connsiteX42" fmla="*/ 32356 w 35190"/>
                        <a:gd name="connsiteY42" fmla="*/ 4093 h 38601"/>
                        <a:gd name="connsiteX43" fmla="*/ 31578 w 35190"/>
                        <a:gd name="connsiteY43" fmla="*/ 3255 h 38601"/>
                        <a:gd name="connsiteX44" fmla="*/ 30920 w 35190"/>
                        <a:gd name="connsiteY44" fmla="*/ 4093 h 38601"/>
                        <a:gd name="connsiteX45" fmla="*/ 31698 w 35190"/>
                        <a:gd name="connsiteY45" fmla="*/ 4930 h 38601"/>
                        <a:gd name="connsiteX46" fmla="*/ 32356 w 35190"/>
                        <a:gd name="connsiteY46" fmla="*/ 5887 h 38601"/>
                        <a:gd name="connsiteX47" fmla="*/ 32954 w 35190"/>
                        <a:gd name="connsiteY47" fmla="*/ 6903 h 38601"/>
                        <a:gd name="connsiteX48" fmla="*/ 33432 w 35190"/>
                        <a:gd name="connsiteY48" fmla="*/ 7980 h 38601"/>
                        <a:gd name="connsiteX49" fmla="*/ 4545 w 35190"/>
                        <a:gd name="connsiteY49" fmla="*/ 36030 h 38601"/>
                        <a:gd name="connsiteX50" fmla="*/ 4725 w 35190"/>
                        <a:gd name="connsiteY50" fmla="*/ 36209 h 38601"/>
                        <a:gd name="connsiteX51" fmla="*/ 4904 w 35190"/>
                        <a:gd name="connsiteY51" fmla="*/ 36388 h 38601"/>
                        <a:gd name="connsiteX52" fmla="*/ 5083 w 35190"/>
                        <a:gd name="connsiteY52" fmla="*/ 36508 h 38601"/>
                        <a:gd name="connsiteX53" fmla="*/ 5263 w 35190"/>
                        <a:gd name="connsiteY53" fmla="*/ 36628 h 38601"/>
                        <a:gd name="connsiteX54" fmla="*/ 5442 w 35190"/>
                        <a:gd name="connsiteY54" fmla="*/ 36747 h 38601"/>
                        <a:gd name="connsiteX55" fmla="*/ 5622 w 35190"/>
                        <a:gd name="connsiteY55" fmla="*/ 36867 h 38601"/>
                        <a:gd name="connsiteX56" fmla="*/ 5801 w 35190"/>
                        <a:gd name="connsiteY56" fmla="*/ 36987 h 38601"/>
                        <a:gd name="connsiteX57" fmla="*/ 5981 w 35190"/>
                        <a:gd name="connsiteY57" fmla="*/ 37106 h 38601"/>
                        <a:gd name="connsiteX58" fmla="*/ 6459 w 35190"/>
                        <a:gd name="connsiteY58" fmla="*/ 37345 h 38601"/>
                        <a:gd name="connsiteX59" fmla="*/ 6937 w 35190"/>
                        <a:gd name="connsiteY59" fmla="*/ 37585 h 38601"/>
                        <a:gd name="connsiteX60" fmla="*/ 7476 w 35190"/>
                        <a:gd name="connsiteY60" fmla="*/ 37824 h 38601"/>
                        <a:gd name="connsiteX61" fmla="*/ 8014 w 35190"/>
                        <a:gd name="connsiteY61" fmla="*/ 38003 h 38601"/>
                        <a:gd name="connsiteX62" fmla="*/ 8791 w 35190"/>
                        <a:gd name="connsiteY62" fmla="*/ 38242 h 38601"/>
                        <a:gd name="connsiteX63" fmla="*/ 9629 w 35190"/>
                        <a:gd name="connsiteY63" fmla="*/ 38422 h 38601"/>
                        <a:gd name="connsiteX64" fmla="*/ 10466 w 35190"/>
                        <a:gd name="connsiteY64" fmla="*/ 38541 h 38601"/>
                        <a:gd name="connsiteX65" fmla="*/ 11304 w 35190"/>
                        <a:gd name="connsiteY65" fmla="*/ 38601 h 38601"/>
                        <a:gd name="connsiteX66" fmla="*/ 11483 w 35190"/>
                        <a:gd name="connsiteY66" fmla="*/ 38601 h 38601"/>
                        <a:gd name="connsiteX67" fmla="*/ 11662 w 35190"/>
                        <a:gd name="connsiteY67" fmla="*/ 38601 h 38601"/>
                        <a:gd name="connsiteX68" fmla="*/ 11842 w 35190"/>
                        <a:gd name="connsiteY68" fmla="*/ 38601 h 38601"/>
                        <a:gd name="connsiteX69" fmla="*/ 12021 w 35190"/>
                        <a:gd name="connsiteY69" fmla="*/ 38601 h 38601"/>
                        <a:gd name="connsiteX70" fmla="*/ 13756 w 35190"/>
                        <a:gd name="connsiteY70" fmla="*/ 38541 h 38601"/>
                        <a:gd name="connsiteX71" fmla="*/ 15550 w 35190"/>
                        <a:gd name="connsiteY71" fmla="*/ 38242 h 38601"/>
                        <a:gd name="connsiteX72" fmla="*/ 17344 w 35190"/>
                        <a:gd name="connsiteY72" fmla="*/ 37764 h 38601"/>
                        <a:gd name="connsiteX73" fmla="*/ 19198 w 35190"/>
                        <a:gd name="connsiteY73" fmla="*/ 37046 h 38601"/>
                        <a:gd name="connsiteX74" fmla="*/ 19437 w 35190"/>
                        <a:gd name="connsiteY74" fmla="*/ 36927 h 38601"/>
                        <a:gd name="connsiteX75" fmla="*/ 19676 w 35190"/>
                        <a:gd name="connsiteY75" fmla="*/ 36807 h 38601"/>
                        <a:gd name="connsiteX76" fmla="*/ 19916 w 35190"/>
                        <a:gd name="connsiteY76" fmla="*/ 36687 h 38601"/>
                        <a:gd name="connsiteX77" fmla="*/ 20155 w 35190"/>
                        <a:gd name="connsiteY77" fmla="*/ 36568 h 38601"/>
                        <a:gd name="connsiteX78" fmla="*/ 20394 w 35190"/>
                        <a:gd name="connsiteY78" fmla="*/ 36448 h 38601"/>
                        <a:gd name="connsiteX79" fmla="*/ 20634 w 35190"/>
                        <a:gd name="connsiteY79" fmla="*/ 36329 h 38601"/>
                        <a:gd name="connsiteX80" fmla="*/ 20873 w 35190"/>
                        <a:gd name="connsiteY80" fmla="*/ 36209 h 38601"/>
                        <a:gd name="connsiteX81" fmla="*/ 21112 w 35190"/>
                        <a:gd name="connsiteY81" fmla="*/ 36089 h 38601"/>
                        <a:gd name="connsiteX82" fmla="*/ 24401 w 35190"/>
                        <a:gd name="connsiteY82" fmla="*/ 33936 h 38601"/>
                        <a:gd name="connsiteX83" fmla="*/ 27392 w 35190"/>
                        <a:gd name="connsiteY83" fmla="*/ 31245 h 38601"/>
                        <a:gd name="connsiteX84" fmla="*/ 30023 w 35190"/>
                        <a:gd name="connsiteY84" fmla="*/ 28075 h 38601"/>
                        <a:gd name="connsiteX85" fmla="*/ 32236 w 35190"/>
                        <a:gd name="connsiteY85" fmla="*/ 24547 h 38601"/>
                        <a:gd name="connsiteX86" fmla="*/ 34090 w 35190"/>
                        <a:gd name="connsiteY86" fmla="*/ 20121 h 38601"/>
                        <a:gd name="connsiteX87" fmla="*/ 35047 w 35190"/>
                        <a:gd name="connsiteY87" fmla="*/ 15755 h 38601"/>
                        <a:gd name="connsiteX88" fmla="*/ 35107 w 35190"/>
                        <a:gd name="connsiteY88" fmla="*/ 11628 h 38601"/>
                        <a:gd name="connsiteX89" fmla="*/ 34329 w 35190"/>
                        <a:gd name="connsiteY89" fmla="*/ 7920 h 38601"/>
                        <a:gd name="connsiteX90" fmla="*/ 33671 w 35190"/>
                        <a:gd name="connsiteY90" fmla="*/ 8817 h 38601"/>
                        <a:gd name="connsiteX91" fmla="*/ 34329 w 35190"/>
                        <a:gd name="connsiteY91" fmla="*/ 12286 h 38601"/>
                        <a:gd name="connsiteX92" fmla="*/ 34210 w 35190"/>
                        <a:gd name="connsiteY92" fmla="*/ 16114 h 38601"/>
                        <a:gd name="connsiteX93" fmla="*/ 33313 w 35190"/>
                        <a:gd name="connsiteY93" fmla="*/ 20181 h 38601"/>
                        <a:gd name="connsiteX94" fmla="*/ 31578 w 35190"/>
                        <a:gd name="connsiteY94" fmla="*/ 24308 h 38601"/>
                        <a:gd name="connsiteX95" fmla="*/ 29485 w 35190"/>
                        <a:gd name="connsiteY95" fmla="*/ 27657 h 38601"/>
                        <a:gd name="connsiteX96" fmla="*/ 26973 w 35190"/>
                        <a:gd name="connsiteY96" fmla="*/ 30647 h 38601"/>
                        <a:gd name="connsiteX97" fmla="*/ 24102 w 35190"/>
                        <a:gd name="connsiteY97" fmla="*/ 33219 h 38601"/>
                        <a:gd name="connsiteX98" fmla="*/ 20933 w 35190"/>
                        <a:gd name="connsiteY98" fmla="*/ 35312 h 38601"/>
                        <a:gd name="connsiteX99" fmla="*/ 20873 w 35190"/>
                        <a:gd name="connsiteY99" fmla="*/ 35372 h 38601"/>
                        <a:gd name="connsiteX100" fmla="*/ 20813 w 35190"/>
                        <a:gd name="connsiteY100" fmla="*/ 35432 h 38601"/>
                        <a:gd name="connsiteX101" fmla="*/ 20753 w 35190"/>
                        <a:gd name="connsiteY101" fmla="*/ 35491 h 38601"/>
                        <a:gd name="connsiteX102" fmla="*/ 20693 w 35190"/>
                        <a:gd name="connsiteY102" fmla="*/ 35551 h 38601"/>
                        <a:gd name="connsiteX103" fmla="*/ 20454 w 35190"/>
                        <a:gd name="connsiteY103" fmla="*/ 35671 h 38601"/>
                        <a:gd name="connsiteX104" fmla="*/ 20215 w 35190"/>
                        <a:gd name="connsiteY104" fmla="*/ 35790 h 38601"/>
                        <a:gd name="connsiteX105" fmla="*/ 19975 w 35190"/>
                        <a:gd name="connsiteY105" fmla="*/ 35910 h 38601"/>
                        <a:gd name="connsiteX106" fmla="*/ 19736 w 35190"/>
                        <a:gd name="connsiteY106" fmla="*/ 36030 h 38601"/>
                        <a:gd name="connsiteX107" fmla="*/ 17882 w 35190"/>
                        <a:gd name="connsiteY107" fmla="*/ 36807 h 38601"/>
                        <a:gd name="connsiteX108" fmla="*/ 16028 w 35190"/>
                        <a:gd name="connsiteY108" fmla="*/ 37345 h 38601"/>
                        <a:gd name="connsiteX109" fmla="*/ 14234 w 35190"/>
                        <a:gd name="connsiteY109" fmla="*/ 37644 h 38601"/>
                        <a:gd name="connsiteX110" fmla="*/ 12440 w 35190"/>
                        <a:gd name="connsiteY110" fmla="*/ 37764 h 38601"/>
                        <a:gd name="connsiteX111" fmla="*/ 12260 w 35190"/>
                        <a:gd name="connsiteY111" fmla="*/ 37764 h 38601"/>
                        <a:gd name="connsiteX112" fmla="*/ 12081 w 35190"/>
                        <a:gd name="connsiteY112" fmla="*/ 37764 h 38601"/>
                        <a:gd name="connsiteX113" fmla="*/ 11902 w 35190"/>
                        <a:gd name="connsiteY113" fmla="*/ 37764 h 38601"/>
                        <a:gd name="connsiteX114" fmla="*/ 11722 w 35190"/>
                        <a:gd name="connsiteY114" fmla="*/ 37764 h 38601"/>
                        <a:gd name="connsiteX115" fmla="*/ 10885 w 35190"/>
                        <a:gd name="connsiteY115" fmla="*/ 37704 h 38601"/>
                        <a:gd name="connsiteX116" fmla="*/ 10048 w 35190"/>
                        <a:gd name="connsiteY116" fmla="*/ 37585 h 38601"/>
                        <a:gd name="connsiteX117" fmla="*/ 9270 w 35190"/>
                        <a:gd name="connsiteY117" fmla="*/ 37405 h 38601"/>
                        <a:gd name="connsiteX118" fmla="*/ 8493 w 35190"/>
                        <a:gd name="connsiteY118" fmla="*/ 37166 h 38601"/>
                        <a:gd name="connsiteX119" fmla="*/ 7954 w 35190"/>
                        <a:gd name="connsiteY119" fmla="*/ 36987 h 38601"/>
                        <a:gd name="connsiteX120" fmla="*/ 7416 w 35190"/>
                        <a:gd name="connsiteY120" fmla="*/ 36747 h 38601"/>
                        <a:gd name="connsiteX121" fmla="*/ 6937 w 35190"/>
                        <a:gd name="connsiteY121" fmla="*/ 36508 h 38601"/>
                        <a:gd name="connsiteX122" fmla="*/ 6459 w 35190"/>
                        <a:gd name="connsiteY122" fmla="*/ 36209 h 38601"/>
                        <a:gd name="connsiteX123" fmla="*/ 6280 w 35190"/>
                        <a:gd name="connsiteY123" fmla="*/ 36089 h 38601"/>
                        <a:gd name="connsiteX124" fmla="*/ 6100 w 35190"/>
                        <a:gd name="connsiteY124" fmla="*/ 35970 h 38601"/>
                        <a:gd name="connsiteX125" fmla="*/ 5921 w 35190"/>
                        <a:gd name="connsiteY125" fmla="*/ 35850 h 38601"/>
                        <a:gd name="connsiteX126" fmla="*/ 5741 w 35190"/>
                        <a:gd name="connsiteY126" fmla="*/ 35731 h 38601"/>
                        <a:gd name="connsiteX127" fmla="*/ 5562 w 35190"/>
                        <a:gd name="connsiteY127" fmla="*/ 35611 h 38601"/>
                        <a:gd name="connsiteX128" fmla="*/ 5442 w 35190"/>
                        <a:gd name="connsiteY128" fmla="*/ 35491 h 38601"/>
                        <a:gd name="connsiteX129" fmla="*/ 5323 w 35190"/>
                        <a:gd name="connsiteY129" fmla="*/ 35372 h 38601"/>
                        <a:gd name="connsiteX130" fmla="*/ 5203 w 35190"/>
                        <a:gd name="connsiteY130" fmla="*/ 35252 h 38601"/>
                        <a:gd name="connsiteX131" fmla="*/ 4486 w 35190"/>
                        <a:gd name="connsiteY131" fmla="*/ 34654 h 38601"/>
                        <a:gd name="connsiteX132" fmla="*/ 3828 w 35190"/>
                        <a:gd name="connsiteY132" fmla="*/ 33996 h 38601"/>
                        <a:gd name="connsiteX133" fmla="*/ 3229 w 35190"/>
                        <a:gd name="connsiteY133" fmla="*/ 33279 h 38601"/>
                        <a:gd name="connsiteX134" fmla="*/ 2691 w 35190"/>
                        <a:gd name="connsiteY134" fmla="*/ 32501 h 38601"/>
                        <a:gd name="connsiteX135" fmla="*/ 2572 w 35190"/>
                        <a:gd name="connsiteY135" fmla="*/ 32322 h 38601"/>
                        <a:gd name="connsiteX136" fmla="*/ 2452 w 35190"/>
                        <a:gd name="connsiteY136" fmla="*/ 32142 h 38601"/>
                        <a:gd name="connsiteX137" fmla="*/ 2333 w 35190"/>
                        <a:gd name="connsiteY137" fmla="*/ 31963 h 38601"/>
                        <a:gd name="connsiteX138" fmla="*/ 2213 w 35190"/>
                        <a:gd name="connsiteY138" fmla="*/ 31724 h 38601"/>
                        <a:gd name="connsiteX139" fmla="*/ 1854 w 35190"/>
                        <a:gd name="connsiteY139" fmla="*/ 31006 h 38601"/>
                        <a:gd name="connsiteX140" fmla="*/ 1555 w 35190"/>
                        <a:gd name="connsiteY140" fmla="*/ 30228 h 38601"/>
                        <a:gd name="connsiteX141" fmla="*/ 1316 w 35190"/>
                        <a:gd name="connsiteY141" fmla="*/ 29391 h 38601"/>
                        <a:gd name="connsiteX142" fmla="*/ 1136 w 35190"/>
                        <a:gd name="connsiteY142" fmla="*/ 28554 h 38601"/>
                        <a:gd name="connsiteX143" fmla="*/ 778 w 35190"/>
                        <a:gd name="connsiteY143" fmla="*/ 25204 h 38601"/>
                        <a:gd name="connsiteX144" fmla="*/ 1076 w 35190"/>
                        <a:gd name="connsiteY144" fmla="*/ 21676 h 38601"/>
                        <a:gd name="connsiteX145" fmla="*/ 2033 w 35190"/>
                        <a:gd name="connsiteY145" fmla="*/ 18087 h 38601"/>
                        <a:gd name="connsiteX146" fmla="*/ 3588 w 35190"/>
                        <a:gd name="connsiteY146" fmla="*/ 14499 h 38601"/>
                        <a:gd name="connsiteX147" fmla="*/ 7775 w 35190"/>
                        <a:gd name="connsiteY147" fmla="*/ 8518 h 38601"/>
                        <a:gd name="connsiteX148" fmla="*/ 13098 w 35190"/>
                        <a:gd name="connsiteY148" fmla="*/ 4093 h 38601"/>
                        <a:gd name="connsiteX149" fmla="*/ 18899 w 35190"/>
                        <a:gd name="connsiteY149" fmla="*/ 1521 h 38601"/>
                        <a:gd name="connsiteX150" fmla="*/ 24641 w 35190"/>
                        <a:gd name="connsiteY150" fmla="*/ 1102 h 38601"/>
                        <a:gd name="connsiteX151" fmla="*/ 25358 w 35190"/>
                        <a:gd name="connsiteY151" fmla="*/ 205 h 38601"/>
                        <a:gd name="connsiteX152" fmla="*/ 19258 w 35190"/>
                        <a:gd name="connsiteY152" fmla="*/ 504 h 38601"/>
                        <a:gd name="connsiteX153" fmla="*/ 13038 w 35190"/>
                        <a:gd name="connsiteY153" fmla="*/ 3136 h 38601"/>
                        <a:gd name="connsiteX154" fmla="*/ 7356 w 35190"/>
                        <a:gd name="connsiteY154" fmla="*/ 7801 h 38601"/>
                        <a:gd name="connsiteX155" fmla="*/ 2871 w 35190"/>
                        <a:gd name="connsiteY155" fmla="*/ 14200 h 38601"/>
                        <a:gd name="connsiteX156" fmla="*/ 1256 w 35190"/>
                        <a:gd name="connsiteY156" fmla="*/ 17968 h 38601"/>
                        <a:gd name="connsiteX157" fmla="*/ 299 w 35190"/>
                        <a:gd name="connsiteY157" fmla="*/ 21736 h 38601"/>
                        <a:gd name="connsiteX158" fmla="*/ 0 w 35190"/>
                        <a:gd name="connsiteY158" fmla="*/ 25444 h 38601"/>
                        <a:gd name="connsiteX159" fmla="*/ 359 w 35190"/>
                        <a:gd name="connsiteY159" fmla="*/ 28912 h 38601"/>
                        <a:gd name="connsiteX160" fmla="*/ 598 w 35190"/>
                        <a:gd name="connsiteY160" fmla="*/ 29929 h 38601"/>
                        <a:gd name="connsiteX161" fmla="*/ 897 w 35190"/>
                        <a:gd name="connsiteY161" fmla="*/ 30886 h 38601"/>
                        <a:gd name="connsiteX162" fmla="*/ 1256 w 35190"/>
                        <a:gd name="connsiteY162" fmla="*/ 31843 h 38601"/>
                        <a:gd name="connsiteX163" fmla="*/ 1674 w 35190"/>
                        <a:gd name="connsiteY163" fmla="*/ 32740 h 38601"/>
                        <a:gd name="connsiteX164" fmla="*/ 1794 w 35190"/>
                        <a:gd name="connsiteY164" fmla="*/ 32919 h 38601"/>
                        <a:gd name="connsiteX165" fmla="*/ 1914 w 35190"/>
                        <a:gd name="connsiteY165" fmla="*/ 33099 h 38601"/>
                        <a:gd name="connsiteX166" fmla="*/ 2033 w 35190"/>
                        <a:gd name="connsiteY166" fmla="*/ 33279 h 38601"/>
                        <a:gd name="connsiteX167" fmla="*/ 2153 w 35190"/>
                        <a:gd name="connsiteY167" fmla="*/ 33458 h 38601"/>
                        <a:gd name="connsiteX168" fmla="*/ 2632 w 35190"/>
                        <a:gd name="connsiteY168" fmla="*/ 34176 h 38601"/>
                        <a:gd name="connsiteX169" fmla="*/ 3170 w 35190"/>
                        <a:gd name="connsiteY169" fmla="*/ 34833 h 38601"/>
                        <a:gd name="connsiteX170" fmla="*/ 3768 w 35190"/>
                        <a:gd name="connsiteY170" fmla="*/ 35432 h 38601"/>
                        <a:gd name="connsiteX171" fmla="*/ 4545 w 35190"/>
                        <a:gd name="connsiteY171" fmla="*/ 36030 h 3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35190" h="38601">
                          <a:moveTo>
                            <a:pt x="28528" y="2298"/>
                          </a:moveTo>
                          <a:cubicBezTo>
                            <a:pt x="28707" y="2358"/>
                            <a:pt x="28827" y="2478"/>
                            <a:pt x="29006" y="2598"/>
                          </a:cubicBezTo>
                          <a:cubicBezTo>
                            <a:pt x="29186" y="2717"/>
                            <a:pt x="29305" y="2777"/>
                            <a:pt x="29485" y="2896"/>
                          </a:cubicBezTo>
                          <a:cubicBezTo>
                            <a:pt x="29605" y="3016"/>
                            <a:pt x="29784" y="3076"/>
                            <a:pt x="29904" y="3195"/>
                          </a:cubicBezTo>
                          <a:cubicBezTo>
                            <a:pt x="30023" y="3315"/>
                            <a:pt x="30203" y="3435"/>
                            <a:pt x="30322" y="3554"/>
                          </a:cubicBezTo>
                          <a:cubicBezTo>
                            <a:pt x="30322" y="3554"/>
                            <a:pt x="30322" y="3554"/>
                            <a:pt x="30322" y="3554"/>
                          </a:cubicBezTo>
                          <a:cubicBezTo>
                            <a:pt x="30322" y="3554"/>
                            <a:pt x="30322" y="3554"/>
                            <a:pt x="30322" y="3554"/>
                          </a:cubicBezTo>
                          <a:cubicBezTo>
                            <a:pt x="30322" y="3554"/>
                            <a:pt x="30322" y="3554"/>
                            <a:pt x="30322" y="3554"/>
                          </a:cubicBezTo>
                          <a:cubicBezTo>
                            <a:pt x="30322" y="3554"/>
                            <a:pt x="30322" y="3554"/>
                            <a:pt x="30322" y="3554"/>
                          </a:cubicBezTo>
                          <a:lnTo>
                            <a:pt x="30980" y="2717"/>
                          </a:lnTo>
                          <a:cubicBezTo>
                            <a:pt x="30980" y="2717"/>
                            <a:pt x="30980" y="2717"/>
                            <a:pt x="30920" y="2717"/>
                          </a:cubicBezTo>
                          <a:cubicBezTo>
                            <a:pt x="30920" y="2717"/>
                            <a:pt x="30920" y="2717"/>
                            <a:pt x="30860" y="2717"/>
                          </a:cubicBezTo>
                          <a:cubicBezTo>
                            <a:pt x="30860" y="2717"/>
                            <a:pt x="30860" y="2717"/>
                            <a:pt x="30801" y="2717"/>
                          </a:cubicBezTo>
                          <a:cubicBezTo>
                            <a:pt x="30801" y="2717"/>
                            <a:pt x="30801" y="2717"/>
                            <a:pt x="30741" y="2717"/>
                          </a:cubicBezTo>
                          <a:cubicBezTo>
                            <a:pt x="30621" y="2598"/>
                            <a:pt x="30442" y="2478"/>
                            <a:pt x="30322" y="2358"/>
                          </a:cubicBezTo>
                          <a:cubicBezTo>
                            <a:pt x="30203" y="2239"/>
                            <a:pt x="30023" y="2179"/>
                            <a:pt x="29904" y="2059"/>
                          </a:cubicBezTo>
                          <a:cubicBezTo>
                            <a:pt x="29784" y="1939"/>
                            <a:pt x="29605" y="1880"/>
                            <a:pt x="29485" y="1760"/>
                          </a:cubicBezTo>
                          <a:cubicBezTo>
                            <a:pt x="29305" y="1640"/>
                            <a:pt x="29186" y="1581"/>
                            <a:pt x="29006" y="1521"/>
                          </a:cubicBezTo>
                          <a:lnTo>
                            <a:pt x="28528" y="2298"/>
                          </a:lnTo>
                          <a:moveTo>
                            <a:pt x="25537" y="1162"/>
                          </a:moveTo>
                          <a:cubicBezTo>
                            <a:pt x="25657" y="1162"/>
                            <a:pt x="25777" y="1222"/>
                            <a:pt x="25956" y="1282"/>
                          </a:cubicBezTo>
                          <a:cubicBezTo>
                            <a:pt x="26076" y="1341"/>
                            <a:pt x="26196" y="1341"/>
                            <a:pt x="26375" y="1401"/>
                          </a:cubicBezTo>
                          <a:cubicBezTo>
                            <a:pt x="26495" y="1461"/>
                            <a:pt x="26614" y="1461"/>
                            <a:pt x="26734" y="1521"/>
                          </a:cubicBezTo>
                          <a:cubicBezTo>
                            <a:pt x="26853" y="1581"/>
                            <a:pt x="26973" y="1581"/>
                            <a:pt x="27092" y="1640"/>
                          </a:cubicBezTo>
                          <a:cubicBezTo>
                            <a:pt x="27152" y="1640"/>
                            <a:pt x="27212" y="1700"/>
                            <a:pt x="27272" y="1700"/>
                          </a:cubicBezTo>
                          <a:cubicBezTo>
                            <a:pt x="27332" y="1700"/>
                            <a:pt x="27392" y="1760"/>
                            <a:pt x="27451" y="1760"/>
                          </a:cubicBezTo>
                          <a:cubicBezTo>
                            <a:pt x="27511" y="1760"/>
                            <a:pt x="27571" y="1820"/>
                            <a:pt x="27631" y="1820"/>
                          </a:cubicBezTo>
                          <a:cubicBezTo>
                            <a:pt x="27691" y="1820"/>
                            <a:pt x="27751" y="1880"/>
                            <a:pt x="27810" y="1880"/>
                          </a:cubicBezTo>
                          <a:lnTo>
                            <a:pt x="28468" y="1042"/>
                          </a:lnTo>
                          <a:cubicBezTo>
                            <a:pt x="28408" y="983"/>
                            <a:pt x="28289" y="983"/>
                            <a:pt x="28229" y="923"/>
                          </a:cubicBezTo>
                          <a:cubicBezTo>
                            <a:pt x="28169" y="863"/>
                            <a:pt x="28050" y="863"/>
                            <a:pt x="27990" y="803"/>
                          </a:cubicBezTo>
                          <a:cubicBezTo>
                            <a:pt x="27930" y="744"/>
                            <a:pt x="27810" y="744"/>
                            <a:pt x="27751" y="684"/>
                          </a:cubicBezTo>
                          <a:cubicBezTo>
                            <a:pt x="27691" y="624"/>
                            <a:pt x="27571" y="624"/>
                            <a:pt x="27511" y="564"/>
                          </a:cubicBezTo>
                          <a:cubicBezTo>
                            <a:pt x="27392" y="504"/>
                            <a:pt x="27272" y="504"/>
                            <a:pt x="27152" y="444"/>
                          </a:cubicBezTo>
                          <a:cubicBezTo>
                            <a:pt x="27033" y="385"/>
                            <a:pt x="26913" y="385"/>
                            <a:pt x="26794" y="325"/>
                          </a:cubicBezTo>
                          <a:cubicBezTo>
                            <a:pt x="26674" y="265"/>
                            <a:pt x="26554" y="265"/>
                            <a:pt x="26435" y="205"/>
                          </a:cubicBezTo>
                          <a:cubicBezTo>
                            <a:pt x="26315" y="145"/>
                            <a:pt x="26196" y="145"/>
                            <a:pt x="26076" y="145"/>
                          </a:cubicBezTo>
                          <a:lnTo>
                            <a:pt x="25537" y="1162"/>
                          </a:lnTo>
                          <a:moveTo>
                            <a:pt x="33432" y="7980"/>
                          </a:moveTo>
                          <a:lnTo>
                            <a:pt x="34090" y="7143"/>
                          </a:lnTo>
                          <a:cubicBezTo>
                            <a:pt x="33911" y="6784"/>
                            <a:pt x="33791" y="6425"/>
                            <a:pt x="33612" y="6066"/>
                          </a:cubicBezTo>
                          <a:cubicBezTo>
                            <a:pt x="33432" y="5707"/>
                            <a:pt x="33253" y="5408"/>
                            <a:pt x="33013" y="5049"/>
                          </a:cubicBezTo>
                          <a:cubicBezTo>
                            <a:pt x="32774" y="4750"/>
                            <a:pt x="32595" y="4392"/>
                            <a:pt x="32356" y="4093"/>
                          </a:cubicBezTo>
                          <a:cubicBezTo>
                            <a:pt x="32116" y="3793"/>
                            <a:pt x="31877" y="3494"/>
                            <a:pt x="31578" y="3255"/>
                          </a:cubicBezTo>
                          <a:lnTo>
                            <a:pt x="30920" y="4093"/>
                          </a:lnTo>
                          <a:cubicBezTo>
                            <a:pt x="31219" y="4392"/>
                            <a:pt x="31459" y="4631"/>
                            <a:pt x="31698" y="4930"/>
                          </a:cubicBezTo>
                          <a:cubicBezTo>
                            <a:pt x="31937" y="5229"/>
                            <a:pt x="32176" y="5528"/>
                            <a:pt x="32356" y="5887"/>
                          </a:cubicBezTo>
                          <a:cubicBezTo>
                            <a:pt x="32595" y="6186"/>
                            <a:pt x="32774" y="6545"/>
                            <a:pt x="32954" y="6903"/>
                          </a:cubicBezTo>
                          <a:cubicBezTo>
                            <a:pt x="33133" y="7202"/>
                            <a:pt x="33313" y="7561"/>
                            <a:pt x="33432" y="7980"/>
                          </a:cubicBezTo>
                          <a:moveTo>
                            <a:pt x="4545" y="36030"/>
                          </a:moveTo>
                          <a:cubicBezTo>
                            <a:pt x="4605" y="36089"/>
                            <a:pt x="4665" y="36149"/>
                            <a:pt x="4725" y="36209"/>
                          </a:cubicBezTo>
                          <a:cubicBezTo>
                            <a:pt x="4785" y="36269"/>
                            <a:pt x="4844" y="36329"/>
                            <a:pt x="4904" y="36388"/>
                          </a:cubicBezTo>
                          <a:cubicBezTo>
                            <a:pt x="4964" y="36448"/>
                            <a:pt x="5024" y="36508"/>
                            <a:pt x="5083" y="36508"/>
                          </a:cubicBezTo>
                          <a:cubicBezTo>
                            <a:pt x="5143" y="36568"/>
                            <a:pt x="5203" y="36628"/>
                            <a:pt x="5263" y="36628"/>
                          </a:cubicBezTo>
                          <a:cubicBezTo>
                            <a:pt x="5323" y="36687"/>
                            <a:pt x="5382" y="36687"/>
                            <a:pt x="5442" y="36747"/>
                          </a:cubicBezTo>
                          <a:cubicBezTo>
                            <a:pt x="5502" y="36807"/>
                            <a:pt x="5562" y="36807"/>
                            <a:pt x="5622" y="36867"/>
                          </a:cubicBezTo>
                          <a:cubicBezTo>
                            <a:pt x="5682" y="36927"/>
                            <a:pt x="5741" y="36927"/>
                            <a:pt x="5801" y="36987"/>
                          </a:cubicBezTo>
                          <a:cubicBezTo>
                            <a:pt x="5861" y="37046"/>
                            <a:pt x="5921" y="37046"/>
                            <a:pt x="5981" y="37106"/>
                          </a:cubicBezTo>
                          <a:cubicBezTo>
                            <a:pt x="6160" y="37226"/>
                            <a:pt x="6280" y="37286"/>
                            <a:pt x="6459" y="37345"/>
                          </a:cubicBezTo>
                          <a:cubicBezTo>
                            <a:pt x="6639" y="37405"/>
                            <a:pt x="6758" y="37525"/>
                            <a:pt x="6937" y="37585"/>
                          </a:cubicBezTo>
                          <a:cubicBezTo>
                            <a:pt x="7117" y="37644"/>
                            <a:pt x="7296" y="37704"/>
                            <a:pt x="7476" y="37824"/>
                          </a:cubicBezTo>
                          <a:cubicBezTo>
                            <a:pt x="7655" y="37943"/>
                            <a:pt x="7835" y="37943"/>
                            <a:pt x="8014" y="38003"/>
                          </a:cubicBezTo>
                          <a:cubicBezTo>
                            <a:pt x="8253" y="38123"/>
                            <a:pt x="8552" y="38183"/>
                            <a:pt x="8791" y="38242"/>
                          </a:cubicBezTo>
                          <a:cubicBezTo>
                            <a:pt x="9031" y="38302"/>
                            <a:pt x="9330" y="38362"/>
                            <a:pt x="9629" y="38422"/>
                          </a:cubicBezTo>
                          <a:cubicBezTo>
                            <a:pt x="9928" y="38482"/>
                            <a:pt x="10167" y="38541"/>
                            <a:pt x="10466" y="38541"/>
                          </a:cubicBezTo>
                          <a:cubicBezTo>
                            <a:pt x="10765" y="38601"/>
                            <a:pt x="11004" y="38601"/>
                            <a:pt x="11304" y="38601"/>
                          </a:cubicBezTo>
                          <a:cubicBezTo>
                            <a:pt x="11363" y="38601"/>
                            <a:pt x="11423" y="38601"/>
                            <a:pt x="11483" y="38601"/>
                          </a:cubicBezTo>
                          <a:cubicBezTo>
                            <a:pt x="11543" y="38601"/>
                            <a:pt x="11603" y="38601"/>
                            <a:pt x="11662" y="38601"/>
                          </a:cubicBezTo>
                          <a:cubicBezTo>
                            <a:pt x="11722" y="38601"/>
                            <a:pt x="11782" y="38601"/>
                            <a:pt x="11842" y="38601"/>
                          </a:cubicBezTo>
                          <a:cubicBezTo>
                            <a:pt x="11902" y="38601"/>
                            <a:pt x="11961" y="38601"/>
                            <a:pt x="12021" y="38601"/>
                          </a:cubicBezTo>
                          <a:cubicBezTo>
                            <a:pt x="12619" y="38601"/>
                            <a:pt x="13158" y="38601"/>
                            <a:pt x="13756" y="38541"/>
                          </a:cubicBezTo>
                          <a:cubicBezTo>
                            <a:pt x="14354" y="38482"/>
                            <a:pt x="14952" y="38362"/>
                            <a:pt x="15550" y="38242"/>
                          </a:cubicBezTo>
                          <a:cubicBezTo>
                            <a:pt x="16148" y="38123"/>
                            <a:pt x="16746" y="37943"/>
                            <a:pt x="17344" y="37764"/>
                          </a:cubicBezTo>
                          <a:cubicBezTo>
                            <a:pt x="17942" y="37585"/>
                            <a:pt x="18540" y="37345"/>
                            <a:pt x="19198" y="37046"/>
                          </a:cubicBezTo>
                          <a:cubicBezTo>
                            <a:pt x="19258" y="36987"/>
                            <a:pt x="19377" y="36987"/>
                            <a:pt x="19437" y="36927"/>
                          </a:cubicBezTo>
                          <a:cubicBezTo>
                            <a:pt x="19497" y="36867"/>
                            <a:pt x="19617" y="36867"/>
                            <a:pt x="19676" y="36807"/>
                          </a:cubicBezTo>
                          <a:cubicBezTo>
                            <a:pt x="19736" y="36747"/>
                            <a:pt x="19856" y="36747"/>
                            <a:pt x="19916" y="36687"/>
                          </a:cubicBezTo>
                          <a:cubicBezTo>
                            <a:pt x="19975" y="36628"/>
                            <a:pt x="20095" y="36628"/>
                            <a:pt x="20155" y="36568"/>
                          </a:cubicBezTo>
                          <a:cubicBezTo>
                            <a:pt x="20215" y="36508"/>
                            <a:pt x="20334" y="36508"/>
                            <a:pt x="20394" y="36448"/>
                          </a:cubicBezTo>
                          <a:cubicBezTo>
                            <a:pt x="20454" y="36388"/>
                            <a:pt x="20574" y="36388"/>
                            <a:pt x="20634" y="36329"/>
                          </a:cubicBezTo>
                          <a:cubicBezTo>
                            <a:pt x="20693" y="36269"/>
                            <a:pt x="20813" y="36269"/>
                            <a:pt x="20873" y="36209"/>
                          </a:cubicBezTo>
                          <a:cubicBezTo>
                            <a:pt x="20933" y="36149"/>
                            <a:pt x="21052" y="36149"/>
                            <a:pt x="21112" y="36089"/>
                          </a:cubicBezTo>
                          <a:cubicBezTo>
                            <a:pt x="22248" y="35432"/>
                            <a:pt x="23384" y="34714"/>
                            <a:pt x="24401" y="33936"/>
                          </a:cubicBezTo>
                          <a:cubicBezTo>
                            <a:pt x="25478" y="33099"/>
                            <a:pt x="26435" y="32202"/>
                            <a:pt x="27392" y="31245"/>
                          </a:cubicBezTo>
                          <a:cubicBezTo>
                            <a:pt x="28349" y="30288"/>
                            <a:pt x="29186" y="29211"/>
                            <a:pt x="30023" y="28075"/>
                          </a:cubicBezTo>
                          <a:cubicBezTo>
                            <a:pt x="30801" y="26939"/>
                            <a:pt x="31578" y="25803"/>
                            <a:pt x="32236" y="24547"/>
                          </a:cubicBezTo>
                          <a:cubicBezTo>
                            <a:pt x="33013" y="23051"/>
                            <a:pt x="33612" y="21556"/>
                            <a:pt x="34090" y="20121"/>
                          </a:cubicBezTo>
                          <a:cubicBezTo>
                            <a:pt x="34568" y="18626"/>
                            <a:pt x="34868" y="17190"/>
                            <a:pt x="35047" y="15755"/>
                          </a:cubicBezTo>
                          <a:cubicBezTo>
                            <a:pt x="35227" y="14319"/>
                            <a:pt x="35227" y="12944"/>
                            <a:pt x="35107" y="11628"/>
                          </a:cubicBezTo>
                          <a:cubicBezTo>
                            <a:pt x="34987" y="10313"/>
                            <a:pt x="34688" y="9056"/>
                            <a:pt x="34329" y="7920"/>
                          </a:cubicBezTo>
                          <a:lnTo>
                            <a:pt x="33671" y="8817"/>
                          </a:lnTo>
                          <a:cubicBezTo>
                            <a:pt x="34030" y="9894"/>
                            <a:pt x="34269" y="11090"/>
                            <a:pt x="34329" y="12286"/>
                          </a:cubicBezTo>
                          <a:cubicBezTo>
                            <a:pt x="34449" y="13542"/>
                            <a:pt x="34389" y="14798"/>
                            <a:pt x="34210" y="16114"/>
                          </a:cubicBezTo>
                          <a:cubicBezTo>
                            <a:pt x="34030" y="17430"/>
                            <a:pt x="33731" y="18805"/>
                            <a:pt x="33313" y="20181"/>
                          </a:cubicBezTo>
                          <a:cubicBezTo>
                            <a:pt x="32894" y="21556"/>
                            <a:pt x="32296" y="22932"/>
                            <a:pt x="31578" y="24308"/>
                          </a:cubicBezTo>
                          <a:cubicBezTo>
                            <a:pt x="30980" y="25503"/>
                            <a:pt x="30262" y="26580"/>
                            <a:pt x="29485" y="27657"/>
                          </a:cubicBezTo>
                          <a:cubicBezTo>
                            <a:pt x="28707" y="28733"/>
                            <a:pt x="27870" y="29750"/>
                            <a:pt x="26973" y="30647"/>
                          </a:cubicBezTo>
                          <a:cubicBezTo>
                            <a:pt x="26076" y="31604"/>
                            <a:pt x="25119" y="32441"/>
                            <a:pt x="24102" y="33219"/>
                          </a:cubicBezTo>
                          <a:cubicBezTo>
                            <a:pt x="23086" y="33996"/>
                            <a:pt x="22069" y="34714"/>
                            <a:pt x="20933" y="35312"/>
                          </a:cubicBezTo>
                          <a:cubicBezTo>
                            <a:pt x="20933" y="35312"/>
                            <a:pt x="20873" y="35312"/>
                            <a:pt x="20873" y="35372"/>
                          </a:cubicBezTo>
                          <a:cubicBezTo>
                            <a:pt x="20873" y="35432"/>
                            <a:pt x="20813" y="35372"/>
                            <a:pt x="20813" y="35432"/>
                          </a:cubicBezTo>
                          <a:cubicBezTo>
                            <a:pt x="20813" y="35432"/>
                            <a:pt x="20753" y="35432"/>
                            <a:pt x="20753" y="35491"/>
                          </a:cubicBezTo>
                          <a:cubicBezTo>
                            <a:pt x="20753" y="35491"/>
                            <a:pt x="20693" y="35491"/>
                            <a:pt x="20693" y="35551"/>
                          </a:cubicBezTo>
                          <a:cubicBezTo>
                            <a:pt x="20634" y="35611"/>
                            <a:pt x="20514" y="35671"/>
                            <a:pt x="20454" y="35671"/>
                          </a:cubicBezTo>
                          <a:cubicBezTo>
                            <a:pt x="20394" y="35731"/>
                            <a:pt x="20275" y="35731"/>
                            <a:pt x="20215" y="35790"/>
                          </a:cubicBezTo>
                          <a:cubicBezTo>
                            <a:pt x="20155" y="35850"/>
                            <a:pt x="20035" y="35850"/>
                            <a:pt x="19975" y="35910"/>
                          </a:cubicBezTo>
                          <a:cubicBezTo>
                            <a:pt x="19916" y="35970"/>
                            <a:pt x="19796" y="35970"/>
                            <a:pt x="19736" y="36030"/>
                          </a:cubicBezTo>
                          <a:cubicBezTo>
                            <a:pt x="19138" y="36329"/>
                            <a:pt x="18480" y="36568"/>
                            <a:pt x="17882" y="36807"/>
                          </a:cubicBezTo>
                          <a:cubicBezTo>
                            <a:pt x="17284" y="37046"/>
                            <a:pt x="16626" y="37226"/>
                            <a:pt x="16028" y="37345"/>
                          </a:cubicBezTo>
                          <a:cubicBezTo>
                            <a:pt x="15430" y="37465"/>
                            <a:pt x="14832" y="37585"/>
                            <a:pt x="14234" y="37644"/>
                          </a:cubicBezTo>
                          <a:cubicBezTo>
                            <a:pt x="13636" y="37704"/>
                            <a:pt x="13038" y="37764"/>
                            <a:pt x="12440" y="37764"/>
                          </a:cubicBezTo>
                          <a:cubicBezTo>
                            <a:pt x="12380" y="37764"/>
                            <a:pt x="12320" y="37764"/>
                            <a:pt x="12260" y="37764"/>
                          </a:cubicBezTo>
                          <a:cubicBezTo>
                            <a:pt x="12201" y="37764"/>
                            <a:pt x="12141" y="37764"/>
                            <a:pt x="12081" y="37764"/>
                          </a:cubicBezTo>
                          <a:cubicBezTo>
                            <a:pt x="12021" y="37764"/>
                            <a:pt x="11961" y="37764"/>
                            <a:pt x="11902" y="37764"/>
                          </a:cubicBezTo>
                          <a:cubicBezTo>
                            <a:pt x="11842" y="37764"/>
                            <a:pt x="11782" y="37764"/>
                            <a:pt x="11722" y="37764"/>
                          </a:cubicBezTo>
                          <a:cubicBezTo>
                            <a:pt x="11423" y="37764"/>
                            <a:pt x="11184" y="37704"/>
                            <a:pt x="10885" y="37704"/>
                          </a:cubicBezTo>
                          <a:cubicBezTo>
                            <a:pt x="10586" y="37644"/>
                            <a:pt x="10347" y="37644"/>
                            <a:pt x="10048" y="37585"/>
                          </a:cubicBezTo>
                          <a:cubicBezTo>
                            <a:pt x="9749" y="37525"/>
                            <a:pt x="9509" y="37465"/>
                            <a:pt x="9270" y="37405"/>
                          </a:cubicBezTo>
                          <a:cubicBezTo>
                            <a:pt x="9031" y="37345"/>
                            <a:pt x="8732" y="37226"/>
                            <a:pt x="8493" y="37166"/>
                          </a:cubicBezTo>
                          <a:cubicBezTo>
                            <a:pt x="8313" y="37106"/>
                            <a:pt x="8134" y="37046"/>
                            <a:pt x="7954" y="36987"/>
                          </a:cubicBezTo>
                          <a:cubicBezTo>
                            <a:pt x="7775" y="36927"/>
                            <a:pt x="7595" y="36867"/>
                            <a:pt x="7416" y="36747"/>
                          </a:cubicBezTo>
                          <a:cubicBezTo>
                            <a:pt x="7236" y="36687"/>
                            <a:pt x="7057" y="36568"/>
                            <a:pt x="6937" y="36508"/>
                          </a:cubicBezTo>
                          <a:cubicBezTo>
                            <a:pt x="6758" y="36448"/>
                            <a:pt x="6639" y="36329"/>
                            <a:pt x="6459" y="36209"/>
                          </a:cubicBezTo>
                          <a:cubicBezTo>
                            <a:pt x="6399" y="36149"/>
                            <a:pt x="6340" y="36149"/>
                            <a:pt x="6280" y="36089"/>
                          </a:cubicBezTo>
                          <a:cubicBezTo>
                            <a:pt x="6220" y="36030"/>
                            <a:pt x="6160" y="36030"/>
                            <a:pt x="6100" y="35970"/>
                          </a:cubicBezTo>
                          <a:cubicBezTo>
                            <a:pt x="6041" y="35910"/>
                            <a:pt x="5981" y="35910"/>
                            <a:pt x="5921" y="35850"/>
                          </a:cubicBezTo>
                          <a:cubicBezTo>
                            <a:pt x="5861" y="35790"/>
                            <a:pt x="5801" y="35790"/>
                            <a:pt x="5741" y="35731"/>
                          </a:cubicBezTo>
                          <a:cubicBezTo>
                            <a:pt x="5682" y="35671"/>
                            <a:pt x="5622" y="35671"/>
                            <a:pt x="5562" y="35611"/>
                          </a:cubicBezTo>
                          <a:cubicBezTo>
                            <a:pt x="5502" y="35551"/>
                            <a:pt x="5442" y="35551"/>
                            <a:pt x="5442" y="35491"/>
                          </a:cubicBezTo>
                          <a:cubicBezTo>
                            <a:pt x="5382" y="35432"/>
                            <a:pt x="5323" y="35432"/>
                            <a:pt x="5323" y="35372"/>
                          </a:cubicBezTo>
                          <a:cubicBezTo>
                            <a:pt x="5263" y="35312"/>
                            <a:pt x="5203" y="35312"/>
                            <a:pt x="5203" y="35252"/>
                          </a:cubicBezTo>
                          <a:cubicBezTo>
                            <a:pt x="4964" y="35073"/>
                            <a:pt x="4725" y="34833"/>
                            <a:pt x="4486" y="34654"/>
                          </a:cubicBezTo>
                          <a:cubicBezTo>
                            <a:pt x="4246" y="34474"/>
                            <a:pt x="4067" y="34235"/>
                            <a:pt x="3828" y="33996"/>
                          </a:cubicBezTo>
                          <a:cubicBezTo>
                            <a:pt x="3588" y="33757"/>
                            <a:pt x="3409" y="33518"/>
                            <a:pt x="3229" y="33279"/>
                          </a:cubicBezTo>
                          <a:cubicBezTo>
                            <a:pt x="3050" y="33039"/>
                            <a:pt x="2871" y="32740"/>
                            <a:pt x="2691" y="32501"/>
                          </a:cubicBezTo>
                          <a:cubicBezTo>
                            <a:pt x="2632" y="32441"/>
                            <a:pt x="2632" y="32381"/>
                            <a:pt x="2572" y="32322"/>
                          </a:cubicBezTo>
                          <a:cubicBezTo>
                            <a:pt x="2512" y="32262"/>
                            <a:pt x="2512" y="32202"/>
                            <a:pt x="2452" y="32142"/>
                          </a:cubicBezTo>
                          <a:cubicBezTo>
                            <a:pt x="2392" y="32082"/>
                            <a:pt x="2392" y="32023"/>
                            <a:pt x="2333" y="31963"/>
                          </a:cubicBezTo>
                          <a:cubicBezTo>
                            <a:pt x="2273" y="31903"/>
                            <a:pt x="2273" y="31843"/>
                            <a:pt x="2213" y="31724"/>
                          </a:cubicBezTo>
                          <a:cubicBezTo>
                            <a:pt x="2093" y="31484"/>
                            <a:pt x="1974" y="31245"/>
                            <a:pt x="1854" y="31006"/>
                          </a:cubicBezTo>
                          <a:cubicBezTo>
                            <a:pt x="1734" y="30766"/>
                            <a:pt x="1674" y="30468"/>
                            <a:pt x="1555" y="30228"/>
                          </a:cubicBezTo>
                          <a:cubicBezTo>
                            <a:pt x="1435" y="29989"/>
                            <a:pt x="1375" y="29690"/>
                            <a:pt x="1316" y="29391"/>
                          </a:cubicBezTo>
                          <a:cubicBezTo>
                            <a:pt x="1256" y="29092"/>
                            <a:pt x="1196" y="28853"/>
                            <a:pt x="1136" y="28554"/>
                          </a:cubicBezTo>
                          <a:cubicBezTo>
                            <a:pt x="897" y="27477"/>
                            <a:pt x="778" y="26341"/>
                            <a:pt x="778" y="25204"/>
                          </a:cubicBezTo>
                          <a:cubicBezTo>
                            <a:pt x="778" y="24068"/>
                            <a:pt x="837" y="22872"/>
                            <a:pt x="1076" y="21676"/>
                          </a:cubicBezTo>
                          <a:cubicBezTo>
                            <a:pt x="1256" y="20480"/>
                            <a:pt x="1615" y="19284"/>
                            <a:pt x="2033" y="18087"/>
                          </a:cubicBezTo>
                          <a:cubicBezTo>
                            <a:pt x="2452" y="16891"/>
                            <a:pt x="2990" y="15695"/>
                            <a:pt x="3588" y="14499"/>
                          </a:cubicBezTo>
                          <a:cubicBezTo>
                            <a:pt x="4725" y="12286"/>
                            <a:pt x="6160" y="10253"/>
                            <a:pt x="7775" y="8518"/>
                          </a:cubicBezTo>
                          <a:cubicBezTo>
                            <a:pt x="9390" y="6784"/>
                            <a:pt x="11184" y="5289"/>
                            <a:pt x="13098" y="4093"/>
                          </a:cubicBezTo>
                          <a:cubicBezTo>
                            <a:pt x="14952" y="2896"/>
                            <a:pt x="16926" y="2059"/>
                            <a:pt x="18899" y="1521"/>
                          </a:cubicBezTo>
                          <a:cubicBezTo>
                            <a:pt x="20873" y="1042"/>
                            <a:pt x="22787" y="863"/>
                            <a:pt x="24641" y="1102"/>
                          </a:cubicBezTo>
                          <a:lnTo>
                            <a:pt x="25358" y="205"/>
                          </a:lnTo>
                          <a:cubicBezTo>
                            <a:pt x="23384" y="-154"/>
                            <a:pt x="21351" y="-34"/>
                            <a:pt x="19258" y="504"/>
                          </a:cubicBezTo>
                          <a:cubicBezTo>
                            <a:pt x="17165" y="983"/>
                            <a:pt x="15071" y="1939"/>
                            <a:pt x="13038" y="3136"/>
                          </a:cubicBezTo>
                          <a:cubicBezTo>
                            <a:pt x="11004" y="4392"/>
                            <a:pt x="9090" y="5947"/>
                            <a:pt x="7356" y="7801"/>
                          </a:cubicBezTo>
                          <a:cubicBezTo>
                            <a:pt x="5622" y="9655"/>
                            <a:pt x="4067" y="11808"/>
                            <a:pt x="2871" y="14200"/>
                          </a:cubicBezTo>
                          <a:cubicBezTo>
                            <a:pt x="2213" y="15456"/>
                            <a:pt x="1674" y="16712"/>
                            <a:pt x="1256" y="17968"/>
                          </a:cubicBezTo>
                          <a:cubicBezTo>
                            <a:pt x="837" y="19224"/>
                            <a:pt x="479" y="20480"/>
                            <a:pt x="299" y="21736"/>
                          </a:cubicBezTo>
                          <a:cubicBezTo>
                            <a:pt x="60" y="22992"/>
                            <a:pt x="0" y="24248"/>
                            <a:pt x="0" y="25444"/>
                          </a:cubicBezTo>
                          <a:cubicBezTo>
                            <a:pt x="0" y="26640"/>
                            <a:pt x="119" y="27836"/>
                            <a:pt x="359" y="28912"/>
                          </a:cubicBezTo>
                          <a:cubicBezTo>
                            <a:pt x="419" y="29271"/>
                            <a:pt x="538" y="29630"/>
                            <a:pt x="598" y="29929"/>
                          </a:cubicBezTo>
                          <a:cubicBezTo>
                            <a:pt x="718" y="30288"/>
                            <a:pt x="778" y="30587"/>
                            <a:pt x="897" y="30886"/>
                          </a:cubicBezTo>
                          <a:cubicBezTo>
                            <a:pt x="1017" y="31185"/>
                            <a:pt x="1136" y="31544"/>
                            <a:pt x="1256" y="31843"/>
                          </a:cubicBezTo>
                          <a:cubicBezTo>
                            <a:pt x="1375" y="32142"/>
                            <a:pt x="1555" y="32441"/>
                            <a:pt x="1674" y="32740"/>
                          </a:cubicBezTo>
                          <a:cubicBezTo>
                            <a:pt x="1734" y="32800"/>
                            <a:pt x="1734" y="32860"/>
                            <a:pt x="1794" y="32919"/>
                          </a:cubicBezTo>
                          <a:cubicBezTo>
                            <a:pt x="1854" y="32979"/>
                            <a:pt x="1854" y="33039"/>
                            <a:pt x="1914" y="33099"/>
                          </a:cubicBezTo>
                          <a:cubicBezTo>
                            <a:pt x="1974" y="33159"/>
                            <a:pt x="1974" y="33219"/>
                            <a:pt x="2033" y="33279"/>
                          </a:cubicBezTo>
                          <a:cubicBezTo>
                            <a:pt x="2093" y="33338"/>
                            <a:pt x="2093" y="33398"/>
                            <a:pt x="2153" y="33458"/>
                          </a:cubicBezTo>
                          <a:cubicBezTo>
                            <a:pt x="2333" y="33697"/>
                            <a:pt x="2512" y="33936"/>
                            <a:pt x="2632" y="34176"/>
                          </a:cubicBezTo>
                          <a:cubicBezTo>
                            <a:pt x="2811" y="34415"/>
                            <a:pt x="2990" y="34654"/>
                            <a:pt x="3170" y="34833"/>
                          </a:cubicBezTo>
                          <a:cubicBezTo>
                            <a:pt x="3349" y="35073"/>
                            <a:pt x="3588" y="35252"/>
                            <a:pt x="3768" y="35432"/>
                          </a:cubicBezTo>
                          <a:cubicBezTo>
                            <a:pt x="3947" y="35611"/>
                            <a:pt x="4306" y="35850"/>
                            <a:pt x="4545" y="36030"/>
                          </a:cubicBezTo>
                        </a:path>
                      </a:pathLst>
                    </a:custGeom>
                    <a:noFill/>
                    <a:ln w="6350" cap="flat">
                      <a:solidFill>
                        <a:schemeClr val="bg1">
                          <a:alpha val="80000"/>
                        </a:schemeClr>
                      </a:solidFill>
                      <a:prstDash val="solid"/>
                      <a:miter/>
                    </a:ln>
                  </p:spPr>
                  <p:txBody>
                    <a:bodyPr rtlCol="0" anchor="ctr"/>
                    <a:lstStyle/>
                    <a:p>
                      <a:endParaRPr lang="en-GB"/>
                    </a:p>
                  </p:txBody>
                </p:sp>
                <p:sp>
                  <p:nvSpPr>
                    <p:cNvPr id="7394" name="Vrije vorm: vorm 7393">
                      <a:extLst>
                        <a:ext uri="{FF2B5EF4-FFF2-40B4-BE49-F238E27FC236}">
                          <a16:creationId xmlns:a16="http://schemas.microsoft.com/office/drawing/2014/main" id="{4F844C6A-1F61-4DBA-BF0A-55CD3AFDB451}"/>
                        </a:ext>
                      </a:extLst>
                    </p:cNvPr>
                    <p:cNvSpPr/>
                    <p:nvPr/>
                  </p:nvSpPr>
                  <p:spPr>
                    <a:xfrm>
                      <a:off x="5344686" y="5281615"/>
                      <a:ext cx="29812" cy="32797"/>
                    </a:xfrm>
                    <a:custGeom>
                      <a:avLst/>
                      <a:gdLst>
                        <a:gd name="connsiteX0" fmla="*/ 4850 w 29812"/>
                        <a:gd name="connsiteY0" fmla="*/ 29963 h 32797"/>
                        <a:gd name="connsiteX1" fmla="*/ 4730 w 29812"/>
                        <a:gd name="connsiteY1" fmla="*/ 29844 h 32797"/>
                        <a:gd name="connsiteX2" fmla="*/ 4610 w 29812"/>
                        <a:gd name="connsiteY2" fmla="*/ 29724 h 32797"/>
                        <a:gd name="connsiteX3" fmla="*/ 4491 w 29812"/>
                        <a:gd name="connsiteY3" fmla="*/ 29604 h 32797"/>
                        <a:gd name="connsiteX4" fmla="*/ 4371 w 29812"/>
                        <a:gd name="connsiteY4" fmla="*/ 29485 h 32797"/>
                        <a:gd name="connsiteX5" fmla="*/ 4371 w 29812"/>
                        <a:gd name="connsiteY5" fmla="*/ 29485 h 32797"/>
                        <a:gd name="connsiteX6" fmla="*/ 4371 w 29812"/>
                        <a:gd name="connsiteY6" fmla="*/ 29485 h 32797"/>
                        <a:gd name="connsiteX7" fmla="*/ 4371 w 29812"/>
                        <a:gd name="connsiteY7" fmla="*/ 29485 h 32797"/>
                        <a:gd name="connsiteX8" fmla="*/ 4371 w 29812"/>
                        <a:gd name="connsiteY8" fmla="*/ 29485 h 32797"/>
                        <a:gd name="connsiteX9" fmla="*/ 3474 w 29812"/>
                        <a:gd name="connsiteY9" fmla="*/ 28648 h 32797"/>
                        <a:gd name="connsiteX10" fmla="*/ 2756 w 29812"/>
                        <a:gd name="connsiteY10" fmla="*/ 27691 h 32797"/>
                        <a:gd name="connsiteX11" fmla="*/ 2158 w 29812"/>
                        <a:gd name="connsiteY11" fmla="*/ 26614 h 32797"/>
                        <a:gd name="connsiteX12" fmla="*/ 1680 w 29812"/>
                        <a:gd name="connsiteY12" fmla="*/ 25478 h 32797"/>
                        <a:gd name="connsiteX13" fmla="*/ 1560 w 29812"/>
                        <a:gd name="connsiteY13" fmla="*/ 25238 h 32797"/>
                        <a:gd name="connsiteX14" fmla="*/ 1501 w 29812"/>
                        <a:gd name="connsiteY14" fmla="*/ 24999 h 32797"/>
                        <a:gd name="connsiteX15" fmla="*/ 1441 w 29812"/>
                        <a:gd name="connsiteY15" fmla="*/ 24760 h 32797"/>
                        <a:gd name="connsiteX16" fmla="*/ 1381 w 29812"/>
                        <a:gd name="connsiteY16" fmla="*/ 24461 h 32797"/>
                        <a:gd name="connsiteX17" fmla="*/ 962 w 29812"/>
                        <a:gd name="connsiteY17" fmla="*/ 21650 h 32797"/>
                        <a:gd name="connsiteX18" fmla="*/ 1142 w 29812"/>
                        <a:gd name="connsiteY18" fmla="*/ 18600 h 32797"/>
                        <a:gd name="connsiteX19" fmla="*/ 1919 w 29812"/>
                        <a:gd name="connsiteY19" fmla="*/ 15430 h 32797"/>
                        <a:gd name="connsiteX20" fmla="*/ 3295 w 29812"/>
                        <a:gd name="connsiteY20" fmla="*/ 12260 h 32797"/>
                        <a:gd name="connsiteX21" fmla="*/ 5029 w 29812"/>
                        <a:gd name="connsiteY21" fmla="*/ 9390 h 32797"/>
                        <a:gd name="connsiteX22" fmla="*/ 7122 w 29812"/>
                        <a:gd name="connsiteY22" fmla="*/ 6878 h 32797"/>
                        <a:gd name="connsiteX23" fmla="*/ 9515 w 29812"/>
                        <a:gd name="connsiteY23" fmla="*/ 4725 h 32797"/>
                        <a:gd name="connsiteX24" fmla="*/ 12206 w 29812"/>
                        <a:gd name="connsiteY24" fmla="*/ 2990 h 32797"/>
                        <a:gd name="connsiteX25" fmla="*/ 14957 w 29812"/>
                        <a:gd name="connsiteY25" fmla="*/ 1794 h 32797"/>
                        <a:gd name="connsiteX26" fmla="*/ 17649 w 29812"/>
                        <a:gd name="connsiteY26" fmla="*/ 1136 h 32797"/>
                        <a:gd name="connsiteX27" fmla="*/ 20280 w 29812"/>
                        <a:gd name="connsiteY27" fmla="*/ 1076 h 32797"/>
                        <a:gd name="connsiteX28" fmla="*/ 22732 w 29812"/>
                        <a:gd name="connsiteY28" fmla="*/ 1615 h 32797"/>
                        <a:gd name="connsiteX29" fmla="*/ 23450 w 29812"/>
                        <a:gd name="connsiteY29" fmla="*/ 1914 h 32797"/>
                        <a:gd name="connsiteX30" fmla="*/ 24108 w 29812"/>
                        <a:gd name="connsiteY30" fmla="*/ 2273 h 32797"/>
                        <a:gd name="connsiteX31" fmla="*/ 24766 w 29812"/>
                        <a:gd name="connsiteY31" fmla="*/ 2691 h 32797"/>
                        <a:gd name="connsiteX32" fmla="*/ 25364 w 29812"/>
                        <a:gd name="connsiteY32" fmla="*/ 3170 h 32797"/>
                        <a:gd name="connsiteX33" fmla="*/ 27816 w 29812"/>
                        <a:gd name="connsiteY33" fmla="*/ 6399 h 32797"/>
                        <a:gd name="connsiteX34" fmla="*/ 28833 w 29812"/>
                        <a:gd name="connsiteY34" fmla="*/ 10586 h 32797"/>
                        <a:gd name="connsiteX35" fmla="*/ 28414 w 29812"/>
                        <a:gd name="connsiteY35" fmla="*/ 15370 h 32797"/>
                        <a:gd name="connsiteX36" fmla="*/ 26500 w 29812"/>
                        <a:gd name="connsiteY36" fmla="*/ 20334 h 32797"/>
                        <a:gd name="connsiteX37" fmla="*/ 25125 w 29812"/>
                        <a:gd name="connsiteY37" fmla="*/ 22607 h 32797"/>
                        <a:gd name="connsiteX38" fmla="*/ 23569 w 29812"/>
                        <a:gd name="connsiteY38" fmla="*/ 24641 h 32797"/>
                        <a:gd name="connsiteX39" fmla="*/ 21835 w 29812"/>
                        <a:gd name="connsiteY39" fmla="*/ 26435 h 32797"/>
                        <a:gd name="connsiteX40" fmla="*/ 19921 w 29812"/>
                        <a:gd name="connsiteY40" fmla="*/ 27990 h 32797"/>
                        <a:gd name="connsiteX41" fmla="*/ 19622 w 29812"/>
                        <a:gd name="connsiteY41" fmla="*/ 28169 h 32797"/>
                        <a:gd name="connsiteX42" fmla="*/ 19323 w 29812"/>
                        <a:gd name="connsiteY42" fmla="*/ 28349 h 32797"/>
                        <a:gd name="connsiteX43" fmla="*/ 19024 w 29812"/>
                        <a:gd name="connsiteY43" fmla="*/ 28528 h 32797"/>
                        <a:gd name="connsiteX44" fmla="*/ 18725 w 29812"/>
                        <a:gd name="connsiteY44" fmla="*/ 28707 h 32797"/>
                        <a:gd name="connsiteX45" fmla="*/ 16811 w 29812"/>
                        <a:gd name="connsiteY45" fmla="*/ 29784 h 32797"/>
                        <a:gd name="connsiteX46" fmla="*/ 14897 w 29812"/>
                        <a:gd name="connsiteY46" fmla="*/ 30561 h 32797"/>
                        <a:gd name="connsiteX47" fmla="*/ 12983 w 29812"/>
                        <a:gd name="connsiteY47" fmla="*/ 31099 h 32797"/>
                        <a:gd name="connsiteX48" fmla="*/ 11070 w 29812"/>
                        <a:gd name="connsiteY48" fmla="*/ 31339 h 32797"/>
                        <a:gd name="connsiteX49" fmla="*/ 10890 w 29812"/>
                        <a:gd name="connsiteY49" fmla="*/ 31339 h 32797"/>
                        <a:gd name="connsiteX50" fmla="*/ 10711 w 29812"/>
                        <a:gd name="connsiteY50" fmla="*/ 31339 h 32797"/>
                        <a:gd name="connsiteX51" fmla="*/ 10532 w 29812"/>
                        <a:gd name="connsiteY51" fmla="*/ 31339 h 32797"/>
                        <a:gd name="connsiteX52" fmla="*/ 10352 w 29812"/>
                        <a:gd name="connsiteY52" fmla="*/ 31339 h 32797"/>
                        <a:gd name="connsiteX53" fmla="*/ 9574 w 29812"/>
                        <a:gd name="connsiteY53" fmla="*/ 31279 h 32797"/>
                        <a:gd name="connsiteX54" fmla="*/ 8797 w 29812"/>
                        <a:gd name="connsiteY54" fmla="*/ 31159 h 32797"/>
                        <a:gd name="connsiteX55" fmla="*/ 8019 w 29812"/>
                        <a:gd name="connsiteY55" fmla="*/ 30980 h 32797"/>
                        <a:gd name="connsiteX56" fmla="*/ 7302 w 29812"/>
                        <a:gd name="connsiteY56" fmla="*/ 30741 h 32797"/>
                        <a:gd name="connsiteX57" fmla="*/ 6704 w 29812"/>
                        <a:gd name="connsiteY57" fmla="*/ 30502 h 32797"/>
                        <a:gd name="connsiteX58" fmla="*/ 6165 w 29812"/>
                        <a:gd name="connsiteY58" fmla="*/ 30262 h 32797"/>
                        <a:gd name="connsiteX59" fmla="*/ 5627 w 29812"/>
                        <a:gd name="connsiteY59" fmla="*/ 29963 h 32797"/>
                        <a:gd name="connsiteX60" fmla="*/ 4850 w 29812"/>
                        <a:gd name="connsiteY60" fmla="*/ 29963 h 32797"/>
                        <a:gd name="connsiteX61" fmla="*/ 4251 w 29812"/>
                        <a:gd name="connsiteY61" fmla="*/ 29664 h 32797"/>
                        <a:gd name="connsiteX62" fmla="*/ 4850 w 29812"/>
                        <a:gd name="connsiteY62" fmla="*/ 30143 h 32797"/>
                        <a:gd name="connsiteX63" fmla="*/ 5508 w 29812"/>
                        <a:gd name="connsiteY63" fmla="*/ 30561 h 32797"/>
                        <a:gd name="connsiteX64" fmla="*/ 6225 w 29812"/>
                        <a:gd name="connsiteY64" fmla="*/ 30920 h 32797"/>
                        <a:gd name="connsiteX65" fmla="*/ 7003 w 29812"/>
                        <a:gd name="connsiteY65" fmla="*/ 31219 h 32797"/>
                        <a:gd name="connsiteX66" fmla="*/ 12146 w 29812"/>
                        <a:gd name="connsiteY66" fmla="*/ 31638 h 32797"/>
                        <a:gd name="connsiteX67" fmla="*/ 17529 w 29812"/>
                        <a:gd name="connsiteY67" fmla="*/ 29784 h 32797"/>
                        <a:gd name="connsiteX68" fmla="*/ 22493 w 29812"/>
                        <a:gd name="connsiteY68" fmla="*/ 25956 h 32797"/>
                        <a:gd name="connsiteX69" fmla="*/ 26440 w 29812"/>
                        <a:gd name="connsiteY69" fmla="*/ 20574 h 32797"/>
                        <a:gd name="connsiteX70" fmla="*/ 28354 w 29812"/>
                        <a:gd name="connsiteY70" fmla="*/ 15490 h 32797"/>
                        <a:gd name="connsiteX71" fmla="*/ 28773 w 29812"/>
                        <a:gd name="connsiteY71" fmla="*/ 10645 h 32797"/>
                        <a:gd name="connsiteX72" fmla="*/ 27756 w 29812"/>
                        <a:gd name="connsiteY72" fmla="*/ 6399 h 32797"/>
                        <a:gd name="connsiteX73" fmla="*/ 25304 w 29812"/>
                        <a:gd name="connsiteY73" fmla="*/ 3170 h 32797"/>
                        <a:gd name="connsiteX74" fmla="*/ 24706 w 29812"/>
                        <a:gd name="connsiteY74" fmla="*/ 2691 h 32797"/>
                        <a:gd name="connsiteX75" fmla="*/ 24048 w 29812"/>
                        <a:gd name="connsiteY75" fmla="*/ 2273 h 32797"/>
                        <a:gd name="connsiteX76" fmla="*/ 23330 w 29812"/>
                        <a:gd name="connsiteY76" fmla="*/ 1914 h 32797"/>
                        <a:gd name="connsiteX77" fmla="*/ 22612 w 29812"/>
                        <a:gd name="connsiteY77" fmla="*/ 1615 h 32797"/>
                        <a:gd name="connsiteX78" fmla="*/ 20160 w 29812"/>
                        <a:gd name="connsiteY78" fmla="*/ 1076 h 32797"/>
                        <a:gd name="connsiteX79" fmla="*/ 17529 w 29812"/>
                        <a:gd name="connsiteY79" fmla="*/ 1136 h 32797"/>
                        <a:gd name="connsiteX80" fmla="*/ 14778 w 29812"/>
                        <a:gd name="connsiteY80" fmla="*/ 1794 h 32797"/>
                        <a:gd name="connsiteX81" fmla="*/ 11967 w 29812"/>
                        <a:gd name="connsiteY81" fmla="*/ 3050 h 32797"/>
                        <a:gd name="connsiteX82" fmla="*/ 9275 w 29812"/>
                        <a:gd name="connsiteY82" fmla="*/ 4785 h 32797"/>
                        <a:gd name="connsiteX83" fmla="*/ 6824 w 29812"/>
                        <a:gd name="connsiteY83" fmla="*/ 6937 h 32797"/>
                        <a:gd name="connsiteX84" fmla="*/ 4730 w 29812"/>
                        <a:gd name="connsiteY84" fmla="*/ 9449 h 32797"/>
                        <a:gd name="connsiteX85" fmla="*/ 2996 w 29812"/>
                        <a:gd name="connsiteY85" fmla="*/ 12320 h 32797"/>
                        <a:gd name="connsiteX86" fmla="*/ 1680 w 29812"/>
                        <a:gd name="connsiteY86" fmla="*/ 15370 h 32797"/>
                        <a:gd name="connsiteX87" fmla="*/ 902 w 29812"/>
                        <a:gd name="connsiteY87" fmla="*/ 18361 h 32797"/>
                        <a:gd name="connsiteX88" fmla="*/ 663 w 29812"/>
                        <a:gd name="connsiteY88" fmla="*/ 21291 h 32797"/>
                        <a:gd name="connsiteX89" fmla="*/ 962 w 29812"/>
                        <a:gd name="connsiteY89" fmla="*/ 24102 h 32797"/>
                        <a:gd name="connsiteX90" fmla="*/ 1501 w 29812"/>
                        <a:gd name="connsiteY90" fmla="*/ 25837 h 32797"/>
                        <a:gd name="connsiteX91" fmla="*/ 2218 w 29812"/>
                        <a:gd name="connsiteY91" fmla="*/ 27391 h 32797"/>
                        <a:gd name="connsiteX92" fmla="*/ 3175 w 29812"/>
                        <a:gd name="connsiteY92" fmla="*/ 28707 h 32797"/>
                        <a:gd name="connsiteX93" fmla="*/ 4251 w 29812"/>
                        <a:gd name="connsiteY93" fmla="*/ 29664 h 32797"/>
                        <a:gd name="connsiteX94" fmla="*/ 3594 w 29812"/>
                        <a:gd name="connsiteY94" fmla="*/ 30561 h 32797"/>
                        <a:gd name="connsiteX95" fmla="*/ 3594 w 29812"/>
                        <a:gd name="connsiteY95" fmla="*/ 30561 h 32797"/>
                        <a:gd name="connsiteX96" fmla="*/ 3654 w 29812"/>
                        <a:gd name="connsiteY96" fmla="*/ 30621 h 32797"/>
                        <a:gd name="connsiteX97" fmla="*/ 3713 w 29812"/>
                        <a:gd name="connsiteY97" fmla="*/ 30621 h 32797"/>
                        <a:gd name="connsiteX98" fmla="*/ 3773 w 29812"/>
                        <a:gd name="connsiteY98" fmla="*/ 30621 h 32797"/>
                        <a:gd name="connsiteX99" fmla="*/ 3893 w 29812"/>
                        <a:gd name="connsiteY99" fmla="*/ 30741 h 32797"/>
                        <a:gd name="connsiteX100" fmla="*/ 4072 w 29812"/>
                        <a:gd name="connsiteY100" fmla="*/ 30860 h 32797"/>
                        <a:gd name="connsiteX101" fmla="*/ 4251 w 29812"/>
                        <a:gd name="connsiteY101" fmla="*/ 30980 h 32797"/>
                        <a:gd name="connsiteX102" fmla="*/ 4431 w 29812"/>
                        <a:gd name="connsiteY102" fmla="*/ 31099 h 32797"/>
                        <a:gd name="connsiteX103" fmla="*/ 4970 w 29812"/>
                        <a:gd name="connsiteY103" fmla="*/ 31399 h 32797"/>
                        <a:gd name="connsiteX104" fmla="*/ 5508 w 29812"/>
                        <a:gd name="connsiteY104" fmla="*/ 31698 h 32797"/>
                        <a:gd name="connsiteX105" fmla="*/ 6046 w 29812"/>
                        <a:gd name="connsiteY105" fmla="*/ 31937 h 32797"/>
                        <a:gd name="connsiteX106" fmla="*/ 6584 w 29812"/>
                        <a:gd name="connsiteY106" fmla="*/ 32176 h 32797"/>
                        <a:gd name="connsiteX107" fmla="*/ 7362 w 29812"/>
                        <a:gd name="connsiteY107" fmla="*/ 32415 h 32797"/>
                        <a:gd name="connsiteX108" fmla="*/ 8139 w 29812"/>
                        <a:gd name="connsiteY108" fmla="*/ 32595 h 32797"/>
                        <a:gd name="connsiteX109" fmla="*/ 8917 w 29812"/>
                        <a:gd name="connsiteY109" fmla="*/ 32714 h 32797"/>
                        <a:gd name="connsiteX110" fmla="*/ 9694 w 29812"/>
                        <a:gd name="connsiteY110" fmla="*/ 32774 h 32797"/>
                        <a:gd name="connsiteX111" fmla="*/ 9873 w 29812"/>
                        <a:gd name="connsiteY111" fmla="*/ 32774 h 32797"/>
                        <a:gd name="connsiteX112" fmla="*/ 10053 w 29812"/>
                        <a:gd name="connsiteY112" fmla="*/ 32774 h 32797"/>
                        <a:gd name="connsiteX113" fmla="*/ 10232 w 29812"/>
                        <a:gd name="connsiteY113" fmla="*/ 32774 h 32797"/>
                        <a:gd name="connsiteX114" fmla="*/ 10412 w 29812"/>
                        <a:gd name="connsiteY114" fmla="*/ 32774 h 32797"/>
                        <a:gd name="connsiteX115" fmla="*/ 12266 w 29812"/>
                        <a:gd name="connsiteY115" fmla="*/ 32595 h 32797"/>
                        <a:gd name="connsiteX116" fmla="*/ 14180 w 29812"/>
                        <a:gd name="connsiteY116" fmla="*/ 32116 h 32797"/>
                        <a:gd name="connsiteX117" fmla="*/ 16094 w 29812"/>
                        <a:gd name="connsiteY117" fmla="*/ 31399 h 32797"/>
                        <a:gd name="connsiteX118" fmla="*/ 17948 w 29812"/>
                        <a:gd name="connsiteY118" fmla="*/ 30442 h 32797"/>
                        <a:gd name="connsiteX119" fmla="*/ 18247 w 29812"/>
                        <a:gd name="connsiteY119" fmla="*/ 30262 h 32797"/>
                        <a:gd name="connsiteX120" fmla="*/ 18546 w 29812"/>
                        <a:gd name="connsiteY120" fmla="*/ 30083 h 32797"/>
                        <a:gd name="connsiteX121" fmla="*/ 18844 w 29812"/>
                        <a:gd name="connsiteY121" fmla="*/ 29904 h 32797"/>
                        <a:gd name="connsiteX122" fmla="*/ 19144 w 29812"/>
                        <a:gd name="connsiteY122" fmla="*/ 29724 h 32797"/>
                        <a:gd name="connsiteX123" fmla="*/ 21476 w 29812"/>
                        <a:gd name="connsiteY123" fmla="*/ 27990 h 32797"/>
                        <a:gd name="connsiteX124" fmla="*/ 23629 w 29812"/>
                        <a:gd name="connsiteY124" fmla="*/ 25896 h 32797"/>
                        <a:gd name="connsiteX125" fmla="*/ 25603 w 29812"/>
                        <a:gd name="connsiteY125" fmla="*/ 23444 h 32797"/>
                        <a:gd name="connsiteX126" fmla="*/ 27277 w 29812"/>
                        <a:gd name="connsiteY126" fmla="*/ 20753 h 32797"/>
                        <a:gd name="connsiteX127" fmla="*/ 28952 w 29812"/>
                        <a:gd name="connsiteY127" fmla="*/ 16746 h 32797"/>
                        <a:gd name="connsiteX128" fmla="*/ 29729 w 29812"/>
                        <a:gd name="connsiteY128" fmla="*/ 12798 h 32797"/>
                        <a:gd name="connsiteX129" fmla="*/ 29670 w 29812"/>
                        <a:gd name="connsiteY129" fmla="*/ 9090 h 32797"/>
                        <a:gd name="connsiteX130" fmla="*/ 28713 w 29812"/>
                        <a:gd name="connsiteY130" fmla="*/ 5801 h 32797"/>
                        <a:gd name="connsiteX131" fmla="*/ 28474 w 29812"/>
                        <a:gd name="connsiteY131" fmla="*/ 5622 h 32797"/>
                        <a:gd name="connsiteX132" fmla="*/ 28773 w 29812"/>
                        <a:gd name="connsiteY132" fmla="*/ 6280 h 32797"/>
                        <a:gd name="connsiteX133" fmla="*/ 29012 w 29812"/>
                        <a:gd name="connsiteY133" fmla="*/ 6997 h 32797"/>
                        <a:gd name="connsiteX134" fmla="*/ 29251 w 29812"/>
                        <a:gd name="connsiteY134" fmla="*/ 7715 h 32797"/>
                        <a:gd name="connsiteX135" fmla="*/ 29430 w 29812"/>
                        <a:gd name="connsiteY135" fmla="*/ 8493 h 32797"/>
                        <a:gd name="connsiteX136" fmla="*/ 29729 w 29812"/>
                        <a:gd name="connsiteY136" fmla="*/ 11423 h 32797"/>
                        <a:gd name="connsiteX137" fmla="*/ 29430 w 29812"/>
                        <a:gd name="connsiteY137" fmla="*/ 14533 h 32797"/>
                        <a:gd name="connsiteX138" fmla="*/ 28593 w 29812"/>
                        <a:gd name="connsiteY138" fmla="*/ 17703 h 32797"/>
                        <a:gd name="connsiteX139" fmla="*/ 27218 w 29812"/>
                        <a:gd name="connsiteY139" fmla="*/ 20873 h 32797"/>
                        <a:gd name="connsiteX140" fmla="*/ 25364 w 29812"/>
                        <a:gd name="connsiteY140" fmla="*/ 23863 h 32797"/>
                        <a:gd name="connsiteX141" fmla="*/ 23151 w 29812"/>
                        <a:gd name="connsiteY141" fmla="*/ 26495 h 32797"/>
                        <a:gd name="connsiteX142" fmla="*/ 20639 w 29812"/>
                        <a:gd name="connsiteY142" fmla="*/ 28767 h 32797"/>
                        <a:gd name="connsiteX143" fmla="*/ 17828 w 29812"/>
                        <a:gd name="connsiteY143" fmla="*/ 30621 h 32797"/>
                        <a:gd name="connsiteX144" fmla="*/ 14957 w 29812"/>
                        <a:gd name="connsiteY144" fmla="*/ 31937 h 32797"/>
                        <a:gd name="connsiteX145" fmla="*/ 12086 w 29812"/>
                        <a:gd name="connsiteY145" fmla="*/ 32655 h 32797"/>
                        <a:gd name="connsiteX146" fmla="*/ 9335 w 29812"/>
                        <a:gd name="connsiteY146" fmla="*/ 32774 h 32797"/>
                        <a:gd name="connsiteX147" fmla="*/ 6704 w 29812"/>
                        <a:gd name="connsiteY147" fmla="*/ 32236 h 32797"/>
                        <a:gd name="connsiteX148" fmla="*/ 5926 w 29812"/>
                        <a:gd name="connsiteY148" fmla="*/ 31937 h 32797"/>
                        <a:gd name="connsiteX149" fmla="*/ 5209 w 29812"/>
                        <a:gd name="connsiteY149" fmla="*/ 31578 h 32797"/>
                        <a:gd name="connsiteX150" fmla="*/ 4491 w 29812"/>
                        <a:gd name="connsiteY150" fmla="*/ 31159 h 32797"/>
                        <a:gd name="connsiteX151" fmla="*/ 3833 w 29812"/>
                        <a:gd name="connsiteY151" fmla="*/ 30681 h 32797"/>
                        <a:gd name="connsiteX152" fmla="*/ 2637 w 29812"/>
                        <a:gd name="connsiteY152" fmla="*/ 29485 h 32797"/>
                        <a:gd name="connsiteX153" fmla="*/ 1620 w 29812"/>
                        <a:gd name="connsiteY153" fmla="*/ 28050 h 32797"/>
                        <a:gd name="connsiteX154" fmla="*/ 843 w 29812"/>
                        <a:gd name="connsiteY154" fmla="*/ 26435 h 32797"/>
                        <a:gd name="connsiteX155" fmla="*/ 304 w 29812"/>
                        <a:gd name="connsiteY155" fmla="*/ 24641 h 32797"/>
                        <a:gd name="connsiteX156" fmla="*/ 5 w 29812"/>
                        <a:gd name="connsiteY156" fmla="*/ 21650 h 32797"/>
                        <a:gd name="connsiteX157" fmla="*/ 245 w 29812"/>
                        <a:gd name="connsiteY157" fmla="*/ 18540 h 32797"/>
                        <a:gd name="connsiteX158" fmla="*/ 1082 w 29812"/>
                        <a:gd name="connsiteY158" fmla="*/ 15370 h 32797"/>
                        <a:gd name="connsiteX159" fmla="*/ 2457 w 29812"/>
                        <a:gd name="connsiteY159" fmla="*/ 12201 h 32797"/>
                        <a:gd name="connsiteX160" fmla="*/ 4311 w 29812"/>
                        <a:gd name="connsiteY160" fmla="*/ 9150 h 32797"/>
                        <a:gd name="connsiteX161" fmla="*/ 6584 w 29812"/>
                        <a:gd name="connsiteY161" fmla="*/ 6459 h 32797"/>
                        <a:gd name="connsiteX162" fmla="*/ 9156 w 29812"/>
                        <a:gd name="connsiteY162" fmla="*/ 4127 h 32797"/>
                        <a:gd name="connsiteX163" fmla="*/ 12027 w 29812"/>
                        <a:gd name="connsiteY163" fmla="*/ 2273 h 32797"/>
                        <a:gd name="connsiteX164" fmla="*/ 14778 w 29812"/>
                        <a:gd name="connsiteY164" fmla="*/ 1017 h 32797"/>
                        <a:gd name="connsiteX165" fmla="*/ 17469 w 29812"/>
                        <a:gd name="connsiteY165" fmla="*/ 299 h 32797"/>
                        <a:gd name="connsiteX166" fmla="*/ 20041 w 29812"/>
                        <a:gd name="connsiteY166" fmla="*/ 119 h 32797"/>
                        <a:gd name="connsiteX167" fmla="*/ 22493 w 29812"/>
                        <a:gd name="connsiteY167" fmla="*/ 478 h 32797"/>
                        <a:gd name="connsiteX168" fmla="*/ 22313 w 29812"/>
                        <a:gd name="connsiteY168" fmla="*/ 299 h 32797"/>
                        <a:gd name="connsiteX169" fmla="*/ 19921 w 29812"/>
                        <a:gd name="connsiteY169" fmla="*/ 0 h 32797"/>
                        <a:gd name="connsiteX170" fmla="*/ 17349 w 29812"/>
                        <a:gd name="connsiteY170" fmla="*/ 179 h 32797"/>
                        <a:gd name="connsiteX171" fmla="*/ 14718 w 29812"/>
                        <a:gd name="connsiteY171" fmla="*/ 897 h 32797"/>
                        <a:gd name="connsiteX172" fmla="*/ 12027 w 29812"/>
                        <a:gd name="connsiteY172" fmla="*/ 2093 h 32797"/>
                        <a:gd name="connsiteX173" fmla="*/ 9156 w 29812"/>
                        <a:gd name="connsiteY173" fmla="*/ 3947 h 32797"/>
                        <a:gd name="connsiteX174" fmla="*/ 6584 w 29812"/>
                        <a:gd name="connsiteY174" fmla="*/ 6280 h 32797"/>
                        <a:gd name="connsiteX175" fmla="*/ 4311 w 29812"/>
                        <a:gd name="connsiteY175" fmla="*/ 8971 h 32797"/>
                        <a:gd name="connsiteX176" fmla="*/ 2457 w 29812"/>
                        <a:gd name="connsiteY176" fmla="*/ 12021 h 32797"/>
                        <a:gd name="connsiteX177" fmla="*/ 902 w 29812"/>
                        <a:gd name="connsiteY177" fmla="*/ 15789 h 32797"/>
                        <a:gd name="connsiteX178" fmla="*/ 125 w 29812"/>
                        <a:gd name="connsiteY178" fmla="*/ 19497 h 32797"/>
                        <a:gd name="connsiteX179" fmla="*/ 65 w 29812"/>
                        <a:gd name="connsiteY179" fmla="*/ 22966 h 32797"/>
                        <a:gd name="connsiteX180" fmla="*/ 783 w 29812"/>
                        <a:gd name="connsiteY180" fmla="*/ 26136 h 32797"/>
                        <a:gd name="connsiteX181" fmla="*/ 902 w 29812"/>
                        <a:gd name="connsiteY181" fmla="*/ 26375 h 32797"/>
                        <a:gd name="connsiteX182" fmla="*/ 1022 w 29812"/>
                        <a:gd name="connsiteY182" fmla="*/ 26614 h 32797"/>
                        <a:gd name="connsiteX183" fmla="*/ 1142 w 29812"/>
                        <a:gd name="connsiteY183" fmla="*/ 26853 h 32797"/>
                        <a:gd name="connsiteX184" fmla="*/ 1261 w 29812"/>
                        <a:gd name="connsiteY184" fmla="*/ 27092 h 32797"/>
                        <a:gd name="connsiteX185" fmla="*/ 1800 w 29812"/>
                        <a:gd name="connsiteY185" fmla="*/ 28109 h 32797"/>
                        <a:gd name="connsiteX186" fmla="*/ 2457 w 29812"/>
                        <a:gd name="connsiteY186" fmla="*/ 29066 h 32797"/>
                        <a:gd name="connsiteX187" fmla="*/ 3175 w 29812"/>
                        <a:gd name="connsiteY187" fmla="*/ 29904 h 32797"/>
                        <a:gd name="connsiteX188" fmla="*/ 3594 w 29812"/>
                        <a:gd name="connsiteY188" fmla="*/ 30561 h 3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812" h="32797">
                          <a:moveTo>
                            <a:pt x="4850" y="29963"/>
                          </a:moveTo>
                          <a:cubicBezTo>
                            <a:pt x="4790" y="29963"/>
                            <a:pt x="4790" y="29904"/>
                            <a:pt x="4730" y="29844"/>
                          </a:cubicBezTo>
                          <a:cubicBezTo>
                            <a:pt x="4670" y="29784"/>
                            <a:pt x="4670" y="29784"/>
                            <a:pt x="4610" y="29724"/>
                          </a:cubicBezTo>
                          <a:cubicBezTo>
                            <a:pt x="4551" y="29664"/>
                            <a:pt x="4551" y="29664"/>
                            <a:pt x="4491" y="29604"/>
                          </a:cubicBezTo>
                          <a:cubicBezTo>
                            <a:pt x="4431" y="29545"/>
                            <a:pt x="4431" y="29545"/>
                            <a:pt x="4371" y="29485"/>
                          </a:cubicBezTo>
                          <a:cubicBezTo>
                            <a:pt x="4371" y="29485"/>
                            <a:pt x="4371" y="29485"/>
                            <a:pt x="4371" y="29485"/>
                          </a:cubicBezTo>
                          <a:cubicBezTo>
                            <a:pt x="4371" y="29485"/>
                            <a:pt x="4371" y="29485"/>
                            <a:pt x="4371" y="29485"/>
                          </a:cubicBezTo>
                          <a:cubicBezTo>
                            <a:pt x="4371" y="29485"/>
                            <a:pt x="4371" y="29485"/>
                            <a:pt x="4371" y="29485"/>
                          </a:cubicBezTo>
                          <a:cubicBezTo>
                            <a:pt x="4371" y="29485"/>
                            <a:pt x="4371" y="29485"/>
                            <a:pt x="4371" y="29485"/>
                          </a:cubicBezTo>
                          <a:cubicBezTo>
                            <a:pt x="4072" y="29245"/>
                            <a:pt x="3773" y="28946"/>
                            <a:pt x="3474" y="28648"/>
                          </a:cubicBezTo>
                          <a:cubicBezTo>
                            <a:pt x="3175" y="28349"/>
                            <a:pt x="2936" y="28050"/>
                            <a:pt x="2756" y="27691"/>
                          </a:cubicBezTo>
                          <a:cubicBezTo>
                            <a:pt x="2517" y="27332"/>
                            <a:pt x="2338" y="27033"/>
                            <a:pt x="2158" y="26614"/>
                          </a:cubicBezTo>
                          <a:cubicBezTo>
                            <a:pt x="1979" y="26196"/>
                            <a:pt x="1800" y="25896"/>
                            <a:pt x="1680" y="25478"/>
                          </a:cubicBezTo>
                          <a:cubicBezTo>
                            <a:pt x="1620" y="25418"/>
                            <a:pt x="1620" y="25298"/>
                            <a:pt x="1560" y="25238"/>
                          </a:cubicBezTo>
                          <a:cubicBezTo>
                            <a:pt x="1501" y="25179"/>
                            <a:pt x="1501" y="25059"/>
                            <a:pt x="1501" y="24999"/>
                          </a:cubicBezTo>
                          <a:cubicBezTo>
                            <a:pt x="1501" y="24940"/>
                            <a:pt x="1441" y="24820"/>
                            <a:pt x="1441" y="24760"/>
                          </a:cubicBezTo>
                          <a:cubicBezTo>
                            <a:pt x="1441" y="24641"/>
                            <a:pt x="1381" y="24581"/>
                            <a:pt x="1381" y="24461"/>
                          </a:cubicBezTo>
                          <a:cubicBezTo>
                            <a:pt x="1142" y="23564"/>
                            <a:pt x="1022" y="22667"/>
                            <a:pt x="962" y="21650"/>
                          </a:cubicBezTo>
                          <a:cubicBezTo>
                            <a:pt x="902" y="20693"/>
                            <a:pt x="962" y="19676"/>
                            <a:pt x="1142" y="18600"/>
                          </a:cubicBezTo>
                          <a:cubicBezTo>
                            <a:pt x="1321" y="17583"/>
                            <a:pt x="1560" y="16506"/>
                            <a:pt x="1919" y="15430"/>
                          </a:cubicBezTo>
                          <a:cubicBezTo>
                            <a:pt x="2278" y="14354"/>
                            <a:pt x="2756" y="13277"/>
                            <a:pt x="3295" y="12260"/>
                          </a:cubicBezTo>
                          <a:cubicBezTo>
                            <a:pt x="3833" y="11244"/>
                            <a:pt x="4431" y="10287"/>
                            <a:pt x="5029" y="9390"/>
                          </a:cubicBezTo>
                          <a:cubicBezTo>
                            <a:pt x="5687" y="8493"/>
                            <a:pt x="6405" y="7655"/>
                            <a:pt x="7122" y="6878"/>
                          </a:cubicBezTo>
                          <a:cubicBezTo>
                            <a:pt x="7900" y="6100"/>
                            <a:pt x="8678" y="5382"/>
                            <a:pt x="9515" y="4725"/>
                          </a:cubicBezTo>
                          <a:cubicBezTo>
                            <a:pt x="10352" y="4067"/>
                            <a:pt x="11249" y="3469"/>
                            <a:pt x="12206" y="2990"/>
                          </a:cubicBezTo>
                          <a:cubicBezTo>
                            <a:pt x="13103" y="2512"/>
                            <a:pt x="14060" y="2093"/>
                            <a:pt x="14957" y="1794"/>
                          </a:cubicBezTo>
                          <a:cubicBezTo>
                            <a:pt x="15854" y="1495"/>
                            <a:pt x="16751" y="1256"/>
                            <a:pt x="17649" y="1136"/>
                          </a:cubicBezTo>
                          <a:cubicBezTo>
                            <a:pt x="18546" y="1017"/>
                            <a:pt x="19443" y="1017"/>
                            <a:pt x="20280" y="1076"/>
                          </a:cubicBezTo>
                          <a:cubicBezTo>
                            <a:pt x="21117" y="1136"/>
                            <a:pt x="21955" y="1316"/>
                            <a:pt x="22732" y="1615"/>
                          </a:cubicBezTo>
                          <a:cubicBezTo>
                            <a:pt x="22971" y="1734"/>
                            <a:pt x="23211" y="1794"/>
                            <a:pt x="23450" y="1914"/>
                          </a:cubicBezTo>
                          <a:cubicBezTo>
                            <a:pt x="23689" y="2033"/>
                            <a:pt x="23928" y="2153"/>
                            <a:pt x="24108" y="2273"/>
                          </a:cubicBezTo>
                          <a:cubicBezTo>
                            <a:pt x="24347" y="2392"/>
                            <a:pt x="24526" y="2512"/>
                            <a:pt x="24766" y="2691"/>
                          </a:cubicBezTo>
                          <a:cubicBezTo>
                            <a:pt x="25005" y="2811"/>
                            <a:pt x="25184" y="2990"/>
                            <a:pt x="25364" y="3170"/>
                          </a:cubicBezTo>
                          <a:cubicBezTo>
                            <a:pt x="26440" y="4067"/>
                            <a:pt x="27218" y="5143"/>
                            <a:pt x="27816" y="6399"/>
                          </a:cubicBezTo>
                          <a:cubicBezTo>
                            <a:pt x="28414" y="7655"/>
                            <a:pt x="28713" y="9090"/>
                            <a:pt x="28833" y="10586"/>
                          </a:cubicBezTo>
                          <a:cubicBezTo>
                            <a:pt x="28952" y="12081"/>
                            <a:pt x="28773" y="13696"/>
                            <a:pt x="28414" y="15370"/>
                          </a:cubicBezTo>
                          <a:cubicBezTo>
                            <a:pt x="28055" y="17045"/>
                            <a:pt x="27397" y="18720"/>
                            <a:pt x="26500" y="20334"/>
                          </a:cubicBezTo>
                          <a:cubicBezTo>
                            <a:pt x="26081" y="21112"/>
                            <a:pt x="25603" y="21889"/>
                            <a:pt x="25125" y="22607"/>
                          </a:cubicBezTo>
                          <a:cubicBezTo>
                            <a:pt x="24646" y="23325"/>
                            <a:pt x="24108" y="23982"/>
                            <a:pt x="23569" y="24641"/>
                          </a:cubicBezTo>
                          <a:cubicBezTo>
                            <a:pt x="23031" y="25298"/>
                            <a:pt x="22433" y="25896"/>
                            <a:pt x="21835" y="26435"/>
                          </a:cubicBezTo>
                          <a:cubicBezTo>
                            <a:pt x="21237" y="26973"/>
                            <a:pt x="20579" y="27511"/>
                            <a:pt x="19921" y="27990"/>
                          </a:cubicBezTo>
                          <a:cubicBezTo>
                            <a:pt x="19802" y="28050"/>
                            <a:pt x="19742" y="28109"/>
                            <a:pt x="19622" y="28169"/>
                          </a:cubicBezTo>
                          <a:cubicBezTo>
                            <a:pt x="19503" y="28229"/>
                            <a:pt x="19443" y="28289"/>
                            <a:pt x="19323" y="28349"/>
                          </a:cubicBezTo>
                          <a:cubicBezTo>
                            <a:pt x="19203" y="28408"/>
                            <a:pt x="19144" y="28468"/>
                            <a:pt x="19024" y="28528"/>
                          </a:cubicBezTo>
                          <a:cubicBezTo>
                            <a:pt x="18904" y="28588"/>
                            <a:pt x="18844" y="28648"/>
                            <a:pt x="18725" y="28707"/>
                          </a:cubicBezTo>
                          <a:cubicBezTo>
                            <a:pt x="18127" y="29126"/>
                            <a:pt x="17469" y="29485"/>
                            <a:pt x="16811" y="29784"/>
                          </a:cubicBezTo>
                          <a:cubicBezTo>
                            <a:pt x="16153" y="30083"/>
                            <a:pt x="15555" y="30382"/>
                            <a:pt x="14897" y="30561"/>
                          </a:cubicBezTo>
                          <a:cubicBezTo>
                            <a:pt x="14240" y="30741"/>
                            <a:pt x="13581" y="30980"/>
                            <a:pt x="12983" y="31099"/>
                          </a:cubicBezTo>
                          <a:cubicBezTo>
                            <a:pt x="12326" y="31219"/>
                            <a:pt x="11668" y="31279"/>
                            <a:pt x="11070" y="31339"/>
                          </a:cubicBezTo>
                          <a:cubicBezTo>
                            <a:pt x="11010" y="31339"/>
                            <a:pt x="10950" y="31339"/>
                            <a:pt x="10890" y="31339"/>
                          </a:cubicBezTo>
                          <a:cubicBezTo>
                            <a:pt x="10831" y="31339"/>
                            <a:pt x="10771" y="31339"/>
                            <a:pt x="10711" y="31339"/>
                          </a:cubicBezTo>
                          <a:cubicBezTo>
                            <a:pt x="10651" y="31339"/>
                            <a:pt x="10591" y="31339"/>
                            <a:pt x="10532" y="31339"/>
                          </a:cubicBezTo>
                          <a:cubicBezTo>
                            <a:pt x="10472" y="31339"/>
                            <a:pt x="10412" y="31339"/>
                            <a:pt x="10352" y="31339"/>
                          </a:cubicBezTo>
                          <a:cubicBezTo>
                            <a:pt x="10113" y="31339"/>
                            <a:pt x="9814" y="31339"/>
                            <a:pt x="9574" y="31279"/>
                          </a:cubicBezTo>
                          <a:cubicBezTo>
                            <a:pt x="9335" y="31279"/>
                            <a:pt x="9036" y="31219"/>
                            <a:pt x="8797" y="31159"/>
                          </a:cubicBezTo>
                          <a:cubicBezTo>
                            <a:pt x="8558" y="31099"/>
                            <a:pt x="8319" y="31040"/>
                            <a:pt x="8019" y="30980"/>
                          </a:cubicBezTo>
                          <a:cubicBezTo>
                            <a:pt x="7780" y="30920"/>
                            <a:pt x="7541" y="30860"/>
                            <a:pt x="7302" y="30741"/>
                          </a:cubicBezTo>
                          <a:cubicBezTo>
                            <a:pt x="7122" y="30681"/>
                            <a:pt x="6883" y="30621"/>
                            <a:pt x="6704" y="30502"/>
                          </a:cubicBezTo>
                          <a:cubicBezTo>
                            <a:pt x="6524" y="30442"/>
                            <a:pt x="6345" y="30322"/>
                            <a:pt x="6165" y="30262"/>
                          </a:cubicBezTo>
                          <a:cubicBezTo>
                            <a:pt x="5986" y="30203"/>
                            <a:pt x="5807" y="30083"/>
                            <a:pt x="5627" y="29963"/>
                          </a:cubicBezTo>
                          <a:cubicBezTo>
                            <a:pt x="5448" y="29844"/>
                            <a:pt x="5029" y="30083"/>
                            <a:pt x="4850" y="29963"/>
                          </a:cubicBezTo>
                          <a:moveTo>
                            <a:pt x="4251" y="29664"/>
                          </a:moveTo>
                          <a:cubicBezTo>
                            <a:pt x="4431" y="29844"/>
                            <a:pt x="4670" y="29963"/>
                            <a:pt x="4850" y="30143"/>
                          </a:cubicBezTo>
                          <a:cubicBezTo>
                            <a:pt x="5029" y="30322"/>
                            <a:pt x="5268" y="30442"/>
                            <a:pt x="5508" y="30561"/>
                          </a:cubicBezTo>
                          <a:cubicBezTo>
                            <a:pt x="5747" y="30681"/>
                            <a:pt x="5986" y="30800"/>
                            <a:pt x="6225" y="30920"/>
                          </a:cubicBezTo>
                          <a:cubicBezTo>
                            <a:pt x="6465" y="31040"/>
                            <a:pt x="6704" y="31099"/>
                            <a:pt x="7003" y="31219"/>
                          </a:cubicBezTo>
                          <a:cubicBezTo>
                            <a:pt x="8618" y="31758"/>
                            <a:pt x="10352" y="31877"/>
                            <a:pt x="12146" y="31638"/>
                          </a:cubicBezTo>
                          <a:cubicBezTo>
                            <a:pt x="13941" y="31399"/>
                            <a:pt x="15735" y="30741"/>
                            <a:pt x="17529" y="29784"/>
                          </a:cubicBezTo>
                          <a:cubicBezTo>
                            <a:pt x="19263" y="28827"/>
                            <a:pt x="20938" y="27511"/>
                            <a:pt x="22493" y="25956"/>
                          </a:cubicBezTo>
                          <a:cubicBezTo>
                            <a:pt x="23988" y="24401"/>
                            <a:pt x="25364" y="22607"/>
                            <a:pt x="26440" y="20574"/>
                          </a:cubicBezTo>
                          <a:cubicBezTo>
                            <a:pt x="27337" y="18899"/>
                            <a:pt x="27995" y="17165"/>
                            <a:pt x="28354" y="15490"/>
                          </a:cubicBezTo>
                          <a:cubicBezTo>
                            <a:pt x="28713" y="13815"/>
                            <a:pt x="28892" y="12201"/>
                            <a:pt x="28773" y="10645"/>
                          </a:cubicBezTo>
                          <a:cubicBezTo>
                            <a:pt x="28653" y="9090"/>
                            <a:pt x="28294" y="7715"/>
                            <a:pt x="27756" y="6399"/>
                          </a:cubicBezTo>
                          <a:cubicBezTo>
                            <a:pt x="27158" y="5143"/>
                            <a:pt x="26380" y="4067"/>
                            <a:pt x="25304" y="3170"/>
                          </a:cubicBezTo>
                          <a:cubicBezTo>
                            <a:pt x="25125" y="2990"/>
                            <a:pt x="24885" y="2871"/>
                            <a:pt x="24706" y="2691"/>
                          </a:cubicBezTo>
                          <a:cubicBezTo>
                            <a:pt x="24466" y="2572"/>
                            <a:pt x="24287" y="2392"/>
                            <a:pt x="24048" y="2273"/>
                          </a:cubicBezTo>
                          <a:cubicBezTo>
                            <a:pt x="23809" y="2153"/>
                            <a:pt x="23569" y="2033"/>
                            <a:pt x="23330" y="1914"/>
                          </a:cubicBezTo>
                          <a:cubicBezTo>
                            <a:pt x="23091" y="1794"/>
                            <a:pt x="22852" y="1674"/>
                            <a:pt x="22612" y="1615"/>
                          </a:cubicBezTo>
                          <a:cubicBezTo>
                            <a:pt x="21835" y="1316"/>
                            <a:pt x="20998" y="1136"/>
                            <a:pt x="20160" y="1076"/>
                          </a:cubicBezTo>
                          <a:cubicBezTo>
                            <a:pt x="19323" y="1017"/>
                            <a:pt x="18426" y="1017"/>
                            <a:pt x="17529" y="1136"/>
                          </a:cubicBezTo>
                          <a:cubicBezTo>
                            <a:pt x="16632" y="1256"/>
                            <a:pt x="15735" y="1495"/>
                            <a:pt x="14778" y="1794"/>
                          </a:cubicBezTo>
                          <a:cubicBezTo>
                            <a:pt x="13881" y="2093"/>
                            <a:pt x="12924" y="2512"/>
                            <a:pt x="11967" y="3050"/>
                          </a:cubicBezTo>
                          <a:cubicBezTo>
                            <a:pt x="11070" y="3528"/>
                            <a:pt x="10173" y="4127"/>
                            <a:pt x="9275" y="4785"/>
                          </a:cubicBezTo>
                          <a:cubicBezTo>
                            <a:pt x="8438" y="5442"/>
                            <a:pt x="7601" y="6160"/>
                            <a:pt x="6824" y="6937"/>
                          </a:cubicBezTo>
                          <a:cubicBezTo>
                            <a:pt x="6046" y="7715"/>
                            <a:pt x="5328" y="8552"/>
                            <a:pt x="4730" y="9449"/>
                          </a:cubicBezTo>
                          <a:cubicBezTo>
                            <a:pt x="4072" y="10347"/>
                            <a:pt x="3474" y="11303"/>
                            <a:pt x="2996" y="12320"/>
                          </a:cubicBezTo>
                          <a:cubicBezTo>
                            <a:pt x="2457" y="13337"/>
                            <a:pt x="2039" y="14354"/>
                            <a:pt x="1680" y="15370"/>
                          </a:cubicBezTo>
                          <a:cubicBezTo>
                            <a:pt x="1321" y="16387"/>
                            <a:pt x="1082" y="17404"/>
                            <a:pt x="902" y="18361"/>
                          </a:cubicBezTo>
                          <a:cubicBezTo>
                            <a:pt x="723" y="19377"/>
                            <a:pt x="663" y="20334"/>
                            <a:pt x="663" y="21291"/>
                          </a:cubicBezTo>
                          <a:cubicBezTo>
                            <a:pt x="663" y="22248"/>
                            <a:pt x="783" y="23205"/>
                            <a:pt x="962" y="24102"/>
                          </a:cubicBezTo>
                          <a:cubicBezTo>
                            <a:pt x="1082" y="24700"/>
                            <a:pt x="1261" y="25298"/>
                            <a:pt x="1501" y="25837"/>
                          </a:cubicBezTo>
                          <a:cubicBezTo>
                            <a:pt x="1740" y="26375"/>
                            <a:pt x="1979" y="26913"/>
                            <a:pt x="2218" y="27391"/>
                          </a:cubicBezTo>
                          <a:cubicBezTo>
                            <a:pt x="2517" y="27870"/>
                            <a:pt x="2816" y="28289"/>
                            <a:pt x="3175" y="28707"/>
                          </a:cubicBezTo>
                          <a:cubicBezTo>
                            <a:pt x="3474" y="28946"/>
                            <a:pt x="3833" y="29305"/>
                            <a:pt x="4251" y="29664"/>
                          </a:cubicBezTo>
                          <a:moveTo>
                            <a:pt x="3594" y="30561"/>
                          </a:moveTo>
                          <a:cubicBezTo>
                            <a:pt x="3594" y="30561"/>
                            <a:pt x="3594" y="30561"/>
                            <a:pt x="3594" y="30561"/>
                          </a:cubicBezTo>
                          <a:cubicBezTo>
                            <a:pt x="3654" y="30621"/>
                            <a:pt x="3654" y="30621"/>
                            <a:pt x="3654" y="30621"/>
                          </a:cubicBezTo>
                          <a:cubicBezTo>
                            <a:pt x="3654" y="30621"/>
                            <a:pt x="3654" y="30621"/>
                            <a:pt x="3713" y="30621"/>
                          </a:cubicBezTo>
                          <a:cubicBezTo>
                            <a:pt x="3773" y="30621"/>
                            <a:pt x="3713" y="30621"/>
                            <a:pt x="3773" y="30621"/>
                          </a:cubicBezTo>
                          <a:cubicBezTo>
                            <a:pt x="3833" y="30681"/>
                            <a:pt x="3893" y="30681"/>
                            <a:pt x="3893" y="30741"/>
                          </a:cubicBezTo>
                          <a:cubicBezTo>
                            <a:pt x="3953" y="30800"/>
                            <a:pt x="4012" y="30800"/>
                            <a:pt x="4072" y="30860"/>
                          </a:cubicBezTo>
                          <a:cubicBezTo>
                            <a:pt x="4132" y="30920"/>
                            <a:pt x="4192" y="30920"/>
                            <a:pt x="4251" y="30980"/>
                          </a:cubicBezTo>
                          <a:cubicBezTo>
                            <a:pt x="4311" y="31040"/>
                            <a:pt x="4371" y="31040"/>
                            <a:pt x="4431" y="31099"/>
                          </a:cubicBezTo>
                          <a:cubicBezTo>
                            <a:pt x="4610" y="31219"/>
                            <a:pt x="4790" y="31339"/>
                            <a:pt x="4970" y="31399"/>
                          </a:cubicBezTo>
                          <a:cubicBezTo>
                            <a:pt x="5149" y="31458"/>
                            <a:pt x="5328" y="31578"/>
                            <a:pt x="5508" y="31698"/>
                          </a:cubicBezTo>
                          <a:cubicBezTo>
                            <a:pt x="5687" y="31817"/>
                            <a:pt x="5866" y="31877"/>
                            <a:pt x="6046" y="31937"/>
                          </a:cubicBezTo>
                          <a:cubicBezTo>
                            <a:pt x="6225" y="31997"/>
                            <a:pt x="6405" y="32116"/>
                            <a:pt x="6584" y="32176"/>
                          </a:cubicBezTo>
                          <a:cubicBezTo>
                            <a:pt x="6824" y="32236"/>
                            <a:pt x="7063" y="32356"/>
                            <a:pt x="7362" y="32415"/>
                          </a:cubicBezTo>
                          <a:cubicBezTo>
                            <a:pt x="7601" y="32475"/>
                            <a:pt x="7900" y="32535"/>
                            <a:pt x="8139" y="32595"/>
                          </a:cubicBezTo>
                          <a:cubicBezTo>
                            <a:pt x="8378" y="32655"/>
                            <a:pt x="8678" y="32655"/>
                            <a:pt x="8917" y="32714"/>
                          </a:cubicBezTo>
                          <a:cubicBezTo>
                            <a:pt x="9156" y="32774"/>
                            <a:pt x="9455" y="32774"/>
                            <a:pt x="9694" y="32774"/>
                          </a:cubicBezTo>
                          <a:cubicBezTo>
                            <a:pt x="9754" y="32774"/>
                            <a:pt x="9814" y="32774"/>
                            <a:pt x="9873" y="32774"/>
                          </a:cubicBezTo>
                          <a:cubicBezTo>
                            <a:pt x="9933" y="32774"/>
                            <a:pt x="9993" y="32774"/>
                            <a:pt x="10053" y="32774"/>
                          </a:cubicBezTo>
                          <a:cubicBezTo>
                            <a:pt x="10113" y="32774"/>
                            <a:pt x="10173" y="32774"/>
                            <a:pt x="10232" y="32774"/>
                          </a:cubicBezTo>
                          <a:cubicBezTo>
                            <a:pt x="10292" y="32774"/>
                            <a:pt x="10352" y="32774"/>
                            <a:pt x="10412" y="32774"/>
                          </a:cubicBezTo>
                          <a:cubicBezTo>
                            <a:pt x="11010" y="32774"/>
                            <a:pt x="11668" y="32714"/>
                            <a:pt x="12266" y="32595"/>
                          </a:cubicBezTo>
                          <a:cubicBezTo>
                            <a:pt x="12924" y="32475"/>
                            <a:pt x="13522" y="32356"/>
                            <a:pt x="14180" y="32116"/>
                          </a:cubicBezTo>
                          <a:cubicBezTo>
                            <a:pt x="14837" y="31937"/>
                            <a:pt x="15436" y="31698"/>
                            <a:pt x="16094" y="31399"/>
                          </a:cubicBezTo>
                          <a:cubicBezTo>
                            <a:pt x="16692" y="31099"/>
                            <a:pt x="17349" y="30800"/>
                            <a:pt x="17948" y="30442"/>
                          </a:cubicBezTo>
                          <a:cubicBezTo>
                            <a:pt x="18067" y="30382"/>
                            <a:pt x="18127" y="30322"/>
                            <a:pt x="18247" y="30262"/>
                          </a:cubicBezTo>
                          <a:cubicBezTo>
                            <a:pt x="18366" y="30203"/>
                            <a:pt x="18426" y="30143"/>
                            <a:pt x="18546" y="30083"/>
                          </a:cubicBezTo>
                          <a:cubicBezTo>
                            <a:pt x="18665" y="30023"/>
                            <a:pt x="18725" y="29963"/>
                            <a:pt x="18844" y="29904"/>
                          </a:cubicBezTo>
                          <a:cubicBezTo>
                            <a:pt x="18964" y="29844"/>
                            <a:pt x="19024" y="29784"/>
                            <a:pt x="19144" y="29724"/>
                          </a:cubicBezTo>
                          <a:cubicBezTo>
                            <a:pt x="19921" y="29186"/>
                            <a:pt x="20758" y="28588"/>
                            <a:pt x="21476" y="27990"/>
                          </a:cubicBezTo>
                          <a:cubicBezTo>
                            <a:pt x="22194" y="27391"/>
                            <a:pt x="22971" y="26614"/>
                            <a:pt x="23629" y="25896"/>
                          </a:cubicBezTo>
                          <a:cubicBezTo>
                            <a:pt x="24347" y="25119"/>
                            <a:pt x="24945" y="24342"/>
                            <a:pt x="25603" y="23444"/>
                          </a:cubicBezTo>
                          <a:cubicBezTo>
                            <a:pt x="26201" y="22607"/>
                            <a:pt x="26739" y="21650"/>
                            <a:pt x="27277" y="20753"/>
                          </a:cubicBezTo>
                          <a:cubicBezTo>
                            <a:pt x="27995" y="19437"/>
                            <a:pt x="28533" y="18062"/>
                            <a:pt x="28952" y="16746"/>
                          </a:cubicBezTo>
                          <a:cubicBezTo>
                            <a:pt x="29371" y="15430"/>
                            <a:pt x="29610" y="14055"/>
                            <a:pt x="29729" y="12798"/>
                          </a:cubicBezTo>
                          <a:cubicBezTo>
                            <a:pt x="29849" y="11483"/>
                            <a:pt x="29849" y="10287"/>
                            <a:pt x="29670" y="9090"/>
                          </a:cubicBezTo>
                          <a:cubicBezTo>
                            <a:pt x="29490" y="7895"/>
                            <a:pt x="29191" y="6818"/>
                            <a:pt x="28713" y="5801"/>
                          </a:cubicBezTo>
                          <a:lnTo>
                            <a:pt x="28474" y="5622"/>
                          </a:lnTo>
                          <a:cubicBezTo>
                            <a:pt x="28593" y="5861"/>
                            <a:pt x="28653" y="6040"/>
                            <a:pt x="28773" y="6280"/>
                          </a:cubicBezTo>
                          <a:cubicBezTo>
                            <a:pt x="28892" y="6519"/>
                            <a:pt x="28952" y="6758"/>
                            <a:pt x="29012" y="6997"/>
                          </a:cubicBezTo>
                          <a:cubicBezTo>
                            <a:pt x="29072" y="7236"/>
                            <a:pt x="29191" y="7476"/>
                            <a:pt x="29251" y="7715"/>
                          </a:cubicBezTo>
                          <a:cubicBezTo>
                            <a:pt x="29311" y="7954"/>
                            <a:pt x="29371" y="8194"/>
                            <a:pt x="29430" y="8493"/>
                          </a:cubicBezTo>
                          <a:cubicBezTo>
                            <a:pt x="29610" y="9449"/>
                            <a:pt x="29729" y="10406"/>
                            <a:pt x="29729" y="11423"/>
                          </a:cubicBezTo>
                          <a:cubicBezTo>
                            <a:pt x="29729" y="12440"/>
                            <a:pt x="29610" y="13457"/>
                            <a:pt x="29430" y="14533"/>
                          </a:cubicBezTo>
                          <a:cubicBezTo>
                            <a:pt x="29251" y="15550"/>
                            <a:pt x="28952" y="16626"/>
                            <a:pt x="28593" y="17703"/>
                          </a:cubicBezTo>
                          <a:cubicBezTo>
                            <a:pt x="28234" y="18779"/>
                            <a:pt x="27756" y="19796"/>
                            <a:pt x="27218" y="20873"/>
                          </a:cubicBezTo>
                          <a:cubicBezTo>
                            <a:pt x="26679" y="21889"/>
                            <a:pt x="26021" y="22906"/>
                            <a:pt x="25364" y="23863"/>
                          </a:cubicBezTo>
                          <a:cubicBezTo>
                            <a:pt x="24706" y="24820"/>
                            <a:pt x="23928" y="25717"/>
                            <a:pt x="23151" y="26495"/>
                          </a:cubicBezTo>
                          <a:cubicBezTo>
                            <a:pt x="22373" y="27332"/>
                            <a:pt x="21536" y="28109"/>
                            <a:pt x="20639" y="28767"/>
                          </a:cubicBezTo>
                          <a:cubicBezTo>
                            <a:pt x="19742" y="29485"/>
                            <a:pt x="18785" y="30083"/>
                            <a:pt x="17828" y="30621"/>
                          </a:cubicBezTo>
                          <a:cubicBezTo>
                            <a:pt x="16871" y="31159"/>
                            <a:pt x="15914" y="31578"/>
                            <a:pt x="14957" y="31937"/>
                          </a:cubicBezTo>
                          <a:cubicBezTo>
                            <a:pt x="14000" y="32296"/>
                            <a:pt x="13043" y="32475"/>
                            <a:pt x="12086" y="32655"/>
                          </a:cubicBezTo>
                          <a:cubicBezTo>
                            <a:pt x="11129" y="32774"/>
                            <a:pt x="10232" y="32834"/>
                            <a:pt x="9335" y="32774"/>
                          </a:cubicBezTo>
                          <a:cubicBezTo>
                            <a:pt x="8438" y="32714"/>
                            <a:pt x="7541" y="32535"/>
                            <a:pt x="6704" y="32236"/>
                          </a:cubicBezTo>
                          <a:cubicBezTo>
                            <a:pt x="6465" y="32116"/>
                            <a:pt x="6165" y="32057"/>
                            <a:pt x="5926" y="31937"/>
                          </a:cubicBezTo>
                          <a:cubicBezTo>
                            <a:pt x="5687" y="31817"/>
                            <a:pt x="5448" y="31698"/>
                            <a:pt x="5209" y="31578"/>
                          </a:cubicBezTo>
                          <a:cubicBezTo>
                            <a:pt x="4970" y="31458"/>
                            <a:pt x="4730" y="31279"/>
                            <a:pt x="4491" y="31159"/>
                          </a:cubicBezTo>
                          <a:cubicBezTo>
                            <a:pt x="4251" y="30980"/>
                            <a:pt x="4072" y="30860"/>
                            <a:pt x="3833" y="30681"/>
                          </a:cubicBezTo>
                          <a:cubicBezTo>
                            <a:pt x="3414" y="30322"/>
                            <a:pt x="2996" y="29904"/>
                            <a:pt x="2637" y="29485"/>
                          </a:cubicBezTo>
                          <a:cubicBezTo>
                            <a:pt x="2278" y="29066"/>
                            <a:pt x="1919" y="28588"/>
                            <a:pt x="1620" y="28050"/>
                          </a:cubicBezTo>
                          <a:cubicBezTo>
                            <a:pt x="1321" y="27511"/>
                            <a:pt x="1082" y="26973"/>
                            <a:pt x="843" y="26435"/>
                          </a:cubicBezTo>
                          <a:cubicBezTo>
                            <a:pt x="603" y="25837"/>
                            <a:pt x="424" y="25238"/>
                            <a:pt x="304" y="24641"/>
                          </a:cubicBezTo>
                          <a:cubicBezTo>
                            <a:pt x="125" y="23683"/>
                            <a:pt x="5" y="22667"/>
                            <a:pt x="5" y="21650"/>
                          </a:cubicBezTo>
                          <a:cubicBezTo>
                            <a:pt x="5" y="20633"/>
                            <a:pt x="65" y="19617"/>
                            <a:pt x="245" y="18540"/>
                          </a:cubicBezTo>
                          <a:cubicBezTo>
                            <a:pt x="424" y="17464"/>
                            <a:pt x="723" y="16447"/>
                            <a:pt x="1082" y="15370"/>
                          </a:cubicBezTo>
                          <a:cubicBezTo>
                            <a:pt x="1441" y="14294"/>
                            <a:pt x="1919" y="13217"/>
                            <a:pt x="2457" y="12201"/>
                          </a:cubicBezTo>
                          <a:cubicBezTo>
                            <a:pt x="2996" y="11124"/>
                            <a:pt x="3654" y="10107"/>
                            <a:pt x="4311" y="9150"/>
                          </a:cubicBezTo>
                          <a:cubicBezTo>
                            <a:pt x="5029" y="8194"/>
                            <a:pt x="5747" y="7296"/>
                            <a:pt x="6584" y="6459"/>
                          </a:cubicBezTo>
                          <a:cubicBezTo>
                            <a:pt x="7362" y="5622"/>
                            <a:pt x="8259" y="4844"/>
                            <a:pt x="9156" y="4127"/>
                          </a:cubicBezTo>
                          <a:cubicBezTo>
                            <a:pt x="10053" y="3409"/>
                            <a:pt x="11010" y="2811"/>
                            <a:pt x="12027" y="2273"/>
                          </a:cubicBezTo>
                          <a:cubicBezTo>
                            <a:pt x="12924" y="1794"/>
                            <a:pt x="13821" y="1375"/>
                            <a:pt x="14778" y="1017"/>
                          </a:cubicBezTo>
                          <a:cubicBezTo>
                            <a:pt x="15675" y="718"/>
                            <a:pt x="16572" y="478"/>
                            <a:pt x="17469" y="299"/>
                          </a:cubicBezTo>
                          <a:cubicBezTo>
                            <a:pt x="18366" y="179"/>
                            <a:pt x="19203" y="119"/>
                            <a:pt x="20041" y="119"/>
                          </a:cubicBezTo>
                          <a:cubicBezTo>
                            <a:pt x="20878" y="179"/>
                            <a:pt x="21715" y="299"/>
                            <a:pt x="22493" y="478"/>
                          </a:cubicBezTo>
                          <a:lnTo>
                            <a:pt x="22313" y="299"/>
                          </a:lnTo>
                          <a:cubicBezTo>
                            <a:pt x="21536" y="119"/>
                            <a:pt x="20758" y="0"/>
                            <a:pt x="19921" y="0"/>
                          </a:cubicBezTo>
                          <a:cubicBezTo>
                            <a:pt x="19084" y="0"/>
                            <a:pt x="18247" y="60"/>
                            <a:pt x="17349" y="179"/>
                          </a:cubicBezTo>
                          <a:cubicBezTo>
                            <a:pt x="16452" y="359"/>
                            <a:pt x="15615" y="538"/>
                            <a:pt x="14718" y="897"/>
                          </a:cubicBezTo>
                          <a:cubicBezTo>
                            <a:pt x="13821" y="1196"/>
                            <a:pt x="12924" y="1615"/>
                            <a:pt x="12027" y="2093"/>
                          </a:cubicBezTo>
                          <a:cubicBezTo>
                            <a:pt x="11010" y="2632"/>
                            <a:pt x="10113" y="3229"/>
                            <a:pt x="9156" y="3947"/>
                          </a:cubicBezTo>
                          <a:cubicBezTo>
                            <a:pt x="8259" y="4665"/>
                            <a:pt x="7362" y="5442"/>
                            <a:pt x="6584" y="6280"/>
                          </a:cubicBezTo>
                          <a:cubicBezTo>
                            <a:pt x="5807" y="7117"/>
                            <a:pt x="5029" y="8014"/>
                            <a:pt x="4311" y="8971"/>
                          </a:cubicBezTo>
                          <a:cubicBezTo>
                            <a:pt x="3594" y="9928"/>
                            <a:pt x="2996" y="10944"/>
                            <a:pt x="2457" y="12021"/>
                          </a:cubicBezTo>
                          <a:cubicBezTo>
                            <a:pt x="1800" y="13277"/>
                            <a:pt x="1261" y="14533"/>
                            <a:pt x="902" y="15789"/>
                          </a:cubicBezTo>
                          <a:cubicBezTo>
                            <a:pt x="484" y="17045"/>
                            <a:pt x="245" y="18241"/>
                            <a:pt x="125" y="19497"/>
                          </a:cubicBezTo>
                          <a:cubicBezTo>
                            <a:pt x="5" y="20693"/>
                            <a:pt x="-54" y="21889"/>
                            <a:pt x="65" y="22966"/>
                          </a:cubicBezTo>
                          <a:cubicBezTo>
                            <a:pt x="185" y="24102"/>
                            <a:pt x="424" y="25119"/>
                            <a:pt x="783" y="26136"/>
                          </a:cubicBezTo>
                          <a:cubicBezTo>
                            <a:pt x="783" y="26196"/>
                            <a:pt x="843" y="26315"/>
                            <a:pt x="902" y="26375"/>
                          </a:cubicBezTo>
                          <a:cubicBezTo>
                            <a:pt x="962" y="26435"/>
                            <a:pt x="962" y="26554"/>
                            <a:pt x="1022" y="26614"/>
                          </a:cubicBezTo>
                          <a:cubicBezTo>
                            <a:pt x="1082" y="26674"/>
                            <a:pt x="1082" y="26794"/>
                            <a:pt x="1142" y="26853"/>
                          </a:cubicBezTo>
                          <a:cubicBezTo>
                            <a:pt x="1202" y="26913"/>
                            <a:pt x="1202" y="27033"/>
                            <a:pt x="1261" y="27092"/>
                          </a:cubicBezTo>
                          <a:cubicBezTo>
                            <a:pt x="1441" y="27451"/>
                            <a:pt x="1620" y="27750"/>
                            <a:pt x="1800" y="28109"/>
                          </a:cubicBezTo>
                          <a:cubicBezTo>
                            <a:pt x="1979" y="28408"/>
                            <a:pt x="2218" y="28767"/>
                            <a:pt x="2457" y="29066"/>
                          </a:cubicBezTo>
                          <a:cubicBezTo>
                            <a:pt x="2697" y="29365"/>
                            <a:pt x="2936" y="29664"/>
                            <a:pt x="3175" y="29904"/>
                          </a:cubicBezTo>
                          <a:cubicBezTo>
                            <a:pt x="2996" y="30083"/>
                            <a:pt x="3295" y="30322"/>
                            <a:pt x="3594" y="30561"/>
                          </a:cubicBezTo>
                        </a:path>
                      </a:pathLst>
                    </a:custGeom>
                    <a:noFill/>
                    <a:ln w="6350" cap="flat">
                      <a:solidFill>
                        <a:schemeClr val="bg1">
                          <a:alpha val="80000"/>
                        </a:schemeClr>
                      </a:solidFill>
                      <a:prstDash val="solid"/>
                      <a:miter/>
                    </a:ln>
                  </p:spPr>
                  <p:txBody>
                    <a:bodyPr rtlCol="0" anchor="ctr"/>
                    <a:lstStyle/>
                    <a:p>
                      <a:endParaRPr lang="en-GB"/>
                    </a:p>
                  </p:txBody>
                </p:sp>
                <p:sp>
                  <p:nvSpPr>
                    <p:cNvPr id="7395" name="Vrije vorm: vorm 7394">
                      <a:extLst>
                        <a:ext uri="{FF2B5EF4-FFF2-40B4-BE49-F238E27FC236}">
                          <a16:creationId xmlns:a16="http://schemas.microsoft.com/office/drawing/2014/main" id="{643DC033-DB46-43EF-80C9-477074416516}"/>
                        </a:ext>
                      </a:extLst>
                    </p:cNvPr>
                    <p:cNvSpPr/>
                    <p:nvPr/>
                  </p:nvSpPr>
                  <p:spPr>
                    <a:xfrm>
                      <a:off x="5344317" y="5281593"/>
                      <a:ext cx="29919" cy="32652"/>
                    </a:xfrm>
                    <a:custGeom>
                      <a:avLst/>
                      <a:gdLst>
                        <a:gd name="connsiteX0" fmla="*/ 25613 w 29919"/>
                        <a:gd name="connsiteY0" fmla="*/ 3132 h 32652"/>
                        <a:gd name="connsiteX1" fmla="*/ 28065 w 29919"/>
                        <a:gd name="connsiteY1" fmla="*/ 6362 h 32652"/>
                        <a:gd name="connsiteX2" fmla="*/ 29082 w 29919"/>
                        <a:gd name="connsiteY2" fmla="*/ 10608 h 32652"/>
                        <a:gd name="connsiteX3" fmla="*/ 28663 w 29919"/>
                        <a:gd name="connsiteY3" fmla="*/ 15452 h 32652"/>
                        <a:gd name="connsiteX4" fmla="*/ 26749 w 29919"/>
                        <a:gd name="connsiteY4" fmla="*/ 20536 h 32652"/>
                        <a:gd name="connsiteX5" fmla="*/ 22802 w 29919"/>
                        <a:gd name="connsiteY5" fmla="*/ 25919 h 32652"/>
                        <a:gd name="connsiteX6" fmla="*/ 17838 w 29919"/>
                        <a:gd name="connsiteY6" fmla="*/ 29746 h 32652"/>
                        <a:gd name="connsiteX7" fmla="*/ 12455 w 29919"/>
                        <a:gd name="connsiteY7" fmla="*/ 31600 h 32652"/>
                        <a:gd name="connsiteX8" fmla="*/ 7312 w 29919"/>
                        <a:gd name="connsiteY8" fmla="*/ 31182 h 32652"/>
                        <a:gd name="connsiteX9" fmla="*/ 6534 w 29919"/>
                        <a:gd name="connsiteY9" fmla="*/ 30883 h 32652"/>
                        <a:gd name="connsiteX10" fmla="*/ 5817 w 29919"/>
                        <a:gd name="connsiteY10" fmla="*/ 30524 h 32652"/>
                        <a:gd name="connsiteX11" fmla="*/ 5159 w 29919"/>
                        <a:gd name="connsiteY11" fmla="*/ 30105 h 32652"/>
                        <a:gd name="connsiteX12" fmla="*/ 4561 w 29919"/>
                        <a:gd name="connsiteY12" fmla="*/ 29627 h 32652"/>
                        <a:gd name="connsiteX13" fmla="*/ 3425 w 29919"/>
                        <a:gd name="connsiteY13" fmla="*/ 28490 h 32652"/>
                        <a:gd name="connsiteX14" fmla="*/ 2468 w 29919"/>
                        <a:gd name="connsiteY14" fmla="*/ 27175 h 32652"/>
                        <a:gd name="connsiteX15" fmla="*/ 1750 w 29919"/>
                        <a:gd name="connsiteY15" fmla="*/ 25620 h 32652"/>
                        <a:gd name="connsiteX16" fmla="*/ 1212 w 29919"/>
                        <a:gd name="connsiteY16" fmla="*/ 23885 h 32652"/>
                        <a:gd name="connsiteX17" fmla="*/ 912 w 29919"/>
                        <a:gd name="connsiteY17" fmla="*/ 21074 h 32652"/>
                        <a:gd name="connsiteX18" fmla="*/ 1152 w 29919"/>
                        <a:gd name="connsiteY18" fmla="*/ 18144 h 32652"/>
                        <a:gd name="connsiteX19" fmla="*/ 1929 w 29919"/>
                        <a:gd name="connsiteY19" fmla="*/ 15153 h 32652"/>
                        <a:gd name="connsiteX20" fmla="*/ 3245 w 29919"/>
                        <a:gd name="connsiteY20" fmla="*/ 12103 h 32652"/>
                        <a:gd name="connsiteX21" fmla="*/ 4979 w 29919"/>
                        <a:gd name="connsiteY21" fmla="*/ 9233 h 32652"/>
                        <a:gd name="connsiteX22" fmla="*/ 7073 w 29919"/>
                        <a:gd name="connsiteY22" fmla="*/ 6721 h 32652"/>
                        <a:gd name="connsiteX23" fmla="*/ 9525 w 29919"/>
                        <a:gd name="connsiteY23" fmla="*/ 4567 h 32652"/>
                        <a:gd name="connsiteX24" fmla="*/ 12216 w 29919"/>
                        <a:gd name="connsiteY24" fmla="*/ 2833 h 32652"/>
                        <a:gd name="connsiteX25" fmla="*/ 15027 w 29919"/>
                        <a:gd name="connsiteY25" fmla="*/ 1577 h 32652"/>
                        <a:gd name="connsiteX26" fmla="*/ 17778 w 29919"/>
                        <a:gd name="connsiteY26" fmla="*/ 919 h 32652"/>
                        <a:gd name="connsiteX27" fmla="*/ 20410 w 29919"/>
                        <a:gd name="connsiteY27" fmla="*/ 859 h 32652"/>
                        <a:gd name="connsiteX28" fmla="*/ 22862 w 29919"/>
                        <a:gd name="connsiteY28" fmla="*/ 1398 h 32652"/>
                        <a:gd name="connsiteX29" fmla="*/ 23580 w 29919"/>
                        <a:gd name="connsiteY29" fmla="*/ 1697 h 32652"/>
                        <a:gd name="connsiteX30" fmla="*/ 24297 w 29919"/>
                        <a:gd name="connsiteY30" fmla="*/ 2056 h 32652"/>
                        <a:gd name="connsiteX31" fmla="*/ 24955 w 29919"/>
                        <a:gd name="connsiteY31" fmla="*/ 2474 h 32652"/>
                        <a:gd name="connsiteX32" fmla="*/ 25613 w 29919"/>
                        <a:gd name="connsiteY32" fmla="*/ 3132 h 32652"/>
                        <a:gd name="connsiteX33" fmla="*/ 4023 w 29919"/>
                        <a:gd name="connsiteY33" fmla="*/ 30524 h 32652"/>
                        <a:gd name="connsiteX34" fmla="*/ 4680 w 29919"/>
                        <a:gd name="connsiteY34" fmla="*/ 31003 h 32652"/>
                        <a:gd name="connsiteX35" fmla="*/ 5398 w 29919"/>
                        <a:gd name="connsiteY35" fmla="*/ 31421 h 32652"/>
                        <a:gd name="connsiteX36" fmla="*/ 6116 w 29919"/>
                        <a:gd name="connsiteY36" fmla="*/ 31780 h 32652"/>
                        <a:gd name="connsiteX37" fmla="*/ 6893 w 29919"/>
                        <a:gd name="connsiteY37" fmla="*/ 32079 h 32652"/>
                        <a:gd name="connsiteX38" fmla="*/ 9525 w 29919"/>
                        <a:gd name="connsiteY38" fmla="*/ 32617 h 32652"/>
                        <a:gd name="connsiteX39" fmla="*/ 12276 w 29919"/>
                        <a:gd name="connsiteY39" fmla="*/ 32498 h 32652"/>
                        <a:gd name="connsiteX40" fmla="*/ 15147 w 29919"/>
                        <a:gd name="connsiteY40" fmla="*/ 31780 h 32652"/>
                        <a:gd name="connsiteX41" fmla="*/ 18018 w 29919"/>
                        <a:gd name="connsiteY41" fmla="*/ 30464 h 32652"/>
                        <a:gd name="connsiteX42" fmla="*/ 20828 w 29919"/>
                        <a:gd name="connsiteY42" fmla="*/ 28610 h 32652"/>
                        <a:gd name="connsiteX43" fmla="*/ 23340 w 29919"/>
                        <a:gd name="connsiteY43" fmla="*/ 26337 h 32652"/>
                        <a:gd name="connsiteX44" fmla="*/ 25553 w 29919"/>
                        <a:gd name="connsiteY44" fmla="*/ 23706 h 32652"/>
                        <a:gd name="connsiteX45" fmla="*/ 27407 w 29919"/>
                        <a:gd name="connsiteY45" fmla="*/ 20716 h 32652"/>
                        <a:gd name="connsiteX46" fmla="*/ 28783 w 29919"/>
                        <a:gd name="connsiteY46" fmla="*/ 17546 h 32652"/>
                        <a:gd name="connsiteX47" fmla="*/ 29620 w 29919"/>
                        <a:gd name="connsiteY47" fmla="*/ 14376 h 32652"/>
                        <a:gd name="connsiteX48" fmla="*/ 29919 w 29919"/>
                        <a:gd name="connsiteY48" fmla="*/ 11266 h 32652"/>
                        <a:gd name="connsiteX49" fmla="*/ 29620 w 29919"/>
                        <a:gd name="connsiteY49" fmla="*/ 8335 h 32652"/>
                        <a:gd name="connsiteX50" fmla="*/ 29441 w 29919"/>
                        <a:gd name="connsiteY50" fmla="*/ 7558 h 32652"/>
                        <a:gd name="connsiteX51" fmla="*/ 29202 w 29919"/>
                        <a:gd name="connsiteY51" fmla="*/ 6840 h 32652"/>
                        <a:gd name="connsiteX52" fmla="*/ 28962 w 29919"/>
                        <a:gd name="connsiteY52" fmla="*/ 6123 h 32652"/>
                        <a:gd name="connsiteX53" fmla="*/ 28663 w 29919"/>
                        <a:gd name="connsiteY53" fmla="*/ 5465 h 32652"/>
                        <a:gd name="connsiteX54" fmla="*/ 26271 w 29919"/>
                        <a:gd name="connsiteY54" fmla="*/ 3491 h 32652"/>
                        <a:gd name="connsiteX55" fmla="*/ 23400 w 29919"/>
                        <a:gd name="connsiteY55" fmla="*/ 1099 h 32652"/>
                        <a:gd name="connsiteX56" fmla="*/ 22503 w 29919"/>
                        <a:gd name="connsiteY56" fmla="*/ 381 h 32652"/>
                        <a:gd name="connsiteX57" fmla="*/ 20051 w 29919"/>
                        <a:gd name="connsiteY57" fmla="*/ 22 h 32652"/>
                        <a:gd name="connsiteX58" fmla="*/ 17479 w 29919"/>
                        <a:gd name="connsiteY58" fmla="*/ 202 h 32652"/>
                        <a:gd name="connsiteX59" fmla="*/ 14788 w 29919"/>
                        <a:gd name="connsiteY59" fmla="*/ 919 h 32652"/>
                        <a:gd name="connsiteX60" fmla="*/ 12037 w 29919"/>
                        <a:gd name="connsiteY60" fmla="*/ 2175 h 32652"/>
                        <a:gd name="connsiteX61" fmla="*/ 9166 w 29919"/>
                        <a:gd name="connsiteY61" fmla="*/ 4029 h 32652"/>
                        <a:gd name="connsiteX62" fmla="*/ 6594 w 29919"/>
                        <a:gd name="connsiteY62" fmla="*/ 6362 h 32652"/>
                        <a:gd name="connsiteX63" fmla="*/ 4322 w 29919"/>
                        <a:gd name="connsiteY63" fmla="*/ 9053 h 32652"/>
                        <a:gd name="connsiteX64" fmla="*/ 2468 w 29919"/>
                        <a:gd name="connsiteY64" fmla="*/ 12103 h 32652"/>
                        <a:gd name="connsiteX65" fmla="*/ 1092 w 29919"/>
                        <a:gd name="connsiteY65" fmla="*/ 15273 h 32652"/>
                        <a:gd name="connsiteX66" fmla="*/ 255 w 29919"/>
                        <a:gd name="connsiteY66" fmla="*/ 18443 h 32652"/>
                        <a:gd name="connsiteX67" fmla="*/ 16 w 29919"/>
                        <a:gd name="connsiteY67" fmla="*/ 21553 h 32652"/>
                        <a:gd name="connsiteX68" fmla="*/ 315 w 29919"/>
                        <a:gd name="connsiteY68" fmla="*/ 24543 h 32652"/>
                        <a:gd name="connsiteX69" fmla="*/ 853 w 29919"/>
                        <a:gd name="connsiteY69" fmla="*/ 26337 h 32652"/>
                        <a:gd name="connsiteX70" fmla="*/ 1630 w 29919"/>
                        <a:gd name="connsiteY70" fmla="*/ 27952 h 32652"/>
                        <a:gd name="connsiteX71" fmla="*/ 2647 w 29919"/>
                        <a:gd name="connsiteY71" fmla="*/ 29388 h 32652"/>
                        <a:gd name="connsiteX72" fmla="*/ 4023 w 29919"/>
                        <a:gd name="connsiteY72" fmla="*/ 30524 h 3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9919" h="32652">
                          <a:moveTo>
                            <a:pt x="25613" y="3132"/>
                          </a:moveTo>
                          <a:cubicBezTo>
                            <a:pt x="26630" y="4029"/>
                            <a:pt x="27467" y="5106"/>
                            <a:pt x="28065" y="6362"/>
                          </a:cubicBezTo>
                          <a:cubicBezTo>
                            <a:pt x="28663" y="7618"/>
                            <a:pt x="29022" y="9053"/>
                            <a:pt x="29082" y="10608"/>
                          </a:cubicBezTo>
                          <a:cubicBezTo>
                            <a:pt x="29202" y="12163"/>
                            <a:pt x="29082" y="13778"/>
                            <a:pt x="28663" y="15452"/>
                          </a:cubicBezTo>
                          <a:cubicBezTo>
                            <a:pt x="28304" y="17127"/>
                            <a:pt x="27646" y="18862"/>
                            <a:pt x="26749" y="20536"/>
                          </a:cubicBezTo>
                          <a:cubicBezTo>
                            <a:pt x="25673" y="22570"/>
                            <a:pt x="24357" y="24364"/>
                            <a:pt x="22802" y="25919"/>
                          </a:cubicBezTo>
                          <a:cubicBezTo>
                            <a:pt x="21307" y="27474"/>
                            <a:pt x="19632" y="28790"/>
                            <a:pt x="17838" y="29746"/>
                          </a:cubicBezTo>
                          <a:cubicBezTo>
                            <a:pt x="16104" y="30704"/>
                            <a:pt x="14250" y="31361"/>
                            <a:pt x="12455" y="31600"/>
                          </a:cubicBezTo>
                          <a:cubicBezTo>
                            <a:pt x="10661" y="31840"/>
                            <a:pt x="8927" y="31720"/>
                            <a:pt x="7312" y="31182"/>
                          </a:cubicBezTo>
                          <a:cubicBezTo>
                            <a:pt x="7073" y="31122"/>
                            <a:pt x="6834" y="31003"/>
                            <a:pt x="6534" y="30883"/>
                          </a:cubicBezTo>
                          <a:cubicBezTo>
                            <a:pt x="6295" y="30763"/>
                            <a:pt x="6056" y="30644"/>
                            <a:pt x="5817" y="30524"/>
                          </a:cubicBezTo>
                          <a:cubicBezTo>
                            <a:pt x="5578" y="30404"/>
                            <a:pt x="5339" y="30285"/>
                            <a:pt x="5159" y="30105"/>
                          </a:cubicBezTo>
                          <a:cubicBezTo>
                            <a:pt x="4979" y="29926"/>
                            <a:pt x="4740" y="29806"/>
                            <a:pt x="4561" y="29627"/>
                          </a:cubicBezTo>
                          <a:cubicBezTo>
                            <a:pt x="4142" y="29268"/>
                            <a:pt x="3783" y="28909"/>
                            <a:pt x="3425" y="28490"/>
                          </a:cubicBezTo>
                          <a:cubicBezTo>
                            <a:pt x="3066" y="28072"/>
                            <a:pt x="2766" y="27653"/>
                            <a:pt x="2468" y="27175"/>
                          </a:cubicBezTo>
                          <a:cubicBezTo>
                            <a:pt x="2169" y="26696"/>
                            <a:pt x="1929" y="26158"/>
                            <a:pt x="1750" y="25620"/>
                          </a:cubicBezTo>
                          <a:cubicBezTo>
                            <a:pt x="1511" y="25082"/>
                            <a:pt x="1391" y="24483"/>
                            <a:pt x="1212" y="23885"/>
                          </a:cubicBezTo>
                          <a:cubicBezTo>
                            <a:pt x="1032" y="22988"/>
                            <a:pt x="912" y="22031"/>
                            <a:pt x="912" y="21074"/>
                          </a:cubicBezTo>
                          <a:cubicBezTo>
                            <a:pt x="912" y="20118"/>
                            <a:pt x="972" y="19160"/>
                            <a:pt x="1152" y="18144"/>
                          </a:cubicBezTo>
                          <a:cubicBezTo>
                            <a:pt x="1331" y="17127"/>
                            <a:pt x="1571" y="16170"/>
                            <a:pt x="1929" y="15153"/>
                          </a:cubicBezTo>
                          <a:cubicBezTo>
                            <a:pt x="2288" y="14137"/>
                            <a:pt x="2707" y="13120"/>
                            <a:pt x="3245" y="12103"/>
                          </a:cubicBezTo>
                          <a:cubicBezTo>
                            <a:pt x="3783" y="11087"/>
                            <a:pt x="4322" y="10130"/>
                            <a:pt x="4979" y="9233"/>
                          </a:cubicBezTo>
                          <a:cubicBezTo>
                            <a:pt x="5637" y="8335"/>
                            <a:pt x="6355" y="7498"/>
                            <a:pt x="7073" y="6721"/>
                          </a:cubicBezTo>
                          <a:cubicBezTo>
                            <a:pt x="7850" y="5943"/>
                            <a:pt x="8628" y="5226"/>
                            <a:pt x="9525" y="4567"/>
                          </a:cubicBezTo>
                          <a:cubicBezTo>
                            <a:pt x="10362" y="3910"/>
                            <a:pt x="11259" y="3312"/>
                            <a:pt x="12216" y="2833"/>
                          </a:cubicBezTo>
                          <a:cubicBezTo>
                            <a:pt x="13173" y="2355"/>
                            <a:pt x="14070" y="1936"/>
                            <a:pt x="15027" y="1577"/>
                          </a:cubicBezTo>
                          <a:cubicBezTo>
                            <a:pt x="15924" y="1278"/>
                            <a:pt x="16881" y="1039"/>
                            <a:pt x="17778" y="919"/>
                          </a:cubicBezTo>
                          <a:cubicBezTo>
                            <a:pt x="18675" y="800"/>
                            <a:pt x="19572" y="800"/>
                            <a:pt x="20410" y="859"/>
                          </a:cubicBezTo>
                          <a:cubicBezTo>
                            <a:pt x="21247" y="919"/>
                            <a:pt x="22084" y="1099"/>
                            <a:pt x="22862" y="1398"/>
                          </a:cubicBezTo>
                          <a:cubicBezTo>
                            <a:pt x="23101" y="1518"/>
                            <a:pt x="23340" y="1577"/>
                            <a:pt x="23580" y="1697"/>
                          </a:cubicBezTo>
                          <a:cubicBezTo>
                            <a:pt x="23819" y="1817"/>
                            <a:pt x="24058" y="1936"/>
                            <a:pt x="24297" y="2056"/>
                          </a:cubicBezTo>
                          <a:cubicBezTo>
                            <a:pt x="24536" y="2175"/>
                            <a:pt x="24716" y="2295"/>
                            <a:pt x="24955" y="2474"/>
                          </a:cubicBezTo>
                          <a:cubicBezTo>
                            <a:pt x="25194" y="2833"/>
                            <a:pt x="25434" y="2953"/>
                            <a:pt x="25613" y="3132"/>
                          </a:cubicBezTo>
                          <a:moveTo>
                            <a:pt x="4023" y="30524"/>
                          </a:moveTo>
                          <a:cubicBezTo>
                            <a:pt x="4262" y="30704"/>
                            <a:pt x="4441" y="30883"/>
                            <a:pt x="4680" y="31003"/>
                          </a:cubicBezTo>
                          <a:cubicBezTo>
                            <a:pt x="4920" y="31182"/>
                            <a:pt x="5159" y="31302"/>
                            <a:pt x="5398" y="31421"/>
                          </a:cubicBezTo>
                          <a:cubicBezTo>
                            <a:pt x="5637" y="31541"/>
                            <a:pt x="5877" y="31660"/>
                            <a:pt x="6116" y="31780"/>
                          </a:cubicBezTo>
                          <a:cubicBezTo>
                            <a:pt x="6355" y="31899"/>
                            <a:pt x="6654" y="32019"/>
                            <a:pt x="6893" y="32079"/>
                          </a:cubicBezTo>
                          <a:cubicBezTo>
                            <a:pt x="7731" y="32378"/>
                            <a:pt x="8628" y="32558"/>
                            <a:pt x="9525" y="32617"/>
                          </a:cubicBezTo>
                          <a:cubicBezTo>
                            <a:pt x="10422" y="32677"/>
                            <a:pt x="11379" y="32677"/>
                            <a:pt x="12276" y="32498"/>
                          </a:cubicBezTo>
                          <a:cubicBezTo>
                            <a:pt x="13233" y="32378"/>
                            <a:pt x="14190" y="32139"/>
                            <a:pt x="15147" y="31780"/>
                          </a:cubicBezTo>
                          <a:cubicBezTo>
                            <a:pt x="16104" y="31421"/>
                            <a:pt x="17060" y="31003"/>
                            <a:pt x="18018" y="30464"/>
                          </a:cubicBezTo>
                          <a:cubicBezTo>
                            <a:pt x="18974" y="29926"/>
                            <a:pt x="19931" y="29328"/>
                            <a:pt x="20828" y="28610"/>
                          </a:cubicBezTo>
                          <a:cubicBezTo>
                            <a:pt x="21726" y="27892"/>
                            <a:pt x="22563" y="27175"/>
                            <a:pt x="23340" y="26337"/>
                          </a:cubicBezTo>
                          <a:cubicBezTo>
                            <a:pt x="24118" y="25500"/>
                            <a:pt x="24895" y="24603"/>
                            <a:pt x="25553" y="23706"/>
                          </a:cubicBezTo>
                          <a:cubicBezTo>
                            <a:pt x="26211" y="22749"/>
                            <a:pt x="26869" y="21792"/>
                            <a:pt x="27407" y="20716"/>
                          </a:cubicBezTo>
                          <a:cubicBezTo>
                            <a:pt x="27945" y="19699"/>
                            <a:pt x="28424" y="18622"/>
                            <a:pt x="28783" y="17546"/>
                          </a:cubicBezTo>
                          <a:cubicBezTo>
                            <a:pt x="29142" y="16469"/>
                            <a:pt x="29441" y="15452"/>
                            <a:pt x="29620" y="14376"/>
                          </a:cubicBezTo>
                          <a:cubicBezTo>
                            <a:pt x="29799" y="13359"/>
                            <a:pt x="29919" y="12283"/>
                            <a:pt x="29919" y="11266"/>
                          </a:cubicBezTo>
                          <a:cubicBezTo>
                            <a:pt x="29919" y="10249"/>
                            <a:pt x="29799" y="9293"/>
                            <a:pt x="29620" y="8335"/>
                          </a:cubicBezTo>
                          <a:cubicBezTo>
                            <a:pt x="29560" y="8096"/>
                            <a:pt x="29500" y="7797"/>
                            <a:pt x="29441" y="7558"/>
                          </a:cubicBezTo>
                          <a:cubicBezTo>
                            <a:pt x="29381" y="7319"/>
                            <a:pt x="29321" y="7080"/>
                            <a:pt x="29202" y="6840"/>
                          </a:cubicBezTo>
                          <a:cubicBezTo>
                            <a:pt x="29142" y="6601"/>
                            <a:pt x="29022" y="6362"/>
                            <a:pt x="28962" y="6123"/>
                          </a:cubicBezTo>
                          <a:cubicBezTo>
                            <a:pt x="28843" y="5883"/>
                            <a:pt x="28783" y="5644"/>
                            <a:pt x="28663" y="5465"/>
                          </a:cubicBezTo>
                          <a:lnTo>
                            <a:pt x="26271" y="3491"/>
                          </a:lnTo>
                          <a:lnTo>
                            <a:pt x="23400" y="1099"/>
                          </a:lnTo>
                          <a:lnTo>
                            <a:pt x="22503" y="381"/>
                          </a:lnTo>
                          <a:cubicBezTo>
                            <a:pt x="21726" y="142"/>
                            <a:pt x="20888" y="22"/>
                            <a:pt x="20051" y="22"/>
                          </a:cubicBezTo>
                          <a:cubicBezTo>
                            <a:pt x="19213" y="-37"/>
                            <a:pt x="18317" y="22"/>
                            <a:pt x="17479" y="202"/>
                          </a:cubicBezTo>
                          <a:cubicBezTo>
                            <a:pt x="16582" y="321"/>
                            <a:pt x="15685" y="561"/>
                            <a:pt x="14788" y="919"/>
                          </a:cubicBezTo>
                          <a:cubicBezTo>
                            <a:pt x="13891" y="1218"/>
                            <a:pt x="12994" y="1637"/>
                            <a:pt x="12037" y="2175"/>
                          </a:cubicBezTo>
                          <a:cubicBezTo>
                            <a:pt x="11020" y="2713"/>
                            <a:pt x="10123" y="3312"/>
                            <a:pt x="9166" y="4029"/>
                          </a:cubicBezTo>
                          <a:cubicBezTo>
                            <a:pt x="8269" y="4747"/>
                            <a:pt x="7372" y="5525"/>
                            <a:pt x="6594" y="6362"/>
                          </a:cubicBezTo>
                          <a:cubicBezTo>
                            <a:pt x="5817" y="7199"/>
                            <a:pt x="5039" y="8096"/>
                            <a:pt x="4322" y="9053"/>
                          </a:cubicBezTo>
                          <a:cubicBezTo>
                            <a:pt x="3604" y="10010"/>
                            <a:pt x="3006" y="11027"/>
                            <a:pt x="2468" y="12103"/>
                          </a:cubicBezTo>
                          <a:cubicBezTo>
                            <a:pt x="1929" y="13180"/>
                            <a:pt x="1451" y="14197"/>
                            <a:pt x="1092" y="15273"/>
                          </a:cubicBezTo>
                          <a:cubicBezTo>
                            <a:pt x="733" y="16350"/>
                            <a:pt x="434" y="17426"/>
                            <a:pt x="255" y="18443"/>
                          </a:cubicBezTo>
                          <a:cubicBezTo>
                            <a:pt x="75" y="19519"/>
                            <a:pt x="-44" y="20536"/>
                            <a:pt x="16" y="21553"/>
                          </a:cubicBezTo>
                          <a:cubicBezTo>
                            <a:pt x="16" y="22570"/>
                            <a:pt x="135" y="23587"/>
                            <a:pt x="315" y="24543"/>
                          </a:cubicBezTo>
                          <a:cubicBezTo>
                            <a:pt x="434" y="25201"/>
                            <a:pt x="614" y="25799"/>
                            <a:pt x="853" y="26337"/>
                          </a:cubicBezTo>
                          <a:cubicBezTo>
                            <a:pt x="1092" y="26936"/>
                            <a:pt x="1331" y="27474"/>
                            <a:pt x="1630" y="27952"/>
                          </a:cubicBezTo>
                          <a:cubicBezTo>
                            <a:pt x="1929" y="28431"/>
                            <a:pt x="2288" y="28909"/>
                            <a:pt x="2647" y="29388"/>
                          </a:cubicBezTo>
                          <a:cubicBezTo>
                            <a:pt x="3006" y="29866"/>
                            <a:pt x="3604" y="30165"/>
                            <a:pt x="4023" y="30524"/>
                          </a:cubicBezTo>
                        </a:path>
                      </a:pathLst>
                    </a:custGeom>
                    <a:noFill/>
                    <a:ln w="6350" cap="flat">
                      <a:solidFill>
                        <a:schemeClr val="bg1">
                          <a:alpha val="80000"/>
                        </a:schemeClr>
                      </a:solidFill>
                      <a:prstDash val="solid"/>
                      <a:miter/>
                    </a:ln>
                  </p:spPr>
                  <p:txBody>
                    <a:bodyPr rtlCol="0" anchor="ctr"/>
                    <a:lstStyle/>
                    <a:p>
                      <a:endParaRPr lang="en-GB"/>
                    </a:p>
                  </p:txBody>
                </p:sp>
                <p:sp>
                  <p:nvSpPr>
                    <p:cNvPr id="7396" name="Vrije vorm: vorm 7395">
                      <a:extLst>
                        <a:ext uri="{FF2B5EF4-FFF2-40B4-BE49-F238E27FC236}">
                          <a16:creationId xmlns:a16="http://schemas.microsoft.com/office/drawing/2014/main" id="{99B61F7C-94AC-4E54-A9D4-2F4FB195B0BA}"/>
                        </a:ext>
                      </a:extLst>
                    </p:cNvPr>
                    <p:cNvSpPr/>
                    <p:nvPr/>
                  </p:nvSpPr>
                  <p:spPr>
                    <a:xfrm>
                      <a:off x="5365863" y="5298241"/>
                      <a:ext cx="5023" cy="5681"/>
                    </a:xfrm>
                    <a:custGeom>
                      <a:avLst/>
                      <a:gdLst>
                        <a:gd name="connsiteX0" fmla="*/ 1615 w 5023"/>
                        <a:gd name="connsiteY0" fmla="*/ 4785 h 5681"/>
                        <a:gd name="connsiteX1" fmla="*/ 1615 w 5023"/>
                        <a:gd name="connsiteY1" fmla="*/ 4785 h 5681"/>
                        <a:gd name="connsiteX2" fmla="*/ 1615 w 5023"/>
                        <a:gd name="connsiteY2" fmla="*/ 4785 h 5681"/>
                        <a:gd name="connsiteX3" fmla="*/ 1555 w 5023"/>
                        <a:gd name="connsiteY3" fmla="*/ 4785 h 5681"/>
                        <a:gd name="connsiteX4" fmla="*/ 1555 w 5023"/>
                        <a:gd name="connsiteY4" fmla="*/ 4785 h 5681"/>
                        <a:gd name="connsiteX5" fmla="*/ 1196 w 5023"/>
                        <a:gd name="connsiteY5" fmla="*/ 4605 h 5681"/>
                        <a:gd name="connsiteX6" fmla="*/ 1017 w 5023"/>
                        <a:gd name="connsiteY6" fmla="*/ 4306 h 5681"/>
                        <a:gd name="connsiteX7" fmla="*/ 778 w 5023"/>
                        <a:gd name="connsiteY7" fmla="*/ 3888 h 5681"/>
                        <a:gd name="connsiteX8" fmla="*/ 778 w 5023"/>
                        <a:gd name="connsiteY8" fmla="*/ 3529 h 5681"/>
                        <a:gd name="connsiteX9" fmla="*/ 837 w 5023"/>
                        <a:gd name="connsiteY9" fmla="*/ 3170 h 5681"/>
                        <a:gd name="connsiteX10" fmla="*/ 957 w 5023"/>
                        <a:gd name="connsiteY10" fmla="*/ 2811 h 5681"/>
                        <a:gd name="connsiteX11" fmla="*/ 1136 w 5023"/>
                        <a:gd name="connsiteY11" fmla="*/ 2452 h 5681"/>
                        <a:gd name="connsiteX12" fmla="*/ 1256 w 5023"/>
                        <a:gd name="connsiteY12" fmla="*/ 2213 h 5681"/>
                        <a:gd name="connsiteX13" fmla="*/ 1435 w 5023"/>
                        <a:gd name="connsiteY13" fmla="*/ 1974 h 5681"/>
                        <a:gd name="connsiteX14" fmla="*/ 1615 w 5023"/>
                        <a:gd name="connsiteY14" fmla="*/ 1794 h 5681"/>
                        <a:gd name="connsiteX15" fmla="*/ 1794 w 5023"/>
                        <a:gd name="connsiteY15" fmla="*/ 1615 h 5681"/>
                        <a:gd name="connsiteX16" fmla="*/ 1914 w 5023"/>
                        <a:gd name="connsiteY16" fmla="*/ 1555 h 5681"/>
                        <a:gd name="connsiteX17" fmla="*/ 2034 w 5023"/>
                        <a:gd name="connsiteY17" fmla="*/ 1495 h 5681"/>
                        <a:gd name="connsiteX18" fmla="*/ 2153 w 5023"/>
                        <a:gd name="connsiteY18" fmla="*/ 1435 h 5681"/>
                        <a:gd name="connsiteX19" fmla="*/ 2273 w 5023"/>
                        <a:gd name="connsiteY19" fmla="*/ 1375 h 5681"/>
                        <a:gd name="connsiteX20" fmla="*/ 2572 w 5023"/>
                        <a:gd name="connsiteY20" fmla="*/ 1256 h 5681"/>
                        <a:gd name="connsiteX21" fmla="*/ 2871 w 5023"/>
                        <a:gd name="connsiteY21" fmla="*/ 1196 h 5681"/>
                        <a:gd name="connsiteX22" fmla="*/ 3170 w 5023"/>
                        <a:gd name="connsiteY22" fmla="*/ 1196 h 5681"/>
                        <a:gd name="connsiteX23" fmla="*/ 3469 w 5023"/>
                        <a:gd name="connsiteY23" fmla="*/ 1196 h 5681"/>
                        <a:gd name="connsiteX24" fmla="*/ 3529 w 5023"/>
                        <a:gd name="connsiteY24" fmla="*/ 1196 h 5681"/>
                        <a:gd name="connsiteX25" fmla="*/ 3589 w 5023"/>
                        <a:gd name="connsiteY25" fmla="*/ 1196 h 5681"/>
                        <a:gd name="connsiteX26" fmla="*/ 3648 w 5023"/>
                        <a:gd name="connsiteY26" fmla="*/ 1196 h 5681"/>
                        <a:gd name="connsiteX27" fmla="*/ 3708 w 5023"/>
                        <a:gd name="connsiteY27" fmla="*/ 1196 h 5681"/>
                        <a:gd name="connsiteX28" fmla="*/ 3828 w 5023"/>
                        <a:gd name="connsiteY28" fmla="*/ 1256 h 5681"/>
                        <a:gd name="connsiteX29" fmla="*/ 3888 w 5023"/>
                        <a:gd name="connsiteY29" fmla="*/ 1316 h 5681"/>
                        <a:gd name="connsiteX30" fmla="*/ 3947 w 5023"/>
                        <a:gd name="connsiteY30" fmla="*/ 1375 h 5681"/>
                        <a:gd name="connsiteX31" fmla="*/ 4007 w 5023"/>
                        <a:gd name="connsiteY31" fmla="*/ 1435 h 5681"/>
                        <a:gd name="connsiteX32" fmla="*/ 4127 w 5023"/>
                        <a:gd name="connsiteY32" fmla="*/ 1555 h 5681"/>
                        <a:gd name="connsiteX33" fmla="*/ 4246 w 5023"/>
                        <a:gd name="connsiteY33" fmla="*/ 1735 h 5681"/>
                        <a:gd name="connsiteX34" fmla="*/ 4306 w 5023"/>
                        <a:gd name="connsiteY34" fmla="*/ 1914 h 5681"/>
                        <a:gd name="connsiteX35" fmla="*/ 4366 w 5023"/>
                        <a:gd name="connsiteY35" fmla="*/ 2153 h 5681"/>
                        <a:gd name="connsiteX36" fmla="*/ 4426 w 5023"/>
                        <a:gd name="connsiteY36" fmla="*/ 2512 h 5681"/>
                        <a:gd name="connsiteX37" fmla="*/ 4366 w 5023"/>
                        <a:gd name="connsiteY37" fmla="*/ 2871 h 5681"/>
                        <a:gd name="connsiteX38" fmla="*/ 4246 w 5023"/>
                        <a:gd name="connsiteY38" fmla="*/ 3230 h 5681"/>
                        <a:gd name="connsiteX39" fmla="*/ 4067 w 5023"/>
                        <a:gd name="connsiteY39" fmla="*/ 3589 h 5681"/>
                        <a:gd name="connsiteX40" fmla="*/ 3828 w 5023"/>
                        <a:gd name="connsiteY40" fmla="*/ 3947 h 5681"/>
                        <a:gd name="connsiteX41" fmla="*/ 3589 w 5023"/>
                        <a:gd name="connsiteY41" fmla="*/ 4246 h 5681"/>
                        <a:gd name="connsiteX42" fmla="*/ 3289 w 5023"/>
                        <a:gd name="connsiteY42" fmla="*/ 4486 h 5681"/>
                        <a:gd name="connsiteX43" fmla="*/ 2990 w 5023"/>
                        <a:gd name="connsiteY43" fmla="*/ 4725 h 5681"/>
                        <a:gd name="connsiteX44" fmla="*/ 2691 w 5023"/>
                        <a:gd name="connsiteY44" fmla="*/ 4844 h 5681"/>
                        <a:gd name="connsiteX45" fmla="*/ 2392 w 5023"/>
                        <a:gd name="connsiteY45" fmla="*/ 4904 h 5681"/>
                        <a:gd name="connsiteX46" fmla="*/ 2093 w 5023"/>
                        <a:gd name="connsiteY46" fmla="*/ 4904 h 5681"/>
                        <a:gd name="connsiteX47" fmla="*/ 1615 w 5023"/>
                        <a:gd name="connsiteY47" fmla="*/ 4785 h 5681"/>
                        <a:gd name="connsiteX48" fmla="*/ 538 w 5023"/>
                        <a:gd name="connsiteY48" fmla="*/ 5323 h 5681"/>
                        <a:gd name="connsiteX49" fmla="*/ 538 w 5023"/>
                        <a:gd name="connsiteY49" fmla="*/ 5323 h 5681"/>
                        <a:gd name="connsiteX50" fmla="*/ 538 w 5023"/>
                        <a:gd name="connsiteY50" fmla="*/ 5323 h 5681"/>
                        <a:gd name="connsiteX51" fmla="*/ 538 w 5023"/>
                        <a:gd name="connsiteY51" fmla="*/ 5323 h 5681"/>
                        <a:gd name="connsiteX52" fmla="*/ 538 w 5023"/>
                        <a:gd name="connsiteY52" fmla="*/ 5323 h 5681"/>
                        <a:gd name="connsiteX53" fmla="*/ 658 w 5023"/>
                        <a:gd name="connsiteY53" fmla="*/ 5443 h 5681"/>
                        <a:gd name="connsiteX54" fmla="*/ 778 w 5023"/>
                        <a:gd name="connsiteY54" fmla="*/ 5502 h 5681"/>
                        <a:gd name="connsiteX55" fmla="*/ 897 w 5023"/>
                        <a:gd name="connsiteY55" fmla="*/ 5562 h 5681"/>
                        <a:gd name="connsiteX56" fmla="*/ 1017 w 5023"/>
                        <a:gd name="connsiteY56" fmla="*/ 5622 h 5681"/>
                        <a:gd name="connsiteX57" fmla="*/ 1076 w 5023"/>
                        <a:gd name="connsiteY57" fmla="*/ 5622 h 5681"/>
                        <a:gd name="connsiteX58" fmla="*/ 1136 w 5023"/>
                        <a:gd name="connsiteY58" fmla="*/ 5622 h 5681"/>
                        <a:gd name="connsiteX59" fmla="*/ 1196 w 5023"/>
                        <a:gd name="connsiteY59" fmla="*/ 5622 h 5681"/>
                        <a:gd name="connsiteX60" fmla="*/ 1256 w 5023"/>
                        <a:gd name="connsiteY60" fmla="*/ 5622 h 5681"/>
                        <a:gd name="connsiteX61" fmla="*/ 1675 w 5023"/>
                        <a:gd name="connsiteY61" fmla="*/ 5682 h 5681"/>
                        <a:gd name="connsiteX62" fmla="*/ 2093 w 5023"/>
                        <a:gd name="connsiteY62" fmla="*/ 5622 h 5681"/>
                        <a:gd name="connsiteX63" fmla="*/ 2572 w 5023"/>
                        <a:gd name="connsiteY63" fmla="*/ 5502 h 5681"/>
                        <a:gd name="connsiteX64" fmla="*/ 3050 w 5023"/>
                        <a:gd name="connsiteY64" fmla="*/ 5263 h 5681"/>
                        <a:gd name="connsiteX65" fmla="*/ 3529 w 5023"/>
                        <a:gd name="connsiteY65" fmla="*/ 4964 h 5681"/>
                        <a:gd name="connsiteX66" fmla="*/ 3947 w 5023"/>
                        <a:gd name="connsiteY66" fmla="*/ 4545 h 5681"/>
                        <a:gd name="connsiteX67" fmla="*/ 4306 w 5023"/>
                        <a:gd name="connsiteY67" fmla="*/ 4067 h 5681"/>
                        <a:gd name="connsiteX68" fmla="*/ 4605 w 5023"/>
                        <a:gd name="connsiteY68" fmla="*/ 3529 h 5681"/>
                        <a:gd name="connsiteX69" fmla="*/ 4844 w 5023"/>
                        <a:gd name="connsiteY69" fmla="*/ 2990 h 5681"/>
                        <a:gd name="connsiteX70" fmla="*/ 4964 w 5023"/>
                        <a:gd name="connsiteY70" fmla="*/ 2452 h 5681"/>
                        <a:gd name="connsiteX71" fmla="*/ 5024 w 5023"/>
                        <a:gd name="connsiteY71" fmla="*/ 1914 h 5681"/>
                        <a:gd name="connsiteX72" fmla="*/ 4964 w 5023"/>
                        <a:gd name="connsiteY72" fmla="*/ 1435 h 5681"/>
                        <a:gd name="connsiteX73" fmla="*/ 4904 w 5023"/>
                        <a:gd name="connsiteY73" fmla="*/ 1136 h 5681"/>
                        <a:gd name="connsiteX74" fmla="*/ 4785 w 5023"/>
                        <a:gd name="connsiteY74" fmla="*/ 837 h 5681"/>
                        <a:gd name="connsiteX75" fmla="*/ 4605 w 5023"/>
                        <a:gd name="connsiteY75" fmla="*/ 598 h 5681"/>
                        <a:gd name="connsiteX76" fmla="*/ 4426 w 5023"/>
                        <a:gd name="connsiteY76" fmla="*/ 419 h 5681"/>
                        <a:gd name="connsiteX77" fmla="*/ 3947 w 5023"/>
                        <a:gd name="connsiteY77" fmla="*/ 120 h 5681"/>
                        <a:gd name="connsiteX78" fmla="*/ 3529 w 5023"/>
                        <a:gd name="connsiteY78" fmla="*/ 0 h 5681"/>
                        <a:gd name="connsiteX79" fmla="*/ 3050 w 5023"/>
                        <a:gd name="connsiteY79" fmla="*/ 0 h 5681"/>
                        <a:gd name="connsiteX80" fmla="*/ 2572 w 5023"/>
                        <a:gd name="connsiteY80" fmla="*/ 120 h 5681"/>
                        <a:gd name="connsiteX81" fmla="*/ 2093 w 5023"/>
                        <a:gd name="connsiteY81" fmla="*/ 359 h 5681"/>
                        <a:gd name="connsiteX82" fmla="*/ 2034 w 5023"/>
                        <a:gd name="connsiteY82" fmla="*/ 359 h 5681"/>
                        <a:gd name="connsiteX83" fmla="*/ 1974 w 5023"/>
                        <a:gd name="connsiteY83" fmla="*/ 359 h 5681"/>
                        <a:gd name="connsiteX84" fmla="*/ 1914 w 5023"/>
                        <a:gd name="connsiteY84" fmla="*/ 359 h 5681"/>
                        <a:gd name="connsiteX85" fmla="*/ 1854 w 5023"/>
                        <a:gd name="connsiteY85" fmla="*/ 419 h 5681"/>
                        <a:gd name="connsiteX86" fmla="*/ 1615 w 5023"/>
                        <a:gd name="connsiteY86" fmla="*/ 598 h 5681"/>
                        <a:gd name="connsiteX87" fmla="*/ 1375 w 5023"/>
                        <a:gd name="connsiteY87" fmla="*/ 778 h 5681"/>
                        <a:gd name="connsiteX88" fmla="*/ 1136 w 5023"/>
                        <a:gd name="connsiteY88" fmla="*/ 957 h 5681"/>
                        <a:gd name="connsiteX89" fmla="*/ 957 w 5023"/>
                        <a:gd name="connsiteY89" fmla="*/ 1196 h 5681"/>
                        <a:gd name="connsiteX90" fmla="*/ 837 w 5023"/>
                        <a:gd name="connsiteY90" fmla="*/ 1375 h 5681"/>
                        <a:gd name="connsiteX91" fmla="*/ 718 w 5023"/>
                        <a:gd name="connsiteY91" fmla="*/ 1555 h 5681"/>
                        <a:gd name="connsiteX92" fmla="*/ 598 w 5023"/>
                        <a:gd name="connsiteY92" fmla="*/ 1735 h 5681"/>
                        <a:gd name="connsiteX93" fmla="*/ 479 w 5023"/>
                        <a:gd name="connsiteY93" fmla="*/ 1914 h 5681"/>
                        <a:gd name="connsiteX94" fmla="*/ 239 w 5023"/>
                        <a:gd name="connsiteY94" fmla="*/ 2452 h 5681"/>
                        <a:gd name="connsiteX95" fmla="*/ 60 w 5023"/>
                        <a:gd name="connsiteY95" fmla="*/ 2990 h 5681"/>
                        <a:gd name="connsiteX96" fmla="*/ 0 w 5023"/>
                        <a:gd name="connsiteY96" fmla="*/ 3529 h 5681"/>
                        <a:gd name="connsiteX97" fmla="*/ 60 w 5023"/>
                        <a:gd name="connsiteY97" fmla="*/ 4007 h 5681"/>
                        <a:gd name="connsiteX98" fmla="*/ 120 w 5023"/>
                        <a:gd name="connsiteY98" fmla="*/ 4306 h 5681"/>
                        <a:gd name="connsiteX99" fmla="*/ 239 w 5023"/>
                        <a:gd name="connsiteY99" fmla="*/ 4605 h 5681"/>
                        <a:gd name="connsiteX100" fmla="*/ 419 w 5023"/>
                        <a:gd name="connsiteY100" fmla="*/ 4844 h 5681"/>
                        <a:gd name="connsiteX101" fmla="*/ 538 w 5023"/>
                        <a:gd name="connsiteY101" fmla="*/ 5323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023" h="5681">
                          <a:moveTo>
                            <a:pt x="1615" y="4785"/>
                          </a:moveTo>
                          <a:cubicBezTo>
                            <a:pt x="1615" y="4785"/>
                            <a:pt x="1615" y="4785"/>
                            <a:pt x="1615" y="4785"/>
                          </a:cubicBezTo>
                          <a:cubicBezTo>
                            <a:pt x="1615" y="4785"/>
                            <a:pt x="1555" y="4785"/>
                            <a:pt x="1615" y="4785"/>
                          </a:cubicBezTo>
                          <a:cubicBezTo>
                            <a:pt x="1555" y="4785"/>
                            <a:pt x="1555" y="4785"/>
                            <a:pt x="1555" y="4785"/>
                          </a:cubicBezTo>
                          <a:cubicBezTo>
                            <a:pt x="1555" y="4785"/>
                            <a:pt x="1555" y="4785"/>
                            <a:pt x="1555" y="4785"/>
                          </a:cubicBezTo>
                          <a:lnTo>
                            <a:pt x="1196" y="4605"/>
                          </a:lnTo>
                          <a:lnTo>
                            <a:pt x="1017" y="4306"/>
                          </a:lnTo>
                          <a:lnTo>
                            <a:pt x="778" y="3888"/>
                          </a:lnTo>
                          <a:cubicBezTo>
                            <a:pt x="778" y="3768"/>
                            <a:pt x="718" y="3648"/>
                            <a:pt x="778" y="3529"/>
                          </a:cubicBezTo>
                          <a:cubicBezTo>
                            <a:pt x="778" y="3409"/>
                            <a:pt x="778" y="3289"/>
                            <a:pt x="837" y="3170"/>
                          </a:cubicBezTo>
                          <a:cubicBezTo>
                            <a:pt x="837" y="3050"/>
                            <a:pt x="897" y="2930"/>
                            <a:pt x="957" y="2811"/>
                          </a:cubicBezTo>
                          <a:cubicBezTo>
                            <a:pt x="1017" y="2691"/>
                            <a:pt x="1076" y="2572"/>
                            <a:pt x="1136" y="2452"/>
                          </a:cubicBezTo>
                          <a:cubicBezTo>
                            <a:pt x="1196" y="2392"/>
                            <a:pt x="1256" y="2273"/>
                            <a:pt x="1256" y="2213"/>
                          </a:cubicBezTo>
                          <a:cubicBezTo>
                            <a:pt x="1316" y="2153"/>
                            <a:pt x="1375" y="2034"/>
                            <a:pt x="1435" y="1974"/>
                          </a:cubicBezTo>
                          <a:cubicBezTo>
                            <a:pt x="1495" y="1914"/>
                            <a:pt x="1555" y="1854"/>
                            <a:pt x="1615" y="1794"/>
                          </a:cubicBezTo>
                          <a:cubicBezTo>
                            <a:pt x="1675" y="1735"/>
                            <a:pt x="1735" y="1675"/>
                            <a:pt x="1794" y="1615"/>
                          </a:cubicBezTo>
                          <a:cubicBezTo>
                            <a:pt x="1854" y="1555"/>
                            <a:pt x="1854" y="1555"/>
                            <a:pt x="1914" y="1555"/>
                          </a:cubicBezTo>
                          <a:cubicBezTo>
                            <a:pt x="1974" y="1555"/>
                            <a:pt x="1974" y="1495"/>
                            <a:pt x="2034" y="1495"/>
                          </a:cubicBezTo>
                          <a:cubicBezTo>
                            <a:pt x="2093" y="1495"/>
                            <a:pt x="2093" y="1435"/>
                            <a:pt x="2153" y="1435"/>
                          </a:cubicBezTo>
                          <a:cubicBezTo>
                            <a:pt x="2213" y="1435"/>
                            <a:pt x="2213" y="1375"/>
                            <a:pt x="2273" y="1375"/>
                          </a:cubicBezTo>
                          <a:cubicBezTo>
                            <a:pt x="2392" y="1316"/>
                            <a:pt x="2452" y="1256"/>
                            <a:pt x="2572" y="1256"/>
                          </a:cubicBezTo>
                          <a:cubicBezTo>
                            <a:pt x="2691" y="1256"/>
                            <a:pt x="2751" y="1196"/>
                            <a:pt x="2871" y="1196"/>
                          </a:cubicBezTo>
                          <a:cubicBezTo>
                            <a:pt x="2990" y="1196"/>
                            <a:pt x="3050" y="1196"/>
                            <a:pt x="3170" y="1196"/>
                          </a:cubicBezTo>
                          <a:cubicBezTo>
                            <a:pt x="3289" y="1196"/>
                            <a:pt x="3349" y="1196"/>
                            <a:pt x="3469" y="1196"/>
                          </a:cubicBezTo>
                          <a:cubicBezTo>
                            <a:pt x="3469" y="1196"/>
                            <a:pt x="3469" y="1196"/>
                            <a:pt x="3529" y="1196"/>
                          </a:cubicBezTo>
                          <a:cubicBezTo>
                            <a:pt x="3589" y="1196"/>
                            <a:pt x="3529" y="1196"/>
                            <a:pt x="3589" y="1196"/>
                          </a:cubicBezTo>
                          <a:cubicBezTo>
                            <a:pt x="3589" y="1196"/>
                            <a:pt x="3589" y="1196"/>
                            <a:pt x="3648" y="1196"/>
                          </a:cubicBezTo>
                          <a:cubicBezTo>
                            <a:pt x="3648" y="1196"/>
                            <a:pt x="3648" y="1196"/>
                            <a:pt x="3708" y="1196"/>
                          </a:cubicBezTo>
                          <a:cubicBezTo>
                            <a:pt x="3768" y="1196"/>
                            <a:pt x="3768" y="1196"/>
                            <a:pt x="3828" y="1256"/>
                          </a:cubicBezTo>
                          <a:cubicBezTo>
                            <a:pt x="3888" y="1256"/>
                            <a:pt x="3888" y="1256"/>
                            <a:pt x="3888" y="1316"/>
                          </a:cubicBezTo>
                          <a:cubicBezTo>
                            <a:pt x="3888" y="1316"/>
                            <a:pt x="3947" y="1375"/>
                            <a:pt x="3947" y="1375"/>
                          </a:cubicBezTo>
                          <a:cubicBezTo>
                            <a:pt x="3947" y="1375"/>
                            <a:pt x="4007" y="1435"/>
                            <a:pt x="4007" y="1435"/>
                          </a:cubicBezTo>
                          <a:cubicBezTo>
                            <a:pt x="4067" y="1495"/>
                            <a:pt x="4127" y="1495"/>
                            <a:pt x="4127" y="1555"/>
                          </a:cubicBezTo>
                          <a:cubicBezTo>
                            <a:pt x="4187" y="1615"/>
                            <a:pt x="4187" y="1675"/>
                            <a:pt x="4246" y="1735"/>
                          </a:cubicBezTo>
                          <a:cubicBezTo>
                            <a:pt x="4306" y="1794"/>
                            <a:pt x="4306" y="1854"/>
                            <a:pt x="4306" y="1914"/>
                          </a:cubicBezTo>
                          <a:cubicBezTo>
                            <a:pt x="4306" y="1974"/>
                            <a:pt x="4366" y="2034"/>
                            <a:pt x="4366" y="2153"/>
                          </a:cubicBezTo>
                          <a:cubicBezTo>
                            <a:pt x="4366" y="2273"/>
                            <a:pt x="4426" y="2392"/>
                            <a:pt x="4426" y="2512"/>
                          </a:cubicBezTo>
                          <a:cubicBezTo>
                            <a:pt x="4426" y="2632"/>
                            <a:pt x="4426" y="2751"/>
                            <a:pt x="4366" y="2871"/>
                          </a:cubicBezTo>
                          <a:cubicBezTo>
                            <a:pt x="4366" y="2990"/>
                            <a:pt x="4306" y="3110"/>
                            <a:pt x="4246" y="3230"/>
                          </a:cubicBezTo>
                          <a:cubicBezTo>
                            <a:pt x="4187" y="3349"/>
                            <a:pt x="4127" y="3469"/>
                            <a:pt x="4067" y="3589"/>
                          </a:cubicBezTo>
                          <a:cubicBezTo>
                            <a:pt x="4007" y="3708"/>
                            <a:pt x="3947" y="3828"/>
                            <a:pt x="3828" y="3947"/>
                          </a:cubicBezTo>
                          <a:cubicBezTo>
                            <a:pt x="3768" y="4067"/>
                            <a:pt x="3648" y="4187"/>
                            <a:pt x="3589" y="4246"/>
                          </a:cubicBezTo>
                          <a:cubicBezTo>
                            <a:pt x="3469" y="4366"/>
                            <a:pt x="3409" y="4426"/>
                            <a:pt x="3289" y="4486"/>
                          </a:cubicBezTo>
                          <a:cubicBezTo>
                            <a:pt x="3170" y="4545"/>
                            <a:pt x="3050" y="4665"/>
                            <a:pt x="2990" y="4725"/>
                          </a:cubicBezTo>
                          <a:cubicBezTo>
                            <a:pt x="2871" y="4785"/>
                            <a:pt x="2811" y="4844"/>
                            <a:pt x="2691" y="4844"/>
                          </a:cubicBezTo>
                          <a:cubicBezTo>
                            <a:pt x="2572" y="4844"/>
                            <a:pt x="2512" y="4904"/>
                            <a:pt x="2392" y="4904"/>
                          </a:cubicBezTo>
                          <a:cubicBezTo>
                            <a:pt x="2273" y="4904"/>
                            <a:pt x="2213" y="4904"/>
                            <a:pt x="2093" y="4904"/>
                          </a:cubicBezTo>
                          <a:cubicBezTo>
                            <a:pt x="1794" y="4785"/>
                            <a:pt x="1675" y="4785"/>
                            <a:pt x="1615" y="4785"/>
                          </a:cubicBezTo>
                          <a:moveTo>
                            <a:pt x="538" y="5323"/>
                          </a:moveTo>
                          <a:cubicBezTo>
                            <a:pt x="538" y="5323"/>
                            <a:pt x="538" y="5323"/>
                            <a:pt x="538" y="5323"/>
                          </a:cubicBezTo>
                          <a:cubicBezTo>
                            <a:pt x="538" y="5323"/>
                            <a:pt x="538" y="5323"/>
                            <a:pt x="538" y="5323"/>
                          </a:cubicBezTo>
                          <a:cubicBezTo>
                            <a:pt x="538" y="5323"/>
                            <a:pt x="538" y="5323"/>
                            <a:pt x="538" y="5323"/>
                          </a:cubicBezTo>
                          <a:cubicBezTo>
                            <a:pt x="538" y="5323"/>
                            <a:pt x="538" y="5323"/>
                            <a:pt x="538" y="5323"/>
                          </a:cubicBezTo>
                          <a:cubicBezTo>
                            <a:pt x="598" y="5383"/>
                            <a:pt x="658" y="5383"/>
                            <a:pt x="658" y="5443"/>
                          </a:cubicBezTo>
                          <a:cubicBezTo>
                            <a:pt x="718" y="5443"/>
                            <a:pt x="718" y="5502"/>
                            <a:pt x="778" y="5502"/>
                          </a:cubicBezTo>
                          <a:cubicBezTo>
                            <a:pt x="837" y="5502"/>
                            <a:pt x="837" y="5562"/>
                            <a:pt x="897" y="5562"/>
                          </a:cubicBezTo>
                          <a:cubicBezTo>
                            <a:pt x="957" y="5562"/>
                            <a:pt x="1017" y="5622"/>
                            <a:pt x="1017" y="5622"/>
                          </a:cubicBezTo>
                          <a:cubicBezTo>
                            <a:pt x="1017" y="5622"/>
                            <a:pt x="1017" y="5622"/>
                            <a:pt x="1076" y="5622"/>
                          </a:cubicBezTo>
                          <a:cubicBezTo>
                            <a:pt x="1076" y="5622"/>
                            <a:pt x="1076" y="5622"/>
                            <a:pt x="1136" y="5622"/>
                          </a:cubicBezTo>
                          <a:cubicBezTo>
                            <a:pt x="1136" y="5622"/>
                            <a:pt x="1136" y="5622"/>
                            <a:pt x="1196" y="5622"/>
                          </a:cubicBezTo>
                          <a:cubicBezTo>
                            <a:pt x="1196" y="5622"/>
                            <a:pt x="1196" y="5622"/>
                            <a:pt x="1256" y="5622"/>
                          </a:cubicBezTo>
                          <a:cubicBezTo>
                            <a:pt x="1375" y="5682"/>
                            <a:pt x="1555" y="5682"/>
                            <a:pt x="1675" y="5682"/>
                          </a:cubicBezTo>
                          <a:cubicBezTo>
                            <a:pt x="1794" y="5682"/>
                            <a:pt x="1974" y="5682"/>
                            <a:pt x="2093" y="5622"/>
                          </a:cubicBezTo>
                          <a:cubicBezTo>
                            <a:pt x="2273" y="5622"/>
                            <a:pt x="2392" y="5562"/>
                            <a:pt x="2572" y="5502"/>
                          </a:cubicBezTo>
                          <a:cubicBezTo>
                            <a:pt x="2751" y="5443"/>
                            <a:pt x="2871" y="5383"/>
                            <a:pt x="3050" y="5263"/>
                          </a:cubicBezTo>
                          <a:cubicBezTo>
                            <a:pt x="3230" y="5143"/>
                            <a:pt x="3349" y="5084"/>
                            <a:pt x="3529" y="4964"/>
                          </a:cubicBezTo>
                          <a:cubicBezTo>
                            <a:pt x="3708" y="4844"/>
                            <a:pt x="3828" y="4725"/>
                            <a:pt x="3947" y="4545"/>
                          </a:cubicBezTo>
                          <a:cubicBezTo>
                            <a:pt x="4067" y="4426"/>
                            <a:pt x="4187" y="4246"/>
                            <a:pt x="4306" y="4067"/>
                          </a:cubicBezTo>
                          <a:cubicBezTo>
                            <a:pt x="4426" y="3888"/>
                            <a:pt x="4545" y="3708"/>
                            <a:pt x="4605" y="3529"/>
                          </a:cubicBezTo>
                          <a:cubicBezTo>
                            <a:pt x="4725" y="3349"/>
                            <a:pt x="4785" y="3170"/>
                            <a:pt x="4844" y="2990"/>
                          </a:cubicBezTo>
                          <a:cubicBezTo>
                            <a:pt x="4904" y="2811"/>
                            <a:pt x="4964" y="2632"/>
                            <a:pt x="4964" y="2452"/>
                          </a:cubicBezTo>
                          <a:cubicBezTo>
                            <a:pt x="5024" y="2273"/>
                            <a:pt x="5024" y="2093"/>
                            <a:pt x="5024" y="1914"/>
                          </a:cubicBezTo>
                          <a:cubicBezTo>
                            <a:pt x="5024" y="1735"/>
                            <a:pt x="5024" y="1555"/>
                            <a:pt x="4964" y="1435"/>
                          </a:cubicBezTo>
                          <a:cubicBezTo>
                            <a:pt x="4964" y="1316"/>
                            <a:pt x="4904" y="1196"/>
                            <a:pt x="4904" y="1136"/>
                          </a:cubicBezTo>
                          <a:cubicBezTo>
                            <a:pt x="4844" y="1017"/>
                            <a:pt x="4844" y="957"/>
                            <a:pt x="4785" y="837"/>
                          </a:cubicBezTo>
                          <a:cubicBezTo>
                            <a:pt x="4725" y="778"/>
                            <a:pt x="4665" y="658"/>
                            <a:pt x="4605" y="598"/>
                          </a:cubicBezTo>
                          <a:cubicBezTo>
                            <a:pt x="4545" y="538"/>
                            <a:pt x="4486" y="479"/>
                            <a:pt x="4426" y="419"/>
                          </a:cubicBezTo>
                          <a:lnTo>
                            <a:pt x="3947" y="120"/>
                          </a:lnTo>
                          <a:cubicBezTo>
                            <a:pt x="3828" y="60"/>
                            <a:pt x="3648" y="60"/>
                            <a:pt x="3529" y="0"/>
                          </a:cubicBezTo>
                          <a:cubicBezTo>
                            <a:pt x="3349" y="0"/>
                            <a:pt x="3230" y="0"/>
                            <a:pt x="3050" y="0"/>
                          </a:cubicBezTo>
                          <a:cubicBezTo>
                            <a:pt x="2871" y="0"/>
                            <a:pt x="2691" y="60"/>
                            <a:pt x="2572" y="120"/>
                          </a:cubicBezTo>
                          <a:cubicBezTo>
                            <a:pt x="2392" y="180"/>
                            <a:pt x="2213" y="239"/>
                            <a:pt x="2093" y="359"/>
                          </a:cubicBezTo>
                          <a:cubicBezTo>
                            <a:pt x="2093" y="359"/>
                            <a:pt x="2034" y="359"/>
                            <a:pt x="2034" y="359"/>
                          </a:cubicBezTo>
                          <a:cubicBezTo>
                            <a:pt x="2034" y="359"/>
                            <a:pt x="1974" y="359"/>
                            <a:pt x="1974" y="359"/>
                          </a:cubicBezTo>
                          <a:cubicBezTo>
                            <a:pt x="1974" y="359"/>
                            <a:pt x="1914" y="359"/>
                            <a:pt x="1914" y="359"/>
                          </a:cubicBezTo>
                          <a:cubicBezTo>
                            <a:pt x="1914" y="359"/>
                            <a:pt x="1854" y="359"/>
                            <a:pt x="1854" y="419"/>
                          </a:cubicBezTo>
                          <a:cubicBezTo>
                            <a:pt x="1794" y="479"/>
                            <a:pt x="1675" y="538"/>
                            <a:pt x="1615" y="598"/>
                          </a:cubicBezTo>
                          <a:cubicBezTo>
                            <a:pt x="1555" y="658"/>
                            <a:pt x="1435" y="718"/>
                            <a:pt x="1375" y="778"/>
                          </a:cubicBezTo>
                          <a:cubicBezTo>
                            <a:pt x="1316" y="837"/>
                            <a:pt x="1256" y="897"/>
                            <a:pt x="1136" y="957"/>
                          </a:cubicBezTo>
                          <a:cubicBezTo>
                            <a:pt x="1076" y="1017"/>
                            <a:pt x="1017" y="1076"/>
                            <a:pt x="957" y="1196"/>
                          </a:cubicBezTo>
                          <a:cubicBezTo>
                            <a:pt x="897" y="1256"/>
                            <a:pt x="837" y="1316"/>
                            <a:pt x="837" y="1375"/>
                          </a:cubicBezTo>
                          <a:cubicBezTo>
                            <a:pt x="837" y="1435"/>
                            <a:pt x="718" y="1495"/>
                            <a:pt x="718" y="1555"/>
                          </a:cubicBezTo>
                          <a:cubicBezTo>
                            <a:pt x="658" y="1615"/>
                            <a:pt x="658" y="1675"/>
                            <a:pt x="598" y="1735"/>
                          </a:cubicBezTo>
                          <a:cubicBezTo>
                            <a:pt x="538" y="1794"/>
                            <a:pt x="538" y="1854"/>
                            <a:pt x="479" y="1914"/>
                          </a:cubicBezTo>
                          <a:cubicBezTo>
                            <a:pt x="359" y="2093"/>
                            <a:pt x="299" y="2273"/>
                            <a:pt x="239" y="2452"/>
                          </a:cubicBezTo>
                          <a:cubicBezTo>
                            <a:pt x="180" y="2632"/>
                            <a:pt x="120" y="2811"/>
                            <a:pt x="60" y="2990"/>
                          </a:cubicBezTo>
                          <a:cubicBezTo>
                            <a:pt x="0" y="3170"/>
                            <a:pt x="0" y="3349"/>
                            <a:pt x="0" y="3529"/>
                          </a:cubicBezTo>
                          <a:cubicBezTo>
                            <a:pt x="0" y="3708"/>
                            <a:pt x="0" y="3888"/>
                            <a:pt x="60" y="4007"/>
                          </a:cubicBezTo>
                          <a:cubicBezTo>
                            <a:pt x="60" y="4127"/>
                            <a:pt x="120" y="4187"/>
                            <a:pt x="120" y="4306"/>
                          </a:cubicBezTo>
                          <a:cubicBezTo>
                            <a:pt x="180" y="4426"/>
                            <a:pt x="180" y="4486"/>
                            <a:pt x="239" y="4605"/>
                          </a:cubicBezTo>
                          <a:cubicBezTo>
                            <a:pt x="299" y="4725"/>
                            <a:pt x="359" y="4785"/>
                            <a:pt x="419" y="4844"/>
                          </a:cubicBezTo>
                          <a:cubicBezTo>
                            <a:pt x="419" y="5203"/>
                            <a:pt x="479" y="5263"/>
                            <a:pt x="538" y="5323"/>
                          </a:cubicBezTo>
                        </a:path>
                      </a:pathLst>
                    </a:custGeom>
                    <a:noFill/>
                    <a:ln w="6350" cap="flat">
                      <a:solidFill>
                        <a:schemeClr val="bg1">
                          <a:alpha val="80000"/>
                        </a:schemeClr>
                      </a:solidFill>
                      <a:prstDash val="solid"/>
                      <a:miter/>
                    </a:ln>
                  </p:spPr>
                  <p:txBody>
                    <a:bodyPr rtlCol="0" anchor="ctr"/>
                    <a:lstStyle/>
                    <a:p>
                      <a:endParaRPr lang="en-GB"/>
                    </a:p>
                  </p:txBody>
                </p:sp>
                <p:sp>
                  <p:nvSpPr>
                    <p:cNvPr id="7397" name="Vrije vorm: vorm 7396">
                      <a:extLst>
                        <a:ext uri="{FF2B5EF4-FFF2-40B4-BE49-F238E27FC236}">
                          <a16:creationId xmlns:a16="http://schemas.microsoft.com/office/drawing/2014/main" id="{22AC18AE-1E2E-47BC-AE43-9168B4FAE6F8}"/>
                        </a:ext>
                      </a:extLst>
                    </p:cNvPr>
                    <p:cNvSpPr/>
                    <p:nvPr/>
                  </p:nvSpPr>
                  <p:spPr>
                    <a:xfrm>
                      <a:off x="5367418" y="5289450"/>
                      <a:ext cx="5023" cy="5621"/>
                    </a:xfrm>
                    <a:custGeom>
                      <a:avLst/>
                      <a:gdLst>
                        <a:gd name="connsiteX0" fmla="*/ 3828 w 5023"/>
                        <a:gd name="connsiteY0" fmla="*/ 1196 h 5621"/>
                        <a:gd name="connsiteX1" fmla="*/ 3947 w 5023"/>
                        <a:gd name="connsiteY1" fmla="*/ 1316 h 5621"/>
                        <a:gd name="connsiteX2" fmla="*/ 4067 w 5023"/>
                        <a:gd name="connsiteY2" fmla="*/ 1495 h 5621"/>
                        <a:gd name="connsiteX3" fmla="*/ 4127 w 5023"/>
                        <a:gd name="connsiteY3" fmla="*/ 1674 h 5621"/>
                        <a:gd name="connsiteX4" fmla="*/ 4187 w 5023"/>
                        <a:gd name="connsiteY4" fmla="*/ 1854 h 5621"/>
                        <a:gd name="connsiteX5" fmla="*/ 4187 w 5023"/>
                        <a:gd name="connsiteY5" fmla="*/ 2213 h 5621"/>
                        <a:gd name="connsiteX6" fmla="*/ 4127 w 5023"/>
                        <a:gd name="connsiteY6" fmla="*/ 2572 h 5621"/>
                        <a:gd name="connsiteX7" fmla="*/ 4007 w 5023"/>
                        <a:gd name="connsiteY7" fmla="*/ 2930 h 5621"/>
                        <a:gd name="connsiteX8" fmla="*/ 3828 w 5023"/>
                        <a:gd name="connsiteY8" fmla="*/ 3289 h 5621"/>
                        <a:gd name="connsiteX9" fmla="*/ 3588 w 5023"/>
                        <a:gd name="connsiteY9" fmla="*/ 3648 h 5621"/>
                        <a:gd name="connsiteX10" fmla="*/ 3349 w 5023"/>
                        <a:gd name="connsiteY10" fmla="*/ 3947 h 5621"/>
                        <a:gd name="connsiteX11" fmla="*/ 3050 w 5023"/>
                        <a:gd name="connsiteY11" fmla="*/ 4186 h 5621"/>
                        <a:gd name="connsiteX12" fmla="*/ 2751 w 5023"/>
                        <a:gd name="connsiteY12" fmla="*/ 4366 h 5621"/>
                        <a:gd name="connsiteX13" fmla="*/ 2392 w 5023"/>
                        <a:gd name="connsiteY13" fmla="*/ 4545 h 5621"/>
                        <a:gd name="connsiteX14" fmla="*/ 2034 w 5023"/>
                        <a:gd name="connsiteY14" fmla="*/ 4605 h 5621"/>
                        <a:gd name="connsiteX15" fmla="*/ 1734 w 5023"/>
                        <a:gd name="connsiteY15" fmla="*/ 4605 h 5621"/>
                        <a:gd name="connsiteX16" fmla="*/ 1435 w 5023"/>
                        <a:gd name="connsiteY16" fmla="*/ 4545 h 5621"/>
                        <a:gd name="connsiteX17" fmla="*/ 1076 w 5023"/>
                        <a:gd name="connsiteY17" fmla="*/ 4366 h 5621"/>
                        <a:gd name="connsiteX18" fmla="*/ 658 w 5023"/>
                        <a:gd name="connsiteY18" fmla="*/ 3648 h 5621"/>
                        <a:gd name="connsiteX19" fmla="*/ 598 w 5023"/>
                        <a:gd name="connsiteY19" fmla="*/ 3349 h 5621"/>
                        <a:gd name="connsiteX20" fmla="*/ 658 w 5023"/>
                        <a:gd name="connsiteY20" fmla="*/ 2990 h 5621"/>
                        <a:gd name="connsiteX21" fmla="*/ 778 w 5023"/>
                        <a:gd name="connsiteY21" fmla="*/ 2632 h 5621"/>
                        <a:gd name="connsiteX22" fmla="*/ 957 w 5023"/>
                        <a:gd name="connsiteY22" fmla="*/ 2273 h 5621"/>
                        <a:gd name="connsiteX23" fmla="*/ 1136 w 5023"/>
                        <a:gd name="connsiteY23" fmla="*/ 1914 h 5621"/>
                        <a:gd name="connsiteX24" fmla="*/ 1375 w 5023"/>
                        <a:gd name="connsiteY24" fmla="*/ 1615 h 5621"/>
                        <a:gd name="connsiteX25" fmla="*/ 1675 w 5023"/>
                        <a:gd name="connsiteY25" fmla="*/ 1375 h 5621"/>
                        <a:gd name="connsiteX26" fmla="*/ 2034 w 5023"/>
                        <a:gd name="connsiteY26" fmla="*/ 1136 h 5621"/>
                        <a:gd name="connsiteX27" fmla="*/ 2392 w 5023"/>
                        <a:gd name="connsiteY27" fmla="*/ 957 h 5621"/>
                        <a:gd name="connsiteX28" fmla="*/ 2751 w 5023"/>
                        <a:gd name="connsiteY28" fmla="*/ 897 h 5621"/>
                        <a:gd name="connsiteX29" fmla="*/ 3050 w 5023"/>
                        <a:gd name="connsiteY29" fmla="*/ 897 h 5621"/>
                        <a:gd name="connsiteX30" fmla="*/ 3349 w 5023"/>
                        <a:gd name="connsiteY30" fmla="*/ 957 h 5621"/>
                        <a:gd name="connsiteX31" fmla="*/ 3469 w 5023"/>
                        <a:gd name="connsiteY31" fmla="*/ 1017 h 5621"/>
                        <a:gd name="connsiteX32" fmla="*/ 3588 w 5023"/>
                        <a:gd name="connsiteY32" fmla="*/ 1076 h 5621"/>
                        <a:gd name="connsiteX33" fmla="*/ 3648 w 5023"/>
                        <a:gd name="connsiteY33" fmla="*/ 1136 h 5621"/>
                        <a:gd name="connsiteX34" fmla="*/ 3828 w 5023"/>
                        <a:gd name="connsiteY34" fmla="*/ 1196 h 5621"/>
                        <a:gd name="connsiteX35" fmla="*/ 598 w 5023"/>
                        <a:gd name="connsiteY35" fmla="*/ 5263 h 5621"/>
                        <a:gd name="connsiteX36" fmla="*/ 718 w 5023"/>
                        <a:gd name="connsiteY36" fmla="*/ 5323 h 5621"/>
                        <a:gd name="connsiteX37" fmla="*/ 837 w 5023"/>
                        <a:gd name="connsiteY37" fmla="*/ 5382 h 5621"/>
                        <a:gd name="connsiteX38" fmla="*/ 957 w 5023"/>
                        <a:gd name="connsiteY38" fmla="*/ 5442 h 5621"/>
                        <a:gd name="connsiteX39" fmla="*/ 1076 w 5023"/>
                        <a:gd name="connsiteY39" fmla="*/ 5502 h 5621"/>
                        <a:gd name="connsiteX40" fmla="*/ 1555 w 5023"/>
                        <a:gd name="connsiteY40" fmla="*/ 5622 h 5621"/>
                        <a:gd name="connsiteX41" fmla="*/ 2034 w 5023"/>
                        <a:gd name="connsiteY41" fmla="*/ 5622 h 5621"/>
                        <a:gd name="connsiteX42" fmla="*/ 2512 w 5023"/>
                        <a:gd name="connsiteY42" fmla="*/ 5502 h 5621"/>
                        <a:gd name="connsiteX43" fmla="*/ 3050 w 5023"/>
                        <a:gd name="connsiteY43" fmla="*/ 5263 h 5621"/>
                        <a:gd name="connsiteX44" fmla="*/ 3529 w 5023"/>
                        <a:gd name="connsiteY44" fmla="*/ 4964 h 5621"/>
                        <a:gd name="connsiteX45" fmla="*/ 3947 w 5023"/>
                        <a:gd name="connsiteY45" fmla="*/ 4545 h 5621"/>
                        <a:gd name="connsiteX46" fmla="*/ 4306 w 5023"/>
                        <a:gd name="connsiteY46" fmla="*/ 4067 h 5621"/>
                        <a:gd name="connsiteX47" fmla="*/ 4605 w 5023"/>
                        <a:gd name="connsiteY47" fmla="*/ 3528 h 5621"/>
                        <a:gd name="connsiteX48" fmla="*/ 4844 w 5023"/>
                        <a:gd name="connsiteY48" fmla="*/ 2990 h 5621"/>
                        <a:gd name="connsiteX49" fmla="*/ 4964 w 5023"/>
                        <a:gd name="connsiteY49" fmla="*/ 2452 h 5621"/>
                        <a:gd name="connsiteX50" fmla="*/ 5024 w 5023"/>
                        <a:gd name="connsiteY50" fmla="*/ 1914 h 5621"/>
                        <a:gd name="connsiteX51" fmla="*/ 4964 w 5023"/>
                        <a:gd name="connsiteY51" fmla="*/ 1375 h 5621"/>
                        <a:gd name="connsiteX52" fmla="*/ 4844 w 5023"/>
                        <a:gd name="connsiteY52" fmla="*/ 1076 h 5621"/>
                        <a:gd name="connsiteX53" fmla="*/ 4725 w 5023"/>
                        <a:gd name="connsiteY53" fmla="*/ 778 h 5621"/>
                        <a:gd name="connsiteX54" fmla="*/ 4545 w 5023"/>
                        <a:gd name="connsiteY54" fmla="*/ 538 h 5621"/>
                        <a:gd name="connsiteX55" fmla="*/ 4366 w 5023"/>
                        <a:gd name="connsiteY55" fmla="*/ 359 h 5621"/>
                        <a:gd name="connsiteX56" fmla="*/ 3888 w 5023"/>
                        <a:gd name="connsiteY56" fmla="*/ 60 h 5621"/>
                        <a:gd name="connsiteX57" fmla="*/ 3409 w 5023"/>
                        <a:gd name="connsiteY57" fmla="*/ 0 h 5621"/>
                        <a:gd name="connsiteX58" fmla="*/ 2930 w 5023"/>
                        <a:gd name="connsiteY58" fmla="*/ 0 h 5621"/>
                        <a:gd name="connsiteX59" fmla="*/ 2452 w 5023"/>
                        <a:gd name="connsiteY59" fmla="*/ 119 h 5621"/>
                        <a:gd name="connsiteX60" fmla="*/ 1974 w 5023"/>
                        <a:gd name="connsiteY60" fmla="*/ 359 h 5621"/>
                        <a:gd name="connsiteX61" fmla="*/ 1495 w 5023"/>
                        <a:gd name="connsiteY61" fmla="*/ 658 h 5621"/>
                        <a:gd name="connsiteX62" fmla="*/ 1076 w 5023"/>
                        <a:gd name="connsiteY62" fmla="*/ 1076 h 5621"/>
                        <a:gd name="connsiteX63" fmla="*/ 718 w 5023"/>
                        <a:gd name="connsiteY63" fmla="*/ 1555 h 5621"/>
                        <a:gd name="connsiteX64" fmla="*/ 419 w 5023"/>
                        <a:gd name="connsiteY64" fmla="*/ 2093 h 5621"/>
                        <a:gd name="connsiteX65" fmla="*/ 180 w 5023"/>
                        <a:gd name="connsiteY65" fmla="*/ 2632 h 5621"/>
                        <a:gd name="connsiteX66" fmla="*/ 60 w 5023"/>
                        <a:gd name="connsiteY66" fmla="*/ 3170 h 5621"/>
                        <a:gd name="connsiteX67" fmla="*/ 0 w 5023"/>
                        <a:gd name="connsiteY67" fmla="*/ 3708 h 5621"/>
                        <a:gd name="connsiteX68" fmla="*/ 60 w 5023"/>
                        <a:gd name="connsiteY68" fmla="*/ 4246 h 5621"/>
                        <a:gd name="connsiteX69" fmla="*/ 180 w 5023"/>
                        <a:gd name="connsiteY69" fmla="*/ 4545 h 5621"/>
                        <a:gd name="connsiteX70" fmla="*/ 299 w 5023"/>
                        <a:gd name="connsiteY70" fmla="*/ 4844 h 5621"/>
                        <a:gd name="connsiteX71" fmla="*/ 479 w 5023"/>
                        <a:gd name="connsiteY71" fmla="*/ 5083 h 5621"/>
                        <a:gd name="connsiteX72" fmla="*/ 598 w 5023"/>
                        <a:gd name="connsiteY72" fmla="*/ 5263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023" h="5621">
                          <a:moveTo>
                            <a:pt x="3828" y="1196"/>
                          </a:moveTo>
                          <a:cubicBezTo>
                            <a:pt x="3888" y="1256"/>
                            <a:pt x="3947" y="1256"/>
                            <a:pt x="3947" y="1316"/>
                          </a:cubicBezTo>
                          <a:cubicBezTo>
                            <a:pt x="3947" y="1375"/>
                            <a:pt x="4007" y="1435"/>
                            <a:pt x="4067" y="1495"/>
                          </a:cubicBezTo>
                          <a:cubicBezTo>
                            <a:pt x="4127" y="1555"/>
                            <a:pt x="4127" y="1615"/>
                            <a:pt x="4127" y="1674"/>
                          </a:cubicBezTo>
                          <a:cubicBezTo>
                            <a:pt x="4127" y="1734"/>
                            <a:pt x="4187" y="1794"/>
                            <a:pt x="4187" y="1854"/>
                          </a:cubicBezTo>
                          <a:cubicBezTo>
                            <a:pt x="4187" y="1973"/>
                            <a:pt x="4187" y="2093"/>
                            <a:pt x="4187" y="2213"/>
                          </a:cubicBezTo>
                          <a:cubicBezTo>
                            <a:pt x="4187" y="2332"/>
                            <a:pt x="4187" y="2452"/>
                            <a:pt x="4127" y="2572"/>
                          </a:cubicBezTo>
                          <a:cubicBezTo>
                            <a:pt x="4127" y="2691"/>
                            <a:pt x="4067" y="2811"/>
                            <a:pt x="4007" y="2930"/>
                          </a:cubicBezTo>
                          <a:cubicBezTo>
                            <a:pt x="3947" y="3050"/>
                            <a:pt x="3888" y="3170"/>
                            <a:pt x="3828" y="3289"/>
                          </a:cubicBezTo>
                          <a:cubicBezTo>
                            <a:pt x="3768" y="3409"/>
                            <a:pt x="3708" y="3528"/>
                            <a:pt x="3588" y="3648"/>
                          </a:cubicBezTo>
                          <a:cubicBezTo>
                            <a:pt x="3529" y="3768"/>
                            <a:pt x="3409" y="3887"/>
                            <a:pt x="3349" y="3947"/>
                          </a:cubicBezTo>
                          <a:cubicBezTo>
                            <a:pt x="3229" y="4067"/>
                            <a:pt x="3170" y="4127"/>
                            <a:pt x="3050" y="4186"/>
                          </a:cubicBezTo>
                          <a:cubicBezTo>
                            <a:pt x="2930" y="4246"/>
                            <a:pt x="2811" y="4306"/>
                            <a:pt x="2751" y="4366"/>
                          </a:cubicBezTo>
                          <a:cubicBezTo>
                            <a:pt x="2632" y="4426"/>
                            <a:pt x="2512" y="4486"/>
                            <a:pt x="2392" y="4545"/>
                          </a:cubicBezTo>
                          <a:cubicBezTo>
                            <a:pt x="2273" y="4605"/>
                            <a:pt x="2153" y="4605"/>
                            <a:pt x="2034" y="4605"/>
                          </a:cubicBezTo>
                          <a:cubicBezTo>
                            <a:pt x="1914" y="4605"/>
                            <a:pt x="1794" y="4605"/>
                            <a:pt x="1734" y="4605"/>
                          </a:cubicBezTo>
                          <a:cubicBezTo>
                            <a:pt x="1615" y="4605"/>
                            <a:pt x="1555" y="4605"/>
                            <a:pt x="1435" y="4545"/>
                          </a:cubicBezTo>
                          <a:lnTo>
                            <a:pt x="1076" y="4366"/>
                          </a:lnTo>
                          <a:lnTo>
                            <a:pt x="658" y="3648"/>
                          </a:lnTo>
                          <a:cubicBezTo>
                            <a:pt x="658" y="3528"/>
                            <a:pt x="598" y="3409"/>
                            <a:pt x="598" y="3349"/>
                          </a:cubicBezTo>
                          <a:cubicBezTo>
                            <a:pt x="598" y="3229"/>
                            <a:pt x="598" y="3110"/>
                            <a:pt x="658" y="2990"/>
                          </a:cubicBezTo>
                          <a:cubicBezTo>
                            <a:pt x="718" y="2871"/>
                            <a:pt x="718" y="2751"/>
                            <a:pt x="778" y="2632"/>
                          </a:cubicBezTo>
                          <a:cubicBezTo>
                            <a:pt x="837" y="2512"/>
                            <a:pt x="897" y="2392"/>
                            <a:pt x="957" y="2273"/>
                          </a:cubicBezTo>
                          <a:cubicBezTo>
                            <a:pt x="1017" y="2153"/>
                            <a:pt x="1076" y="2033"/>
                            <a:pt x="1136" y="1914"/>
                          </a:cubicBezTo>
                          <a:cubicBezTo>
                            <a:pt x="1196" y="1794"/>
                            <a:pt x="1316" y="1674"/>
                            <a:pt x="1375" y="1615"/>
                          </a:cubicBezTo>
                          <a:cubicBezTo>
                            <a:pt x="1495" y="1495"/>
                            <a:pt x="1555" y="1435"/>
                            <a:pt x="1675" y="1375"/>
                          </a:cubicBezTo>
                          <a:cubicBezTo>
                            <a:pt x="1794" y="1316"/>
                            <a:pt x="1914" y="1196"/>
                            <a:pt x="2034" y="1136"/>
                          </a:cubicBezTo>
                          <a:cubicBezTo>
                            <a:pt x="2153" y="1076"/>
                            <a:pt x="2273" y="1017"/>
                            <a:pt x="2392" y="957"/>
                          </a:cubicBezTo>
                          <a:cubicBezTo>
                            <a:pt x="2512" y="897"/>
                            <a:pt x="2632" y="897"/>
                            <a:pt x="2751" y="897"/>
                          </a:cubicBezTo>
                          <a:cubicBezTo>
                            <a:pt x="2871" y="897"/>
                            <a:pt x="2990" y="897"/>
                            <a:pt x="3050" y="897"/>
                          </a:cubicBezTo>
                          <a:cubicBezTo>
                            <a:pt x="3170" y="897"/>
                            <a:pt x="3229" y="957"/>
                            <a:pt x="3349" y="957"/>
                          </a:cubicBezTo>
                          <a:cubicBezTo>
                            <a:pt x="3409" y="957"/>
                            <a:pt x="3409" y="957"/>
                            <a:pt x="3469" y="1017"/>
                          </a:cubicBezTo>
                          <a:cubicBezTo>
                            <a:pt x="3529" y="1076"/>
                            <a:pt x="3529" y="1017"/>
                            <a:pt x="3588" y="1076"/>
                          </a:cubicBezTo>
                          <a:cubicBezTo>
                            <a:pt x="3648" y="1136"/>
                            <a:pt x="3648" y="1136"/>
                            <a:pt x="3648" y="1136"/>
                          </a:cubicBezTo>
                          <a:cubicBezTo>
                            <a:pt x="3768" y="1196"/>
                            <a:pt x="3828" y="1196"/>
                            <a:pt x="3828" y="1196"/>
                          </a:cubicBezTo>
                          <a:moveTo>
                            <a:pt x="598" y="5263"/>
                          </a:moveTo>
                          <a:cubicBezTo>
                            <a:pt x="658" y="5263"/>
                            <a:pt x="658" y="5323"/>
                            <a:pt x="718" y="5323"/>
                          </a:cubicBezTo>
                          <a:cubicBezTo>
                            <a:pt x="778" y="5323"/>
                            <a:pt x="778" y="5382"/>
                            <a:pt x="837" y="5382"/>
                          </a:cubicBezTo>
                          <a:cubicBezTo>
                            <a:pt x="897" y="5382"/>
                            <a:pt x="897" y="5442"/>
                            <a:pt x="957" y="5442"/>
                          </a:cubicBezTo>
                          <a:cubicBezTo>
                            <a:pt x="1017" y="5442"/>
                            <a:pt x="1017" y="5502"/>
                            <a:pt x="1076" y="5502"/>
                          </a:cubicBezTo>
                          <a:cubicBezTo>
                            <a:pt x="1196" y="5562"/>
                            <a:pt x="1375" y="5562"/>
                            <a:pt x="1555" y="5622"/>
                          </a:cubicBezTo>
                          <a:cubicBezTo>
                            <a:pt x="1734" y="5622"/>
                            <a:pt x="1854" y="5622"/>
                            <a:pt x="2034" y="5622"/>
                          </a:cubicBezTo>
                          <a:cubicBezTo>
                            <a:pt x="2213" y="5622"/>
                            <a:pt x="2333" y="5562"/>
                            <a:pt x="2512" y="5502"/>
                          </a:cubicBezTo>
                          <a:cubicBezTo>
                            <a:pt x="2691" y="5442"/>
                            <a:pt x="2871" y="5382"/>
                            <a:pt x="3050" y="5263"/>
                          </a:cubicBezTo>
                          <a:cubicBezTo>
                            <a:pt x="3229" y="5143"/>
                            <a:pt x="3349" y="5083"/>
                            <a:pt x="3529" y="4964"/>
                          </a:cubicBezTo>
                          <a:cubicBezTo>
                            <a:pt x="3708" y="4844"/>
                            <a:pt x="3828" y="4725"/>
                            <a:pt x="3947" y="4545"/>
                          </a:cubicBezTo>
                          <a:cubicBezTo>
                            <a:pt x="4067" y="4366"/>
                            <a:pt x="4187" y="4246"/>
                            <a:pt x="4306" y="4067"/>
                          </a:cubicBezTo>
                          <a:cubicBezTo>
                            <a:pt x="4426" y="3887"/>
                            <a:pt x="4545" y="3708"/>
                            <a:pt x="4605" y="3528"/>
                          </a:cubicBezTo>
                          <a:cubicBezTo>
                            <a:pt x="4725" y="3349"/>
                            <a:pt x="4785" y="3170"/>
                            <a:pt x="4844" y="2990"/>
                          </a:cubicBezTo>
                          <a:cubicBezTo>
                            <a:pt x="4904" y="2811"/>
                            <a:pt x="4964" y="2632"/>
                            <a:pt x="4964" y="2452"/>
                          </a:cubicBezTo>
                          <a:cubicBezTo>
                            <a:pt x="5024" y="2273"/>
                            <a:pt x="5024" y="2093"/>
                            <a:pt x="5024" y="1914"/>
                          </a:cubicBezTo>
                          <a:cubicBezTo>
                            <a:pt x="5024" y="1734"/>
                            <a:pt x="5024" y="1555"/>
                            <a:pt x="4964" y="1375"/>
                          </a:cubicBezTo>
                          <a:cubicBezTo>
                            <a:pt x="4964" y="1256"/>
                            <a:pt x="4904" y="1136"/>
                            <a:pt x="4844" y="1076"/>
                          </a:cubicBezTo>
                          <a:cubicBezTo>
                            <a:pt x="4785" y="957"/>
                            <a:pt x="4785" y="897"/>
                            <a:pt x="4725" y="778"/>
                          </a:cubicBezTo>
                          <a:cubicBezTo>
                            <a:pt x="4665" y="718"/>
                            <a:pt x="4605" y="598"/>
                            <a:pt x="4545" y="538"/>
                          </a:cubicBezTo>
                          <a:cubicBezTo>
                            <a:pt x="4486" y="478"/>
                            <a:pt x="4426" y="419"/>
                            <a:pt x="4366" y="359"/>
                          </a:cubicBezTo>
                          <a:lnTo>
                            <a:pt x="3888" y="60"/>
                          </a:lnTo>
                          <a:cubicBezTo>
                            <a:pt x="3768" y="0"/>
                            <a:pt x="3588" y="0"/>
                            <a:pt x="3409" y="0"/>
                          </a:cubicBezTo>
                          <a:cubicBezTo>
                            <a:pt x="3229" y="0"/>
                            <a:pt x="3110" y="0"/>
                            <a:pt x="2930" y="0"/>
                          </a:cubicBezTo>
                          <a:cubicBezTo>
                            <a:pt x="2751" y="0"/>
                            <a:pt x="2572" y="60"/>
                            <a:pt x="2452" y="119"/>
                          </a:cubicBezTo>
                          <a:cubicBezTo>
                            <a:pt x="2273" y="179"/>
                            <a:pt x="2093" y="239"/>
                            <a:pt x="1974" y="359"/>
                          </a:cubicBezTo>
                          <a:cubicBezTo>
                            <a:pt x="1794" y="419"/>
                            <a:pt x="1615" y="538"/>
                            <a:pt x="1495" y="658"/>
                          </a:cubicBezTo>
                          <a:cubicBezTo>
                            <a:pt x="1316" y="778"/>
                            <a:pt x="1196" y="897"/>
                            <a:pt x="1076" y="1076"/>
                          </a:cubicBezTo>
                          <a:cubicBezTo>
                            <a:pt x="957" y="1196"/>
                            <a:pt x="837" y="1375"/>
                            <a:pt x="718" y="1555"/>
                          </a:cubicBezTo>
                          <a:cubicBezTo>
                            <a:pt x="598" y="1734"/>
                            <a:pt x="479" y="1914"/>
                            <a:pt x="419" y="2093"/>
                          </a:cubicBezTo>
                          <a:cubicBezTo>
                            <a:pt x="299" y="2273"/>
                            <a:pt x="239" y="2452"/>
                            <a:pt x="180" y="2632"/>
                          </a:cubicBezTo>
                          <a:cubicBezTo>
                            <a:pt x="120" y="2811"/>
                            <a:pt x="60" y="2990"/>
                            <a:pt x="60" y="3170"/>
                          </a:cubicBezTo>
                          <a:cubicBezTo>
                            <a:pt x="0" y="3349"/>
                            <a:pt x="0" y="3528"/>
                            <a:pt x="0" y="3708"/>
                          </a:cubicBezTo>
                          <a:cubicBezTo>
                            <a:pt x="0" y="3887"/>
                            <a:pt x="0" y="4067"/>
                            <a:pt x="60" y="4246"/>
                          </a:cubicBezTo>
                          <a:cubicBezTo>
                            <a:pt x="60" y="4366"/>
                            <a:pt x="120" y="4486"/>
                            <a:pt x="180" y="4545"/>
                          </a:cubicBezTo>
                          <a:cubicBezTo>
                            <a:pt x="239" y="4665"/>
                            <a:pt x="239" y="4725"/>
                            <a:pt x="299" y="4844"/>
                          </a:cubicBezTo>
                          <a:cubicBezTo>
                            <a:pt x="359" y="4904"/>
                            <a:pt x="419" y="5024"/>
                            <a:pt x="479" y="5083"/>
                          </a:cubicBezTo>
                          <a:cubicBezTo>
                            <a:pt x="479" y="5143"/>
                            <a:pt x="538" y="5203"/>
                            <a:pt x="598" y="5263"/>
                          </a:cubicBezTo>
                        </a:path>
                      </a:pathLst>
                    </a:custGeom>
                    <a:noFill/>
                    <a:ln w="6350" cap="flat">
                      <a:solidFill>
                        <a:schemeClr val="bg1">
                          <a:alpha val="80000"/>
                        </a:schemeClr>
                      </a:solidFill>
                      <a:prstDash val="solid"/>
                      <a:miter/>
                    </a:ln>
                  </p:spPr>
                  <p:txBody>
                    <a:bodyPr rtlCol="0" anchor="ctr"/>
                    <a:lstStyle/>
                    <a:p>
                      <a:endParaRPr lang="en-GB"/>
                    </a:p>
                  </p:txBody>
                </p:sp>
                <p:sp>
                  <p:nvSpPr>
                    <p:cNvPr id="7398" name="Vrije vorm: vorm 7397">
                      <a:extLst>
                        <a:ext uri="{FF2B5EF4-FFF2-40B4-BE49-F238E27FC236}">
                          <a16:creationId xmlns:a16="http://schemas.microsoft.com/office/drawing/2014/main" id="{E4033A2B-D5CB-4108-8CBB-155B9E8FD25B}"/>
                        </a:ext>
                      </a:extLst>
                    </p:cNvPr>
                    <p:cNvSpPr/>
                    <p:nvPr/>
                  </p:nvSpPr>
                  <p:spPr>
                    <a:xfrm>
                      <a:off x="5362694" y="5283801"/>
                      <a:ext cx="5143" cy="5708"/>
                    </a:xfrm>
                    <a:custGeom>
                      <a:avLst/>
                      <a:gdLst>
                        <a:gd name="connsiteX0" fmla="*/ 4007 w 5143"/>
                        <a:gd name="connsiteY0" fmla="*/ 1282 h 5708"/>
                        <a:gd name="connsiteX1" fmla="*/ 4127 w 5143"/>
                        <a:gd name="connsiteY1" fmla="*/ 1402 h 5708"/>
                        <a:gd name="connsiteX2" fmla="*/ 4246 w 5143"/>
                        <a:gd name="connsiteY2" fmla="*/ 1582 h 5708"/>
                        <a:gd name="connsiteX3" fmla="*/ 4366 w 5143"/>
                        <a:gd name="connsiteY3" fmla="*/ 1761 h 5708"/>
                        <a:gd name="connsiteX4" fmla="*/ 4426 w 5143"/>
                        <a:gd name="connsiteY4" fmla="*/ 2000 h 5708"/>
                        <a:gd name="connsiteX5" fmla="*/ 4426 w 5143"/>
                        <a:gd name="connsiteY5" fmla="*/ 2359 h 5708"/>
                        <a:gd name="connsiteX6" fmla="*/ 4366 w 5143"/>
                        <a:gd name="connsiteY6" fmla="*/ 2718 h 5708"/>
                        <a:gd name="connsiteX7" fmla="*/ 4246 w 5143"/>
                        <a:gd name="connsiteY7" fmla="*/ 3077 h 5708"/>
                        <a:gd name="connsiteX8" fmla="*/ 4067 w 5143"/>
                        <a:gd name="connsiteY8" fmla="*/ 3436 h 5708"/>
                        <a:gd name="connsiteX9" fmla="*/ 3887 w 5143"/>
                        <a:gd name="connsiteY9" fmla="*/ 3794 h 5708"/>
                        <a:gd name="connsiteX10" fmla="*/ 3648 w 5143"/>
                        <a:gd name="connsiteY10" fmla="*/ 4093 h 5708"/>
                        <a:gd name="connsiteX11" fmla="*/ 3349 w 5143"/>
                        <a:gd name="connsiteY11" fmla="*/ 4392 h 5708"/>
                        <a:gd name="connsiteX12" fmla="*/ 3050 w 5143"/>
                        <a:gd name="connsiteY12" fmla="*/ 4632 h 5708"/>
                        <a:gd name="connsiteX13" fmla="*/ 2691 w 5143"/>
                        <a:gd name="connsiteY13" fmla="*/ 4751 h 5708"/>
                        <a:gd name="connsiteX14" fmla="*/ 2332 w 5143"/>
                        <a:gd name="connsiteY14" fmla="*/ 4811 h 5708"/>
                        <a:gd name="connsiteX15" fmla="*/ 2033 w 5143"/>
                        <a:gd name="connsiteY15" fmla="*/ 4811 h 5708"/>
                        <a:gd name="connsiteX16" fmla="*/ 1734 w 5143"/>
                        <a:gd name="connsiteY16" fmla="*/ 4751 h 5708"/>
                        <a:gd name="connsiteX17" fmla="*/ 1375 w 5143"/>
                        <a:gd name="connsiteY17" fmla="*/ 4572 h 5708"/>
                        <a:gd name="connsiteX18" fmla="*/ 1017 w 5143"/>
                        <a:gd name="connsiteY18" fmla="*/ 3854 h 5708"/>
                        <a:gd name="connsiteX19" fmla="*/ 957 w 5143"/>
                        <a:gd name="connsiteY19" fmla="*/ 3495 h 5708"/>
                        <a:gd name="connsiteX20" fmla="*/ 1017 w 5143"/>
                        <a:gd name="connsiteY20" fmla="*/ 3136 h 5708"/>
                        <a:gd name="connsiteX21" fmla="*/ 1136 w 5143"/>
                        <a:gd name="connsiteY21" fmla="*/ 2778 h 5708"/>
                        <a:gd name="connsiteX22" fmla="*/ 1316 w 5143"/>
                        <a:gd name="connsiteY22" fmla="*/ 2419 h 5708"/>
                        <a:gd name="connsiteX23" fmla="*/ 1555 w 5143"/>
                        <a:gd name="connsiteY23" fmla="*/ 2060 h 5708"/>
                        <a:gd name="connsiteX24" fmla="*/ 1794 w 5143"/>
                        <a:gd name="connsiteY24" fmla="*/ 1761 h 5708"/>
                        <a:gd name="connsiteX25" fmla="*/ 2093 w 5143"/>
                        <a:gd name="connsiteY25" fmla="*/ 1522 h 5708"/>
                        <a:gd name="connsiteX26" fmla="*/ 2452 w 5143"/>
                        <a:gd name="connsiteY26" fmla="*/ 1282 h 5708"/>
                        <a:gd name="connsiteX27" fmla="*/ 2811 w 5143"/>
                        <a:gd name="connsiteY27" fmla="*/ 1103 h 5708"/>
                        <a:gd name="connsiteX28" fmla="*/ 3170 w 5143"/>
                        <a:gd name="connsiteY28" fmla="*/ 1043 h 5708"/>
                        <a:gd name="connsiteX29" fmla="*/ 3469 w 5143"/>
                        <a:gd name="connsiteY29" fmla="*/ 1043 h 5708"/>
                        <a:gd name="connsiteX30" fmla="*/ 3768 w 5143"/>
                        <a:gd name="connsiteY30" fmla="*/ 1103 h 5708"/>
                        <a:gd name="connsiteX31" fmla="*/ 3827 w 5143"/>
                        <a:gd name="connsiteY31" fmla="*/ 1163 h 5708"/>
                        <a:gd name="connsiteX32" fmla="*/ 3887 w 5143"/>
                        <a:gd name="connsiteY32" fmla="*/ 1223 h 5708"/>
                        <a:gd name="connsiteX33" fmla="*/ 3947 w 5143"/>
                        <a:gd name="connsiteY33" fmla="*/ 1282 h 5708"/>
                        <a:gd name="connsiteX34" fmla="*/ 4007 w 5143"/>
                        <a:gd name="connsiteY34" fmla="*/ 1282 h 5708"/>
                        <a:gd name="connsiteX35" fmla="*/ 778 w 5143"/>
                        <a:gd name="connsiteY35" fmla="*/ 5349 h 5708"/>
                        <a:gd name="connsiteX36" fmla="*/ 897 w 5143"/>
                        <a:gd name="connsiteY36" fmla="*/ 5409 h 5708"/>
                        <a:gd name="connsiteX37" fmla="*/ 1017 w 5143"/>
                        <a:gd name="connsiteY37" fmla="*/ 5469 h 5708"/>
                        <a:gd name="connsiteX38" fmla="*/ 1136 w 5143"/>
                        <a:gd name="connsiteY38" fmla="*/ 5529 h 5708"/>
                        <a:gd name="connsiteX39" fmla="*/ 1256 w 5143"/>
                        <a:gd name="connsiteY39" fmla="*/ 5589 h 5708"/>
                        <a:gd name="connsiteX40" fmla="*/ 1734 w 5143"/>
                        <a:gd name="connsiteY40" fmla="*/ 5708 h 5708"/>
                        <a:gd name="connsiteX41" fmla="*/ 2213 w 5143"/>
                        <a:gd name="connsiteY41" fmla="*/ 5708 h 5708"/>
                        <a:gd name="connsiteX42" fmla="*/ 2691 w 5143"/>
                        <a:gd name="connsiteY42" fmla="*/ 5589 h 5708"/>
                        <a:gd name="connsiteX43" fmla="*/ 3170 w 5143"/>
                        <a:gd name="connsiteY43" fmla="*/ 5349 h 5708"/>
                        <a:gd name="connsiteX44" fmla="*/ 3648 w 5143"/>
                        <a:gd name="connsiteY44" fmla="*/ 5050 h 5708"/>
                        <a:gd name="connsiteX45" fmla="*/ 4067 w 5143"/>
                        <a:gd name="connsiteY45" fmla="*/ 4632 h 5708"/>
                        <a:gd name="connsiteX46" fmla="*/ 4426 w 5143"/>
                        <a:gd name="connsiteY46" fmla="*/ 4153 h 5708"/>
                        <a:gd name="connsiteX47" fmla="*/ 4725 w 5143"/>
                        <a:gd name="connsiteY47" fmla="*/ 3615 h 5708"/>
                        <a:gd name="connsiteX48" fmla="*/ 4964 w 5143"/>
                        <a:gd name="connsiteY48" fmla="*/ 3077 h 5708"/>
                        <a:gd name="connsiteX49" fmla="*/ 5083 w 5143"/>
                        <a:gd name="connsiteY49" fmla="*/ 2538 h 5708"/>
                        <a:gd name="connsiteX50" fmla="*/ 5143 w 5143"/>
                        <a:gd name="connsiteY50" fmla="*/ 2000 h 5708"/>
                        <a:gd name="connsiteX51" fmla="*/ 5083 w 5143"/>
                        <a:gd name="connsiteY51" fmla="*/ 1462 h 5708"/>
                        <a:gd name="connsiteX52" fmla="*/ 4964 w 5143"/>
                        <a:gd name="connsiteY52" fmla="*/ 1163 h 5708"/>
                        <a:gd name="connsiteX53" fmla="*/ 4844 w 5143"/>
                        <a:gd name="connsiteY53" fmla="*/ 864 h 5708"/>
                        <a:gd name="connsiteX54" fmla="*/ 4665 w 5143"/>
                        <a:gd name="connsiteY54" fmla="*/ 625 h 5708"/>
                        <a:gd name="connsiteX55" fmla="*/ 4486 w 5143"/>
                        <a:gd name="connsiteY55" fmla="*/ 445 h 5708"/>
                        <a:gd name="connsiteX56" fmla="*/ 4007 w 5143"/>
                        <a:gd name="connsiteY56" fmla="*/ 146 h 5708"/>
                        <a:gd name="connsiteX57" fmla="*/ 3528 w 5143"/>
                        <a:gd name="connsiteY57" fmla="*/ 27 h 5708"/>
                        <a:gd name="connsiteX58" fmla="*/ 3050 w 5143"/>
                        <a:gd name="connsiteY58" fmla="*/ 27 h 5708"/>
                        <a:gd name="connsiteX59" fmla="*/ 2572 w 5143"/>
                        <a:gd name="connsiteY59" fmla="*/ 146 h 5708"/>
                        <a:gd name="connsiteX60" fmla="*/ 2093 w 5143"/>
                        <a:gd name="connsiteY60" fmla="*/ 385 h 5708"/>
                        <a:gd name="connsiteX61" fmla="*/ 1615 w 5143"/>
                        <a:gd name="connsiteY61" fmla="*/ 684 h 5708"/>
                        <a:gd name="connsiteX62" fmla="*/ 1136 w 5143"/>
                        <a:gd name="connsiteY62" fmla="*/ 1103 h 5708"/>
                        <a:gd name="connsiteX63" fmla="*/ 718 w 5143"/>
                        <a:gd name="connsiteY63" fmla="*/ 1582 h 5708"/>
                        <a:gd name="connsiteX64" fmla="*/ 419 w 5143"/>
                        <a:gd name="connsiteY64" fmla="*/ 2120 h 5708"/>
                        <a:gd name="connsiteX65" fmla="*/ 179 w 5143"/>
                        <a:gd name="connsiteY65" fmla="*/ 2658 h 5708"/>
                        <a:gd name="connsiteX66" fmla="*/ 60 w 5143"/>
                        <a:gd name="connsiteY66" fmla="*/ 3196 h 5708"/>
                        <a:gd name="connsiteX67" fmla="*/ 0 w 5143"/>
                        <a:gd name="connsiteY67" fmla="*/ 3735 h 5708"/>
                        <a:gd name="connsiteX68" fmla="*/ 60 w 5143"/>
                        <a:gd name="connsiteY68" fmla="*/ 4273 h 5708"/>
                        <a:gd name="connsiteX69" fmla="*/ 179 w 5143"/>
                        <a:gd name="connsiteY69" fmla="*/ 4572 h 5708"/>
                        <a:gd name="connsiteX70" fmla="*/ 299 w 5143"/>
                        <a:gd name="connsiteY70" fmla="*/ 4871 h 5708"/>
                        <a:gd name="connsiteX71" fmla="*/ 478 w 5143"/>
                        <a:gd name="connsiteY71" fmla="*/ 5110 h 5708"/>
                        <a:gd name="connsiteX72" fmla="*/ 778 w 5143"/>
                        <a:gd name="connsiteY72" fmla="*/ 5349 h 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143" h="5708">
                          <a:moveTo>
                            <a:pt x="4007" y="1282"/>
                          </a:moveTo>
                          <a:cubicBezTo>
                            <a:pt x="4067" y="1342"/>
                            <a:pt x="4127" y="1402"/>
                            <a:pt x="4127" y="1402"/>
                          </a:cubicBezTo>
                          <a:cubicBezTo>
                            <a:pt x="4186" y="1462"/>
                            <a:pt x="4186" y="1522"/>
                            <a:pt x="4246" y="1582"/>
                          </a:cubicBezTo>
                          <a:cubicBezTo>
                            <a:pt x="4306" y="1641"/>
                            <a:pt x="4306" y="1701"/>
                            <a:pt x="4366" y="1761"/>
                          </a:cubicBezTo>
                          <a:cubicBezTo>
                            <a:pt x="4426" y="1821"/>
                            <a:pt x="4426" y="1881"/>
                            <a:pt x="4426" y="2000"/>
                          </a:cubicBezTo>
                          <a:cubicBezTo>
                            <a:pt x="4426" y="2120"/>
                            <a:pt x="4486" y="2239"/>
                            <a:pt x="4426" y="2359"/>
                          </a:cubicBezTo>
                          <a:cubicBezTo>
                            <a:pt x="4426" y="2479"/>
                            <a:pt x="4426" y="2598"/>
                            <a:pt x="4366" y="2718"/>
                          </a:cubicBezTo>
                          <a:cubicBezTo>
                            <a:pt x="4366" y="2837"/>
                            <a:pt x="4306" y="2957"/>
                            <a:pt x="4246" y="3077"/>
                          </a:cubicBezTo>
                          <a:cubicBezTo>
                            <a:pt x="4186" y="3196"/>
                            <a:pt x="4127" y="3316"/>
                            <a:pt x="4067" y="3436"/>
                          </a:cubicBezTo>
                          <a:cubicBezTo>
                            <a:pt x="4007" y="3555"/>
                            <a:pt x="3947" y="3675"/>
                            <a:pt x="3887" y="3794"/>
                          </a:cubicBezTo>
                          <a:cubicBezTo>
                            <a:pt x="3827" y="3914"/>
                            <a:pt x="3708" y="4034"/>
                            <a:pt x="3648" y="4093"/>
                          </a:cubicBezTo>
                          <a:cubicBezTo>
                            <a:pt x="3528" y="4213"/>
                            <a:pt x="3469" y="4273"/>
                            <a:pt x="3349" y="4392"/>
                          </a:cubicBezTo>
                          <a:cubicBezTo>
                            <a:pt x="3229" y="4512"/>
                            <a:pt x="3110" y="4572"/>
                            <a:pt x="3050" y="4632"/>
                          </a:cubicBezTo>
                          <a:cubicBezTo>
                            <a:pt x="2930" y="4691"/>
                            <a:pt x="2811" y="4751"/>
                            <a:pt x="2691" y="4751"/>
                          </a:cubicBezTo>
                          <a:cubicBezTo>
                            <a:pt x="2572" y="4811"/>
                            <a:pt x="2452" y="4811"/>
                            <a:pt x="2332" y="4811"/>
                          </a:cubicBezTo>
                          <a:cubicBezTo>
                            <a:pt x="2213" y="4811"/>
                            <a:pt x="2093" y="4811"/>
                            <a:pt x="2033" y="4811"/>
                          </a:cubicBezTo>
                          <a:cubicBezTo>
                            <a:pt x="1914" y="4811"/>
                            <a:pt x="1854" y="4811"/>
                            <a:pt x="1734" y="4751"/>
                          </a:cubicBezTo>
                          <a:lnTo>
                            <a:pt x="1375" y="4572"/>
                          </a:lnTo>
                          <a:lnTo>
                            <a:pt x="1017" y="3854"/>
                          </a:lnTo>
                          <a:cubicBezTo>
                            <a:pt x="1017" y="3735"/>
                            <a:pt x="957" y="3615"/>
                            <a:pt x="957" y="3495"/>
                          </a:cubicBezTo>
                          <a:cubicBezTo>
                            <a:pt x="957" y="3376"/>
                            <a:pt x="957" y="3256"/>
                            <a:pt x="1017" y="3136"/>
                          </a:cubicBezTo>
                          <a:cubicBezTo>
                            <a:pt x="1017" y="3017"/>
                            <a:pt x="1076" y="2897"/>
                            <a:pt x="1136" y="2778"/>
                          </a:cubicBezTo>
                          <a:cubicBezTo>
                            <a:pt x="1196" y="2658"/>
                            <a:pt x="1256" y="2538"/>
                            <a:pt x="1316" y="2419"/>
                          </a:cubicBezTo>
                          <a:cubicBezTo>
                            <a:pt x="1375" y="2299"/>
                            <a:pt x="1435" y="2180"/>
                            <a:pt x="1555" y="2060"/>
                          </a:cubicBezTo>
                          <a:cubicBezTo>
                            <a:pt x="1674" y="1940"/>
                            <a:pt x="1734" y="1821"/>
                            <a:pt x="1794" y="1761"/>
                          </a:cubicBezTo>
                          <a:cubicBezTo>
                            <a:pt x="1914" y="1641"/>
                            <a:pt x="1973" y="1582"/>
                            <a:pt x="2093" y="1522"/>
                          </a:cubicBezTo>
                          <a:cubicBezTo>
                            <a:pt x="2213" y="1462"/>
                            <a:pt x="2332" y="1342"/>
                            <a:pt x="2452" y="1282"/>
                          </a:cubicBezTo>
                          <a:cubicBezTo>
                            <a:pt x="2572" y="1223"/>
                            <a:pt x="2691" y="1163"/>
                            <a:pt x="2811" y="1103"/>
                          </a:cubicBezTo>
                          <a:cubicBezTo>
                            <a:pt x="2930" y="1043"/>
                            <a:pt x="3050" y="1043"/>
                            <a:pt x="3170" y="1043"/>
                          </a:cubicBezTo>
                          <a:cubicBezTo>
                            <a:pt x="3289" y="1043"/>
                            <a:pt x="3409" y="1043"/>
                            <a:pt x="3469" y="1043"/>
                          </a:cubicBezTo>
                          <a:cubicBezTo>
                            <a:pt x="3588" y="1043"/>
                            <a:pt x="3708" y="1103"/>
                            <a:pt x="3768" y="1103"/>
                          </a:cubicBezTo>
                          <a:cubicBezTo>
                            <a:pt x="3768" y="1103"/>
                            <a:pt x="3827" y="1103"/>
                            <a:pt x="3827" y="1163"/>
                          </a:cubicBezTo>
                          <a:cubicBezTo>
                            <a:pt x="3827" y="1223"/>
                            <a:pt x="3887" y="1163"/>
                            <a:pt x="3887" y="1223"/>
                          </a:cubicBezTo>
                          <a:cubicBezTo>
                            <a:pt x="3887" y="1223"/>
                            <a:pt x="3947" y="1282"/>
                            <a:pt x="3947" y="1282"/>
                          </a:cubicBezTo>
                          <a:cubicBezTo>
                            <a:pt x="3947" y="1223"/>
                            <a:pt x="3947" y="1223"/>
                            <a:pt x="4007" y="1282"/>
                          </a:cubicBezTo>
                          <a:moveTo>
                            <a:pt x="778" y="5349"/>
                          </a:moveTo>
                          <a:cubicBezTo>
                            <a:pt x="837" y="5349"/>
                            <a:pt x="837" y="5409"/>
                            <a:pt x="897" y="5409"/>
                          </a:cubicBezTo>
                          <a:cubicBezTo>
                            <a:pt x="957" y="5409"/>
                            <a:pt x="957" y="5469"/>
                            <a:pt x="1017" y="5469"/>
                          </a:cubicBezTo>
                          <a:cubicBezTo>
                            <a:pt x="1076" y="5469"/>
                            <a:pt x="1076" y="5529"/>
                            <a:pt x="1136" y="5529"/>
                          </a:cubicBezTo>
                          <a:cubicBezTo>
                            <a:pt x="1196" y="5529"/>
                            <a:pt x="1196" y="5589"/>
                            <a:pt x="1256" y="5589"/>
                          </a:cubicBezTo>
                          <a:cubicBezTo>
                            <a:pt x="1435" y="5648"/>
                            <a:pt x="1555" y="5648"/>
                            <a:pt x="1734" y="5708"/>
                          </a:cubicBezTo>
                          <a:cubicBezTo>
                            <a:pt x="1914" y="5708"/>
                            <a:pt x="2033" y="5708"/>
                            <a:pt x="2213" y="5708"/>
                          </a:cubicBezTo>
                          <a:cubicBezTo>
                            <a:pt x="2392" y="5708"/>
                            <a:pt x="2572" y="5648"/>
                            <a:pt x="2691" y="5589"/>
                          </a:cubicBezTo>
                          <a:cubicBezTo>
                            <a:pt x="2811" y="5529"/>
                            <a:pt x="3050" y="5469"/>
                            <a:pt x="3170" y="5349"/>
                          </a:cubicBezTo>
                          <a:cubicBezTo>
                            <a:pt x="3289" y="5230"/>
                            <a:pt x="3528" y="5170"/>
                            <a:pt x="3648" y="5050"/>
                          </a:cubicBezTo>
                          <a:cubicBezTo>
                            <a:pt x="3827" y="4931"/>
                            <a:pt x="3947" y="4811"/>
                            <a:pt x="4067" y="4632"/>
                          </a:cubicBezTo>
                          <a:cubicBezTo>
                            <a:pt x="4186" y="4512"/>
                            <a:pt x="4306" y="4333"/>
                            <a:pt x="4426" y="4153"/>
                          </a:cubicBezTo>
                          <a:cubicBezTo>
                            <a:pt x="4545" y="3974"/>
                            <a:pt x="4665" y="3794"/>
                            <a:pt x="4725" y="3615"/>
                          </a:cubicBezTo>
                          <a:cubicBezTo>
                            <a:pt x="4844" y="3436"/>
                            <a:pt x="4904" y="3256"/>
                            <a:pt x="4964" y="3077"/>
                          </a:cubicBezTo>
                          <a:cubicBezTo>
                            <a:pt x="5024" y="2897"/>
                            <a:pt x="5083" y="2718"/>
                            <a:pt x="5083" y="2538"/>
                          </a:cubicBezTo>
                          <a:cubicBezTo>
                            <a:pt x="5143" y="2359"/>
                            <a:pt x="5143" y="2180"/>
                            <a:pt x="5143" y="2000"/>
                          </a:cubicBezTo>
                          <a:cubicBezTo>
                            <a:pt x="5143" y="1821"/>
                            <a:pt x="5143" y="1641"/>
                            <a:pt x="5083" y="1462"/>
                          </a:cubicBezTo>
                          <a:cubicBezTo>
                            <a:pt x="5083" y="1342"/>
                            <a:pt x="5024" y="1223"/>
                            <a:pt x="4964" y="1163"/>
                          </a:cubicBezTo>
                          <a:cubicBezTo>
                            <a:pt x="4904" y="1043"/>
                            <a:pt x="4904" y="983"/>
                            <a:pt x="4844" y="864"/>
                          </a:cubicBezTo>
                          <a:cubicBezTo>
                            <a:pt x="4785" y="744"/>
                            <a:pt x="4725" y="684"/>
                            <a:pt x="4665" y="625"/>
                          </a:cubicBezTo>
                          <a:cubicBezTo>
                            <a:pt x="4605" y="565"/>
                            <a:pt x="4545" y="505"/>
                            <a:pt x="4486" y="445"/>
                          </a:cubicBezTo>
                          <a:lnTo>
                            <a:pt x="4007" y="146"/>
                          </a:lnTo>
                          <a:cubicBezTo>
                            <a:pt x="3887" y="86"/>
                            <a:pt x="3708" y="86"/>
                            <a:pt x="3528" y="27"/>
                          </a:cubicBezTo>
                          <a:cubicBezTo>
                            <a:pt x="3349" y="-33"/>
                            <a:pt x="3229" y="27"/>
                            <a:pt x="3050" y="27"/>
                          </a:cubicBezTo>
                          <a:cubicBezTo>
                            <a:pt x="2871" y="27"/>
                            <a:pt x="2751" y="86"/>
                            <a:pt x="2572" y="146"/>
                          </a:cubicBezTo>
                          <a:cubicBezTo>
                            <a:pt x="2392" y="206"/>
                            <a:pt x="2213" y="266"/>
                            <a:pt x="2093" y="385"/>
                          </a:cubicBezTo>
                          <a:cubicBezTo>
                            <a:pt x="1914" y="445"/>
                            <a:pt x="1734" y="565"/>
                            <a:pt x="1615" y="684"/>
                          </a:cubicBezTo>
                          <a:cubicBezTo>
                            <a:pt x="1435" y="804"/>
                            <a:pt x="1316" y="923"/>
                            <a:pt x="1136" y="1103"/>
                          </a:cubicBezTo>
                          <a:cubicBezTo>
                            <a:pt x="1017" y="1223"/>
                            <a:pt x="837" y="1402"/>
                            <a:pt x="718" y="1582"/>
                          </a:cubicBezTo>
                          <a:cubicBezTo>
                            <a:pt x="598" y="1761"/>
                            <a:pt x="478" y="1940"/>
                            <a:pt x="419" y="2120"/>
                          </a:cubicBezTo>
                          <a:cubicBezTo>
                            <a:pt x="299" y="2299"/>
                            <a:pt x="239" y="2479"/>
                            <a:pt x="179" y="2658"/>
                          </a:cubicBezTo>
                          <a:cubicBezTo>
                            <a:pt x="119" y="2837"/>
                            <a:pt x="60" y="3017"/>
                            <a:pt x="60" y="3196"/>
                          </a:cubicBezTo>
                          <a:cubicBezTo>
                            <a:pt x="0" y="3376"/>
                            <a:pt x="0" y="3555"/>
                            <a:pt x="0" y="3735"/>
                          </a:cubicBezTo>
                          <a:cubicBezTo>
                            <a:pt x="0" y="3914"/>
                            <a:pt x="0" y="4093"/>
                            <a:pt x="60" y="4273"/>
                          </a:cubicBezTo>
                          <a:cubicBezTo>
                            <a:pt x="60" y="4392"/>
                            <a:pt x="119" y="4512"/>
                            <a:pt x="179" y="4572"/>
                          </a:cubicBezTo>
                          <a:cubicBezTo>
                            <a:pt x="239" y="4691"/>
                            <a:pt x="239" y="4751"/>
                            <a:pt x="299" y="4871"/>
                          </a:cubicBezTo>
                          <a:cubicBezTo>
                            <a:pt x="359" y="4931"/>
                            <a:pt x="419" y="5050"/>
                            <a:pt x="478" y="5110"/>
                          </a:cubicBezTo>
                          <a:cubicBezTo>
                            <a:pt x="658" y="5230"/>
                            <a:pt x="718" y="5290"/>
                            <a:pt x="778" y="5349"/>
                          </a:cubicBezTo>
                        </a:path>
                      </a:pathLst>
                    </a:custGeom>
                    <a:noFill/>
                    <a:ln w="6350" cap="flat">
                      <a:solidFill>
                        <a:schemeClr val="bg1">
                          <a:alpha val="80000"/>
                        </a:schemeClr>
                      </a:solidFill>
                      <a:prstDash val="solid"/>
                      <a:miter/>
                    </a:ln>
                  </p:spPr>
                  <p:txBody>
                    <a:bodyPr rtlCol="0" anchor="ctr"/>
                    <a:lstStyle/>
                    <a:p>
                      <a:endParaRPr lang="en-GB"/>
                    </a:p>
                  </p:txBody>
                </p:sp>
                <p:sp>
                  <p:nvSpPr>
                    <p:cNvPr id="7399" name="Vrije vorm: vorm 7398">
                      <a:extLst>
                        <a:ext uri="{FF2B5EF4-FFF2-40B4-BE49-F238E27FC236}">
                          <a16:creationId xmlns:a16="http://schemas.microsoft.com/office/drawing/2014/main" id="{A548B6AA-EA62-4801-9613-4FE102E34822}"/>
                        </a:ext>
                      </a:extLst>
                    </p:cNvPr>
                    <p:cNvSpPr/>
                    <p:nvPr/>
                  </p:nvSpPr>
                  <p:spPr>
                    <a:xfrm>
                      <a:off x="5354634" y="5284905"/>
                      <a:ext cx="5233" cy="5681"/>
                    </a:xfrm>
                    <a:custGeom>
                      <a:avLst/>
                      <a:gdLst>
                        <a:gd name="connsiteX0" fmla="*/ 3992 w 5233"/>
                        <a:gd name="connsiteY0" fmla="*/ 1196 h 5681"/>
                        <a:gd name="connsiteX1" fmla="*/ 4112 w 5233"/>
                        <a:gd name="connsiteY1" fmla="*/ 1316 h 5681"/>
                        <a:gd name="connsiteX2" fmla="*/ 4231 w 5233"/>
                        <a:gd name="connsiteY2" fmla="*/ 1495 h 5681"/>
                        <a:gd name="connsiteX3" fmla="*/ 4291 w 5233"/>
                        <a:gd name="connsiteY3" fmla="*/ 1674 h 5681"/>
                        <a:gd name="connsiteX4" fmla="*/ 4351 w 5233"/>
                        <a:gd name="connsiteY4" fmla="*/ 1914 h 5681"/>
                        <a:gd name="connsiteX5" fmla="*/ 4351 w 5233"/>
                        <a:gd name="connsiteY5" fmla="*/ 2632 h 5681"/>
                        <a:gd name="connsiteX6" fmla="*/ 4112 w 5233"/>
                        <a:gd name="connsiteY6" fmla="*/ 3349 h 5681"/>
                        <a:gd name="connsiteX7" fmla="*/ 3633 w 5233"/>
                        <a:gd name="connsiteY7" fmla="*/ 4007 h 5681"/>
                        <a:gd name="connsiteX8" fmla="*/ 2975 w 5233"/>
                        <a:gd name="connsiteY8" fmla="*/ 4486 h 5681"/>
                        <a:gd name="connsiteX9" fmla="*/ 2617 w 5233"/>
                        <a:gd name="connsiteY9" fmla="*/ 4665 h 5681"/>
                        <a:gd name="connsiteX10" fmla="*/ 2258 w 5233"/>
                        <a:gd name="connsiteY10" fmla="*/ 4725 h 5681"/>
                        <a:gd name="connsiteX11" fmla="*/ 1899 w 5233"/>
                        <a:gd name="connsiteY11" fmla="*/ 4725 h 5681"/>
                        <a:gd name="connsiteX12" fmla="*/ 1600 w 5233"/>
                        <a:gd name="connsiteY12" fmla="*/ 4665 h 5681"/>
                        <a:gd name="connsiteX13" fmla="*/ 1241 w 5233"/>
                        <a:gd name="connsiteY13" fmla="*/ 4486 h 5681"/>
                        <a:gd name="connsiteX14" fmla="*/ 822 w 5233"/>
                        <a:gd name="connsiteY14" fmla="*/ 3768 h 5681"/>
                        <a:gd name="connsiteX15" fmla="*/ 822 w 5233"/>
                        <a:gd name="connsiteY15" fmla="*/ 3050 h 5681"/>
                        <a:gd name="connsiteX16" fmla="*/ 1062 w 5233"/>
                        <a:gd name="connsiteY16" fmla="*/ 2333 h 5681"/>
                        <a:gd name="connsiteX17" fmla="*/ 1540 w 5233"/>
                        <a:gd name="connsiteY17" fmla="*/ 1674 h 5681"/>
                        <a:gd name="connsiteX18" fmla="*/ 2198 w 5233"/>
                        <a:gd name="connsiteY18" fmla="*/ 1136 h 5681"/>
                        <a:gd name="connsiteX19" fmla="*/ 2676 w 5233"/>
                        <a:gd name="connsiteY19" fmla="*/ 957 h 5681"/>
                        <a:gd name="connsiteX20" fmla="*/ 3095 w 5233"/>
                        <a:gd name="connsiteY20" fmla="*/ 897 h 5681"/>
                        <a:gd name="connsiteX21" fmla="*/ 3514 w 5233"/>
                        <a:gd name="connsiteY21" fmla="*/ 957 h 5681"/>
                        <a:gd name="connsiteX22" fmla="*/ 3992 w 5233"/>
                        <a:gd name="connsiteY22" fmla="*/ 1196 h 5681"/>
                        <a:gd name="connsiteX23" fmla="*/ 763 w 5233"/>
                        <a:gd name="connsiteY23" fmla="*/ 5323 h 5681"/>
                        <a:gd name="connsiteX24" fmla="*/ 882 w 5233"/>
                        <a:gd name="connsiteY24" fmla="*/ 5382 h 5681"/>
                        <a:gd name="connsiteX25" fmla="*/ 1002 w 5233"/>
                        <a:gd name="connsiteY25" fmla="*/ 5442 h 5681"/>
                        <a:gd name="connsiteX26" fmla="*/ 1121 w 5233"/>
                        <a:gd name="connsiteY26" fmla="*/ 5502 h 5681"/>
                        <a:gd name="connsiteX27" fmla="*/ 1241 w 5233"/>
                        <a:gd name="connsiteY27" fmla="*/ 5562 h 5681"/>
                        <a:gd name="connsiteX28" fmla="*/ 1720 w 5233"/>
                        <a:gd name="connsiteY28" fmla="*/ 5682 h 5681"/>
                        <a:gd name="connsiteX29" fmla="*/ 2198 w 5233"/>
                        <a:gd name="connsiteY29" fmla="*/ 5682 h 5681"/>
                        <a:gd name="connsiteX30" fmla="*/ 2676 w 5233"/>
                        <a:gd name="connsiteY30" fmla="*/ 5562 h 5681"/>
                        <a:gd name="connsiteX31" fmla="*/ 3155 w 5233"/>
                        <a:gd name="connsiteY31" fmla="*/ 5323 h 5681"/>
                        <a:gd name="connsiteX32" fmla="*/ 4112 w 5233"/>
                        <a:gd name="connsiteY32" fmla="*/ 4605 h 5681"/>
                        <a:gd name="connsiteX33" fmla="*/ 4829 w 5233"/>
                        <a:gd name="connsiteY33" fmla="*/ 3648 h 5681"/>
                        <a:gd name="connsiteX34" fmla="*/ 5188 w 5233"/>
                        <a:gd name="connsiteY34" fmla="*/ 2572 h 5681"/>
                        <a:gd name="connsiteX35" fmla="*/ 5188 w 5233"/>
                        <a:gd name="connsiteY35" fmla="*/ 1495 h 5681"/>
                        <a:gd name="connsiteX36" fmla="*/ 5069 w 5233"/>
                        <a:gd name="connsiteY36" fmla="*/ 1196 h 5681"/>
                        <a:gd name="connsiteX37" fmla="*/ 4949 w 5233"/>
                        <a:gd name="connsiteY37" fmla="*/ 897 h 5681"/>
                        <a:gd name="connsiteX38" fmla="*/ 4770 w 5233"/>
                        <a:gd name="connsiteY38" fmla="*/ 658 h 5681"/>
                        <a:gd name="connsiteX39" fmla="*/ 4530 w 5233"/>
                        <a:gd name="connsiteY39" fmla="*/ 419 h 5681"/>
                        <a:gd name="connsiteX40" fmla="*/ 4052 w 5233"/>
                        <a:gd name="connsiteY40" fmla="*/ 120 h 5681"/>
                        <a:gd name="connsiteX41" fmla="*/ 3454 w 5233"/>
                        <a:gd name="connsiteY41" fmla="*/ 0 h 5681"/>
                        <a:gd name="connsiteX42" fmla="*/ 2796 w 5233"/>
                        <a:gd name="connsiteY42" fmla="*/ 60 h 5681"/>
                        <a:gd name="connsiteX43" fmla="*/ 2079 w 5233"/>
                        <a:gd name="connsiteY43" fmla="*/ 359 h 5681"/>
                        <a:gd name="connsiteX44" fmla="*/ 1121 w 5233"/>
                        <a:gd name="connsiteY44" fmla="*/ 1076 h 5681"/>
                        <a:gd name="connsiteX45" fmla="*/ 404 w 5233"/>
                        <a:gd name="connsiteY45" fmla="*/ 2033 h 5681"/>
                        <a:gd name="connsiteX46" fmla="*/ 45 w 5233"/>
                        <a:gd name="connsiteY46" fmla="*/ 3110 h 5681"/>
                        <a:gd name="connsiteX47" fmla="*/ 45 w 5233"/>
                        <a:gd name="connsiteY47" fmla="*/ 4187 h 5681"/>
                        <a:gd name="connsiteX48" fmla="*/ 165 w 5233"/>
                        <a:gd name="connsiteY48" fmla="*/ 4486 h 5681"/>
                        <a:gd name="connsiteX49" fmla="*/ 284 w 5233"/>
                        <a:gd name="connsiteY49" fmla="*/ 4785 h 5681"/>
                        <a:gd name="connsiteX50" fmla="*/ 464 w 5233"/>
                        <a:gd name="connsiteY50" fmla="*/ 5024 h 5681"/>
                        <a:gd name="connsiteX51" fmla="*/ 763 w 5233"/>
                        <a:gd name="connsiteY51" fmla="*/ 5323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233" h="5681">
                          <a:moveTo>
                            <a:pt x="3992" y="1196"/>
                          </a:moveTo>
                          <a:cubicBezTo>
                            <a:pt x="4052" y="1256"/>
                            <a:pt x="4112" y="1256"/>
                            <a:pt x="4112" y="1316"/>
                          </a:cubicBezTo>
                          <a:cubicBezTo>
                            <a:pt x="4172" y="1375"/>
                            <a:pt x="4172" y="1435"/>
                            <a:pt x="4231" y="1495"/>
                          </a:cubicBezTo>
                          <a:cubicBezTo>
                            <a:pt x="4291" y="1555"/>
                            <a:pt x="4291" y="1615"/>
                            <a:pt x="4291" y="1674"/>
                          </a:cubicBezTo>
                          <a:cubicBezTo>
                            <a:pt x="4291" y="1734"/>
                            <a:pt x="4351" y="1794"/>
                            <a:pt x="4351" y="1914"/>
                          </a:cubicBezTo>
                          <a:cubicBezTo>
                            <a:pt x="4411" y="2153"/>
                            <a:pt x="4411" y="2392"/>
                            <a:pt x="4351" y="2632"/>
                          </a:cubicBezTo>
                          <a:cubicBezTo>
                            <a:pt x="4291" y="2871"/>
                            <a:pt x="4231" y="3110"/>
                            <a:pt x="4112" y="3349"/>
                          </a:cubicBezTo>
                          <a:cubicBezTo>
                            <a:pt x="3992" y="3588"/>
                            <a:pt x="3813" y="3828"/>
                            <a:pt x="3633" y="4007"/>
                          </a:cubicBezTo>
                          <a:cubicBezTo>
                            <a:pt x="3454" y="4187"/>
                            <a:pt x="3215" y="4366"/>
                            <a:pt x="2975" y="4486"/>
                          </a:cubicBezTo>
                          <a:cubicBezTo>
                            <a:pt x="2856" y="4545"/>
                            <a:pt x="2736" y="4605"/>
                            <a:pt x="2617" y="4665"/>
                          </a:cubicBezTo>
                          <a:cubicBezTo>
                            <a:pt x="2497" y="4725"/>
                            <a:pt x="2377" y="4725"/>
                            <a:pt x="2258" y="4725"/>
                          </a:cubicBezTo>
                          <a:cubicBezTo>
                            <a:pt x="2138" y="4725"/>
                            <a:pt x="2019" y="4725"/>
                            <a:pt x="1899" y="4725"/>
                          </a:cubicBezTo>
                          <a:cubicBezTo>
                            <a:pt x="1779" y="4725"/>
                            <a:pt x="1660" y="4665"/>
                            <a:pt x="1600" y="4665"/>
                          </a:cubicBezTo>
                          <a:lnTo>
                            <a:pt x="1241" y="4486"/>
                          </a:lnTo>
                          <a:lnTo>
                            <a:pt x="822" y="3768"/>
                          </a:lnTo>
                          <a:cubicBezTo>
                            <a:pt x="763" y="3528"/>
                            <a:pt x="763" y="3289"/>
                            <a:pt x="822" y="3050"/>
                          </a:cubicBezTo>
                          <a:cubicBezTo>
                            <a:pt x="882" y="2811"/>
                            <a:pt x="942" y="2572"/>
                            <a:pt x="1062" y="2333"/>
                          </a:cubicBezTo>
                          <a:cubicBezTo>
                            <a:pt x="1181" y="2093"/>
                            <a:pt x="1361" y="1854"/>
                            <a:pt x="1540" y="1674"/>
                          </a:cubicBezTo>
                          <a:cubicBezTo>
                            <a:pt x="1720" y="1495"/>
                            <a:pt x="1959" y="1316"/>
                            <a:pt x="2198" y="1136"/>
                          </a:cubicBezTo>
                          <a:cubicBezTo>
                            <a:pt x="2377" y="1076"/>
                            <a:pt x="2497" y="1017"/>
                            <a:pt x="2676" y="957"/>
                          </a:cubicBezTo>
                          <a:cubicBezTo>
                            <a:pt x="2856" y="897"/>
                            <a:pt x="2975" y="897"/>
                            <a:pt x="3095" y="897"/>
                          </a:cubicBezTo>
                          <a:cubicBezTo>
                            <a:pt x="3215" y="897"/>
                            <a:pt x="3394" y="957"/>
                            <a:pt x="3514" y="957"/>
                          </a:cubicBezTo>
                          <a:cubicBezTo>
                            <a:pt x="3813" y="1076"/>
                            <a:pt x="3933" y="1136"/>
                            <a:pt x="3992" y="1196"/>
                          </a:cubicBezTo>
                          <a:moveTo>
                            <a:pt x="763" y="5323"/>
                          </a:moveTo>
                          <a:cubicBezTo>
                            <a:pt x="822" y="5323"/>
                            <a:pt x="822" y="5382"/>
                            <a:pt x="882" y="5382"/>
                          </a:cubicBezTo>
                          <a:cubicBezTo>
                            <a:pt x="942" y="5382"/>
                            <a:pt x="942" y="5442"/>
                            <a:pt x="1002" y="5442"/>
                          </a:cubicBezTo>
                          <a:cubicBezTo>
                            <a:pt x="1062" y="5442"/>
                            <a:pt x="1062" y="5502"/>
                            <a:pt x="1121" y="5502"/>
                          </a:cubicBezTo>
                          <a:cubicBezTo>
                            <a:pt x="1181" y="5502"/>
                            <a:pt x="1181" y="5562"/>
                            <a:pt x="1241" y="5562"/>
                          </a:cubicBezTo>
                          <a:cubicBezTo>
                            <a:pt x="1361" y="5622"/>
                            <a:pt x="1540" y="5622"/>
                            <a:pt x="1720" y="5682"/>
                          </a:cubicBezTo>
                          <a:cubicBezTo>
                            <a:pt x="1899" y="5682"/>
                            <a:pt x="2019" y="5682"/>
                            <a:pt x="2198" y="5682"/>
                          </a:cubicBezTo>
                          <a:cubicBezTo>
                            <a:pt x="2377" y="5682"/>
                            <a:pt x="2557" y="5622"/>
                            <a:pt x="2676" y="5562"/>
                          </a:cubicBezTo>
                          <a:cubicBezTo>
                            <a:pt x="2856" y="5502"/>
                            <a:pt x="3035" y="5442"/>
                            <a:pt x="3155" y="5323"/>
                          </a:cubicBezTo>
                          <a:cubicBezTo>
                            <a:pt x="3514" y="5143"/>
                            <a:pt x="3813" y="4904"/>
                            <a:pt x="4112" y="4605"/>
                          </a:cubicBezTo>
                          <a:cubicBezTo>
                            <a:pt x="4411" y="4306"/>
                            <a:pt x="4650" y="4007"/>
                            <a:pt x="4829" y="3648"/>
                          </a:cubicBezTo>
                          <a:cubicBezTo>
                            <a:pt x="5009" y="3289"/>
                            <a:pt x="5128" y="2930"/>
                            <a:pt x="5188" y="2572"/>
                          </a:cubicBezTo>
                          <a:cubicBezTo>
                            <a:pt x="5248" y="2213"/>
                            <a:pt x="5248" y="1854"/>
                            <a:pt x="5188" y="1495"/>
                          </a:cubicBezTo>
                          <a:cubicBezTo>
                            <a:pt x="5188" y="1375"/>
                            <a:pt x="5128" y="1256"/>
                            <a:pt x="5069" y="1196"/>
                          </a:cubicBezTo>
                          <a:cubicBezTo>
                            <a:pt x="5009" y="1136"/>
                            <a:pt x="5009" y="1017"/>
                            <a:pt x="4949" y="897"/>
                          </a:cubicBezTo>
                          <a:cubicBezTo>
                            <a:pt x="4889" y="837"/>
                            <a:pt x="4829" y="718"/>
                            <a:pt x="4770" y="658"/>
                          </a:cubicBezTo>
                          <a:cubicBezTo>
                            <a:pt x="4710" y="598"/>
                            <a:pt x="4650" y="479"/>
                            <a:pt x="4530" y="419"/>
                          </a:cubicBezTo>
                          <a:cubicBezTo>
                            <a:pt x="4411" y="299"/>
                            <a:pt x="4231" y="179"/>
                            <a:pt x="4052" y="120"/>
                          </a:cubicBezTo>
                          <a:cubicBezTo>
                            <a:pt x="3873" y="60"/>
                            <a:pt x="3693" y="0"/>
                            <a:pt x="3454" y="0"/>
                          </a:cubicBezTo>
                          <a:cubicBezTo>
                            <a:pt x="3215" y="0"/>
                            <a:pt x="3035" y="0"/>
                            <a:pt x="2796" y="60"/>
                          </a:cubicBezTo>
                          <a:cubicBezTo>
                            <a:pt x="2557" y="120"/>
                            <a:pt x="2318" y="239"/>
                            <a:pt x="2079" y="359"/>
                          </a:cubicBezTo>
                          <a:cubicBezTo>
                            <a:pt x="1720" y="538"/>
                            <a:pt x="1420" y="778"/>
                            <a:pt x="1121" y="1076"/>
                          </a:cubicBezTo>
                          <a:cubicBezTo>
                            <a:pt x="822" y="1375"/>
                            <a:pt x="583" y="1674"/>
                            <a:pt x="404" y="2033"/>
                          </a:cubicBezTo>
                          <a:cubicBezTo>
                            <a:pt x="224" y="2392"/>
                            <a:pt x="105" y="2751"/>
                            <a:pt x="45" y="3110"/>
                          </a:cubicBezTo>
                          <a:cubicBezTo>
                            <a:pt x="-15" y="3469"/>
                            <a:pt x="-15" y="3828"/>
                            <a:pt x="45" y="4187"/>
                          </a:cubicBezTo>
                          <a:cubicBezTo>
                            <a:pt x="45" y="4306"/>
                            <a:pt x="105" y="4426"/>
                            <a:pt x="165" y="4486"/>
                          </a:cubicBezTo>
                          <a:cubicBezTo>
                            <a:pt x="224" y="4605"/>
                            <a:pt x="224" y="4665"/>
                            <a:pt x="284" y="4785"/>
                          </a:cubicBezTo>
                          <a:cubicBezTo>
                            <a:pt x="344" y="4904"/>
                            <a:pt x="404" y="4964"/>
                            <a:pt x="464" y="5024"/>
                          </a:cubicBezTo>
                          <a:cubicBezTo>
                            <a:pt x="523" y="5083"/>
                            <a:pt x="703" y="5263"/>
                            <a:pt x="763" y="5323"/>
                          </a:cubicBezTo>
                        </a:path>
                      </a:pathLst>
                    </a:custGeom>
                    <a:noFill/>
                    <a:ln w="6350" cap="flat">
                      <a:solidFill>
                        <a:schemeClr val="bg1">
                          <a:alpha val="80000"/>
                        </a:schemeClr>
                      </a:solidFill>
                      <a:prstDash val="solid"/>
                      <a:miter/>
                    </a:ln>
                  </p:spPr>
                  <p:txBody>
                    <a:bodyPr rtlCol="0" anchor="ctr"/>
                    <a:lstStyle/>
                    <a:p>
                      <a:endParaRPr lang="en-GB"/>
                    </a:p>
                  </p:txBody>
                </p:sp>
                <p:sp>
                  <p:nvSpPr>
                    <p:cNvPr id="7400" name="Vrije vorm: vorm 7399">
                      <a:extLst>
                        <a:ext uri="{FF2B5EF4-FFF2-40B4-BE49-F238E27FC236}">
                          <a16:creationId xmlns:a16="http://schemas.microsoft.com/office/drawing/2014/main" id="{A99715CA-BAA1-4992-9AC6-78B9F45875B9}"/>
                        </a:ext>
                      </a:extLst>
                    </p:cNvPr>
                    <p:cNvSpPr/>
                    <p:nvPr/>
                  </p:nvSpPr>
                  <p:spPr>
                    <a:xfrm>
                      <a:off x="5347921" y="5291863"/>
                      <a:ext cx="5188" cy="5721"/>
                    </a:xfrm>
                    <a:custGeom>
                      <a:avLst/>
                      <a:gdLst>
                        <a:gd name="connsiteX0" fmla="*/ 2093 w 5188"/>
                        <a:gd name="connsiteY0" fmla="*/ 4884 h 5721"/>
                        <a:gd name="connsiteX1" fmla="*/ 1974 w 5188"/>
                        <a:gd name="connsiteY1" fmla="*/ 4884 h 5721"/>
                        <a:gd name="connsiteX2" fmla="*/ 1854 w 5188"/>
                        <a:gd name="connsiteY2" fmla="*/ 4884 h 5721"/>
                        <a:gd name="connsiteX3" fmla="*/ 1735 w 5188"/>
                        <a:gd name="connsiteY3" fmla="*/ 4884 h 5721"/>
                        <a:gd name="connsiteX4" fmla="*/ 1615 w 5188"/>
                        <a:gd name="connsiteY4" fmla="*/ 4824 h 5721"/>
                        <a:gd name="connsiteX5" fmla="*/ 1256 w 5188"/>
                        <a:gd name="connsiteY5" fmla="*/ 4645 h 5721"/>
                        <a:gd name="connsiteX6" fmla="*/ 957 w 5188"/>
                        <a:gd name="connsiteY6" fmla="*/ 4226 h 5721"/>
                        <a:gd name="connsiteX7" fmla="*/ 837 w 5188"/>
                        <a:gd name="connsiteY7" fmla="*/ 3687 h 5721"/>
                        <a:gd name="connsiteX8" fmla="*/ 897 w 5188"/>
                        <a:gd name="connsiteY8" fmla="*/ 3090 h 5721"/>
                        <a:gd name="connsiteX9" fmla="*/ 1136 w 5188"/>
                        <a:gd name="connsiteY9" fmla="*/ 2432 h 5721"/>
                        <a:gd name="connsiteX10" fmla="*/ 1615 w 5188"/>
                        <a:gd name="connsiteY10" fmla="*/ 1774 h 5721"/>
                        <a:gd name="connsiteX11" fmla="*/ 2213 w 5188"/>
                        <a:gd name="connsiteY11" fmla="*/ 1295 h 5721"/>
                        <a:gd name="connsiteX12" fmla="*/ 2871 w 5188"/>
                        <a:gd name="connsiteY12" fmla="*/ 1056 h 5721"/>
                        <a:gd name="connsiteX13" fmla="*/ 3529 w 5188"/>
                        <a:gd name="connsiteY13" fmla="*/ 1116 h 5721"/>
                        <a:gd name="connsiteX14" fmla="*/ 3589 w 5188"/>
                        <a:gd name="connsiteY14" fmla="*/ 1176 h 5721"/>
                        <a:gd name="connsiteX15" fmla="*/ 3648 w 5188"/>
                        <a:gd name="connsiteY15" fmla="*/ 1236 h 5721"/>
                        <a:gd name="connsiteX16" fmla="*/ 3708 w 5188"/>
                        <a:gd name="connsiteY16" fmla="*/ 1295 h 5721"/>
                        <a:gd name="connsiteX17" fmla="*/ 3768 w 5188"/>
                        <a:gd name="connsiteY17" fmla="*/ 1355 h 5721"/>
                        <a:gd name="connsiteX18" fmla="*/ 4067 w 5188"/>
                        <a:gd name="connsiteY18" fmla="*/ 1714 h 5721"/>
                        <a:gd name="connsiteX19" fmla="*/ 4187 w 5188"/>
                        <a:gd name="connsiteY19" fmla="*/ 2192 h 5721"/>
                        <a:gd name="connsiteX20" fmla="*/ 4187 w 5188"/>
                        <a:gd name="connsiteY20" fmla="*/ 2731 h 5721"/>
                        <a:gd name="connsiteX21" fmla="*/ 4007 w 5188"/>
                        <a:gd name="connsiteY21" fmla="*/ 3329 h 5721"/>
                        <a:gd name="connsiteX22" fmla="*/ 4007 w 5188"/>
                        <a:gd name="connsiteY22" fmla="*/ 3389 h 5721"/>
                        <a:gd name="connsiteX23" fmla="*/ 4007 w 5188"/>
                        <a:gd name="connsiteY23" fmla="*/ 3448 h 5721"/>
                        <a:gd name="connsiteX24" fmla="*/ 4007 w 5188"/>
                        <a:gd name="connsiteY24" fmla="*/ 3508 h 5721"/>
                        <a:gd name="connsiteX25" fmla="*/ 4007 w 5188"/>
                        <a:gd name="connsiteY25" fmla="*/ 3568 h 5721"/>
                        <a:gd name="connsiteX26" fmla="*/ 3888 w 5188"/>
                        <a:gd name="connsiteY26" fmla="*/ 3747 h 5721"/>
                        <a:gd name="connsiteX27" fmla="*/ 3768 w 5188"/>
                        <a:gd name="connsiteY27" fmla="*/ 3927 h 5721"/>
                        <a:gd name="connsiteX28" fmla="*/ 3648 w 5188"/>
                        <a:gd name="connsiteY28" fmla="*/ 4106 h 5721"/>
                        <a:gd name="connsiteX29" fmla="*/ 3529 w 5188"/>
                        <a:gd name="connsiteY29" fmla="*/ 4286 h 5721"/>
                        <a:gd name="connsiteX30" fmla="*/ 3409 w 5188"/>
                        <a:gd name="connsiteY30" fmla="*/ 4405 h 5721"/>
                        <a:gd name="connsiteX31" fmla="*/ 3289 w 5188"/>
                        <a:gd name="connsiteY31" fmla="*/ 4525 h 5721"/>
                        <a:gd name="connsiteX32" fmla="*/ 3170 w 5188"/>
                        <a:gd name="connsiteY32" fmla="*/ 4645 h 5721"/>
                        <a:gd name="connsiteX33" fmla="*/ 3050 w 5188"/>
                        <a:gd name="connsiteY33" fmla="*/ 4704 h 5721"/>
                        <a:gd name="connsiteX34" fmla="*/ 2811 w 5188"/>
                        <a:gd name="connsiteY34" fmla="*/ 4824 h 5721"/>
                        <a:gd name="connsiteX35" fmla="*/ 2572 w 5188"/>
                        <a:gd name="connsiteY35" fmla="*/ 4944 h 5721"/>
                        <a:gd name="connsiteX36" fmla="*/ 2333 w 5188"/>
                        <a:gd name="connsiteY36" fmla="*/ 5003 h 5721"/>
                        <a:gd name="connsiteX37" fmla="*/ 2093 w 5188"/>
                        <a:gd name="connsiteY37" fmla="*/ 4884 h 5721"/>
                        <a:gd name="connsiteX38" fmla="*/ 658 w 5188"/>
                        <a:gd name="connsiteY38" fmla="*/ 5422 h 5721"/>
                        <a:gd name="connsiteX39" fmla="*/ 778 w 5188"/>
                        <a:gd name="connsiteY39" fmla="*/ 5482 h 5721"/>
                        <a:gd name="connsiteX40" fmla="*/ 897 w 5188"/>
                        <a:gd name="connsiteY40" fmla="*/ 5541 h 5721"/>
                        <a:gd name="connsiteX41" fmla="*/ 1017 w 5188"/>
                        <a:gd name="connsiteY41" fmla="*/ 5601 h 5721"/>
                        <a:gd name="connsiteX42" fmla="*/ 1136 w 5188"/>
                        <a:gd name="connsiteY42" fmla="*/ 5661 h 5721"/>
                        <a:gd name="connsiteX43" fmla="*/ 1256 w 5188"/>
                        <a:gd name="connsiteY43" fmla="*/ 5721 h 5721"/>
                        <a:gd name="connsiteX44" fmla="*/ 1375 w 5188"/>
                        <a:gd name="connsiteY44" fmla="*/ 5721 h 5721"/>
                        <a:gd name="connsiteX45" fmla="*/ 1495 w 5188"/>
                        <a:gd name="connsiteY45" fmla="*/ 5721 h 5721"/>
                        <a:gd name="connsiteX46" fmla="*/ 1615 w 5188"/>
                        <a:gd name="connsiteY46" fmla="*/ 5721 h 5721"/>
                        <a:gd name="connsiteX47" fmla="*/ 1854 w 5188"/>
                        <a:gd name="connsiteY47" fmla="*/ 5721 h 5721"/>
                        <a:gd name="connsiteX48" fmla="*/ 2093 w 5188"/>
                        <a:gd name="connsiteY48" fmla="*/ 5721 h 5721"/>
                        <a:gd name="connsiteX49" fmla="*/ 2333 w 5188"/>
                        <a:gd name="connsiteY49" fmla="*/ 5661 h 5721"/>
                        <a:gd name="connsiteX50" fmla="*/ 2572 w 5188"/>
                        <a:gd name="connsiteY50" fmla="*/ 5601 h 5721"/>
                        <a:gd name="connsiteX51" fmla="*/ 3050 w 5188"/>
                        <a:gd name="connsiteY51" fmla="*/ 5422 h 5721"/>
                        <a:gd name="connsiteX52" fmla="*/ 3529 w 5188"/>
                        <a:gd name="connsiteY52" fmla="*/ 5123 h 5721"/>
                        <a:gd name="connsiteX53" fmla="*/ 3947 w 5188"/>
                        <a:gd name="connsiteY53" fmla="*/ 4764 h 5721"/>
                        <a:gd name="connsiteX54" fmla="*/ 4366 w 5188"/>
                        <a:gd name="connsiteY54" fmla="*/ 4346 h 5721"/>
                        <a:gd name="connsiteX55" fmla="*/ 4486 w 5188"/>
                        <a:gd name="connsiteY55" fmla="*/ 4166 h 5721"/>
                        <a:gd name="connsiteX56" fmla="*/ 4605 w 5188"/>
                        <a:gd name="connsiteY56" fmla="*/ 3987 h 5721"/>
                        <a:gd name="connsiteX57" fmla="*/ 4725 w 5188"/>
                        <a:gd name="connsiteY57" fmla="*/ 3807 h 5721"/>
                        <a:gd name="connsiteX58" fmla="*/ 4844 w 5188"/>
                        <a:gd name="connsiteY58" fmla="*/ 3628 h 5721"/>
                        <a:gd name="connsiteX59" fmla="*/ 4904 w 5188"/>
                        <a:gd name="connsiteY59" fmla="*/ 3568 h 5721"/>
                        <a:gd name="connsiteX60" fmla="*/ 4904 w 5188"/>
                        <a:gd name="connsiteY60" fmla="*/ 3508 h 5721"/>
                        <a:gd name="connsiteX61" fmla="*/ 4904 w 5188"/>
                        <a:gd name="connsiteY61" fmla="*/ 3448 h 5721"/>
                        <a:gd name="connsiteX62" fmla="*/ 4904 w 5188"/>
                        <a:gd name="connsiteY62" fmla="*/ 3389 h 5721"/>
                        <a:gd name="connsiteX63" fmla="*/ 5143 w 5188"/>
                        <a:gd name="connsiteY63" fmla="*/ 2492 h 5721"/>
                        <a:gd name="connsiteX64" fmla="*/ 5143 w 5188"/>
                        <a:gd name="connsiteY64" fmla="*/ 1654 h 5721"/>
                        <a:gd name="connsiteX65" fmla="*/ 4904 w 5188"/>
                        <a:gd name="connsiteY65" fmla="*/ 937 h 5721"/>
                        <a:gd name="connsiteX66" fmla="*/ 4486 w 5188"/>
                        <a:gd name="connsiteY66" fmla="*/ 398 h 5721"/>
                        <a:gd name="connsiteX67" fmla="*/ 4007 w 5188"/>
                        <a:gd name="connsiteY67" fmla="*/ 99 h 5721"/>
                        <a:gd name="connsiteX68" fmla="*/ 3050 w 5188"/>
                        <a:gd name="connsiteY68" fmla="*/ 39 h 5721"/>
                        <a:gd name="connsiteX69" fmla="*/ 2034 w 5188"/>
                        <a:gd name="connsiteY69" fmla="*/ 398 h 5721"/>
                        <a:gd name="connsiteX70" fmla="*/ 1136 w 5188"/>
                        <a:gd name="connsiteY70" fmla="*/ 1116 h 5721"/>
                        <a:gd name="connsiteX71" fmla="*/ 419 w 5188"/>
                        <a:gd name="connsiteY71" fmla="*/ 2133 h 5721"/>
                        <a:gd name="connsiteX72" fmla="*/ 60 w 5188"/>
                        <a:gd name="connsiteY72" fmla="*/ 3090 h 5721"/>
                        <a:gd name="connsiteX73" fmla="*/ 0 w 5188"/>
                        <a:gd name="connsiteY73" fmla="*/ 3987 h 5721"/>
                        <a:gd name="connsiteX74" fmla="*/ 180 w 5188"/>
                        <a:gd name="connsiteY74" fmla="*/ 4764 h 5721"/>
                        <a:gd name="connsiteX75" fmla="*/ 658 w 5188"/>
                        <a:gd name="connsiteY75" fmla="*/ 5422 h 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188" h="5721">
                          <a:moveTo>
                            <a:pt x="2093" y="4884"/>
                          </a:moveTo>
                          <a:cubicBezTo>
                            <a:pt x="2034" y="4884"/>
                            <a:pt x="2034" y="4884"/>
                            <a:pt x="1974" y="4884"/>
                          </a:cubicBezTo>
                          <a:cubicBezTo>
                            <a:pt x="1914" y="4884"/>
                            <a:pt x="1914" y="4884"/>
                            <a:pt x="1854" y="4884"/>
                          </a:cubicBezTo>
                          <a:cubicBezTo>
                            <a:pt x="1794" y="4884"/>
                            <a:pt x="1794" y="4884"/>
                            <a:pt x="1735" y="4884"/>
                          </a:cubicBezTo>
                          <a:cubicBezTo>
                            <a:pt x="1675" y="4884"/>
                            <a:pt x="1675" y="4884"/>
                            <a:pt x="1615" y="4824"/>
                          </a:cubicBezTo>
                          <a:lnTo>
                            <a:pt x="1256" y="4645"/>
                          </a:lnTo>
                          <a:cubicBezTo>
                            <a:pt x="1136" y="4525"/>
                            <a:pt x="1017" y="4405"/>
                            <a:pt x="957" y="4226"/>
                          </a:cubicBezTo>
                          <a:cubicBezTo>
                            <a:pt x="897" y="4046"/>
                            <a:pt x="837" y="3867"/>
                            <a:pt x="837" y="3687"/>
                          </a:cubicBezTo>
                          <a:cubicBezTo>
                            <a:pt x="837" y="3508"/>
                            <a:pt x="837" y="3269"/>
                            <a:pt x="897" y="3090"/>
                          </a:cubicBezTo>
                          <a:cubicBezTo>
                            <a:pt x="957" y="2850"/>
                            <a:pt x="1017" y="2671"/>
                            <a:pt x="1136" y="2432"/>
                          </a:cubicBezTo>
                          <a:cubicBezTo>
                            <a:pt x="1256" y="2192"/>
                            <a:pt x="1435" y="1953"/>
                            <a:pt x="1615" y="1774"/>
                          </a:cubicBezTo>
                          <a:cubicBezTo>
                            <a:pt x="1794" y="1594"/>
                            <a:pt x="2034" y="1415"/>
                            <a:pt x="2213" y="1295"/>
                          </a:cubicBezTo>
                          <a:cubicBezTo>
                            <a:pt x="2452" y="1176"/>
                            <a:pt x="2691" y="1116"/>
                            <a:pt x="2871" y="1056"/>
                          </a:cubicBezTo>
                          <a:cubicBezTo>
                            <a:pt x="3110" y="996"/>
                            <a:pt x="3289" y="1056"/>
                            <a:pt x="3529" y="1116"/>
                          </a:cubicBezTo>
                          <a:cubicBezTo>
                            <a:pt x="3529" y="1116"/>
                            <a:pt x="3589" y="1116"/>
                            <a:pt x="3589" y="1176"/>
                          </a:cubicBezTo>
                          <a:cubicBezTo>
                            <a:pt x="3589" y="1176"/>
                            <a:pt x="3648" y="1176"/>
                            <a:pt x="3648" y="1236"/>
                          </a:cubicBezTo>
                          <a:cubicBezTo>
                            <a:pt x="3648" y="1236"/>
                            <a:pt x="3708" y="1295"/>
                            <a:pt x="3708" y="1295"/>
                          </a:cubicBezTo>
                          <a:cubicBezTo>
                            <a:pt x="3708" y="1295"/>
                            <a:pt x="3768" y="1355"/>
                            <a:pt x="3768" y="1355"/>
                          </a:cubicBezTo>
                          <a:cubicBezTo>
                            <a:pt x="3888" y="1475"/>
                            <a:pt x="4007" y="1594"/>
                            <a:pt x="4067" y="1714"/>
                          </a:cubicBezTo>
                          <a:cubicBezTo>
                            <a:pt x="4127" y="1833"/>
                            <a:pt x="4187" y="2013"/>
                            <a:pt x="4187" y="2192"/>
                          </a:cubicBezTo>
                          <a:cubicBezTo>
                            <a:pt x="4187" y="2372"/>
                            <a:pt x="4187" y="2551"/>
                            <a:pt x="4187" y="2731"/>
                          </a:cubicBezTo>
                          <a:cubicBezTo>
                            <a:pt x="4187" y="2910"/>
                            <a:pt x="4127" y="3149"/>
                            <a:pt x="4007" y="3329"/>
                          </a:cubicBezTo>
                          <a:cubicBezTo>
                            <a:pt x="4007" y="3329"/>
                            <a:pt x="4007" y="3329"/>
                            <a:pt x="4007" y="3389"/>
                          </a:cubicBezTo>
                          <a:cubicBezTo>
                            <a:pt x="4007" y="3448"/>
                            <a:pt x="4007" y="3389"/>
                            <a:pt x="4007" y="3448"/>
                          </a:cubicBezTo>
                          <a:cubicBezTo>
                            <a:pt x="4007" y="3508"/>
                            <a:pt x="4007" y="3448"/>
                            <a:pt x="4007" y="3508"/>
                          </a:cubicBezTo>
                          <a:cubicBezTo>
                            <a:pt x="4007" y="3508"/>
                            <a:pt x="4007" y="3508"/>
                            <a:pt x="4007" y="3568"/>
                          </a:cubicBezTo>
                          <a:cubicBezTo>
                            <a:pt x="3947" y="3628"/>
                            <a:pt x="3947" y="3687"/>
                            <a:pt x="3888" y="3747"/>
                          </a:cubicBezTo>
                          <a:cubicBezTo>
                            <a:pt x="3828" y="3807"/>
                            <a:pt x="3828" y="3867"/>
                            <a:pt x="3768" y="3927"/>
                          </a:cubicBezTo>
                          <a:cubicBezTo>
                            <a:pt x="3708" y="3987"/>
                            <a:pt x="3708" y="4046"/>
                            <a:pt x="3648" y="4106"/>
                          </a:cubicBezTo>
                          <a:cubicBezTo>
                            <a:pt x="3589" y="4166"/>
                            <a:pt x="3529" y="4226"/>
                            <a:pt x="3529" y="4286"/>
                          </a:cubicBezTo>
                          <a:cubicBezTo>
                            <a:pt x="3469" y="4346"/>
                            <a:pt x="3469" y="4346"/>
                            <a:pt x="3409" y="4405"/>
                          </a:cubicBezTo>
                          <a:cubicBezTo>
                            <a:pt x="3349" y="4465"/>
                            <a:pt x="3349" y="4465"/>
                            <a:pt x="3289" y="4525"/>
                          </a:cubicBezTo>
                          <a:cubicBezTo>
                            <a:pt x="3230" y="4585"/>
                            <a:pt x="3230" y="4585"/>
                            <a:pt x="3170" y="4645"/>
                          </a:cubicBezTo>
                          <a:cubicBezTo>
                            <a:pt x="3110" y="4704"/>
                            <a:pt x="3110" y="4704"/>
                            <a:pt x="3050" y="4704"/>
                          </a:cubicBezTo>
                          <a:cubicBezTo>
                            <a:pt x="2990" y="4764"/>
                            <a:pt x="2871" y="4824"/>
                            <a:pt x="2811" y="4824"/>
                          </a:cubicBezTo>
                          <a:cubicBezTo>
                            <a:pt x="2751" y="4884"/>
                            <a:pt x="2632" y="4884"/>
                            <a:pt x="2572" y="4944"/>
                          </a:cubicBezTo>
                          <a:cubicBezTo>
                            <a:pt x="2512" y="4944"/>
                            <a:pt x="2392" y="5003"/>
                            <a:pt x="2333" y="5003"/>
                          </a:cubicBezTo>
                          <a:cubicBezTo>
                            <a:pt x="2273" y="4884"/>
                            <a:pt x="2153" y="4884"/>
                            <a:pt x="2093" y="4884"/>
                          </a:cubicBezTo>
                          <a:moveTo>
                            <a:pt x="658" y="5422"/>
                          </a:moveTo>
                          <a:cubicBezTo>
                            <a:pt x="718" y="5422"/>
                            <a:pt x="718" y="5482"/>
                            <a:pt x="778" y="5482"/>
                          </a:cubicBezTo>
                          <a:cubicBezTo>
                            <a:pt x="837" y="5482"/>
                            <a:pt x="837" y="5541"/>
                            <a:pt x="897" y="5541"/>
                          </a:cubicBezTo>
                          <a:cubicBezTo>
                            <a:pt x="957" y="5541"/>
                            <a:pt x="957" y="5601"/>
                            <a:pt x="1017" y="5601"/>
                          </a:cubicBezTo>
                          <a:cubicBezTo>
                            <a:pt x="1076" y="5601"/>
                            <a:pt x="1076" y="5661"/>
                            <a:pt x="1136" y="5661"/>
                          </a:cubicBezTo>
                          <a:cubicBezTo>
                            <a:pt x="1196" y="5661"/>
                            <a:pt x="1196" y="5661"/>
                            <a:pt x="1256" y="5721"/>
                          </a:cubicBezTo>
                          <a:cubicBezTo>
                            <a:pt x="1316" y="5721"/>
                            <a:pt x="1375" y="5721"/>
                            <a:pt x="1375" y="5721"/>
                          </a:cubicBezTo>
                          <a:cubicBezTo>
                            <a:pt x="1375" y="5721"/>
                            <a:pt x="1495" y="5721"/>
                            <a:pt x="1495" y="5721"/>
                          </a:cubicBezTo>
                          <a:cubicBezTo>
                            <a:pt x="1555" y="5721"/>
                            <a:pt x="1615" y="5721"/>
                            <a:pt x="1615" y="5721"/>
                          </a:cubicBezTo>
                          <a:cubicBezTo>
                            <a:pt x="1675" y="5721"/>
                            <a:pt x="1735" y="5721"/>
                            <a:pt x="1854" y="5721"/>
                          </a:cubicBezTo>
                          <a:cubicBezTo>
                            <a:pt x="1914" y="5721"/>
                            <a:pt x="1974" y="5721"/>
                            <a:pt x="2093" y="5721"/>
                          </a:cubicBezTo>
                          <a:cubicBezTo>
                            <a:pt x="2153" y="5721"/>
                            <a:pt x="2213" y="5721"/>
                            <a:pt x="2333" y="5661"/>
                          </a:cubicBezTo>
                          <a:cubicBezTo>
                            <a:pt x="2452" y="5601"/>
                            <a:pt x="2452" y="5601"/>
                            <a:pt x="2572" y="5601"/>
                          </a:cubicBezTo>
                          <a:cubicBezTo>
                            <a:pt x="2751" y="5541"/>
                            <a:pt x="2871" y="5482"/>
                            <a:pt x="3050" y="5422"/>
                          </a:cubicBezTo>
                          <a:cubicBezTo>
                            <a:pt x="3230" y="5362"/>
                            <a:pt x="3349" y="5243"/>
                            <a:pt x="3529" y="5123"/>
                          </a:cubicBezTo>
                          <a:cubicBezTo>
                            <a:pt x="3708" y="5003"/>
                            <a:pt x="3828" y="4884"/>
                            <a:pt x="3947" y="4764"/>
                          </a:cubicBezTo>
                          <a:cubicBezTo>
                            <a:pt x="4067" y="4645"/>
                            <a:pt x="4187" y="4465"/>
                            <a:pt x="4366" y="4346"/>
                          </a:cubicBezTo>
                          <a:cubicBezTo>
                            <a:pt x="4426" y="4286"/>
                            <a:pt x="4426" y="4226"/>
                            <a:pt x="4486" y="4166"/>
                          </a:cubicBezTo>
                          <a:cubicBezTo>
                            <a:pt x="4545" y="4106"/>
                            <a:pt x="4545" y="4046"/>
                            <a:pt x="4605" y="3987"/>
                          </a:cubicBezTo>
                          <a:cubicBezTo>
                            <a:pt x="4665" y="3927"/>
                            <a:pt x="4665" y="3867"/>
                            <a:pt x="4725" y="3807"/>
                          </a:cubicBezTo>
                          <a:cubicBezTo>
                            <a:pt x="4785" y="3747"/>
                            <a:pt x="4785" y="3687"/>
                            <a:pt x="4844" y="3628"/>
                          </a:cubicBezTo>
                          <a:cubicBezTo>
                            <a:pt x="4844" y="3628"/>
                            <a:pt x="4844" y="3568"/>
                            <a:pt x="4904" y="3568"/>
                          </a:cubicBezTo>
                          <a:cubicBezTo>
                            <a:pt x="4904" y="3568"/>
                            <a:pt x="4904" y="3508"/>
                            <a:pt x="4904" y="3508"/>
                          </a:cubicBezTo>
                          <a:cubicBezTo>
                            <a:pt x="4904" y="3508"/>
                            <a:pt x="4904" y="3448"/>
                            <a:pt x="4904" y="3448"/>
                          </a:cubicBezTo>
                          <a:cubicBezTo>
                            <a:pt x="4904" y="3448"/>
                            <a:pt x="4904" y="3389"/>
                            <a:pt x="4904" y="3389"/>
                          </a:cubicBezTo>
                          <a:cubicBezTo>
                            <a:pt x="5024" y="3090"/>
                            <a:pt x="5143" y="2791"/>
                            <a:pt x="5143" y="2492"/>
                          </a:cubicBezTo>
                          <a:cubicBezTo>
                            <a:pt x="5203" y="2192"/>
                            <a:pt x="5203" y="1953"/>
                            <a:pt x="5143" y="1654"/>
                          </a:cubicBezTo>
                          <a:cubicBezTo>
                            <a:pt x="5084" y="1415"/>
                            <a:pt x="5024" y="1176"/>
                            <a:pt x="4904" y="937"/>
                          </a:cubicBezTo>
                          <a:cubicBezTo>
                            <a:pt x="4785" y="697"/>
                            <a:pt x="4665" y="518"/>
                            <a:pt x="4486" y="398"/>
                          </a:cubicBezTo>
                          <a:lnTo>
                            <a:pt x="4007" y="99"/>
                          </a:lnTo>
                          <a:cubicBezTo>
                            <a:pt x="3708" y="-21"/>
                            <a:pt x="3349" y="-21"/>
                            <a:pt x="3050" y="39"/>
                          </a:cubicBezTo>
                          <a:cubicBezTo>
                            <a:pt x="2751" y="99"/>
                            <a:pt x="2392" y="219"/>
                            <a:pt x="2034" y="398"/>
                          </a:cubicBezTo>
                          <a:cubicBezTo>
                            <a:pt x="1675" y="578"/>
                            <a:pt x="1375" y="817"/>
                            <a:pt x="1136" y="1116"/>
                          </a:cubicBezTo>
                          <a:cubicBezTo>
                            <a:pt x="837" y="1415"/>
                            <a:pt x="598" y="1714"/>
                            <a:pt x="419" y="2133"/>
                          </a:cubicBezTo>
                          <a:cubicBezTo>
                            <a:pt x="239" y="2432"/>
                            <a:pt x="120" y="2791"/>
                            <a:pt x="60" y="3090"/>
                          </a:cubicBezTo>
                          <a:cubicBezTo>
                            <a:pt x="0" y="3389"/>
                            <a:pt x="0" y="3687"/>
                            <a:pt x="0" y="3987"/>
                          </a:cubicBezTo>
                          <a:cubicBezTo>
                            <a:pt x="0" y="4286"/>
                            <a:pt x="120" y="4525"/>
                            <a:pt x="180" y="4764"/>
                          </a:cubicBezTo>
                          <a:cubicBezTo>
                            <a:pt x="299" y="5063"/>
                            <a:pt x="419" y="5302"/>
                            <a:pt x="658" y="5422"/>
                          </a:cubicBezTo>
                        </a:path>
                      </a:pathLst>
                    </a:custGeom>
                    <a:noFill/>
                    <a:ln w="6350" cap="flat">
                      <a:solidFill>
                        <a:schemeClr val="bg1">
                          <a:alpha val="80000"/>
                        </a:schemeClr>
                      </a:solidFill>
                      <a:prstDash val="solid"/>
                      <a:miter/>
                    </a:ln>
                  </p:spPr>
                  <p:txBody>
                    <a:bodyPr rtlCol="0" anchor="ctr"/>
                    <a:lstStyle/>
                    <a:p>
                      <a:endParaRPr lang="en-GB"/>
                    </a:p>
                  </p:txBody>
                </p:sp>
                <p:sp>
                  <p:nvSpPr>
                    <p:cNvPr id="7401" name="Vrije vorm: vorm 7400">
                      <a:extLst>
                        <a:ext uri="{FF2B5EF4-FFF2-40B4-BE49-F238E27FC236}">
                          <a16:creationId xmlns:a16="http://schemas.microsoft.com/office/drawing/2014/main" id="{AFEF7ABC-ED1B-4327-8518-3D0F46330060}"/>
                        </a:ext>
                      </a:extLst>
                    </p:cNvPr>
                    <p:cNvSpPr/>
                    <p:nvPr/>
                  </p:nvSpPr>
                  <p:spPr>
                    <a:xfrm>
                      <a:off x="5346247" y="5300933"/>
                      <a:ext cx="5083" cy="5648"/>
                    </a:xfrm>
                    <a:custGeom>
                      <a:avLst/>
                      <a:gdLst>
                        <a:gd name="connsiteX0" fmla="*/ 3947 w 5083"/>
                        <a:gd name="connsiteY0" fmla="*/ 1196 h 5648"/>
                        <a:gd name="connsiteX1" fmla="*/ 4067 w 5083"/>
                        <a:gd name="connsiteY1" fmla="*/ 1316 h 5648"/>
                        <a:gd name="connsiteX2" fmla="*/ 4186 w 5083"/>
                        <a:gd name="connsiteY2" fmla="*/ 1495 h 5648"/>
                        <a:gd name="connsiteX3" fmla="*/ 4246 w 5083"/>
                        <a:gd name="connsiteY3" fmla="*/ 1674 h 5648"/>
                        <a:gd name="connsiteX4" fmla="*/ 4306 w 5083"/>
                        <a:gd name="connsiteY4" fmla="*/ 1914 h 5648"/>
                        <a:gd name="connsiteX5" fmla="*/ 4366 w 5083"/>
                        <a:gd name="connsiteY5" fmla="*/ 2273 h 5648"/>
                        <a:gd name="connsiteX6" fmla="*/ 4366 w 5083"/>
                        <a:gd name="connsiteY6" fmla="*/ 2632 h 5648"/>
                        <a:gd name="connsiteX7" fmla="*/ 4246 w 5083"/>
                        <a:gd name="connsiteY7" fmla="*/ 2990 h 5648"/>
                        <a:gd name="connsiteX8" fmla="*/ 4067 w 5083"/>
                        <a:gd name="connsiteY8" fmla="*/ 3349 h 5648"/>
                        <a:gd name="connsiteX9" fmla="*/ 3827 w 5083"/>
                        <a:gd name="connsiteY9" fmla="*/ 3708 h 5648"/>
                        <a:gd name="connsiteX10" fmla="*/ 3588 w 5083"/>
                        <a:gd name="connsiteY10" fmla="*/ 4007 h 5648"/>
                        <a:gd name="connsiteX11" fmla="*/ 3289 w 5083"/>
                        <a:gd name="connsiteY11" fmla="*/ 4246 h 5648"/>
                        <a:gd name="connsiteX12" fmla="*/ 2930 w 5083"/>
                        <a:gd name="connsiteY12" fmla="*/ 4486 h 5648"/>
                        <a:gd name="connsiteX13" fmla="*/ 2572 w 5083"/>
                        <a:gd name="connsiteY13" fmla="*/ 4665 h 5648"/>
                        <a:gd name="connsiteX14" fmla="*/ 2213 w 5083"/>
                        <a:gd name="connsiteY14" fmla="*/ 4725 h 5648"/>
                        <a:gd name="connsiteX15" fmla="*/ 1914 w 5083"/>
                        <a:gd name="connsiteY15" fmla="*/ 4725 h 5648"/>
                        <a:gd name="connsiteX16" fmla="*/ 1615 w 5083"/>
                        <a:gd name="connsiteY16" fmla="*/ 4665 h 5648"/>
                        <a:gd name="connsiteX17" fmla="*/ 1256 w 5083"/>
                        <a:gd name="connsiteY17" fmla="*/ 4486 h 5648"/>
                        <a:gd name="connsiteX18" fmla="*/ 897 w 5083"/>
                        <a:gd name="connsiteY18" fmla="*/ 3828 h 5648"/>
                        <a:gd name="connsiteX19" fmla="*/ 837 w 5083"/>
                        <a:gd name="connsiteY19" fmla="*/ 3768 h 5648"/>
                        <a:gd name="connsiteX20" fmla="*/ 778 w 5083"/>
                        <a:gd name="connsiteY20" fmla="*/ 3409 h 5648"/>
                        <a:gd name="connsiteX21" fmla="*/ 778 w 5083"/>
                        <a:gd name="connsiteY21" fmla="*/ 3050 h 5648"/>
                        <a:gd name="connsiteX22" fmla="*/ 897 w 5083"/>
                        <a:gd name="connsiteY22" fmla="*/ 2691 h 5648"/>
                        <a:gd name="connsiteX23" fmla="*/ 1076 w 5083"/>
                        <a:gd name="connsiteY23" fmla="*/ 2333 h 5648"/>
                        <a:gd name="connsiteX24" fmla="*/ 1256 w 5083"/>
                        <a:gd name="connsiteY24" fmla="*/ 2034 h 5648"/>
                        <a:gd name="connsiteX25" fmla="*/ 1495 w 5083"/>
                        <a:gd name="connsiteY25" fmla="*/ 1734 h 5648"/>
                        <a:gd name="connsiteX26" fmla="*/ 1734 w 5083"/>
                        <a:gd name="connsiteY26" fmla="*/ 1495 h 5648"/>
                        <a:gd name="connsiteX27" fmla="*/ 1973 w 5083"/>
                        <a:gd name="connsiteY27" fmla="*/ 1316 h 5648"/>
                        <a:gd name="connsiteX28" fmla="*/ 2033 w 5083"/>
                        <a:gd name="connsiteY28" fmla="*/ 1316 h 5648"/>
                        <a:gd name="connsiteX29" fmla="*/ 2093 w 5083"/>
                        <a:gd name="connsiteY29" fmla="*/ 1316 h 5648"/>
                        <a:gd name="connsiteX30" fmla="*/ 2153 w 5083"/>
                        <a:gd name="connsiteY30" fmla="*/ 1316 h 5648"/>
                        <a:gd name="connsiteX31" fmla="*/ 2213 w 5083"/>
                        <a:gd name="connsiteY31" fmla="*/ 1316 h 5648"/>
                        <a:gd name="connsiteX32" fmla="*/ 2572 w 5083"/>
                        <a:gd name="connsiteY32" fmla="*/ 1136 h 5648"/>
                        <a:gd name="connsiteX33" fmla="*/ 2930 w 5083"/>
                        <a:gd name="connsiteY33" fmla="*/ 1076 h 5648"/>
                        <a:gd name="connsiteX34" fmla="*/ 3229 w 5083"/>
                        <a:gd name="connsiteY34" fmla="*/ 1076 h 5648"/>
                        <a:gd name="connsiteX35" fmla="*/ 3528 w 5083"/>
                        <a:gd name="connsiteY35" fmla="*/ 1136 h 5648"/>
                        <a:gd name="connsiteX36" fmla="*/ 3648 w 5083"/>
                        <a:gd name="connsiteY36" fmla="*/ 1196 h 5648"/>
                        <a:gd name="connsiteX37" fmla="*/ 3768 w 5083"/>
                        <a:gd name="connsiteY37" fmla="*/ 1256 h 5648"/>
                        <a:gd name="connsiteX38" fmla="*/ 3827 w 5083"/>
                        <a:gd name="connsiteY38" fmla="*/ 1316 h 5648"/>
                        <a:gd name="connsiteX39" fmla="*/ 3947 w 5083"/>
                        <a:gd name="connsiteY39" fmla="*/ 1196 h 5648"/>
                        <a:gd name="connsiteX40" fmla="*/ 718 w 5083"/>
                        <a:gd name="connsiteY40" fmla="*/ 5263 h 5648"/>
                        <a:gd name="connsiteX41" fmla="*/ 837 w 5083"/>
                        <a:gd name="connsiteY41" fmla="*/ 5323 h 5648"/>
                        <a:gd name="connsiteX42" fmla="*/ 957 w 5083"/>
                        <a:gd name="connsiteY42" fmla="*/ 5383 h 5648"/>
                        <a:gd name="connsiteX43" fmla="*/ 1076 w 5083"/>
                        <a:gd name="connsiteY43" fmla="*/ 5442 h 5648"/>
                        <a:gd name="connsiteX44" fmla="*/ 1196 w 5083"/>
                        <a:gd name="connsiteY44" fmla="*/ 5502 h 5648"/>
                        <a:gd name="connsiteX45" fmla="*/ 1615 w 5083"/>
                        <a:gd name="connsiteY45" fmla="*/ 5622 h 5648"/>
                        <a:gd name="connsiteX46" fmla="*/ 2093 w 5083"/>
                        <a:gd name="connsiteY46" fmla="*/ 5622 h 5648"/>
                        <a:gd name="connsiteX47" fmla="*/ 2572 w 5083"/>
                        <a:gd name="connsiteY47" fmla="*/ 5502 h 5648"/>
                        <a:gd name="connsiteX48" fmla="*/ 3110 w 5083"/>
                        <a:gd name="connsiteY48" fmla="*/ 5263 h 5648"/>
                        <a:gd name="connsiteX49" fmla="*/ 3588 w 5083"/>
                        <a:gd name="connsiteY49" fmla="*/ 4964 h 5648"/>
                        <a:gd name="connsiteX50" fmla="*/ 4007 w 5083"/>
                        <a:gd name="connsiteY50" fmla="*/ 4545 h 5648"/>
                        <a:gd name="connsiteX51" fmla="*/ 4366 w 5083"/>
                        <a:gd name="connsiteY51" fmla="*/ 4067 h 5648"/>
                        <a:gd name="connsiteX52" fmla="*/ 4665 w 5083"/>
                        <a:gd name="connsiteY52" fmla="*/ 3529 h 5648"/>
                        <a:gd name="connsiteX53" fmla="*/ 4904 w 5083"/>
                        <a:gd name="connsiteY53" fmla="*/ 2990 h 5648"/>
                        <a:gd name="connsiteX54" fmla="*/ 5024 w 5083"/>
                        <a:gd name="connsiteY54" fmla="*/ 2452 h 5648"/>
                        <a:gd name="connsiteX55" fmla="*/ 5083 w 5083"/>
                        <a:gd name="connsiteY55" fmla="*/ 1914 h 5648"/>
                        <a:gd name="connsiteX56" fmla="*/ 5024 w 5083"/>
                        <a:gd name="connsiteY56" fmla="*/ 1435 h 5648"/>
                        <a:gd name="connsiteX57" fmla="*/ 4964 w 5083"/>
                        <a:gd name="connsiteY57" fmla="*/ 1136 h 5648"/>
                        <a:gd name="connsiteX58" fmla="*/ 4844 w 5083"/>
                        <a:gd name="connsiteY58" fmla="*/ 837 h 5648"/>
                        <a:gd name="connsiteX59" fmla="*/ 4665 w 5083"/>
                        <a:gd name="connsiteY59" fmla="*/ 598 h 5648"/>
                        <a:gd name="connsiteX60" fmla="*/ 4426 w 5083"/>
                        <a:gd name="connsiteY60" fmla="*/ 359 h 5648"/>
                        <a:gd name="connsiteX61" fmla="*/ 3947 w 5083"/>
                        <a:gd name="connsiteY61" fmla="*/ 120 h 5648"/>
                        <a:gd name="connsiteX62" fmla="*/ 3588 w 5083"/>
                        <a:gd name="connsiteY62" fmla="*/ 0 h 5648"/>
                        <a:gd name="connsiteX63" fmla="*/ 3229 w 5083"/>
                        <a:gd name="connsiteY63" fmla="*/ 0 h 5648"/>
                        <a:gd name="connsiteX64" fmla="*/ 2871 w 5083"/>
                        <a:gd name="connsiteY64" fmla="*/ 60 h 5648"/>
                        <a:gd name="connsiteX65" fmla="*/ 2512 w 5083"/>
                        <a:gd name="connsiteY65" fmla="*/ 179 h 5648"/>
                        <a:gd name="connsiteX66" fmla="*/ 2392 w 5083"/>
                        <a:gd name="connsiteY66" fmla="*/ 239 h 5648"/>
                        <a:gd name="connsiteX67" fmla="*/ 2273 w 5083"/>
                        <a:gd name="connsiteY67" fmla="*/ 299 h 5648"/>
                        <a:gd name="connsiteX68" fmla="*/ 2153 w 5083"/>
                        <a:gd name="connsiteY68" fmla="*/ 359 h 5648"/>
                        <a:gd name="connsiteX69" fmla="*/ 2033 w 5083"/>
                        <a:gd name="connsiteY69" fmla="*/ 419 h 5648"/>
                        <a:gd name="connsiteX70" fmla="*/ 1854 w 5083"/>
                        <a:gd name="connsiteY70" fmla="*/ 538 h 5648"/>
                        <a:gd name="connsiteX71" fmla="*/ 1674 w 5083"/>
                        <a:gd name="connsiteY71" fmla="*/ 658 h 5648"/>
                        <a:gd name="connsiteX72" fmla="*/ 1555 w 5083"/>
                        <a:gd name="connsiteY72" fmla="*/ 778 h 5648"/>
                        <a:gd name="connsiteX73" fmla="*/ 1435 w 5083"/>
                        <a:gd name="connsiteY73" fmla="*/ 897 h 5648"/>
                        <a:gd name="connsiteX74" fmla="*/ 1136 w 5083"/>
                        <a:gd name="connsiteY74" fmla="*/ 1196 h 5648"/>
                        <a:gd name="connsiteX75" fmla="*/ 837 w 5083"/>
                        <a:gd name="connsiteY75" fmla="*/ 1495 h 5648"/>
                        <a:gd name="connsiteX76" fmla="*/ 598 w 5083"/>
                        <a:gd name="connsiteY76" fmla="*/ 1854 h 5648"/>
                        <a:gd name="connsiteX77" fmla="*/ 419 w 5083"/>
                        <a:gd name="connsiteY77" fmla="*/ 2213 h 5648"/>
                        <a:gd name="connsiteX78" fmla="*/ 179 w 5083"/>
                        <a:gd name="connsiteY78" fmla="*/ 2691 h 5648"/>
                        <a:gd name="connsiteX79" fmla="*/ 60 w 5083"/>
                        <a:gd name="connsiteY79" fmla="*/ 3170 h 5648"/>
                        <a:gd name="connsiteX80" fmla="*/ 0 w 5083"/>
                        <a:gd name="connsiteY80" fmla="*/ 3648 h 5648"/>
                        <a:gd name="connsiteX81" fmla="*/ 0 w 5083"/>
                        <a:gd name="connsiteY81" fmla="*/ 4127 h 5648"/>
                        <a:gd name="connsiteX82" fmla="*/ 0 w 5083"/>
                        <a:gd name="connsiteY82" fmla="*/ 4187 h 5648"/>
                        <a:gd name="connsiteX83" fmla="*/ 0 w 5083"/>
                        <a:gd name="connsiteY83" fmla="*/ 4246 h 5648"/>
                        <a:gd name="connsiteX84" fmla="*/ 0 w 5083"/>
                        <a:gd name="connsiteY84" fmla="*/ 4306 h 5648"/>
                        <a:gd name="connsiteX85" fmla="*/ 0 w 5083"/>
                        <a:gd name="connsiteY85" fmla="*/ 4366 h 5648"/>
                        <a:gd name="connsiteX86" fmla="*/ 60 w 5083"/>
                        <a:gd name="connsiteY86" fmla="*/ 4605 h 5648"/>
                        <a:gd name="connsiteX87" fmla="*/ 119 w 5083"/>
                        <a:gd name="connsiteY87" fmla="*/ 4785 h 5648"/>
                        <a:gd name="connsiteX88" fmla="*/ 239 w 5083"/>
                        <a:gd name="connsiteY88" fmla="*/ 4964 h 5648"/>
                        <a:gd name="connsiteX89" fmla="*/ 359 w 5083"/>
                        <a:gd name="connsiteY89" fmla="*/ 5143 h 5648"/>
                        <a:gd name="connsiteX90" fmla="*/ 419 w 5083"/>
                        <a:gd name="connsiteY90" fmla="*/ 5203 h 5648"/>
                        <a:gd name="connsiteX91" fmla="*/ 478 w 5083"/>
                        <a:gd name="connsiteY91" fmla="*/ 5263 h 5648"/>
                        <a:gd name="connsiteX92" fmla="*/ 538 w 5083"/>
                        <a:gd name="connsiteY92" fmla="*/ 5323 h 5648"/>
                        <a:gd name="connsiteX93" fmla="*/ 718 w 5083"/>
                        <a:gd name="connsiteY93" fmla="*/ 5263 h 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083" h="5648">
                          <a:moveTo>
                            <a:pt x="3947" y="1196"/>
                          </a:moveTo>
                          <a:cubicBezTo>
                            <a:pt x="4007" y="1256"/>
                            <a:pt x="4067" y="1256"/>
                            <a:pt x="4067" y="1316"/>
                          </a:cubicBezTo>
                          <a:cubicBezTo>
                            <a:pt x="4067" y="1375"/>
                            <a:pt x="4127" y="1435"/>
                            <a:pt x="4186" y="1495"/>
                          </a:cubicBezTo>
                          <a:cubicBezTo>
                            <a:pt x="4246" y="1555"/>
                            <a:pt x="4246" y="1615"/>
                            <a:pt x="4246" y="1674"/>
                          </a:cubicBezTo>
                          <a:cubicBezTo>
                            <a:pt x="4246" y="1734"/>
                            <a:pt x="4306" y="1794"/>
                            <a:pt x="4306" y="1914"/>
                          </a:cubicBezTo>
                          <a:cubicBezTo>
                            <a:pt x="4306" y="2034"/>
                            <a:pt x="4366" y="2153"/>
                            <a:pt x="4366" y="2273"/>
                          </a:cubicBezTo>
                          <a:cubicBezTo>
                            <a:pt x="4366" y="2392"/>
                            <a:pt x="4366" y="2512"/>
                            <a:pt x="4366" y="2632"/>
                          </a:cubicBezTo>
                          <a:cubicBezTo>
                            <a:pt x="4366" y="2751"/>
                            <a:pt x="4306" y="2871"/>
                            <a:pt x="4246" y="2990"/>
                          </a:cubicBezTo>
                          <a:cubicBezTo>
                            <a:pt x="4186" y="3110"/>
                            <a:pt x="4127" y="3229"/>
                            <a:pt x="4067" y="3349"/>
                          </a:cubicBezTo>
                          <a:cubicBezTo>
                            <a:pt x="4007" y="3469"/>
                            <a:pt x="3947" y="3588"/>
                            <a:pt x="3827" y="3708"/>
                          </a:cubicBezTo>
                          <a:cubicBezTo>
                            <a:pt x="3768" y="3828"/>
                            <a:pt x="3648" y="3947"/>
                            <a:pt x="3588" y="4007"/>
                          </a:cubicBezTo>
                          <a:cubicBezTo>
                            <a:pt x="3469" y="4127"/>
                            <a:pt x="3409" y="4187"/>
                            <a:pt x="3289" y="4246"/>
                          </a:cubicBezTo>
                          <a:cubicBezTo>
                            <a:pt x="3170" y="4306"/>
                            <a:pt x="3050" y="4426"/>
                            <a:pt x="2930" y="4486"/>
                          </a:cubicBezTo>
                          <a:cubicBezTo>
                            <a:pt x="2811" y="4545"/>
                            <a:pt x="2691" y="4605"/>
                            <a:pt x="2572" y="4665"/>
                          </a:cubicBezTo>
                          <a:cubicBezTo>
                            <a:pt x="2452" y="4725"/>
                            <a:pt x="2332" y="4725"/>
                            <a:pt x="2213" y="4725"/>
                          </a:cubicBezTo>
                          <a:cubicBezTo>
                            <a:pt x="2093" y="4725"/>
                            <a:pt x="1973" y="4725"/>
                            <a:pt x="1914" y="4725"/>
                          </a:cubicBezTo>
                          <a:cubicBezTo>
                            <a:pt x="1794" y="4725"/>
                            <a:pt x="1734" y="4665"/>
                            <a:pt x="1615" y="4665"/>
                          </a:cubicBezTo>
                          <a:lnTo>
                            <a:pt x="1256" y="4486"/>
                          </a:lnTo>
                          <a:lnTo>
                            <a:pt x="897" y="3828"/>
                          </a:lnTo>
                          <a:lnTo>
                            <a:pt x="837" y="3768"/>
                          </a:lnTo>
                          <a:cubicBezTo>
                            <a:pt x="837" y="3648"/>
                            <a:pt x="778" y="3529"/>
                            <a:pt x="778" y="3409"/>
                          </a:cubicBezTo>
                          <a:cubicBezTo>
                            <a:pt x="778" y="3289"/>
                            <a:pt x="778" y="3170"/>
                            <a:pt x="778" y="3050"/>
                          </a:cubicBezTo>
                          <a:cubicBezTo>
                            <a:pt x="778" y="2930"/>
                            <a:pt x="837" y="2811"/>
                            <a:pt x="897" y="2691"/>
                          </a:cubicBezTo>
                          <a:cubicBezTo>
                            <a:pt x="957" y="2572"/>
                            <a:pt x="1017" y="2452"/>
                            <a:pt x="1076" y="2333"/>
                          </a:cubicBezTo>
                          <a:cubicBezTo>
                            <a:pt x="1136" y="2213"/>
                            <a:pt x="1196" y="2093"/>
                            <a:pt x="1256" y="2034"/>
                          </a:cubicBezTo>
                          <a:cubicBezTo>
                            <a:pt x="1316" y="1914"/>
                            <a:pt x="1375" y="1854"/>
                            <a:pt x="1495" y="1734"/>
                          </a:cubicBezTo>
                          <a:cubicBezTo>
                            <a:pt x="1555" y="1674"/>
                            <a:pt x="1674" y="1555"/>
                            <a:pt x="1734" y="1495"/>
                          </a:cubicBezTo>
                          <a:cubicBezTo>
                            <a:pt x="1794" y="1435"/>
                            <a:pt x="1914" y="1375"/>
                            <a:pt x="1973" y="1316"/>
                          </a:cubicBezTo>
                          <a:cubicBezTo>
                            <a:pt x="1973" y="1316"/>
                            <a:pt x="1973" y="1316"/>
                            <a:pt x="2033" y="1316"/>
                          </a:cubicBezTo>
                          <a:cubicBezTo>
                            <a:pt x="2033" y="1316"/>
                            <a:pt x="2033" y="1316"/>
                            <a:pt x="2093" y="1316"/>
                          </a:cubicBezTo>
                          <a:cubicBezTo>
                            <a:pt x="2153" y="1316"/>
                            <a:pt x="2093" y="1316"/>
                            <a:pt x="2153" y="1316"/>
                          </a:cubicBezTo>
                          <a:cubicBezTo>
                            <a:pt x="2153" y="1316"/>
                            <a:pt x="2153" y="1316"/>
                            <a:pt x="2213" y="1316"/>
                          </a:cubicBezTo>
                          <a:cubicBezTo>
                            <a:pt x="2332" y="1256"/>
                            <a:pt x="2452" y="1196"/>
                            <a:pt x="2572" y="1136"/>
                          </a:cubicBezTo>
                          <a:cubicBezTo>
                            <a:pt x="2691" y="1076"/>
                            <a:pt x="2811" y="1076"/>
                            <a:pt x="2930" y="1076"/>
                          </a:cubicBezTo>
                          <a:cubicBezTo>
                            <a:pt x="3050" y="1076"/>
                            <a:pt x="3170" y="1076"/>
                            <a:pt x="3229" y="1076"/>
                          </a:cubicBezTo>
                          <a:cubicBezTo>
                            <a:pt x="3289" y="1076"/>
                            <a:pt x="3409" y="1076"/>
                            <a:pt x="3528" y="1136"/>
                          </a:cubicBezTo>
                          <a:cubicBezTo>
                            <a:pt x="3588" y="1136"/>
                            <a:pt x="3588" y="1136"/>
                            <a:pt x="3648" y="1196"/>
                          </a:cubicBezTo>
                          <a:cubicBezTo>
                            <a:pt x="3708" y="1196"/>
                            <a:pt x="3708" y="1196"/>
                            <a:pt x="3768" y="1256"/>
                          </a:cubicBezTo>
                          <a:cubicBezTo>
                            <a:pt x="3768" y="1256"/>
                            <a:pt x="3827" y="1316"/>
                            <a:pt x="3827" y="1316"/>
                          </a:cubicBezTo>
                          <a:cubicBezTo>
                            <a:pt x="3887" y="1196"/>
                            <a:pt x="3947" y="1196"/>
                            <a:pt x="3947" y="1196"/>
                          </a:cubicBezTo>
                          <a:moveTo>
                            <a:pt x="718" y="5263"/>
                          </a:moveTo>
                          <a:cubicBezTo>
                            <a:pt x="778" y="5323"/>
                            <a:pt x="778" y="5323"/>
                            <a:pt x="837" y="5323"/>
                          </a:cubicBezTo>
                          <a:cubicBezTo>
                            <a:pt x="897" y="5323"/>
                            <a:pt x="897" y="5383"/>
                            <a:pt x="957" y="5383"/>
                          </a:cubicBezTo>
                          <a:cubicBezTo>
                            <a:pt x="1017" y="5383"/>
                            <a:pt x="1017" y="5442"/>
                            <a:pt x="1076" y="5442"/>
                          </a:cubicBezTo>
                          <a:cubicBezTo>
                            <a:pt x="1136" y="5442"/>
                            <a:pt x="1196" y="5502"/>
                            <a:pt x="1196" y="5502"/>
                          </a:cubicBezTo>
                          <a:cubicBezTo>
                            <a:pt x="1316" y="5562"/>
                            <a:pt x="1495" y="5562"/>
                            <a:pt x="1615" y="5622"/>
                          </a:cubicBezTo>
                          <a:cubicBezTo>
                            <a:pt x="1734" y="5682"/>
                            <a:pt x="1914" y="5622"/>
                            <a:pt x="2093" y="5622"/>
                          </a:cubicBezTo>
                          <a:cubicBezTo>
                            <a:pt x="2273" y="5622"/>
                            <a:pt x="2452" y="5562"/>
                            <a:pt x="2572" y="5502"/>
                          </a:cubicBezTo>
                          <a:cubicBezTo>
                            <a:pt x="2751" y="5442"/>
                            <a:pt x="2930" y="5383"/>
                            <a:pt x="3110" y="5263"/>
                          </a:cubicBezTo>
                          <a:cubicBezTo>
                            <a:pt x="3289" y="5203"/>
                            <a:pt x="3469" y="5083"/>
                            <a:pt x="3588" y="4964"/>
                          </a:cubicBezTo>
                          <a:cubicBezTo>
                            <a:pt x="3768" y="4844"/>
                            <a:pt x="3887" y="4725"/>
                            <a:pt x="4007" y="4545"/>
                          </a:cubicBezTo>
                          <a:cubicBezTo>
                            <a:pt x="4127" y="4426"/>
                            <a:pt x="4246" y="4246"/>
                            <a:pt x="4366" y="4067"/>
                          </a:cubicBezTo>
                          <a:cubicBezTo>
                            <a:pt x="4486" y="3888"/>
                            <a:pt x="4605" y="3708"/>
                            <a:pt x="4665" y="3529"/>
                          </a:cubicBezTo>
                          <a:cubicBezTo>
                            <a:pt x="4785" y="3349"/>
                            <a:pt x="4844" y="3170"/>
                            <a:pt x="4904" y="2990"/>
                          </a:cubicBezTo>
                          <a:cubicBezTo>
                            <a:pt x="4964" y="2811"/>
                            <a:pt x="5024" y="2632"/>
                            <a:pt x="5024" y="2452"/>
                          </a:cubicBezTo>
                          <a:cubicBezTo>
                            <a:pt x="5083" y="2273"/>
                            <a:pt x="5083" y="2093"/>
                            <a:pt x="5083" y="1914"/>
                          </a:cubicBezTo>
                          <a:cubicBezTo>
                            <a:pt x="5083" y="1734"/>
                            <a:pt x="5083" y="1555"/>
                            <a:pt x="5024" y="1435"/>
                          </a:cubicBezTo>
                          <a:cubicBezTo>
                            <a:pt x="5024" y="1316"/>
                            <a:pt x="4964" y="1196"/>
                            <a:pt x="4964" y="1136"/>
                          </a:cubicBezTo>
                          <a:cubicBezTo>
                            <a:pt x="4904" y="1017"/>
                            <a:pt x="4904" y="957"/>
                            <a:pt x="4844" y="837"/>
                          </a:cubicBezTo>
                          <a:cubicBezTo>
                            <a:pt x="4785" y="718"/>
                            <a:pt x="4725" y="658"/>
                            <a:pt x="4665" y="598"/>
                          </a:cubicBezTo>
                          <a:cubicBezTo>
                            <a:pt x="4605" y="538"/>
                            <a:pt x="4545" y="479"/>
                            <a:pt x="4426" y="359"/>
                          </a:cubicBezTo>
                          <a:lnTo>
                            <a:pt x="3947" y="120"/>
                          </a:lnTo>
                          <a:cubicBezTo>
                            <a:pt x="3827" y="60"/>
                            <a:pt x="3708" y="60"/>
                            <a:pt x="3588" y="0"/>
                          </a:cubicBezTo>
                          <a:cubicBezTo>
                            <a:pt x="3469" y="0"/>
                            <a:pt x="3349" y="0"/>
                            <a:pt x="3229" y="0"/>
                          </a:cubicBezTo>
                          <a:cubicBezTo>
                            <a:pt x="3110" y="0"/>
                            <a:pt x="2990" y="0"/>
                            <a:pt x="2871" y="60"/>
                          </a:cubicBezTo>
                          <a:cubicBezTo>
                            <a:pt x="2751" y="60"/>
                            <a:pt x="2632" y="120"/>
                            <a:pt x="2512" y="179"/>
                          </a:cubicBezTo>
                          <a:cubicBezTo>
                            <a:pt x="2452" y="179"/>
                            <a:pt x="2452" y="239"/>
                            <a:pt x="2392" y="239"/>
                          </a:cubicBezTo>
                          <a:cubicBezTo>
                            <a:pt x="2332" y="239"/>
                            <a:pt x="2332" y="299"/>
                            <a:pt x="2273" y="299"/>
                          </a:cubicBezTo>
                          <a:cubicBezTo>
                            <a:pt x="2213" y="299"/>
                            <a:pt x="2213" y="359"/>
                            <a:pt x="2153" y="359"/>
                          </a:cubicBezTo>
                          <a:cubicBezTo>
                            <a:pt x="2093" y="359"/>
                            <a:pt x="2093" y="419"/>
                            <a:pt x="2033" y="419"/>
                          </a:cubicBezTo>
                          <a:cubicBezTo>
                            <a:pt x="1973" y="419"/>
                            <a:pt x="1914" y="479"/>
                            <a:pt x="1854" y="538"/>
                          </a:cubicBezTo>
                          <a:cubicBezTo>
                            <a:pt x="1794" y="598"/>
                            <a:pt x="1734" y="598"/>
                            <a:pt x="1674" y="658"/>
                          </a:cubicBezTo>
                          <a:cubicBezTo>
                            <a:pt x="1615" y="718"/>
                            <a:pt x="1555" y="718"/>
                            <a:pt x="1555" y="778"/>
                          </a:cubicBezTo>
                          <a:cubicBezTo>
                            <a:pt x="1495" y="837"/>
                            <a:pt x="1435" y="837"/>
                            <a:pt x="1435" y="897"/>
                          </a:cubicBezTo>
                          <a:cubicBezTo>
                            <a:pt x="1316" y="957"/>
                            <a:pt x="1256" y="1076"/>
                            <a:pt x="1136" y="1196"/>
                          </a:cubicBezTo>
                          <a:cubicBezTo>
                            <a:pt x="1017" y="1316"/>
                            <a:pt x="957" y="1375"/>
                            <a:pt x="837" y="1495"/>
                          </a:cubicBezTo>
                          <a:cubicBezTo>
                            <a:pt x="778" y="1615"/>
                            <a:pt x="658" y="1734"/>
                            <a:pt x="598" y="1854"/>
                          </a:cubicBezTo>
                          <a:cubicBezTo>
                            <a:pt x="538" y="1974"/>
                            <a:pt x="478" y="2093"/>
                            <a:pt x="419" y="2213"/>
                          </a:cubicBezTo>
                          <a:cubicBezTo>
                            <a:pt x="299" y="2392"/>
                            <a:pt x="239" y="2572"/>
                            <a:pt x="179" y="2691"/>
                          </a:cubicBezTo>
                          <a:cubicBezTo>
                            <a:pt x="119" y="2871"/>
                            <a:pt x="60" y="3050"/>
                            <a:pt x="60" y="3170"/>
                          </a:cubicBezTo>
                          <a:cubicBezTo>
                            <a:pt x="0" y="3349"/>
                            <a:pt x="0" y="3469"/>
                            <a:pt x="0" y="3648"/>
                          </a:cubicBezTo>
                          <a:cubicBezTo>
                            <a:pt x="0" y="3828"/>
                            <a:pt x="0" y="3947"/>
                            <a:pt x="0" y="4127"/>
                          </a:cubicBezTo>
                          <a:cubicBezTo>
                            <a:pt x="0" y="4127"/>
                            <a:pt x="0" y="4187"/>
                            <a:pt x="0" y="4187"/>
                          </a:cubicBezTo>
                          <a:cubicBezTo>
                            <a:pt x="0" y="4187"/>
                            <a:pt x="0" y="4246"/>
                            <a:pt x="0" y="4246"/>
                          </a:cubicBezTo>
                          <a:cubicBezTo>
                            <a:pt x="0" y="4246"/>
                            <a:pt x="0" y="4306"/>
                            <a:pt x="0" y="4306"/>
                          </a:cubicBezTo>
                          <a:cubicBezTo>
                            <a:pt x="0" y="4306"/>
                            <a:pt x="0" y="4366"/>
                            <a:pt x="0" y="4366"/>
                          </a:cubicBezTo>
                          <a:cubicBezTo>
                            <a:pt x="0" y="4426"/>
                            <a:pt x="60" y="4486"/>
                            <a:pt x="60" y="4605"/>
                          </a:cubicBezTo>
                          <a:cubicBezTo>
                            <a:pt x="60" y="4725"/>
                            <a:pt x="119" y="4725"/>
                            <a:pt x="119" y="4785"/>
                          </a:cubicBezTo>
                          <a:cubicBezTo>
                            <a:pt x="119" y="4844"/>
                            <a:pt x="179" y="4904"/>
                            <a:pt x="239" y="4964"/>
                          </a:cubicBezTo>
                          <a:cubicBezTo>
                            <a:pt x="299" y="5024"/>
                            <a:pt x="299" y="5083"/>
                            <a:pt x="359" y="5143"/>
                          </a:cubicBezTo>
                          <a:cubicBezTo>
                            <a:pt x="359" y="5143"/>
                            <a:pt x="419" y="5203"/>
                            <a:pt x="419" y="5203"/>
                          </a:cubicBezTo>
                          <a:cubicBezTo>
                            <a:pt x="419" y="5203"/>
                            <a:pt x="478" y="5263"/>
                            <a:pt x="478" y="5263"/>
                          </a:cubicBezTo>
                          <a:cubicBezTo>
                            <a:pt x="478" y="5263"/>
                            <a:pt x="538" y="5323"/>
                            <a:pt x="538" y="5323"/>
                          </a:cubicBezTo>
                          <a:cubicBezTo>
                            <a:pt x="538" y="5323"/>
                            <a:pt x="718" y="5263"/>
                            <a:pt x="718" y="5263"/>
                          </a:cubicBezTo>
                        </a:path>
                      </a:pathLst>
                    </a:custGeom>
                    <a:noFill/>
                    <a:ln w="6350" cap="flat">
                      <a:solidFill>
                        <a:schemeClr val="bg1">
                          <a:alpha val="80000"/>
                        </a:schemeClr>
                      </a:solidFill>
                      <a:prstDash val="solid"/>
                      <a:miter/>
                    </a:ln>
                  </p:spPr>
                  <p:txBody>
                    <a:bodyPr rtlCol="0" anchor="ctr"/>
                    <a:lstStyle/>
                    <a:p>
                      <a:endParaRPr lang="en-GB"/>
                    </a:p>
                  </p:txBody>
                </p:sp>
                <p:sp>
                  <p:nvSpPr>
                    <p:cNvPr id="7402" name="Vrije vorm: vorm 7401">
                      <a:extLst>
                        <a:ext uri="{FF2B5EF4-FFF2-40B4-BE49-F238E27FC236}">
                          <a16:creationId xmlns:a16="http://schemas.microsoft.com/office/drawing/2014/main" id="{E4D43592-2077-4DB5-BD9E-656666A016CC}"/>
                        </a:ext>
                      </a:extLst>
                    </p:cNvPr>
                    <p:cNvSpPr/>
                    <p:nvPr/>
                  </p:nvSpPr>
                  <p:spPr>
                    <a:xfrm>
                      <a:off x="5350732" y="5306396"/>
                      <a:ext cx="5168" cy="5687"/>
                    </a:xfrm>
                    <a:custGeom>
                      <a:avLst/>
                      <a:gdLst>
                        <a:gd name="connsiteX0" fmla="*/ 4067 w 5168"/>
                        <a:gd name="connsiteY0" fmla="*/ 1295 h 5687"/>
                        <a:gd name="connsiteX1" fmla="*/ 4366 w 5168"/>
                        <a:gd name="connsiteY1" fmla="*/ 1714 h 5687"/>
                        <a:gd name="connsiteX2" fmla="*/ 4486 w 5168"/>
                        <a:gd name="connsiteY2" fmla="*/ 2252 h 5687"/>
                        <a:gd name="connsiteX3" fmla="*/ 4426 w 5168"/>
                        <a:gd name="connsiteY3" fmla="*/ 2850 h 5687"/>
                        <a:gd name="connsiteX4" fmla="*/ 4186 w 5168"/>
                        <a:gd name="connsiteY4" fmla="*/ 3508 h 5687"/>
                        <a:gd name="connsiteX5" fmla="*/ 4007 w 5168"/>
                        <a:gd name="connsiteY5" fmla="*/ 3867 h 5687"/>
                        <a:gd name="connsiteX6" fmla="*/ 3768 w 5168"/>
                        <a:gd name="connsiteY6" fmla="*/ 4166 h 5687"/>
                        <a:gd name="connsiteX7" fmla="*/ 3469 w 5168"/>
                        <a:gd name="connsiteY7" fmla="*/ 4405 h 5687"/>
                        <a:gd name="connsiteX8" fmla="*/ 3110 w 5168"/>
                        <a:gd name="connsiteY8" fmla="*/ 4645 h 5687"/>
                        <a:gd name="connsiteX9" fmla="*/ 2751 w 5168"/>
                        <a:gd name="connsiteY9" fmla="*/ 4824 h 5687"/>
                        <a:gd name="connsiteX10" fmla="*/ 2392 w 5168"/>
                        <a:gd name="connsiteY10" fmla="*/ 4884 h 5687"/>
                        <a:gd name="connsiteX11" fmla="*/ 2093 w 5168"/>
                        <a:gd name="connsiteY11" fmla="*/ 4884 h 5687"/>
                        <a:gd name="connsiteX12" fmla="*/ 1794 w 5168"/>
                        <a:gd name="connsiteY12" fmla="*/ 4824 h 5687"/>
                        <a:gd name="connsiteX13" fmla="*/ 1435 w 5168"/>
                        <a:gd name="connsiteY13" fmla="*/ 4645 h 5687"/>
                        <a:gd name="connsiteX14" fmla="*/ 1017 w 5168"/>
                        <a:gd name="connsiteY14" fmla="*/ 3987 h 5687"/>
                        <a:gd name="connsiteX15" fmla="*/ 957 w 5168"/>
                        <a:gd name="connsiteY15" fmla="*/ 3628 h 5687"/>
                        <a:gd name="connsiteX16" fmla="*/ 1017 w 5168"/>
                        <a:gd name="connsiteY16" fmla="*/ 3269 h 5687"/>
                        <a:gd name="connsiteX17" fmla="*/ 1136 w 5168"/>
                        <a:gd name="connsiteY17" fmla="*/ 2910 h 5687"/>
                        <a:gd name="connsiteX18" fmla="*/ 1316 w 5168"/>
                        <a:gd name="connsiteY18" fmla="*/ 2551 h 5687"/>
                        <a:gd name="connsiteX19" fmla="*/ 1794 w 5168"/>
                        <a:gd name="connsiteY19" fmla="*/ 1893 h 5687"/>
                        <a:gd name="connsiteX20" fmla="*/ 2392 w 5168"/>
                        <a:gd name="connsiteY20" fmla="*/ 1415 h 5687"/>
                        <a:gd name="connsiteX21" fmla="*/ 3050 w 5168"/>
                        <a:gd name="connsiteY21" fmla="*/ 1176 h 5687"/>
                        <a:gd name="connsiteX22" fmla="*/ 3708 w 5168"/>
                        <a:gd name="connsiteY22" fmla="*/ 1236 h 5687"/>
                        <a:gd name="connsiteX23" fmla="*/ 3827 w 5168"/>
                        <a:gd name="connsiteY23" fmla="*/ 1295 h 5687"/>
                        <a:gd name="connsiteX24" fmla="*/ 3887 w 5168"/>
                        <a:gd name="connsiteY24" fmla="*/ 1355 h 5687"/>
                        <a:gd name="connsiteX25" fmla="*/ 3947 w 5168"/>
                        <a:gd name="connsiteY25" fmla="*/ 1415 h 5687"/>
                        <a:gd name="connsiteX26" fmla="*/ 4067 w 5168"/>
                        <a:gd name="connsiteY26" fmla="*/ 1295 h 5687"/>
                        <a:gd name="connsiteX27" fmla="*/ 837 w 5168"/>
                        <a:gd name="connsiteY27" fmla="*/ 5302 h 5687"/>
                        <a:gd name="connsiteX28" fmla="*/ 957 w 5168"/>
                        <a:gd name="connsiteY28" fmla="*/ 5362 h 5687"/>
                        <a:gd name="connsiteX29" fmla="*/ 1076 w 5168"/>
                        <a:gd name="connsiteY29" fmla="*/ 5422 h 5687"/>
                        <a:gd name="connsiteX30" fmla="*/ 1196 w 5168"/>
                        <a:gd name="connsiteY30" fmla="*/ 5482 h 5687"/>
                        <a:gd name="connsiteX31" fmla="*/ 1316 w 5168"/>
                        <a:gd name="connsiteY31" fmla="*/ 5542 h 5687"/>
                        <a:gd name="connsiteX32" fmla="*/ 1734 w 5168"/>
                        <a:gd name="connsiteY32" fmla="*/ 5661 h 5687"/>
                        <a:gd name="connsiteX33" fmla="*/ 2213 w 5168"/>
                        <a:gd name="connsiteY33" fmla="*/ 5661 h 5687"/>
                        <a:gd name="connsiteX34" fmla="*/ 2691 w 5168"/>
                        <a:gd name="connsiteY34" fmla="*/ 5542 h 5687"/>
                        <a:gd name="connsiteX35" fmla="*/ 3170 w 5168"/>
                        <a:gd name="connsiteY35" fmla="*/ 5302 h 5687"/>
                        <a:gd name="connsiteX36" fmla="*/ 3648 w 5168"/>
                        <a:gd name="connsiteY36" fmla="*/ 5003 h 5687"/>
                        <a:gd name="connsiteX37" fmla="*/ 4067 w 5168"/>
                        <a:gd name="connsiteY37" fmla="*/ 4585 h 5687"/>
                        <a:gd name="connsiteX38" fmla="*/ 4426 w 5168"/>
                        <a:gd name="connsiteY38" fmla="*/ 4106 h 5687"/>
                        <a:gd name="connsiteX39" fmla="*/ 4725 w 5168"/>
                        <a:gd name="connsiteY39" fmla="*/ 3628 h 5687"/>
                        <a:gd name="connsiteX40" fmla="*/ 5083 w 5168"/>
                        <a:gd name="connsiteY40" fmla="*/ 2671 h 5687"/>
                        <a:gd name="connsiteX41" fmla="*/ 5143 w 5168"/>
                        <a:gd name="connsiteY41" fmla="*/ 1774 h 5687"/>
                        <a:gd name="connsiteX42" fmla="*/ 4964 w 5168"/>
                        <a:gd name="connsiteY42" fmla="*/ 996 h 5687"/>
                        <a:gd name="connsiteX43" fmla="*/ 4486 w 5168"/>
                        <a:gd name="connsiteY43" fmla="*/ 398 h 5687"/>
                        <a:gd name="connsiteX44" fmla="*/ 4007 w 5168"/>
                        <a:gd name="connsiteY44" fmla="*/ 99 h 5687"/>
                        <a:gd name="connsiteX45" fmla="*/ 3050 w 5168"/>
                        <a:gd name="connsiteY45" fmla="*/ 39 h 5687"/>
                        <a:gd name="connsiteX46" fmla="*/ 2033 w 5168"/>
                        <a:gd name="connsiteY46" fmla="*/ 398 h 5687"/>
                        <a:gd name="connsiteX47" fmla="*/ 1136 w 5168"/>
                        <a:gd name="connsiteY47" fmla="*/ 1116 h 5687"/>
                        <a:gd name="connsiteX48" fmla="*/ 419 w 5168"/>
                        <a:gd name="connsiteY48" fmla="*/ 2133 h 5687"/>
                        <a:gd name="connsiteX49" fmla="*/ 179 w 5168"/>
                        <a:gd name="connsiteY49" fmla="*/ 2671 h 5687"/>
                        <a:gd name="connsiteX50" fmla="*/ 60 w 5168"/>
                        <a:gd name="connsiteY50" fmla="*/ 3209 h 5687"/>
                        <a:gd name="connsiteX51" fmla="*/ 0 w 5168"/>
                        <a:gd name="connsiteY51" fmla="*/ 3747 h 5687"/>
                        <a:gd name="connsiteX52" fmla="*/ 60 w 5168"/>
                        <a:gd name="connsiteY52" fmla="*/ 4226 h 5687"/>
                        <a:gd name="connsiteX53" fmla="*/ 179 w 5168"/>
                        <a:gd name="connsiteY53" fmla="*/ 4525 h 5687"/>
                        <a:gd name="connsiteX54" fmla="*/ 299 w 5168"/>
                        <a:gd name="connsiteY54" fmla="*/ 4824 h 5687"/>
                        <a:gd name="connsiteX55" fmla="*/ 478 w 5168"/>
                        <a:gd name="connsiteY55" fmla="*/ 5063 h 5687"/>
                        <a:gd name="connsiteX56" fmla="*/ 837 w 5168"/>
                        <a:gd name="connsiteY56" fmla="*/ 5302 h 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168" h="5687">
                          <a:moveTo>
                            <a:pt x="4067" y="1295"/>
                          </a:moveTo>
                          <a:cubicBezTo>
                            <a:pt x="4186" y="1415"/>
                            <a:pt x="4306" y="1535"/>
                            <a:pt x="4366" y="1714"/>
                          </a:cubicBezTo>
                          <a:cubicBezTo>
                            <a:pt x="4426" y="1893"/>
                            <a:pt x="4486" y="2073"/>
                            <a:pt x="4486" y="2252"/>
                          </a:cubicBezTo>
                          <a:cubicBezTo>
                            <a:pt x="4486" y="2432"/>
                            <a:pt x="4486" y="2671"/>
                            <a:pt x="4426" y="2850"/>
                          </a:cubicBezTo>
                          <a:cubicBezTo>
                            <a:pt x="4366" y="3030"/>
                            <a:pt x="4306" y="3269"/>
                            <a:pt x="4186" y="3508"/>
                          </a:cubicBezTo>
                          <a:cubicBezTo>
                            <a:pt x="4127" y="3628"/>
                            <a:pt x="4067" y="3747"/>
                            <a:pt x="4007" y="3867"/>
                          </a:cubicBezTo>
                          <a:cubicBezTo>
                            <a:pt x="3947" y="3987"/>
                            <a:pt x="3827" y="4106"/>
                            <a:pt x="3768" y="4166"/>
                          </a:cubicBezTo>
                          <a:cubicBezTo>
                            <a:pt x="3648" y="4286"/>
                            <a:pt x="3588" y="4346"/>
                            <a:pt x="3469" y="4405"/>
                          </a:cubicBezTo>
                          <a:cubicBezTo>
                            <a:pt x="3349" y="4465"/>
                            <a:pt x="3229" y="4585"/>
                            <a:pt x="3110" y="4645"/>
                          </a:cubicBezTo>
                          <a:cubicBezTo>
                            <a:pt x="2990" y="4704"/>
                            <a:pt x="2871" y="4764"/>
                            <a:pt x="2751" y="4824"/>
                          </a:cubicBezTo>
                          <a:cubicBezTo>
                            <a:pt x="2632" y="4884"/>
                            <a:pt x="2512" y="4884"/>
                            <a:pt x="2392" y="4884"/>
                          </a:cubicBezTo>
                          <a:cubicBezTo>
                            <a:pt x="2273" y="4884"/>
                            <a:pt x="2153" y="4884"/>
                            <a:pt x="2093" y="4884"/>
                          </a:cubicBezTo>
                          <a:cubicBezTo>
                            <a:pt x="2033" y="4884"/>
                            <a:pt x="1914" y="4824"/>
                            <a:pt x="1794" y="4824"/>
                          </a:cubicBezTo>
                          <a:lnTo>
                            <a:pt x="1435" y="4645"/>
                          </a:lnTo>
                          <a:lnTo>
                            <a:pt x="1017" y="3987"/>
                          </a:lnTo>
                          <a:cubicBezTo>
                            <a:pt x="1017" y="3867"/>
                            <a:pt x="957" y="3747"/>
                            <a:pt x="957" y="3628"/>
                          </a:cubicBezTo>
                          <a:cubicBezTo>
                            <a:pt x="957" y="3508"/>
                            <a:pt x="957" y="3389"/>
                            <a:pt x="1017" y="3269"/>
                          </a:cubicBezTo>
                          <a:cubicBezTo>
                            <a:pt x="1076" y="3149"/>
                            <a:pt x="1076" y="3030"/>
                            <a:pt x="1136" y="2910"/>
                          </a:cubicBezTo>
                          <a:cubicBezTo>
                            <a:pt x="1196" y="2791"/>
                            <a:pt x="1256" y="2671"/>
                            <a:pt x="1316" y="2551"/>
                          </a:cubicBezTo>
                          <a:cubicBezTo>
                            <a:pt x="1435" y="2312"/>
                            <a:pt x="1615" y="2073"/>
                            <a:pt x="1794" y="1893"/>
                          </a:cubicBezTo>
                          <a:cubicBezTo>
                            <a:pt x="1973" y="1714"/>
                            <a:pt x="2213" y="1535"/>
                            <a:pt x="2392" y="1415"/>
                          </a:cubicBezTo>
                          <a:cubicBezTo>
                            <a:pt x="2572" y="1295"/>
                            <a:pt x="2811" y="1236"/>
                            <a:pt x="3050" y="1176"/>
                          </a:cubicBezTo>
                          <a:cubicBezTo>
                            <a:pt x="3289" y="1116"/>
                            <a:pt x="3469" y="1176"/>
                            <a:pt x="3708" y="1236"/>
                          </a:cubicBezTo>
                          <a:cubicBezTo>
                            <a:pt x="3768" y="1236"/>
                            <a:pt x="3768" y="1236"/>
                            <a:pt x="3827" y="1295"/>
                          </a:cubicBezTo>
                          <a:cubicBezTo>
                            <a:pt x="3887" y="1355"/>
                            <a:pt x="3887" y="1295"/>
                            <a:pt x="3887" y="1355"/>
                          </a:cubicBezTo>
                          <a:cubicBezTo>
                            <a:pt x="3887" y="1355"/>
                            <a:pt x="3947" y="1415"/>
                            <a:pt x="3947" y="1415"/>
                          </a:cubicBezTo>
                          <a:cubicBezTo>
                            <a:pt x="4007" y="1236"/>
                            <a:pt x="4067" y="1236"/>
                            <a:pt x="4067" y="1295"/>
                          </a:cubicBezTo>
                          <a:moveTo>
                            <a:pt x="837" y="5302"/>
                          </a:moveTo>
                          <a:cubicBezTo>
                            <a:pt x="897" y="5362"/>
                            <a:pt x="897" y="5362"/>
                            <a:pt x="957" y="5362"/>
                          </a:cubicBezTo>
                          <a:cubicBezTo>
                            <a:pt x="1017" y="5362"/>
                            <a:pt x="1017" y="5422"/>
                            <a:pt x="1076" y="5422"/>
                          </a:cubicBezTo>
                          <a:cubicBezTo>
                            <a:pt x="1136" y="5422"/>
                            <a:pt x="1136" y="5482"/>
                            <a:pt x="1196" y="5482"/>
                          </a:cubicBezTo>
                          <a:cubicBezTo>
                            <a:pt x="1256" y="5482"/>
                            <a:pt x="1316" y="5542"/>
                            <a:pt x="1316" y="5542"/>
                          </a:cubicBezTo>
                          <a:cubicBezTo>
                            <a:pt x="1435" y="5601"/>
                            <a:pt x="1615" y="5601"/>
                            <a:pt x="1734" y="5661"/>
                          </a:cubicBezTo>
                          <a:cubicBezTo>
                            <a:pt x="1854" y="5721"/>
                            <a:pt x="2033" y="5661"/>
                            <a:pt x="2213" y="5661"/>
                          </a:cubicBezTo>
                          <a:cubicBezTo>
                            <a:pt x="2392" y="5661"/>
                            <a:pt x="2572" y="5601"/>
                            <a:pt x="2691" y="5542"/>
                          </a:cubicBezTo>
                          <a:cubicBezTo>
                            <a:pt x="2811" y="5482"/>
                            <a:pt x="3050" y="5422"/>
                            <a:pt x="3170" y="5302"/>
                          </a:cubicBezTo>
                          <a:cubicBezTo>
                            <a:pt x="3349" y="5183"/>
                            <a:pt x="3528" y="5123"/>
                            <a:pt x="3648" y="5003"/>
                          </a:cubicBezTo>
                          <a:cubicBezTo>
                            <a:pt x="3827" y="4884"/>
                            <a:pt x="3947" y="4764"/>
                            <a:pt x="4067" y="4585"/>
                          </a:cubicBezTo>
                          <a:cubicBezTo>
                            <a:pt x="4186" y="4465"/>
                            <a:pt x="4306" y="4286"/>
                            <a:pt x="4426" y="4106"/>
                          </a:cubicBezTo>
                          <a:cubicBezTo>
                            <a:pt x="4545" y="3927"/>
                            <a:pt x="4665" y="3747"/>
                            <a:pt x="4725" y="3628"/>
                          </a:cubicBezTo>
                          <a:cubicBezTo>
                            <a:pt x="4904" y="3329"/>
                            <a:pt x="5024" y="2970"/>
                            <a:pt x="5083" y="2671"/>
                          </a:cubicBezTo>
                          <a:cubicBezTo>
                            <a:pt x="5143" y="2372"/>
                            <a:pt x="5203" y="2073"/>
                            <a:pt x="5143" y="1774"/>
                          </a:cubicBezTo>
                          <a:cubicBezTo>
                            <a:pt x="5143" y="1475"/>
                            <a:pt x="5083" y="1236"/>
                            <a:pt x="4964" y="996"/>
                          </a:cubicBezTo>
                          <a:cubicBezTo>
                            <a:pt x="4844" y="757"/>
                            <a:pt x="4725" y="578"/>
                            <a:pt x="4486" y="398"/>
                          </a:cubicBezTo>
                          <a:lnTo>
                            <a:pt x="4007" y="99"/>
                          </a:lnTo>
                          <a:cubicBezTo>
                            <a:pt x="3708" y="-21"/>
                            <a:pt x="3409" y="-21"/>
                            <a:pt x="3050" y="39"/>
                          </a:cubicBezTo>
                          <a:cubicBezTo>
                            <a:pt x="2751" y="99"/>
                            <a:pt x="2392" y="219"/>
                            <a:pt x="2033" y="398"/>
                          </a:cubicBezTo>
                          <a:cubicBezTo>
                            <a:pt x="1734" y="578"/>
                            <a:pt x="1375" y="817"/>
                            <a:pt x="1136" y="1116"/>
                          </a:cubicBezTo>
                          <a:cubicBezTo>
                            <a:pt x="897" y="1415"/>
                            <a:pt x="598" y="1714"/>
                            <a:pt x="419" y="2133"/>
                          </a:cubicBezTo>
                          <a:cubicBezTo>
                            <a:pt x="299" y="2312"/>
                            <a:pt x="239" y="2492"/>
                            <a:pt x="179" y="2671"/>
                          </a:cubicBezTo>
                          <a:cubicBezTo>
                            <a:pt x="119" y="2850"/>
                            <a:pt x="60" y="3030"/>
                            <a:pt x="60" y="3209"/>
                          </a:cubicBezTo>
                          <a:cubicBezTo>
                            <a:pt x="60" y="3389"/>
                            <a:pt x="0" y="3568"/>
                            <a:pt x="0" y="3747"/>
                          </a:cubicBezTo>
                          <a:cubicBezTo>
                            <a:pt x="0" y="3927"/>
                            <a:pt x="0" y="4106"/>
                            <a:pt x="60" y="4226"/>
                          </a:cubicBezTo>
                          <a:cubicBezTo>
                            <a:pt x="60" y="4346"/>
                            <a:pt x="119" y="4405"/>
                            <a:pt x="179" y="4525"/>
                          </a:cubicBezTo>
                          <a:cubicBezTo>
                            <a:pt x="239" y="4645"/>
                            <a:pt x="239" y="4704"/>
                            <a:pt x="299" y="4824"/>
                          </a:cubicBezTo>
                          <a:cubicBezTo>
                            <a:pt x="359" y="4884"/>
                            <a:pt x="419" y="5003"/>
                            <a:pt x="478" y="5063"/>
                          </a:cubicBezTo>
                          <a:cubicBezTo>
                            <a:pt x="538" y="5123"/>
                            <a:pt x="778" y="5243"/>
                            <a:pt x="837" y="5302"/>
                          </a:cubicBezTo>
                        </a:path>
                      </a:pathLst>
                    </a:custGeom>
                    <a:noFill/>
                    <a:ln w="6350" cap="flat">
                      <a:solidFill>
                        <a:schemeClr val="bg1">
                          <a:alpha val="80000"/>
                        </a:schemeClr>
                      </a:solidFill>
                      <a:prstDash val="solid"/>
                      <a:miter/>
                    </a:ln>
                  </p:spPr>
                  <p:txBody>
                    <a:bodyPr rtlCol="0" anchor="ctr"/>
                    <a:lstStyle/>
                    <a:p>
                      <a:endParaRPr lang="en-GB"/>
                    </a:p>
                  </p:txBody>
                </p:sp>
                <p:sp>
                  <p:nvSpPr>
                    <p:cNvPr id="7403" name="Vrije vorm: vorm 7402">
                      <a:extLst>
                        <a:ext uri="{FF2B5EF4-FFF2-40B4-BE49-F238E27FC236}">
                          <a16:creationId xmlns:a16="http://schemas.microsoft.com/office/drawing/2014/main" id="{C7E1338F-F7DC-4AC5-BC3E-03EAE2E782BA}"/>
                        </a:ext>
                      </a:extLst>
                    </p:cNvPr>
                    <p:cNvSpPr/>
                    <p:nvPr/>
                  </p:nvSpPr>
                  <p:spPr>
                    <a:xfrm>
                      <a:off x="5358926" y="5305299"/>
                      <a:ext cx="5023" cy="5681"/>
                    </a:xfrm>
                    <a:custGeom>
                      <a:avLst/>
                      <a:gdLst>
                        <a:gd name="connsiteX0" fmla="*/ 3947 w 5023"/>
                        <a:gd name="connsiteY0" fmla="*/ 1256 h 5681"/>
                        <a:gd name="connsiteX1" fmla="*/ 4067 w 5023"/>
                        <a:gd name="connsiteY1" fmla="*/ 1376 h 5681"/>
                        <a:gd name="connsiteX2" fmla="*/ 4187 w 5023"/>
                        <a:gd name="connsiteY2" fmla="*/ 1555 h 5681"/>
                        <a:gd name="connsiteX3" fmla="*/ 4246 w 5023"/>
                        <a:gd name="connsiteY3" fmla="*/ 1735 h 5681"/>
                        <a:gd name="connsiteX4" fmla="*/ 4306 w 5023"/>
                        <a:gd name="connsiteY4" fmla="*/ 1974 h 5681"/>
                        <a:gd name="connsiteX5" fmla="*/ 4366 w 5023"/>
                        <a:gd name="connsiteY5" fmla="*/ 2273 h 5681"/>
                        <a:gd name="connsiteX6" fmla="*/ 4306 w 5023"/>
                        <a:gd name="connsiteY6" fmla="*/ 2632 h 5681"/>
                        <a:gd name="connsiteX7" fmla="*/ 4187 w 5023"/>
                        <a:gd name="connsiteY7" fmla="*/ 2990 h 5681"/>
                        <a:gd name="connsiteX8" fmla="*/ 4007 w 5023"/>
                        <a:gd name="connsiteY8" fmla="*/ 3349 h 5681"/>
                        <a:gd name="connsiteX9" fmla="*/ 3827 w 5023"/>
                        <a:gd name="connsiteY9" fmla="*/ 3708 h 5681"/>
                        <a:gd name="connsiteX10" fmla="*/ 3588 w 5023"/>
                        <a:gd name="connsiteY10" fmla="*/ 4007 h 5681"/>
                        <a:gd name="connsiteX11" fmla="*/ 3289 w 5023"/>
                        <a:gd name="connsiteY11" fmla="*/ 4306 h 5681"/>
                        <a:gd name="connsiteX12" fmla="*/ 2990 w 5023"/>
                        <a:gd name="connsiteY12" fmla="*/ 4545 h 5681"/>
                        <a:gd name="connsiteX13" fmla="*/ 2632 w 5023"/>
                        <a:gd name="connsiteY13" fmla="*/ 4665 h 5681"/>
                        <a:gd name="connsiteX14" fmla="*/ 2273 w 5023"/>
                        <a:gd name="connsiteY14" fmla="*/ 4725 h 5681"/>
                        <a:gd name="connsiteX15" fmla="*/ 1973 w 5023"/>
                        <a:gd name="connsiteY15" fmla="*/ 4725 h 5681"/>
                        <a:gd name="connsiteX16" fmla="*/ 1674 w 5023"/>
                        <a:gd name="connsiteY16" fmla="*/ 4665 h 5681"/>
                        <a:gd name="connsiteX17" fmla="*/ 1316 w 5023"/>
                        <a:gd name="connsiteY17" fmla="*/ 4486 h 5681"/>
                        <a:gd name="connsiteX18" fmla="*/ 897 w 5023"/>
                        <a:gd name="connsiteY18" fmla="*/ 3768 h 5681"/>
                        <a:gd name="connsiteX19" fmla="*/ 837 w 5023"/>
                        <a:gd name="connsiteY19" fmla="*/ 3409 h 5681"/>
                        <a:gd name="connsiteX20" fmla="*/ 837 w 5023"/>
                        <a:gd name="connsiteY20" fmla="*/ 3050 h 5681"/>
                        <a:gd name="connsiteX21" fmla="*/ 957 w 5023"/>
                        <a:gd name="connsiteY21" fmla="*/ 2691 h 5681"/>
                        <a:gd name="connsiteX22" fmla="*/ 1136 w 5023"/>
                        <a:gd name="connsiteY22" fmla="*/ 2333 h 5681"/>
                        <a:gd name="connsiteX23" fmla="*/ 1375 w 5023"/>
                        <a:gd name="connsiteY23" fmla="*/ 1974 h 5681"/>
                        <a:gd name="connsiteX24" fmla="*/ 1615 w 5023"/>
                        <a:gd name="connsiteY24" fmla="*/ 1675 h 5681"/>
                        <a:gd name="connsiteX25" fmla="*/ 1914 w 5023"/>
                        <a:gd name="connsiteY25" fmla="*/ 1376 h 5681"/>
                        <a:gd name="connsiteX26" fmla="*/ 2273 w 5023"/>
                        <a:gd name="connsiteY26" fmla="*/ 1136 h 5681"/>
                        <a:gd name="connsiteX27" fmla="*/ 2572 w 5023"/>
                        <a:gd name="connsiteY27" fmla="*/ 1017 h 5681"/>
                        <a:gd name="connsiteX28" fmla="*/ 2871 w 5023"/>
                        <a:gd name="connsiteY28" fmla="*/ 957 h 5681"/>
                        <a:gd name="connsiteX29" fmla="*/ 3170 w 5023"/>
                        <a:gd name="connsiteY29" fmla="*/ 957 h 5681"/>
                        <a:gd name="connsiteX30" fmla="*/ 3469 w 5023"/>
                        <a:gd name="connsiteY30" fmla="*/ 1017 h 5681"/>
                        <a:gd name="connsiteX31" fmla="*/ 3588 w 5023"/>
                        <a:gd name="connsiteY31" fmla="*/ 1076 h 5681"/>
                        <a:gd name="connsiteX32" fmla="*/ 3648 w 5023"/>
                        <a:gd name="connsiteY32" fmla="*/ 1136 h 5681"/>
                        <a:gd name="connsiteX33" fmla="*/ 3708 w 5023"/>
                        <a:gd name="connsiteY33" fmla="*/ 1196 h 5681"/>
                        <a:gd name="connsiteX34" fmla="*/ 3947 w 5023"/>
                        <a:gd name="connsiteY34" fmla="*/ 1256 h 5681"/>
                        <a:gd name="connsiteX35" fmla="*/ 658 w 5023"/>
                        <a:gd name="connsiteY35" fmla="*/ 5323 h 5681"/>
                        <a:gd name="connsiteX36" fmla="*/ 778 w 5023"/>
                        <a:gd name="connsiteY36" fmla="*/ 5383 h 5681"/>
                        <a:gd name="connsiteX37" fmla="*/ 897 w 5023"/>
                        <a:gd name="connsiteY37" fmla="*/ 5443 h 5681"/>
                        <a:gd name="connsiteX38" fmla="*/ 1017 w 5023"/>
                        <a:gd name="connsiteY38" fmla="*/ 5503 h 5681"/>
                        <a:gd name="connsiteX39" fmla="*/ 1136 w 5023"/>
                        <a:gd name="connsiteY39" fmla="*/ 5562 h 5681"/>
                        <a:gd name="connsiteX40" fmla="*/ 1615 w 5023"/>
                        <a:gd name="connsiteY40" fmla="*/ 5682 h 5681"/>
                        <a:gd name="connsiteX41" fmla="*/ 2093 w 5023"/>
                        <a:gd name="connsiteY41" fmla="*/ 5682 h 5681"/>
                        <a:gd name="connsiteX42" fmla="*/ 2572 w 5023"/>
                        <a:gd name="connsiteY42" fmla="*/ 5562 h 5681"/>
                        <a:gd name="connsiteX43" fmla="*/ 3050 w 5023"/>
                        <a:gd name="connsiteY43" fmla="*/ 5323 h 5681"/>
                        <a:gd name="connsiteX44" fmla="*/ 3528 w 5023"/>
                        <a:gd name="connsiteY44" fmla="*/ 5024 h 5681"/>
                        <a:gd name="connsiteX45" fmla="*/ 3947 w 5023"/>
                        <a:gd name="connsiteY45" fmla="*/ 4605 h 5681"/>
                        <a:gd name="connsiteX46" fmla="*/ 4306 w 5023"/>
                        <a:gd name="connsiteY46" fmla="*/ 4127 h 5681"/>
                        <a:gd name="connsiteX47" fmla="*/ 4605 w 5023"/>
                        <a:gd name="connsiteY47" fmla="*/ 3589 h 5681"/>
                        <a:gd name="connsiteX48" fmla="*/ 4844 w 5023"/>
                        <a:gd name="connsiteY48" fmla="*/ 3050 h 5681"/>
                        <a:gd name="connsiteX49" fmla="*/ 4964 w 5023"/>
                        <a:gd name="connsiteY49" fmla="*/ 2512 h 5681"/>
                        <a:gd name="connsiteX50" fmla="*/ 5024 w 5023"/>
                        <a:gd name="connsiteY50" fmla="*/ 1974 h 5681"/>
                        <a:gd name="connsiteX51" fmla="*/ 4964 w 5023"/>
                        <a:gd name="connsiteY51" fmla="*/ 1435 h 5681"/>
                        <a:gd name="connsiteX52" fmla="*/ 4844 w 5023"/>
                        <a:gd name="connsiteY52" fmla="*/ 1136 h 5681"/>
                        <a:gd name="connsiteX53" fmla="*/ 4725 w 5023"/>
                        <a:gd name="connsiteY53" fmla="*/ 837 h 5681"/>
                        <a:gd name="connsiteX54" fmla="*/ 4545 w 5023"/>
                        <a:gd name="connsiteY54" fmla="*/ 598 h 5681"/>
                        <a:gd name="connsiteX55" fmla="*/ 4366 w 5023"/>
                        <a:gd name="connsiteY55" fmla="*/ 419 h 5681"/>
                        <a:gd name="connsiteX56" fmla="*/ 3887 w 5023"/>
                        <a:gd name="connsiteY56" fmla="*/ 120 h 5681"/>
                        <a:gd name="connsiteX57" fmla="*/ 3469 w 5023"/>
                        <a:gd name="connsiteY57" fmla="*/ 0 h 5681"/>
                        <a:gd name="connsiteX58" fmla="*/ 2990 w 5023"/>
                        <a:gd name="connsiteY58" fmla="*/ 0 h 5681"/>
                        <a:gd name="connsiteX59" fmla="*/ 2512 w 5023"/>
                        <a:gd name="connsiteY59" fmla="*/ 120 h 5681"/>
                        <a:gd name="connsiteX60" fmla="*/ 2033 w 5023"/>
                        <a:gd name="connsiteY60" fmla="*/ 359 h 5681"/>
                        <a:gd name="connsiteX61" fmla="*/ 1555 w 5023"/>
                        <a:gd name="connsiteY61" fmla="*/ 658 h 5681"/>
                        <a:gd name="connsiteX62" fmla="*/ 1136 w 5023"/>
                        <a:gd name="connsiteY62" fmla="*/ 1076 h 5681"/>
                        <a:gd name="connsiteX63" fmla="*/ 778 w 5023"/>
                        <a:gd name="connsiteY63" fmla="*/ 1555 h 5681"/>
                        <a:gd name="connsiteX64" fmla="*/ 478 w 5023"/>
                        <a:gd name="connsiteY64" fmla="*/ 2093 h 5681"/>
                        <a:gd name="connsiteX65" fmla="*/ 239 w 5023"/>
                        <a:gd name="connsiteY65" fmla="*/ 2632 h 5681"/>
                        <a:gd name="connsiteX66" fmla="*/ 60 w 5023"/>
                        <a:gd name="connsiteY66" fmla="*/ 3170 h 5681"/>
                        <a:gd name="connsiteX67" fmla="*/ 0 w 5023"/>
                        <a:gd name="connsiteY67" fmla="*/ 3708 h 5681"/>
                        <a:gd name="connsiteX68" fmla="*/ 60 w 5023"/>
                        <a:gd name="connsiteY68" fmla="*/ 4187 h 5681"/>
                        <a:gd name="connsiteX69" fmla="*/ 119 w 5023"/>
                        <a:gd name="connsiteY69" fmla="*/ 4486 h 5681"/>
                        <a:gd name="connsiteX70" fmla="*/ 239 w 5023"/>
                        <a:gd name="connsiteY70" fmla="*/ 4785 h 5681"/>
                        <a:gd name="connsiteX71" fmla="*/ 419 w 5023"/>
                        <a:gd name="connsiteY71" fmla="*/ 5024 h 5681"/>
                        <a:gd name="connsiteX72" fmla="*/ 658 w 5023"/>
                        <a:gd name="connsiteY72" fmla="*/ 5323 h 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023" h="5681">
                          <a:moveTo>
                            <a:pt x="3947" y="1256"/>
                          </a:moveTo>
                          <a:cubicBezTo>
                            <a:pt x="4007" y="1316"/>
                            <a:pt x="4067" y="1316"/>
                            <a:pt x="4067" y="1376"/>
                          </a:cubicBezTo>
                          <a:cubicBezTo>
                            <a:pt x="4127" y="1435"/>
                            <a:pt x="4127" y="1495"/>
                            <a:pt x="4187" y="1555"/>
                          </a:cubicBezTo>
                          <a:cubicBezTo>
                            <a:pt x="4246" y="1615"/>
                            <a:pt x="4246" y="1675"/>
                            <a:pt x="4246" y="1735"/>
                          </a:cubicBezTo>
                          <a:cubicBezTo>
                            <a:pt x="4246" y="1794"/>
                            <a:pt x="4306" y="1854"/>
                            <a:pt x="4306" y="1974"/>
                          </a:cubicBezTo>
                          <a:cubicBezTo>
                            <a:pt x="4306" y="2093"/>
                            <a:pt x="4366" y="2213"/>
                            <a:pt x="4366" y="2273"/>
                          </a:cubicBezTo>
                          <a:cubicBezTo>
                            <a:pt x="4366" y="2392"/>
                            <a:pt x="4366" y="2512"/>
                            <a:pt x="4306" y="2632"/>
                          </a:cubicBezTo>
                          <a:cubicBezTo>
                            <a:pt x="4306" y="2751"/>
                            <a:pt x="4246" y="2871"/>
                            <a:pt x="4187" y="2990"/>
                          </a:cubicBezTo>
                          <a:cubicBezTo>
                            <a:pt x="4127" y="3110"/>
                            <a:pt x="4067" y="3230"/>
                            <a:pt x="4007" y="3349"/>
                          </a:cubicBezTo>
                          <a:cubicBezTo>
                            <a:pt x="3947" y="3469"/>
                            <a:pt x="3887" y="3589"/>
                            <a:pt x="3827" y="3708"/>
                          </a:cubicBezTo>
                          <a:cubicBezTo>
                            <a:pt x="3768" y="3828"/>
                            <a:pt x="3648" y="3947"/>
                            <a:pt x="3588" y="4007"/>
                          </a:cubicBezTo>
                          <a:cubicBezTo>
                            <a:pt x="3469" y="4127"/>
                            <a:pt x="3409" y="4187"/>
                            <a:pt x="3289" y="4306"/>
                          </a:cubicBezTo>
                          <a:cubicBezTo>
                            <a:pt x="3170" y="4366"/>
                            <a:pt x="3050" y="4486"/>
                            <a:pt x="2990" y="4545"/>
                          </a:cubicBezTo>
                          <a:cubicBezTo>
                            <a:pt x="2871" y="4605"/>
                            <a:pt x="2751" y="4665"/>
                            <a:pt x="2632" y="4665"/>
                          </a:cubicBezTo>
                          <a:cubicBezTo>
                            <a:pt x="2512" y="4725"/>
                            <a:pt x="2392" y="4725"/>
                            <a:pt x="2273" y="4725"/>
                          </a:cubicBezTo>
                          <a:cubicBezTo>
                            <a:pt x="2153" y="4725"/>
                            <a:pt x="2033" y="4725"/>
                            <a:pt x="1973" y="4725"/>
                          </a:cubicBezTo>
                          <a:cubicBezTo>
                            <a:pt x="1854" y="4725"/>
                            <a:pt x="1794" y="4665"/>
                            <a:pt x="1674" y="4665"/>
                          </a:cubicBezTo>
                          <a:lnTo>
                            <a:pt x="1316" y="4486"/>
                          </a:lnTo>
                          <a:lnTo>
                            <a:pt x="897" y="3768"/>
                          </a:lnTo>
                          <a:cubicBezTo>
                            <a:pt x="897" y="3649"/>
                            <a:pt x="837" y="3529"/>
                            <a:pt x="837" y="3409"/>
                          </a:cubicBezTo>
                          <a:cubicBezTo>
                            <a:pt x="837" y="3289"/>
                            <a:pt x="837" y="3170"/>
                            <a:pt x="837" y="3050"/>
                          </a:cubicBezTo>
                          <a:cubicBezTo>
                            <a:pt x="837" y="2930"/>
                            <a:pt x="897" y="2811"/>
                            <a:pt x="957" y="2691"/>
                          </a:cubicBezTo>
                          <a:cubicBezTo>
                            <a:pt x="1017" y="2572"/>
                            <a:pt x="1076" y="2452"/>
                            <a:pt x="1136" y="2333"/>
                          </a:cubicBezTo>
                          <a:cubicBezTo>
                            <a:pt x="1196" y="2213"/>
                            <a:pt x="1256" y="2093"/>
                            <a:pt x="1375" y="1974"/>
                          </a:cubicBezTo>
                          <a:cubicBezTo>
                            <a:pt x="1435" y="1854"/>
                            <a:pt x="1555" y="1735"/>
                            <a:pt x="1615" y="1675"/>
                          </a:cubicBezTo>
                          <a:cubicBezTo>
                            <a:pt x="1734" y="1555"/>
                            <a:pt x="1794" y="1495"/>
                            <a:pt x="1914" y="1376"/>
                          </a:cubicBezTo>
                          <a:cubicBezTo>
                            <a:pt x="2033" y="1256"/>
                            <a:pt x="2153" y="1196"/>
                            <a:pt x="2273" y="1136"/>
                          </a:cubicBezTo>
                          <a:cubicBezTo>
                            <a:pt x="2392" y="1076"/>
                            <a:pt x="2512" y="1017"/>
                            <a:pt x="2572" y="1017"/>
                          </a:cubicBezTo>
                          <a:cubicBezTo>
                            <a:pt x="2691" y="957"/>
                            <a:pt x="2811" y="957"/>
                            <a:pt x="2871" y="957"/>
                          </a:cubicBezTo>
                          <a:cubicBezTo>
                            <a:pt x="2990" y="957"/>
                            <a:pt x="3110" y="957"/>
                            <a:pt x="3170" y="957"/>
                          </a:cubicBezTo>
                          <a:cubicBezTo>
                            <a:pt x="3289" y="957"/>
                            <a:pt x="3409" y="1017"/>
                            <a:pt x="3469" y="1017"/>
                          </a:cubicBezTo>
                          <a:cubicBezTo>
                            <a:pt x="3528" y="1017"/>
                            <a:pt x="3528" y="1017"/>
                            <a:pt x="3588" y="1076"/>
                          </a:cubicBezTo>
                          <a:cubicBezTo>
                            <a:pt x="3648" y="1076"/>
                            <a:pt x="3648" y="1076"/>
                            <a:pt x="3648" y="1136"/>
                          </a:cubicBezTo>
                          <a:cubicBezTo>
                            <a:pt x="3648" y="1136"/>
                            <a:pt x="3708" y="1196"/>
                            <a:pt x="3708" y="1196"/>
                          </a:cubicBezTo>
                          <a:cubicBezTo>
                            <a:pt x="3708" y="1196"/>
                            <a:pt x="3887" y="1256"/>
                            <a:pt x="3947" y="1256"/>
                          </a:cubicBezTo>
                          <a:moveTo>
                            <a:pt x="658" y="5323"/>
                          </a:moveTo>
                          <a:cubicBezTo>
                            <a:pt x="718" y="5383"/>
                            <a:pt x="718" y="5383"/>
                            <a:pt x="778" y="5383"/>
                          </a:cubicBezTo>
                          <a:cubicBezTo>
                            <a:pt x="837" y="5383"/>
                            <a:pt x="837" y="5443"/>
                            <a:pt x="897" y="5443"/>
                          </a:cubicBezTo>
                          <a:cubicBezTo>
                            <a:pt x="957" y="5443"/>
                            <a:pt x="957" y="5503"/>
                            <a:pt x="1017" y="5503"/>
                          </a:cubicBezTo>
                          <a:cubicBezTo>
                            <a:pt x="1076" y="5503"/>
                            <a:pt x="1136" y="5562"/>
                            <a:pt x="1136" y="5562"/>
                          </a:cubicBezTo>
                          <a:cubicBezTo>
                            <a:pt x="1256" y="5622"/>
                            <a:pt x="1435" y="5682"/>
                            <a:pt x="1615" y="5682"/>
                          </a:cubicBezTo>
                          <a:cubicBezTo>
                            <a:pt x="1794" y="5682"/>
                            <a:pt x="1914" y="5682"/>
                            <a:pt x="2093" y="5682"/>
                          </a:cubicBezTo>
                          <a:cubicBezTo>
                            <a:pt x="2273" y="5682"/>
                            <a:pt x="2452" y="5622"/>
                            <a:pt x="2572" y="5562"/>
                          </a:cubicBezTo>
                          <a:cubicBezTo>
                            <a:pt x="2691" y="5503"/>
                            <a:pt x="2930" y="5443"/>
                            <a:pt x="3050" y="5323"/>
                          </a:cubicBezTo>
                          <a:cubicBezTo>
                            <a:pt x="3229" y="5203"/>
                            <a:pt x="3349" y="5144"/>
                            <a:pt x="3528" y="5024"/>
                          </a:cubicBezTo>
                          <a:cubicBezTo>
                            <a:pt x="3708" y="4904"/>
                            <a:pt x="3827" y="4785"/>
                            <a:pt x="3947" y="4605"/>
                          </a:cubicBezTo>
                          <a:cubicBezTo>
                            <a:pt x="4067" y="4426"/>
                            <a:pt x="4187" y="4306"/>
                            <a:pt x="4306" y="4127"/>
                          </a:cubicBezTo>
                          <a:cubicBezTo>
                            <a:pt x="4426" y="3947"/>
                            <a:pt x="4545" y="3768"/>
                            <a:pt x="4605" y="3589"/>
                          </a:cubicBezTo>
                          <a:cubicBezTo>
                            <a:pt x="4725" y="3409"/>
                            <a:pt x="4785" y="3230"/>
                            <a:pt x="4844" y="3050"/>
                          </a:cubicBezTo>
                          <a:cubicBezTo>
                            <a:pt x="4904" y="2871"/>
                            <a:pt x="4964" y="2691"/>
                            <a:pt x="4964" y="2512"/>
                          </a:cubicBezTo>
                          <a:cubicBezTo>
                            <a:pt x="5024" y="2333"/>
                            <a:pt x="5024" y="2153"/>
                            <a:pt x="5024" y="1974"/>
                          </a:cubicBezTo>
                          <a:cubicBezTo>
                            <a:pt x="5024" y="1794"/>
                            <a:pt x="5024" y="1615"/>
                            <a:pt x="4964" y="1435"/>
                          </a:cubicBezTo>
                          <a:cubicBezTo>
                            <a:pt x="4964" y="1316"/>
                            <a:pt x="4904" y="1256"/>
                            <a:pt x="4844" y="1136"/>
                          </a:cubicBezTo>
                          <a:cubicBezTo>
                            <a:pt x="4785" y="1017"/>
                            <a:pt x="4785" y="957"/>
                            <a:pt x="4725" y="837"/>
                          </a:cubicBezTo>
                          <a:cubicBezTo>
                            <a:pt x="4665" y="718"/>
                            <a:pt x="4605" y="658"/>
                            <a:pt x="4545" y="598"/>
                          </a:cubicBezTo>
                          <a:cubicBezTo>
                            <a:pt x="4486" y="538"/>
                            <a:pt x="4426" y="479"/>
                            <a:pt x="4366" y="419"/>
                          </a:cubicBezTo>
                          <a:lnTo>
                            <a:pt x="3887" y="120"/>
                          </a:lnTo>
                          <a:cubicBezTo>
                            <a:pt x="3768" y="60"/>
                            <a:pt x="3588" y="60"/>
                            <a:pt x="3469" y="0"/>
                          </a:cubicBezTo>
                          <a:cubicBezTo>
                            <a:pt x="3289" y="0"/>
                            <a:pt x="3170" y="0"/>
                            <a:pt x="2990" y="0"/>
                          </a:cubicBezTo>
                          <a:cubicBezTo>
                            <a:pt x="2811" y="0"/>
                            <a:pt x="2632" y="60"/>
                            <a:pt x="2512" y="120"/>
                          </a:cubicBezTo>
                          <a:cubicBezTo>
                            <a:pt x="2332" y="180"/>
                            <a:pt x="2153" y="239"/>
                            <a:pt x="2033" y="359"/>
                          </a:cubicBezTo>
                          <a:cubicBezTo>
                            <a:pt x="1854" y="419"/>
                            <a:pt x="1674" y="538"/>
                            <a:pt x="1555" y="658"/>
                          </a:cubicBezTo>
                          <a:cubicBezTo>
                            <a:pt x="1435" y="778"/>
                            <a:pt x="1256" y="897"/>
                            <a:pt x="1136" y="1076"/>
                          </a:cubicBezTo>
                          <a:cubicBezTo>
                            <a:pt x="1017" y="1256"/>
                            <a:pt x="897" y="1376"/>
                            <a:pt x="778" y="1555"/>
                          </a:cubicBezTo>
                          <a:cubicBezTo>
                            <a:pt x="658" y="1735"/>
                            <a:pt x="538" y="1914"/>
                            <a:pt x="478" y="2093"/>
                          </a:cubicBezTo>
                          <a:cubicBezTo>
                            <a:pt x="359" y="2273"/>
                            <a:pt x="299" y="2452"/>
                            <a:pt x="239" y="2632"/>
                          </a:cubicBezTo>
                          <a:cubicBezTo>
                            <a:pt x="179" y="2811"/>
                            <a:pt x="119" y="2990"/>
                            <a:pt x="60" y="3170"/>
                          </a:cubicBezTo>
                          <a:cubicBezTo>
                            <a:pt x="0" y="3349"/>
                            <a:pt x="0" y="3529"/>
                            <a:pt x="0" y="3708"/>
                          </a:cubicBezTo>
                          <a:cubicBezTo>
                            <a:pt x="0" y="3888"/>
                            <a:pt x="0" y="4067"/>
                            <a:pt x="60" y="4187"/>
                          </a:cubicBezTo>
                          <a:cubicBezTo>
                            <a:pt x="60" y="4306"/>
                            <a:pt x="119" y="4366"/>
                            <a:pt x="119" y="4486"/>
                          </a:cubicBezTo>
                          <a:cubicBezTo>
                            <a:pt x="179" y="4605"/>
                            <a:pt x="179" y="4665"/>
                            <a:pt x="239" y="4785"/>
                          </a:cubicBezTo>
                          <a:cubicBezTo>
                            <a:pt x="299" y="4844"/>
                            <a:pt x="359" y="4964"/>
                            <a:pt x="419" y="5024"/>
                          </a:cubicBezTo>
                          <a:cubicBezTo>
                            <a:pt x="538" y="5203"/>
                            <a:pt x="598" y="5263"/>
                            <a:pt x="658" y="5323"/>
                          </a:cubicBezTo>
                        </a:path>
                      </a:pathLst>
                    </a:custGeom>
                    <a:noFill/>
                    <a:ln w="6350" cap="flat">
                      <a:solidFill>
                        <a:schemeClr val="bg1">
                          <a:alpha val="80000"/>
                        </a:schemeClr>
                      </a:solidFill>
                      <a:prstDash val="solid"/>
                      <a:miter/>
                    </a:ln>
                  </p:spPr>
                  <p:txBody>
                    <a:bodyPr rtlCol="0" anchor="ctr"/>
                    <a:lstStyle/>
                    <a:p>
                      <a:endParaRPr lang="en-GB"/>
                    </a:p>
                  </p:txBody>
                </p:sp>
                <p:sp>
                  <p:nvSpPr>
                    <p:cNvPr id="7404" name="Vrije vorm: vorm 7403">
                      <a:extLst>
                        <a:ext uri="{FF2B5EF4-FFF2-40B4-BE49-F238E27FC236}">
                          <a16:creationId xmlns:a16="http://schemas.microsoft.com/office/drawing/2014/main" id="{9E246063-3C2F-4280-A475-625B1FE58B57}"/>
                        </a:ext>
                      </a:extLst>
                    </p:cNvPr>
                    <p:cNvSpPr/>
                    <p:nvPr/>
                  </p:nvSpPr>
                  <p:spPr>
                    <a:xfrm>
                      <a:off x="5352083" y="5289990"/>
                      <a:ext cx="14716" cy="16145"/>
                    </a:xfrm>
                    <a:custGeom>
                      <a:avLst/>
                      <a:gdLst>
                        <a:gd name="connsiteX0" fmla="*/ 6484 w 14716"/>
                        <a:gd name="connsiteY0" fmla="*/ 14830 h 16145"/>
                        <a:gd name="connsiteX1" fmla="*/ 5826 w 14716"/>
                        <a:gd name="connsiteY1" fmla="*/ 14890 h 16145"/>
                        <a:gd name="connsiteX2" fmla="*/ 5168 w 14716"/>
                        <a:gd name="connsiteY2" fmla="*/ 14890 h 16145"/>
                        <a:gd name="connsiteX3" fmla="*/ 4510 w 14716"/>
                        <a:gd name="connsiteY3" fmla="*/ 14830 h 16145"/>
                        <a:gd name="connsiteX4" fmla="*/ 3912 w 14716"/>
                        <a:gd name="connsiteY4" fmla="*/ 14651 h 16145"/>
                        <a:gd name="connsiteX5" fmla="*/ 3554 w 14716"/>
                        <a:gd name="connsiteY5" fmla="*/ 14531 h 16145"/>
                        <a:gd name="connsiteX6" fmla="*/ 3254 w 14716"/>
                        <a:gd name="connsiteY6" fmla="*/ 14352 h 16145"/>
                        <a:gd name="connsiteX7" fmla="*/ 2955 w 14716"/>
                        <a:gd name="connsiteY7" fmla="*/ 14172 h 16145"/>
                        <a:gd name="connsiteX8" fmla="*/ 2656 w 14716"/>
                        <a:gd name="connsiteY8" fmla="*/ 13993 h 16145"/>
                        <a:gd name="connsiteX9" fmla="*/ 2298 w 14716"/>
                        <a:gd name="connsiteY9" fmla="*/ 13634 h 16145"/>
                        <a:gd name="connsiteX10" fmla="*/ 1999 w 14716"/>
                        <a:gd name="connsiteY10" fmla="*/ 13275 h 16145"/>
                        <a:gd name="connsiteX11" fmla="*/ 1759 w 14716"/>
                        <a:gd name="connsiteY11" fmla="*/ 12857 h 16145"/>
                        <a:gd name="connsiteX12" fmla="*/ 1520 w 14716"/>
                        <a:gd name="connsiteY12" fmla="*/ 12438 h 16145"/>
                        <a:gd name="connsiteX13" fmla="*/ 1400 w 14716"/>
                        <a:gd name="connsiteY13" fmla="*/ 12199 h 16145"/>
                        <a:gd name="connsiteX14" fmla="*/ 1281 w 14716"/>
                        <a:gd name="connsiteY14" fmla="*/ 11959 h 16145"/>
                        <a:gd name="connsiteX15" fmla="*/ 1221 w 14716"/>
                        <a:gd name="connsiteY15" fmla="*/ 11720 h 16145"/>
                        <a:gd name="connsiteX16" fmla="*/ 1161 w 14716"/>
                        <a:gd name="connsiteY16" fmla="*/ 11421 h 16145"/>
                        <a:gd name="connsiteX17" fmla="*/ 1041 w 14716"/>
                        <a:gd name="connsiteY17" fmla="*/ 10285 h 16145"/>
                        <a:gd name="connsiteX18" fmla="*/ 1101 w 14716"/>
                        <a:gd name="connsiteY18" fmla="*/ 9089 h 16145"/>
                        <a:gd name="connsiteX19" fmla="*/ 1400 w 14716"/>
                        <a:gd name="connsiteY19" fmla="*/ 7833 h 16145"/>
                        <a:gd name="connsiteX20" fmla="*/ 1879 w 14716"/>
                        <a:gd name="connsiteY20" fmla="*/ 6577 h 16145"/>
                        <a:gd name="connsiteX21" fmla="*/ 1939 w 14716"/>
                        <a:gd name="connsiteY21" fmla="*/ 6457 h 16145"/>
                        <a:gd name="connsiteX22" fmla="*/ 1999 w 14716"/>
                        <a:gd name="connsiteY22" fmla="*/ 6338 h 16145"/>
                        <a:gd name="connsiteX23" fmla="*/ 2058 w 14716"/>
                        <a:gd name="connsiteY23" fmla="*/ 6218 h 16145"/>
                        <a:gd name="connsiteX24" fmla="*/ 2118 w 14716"/>
                        <a:gd name="connsiteY24" fmla="*/ 6098 h 16145"/>
                        <a:gd name="connsiteX25" fmla="*/ 2178 w 14716"/>
                        <a:gd name="connsiteY25" fmla="*/ 5979 h 16145"/>
                        <a:gd name="connsiteX26" fmla="*/ 2238 w 14716"/>
                        <a:gd name="connsiteY26" fmla="*/ 5859 h 16145"/>
                        <a:gd name="connsiteX27" fmla="*/ 2298 w 14716"/>
                        <a:gd name="connsiteY27" fmla="*/ 5740 h 16145"/>
                        <a:gd name="connsiteX28" fmla="*/ 2357 w 14716"/>
                        <a:gd name="connsiteY28" fmla="*/ 5620 h 16145"/>
                        <a:gd name="connsiteX29" fmla="*/ 4152 w 14716"/>
                        <a:gd name="connsiteY29" fmla="*/ 3347 h 16145"/>
                        <a:gd name="connsiteX30" fmla="*/ 6304 w 14716"/>
                        <a:gd name="connsiteY30" fmla="*/ 1792 h 16145"/>
                        <a:gd name="connsiteX31" fmla="*/ 8637 w 14716"/>
                        <a:gd name="connsiteY31" fmla="*/ 1074 h 16145"/>
                        <a:gd name="connsiteX32" fmla="*/ 10850 w 14716"/>
                        <a:gd name="connsiteY32" fmla="*/ 1314 h 16145"/>
                        <a:gd name="connsiteX33" fmla="*/ 11149 w 14716"/>
                        <a:gd name="connsiteY33" fmla="*/ 1433 h 16145"/>
                        <a:gd name="connsiteX34" fmla="*/ 11448 w 14716"/>
                        <a:gd name="connsiteY34" fmla="*/ 1613 h 16145"/>
                        <a:gd name="connsiteX35" fmla="*/ 11747 w 14716"/>
                        <a:gd name="connsiteY35" fmla="*/ 1792 h 16145"/>
                        <a:gd name="connsiteX36" fmla="*/ 12046 w 14716"/>
                        <a:gd name="connsiteY36" fmla="*/ 2032 h 16145"/>
                        <a:gd name="connsiteX37" fmla="*/ 13003 w 14716"/>
                        <a:gd name="connsiteY37" fmla="*/ 3168 h 16145"/>
                        <a:gd name="connsiteX38" fmla="*/ 13541 w 14716"/>
                        <a:gd name="connsiteY38" fmla="*/ 4663 h 16145"/>
                        <a:gd name="connsiteX39" fmla="*/ 13601 w 14716"/>
                        <a:gd name="connsiteY39" fmla="*/ 6338 h 16145"/>
                        <a:gd name="connsiteX40" fmla="*/ 13242 w 14716"/>
                        <a:gd name="connsiteY40" fmla="*/ 8192 h 16145"/>
                        <a:gd name="connsiteX41" fmla="*/ 13182 w 14716"/>
                        <a:gd name="connsiteY41" fmla="*/ 8431 h 16145"/>
                        <a:gd name="connsiteX42" fmla="*/ 13123 w 14716"/>
                        <a:gd name="connsiteY42" fmla="*/ 8670 h 16145"/>
                        <a:gd name="connsiteX43" fmla="*/ 13063 w 14716"/>
                        <a:gd name="connsiteY43" fmla="*/ 8909 h 16145"/>
                        <a:gd name="connsiteX44" fmla="*/ 12943 w 14716"/>
                        <a:gd name="connsiteY44" fmla="*/ 9149 h 16145"/>
                        <a:gd name="connsiteX45" fmla="*/ 12883 w 14716"/>
                        <a:gd name="connsiteY45" fmla="*/ 9328 h 16145"/>
                        <a:gd name="connsiteX46" fmla="*/ 12824 w 14716"/>
                        <a:gd name="connsiteY46" fmla="*/ 9507 h 16145"/>
                        <a:gd name="connsiteX47" fmla="*/ 12764 w 14716"/>
                        <a:gd name="connsiteY47" fmla="*/ 9687 h 16145"/>
                        <a:gd name="connsiteX48" fmla="*/ 12704 w 14716"/>
                        <a:gd name="connsiteY48" fmla="*/ 9866 h 16145"/>
                        <a:gd name="connsiteX49" fmla="*/ 11687 w 14716"/>
                        <a:gd name="connsiteY49" fmla="*/ 11481 h 16145"/>
                        <a:gd name="connsiteX50" fmla="*/ 10431 w 14716"/>
                        <a:gd name="connsiteY50" fmla="*/ 12797 h 16145"/>
                        <a:gd name="connsiteX51" fmla="*/ 8996 w 14716"/>
                        <a:gd name="connsiteY51" fmla="*/ 13813 h 16145"/>
                        <a:gd name="connsiteX52" fmla="*/ 7501 w 14716"/>
                        <a:gd name="connsiteY52" fmla="*/ 14531 h 16145"/>
                        <a:gd name="connsiteX53" fmla="*/ 7262 w 14716"/>
                        <a:gd name="connsiteY53" fmla="*/ 14591 h 16145"/>
                        <a:gd name="connsiteX54" fmla="*/ 7022 w 14716"/>
                        <a:gd name="connsiteY54" fmla="*/ 14651 h 16145"/>
                        <a:gd name="connsiteX55" fmla="*/ 6783 w 14716"/>
                        <a:gd name="connsiteY55" fmla="*/ 14711 h 16145"/>
                        <a:gd name="connsiteX56" fmla="*/ 6484 w 14716"/>
                        <a:gd name="connsiteY56" fmla="*/ 14830 h 16145"/>
                        <a:gd name="connsiteX57" fmla="*/ 2596 w 14716"/>
                        <a:gd name="connsiteY57" fmla="*/ 14112 h 16145"/>
                        <a:gd name="connsiteX58" fmla="*/ 2895 w 14716"/>
                        <a:gd name="connsiteY58" fmla="*/ 14292 h 16145"/>
                        <a:gd name="connsiteX59" fmla="*/ 3194 w 14716"/>
                        <a:gd name="connsiteY59" fmla="*/ 14472 h 16145"/>
                        <a:gd name="connsiteX60" fmla="*/ 3494 w 14716"/>
                        <a:gd name="connsiteY60" fmla="*/ 14651 h 16145"/>
                        <a:gd name="connsiteX61" fmla="*/ 3853 w 14716"/>
                        <a:gd name="connsiteY61" fmla="*/ 14771 h 16145"/>
                        <a:gd name="connsiteX62" fmla="*/ 6185 w 14716"/>
                        <a:gd name="connsiteY62" fmla="*/ 14950 h 16145"/>
                        <a:gd name="connsiteX63" fmla="*/ 8637 w 14716"/>
                        <a:gd name="connsiteY63" fmla="*/ 14112 h 16145"/>
                        <a:gd name="connsiteX64" fmla="*/ 10910 w 14716"/>
                        <a:gd name="connsiteY64" fmla="*/ 12378 h 16145"/>
                        <a:gd name="connsiteX65" fmla="*/ 12704 w 14716"/>
                        <a:gd name="connsiteY65" fmla="*/ 9926 h 16145"/>
                        <a:gd name="connsiteX66" fmla="*/ 13302 w 14716"/>
                        <a:gd name="connsiteY66" fmla="*/ 8550 h 16145"/>
                        <a:gd name="connsiteX67" fmla="*/ 13661 w 14716"/>
                        <a:gd name="connsiteY67" fmla="*/ 7175 h 16145"/>
                        <a:gd name="connsiteX68" fmla="*/ 13780 w 14716"/>
                        <a:gd name="connsiteY68" fmla="*/ 5859 h 16145"/>
                        <a:gd name="connsiteX69" fmla="*/ 13661 w 14716"/>
                        <a:gd name="connsiteY69" fmla="*/ 4603 h 16145"/>
                        <a:gd name="connsiteX70" fmla="*/ 13422 w 14716"/>
                        <a:gd name="connsiteY70" fmla="*/ 3826 h 16145"/>
                        <a:gd name="connsiteX71" fmla="*/ 13123 w 14716"/>
                        <a:gd name="connsiteY71" fmla="*/ 3108 h 16145"/>
                        <a:gd name="connsiteX72" fmla="*/ 12704 w 14716"/>
                        <a:gd name="connsiteY72" fmla="*/ 2510 h 16145"/>
                        <a:gd name="connsiteX73" fmla="*/ 12165 w 14716"/>
                        <a:gd name="connsiteY73" fmla="*/ 1972 h 16145"/>
                        <a:gd name="connsiteX74" fmla="*/ 11867 w 14716"/>
                        <a:gd name="connsiteY74" fmla="*/ 1733 h 16145"/>
                        <a:gd name="connsiteX75" fmla="*/ 11568 w 14716"/>
                        <a:gd name="connsiteY75" fmla="*/ 1553 h 16145"/>
                        <a:gd name="connsiteX76" fmla="*/ 11269 w 14716"/>
                        <a:gd name="connsiteY76" fmla="*/ 1374 h 16145"/>
                        <a:gd name="connsiteX77" fmla="*/ 10910 w 14716"/>
                        <a:gd name="connsiteY77" fmla="*/ 1254 h 16145"/>
                        <a:gd name="connsiteX78" fmla="*/ 8577 w 14716"/>
                        <a:gd name="connsiteY78" fmla="*/ 1015 h 16145"/>
                        <a:gd name="connsiteX79" fmla="*/ 6125 w 14716"/>
                        <a:gd name="connsiteY79" fmla="*/ 1852 h 16145"/>
                        <a:gd name="connsiteX80" fmla="*/ 3853 w 14716"/>
                        <a:gd name="connsiteY80" fmla="*/ 3587 h 16145"/>
                        <a:gd name="connsiteX81" fmla="*/ 2058 w 14716"/>
                        <a:gd name="connsiteY81" fmla="*/ 6039 h 16145"/>
                        <a:gd name="connsiteX82" fmla="*/ 1161 w 14716"/>
                        <a:gd name="connsiteY82" fmla="*/ 8371 h 16145"/>
                        <a:gd name="connsiteX83" fmla="*/ 982 w 14716"/>
                        <a:gd name="connsiteY83" fmla="*/ 10584 h 16145"/>
                        <a:gd name="connsiteX84" fmla="*/ 1460 w 14716"/>
                        <a:gd name="connsiteY84" fmla="*/ 12498 h 16145"/>
                        <a:gd name="connsiteX85" fmla="*/ 2596 w 14716"/>
                        <a:gd name="connsiteY85" fmla="*/ 14112 h 16145"/>
                        <a:gd name="connsiteX86" fmla="*/ 12764 w 14716"/>
                        <a:gd name="connsiteY86" fmla="*/ 1254 h 16145"/>
                        <a:gd name="connsiteX87" fmla="*/ 13362 w 14716"/>
                        <a:gd name="connsiteY87" fmla="*/ 1852 h 16145"/>
                        <a:gd name="connsiteX88" fmla="*/ 13840 w 14716"/>
                        <a:gd name="connsiteY88" fmla="*/ 2570 h 16145"/>
                        <a:gd name="connsiteX89" fmla="*/ 14199 w 14716"/>
                        <a:gd name="connsiteY89" fmla="*/ 3347 h 16145"/>
                        <a:gd name="connsiteX90" fmla="*/ 14438 w 14716"/>
                        <a:gd name="connsiteY90" fmla="*/ 4244 h 16145"/>
                        <a:gd name="connsiteX91" fmla="*/ 14558 w 14716"/>
                        <a:gd name="connsiteY91" fmla="*/ 5680 h 16145"/>
                        <a:gd name="connsiteX92" fmla="*/ 14438 w 14716"/>
                        <a:gd name="connsiteY92" fmla="*/ 7175 h 16145"/>
                        <a:gd name="connsiteX93" fmla="*/ 14020 w 14716"/>
                        <a:gd name="connsiteY93" fmla="*/ 8730 h 16145"/>
                        <a:gd name="connsiteX94" fmla="*/ 13362 w 14716"/>
                        <a:gd name="connsiteY94" fmla="*/ 10285 h 16145"/>
                        <a:gd name="connsiteX95" fmla="*/ 11328 w 14716"/>
                        <a:gd name="connsiteY95" fmla="*/ 13096 h 16145"/>
                        <a:gd name="connsiteX96" fmla="*/ 8757 w 14716"/>
                        <a:gd name="connsiteY96" fmla="*/ 15069 h 16145"/>
                        <a:gd name="connsiteX97" fmla="*/ 6006 w 14716"/>
                        <a:gd name="connsiteY97" fmla="*/ 16026 h 16145"/>
                        <a:gd name="connsiteX98" fmla="*/ 3374 w 14716"/>
                        <a:gd name="connsiteY98" fmla="*/ 15787 h 16145"/>
                        <a:gd name="connsiteX99" fmla="*/ 3015 w 14716"/>
                        <a:gd name="connsiteY99" fmla="*/ 15608 h 16145"/>
                        <a:gd name="connsiteX100" fmla="*/ 2656 w 14716"/>
                        <a:gd name="connsiteY100" fmla="*/ 15428 h 16145"/>
                        <a:gd name="connsiteX101" fmla="*/ 2298 w 14716"/>
                        <a:gd name="connsiteY101" fmla="*/ 15249 h 16145"/>
                        <a:gd name="connsiteX102" fmla="*/ 1999 w 14716"/>
                        <a:gd name="connsiteY102" fmla="*/ 15010 h 16145"/>
                        <a:gd name="connsiteX103" fmla="*/ 742 w 14716"/>
                        <a:gd name="connsiteY103" fmla="*/ 13395 h 16145"/>
                        <a:gd name="connsiteX104" fmla="*/ 204 w 14716"/>
                        <a:gd name="connsiteY104" fmla="*/ 11242 h 16145"/>
                        <a:gd name="connsiteX105" fmla="*/ 384 w 14716"/>
                        <a:gd name="connsiteY105" fmla="*/ 8730 h 16145"/>
                        <a:gd name="connsiteX106" fmla="*/ 1340 w 14716"/>
                        <a:gd name="connsiteY106" fmla="*/ 6098 h 16145"/>
                        <a:gd name="connsiteX107" fmla="*/ 3374 w 14716"/>
                        <a:gd name="connsiteY107" fmla="*/ 3287 h 16145"/>
                        <a:gd name="connsiteX108" fmla="*/ 5946 w 14716"/>
                        <a:gd name="connsiteY108" fmla="*/ 1314 h 16145"/>
                        <a:gd name="connsiteX109" fmla="*/ 8697 w 14716"/>
                        <a:gd name="connsiteY109" fmla="*/ 357 h 16145"/>
                        <a:gd name="connsiteX110" fmla="*/ 11328 w 14716"/>
                        <a:gd name="connsiteY110" fmla="*/ 596 h 16145"/>
                        <a:gd name="connsiteX111" fmla="*/ 11747 w 14716"/>
                        <a:gd name="connsiteY111" fmla="*/ 775 h 16145"/>
                        <a:gd name="connsiteX112" fmla="*/ 12106 w 14716"/>
                        <a:gd name="connsiteY112" fmla="*/ 955 h 16145"/>
                        <a:gd name="connsiteX113" fmla="*/ 12465 w 14716"/>
                        <a:gd name="connsiteY113" fmla="*/ 1134 h 16145"/>
                        <a:gd name="connsiteX114" fmla="*/ 12764 w 14716"/>
                        <a:gd name="connsiteY114" fmla="*/ 1254 h 16145"/>
                        <a:gd name="connsiteX115" fmla="*/ 1879 w 14716"/>
                        <a:gd name="connsiteY115" fmla="*/ 15010 h 16145"/>
                        <a:gd name="connsiteX116" fmla="*/ 2178 w 14716"/>
                        <a:gd name="connsiteY116" fmla="*/ 15249 h 16145"/>
                        <a:gd name="connsiteX117" fmla="*/ 2537 w 14716"/>
                        <a:gd name="connsiteY117" fmla="*/ 15488 h 16145"/>
                        <a:gd name="connsiteX118" fmla="*/ 2895 w 14716"/>
                        <a:gd name="connsiteY118" fmla="*/ 15667 h 16145"/>
                        <a:gd name="connsiteX119" fmla="*/ 3254 w 14716"/>
                        <a:gd name="connsiteY119" fmla="*/ 15847 h 16145"/>
                        <a:gd name="connsiteX120" fmla="*/ 3912 w 14716"/>
                        <a:gd name="connsiteY120" fmla="*/ 16026 h 16145"/>
                        <a:gd name="connsiteX121" fmla="*/ 4570 w 14716"/>
                        <a:gd name="connsiteY121" fmla="*/ 16146 h 16145"/>
                        <a:gd name="connsiteX122" fmla="*/ 5228 w 14716"/>
                        <a:gd name="connsiteY122" fmla="*/ 16146 h 16145"/>
                        <a:gd name="connsiteX123" fmla="*/ 5886 w 14716"/>
                        <a:gd name="connsiteY123" fmla="*/ 16086 h 16145"/>
                        <a:gd name="connsiteX124" fmla="*/ 6125 w 14716"/>
                        <a:gd name="connsiteY124" fmla="*/ 16026 h 16145"/>
                        <a:gd name="connsiteX125" fmla="*/ 6364 w 14716"/>
                        <a:gd name="connsiteY125" fmla="*/ 15967 h 16145"/>
                        <a:gd name="connsiteX126" fmla="*/ 6603 w 14716"/>
                        <a:gd name="connsiteY126" fmla="*/ 15907 h 16145"/>
                        <a:gd name="connsiteX127" fmla="*/ 6843 w 14716"/>
                        <a:gd name="connsiteY127" fmla="*/ 15847 h 16145"/>
                        <a:gd name="connsiteX128" fmla="*/ 8757 w 14716"/>
                        <a:gd name="connsiteY128" fmla="*/ 15069 h 16145"/>
                        <a:gd name="connsiteX129" fmla="*/ 10551 w 14716"/>
                        <a:gd name="connsiteY129" fmla="*/ 13813 h 16145"/>
                        <a:gd name="connsiteX130" fmla="*/ 12165 w 14716"/>
                        <a:gd name="connsiteY130" fmla="*/ 12199 h 16145"/>
                        <a:gd name="connsiteX131" fmla="*/ 13481 w 14716"/>
                        <a:gd name="connsiteY131" fmla="*/ 10225 h 16145"/>
                        <a:gd name="connsiteX132" fmla="*/ 13601 w 14716"/>
                        <a:gd name="connsiteY132" fmla="*/ 10046 h 16145"/>
                        <a:gd name="connsiteX133" fmla="*/ 13721 w 14716"/>
                        <a:gd name="connsiteY133" fmla="*/ 9866 h 16145"/>
                        <a:gd name="connsiteX134" fmla="*/ 13780 w 14716"/>
                        <a:gd name="connsiteY134" fmla="*/ 9687 h 16145"/>
                        <a:gd name="connsiteX135" fmla="*/ 13840 w 14716"/>
                        <a:gd name="connsiteY135" fmla="*/ 9507 h 16145"/>
                        <a:gd name="connsiteX136" fmla="*/ 13960 w 14716"/>
                        <a:gd name="connsiteY136" fmla="*/ 9268 h 16145"/>
                        <a:gd name="connsiteX137" fmla="*/ 14079 w 14716"/>
                        <a:gd name="connsiteY137" fmla="*/ 9029 h 16145"/>
                        <a:gd name="connsiteX138" fmla="*/ 14139 w 14716"/>
                        <a:gd name="connsiteY138" fmla="*/ 8790 h 16145"/>
                        <a:gd name="connsiteX139" fmla="*/ 14199 w 14716"/>
                        <a:gd name="connsiteY139" fmla="*/ 8550 h 16145"/>
                        <a:gd name="connsiteX140" fmla="*/ 14678 w 14716"/>
                        <a:gd name="connsiteY140" fmla="*/ 6338 h 16145"/>
                        <a:gd name="connsiteX141" fmla="*/ 14618 w 14716"/>
                        <a:gd name="connsiteY141" fmla="*/ 4304 h 16145"/>
                        <a:gd name="connsiteX142" fmla="*/ 14020 w 14716"/>
                        <a:gd name="connsiteY142" fmla="*/ 2510 h 16145"/>
                        <a:gd name="connsiteX143" fmla="*/ 12883 w 14716"/>
                        <a:gd name="connsiteY143" fmla="*/ 1134 h 16145"/>
                        <a:gd name="connsiteX144" fmla="*/ 12584 w 14716"/>
                        <a:gd name="connsiteY144" fmla="*/ 895 h 16145"/>
                        <a:gd name="connsiteX145" fmla="*/ 12225 w 14716"/>
                        <a:gd name="connsiteY145" fmla="*/ 656 h 16145"/>
                        <a:gd name="connsiteX146" fmla="*/ 11867 w 14716"/>
                        <a:gd name="connsiteY146" fmla="*/ 477 h 16145"/>
                        <a:gd name="connsiteX147" fmla="*/ 11508 w 14716"/>
                        <a:gd name="connsiteY147" fmla="*/ 297 h 16145"/>
                        <a:gd name="connsiteX148" fmla="*/ 8876 w 14716"/>
                        <a:gd name="connsiteY148" fmla="*/ 58 h 16145"/>
                        <a:gd name="connsiteX149" fmla="*/ 6125 w 14716"/>
                        <a:gd name="connsiteY149" fmla="*/ 955 h 16145"/>
                        <a:gd name="connsiteX150" fmla="*/ 3554 w 14716"/>
                        <a:gd name="connsiteY150" fmla="*/ 2809 h 16145"/>
                        <a:gd name="connsiteX151" fmla="*/ 1460 w 14716"/>
                        <a:gd name="connsiteY151" fmla="*/ 5500 h 16145"/>
                        <a:gd name="connsiteX152" fmla="*/ 1400 w 14716"/>
                        <a:gd name="connsiteY152" fmla="*/ 5620 h 16145"/>
                        <a:gd name="connsiteX153" fmla="*/ 1340 w 14716"/>
                        <a:gd name="connsiteY153" fmla="*/ 5740 h 16145"/>
                        <a:gd name="connsiteX154" fmla="*/ 1281 w 14716"/>
                        <a:gd name="connsiteY154" fmla="*/ 5859 h 16145"/>
                        <a:gd name="connsiteX155" fmla="*/ 1221 w 14716"/>
                        <a:gd name="connsiteY155" fmla="*/ 5979 h 16145"/>
                        <a:gd name="connsiteX156" fmla="*/ 1161 w 14716"/>
                        <a:gd name="connsiteY156" fmla="*/ 6098 h 16145"/>
                        <a:gd name="connsiteX157" fmla="*/ 1101 w 14716"/>
                        <a:gd name="connsiteY157" fmla="*/ 6218 h 16145"/>
                        <a:gd name="connsiteX158" fmla="*/ 1041 w 14716"/>
                        <a:gd name="connsiteY158" fmla="*/ 6338 h 16145"/>
                        <a:gd name="connsiteX159" fmla="*/ 982 w 14716"/>
                        <a:gd name="connsiteY159" fmla="*/ 6457 h 16145"/>
                        <a:gd name="connsiteX160" fmla="*/ 324 w 14716"/>
                        <a:gd name="connsiteY160" fmla="*/ 8192 h 16145"/>
                        <a:gd name="connsiteX161" fmla="*/ 25 w 14716"/>
                        <a:gd name="connsiteY161" fmla="*/ 9926 h 16145"/>
                        <a:gd name="connsiteX162" fmla="*/ 85 w 14716"/>
                        <a:gd name="connsiteY162" fmla="*/ 11541 h 16145"/>
                        <a:gd name="connsiteX163" fmla="*/ 443 w 14716"/>
                        <a:gd name="connsiteY163" fmla="*/ 12976 h 16145"/>
                        <a:gd name="connsiteX164" fmla="*/ 563 w 14716"/>
                        <a:gd name="connsiteY164" fmla="*/ 13215 h 16145"/>
                        <a:gd name="connsiteX165" fmla="*/ 683 w 14716"/>
                        <a:gd name="connsiteY165" fmla="*/ 13455 h 16145"/>
                        <a:gd name="connsiteX166" fmla="*/ 802 w 14716"/>
                        <a:gd name="connsiteY166" fmla="*/ 13634 h 16145"/>
                        <a:gd name="connsiteX167" fmla="*/ 922 w 14716"/>
                        <a:gd name="connsiteY167" fmla="*/ 13813 h 16145"/>
                        <a:gd name="connsiteX168" fmla="*/ 1161 w 14716"/>
                        <a:gd name="connsiteY168" fmla="*/ 14112 h 16145"/>
                        <a:gd name="connsiteX169" fmla="*/ 1400 w 14716"/>
                        <a:gd name="connsiteY169" fmla="*/ 14412 h 16145"/>
                        <a:gd name="connsiteX170" fmla="*/ 1640 w 14716"/>
                        <a:gd name="connsiteY170" fmla="*/ 14711 h 16145"/>
                        <a:gd name="connsiteX171" fmla="*/ 1879 w 14716"/>
                        <a:gd name="connsiteY171" fmla="*/ 15010 h 1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14716" h="16145">
                          <a:moveTo>
                            <a:pt x="6484" y="14830"/>
                          </a:moveTo>
                          <a:cubicBezTo>
                            <a:pt x="6245" y="14890"/>
                            <a:pt x="6065" y="14890"/>
                            <a:pt x="5826" y="14890"/>
                          </a:cubicBezTo>
                          <a:cubicBezTo>
                            <a:pt x="5587" y="14890"/>
                            <a:pt x="5408" y="14890"/>
                            <a:pt x="5168" y="14890"/>
                          </a:cubicBezTo>
                          <a:cubicBezTo>
                            <a:pt x="4929" y="14890"/>
                            <a:pt x="4749" y="14830"/>
                            <a:pt x="4510" y="14830"/>
                          </a:cubicBezTo>
                          <a:cubicBezTo>
                            <a:pt x="4331" y="14771"/>
                            <a:pt x="4092" y="14711"/>
                            <a:pt x="3912" y="14651"/>
                          </a:cubicBezTo>
                          <a:cubicBezTo>
                            <a:pt x="3793" y="14591"/>
                            <a:pt x="3673" y="14591"/>
                            <a:pt x="3554" y="14531"/>
                          </a:cubicBezTo>
                          <a:cubicBezTo>
                            <a:pt x="3434" y="14472"/>
                            <a:pt x="3314" y="14412"/>
                            <a:pt x="3254" y="14352"/>
                          </a:cubicBezTo>
                          <a:cubicBezTo>
                            <a:pt x="3135" y="14292"/>
                            <a:pt x="3075" y="14232"/>
                            <a:pt x="2955" y="14172"/>
                          </a:cubicBezTo>
                          <a:cubicBezTo>
                            <a:pt x="2836" y="14112"/>
                            <a:pt x="2776" y="14053"/>
                            <a:pt x="2656" y="13993"/>
                          </a:cubicBezTo>
                          <a:cubicBezTo>
                            <a:pt x="2537" y="13873"/>
                            <a:pt x="2417" y="13754"/>
                            <a:pt x="2298" y="13634"/>
                          </a:cubicBezTo>
                          <a:cubicBezTo>
                            <a:pt x="2178" y="13514"/>
                            <a:pt x="2058" y="13395"/>
                            <a:pt x="1999" y="13275"/>
                          </a:cubicBezTo>
                          <a:cubicBezTo>
                            <a:pt x="1939" y="13156"/>
                            <a:pt x="1819" y="13036"/>
                            <a:pt x="1759" y="12857"/>
                          </a:cubicBezTo>
                          <a:cubicBezTo>
                            <a:pt x="1699" y="12677"/>
                            <a:pt x="1580" y="12558"/>
                            <a:pt x="1520" y="12438"/>
                          </a:cubicBezTo>
                          <a:cubicBezTo>
                            <a:pt x="1460" y="12378"/>
                            <a:pt x="1460" y="12258"/>
                            <a:pt x="1400" y="12199"/>
                          </a:cubicBezTo>
                          <a:cubicBezTo>
                            <a:pt x="1340" y="12139"/>
                            <a:pt x="1340" y="12019"/>
                            <a:pt x="1281" y="11959"/>
                          </a:cubicBezTo>
                          <a:cubicBezTo>
                            <a:pt x="1281" y="11900"/>
                            <a:pt x="1221" y="11780"/>
                            <a:pt x="1221" y="11720"/>
                          </a:cubicBezTo>
                          <a:cubicBezTo>
                            <a:pt x="1221" y="11601"/>
                            <a:pt x="1161" y="11541"/>
                            <a:pt x="1161" y="11421"/>
                          </a:cubicBezTo>
                          <a:cubicBezTo>
                            <a:pt x="1101" y="11063"/>
                            <a:pt x="1041" y="10704"/>
                            <a:pt x="1041" y="10285"/>
                          </a:cubicBezTo>
                          <a:cubicBezTo>
                            <a:pt x="1041" y="9866"/>
                            <a:pt x="1041" y="9507"/>
                            <a:pt x="1101" y="9089"/>
                          </a:cubicBezTo>
                          <a:cubicBezTo>
                            <a:pt x="1161" y="8670"/>
                            <a:pt x="1281" y="8251"/>
                            <a:pt x="1400" y="7833"/>
                          </a:cubicBezTo>
                          <a:cubicBezTo>
                            <a:pt x="1520" y="7414"/>
                            <a:pt x="1699" y="6996"/>
                            <a:pt x="1879" y="6577"/>
                          </a:cubicBezTo>
                          <a:cubicBezTo>
                            <a:pt x="1879" y="6517"/>
                            <a:pt x="1939" y="6517"/>
                            <a:pt x="1939" y="6457"/>
                          </a:cubicBezTo>
                          <a:cubicBezTo>
                            <a:pt x="1939" y="6397"/>
                            <a:pt x="1999" y="6397"/>
                            <a:pt x="1999" y="6338"/>
                          </a:cubicBezTo>
                          <a:cubicBezTo>
                            <a:pt x="1999" y="6278"/>
                            <a:pt x="2058" y="6278"/>
                            <a:pt x="2058" y="6218"/>
                          </a:cubicBezTo>
                          <a:cubicBezTo>
                            <a:pt x="2058" y="6158"/>
                            <a:pt x="2118" y="6158"/>
                            <a:pt x="2118" y="6098"/>
                          </a:cubicBezTo>
                          <a:cubicBezTo>
                            <a:pt x="2118" y="6039"/>
                            <a:pt x="2178" y="6039"/>
                            <a:pt x="2178" y="5979"/>
                          </a:cubicBezTo>
                          <a:cubicBezTo>
                            <a:pt x="2178" y="5919"/>
                            <a:pt x="2238" y="5919"/>
                            <a:pt x="2238" y="5859"/>
                          </a:cubicBezTo>
                          <a:cubicBezTo>
                            <a:pt x="2238" y="5799"/>
                            <a:pt x="2298" y="5799"/>
                            <a:pt x="2298" y="5740"/>
                          </a:cubicBezTo>
                          <a:cubicBezTo>
                            <a:pt x="2298" y="5680"/>
                            <a:pt x="2357" y="5680"/>
                            <a:pt x="2357" y="5620"/>
                          </a:cubicBezTo>
                          <a:cubicBezTo>
                            <a:pt x="2836" y="4782"/>
                            <a:pt x="3434" y="4005"/>
                            <a:pt x="4152" y="3347"/>
                          </a:cubicBezTo>
                          <a:cubicBezTo>
                            <a:pt x="4869" y="2689"/>
                            <a:pt x="5587" y="2151"/>
                            <a:pt x="6304" y="1792"/>
                          </a:cubicBezTo>
                          <a:cubicBezTo>
                            <a:pt x="7082" y="1374"/>
                            <a:pt x="7860" y="1134"/>
                            <a:pt x="8637" y="1074"/>
                          </a:cubicBezTo>
                          <a:cubicBezTo>
                            <a:pt x="9415" y="955"/>
                            <a:pt x="10132" y="1074"/>
                            <a:pt x="10850" y="1314"/>
                          </a:cubicBezTo>
                          <a:cubicBezTo>
                            <a:pt x="10970" y="1374"/>
                            <a:pt x="11089" y="1433"/>
                            <a:pt x="11149" y="1433"/>
                          </a:cubicBezTo>
                          <a:cubicBezTo>
                            <a:pt x="11209" y="1433"/>
                            <a:pt x="11328" y="1553"/>
                            <a:pt x="11448" y="1613"/>
                          </a:cubicBezTo>
                          <a:cubicBezTo>
                            <a:pt x="11568" y="1673"/>
                            <a:pt x="11627" y="1733"/>
                            <a:pt x="11747" y="1792"/>
                          </a:cubicBezTo>
                          <a:cubicBezTo>
                            <a:pt x="11867" y="1852"/>
                            <a:pt x="11926" y="1912"/>
                            <a:pt x="12046" y="2032"/>
                          </a:cubicBezTo>
                          <a:cubicBezTo>
                            <a:pt x="12465" y="2331"/>
                            <a:pt x="12764" y="2749"/>
                            <a:pt x="13003" y="3168"/>
                          </a:cubicBezTo>
                          <a:cubicBezTo>
                            <a:pt x="13242" y="3587"/>
                            <a:pt x="13422" y="4125"/>
                            <a:pt x="13541" y="4663"/>
                          </a:cubicBezTo>
                          <a:cubicBezTo>
                            <a:pt x="13661" y="5201"/>
                            <a:pt x="13661" y="5799"/>
                            <a:pt x="13601" y="6338"/>
                          </a:cubicBezTo>
                          <a:cubicBezTo>
                            <a:pt x="13541" y="6936"/>
                            <a:pt x="13422" y="7534"/>
                            <a:pt x="13242" y="8192"/>
                          </a:cubicBezTo>
                          <a:cubicBezTo>
                            <a:pt x="13242" y="8251"/>
                            <a:pt x="13182" y="8371"/>
                            <a:pt x="13182" y="8431"/>
                          </a:cubicBezTo>
                          <a:cubicBezTo>
                            <a:pt x="13182" y="8491"/>
                            <a:pt x="13123" y="8610"/>
                            <a:pt x="13123" y="8670"/>
                          </a:cubicBezTo>
                          <a:cubicBezTo>
                            <a:pt x="13123" y="8730"/>
                            <a:pt x="13063" y="8850"/>
                            <a:pt x="13063" y="8909"/>
                          </a:cubicBezTo>
                          <a:cubicBezTo>
                            <a:pt x="13003" y="8969"/>
                            <a:pt x="13003" y="9089"/>
                            <a:pt x="12943" y="9149"/>
                          </a:cubicBezTo>
                          <a:cubicBezTo>
                            <a:pt x="12943" y="9209"/>
                            <a:pt x="12883" y="9268"/>
                            <a:pt x="12883" y="9328"/>
                          </a:cubicBezTo>
                          <a:cubicBezTo>
                            <a:pt x="12883" y="9388"/>
                            <a:pt x="12824" y="9448"/>
                            <a:pt x="12824" y="9507"/>
                          </a:cubicBezTo>
                          <a:cubicBezTo>
                            <a:pt x="12824" y="9567"/>
                            <a:pt x="12764" y="9627"/>
                            <a:pt x="12764" y="9687"/>
                          </a:cubicBezTo>
                          <a:cubicBezTo>
                            <a:pt x="12764" y="9747"/>
                            <a:pt x="12704" y="9806"/>
                            <a:pt x="12704" y="9866"/>
                          </a:cubicBezTo>
                          <a:cubicBezTo>
                            <a:pt x="12405" y="10464"/>
                            <a:pt x="12046" y="10943"/>
                            <a:pt x="11687" y="11481"/>
                          </a:cubicBezTo>
                          <a:cubicBezTo>
                            <a:pt x="11328" y="12019"/>
                            <a:pt x="10850" y="12438"/>
                            <a:pt x="10431" y="12797"/>
                          </a:cubicBezTo>
                          <a:cubicBezTo>
                            <a:pt x="10013" y="13215"/>
                            <a:pt x="9534" y="13514"/>
                            <a:pt x="8996" y="13813"/>
                          </a:cubicBezTo>
                          <a:cubicBezTo>
                            <a:pt x="8517" y="14112"/>
                            <a:pt x="7979" y="14352"/>
                            <a:pt x="7501" y="14531"/>
                          </a:cubicBezTo>
                          <a:cubicBezTo>
                            <a:pt x="7441" y="14531"/>
                            <a:pt x="7321" y="14591"/>
                            <a:pt x="7262" y="14591"/>
                          </a:cubicBezTo>
                          <a:cubicBezTo>
                            <a:pt x="7202" y="14591"/>
                            <a:pt x="7082" y="14651"/>
                            <a:pt x="7022" y="14651"/>
                          </a:cubicBezTo>
                          <a:cubicBezTo>
                            <a:pt x="6962" y="14651"/>
                            <a:pt x="6843" y="14711"/>
                            <a:pt x="6783" y="14711"/>
                          </a:cubicBezTo>
                          <a:cubicBezTo>
                            <a:pt x="6723" y="14711"/>
                            <a:pt x="6544" y="14830"/>
                            <a:pt x="6484" y="14830"/>
                          </a:cubicBezTo>
                          <a:moveTo>
                            <a:pt x="2596" y="14112"/>
                          </a:moveTo>
                          <a:cubicBezTo>
                            <a:pt x="2656" y="14172"/>
                            <a:pt x="2776" y="14232"/>
                            <a:pt x="2895" y="14292"/>
                          </a:cubicBezTo>
                          <a:cubicBezTo>
                            <a:pt x="3015" y="14352"/>
                            <a:pt x="3075" y="14412"/>
                            <a:pt x="3194" y="14472"/>
                          </a:cubicBezTo>
                          <a:cubicBezTo>
                            <a:pt x="3314" y="14531"/>
                            <a:pt x="3434" y="14591"/>
                            <a:pt x="3494" y="14651"/>
                          </a:cubicBezTo>
                          <a:cubicBezTo>
                            <a:pt x="3613" y="14711"/>
                            <a:pt x="3733" y="14771"/>
                            <a:pt x="3853" y="14771"/>
                          </a:cubicBezTo>
                          <a:cubicBezTo>
                            <a:pt x="4570" y="15010"/>
                            <a:pt x="5408" y="15069"/>
                            <a:pt x="6185" y="14950"/>
                          </a:cubicBezTo>
                          <a:cubicBezTo>
                            <a:pt x="7022" y="14830"/>
                            <a:pt x="7800" y="14531"/>
                            <a:pt x="8637" y="14112"/>
                          </a:cubicBezTo>
                          <a:cubicBezTo>
                            <a:pt x="9415" y="13694"/>
                            <a:pt x="10192" y="13096"/>
                            <a:pt x="10910" y="12378"/>
                          </a:cubicBezTo>
                          <a:cubicBezTo>
                            <a:pt x="11627" y="11660"/>
                            <a:pt x="12225" y="10823"/>
                            <a:pt x="12704" y="9926"/>
                          </a:cubicBezTo>
                          <a:cubicBezTo>
                            <a:pt x="12943" y="9448"/>
                            <a:pt x="13123" y="9029"/>
                            <a:pt x="13302" y="8550"/>
                          </a:cubicBezTo>
                          <a:cubicBezTo>
                            <a:pt x="13481" y="8072"/>
                            <a:pt x="13601" y="7653"/>
                            <a:pt x="13661" y="7175"/>
                          </a:cubicBezTo>
                          <a:cubicBezTo>
                            <a:pt x="13721" y="6696"/>
                            <a:pt x="13780" y="6278"/>
                            <a:pt x="13780" y="5859"/>
                          </a:cubicBezTo>
                          <a:cubicBezTo>
                            <a:pt x="13780" y="5441"/>
                            <a:pt x="13721" y="5022"/>
                            <a:pt x="13661" y="4603"/>
                          </a:cubicBezTo>
                          <a:cubicBezTo>
                            <a:pt x="13601" y="4304"/>
                            <a:pt x="13541" y="4065"/>
                            <a:pt x="13422" y="3826"/>
                          </a:cubicBezTo>
                          <a:cubicBezTo>
                            <a:pt x="13302" y="3587"/>
                            <a:pt x="13242" y="3347"/>
                            <a:pt x="13123" y="3108"/>
                          </a:cubicBezTo>
                          <a:cubicBezTo>
                            <a:pt x="13003" y="2869"/>
                            <a:pt x="12883" y="2689"/>
                            <a:pt x="12704" y="2510"/>
                          </a:cubicBezTo>
                          <a:cubicBezTo>
                            <a:pt x="12525" y="2331"/>
                            <a:pt x="12405" y="2151"/>
                            <a:pt x="12165" y="1972"/>
                          </a:cubicBezTo>
                          <a:cubicBezTo>
                            <a:pt x="12046" y="1912"/>
                            <a:pt x="11986" y="1852"/>
                            <a:pt x="11867" y="1733"/>
                          </a:cubicBezTo>
                          <a:cubicBezTo>
                            <a:pt x="11747" y="1673"/>
                            <a:pt x="11687" y="1613"/>
                            <a:pt x="11568" y="1553"/>
                          </a:cubicBezTo>
                          <a:cubicBezTo>
                            <a:pt x="11448" y="1493"/>
                            <a:pt x="11328" y="1433"/>
                            <a:pt x="11269" y="1374"/>
                          </a:cubicBezTo>
                          <a:cubicBezTo>
                            <a:pt x="11209" y="1314"/>
                            <a:pt x="11029" y="1254"/>
                            <a:pt x="10910" y="1254"/>
                          </a:cubicBezTo>
                          <a:cubicBezTo>
                            <a:pt x="10192" y="1015"/>
                            <a:pt x="9355" y="955"/>
                            <a:pt x="8577" y="1015"/>
                          </a:cubicBezTo>
                          <a:cubicBezTo>
                            <a:pt x="7800" y="1074"/>
                            <a:pt x="6903" y="1433"/>
                            <a:pt x="6125" y="1852"/>
                          </a:cubicBezTo>
                          <a:cubicBezTo>
                            <a:pt x="5348" y="2271"/>
                            <a:pt x="4570" y="2869"/>
                            <a:pt x="3853" y="3587"/>
                          </a:cubicBezTo>
                          <a:cubicBezTo>
                            <a:pt x="3135" y="4304"/>
                            <a:pt x="2537" y="5141"/>
                            <a:pt x="2058" y="6039"/>
                          </a:cubicBezTo>
                          <a:cubicBezTo>
                            <a:pt x="1640" y="6816"/>
                            <a:pt x="1340" y="7594"/>
                            <a:pt x="1161" y="8371"/>
                          </a:cubicBezTo>
                          <a:cubicBezTo>
                            <a:pt x="982" y="9149"/>
                            <a:pt x="922" y="9866"/>
                            <a:pt x="982" y="10584"/>
                          </a:cubicBezTo>
                          <a:cubicBezTo>
                            <a:pt x="1041" y="11302"/>
                            <a:pt x="1221" y="11959"/>
                            <a:pt x="1460" y="12498"/>
                          </a:cubicBezTo>
                          <a:cubicBezTo>
                            <a:pt x="1699" y="13036"/>
                            <a:pt x="2118" y="13754"/>
                            <a:pt x="2596" y="14112"/>
                          </a:cubicBezTo>
                          <a:moveTo>
                            <a:pt x="12764" y="1254"/>
                          </a:moveTo>
                          <a:cubicBezTo>
                            <a:pt x="13003" y="1433"/>
                            <a:pt x="13182" y="1613"/>
                            <a:pt x="13362" y="1852"/>
                          </a:cubicBezTo>
                          <a:cubicBezTo>
                            <a:pt x="13541" y="2091"/>
                            <a:pt x="13721" y="2271"/>
                            <a:pt x="13840" y="2570"/>
                          </a:cubicBezTo>
                          <a:cubicBezTo>
                            <a:pt x="13960" y="2809"/>
                            <a:pt x="14079" y="3108"/>
                            <a:pt x="14199" y="3347"/>
                          </a:cubicBezTo>
                          <a:cubicBezTo>
                            <a:pt x="14319" y="3646"/>
                            <a:pt x="14379" y="3945"/>
                            <a:pt x="14438" y="4244"/>
                          </a:cubicBezTo>
                          <a:cubicBezTo>
                            <a:pt x="14558" y="4723"/>
                            <a:pt x="14558" y="5201"/>
                            <a:pt x="14558" y="5680"/>
                          </a:cubicBezTo>
                          <a:cubicBezTo>
                            <a:pt x="14558" y="6158"/>
                            <a:pt x="14498" y="6696"/>
                            <a:pt x="14438" y="7175"/>
                          </a:cubicBezTo>
                          <a:cubicBezTo>
                            <a:pt x="14319" y="7653"/>
                            <a:pt x="14199" y="8192"/>
                            <a:pt x="14020" y="8730"/>
                          </a:cubicBezTo>
                          <a:cubicBezTo>
                            <a:pt x="13840" y="9268"/>
                            <a:pt x="13601" y="9747"/>
                            <a:pt x="13362" y="10285"/>
                          </a:cubicBezTo>
                          <a:cubicBezTo>
                            <a:pt x="12824" y="11361"/>
                            <a:pt x="12106" y="12258"/>
                            <a:pt x="11328" y="13096"/>
                          </a:cubicBezTo>
                          <a:cubicBezTo>
                            <a:pt x="10551" y="13873"/>
                            <a:pt x="9654" y="14531"/>
                            <a:pt x="8757" y="15069"/>
                          </a:cubicBezTo>
                          <a:cubicBezTo>
                            <a:pt x="7860" y="15548"/>
                            <a:pt x="6903" y="15907"/>
                            <a:pt x="6006" y="16026"/>
                          </a:cubicBezTo>
                          <a:cubicBezTo>
                            <a:pt x="5108" y="16146"/>
                            <a:pt x="4152" y="16086"/>
                            <a:pt x="3374" y="15787"/>
                          </a:cubicBezTo>
                          <a:cubicBezTo>
                            <a:pt x="3254" y="15727"/>
                            <a:pt x="3135" y="15667"/>
                            <a:pt x="3015" y="15608"/>
                          </a:cubicBezTo>
                          <a:cubicBezTo>
                            <a:pt x="2895" y="15548"/>
                            <a:pt x="2776" y="15488"/>
                            <a:pt x="2656" y="15428"/>
                          </a:cubicBezTo>
                          <a:cubicBezTo>
                            <a:pt x="2537" y="15368"/>
                            <a:pt x="2417" y="15309"/>
                            <a:pt x="2298" y="15249"/>
                          </a:cubicBezTo>
                          <a:cubicBezTo>
                            <a:pt x="2178" y="15189"/>
                            <a:pt x="2058" y="15069"/>
                            <a:pt x="1999" y="15010"/>
                          </a:cubicBezTo>
                          <a:cubicBezTo>
                            <a:pt x="1460" y="14591"/>
                            <a:pt x="1041" y="13993"/>
                            <a:pt x="742" y="13395"/>
                          </a:cubicBezTo>
                          <a:cubicBezTo>
                            <a:pt x="443" y="12737"/>
                            <a:pt x="264" y="12019"/>
                            <a:pt x="204" y="11242"/>
                          </a:cubicBezTo>
                          <a:cubicBezTo>
                            <a:pt x="145" y="10464"/>
                            <a:pt x="204" y="9627"/>
                            <a:pt x="384" y="8730"/>
                          </a:cubicBezTo>
                          <a:cubicBezTo>
                            <a:pt x="563" y="7833"/>
                            <a:pt x="922" y="6996"/>
                            <a:pt x="1340" y="6098"/>
                          </a:cubicBezTo>
                          <a:cubicBezTo>
                            <a:pt x="1879" y="5022"/>
                            <a:pt x="2596" y="4125"/>
                            <a:pt x="3374" y="3287"/>
                          </a:cubicBezTo>
                          <a:cubicBezTo>
                            <a:pt x="4152" y="2510"/>
                            <a:pt x="5049" y="1792"/>
                            <a:pt x="5946" y="1314"/>
                          </a:cubicBezTo>
                          <a:cubicBezTo>
                            <a:pt x="6843" y="835"/>
                            <a:pt x="7800" y="477"/>
                            <a:pt x="8697" y="357"/>
                          </a:cubicBezTo>
                          <a:cubicBezTo>
                            <a:pt x="9594" y="237"/>
                            <a:pt x="10551" y="297"/>
                            <a:pt x="11328" y="596"/>
                          </a:cubicBezTo>
                          <a:cubicBezTo>
                            <a:pt x="11448" y="656"/>
                            <a:pt x="11568" y="716"/>
                            <a:pt x="11747" y="775"/>
                          </a:cubicBezTo>
                          <a:cubicBezTo>
                            <a:pt x="11867" y="835"/>
                            <a:pt x="11986" y="895"/>
                            <a:pt x="12106" y="955"/>
                          </a:cubicBezTo>
                          <a:cubicBezTo>
                            <a:pt x="12225" y="1015"/>
                            <a:pt x="12345" y="1074"/>
                            <a:pt x="12465" y="1134"/>
                          </a:cubicBezTo>
                          <a:cubicBezTo>
                            <a:pt x="12584" y="1074"/>
                            <a:pt x="12704" y="1134"/>
                            <a:pt x="12764" y="1254"/>
                          </a:cubicBezTo>
                          <a:moveTo>
                            <a:pt x="1879" y="15010"/>
                          </a:moveTo>
                          <a:cubicBezTo>
                            <a:pt x="1999" y="15069"/>
                            <a:pt x="2118" y="15189"/>
                            <a:pt x="2178" y="15249"/>
                          </a:cubicBezTo>
                          <a:cubicBezTo>
                            <a:pt x="2238" y="15309"/>
                            <a:pt x="2417" y="15428"/>
                            <a:pt x="2537" y="15488"/>
                          </a:cubicBezTo>
                          <a:cubicBezTo>
                            <a:pt x="2656" y="15548"/>
                            <a:pt x="2776" y="15608"/>
                            <a:pt x="2895" y="15667"/>
                          </a:cubicBezTo>
                          <a:cubicBezTo>
                            <a:pt x="3015" y="15727"/>
                            <a:pt x="3135" y="15787"/>
                            <a:pt x="3254" y="15847"/>
                          </a:cubicBezTo>
                          <a:cubicBezTo>
                            <a:pt x="3434" y="15907"/>
                            <a:pt x="3673" y="15967"/>
                            <a:pt x="3912" y="16026"/>
                          </a:cubicBezTo>
                          <a:cubicBezTo>
                            <a:pt x="4152" y="16086"/>
                            <a:pt x="4331" y="16086"/>
                            <a:pt x="4570" y="16146"/>
                          </a:cubicBezTo>
                          <a:cubicBezTo>
                            <a:pt x="4809" y="16146"/>
                            <a:pt x="4989" y="16146"/>
                            <a:pt x="5228" y="16146"/>
                          </a:cubicBezTo>
                          <a:cubicBezTo>
                            <a:pt x="5467" y="16146"/>
                            <a:pt x="5707" y="16146"/>
                            <a:pt x="5886" y="16086"/>
                          </a:cubicBezTo>
                          <a:cubicBezTo>
                            <a:pt x="5946" y="16086"/>
                            <a:pt x="6065" y="16086"/>
                            <a:pt x="6125" y="16026"/>
                          </a:cubicBezTo>
                          <a:cubicBezTo>
                            <a:pt x="6185" y="16026"/>
                            <a:pt x="6304" y="16026"/>
                            <a:pt x="6364" y="15967"/>
                          </a:cubicBezTo>
                          <a:cubicBezTo>
                            <a:pt x="6424" y="15967"/>
                            <a:pt x="6544" y="15907"/>
                            <a:pt x="6603" y="15907"/>
                          </a:cubicBezTo>
                          <a:cubicBezTo>
                            <a:pt x="6663" y="15907"/>
                            <a:pt x="6783" y="15847"/>
                            <a:pt x="6843" y="15847"/>
                          </a:cubicBezTo>
                          <a:cubicBezTo>
                            <a:pt x="7501" y="15667"/>
                            <a:pt x="8099" y="15428"/>
                            <a:pt x="8757" y="15069"/>
                          </a:cubicBezTo>
                          <a:cubicBezTo>
                            <a:pt x="9355" y="14711"/>
                            <a:pt x="10013" y="14352"/>
                            <a:pt x="10551" y="13813"/>
                          </a:cubicBezTo>
                          <a:cubicBezTo>
                            <a:pt x="11089" y="13275"/>
                            <a:pt x="11687" y="12797"/>
                            <a:pt x="12165" y="12199"/>
                          </a:cubicBezTo>
                          <a:cubicBezTo>
                            <a:pt x="12644" y="11601"/>
                            <a:pt x="13123" y="10943"/>
                            <a:pt x="13481" y="10225"/>
                          </a:cubicBezTo>
                          <a:cubicBezTo>
                            <a:pt x="13541" y="10165"/>
                            <a:pt x="13541" y="10105"/>
                            <a:pt x="13601" y="10046"/>
                          </a:cubicBezTo>
                          <a:cubicBezTo>
                            <a:pt x="13661" y="9986"/>
                            <a:pt x="13661" y="9926"/>
                            <a:pt x="13721" y="9866"/>
                          </a:cubicBezTo>
                          <a:cubicBezTo>
                            <a:pt x="13780" y="9806"/>
                            <a:pt x="13780" y="9747"/>
                            <a:pt x="13780" y="9687"/>
                          </a:cubicBezTo>
                          <a:cubicBezTo>
                            <a:pt x="13780" y="9627"/>
                            <a:pt x="13840" y="9567"/>
                            <a:pt x="13840" y="9507"/>
                          </a:cubicBezTo>
                          <a:cubicBezTo>
                            <a:pt x="13900" y="9448"/>
                            <a:pt x="13900" y="9328"/>
                            <a:pt x="13960" y="9268"/>
                          </a:cubicBezTo>
                          <a:cubicBezTo>
                            <a:pt x="14020" y="9209"/>
                            <a:pt x="14020" y="9089"/>
                            <a:pt x="14079" y="9029"/>
                          </a:cubicBezTo>
                          <a:cubicBezTo>
                            <a:pt x="14079" y="8969"/>
                            <a:pt x="14139" y="8850"/>
                            <a:pt x="14139" y="8790"/>
                          </a:cubicBezTo>
                          <a:cubicBezTo>
                            <a:pt x="14139" y="8730"/>
                            <a:pt x="14199" y="8610"/>
                            <a:pt x="14199" y="8550"/>
                          </a:cubicBezTo>
                          <a:cubicBezTo>
                            <a:pt x="14438" y="7833"/>
                            <a:pt x="14618" y="7055"/>
                            <a:pt x="14678" y="6338"/>
                          </a:cubicBezTo>
                          <a:cubicBezTo>
                            <a:pt x="14738" y="5620"/>
                            <a:pt x="14738" y="4962"/>
                            <a:pt x="14618" y="4304"/>
                          </a:cubicBezTo>
                          <a:cubicBezTo>
                            <a:pt x="14498" y="3646"/>
                            <a:pt x="14319" y="3048"/>
                            <a:pt x="14020" y="2510"/>
                          </a:cubicBezTo>
                          <a:cubicBezTo>
                            <a:pt x="13721" y="1972"/>
                            <a:pt x="13362" y="1493"/>
                            <a:pt x="12883" y="1134"/>
                          </a:cubicBezTo>
                          <a:cubicBezTo>
                            <a:pt x="12764" y="1074"/>
                            <a:pt x="12644" y="955"/>
                            <a:pt x="12584" y="895"/>
                          </a:cubicBezTo>
                          <a:cubicBezTo>
                            <a:pt x="12465" y="835"/>
                            <a:pt x="12345" y="775"/>
                            <a:pt x="12225" y="656"/>
                          </a:cubicBezTo>
                          <a:cubicBezTo>
                            <a:pt x="12106" y="596"/>
                            <a:pt x="11986" y="536"/>
                            <a:pt x="11867" y="477"/>
                          </a:cubicBezTo>
                          <a:cubicBezTo>
                            <a:pt x="11747" y="417"/>
                            <a:pt x="11627" y="357"/>
                            <a:pt x="11508" y="297"/>
                          </a:cubicBezTo>
                          <a:cubicBezTo>
                            <a:pt x="10670" y="-2"/>
                            <a:pt x="9773" y="-62"/>
                            <a:pt x="8876" y="58"/>
                          </a:cubicBezTo>
                          <a:cubicBezTo>
                            <a:pt x="7979" y="178"/>
                            <a:pt x="7022" y="477"/>
                            <a:pt x="6125" y="955"/>
                          </a:cubicBezTo>
                          <a:cubicBezTo>
                            <a:pt x="5228" y="1433"/>
                            <a:pt x="4331" y="2032"/>
                            <a:pt x="3554" y="2809"/>
                          </a:cubicBezTo>
                          <a:cubicBezTo>
                            <a:pt x="2776" y="3587"/>
                            <a:pt x="2058" y="4484"/>
                            <a:pt x="1460" y="5500"/>
                          </a:cubicBezTo>
                          <a:cubicBezTo>
                            <a:pt x="1460" y="5560"/>
                            <a:pt x="1400" y="5560"/>
                            <a:pt x="1400" y="5620"/>
                          </a:cubicBezTo>
                          <a:cubicBezTo>
                            <a:pt x="1400" y="5680"/>
                            <a:pt x="1340" y="5680"/>
                            <a:pt x="1340" y="5740"/>
                          </a:cubicBezTo>
                          <a:cubicBezTo>
                            <a:pt x="1340" y="5799"/>
                            <a:pt x="1281" y="5799"/>
                            <a:pt x="1281" y="5859"/>
                          </a:cubicBezTo>
                          <a:cubicBezTo>
                            <a:pt x="1281" y="5919"/>
                            <a:pt x="1221" y="5919"/>
                            <a:pt x="1221" y="5979"/>
                          </a:cubicBezTo>
                          <a:cubicBezTo>
                            <a:pt x="1221" y="6039"/>
                            <a:pt x="1161" y="6039"/>
                            <a:pt x="1161" y="6098"/>
                          </a:cubicBezTo>
                          <a:cubicBezTo>
                            <a:pt x="1161" y="6158"/>
                            <a:pt x="1101" y="6158"/>
                            <a:pt x="1101" y="6218"/>
                          </a:cubicBezTo>
                          <a:cubicBezTo>
                            <a:pt x="1101" y="6278"/>
                            <a:pt x="1041" y="6278"/>
                            <a:pt x="1041" y="6338"/>
                          </a:cubicBezTo>
                          <a:cubicBezTo>
                            <a:pt x="1041" y="6397"/>
                            <a:pt x="982" y="6397"/>
                            <a:pt x="982" y="6457"/>
                          </a:cubicBezTo>
                          <a:cubicBezTo>
                            <a:pt x="683" y="7055"/>
                            <a:pt x="503" y="7653"/>
                            <a:pt x="324" y="8192"/>
                          </a:cubicBezTo>
                          <a:cubicBezTo>
                            <a:pt x="145" y="8730"/>
                            <a:pt x="85" y="9328"/>
                            <a:pt x="25" y="9926"/>
                          </a:cubicBezTo>
                          <a:cubicBezTo>
                            <a:pt x="-35" y="10464"/>
                            <a:pt x="25" y="11003"/>
                            <a:pt x="85" y="11541"/>
                          </a:cubicBezTo>
                          <a:cubicBezTo>
                            <a:pt x="145" y="12079"/>
                            <a:pt x="264" y="12558"/>
                            <a:pt x="443" y="12976"/>
                          </a:cubicBezTo>
                          <a:cubicBezTo>
                            <a:pt x="503" y="13036"/>
                            <a:pt x="503" y="13096"/>
                            <a:pt x="563" y="13215"/>
                          </a:cubicBezTo>
                          <a:cubicBezTo>
                            <a:pt x="623" y="13275"/>
                            <a:pt x="623" y="13335"/>
                            <a:pt x="683" y="13455"/>
                          </a:cubicBezTo>
                          <a:cubicBezTo>
                            <a:pt x="742" y="13514"/>
                            <a:pt x="742" y="13574"/>
                            <a:pt x="802" y="13634"/>
                          </a:cubicBezTo>
                          <a:cubicBezTo>
                            <a:pt x="862" y="13694"/>
                            <a:pt x="862" y="13754"/>
                            <a:pt x="922" y="13813"/>
                          </a:cubicBezTo>
                          <a:cubicBezTo>
                            <a:pt x="982" y="13933"/>
                            <a:pt x="1041" y="14053"/>
                            <a:pt x="1161" y="14112"/>
                          </a:cubicBezTo>
                          <a:cubicBezTo>
                            <a:pt x="1221" y="14232"/>
                            <a:pt x="1340" y="14292"/>
                            <a:pt x="1400" y="14412"/>
                          </a:cubicBezTo>
                          <a:cubicBezTo>
                            <a:pt x="1460" y="14531"/>
                            <a:pt x="1580" y="14591"/>
                            <a:pt x="1640" y="14711"/>
                          </a:cubicBezTo>
                          <a:cubicBezTo>
                            <a:pt x="1699" y="14830"/>
                            <a:pt x="1819" y="14890"/>
                            <a:pt x="1879" y="15010"/>
                          </a:cubicBezTo>
                        </a:path>
                      </a:pathLst>
                    </a:custGeom>
                    <a:noFill/>
                    <a:ln w="6350" cap="flat">
                      <a:solidFill>
                        <a:schemeClr val="bg1">
                          <a:alpha val="80000"/>
                        </a:schemeClr>
                      </a:solidFill>
                      <a:prstDash val="solid"/>
                      <a:miter/>
                    </a:ln>
                  </p:spPr>
                  <p:txBody>
                    <a:bodyPr rtlCol="0" anchor="ctr"/>
                    <a:lstStyle/>
                    <a:p>
                      <a:endParaRPr lang="en-GB"/>
                    </a:p>
                  </p:txBody>
                </p:sp>
                <p:sp>
                  <p:nvSpPr>
                    <p:cNvPr id="7405" name="Vrije vorm: vorm 7404">
                      <a:extLst>
                        <a:ext uri="{FF2B5EF4-FFF2-40B4-BE49-F238E27FC236}">
                          <a16:creationId xmlns:a16="http://schemas.microsoft.com/office/drawing/2014/main" id="{C2770D13-2C73-4D0D-8727-192C34AC3594}"/>
                        </a:ext>
                      </a:extLst>
                    </p:cNvPr>
                    <p:cNvSpPr/>
                    <p:nvPr/>
                  </p:nvSpPr>
                  <p:spPr>
                    <a:xfrm>
                      <a:off x="5352265" y="5290050"/>
                      <a:ext cx="14376" cy="15904"/>
                    </a:xfrm>
                    <a:custGeom>
                      <a:avLst/>
                      <a:gdLst>
                        <a:gd name="connsiteX0" fmla="*/ 11984 w 14376"/>
                        <a:gd name="connsiteY0" fmla="*/ 1972 h 15904"/>
                        <a:gd name="connsiteX1" fmla="*/ 12522 w 14376"/>
                        <a:gd name="connsiteY1" fmla="*/ 2510 h 15904"/>
                        <a:gd name="connsiteX2" fmla="*/ 12941 w 14376"/>
                        <a:gd name="connsiteY2" fmla="*/ 3108 h 15904"/>
                        <a:gd name="connsiteX3" fmla="*/ 13240 w 14376"/>
                        <a:gd name="connsiteY3" fmla="*/ 3826 h 15904"/>
                        <a:gd name="connsiteX4" fmla="*/ 13479 w 14376"/>
                        <a:gd name="connsiteY4" fmla="*/ 4603 h 15904"/>
                        <a:gd name="connsiteX5" fmla="*/ 13599 w 14376"/>
                        <a:gd name="connsiteY5" fmla="*/ 5859 h 15904"/>
                        <a:gd name="connsiteX6" fmla="*/ 13479 w 14376"/>
                        <a:gd name="connsiteY6" fmla="*/ 7175 h 15904"/>
                        <a:gd name="connsiteX7" fmla="*/ 13120 w 14376"/>
                        <a:gd name="connsiteY7" fmla="*/ 8550 h 15904"/>
                        <a:gd name="connsiteX8" fmla="*/ 12522 w 14376"/>
                        <a:gd name="connsiteY8" fmla="*/ 9926 h 15904"/>
                        <a:gd name="connsiteX9" fmla="*/ 10728 w 14376"/>
                        <a:gd name="connsiteY9" fmla="*/ 12378 h 15904"/>
                        <a:gd name="connsiteX10" fmla="*/ 8455 w 14376"/>
                        <a:gd name="connsiteY10" fmla="*/ 14112 h 15904"/>
                        <a:gd name="connsiteX11" fmla="*/ 6003 w 14376"/>
                        <a:gd name="connsiteY11" fmla="*/ 14950 h 15904"/>
                        <a:gd name="connsiteX12" fmla="*/ 3671 w 14376"/>
                        <a:gd name="connsiteY12" fmla="*/ 14771 h 15904"/>
                        <a:gd name="connsiteX13" fmla="*/ 3312 w 14376"/>
                        <a:gd name="connsiteY13" fmla="*/ 14651 h 15904"/>
                        <a:gd name="connsiteX14" fmla="*/ 3013 w 14376"/>
                        <a:gd name="connsiteY14" fmla="*/ 14471 h 15904"/>
                        <a:gd name="connsiteX15" fmla="*/ 2714 w 14376"/>
                        <a:gd name="connsiteY15" fmla="*/ 14292 h 15904"/>
                        <a:gd name="connsiteX16" fmla="*/ 2415 w 14376"/>
                        <a:gd name="connsiteY16" fmla="*/ 14112 h 15904"/>
                        <a:gd name="connsiteX17" fmla="*/ 1278 w 14376"/>
                        <a:gd name="connsiteY17" fmla="*/ 12677 h 15904"/>
                        <a:gd name="connsiteX18" fmla="*/ 800 w 14376"/>
                        <a:gd name="connsiteY18" fmla="*/ 10763 h 15904"/>
                        <a:gd name="connsiteX19" fmla="*/ 979 w 14376"/>
                        <a:gd name="connsiteY19" fmla="*/ 8550 h 15904"/>
                        <a:gd name="connsiteX20" fmla="*/ 1877 w 14376"/>
                        <a:gd name="connsiteY20" fmla="*/ 6218 h 15904"/>
                        <a:gd name="connsiteX21" fmla="*/ 3671 w 14376"/>
                        <a:gd name="connsiteY21" fmla="*/ 3766 h 15904"/>
                        <a:gd name="connsiteX22" fmla="*/ 5944 w 14376"/>
                        <a:gd name="connsiteY22" fmla="*/ 2032 h 15904"/>
                        <a:gd name="connsiteX23" fmla="*/ 8395 w 14376"/>
                        <a:gd name="connsiteY23" fmla="*/ 1194 h 15904"/>
                        <a:gd name="connsiteX24" fmla="*/ 10728 w 14376"/>
                        <a:gd name="connsiteY24" fmla="*/ 1433 h 15904"/>
                        <a:gd name="connsiteX25" fmla="*/ 11087 w 14376"/>
                        <a:gd name="connsiteY25" fmla="*/ 1553 h 15904"/>
                        <a:gd name="connsiteX26" fmla="*/ 11386 w 14376"/>
                        <a:gd name="connsiteY26" fmla="*/ 1732 h 15904"/>
                        <a:gd name="connsiteX27" fmla="*/ 11685 w 14376"/>
                        <a:gd name="connsiteY27" fmla="*/ 1912 h 15904"/>
                        <a:gd name="connsiteX28" fmla="*/ 11984 w 14376"/>
                        <a:gd name="connsiteY28" fmla="*/ 1972 h 15904"/>
                        <a:gd name="connsiteX29" fmla="*/ 1817 w 14376"/>
                        <a:gd name="connsiteY29" fmla="*/ 14830 h 15904"/>
                        <a:gd name="connsiteX30" fmla="*/ 2116 w 14376"/>
                        <a:gd name="connsiteY30" fmla="*/ 15069 h 15904"/>
                        <a:gd name="connsiteX31" fmla="*/ 2475 w 14376"/>
                        <a:gd name="connsiteY31" fmla="*/ 15249 h 15904"/>
                        <a:gd name="connsiteX32" fmla="*/ 2833 w 14376"/>
                        <a:gd name="connsiteY32" fmla="*/ 15428 h 15904"/>
                        <a:gd name="connsiteX33" fmla="*/ 3192 w 14376"/>
                        <a:gd name="connsiteY33" fmla="*/ 15608 h 15904"/>
                        <a:gd name="connsiteX34" fmla="*/ 5824 w 14376"/>
                        <a:gd name="connsiteY34" fmla="*/ 15847 h 15904"/>
                        <a:gd name="connsiteX35" fmla="*/ 8575 w 14376"/>
                        <a:gd name="connsiteY35" fmla="*/ 14890 h 15904"/>
                        <a:gd name="connsiteX36" fmla="*/ 11147 w 14376"/>
                        <a:gd name="connsiteY36" fmla="*/ 12917 h 15904"/>
                        <a:gd name="connsiteX37" fmla="*/ 13180 w 14376"/>
                        <a:gd name="connsiteY37" fmla="*/ 10105 h 15904"/>
                        <a:gd name="connsiteX38" fmla="*/ 13838 w 14376"/>
                        <a:gd name="connsiteY38" fmla="*/ 8550 h 15904"/>
                        <a:gd name="connsiteX39" fmla="*/ 14256 w 14376"/>
                        <a:gd name="connsiteY39" fmla="*/ 6995 h 15904"/>
                        <a:gd name="connsiteX40" fmla="*/ 14376 w 14376"/>
                        <a:gd name="connsiteY40" fmla="*/ 5500 h 15904"/>
                        <a:gd name="connsiteX41" fmla="*/ 14256 w 14376"/>
                        <a:gd name="connsiteY41" fmla="*/ 4065 h 15904"/>
                        <a:gd name="connsiteX42" fmla="*/ 14017 w 14376"/>
                        <a:gd name="connsiteY42" fmla="*/ 3168 h 15904"/>
                        <a:gd name="connsiteX43" fmla="*/ 13659 w 14376"/>
                        <a:gd name="connsiteY43" fmla="*/ 2390 h 15904"/>
                        <a:gd name="connsiteX44" fmla="*/ 13180 w 14376"/>
                        <a:gd name="connsiteY44" fmla="*/ 1673 h 15904"/>
                        <a:gd name="connsiteX45" fmla="*/ 12582 w 14376"/>
                        <a:gd name="connsiteY45" fmla="*/ 1074 h 15904"/>
                        <a:gd name="connsiteX46" fmla="*/ 12283 w 14376"/>
                        <a:gd name="connsiteY46" fmla="*/ 835 h 15904"/>
                        <a:gd name="connsiteX47" fmla="*/ 11924 w 14376"/>
                        <a:gd name="connsiteY47" fmla="*/ 656 h 15904"/>
                        <a:gd name="connsiteX48" fmla="*/ 11565 w 14376"/>
                        <a:gd name="connsiteY48" fmla="*/ 477 h 15904"/>
                        <a:gd name="connsiteX49" fmla="*/ 11147 w 14376"/>
                        <a:gd name="connsiteY49" fmla="*/ 297 h 15904"/>
                        <a:gd name="connsiteX50" fmla="*/ 8515 w 14376"/>
                        <a:gd name="connsiteY50" fmla="*/ 58 h 15904"/>
                        <a:gd name="connsiteX51" fmla="*/ 5764 w 14376"/>
                        <a:gd name="connsiteY51" fmla="*/ 1015 h 15904"/>
                        <a:gd name="connsiteX52" fmla="*/ 3192 w 14376"/>
                        <a:gd name="connsiteY52" fmla="*/ 2988 h 15904"/>
                        <a:gd name="connsiteX53" fmla="*/ 1159 w 14376"/>
                        <a:gd name="connsiteY53" fmla="*/ 5799 h 15904"/>
                        <a:gd name="connsiteX54" fmla="*/ 202 w 14376"/>
                        <a:gd name="connsiteY54" fmla="*/ 8431 h 15904"/>
                        <a:gd name="connsiteX55" fmla="*/ 22 w 14376"/>
                        <a:gd name="connsiteY55" fmla="*/ 10943 h 15904"/>
                        <a:gd name="connsiteX56" fmla="*/ 561 w 14376"/>
                        <a:gd name="connsiteY56" fmla="*/ 13096 h 15904"/>
                        <a:gd name="connsiteX57" fmla="*/ 1817 w 14376"/>
                        <a:gd name="connsiteY57" fmla="*/ 14830 h 1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76" h="15904">
                          <a:moveTo>
                            <a:pt x="11984" y="1972"/>
                          </a:moveTo>
                          <a:cubicBezTo>
                            <a:pt x="12163" y="2151"/>
                            <a:pt x="12343" y="2271"/>
                            <a:pt x="12522" y="2510"/>
                          </a:cubicBezTo>
                          <a:cubicBezTo>
                            <a:pt x="12702" y="2689"/>
                            <a:pt x="12821" y="2928"/>
                            <a:pt x="12941" y="3108"/>
                          </a:cubicBezTo>
                          <a:cubicBezTo>
                            <a:pt x="13061" y="3347"/>
                            <a:pt x="13180" y="3586"/>
                            <a:pt x="13240" y="3826"/>
                          </a:cubicBezTo>
                          <a:cubicBezTo>
                            <a:pt x="13360" y="4065"/>
                            <a:pt x="13419" y="4304"/>
                            <a:pt x="13479" y="4603"/>
                          </a:cubicBezTo>
                          <a:cubicBezTo>
                            <a:pt x="13539" y="5022"/>
                            <a:pt x="13599" y="5441"/>
                            <a:pt x="13599" y="5859"/>
                          </a:cubicBezTo>
                          <a:cubicBezTo>
                            <a:pt x="13599" y="6278"/>
                            <a:pt x="13539" y="6756"/>
                            <a:pt x="13479" y="7175"/>
                          </a:cubicBezTo>
                          <a:cubicBezTo>
                            <a:pt x="13419" y="7653"/>
                            <a:pt x="13300" y="8072"/>
                            <a:pt x="13120" y="8550"/>
                          </a:cubicBezTo>
                          <a:cubicBezTo>
                            <a:pt x="12941" y="9029"/>
                            <a:pt x="12761" y="9448"/>
                            <a:pt x="12522" y="9926"/>
                          </a:cubicBezTo>
                          <a:cubicBezTo>
                            <a:pt x="12044" y="10823"/>
                            <a:pt x="11446" y="11660"/>
                            <a:pt x="10728" y="12378"/>
                          </a:cubicBezTo>
                          <a:cubicBezTo>
                            <a:pt x="10010" y="13096"/>
                            <a:pt x="9293" y="13694"/>
                            <a:pt x="8455" y="14112"/>
                          </a:cubicBezTo>
                          <a:cubicBezTo>
                            <a:pt x="7678" y="14531"/>
                            <a:pt x="6840" y="14830"/>
                            <a:pt x="6003" y="14950"/>
                          </a:cubicBezTo>
                          <a:cubicBezTo>
                            <a:pt x="5166" y="15069"/>
                            <a:pt x="4388" y="15010"/>
                            <a:pt x="3671" y="14771"/>
                          </a:cubicBezTo>
                          <a:cubicBezTo>
                            <a:pt x="3551" y="14711"/>
                            <a:pt x="3431" y="14711"/>
                            <a:pt x="3312" y="14651"/>
                          </a:cubicBezTo>
                          <a:cubicBezTo>
                            <a:pt x="3192" y="14591"/>
                            <a:pt x="3073" y="14531"/>
                            <a:pt x="3013" y="14471"/>
                          </a:cubicBezTo>
                          <a:cubicBezTo>
                            <a:pt x="2953" y="14412"/>
                            <a:pt x="2833" y="14352"/>
                            <a:pt x="2714" y="14292"/>
                          </a:cubicBezTo>
                          <a:cubicBezTo>
                            <a:pt x="2594" y="14232"/>
                            <a:pt x="2534" y="14172"/>
                            <a:pt x="2415" y="14112"/>
                          </a:cubicBezTo>
                          <a:cubicBezTo>
                            <a:pt x="1936" y="13694"/>
                            <a:pt x="1577" y="13215"/>
                            <a:pt x="1278" y="12677"/>
                          </a:cubicBezTo>
                          <a:cubicBezTo>
                            <a:pt x="979" y="12139"/>
                            <a:pt x="860" y="11481"/>
                            <a:pt x="800" y="10763"/>
                          </a:cubicBezTo>
                          <a:cubicBezTo>
                            <a:pt x="740" y="10046"/>
                            <a:pt x="800" y="9328"/>
                            <a:pt x="979" y="8550"/>
                          </a:cubicBezTo>
                          <a:cubicBezTo>
                            <a:pt x="1159" y="7773"/>
                            <a:pt x="1458" y="6995"/>
                            <a:pt x="1877" y="6218"/>
                          </a:cubicBezTo>
                          <a:cubicBezTo>
                            <a:pt x="2355" y="5261"/>
                            <a:pt x="3013" y="4484"/>
                            <a:pt x="3671" y="3766"/>
                          </a:cubicBezTo>
                          <a:cubicBezTo>
                            <a:pt x="4388" y="3048"/>
                            <a:pt x="5166" y="2450"/>
                            <a:pt x="5944" y="2032"/>
                          </a:cubicBezTo>
                          <a:cubicBezTo>
                            <a:pt x="6721" y="1613"/>
                            <a:pt x="7558" y="1314"/>
                            <a:pt x="8395" y="1194"/>
                          </a:cubicBezTo>
                          <a:cubicBezTo>
                            <a:pt x="9233" y="1074"/>
                            <a:pt x="10010" y="1134"/>
                            <a:pt x="10728" y="1433"/>
                          </a:cubicBezTo>
                          <a:cubicBezTo>
                            <a:pt x="10848" y="1493"/>
                            <a:pt x="10967" y="1493"/>
                            <a:pt x="11087" y="1553"/>
                          </a:cubicBezTo>
                          <a:cubicBezTo>
                            <a:pt x="11207" y="1613"/>
                            <a:pt x="11326" y="1673"/>
                            <a:pt x="11386" y="1732"/>
                          </a:cubicBezTo>
                          <a:cubicBezTo>
                            <a:pt x="11506" y="1792"/>
                            <a:pt x="11565" y="1852"/>
                            <a:pt x="11685" y="1912"/>
                          </a:cubicBezTo>
                          <a:cubicBezTo>
                            <a:pt x="11805" y="1852"/>
                            <a:pt x="11864" y="1912"/>
                            <a:pt x="11984" y="1972"/>
                          </a:cubicBezTo>
                          <a:moveTo>
                            <a:pt x="1817" y="14830"/>
                          </a:moveTo>
                          <a:cubicBezTo>
                            <a:pt x="1936" y="14890"/>
                            <a:pt x="1996" y="15010"/>
                            <a:pt x="2116" y="15069"/>
                          </a:cubicBezTo>
                          <a:cubicBezTo>
                            <a:pt x="2235" y="15129"/>
                            <a:pt x="2355" y="15189"/>
                            <a:pt x="2475" y="15249"/>
                          </a:cubicBezTo>
                          <a:cubicBezTo>
                            <a:pt x="2594" y="15309"/>
                            <a:pt x="2714" y="15368"/>
                            <a:pt x="2833" y="15428"/>
                          </a:cubicBezTo>
                          <a:cubicBezTo>
                            <a:pt x="2953" y="15488"/>
                            <a:pt x="3073" y="15548"/>
                            <a:pt x="3192" y="15608"/>
                          </a:cubicBezTo>
                          <a:cubicBezTo>
                            <a:pt x="4030" y="15907"/>
                            <a:pt x="4927" y="15966"/>
                            <a:pt x="5824" y="15847"/>
                          </a:cubicBezTo>
                          <a:cubicBezTo>
                            <a:pt x="6721" y="15727"/>
                            <a:pt x="7678" y="15368"/>
                            <a:pt x="8575" y="14890"/>
                          </a:cubicBezTo>
                          <a:cubicBezTo>
                            <a:pt x="9472" y="14412"/>
                            <a:pt x="10369" y="13754"/>
                            <a:pt x="11147" y="12917"/>
                          </a:cubicBezTo>
                          <a:cubicBezTo>
                            <a:pt x="11924" y="12139"/>
                            <a:pt x="12642" y="11182"/>
                            <a:pt x="13180" y="10105"/>
                          </a:cubicBezTo>
                          <a:cubicBezTo>
                            <a:pt x="13419" y="9567"/>
                            <a:pt x="13659" y="9089"/>
                            <a:pt x="13838" y="8550"/>
                          </a:cubicBezTo>
                          <a:cubicBezTo>
                            <a:pt x="14017" y="8012"/>
                            <a:pt x="14137" y="7534"/>
                            <a:pt x="14256" y="6995"/>
                          </a:cubicBezTo>
                          <a:cubicBezTo>
                            <a:pt x="14376" y="6517"/>
                            <a:pt x="14376" y="5979"/>
                            <a:pt x="14376" y="5500"/>
                          </a:cubicBezTo>
                          <a:cubicBezTo>
                            <a:pt x="14376" y="5022"/>
                            <a:pt x="14316" y="4543"/>
                            <a:pt x="14256" y="4065"/>
                          </a:cubicBezTo>
                          <a:cubicBezTo>
                            <a:pt x="14197" y="3766"/>
                            <a:pt x="14137" y="3467"/>
                            <a:pt x="14017" y="3168"/>
                          </a:cubicBezTo>
                          <a:cubicBezTo>
                            <a:pt x="13898" y="2869"/>
                            <a:pt x="13778" y="2629"/>
                            <a:pt x="13659" y="2390"/>
                          </a:cubicBezTo>
                          <a:cubicBezTo>
                            <a:pt x="13539" y="2151"/>
                            <a:pt x="13360" y="1912"/>
                            <a:pt x="13180" y="1673"/>
                          </a:cubicBezTo>
                          <a:cubicBezTo>
                            <a:pt x="13001" y="1433"/>
                            <a:pt x="12821" y="1254"/>
                            <a:pt x="12582" y="1074"/>
                          </a:cubicBezTo>
                          <a:cubicBezTo>
                            <a:pt x="12462" y="1015"/>
                            <a:pt x="12402" y="895"/>
                            <a:pt x="12283" y="835"/>
                          </a:cubicBezTo>
                          <a:cubicBezTo>
                            <a:pt x="12163" y="775"/>
                            <a:pt x="12044" y="716"/>
                            <a:pt x="11924" y="656"/>
                          </a:cubicBezTo>
                          <a:cubicBezTo>
                            <a:pt x="11805" y="596"/>
                            <a:pt x="11685" y="536"/>
                            <a:pt x="11565" y="477"/>
                          </a:cubicBezTo>
                          <a:cubicBezTo>
                            <a:pt x="11446" y="417"/>
                            <a:pt x="11326" y="357"/>
                            <a:pt x="11147" y="297"/>
                          </a:cubicBezTo>
                          <a:cubicBezTo>
                            <a:pt x="10309" y="-2"/>
                            <a:pt x="9412" y="-62"/>
                            <a:pt x="8515" y="58"/>
                          </a:cubicBezTo>
                          <a:cubicBezTo>
                            <a:pt x="7618" y="178"/>
                            <a:pt x="6661" y="536"/>
                            <a:pt x="5764" y="1015"/>
                          </a:cubicBezTo>
                          <a:cubicBezTo>
                            <a:pt x="4867" y="1493"/>
                            <a:pt x="3970" y="2151"/>
                            <a:pt x="3192" y="2988"/>
                          </a:cubicBezTo>
                          <a:cubicBezTo>
                            <a:pt x="2415" y="3766"/>
                            <a:pt x="1697" y="4723"/>
                            <a:pt x="1159" y="5799"/>
                          </a:cubicBezTo>
                          <a:cubicBezTo>
                            <a:pt x="680" y="6696"/>
                            <a:pt x="381" y="7594"/>
                            <a:pt x="202" y="8431"/>
                          </a:cubicBezTo>
                          <a:cubicBezTo>
                            <a:pt x="22" y="9328"/>
                            <a:pt x="-37" y="10165"/>
                            <a:pt x="22" y="10943"/>
                          </a:cubicBezTo>
                          <a:cubicBezTo>
                            <a:pt x="82" y="11720"/>
                            <a:pt x="262" y="12438"/>
                            <a:pt x="561" y="13096"/>
                          </a:cubicBezTo>
                          <a:cubicBezTo>
                            <a:pt x="860" y="13813"/>
                            <a:pt x="1278" y="14412"/>
                            <a:pt x="1817" y="14830"/>
                          </a:cubicBezTo>
                        </a:path>
                      </a:pathLst>
                    </a:custGeom>
                    <a:noFill/>
                    <a:ln w="6350" cap="flat">
                      <a:solidFill>
                        <a:schemeClr val="bg1">
                          <a:alpha val="80000"/>
                        </a:schemeClr>
                      </a:solidFill>
                      <a:prstDash val="solid"/>
                      <a:miter/>
                    </a:ln>
                  </p:spPr>
                  <p:txBody>
                    <a:bodyPr rtlCol="0" anchor="ctr"/>
                    <a:lstStyle/>
                    <a:p>
                      <a:endParaRPr lang="en-GB"/>
                    </a:p>
                  </p:txBody>
                </p:sp>
                <p:sp>
                  <p:nvSpPr>
                    <p:cNvPr id="7406" name="Vrije vorm: vorm 7405">
                      <a:extLst>
                        <a:ext uri="{FF2B5EF4-FFF2-40B4-BE49-F238E27FC236}">
                          <a16:creationId xmlns:a16="http://schemas.microsoft.com/office/drawing/2014/main" id="{72706AD9-DE93-4428-A78A-059E5336D621}"/>
                        </a:ext>
                      </a:extLst>
                    </p:cNvPr>
                    <p:cNvSpPr/>
                    <p:nvPr/>
                  </p:nvSpPr>
                  <p:spPr>
                    <a:xfrm>
                      <a:off x="5354620" y="5292892"/>
                      <a:ext cx="9532" cy="10433"/>
                    </a:xfrm>
                    <a:custGeom>
                      <a:avLst/>
                      <a:gdLst>
                        <a:gd name="connsiteX0" fmla="*/ 5323 w 9532"/>
                        <a:gd name="connsiteY0" fmla="*/ 8878 h 10433"/>
                        <a:gd name="connsiteX1" fmla="*/ 4665 w 9532"/>
                        <a:gd name="connsiteY1" fmla="*/ 9117 h 10433"/>
                        <a:gd name="connsiteX2" fmla="*/ 4007 w 9532"/>
                        <a:gd name="connsiteY2" fmla="*/ 9237 h 10433"/>
                        <a:gd name="connsiteX3" fmla="*/ 3349 w 9532"/>
                        <a:gd name="connsiteY3" fmla="*/ 9237 h 10433"/>
                        <a:gd name="connsiteX4" fmla="*/ 2751 w 9532"/>
                        <a:gd name="connsiteY4" fmla="*/ 9117 h 10433"/>
                        <a:gd name="connsiteX5" fmla="*/ 2572 w 9532"/>
                        <a:gd name="connsiteY5" fmla="*/ 9057 h 10433"/>
                        <a:gd name="connsiteX6" fmla="*/ 2392 w 9532"/>
                        <a:gd name="connsiteY6" fmla="*/ 8938 h 10433"/>
                        <a:gd name="connsiteX7" fmla="*/ 2213 w 9532"/>
                        <a:gd name="connsiteY7" fmla="*/ 8818 h 10433"/>
                        <a:gd name="connsiteX8" fmla="*/ 2034 w 9532"/>
                        <a:gd name="connsiteY8" fmla="*/ 8699 h 10433"/>
                        <a:gd name="connsiteX9" fmla="*/ 1376 w 9532"/>
                        <a:gd name="connsiteY9" fmla="*/ 7861 h 10433"/>
                        <a:gd name="connsiteX10" fmla="*/ 1076 w 9532"/>
                        <a:gd name="connsiteY10" fmla="*/ 6785 h 10433"/>
                        <a:gd name="connsiteX11" fmla="*/ 1136 w 9532"/>
                        <a:gd name="connsiteY11" fmla="*/ 5529 h 10433"/>
                        <a:gd name="connsiteX12" fmla="*/ 1555 w 9532"/>
                        <a:gd name="connsiteY12" fmla="*/ 4213 h 10433"/>
                        <a:gd name="connsiteX13" fmla="*/ 1555 w 9532"/>
                        <a:gd name="connsiteY13" fmla="*/ 4153 h 10433"/>
                        <a:gd name="connsiteX14" fmla="*/ 1555 w 9532"/>
                        <a:gd name="connsiteY14" fmla="*/ 4094 h 10433"/>
                        <a:gd name="connsiteX15" fmla="*/ 1615 w 9532"/>
                        <a:gd name="connsiteY15" fmla="*/ 4034 h 10433"/>
                        <a:gd name="connsiteX16" fmla="*/ 1675 w 9532"/>
                        <a:gd name="connsiteY16" fmla="*/ 3974 h 10433"/>
                        <a:gd name="connsiteX17" fmla="*/ 1794 w 9532"/>
                        <a:gd name="connsiteY17" fmla="*/ 3794 h 10433"/>
                        <a:gd name="connsiteX18" fmla="*/ 1914 w 9532"/>
                        <a:gd name="connsiteY18" fmla="*/ 3615 h 10433"/>
                        <a:gd name="connsiteX19" fmla="*/ 2034 w 9532"/>
                        <a:gd name="connsiteY19" fmla="*/ 3435 h 10433"/>
                        <a:gd name="connsiteX20" fmla="*/ 2153 w 9532"/>
                        <a:gd name="connsiteY20" fmla="*/ 3256 h 10433"/>
                        <a:gd name="connsiteX21" fmla="*/ 2572 w 9532"/>
                        <a:gd name="connsiteY21" fmla="*/ 2718 h 10433"/>
                        <a:gd name="connsiteX22" fmla="*/ 3050 w 9532"/>
                        <a:gd name="connsiteY22" fmla="*/ 2239 h 10433"/>
                        <a:gd name="connsiteX23" fmla="*/ 3589 w 9532"/>
                        <a:gd name="connsiteY23" fmla="*/ 1821 h 10433"/>
                        <a:gd name="connsiteX24" fmla="*/ 4127 w 9532"/>
                        <a:gd name="connsiteY24" fmla="*/ 1462 h 10433"/>
                        <a:gd name="connsiteX25" fmla="*/ 4844 w 9532"/>
                        <a:gd name="connsiteY25" fmla="*/ 1103 h 10433"/>
                        <a:gd name="connsiteX26" fmla="*/ 5562 w 9532"/>
                        <a:gd name="connsiteY26" fmla="*/ 924 h 10433"/>
                        <a:gd name="connsiteX27" fmla="*/ 6280 w 9532"/>
                        <a:gd name="connsiteY27" fmla="*/ 924 h 10433"/>
                        <a:gd name="connsiteX28" fmla="*/ 6938 w 9532"/>
                        <a:gd name="connsiteY28" fmla="*/ 1043 h 10433"/>
                        <a:gd name="connsiteX29" fmla="*/ 7117 w 9532"/>
                        <a:gd name="connsiteY29" fmla="*/ 1103 h 10433"/>
                        <a:gd name="connsiteX30" fmla="*/ 7297 w 9532"/>
                        <a:gd name="connsiteY30" fmla="*/ 1223 h 10433"/>
                        <a:gd name="connsiteX31" fmla="*/ 7476 w 9532"/>
                        <a:gd name="connsiteY31" fmla="*/ 1342 h 10433"/>
                        <a:gd name="connsiteX32" fmla="*/ 7656 w 9532"/>
                        <a:gd name="connsiteY32" fmla="*/ 1462 h 10433"/>
                        <a:gd name="connsiteX33" fmla="*/ 8194 w 9532"/>
                        <a:gd name="connsiteY33" fmla="*/ 2060 h 10433"/>
                        <a:gd name="connsiteX34" fmla="*/ 8493 w 9532"/>
                        <a:gd name="connsiteY34" fmla="*/ 2838 h 10433"/>
                        <a:gd name="connsiteX35" fmla="*/ 8612 w 9532"/>
                        <a:gd name="connsiteY35" fmla="*/ 3734 h 10433"/>
                        <a:gd name="connsiteX36" fmla="*/ 8493 w 9532"/>
                        <a:gd name="connsiteY36" fmla="*/ 4692 h 10433"/>
                        <a:gd name="connsiteX37" fmla="*/ 8433 w 9532"/>
                        <a:gd name="connsiteY37" fmla="*/ 4931 h 10433"/>
                        <a:gd name="connsiteX38" fmla="*/ 8373 w 9532"/>
                        <a:gd name="connsiteY38" fmla="*/ 5170 h 10433"/>
                        <a:gd name="connsiteX39" fmla="*/ 8313 w 9532"/>
                        <a:gd name="connsiteY39" fmla="*/ 5409 h 10433"/>
                        <a:gd name="connsiteX40" fmla="*/ 8194 w 9532"/>
                        <a:gd name="connsiteY40" fmla="*/ 5648 h 10433"/>
                        <a:gd name="connsiteX41" fmla="*/ 8134 w 9532"/>
                        <a:gd name="connsiteY41" fmla="*/ 5768 h 10433"/>
                        <a:gd name="connsiteX42" fmla="*/ 8074 w 9532"/>
                        <a:gd name="connsiteY42" fmla="*/ 5888 h 10433"/>
                        <a:gd name="connsiteX43" fmla="*/ 8014 w 9532"/>
                        <a:gd name="connsiteY43" fmla="*/ 6007 h 10433"/>
                        <a:gd name="connsiteX44" fmla="*/ 7954 w 9532"/>
                        <a:gd name="connsiteY44" fmla="*/ 6127 h 10433"/>
                        <a:gd name="connsiteX45" fmla="*/ 7656 w 9532"/>
                        <a:gd name="connsiteY45" fmla="*/ 6665 h 10433"/>
                        <a:gd name="connsiteX46" fmla="*/ 7297 w 9532"/>
                        <a:gd name="connsiteY46" fmla="*/ 7144 h 10433"/>
                        <a:gd name="connsiteX47" fmla="*/ 6878 w 9532"/>
                        <a:gd name="connsiteY47" fmla="*/ 7562 h 10433"/>
                        <a:gd name="connsiteX48" fmla="*/ 6459 w 9532"/>
                        <a:gd name="connsiteY48" fmla="*/ 7981 h 10433"/>
                        <a:gd name="connsiteX49" fmla="*/ 6220 w 9532"/>
                        <a:gd name="connsiteY49" fmla="*/ 8161 h 10433"/>
                        <a:gd name="connsiteX50" fmla="*/ 5981 w 9532"/>
                        <a:gd name="connsiteY50" fmla="*/ 8340 h 10433"/>
                        <a:gd name="connsiteX51" fmla="*/ 5742 w 9532"/>
                        <a:gd name="connsiteY51" fmla="*/ 8519 h 10433"/>
                        <a:gd name="connsiteX52" fmla="*/ 5503 w 9532"/>
                        <a:gd name="connsiteY52" fmla="*/ 8639 h 10433"/>
                        <a:gd name="connsiteX53" fmla="*/ 5443 w 9532"/>
                        <a:gd name="connsiteY53" fmla="*/ 8699 h 10433"/>
                        <a:gd name="connsiteX54" fmla="*/ 5383 w 9532"/>
                        <a:gd name="connsiteY54" fmla="*/ 8758 h 10433"/>
                        <a:gd name="connsiteX55" fmla="*/ 5323 w 9532"/>
                        <a:gd name="connsiteY55" fmla="*/ 8818 h 10433"/>
                        <a:gd name="connsiteX56" fmla="*/ 5323 w 9532"/>
                        <a:gd name="connsiteY56" fmla="*/ 8878 h 10433"/>
                        <a:gd name="connsiteX57" fmla="*/ 1974 w 9532"/>
                        <a:gd name="connsiteY57" fmla="*/ 8818 h 10433"/>
                        <a:gd name="connsiteX58" fmla="*/ 2153 w 9532"/>
                        <a:gd name="connsiteY58" fmla="*/ 8938 h 10433"/>
                        <a:gd name="connsiteX59" fmla="*/ 2333 w 9532"/>
                        <a:gd name="connsiteY59" fmla="*/ 9057 h 10433"/>
                        <a:gd name="connsiteX60" fmla="*/ 2512 w 9532"/>
                        <a:gd name="connsiteY60" fmla="*/ 9177 h 10433"/>
                        <a:gd name="connsiteX61" fmla="*/ 2691 w 9532"/>
                        <a:gd name="connsiteY61" fmla="*/ 9237 h 10433"/>
                        <a:gd name="connsiteX62" fmla="*/ 4067 w 9532"/>
                        <a:gd name="connsiteY62" fmla="*/ 9356 h 10433"/>
                        <a:gd name="connsiteX63" fmla="*/ 5562 w 9532"/>
                        <a:gd name="connsiteY63" fmla="*/ 8878 h 10433"/>
                        <a:gd name="connsiteX64" fmla="*/ 6938 w 9532"/>
                        <a:gd name="connsiteY64" fmla="*/ 7861 h 10433"/>
                        <a:gd name="connsiteX65" fmla="*/ 8014 w 9532"/>
                        <a:gd name="connsiteY65" fmla="*/ 6366 h 10433"/>
                        <a:gd name="connsiteX66" fmla="*/ 8373 w 9532"/>
                        <a:gd name="connsiteY66" fmla="*/ 5529 h 10433"/>
                        <a:gd name="connsiteX67" fmla="*/ 8612 w 9532"/>
                        <a:gd name="connsiteY67" fmla="*/ 4692 h 10433"/>
                        <a:gd name="connsiteX68" fmla="*/ 8672 w 9532"/>
                        <a:gd name="connsiteY68" fmla="*/ 3914 h 10433"/>
                        <a:gd name="connsiteX69" fmla="*/ 8612 w 9532"/>
                        <a:gd name="connsiteY69" fmla="*/ 3137 h 10433"/>
                        <a:gd name="connsiteX70" fmla="*/ 8493 w 9532"/>
                        <a:gd name="connsiteY70" fmla="*/ 2658 h 10433"/>
                        <a:gd name="connsiteX71" fmla="*/ 8313 w 9532"/>
                        <a:gd name="connsiteY71" fmla="*/ 2239 h 10433"/>
                        <a:gd name="connsiteX72" fmla="*/ 8074 w 9532"/>
                        <a:gd name="connsiteY72" fmla="*/ 1880 h 10433"/>
                        <a:gd name="connsiteX73" fmla="*/ 7775 w 9532"/>
                        <a:gd name="connsiteY73" fmla="*/ 1581 h 10433"/>
                        <a:gd name="connsiteX74" fmla="*/ 7596 w 9532"/>
                        <a:gd name="connsiteY74" fmla="*/ 1462 h 10433"/>
                        <a:gd name="connsiteX75" fmla="*/ 7416 w 9532"/>
                        <a:gd name="connsiteY75" fmla="*/ 1342 h 10433"/>
                        <a:gd name="connsiteX76" fmla="*/ 7237 w 9532"/>
                        <a:gd name="connsiteY76" fmla="*/ 1223 h 10433"/>
                        <a:gd name="connsiteX77" fmla="*/ 7057 w 9532"/>
                        <a:gd name="connsiteY77" fmla="*/ 1163 h 10433"/>
                        <a:gd name="connsiteX78" fmla="*/ 5622 w 9532"/>
                        <a:gd name="connsiteY78" fmla="*/ 1043 h 10433"/>
                        <a:gd name="connsiteX79" fmla="*/ 4127 w 9532"/>
                        <a:gd name="connsiteY79" fmla="*/ 1522 h 10433"/>
                        <a:gd name="connsiteX80" fmla="*/ 2751 w 9532"/>
                        <a:gd name="connsiteY80" fmla="*/ 2539 h 10433"/>
                        <a:gd name="connsiteX81" fmla="*/ 1675 w 9532"/>
                        <a:gd name="connsiteY81" fmla="*/ 4034 h 10433"/>
                        <a:gd name="connsiteX82" fmla="*/ 1136 w 9532"/>
                        <a:gd name="connsiteY82" fmla="*/ 5469 h 10433"/>
                        <a:gd name="connsiteX83" fmla="*/ 1017 w 9532"/>
                        <a:gd name="connsiteY83" fmla="*/ 6785 h 10433"/>
                        <a:gd name="connsiteX84" fmla="*/ 1316 w 9532"/>
                        <a:gd name="connsiteY84" fmla="*/ 7921 h 10433"/>
                        <a:gd name="connsiteX85" fmla="*/ 1974 w 9532"/>
                        <a:gd name="connsiteY85" fmla="*/ 8818 h 10433"/>
                        <a:gd name="connsiteX86" fmla="*/ 8313 w 9532"/>
                        <a:gd name="connsiteY86" fmla="*/ 744 h 10433"/>
                        <a:gd name="connsiteX87" fmla="*/ 9151 w 9532"/>
                        <a:gd name="connsiteY87" fmla="*/ 1821 h 10433"/>
                        <a:gd name="connsiteX88" fmla="*/ 9510 w 9532"/>
                        <a:gd name="connsiteY88" fmla="*/ 3196 h 10433"/>
                        <a:gd name="connsiteX89" fmla="*/ 9390 w 9532"/>
                        <a:gd name="connsiteY89" fmla="*/ 4811 h 10433"/>
                        <a:gd name="connsiteX90" fmla="*/ 8732 w 9532"/>
                        <a:gd name="connsiteY90" fmla="*/ 6486 h 10433"/>
                        <a:gd name="connsiteX91" fmla="*/ 8134 w 9532"/>
                        <a:gd name="connsiteY91" fmla="*/ 7443 h 10433"/>
                        <a:gd name="connsiteX92" fmla="*/ 7416 w 9532"/>
                        <a:gd name="connsiteY92" fmla="*/ 8280 h 10433"/>
                        <a:gd name="connsiteX93" fmla="*/ 6639 w 9532"/>
                        <a:gd name="connsiteY93" fmla="*/ 8998 h 10433"/>
                        <a:gd name="connsiteX94" fmla="*/ 5742 w 9532"/>
                        <a:gd name="connsiteY94" fmla="*/ 9596 h 10433"/>
                        <a:gd name="connsiteX95" fmla="*/ 4844 w 9532"/>
                        <a:gd name="connsiteY95" fmla="*/ 10015 h 10433"/>
                        <a:gd name="connsiteX96" fmla="*/ 3947 w 9532"/>
                        <a:gd name="connsiteY96" fmla="*/ 10254 h 10433"/>
                        <a:gd name="connsiteX97" fmla="*/ 3050 w 9532"/>
                        <a:gd name="connsiteY97" fmla="*/ 10254 h 10433"/>
                        <a:gd name="connsiteX98" fmla="*/ 2213 w 9532"/>
                        <a:gd name="connsiteY98" fmla="*/ 10074 h 10433"/>
                        <a:gd name="connsiteX99" fmla="*/ 1974 w 9532"/>
                        <a:gd name="connsiteY99" fmla="*/ 9955 h 10433"/>
                        <a:gd name="connsiteX100" fmla="*/ 1735 w 9532"/>
                        <a:gd name="connsiteY100" fmla="*/ 9835 h 10433"/>
                        <a:gd name="connsiteX101" fmla="*/ 1495 w 9532"/>
                        <a:gd name="connsiteY101" fmla="*/ 9715 h 10433"/>
                        <a:gd name="connsiteX102" fmla="*/ 1316 w 9532"/>
                        <a:gd name="connsiteY102" fmla="*/ 9536 h 10433"/>
                        <a:gd name="connsiteX103" fmla="*/ 479 w 9532"/>
                        <a:gd name="connsiteY103" fmla="*/ 8459 h 10433"/>
                        <a:gd name="connsiteX104" fmla="*/ 120 w 9532"/>
                        <a:gd name="connsiteY104" fmla="*/ 7084 h 10433"/>
                        <a:gd name="connsiteX105" fmla="*/ 239 w 9532"/>
                        <a:gd name="connsiteY105" fmla="*/ 5469 h 10433"/>
                        <a:gd name="connsiteX106" fmla="*/ 897 w 9532"/>
                        <a:gd name="connsiteY106" fmla="*/ 3734 h 10433"/>
                        <a:gd name="connsiteX107" fmla="*/ 2213 w 9532"/>
                        <a:gd name="connsiteY107" fmla="*/ 1940 h 10433"/>
                        <a:gd name="connsiteX108" fmla="*/ 3888 w 9532"/>
                        <a:gd name="connsiteY108" fmla="*/ 685 h 10433"/>
                        <a:gd name="connsiteX109" fmla="*/ 5682 w 9532"/>
                        <a:gd name="connsiteY109" fmla="*/ 86 h 10433"/>
                        <a:gd name="connsiteX110" fmla="*/ 7416 w 9532"/>
                        <a:gd name="connsiteY110" fmla="*/ 266 h 10433"/>
                        <a:gd name="connsiteX111" fmla="*/ 7656 w 9532"/>
                        <a:gd name="connsiteY111" fmla="*/ 385 h 10433"/>
                        <a:gd name="connsiteX112" fmla="*/ 7895 w 9532"/>
                        <a:gd name="connsiteY112" fmla="*/ 505 h 10433"/>
                        <a:gd name="connsiteX113" fmla="*/ 8134 w 9532"/>
                        <a:gd name="connsiteY113" fmla="*/ 625 h 10433"/>
                        <a:gd name="connsiteX114" fmla="*/ 8313 w 9532"/>
                        <a:gd name="connsiteY114" fmla="*/ 744 h 10433"/>
                        <a:gd name="connsiteX115" fmla="*/ 1256 w 9532"/>
                        <a:gd name="connsiteY115" fmla="*/ 9656 h 10433"/>
                        <a:gd name="connsiteX116" fmla="*/ 1495 w 9532"/>
                        <a:gd name="connsiteY116" fmla="*/ 9835 h 10433"/>
                        <a:gd name="connsiteX117" fmla="*/ 1735 w 9532"/>
                        <a:gd name="connsiteY117" fmla="*/ 9955 h 10433"/>
                        <a:gd name="connsiteX118" fmla="*/ 1974 w 9532"/>
                        <a:gd name="connsiteY118" fmla="*/ 10074 h 10433"/>
                        <a:gd name="connsiteX119" fmla="*/ 2213 w 9532"/>
                        <a:gd name="connsiteY119" fmla="*/ 10194 h 10433"/>
                        <a:gd name="connsiteX120" fmla="*/ 2811 w 9532"/>
                        <a:gd name="connsiteY120" fmla="*/ 10373 h 10433"/>
                        <a:gd name="connsiteX121" fmla="*/ 3409 w 9532"/>
                        <a:gd name="connsiteY121" fmla="*/ 10433 h 10433"/>
                        <a:gd name="connsiteX122" fmla="*/ 4067 w 9532"/>
                        <a:gd name="connsiteY122" fmla="*/ 10373 h 10433"/>
                        <a:gd name="connsiteX123" fmla="*/ 4725 w 9532"/>
                        <a:gd name="connsiteY123" fmla="*/ 10194 h 10433"/>
                        <a:gd name="connsiteX124" fmla="*/ 4964 w 9532"/>
                        <a:gd name="connsiteY124" fmla="*/ 10134 h 10433"/>
                        <a:gd name="connsiteX125" fmla="*/ 5203 w 9532"/>
                        <a:gd name="connsiteY125" fmla="*/ 10015 h 10433"/>
                        <a:gd name="connsiteX126" fmla="*/ 5443 w 9532"/>
                        <a:gd name="connsiteY126" fmla="*/ 9895 h 10433"/>
                        <a:gd name="connsiteX127" fmla="*/ 5682 w 9532"/>
                        <a:gd name="connsiteY127" fmla="*/ 9775 h 10433"/>
                        <a:gd name="connsiteX128" fmla="*/ 5682 w 9532"/>
                        <a:gd name="connsiteY128" fmla="*/ 9775 h 10433"/>
                        <a:gd name="connsiteX129" fmla="*/ 5682 w 9532"/>
                        <a:gd name="connsiteY129" fmla="*/ 9775 h 10433"/>
                        <a:gd name="connsiteX130" fmla="*/ 5682 w 9532"/>
                        <a:gd name="connsiteY130" fmla="*/ 9775 h 10433"/>
                        <a:gd name="connsiteX131" fmla="*/ 5682 w 9532"/>
                        <a:gd name="connsiteY131" fmla="*/ 9775 h 10433"/>
                        <a:gd name="connsiteX132" fmla="*/ 6579 w 9532"/>
                        <a:gd name="connsiteY132" fmla="*/ 9177 h 10433"/>
                        <a:gd name="connsiteX133" fmla="*/ 7416 w 9532"/>
                        <a:gd name="connsiteY133" fmla="*/ 8459 h 10433"/>
                        <a:gd name="connsiteX134" fmla="*/ 8134 w 9532"/>
                        <a:gd name="connsiteY134" fmla="*/ 7622 h 10433"/>
                        <a:gd name="connsiteX135" fmla="*/ 8732 w 9532"/>
                        <a:gd name="connsiteY135" fmla="*/ 6665 h 10433"/>
                        <a:gd name="connsiteX136" fmla="*/ 8792 w 9532"/>
                        <a:gd name="connsiteY136" fmla="*/ 6546 h 10433"/>
                        <a:gd name="connsiteX137" fmla="*/ 8852 w 9532"/>
                        <a:gd name="connsiteY137" fmla="*/ 6426 h 10433"/>
                        <a:gd name="connsiteX138" fmla="*/ 8911 w 9532"/>
                        <a:gd name="connsiteY138" fmla="*/ 6306 h 10433"/>
                        <a:gd name="connsiteX139" fmla="*/ 8971 w 9532"/>
                        <a:gd name="connsiteY139" fmla="*/ 6187 h 10433"/>
                        <a:gd name="connsiteX140" fmla="*/ 9091 w 9532"/>
                        <a:gd name="connsiteY140" fmla="*/ 5948 h 10433"/>
                        <a:gd name="connsiteX141" fmla="*/ 9151 w 9532"/>
                        <a:gd name="connsiteY141" fmla="*/ 5708 h 10433"/>
                        <a:gd name="connsiteX142" fmla="*/ 9211 w 9532"/>
                        <a:gd name="connsiteY142" fmla="*/ 5469 h 10433"/>
                        <a:gd name="connsiteX143" fmla="*/ 9270 w 9532"/>
                        <a:gd name="connsiteY143" fmla="*/ 5230 h 10433"/>
                        <a:gd name="connsiteX144" fmla="*/ 9510 w 9532"/>
                        <a:gd name="connsiteY144" fmla="*/ 3914 h 10433"/>
                        <a:gd name="connsiteX145" fmla="*/ 9390 w 9532"/>
                        <a:gd name="connsiteY145" fmla="*/ 2658 h 10433"/>
                        <a:gd name="connsiteX146" fmla="*/ 8971 w 9532"/>
                        <a:gd name="connsiteY146" fmla="*/ 1581 h 10433"/>
                        <a:gd name="connsiteX147" fmla="*/ 8253 w 9532"/>
                        <a:gd name="connsiteY147" fmla="*/ 744 h 10433"/>
                        <a:gd name="connsiteX148" fmla="*/ 8014 w 9532"/>
                        <a:gd name="connsiteY148" fmla="*/ 565 h 10433"/>
                        <a:gd name="connsiteX149" fmla="*/ 7775 w 9532"/>
                        <a:gd name="connsiteY149" fmla="*/ 445 h 10433"/>
                        <a:gd name="connsiteX150" fmla="*/ 7536 w 9532"/>
                        <a:gd name="connsiteY150" fmla="*/ 326 h 10433"/>
                        <a:gd name="connsiteX151" fmla="*/ 7297 w 9532"/>
                        <a:gd name="connsiteY151" fmla="*/ 206 h 10433"/>
                        <a:gd name="connsiteX152" fmla="*/ 6459 w 9532"/>
                        <a:gd name="connsiteY152" fmla="*/ 26 h 10433"/>
                        <a:gd name="connsiteX153" fmla="*/ 5562 w 9532"/>
                        <a:gd name="connsiteY153" fmla="*/ 26 h 10433"/>
                        <a:gd name="connsiteX154" fmla="*/ 4605 w 9532"/>
                        <a:gd name="connsiteY154" fmla="*/ 266 h 10433"/>
                        <a:gd name="connsiteX155" fmla="*/ 3648 w 9532"/>
                        <a:gd name="connsiteY155" fmla="*/ 685 h 10433"/>
                        <a:gd name="connsiteX156" fmla="*/ 2871 w 9532"/>
                        <a:gd name="connsiteY156" fmla="*/ 1163 h 10433"/>
                        <a:gd name="connsiteX157" fmla="*/ 2153 w 9532"/>
                        <a:gd name="connsiteY157" fmla="*/ 1761 h 10433"/>
                        <a:gd name="connsiteX158" fmla="*/ 1495 w 9532"/>
                        <a:gd name="connsiteY158" fmla="*/ 2479 h 10433"/>
                        <a:gd name="connsiteX159" fmla="*/ 957 w 9532"/>
                        <a:gd name="connsiteY159" fmla="*/ 3256 h 10433"/>
                        <a:gd name="connsiteX160" fmla="*/ 897 w 9532"/>
                        <a:gd name="connsiteY160" fmla="*/ 3376 h 10433"/>
                        <a:gd name="connsiteX161" fmla="*/ 837 w 9532"/>
                        <a:gd name="connsiteY161" fmla="*/ 3495 h 10433"/>
                        <a:gd name="connsiteX162" fmla="*/ 778 w 9532"/>
                        <a:gd name="connsiteY162" fmla="*/ 3615 h 10433"/>
                        <a:gd name="connsiteX163" fmla="*/ 718 w 9532"/>
                        <a:gd name="connsiteY163" fmla="*/ 3734 h 10433"/>
                        <a:gd name="connsiteX164" fmla="*/ 359 w 9532"/>
                        <a:gd name="connsiteY164" fmla="*/ 4572 h 10433"/>
                        <a:gd name="connsiteX165" fmla="*/ 120 w 9532"/>
                        <a:gd name="connsiteY165" fmla="*/ 5409 h 10433"/>
                        <a:gd name="connsiteX166" fmla="*/ 0 w 9532"/>
                        <a:gd name="connsiteY166" fmla="*/ 6247 h 10433"/>
                        <a:gd name="connsiteX167" fmla="*/ 0 w 9532"/>
                        <a:gd name="connsiteY167" fmla="*/ 7024 h 10433"/>
                        <a:gd name="connsiteX168" fmla="*/ 120 w 9532"/>
                        <a:gd name="connsiteY168" fmla="*/ 7802 h 10433"/>
                        <a:gd name="connsiteX169" fmla="*/ 359 w 9532"/>
                        <a:gd name="connsiteY169" fmla="*/ 8459 h 10433"/>
                        <a:gd name="connsiteX170" fmla="*/ 718 w 9532"/>
                        <a:gd name="connsiteY170" fmla="*/ 9057 h 10433"/>
                        <a:gd name="connsiteX171" fmla="*/ 1256 w 9532"/>
                        <a:gd name="connsiteY171" fmla="*/ 9656 h 10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532" h="10433">
                          <a:moveTo>
                            <a:pt x="5323" y="8878"/>
                          </a:moveTo>
                          <a:cubicBezTo>
                            <a:pt x="5084" y="8998"/>
                            <a:pt x="4904" y="9057"/>
                            <a:pt x="4665" y="9117"/>
                          </a:cubicBezTo>
                          <a:cubicBezTo>
                            <a:pt x="4426" y="9177"/>
                            <a:pt x="4246" y="9237"/>
                            <a:pt x="4007" y="9237"/>
                          </a:cubicBezTo>
                          <a:cubicBezTo>
                            <a:pt x="3768" y="9237"/>
                            <a:pt x="3589" y="9237"/>
                            <a:pt x="3349" y="9237"/>
                          </a:cubicBezTo>
                          <a:cubicBezTo>
                            <a:pt x="3170" y="9237"/>
                            <a:pt x="2930" y="9177"/>
                            <a:pt x="2751" y="9117"/>
                          </a:cubicBezTo>
                          <a:cubicBezTo>
                            <a:pt x="2691" y="9117"/>
                            <a:pt x="2632" y="9057"/>
                            <a:pt x="2572" y="9057"/>
                          </a:cubicBezTo>
                          <a:cubicBezTo>
                            <a:pt x="2512" y="9057"/>
                            <a:pt x="2452" y="8998"/>
                            <a:pt x="2392" y="8938"/>
                          </a:cubicBezTo>
                          <a:cubicBezTo>
                            <a:pt x="2333" y="8878"/>
                            <a:pt x="2273" y="8878"/>
                            <a:pt x="2213" y="8818"/>
                          </a:cubicBezTo>
                          <a:cubicBezTo>
                            <a:pt x="2153" y="8758"/>
                            <a:pt x="2093" y="8758"/>
                            <a:pt x="2034" y="8699"/>
                          </a:cubicBezTo>
                          <a:cubicBezTo>
                            <a:pt x="1794" y="8459"/>
                            <a:pt x="1555" y="8220"/>
                            <a:pt x="1376" y="7861"/>
                          </a:cubicBezTo>
                          <a:cubicBezTo>
                            <a:pt x="1196" y="7502"/>
                            <a:pt x="1136" y="7203"/>
                            <a:pt x="1076" y="6785"/>
                          </a:cubicBezTo>
                          <a:cubicBezTo>
                            <a:pt x="1017" y="6426"/>
                            <a:pt x="1076" y="6007"/>
                            <a:pt x="1136" y="5529"/>
                          </a:cubicBezTo>
                          <a:cubicBezTo>
                            <a:pt x="1196" y="5110"/>
                            <a:pt x="1376" y="4692"/>
                            <a:pt x="1555" y="4213"/>
                          </a:cubicBezTo>
                          <a:cubicBezTo>
                            <a:pt x="1555" y="4213"/>
                            <a:pt x="1555" y="4153"/>
                            <a:pt x="1555" y="4153"/>
                          </a:cubicBezTo>
                          <a:cubicBezTo>
                            <a:pt x="1555" y="4153"/>
                            <a:pt x="1555" y="4094"/>
                            <a:pt x="1555" y="4094"/>
                          </a:cubicBezTo>
                          <a:cubicBezTo>
                            <a:pt x="1555" y="4094"/>
                            <a:pt x="1555" y="4034"/>
                            <a:pt x="1615" y="4034"/>
                          </a:cubicBezTo>
                          <a:cubicBezTo>
                            <a:pt x="1675" y="4034"/>
                            <a:pt x="1615" y="3974"/>
                            <a:pt x="1675" y="3974"/>
                          </a:cubicBezTo>
                          <a:cubicBezTo>
                            <a:pt x="1675" y="3914"/>
                            <a:pt x="1735" y="3854"/>
                            <a:pt x="1794" y="3794"/>
                          </a:cubicBezTo>
                          <a:cubicBezTo>
                            <a:pt x="1854" y="3734"/>
                            <a:pt x="1854" y="3675"/>
                            <a:pt x="1914" y="3615"/>
                          </a:cubicBezTo>
                          <a:cubicBezTo>
                            <a:pt x="1974" y="3555"/>
                            <a:pt x="1974" y="3495"/>
                            <a:pt x="2034" y="3435"/>
                          </a:cubicBezTo>
                          <a:cubicBezTo>
                            <a:pt x="2093" y="3376"/>
                            <a:pt x="2093" y="3316"/>
                            <a:pt x="2153" y="3256"/>
                          </a:cubicBezTo>
                          <a:cubicBezTo>
                            <a:pt x="2273" y="3077"/>
                            <a:pt x="2452" y="2897"/>
                            <a:pt x="2572" y="2718"/>
                          </a:cubicBezTo>
                          <a:cubicBezTo>
                            <a:pt x="2751" y="2539"/>
                            <a:pt x="2871" y="2359"/>
                            <a:pt x="3050" y="2239"/>
                          </a:cubicBezTo>
                          <a:cubicBezTo>
                            <a:pt x="3230" y="2060"/>
                            <a:pt x="3409" y="1940"/>
                            <a:pt x="3589" y="1821"/>
                          </a:cubicBezTo>
                          <a:cubicBezTo>
                            <a:pt x="3768" y="1701"/>
                            <a:pt x="3947" y="1581"/>
                            <a:pt x="4127" y="1462"/>
                          </a:cubicBezTo>
                          <a:cubicBezTo>
                            <a:pt x="4366" y="1342"/>
                            <a:pt x="4605" y="1223"/>
                            <a:pt x="4844" y="1103"/>
                          </a:cubicBezTo>
                          <a:cubicBezTo>
                            <a:pt x="5084" y="1043"/>
                            <a:pt x="5323" y="984"/>
                            <a:pt x="5562" y="924"/>
                          </a:cubicBezTo>
                          <a:cubicBezTo>
                            <a:pt x="5801" y="864"/>
                            <a:pt x="6041" y="864"/>
                            <a:pt x="6280" y="924"/>
                          </a:cubicBezTo>
                          <a:cubicBezTo>
                            <a:pt x="6519" y="984"/>
                            <a:pt x="6698" y="984"/>
                            <a:pt x="6938" y="1043"/>
                          </a:cubicBezTo>
                          <a:cubicBezTo>
                            <a:pt x="6998" y="1043"/>
                            <a:pt x="7057" y="1103"/>
                            <a:pt x="7117" y="1103"/>
                          </a:cubicBezTo>
                          <a:cubicBezTo>
                            <a:pt x="7177" y="1103"/>
                            <a:pt x="7237" y="1163"/>
                            <a:pt x="7297" y="1223"/>
                          </a:cubicBezTo>
                          <a:cubicBezTo>
                            <a:pt x="7357" y="1283"/>
                            <a:pt x="7416" y="1283"/>
                            <a:pt x="7476" y="1342"/>
                          </a:cubicBezTo>
                          <a:cubicBezTo>
                            <a:pt x="7536" y="1402"/>
                            <a:pt x="7596" y="1402"/>
                            <a:pt x="7656" y="1462"/>
                          </a:cubicBezTo>
                          <a:cubicBezTo>
                            <a:pt x="7835" y="1641"/>
                            <a:pt x="8014" y="1821"/>
                            <a:pt x="8194" y="2060"/>
                          </a:cubicBezTo>
                          <a:cubicBezTo>
                            <a:pt x="8313" y="2299"/>
                            <a:pt x="8433" y="2539"/>
                            <a:pt x="8493" y="2838"/>
                          </a:cubicBezTo>
                          <a:cubicBezTo>
                            <a:pt x="8552" y="3137"/>
                            <a:pt x="8612" y="3435"/>
                            <a:pt x="8612" y="3734"/>
                          </a:cubicBezTo>
                          <a:cubicBezTo>
                            <a:pt x="8612" y="4034"/>
                            <a:pt x="8552" y="4393"/>
                            <a:pt x="8493" y="4692"/>
                          </a:cubicBezTo>
                          <a:cubicBezTo>
                            <a:pt x="8493" y="4751"/>
                            <a:pt x="8433" y="4871"/>
                            <a:pt x="8433" y="4931"/>
                          </a:cubicBezTo>
                          <a:cubicBezTo>
                            <a:pt x="8433" y="4991"/>
                            <a:pt x="8373" y="5110"/>
                            <a:pt x="8373" y="5170"/>
                          </a:cubicBezTo>
                          <a:cubicBezTo>
                            <a:pt x="8373" y="5230"/>
                            <a:pt x="8313" y="5349"/>
                            <a:pt x="8313" y="5409"/>
                          </a:cubicBezTo>
                          <a:cubicBezTo>
                            <a:pt x="8313" y="5469"/>
                            <a:pt x="8253" y="5589"/>
                            <a:pt x="8194" y="5648"/>
                          </a:cubicBezTo>
                          <a:cubicBezTo>
                            <a:pt x="8194" y="5708"/>
                            <a:pt x="8134" y="5708"/>
                            <a:pt x="8134" y="5768"/>
                          </a:cubicBezTo>
                          <a:cubicBezTo>
                            <a:pt x="8134" y="5828"/>
                            <a:pt x="8074" y="5828"/>
                            <a:pt x="8074" y="5888"/>
                          </a:cubicBezTo>
                          <a:cubicBezTo>
                            <a:pt x="8074" y="5948"/>
                            <a:pt x="8014" y="5948"/>
                            <a:pt x="8014" y="6007"/>
                          </a:cubicBezTo>
                          <a:cubicBezTo>
                            <a:pt x="8014" y="6067"/>
                            <a:pt x="7954" y="6067"/>
                            <a:pt x="7954" y="6127"/>
                          </a:cubicBezTo>
                          <a:cubicBezTo>
                            <a:pt x="7835" y="6306"/>
                            <a:pt x="7775" y="6486"/>
                            <a:pt x="7656" y="6665"/>
                          </a:cubicBezTo>
                          <a:cubicBezTo>
                            <a:pt x="7536" y="6845"/>
                            <a:pt x="7416" y="7024"/>
                            <a:pt x="7297" y="7144"/>
                          </a:cubicBezTo>
                          <a:cubicBezTo>
                            <a:pt x="7177" y="7323"/>
                            <a:pt x="7057" y="7443"/>
                            <a:pt x="6878" y="7562"/>
                          </a:cubicBezTo>
                          <a:cubicBezTo>
                            <a:pt x="6698" y="7682"/>
                            <a:pt x="6579" y="7861"/>
                            <a:pt x="6459" y="7981"/>
                          </a:cubicBezTo>
                          <a:cubicBezTo>
                            <a:pt x="6399" y="8041"/>
                            <a:pt x="6340" y="8101"/>
                            <a:pt x="6220" y="8161"/>
                          </a:cubicBezTo>
                          <a:cubicBezTo>
                            <a:pt x="6100" y="8220"/>
                            <a:pt x="6100" y="8280"/>
                            <a:pt x="5981" y="8340"/>
                          </a:cubicBezTo>
                          <a:cubicBezTo>
                            <a:pt x="5921" y="8400"/>
                            <a:pt x="5801" y="8459"/>
                            <a:pt x="5742" y="8519"/>
                          </a:cubicBezTo>
                          <a:cubicBezTo>
                            <a:pt x="5682" y="8579"/>
                            <a:pt x="5562" y="8639"/>
                            <a:pt x="5503" y="8639"/>
                          </a:cubicBezTo>
                          <a:cubicBezTo>
                            <a:pt x="5503" y="8639"/>
                            <a:pt x="5443" y="8639"/>
                            <a:pt x="5443" y="8699"/>
                          </a:cubicBezTo>
                          <a:cubicBezTo>
                            <a:pt x="5443" y="8699"/>
                            <a:pt x="5383" y="8699"/>
                            <a:pt x="5383" y="8758"/>
                          </a:cubicBezTo>
                          <a:cubicBezTo>
                            <a:pt x="5383" y="8758"/>
                            <a:pt x="5323" y="8758"/>
                            <a:pt x="5323" y="8818"/>
                          </a:cubicBezTo>
                          <a:cubicBezTo>
                            <a:pt x="5323" y="8818"/>
                            <a:pt x="5323" y="8878"/>
                            <a:pt x="5323" y="8878"/>
                          </a:cubicBezTo>
                          <a:moveTo>
                            <a:pt x="1974" y="8818"/>
                          </a:moveTo>
                          <a:cubicBezTo>
                            <a:pt x="2034" y="8878"/>
                            <a:pt x="2093" y="8878"/>
                            <a:pt x="2153" y="8938"/>
                          </a:cubicBezTo>
                          <a:cubicBezTo>
                            <a:pt x="2213" y="8998"/>
                            <a:pt x="2273" y="8998"/>
                            <a:pt x="2333" y="9057"/>
                          </a:cubicBezTo>
                          <a:cubicBezTo>
                            <a:pt x="2392" y="9117"/>
                            <a:pt x="2452" y="9117"/>
                            <a:pt x="2512" y="9177"/>
                          </a:cubicBezTo>
                          <a:cubicBezTo>
                            <a:pt x="2572" y="9177"/>
                            <a:pt x="2632" y="9237"/>
                            <a:pt x="2691" y="9237"/>
                          </a:cubicBezTo>
                          <a:cubicBezTo>
                            <a:pt x="3110" y="9416"/>
                            <a:pt x="3589" y="9416"/>
                            <a:pt x="4067" y="9356"/>
                          </a:cubicBezTo>
                          <a:cubicBezTo>
                            <a:pt x="4545" y="9297"/>
                            <a:pt x="5084" y="9117"/>
                            <a:pt x="5562" y="8878"/>
                          </a:cubicBezTo>
                          <a:cubicBezTo>
                            <a:pt x="6041" y="8639"/>
                            <a:pt x="6519" y="8280"/>
                            <a:pt x="6938" y="7861"/>
                          </a:cubicBezTo>
                          <a:cubicBezTo>
                            <a:pt x="7357" y="7443"/>
                            <a:pt x="7715" y="6904"/>
                            <a:pt x="8014" y="6366"/>
                          </a:cubicBezTo>
                          <a:cubicBezTo>
                            <a:pt x="8134" y="6127"/>
                            <a:pt x="8253" y="5828"/>
                            <a:pt x="8373" y="5529"/>
                          </a:cubicBezTo>
                          <a:cubicBezTo>
                            <a:pt x="8493" y="5230"/>
                            <a:pt x="8552" y="4991"/>
                            <a:pt x="8612" y="4692"/>
                          </a:cubicBezTo>
                          <a:cubicBezTo>
                            <a:pt x="8672" y="4393"/>
                            <a:pt x="8672" y="4153"/>
                            <a:pt x="8672" y="3914"/>
                          </a:cubicBezTo>
                          <a:cubicBezTo>
                            <a:pt x="8672" y="3675"/>
                            <a:pt x="8672" y="3376"/>
                            <a:pt x="8612" y="3137"/>
                          </a:cubicBezTo>
                          <a:cubicBezTo>
                            <a:pt x="8552" y="2957"/>
                            <a:pt x="8552" y="2838"/>
                            <a:pt x="8493" y="2658"/>
                          </a:cubicBezTo>
                          <a:cubicBezTo>
                            <a:pt x="8433" y="2539"/>
                            <a:pt x="8373" y="2359"/>
                            <a:pt x="8313" y="2239"/>
                          </a:cubicBezTo>
                          <a:cubicBezTo>
                            <a:pt x="8253" y="2120"/>
                            <a:pt x="8134" y="2000"/>
                            <a:pt x="8074" y="1880"/>
                          </a:cubicBezTo>
                          <a:cubicBezTo>
                            <a:pt x="7954" y="1761"/>
                            <a:pt x="7895" y="1641"/>
                            <a:pt x="7775" y="1581"/>
                          </a:cubicBezTo>
                          <a:cubicBezTo>
                            <a:pt x="7715" y="1522"/>
                            <a:pt x="7656" y="1522"/>
                            <a:pt x="7596" y="1462"/>
                          </a:cubicBezTo>
                          <a:cubicBezTo>
                            <a:pt x="7536" y="1402"/>
                            <a:pt x="7476" y="1402"/>
                            <a:pt x="7416" y="1342"/>
                          </a:cubicBezTo>
                          <a:cubicBezTo>
                            <a:pt x="7357" y="1283"/>
                            <a:pt x="7297" y="1283"/>
                            <a:pt x="7237" y="1223"/>
                          </a:cubicBezTo>
                          <a:cubicBezTo>
                            <a:pt x="7177" y="1163"/>
                            <a:pt x="7117" y="1163"/>
                            <a:pt x="7057" y="1163"/>
                          </a:cubicBezTo>
                          <a:cubicBezTo>
                            <a:pt x="6639" y="984"/>
                            <a:pt x="6160" y="984"/>
                            <a:pt x="5622" y="1043"/>
                          </a:cubicBezTo>
                          <a:cubicBezTo>
                            <a:pt x="5143" y="1103"/>
                            <a:pt x="4605" y="1283"/>
                            <a:pt x="4127" y="1522"/>
                          </a:cubicBezTo>
                          <a:cubicBezTo>
                            <a:pt x="3648" y="1761"/>
                            <a:pt x="3170" y="2120"/>
                            <a:pt x="2751" y="2539"/>
                          </a:cubicBezTo>
                          <a:cubicBezTo>
                            <a:pt x="2333" y="2957"/>
                            <a:pt x="1974" y="3435"/>
                            <a:pt x="1675" y="4034"/>
                          </a:cubicBezTo>
                          <a:cubicBezTo>
                            <a:pt x="1435" y="4512"/>
                            <a:pt x="1256" y="4991"/>
                            <a:pt x="1136" y="5469"/>
                          </a:cubicBezTo>
                          <a:cubicBezTo>
                            <a:pt x="1017" y="5948"/>
                            <a:pt x="1017" y="6366"/>
                            <a:pt x="1017" y="6785"/>
                          </a:cubicBezTo>
                          <a:cubicBezTo>
                            <a:pt x="1017" y="7203"/>
                            <a:pt x="1136" y="7622"/>
                            <a:pt x="1316" y="7921"/>
                          </a:cubicBezTo>
                          <a:cubicBezTo>
                            <a:pt x="1495" y="8280"/>
                            <a:pt x="1675" y="8579"/>
                            <a:pt x="1974" y="8818"/>
                          </a:cubicBezTo>
                          <a:moveTo>
                            <a:pt x="8313" y="744"/>
                          </a:moveTo>
                          <a:cubicBezTo>
                            <a:pt x="8672" y="1043"/>
                            <a:pt x="8911" y="1402"/>
                            <a:pt x="9151" y="1821"/>
                          </a:cubicBezTo>
                          <a:cubicBezTo>
                            <a:pt x="9390" y="2239"/>
                            <a:pt x="9450" y="2718"/>
                            <a:pt x="9510" y="3196"/>
                          </a:cubicBezTo>
                          <a:cubicBezTo>
                            <a:pt x="9569" y="3675"/>
                            <a:pt x="9510" y="4273"/>
                            <a:pt x="9390" y="4811"/>
                          </a:cubicBezTo>
                          <a:cubicBezTo>
                            <a:pt x="9270" y="5349"/>
                            <a:pt x="9031" y="5948"/>
                            <a:pt x="8732" y="6486"/>
                          </a:cubicBezTo>
                          <a:cubicBezTo>
                            <a:pt x="8552" y="6845"/>
                            <a:pt x="8373" y="7144"/>
                            <a:pt x="8134" y="7443"/>
                          </a:cubicBezTo>
                          <a:cubicBezTo>
                            <a:pt x="7895" y="7742"/>
                            <a:pt x="7715" y="8041"/>
                            <a:pt x="7416" y="8280"/>
                          </a:cubicBezTo>
                          <a:cubicBezTo>
                            <a:pt x="7177" y="8519"/>
                            <a:pt x="6878" y="8758"/>
                            <a:pt x="6639" y="8998"/>
                          </a:cubicBezTo>
                          <a:cubicBezTo>
                            <a:pt x="6340" y="9237"/>
                            <a:pt x="6041" y="9416"/>
                            <a:pt x="5742" y="9596"/>
                          </a:cubicBezTo>
                          <a:cubicBezTo>
                            <a:pt x="5443" y="9775"/>
                            <a:pt x="5143" y="9895"/>
                            <a:pt x="4844" y="10015"/>
                          </a:cubicBezTo>
                          <a:cubicBezTo>
                            <a:pt x="4545" y="10134"/>
                            <a:pt x="4246" y="10194"/>
                            <a:pt x="3947" y="10254"/>
                          </a:cubicBezTo>
                          <a:cubicBezTo>
                            <a:pt x="3648" y="10313"/>
                            <a:pt x="3349" y="10313"/>
                            <a:pt x="3050" y="10254"/>
                          </a:cubicBezTo>
                          <a:cubicBezTo>
                            <a:pt x="2751" y="10254"/>
                            <a:pt x="2512" y="10194"/>
                            <a:pt x="2213" y="10074"/>
                          </a:cubicBezTo>
                          <a:cubicBezTo>
                            <a:pt x="2153" y="10015"/>
                            <a:pt x="2034" y="10015"/>
                            <a:pt x="1974" y="9955"/>
                          </a:cubicBezTo>
                          <a:cubicBezTo>
                            <a:pt x="1914" y="9895"/>
                            <a:pt x="1794" y="9895"/>
                            <a:pt x="1735" y="9835"/>
                          </a:cubicBezTo>
                          <a:cubicBezTo>
                            <a:pt x="1675" y="9775"/>
                            <a:pt x="1615" y="9775"/>
                            <a:pt x="1495" y="9715"/>
                          </a:cubicBezTo>
                          <a:cubicBezTo>
                            <a:pt x="1435" y="9656"/>
                            <a:pt x="1376" y="9596"/>
                            <a:pt x="1316" y="9536"/>
                          </a:cubicBezTo>
                          <a:cubicBezTo>
                            <a:pt x="957" y="9237"/>
                            <a:pt x="718" y="8878"/>
                            <a:pt x="479" y="8459"/>
                          </a:cubicBezTo>
                          <a:cubicBezTo>
                            <a:pt x="299" y="8041"/>
                            <a:pt x="180" y="7562"/>
                            <a:pt x="120" y="7084"/>
                          </a:cubicBezTo>
                          <a:cubicBezTo>
                            <a:pt x="60" y="6546"/>
                            <a:pt x="120" y="6007"/>
                            <a:pt x="239" y="5469"/>
                          </a:cubicBezTo>
                          <a:cubicBezTo>
                            <a:pt x="359" y="4931"/>
                            <a:pt x="598" y="4333"/>
                            <a:pt x="897" y="3734"/>
                          </a:cubicBezTo>
                          <a:cubicBezTo>
                            <a:pt x="1256" y="3077"/>
                            <a:pt x="1735" y="2419"/>
                            <a:pt x="2213" y="1940"/>
                          </a:cubicBezTo>
                          <a:cubicBezTo>
                            <a:pt x="2751" y="1402"/>
                            <a:pt x="3289" y="984"/>
                            <a:pt x="3888" y="685"/>
                          </a:cubicBezTo>
                          <a:cubicBezTo>
                            <a:pt x="4486" y="385"/>
                            <a:pt x="5084" y="146"/>
                            <a:pt x="5682" y="86"/>
                          </a:cubicBezTo>
                          <a:cubicBezTo>
                            <a:pt x="6280" y="26"/>
                            <a:pt x="6878" y="26"/>
                            <a:pt x="7416" y="266"/>
                          </a:cubicBezTo>
                          <a:cubicBezTo>
                            <a:pt x="7536" y="266"/>
                            <a:pt x="7596" y="326"/>
                            <a:pt x="7656" y="385"/>
                          </a:cubicBezTo>
                          <a:cubicBezTo>
                            <a:pt x="7715" y="445"/>
                            <a:pt x="7835" y="445"/>
                            <a:pt x="7895" y="505"/>
                          </a:cubicBezTo>
                          <a:cubicBezTo>
                            <a:pt x="7954" y="565"/>
                            <a:pt x="8014" y="565"/>
                            <a:pt x="8134" y="625"/>
                          </a:cubicBezTo>
                          <a:cubicBezTo>
                            <a:pt x="8253" y="685"/>
                            <a:pt x="8253" y="685"/>
                            <a:pt x="8313" y="744"/>
                          </a:cubicBezTo>
                          <a:moveTo>
                            <a:pt x="1256" y="9656"/>
                          </a:moveTo>
                          <a:cubicBezTo>
                            <a:pt x="1316" y="9715"/>
                            <a:pt x="1376" y="9775"/>
                            <a:pt x="1495" y="9835"/>
                          </a:cubicBezTo>
                          <a:cubicBezTo>
                            <a:pt x="1615" y="9895"/>
                            <a:pt x="1615" y="9955"/>
                            <a:pt x="1735" y="9955"/>
                          </a:cubicBezTo>
                          <a:cubicBezTo>
                            <a:pt x="1794" y="10015"/>
                            <a:pt x="1914" y="10015"/>
                            <a:pt x="1974" y="10074"/>
                          </a:cubicBezTo>
                          <a:cubicBezTo>
                            <a:pt x="2034" y="10134"/>
                            <a:pt x="2153" y="10134"/>
                            <a:pt x="2213" y="10194"/>
                          </a:cubicBezTo>
                          <a:cubicBezTo>
                            <a:pt x="2392" y="10254"/>
                            <a:pt x="2632" y="10313"/>
                            <a:pt x="2811" y="10373"/>
                          </a:cubicBezTo>
                          <a:cubicBezTo>
                            <a:pt x="2990" y="10433"/>
                            <a:pt x="3230" y="10433"/>
                            <a:pt x="3409" y="10433"/>
                          </a:cubicBezTo>
                          <a:cubicBezTo>
                            <a:pt x="3589" y="10433"/>
                            <a:pt x="3828" y="10433"/>
                            <a:pt x="4067" y="10373"/>
                          </a:cubicBezTo>
                          <a:cubicBezTo>
                            <a:pt x="4306" y="10313"/>
                            <a:pt x="4486" y="10313"/>
                            <a:pt x="4725" y="10194"/>
                          </a:cubicBezTo>
                          <a:cubicBezTo>
                            <a:pt x="4785" y="10194"/>
                            <a:pt x="4904" y="10134"/>
                            <a:pt x="4964" y="10134"/>
                          </a:cubicBezTo>
                          <a:cubicBezTo>
                            <a:pt x="5024" y="10074"/>
                            <a:pt x="5143" y="10074"/>
                            <a:pt x="5203" y="10015"/>
                          </a:cubicBezTo>
                          <a:cubicBezTo>
                            <a:pt x="5263" y="9955"/>
                            <a:pt x="5383" y="9955"/>
                            <a:pt x="5443" y="9895"/>
                          </a:cubicBezTo>
                          <a:cubicBezTo>
                            <a:pt x="5503" y="9835"/>
                            <a:pt x="5622" y="9835"/>
                            <a:pt x="5682" y="9775"/>
                          </a:cubicBezTo>
                          <a:cubicBezTo>
                            <a:pt x="5682" y="9775"/>
                            <a:pt x="5682" y="9775"/>
                            <a:pt x="5682" y="9775"/>
                          </a:cubicBezTo>
                          <a:cubicBezTo>
                            <a:pt x="5682" y="9775"/>
                            <a:pt x="5682" y="9775"/>
                            <a:pt x="5682" y="9775"/>
                          </a:cubicBezTo>
                          <a:cubicBezTo>
                            <a:pt x="5682" y="9775"/>
                            <a:pt x="5682" y="9775"/>
                            <a:pt x="5682" y="9775"/>
                          </a:cubicBezTo>
                          <a:cubicBezTo>
                            <a:pt x="5682" y="9775"/>
                            <a:pt x="5682" y="9775"/>
                            <a:pt x="5682" y="9775"/>
                          </a:cubicBezTo>
                          <a:cubicBezTo>
                            <a:pt x="5981" y="9596"/>
                            <a:pt x="6280" y="9416"/>
                            <a:pt x="6579" y="9177"/>
                          </a:cubicBezTo>
                          <a:cubicBezTo>
                            <a:pt x="6878" y="8938"/>
                            <a:pt x="7117" y="8699"/>
                            <a:pt x="7416" y="8459"/>
                          </a:cubicBezTo>
                          <a:cubicBezTo>
                            <a:pt x="7656" y="8220"/>
                            <a:pt x="7895" y="7921"/>
                            <a:pt x="8134" y="7622"/>
                          </a:cubicBezTo>
                          <a:cubicBezTo>
                            <a:pt x="8373" y="7323"/>
                            <a:pt x="8552" y="7024"/>
                            <a:pt x="8732" y="6665"/>
                          </a:cubicBezTo>
                          <a:cubicBezTo>
                            <a:pt x="8732" y="6605"/>
                            <a:pt x="8792" y="6546"/>
                            <a:pt x="8792" y="6546"/>
                          </a:cubicBezTo>
                          <a:cubicBezTo>
                            <a:pt x="8792" y="6486"/>
                            <a:pt x="8852" y="6426"/>
                            <a:pt x="8852" y="6426"/>
                          </a:cubicBezTo>
                          <a:cubicBezTo>
                            <a:pt x="8852" y="6366"/>
                            <a:pt x="8911" y="6306"/>
                            <a:pt x="8911" y="6306"/>
                          </a:cubicBezTo>
                          <a:cubicBezTo>
                            <a:pt x="8911" y="6247"/>
                            <a:pt x="8971" y="6187"/>
                            <a:pt x="8971" y="6187"/>
                          </a:cubicBezTo>
                          <a:cubicBezTo>
                            <a:pt x="9031" y="6127"/>
                            <a:pt x="9031" y="6007"/>
                            <a:pt x="9091" y="5948"/>
                          </a:cubicBezTo>
                          <a:cubicBezTo>
                            <a:pt x="9151" y="5888"/>
                            <a:pt x="9151" y="5768"/>
                            <a:pt x="9151" y="5708"/>
                          </a:cubicBezTo>
                          <a:cubicBezTo>
                            <a:pt x="9151" y="5648"/>
                            <a:pt x="9211" y="5529"/>
                            <a:pt x="9211" y="5469"/>
                          </a:cubicBezTo>
                          <a:cubicBezTo>
                            <a:pt x="9211" y="5409"/>
                            <a:pt x="9270" y="5290"/>
                            <a:pt x="9270" y="5230"/>
                          </a:cubicBezTo>
                          <a:cubicBezTo>
                            <a:pt x="9390" y="4751"/>
                            <a:pt x="9450" y="4333"/>
                            <a:pt x="9510" y="3914"/>
                          </a:cubicBezTo>
                          <a:cubicBezTo>
                            <a:pt x="9510" y="3495"/>
                            <a:pt x="9510" y="3077"/>
                            <a:pt x="9390" y="2658"/>
                          </a:cubicBezTo>
                          <a:cubicBezTo>
                            <a:pt x="9330" y="2299"/>
                            <a:pt x="9151" y="1940"/>
                            <a:pt x="8971" y="1581"/>
                          </a:cubicBezTo>
                          <a:cubicBezTo>
                            <a:pt x="8792" y="1283"/>
                            <a:pt x="8552" y="984"/>
                            <a:pt x="8253" y="744"/>
                          </a:cubicBezTo>
                          <a:cubicBezTo>
                            <a:pt x="8194" y="685"/>
                            <a:pt x="8134" y="625"/>
                            <a:pt x="8014" y="565"/>
                          </a:cubicBezTo>
                          <a:cubicBezTo>
                            <a:pt x="7895" y="505"/>
                            <a:pt x="7895" y="445"/>
                            <a:pt x="7775" y="445"/>
                          </a:cubicBezTo>
                          <a:cubicBezTo>
                            <a:pt x="7715" y="385"/>
                            <a:pt x="7596" y="385"/>
                            <a:pt x="7536" y="326"/>
                          </a:cubicBezTo>
                          <a:cubicBezTo>
                            <a:pt x="7476" y="266"/>
                            <a:pt x="7357" y="266"/>
                            <a:pt x="7297" y="206"/>
                          </a:cubicBezTo>
                          <a:cubicBezTo>
                            <a:pt x="7057" y="146"/>
                            <a:pt x="6758" y="86"/>
                            <a:pt x="6459" y="26"/>
                          </a:cubicBezTo>
                          <a:cubicBezTo>
                            <a:pt x="6160" y="-33"/>
                            <a:pt x="5861" y="26"/>
                            <a:pt x="5562" y="26"/>
                          </a:cubicBezTo>
                          <a:cubicBezTo>
                            <a:pt x="5263" y="26"/>
                            <a:pt x="4964" y="146"/>
                            <a:pt x="4605" y="266"/>
                          </a:cubicBezTo>
                          <a:cubicBezTo>
                            <a:pt x="4306" y="385"/>
                            <a:pt x="4007" y="505"/>
                            <a:pt x="3648" y="685"/>
                          </a:cubicBezTo>
                          <a:cubicBezTo>
                            <a:pt x="3409" y="804"/>
                            <a:pt x="3110" y="984"/>
                            <a:pt x="2871" y="1163"/>
                          </a:cubicBezTo>
                          <a:cubicBezTo>
                            <a:pt x="2632" y="1342"/>
                            <a:pt x="2392" y="1522"/>
                            <a:pt x="2153" y="1761"/>
                          </a:cubicBezTo>
                          <a:cubicBezTo>
                            <a:pt x="1914" y="2000"/>
                            <a:pt x="1735" y="2239"/>
                            <a:pt x="1495" y="2479"/>
                          </a:cubicBezTo>
                          <a:cubicBezTo>
                            <a:pt x="1316" y="2718"/>
                            <a:pt x="1076" y="3017"/>
                            <a:pt x="957" y="3256"/>
                          </a:cubicBezTo>
                          <a:cubicBezTo>
                            <a:pt x="897" y="3316"/>
                            <a:pt x="897" y="3376"/>
                            <a:pt x="897" y="3376"/>
                          </a:cubicBezTo>
                          <a:cubicBezTo>
                            <a:pt x="897" y="3435"/>
                            <a:pt x="837" y="3495"/>
                            <a:pt x="837" y="3495"/>
                          </a:cubicBezTo>
                          <a:cubicBezTo>
                            <a:pt x="837" y="3555"/>
                            <a:pt x="778" y="3615"/>
                            <a:pt x="778" y="3615"/>
                          </a:cubicBezTo>
                          <a:cubicBezTo>
                            <a:pt x="778" y="3675"/>
                            <a:pt x="718" y="3734"/>
                            <a:pt x="718" y="3734"/>
                          </a:cubicBezTo>
                          <a:cubicBezTo>
                            <a:pt x="598" y="4034"/>
                            <a:pt x="419" y="4333"/>
                            <a:pt x="359" y="4572"/>
                          </a:cubicBezTo>
                          <a:cubicBezTo>
                            <a:pt x="239" y="4871"/>
                            <a:pt x="180" y="5170"/>
                            <a:pt x="120" y="5409"/>
                          </a:cubicBezTo>
                          <a:cubicBezTo>
                            <a:pt x="60" y="5648"/>
                            <a:pt x="0" y="5948"/>
                            <a:pt x="0" y="6247"/>
                          </a:cubicBezTo>
                          <a:cubicBezTo>
                            <a:pt x="0" y="6546"/>
                            <a:pt x="0" y="6785"/>
                            <a:pt x="0" y="7024"/>
                          </a:cubicBezTo>
                          <a:cubicBezTo>
                            <a:pt x="0" y="7263"/>
                            <a:pt x="60" y="7562"/>
                            <a:pt x="120" y="7802"/>
                          </a:cubicBezTo>
                          <a:cubicBezTo>
                            <a:pt x="180" y="8041"/>
                            <a:pt x="239" y="8280"/>
                            <a:pt x="359" y="8459"/>
                          </a:cubicBezTo>
                          <a:cubicBezTo>
                            <a:pt x="479" y="8699"/>
                            <a:pt x="598" y="8878"/>
                            <a:pt x="718" y="9057"/>
                          </a:cubicBezTo>
                          <a:cubicBezTo>
                            <a:pt x="957" y="9356"/>
                            <a:pt x="1076" y="9536"/>
                            <a:pt x="1256" y="9656"/>
                          </a:cubicBezTo>
                        </a:path>
                      </a:pathLst>
                    </a:custGeom>
                    <a:noFill/>
                    <a:ln w="6350" cap="flat">
                      <a:solidFill>
                        <a:schemeClr val="bg1">
                          <a:alpha val="80000"/>
                        </a:schemeClr>
                      </a:solidFill>
                      <a:prstDash val="solid"/>
                      <a:miter/>
                    </a:ln>
                  </p:spPr>
                  <p:txBody>
                    <a:bodyPr rtlCol="0" anchor="ctr"/>
                    <a:lstStyle/>
                    <a:p>
                      <a:endParaRPr lang="en-GB"/>
                    </a:p>
                  </p:txBody>
                </p:sp>
                <p:sp>
                  <p:nvSpPr>
                    <p:cNvPr id="7407" name="Vrije vorm: vorm 7406">
                      <a:extLst>
                        <a:ext uri="{FF2B5EF4-FFF2-40B4-BE49-F238E27FC236}">
                          <a16:creationId xmlns:a16="http://schemas.microsoft.com/office/drawing/2014/main" id="{04DB8810-9279-4BDC-AA13-4E3FC40DF14E}"/>
                        </a:ext>
                      </a:extLst>
                    </p:cNvPr>
                    <p:cNvSpPr/>
                    <p:nvPr/>
                  </p:nvSpPr>
                  <p:spPr>
                    <a:xfrm>
                      <a:off x="5354776" y="5292956"/>
                      <a:ext cx="9436" cy="10249"/>
                    </a:xfrm>
                    <a:custGeom>
                      <a:avLst/>
                      <a:gdLst>
                        <a:gd name="connsiteX0" fmla="*/ 7559 w 9436"/>
                        <a:gd name="connsiteY0" fmla="*/ 1458 h 10249"/>
                        <a:gd name="connsiteX1" fmla="*/ 7858 w 9436"/>
                        <a:gd name="connsiteY1" fmla="*/ 1757 h 10249"/>
                        <a:gd name="connsiteX2" fmla="*/ 8097 w 9436"/>
                        <a:gd name="connsiteY2" fmla="*/ 2116 h 10249"/>
                        <a:gd name="connsiteX3" fmla="*/ 8277 w 9436"/>
                        <a:gd name="connsiteY3" fmla="*/ 2535 h 10249"/>
                        <a:gd name="connsiteX4" fmla="*/ 8396 w 9436"/>
                        <a:gd name="connsiteY4" fmla="*/ 3013 h 10249"/>
                        <a:gd name="connsiteX5" fmla="*/ 8456 w 9436"/>
                        <a:gd name="connsiteY5" fmla="*/ 3790 h 10249"/>
                        <a:gd name="connsiteX6" fmla="*/ 8396 w 9436"/>
                        <a:gd name="connsiteY6" fmla="*/ 4568 h 10249"/>
                        <a:gd name="connsiteX7" fmla="*/ 8157 w 9436"/>
                        <a:gd name="connsiteY7" fmla="*/ 5405 h 10249"/>
                        <a:gd name="connsiteX8" fmla="*/ 7798 w 9436"/>
                        <a:gd name="connsiteY8" fmla="*/ 6243 h 10249"/>
                        <a:gd name="connsiteX9" fmla="*/ 6722 w 9436"/>
                        <a:gd name="connsiteY9" fmla="*/ 7738 h 10249"/>
                        <a:gd name="connsiteX10" fmla="*/ 5346 w 9436"/>
                        <a:gd name="connsiteY10" fmla="*/ 8754 h 10249"/>
                        <a:gd name="connsiteX11" fmla="*/ 3851 w 9436"/>
                        <a:gd name="connsiteY11" fmla="*/ 9233 h 10249"/>
                        <a:gd name="connsiteX12" fmla="*/ 2475 w 9436"/>
                        <a:gd name="connsiteY12" fmla="*/ 9113 h 10249"/>
                        <a:gd name="connsiteX13" fmla="*/ 2296 w 9436"/>
                        <a:gd name="connsiteY13" fmla="*/ 9053 h 10249"/>
                        <a:gd name="connsiteX14" fmla="*/ 2117 w 9436"/>
                        <a:gd name="connsiteY14" fmla="*/ 8934 h 10249"/>
                        <a:gd name="connsiteX15" fmla="*/ 1937 w 9436"/>
                        <a:gd name="connsiteY15" fmla="*/ 8814 h 10249"/>
                        <a:gd name="connsiteX16" fmla="*/ 1758 w 9436"/>
                        <a:gd name="connsiteY16" fmla="*/ 8695 h 10249"/>
                        <a:gd name="connsiteX17" fmla="*/ 1100 w 9436"/>
                        <a:gd name="connsiteY17" fmla="*/ 7797 h 10249"/>
                        <a:gd name="connsiteX18" fmla="*/ 801 w 9436"/>
                        <a:gd name="connsiteY18" fmla="*/ 6661 h 10249"/>
                        <a:gd name="connsiteX19" fmla="*/ 920 w 9436"/>
                        <a:gd name="connsiteY19" fmla="*/ 5345 h 10249"/>
                        <a:gd name="connsiteX20" fmla="*/ 1459 w 9436"/>
                        <a:gd name="connsiteY20" fmla="*/ 3910 h 10249"/>
                        <a:gd name="connsiteX21" fmla="*/ 2535 w 9436"/>
                        <a:gd name="connsiteY21" fmla="*/ 2415 h 10249"/>
                        <a:gd name="connsiteX22" fmla="*/ 3911 w 9436"/>
                        <a:gd name="connsiteY22" fmla="*/ 1398 h 10249"/>
                        <a:gd name="connsiteX23" fmla="*/ 5406 w 9436"/>
                        <a:gd name="connsiteY23" fmla="*/ 920 h 10249"/>
                        <a:gd name="connsiteX24" fmla="*/ 6842 w 9436"/>
                        <a:gd name="connsiteY24" fmla="*/ 1039 h 10249"/>
                        <a:gd name="connsiteX25" fmla="*/ 7021 w 9436"/>
                        <a:gd name="connsiteY25" fmla="*/ 1099 h 10249"/>
                        <a:gd name="connsiteX26" fmla="*/ 7200 w 9436"/>
                        <a:gd name="connsiteY26" fmla="*/ 1219 h 10249"/>
                        <a:gd name="connsiteX27" fmla="*/ 7380 w 9436"/>
                        <a:gd name="connsiteY27" fmla="*/ 1338 h 10249"/>
                        <a:gd name="connsiteX28" fmla="*/ 7559 w 9436"/>
                        <a:gd name="connsiteY28" fmla="*/ 1458 h 10249"/>
                        <a:gd name="connsiteX29" fmla="*/ 1220 w 9436"/>
                        <a:gd name="connsiteY29" fmla="*/ 9532 h 10249"/>
                        <a:gd name="connsiteX30" fmla="*/ 1399 w 9436"/>
                        <a:gd name="connsiteY30" fmla="*/ 9711 h 10249"/>
                        <a:gd name="connsiteX31" fmla="*/ 1638 w 9436"/>
                        <a:gd name="connsiteY31" fmla="*/ 9831 h 10249"/>
                        <a:gd name="connsiteX32" fmla="*/ 1878 w 9436"/>
                        <a:gd name="connsiteY32" fmla="*/ 9951 h 10249"/>
                        <a:gd name="connsiteX33" fmla="*/ 2117 w 9436"/>
                        <a:gd name="connsiteY33" fmla="*/ 10070 h 10249"/>
                        <a:gd name="connsiteX34" fmla="*/ 2954 w 9436"/>
                        <a:gd name="connsiteY34" fmla="*/ 10250 h 10249"/>
                        <a:gd name="connsiteX35" fmla="*/ 3851 w 9436"/>
                        <a:gd name="connsiteY35" fmla="*/ 10250 h 10249"/>
                        <a:gd name="connsiteX36" fmla="*/ 4748 w 9436"/>
                        <a:gd name="connsiteY36" fmla="*/ 10011 h 10249"/>
                        <a:gd name="connsiteX37" fmla="*/ 5645 w 9436"/>
                        <a:gd name="connsiteY37" fmla="*/ 9592 h 10249"/>
                        <a:gd name="connsiteX38" fmla="*/ 6542 w 9436"/>
                        <a:gd name="connsiteY38" fmla="*/ 8994 h 10249"/>
                        <a:gd name="connsiteX39" fmla="*/ 7320 w 9436"/>
                        <a:gd name="connsiteY39" fmla="*/ 8276 h 10249"/>
                        <a:gd name="connsiteX40" fmla="*/ 8037 w 9436"/>
                        <a:gd name="connsiteY40" fmla="*/ 7438 h 10249"/>
                        <a:gd name="connsiteX41" fmla="*/ 8636 w 9436"/>
                        <a:gd name="connsiteY41" fmla="*/ 6482 h 10249"/>
                        <a:gd name="connsiteX42" fmla="*/ 9294 w 9436"/>
                        <a:gd name="connsiteY42" fmla="*/ 4807 h 10249"/>
                        <a:gd name="connsiteX43" fmla="*/ 9413 w 9436"/>
                        <a:gd name="connsiteY43" fmla="*/ 3192 h 10249"/>
                        <a:gd name="connsiteX44" fmla="*/ 9054 w 9436"/>
                        <a:gd name="connsiteY44" fmla="*/ 1817 h 10249"/>
                        <a:gd name="connsiteX45" fmla="*/ 8217 w 9436"/>
                        <a:gd name="connsiteY45" fmla="*/ 740 h 10249"/>
                        <a:gd name="connsiteX46" fmla="*/ 8037 w 9436"/>
                        <a:gd name="connsiteY46" fmla="*/ 561 h 10249"/>
                        <a:gd name="connsiteX47" fmla="*/ 7798 w 9436"/>
                        <a:gd name="connsiteY47" fmla="*/ 441 h 10249"/>
                        <a:gd name="connsiteX48" fmla="*/ 7559 w 9436"/>
                        <a:gd name="connsiteY48" fmla="*/ 321 h 10249"/>
                        <a:gd name="connsiteX49" fmla="*/ 7320 w 9436"/>
                        <a:gd name="connsiteY49" fmla="*/ 202 h 10249"/>
                        <a:gd name="connsiteX50" fmla="*/ 5586 w 9436"/>
                        <a:gd name="connsiteY50" fmla="*/ 22 h 10249"/>
                        <a:gd name="connsiteX51" fmla="*/ 3791 w 9436"/>
                        <a:gd name="connsiteY51" fmla="*/ 621 h 10249"/>
                        <a:gd name="connsiteX52" fmla="*/ 2117 w 9436"/>
                        <a:gd name="connsiteY52" fmla="*/ 1876 h 10249"/>
                        <a:gd name="connsiteX53" fmla="*/ 801 w 9436"/>
                        <a:gd name="connsiteY53" fmla="*/ 3671 h 10249"/>
                        <a:gd name="connsiteX54" fmla="*/ 143 w 9436"/>
                        <a:gd name="connsiteY54" fmla="*/ 5405 h 10249"/>
                        <a:gd name="connsiteX55" fmla="*/ 23 w 9436"/>
                        <a:gd name="connsiteY55" fmla="*/ 7020 h 10249"/>
                        <a:gd name="connsiteX56" fmla="*/ 382 w 9436"/>
                        <a:gd name="connsiteY56" fmla="*/ 8396 h 10249"/>
                        <a:gd name="connsiteX57" fmla="*/ 1220 w 9436"/>
                        <a:gd name="connsiteY57" fmla="*/ 9532 h 1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436" h="10249">
                          <a:moveTo>
                            <a:pt x="7559" y="1458"/>
                          </a:moveTo>
                          <a:cubicBezTo>
                            <a:pt x="7679" y="1577"/>
                            <a:pt x="7798" y="1637"/>
                            <a:pt x="7858" y="1757"/>
                          </a:cubicBezTo>
                          <a:cubicBezTo>
                            <a:pt x="7978" y="1876"/>
                            <a:pt x="8037" y="1996"/>
                            <a:pt x="8097" y="2116"/>
                          </a:cubicBezTo>
                          <a:cubicBezTo>
                            <a:pt x="8157" y="2235"/>
                            <a:pt x="8217" y="2355"/>
                            <a:pt x="8277" y="2535"/>
                          </a:cubicBezTo>
                          <a:cubicBezTo>
                            <a:pt x="8337" y="2654"/>
                            <a:pt x="8396" y="2834"/>
                            <a:pt x="8396" y="3013"/>
                          </a:cubicBezTo>
                          <a:cubicBezTo>
                            <a:pt x="8456" y="3252"/>
                            <a:pt x="8456" y="3491"/>
                            <a:pt x="8456" y="3790"/>
                          </a:cubicBezTo>
                          <a:cubicBezTo>
                            <a:pt x="8456" y="4030"/>
                            <a:pt x="8456" y="4329"/>
                            <a:pt x="8396" y="4568"/>
                          </a:cubicBezTo>
                          <a:cubicBezTo>
                            <a:pt x="8337" y="4867"/>
                            <a:pt x="8277" y="5106"/>
                            <a:pt x="8157" y="5405"/>
                          </a:cubicBezTo>
                          <a:cubicBezTo>
                            <a:pt x="8037" y="5704"/>
                            <a:pt x="7978" y="5943"/>
                            <a:pt x="7798" y="6243"/>
                          </a:cubicBezTo>
                          <a:cubicBezTo>
                            <a:pt x="7499" y="6781"/>
                            <a:pt x="7141" y="7319"/>
                            <a:pt x="6722" y="7738"/>
                          </a:cubicBezTo>
                          <a:cubicBezTo>
                            <a:pt x="6303" y="8156"/>
                            <a:pt x="5825" y="8515"/>
                            <a:pt x="5346" y="8754"/>
                          </a:cubicBezTo>
                          <a:cubicBezTo>
                            <a:pt x="4868" y="8994"/>
                            <a:pt x="4389" y="9173"/>
                            <a:pt x="3851" y="9233"/>
                          </a:cubicBezTo>
                          <a:cubicBezTo>
                            <a:pt x="3313" y="9292"/>
                            <a:pt x="2894" y="9292"/>
                            <a:pt x="2475" y="9113"/>
                          </a:cubicBezTo>
                          <a:cubicBezTo>
                            <a:pt x="2416" y="9113"/>
                            <a:pt x="2356" y="9053"/>
                            <a:pt x="2296" y="9053"/>
                          </a:cubicBezTo>
                          <a:cubicBezTo>
                            <a:pt x="2236" y="9053"/>
                            <a:pt x="2176" y="8994"/>
                            <a:pt x="2117" y="8934"/>
                          </a:cubicBezTo>
                          <a:cubicBezTo>
                            <a:pt x="2057" y="8874"/>
                            <a:pt x="1997" y="8874"/>
                            <a:pt x="1937" y="8814"/>
                          </a:cubicBezTo>
                          <a:cubicBezTo>
                            <a:pt x="1878" y="8754"/>
                            <a:pt x="1818" y="8754"/>
                            <a:pt x="1758" y="8695"/>
                          </a:cubicBezTo>
                          <a:cubicBezTo>
                            <a:pt x="1459" y="8455"/>
                            <a:pt x="1220" y="8156"/>
                            <a:pt x="1100" y="7797"/>
                          </a:cubicBezTo>
                          <a:cubicBezTo>
                            <a:pt x="920" y="7438"/>
                            <a:pt x="861" y="7080"/>
                            <a:pt x="801" y="6661"/>
                          </a:cubicBezTo>
                          <a:cubicBezTo>
                            <a:pt x="741" y="6243"/>
                            <a:pt x="801" y="5764"/>
                            <a:pt x="920" y="5345"/>
                          </a:cubicBezTo>
                          <a:cubicBezTo>
                            <a:pt x="1040" y="4867"/>
                            <a:pt x="1220" y="4389"/>
                            <a:pt x="1459" y="3910"/>
                          </a:cubicBezTo>
                          <a:cubicBezTo>
                            <a:pt x="1758" y="3372"/>
                            <a:pt x="2117" y="2834"/>
                            <a:pt x="2535" y="2415"/>
                          </a:cubicBezTo>
                          <a:cubicBezTo>
                            <a:pt x="2954" y="1996"/>
                            <a:pt x="3433" y="1637"/>
                            <a:pt x="3911" y="1398"/>
                          </a:cubicBezTo>
                          <a:cubicBezTo>
                            <a:pt x="4389" y="1159"/>
                            <a:pt x="4868" y="980"/>
                            <a:pt x="5406" y="920"/>
                          </a:cubicBezTo>
                          <a:cubicBezTo>
                            <a:pt x="5884" y="860"/>
                            <a:pt x="6363" y="920"/>
                            <a:pt x="6842" y="1039"/>
                          </a:cubicBezTo>
                          <a:cubicBezTo>
                            <a:pt x="6901" y="1039"/>
                            <a:pt x="6961" y="1099"/>
                            <a:pt x="7021" y="1099"/>
                          </a:cubicBezTo>
                          <a:cubicBezTo>
                            <a:pt x="7081" y="1099"/>
                            <a:pt x="7141" y="1159"/>
                            <a:pt x="7200" y="1219"/>
                          </a:cubicBezTo>
                          <a:cubicBezTo>
                            <a:pt x="7260" y="1279"/>
                            <a:pt x="7320" y="1279"/>
                            <a:pt x="7380" y="1338"/>
                          </a:cubicBezTo>
                          <a:cubicBezTo>
                            <a:pt x="7440" y="1398"/>
                            <a:pt x="7499" y="1458"/>
                            <a:pt x="7559" y="1458"/>
                          </a:cubicBezTo>
                          <a:moveTo>
                            <a:pt x="1220" y="9532"/>
                          </a:moveTo>
                          <a:cubicBezTo>
                            <a:pt x="1279" y="9592"/>
                            <a:pt x="1339" y="9651"/>
                            <a:pt x="1399" y="9711"/>
                          </a:cubicBezTo>
                          <a:cubicBezTo>
                            <a:pt x="1459" y="9771"/>
                            <a:pt x="1519" y="9831"/>
                            <a:pt x="1638" y="9831"/>
                          </a:cubicBezTo>
                          <a:cubicBezTo>
                            <a:pt x="1698" y="9891"/>
                            <a:pt x="1818" y="9891"/>
                            <a:pt x="1878" y="9951"/>
                          </a:cubicBezTo>
                          <a:cubicBezTo>
                            <a:pt x="1937" y="10011"/>
                            <a:pt x="2057" y="10011"/>
                            <a:pt x="2117" y="10070"/>
                          </a:cubicBezTo>
                          <a:cubicBezTo>
                            <a:pt x="2356" y="10130"/>
                            <a:pt x="2655" y="10190"/>
                            <a:pt x="2954" y="10250"/>
                          </a:cubicBezTo>
                          <a:cubicBezTo>
                            <a:pt x="3253" y="10250"/>
                            <a:pt x="3552" y="10250"/>
                            <a:pt x="3851" y="10250"/>
                          </a:cubicBezTo>
                          <a:cubicBezTo>
                            <a:pt x="4150" y="10190"/>
                            <a:pt x="4449" y="10130"/>
                            <a:pt x="4748" y="10011"/>
                          </a:cubicBezTo>
                          <a:cubicBezTo>
                            <a:pt x="5047" y="9891"/>
                            <a:pt x="5346" y="9771"/>
                            <a:pt x="5645" y="9592"/>
                          </a:cubicBezTo>
                          <a:cubicBezTo>
                            <a:pt x="5944" y="9412"/>
                            <a:pt x="6243" y="9233"/>
                            <a:pt x="6542" y="8994"/>
                          </a:cubicBezTo>
                          <a:cubicBezTo>
                            <a:pt x="6842" y="8754"/>
                            <a:pt x="7081" y="8515"/>
                            <a:pt x="7320" y="8276"/>
                          </a:cubicBezTo>
                          <a:cubicBezTo>
                            <a:pt x="7559" y="8037"/>
                            <a:pt x="7798" y="7738"/>
                            <a:pt x="8037" y="7438"/>
                          </a:cubicBezTo>
                          <a:cubicBezTo>
                            <a:pt x="8277" y="7140"/>
                            <a:pt x="8456" y="6841"/>
                            <a:pt x="8636" y="6482"/>
                          </a:cubicBezTo>
                          <a:cubicBezTo>
                            <a:pt x="8935" y="5943"/>
                            <a:pt x="9174" y="5345"/>
                            <a:pt x="9294" y="4807"/>
                          </a:cubicBezTo>
                          <a:cubicBezTo>
                            <a:pt x="9413" y="4269"/>
                            <a:pt x="9473" y="3730"/>
                            <a:pt x="9413" y="3192"/>
                          </a:cubicBezTo>
                          <a:cubicBezTo>
                            <a:pt x="9353" y="2714"/>
                            <a:pt x="9234" y="2235"/>
                            <a:pt x="9054" y="1817"/>
                          </a:cubicBezTo>
                          <a:cubicBezTo>
                            <a:pt x="8875" y="1398"/>
                            <a:pt x="8576" y="1039"/>
                            <a:pt x="8217" y="740"/>
                          </a:cubicBezTo>
                          <a:cubicBezTo>
                            <a:pt x="8157" y="680"/>
                            <a:pt x="8097" y="621"/>
                            <a:pt x="8037" y="561"/>
                          </a:cubicBezTo>
                          <a:cubicBezTo>
                            <a:pt x="7978" y="501"/>
                            <a:pt x="7918" y="441"/>
                            <a:pt x="7798" y="441"/>
                          </a:cubicBezTo>
                          <a:cubicBezTo>
                            <a:pt x="7738" y="381"/>
                            <a:pt x="7619" y="381"/>
                            <a:pt x="7559" y="321"/>
                          </a:cubicBezTo>
                          <a:cubicBezTo>
                            <a:pt x="7499" y="262"/>
                            <a:pt x="7380" y="262"/>
                            <a:pt x="7320" y="202"/>
                          </a:cubicBezTo>
                          <a:cubicBezTo>
                            <a:pt x="6782" y="22"/>
                            <a:pt x="6183" y="-37"/>
                            <a:pt x="5586" y="22"/>
                          </a:cubicBezTo>
                          <a:cubicBezTo>
                            <a:pt x="4987" y="82"/>
                            <a:pt x="4389" y="321"/>
                            <a:pt x="3791" y="621"/>
                          </a:cubicBezTo>
                          <a:cubicBezTo>
                            <a:pt x="3193" y="920"/>
                            <a:pt x="2655" y="1398"/>
                            <a:pt x="2117" y="1876"/>
                          </a:cubicBezTo>
                          <a:cubicBezTo>
                            <a:pt x="1579" y="2415"/>
                            <a:pt x="1160" y="3013"/>
                            <a:pt x="801" y="3671"/>
                          </a:cubicBezTo>
                          <a:cubicBezTo>
                            <a:pt x="502" y="4269"/>
                            <a:pt x="263" y="4807"/>
                            <a:pt x="143" y="5405"/>
                          </a:cubicBezTo>
                          <a:cubicBezTo>
                            <a:pt x="23" y="5943"/>
                            <a:pt x="-36" y="6542"/>
                            <a:pt x="23" y="7020"/>
                          </a:cubicBezTo>
                          <a:cubicBezTo>
                            <a:pt x="83" y="7558"/>
                            <a:pt x="203" y="7977"/>
                            <a:pt x="382" y="8396"/>
                          </a:cubicBezTo>
                          <a:cubicBezTo>
                            <a:pt x="562" y="8874"/>
                            <a:pt x="861" y="9233"/>
                            <a:pt x="1220" y="9532"/>
                          </a:cubicBezTo>
                        </a:path>
                      </a:pathLst>
                    </a:custGeom>
                    <a:noFill/>
                    <a:ln w="6350" cap="flat">
                      <a:solidFill>
                        <a:schemeClr val="bg1">
                          <a:alpha val="80000"/>
                        </a:schemeClr>
                      </a:solidFill>
                      <a:prstDash val="solid"/>
                      <a:miter/>
                    </a:ln>
                  </p:spPr>
                  <p:txBody>
                    <a:bodyPr rtlCol="0" anchor="ctr"/>
                    <a:lstStyle/>
                    <a:p>
                      <a:endParaRPr lang="en-GB"/>
                    </a:p>
                  </p:txBody>
                </p:sp>
                <p:sp>
                  <p:nvSpPr>
                    <p:cNvPr id="7408" name="Vrije vorm: vorm 7407">
                      <a:extLst>
                        <a:ext uri="{FF2B5EF4-FFF2-40B4-BE49-F238E27FC236}">
                          <a16:creationId xmlns:a16="http://schemas.microsoft.com/office/drawing/2014/main" id="{E8D47812-E43D-447C-A0A1-B80E0C36FB3D}"/>
                        </a:ext>
                      </a:extLst>
                    </p:cNvPr>
                    <p:cNvSpPr/>
                    <p:nvPr/>
                  </p:nvSpPr>
                  <p:spPr>
                    <a:xfrm>
                      <a:off x="5339608" y="5442551"/>
                      <a:ext cx="50946" cy="53353"/>
                    </a:xfrm>
                    <a:custGeom>
                      <a:avLst/>
                      <a:gdLst>
                        <a:gd name="connsiteX0" fmla="*/ 24342 w 50946"/>
                        <a:gd name="connsiteY0" fmla="*/ 7003 h 53353"/>
                        <a:gd name="connsiteX1" fmla="*/ 26734 w 50946"/>
                        <a:gd name="connsiteY1" fmla="*/ 5149 h 53353"/>
                        <a:gd name="connsiteX2" fmla="*/ 29246 w 50946"/>
                        <a:gd name="connsiteY2" fmla="*/ 3594 h 53353"/>
                        <a:gd name="connsiteX3" fmla="*/ 31758 w 50946"/>
                        <a:gd name="connsiteY3" fmla="*/ 2398 h 53353"/>
                        <a:gd name="connsiteX4" fmla="*/ 34270 w 50946"/>
                        <a:gd name="connsiteY4" fmla="*/ 1560 h 53353"/>
                        <a:gd name="connsiteX5" fmla="*/ 33612 w 50946"/>
                        <a:gd name="connsiteY5" fmla="*/ 963 h 53353"/>
                        <a:gd name="connsiteX6" fmla="*/ 31100 w 50946"/>
                        <a:gd name="connsiteY6" fmla="*/ 1919 h 53353"/>
                        <a:gd name="connsiteX7" fmla="*/ 28588 w 50946"/>
                        <a:gd name="connsiteY7" fmla="*/ 3175 h 53353"/>
                        <a:gd name="connsiteX8" fmla="*/ 26136 w 50946"/>
                        <a:gd name="connsiteY8" fmla="*/ 4730 h 53353"/>
                        <a:gd name="connsiteX9" fmla="*/ 23744 w 50946"/>
                        <a:gd name="connsiteY9" fmla="*/ 6584 h 53353"/>
                        <a:gd name="connsiteX10" fmla="*/ 24342 w 50946"/>
                        <a:gd name="connsiteY10" fmla="*/ 7003 h 53353"/>
                        <a:gd name="connsiteX11" fmla="*/ 17225 w 50946"/>
                        <a:gd name="connsiteY11" fmla="*/ 15077 h 53353"/>
                        <a:gd name="connsiteX12" fmla="*/ 20036 w 50946"/>
                        <a:gd name="connsiteY12" fmla="*/ 11548 h 53353"/>
                        <a:gd name="connsiteX13" fmla="*/ 20096 w 50946"/>
                        <a:gd name="connsiteY13" fmla="*/ 11429 h 53353"/>
                        <a:gd name="connsiteX14" fmla="*/ 20933 w 50946"/>
                        <a:gd name="connsiteY14" fmla="*/ 10412 h 53353"/>
                        <a:gd name="connsiteX15" fmla="*/ 21770 w 50946"/>
                        <a:gd name="connsiteY15" fmla="*/ 9455 h 53353"/>
                        <a:gd name="connsiteX16" fmla="*/ 22667 w 50946"/>
                        <a:gd name="connsiteY16" fmla="*/ 8558 h 53353"/>
                        <a:gd name="connsiteX17" fmla="*/ 23564 w 50946"/>
                        <a:gd name="connsiteY17" fmla="*/ 7661 h 53353"/>
                        <a:gd name="connsiteX18" fmla="*/ 23086 w 50946"/>
                        <a:gd name="connsiteY18" fmla="*/ 7242 h 53353"/>
                        <a:gd name="connsiteX19" fmla="*/ 22189 w 50946"/>
                        <a:gd name="connsiteY19" fmla="*/ 8139 h 53353"/>
                        <a:gd name="connsiteX20" fmla="*/ 21291 w 50946"/>
                        <a:gd name="connsiteY20" fmla="*/ 9096 h 53353"/>
                        <a:gd name="connsiteX21" fmla="*/ 20394 w 50946"/>
                        <a:gd name="connsiteY21" fmla="*/ 10053 h 53353"/>
                        <a:gd name="connsiteX22" fmla="*/ 19557 w 50946"/>
                        <a:gd name="connsiteY22" fmla="*/ 11070 h 53353"/>
                        <a:gd name="connsiteX23" fmla="*/ 16686 w 50946"/>
                        <a:gd name="connsiteY23" fmla="*/ 14718 h 53353"/>
                        <a:gd name="connsiteX24" fmla="*/ 17225 w 50946"/>
                        <a:gd name="connsiteY24" fmla="*/ 15077 h 53353"/>
                        <a:gd name="connsiteX25" fmla="*/ 12021 w 50946"/>
                        <a:gd name="connsiteY25" fmla="*/ 21656 h 53353"/>
                        <a:gd name="connsiteX26" fmla="*/ 16627 w 50946"/>
                        <a:gd name="connsiteY26" fmla="*/ 15795 h 53353"/>
                        <a:gd name="connsiteX27" fmla="*/ 16148 w 50946"/>
                        <a:gd name="connsiteY27" fmla="*/ 15376 h 53353"/>
                        <a:gd name="connsiteX28" fmla="*/ 11543 w 50946"/>
                        <a:gd name="connsiteY28" fmla="*/ 21237 h 53353"/>
                        <a:gd name="connsiteX29" fmla="*/ 12021 w 50946"/>
                        <a:gd name="connsiteY29" fmla="*/ 21656 h 53353"/>
                        <a:gd name="connsiteX30" fmla="*/ 29963 w 50946"/>
                        <a:gd name="connsiteY30" fmla="*/ 46476 h 53353"/>
                        <a:gd name="connsiteX31" fmla="*/ 30502 w 50946"/>
                        <a:gd name="connsiteY31" fmla="*/ 46835 h 53353"/>
                        <a:gd name="connsiteX32" fmla="*/ 44616 w 50946"/>
                        <a:gd name="connsiteY32" fmla="*/ 28952 h 53353"/>
                        <a:gd name="connsiteX33" fmla="*/ 49102 w 50946"/>
                        <a:gd name="connsiteY33" fmla="*/ 21357 h 53353"/>
                        <a:gd name="connsiteX34" fmla="*/ 50896 w 50946"/>
                        <a:gd name="connsiteY34" fmla="*/ 13821 h 53353"/>
                        <a:gd name="connsiteX35" fmla="*/ 49999 w 50946"/>
                        <a:gd name="connsiteY35" fmla="*/ 7122 h 53353"/>
                        <a:gd name="connsiteX36" fmla="*/ 46291 w 50946"/>
                        <a:gd name="connsiteY36" fmla="*/ 2218 h 53353"/>
                        <a:gd name="connsiteX37" fmla="*/ 43779 w 50946"/>
                        <a:gd name="connsiteY37" fmla="*/ 843 h 53353"/>
                        <a:gd name="connsiteX38" fmla="*/ 40968 w 50946"/>
                        <a:gd name="connsiteY38" fmla="*/ 125 h 53353"/>
                        <a:gd name="connsiteX39" fmla="*/ 37918 w 50946"/>
                        <a:gd name="connsiteY39" fmla="*/ 65 h 53353"/>
                        <a:gd name="connsiteX40" fmla="*/ 34688 w 50946"/>
                        <a:gd name="connsiteY40" fmla="*/ 603 h 53353"/>
                        <a:gd name="connsiteX41" fmla="*/ 35406 w 50946"/>
                        <a:gd name="connsiteY41" fmla="*/ 1261 h 53353"/>
                        <a:gd name="connsiteX42" fmla="*/ 38217 w 50946"/>
                        <a:gd name="connsiteY42" fmla="*/ 903 h 53353"/>
                        <a:gd name="connsiteX43" fmla="*/ 40908 w 50946"/>
                        <a:gd name="connsiteY43" fmla="*/ 1082 h 53353"/>
                        <a:gd name="connsiteX44" fmla="*/ 43420 w 50946"/>
                        <a:gd name="connsiteY44" fmla="*/ 1800 h 53353"/>
                        <a:gd name="connsiteX45" fmla="*/ 45633 w 50946"/>
                        <a:gd name="connsiteY45" fmla="*/ 3056 h 53353"/>
                        <a:gd name="connsiteX46" fmla="*/ 49162 w 50946"/>
                        <a:gd name="connsiteY46" fmla="*/ 7780 h 53353"/>
                        <a:gd name="connsiteX47" fmla="*/ 49999 w 50946"/>
                        <a:gd name="connsiteY47" fmla="*/ 14180 h 53353"/>
                        <a:gd name="connsiteX48" fmla="*/ 48264 w 50946"/>
                        <a:gd name="connsiteY48" fmla="*/ 21416 h 53353"/>
                        <a:gd name="connsiteX49" fmla="*/ 43959 w 50946"/>
                        <a:gd name="connsiteY49" fmla="*/ 28653 h 53353"/>
                        <a:gd name="connsiteX50" fmla="*/ 29963 w 50946"/>
                        <a:gd name="connsiteY50" fmla="*/ 46476 h 53353"/>
                        <a:gd name="connsiteX51" fmla="*/ 5263 w 50946"/>
                        <a:gd name="connsiteY51" fmla="*/ 29251 h 53353"/>
                        <a:gd name="connsiteX52" fmla="*/ 5801 w 50946"/>
                        <a:gd name="connsiteY52" fmla="*/ 29610 h 53353"/>
                        <a:gd name="connsiteX53" fmla="*/ 11483 w 50946"/>
                        <a:gd name="connsiteY53" fmla="*/ 22433 h 53353"/>
                        <a:gd name="connsiteX54" fmla="*/ 11005 w 50946"/>
                        <a:gd name="connsiteY54" fmla="*/ 22014 h 53353"/>
                        <a:gd name="connsiteX55" fmla="*/ 5263 w 50946"/>
                        <a:gd name="connsiteY55" fmla="*/ 29251 h 53353"/>
                        <a:gd name="connsiteX56" fmla="*/ 5682 w 50946"/>
                        <a:gd name="connsiteY56" fmla="*/ 39837 h 53353"/>
                        <a:gd name="connsiteX57" fmla="*/ 25239 w 50946"/>
                        <a:gd name="connsiteY57" fmla="*/ 53353 h 53353"/>
                        <a:gd name="connsiteX58" fmla="*/ 29844 w 50946"/>
                        <a:gd name="connsiteY58" fmla="*/ 47552 h 53353"/>
                        <a:gd name="connsiteX59" fmla="*/ 29306 w 50946"/>
                        <a:gd name="connsiteY59" fmla="*/ 47193 h 53353"/>
                        <a:gd name="connsiteX60" fmla="*/ 25299 w 50946"/>
                        <a:gd name="connsiteY60" fmla="*/ 52277 h 53353"/>
                        <a:gd name="connsiteX61" fmla="*/ 6399 w 50946"/>
                        <a:gd name="connsiteY61" fmla="*/ 39179 h 53353"/>
                        <a:gd name="connsiteX62" fmla="*/ 6220 w 50946"/>
                        <a:gd name="connsiteY62" fmla="*/ 39359 h 53353"/>
                        <a:gd name="connsiteX63" fmla="*/ 6041 w 50946"/>
                        <a:gd name="connsiteY63" fmla="*/ 39538 h 53353"/>
                        <a:gd name="connsiteX64" fmla="*/ 5861 w 50946"/>
                        <a:gd name="connsiteY64" fmla="*/ 39717 h 53353"/>
                        <a:gd name="connsiteX65" fmla="*/ 5682 w 50946"/>
                        <a:gd name="connsiteY65" fmla="*/ 39837 h 53353"/>
                        <a:gd name="connsiteX66" fmla="*/ 0 w 50946"/>
                        <a:gd name="connsiteY66" fmla="*/ 35890 h 53353"/>
                        <a:gd name="connsiteX67" fmla="*/ 5203 w 50946"/>
                        <a:gd name="connsiteY67" fmla="*/ 39478 h 53353"/>
                        <a:gd name="connsiteX68" fmla="*/ 5383 w 50946"/>
                        <a:gd name="connsiteY68" fmla="*/ 39299 h 53353"/>
                        <a:gd name="connsiteX69" fmla="*/ 5562 w 50946"/>
                        <a:gd name="connsiteY69" fmla="*/ 39119 h 53353"/>
                        <a:gd name="connsiteX70" fmla="*/ 5742 w 50946"/>
                        <a:gd name="connsiteY70" fmla="*/ 38940 h 53353"/>
                        <a:gd name="connsiteX71" fmla="*/ 5921 w 50946"/>
                        <a:gd name="connsiteY71" fmla="*/ 38760 h 53353"/>
                        <a:gd name="connsiteX72" fmla="*/ 1136 w 50946"/>
                        <a:gd name="connsiteY72" fmla="*/ 35471 h 53353"/>
                        <a:gd name="connsiteX73" fmla="*/ 5024 w 50946"/>
                        <a:gd name="connsiteY73" fmla="*/ 30507 h 53353"/>
                        <a:gd name="connsiteX74" fmla="*/ 4844 w 50946"/>
                        <a:gd name="connsiteY74" fmla="*/ 30447 h 53353"/>
                        <a:gd name="connsiteX75" fmla="*/ 4665 w 50946"/>
                        <a:gd name="connsiteY75" fmla="*/ 30388 h 53353"/>
                        <a:gd name="connsiteX76" fmla="*/ 4486 w 50946"/>
                        <a:gd name="connsiteY76" fmla="*/ 30328 h 53353"/>
                        <a:gd name="connsiteX77" fmla="*/ 4306 w 50946"/>
                        <a:gd name="connsiteY77" fmla="*/ 30268 h 53353"/>
                        <a:gd name="connsiteX78" fmla="*/ 0 w 50946"/>
                        <a:gd name="connsiteY78" fmla="*/ 35890 h 5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0946" h="53353">
                          <a:moveTo>
                            <a:pt x="24342" y="7003"/>
                          </a:moveTo>
                          <a:cubicBezTo>
                            <a:pt x="25119" y="6345"/>
                            <a:pt x="25956" y="5687"/>
                            <a:pt x="26734" y="5149"/>
                          </a:cubicBezTo>
                          <a:cubicBezTo>
                            <a:pt x="27571" y="4551"/>
                            <a:pt x="28408" y="4072"/>
                            <a:pt x="29246" y="3594"/>
                          </a:cubicBezTo>
                          <a:cubicBezTo>
                            <a:pt x="30083" y="3115"/>
                            <a:pt x="30921" y="2757"/>
                            <a:pt x="31758" y="2398"/>
                          </a:cubicBezTo>
                          <a:cubicBezTo>
                            <a:pt x="32595" y="2039"/>
                            <a:pt x="33432" y="1740"/>
                            <a:pt x="34270" y="1560"/>
                          </a:cubicBezTo>
                          <a:lnTo>
                            <a:pt x="33612" y="963"/>
                          </a:lnTo>
                          <a:cubicBezTo>
                            <a:pt x="32775" y="1202"/>
                            <a:pt x="31937" y="1560"/>
                            <a:pt x="31100" y="1919"/>
                          </a:cubicBezTo>
                          <a:cubicBezTo>
                            <a:pt x="30262" y="2278"/>
                            <a:pt x="29425" y="2697"/>
                            <a:pt x="28588" y="3175"/>
                          </a:cubicBezTo>
                          <a:cubicBezTo>
                            <a:pt x="27751" y="3654"/>
                            <a:pt x="26973" y="4192"/>
                            <a:pt x="26136" y="4730"/>
                          </a:cubicBezTo>
                          <a:cubicBezTo>
                            <a:pt x="25359" y="5328"/>
                            <a:pt x="24521" y="5926"/>
                            <a:pt x="23744" y="6584"/>
                          </a:cubicBezTo>
                          <a:lnTo>
                            <a:pt x="24342" y="7003"/>
                          </a:lnTo>
                          <a:moveTo>
                            <a:pt x="17225" y="15077"/>
                          </a:moveTo>
                          <a:lnTo>
                            <a:pt x="20036" y="11548"/>
                          </a:lnTo>
                          <a:lnTo>
                            <a:pt x="20096" y="11429"/>
                          </a:lnTo>
                          <a:cubicBezTo>
                            <a:pt x="20394" y="11070"/>
                            <a:pt x="20634" y="10771"/>
                            <a:pt x="20933" y="10412"/>
                          </a:cubicBezTo>
                          <a:cubicBezTo>
                            <a:pt x="21232" y="10053"/>
                            <a:pt x="21531" y="9754"/>
                            <a:pt x="21770" y="9455"/>
                          </a:cubicBezTo>
                          <a:cubicBezTo>
                            <a:pt x="22069" y="9156"/>
                            <a:pt x="22368" y="8857"/>
                            <a:pt x="22667" y="8558"/>
                          </a:cubicBezTo>
                          <a:cubicBezTo>
                            <a:pt x="22966" y="8259"/>
                            <a:pt x="23265" y="7960"/>
                            <a:pt x="23564" y="7661"/>
                          </a:cubicBezTo>
                          <a:lnTo>
                            <a:pt x="23086" y="7242"/>
                          </a:lnTo>
                          <a:cubicBezTo>
                            <a:pt x="22787" y="7541"/>
                            <a:pt x="22488" y="7840"/>
                            <a:pt x="22189" y="8139"/>
                          </a:cubicBezTo>
                          <a:cubicBezTo>
                            <a:pt x="21890" y="8438"/>
                            <a:pt x="21591" y="8737"/>
                            <a:pt x="21291" y="9096"/>
                          </a:cubicBezTo>
                          <a:cubicBezTo>
                            <a:pt x="20992" y="9395"/>
                            <a:pt x="20693" y="9754"/>
                            <a:pt x="20394" y="10053"/>
                          </a:cubicBezTo>
                          <a:cubicBezTo>
                            <a:pt x="20096" y="10352"/>
                            <a:pt x="19856" y="10711"/>
                            <a:pt x="19557" y="11070"/>
                          </a:cubicBezTo>
                          <a:lnTo>
                            <a:pt x="16686" y="14718"/>
                          </a:lnTo>
                          <a:lnTo>
                            <a:pt x="17225" y="15077"/>
                          </a:lnTo>
                          <a:moveTo>
                            <a:pt x="12021" y="21656"/>
                          </a:moveTo>
                          <a:lnTo>
                            <a:pt x="16627" y="15795"/>
                          </a:lnTo>
                          <a:lnTo>
                            <a:pt x="16148" y="15376"/>
                          </a:lnTo>
                          <a:lnTo>
                            <a:pt x="11543" y="21237"/>
                          </a:lnTo>
                          <a:lnTo>
                            <a:pt x="12021" y="21656"/>
                          </a:lnTo>
                          <a:moveTo>
                            <a:pt x="29963" y="46476"/>
                          </a:moveTo>
                          <a:lnTo>
                            <a:pt x="30502" y="46835"/>
                          </a:lnTo>
                          <a:lnTo>
                            <a:pt x="44616" y="28952"/>
                          </a:lnTo>
                          <a:cubicBezTo>
                            <a:pt x="46530" y="26500"/>
                            <a:pt x="48025" y="23928"/>
                            <a:pt x="49102" y="21357"/>
                          </a:cubicBezTo>
                          <a:cubicBezTo>
                            <a:pt x="50178" y="18785"/>
                            <a:pt x="50777" y="16213"/>
                            <a:pt x="50896" y="13821"/>
                          </a:cubicBezTo>
                          <a:cubicBezTo>
                            <a:pt x="51076" y="11429"/>
                            <a:pt x="50777" y="9156"/>
                            <a:pt x="49999" y="7122"/>
                          </a:cubicBezTo>
                          <a:cubicBezTo>
                            <a:pt x="49222" y="5149"/>
                            <a:pt x="48025" y="3414"/>
                            <a:pt x="46291" y="2218"/>
                          </a:cubicBezTo>
                          <a:cubicBezTo>
                            <a:pt x="45514" y="1680"/>
                            <a:pt x="44676" y="1202"/>
                            <a:pt x="43779" y="843"/>
                          </a:cubicBezTo>
                          <a:cubicBezTo>
                            <a:pt x="42882" y="484"/>
                            <a:pt x="41925" y="244"/>
                            <a:pt x="40968" y="125"/>
                          </a:cubicBezTo>
                          <a:cubicBezTo>
                            <a:pt x="40011" y="5"/>
                            <a:pt x="38994" y="-54"/>
                            <a:pt x="37918" y="65"/>
                          </a:cubicBezTo>
                          <a:cubicBezTo>
                            <a:pt x="36901" y="125"/>
                            <a:pt x="35825" y="304"/>
                            <a:pt x="34688" y="603"/>
                          </a:cubicBezTo>
                          <a:lnTo>
                            <a:pt x="35406" y="1261"/>
                          </a:lnTo>
                          <a:cubicBezTo>
                            <a:pt x="36363" y="1082"/>
                            <a:pt x="37320" y="963"/>
                            <a:pt x="38217" y="903"/>
                          </a:cubicBezTo>
                          <a:cubicBezTo>
                            <a:pt x="39114" y="843"/>
                            <a:pt x="40071" y="903"/>
                            <a:pt x="40908" y="1082"/>
                          </a:cubicBezTo>
                          <a:cubicBezTo>
                            <a:pt x="41746" y="1202"/>
                            <a:pt x="42583" y="1441"/>
                            <a:pt x="43420" y="1800"/>
                          </a:cubicBezTo>
                          <a:cubicBezTo>
                            <a:pt x="44198" y="2099"/>
                            <a:pt x="44975" y="2517"/>
                            <a:pt x="45633" y="3056"/>
                          </a:cubicBezTo>
                          <a:cubicBezTo>
                            <a:pt x="47248" y="4252"/>
                            <a:pt x="48444" y="5866"/>
                            <a:pt x="49162" y="7780"/>
                          </a:cubicBezTo>
                          <a:cubicBezTo>
                            <a:pt x="49879" y="9694"/>
                            <a:pt x="50178" y="11847"/>
                            <a:pt x="49999" y="14180"/>
                          </a:cubicBezTo>
                          <a:cubicBezTo>
                            <a:pt x="49820" y="16512"/>
                            <a:pt x="49281" y="18964"/>
                            <a:pt x="48264" y="21416"/>
                          </a:cubicBezTo>
                          <a:cubicBezTo>
                            <a:pt x="47248" y="23868"/>
                            <a:pt x="45813" y="26321"/>
                            <a:pt x="43959" y="28653"/>
                          </a:cubicBezTo>
                          <a:lnTo>
                            <a:pt x="29963" y="46476"/>
                          </a:lnTo>
                          <a:moveTo>
                            <a:pt x="5263" y="29251"/>
                          </a:moveTo>
                          <a:lnTo>
                            <a:pt x="5801" y="29610"/>
                          </a:lnTo>
                          <a:lnTo>
                            <a:pt x="11483" y="22433"/>
                          </a:lnTo>
                          <a:lnTo>
                            <a:pt x="11005" y="22014"/>
                          </a:lnTo>
                          <a:lnTo>
                            <a:pt x="5263" y="29251"/>
                          </a:lnTo>
                          <a:moveTo>
                            <a:pt x="5682" y="39837"/>
                          </a:moveTo>
                          <a:lnTo>
                            <a:pt x="25239" y="53353"/>
                          </a:lnTo>
                          <a:lnTo>
                            <a:pt x="29844" y="47552"/>
                          </a:lnTo>
                          <a:lnTo>
                            <a:pt x="29306" y="47193"/>
                          </a:lnTo>
                          <a:lnTo>
                            <a:pt x="25299" y="52277"/>
                          </a:lnTo>
                          <a:lnTo>
                            <a:pt x="6399" y="39179"/>
                          </a:lnTo>
                          <a:cubicBezTo>
                            <a:pt x="6340" y="39239"/>
                            <a:pt x="6280" y="39299"/>
                            <a:pt x="6220" y="39359"/>
                          </a:cubicBezTo>
                          <a:cubicBezTo>
                            <a:pt x="6160" y="39419"/>
                            <a:pt x="6100" y="39478"/>
                            <a:pt x="6041" y="39538"/>
                          </a:cubicBezTo>
                          <a:cubicBezTo>
                            <a:pt x="5981" y="39598"/>
                            <a:pt x="5921" y="39658"/>
                            <a:pt x="5861" y="39717"/>
                          </a:cubicBezTo>
                          <a:cubicBezTo>
                            <a:pt x="5801" y="39717"/>
                            <a:pt x="5742" y="39777"/>
                            <a:pt x="5682" y="39837"/>
                          </a:cubicBezTo>
                          <a:moveTo>
                            <a:pt x="0" y="35890"/>
                          </a:moveTo>
                          <a:lnTo>
                            <a:pt x="5203" y="39478"/>
                          </a:lnTo>
                          <a:cubicBezTo>
                            <a:pt x="5263" y="39419"/>
                            <a:pt x="5323" y="39359"/>
                            <a:pt x="5383" y="39299"/>
                          </a:cubicBezTo>
                          <a:cubicBezTo>
                            <a:pt x="5443" y="39239"/>
                            <a:pt x="5503" y="39179"/>
                            <a:pt x="5562" y="39119"/>
                          </a:cubicBezTo>
                          <a:cubicBezTo>
                            <a:pt x="5622" y="39060"/>
                            <a:pt x="5682" y="39000"/>
                            <a:pt x="5742" y="38940"/>
                          </a:cubicBezTo>
                          <a:cubicBezTo>
                            <a:pt x="5801" y="38880"/>
                            <a:pt x="5861" y="38820"/>
                            <a:pt x="5921" y="38760"/>
                          </a:cubicBezTo>
                          <a:lnTo>
                            <a:pt x="1136" y="35471"/>
                          </a:lnTo>
                          <a:lnTo>
                            <a:pt x="5024" y="30507"/>
                          </a:lnTo>
                          <a:cubicBezTo>
                            <a:pt x="4964" y="30507"/>
                            <a:pt x="4904" y="30447"/>
                            <a:pt x="4844" y="30447"/>
                          </a:cubicBezTo>
                          <a:cubicBezTo>
                            <a:pt x="4785" y="30447"/>
                            <a:pt x="4725" y="30388"/>
                            <a:pt x="4665" y="30388"/>
                          </a:cubicBezTo>
                          <a:cubicBezTo>
                            <a:pt x="4605" y="30388"/>
                            <a:pt x="4545" y="30328"/>
                            <a:pt x="4486" y="30328"/>
                          </a:cubicBezTo>
                          <a:cubicBezTo>
                            <a:pt x="4426" y="30328"/>
                            <a:pt x="4366" y="30328"/>
                            <a:pt x="4306" y="30268"/>
                          </a:cubicBezTo>
                          <a:lnTo>
                            <a:pt x="0" y="35890"/>
                          </a:lnTo>
                        </a:path>
                      </a:pathLst>
                    </a:custGeom>
                    <a:noFill/>
                    <a:ln w="6350" cap="flat">
                      <a:solidFill>
                        <a:schemeClr val="bg1">
                          <a:alpha val="80000"/>
                        </a:schemeClr>
                      </a:solidFill>
                      <a:prstDash val="solid"/>
                      <a:miter/>
                    </a:ln>
                  </p:spPr>
                  <p:txBody>
                    <a:bodyPr rtlCol="0" anchor="ctr"/>
                    <a:lstStyle/>
                    <a:p>
                      <a:endParaRPr lang="en-GB"/>
                    </a:p>
                  </p:txBody>
                </p:sp>
                <p:sp>
                  <p:nvSpPr>
                    <p:cNvPr id="7409" name="Vrije vorm: vorm 7408">
                      <a:extLst>
                        <a:ext uri="{FF2B5EF4-FFF2-40B4-BE49-F238E27FC236}">
                          <a16:creationId xmlns:a16="http://schemas.microsoft.com/office/drawing/2014/main" id="{6B69AD39-159E-4069-ACDE-BA038C6067EC}"/>
                        </a:ext>
                      </a:extLst>
                    </p:cNvPr>
                    <p:cNvSpPr/>
                    <p:nvPr/>
                  </p:nvSpPr>
                  <p:spPr>
                    <a:xfrm>
                      <a:off x="5355577" y="5445547"/>
                      <a:ext cx="32145" cy="34055"/>
                    </a:xfrm>
                    <a:custGeom>
                      <a:avLst/>
                      <a:gdLst>
                        <a:gd name="connsiteX0" fmla="*/ 10167 w 32145"/>
                        <a:gd name="connsiteY0" fmla="*/ 5562 h 34055"/>
                        <a:gd name="connsiteX1" fmla="*/ 12858 w 32145"/>
                        <a:gd name="connsiteY1" fmla="*/ 3648 h 34055"/>
                        <a:gd name="connsiteX2" fmla="*/ 15610 w 32145"/>
                        <a:gd name="connsiteY2" fmla="*/ 2213 h 34055"/>
                        <a:gd name="connsiteX3" fmla="*/ 18361 w 32145"/>
                        <a:gd name="connsiteY3" fmla="*/ 1256 h 34055"/>
                        <a:gd name="connsiteX4" fmla="*/ 21052 w 32145"/>
                        <a:gd name="connsiteY4" fmla="*/ 837 h 34055"/>
                        <a:gd name="connsiteX5" fmla="*/ 20215 w 32145"/>
                        <a:gd name="connsiteY5" fmla="*/ 120 h 34055"/>
                        <a:gd name="connsiteX6" fmla="*/ 17583 w 32145"/>
                        <a:gd name="connsiteY6" fmla="*/ 718 h 34055"/>
                        <a:gd name="connsiteX7" fmla="*/ 14892 w 32145"/>
                        <a:gd name="connsiteY7" fmla="*/ 1734 h 34055"/>
                        <a:gd name="connsiteX8" fmla="*/ 12260 w 32145"/>
                        <a:gd name="connsiteY8" fmla="*/ 3229 h 34055"/>
                        <a:gd name="connsiteX9" fmla="*/ 9689 w 32145"/>
                        <a:gd name="connsiteY9" fmla="*/ 5143 h 34055"/>
                        <a:gd name="connsiteX10" fmla="*/ 10167 w 32145"/>
                        <a:gd name="connsiteY10" fmla="*/ 5562 h 34055"/>
                        <a:gd name="connsiteX11" fmla="*/ 3349 w 32145"/>
                        <a:gd name="connsiteY11" fmla="*/ 13875 h 34055"/>
                        <a:gd name="connsiteX12" fmla="*/ 3947 w 32145"/>
                        <a:gd name="connsiteY12" fmla="*/ 12799 h 34055"/>
                        <a:gd name="connsiteX13" fmla="*/ 4605 w 32145"/>
                        <a:gd name="connsiteY13" fmla="*/ 11782 h 34055"/>
                        <a:gd name="connsiteX14" fmla="*/ 5323 w 32145"/>
                        <a:gd name="connsiteY14" fmla="*/ 10765 h 34055"/>
                        <a:gd name="connsiteX15" fmla="*/ 6100 w 32145"/>
                        <a:gd name="connsiteY15" fmla="*/ 9749 h 34055"/>
                        <a:gd name="connsiteX16" fmla="*/ 6878 w 32145"/>
                        <a:gd name="connsiteY16" fmla="*/ 8792 h 34055"/>
                        <a:gd name="connsiteX17" fmla="*/ 7715 w 32145"/>
                        <a:gd name="connsiteY17" fmla="*/ 7895 h 34055"/>
                        <a:gd name="connsiteX18" fmla="*/ 8552 w 32145"/>
                        <a:gd name="connsiteY18" fmla="*/ 7057 h 34055"/>
                        <a:gd name="connsiteX19" fmla="*/ 9449 w 32145"/>
                        <a:gd name="connsiteY19" fmla="*/ 6220 h 34055"/>
                        <a:gd name="connsiteX20" fmla="*/ 8971 w 32145"/>
                        <a:gd name="connsiteY20" fmla="*/ 5801 h 34055"/>
                        <a:gd name="connsiteX21" fmla="*/ 8074 w 32145"/>
                        <a:gd name="connsiteY21" fmla="*/ 6639 h 34055"/>
                        <a:gd name="connsiteX22" fmla="*/ 7236 w 32145"/>
                        <a:gd name="connsiteY22" fmla="*/ 7536 h 34055"/>
                        <a:gd name="connsiteX23" fmla="*/ 6399 w 32145"/>
                        <a:gd name="connsiteY23" fmla="*/ 8493 h 34055"/>
                        <a:gd name="connsiteX24" fmla="*/ 5562 w 32145"/>
                        <a:gd name="connsiteY24" fmla="*/ 9450 h 34055"/>
                        <a:gd name="connsiteX25" fmla="*/ 4785 w 32145"/>
                        <a:gd name="connsiteY25" fmla="*/ 10466 h 34055"/>
                        <a:gd name="connsiteX26" fmla="*/ 4067 w 32145"/>
                        <a:gd name="connsiteY26" fmla="*/ 11483 h 34055"/>
                        <a:gd name="connsiteX27" fmla="*/ 3409 w 32145"/>
                        <a:gd name="connsiteY27" fmla="*/ 12500 h 34055"/>
                        <a:gd name="connsiteX28" fmla="*/ 2811 w 32145"/>
                        <a:gd name="connsiteY28" fmla="*/ 13516 h 34055"/>
                        <a:gd name="connsiteX29" fmla="*/ 3349 w 32145"/>
                        <a:gd name="connsiteY29" fmla="*/ 13875 h 34055"/>
                        <a:gd name="connsiteX30" fmla="*/ 897 w 32145"/>
                        <a:gd name="connsiteY30" fmla="*/ 22787 h 34055"/>
                        <a:gd name="connsiteX31" fmla="*/ 1017 w 32145"/>
                        <a:gd name="connsiteY31" fmla="*/ 20873 h 34055"/>
                        <a:gd name="connsiteX32" fmla="*/ 1375 w 32145"/>
                        <a:gd name="connsiteY32" fmla="*/ 18899 h 34055"/>
                        <a:gd name="connsiteX33" fmla="*/ 1973 w 32145"/>
                        <a:gd name="connsiteY33" fmla="*/ 16866 h 34055"/>
                        <a:gd name="connsiteX34" fmla="*/ 2811 w 32145"/>
                        <a:gd name="connsiteY34" fmla="*/ 14832 h 34055"/>
                        <a:gd name="connsiteX35" fmla="*/ 2273 w 32145"/>
                        <a:gd name="connsiteY35" fmla="*/ 14354 h 34055"/>
                        <a:gd name="connsiteX36" fmla="*/ 1375 w 32145"/>
                        <a:gd name="connsiteY36" fmla="*/ 16327 h 34055"/>
                        <a:gd name="connsiteX37" fmla="*/ 718 w 32145"/>
                        <a:gd name="connsiteY37" fmla="*/ 18301 h 34055"/>
                        <a:gd name="connsiteX38" fmla="*/ 239 w 32145"/>
                        <a:gd name="connsiteY38" fmla="*/ 20275 h 34055"/>
                        <a:gd name="connsiteX39" fmla="*/ 0 w 32145"/>
                        <a:gd name="connsiteY39" fmla="*/ 22189 h 34055"/>
                        <a:gd name="connsiteX40" fmla="*/ 897 w 32145"/>
                        <a:gd name="connsiteY40" fmla="*/ 22787 h 34055"/>
                        <a:gd name="connsiteX41" fmla="*/ 4246 w 32145"/>
                        <a:gd name="connsiteY41" fmla="*/ 32296 h 34055"/>
                        <a:gd name="connsiteX42" fmla="*/ 9330 w 32145"/>
                        <a:gd name="connsiteY42" fmla="*/ 34030 h 34055"/>
                        <a:gd name="connsiteX43" fmla="*/ 15251 w 32145"/>
                        <a:gd name="connsiteY43" fmla="*/ 33133 h 34055"/>
                        <a:gd name="connsiteX44" fmla="*/ 21291 w 32145"/>
                        <a:gd name="connsiteY44" fmla="*/ 29904 h 34055"/>
                        <a:gd name="connsiteX45" fmla="*/ 26734 w 32145"/>
                        <a:gd name="connsiteY45" fmla="*/ 24641 h 34055"/>
                        <a:gd name="connsiteX46" fmla="*/ 30561 w 32145"/>
                        <a:gd name="connsiteY46" fmla="*/ 18181 h 34055"/>
                        <a:gd name="connsiteX47" fmla="*/ 32116 w 32145"/>
                        <a:gd name="connsiteY47" fmla="*/ 11722 h 34055"/>
                        <a:gd name="connsiteX48" fmla="*/ 31339 w 32145"/>
                        <a:gd name="connsiteY48" fmla="*/ 6041 h 34055"/>
                        <a:gd name="connsiteX49" fmla="*/ 28169 w 32145"/>
                        <a:gd name="connsiteY49" fmla="*/ 1854 h 34055"/>
                        <a:gd name="connsiteX50" fmla="*/ 26674 w 32145"/>
                        <a:gd name="connsiteY50" fmla="*/ 957 h 34055"/>
                        <a:gd name="connsiteX51" fmla="*/ 25059 w 32145"/>
                        <a:gd name="connsiteY51" fmla="*/ 359 h 34055"/>
                        <a:gd name="connsiteX52" fmla="*/ 23265 w 32145"/>
                        <a:gd name="connsiteY52" fmla="*/ 60 h 34055"/>
                        <a:gd name="connsiteX53" fmla="*/ 21411 w 32145"/>
                        <a:gd name="connsiteY53" fmla="*/ 0 h 34055"/>
                        <a:gd name="connsiteX54" fmla="*/ 22368 w 32145"/>
                        <a:gd name="connsiteY54" fmla="*/ 837 h 34055"/>
                        <a:gd name="connsiteX55" fmla="*/ 23803 w 32145"/>
                        <a:gd name="connsiteY55" fmla="*/ 1017 h 34055"/>
                        <a:gd name="connsiteX56" fmla="*/ 25179 w 32145"/>
                        <a:gd name="connsiteY56" fmla="*/ 1375 h 34055"/>
                        <a:gd name="connsiteX57" fmla="*/ 26435 w 32145"/>
                        <a:gd name="connsiteY57" fmla="*/ 1914 h 34055"/>
                        <a:gd name="connsiteX58" fmla="*/ 27631 w 32145"/>
                        <a:gd name="connsiteY58" fmla="*/ 2632 h 34055"/>
                        <a:gd name="connsiteX59" fmla="*/ 30621 w 32145"/>
                        <a:gd name="connsiteY59" fmla="*/ 6639 h 34055"/>
                        <a:gd name="connsiteX60" fmla="*/ 31339 w 32145"/>
                        <a:gd name="connsiteY60" fmla="*/ 12021 h 34055"/>
                        <a:gd name="connsiteX61" fmla="*/ 29844 w 32145"/>
                        <a:gd name="connsiteY61" fmla="*/ 18122 h 34055"/>
                        <a:gd name="connsiteX62" fmla="*/ 26196 w 32145"/>
                        <a:gd name="connsiteY62" fmla="*/ 24282 h 34055"/>
                        <a:gd name="connsiteX63" fmla="*/ 20992 w 32145"/>
                        <a:gd name="connsiteY63" fmla="*/ 29306 h 34055"/>
                        <a:gd name="connsiteX64" fmla="*/ 15251 w 32145"/>
                        <a:gd name="connsiteY64" fmla="*/ 32356 h 34055"/>
                        <a:gd name="connsiteX65" fmla="*/ 9569 w 32145"/>
                        <a:gd name="connsiteY65" fmla="*/ 33193 h 34055"/>
                        <a:gd name="connsiteX66" fmla="*/ 4725 w 32145"/>
                        <a:gd name="connsiteY66" fmla="*/ 31578 h 34055"/>
                        <a:gd name="connsiteX67" fmla="*/ 3170 w 32145"/>
                        <a:gd name="connsiteY67" fmla="*/ 30143 h 34055"/>
                        <a:gd name="connsiteX68" fmla="*/ 2033 w 32145"/>
                        <a:gd name="connsiteY68" fmla="*/ 28408 h 34055"/>
                        <a:gd name="connsiteX69" fmla="*/ 1256 w 32145"/>
                        <a:gd name="connsiteY69" fmla="*/ 26375 h 34055"/>
                        <a:gd name="connsiteX70" fmla="*/ 897 w 32145"/>
                        <a:gd name="connsiteY70" fmla="*/ 24102 h 34055"/>
                        <a:gd name="connsiteX71" fmla="*/ 60 w 32145"/>
                        <a:gd name="connsiteY71" fmla="*/ 23385 h 34055"/>
                        <a:gd name="connsiteX72" fmla="*/ 299 w 32145"/>
                        <a:gd name="connsiteY72" fmla="*/ 26076 h 34055"/>
                        <a:gd name="connsiteX73" fmla="*/ 1076 w 32145"/>
                        <a:gd name="connsiteY73" fmla="*/ 28528 h 34055"/>
                        <a:gd name="connsiteX74" fmla="*/ 2332 w 32145"/>
                        <a:gd name="connsiteY74" fmla="*/ 30621 h 34055"/>
                        <a:gd name="connsiteX75" fmla="*/ 4246 w 32145"/>
                        <a:gd name="connsiteY75" fmla="*/ 32296 h 3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2145" h="34055">
                          <a:moveTo>
                            <a:pt x="10167" y="5562"/>
                          </a:moveTo>
                          <a:cubicBezTo>
                            <a:pt x="11064" y="4844"/>
                            <a:pt x="11902" y="4246"/>
                            <a:pt x="12858" y="3648"/>
                          </a:cubicBezTo>
                          <a:cubicBezTo>
                            <a:pt x="13756" y="3110"/>
                            <a:pt x="14712" y="2632"/>
                            <a:pt x="15610" y="2213"/>
                          </a:cubicBezTo>
                          <a:cubicBezTo>
                            <a:pt x="16507" y="1794"/>
                            <a:pt x="17464" y="1495"/>
                            <a:pt x="18361" y="1256"/>
                          </a:cubicBezTo>
                          <a:cubicBezTo>
                            <a:pt x="19258" y="1017"/>
                            <a:pt x="20155" y="897"/>
                            <a:pt x="21052" y="837"/>
                          </a:cubicBezTo>
                          <a:lnTo>
                            <a:pt x="20215" y="120"/>
                          </a:lnTo>
                          <a:cubicBezTo>
                            <a:pt x="19377" y="239"/>
                            <a:pt x="18480" y="419"/>
                            <a:pt x="17583" y="718"/>
                          </a:cubicBezTo>
                          <a:cubicBezTo>
                            <a:pt x="16686" y="1017"/>
                            <a:pt x="15789" y="1316"/>
                            <a:pt x="14892" y="1734"/>
                          </a:cubicBezTo>
                          <a:cubicBezTo>
                            <a:pt x="13995" y="2153"/>
                            <a:pt x="13098" y="2632"/>
                            <a:pt x="12260" y="3229"/>
                          </a:cubicBezTo>
                          <a:cubicBezTo>
                            <a:pt x="11363" y="3768"/>
                            <a:pt x="10526" y="4426"/>
                            <a:pt x="9689" y="5143"/>
                          </a:cubicBezTo>
                          <a:lnTo>
                            <a:pt x="10167" y="5562"/>
                          </a:lnTo>
                          <a:moveTo>
                            <a:pt x="3349" y="13875"/>
                          </a:moveTo>
                          <a:cubicBezTo>
                            <a:pt x="3528" y="13516"/>
                            <a:pt x="3708" y="13158"/>
                            <a:pt x="3947" y="12799"/>
                          </a:cubicBezTo>
                          <a:cubicBezTo>
                            <a:pt x="4186" y="12440"/>
                            <a:pt x="4366" y="12081"/>
                            <a:pt x="4605" y="11782"/>
                          </a:cubicBezTo>
                          <a:cubicBezTo>
                            <a:pt x="4844" y="11483"/>
                            <a:pt x="5083" y="11064"/>
                            <a:pt x="5323" y="10765"/>
                          </a:cubicBezTo>
                          <a:cubicBezTo>
                            <a:pt x="5562" y="10406"/>
                            <a:pt x="5801" y="10107"/>
                            <a:pt x="6100" y="9749"/>
                          </a:cubicBezTo>
                          <a:cubicBezTo>
                            <a:pt x="6340" y="9390"/>
                            <a:pt x="6639" y="9091"/>
                            <a:pt x="6878" y="8792"/>
                          </a:cubicBezTo>
                          <a:cubicBezTo>
                            <a:pt x="7177" y="8493"/>
                            <a:pt x="7416" y="8194"/>
                            <a:pt x="7715" y="7895"/>
                          </a:cubicBezTo>
                          <a:cubicBezTo>
                            <a:pt x="8014" y="7596"/>
                            <a:pt x="8313" y="7297"/>
                            <a:pt x="8552" y="7057"/>
                          </a:cubicBezTo>
                          <a:cubicBezTo>
                            <a:pt x="8851" y="6758"/>
                            <a:pt x="9150" y="6519"/>
                            <a:pt x="9449" y="6220"/>
                          </a:cubicBezTo>
                          <a:lnTo>
                            <a:pt x="8971" y="5801"/>
                          </a:lnTo>
                          <a:cubicBezTo>
                            <a:pt x="8672" y="6041"/>
                            <a:pt x="8373" y="6340"/>
                            <a:pt x="8074" y="6639"/>
                          </a:cubicBezTo>
                          <a:cubicBezTo>
                            <a:pt x="7775" y="6938"/>
                            <a:pt x="7476" y="7237"/>
                            <a:pt x="7236" y="7536"/>
                          </a:cubicBezTo>
                          <a:cubicBezTo>
                            <a:pt x="6997" y="7835"/>
                            <a:pt x="6698" y="8134"/>
                            <a:pt x="6399" y="8493"/>
                          </a:cubicBezTo>
                          <a:cubicBezTo>
                            <a:pt x="6100" y="8792"/>
                            <a:pt x="5861" y="9151"/>
                            <a:pt x="5562" y="9450"/>
                          </a:cubicBezTo>
                          <a:cubicBezTo>
                            <a:pt x="5323" y="9808"/>
                            <a:pt x="5024" y="10107"/>
                            <a:pt x="4785" y="10466"/>
                          </a:cubicBezTo>
                          <a:cubicBezTo>
                            <a:pt x="4545" y="10825"/>
                            <a:pt x="4306" y="11124"/>
                            <a:pt x="4067" y="11483"/>
                          </a:cubicBezTo>
                          <a:cubicBezTo>
                            <a:pt x="3827" y="11842"/>
                            <a:pt x="3648" y="12141"/>
                            <a:pt x="3409" y="12500"/>
                          </a:cubicBezTo>
                          <a:cubicBezTo>
                            <a:pt x="3229" y="12859"/>
                            <a:pt x="2990" y="13218"/>
                            <a:pt x="2811" y="13516"/>
                          </a:cubicBezTo>
                          <a:lnTo>
                            <a:pt x="3349" y="13875"/>
                          </a:lnTo>
                          <a:moveTo>
                            <a:pt x="897" y="22787"/>
                          </a:moveTo>
                          <a:cubicBezTo>
                            <a:pt x="897" y="22129"/>
                            <a:pt x="957" y="21530"/>
                            <a:pt x="1017" y="20873"/>
                          </a:cubicBezTo>
                          <a:cubicBezTo>
                            <a:pt x="1076" y="20215"/>
                            <a:pt x="1256" y="19557"/>
                            <a:pt x="1375" y="18899"/>
                          </a:cubicBezTo>
                          <a:cubicBezTo>
                            <a:pt x="1555" y="18241"/>
                            <a:pt x="1734" y="17523"/>
                            <a:pt x="1973" y="16866"/>
                          </a:cubicBezTo>
                          <a:cubicBezTo>
                            <a:pt x="2213" y="16208"/>
                            <a:pt x="2512" y="15490"/>
                            <a:pt x="2811" y="14832"/>
                          </a:cubicBezTo>
                          <a:lnTo>
                            <a:pt x="2273" y="14354"/>
                          </a:lnTo>
                          <a:cubicBezTo>
                            <a:pt x="1973" y="15012"/>
                            <a:pt x="1674" y="15669"/>
                            <a:pt x="1375" y="16327"/>
                          </a:cubicBezTo>
                          <a:cubicBezTo>
                            <a:pt x="1076" y="16985"/>
                            <a:pt x="897" y="17643"/>
                            <a:pt x="718" y="18301"/>
                          </a:cubicBezTo>
                          <a:cubicBezTo>
                            <a:pt x="538" y="18959"/>
                            <a:pt x="359" y="19617"/>
                            <a:pt x="239" y="20275"/>
                          </a:cubicBezTo>
                          <a:cubicBezTo>
                            <a:pt x="119" y="20933"/>
                            <a:pt x="60" y="21530"/>
                            <a:pt x="0" y="22189"/>
                          </a:cubicBezTo>
                          <a:lnTo>
                            <a:pt x="897" y="22787"/>
                          </a:lnTo>
                          <a:moveTo>
                            <a:pt x="4246" y="32296"/>
                          </a:moveTo>
                          <a:cubicBezTo>
                            <a:pt x="5741" y="33313"/>
                            <a:pt x="7476" y="33911"/>
                            <a:pt x="9330" y="34030"/>
                          </a:cubicBezTo>
                          <a:cubicBezTo>
                            <a:pt x="11184" y="34150"/>
                            <a:pt x="13217" y="33851"/>
                            <a:pt x="15251" y="33133"/>
                          </a:cubicBezTo>
                          <a:cubicBezTo>
                            <a:pt x="17284" y="32415"/>
                            <a:pt x="19377" y="31339"/>
                            <a:pt x="21291" y="29904"/>
                          </a:cubicBezTo>
                          <a:cubicBezTo>
                            <a:pt x="23265" y="28468"/>
                            <a:pt x="25119" y="26674"/>
                            <a:pt x="26734" y="24641"/>
                          </a:cubicBezTo>
                          <a:cubicBezTo>
                            <a:pt x="28349" y="22547"/>
                            <a:pt x="29664" y="20335"/>
                            <a:pt x="30561" y="18181"/>
                          </a:cubicBezTo>
                          <a:cubicBezTo>
                            <a:pt x="31459" y="15968"/>
                            <a:pt x="31997" y="13815"/>
                            <a:pt x="32116" y="11722"/>
                          </a:cubicBezTo>
                          <a:cubicBezTo>
                            <a:pt x="32236" y="9689"/>
                            <a:pt x="31997" y="7715"/>
                            <a:pt x="31339" y="6041"/>
                          </a:cubicBezTo>
                          <a:cubicBezTo>
                            <a:pt x="30681" y="4366"/>
                            <a:pt x="29664" y="2930"/>
                            <a:pt x="28169" y="1854"/>
                          </a:cubicBezTo>
                          <a:cubicBezTo>
                            <a:pt x="27691" y="1495"/>
                            <a:pt x="27212" y="1196"/>
                            <a:pt x="26674" y="957"/>
                          </a:cubicBezTo>
                          <a:cubicBezTo>
                            <a:pt x="26136" y="718"/>
                            <a:pt x="25597" y="538"/>
                            <a:pt x="25059" y="359"/>
                          </a:cubicBezTo>
                          <a:cubicBezTo>
                            <a:pt x="24461" y="180"/>
                            <a:pt x="23923" y="120"/>
                            <a:pt x="23265" y="60"/>
                          </a:cubicBezTo>
                          <a:cubicBezTo>
                            <a:pt x="22667" y="0"/>
                            <a:pt x="22009" y="0"/>
                            <a:pt x="21411" y="0"/>
                          </a:cubicBezTo>
                          <a:lnTo>
                            <a:pt x="22368" y="837"/>
                          </a:lnTo>
                          <a:cubicBezTo>
                            <a:pt x="22846" y="837"/>
                            <a:pt x="23325" y="897"/>
                            <a:pt x="23803" y="1017"/>
                          </a:cubicBezTo>
                          <a:cubicBezTo>
                            <a:pt x="24282" y="1076"/>
                            <a:pt x="24700" y="1196"/>
                            <a:pt x="25179" y="1375"/>
                          </a:cubicBezTo>
                          <a:cubicBezTo>
                            <a:pt x="25597" y="1495"/>
                            <a:pt x="26016" y="1675"/>
                            <a:pt x="26435" y="1914"/>
                          </a:cubicBezTo>
                          <a:cubicBezTo>
                            <a:pt x="26853" y="2153"/>
                            <a:pt x="27212" y="2392"/>
                            <a:pt x="27631" y="2632"/>
                          </a:cubicBezTo>
                          <a:cubicBezTo>
                            <a:pt x="29006" y="3648"/>
                            <a:pt x="30023" y="5024"/>
                            <a:pt x="30621" y="6639"/>
                          </a:cubicBezTo>
                          <a:cubicBezTo>
                            <a:pt x="31219" y="8253"/>
                            <a:pt x="31459" y="10107"/>
                            <a:pt x="31339" y="12021"/>
                          </a:cubicBezTo>
                          <a:cubicBezTo>
                            <a:pt x="31219" y="13995"/>
                            <a:pt x="30741" y="16088"/>
                            <a:pt x="29844" y="18122"/>
                          </a:cubicBezTo>
                          <a:cubicBezTo>
                            <a:pt x="29006" y="20215"/>
                            <a:pt x="27810" y="22308"/>
                            <a:pt x="26196" y="24282"/>
                          </a:cubicBezTo>
                          <a:cubicBezTo>
                            <a:pt x="24581" y="26255"/>
                            <a:pt x="22846" y="27930"/>
                            <a:pt x="20992" y="29306"/>
                          </a:cubicBezTo>
                          <a:cubicBezTo>
                            <a:pt x="19138" y="30681"/>
                            <a:pt x="17165" y="31698"/>
                            <a:pt x="15251" y="32356"/>
                          </a:cubicBezTo>
                          <a:cubicBezTo>
                            <a:pt x="13277" y="33014"/>
                            <a:pt x="11363" y="33313"/>
                            <a:pt x="9569" y="33193"/>
                          </a:cubicBezTo>
                          <a:cubicBezTo>
                            <a:pt x="7775" y="33074"/>
                            <a:pt x="6100" y="32535"/>
                            <a:pt x="4725" y="31578"/>
                          </a:cubicBezTo>
                          <a:cubicBezTo>
                            <a:pt x="4127" y="31160"/>
                            <a:pt x="3648" y="30681"/>
                            <a:pt x="3170" y="30143"/>
                          </a:cubicBezTo>
                          <a:cubicBezTo>
                            <a:pt x="2691" y="29605"/>
                            <a:pt x="2332" y="29006"/>
                            <a:pt x="2033" y="28408"/>
                          </a:cubicBezTo>
                          <a:cubicBezTo>
                            <a:pt x="1734" y="27751"/>
                            <a:pt x="1435" y="27093"/>
                            <a:pt x="1256" y="26375"/>
                          </a:cubicBezTo>
                          <a:cubicBezTo>
                            <a:pt x="1076" y="25657"/>
                            <a:pt x="957" y="24880"/>
                            <a:pt x="897" y="24102"/>
                          </a:cubicBezTo>
                          <a:lnTo>
                            <a:pt x="60" y="23385"/>
                          </a:lnTo>
                          <a:cubicBezTo>
                            <a:pt x="60" y="24342"/>
                            <a:pt x="179" y="25239"/>
                            <a:pt x="299" y="26076"/>
                          </a:cubicBezTo>
                          <a:cubicBezTo>
                            <a:pt x="478" y="26913"/>
                            <a:pt x="718" y="27751"/>
                            <a:pt x="1076" y="28528"/>
                          </a:cubicBezTo>
                          <a:cubicBezTo>
                            <a:pt x="1435" y="29306"/>
                            <a:pt x="1854" y="29963"/>
                            <a:pt x="2332" y="30621"/>
                          </a:cubicBezTo>
                          <a:cubicBezTo>
                            <a:pt x="2930" y="31220"/>
                            <a:pt x="3528" y="31817"/>
                            <a:pt x="4246" y="32296"/>
                          </a:cubicBezTo>
                        </a:path>
                      </a:pathLst>
                    </a:custGeom>
                    <a:noFill/>
                    <a:ln w="6350" cap="flat">
                      <a:solidFill>
                        <a:schemeClr val="bg1">
                          <a:alpha val="80000"/>
                        </a:schemeClr>
                      </a:solidFill>
                      <a:prstDash val="solid"/>
                      <a:miter/>
                    </a:ln>
                  </p:spPr>
                  <p:txBody>
                    <a:bodyPr rtlCol="0" anchor="ctr"/>
                    <a:lstStyle/>
                    <a:p>
                      <a:endParaRPr lang="en-GB"/>
                    </a:p>
                  </p:txBody>
                </p:sp>
                <p:sp>
                  <p:nvSpPr>
                    <p:cNvPr id="7410" name="Vrije vorm: vorm 7409">
                      <a:extLst>
                        <a:ext uri="{FF2B5EF4-FFF2-40B4-BE49-F238E27FC236}">
                          <a16:creationId xmlns:a16="http://schemas.microsoft.com/office/drawing/2014/main" id="{1B75A656-7BC0-466D-A45A-C5B36E77B855}"/>
                        </a:ext>
                      </a:extLst>
                    </p:cNvPr>
                    <p:cNvSpPr/>
                    <p:nvPr/>
                  </p:nvSpPr>
                  <p:spPr>
                    <a:xfrm>
                      <a:off x="5305637" y="5467153"/>
                      <a:ext cx="71783" cy="63858"/>
                    </a:xfrm>
                    <a:custGeom>
                      <a:avLst/>
                      <a:gdLst>
                        <a:gd name="connsiteX0" fmla="*/ 0 w 71783"/>
                        <a:gd name="connsiteY0" fmla="*/ 32340 h 63858"/>
                        <a:gd name="connsiteX1" fmla="*/ 2392 w 71783"/>
                        <a:gd name="connsiteY1" fmla="*/ 33955 h 63858"/>
                        <a:gd name="connsiteX2" fmla="*/ 2930 w 71783"/>
                        <a:gd name="connsiteY2" fmla="*/ 34313 h 63858"/>
                        <a:gd name="connsiteX3" fmla="*/ 5323 w 71783"/>
                        <a:gd name="connsiteY3" fmla="*/ 35928 h 63858"/>
                        <a:gd name="connsiteX4" fmla="*/ 5861 w 71783"/>
                        <a:gd name="connsiteY4" fmla="*/ 36287 h 63858"/>
                        <a:gd name="connsiteX5" fmla="*/ 7057 w 71783"/>
                        <a:gd name="connsiteY5" fmla="*/ 37065 h 63858"/>
                        <a:gd name="connsiteX6" fmla="*/ 7656 w 71783"/>
                        <a:gd name="connsiteY6" fmla="*/ 36287 h 63858"/>
                        <a:gd name="connsiteX7" fmla="*/ 6459 w 71783"/>
                        <a:gd name="connsiteY7" fmla="*/ 35510 h 63858"/>
                        <a:gd name="connsiteX8" fmla="*/ 5921 w 71783"/>
                        <a:gd name="connsiteY8" fmla="*/ 35151 h 63858"/>
                        <a:gd name="connsiteX9" fmla="*/ 3529 w 71783"/>
                        <a:gd name="connsiteY9" fmla="*/ 33536 h 63858"/>
                        <a:gd name="connsiteX10" fmla="*/ 2990 w 71783"/>
                        <a:gd name="connsiteY10" fmla="*/ 33177 h 63858"/>
                        <a:gd name="connsiteX11" fmla="*/ 1136 w 71783"/>
                        <a:gd name="connsiteY11" fmla="*/ 31921 h 63858"/>
                        <a:gd name="connsiteX12" fmla="*/ 2811 w 71783"/>
                        <a:gd name="connsiteY12" fmla="*/ 29828 h 63858"/>
                        <a:gd name="connsiteX13" fmla="*/ 3409 w 71783"/>
                        <a:gd name="connsiteY13" fmla="*/ 29110 h 63858"/>
                        <a:gd name="connsiteX14" fmla="*/ 6519 w 71783"/>
                        <a:gd name="connsiteY14" fmla="*/ 25163 h 63858"/>
                        <a:gd name="connsiteX15" fmla="*/ 7117 w 71783"/>
                        <a:gd name="connsiteY15" fmla="*/ 24386 h 63858"/>
                        <a:gd name="connsiteX16" fmla="*/ 7954 w 71783"/>
                        <a:gd name="connsiteY16" fmla="*/ 23369 h 63858"/>
                        <a:gd name="connsiteX17" fmla="*/ 8552 w 71783"/>
                        <a:gd name="connsiteY17" fmla="*/ 22591 h 63858"/>
                        <a:gd name="connsiteX18" fmla="*/ 10347 w 71783"/>
                        <a:gd name="connsiteY18" fmla="*/ 20319 h 63858"/>
                        <a:gd name="connsiteX19" fmla="*/ 10945 w 71783"/>
                        <a:gd name="connsiteY19" fmla="*/ 19601 h 63858"/>
                        <a:gd name="connsiteX20" fmla="*/ 12560 w 71783"/>
                        <a:gd name="connsiteY20" fmla="*/ 17567 h 63858"/>
                        <a:gd name="connsiteX21" fmla="*/ 13158 w 71783"/>
                        <a:gd name="connsiteY21" fmla="*/ 16790 h 63858"/>
                        <a:gd name="connsiteX22" fmla="*/ 16686 w 71783"/>
                        <a:gd name="connsiteY22" fmla="*/ 12304 h 63858"/>
                        <a:gd name="connsiteX23" fmla="*/ 17284 w 71783"/>
                        <a:gd name="connsiteY23" fmla="*/ 11527 h 63858"/>
                        <a:gd name="connsiteX24" fmla="*/ 20813 w 71783"/>
                        <a:gd name="connsiteY24" fmla="*/ 7041 h 63858"/>
                        <a:gd name="connsiteX25" fmla="*/ 24342 w 71783"/>
                        <a:gd name="connsiteY25" fmla="*/ 3274 h 63858"/>
                        <a:gd name="connsiteX26" fmla="*/ 27691 w 71783"/>
                        <a:gd name="connsiteY26" fmla="*/ 1180 h 63858"/>
                        <a:gd name="connsiteX27" fmla="*/ 30861 w 71783"/>
                        <a:gd name="connsiteY27" fmla="*/ 762 h 63858"/>
                        <a:gd name="connsiteX28" fmla="*/ 33911 w 71783"/>
                        <a:gd name="connsiteY28" fmla="*/ 2018 h 63858"/>
                        <a:gd name="connsiteX29" fmla="*/ 37858 w 71783"/>
                        <a:gd name="connsiteY29" fmla="*/ 4769 h 63858"/>
                        <a:gd name="connsiteX30" fmla="*/ 38815 w 71783"/>
                        <a:gd name="connsiteY30" fmla="*/ 4888 h 63858"/>
                        <a:gd name="connsiteX31" fmla="*/ 39712 w 71783"/>
                        <a:gd name="connsiteY31" fmla="*/ 5187 h 63858"/>
                        <a:gd name="connsiteX32" fmla="*/ 40609 w 71783"/>
                        <a:gd name="connsiteY32" fmla="*/ 5606 h 63858"/>
                        <a:gd name="connsiteX33" fmla="*/ 41506 w 71783"/>
                        <a:gd name="connsiteY33" fmla="*/ 6144 h 63858"/>
                        <a:gd name="connsiteX34" fmla="*/ 50477 w 71783"/>
                        <a:gd name="connsiteY34" fmla="*/ 12424 h 63858"/>
                        <a:gd name="connsiteX35" fmla="*/ 49879 w 71783"/>
                        <a:gd name="connsiteY35" fmla="*/ 13202 h 63858"/>
                        <a:gd name="connsiteX36" fmla="*/ 63336 w 71783"/>
                        <a:gd name="connsiteY36" fmla="*/ 22591 h 63858"/>
                        <a:gd name="connsiteX37" fmla="*/ 63874 w 71783"/>
                        <a:gd name="connsiteY37" fmla="*/ 22950 h 63858"/>
                        <a:gd name="connsiteX38" fmla="*/ 68539 w 71783"/>
                        <a:gd name="connsiteY38" fmla="*/ 26180 h 63858"/>
                        <a:gd name="connsiteX39" fmla="*/ 70273 w 71783"/>
                        <a:gd name="connsiteY39" fmla="*/ 27974 h 63858"/>
                        <a:gd name="connsiteX40" fmla="*/ 70991 w 71783"/>
                        <a:gd name="connsiteY40" fmla="*/ 30127 h 63858"/>
                        <a:gd name="connsiteX41" fmla="*/ 70692 w 71783"/>
                        <a:gd name="connsiteY41" fmla="*/ 32639 h 63858"/>
                        <a:gd name="connsiteX42" fmla="*/ 69377 w 71783"/>
                        <a:gd name="connsiteY42" fmla="*/ 35570 h 63858"/>
                        <a:gd name="connsiteX43" fmla="*/ 69257 w 71783"/>
                        <a:gd name="connsiteY43" fmla="*/ 35749 h 63858"/>
                        <a:gd name="connsiteX44" fmla="*/ 69137 w 71783"/>
                        <a:gd name="connsiteY44" fmla="*/ 35928 h 63858"/>
                        <a:gd name="connsiteX45" fmla="*/ 69018 w 71783"/>
                        <a:gd name="connsiteY45" fmla="*/ 36108 h 63858"/>
                        <a:gd name="connsiteX46" fmla="*/ 68898 w 71783"/>
                        <a:gd name="connsiteY46" fmla="*/ 36287 h 63858"/>
                        <a:gd name="connsiteX47" fmla="*/ 68718 w 71783"/>
                        <a:gd name="connsiteY47" fmla="*/ 36527 h 63858"/>
                        <a:gd name="connsiteX48" fmla="*/ 68539 w 71783"/>
                        <a:gd name="connsiteY48" fmla="*/ 36766 h 63858"/>
                        <a:gd name="connsiteX49" fmla="*/ 68360 w 71783"/>
                        <a:gd name="connsiteY49" fmla="*/ 37005 h 63858"/>
                        <a:gd name="connsiteX50" fmla="*/ 68180 w 71783"/>
                        <a:gd name="connsiteY50" fmla="*/ 37244 h 63858"/>
                        <a:gd name="connsiteX51" fmla="*/ 68061 w 71783"/>
                        <a:gd name="connsiteY51" fmla="*/ 37424 h 63858"/>
                        <a:gd name="connsiteX52" fmla="*/ 67941 w 71783"/>
                        <a:gd name="connsiteY52" fmla="*/ 37603 h 63858"/>
                        <a:gd name="connsiteX53" fmla="*/ 67822 w 71783"/>
                        <a:gd name="connsiteY53" fmla="*/ 37782 h 63858"/>
                        <a:gd name="connsiteX54" fmla="*/ 67702 w 71783"/>
                        <a:gd name="connsiteY54" fmla="*/ 37962 h 63858"/>
                        <a:gd name="connsiteX55" fmla="*/ 67582 w 71783"/>
                        <a:gd name="connsiteY55" fmla="*/ 38141 h 63858"/>
                        <a:gd name="connsiteX56" fmla="*/ 67463 w 71783"/>
                        <a:gd name="connsiteY56" fmla="*/ 38321 h 63858"/>
                        <a:gd name="connsiteX57" fmla="*/ 67343 w 71783"/>
                        <a:gd name="connsiteY57" fmla="*/ 38500 h 63858"/>
                        <a:gd name="connsiteX58" fmla="*/ 67223 w 71783"/>
                        <a:gd name="connsiteY58" fmla="*/ 38680 h 63858"/>
                        <a:gd name="connsiteX59" fmla="*/ 66565 w 71783"/>
                        <a:gd name="connsiteY59" fmla="*/ 39517 h 63858"/>
                        <a:gd name="connsiteX60" fmla="*/ 65968 w 71783"/>
                        <a:gd name="connsiteY60" fmla="*/ 40235 h 63858"/>
                        <a:gd name="connsiteX61" fmla="*/ 65190 w 71783"/>
                        <a:gd name="connsiteY61" fmla="*/ 41191 h 63858"/>
                        <a:gd name="connsiteX62" fmla="*/ 64592 w 71783"/>
                        <a:gd name="connsiteY62" fmla="*/ 41909 h 63858"/>
                        <a:gd name="connsiteX63" fmla="*/ 63755 w 71783"/>
                        <a:gd name="connsiteY63" fmla="*/ 42986 h 63858"/>
                        <a:gd name="connsiteX64" fmla="*/ 63575 w 71783"/>
                        <a:gd name="connsiteY64" fmla="*/ 43225 h 63858"/>
                        <a:gd name="connsiteX65" fmla="*/ 62977 w 71783"/>
                        <a:gd name="connsiteY65" fmla="*/ 43943 h 63858"/>
                        <a:gd name="connsiteX66" fmla="*/ 62200 w 71783"/>
                        <a:gd name="connsiteY66" fmla="*/ 44899 h 63858"/>
                        <a:gd name="connsiteX67" fmla="*/ 61601 w 71783"/>
                        <a:gd name="connsiteY67" fmla="*/ 45617 h 63858"/>
                        <a:gd name="connsiteX68" fmla="*/ 59688 w 71783"/>
                        <a:gd name="connsiteY68" fmla="*/ 48069 h 63858"/>
                        <a:gd name="connsiteX69" fmla="*/ 59090 w 71783"/>
                        <a:gd name="connsiteY69" fmla="*/ 48787 h 63858"/>
                        <a:gd name="connsiteX70" fmla="*/ 57535 w 71783"/>
                        <a:gd name="connsiteY70" fmla="*/ 50760 h 63858"/>
                        <a:gd name="connsiteX71" fmla="*/ 56996 w 71783"/>
                        <a:gd name="connsiteY71" fmla="*/ 51478 h 63858"/>
                        <a:gd name="connsiteX72" fmla="*/ 55262 w 71783"/>
                        <a:gd name="connsiteY72" fmla="*/ 53691 h 63858"/>
                        <a:gd name="connsiteX73" fmla="*/ 54664 w 71783"/>
                        <a:gd name="connsiteY73" fmla="*/ 54409 h 63858"/>
                        <a:gd name="connsiteX74" fmla="*/ 53886 w 71783"/>
                        <a:gd name="connsiteY74" fmla="*/ 55426 h 63858"/>
                        <a:gd name="connsiteX75" fmla="*/ 53288 w 71783"/>
                        <a:gd name="connsiteY75" fmla="*/ 56143 h 63858"/>
                        <a:gd name="connsiteX76" fmla="*/ 50298 w 71783"/>
                        <a:gd name="connsiteY76" fmla="*/ 59971 h 63858"/>
                        <a:gd name="connsiteX77" fmla="*/ 49760 w 71783"/>
                        <a:gd name="connsiteY77" fmla="*/ 60689 h 63858"/>
                        <a:gd name="connsiteX78" fmla="*/ 48145 w 71783"/>
                        <a:gd name="connsiteY78" fmla="*/ 62722 h 63858"/>
                        <a:gd name="connsiteX79" fmla="*/ 45932 w 71783"/>
                        <a:gd name="connsiteY79" fmla="*/ 61227 h 63858"/>
                        <a:gd name="connsiteX80" fmla="*/ 45454 w 71783"/>
                        <a:gd name="connsiteY80" fmla="*/ 60868 h 63858"/>
                        <a:gd name="connsiteX81" fmla="*/ 43241 w 71783"/>
                        <a:gd name="connsiteY81" fmla="*/ 59373 h 63858"/>
                        <a:gd name="connsiteX82" fmla="*/ 42702 w 71783"/>
                        <a:gd name="connsiteY82" fmla="*/ 59014 h 63858"/>
                        <a:gd name="connsiteX83" fmla="*/ 37200 w 71783"/>
                        <a:gd name="connsiteY83" fmla="*/ 55366 h 63858"/>
                        <a:gd name="connsiteX84" fmla="*/ 36662 w 71783"/>
                        <a:gd name="connsiteY84" fmla="*/ 55007 h 63858"/>
                        <a:gd name="connsiteX85" fmla="*/ 34329 w 71783"/>
                        <a:gd name="connsiteY85" fmla="*/ 53452 h 63858"/>
                        <a:gd name="connsiteX86" fmla="*/ 33791 w 71783"/>
                        <a:gd name="connsiteY86" fmla="*/ 53093 h 63858"/>
                        <a:gd name="connsiteX87" fmla="*/ 29844 w 71783"/>
                        <a:gd name="connsiteY87" fmla="*/ 50521 h 63858"/>
                        <a:gd name="connsiteX88" fmla="*/ 29306 w 71783"/>
                        <a:gd name="connsiteY88" fmla="*/ 50162 h 63858"/>
                        <a:gd name="connsiteX89" fmla="*/ 20634 w 71783"/>
                        <a:gd name="connsiteY89" fmla="*/ 44421 h 63858"/>
                        <a:gd name="connsiteX90" fmla="*/ 20096 w 71783"/>
                        <a:gd name="connsiteY90" fmla="*/ 44062 h 63858"/>
                        <a:gd name="connsiteX91" fmla="*/ 17643 w 71783"/>
                        <a:gd name="connsiteY91" fmla="*/ 42447 h 63858"/>
                        <a:gd name="connsiteX92" fmla="*/ 17045 w 71783"/>
                        <a:gd name="connsiteY92" fmla="*/ 43225 h 63858"/>
                        <a:gd name="connsiteX93" fmla="*/ 19497 w 71783"/>
                        <a:gd name="connsiteY93" fmla="*/ 44840 h 63858"/>
                        <a:gd name="connsiteX94" fmla="*/ 20036 w 71783"/>
                        <a:gd name="connsiteY94" fmla="*/ 45198 h 63858"/>
                        <a:gd name="connsiteX95" fmla="*/ 28707 w 71783"/>
                        <a:gd name="connsiteY95" fmla="*/ 50940 h 63858"/>
                        <a:gd name="connsiteX96" fmla="*/ 29246 w 71783"/>
                        <a:gd name="connsiteY96" fmla="*/ 51299 h 63858"/>
                        <a:gd name="connsiteX97" fmla="*/ 33193 w 71783"/>
                        <a:gd name="connsiteY97" fmla="*/ 53871 h 63858"/>
                        <a:gd name="connsiteX98" fmla="*/ 33731 w 71783"/>
                        <a:gd name="connsiteY98" fmla="*/ 54229 h 63858"/>
                        <a:gd name="connsiteX99" fmla="*/ 36064 w 71783"/>
                        <a:gd name="connsiteY99" fmla="*/ 55784 h 63858"/>
                        <a:gd name="connsiteX100" fmla="*/ 36602 w 71783"/>
                        <a:gd name="connsiteY100" fmla="*/ 56143 h 63858"/>
                        <a:gd name="connsiteX101" fmla="*/ 42105 w 71783"/>
                        <a:gd name="connsiteY101" fmla="*/ 59791 h 63858"/>
                        <a:gd name="connsiteX102" fmla="*/ 42643 w 71783"/>
                        <a:gd name="connsiteY102" fmla="*/ 60150 h 63858"/>
                        <a:gd name="connsiteX103" fmla="*/ 44855 w 71783"/>
                        <a:gd name="connsiteY103" fmla="*/ 61645 h 63858"/>
                        <a:gd name="connsiteX104" fmla="*/ 45334 w 71783"/>
                        <a:gd name="connsiteY104" fmla="*/ 62004 h 63858"/>
                        <a:gd name="connsiteX105" fmla="*/ 48085 w 71783"/>
                        <a:gd name="connsiteY105" fmla="*/ 63858 h 63858"/>
                        <a:gd name="connsiteX106" fmla="*/ 50298 w 71783"/>
                        <a:gd name="connsiteY106" fmla="*/ 61047 h 63858"/>
                        <a:gd name="connsiteX107" fmla="*/ 50836 w 71783"/>
                        <a:gd name="connsiteY107" fmla="*/ 60330 h 63858"/>
                        <a:gd name="connsiteX108" fmla="*/ 53827 w 71783"/>
                        <a:gd name="connsiteY108" fmla="*/ 56502 h 63858"/>
                        <a:gd name="connsiteX109" fmla="*/ 54425 w 71783"/>
                        <a:gd name="connsiteY109" fmla="*/ 55784 h 63858"/>
                        <a:gd name="connsiteX110" fmla="*/ 55202 w 71783"/>
                        <a:gd name="connsiteY110" fmla="*/ 54768 h 63858"/>
                        <a:gd name="connsiteX111" fmla="*/ 55800 w 71783"/>
                        <a:gd name="connsiteY111" fmla="*/ 54050 h 63858"/>
                        <a:gd name="connsiteX112" fmla="*/ 57535 w 71783"/>
                        <a:gd name="connsiteY112" fmla="*/ 51837 h 63858"/>
                        <a:gd name="connsiteX113" fmla="*/ 58073 w 71783"/>
                        <a:gd name="connsiteY113" fmla="*/ 51120 h 63858"/>
                        <a:gd name="connsiteX114" fmla="*/ 59628 w 71783"/>
                        <a:gd name="connsiteY114" fmla="*/ 49146 h 63858"/>
                        <a:gd name="connsiteX115" fmla="*/ 60226 w 71783"/>
                        <a:gd name="connsiteY115" fmla="*/ 48428 h 63858"/>
                        <a:gd name="connsiteX116" fmla="*/ 62140 w 71783"/>
                        <a:gd name="connsiteY116" fmla="*/ 46036 h 63858"/>
                        <a:gd name="connsiteX117" fmla="*/ 62738 w 71783"/>
                        <a:gd name="connsiteY117" fmla="*/ 45318 h 63858"/>
                        <a:gd name="connsiteX118" fmla="*/ 63515 w 71783"/>
                        <a:gd name="connsiteY118" fmla="*/ 44361 h 63858"/>
                        <a:gd name="connsiteX119" fmla="*/ 64114 w 71783"/>
                        <a:gd name="connsiteY119" fmla="*/ 43644 h 63858"/>
                        <a:gd name="connsiteX120" fmla="*/ 64293 w 71783"/>
                        <a:gd name="connsiteY120" fmla="*/ 43404 h 63858"/>
                        <a:gd name="connsiteX121" fmla="*/ 65130 w 71783"/>
                        <a:gd name="connsiteY121" fmla="*/ 42388 h 63858"/>
                        <a:gd name="connsiteX122" fmla="*/ 65728 w 71783"/>
                        <a:gd name="connsiteY122" fmla="*/ 41670 h 63858"/>
                        <a:gd name="connsiteX123" fmla="*/ 66506 w 71783"/>
                        <a:gd name="connsiteY123" fmla="*/ 40713 h 63858"/>
                        <a:gd name="connsiteX124" fmla="*/ 67104 w 71783"/>
                        <a:gd name="connsiteY124" fmla="*/ 39995 h 63858"/>
                        <a:gd name="connsiteX125" fmla="*/ 67762 w 71783"/>
                        <a:gd name="connsiteY125" fmla="*/ 39098 h 63858"/>
                        <a:gd name="connsiteX126" fmla="*/ 67881 w 71783"/>
                        <a:gd name="connsiteY126" fmla="*/ 38919 h 63858"/>
                        <a:gd name="connsiteX127" fmla="*/ 68001 w 71783"/>
                        <a:gd name="connsiteY127" fmla="*/ 38739 h 63858"/>
                        <a:gd name="connsiteX128" fmla="*/ 68121 w 71783"/>
                        <a:gd name="connsiteY128" fmla="*/ 38560 h 63858"/>
                        <a:gd name="connsiteX129" fmla="*/ 68240 w 71783"/>
                        <a:gd name="connsiteY129" fmla="*/ 38381 h 63858"/>
                        <a:gd name="connsiteX130" fmla="*/ 68360 w 71783"/>
                        <a:gd name="connsiteY130" fmla="*/ 38201 h 63858"/>
                        <a:gd name="connsiteX131" fmla="*/ 68479 w 71783"/>
                        <a:gd name="connsiteY131" fmla="*/ 38022 h 63858"/>
                        <a:gd name="connsiteX132" fmla="*/ 68599 w 71783"/>
                        <a:gd name="connsiteY132" fmla="*/ 37842 h 63858"/>
                        <a:gd name="connsiteX133" fmla="*/ 68718 w 71783"/>
                        <a:gd name="connsiteY133" fmla="*/ 37663 h 63858"/>
                        <a:gd name="connsiteX134" fmla="*/ 68898 w 71783"/>
                        <a:gd name="connsiteY134" fmla="*/ 37424 h 63858"/>
                        <a:gd name="connsiteX135" fmla="*/ 69077 w 71783"/>
                        <a:gd name="connsiteY135" fmla="*/ 37184 h 63858"/>
                        <a:gd name="connsiteX136" fmla="*/ 69257 w 71783"/>
                        <a:gd name="connsiteY136" fmla="*/ 36945 h 63858"/>
                        <a:gd name="connsiteX137" fmla="*/ 69436 w 71783"/>
                        <a:gd name="connsiteY137" fmla="*/ 36706 h 63858"/>
                        <a:gd name="connsiteX138" fmla="*/ 69556 w 71783"/>
                        <a:gd name="connsiteY138" fmla="*/ 36527 h 63858"/>
                        <a:gd name="connsiteX139" fmla="*/ 69676 w 71783"/>
                        <a:gd name="connsiteY139" fmla="*/ 36347 h 63858"/>
                        <a:gd name="connsiteX140" fmla="*/ 69795 w 71783"/>
                        <a:gd name="connsiteY140" fmla="*/ 36168 h 63858"/>
                        <a:gd name="connsiteX141" fmla="*/ 69915 w 71783"/>
                        <a:gd name="connsiteY141" fmla="*/ 35988 h 63858"/>
                        <a:gd name="connsiteX142" fmla="*/ 71410 w 71783"/>
                        <a:gd name="connsiteY142" fmla="*/ 32699 h 63858"/>
                        <a:gd name="connsiteX143" fmla="*/ 71769 w 71783"/>
                        <a:gd name="connsiteY143" fmla="*/ 29828 h 63858"/>
                        <a:gd name="connsiteX144" fmla="*/ 70991 w 71783"/>
                        <a:gd name="connsiteY144" fmla="*/ 27436 h 63858"/>
                        <a:gd name="connsiteX145" fmla="*/ 69077 w 71783"/>
                        <a:gd name="connsiteY145" fmla="*/ 25462 h 63858"/>
                        <a:gd name="connsiteX146" fmla="*/ 64412 w 71783"/>
                        <a:gd name="connsiteY146" fmla="*/ 22233 h 63858"/>
                        <a:gd name="connsiteX147" fmla="*/ 63874 w 71783"/>
                        <a:gd name="connsiteY147" fmla="*/ 21874 h 63858"/>
                        <a:gd name="connsiteX148" fmla="*/ 39712 w 71783"/>
                        <a:gd name="connsiteY148" fmla="*/ 5008 h 63858"/>
                        <a:gd name="connsiteX149" fmla="*/ 39174 w 71783"/>
                        <a:gd name="connsiteY149" fmla="*/ 4649 h 63858"/>
                        <a:gd name="connsiteX150" fmla="*/ 34449 w 71783"/>
                        <a:gd name="connsiteY150" fmla="*/ 1360 h 63858"/>
                        <a:gd name="connsiteX151" fmla="*/ 31160 w 71783"/>
                        <a:gd name="connsiteY151" fmla="*/ 44 h 63858"/>
                        <a:gd name="connsiteX152" fmla="*/ 27691 w 71783"/>
                        <a:gd name="connsiteY152" fmla="*/ 463 h 63858"/>
                        <a:gd name="connsiteX153" fmla="*/ 24043 w 71783"/>
                        <a:gd name="connsiteY153" fmla="*/ 2676 h 63858"/>
                        <a:gd name="connsiteX154" fmla="*/ 20215 w 71783"/>
                        <a:gd name="connsiteY154" fmla="*/ 6683 h 63858"/>
                        <a:gd name="connsiteX155" fmla="*/ 16686 w 71783"/>
                        <a:gd name="connsiteY155" fmla="*/ 11168 h 63858"/>
                        <a:gd name="connsiteX156" fmla="*/ 16088 w 71783"/>
                        <a:gd name="connsiteY156" fmla="*/ 11946 h 63858"/>
                        <a:gd name="connsiteX157" fmla="*/ 12560 w 71783"/>
                        <a:gd name="connsiteY157" fmla="*/ 16431 h 63858"/>
                        <a:gd name="connsiteX158" fmla="*/ 11961 w 71783"/>
                        <a:gd name="connsiteY158" fmla="*/ 17209 h 63858"/>
                        <a:gd name="connsiteX159" fmla="*/ 10347 w 71783"/>
                        <a:gd name="connsiteY159" fmla="*/ 19242 h 63858"/>
                        <a:gd name="connsiteX160" fmla="*/ 9749 w 71783"/>
                        <a:gd name="connsiteY160" fmla="*/ 19960 h 63858"/>
                        <a:gd name="connsiteX161" fmla="*/ 7954 w 71783"/>
                        <a:gd name="connsiteY161" fmla="*/ 22233 h 63858"/>
                        <a:gd name="connsiteX162" fmla="*/ 7357 w 71783"/>
                        <a:gd name="connsiteY162" fmla="*/ 23010 h 63858"/>
                        <a:gd name="connsiteX163" fmla="*/ 6519 w 71783"/>
                        <a:gd name="connsiteY163" fmla="*/ 24027 h 63858"/>
                        <a:gd name="connsiteX164" fmla="*/ 5921 w 71783"/>
                        <a:gd name="connsiteY164" fmla="*/ 24804 h 63858"/>
                        <a:gd name="connsiteX165" fmla="*/ 2811 w 71783"/>
                        <a:gd name="connsiteY165" fmla="*/ 28751 h 63858"/>
                        <a:gd name="connsiteX166" fmla="*/ 2213 w 71783"/>
                        <a:gd name="connsiteY166" fmla="*/ 29469 h 63858"/>
                        <a:gd name="connsiteX167" fmla="*/ 0 w 71783"/>
                        <a:gd name="connsiteY167" fmla="*/ 32340 h 6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71783" h="63858">
                          <a:moveTo>
                            <a:pt x="0" y="32340"/>
                          </a:moveTo>
                          <a:lnTo>
                            <a:pt x="2392" y="33955"/>
                          </a:lnTo>
                          <a:lnTo>
                            <a:pt x="2930" y="34313"/>
                          </a:lnTo>
                          <a:lnTo>
                            <a:pt x="5323" y="35928"/>
                          </a:lnTo>
                          <a:lnTo>
                            <a:pt x="5861" y="36287"/>
                          </a:lnTo>
                          <a:lnTo>
                            <a:pt x="7057" y="37065"/>
                          </a:lnTo>
                          <a:lnTo>
                            <a:pt x="7656" y="36287"/>
                          </a:lnTo>
                          <a:lnTo>
                            <a:pt x="6459" y="35510"/>
                          </a:lnTo>
                          <a:lnTo>
                            <a:pt x="5921" y="35151"/>
                          </a:lnTo>
                          <a:lnTo>
                            <a:pt x="3529" y="33536"/>
                          </a:lnTo>
                          <a:lnTo>
                            <a:pt x="2990" y="33177"/>
                          </a:lnTo>
                          <a:lnTo>
                            <a:pt x="1136" y="31921"/>
                          </a:lnTo>
                          <a:lnTo>
                            <a:pt x="2811" y="29828"/>
                          </a:lnTo>
                          <a:lnTo>
                            <a:pt x="3409" y="29110"/>
                          </a:lnTo>
                          <a:lnTo>
                            <a:pt x="6519" y="25163"/>
                          </a:lnTo>
                          <a:lnTo>
                            <a:pt x="7117" y="24386"/>
                          </a:lnTo>
                          <a:lnTo>
                            <a:pt x="7954" y="23369"/>
                          </a:lnTo>
                          <a:lnTo>
                            <a:pt x="8552" y="22591"/>
                          </a:lnTo>
                          <a:lnTo>
                            <a:pt x="10347" y="20319"/>
                          </a:lnTo>
                          <a:lnTo>
                            <a:pt x="10945" y="19601"/>
                          </a:lnTo>
                          <a:lnTo>
                            <a:pt x="12560" y="17567"/>
                          </a:lnTo>
                          <a:lnTo>
                            <a:pt x="13158" y="16790"/>
                          </a:lnTo>
                          <a:lnTo>
                            <a:pt x="16686" y="12304"/>
                          </a:lnTo>
                          <a:lnTo>
                            <a:pt x="17284" y="11527"/>
                          </a:lnTo>
                          <a:lnTo>
                            <a:pt x="20813" y="7041"/>
                          </a:lnTo>
                          <a:cubicBezTo>
                            <a:pt x="22009" y="5487"/>
                            <a:pt x="23205" y="4231"/>
                            <a:pt x="24342" y="3274"/>
                          </a:cubicBezTo>
                          <a:cubicBezTo>
                            <a:pt x="25478" y="2317"/>
                            <a:pt x="26614" y="1599"/>
                            <a:pt x="27691" y="1180"/>
                          </a:cubicBezTo>
                          <a:cubicBezTo>
                            <a:pt x="28767" y="762"/>
                            <a:pt x="29844" y="642"/>
                            <a:pt x="30861" y="762"/>
                          </a:cubicBezTo>
                          <a:cubicBezTo>
                            <a:pt x="31877" y="881"/>
                            <a:pt x="32894" y="1300"/>
                            <a:pt x="33911" y="2018"/>
                          </a:cubicBezTo>
                          <a:lnTo>
                            <a:pt x="37858" y="4769"/>
                          </a:lnTo>
                          <a:cubicBezTo>
                            <a:pt x="38157" y="4769"/>
                            <a:pt x="38456" y="4829"/>
                            <a:pt x="38815" y="4888"/>
                          </a:cubicBezTo>
                          <a:cubicBezTo>
                            <a:pt x="39114" y="4948"/>
                            <a:pt x="39413" y="5068"/>
                            <a:pt x="39712" y="5187"/>
                          </a:cubicBezTo>
                          <a:cubicBezTo>
                            <a:pt x="40011" y="5307"/>
                            <a:pt x="40310" y="5427"/>
                            <a:pt x="40609" y="5606"/>
                          </a:cubicBezTo>
                          <a:cubicBezTo>
                            <a:pt x="40908" y="5786"/>
                            <a:pt x="41207" y="5965"/>
                            <a:pt x="41506" y="6144"/>
                          </a:cubicBezTo>
                          <a:lnTo>
                            <a:pt x="50477" y="12424"/>
                          </a:lnTo>
                          <a:lnTo>
                            <a:pt x="49879" y="13202"/>
                          </a:lnTo>
                          <a:lnTo>
                            <a:pt x="63336" y="22591"/>
                          </a:lnTo>
                          <a:lnTo>
                            <a:pt x="63874" y="22950"/>
                          </a:lnTo>
                          <a:lnTo>
                            <a:pt x="68539" y="26180"/>
                          </a:lnTo>
                          <a:cubicBezTo>
                            <a:pt x="69317" y="26718"/>
                            <a:pt x="69855" y="27316"/>
                            <a:pt x="70273" y="27974"/>
                          </a:cubicBezTo>
                          <a:cubicBezTo>
                            <a:pt x="70692" y="28632"/>
                            <a:pt x="70932" y="29350"/>
                            <a:pt x="70991" y="30127"/>
                          </a:cubicBezTo>
                          <a:cubicBezTo>
                            <a:pt x="71051" y="30905"/>
                            <a:pt x="70991" y="31742"/>
                            <a:pt x="70692" y="32639"/>
                          </a:cubicBezTo>
                          <a:cubicBezTo>
                            <a:pt x="70453" y="33536"/>
                            <a:pt x="69975" y="34553"/>
                            <a:pt x="69377" y="35570"/>
                          </a:cubicBezTo>
                          <a:cubicBezTo>
                            <a:pt x="69317" y="35629"/>
                            <a:pt x="69317" y="35689"/>
                            <a:pt x="69257" y="35749"/>
                          </a:cubicBezTo>
                          <a:cubicBezTo>
                            <a:pt x="69197" y="35809"/>
                            <a:pt x="69197" y="35868"/>
                            <a:pt x="69137" y="35928"/>
                          </a:cubicBezTo>
                          <a:cubicBezTo>
                            <a:pt x="69077" y="35988"/>
                            <a:pt x="69077" y="36048"/>
                            <a:pt x="69018" y="36108"/>
                          </a:cubicBezTo>
                          <a:cubicBezTo>
                            <a:pt x="68958" y="36168"/>
                            <a:pt x="68958" y="36227"/>
                            <a:pt x="68898" y="36287"/>
                          </a:cubicBezTo>
                          <a:cubicBezTo>
                            <a:pt x="68838" y="36347"/>
                            <a:pt x="68778" y="36467"/>
                            <a:pt x="68718" y="36527"/>
                          </a:cubicBezTo>
                          <a:cubicBezTo>
                            <a:pt x="68659" y="36586"/>
                            <a:pt x="68599" y="36706"/>
                            <a:pt x="68539" y="36766"/>
                          </a:cubicBezTo>
                          <a:cubicBezTo>
                            <a:pt x="68479" y="36826"/>
                            <a:pt x="68419" y="36945"/>
                            <a:pt x="68360" y="37005"/>
                          </a:cubicBezTo>
                          <a:cubicBezTo>
                            <a:pt x="68300" y="37065"/>
                            <a:pt x="68240" y="37184"/>
                            <a:pt x="68180" y="37244"/>
                          </a:cubicBezTo>
                          <a:cubicBezTo>
                            <a:pt x="68121" y="37304"/>
                            <a:pt x="68121" y="37364"/>
                            <a:pt x="68061" y="37424"/>
                          </a:cubicBezTo>
                          <a:cubicBezTo>
                            <a:pt x="68001" y="37483"/>
                            <a:pt x="68001" y="37543"/>
                            <a:pt x="67941" y="37603"/>
                          </a:cubicBezTo>
                          <a:cubicBezTo>
                            <a:pt x="67881" y="37663"/>
                            <a:pt x="67822" y="37722"/>
                            <a:pt x="67822" y="37782"/>
                          </a:cubicBezTo>
                          <a:cubicBezTo>
                            <a:pt x="67762" y="37842"/>
                            <a:pt x="67702" y="37902"/>
                            <a:pt x="67702" y="37962"/>
                          </a:cubicBezTo>
                          <a:cubicBezTo>
                            <a:pt x="67642" y="38022"/>
                            <a:pt x="67642" y="38081"/>
                            <a:pt x="67582" y="38141"/>
                          </a:cubicBezTo>
                          <a:cubicBezTo>
                            <a:pt x="67523" y="38201"/>
                            <a:pt x="67523" y="38261"/>
                            <a:pt x="67463" y="38321"/>
                          </a:cubicBezTo>
                          <a:cubicBezTo>
                            <a:pt x="67403" y="38381"/>
                            <a:pt x="67343" y="38440"/>
                            <a:pt x="67343" y="38500"/>
                          </a:cubicBezTo>
                          <a:cubicBezTo>
                            <a:pt x="67283" y="38560"/>
                            <a:pt x="67223" y="38620"/>
                            <a:pt x="67223" y="38680"/>
                          </a:cubicBezTo>
                          <a:lnTo>
                            <a:pt x="66565" y="39517"/>
                          </a:lnTo>
                          <a:lnTo>
                            <a:pt x="65968" y="40235"/>
                          </a:lnTo>
                          <a:lnTo>
                            <a:pt x="65190" y="41191"/>
                          </a:lnTo>
                          <a:lnTo>
                            <a:pt x="64592" y="41909"/>
                          </a:lnTo>
                          <a:lnTo>
                            <a:pt x="63755" y="42986"/>
                          </a:lnTo>
                          <a:lnTo>
                            <a:pt x="63575" y="43225"/>
                          </a:lnTo>
                          <a:lnTo>
                            <a:pt x="62977" y="43943"/>
                          </a:lnTo>
                          <a:lnTo>
                            <a:pt x="62200" y="44899"/>
                          </a:lnTo>
                          <a:lnTo>
                            <a:pt x="61601" y="45617"/>
                          </a:lnTo>
                          <a:lnTo>
                            <a:pt x="59688" y="48069"/>
                          </a:lnTo>
                          <a:lnTo>
                            <a:pt x="59090" y="48787"/>
                          </a:lnTo>
                          <a:lnTo>
                            <a:pt x="57535" y="50760"/>
                          </a:lnTo>
                          <a:lnTo>
                            <a:pt x="56996" y="51478"/>
                          </a:lnTo>
                          <a:lnTo>
                            <a:pt x="55262" y="53691"/>
                          </a:lnTo>
                          <a:lnTo>
                            <a:pt x="54664" y="54409"/>
                          </a:lnTo>
                          <a:lnTo>
                            <a:pt x="53886" y="55426"/>
                          </a:lnTo>
                          <a:lnTo>
                            <a:pt x="53288" y="56143"/>
                          </a:lnTo>
                          <a:lnTo>
                            <a:pt x="50298" y="59971"/>
                          </a:lnTo>
                          <a:lnTo>
                            <a:pt x="49760" y="60689"/>
                          </a:lnTo>
                          <a:lnTo>
                            <a:pt x="48145" y="62722"/>
                          </a:lnTo>
                          <a:lnTo>
                            <a:pt x="45932" y="61227"/>
                          </a:lnTo>
                          <a:lnTo>
                            <a:pt x="45454" y="60868"/>
                          </a:lnTo>
                          <a:lnTo>
                            <a:pt x="43241" y="59373"/>
                          </a:lnTo>
                          <a:lnTo>
                            <a:pt x="42702" y="59014"/>
                          </a:lnTo>
                          <a:lnTo>
                            <a:pt x="37200" y="55366"/>
                          </a:lnTo>
                          <a:lnTo>
                            <a:pt x="36662" y="55007"/>
                          </a:lnTo>
                          <a:lnTo>
                            <a:pt x="34329" y="53452"/>
                          </a:lnTo>
                          <a:lnTo>
                            <a:pt x="33791" y="53093"/>
                          </a:lnTo>
                          <a:lnTo>
                            <a:pt x="29844" y="50521"/>
                          </a:lnTo>
                          <a:lnTo>
                            <a:pt x="29306" y="50162"/>
                          </a:lnTo>
                          <a:lnTo>
                            <a:pt x="20634" y="44421"/>
                          </a:lnTo>
                          <a:lnTo>
                            <a:pt x="20096" y="44062"/>
                          </a:lnTo>
                          <a:lnTo>
                            <a:pt x="17643" y="42447"/>
                          </a:lnTo>
                          <a:lnTo>
                            <a:pt x="17045" y="43225"/>
                          </a:lnTo>
                          <a:lnTo>
                            <a:pt x="19497" y="44840"/>
                          </a:lnTo>
                          <a:lnTo>
                            <a:pt x="20036" y="45198"/>
                          </a:lnTo>
                          <a:lnTo>
                            <a:pt x="28707" y="50940"/>
                          </a:lnTo>
                          <a:lnTo>
                            <a:pt x="29246" y="51299"/>
                          </a:lnTo>
                          <a:lnTo>
                            <a:pt x="33193" y="53871"/>
                          </a:lnTo>
                          <a:lnTo>
                            <a:pt x="33731" y="54229"/>
                          </a:lnTo>
                          <a:lnTo>
                            <a:pt x="36064" y="55784"/>
                          </a:lnTo>
                          <a:lnTo>
                            <a:pt x="36602" y="56143"/>
                          </a:lnTo>
                          <a:lnTo>
                            <a:pt x="42105" y="59791"/>
                          </a:lnTo>
                          <a:lnTo>
                            <a:pt x="42643" y="60150"/>
                          </a:lnTo>
                          <a:lnTo>
                            <a:pt x="44855" y="61645"/>
                          </a:lnTo>
                          <a:lnTo>
                            <a:pt x="45334" y="62004"/>
                          </a:lnTo>
                          <a:lnTo>
                            <a:pt x="48085" y="63858"/>
                          </a:lnTo>
                          <a:lnTo>
                            <a:pt x="50298" y="61047"/>
                          </a:lnTo>
                          <a:lnTo>
                            <a:pt x="50836" y="60330"/>
                          </a:lnTo>
                          <a:lnTo>
                            <a:pt x="53827" y="56502"/>
                          </a:lnTo>
                          <a:lnTo>
                            <a:pt x="54425" y="55784"/>
                          </a:lnTo>
                          <a:lnTo>
                            <a:pt x="55202" y="54768"/>
                          </a:lnTo>
                          <a:lnTo>
                            <a:pt x="55800" y="54050"/>
                          </a:lnTo>
                          <a:lnTo>
                            <a:pt x="57535" y="51837"/>
                          </a:lnTo>
                          <a:lnTo>
                            <a:pt x="58073" y="51120"/>
                          </a:lnTo>
                          <a:lnTo>
                            <a:pt x="59628" y="49146"/>
                          </a:lnTo>
                          <a:lnTo>
                            <a:pt x="60226" y="48428"/>
                          </a:lnTo>
                          <a:lnTo>
                            <a:pt x="62140" y="46036"/>
                          </a:lnTo>
                          <a:lnTo>
                            <a:pt x="62738" y="45318"/>
                          </a:lnTo>
                          <a:lnTo>
                            <a:pt x="63515" y="44361"/>
                          </a:lnTo>
                          <a:lnTo>
                            <a:pt x="64114" y="43644"/>
                          </a:lnTo>
                          <a:lnTo>
                            <a:pt x="64293" y="43404"/>
                          </a:lnTo>
                          <a:lnTo>
                            <a:pt x="65130" y="42388"/>
                          </a:lnTo>
                          <a:lnTo>
                            <a:pt x="65728" y="41670"/>
                          </a:lnTo>
                          <a:lnTo>
                            <a:pt x="66506" y="40713"/>
                          </a:lnTo>
                          <a:lnTo>
                            <a:pt x="67104" y="39995"/>
                          </a:lnTo>
                          <a:lnTo>
                            <a:pt x="67762" y="39098"/>
                          </a:lnTo>
                          <a:cubicBezTo>
                            <a:pt x="67822" y="39038"/>
                            <a:pt x="67881" y="38979"/>
                            <a:pt x="67881" y="38919"/>
                          </a:cubicBezTo>
                          <a:cubicBezTo>
                            <a:pt x="67941" y="38859"/>
                            <a:pt x="67941" y="38799"/>
                            <a:pt x="68001" y="38739"/>
                          </a:cubicBezTo>
                          <a:cubicBezTo>
                            <a:pt x="68061" y="38680"/>
                            <a:pt x="68061" y="38620"/>
                            <a:pt x="68121" y="38560"/>
                          </a:cubicBezTo>
                          <a:cubicBezTo>
                            <a:pt x="68180" y="38500"/>
                            <a:pt x="68180" y="38440"/>
                            <a:pt x="68240" y="38381"/>
                          </a:cubicBezTo>
                          <a:cubicBezTo>
                            <a:pt x="68300" y="38321"/>
                            <a:pt x="68360" y="38261"/>
                            <a:pt x="68360" y="38201"/>
                          </a:cubicBezTo>
                          <a:cubicBezTo>
                            <a:pt x="68360" y="38141"/>
                            <a:pt x="68479" y="38081"/>
                            <a:pt x="68479" y="38022"/>
                          </a:cubicBezTo>
                          <a:cubicBezTo>
                            <a:pt x="68479" y="37962"/>
                            <a:pt x="68539" y="37902"/>
                            <a:pt x="68599" y="37842"/>
                          </a:cubicBezTo>
                          <a:cubicBezTo>
                            <a:pt x="68659" y="37782"/>
                            <a:pt x="68659" y="37722"/>
                            <a:pt x="68718" y="37663"/>
                          </a:cubicBezTo>
                          <a:cubicBezTo>
                            <a:pt x="68778" y="37603"/>
                            <a:pt x="68838" y="37483"/>
                            <a:pt x="68898" y="37424"/>
                          </a:cubicBezTo>
                          <a:cubicBezTo>
                            <a:pt x="68958" y="37364"/>
                            <a:pt x="69018" y="37244"/>
                            <a:pt x="69077" y="37184"/>
                          </a:cubicBezTo>
                          <a:cubicBezTo>
                            <a:pt x="69137" y="37125"/>
                            <a:pt x="69197" y="37005"/>
                            <a:pt x="69257" y="36945"/>
                          </a:cubicBezTo>
                          <a:cubicBezTo>
                            <a:pt x="69317" y="36885"/>
                            <a:pt x="69377" y="36766"/>
                            <a:pt x="69436" y="36706"/>
                          </a:cubicBezTo>
                          <a:cubicBezTo>
                            <a:pt x="69496" y="36646"/>
                            <a:pt x="69496" y="36586"/>
                            <a:pt x="69556" y="36527"/>
                          </a:cubicBezTo>
                          <a:cubicBezTo>
                            <a:pt x="69616" y="36467"/>
                            <a:pt x="69616" y="36407"/>
                            <a:pt x="69676" y="36347"/>
                          </a:cubicBezTo>
                          <a:cubicBezTo>
                            <a:pt x="69735" y="36287"/>
                            <a:pt x="69735" y="36227"/>
                            <a:pt x="69795" y="36168"/>
                          </a:cubicBezTo>
                          <a:cubicBezTo>
                            <a:pt x="69855" y="36108"/>
                            <a:pt x="69855" y="36048"/>
                            <a:pt x="69915" y="35988"/>
                          </a:cubicBezTo>
                          <a:cubicBezTo>
                            <a:pt x="70632" y="34792"/>
                            <a:pt x="71111" y="33716"/>
                            <a:pt x="71410" y="32699"/>
                          </a:cubicBezTo>
                          <a:cubicBezTo>
                            <a:pt x="71709" y="31682"/>
                            <a:pt x="71829" y="30725"/>
                            <a:pt x="71769" y="29828"/>
                          </a:cubicBezTo>
                          <a:cubicBezTo>
                            <a:pt x="71709" y="28931"/>
                            <a:pt x="71470" y="28153"/>
                            <a:pt x="70991" y="27436"/>
                          </a:cubicBezTo>
                          <a:cubicBezTo>
                            <a:pt x="70513" y="26718"/>
                            <a:pt x="69915" y="26060"/>
                            <a:pt x="69077" y="25462"/>
                          </a:cubicBezTo>
                          <a:lnTo>
                            <a:pt x="64412" y="22233"/>
                          </a:lnTo>
                          <a:lnTo>
                            <a:pt x="63874" y="21874"/>
                          </a:lnTo>
                          <a:lnTo>
                            <a:pt x="39712" y="5008"/>
                          </a:lnTo>
                          <a:lnTo>
                            <a:pt x="39174" y="4649"/>
                          </a:lnTo>
                          <a:lnTo>
                            <a:pt x="34449" y="1360"/>
                          </a:lnTo>
                          <a:cubicBezTo>
                            <a:pt x="33373" y="642"/>
                            <a:pt x="32296" y="164"/>
                            <a:pt x="31160" y="44"/>
                          </a:cubicBezTo>
                          <a:cubicBezTo>
                            <a:pt x="30023" y="-76"/>
                            <a:pt x="28887" y="44"/>
                            <a:pt x="27691" y="463"/>
                          </a:cubicBezTo>
                          <a:cubicBezTo>
                            <a:pt x="26495" y="881"/>
                            <a:pt x="25299" y="1659"/>
                            <a:pt x="24043" y="2676"/>
                          </a:cubicBezTo>
                          <a:cubicBezTo>
                            <a:pt x="22787" y="3692"/>
                            <a:pt x="21531" y="5068"/>
                            <a:pt x="20215" y="6683"/>
                          </a:cubicBezTo>
                          <a:lnTo>
                            <a:pt x="16686" y="11168"/>
                          </a:lnTo>
                          <a:lnTo>
                            <a:pt x="16088" y="11946"/>
                          </a:lnTo>
                          <a:lnTo>
                            <a:pt x="12560" y="16431"/>
                          </a:lnTo>
                          <a:lnTo>
                            <a:pt x="11961" y="17209"/>
                          </a:lnTo>
                          <a:lnTo>
                            <a:pt x="10347" y="19242"/>
                          </a:lnTo>
                          <a:lnTo>
                            <a:pt x="9749" y="19960"/>
                          </a:lnTo>
                          <a:lnTo>
                            <a:pt x="7954" y="22233"/>
                          </a:lnTo>
                          <a:lnTo>
                            <a:pt x="7357" y="23010"/>
                          </a:lnTo>
                          <a:lnTo>
                            <a:pt x="6519" y="24027"/>
                          </a:lnTo>
                          <a:lnTo>
                            <a:pt x="5921" y="24804"/>
                          </a:lnTo>
                          <a:lnTo>
                            <a:pt x="2811" y="28751"/>
                          </a:lnTo>
                          <a:lnTo>
                            <a:pt x="2213" y="29469"/>
                          </a:lnTo>
                          <a:lnTo>
                            <a:pt x="0" y="32340"/>
                          </a:lnTo>
                        </a:path>
                      </a:pathLst>
                    </a:custGeom>
                    <a:noFill/>
                    <a:ln w="6350" cap="flat">
                      <a:solidFill>
                        <a:schemeClr val="bg1">
                          <a:alpha val="80000"/>
                        </a:schemeClr>
                      </a:solidFill>
                      <a:prstDash val="solid"/>
                      <a:miter/>
                    </a:ln>
                  </p:spPr>
                  <p:txBody>
                    <a:bodyPr rtlCol="0" anchor="ctr"/>
                    <a:lstStyle/>
                    <a:p>
                      <a:endParaRPr lang="en-GB"/>
                    </a:p>
                  </p:txBody>
                </p:sp>
                <p:sp>
                  <p:nvSpPr>
                    <p:cNvPr id="7411" name="Vrije vorm: vorm 7410">
                      <a:extLst>
                        <a:ext uri="{FF2B5EF4-FFF2-40B4-BE49-F238E27FC236}">
                          <a16:creationId xmlns:a16="http://schemas.microsoft.com/office/drawing/2014/main" id="{0F3BEF70-5E81-44A7-A4B9-9E898770326E}"/>
                        </a:ext>
                      </a:extLst>
                    </p:cNvPr>
                    <p:cNvSpPr/>
                    <p:nvPr/>
                  </p:nvSpPr>
                  <p:spPr>
                    <a:xfrm>
                      <a:off x="5312814" y="5471787"/>
                      <a:ext cx="43539" cy="39009"/>
                    </a:xfrm>
                    <a:custGeom>
                      <a:avLst/>
                      <a:gdLst>
                        <a:gd name="connsiteX0" fmla="*/ 11483 w 43539"/>
                        <a:gd name="connsiteY0" fmla="*/ 35780 h 39009"/>
                        <a:gd name="connsiteX1" fmla="*/ 9808 w 43539"/>
                        <a:gd name="connsiteY1" fmla="*/ 37873 h 39009"/>
                        <a:gd name="connsiteX2" fmla="*/ 1076 w 43539"/>
                        <a:gd name="connsiteY2" fmla="*/ 32072 h 39009"/>
                        <a:gd name="connsiteX3" fmla="*/ 2751 w 43539"/>
                        <a:gd name="connsiteY3" fmla="*/ 29979 h 39009"/>
                        <a:gd name="connsiteX4" fmla="*/ 3349 w 43539"/>
                        <a:gd name="connsiteY4" fmla="*/ 29261 h 39009"/>
                        <a:gd name="connsiteX5" fmla="*/ 3708 w 43539"/>
                        <a:gd name="connsiteY5" fmla="*/ 28783 h 39009"/>
                        <a:gd name="connsiteX6" fmla="*/ 4366 w 43539"/>
                        <a:gd name="connsiteY6" fmla="*/ 28005 h 39009"/>
                        <a:gd name="connsiteX7" fmla="*/ 6459 w 43539"/>
                        <a:gd name="connsiteY7" fmla="*/ 25373 h 39009"/>
                        <a:gd name="connsiteX8" fmla="*/ 7057 w 43539"/>
                        <a:gd name="connsiteY8" fmla="*/ 24656 h 39009"/>
                        <a:gd name="connsiteX9" fmla="*/ 7656 w 43539"/>
                        <a:gd name="connsiteY9" fmla="*/ 23878 h 39009"/>
                        <a:gd name="connsiteX10" fmla="*/ 7895 w 43539"/>
                        <a:gd name="connsiteY10" fmla="*/ 23579 h 39009"/>
                        <a:gd name="connsiteX11" fmla="*/ 8493 w 43539"/>
                        <a:gd name="connsiteY11" fmla="*/ 22802 h 39009"/>
                        <a:gd name="connsiteX12" fmla="*/ 10287 w 43539"/>
                        <a:gd name="connsiteY12" fmla="*/ 20529 h 39009"/>
                        <a:gd name="connsiteX13" fmla="*/ 10885 w 43539"/>
                        <a:gd name="connsiteY13" fmla="*/ 19811 h 39009"/>
                        <a:gd name="connsiteX14" fmla="*/ 12500 w 43539"/>
                        <a:gd name="connsiteY14" fmla="*/ 17778 h 39009"/>
                        <a:gd name="connsiteX15" fmla="*/ 13098 w 43539"/>
                        <a:gd name="connsiteY15" fmla="*/ 17000 h 39009"/>
                        <a:gd name="connsiteX16" fmla="*/ 16627 w 43539"/>
                        <a:gd name="connsiteY16" fmla="*/ 12515 h 39009"/>
                        <a:gd name="connsiteX17" fmla="*/ 17225 w 43539"/>
                        <a:gd name="connsiteY17" fmla="*/ 11737 h 39009"/>
                        <a:gd name="connsiteX18" fmla="*/ 20753 w 43539"/>
                        <a:gd name="connsiteY18" fmla="*/ 7252 h 39009"/>
                        <a:gd name="connsiteX19" fmla="*/ 23504 w 43539"/>
                        <a:gd name="connsiteY19" fmla="*/ 4202 h 39009"/>
                        <a:gd name="connsiteX20" fmla="*/ 26136 w 43539"/>
                        <a:gd name="connsiteY20" fmla="*/ 2168 h 39009"/>
                        <a:gd name="connsiteX21" fmla="*/ 28707 w 43539"/>
                        <a:gd name="connsiteY21" fmla="*/ 1152 h 39009"/>
                        <a:gd name="connsiteX22" fmla="*/ 31160 w 43539"/>
                        <a:gd name="connsiteY22" fmla="*/ 1152 h 39009"/>
                        <a:gd name="connsiteX23" fmla="*/ 31339 w 43539"/>
                        <a:gd name="connsiteY23" fmla="*/ 1211 h 39009"/>
                        <a:gd name="connsiteX24" fmla="*/ 31519 w 43539"/>
                        <a:gd name="connsiteY24" fmla="*/ 1271 h 39009"/>
                        <a:gd name="connsiteX25" fmla="*/ 31698 w 43539"/>
                        <a:gd name="connsiteY25" fmla="*/ 1331 h 39009"/>
                        <a:gd name="connsiteX26" fmla="*/ 31877 w 43539"/>
                        <a:gd name="connsiteY26" fmla="*/ 1391 h 39009"/>
                        <a:gd name="connsiteX27" fmla="*/ 32356 w 43539"/>
                        <a:gd name="connsiteY27" fmla="*/ 1570 h 39009"/>
                        <a:gd name="connsiteX28" fmla="*/ 32834 w 43539"/>
                        <a:gd name="connsiteY28" fmla="*/ 1809 h 39009"/>
                        <a:gd name="connsiteX29" fmla="*/ 33313 w 43539"/>
                        <a:gd name="connsiteY29" fmla="*/ 2048 h 39009"/>
                        <a:gd name="connsiteX30" fmla="*/ 33791 w 43539"/>
                        <a:gd name="connsiteY30" fmla="*/ 2348 h 39009"/>
                        <a:gd name="connsiteX31" fmla="*/ 39772 w 43539"/>
                        <a:gd name="connsiteY31" fmla="*/ 6534 h 39009"/>
                        <a:gd name="connsiteX32" fmla="*/ 38097 w 43539"/>
                        <a:gd name="connsiteY32" fmla="*/ 6654 h 39009"/>
                        <a:gd name="connsiteX33" fmla="*/ 36363 w 43539"/>
                        <a:gd name="connsiteY33" fmla="*/ 7192 h 39009"/>
                        <a:gd name="connsiteX34" fmla="*/ 34569 w 43539"/>
                        <a:gd name="connsiteY34" fmla="*/ 8149 h 39009"/>
                        <a:gd name="connsiteX35" fmla="*/ 32715 w 43539"/>
                        <a:gd name="connsiteY35" fmla="*/ 9584 h 39009"/>
                        <a:gd name="connsiteX36" fmla="*/ 32535 w 43539"/>
                        <a:gd name="connsiteY36" fmla="*/ 9764 h 39009"/>
                        <a:gd name="connsiteX37" fmla="*/ 32356 w 43539"/>
                        <a:gd name="connsiteY37" fmla="*/ 9943 h 39009"/>
                        <a:gd name="connsiteX38" fmla="*/ 32176 w 43539"/>
                        <a:gd name="connsiteY38" fmla="*/ 10123 h 39009"/>
                        <a:gd name="connsiteX39" fmla="*/ 31997 w 43539"/>
                        <a:gd name="connsiteY39" fmla="*/ 10302 h 39009"/>
                        <a:gd name="connsiteX40" fmla="*/ 31339 w 43539"/>
                        <a:gd name="connsiteY40" fmla="*/ 10960 h 39009"/>
                        <a:gd name="connsiteX41" fmla="*/ 30681 w 43539"/>
                        <a:gd name="connsiteY41" fmla="*/ 11678 h 39009"/>
                        <a:gd name="connsiteX42" fmla="*/ 30023 w 43539"/>
                        <a:gd name="connsiteY42" fmla="*/ 12455 h 39009"/>
                        <a:gd name="connsiteX43" fmla="*/ 29366 w 43539"/>
                        <a:gd name="connsiteY43" fmla="*/ 13292 h 39009"/>
                        <a:gd name="connsiteX44" fmla="*/ 25837 w 43539"/>
                        <a:gd name="connsiteY44" fmla="*/ 17718 h 39009"/>
                        <a:gd name="connsiteX45" fmla="*/ 25239 w 43539"/>
                        <a:gd name="connsiteY45" fmla="*/ 18495 h 39009"/>
                        <a:gd name="connsiteX46" fmla="*/ 21710 w 43539"/>
                        <a:gd name="connsiteY46" fmla="*/ 22922 h 39009"/>
                        <a:gd name="connsiteX47" fmla="*/ 21112 w 43539"/>
                        <a:gd name="connsiteY47" fmla="*/ 23699 h 39009"/>
                        <a:gd name="connsiteX48" fmla="*/ 19497 w 43539"/>
                        <a:gd name="connsiteY48" fmla="*/ 25732 h 39009"/>
                        <a:gd name="connsiteX49" fmla="*/ 18899 w 43539"/>
                        <a:gd name="connsiteY49" fmla="*/ 26450 h 39009"/>
                        <a:gd name="connsiteX50" fmla="*/ 17105 w 43539"/>
                        <a:gd name="connsiteY50" fmla="*/ 28663 h 39009"/>
                        <a:gd name="connsiteX51" fmla="*/ 16507 w 43539"/>
                        <a:gd name="connsiteY51" fmla="*/ 29440 h 39009"/>
                        <a:gd name="connsiteX52" fmla="*/ 15669 w 43539"/>
                        <a:gd name="connsiteY52" fmla="*/ 30457 h 39009"/>
                        <a:gd name="connsiteX53" fmla="*/ 15072 w 43539"/>
                        <a:gd name="connsiteY53" fmla="*/ 31234 h 39009"/>
                        <a:gd name="connsiteX54" fmla="*/ 12021 w 43539"/>
                        <a:gd name="connsiteY54" fmla="*/ 35122 h 39009"/>
                        <a:gd name="connsiteX55" fmla="*/ 11483 w 43539"/>
                        <a:gd name="connsiteY55" fmla="*/ 35780 h 39009"/>
                        <a:gd name="connsiteX56" fmla="*/ 0 w 43539"/>
                        <a:gd name="connsiteY56" fmla="*/ 32491 h 39009"/>
                        <a:gd name="connsiteX57" fmla="*/ 4545 w 43539"/>
                        <a:gd name="connsiteY57" fmla="*/ 35481 h 39009"/>
                        <a:gd name="connsiteX58" fmla="*/ 5083 w 43539"/>
                        <a:gd name="connsiteY58" fmla="*/ 35840 h 39009"/>
                        <a:gd name="connsiteX59" fmla="*/ 7416 w 43539"/>
                        <a:gd name="connsiteY59" fmla="*/ 37395 h 39009"/>
                        <a:gd name="connsiteX60" fmla="*/ 7954 w 43539"/>
                        <a:gd name="connsiteY60" fmla="*/ 37754 h 39009"/>
                        <a:gd name="connsiteX61" fmla="*/ 9868 w 43539"/>
                        <a:gd name="connsiteY61" fmla="*/ 39010 h 39009"/>
                        <a:gd name="connsiteX62" fmla="*/ 10466 w 43539"/>
                        <a:gd name="connsiteY62" fmla="*/ 38232 h 39009"/>
                        <a:gd name="connsiteX63" fmla="*/ 12141 w 43539"/>
                        <a:gd name="connsiteY63" fmla="*/ 36139 h 39009"/>
                        <a:gd name="connsiteX64" fmla="*/ 12739 w 43539"/>
                        <a:gd name="connsiteY64" fmla="*/ 35421 h 39009"/>
                        <a:gd name="connsiteX65" fmla="*/ 15789 w 43539"/>
                        <a:gd name="connsiteY65" fmla="*/ 31534 h 39009"/>
                        <a:gd name="connsiteX66" fmla="*/ 16387 w 43539"/>
                        <a:gd name="connsiteY66" fmla="*/ 30756 h 39009"/>
                        <a:gd name="connsiteX67" fmla="*/ 17225 w 43539"/>
                        <a:gd name="connsiteY67" fmla="*/ 29739 h 39009"/>
                        <a:gd name="connsiteX68" fmla="*/ 17822 w 43539"/>
                        <a:gd name="connsiteY68" fmla="*/ 28962 h 39009"/>
                        <a:gd name="connsiteX69" fmla="*/ 19617 w 43539"/>
                        <a:gd name="connsiteY69" fmla="*/ 26749 h 39009"/>
                        <a:gd name="connsiteX70" fmla="*/ 20215 w 43539"/>
                        <a:gd name="connsiteY70" fmla="*/ 26031 h 39009"/>
                        <a:gd name="connsiteX71" fmla="*/ 21830 w 43539"/>
                        <a:gd name="connsiteY71" fmla="*/ 23998 h 39009"/>
                        <a:gd name="connsiteX72" fmla="*/ 22428 w 43539"/>
                        <a:gd name="connsiteY72" fmla="*/ 23220 h 39009"/>
                        <a:gd name="connsiteX73" fmla="*/ 25956 w 43539"/>
                        <a:gd name="connsiteY73" fmla="*/ 18795 h 39009"/>
                        <a:gd name="connsiteX74" fmla="*/ 26554 w 43539"/>
                        <a:gd name="connsiteY74" fmla="*/ 18017 h 39009"/>
                        <a:gd name="connsiteX75" fmla="*/ 30083 w 43539"/>
                        <a:gd name="connsiteY75" fmla="*/ 13592 h 39009"/>
                        <a:gd name="connsiteX76" fmla="*/ 30741 w 43539"/>
                        <a:gd name="connsiteY76" fmla="*/ 12754 h 39009"/>
                        <a:gd name="connsiteX77" fmla="*/ 31399 w 43539"/>
                        <a:gd name="connsiteY77" fmla="*/ 11977 h 39009"/>
                        <a:gd name="connsiteX78" fmla="*/ 32057 w 43539"/>
                        <a:gd name="connsiteY78" fmla="*/ 11259 h 39009"/>
                        <a:gd name="connsiteX79" fmla="*/ 32715 w 43539"/>
                        <a:gd name="connsiteY79" fmla="*/ 10601 h 39009"/>
                        <a:gd name="connsiteX80" fmla="*/ 32894 w 43539"/>
                        <a:gd name="connsiteY80" fmla="*/ 10422 h 39009"/>
                        <a:gd name="connsiteX81" fmla="*/ 33074 w 43539"/>
                        <a:gd name="connsiteY81" fmla="*/ 10242 h 39009"/>
                        <a:gd name="connsiteX82" fmla="*/ 33253 w 43539"/>
                        <a:gd name="connsiteY82" fmla="*/ 10063 h 39009"/>
                        <a:gd name="connsiteX83" fmla="*/ 33432 w 43539"/>
                        <a:gd name="connsiteY83" fmla="*/ 9883 h 39009"/>
                        <a:gd name="connsiteX84" fmla="*/ 35944 w 43539"/>
                        <a:gd name="connsiteY84" fmla="*/ 8089 h 39009"/>
                        <a:gd name="connsiteX85" fmla="*/ 38337 w 43539"/>
                        <a:gd name="connsiteY85" fmla="*/ 7252 h 39009"/>
                        <a:gd name="connsiteX86" fmla="*/ 40669 w 43539"/>
                        <a:gd name="connsiteY86" fmla="*/ 7371 h 39009"/>
                        <a:gd name="connsiteX87" fmla="*/ 42942 w 43539"/>
                        <a:gd name="connsiteY87" fmla="*/ 8448 h 39009"/>
                        <a:gd name="connsiteX88" fmla="*/ 43540 w 43539"/>
                        <a:gd name="connsiteY88" fmla="*/ 7670 h 39009"/>
                        <a:gd name="connsiteX89" fmla="*/ 34569 w 43539"/>
                        <a:gd name="connsiteY89" fmla="*/ 1391 h 39009"/>
                        <a:gd name="connsiteX90" fmla="*/ 33671 w 43539"/>
                        <a:gd name="connsiteY90" fmla="*/ 853 h 39009"/>
                        <a:gd name="connsiteX91" fmla="*/ 32774 w 43539"/>
                        <a:gd name="connsiteY91" fmla="*/ 434 h 39009"/>
                        <a:gd name="connsiteX92" fmla="*/ 31877 w 43539"/>
                        <a:gd name="connsiteY92" fmla="*/ 135 h 39009"/>
                        <a:gd name="connsiteX93" fmla="*/ 30920 w 43539"/>
                        <a:gd name="connsiteY93" fmla="*/ 15 h 39009"/>
                        <a:gd name="connsiteX94" fmla="*/ 28408 w 43539"/>
                        <a:gd name="connsiteY94" fmla="*/ 314 h 39009"/>
                        <a:gd name="connsiteX95" fmla="*/ 25837 w 43539"/>
                        <a:gd name="connsiteY95" fmla="*/ 1510 h 39009"/>
                        <a:gd name="connsiteX96" fmla="*/ 23145 w 43539"/>
                        <a:gd name="connsiteY96" fmla="*/ 3663 h 39009"/>
                        <a:gd name="connsiteX97" fmla="*/ 20394 w 43539"/>
                        <a:gd name="connsiteY97" fmla="*/ 6714 h 39009"/>
                        <a:gd name="connsiteX98" fmla="*/ 16866 w 43539"/>
                        <a:gd name="connsiteY98" fmla="*/ 11199 h 39009"/>
                        <a:gd name="connsiteX99" fmla="*/ 16268 w 43539"/>
                        <a:gd name="connsiteY99" fmla="*/ 11977 h 39009"/>
                        <a:gd name="connsiteX100" fmla="*/ 12739 w 43539"/>
                        <a:gd name="connsiteY100" fmla="*/ 16462 h 39009"/>
                        <a:gd name="connsiteX101" fmla="*/ 12141 w 43539"/>
                        <a:gd name="connsiteY101" fmla="*/ 17240 h 39009"/>
                        <a:gd name="connsiteX102" fmla="*/ 10526 w 43539"/>
                        <a:gd name="connsiteY102" fmla="*/ 19273 h 39009"/>
                        <a:gd name="connsiteX103" fmla="*/ 9928 w 43539"/>
                        <a:gd name="connsiteY103" fmla="*/ 19991 h 39009"/>
                        <a:gd name="connsiteX104" fmla="*/ 8134 w 43539"/>
                        <a:gd name="connsiteY104" fmla="*/ 22263 h 39009"/>
                        <a:gd name="connsiteX105" fmla="*/ 7536 w 43539"/>
                        <a:gd name="connsiteY105" fmla="*/ 23041 h 39009"/>
                        <a:gd name="connsiteX106" fmla="*/ 7177 w 43539"/>
                        <a:gd name="connsiteY106" fmla="*/ 23519 h 39009"/>
                        <a:gd name="connsiteX107" fmla="*/ 6579 w 43539"/>
                        <a:gd name="connsiteY107" fmla="*/ 24297 h 39009"/>
                        <a:gd name="connsiteX108" fmla="*/ 6160 w 43539"/>
                        <a:gd name="connsiteY108" fmla="*/ 24835 h 39009"/>
                        <a:gd name="connsiteX109" fmla="*/ 3828 w 43539"/>
                        <a:gd name="connsiteY109" fmla="*/ 27825 h 39009"/>
                        <a:gd name="connsiteX110" fmla="*/ 3110 w 43539"/>
                        <a:gd name="connsiteY110" fmla="*/ 28723 h 39009"/>
                        <a:gd name="connsiteX111" fmla="*/ 3050 w 43539"/>
                        <a:gd name="connsiteY111" fmla="*/ 28783 h 39009"/>
                        <a:gd name="connsiteX112" fmla="*/ 2452 w 43539"/>
                        <a:gd name="connsiteY112" fmla="*/ 29500 h 39009"/>
                        <a:gd name="connsiteX113" fmla="*/ 778 w 43539"/>
                        <a:gd name="connsiteY113" fmla="*/ 31593 h 39009"/>
                        <a:gd name="connsiteX114" fmla="*/ 0 w 43539"/>
                        <a:gd name="connsiteY114" fmla="*/ 32491 h 3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43539" h="39009">
                          <a:moveTo>
                            <a:pt x="11483" y="35780"/>
                          </a:moveTo>
                          <a:lnTo>
                            <a:pt x="9808" y="37873"/>
                          </a:lnTo>
                          <a:lnTo>
                            <a:pt x="1076" y="32072"/>
                          </a:lnTo>
                          <a:lnTo>
                            <a:pt x="2751" y="29979"/>
                          </a:lnTo>
                          <a:lnTo>
                            <a:pt x="3349" y="29261"/>
                          </a:lnTo>
                          <a:lnTo>
                            <a:pt x="3708" y="28783"/>
                          </a:lnTo>
                          <a:lnTo>
                            <a:pt x="4366" y="28005"/>
                          </a:lnTo>
                          <a:lnTo>
                            <a:pt x="6459" y="25373"/>
                          </a:lnTo>
                          <a:lnTo>
                            <a:pt x="7057" y="24656"/>
                          </a:lnTo>
                          <a:lnTo>
                            <a:pt x="7656" y="23878"/>
                          </a:lnTo>
                          <a:lnTo>
                            <a:pt x="7895" y="23579"/>
                          </a:lnTo>
                          <a:lnTo>
                            <a:pt x="8493" y="22802"/>
                          </a:lnTo>
                          <a:lnTo>
                            <a:pt x="10287" y="20529"/>
                          </a:lnTo>
                          <a:lnTo>
                            <a:pt x="10885" y="19811"/>
                          </a:lnTo>
                          <a:lnTo>
                            <a:pt x="12500" y="17778"/>
                          </a:lnTo>
                          <a:lnTo>
                            <a:pt x="13098" y="17000"/>
                          </a:lnTo>
                          <a:lnTo>
                            <a:pt x="16627" y="12515"/>
                          </a:lnTo>
                          <a:lnTo>
                            <a:pt x="17225" y="11737"/>
                          </a:lnTo>
                          <a:lnTo>
                            <a:pt x="20753" y="7252"/>
                          </a:lnTo>
                          <a:cubicBezTo>
                            <a:pt x="21710" y="6056"/>
                            <a:pt x="22607" y="5039"/>
                            <a:pt x="23504" y="4202"/>
                          </a:cubicBezTo>
                          <a:cubicBezTo>
                            <a:pt x="24401" y="3364"/>
                            <a:pt x="25298" y="2647"/>
                            <a:pt x="26136" y="2168"/>
                          </a:cubicBezTo>
                          <a:cubicBezTo>
                            <a:pt x="26973" y="1630"/>
                            <a:pt x="27870" y="1331"/>
                            <a:pt x="28707" y="1152"/>
                          </a:cubicBezTo>
                          <a:cubicBezTo>
                            <a:pt x="29545" y="972"/>
                            <a:pt x="30382" y="972"/>
                            <a:pt x="31160" y="1152"/>
                          </a:cubicBezTo>
                          <a:cubicBezTo>
                            <a:pt x="31220" y="1152"/>
                            <a:pt x="31279" y="1152"/>
                            <a:pt x="31339" y="1211"/>
                          </a:cubicBezTo>
                          <a:cubicBezTo>
                            <a:pt x="31399" y="1211"/>
                            <a:pt x="31459" y="1211"/>
                            <a:pt x="31519" y="1271"/>
                          </a:cubicBezTo>
                          <a:cubicBezTo>
                            <a:pt x="31578" y="1331"/>
                            <a:pt x="31638" y="1331"/>
                            <a:pt x="31698" y="1331"/>
                          </a:cubicBezTo>
                          <a:cubicBezTo>
                            <a:pt x="31758" y="1331"/>
                            <a:pt x="31817" y="1391"/>
                            <a:pt x="31877" y="1391"/>
                          </a:cubicBezTo>
                          <a:cubicBezTo>
                            <a:pt x="32057" y="1451"/>
                            <a:pt x="32176" y="1510"/>
                            <a:pt x="32356" y="1570"/>
                          </a:cubicBezTo>
                          <a:cubicBezTo>
                            <a:pt x="32535" y="1630"/>
                            <a:pt x="32655" y="1690"/>
                            <a:pt x="32834" y="1809"/>
                          </a:cubicBezTo>
                          <a:cubicBezTo>
                            <a:pt x="33014" y="1869"/>
                            <a:pt x="33133" y="1989"/>
                            <a:pt x="33313" y="2048"/>
                          </a:cubicBezTo>
                          <a:cubicBezTo>
                            <a:pt x="33492" y="2168"/>
                            <a:pt x="33612" y="2228"/>
                            <a:pt x="33791" y="2348"/>
                          </a:cubicBezTo>
                          <a:lnTo>
                            <a:pt x="39772" y="6534"/>
                          </a:lnTo>
                          <a:cubicBezTo>
                            <a:pt x="39234" y="6475"/>
                            <a:pt x="38636" y="6534"/>
                            <a:pt x="38097" y="6654"/>
                          </a:cubicBezTo>
                          <a:cubicBezTo>
                            <a:pt x="37499" y="6774"/>
                            <a:pt x="36961" y="6953"/>
                            <a:pt x="36363" y="7192"/>
                          </a:cubicBezTo>
                          <a:cubicBezTo>
                            <a:pt x="35765" y="7431"/>
                            <a:pt x="35167" y="7790"/>
                            <a:pt x="34569" y="8149"/>
                          </a:cubicBezTo>
                          <a:cubicBezTo>
                            <a:pt x="33970" y="8568"/>
                            <a:pt x="33373" y="9046"/>
                            <a:pt x="32715" y="9584"/>
                          </a:cubicBezTo>
                          <a:cubicBezTo>
                            <a:pt x="32655" y="9644"/>
                            <a:pt x="32595" y="9704"/>
                            <a:pt x="32535" y="9764"/>
                          </a:cubicBezTo>
                          <a:cubicBezTo>
                            <a:pt x="32475" y="9824"/>
                            <a:pt x="32415" y="9883"/>
                            <a:pt x="32356" y="9943"/>
                          </a:cubicBezTo>
                          <a:cubicBezTo>
                            <a:pt x="32296" y="10003"/>
                            <a:pt x="32236" y="10063"/>
                            <a:pt x="32176" y="10123"/>
                          </a:cubicBezTo>
                          <a:cubicBezTo>
                            <a:pt x="32116" y="10183"/>
                            <a:pt x="32057" y="10242"/>
                            <a:pt x="31997" y="10302"/>
                          </a:cubicBezTo>
                          <a:cubicBezTo>
                            <a:pt x="31758" y="10541"/>
                            <a:pt x="31578" y="10721"/>
                            <a:pt x="31339" y="10960"/>
                          </a:cubicBezTo>
                          <a:cubicBezTo>
                            <a:pt x="31100" y="11199"/>
                            <a:pt x="30920" y="11438"/>
                            <a:pt x="30681" y="11678"/>
                          </a:cubicBezTo>
                          <a:cubicBezTo>
                            <a:pt x="30442" y="11917"/>
                            <a:pt x="30262" y="12156"/>
                            <a:pt x="30023" y="12455"/>
                          </a:cubicBezTo>
                          <a:cubicBezTo>
                            <a:pt x="29784" y="12694"/>
                            <a:pt x="29605" y="12993"/>
                            <a:pt x="29366" y="13292"/>
                          </a:cubicBezTo>
                          <a:lnTo>
                            <a:pt x="25837" y="17718"/>
                          </a:lnTo>
                          <a:lnTo>
                            <a:pt x="25239" y="18495"/>
                          </a:lnTo>
                          <a:lnTo>
                            <a:pt x="21710" y="22922"/>
                          </a:lnTo>
                          <a:lnTo>
                            <a:pt x="21112" y="23699"/>
                          </a:lnTo>
                          <a:lnTo>
                            <a:pt x="19497" y="25732"/>
                          </a:lnTo>
                          <a:lnTo>
                            <a:pt x="18899" y="26450"/>
                          </a:lnTo>
                          <a:lnTo>
                            <a:pt x="17105" y="28663"/>
                          </a:lnTo>
                          <a:lnTo>
                            <a:pt x="16507" y="29440"/>
                          </a:lnTo>
                          <a:lnTo>
                            <a:pt x="15669" y="30457"/>
                          </a:lnTo>
                          <a:lnTo>
                            <a:pt x="15072" y="31234"/>
                          </a:lnTo>
                          <a:lnTo>
                            <a:pt x="12021" y="35122"/>
                          </a:lnTo>
                          <a:lnTo>
                            <a:pt x="11483" y="35780"/>
                          </a:lnTo>
                          <a:moveTo>
                            <a:pt x="0" y="32491"/>
                          </a:moveTo>
                          <a:lnTo>
                            <a:pt x="4545" y="35481"/>
                          </a:lnTo>
                          <a:lnTo>
                            <a:pt x="5083" y="35840"/>
                          </a:lnTo>
                          <a:lnTo>
                            <a:pt x="7416" y="37395"/>
                          </a:lnTo>
                          <a:lnTo>
                            <a:pt x="7954" y="37754"/>
                          </a:lnTo>
                          <a:lnTo>
                            <a:pt x="9868" y="39010"/>
                          </a:lnTo>
                          <a:lnTo>
                            <a:pt x="10466" y="38232"/>
                          </a:lnTo>
                          <a:lnTo>
                            <a:pt x="12141" y="36139"/>
                          </a:lnTo>
                          <a:lnTo>
                            <a:pt x="12739" y="35421"/>
                          </a:lnTo>
                          <a:lnTo>
                            <a:pt x="15789" y="31534"/>
                          </a:lnTo>
                          <a:lnTo>
                            <a:pt x="16387" y="30756"/>
                          </a:lnTo>
                          <a:lnTo>
                            <a:pt x="17225" y="29739"/>
                          </a:lnTo>
                          <a:lnTo>
                            <a:pt x="17822" y="28962"/>
                          </a:lnTo>
                          <a:lnTo>
                            <a:pt x="19617" y="26749"/>
                          </a:lnTo>
                          <a:lnTo>
                            <a:pt x="20215" y="26031"/>
                          </a:lnTo>
                          <a:lnTo>
                            <a:pt x="21830" y="23998"/>
                          </a:lnTo>
                          <a:lnTo>
                            <a:pt x="22428" y="23220"/>
                          </a:lnTo>
                          <a:lnTo>
                            <a:pt x="25956" y="18795"/>
                          </a:lnTo>
                          <a:lnTo>
                            <a:pt x="26554" y="18017"/>
                          </a:lnTo>
                          <a:lnTo>
                            <a:pt x="30083" y="13592"/>
                          </a:lnTo>
                          <a:cubicBezTo>
                            <a:pt x="30322" y="13292"/>
                            <a:pt x="30561" y="13053"/>
                            <a:pt x="30741" y="12754"/>
                          </a:cubicBezTo>
                          <a:cubicBezTo>
                            <a:pt x="30980" y="12515"/>
                            <a:pt x="31160" y="12216"/>
                            <a:pt x="31399" y="11977"/>
                          </a:cubicBezTo>
                          <a:cubicBezTo>
                            <a:pt x="31638" y="11737"/>
                            <a:pt x="31817" y="11498"/>
                            <a:pt x="32057" y="11259"/>
                          </a:cubicBezTo>
                          <a:cubicBezTo>
                            <a:pt x="32296" y="11020"/>
                            <a:pt x="32475" y="10840"/>
                            <a:pt x="32715" y="10601"/>
                          </a:cubicBezTo>
                          <a:cubicBezTo>
                            <a:pt x="32774" y="10541"/>
                            <a:pt x="32834" y="10482"/>
                            <a:pt x="32894" y="10422"/>
                          </a:cubicBezTo>
                          <a:cubicBezTo>
                            <a:pt x="32954" y="10362"/>
                            <a:pt x="33014" y="10302"/>
                            <a:pt x="33074" y="10242"/>
                          </a:cubicBezTo>
                          <a:cubicBezTo>
                            <a:pt x="33133" y="10183"/>
                            <a:pt x="33193" y="10123"/>
                            <a:pt x="33253" y="10063"/>
                          </a:cubicBezTo>
                          <a:cubicBezTo>
                            <a:pt x="33313" y="10003"/>
                            <a:pt x="33373" y="9943"/>
                            <a:pt x="33432" y="9883"/>
                          </a:cubicBezTo>
                          <a:cubicBezTo>
                            <a:pt x="34269" y="9106"/>
                            <a:pt x="35107" y="8508"/>
                            <a:pt x="35944" y="8089"/>
                          </a:cubicBezTo>
                          <a:cubicBezTo>
                            <a:pt x="36782" y="7670"/>
                            <a:pt x="37559" y="7371"/>
                            <a:pt x="38337" y="7252"/>
                          </a:cubicBezTo>
                          <a:cubicBezTo>
                            <a:pt x="39114" y="7132"/>
                            <a:pt x="39891" y="7192"/>
                            <a:pt x="40669" y="7371"/>
                          </a:cubicBezTo>
                          <a:cubicBezTo>
                            <a:pt x="41446" y="7551"/>
                            <a:pt x="42164" y="7910"/>
                            <a:pt x="42942" y="8448"/>
                          </a:cubicBezTo>
                          <a:lnTo>
                            <a:pt x="43540" y="7670"/>
                          </a:lnTo>
                          <a:lnTo>
                            <a:pt x="34569" y="1391"/>
                          </a:lnTo>
                          <a:cubicBezTo>
                            <a:pt x="34269" y="1211"/>
                            <a:pt x="33970" y="1032"/>
                            <a:pt x="33671" y="853"/>
                          </a:cubicBezTo>
                          <a:cubicBezTo>
                            <a:pt x="33373" y="673"/>
                            <a:pt x="33074" y="553"/>
                            <a:pt x="32774" y="434"/>
                          </a:cubicBezTo>
                          <a:cubicBezTo>
                            <a:pt x="32475" y="314"/>
                            <a:pt x="32176" y="254"/>
                            <a:pt x="31877" y="135"/>
                          </a:cubicBezTo>
                          <a:cubicBezTo>
                            <a:pt x="31578" y="75"/>
                            <a:pt x="31279" y="15"/>
                            <a:pt x="30920" y="15"/>
                          </a:cubicBezTo>
                          <a:cubicBezTo>
                            <a:pt x="30083" y="-45"/>
                            <a:pt x="29246" y="75"/>
                            <a:pt x="28408" y="314"/>
                          </a:cubicBezTo>
                          <a:cubicBezTo>
                            <a:pt x="27571" y="553"/>
                            <a:pt x="26674" y="972"/>
                            <a:pt x="25837" y="1510"/>
                          </a:cubicBezTo>
                          <a:cubicBezTo>
                            <a:pt x="24940" y="2048"/>
                            <a:pt x="24043" y="2766"/>
                            <a:pt x="23145" y="3663"/>
                          </a:cubicBezTo>
                          <a:cubicBezTo>
                            <a:pt x="22248" y="4561"/>
                            <a:pt x="21351" y="5577"/>
                            <a:pt x="20394" y="6714"/>
                          </a:cubicBezTo>
                          <a:lnTo>
                            <a:pt x="16866" y="11199"/>
                          </a:lnTo>
                          <a:lnTo>
                            <a:pt x="16268" y="11977"/>
                          </a:lnTo>
                          <a:lnTo>
                            <a:pt x="12739" y="16462"/>
                          </a:lnTo>
                          <a:lnTo>
                            <a:pt x="12141" y="17240"/>
                          </a:lnTo>
                          <a:lnTo>
                            <a:pt x="10526" y="19273"/>
                          </a:lnTo>
                          <a:lnTo>
                            <a:pt x="9928" y="19991"/>
                          </a:lnTo>
                          <a:lnTo>
                            <a:pt x="8134" y="22263"/>
                          </a:lnTo>
                          <a:lnTo>
                            <a:pt x="7536" y="23041"/>
                          </a:lnTo>
                          <a:lnTo>
                            <a:pt x="7177" y="23519"/>
                          </a:lnTo>
                          <a:lnTo>
                            <a:pt x="6579" y="24297"/>
                          </a:lnTo>
                          <a:lnTo>
                            <a:pt x="6160" y="24835"/>
                          </a:lnTo>
                          <a:lnTo>
                            <a:pt x="3828" y="27825"/>
                          </a:lnTo>
                          <a:lnTo>
                            <a:pt x="3110" y="28723"/>
                          </a:lnTo>
                          <a:lnTo>
                            <a:pt x="3050" y="28783"/>
                          </a:lnTo>
                          <a:lnTo>
                            <a:pt x="2452" y="29500"/>
                          </a:lnTo>
                          <a:lnTo>
                            <a:pt x="778" y="31593"/>
                          </a:lnTo>
                          <a:lnTo>
                            <a:pt x="0" y="32491"/>
                          </a:lnTo>
                        </a:path>
                      </a:pathLst>
                    </a:custGeom>
                    <a:noFill/>
                    <a:ln w="6350" cap="flat">
                      <a:solidFill>
                        <a:schemeClr val="bg1">
                          <a:alpha val="80000"/>
                        </a:schemeClr>
                      </a:solidFill>
                      <a:prstDash val="solid"/>
                      <a:miter/>
                    </a:ln>
                  </p:spPr>
                  <p:txBody>
                    <a:bodyPr rtlCol="0" anchor="ctr"/>
                    <a:lstStyle/>
                    <a:p>
                      <a:endParaRPr lang="en-GB"/>
                    </a:p>
                  </p:txBody>
                </p:sp>
                <p:sp>
                  <p:nvSpPr>
                    <p:cNvPr id="7412" name="Vrije vorm: vorm 7411">
                      <a:extLst>
                        <a:ext uri="{FF2B5EF4-FFF2-40B4-BE49-F238E27FC236}">
                          <a16:creationId xmlns:a16="http://schemas.microsoft.com/office/drawing/2014/main" id="{80D4182D-20F1-4A52-BEBE-743D74AD5F51}"/>
                        </a:ext>
                      </a:extLst>
                    </p:cNvPr>
                    <p:cNvSpPr/>
                    <p:nvPr/>
                  </p:nvSpPr>
                  <p:spPr>
                    <a:xfrm>
                      <a:off x="5304561" y="5400572"/>
                      <a:ext cx="80414" cy="75273"/>
                    </a:xfrm>
                    <a:custGeom>
                      <a:avLst/>
                      <a:gdLst>
                        <a:gd name="connsiteX0" fmla="*/ 20454 w 80414"/>
                        <a:gd name="connsiteY0" fmla="*/ 2153 h 75273"/>
                        <a:gd name="connsiteX1" fmla="*/ 21231 w 80414"/>
                        <a:gd name="connsiteY1" fmla="*/ 1256 h 75273"/>
                        <a:gd name="connsiteX2" fmla="*/ 22308 w 80414"/>
                        <a:gd name="connsiteY2" fmla="*/ 2213 h 75273"/>
                        <a:gd name="connsiteX3" fmla="*/ 22308 w 80414"/>
                        <a:gd name="connsiteY3" fmla="*/ 1854 h 75273"/>
                        <a:gd name="connsiteX4" fmla="*/ 22308 w 80414"/>
                        <a:gd name="connsiteY4" fmla="*/ 1495 h 75273"/>
                        <a:gd name="connsiteX5" fmla="*/ 22308 w 80414"/>
                        <a:gd name="connsiteY5" fmla="*/ 1136 h 75273"/>
                        <a:gd name="connsiteX6" fmla="*/ 22308 w 80414"/>
                        <a:gd name="connsiteY6" fmla="*/ 778 h 75273"/>
                        <a:gd name="connsiteX7" fmla="*/ 21710 w 80414"/>
                        <a:gd name="connsiteY7" fmla="*/ 239 h 75273"/>
                        <a:gd name="connsiteX8" fmla="*/ 21411 w 80414"/>
                        <a:gd name="connsiteY8" fmla="*/ 0 h 75273"/>
                        <a:gd name="connsiteX9" fmla="*/ 20454 w 80414"/>
                        <a:gd name="connsiteY9" fmla="*/ 1136 h 75273"/>
                        <a:gd name="connsiteX10" fmla="*/ 20454 w 80414"/>
                        <a:gd name="connsiteY10" fmla="*/ 1376 h 75273"/>
                        <a:gd name="connsiteX11" fmla="*/ 20454 w 80414"/>
                        <a:gd name="connsiteY11" fmla="*/ 1615 h 75273"/>
                        <a:gd name="connsiteX12" fmla="*/ 20454 w 80414"/>
                        <a:gd name="connsiteY12" fmla="*/ 1854 h 75273"/>
                        <a:gd name="connsiteX13" fmla="*/ 20454 w 80414"/>
                        <a:gd name="connsiteY13" fmla="*/ 2153 h 75273"/>
                        <a:gd name="connsiteX14" fmla="*/ 18720 w 80414"/>
                        <a:gd name="connsiteY14" fmla="*/ 4187 h 75273"/>
                        <a:gd name="connsiteX15" fmla="*/ 19437 w 80414"/>
                        <a:gd name="connsiteY15" fmla="*/ 3349 h 75273"/>
                        <a:gd name="connsiteX16" fmla="*/ 19437 w 80414"/>
                        <a:gd name="connsiteY16" fmla="*/ 3110 h 75273"/>
                        <a:gd name="connsiteX17" fmla="*/ 19437 w 80414"/>
                        <a:gd name="connsiteY17" fmla="*/ 2871 h 75273"/>
                        <a:gd name="connsiteX18" fmla="*/ 19437 w 80414"/>
                        <a:gd name="connsiteY18" fmla="*/ 2632 h 75273"/>
                        <a:gd name="connsiteX19" fmla="*/ 19437 w 80414"/>
                        <a:gd name="connsiteY19" fmla="*/ 2392 h 75273"/>
                        <a:gd name="connsiteX20" fmla="*/ 18481 w 80414"/>
                        <a:gd name="connsiteY20" fmla="*/ 3529 h 75273"/>
                        <a:gd name="connsiteX21" fmla="*/ 18600 w 80414"/>
                        <a:gd name="connsiteY21" fmla="*/ 3708 h 75273"/>
                        <a:gd name="connsiteX22" fmla="*/ 18660 w 80414"/>
                        <a:gd name="connsiteY22" fmla="*/ 3888 h 75273"/>
                        <a:gd name="connsiteX23" fmla="*/ 18720 w 80414"/>
                        <a:gd name="connsiteY23" fmla="*/ 4067 h 75273"/>
                        <a:gd name="connsiteX24" fmla="*/ 18720 w 80414"/>
                        <a:gd name="connsiteY24" fmla="*/ 4187 h 75273"/>
                        <a:gd name="connsiteX25" fmla="*/ 15251 w 80414"/>
                        <a:gd name="connsiteY25" fmla="*/ 7177 h 75273"/>
                        <a:gd name="connsiteX26" fmla="*/ 15430 w 80414"/>
                        <a:gd name="connsiteY26" fmla="*/ 7237 h 75273"/>
                        <a:gd name="connsiteX27" fmla="*/ 15610 w 80414"/>
                        <a:gd name="connsiteY27" fmla="*/ 7237 h 75273"/>
                        <a:gd name="connsiteX28" fmla="*/ 15789 w 80414"/>
                        <a:gd name="connsiteY28" fmla="*/ 7237 h 75273"/>
                        <a:gd name="connsiteX29" fmla="*/ 16028 w 80414"/>
                        <a:gd name="connsiteY29" fmla="*/ 7177 h 75273"/>
                        <a:gd name="connsiteX30" fmla="*/ 16088 w 80414"/>
                        <a:gd name="connsiteY30" fmla="*/ 7177 h 75273"/>
                        <a:gd name="connsiteX31" fmla="*/ 16148 w 80414"/>
                        <a:gd name="connsiteY31" fmla="*/ 7177 h 75273"/>
                        <a:gd name="connsiteX32" fmla="*/ 16208 w 80414"/>
                        <a:gd name="connsiteY32" fmla="*/ 7177 h 75273"/>
                        <a:gd name="connsiteX33" fmla="*/ 16268 w 80414"/>
                        <a:gd name="connsiteY33" fmla="*/ 7177 h 75273"/>
                        <a:gd name="connsiteX34" fmla="*/ 17942 w 80414"/>
                        <a:gd name="connsiteY34" fmla="*/ 5203 h 75273"/>
                        <a:gd name="connsiteX35" fmla="*/ 17942 w 80414"/>
                        <a:gd name="connsiteY35" fmla="*/ 5144 h 75273"/>
                        <a:gd name="connsiteX36" fmla="*/ 17942 w 80414"/>
                        <a:gd name="connsiteY36" fmla="*/ 5084 h 75273"/>
                        <a:gd name="connsiteX37" fmla="*/ 17942 w 80414"/>
                        <a:gd name="connsiteY37" fmla="*/ 5024 h 75273"/>
                        <a:gd name="connsiteX38" fmla="*/ 17942 w 80414"/>
                        <a:gd name="connsiteY38" fmla="*/ 4964 h 75273"/>
                        <a:gd name="connsiteX39" fmla="*/ 17942 w 80414"/>
                        <a:gd name="connsiteY39" fmla="*/ 4725 h 75273"/>
                        <a:gd name="connsiteX40" fmla="*/ 17942 w 80414"/>
                        <a:gd name="connsiteY40" fmla="*/ 4545 h 75273"/>
                        <a:gd name="connsiteX41" fmla="*/ 17882 w 80414"/>
                        <a:gd name="connsiteY41" fmla="*/ 4366 h 75273"/>
                        <a:gd name="connsiteX42" fmla="*/ 17822 w 80414"/>
                        <a:gd name="connsiteY42" fmla="*/ 4187 h 75273"/>
                        <a:gd name="connsiteX43" fmla="*/ 15251 w 80414"/>
                        <a:gd name="connsiteY43" fmla="*/ 7177 h 75273"/>
                        <a:gd name="connsiteX44" fmla="*/ 6758 w 80414"/>
                        <a:gd name="connsiteY44" fmla="*/ 17045 h 75273"/>
                        <a:gd name="connsiteX45" fmla="*/ 13516 w 80414"/>
                        <a:gd name="connsiteY45" fmla="*/ 9211 h 75273"/>
                        <a:gd name="connsiteX46" fmla="*/ 13756 w 80414"/>
                        <a:gd name="connsiteY46" fmla="*/ 9450 h 75273"/>
                        <a:gd name="connsiteX47" fmla="*/ 13995 w 80414"/>
                        <a:gd name="connsiteY47" fmla="*/ 9689 h 75273"/>
                        <a:gd name="connsiteX48" fmla="*/ 15311 w 80414"/>
                        <a:gd name="connsiteY48" fmla="*/ 8134 h 75273"/>
                        <a:gd name="connsiteX49" fmla="*/ 15072 w 80414"/>
                        <a:gd name="connsiteY49" fmla="*/ 8134 h 75273"/>
                        <a:gd name="connsiteX50" fmla="*/ 14892 w 80414"/>
                        <a:gd name="connsiteY50" fmla="*/ 8134 h 75273"/>
                        <a:gd name="connsiteX51" fmla="*/ 14713 w 80414"/>
                        <a:gd name="connsiteY51" fmla="*/ 8074 h 75273"/>
                        <a:gd name="connsiteX52" fmla="*/ 14533 w 80414"/>
                        <a:gd name="connsiteY52" fmla="*/ 8014 h 75273"/>
                        <a:gd name="connsiteX53" fmla="*/ 6758 w 80414"/>
                        <a:gd name="connsiteY53" fmla="*/ 17045 h 75273"/>
                        <a:gd name="connsiteX54" fmla="*/ 6758 w 80414"/>
                        <a:gd name="connsiteY54" fmla="*/ 17045 h 75273"/>
                        <a:gd name="connsiteX55" fmla="*/ 6758 w 80414"/>
                        <a:gd name="connsiteY55" fmla="*/ 17045 h 75273"/>
                        <a:gd name="connsiteX56" fmla="*/ 6758 w 80414"/>
                        <a:gd name="connsiteY56" fmla="*/ 17045 h 75273"/>
                        <a:gd name="connsiteX57" fmla="*/ 6758 w 80414"/>
                        <a:gd name="connsiteY57" fmla="*/ 17045 h 75273"/>
                        <a:gd name="connsiteX58" fmla="*/ 5742 w 80414"/>
                        <a:gd name="connsiteY58" fmla="*/ 18182 h 75273"/>
                        <a:gd name="connsiteX59" fmla="*/ 6100 w 80414"/>
                        <a:gd name="connsiteY59" fmla="*/ 17763 h 75273"/>
                        <a:gd name="connsiteX60" fmla="*/ 6100 w 80414"/>
                        <a:gd name="connsiteY60" fmla="*/ 17763 h 75273"/>
                        <a:gd name="connsiteX61" fmla="*/ 6100 w 80414"/>
                        <a:gd name="connsiteY61" fmla="*/ 17763 h 75273"/>
                        <a:gd name="connsiteX62" fmla="*/ 6100 w 80414"/>
                        <a:gd name="connsiteY62" fmla="*/ 17763 h 75273"/>
                        <a:gd name="connsiteX63" fmla="*/ 6100 w 80414"/>
                        <a:gd name="connsiteY63" fmla="*/ 17763 h 75273"/>
                        <a:gd name="connsiteX64" fmla="*/ 5742 w 80414"/>
                        <a:gd name="connsiteY64" fmla="*/ 18182 h 75273"/>
                        <a:gd name="connsiteX65" fmla="*/ 3529 w 80414"/>
                        <a:gd name="connsiteY65" fmla="*/ 20753 h 75273"/>
                        <a:gd name="connsiteX66" fmla="*/ 3708 w 80414"/>
                        <a:gd name="connsiteY66" fmla="*/ 20813 h 75273"/>
                        <a:gd name="connsiteX67" fmla="*/ 3888 w 80414"/>
                        <a:gd name="connsiteY67" fmla="*/ 20813 h 75273"/>
                        <a:gd name="connsiteX68" fmla="*/ 4067 w 80414"/>
                        <a:gd name="connsiteY68" fmla="*/ 20813 h 75273"/>
                        <a:gd name="connsiteX69" fmla="*/ 4306 w 80414"/>
                        <a:gd name="connsiteY69" fmla="*/ 20753 h 75273"/>
                        <a:gd name="connsiteX70" fmla="*/ 4366 w 80414"/>
                        <a:gd name="connsiteY70" fmla="*/ 20753 h 75273"/>
                        <a:gd name="connsiteX71" fmla="*/ 4426 w 80414"/>
                        <a:gd name="connsiteY71" fmla="*/ 20753 h 75273"/>
                        <a:gd name="connsiteX72" fmla="*/ 4486 w 80414"/>
                        <a:gd name="connsiteY72" fmla="*/ 20753 h 75273"/>
                        <a:gd name="connsiteX73" fmla="*/ 4545 w 80414"/>
                        <a:gd name="connsiteY73" fmla="*/ 20753 h 75273"/>
                        <a:gd name="connsiteX74" fmla="*/ 6100 w 80414"/>
                        <a:gd name="connsiteY74" fmla="*/ 18959 h 75273"/>
                        <a:gd name="connsiteX75" fmla="*/ 5562 w 80414"/>
                        <a:gd name="connsiteY75" fmla="*/ 18481 h 75273"/>
                        <a:gd name="connsiteX76" fmla="*/ 3529 w 80414"/>
                        <a:gd name="connsiteY76" fmla="*/ 20753 h 75273"/>
                        <a:gd name="connsiteX77" fmla="*/ 1914 w 80414"/>
                        <a:gd name="connsiteY77" fmla="*/ 22607 h 75273"/>
                        <a:gd name="connsiteX78" fmla="*/ 2153 w 80414"/>
                        <a:gd name="connsiteY78" fmla="*/ 22607 h 75273"/>
                        <a:gd name="connsiteX79" fmla="*/ 2392 w 80414"/>
                        <a:gd name="connsiteY79" fmla="*/ 22547 h 75273"/>
                        <a:gd name="connsiteX80" fmla="*/ 2632 w 80414"/>
                        <a:gd name="connsiteY80" fmla="*/ 22488 h 75273"/>
                        <a:gd name="connsiteX81" fmla="*/ 2871 w 80414"/>
                        <a:gd name="connsiteY81" fmla="*/ 22428 h 75273"/>
                        <a:gd name="connsiteX82" fmla="*/ 3589 w 80414"/>
                        <a:gd name="connsiteY82" fmla="*/ 21591 h 75273"/>
                        <a:gd name="connsiteX83" fmla="*/ 3349 w 80414"/>
                        <a:gd name="connsiteY83" fmla="*/ 21591 h 75273"/>
                        <a:gd name="connsiteX84" fmla="*/ 3110 w 80414"/>
                        <a:gd name="connsiteY84" fmla="*/ 21591 h 75273"/>
                        <a:gd name="connsiteX85" fmla="*/ 2930 w 80414"/>
                        <a:gd name="connsiteY85" fmla="*/ 21531 h 75273"/>
                        <a:gd name="connsiteX86" fmla="*/ 2751 w 80414"/>
                        <a:gd name="connsiteY86" fmla="*/ 21471 h 75273"/>
                        <a:gd name="connsiteX87" fmla="*/ 1914 w 80414"/>
                        <a:gd name="connsiteY87" fmla="*/ 22607 h 75273"/>
                        <a:gd name="connsiteX88" fmla="*/ 658 w 80414"/>
                        <a:gd name="connsiteY88" fmla="*/ 25658 h 75273"/>
                        <a:gd name="connsiteX89" fmla="*/ 1017 w 80414"/>
                        <a:gd name="connsiteY89" fmla="*/ 25658 h 75273"/>
                        <a:gd name="connsiteX90" fmla="*/ 1375 w 80414"/>
                        <a:gd name="connsiteY90" fmla="*/ 25598 h 75273"/>
                        <a:gd name="connsiteX91" fmla="*/ 1735 w 80414"/>
                        <a:gd name="connsiteY91" fmla="*/ 25538 h 75273"/>
                        <a:gd name="connsiteX92" fmla="*/ 2093 w 80414"/>
                        <a:gd name="connsiteY92" fmla="*/ 25478 h 75273"/>
                        <a:gd name="connsiteX93" fmla="*/ 1136 w 80414"/>
                        <a:gd name="connsiteY93" fmla="*/ 24700 h 75273"/>
                        <a:gd name="connsiteX94" fmla="*/ 2034 w 80414"/>
                        <a:gd name="connsiteY94" fmla="*/ 23684 h 75273"/>
                        <a:gd name="connsiteX95" fmla="*/ 1794 w 80414"/>
                        <a:gd name="connsiteY95" fmla="*/ 23684 h 75273"/>
                        <a:gd name="connsiteX96" fmla="*/ 1555 w 80414"/>
                        <a:gd name="connsiteY96" fmla="*/ 23684 h 75273"/>
                        <a:gd name="connsiteX97" fmla="*/ 1316 w 80414"/>
                        <a:gd name="connsiteY97" fmla="*/ 23684 h 75273"/>
                        <a:gd name="connsiteX98" fmla="*/ 1076 w 80414"/>
                        <a:gd name="connsiteY98" fmla="*/ 23684 h 75273"/>
                        <a:gd name="connsiteX99" fmla="*/ 0 w 80414"/>
                        <a:gd name="connsiteY99" fmla="*/ 24940 h 75273"/>
                        <a:gd name="connsiteX100" fmla="*/ 658 w 80414"/>
                        <a:gd name="connsiteY100" fmla="*/ 25658 h 75273"/>
                        <a:gd name="connsiteX101" fmla="*/ 57654 w 80414"/>
                        <a:gd name="connsiteY101" fmla="*/ 73862 h 75273"/>
                        <a:gd name="connsiteX102" fmla="*/ 61601 w 80414"/>
                        <a:gd name="connsiteY102" fmla="*/ 75238 h 75273"/>
                        <a:gd name="connsiteX103" fmla="*/ 66207 w 80414"/>
                        <a:gd name="connsiteY103" fmla="*/ 74700 h 75273"/>
                        <a:gd name="connsiteX104" fmla="*/ 70991 w 80414"/>
                        <a:gd name="connsiteY104" fmla="*/ 72367 h 75273"/>
                        <a:gd name="connsiteX105" fmla="*/ 75417 w 80414"/>
                        <a:gd name="connsiteY105" fmla="*/ 68419 h 75273"/>
                        <a:gd name="connsiteX106" fmla="*/ 78766 w 80414"/>
                        <a:gd name="connsiteY106" fmla="*/ 63216 h 75273"/>
                        <a:gd name="connsiteX107" fmla="*/ 80321 w 80414"/>
                        <a:gd name="connsiteY107" fmla="*/ 57953 h 75273"/>
                        <a:gd name="connsiteX108" fmla="*/ 79962 w 80414"/>
                        <a:gd name="connsiteY108" fmla="*/ 53169 h 75273"/>
                        <a:gd name="connsiteX109" fmla="*/ 77630 w 80414"/>
                        <a:gd name="connsiteY109" fmla="*/ 49521 h 75273"/>
                        <a:gd name="connsiteX110" fmla="*/ 73384 w 80414"/>
                        <a:gd name="connsiteY110" fmla="*/ 45813 h 75273"/>
                        <a:gd name="connsiteX111" fmla="*/ 72426 w 80414"/>
                        <a:gd name="connsiteY111" fmla="*/ 44975 h 75273"/>
                        <a:gd name="connsiteX112" fmla="*/ 70453 w 80414"/>
                        <a:gd name="connsiteY112" fmla="*/ 43241 h 75273"/>
                        <a:gd name="connsiteX113" fmla="*/ 69735 w 80414"/>
                        <a:gd name="connsiteY113" fmla="*/ 42583 h 75273"/>
                        <a:gd name="connsiteX114" fmla="*/ 23086 w 80414"/>
                        <a:gd name="connsiteY114" fmla="*/ 1615 h 75273"/>
                        <a:gd name="connsiteX115" fmla="*/ 23086 w 80414"/>
                        <a:gd name="connsiteY115" fmla="*/ 1914 h 75273"/>
                        <a:gd name="connsiteX116" fmla="*/ 23086 w 80414"/>
                        <a:gd name="connsiteY116" fmla="*/ 2213 h 75273"/>
                        <a:gd name="connsiteX117" fmla="*/ 23086 w 80414"/>
                        <a:gd name="connsiteY117" fmla="*/ 2512 h 75273"/>
                        <a:gd name="connsiteX118" fmla="*/ 23086 w 80414"/>
                        <a:gd name="connsiteY118" fmla="*/ 2871 h 75273"/>
                        <a:gd name="connsiteX119" fmla="*/ 68718 w 80414"/>
                        <a:gd name="connsiteY119" fmla="*/ 42822 h 75273"/>
                        <a:gd name="connsiteX120" fmla="*/ 69377 w 80414"/>
                        <a:gd name="connsiteY120" fmla="*/ 43420 h 75273"/>
                        <a:gd name="connsiteX121" fmla="*/ 71231 w 80414"/>
                        <a:gd name="connsiteY121" fmla="*/ 45035 h 75273"/>
                        <a:gd name="connsiteX122" fmla="*/ 72068 w 80414"/>
                        <a:gd name="connsiteY122" fmla="*/ 45753 h 75273"/>
                        <a:gd name="connsiteX123" fmla="*/ 77092 w 80414"/>
                        <a:gd name="connsiteY123" fmla="*/ 50178 h 75273"/>
                        <a:gd name="connsiteX124" fmla="*/ 79245 w 80414"/>
                        <a:gd name="connsiteY124" fmla="*/ 53587 h 75273"/>
                        <a:gd name="connsiteX125" fmla="*/ 79544 w 80414"/>
                        <a:gd name="connsiteY125" fmla="*/ 58073 h 75273"/>
                        <a:gd name="connsiteX126" fmla="*/ 78108 w 80414"/>
                        <a:gd name="connsiteY126" fmla="*/ 63037 h 75273"/>
                        <a:gd name="connsiteX127" fmla="*/ 74998 w 80414"/>
                        <a:gd name="connsiteY127" fmla="*/ 67881 h 75273"/>
                        <a:gd name="connsiteX128" fmla="*/ 70872 w 80414"/>
                        <a:gd name="connsiteY128" fmla="*/ 71649 h 75273"/>
                        <a:gd name="connsiteX129" fmla="*/ 66386 w 80414"/>
                        <a:gd name="connsiteY129" fmla="*/ 73862 h 75273"/>
                        <a:gd name="connsiteX130" fmla="*/ 62020 w 80414"/>
                        <a:gd name="connsiteY130" fmla="*/ 74400 h 75273"/>
                        <a:gd name="connsiteX131" fmla="*/ 58312 w 80414"/>
                        <a:gd name="connsiteY131" fmla="*/ 73085 h 75273"/>
                        <a:gd name="connsiteX132" fmla="*/ 57833 w 80414"/>
                        <a:gd name="connsiteY132" fmla="*/ 72726 h 75273"/>
                        <a:gd name="connsiteX133" fmla="*/ 51972 w 80414"/>
                        <a:gd name="connsiteY133" fmla="*/ 67762 h 75273"/>
                        <a:gd name="connsiteX134" fmla="*/ 51195 w 80414"/>
                        <a:gd name="connsiteY134" fmla="*/ 67104 h 75273"/>
                        <a:gd name="connsiteX135" fmla="*/ 47128 w 80414"/>
                        <a:gd name="connsiteY135" fmla="*/ 63635 h 75273"/>
                        <a:gd name="connsiteX136" fmla="*/ 46650 w 80414"/>
                        <a:gd name="connsiteY136" fmla="*/ 63216 h 75273"/>
                        <a:gd name="connsiteX137" fmla="*/ 2930 w 80414"/>
                        <a:gd name="connsiteY137" fmla="*/ 26196 h 75273"/>
                        <a:gd name="connsiteX138" fmla="*/ 2632 w 80414"/>
                        <a:gd name="connsiteY138" fmla="*/ 26255 h 75273"/>
                        <a:gd name="connsiteX139" fmla="*/ 2333 w 80414"/>
                        <a:gd name="connsiteY139" fmla="*/ 26315 h 75273"/>
                        <a:gd name="connsiteX140" fmla="*/ 2034 w 80414"/>
                        <a:gd name="connsiteY140" fmla="*/ 26375 h 75273"/>
                        <a:gd name="connsiteX141" fmla="*/ 1735 w 80414"/>
                        <a:gd name="connsiteY141" fmla="*/ 26435 h 75273"/>
                        <a:gd name="connsiteX142" fmla="*/ 46112 w 80414"/>
                        <a:gd name="connsiteY142" fmla="*/ 63994 h 75273"/>
                        <a:gd name="connsiteX143" fmla="*/ 46590 w 80414"/>
                        <a:gd name="connsiteY143" fmla="*/ 64412 h 75273"/>
                        <a:gd name="connsiteX144" fmla="*/ 51255 w 80414"/>
                        <a:gd name="connsiteY144" fmla="*/ 68360 h 75273"/>
                        <a:gd name="connsiteX145" fmla="*/ 52092 w 80414"/>
                        <a:gd name="connsiteY145" fmla="*/ 69078 h 75273"/>
                        <a:gd name="connsiteX146" fmla="*/ 57295 w 80414"/>
                        <a:gd name="connsiteY146" fmla="*/ 73503 h 75273"/>
                        <a:gd name="connsiteX147" fmla="*/ 57654 w 80414"/>
                        <a:gd name="connsiteY147" fmla="*/ 73862 h 7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80414" h="75273">
                          <a:moveTo>
                            <a:pt x="20454" y="2153"/>
                          </a:moveTo>
                          <a:lnTo>
                            <a:pt x="21231" y="1256"/>
                          </a:lnTo>
                          <a:lnTo>
                            <a:pt x="22308" y="2213"/>
                          </a:lnTo>
                          <a:cubicBezTo>
                            <a:pt x="22308" y="2093"/>
                            <a:pt x="22308" y="1974"/>
                            <a:pt x="22308" y="1854"/>
                          </a:cubicBezTo>
                          <a:cubicBezTo>
                            <a:pt x="22308" y="1735"/>
                            <a:pt x="22308" y="1615"/>
                            <a:pt x="22308" y="1495"/>
                          </a:cubicBezTo>
                          <a:cubicBezTo>
                            <a:pt x="22308" y="1376"/>
                            <a:pt x="22308" y="1256"/>
                            <a:pt x="22308" y="1136"/>
                          </a:cubicBezTo>
                          <a:cubicBezTo>
                            <a:pt x="22308" y="1017"/>
                            <a:pt x="22308" y="897"/>
                            <a:pt x="22308" y="778"/>
                          </a:cubicBezTo>
                          <a:lnTo>
                            <a:pt x="21710" y="239"/>
                          </a:lnTo>
                          <a:lnTo>
                            <a:pt x="21411" y="0"/>
                          </a:lnTo>
                          <a:lnTo>
                            <a:pt x="20454" y="1136"/>
                          </a:lnTo>
                          <a:cubicBezTo>
                            <a:pt x="20454" y="1196"/>
                            <a:pt x="20454" y="1316"/>
                            <a:pt x="20454" y="1376"/>
                          </a:cubicBezTo>
                          <a:cubicBezTo>
                            <a:pt x="20454" y="1436"/>
                            <a:pt x="20454" y="1555"/>
                            <a:pt x="20454" y="1615"/>
                          </a:cubicBezTo>
                          <a:cubicBezTo>
                            <a:pt x="20454" y="1675"/>
                            <a:pt x="20454" y="1795"/>
                            <a:pt x="20454" y="1854"/>
                          </a:cubicBezTo>
                          <a:cubicBezTo>
                            <a:pt x="20454" y="1914"/>
                            <a:pt x="20454" y="2034"/>
                            <a:pt x="20454" y="2153"/>
                          </a:cubicBezTo>
                          <a:moveTo>
                            <a:pt x="18720" y="4187"/>
                          </a:moveTo>
                          <a:lnTo>
                            <a:pt x="19437" y="3349"/>
                          </a:lnTo>
                          <a:cubicBezTo>
                            <a:pt x="19437" y="3290"/>
                            <a:pt x="19437" y="3170"/>
                            <a:pt x="19437" y="3110"/>
                          </a:cubicBezTo>
                          <a:cubicBezTo>
                            <a:pt x="19437" y="3050"/>
                            <a:pt x="19437" y="2931"/>
                            <a:pt x="19437" y="2871"/>
                          </a:cubicBezTo>
                          <a:cubicBezTo>
                            <a:pt x="19437" y="2811"/>
                            <a:pt x="19437" y="2691"/>
                            <a:pt x="19437" y="2632"/>
                          </a:cubicBezTo>
                          <a:cubicBezTo>
                            <a:pt x="19437" y="2572"/>
                            <a:pt x="19437" y="2452"/>
                            <a:pt x="19437" y="2392"/>
                          </a:cubicBezTo>
                          <a:lnTo>
                            <a:pt x="18481" y="3529"/>
                          </a:lnTo>
                          <a:cubicBezTo>
                            <a:pt x="18540" y="3589"/>
                            <a:pt x="18540" y="3649"/>
                            <a:pt x="18600" y="3708"/>
                          </a:cubicBezTo>
                          <a:cubicBezTo>
                            <a:pt x="18600" y="3768"/>
                            <a:pt x="18660" y="3828"/>
                            <a:pt x="18660" y="3888"/>
                          </a:cubicBezTo>
                          <a:cubicBezTo>
                            <a:pt x="18660" y="3947"/>
                            <a:pt x="18720" y="4007"/>
                            <a:pt x="18720" y="4067"/>
                          </a:cubicBezTo>
                          <a:cubicBezTo>
                            <a:pt x="18720" y="4007"/>
                            <a:pt x="18720" y="4127"/>
                            <a:pt x="18720" y="4187"/>
                          </a:cubicBezTo>
                          <a:moveTo>
                            <a:pt x="15251" y="7177"/>
                          </a:moveTo>
                          <a:cubicBezTo>
                            <a:pt x="15311" y="7177"/>
                            <a:pt x="15371" y="7237"/>
                            <a:pt x="15430" y="7237"/>
                          </a:cubicBezTo>
                          <a:cubicBezTo>
                            <a:pt x="15490" y="7237"/>
                            <a:pt x="15550" y="7237"/>
                            <a:pt x="15610" y="7237"/>
                          </a:cubicBezTo>
                          <a:cubicBezTo>
                            <a:pt x="15669" y="7237"/>
                            <a:pt x="15729" y="7237"/>
                            <a:pt x="15789" y="7237"/>
                          </a:cubicBezTo>
                          <a:cubicBezTo>
                            <a:pt x="15849" y="7237"/>
                            <a:pt x="15909" y="7237"/>
                            <a:pt x="16028" y="7177"/>
                          </a:cubicBezTo>
                          <a:cubicBezTo>
                            <a:pt x="16028" y="7177"/>
                            <a:pt x="16028" y="7177"/>
                            <a:pt x="16088" y="7177"/>
                          </a:cubicBezTo>
                          <a:cubicBezTo>
                            <a:pt x="16148" y="7177"/>
                            <a:pt x="16088" y="7177"/>
                            <a:pt x="16148" y="7177"/>
                          </a:cubicBezTo>
                          <a:cubicBezTo>
                            <a:pt x="16148" y="7177"/>
                            <a:pt x="16148" y="7177"/>
                            <a:pt x="16208" y="7177"/>
                          </a:cubicBezTo>
                          <a:cubicBezTo>
                            <a:pt x="16268" y="7177"/>
                            <a:pt x="16208" y="7177"/>
                            <a:pt x="16268" y="7177"/>
                          </a:cubicBezTo>
                          <a:lnTo>
                            <a:pt x="17942" y="5203"/>
                          </a:lnTo>
                          <a:cubicBezTo>
                            <a:pt x="17942" y="5203"/>
                            <a:pt x="17942" y="5144"/>
                            <a:pt x="17942" y="5144"/>
                          </a:cubicBezTo>
                          <a:cubicBezTo>
                            <a:pt x="17942" y="5144"/>
                            <a:pt x="17942" y="5084"/>
                            <a:pt x="17942" y="5084"/>
                          </a:cubicBezTo>
                          <a:cubicBezTo>
                            <a:pt x="17942" y="5084"/>
                            <a:pt x="17942" y="5024"/>
                            <a:pt x="17942" y="5024"/>
                          </a:cubicBezTo>
                          <a:cubicBezTo>
                            <a:pt x="17942" y="5024"/>
                            <a:pt x="17942" y="4964"/>
                            <a:pt x="17942" y="4964"/>
                          </a:cubicBezTo>
                          <a:cubicBezTo>
                            <a:pt x="17942" y="4904"/>
                            <a:pt x="17942" y="4844"/>
                            <a:pt x="17942" y="4725"/>
                          </a:cubicBezTo>
                          <a:cubicBezTo>
                            <a:pt x="17942" y="4665"/>
                            <a:pt x="17942" y="4605"/>
                            <a:pt x="17942" y="4545"/>
                          </a:cubicBezTo>
                          <a:cubicBezTo>
                            <a:pt x="17942" y="4486"/>
                            <a:pt x="17942" y="4426"/>
                            <a:pt x="17882" y="4366"/>
                          </a:cubicBezTo>
                          <a:cubicBezTo>
                            <a:pt x="17882" y="4306"/>
                            <a:pt x="17822" y="4246"/>
                            <a:pt x="17822" y="4187"/>
                          </a:cubicBezTo>
                          <a:lnTo>
                            <a:pt x="15251" y="7177"/>
                          </a:lnTo>
                          <a:moveTo>
                            <a:pt x="6758" y="17045"/>
                          </a:moveTo>
                          <a:lnTo>
                            <a:pt x="13516" y="9211"/>
                          </a:lnTo>
                          <a:lnTo>
                            <a:pt x="13756" y="9450"/>
                          </a:lnTo>
                          <a:lnTo>
                            <a:pt x="13995" y="9689"/>
                          </a:lnTo>
                          <a:lnTo>
                            <a:pt x="15311" y="8134"/>
                          </a:lnTo>
                          <a:cubicBezTo>
                            <a:pt x="15251" y="8134"/>
                            <a:pt x="15191" y="8134"/>
                            <a:pt x="15072" y="8134"/>
                          </a:cubicBezTo>
                          <a:cubicBezTo>
                            <a:pt x="15012" y="8134"/>
                            <a:pt x="14952" y="8134"/>
                            <a:pt x="14892" y="8134"/>
                          </a:cubicBezTo>
                          <a:cubicBezTo>
                            <a:pt x="14832" y="8134"/>
                            <a:pt x="14773" y="8134"/>
                            <a:pt x="14713" y="8074"/>
                          </a:cubicBezTo>
                          <a:cubicBezTo>
                            <a:pt x="14653" y="8014"/>
                            <a:pt x="14593" y="8014"/>
                            <a:pt x="14533" y="8014"/>
                          </a:cubicBezTo>
                          <a:lnTo>
                            <a:pt x="6758" y="17045"/>
                          </a:lnTo>
                          <a:cubicBezTo>
                            <a:pt x="6758" y="17045"/>
                            <a:pt x="6758" y="17045"/>
                            <a:pt x="6758" y="17045"/>
                          </a:cubicBezTo>
                          <a:cubicBezTo>
                            <a:pt x="6758" y="17045"/>
                            <a:pt x="6758" y="17045"/>
                            <a:pt x="6758" y="17045"/>
                          </a:cubicBezTo>
                          <a:cubicBezTo>
                            <a:pt x="6758" y="17045"/>
                            <a:pt x="6758" y="17045"/>
                            <a:pt x="6758" y="17045"/>
                          </a:cubicBezTo>
                          <a:cubicBezTo>
                            <a:pt x="6758" y="17045"/>
                            <a:pt x="6758" y="17045"/>
                            <a:pt x="6758" y="17045"/>
                          </a:cubicBezTo>
                          <a:moveTo>
                            <a:pt x="5742" y="18182"/>
                          </a:moveTo>
                          <a:lnTo>
                            <a:pt x="6100" y="17763"/>
                          </a:lnTo>
                          <a:lnTo>
                            <a:pt x="6100" y="17763"/>
                          </a:lnTo>
                          <a:lnTo>
                            <a:pt x="6100" y="17763"/>
                          </a:lnTo>
                          <a:lnTo>
                            <a:pt x="6100" y="17763"/>
                          </a:lnTo>
                          <a:lnTo>
                            <a:pt x="6100" y="17763"/>
                          </a:lnTo>
                          <a:lnTo>
                            <a:pt x="5742" y="18182"/>
                          </a:lnTo>
                          <a:moveTo>
                            <a:pt x="3529" y="20753"/>
                          </a:moveTo>
                          <a:cubicBezTo>
                            <a:pt x="3589" y="20753"/>
                            <a:pt x="3648" y="20813"/>
                            <a:pt x="3708" y="20813"/>
                          </a:cubicBezTo>
                          <a:cubicBezTo>
                            <a:pt x="3768" y="20813"/>
                            <a:pt x="3828" y="20813"/>
                            <a:pt x="3888" y="20813"/>
                          </a:cubicBezTo>
                          <a:cubicBezTo>
                            <a:pt x="3947" y="20813"/>
                            <a:pt x="4007" y="20813"/>
                            <a:pt x="4067" y="20813"/>
                          </a:cubicBezTo>
                          <a:cubicBezTo>
                            <a:pt x="4127" y="20813"/>
                            <a:pt x="4187" y="20813"/>
                            <a:pt x="4306" y="20753"/>
                          </a:cubicBezTo>
                          <a:cubicBezTo>
                            <a:pt x="4306" y="20753"/>
                            <a:pt x="4366" y="20753"/>
                            <a:pt x="4366" y="20753"/>
                          </a:cubicBezTo>
                          <a:cubicBezTo>
                            <a:pt x="4366" y="20753"/>
                            <a:pt x="4426" y="20753"/>
                            <a:pt x="4426" y="20753"/>
                          </a:cubicBezTo>
                          <a:cubicBezTo>
                            <a:pt x="4426" y="20753"/>
                            <a:pt x="4486" y="20753"/>
                            <a:pt x="4486" y="20753"/>
                          </a:cubicBezTo>
                          <a:cubicBezTo>
                            <a:pt x="4486" y="20753"/>
                            <a:pt x="4545" y="20753"/>
                            <a:pt x="4545" y="20753"/>
                          </a:cubicBezTo>
                          <a:lnTo>
                            <a:pt x="6100" y="18959"/>
                          </a:lnTo>
                          <a:lnTo>
                            <a:pt x="5562" y="18481"/>
                          </a:lnTo>
                          <a:lnTo>
                            <a:pt x="3529" y="20753"/>
                          </a:lnTo>
                          <a:moveTo>
                            <a:pt x="1914" y="22607"/>
                          </a:moveTo>
                          <a:cubicBezTo>
                            <a:pt x="1974" y="22607"/>
                            <a:pt x="2093" y="22607"/>
                            <a:pt x="2153" y="22607"/>
                          </a:cubicBezTo>
                          <a:cubicBezTo>
                            <a:pt x="2213" y="22607"/>
                            <a:pt x="2333" y="22607"/>
                            <a:pt x="2392" y="22547"/>
                          </a:cubicBezTo>
                          <a:cubicBezTo>
                            <a:pt x="2452" y="22547"/>
                            <a:pt x="2572" y="22547"/>
                            <a:pt x="2632" y="22488"/>
                          </a:cubicBezTo>
                          <a:cubicBezTo>
                            <a:pt x="2691" y="22488"/>
                            <a:pt x="2811" y="22488"/>
                            <a:pt x="2871" y="22428"/>
                          </a:cubicBezTo>
                          <a:lnTo>
                            <a:pt x="3589" y="21591"/>
                          </a:lnTo>
                          <a:cubicBezTo>
                            <a:pt x="3529" y="21591"/>
                            <a:pt x="3409" y="21591"/>
                            <a:pt x="3349" y="21591"/>
                          </a:cubicBezTo>
                          <a:cubicBezTo>
                            <a:pt x="3289" y="21591"/>
                            <a:pt x="3230" y="21591"/>
                            <a:pt x="3110" y="21591"/>
                          </a:cubicBezTo>
                          <a:cubicBezTo>
                            <a:pt x="2990" y="21591"/>
                            <a:pt x="2990" y="21591"/>
                            <a:pt x="2930" y="21531"/>
                          </a:cubicBezTo>
                          <a:cubicBezTo>
                            <a:pt x="2871" y="21531"/>
                            <a:pt x="2811" y="21471"/>
                            <a:pt x="2751" y="21471"/>
                          </a:cubicBezTo>
                          <a:lnTo>
                            <a:pt x="1914" y="22607"/>
                          </a:lnTo>
                          <a:moveTo>
                            <a:pt x="658" y="25658"/>
                          </a:moveTo>
                          <a:cubicBezTo>
                            <a:pt x="778" y="25658"/>
                            <a:pt x="897" y="25658"/>
                            <a:pt x="1017" y="25658"/>
                          </a:cubicBezTo>
                          <a:cubicBezTo>
                            <a:pt x="1136" y="25658"/>
                            <a:pt x="1256" y="25658"/>
                            <a:pt x="1375" y="25598"/>
                          </a:cubicBezTo>
                          <a:cubicBezTo>
                            <a:pt x="1495" y="25598"/>
                            <a:pt x="1615" y="25598"/>
                            <a:pt x="1735" y="25538"/>
                          </a:cubicBezTo>
                          <a:cubicBezTo>
                            <a:pt x="1854" y="25478"/>
                            <a:pt x="1974" y="25538"/>
                            <a:pt x="2093" y="25478"/>
                          </a:cubicBezTo>
                          <a:lnTo>
                            <a:pt x="1136" y="24700"/>
                          </a:lnTo>
                          <a:lnTo>
                            <a:pt x="2034" y="23684"/>
                          </a:lnTo>
                          <a:cubicBezTo>
                            <a:pt x="1974" y="23684"/>
                            <a:pt x="1854" y="23684"/>
                            <a:pt x="1794" y="23684"/>
                          </a:cubicBezTo>
                          <a:cubicBezTo>
                            <a:pt x="1735" y="23684"/>
                            <a:pt x="1615" y="23684"/>
                            <a:pt x="1555" y="23684"/>
                          </a:cubicBezTo>
                          <a:cubicBezTo>
                            <a:pt x="1495" y="23684"/>
                            <a:pt x="1375" y="23684"/>
                            <a:pt x="1316" y="23684"/>
                          </a:cubicBezTo>
                          <a:cubicBezTo>
                            <a:pt x="1256" y="23684"/>
                            <a:pt x="1136" y="23684"/>
                            <a:pt x="1076" y="23684"/>
                          </a:cubicBezTo>
                          <a:lnTo>
                            <a:pt x="0" y="24940"/>
                          </a:lnTo>
                          <a:lnTo>
                            <a:pt x="658" y="25658"/>
                          </a:lnTo>
                          <a:moveTo>
                            <a:pt x="57654" y="73862"/>
                          </a:moveTo>
                          <a:cubicBezTo>
                            <a:pt x="58791" y="74640"/>
                            <a:pt x="60106" y="75118"/>
                            <a:pt x="61601" y="75238"/>
                          </a:cubicBezTo>
                          <a:cubicBezTo>
                            <a:pt x="63037" y="75357"/>
                            <a:pt x="64652" y="75178"/>
                            <a:pt x="66207" y="74700"/>
                          </a:cubicBezTo>
                          <a:cubicBezTo>
                            <a:pt x="67822" y="74221"/>
                            <a:pt x="69436" y="73443"/>
                            <a:pt x="70991" y="72367"/>
                          </a:cubicBezTo>
                          <a:cubicBezTo>
                            <a:pt x="72546" y="71290"/>
                            <a:pt x="74041" y="69975"/>
                            <a:pt x="75417" y="68419"/>
                          </a:cubicBezTo>
                          <a:cubicBezTo>
                            <a:pt x="76793" y="66805"/>
                            <a:pt x="77929" y="65010"/>
                            <a:pt x="78766" y="63216"/>
                          </a:cubicBezTo>
                          <a:cubicBezTo>
                            <a:pt x="79603" y="61422"/>
                            <a:pt x="80082" y="59628"/>
                            <a:pt x="80321" y="57953"/>
                          </a:cubicBezTo>
                          <a:cubicBezTo>
                            <a:pt x="80501" y="56219"/>
                            <a:pt x="80441" y="54604"/>
                            <a:pt x="79962" y="53169"/>
                          </a:cubicBezTo>
                          <a:cubicBezTo>
                            <a:pt x="79544" y="51733"/>
                            <a:pt x="78766" y="50477"/>
                            <a:pt x="77630" y="49521"/>
                          </a:cubicBezTo>
                          <a:lnTo>
                            <a:pt x="73384" y="45813"/>
                          </a:lnTo>
                          <a:lnTo>
                            <a:pt x="72426" y="44975"/>
                          </a:lnTo>
                          <a:lnTo>
                            <a:pt x="70453" y="43241"/>
                          </a:lnTo>
                          <a:lnTo>
                            <a:pt x="69735" y="42583"/>
                          </a:lnTo>
                          <a:lnTo>
                            <a:pt x="23086" y="1615"/>
                          </a:lnTo>
                          <a:cubicBezTo>
                            <a:pt x="23086" y="1735"/>
                            <a:pt x="23086" y="1854"/>
                            <a:pt x="23086" y="1914"/>
                          </a:cubicBezTo>
                          <a:cubicBezTo>
                            <a:pt x="23086" y="2034"/>
                            <a:pt x="23086" y="2153"/>
                            <a:pt x="23086" y="2213"/>
                          </a:cubicBezTo>
                          <a:cubicBezTo>
                            <a:pt x="23086" y="2273"/>
                            <a:pt x="23086" y="2452"/>
                            <a:pt x="23086" y="2512"/>
                          </a:cubicBezTo>
                          <a:cubicBezTo>
                            <a:pt x="23086" y="2632"/>
                            <a:pt x="23086" y="2751"/>
                            <a:pt x="23086" y="2871"/>
                          </a:cubicBezTo>
                          <a:lnTo>
                            <a:pt x="68718" y="42822"/>
                          </a:lnTo>
                          <a:lnTo>
                            <a:pt x="69377" y="43420"/>
                          </a:lnTo>
                          <a:lnTo>
                            <a:pt x="71231" y="45035"/>
                          </a:lnTo>
                          <a:lnTo>
                            <a:pt x="72068" y="45753"/>
                          </a:lnTo>
                          <a:lnTo>
                            <a:pt x="77092" y="50178"/>
                          </a:lnTo>
                          <a:cubicBezTo>
                            <a:pt x="78108" y="51076"/>
                            <a:pt x="78826" y="52272"/>
                            <a:pt x="79245" y="53587"/>
                          </a:cubicBezTo>
                          <a:cubicBezTo>
                            <a:pt x="79663" y="54963"/>
                            <a:pt x="79723" y="56458"/>
                            <a:pt x="79544" y="58073"/>
                          </a:cubicBezTo>
                          <a:cubicBezTo>
                            <a:pt x="79364" y="59688"/>
                            <a:pt x="78886" y="61362"/>
                            <a:pt x="78108" y="63037"/>
                          </a:cubicBezTo>
                          <a:cubicBezTo>
                            <a:pt x="77331" y="64711"/>
                            <a:pt x="76314" y="66326"/>
                            <a:pt x="74998" y="67881"/>
                          </a:cubicBezTo>
                          <a:cubicBezTo>
                            <a:pt x="73742" y="69377"/>
                            <a:pt x="72307" y="70632"/>
                            <a:pt x="70872" y="71649"/>
                          </a:cubicBezTo>
                          <a:cubicBezTo>
                            <a:pt x="69377" y="72666"/>
                            <a:pt x="67881" y="73384"/>
                            <a:pt x="66386" y="73862"/>
                          </a:cubicBezTo>
                          <a:cubicBezTo>
                            <a:pt x="64891" y="74341"/>
                            <a:pt x="63396" y="74520"/>
                            <a:pt x="62020" y="74400"/>
                          </a:cubicBezTo>
                          <a:cubicBezTo>
                            <a:pt x="60645" y="74281"/>
                            <a:pt x="59389" y="73862"/>
                            <a:pt x="58312" y="73085"/>
                          </a:cubicBezTo>
                          <a:lnTo>
                            <a:pt x="57833" y="72726"/>
                          </a:lnTo>
                          <a:lnTo>
                            <a:pt x="51972" y="67762"/>
                          </a:lnTo>
                          <a:lnTo>
                            <a:pt x="51195" y="67104"/>
                          </a:lnTo>
                          <a:lnTo>
                            <a:pt x="47128" y="63635"/>
                          </a:lnTo>
                          <a:lnTo>
                            <a:pt x="46650" y="63216"/>
                          </a:lnTo>
                          <a:lnTo>
                            <a:pt x="2930" y="26196"/>
                          </a:lnTo>
                          <a:cubicBezTo>
                            <a:pt x="2811" y="26196"/>
                            <a:pt x="2691" y="26255"/>
                            <a:pt x="2632" y="26255"/>
                          </a:cubicBezTo>
                          <a:cubicBezTo>
                            <a:pt x="2512" y="26255"/>
                            <a:pt x="2392" y="26315"/>
                            <a:pt x="2333" y="26315"/>
                          </a:cubicBezTo>
                          <a:cubicBezTo>
                            <a:pt x="2273" y="26315"/>
                            <a:pt x="2093" y="26375"/>
                            <a:pt x="2034" y="26375"/>
                          </a:cubicBezTo>
                          <a:cubicBezTo>
                            <a:pt x="1914" y="26375"/>
                            <a:pt x="1794" y="26435"/>
                            <a:pt x="1735" y="26435"/>
                          </a:cubicBezTo>
                          <a:lnTo>
                            <a:pt x="46112" y="63994"/>
                          </a:lnTo>
                          <a:lnTo>
                            <a:pt x="46590" y="64412"/>
                          </a:lnTo>
                          <a:lnTo>
                            <a:pt x="51255" y="68360"/>
                          </a:lnTo>
                          <a:lnTo>
                            <a:pt x="52092" y="69078"/>
                          </a:lnTo>
                          <a:lnTo>
                            <a:pt x="57295" y="73503"/>
                          </a:lnTo>
                          <a:lnTo>
                            <a:pt x="57654" y="73862"/>
                          </a:lnTo>
                        </a:path>
                      </a:pathLst>
                    </a:custGeom>
                    <a:noFill/>
                    <a:ln w="6350" cap="flat">
                      <a:solidFill>
                        <a:schemeClr val="bg1">
                          <a:alpha val="80000"/>
                        </a:schemeClr>
                      </a:solidFill>
                      <a:prstDash val="solid"/>
                      <a:miter/>
                    </a:ln>
                  </p:spPr>
                  <p:txBody>
                    <a:bodyPr rtlCol="0" anchor="ctr"/>
                    <a:lstStyle/>
                    <a:p>
                      <a:endParaRPr lang="en-GB"/>
                    </a:p>
                  </p:txBody>
                </p:sp>
                <p:sp>
                  <p:nvSpPr>
                    <p:cNvPr id="7413" name="Vrije vorm: vorm 7412">
                      <a:extLst>
                        <a:ext uri="{FF2B5EF4-FFF2-40B4-BE49-F238E27FC236}">
                          <a16:creationId xmlns:a16="http://schemas.microsoft.com/office/drawing/2014/main" id="{0D3DFE6F-0F74-45FC-B3D9-F61DF10F5872}"/>
                        </a:ext>
                      </a:extLst>
                    </p:cNvPr>
                    <p:cNvSpPr/>
                    <p:nvPr/>
                  </p:nvSpPr>
                  <p:spPr>
                    <a:xfrm>
                      <a:off x="5310063" y="5409602"/>
                      <a:ext cx="64771" cy="58192"/>
                    </a:xfrm>
                    <a:custGeom>
                      <a:avLst/>
                      <a:gdLst>
                        <a:gd name="connsiteX0" fmla="*/ 12620 w 64771"/>
                        <a:gd name="connsiteY0" fmla="*/ 5503 h 58192"/>
                        <a:gd name="connsiteX1" fmla="*/ 12739 w 64771"/>
                        <a:gd name="connsiteY1" fmla="*/ 5263 h 58192"/>
                        <a:gd name="connsiteX2" fmla="*/ 12859 w 64771"/>
                        <a:gd name="connsiteY2" fmla="*/ 5024 h 58192"/>
                        <a:gd name="connsiteX3" fmla="*/ 12978 w 64771"/>
                        <a:gd name="connsiteY3" fmla="*/ 4785 h 58192"/>
                        <a:gd name="connsiteX4" fmla="*/ 13098 w 64771"/>
                        <a:gd name="connsiteY4" fmla="*/ 4545 h 58192"/>
                        <a:gd name="connsiteX5" fmla="*/ 11961 w 64771"/>
                        <a:gd name="connsiteY5" fmla="*/ 3529 h 58192"/>
                        <a:gd name="connsiteX6" fmla="*/ 11842 w 64771"/>
                        <a:gd name="connsiteY6" fmla="*/ 3768 h 58192"/>
                        <a:gd name="connsiteX7" fmla="*/ 11722 w 64771"/>
                        <a:gd name="connsiteY7" fmla="*/ 4007 h 58192"/>
                        <a:gd name="connsiteX8" fmla="*/ 11603 w 64771"/>
                        <a:gd name="connsiteY8" fmla="*/ 4246 h 58192"/>
                        <a:gd name="connsiteX9" fmla="*/ 11483 w 64771"/>
                        <a:gd name="connsiteY9" fmla="*/ 4486 h 58192"/>
                        <a:gd name="connsiteX10" fmla="*/ 12620 w 64771"/>
                        <a:gd name="connsiteY10" fmla="*/ 5503 h 58192"/>
                        <a:gd name="connsiteX11" fmla="*/ 59987 w 64771"/>
                        <a:gd name="connsiteY11" fmla="*/ 46470 h 58192"/>
                        <a:gd name="connsiteX12" fmla="*/ 60226 w 64771"/>
                        <a:gd name="connsiteY12" fmla="*/ 46351 h 58192"/>
                        <a:gd name="connsiteX13" fmla="*/ 60465 w 64771"/>
                        <a:gd name="connsiteY13" fmla="*/ 46231 h 58192"/>
                        <a:gd name="connsiteX14" fmla="*/ 60704 w 64771"/>
                        <a:gd name="connsiteY14" fmla="*/ 46111 h 58192"/>
                        <a:gd name="connsiteX15" fmla="*/ 60944 w 64771"/>
                        <a:gd name="connsiteY15" fmla="*/ 45992 h 58192"/>
                        <a:gd name="connsiteX16" fmla="*/ 55800 w 64771"/>
                        <a:gd name="connsiteY16" fmla="*/ 41506 h 58192"/>
                        <a:gd name="connsiteX17" fmla="*/ 55262 w 64771"/>
                        <a:gd name="connsiteY17" fmla="*/ 41088 h 58192"/>
                        <a:gd name="connsiteX18" fmla="*/ 54006 w 64771"/>
                        <a:gd name="connsiteY18" fmla="*/ 40011 h 58192"/>
                        <a:gd name="connsiteX19" fmla="*/ 53528 w 64771"/>
                        <a:gd name="connsiteY19" fmla="*/ 39592 h 58192"/>
                        <a:gd name="connsiteX20" fmla="*/ 13815 w 64771"/>
                        <a:gd name="connsiteY20" fmla="*/ 5203 h 58192"/>
                        <a:gd name="connsiteX21" fmla="*/ 13696 w 64771"/>
                        <a:gd name="connsiteY21" fmla="*/ 5443 h 58192"/>
                        <a:gd name="connsiteX22" fmla="*/ 13576 w 64771"/>
                        <a:gd name="connsiteY22" fmla="*/ 5682 h 58192"/>
                        <a:gd name="connsiteX23" fmla="*/ 13457 w 64771"/>
                        <a:gd name="connsiteY23" fmla="*/ 5921 h 58192"/>
                        <a:gd name="connsiteX24" fmla="*/ 13337 w 64771"/>
                        <a:gd name="connsiteY24" fmla="*/ 6160 h 58192"/>
                        <a:gd name="connsiteX25" fmla="*/ 52870 w 64771"/>
                        <a:gd name="connsiteY25" fmla="*/ 40370 h 58192"/>
                        <a:gd name="connsiteX26" fmla="*/ 53348 w 64771"/>
                        <a:gd name="connsiteY26" fmla="*/ 40789 h 58192"/>
                        <a:gd name="connsiteX27" fmla="*/ 54604 w 64771"/>
                        <a:gd name="connsiteY27" fmla="*/ 41865 h 58192"/>
                        <a:gd name="connsiteX28" fmla="*/ 55083 w 64771"/>
                        <a:gd name="connsiteY28" fmla="*/ 42284 h 58192"/>
                        <a:gd name="connsiteX29" fmla="*/ 59987 w 64771"/>
                        <a:gd name="connsiteY29" fmla="*/ 46470 h 58192"/>
                        <a:gd name="connsiteX30" fmla="*/ 61183 w 64771"/>
                        <a:gd name="connsiteY30" fmla="*/ 47487 h 58192"/>
                        <a:gd name="connsiteX31" fmla="*/ 61422 w 64771"/>
                        <a:gd name="connsiteY31" fmla="*/ 47368 h 58192"/>
                        <a:gd name="connsiteX32" fmla="*/ 61661 w 64771"/>
                        <a:gd name="connsiteY32" fmla="*/ 47248 h 58192"/>
                        <a:gd name="connsiteX33" fmla="*/ 61901 w 64771"/>
                        <a:gd name="connsiteY33" fmla="*/ 47128 h 58192"/>
                        <a:gd name="connsiteX34" fmla="*/ 62140 w 64771"/>
                        <a:gd name="connsiteY34" fmla="*/ 47008 h 58192"/>
                        <a:gd name="connsiteX35" fmla="*/ 61422 w 64771"/>
                        <a:gd name="connsiteY35" fmla="*/ 46410 h 58192"/>
                        <a:gd name="connsiteX36" fmla="*/ 61183 w 64771"/>
                        <a:gd name="connsiteY36" fmla="*/ 46530 h 58192"/>
                        <a:gd name="connsiteX37" fmla="*/ 60944 w 64771"/>
                        <a:gd name="connsiteY37" fmla="*/ 46650 h 58192"/>
                        <a:gd name="connsiteX38" fmla="*/ 60704 w 64771"/>
                        <a:gd name="connsiteY38" fmla="*/ 46769 h 58192"/>
                        <a:gd name="connsiteX39" fmla="*/ 60465 w 64771"/>
                        <a:gd name="connsiteY39" fmla="*/ 46889 h 58192"/>
                        <a:gd name="connsiteX40" fmla="*/ 61183 w 64771"/>
                        <a:gd name="connsiteY40" fmla="*/ 47487 h 58192"/>
                        <a:gd name="connsiteX41" fmla="*/ 1555 w 64771"/>
                        <a:gd name="connsiteY41" fmla="*/ 8732 h 58192"/>
                        <a:gd name="connsiteX42" fmla="*/ 4306 w 64771"/>
                        <a:gd name="connsiteY42" fmla="*/ 5562 h 58192"/>
                        <a:gd name="connsiteX43" fmla="*/ 4366 w 64771"/>
                        <a:gd name="connsiteY43" fmla="*/ 5024 h 58192"/>
                        <a:gd name="connsiteX44" fmla="*/ 4545 w 64771"/>
                        <a:gd name="connsiteY44" fmla="*/ 4486 h 58192"/>
                        <a:gd name="connsiteX45" fmla="*/ 4844 w 64771"/>
                        <a:gd name="connsiteY45" fmla="*/ 3947 h 58192"/>
                        <a:gd name="connsiteX46" fmla="*/ 5204 w 64771"/>
                        <a:gd name="connsiteY46" fmla="*/ 3409 h 58192"/>
                        <a:gd name="connsiteX47" fmla="*/ 5682 w 64771"/>
                        <a:gd name="connsiteY47" fmla="*/ 2930 h 58192"/>
                        <a:gd name="connsiteX48" fmla="*/ 6160 w 64771"/>
                        <a:gd name="connsiteY48" fmla="*/ 2572 h 58192"/>
                        <a:gd name="connsiteX49" fmla="*/ 6639 w 64771"/>
                        <a:gd name="connsiteY49" fmla="*/ 2333 h 58192"/>
                        <a:gd name="connsiteX50" fmla="*/ 7117 w 64771"/>
                        <a:gd name="connsiteY50" fmla="*/ 2153 h 58192"/>
                        <a:gd name="connsiteX51" fmla="*/ 7835 w 64771"/>
                        <a:gd name="connsiteY51" fmla="*/ 1316 h 58192"/>
                        <a:gd name="connsiteX52" fmla="*/ 10766 w 64771"/>
                        <a:gd name="connsiteY52" fmla="*/ 3888 h 58192"/>
                        <a:gd name="connsiteX53" fmla="*/ 10885 w 64771"/>
                        <a:gd name="connsiteY53" fmla="*/ 3648 h 58192"/>
                        <a:gd name="connsiteX54" fmla="*/ 11005 w 64771"/>
                        <a:gd name="connsiteY54" fmla="*/ 3409 h 58192"/>
                        <a:gd name="connsiteX55" fmla="*/ 11124 w 64771"/>
                        <a:gd name="connsiteY55" fmla="*/ 3170 h 58192"/>
                        <a:gd name="connsiteX56" fmla="*/ 11244 w 64771"/>
                        <a:gd name="connsiteY56" fmla="*/ 2930 h 58192"/>
                        <a:gd name="connsiteX57" fmla="*/ 8433 w 64771"/>
                        <a:gd name="connsiteY57" fmla="*/ 479 h 58192"/>
                        <a:gd name="connsiteX58" fmla="*/ 8194 w 64771"/>
                        <a:gd name="connsiteY58" fmla="*/ 239 h 58192"/>
                        <a:gd name="connsiteX59" fmla="*/ 7954 w 64771"/>
                        <a:gd name="connsiteY59" fmla="*/ 0 h 58192"/>
                        <a:gd name="connsiteX60" fmla="*/ 1196 w 64771"/>
                        <a:gd name="connsiteY60" fmla="*/ 7835 h 58192"/>
                        <a:gd name="connsiteX61" fmla="*/ 1316 w 64771"/>
                        <a:gd name="connsiteY61" fmla="*/ 8014 h 58192"/>
                        <a:gd name="connsiteX62" fmla="*/ 1376 w 64771"/>
                        <a:gd name="connsiteY62" fmla="*/ 8194 h 58192"/>
                        <a:gd name="connsiteX63" fmla="*/ 1436 w 64771"/>
                        <a:gd name="connsiteY63" fmla="*/ 8373 h 58192"/>
                        <a:gd name="connsiteX64" fmla="*/ 1555 w 64771"/>
                        <a:gd name="connsiteY64" fmla="*/ 8732 h 58192"/>
                        <a:gd name="connsiteX65" fmla="*/ 658 w 64771"/>
                        <a:gd name="connsiteY65" fmla="*/ 9868 h 58192"/>
                        <a:gd name="connsiteX66" fmla="*/ 658 w 64771"/>
                        <a:gd name="connsiteY66" fmla="*/ 9808 h 58192"/>
                        <a:gd name="connsiteX67" fmla="*/ 658 w 64771"/>
                        <a:gd name="connsiteY67" fmla="*/ 9749 h 58192"/>
                        <a:gd name="connsiteX68" fmla="*/ 658 w 64771"/>
                        <a:gd name="connsiteY68" fmla="*/ 9689 h 58192"/>
                        <a:gd name="connsiteX69" fmla="*/ 658 w 64771"/>
                        <a:gd name="connsiteY69" fmla="*/ 9629 h 58192"/>
                        <a:gd name="connsiteX70" fmla="*/ 658 w 64771"/>
                        <a:gd name="connsiteY70" fmla="*/ 9450 h 58192"/>
                        <a:gd name="connsiteX71" fmla="*/ 658 w 64771"/>
                        <a:gd name="connsiteY71" fmla="*/ 9270 h 58192"/>
                        <a:gd name="connsiteX72" fmla="*/ 598 w 64771"/>
                        <a:gd name="connsiteY72" fmla="*/ 9091 h 58192"/>
                        <a:gd name="connsiteX73" fmla="*/ 538 w 64771"/>
                        <a:gd name="connsiteY73" fmla="*/ 8911 h 58192"/>
                        <a:gd name="connsiteX74" fmla="*/ 180 w 64771"/>
                        <a:gd name="connsiteY74" fmla="*/ 9330 h 58192"/>
                        <a:gd name="connsiteX75" fmla="*/ 0 w 64771"/>
                        <a:gd name="connsiteY75" fmla="*/ 9510 h 58192"/>
                        <a:gd name="connsiteX76" fmla="*/ 658 w 64771"/>
                        <a:gd name="connsiteY76" fmla="*/ 9868 h 58192"/>
                        <a:gd name="connsiteX77" fmla="*/ 658 w 64771"/>
                        <a:gd name="connsiteY77" fmla="*/ 9868 h 58192"/>
                        <a:gd name="connsiteX78" fmla="*/ 2691 w 64771"/>
                        <a:gd name="connsiteY78" fmla="*/ 11603 h 58192"/>
                        <a:gd name="connsiteX79" fmla="*/ 2931 w 64771"/>
                        <a:gd name="connsiteY79" fmla="*/ 11483 h 58192"/>
                        <a:gd name="connsiteX80" fmla="*/ 3170 w 64771"/>
                        <a:gd name="connsiteY80" fmla="*/ 11364 h 58192"/>
                        <a:gd name="connsiteX81" fmla="*/ 3409 w 64771"/>
                        <a:gd name="connsiteY81" fmla="*/ 11244 h 58192"/>
                        <a:gd name="connsiteX82" fmla="*/ 3649 w 64771"/>
                        <a:gd name="connsiteY82" fmla="*/ 11124 h 58192"/>
                        <a:gd name="connsiteX83" fmla="*/ 1615 w 64771"/>
                        <a:gd name="connsiteY83" fmla="*/ 9390 h 58192"/>
                        <a:gd name="connsiteX84" fmla="*/ 1555 w 64771"/>
                        <a:gd name="connsiteY84" fmla="*/ 9629 h 58192"/>
                        <a:gd name="connsiteX85" fmla="*/ 1495 w 64771"/>
                        <a:gd name="connsiteY85" fmla="*/ 9868 h 58192"/>
                        <a:gd name="connsiteX86" fmla="*/ 1436 w 64771"/>
                        <a:gd name="connsiteY86" fmla="*/ 10107 h 58192"/>
                        <a:gd name="connsiteX87" fmla="*/ 1316 w 64771"/>
                        <a:gd name="connsiteY87" fmla="*/ 10347 h 58192"/>
                        <a:gd name="connsiteX88" fmla="*/ 2691 w 64771"/>
                        <a:gd name="connsiteY88" fmla="*/ 11603 h 58192"/>
                        <a:gd name="connsiteX89" fmla="*/ 4665 w 64771"/>
                        <a:gd name="connsiteY89" fmla="*/ 13337 h 58192"/>
                        <a:gd name="connsiteX90" fmla="*/ 4904 w 64771"/>
                        <a:gd name="connsiteY90" fmla="*/ 13218 h 58192"/>
                        <a:gd name="connsiteX91" fmla="*/ 5144 w 64771"/>
                        <a:gd name="connsiteY91" fmla="*/ 13098 h 58192"/>
                        <a:gd name="connsiteX92" fmla="*/ 5383 w 64771"/>
                        <a:gd name="connsiteY92" fmla="*/ 12978 h 58192"/>
                        <a:gd name="connsiteX93" fmla="*/ 5622 w 64771"/>
                        <a:gd name="connsiteY93" fmla="*/ 12859 h 58192"/>
                        <a:gd name="connsiteX94" fmla="*/ 4366 w 64771"/>
                        <a:gd name="connsiteY94" fmla="*/ 11782 h 58192"/>
                        <a:gd name="connsiteX95" fmla="*/ 4127 w 64771"/>
                        <a:gd name="connsiteY95" fmla="*/ 11902 h 58192"/>
                        <a:gd name="connsiteX96" fmla="*/ 3888 w 64771"/>
                        <a:gd name="connsiteY96" fmla="*/ 12021 h 58192"/>
                        <a:gd name="connsiteX97" fmla="*/ 3649 w 64771"/>
                        <a:gd name="connsiteY97" fmla="*/ 12141 h 58192"/>
                        <a:gd name="connsiteX98" fmla="*/ 3409 w 64771"/>
                        <a:gd name="connsiteY98" fmla="*/ 12260 h 58192"/>
                        <a:gd name="connsiteX99" fmla="*/ 4665 w 64771"/>
                        <a:gd name="connsiteY99" fmla="*/ 13337 h 58192"/>
                        <a:gd name="connsiteX100" fmla="*/ 58432 w 64771"/>
                        <a:gd name="connsiteY100" fmla="*/ 56757 h 58192"/>
                        <a:gd name="connsiteX101" fmla="*/ 64771 w 64771"/>
                        <a:gd name="connsiteY101" fmla="*/ 49341 h 58192"/>
                        <a:gd name="connsiteX102" fmla="*/ 62798 w 64771"/>
                        <a:gd name="connsiteY102" fmla="*/ 47667 h 58192"/>
                        <a:gd name="connsiteX103" fmla="*/ 62558 w 64771"/>
                        <a:gd name="connsiteY103" fmla="*/ 47726 h 58192"/>
                        <a:gd name="connsiteX104" fmla="*/ 62319 w 64771"/>
                        <a:gd name="connsiteY104" fmla="*/ 47786 h 58192"/>
                        <a:gd name="connsiteX105" fmla="*/ 62080 w 64771"/>
                        <a:gd name="connsiteY105" fmla="*/ 47906 h 58192"/>
                        <a:gd name="connsiteX106" fmla="*/ 61841 w 64771"/>
                        <a:gd name="connsiteY106" fmla="*/ 48025 h 58192"/>
                        <a:gd name="connsiteX107" fmla="*/ 63755 w 64771"/>
                        <a:gd name="connsiteY107" fmla="*/ 49700 h 58192"/>
                        <a:gd name="connsiteX108" fmla="*/ 58073 w 64771"/>
                        <a:gd name="connsiteY108" fmla="*/ 56339 h 58192"/>
                        <a:gd name="connsiteX109" fmla="*/ 58193 w 64771"/>
                        <a:gd name="connsiteY109" fmla="*/ 56458 h 58192"/>
                        <a:gd name="connsiteX110" fmla="*/ 58312 w 64771"/>
                        <a:gd name="connsiteY110" fmla="*/ 56578 h 58192"/>
                        <a:gd name="connsiteX111" fmla="*/ 58432 w 64771"/>
                        <a:gd name="connsiteY111" fmla="*/ 56697 h 58192"/>
                        <a:gd name="connsiteX112" fmla="*/ 58432 w 64771"/>
                        <a:gd name="connsiteY112" fmla="*/ 56757 h 58192"/>
                        <a:gd name="connsiteX113" fmla="*/ 54843 w 64771"/>
                        <a:gd name="connsiteY113" fmla="*/ 56219 h 58192"/>
                        <a:gd name="connsiteX114" fmla="*/ 54784 w 64771"/>
                        <a:gd name="connsiteY114" fmla="*/ 55920 h 58192"/>
                        <a:gd name="connsiteX115" fmla="*/ 54784 w 64771"/>
                        <a:gd name="connsiteY115" fmla="*/ 55621 h 58192"/>
                        <a:gd name="connsiteX116" fmla="*/ 54784 w 64771"/>
                        <a:gd name="connsiteY116" fmla="*/ 55262 h 58192"/>
                        <a:gd name="connsiteX117" fmla="*/ 54784 w 64771"/>
                        <a:gd name="connsiteY117" fmla="*/ 54903 h 58192"/>
                        <a:gd name="connsiteX118" fmla="*/ 48863 w 64771"/>
                        <a:gd name="connsiteY118" fmla="*/ 49820 h 58192"/>
                        <a:gd name="connsiteX119" fmla="*/ 48324 w 64771"/>
                        <a:gd name="connsiteY119" fmla="*/ 49341 h 58192"/>
                        <a:gd name="connsiteX120" fmla="*/ 46769 w 64771"/>
                        <a:gd name="connsiteY120" fmla="*/ 48025 h 58192"/>
                        <a:gd name="connsiteX121" fmla="*/ 46291 w 64771"/>
                        <a:gd name="connsiteY121" fmla="*/ 47607 h 58192"/>
                        <a:gd name="connsiteX122" fmla="*/ 6100 w 64771"/>
                        <a:gd name="connsiteY122" fmla="*/ 13218 h 58192"/>
                        <a:gd name="connsiteX123" fmla="*/ 5921 w 64771"/>
                        <a:gd name="connsiteY123" fmla="*/ 13337 h 58192"/>
                        <a:gd name="connsiteX124" fmla="*/ 5742 w 64771"/>
                        <a:gd name="connsiteY124" fmla="*/ 13457 h 58192"/>
                        <a:gd name="connsiteX125" fmla="*/ 5503 w 64771"/>
                        <a:gd name="connsiteY125" fmla="*/ 13576 h 58192"/>
                        <a:gd name="connsiteX126" fmla="*/ 5263 w 64771"/>
                        <a:gd name="connsiteY126" fmla="*/ 13696 h 58192"/>
                        <a:gd name="connsiteX127" fmla="*/ 45693 w 64771"/>
                        <a:gd name="connsiteY127" fmla="*/ 48264 h 58192"/>
                        <a:gd name="connsiteX128" fmla="*/ 46171 w 64771"/>
                        <a:gd name="connsiteY128" fmla="*/ 48683 h 58192"/>
                        <a:gd name="connsiteX129" fmla="*/ 47846 w 64771"/>
                        <a:gd name="connsiteY129" fmla="*/ 50118 h 58192"/>
                        <a:gd name="connsiteX130" fmla="*/ 48384 w 64771"/>
                        <a:gd name="connsiteY130" fmla="*/ 50597 h 58192"/>
                        <a:gd name="connsiteX131" fmla="*/ 54843 w 64771"/>
                        <a:gd name="connsiteY131" fmla="*/ 56219 h 58192"/>
                        <a:gd name="connsiteX132" fmla="*/ 56937 w 64771"/>
                        <a:gd name="connsiteY132" fmla="*/ 58013 h 58192"/>
                        <a:gd name="connsiteX133" fmla="*/ 57176 w 64771"/>
                        <a:gd name="connsiteY133" fmla="*/ 58193 h 58192"/>
                        <a:gd name="connsiteX134" fmla="*/ 57774 w 64771"/>
                        <a:gd name="connsiteY134" fmla="*/ 57475 h 58192"/>
                        <a:gd name="connsiteX135" fmla="*/ 57654 w 64771"/>
                        <a:gd name="connsiteY135" fmla="*/ 57355 h 58192"/>
                        <a:gd name="connsiteX136" fmla="*/ 57535 w 64771"/>
                        <a:gd name="connsiteY136" fmla="*/ 57236 h 58192"/>
                        <a:gd name="connsiteX137" fmla="*/ 57415 w 64771"/>
                        <a:gd name="connsiteY137" fmla="*/ 57116 h 58192"/>
                        <a:gd name="connsiteX138" fmla="*/ 57295 w 64771"/>
                        <a:gd name="connsiteY138" fmla="*/ 56996 h 58192"/>
                        <a:gd name="connsiteX139" fmla="*/ 57295 w 64771"/>
                        <a:gd name="connsiteY139" fmla="*/ 57056 h 58192"/>
                        <a:gd name="connsiteX140" fmla="*/ 55561 w 64771"/>
                        <a:gd name="connsiteY140" fmla="*/ 55561 h 58192"/>
                        <a:gd name="connsiteX141" fmla="*/ 55621 w 64771"/>
                        <a:gd name="connsiteY141" fmla="*/ 55920 h 58192"/>
                        <a:gd name="connsiteX142" fmla="*/ 55681 w 64771"/>
                        <a:gd name="connsiteY142" fmla="*/ 56279 h 58192"/>
                        <a:gd name="connsiteX143" fmla="*/ 55800 w 64771"/>
                        <a:gd name="connsiteY143" fmla="*/ 56638 h 58192"/>
                        <a:gd name="connsiteX144" fmla="*/ 55920 w 64771"/>
                        <a:gd name="connsiteY144" fmla="*/ 56996 h 58192"/>
                        <a:gd name="connsiteX145" fmla="*/ 55980 w 64771"/>
                        <a:gd name="connsiteY145" fmla="*/ 57056 h 58192"/>
                        <a:gd name="connsiteX146" fmla="*/ 56040 w 64771"/>
                        <a:gd name="connsiteY146" fmla="*/ 57116 h 58192"/>
                        <a:gd name="connsiteX147" fmla="*/ 56099 w 64771"/>
                        <a:gd name="connsiteY147" fmla="*/ 57176 h 58192"/>
                        <a:gd name="connsiteX148" fmla="*/ 56159 w 64771"/>
                        <a:gd name="connsiteY148" fmla="*/ 57236 h 58192"/>
                        <a:gd name="connsiteX149" fmla="*/ 56937 w 64771"/>
                        <a:gd name="connsiteY149" fmla="*/ 58013 h 5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771" h="58192">
                          <a:moveTo>
                            <a:pt x="12620" y="5503"/>
                          </a:moveTo>
                          <a:cubicBezTo>
                            <a:pt x="12679" y="5443"/>
                            <a:pt x="12739" y="5383"/>
                            <a:pt x="12739" y="5263"/>
                          </a:cubicBezTo>
                          <a:cubicBezTo>
                            <a:pt x="12799" y="5203"/>
                            <a:pt x="12859" y="5143"/>
                            <a:pt x="12859" y="5024"/>
                          </a:cubicBezTo>
                          <a:cubicBezTo>
                            <a:pt x="12919" y="4964"/>
                            <a:pt x="12978" y="4904"/>
                            <a:pt x="12978" y="4785"/>
                          </a:cubicBezTo>
                          <a:cubicBezTo>
                            <a:pt x="13038" y="4725"/>
                            <a:pt x="13098" y="4665"/>
                            <a:pt x="13098" y="4545"/>
                          </a:cubicBezTo>
                          <a:lnTo>
                            <a:pt x="11961" y="3529"/>
                          </a:lnTo>
                          <a:cubicBezTo>
                            <a:pt x="11902" y="3589"/>
                            <a:pt x="11902" y="3648"/>
                            <a:pt x="11842" y="3768"/>
                          </a:cubicBezTo>
                          <a:cubicBezTo>
                            <a:pt x="11782" y="3828"/>
                            <a:pt x="11782" y="3888"/>
                            <a:pt x="11722" y="4007"/>
                          </a:cubicBezTo>
                          <a:cubicBezTo>
                            <a:pt x="11662" y="4067"/>
                            <a:pt x="11603" y="4127"/>
                            <a:pt x="11603" y="4246"/>
                          </a:cubicBezTo>
                          <a:cubicBezTo>
                            <a:pt x="11543" y="4306"/>
                            <a:pt x="11483" y="4366"/>
                            <a:pt x="11483" y="4486"/>
                          </a:cubicBezTo>
                          <a:lnTo>
                            <a:pt x="12620" y="5503"/>
                          </a:lnTo>
                          <a:moveTo>
                            <a:pt x="59987" y="46470"/>
                          </a:moveTo>
                          <a:cubicBezTo>
                            <a:pt x="60047" y="46410"/>
                            <a:pt x="60107" y="46351"/>
                            <a:pt x="60226" y="46351"/>
                          </a:cubicBezTo>
                          <a:cubicBezTo>
                            <a:pt x="60286" y="46291"/>
                            <a:pt x="60346" y="46231"/>
                            <a:pt x="60465" y="46231"/>
                          </a:cubicBezTo>
                          <a:cubicBezTo>
                            <a:pt x="60525" y="46171"/>
                            <a:pt x="60585" y="46171"/>
                            <a:pt x="60704" y="46111"/>
                          </a:cubicBezTo>
                          <a:cubicBezTo>
                            <a:pt x="60764" y="46052"/>
                            <a:pt x="60824" y="46052"/>
                            <a:pt x="60944" y="45992"/>
                          </a:cubicBezTo>
                          <a:lnTo>
                            <a:pt x="55800" y="41506"/>
                          </a:lnTo>
                          <a:lnTo>
                            <a:pt x="55262" y="41088"/>
                          </a:lnTo>
                          <a:lnTo>
                            <a:pt x="54006" y="40011"/>
                          </a:lnTo>
                          <a:lnTo>
                            <a:pt x="53528" y="39592"/>
                          </a:lnTo>
                          <a:lnTo>
                            <a:pt x="13815" y="5203"/>
                          </a:lnTo>
                          <a:cubicBezTo>
                            <a:pt x="13756" y="5263"/>
                            <a:pt x="13696" y="5323"/>
                            <a:pt x="13696" y="5443"/>
                          </a:cubicBezTo>
                          <a:cubicBezTo>
                            <a:pt x="13696" y="5562"/>
                            <a:pt x="13576" y="5562"/>
                            <a:pt x="13576" y="5682"/>
                          </a:cubicBezTo>
                          <a:cubicBezTo>
                            <a:pt x="13516" y="5742"/>
                            <a:pt x="13457" y="5801"/>
                            <a:pt x="13457" y="5921"/>
                          </a:cubicBezTo>
                          <a:cubicBezTo>
                            <a:pt x="13397" y="5981"/>
                            <a:pt x="13337" y="6041"/>
                            <a:pt x="13337" y="6160"/>
                          </a:cubicBezTo>
                          <a:lnTo>
                            <a:pt x="52870" y="40370"/>
                          </a:lnTo>
                          <a:lnTo>
                            <a:pt x="53348" y="40789"/>
                          </a:lnTo>
                          <a:lnTo>
                            <a:pt x="54604" y="41865"/>
                          </a:lnTo>
                          <a:lnTo>
                            <a:pt x="55083" y="42284"/>
                          </a:lnTo>
                          <a:lnTo>
                            <a:pt x="59987" y="46470"/>
                          </a:lnTo>
                          <a:moveTo>
                            <a:pt x="61183" y="47487"/>
                          </a:moveTo>
                          <a:cubicBezTo>
                            <a:pt x="61243" y="47427"/>
                            <a:pt x="61362" y="47427"/>
                            <a:pt x="61422" y="47368"/>
                          </a:cubicBezTo>
                          <a:cubicBezTo>
                            <a:pt x="61482" y="47308"/>
                            <a:pt x="61602" y="47308"/>
                            <a:pt x="61661" y="47248"/>
                          </a:cubicBezTo>
                          <a:cubicBezTo>
                            <a:pt x="61721" y="47188"/>
                            <a:pt x="61841" y="47188"/>
                            <a:pt x="61901" y="47128"/>
                          </a:cubicBezTo>
                          <a:cubicBezTo>
                            <a:pt x="61961" y="47068"/>
                            <a:pt x="62080" y="47068"/>
                            <a:pt x="62140" y="47008"/>
                          </a:cubicBezTo>
                          <a:lnTo>
                            <a:pt x="61422" y="46410"/>
                          </a:lnTo>
                          <a:cubicBezTo>
                            <a:pt x="61362" y="46470"/>
                            <a:pt x="61302" y="46470"/>
                            <a:pt x="61183" y="46530"/>
                          </a:cubicBezTo>
                          <a:cubicBezTo>
                            <a:pt x="61123" y="46590"/>
                            <a:pt x="61063" y="46590"/>
                            <a:pt x="60944" y="46650"/>
                          </a:cubicBezTo>
                          <a:cubicBezTo>
                            <a:pt x="60824" y="46709"/>
                            <a:pt x="60824" y="46709"/>
                            <a:pt x="60704" y="46769"/>
                          </a:cubicBezTo>
                          <a:cubicBezTo>
                            <a:pt x="60645" y="46829"/>
                            <a:pt x="60585" y="46829"/>
                            <a:pt x="60465" y="46889"/>
                          </a:cubicBezTo>
                          <a:lnTo>
                            <a:pt x="61183" y="47487"/>
                          </a:lnTo>
                          <a:moveTo>
                            <a:pt x="1555" y="8732"/>
                          </a:moveTo>
                          <a:lnTo>
                            <a:pt x="4306" y="5562"/>
                          </a:lnTo>
                          <a:cubicBezTo>
                            <a:pt x="4306" y="5383"/>
                            <a:pt x="4366" y="5203"/>
                            <a:pt x="4366" y="5024"/>
                          </a:cubicBezTo>
                          <a:cubicBezTo>
                            <a:pt x="4426" y="4844"/>
                            <a:pt x="4486" y="4665"/>
                            <a:pt x="4545" y="4486"/>
                          </a:cubicBezTo>
                          <a:cubicBezTo>
                            <a:pt x="4605" y="4306"/>
                            <a:pt x="4725" y="4127"/>
                            <a:pt x="4844" y="3947"/>
                          </a:cubicBezTo>
                          <a:cubicBezTo>
                            <a:pt x="4964" y="3768"/>
                            <a:pt x="5084" y="3589"/>
                            <a:pt x="5204" y="3409"/>
                          </a:cubicBezTo>
                          <a:cubicBezTo>
                            <a:pt x="5323" y="3230"/>
                            <a:pt x="5503" y="3110"/>
                            <a:pt x="5682" y="2930"/>
                          </a:cubicBezTo>
                          <a:cubicBezTo>
                            <a:pt x="5861" y="2751"/>
                            <a:pt x="5981" y="2691"/>
                            <a:pt x="6160" y="2572"/>
                          </a:cubicBezTo>
                          <a:cubicBezTo>
                            <a:pt x="6340" y="2452"/>
                            <a:pt x="6519" y="2392"/>
                            <a:pt x="6639" y="2333"/>
                          </a:cubicBezTo>
                          <a:cubicBezTo>
                            <a:pt x="6818" y="2273"/>
                            <a:pt x="6998" y="2213"/>
                            <a:pt x="7117" y="2153"/>
                          </a:cubicBezTo>
                          <a:lnTo>
                            <a:pt x="7835" y="1316"/>
                          </a:lnTo>
                          <a:lnTo>
                            <a:pt x="10766" y="3888"/>
                          </a:lnTo>
                          <a:cubicBezTo>
                            <a:pt x="10825" y="3828"/>
                            <a:pt x="10885" y="3768"/>
                            <a:pt x="10885" y="3648"/>
                          </a:cubicBezTo>
                          <a:cubicBezTo>
                            <a:pt x="10885" y="3529"/>
                            <a:pt x="10945" y="3529"/>
                            <a:pt x="11005" y="3409"/>
                          </a:cubicBezTo>
                          <a:cubicBezTo>
                            <a:pt x="11065" y="3349"/>
                            <a:pt x="11065" y="3289"/>
                            <a:pt x="11124" y="3170"/>
                          </a:cubicBezTo>
                          <a:cubicBezTo>
                            <a:pt x="11184" y="3050"/>
                            <a:pt x="11184" y="3050"/>
                            <a:pt x="11244" y="2930"/>
                          </a:cubicBezTo>
                          <a:lnTo>
                            <a:pt x="8433" y="479"/>
                          </a:lnTo>
                          <a:lnTo>
                            <a:pt x="8194" y="239"/>
                          </a:lnTo>
                          <a:lnTo>
                            <a:pt x="7954" y="0"/>
                          </a:lnTo>
                          <a:lnTo>
                            <a:pt x="1196" y="7835"/>
                          </a:lnTo>
                          <a:cubicBezTo>
                            <a:pt x="1256" y="7895"/>
                            <a:pt x="1256" y="7954"/>
                            <a:pt x="1316" y="8014"/>
                          </a:cubicBezTo>
                          <a:cubicBezTo>
                            <a:pt x="1316" y="8074"/>
                            <a:pt x="1376" y="8134"/>
                            <a:pt x="1376" y="8194"/>
                          </a:cubicBezTo>
                          <a:cubicBezTo>
                            <a:pt x="1376" y="8253"/>
                            <a:pt x="1436" y="8313"/>
                            <a:pt x="1436" y="8373"/>
                          </a:cubicBezTo>
                          <a:cubicBezTo>
                            <a:pt x="1495" y="8612"/>
                            <a:pt x="1495" y="8672"/>
                            <a:pt x="1555" y="8732"/>
                          </a:cubicBezTo>
                          <a:moveTo>
                            <a:pt x="658" y="9868"/>
                          </a:moveTo>
                          <a:cubicBezTo>
                            <a:pt x="658" y="9868"/>
                            <a:pt x="658" y="9808"/>
                            <a:pt x="658" y="9808"/>
                          </a:cubicBezTo>
                          <a:cubicBezTo>
                            <a:pt x="658" y="9808"/>
                            <a:pt x="658" y="9749"/>
                            <a:pt x="658" y="9749"/>
                          </a:cubicBezTo>
                          <a:cubicBezTo>
                            <a:pt x="658" y="9749"/>
                            <a:pt x="658" y="9689"/>
                            <a:pt x="658" y="9689"/>
                          </a:cubicBezTo>
                          <a:cubicBezTo>
                            <a:pt x="658" y="9689"/>
                            <a:pt x="658" y="9629"/>
                            <a:pt x="658" y="9629"/>
                          </a:cubicBezTo>
                          <a:cubicBezTo>
                            <a:pt x="658" y="9569"/>
                            <a:pt x="658" y="9510"/>
                            <a:pt x="658" y="9450"/>
                          </a:cubicBezTo>
                          <a:cubicBezTo>
                            <a:pt x="658" y="9390"/>
                            <a:pt x="658" y="9330"/>
                            <a:pt x="658" y="9270"/>
                          </a:cubicBezTo>
                          <a:cubicBezTo>
                            <a:pt x="658" y="9211"/>
                            <a:pt x="658" y="9151"/>
                            <a:pt x="598" y="9091"/>
                          </a:cubicBezTo>
                          <a:cubicBezTo>
                            <a:pt x="598" y="9031"/>
                            <a:pt x="538" y="8971"/>
                            <a:pt x="538" y="8911"/>
                          </a:cubicBezTo>
                          <a:lnTo>
                            <a:pt x="180" y="9330"/>
                          </a:lnTo>
                          <a:lnTo>
                            <a:pt x="0" y="9510"/>
                          </a:lnTo>
                          <a:lnTo>
                            <a:pt x="658" y="9868"/>
                          </a:lnTo>
                          <a:lnTo>
                            <a:pt x="658" y="9868"/>
                          </a:lnTo>
                          <a:moveTo>
                            <a:pt x="2691" y="11603"/>
                          </a:moveTo>
                          <a:cubicBezTo>
                            <a:pt x="2751" y="11543"/>
                            <a:pt x="2871" y="11543"/>
                            <a:pt x="2931" y="11483"/>
                          </a:cubicBezTo>
                          <a:cubicBezTo>
                            <a:pt x="2990" y="11423"/>
                            <a:pt x="3110" y="11423"/>
                            <a:pt x="3170" y="11364"/>
                          </a:cubicBezTo>
                          <a:cubicBezTo>
                            <a:pt x="3230" y="11304"/>
                            <a:pt x="3349" y="11304"/>
                            <a:pt x="3409" y="11244"/>
                          </a:cubicBezTo>
                          <a:cubicBezTo>
                            <a:pt x="3469" y="11184"/>
                            <a:pt x="3589" y="11124"/>
                            <a:pt x="3649" y="11124"/>
                          </a:cubicBezTo>
                          <a:lnTo>
                            <a:pt x="1615" y="9390"/>
                          </a:lnTo>
                          <a:cubicBezTo>
                            <a:pt x="1615" y="9450"/>
                            <a:pt x="1615" y="9569"/>
                            <a:pt x="1555" y="9629"/>
                          </a:cubicBezTo>
                          <a:cubicBezTo>
                            <a:pt x="1555" y="9689"/>
                            <a:pt x="1495" y="9808"/>
                            <a:pt x="1495" y="9868"/>
                          </a:cubicBezTo>
                          <a:cubicBezTo>
                            <a:pt x="1495" y="9928"/>
                            <a:pt x="1436" y="10048"/>
                            <a:pt x="1436" y="10107"/>
                          </a:cubicBezTo>
                          <a:cubicBezTo>
                            <a:pt x="1436" y="10167"/>
                            <a:pt x="1376" y="10287"/>
                            <a:pt x="1316" y="10347"/>
                          </a:cubicBezTo>
                          <a:lnTo>
                            <a:pt x="2691" y="11603"/>
                          </a:lnTo>
                          <a:moveTo>
                            <a:pt x="4665" y="13337"/>
                          </a:moveTo>
                          <a:cubicBezTo>
                            <a:pt x="4725" y="13277"/>
                            <a:pt x="4785" y="13218"/>
                            <a:pt x="4904" y="13218"/>
                          </a:cubicBezTo>
                          <a:cubicBezTo>
                            <a:pt x="4964" y="13158"/>
                            <a:pt x="5024" y="13098"/>
                            <a:pt x="5144" y="13098"/>
                          </a:cubicBezTo>
                          <a:cubicBezTo>
                            <a:pt x="5204" y="13038"/>
                            <a:pt x="5263" y="12978"/>
                            <a:pt x="5383" y="12978"/>
                          </a:cubicBezTo>
                          <a:cubicBezTo>
                            <a:pt x="5443" y="12919"/>
                            <a:pt x="5503" y="12859"/>
                            <a:pt x="5622" y="12859"/>
                          </a:cubicBezTo>
                          <a:lnTo>
                            <a:pt x="4366" y="11782"/>
                          </a:lnTo>
                          <a:cubicBezTo>
                            <a:pt x="4306" y="11842"/>
                            <a:pt x="4246" y="11902"/>
                            <a:pt x="4127" y="11902"/>
                          </a:cubicBezTo>
                          <a:cubicBezTo>
                            <a:pt x="4067" y="11961"/>
                            <a:pt x="4007" y="12021"/>
                            <a:pt x="3888" y="12021"/>
                          </a:cubicBezTo>
                          <a:cubicBezTo>
                            <a:pt x="3828" y="12081"/>
                            <a:pt x="3768" y="12141"/>
                            <a:pt x="3649" y="12141"/>
                          </a:cubicBezTo>
                          <a:cubicBezTo>
                            <a:pt x="3589" y="12201"/>
                            <a:pt x="3529" y="12201"/>
                            <a:pt x="3409" y="12260"/>
                          </a:cubicBezTo>
                          <a:lnTo>
                            <a:pt x="4665" y="13337"/>
                          </a:lnTo>
                          <a:moveTo>
                            <a:pt x="58432" y="56757"/>
                          </a:moveTo>
                          <a:lnTo>
                            <a:pt x="64771" y="49341"/>
                          </a:lnTo>
                          <a:lnTo>
                            <a:pt x="62798" y="47667"/>
                          </a:lnTo>
                          <a:cubicBezTo>
                            <a:pt x="62738" y="47667"/>
                            <a:pt x="62618" y="47726"/>
                            <a:pt x="62558" y="47726"/>
                          </a:cubicBezTo>
                          <a:cubicBezTo>
                            <a:pt x="62499" y="47726"/>
                            <a:pt x="62379" y="47786"/>
                            <a:pt x="62319" y="47786"/>
                          </a:cubicBezTo>
                          <a:cubicBezTo>
                            <a:pt x="62260" y="47786"/>
                            <a:pt x="62140" y="47846"/>
                            <a:pt x="62080" y="47906"/>
                          </a:cubicBezTo>
                          <a:cubicBezTo>
                            <a:pt x="62020" y="47966"/>
                            <a:pt x="61901" y="47966"/>
                            <a:pt x="61841" y="48025"/>
                          </a:cubicBezTo>
                          <a:lnTo>
                            <a:pt x="63755" y="49700"/>
                          </a:lnTo>
                          <a:lnTo>
                            <a:pt x="58073" y="56339"/>
                          </a:lnTo>
                          <a:cubicBezTo>
                            <a:pt x="58133" y="56398"/>
                            <a:pt x="58133" y="56398"/>
                            <a:pt x="58193" y="56458"/>
                          </a:cubicBezTo>
                          <a:cubicBezTo>
                            <a:pt x="58253" y="56518"/>
                            <a:pt x="58253" y="56518"/>
                            <a:pt x="58312" y="56578"/>
                          </a:cubicBezTo>
                          <a:cubicBezTo>
                            <a:pt x="58372" y="56638"/>
                            <a:pt x="58372" y="56638"/>
                            <a:pt x="58432" y="56697"/>
                          </a:cubicBezTo>
                          <a:cubicBezTo>
                            <a:pt x="58492" y="56757"/>
                            <a:pt x="58372" y="56697"/>
                            <a:pt x="58432" y="56757"/>
                          </a:cubicBezTo>
                          <a:moveTo>
                            <a:pt x="54843" y="56219"/>
                          </a:moveTo>
                          <a:cubicBezTo>
                            <a:pt x="54843" y="56099"/>
                            <a:pt x="54843" y="55979"/>
                            <a:pt x="54784" y="55920"/>
                          </a:cubicBezTo>
                          <a:cubicBezTo>
                            <a:pt x="54784" y="55800"/>
                            <a:pt x="54784" y="55681"/>
                            <a:pt x="54784" y="55621"/>
                          </a:cubicBezTo>
                          <a:cubicBezTo>
                            <a:pt x="54784" y="55561"/>
                            <a:pt x="54784" y="55382"/>
                            <a:pt x="54784" y="55262"/>
                          </a:cubicBezTo>
                          <a:cubicBezTo>
                            <a:pt x="54784" y="55142"/>
                            <a:pt x="54784" y="55023"/>
                            <a:pt x="54784" y="54903"/>
                          </a:cubicBezTo>
                          <a:lnTo>
                            <a:pt x="48863" y="49820"/>
                          </a:lnTo>
                          <a:lnTo>
                            <a:pt x="48324" y="49341"/>
                          </a:lnTo>
                          <a:lnTo>
                            <a:pt x="46769" y="48025"/>
                          </a:lnTo>
                          <a:lnTo>
                            <a:pt x="46291" y="47607"/>
                          </a:lnTo>
                          <a:lnTo>
                            <a:pt x="6100" y="13218"/>
                          </a:lnTo>
                          <a:cubicBezTo>
                            <a:pt x="6041" y="13277"/>
                            <a:pt x="5981" y="13337"/>
                            <a:pt x="5921" y="13337"/>
                          </a:cubicBezTo>
                          <a:cubicBezTo>
                            <a:pt x="5861" y="13397"/>
                            <a:pt x="5801" y="13457"/>
                            <a:pt x="5742" y="13457"/>
                          </a:cubicBezTo>
                          <a:cubicBezTo>
                            <a:pt x="5682" y="13516"/>
                            <a:pt x="5622" y="13576"/>
                            <a:pt x="5503" y="13576"/>
                          </a:cubicBezTo>
                          <a:cubicBezTo>
                            <a:pt x="5383" y="13576"/>
                            <a:pt x="5383" y="13696"/>
                            <a:pt x="5263" y="13696"/>
                          </a:cubicBezTo>
                          <a:lnTo>
                            <a:pt x="45693" y="48264"/>
                          </a:lnTo>
                          <a:lnTo>
                            <a:pt x="46171" y="48683"/>
                          </a:lnTo>
                          <a:lnTo>
                            <a:pt x="47846" y="50118"/>
                          </a:lnTo>
                          <a:lnTo>
                            <a:pt x="48384" y="50597"/>
                          </a:lnTo>
                          <a:lnTo>
                            <a:pt x="54843" y="56219"/>
                          </a:lnTo>
                          <a:moveTo>
                            <a:pt x="56937" y="58013"/>
                          </a:moveTo>
                          <a:lnTo>
                            <a:pt x="57176" y="58193"/>
                          </a:lnTo>
                          <a:lnTo>
                            <a:pt x="57774" y="57475"/>
                          </a:lnTo>
                          <a:cubicBezTo>
                            <a:pt x="57714" y="57415"/>
                            <a:pt x="57714" y="57415"/>
                            <a:pt x="57654" y="57355"/>
                          </a:cubicBezTo>
                          <a:cubicBezTo>
                            <a:pt x="57594" y="57295"/>
                            <a:pt x="57594" y="57295"/>
                            <a:pt x="57535" y="57236"/>
                          </a:cubicBezTo>
                          <a:cubicBezTo>
                            <a:pt x="57475" y="57176"/>
                            <a:pt x="57475" y="57176"/>
                            <a:pt x="57415" y="57116"/>
                          </a:cubicBezTo>
                          <a:cubicBezTo>
                            <a:pt x="57355" y="57056"/>
                            <a:pt x="57355" y="57056"/>
                            <a:pt x="57295" y="56996"/>
                          </a:cubicBezTo>
                          <a:lnTo>
                            <a:pt x="57295" y="57056"/>
                          </a:lnTo>
                          <a:lnTo>
                            <a:pt x="55561" y="55561"/>
                          </a:lnTo>
                          <a:cubicBezTo>
                            <a:pt x="55561" y="55681"/>
                            <a:pt x="55621" y="55800"/>
                            <a:pt x="55621" y="55920"/>
                          </a:cubicBezTo>
                          <a:cubicBezTo>
                            <a:pt x="55621" y="56039"/>
                            <a:pt x="55681" y="56159"/>
                            <a:pt x="55681" y="56279"/>
                          </a:cubicBezTo>
                          <a:cubicBezTo>
                            <a:pt x="55740" y="56398"/>
                            <a:pt x="55740" y="56518"/>
                            <a:pt x="55800" y="56638"/>
                          </a:cubicBezTo>
                          <a:cubicBezTo>
                            <a:pt x="55860" y="56757"/>
                            <a:pt x="55860" y="56877"/>
                            <a:pt x="55920" y="56996"/>
                          </a:cubicBezTo>
                          <a:cubicBezTo>
                            <a:pt x="55920" y="56996"/>
                            <a:pt x="55920" y="57056"/>
                            <a:pt x="55980" y="57056"/>
                          </a:cubicBezTo>
                          <a:cubicBezTo>
                            <a:pt x="55980" y="57056"/>
                            <a:pt x="55980" y="57116"/>
                            <a:pt x="56040" y="57116"/>
                          </a:cubicBezTo>
                          <a:cubicBezTo>
                            <a:pt x="56040" y="57116"/>
                            <a:pt x="56040" y="57176"/>
                            <a:pt x="56099" y="57176"/>
                          </a:cubicBezTo>
                          <a:cubicBezTo>
                            <a:pt x="56099" y="57176"/>
                            <a:pt x="56099" y="57236"/>
                            <a:pt x="56159" y="57236"/>
                          </a:cubicBezTo>
                          <a:lnTo>
                            <a:pt x="56937" y="58013"/>
                          </a:lnTo>
                        </a:path>
                      </a:pathLst>
                    </a:custGeom>
                    <a:noFill/>
                    <a:ln w="6350" cap="flat">
                      <a:solidFill>
                        <a:schemeClr val="bg1">
                          <a:alpha val="80000"/>
                        </a:schemeClr>
                      </a:solidFill>
                      <a:prstDash val="solid"/>
                      <a:miter/>
                    </a:ln>
                  </p:spPr>
                  <p:txBody>
                    <a:bodyPr rtlCol="0" anchor="ctr"/>
                    <a:lstStyle/>
                    <a:p>
                      <a:endParaRPr lang="en-GB"/>
                    </a:p>
                  </p:txBody>
                </p:sp>
                <p:sp>
                  <p:nvSpPr>
                    <p:cNvPr id="7414" name="Vrije vorm: vorm 7413">
                      <a:extLst>
                        <a:ext uri="{FF2B5EF4-FFF2-40B4-BE49-F238E27FC236}">
                          <a16:creationId xmlns:a16="http://schemas.microsoft.com/office/drawing/2014/main" id="{70F0CD66-8A27-487F-9AC4-7284214BFB0A}"/>
                        </a:ext>
                      </a:extLst>
                    </p:cNvPr>
                    <p:cNvSpPr/>
                    <p:nvPr/>
                  </p:nvSpPr>
                  <p:spPr>
                    <a:xfrm>
                      <a:off x="5364847" y="5454518"/>
                      <a:ext cx="14245" cy="15110"/>
                    </a:xfrm>
                    <a:custGeom>
                      <a:avLst/>
                      <a:gdLst>
                        <a:gd name="connsiteX0" fmla="*/ 11902 w 14245"/>
                        <a:gd name="connsiteY0" fmla="*/ 1495 h 15110"/>
                        <a:gd name="connsiteX1" fmla="*/ 12260 w 14245"/>
                        <a:gd name="connsiteY1" fmla="*/ 1794 h 15110"/>
                        <a:gd name="connsiteX2" fmla="*/ 12559 w 14245"/>
                        <a:gd name="connsiteY2" fmla="*/ 2153 h 15110"/>
                        <a:gd name="connsiteX3" fmla="*/ 12858 w 14245"/>
                        <a:gd name="connsiteY3" fmla="*/ 2572 h 15110"/>
                        <a:gd name="connsiteX4" fmla="*/ 13098 w 14245"/>
                        <a:gd name="connsiteY4" fmla="*/ 2990 h 15110"/>
                        <a:gd name="connsiteX5" fmla="*/ 13516 w 14245"/>
                        <a:gd name="connsiteY5" fmla="*/ 5263 h 15110"/>
                        <a:gd name="connsiteX6" fmla="*/ 12978 w 14245"/>
                        <a:gd name="connsiteY6" fmla="*/ 7835 h 15110"/>
                        <a:gd name="connsiteX7" fmla="*/ 11603 w 14245"/>
                        <a:gd name="connsiteY7" fmla="*/ 10347 h 15110"/>
                        <a:gd name="connsiteX8" fmla="*/ 9509 w 14245"/>
                        <a:gd name="connsiteY8" fmla="*/ 12500 h 15110"/>
                        <a:gd name="connsiteX9" fmla="*/ 7596 w 14245"/>
                        <a:gd name="connsiteY9" fmla="*/ 13636 h 15110"/>
                        <a:gd name="connsiteX10" fmla="*/ 5682 w 14245"/>
                        <a:gd name="connsiteY10" fmla="*/ 14174 h 15110"/>
                        <a:gd name="connsiteX11" fmla="*/ 3947 w 14245"/>
                        <a:gd name="connsiteY11" fmla="*/ 14114 h 15110"/>
                        <a:gd name="connsiteX12" fmla="*/ 2512 w 14245"/>
                        <a:gd name="connsiteY12" fmla="*/ 13516 h 15110"/>
                        <a:gd name="connsiteX13" fmla="*/ 2213 w 14245"/>
                        <a:gd name="connsiteY13" fmla="*/ 13277 h 15110"/>
                        <a:gd name="connsiteX14" fmla="*/ 1914 w 14245"/>
                        <a:gd name="connsiteY14" fmla="*/ 12978 h 15110"/>
                        <a:gd name="connsiteX15" fmla="*/ 1674 w 14245"/>
                        <a:gd name="connsiteY15" fmla="*/ 12679 h 15110"/>
                        <a:gd name="connsiteX16" fmla="*/ 1435 w 14245"/>
                        <a:gd name="connsiteY16" fmla="*/ 12320 h 15110"/>
                        <a:gd name="connsiteX17" fmla="*/ 1375 w 14245"/>
                        <a:gd name="connsiteY17" fmla="*/ 12260 h 15110"/>
                        <a:gd name="connsiteX18" fmla="*/ 1316 w 14245"/>
                        <a:gd name="connsiteY18" fmla="*/ 12201 h 15110"/>
                        <a:gd name="connsiteX19" fmla="*/ 1256 w 14245"/>
                        <a:gd name="connsiteY19" fmla="*/ 12141 h 15110"/>
                        <a:gd name="connsiteX20" fmla="*/ 1196 w 14245"/>
                        <a:gd name="connsiteY20" fmla="*/ 12081 h 15110"/>
                        <a:gd name="connsiteX21" fmla="*/ 1076 w 14245"/>
                        <a:gd name="connsiteY21" fmla="*/ 11722 h 15110"/>
                        <a:gd name="connsiteX22" fmla="*/ 957 w 14245"/>
                        <a:gd name="connsiteY22" fmla="*/ 11364 h 15110"/>
                        <a:gd name="connsiteX23" fmla="*/ 897 w 14245"/>
                        <a:gd name="connsiteY23" fmla="*/ 11005 h 15110"/>
                        <a:gd name="connsiteX24" fmla="*/ 837 w 14245"/>
                        <a:gd name="connsiteY24" fmla="*/ 10646 h 15110"/>
                        <a:gd name="connsiteX25" fmla="*/ 957 w 14245"/>
                        <a:gd name="connsiteY25" fmla="*/ 8552 h 15110"/>
                        <a:gd name="connsiteX26" fmla="*/ 1734 w 14245"/>
                        <a:gd name="connsiteY26" fmla="*/ 6399 h 15110"/>
                        <a:gd name="connsiteX27" fmla="*/ 3050 w 14245"/>
                        <a:gd name="connsiteY27" fmla="*/ 4306 h 15110"/>
                        <a:gd name="connsiteX28" fmla="*/ 4904 w 14245"/>
                        <a:gd name="connsiteY28" fmla="*/ 2512 h 15110"/>
                        <a:gd name="connsiteX29" fmla="*/ 5083 w 14245"/>
                        <a:gd name="connsiteY29" fmla="*/ 2392 h 15110"/>
                        <a:gd name="connsiteX30" fmla="*/ 5263 w 14245"/>
                        <a:gd name="connsiteY30" fmla="*/ 2273 h 15110"/>
                        <a:gd name="connsiteX31" fmla="*/ 5442 w 14245"/>
                        <a:gd name="connsiteY31" fmla="*/ 2153 h 15110"/>
                        <a:gd name="connsiteX32" fmla="*/ 5622 w 14245"/>
                        <a:gd name="connsiteY32" fmla="*/ 2034 h 15110"/>
                        <a:gd name="connsiteX33" fmla="*/ 5861 w 14245"/>
                        <a:gd name="connsiteY33" fmla="*/ 1914 h 15110"/>
                        <a:gd name="connsiteX34" fmla="*/ 6100 w 14245"/>
                        <a:gd name="connsiteY34" fmla="*/ 1794 h 15110"/>
                        <a:gd name="connsiteX35" fmla="*/ 6340 w 14245"/>
                        <a:gd name="connsiteY35" fmla="*/ 1675 h 15110"/>
                        <a:gd name="connsiteX36" fmla="*/ 6579 w 14245"/>
                        <a:gd name="connsiteY36" fmla="*/ 1555 h 15110"/>
                        <a:gd name="connsiteX37" fmla="*/ 8074 w 14245"/>
                        <a:gd name="connsiteY37" fmla="*/ 1017 h 15110"/>
                        <a:gd name="connsiteX38" fmla="*/ 9509 w 14245"/>
                        <a:gd name="connsiteY38" fmla="*/ 837 h 15110"/>
                        <a:gd name="connsiteX39" fmla="*/ 10825 w 14245"/>
                        <a:gd name="connsiteY39" fmla="*/ 1017 h 15110"/>
                        <a:gd name="connsiteX40" fmla="*/ 11902 w 14245"/>
                        <a:gd name="connsiteY40" fmla="*/ 1495 h 15110"/>
                        <a:gd name="connsiteX41" fmla="*/ 1794 w 14245"/>
                        <a:gd name="connsiteY41" fmla="*/ 14294 h 15110"/>
                        <a:gd name="connsiteX42" fmla="*/ 3409 w 14245"/>
                        <a:gd name="connsiteY42" fmla="*/ 15012 h 15110"/>
                        <a:gd name="connsiteX43" fmla="*/ 5382 w 14245"/>
                        <a:gd name="connsiteY43" fmla="*/ 15072 h 15110"/>
                        <a:gd name="connsiteX44" fmla="*/ 7476 w 14245"/>
                        <a:gd name="connsiteY44" fmla="*/ 14414 h 15110"/>
                        <a:gd name="connsiteX45" fmla="*/ 9629 w 14245"/>
                        <a:gd name="connsiteY45" fmla="*/ 13098 h 15110"/>
                        <a:gd name="connsiteX46" fmla="*/ 12021 w 14245"/>
                        <a:gd name="connsiteY46" fmla="*/ 10705 h 15110"/>
                        <a:gd name="connsiteX47" fmla="*/ 13576 w 14245"/>
                        <a:gd name="connsiteY47" fmla="*/ 7895 h 15110"/>
                        <a:gd name="connsiteX48" fmla="*/ 14234 w 14245"/>
                        <a:gd name="connsiteY48" fmla="*/ 5024 h 15110"/>
                        <a:gd name="connsiteX49" fmla="*/ 13815 w 14245"/>
                        <a:gd name="connsiteY49" fmla="*/ 2452 h 15110"/>
                        <a:gd name="connsiteX50" fmla="*/ 13576 w 14245"/>
                        <a:gd name="connsiteY50" fmla="*/ 1974 h 15110"/>
                        <a:gd name="connsiteX51" fmla="*/ 13277 w 14245"/>
                        <a:gd name="connsiteY51" fmla="*/ 1555 h 15110"/>
                        <a:gd name="connsiteX52" fmla="*/ 12918 w 14245"/>
                        <a:gd name="connsiteY52" fmla="*/ 1196 h 15110"/>
                        <a:gd name="connsiteX53" fmla="*/ 12500 w 14245"/>
                        <a:gd name="connsiteY53" fmla="*/ 837 h 15110"/>
                        <a:gd name="connsiteX54" fmla="*/ 11184 w 14245"/>
                        <a:gd name="connsiteY54" fmla="*/ 180 h 15110"/>
                        <a:gd name="connsiteX55" fmla="*/ 9629 w 14245"/>
                        <a:gd name="connsiteY55" fmla="*/ 0 h 15110"/>
                        <a:gd name="connsiteX56" fmla="*/ 7895 w 14245"/>
                        <a:gd name="connsiteY56" fmla="*/ 299 h 15110"/>
                        <a:gd name="connsiteX57" fmla="*/ 6100 w 14245"/>
                        <a:gd name="connsiteY57" fmla="*/ 1076 h 15110"/>
                        <a:gd name="connsiteX58" fmla="*/ 5861 w 14245"/>
                        <a:gd name="connsiteY58" fmla="*/ 1196 h 15110"/>
                        <a:gd name="connsiteX59" fmla="*/ 5622 w 14245"/>
                        <a:gd name="connsiteY59" fmla="*/ 1316 h 15110"/>
                        <a:gd name="connsiteX60" fmla="*/ 5382 w 14245"/>
                        <a:gd name="connsiteY60" fmla="*/ 1435 h 15110"/>
                        <a:gd name="connsiteX61" fmla="*/ 5143 w 14245"/>
                        <a:gd name="connsiteY61" fmla="*/ 1555 h 15110"/>
                        <a:gd name="connsiteX62" fmla="*/ 5024 w 14245"/>
                        <a:gd name="connsiteY62" fmla="*/ 1675 h 15110"/>
                        <a:gd name="connsiteX63" fmla="*/ 4904 w 14245"/>
                        <a:gd name="connsiteY63" fmla="*/ 1794 h 15110"/>
                        <a:gd name="connsiteX64" fmla="*/ 4785 w 14245"/>
                        <a:gd name="connsiteY64" fmla="*/ 1914 h 15110"/>
                        <a:gd name="connsiteX65" fmla="*/ 4665 w 14245"/>
                        <a:gd name="connsiteY65" fmla="*/ 2034 h 15110"/>
                        <a:gd name="connsiteX66" fmla="*/ 2811 w 14245"/>
                        <a:gd name="connsiteY66" fmla="*/ 3768 h 15110"/>
                        <a:gd name="connsiteX67" fmla="*/ 1375 w 14245"/>
                        <a:gd name="connsiteY67" fmla="*/ 5801 h 15110"/>
                        <a:gd name="connsiteX68" fmla="*/ 419 w 14245"/>
                        <a:gd name="connsiteY68" fmla="*/ 7954 h 15110"/>
                        <a:gd name="connsiteX69" fmla="*/ 0 w 14245"/>
                        <a:gd name="connsiteY69" fmla="*/ 10107 h 15110"/>
                        <a:gd name="connsiteX70" fmla="*/ 0 w 14245"/>
                        <a:gd name="connsiteY70" fmla="*/ 10466 h 15110"/>
                        <a:gd name="connsiteX71" fmla="*/ 0 w 14245"/>
                        <a:gd name="connsiteY71" fmla="*/ 10825 h 15110"/>
                        <a:gd name="connsiteX72" fmla="*/ 0 w 14245"/>
                        <a:gd name="connsiteY72" fmla="*/ 11124 h 15110"/>
                        <a:gd name="connsiteX73" fmla="*/ 60 w 14245"/>
                        <a:gd name="connsiteY73" fmla="*/ 11423 h 15110"/>
                        <a:gd name="connsiteX74" fmla="*/ 120 w 14245"/>
                        <a:gd name="connsiteY74" fmla="*/ 11782 h 15110"/>
                        <a:gd name="connsiteX75" fmla="*/ 179 w 14245"/>
                        <a:gd name="connsiteY75" fmla="*/ 12141 h 15110"/>
                        <a:gd name="connsiteX76" fmla="*/ 299 w 14245"/>
                        <a:gd name="connsiteY76" fmla="*/ 12500 h 15110"/>
                        <a:gd name="connsiteX77" fmla="*/ 419 w 14245"/>
                        <a:gd name="connsiteY77" fmla="*/ 12799 h 15110"/>
                        <a:gd name="connsiteX78" fmla="*/ 658 w 14245"/>
                        <a:gd name="connsiteY78" fmla="*/ 13277 h 15110"/>
                        <a:gd name="connsiteX79" fmla="*/ 957 w 14245"/>
                        <a:gd name="connsiteY79" fmla="*/ 13696 h 15110"/>
                        <a:gd name="connsiteX80" fmla="*/ 1316 w 14245"/>
                        <a:gd name="connsiteY80" fmla="*/ 14055 h 15110"/>
                        <a:gd name="connsiteX81" fmla="*/ 1794 w 14245"/>
                        <a:gd name="connsiteY81" fmla="*/ 14294 h 15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4245" h="15110">
                          <a:moveTo>
                            <a:pt x="11902" y="1495"/>
                          </a:moveTo>
                          <a:cubicBezTo>
                            <a:pt x="12021" y="1615"/>
                            <a:pt x="12141" y="1675"/>
                            <a:pt x="12260" y="1794"/>
                          </a:cubicBezTo>
                          <a:cubicBezTo>
                            <a:pt x="12380" y="1914"/>
                            <a:pt x="12500" y="2034"/>
                            <a:pt x="12559" y="2153"/>
                          </a:cubicBezTo>
                          <a:cubicBezTo>
                            <a:pt x="12679" y="2273"/>
                            <a:pt x="12739" y="2392"/>
                            <a:pt x="12858" y="2572"/>
                          </a:cubicBezTo>
                          <a:cubicBezTo>
                            <a:pt x="12978" y="2751"/>
                            <a:pt x="13038" y="2871"/>
                            <a:pt x="13098" y="2990"/>
                          </a:cubicBezTo>
                          <a:cubicBezTo>
                            <a:pt x="13397" y="3648"/>
                            <a:pt x="13516" y="4426"/>
                            <a:pt x="13516" y="5263"/>
                          </a:cubicBezTo>
                          <a:cubicBezTo>
                            <a:pt x="13457" y="6100"/>
                            <a:pt x="13277" y="6938"/>
                            <a:pt x="12978" y="7835"/>
                          </a:cubicBezTo>
                          <a:cubicBezTo>
                            <a:pt x="12679" y="8732"/>
                            <a:pt x="12141" y="9569"/>
                            <a:pt x="11603" y="10347"/>
                          </a:cubicBezTo>
                          <a:cubicBezTo>
                            <a:pt x="11004" y="11124"/>
                            <a:pt x="10287" y="11902"/>
                            <a:pt x="9509" y="12500"/>
                          </a:cubicBezTo>
                          <a:cubicBezTo>
                            <a:pt x="8851" y="12978"/>
                            <a:pt x="8253" y="13337"/>
                            <a:pt x="7596" y="13636"/>
                          </a:cubicBezTo>
                          <a:cubicBezTo>
                            <a:pt x="6937" y="13935"/>
                            <a:pt x="6340" y="14114"/>
                            <a:pt x="5682" y="14174"/>
                          </a:cubicBezTo>
                          <a:cubicBezTo>
                            <a:pt x="5083" y="14234"/>
                            <a:pt x="4486" y="14234"/>
                            <a:pt x="3947" y="14114"/>
                          </a:cubicBezTo>
                          <a:cubicBezTo>
                            <a:pt x="3409" y="13995"/>
                            <a:pt x="2930" y="13815"/>
                            <a:pt x="2512" y="13516"/>
                          </a:cubicBezTo>
                          <a:cubicBezTo>
                            <a:pt x="2392" y="13457"/>
                            <a:pt x="2333" y="13337"/>
                            <a:pt x="2213" y="13277"/>
                          </a:cubicBezTo>
                          <a:cubicBezTo>
                            <a:pt x="2093" y="13218"/>
                            <a:pt x="2033" y="13098"/>
                            <a:pt x="1914" y="12978"/>
                          </a:cubicBezTo>
                          <a:cubicBezTo>
                            <a:pt x="1854" y="12859"/>
                            <a:pt x="1734" y="12799"/>
                            <a:pt x="1674" y="12679"/>
                          </a:cubicBezTo>
                          <a:cubicBezTo>
                            <a:pt x="1615" y="12559"/>
                            <a:pt x="1555" y="12440"/>
                            <a:pt x="1435" y="12320"/>
                          </a:cubicBezTo>
                          <a:cubicBezTo>
                            <a:pt x="1435" y="12320"/>
                            <a:pt x="1435" y="12260"/>
                            <a:pt x="1375" y="12260"/>
                          </a:cubicBezTo>
                          <a:cubicBezTo>
                            <a:pt x="1375" y="12260"/>
                            <a:pt x="1375" y="12201"/>
                            <a:pt x="1316" y="12201"/>
                          </a:cubicBezTo>
                          <a:cubicBezTo>
                            <a:pt x="1316" y="12201"/>
                            <a:pt x="1316" y="12141"/>
                            <a:pt x="1256" y="12141"/>
                          </a:cubicBezTo>
                          <a:cubicBezTo>
                            <a:pt x="1256" y="12141"/>
                            <a:pt x="1256" y="12081"/>
                            <a:pt x="1196" y="12081"/>
                          </a:cubicBezTo>
                          <a:cubicBezTo>
                            <a:pt x="1136" y="11961"/>
                            <a:pt x="1076" y="11842"/>
                            <a:pt x="1076" y="11722"/>
                          </a:cubicBezTo>
                          <a:cubicBezTo>
                            <a:pt x="1076" y="11603"/>
                            <a:pt x="1017" y="11483"/>
                            <a:pt x="957" y="11364"/>
                          </a:cubicBezTo>
                          <a:cubicBezTo>
                            <a:pt x="897" y="11244"/>
                            <a:pt x="897" y="11124"/>
                            <a:pt x="897" y="11005"/>
                          </a:cubicBezTo>
                          <a:cubicBezTo>
                            <a:pt x="897" y="10885"/>
                            <a:pt x="837" y="10765"/>
                            <a:pt x="837" y="10646"/>
                          </a:cubicBezTo>
                          <a:cubicBezTo>
                            <a:pt x="778" y="9988"/>
                            <a:pt x="837" y="9270"/>
                            <a:pt x="957" y="8552"/>
                          </a:cubicBezTo>
                          <a:cubicBezTo>
                            <a:pt x="1136" y="7835"/>
                            <a:pt x="1375" y="7117"/>
                            <a:pt x="1734" y="6399"/>
                          </a:cubicBezTo>
                          <a:cubicBezTo>
                            <a:pt x="2093" y="5682"/>
                            <a:pt x="2572" y="4964"/>
                            <a:pt x="3050" y="4306"/>
                          </a:cubicBezTo>
                          <a:cubicBezTo>
                            <a:pt x="3528" y="3648"/>
                            <a:pt x="4187" y="3050"/>
                            <a:pt x="4904" y="2512"/>
                          </a:cubicBezTo>
                          <a:cubicBezTo>
                            <a:pt x="4964" y="2452"/>
                            <a:pt x="5024" y="2392"/>
                            <a:pt x="5083" y="2392"/>
                          </a:cubicBezTo>
                          <a:cubicBezTo>
                            <a:pt x="5143" y="2333"/>
                            <a:pt x="5203" y="2273"/>
                            <a:pt x="5263" y="2273"/>
                          </a:cubicBezTo>
                          <a:cubicBezTo>
                            <a:pt x="5323" y="2213"/>
                            <a:pt x="5382" y="2213"/>
                            <a:pt x="5442" y="2153"/>
                          </a:cubicBezTo>
                          <a:cubicBezTo>
                            <a:pt x="5502" y="2093"/>
                            <a:pt x="5562" y="2093"/>
                            <a:pt x="5622" y="2034"/>
                          </a:cubicBezTo>
                          <a:cubicBezTo>
                            <a:pt x="5682" y="1974"/>
                            <a:pt x="5742" y="1914"/>
                            <a:pt x="5861" y="1914"/>
                          </a:cubicBezTo>
                          <a:cubicBezTo>
                            <a:pt x="5921" y="1854"/>
                            <a:pt x="5981" y="1854"/>
                            <a:pt x="6100" y="1794"/>
                          </a:cubicBezTo>
                          <a:cubicBezTo>
                            <a:pt x="6220" y="1734"/>
                            <a:pt x="6220" y="1734"/>
                            <a:pt x="6340" y="1675"/>
                          </a:cubicBezTo>
                          <a:cubicBezTo>
                            <a:pt x="6399" y="1615"/>
                            <a:pt x="6459" y="1615"/>
                            <a:pt x="6579" y="1555"/>
                          </a:cubicBezTo>
                          <a:cubicBezTo>
                            <a:pt x="7057" y="1316"/>
                            <a:pt x="7596" y="1136"/>
                            <a:pt x="8074" y="1017"/>
                          </a:cubicBezTo>
                          <a:cubicBezTo>
                            <a:pt x="8552" y="897"/>
                            <a:pt x="9031" y="837"/>
                            <a:pt x="9509" y="837"/>
                          </a:cubicBezTo>
                          <a:cubicBezTo>
                            <a:pt x="9988" y="837"/>
                            <a:pt x="10406" y="897"/>
                            <a:pt x="10825" y="1017"/>
                          </a:cubicBezTo>
                          <a:cubicBezTo>
                            <a:pt x="11184" y="1076"/>
                            <a:pt x="11543" y="1256"/>
                            <a:pt x="11902" y="1495"/>
                          </a:cubicBezTo>
                          <a:moveTo>
                            <a:pt x="1794" y="14294"/>
                          </a:moveTo>
                          <a:cubicBezTo>
                            <a:pt x="2273" y="14653"/>
                            <a:pt x="2811" y="14892"/>
                            <a:pt x="3409" y="15012"/>
                          </a:cubicBezTo>
                          <a:cubicBezTo>
                            <a:pt x="4007" y="15131"/>
                            <a:pt x="4665" y="15131"/>
                            <a:pt x="5382" y="15072"/>
                          </a:cubicBezTo>
                          <a:cubicBezTo>
                            <a:pt x="6100" y="15012"/>
                            <a:pt x="6758" y="14773"/>
                            <a:pt x="7476" y="14414"/>
                          </a:cubicBezTo>
                          <a:cubicBezTo>
                            <a:pt x="8194" y="14055"/>
                            <a:pt x="8911" y="13636"/>
                            <a:pt x="9629" y="13098"/>
                          </a:cubicBezTo>
                          <a:cubicBezTo>
                            <a:pt x="10526" y="12380"/>
                            <a:pt x="11363" y="11603"/>
                            <a:pt x="12021" y="10705"/>
                          </a:cubicBezTo>
                          <a:cubicBezTo>
                            <a:pt x="12679" y="9808"/>
                            <a:pt x="13218" y="8851"/>
                            <a:pt x="13576" y="7895"/>
                          </a:cubicBezTo>
                          <a:cubicBezTo>
                            <a:pt x="13935" y="6938"/>
                            <a:pt x="14174" y="5981"/>
                            <a:pt x="14234" y="5024"/>
                          </a:cubicBezTo>
                          <a:cubicBezTo>
                            <a:pt x="14294" y="4127"/>
                            <a:pt x="14114" y="3229"/>
                            <a:pt x="13815" y="2452"/>
                          </a:cubicBezTo>
                          <a:cubicBezTo>
                            <a:pt x="13756" y="2273"/>
                            <a:pt x="13636" y="2093"/>
                            <a:pt x="13576" y="1974"/>
                          </a:cubicBezTo>
                          <a:cubicBezTo>
                            <a:pt x="13516" y="1854"/>
                            <a:pt x="13397" y="1675"/>
                            <a:pt x="13277" y="1555"/>
                          </a:cubicBezTo>
                          <a:cubicBezTo>
                            <a:pt x="13158" y="1435"/>
                            <a:pt x="13038" y="1316"/>
                            <a:pt x="12918" y="1196"/>
                          </a:cubicBezTo>
                          <a:cubicBezTo>
                            <a:pt x="12799" y="1076"/>
                            <a:pt x="12679" y="957"/>
                            <a:pt x="12500" y="837"/>
                          </a:cubicBezTo>
                          <a:cubicBezTo>
                            <a:pt x="12081" y="538"/>
                            <a:pt x="11662" y="359"/>
                            <a:pt x="11184" y="180"/>
                          </a:cubicBezTo>
                          <a:cubicBezTo>
                            <a:pt x="10705" y="60"/>
                            <a:pt x="10167" y="0"/>
                            <a:pt x="9629" y="0"/>
                          </a:cubicBezTo>
                          <a:cubicBezTo>
                            <a:pt x="9091" y="0"/>
                            <a:pt x="8493" y="120"/>
                            <a:pt x="7895" y="299"/>
                          </a:cubicBezTo>
                          <a:cubicBezTo>
                            <a:pt x="7296" y="479"/>
                            <a:pt x="6698" y="718"/>
                            <a:pt x="6100" y="1076"/>
                          </a:cubicBezTo>
                          <a:cubicBezTo>
                            <a:pt x="6041" y="1136"/>
                            <a:pt x="5981" y="1136"/>
                            <a:pt x="5861" y="1196"/>
                          </a:cubicBezTo>
                          <a:cubicBezTo>
                            <a:pt x="5801" y="1256"/>
                            <a:pt x="5742" y="1256"/>
                            <a:pt x="5622" y="1316"/>
                          </a:cubicBezTo>
                          <a:cubicBezTo>
                            <a:pt x="5562" y="1375"/>
                            <a:pt x="5502" y="1375"/>
                            <a:pt x="5382" y="1435"/>
                          </a:cubicBezTo>
                          <a:cubicBezTo>
                            <a:pt x="5323" y="1495"/>
                            <a:pt x="5263" y="1555"/>
                            <a:pt x="5143" y="1555"/>
                          </a:cubicBezTo>
                          <a:cubicBezTo>
                            <a:pt x="5083" y="1615"/>
                            <a:pt x="5024" y="1615"/>
                            <a:pt x="5024" y="1675"/>
                          </a:cubicBezTo>
                          <a:cubicBezTo>
                            <a:pt x="4964" y="1734"/>
                            <a:pt x="4904" y="1734"/>
                            <a:pt x="4904" y="1794"/>
                          </a:cubicBezTo>
                          <a:cubicBezTo>
                            <a:pt x="4844" y="1854"/>
                            <a:pt x="4785" y="1854"/>
                            <a:pt x="4785" y="1914"/>
                          </a:cubicBezTo>
                          <a:cubicBezTo>
                            <a:pt x="4785" y="1974"/>
                            <a:pt x="4665" y="1974"/>
                            <a:pt x="4665" y="2034"/>
                          </a:cubicBezTo>
                          <a:cubicBezTo>
                            <a:pt x="4007" y="2572"/>
                            <a:pt x="3349" y="3170"/>
                            <a:pt x="2811" y="3768"/>
                          </a:cubicBezTo>
                          <a:cubicBezTo>
                            <a:pt x="2273" y="4426"/>
                            <a:pt x="1794" y="5083"/>
                            <a:pt x="1375" y="5801"/>
                          </a:cubicBezTo>
                          <a:cubicBezTo>
                            <a:pt x="957" y="6519"/>
                            <a:pt x="658" y="7237"/>
                            <a:pt x="419" y="7954"/>
                          </a:cubicBezTo>
                          <a:cubicBezTo>
                            <a:pt x="179" y="8672"/>
                            <a:pt x="60" y="9390"/>
                            <a:pt x="0" y="10107"/>
                          </a:cubicBezTo>
                          <a:cubicBezTo>
                            <a:pt x="0" y="10227"/>
                            <a:pt x="0" y="10347"/>
                            <a:pt x="0" y="10466"/>
                          </a:cubicBezTo>
                          <a:cubicBezTo>
                            <a:pt x="0" y="10586"/>
                            <a:pt x="0" y="10705"/>
                            <a:pt x="0" y="10825"/>
                          </a:cubicBezTo>
                          <a:cubicBezTo>
                            <a:pt x="0" y="10945"/>
                            <a:pt x="0" y="11064"/>
                            <a:pt x="0" y="11124"/>
                          </a:cubicBezTo>
                          <a:cubicBezTo>
                            <a:pt x="0" y="11244"/>
                            <a:pt x="0" y="11364"/>
                            <a:pt x="60" y="11423"/>
                          </a:cubicBezTo>
                          <a:cubicBezTo>
                            <a:pt x="60" y="11543"/>
                            <a:pt x="120" y="11662"/>
                            <a:pt x="120" y="11782"/>
                          </a:cubicBezTo>
                          <a:cubicBezTo>
                            <a:pt x="120" y="11902"/>
                            <a:pt x="179" y="12021"/>
                            <a:pt x="179" y="12141"/>
                          </a:cubicBezTo>
                          <a:cubicBezTo>
                            <a:pt x="239" y="12260"/>
                            <a:pt x="239" y="12380"/>
                            <a:pt x="299" y="12500"/>
                          </a:cubicBezTo>
                          <a:cubicBezTo>
                            <a:pt x="359" y="12619"/>
                            <a:pt x="359" y="12739"/>
                            <a:pt x="419" y="12799"/>
                          </a:cubicBezTo>
                          <a:cubicBezTo>
                            <a:pt x="479" y="12978"/>
                            <a:pt x="598" y="13158"/>
                            <a:pt x="658" y="13277"/>
                          </a:cubicBezTo>
                          <a:cubicBezTo>
                            <a:pt x="778" y="13457"/>
                            <a:pt x="837" y="13576"/>
                            <a:pt x="957" y="13696"/>
                          </a:cubicBezTo>
                          <a:cubicBezTo>
                            <a:pt x="1076" y="13815"/>
                            <a:pt x="1196" y="13935"/>
                            <a:pt x="1316" y="14055"/>
                          </a:cubicBezTo>
                          <a:cubicBezTo>
                            <a:pt x="1495" y="14055"/>
                            <a:pt x="1674" y="14174"/>
                            <a:pt x="1794" y="14294"/>
                          </a:cubicBezTo>
                        </a:path>
                      </a:pathLst>
                    </a:custGeom>
                    <a:noFill/>
                    <a:ln w="6350" cap="flat">
                      <a:solidFill>
                        <a:schemeClr val="bg1">
                          <a:alpha val="80000"/>
                        </a:schemeClr>
                      </a:solidFill>
                      <a:prstDash val="solid"/>
                      <a:miter/>
                    </a:ln>
                  </p:spPr>
                  <p:txBody>
                    <a:bodyPr rtlCol="0" anchor="ctr"/>
                    <a:lstStyle/>
                    <a:p>
                      <a:endParaRPr lang="en-GB"/>
                    </a:p>
                  </p:txBody>
                </p:sp>
                <p:sp>
                  <p:nvSpPr>
                    <p:cNvPr id="7415" name="Vrije vorm: vorm 7414">
                      <a:extLst>
                        <a:ext uri="{FF2B5EF4-FFF2-40B4-BE49-F238E27FC236}">
                          <a16:creationId xmlns:a16="http://schemas.microsoft.com/office/drawing/2014/main" id="{2D0D38B4-3891-44F5-87A9-D034B2DD0B37}"/>
                        </a:ext>
                      </a:extLst>
                    </p:cNvPr>
                    <p:cNvSpPr/>
                    <p:nvPr/>
                  </p:nvSpPr>
                  <p:spPr>
                    <a:xfrm>
                      <a:off x="5366581" y="5456312"/>
                      <a:ext cx="10825" cy="11423"/>
                    </a:xfrm>
                    <a:custGeom>
                      <a:avLst/>
                      <a:gdLst>
                        <a:gd name="connsiteX0" fmla="*/ 8852 w 10825"/>
                        <a:gd name="connsiteY0" fmla="*/ 1376 h 11423"/>
                        <a:gd name="connsiteX1" fmla="*/ 9091 w 10825"/>
                        <a:gd name="connsiteY1" fmla="*/ 1615 h 11423"/>
                        <a:gd name="connsiteX2" fmla="*/ 9330 w 10825"/>
                        <a:gd name="connsiteY2" fmla="*/ 1854 h 11423"/>
                        <a:gd name="connsiteX3" fmla="*/ 9510 w 10825"/>
                        <a:gd name="connsiteY3" fmla="*/ 2153 h 11423"/>
                        <a:gd name="connsiteX4" fmla="*/ 9689 w 10825"/>
                        <a:gd name="connsiteY4" fmla="*/ 2452 h 11423"/>
                        <a:gd name="connsiteX5" fmla="*/ 9928 w 10825"/>
                        <a:gd name="connsiteY5" fmla="*/ 3230 h 11423"/>
                        <a:gd name="connsiteX6" fmla="*/ 9988 w 10825"/>
                        <a:gd name="connsiteY6" fmla="*/ 4067 h 11423"/>
                        <a:gd name="connsiteX7" fmla="*/ 9868 w 10825"/>
                        <a:gd name="connsiteY7" fmla="*/ 4964 h 11423"/>
                        <a:gd name="connsiteX8" fmla="*/ 9569 w 10825"/>
                        <a:gd name="connsiteY8" fmla="*/ 5921 h 11423"/>
                        <a:gd name="connsiteX9" fmla="*/ 9091 w 10825"/>
                        <a:gd name="connsiteY9" fmla="*/ 6878 h 11423"/>
                        <a:gd name="connsiteX10" fmla="*/ 8493 w 10825"/>
                        <a:gd name="connsiteY10" fmla="*/ 7775 h 11423"/>
                        <a:gd name="connsiteX11" fmla="*/ 7775 w 10825"/>
                        <a:gd name="connsiteY11" fmla="*/ 8612 h 11423"/>
                        <a:gd name="connsiteX12" fmla="*/ 6998 w 10825"/>
                        <a:gd name="connsiteY12" fmla="*/ 9330 h 11423"/>
                        <a:gd name="connsiteX13" fmla="*/ 6100 w 10825"/>
                        <a:gd name="connsiteY13" fmla="*/ 9928 h 11423"/>
                        <a:gd name="connsiteX14" fmla="*/ 5203 w 10825"/>
                        <a:gd name="connsiteY14" fmla="*/ 10347 h 11423"/>
                        <a:gd name="connsiteX15" fmla="*/ 4306 w 10825"/>
                        <a:gd name="connsiteY15" fmla="*/ 10586 h 11423"/>
                        <a:gd name="connsiteX16" fmla="*/ 3469 w 10825"/>
                        <a:gd name="connsiteY16" fmla="*/ 10646 h 11423"/>
                        <a:gd name="connsiteX17" fmla="*/ 3050 w 10825"/>
                        <a:gd name="connsiteY17" fmla="*/ 10586 h 11423"/>
                        <a:gd name="connsiteX18" fmla="*/ 2632 w 10825"/>
                        <a:gd name="connsiteY18" fmla="*/ 10466 h 11423"/>
                        <a:gd name="connsiteX19" fmla="*/ 2273 w 10825"/>
                        <a:gd name="connsiteY19" fmla="*/ 10287 h 11423"/>
                        <a:gd name="connsiteX20" fmla="*/ 1914 w 10825"/>
                        <a:gd name="connsiteY20" fmla="*/ 10107 h 11423"/>
                        <a:gd name="connsiteX21" fmla="*/ 1914 w 10825"/>
                        <a:gd name="connsiteY21" fmla="*/ 10107 h 11423"/>
                        <a:gd name="connsiteX22" fmla="*/ 1914 w 10825"/>
                        <a:gd name="connsiteY22" fmla="*/ 10107 h 11423"/>
                        <a:gd name="connsiteX23" fmla="*/ 1914 w 10825"/>
                        <a:gd name="connsiteY23" fmla="*/ 10107 h 11423"/>
                        <a:gd name="connsiteX24" fmla="*/ 1914 w 10825"/>
                        <a:gd name="connsiteY24" fmla="*/ 10107 h 11423"/>
                        <a:gd name="connsiteX25" fmla="*/ 1794 w 10825"/>
                        <a:gd name="connsiteY25" fmla="*/ 9988 h 11423"/>
                        <a:gd name="connsiteX26" fmla="*/ 1675 w 10825"/>
                        <a:gd name="connsiteY26" fmla="*/ 9868 h 11423"/>
                        <a:gd name="connsiteX27" fmla="*/ 1555 w 10825"/>
                        <a:gd name="connsiteY27" fmla="*/ 9749 h 11423"/>
                        <a:gd name="connsiteX28" fmla="*/ 1435 w 10825"/>
                        <a:gd name="connsiteY28" fmla="*/ 9629 h 11423"/>
                        <a:gd name="connsiteX29" fmla="*/ 1316 w 10825"/>
                        <a:gd name="connsiteY29" fmla="*/ 9510 h 11423"/>
                        <a:gd name="connsiteX30" fmla="*/ 1256 w 10825"/>
                        <a:gd name="connsiteY30" fmla="*/ 9390 h 11423"/>
                        <a:gd name="connsiteX31" fmla="*/ 1196 w 10825"/>
                        <a:gd name="connsiteY31" fmla="*/ 9270 h 11423"/>
                        <a:gd name="connsiteX32" fmla="*/ 1136 w 10825"/>
                        <a:gd name="connsiteY32" fmla="*/ 9091 h 11423"/>
                        <a:gd name="connsiteX33" fmla="*/ 897 w 10825"/>
                        <a:gd name="connsiteY33" fmla="*/ 8313 h 11423"/>
                        <a:gd name="connsiteX34" fmla="*/ 837 w 10825"/>
                        <a:gd name="connsiteY34" fmla="*/ 7476 h 11423"/>
                        <a:gd name="connsiteX35" fmla="*/ 957 w 10825"/>
                        <a:gd name="connsiteY35" fmla="*/ 6579 h 11423"/>
                        <a:gd name="connsiteX36" fmla="*/ 1256 w 10825"/>
                        <a:gd name="connsiteY36" fmla="*/ 5622 h 11423"/>
                        <a:gd name="connsiteX37" fmla="*/ 1735 w 10825"/>
                        <a:gd name="connsiteY37" fmla="*/ 4665 h 11423"/>
                        <a:gd name="connsiteX38" fmla="*/ 2333 w 10825"/>
                        <a:gd name="connsiteY38" fmla="*/ 3768 h 11423"/>
                        <a:gd name="connsiteX39" fmla="*/ 3050 w 10825"/>
                        <a:gd name="connsiteY39" fmla="*/ 2930 h 11423"/>
                        <a:gd name="connsiteX40" fmla="*/ 3888 w 10825"/>
                        <a:gd name="connsiteY40" fmla="*/ 2213 h 11423"/>
                        <a:gd name="connsiteX41" fmla="*/ 4246 w 10825"/>
                        <a:gd name="connsiteY41" fmla="*/ 1974 h 11423"/>
                        <a:gd name="connsiteX42" fmla="*/ 4605 w 10825"/>
                        <a:gd name="connsiteY42" fmla="*/ 1735 h 11423"/>
                        <a:gd name="connsiteX43" fmla="*/ 4964 w 10825"/>
                        <a:gd name="connsiteY43" fmla="*/ 1555 h 11423"/>
                        <a:gd name="connsiteX44" fmla="*/ 5323 w 10825"/>
                        <a:gd name="connsiteY44" fmla="*/ 1376 h 11423"/>
                        <a:gd name="connsiteX45" fmla="*/ 5562 w 10825"/>
                        <a:gd name="connsiteY45" fmla="*/ 1256 h 11423"/>
                        <a:gd name="connsiteX46" fmla="*/ 5801 w 10825"/>
                        <a:gd name="connsiteY46" fmla="*/ 1136 h 11423"/>
                        <a:gd name="connsiteX47" fmla="*/ 6041 w 10825"/>
                        <a:gd name="connsiteY47" fmla="*/ 1076 h 11423"/>
                        <a:gd name="connsiteX48" fmla="*/ 6280 w 10825"/>
                        <a:gd name="connsiteY48" fmla="*/ 1017 h 11423"/>
                        <a:gd name="connsiteX49" fmla="*/ 6579 w 10825"/>
                        <a:gd name="connsiteY49" fmla="*/ 957 h 11423"/>
                        <a:gd name="connsiteX50" fmla="*/ 6818 w 10825"/>
                        <a:gd name="connsiteY50" fmla="*/ 897 h 11423"/>
                        <a:gd name="connsiteX51" fmla="*/ 7057 w 10825"/>
                        <a:gd name="connsiteY51" fmla="*/ 897 h 11423"/>
                        <a:gd name="connsiteX52" fmla="*/ 7297 w 10825"/>
                        <a:gd name="connsiteY52" fmla="*/ 897 h 11423"/>
                        <a:gd name="connsiteX53" fmla="*/ 7715 w 10825"/>
                        <a:gd name="connsiteY53" fmla="*/ 957 h 11423"/>
                        <a:gd name="connsiteX54" fmla="*/ 8134 w 10825"/>
                        <a:gd name="connsiteY54" fmla="*/ 1076 h 11423"/>
                        <a:gd name="connsiteX55" fmla="*/ 8493 w 10825"/>
                        <a:gd name="connsiteY55" fmla="*/ 1256 h 11423"/>
                        <a:gd name="connsiteX56" fmla="*/ 8852 w 10825"/>
                        <a:gd name="connsiteY56" fmla="*/ 1376 h 11423"/>
                        <a:gd name="connsiteX57" fmla="*/ 1435 w 10825"/>
                        <a:gd name="connsiteY57" fmla="*/ 10825 h 11423"/>
                        <a:gd name="connsiteX58" fmla="*/ 1794 w 10825"/>
                        <a:gd name="connsiteY58" fmla="*/ 11065 h 11423"/>
                        <a:gd name="connsiteX59" fmla="*/ 2213 w 10825"/>
                        <a:gd name="connsiteY59" fmla="*/ 11244 h 11423"/>
                        <a:gd name="connsiteX60" fmla="*/ 2691 w 10825"/>
                        <a:gd name="connsiteY60" fmla="*/ 11364 h 11423"/>
                        <a:gd name="connsiteX61" fmla="*/ 3170 w 10825"/>
                        <a:gd name="connsiteY61" fmla="*/ 11423 h 11423"/>
                        <a:gd name="connsiteX62" fmla="*/ 4187 w 10825"/>
                        <a:gd name="connsiteY62" fmla="*/ 11364 h 11423"/>
                        <a:gd name="connsiteX63" fmla="*/ 5203 w 10825"/>
                        <a:gd name="connsiteY63" fmla="*/ 11065 h 11423"/>
                        <a:gd name="connsiteX64" fmla="*/ 6280 w 10825"/>
                        <a:gd name="connsiteY64" fmla="*/ 10586 h 11423"/>
                        <a:gd name="connsiteX65" fmla="*/ 7297 w 10825"/>
                        <a:gd name="connsiteY65" fmla="*/ 9928 h 11423"/>
                        <a:gd name="connsiteX66" fmla="*/ 8253 w 10825"/>
                        <a:gd name="connsiteY66" fmla="*/ 9091 h 11423"/>
                        <a:gd name="connsiteX67" fmla="*/ 9091 w 10825"/>
                        <a:gd name="connsiteY67" fmla="*/ 8134 h 11423"/>
                        <a:gd name="connsiteX68" fmla="*/ 9808 w 10825"/>
                        <a:gd name="connsiteY68" fmla="*/ 7117 h 11423"/>
                        <a:gd name="connsiteX69" fmla="*/ 10347 w 10825"/>
                        <a:gd name="connsiteY69" fmla="*/ 5981 h 11423"/>
                        <a:gd name="connsiteX70" fmla="*/ 10706 w 10825"/>
                        <a:gd name="connsiteY70" fmla="*/ 4844 h 11423"/>
                        <a:gd name="connsiteX71" fmla="*/ 10825 w 10825"/>
                        <a:gd name="connsiteY71" fmla="*/ 3768 h 11423"/>
                        <a:gd name="connsiteX72" fmla="*/ 10765 w 10825"/>
                        <a:gd name="connsiteY72" fmla="*/ 2751 h 11423"/>
                        <a:gd name="connsiteX73" fmla="*/ 10526 w 10825"/>
                        <a:gd name="connsiteY73" fmla="*/ 1854 h 11423"/>
                        <a:gd name="connsiteX74" fmla="*/ 10347 w 10825"/>
                        <a:gd name="connsiteY74" fmla="*/ 1495 h 11423"/>
                        <a:gd name="connsiteX75" fmla="*/ 10107 w 10825"/>
                        <a:gd name="connsiteY75" fmla="*/ 1136 h 11423"/>
                        <a:gd name="connsiteX76" fmla="*/ 9808 w 10825"/>
                        <a:gd name="connsiteY76" fmla="*/ 837 h 11423"/>
                        <a:gd name="connsiteX77" fmla="*/ 9510 w 10825"/>
                        <a:gd name="connsiteY77" fmla="*/ 598 h 11423"/>
                        <a:gd name="connsiteX78" fmla="*/ 9091 w 10825"/>
                        <a:gd name="connsiteY78" fmla="*/ 359 h 11423"/>
                        <a:gd name="connsiteX79" fmla="*/ 8672 w 10825"/>
                        <a:gd name="connsiteY79" fmla="*/ 180 h 11423"/>
                        <a:gd name="connsiteX80" fmla="*/ 8194 w 10825"/>
                        <a:gd name="connsiteY80" fmla="*/ 60 h 11423"/>
                        <a:gd name="connsiteX81" fmla="*/ 7715 w 10825"/>
                        <a:gd name="connsiteY81" fmla="*/ 0 h 11423"/>
                        <a:gd name="connsiteX82" fmla="*/ 7237 w 10825"/>
                        <a:gd name="connsiteY82" fmla="*/ 0 h 11423"/>
                        <a:gd name="connsiteX83" fmla="*/ 6698 w 10825"/>
                        <a:gd name="connsiteY83" fmla="*/ 60 h 11423"/>
                        <a:gd name="connsiteX84" fmla="*/ 6160 w 10825"/>
                        <a:gd name="connsiteY84" fmla="*/ 180 h 11423"/>
                        <a:gd name="connsiteX85" fmla="*/ 5622 w 10825"/>
                        <a:gd name="connsiteY85" fmla="*/ 359 h 11423"/>
                        <a:gd name="connsiteX86" fmla="*/ 5383 w 10825"/>
                        <a:gd name="connsiteY86" fmla="*/ 479 h 11423"/>
                        <a:gd name="connsiteX87" fmla="*/ 5143 w 10825"/>
                        <a:gd name="connsiteY87" fmla="*/ 598 h 11423"/>
                        <a:gd name="connsiteX88" fmla="*/ 4904 w 10825"/>
                        <a:gd name="connsiteY88" fmla="*/ 718 h 11423"/>
                        <a:gd name="connsiteX89" fmla="*/ 4665 w 10825"/>
                        <a:gd name="connsiteY89" fmla="*/ 837 h 11423"/>
                        <a:gd name="connsiteX90" fmla="*/ 4366 w 10825"/>
                        <a:gd name="connsiteY90" fmla="*/ 1017 h 11423"/>
                        <a:gd name="connsiteX91" fmla="*/ 4067 w 10825"/>
                        <a:gd name="connsiteY91" fmla="*/ 1196 h 11423"/>
                        <a:gd name="connsiteX92" fmla="*/ 3768 w 10825"/>
                        <a:gd name="connsiteY92" fmla="*/ 1376 h 11423"/>
                        <a:gd name="connsiteX93" fmla="*/ 3529 w 10825"/>
                        <a:gd name="connsiteY93" fmla="*/ 1555 h 11423"/>
                        <a:gd name="connsiteX94" fmla="*/ 2572 w 10825"/>
                        <a:gd name="connsiteY94" fmla="*/ 2392 h 11423"/>
                        <a:gd name="connsiteX95" fmla="*/ 1735 w 10825"/>
                        <a:gd name="connsiteY95" fmla="*/ 3349 h 11423"/>
                        <a:gd name="connsiteX96" fmla="*/ 1017 w 10825"/>
                        <a:gd name="connsiteY96" fmla="*/ 4426 h 11423"/>
                        <a:gd name="connsiteX97" fmla="*/ 479 w 10825"/>
                        <a:gd name="connsiteY97" fmla="*/ 5562 h 11423"/>
                        <a:gd name="connsiteX98" fmla="*/ 120 w 10825"/>
                        <a:gd name="connsiteY98" fmla="*/ 6698 h 11423"/>
                        <a:gd name="connsiteX99" fmla="*/ 0 w 10825"/>
                        <a:gd name="connsiteY99" fmla="*/ 7775 h 11423"/>
                        <a:gd name="connsiteX100" fmla="*/ 60 w 10825"/>
                        <a:gd name="connsiteY100" fmla="*/ 8792 h 11423"/>
                        <a:gd name="connsiteX101" fmla="*/ 359 w 10825"/>
                        <a:gd name="connsiteY101" fmla="*/ 9689 h 11423"/>
                        <a:gd name="connsiteX102" fmla="*/ 479 w 10825"/>
                        <a:gd name="connsiteY102" fmla="*/ 9868 h 11423"/>
                        <a:gd name="connsiteX103" fmla="*/ 598 w 10825"/>
                        <a:gd name="connsiteY103" fmla="*/ 10048 h 11423"/>
                        <a:gd name="connsiteX104" fmla="*/ 718 w 10825"/>
                        <a:gd name="connsiteY104" fmla="*/ 10227 h 11423"/>
                        <a:gd name="connsiteX105" fmla="*/ 837 w 10825"/>
                        <a:gd name="connsiteY105" fmla="*/ 10406 h 11423"/>
                        <a:gd name="connsiteX106" fmla="*/ 957 w 10825"/>
                        <a:gd name="connsiteY106" fmla="*/ 10526 h 11423"/>
                        <a:gd name="connsiteX107" fmla="*/ 1076 w 10825"/>
                        <a:gd name="connsiteY107" fmla="*/ 10646 h 11423"/>
                        <a:gd name="connsiteX108" fmla="*/ 1196 w 10825"/>
                        <a:gd name="connsiteY108" fmla="*/ 10765 h 11423"/>
                        <a:gd name="connsiteX109" fmla="*/ 1316 w 10825"/>
                        <a:gd name="connsiteY109" fmla="*/ 10885 h 11423"/>
                        <a:gd name="connsiteX110" fmla="*/ 1376 w 10825"/>
                        <a:gd name="connsiteY110" fmla="*/ 10885 h 11423"/>
                        <a:gd name="connsiteX111" fmla="*/ 1435 w 10825"/>
                        <a:gd name="connsiteY111" fmla="*/ 10885 h 11423"/>
                        <a:gd name="connsiteX112" fmla="*/ 1435 w 10825"/>
                        <a:gd name="connsiteY112" fmla="*/ 10825 h 11423"/>
                        <a:gd name="connsiteX113" fmla="*/ 1435 w 10825"/>
                        <a:gd name="connsiteY113" fmla="*/ 10825 h 1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825" h="11423">
                          <a:moveTo>
                            <a:pt x="8852" y="1376"/>
                          </a:moveTo>
                          <a:cubicBezTo>
                            <a:pt x="8971" y="1435"/>
                            <a:pt x="9031" y="1495"/>
                            <a:pt x="9091" y="1615"/>
                          </a:cubicBezTo>
                          <a:cubicBezTo>
                            <a:pt x="9151" y="1675"/>
                            <a:pt x="9270" y="1794"/>
                            <a:pt x="9330" y="1854"/>
                          </a:cubicBezTo>
                          <a:cubicBezTo>
                            <a:pt x="9390" y="1914"/>
                            <a:pt x="9450" y="2034"/>
                            <a:pt x="9510" y="2153"/>
                          </a:cubicBezTo>
                          <a:cubicBezTo>
                            <a:pt x="9569" y="2273"/>
                            <a:pt x="9629" y="2333"/>
                            <a:pt x="9689" y="2452"/>
                          </a:cubicBezTo>
                          <a:cubicBezTo>
                            <a:pt x="9808" y="2691"/>
                            <a:pt x="9868" y="2930"/>
                            <a:pt x="9928" y="3230"/>
                          </a:cubicBezTo>
                          <a:cubicBezTo>
                            <a:pt x="9988" y="3529"/>
                            <a:pt x="9988" y="3768"/>
                            <a:pt x="9988" y="4067"/>
                          </a:cubicBezTo>
                          <a:cubicBezTo>
                            <a:pt x="9988" y="4366"/>
                            <a:pt x="9928" y="4665"/>
                            <a:pt x="9868" y="4964"/>
                          </a:cubicBezTo>
                          <a:cubicBezTo>
                            <a:pt x="9808" y="5263"/>
                            <a:pt x="9689" y="5622"/>
                            <a:pt x="9569" y="5921"/>
                          </a:cubicBezTo>
                          <a:cubicBezTo>
                            <a:pt x="9450" y="6220"/>
                            <a:pt x="9270" y="6579"/>
                            <a:pt x="9091" y="6878"/>
                          </a:cubicBezTo>
                          <a:cubicBezTo>
                            <a:pt x="8911" y="7177"/>
                            <a:pt x="8732" y="7476"/>
                            <a:pt x="8493" y="7775"/>
                          </a:cubicBezTo>
                          <a:cubicBezTo>
                            <a:pt x="8253" y="8074"/>
                            <a:pt x="8014" y="8313"/>
                            <a:pt x="7775" y="8612"/>
                          </a:cubicBezTo>
                          <a:cubicBezTo>
                            <a:pt x="7536" y="8911"/>
                            <a:pt x="7237" y="9091"/>
                            <a:pt x="6998" y="9330"/>
                          </a:cubicBezTo>
                          <a:cubicBezTo>
                            <a:pt x="6698" y="9569"/>
                            <a:pt x="6399" y="9749"/>
                            <a:pt x="6100" y="9928"/>
                          </a:cubicBezTo>
                          <a:cubicBezTo>
                            <a:pt x="5801" y="10107"/>
                            <a:pt x="5503" y="10227"/>
                            <a:pt x="5203" y="10347"/>
                          </a:cubicBezTo>
                          <a:cubicBezTo>
                            <a:pt x="4904" y="10466"/>
                            <a:pt x="4605" y="10526"/>
                            <a:pt x="4306" y="10586"/>
                          </a:cubicBezTo>
                          <a:cubicBezTo>
                            <a:pt x="4007" y="10646"/>
                            <a:pt x="3708" y="10646"/>
                            <a:pt x="3469" y="10646"/>
                          </a:cubicBezTo>
                          <a:cubicBezTo>
                            <a:pt x="3349" y="10646"/>
                            <a:pt x="3170" y="10646"/>
                            <a:pt x="3050" y="10586"/>
                          </a:cubicBezTo>
                          <a:cubicBezTo>
                            <a:pt x="2930" y="10586"/>
                            <a:pt x="2751" y="10526"/>
                            <a:pt x="2632" y="10466"/>
                          </a:cubicBezTo>
                          <a:cubicBezTo>
                            <a:pt x="2512" y="10406"/>
                            <a:pt x="2392" y="10347"/>
                            <a:pt x="2273" y="10287"/>
                          </a:cubicBezTo>
                          <a:cubicBezTo>
                            <a:pt x="2153" y="10227"/>
                            <a:pt x="2034" y="10167"/>
                            <a:pt x="1914" y="10107"/>
                          </a:cubicBezTo>
                          <a:cubicBezTo>
                            <a:pt x="1914" y="10107"/>
                            <a:pt x="1914" y="10107"/>
                            <a:pt x="1914" y="10107"/>
                          </a:cubicBezTo>
                          <a:cubicBezTo>
                            <a:pt x="1914" y="10107"/>
                            <a:pt x="1914" y="10107"/>
                            <a:pt x="1914" y="10107"/>
                          </a:cubicBezTo>
                          <a:cubicBezTo>
                            <a:pt x="1914" y="10107"/>
                            <a:pt x="1914" y="10107"/>
                            <a:pt x="1914" y="10107"/>
                          </a:cubicBezTo>
                          <a:cubicBezTo>
                            <a:pt x="1914" y="10107"/>
                            <a:pt x="1914" y="10107"/>
                            <a:pt x="1914" y="10107"/>
                          </a:cubicBezTo>
                          <a:cubicBezTo>
                            <a:pt x="1854" y="10048"/>
                            <a:pt x="1854" y="10048"/>
                            <a:pt x="1794" y="9988"/>
                          </a:cubicBezTo>
                          <a:cubicBezTo>
                            <a:pt x="1735" y="9928"/>
                            <a:pt x="1735" y="9928"/>
                            <a:pt x="1675" y="9868"/>
                          </a:cubicBezTo>
                          <a:cubicBezTo>
                            <a:pt x="1615" y="9808"/>
                            <a:pt x="1615" y="9808"/>
                            <a:pt x="1555" y="9749"/>
                          </a:cubicBezTo>
                          <a:cubicBezTo>
                            <a:pt x="1495" y="9689"/>
                            <a:pt x="1495" y="9689"/>
                            <a:pt x="1435" y="9629"/>
                          </a:cubicBezTo>
                          <a:cubicBezTo>
                            <a:pt x="1376" y="9569"/>
                            <a:pt x="1376" y="9569"/>
                            <a:pt x="1316" y="9510"/>
                          </a:cubicBezTo>
                          <a:cubicBezTo>
                            <a:pt x="1256" y="9450"/>
                            <a:pt x="1256" y="9390"/>
                            <a:pt x="1256" y="9390"/>
                          </a:cubicBezTo>
                          <a:cubicBezTo>
                            <a:pt x="1256" y="9330"/>
                            <a:pt x="1196" y="9270"/>
                            <a:pt x="1196" y="9270"/>
                          </a:cubicBezTo>
                          <a:cubicBezTo>
                            <a:pt x="1196" y="9211"/>
                            <a:pt x="1136" y="9151"/>
                            <a:pt x="1136" y="9091"/>
                          </a:cubicBezTo>
                          <a:cubicBezTo>
                            <a:pt x="1017" y="8852"/>
                            <a:pt x="957" y="8612"/>
                            <a:pt x="897" y="8313"/>
                          </a:cubicBezTo>
                          <a:cubicBezTo>
                            <a:pt x="837" y="8014"/>
                            <a:pt x="837" y="7775"/>
                            <a:pt x="837" y="7476"/>
                          </a:cubicBezTo>
                          <a:cubicBezTo>
                            <a:pt x="837" y="7177"/>
                            <a:pt x="897" y="6878"/>
                            <a:pt x="957" y="6579"/>
                          </a:cubicBezTo>
                          <a:cubicBezTo>
                            <a:pt x="1017" y="6280"/>
                            <a:pt x="1136" y="5921"/>
                            <a:pt x="1256" y="5622"/>
                          </a:cubicBezTo>
                          <a:cubicBezTo>
                            <a:pt x="1376" y="5323"/>
                            <a:pt x="1555" y="4964"/>
                            <a:pt x="1735" y="4665"/>
                          </a:cubicBezTo>
                          <a:cubicBezTo>
                            <a:pt x="1914" y="4366"/>
                            <a:pt x="2093" y="4067"/>
                            <a:pt x="2333" y="3768"/>
                          </a:cubicBezTo>
                          <a:cubicBezTo>
                            <a:pt x="2572" y="3469"/>
                            <a:pt x="2811" y="3230"/>
                            <a:pt x="3050" y="2930"/>
                          </a:cubicBezTo>
                          <a:cubicBezTo>
                            <a:pt x="3289" y="2632"/>
                            <a:pt x="3589" y="2452"/>
                            <a:pt x="3888" y="2213"/>
                          </a:cubicBezTo>
                          <a:cubicBezTo>
                            <a:pt x="4007" y="2153"/>
                            <a:pt x="4127" y="2034"/>
                            <a:pt x="4246" y="1974"/>
                          </a:cubicBezTo>
                          <a:cubicBezTo>
                            <a:pt x="4366" y="1914"/>
                            <a:pt x="4486" y="1794"/>
                            <a:pt x="4605" y="1735"/>
                          </a:cubicBezTo>
                          <a:cubicBezTo>
                            <a:pt x="4725" y="1675"/>
                            <a:pt x="4844" y="1615"/>
                            <a:pt x="4964" y="1555"/>
                          </a:cubicBezTo>
                          <a:cubicBezTo>
                            <a:pt x="5084" y="1495"/>
                            <a:pt x="5203" y="1435"/>
                            <a:pt x="5323" y="1376"/>
                          </a:cubicBezTo>
                          <a:cubicBezTo>
                            <a:pt x="5383" y="1316"/>
                            <a:pt x="5503" y="1316"/>
                            <a:pt x="5562" y="1256"/>
                          </a:cubicBezTo>
                          <a:cubicBezTo>
                            <a:pt x="5622" y="1196"/>
                            <a:pt x="5742" y="1196"/>
                            <a:pt x="5801" y="1136"/>
                          </a:cubicBezTo>
                          <a:cubicBezTo>
                            <a:pt x="5861" y="1076"/>
                            <a:pt x="5981" y="1076"/>
                            <a:pt x="6041" y="1076"/>
                          </a:cubicBezTo>
                          <a:cubicBezTo>
                            <a:pt x="6100" y="1076"/>
                            <a:pt x="6220" y="1017"/>
                            <a:pt x="6280" y="1017"/>
                          </a:cubicBezTo>
                          <a:cubicBezTo>
                            <a:pt x="6399" y="1017"/>
                            <a:pt x="6459" y="957"/>
                            <a:pt x="6579" y="957"/>
                          </a:cubicBezTo>
                          <a:cubicBezTo>
                            <a:pt x="6639" y="957"/>
                            <a:pt x="6758" y="957"/>
                            <a:pt x="6818" y="897"/>
                          </a:cubicBezTo>
                          <a:cubicBezTo>
                            <a:pt x="6878" y="897"/>
                            <a:pt x="6998" y="897"/>
                            <a:pt x="7057" y="897"/>
                          </a:cubicBezTo>
                          <a:cubicBezTo>
                            <a:pt x="7117" y="897"/>
                            <a:pt x="7237" y="897"/>
                            <a:pt x="7297" y="897"/>
                          </a:cubicBezTo>
                          <a:cubicBezTo>
                            <a:pt x="7476" y="897"/>
                            <a:pt x="7596" y="897"/>
                            <a:pt x="7715" y="957"/>
                          </a:cubicBezTo>
                          <a:cubicBezTo>
                            <a:pt x="7835" y="957"/>
                            <a:pt x="8014" y="1017"/>
                            <a:pt x="8134" y="1076"/>
                          </a:cubicBezTo>
                          <a:cubicBezTo>
                            <a:pt x="8253" y="1136"/>
                            <a:pt x="8373" y="1196"/>
                            <a:pt x="8493" y="1256"/>
                          </a:cubicBezTo>
                          <a:cubicBezTo>
                            <a:pt x="8672" y="1196"/>
                            <a:pt x="8792" y="1316"/>
                            <a:pt x="8852" y="1376"/>
                          </a:cubicBezTo>
                          <a:moveTo>
                            <a:pt x="1435" y="10825"/>
                          </a:moveTo>
                          <a:cubicBezTo>
                            <a:pt x="1555" y="10885"/>
                            <a:pt x="1675" y="11005"/>
                            <a:pt x="1794" y="11065"/>
                          </a:cubicBezTo>
                          <a:cubicBezTo>
                            <a:pt x="1914" y="11124"/>
                            <a:pt x="2093" y="11184"/>
                            <a:pt x="2213" y="11244"/>
                          </a:cubicBezTo>
                          <a:cubicBezTo>
                            <a:pt x="2333" y="11304"/>
                            <a:pt x="2512" y="11304"/>
                            <a:pt x="2691" y="11364"/>
                          </a:cubicBezTo>
                          <a:cubicBezTo>
                            <a:pt x="2871" y="11364"/>
                            <a:pt x="2990" y="11423"/>
                            <a:pt x="3170" y="11423"/>
                          </a:cubicBezTo>
                          <a:cubicBezTo>
                            <a:pt x="3469" y="11423"/>
                            <a:pt x="3828" y="11423"/>
                            <a:pt x="4187" y="11364"/>
                          </a:cubicBezTo>
                          <a:cubicBezTo>
                            <a:pt x="4545" y="11304"/>
                            <a:pt x="4904" y="11184"/>
                            <a:pt x="5203" y="11065"/>
                          </a:cubicBezTo>
                          <a:cubicBezTo>
                            <a:pt x="5562" y="10945"/>
                            <a:pt x="5921" y="10765"/>
                            <a:pt x="6280" y="10586"/>
                          </a:cubicBezTo>
                          <a:cubicBezTo>
                            <a:pt x="6639" y="10406"/>
                            <a:pt x="6998" y="10167"/>
                            <a:pt x="7297" y="9928"/>
                          </a:cubicBezTo>
                          <a:cubicBezTo>
                            <a:pt x="7596" y="9689"/>
                            <a:pt x="7954" y="9390"/>
                            <a:pt x="8253" y="9091"/>
                          </a:cubicBezTo>
                          <a:cubicBezTo>
                            <a:pt x="8552" y="8792"/>
                            <a:pt x="8852" y="8493"/>
                            <a:pt x="9091" y="8134"/>
                          </a:cubicBezTo>
                          <a:cubicBezTo>
                            <a:pt x="9330" y="7775"/>
                            <a:pt x="9569" y="7476"/>
                            <a:pt x="9808" y="7117"/>
                          </a:cubicBezTo>
                          <a:cubicBezTo>
                            <a:pt x="9988" y="6758"/>
                            <a:pt x="10167" y="6399"/>
                            <a:pt x="10347" y="5981"/>
                          </a:cubicBezTo>
                          <a:cubicBezTo>
                            <a:pt x="10526" y="5622"/>
                            <a:pt x="10586" y="5203"/>
                            <a:pt x="10706" y="4844"/>
                          </a:cubicBezTo>
                          <a:cubicBezTo>
                            <a:pt x="10765" y="4486"/>
                            <a:pt x="10825" y="4127"/>
                            <a:pt x="10825" y="3768"/>
                          </a:cubicBezTo>
                          <a:cubicBezTo>
                            <a:pt x="10825" y="3409"/>
                            <a:pt x="10825" y="3110"/>
                            <a:pt x="10765" y="2751"/>
                          </a:cubicBezTo>
                          <a:cubicBezTo>
                            <a:pt x="10706" y="2452"/>
                            <a:pt x="10646" y="2153"/>
                            <a:pt x="10526" y="1854"/>
                          </a:cubicBezTo>
                          <a:cubicBezTo>
                            <a:pt x="10466" y="1735"/>
                            <a:pt x="10406" y="1615"/>
                            <a:pt x="10347" y="1495"/>
                          </a:cubicBezTo>
                          <a:cubicBezTo>
                            <a:pt x="10287" y="1376"/>
                            <a:pt x="10167" y="1256"/>
                            <a:pt x="10107" y="1136"/>
                          </a:cubicBezTo>
                          <a:cubicBezTo>
                            <a:pt x="10048" y="1017"/>
                            <a:pt x="9928" y="957"/>
                            <a:pt x="9808" y="837"/>
                          </a:cubicBezTo>
                          <a:cubicBezTo>
                            <a:pt x="9689" y="718"/>
                            <a:pt x="9629" y="658"/>
                            <a:pt x="9510" y="598"/>
                          </a:cubicBezTo>
                          <a:cubicBezTo>
                            <a:pt x="9390" y="538"/>
                            <a:pt x="9270" y="419"/>
                            <a:pt x="9091" y="359"/>
                          </a:cubicBezTo>
                          <a:cubicBezTo>
                            <a:pt x="8971" y="299"/>
                            <a:pt x="8792" y="239"/>
                            <a:pt x="8672" y="180"/>
                          </a:cubicBezTo>
                          <a:cubicBezTo>
                            <a:pt x="8552" y="120"/>
                            <a:pt x="8373" y="60"/>
                            <a:pt x="8194" y="60"/>
                          </a:cubicBezTo>
                          <a:cubicBezTo>
                            <a:pt x="8014" y="0"/>
                            <a:pt x="7835" y="0"/>
                            <a:pt x="7715" y="0"/>
                          </a:cubicBezTo>
                          <a:cubicBezTo>
                            <a:pt x="7536" y="0"/>
                            <a:pt x="7357" y="0"/>
                            <a:pt x="7237" y="0"/>
                          </a:cubicBezTo>
                          <a:cubicBezTo>
                            <a:pt x="7057" y="0"/>
                            <a:pt x="6878" y="60"/>
                            <a:pt x="6698" y="60"/>
                          </a:cubicBezTo>
                          <a:cubicBezTo>
                            <a:pt x="6519" y="60"/>
                            <a:pt x="6340" y="120"/>
                            <a:pt x="6160" y="180"/>
                          </a:cubicBezTo>
                          <a:cubicBezTo>
                            <a:pt x="5981" y="239"/>
                            <a:pt x="5801" y="299"/>
                            <a:pt x="5622" y="359"/>
                          </a:cubicBezTo>
                          <a:cubicBezTo>
                            <a:pt x="5562" y="359"/>
                            <a:pt x="5443" y="419"/>
                            <a:pt x="5383" y="479"/>
                          </a:cubicBezTo>
                          <a:cubicBezTo>
                            <a:pt x="5323" y="538"/>
                            <a:pt x="5203" y="538"/>
                            <a:pt x="5143" y="598"/>
                          </a:cubicBezTo>
                          <a:cubicBezTo>
                            <a:pt x="5084" y="658"/>
                            <a:pt x="4964" y="658"/>
                            <a:pt x="4904" y="718"/>
                          </a:cubicBezTo>
                          <a:cubicBezTo>
                            <a:pt x="4844" y="778"/>
                            <a:pt x="4725" y="778"/>
                            <a:pt x="4665" y="837"/>
                          </a:cubicBezTo>
                          <a:cubicBezTo>
                            <a:pt x="4545" y="897"/>
                            <a:pt x="4486" y="957"/>
                            <a:pt x="4366" y="1017"/>
                          </a:cubicBezTo>
                          <a:cubicBezTo>
                            <a:pt x="4246" y="1076"/>
                            <a:pt x="4187" y="1136"/>
                            <a:pt x="4067" y="1196"/>
                          </a:cubicBezTo>
                          <a:cubicBezTo>
                            <a:pt x="3947" y="1256"/>
                            <a:pt x="3888" y="1316"/>
                            <a:pt x="3768" y="1376"/>
                          </a:cubicBezTo>
                          <a:cubicBezTo>
                            <a:pt x="3708" y="1435"/>
                            <a:pt x="3589" y="1495"/>
                            <a:pt x="3529" y="1555"/>
                          </a:cubicBezTo>
                          <a:cubicBezTo>
                            <a:pt x="3170" y="1794"/>
                            <a:pt x="2871" y="2093"/>
                            <a:pt x="2572" y="2392"/>
                          </a:cubicBezTo>
                          <a:cubicBezTo>
                            <a:pt x="2273" y="2691"/>
                            <a:pt x="1974" y="2990"/>
                            <a:pt x="1735" y="3349"/>
                          </a:cubicBezTo>
                          <a:cubicBezTo>
                            <a:pt x="1495" y="3708"/>
                            <a:pt x="1256" y="4067"/>
                            <a:pt x="1017" y="4426"/>
                          </a:cubicBezTo>
                          <a:cubicBezTo>
                            <a:pt x="837" y="4785"/>
                            <a:pt x="658" y="5144"/>
                            <a:pt x="479" y="5562"/>
                          </a:cubicBezTo>
                          <a:cubicBezTo>
                            <a:pt x="299" y="5921"/>
                            <a:pt x="239" y="6340"/>
                            <a:pt x="120" y="6698"/>
                          </a:cubicBezTo>
                          <a:cubicBezTo>
                            <a:pt x="0" y="7057"/>
                            <a:pt x="0" y="7416"/>
                            <a:pt x="0" y="7775"/>
                          </a:cubicBezTo>
                          <a:cubicBezTo>
                            <a:pt x="0" y="8134"/>
                            <a:pt x="0" y="8433"/>
                            <a:pt x="60" y="8792"/>
                          </a:cubicBezTo>
                          <a:cubicBezTo>
                            <a:pt x="120" y="9151"/>
                            <a:pt x="239" y="9390"/>
                            <a:pt x="359" y="9689"/>
                          </a:cubicBezTo>
                          <a:cubicBezTo>
                            <a:pt x="419" y="9749"/>
                            <a:pt x="419" y="9808"/>
                            <a:pt x="479" y="9868"/>
                          </a:cubicBezTo>
                          <a:cubicBezTo>
                            <a:pt x="538" y="9928"/>
                            <a:pt x="538" y="9988"/>
                            <a:pt x="598" y="10048"/>
                          </a:cubicBezTo>
                          <a:cubicBezTo>
                            <a:pt x="658" y="10107"/>
                            <a:pt x="658" y="10167"/>
                            <a:pt x="718" y="10227"/>
                          </a:cubicBezTo>
                          <a:cubicBezTo>
                            <a:pt x="778" y="10287"/>
                            <a:pt x="778" y="10347"/>
                            <a:pt x="837" y="10406"/>
                          </a:cubicBezTo>
                          <a:cubicBezTo>
                            <a:pt x="897" y="10466"/>
                            <a:pt x="897" y="10466"/>
                            <a:pt x="957" y="10526"/>
                          </a:cubicBezTo>
                          <a:cubicBezTo>
                            <a:pt x="1017" y="10586"/>
                            <a:pt x="1017" y="10586"/>
                            <a:pt x="1076" y="10646"/>
                          </a:cubicBezTo>
                          <a:cubicBezTo>
                            <a:pt x="1136" y="10706"/>
                            <a:pt x="1136" y="10706"/>
                            <a:pt x="1196" y="10765"/>
                          </a:cubicBezTo>
                          <a:cubicBezTo>
                            <a:pt x="1256" y="10825"/>
                            <a:pt x="1256" y="10825"/>
                            <a:pt x="1316" y="10885"/>
                          </a:cubicBezTo>
                          <a:cubicBezTo>
                            <a:pt x="1316" y="10885"/>
                            <a:pt x="1316" y="10885"/>
                            <a:pt x="1376" y="10885"/>
                          </a:cubicBezTo>
                          <a:cubicBezTo>
                            <a:pt x="1435" y="10885"/>
                            <a:pt x="1376" y="10885"/>
                            <a:pt x="1435" y="10885"/>
                          </a:cubicBezTo>
                          <a:cubicBezTo>
                            <a:pt x="1376" y="10825"/>
                            <a:pt x="1376" y="10825"/>
                            <a:pt x="1435" y="10825"/>
                          </a:cubicBezTo>
                          <a:cubicBezTo>
                            <a:pt x="1376" y="10825"/>
                            <a:pt x="1435" y="10825"/>
                            <a:pt x="1435" y="10825"/>
                          </a:cubicBezTo>
                        </a:path>
                      </a:pathLst>
                    </a:custGeom>
                    <a:noFill/>
                    <a:ln w="6350" cap="flat">
                      <a:solidFill>
                        <a:schemeClr val="bg1">
                          <a:alpha val="80000"/>
                        </a:schemeClr>
                      </a:solidFill>
                      <a:prstDash val="solid"/>
                      <a:miter/>
                    </a:ln>
                  </p:spPr>
                  <p:txBody>
                    <a:bodyPr rtlCol="0" anchor="ctr"/>
                    <a:lstStyle/>
                    <a:p>
                      <a:endParaRPr lang="en-GB"/>
                    </a:p>
                  </p:txBody>
                </p:sp>
                <p:sp>
                  <p:nvSpPr>
                    <p:cNvPr id="7416" name="Vrije vorm: vorm 7415">
                      <a:extLst>
                        <a:ext uri="{FF2B5EF4-FFF2-40B4-BE49-F238E27FC236}">
                          <a16:creationId xmlns:a16="http://schemas.microsoft.com/office/drawing/2014/main" id="{611BEF29-8541-4FEF-8459-A14063FFB7A7}"/>
                        </a:ext>
                      </a:extLst>
                    </p:cNvPr>
                    <p:cNvSpPr/>
                    <p:nvPr/>
                  </p:nvSpPr>
                  <p:spPr>
                    <a:xfrm>
                      <a:off x="5292150" y="5390105"/>
                      <a:ext cx="35317" cy="37020"/>
                    </a:xfrm>
                    <a:custGeom>
                      <a:avLst/>
                      <a:gdLst>
                        <a:gd name="connsiteX0" fmla="*/ 13069 w 35317"/>
                        <a:gd name="connsiteY0" fmla="*/ 36124 h 37020"/>
                        <a:gd name="connsiteX1" fmla="*/ 10976 w 35317"/>
                        <a:gd name="connsiteY1" fmla="*/ 36064 h 37020"/>
                        <a:gd name="connsiteX2" fmla="*/ 9002 w 35317"/>
                        <a:gd name="connsiteY2" fmla="*/ 35705 h 37020"/>
                        <a:gd name="connsiteX3" fmla="*/ 7208 w 35317"/>
                        <a:gd name="connsiteY3" fmla="*/ 35047 h 37020"/>
                        <a:gd name="connsiteX4" fmla="*/ 5593 w 35317"/>
                        <a:gd name="connsiteY4" fmla="*/ 34090 h 37020"/>
                        <a:gd name="connsiteX5" fmla="*/ 5414 w 35317"/>
                        <a:gd name="connsiteY5" fmla="*/ 33971 h 37020"/>
                        <a:gd name="connsiteX6" fmla="*/ 5234 w 35317"/>
                        <a:gd name="connsiteY6" fmla="*/ 33851 h 37020"/>
                        <a:gd name="connsiteX7" fmla="*/ 5055 w 35317"/>
                        <a:gd name="connsiteY7" fmla="*/ 33731 h 37020"/>
                        <a:gd name="connsiteX8" fmla="*/ 4875 w 35317"/>
                        <a:gd name="connsiteY8" fmla="*/ 33612 h 37020"/>
                        <a:gd name="connsiteX9" fmla="*/ 1706 w 35317"/>
                        <a:gd name="connsiteY9" fmla="*/ 28887 h 37020"/>
                        <a:gd name="connsiteX10" fmla="*/ 1048 w 35317"/>
                        <a:gd name="connsiteY10" fmla="*/ 22727 h 37020"/>
                        <a:gd name="connsiteX11" fmla="*/ 2902 w 35317"/>
                        <a:gd name="connsiteY11" fmla="*/ 15909 h 37020"/>
                        <a:gd name="connsiteX12" fmla="*/ 7148 w 35317"/>
                        <a:gd name="connsiteY12" fmla="*/ 9270 h 37020"/>
                        <a:gd name="connsiteX13" fmla="*/ 8882 w 35317"/>
                        <a:gd name="connsiteY13" fmla="*/ 7476 h 37020"/>
                        <a:gd name="connsiteX14" fmla="*/ 10736 w 35317"/>
                        <a:gd name="connsiteY14" fmla="*/ 5861 h 37020"/>
                        <a:gd name="connsiteX15" fmla="*/ 12650 w 35317"/>
                        <a:gd name="connsiteY15" fmla="*/ 4426 h 37020"/>
                        <a:gd name="connsiteX16" fmla="*/ 14684 w 35317"/>
                        <a:gd name="connsiteY16" fmla="*/ 3230 h 37020"/>
                        <a:gd name="connsiteX17" fmla="*/ 14923 w 35317"/>
                        <a:gd name="connsiteY17" fmla="*/ 3110 h 37020"/>
                        <a:gd name="connsiteX18" fmla="*/ 15162 w 35317"/>
                        <a:gd name="connsiteY18" fmla="*/ 2990 h 37020"/>
                        <a:gd name="connsiteX19" fmla="*/ 15401 w 35317"/>
                        <a:gd name="connsiteY19" fmla="*/ 2871 h 37020"/>
                        <a:gd name="connsiteX20" fmla="*/ 15641 w 35317"/>
                        <a:gd name="connsiteY20" fmla="*/ 2751 h 37020"/>
                        <a:gd name="connsiteX21" fmla="*/ 16597 w 35317"/>
                        <a:gd name="connsiteY21" fmla="*/ 2333 h 37020"/>
                        <a:gd name="connsiteX22" fmla="*/ 17554 w 35317"/>
                        <a:gd name="connsiteY22" fmla="*/ 1974 h 37020"/>
                        <a:gd name="connsiteX23" fmla="*/ 18511 w 35317"/>
                        <a:gd name="connsiteY23" fmla="*/ 1675 h 37020"/>
                        <a:gd name="connsiteX24" fmla="*/ 19468 w 35317"/>
                        <a:gd name="connsiteY24" fmla="*/ 1436 h 37020"/>
                        <a:gd name="connsiteX25" fmla="*/ 19827 w 35317"/>
                        <a:gd name="connsiteY25" fmla="*/ 1376 h 37020"/>
                        <a:gd name="connsiteX26" fmla="*/ 20186 w 35317"/>
                        <a:gd name="connsiteY26" fmla="*/ 1316 h 37020"/>
                        <a:gd name="connsiteX27" fmla="*/ 20545 w 35317"/>
                        <a:gd name="connsiteY27" fmla="*/ 1256 h 37020"/>
                        <a:gd name="connsiteX28" fmla="*/ 20903 w 35317"/>
                        <a:gd name="connsiteY28" fmla="*/ 1196 h 37020"/>
                        <a:gd name="connsiteX29" fmla="*/ 21143 w 35317"/>
                        <a:gd name="connsiteY29" fmla="*/ 1136 h 37020"/>
                        <a:gd name="connsiteX30" fmla="*/ 21382 w 35317"/>
                        <a:gd name="connsiteY30" fmla="*/ 1077 h 37020"/>
                        <a:gd name="connsiteX31" fmla="*/ 21621 w 35317"/>
                        <a:gd name="connsiteY31" fmla="*/ 1077 h 37020"/>
                        <a:gd name="connsiteX32" fmla="*/ 21861 w 35317"/>
                        <a:gd name="connsiteY32" fmla="*/ 1077 h 37020"/>
                        <a:gd name="connsiteX33" fmla="*/ 23356 w 35317"/>
                        <a:gd name="connsiteY33" fmla="*/ 957 h 37020"/>
                        <a:gd name="connsiteX34" fmla="*/ 24791 w 35317"/>
                        <a:gd name="connsiteY34" fmla="*/ 1017 h 37020"/>
                        <a:gd name="connsiteX35" fmla="*/ 26166 w 35317"/>
                        <a:gd name="connsiteY35" fmla="*/ 1256 h 37020"/>
                        <a:gd name="connsiteX36" fmla="*/ 27482 w 35317"/>
                        <a:gd name="connsiteY36" fmla="*/ 1615 h 37020"/>
                        <a:gd name="connsiteX37" fmla="*/ 27662 w 35317"/>
                        <a:gd name="connsiteY37" fmla="*/ 1675 h 37020"/>
                        <a:gd name="connsiteX38" fmla="*/ 27841 w 35317"/>
                        <a:gd name="connsiteY38" fmla="*/ 1735 h 37020"/>
                        <a:gd name="connsiteX39" fmla="*/ 28020 w 35317"/>
                        <a:gd name="connsiteY39" fmla="*/ 1795 h 37020"/>
                        <a:gd name="connsiteX40" fmla="*/ 28200 w 35317"/>
                        <a:gd name="connsiteY40" fmla="*/ 1854 h 37020"/>
                        <a:gd name="connsiteX41" fmla="*/ 28738 w 35317"/>
                        <a:gd name="connsiteY41" fmla="*/ 2093 h 37020"/>
                        <a:gd name="connsiteX42" fmla="*/ 29277 w 35317"/>
                        <a:gd name="connsiteY42" fmla="*/ 2392 h 37020"/>
                        <a:gd name="connsiteX43" fmla="*/ 29815 w 35317"/>
                        <a:gd name="connsiteY43" fmla="*/ 2691 h 37020"/>
                        <a:gd name="connsiteX44" fmla="*/ 30353 w 35317"/>
                        <a:gd name="connsiteY44" fmla="*/ 3050 h 37020"/>
                        <a:gd name="connsiteX45" fmla="*/ 30533 w 35317"/>
                        <a:gd name="connsiteY45" fmla="*/ 3170 h 37020"/>
                        <a:gd name="connsiteX46" fmla="*/ 30712 w 35317"/>
                        <a:gd name="connsiteY46" fmla="*/ 3290 h 37020"/>
                        <a:gd name="connsiteX47" fmla="*/ 30891 w 35317"/>
                        <a:gd name="connsiteY47" fmla="*/ 3409 h 37020"/>
                        <a:gd name="connsiteX48" fmla="*/ 31071 w 35317"/>
                        <a:gd name="connsiteY48" fmla="*/ 3529 h 37020"/>
                        <a:gd name="connsiteX49" fmla="*/ 31609 w 35317"/>
                        <a:gd name="connsiteY49" fmla="*/ 4007 h 37020"/>
                        <a:gd name="connsiteX50" fmla="*/ 32088 w 35317"/>
                        <a:gd name="connsiteY50" fmla="*/ 4545 h 37020"/>
                        <a:gd name="connsiteX51" fmla="*/ 32506 w 35317"/>
                        <a:gd name="connsiteY51" fmla="*/ 5144 h 37020"/>
                        <a:gd name="connsiteX52" fmla="*/ 32925 w 35317"/>
                        <a:gd name="connsiteY52" fmla="*/ 5742 h 37020"/>
                        <a:gd name="connsiteX53" fmla="*/ 33044 w 35317"/>
                        <a:gd name="connsiteY53" fmla="*/ 5921 h 37020"/>
                        <a:gd name="connsiteX54" fmla="*/ 33164 w 35317"/>
                        <a:gd name="connsiteY54" fmla="*/ 6100 h 37020"/>
                        <a:gd name="connsiteX55" fmla="*/ 33284 w 35317"/>
                        <a:gd name="connsiteY55" fmla="*/ 6280 h 37020"/>
                        <a:gd name="connsiteX56" fmla="*/ 33403 w 35317"/>
                        <a:gd name="connsiteY56" fmla="*/ 6459 h 37020"/>
                        <a:gd name="connsiteX57" fmla="*/ 33942 w 35317"/>
                        <a:gd name="connsiteY57" fmla="*/ 7596 h 37020"/>
                        <a:gd name="connsiteX58" fmla="*/ 34360 w 35317"/>
                        <a:gd name="connsiteY58" fmla="*/ 8792 h 37020"/>
                        <a:gd name="connsiteX59" fmla="*/ 34659 w 35317"/>
                        <a:gd name="connsiteY59" fmla="*/ 10048 h 37020"/>
                        <a:gd name="connsiteX60" fmla="*/ 34839 w 35317"/>
                        <a:gd name="connsiteY60" fmla="*/ 11364 h 37020"/>
                        <a:gd name="connsiteX61" fmla="*/ 34839 w 35317"/>
                        <a:gd name="connsiteY61" fmla="*/ 11722 h 37020"/>
                        <a:gd name="connsiteX62" fmla="*/ 34839 w 35317"/>
                        <a:gd name="connsiteY62" fmla="*/ 12081 h 37020"/>
                        <a:gd name="connsiteX63" fmla="*/ 34839 w 35317"/>
                        <a:gd name="connsiteY63" fmla="*/ 12440 h 37020"/>
                        <a:gd name="connsiteX64" fmla="*/ 34839 w 35317"/>
                        <a:gd name="connsiteY64" fmla="*/ 12799 h 37020"/>
                        <a:gd name="connsiteX65" fmla="*/ 34839 w 35317"/>
                        <a:gd name="connsiteY65" fmla="*/ 13218 h 37020"/>
                        <a:gd name="connsiteX66" fmla="*/ 34839 w 35317"/>
                        <a:gd name="connsiteY66" fmla="*/ 13636 h 37020"/>
                        <a:gd name="connsiteX67" fmla="*/ 34839 w 35317"/>
                        <a:gd name="connsiteY67" fmla="*/ 14055 h 37020"/>
                        <a:gd name="connsiteX68" fmla="*/ 34779 w 35317"/>
                        <a:gd name="connsiteY68" fmla="*/ 14474 h 37020"/>
                        <a:gd name="connsiteX69" fmla="*/ 34360 w 35317"/>
                        <a:gd name="connsiteY69" fmla="*/ 16985 h 37020"/>
                        <a:gd name="connsiteX70" fmla="*/ 33642 w 35317"/>
                        <a:gd name="connsiteY70" fmla="*/ 19497 h 37020"/>
                        <a:gd name="connsiteX71" fmla="*/ 32626 w 35317"/>
                        <a:gd name="connsiteY71" fmla="*/ 21950 h 37020"/>
                        <a:gd name="connsiteX72" fmla="*/ 31310 w 35317"/>
                        <a:gd name="connsiteY72" fmla="*/ 24342 h 37020"/>
                        <a:gd name="connsiteX73" fmla="*/ 31190 w 35317"/>
                        <a:gd name="connsiteY73" fmla="*/ 24581 h 37020"/>
                        <a:gd name="connsiteX74" fmla="*/ 31071 w 35317"/>
                        <a:gd name="connsiteY74" fmla="*/ 24820 h 37020"/>
                        <a:gd name="connsiteX75" fmla="*/ 30951 w 35317"/>
                        <a:gd name="connsiteY75" fmla="*/ 25059 h 37020"/>
                        <a:gd name="connsiteX76" fmla="*/ 30832 w 35317"/>
                        <a:gd name="connsiteY76" fmla="*/ 25299 h 37020"/>
                        <a:gd name="connsiteX77" fmla="*/ 30353 w 35317"/>
                        <a:gd name="connsiteY77" fmla="*/ 25956 h 37020"/>
                        <a:gd name="connsiteX78" fmla="*/ 29874 w 35317"/>
                        <a:gd name="connsiteY78" fmla="*/ 26614 h 37020"/>
                        <a:gd name="connsiteX79" fmla="*/ 29336 w 35317"/>
                        <a:gd name="connsiteY79" fmla="*/ 27272 h 37020"/>
                        <a:gd name="connsiteX80" fmla="*/ 28798 w 35317"/>
                        <a:gd name="connsiteY80" fmla="*/ 27930 h 37020"/>
                        <a:gd name="connsiteX81" fmla="*/ 27602 w 35317"/>
                        <a:gd name="connsiteY81" fmla="*/ 29246 h 37020"/>
                        <a:gd name="connsiteX82" fmla="*/ 26346 w 35317"/>
                        <a:gd name="connsiteY82" fmla="*/ 30442 h 37020"/>
                        <a:gd name="connsiteX83" fmla="*/ 25030 w 35317"/>
                        <a:gd name="connsiteY83" fmla="*/ 31578 h 37020"/>
                        <a:gd name="connsiteX84" fmla="*/ 23655 w 35317"/>
                        <a:gd name="connsiteY84" fmla="*/ 32595 h 37020"/>
                        <a:gd name="connsiteX85" fmla="*/ 23416 w 35317"/>
                        <a:gd name="connsiteY85" fmla="*/ 32715 h 37020"/>
                        <a:gd name="connsiteX86" fmla="*/ 23176 w 35317"/>
                        <a:gd name="connsiteY86" fmla="*/ 32834 h 37020"/>
                        <a:gd name="connsiteX87" fmla="*/ 22937 w 35317"/>
                        <a:gd name="connsiteY87" fmla="*/ 32954 h 37020"/>
                        <a:gd name="connsiteX88" fmla="*/ 22698 w 35317"/>
                        <a:gd name="connsiteY88" fmla="*/ 33074 h 37020"/>
                        <a:gd name="connsiteX89" fmla="*/ 21143 w 35317"/>
                        <a:gd name="connsiteY89" fmla="*/ 33971 h 37020"/>
                        <a:gd name="connsiteX90" fmla="*/ 19588 w 35317"/>
                        <a:gd name="connsiteY90" fmla="*/ 34748 h 37020"/>
                        <a:gd name="connsiteX91" fmla="*/ 17973 w 35317"/>
                        <a:gd name="connsiteY91" fmla="*/ 35406 h 37020"/>
                        <a:gd name="connsiteX92" fmla="*/ 16358 w 35317"/>
                        <a:gd name="connsiteY92" fmla="*/ 35884 h 37020"/>
                        <a:gd name="connsiteX93" fmla="*/ 15880 w 35317"/>
                        <a:gd name="connsiteY93" fmla="*/ 36004 h 37020"/>
                        <a:gd name="connsiteX94" fmla="*/ 15401 w 35317"/>
                        <a:gd name="connsiteY94" fmla="*/ 36124 h 37020"/>
                        <a:gd name="connsiteX95" fmla="*/ 14923 w 35317"/>
                        <a:gd name="connsiteY95" fmla="*/ 36184 h 37020"/>
                        <a:gd name="connsiteX96" fmla="*/ 14444 w 35317"/>
                        <a:gd name="connsiteY96" fmla="*/ 36243 h 37020"/>
                        <a:gd name="connsiteX97" fmla="*/ 14086 w 35317"/>
                        <a:gd name="connsiteY97" fmla="*/ 36303 h 37020"/>
                        <a:gd name="connsiteX98" fmla="*/ 13727 w 35317"/>
                        <a:gd name="connsiteY98" fmla="*/ 36363 h 37020"/>
                        <a:gd name="connsiteX99" fmla="*/ 13368 w 35317"/>
                        <a:gd name="connsiteY99" fmla="*/ 36423 h 37020"/>
                        <a:gd name="connsiteX100" fmla="*/ 13069 w 35317"/>
                        <a:gd name="connsiteY100" fmla="*/ 36124 h 37020"/>
                        <a:gd name="connsiteX101" fmla="*/ 5115 w 35317"/>
                        <a:gd name="connsiteY101" fmla="*/ 35047 h 37020"/>
                        <a:gd name="connsiteX102" fmla="*/ 7028 w 35317"/>
                        <a:gd name="connsiteY102" fmla="*/ 36124 h 37020"/>
                        <a:gd name="connsiteX103" fmla="*/ 9181 w 35317"/>
                        <a:gd name="connsiteY103" fmla="*/ 36782 h 37020"/>
                        <a:gd name="connsiteX104" fmla="*/ 11514 w 35317"/>
                        <a:gd name="connsiteY104" fmla="*/ 37021 h 37020"/>
                        <a:gd name="connsiteX105" fmla="*/ 13966 w 35317"/>
                        <a:gd name="connsiteY105" fmla="*/ 36901 h 37020"/>
                        <a:gd name="connsiteX106" fmla="*/ 14265 w 35317"/>
                        <a:gd name="connsiteY106" fmla="*/ 36841 h 37020"/>
                        <a:gd name="connsiteX107" fmla="*/ 14564 w 35317"/>
                        <a:gd name="connsiteY107" fmla="*/ 36782 h 37020"/>
                        <a:gd name="connsiteX108" fmla="*/ 14863 w 35317"/>
                        <a:gd name="connsiteY108" fmla="*/ 36722 h 37020"/>
                        <a:gd name="connsiteX109" fmla="*/ 15162 w 35317"/>
                        <a:gd name="connsiteY109" fmla="*/ 36662 h 37020"/>
                        <a:gd name="connsiteX110" fmla="*/ 15401 w 35317"/>
                        <a:gd name="connsiteY110" fmla="*/ 36602 h 37020"/>
                        <a:gd name="connsiteX111" fmla="*/ 15641 w 35317"/>
                        <a:gd name="connsiteY111" fmla="*/ 36542 h 37020"/>
                        <a:gd name="connsiteX112" fmla="*/ 15880 w 35317"/>
                        <a:gd name="connsiteY112" fmla="*/ 36483 h 37020"/>
                        <a:gd name="connsiteX113" fmla="*/ 16119 w 35317"/>
                        <a:gd name="connsiteY113" fmla="*/ 36423 h 37020"/>
                        <a:gd name="connsiteX114" fmla="*/ 17913 w 35317"/>
                        <a:gd name="connsiteY114" fmla="*/ 35884 h 37020"/>
                        <a:gd name="connsiteX115" fmla="*/ 19648 w 35317"/>
                        <a:gd name="connsiteY115" fmla="*/ 35167 h 37020"/>
                        <a:gd name="connsiteX116" fmla="*/ 21382 w 35317"/>
                        <a:gd name="connsiteY116" fmla="*/ 34270 h 37020"/>
                        <a:gd name="connsiteX117" fmla="*/ 23057 w 35317"/>
                        <a:gd name="connsiteY117" fmla="*/ 33253 h 37020"/>
                        <a:gd name="connsiteX118" fmla="*/ 23296 w 35317"/>
                        <a:gd name="connsiteY118" fmla="*/ 33133 h 37020"/>
                        <a:gd name="connsiteX119" fmla="*/ 23535 w 35317"/>
                        <a:gd name="connsiteY119" fmla="*/ 33014 h 37020"/>
                        <a:gd name="connsiteX120" fmla="*/ 23715 w 35317"/>
                        <a:gd name="connsiteY120" fmla="*/ 32894 h 37020"/>
                        <a:gd name="connsiteX121" fmla="*/ 23894 w 35317"/>
                        <a:gd name="connsiteY121" fmla="*/ 32775 h 37020"/>
                        <a:gd name="connsiteX122" fmla="*/ 25210 w 35317"/>
                        <a:gd name="connsiteY122" fmla="*/ 31758 h 37020"/>
                        <a:gd name="connsiteX123" fmla="*/ 26525 w 35317"/>
                        <a:gd name="connsiteY123" fmla="*/ 30621 h 37020"/>
                        <a:gd name="connsiteX124" fmla="*/ 27781 w 35317"/>
                        <a:gd name="connsiteY124" fmla="*/ 29425 h 37020"/>
                        <a:gd name="connsiteX125" fmla="*/ 28978 w 35317"/>
                        <a:gd name="connsiteY125" fmla="*/ 28109 h 37020"/>
                        <a:gd name="connsiteX126" fmla="*/ 29516 w 35317"/>
                        <a:gd name="connsiteY126" fmla="*/ 27452 h 37020"/>
                        <a:gd name="connsiteX127" fmla="*/ 30054 w 35317"/>
                        <a:gd name="connsiteY127" fmla="*/ 26794 h 37020"/>
                        <a:gd name="connsiteX128" fmla="*/ 30533 w 35317"/>
                        <a:gd name="connsiteY128" fmla="*/ 26136 h 37020"/>
                        <a:gd name="connsiteX129" fmla="*/ 31011 w 35317"/>
                        <a:gd name="connsiteY129" fmla="*/ 25478 h 37020"/>
                        <a:gd name="connsiteX130" fmla="*/ 31131 w 35317"/>
                        <a:gd name="connsiteY130" fmla="*/ 25239 h 37020"/>
                        <a:gd name="connsiteX131" fmla="*/ 31250 w 35317"/>
                        <a:gd name="connsiteY131" fmla="*/ 25000 h 37020"/>
                        <a:gd name="connsiteX132" fmla="*/ 31370 w 35317"/>
                        <a:gd name="connsiteY132" fmla="*/ 24760 h 37020"/>
                        <a:gd name="connsiteX133" fmla="*/ 31489 w 35317"/>
                        <a:gd name="connsiteY133" fmla="*/ 24521 h 37020"/>
                        <a:gd name="connsiteX134" fmla="*/ 32925 w 35317"/>
                        <a:gd name="connsiteY134" fmla="*/ 21950 h 37020"/>
                        <a:gd name="connsiteX135" fmla="*/ 34061 w 35317"/>
                        <a:gd name="connsiteY135" fmla="*/ 19318 h 37020"/>
                        <a:gd name="connsiteX136" fmla="*/ 34839 w 35317"/>
                        <a:gd name="connsiteY136" fmla="*/ 16686 h 37020"/>
                        <a:gd name="connsiteX137" fmla="*/ 35317 w 35317"/>
                        <a:gd name="connsiteY137" fmla="*/ 13995 h 37020"/>
                        <a:gd name="connsiteX138" fmla="*/ 35317 w 35317"/>
                        <a:gd name="connsiteY138" fmla="*/ 13815 h 37020"/>
                        <a:gd name="connsiteX139" fmla="*/ 35317 w 35317"/>
                        <a:gd name="connsiteY139" fmla="*/ 13636 h 37020"/>
                        <a:gd name="connsiteX140" fmla="*/ 35317 w 35317"/>
                        <a:gd name="connsiteY140" fmla="*/ 13457 h 37020"/>
                        <a:gd name="connsiteX141" fmla="*/ 35317 w 35317"/>
                        <a:gd name="connsiteY141" fmla="*/ 13277 h 37020"/>
                        <a:gd name="connsiteX142" fmla="*/ 35317 w 35317"/>
                        <a:gd name="connsiteY142" fmla="*/ 12919 h 37020"/>
                        <a:gd name="connsiteX143" fmla="*/ 35317 w 35317"/>
                        <a:gd name="connsiteY143" fmla="*/ 12620 h 37020"/>
                        <a:gd name="connsiteX144" fmla="*/ 35317 w 35317"/>
                        <a:gd name="connsiteY144" fmla="*/ 12320 h 37020"/>
                        <a:gd name="connsiteX145" fmla="*/ 35317 w 35317"/>
                        <a:gd name="connsiteY145" fmla="*/ 12021 h 37020"/>
                        <a:gd name="connsiteX146" fmla="*/ 35197 w 35317"/>
                        <a:gd name="connsiteY146" fmla="*/ 10167 h 37020"/>
                        <a:gd name="connsiteX147" fmla="*/ 34839 w 35317"/>
                        <a:gd name="connsiteY147" fmla="*/ 8433 h 37020"/>
                        <a:gd name="connsiteX148" fmla="*/ 34301 w 35317"/>
                        <a:gd name="connsiteY148" fmla="*/ 6818 h 37020"/>
                        <a:gd name="connsiteX149" fmla="*/ 33583 w 35317"/>
                        <a:gd name="connsiteY149" fmla="*/ 5323 h 37020"/>
                        <a:gd name="connsiteX150" fmla="*/ 33463 w 35317"/>
                        <a:gd name="connsiteY150" fmla="*/ 5144 h 37020"/>
                        <a:gd name="connsiteX151" fmla="*/ 33343 w 35317"/>
                        <a:gd name="connsiteY151" fmla="*/ 4964 h 37020"/>
                        <a:gd name="connsiteX152" fmla="*/ 33224 w 35317"/>
                        <a:gd name="connsiteY152" fmla="*/ 4785 h 37020"/>
                        <a:gd name="connsiteX153" fmla="*/ 33104 w 35317"/>
                        <a:gd name="connsiteY153" fmla="*/ 4605 h 37020"/>
                        <a:gd name="connsiteX154" fmla="*/ 32745 w 35317"/>
                        <a:gd name="connsiteY154" fmla="*/ 4067 h 37020"/>
                        <a:gd name="connsiteX155" fmla="*/ 32327 w 35317"/>
                        <a:gd name="connsiteY155" fmla="*/ 3589 h 37020"/>
                        <a:gd name="connsiteX156" fmla="*/ 31908 w 35317"/>
                        <a:gd name="connsiteY156" fmla="*/ 3110 h 37020"/>
                        <a:gd name="connsiteX157" fmla="*/ 31430 w 35317"/>
                        <a:gd name="connsiteY157" fmla="*/ 2691 h 37020"/>
                        <a:gd name="connsiteX158" fmla="*/ 31250 w 35317"/>
                        <a:gd name="connsiteY158" fmla="*/ 2572 h 37020"/>
                        <a:gd name="connsiteX159" fmla="*/ 31071 w 35317"/>
                        <a:gd name="connsiteY159" fmla="*/ 2452 h 37020"/>
                        <a:gd name="connsiteX160" fmla="*/ 30891 w 35317"/>
                        <a:gd name="connsiteY160" fmla="*/ 2333 h 37020"/>
                        <a:gd name="connsiteX161" fmla="*/ 30712 w 35317"/>
                        <a:gd name="connsiteY161" fmla="*/ 2213 h 37020"/>
                        <a:gd name="connsiteX162" fmla="*/ 30174 w 35317"/>
                        <a:gd name="connsiteY162" fmla="*/ 1854 h 37020"/>
                        <a:gd name="connsiteX163" fmla="*/ 29576 w 35317"/>
                        <a:gd name="connsiteY163" fmla="*/ 1495 h 37020"/>
                        <a:gd name="connsiteX164" fmla="*/ 28978 w 35317"/>
                        <a:gd name="connsiteY164" fmla="*/ 1196 h 37020"/>
                        <a:gd name="connsiteX165" fmla="*/ 28379 w 35317"/>
                        <a:gd name="connsiteY165" fmla="*/ 897 h 37020"/>
                        <a:gd name="connsiteX166" fmla="*/ 28200 w 35317"/>
                        <a:gd name="connsiteY166" fmla="*/ 837 h 37020"/>
                        <a:gd name="connsiteX167" fmla="*/ 28020 w 35317"/>
                        <a:gd name="connsiteY167" fmla="*/ 778 h 37020"/>
                        <a:gd name="connsiteX168" fmla="*/ 27841 w 35317"/>
                        <a:gd name="connsiteY168" fmla="*/ 718 h 37020"/>
                        <a:gd name="connsiteX169" fmla="*/ 27662 w 35317"/>
                        <a:gd name="connsiteY169" fmla="*/ 658 h 37020"/>
                        <a:gd name="connsiteX170" fmla="*/ 26346 w 35317"/>
                        <a:gd name="connsiteY170" fmla="*/ 299 h 37020"/>
                        <a:gd name="connsiteX171" fmla="*/ 24971 w 35317"/>
                        <a:gd name="connsiteY171" fmla="*/ 60 h 37020"/>
                        <a:gd name="connsiteX172" fmla="*/ 23535 w 35317"/>
                        <a:gd name="connsiteY172" fmla="*/ 0 h 37020"/>
                        <a:gd name="connsiteX173" fmla="*/ 22040 w 35317"/>
                        <a:gd name="connsiteY173" fmla="*/ 60 h 37020"/>
                        <a:gd name="connsiteX174" fmla="*/ 21801 w 35317"/>
                        <a:gd name="connsiteY174" fmla="*/ 60 h 37020"/>
                        <a:gd name="connsiteX175" fmla="*/ 21562 w 35317"/>
                        <a:gd name="connsiteY175" fmla="*/ 60 h 37020"/>
                        <a:gd name="connsiteX176" fmla="*/ 21322 w 35317"/>
                        <a:gd name="connsiteY176" fmla="*/ 60 h 37020"/>
                        <a:gd name="connsiteX177" fmla="*/ 21083 w 35317"/>
                        <a:gd name="connsiteY177" fmla="*/ 120 h 37020"/>
                        <a:gd name="connsiteX178" fmla="*/ 20664 w 35317"/>
                        <a:gd name="connsiteY178" fmla="*/ 180 h 37020"/>
                        <a:gd name="connsiteX179" fmla="*/ 20246 w 35317"/>
                        <a:gd name="connsiteY179" fmla="*/ 239 h 37020"/>
                        <a:gd name="connsiteX180" fmla="*/ 19827 w 35317"/>
                        <a:gd name="connsiteY180" fmla="*/ 299 h 37020"/>
                        <a:gd name="connsiteX181" fmla="*/ 19408 w 35317"/>
                        <a:gd name="connsiteY181" fmla="*/ 419 h 37020"/>
                        <a:gd name="connsiteX182" fmla="*/ 18511 w 35317"/>
                        <a:gd name="connsiteY182" fmla="*/ 658 h 37020"/>
                        <a:gd name="connsiteX183" fmla="*/ 17614 w 35317"/>
                        <a:gd name="connsiteY183" fmla="*/ 957 h 37020"/>
                        <a:gd name="connsiteX184" fmla="*/ 16777 w 35317"/>
                        <a:gd name="connsiteY184" fmla="*/ 1256 h 37020"/>
                        <a:gd name="connsiteX185" fmla="*/ 15940 w 35317"/>
                        <a:gd name="connsiteY185" fmla="*/ 1615 h 37020"/>
                        <a:gd name="connsiteX186" fmla="*/ 15700 w 35317"/>
                        <a:gd name="connsiteY186" fmla="*/ 1735 h 37020"/>
                        <a:gd name="connsiteX187" fmla="*/ 15461 w 35317"/>
                        <a:gd name="connsiteY187" fmla="*/ 1854 h 37020"/>
                        <a:gd name="connsiteX188" fmla="*/ 15222 w 35317"/>
                        <a:gd name="connsiteY188" fmla="*/ 1974 h 37020"/>
                        <a:gd name="connsiteX189" fmla="*/ 14983 w 35317"/>
                        <a:gd name="connsiteY189" fmla="*/ 2093 h 37020"/>
                        <a:gd name="connsiteX190" fmla="*/ 12710 w 35317"/>
                        <a:gd name="connsiteY190" fmla="*/ 3409 h 37020"/>
                        <a:gd name="connsiteX191" fmla="*/ 10497 w 35317"/>
                        <a:gd name="connsiteY191" fmla="*/ 4964 h 37020"/>
                        <a:gd name="connsiteX192" fmla="*/ 8404 w 35317"/>
                        <a:gd name="connsiteY192" fmla="*/ 6818 h 37020"/>
                        <a:gd name="connsiteX193" fmla="*/ 6430 w 35317"/>
                        <a:gd name="connsiteY193" fmla="*/ 8912 h 37020"/>
                        <a:gd name="connsiteX194" fmla="*/ 2004 w 35317"/>
                        <a:gd name="connsiteY194" fmla="*/ 15909 h 37020"/>
                        <a:gd name="connsiteX195" fmla="*/ 91 w 35317"/>
                        <a:gd name="connsiteY195" fmla="*/ 23086 h 37020"/>
                        <a:gd name="connsiteX196" fmla="*/ 748 w 35317"/>
                        <a:gd name="connsiteY196" fmla="*/ 29545 h 37020"/>
                        <a:gd name="connsiteX197" fmla="*/ 4098 w 35317"/>
                        <a:gd name="connsiteY197" fmla="*/ 34509 h 37020"/>
                        <a:gd name="connsiteX198" fmla="*/ 4277 w 35317"/>
                        <a:gd name="connsiteY198" fmla="*/ 34688 h 37020"/>
                        <a:gd name="connsiteX199" fmla="*/ 4456 w 35317"/>
                        <a:gd name="connsiteY199" fmla="*/ 34868 h 37020"/>
                        <a:gd name="connsiteX200" fmla="*/ 4636 w 35317"/>
                        <a:gd name="connsiteY200" fmla="*/ 35047 h 37020"/>
                        <a:gd name="connsiteX201" fmla="*/ 5115 w 35317"/>
                        <a:gd name="connsiteY201" fmla="*/ 35047 h 3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35317" h="37020">
                          <a:moveTo>
                            <a:pt x="13069" y="36124"/>
                          </a:moveTo>
                          <a:cubicBezTo>
                            <a:pt x="12351" y="36184"/>
                            <a:pt x="11693" y="36124"/>
                            <a:pt x="10976" y="36064"/>
                          </a:cubicBezTo>
                          <a:cubicBezTo>
                            <a:pt x="10318" y="36004"/>
                            <a:pt x="9660" y="35884"/>
                            <a:pt x="9002" y="35705"/>
                          </a:cubicBezTo>
                          <a:cubicBezTo>
                            <a:pt x="8404" y="35526"/>
                            <a:pt x="7806" y="35346"/>
                            <a:pt x="7208" y="35047"/>
                          </a:cubicBezTo>
                          <a:cubicBezTo>
                            <a:pt x="6610" y="34808"/>
                            <a:pt x="6071" y="34449"/>
                            <a:pt x="5593" y="34090"/>
                          </a:cubicBezTo>
                          <a:cubicBezTo>
                            <a:pt x="5533" y="34030"/>
                            <a:pt x="5473" y="34030"/>
                            <a:pt x="5414" y="33971"/>
                          </a:cubicBezTo>
                          <a:cubicBezTo>
                            <a:pt x="5354" y="33911"/>
                            <a:pt x="5294" y="33851"/>
                            <a:pt x="5234" y="33851"/>
                          </a:cubicBezTo>
                          <a:cubicBezTo>
                            <a:pt x="5174" y="33851"/>
                            <a:pt x="5115" y="33731"/>
                            <a:pt x="5055" y="33731"/>
                          </a:cubicBezTo>
                          <a:cubicBezTo>
                            <a:pt x="4995" y="33671"/>
                            <a:pt x="4935" y="33671"/>
                            <a:pt x="4875" y="33612"/>
                          </a:cubicBezTo>
                          <a:cubicBezTo>
                            <a:pt x="3380" y="32356"/>
                            <a:pt x="2363" y="30741"/>
                            <a:pt x="1706" y="28887"/>
                          </a:cubicBezTo>
                          <a:cubicBezTo>
                            <a:pt x="1048" y="27033"/>
                            <a:pt x="868" y="24940"/>
                            <a:pt x="1048" y="22727"/>
                          </a:cubicBezTo>
                          <a:cubicBezTo>
                            <a:pt x="1227" y="20514"/>
                            <a:pt x="1885" y="18182"/>
                            <a:pt x="2902" y="15909"/>
                          </a:cubicBezTo>
                          <a:cubicBezTo>
                            <a:pt x="3918" y="13636"/>
                            <a:pt x="5354" y="11364"/>
                            <a:pt x="7148" y="9270"/>
                          </a:cubicBezTo>
                          <a:cubicBezTo>
                            <a:pt x="7686" y="8612"/>
                            <a:pt x="8284" y="8014"/>
                            <a:pt x="8882" y="7476"/>
                          </a:cubicBezTo>
                          <a:cubicBezTo>
                            <a:pt x="9480" y="6878"/>
                            <a:pt x="10078" y="6340"/>
                            <a:pt x="10736" y="5861"/>
                          </a:cubicBezTo>
                          <a:cubicBezTo>
                            <a:pt x="11394" y="5383"/>
                            <a:pt x="11992" y="4844"/>
                            <a:pt x="12650" y="4426"/>
                          </a:cubicBezTo>
                          <a:cubicBezTo>
                            <a:pt x="13308" y="4007"/>
                            <a:pt x="13966" y="3589"/>
                            <a:pt x="14684" y="3230"/>
                          </a:cubicBezTo>
                          <a:cubicBezTo>
                            <a:pt x="14743" y="3170"/>
                            <a:pt x="14863" y="3110"/>
                            <a:pt x="14923" y="3110"/>
                          </a:cubicBezTo>
                          <a:cubicBezTo>
                            <a:pt x="14983" y="3050"/>
                            <a:pt x="15102" y="2990"/>
                            <a:pt x="15162" y="2990"/>
                          </a:cubicBezTo>
                          <a:cubicBezTo>
                            <a:pt x="15222" y="2931"/>
                            <a:pt x="15341" y="2931"/>
                            <a:pt x="15401" y="2871"/>
                          </a:cubicBezTo>
                          <a:cubicBezTo>
                            <a:pt x="15461" y="2811"/>
                            <a:pt x="15581" y="2811"/>
                            <a:pt x="15641" y="2751"/>
                          </a:cubicBezTo>
                          <a:cubicBezTo>
                            <a:pt x="15940" y="2572"/>
                            <a:pt x="16299" y="2452"/>
                            <a:pt x="16597" y="2333"/>
                          </a:cubicBezTo>
                          <a:cubicBezTo>
                            <a:pt x="16896" y="2213"/>
                            <a:pt x="17255" y="2093"/>
                            <a:pt x="17554" y="1974"/>
                          </a:cubicBezTo>
                          <a:cubicBezTo>
                            <a:pt x="17854" y="1854"/>
                            <a:pt x="18212" y="1735"/>
                            <a:pt x="18511" y="1675"/>
                          </a:cubicBezTo>
                          <a:cubicBezTo>
                            <a:pt x="18810" y="1555"/>
                            <a:pt x="19169" y="1495"/>
                            <a:pt x="19468" y="1436"/>
                          </a:cubicBezTo>
                          <a:cubicBezTo>
                            <a:pt x="19588" y="1436"/>
                            <a:pt x="19708" y="1376"/>
                            <a:pt x="19827" y="1376"/>
                          </a:cubicBezTo>
                          <a:cubicBezTo>
                            <a:pt x="19947" y="1376"/>
                            <a:pt x="20066" y="1316"/>
                            <a:pt x="20186" y="1316"/>
                          </a:cubicBezTo>
                          <a:cubicBezTo>
                            <a:pt x="20305" y="1316"/>
                            <a:pt x="20425" y="1256"/>
                            <a:pt x="20545" y="1256"/>
                          </a:cubicBezTo>
                          <a:cubicBezTo>
                            <a:pt x="20664" y="1256"/>
                            <a:pt x="20784" y="1196"/>
                            <a:pt x="20903" y="1196"/>
                          </a:cubicBezTo>
                          <a:cubicBezTo>
                            <a:pt x="20963" y="1196"/>
                            <a:pt x="21023" y="1196"/>
                            <a:pt x="21143" y="1136"/>
                          </a:cubicBezTo>
                          <a:cubicBezTo>
                            <a:pt x="21203" y="1136"/>
                            <a:pt x="21262" y="1136"/>
                            <a:pt x="21382" y="1077"/>
                          </a:cubicBezTo>
                          <a:cubicBezTo>
                            <a:pt x="21442" y="1077"/>
                            <a:pt x="21502" y="1077"/>
                            <a:pt x="21621" y="1077"/>
                          </a:cubicBezTo>
                          <a:cubicBezTo>
                            <a:pt x="21741" y="1077"/>
                            <a:pt x="21741" y="1077"/>
                            <a:pt x="21861" y="1077"/>
                          </a:cubicBezTo>
                          <a:cubicBezTo>
                            <a:pt x="22399" y="1017"/>
                            <a:pt x="22877" y="1017"/>
                            <a:pt x="23356" y="957"/>
                          </a:cubicBezTo>
                          <a:cubicBezTo>
                            <a:pt x="23834" y="897"/>
                            <a:pt x="24312" y="957"/>
                            <a:pt x="24791" y="1017"/>
                          </a:cubicBezTo>
                          <a:cubicBezTo>
                            <a:pt x="25270" y="1077"/>
                            <a:pt x="25748" y="1136"/>
                            <a:pt x="26166" y="1256"/>
                          </a:cubicBezTo>
                          <a:cubicBezTo>
                            <a:pt x="26585" y="1376"/>
                            <a:pt x="27064" y="1495"/>
                            <a:pt x="27482" y="1615"/>
                          </a:cubicBezTo>
                          <a:cubicBezTo>
                            <a:pt x="27542" y="1615"/>
                            <a:pt x="27602" y="1675"/>
                            <a:pt x="27662" y="1675"/>
                          </a:cubicBezTo>
                          <a:cubicBezTo>
                            <a:pt x="27722" y="1675"/>
                            <a:pt x="27781" y="1735"/>
                            <a:pt x="27841" y="1735"/>
                          </a:cubicBezTo>
                          <a:cubicBezTo>
                            <a:pt x="27901" y="1735"/>
                            <a:pt x="27961" y="1795"/>
                            <a:pt x="28020" y="1795"/>
                          </a:cubicBezTo>
                          <a:cubicBezTo>
                            <a:pt x="28080" y="1795"/>
                            <a:pt x="28140" y="1854"/>
                            <a:pt x="28200" y="1854"/>
                          </a:cubicBezTo>
                          <a:cubicBezTo>
                            <a:pt x="28379" y="1914"/>
                            <a:pt x="28559" y="2034"/>
                            <a:pt x="28738" y="2093"/>
                          </a:cubicBezTo>
                          <a:cubicBezTo>
                            <a:pt x="28918" y="2213"/>
                            <a:pt x="29097" y="2273"/>
                            <a:pt x="29277" y="2392"/>
                          </a:cubicBezTo>
                          <a:cubicBezTo>
                            <a:pt x="29456" y="2512"/>
                            <a:pt x="29635" y="2632"/>
                            <a:pt x="29815" y="2691"/>
                          </a:cubicBezTo>
                          <a:cubicBezTo>
                            <a:pt x="29994" y="2811"/>
                            <a:pt x="30174" y="2931"/>
                            <a:pt x="30353" y="3050"/>
                          </a:cubicBezTo>
                          <a:cubicBezTo>
                            <a:pt x="30413" y="3110"/>
                            <a:pt x="30473" y="3110"/>
                            <a:pt x="30533" y="3170"/>
                          </a:cubicBezTo>
                          <a:cubicBezTo>
                            <a:pt x="30593" y="3230"/>
                            <a:pt x="30652" y="3230"/>
                            <a:pt x="30712" y="3290"/>
                          </a:cubicBezTo>
                          <a:cubicBezTo>
                            <a:pt x="30772" y="3349"/>
                            <a:pt x="30832" y="3349"/>
                            <a:pt x="30891" y="3409"/>
                          </a:cubicBezTo>
                          <a:cubicBezTo>
                            <a:pt x="30951" y="3469"/>
                            <a:pt x="31011" y="3469"/>
                            <a:pt x="31071" y="3529"/>
                          </a:cubicBezTo>
                          <a:cubicBezTo>
                            <a:pt x="31250" y="3708"/>
                            <a:pt x="31430" y="3828"/>
                            <a:pt x="31609" y="4007"/>
                          </a:cubicBezTo>
                          <a:cubicBezTo>
                            <a:pt x="31788" y="4187"/>
                            <a:pt x="31968" y="4366"/>
                            <a:pt x="32088" y="4545"/>
                          </a:cubicBezTo>
                          <a:cubicBezTo>
                            <a:pt x="32267" y="4725"/>
                            <a:pt x="32387" y="4904"/>
                            <a:pt x="32506" y="5144"/>
                          </a:cubicBezTo>
                          <a:cubicBezTo>
                            <a:pt x="32626" y="5323"/>
                            <a:pt x="32805" y="5562"/>
                            <a:pt x="32925" y="5742"/>
                          </a:cubicBezTo>
                          <a:cubicBezTo>
                            <a:pt x="32985" y="5801"/>
                            <a:pt x="32985" y="5861"/>
                            <a:pt x="33044" y="5921"/>
                          </a:cubicBezTo>
                          <a:cubicBezTo>
                            <a:pt x="33104" y="5981"/>
                            <a:pt x="33104" y="6041"/>
                            <a:pt x="33164" y="6100"/>
                          </a:cubicBezTo>
                          <a:cubicBezTo>
                            <a:pt x="33224" y="6160"/>
                            <a:pt x="33224" y="6220"/>
                            <a:pt x="33284" y="6280"/>
                          </a:cubicBezTo>
                          <a:cubicBezTo>
                            <a:pt x="33343" y="6340"/>
                            <a:pt x="33343" y="6399"/>
                            <a:pt x="33403" y="6459"/>
                          </a:cubicBezTo>
                          <a:cubicBezTo>
                            <a:pt x="33583" y="6818"/>
                            <a:pt x="33762" y="7177"/>
                            <a:pt x="33942" y="7596"/>
                          </a:cubicBezTo>
                          <a:cubicBezTo>
                            <a:pt x="34121" y="7954"/>
                            <a:pt x="34241" y="8373"/>
                            <a:pt x="34360" y="8792"/>
                          </a:cubicBezTo>
                          <a:cubicBezTo>
                            <a:pt x="34480" y="9211"/>
                            <a:pt x="34540" y="9629"/>
                            <a:pt x="34659" y="10048"/>
                          </a:cubicBezTo>
                          <a:cubicBezTo>
                            <a:pt x="34719" y="10466"/>
                            <a:pt x="34779" y="10945"/>
                            <a:pt x="34839" y="11364"/>
                          </a:cubicBezTo>
                          <a:cubicBezTo>
                            <a:pt x="34839" y="11483"/>
                            <a:pt x="34839" y="11603"/>
                            <a:pt x="34839" y="11722"/>
                          </a:cubicBezTo>
                          <a:cubicBezTo>
                            <a:pt x="34839" y="11842"/>
                            <a:pt x="34839" y="11961"/>
                            <a:pt x="34839" y="12081"/>
                          </a:cubicBezTo>
                          <a:cubicBezTo>
                            <a:pt x="34839" y="12201"/>
                            <a:pt x="34839" y="12320"/>
                            <a:pt x="34839" y="12440"/>
                          </a:cubicBezTo>
                          <a:cubicBezTo>
                            <a:pt x="34839" y="12560"/>
                            <a:pt x="34839" y="12679"/>
                            <a:pt x="34839" y="12799"/>
                          </a:cubicBezTo>
                          <a:cubicBezTo>
                            <a:pt x="34839" y="12919"/>
                            <a:pt x="34839" y="13098"/>
                            <a:pt x="34839" y="13218"/>
                          </a:cubicBezTo>
                          <a:cubicBezTo>
                            <a:pt x="34839" y="13337"/>
                            <a:pt x="34839" y="13516"/>
                            <a:pt x="34839" y="13636"/>
                          </a:cubicBezTo>
                          <a:cubicBezTo>
                            <a:pt x="34839" y="13756"/>
                            <a:pt x="34839" y="13935"/>
                            <a:pt x="34839" y="14055"/>
                          </a:cubicBezTo>
                          <a:cubicBezTo>
                            <a:pt x="34839" y="14174"/>
                            <a:pt x="34839" y="14354"/>
                            <a:pt x="34779" y="14474"/>
                          </a:cubicBezTo>
                          <a:cubicBezTo>
                            <a:pt x="34719" y="15311"/>
                            <a:pt x="34540" y="16148"/>
                            <a:pt x="34360" y="16985"/>
                          </a:cubicBezTo>
                          <a:cubicBezTo>
                            <a:pt x="34181" y="17823"/>
                            <a:pt x="33942" y="18660"/>
                            <a:pt x="33642" y="19497"/>
                          </a:cubicBezTo>
                          <a:cubicBezTo>
                            <a:pt x="33343" y="20335"/>
                            <a:pt x="32985" y="21112"/>
                            <a:pt x="32626" y="21950"/>
                          </a:cubicBezTo>
                          <a:cubicBezTo>
                            <a:pt x="32207" y="22787"/>
                            <a:pt x="31788" y="23564"/>
                            <a:pt x="31310" y="24342"/>
                          </a:cubicBezTo>
                          <a:cubicBezTo>
                            <a:pt x="31250" y="24401"/>
                            <a:pt x="31250" y="24461"/>
                            <a:pt x="31190" y="24581"/>
                          </a:cubicBezTo>
                          <a:cubicBezTo>
                            <a:pt x="31131" y="24641"/>
                            <a:pt x="31071" y="24700"/>
                            <a:pt x="31071" y="24820"/>
                          </a:cubicBezTo>
                          <a:cubicBezTo>
                            <a:pt x="31011" y="24880"/>
                            <a:pt x="30951" y="24940"/>
                            <a:pt x="30951" y="25059"/>
                          </a:cubicBezTo>
                          <a:cubicBezTo>
                            <a:pt x="30891" y="25119"/>
                            <a:pt x="30832" y="25179"/>
                            <a:pt x="30832" y="25299"/>
                          </a:cubicBezTo>
                          <a:cubicBezTo>
                            <a:pt x="30652" y="25538"/>
                            <a:pt x="30533" y="25717"/>
                            <a:pt x="30353" y="25956"/>
                          </a:cubicBezTo>
                          <a:cubicBezTo>
                            <a:pt x="30174" y="26196"/>
                            <a:pt x="30054" y="26375"/>
                            <a:pt x="29874" y="26614"/>
                          </a:cubicBezTo>
                          <a:cubicBezTo>
                            <a:pt x="29695" y="26854"/>
                            <a:pt x="29516" y="27033"/>
                            <a:pt x="29336" y="27272"/>
                          </a:cubicBezTo>
                          <a:cubicBezTo>
                            <a:pt x="29157" y="27512"/>
                            <a:pt x="28978" y="27691"/>
                            <a:pt x="28798" y="27930"/>
                          </a:cubicBezTo>
                          <a:cubicBezTo>
                            <a:pt x="28439" y="28349"/>
                            <a:pt x="28020" y="28827"/>
                            <a:pt x="27602" y="29246"/>
                          </a:cubicBezTo>
                          <a:cubicBezTo>
                            <a:pt x="27183" y="29665"/>
                            <a:pt x="26765" y="30083"/>
                            <a:pt x="26346" y="30442"/>
                          </a:cubicBezTo>
                          <a:cubicBezTo>
                            <a:pt x="25927" y="30801"/>
                            <a:pt x="25509" y="31220"/>
                            <a:pt x="25030" y="31578"/>
                          </a:cubicBezTo>
                          <a:cubicBezTo>
                            <a:pt x="24552" y="31937"/>
                            <a:pt x="24133" y="32296"/>
                            <a:pt x="23655" y="32595"/>
                          </a:cubicBezTo>
                          <a:cubicBezTo>
                            <a:pt x="23595" y="32655"/>
                            <a:pt x="23535" y="32715"/>
                            <a:pt x="23416" y="32715"/>
                          </a:cubicBezTo>
                          <a:cubicBezTo>
                            <a:pt x="23356" y="32775"/>
                            <a:pt x="23296" y="32834"/>
                            <a:pt x="23176" y="32834"/>
                          </a:cubicBezTo>
                          <a:cubicBezTo>
                            <a:pt x="23117" y="32894"/>
                            <a:pt x="23057" y="32954"/>
                            <a:pt x="22937" y="32954"/>
                          </a:cubicBezTo>
                          <a:cubicBezTo>
                            <a:pt x="22877" y="33014"/>
                            <a:pt x="22817" y="33074"/>
                            <a:pt x="22698" y="33074"/>
                          </a:cubicBezTo>
                          <a:cubicBezTo>
                            <a:pt x="22219" y="33373"/>
                            <a:pt x="21681" y="33671"/>
                            <a:pt x="21143" y="33971"/>
                          </a:cubicBezTo>
                          <a:cubicBezTo>
                            <a:pt x="20604" y="34270"/>
                            <a:pt x="20126" y="34509"/>
                            <a:pt x="19588" y="34748"/>
                          </a:cubicBezTo>
                          <a:cubicBezTo>
                            <a:pt x="19049" y="34987"/>
                            <a:pt x="18511" y="35167"/>
                            <a:pt x="17973" y="35406"/>
                          </a:cubicBezTo>
                          <a:cubicBezTo>
                            <a:pt x="17435" y="35585"/>
                            <a:pt x="16896" y="35765"/>
                            <a:pt x="16358" y="35884"/>
                          </a:cubicBezTo>
                          <a:cubicBezTo>
                            <a:pt x="16179" y="35944"/>
                            <a:pt x="16059" y="35944"/>
                            <a:pt x="15880" y="36004"/>
                          </a:cubicBezTo>
                          <a:cubicBezTo>
                            <a:pt x="15700" y="36064"/>
                            <a:pt x="15581" y="36064"/>
                            <a:pt x="15401" y="36124"/>
                          </a:cubicBezTo>
                          <a:cubicBezTo>
                            <a:pt x="15222" y="36184"/>
                            <a:pt x="15102" y="36184"/>
                            <a:pt x="14923" y="36184"/>
                          </a:cubicBezTo>
                          <a:cubicBezTo>
                            <a:pt x="14743" y="36184"/>
                            <a:pt x="14624" y="36243"/>
                            <a:pt x="14444" y="36243"/>
                          </a:cubicBezTo>
                          <a:cubicBezTo>
                            <a:pt x="14325" y="36243"/>
                            <a:pt x="14205" y="36303"/>
                            <a:pt x="14086" y="36303"/>
                          </a:cubicBezTo>
                          <a:cubicBezTo>
                            <a:pt x="13966" y="36303"/>
                            <a:pt x="13846" y="36303"/>
                            <a:pt x="13727" y="36363"/>
                          </a:cubicBezTo>
                          <a:cubicBezTo>
                            <a:pt x="13607" y="36363"/>
                            <a:pt x="13487" y="36363"/>
                            <a:pt x="13368" y="36423"/>
                          </a:cubicBezTo>
                          <a:cubicBezTo>
                            <a:pt x="13308" y="36124"/>
                            <a:pt x="13188" y="36124"/>
                            <a:pt x="13069" y="36124"/>
                          </a:cubicBezTo>
                          <a:moveTo>
                            <a:pt x="5115" y="35047"/>
                          </a:moveTo>
                          <a:cubicBezTo>
                            <a:pt x="5713" y="35466"/>
                            <a:pt x="6370" y="35825"/>
                            <a:pt x="7028" y="36124"/>
                          </a:cubicBezTo>
                          <a:cubicBezTo>
                            <a:pt x="7686" y="36423"/>
                            <a:pt x="8404" y="36662"/>
                            <a:pt x="9181" y="36782"/>
                          </a:cubicBezTo>
                          <a:cubicBezTo>
                            <a:pt x="9899" y="36961"/>
                            <a:pt x="10677" y="37021"/>
                            <a:pt x="11514" y="37021"/>
                          </a:cubicBezTo>
                          <a:cubicBezTo>
                            <a:pt x="12291" y="37021"/>
                            <a:pt x="13129" y="37021"/>
                            <a:pt x="13966" y="36901"/>
                          </a:cubicBezTo>
                          <a:cubicBezTo>
                            <a:pt x="14086" y="36901"/>
                            <a:pt x="14205" y="36901"/>
                            <a:pt x="14265" y="36841"/>
                          </a:cubicBezTo>
                          <a:cubicBezTo>
                            <a:pt x="14385" y="36841"/>
                            <a:pt x="14504" y="36782"/>
                            <a:pt x="14564" y="36782"/>
                          </a:cubicBezTo>
                          <a:cubicBezTo>
                            <a:pt x="14624" y="36782"/>
                            <a:pt x="14803" y="36722"/>
                            <a:pt x="14863" y="36722"/>
                          </a:cubicBezTo>
                          <a:cubicBezTo>
                            <a:pt x="14983" y="36722"/>
                            <a:pt x="15102" y="36662"/>
                            <a:pt x="15162" y="36662"/>
                          </a:cubicBezTo>
                          <a:cubicBezTo>
                            <a:pt x="15222" y="36662"/>
                            <a:pt x="15341" y="36602"/>
                            <a:pt x="15401" y="36602"/>
                          </a:cubicBezTo>
                          <a:cubicBezTo>
                            <a:pt x="15461" y="36602"/>
                            <a:pt x="15581" y="36542"/>
                            <a:pt x="15641" y="36542"/>
                          </a:cubicBezTo>
                          <a:cubicBezTo>
                            <a:pt x="15700" y="36542"/>
                            <a:pt x="15820" y="36483"/>
                            <a:pt x="15880" y="36483"/>
                          </a:cubicBezTo>
                          <a:cubicBezTo>
                            <a:pt x="15940" y="36483"/>
                            <a:pt x="16059" y="36423"/>
                            <a:pt x="16119" y="36423"/>
                          </a:cubicBezTo>
                          <a:cubicBezTo>
                            <a:pt x="16717" y="36243"/>
                            <a:pt x="17315" y="36064"/>
                            <a:pt x="17913" y="35884"/>
                          </a:cubicBezTo>
                          <a:cubicBezTo>
                            <a:pt x="18511" y="35705"/>
                            <a:pt x="19109" y="35466"/>
                            <a:pt x="19648" y="35167"/>
                          </a:cubicBezTo>
                          <a:cubicBezTo>
                            <a:pt x="20246" y="34928"/>
                            <a:pt x="20784" y="34629"/>
                            <a:pt x="21382" y="34270"/>
                          </a:cubicBezTo>
                          <a:cubicBezTo>
                            <a:pt x="21980" y="33971"/>
                            <a:pt x="22518" y="33612"/>
                            <a:pt x="23057" y="33253"/>
                          </a:cubicBezTo>
                          <a:cubicBezTo>
                            <a:pt x="23117" y="33193"/>
                            <a:pt x="23176" y="33133"/>
                            <a:pt x="23296" y="33133"/>
                          </a:cubicBezTo>
                          <a:cubicBezTo>
                            <a:pt x="23416" y="33133"/>
                            <a:pt x="23416" y="33014"/>
                            <a:pt x="23535" y="33014"/>
                          </a:cubicBezTo>
                          <a:cubicBezTo>
                            <a:pt x="23595" y="32954"/>
                            <a:pt x="23655" y="32894"/>
                            <a:pt x="23715" y="32894"/>
                          </a:cubicBezTo>
                          <a:cubicBezTo>
                            <a:pt x="23774" y="32834"/>
                            <a:pt x="23834" y="32775"/>
                            <a:pt x="23894" y="32775"/>
                          </a:cubicBezTo>
                          <a:cubicBezTo>
                            <a:pt x="24372" y="32476"/>
                            <a:pt x="24791" y="32116"/>
                            <a:pt x="25210" y="31758"/>
                          </a:cubicBezTo>
                          <a:cubicBezTo>
                            <a:pt x="25628" y="31399"/>
                            <a:pt x="26107" y="31040"/>
                            <a:pt x="26525" y="30621"/>
                          </a:cubicBezTo>
                          <a:cubicBezTo>
                            <a:pt x="26944" y="30262"/>
                            <a:pt x="27363" y="29844"/>
                            <a:pt x="27781" y="29425"/>
                          </a:cubicBezTo>
                          <a:cubicBezTo>
                            <a:pt x="28200" y="29007"/>
                            <a:pt x="28559" y="28588"/>
                            <a:pt x="28978" y="28109"/>
                          </a:cubicBezTo>
                          <a:cubicBezTo>
                            <a:pt x="29157" y="27870"/>
                            <a:pt x="29336" y="27691"/>
                            <a:pt x="29516" y="27452"/>
                          </a:cubicBezTo>
                          <a:cubicBezTo>
                            <a:pt x="29695" y="27213"/>
                            <a:pt x="29874" y="27033"/>
                            <a:pt x="30054" y="26794"/>
                          </a:cubicBezTo>
                          <a:cubicBezTo>
                            <a:pt x="30233" y="26554"/>
                            <a:pt x="30413" y="26375"/>
                            <a:pt x="30533" y="26136"/>
                          </a:cubicBezTo>
                          <a:cubicBezTo>
                            <a:pt x="30652" y="25897"/>
                            <a:pt x="30832" y="25717"/>
                            <a:pt x="31011" y="25478"/>
                          </a:cubicBezTo>
                          <a:cubicBezTo>
                            <a:pt x="31071" y="25418"/>
                            <a:pt x="31131" y="25359"/>
                            <a:pt x="31131" y="25239"/>
                          </a:cubicBezTo>
                          <a:cubicBezTo>
                            <a:pt x="31190" y="25179"/>
                            <a:pt x="31250" y="25119"/>
                            <a:pt x="31250" y="25000"/>
                          </a:cubicBezTo>
                          <a:cubicBezTo>
                            <a:pt x="31310" y="24940"/>
                            <a:pt x="31370" y="24880"/>
                            <a:pt x="31370" y="24760"/>
                          </a:cubicBezTo>
                          <a:cubicBezTo>
                            <a:pt x="31370" y="24641"/>
                            <a:pt x="31489" y="24641"/>
                            <a:pt x="31489" y="24521"/>
                          </a:cubicBezTo>
                          <a:cubicBezTo>
                            <a:pt x="32028" y="23684"/>
                            <a:pt x="32506" y="22846"/>
                            <a:pt x="32925" y="21950"/>
                          </a:cubicBezTo>
                          <a:cubicBezTo>
                            <a:pt x="33343" y="21112"/>
                            <a:pt x="33702" y="20215"/>
                            <a:pt x="34061" y="19318"/>
                          </a:cubicBezTo>
                          <a:cubicBezTo>
                            <a:pt x="34360" y="18421"/>
                            <a:pt x="34659" y="17524"/>
                            <a:pt x="34839" y="16686"/>
                          </a:cubicBezTo>
                          <a:cubicBezTo>
                            <a:pt x="35018" y="15789"/>
                            <a:pt x="35197" y="14892"/>
                            <a:pt x="35317" y="13995"/>
                          </a:cubicBezTo>
                          <a:cubicBezTo>
                            <a:pt x="35317" y="13935"/>
                            <a:pt x="35317" y="13875"/>
                            <a:pt x="35317" y="13815"/>
                          </a:cubicBezTo>
                          <a:cubicBezTo>
                            <a:pt x="35317" y="13756"/>
                            <a:pt x="35317" y="13696"/>
                            <a:pt x="35317" y="13636"/>
                          </a:cubicBezTo>
                          <a:cubicBezTo>
                            <a:pt x="35317" y="13576"/>
                            <a:pt x="35317" y="13516"/>
                            <a:pt x="35317" y="13457"/>
                          </a:cubicBezTo>
                          <a:cubicBezTo>
                            <a:pt x="35317" y="13397"/>
                            <a:pt x="35317" y="13337"/>
                            <a:pt x="35317" y="13277"/>
                          </a:cubicBezTo>
                          <a:cubicBezTo>
                            <a:pt x="35317" y="13158"/>
                            <a:pt x="35317" y="13038"/>
                            <a:pt x="35317" y="12919"/>
                          </a:cubicBezTo>
                          <a:cubicBezTo>
                            <a:pt x="35317" y="12799"/>
                            <a:pt x="35317" y="12679"/>
                            <a:pt x="35317" y="12620"/>
                          </a:cubicBezTo>
                          <a:cubicBezTo>
                            <a:pt x="35317" y="12560"/>
                            <a:pt x="35317" y="12380"/>
                            <a:pt x="35317" y="12320"/>
                          </a:cubicBezTo>
                          <a:cubicBezTo>
                            <a:pt x="35317" y="12201"/>
                            <a:pt x="35317" y="12081"/>
                            <a:pt x="35317" y="12021"/>
                          </a:cubicBezTo>
                          <a:cubicBezTo>
                            <a:pt x="35317" y="11364"/>
                            <a:pt x="35257" y="10766"/>
                            <a:pt x="35197" y="10167"/>
                          </a:cubicBezTo>
                          <a:cubicBezTo>
                            <a:pt x="35138" y="9569"/>
                            <a:pt x="35018" y="8971"/>
                            <a:pt x="34839" y="8433"/>
                          </a:cubicBezTo>
                          <a:cubicBezTo>
                            <a:pt x="34719" y="7895"/>
                            <a:pt x="34540" y="7297"/>
                            <a:pt x="34301" y="6818"/>
                          </a:cubicBezTo>
                          <a:cubicBezTo>
                            <a:pt x="34061" y="6340"/>
                            <a:pt x="33822" y="5801"/>
                            <a:pt x="33583" y="5323"/>
                          </a:cubicBezTo>
                          <a:cubicBezTo>
                            <a:pt x="33523" y="5263"/>
                            <a:pt x="33523" y="5203"/>
                            <a:pt x="33463" y="5144"/>
                          </a:cubicBezTo>
                          <a:cubicBezTo>
                            <a:pt x="33403" y="5084"/>
                            <a:pt x="33403" y="5024"/>
                            <a:pt x="33343" y="4964"/>
                          </a:cubicBezTo>
                          <a:cubicBezTo>
                            <a:pt x="33284" y="4904"/>
                            <a:pt x="33284" y="4844"/>
                            <a:pt x="33224" y="4785"/>
                          </a:cubicBezTo>
                          <a:cubicBezTo>
                            <a:pt x="33164" y="4725"/>
                            <a:pt x="33164" y="4665"/>
                            <a:pt x="33104" y="4605"/>
                          </a:cubicBezTo>
                          <a:cubicBezTo>
                            <a:pt x="32985" y="4426"/>
                            <a:pt x="32865" y="4246"/>
                            <a:pt x="32745" y="4067"/>
                          </a:cubicBezTo>
                          <a:cubicBezTo>
                            <a:pt x="32626" y="3888"/>
                            <a:pt x="32447" y="3708"/>
                            <a:pt x="32327" y="3589"/>
                          </a:cubicBezTo>
                          <a:cubicBezTo>
                            <a:pt x="32207" y="3409"/>
                            <a:pt x="32028" y="3290"/>
                            <a:pt x="31908" y="3110"/>
                          </a:cubicBezTo>
                          <a:cubicBezTo>
                            <a:pt x="31788" y="2931"/>
                            <a:pt x="31609" y="2811"/>
                            <a:pt x="31430" y="2691"/>
                          </a:cubicBezTo>
                          <a:cubicBezTo>
                            <a:pt x="31370" y="2632"/>
                            <a:pt x="31310" y="2572"/>
                            <a:pt x="31250" y="2572"/>
                          </a:cubicBezTo>
                          <a:cubicBezTo>
                            <a:pt x="31190" y="2572"/>
                            <a:pt x="31131" y="2452"/>
                            <a:pt x="31071" y="2452"/>
                          </a:cubicBezTo>
                          <a:cubicBezTo>
                            <a:pt x="31011" y="2392"/>
                            <a:pt x="30951" y="2333"/>
                            <a:pt x="30891" y="2333"/>
                          </a:cubicBezTo>
                          <a:cubicBezTo>
                            <a:pt x="30832" y="2333"/>
                            <a:pt x="30772" y="2273"/>
                            <a:pt x="30712" y="2213"/>
                          </a:cubicBezTo>
                          <a:cubicBezTo>
                            <a:pt x="30533" y="2093"/>
                            <a:pt x="30353" y="1974"/>
                            <a:pt x="30174" y="1854"/>
                          </a:cubicBezTo>
                          <a:cubicBezTo>
                            <a:pt x="29994" y="1735"/>
                            <a:pt x="29815" y="1615"/>
                            <a:pt x="29576" y="1495"/>
                          </a:cubicBezTo>
                          <a:cubicBezTo>
                            <a:pt x="29336" y="1376"/>
                            <a:pt x="29157" y="1256"/>
                            <a:pt x="28978" y="1196"/>
                          </a:cubicBezTo>
                          <a:cubicBezTo>
                            <a:pt x="28798" y="1077"/>
                            <a:pt x="28559" y="1017"/>
                            <a:pt x="28379" y="897"/>
                          </a:cubicBezTo>
                          <a:cubicBezTo>
                            <a:pt x="28320" y="897"/>
                            <a:pt x="28260" y="837"/>
                            <a:pt x="28200" y="837"/>
                          </a:cubicBezTo>
                          <a:cubicBezTo>
                            <a:pt x="28140" y="837"/>
                            <a:pt x="28080" y="778"/>
                            <a:pt x="28020" y="778"/>
                          </a:cubicBezTo>
                          <a:cubicBezTo>
                            <a:pt x="27961" y="778"/>
                            <a:pt x="27901" y="718"/>
                            <a:pt x="27841" y="718"/>
                          </a:cubicBezTo>
                          <a:cubicBezTo>
                            <a:pt x="27781" y="718"/>
                            <a:pt x="27722" y="658"/>
                            <a:pt x="27662" y="658"/>
                          </a:cubicBezTo>
                          <a:cubicBezTo>
                            <a:pt x="27243" y="538"/>
                            <a:pt x="26825" y="419"/>
                            <a:pt x="26346" y="299"/>
                          </a:cubicBezTo>
                          <a:cubicBezTo>
                            <a:pt x="25868" y="180"/>
                            <a:pt x="25449" y="120"/>
                            <a:pt x="24971" y="60"/>
                          </a:cubicBezTo>
                          <a:cubicBezTo>
                            <a:pt x="24492" y="0"/>
                            <a:pt x="24014" y="0"/>
                            <a:pt x="23535" y="0"/>
                          </a:cubicBezTo>
                          <a:cubicBezTo>
                            <a:pt x="23057" y="0"/>
                            <a:pt x="22518" y="0"/>
                            <a:pt x="22040" y="60"/>
                          </a:cubicBezTo>
                          <a:cubicBezTo>
                            <a:pt x="21980" y="60"/>
                            <a:pt x="21920" y="60"/>
                            <a:pt x="21801" y="60"/>
                          </a:cubicBezTo>
                          <a:cubicBezTo>
                            <a:pt x="21681" y="60"/>
                            <a:pt x="21681" y="60"/>
                            <a:pt x="21562" y="60"/>
                          </a:cubicBezTo>
                          <a:cubicBezTo>
                            <a:pt x="21502" y="60"/>
                            <a:pt x="21442" y="60"/>
                            <a:pt x="21322" y="60"/>
                          </a:cubicBezTo>
                          <a:cubicBezTo>
                            <a:pt x="21203" y="60"/>
                            <a:pt x="21203" y="60"/>
                            <a:pt x="21083" y="120"/>
                          </a:cubicBezTo>
                          <a:cubicBezTo>
                            <a:pt x="20963" y="120"/>
                            <a:pt x="20784" y="180"/>
                            <a:pt x="20664" y="180"/>
                          </a:cubicBezTo>
                          <a:cubicBezTo>
                            <a:pt x="20545" y="180"/>
                            <a:pt x="20365" y="239"/>
                            <a:pt x="20246" y="239"/>
                          </a:cubicBezTo>
                          <a:cubicBezTo>
                            <a:pt x="20126" y="239"/>
                            <a:pt x="19947" y="299"/>
                            <a:pt x="19827" y="299"/>
                          </a:cubicBezTo>
                          <a:cubicBezTo>
                            <a:pt x="19708" y="299"/>
                            <a:pt x="19528" y="359"/>
                            <a:pt x="19408" y="419"/>
                          </a:cubicBezTo>
                          <a:cubicBezTo>
                            <a:pt x="19109" y="479"/>
                            <a:pt x="18810" y="538"/>
                            <a:pt x="18511" y="658"/>
                          </a:cubicBezTo>
                          <a:cubicBezTo>
                            <a:pt x="18212" y="718"/>
                            <a:pt x="17913" y="837"/>
                            <a:pt x="17614" y="957"/>
                          </a:cubicBezTo>
                          <a:cubicBezTo>
                            <a:pt x="17315" y="1077"/>
                            <a:pt x="17016" y="1136"/>
                            <a:pt x="16777" y="1256"/>
                          </a:cubicBezTo>
                          <a:cubicBezTo>
                            <a:pt x="16478" y="1376"/>
                            <a:pt x="16179" y="1495"/>
                            <a:pt x="15940" y="1615"/>
                          </a:cubicBezTo>
                          <a:cubicBezTo>
                            <a:pt x="15880" y="1675"/>
                            <a:pt x="15760" y="1675"/>
                            <a:pt x="15700" y="1735"/>
                          </a:cubicBezTo>
                          <a:cubicBezTo>
                            <a:pt x="15641" y="1795"/>
                            <a:pt x="15521" y="1795"/>
                            <a:pt x="15461" y="1854"/>
                          </a:cubicBezTo>
                          <a:cubicBezTo>
                            <a:pt x="15401" y="1914"/>
                            <a:pt x="15282" y="1914"/>
                            <a:pt x="15222" y="1974"/>
                          </a:cubicBezTo>
                          <a:cubicBezTo>
                            <a:pt x="15162" y="2034"/>
                            <a:pt x="15042" y="2034"/>
                            <a:pt x="14983" y="2093"/>
                          </a:cubicBezTo>
                          <a:cubicBezTo>
                            <a:pt x="14205" y="2452"/>
                            <a:pt x="13428" y="2931"/>
                            <a:pt x="12710" y="3409"/>
                          </a:cubicBezTo>
                          <a:cubicBezTo>
                            <a:pt x="11932" y="3888"/>
                            <a:pt x="11215" y="4426"/>
                            <a:pt x="10497" y="4964"/>
                          </a:cubicBezTo>
                          <a:cubicBezTo>
                            <a:pt x="9779" y="5503"/>
                            <a:pt x="9062" y="6160"/>
                            <a:pt x="8404" y="6818"/>
                          </a:cubicBezTo>
                          <a:cubicBezTo>
                            <a:pt x="7746" y="7476"/>
                            <a:pt x="7088" y="8134"/>
                            <a:pt x="6430" y="8912"/>
                          </a:cubicBezTo>
                          <a:cubicBezTo>
                            <a:pt x="4516" y="11124"/>
                            <a:pt x="3081" y="13516"/>
                            <a:pt x="2004" y="15909"/>
                          </a:cubicBezTo>
                          <a:cubicBezTo>
                            <a:pt x="928" y="18301"/>
                            <a:pt x="270" y="20753"/>
                            <a:pt x="91" y="23086"/>
                          </a:cubicBezTo>
                          <a:cubicBezTo>
                            <a:pt x="-148" y="25418"/>
                            <a:pt x="91" y="27631"/>
                            <a:pt x="748" y="29545"/>
                          </a:cubicBezTo>
                          <a:cubicBezTo>
                            <a:pt x="1407" y="31519"/>
                            <a:pt x="2543" y="33193"/>
                            <a:pt x="4098" y="34509"/>
                          </a:cubicBezTo>
                          <a:cubicBezTo>
                            <a:pt x="4157" y="34569"/>
                            <a:pt x="4217" y="34629"/>
                            <a:pt x="4277" y="34688"/>
                          </a:cubicBezTo>
                          <a:cubicBezTo>
                            <a:pt x="4337" y="34748"/>
                            <a:pt x="4397" y="34808"/>
                            <a:pt x="4456" y="34868"/>
                          </a:cubicBezTo>
                          <a:cubicBezTo>
                            <a:pt x="4516" y="34928"/>
                            <a:pt x="4576" y="34987"/>
                            <a:pt x="4636" y="35047"/>
                          </a:cubicBezTo>
                          <a:cubicBezTo>
                            <a:pt x="4995" y="34928"/>
                            <a:pt x="5055" y="34987"/>
                            <a:pt x="5115" y="35047"/>
                          </a:cubicBezTo>
                        </a:path>
                      </a:pathLst>
                    </a:custGeom>
                    <a:noFill/>
                    <a:ln w="6350" cap="flat">
                      <a:solidFill>
                        <a:schemeClr val="bg1">
                          <a:alpha val="80000"/>
                        </a:schemeClr>
                      </a:solidFill>
                      <a:prstDash val="solid"/>
                      <a:miter/>
                    </a:ln>
                  </p:spPr>
                  <p:txBody>
                    <a:bodyPr rtlCol="0" anchor="ctr"/>
                    <a:lstStyle/>
                    <a:p>
                      <a:endParaRPr lang="en-GB"/>
                    </a:p>
                  </p:txBody>
                </p:sp>
                <p:sp>
                  <p:nvSpPr>
                    <p:cNvPr id="7417" name="Vrije vorm: vorm 7416">
                      <a:extLst>
                        <a:ext uri="{FF2B5EF4-FFF2-40B4-BE49-F238E27FC236}">
                          <a16:creationId xmlns:a16="http://schemas.microsoft.com/office/drawing/2014/main" id="{788B6ED8-E857-45A7-B99D-5420CFB40A06}"/>
                        </a:ext>
                      </a:extLst>
                    </p:cNvPr>
                    <p:cNvSpPr/>
                    <p:nvPr/>
                  </p:nvSpPr>
                  <p:spPr>
                    <a:xfrm>
                      <a:off x="5294902" y="5392990"/>
                      <a:ext cx="29993" cy="31332"/>
                    </a:xfrm>
                    <a:custGeom>
                      <a:avLst/>
                      <a:gdLst>
                        <a:gd name="connsiteX0" fmla="*/ 11573 w 29993"/>
                        <a:gd name="connsiteY0" fmla="*/ 30189 h 31332"/>
                        <a:gd name="connsiteX1" fmla="*/ 9779 w 29993"/>
                        <a:gd name="connsiteY1" fmla="*/ 30189 h 31332"/>
                        <a:gd name="connsiteX2" fmla="*/ 8044 w 29993"/>
                        <a:gd name="connsiteY2" fmla="*/ 29949 h 31332"/>
                        <a:gd name="connsiteX3" fmla="*/ 6429 w 29993"/>
                        <a:gd name="connsiteY3" fmla="*/ 29411 h 31332"/>
                        <a:gd name="connsiteX4" fmla="*/ 4934 w 29993"/>
                        <a:gd name="connsiteY4" fmla="*/ 28574 h 31332"/>
                        <a:gd name="connsiteX5" fmla="*/ 4396 w 29993"/>
                        <a:gd name="connsiteY5" fmla="*/ 28155 h 31332"/>
                        <a:gd name="connsiteX6" fmla="*/ 2841 w 29993"/>
                        <a:gd name="connsiteY6" fmla="*/ 26421 h 31332"/>
                        <a:gd name="connsiteX7" fmla="*/ 1764 w 29993"/>
                        <a:gd name="connsiteY7" fmla="*/ 24328 h 31332"/>
                        <a:gd name="connsiteX8" fmla="*/ 1226 w 29993"/>
                        <a:gd name="connsiteY8" fmla="*/ 21875 h 31332"/>
                        <a:gd name="connsiteX9" fmla="*/ 1226 w 29993"/>
                        <a:gd name="connsiteY9" fmla="*/ 19124 h 31332"/>
                        <a:gd name="connsiteX10" fmla="*/ 1764 w 29993"/>
                        <a:gd name="connsiteY10" fmla="*/ 16253 h 31332"/>
                        <a:gd name="connsiteX11" fmla="*/ 2781 w 29993"/>
                        <a:gd name="connsiteY11" fmla="*/ 13383 h 31332"/>
                        <a:gd name="connsiteX12" fmla="*/ 4276 w 29993"/>
                        <a:gd name="connsiteY12" fmla="*/ 10572 h 31332"/>
                        <a:gd name="connsiteX13" fmla="*/ 6250 w 29993"/>
                        <a:gd name="connsiteY13" fmla="*/ 7940 h 31332"/>
                        <a:gd name="connsiteX14" fmla="*/ 7745 w 29993"/>
                        <a:gd name="connsiteY14" fmla="*/ 6326 h 31332"/>
                        <a:gd name="connsiteX15" fmla="*/ 9360 w 29993"/>
                        <a:gd name="connsiteY15" fmla="*/ 4890 h 31332"/>
                        <a:gd name="connsiteX16" fmla="*/ 11034 w 29993"/>
                        <a:gd name="connsiteY16" fmla="*/ 3694 h 31332"/>
                        <a:gd name="connsiteX17" fmla="*/ 12769 w 29993"/>
                        <a:gd name="connsiteY17" fmla="*/ 2677 h 31332"/>
                        <a:gd name="connsiteX18" fmla="*/ 13128 w 29993"/>
                        <a:gd name="connsiteY18" fmla="*/ 2498 h 31332"/>
                        <a:gd name="connsiteX19" fmla="*/ 13487 w 29993"/>
                        <a:gd name="connsiteY19" fmla="*/ 2318 h 31332"/>
                        <a:gd name="connsiteX20" fmla="*/ 13845 w 29993"/>
                        <a:gd name="connsiteY20" fmla="*/ 2139 h 31332"/>
                        <a:gd name="connsiteX21" fmla="*/ 14204 w 29993"/>
                        <a:gd name="connsiteY21" fmla="*/ 1959 h 31332"/>
                        <a:gd name="connsiteX22" fmla="*/ 14802 w 29993"/>
                        <a:gd name="connsiteY22" fmla="*/ 1720 h 31332"/>
                        <a:gd name="connsiteX23" fmla="*/ 15400 w 29993"/>
                        <a:gd name="connsiteY23" fmla="*/ 1541 h 31332"/>
                        <a:gd name="connsiteX24" fmla="*/ 15998 w 29993"/>
                        <a:gd name="connsiteY24" fmla="*/ 1361 h 31332"/>
                        <a:gd name="connsiteX25" fmla="*/ 16597 w 29993"/>
                        <a:gd name="connsiteY25" fmla="*/ 1182 h 31332"/>
                        <a:gd name="connsiteX26" fmla="*/ 16836 w 29993"/>
                        <a:gd name="connsiteY26" fmla="*/ 1122 h 31332"/>
                        <a:gd name="connsiteX27" fmla="*/ 17075 w 29993"/>
                        <a:gd name="connsiteY27" fmla="*/ 1063 h 31332"/>
                        <a:gd name="connsiteX28" fmla="*/ 17314 w 29993"/>
                        <a:gd name="connsiteY28" fmla="*/ 1003 h 31332"/>
                        <a:gd name="connsiteX29" fmla="*/ 17553 w 29993"/>
                        <a:gd name="connsiteY29" fmla="*/ 943 h 31332"/>
                        <a:gd name="connsiteX30" fmla="*/ 19049 w 29993"/>
                        <a:gd name="connsiteY30" fmla="*/ 764 h 31332"/>
                        <a:gd name="connsiteX31" fmla="*/ 20484 w 29993"/>
                        <a:gd name="connsiteY31" fmla="*/ 764 h 31332"/>
                        <a:gd name="connsiteX32" fmla="*/ 21860 w 29993"/>
                        <a:gd name="connsiteY32" fmla="*/ 943 h 31332"/>
                        <a:gd name="connsiteX33" fmla="*/ 23175 w 29993"/>
                        <a:gd name="connsiteY33" fmla="*/ 1361 h 31332"/>
                        <a:gd name="connsiteX34" fmla="*/ 23355 w 29993"/>
                        <a:gd name="connsiteY34" fmla="*/ 1421 h 31332"/>
                        <a:gd name="connsiteX35" fmla="*/ 23534 w 29993"/>
                        <a:gd name="connsiteY35" fmla="*/ 1481 h 31332"/>
                        <a:gd name="connsiteX36" fmla="*/ 23714 w 29993"/>
                        <a:gd name="connsiteY36" fmla="*/ 1541 h 31332"/>
                        <a:gd name="connsiteX37" fmla="*/ 23893 w 29993"/>
                        <a:gd name="connsiteY37" fmla="*/ 1601 h 31332"/>
                        <a:gd name="connsiteX38" fmla="*/ 24252 w 29993"/>
                        <a:gd name="connsiteY38" fmla="*/ 1780 h 31332"/>
                        <a:gd name="connsiteX39" fmla="*/ 24611 w 29993"/>
                        <a:gd name="connsiteY39" fmla="*/ 1959 h 31332"/>
                        <a:gd name="connsiteX40" fmla="*/ 24969 w 29993"/>
                        <a:gd name="connsiteY40" fmla="*/ 2199 h 31332"/>
                        <a:gd name="connsiteX41" fmla="*/ 25268 w 29993"/>
                        <a:gd name="connsiteY41" fmla="*/ 2438 h 31332"/>
                        <a:gd name="connsiteX42" fmla="*/ 25807 w 29993"/>
                        <a:gd name="connsiteY42" fmla="*/ 2917 h 31332"/>
                        <a:gd name="connsiteX43" fmla="*/ 26106 w 29993"/>
                        <a:gd name="connsiteY43" fmla="*/ 3215 h 31332"/>
                        <a:gd name="connsiteX44" fmla="*/ 26405 w 29993"/>
                        <a:gd name="connsiteY44" fmla="*/ 3514 h 31332"/>
                        <a:gd name="connsiteX45" fmla="*/ 26704 w 29993"/>
                        <a:gd name="connsiteY45" fmla="*/ 3813 h 31332"/>
                        <a:gd name="connsiteX46" fmla="*/ 26943 w 29993"/>
                        <a:gd name="connsiteY46" fmla="*/ 4173 h 31332"/>
                        <a:gd name="connsiteX47" fmla="*/ 27122 w 29993"/>
                        <a:gd name="connsiteY47" fmla="*/ 4412 h 31332"/>
                        <a:gd name="connsiteX48" fmla="*/ 27302 w 29993"/>
                        <a:gd name="connsiteY48" fmla="*/ 4651 h 31332"/>
                        <a:gd name="connsiteX49" fmla="*/ 27481 w 29993"/>
                        <a:gd name="connsiteY49" fmla="*/ 4890 h 31332"/>
                        <a:gd name="connsiteX50" fmla="*/ 27661 w 29993"/>
                        <a:gd name="connsiteY50" fmla="*/ 5129 h 31332"/>
                        <a:gd name="connsiteX51" fmla="*/ 28139 w 29993"/>
                        <a:gd name="connsiteY51" fmla="*/ 6146 h 31332"/>
                        <a:gd name="connsiteX52" fmla="*/ 28498 w 29993"/>
                        <a:gd name="connsiteY52" fmla="*/ 7222 h 31332"/>
                        <a:gd name="connsiteX53" fmla="*/ 28737 w 29993"/>
                        <a:gd name="connsiteY53" fmla="*/ 8359 h 31332"/>
                        <a:gd name="connsiteX54" fmla="*/ 28857 w 29993"/>
                        <a:gd name="connsiteY54" fmla="*/ 9615 h 31332"/>
                        <a:gd name="connsiteX55" fmla="*/ 28857 w 29993"/>
                        <a:gd name="connsiteY55" fmla="*/ 9854 h 31332"/>
                        <a:gd name="connsiteX56" fmla="*/ 28857 w 29993"/>
                        <a:gd name="connsiteY56" fmla="*/ 10093 h 31332"/>
                        <a:gd name="connsiteX57" fmla="*/ 28857 w 29993"/>
                        <a:gd name="connsiteY57" fmla="*/ 10333 h 31332"/>
                        <a:gd name="connsiteX58" fmla="*/ 28857 w 29993"/>
                        <a:gd name="connsiteY58" fmla="*/ 10572 h 31332"/>
                        <a:gd name="connsiteX59" fmla="*/ 28857 w 29993"/>
                        <a:gd name="connsiteY59" fmla="*/ 10871 h 31332"/>
                        <a:gd name="connsiteX60" fmla="*/ 28857 w 29993"/>
                        <a:gd name="connsiteY60" fmla="*/ 11170 h 31332"/>
                        <a:gd name="connsiteX61" fmla="*/ 28857 w 29993"/>
                        <a:gd name="connsiteY61" fmla="*/ 11469 h 31332"/>
                        <a:gd name="connsiteX62" fmla="*/ 28857 w 29993"/>
                        <a:gd name="connsiteY62" fmla="*/ 11768 h 31332"/>
                        <a:gd name="connsiteX63" fmla="*/ 28558 w 29993"/>
                        <a:gd name="connsiteY63" fmla="*/ 13682 h 31332"/>
                        <a:gd name="connsiteX64" fmla="*/ 28020 w 29993"/>
                        <a:gd name="connsiteY64" fmla="*/ 15596 h 31332"/>
                        <a:gd name="connsiteX65" fmla="*/ 27302 w 29993"/>
                        <a:gd name="connsiteY65" fmla="*/ 17450 h 31332"/>
                        <a:gd name="connsiteX66" fmla="*/ 26345 w 29993"/>
                        <a:gd name="connsiteY66" fmla="*/ 19304 h 31332"/>
                        <a:gd name="connsiteX67" fmla="*/ 26226 w 29993"/>
                        <a:gd name="connsiteY67" fmla="*/ 19543 h 31332"/>
                        <a:gd name="connsiteX68" fmla="*/ 26106 w 29993"/>
                        <a:gd name="connsiteY68" fmla="*/ 19782 h 31332"/>
                        <a:gd name="connsiteX69" fmla="*/ 25986 w 29993"/>
                        <a:gd name="connsiteY69" fmla="*/ 20021 h 31332"/>
                        <a:gd name="connsiteX70" fmla="*/ 25867 w 29993"/>
                        <a:gd name="connsiteY70" fmla="*/ 20260 h 31332"/>
                        <a:gd name="connsiteX71" fmla="*/ 25388 w 29993"/>
                        <a:gd name="connsiteY71" fmla="*/ 20919 h 31332"/>
                        <a:gd name="connsiteX72" fmla="*/ 24910 w 29993"/>
                        <a:gd name="connsiteY72" fmla="*/ 21576 h 31332"/>
                        <a:gd name="connsiteX73" fmla="*/ 24431 w 29993"/>
                        <a:gd name="connsiteY73" fmla="*/ 22234 h 31332"/>
                        <a:gd name="connsiteX74" fmla="*/ 23893 w 29993"/>
                        <a:gd name="connsiteY74" fmla="*/ 22892 h 31332"/>
                        <a:gd name="connsiteX75" fmla="*/ 22697 w 29993"/>
                        <a:gd name="connsiteY75" fmla="*/ 24208 h 31332"/>
                        <a:gd name="connsiteX76" fmla="*/ 21381 w 29993"/>
                        <a:gd name="connsiteY76" fmla="*/ 25404 h 31332"/>
                        <a:gd name="connsiteX77" fmla="*/ 20065 w 29993"/>
                        <a:gd name="connsiteY77" fmla="*/ 26481 h 31332"/>
                        <a:gd name="connsiteX78" fmla="*/ 18690 w 29993"/>
                        <a:gd name="connsiteY78" fmla="*/ 27377 h 31332"/>
                        <a:gd name="connsiteX79" fmla="*/ 18451 w 29993"/>
                        <a:gd name="connsiteY79" fmla="*/ 27497 h 31332"/>
                        <a:gd name="connsiteX80" fmla="*/ 18211 w 29993"/>
                        <a:gd name="connsiteY80" fmla="*/ 27617 h 31332"/>
                        <a:gd name="connsiteX81" fmla="*/ 17972 w 29993"/>
                        <a:gd name="connsiteY81" fmla="*/ 27736 h 31332"/>
                        <a:gd name="connsiteX82" fmla="*/ 17733 w 29993"/>
                        <a:gd name="connsiteY82" fmla="*/ 27856 h 31332"/>
                        <a:gd name="connsiteX83" fmla="*/ 16417 w 29993"/>
                        <a:gd name="connsiteY83" fmla="*/ 28514 h 31332"/>
                        <a:gd name="connsiteX84" fmla="*/ 15101 w 29993"/>
                        <a:gd name="connsiteY84" fmla="*/ 29052 h 31332"/>
                        <a:gd name="connsiteX85" fmla="*/ 13786 w 29993"/>
                        <a:gd name="connsiteY85" fmla="*/ 29471 h 31332"/>
                        <a:gd name="connsiteX86" fmla="*/ 12470 w 29993"/>
                        <a:gd name="connsiteY86" fmla="*/ 29770 h 31332"/>
                        <a:gd name="connsiteX87" fmla="*/ 12230 w 29993"/>
                        <a:gd name="connsiteY87" fmla="*/ 29830 h 31332"/>
                        <a:gd name="connsiteX88" fmla="*/ 11991 w 29993"/>
                        <a:gd name="connsiteY88" fmla="*/ 29890 h 31332"/>
                        <a:gd name="connsiteX89" fmla="*/ 11752 w 29993"/>
                        <a:gd name="connsiteY89" fmla="*/ 29949 h 31332"/>
                        <a:gd name="connsiteX90" fmla="*/ 11573 w 29993"/>
                        <a:gd name="connsiteY90" fmla="*/ 30189 h 31332"/>
                        <a:gd name="connsiteX91" fmla="*/ 4336 w 29993"/>
                        <a:gd name="connsiteY91" fmla="*/ 28275 h 31332"/>
                        <a:gd name="connsiteX92" fmla="*/ 4934 w 29993"/>
                        <a:gd name="connsiteY92" fmla="*/ 28693 h 31332"/>
                        <a:gd name="connsiteX93" fmla="*/ 6848 w 29993"/>
                        <a:gd name="connsiteY93" fmla="*/ 29710 h 31332"/>
                        <a:gd name="connsiteX94" fmla="*/ 9001 w 29993"/>
                        <a:gd name="connsiteY94" fmla="*/ 30248 h 31332"/>
                        <a:gd name="connsiteX95" fmla="*/ 11334 w 29993"/>
                        <a:gd name="connsiteY95" fmla="*/ 30308 h 31332"/>
                        <a:gd name="connsiteX96" fmla="*/ 13845 w 29993"/>
                        <a:gd name="connsiteY96" fmla="*/ 29890 h 31332"/>
                        <a:gd name="connsiteX97" fmla="*/ 16597 w 29993"/>
                        <a:gd name="connsiteY97" fmla="*/ 28933 h 31332"/>
                        <a:gd name="connsiteX98" fmla="*/ 19228 w 29993"/>
                        <a:gd name="connsiteY98" fmla="*/ 27497 h 31332"/>
                        <a:gd name="connsiteX99" fmla="*/ 21740 w 29993"/>
                        <a:gd name="connsiteY99" fmla="*/ 25583 h 31332"/>
                        <a:gd name="connsiteX100" fmla="*/ 24013 w 29993"/>
                        <a:gd name="connsiteY100" fmla="*/ 23251 h 31332"/>
                        <a:gd name="connsiteX101" fmla="*/ 25986 w 29993"/>
                        <a:gd name="connsiteY101" fmla="*/ 20620 h 31332"/>
                        <a:gd name="connsiteX102" fmla="*/ 27481 w 29993"/>
                        <a:gd name="connsiteY102" fmla="*/ 17868 h 31332"/>
                        <a:gd name="connsiteX103" fmla="*/ 28558 w 29993"/>
                        <a:gd name="connsiteY103" fmla="*/ 14998 h 31332"/>
                        <a:gd name="connsiteX104" fmla="*/ 29096 w 29993"/>
                        <a:gd name="connsiteY104" fmla="*/ 12127 h 31332"/>
                        <a:gd name="connsiteX105" fmla="*/ 29096 w 29993"/>
                        <a:gd name="connsiteY105" fmla="*/ 9376 h 31332"/>
                        <a:gd name="connsiteX106" fmla="*/ 28558 w 29993"/>
                        <a:gd name="connsiteY106" fmla="*/ 6923 h 31332"/>
                        <a:gd name="connsiteX107" fmla="*/ 27541 w 29993"/>
                        <a:gd name="connsiteY107" fmla="*/ 4771 h 31332"/>
                        <a:gd name="connsiteX108" fmla="*/ 26046 w 29993"/>
                        <a:gd name="connsiteY108" fmla="*/ 2976 h 31332"/>
                        <a:gd name="connsiteX109" fmla="*/ 25927 w 29993"/>
                        <a:gd name="connsiteY109" fmla="*/ 2857 h 31332"/>
                        <a:gd name="connsiteX110" fmla="*/ 25807 w 29993"/>
                        <a:gd name="connsiteY110" fmla="*/ 2737 h 31332"/>
                        <a:gd name="connsiteX111" fmla="*/ 25687 w 29993"/>
                        <a:gd name="connsiteY111" fmla="*/ 2618 h 31332"/>
                        <a:gd name="connsiteX112" fmla="*/ 25568 w 29993"/>
                        <a:gd name="connsiteY112" fmla="*/ 2498 h 31332"/>
                        <a:gd name="connsiteX113" fmla="*/ 23654 w 29993"/>
                        <a:gd name="connsiteY113" fmla="*/ 1421 h 31332"/>
                        <a:gd name="connsiteX114" fmla="*/ 21501 w 29993"/>
                        <a:gd name="connsiteY114" fmla="*/ 823 h 31332"/>
                        <a:gd name="connsiteX115" fmla="*/ 19108 w 29993"/>
                        <a:gd name="connsiteY115" fmla="*/ 704 h 31332"/>
                        <a:gd name="connsiteX116" fmla="*/ 16537 w 29993"/>
                        <a:gd name="connsiteY116" fmla="*/ 1122 h 31332"/>
                        <a:gd name="connsiteX117" fmla="*/ 13726 w 29993"/>
                        <a:gd name="connsiteY117" fmla="*/ 2079 h 31332"/>
                        <a:gd name="connsiteX118" fmla="*/ 11034 w 29993"/>
                        <a:gd name="connsiteY118" fmla="*/ 3514 h 31332"/>
                        <a:gd name="connsiteX119" fmla="*/ 8522 w 29993"/>
                        <a:gd name="connsiteY119" fmla="*/ 5428 h 31332"/>
                        <a:gd name="connsiteX120" fmla="*/ 6190 w 29993"/>
                        <a:gd name="connsiteY120" fmla="*/ 7761 h 31332"/>
                        <a:gd name="connsiteX121" fmla="*/ 2661 w 29993"/>
                        <a:gd name="connsiteY121" fmla="*/ 13323 h 31332"/>
                        <a:gd name="connsiteX122" fmla="*/ 1106 w 29993"/>
                        <a:gd name="connsiteY122" fmla="*/ 19005 h 31332"/>
                        <a:gd name="connsiteX123" fmla="*/ 1645 w 29993"/>
                        <a:gd name="connsiteY123" fmla="*/ 24148 h 31332"/>
                        <a:gd name="connsiteX124" fmla="*/ 4336 w 29993"/>
                        <a:gd name="connsiteY124" fmla="*/ 28275 h 31332"/>
                        <a:gd name="connsiteX125" fmla="*/ 26106 w 29993"/>
                        <a:gd name="connsiteY125" fmla="*/ 1780 h 31332"/>
                        <a:gd name="connsiteX126" fmla="*/ 26704 w 29993"/>
                        <a:gd name="connsiteY126" fmla="*/ 2259 h 31332"/>
                        <a:gd name="connsiteX127" fmla="*/ 28319 w 29993"/>
                        <a:gd name="connsiteY127" fmla="*/ 4113 h 31332"/>
                        <a:gd name="connsiteX128" fmla="*/ 29395 w 29993"/>
                        <a:gd name="connsiteY128" fmla="*/ 6385 h 31332"/>
                        <a:gd name="connsiteX129" fmla="*/ 29934 w 29993"/>
                        <a:gd name="connsiteY129" fmla="*/ 9017 h 31332"/>
                        <a:gd name="connsiteX130" fmla="*/ 29934 w 29993"/>
                        <a:gd name="connsiteY130" fmla="*/ 11947 h 31332"/>
                        <a:gd name="connsiteX131" fmla="*/ 29336 w 29993"/>
                        <a:gd name="connsiteY131" fmla="*/ 14998 h 31332"/>
                        <a:gd name="connsiteX132" fmla="*/ 28259 w 29993"/>
                        <a:gd name="connsiteY132" fmla="*/ 18048 h 31332"/>
                        <a:gd name="connsiteX133" fmla="*/ 26644 w 29993"/>
                        <a:gd name="connsiteY133" fmla="*/ 20978 h 31332"/>
                        <a:gd name="connsiteX134" fmla="*/ 24551 w 29993"/>
                        <a:gd name="connsiteY134" fmla="*/ 23729 h 31332"/>
                        <a:gd name="connsiteX135" fmla="*/ 19587 w 29993"/>
                        <a:gd name="connsiteY135" fmla="*/ 28155 h 31332"/>
                        <a:gd name="connsiteX136" fmla="*/ 14144 w 29993"/>
                        <a:gd name="connsiteY136" fmla="*/ 30727 h 31332"/>
                        <a:gd name="connsiteX137" fmla="*/ 8821 w 29993"/>
                        <a:gd name="connsiteY137" fmla="*/ 31265 h 31332"/>
                        <a:gd name="connsiteX138" fmla="*/ 4276 w 29993"/>
                        <a:gd name="connsiteY138" fmla="*/ 29591 h 31332"/>
                        <a:gd name="connsiteX139" fmla="*/ 3678 w 29993"/>
                        <a:gd name="connsiteY139" fmla="*/ 29112 h 31332"/>
                        <a:gd name="connsiteX140" fmla="*/ 867 w 29993"/>
                        <a:gd name="connsiteY140" fmla="*/ 24926 h 31332"/>
                        <a:gd name="connsiteX141" fmla="*/ 329 w 29993"/>
                        <a:gd name="connsiteY141" fmla="*/ 19483 h 31332"/>
                        <a:gd name="connsiteX142" fmla="*/ 1944 w 29993"/>
                        <a:gd name="connsiteY142" fmla="*/ 13443 h 31332"/>
                        <a:gd name="connsiteX143" fmla="*/ 5712 w 29993"/>
                        <a:gd name="connsiteY143" fmla="*/ 7522 h 31332"/>
                        <a:gd name="connsiteX144" fmla="*/ 10795 w 29993"/>
                        <a:gd name="connsiteY144" fmla="*/ 3036 h 31332"/>
                        <a:gd name="connsiteX145" fmla="*/ 16297 w 29993"/>
                        <a:gd name="connsiteY145" fmla="*/ 524 h 31332"/>
                        <a:gd name="connsiteX146" fmla="*/ 21620 w 29993"/>
                        <a:gd name="connsiteY146" fmla="*/ 105 h 31332"/>
                        <a:gd name="connsiteX147" fmla="*/ 26106 w 29993"/>
                        <a:gd name="connsiteY147" fmla="*/ 1780 h 31332"/>
                        <a:gd name="connsiteX148" fmla="*/ 4217 w 29993"/>
                        <a:gd name="connsiteY148" fmla="*/ 29591 h 31332"/>
                        <a:gd name="connsiteX149" fmla="*/ 5652 w 29993"/>
                        <a:gd name="connsiteY149" fmla="*/ 30428 h 31332"/>
                        <a:gd name="connsiteX150" fmla="*/ 7207 w 29993"/>
                        <a:gd name="connsiteY150" fmla="*/ 30966 h 31332"/>
                        <a:gd name="connsiteX151" fmla="*/ 8881 w 29993"/>
                        <a:gd name="connsiteY151" fmla="*/ 31265 h 31332"/>
                        <a:gd name="connsiteX152" fmla="*/ 10616 w 29993"/>
                        <a:gd name="connsiteY152" fmla="*/ 31325 h 31332"/>
                        <a:gd name="connsiteX153" fmla="*/ 10855 w 29993"/>
                        <a:gd name="connsiteY153" fmla="*/ 31325 h 31332"/>
                        <a:gd name="connsiteX154" fmla="*/ 11094 w 29993"/>
                        <a:gd name="connsiteY154" fmla="*/ 31325 h 31332"/>
                        <a:gd name="connsiteX155" fmla="*/ 11334 w 29993"/>
                        <a:gd name="connsiteY155" fmla="*/ 31325 h 31332"/>
                        <a:gd name="connsiteX156" fmla="*/ 11573 w 29993"/>
                        <a:gd name="connsiteY156" fmla="*/ 31325 h 31332"/>
                        <a:gd name="connsiteX157" fmla="*/ 13307 w 29993"/>
                        <a:gd name="connsiteY157" fmla="*/ 31026 h 31332"/>
                        <a:gd name="connsiteX158" fmla="*/ 15042 w 29993"/>
                        <a:gd name="connsiteY158" fmla="*/ 30547 h 31332"/>
                        <a:gd name="connsiteX159" fmla="*/ 16776 w 29993"/>
                        <a:gd name="connsiteY159" fmla="*/ 29830 h 31332"/>
                        <a:gd name="connsiteX160" fmla="*/ 18510 w 29993"/>
                        <a:gd name="connsiteY160" fmla="*/ 28933 h 31332"/>
                        <a:gd name="connsiteX161" fmla="*/ 18750 w 29993"/>
                        <a:gd name="connsiteY161" fmla="*/ 28813 h 31332"/>
                        <a:gd name="connsiteX162" fmla="*/ 18989 w 29993"/>
                        <a:gd name="connsiteY162" fmla="*/ 28693 h 31332"/>
                        <a:gd name="connsiteX163" fmla="*/ 19228 w 29993"/>
                        <a:gd name="connsiteY163" fmla="*/ 28574 h 31332"/>
                        <a:gd name="connsiteX164" fmla="*/ 19467 w 29993"/>
                        <a:gd name="connsiteY164" fmla="*/ 28454 h 31332"/>
                        <a:gd name="connsiteX165" fmla="*/ 20843 w 29993"/>
                        <a:gd name="connsiteY165" fmla="*/ 27497 h 31332"/>
                        <a:gd name="connsiteX166" fmla="*/ 22159 w 29993"/>
                        <a:gd name="connsiteY166" fmla="*/ 26421 h 31332"/>
                        <a:gd name="connsiteX167" fmla="*/ 23414 w 29993"/>
                        <a:gd name="connsiteY167" fmla="*/ 25224 h 31332"/>
                        <a:gd name="connsiteX168" fmla="*/ 24611 w 29993"/>
                        <a:gd name="connsiteY168" fmla="*/ 23909 h 31332"/>
                        <a:gd name="connsiteX169" fmla="*/ 25149 w 29993"/>
                        <a:gd name="connsiteY169" fmla="*/ 23251 h 31332"/>
                        <a:gd name="connsiteX170" fmla="*/ 25627 w 29993"/>
                        <a:gd name="connsiteY170" fmla="*/ 22593 h 31332"/>
                        <a:gd name="connsiteX171" fmla="*/ 26106 w 29993"/>
                        <a:gd name="connsiteY171" fmla="*/ 21935 h 31332"/>
                        <a:gd name="connsiteX172" fmla="*/ 26584 w 29993"/>
                        <a:gd name="connsiteY172" fmla="*/ 21277 h 31332"/>
                        <a:gd name="connsiteX173" fmla="*/ 26704 w 29993"/>
                        <a:gd name="connsiteY173" fmla="*/ 21038 h 31332"/>
                        <a:gd name="connsiteX174" fmla="*/ 26823 w 29993"/>
                        <a:gd name="connsiteY174" fmla="*/ 20799 h 31332"/>
                        <a:gd name="connsiteX175" fmla="*/ 26943 w 29993"/>
                        <a:gd name="connsiteY175" fmla="*/ 20560 h 31332"/>
                        <a:gd name="connsiteX176" fmla="*/ 27063 w 29993"/>
                        <a:gd name="connsiteY176" fmla="*/ 20320 h 31332"/>
                        <a:gd name="connsiteX177" fmla="*/ 28139 w 29993"/>
                        <a:gd name="connsiteY177" fmla="*/ 18287 h 31332"/>
                        <a:gd name="connsiteX178" fmla="*/ 28976 w 29993"/>
                        <a:gd name="connsiteY178" fmla="*/ 16194 h 31332"/>
                        <a:gd name="connsiteX179" fmla="*/ 29575 w 29993"/>
                        <a:gd name="connsiteY179" fmla="*/ 14100 h 31332"/>
                        <a:gd name="connsiteX180" fmla="*/ 29934 w 29993"/>
                        <a:gd name="connsiteY180" fmla="*/ 12007 h 31332"/>
                        <a:gd name="connsiteX181" fmla="*/ 29993 w 29993"/>
                        <a:gd name="connsiteY181" fmla="*/ 11469 h 31332"/>
                        <a:gd name="connsiteX182" fmla="*/ 29993 w 29993"/>
                        <a:gd name="connsiteY182" fmla="*/ 10930 h 31332"/>
                        <a:gd name="connsiteX183" fmla="*/ 29993 w 29993"/>
                        <a:gd name="connsiteY183" fmla="*/ 10392 h 31332"/>
                        <a:gd name="connsiteX184" fmla="*/ 29993 w 29993"/>
                        <a:gd name="connsiteY184" fmla="*/ 9854 h 31332"/>
                        <a:gd name="connsiteX185" fmla="*/ 29993 w 29993"/>
                        <a:gd name="connsiteY185" fmla="*/ 9615 h 31332"/>
                        <a:gd name="connsiteX186" fmla="*/ 29993 w 29993"/>
                        <a:gd name="connsiteY186" fmla="*/ 9376 h 31332"/>
                        <a:gd name="connsiteX187" fmla="*/ 29993 w 29993"/>
                        <a:gd name="connsiteY187" fmla="*/ 9136 h 31332"/>
                        <a:gd name="connsiteX188" fmla="*/ 29993 w 29993"/>
                        <a:gd name="connsiteY188" fmla="*/ 8897 h 31332"/>
                        <a:gd name="connsiteX189" fmla="*/ 29874 w 29993"/>
                        <a:gd name="connsiteY189" fmla="*/ 8060 h 31332"/>
                        <a:gd name="connsiteX190" fmla="*/ 29694 w 29993"/>
                        <a:gd name="connsiteY190" fmla="*/ 7282 h 31332"/>
                        <a:gd name="connsiteX191" fmla="*/ 29455 w 29993"/>
                        <a:gd name="connsiteY191" fmla="*/ 6505 h 31332"/>
                        <a:gd name="connsiteX192" fmla="*/ 29216 w 29993"/>
                        <a:gd name="connsiteY192" fmla="*/ 5787 h 31332"/>
                        <a:gd name="connsiteX193" fmla="*/ 29096 w 29993"/>
                        <a:gd name="connsiteY193" fmla="*/ 5548 h 31332"/>
                        <a:gd name="connsiteX194" fmla="*/ 28976 w 29993"/>
                        <a:gd name="connsiteY194" fmla="*/ 5309 h 31332"/>
                        <a:gd name="connsiteX195" fmla="*/ 28857 w 29993"/>
                        <a:gd name="connsiteY195" fmla="*/ 5069 h 31332"/>
                        <a:gd name="connsiteX196" fmla="*/ 28737 w 29993"/>
                        <a:gd name="connsiteY196" fmla="*/ 4830 h 31332"/>
                        <a:gd name="connsiteX197" fmla="*/ 28319 w 29993"/>
                        <a:gd name="connsiteY197" fmla="*/ 4113 h 31332"/>
                        <a:gd name="connsiteX198" fmla="*/ 27840 w 29993"/>
                        <a:gd name="connsiteY198" fmla="*/ 3455 h 31332"/>
                        <a:gd name="connsiteX199" fmla="*/ 27302 w 29993"/>
                        <a:gd name="connsiteY199" fmla="*/ 2857 h 31332"/>
                        <a:gd name="connsiteX200" fmla="*/ 26704 w 29993"/>
                        <a:gd name="connsiteY200" fmla="*/ 2318 h 31332"/>
                        <a:gd name="connsiteX201" fmla="*/ 26106 w 29993"/>
                        <a:gd name="connsiteY201" fmla="*/ 1840 h 31332"/>
                        <a:gd name="connsiteX202" fmla="*/ 25687 w 29993"/>
                        <a:gd name="connsiteY202" fmla="*/ 1541 h 31332"/>
                        <a:gd name="connsiteX203" fmla="*/ 25268 w 29993"/>
                        <a:gd name="connsiteY203" fmla="*/ 1302 h 31332"/>
                        <a:gd name="connsiteX204" fmla="*/ 24850 w 29993"/>
                        <a:gd name="connsiteY204" fmla="*/ 1063 h 31332"/>
                        <a:gd name="connsiteX205" fmla="*/ 24431 w 29993"/>
                        <a:gd name="connsiteY205" fmla="*/ 883 h 31332"/>
                        <a:gd name="connsiteX206" fmla="*/ 24252 w 29993"/>
                        <a:gd name="connsiteY206" fmla="*/ 823 h 31332"/>
                        <a:gd name="connsiteX207" fmla="*/ 24073 w 29993"/>
                        <a:gd name="connsiteY207" fmla="*/ 764 h 31332"/>
                        <a:gd name="connsiteX208" fmla="*/ 23893 w 29993"/>
                        <a:gd name="connsiteY208" fmla="*/ 704 h 31332"/>
                        <a:gd name="connsiteX209" fmla="*/ 23714 w 29993"/>
                        <a:gd name="connsiteY209" fmla="*/ 644 h 31332"/>
                        <a:gd name="connsiteX210" fmla="*/ 22398 w 29993"/>
                        <a:gd name="connsiteY210" fmla="*/ 285 h 31332"/>
                        <a:gd name="connsiteX211" fmla="*/ 21022 w 29993"/>
                        <a:gd name="connsiteY211" fmla="*/ 105 h 31332"/>
                        <a:gd name="connsiteX212" fmla="*/ 19587 w 29993"/>
                        <a:gd name="connsiteY212" fmla="*/ 46 h 31332"/>
                        <a:gd name="connsiteX213" fmla="*/ 18092 w 29993"/>
                        <a:gd name="connsiteY213" fmla="*/ 165 h 31332"/>
                        <a:gd name="connsiteX214" fmla="*/ 17852 w 29993"/>
                        <a:gd name="connsiteY214" fmla="*/ 225 h 31332"/>
                        <a:gd name="connsiteX215" fmla="*/ 17613 w 29993"/>
                        <a:gd name="connsiteY215" fmla="*/ 285 h 31332"/>
                        <a:gd name="connsiteX216" fmla="*/ 17374 w 29993"/>
                        <a:gd name="connsiteY216" fmla="*/ 345 h 31332"/>
                        <a:gd name="connsiteX217" fmla="*/ 17135 w 29993"/>
                        <a:gd name="connsiteY217" fmla="*/ 405 h 31332"/>
                        <a:gd name="connsiteX218" fmla="*/ 15998 w 29993"/>
                        <a:gd name="connsiteY218" fmla="*/ 704 h 31332"/>
                        <a:gd name="connsiteX219" fmla="*/ 14862 w 29993"/>
                        <a:gd name="connsiteY219" fmla="*/ 1063 h 31332"/>
                        <a:gd name="connsiteX220" fmla="*/ 13726 w 29993"/>
                        <a:gd name="connsiteY220" fmla="*/ 1541 h 31332"/>
                        <a:gd name="connsiteX221" fmla="*/ 12589 w 29993"/>
                        <a:gd name="connsiteY221" fmla="*/ 2079 h 31332"/>
                        <a:gd name="connsiteX222" fmla="*/ 12290 w 29993"/>
                        <a:gd name="connsiteY222" fmla="*/ 2259 h 31332"/>
                        <a:gd name="connsiteX223" fmla="*/ 11991 w 29993"/>
                        <a:gd name="connsiteY223" fmla="*/ 2438 h 31332"/>
                        <a:gd name="connsiteX224" fmla="*/ 11692 w 29993"/>
                        <a:gd name="connsiteY224" fmla="*/ 2618 h 31332"/>
                        <a:gd name="connsiteX225" fmla="*/ 11393 w 29993"/>
                        <a:gd name="connsiteY225" fmla="*/ 2797 h 31332"/>
                        <a:gd name="connsiteX226" fmla="*/ 9838 w 29993"/>
                        <a:gd name="connsiteY226" fmla="*/ 3813 h 31332"/>
                        <a:gd name="connsiteX227" fmla="*/ 8343 w 29993"/>
                        <a:gd name="connsiteY227" fmla="*/ 4950 h 31332"/>
                        <a:gd name="connsiteX228" fmla="*/ 6908 w 29993"/>
                        <a:gd name="connsiteY228" fmla="*/ 6266 h 31332"/>
                        <a:gd name="connsiteX229" fmla="*/ 5532 w 29993"/>
                        <a:gd name="connsiteY229" fmla="*/ 7701 h 31332"/>
                        <a:gd name="connsiteX230" fmla="*/ 3439 w 29993"/>
                        <a:gd name="connsiteY230" fmla="*/ 10512 h 31332"/>
                        <a:gd name="connsiteX231" fmla="*/ 1824 w 29993"/>
                        <a:gd name="connsiteY231" fmla="*/ 13503 h 31332"/>
                        <a:gd name="connsiteX232" fmla="*/ 688 w 29993"/>
                        <a:gd name="connsiteY232" fmla="*/ 16612 h 31332"/>
                        <a:gd name="connsiteX233" fmla="*/ 90 w 29993"/>
                        <a:gd name="connsiteY233" fmla="*/ 19722 h 31332"/>
                        <a:gd name="connsiteX234" fmla="*/ 90 w 29993"/>
                        <a:gd name="connsiteY234" fmla="*/ 22653 h 31332"/>
                        <a:gd name="connsiteX235" fmla="*/ 688 w 29993"/>
                        <a:gd name="connsiteY235" fmla="*/ 25284 h 31332"/>
                        <a:gd name="connsiteX236" fmla="*/ 1824 w 29993"/>
                        <a:gd name="connsiteY236" fmla="*/ 27557 h 31332"/>
                        <a:gd name="connsiteX237" fmla="*/ 3499 w 29993"/>
                        <a:gd name="connsiteY237" fmla="*/ 29411 h 31332"/>
                        <a:gd name="connsiteX238" fmla="*/ 4217 w 29993"/>
                        <a:gd name="connsiteY238" fmla="*/ 29591 h 31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29993" h="31332">
                          <a:moveTo>
                            <a:pt x="11573" y="30189"/>
                          </a:moveTo>
                          <a:cubicBezTo>
                            <a:pt x="10975" y="30248"/>
                            <a:pt x="10376" y="30248"/>
                            <a:pt x="9779" y="30189"/>
                          </a:cubicBezTo>
                          <a:cubicBezTo>
                            <a:pt x="9180" y="30129"/>
                            <a:pt x="8642" y="30069"/>
                            <a:pt x="8044" y="29949"/>
                          </a:cubicBezTo>
                          <a:cubicBezTo>
                            <a:pt x="7506" y="29830"/>
                            <a:pt x="6967" y="29650"/>
                            <a:pt x="6429" y="29411"/>
                          </a:cubicBezTo>
                          <a:cubicBezTo>
                            <a:pt x="5891" y="29172"/>
                            <a:pt x="5413" y="28873"/>
                            <a:pt x="4934" y="28574"/>
                          </a:cubicBezTo>
                          <a:lnTo>
                            <a:pt x="4396" y="28155"/>
                          </a:lnTo>
                          <a:cubicBezTo>
                            <a:pt x="3798" y="27677"/>
                            <a:pt x="3259" y="27078"/>
                            <a:pt x="2841" y="26421"/>
                          </a:cubicBezTo>
                          <a:cubicBezTo>
                            <a:pt x="2422" y="25763"/>
                            <a:pt x="2063" y="25045"/>
                            <a:pt x="1764" y="24328"/>
                          </a:cubicBezTo>
                          <a:cubicBezTo>
                            <a:pt x="1525" y="23550"/>
                            <a:pt x="1286" y="22713"/>
                            <a:pt x="1226" y="21875"/>
                          </a:cubicBezTo>
                          <a:cubicBezTo>
                            <a:pt x="1106" y="20978"/>
                            <a:pt x="1106" y="20081"/>
                            <a:pt x="1226" y="19124"/>
                          </a:cubicBezTo>
                          <a:cubicBezTo>
                            <a:pt x="1286" y="18167"/>
                            <a:pt x="1465" y="17211"/>
                            <a:pt x="1764" y="16253"/>
                          </a:cubicBezTo>
                          <a:cubicBezTo>
                            <a:pt x="2004" y="15297"/>
                            <a:pt x="2363" y="14340"/>
                            <a:pt x="2781" y="13383"/>
                          </a:cubicBezTo>
                          <a:cubicBezTo>
                            <a:pt x="3200" y="12426"/>
                            <a:pt x="3738" y="11529"/>
                            <a:pt x="4276" y="10572"/>
                          </a:cubicBezTo>
                          <a:cubicBezTo>
                            <a:pt x="4874" y="9675"/>
                            <a:pt x="5532" y="8778"/>
                            <a:pt x="6250" y="7940"/>
                          </a:cubicBezTo>
                          <a:cubicBezTo>
                            <a:pt x="6728" y="7402"/>
                            <a:pt x="7267" y="6864"/>
                            <a:pt x="7745" y="6326"/>
                          </a:cubicBezTo>
                          <a:cubicBezTo>
                            <a:pt x="8283" y="5847"/>
                            <a:pt x="8821" y="5368"/>
                            <a:pt x="9360" y="4890"/>
                          </a:cubicBezTo>
                          <a:cubicBezTo>
                            <a:pt x="9898" y="4472"/>
                            <a:pt x="10496" y="4053"/>
                            <a:pt x="11034" y="3694"/>
                          </a:cubicBezTo>
                          <a:cubicBezTo>
                            <a:pt x="11633" y="3335"/>
                            <a:pt x="12171" y="2976"/>
                            <a:pt x="12769" y="2677"/>
                          </a:cubicBezTo>
                          <a:cubicBezTo>
                            <a:pt x="12889" y="2618"/>
                            <a:pt x="13008" y="2558"/>
                            <a:pt x="13128" y="2498"/>
                          </a:cubicBezTo>
                          <a:cubicBezTo>
                            <a:pt x="13247" y="2438"/>
                            <a:pt x="13367" y="2378"/>
                            <a:pt x="13487" y="2318"/>
                          </a:cubicBezTo>
                          <a:cubicBezTo>
                            <a:pt x="13606" y="2259"/>
                            <a:pt x="13726" y="2199"/>
                            <a:pt x="13845" y="2139"/>
                          </a:cubicBezTo>
                          <a:cubicBezTo>
                            <a:pt x="13965" y="2079"/>
                            <a:pt x="14084" y="2019"/>
                            <a:pt x="14204" y="1959"/>
                          </a:cubicBezTo>
                          <a:cubicBezTo>
                            <a:pt x="14384" y="1900"/>
                            <a:pt x="14623" y="1780"/>
                            <a:pt x="14802" y="1720"/>
                          </a:cubicBezTo>
                          <a:cubicBezTo>
                            <a:pt x="14982" y="1660"/>
                            <a:pt x="15221" y="1601"/>
                            <a:pt x="15400" y="1541"/>
                          </a:cubicBezTo>
                          <a:cubicBezTo>
                            <a:pt x="15580" y="1481"/>
                            <a:pt x="15819" y="1421"/>
                            <a:pt x="15998" y="1361"/>
                          </a:cubicBezTo>
                          <a:cubicBezTo>
                            <a:pt x="16178" y="1302"/>
                            <a:pt x="16417" y="1242"/>
                            <a:pt x="16597" y="1182"/>
                          </a:cubicBezTo>
                          <a:cubicBezTo>
                            <a:pt x="16656" y="1182"/>
                            <a:pt x="16716" y="1122"/>
                            <a:pt x="16836" y="1122"/>
                          </a:cubicBezTo>
                          <a:cubicBezTo>
                            <a:pt x="16955" y="1122"/>
                            <a:pt x="16955" y="1063"/>
                            <a:pt x="17075" y="1063"/>
                          </a:cubicBezTo>
                          <a:cubicBezTo>
                            <a:pt x="17135" y="1063"/>
                            <a:pt x="17195" y="1063"/>
                            <a:pt x="17314" y="1003"/>
                          </a:cubicBezTo>
                          <a:cubicBezTo>
                            <a:pt x="17374" y="1003"/>
                            <a:pt x="17434" y="1003"/>
                            <a:pt x="17553" y="943"/>
                          </a:cubicBezTo>
                          <a:cubicBezTo>
                            <a:pt x="18032" y="883"/>
                            <a:pt x="18570" y="823"/>
                            <a:pt x="19049" y="764"/>
                          </a:cubicBezTo>
                          <a:cubicBezTo>
                            <a:pt x="19527" y="764"/>
                            <a:pt x="20005" y="764"/>
                            <a:pt x="20484" y="764"/>
                          </a:cubicBezTo>
                          <a:cubicBezTo>
                            <a:pt x="20962" y="764"/>
                            <a:pt x="21441" y="883"/>
                            <a:pt x="21860" y="943"/>
                          </a:cubicBezTo>
                          <a:cubicBezTo>
                            <a:pt x="22338" y="1063"/>
                            <a:pt x="22757" y="1182"/>
                            <a:pt x="23175" y="1361"/>
                          </a:cubicBezTo>
                          <a:cubicBezTo>
                            <a:pt x="23235" y="1361"/>
                            <a:pt x="23295" y="1421"/>
                            <a:pt x="23355" y="1421"/>
                          </a:cubicBezTo>
                          <a:cubicBezTo>
                            <a:pt x="23414" y="1421"/>
                            <a:pt x="23474" y="1481"/>
                            <a:pt x="23534" y="1481"/>
                          </a:cubicBezTo>
                          <a:cubicBezTo>
                            <a:pt x="23594" y="1481"/>
                            <a:pt x="23654" y="1541"/>
                            <a:pt x="23714" y="1541"/>
                          </a:cubicBezTo>
                          <a:cubicBezTo>
                            <a:pt x="23773" y="1541"/>
                            <a:pt x="23833" y="1601"/>
                            <a:pt x="23893" y="1601"/>
                          </a:cubicBezTo>
                          <a:cubicBezTo>
                            <a:pt x="24013" y="1660"/>
                            <a:pt x="24132" y="1720"/>
                            <a:pt x="24252" y="1780"/>
                          </a:cubicBezTo>
                          <a:cubicBezTo>
                            <a:pt x="24372" y="1840"/>
                            <a:pt x="24491" y="1900"/>
                            <a:pt x="24611" y="1959"/>
                          </a:cubicBezTo>
                          <a:cubicBezTo>
                            <a:pt x="24730" y="2019"/>
                            <a:pt x="24850" y="2079"/>
                            <a:pt x="24969" y="2199"/>
                          </a:cubicBezTo>
                          <a:cubicBezTo>
                            <a:pt x="25089" y="2259"/>
                            <a:pt x="25209" y="2378"/>
                            <a:pt x="25268" y="2438"/>
                          </a:cubicBezTo>
                          <a:lnTo>
                            <a:pt x="25807" y="2917"/>
                          </a:lnTo>
                          <a:cubicBezTo>
                            <a:pt x="25927" y="3036"/>
                            <a:pt x="26046" y="3096"/>
                            <a:pt x="26106" y="3215"/>
                          </a:cubicBezTo>
                          <a:cubicBezTo>
                            <a:pt x="26226" y="3335"/>
                            <a:pt x="26285" y="3395"/>
                            <a:pt x="26405" y="3514"/>
                          </a:cubicBezTo>
                          <a:cubicBezTo>
                            <a:pt x="26524" y="3634"/>
                            <a:pt x="26584" y="3754"/>
                            <a:pt x="26704" y="3813"/>
                          </a:cubicBezTo>
                          <a:cubicBezTo>
                            <a:pt x="26823" y="3873"/>
                            <a:pt x="26883" y="4053"/>
                            <a:pt x="26943" y="4173"/>
                          </a:cubicBezTo>
                          <a:cubicBezTo>
                            <a:pt x="27003" y="4232"/>
                            <a:pt x="27063" y="4352"/>
                            <a:pt x="27122" y="4412"/>
                          </a:cubicBezTo>
                          <a:cubicBezTo>
                            <a:pt x="27182" y="4472"/>
                            <a:pt x="27242" y="4591"/>
                            <a:pt x="27302" y="4651"/>
                          </a:cubicBezTo>
                          <a:cubicBezTo>
                            <a:pt x="27362" y="4711"/>
                            <a:pt x="27422" y="4830"/>
                            <a:pt x="27481" y="4890"/>
                          </a:cubicBezTo>
                          <a:cubicBezTo>
                            <a:pt x="27541" y="4950"/>
                            <a:pt x="27601" y="5069"/>
                            <a:pt x="27661" y="5129"/>
                          </a:cubicBezTo>
                          <a:cubicBezTo>
                            <a:pt x="27840" y="5428"/>
                            <a:pt x="28020" y="5787"/>
                            <a:pt x="28139" y="6146"/>
                          </a:cubicBezTo>
                          <a:cubicBezTo>
                            <a:pt x="28259" y="6505"/>
                            <a:pt x="28378" y="6864"/>
                            <a:pt x="28498" y="7222"/>
                          </a:cubicBezTo>
                          <a:cubicBezTo>
                            <a:pt x="28618" y="7581"/>
                            <a:pt x="28677" y="8000"/>
                            <a:pt x="28737" y="8359"/>
                          </a:cubicBezTo>
                          <a:cubicBezTo>
                            <a:pt x="28797" y="8718"/>
                            <a:pt x="28857" y="9196"/>
                            <a:pt x="28857" y="9615"/>
                          </a:cubicBezTo>
                          <a:cubicBezTo>
                            <a:pt x="28857" y="9675"/>
                            <a:pt x="28857" y="9794"/>
                            <a:pt x="28857" y="9854"/>
                          </a:cubicBezTo>
                          <a:cubicBezTo>
                            <a:pt x="28857" y="9914"/>
                            <a:pt x="28857" y="10034"/>
                            <a:pt x="28857" y="10093"/>
                          </a:cubicBezTo>
                          <a:cubicBezTo>
                            <a:pt x="28857" y="10153"/>
                            <a:pt x="28857" y="10273"/>
                            <a:pt x="28857" y="10333"/>
                          </a:cubicBezTo>
                          <a:cubicBezTo>
                            <a:pt x="28857" y="10392"/>
                            <a:pt x="28857" y="10512"/>
                            <a:pt x="28857" y="10572"/>
                          </a:cubicBezTo>
                          <a:cubicBezTo>
                            <a:pt x="28857" y="10691"/>
                            <a:pt x="28857" y="10751"/>
                            <a:pt x="28857" y="10871"/>
                          </a:cubicBezTo>
                          <a:cubicBezTo>
                            <a:pt x="28857" y="10990"/>
                            <a:pt x="28857" y="11050"/>
                            <a:pt x="28857" y="11170"/>
                          </a:cubicBezTo>
                          <a:cubicBezTo>
                            <a:pt x="28857" y="11289"/>
                            <a:pt x="28857" y="11349"/>
                            <a:pt x="28857" y="11469"/>
                          </a:cubicBezTo>
                          <a:cubicBezTo>
                            <a:pt x="28857" y="11589"/>
                            <a:pt x="28857" y="11648"/>
                            <a:pt x="28857" y="11768"/>
                          </a:cubicBezTo>
                          <a:cubicBezTo>
                            <a:pt x="28797" y="12426"/>
                            <a:pt x="28677" y="13024"/>
                            <a:pt x="28558" y="13682"/>
                          </a:cubicBezTo>
                          <a:cubicBezTo>
                            <a:pt x="28438" y="14340"/>
                            <a:pt x="28259" y="14938"/>
                            <a:pt x="28020" y="15596"/>
                          </a:cubicBezTo>
                          <a:cubicBezTo>
                            <a:pt x="27781" y="16253"/>
                            <a:pt x="27541" y="16852"/>
                            <a:pt x="27302" y="17450"/>
                          </a:cubicBezTo>
                          <a:cubicBezTo>
                            <a:pt x="27003" y="18048"/>
                            <a:pt x="26704" y="18706"/>
                            <a:pt x="26345" y="19304"/>
                          </a:cubicBezTo>
                          <a:cubicBezTo>
                            <a:pt x="26285" y="19363"/>
                            <a:pt x="26285" y="19423"/>
                            <a:pt x="26226" y="19543"/>
                          </a:cubicBezTo>
                          <a:cubicBezTo>
                            <a:pt x="26166" y="19662"/>
                            <a:pt x="26166" y="19662"/>
                            <a:pt x="26106" y="19782"/>
                          </a:cubicBezTo>
                          <a:cubicBezTo>
                            <a:pt x="26046" y="19842"/>
                            <a:pt x="26046" y="19902"/>
                            <a:pt x="25986" y="20021"/>
                          </a:cubicBezTo>
                          <a:cubicBezTo>
                            <a:pt x="25927" y="20141"/>
                            <a:pt x="25867" y="20141"/>
                            <a:pt x="25867" y="20260"/>
                          </a:cubicBezTo>
                          <a:cubicBezTo>
                            <a:pt x="25747" y="20500"/>
                            <a:pt x="25568" y="20739"/>
                            <a:pt x="25388" y="20919"/>
                          </a:cubicBezTo>
                          <a:cubicBezTo>
                            <a:pt x="25209" y="21158"/>
                            <a:pt x="25089" y="21397"/>
                            <a:pt x="24910" y="21576"/>
                          </a:cubicBezTo>
                          <a:cubicBezTo>
                            <a:pt x="24730" y="21815"/>
                            <a:pt x="24551" y="21995"/>
                            <a:pt x="24431" y="22234"/>
                          </a:cubicBezTo>
                          <a:cubicBezTo>
                            <a:pt x="24252" y="22474"/>
                            <a:pt x="24073" y="22653"/>
                            <a:pt x="23893" y="22892"/>
                          </a:cubicBezTo>
                          <a:cubicBezTo>
                            <a:pt x="23474" y="23370"/>
                            <a:pt x="23115" y="23789"/>
                            <a:pt x="22697" y="24208"/>
                          </a:cubicBezTo>
                          <a:cubicBezTo>
                            <a:pt x="22278" y="24627"/>
                            <a:pt x="21860" y="25045"/>
                            <a:pt x="21381" y="25404"/>
                          </a:cubicBezTo>
                          <a:cubicBezTo>
                            <a:pt x="20962" y="25763"/>
                            <a:pt x="20484" y="26122"/>
                            <a:pt x="20065" y="26481"/>
                          </a:cubicBezTo>
                          <a:cubicBezTo>
                            <a:pt x="19587" y="26839"/>
                            <a:pt x="19168" y="27138"/>
                            <a:pt x="18690" y="27377"/>
                          </a:cubicBezTo>
                          <a:cubicBezTo>
                            <a:pt x="18630" y="27437"/>
                            <a:pt x="18510" y="27497"/>
                            <a:pt x="18451" y="27497"/>
                          </a:cubicBezTo>
                          <a:cubicBezTo>
                            <a:pt x="18391" y="27557"/>
                            <a:pt x="18271" y="27557"/>
                            <a:pt x="18211" y="27617"/>
                          </a:cubicBezTo>
                          <a:cubicBezTo>
                            <a:pt x="18151" y="27677"/>
                            <a:pt x="18032" y="27677"/>
                            <a:pt x="17972" y="27736"/>
                          </a:cubicBezTo>
                          <a:cubicBezTo>
                            <a:pt x="17912" y="27796"/>
                            <a:pt x="17793" y="27796"/>
                            <a:pt x="17733" y="27856"/>
                          </a:cubicBezTo>
                          <a:cubicBezTo>
                            <a:pt x="17314" y="28095"/>
                            <a:pt x="16896" y="28335"/>
                            <a:pt x="16417" y="28514"/>
                          </a:cubicBezTo>
                          <a:cubicBezTo>
                            <a:pt x="15938" y="28693"/>
                            <a:pt x="15520" y="28873"/>
                            <a:pt x="15101" y="29052"/>
                          </a:cubicBezTo>
                          <a:cubicBezTo>
                            <a:pt x="14683" y="29231"/>
                            <a:pt x="14204" y="29351"/>
                            <a:pt x="13786" y="29471"/>
                          </a:cubicBezTo>
                          <a:cubicBezTo>
                            <a:pt x="13367" y="29591"/>
                            <a:pt x="12889" y="29650"/>
                            <a:pt x="12470" y="29770"/>
                          </a:cubicBezTo>
                          <a:cubicBezTo>
                            <a:pt x="12410" y="29770"/>
                            <a:pt x="12290" y="29770"/>
                            <a:pt x="12230" y="29830"/>
                          </a:cubicBezTo>
                          <a:cubicBezTo>
                            <a:pt x="12171" y="29830"/>
                            <a:pt x="12051" y="29830"/>
                            <a:pt x="11991" y="29890"/>
                          </a:cubicBezTo>
                          <a:cubicBezTo>
                            <a:pt x="11932" y="29890"/>
                            <a:pt x="11812" y="29890"/>
                            <a:pt x="11752" y="29949"/>
                          </a:cubicBezTo>
                          <a:cubicBezTo>
                            <a:pt x="11752" y="30189"/>
                            <a:pt x="11692" y="30189"/>
                            <a:pt x="11573" y="30189"/>
                          </a:cubicBezTo>
                          <a:moveTo>
                            <a:pt x="4336" y="28275"/>
                          </a:moveTo>
                          <a:lnTo>
                            <a:pt x="4934" y="28693"/>
                          </a:lnTo>
                          <a:cubicBezTo>
                            <a:pt x="5532" y="29112"/>
                            <a:pt x="6130" y="29471"/>
                            <a:pt x="6848" y="29710"/>
                          </a:cubicBezTo>
                          <a:cubicBezTo>
                            <a:pt x="7506" y="29949"/>
                            <a:pt x="8223" y="30189"/>
                            <a:pt x="9001" y="30248"/>
                          </a:cubicBezTo>
                          <a:cubicBezTo>
                            <a:pt x="9779" y="30368"/>
                            <a:pt x="10556" y="30368"/>
                            <a:pt x="11334" y="30308"/>
                          </a:cubicBezTo>
                          <a:cubicBezTo>
                            <a:pt x="12171" y="30248"/>
                            <a:pt x="13008" y="30129"/>
                            <a:pt x="13845" y="29890"/>
                          </a:cubicBezTo>
                          <a:cubicBezTo>
                            <a:pt x="14802" y="29650"/>
                            <a:pt x="15699" y="29351"/>
                            <a:pt x="16597" y="28933"/>
                          </a:cubicBezTo>
                          <a:cubicBezTo>
                            <a:pt x="17494" y="28514"/>
                            <a:pt x="18391" y="28036"/>
                            <a:pt x="19228" y="27497"/>
                          </a:cubicBezTo>
                          <a:cubicBezTo>
                            <a:pt x="20065" y="26959"/>
                            <a:pt x="20903" y="26301"/>
                            <a:pt x="21740" y="25583"/>
                          </a:cubicBezTo>
                          <a:cubicBezTo>
                            <a:pt x="22518" y="24866"/>
                            <a:pt x="23295" y="24088"/>
                            <a:pt x="24013" y="23251"/>
                          </a:cubicBezTo>
                          <a:cubicBezTo>
                            <a:pt x="24730" y="22414"/>
                            <a:pt x="25388" y="21516"/>
                            <a:pt x="25986" y="20620"/>
                          </a:cubicBezTo>
                          <a:cubicBezTo>
                            <a:pt x="26584" y="19722"/>
                            <a:pt x="27063" y="18765"/>
                            <a:pt x="27481" y="17868"/>
                          </a:cubicBezTo>
                          <a:cubicBezTo>
                            <a:pt x="27900" y="16911"/>
                            <a:pt x="28259" y="15954"/>
                            <a:pt x="28558" y="14998"/>
                          </a:cubicBezTo>
                          <a:cubicBezTo>
                            <a:pt x="28797" y="14041"/>
                            <a:pt x="29036" y="13084"/>
                            <a:pt x="29096" y="12127"/>
                          </a:cubicBezTo>
                          <a:cubicBezTo>
                            <a:pt x="29216" y="11170"/>
                            <a:pt x="29216" y="10273"/>
                            <a:pt x="29096" y="9376"/>
                          </a:cubicBezTo>
                          <a:cubicBezTo>
                            <a:pt x="29036" y="8479"/>
                            <a:pt x="28857" y="7641"/>
                            <a:pt x="28558" y="6923"/>
                          </a:cubicBezTo>
                          <a:cubicBezTo>
                            <a:pt x="28319" y="6146"/>
                            <a:pt x="27960" y="5428"/>
                            <a:pt x="27541" y="4771"/>
                          </a:cubicBezTo>
                          <a:cubicBezTo>
                            <a:pt x="27122" y="4113"/>
                            <a:pt x="26584" y="3514"/>
                            <a:pt x="26046" y="2976"/>
                          </a:cubicBezTo>
                          <a:cubicBezTo>
                            <a:pt x="25986" y="2917"/>
                            <a:pt x="25986" y="2917"/>
                            <a:pt x="25927" y="2857"/>
                          </a:cubicBezTo>
                          <a:cubicBezTo>
                            <a:pt x="25867" y="2797"/>
                            <a:pt x="25867" y="2797"/>
                            <a:pt x="25807" y="2737"/>
                          </a:cubicBezTo>
                          <a:cubicBezTo>
                            <a:pt x="25747" y="2677"/>
                            <a:pt x="25747" y="2677"/>
                            <a:pt x="25687" y="2618"/>
                          </a:cubicBezTo>
                          <a:cubicBezTo>
                            <a:pt x="25627" y="2558"/>
                            <a:pt x="25627" y="2558"/>
                            <a:pt x="25568" y="2498"/>
                          </a:cubicBezTo>
                          <a:cubicBezTo>
                            <a:pt x="24969" y="2079"/>
                            <a:pt x="24372" y="1720"/>
                            <a:pt x="23654" y="1421"/>
                          </a:cubicBezTo>
                          <a:cubicBezTo>
                            <a:pt x="22996" y="1122"/>
                            <a:pt x="22278" y="943"/>
                            <a:pt x="21501" y="823"/>
                          </a:cubicBezTo>
                          <a:cubicBezTo>
                            <a:pt x="20723" y="704"/>
                            <a:pt x="19946" y="644"/>
                            <a:pt x="19108" y="704"/>
                          </a:cubicBezTo>
                          <a:cubicBezTo>
                            <a:pt x="18271" y="764"/>
                            <a:pt x="17434" y="883"/>
                            <a:pt x="16537" y="1122"/>
                          </a:cubicBezTo>
                          <a:cubicBezTo>
                            <a:pt x="15580" y="1361"/>
                            <a:pt x="14683" y="1660"/>
                            <a:pt x="13726" y="2079"/>
                          </a:cubicBezTo>
                          <a:cubicBezTo>
                            <a:pt x="12829" y="2498"/>
                            <a:pt x="11932" y="2976"/>
                            <a:pt x="11034" y="3514"/>
                          </a:cubicBezTo>
                          <a:cubicBezTo>
                            <a:pt x="10137" y="4053"/>
                            <a:pt x="9300" y="4711"/>
                            <a:pt x="8522" y="5428"/>
                          </a:cubicBezTo>
                          <a:cubicBezTo>
                            <a:pt x="7685" y="6146"/>
                            <a:pt x="6908" y="6923"/>
                            <a:pt x="6190" y="7761"/>
                          </a:cubicBezTo>
                          <a:cubicBezTo>
                            <a:pt x="4695" y="9495"/>
                            <a:pt x="3499" y="11409"/>
                            <a:pt x="2661" y="13323"/>
                          </a:cubicBezTo>
                          <a:cubicBezTo>
                            <a:pt x="1824" y="15237"/>
                            <a:pt x="1286" y="17151"/>
                            <a:pt x="1106" y="19005"/>
                          </a:cubicBezTo>
                          <a:cubicBezTo>
                            <a:pt x="927" y="20859"/>
                            <a:pt x="1106" y="22593"/>
                            <a:pt x="1645" y="24148"/>
                          </a:cubicBezTo>
                          <a:cubicBezTo>
                            <a:pt x="2243" y="25882"/>
                            <a:pt x="3080" y="27258"/>
                            <a:pt x="4336" y="28275"/>
                          </a:cubicBezTo>
                          <a:moveTo>
                            <a:pt x="26106" y="1780"/>
                          </a:moveTo>
                          <a:lnTo>
                            <a:pt x="26704" y="2259"/>
                          </a:lnTo>
                          <a:cubicBezTo>
                            <a:pt x="27302" y="2797"/>
                            <a:pt x="27900" y="3455"/>
                            <a:pt x="28319" y="4113"/>
                          </a:cubicBezTo>
                          <a:cubicBezTo>
                            <a:pt x="28797" y="4830"/>
                            <a:pt x="29156" y="5548"/>
                            <a:pt x="29395" y="6385"/>
                          </a:cubicBezTo>
                          <a:cubicBezTo>
                            <a:pt x="29694" y="7222"/>
                            <a:pt x="29874" y="8060"/>
                            <a:pt x="29934" y="9017"/>
                          </a:cubicBezTo>
                          <a:cubicBezTo>
                            <a:pt x="29993" y="9974"/>
                            <a:pt x="29993" y="10930"/>
                            <a:pt x="29934" y="11947"/>
                          </a:cubicBezTo>
                          <a:cubicBezTo>
                            <a:pt x="29814" y="12964"/>
                            <a:pt x="29635" y="13981"/>
                            <a:pt x="29336" y="14998"/>
                          </a:cubicBezTo>
                          <a:cubicBezTo>
                            <a:pt x="29036" y="16014"/>
                            <a:pt x="28677" y="17031"/>
                            <a:pt x="28259" y="18048"/>
                          </a:cubicBezTo>
                          <a:cubicBezTo>
                            <a:pt x="27781" y="19065"/>
                            <a:pt x="27242" y="20021"/>
                            <a:pt x="26644" y="20978"/>
                          </a:cubicBezTo>
                          <a:cubicBezTo>
                            <a:pt x="26046" y="21935"/>
                            <a:pt x="25328" y="22832"/>
                            <a:pt x="24551" y="23729"/>
                          </a:cubicBezTo>
                          <a:cubicBezTo>
                            <a:pt x="23056" y="25523"/>
                            <a:pt x="21321" y="26959"/>
                            <a:pt x="19587" y="28155"/>
                          </a:cubicBezTo>
                          <a:cubicBezTo>
                            <a:pt x="17793" y="29351"/>
                            <a:pt x="15998" y="30189"/>
                            <a:pt x="14144" y="30727"/>
                          </a:cubicBezTo>
                          <a:cubicBezTo>
                            <a:pt x="12350" y="31265"/>
                            <a:pt x="10496" y="31445"/>
                            <a:pt x="8821" y="31265"/>
                          </a:cubicBezTo>
                          <a:cubicBezTo>
                            <a:pt x="7147" y="31086"/>
                            <a:pt x="5592" y="30547"/>
                            <a:pt x="4276" y="29591"/>
                          </a:cubicBezTo>
                          <a:lnTo>
                            <a:pt x="3678" y="29112"/>
                          </a:lnTo>
                          <a:cubicBezTo>
                            <a:pt x="2363" y="28036"/>
                            <a:pt x="1405" y="26600"/>
                            <a:pt x="867" y="24926"/>
                          </a:cubicBezTo>
                          <a:cubicBezTo>
                            <a:pt x="329" y="23251"/>
                            <a:pt x="150" y="21397"/>
                            <a:pt x="329" y="19483"/>
                          </a:cubicBezTo>
                          <a:cubicBezTo>
                            <a:pt x="508" y="17509"/>
                            <a:pt x="1047" y="15476"/>
                            <a:pt x="1944" y="13443"/>
                          </a:cubicBezTo>
                          <a:cubicBezTo>
                            <a:pt x="2841" y="11409"/>
                            <a:pt x="4097" y="9435"/>
                            <a:pt x="5712" y="7522"/>
                          </a:cubicBezTo>
                          <a:cubicBezTo>
                            <a:pt x="7267" y="5727"/>
                            <a:pt x="9001" y="4232"/>
                            <a:pt x="10795" y="3036"/>
                          </a:cubicBezTo>
                          <a:cubicBezTo>
                            <a:pt x="12589" y="1840"/>
                            <a:pt x="14443" y="1003"/>
                            <a:pt x="16297" y="524"/>
                          </a:cubicBezTo>
                          <a:cubicBezTo>
                            <a:pt x="18151" y="46"/>
                            <a:pt x="19946" y="-134"/>
                            <a:pt x="21620" y="105"/>
                          </a:cubicBezTo>
                          <a:cubicBezTo>
                            <a:pt x="23295" y="225"/>
                            <a:pt x="24790" y="823"/>
                            <a:pt x="26106" y="1780"/>
                          </a:cubicBezTo>
                          <a:moveTo>
                            <a:pt x="4217" y="29591"/>
                          </a:moveTo>
                          <a:cubicBezTo>
                            <a:pt x="4695" y="29890"/>
                            <a:pt x="5173" y="30189"/>
                            <a:pt x="5652" y="30428"/>
                          </a:cubicBezTo>
                          <a:cubicBezTo>
                            <a:pt x="6130" y="30667"/>
                            <a:pt x="6668" y="30846"/>
                            <a:pt x="7207" y="30966"/>
                          </a:cubicBezTo>
                          <a:cubicBezTo>
                            <a:pt x="7745" y="31086"/>
                            <a:pt x="8283" y="31205"/>
                            <a:pt x="8881" y="31265"/>
                          </a:cubicBezTo>
                          <a:cubicBezTo>
                            <a:pt x="9480" y="31325"/>
                            <a:pt x="10018" y="31325"/>
                            <a:pt x="10616" y="31325"/>
                          </a:cubicBezTo>
                          <a:cubicBezTo>
                            <a:pt x="10675" y="31325"/>
                            <a:pt x="10795" y="31325"/>
                            <a:pt x="10855" y="31325"/>
                          </a:cubicBezTo>
                          <a:cubicBezTo>
                            <a:pt x="10915" y="31325"/>
                            <a:pt x="11034" y="31325"/>
                            <a:pt x="11094" y="31325"/>
                          </a:cubicBezTo>
                          <a:cubicBezTo>
                            <a:pt x="11154" y="31325"/>
                            <a:pt x="11274" y="31325"/>
                            <a:pt x="11334" y="31325"/>
                          </a:cubicBezTo>
                          <a:cubicBezTo>
                            <a:pt x="11393" y="31325"/>
                            <a:pt x="11513" y="31325"/>
                            <a:pt x="11573" y="31325"/>
                          </a:cubicBezTo>
                          <a:cubicBezTo>
                            <a:pt x="12171" y="31265"/>
                            <a:pt x="12709" y="31145"/>
                            <a:pt x="13307" y="31026"/>
                          </a:cubicBezTo>
                          <a:cubicBezTo>
                            <a:pt x="13905" y="30906"/>
                            <a:pt x="14443" y="30727"/>
                            <a:pt x="15042" y="30547"/>
                          </a:cubicBezTo>
                          <a:cubicBezTo>
                            <a:pt x="15640" y="30368"/>
                            <a:pt x="16238" y="30129"/>
                            <a:pt x="16776" y="29830"/>
                          </a:cubicBezTo>
                          <a:cubicBezTo>
                            <a:pt x="17374" y="29531"/>
                            <a:pt x="17912" y="29231"/>
                            <a:pt x="18510" y="28933"/>
                          </a:cubicBezTo>
                          <a:cubicBezTo>
                            <a:pt x="18570" y="28873"/>
                            <a:pt x="18630" y="28873"/>
                            <a:pt x="18750" y="28813"/>
                          </a:cubicBezTo>
                          <a:cubicBezTo>
                            <a:pt x="18809" y="28753"/>
                            <a:pt x="18869" y="28753"/>
                            <a:pt x="18989" y="28693"/>
                          </a:cubicBezTo>
                          <a:cubicBezTo>
                            <a:pt x="19049" y="28634"/>
                            <a:pt x="19108" y="28574"/>
                            <a:pt x="19228" y="28574"/>
                          </a:cubicBezTo>
                          <a:cubicBezTo>
                            <a:pt x="19288" y="28514"/>
                            <a:pt x="19348" y="28454"/>
                            <a:pt x="19467" y="28454"/>
                          </a:cubicBezTo>
                          <a:cubicBezTo>
                            <a:pt x="19946" y="28155"/>
                            <a:pt x="20365" y="27856"/>
                            <a:pt x="20843" y="27497"/>
                          </a:cubicBezTo>
                          <a:cubicBezTo>
                            <a:pt x="21321" y="27138"/>
                            <a:pt x="21740" y="26780"/>
                            <a:pt x="22159" y="26421"/>
                          </a:cubicBezTo>
                          <a:cubicBezTo>
                            <a:pt x="22577" y="26062"/>
                            <a:pt x="22996" y="25643"/>
                            <a:pt x="23414" y="25224"/>
                          </a:cubicBezTo>
                          <a:cubicBezTo>
                            <a:pt x="23833" y="24806"/>
                            <a:pt x="24252" y="24387"/>
                            <a:pt x="24611" y="23909"/>
                          </a:cubicBezTo>
                          <a:cubicBezTo>
                            <a:pt x="24790" y="23669"/>
                            <a:pt x="24969" y="23490"/>
                            <a:pt x="25149" y="23251"/>
                          </a:cubicBezTo>
                          <a:cubicBezTo>
                            <a:pt x="25328" y="23012"/>
                            <a:pt x="25508" y="22832"/>
                            <a:pt x="25627" y="22593"/>
                          </a:cubicBezTo>
                          <a:cubicBezTo>
                            <a:pt x="25807" y="22354"/>
                            <a:pt x="25927" y="22174"/>
                            <a:pt x="26106" y="21935"/>
                          </a:cubicBezTo>
                          <a:cubicBezTo>
                            <a:pt x="26285" y="21696"/>
                            <a:pt x="26405" y="21516"/>
                            <a:pt x="26584" y="21277"/>
                          </a:cubicBezTo>
                          <a:cubicBezTo>
                            <a:pt x="26644" y="21218"/>
                            <a:pt x="26704" y="21158"/>
                            <a:pt x="26704" y="21038"/>
                          </a:cubicBezTo>
                          <a:cubicBezTo>
                            <a:pt x="26764" y="20978"/>
                            <a:pt x="26823" y="20919"/>
                            <a:pt x="26823" y="20799"/>
                          </a:cubicBezTo>
                          <a:cubicBezTo>
                            <a:pt x="26883" y="20739"/>
                            <a:pt x="26883" y="20679"/>
                            <a:pt x="26943" y="20560"/>
                          </a:cubicBezTo>
                          <a:cubicBezTo>
                            <a:pt x="27003" y="20500"/>
                            <a:pt x="27003" y="20440"/>
                            <a:pt x="27063" y="20320"/>
                          </a:cubicBezTo>
                          <a:cubicBezTo>
                            <a:pt x="27481" y="19662"/>
                            <a:pt x="27840" y="18945"/>
                            <a:pt x="28139" y="18287"/>
                          </a:cubicBezTo>
                          <a:cubicBezTo>
                            <a:pt x="28438" y="17569"/>
                            <a:pt x="28737" y="16911"/>
                            <a:pt x="28976" y="16194"/>
                          </a:cubicBezTo>
                          <a:cubicBezTo>
                            <a:pt x="29216" y="15476"/>
                            <a:pt x="29395" y="14758"/>
                            <a:pt x="29575" y="14100"/>
                          </a:cubicBezTo>
                          <a:cubicBezTo>
                            <a:pt x="29754" y="13383"/>
                            <a:pt x="29874" y="12665"/>
                            <a:pt x="29934" y="12007"/>
                          </a:cubicBezTo>
                          <a:cubicBezTo>
                            <a:pt x="29934" y="11828"/>
                            <a:pt x="29993" y="11648"/>
                            <a:pt x="29993" y="11469"/>
                          </a:cubicBezTo>
                          <a:cubicBezTo>
                            <a:pt x="29993" y="11289"/>
                            <a:pt x="29993" y="11110"/>
                            <a:pt x="29993" y="10930"/>
                          </a:cubicBezTo>
                          <a:cubicBezTo>
                            <a:pt x="29993" y="10751"/>
                            <a:pt x="29993" y="10572"/>
                            <a:pt x="29993" y="10392"/>
                          </a:cubicBezTo>
                          <a:cubicBezTo>
                            <a:pt x="29993" y="10213"/>
                            <a:pt x="29993" y="10034"/>
                            <a:pt x="29993" y="9854"/>
                          </a:cubicBezTo>
                          <a:cubicBezTo>
                            <a:pt x="29993" y="9794"/>
                            <a:pt x="29993" y="9675"/>
                            <a:pt x="29993" y="9615"/>
                          </a:cubicBezTo>
                          <a:cubicBezTo>
                            <a:pt x="29993" y="9555"/>
                            <a:pt x="29993" y="9435"/>
                            <a:pt x="29993" y="9376"/>
                          </a:cubicBezTo>
                          <a:cubicBezTo>
                            <a:pt x="29993" y="9316"/>
                            <a:pt x="29993" y="9196"/>
                            <a:pt x="29993" y="9136"/>
                          </a:cubicBezTo>
                          <a:cubicBezTo>
                            <a:pt x="29993" y="9076"/>
                            <a:pt x="29993" y="8957"/>
                            <a:pt x="29993" y="8897"/>
                          </a:cubicBezTo>
                          <a:cubicBezTo>
                            <a:pt x="29934" y="8598"/>
                            <a:pt x="29934" y="8359"/>
                            <a:pt x="29874" y="8060"/>
                          </a:cubicBezTo>
                          <a:cubicBezTo>
                            <a:pt x="29814" y="7821"/>
                            <a:pt x="29754" y="7522"/>
                            <a:pt x="29694" y="7282"/>
                          </a:cubicBezTo>
                          <a:cubicBezTo>
                            <a:pt x="29635" y="7043"/>
                            <a:pt x="29575" y="6744"/>
                            <a:pt x="29455" y="6505"/>
                          </a:cubicBezTo>
                          <a:cubicBezTo>
                            <a:pt x="29395" y="6266"/>
                            <a:pt x="29276" y="6027"/>
                            <a:pt x="29216" y="5787"/>
                          </a:cubicBezTo>
                          <a:cubicBezTo>
                            <a:pt x="29156" y="5727"/>
                            <a:pt x="29156" y="5608"/>
                            <a:pt x="29096" y="5548"/>
                          </a:cubicBezTo>
                          <a:cubicBezTo>
                            <a:pt x="29036" y="5488"/>
                            <a:pt x="29036" y="5368"/>
                            <a:pt x="28976" y="5309"/>
                          </a:cubicBezTo>
                          <a:cubicBezTo>
                            <a:pt x="28917" y="5249"/>
                            <a:pt x="28917" y="5129"/>
                            <a:pt x="28857" y="5069"/>
                          </a:cubicBezTo>
                          <a:cubicBezTo>
                            <a:pt x="28797" y="5010"/>
                            <a:pt x="28797" y="4890"/>
                            <a:pt x="28737" y="4830"/>
                          </a:cubicBezTo>
                          <a:cubicBezTo>
                            <a:pt x="28618" y="4591"/>
                            <a:pt x="28498" y="4352"/>
                            <a:pt x="28319" y="4113"/>
                          </a:cubicBezTo>
                          <a:cubicBezTo>
                            <a:pt x="28199" y="3873"/>
                            <a:pt x="28020" y="3694"/>
                            <a:pt x="27840" y="3455"/>
                          </a:cubicBezTo>
                          <a:cubicBezTo>
                            <a:pt x="27661" y="3215"/>
                            <a:pt x="27481" y="3036"/>
                            <a:pt x="27302" y="2857"/>
                          </a:cubicBezTo>
                          <a:cubicBezTo>
                            <a:pt x="27122" y="2677"/>
                            <a:pt x="26943" y="2498"/>
                            <a:pt x="26704" y="2318"/>
                          </a:cubicBezTo>
                          <a:lnTo>
                            <a:pt x="26106" y="1840"/>
                          </a:lnTo>
                          <a:cubicBezTo>
                            <a:pt x="25986" y="1720"/>
                            <a:pt x="25867" y="1660"/>
                            <a:pt x="25687" y="1541"/>
                          </a:cubicBezTo>
                          <a:cubicBezTo>
                            <a:pt x="25568" y="1481"/>
                            <a:pt x="25448" y="1361"/>
                            <a:pt x="25268" y="1302"/>
                          </a:cubicBezTo>
                          <a:cubicBezTo>
                            <a:pt x="25149" y="1242"/>
                            <a:pt x="24969" y="1122"/>
                            <a:pt x="24850" y="1063"/>
                          </a:cubicBezTo>
                          <a:cubicBezTo>
                            <a:pt x="24730" y="1003"/>
                            <a:pt x="24551" y="943"/>
                            <a:pt x="24431" y="883"/>
                          </a:cubicBezTo>
                          <a:cubicBezTo>
                            <a:pt x="24372" y="883"/>
                            <a:pt x="24312" y="823"/>
                            <a:pt x="24252" y="823"/>
                          </a:cubicBezTo>
                          <a:cubicBezTo>
                            <a:pt x="24192" y="823"/>
                            <a:pt x="24132" y="764"/>
                            <a:pt x="24073" y="764"/>
                          </a:cubicBezTo>
                          <a:cubicBezTo>
                            <a:pt x="24013" y="764"/>
                            <a:pt x="23953" y="704"/>
                            <a:pt x="23893" y="704"/>
                          </a:cubicBezTo>
                          <a:cubicBezTo>
                            <a:pt x="23833" y="704"/>
                            <a:pt x="23773" y="644"/>
                            <a:pt x="23714" y="644"/>
                          </a:cubicBezTo>
                          <a:cubicBezTo>
                            <a:pt x="23295" y="464"/>
                            <a:pt x="22816" y="345"/>
                            <a:pt x="22398" y="285"/>
                          </a:cubicBezTo>
                          <a:cubicBezTo>
                            <a:pt x="21919" y="165"/>
                            <a:pt x="21501" y="105"/>
                            <a:pt x="21022" y="105"/>
                          </a:cubicBezTo>
                          <a:cubicBezTo>
                            <a:pt x="20544" y="105"/>
                            <a:pt x="20065" y="46"/>
                            <a:pt x="19587" y="46"/>
                          </a:cubicBezTo>
                          <a:cubicBezTo>
                            <a:pt x="19108" y="46"/>
                            <a:pt x="18570" y="105"/>
                            <a:pt x="18092" y="165"/>
                          </a:cubicBezTo>
                          <a:cubicBezTo>
                            <a:pt x="18032" y="165"/>
                            <a:pt x="17972" y="165"/>
                            <a:pt x="17852" y="225"/>
                          </a:cubicBezTo>
                          <a:cubicBezTo>
                            <a:pt x="17733" y="285"/>
                            <a:pt x="17733" y="225"/>
                            <a:pt x="17613" y="285"/>
                          </a:cubicBezTo>
                          <a:cubicBezTo>
                            <a:pt x="17553" y="285"/>
                            <a:pt x="17494" y="285"/>
                            <a:pt x="17374" y="345"/>
                          </a:cubicBezTo>
                          <a:cubicBezTo>
                            <a:pt x="17314" y="345"/>
                            <a:pt x="17254" y="345"/>
                            <a:pt x="17135" y="405"/>
                          </a:cubicBezTo>
                          <a:cubicBezTo>
                            <a:pt x="16776" y="464"/>
                            <a:pt x="16357" y="584"/>
                            <a:pt x="15998" y="704"/>
                          </a:cubicBezTo>
                          <a:cubicBezTo>
                            <a:pt x="15640" y="823"/>
                            <a:pt x="15221" y="943"/>
                            <a:pt x="14862" y="1063"/>
                          </a:cubicBezTo>
                          <a:cubicBezTo>
                            <a:pt x="14503" y="1182"/>
                            <a:pt x="14084" y="1361"/>
                            <a:pt x="13726" y="1541"/>
                          </a:cubicBezTo>
                          <a:cubicBezTo>
                            <a:pt x="13367" y="1720"/>
                            <a:pt x="12948" y="1900"/>
                            <a:pt x="12589" y="2079"/>
                          </a:cubicBezTo>
                          <a:cubicBezTo>
                            <a:pt x="12470" y="2139"/>
                            <a:pt x="12350" y="2199"/>
                            <a:pt x="12290" y="2259"/>
                          </a:cubicBezTo>
                          <a:cubicBezTo>
                            <a:pt x="12171" y="2318"/>
                            <a:pt x="12051" y="2378"/>
                            <a:pt x="11991" y="2438"/>
                          </a:cubicBezTo>
                          <a:cubicBezTo>
                            <a:pt x="11872" y="2498"/>
                            <a:pt x="11752" y="2558"/>
                            <a:pt x="11692" y="2618"/>
                          </a:cubicBezTo>
                          <a:cubicBezTo>
                            <a:pt x="11573" y="2677"/>
                            <a:pt x="11453" y="2737"/>
                            <a:pt x="11393" y="2797"/>
                          </a:cubicBezTo>
                          <a:cubicBezTo>
                            <a:pt x="10855" y="3096"/>
                            <a:pt x="10376" y="3455"/>
                            <a:pt x="9838" y="3813"/>
                          </a:cubicBezTo>
                          <a:cubicBezTo>
                            <a:pt x="9360" y="4173"/>
                            <a:pt x="8821" y="4591"/>
                            <a:pt x="8343" y="4950"/>
                          </a:cubicBezTo>
                          <a:cubicBezTo>
                            <a:pt x="7865" y="5368"/>
                            <a:pt x="7386" y="5787"/>
                            <a:pt x="6908" y="6266"/>
                          </a:cubicBezTo>
                          <a:cubicBezTo>
                            <a:pt x="6429" y="6744"/>
                            <a:pt x="6011" y="7222"/>
                            <a:pt x="5532" y="7701"/>
                          </a:cubicBezTo>
                          <a:cubicBezTo>
                            <a:pt x="4755" y="8598"/>
                            <a:pt x="4037" y="9555"/>
                            <a:pt x="3439" y="10512"/>
                          </a:cubicBezTo>
                          <a:cubicBezTo>
                            <a:pt x="2841" y="11469"/>
                            <a:pt x="2303" y="12486"/>
                            <a:pt x="1824" y="13503"/>
                          </a:cubicBezTo>
                          <a:cubicBezTo>
                            <a:pt x="1346" y="14519"/>
                            <a:pt x="987" y="15536"/>
                            <a:pt x="688" y="16612"/>
                          </a:cubicBezTo>
                          <a:cubicBezTo>
                            <a:pt x="389" y="17629"/>
                            <a:pt x="209" y="18706"/>
                            <a:pt x="90" y="19722"/>
                          </a:cubicBezTo>
                          <a:cubicBezTo>
                            <a:pt x="-30" y="20739"/>
                            <a:pt x="-30" y="21756"/>
                            <a:pt x="90" y="22653"/>
                          </a:cubicBezTo>
                          <a:cubicBezTo>
                            <a:pt x="209" y="23610"/>
                            <a:pt x="389" y="24447"/>
                            <a:pt x="688" y="25284"/>
                          </a:cubicBezTo>
                          <a:cubicBezTo>
                            <a:pt x="987" y="26122"/>
                            <a:pt x="1346" y="26899"/>
                            <a:pt x="1824" y="27557"/>
                          </a:cubicBezTo>
                          <a:cubicBezTo>
                            <a:pt x="2303" y="28275"/>
                            <a:pt x="2841" y="28873"/>
                            <a:pt x="3499" y="29411"/>
                          </a:cubicBezTo>
                          <a:lnTo>
                            <a:pt x="4217" y="29591"/>
                          </a:lnTo>
                        </a:path>
                      </a:pathLst>
                    </a:custGeom>
                    <a:noFill/>
                    <a:ln w="6350" cap="flat">
                      <a:solidFill>
                        <a:schemeClr val="bg1">
                          <a:alpha val="80000"/>
                        </a:schemeClr>
                      </a:solidFill>
                      <a:prstDash val="solid"/>
                      <a:miter/>
                    </a:ln>
                  </p:spPr>
                  <p:txBody>
                    <a:bodyPr rtlCol="0" anchor="ctr"/>
                    <a:lstStyle/>
                    <a:p>
                      <a:endParaRPr lang="en-GB"/>
                    </a:p>
                  </p:txBody>
                </p:sp>
                <p:sp>
                  <p:nvSpPr>
                    <p:cNvPr id="7418" name="Vrije vorm: vorm 7417">
                      <a:extLst>
                        <a:ext uri="{FF2B5EF4-FFF2-40B4-BE49-F238E27FC236}">
                          <a16:creationId xmlns:a16="http://schemas.microsoft.com/office/drawing/2014/main" id="{140D1495-64E0-495A-A620-B3AE76EA168A}"/>
                        </a:ext>
                      </a:extLst>
                    </p:cNvPr>
                    <p:cNvSpPr/>
                    <p:nvPr/>
                  </p:nvSpPr>
                  <p:spPr>
                    <a:xfrm>
                      <a:off x="5295104" y="5392811"/>
                      <a:ext cx="29821" cy="31392"/>
                    </a:xfrm>
                    <a:custGeom>
                      <a:avLst/>
                      <a:gdLst>
                        <a:gd name="connsiteX0" fmla="*/ 25366 w 29821"/>
                        <a:gd name="connsiteY0" fmla="*/ 2737 h 31392"/>
                        <a:gd name="connsiteX1" fmla="*/ 25485 w 29821"/>
                        <a:gd name="connsiteY1" fmla="*/ 2857 h 31392"/>
                        <a:gd name="connsiteX2" fmla="*/ 25605 w 29821"/>
                        <a:gd name="connsiteY2" fmla="*/ 2976 h 31392"/>
                        <a:gd name="connsiteX3" fmla="*/ 25725 w 29821"/>
                        <a:gd name="connsiteY3" fmla="*/ 3096 h 31392"/>
                        <a:gd name="connsiteX4" fmla="*/ 25844 w 29821"/>
                        <a:gd name="connsiteY4" fmla="*/ 3216 h 31392"/>
                        <a:gd name="connsiteX5" fmla="*/ 27339 w 29821"/>
                        <a:gd name="connsiteY5" fmla="*/ 5010 h 31392"/>
                        <a:gd name="connsiteX6" fmla="*/ 28356 w 29821"/>
                        <a:gd name="connsiteY6" fmla="*/ 7163 h 31392"/>
                        <a:gd name="connsiteX7" fmla="*/ 28894 w 29821"/>
                        <a:gd name="connsiteY7" fmla="*/ 9615 h 31392"/>
                        <a:gd name="connsiteX8" fmla="*/ 28894 w 29821"/>
                        <a:gd name="connsiteY8" fmla="*/ 12366 h 31392"/>
                        <a:gd name="connsiteX9" fmla="*/ 28356 w 29821"/>
                        <a:gd name="connsiteY9" fmla="*/ 15236 h 31392"/>
                        <a:gd name="connsiteX10" fmla="*/ 27279 w 29821"/>
                        <a:gd name="connsiteY10" fmla="*/ 18107 h 31392"/>
                        <a:gd name="connsiteX11" fmla="*/ 25784 w 29821"/>
                        <a:gd name="connsiteY11" fmla="*/ 20858 h 31392"/>
                        <a:gd name="connsiteX12" fmla="*/ 23811 w 29821"/>
                        <a:gd name="connsiteY12" fmla="*/ 23490 h 31392"/>
                        <a:gd name="connsiteX13" fmla="*/ 21538 w 29821"/>
                        <a:gd name="connsiteY13" fmla="*/ 25822 h 31392"/>
                        <a:gd name="connsiteX14" fmla="*/ 19026 w 29821"/>
                        <a:gd name="connsiteY14" fmla="*/ 27736 h 31392"/>
                        <a:gd name="connsiteX15" fmla="*/ 16395 w 29821"/>
                        <a:gd name="connsiteY15" fmla="*/ 29172 h 31392"/>
                        <a:gd name="connsiteX16" fmla="*/ 13644 w 29821"/>
                        <a:gd name="connsiteY16" fmla="*/ 30129 h 31392"/>
                        <a:gd name="connsiteX17" fmla="*/ 11132 w 29821"/>
                        <a:gd name="connsiteY17" fmla="*/ 30547 h 31392"/>
                        <a:gd name="connsiteX18" fmla="*/ 8799 w 29821"/>
                        <a:gd name="connsiteY18" fmla="*/ 30488 h 31392"/>
                        <a:gd name="connsiteX19" fmla="*/ 6646 w 29821"/>
                        <a:gd name="connsiteY19" fmla="*/ 29949 h 31392"/>
                        <a:gd name="connsiteX20" fmla="*/ 4732 w 29821"/>
                        <a:gd name="connsiteY20" fmla="*/ 28933 h 31392"/>
                        <a:gd name="connsiteX21" fmla="*/ 4134 w 29821"/>
                        <a:gd name="connsiteY21" fmla="*/ 28514 h 31392"/>
                        <a:gd name="connsiteX22" fmla="*/ 1503 w 29821"/>
                        <a:gd name="connsiteY22" fmla="*/ 24566 h 31392"/>
                        <a:gd name="connsiteX23" fmla="*/ 964 w 29821"/>
                        <a:gd name="connsiteY23" fmla="*/ 19423 h 31392"/>
                        <a:gd name="connsiteX24" fmla="*/ 2520 w 29821"/>
                        <a:gd name="connsiteY24" fmla="*/ 13741 h 31392"/>
                        <a:gd name="connsiteX25" fmla="*/ 6048 w 29821"/>
                        <a:gd name="connsiteY25" fmla="*/ 8179 h 31392"/>
                        <a:gd name="connsiteX26" fmla="*/ 8380 w 29821"/>
                        <a:gd name="connsiteY26" fmla="*/ 5847 h 31392"/>
                        <a:gd name="connsiteX27" fmla="*/ 10892 w 29821"/>
                        <a:gd name="connsiteY27" fmla="*/ 3933 h 31392"/>
                        <a:gd name="connsiteX28" fmla="*/ 13584 w 29821"/>
                        <a:gd name="connsiteY28" fmla="*/ 2498 h 31392"/>
                        <a:gd name="connsiteX29" fmla="*/ 16395 w 29821"/>
                        <a:gd name="connsiteY29" fmla="*/ 1541 h 31392"/>
                        <a:gd name="connsiteX30" fmla="*/ 18966 w 29821"/>
                        <a:gd name="connsiteY30" fmla="*/ 1122 h 31392"/>
                        <a:gd name="connsiteX31" fmla="*/ 21359 w 29821"/>
                        <a:gd name="connsiteY31" fmla="*/ 1242 h 31392"/>
                        <a:gd name="connsiteX32" fmla="*/ 23512 w 29821"/>
                        <a:gd name="connsiteY32" fmla="*/ 1840 h 31392"/>
                        <a:gd name="connsiteX33" fmla="*/ 25366 w 29821"/>
                        <a:gd name="connsiteY33" fmla="*/ 2737 h 31392"/>
                        <a:gd name="connsiteX34" fmla="*/ 4075 w 29821"/>
                        <a:gd name="connsiteY34" fmla="*/ 29650 h 31392"/>
                        <a:gd name="connsiteX35" fmla="*/ 8620 w 29821"/>
                        <a:gd name="connsiteY35" fmla="*/ 31325 h 31392"/>
                        <a:gd name="connsiteX36" fmla="*/ 13943 w 29821"/>
                        <a:gd name="connsiteY36" fmla="*/ 30787 h 31392"/>
                        <a:gd name="connsiteX37" fmla="*/ 19385 w 29821"/>
                        <a:gd name="connsiteY37" fmla="*/ 28215 h 31392"/>
                        <a:gd name="connsiteX38" fmla="*/ 24349 w 29821"/>
                        <a:gd name="connsiteY38" fmla="*/ 23789 h 31392"/>
                        <a:gd name="connsiteX39" fmla="*/ 26442 w 29821"/>
                        <a:gd name="connsiteY39" fmla="*/ 21038 h 31392"/>
                        <a:gd name="connsiteX40" fmla="*/ 28057 w 29821"/>
                        <a:gd name="connsiteY40" fmla="*/ 18107 h 31392"/>
                        <a:gd name="connsiteX41" fmla="*/ 29134 w 29821"/>
                        <a:gd name="connsiteY41" fmla="*/ 15057 h 31392"/>
                        <a:gd name="connsiteX42" fmla="*/ 29732 w 29821"/>
                        <a:gd name="connsiteY42" fmla="*/ 12007 h 31392"/>
                        <a:gd name="connsiteX43" fmla="*/ 29732 w 29821"/>
                        <a:gd name="connsiteY43" fmla="*/ 9077 h 31392"/>
                        <a:gd name="connsiteX44" fmla="*/ 29193 w 29821"/>
                        <a:gd name="connsiteY44" fmla="*/ 6445 h 31392"/>
                        <a:gd name="connsiteX45" fmla="*/ 28117 w 29821"/>
                        <a:gd name="connsiteY45" fmla="*/ 4172 h 31392"/>
                        <a:gd name="connsiteX46" fmla="*/ 26502 w 29821"/>
                        <a:gd name="connsiteY46" fmla="*/ 2318 h 31392"/>
                        <a:gd name="connsiteX47" fmla="*/ 25904 w 29821"/>
                        <a:gd name="connsiteY47" fmla="*/ 1840 h 31392"/>
                        <a:gd name="connsiteX48" fmla="*/ 21359 w 29821"/>
                        <a:gd name="connsiteY48" fmla="*/ 105 h 31392"/>
                        <a:gd name="connsiteX49" fmla="*/ 16036 w 29821"/>
                        <a:gd name="connsiteY49" fmla="*/ 524 h 31392"/>
                        <a:gd name="connsiteX50" fmla="*/ 10533 w 29821"/>
                        <a:gd name="connsiteY50" fmla="*/ 3036 h 31392"/>
                        <a:gd name="connsiteX51" fmla="*/ 5450 w 29821"/>
                        <a:gd name="connsiteY51" fmla="*/ 7521 h 31392"/>
                        <a:gd name="connsiteX52" fmla="*/ 1682 w 29821"/>
                        <a:gd name="connsiteY52" fmla="*/ 13442 h 31392"/>
                        <a:gd name="connsiteX53" fmla="*/ 67 w 29821"/>
                        <a:gd name="connsiteY53" fmla="*/ 19483 h 31392"/>
                        <a:gd name="connsiteX54" fmla="*/ 606 w 29821"/>
                        <a:gd name="connsiteY54" fmla="*/ 24925 h 31392"/>
                        <a:gd name="connsiteX55" fmla="*/ 3416 w 29821"/>
                        <a:gd name="connsiteY55" fmla="*/ 29112 h 31392"/>
                        <a:gd name="connsiteX56" fmla="*/ 4075 w 29821"/>
                        <a:gd name="connsiteY56" fmla="*/ 29650 h 3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9821" h="31392">
                          <a:moveTo>
                            <a:pt x="25366" y="2737"/>
                          </a:moveTo>
                          <a:cubicBezTo>
                            <a:pt x="25425" y="2797"/>
                            <a:pt x="25425" y="2797"/>
                            <a:pt x="25485" y="2857"/>
                          </a:cubicBezTo>
                          <a:cubicBezTo>
                            <a:pt x="25545" y="2916"/>
                            <a:pt x="25545" y="2916"/>
                            <a:pt x="25605" y="2976"/>
                          </a:cubicBezTo>
                          <a:cubicBezTo>
                            <a:pt x="25665" y="3036"/>
                            <a:pt x="25665" y="3036"/>
                            <a:pt x="25725" y="3096"/>
                          </a:cubicBezTo>
                          <a:cubicBezTo>
                            <a:pt x="25784" y="3156"/>
                            <a:pt x="25784" y="3156"/>
                            <a:pt x="25844" y="3216"/>
                          </a:cubicBezTo>
                          <a:cubicBezTo>
                            <a:pt x="26442" y="3754"/>
                            <a:pt x="26921" y="4352"/>
                            <a:pt x="27339" y="5010"/>
                          </a:cubicBezTo>
                          <a:cubicBezTo>
                            <a:pt x="27758" y="5667"/>
                            <a:pt x="28117" y="6385"/>
                            <a:pt x="28356" y="7163"/>
                          </a:cubicBezTo>
                          <a:cubicBezTo>
                            <a:pt x="28595" y="7940"/>
                            <a:pt x="28775" y="8778"/>
                            <a:pt x="28894" y="9615"/>
                          </a:cubicBezTo>
                          <a:cubicBezTo>
                            <a:pt x="28954" y="10512"/>
                            <a:pt x="28954" y="11409"/>
                            <a:pt x="28894" y="12366"/>
                          </a:cubicBezTo>
                          <a:cubicBezTo>
                            <a:pt x="28775" y="13323"/>
                            <a:pt x="28595" y="14280"/>
                            <a:pt x="28356" y="15236"/>
                          </a:cubicBezTo>
                          <a:cubicBezTo>
                            <a:pt x="28117" y="16194"/>
                            <a:pt x="27758" y="17150"/>
                            <a:pt x="27279" y="18107"/>
                          </a:cubicBezTo>
                          <a:cubicBezTo>
                            <a:pt x="26861" y="19064"/>
                            <a:pt x="26323" y="19961"/>
                            <a:pt x="25784" y="20858"/>
                          </a:cubicBezTo>
                          <a:cubicBezTo>
                            <a:pt x="25186" y="21756"/>
                            <a:pt x="24529" y="22653"/>
                            <a:pt x="23811" y="23490"/>
                          </a:cubicBezTo>
                          <a:cubicBezTo>
                            <a:pt x="23093" y="24327"/>
                            <a:pt x="22316" y="25105"/>
                            <a:pt x="21538" y="25822"/>
                          </a:cubicBezTo>
                          <a:cubicBezTo>
                            <a:pt x="20761" y="26540"/>
                            <a:pt x="19923" y="27198"/>
                            <a:pt x="19026" y="27736"/>
                          </a:cubicBezTo>
                          <a:cubicBezTo>
                            <a:pt x="18189" y="28275"/>
                            <a:pt x="17292" y="28813"/>
                            <a:pt x="16395" y="29172"/>
                          </a:cubicBezTo>
                          <a:cubicBezTo>
                            <a:pt x="15498" y="29590"/>
                            <a:pt x="14541" y="29889"/>
                            <a:pt x="13644" y="30129"/>
                          </a:cubicBezTo>
                          <a:cubicBezTo>
                            <a:pt x="12806" y="30368"/>
                            <a:pt x="11969" y="30488"/>
                            <a:pt x="11132" y="30547"/>
                          </a:cubicBezTo>
                          <a:cubicBezTo>
                            <a:pt x="10294" y="30607"/>
                            <a:pt x="9517" y="30607"/>
                            <a:pt x="8799" y="30488"/>
                          </a:cubicBezTo>
                          <a:cubicBezTo>
                            <a:pt x="8022" y="30368"/>
                            <a:pt x="7304" y="30188"/>
                            <a:pt x="6646" y="29949"/>
                          </a:cubicBezTo>
                          <a:cubicBezTo>
                            <a:pt x="5988" y="29710"/>
                            <a:pt x="5330" y="29351"/>
                            <a:pt x="4732" y="28933"/>
                          </a:cubicBezTo>
                          <a:lnTo>
                            <a:pt x="4134" y="28514"/>
                          </a:lnTo>
                          <a:cubicBezTo>
                            <a:pt x="2878" y="27437"/>
                            <a:pt x="2041" y="26121"/>
                            <a:pt x="1503" y="24566"/>
                          </a:cubicBezTo>
                          <a:cubicBezTo>
                            <a:pt x="964" y="23012"/>
                            <a:pt x="785" y="21277"/>
                            <a:pt x="964" y="19423"/>
                          </a:cubicBezTo>
                          <a:cubicBezTo>
                            <a:pt x="1144" y="17569"/>
                            <a:pt x="1622" y="15655"/>
                            <a:pt x="2520" y="13741"/>
                          </a:cubicBezTo>
                          <a:cubicBezTo>
                            <a:pt x="3357" y="11828"/>
                            <a:pt x="4553" y="9914"/>
                            <a:pt x="6048" y="8179"/>
                          </a:cubicBezTo>
                          <a:cubicBezTo>
                            <a:pt x="6766" y="7342"/>
                            <a:pt x="7543" y="6565"/>
                            <a:pt x="8380" y="5847"/>
                          </a:cubicBezTo>
                          <a:cubicBezTo>
                            <a:pt x="9218" y="5129"/>
                            <a:pt x="10055" y="4471"/>
                            <a:pt x="10892" y="3933"/>
                          </a:cubicBezTo>
                          <a:cubicBezTo>
                            <a:pt x="11790" y="3395"/>
                            <a:pt x="12687" y="2857"/>
                            <a:pt x="13584" y="2498"/>
                          </a:cubicBezTo>
                          <a:cubicBezTo>
                            <a:pt x="14481" y="2079"/>
                            <a:pt x="15438" y="1780"/>
                            <a:pt x="16395" y="1541"/>
                          </a:cubicBezTo>
                          <a:cubicBezTo>
                            <a:pt x="17292" y="1302"/>
                            <a:pt x="18129" y="1182"/>
                            <a:pt x="18966" y="1122"/>
                          </a:cubicBezTo>
                          <a:cubicBezTo>
                            <a:pt x="19804" y="1062"/>
                            <a:pt x="20581" y="1122"/>
                            <a:pt x="21359" y="1242"/>
                          </a:cubicBezTo>
                          <a:cubicBezTo>
                            <a:pt x="22136" y="1362"/>
                            <a:pt x="22854" y="1541"/>
                            <a:pt x="23512" y="1840"/>
                          </a:cubicBezTo>
                          <a:cubicBezTo>
                            <a:pt x="24170" y="1959"/>
                            <a:pt x="24827" y="2318"/>
                            <a:pt x="25366" y="2737"/>
                          </a:cubicBezTo>
                          <a:moveTo>
                            <a:pt x="4075" y="29650"/>
                          </a:moveTo>
                          <a:cubicBezTo>
                            <a:pt x="5390" y="30607"/>
                            <a:pt x="6945" y="31145"/>
                            <a:pt x="8620" y="31325"/>
                          </a:cubicBezTo>
                          <a:cubicBezTo>
                            <a:pt x="10294" y="31504"/>
                            <a:pt x="12089" y="31325"/>
                            <a:pt x="13943" y="30787"/>
                          </a:cubicBezTo>
                          <a:cubicBezTo>
                            <a:pt x="15737" y="30248"/>
                            <a:pt x="17591" y="29411"/>
                            <a:pt x="19385" y="28215"/>
                          </a:cubicBezTo>
                          <a:cubicBezTo>
                            <a:pt x="21179" y="27019"/>
                            <a:pt x="22854" y="25583"/>
                            <a:pt x="24349" y="23789"/>
                          </a:cubicBezTo>
                          <a:cubicBezTo>
                            <a:pt x="25126" y="22892"/>
                            <a:pt x="25784" y="21995"/>
                            <a:pt x="26442" y="21038"/>
                          </a:cubicBezTo>
                          <a:cubicBezTo>
                            <a:pt x="27040" y="20081"/>
                            <a:pt x="27579" y="19124"/>
                            <a:pt x="28057" y="18107"/>
                          </a:cubicBezTo>
                          <a:cubicBezTo>
                            <a:pt x="28535" y="17090"/>
                            <a:pt x="28894" y="16074"/>
                            <a:pt x="29134" y="15057"/>
                          </a:cubicBezTo>
                          <a:cubicBezTo>
                            <a:pt x="29433" y="14041"/>
                            <a:pt x="29612" y="13024"/>
                            <a:pt x="29732" y="12007"/>
                          </a:cubicBezTo>
                          <a:cubicBezTo>
                            <a:pt x="29851" y="10990"/>
                            <a:pt x="29851" y="10033"/>
                            <a:pt x="29732" y="9077"/>
                          </a:cubicBezTo>
                          <a:cubicBezTo>
                            <a:pt x="29672" y="8119"/>
                            <a:pt x="29433" y="7282"/>
                            <a:pt x="29193" y="6445"/>
                          </a:cubicBezTo>
                          <a:cubicBezTo>
                            <a:pt x="28894" y="5608"/>
                            <a:pt x="28535" y="4890"/>
                            <a:pt x="28117" y="4172"/>
                          </a:cubicBezTo>
                          <a:cubicBezTo>
                            <a:pt x="27639" y="3455"/>
                            <a:pt x="27100" y="2857"/>
                            <a:pt x="26502" y="2318"/>
                          </a:cubicBezTo>
                          <a:lnTo>
                            <a:pt x="25904" y="1840"/>
                          </a:lnTo>
                          <a:cubicBezTo>
                            <a:pt x="24588" y="883"/>
                            <a:pt x="23033" y="285"/>
                            <a:pt x="21359" y="105"/>
                          </a:cubicBezTo>
                          <a:cubicBezTo>
                            <a:pt x="19684" y="-134"/>
                            <a:pt x="17890" y="46"/>
                            <a:pt x="16036" y="524"/>
                          </a:cubicBezTo>
                          <a:cubicBezTo>
                            <a:pt x="14182" y="1002"/>
                            <a:pt x="12328" y="1900"/>
                            <a:pt x="10533" y="3036"/>
                          </a:cubicBezTo>
                          <a:cubicBezTo>
                            <a:pt x="8739" y="4232"/>
                            <a:pt x="7005" y="5727"/>
                            <a:pt x="5450" y="7521"/>
                          </a:cubicBezTo>
                          <a:cubicBezTo>
                            <a:pt x="3835" y="9375"/>
                            <a:pt x="2579" y="11409"/>
                            <a:pt x="1682" y="13442"/>
                          </a:cubicBezTo>
                          <a:cubicBezTo>
                            <a:pt x="785" y="15476"/>
                            <a:pt x="247" y="17509"/>
                            <a:pt x="67" y="19483"/>
                          </a:cubicBezTo>
                          <a:cubicBezTo>
                            <a:pt x="-112" y="21457"/>
                            <a:pt x="67" y="23311"/>
                            <a:pt x="606" y="24925"/>
                          </a:cubicBezTo>
                          <a:cubicBezTo>
                            <a:pt x="1144" y="26540"/>
                            <a:pt x="2101" y="27975"/>
                            <a:pt x="3416" y="29112"/>
                          </a:cubicBezTo>
                          <a:lnTo>
                            <a:pt x="4075" y="29650"/>
                          </a:lnTo>
                        </a:path>
                      </a:pathLst>
                    </a:custGeom>
                    <a:noFill/>
                    <a:ln w="6350" cap="flat">
                      <a:solidFill>
                        <a:schemeClr val="bg1">
                          <a:alpha val="80000"/>
                        </a:schemeClr>
                      </a:solidFill>
                      <a:prstDash val="solid"/>
                      <a:miter/>
                    </a:ln>
                  </p:spPr>
                  <p:txBody>
                    <a:bodyPr rtlCol="0" anchor="ctr"/>
                    <a:lstStyle/>
                    <a:p>
                      <a:endParaRPr lang="en-GB"/>
                    </a:p>
                  </p:txBody>
                </p:sp>
                <p:sp>
                  <p:nvSpPr>
                    <p:cNvPr id="7419" name="Vrije vorm: vorm 7418">
                      <a:extLst>
                        <a:ext uri="{FF2B5EF4-FFF2-40B4-BE49-F238E27FC236}">
                          <a16:creationId xmlns:a16="http://schemas.microsoft.com/office/drawing/2014/main" id="{973B5B47-FA59-42AA-84C4-C940FA458F51}"/>
                        </a:ext>
                      </a:extLst>
                    </p:cNvPr>
                    <p:cNvSpPr/>
                    <p:nvPr/>
                  </p:nvSpPr>
                  <p:spPr>
                    <a:xfrm>
                      <a:off x="5302925" y="5400930"/>
                      <a:ext cx="14359" cy="15357"/>
                    </a:xfrm>
                    <a:custGeom>
                      <a:avLst/>
                      <a:gdLst>
                        <a:gd name="connsiteX0" fmla="*/ 11982 w 14359"/>
                        <a:gd name="connsiteY0" fmla="*/ 1854 h 15357"/>
                        <a:gd name="connsiteX1" fmla="*/ 11982 w 14359"/>
                        <a:gd name="connsiteY1" fmla="*/ 1854 h 15357"/>
                        <a:gd name="connsiteX2" fmla="*/ 12042 w 14359"/>
                        <a:gd name="connsiteY2" fmla="*/ 1914 h 15357"/>
                        <a:gd name="connsiteX3" fmla="*/ 12102 w 14359"/>
                        <a:gd name="connsiteY3" fmla="*/ 1974 h 15357"/>
                        <a:gd name="connsiteX4" fmla="*/ 12162 w 14359"/>
                        <a:gd name="connsiteY4" fmla="*/ 2034 h 15357"/>
                        <a:gd name="connsiteX5" fmla="*/ 12879 w 14359"/>
                        <a:gd name="connsiteY5" fmla="*/ 2811 h 15357"/>
                        <a:gd name="connsiteX6" fmla="*/ 13358 w 14359"/>
                        <a:gd name="connsiteY6" fmla="*/ 3768 h 15357"/>
                        <a:gd name="connsiteX7" fmla="*/ 13597 w 14359"/>
                        <a:gd name="connsiteY7" fmla="*/ 4904 h 15357"/>
                        <a:gd name="connsiteX8" fmla="*/ 13597 w 14359"/>
                        <a:gd name="connsiteY8" fmla="*/ 6160 h 15357"/>
                        <a:gd name="connsiteX9" fmla="*/ 13358 w 14359"/>
                        <a:gd name="connsiteY9" fmla="*/ 7476 h 15357"/>
                        <a:gd name="connsiteX10" fmla="*/ 12879 w 14359"/>
                        <a:gd name="connsiteY10" fmla="*/ 8792 h 15357"/>
                        <a:gd name="connsiteX11" fmla="*/ 12162 w 14359"/>
                        <a:gd name="connsiteY11" fmla="*/ 10048 h 15357"/>
                        <a:gd name="connsiteX12" fmla="*/ 11265 w 14359"/>
                        <a:gd name="connsiteY12" fmla="*/ 11244 h 15357"/>
                        <a:gd name="connsiteX13" fmla="*/ 9112 w 14359"/>
                        <a:gd name="connsiteY13" fmla="*/ 13158 h 15357"/>
                        <a:gd name="connsiteX14" fmla="*/ 6779 w 14359"/>
                        <a:gd name="connsiteY14" fmla="*/ 14234 h 15357"/>
                        <a:gd name="connsiteX15" fmla="*/ 4506 w 14359"/>
                        <a:gd name="connsiteY15" fmla="*/ 14474 h 15357"/>
                        <a:gd name="connsiteX16" fmla="*/ 2533 w 14359"/>
                        <a:gd name="connsiteY16" fmla="*/ 13756 h 15357"/>
                        <a:gd name="connsiteX17" fmla="*/ 2293 w 14359"/>
                        <a:gd name="connsiteY17" fmla="*/ 13516 h 15357"/>
                        <a:gd name="connsiteX18" fmla="*/ 1098 w 14359"/>
                        <a:gd name="connsiteY18" fmla="*/ 11722 h 15357"/>
                        <a:gd name="connsiteX19" fmla="*/ 858 w 14359"/>
                        <a:gd name="connsiteY19" fmla="*/ 9390 h 15357"/>
                        <a:gd name="connsiteX20" fmla="*/ 1576 w 14359"/>
                        <a:gd name="connsiteY20" fmla="*/ 6818 h 15357"/>
                        <a:gd name="connsiteX21" fmla="*/ 3191 w 14359"/>
                        <a:gd name="connsiteY21" fmla="*/ 4306 h 15357"/>
                        <a:gd name="connsiteX22" fmla="*/ 4207 w 14359"/>
                        <a:gd name="connsiteY22" fmla="*/ 3230 h 15357"/>
                        <a:gd name="connsiteX23" fmla="*/ 5344 w 14359"/>
                        <a:gd name="connsiteY23" fmla="*/ 2333 h 15357"/>
                        <a:gd name="connsiteX24" fmla="*/ 6600 w 14359"/>
                        <a:gd name="connsiteY24" fmla="*/ 1675 h 15357"/>
                        <a:gd name="connsiteX25" fmla="*/ 7856 w 14359"/>
                        <a:gd name="connsiteY25" fmla="*/ 1196 h 15357"/>
                        <a:gd name="connsiteX26" fmla="*/ 9052 w 14359"/>
                        <a:gd name="connsiteY26" fmla="*/ 1017 h 15357"/>
                        <a:gd name="connsiteX27" fmla="*/ 10128 w 14359"/>
                        <a:gd name="connsiteY27" fmla="*/ 1077 h 15357"/>
                        <a:gd name="connsiteX28" fmla="*/ 11145 w 14359"/>
                        <a:gd name="connsiteY28" fmla="*/ 1376 h 15357"/>
                        <a:gd name="connsiteX29" fmla="*/ 11982 w 14359"/>
                        <a:gd name="connsiteY29" fmla="*/ 1854 h 15357"/>
                        <a:gd name="connsiteX30" fmla="*/ 1576 w 14359"/>
                        <a:gd name="connsiteY30" fmla="*/ 14234 h 15357"/>
                        <a:gd name="connsiteX31" fmla="*/ 1875 w 14359"/>
                        <a:gd name="connsiteY31" fmla="*/ 14474 h 15357"/>
                        <a:gd name="connsiteX32" fmla="*/ 4088 w 14359"/>
                        <a:gd name="connsiteY32" fmla="*/ 15311 h 15357"/>
                        <a:gd name="connsiteX33" fmla="*/ 6660 w 14359"/>
                        <a:gd name="connsiteY33" fmla="*/ 15072 h 15357"/>
                        <a:gd name="connsiteX34" fmla="*/ 9291 w 14359"/>
                        <a:gd name="connsiteY34" fmla="*/ 13815 h 15357"/>
                        <a:gd name="connsiteX35" fmla="*/ 11683 w 14359"/>
                        <a:gd name="connsiteY35" fmla="*/ 11662 h 15357"/>
                        <a:gd name="connsiteX36" fmla="*/ 12700 w 14359"/>
                        <a:gd name="connsiteY36" fmla="*/ 10287 h 15357"/>
                        <a:gd name="connsiteX37" fmla="*/ 13477 w 14359"/>
                        <a:gd name="connsiteY37" fmla="*/ 8852 h 15357"/>
                        <a:gd name="connsiteX38" fmla="*/ 14016 w 14359"/>
                        <a:gd name="connsiteY38" fmla="*/ 7357 h 15357"/>
                        <a:gd name="connsiteX39" fmla="*/ 14315 w 14359"/>
                        <a:gd name="connsiteY39" fmla="*/ 5861 h 15357"/>
                        <a:gd name="connsiteX40" fmla="*/ 14315 w 14359"/>
                        <a:gd name="connsiteY40" fmla="*/ 4426 h 15357"/>
                        <a:gd name="connsiteX41" fmla="*/ 14076 w 14359"/>
                        <a:gd name="connsiteY41" fmla="*/ 3170 h 15357"/>
                        <a:gd name="connsiteX42" fmla="*/ 13537 w 14359"/>
                        <a:gd name="connsiteY42" fmla="*/ 2034 h 15357"/>
                        <a:gd name="connsiteX43" fmla="*/ 12760 w 14359"/>
                        <a:gd name="connsiteY43" fmla="*/ 1136 h 15357"/>
                        <a:gd name="connsiteX44" fmla="*/ 12461 w 14359"/>
                        <a:gd name="connsiteY44" fmla="*/ 897 h 15357"/>
                        <a:gd name="connsiteX45" fmla="*/ 11504 w 14359"/>
                        <a:gd name="connsiteY45" fmla="*/ 359 h 15357"/>
                        <a:gd name="connsiteX46" fmla="*/ 10427 w 14359"/>
                        <a:gd name="connsiteY46" fmla="*/ 60 h 15357"/>
                        <a:gd name="connsiteX47" fmla="*/ 9231 w 14359"/>
                        <a:gd name="connsiteY47" fmla="*/ 0 h 15357"/>
                        <a:gd name="connsiteX48" fmla="*/ 7915 w 14359"/>
                        <a:gd name="connsiteY48" fmla="*/ 180 h 15357"/>
                        <a:gd name="connsiteX49" fmla="*/ 6480 w 14359"/>
                        <a:gd name="connsiteY49" fmla="*/ 658 h 15357"/>
                        <a:gd name="connsiteX50" fmla="*/ 5105 w 14359"/>
                        <a:gd name="connsiteY50" fmla="*/ 1436 h 15357"/>
                        <a:gd name="connsiteX51" fmla="*/ 3789 w 14359"/>
                        <a:gd name="connsiteY51" fmla="*/ 2452 h 15357"/>
                        <a:gd name="connsiteX52" fmla="*/ 2593 w 14359"/>
                        <a:gd name="connsiteY52" fmla="*/ 3649 h 15357"/>
                        <a:gd name="connsiteX53" fmla="*/ 798 w 14359"/>
                        <a:gd name="connsiteY53" fmla="*/ 6459 h 15357"/>
                        <a:gd name="connsiteX54" fmla="*/ 21 w 14359"/>
                        <a:gd name="connsiteY54" fmla="*/ 9390 h 15357"/>
                        <a:gd name="connsiteX55" fmla="*/ 320 w 14359"/>
                        <a:gd name="connsiteY55" fmla="*/ 12021 h 15357"/>
                        <a:gd name="connsiteX56" fmla="*/ 1576 w 14359"/>
                        <a:gd name="connsiteY56" fmla="*/ 14234 h 1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4359" h="15357">
                          <a:moveTo>
                            <a:pt x="11982" y="1854"/>
                          </a:moveTo>
                          <a:cubicBezTo>
                            <a:pt x="11982" y="1854"/>
                            <a:pt x="11982" y="1854"/>
                            <a:pt x="11982" y="1854"/>
                          </a:cubicBezTo>
                          <a:cubicBezTo>
                            <a:pt x="12042" y="1914"/>
                            <a:pt x="12042" y="1914"/>
                            <a:pt x="12042" y="1914"/>
                          </a:cubicBezTo>
                          <a:cubicBezTo>
                            <a:pt x="12042" y="1914"/>
                            <a:pt x="12042" y="1914"/>
                            <a:pt x="12102" y="1974"/>
                          </a:cubicBezTo>
                          <a:cubicBezTo>
                            <a:pt x="12102" y="1974"/>
                            <a:pt x="12102" y="1974"/>
                            <a:pt x="12162" y="2034"/>
                          </a:cubicBezTo>
                          <a:cubicBezTo>
                            <a:pt x="12401" y="2273"/>
                            <a:pt x="12640" y="2512"/>
                            <a:pt x="12879" y="2811"/>
                          </a:cubicBezTo>
                          <a:cubicBezTo>
                            <a:pt x="13059" y="3110"/>
                            <a:pt x="13238" y="3409"/>
                            <a:pt x="13358" y="3768"/>
                          </a:cubicBezTo>
                          <a:cubicBezTo>
                            <a:pt x="13477" y="4127"/>
                            <a:pt x="13537" y="4486"/>
                            <a:pt x="13597" y="4904"/>
                          </a:cubicBezTo>
                          <a:cubicBezTo>
                            <a:pt x="13657" y="5323"/>
                            <a:pt x="13657" y="5742"/>
                            <a:pt x="13597" y="6160"/>
                          </a:cubicBezTo>
                          <a:cubicBezTo>
                            <a:pt x="13537" y="6579"/>
                            <a:pt x="13477" y="6998"/>
                            <a:pt x="13358" y="7476"/>
                          </a:cubicBezTo>
                          <a:cubicBezTo>
                            <a:pt x="13238" y="7895"/>
                            <a:pt x="13059" y="8373"/>
                            <a:pt x="12879" y="8792"/>
                          </a:cubicBezTo>
                          <a:cubicBezTo>
                            <a:pt x="12700" y="9211"/>
                            <a:pt x="12461" y="9629"/>
                            <a:pt x="12162" y="10048"/>
                          </a:cubicBezTo>
                          <a:cubicBezTo>
                            <a:pt x="11923" y="10466"/>
                            <a:pt x="11623" y="10885"/>
                            <a:pt x="11265" y="11244"/>
                          </a:cubicBezTo>
                          <a:cubicBezTo>
                            <a:pt x="10607" y="12021"/>
                            <a:pt x="9889" y="12620"/>
                            <a:pt x="9112" y="13158"/>
                          </a:cubicBezTo>
                          <a:cubicBezTo>
                            <a:pt x="8334" y="13696"/>
                            <a:pt x="7556" y="14055"/>
                            <a:pt x="6779" y="14234"/>
                          </a:cubicBezTo>
                          <a:cubicBezTo>
                            <a:pt x="6001" y="14474"/>
                            <a:pt x="5224" y="14533"/>
                            <a:pt x="4506" y="14474"/>
                          </a:cubicBezTo>
                          <a:cubicBezTo>
                            <a:pt x="3789" y="14414"/>
                            <a:pt x="3131" y="14175"/>
                            <a:pt x="2533" y="13756"/>
                          </a:cubicBezTo>
                          <a:lnTo>
                            <a:pt x="2293" y="13516"/>
                          </a:lnTo>
                          <a:cubicBezTo>
                            <a:pt x="1755" y="13038"/>
                            <a:pt x="1337" y="12440"/>
                            <a:pt x="1098" y="11722"/>
                          </a:cubicBezTo>
                          <a:cubicBezTo>
                            <a:pt x="858" y="11005"/>
                            <a:pt x="798" y="10227"/>
                            <a:pt x="858" y="9390"/>
                          </a:cubicBezTo>
                          <a:cubicBezTo>
                            <a:pt x="918" y="8553"/>
                            <a:pt x="1157" y="7655"/>
                            <a:pt x="1576" y="6818"/>
                          </a:cubicBezTo>
                          <a:cubicBezTo>
                            <a:pt x="1935" y="5921"/>
                            <a:pt x="2533" y="5084"/>
                            <a:pt x="3191" y="4306"/>
                          </a:cubicBezTo>
                          <a:cubicBezTo>
                            <a:pt x="3490" y="3947"/>
                            <a:pt x="3848" y="3589"/>
                            <a:pt x="4207" y="3230"/>
                          </a:cubicBezTo>
                          <a:cubicBezTo>
                            <a:pt x="4566" y="2931"/>
                            <a:pt x="4985" y="2632"/>
                            <a:pt x="5344" y="2333"/>
                          </a:cubicBezTo>
                          <a:cubicBezTo>
                            <a:pt x="5702" y="2034"/>
                            <a:pt x="6181" y="1854"/>
                            <a:pt x="6600" y="1675"/>
                          </a:cubicBezTo>
                          <a:cubicBezTo>
                            <a:pt x="7018" y="1495"/>
                            <a:pt x="7437" y="1316"/>
                            <a:pt x="7856" y="1196"/>
                          </a:cubicBezTo>
                          <a:cubicBezTo>
                            <a:pt x="8274" y="1077"/>
                            <a:pt x="8633" y="1017"/>
                            <a:pt x="9052" y="1017"/>
                          </a:cubicBezTo>
                          <a:cubicBezTo>
                            <a:pt x="9410" y="1017"/>
                            <a:pt x="9769" y="1017"/>
                            <a:pt x="10128" y="1077"/>
                          </a:cubicBezTo>
                          <a:cubicBezTo>
                            <a:pt x="10487" y="1136"/>
                            <a:pt x="10786" y="1256"/>
                            <a:pt x="11145" y="1376"/>
                          </a:cubicBezTo>
                          <a:cubicBezTo>
                            <a:pt x="11504" y="1495"/>
                            <a:pt x="11683" y="1675"/>
                            <a:pt x="11982" y="1854"/>
                          </a:cubicBezTo>
                          <a:moveTo>
                            <a:pt x="1576" y="14234"/>
                          </a:moveTo>
                          <a:lnTo>
                            <a:pt x="1875" y="14474"/>
                          </a:lnTo>
                          <a:cubicBezTo>
                            <a:pt x="2533" y="14952"/>
                            <a:pt x="3251" y="15191"/>
                            <a:pt x="4088" y="15311"/>
                          </a:cubicBezTo>
                          <a:cubicBezTo>
                            <a:pt x="4925" y="15430"/>
                            <a:pt x="5762" y="15311"/>
                            <a:pt x="6660" y="15072"/>
                          </a:cubicBezTo>
                          <a:cubicBezTo>
                            <a:pt x="7556" y="14832"/>
                            <a:pt x="8454" y="14414"/>
                            <a:pt x="9291" y="13815"/>
                          </a:cubicBezTo>
                          <a:cubicBezTo>
                            <a:pt x="10128" y="13277"/>
                            <a:pt x="10966" y="12560"/>
                            <a:pt x="11683" y="11662"/>
                          </a:cubicBezTo>
                          <a:cubicBezTo>
                            <a:pt x="12042" y="11244"/>
                            <a:pt x="12401" y="10766"/>
                            <a:pt x="12700" y="10287"/>
                          </a:cubicBezTo>
                          <a:cubicBezTo>
                            <a:pt x="12999" y="9808"/>
                            <a:pt x="13238" y="9330"/>
                            <a:pt x="13477" y="8852"/>
                          </a:cubicBezTo>
                          <a:cubicBezTo>
                            <a:pt x="13717" y="8373"/>
                            <a:pt x="13896" y="7895"/>
                            <a:pt x="14016" y="7357"/>
                          </a:cubicBezTo>
                          <a:cubicBezTo>
                            <a:pt x="14135" y="6878"/>
                            <a:pt x="14255" y="6340"/>
                            <a:pt x="14315" y="5861"/>
                          </a:cubicBezTo>
                          <a:cubicBezTo>
                            <a:pt x="14375" y="5383"/>
                            <a:pt x="14375" y="4904"/>
                            <a:pt x="14315" y="4426"/>
                          </a:cubicBezTo>
                          <a:cubicBezTo>
                            <a:pt x="14255" y="3947"/>
                            <a:pt x="14195" y="3529"/>
                            <a:pt x="14076" y="3170"/>
                          </a:cubicBezTo>
                          <a:cubicBezTo>
                            <a:pt x="13956" y="2751"/>
                            <a:pt x="13777" y="2392"/>
                            <a:pt x="13537" y="2034"/>
                          </a:cubicBezTo>
                          <a:cubicBezTo>
                            <a:pt x="13298" y="1675"/>
                            <a:pt x="13059" y="1376"/>
                            <a:pt x="12760" y="1136"/>
                          </a:cubicBezTo>
                          <a:lnTo>
                            <a:pt x="12461" y="897"/>
                          </a:lnTo>
                          <a:cubicBezTo>
                            <a:pt x="12162" y="658"/>
                            <a:pt x="11863" y="479"/>
                            <a:pt x="11504" y="359"/>
                          </a:cubicBezTo>
                          <a:cubicBezTo>
                            <a:pt x="11145" y="239"/>
                            <a:pt x="10786" y="120"/>
                            <a:pt x="10427" y="60"/>
                          </a:cubicBezTo>
                          <a:cubicBezTo>
                            <a:pt x="10069" y="0"/>
                            <a:pt x="9650" y="0"/>
                            <a:pt x="9231" y="0"/>
                          </a:cubicBezTo>
                          <a:cubicBezTo>
                            <a:pt x="8813" y="0"/>
                            <a:pt x="8394" y="120"/>
                            <a:pt x="7915" y="180"/>
                          </a:cubicBezTo>
                          <a:cubicBezTo>
                            <a:pt x="7437" y="299"/>
                            <a:pt x="6959" y="479"/>
                            <a:pt x="6480" y="658"/>
                          </a:cubicBezTo>
                          <a:cubicBezTo>
                            <a:pt x="6001" y="897"/>
                            <a:pt x="5523" y="1136"/>
                            <a:pt x="5105" y="1436"/>
                          </a:cubicBezTo>
                          <a:cubicBezTo>
                            <a:pt x="4626" y="1735"/>
                            <a:pt x="4207" y="2093"/>
                            <a:pt x="3789" y="2452"/>
                          </a:cubicBezTo>
                          <a:cubicBezTo>
                            <a:pt x="3370" y="2811"/>
                            <a:pt x="2952" y="3230"/>
                            <a:pt x="2593" y="3649"/>
                          </a:cubicBezTo>
                          <a:cubicBezTo>
                            <a:pt x="1815" y="4545"/>
                            <a:pt x="1217" y="5503"/>
                            <a:pt x="798" y="6459"/>
                          </a:cubicBezTo>
                          <a:cubicBezTo>
                            <a:pt x="380" y="7416"/>
                            <a:pt x="81" y="8433"/>
                            <a:pt x="21" y="9390"/>
                          </a:cubicBezTo>
                          <a:cubicBezTo>
                            <a:pt x="-39" y="10347"/>
                            <a:pt x="21" y="11244"/>
                            <a:pt x="320" y="12021"/>
                          </a:cubicBezTo>
                          <a:cubicBezTo>
                            <a:pt x="499" y="12978"/>
                            <a:pt x="978" y="13696"/>
                            <a:pt x="1576" y="14234"/>
                          </a:cubicBezTo>
                        </a:path>
                      </a:pathLst>
                    </a:custGeom>
                    <a:noFill/>
                    <a:ln w="6350" cap="flat">
                      <a:solidFill>
                        <a:schemeClr val="bg1">
                          <a:alpha val="80000"/>
                        </a:schemeClr>
                      </a:solidFill>
                      <a:prstDash val="solid"/>
                      <a:miter/>
                    </a:ln>
                  </p:spPr>
                  <p:txBody>
                    <a:bodyPr rtlCol="0" anchor="ctr"/>
                    <a:lstStyle/>
                    <a:p>
                      <a:endParaRPr lang="en-GB"/>
                    </a:p>
                  </p:txBody>
                </p:sp>
                <p:sp>
                  <p:nvSpPr>
                    <p:cNvPr id="7420" name="Vrije vorm: vorm 7419">
                      <a:extLst>
                        <a:ext uri="{FF2B5EF4-FFF2-40B4-BE49-F238E27FC236}">
                          <a16:creationId xmlns:a16="http://schemas.microsoft.com/office/drawing/2014/main" id="{83853CE3-69CB-43D3-AE34-592F0B358E4A}"/>
                        </a:ext>
                      </a:extLst>
                    </p:cNvPr>
                    <p:cNvSpPr/>
                    <p:nvPr/>
                  </p:nvSpPr>
                  <p:spPr>
                    <a:xfrm>
                      <a:off x="5305518" y="5403697"/>
                      <a:ext cx="9292" cy="9875"/>
                    </a:xfrm>
                    <a:custGeom>
                      <a:avLst/>
                      <a:gdLst>
                        <a:gd name="connsiteX0" fmla="*/ 7476 w 9292"/>
                        <a:gd name="connsiteY0" fmla="*/ 1420 h 9875"/>
                        <a:gd name="connsiteX1" fmla="*/ 7476 w 9292"/>
                        <a:gd name="connsiteY1" fmla="*/ 1420 h 9875"/>
                        <a:gd name="connsiteX2" fmla="*/ 7476 w 9292"/>
                        <a:gd name="connsiteY2" fmla="*/ 1420 h 9875"/>
                        <a:gd name="connsiteX3" fmla="*/ 7535 w 9292"/>
                        <a:gd name="connsiteY3" fmla="*/ 1480 h 9875"/>
                        <a:gd name="connsiteX4" fmla="*/ 7535 w 9292"/>
                        <a:gd name="connsiteY4" fmla="*/ 1480 h 9875"/>
                        <a:gd name="connsiteX5" fmla="*/ 8253 w 9292"/>
                        <a:gd name="connsiteY5" fmla="*/ 2557 h 9875"/>
                        <a:gd name="connsiteX6" fmla="*/ 8373 w 9292"/>
                        <a:gd name="connsiteY6" fmla="*/ 3992 h 9875"/>
                        <a:gd name="connsiteX7" fmla="*/ 7954 w 9292"/>
                        <a:gd name="connsiteY7" fmla="*/ 5547 h 9875"/>
                        <a:gd name="connsiteX8" fmla="*/ 6997 w 9292"/>
                        <a:gd name="connsiteY8" fmla="*/ 7042 h 9875"/>
                        <a:gd name="connsiteX9" fmla="*/ 5681 w 9292"/>
                        <a:gd name="connsiteY9" fmla="*/ 8179 h 9875"/>
                        <a:gd name="connsiteX10" fmla="*/ 4246 w 9292"/>
                        <a:gd name="connsiteY10" fmla="*/ 8836 h 9875"/>
                        <a:gd name="connsiteX11" fmla="*/ 2871 w 9292"/>
                        <a:gd name="connsiteY11" fmla="*/ 8956 h 9875"/>
                        <a:gd name="connsiteX12" fmla="*/ 1674 w 9292"/>
                        <a:gd name="connsiteY12" fmla="*/ 8537 h 9875"/>
                        <a:gd name="connsiteX13" fmla="*/ 1674 w 9292"/>
                        <a:gd name="connsiteY13" fmla="*/ 8537 h 9875"/>
                        <a:gd name="connsiteX14" fmla="*/ 1674 w 9292"/>
                        <a:gd name="connsiteY14" fmla="*/ 8537 h 9875"/>
                        <a:gd name="connsiteX15" fmla="*/ 1674 w 9292"/>
                        <a:gd name="connsiteY15" fmla="*/ 8537 h 9875"/>
                        <a:gd name="connsiteX16" fmla="*/ 1674 w 9292"/>
                        <a:gd name="connsiteY16" fmla="*/ 8537 h 9875"/>
                        <a:gd name="connsiteX17" fmla="*/ 1256 w 9292"/>
                        <a:gd name="connsiteY17" fmla="*/ 8059 h 9875"/>
                        <a:gd name="connsiteX18" fmla="*/ 957 w 9292"/>
                        <a:gd name="connsiteY18" fmla="*/ 7461 h 9875"/>
                        <a:gd name="connsiteX19" fmla="*/ 837 w 9292"/>
                        <a:gd name="connsiteY19" fmla="*/ 6803 h 9875"/>
                        <a:gd name="connsiteX20" fmla="*/ 837 w 9292"/>
                        <a:gd name="connsiteY20" fmla="*/ 6026 h 9875"/>
                        <a:gd name="connsiteX21" fmla="*/ 957 w 9292"/>
                        <a:gd name="connsiteY21" fmla="*/ 5248 h 9875"/>
                        <a:gd name="connsiteX22" fmla="*/ 1256 w 9292"/>
                        <a:gd name="connsiteY22" fmla="*/ 4471 h 9875"/>
                        <a:gd name="connsiteX23" fmla="*/ 1674 w 9292"/>
                        <a:gd name="connsiteY23" fmla="*/ 3693 h 9875"/>
                        <a:gd name="connsiteX24" fmla="*/ 2213 w 9292"/>
                        <a:gd name="connsiteY24" fmla="*/ 2975 h 9875"/>
                        <a:gd name="connsiteX25" fmla="*/ 2871 w 9292"/>
                        <a:gd name="connsiteY25" fmla="*/ 2318 h 9875"/>
                        <a:gd name="connsiteX26" fmla="*/ 3588 w 9292"/>
                        <a:gd name="connsiteY26" fmla="*/ 1779 h 9875"/>
                        <a:gd name="connsiteX27" fmla="*/ 4306 w 9292"/>
                        <a:gd name="connsiteY27" fmla="*/ 1360 h 9875"/>
                        <a:gd name="connsiteX28" fmla="*/ 5083 w 9292"/>
                        <a:gd name="connsiteY28" fmla="*/ 1062 h 9875"/>
                        <a:gd name="connsiteX29" fmla="*/ 5801 w 9292"/>
                        <a:gd name="connsiteY29" fmla="*/ 942 h 9875"/>
                        <a:gd name="connsiteX30" fmla="*/ 6459 w 9292"/>
                        <a:gd name="connsiteY30" fmla="*/ 1002 h 9875"/>
                        <a:gd name="connsiteX31" fmla="*/ 7057 w 9292"/>
                        <a:gd name="connsiteY31" fmla="*/ 1181 h 9875"/>
                        <a:gd name="connsiteX32" fmla="*/ 7476 w 9292"/>
                        <a:gd name="connsiteY32" fmla="*/ 1420 h 9875"/>
                        <a:gd name="connsiteX33" fmla="*/ 1196 w 9292"/>
                        <a:gd name="connsiteY33" fmla="*/ 9315 h 9875"/>
                        <a:gd name="connsiteX34" fmla="*/ 2632 w 9292"/>
                        <a:gd name="connsiteY34" fmla="*/ 9853 h 9875"/>
                        <a:gd name="connsiteX35" fmla="*/ 4306 w 9292"/>
                        <a:gd name="connsiteY35" fmla="*/ 9674 h 9875"/>
                        <a:gd name="connsiteX36" fmla="*/ 5981 w 9292"/>
                        <a:gd name="connsiteY36" fmla="*/ 8896 h 9875"/>
                        <a:gd name="connsiteX37" fmla="*/ 7535 w 9292"/>
                        <a:gd name="connsiteY37" fmla="*/ 7521 h 9875"/>
                        <a:gd name="connsiteX38" fmla="*/ 8732 w 9292"/>
                        <a:gd name="connsiteY38" fmla="*/ 5667 h 9875"/>
                        <a:gd name="connsiteX39" fmla="*/ 9270 w 9292"/>
                        <a:gd name="connsiteY39" fmla="*/ 3813 h 9875"/>
                        <a:gd name="connsiteX40" fmla="*/ 9090 w 9292"/>
                        <a:gd name="connsiteY40" fmla="*/ 2078 h 9875"/>
                        <a:gd name="connsiteX41" fmla="*/ 8253 w 9292"/>
                        <a:gd name="connsiteY41" fmla="*/ 763 h 9875"/>
                        <a:gd name="connsiteX42" fmla="*/ 8074 w 9292"/>
                        <a:gd name="connsiteY42" fmla="*/ 583 h 9875"/>
                        <a:gd name="connsiteX43" fmla="*/ 7416 w 9292"/>
                        <a:gd name="connsiteY43" fmla="*/ 224 h 9875"/>
                        <a:gd name="connsiteX44" fmla="*/ 6698 w 9292"/>
                        <a:gd name="connsiteY44" fmla="*/ 45 h 9875"/>
                        <a:gd name="connsiteX45" fmla="*/ 5921 w 9292"/>
                        <a:gd name="connsiteY45" fmla="*/ 45 h 9875"/>
                        <a:gd name="connsiteX46" fmla="*/ 5083 w 9292"/>
                        <a:gd name="connsiteY46" fmla="*/ 165 h 9875"/>
                        <a:gd name="connsiteX47" fmla="*/ 4186 w 9292"/>
                        <a:gd name="connsiteY47" fmla="*/ 464 h 9875"/>
                        <a:gd name="connsiteX48" fmla="*/ 3289 w 9292"/>
                        <a:gd name="connsiteY48" fmla="*/ 942 h 9875"/>
                        <a:gd name="connsiteX49" fmla="*/ 2452 w 9292"/>
                        <a:gd name="connsiteY49" fmla="*/ 1600 h 9875"/>
                        <a:gd name="connsiteX50" fmla="*/ 1674 w 9292"/>
                        <a:gd name="connsiteY50" fmla="*/ 2377 h 9875"/>
                        <a:gd name="connsiteX51" fmla="*/ 1017 w 9292"/>
                        <a:gd name="connsiteY51" fmla="*/ 3274 h 9875"/>
                        <a:gd name="connsiteX52" fmla="*/ 538 w 9292"/>
                        <a:gd name="connsiteY52" fmla="*/ 4172 h 9875"/>
                        <a:gd name="connsiteX53" fmla="*/ 179 w 9292"/>
                        <a:gd name="connsiteY53" fmla="*/ 5128 h 9875"/>
                        <a:gd name="connsiteX54" fmla="*/ 0 w 9292"/>
                        <a:gd name="connsiteY54" fmla="*/ 6085 h 9875"/>
                        <a:gd name="connsiteX55" fmla="*/ 0 w 9292"/>
                        <a:gd name="connsiteY55" fmla="*/ 6982 h 9875"/>
                        <a:gd name="connsiteX56" fmla="*/ 179 w 9292"/>
                        <a:gd name="connsiteY56" fmla="*/ 7820 h 9875"/>
                        <a:gd name="connsiteX57" fmla="*/ 538 w 9292"/>
                        <a:gd name="connsiteY57" fmla="*/ 8537 h 9875"/>
                        <a:gd name="connsiteX58" fmla="*/ 1076 w 9292"/>
                        <a:gd name="connsiteY58" fmla="*/ 9136 h 9875"/>
                        <a:gd name="connsiteX59" fmla="*/ 1136 w 9292"/>
                        <a:gd name="connsiteY59" fmla="*/ 9195 h 9875"/>
                        <a:gd name="connsiteX60" fmla="*/ 1196 w 9292"/>
                        <a:gd name="connsiteY60" fmla="*/ 9255 h 9875"/>
                        <a:gd name="connsiteX61" fmla="*/ 1196 w 9292"/>
                        <a:gd name="connsiteY61" fmla="*/ 9315 h 9875"/>
                        <a:gd name="connsiteX62" fmla="*/ 1196 w 9292"/>
                        <a:gd name="connsiteY62" fmla="*/ 9315 h 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292" h="9875">
                          <a:moveTo>
                            <a:pt x="7476" y="1420"/>
                          </a:moveTo>
                          <a:cubicBezTo>
                            <a:pt x="7476" y="1420"/>
                            <a:pt x="7476" y="1420"/>
                            <a:pt x="7476" y="1420"/>
                          </a:cubicBezTo>
                          <a:cubicBezTo>
                            <a:pt x="7535" y="1480"/>
                            <a:pt x="7535" y="1480"/>
                            <a:pt x="7476" y="1420"/>
                          </a:cubicBezTo>
                          <a:cubicBezTo>
                            <a:pt x="7535" y="1480"/>
                            <a:pt x="7535" y="1480"/>
                            <a:pt x="7535" y="1480"/>
                          </a:cubicBezTo>
                          <a:cubicBezTo>
                            <a:pt x="7535" y="1480"/>
                            <a:pt x="7535" y="1480"/>
                            <a:pt x="7535" y="1480"/>
                          </a:cubicBezTo>
                          <a:cubicBezTo>
                            <a:pt x="7894" y="1779"/>
                            <a:pt x="8134" y="2138"/>
                            <a:pt x="8253" y="2557"/>
                          </a:cubicBezTo>
                          <a:cubicBezTo>
                            <a:pt x="8373" y="2975"/>
                            <a:pt x="8433" y="3454"/>
                            <a:pt x="8373" y="3992"/>
                          </a:cubicBezTo>
                          <a:cubicBezTo>
                            <a:pt x="8313" y="4471"/>
                            <a:pt x="8194" y="5009"/>
                            <a:pt x="7954" y="5547"/>
                          </a:cubicBezTo>
                          <a:cubicBezTo>
                            <a:pt x="7715" y="6085"/>
                            <a:pt x="7416" y="6564"/>
                            <a:pt x="6997" y="7042"/>
                          </a:cubicBezTo>
                          <a:cubicBezTo>
                            <a:pt x="6579" y="7521"/>
                            <a:pt x="6160" y="7880"/>
                            <a:pt x="5681" y="8179"/>
                          </a:cubicBezTo>
                          <a:cubicBezTo>
                            <a:pt x="5203" y="8478"/>
                            <a:pt x="4725" y="8717"/>
                            <a:pt x="4246" y="8836"/>
                          </a:cubicBezTo>
                          <a:cubicBezTo>
                            <a:pt x="3768" y="8956"/>
                            <a:pt x="3289" y="9016"/>
                            <a:pt x="2871" y="8956"/>
                          </a:cubicBezTo>
                          <a:cubicBezTo>
                            <a:pt x="2452" y="8896"/>
                            <a:pt x="2033" y="8777"/>
                            <a:pt x="1674" y="8537"/>
                          </a:cubicBezTo>
                          <a:cubicBezTo>
                            <a:pt x="1674" y="8537"/>
                            <a:pt x="1674" y="8537"/>
                            <a:pt x="1674" y="8537"/>
                          </a:cubicBezTo>
                          <a:cubicBezTo>
                            <a:pt x="1674" y="8537"/>
                            <a:pt x="1674" y="8537"/>
                            <a:pt x="1674" y="8537"/>
                          </a:cubicBezTo>
                          <a:cubicBezTo>
                            <a:pt x="1674" y="8537"/>
                            <a:pt x="1674" y="8537"/>
                            <a:pt x="1674" y="8537"/>
                          </a:cubicBezTo>
                          <a:cubicBezTo>
                            <a:pt x="1674" y="8537"/>
                            <a:pt x="1674" y="8537"/>
                            <a:pt x="1674" y="8537"/>
                          </a:cubicBezTo>
                          <a:cubicBezTo>
                            <a:pt x="1495" y="8418"/>
                            <a:pt x="1375" y="8238"/>
                            <a:pt x="1256" y="8059"/>
                          </a:cubicBezTo>
                          <a:cubicBezTo>
                            <a:pt x="1136" y="7880"/>
                            <a:pt x="1017" y="7700"/>
                            <a:pt x="957" y="7461"/>
                          </a:cubicBezTo>
                          <a:cubicBezTo>
                            <a:pt x="897" y="7222"/>
                            <a:pt x="837" y="7042"/>
                            <a:pt x="837" y="6803"/>
                          </a:cubicBezTo>
                          <a:cubicBezTo>
                            <a:pt x="837" y="6564"/>
                            <a:pt x="837" y="6325"/>
                            <a:pt x="837" y="6026"/>
                          </a:cubicBezTo>
                          <a:cubicBezTo>
                            <a:pt x="837" y="5787"/>
                            <a:pt x="897" y="5487"/>
                            <a:pt x="957" y="5248"/>
                          </a:cubicBezTo>
                          <a:cubicBezTo>
                            <a:pt x="1017" y="5009"/>
                            <a:pt x="1136" y="4710"/>
                            <a:pt x="1256" y="4471"/>
                          </a:cubicBezTo>
                          <a:cubicBezTo>
                            <a:pt x="1375" y="4231"/>
                            <a:pt x="1495" y="3933"/>
                            <a:pt x="1674" y="3693"/>
                          </a:cubicBezTo>
                          <a:cubicBezTo>
                            <a:pt x="1854" y="3454"/>
                            <a:pt x="2033" y="3214"/>
                            <a:pt x="2213" y="2975"/>
                          </a:cubicBezTo>
                          <a:cubicBezTo>
                            <a:pt x="2392" y="2736"/>
                            <a:pt x="2632" y="2557"/>
                            <a:pt x="2871" y="2318"/>
                          </a:cubicBezTo>
                          <a:cubicBezTo>
                            <a:pt x="3110" y="2138"/>
                            <a:pt x="3349" y="1959"/>
                            <a:pt x="3588" y="1779"/>
                          </a:cubicBezTo>
                          <a:cubicBezTo>
                            <a:pt x="3827" y="1600"/>
                            <a:pt x="4067" y="1480"/>
                            <a:pt x="4306" y="1360"/>
                          </a:cubicBezTo>
                          <a:cubicBezTo>
                            <a:pt x="4545" y="1241"/>
                            <a:pt x="4785" y="1181"/>
                            <a:pt x="5083" y="1062"/>
                          </a:cubicBezTo>
                          <a:cubicBezTo>
                            <a:pt x="5323" y="1002"/>
                            <a:pt x="5562" y="942"/>
                            <a:pt x="5801" y="942"/>
                          </a:cubicBezTo>
                          <a:cubicBezTo>
                            <a:pt x="6040" y="942"/>
                            <a:pt x="6220" y="942"/>
                            <a:pt x="6459" y="1002"/>
                          </a:cubicBezTo>
                          <a:cubicBezTo>
                            <a:pt x="6698" y="1062"/>
                            <a:pt x="6878" y="1121"/>
                            <a:pt x="7057" y="1181"/>
                          </a:cubicBezTo>
                          <a:cubicBezTo>
                            <a:pt x="7117" y="1181"/>
                            <a:pt x="7296" y="1301"/>
                            <a:pt x="7476" y="1420"/>
                          </a:cubicBezTo>
                          <a:moveTo>
                            <a:pt x="1196" y="9315"/>
                          </a:moveTo>
                          <a:cubicBezTo>
                            <a:pt x="1615" y="9614"/>
                            <a:pt x="2093" y="9794"/>
                            <a:pt x="2632" y="9853"/>
                          </a:cubicBezTo>
                          <a:cubicBezTo>
                            <a:pt x="3170" y="9913"/>
                            <a:pt x="3708" y="9853"/>
                            <a:pt x="4306" y="9674"/>
                          </a:cubicBezTo>
                          <a:cubicBezTo>
                            <a:pt x="4904" y="9495"/>
                            <a:pt x="5442" y="9255"/>
                            <a:pt x="5981" y="8896"/>
                          </a:cubicBezTo>
                          <a:cubicBezTo>
                            <a:pt x="6519" y="8537"/>
                            <a:pt x="7057" y="8059"/>
                            <a:pt x="7535" y="7521"/>
                          </a:cubicBezTo>
                          <a:cubicBezTo>
                            <a:pt x="8014" y="6923"/>
                            <a:pt x="8433" y="6325"/>
                            <a:pt x="8732" y="5667"/>
                          </a:cubicBezTo>
                          <a:cubicBezTo>
                            <a:pt x="9031" y="5009"/>
                            <a:pt x="9210" y="4411"/>
                            <a:pt x="9270" y="3813"/>
                          </a:cubicBezTo>
                          <a:cubicBezTo>
                            <a:pt x="9330" y="3214"/>
                            <a:pt x="9270" y="2617"/>
                            <a:pt x="9090" y="2078"/>
                          </a:cubicBezTo>
                          <a:cubicBezTo>
                            <a:pt x="8911" y="1540"/>
                            <a:pt x="8612" y="1121"/>
                            <a:pt x="8253" y="763"/>
                          </a:cubicBezTo>
                          <a:lnTo>
                            <a:pt x="8074" y="583"/>
                          </a:lnTo>
                          <a:cubicBezTo>
                            <a:pt x="7894" y="464"/>
                            <a:pt x="7655" y="344"/>
                            <a:pt x="7416" y="224"/>
                          </a:cubicBezTo>
                          <a:cubicBezTo>
                            <a:pt x="7177" y="105"/>
                            <a:pt x="6937" y="45"/>
                            <a:pt x="6698" y="45"/>
                          </a:cubicBezTo>
                          <a:cubicBezTo>
                            <a:pt x="6459" y="-15"/>
                            <a:pt x="6160" y="-15"/>
                            <a:pt x="5921" y="45"/>
                          </a:cubicBezTo>
                          <a:cubicBezTo>
                            <a:pt x="5622" y="45"/>
                            <a:pt x="5382" y="105"/>
                            <a:pt x="5083" y="165"/>
                          </a:cubicBezTo>
                          <a:cubicBezTo>
                            <a:pt x="4785" y="224"/>
                            <a:pt x="4486" y="344"/>
                            <a:pt x="4186" y="464"/>
                          </a:cubicBezTo>
                          <a:cubicBezTo>
                            <a:pt x="3887" y="583"/>
                            <a:pt x="3588" y="763"/>
                            <a:pt x="3289" y="942"/>
                          </a:cubicBezTo>
                          <a:cubicBezTo>
                            <a:pt x="2990" y="1121"/>
                            <a:pt x="2691" y="1360"/>
                            <a:pt x="2452" y="1600"/>
                          </a:cubicBezTo>
                          <a:cubicBezTo>
                            <a:pt x="2153" y="1839"/>
                            <a:pt x="1914" y="2078"/>
                            <a:pt x="1674" y="2377"/>
                          </a:cubicBezTo>
                          <a:cubicBezTo>
                            <a:pt x="1435" y="2676"/>
                            <a:pt x="1196" y="2975"/>
                            <a:pt x="1017" y="3274"/>
                          </a:cubicBezTo>
                          <a:cubicBezTo>
                            <a:pt x="837" y="3573"/>
                            <a:pt x="658" y="3873"/>
                            <a:pt x="538" y="4172"/>
                          </a:cubicBezTo>
                          <a:cubicBezTo>
                            <a:pt x="418" y="4471"/>
                            <a:pt x="299" y="4829"/>
                            <a:pt x="179" y="5128"/>
                          </a:cubicBezTo>
                          <a:cubicBezTo>
                            <a:pt x="119" y="5428"/>
                            <a:pt x="0" y="5787"/>
                            <a:pt x="0" y="6085"/>
                          </a:cubicBezTo>
                          <a:cubicBezTo>
                            <a:pt x="0" y="6384"/>
                            <a:pt x="0" y="6743"/>
                            <a:pt x="0" y="6982"/>
                          </a:cubicBezTo>
                          <a:cubicBezTo>
                            <a:pt x="0" y="7282"/>
                            <a:pt x="60" y="7581"/>
                            <a:pt x="179" y="7820"/>
                          </a:cubicBezTo>
                          <a:cubicBezTo>
                            <a:pt x="299" y="8059"/>
                            <a:pt x="359" y="8298"/>
                            <a:pt x="538" y="8537"/>
                          </a:cubicBezTo>
                          <a:cubicBezTo>
                            <a:pt x="658" y="8777"/>
                            <a:pt x="837" y="8956"/>
                            <a:pt x="1076" y="9136"/>
                          </a:cubicBezTo>
                          <a:cubicBezTo>
                            <a:pt x="1076" y="9136"/>
                            <a:pt x="1136" y="9136"/>
                            <a:pt x="1136" y="9195"/>
                          </a:cubicBezTo>
                          <a:cubicBezTo>
                            <a:pt x="1136" y="9195"/>
                            <a:pt x="1196" y="9195"/>
                            <a:pt x="1196" y="9255"/>
                          </a:cubicBezTo>
                          <a:cubicBezTo>
                            <a:pt x="1076" y="9255"/>
                            <a:pt x="1136" y="9255"/>
                            <a:pt x="1196" y="9315"/>
                          </a:cubicBezTo>
                          <a:cubicBezTo>
                            <a:pt x="1136" y="9315"/>
                            <a:pt x="1196" y="9315"/>
                            <a:pt x="1196" y="9315"/>
                          </a:cubicBezTo>
                        </a:path>
                      </a:pathLst>
                    </a:custGeom>
                    <a:noFill/>
                    <a:ln w="6350" cap="flat">
                      <a:solidFill>
                        <a:schemeClr val="bg1">
                          <a:alpha val="80000"/>
                        </a:schemeClr>
                      </a:solidFill>
                      <a:prstDash val="solid"/>
                      <a:miter/>
                    </a:ln>
                  </p:spPr>
                  <p:txBody>
                    <a:bodyPr rtlCol="0" anchor="ctr"/>
                    <a:lstStyle/>
                    <a:p>
                      <a:endParaRPr lang="en-GB"/>
                    </a:p>
                  </p:txBody>
                </p:sp>
                <p:sp>
                  <p:nvSpPr>
                    <p:cNvPr id="7421" name="Vrije vorm: vorm 7420">
                      <a:extLst>
                        <a:ext uri="{FF2B5EF4-FFF2-40B4-BE49-F238E27FC236}">
                          <a16:creationId xmlns:a16="http://schemas.microsoft.com/office/drawing/2014/main" id="{026FB742-7667-4CAF-B0D6-5A90172B700A}"/>
                        </a:ext>
                      </a:extLst>
                    </p:cNvPr>
                    <p:cNvSpPr/>
                    <p:nvPr/>
                  </p:nvSpPr>
                  <p:spPr>
                    <a:xfrm>
                      <a:off x="5314369" y="5411755"/>
                      <a:ext cx="5047" cy="5442"/>
                    </a:xfrm>
                    <a:custGeom>
                      <a:avLst/>
                      <a:gdLst>
                        <a:gd name="connsiteX0" fmla="*/ 3888 w 5047"/>
                        <a:gd name="connsiteY0" fmla="*/ 1136 h 5442"/>
                        <a:gd name="connsiteX1" fmla="*/ 4187 w 5047"/>
                        <a:gd name="connsiteY1" fmla="*/ 1615 h 5442"/>
                        <a:gd name="connsiteX2" fmla="*/ 4246 w 5047"/>
                        <a:gd name="connsiteY2" fmla="*/ 2273 h 5442"/>
                        <a:gd name="connsiteX3" fmla="*/ 4067 w 5047"/>
                        <a:gd name="connsiteY3" fmla="*/ 2990 h 5442"/>
                        <a:gd name="connsiteX4" fmla="*/ 3648 w 5047"/>
                        <a:gd name="connsiteY4" fmla="*/ 3649 h 5442"/>
                        <a:gd name="connsiteX5" fmla="*/ 3050 w 5047"/>
                        <a:gd name="connsiteY5" fmla="*/ 4187 h 5442"/>
                        <a:gd name="connsiteX6" fmla="*/ 2392 w 5047"/>
                        <a:gd name="connsiteY6" fmla="*/ 4486 h 5442"/>
                        <a:gd name="connsiteX7" fmla="*/ 1794 w 5047"/>
                        <a:gd name="connsiteY7" fmla="*/ 4545 h 5442"/>
                        <a:gd name="connsiteX8" fmla="*/ 1256 w 5047"/>
                        <a:gd name="connsiteY8" fmla="*/ 4366 h 5442"/>
                        <a:gd name="connsiteX9" fmla="*/ 1196 w 5047"/>
                        <a:gd name="connsiteY9" fmla="*/ 4306 h 5442"/>
                        <a:gd name="connsiteX10" fmla="*/ 837 w 5047"/>
                        <a:gd name="connsiteY10" fmla="*/ 3828 h 5442"/>
                        <a:gd name="connsiteX11" fmla="*/ 778 w 5047"/>
                        <a:gd name="connsiteY11" fmla="*/ 3170 h 5442"/>
                        <a:gd name="connsiteX12" fmla="*/ 957 w 5047"/>
                        <a:gd name="connsiteY12" fmla="*/ 2452 h 5442"/>
                        <a:gd name="connsiteX13" fmla="*/ 1375 w 5047"/>
                        <a:gd name="connsiteY13" fmla="*/ 1795 h 5442"/>
                        <a:gd name="connsiteX14" fmla="*/ 1974 w 5047"/>
                        <a:gd name="connsiteY14" fmla="*/ 1256 h 5442"/>
                        <a:gd name="connsiteX15" fmla="*/ 2632 w 5047"/>
                        <a:gd name="connsiteY15" fmla="*/ 957 h 5442"/>
                        <a:gd name="connsiteX16" fmla="*/ 3229 w 5047"/>
                        <a:gd name="connsiteY16" fmla="*/ 897 h 5442"/>
                        <a:gd name="connsiteX17" fmla="*/ 3768 w 5047"/>
                        <a:gd name="connsiteY17" fmla="*/ 1077 h 5442"/>
                        <a:gd name="connsiteX18" fmla="*/ 3888 w 5047"/>
                        <a:gd name="connsiteY18" fmla="*/ 1136 h 5442"/>
                        <a:gd name="connsiteX19" fmla="*/ 658 w 5047"/>
                        <a:gd name="connsiteY19" fmla="*/ 5144 h 5442"/>
                        <a:gd name="connsiteX20" fmla="*/ 1435 w 5047"/>
                        <a:gd name="connsiteY20" fmla="*/ 5443 h 5442"/>
                        <a:gd name="connsiteX21" fmla="*/ 2333 w 5047"/>
                        <a:gd name="connsiteY21" fmla="*/ 5323 h 5442"/>
                        <a:gd name="connsiteX22" fmla="*/ 3229 w 5047"/>
                        <a:gd name="connsiteY22" fmla="*/ 4904 h 5442"/>
                        <a:gd name="connsiteX23" fmla="*/ 4067 w 5047"/>
                        <a:gd name="connsiteY23" fmla="*/ 4127 h 5442"/>
                        <a:gd name="connsiteX24" fmla="*/ 4725 w 5047"/>
                        <a:gd name="connsiteY24" fmla="*/ 3110 h 5442"/>
                        <a:gd name="connsiteX25" fmla="*/ 5024 w 5047"/>
                        <a:gd name="connsiteY25" fmla="*/ 2093 h 5442"/>
                        <a:gd name="connsiteX26" fmla="*/ 4904 w 5047"/>
                        <a:gd name="connsiteY26" fmla="*/ 1136 h 5442"/>
                        <a:gd name="connsiteX27" fmla="*/ 4426 w 5047"/>
                        <a:gd name="connsiteY27" fmla="*/ 419 h 5442"/>
                        <a:gd name="connsiteX28" fmla="*/ 4366 w 5047"/>
                        <a:gd name="connsiteY28" fmla="*/ 299 h 5442"/>
                        <a:gd name="connsiteX29" fmla="*/ 4007 w 5047"/>
                        <a:gd name="connsiteY29" fmla="*/ 120 h 5442"/>
                        <a:gd name="connsiteX30" fmla="*/ 3648 w 5047"/>
                        <a:gd name="connsiteY30" fmla="*/ 0 h 5442"/>
                        <a:gd name="connsiteX31" fmla="*/ 3229 w 5047"/>
                        <a:gd name="connsiteY31" fmla="*/ 0 h 5442"/>
                        <a:gd name="connsiteX32" fmla="*/ 2811 w 5047"/>
                        <a:gd name="connsiteY32" fmla="*/ 60 h 5442"/>
                        <a:gd name="connsiteX33" fmla="*/ 2333 w 5047"/>
                        <a:gd name="connsiteY33" fmla="*/ 239 h 5442"/>
                        <a:gd name="connsiteX34" fmla="*/ 1854 w 5047"/>
                        <a:gd name="connsiteY34" fmla="*/ 479 h 5442"/>
                        <a:gd name="connsiteX35" fmla="*/ 1375 w 5047"/>
                        <a:gd name="connsiteY35" fmla="*/ 837 h 5442"/>
                        <a:gd name="connsiteX36" fmla="*/ 897 w 5047"/>
                        <a:gd name="connsiteY36" fmla="*/ 1316 h 5442"/>
                        <a:gd name="connsiteX37" fmla="*/ 538 w 5047"/>
                        <a:gd name="connsiteY37" fmla="*/ 1854 h 5442"/>
                        <a:gd name="connsiteX38" fmla="*/ 239 w 5047"/>
                        <a:gd name="connsiteY38" fmla="*/ 2392 h 5442"/>
                        <a:gd name="connsiteX39" fmla="*/ 60 w 5047"/>
                        <a:gd name="connsiteY39" fmla="*/ 2931 h 5442"/>
                        <a:gd name="connsiteX40" fmla="*/ 0 w 5047"/>
                        <a:gd name="connsiteY40" fmla="*/ 3469 h 5442"/>
                        <a:gd name="connsiteX41" fmla="*/ 0 w 5047"/>
                        <a:gd name="connsiteY41" fmla="*/ 3947 h 5442"/>
                        <a:gd name="connsiteX42" fmla="*/ 120 w 5047"/>
                        <a:gd name="connsiteY42" fmla="*/ 4366 h 5442"/>
                        <a:gd name="connsiteX43" fmla="*/ 299 w 5047"/>
                        <a:gd name="connsiteY43" fmla="*/ 4725 h 5442"/>
                        <a:gd name="connsiteX44" fmla="*/ 598 w 5047"/>
                        <a:gd name="connsiteY44" fmla="*/ 5024 h 5442"/>
                        <a:gd name="connsiteX45" fmla="*/ 658 w 5047"/>
                        <a:gd name="connsiteY45" fmla="*/ 5084 h 5442"/>
                        <a:gd name="connsiteX46" fmla="*/ 718 w 5047"/>
                        <a:gd name="connsiteY46" fmla="*/ 5144 h 5442"/>
                        <a:gd name="connsiteX47" fmla="*/ 658 w 5047"/>
                        <a:gd name="connsiteY47" fmla="*/ 5144 h 5442"/>
                        <a:gd name="connsiteX48" fmla="*/ 658 w 5047"/>
                        <a:gd name="connsiteY48" fmla="*/ 5144 h 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47" h="5442">
                          <a:moveTo>
                            <a:pt x="3888" y="1136"/>
                          </a:moveTo>
                          <a:cubicBezTo>
                            <a:pt x="4007" y="1256"/>
                            <a:pt x="4127" y="1436"/>
                            <a:pt x="4187" y="1615"/>
                          </a:cubicBezTo>
                          <a:cubicBezTo>
                            <a:pt x="4246" y="1795"/>
                            <a:pt x="4246" y="2034"/>
                            <a:pt x="4246" y="2273"/>
                          </a:cubicBezTo>
                          <a:cubicBezTo>
                            <a:pt x="4246" y="2512"/>
                            <a:pt x="4187" y="2751"/>
                            <a:pt x="4067" y="2990"/>
                          </a:cubicBezTo>
                          <a:cubicBezTo>
                            <a:pt x="3947" y="3230"/>
                            <a:pt x="3828" y="3469"/>
                            <a:pt x="3648" y="3649"/>
                          </a:cubicBezTo>
                          <a:cubicBezTo>
                            <a:pt x="3469" y="3888"/>
                            <a:pt x="3289" y="4007"/>
                            <a:pt x="3050" y="4187"/>
                          </a:cubicBezTo>
                          <a:cubicBezTo>
                            <a:pt x="2811" y="4306"/>
                            <a:pt x="2632" y="4426"/>
                            <a:pt x="2392" y="4486"/>
                          </a:cubicBezTo>
                          <a:cubicBezTo>
                            <a:pt x="2153" y="4545"/>
                            <a:pt x="1974" y="4545"/>
                            <a:pt x="1794" y="4545"/>
                          </a:cubicBezTo>
                          <a:cubicBezTo>
                            <a:pt x="1615" y="4545"/>
                            <a:pt x="1435" y="4486"/>
                            <a:pt x="1256" y="4366"/>
                          </a:cubicBezTo>
                          <a:lnTo>
                            <a:pt x="1196" y="4306"/>
                          </a:lnTo>
                          <a:cubicBezTo>
                            <a:pt x="1017" y="4187"/>
                            <a:pt x="957" y="4007"/>
                            <a:pt x="837" y="3828"/>
                          </a:cubicBezTo>
                          <a:cubicBezTo>
                            <a:pt x="778" y="3649"/>
                            <a:pt x="778" y="3409"/>
                            <a:pt x="778" y="3170"/>
                          </a:cubicBezTo>
                          <a:cubicBezTo>
                            <a:pt x="778" y="2931"/>
                            <a:pt x="837" y="2691"/>
                            <a:pt x="957" y="2452"/>
                          </a:cubicBezTo>
                          <a:cubicBezTo>
                            <a:pt x="1076" y="2213"/>
                            <a:pt x="1196" y="1974"/>
                            <a:pt x="1375" y="1795"/>
                          </a:cubicBezTo>
                          <a:cubicBezTo>
                            <a:pt x="1555" y="1555"/>
                            <a:pt x="1734" y="1436"/>
                            <a:pt x="1974" y="1256"/>
                          </a:cubicBezTo>
                          <a:cubicBezTo>
                            <a:pt x="2153" y="1136"/>
                            <a:pt x="2392" y="1017"/>
                            <a:pt x="2632" y="957"/>
                          </a:cubicBezTo>
                          <a:cubicBezTo>
                            <a:pt x="2871" y="897"/>
                            <a:pt x="3050" y="897"/>
                            <a:pt x="3229" y="897"/>
                          </a:cubicBezTo>
                          <a:cubicBezTo>
                            <a:pt x="3409" y="897"/>
                            <a:pt x="3588" y="957"/>
                            <a:pt x="3768" y="1077"/>
                          </a:cubicBezTo>
                          <a:lnTo>
                            <a:pt x="3888" y="1136"/>
                          </a:lnTo>
                          <a:moveTo>
                            <a:pt x="658" y="5144"/>
                          </a:moveTo>
                          <a:cubicBezTo>
                            <a:pt x="897" y="5323"/>
                            <a:pt x="1136" y="5383"/>
                            <a:pt x="1435" y="5443"/>
                          </a:cubicBezTo>
                          <a:cubicBezTo>
                            <a:pt x="1734" y="5443"/>
                            <a:pt x="2033" y="5443"/>
                            <a:pt x="2333" y="5323"/>
                          </a:cubicBezTo>
                          <a:cubicBezTo>
                            <a:pt x="2632" y="5204"/>
                            <a:pt x="2930" y="5084"/>
                            <a:pt x="3229" y="4904"/>
                          </a:cubicBezTo>
                          <a:cubicBezTo>
                            <a:pt x="3528" y="4725"/>
                            <a:pt x="3828" y="4426"/>
                            <a:pt x="4067" y="4127"/>
                          </a:cubicBezTo>
                          <a:cubicBezTo>
                            <a:pt x="4366" y="3828"/>
                            <a:pt x="4545" y="3469"/>
                            <a:pt x="4725" y="3110"/>
                          </a:cubicBezTo>
                          <a:cubicBezTo>
                            <a:pt x="4904" y="2751"/>
                            <a:pt x="4964" y="2392"/>
                            <a:pt x="5024" y="2093"/>
                          </a:cubicBezTo>
                          <a:cubicBezTo>
                            <a:pt x="5083" y="1735"/>
                            <a:pt x="5024" y="1436"/>
                            <a:pt x="4904" y="1136"/>
                          </a:cubicBezTo>
                          <a:cubicBezTo>
                            <a:pt x="4785" y="837"/>
                            <a:pt x="4665" y="598"/>
                            <a:pt x="4426" y="419"/>
                          </a:cubicBezTo>
                          <a:lnTo>
                            <a:pt x="4366" y="299"/>
                          </a:lnTo>
                          <a:cubicBezTo>
                            <a:pt x="4246" y="239"/>
                            <a:pt x="4127" y="180"/>
                            <a:pt x="4007" y="120"/>
                          </a:cubicBezTo>
                          <a:cubicBezTo>
                            <a:pt x="3888" y="60"/>
                            <a:pt x="3768" y="60"/>
                            <a:pt x="3648" y="0"/>
                          </a:cubicBezTo>
                          <a:cubicBezTo>
                            <a:pt x="3528" y="0"/>
                            <a:pt x="3349" y="0"/>
                            <a:pt x="3229" y="0"/>
                          </a:cubicBezTo>
                          <a:cubicBezTo>
                            <a:pt x="3110" y="0"/>
                            <a:pt x="2930" y="0"/>
                            <a:pt x="2811" y="60"/>
                          </a:cubicBezTo>
                          <a:cubicBezTo>
                            <a:pt x="2632" y="120"/>
                            <a:pt x="2452" y="180"/>
                            <a:pt x="2333" y="239"/>
                          </a:cubicBezTo>
                          <a:cubicBezTo>
                            <a:pt x="2153" y="299"/>
                            <a:pt x="1974" y="419"/>
                            <a:pt x="1854" y="479"/>
                          </a:cubicBezTo>
                          <a:cubicBezTo>
                            <a:pt x="1674" y="598"/>
                            <a:pt x="1555" y="718"/>
                            <a:pt x="1375" y="837"/>
                          </a:cubicBezTo>
                          <a:cubicBezTo>
                            <a:pt x="1196" y="957"/>
                            <a:pt x="1076" y="1136"/>
                            <a:pt x="897" y="1316"/>
                          </a:cubicBezTo>
                          <a:cubicBezTo>
                            <a:pt x="778" y="1495"/>
                            <a:pt x="658" y="1675"/>
                            <a:pt x="538" y="1854"/>
                          </a:cubicBezTo>
                          <a:cubicBezTo>
                            <a:pt x="419" y="2034"/>
                            <a:pt x="359" y="2213"/>
                            <a:pt x="239" y="2392"/>
                          </a:cubicBezTo>
                          <a:cubicBezTo>
                            <a:pt x="179" y="2572"/>
                            <a:pt x="120" y="2751"/>
                            <a:pt x="60" y="2931"/>
                          </a:cubicBezTo>
                          <a:cubicBezTo>
                            <a:pt x="0" y="3110"/>
                            <a:pt x="0" y="3290"/>
                            <a:pt x="0" y="3469"/>
                          </a:cubicBezTo>
                          <a:cubicBezTo>
                            <a:pt x="0" y="3649"/>
                            <a:pt x="0" y="3768"/>
                            <a:pt x="0" y="3947"/>
                          </a:cubicBezTo>
                          <a:cubicBezTo>
                            <a:pt x="0" y="4067"/>
                            <a:pt x="60" y="4246"/>
                            <a:pt x="120" y="4366"/>
                          </a:cubicBezTo>
                          <a:cubicBezTo>
                            <a:pt x="179" y="4486"/>
                            <a:pt x="239" y="4605"/>
                            <a:pt x="299" y="4725"/>
                          </a:cubicBezTo>
                          <a:cubicBezTo>
                            <a:pt x="359" y="4845"/>
                            <a:pt x="479" y="4964"/>
                            <a:pt x="598" y="5024"/>
                          </a:cubicBezTo>
                          <a:cubicBezTo>
                            <a:pt x="598" y="5024"/>
                            <a:pt x="598" y="5024"/>
                            <a:pt x="658" y="5084"/>
                          </a:cubicBezTo>
                          <a:cubicBezTo>
                            <a:pt x="658" y="5084"/>
                            <a:pt x="658" y="5084"/>
                            <a:pt x="718" y="5144"/>
                          </a:cubicBezTo>
                          <a:cubicBezTo>
                            <a:pt x="598" y="5084"/>
                            <a:pt x="598" y="5084"/>
                            <a:pt x="658" y="5144"/>
                          </a:cubicBezTo>
                          <a:cubicBezTo>
                            <a:pt x="658" y="5084"/>
                            <a:pt x="658" y="5144"/>
                            <a:pt x="658" y="5144"/>
                          </a:cubicBezTo>
                        </a:path>
                      </a:pathLst>
                    </a:custGeom>
                    <a:noFill/>
                    <a:ln w="6350" cap="flat">
                      <a:solidFill>
                        <a:schemeClr val="bg1">
                          <a:alpha val="80000"/>
                        </a:schemeClr>
                      </a:solidFill>
                      <a:prstDash val="solid"/>
                      <a:miter/>
                    </a:ln>
                  </p:spPr>
                  <p:txBody>
                    <a:bodyPr rtlCol="0" anchor="ctr"/>
                    <a:lstStyle/>
                    <a:p>
                      <a:endParaRPr lang="en-GB"/>
                    </a:p>
                  </p:txBody>
                </p:sp>
                <p:sp>
                  <p:nvSpPr>
                    <p:cNvPr id="7422" name="Vrije vorm: vorm 7421">
                      <a:extLst>
                        <a:ext uri="{FF2B5EF4-FFF2-40B4-BE49-F238E27FC236}">
                          <a16:creationId xmlns:a16="http://schemas.microsoft.com/office/drawing/2014/main" id="{43DDD7DC-ED28-4A56-8E3D-9F5B6F7AED23}"/>
                        </a:ext>
                      </a:extLst>
                    </p:cNvPr>
                    <p:cNvSpPr/>
                    <p:nvPr/>
                  </p:nvSpPr>
                  <p:spPr>
                    <a:xfrm>
                      <a:off x="5318197" y="5403383"/>
                      <a:ext cx="5023" cy="5263"/>
                    </a:xfrm>
                    <a:custGeom>
                      <a:avLst/>
                      <a:gdLst>
                        <a:gd name="connsiteX0" fmla="*/ 1615 w 5023"/>
                        <a:gd name="connsiteY0" fmla="*/ 4366 h 5263"/>
                        <a:gd name="connsiteX1" fmla="*/ 1555 w 5023"/>
                        <a:gd name="connsiteY1" fmla="*/ 4366 h 5263"/>
                        <a:gd name="connsiteX2" fmla="*/ 1495 w 5023"/>
                        <a:gd name="connsiteY2" fmla="*/ 4306 h 5263"/>
                        <a:gd name="connsiteX3" fmla="*/ 1435 w 5023"/>
                        <a:gd name="connsiteY3" fmla="*/ 4246 h 5263"/>
                        <a:gd name="connsiteX4" fmla="*/ 1375 w 5023"/>
                        <a:gd name="connsiteY4" fmla="*/ 4187 h 5263"/>
                        <a:gd name="connsiteX5" fmla="*/ 1316 w 5023"/>
                        <a:gd name="connsiteY5" fmla="*/ 4127 h 5263"/>
                        <a:gd name="connsiteX6" fmla="*/ 1136 w 5023"/>
                        <a:gd name="connsiteY6" fmla="*/ 3947 h 5263"/>
                        <a:gd name="connsiteX7" fmla="*/ 1017 w 5023"/>
                        <a:gd name="connsiteY7" fmla="*/ 3708 h 5263"/>
                        <a:gd name="connsiteX8" fmla="*/ 957 w 5023"/>
                        <a:gd name="connsiteY8" fmla="*/ 3409 h 5263"/>
                        <a:gd name="connsiteX9" fmla="*/ 957 w 5023"/>
                        <a:gd name="connsiteY9" fmla="*/ 3050 h 5263"/>
                        <a:gd name="connsiteX10" fmla="*/ 1017 w 5023"/>
                        <a:gd name="connsiteY10" fmla="*/ 2691 h 5263"/>
                        <a:gd name="connsiteX11" fmla="*/ 1136 w 5023"/>
                        <a:gd name="connsiteY11" fmla="*/ 2333 h 5263"/>
                        <a:gd name="connsiteX12" fmla="*/ 1316 w 5023"/>
                        <a:gd name="connsiteY12" fmla="*/ 1974 h 5263"/>
                        <a:gd name="connsiteX13" fmla="*/ 1555 w 5023"/>
                        <a:gd name="connsiteY13" fmla="*/ 1674 h 5263"/>
                        <a:gd name="connsiteX14" fmla="*/ 1854 w 5023"/>
                        <a:gd name="connsiteY14" fmla="*/ 1375 h 5263"/>
                        <a:gd name="connsiteX15" fmla="*/ 2153 w 5023"/>
                        <a:gd name="connsiteY15" fmla="*/ 1136 h 5263"/>
                        <a:gd name="connsiteX16" fmla="*/ 2512 w 5023"/>
                        <a:gd name="connsiteY16" fmla="*/ 957 h 5263"/>
                        <a:gd name="connsiteX17" fmla="*/ 2871 w 5023"/>
                        <a:gd name="connsiteY17" fmla="*/ 837 h 5263"/>
                        <a:gd name="connsiteX18" fmla="*/ 3170 w 5023"/>
                        <a:gd name="connsiteY18" fmla="*/ 778 h 5263"/>
                        <a:gd name="connsiteX19" fmla="*/ 3469 w 5023"/>
                        <a:gd name="connsiteY19" fmla="*/ 778 h 5263"/>
                        <a:gd name="connsiteX20" fmla="*/ 3768 w 5023"/>
                        <a:gd name="connsiteY20" fmla="*/ 837 h 5263"/>
                        <a:gd name="connsiteX21" fmla="*/ 4007 w 5023"/>
                        <a:gd name="connsiteY21" fmla="*/ 1017 h 5263"/>
                        <a:gd name="connsiteX22" fmla="*/ 4067 w 5023"/>
                        <a:gd name="connsiteY22" fmla="*/ 1076 h 5263"/>
                        <a:gd name="connsiteX23" fmla="*/ 4127 w 5023"/>
                        <a:gd name="connsiteY23" fmla="*/ 1136 h 5263"/>
                        <a:gd name="connsiteX24" fmla="*/ 4186 w 5023"/>
                        <a:gd name="connsiteY24" fmla="*/ 1256 h 5263"/>
                        <a:gd name="connsiteX25" fmla="*/ 4246 w 5023"/>
                        <a:gd name="connsiteY25" fmla="*/ 1375 h 5263"/>
                        <a:gd name="connsiteX26" fmla="*/ 4306 w 5023"/>
                        <a:gd name="connsiteY26" fmla="*/ 1555 h 5263"/>
                        <a:gd name="connsiteX27" fmla="*/ 4366 w 5023"/>
                        <a:gd name="connsiteY27" fmla="*/ 1734 h 5263"/>
                        <a:gd name="connsiteX28" fmla="*/ 4366 w 5023"/>
                        <a:gd name="connsiteY28" fmla="*/ 1914 h 5263"/>
                        <a:gd name="connsiteX29" fmla="*/ 4366 w 5023"/>
                        <a:gd name="connsiteY29" fmla="*/ 2153 h 5263"/>
                        <a:gd name="connsiteX30" fmla="*/ 4366 w 5023"/>
                        <a:gd name="connsiteY30" fmla="*/ 2213 h 5263"/>
                        <a:gd name="connsiteX31" fmla="*/ 4366 w 5023"/>
                        <a:gd name="connsiteY31" fmla="*/ 2273 h 5263"/>
                        <a:gd name="connsiteX32" fmla="*/ 4366 w 5023"/>
                        <a:gd name="connsiteY32" fmla="*/ 2333 h 5263"/>
                        <a:gd name="connsiteX33" fmla="*/ 4366 w 5023"/>
                        <a:gd name="connsiteY33" fmla="*/ 2392 h 5263"/>
                        <a:gd name="connsiteX34" fmla="*/ 4306 w 5023"/>
                        <a:gd name="connsiteY34" fmla="*/ 2691 h 5263"/>
                        <a:gd name="connsiteX35" fmla="*/ 4186 w 5023"/>
                        <a:gd name="connsiteY35" fmla="*/ 2990 h 5263"/>
                        <a:gd name="connsiteX36" fmla="*/ 4007 w 5023"/>
                        <a:gd name="connsiteY36" fmla="*/ 3289 h 5263"/>
                        <a:gd name="connsiteX37" fmla="*/ 3768 w 5023"/>
                        <a:gd name="connsiteY37" fmla="*/ 3588 h 5263"/>
                        <a:gd name="connsiteX38" fmla="*/ 3528 w 5023"/>
                        <a:gd name="connsiteY38" fmla="*/ 3828 h 5263"/>
                        <a:gd name="connsiteX39" fmla="*/ 3289 w 5023"/>
                        <a:gd name="connsiteY39" fmla="*/ 4067 h 5263"/>
                        <a:gd name="connsiteX40" fmla="*/ 2990 w 5023"/>
                        <a:gd name="connsiteY40" fmla="*/ 4246 h 5263"/>
                        <a:gd name="connsiteX41" fmla="*/ 2691 w 5023"/>
                        <a:gd name="connsiteY41" fmla="*/ 4366 h 5263"/>
                        <a:gd name="connsiteX42" fmla="*/ 2632 w 5023"/>
                        <a:gd name="connsiteY42" fmla="*/ 4366 h 5263"/>
                        <a:gd name="connsiteX43" fmla="*/ 2572 w 5023"/>
                        <a:gd name="connsiteY43" fmla="*/ 4366 h 5263"/>
                        <a:gd name="connsiteX44" fmla="*/ 2512 w 5023"/>
                        <a:gd name="connsiteY44" fmla="*/ 4366 h 5263"/>
                        <a:gd name="connsiteX45" fmla="*/ 2452 w 5023"/>
                        <a:gd name="connsiteY45" fmla="*/ 4366 h 5263"/>
                        <a:gd name="connsiteX46" fmla="*/ 2213 w 5023"/>
                        <a:gd name="connsiteY46" fmla="*/ 4426 h 5263"/>
                        <a:gd name="connsiteX47" fmla="*/ 2033 w 5023"/>
                        <a:gd name="connsiteY47" fmla="*/ 4426 h 5263"/>
                        <a:gd name="connsiteX48" fmla="*/ 1854 w 5023"/>
                        <a:gd name="connsiteY48" fmla="*/ 4426 h 5263"/>
                        <a:gd name="connsiteX49" fmla="*/ 1615 w 5023"/>
                        <a:gd name="connsiteY49" fmla="*/ 4366 h 5263"/>
                        <a:gd name="connsiteX50" fmla="*/ 718 w 5023"/>
                        <a:gd name="connsiteY50" fmla="*/ 5024 h 5263"/>
                        <a:gd name="connsiteX51" fmla="*/ 718 w 5023"/>
                        <a:gd name="connsiteY51" fmla="*/ 5024 h 5263"/>
                        <a:gd name="connsiteX52" fmla="*/ 837 w 5023"/>
                        <a:gd name="connsiteY52" fmla="*/ 5083 h 5263"/>
                        <a:gd name="connsiteX53" fmla="*/ 897 w 5023"/>
                        <a:gd name="connsiteY53" fmla="*/ 5143 h 5263"/>
                        <a:gd name="connsiteX54" fmla="*/ 957 w 5023"/>
                        <a:gd name="connsiteY54" fmla="*/ 5143 h 5263"/>
                        <a:gd name="connsiteX55" fmla="*/ 1136 w 5023"/>
                        <a:gd name="connsiteY55" fmla="*/ 5203 h 5263"/>
                        <a:gd name="connsiteX56" fmla="*/ 1316 w 5023"/>
                        <a:gd name="connsiteY56" fmla="*/ 5263 h 5263"/>
                        <a:gd name="connsiteX57" fmla="*/ 1495 w 5023"/>
                        <a:gd name="connsiteY57" fmla="*/ 5263 h 5263"/>
                        <a:gd name="connsiteX58" fmla="*/ 1734 w 5023"/>
                        <a:gd name="connsiteY58" fmla="*/ 5263 h 5263"/>
                        <a:gd name="connsiteX59" fmla="*/ 1854 w 5023"/>
                        <a:gd name="connsiteY59" fmla="*/ 5263 h 5263"/>
                        <a:gd name="connsiteX60" fmla="*/ 1973 w 5023"/>
                        <a:gd name="connsiteY60" fmla="*/ 5263 h 5263"/>
                        <a:gd name="connsiteX61" fmla="*/ 2093 w 5023"/>
                        <a:gd name="connsiteY61" fmla="*/ 5263 h 5263"/>
                        <a:gd name="connsiteX62" fmla="*/ 2213 w 5023"/>
                        <a:gd name="connsiteY62" fmla="*/ 5203 h 5263"/>
                        <a:gd name="connsiteX63" fmla="*/ 2691 w 5023"/>
                        <a:gd name="connsiteY63" fmla="*/ 5024 h 5263"/>
                        <a:gd name="connsiteX64" fmla="*/ 3170 w 5023"/>
                        <a:gd name="connsiteY64" fmla="*/ 4785 h 5263"/>
                        <a:gd name="connsiteX65" fmla="*/ 3648 w 5023"/>
                        <a:gd name="connsiteY65" fmla="*/ 4426 h 5263"/>
                        <a:gd name="connsiteX66" fmla="*/ 4067 w 5023"/>
                        <a:gd name="connsiteY66" fmla="*/ 4007 h 5263"/>
                        <a:gd name="connsiteX67" fmla="*/ 4426 w 5023"/>
                        <a:gd name="connsiteY67" fmla="*/ 3528 h 5263"/>
                        <a:gd name="connsiteX68" fmla="*/ 4725 w 5023"/>
                        <a:gd name="connsiteY68" fmla="*/ 2990 h 5263"/>
                        <a:gd name="connsiteX69" fmla="*/ 4904 w 5023"/>
                        <a:gd name="connsiteY69" fmla="*/ 2452 h 5263"/>
                        <a:gd name="connsiteX70" fmla="*/ 5024 w 5023"/>
                        <a:gd name="connsiteY70" fmla="*/ 1914 h 5263"/>
                        <a:gd name="connsiteX71" fmla="*/ 5024 w 5023"/>
                        <a:gd name="connsiteY71" fmla="*/ 1734 h 5263"/>
                        <a:gd name="connsiteX72" fmla="*/ 5024 w 5023"/>
                        <a:gd name="connsiteY72" fmla="*/ 1615 h 5263"/>
                        <a:gd name="connsiteX73" fmla="*/ 5024 w 5023"/>
                        <a:gd name="connsiteY73" fmla="*/ 1495 h 5263"/>
                        <a:gd name="connsiteX74" fmla="*/ 5024 w 5023"/>
                        <a:gd name="connsiteY74" fmla="*/ 1375 h 5263"/>
                        <a:gd name="connsiteX75" fmla="*/ 4964 w 5023"/>
                        <a:gd name="connsiteY75" fmla="*/ 1196 h 5263"/>
                        <a:gd name="connsiteX76" fmla="*/ 4904 w 5023"/>
                        <a:gd name="connsiteY76" fmla="*/ 1017 h 5263"/>
                        <a:gd name="connsiteX77" fmla="*/ 4844 w 5023"/>
                        <a:gd name="connsiteY77" fmla="*/ 837 h 5263"/>
                        <a:gd name="connsiteX78" fmla="*/ 4725 w 5023"/>
                        <a:gd name="connsiteY78" fmla="*/ 658 h 5263"/>
                        <a:gd name="connsiteX79" fmla="*/ 4665 w 5023"/>
                        <a:gd name="connsiteY79" fmla="*/ 598 h 5263"/>
                        <a:gd name="connsiteX80" fmla="*/ 4605 w 5023"/>
                        <a:gd name="connsiteY80" fmla="*/ 538 h 5263"/>
                        <a:gd name="connsiteX81" fmla="*/ 4545 w 5023"/>
                        <a:gd name="connsiteY81" fmla="*/ 479 h 5263"/>
                        <a:gd name="connsiteX82" fmla="*/ 4486 w 5023"/>
                        <a:gd name="connsiteY82" fmla="*/ 419 h 5263"/>
                        <a:gd name="connsiteX83" fmla="*/ 4426 w 5023"/>
                        <a:gd name="connsiteY83" fmla="*/ 299 h 5263"/>
                        <a:gd name="connsiteX84" fmla="*/ 4067 w 5023"/>
                        <a:gd name="connsiteY84" fmla="*/ 120 h 5263"/>
                        <a:gd name="connsiteX85" fmla="*/ 3648 w 5023"/>
                        <a:gd name="connsiteY85" fmla="*/ 0 h 5263"/>
                        <a:gd name="connsiteX86" fmla="*/ 3229 w 5023"/>
                        <a:gd name="connsiteY86" fmla="*/ 0 h 5263"/>
                        <a:gd name="connsiteX87" fmla="*/ 2751 w 5023"/>
                        <a:gd name="connsiteY87" fmla="*/ 60 h 5263"/>
                        <a:gd name="connsiteX88" fmla="*/ 2273 w 5023"/>
                        <a:gd name="connsiteY88" fmla="*/ 239 h 5263"/>
                        <a:gd name="connsiteX89" fmla="*/ 1794 w 5023"/>
                        <a:gd name="connsiteY89" fmla="*/ 479 h 5263"/>
                        <a:gd name="connsiteX90" fmla="*/ 1316 w 5023"/>
                        <a:gd name="connsiteY90" fmla="*/ 837 h 5263"/>
                        <a:gd name="connsiteX91" fmla="*/ 897 w 5023"/>
                        <a:gd name="connsiteY91" fmla="*/ 1256 h 5263"/>
                        <a:gd name="connsiteX92" fmla="*/ 538 w 5023"/>
                        <a:gd name="connsiteY92" fmla="*/ 1734 h 5263"/>
                        <a:gd name="connsiteX93" fmla="*/ 239 w 5023"/>
                        <a:gd name="connsiteY93" fmla="*/ 2213 h 5263"/>
                        <a:gd name="connsiteX94" fmla="*/ 60 w 5023"/>
                        <a:gd name="connsiteY94" fmla="*/ 2751 h 5263"/>
                        <a:gd name="connsiteX95" fmla="*/ 0 w 5023"/>
                        <a:gd name="connsiteY95" fmla="*/ 3289 h 5263"/>
                        <a:gd name="connsiteX96" fmla="*/ 0 w 5023"/>
                        <a:gd name="connsiteY96" fmla="*/ 3828 h 5263"/>
                        <a:gd name="connsiteX97" fmla="*/ 119 w 5023"/>
                        <a:gd name="connsiteY97" fmla="*/ 4306 h 5263"/>
                        <a:gd name="connsiteX98" fmla="*/ 299 w 5023"/>
                        <a:gd name="connsiteY98" fmla="*/ 4725 h 5263"/>
                        <a:gd name="connsiteX99" fmla="*/ 598 w 5023"/>
                        <a:gd name="connsiteY99" fmla="*/ 5024 h 5263"/>
                        <a:gd name="connsiteX100" fmla="*/ 658 w 5023"/>
                        <a:gd name="connsiteY100" fmla="*/ 5024 h 5263"/>
                        <a:gd name="connsiteX101" fmla="*/ 718 w 5023"/>
                        <a:gd name="connsiteY101" fmla="*/ 5024 h 5263"/>
                        <a:gd name="connsiteX102" fmla="*/ 718 w 5023"/>
                        <a:gd name="connsiteY102" fmla="*/ 5024 h 5263"/>
                        <a:gd name="connsiteX103" fmla="*/ 718 w 5023"/>
                        <a:gd name="connsiteY103" fmla="*/ 5024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5023" h="5263">
                          <a:moveTo>
                            <a:pt x="1615" y="4366"/>
                          </a:moveTo>
                          <a:cubicBezTo>
                            <a:pt x="1615" y="4366"/>
                            <a:pt x="1555" y="4366"/>
                            <a:pt x="1555" y="4366"/>
                          </a:cubicBezTo>
                          <a:cubicBezTo>
                            <a:pt x="1555" y="4366"/>
                            <a:pt x="1495" y="4366"/>
                            <a:pt x="1495" y="4306"/>
                          </a:cubicBezTo>
                          <a:cubicBezTo>
                            <a:pt x="1495" y="4246"/>
                            <a:pt x="1435" y="4306"/>
                            <a:pt x="1435" y="4246"/>
                          </a:cubicBezTo>
                          <a:cubicBezTo>
                            <a:pt x="1435" y="4246"/>
                            <a:pt x="1375" y="4187"/>
                            <a:pt x="1375" y="4187"/>
                          </a:cubicBezTo>
                          <a:lnTo>
                            <a:pt x="1316" y="4127"/>
                          </a:lnTo>
                          <a:cubicBezTo>
                            <a:pt x="1256" y="4067"/>
                            <a:pt x="1196" y="4007"/>
                            <a:pt x="1136" y="3947"/>
                          </a:cubicBezTo>
                          <a:cubicBezTo>
                            <a:pt x="1076" y="3887"/>
                            <a:pt x="1017" y="3768"/>
                            <a:pt x="1017" y="3708"/>
                          </a:cubicBezTo>
                          <a:cubicBezTo>
                            <a:pt x="1017" y="3648"/>
                            <a:pt x="957" y="3528"/>
                            <a:pt x="957" y="3409"/>
                          </a:cubicBezTo>
                          <a:cubicBezTo>
                            <a:pt x="957" y="3289"/>
                            <a:pt x="957" y="3170"/>
                            <a:pt x="957" y="3050"/>
                          </a:cubicBezTo>
                          <a:cubicBezTo>
                            <a:pt x="957" y="2930"/>
                            <a:pt x="1017" y="2811"/>
                            <a:pt x="1017" y="2691"/>
                          </a:cubicBezTo>
                          <a:cubicBezTo>
                            <a:pt x="1076" y="2572"/>
                            <a:pt x="1076" y="2452"/>
                            <a:pt x="1136" y="2333"/>
                          </a:cubicBezTo>
                          <a:cubicBezTo>
                            <a:pt x="1196" y="2213"/>
                            <a:pt x="1256" y="2093"/>
                            <a:pt x="1316" y="1974"/>
                          </a:cubicBezTo>
                          <a:cubicBezTo>
                            <a:pt x="1375" y="1854"/>
                            <a:pt x="1495" y="1734"/>
                            <a:pt x="1555" y="1674"/>
                          </a:cubicBezTo>
                          <a:cubicBezTo>
                            <a:pt x="1674" y="1555"/>
                            <a:pt x="1734" y="1495"/>
                            <a:pt x="1854" y="1375"/>
                          </a:cubicBezTo>
                          <a:cubicBezTo>
                            <a:pt x="1973" y="1316"/>
                            <a:pt x="2033" y="1196"/>
                            <a:pt x="2153" y="1136"/>
                          </a:cubicBezTo>
                          <a:cubicBezTo>
                            <a:pt x="2273" y="1076"/>
                            <a:pt x="2392" y="1017"/>
                            <a:pt x="2512" y="957"/>
                          </a:cubicBezTo>
                          <a:cubicBezTo>
                            <a:pt x="2632" y="897"/>
                            <a:pt x="2751" y="837"/>
                            <a:pt x="2871" y="837"/>
                          </a:cubicBezTo>
                          <a:cubicBezTo>
                            <a:pt x="2990" y="837"/>
                            <a:pt x="3110" y="778"/>
                            <a:pt x="3170" y="778"/>
                          </a:cubicBezTo>
                          <a:cubicBezTo>
                            <a:pt x="3289" y="778"/>
                            <a:pt x="3349" y="778"/>
                            <a:pt x="3469" y="778"/>
                          </a:cubicBezTo>
                          <a:cubicBezTo>
                            <a:pt x="3588" y="778"/>
                            <a:pt x="3648" y="837"/>
                            <a:pt x="3768" y="837"/>
                          </a:cubicBezTo>
                          <a:cubicBezTo>
                            <a:pt x="3827" y="897"/>
                            <a:pt x="3947" y="957"/>
                            <a:pt x="4007" y="1017"/>
                          </a:cubicBezTo>
                          <a:cubicBezTo>
                            <a:pt x="4007" y="1017"/>
                            <a:pt x="4067" y="1076"/>
                            <a:pt x="4067" y="1076"/>
                          </a:cubicBezTo>
                          <a:cubicBezTo>
                            <a:pt x="4067" y="1076"/>
                            <a:pt x="4127" y="1136"/>
                            <a:pt x="4127" y="1136"/>
                          </a:cubicBezTo>
                          <a:cubicBezTo>
                            <a:pt x="4127" y="1136"/>
                            <a:pt x="4186" y="1196"/>
                            <a:pt x="4186" y="1256"/>
                          </a:cubicBezTo>
                          <a:cubicBezTo>
                            <a:pt x="4186" y="1316"/>
                            <a:pt x="4246" y="1316"/>
                            <a:pt x="4246" y="1375"/>
                          </a:cubicBezTo>
                          <a:cubicBezTo>
                            <a:pt x="4246" y="1435"/>
                            <a:pt x="4306" y="1495"/>
                            <a:pt x="4306" y="1555"/>
                          </a:cubicBezTo>
                          <a:cubicBezTo>
                            <a:pt x="4306" y="1615"/>
                            <a:pt x="4306" y="1674"/>
                            <a:pt x="4366" y="1734"/>
                          </a:cubicBezTo>
                          <a:cubicBezTo>
                            <a:pt x="4426" y="1794"/>
                            <a:pt x="4366" y="1854"/>
                            <a:pt x="4366" y="1914"/>
                          </a:cubicBezTo>
                          <a:cubicBezTo>
                            <a:pt x="4366" y="1974"/>
                            <a:pt x="4366" y="2033"/>
                            <a:pt x="4366" y="2153"/>
                          </a:cubicBezTo>
                          <a:cubicBezTo>
                            <a:pt x="4366" y="2153"/>
                            <a:pt x="4366" y="2213"/>
                            <a:pt x="4366" y="2213"/>
                          </a:cubicBezTo>
                          <a:cubicBezTo>
                            <a:pt x="4366" y="2213"/>
                            <a:pt x="4366" y="2273"/>
                            <a:pt x="4366" y="2273"/>
                          </a:cubicBezTo>
                          <a:cubicBezTo>
                            <a:pt x="4366" y="2273"/>
                            <a:pt x="4366" y="2333"/>
                            <a:pt x="4366" y="2333"/>
                          </a:cubicBezTo>
                          <a:cubicBezTo>
                            <a:pt x="4366" y="2333"/>
                            <a:pt x="4366" y="2392"/>
                            <a:pt x="4366" y="2392"/>
                          </a:cubicBezTo>
                          <a:cubicBezTo>
                            <a:pt x="4366" y="2512"/>
                            <a:pt x="4306" y="2572"/>
                            <a:pt x="4306" y="2691"/>
                          </a:cubicBezTo>
                          <a:cubicBezTo>
                            <a:pt x="4306" y="2811"/>
                            <a:pt x="4246" y="2871"/>
                            <a:pt x="4186" y="2990"/>
                          </a:cubicBezTo>
                          <a:cubicBezTo>
                            <a:pt x="4127" y="3110"/>
                            <a:pt x="4067" y="3170"/>
                            <a:pt x="4007" y="3289"/>
                          </a:cubicBezTo>
                          <a:cubicBezTo>
                            <a:pt x="3947" y="3409"/>
                            <a:pt x="3887" y="3469"/>
                            <a:pt x="3768" y="3588"/>
                          </a:cubicBezTo>
                          <a:cubicBezTo>
                            <a:pt x="3708" y="3708"/>
                            <a:pt x="3588" y="3768"/>
                            <a:pt x="3528" y="3828"/>
                          </a:cubicBezTo>
                          <a:cubicBezTo>
                            <a:pt x="3469" y="3887"/>
                            <a:pt x="3349" y="4007"/>
                            <a:pt x="3289" y="4067"/>
                          </a:cubicBezTo>
                          <a:cubicBezTo>
                            <a:pt x="3170" y="4127"/>
                            <a:pt x="3110" y="4187"/>
                            <a:pt x="2990" y="4246"/>
                          </a:cubicBezTo>
                          <a:cubicBezTo>
                            <a:pt x="2871" y="4306"/>
                            <a:pt x="2811" y="4366"/>
                            <a:pt x="2691" y="4366"/>
                          </a:cubicBezTo>
                          <a:cubicBezTo>
                            <a:pt x="2691" y="4366"/>
                            <a:pt x="2691" y="4366"/>
                            <a:pt x="2632" y="4366"/>
                          </a:cubicBezTo>
                          <a:cubicBezTo>
                            <a:pt x="2572" y="4366"/>
                            <a:pt x="2632" y="4366"/>
                            <a:pt x="2572" y="4366"/>
                          </a:cubicBezTo>
                          <a:cubicBezTo>
                            <a:pt x="2572" y="4366"/>
                            <a:pt x="2572" y="4366"/>
                            <a:pt x="2512" y="4366"/>
                          </a:cubicBezTo>
                          <a:cubicBezTo>
                            <a:pt x="2452" y="4366"/>
                            <a:pt x="2512" y="4366"/>
                            <a:pt x="2452" y="4366"/>
                          </a:cubicBezTo>
                          <a:cubicBezTo>
                            <a:pt x="2392" y="4366"/>
                            <a:pt x="2332" y="4366"/>
                            <a:pt x="2213" y="4426"/>
                          </a:cubicBezTo>
                          <a:cubicBezTo>
                            <a:pt x="2153" y="4426"/>
                            <a:pt x="2093" y="4426"/>
                            <a:pt x="2033" y="4426"/>
                          </a:cubicBezTo>
                          <a:cubicBezTo>
                            <a:pt x="1973" y="4426"/>
                            <a:pt x="1914" y="4426"/>
                            <a:pt x="1854" y="4426"/>
                          </a:cubicBezTo>
                          <a:cubicBezTo>
                            <a:pt x="1734" y="4366"/>
                            <a:pt x="1674" y="4366"/>
                            <a:pt x="1615" y="4366"/>
                          </a:cubicBezTo>
                          <a:moveTo>
                            <a:pt x="718" y="5024"/>
                          </a:moveTo>
                          <a:cubicBezTo>
                            <a:pt x="718" y="5024"/>
                            <a:pt x="718" y="5024"/>
                            <a:pt x="718" y="5024"/>
                          </a:cubicBezTo>
                          <a:cubicBezTo>
                            <a:pt x="778" y="5083"/>
                            <a:pt x="778" y="5083"/>
                            <a:pt x="837" y="5083"/>
                          </a:cubicBezTo>
                          <a:cubicBezTo>
                            <a:pt x="837" y="5083"/>
                            <a:pt x="897" y="5083"/>
                            <a:pt x="897" y="5143"/>
                          </a:cubicBezTo>
                          <a:cubicBezTo>
                            <a:pt x="897" y="5143"/>
                            <a:pt x="957" y="5143"/>
                            <a:pt x="957" y="5143"/>
                          </a:cubicBezTo>
                          <a:cubicBezTo>
                            <a:pt x="1017" y="5143"/>
                            <a:pt x="1076" y="5203"/>
                            <a:pt x="1136" y="5203"/>
                          </a:cubicBezTo>
                          <a:cubicBezTo>
                            <a:pt x="1196" y="5203"/>
                            <a:pt x="1256" y="5263"/>
                            <a:pt x="1316" y="5263"/>
                          </a:cubicBezTo>
                          <a:cubicBezTo>
                            <a:pt x="1375" y="5263"/>
                            <a:pt x="1435" y="5263"/>
                            <a:pt x="1495" y="5263"/>
                          </a:cubicBezTo>
                          <a:cubicBezTo>
                            <a:pt x="1555" y="5263"/>
                            <a:pt x="1615" y="5263"/>
                            <a:pt x="1734" y="5263"/>
                          </a:cubicBezTo>
                          <a:cubicBezTo>
                            <a:pt x="1794" y="5263"/>
                            <a:pt x="1854" y="5263"/>
                            <a:pt x="1854" y="5263"/>
                          </a:cubicBezTo>
                          <a:cubicBezTo>
                            <a:pt x="1914" y="5263"/>
                            <a:pt x="1973" y="5263"/>
                            <a:pt x="1973" y="5263"/>
                          </a:cubicBezTo>
                          <a:cubicBezTo>
                            <a:pt x="1973" y="5263"/>
                            <a:pt x="2093" y="5263"/>
                            <a:pt x="2093" y="5263"/>
                          </a:cubicBezTo>
                          <a:cubicBezTo>
                            <a:pt x="2153" y="5263"/>
                            <a:pt x="2213" y="5263"/>
                            <a:pt x="2213" y="5203"/>
                          </a:cubicBezTo>
                          <a:cubicBezTo>
                            <a:pt x="2392" y="5143"/>
                            <a:pt x="2572" y="5083"/>
                            <a:pt x="2691" y="5024"/>
                          </a:cubicBezTo>
                          <a:cubicBezTo>
                            <a:pt x="2811" y="4964"/>
                            <a:pt x="2990" y="4844"/>
                            <a:pt x="3170" y="4785"/>
                          </a:cubicBezTo>
                          <a:cubicBezTo>
                            <a:pt x="3349" y="4665"/>
                            <a:pt x="3469" y="4545"/>
                            <a:pt x="3648" y="4426"/>
                          </a:cubicBezTo>
                          <a:cubicBezTo>
                            <a:pt x="3827" y="4306"/>
                            <a:pt x="3947" y="4127"/>
                            <a:pt x="4067" y="4007"/>
                          </a:cubicBezTo>
                          <a:cubicBezTo>
                            <a:pt x="4186" y="3828"/>
                            <a:pt x="4306" y="3708"/>
                            <a:pt x="4426" y="3528"/>
                          </a:cubicBezTo>
                          <a:cubicBezTo>
                            <a:pt x="4545" y="3349"/>
                            <a:pt x="4605" y="3170"/>
                            <a:pt x="4725" y="2990"/>
                          </a:cubicBezTo>
                          <a:cubicBezTo>
                            <a:pt x="4785" y="2811"/>
                            <a:pt x="4844" y="2632"/>
                            <a:pt x="4904" y="2452"/>
                          </a:cubicBezTo>
                          <a:cubicBezTo>
                            <a:pt x="4964" y="2273"/>
                            <a:pt x="4964" y="2093"/>
                            <a:pt x="5024" y="1914"/>
                          </a:cubicBezTo>
                          <a:cubicBezTo>
                            <a:pt x="5024" y="1854"/>
                            <a:pt x="5024" y="1794"/>
                            <a:pt x="5024" y="1734"/>
                          </a:cubicBezTo>
                          <a:cubicBezTo>
                            <a:pt x="5024" y="1674"/>
                            <a:pt x="5024" y="1615"/>
                            <a:pt x="5024" y="1615"/>
                          </a:cubicBezTo>
                          <a:cubicBezTo>
                            <a:pt x="5024" y="1555"/>
                            <a:pt x="5024" y="1495"/>
                            <a:pt x="5024" y="1495"/>
                          </a:cubicBezTo>
                          <a:cubicBezTo>
                            <a:pt x="5024" y="1435"/>
                            <a:pt x="5024" y="1375"/>
                            <a:pt x="5024" y="1375"/>
                          </a:cubicBezTo>
                          <a:cubicBezTo>
                            <a:pt x="5024" y="1316"/>
                            <a:pt x="5024" y="1256"/>
                            <a:pt x="4964" y="1196"/>
                          </a:cubicBezTo>
                          <a:cubicBezTo>
                            <a:pt x="4964" y="1136"/>
                            <a:pt x="4904" y="1076"/>
                            <a:pt x="4904" y="1017"/>
                          </a:cubicBezTo>
                          <a:cubicBezTo>
                            <a:pt x="4904" y="957"/>
                            <a:pt x="4844" y="897"/>
                            <a:pt x="4844" y="837"/>
                          </a:cubicBezTo>
                          <a:cubicBezTo>
                            <a:pt x="4844" y="778"/>
                            <a:pt x="4785" y="718"/>
                            <a:pt x="4725" y="658"/>
                          </a:cubicBezTo>
                          <a:cubicBezTo>
                            <a:pt x="4725" y="658"/>
                            <a:pt x="4665" y="598"/>
                            <a:pt x="4665" y="598"/>
                          </a:cubicBezTo>
                          <a:cubicBezTo>
                            <a:pt x="4665" y="598"/>
                            <a:pt x="4605" y="538"/>
                            <a:pt x="4605" y="538"/>
                          </a:cubicBezTo>
                          <a:cubicBezTo>
                            <a:pt x="4605" y="538"/>
                            <a:pt x="4545" y="479"/>
                            <a:pt x="4545" y="479"/>
                          </a:cubicBezTo>
                          <a:cubicBezTo>
                            <a:pt x="4545" y="479"/>
                            <a:pt x="4486" y="419"/>
                            <a:pt x="4486" y="419"/>
                          </a:cubicBezTo>
                          <a:lnTo>
                            <a:pt x="4426" y="299"/>
                          </a:lnTo>
                          <a:cubicBezTo>
                            <a:pt x="4306" y="239"/>
                            <a:pt x="4186" y="179"/>
                            <a:pt x="4067" y="120"/>
                          </a:cubicBezTo>
                          <a:cubicBezTo>
                            <a:pt x="3947" y="60"/>
                            <a:pt x="3827" y="60"/>
                            <a:pt x="3648" y="0"/>
                          </a:cubicBezTo>
                          <a:cubicBezTo>
                            <a:pt x="3528" y="0"/>
                            <a:pt x="3349" y="0"/>
                            <a:pt x="3229" y="0"/>
                          </a:cubicBezTo>
                          <a:cubicBezTo>
                            <a:pt x="3110" y="0"/>
                            <a:pt x="2930" y="60"/>
                            <a:pt x="2751" y="60"/>
                          </a:cubicBezTo>
                          <a:cubicBezTo>
                            <a:pt x="2572" y="120"/>
                            <a:pt x="2392" y="179"/>
                            <a:pt x="2273" y="239"/>
                          </a:cubicBezTo>
                          <a:cubicBezTo>
                            <a:pt x="2093" y="299"/>
                            <a:pt x="1914" y="419"/>
                            <a:pt x="1794" y="479"/>
                          </a:cubicBezTo>
                          <a:cubicBezTo>
                            <a:pt x="1674" y="538"/>
                            <a:pt x="1495" y="718"/>
                            <a:pt x="1316" y="837"/>
                          </a:cubicBezTo>
                          <a:cubicBezTo>
                            <a:pt x="1136" y="957"/>
                            <a:pt x="1017" y="1076"/>
                            <a:pt x="897" y="1256"/>
                          </a:cubicBezTo>
                          <a:cubicBezTo>
                            <a:pt x="778" y="1435"/>
                            <a:pt x="658" y="1555"/>
                            <a:pt x="538" y="1734"/>
                          </a:cubicBezTo>
                          <a:cubicBezTo>
                            <a:pt x="419" y="1914"/>
                            <a:pt x="359" y="2093"/>
                            <a:pt x="239" y="2213"/>
                          </a:cubicBezTo>
                          <a:cubicBezTo>
                            <a:pt x="119" y="2333"/>
                            <a:pt x="119" y="2572"/>
                            <a:pt x="60" y="2751"/>
                          </a:cubicBezTo>
                          <a:cubicBezTo>
                            <a:pt x="0" y="2930"/>
                            <a:pt x="0" y="3110"/>
                            <a:pt x="0" y="3289"/>
                          </a:cubicBezTo>
                          <a:cubicBezTo>
                            <a:pt x="0" y="3469"/>
                            <a:pt x="0" y="3648"/>
                            <a:pt x="0" y="3828"/>
                          </a:cubicBezTo>
                          <a:cubicBezTo>
                            <a:pt x="0" y="4007"/>
                            <a:pt x="60" y="4127"/>
                            <a:pt x="119" y="4306"/>
                          </a:cubicBezTo>
                          <a:cubicBezTo>
                            <a:pt x="179" y="4426"/>
                            <a:pt x="239" y="4605"/>
                            <a:pt x="299" y="4725"/>
                          </a:cubicBezTo>
                          <a:cubicBezTo>
                            <a:pt x="359" y="4844"/>
                            <a:pt x="478" y="4964"/>
                            <a:pt x="598" y="5024"/>
                          </a:cubicBezTo>
                          <a:cubicBezTo>
                            <a:pt x="598" y="5024"/>
                            <a:pt x="598" y="5024"/>
                            <a:pt x="658" y="5024"/>
                          </a:cubicBezTo>
                          <a:cubicBezTo>
                            <a:pt x="658" y="5024"/>
                            <a:pt x="658" y="5024"/>
                            <a:pt x="718" y="5024"/>
                          </a:cubicBezTo>
                          <a:cubicBezTo>
                            <a:pt x="658" y="4964"/>
                            <a:pt x="658" y="4964"/>
                            <a:pt x="718" y="5024"/>
                          </a:cubicBezTo>
                          <a:cubicBezTo>
                            <a:pt x="658" y="4964"/>
                            <a:pt x="718" y="5024"/>
                            <a:pt x="718" y="5024"/>
                          </a:cubicBezTo>
                        </a:path>
                      </a:pathLst>
                    </a:custGeom>
                    <a:noFill/>
                    <a:ln w="6350" cap="flat">
                      <a:solidFill>
                        <a:schemeClr val="bg1">
                          <a:alpha val="80000"/>
                        </a:schemeClr>
                      </a:solidFill>
                      <a:prstDash val="solid"/>
                      <a:miter/>
                    </a:ln>
                  </p:spPr>
                  <p:txBody>
                    <a:bodyPr rtlCol="0" anchor="ctr"/>
                    <a:lstStyle/>
                    <a:p>
                      <a:endParaRPr lang="en-GB"/>
                    </a:p>
                  </p:txBody>
                </p:sp>
                <p:sp>
                  <p:nvSpPr>
                    <p:cNvPr id="7423" name="Vrije vorm: vorm 7422">
                      <a:extLst>
                        <a:ext uri="{FF2B5EF4-FFF2-40B4-BE49-F238E27FC236}">
                          <a16:creationId xmlns:a16="http://schemas.microsoft.com/office/drawing/2014/main" id="{FAE4690C-74B5-498D-9802-BFF80A0F1209}"/>
                        </a:ext>
                      </a:extLst>
                    </p:cNvPr>
                    <p:cNvSpPr/>
                    <p:nvPr/>
                  </p:nvSpPr>
                  <p:spPr>
                    <a:xfrm>
                      <a:off x="5315745" y="5396299"/>
                      <a:ext cx="5203" cy="5433"/>
                    </a:xfrm>
                    <a:custGeom>
                      <a:avLst/>
                      <a:gdLst>
                        <a:gd name="connsiteX0" fmla="*/ 4306 w 5203"/>
                        <a:gd name="connsiteY0" fmla="*/ 1582 h 5433"/>
                        <a:gd name="connsiteX1" fmla="*/ 4366 w 5203"/>
                        <a:gd name="connsiteY1" fmla="*/ 1761 h 5433"/>
                        <a:gd name="connsiteX2" fmla="*/ 4366 w 5203"/>
                        <a:gd name="connsiteY2" fmla="*/ 1940 h 5433"/>
                        <a:gd name="connsiteX3" fmla="*/ 4366 w 5203"/>
                        <a:gd name="connsiteY3" fmla="*/ 2120 h 5433"/>
                        <a:gd name="connsiteX4" fmla="*/ 4366 w 5203"/>
                        <a:gd name="connsiteY4" fmla="*/ 2299 h 5433"/>
                        <a:gd name="connsiteX5" fmla="*/ 4306 w 5203"/>
                        <a:gd name="connsiteY5" fmla="*/ 2658 h 5433"/>
                        <a:gd name="connsiteX6" fmla="*/ 4187 w 5203"/>
                        <a:gd name="connsiteY6" fmla="*/ 3017 h 5433"/>
                        <a:gd name="connsiteX7" fmla="*/ 4007 w 5203"/>
                        <a:gd name="connsiteY7" fmla="*/ 3376 h 5433"/>
                        <a:gd name="connsiteX8" fmla="*/ 3768 w 5203"/>
                        <a:gd name="connsiteY8" fmla="*/ 3675 h 5433"/>
                        <a:gd name="connsiteX9" fmla="*/ 3469 w 5203"/>
                        <a:gd name="connsiteY9" fmla="*/ 3974 h 5433"/>
                        <a:gd name="connsiteX10" fmla="*/ 3170 w 5203"/>
                        <a:gd name="connsiteY10" fmla="*/ 4213 h 5433"/>
                        <a:gd name="connsiteX11" fmla="*/ 2871 w 5203"/>
                        <a:gd name="connsiteY11" fmla="*/ 4392 h 5433"/>
                        <a:gd name="connsiteX12" fmla="*/ 2512 w 5203"/>
                        <a:gd name="connsiteY12" fmla="*/ 4512 h 5433"/>
                        <a:gd name="connsiteX13" fmla="*/ 2153 w 5203"/>
                        <a:gd name="connsiteY13" fmla="*/ 4572 h 5433"/>
                        <a:gd name="connsiteX14" fmla="*/ 1854 w 5203"/>
                        <a:gd name="connsiteY14" fmla="*/ 4572 h 5433"/>
                        <a:gd name="connsiteX15" fmla="*/ 1615 w 5203"/>
                        <a:gd name="connsiteY15" fmla="*/ 4512 h 5433"/>
                        <a:gd name="connsiteX16" fmla="*/ 1376 w 5203"/>
                        <a:gd name="connsiteY16" fmla="*/ 4392 h 5433"/>
                        <a:gd name="connsiteX17" fmla="*/ 1316 w 5203"/>
                        <a:gd name="connsiteY17" fmla="*/ 4273 h 5433"/>
                        <a:gd name="connsiteX18" fmla="*/ 1136 w 5203"/>
                        <a:gd name="connsiteY18" fmla="*/ 4034 h 5433"/>
                        <a:gd name="connsiteX19" fmla="*/ 1017 w 5203"/>
                        <a:gd name="connsiteY19" fmla="*/ 3794 h 5433"/>
                        <a:gd name="connsiteX20" fmla="*/ 957 w 5203"/>
                        <a:gd name="connsiteY20" fmla="*/ 3495 h 5433"/>
                        <a:gd name="connsiteX21" fmla="*/ 957 w 5203"/>
                        <a:gd name="connsiteY21" fmla="*/ 3136 h 5433"/>
                        <a:gd name="connsiteX22" fmla="*/ 1017 w 5203"/>
                        <a:gd name="connsiteY22" fmla="*/ 2778 h 5433"/>
                        <a:gd name="connsiteX23" fmla="*/ 1136 w 5203"/>
                        <a:gd name="connsiteY23" fmla="*/ 2419 h 5433"/>
                        <a:gd name="connsiteX24" fmla="*/ 1316 w 5203"/>
                        <a:gd name="connsiteY24" fmla="*/ 2060 h 5433"/>
                        <a:gd name="connsiteX25" fmla="*/ 1555 w 5203"/>
                        <a:gd name="connsiteY25" fmla="*/ 1761 h 5433"/>
                        <a:gd name="connsiteX26" fmla="*/ 1675 w 5203"/>
                        <a:gd name="connsiteY26" fmla="*/ 1582 h 5433"/>
                        <a:gd name="connsiteX27" fmla="*/ 1794 w 5203"/>
                        <a:gd name="connsiteY27" fmla="*/ 1462 h 5433"/>
                        <a:gd name="connsiteX28" fmla="*/ 1974 w 5203"/>
                        <a:gd name="connsiteY28" fmla="*/ 1342 h 5433"/>
                        <a:gd name="connsiteX29" fmla="*/ 2153 w 5203"/>
                        <a:gd name="connsiteY29" fmla="*/ 1223 h 5433"/>
                        <a:gd name="connsiteX30" fmla="*/ 2333 w 5203"/>
                        <a:gd name="connsiteY30" fmla="*/ 1103 h 5433"/>
                        <a:gd name="connsiteX31" fmla="*/ 2512 w 5203"/>
                        <a:gd name="connsiteY31" fmla="*/ 1043 h 5433"/>
                        <a:gd name="connsiteX32" fmla="*/ 2691 w 5203"/>
                        <a:gd name="connsiteY32" fmla="*/ 983 h 5433"/>
                        <a:gd name="connsiteX33" fmla="*/ 2871 w 5203"/>
                        <a:gd name="connsiteY33" fmla="*/ 923 h 5433"/>
                        <a:gd name="connsiteX34" fmla="*/ 3170 w 5203"/>
                        <a:gd name="connsiteY34" fmla="*/ 864 h 5433"/>
                        <a:gd name="connsiteX35" fmla="*/ 3469 w 5203"/>
                        <a:gd name="connsiteY35" fmla="*/ 864 h 5433"/>
                        <a:gd name="connsiteX36" fmla="*/ 3768 w 5203"/>
                        <a:gd name="connsiteY36" fmla="*/ 923 h 5433"/>
                        <a:gd name="connsiteX37" fmla="*/ 4007 w 5203"/>
                        <a:gd name="connsiteY37" fmla="*/ 1043 h 5433"/>
                        <a:gd name="connsiteX38" fmla="*/ 4127 w 5203"/>
                        <a:gd name="connsiteY38" fmla="*/ 1163 h 5433"/>
                        <a:gd name="connsiteX39" fmla="*/ 4187 w 5203"/>
                        <a:gd name="connsiteY39" fmla="*/ 1282 h 5433"/>
                        <a:gd name="connsiteX40" fmla="*/ 4246 w 5203"/>
                        <a:gd name="connsiteY40" fmla="*/ 1402 h 5433"/>
                        <a:gd name="connsiteX41" fmla="*/ 4306 w 5203"/>
                        <a:gd name="connsiteY41" fmla="*/ 1582 h 5433"/>
                        <a:gd name="connsiteX42" fmla="*/ 778 w 5203"/>
                        <a:gd name="connsiteY42" fmla="*/ 5110 h 5433"/>
                        <a:gd name="connsiteX43" fmla="*/ 1555 w 5203"/>
                        <a:gd name="connsiteY43" fmla="*/ 5409 h 5433"/>
                        <a:gd name="connsiteX44" fmla="*/ 2452 w 5203"/>
                        <a:gd name="connsiteY44" fmla="*/ 5350 h 5433"/>
                        <a:gd name="connsiteX45" fmla="*/ 3409 w 5203"/>
                        <a:gd name="connsiteY45" fmla="*/ 4931 h 5433"/>
                        <a:gd name="connsiteX46" fmla="*/ 4246 w 5203"/>
                        <a:gd name="connsiteY46" fmla="*/ 4153 h 5433"/>
                        <a:gd name="connsiteX47" fmla="*/ 4605 w 5203"/>
                        <a:gd name="connsiteY47" fmla="*/ 3675 h 5433"/>
                        <a:gd name="connsiteX48" fmla="*/ 4904 w 5203"/>
                        <a:gd name="connsiteY48" fmla="*/ 3136 h 5433"/>
                        <a:gd name="connsiteX49" fmla="*/ 5084 w 5203"/>
                        <a:gd name="connsiteY49" fmla="*/ 2598 h 5433"/>
                        <a:gd name="connsiteX50" fmla="*/ 5203 w 5203"/>
                        <a:gd name="connsiteY50" fmla="*/ 2060 h 5433"/>
                        <a:gd name="connsiteX51" fmla="*/ 5203 w 5203"/>
                        <a:gd name="connsiteY51" fmla="*/ 2000 h 5433"/>
                        <a:gd name="connsiteX52" fmla="*/ 5203 w 5203"/>
                        <a:gd name="connsiteY52" fmla="*/ 1940 h 5433"/>
                        <a:gd name="connsiteX53" fmla="*/ 5203 w 5203"/>
                        <a:gd name="connsiteY53" fmla="*/ 1881 h 5433"/>
                        <a:gd name="connsiteX54" fmla="*/ 5203 w 5203"/>
                        <a:gd name="connsiteY54" fmla="*/ 1821 h 5433"/>
                        <a:gd name="connsiteX55" fmla="*/ 5203 w 5203"/>
                        <a:gd name="connsiteY55" fmla="*/ 1582 h 5433"/>
                        <a:gd name="connsiteX56" fmla="*/ 5143 w 5203"/>
                        <a:gd name="connsiteY56" fmla="*/ 1342 h 5433"/>
                        <a:gd name="connsiteX57" fmla="*/ 5084 w 5203"/>
                        <a:gd name="connsiteY57" fmla="*/ 1103 h 5433"/>
                        <a:gd name="connsiteX58" fmla="*/ 4964 w 5203"/>
                        <a:gd name="connsiteY58" fmla="*/ 864 h 5433"/>
                        <a:gd name="connsiteX59" fmla="*/ 4904 w 5203"/>
                        <a:gd name="connsiteY59" fmla="*/ 744 h 5433"/>
                        <a:gd name="connsiteX60" fmla="*/ 4844 w 5203"/>
                        <a:gd name="connsiteY60" fmla="*/ 625 h 5433"/>
                        <a:gd name="connsiteX61" fmla="*/ 4785 w 5203"/>
                        <a:gd name="connsiteY61" fmla="*/ 505 h 5433"/>
                        <a:gd name="connsiteX62" fmla="*/ 4665 w 5203"/>
                        <a:gd name="connsiteY62" fmla="*/ 385 h 5433"/>
                        <a:gd name="connsiteX63" fmla="*/ 4545 w 5203"/>
                        <a:gd name="connsiteY63" fmla="*/ 326 h 5433"/>
                        <a:gd name="connsiteX64" fmla="*/ 4187 w 5203"/>
                        <a:gd name="connsiteY64" fmla="*/ 146 h 5433"/>
                        <a:gd name="connsiteX65" fmla="*/ 3768 w 5203"/>
                        <a:gd name="connsiteY65" fmla="*/ 27 h 5433"/>
                        <a:gd name="connsiteX66" fmla="*/ 3349 w 5203"/>
                        <a:gd name="connsiteY66" fmla="*/ 27 h 5433"/>
                        <a:gd name="connsiteX67" fmla="*/ 2871 w 5203"/>
                        <a:gd name="connsiteY67" fmla="*/ 86 h 5433"/>
                        <a:gd name="connsiteX68" fmla="*/ 2751 w 5203"/>
                        <a:gd name="connsiteY68" fmla="*/ 146 h 5433"/>
                        <a:gd name="connsiteX69" fmla="*/ 2632 w 5203"/>
                        <a:gd name="connsiteY69" fmla="*/ 206 h 5433"/>
                        <a:gd name="connsiteX70" fmla="*/ 2512 w 5203"/>
                        <a:gd name="connsiteY70" fmla="*/ 266 h 5433"/>
                        <a:gd name="connsiteX71" fmla="*/ 2392 w 5203"/>
                        <a:gd name="connsiteY71" fmla="*/ 326 h 5433"/>
                        <a:gd name="connsiteX72" fmla="*/ 2093 w 5203"/>
                        <a:gd name="connsiteY72" fmla="*/ 505 h 5433"/>
                        <a:gd name="connsiteX73" fmla="*/ 1794 w 5203"/>
                        <a:gd name="connsiteY73" fmla="*/ 684 h 5433"/>
                        <a:gd name="connsiteX74" fmla="*/ 1495 w 5203"/>
                        <a:gd name="connsiteY74" fmla="*/ 923 h 5433"/>
                        <a:gd name="connsiteX75" fmla="*/ 1196 w 5203"/>
                        <a:gd name="connsiteY75" fmla="*/ 1163 h 5433"/>
                        <a:gd name="connsiteX76" fmla="*/ 1136 w 5203"/>
                        <a:gd name="connsiteY76" fmla="*/ 1223 h 5433"/>
                        <a:gd name="connsiteX77" fmla="*/ 1076 w 5203"/>
                        <a:gd name="connsiteY77" fmla="*/ 1282 h 5433"/>
                        <a:gd name="connsiteX78" fmla="*/ 1017 w 5203"/>
                        <a:gd name="connsiteY78" fmla="*/ 1342 h 5433"/>
                        <a:gd name="connsiteX79" fmla="*/ 957 w 5203"/>
                        <a:gd name="connsiteY79" fmla="*/ 1402 h 5433"/>
                        <a:gd name="connsiteX80" fmla="*/ 598 w 5203"/>
                        <a:gd name="connsiteY80" fmla="*/ 1881 h 5433"/>
                        <a:gd name="connsiteX81" fmla="*/ 299 w 5203"/>
                        <a:gd name="connsiteY81" fmla="*/ 2419 h 5433"/>
                        <a:gd name="connsiteX82" fmla="*/ 120 w 5203"/>
                        <a:gd name="connsiteY82" fmla="*/ 2957 h 5433"/>
                        <a:gd name="connsiteX83" fmla="*/ 0 w 5203"/>
                        <a:gd name="connsiteY83" fmla="*/ 3495 h 5433"/>
                        <a:gd name="connsiteX84" fmla="*/ 0 w 5203"/>
                        <a:gd name="connsiteY84" fmla="*/ 3974 h 5433"/>
                        <a:gd name="connsiteX85" fmla="*/ 120 w 5203"/>
                        <a:gd name="connsiteY85" fmla="*/ 4452 h 5433"/>
                        <a:gd name="connsiteX86" fmla="*/ 299 w 5203"/>
                        <a:gd name="connsiteY86" fmla="*/ 4871 h 5433"/>
                        <a:gd name="connsiteX87" fmla="*/ 598 w 5203"/>
                        <a:gd name="connsiteY87" fmla="*/ 5170 h 5433"/>
                        <a:gd name="connsiteX88" fmla="*/ 598 w 5203"/>
                        <a:gd name="connsiteY88" fmla="*/ 5170 h 5433"/>
                        <a:gd name="connsiteX89" fmla="*/ 778 w 5203"/>
                        <a:gd name="connsiteY89" fmla="*/ 5110 h 5433"/>
                        <a:gd name="connsiteX90" fmla="*/ 778 w 5203"/>
                        <a:gd name="connsiteY90" fmla="*/ 5110 h 5433"/>
                        <a:gd name="connsiteX91" fmla="*/ 778 w 5203"/>
                        <a:gd name="connsiteY91" fmla="*/ 5110 h 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203" h="5433">
                          <a:moveTo>
                            <a:pt x="4306" y="1582"/>
                          </a:moveTo>
                          <a:cubicBezTo>
                            <a:pt x="4306" y="1641"/>
                            <a:pt x="4306" y="1701"/>
                            <a:pt x="4366" y="1761"/>
                          </a:cubicBezTo>
                          <a:cubicBezTo>
                            <a:pt x="4366" y="1821"/>
                            <a:pt x="4366" y="1881"/>
                            <a:pt x="4366" y="1940"/>
                          </a:cubicBezTo>
                          <a:cubicBezTo>
                            <a:pt x="4366" y="2000"/>
                            <a:pt x="4366" y="2060"/>
                            <a:pt x="4366" y="2120"/>
                          </a:cubicBezTo>
                          <a:cubicBezTo>
                            <a:pt x="4366" y="2180"/>
                            <a:pt x="4366" y="2239"/>
                            <a:pt x="4366" y="2299"/>
                          </a:cubicBezTo>
                          <a:cubicBezTo>
                            <a:pt x="4366" y="2419"/>
                            <a:pt x="4306" y="2538"/>
                            <a:pt x="4306" y="2658"/>
                          </a:cubicBezTo>
                          <a:cubicBezTo>
                            <a:pt x="4246" y="2778"/>
                            <a:pt x="4246" y="2897"/>
                            <a:pt x="4187" y="3017"/>
                          </a:cubicBezTo>
                          <a:cubicBezTo>
                            <a:pt x="4127" y="3136"/>
                            <a:pt x="4067" y="3256"/>
                            <a:pt x="4007" y="3376"/>
                          </a:cubicBezTo>
                          <a:cubicBezTo>
                            <a:pt x="3947" y="3495"/>
                            <a:pt x="3828" y="3615"/>
                            <a:pt x="3768" y="3675"/>
                          </a:cubicBezTo>
                          <a:cubicBezTo>
                            <a:pt x="3708" y="3735"/>
                            <a:pt x="3589" y="3854"/>
                            <a:pt x="3469" y="3974"/>
                          </a:cubicBezTo>
                          <a:cubicBezTo>
                            <a:pt x="3349" y="4093"/>
                            <a:pt x="3289" y="4153"/>
                            <a:pt x="3170" y="4213"/>
                          </a:cubicBezTo>
                          <a:cubicBezTo>
                            <a:pt x="3050" y="4273"/>
                            <a:pt x="2930" y="4333"/>
                            <a:pt x="2871" y="4392"/>
                          </a:cubicBezTo>
                          <a:cubicBezTo>
                            <a:pt x="2751" y="4452"/>
                            <a:pt x="2632" y="4452"/>
                            <a:pt x="2512" y="4512"/>
                          </a:cubicBezTo>
                          <a:cubicBezTo>
                            <a:pt x="2392" y="4572"/>
                            <a:pt x="2273" y="4572"/>
                            <a:pt x="2153" y="4572"/>
                          </a:cubicBezTo>
                          <a:cubicBezTo>
                            <a:pt x="2034" y="4572"/>
                            <a:pt x="1974" y="4572"/>
                            <a:pt x="1854" y="4572"/>
                          </a:cubicBezTo>
                          <a:cubicBezTo>
                            <a:pt x="1735" y="4572"/>
                            <a:pt x="1675" y="4512"/>
                            <a:pt x="1615" y="4512"/>
                          </a:cubicBezTo>
                          <a:cubicBezTo>
                            <a:pt x="1555" y="4452"/>
                            <a:pt x="1435" y="4452"/>
                            <a:pt x="1376" y="4392"/>
                          </a:cubicBezTo>
                          <a:lnTo>
                            <a:pt x="1316" y="4273"/>
                          </a:lnTo>
                          <a:cubicBezTo>
                            <a:pt x="1256" y="4213"/>
                            <a:pt x="1196" y="4153"/>
                            <a:pt x="1136" y="4034"/>
                          </a:cubicBezTo>
                          <a:cubicBezTo>
                            <a:pt x="1076" y="3974"/>
                            <a:pt x="1017" y="3854"/>
                            <a:pt x="1017" y="3794"/>
                          </a:cubicBezTo>
                          <a:cubicBezTo>
                            <a:pt x="957" y="3675"/>
                            <a:pt x="957" y="3615"/>
                            <a:pt x="957" y="3495"/>
                          </a:cubicBezTo>
                          <a:cubicBezTo>
                            <a:pt x="957" y="3376"/>
                            <a:pt x="957" y="3256"/>
                            <a:pt x="957" y="3136"/>
                          </a:cubicBezTo>
                          <a:cubicBezTo>
                            <a:pt x="957" y="3017"/>
                            <a:pt x="1017" y="2897"/>
                            <a:pt x="1017" y="2778"/>
                          </a:cubicBezTo>
                          <a:cubicBezTo>
                            <a:pt x="1076" y="2658"/>
                            <a:pt x="1076" y="2538"/>
                            <a:pt x="1136" y="2419"/>
                          </a:cubicBezTo>
                          <a:cubicBezTo>
                            <a:pt x="1196" y="2299"/>
                            <a:pt x="1256" y="2180"/>
                            <a:pt x="1316" y="2060"/>
                          </a:cubicBezTo>
                          <a:cubicBezTo>
                            <a:pt x="1376" y="1940"/>
                            <a:pt x="1495" y="1821"/>
                            <a:pt x="1555" y="1761"/>
                          </a:cubicBezTo>
                          <a:cubicBezTo>
                            <a:pt x="1615" y="1701"/>
                            <a:pt x="1675" y="1641"/>
                            <a:pt x="1675" y="1582"/>
                          </a:cubicBezTo>
                          <a:cubicBezTo>
                            <a:pt x="1735" y="1522"/>
                            <a:pt x="1794" y="1462"/>
                            <a:pt x="1794" y="1462"/>
                          </a:cubicBezTo>
                          <a:cubicBezTo>
                            <a:pt x="1854" y="1402"/>
                            <a:pt x="1914" y="1402"/>
                            <a:pt x="1974" y="1342"/>
                          </a:cubicBezTo>
                          <a:cubicBezTo>
                            <a:pt x="2034" y="1282"/>
                            <a:pt x="2093" y="1282"/>
                            <a:pt x="2153" y="1223"/>
                          </a:cubicBezTo>
                          <a:cubicBezTo>
                            <a:pt x="2213" y="1163"/>
                            <a:pt x="2273" y="1163"/>
                            <a:pt x="2333" y="1103"/>
                          </a:cubicBezTo>
                          <a:cubicBezTo>
                            <a:pt x="2392" y="1043"/>
                            <a:pt x="2452" y="1043"/>
                            <a:pt x="2512" y="1043"/>
                          </a:cubicBezTo>
                          <a:cubicBezTo>
                            <a:pt x="2572" y="1043"/>
                            <a:pt x="2632" y="983"/>
                            <a:pt x="2691" y="983"/>
                          </a:cubicBezTo>
                          <a:cubicBezTo>
                            <a:pt x="2751" y="983"/>
                            <a:pt x="2811" y="923"/>
                            <a:pt x="2871" y="923"/>
                          </a:cubicBezTo>
                          <a:cubicBezTo>
                            <a:pt x="2990" y="923"/>
                            <a:pt x="3110" y="864"/>
                            <a:pt x="3170" y="864"/>
                          </a:cubicBezTo>
                          <a:cubicBezTo>
                            <a:pt x="3289" y="864"/>
                            <a:pt x="3349" y="864"/>
                            <a:pt x="3469" y="864"/>
                          </a:cubicBezTo>
                          <a:cubicBezTo>
                            <a:pt x="3589" y="864"/>
                            <a:pt x="3648" y="923"/>
                            <a:pt x="3768" y="923"/>
                          </a:cubicBezTo>
                          <a:cubicBezTo>
                            <a:pt x="3888" y="983"/>
                            <a:pt x="3947" y="983"/>
                            <a:pt x="4007" y="1043"/>
                          </a:cubicBezTo>
                          <a:cubicBezTo>
                            <a:pt x="4067" y="1103"/>
                            <a:pt x="4067" y="1103"/>
                            <a:pt x="4127" y="1163"/>
                          </a:cubicBezTo>
                          <a:cubicBezTo>
                            <a:pt x="4187" y="1223"/>
                            <a:pt x="4187" y="1223"/>
                            <a:pt x="4187" y="1282"/>
                          </a:cubicBezTo>
                          <a:cubicBezTo>
                            <a:pt x="4187" y="1342"/>
                            <a:pt x="4246" y="1342"/>
                            <a:pt x="4246" y="1402"/>
                          </a:cubicBezTo>
                          <a:cubicBezTo>
                            <a:pt x="4246" y="1462"/>
                            <a:pt x="4306" y="1582"/>
                            <a:pt x="4306" y="1582"/>
                          </a:cubicBezTo>
                          <a:moveTo>
                            <a:pt x="778" y="5110"/>
                          </a:moveTo>
                          <a:cubicBezTo>
                            <a:pt x="1017" y="5290"/>
                            <a:pt x="1256" y="5350"/>
                            <a:pt x="1555" y="5409"/>
                          </a:cubicBezTo>
                          <a:cubicBezTo>
                            <a:pt x="1854" y="5469"/>
                            <a:pt x="2153" y="5409"/>
                            <a:pt x="2452" y="5350"/>
                          </a:cubicBezTo>
                          <a:cubicBezTo>
                            <a:pt x="2751" y="5290"/>
                            <a:pt x="3110" y="5110"/>
                            <a:pt x="3409" y="4931"/>
                          </a:cubicBezTo>
                          <a:cubicBezTo>
                            <a:pt x="3708" y="4751"/>
                            <a:pt x="4007" y="4452"/>
                            <a:pt x="4246" y="4153"/>
                          </a:cubicBezTo>
                          <a:cubicBezTo>
                            <a:pt x="4366" y="3974"/>
                            <a:pt x="4486" y="3854"/>
                            <a:pt x="4605" y="3675"/>
                          </a:cubicBezTo>
                          <a:cubicBezTo>
                            <a:pt x="4725" y="3495"/>
                            <a:pt x="4785" y="3316"/>
                            <a:pt x="4904" y="3136"/>
                          </a:cubicBezTo>
                          <a:cubicBezTo>
                            <a:pt x="5024" y="2957"/>
                            <a:pt x="5024" y="2778"/>
                            <a:pt x="5084" y="2598"/>
                          </a:cubicBezTo>
                          <a:cubicBezTo>
                            <a:pt x="5143" y="2419"/>
                            <a:pt x="5143" y="2239"/>
                            <a:pt x="5203" y="2060"/>
                          </a:cubicBezTo>
                          <a:cubicBezTo>
                            <a:pt x="5203" y="2060"/>
                            <a:pt x="5203" y="2000"/>
                            <a:pt x="5203" y="2000"/>
                          </a:cubicBezTo>
                          <a:cubicBezTo>
                            <a:pt x="5203" y="2000"/>
                            <a:pt x="5203" y="1940"/>
                            <a:pt x="5203" y="1940"/>
                          </a:cubicBezTo>
                          <a:cubicBezTo>
                            <a:pt x="5203" y="1940"/>
                            <a:pt x="5203" y="1881"/>
                            <a:pt x="5203" y="1881"/>
                          </a:cubicBezTo>
                          <a:cubicBezTo>
                            <a:pt x="5203" y="1881"/>
                            <a:pt x="5203" y="1821"/>
                            <a:pt x="5203" y="1821"/>
                          </a:cubicBezTo>
                          <a:cubicBezTo>
                            <a:pt x="5203" y="1761"/>
                            <a:pt x="5203" y="1641"/>
                            <a:pt x="5203" y="1582"/>
                          </a:cubicBezTo>
                          <a:cubicBezTo>
                            <a:pt x="5203" y="1522"/>
                            <a:pt x="5203" y="1402"/>
                            <a:pt x="5143" y="1342"/>
                          </a:cubicBezTo>
                          <a:cubicBezTo>
                            <a:pt x="5143" y="1282"/>
                            <a:pt x="5084" y="1163"/>
                            <a:pt x="5084" y="1103"/>
                          </a:cubicBezTo>
                          <a:cubicBezTo>
                            <a:pt x="5084" y="1043"/>
                            <a:pt x="5024" y="983"/>
                            <a:pt x="4964" y="864"/>
                          </a:cubicBezTo>
                          <a:cubicBezTo>
                            <a:pt x="4964" y="804"/>
                            <a:pt x="4904" y="804"/>
                            <a:pt x="4904" y="744"/>
                          </a:cubicBezTo>
                          <a:cubicBezTo>
                            <a:pt x="4904" y="684"/>
                            <a:pt x="4844" y="684"/>
                            <a:pt x="4844" y="625"/>
                          </a:cubicBezTo>
                          <a:cubicBezTo>
                            <a:pt x="4844" y="565"/>
                            <a:pt x="4785" y="565"/>
                            <a:pt x="4785" y="505"/>
                          </a:cubicBezTo>
                          <a:cubicBezTo>
                            <a:pt x="4725" y="445"/>
                            <a:pt x="4725" y="445"/>
                            <a:pt x="4665" y="385"/>
                          </a:cubicBezTo>
                          <a:lnTo>
                            <a:pt x="4545" y="326"/>
                          </a:lnTo>
                          <a:cubicBezTo>
                            <a:pt x="4426" y="266"/>
                            <a:pt x="4306" y="206"/>
                            <a:pt x="4187" y="146"/>
                          </a:cubicBezTo>
                          <a:cubicBezTo>
                            <a:pt x="4067" y="86"/>
                            <a:pt x="3947" y="27"/>
                            <a:pt x="3768" y="27"/>
                          </a:cubicBezTo>
                          <a:cubicBezTo>
                            <a:pt x="3648" y="27"/>
                            <a:pt x="3469" y="-33"/>
                            <a:pt x="3349" y="27"/>
                          </a:cubicBezTo>
                          <a:cubicBezTo>
                            <a:pt x="3230" y="86"/>
                            <a:pt x="3050" y="27"/>
                            <a:pt x="2871" y="86"/>
                          </a:cubicBezTo>
                          <a:cubicBezTo>
                            <a:pt x="2811" y="86"/>
                            <a:pt x="2811" y="86"/>
                            <a:pt x="2751" y="146"/>
                          </a:cubicBezTo>
                          <a:cubicBezTo>
                            <a:pt x="2691" y="146"/>
                            <a:pt x="2691" y="146"/>
                            <a:pt x="2632" y="206"/>
                          </a:cubicBezTo>
                          <a:cubicBezTo>
                            <a:pt x="2572" y="266"/>
                            <a:pt x="2572" y="206"/>
                            <a:pt x="2512" y="266"/>
                          </a:cubicBezTo>
                          <a:cubicBezTo>
                            <a:pt x="2452" y="266"/>
                            <a:pt x="2452" y="326"/>
                            <a:pt x="2392" y="326"/>
                          </a:cubicBezTo>
                          <a:cubicBezTo>
                            <a:pt x="2273" y="385"/>
                            <a:pt x="2153" y="445"/>
                            <a:pt x="2093" y="505"/>
                          </a:cubicBezTo>
                          <a:cubicBezTo>
                            <a:pt x="2034" y="565"/>
                            <a:pt x="1854" y="625"/>
                            <a:pt x="1794" y="684"/>
                          </a:cubicBezTo>
                          <a:cubicBezTo>
                            <a:pt x="1735" y="744"/>
                            <a:pt x="1615" y="804"/>
                            <a:pt x="1495" y="923"/>
                          </a:cubicBezTo>
                          <a:cubicBezTo>
                            <a:pt x="1376" y="983"/>
                            <a:pt x="1316" y="1103"/>
                            <a:pt x="1196" y="1163"/>
                          </a:cubicBezTo>
                          <a:cubicBezTo>
                            <a:pt x="1196" y="1163"/>
                            <a:pt x="1136" y="1223"/>
                            <a:pt x="1136" y="1223"/>
                          </a:cubicBezTo>
                          <a:cubicBezTo>
                            <a:pt x="1136" y="1223"/>
                            <a:pt x="1076" y="1282"/>
                            <a:pt x="1076" y="1282"/>
                          </a:cubicBezTo>
                          <a:cubicBezTo>
                            <a:pt x="1076" y="1282"/>
                            <a:pt x="1017" y="1342"/>
                            <a:pt x="1017" y="1342"/>
                          </a:cubicBezTo>
                          <a:cubicBezTo>
                            <a:pt x="1017" y="1342"/>
                            <a:pt x="957" y="1402"/>
                            <a:pt x="957" y="1402"/>
                          </a:cubicBezTo>
                          <a:cubicBezTo>
                            <a:pt x="837" y="1582"/>
                            <a:pt x="718" y="1701"/>
                            <a:pt x="598" y="1881"/>
                          </a:cubicBezTo>
                          <a:cubicBezTo>
                            <a:pt x="479" y="2060"/>
                            <a:pt x="419" y="2239"/>
                            <a:pt x="299" y="2419"/>
                          </a:cubicBezTo>
                          <a:cubicBezTo>
                            <a:pt x="239" y="2598"/>
                            <a:pt x="180" y="2778"/>
                            <a:pt x="120" y="2957"/>
                          </a:cubicBezTo>
                          <a:cubicBezTo>
                            <a:pt x="60" y="3136"/>
                            <a:pt x="60" y="3316"/>
                            <a:pt x="0" y="3495"/>
                          </a:cubicBezTo>
                          <a:cubicBezTo>
                            <a:pt x="0" y="3675"/>
                            <a:pt x="0" y="3854"/>
                            <a:pt x="0" y="3974"/>
                          </a:cubicBezTo>
                          <a:cubicBezTo>
                            <a:pt x="0" y="4093"/>
                            <a:pt x="60" y="4273"/>
                            <a:pt x="120" y="4452"/>
                          </a:cubicBezTo>
                          <a:cubicBezTo>
                            <a:pt x="180" y="4572"/>
                            <a:pt x="239" y="4751"/>
                            <a:pt x="299" y="4871"/>
                          </a:cubicBezTo>
                          <a:cubicBezTo>
                            <a:pt x="359" y="4990"/>
                            <a:pt x="479" y="5110"/>
                            <a:pt x="598" y="5170"/>
                          </a:cubicBezTo>
                          <a:cubicBezTo>
                            <a:pt x="598" y="5170"/>
                            <a:pt x="598" y="5170"/>
                            <a:pt x="598" y="5170"/>
                          </a:cubicBezTo>
                          <a:cubicBezTo>
                            <a:pt x="718" y="5050"/>
                            <a:pt x="718" y="5050"/>
                            <a:pt x="778" y="5110"/>
                          </a:cubicBezTo>
                          <a:cubicBezTo>
                            <a:pt x="778" y="5050"/>
                            <a:pt x="778" y="5050"/>
                            <a:pt x="778" y="5110"/>
                          </a:cubicBezTo>
                          <a:cubicBezTo>
                            <a:pt x="778" y="5110"/>
                            <a:pt x="778" y="5110"/>
                            <a:pt x="778" y="5110"/>
                          </a:cubicBezTo>
                        </a:path>
                      </a:pathLst>
                    </a:custGeom>
                    <a:noFill/>
                    <a:ln w="6350" cap="flat">
                      <a:solidFill>
                        <a:schemeClr val="bg1">
                          <a:alpha val="80000"/>
                        </a:schemeClr>
                      </a:solidFill>
                      <a:prstDash val="solid"/>
                      <a:miter/>
                    </a:ln>
                  </p:spPr>
                  <p:txBody>
                    <a:bodyPr rtlCol="0" anchor="ctr"/>
                    <a:lstStyle/>
                    <a:p>
                      <a:endParaRPr lang="en-GB"/>
                    </a:p>
                  </p:txBody>
                </p:sp>
                <p:sp>
                  <p:nvSpPr>
                    <p:cNvPr id="7424" name="Vrije vorm: vorm 7423">
                      <a:extLst>
                        <a:ext uri="{FF2B5EF4-FFF2-40B4-BE49-F238E27FC236}">
                          <a16:creationId xmlns:a16="http://schemas.microsoft.com/office/drawing/2014/main" id="{A7268C8F-DC00-4334-AC77-190E810CA94A}"/>
                        </a:ext>
                      </a:extLst>
                    </p:cNvPr>
                    <p:cNvSpPr/>
                    <p:nvPr/>
                  </p:nvSpPr>
                  <p:spPr>
                    <a:xfrm>
                      <a:off x="5308688" y="5394830"/>
                      <a:ext cx="5143" cy="5528"/>
                    </a:xfrm>
                    <a:custGeom>
                      <a:avLst/>
                      <a:gdLst>
                        <a:gd name="connsiteX0" fmla="*/ 4187 w 5143"/>
                        <a:gd name="connsiteY0" fmla="*/ 1794 h 5528"/>
                        <a:gd name="connsiteX1" fmla="*/ 4187 w 5143"/>
                        <a:gd name="connsiteY1" fmla="*/ 1914 h 5528"/>
                        <a:gd name="connsiteX2" fmla="*/ 4187 w 5143"/>
                        <a:gd name="connsiteY2" fmla="*/ 2033 h 5528"/>
                        <a:gd name="connsiteX3" fmla="*/ 4187 w 5143"/>
                        <a:gd name="connsiteY3" fmla="*/ 2153 h 5528"/>
                        <a:gd name="connsiteX4" fmla="*/ 4187 w 5143"/>
                        <a:gd name="connsiteY4" fmla="*/ 2333 h 5528"/>
                        <a:gd name="connsiteX5" fmla="*/ 4007 w 5143"/>
                        <a:gd name="connsiteY5" fmla="*/ 3050 h 5528"/>
                        <a:gd name="connsiteX6" fmla="*/ 3589 w 5143"/>
                        <a:gd name="connsiteY6" fmla="*/ 3708 h 5528"/>
                        <a:gd name="connsiteX7" fmla="*/ 2990 w 5143"/>
                        <a:gd name="connsiteY7" fmla="*/ 4246 h 5528"/>
                        <a:gd name="connsiteX8" fmla="*/ 2333 w 5143"/>
                        <a:gd name="connsiteY8" fmla="*/ 4545 h 5528"/>
                        <a:gd name="connsiteX9" fmla="*/ 2034 w 5143"/>
                        <a:gd name="connsiteY9" fmla="*/ 4605 h 5528"/>
                        <a:gd name="connsiteX10" fmla="*/ 1734 w 5143"/>
                        <a:gd name="connsiteY10" fmla="*/ 4605 h 5528"/>
                        <a:gd name="connsiteX11" fmla="*/ 1495 w 5143"/>
                        <a:gd name="connsiteY11" fmla="*/ 4545 h 5528"/>
                        <a:gd name="connsiteX12" fmla="*/ 1256 w 5143"/>
                        <a:gd name="connsiteY12" fmla="*/ 4426 h 5528"/>
                        <a:gd name="connsiteX13" fmla="*/ 1017 w 5143"/>
                        <a:gd name="connsiteY13" fmla="*/ 4187 h 5528"/>
                        <a:gd name="connsiteX14" fmla="*/ 837 w 5143"/>
                        <a:gd name="connsiteY14" fmla="*/ 3887 h 5528"/>
                        <a:gd name="connsiteX15" fmla="*/ 778 w 5143"/>
                        <a:gd name="connsiteY15" fmla="*/ 3528 h 5528"/>
                        <a:gd name="connsiteX16" fmla="*/ 778 w 5143"/>
                        <a:gd name="connsiteY16" fmla="*/ 3170 h 5528"/>
                        <a:gd name="connsiteX17" fmla="*/ 837 w 5143"/>
                        <a:gd name="connsiteY17" fmla="*/ 2811 h 5528"/>
                        <a:gd name="connsiteX18" fmla="*/ 957 w 5143"/>
                        <a:gd name="connsiteY18" fmla="*/ 2452 h 5528"/>
                        <a:gd name="connsiteX19" fmla="*/ 1136 w 5143"/>
                        <a:gd name="connsiteY19" fmla="*/ 2093 h 5528"/>
                        <a:gd name="connsiteX20" fmla="*/ 1375 w 5143"/>
                        <a:gd name="connsiteY20" fmla="*/ 1794 h 5528"/>
                        <a:gd name="connsiteX21" fmla="*/ 1495 w 5143"/>
                        <a:gd name="connsiteY21" fmla="*/ 1674 h 5528"/>
                        <a:gd name="connsiteX22" fmla="*/ 1615 w 5143"/>
                        <a:gd name="connsiteY22" fmla="*/ 1555 h 5528"/>
                        <a:gd name="connsiteX23" fmla="*/ 1734 w 5143"/>
                        <a:gd name="connsiteY23" fmla="*/ 1435 h 5528"/>
                        <a:gd name="connsiteX24" fmla="*/ 1854 w 5143"/>
                        <a:gd name="connsiteY24" fmla="*/ 1316 h 5528"/>
                        <a:gd name="connsiteX25" fmla="*/ 1914 w 5143"/>
                        <a:gd name="connsiteY25" fmla="*/ 1256 h 5528"/>
                        <a:gd name="connsiteX26" fmla="*/ 1974 w 5143"/>
                        <a:gd name="connsiteY26" fmla="*/ 1196 h 5528"/>
                        <a:gd name="connsiteX27" fmla="*/ 2034 w 5143"/>
                        <a:gd name="connsiteY27" fmla="*/ 1136 h 5528"/>
                        <a:gd name="connsiteX28" fmla="*/ 2093 w 5143"/>
                        <a:gd name="connsiteY28" fmla="*/ 1076 h 5528"/>
                        <a:gd name="connsiteX29" fmla="*/ 2213 w 5143"/>
                        <a:gd name="connsiteY29" fmla="*/ 1017 h 5528"/>
                        <a:gd name="connsiteX30" fmla="*/ 2333 w 5143"/>
                        <a:gd name="connsiteY30" fmla="*/ 957 h 5528"/>
                        <a:gd name="connsiteX31" fmla="*/ 2452 w 5143"/>
                        <a:gd name="connsiteY31" fmla="*/ 897 h 5528"/>
                        <a:gd name="connsiteX32" fmla="*/ 2572 w 5143"/>
                        <a:gd name="connsiteY32" fmla="*/ 837 h 5528"/>
                        <a:gd name="connsiteX33" fmla="*/ 2871 w 5143"/>
                        <a:gd name="connsiteY33" fmla="*/ 778 h 5528"/>
                        <a:gd name="connsiteX34" fmla="*/ 3170 w 5143"/>
                        <a:gd name="connsiteY34" fmla="*/ 778 h 5528"/>
                        <a:gd name="connsiteX35" fmla="*/ 3409 w 5143"/>
                        <a:gd name="connsiteY35" fmla="*/ 837 h 5528"/>
                        <a:gd name="connsiteX36" fmla="*/ 3648 w 5143"/>
                        <a:gd name="connsiteY36" fmla="*/ 957 h 5528"/>
                        <a:gd name="connsiteX37" fmla="*/ 3768 w 5143"/>
                        <a:gd name="connsiteY37" fmla="*/ 1076 h 5528"/>
                        <a:gd name="connsiteX38" fmla="*/ 3888 w 5143"/>
                        <a:gd name="connsiteY38" fmla="*/ 1196 h 5528"/>
                        <a:gd name="connsiteX39" fmla="*/ 4007 w 5143"/>
                        <a:gd name="connsiteY39" fmla="*/ 1375 h 5528"/>
                        <a:gd name="connsiteX40" fmla="*/ 4187 w 5143"/>
                        <a:gd name="connsiteY40" fmla="*/ 1794 h 5528"/>
                        <a:gd name="connsiteX41" fmla="*/ 598 w 5143"/>
                        <a:gd name="connsiteY41" fmla="*/ 5203 h 5528"/>
                        <a:gd name="connsiteX42" fmla="*/ 957 w 5143"/>
                        <a:gd name="connsiteY42" fmla="*/ 5382 h 5528"/>
                        <a:gd name="connsiteX43" fmla="*/ 1375 w 5143"/>
                        <a:gd name="connsiteY43" fmla="*/ 5502 h 5528"/>
                        <a:gd name="connsiteX44" fmla="*/ 1794 w 5143"/>
                        <a:gd name="connsiteY44" fmla="*/ 5502 h 5528"/>
                        <a:gd name="connsiteX45" fmla="*/ 2273 w 5143"/>
                        <a:gd name="connsiteY45" fmla="*/ 5442 h 5528"/>
                        <a:gd name="connsiteX46" fmla="*/ 3289 w 5143"/>
                        <a:gd name="connsiteY46" fmla="*/ 4964 h 5528"/>
                        <a:gd name="connsiteX47" fmla="*/ 4187 w 5143"/>
                        <a:gd name="connsiteY47" fmla="*/ 4187 h 5528"/>
                        <a:gd name="connsiteX48" fmla="*/ 4844 w 5143"/>
                        <a:gd name="connsiteY48" fmla="*/ 3229 h 5528"/>
                        <a:gd name="connsiteX49" fmla="*/ 5143 w 5143"/>
                        <a:gd name="connsiteY49" fmla="*/ 2153 h 5528"/>
                        <a:gd name="connsiteX50" fmla="*/ 5143 w 5143"/>
                        <a:gd name="connsiteY50" fmla="*/ 2093 h 5528"/>
                        <a:gd name="connsiteX51" fmla="*/ 5143 w 5143"/>
                        <a:gd name="connsiteY51" fmla="*/ 2033 h 5528"/>
                        <a:gd name="connsiteX52" fmla="*/ 5143 w 5143"/>
                        <a:gd name="connsiteY52" fmla="*/ 1973 h 5528"/>
                        <a:gd name="connsiteX53" fmla="*/ 5143 w 5143"/>
                        <a:gd name="connsiteY53" fmla="*/ 1914 h 5528"/>
                        <a:gd name="connsiteX54" fmla="*/ 5143 w 5143"/>
                        <a:gd name="connsiteY54" fmla="*/ 1615 h 5528"/>
                        <a:gd name="connsiteX55" fmla="*/ 5084 w 5143"/>
                        <a:gd name="connsiteY55" fmla="*/ 1375 h 5528"/>
                        <a:gd name="connsiteX56" fmla="*/ 5024 w 5143"/>
                        <a:gd name="connsiteY56" fmla="*/ 1136 h 5528"/>
                        <a:gd name="connsiteX57" fmla="*/ 4904 w 5143"/>
                        <a:gd name="connsiteY57" fmla="*/ 897 h 5528"/>
                        <a:gd name="connsiteX58" fmla="*/ 4785 w 5143"/>
                        <a:gd name="connsiteY58" fmla="*/ 718 h 5528"/>
                        <a:gd name="connsiteX59" fmla="*/ 4665 w 5143"/>
                        <a:gd name="connsiteY59" fmla="*/ 598 h 5528"/>
                        <a:gd name="connsiteX60" fmla="*/ 4545 w 5143"/>
                        <a:gd name="connsiteY60" fmla="*/ 478 h 5528"/>
                        <a:gd name="connsiteX61" fmla="*/ 4426 w 5143"/>
                        <a:gd name="connsiteY61" fmla="*/ 359 h 5528"/>
                        <a:gd name="connsiteX62" fmla="*/ 4246 w 5143"/>
                        <a:gd name="connsiteY62" fmla="*/ 239 h 5528"/>
                        <a:gd name="connsiteX63" fmla="*/ 4007 w 5143"/>
                        <a:gd name="connsiteY63" fmla="*/ 119 h 5528"/>
                        <a:gd name="connsiteX64" fmla="*/ 3768 w 5143"/>
                        <a:gd name="connsiteY64" fmla="*/ 60 h 5528"/>
                        <a:gd name="connsiteX65" fmla="*/ 3529 w 5143"/>
                        <a:gd name="connsiteY65" fmla="*/ 0 h 5528"/>
                        <a:gd name="connsiteX66" fmla="*/ 3349 w 5143"/>
                        <a:gd name="connsiteY66" fmla="*/ 0 h 5528"/>
                        <a:gd name="connsiteX67" fmla="*/ 3170 w 5143"/>
                        <a:gd name="connsiteY67" fmla="*/ 0 h 5528"/>
                        <a:gd name="connsiteX68" fmla="*/ 2990 w 5143"/>
                        <a:gd name="connsiteY68" fmla="*/ 0 h 5528"/>
                        <a:gd name="connsiteX69" fmla="*/ 2811 w 5143"/>
                        <a:gd name="connsiteY69" fmla="*/ 60 h 5528"/>
                        <a:gd name="connsiteX70" fmla="*/ 2811 w 5143"/>
                        <a:gd name="connsiteY70" fmla="*/ 60 h 5528"/>
                        <a:gd name="connsiteX71" fmla="*/ 2811 w 5143"/>
                        <a:gd name="connsiteY71" fmla="*/ 60 h 5528"/>
                        <a:gd name="connsiteX72" fmla="*/ 2811 w 5143"/>
                        <a:gd name="connsiteY72" fmla="*/ 60 h 5528"/>
                        <a:gd name="connsiteX73" fmla="*/ 2811 w 5143"/>
                        <a:gd name="connsiteY73" fmla="*/ 60 h 5528"/>
                        <a:gd name="connsiteX74" fmla="*/ 2632 w 5143"/>
                        <a:gd name="connsiteY74" fmla="*/ 119 h 5528"/>
                        <a:gd name="connsiteX75" fmla="*/ 2452 w 5143"/>
                        <a:gd name="connsiteY75" fmla="*/ 179 h 5528"/>
                        <a:gd name="connsiteX76" fmla="*/ 2273 w 5143"/>
                        <a:gd name="connsiteY76" fmla="*/ 239 h 5528"/>
                        <a:gd name="connsiteX77" fmla="*/ 2093 w 5143"/>
                        <a:gd name="connsiteY77" fmla="*/ 299 h 5528"/>
                        <a:gd name="connsiteX78" fmla="*/ 1854 w 5143"/>
                        <a:gd name="connsiteY78" fmla="*/ 478 h 5528"/>
                        <a:gd name="connsiteX79" fmla="*/ 1615 w 5143"/>
                        <a:gd name="connsiteY79" fmla="*/ 658 h 5528"/>
                        <a:gd name="connsiteX80" fmla="*/ 1375 w 5143"/>
                        <a:gd name="connsiteY80" fmla="*/ 837 h 5528"/>
                        <a:gd name="connsiteX81" fmla="*/ 1136 w 5143"/>
                        <a:gd name="connsiteY81" fmla="*/ 1076 h 5528"/>
                        <a:gd name="connsiteX82" fmla="*/ 1076 w 5143"/>
                        <a:gd name="connsiteY82" fmla="*/ 1136 h 5528"/>
                        <a:gd name="connsiteX83" fmla="*/ 1017 w 5143"/>
                        <a:gd name="connsiteY83" fmla="*/ 1196 h 5528"/>
                        <a:gd name="connsiteX84" fmla="*/ 957 w 5143"/>
                        <a:gd name="connsiteY84" fmla="*/ 1256 h 5528"/>
                        <a:gd name="connsiteX85" fmla="*/ 897 w 5143"/>
                        <a:gd name="connsiteY85" fmla="*/ 1316 h 5528"/>
                        <a:gd name="connsiteX86" fmla="*/ 538 w 5143"/>
                        <a:gd name="connsiteY86" fmla="*/ 1794 h 5528"/>
                        <a:gd name="connsiteX87" fmla="*/ 239 w 5143"/>
                        <a:gd name="connsiteY87" fmla="*/ 2333 h 5528"/>
                        <a:gd name="connsiteX88" fmla="*/ 60 w 5143"/>
                        <a:gd name="connsiteY88" fmla="*/ 2871 h 5528"/>
                        <a:gd name="connsiteX89" fmla="*/ 0 w 5143"/>
                        <a:gd name="connsiteY89" fmla="*/ 3409 h 5528"/>
                        <a:gd name="connsiteX90" fmla="*/ 0 w 5143"/>
                        <a:gd name="connsiteY90" fmla="*/ 3947 h 5528"/>
                        <a:gd name="connsiteX91" fmla="*/ 120 w 5143"/>
                        <a:gd name="connsiteY91" fmla="*/ 4426 h 5528"/>
                        <a:gd name="connsiteX92" fmla="*/ 359 w 5143"/>
                        <a:gd name="connsiteY92" fmla="*/ 4844 h 5528"/>
                        <a:gd name="connsiteX93" fmla="*/ 598 w 5143"/>
                        <a:gd name="connsiteY93" fmla="*/ 5203 h 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143" h="5528">
                          <a:moveTo>
                            <a:pt x="4187" y="1794"/>
                          </a:moveTo>
                          <a:cubicBezTo>
                            <a:pt x="4187" y="1854"/>
                            <a:pt x="4187" y="1854"/>
                            <a:pt x="4187" y="1914"/>
                          </a:cubicBezTo>
                          <a:cubicBezTo>
                            <a:pt x="4187" y="1973"/>
                            <a:pt x="4187" y="2033"/>
                            <a:pt x="4187" y="2033"/>
                          </a:cubicBezTo>
                          <a:cubicBezTo>
                            <a:pt x="4187" y="2093"/>
                            <a:pt x="4187" y="2153"/>
                            <a:pt x="4187" y="2153"/>
                          </a:cubicBezTo>
                          <a:cubicBezTo>
                            <a:pt x="4187" y="2213"/>
                            <a:pt x="4187" y="2273"/>
                            <a:pt x="4187" y="2333"/>
                          </a:cubicBezTo>
                          <a:cubicBezTo>
                            <a:pt x="4187" y="2572"/>
                            <a:pt x="4067" y="2811"/>
                            <a:pt x="4007" y="3050"/>
                          </a:cubicBezTo>
                          <a:cubicBezTo>
                            <a:pt x="3947" y="3289"/>
                            <a:pt x="3768" y="3528"/>
                            <a:pt x="3589" y="3708"/>
                          </a:cubicBezTo>
                          <a:cubicBezTo>
                            <a:pt x="3409" y="3887"/>
                            <a:pt x="3229" y="4067"/>
                            <a:pt x="2990" y="4246"/>
                          </a:cubicBezTo>
                          <a:cubicBezTo>
                            <a:pt x="2751" y="4366"/>
                            <a:pt x="2572" y="4486"/>
                            <a:pt x="2333" y="4545"/>
                          </a:cubicBezTo>
                          <a:cubicBezTo>
                            <a:pt x="2213" y="4545"/>
                            <a:pt x="2093" y="4605"/>
                            <a:pt x="2034" y="4605"/>
                          </a:cubicBezTo>
                          <a:cubicBezTo>
                            <a:pt x="1914" y="4605"/>
                            <a:pt x="1854" y="4605"/>
                            <a:pt x="1734" y="4605"/>
                          </a:cubicBezTo>
                          <a:cubicBezTo>
                            <a:pt x="1615" y="4605"/>
                            <a:pt x="1555" y="4545"/>
                            <a:pt x="1495" y="4545"/>
                          </a:cubicBezTo>
                          <a:cubicBezTo>
                            <a:pt x="1435" y="4486"/>
                            <a:pt x="1316" y="4486"/>
                            <a:pt x="1256" y="4426"/>
                          </a:cubicBezTo>
                          <a:cubicBezTo>
                            <a:pt x="1196" y="4366"/>
                            <a:pt x="1076" y="4306"/>
                            <a:pt x="1017" y="4187"/>
                          </a:cubicBezTo>
                          <a:cubicBezTo>
                            <a:pt x="957" y="4127"/>
                            <a:pt x="897" y="4007"/>
                            <a:pt x="837" y="3887"/>
                          </a:cubicBezTo>
                          <a:cubicBezTo>
                            <a:pt x="778" y="3768"/>
                            <a:pt x="778" y="3648"/>
                            <a:pt x="778" y="3528"/>
                          </a:cubicBezTo>
                          <a:cubicBezTo>
                            <a:pt x="778" y="3409"/>
                            <a:pt x="778" y="3289"/>
                            <a:pt x="778" y="3170"/>
                          </a:cubicBezTo>
                          <a:cubicBezTo>
                            <a:pt x="778" y="3050"/>
                            <a:pt x="837" y="2930"/>
                            <a:pt x="837" y="2811"/>
                          </a:cubicBezTo>
                          <a:cubicBezTo>
                            <a:pt x="837" y="2691"/>
                            <a:pt x="897" y="2572"/>
                            <a:pt x="957" y="2452"/>
                          </a:cubicBezTo>
                          <a:cubicBezTo>
                            <a:pt x="1017" y="2333"/>
                            <a:pt x="1076" y="2213"/>
                            <a:pt x="1136" y="2093"/>
                          </a:cubicBezTo>
                          <a:cubicBezTo>
                            <a:pt x="1196" y="1973"/>
                            <a:pt x="1316" y="1854"/>
                            <a:pt x="1375" y="1794"/>
                          </a:cubicBezTo>
                          <a:cubicBezTo>
                            <a:pt x="1435" y="1734"/>
                            <a:pt x="1435" y="1734"/>
                            <a:pt x="1495" y="1674"/>
                          </a:cubicBezTo>
                          <a:cubicBezTo>
                            <a:pt x="1555" y="1615"/>
                            <a:pt x="1555" y="1615"/>
                            <a:pt x="1615" y="1555"/>
                          </a:cubicBezTo>
                          <a:cubicBezTo>
                            <a:pt x="1675" y="1495"/>
                            <a:pt x="1675" y="1495"/>
                            <a:pt x="1734" y="1435"/>
                          </a:cubicBezTo>
                          <a:cubicBezTo>
                            <a:pt x="1794" y="1375"/>
                            <a:pt x="1794" y="1375"/>
                            <a:pt x="1854" y="1316"/>
                          </a:cubicBezTo>
                          <a:cubicBezTo>
                            <a:pt x="1854" y="1316"/>
                            <a:pt x="1914" y="1256"/>
                            <a:pt x="1914" y="1256"/>
                          </a:cubicBezTo>
                          <a:cubicBezTo>
                            <a:pt x="1914" y="1256"/>
                            <a:pt x="1974" y="1196"/>
                            <a:pt x="1974" y="1196"/>
                          </a:cubicBezTo>
                          <a:cubicBezTo>
                            <a:pt x="1974" y="1196"/>
                            <a:pt x="2034" y="1136"/>
                            <a:pt x="2034" y="1136"/>
                          </a:cubicBezTo>
                          <a:cubicBezTo>
                            <a:pt x="2034" y="1136"/>
                            <a:pt x="2093" y="1136"/>
                            <a:pt x="2093" y="1076"/>
                          </a:cubicBezTo>
                          <a:cubicBezTo>
                            <a:pt x="2153" y="1076"/>
                            <a:pt x="2153" y="1017"/>
                            <a:pt x="2213" y="1017"/>
                          </a:cubicBezTo>
                          <a:cubicBezTo>
                            <a:pt x="2273" y="1017"/>
                            <a:pt x="2273" y="957"/>
                            <a:pt x="2333" y="957"/>
                          </a:cubicBezTo>
                          <a:cubicBezTo>
                            <a:pt x="2392" y="957"/>
                            <a:pt x="2392" y="957"/>
                            <a:pt x="2452" y="897"/>
                          </a:cubicBezTo>
                          <a:cubicBezTo>
                            <a:pt x="2512" y="897"/>
                            <a:pt x="2512" y="897"/>
                            <a:pt x="2572" y="837"/>
                          </a:cubicBezTo>
                          <a:cubicBezTo>
                            <a:pt x="2691" y="837"/>
                            <a:pt x="2811" y="778"/>
                            <a:pt x="2871" y="778"/>
                          </a:cubicBezTo>
                          <a:cubicBezTo>
                            <a:pt x="2990" y="778"/>
                            <a:pt x="3050" y="778"/>
                            <a:pt x="3170" y="778"/>
                          </a:cubicBezTo>
                          <a:cubicBezTo>
                            <a:pt x="3289" y="778"/>
                            <a:pt x="3349" y="837"/>
                            <a:pt x="3409" y="837"/>
                          </a:cubicBezTo>
                          <a:cubicBezTo>
                            <a:pt x="3469" y="897"/>
                            <a:pt x="3589" y="897"/>
                            <a:pt x="3648" y="957"/>
                          </a:cubicBezTo>
                          <a:cubicBezTo>
                            <a:pt x="3708" y="1017"/>
                            <a:pt x="3768" y="1017"/>
                            <a:pt x="3768" y="1076"/>
                          </a:cubicBezTo>
                          <a:cubicBezTo>
                            <a:pt x="3828" y="1136"/>
                            <a:pt x="3828" y="1196"/>
                            <a:pt x="3888" y="1196"/>
                          </a:cubicBezTo>
                          <a:cubicBezTo>
                            <a:pt x="3947" y="1196"/>
                            <a:pt x="3947" y="1316"/>
                            <a:pt x="4007" y="1375"/>
                          </a:cubicBezTo>
                          <a:cubicBezTo>
                            <a:pt x="4127" y="1674"/>
                            <a:pt x="4187" y="1734"/>
                            <a:pt x="4187" y="1794"/>
                          </a:cubicBezTo>
                          <a:moveTo>
                            <a:pt x="598" y="5203"/>
                          </a:moveTo>
                          <a:cubicBezTo>
                            <a:pt x="718" y="5263"/>
                            <a:pt x="837" y="5323"/>
                            <a:pt x="957" y="5382"/>
                          </a:cubicBezTo>
                          <a:cubicBezTo>
                            <a:pt x="1076" y="5442"/>
                            <a:pt x="1196" y="5442"/>
                            <a:pt x="1375" y="5502"/>
                          </a:cubicBezTo>
                          <a:cubicBezTo>
                            <a:pt x="1555" y="5562"/>
                            <a:pt x="1675" y="5502"/>
                            <a:pt x="1794" y="5502"/>
                          </a:cubicBezTo>
                          <a:cubicBezTo>
                            <a:pt x="1974" y="5502"/>
                            <a:pt x="2093" y="5442"/>
                            <a:pt x="2273" y="5442"/>
                          </a:cubicBezTo>
                          <a:cubicBezTo>
                            <a:pt x="2632" y="5382"/>
                            <a:pt x="2990" y="5203"/>
                            <a:pt x="3289" y="4964"/>
                          </a:cubicBezTo>
                          <a:cubicBezTo>
                            <a:pt x="3589" y="4785"/>
                            <a:pt x="3888" y="4486"/>
                            <a:pt x="4187" y="4187"/>
                          </a:cubicBezTo>
                          <a:cubicBezTo>
                            <a:pt x="4486" y="3887"/>
                            <a:pt x="4665" y="3588"/>
                            <a:pt x="4844" y="3229"/>
                          </a:cubicBezTo>
                          <a:cubicBezTo>
                            <a:pt x="5024" y="2871"/>
                            <a:pt x="5084" y="2512"/>
                            <a:pt x="5143" y="2153"/>
                          </a:cubicBezTo>
                          <a:cubicBezTo>
                            <a:pt x="5143" y="2153"/>
                            <a:pt x="5143" y="2093"/>
                            <a:pt x="5143" y="2093"/>
                          </a:cubicBezTo>
                          <a:cubicBezTo>
                            <a:pt x="5143" y="2093"/>
                            <a:pt x="5143" y="2033"/>
                            <a:pt x="5143" y="2033"/>
                          </a:cubicBezTo>
                          <a:cubicBezTo>
                            <a:pt x="5143" y="2033"/>
                            <a:pt x="5143" y="1973"/>
                            <a:pt x="5143" y="1973"/>
                          </a:cubicBezTo>
                          <a:cubicBezTo>
                            <a:pt x="5143" y="1973"/>
                            <a:pt x="5143" y="1914"/>
                            <a:pt x="5143" y="1914"/>
                          </a:cubicBezTo>
                          <a:cubicBezTo>
                            <a:pt x="5143" y="1794"/>
                            <a:pt x="5143" y="1734"/>
                            <a:pt x="5143" y="1615"/>
                          </a:cubicBezTo>
                          <a:cubicBezTo>
                            <a:pt x="5143" y="1495"/>
                            <a:pt x="5143" y="1435"/>
                            <a:pt x="5084" y="1375"/>
                          </a:cubicBezTo>
                          <a:cubicBezTo>
                            <a:pt x="5084" y="1316"/>
                            <a:pt x="5024" y="1196"/>
                            <a:pt x="5024" y="1136"/>
                          </a:cubicBezTo>
                          <a:cubicBezTo>
                            <a:pt x="5024" y="1076"/>
                            <a:pt x="4964" y="957"/>
                            <a:pt x="4904" y="897"/>
                          </a:cubicBezTo>
                          <a:cubicBezTo>
                            <a:pt x="4904" y="837"/>
                            <a:pt x="4844" y="778"/>
                            <a:pt x="4785" y="718"/>
                          </a:cubicBezTo>
                          <a:cubicBezTo>
                            <a:pt x="4725" y="658"/>
                            <a:pt x="4725" y="598"/>
                            <a:pt x="4665" y="598"/>
                          </a:cubicBezTo>
                          <a:cubicBezTo>
                            <a:pt x="4605" y="538"/>
                            <a:pt x="4605" y="478"/>
                            <a:pt x="4545" y="478"/>
                          </a:cubicBezTo>
                          <a:cubicBezTo>
                            <a:pt x="4486" y="478"/>
                            <a:pt x="4486" y="419"/>
                            <a:pt x="4426" y="359"/>
                          </a:cubicBezTo>
                          <a:cubicBezTo>
                            <a:pt x="4366" y="299"/>
                            <a:pt x="4306" y="299"/>
                            <a:pt x="4246" y="239"/>
                          </a:cubicBezTo>
                          <a:cubicBezTo>
                            <a:pt x="4187" y="179"/>
                            <a:pt x="4127" y="179"/>
                            <a:pt x="4007" y="119"/>
                          </a:cubicBezTo>
                          <a:cubicBezTo>
                            <a:pt x="3947" y="119"/>
                            <a:pt x="3828" y="60"/>
                            <a:pt x="3768" y="60"/>
                          </a:cubicBezTo>
                          <a:cubicBezTo>
                            <a:pt x="3708" y="60"/>
                            <a:pt x="3589" y="60"/>
                            <a:pt x="3529" y="0"/>
                          </a:cubicBezTo>
                          <a:cubicBezTo>
                            <a:pt x="3469" y="0"/>
                            <a:pt x="3409" y="0"/>
                            <a:pt x="3349" y="0"/>
                          </a:cubicBezTo>
                          <a:cubicBezTo>
                            <a:pt x="3289" y="0"/>
                            <a:pt x="3229" y="0"/>
                            <a:pt x="3170" y="0"/>
                          </a:cubicBezTo>
                          <a:cubicBezTo>
                            <a:pt x="3110" y="0"/>
                            <a:pt x="3050" y="0"/>
                            <a:pt x="2990" y="0"/>
                          </a:cubicBezTo>
                          <a:cubicBezTo>
                            <a:pt x="2930" y="0"/>
                            <a:pt x="2871" y="0"/>
                            <a:pt x="2811" y="60"/>
                          </a:cubicBezTo>
                          <a:cubicBezTo>
                            <a:pt x="2811" y="60"/>
                            <a:pt x="2811" y="60"/>
                            <a:pt x="2811" y="60"/>
                          </a:cubicBezTo>
                          <a:cubicBezTo>
                            <a:pt x="2811" y="60"/>
                            <a:pt x="2811" y="60"/>
                            <a:pt x="2811" y="60"/>
                          </a:cubicBezTo>
                          <a:cubicBezTo>
                            <a:pt x="2811" y="60"/>
                            <a:pt x="2811" y="60"/>
                            <a:pt x="2811" y="60"/>
                          </a:cubicBezTo>
                          <a:cubicBezTo>
                            <a:pt x="2811" y="60"/>
                            <a:pt x="2811" y="60"/>
                            <a:pt x="2811" y="60"/>
                          </a:cubicBezTo>
                          <a:cubicBezTo>
                            <a:pt x="2751" y="60"/>
                            <a:pt x="2691" y="119"/>
                            <a:pt x="2632" y="119"/>
                          </a:cubicBezTo>
                          <a:cubicBezTo>
                            <a:pt x="2572" y="119"/>
                            <a:pt x="2512" y="179"/>
                            <a:pt x="2452" y="179"/>
                          </a:cubicBezTo>
                          <a:cubicBezTo>
                            <a:pt x="2392" y="179"/>
                            <a:pt x="2333" y="239"/>
                            <a:pt x="2273" y="239"/>
                          </a:cubicBezTo>
                          <a:cubicBezTo>
                            <a:pt x="2213" y="239"/>
                            <a:pt x="2153" y="299"/>
                            <a:pt x="2093" y="299"/>
                          </a:cubicBezTo>
                          <a:cubicBezTo>
                            <a:pt x="2034" y="359"/>
                            <a:pt x="1914" y="419"/>
                            <a:pt x="1854" y="478"/>
                          </a:cubicBezTo>
                          <a:cubicBezTo>
                            <a:pt x="1794" y="538"/>
                            <a:pt x="1675" y="598"/>
                            <a:pt x="1615" y="658"/>
                          </a:cubicBezTo>
                          <a:cubicBezTo>
                            <a:pt x="1555" y="718"/>
                            <a:pt x="1435" y="778"/>
                            <a:pt x="1375" y="837"/>
                          </a:cubicBezTo>
                          <a:cubicBezTo>
                            <a:pt x="1316" y="897"/>
                            <a:pt x="1196" y="957"/>
                            <a:pt x="1136" y="1076"/>
                          </a:cubicBezTo>
                          <a:cubicBezTo>
                            <a:pt x="1136" y="1076"/>
                            <a:pt x="1136" y="1076"/>
                            <a:pt x="1076" y="1136"/>
                          </a:cubicBezTo>
                          <a:cubicBezTo>
                            <a:pt x="1076" y="1136"/>
                            <a:pt x="1076" y="1136"/>
                            <a:pt x="1017" y="1196"/>
                          </a:cubicBezTo>
                          <a:cubicBezTo>
                            <a:pt x="1017" y="1196"/>
                            <a:pt x="1017" y="1196"/>
                            <a:pt x="957" y="1256"/>
                          </a:cubicBezTo>
                          <a:cubicBezTo>
                            <a:pt x="957" y="1256"/>
                            <a:pt x="957" y="1256"/>
                            <a:pt x="897" y="1316"/>
                          </a:cubicBezTo>
                          <a:cubicBezTo>
                            <a:pt x="778" y="1495"/>
                            <a:pt x="658" y="1615"/>
                            <a:pt x="538" y="1794"/>
                          </a:cubicBezTo>
                          <a:cubicBezTo>
                            <a:pt x="419" y="1973"/>
                            <a:pt x="359" y="2153"/>
                            <a:pt x="239" y="2333"/>
                          </a:cubicBezTo>
                          <a:cubicBezTo>
                            <a:pt x="120" y="2512"/>
                            <a:pt x="120" y="2691"/>
                            <a:pt x="60" y="2871"/>
                          </a:cubicBezTo>
                          <a:cubicBezTo>
                            <a:pt x="0" y="3050"/>
                            <a:pt x="0" y="3229"/>
                            <a:pt x="0" y="3409"/>
                          </a:cubicBezTo>
                          <a:cubicBezTo>
                            <a:pt x="0" y="3588"/>
                            <a:pt x="0" y="3768"/>
                            <a:pt x="0" y="3947"/>
                          </a:cubicBezTo>
                          <a:cubicBezTo>
                            <a:pt x="0" y="4127"/>
                            <a:pt x="60" y="4306"/>
                            <a:pt x="120" y="4426"/>
                          </a:cubicBezTo>
                          <a:cubicBezTo>
                            <a:pt x="180" y="4545"/>
                            <a:pt x="239" y="4725"/>
                            <a:pt x="359" y="4844"/>
                          </a:cubicBezTo>
                          <a:cubicBezTo>
                            <a:pt x="359" y="5024"/>
                            <a:pt x="479" y="5083"/>
                            <a:pt x="598" y="5203"/>
                          </a:cubicBezTo>
                        </a:path>
                      </a:pathLst>
                    </a:custGeom>
                    <a:noFill/>
                    <a:ln w="6350" cap="flat">
                      <a:solidFill>
                        <a:schemeClr val="bg1">
                          <a:alpha val="80000"/>
                        </a:schemeClr>
                      </a:solidFill>
                      <a:prstDash val="solid"/>
                      <a:miter/>
                    </a:ln>
                  </p:spPr>
                  <p:txBody>
                    <a:bodyPr rtlCol="0" anchor="ctr"/>
                    <a:lstStyle/>
                    <a:p>
                      <a:endParaRPr lang="en-GB"/>
                    </a:p>
                  </p:txBody>
                </p:sp>
                <p:sp>
                  <p:nvSpPr>
                    <p:cNvPr id="7425" name="Vrije vorm: vorm 7424">
                      <a:extLst>
                        <a:ext uri="{FF2B5EF4-FFF2-40B4-BE49-F238E27FC236}">
                          <a16:creationId xmlns:a16="http://schemas.microsoft.com/office/drawing/2014/main" id="{FCED081E-4251-41CB-953C-373BF096855F}"/>
                        </a:ext>
                      </a:extLst>
                    </p:cNvPr>
                    <p:cNvSpPr/>
                    <p:nvPr/>
                  </p:nvSpPr>
                  <p:spPr>
                    <a:xfrm>
                      <a:off x="5300614" y="5399889"/>
                      <a:ext cx="5263" cy="5526"/>
                    </a:xfrm>
                    <a:custGeom>
                      <a:avLst/>
                      <a:gdLst>
                        <a:gd name="connsiteX0" fmla="*/ 4007 w 5263"/>
                        <a:gd name="connsiteY0" fmla="*/ 1221 h 5526"/>
                        <a:gd name="connsiteX1" fmla="*/ 4007 w 5263"/>
                        <a:gd name="connsiteY1" fmla="*/ 1221 h 5526"/>
                        <a:gd name="connsiteX2" fmla="*/ 4007 w 5263"/>
                        <a:gd name="connsiteY2" fmla="*/ 1221 h 5526"/>
                        <a:gd name="connsiteX3" fmla="*/ 4007 w 5263"/>
                        <a:gd name="connsiteY3" fmla="*/ 1221 h 5526"/>
                        <a:gd name="connsiteX4" fmla="*/ 4007 w 5263"/>
                        <a:gd name="connsiteY4" fmla="*/ 1221 h 5526"/>
                        <a:gd name="connsiteX5" fmla="*/ 4246 w 5263"/>
                        <a:gd name="connsiteY5" fmla="*/ 1460 h 5526"/>
                        <a:gd name="connsiteX6" fmla="*/ 4366 w 5263"/>
                        <a:gd name="connsiteY6" fmla="*/ 1700 h 5526"/>
                        <a:gd name="connsiteX7" fmla="*/ 4426 w 5263"/>
                        <a:gd name="connsiteY7" fmla="*/ 1999 h 5526"/>
                        <a:gd name="connsiteX8" fmla="*/ 4426 w 5263"/>
                        <a:gd name="connsiteY8" fmla="*/ 2357 h 5526"/>
                        <a:gd name="connsiteX9" fmla="*/ 4366 w 5263"/>
                        <a:gd name="connsiteY9" fmla="*/ 2716 h 5526"/>
                        <a:gd name="connsiteX10" fmla="*/ 4246 w 5263"/>
                        <a:gd name="connsiteY10" fmla="*/ 3075 h 5526"/>
                        <a:gd name="connsiteX11" fmla="*/ 4067 w 5263"/>
                        <a:gd name="connsiteY11" fmla="*/ 3434 h 5526"/>
                        <a:gd name="connsiteX12" fmla="*/ 3827 w 5263"/>
                        <a:gd name="connsiteY12" fmla="*/ 3733 h 5526"/>
                        <a:gd name="connsiteX13" fmla="*/ 3528 w 5263"/>
                        <a:gd name="connsiteY13" fmla="*/ 4032 h 5526"/>
                        <a:gd name="connsiteX14" fmla="*/ 3229 w 5263"/>
                        <a:gd name="connsiteY14" fmla="*/ 4271 h 5526"/>
                        <a:gd name="connsiteX15" fmla="*/ 2930 w 5263"/>
                        <a:gd name="connsiteY15" fmla="*/ 4450 h 5526"/>
                        <a:gd name="connsiteX16" fmla="*/ 2572 w 5263"/>
                        <a:gd name="connsiteY16" fmla="*/ 4570 h 5526"/>
                        <a:gd name="connsiteX17" fmla="*/ 2273 w 5263"/>
                        <a:gd name="connsiteY17" fmla="*/ 4630 h 5526"/>
                        <a:gd name="connsiteX18" fmla="*/ 1973 w 5263"/>
                        <a:gd name="connsiteY18" fmla="*/ 4630 h 5526"/>
                        <a:gd name="connsiteX19" fmla="*/ 1734 w 5263"/>
                        <a:gd name="connsiteY19" fmla="*/ 4570 h 5526"/>
                        <a:gd name="connsiteX20" fmla="*/ 1495 w 5263"/>
                        <a:gd name="connsiteY20" fmla="*/ 4450 h 5526"/>
                        <a:gd name="connsiteX21" fmla="*/ 1435 w 5263"/>
                        <a:gd name="connsiteY21" fmla="*/ 4391 h 5526"/>
                        <a:gd name="connsiteX22" fmla="*/ 1256 w 5263"/>
                        <a:gd name="connsiteY22" fmla="*/ 4152 h 5526"/>
                        <a:gd name="connsiteX23" fmla="*/ 1136 w 5263"/>
                        <a:gd name="connsiteY23" fmla="*/ 3853 h 5526"/>
                        <a:gd name="connsiteX24" fmla="*/ 1076 w 5263"/>
                        <a:gd name="connsiteY24" fmla="*/ 3554 h 5526"/>
                        <a:gd name="connsiteX25" fmla="*/ 1076 w 5263"/>
                        <a:gd name="connsiteY25" fmla="*/ 3195 h 5526"/>
                        <a:gd name="connsiteX26" fmla="*/ 1136 w 5263"/>
                        <a:gd name="connsiteY26" fmla="*/ 2836 h 5526"/>
                        <a:gd name="connsiteX27" fmla="*/ 1256 w 5263"/>
                        <a:gd name="connsiteY27" fmla="*/ 2477 h 5526"/>
                        <a:gd name="connsiteX28" fmla="*/ 1435 w 5263"/>
                        <a:gd name="connsiteY28" fmla="*/ 2118 h 5526"/>
                        <a:gd name="connsiteX29" fmla="*/ 1674 w 5263"/>
                        <a:gd name="connsiteY29" fmla="*/ 1819 h 5526"/>
                        <a:gd name="connsiteX30" fmla="*/ 2273 w 5263"/>
                        <a:gd name="connsiteY30" fmla="*/ 1281 h 5526"/>
                        <a:gd name="connsiteX31" fmla="*/ 2930 w 5263"/>
                        <a:gd name="connsiteY31" fmla="*/ 982 h 5526"/>
                        <a:gd name="connsiteX32" fmla="*/ 3588 w 5263"/>
                        <a:gd name="connsiteY32" fmla="*/ 922 h 5526"/>
                        <a:gd name="connsiteX33" fmla="*/ 4007 w 5263"/>
                        <a:gd name="connsiteY33" fmla="*/ 1221 h 5526"/>
                        <a:gd name="connsiteX34" fmla="*/ 778 w 5263"/>
                        <a:gd name="connsiteY34" fmla="*/ 5228 h 5526"/>
                        <a:gd name="connsiteX35" fmla="*/ 1136 w 5263"/>
                        <a:gd name="connsiteY35" fmla="*/ 5408 h 5526"/>
                        <a:gd name="connsiteX36" fmla="*/ 1555 w 5263"/>
                        <a:gd name="connsiteY36" fmla="*/ 5527 h 5526"/>
                        <a:gd name="connsiteX37" fmla="*/ 1973 w 5263"/>
                        <a:gd name="connsiteY37" fmla="*/ 5527 h 5526"/>
                        <a:gd name="connsiteX38" fmla="*/ 2452 w 5263"/>
                        <a:gd name="connsiteY38" fmla="*/ 5467 h 5526"/>
                        <a:gd name="connsiteX39" fmla="*/ 2990 w 5263"/>
                        <a:gd name="connsiteY39" fmla="*/ 5288 h 5526"/>
                        <a:gd name="connsiteX40" fmla="*/ 3469 w 5263"/>
                        <a:gd name="connsiteY40" fmla="*/ 5049 h 5526"/>
                        <a:gd name="connsiteX41" fmla="*/ 3947 w 5263"/>
                        <a:gd name="connsiteY41" fmla="*/ 4690 h 5526"/>
                        <a:gd name="connsiteX42" fmla="*/ 4366 w 5263"/>
                        <a:gd name="connsiteY42" fmla="*/ 4271 h 5526"/>
                        <a:gd name="connsiteX43" fmla="*/ 4725 w 5263"/>
                        <a:gd name="connsiteY43" fmla="*/ 3793 h 5526"/>
                        <a:gd name="connsiteX44" fmla="*/ 5024 w 5263"/>
                        <a:gd name="connsiteY44" fmla="*/ 3255 h 5526"/>
                        <a:gd name="connsiteX45" fmla="*/ 5203 w 5263"/>
                        <a:gd name="connsiteY45" fmla="*/ 2716 h 5526"/>
                        <a:gd name="connsiteX46" fmla="*/ 5263 w 5263"/>
                        <a:gd name="connsiteY46" fmla="*/ 2178 h 5526"/>
                        <a:gd name="connsiteX47" fmla="*/ 5263 w 5263"/>
                        <a:gd name="connsiteY47" fmla="*/ 1640 h 5526"/>
                        <a:gd name="connsiteX48" fmla="*/ 5143 w 5263"/>
                        <a:gd name="connsiteY48" fmla="*/ 1161 h 5526"/>
                        <a:gd name="connsiteX49" fmla="*/ 4964 w 5263"/>
                        <a:gd name="connsiteY49" fmla="*/ 742 h 5526"/>
                        <a:gd name="connsiteX50" fmla="*/ 4665 w 5263"/>
                        <a:gd name="connsiteY50" fmla="*/ 384 h 5526"/>
                        <a:gd name="connsiteX51" fmla="*/ 4545 w 5263"/>
                        <a:gd name="connsiteY51" fmla="*/ 324 h 5526"/>
                        <a:gd name="connsiteX52" fmla="*/ 3768 w 5263"/>
                        <a:gd name="connsiteY52" fmla="*/ 25 h 5526"/>
                        <a:gd name="connsiteX53" fmla="*/ 2811 w 5263"/>
                        <a:gd name="connsiteY53" fmla="*/ 85 h 5526"/>
                        <a:gd name="connsiteX54" fmla="*/ 1854 w 5263"/>
                        <a:gd name="connsiteY54" fmla="*/ 503 h 5526"/>
                        <a:gd name="connsiteX55" fmla="*/ 957 w 5263"/>
                        <a:gd name="connsiteY55" fmla="*/ 1281 h 5526"/>
                        <a:gd name="connsiteX56" fmla="*/ 598 w 5263"/>
                        <a:gd name="connsiteY56" fmla="*/ 1759 h 5526"/>
                        <a:gd name="connsiteX57" fmla="*/ 299 w 5263"/>
                        <a:gd name="connsiteY57" fmla="*/ 2298 h 5526"/>
                        <a:gd name="connsiteX58" fmla="*/ 119 w 5263"/>
                        <a:gd name="connsiteY58" fmla="*/ 2836 h 5526"/>
                        <a:gd name="connsiteX59" fmla="*/ 0 w 5263"/>
                        <a:gd name="connsiteY59" fmla="*/ 3374 h 5526"/>
                        <a:gd name="connsiteX60" fmla="*/ 0 w 5263"/>
                        <a:gd name="connsiteY60" fmla="*/ 3912 h 5526"/>
                        <a:gd name="connsiteX61" fmla="*/ 119 w 5263"/>
                        <a:gd name="connsiteY61" fmla="*/ 4391 h 5526"/>
                        <a:gd name="connsiteX62" fmla="*/ 299 w 5263"/>
                        <a:gd name="connsiteY62" fmla="*/ 4809 h 5526"/>
                        <a:gd name="connsiteX63" fmla="*/ 598 w 5263"/>
                        <a:gd name="connsiteY63" fmla="*/ 5168 h 5526"/>
                        <a:gd name="connsiteX64" fmla="*/ 598 w 5263"/>
                        <a:gd name="connsiteY64" fmla="*/ 5168 h 5526"/>
                        <a:gd name="connsiteX65" fmla="*/ 778 w 5263"/>
                        <a:gd name="connsiteY65" fmla="*/ 5228 h 5526"/>
                        <a:gd name="connsiteX66" fmla="*/ 778 w 5263"/>
                        <a:gd name="connsiteY66" fmla="*/ 5228 h 5526"/>
                        <a:gd name="connsiteX67" fmla="*/ 778 w 5263"/>
                        <a:gd name="connsiteY67" fmla="*/ 5228 h 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263" h="5526">
                          <a:moveTo>
                            <a:pt x="4007" y="1221"/>
                          </a:moveTo>
                          <a:cubicBezTo>
                            <a:pt x="4007" y="1221"/>
                            <a:pt x="4007" y="1221"/>
                            <a:pt x="4007" y="1221"/>
                          </a:cubicBezTo>
                          <a:cubicBezTo>
                            <a:pt x="4007" y="1281"/>
                            <a:pt x="4007" y="1281"/>
                            <a:pt x="4007" y="1221"/>
                          </a:cubicBezTo>
                          <a:cubicBezTo>
                            <a:pt x="4007" y="1281"/>
                            <a:pt x="4007" y="1281"/>
                            <a:pt x="4007" y="1221"/>
                          </a:cubicBezTo>
                          <a:cubicBezTo>
                            <a:pt x="4007" y="1281"/>
                            <a:pt x="4007" y="1281"/>
                            <a:pt x="4007" y="1221"/>
                          </a:cubicBezTo>
                          <a:cubicBezTo>
                            <a:pt x="4127" y="1341"/>
                            <a:pt x="4187" y="1400"/>
                            <a:pt x="4246" y="1460"/>
                          </a:cubicBezTo>
                          <a:cubicBezTo>
                            <a:pt x="4306" y="1520"/>
                            <a:pt x="4366" y="1640"/>
                            <a:pt x="4366" y="1700"/>
                          </a:cubicBezTo>
                          <a:cubicBezTo>
                            <a:pt x="4366" y="1759"/>
                            <a:pt x="4426" y="1879"/>
                            <a:pt x="4426" y="1999"/>
                          </a:cubicBezTo>
                          <a:cubicBezTo>
                            <a:pt x="4426" y="2118"/>
                            <a:pt x="4426" y="2238"/>
                            <a:pt x="4426" y="2357"/>
                          </a:cubicBezTo>
                          <a:cubicBezTo>
                            <a:pt x="4426" y="2477"/>
                            <a:pt x="4366" y="2596"/>
                            <a:pt x="4366" y="2716"/>
                          </a:cubicBezTo>
                          <a:cubicBezTo>
                            <a:pt x="4306" y="2836"/>
                            <a:pt x="4306" y="2955"/>
                            <a:pt x="4246" y="3075"/>
                          </a:cubicBezTo>
                          <a:cubicBezTo>
                            <a:pt x="4187" y="3195"/>
                            <a:pt x="4127" y="3314"/>
                            <a:pt x="4067" y="3434"/>
                          </a:cubicBezTo>
                          <a:cubicBezTo>
                            <a:pt x="4007" y="3554"/>
                            <a:pt x="3887" y="3673"/>
                            <a:pt x="3827" y="3733"/>
                          </a:cubicBezTo>
                          <a:cubicBezTo>
                            <a:pt x="3708" y="3853"/>
                            <a:pt x="3648" y="3912"/>
                            <a:pt x="3528" y="4032"/>
                          </a:cubicBezTo>
                          <a:cubicBezTo>
                            <a:pt x="3409" y="4092"/>
                            <a:pt x="3349" y="4211"/>
                            <a:pt x="3229" y="4271"/>
                          </a:cubicBezTo>
                          <a:cubicBezTo>
                            <a:pt x="3110" y="4331"/>
                            <a:pt x="2990" y="4391"/>
                            <a:pt x="2930" y="4450"/>
                          </a:cubicBezTo>
                          <a:cubicBezTo>
                            <a:pt x="2811" y="4510"/>
                            <a:pt x="2691" y="4570"/>
                            <a:pt x="2572" y="4570"/>
                          </a:cubicBezTo>
                          <a:cubicBezTo>
                            <a:pt x="2452" y="4570"/>
                            <a:pt x="2332" y="4630"/>
                            <a:pt x="2273" y="4630"/>
                          </a:cubicBezTo>
                          <a:cubicBezTo>
                            <a:pt x="2153" y="4630"/>
                            <a:pt x="2093" y="4630"/>
                            <a:pt x="1973" y="4630"/>
                          </a:cubicBezTo>
                          <a:cubicBezTo>
                            <a:pt x="1854" y="4630"/>
                            <a:pt x="1794" y="4570"/>
                            <a:pt x="1734" y="4570"/>
                          </a:cubicBezTo>
                          <a:cubicBezTo>
                            <a:pt x="1674" y="4510"/>
                            <a:pt x="1555" y="4510"/>
                            <a:pt x="1495" y="4450"/>
                          </a:cubicBezTo>
                          <a:lnTo>
                            <a:pt x="1435" y="4391"/>
                          </a:lnTo>
                          <a:cubicBezTo>
                            <a:pt x="1375" y="4331"/>
                            <a:pt x="1316" y="4271"/>
                            <a:pt x="1256" y="4152"/>
                          </a:cubicBezTo>
                          <a:cubicBezTo>
                            <a:pt x="1196" y="4092"/>
                            <a:pt x="1136" y="3972"/>
                            <a:pt x="1136" y="3853"/>
                          </a:cubicBezTo>
                          <a:cubicBezTo>
                            <a:pt x="1076" y="3733"/>
                            <a:pt x="1076" y="3673"/>
                            <a:pt x="1076" y="3554"/>
                          </a:cubicBezTo>
                          <a:cubicBezTo>
                            <a:pt x="1076" y="3434"/>
                            <a:pt x="1076" y="3314"/>
                            <a:pt x="1076" y="3195"/>
                          </a:cubicBezTo>
                          <a:cubicBezTo>
                            <a:pt x="1076" y="3075"/>
                            <a:pt x="1136" y="2955"/>
                            <a:pt x="1136" y="2836"/>
                          </a:cubicBezTo>
                          <a:cubicBezTo>
                            <a:pt x="1196" y="2716"/>
                            <a:pt x="1196" y="2596"/>
                            <a:pt x="1256" y="2477"/>
                          </a:cubicBezTo>
                          <a:cubicBezTo>
                            <a:pt x="1316" y="2357"/>
                            <a:pt x="1375" y="2238"/>
                            <a:pt x="1435" y="2118"/>
                          </a:cubicBezTo>
                          <a:cubicBezTo>
                            <a:pt x="1495" y="1999"/>
                            <a:pt x="1615" y="1879"/>
                            <a:pt x="1674" y="1819"/>
                          </a:cubicBezTo>
                          <a:cubicBezTo>
                            <a:pt x="1854" y="1640"/>
                            <a:pt x="2033" y="1460"/>
                            <a:pt x="2273" y="1281"/>
                          </a:cubicBezTo>
                          <a:cubicBezTo>
                            <a:pt x="2512" y="1101"/>
                            <a:pt x="2691" y="1041"/>
                            <a:pt x="2930" y="982"/>
                          </a:cubicBezTo>
                          <a:cubicBezTo>
                            <a:pt x="3170" y="922"/>
                            <a:pt x="3349" y="922"/>
                            <a:pt x="3588" y="922"/>
                          </a:cubicBezTo>
                          <a:cubicBezTo>
                            <a:pt x="3648" y="1041"/>
                            <a:pt x="3827" y="1101"/>
                            <a:pt x="4007" y="1221"/>
                          </a:cubicBezTo>
                          <a:moveTo>
                            <a:pt x="778" y="5228"/>
                          </a:moveTo>
                          <a:cubicBezTo>
                            <a:pt x="897" y="5288"/>
                            <a:pt x="1017" y="5348"/>
                            <a:pt x="1136" y="5408"/>
                          </a:cubicBezTo>
                          <a:cubicBezTo>
                            <a:pt x="1256" y="5467"/>
                            <a:pt x="1375" y="5467"/>
                            <a:pt x="1555" y="5527"/>
                          </a:cubicBezTo>
                          <a:cubicBezTo>
                            <a:pt x="1674" y="5527"/>
                            <a:pt x="1854" y="5527"/>
                            <a:pt x="1973" y="5527"/>
                          </a:cubicBezTo>
                          <a:cubicBezTo>
                            <a:pt x="2093" y="5527"/>
                            <a:pt x="2273" y="5467"/>
                            <a:pt x="2452" y="5467"/>
                          </a:cubicBezTo>
                          <a:cubicBezTo>
                            <a:pt x="2632" y="5408"/>
                            <a:pt x="2811" y="5348"/>
                            <a:pt x="2990" y="5288"/>
                          </a:cubicBezTo>
                          <a:cubicBezTo>
                            <a:pt x="3170" y="5228"/>
                            <a:pt x="3349" y="5109"/>
                            <a:pt x="3469" y="5049"/>
                          </a:cubicBezTo>
                          <a:cubicBezTo>
                            <a:pt x="3648" y="4929"/>
                            <a:pt x="3768" y="4809"/>
                            <a:pt x="3947" y="4690"/>
                          </a:cubicBezTo>
                          <a:cubicBezTo>
                            <a:pt x="4067" y="4570"/>
                            <a:pt x="4246" y="4391"/>
                            <a:pt x="4366" y="4271"/>
                          </a:cubicBezTo>
                          <a:cubicBezTo>
                            <a:pt x="4486" y="4092"/>
                            <a:pt x="4605" y="3972"/>
                            <a:pt x="4725" y="3793"/>
                          </a:cubicBezTo>
                          <a:cubicBezTo>
                            <a:pt x="4844" y="3613"/>
                            <a:pt x="4904" y="3434"/>
                            <a:pt x="5024" y="3255"/>
                          </a:cubicBezTo>
                          <a:cubicBezTo>
                            <a:pt x="5083" y="3075"/>
                            <a:pt x="5143" y="2895"/>
                            <a:pt x="5203" y="2716"/>
                          </a:cubicBezTo>
                          <a:cubicBezTo>
                            <a:pt x="5263" y="2537"/>
                            <a:pt x="5263" y="2357"/>
                            <a:pt x="5263" y="2178"/>
                          </a:cubicBezTo>
                          <a:cubicBezTo>
                            <a:pt x="5263" y="1999"/>
                            <a:pt x="5263" y="1819"/>
                            <a:pt x="5263" y="1640"/>
                          </a:cubicBezTo>
                          <a:cubicBezTo>
                            <a:pt x="5263" y="1460"/>
                            <a:pt x="5203" y="1341"/>
                            <a:pt x="5143" y="1161"/>
                          </a:cubicBezTo>
                          <a:cubicBezTo>
                            <a:pt x="5083" y="1041"/>
                            <a:pt x="5024" y="862"/>
                            <a:pt x="4964" y="742"/>
                          </a:cubicBezTo>
                          <a:cubicBezTo>
                            <a:pt x="4904" y="623"/>
                            <a:pt x="4785" y="503"/>
                            <a:pt x="4665" y="384"/>
                          </a:cubicBezTo>
                          <a:lnTo>
                            <a:pt x="4545" y="324"/>
                          </a:lnTo>
                          <a:cubicBezTo>
                            <a:pt x="4306" y="145"/>
                            <a:pt x="4067" y="85"/>
                            <a:pt x="3768" y="25"/>
                          </a:cubicBezTo>
                          <a:cubicBezTo>
                            <a:pt x="3469" y="-35"/>
                            <a:pt x="3170" y="25"/>
                            <a:pt x="2811" y="85"/>
                          </a:cubicBezTo>
                          <a:cubicBezTo>
                            <a:pt x="2512" y="145"/>
                            <a:pt x="2153" y="324"/>
                            <a:pt x="1854" y="503"/>
                          </a:cubicBezTo>
                          <a:cubicBezTo>
                            <a:pt x="1555" y="683"/>
                            <a:pt x="1256" y="982"/>
                            <a:pt x="957" y="1281"/>
                          </a:cubicBezTo>
                          <a:cubicBezTo>
                            <a:pt x="837" y="1460"/>
                            <a:pt x="718" y="1580"/>
                            <a:pt x="598" y="1759"/>
                          </a:cubicBezTo>
                          <a:cubicBezTo>
                            <a:pt x="478" y="1939"/>
                            <a:pt x="419" y="2118"/>
                            <a:pt x="299" y="2298"/>
                          </a:cubicBezTo>
                          <a:cubicBezTo>
                            <a:pt x="239" y="2477"/>
                            <a:pt x="179" y="2656"/>
                            <a:pt x="119" y="2836"/>
                          </a:cubicBezTo>
                          <a:cubicBezTo>
                            <a:pt x="60" y="3015"/>
                            <a:pt x="60" y="3195"/>
                            <a:pt x="0" y="3374"/>
                          </a:cubicBezTo>
                          <a:cubicBezTo>
                            <a:pt x="0" y="3554"/>
                            <a:pt x="0" y="3733"/>
                            <a:pt x="0" y="3912"/>
                          </a:cubicBezTo>
                          <a:cubicBezTo>
                            <a:pt x="0" y="4092"/>
                            <a:pt x="60" y="4211"/>
                            <a:pt x="119" y="4391"/>
                          </a:cubicBezTo>
                          <a:cubicBezTo>
                            <a:pt x="179" y="4570"/>
                            <a:pt x="239" y="4690"/>
                            <a:pt x="299" y="4809"/>
                          </a:cubicBezTo>
                          <a:cubicBezTo>
                            <a:pt x="359" y="4929"/>
                            <a:pt x="478" y="5049"/>
                            <a:pt x="598" y="5168"/>
                          </a:cubicBezTo>
                          <a:cubicBezTo>
                            <a:pt x="598" y="5168"/>
                            <a:pt x="598" y="5168"/>
                            <a:pt x="598" y="5168"/>
                          </a:cubicBezTo>
                          <a:cubicBezTo>
                            <a:pt x="718" y="5228"/>
                            <a:pt x="718" y="5228"/>
                            <a:pt x="778" y="5228"/>
                          </a:cubicBezTo>
                          <a:cubicBezTo>
                            <a:pt x="718" y="5228"/>
                            <a:pt x="718" y="5228"/>
                            <a:pt x="778" y="5228"/>
                          </a:cubicBezTo>
                          <a:cubicBezTo>
                            <a:pt x="778" y="5228"/>
                            <a:pt x="778" y="5228"/>
                            <a:pt x="778" y="5228"/>
                          </a:cubicBezTo>
                        </a:path>
                      </a:pathLst>
                    </a:custGeom>
                    <a:noFill/>
                    <a:ln w="6350" cap="flat">
                      <a:solidFill>
                        <a:schemeClr val="bg1">
                          <a:alpha val="80000"/>
                        </a:schemeClr>
                      </a:solidFill>
                      <a:prstDash val="solid"/>
                      <a:miter/>
                    </a:ln>
                  </p:spPr>
                  <p:txBody>
                    <a:bodyPr rtlCol="0" anchor="ctr"/>
                    <a:lstStyle/>
                    <a:p>
                      <a:endParaRPr lang="en-GB"/>
                    </a:p>
                  </p:txBody>
                </p:sp>
                <p:sp>
                  <p:nvSpPr>
                    <p:cNvPr id="7426" name="Vrije vorm: vorm 7425">
                      <a:extLst>
                        <a:ext uri="{FF2B5EF4-FFF2-40B4-BE49-F238E27FC236}">
                          <a16:creationId xmlns:a16="http://schemas.microsoft.com/office/drawing/2014/main" id="{BCE121B7-1FB5-4AA9-8BD9-A916671032E5}"/>
                        </a:ext>
                      </a:extLst>
                    </p:cNvPr>
                    <p:cNvSpPr/>
                    <p:nvPr/>
                  </p:nvSpPr>
                  <p:spPr>
                    <a:xfrm>
                      <a:off x="5296846" y="5408526"/>
                      <a:ext cx="5203" cy="5502"/>
                    </a:xfrm>
                    <a:custGeom>
                      <a:avLst/>
                      <a:gdLst>
                        <a:gd name="connsiteX0" fmla="*/ 3947 w 5203"/>
                        <a:gd name="connsiteY0" fmla="*/ 1196 h 5502"/>
                        <a:gd name="connsiteX1" fmla="*/ 4127 w 5203"/>
                        <a:gd name="connsiteY1" fmla="*/ 1435 h 5502"/>
                        <a:gd name="connsiteX2" fmla="*/ 4246 w 5203"/>
                        <a:gd name="connsiteY2" fmla="*/ 1675 h 5502"/>
                        <a:gd name="connsiteX3" fmla="*/ 4306 w 5203"/>
                        <a:gd name="connsiteY3" fmla="*/ 1974 h 5502"/>
                        <a:gd name="connsiteX4" fmla="*/ 4306 w 5203"/>
                        <a:gd name="connsiteY4" fmla="*/ 2333 h 5502"/>
                        <a:gd name="connsiteX5" fmla="*/ 4127 w 5203"/>
                        <a:gd name="connsiteY5" fmla="*/ 3050 h 5502"/>
                        <a:gd name="connsiteX6" fmla="*/ 3708 w 5203"/>
                        <a:gd name="connsiteY6" fmla="*/ 3708 h 5502"/>
                        <a:gd name="connsiteX7" fmla="*/ 3110 w 5203"/>
                        <a:gd name="connsiteY7" fmla="*/ 4246 h 5502"/>
                        <a:gd name="connsiteX8" fmla="*/ 2452 w 5203"/>
                        <a:gd name="connsiteY8" fmla="*/ 4545 h 5502"/>
                        <a:gd name="connsiteX9" fmla="*/ 2153 w 5203"/>
                        <a:gd name="connsiteY9" fmla="*/ 4605 h 5502"/>
                        <a:gd name="connsiteX10" fmla="*/ 1854 w 5203"/>
                        <a:gd name="connsiteY10" fmla="*/ 4605 h 5502"/>
                        <a:gd name="connsiteX11" fmla="*/ 1555 w 5203"/>
                        <a:gd name="connsiteY11" fmla="*/ 4545 h 5502"/>
                        <a:gd name="connsiteX12" fmla="*/ 1316 w 5203"/>
                        <a:gd name="connsiteY12" fmla="*/ 4426 h 5502"/>
                        <a:gd name="connsiteX13" fmla="*/ 1076 w 5203"/>
                        <a:gd name="connsiteY13" fmla="*/ 4246 h 5502"/>
                        <a:gd name="connsiteX14" fmla="*/ 897 w 5203"/>
                        <a:gd name="connsiteY14" fmla="*/ 4007 h 5502"/>
                        <a:gd name="connsiteX15" fmla="*/ 837 w 5203"/>
                        <a:gd name="connsiteY15" fmla="*/ 3708 h 5502"/>
                        <a:gd name="connsiteX16" fmla="*/ 837 w 5203"/>
                        <a:gd name="connsiteY16" fmla="*/ 3349 h 5502"/>
                        <a:gd name="connsiteX17" fmla="*/ 897 w 5203"/>
                        <a:gd name="connsiteY17" fmla="*/ 2990 h 5502"/>
                        <a:gd name="connsiteX18" fmla="*/ 1017 w 5203"/>
                        <a:gd name="connsiteY18" fmla="*/ 2632 h 5502"/>
                        <a:gd name="connsiteX19" fmla="*/ 1196 w 5203"/>
                        <a:gd name="connsiteY19" fmla="*/ 2273 h 5502"/>
                        <a:gd name="connsiteX20" fmla="*/ 1435 w 5203"/>
                        <a:gd name="connsiteY20" fmla="*/ 1974 h 5502"/>
                        <a:gd name="connsiteX21" fmla="*/ 1734 w 5203"/>
                        <a:gd name="connsiteY21" fmla="*/ 1675 h 5502"/>
                        <a:gd name="connsiteX22" fmla="*/ 2033 w 5203"/>
                        <a:gd name="connsiteY22" fmla="*/ 1435 h 5502"/>
                        <a:gd name="connsiteX23" fmla="*/ 2333 w 5203"/>
                        <a:gd name="connsiteY23" fmla="*/ 1256 h 5502"/>
                        <a:gd name="connsiteX24" fmla="*/ 2691 w 5203"/>
                        <a:gd name="connsiteY24" fmla="*/ 1136 h 5502"/>
                        <a:gd name="connsiteX25" fmla="*/ 3050 w 5203"/>
                        <a:gd name="connsiteY25" fmla="*/ 1076 h 5502"/>
                        <a:gd name="connsiteX26" fmla="*/ 3349 w 5203"/>
                        <a:gd name="connsiteY26" fmla="*/ 1076 h 5502"/>
                        <a:gd name="connsiteX27" fmla="*/ 3648 w 5203"/>
                        <a:gd name="connsiteY27" fmla="*/ 1196 h 5502"/>
                        <a:gd name="connsiteX28" fmla="*/ 3947 w 5203"/>
                        <a:gd name="connsiteY28" fmla="*/ 1196 h 5502"/>
                        <a:gd name="connsiteX29" fmla="*/ 658 w 5203"/>
                        <a:gd name="connsiteY29" fmla="*/ 5203 h 5502"/>
                        <a:gd name="connsiteX30" fmla="*/ 1017 w 5203"/>
                        <a:gd name="connsiteY30" fmla="*/ 5383 h 5502"/>
                        <a:gd name="connsiteX31" fmla="*/ 1435 w 5203"/>
                        <a:gd name="connsiteY31" fmla="*/ 5502 h 5502"/>
                        <a:gd name="connsiteX32" fmla="*/ 1854 w 5203"/>
                        <a:gd name="connsiteY32" fmla="*/ 5502 h 5502"/>
                        <a:gd name="connsiteX33" fmla="*/ 2333 w 5203"/>
                        <a:gd name="connsiteY33" fmla="*/ 5443 h 5502"/>
                        <a:gd name="connsiteX34" fmla="*/ 3349 w 5203"/>
                        <a:gd name="connsiteY34" fmla="*/ 4964 h 5502"/>
                        <a:gd name="connsiteX35" fmla="*/ 4246 w 5203"/>
                        <a:gd name="connsiteY35" fmla="*/ 4187 h 5502"/>
                        <a:gd name="connsiteX36" fmla="*/ 4904 w 5203"/>
                        <a:gd name="connsiteY36" fmla="*/ 3229 h 5502"/>
                        <a:gd name="connsiteX37" fmla="*/ 5203 w 5203"/>
                        <a:gd name="connsiteY37" fmla="*/ 2153 h 5502"/>
                        <a:gd name="connsiteX38" fmla="*/ 5203 w 5203"/>
                        <a:gd name="connsiteY38" fmla="*/ 1615 h 5502"/>
                        <a:gd name="connsiteX39" fmla="*/ 5083 w 5203"/>
                        <a:gd name="connsiteY39" fmla="*/ 1136 h 5502"/>
                        <a:gd name="connsiteX40" fmla="*/ 4904 w 5203"/>
                        <a:gd name="connsiteY40" fmla="*/ 718 h 5502"/>
                        <a:gd name="connsiteX41" fmla="*/ 4605 w 5203"/>
                        <a:gd name="connsiteY41" fmla="*/ 359 h 5502"/>
                        <a:gd name="connsiteX42" fmla="*/ 4486 w 5203"/>
                        <a:gd name="connsiteY42" fmla="*/ 299 h 5502"/>
                        <a:gd name="connsiteX43" fmla="*/ 4127 w 5203"/>
                        <a:gd name="connsiteY43" fmla="*/ 120 h 5502"/>
                        <a:gd name="connsiteX44" fmla="*/ 3708 w 5203"/>
                        <a:gd name="connsiteY44" fmla="*/ 0 h 5502"/>
                        <a:gd name="connsiteX45" fmla="*/ 3289 w 5203"/>
                        <a:gd name="connsiteY45" fmla="*/ 0 h 5502"/>
                        <a:gd name="connsiteX46" fmla="*/ 2811 w 5203"/>
                        <a:gd name="connsiteY46" fmla="*/ 60 h 5502"/>
                        <a:gd name="connsiteX47" fmla="*/ 2273 w 5203"/>
                        <a:gd name="connsiteY47" fmla="*/ 239 h 5502"/>
                        <a:gd name="connsiteX48" fmla="*/ 1794 w 5203"/>
                        <a:gd name="connsiteY48" fmla="*/ 479 h 5502"/>
                        <a:gd name="connsiteX49" fmla="*/ 1316 w 5203"/>
                        <a:gd name="connsiteY49" fmla="*/ 837 h 5502"/>
                        <a:gd name="connsiteX50" fmla="*/ 897 w 5203"/>
                        <a:gd name="connsiteY50" fmla="*/ 1256 h 5502"/>
                        <a:gd name="connsiteX51" fmla="*/ 538 w 5203"/>
                        <a:gd name="connsiteY51" fmla="*/ 1734 h 5502"/>
                        <a:gd name="connsiteX52" fmla="*/ 239 w 5203"/>
                        <a:gd name="connsiteY52" fmla="*/ 2273 h 5502"/>
                        <a:gd name="connsiteX53" fmla="*/ 60 w 5203"/>
                        <a:gd name="connsiteY53" fmla="*/ 2811 h 5502"/>
                        <a:gd name="connsiteX54" fmla="*/ 0 w 5203"/>
                        <a:gd name="connsiteY54" fmla="*/ 3349 h 5502"/>
                        <a:gd name="connsiteX55" fmla="*/ 0 w 5203"/>
                        <a:gd name="connsiteY55" fmla="*/ 3888 h 5502"/>
                        <a:gd name="connsiteX56" fmla="*/ 119 w 5203"/>
                        <a:gd name="connsiteY56" fmla="*/ 4366 h 5502"/>
                        <a:gd name="connsiteX57" fmla="*/ 359 w 5203"/>
                        <a:gd name="connsiteY57" fmla="*/ 4785 h 5502"/>
                        <a:gd name="connsiteX58" fmla="*/ 658 w 5203"/>
                        <a:gd name="connsiteY58" fmla="*/ 5203 h 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203" h="5502">
                          <a:moveTo>
                            <a:pt x="3947" y="1196"/>
                          </a:moveTo>
                          <a:cubicBezTo>
                            <a:pt x="4007" y="1256"/>
                            <a:pt x="4067" y="1316"/>
                            <a:pt x="4127" y="1435"/>
                          </a:cubicBezTo>
                          <a:cubicBezTo>
                            <a:pt x="4187" y="1495"/>
                            <a:pt x="4246" y="1615"/>
                            <a:pt x="4246" y="1675"/>
                          </a:cubicBezTo>
                          <a:cubicBezTo>
                            <a:pt x="4246" y="1734"/>
                            <a:pt x="4306" y="1854"/>
                            <a:pt x="4306" y="1974"/>
                          </a:cubicBezTo>
                          <a:cubicBezTo>
                            <a:pt x="4306" y="2093"/>
                            <a:pt x="4306" y="2213"/>
                            <a:pt x="4306" y="2333"/>
                          </a:cubicBezTo>
                          <a:cubicBezTo>
                            <a:pt x="4306" y="2572"/>
                            <a:pt x="4187" y="2811"/>
                            <a:pt x="4127" y="3050"/>
                          </a:cubicBezTo>
                          <a:cubicBezTo>
                            <a:pt x="4067" y="3289"/>
                            <a:pt x="3887" y="3529"/>
                            <a:pt x="3708" y="3708"/>
                          </a:cubicBezTo>
                          <a:cubicBezTo>
                            <a:pt x="3528" y="3888"/>
                            <a:pt x="3349" y="4067"/>
                            <a:pt x="3110" y="4246"/>
                          </a:cubicBezTo>
                          <a:cubicBezTo>
                            <a:pt x="2871" y="4366"/>
                            <a:pt x="2691" y="4486"/>
                            <a:pt x="2452" y="4545"/>
                          </a:cubicBezTo>
                          <a:cubicBezTo>
                            <a:pt x="2333" y="4545"/>
                            <a:pt x="2213" y="4605"/>
                            <a:pt x="2153" y="4605"/>
                          </a:cubicBezTo>
                          <a:cubicBezTo>
                            <a:pt x="2093" y="4605"/>
                            <a:pt x="1974" y="4605"/>
                            <a:pt x="1854" y="4605"/>
                          </a:cubicBezTo>
                          <a:cubicBezTo>
                            <a:pt x="1734" y="4605"/>
                            <a:pt x="1674" y="4545"/>
                            <a:pt x="1555" y="4545"/>
                          </a:cubicBezTo>
                          <a:cubicBezTo>
                            <a:pt x="1495" y="4486"/>
                            <a:pt x="1375" y="4486"/>
                            <a:pt x="1316" y="4426"/>
                          </a:cubicBezTo>
                          <a:cubicBezTo>
                            <a:pt x="1256" y="4366"/>
                            <a:pt x="1136" y="4306"/>
                            <a:pt x="1076" y="4246"/>
                          </a:cubicBezTo>
                          <a:cubicBezTo>
                            <a:pt x="1017" y="4187"/>
                            <a:pt x="957" y="4067"/>
                            <a:pt x="897" y="4007"/>
                          </a:cubicBezTo>
                          <a:cubicBezTo>
                            <a:pt x="837" y="3888"/>
                            <a:pt x="837" y="3828"/>
                            <a:pt x="837" y="3708"/>
                          </a:cubicBezTo>
                          <a:cubicBezTo>
                            <a:pt x="837" y="3589"/>
                            <a:pt x="837" y="3469"/>
                            <a:pt x="837" y="3349"/>
                          </a:cubicBezTo>
                          <a:cubicBezTo>
                            <a:pt x="837" y="3229"/>
                            <a:pt x="897" y="3110"/>
                            <a:pt x="897" y="2990"/>
                          </a:cubicBezTo>
                          <a:cubicBezTo>
                            <a:pt x="897" y="2871"/>
                            <a:pt x="957" y="2751"/>
                            <a:pt x="1017" y="2632"/>
                          </a:cubicBezTo>
                          <a:cubicBezTo>
                            <a:pt x="1076" y="2512"/>
                            <a:pt x="1136" y="2392"/>
                            <a:pt x="1196" y="2273"/>
                          </a:cubicBezTo>
                          <a:cubicBezTo>
                            <a:pt x="1256" y="2153"/>
                            <a:pt x="1375" y="2034"/>
                            <a:pt x="1435" y="1974"/>
                          </a:cubicBezTo>
                          <a:cubicBezTo>
                            <a:pt x="1555" y="1854"/>
                            <a:pt x="1615" y="1794"/>
                            <a:pt x="1734" y="1675"/>
                          </a:cubicBezTo>
                          <a:cubicBezTo>
                            <a:pt x="1854" y="1555"/>
                            <a:pt x="1914" y="1495"/>
                            <a:pt x="2033" y="1435"/>
                          </a:cubicBezTo>
                          <a:cubicBezTo>
                            <a:pt x="2153" y="1375"/>
                            <a:pt x="2273" y="1316"/>
                            <a:pt x="2333" y="1256"/>
                          </a:cubicBezTo>
                          <a:cubicBezTo>
                            <a:pt x="2452" y="1196"/>
                            <a:pt x="2572" y="1136"/>
                            <a:pt x="2691" y="1136"/>
                          </a:cubicBezTo>
                          <a:cubicBezTo>
                            <a:pt x="2811" y="1136"/>
                            <a:pt x="2930" y="1076"/>
                            <a:pt x="3050" y="1076"/>
                          </a:cubicBezTo>
                          <a:cubicBezTo>
                            <a:pt x="3170" y="1076"/>
                            <a:pt x="3289" y="1076"/>
                            <a:pt x="3349" y="1076"/>
                          </a:cubicBezTo>
                          <a:cubicBezTo>
                            <a:pt x="3409" y="1076"/>
                            <a:pt x="3528" y="1136"/>
                            <a:pt x="3648" y="1196"/>
                          </a:cubicBezTo>
                          <a:cubicBezTo>
                            <a:pt x="3768" y="1136"/>
                            <a:pt x="3828" y="1136"/>
                            <a:pt x="3947" y="1196"/>
                          </a:cubicBezTo>
                          <a:moveTo>
                            <a:pt x="658" y="5203"/>
                          </a:moveTo>
                          <a:cubicBezTo>
                            <a:pt x="778" y="5263"/>
                            <a:pt x="897" y="5323"/>
                            <a:pt x="1017" y="5383"/>
                          </a:cubicBezTo>
                          <a:cubicBezTo>
                            <a:pt x="1136" y="5443"/>
                            <a:pt x="1256" y="5443"/>
                            <a:pt x="1435" y="5502"/>
                          </a:cubicBezTo>
                          <a:cubicBezTo>
                            <a:pt x="1555" y="5502"/>
                            <a:pt x="1734" y="5502"/>
                            <a:pt x="1854" y="5502"/>
                          </a:cubicBezTo>
                          <a:cubicBezTo>
                            <a:pt x="2033" y="5502"/>
                            <a:pt x="2153" y="5443"/>
                            <a:pt x="2333" y="5443"/>
                          </a:cubicBezTo>
                          <a:cubicBezTo>
                            <a:pt x="2691" y="5383"/>
                            <a:pt x="3050" y="5203"/>
                            <a:pt x="3349" y="4964"/>
                          </a:cubicBezTo>
                          <a:cubicBezTo>
                            <a:pt x="3648" y="4725"/>
                            <a:pt x="3947" y="4486"/>
                            <a:pt x="4246" y="4187"/>
                          </a:cubicBezTo>
                          <a:cubicBezTo>
                            <a:pt x="4545" y="3888"/>
                            <a:pt x="4725" y="3589"/>
                            <a:pt x="4904" y="3229"/>
                          </a:cubicBezTo>
                          <a:cubicBezTo>
                            <a:pt x="5083" y="2871"/>
                            <a:pt x="5143" y="2512"/>
                            <a:pt x="5203" y="2153"/>
                          </a:cubicBezTo>
                          <a:cubicBezTo>
                            <a:pt x="5203" y="1974"/>
                            <a:pt x="5203" y="1794"/>
                            <a:pt x="5203" y="1615"/>
                          </a:cubicBezTo>
                          <a:cubicBezTo>
                            <a:pt x="5203" y="1435"/>
                            <a:pt x="5143" y="1316"/>
                            <a:pt x="5083" y="1136"/>
                          </a:cubicBezTo>
                          <a:cubicBezTo>
                            <a:pt x="5024" y="957"/>
                            <a:pt x="4964" y="837"/>
                            <a:pt x="4904" y="718"/>
                          </a:cubicBezTo>
                          <a:cubicBezTo>
                            <a:pt x="4844" y="598"/>
                            <a:pt x="4725" y="479"/>
                            <a:pt x="4605" y="359"/>
                          </a:cubicBezTo>
                          <a:lnTo>
                            <a:pt x="4486" y="299"/>
                          </a:lnTo>
                          <a:cubicBezTo>
                            <a:pt x="4366" y="239"/>
                            <a:pt x="4246" y="180"/>
                            <a:pt x="4127" y="120"/>
                          </a:cubicBezTo>
                          <a:cubicBezTo>
                            <a:pt x="4007" y="60"/>
                            <a:pt x="3887" y="60"/>
                            <a:pt x="3708" y="0"/>
                          </a:cubicBezTo>
                          <a:cubicBezTo>
                            <a:pt x="3588" y="0"/>
                            <a:pt x="3409" y="0"/>
                            <a:pt x="3289" y="0"/>
                          </a:cubicBezTo>
                          <a:cubicBezTo>
                            <a:pt x="3110" y="0"/>
                            <a:pt x="2990" y="60"/>
                            <a:pt x="2811" y="60"/>
                          </a:cubicBezTo>
                          <a:cubicBezTo>
                            <a:pt x="2632" y="120"/>
                            <a:pt x="2452" y="180"/>
                            <a:pt x="2273" y="239"/>
                          </a:cubicBezTo>
                          <a:cubicBezTo>
                            <a:pt x="2093" y="299"/>
                            <a:pt x="1914" y="419"/>
                            <a:pt x="1794" y="479"/>
                          </a:cubicBezTo>
                          <a:cubicBezTo>
                            <a:pt x="1674" y="538"/>
                            <a:pt x="1495" y="718"/>
                            <a:pt x="1316" y="837"/>
                          </a:cubicBezTo>
                          <a:cubicBezTo>
                            <a:pt x="1136" y="957"/>
                            <a:pt x="1017" y="1136"/>
                            <a:pt x="897" y="1256"/>
                          </a:cubicBezTo>
                          <a:cubicBezTo>
                            <a:pt x="778" y="1435"/>
                            <a:pt x="658" y="1555"/>
                            <a:pt x="538" y="1734"/>
                          </a:cubicBezTo>
                          <a:cubicBezTo>
                            <a:pt x="419" y="1914"/>
                            <a:pt x="359" y="2093"/>
                            <a:pt x="239" y="2273"/>
                          </a:cubicBezTo>
                          <a:cubicBezTo>
                            <a:pt x="179" y="2452"/>
                            <a:pt x="119" y="2632"/>
                            <a:pt x="60" y="2811"/>
                          </a:cubicBezTo>
                          <a:cubicBezTo>
                            <a:pt x="0" y="2990"/>
                            <a:pt x="0" y="3170"/>
                            <a:pt x="0" y="3349"/>
                          </a:cubicBezTo>
                          <a:cubicBezTo>
                            <a:pt x="0" y="3529"/>
                            <a:pt x="0" y="3708"/>
                            <a:pt x="0" y="3888"/>
                          </a:cubicBezTo>
                          <a:cubicBezTo>
                            <a:pt x="0" y="4067"/>
                            <a:pt x="60" y="4246"/>
                            <a:pt x="119" y="4366"/>
                          </a:cubicBezTo>
                          <a:cubicBezTo>
                            <a:pt x="179" y="4486"/>
                            <a:pt x="239" y="4665"/>
                            <a:pt x="359" y="4785"/>
                          </a:cubicBezTo>
                          <a:cubicBezTo>
                            <a:pt x="479" y="4904"/>
                            <a:pt x="538" y="5084"/>
                            <a:pt x="658" y="5203"/>
                          </a:cubicBezTo>
                        </a:path>
                      </a:pathLst>
                    </a:custGeom>
                    <a:noFill/>
                    <a:ln w="6350" cap="flat">
                      <a:solidFill>
                        <a:schemeClr val="bg1">
                          <a:alpha val="80000"/>
                        </a:schemeClr>
                      </a:solidFill>
                      <a:prstDash val="solid"/>
                      <a:miter/>
                    </a:ln>
                  </p:spPr>
                  <p:txBody>
                    <a:bodyPr rtlCol="0" anchor="ctr"/>
                    <a:lstStyle/>
                    <a:p>
                      <a:endParaRPr lang="en-GB"/>
                    </a:p>
                  </p:txBody>
                </p:sp>
                <p:sp>
                  <p:nvSpPr>
                    <p:cNvPr id="7427" name="Vrije vorm: vorm 7426">
                      <a:extLst>
                        <a:ext uri="{FF2B5EF4-FFF2-40B4-BE49-F238E27FC236}">
                          <a16:creationId xmlns:a16="http://schemas.microsoft.com/office/drawing/2014/main" id="{6389F5F7-7FF9-4129-9E56-C0B63D4FA26F}"/>
                        </a:ext>
                      </a:extLst>
                    </p:cNvPr>
                    <p:cNvSpPr/>
                    <p:nvPr/>
                  </p:nvSpPr>
                  <p:spPr>
                    <a:xfrm>
                      <a:off x="5299298" y="5415643"/>
                      <a:ext cx="5226" cy="5382"/>
                    </a:xfrm>
                    <a:custGeom>
                      <a:avLst/>
                      <a:gdLst>
                        <a:gd name="connsiteX0" fmla="*/ 3888 w 5226"/>
                        <a:gd name="connsiteY0" fmla="*/ 1076 h 5382"/>
                        <a:gd name="connsiteX1" fmla="*/ 4067 w 5226"/>
                        <a:gd name="connsiteY1" fmla="*/ 1316 h 5382"/>
                        <a:gd name="connsiteX2" fmla="*/ 4187 w 5226"/>
                        <a:gd name="connsiteY2" fmla="*/ 1555 h 5382"/>
                        <a:gd name="connsiteX3" fmla="*/ 4246 w 5226"/>
                        <a:gd name="connsiteY3" fmla="*/ 1854 h 5382"/>
                        <a:gd name="connsiteX4" fmla="*/ 4246 w 5226"/>
                        <a:gd name="connsiteY4" fmla="*/ 2213 h 5382"/>
                        <a:gd name="connsiteX5" fmla="*/ 4187 w 5226"/>
                        <a:gd name="connsiteY5" fmla="*/ 2572 h 5382"/>
                        <a:gd name="connsiteX6" fmla="*/ 4067 w 5226"/>
                        <a:gd name="connsiteY6" fmla="*/ 2930 h 5382"/>
                        <a:gd name="connsiteX7" fmla="*/ 3888 w 5226"/>
                        <a:gd name="connsiteY7" fmla="*/ 3289 h 5382"/>
                        <a:gd name="connsiteX8" fmla="*/ 3648 w 5226"/>
                        <a:gd name="connsiteY8" fmla="*/ 3588 h 5382"/>
                        <a:gd name="connsiteX9" fmla="*/ 3349 w 5226"/>
                        <a:gd name="connsiteY9" fmla="*/ 3888 h 5382"/>
                        <a:gd name="connsiteX10" fmla="*/ 3050 w 5226"/>
                        <a:gd name="connsiteY10" fmla="*/ 4127 h 5382"/>
                        <a:gd name="connsiteX11" fmla="*/ 2691 w 5226"/>
                        <a:gd name="connsiteY11" fmla="*/ 4306 h 5382"/>
                        <a:gd name="connsiteX12" fmla="*/ 2333 w 5226"/>
                        <a:gd name="connsiteY12" fmla="*/ 4426 h 5382"/>
                        <a:gd name="connsiteX13" fmla="*/ 2034 w 5226"/>
                        <a:gd name="connsiteY13" fmla="*/ 4486 h 5382"/>
                        <a:gd name="connsiteX14" fmla="*/ 1735 w 5226"/>
                        <a:gd name="connsiteY14" fmla="*/ 4486 h 5382"/>
                        <a:gd name="connsiteX15" fmla="*/ 1435 w 5226"/>
                        <a:gd name="connsiteY15" fmla="*/ 4426 h 5382"/>
                        <a:gd name="connsiteX16" fmla="*/ 1196 w 5226"/>
                        <a:gd name="connsiteY16" fmla="*/ 4306 h 5382"/>
                        <a:gd name="connsiteX17" fmla="*/ 1136 w 5226"/>
                        <a:gd name="connsiteY17" fmla="*/ 4246 h 5382"/>
                        <a:gd name="connsiteX18" fmla="*/ 957 w 5226"/>
                        <a:gd name="connsiteY18" fmla="*/ 4007 h 5382"/>
                        <a:gd name="connsiteX19" fmla="*/ 837 w 5226"/>
                        <a:gd name="connsiteY19" fmla="*/ 3768 h 5382"/>
                        <a:gd name="connsiteX20" fmla="*/ 778 w 5226"/>
                        <a:gd name="connsiteY20" fmla="*/ 3469 h 5382"/>
                        <a:gd name="connsiteX21" fmla="*/ 778 w 5226"/>
                        <a:gd name="connsiteY21" fmla="*/ 3110 h 5382"/>
                        <a:gd name="connsiteX22" fmla="*/ 837 w 5226"/>
                        <a:gd name="connsiteY22" fmla="*/ 2751 h 5382"/>
                        <a:gd name="connsiteX23" fmla="*/ 957 w 5226"/>
                        <a:gd name="connsiteY23" fmla="*/ 2392 h 5382"/>
                        <a:gd name="connsiteX24" fmla="*/ 1136 w 5226"/>
                        <a:gd name="connsiteY24" fmla="*/ 2034 h 5382"/>
                        <a:gd name="connsiteX25" fmla="*/ 1376 w 5226"/>
                        <a:gd name="connsiteY25" fmla="*/ 1734 h 5382"/>
                        <a:gd name="connsiteX26" fmla="*/ 1675 w 5226"/>
                        <a:gd name="connsiteY26" fmla="*/ 1435 h 5382"/>
                        <a:gd name="connsiteX27" fmla="*/ 1974 w 5226"/>
                        <a:gd name="connsiteY27" fmla="*/ 1196 h 5382"/>
                        <a:gd name="connsiteX28" fmla="*/ 2273 w 5226"/>
                        <a:gd name="connsiteY28" fmla="*/ 1017 h 5382"/>
                        <a:gd name="connsiteX29" fmla="*/ 2632 w 5226"/>
                        <a:gd name="connsiteY29" fmla="*/ 897 h 5382"/>
                        <a:gd name="connsiteX30" fmla="*/ 2990 w 5226"/>
                        <a:gd name="connsiteY30" fmla="*/ 837 h 5382"/>
                        <a:gd name="connsiteX31" fmla="*/ 3289 w 5226"/>
                        <a:gd name="connsiteY31" fmla="*/ 897 h 5382"/>
                        <a:gd name="connsiteX32" fmla="*/ 3589 w 5226"/>
                        <a:gd name="connsiteY32" fmla="*/ 1017 h 5382"/>
                        <a:gd name="connsiteX33" fmla="*/ 3888 w 5226"/>
                        <a:gd name="connsiteY33" fmla="*/ 1076 h 5382"/>
                        <a:gd name="connsiteX34" fmla="*/ 658 w 5226"/>
                        <a:gd name="connsiteY34" fmla="*/ 5083 h 5382"/>
                        <a:gd name="connsiteX35" fmla="*/ 1017 w 5226"/>
                        <a:gd name="connsiteY35" fmla="*/ 5263 h 5382"/>
                        <a:gd name="connsiteX36" fmla="*/ 1435 w 5226"/>
                        <a:gd name="connsiteY36" fmla="*/ 5383 h 5382"/>
                        <a:gd name="connsiteX37" fmla="*/ 1854 w 5226"/>
                        <a:gd name="connsiteY37" fmla="*/ 5383 h 5382"/>
                        <a:gd name="connsiteX38" fmla="*/ 2333 w 5226"/>
                        <a:gd name="connsiteY38" fmla="*/ 5323 h 5382"/>
                        <a:gd name="connsiteX39" fmla="*/ 2871 w 5226"/>
                        <a:gd name="connsiteY39" fmla="*/ 5143 h 5382"/>
                        <a:gd name="connsiteX40" fmla="*/ 3349 w 5226"/>
                        <a:gd name="connsiteY40" fmla="*/ 4844 h 5382"/>
                        <a:gd name="connsiteX41" fmla="*/ 3828 w 5226"/>
                        <a:gd name="connsiteY41" fmla="*/ 4486 h 5382"/>
                        <a:gd name="connsiteX42" fmla="*/ 4246 w 5226"/>
                        <a:gd name="connsiteY42" fmla="*/ 4067 h 5382"/>
                        <a:gd name="connsiteX43" fmla="*/ 4904 w 5226"/>
                        <a:gd name="connsiteY43" fmla="*/ 3050 h 5382"/>
                        <a:gd name="connsiteX44" fmla="*/ 5203 w 5226"/>
                        <a:gd name="connsiteY44" fmla="*/ 2034 h 5382"/>
                        <a:gd name="connsiteX45" fmla="*/ 5084 w 5226"/>
                        <a:gd name="connsiteY45" fmla="*/ 1076 h 5382"/>
                        <a:gd name="connsiteX46" fmla="*/ 4605 w 5226"/>
                        <a:gd name="connsiteY46" fmla="*/ 359 h 5382"/>
                        <a:gd name="connsiteX47" fmla="*/ 4486 w 5226"/>
                        <a:gd name="connsiteY47" fmla="*/ 299 h 5382"/>
                        <a:gd name="connsiteX48" fmla="*/ 4127 w 5226"/>
                        <a:gd name="connsiteY48" fmla="*/ 120 h 5382"/>
                        <a:gd name="connsiteX49" fmla="*/ 3708 w 5226"/>
                        <a:gd name="connsiteY49" fmla="*/ 0 h 5382"/>
                        <a:gd name="connsiteX50" fmla="*/ 3289 w 5226"/>
                        <a:gd name="connsiteY50" fmla="*/ 0 h 5382"/>
                        <a:gd name="connsiteX51" fmla="*/ 2811 w 5226"/>
                        <a:gd name="connsiteY51" fmla="*/ 60 h 5382"/>
                        <a:gd name="connsiteX52" fmla="*/ 2273 w 5226"/>
                        <a:gd name="connsiteY52" fmla="*/ 239 h 5382"/>
                        <a:gd name="connsiteX53" fmla="*/ 1794 w 5226"/>
                        <a:gd name="connsiteY53" fmla="*/ 538 h 5382"/>
                        <a:gd name="connsiteX54" fmla="*/ 1316 w 5226"/>
                        <a:gd name="connsiteY54" fmla="*/ 897 h 5382"/>
                        <a:gd name="connsiteX55" fmla="*/ 897 w 5226"/>
                        <a:gd name="connsiteY55" fmla="*/ 1316 h 5382"/>
                        <a:gd name="connsiteX56" fmla="*/ 538 w 5226"/>
                        <a:gd name="connsiteY56" fmla="*/ 1794 h 5382"/>
                        <a:gd name="connsiteX57" fmla="*/ 239 w 5226"/>
                        <a:gd name="connsiteY57" fmla="*/ 2333 h 5382"/>
                        <a:gd name="connsiteX58" fmla="*/ 60 w 5226"/>
                        <a:gd name="connsiteY58" fmla="*/ 2871 h 5382"/>
                        <a:gd name="connsiteX59" fmla="*/ 0 w 5226"/>
                        <a:gd name="connsiteY59" fmla="*/ 3409 h 5382"/>
                        <a:gd name="connsiteX60" fmla="*/ 0 w 5226"/>
                        <a:gd name="connsiteY60" fmla="*/ 3888 h 5382"/>
                        <a:gd name="connsiteX61" fmla="*/ 120 w 5226"/>
                        <a:gd name="connsiteY61" fmla="*/ 4306 h 5382"/>
                        <a:gd name="connsiteX62" fmla="*/ 299 w 5226"/>
                        <a:gd name="connsiteY62" fmla="*/ 4725 h 5382"/>
                        <a:gd name="connsiteX63" fmla="*/ 598 w 5226"/>
                        <a:gd name="connsiteY63" fmla="*/ 5024 h 5382"/>
                        <a:gd name="connsiteX64" fmla="*/ 658 w 5226"/>
                        <a:gd name="connsiteY64" fmla="*/ 5083 h 5382"/>
                        <a:gd name="connsiteX65" fmla="*/ 718 w 5226"/>
                        <a:gd name="connsiteY65" fmla="*/ 5083 h 5382"/>
                        <a:gd name="connsiteX66" fmla="*/ 658 w 5226"/>
                        <a:gd name="connsiteY66" fmla="*/ 5083 h 5382"/>
                        <a:gd name="connsiteX67" fmla="*/ 658 w 5226"/>
                        <a:gd name="connsiteY67" fmla="*/ 5083 h 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226" h="5382">
                          <a:moveTo>
                            <a:pt x="3888" y="1076"/>
                          </a:moveTo>
                          <a:cubicBezTo>
                            <a:pt x="3947" y="1136"/>
                            <a:pt x="4007" y="1196"/>
                            <a:pt x="4067" y="1316"/>
                          </a:cubicBezTo>
                          <a:cubicBezTo>
                            <a:pt x="4127" y="1435"/>
                            <a:pt x="4187" y="1495"/>
                            <a:pt x="4187" y="1555"/>
                          </a:cubicBezTo>
                          <a:cubicBezTo>
                            <a:pt x="4246" y="1675"/>
                            <a:pt x="4246" y="1734"/>
                            <a:pt x="4246" y="1854"/>
                          </a:cubicBezTo>
                          <a:cubicBezTo>
                            <a:pt x="4246" y="1974"/>
                            <a:pt x="4246" y="2093"/>
                            <a:pt x="4246" y="2213"/>
                          </a:cubicBezTo>
                          <a:cubicBezTo>
                            <a:pt x="4246" y="2333"/>
                            <a:pt x="4187" y="2452"/>
                            <a:pt x="4187" y="2572"/>
                          </a:cubicBezTo>
                          <a:cubicBezTo>
                            <a:pt x="4187" y="2691"/>
                            <a:pt x="4127" y="2811"/>
                            <a:pt x="4067" y="2930"/>
                          </a:cubicBezTo>
                          <a:cubicBezTo>
                            <a:pt x="4007" y="3050"/>
                            <a:pt x="3947" y="3170"/>
                            <a:pt x="3888" y="3289"/>
                          </a:cubicBezTo>
                          <a:cubicBezTo>
                            <a:pt x="3828" y="3409"/>
                            <a:pt x="3708" y="3529"/>
                            <a:pt x="3648" y="3588"/>
                          </a:cubicBezTo>
                          <a:cubicBezTo>
                            <a:pt x="3529" y="3708"/>
                            <a:pt x="3469" y="3768"/>
                            <a:pt x="3349" y="3888"/>
                          </a:cubicBezTo>
                          <a:cubicBezTo>
                            <a:pt x="3230" y="3947"/>
                            <a:pt x="3170" y="4067"/>
                            <a:pt x="3050" y="4127"/>
                          </a:cubicBezTo>
                          <a:cubicBezTo>
                            <a:pt x="2930" y="4187"/>
                            <a:pt x="2811" y="4246"/>
                            <a:pt x="2691" y="4306"/>
                          </a:cubicBezTo>
                          <a:cubicBezTo>
                            <a:pt x="2572" y="4366"/>
                            <a:pt x="2452" y="4366"/>
                            <a:pt x="2333" y="4426"/>
                          </a:cubicBezTo>
                          <a:cubicBezTo>
                            <a:pt x="2213" y="4426"/>
                            <a:pt x="2153" y="4486"/>
                            <a:pt x="2034" y="4486"/>
                          </a:cubicBezTo>
                          <a:cubicBezTo>
                            <a:pt x="1914" y="4486"/>
                            <a:pt x="1854" y="4486"/>
                            <a:pt x="1735" y="4486"/>
                          </a:cubicBezTo>
                          <a:cubicBezTo>
                            <a:pt x="1615" y="4486"/>
                            <a:pt x="1555" y="4426"/>
                            <a:pt x="1435" y="4426"/>
                          </a:cubicBezTo>
                          <a:cubicBezTo>
                            <a:pt x="1376" y="4366"/>
                            <a:pt x="1256" y="4366"/>
                            <a:pt x="1196" y="4306"/>
                          </a:cubicBezTo>
                          <a:lnTo>
                            <a:pt x="1136" y="4246"/>
                          </a:lnTo>
                          <a:cubicBezTo>
                            <a:pt x="1076" y="4187"/>
                            <a:pt x="1017" y="4127"/>
                            <a:pt x="957" y="4007"/>
                          </a:cubicBezTo>
                          <a:cubicBezTo>
                            <a:pt x="897" y="3947"/>
                            <a:pt x="837" y="3828"/>
                            <a:pt x="837" y="3768"/>
                          </a:cubicBezTo>
                          <a:cubicBezTo>
                            <a:pt x="778" y="3648"/>
                            <a:pt x="778" y="3588"/>
                            <a:pt x="778" y="3469"/>
                          </a:cubicBezTo>
                          <a:cubicBezTo>
                            <a:pt x="778" y="3349"/>
                            <a:pt x="778" y="3229"/>
                            <a:pt x="778" y="3110"/>
                          </a:cubicBezTo>
                          <a:cubicBezTo>
                            <a:pt x="778" y="2990"/>
                            <a:pt x="837" y="2871"/>
                            <a:pt x="837" y="2751"/>
                          </a:cubicBezTo>
                          <a:cubicBezTo>
                            <a:pt x="897" y="2632"/>
                            <a:pt x="897" y="2512"/>
                            <a:pt x="957" y="2392"/>
                          </a:cubicBezTo>
                          <a:cubicBezTo>
                            <a:pt x="1017" y="2273"/>
                            <a:pt x="1076" y="2153"/>
                            <a:pt x="1136" y="2034"/>
                          </a:cubicBezTo>
                          <a:cubicBezTo>
                            <a:pt x="1196" y="1914"/>
                            <a:pt x="1316" y="1794"/>
                            <a:pt x="1376" y="1734"/>
                          </a:cubicBezTo>
                          <a:cubicBezTo>
                            <a:pt x="1435" y="1675"/>
                            <a:pt x="1555" y="1555"/>
                            <a:pt x="1675" y="1435"/>
                          </a:cubicBezTo>
                          <a:cubicBezTo>
                            <a:pt x="1794" y="1375"/>
                            <a:pt x="1854" y="1256"/>
                            <a:pt x="1974" y="1196"/>
                          </a:cubicBezTo>
                          <a:cubicBezTo>
                            <a:pt x="2093" y="1136"/>
                            <a:pt x="2213" y="1076"/>
                            <a:pt x="2273" y="1017"/>
                          </a:cubicBezTo>
                          <a:cubicBezTo>
                            <a:pt x="2392" y="957"/>
                            <a:pt x="2512" y="897"/>
                            <a:pt x="2632" y="897"/>
                          </a:cubicBezTo>
                          <a:cubicBezTo>
                            <a:pt x="2751" y="897"/>
                            <a:pt x="2871" y="837"/>
                            <a:pt x="2990" y="837"/>
                          </a:cubicBezTo>
                          <a:cubicBezTo>
                            <a:pt x="3110" y="837"/>
                            <a:pt x="3230" y="837"/>
                            <a:pt x="3289" y="897"/>
                          </a:cubicBezTo>
                          <a:cubicBezTo>
                            <a:pt x="3349" y="957"/>
                            <a:pt x="3469" y="957"/>
                            <a:pt x="3589" y="1017"/>
                          </a:cubicBezTo>
                          <a:cubicBezTo>
                            <a:pt x="3708" y="957"/>
                            <a:pt x="3768" y="1017"/>
                            <a:pt x="3888" y="1076"/>
                          </a:cubicBezTo>
                          <a:moveTo>
                            <a:pt x="658" y="5083"/>
                          </a:moveTo>
                          <a:cubicBezTo>
                            <a:pt x="778" y="5143"/>
                            <a:pt x="897" y="5203"/>
                            <a:pt x="1017" y="5263"/>
                          </a:cubicBezTo>
                          <a:cubicBezTo>
                            <a:pt x="1136" y="5323"/>
                            <a:pt x="1256" y="5323"/>
                            <a:pt x="1435" y="5383"/>
                          </a:cubicBezTo>
                          <a:cubicBezTo>
                            <a:pt x="1555" y="5383"/>
                            <a:pt x="1735" y="5383"/>
                            <a:pt x="1854" y="5383"/>
                          </a:cubicBezTo>
                          <a:cubicBezTo>
                            <a:pt x="1974" y="5383"/>
                            <a:pt x="2153" y="5323"/>
                            <a:pt x="2333" y="5323"/>
                          </a:cubicBezTo>
                          <a:cubicBezTo>
                            <a:pt x="2512" y="5263"/>
                            <a:pt x="2691" y="5203"/>
                            <a:pt x="2871" y="5143"/>
                          </a:cubicBezTo>
                          <a:cubicBezTo>
                            <a:pt x="3050" y="5083"/>
                            <a:pt x="3230" y="4964"/>
                            <a:pt x="3349" y="4844"/>
                          </a:cubicBezTo>
                          <a:cubicBezTo>
                            <a:pt x="3529" y="4725"/>
                            <a:pt x="3648" y="4605"/>
                            <a:pt x="3828" y="4486"/>
                          </a:cubicBezTo>
                          <a:cubicBezTo>
                            <a:pt x="4007" y="4366"/>
                            <a:pt x="4127" y="4187"/>
                            <a:pt x="4246" y="4067"/>
                          </a:cubicBezTo>
                          <a:cubicBezTo>
                            <a:pt x="4486" y="3768"/>
                            <a:pt x="4725" y="3409"/>
                            <a:pt x="4904" y="3050"/>
                          </a:cubicBezTo>
                          <a:cubicBezTo>
                            <a:pt x="5084" y="2691"/>
                            <a:pt x="5143" y="2333"/>
                            <a:pt x="5203" y="2034"/>
                          </a:cubicBezTo>
                          <a:cubicBezTo>
                            <a:pt x="5263" y="1675"/>
                            <a:pt x="5203" y="1375"/>
                            <a:pt x="5084" y="1076"/>
                          </a:cubicBezTo>
                          <a:cubicBezTo>
                            <a:pt x="4964" y="778"/>
                            <a:pt x="4844" y="538"/>
                            <a:pt x="4605" y="359"/>
                          </a:cubicBezTo>
                          <a:lnTo>
                            <a:pt x="4486" y="299"/>
                          </a:lnTo>
                          <a:cubicBezTo>
                            <a:pt x="4366" y="239"/>
                            <a:pt x="4246" y="180"/>
                            <a:pt x="4127" y="120"/>
                          </a:cubicBezTo>
                          <a:cubicBezTo>
                            <a:pt x="4007" y="60"/>
                            <a:pt x="3888" y="60"/>
                            <a:pt x="3708" y="0"/>
                          </a:cubicBezTo>
                          <a:cubicBezTo>
                            <a:pt x="3589" y="0"/>
                            <a:pt x="3409" y="0"/>
                            <a:pt x="3289" y="0"/>
                          </a:cubicBezTo>
                          <a:cubicBezTo>
                            <a:pt x="3110" y="0"/>
                            <a:pt x="2990" y="60"/>
                            <a:pt x="2811" y="60"/>
                          </a:cubicBezTo>
                          <a:cubicBezTo>
                            <a:pt x="2632" y="120"/>
                            <a:pt x="2452" y="180"/>
                            <a:pt x="2273" y="239"/>
                          </a:cubicBezTo>
                          <a:cubicBezTo>
                            <a:pt x="2093" y="299"/>
                            <a:pt x="1914" y="419"/>
                            <a:pt x="1794" y="538"/>
                          </a:cubicBezTo>
                          <a:cubicBezTo>
                            <a:pt x="1615" y="658"/>
                            <a:pt x="1495" y="778"/>
                            <a:pt x="1316" y="897"/>
                          </a:cubicBezTo>
                          <a:cubicBezTo>
                            <a:pt x="1136" y="1017"/>
                            <a:pt x="1017" y="1196"/>
                            <a:pt x="897" y="1316"/>
                          </a:cubicBezTo>
                          <a:cubicBezTo>
                            <a:pt x="778" y="1495"/>
                            <a:pt x="658" y="1615"/>
                            <a:pt x="538" y="1794"/>
                          </a:cubicBezTo>
                          <a:cubicBezTo>
                            <a:pt x="419" y="1974"/>
                            <a:pt x="359" y="2153"/>
                            <a:pt x="239" y="2333"/>
                          </a:cubicBezTo>
                          <a:cubicBezTo>
                            <a:pt x="180" y="2512"/>
                            <a:pt x="120" y="2691"/>
                            <a:pt x="60" y="2871"/>
                          </a:cubicBezTo>
                          <a:cubicBezTo>
                            <a:pt x="0" y="3050"/>
                            <a:pt x="0" y="3229"/>
                            <a:pt x="0" y="3409"/>
                          </a:cubicBezTo>
                          <a:cubicBezTo>
                            <a:pt x="0" y="3588"/>
                            <a:pt x="0" y="3768"/>
                            <a:pt x="0" y="3888"/>
                          </a:cubicBezTo>
                          <a:cubicBezTo>
                            <a:pt x="0" y="4067"/>
                            <a:pt x="60" y="4187"/>
                            <a:pt x="120" y="4306"/>
                          </a:cubicBezTo>
                          <a:cubicBezTo>
                            <a:pt x="180" y="4426"/>
                            <a:pt x="239" y="4605"/>
                            <a:pt x="299" y="4725"/>
                          </a:cubicBezTo>
                          <a:cubicBezTo>
                            <a:pt x="359" y="4844"/>
                            <a:pt x="479" y="4964"/>
                            <a:pt x="598" y="5024"/>
                          </a:cubicBezTo>
                          <a:cubicBezTo>
                            <a:pt x="598" y="5024"/>
                            <a:pt x="598" y="5024"/>
                            <a:pt x="658" y="5083"/>
                          </a:cubicBezTo>
                          <a:cubicBezTo>
                            <a:pt x="658" y="5083"/>
                            <a:pt x="658" y="5083"/>
                            <a:pt x="718" y="5083"/>
                          </a:cubicBezTo>
                          <a:cubicBezTo>
                            <a:pt x="598" y="5024"/>
                            <a:pt x="598" y="5024"/>
                            <a:pt x="658" y="5083"/>
                          </a:cubicBezTo>
                          <a:cubicBezTo>
                            <a:pt x="658" y="5024"/>
                            <a:pt x="658" y="5083"/>
                            <a:pt x="658" y="5083"/>
                          </a:cubicBezTo>
                        </a:path>
                      </a:pathLst>
                    </a:custGeom>
                    <a:noFill/>
                    <a:ln w="6350" cap="flat">
                      <a:solidFill>
                        <a:schemeClr val="bg1">
                          <a:alpha val="80000"/>
                        </a:schemeClr>
                      </a:solidFill>
                      <a:prstDash val="solid"/>
                      <a:miter/>
                    </a:ln>
                  </p:spPr>
                  <p:txBody>
                    <a:bodyPr rtlCol="0" anchor="ctr"/>
                    <a:lstStyle/>
                    <a:p>
                      <a:endParaRPr lang="en-GB"/>
                    </a:p>
                  </p:txBody>
                </p:sp>
                <p:sp>
                  <p:nvSpPr>
                    <p:cNvPr id="7428" name="Vrije vorm: vorm 7427">
                      <a:extLst>
                        <a:ext uri="{FF2B5EF4-FFF2-40B4-BE49-F238E27FC236}">
                          <a16:creationId xmlns:a16="http://schemas.microsoft.com/office/drawing/2014/main" id="{28457D3A-3164-4862-8BA1-6C85903F37F9}"/>
                        </a:ext>
                      </a:extLst>
                    </p:cNvPr>
                    <p:cNvSpPr/>
                    <p:nvPr/>
                  </p:nvSpPr>
                  <p:spPr>
                    <a:xfrm>
                      <a:off x="5306355" y="5417112"/>
                      <a:ext cx="5143" cy="5169"/>
                    </a:xfrm>
                    <a:custGeom>
                      <a:avLst/>
                      <a:gdLst>
                        <a:gd name="connsiteX0" fmla="*/ 1735 w 5143"/>
                        <a:gd name="connsiteY0" fmla="*/ 4213 h 5169"/>
                        <a:gd name="connsiteX1" fmla="*/ 1675 w 5143"/>
                        <a:gd name="connsiteY1" fmla="*/ 4153 h 5169"/>
                        <a:gd name="connsiteX2" fmla="*/ 1615 w 5143"/>
                        <a:gd name="connsiteY2" fmla="*/ 4093 h 5169"/>
                        <a:gd name="connsiteX3" fmla="*/ 1555 w 5143"/>
                        <a:gd name="connsiteY3" fmla="*/ 4034 h 5169"/>
                        <a:gd name="connsiteX4" fmla="*/ 1495 w 5143"/>
                        <a:gd name="connsiteY4" fmla="*/ 3974 h 5169"/>
                        <a:gd name="connsiteX5" fmla="*/ 1256 w 5143"/>
                        <a:gd name="connsiteY5" fmla="*/ 3794 h 5169"/>
                        <a:gd name="connsiteX6" fmla="*/ 1076 w 5143"/>
                        <a:gd name="connsiteY6" fmla="*/ 3555 h 5169"/>
                        <a:gd name="connsiteX7" fmla="*/ 1017 w 5143"/>
                        <a:gd name="connsiteY7" fmla="*/ 3256 h 5169"/>
                        <a:gd name="connsiteX8" fmla="*/ 1017 w 5143"/>
                        <a:gd name="connsiteY8" fmla="*/ 2897 h 5169"/>
                        <a:gd name="connsiteX9" fmla="*/ 1076 w 5143"/>
                        <a:gd name="connsiteY9" fmla="*/ 2538 h 5169"/>
                        <a:gd name="connsiteX10" fmla="*/ 1196 w 5143"/>
                        <a:gd name="connsiteY10" fmla="*/ 2180 h 5169"/>
                        <a:gd name="connsiteX11" fmla="*/ 1376 w 5143"/>
                        <a:gd name="connsiteY11" fmla="*/ 1821 h 5169"/>
                        <a:gd name="connsiteX12" fmla="*/ 1615 w 5143"/>
                        <a:gd name="connsiteY12" fmla="*/ 1522 h 5169"/>
                        <a:gd name="connsiteX13" fmla="*/ 1914 w 5143"/>
                        <a:gd name="connsiteY13" fmla="*/ 1223 h 5169"/>
                        <a:gd name="connsiteX14" fmla="*/ 2213 w 5143"/>
                        <a:gd name="connsiteY14" fmla="*/ 984 h 5169"/>
                        <a:gd name="connsiteX15" fmla="*/ 2572 w 5143"/>
                        <a:gd name="connsiteY15" fmla="*/ 804 h 5169"/>
                        <a:gd name="connsiteX16" fmla="*/ 2931 w 5143"/>
                        <a:gd name="connsiteY16" fmla="*/ 684 h 5169"/>
                        <a:gd name="connsiteX17" fmla="*/ 3290 w 5143"/>
                        <a:gd name="connsiteY17" fmla="*/ 684 h 5169"/>
                        <a:gd name="connsiteX18" fmla="*/ 3589 w 5143"/>
                        <a:gd name="connsiteY18" fmla="*/ 744 h 5169"/>
                        <a:gd name="connsiteX19" fmla="*/ 3888 w 5143"/>
                        <a:gd name="connsiteY19" fmla="*/ 804 h 5169"/>
                        <a:gd name="connsiteX20" fmla="*/ 4127 w 5143"/>
                        <a:gd name="connsiteY20" fmla="*/ 924 h 5169"/>
                        <a:gd name="connsiteX21" fmla="*/ 4187 w 5143"/>
                        <a:gd name="connsiteY21" fmla="*/ 984 h 5169"/>
                        <a:gd name="connsiteX22" fmla="*/ 4246 w 5143"/>
                        <a:gd name="connsiteY22" fmla="*/ 1043 h 5169"/>
                        <a:gd name="connsiteX23" fmla="*/ 4306 w 5143"/>
                        <a:gd name="connsiteY23" fmla="*/ 1163 h 5169"/>
                        <a:gd name="connsiteX24" fmla="*/ 4366 w 5143"/>
                        <a:gd name="connsiteY24" fmla="*/ 1283 h 5169"/>
                        <a:gd name="connsiteX25" fmla="*/ 4366 w 5143"/>
                        <a:gd name="connsiteY25" fmla="*/ 1283 h 5169"/>
                        <a:gd name="connsiteX26" fmla="*/ 4366 w 5143"/>
                        <a:gd name="connsiteY26" fmla="*/ 1283 h 5169"/>
                        <a:gd name="connsiteX27" fmla="*/ 4366 w 5143"/>
                        <a:gd name="connsiteY27" fmla="*/ 1283 h 5169"/>
                        <a:gd name="connsiteX28" fmla="*/ 4366 w 5143"/>
                        <a:gd name="connsiteY28" fmla="*/ 1283 h 5169"/>
                        <a:gd name="connsiteX29" fmla="*/ 4426 w 5143"/>
                        <a:gd name="connsiteY29" fmla="*/ 1462 h 5169"/>
                        <a:gd name="connsiteX30" fmla="*/ 4486 w 5143"/>
                        <a:gd name="connsiteY30" fmla="*/ 1642 h 5169"/>
                        <a:gd name="connsiteX31" fmla="*/ 4486 w 5143"/>
                        <a:gd name="connsiteY31" fmla="*/ 1821 h 5169"/>
                        <a:gd name="connsiteX32" fmla="*/ 4486 w 5143"/>
                        <a:gd name="connsiteY32" fmla="*/ 2000 h 5169"/>
                        <a:gd name="connsiteX33" fmla="*/ 4486 w 5143"/>
                        <a:gd name="connsiteY33" fmla="*/ 2060 h 5169"/>
                        <a:gd name="connsiteX34" fmla="*/ 4486 w 5143"/>
                        <a:gd name="connsiteY34" fmla="*/ 2120 h 5169"/>
                        <a:gd name="connsiteX35" fmla="*/ 4486 w 5143"/>
                        <a:gd name="connsiteY35" fmla="*/ 2180 h 5169"/>
                        <a:gd name="connsiteX36" fmla="*/ 4486 w 5143"/>
                        <a:gd name="connsiteY36" fmla="*/ 2239 h 5169"/>
                        <a:gd name="connsiteX37" fmla="*/ 4246 w 5143"/>
                        <a:gd name="connsiteY37" fmla="*/ 2778 h 5169"/>
                        <a:gd name="connsiteX38" fmla="*/ 3888 w 5143"/>
                        <a:gd name="connsiteY38" fmla="*/ 3256 h 5169"/>
                        <a:gd name="connsiteX39" fmla="*/ 3409 w 5143"/>
                        <a:gd name="connsiteY39" fmla="*/ 3675 h 5169"/>
                        <a:gd name="connsiteX40" fmla="*/ 2871 w 5143"/>
                        <a:gd name="connsiteY40" fmla="*/ 3974 h 5169"/>
                        <a:gd name="connsiteX41" fmla="*/ 2811 w 5143"/>
                        <a:gd name="connsiteY41" fmla="*/ 3974 h 5169"/>
                        <a:gd name="connsiteX42" fmla="*/ 2751 w 5143"/>
                        <a:gd name="connsiteY42" fmla="*/ 3974 h 5169"/>
                        <a:gd name="connsiteX43" fmla="*/ 2691 w 5143"/>
                        <a:gd name="connsiteY43" fmla="*/ 3974 h 5169"/>
                        <a:gd name="connsiteX44" fmla="*/ 2632 w 5143"/>
                        <a:gd name="connsiteY44" fmla="*/ 3974 h 5169"/>
                        <a:gd name="connsiteX45" fmla="*/ 2392 w 5143"/>
                        <a:gd name="connsiteY45" fmla="*/ 4034 h 5169"/>
                        <a:gd name="connsiteX46" fmla="*/ 2213 w 5143"/>
                        <a:gd name="connsiteY46" fmla="*/ 4034 h 5169"/>
                        <a:gd name="connsiteX47" fmla="*/ 2034 w 5143"/>
                        <a:gd name="connsiteY47" fmla="*/ 4034 h 5169"/>
                        <a:gd name="connsiteX48" fmla="*/ 1735 w 5143"/>
                        <a:gd name="connsiteY48" fmla="*/ 4213 h 5169"/>
                        <a:gd name="connsiteX49" fmla="*/ 778 w 5143"/>
                        <a:gd name="connsiteY49" fmla="*/ 4811 h 5169"/>
                        <a:gd name="connsiteX50" fmla="*/ 837 w 5143"/>
                        <a:gd name="connsiteY50" fmla="*/ 4871 h 5169"/>
                        <a:gd name="connsiteX51" fmla="*/ 897 w 5143"/>
                        <a:gd name="connsiteY51" fmla="*/ 4931 h 5169"/>
                        <a:gd name="connsiteX52" fmla="*/ 957 w 5143"/>
                        <a:gd name="connsiteY52" fmla="*/ 4991 h 5169"/>
                        <a:gd name="connsiteX53" fmla="*/ 1017 w 5143"/>
                        <a:gd name="connsiteY53" fmla="*/ 5051 h 5169"/>
                        <a:gd name="connsiteX54" fmla="*/ 1196 w 5143"/>
                        <a:gd name="connsiteY54" fmla="*/ 5110 h 5169"/>
                        <a:gd name="connsiteX55" fmla="*/ 1376 w 5143"/>
                        <a:gd name="connsiteY55" fmla="*/ 5170 h 5169"/>
                        <a:gd name="connsiteX56" fmla="*/ 1615 w 5143"/>
                        <a:gd name="connsiteY56" fmla="*/ 5170 h 5169"/>
                        <a:gd name="connsiteX57" fmla="*/ 1854 w 5143"/>
                        <a:gd name="connsiteY57" fmla="*/ 5170 h 5169"/>
                        <a:gd name="connsiteX58" fmla="*/ 1974 w 5143"/>
                        <a:gd name="connsiteY58" fmla="*/ 5170 h 5169"/>
                        <a:gd name="connsiteX59" fmla="*/ 2093 w 5143"/>
                        <a:gd name="connsiteY59" fmla="*/ 5170 h 5169"/>
                        <a:gd name="connsiteX60" fmla="*/ 2213 w 5143"/>
                        <a:gd name="connsiteY60" fmla="*/ 5170 h 5169"/>
                        <a:gd name="connsiteX61" fmla="*/ 2333 w 5143"/>
                        <a:gd name="connsiteY61" fmla="*/ 5110 h 5169"/>
                        <a:gd name="connsiteX62" fmla="*/ 3110 w 5143"/>
                        <a:gd name="connsiteY62" fmla="*/ 4811 h 5169"/>
                        <a:gd name="connsiteX63" fmla="*/ 3828 w 5143"/>
                        <a:gd name="connsiteY63" fmla="*/ 4333 h 5169"/>
                        <a:gd name="connsiteX64" fmla="*/ 4426 w 5143"/>
                        <a:gd name="connsiteY64" fmla="*/ 3675 h 5169"/>
                        <a:gd name="connsiteX65" fmla="*/ 4844 w 5143"/>
                        <a:gd name="connsiteY65" fmla="*/ 2957 h 5169"/>
                        <a:gd name="connsiteX66" fmla="*/ 4964 w 5143"/>
                        <a:gd name="connsiteY66" fmla="*/ 2718 h 5169"/>
                        <a:gd name="connsiteX67" fmla="*/ 5024 w 5143"/>
                        <a:gd name="connsiteY67" fmla="*/ 2479 h 5169"/>
                        <a:gd name="connsiteX68" fmla="*/ 5084 w 5143"/>
                        <a:gd name="connsiteY68" fmla="*/ 2239 h 5169"/>
                        <a:gd name="connsiteX69" fmla="*/ 5144 w 5143"/>
                        <a:gd name="connsiteY69" fmla="*/ 2000 h 5169"/>
                        <a:gd name="connsiteX70" fmla="*/ 5144 w 5143"/>
                        <a:gd name="connsiteY70" fmla="*/ 2000 h 5169"/>
                        <a:gd name="connsiteX71" fmla="*/ 5144 w 5143"/>
                        <a:gd name="connsiteY71" fmla="*/ 2000 h 5169"/>
                        <a:gd name="connsiteX72" fmla="*/ 5144 w 5143"/>
                        <a:gd name="connsiteY72" fmla="*/ 2000 h 5169"/>
                        <a:gd name="connsiteX73" fmla="*/ 5144 w 5143"/>
                        <a:gd name="connsiteY73" fmla="*/ 2000 h 5169"/>
                        <a:gd name="connsiteX74" fmla="*/ 5144 w 5143"/>
                        <a:gd name="connsiteY74" fmla="*/ 1881 h 5169"/>
                        <a:gd name="connsiteX75" fmla="*/ 5144 w 5143"/>
                        <a:gd name="connsiteY75" fmla="*/ 1761 h 5169"/>
                        <a:gd name="connsiteX76" fmla="*/ 5144 w 5143"/>
                        <a:gd name="connsiteY76" fmla="*/ 1642 h 5169"/>
                        <a:gd name="connsiteX77" fmla="*/ 5144 w 5143"/>
                        <a:gd name="connsiteY77" fmla="*/ 1522 h 5169"/>
                        <a:gd name="connsiteX78" fmla="*/ 5084 w 5143"/>
                        <a:gd name="connsiteY78" fmla="*/ 1283 h 5169"/>
                        <a:gd name="connsiteX79" fmla="*/ 5024 w 5143"/>
                        <a:gd name="connsiteY79" fmla="*/ 1103 h 5169"/>
                        <a:gd name="connsiteX80" fmla="*/ 4964 w 5143"/>
                        <a:gd name="connsiteY80" fmla="*/ 924 h 5169"/>
                        <a:gd name="connsiteX81" fmla="*/ 4844 w 5143"/>
                        <a:gd name="connsiteY81" fmla="*/ 744 h 5169"/>
                        <a:gd name="connsiteX82" fmla="*/ 4844 w 5143"/>
                        <a:gd name="connsiteY82" fmla="*/ 744 h 5169"/>
                        <a:gd name="connsiteX83" fmla="*/ 4844 w 5143"/>
                        <a:gd name="connsiteY83" fmla="*/ 744 h 5169"/>
                        <a:gd name="connsiteX84" fmla="*/ 4844 w 5143"/>
                        <a:gd name="connsiteY84" fmla="*/ 744 h 5169"/>
                        <a:gd name="connsiteX85" fmla="*/ 4844 w 5143"/>
                        <a:gd name="connsiteY85" fmla="*/ 744 h 5169"/>
                        <a:gd name="connsiteX86" fmla="*/ 4785 w 5143"/>
                        <a:gd name="connsiteY86" fmla="*/ 625 h 5169"/>
                        <a:gd name="connsiteX87" fmla="*/ 4725 w 5143"/>
                        <a:gd name="connsiteY87" fmla="*/ 565 h 5169"/>
                        <a:gd name="connsiteX88" fmla="*/ 4665 w 5143"/>
                        <a:gd name="connsiteY88" fmla="*/ 505 h 5169"/>
                        <a:gd name="connsiteX89" fmla="*/ 4605 w 5143"/>
                        <a:gd name="connsiteY89" fmla="*/ 445 h 5169"/>
                        <a:gd name="connsiteX90" fmla="*/ 4545 w 5143"/>
                        <a:gd name="connsiteY90" fmla="*/ 326 h 5169"/>
                        <a:gd name="connsiteX91" fmla="*/ 4187 w 5143"/>
                        <a:gd name="connsiteY91" fmla="*/ 146 h 5169"/>
                        <a:gd name="connsiteX92" fmla="*/ 3768 w 5143"/>
                        <a:gd name="connsiteY92" fmla="*/ 27 h 5169"/>
                        <a:gd name="connsiteX93" fmla="*/ 3349 w 5143"/>
                        <a:gd name="connsiteY93" fmla="*/ 27 h 5169"/>
                        <a:gd name="connsiteX94" fmla="*/ 2871 w 5143"/>
                        <a:gd name="connsiteY94" fmla="*/ 86 h 5169"/>
                        <a:gd name="connsiteX95" fmla="*/ 2333 w 5143"/>
                        <a:gd name="connsiteY95" fmla="*/ 266 h 5169"/>
                        <a:gd name="connsiteX96" fmla="*/ 1854 w 5143"/>
                        <a:gd name="connsiteY96" fmla="*/ 505 h 5169"/>
                        <a:gd name="connsiteX97" fmla="*/ 1376 w 5143"/>
                        <a:gd name="connsiteY97" fmla="*/ 864 h 5169"/>
                        <a:gd name="connsiteX98" fmla="*/ 957 w 5143"/>
                        <a:gd name="connsiteY98" fmla="*/ 1283 h 5169"/>
                        <a:gd name="connsiteX99" fmla="*/ 598 w 5143"/>
                        <a:gd name="connsiteY99" fmla="*/ 1761 h 5169"/>
                        <a:gd name="connsiteX100" fmla="*/ 299 w 5143"/>
                        <a:gd name="connsiteY100" fmla="*/ 2299 h 5169"/>
                        <a:gd name="connsiteX101" fmla="*/ 120 w 5143"/>
                        <a:gd name="connsiteY101" fmla="*/ 2838 h 5169"/>
                        <a:gd name="connsiteX102" fmla="*/ 0 w 5143"/>
                        <a:gd name="connsiteY102" fmla="*/ 3376 h 5169"/>
                        <a:gd name="connsiteX103" fmla="*/ 0 w 5143"/>
                        <a:gd name="connsiteY103" fmla="*/ 3914 h 5169"/>
                        <a:gd name="connsiteX104" fmla="*/ 120 w 5143"/>
                        <a:gd name="connsiteY104" fmla="*/ 4392 h 5169"/>
                        <a:gd name="connsiteX105" fmla="*/ 359 w 5143"/>
                        <a:gd name="connsiteY105" fmla="*/ 4811 h 5169"/>
                        <a:gd name="connsiteX106" fmla="*/ 778 w 5143"/>
                        <a:gd name="connsiteY106" fmla="*/ 4811 h 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5143" h="5169">
                          <a:moveTo>
                            <a:pt x="1735" y="4213"/>
                          </a:moveTo>
                          <a:cubicBezTo>
                            <a:pt x="1675" y="4213"/>
                            <a:pt x="1675" y="4213"/>
                            <a:pt x="1675" y="4153"/>
                          </a:cubicBezTo>
                          <a:cubicBezTo>
                            <a:pt x="1675" y="4153"/>
                            <a:pt x="1615" y="4153"/>
                            <a:pt x="1615" y="4093"/>
                          </a:cubicBezTo>
                          <a:cubicBezTo>
                            <a:pt x="1615" y="4093"/>
                            <a:pt x="1555" y="4093"/>
                            <a:pt x="1555" y="4034"/>
                          </a:cubicBezTo>
                          <a:cubicBezTo>
                            <a:pt x="1555" y="3974"/>
                            <a:pt x="1495" y="3974"/>
                            <a:pt x="1495" y="3974"/>
                          </a:cubicBezTo>
                          <a:cubicBezTo>
                            <a:pt x="1436" y="3914"/>
                            <a:pt x="1316" y="3854"/>
                            <a:pt x="1256" y="3794"/>
                          </a:cubicBezTo>
                          <a:cubicBezTo>
                            <a:pt x="1196" y="3735"/>
                            <a:pt x="1136" y="3615"/>
                            <a:pt x="1076" y="3555"/>
                          </a:cubicBezTo>
                          <a:cubicBezTo>
                            <a:pt x="1017" y="3436"/>
                            <a:pt x="1017" y="3376"/>
                            <a:pt x="1017" y="3256"/>
                          </a:cubicBezTo>
                          <a:cubicBezTo>
                            <a:pt x="1017" y="3137"/>
                            <a:pt x="1017" y="3017"/>
                            <a:pt x="1017" y="2897"/>
                          </a:cubicBezTo>
                          <a:cubicBezTo>
                            <a:pt x="1017" y="2778"/>
                            <a:pt x="1076" y="2658"/>
                            <a:pt x="1076" y="2538"/>
                          </a:cubicBezTo>
                          <a:cubicBezTo>
                            <a:pt x="1136" y="2419"/>
                            <a:pt x="1136" y="2299"/>
                            <a:pt x="1196" y="2180"/>
                          </a:cubicBezTo>
                          <a:cubicBezTo>
                            <a:pt x="1256" y="2060"/>
                            <a:pt x="1316" y="1940"/>
                            <a:pt x="1376" y="1821"/>
                          </a:cubicBezTo>
                          <a:cubicBezTo>
                            <a:pt x="1436" y="1701"/>
                            <a:pt x="1555" y="1582"/>
                            <a:pt x="1615" y="1522"/>
                          </a:cubicBezTo>
                          <a:cubicBezTo>
                            <a:pt x="1735" y="1402"/>
                            <a:pt x="1795" y="1343"/>
                            <a:pt x="1914" y="1223"/>
                          </a:cubicBezTo>
                          <a:cubicBezTo>
                            <a:pt x="2034" y="1103"/>
                            <a:pt x="2093" y="1043"/>
                            <a:pt x="2213" y="984"/>
                          </a:cubicBezTo>
                          <a:cubicBezTo>
                            <a:pt x="2333" y="924"/>
                            <a:pt x="2452" y="864"/>
                            <a:pt x="2572" y="804"/>
                          </a:cubicBezTo>
                          <a:cubicBezTo>
                            <a:pt x="2691" y="744"/>
                            <a:pt x="2811" y="684"/>
                            <a:pt x="2931" y="684"/>
                          </a:cubicBezTo>
                          <a:cubicBezTo>
                            <a:pt x="3050" y="684"/>
                            <a:pt x="3170" y="684"/>
                            <a:pt x="3290" y="684"/>
                          </a:cubicBezTo>
                          <a:cubicBezTo>
                            <a:pt x="3409" y="684"/>
                            <a:pt x="3529" y="684"/>
                            <a:pt x="3589" y="744"/>
                          </a:cubicBezTo>
                          <a:cubicBezTo>
                            <a:pt x="3649" y="804"/>
                            <a:pt x="3768" y="804"/>
                            <a:pt x="3888" y="804"/>
                          </a:cubicBezTo>
                          <a:cubicBezTo>
                            <a:pt x="4007" y="864"/>
                            <a:pt x="4067" y="864"/>
                            <a:pt x="4127" y="924"/>
                          </a:cubicBezTo>
                          <a:cubicBezTo>
                            <a:pt x="4127" y="924"/>
                            <a:pt x="4187" y="984"/>
                            <a:pt x="4187" y="984"/>
                          </a:cubicBezTo>
                          <a:cubicBezTo>
                            <a:pt x="4187" y="984"/>
                            <a:pt x="4246" y="1043"/>
                            <a:pt x="4246" y="1043"/>
                          </a:cubicBezTo>
                          <a:cubicBezTo>
                            <a:pt x="4246" y="1103"/>
                            <a:pt x="4306" y="1103"/>
                            <a:pt x="4306" y="1163"/>
                          </a:cubicBezTo>
                          <a:cubicBezTo>
                            <a:pt x="4306" y="1223"/>
                            <a:pt x="4366" y="1223"/>
                            <a:pt x="4366" y="1283"/>
                          </a:cubicBezTo>
                          <a:lnTo>
                            <a:pt x="4366" y="1283"/>
                          </a:lnTo>
                          <a:cubicBezTo>
                            <a:pt x="4366" y="1283"/>
                            <a:pt x="4366" y="1283"/>
                            <a:pt x="4366" y="1283"/>
                          </a:cubicBezTo>
                          <a:lnTo>
                            <a:pt x="4366" y="1283"/>
                          </a:lnTo>
                          <a:lnTo>
                            <a:pt x="4366" y="1283"/>
                          </a:lnTo>
                          <a:cubicBezTo>
                            <a:pt x="4366" y="1343"/>
                            <a:pt x="4426" y="1402"/>
                            <a:pt x="4426" y="1462"/>
                          </a:cubicBezTo>
                          <a:cubicBezTo>
                            <a:pt x="4426" y="1522"/>
                            <a:pt x="4486" y="1582"/>
                            <a:pt x="4486" y="1642"/>
                          </a:cubicBezTo>
                          <a:cubicBezTo>
                            <a:pt x="4486" y="1701"/>
                            <a:pt x="4486" y="1761"/>
                            <a:pt x="4486" y="1821"/>
                          </a:cubicBezTo>
                          <a:cubicBezTo>
                            <a:pt x="4486" y="1881"/>
                            <a:pt x="4486" y="1940"/>
                            <a:pt x="4486" y="2000"/>
                          </a:cubicBezTo>
                          <a:cubicBezTo>
                            <a:pt x="4486" y="2000"/>
                            <a:pt x="4486" y="2060"/>
                            <a:pt x="4486" y="2060"/>
                          </a:cubicBezTo>
                          <a:cubicBezTo>
                            <a:pt x="4486" y="2060"/>
                            <a:pt x="4486" y="2120"/>
                            <a:pt x="4486" y="2120"/>
                          </a:cubicBezTo>
                          <a:cubicBezTo>
                            <a:pt x="4486" y="2120"/>
                            <a:pt x="4486" y="2180"/>
                            <a:pt x="4486" y="2180"/>
                          </a:cubicBezTo>
                          <a:cubicBezTo>
                            <a:pt x="4486" y="2180"/>
                            <a:pt x="4486" y="2239"/>
                            <a:pt x="4486" y="2239"/>
                          </a:cubicBezTo>
                          <a:cubicBezTo>
                            <a:pt x="4426" y="2419"/>
                            <a:pt x="4366" y="2598"/>
                            <a:pt x="4246" y="2778"/>
                          </a:cubicBezTo>
                          <a:cubicBezTo>
                            <a:pt x="4127" y="2957"/>
                            <a:pt x="4007" y="3137"/>
                            <a:pt x="3888" y="3256"/>
                          </a:cubicBezTo>
                          <a:cubicBezTo>
                            <a:pt x="3768" y="3376"/>
                            <a:pt x="3589" y="3555"/>
                            <a:pt x="3409" y="3675"/>
                          </a:cubicBezTo>
                          <a:cubicBezTo>
                            <a:pt x="3230" y="3794"/>
                            <a:pt x="3050" y="3914"/>
                            <a:pt x="2871" y="3974"/>
                          </a:cubicBezTo>
                          <a:cubicBezTo>
                            <a:pt x="2871" y="3974"/>
                            <a:pt x="2811" y="3974"/>
                            <a:pt x="2811" y="3974"/>
                          </a:cubicBezTo>
                          <a:cubicBezTo>
                            <a:pt x="2811" y="3974"/>
                            <a:pt x="2751" y="3974"/>
                            <a:pt x="2751" y="3974"/>
                          </a:cubicBezTo>
                          <a:cubicBezTo>
                            <a:pt x="2751" y="3974"/>
                            <a:pt x="2691" y="3974"/>
                            <a:pt x="2691" y="3974"/>
                          </a:cubicBezTo>
                          <a:cubicBezTo>
                            <a:pt x="2691" y="3974"/>
                            <a:pt x="2632" y="3974"/>
                            <a:pt x="2632" y="3974"/>
                          </a:cubicBezTo>
                          <a:cubicBezTo>
                            <a:pt x="2572" y="3974"/>
                            <a:pt x="2512" y="4034"/>
                            <a:pt x="2392" y="4034"/>
                          </a:cubicBezTo>
                          <a:cubicBezTo>
                            <a:pt x="2333" y="4034"/>
                            <a:pt x="2273" y="4034"/>
                            <a:pt x="2213" y="4034"/>
                          </a:cubicBezTo>
                          <a:cubicBezTo>
                            <a:pt x="2153" y="4034"/>
                            <a:pt x="2093" y="4034"/>
                            <a:pt x="2034" y="4034"/>
                          </a:cubicBezTo>
                          <a:cubicBezTo>
                            <a:pt x="1854" y="4213"/>
                            <a:pt x="1795" y="4213"/>
                            <a:pt x="1735" y="4213"/>
                          </a:cubicBezTo>
                          <a:moveTo>
                            <a:pt x="778" y="4811"/>
                          </a:moveTo>
                          <a:cubicBezTo>
                            <a:pt x="778" y="4811"/>
                            <a:pt x="837" y="4871"/>
                            <a:pt x="837" y="4871"/>
                          </a:cubicBezTo>
                          <a:cubicBezTo>
                            <a:pt x="837" y="4871"/>
                            <a:pt x="897" y="4871"/>
                            <a:pt x="897" y="4931"/>
                          </a:cubicBezTo>
                          <a:cubicBezTo>
                            <a:pt x="897" y="4991"/>
                            <a:pt x="957" y="4931"/>
                            <a:pt x="957" y="4991"/>
                          </a:cubicBezTo>
                          <a:cubicBezTo>
                            <a:pt x="957" y="4991"/>
                            <a:pt x="1017" y="4991"/>
                            <a:pt x="1017" y="5051"/>
                          </a:cubicBezTo>
                          <a:cubicBezTo>
                            <a:pt x="1076" y="5051"/>
                            <a:pt x="1136" y="5110"/>
                            <a:pt x="1196" y="5110"/>
                          </a:cubicBezTo>
                          <a:cubicBezTo>
                            <a:pt x="1256" y="5110"/>
                            <a:pt x="1316" y="5170"/>
                            <a:pt x="1376" y="5170"/>
                          </a:cubicBezTo>
                          <a:cubicBezTo>
                            <a:pt x="1436" y="5170"/>
                            <a:pt x="1495" y="5170"/>
                            <a:pt x="1615" y="5170"/>
                          </a:cubicBezTo>
                          <a:cubicBezTo>
                            <a:pt x="1675" y="5170"/>
                            <a:pt x="1735" y="5170"/>
                            <a:pt x="1854" y="5170"/>
                          </a:cubicBezTo>
                          <a:cubicBezTo>
                            <a:pt x="1914" y="5170"/>
                            <a:pt x="1914" y="5170"/>
                            <a:pt x="1974" y="5170"/>
                          </a:cubicBezTo>
                          <a:cubicBezTo>
                            <a:pt x="2034" y="5170"/>
                            <a:pt x="2093" y="5170"/>
                            <a:pt x="2093" y="5170"/>
                          </a:cubicBezTo>
                          <a:cubicBezTo>
                            <a:pt x="2153" y="5170"/>
                            <a:pt x="2213" y="5170"/>
                            <a:pt x="2213" y="5170"/>
                          </a:cubicBezTo>
                          <a:cubicBezTo>
                            <a:pt x="2273" y="5170"/>
                            <a:pt x="2333" y="5170"/>
                            <a:pt x="2333" y="5110"/>
                          </a:cubicBezTo>
                          <a:cubicBezTo>
                            <a:pt x="2572" y="5051"/>
                            <a:pt x="2871" y="4931"/>
                            <a:pt x="3110" y="4811"/>
                          </a:cubicBezTo>
                          <a:cubicBezTo>
                            <a:pt x="3349" y="4692"/>
                            <a:pt x="3589" y="4512"/>
                            <a:pt x="3828" y="4333"/>
                          </a:cubicBezTo>
                          <a:cubicBezTo>
                            <a:pt x="4067" y="4153"/>
                            <a:pt x="4246" y="3914"/>
                            <a:pt x="4426" y="3675"/>
                          </a:cubicBezTo>
                          <a:cubicBezTo>
                            <a:pt x="4605" y="3436"/>
                            <a:pt x="4725" y="3197"/>
                            <a:pt x="4844" y="2957"/>
                          </a:cubicBezTo>
                          <a:cubicBezTo>
                            <a:pt x="4904" y="2897"/>
                            <a:pt x="4904" y="2778"/>
                            <a:pt x="4964" y="2718"/>
                          </a:cubicBezTo>
                          <a:cubicBezTo>
                            <a:pt x="5024" y="2658"/>
                            <a:pt x="5024" y="2538"/>
                            <a:pt x="5024" y="2479"/>
                          </a:cubicBezTo>
                          <a:cubicBezTo>
                            <a:pt x="5024" y="2419"/>
                            <a:pt x="5084" y="2299"/>
                            <a:pt x="5084" y="2239"/>
                          </a:cubicBezTo>
                          <a:cubicBezTo>
                            <a:pt x="5084" y="2180"/>
                            <a:pt x="5144" y="2060"/>
                            <a:pt x="5144" y="2000"/>
                          </a:cubicBezTo>
                          <a:cubicBezTo>
                            <a:pt x="5144" y="2000"/>
                            <a:pt x="5144" y="2000"/>
                            <a:pt x="5144" y="2000"/>
                          </a:cubicBezTo>
                          <a:cubicBezTo>
                            <a:pt x="5144" y="2000"/>
                            <a:pt x="5144" y="2000"/>
                            <a:pt x="5144" y="2000"/>
                          </a:cubicBezTo>
                          <a:cubicBezTo>
                            <a:pt x="5144" y="2000"/>
                            <a:pt x="5144" y="2000"/>
                            <a:pt x="5144" y="2000"/>
                          </a:cubicBezTo>
                          <a:cubicBezTo>
                            <a:pt x="5144" y="2000"/>
                            <a:pt x="5144" y="2000"/>
                            <a:pt x="5144" y="2000"/>
                          </a:cubicBezTo>
                          <a:cubicBezTo>
                            <a:pt x="5144" y="1940"/>
                            <a:pt x="5144" y="1881"/>
                            <a:pt x="5144" y="1881"/>
                          </a:cubicBezTo>
                          <a:cubicBezTo>
                            <a:pt x="5144" y="1881"/>
                            <a:pt x="5144" y="1761"/>
                            <a:pt x="5144" y="1761"/>
                          </a:cubicBezTo>
                          <a:cubicBezTo>
                            <a:pt x="5144" y="1761"/>
                            <a:pt x="5144" y="1701"/>
                            <a:pt x="5144" y="1642"/>
                          </a:cubicBezTo>
                          <a:cubicBezTo>
                            <a:pt x="5144" y="1582"/>
                            <a:pt x="5144" y="1582"/>
                            <a:pt x="5144" y="1522"/>
                          </a:cubicBezTo>
                          <a:cubicBezTo>
                            <a:pt x="5144" y="1462"/>
                            <a:pt x="5144" y="1402"/>
                            <a:pt x="5084" y="1283"/>
                          </a:cubicBezTo>
                          <a:cubicBezTo>
                            <a:pt x="5084" y="1223"/>
                            <a:pt x="5024" y="1163"/>
                            <a:pt x="5024" y="1103"/>
                          </a:cubicBezTo>
                          <a:cubicBezTo>
                            <a:pt x="5024" y="1043"/>
                            <a:pt x="4964" y="984"/>
                            <a:pt x="4964" y="924"/>
                          </a:cubicBezTo>
                          <a:cubicBezTo>
                            <a:pt x="4964" y="864"/>
                            <a:pt x="4904" y="804"/>
                            <a:pt x="4844" y="744"/>
                          </a:cubicBezTo>
                          <a:cubicBezTo>
                            <a:pt x="4844" y="744"/>
                            <a:pt x="4844" y="744"/>
                            <a:pt x="4844" y="744"/>
                          </a:cubicBezTo>
                          <a:cubicBezTo>
                            <a:pt x="4844" y="744"/>
                            <a:pt x="4844" y="744"/>
                            <a:pt x="4844" y="744"/>
                          </a:cubicBezTo>
                          <a:cubicBezTo>
                            <a:pt x="4844" y="744"/>
                            <a:pt x="4844" y="744"/>
                            <a:pt x="4844" y="744"/>
                          </a:cubicBezTo>
                          <a:cubicBezTo>
                            <a:pt x="4844" y="744"/>
                            <a:pt x="4844" y="744"/>
                            <a:pt x="4844" y="744"/>
                          </a:cubicBezTo>
                          <a:cubicBezTo>
                            <a:pt x="4844" y="684"/>
                            <a:pt x="4785" y="684"/>
                            <a:pt x="4785" y="625"/>
                          </a:cubicBezTo>
                          <a:cubicBezTo>
                            <a:pt x="4785" y="625"/>
                            <a:pt x="4725" y="565"/>
                            <a:pt x="4725" y="565"/>
                          </a:cubicBezTo>
                          <a:cubicBezTo>
                            <a:pt x="4725" y="565"/>
                            <a:pt x="4665" y="505"/>
                            <a:pt x="4665" y="505"/>
                          </a:cubicBezTo>
                          <a:cubicBezTo>
                            <a:pt x="4665" y="505"/>
                            <a:pt x="4605" y="445"/>
                            <a:pt x="4605" y="445"/>
                          </a:cubicBezTo>
                          <a:lnTo>
                            <a:pt x="4545" y="326"/>
                          </a:lnTo>
                          <a:cubicBezTo>
                            <a:pt x="4426" y="266"/>
                            <a:pt x="4306" y="206"/>
                            <a:pt x="4187" y="146"/>
                          </a:cubicBezTo>
                          <a:cubicBezTo>
                            <a:pt x="4067" y="86"/>
                            <a:pt x="3947" y="86"/>
                            <a:pt x="3768" y="27"/>
                          </a:cubicBezTo>
                          <a:cubicBezTo>
                            <a:pt x="3589" y="-33"/>
                            <a:pt x="3469" y="27"/>
                            <a:pt x="3349" y="27"/>
                          </a:cubicBezTo>
                          <a:cubicBezTo>
                            <a:pt x="3230" y="27"/>
                            <a:pt x="3050" y="86"/>
                            <a:pt x="2871" y="86"/>
                          </a:cubicBezTo>
                          <a:cubicBezTo>
                            <a:pt x="2691" y="146"/>
                            <a:pt x="2512" y="206"/>
                            <a:pt x="2333" y="266"/>
                          </a:cubicBezTo>
                          <a:cubicBezTo>
                            <a:pt x="2153" y="326"/>
                            <a:pt x="1974" y="445"/>
                            <a:pt x="1854" y="505"/>
                          </a:cubicBezTo>
                          <a:cubicBezTo>
                            <a:pt x="1675" y="625"/>
                            <a:pt x="1555" y="744"/>
                            <a:pt x="1376" y="864"/>
                          </a:cubicBezTo>
                          <a:cubicBezTo>
                            <a:pt x="1256" y="984"/>
                            <a:pt x="1076" y="1163"/>
                            <a:pt x="957" y="1283"/>
                          </a:cubicBezTo>
                          <a:cubicBezTo>
                            <a:pt x="837" y="1462"/>
                            <a:pt x="718" y="1582"/>
                            <a:pt x="598" y="1761"/>
                          </a:cubicBezTo>
                          <a:cubicBezTo>
                            <a:pt x="479" y="1940"/>
                            <a:pt x="419" y="2120"/>
                            <a:pt x="299" y="2299"/>
                          </a:cubicBezTo>
                          <a:cubicBezTo>
                            <a:pt x="180" y="2479"/>
                            <a:pt x="180" y="2658"/>
                            <a:pt x="120" y="2838"/>
                          </a:cubicBezTo>
                          <a:cubicBezTo>
                            <a:pt x="60" y="3017"/>
                            <a:pt x="60" y="3197"/>
                            <a:pt x="0" y="3376"/>
                          </a:cubicBezTo>
                          <a:cubicBezTo>
                            <a:pt x="0" y="3555"/>
                            <a:pt x="0" y="3735"/>
                            <a:pt x="0" y="3914"/>
                          </a:cubicBezTo>
                          <a:cubicBezTo>
                            <a:pt x="0" y="4093"/>
                            <a:pt x="60" y="4273"/>
                            <a:pt x="120" y="4392"/>
                          </a:cubicBezTo>
                          <a:cubicBezTo>
                            <a:pt x="180" y="4512"/>
                            <a:pt x="239" y="4692"/>
                            <a:pt x="359" y="4811"/>
                          </a:cubicBezTo>
                          <a:cubicBezTo>
                            <a:pt x="479" y="4931"/>
                            <a:pt x="658" y="4751"/>
                            <a:pt x="778" y="4811"/>
                          </a:cubicBezTo>
                        </a:path>
                      </a:pathLst>
                    </a:custGeom>
                    <a:noFill/>
                    <a:ln w="6350" cap="flat">
                      <a:solidFill>
                        <a:schemeClr val="bg1">
                          <a:alpha val="80000"/>
                        </a:schemeClr>
                      </a:solidFill>
                      <a:prstDash val="solid"/>
                      <a:miter/>
                    </a:ln>
                  </p:spPr>
                  <p:txBody>
                    <a:bodyPr rtlCol="0" anchor="ctr"/>
                    <a:lstStyle/>
                    <a:p>
                      <a:endParaRPr lang="en-GB"/>
                    </a:p>
                  </p:txBody>
                </p:sp>
                <p:sp>
                  <p:nvSpPr>
                    <p:cNvPr id="7429" name="Vrije vorm: vorm 7428">
                      <a:extLst>
                        <a:ext uri="{FF2B5EF4-FFF2-40B4-BE49-F238E27FC236}">
                          <a16:creationId xmlns:a16="http://schemas.microsoft.com/office/drawing/2014/main" id="{7C97D062-7A50-44CC-BCBD-0553B9D5B7BA}"/>
                        </a:ext>
                      </a:extLst>
                    </p:cNvPr>
                    <p:cNvSpPr/>
                    <p:nvPr/>
                  </p:nvSpPr>
                  <p:spPr>
                    <a:xfrm>
                      <a:off x="4844703" y="5157037"/>
                      <a:ext cx="37439" cy="73323"/>
                    </a:xfrm>
                    <a:custGeom>
                      <a:avLst/>
                      <a:gdLst>
                        <a:gd name="connsiteX0" fmla="*/ 19378 w 37439"/>
                        <a:gd name="connsiteY0" fmla="*/ 5861 h 73323"/>
                        <a:gd name="connsiteX1" fmla="*/ 20155 w 37439"/>
                        <a:gd name="connsiteY1" fmla="*/ 4844 h 73323"/>
                        <a:gd name="connsiteX2" fmla="*/ 19557 w 37439"/>
                        <a:gd name="connsiteY2" fmla="*/ 4426 h 73323"/>
                        <a:gd name="connsiteX3" fmla="*/ 18959 w 37439"/>
                        <a:gd name="connsiteY3" fmla="*/ 4007 h 73323"/>
                        <a:gd name="connsiteX4" fmla="*/ 18361 w 37439"/>
                        <a:gd name="connsiteY4" fmla="*/ 3588 h 73323"/>
                        <a:gd name="connsiteX5" fmla="*/ 17703 w 37439"/>
                        <a:gd name="connsiteY5" fmla="*/ 3170 h 73323"/>
                        <a:gd name="connsiteX6" fmla="*/ 18720 w 37439"/>
                        <a:gd name="connsiteY6" fmla="*/ 1854 h 73323"/>
                        <a:gd name="connsiteX7" fmla="*/ 19378 w 37439"/>
                        <a:gd name="connsiteY7" fmla="*/ 2273 h 73323"/>
                        <a:gd name="connsiteX8" fmla="*/ 19976 w 37439"/>
                        <a:gd name="connsiteY8" fmla="*/ 2691 h 73323"/>
                        <a:gd name="connsiteX9" fmla="*/ 20574 w 37439"/>
                        <a:gd name="connsiteY9" fmla="*/ 3110 h 73323"/>
                        <a:gd name="connsiteX10" fmla="*/ 21172 w 37439"/>
                        <a:gd name="connsiteY10" fmla="*/ 3528 h 73323"/>
                        <a:gd name="connsiteX11" fmla="*/ 21950 w 37439"/>
                        <a:gd name="connsiteY11" fmla="*/ 2512 h 73323"/>
                        <a:gd name="connsiteX12" fmla="*/ 21232 w 37439"/>
                        <a:gd name="connsiteY12" fmla="*/ 1974 h 73323"/>
                        <a:gd name="connsiteX13" fmla="*/ 20514 w 37439"/>
                        <a:gd name="connsiteY13" fmla="*/ 1435 h 73323"/>
                        <a:gd name="connsiteX14" fmla="*/ 19796 w 37439"/>
                        <a:gd name="connsiteY14" fmla="*/ 897 h 73323"/>
                        <a:gd name="connsiteX15" fmla="*/ 19019 w 37439"/>
                        <a:gd name="connsiteY15" fmla="*/ 359 h 73323"/>
                        <a:gd name="connsiteX16" fmla="*/ 18540 w 37439"/>
                        <a:gd name="connsiteY16" fmla="*/ 0 h 73323"/>
                        <a:gd name="connsiteX17" fmla="*/ 15909 w 37439"/>
                        <a:gd name="connsiteY17" fmla="*/ 3289 h 73323"/>
                        <a:gd name="connsiteX18" fmla="*/ 16387 w 37439"/>
                        <a:gd name="connsiteY18" fmla="*/ 3648 h 73323"/>
                        <a:gd name="connsiteX19" fmla="*/ 17165 w 37439"/>
                        <a:gd name="connsiteY19" fmla="*/ 4187 h 73323"/>
                        <a:gd name="connsiteX20" fmla="*/ 17883 w 37439"/>
                        <a:gd name="connsiteY20" fmla="*/ 4725 h 73323"/>
                        <a:gd name="connsiteX21" fmla="*/ 18600 w 37439"/>
                        <a:gd name="connsiteY21" fmla="*/ 5263 h 73323"/>
                        <a:gd name="connsiteX22" fmla="*/ 19378 w 37439"/>
                        <a:gd name="connsiteY22" fmla="*/ 5861 h 73323"/>
                        <a:gd name="connsiteX23" fmla="*/ 33671 w 37439"/>
                        <a:gd name="connsiteY23" fmla="*/ 20873 h 73323"/>
                        <a:gd name="connsiteX24" fmla="*/ 33492 w 37439"/>
                        <a:gd name="connsiteY24" fmla="*/ 20394 h 73323"/>
                        <a:gd name="connsiteX25" fmla="*/ 33313 w 37439"/>
                        <a:gd name="connsiteY25" fmla="*/ 19916 h 73323"/>
                        <a:gd name="connsiteX26" fmla="*/ 33074 w 37439"/>
                        <a:gd name="connsiteY26" fmla="*/ 19437 h 73323"/>
                        <a:gd name="connsiteX27" fmla="*/ 32834 w 37439"/>
                        <a:gd name="connsiteY27" fmla="*/ 18959 h 73323"/>
                        <a:gd name="connsiteX28" fmla="*/ 32535 w 37439"/>
                        <a:gd name="connsiteY28" fmla="*/ 18361 h 73323"/>
                        <a:gd name="connsiteX29" fmla="*/ 32236 w 37439"/>
                        <a:gd name="connsiteY29" fmla="*/ 17763 h 73323"/>
                        <a:gd name="connsiteX30" fmla="*/ 31877 w 37439"/>
                        <a:gd name="connsiteY30" fmla="*/ 17165 h 73323"/>
                        <a:gd name="connsiteX31" fmla="*/ 31519 w 37439"/>
                        <a:gd name="connsiteY31" fmla="*/ 16567 h 73323"/>
                        <a:gd name="connsiteX32" fmla="*/ 29605 w 37439"/>
                        <a:gd name="connsiteY32" fmla="*/ 13875 h 73323"/>
                        <a:gd name="connsiteX33" fmla="*/ 27213 w 37439"/>
                        <a:gd name="connsiteY33" fmla="*/ 11184 h 73323"/>
                        <a:gd name="connsiteX34" fmla="*/ 24401 w 37439"/>
                        <a:gd name="connsiteY34" fmla="*/ 8493 h 73323"/>
                        <a:gd name="connsiteX35" fmla="*/ 21112 w 37439"/>
                        <a:gd name="connsiteY35" fmla="*/ 5801 h 73323"/>
                        <a:gd name="connsiteX36" fmla="*/ 20335 w 37439"/>
                        <a:gd name="connsiteY36" fmla="*/ 6818 h 73323"/>
                        <a:gd name="connsiteX37" fmla="*/ 22727 w 37439"/>
                        <a:gd name="connsiteY37" fmla="*/ 8791 h 73323"/>
                        <a:gd name="connsiteX38" fmla="*/ 24880 w 37439"/>
                        <a:gd name="connsiteY38" fmla="*/ 10705 h 73323"/>
                        <a:gd name="connsiteX39" fmla="*/ 26794 w 37439"/>
                        <a:gd name="connsiteY39" fmla="*/ 12619 h 73323"/>
                        <a:gd name="connsiteX40" fmla="*/ 28468 w 37439"/>
                        <a:gd name="connsiteY40" fmla="*/ 14533 h 73323"/>
                        <a:gd name="connsiteX41" fmla="*/ 29067 w 37439"/>
                        <a:gd name="connsiteY41" fmla="*/ 15251 h 73323"/>
                        <a:gd name="connsiteX42" fmla="*/ 29605 w 37439"/>
                        <a:gd name="connsiteY42" fmla="*/ 15968 h 73323"/>
                        <a:gd name="connsiteX43" fmla="*/ 30083 w 37439"/>
                        <a:gd name="connsiteY43" fmla="*/ 16686 h 73323"/>
                        <a:gd name="connsiteX44" fmla="*/ 30562 w 37439"/>
                        <a:gd name="connsiteY44" fmla="*/ 17404 h 73323"/>
                        <a:gd name="connsiteX45" fmla="*/ 30741 w 37439"/>
                        <a:gd name="connsiteY45" fmla="*/ 17703 h 73323"/>
                        <a:gd name="connsiteX46" fmla="*/ 30921 w 37439"/>
                        <a:gd name="connsiteY46" fmla="*/ 18002 h 73323"/>
                        <a:gd name="connsiteX47" fmla="*/ 31100 w 37439"/>
                        <a:gd name="connsiteY47" fmla="*/ 18301 h 73323"/>
                        <a:gd name="connsiteX48" fmla="*/ 31279 w 37439"/>
                        <a:gd name="connsiteY48" fmla="*/ 18600 h 73323"/>
                        <a:gd name="connsiteX49" fmla="*/ 31937 w 37439"/>
                        <a:gd name="connsiteY49" fmla="*/ 19198 h 73323"/>
                        <a:gd name="connsiteX50" fmla="*/ 32595 w 37439"/>
                        <a:gd name="connsiteY50" fmla="*/ 19796 h 73323"/>
                        <a:gd name="connsiteX51" fmla="*/ 33193 w 37439"/>
                        <a:gd name="connsiteY51" fmla="*/ 20394 h 73323"/>
                        <a:gd name="connsiteX52" fmla="*/ 33671 w 37439"/>
                        <a:gd name="connsiteY52" fmla="*/ 20873 h 73323"/>
                        <a:gd name="connsiteX53" fmla="*/ 37380 w 37439"/>
                        <a:gd name="connsiteY53" fmla="*/ 25119 h 73323"/>
                        <a:gd name="connsiteX54" fmla="*/ 37320 w 37439"/>
                        <a:gd name="connsiteY54" fmla="*/ 24222 h 73323"/>
                        <a:gd name="connsiteX55" fmla="*/ 37200 w 37439"/>
                        <a:gd name="connsiteY55" fmla="*/ 23325 h 73323"/>
                        <a:gd name="connsiteX56" fmla="*/ 37021 w 37439"/>
                        <a:gd name="connsiteY56" fmla="*/ 22428 h 73323"/>
                        <a:gd name="connsiteX57" fmla="*/ 36841 w 37439"/>
                        <a:gd name="connsiteY57" fmla="*/ 21530 h 73323"/>
                        <a:gd name="connsiteX58" fmla="*/ 36722 w 37439"/>
                        <a:gd name="connsiteY58" fmla="*/ 21052 h 73323"/>
                        <a:gd name="connsiteX59" fmla="*/ 36602 w 37439"/>
                        <a:gd name="connsiteY59" fmla="*/ 20574 h 73323"/>
                        <a:gd name="connsiteX60" fmla="*/ 36483 w 37439"/>
                        <a:gd name="connsiteY60" fmla="*/ 20095 h 73323"/>
                        <a:gd name="connsiteX61" fmla="*/ 36303 w 37439"/>
                        <a:gd name="connsiteY61" fmla="*/ 19617 h 73323"/>
                        <a:gd name="connsiteX62" fmla="*/ 34389 w 37439"/>
                        <a:gd name="connsiteY62" fmla="*/ 15490 h 73323"/>
                        <a:gd name="connsiteX63" fmla="*/ 31519 w 37439"/>
                        <a:gd name="connsiteY63" fmla="*/ 11364 h 73323"/>
                        <a:gd name="connsiteX64" fmla="*/ 27691 w 37439"/>
                        <a:gd name="connsiteY64" fmla="*/ 7296 h 73323"/>
                        <a:gd name="connsiteX65" fmla="*/ 22906 w 37439"/>
                        <a:gd name="connsiteY65" fmla="*/ 3229 h 73323"/>
                        <a:gd name="connsiteX66" fmla="*/ 22129 w 37439"/>
                        <a:gd name="connsiteY66" fmla="*/ 4246 h 73323"/>
                        <a:gd name="connsiteX67" fmla="*/ 26315 w 37439"/>
                        <a:gd name="connsiteY67" fmla="*/ 7775 h 73323"/>
                        <a:gd name="connsiteX68" fmla="*/ 29784 w 37439"/>
                        <a:gd name="connsiteY68" fmla="*/ 11304 h 73323"/>
                        <a:gd name="connsiteX69" fmla="*/ 32476 w 37439"/>
                        <a:gd name="connsiteY69" fmla="*/ 14832 h 73323"/>
                        <a:gd name="connsiteX70" fmla="*/ 34449 w 37439"/>
                        <a:gd name="connsiteY70" fmla="*/ 18361 h 73323"/>
                        <a:gd name="connsiteX71" fmla="*/ 34688 w 37439"/>
                        <a:gd name="connsiteY71" fmla="*/ 18899 h 73323"/>
                        <a:gd name="connsiteX72" fmla="*/ 34928 w 37439"/>
                        <a:gd name="connsiteY72" fmla="*/ 19437 h 73323"/>
                        <a:gd name="connsiteX73" fmla="*/ 35107 w 37439"/>
                        <a:gd name="connsiteY73" fmla="*/ 19975 h 73323"/>
                        <a:gd name="connsiteX74" fmla="*/ 35286 w 37439"/>
                        <a:gd name="connsiteY74" fmla="*/ 20514 h 73323"/>
                        <a:gd name="connsiteX75" fmla="*/ 35526 w 37439"/>
                        <a:gd name="connsiteY75" fmla="*/ 21231 h 73323"/>
                        <a:gd name="connsiteX76" fmla="*/ 35705 w 37439"/>
                        <a:gd name="connsiteY76" fmla="*/ 21949 h 73323"/>
                        <a:gd name="connsiteX77" fmla="*/ 35884 w 37439"/>
                        <a:gd name="connsiteY77" fmla="*/ 22667 h 73323"/>
                        <a:gd name="connsiteX78" fmla="*/ 36004 w 37439"/>
                        <a:gd name="connsiteY78" fmla="*/ 23384 h 73323"/>
                        <a:gd name="connsiteX79" fmla="*/ 36363 w 37439"/>
                        <a:gd name="connsiteY79" fmla="*/ 23803 h 73323"/>
                        <a:gd name="connsiteX80" fmla="*/ 36722 w 37439"/>
                        <a:gd name="connsiteY80" fmla="*/ 24222 h 73323"/>
                        <a:gd name="connsiteX81" fmla="*/ 37081 w 37439"/>
                        <a:gd name="connsiteY81" fmla="*/ 24641 h 73323"/>
                        <a:gd name="connsiteX82" fmla="*/ 37380 w 37439"/>
                        <a:gd name="connsiteY82" fmla="*/ 25119 h 73323"/>
                        <a:gd name="connsiteX83" fmla="*/ 34688 w 37439"/>
                        <a:gd name="connsiteY83" fmla="*/ 26315 h 73323"/>
                        <a:gd name="connsiteX84" fmla="*/ 34629 w 37439"/>
                        <a:gd name="connsiteY84" fmla="*/ 25597 h 73323"/>
                        <a:gd name="connsiteX85" fmla="*/ 34569 w 37439"/>
                        <a:gd name="connsiteY85" fmla="*/ 24880 h 73323"/>
                        <a:gd name="connsiteX86" fmla="*/ 34449 w 37439"/>
                        <a:gd name="connsiteY86" fmla="*/ 24162 h 73323"/>
                        <a:gd name="connsiteX87" fmla="*/ 34330 w 37439"/>
                        <a:gd name="connsiteY87" fmla="*/ 23444 h 73323"/>
                        <a:gd name="connsiteX88" fmla="*/ 33911 w 37439"/>
                        <a:gd name="connsiteY88" fmla="*/ 22966 h 73323"/>
                        <a:gd name="connsiteX89" fmla="*/ 33432 w 37439"/>
                        <a:gd name="connsiteY89" fmla="*/ 22488 h 73323"/>
                        <a:gd name="connsiteX90" fmla="*/ 32954 w 37439"/>
                        <a:gd name="connsiteY90" fmla="*/ 22009 h 73323"/>
                        <a:gd name="connsiteX91" fmla="*/ 32476 w 37439"/>
                        <a:gd name="connsiteY91" fmla="*/ 21530 h 73323"/>
                        <a:gd name="connsiteX92" fmla="*/ 32715 w 37439"/>
                        <a:gd name="connsiteY92" fmla="*/ 22308 h 73323"/>
                        <a:gd name="connsiteX93" fmla="*/ 32954 w 37439"/>
                        <a:gd name="connsiteY93" fmla="*/ 23145 h 73323"/>
                        <a:gd name="connsiteX94" fmla="*/ 33133 w 37439"/>
                        <a:gd name="connsiteY94" fmla="*/ 23983 h 73323"/>
                        <a:gd name="connsiteX95" fmla="*/ 33253 w 37439"/>
                        <a:gd name="connsiteY95" fmla="*/ 24820 h 73323"/>
                        <a:gd name="connsiteX96" fmla="*/ 33612 w 37439"/>
                        <a:gd name="connsiteY96" fmla="*/ 25238 h 73323"/>
                        <a:gd name="connsiteX97" fmla="*/ 33971 w 37439"/>
                        <a:gd name="connsiteY97" fmla="*/ 25657 h 73323"/>
                        <a:gd name="connsiteX98" fmla="*/ 34330 w 37439"/>
                        <a:gd name="connsiteY98" fmla="*/ 26076 h 73323"/>
                        <a:gd name="connsiteX99" fmla="*/ 34688 w 37439"/>
                        <a:gd name="connsiteY99" fmla="*/ 26315 h 73323"/>
                        <a:gd name="connsiteX100" fmla="*/ 37200 w 37439"/>
                        <a:gd name="connsiteY100" fmla="*/ 29724 h 73323"/>
                        <a:gd name="connsiteX101" fmla="*/ 37260 w 37439"/>
                        <a:gd name="connsiteY101" fmla="*/ 29126 h 73323"/>
                        <a:gd name="connsiteX102" fmla="*/ 37320 w 37439"/>
                        <a:gd name="connsiteY102" fmla="*/ 28468 h 73323"/>
                        <a:gd name="connsiteX103" fmla="*/ 37380 w 37439"/>
                        <a:gd name="connsiteY103" fmla="*/ 27811 h 73323"/>
                        <a:gd name="connsiteX104" fmla="*/ 37439 w 37439"/>
                        <a:gd name="connsiteY104" fmla="*/ 27152 h 73323"/>
                        <a:gd name="connsiteX105" fmla="*/ 37140 w 37439"/>
                        <a:gd name="connsiteY105" fmla="*/ 26794 h 73323"/>
                        <a:gd name="connsiteX106" fmla="*/ 36841 w 37439"/>
                        <a:gd name="connsiteY106" fmla="*/ 26435 h 73323"/>
                        <a:gd name="connsiteX107" fmla="*/ 36542 w 37439"/>
                        <a:gd name="connsiteY107" fmla="*/ 26016 h 73323"/>
                        <a:gd name="connsiteX108" fmla="*/ 36243 w 37439"/>
                        <a:gd name="connsiteY108" fmla="*/ 25597 h 73323"/>
                        <a:gd name="connsiteX109" fmla="*/ 36243 w 37439"/>
                        <a:gd name="connsiteY109" fmla="*/ 25777 h 73323"/>
                        <a:gd name="connsiteX110" fmla="*/ 36243 w 37439"/>
                        <a:gd name="connsiteY110" fmla="*/ 25956 h 73323"/>
                        <a:gd name="connsiteX111" fmla="*/ 36243 w 37439"/>
                        <a:gd name="connsiteY111" fmla="*/ 26136 h 73323"/>
                        <a:gd name="connsiteX112" fmla="*/ 36243 w 37439"/>
                        <a:gd name="connsiteY112" fmla="*/ 26315 h 73323"/>
                        <a:gd name="connsiteX113" fmla="*/ 36243 w 37439"/>
                        <a:gd name="connsiteY113" fmla="*/ 26794 h 73323"/>
                        <a:gd name="connsiteX114" fmla="*/ 36243 w 37439"/>
                        <a:gd name="connsiteY114" fmla="*/ 27272 h 73323"/>
                        <a:gd name="connsiteX115" fmla="*/ 36243 w 37439"/>
                        <a:gd name="connsiteY115" fmla="*/ 27751 h 73323"/>
                        <a:gd name="connsiteX116" fmla="*/ 36184 w 37439"/>
                        <a:gd name="connsiteY116" fmla="*/ 28229 h 73323"/>
                        <a:gd name="connsiteX117" fmla="*/ 36423 w 37439"/>
                        <a:gd name="connsiteY117" fmla="*/ 28588 h 73323"/>
                        <a:gd name="connsiteX118" fmla="*/ 36662 w 37439"/>
                        <a:gd name="connsiteY118" fmla="*/ 28946 h 73323"/>
                        <a:gd name="connsiteX119" fmla="*/ 36901 w 37439"/>
                        <a:gd name="connsiteY119" fmla="*/ 29306 h 73323"/>
                        <a:gd name="connsiteX120" fmla="*/ 37200 w 37439"/>
                        <a:gd name="connsiteY120" fmla="*/ 29724 h 73323"/>
                        <a:gd name="connsiteX121" fmla="*/ 16926 w 37439"/>
                        <a:gd name="connsiteY121" fmla="*/ 57116 h 73323"/>
                        <a:gd name="connsiteX122" fmla="*/ 17883 w 37439"/>
                        <a:gd name="connsiteY122" fmla="*/ 57714 h 73323"/>
                        <a:gd name="connsiteX123" fmla="*/ 20036 w 37439"/>
                        <a:gd name="connsiteY123" fmla="*/ 55621 h 73323"/>
                        <a:gd name="connsiteX124" fmla="*/ 22129 w 37439"/>
                        <a:gd name="connsiteY124" fmla="*/ 53468 h 73323"/>
                        <a:gd name="connsiteX125" fmla="*/ 24162 w 37439"/>
                        <a:gd name="connsiteY125" fmla="*/ 51315 h 73323"/>
                        <a:gd name="connsiteX126" fmla="*/ 26136 w 37439"/>
                        <a:gd name="connsiteY126" fmla="*/ 49161 h 73323"/>
                        <a:gd name="connsiteX127" fmla="*/ 26315 w 37439"/>
                        <a:gd name="connsiteY127" fmla="*/ 48922 h 73323"/>
                        <a:gd name="connsiteX128" fmla="*/ 26495 w 37439"/>
                        <a:gd name="connsiteY128" fmla="*/ 48683 h 73323"/>
                        <a:gd name="connsiteX129" fmla="*/ 26674 w 37439"/>
                        <a:gd name="connsiteY129" fmla="*/ 48444 h 73323"/>
                        <a:gd name="connsiteX130" fmla="*/ 26854 w 37439"/>
                        <a:gd name="connsiteY130" fmla="*/ 48205 h 73323"/>
                        <a:gd name="connsiteX131" fmla="*/ 27930 w 37439"/>
                        <a:gd name="connsiteY131" fmla="*/ 46949 h 73323"/>
                        <a:gd name="connsiteX132" fmla="*/ 28947 w 37439"/>
                        <a:gd name="connsiteY132" fmla="*/ 45693 h 73323"/>
                        <a:gd name="connsiteX133" fmla="*/ 29963 w 37439"/>
                        <a:gd name="connsiteY133" fmla="*/ 44437 h 73323"/>
                        <a:gd name="connsiteX134" fmla="*/ 30921 w 37439"/>
                        <a:gd name="connsiteY134" fmla="*/ 43181 h 73323"/>
                        <a:gd name="connsiteX135" fmla="*/ 31100 w 37439"/>
                        <a:gd name="connsiteY135" fmla="*/ 42942 h 73323"/>
                        <a:gd name="connsiteX136" fmla="*/ 31279 w 37439"/>
                        <a:gd name="connsiteY136" fmla="*/ 42702 h 73323"/>
                        <a:gd name="connsiteX137" fmla="*/ 31459 w 37439"/>
                        <a:gd name="connsiteY137" fmla="*/ 42463 h 73323"/>
                        <a:gd name="connsiteX138" fmla="*/ 31638 w 37439"/>
                        <a:gd name="connsiteY138" fmla="*/ 42224 h 73323"/>
                        <a:gd name="connsiteX139" fmla="*/ 31877 w 37439"/>
                        <a:gd name="connsiteY139" fmla="*/ 41865 h 73323"/>
                        <a:gd name="connsiteX140" fmla="*/ 32116 w 37439"/>
                        <a:gd name="connsiteY140" fmla="*/ 41506 h 73323"/>
                        <a:gd name="connsiteX141" fmla="*/ 32356 w 37439"/>
                        <a:gd name="connsiteY141" fmla="*/ 41147 h 73323"/>
                        <a:gd name="connsiteX142" fmla="*/ 32595 w 37439"/>
                        <a:gd name="connsiteY142" fmla="*/ 40789 h 73323"/>
                        <a:gd name="connsiteX143" fmla="*/ 32775 w 37439"/>
                        <a:gd name="connsiteY143" fmla="*/ 40549 h 73323"/>
                        <a:gd name="connsiteX144" fmla="*/ 32954 w 37439"/>
                        <a:gd name="connsiteY144" fmla="*/ 40310 h 73323"/>
                        <a:gd name="connsiteX145" fmla="*/ 33133 w 37439"/>
                        <a:gd name="connsiteY145" fmla="*/ 40071 h 73323"/>
                        <a:gd name="connsiteX146" fmla="*/ 33313 w 37439"/>
                        <a:gd name="connsiteY146" fmla="*/ 39831 h 73323"/>
                        <a:gd name="connsiteX147" fmla="*/ 33791 w 37439"/>
                        <a:gd name="connsiteY147" fmla="*/ 38994 h 73323"/>
                        <a:gd name="connsiteX148" fmla="*/ 34270 w 37439"/>
                        <a:gd name="connsiteY148" fmla="*/ 38157 h 73323"/>
                        <a:gd name="connsiteX149" fmla="*/ 34688 w 37439"/>
                        <a:gd name="connsiteY149" fmla="*/ 37320 h 73323"/>
                        <a:gd name="connsiteX150" fmla="*/ 35107 w 37439"/>
                        <a:gd name="connsiteY150" fmla="*/ 36482 h 73323"/>
                        <a:gd name="connsiteX151" fmla="*/ 35227 w 37439"/>
                        <a:gd name="connsiteY151" fmla="*/ 36183 h 73323"/>
                        <a:gd name="connsiteX152" fmla="*/ 35346 w 37439"/>
                        <a:gd name="connsiteY152" fmla="*/ 35884 h 73323"/>
                        <a:gd name="connsiteX153" fmla="*/ 35466 w 37439"/>
                        <a:gd name="connsiteY153" fmla="*/ 35585 h 73323"/>
                        <a:gd name="connsiteX154" fmla="*/ 35585 w 37439"/>
                        <a:gd name="connsiteY154" fmla="*/ 35286 h 73323"/>
                        <a:gd name="connsiteX155" fmla="*/ 35884 w 37439"/>
                        <a:gd name="connsiteY155" fmla="*/ 34449 h 73323"/>
                        <a:gd name="connsiteX156" fmla="*/ 36184 w 37439"/>
                        <a:gd name="connsiteY156" fmla="*/ 33612 h 73323"/>
                        <a:gd name="connsiteX157" fmla="*/ 36423 w 37439"/>
                        <a:gd name="connsiteY157" fmla="*/ 32774 h 73323"/>
                        <a:gd name="connsiteX158" fmla="*/ 36662 w 37439"/>
                        <a:gd name="connsiteY158" fmla="*/ 31937 h 73323"/>
                        <a:gd name="connsiteX159" fmla="*/ 36662 w 37439"/>
                        <a:gd name="connsiteY159" fmla="*/ 31817 h 73323"/>
                        <a:gd name="connsiteX160" fmla="*/ 36662 w 37439"/>
                        <a:gd name="connsiteY160" fmla="*/ 31698 h 73323"/>
                        <a:gd name="connsiteX161" fmla="*/ 36662 w 37439"/>
                        <a:gd name="connsiteY161" fmla="*/ 31578 h 73323"/>
                        <a:gd name="connsiteX162" fmla="*/ 36662 w 37439"/>
                        <a:gd name="connsiteY162" fmla="*/ 31459 h 73323"/>
                        <a:gd name="connsiteX163" fmla="*/ 36423 w 37439"/>
                        <a:gd name="connsiteY163" fmla="*/ 31100 h 73323"/>
                        <a:gd name="connsiteX164" fmla="*/ 36184 w 37439"/>
                        <a:gd name="connsiteY164" fmla="*/ 30741 h 73323"/>
                        <a:gd name="connsiteX165" fmla="*/ 35944 w 37439"/>
                        <a:gd name="connsiteY165" fmla="*/ 30382 h 73323"/>
                        <a:gd name="connsiteX166" fmla="*/ 35705 w 37439"/>
                        <a:gd name="connsiteY166" fmla="*/ 30023 h 73323"/>
                        <a:gd name="connsiteX167" fmla="*/ 35645 w 37439"/>
                        <a:gd name="connsiteY167" fmla="*/ 30322 h 73323"/>
                        <a:gd name="connsiteX168" fmla="*/ 35585 w 37439"/>
                        <a:gd name="connsiteY168" fmla="*/ 30621 h 73323"/>
                        <a:gd name="connsiteX169" fmla="*/ 35526 w 37439"/>
                        <a:gd name="connsiteY169" fmla="*/ 30920 h 73323"/>
                        <a:gd name="connsiteX170" fmla="*/ 35466 w 37439"/>
                        <a:gd name="connsiteY170" fmla="*/ 31219 h 73323"/>
                        <a:gd name="connsiteX171" fmla="*/ 35227 w 37439"/>
                        <a:gd name="connsiteY171" fmla="*/ 32057 h 73323"/>
                        <a:gd name="connsiteX172" fmla="*/ 34987 w 37439"/>
                        <a:gd name="connsiteY172" fmla="*/ 32894 h 73323"/>
                        <a:gd name="connsiteX173" fmla="*/ 34688 w 37439"/>
                        <a:gd name="connsiteY173" fmla="*/ 33731 h 73323"/>
                        <a:gd name="connsiteX174" fmla="*/ 34389 w 37439"/>
                        <a:gd name="connsiteY174" fmla="*/ 34568 h 73323"/>
                        <a:gd name="connsiteX175" fmla="*/ 34270 w 37439"/>
                        <a:gd name="connsiteY175" fmla="*/ 34868 h 73323"/>
                        <a:gd name="connsiteX176" fmla="*/ 34150 w 37439"/>
                        <a:gd name="connsiteY176" fmla="*/ 35167 h 73323"/>
                        <a:gd name="connsiteX177" fmla="*/ 34030 w 37439"/>
                        <a:gd name="connsiteY177" fmla="*/ 35466 h 73323"/>
                        <a:gd name="connsiteX178" fmla="*/ 33911 w 37439"/>
                        <a:gd name="connsiteY178" fmla="*/ 35765 h 73323"/>
                        <a:gd name="connsiteX179" fmla="*/ 33492 w 37439"/>
                        <a:gd name="connsiteY179" fmla="*/ 36602 h 73323"/>
                        <a:gd name="connsiteX180" fmla="*/ 33074 w 37439"/>
                        <a:gd name="connsiteY180" fmla="*/ 37439 h 73323"/>
                        <a:gd name="connsiteX181" fmla="*/ 32655 w 37439"/>
                        <a:gd name="connsiteY181" fmla="*/ 38277 h 73323"/>
                        <a:gd name="connsiteX182" fmla="*/ 32176 w 37439"/>
                        <a:gd name="connsiteY182" fmla="*/ 39114 h 73323"/>
                        <a:gd name="connsiteX183" fmla="*/ 31997 w 37439"/>
                        <a:gd name="connsiteY183" fmla="*/ 39353 h 73323"/>
                        <a:gd name="connsiteX184" fmla="*/ 31817 w 37439"/>
                        <a:gd name="connsiteY184" fmla="*/ 39592 h 73323"/>
                        <a:gd name="connsiteX185" fmla="*/ 31638 w 37439"/>
                        <a:gd name="connsiteY185" fmla="*/ 39831 h 73323"/>
                        <a:gd name="connsiteX186" fmla="*/ 31459 w 37439"/>
                        <a:gd name="connsiteY186" fmla="*/ 40071 h 73323"/>
                        <a:gd name="connsiteX187" fmla="*/ 31220 w 37439"/>
                        <a:gd name="connsiteY187" fmla="*/ 40430 h 73323"/>
                        <a:gd name="connsiteX188" fmla="*/ 30980 w 37439"/>
                        <a:gd name="connsiteY188" fmla="*/ 40789 h 73323"/>
                        <a:gd name="connsiteX189" fmla="*/ 30741 w 37439"/>
                        <a:gd name="connsiteY189" fmla="*/ 41147 h 73323"/>
                        <a:gd name="connsiteX190" fmla="*/ 30502 w 37439"/>
                        <a:gd name="connsiteY190" fmla="*/ 41506 h 73323"/>
                        <a:gd name="connsiteX191" fmla="*/ 30322 w 37439"/>
                        <a:gd name="connsiteY191" fmla="*/ 41745 h 73323"/>
                        <a:gd name="connsiteX192" fmla="*/ 30143 w 37439"/>
                        <a:gd name="connsiteY192" fmla="*/ 41985 h 73323"/>
                        <a:gd name="connsiteX193" fmla="*/ 29963 w 37439"/>
                        <a:gd name="connsiteY193" fmla="*/ 42224 h 73323"/>
                        <a:gd name="connsiteX194" fmla="*/ 29784 w 37439"/>
                        <a:gd name="connsiteY194" fmla="*/ 42463 h 73323"/>
                        <a:gd name="connsiteX195" fmla="*/ 28827 w 37439"/>
                        <a:gd name="connsiteY195" fmla="*/ 43719 h 73323"/>
                        <a:gd name="connsiteX196" fmla="*/ 27811 w 37439"/>
                        <a:gd name="connsiteY196" fmla="*/ 44975 h 73323"/>
                        <a:gd name="connsiteX197" fmla="*/ 26794 w 37439"/>
                        <a:gd name="connsiteY197" fmla="*/ 46231 h 73323"/>
                        <a:gd name="connsiteX198" fmla="*/ 25717 w 37439"/>
                        <a:gd name="connsiteY198" fmla="*/ 47487 h 73323"/>
                        <a:gd name="connsiteX199" fmla="*/ 25538 w 37439"/>
                        <a:gd name="connsiteY199" fmla="*/ 47726 h 73323"/>
                        <a:gd name="connsiteX200" fmla="*/ 25359 w 37439"/>
                        <a:gd name="connsiteY200" fmla="*/ 47966 h 73323"/>
                        <a:gd name="connsiteX201" fmla="*/ 25179 w 37439"/>
                        <a:gd name="connsiteY201" fmla="*/ 48205 h 73323"/>
                        <a:gd name="connsiteX202" fmla="*/ 25000 w 37439"/>
                        <a:gd name="connsiteY202" fmla="*/ 48444 h 73323"/>
                        <a:gd name="connsiteX203" fmla="*/ 23026 w 37439"/>
                        <a:gd name="connsiteY203" fmla="*/ 50597 h 73323"/>
                        <a:gd name="connsiteX204" fmla="*/ 20992 w 37439"/>
                        <a:gd name="connsiteY204" fmla="*/ 52750 h 73323"/>
                        <a:gd name="connsiteX205" fmla="*/ 18899 w 37439"/>
                        <a:gd name="connsiteY205" fmla="*/ 54903 h 73323"/>
                        <a:gd name="connsiteX206" fmla="*/ 16926 w 37439"/>
                        <a:gd name="connsiteY206" fmla="*/ 57116 h 73323"/>
                        <a:gd name="connsiteX207" fmla="*/ 14773 w 37439"/>
                        <a:gd name="connsiteY207" fmla="*/ 55681 h 73323"/>
                        <a:gd name="connsiteX208" fmla="*/ 15729 w 37439"/>
                        <a:gd name="connsiteY208" fmla="*/ 56338 h 73323"/>
                        <a:gd name="connsiteX209" fmla="*/ 17883 w 37439"/>
                        <a:gd name="connsiteY209" fmla="*/ 54245 h 73323"/>
                        <a:gd name="connsiteX210" fmla="*/ 19976 w 37439"/>
                        <a:gd name="connsiteY210" fmla="*/ 52092 h 73323"/>
                        <a:gd name="connsiteX211" fmla="*/ 22069 w 37439"/>
                        <a:gd name="connsiteY211" fmla="*/ 49939 h 73323"/>
                        <a:gd name="connsiteX212" fmla="*/ 24043 w 37439"/>
                        <a:gd name="connsiteY212" fmla="*/ 47786 h 73323"/>
                        <a:gd name="connsiteX213" fmla="*/ 24222 w 37439"/>
                        <a:gd name="connsiteY213" fmla="*/ 47547 h 73323"/>
                        <a:gd name="connsiteX214" fmla="*/ 24401 w 37439"/>
                        <a:gd name="connsiteY214" fmla="*/ 47307 h 73323"/>
                        <a:gd name="connsiteX215" fmla="*/ 24581 w 37439"/>
                        <a:gd name="connsiteY215" fmla="*/ 47068 h 73323"/>
                        <a:gd name="connsiteX216" fmla="*/ 24760 w 37439"/>
                        <a:gd name="connsiteY216" fmla="*/ 46829 h 73323"/>
                        <a:gd name="connsiteX217" fmla="*/ 25837 w 37439"/>
                        <a:gd name="connsiteY217" fmla="*/ 45573 h 73323"/>
                        <a:gd name="connsiteX218" fmla="*/ 26854 w 37439"/>
                        <a:gd name="connsiteY218" fmla="*/ 44317 h 73323"/>
                        <a:gd name="connsiteX219" fmla="*/ 27870 w 37439"/>
                        <a:gd name="connsiteY219" fmla="*/ 43061 h 73323"/>
                        <a:gd name="connsiteX220" fmla="*/ 28827 w 37439"/>
                        <a:gd name="connsiteY220" fmla="*/ 41805 h 73323"/>
                        <a:gd name="connsiteX221" fmla="*/ 29007 w 37439"/>
                        <a:gd name="connsiteY221" fmla="*/ 41566 h 73323"/>
                        <a:gd name="connsiteX222" fmla="*/ 29186 w 37439"/>
                        <a:gd name="connsiteY222" fmla="*/ 41327 h 73323"/>
                        <a:gd name="connsiteX223" fmla="*/ 29366 w 37439"/>
                        <a:gd name="connsiteY223" fmla="*/ 41088 h 73323"/>
                        <a:gd name="connsiteX224" fmla="*/ 29545 w 37439"/>
                        <a:gd name="connsiteY224" fmla="*/ 40848 h 73323"/>
                        <a:gd name="connsiteX225" fmla="*/ 29784 w 37439"/>
                        <a:gd name="connsiteY225" fmla="*/ 40490 h 73323"/>
                        <a:gd name="connsiteX226" fmla="*/ 30023 w 37439"/>
                        <a:gd name="connsiteY226" fmla="*/ 40131 h 73323"/>
                        <a:gd name="connsiteX227" fmla="*/ 30262 w 37439"/>
                        <a:gd name="connsiteY227" fmla="*/ 39772 h 73323"/>
                        <a:gd name="connsiteX228" fmla="*/ 30502 w 37439"/>
                        <a:gd name="connsiteY228" fmla="*/ 39413 h 73323"/>
                        <a:gd name="connsiteX229" fmla="*/ 30681 w 37439"/>
                        <a:gd name="connsiteY229" fmla="*/ 39174 h 73323"/>
                        <a:gd name="connsiteX230" fmla="*/ 30861 w 37439"/>
                        <a:gd name="connsiteY230" fmla="*/ 38935 h 73323"/>
                        <a:gd name="connsiteX231" fmla="*/ 31040 w 37439"/>
                        <a:gd name="connsiteY231" fmla="*/ 38695 h 73323"/>
                        <a:gd name="connsiteX232" fmla="*/ 31220 w 37439"/>
                        <a:gd name="connsiteY232" fmla="*/ 38396 h 73323"/>
                        <a:gd name="connsiteX233" fmla="*/ 31698 w 37439"/>
                        <a:gd name="connsiteY233" fmla="*/ 37559 h 73323"/>
                        <a:gd name="connsiteX234" fmla="*/ 32116 w 37439"/>
                        <a:gd name="connsiteY234" fmla="*/ 36722 h 73323"/>
                        <a:gd name="connsiteX235" fmla="*/ 32535 w 37439"/>
                        <a:gd name="connsiteY235" fmla="*/ 35884 h 73323"/>
                        <a:gd name="connsiteX236" fmla="*/ 32894 w 37439"/>
                        <a:gd name="connsiteY236" fmla="*/ 35047 h 73323"/>
                        <a:gd name="connsiteX237" fmla="*/ 33014 w 37439"/>
                        <a:gd name="connsiteY237" fmla="*/ 34748 h 73323"/>
                        <a:gd name="connsiteX238" fmla="*/ 33133 w 37439"/>
                        <a:gd name="connsiteY238" fmla="*/ 34449 h 73323"/>
                        <a:gd name="connsiteX239" fmla="*/ 33253 w 37439"/>
                        <a:gd name="connsiteY239" fmla="*/ 34150 h 73323"/>
                        <a:gd name="connsiteX240" fmla="*/ 33373 w 37439"/>
                        <a:gd name="connsiteY240" fmla="*/ 33851 h 73323"/>
                        <a:gd name="connsiteX241" fmla="*/ 33671 w 37439"/>
                        <a:gd name="connsiteY241" fmla="*/ 33014 h 73323"/>
                        <a:gd name="connsiteX242" fmla="*/ 33911 w 37439"/>
                        <a:gd name="connsiteY242" fmla="*/ 32176 h 73323"/>
                        <a:gd name="connsiteX243" fmla="*/ 34150 w 37439"/>
                        <a:gd name="connsiteY243" fmla="*/ 31339 h 73323"/>
                        <a:gd name="connsiteX244" fmla="*/ 34330 w 37439"/>
                        <a:gd name="connsiteY244" fmla="*/ 30502 h 73323"/>
                        <a:gd name="connsiteX245" fmla="*/ 34389 w 37439"/>
                        <a:gd name="connsiteY245" fmla="*/ 30143 h 73323"/>
                        <a:gd name="connsiteX246" fmla="*/ 34449 w 37439"/>
                        <a:gd name="connsiteY246" fmla="*/ 29784 h 73323"/>
                        <a:gd name="connsiteX247" fmla="*/ 34509 w 37439"/>
                        <a:gd name="connsiteY247" fmla="*/ 29425 h 73323"/>
                        <a:gd name="connsiteX248" fmla="*/ 34569 w 37439"/>
                        <a:gd name="connsiteY248" fmla="*/ 29066 h 73323"/>
                        <a:gd name="connsiteX249" fmla="*/ 34569 w 37439"/>
                        <a:gd name="connsiteY249" fmla="*/ 28887 h 73323"/>
                        <a:gd name="connsiteX250" fmla="*/ 34569 w 37439"/>
                        <a:gd name="connsiteY250" fmla="*/ 28707 h 73323"/>
                        <a:gd name="connsiteX251" fmla="*/ 34569 w 37439"/>
                        <a:gd name="connsiteY251" fmla="*/ 28528 h 73323"/>
                        <a:gd name="connsiteX252" fmla="*/ 34569 w 37439"/>
                        <a:gd name="connsiteY252" fmla="*/ 28349 h 73323"/>
                        <a:gd name="connsiteX253" fmla="*/ 34270 w 37439"/>
                        <a:gd name="connsiteY253" fmla="*/ 27990 h 73323"/>
                        <a:gd name="connsiteX254" fmla="*/ 33971 w 37439"/>
                        <a:gd name="connsiteY254" fmla="*/ 27631 h 73323"/>
                        <a:gd name="connsiteX255" fmla="*/ 33671 w 37439"/>
                        <a:gd name="connsiteY255" fmla="*/ 27272 h 73323"/>
                        <a:gd name="connsiteX256" fmla="*/ 33373 w 37439"/>
                        <a:gd name="connsiteY256" fmla="*/ 26913 h 73323"/>
                        <a:gd name="connsiteX257" fmla="*/ 33373 w 37439"/>
                        <a:gd name="connsiteY257" fmla="*/ 27272 h 73323"/>
                        <a:gd name="connsiteX258" fmla="*/ 33373 w 37439"/>
                        <a:gd name="connsiteY258" fmla="*/ 27631 h 73323"/>
                        <a:gd name="connsiteX259" fmla="*/ 33373 w 37439"/>
                        <a:gd name="connsiteY259" fmla="*/ 27990 h 73323"/>
                        <a:gd name="connsiteX260" fmla="*/ 33373 w 37439"/>
                        <a:gd name="connsiteY260" fmla="*/ 28349 h 73323"/>
                        <a:gd name="connsiteX261" fmla="*/ 33313 w 37439"/>
                        <a:gd name="connsiteY261" fmla="*/ 28707 h 73323"/>
                        <a:gd name="connsiteX262" fmla="*/ 33253 w 37439"/>
                        <a:gd name="connsiteY262" fmla="*/ 29066 h 73323"/>
                        <a:gd name="connsiteX263" fmla="*/ 33193 w 37439"/>
                        <a:gd name="connsiteY263" fmla="*/ 29425 h 73323"/>
                        <a:gd name="connsiteX264" fmla="*/ 33133 w 37439"/>
                        <a:gd name="connsiteY264" fmla="*/ 29784 h 73323"/>
                        <a:gd name="connsiteX265" fmla="*/ 32954 w 37439"/>
                        <a:gd name="connsiteY265" fmla="*/ 30681 h 73323"/>
                        <a:gd name="connsiteX266" fmla="*/ 32775 w 37439"/>
                        <a:gd name="connsiteY266" fmla="*/ 31578 h 73323"/>
                        <a:gd name="connsiteX267" fmla="*/ 32535 w 37439"/>
                        <a:gd name="connsiteY267" fmla="*/ 32475 h 73323"/>
                        <a:gd name="connsiteX268" fmla="*/ 32236 w 37439"/>
                        <a:gd name="connsiteY268" fmla="*/ 33373 h 73323"/>
                        <a:gd name="connsiteX269" fmla="*/ 32116 w 37439"/>
                        <a:gd name="connsiteY269" fmla="*/ 33671 h 73323"/>
                        <a:gd name="connsiteX270" fmla="*/ 31997 w 37439"/>
                        <a:gd name="connsiteY270" fmla="*/ 33970 h 73323"/>
                        <a:gd name="connsiteX271" fmla="*/ 31877 w 37439"/>
                        <a:gd name="connsiteY271" fmla="*/ 34269 h 73323"/>
                        <a:gd name="connsiteX272" fmla="*/ 31758 w 37439"/>
                        <a:gd name="connsiteY272" fmla="*/ 34568 h 73323"/>
                        <a:gd name="connsiteX273" fmla="*/ 31399 w 37439"/>
                        <a:gd name="connsiteY273" fmla="*/ 35406 h 73323"/>
                        <a:gd name="connsiteX274" fmla="*/ 30980 w 37439"/>
                        <a:gd name="connsiteY274" fmla="*/ 36243 h 73323"/>
                        <a:gd name="connsiteX275" fmla="*/ 30562 w 37439"/>
                        <a:gd name="connsiteY275" fmla="*/ 37081 h 73323"/>
                        <a:gd name="connsiteX276" fmla="*/ 30083 w 37439"/>
                        <a:gd name="connsiteY276" fmla="*/ 37918 h 73323"/>
                        <a:gd name="connsiteX277" fmla="*/ 29904 w 37439"/>
                        <a:gd name="connsiteY277" fmla="*/ 38217 h 73323"/>
                        <a:gd name="connsiteX278" fmla="*/ 29724 w 37439"/>
                        <a:gd name="connsiteY278" fmla="*/ 38516 h 73323"/>
                        <a:gd name="connsiteX279" fmla="*/ 29545 w 37439"/>
                        <a:gd name="connsiteY279" fmla="*/ 38815 h 73323"/>
                        <a:gd name="connsiteX280" fmla="*/ 29366 w 37439"/>
                        <a:gd name="connsiteY280" fmla="*/ 39114 h 73323"/>
                        <a:gd name="connsiteX281" fmla="*/ 29126 w 37439"/>
                        <a:gd name="connsiteY281" fmla="*/ 39473 h 73323"/>
                        <a:gd name="connsiteX282" fmla="*/ 28887 w 37439"/>
                        <a:gd name="connsiteY282" fmla="*/ 39831 h 73323"/>
                        <a:gd name="connsiteX283" fmla="*/ 28648 w 37439"/>
                        <a:gd name="connsiteY283" fmla="*/ 40190 h 73323"/>
                        <a:gd name="connsiteX284" fmla="*/ 28408 w 37439"/>
                        <a:gd name="connsiteY284" fmla="*/ 40549 h 73323"/>
                        <a:gd name="connsiteX285" fmla="*/ 28229 w 37439"/>
                        <a:gd name="connsiteY285" fmla="*/ 40789 h 73323"/>
                        <a:gd name="connsiteX286" fmla="*/ 28050 w 37439"/>
                        <a:gd name="connsiteY286" fmla="*/ 41028 h 73323"/>
                        <a:gd name="connsiteX287" fmla="*/ 27870 w 37439"/>
                        <a:gd name="connsiteY287" fmla="*/ 41267 h 73323"/>
                        <a:gd name="connsiteX288" fmla="*/ 27691 w 37439"/>
                        <a:gd name="connsiteY288" fmla="*/ 41506 h 73323"/>
                        <a:gd name="connsiteX289" fmla="*/ 26734 w 37439"/>
                        <a:gd name="connsiteY289" fmla="*/ 42762 h 73323"/>
                        <a:gd name="connsiteX290" fmla="*/ 25717 w 37439"/>
                        <a:gd name="connsiteY290" fmla="*/ 44018 h 73323"/>
                        <a:gd name="connsiteX291" fmla="*/ 24700 w 37439"/>
                        <a:gd name="connsiteY291" fmla="*/ 45274 h 73323"/>
                        <a:gd name="connsiteX292" fmla="*/ 23624 w 37439"/>
                        <a:gd name="connsiteY292" fmla="*/ 46530 h 73323"/>
                        <a:gd name="connsiteX293" fmla="*/ 23445 w 37439"/>
                        <a:gd name="connsiteY293" fmla="*/ 46769 h 73323"/>
                        <a:gd name="connsiteX294" fmla="*/ 23265 w 37439"/>
                        <a:gd name="connsiteY294" fmla="*/ 47008 h 73323"/>
                        <a:gd name="connsiteX295" fmla="*/ 23086 w 37439"/>
                        <a:gd name="connsiteY295" fmla="*/ 47248 h 73323"/>
                        <a:gd name="connsiteX296" fmla="*/ 22906 w 37439"/>
                        <a:gd name="connsiteY296" fmla="*/ 47487 h 73323"/>
                        <a:gd name="connsiteX297" fmla="*/ 20933 w 37439"/>
                        <a:gd name="connsiteY297" fmla="*/ 49640 h 73323"/>
                        <a:gd name="connsiteX298" fmla="*/ 18839 w 37439"/>
                        <a:gd name="connsiteY298" fmla="*/ 51793 h 73323"/>
                        <a:gd name="connsiteX299" fmla="*/ 16746 w 37439"/>
                        <a:gd name="connsiteY299" fmla="*/ 53946 h 73323"/>
                        <a:gd name="connsiteX300" fmla="*/ 14773 w 37439"/>
                        <a:gd name="connsiteY300" fmla="*/ 55681 h 73323"/>
                        <a:gd name="connsiteX301" fmla="*/ 14414 w 37439"/>
                        <a:gd name="connsiteY301" fmla="*/ 59568 h 73323"/>
                        <a:gd name="connsiteX302" fmla="*/ 15311 w 37439"/>
                        <a:gd name="connsiteY302" fmla="*/ 60166 h 73323"/>
                        <a:gd name="connsiteX303" fmla="*/ 15430 w 37439"/>
                        <a:gd name="connsiteY303" fmla="*/ 60046 h 73323"/>
                        <a:gd name="connsiteX304" fmla="*/ 15550 w 37439"/>
                        <a:gd name="connsiteY304" fmla="*/ 59927 h 73323"/>
                        <a:gd name="connsiteX305" fmla="*/ 15669 w 37439"/>
                        <a:gd name="connsiteY305" fmla="*/ 59807 h 73323"/>
                        <a:gd name="connsiteX306" fmla="*/ 15789 w 37439"/>
                        <a:gd name="connsiteY306" fmla="*/ 59687 h 73323"/>
                        <a:gd name="connsiteX307" fmla="*/ 16088 w 37439"/>
                        <a:gd name="connsiteY307" fmla="*/ 59448 h 73323"/>
                        <a:gd name="connsiteX308" fmla="*/ 16387 w 37439"/>
                        <a:gd name="connsiteY308" fmla="*/ 59209 h 73323"/>
                        <a:gd name="connsiteX309" fmla="*/ 16686 w 37439"/>
                        <a:gd name="connsiteY309" fmla="*/ 58970 h 73323"/>
                        <a:gd name="connsiteX310" fmla="*/ 16985 w 37439"/>
                        <a:gd name="connsiteY310" fmla="*/ 58731 h 73323"/>
                        <a:gd name="connsiteX311" fmla="*/ 16088 w 37439"/>
                        <a:gd name="connsiteY311" fmla="*/ 58132 h 73323"/>
                        <a:gd name="connsiteX312" fmla="*/ 15849 w 37439"/>
                        <a:gd name="connsiteY312" fmla="*/ 58372 h 73323"/>
                        <a:gd name="connsiteX313" fmla="*/ 15610 w 37439"/>
                        <a:gd name="connsiteY313" fmla="*/ 58611 h 73323"/>
                        <a:gd name="connsiteX314" fmla="*/ 15371 w 37439"/>
                        <a:gd name="connsiteY314" fmla="*/ 58850 h 73323"/>
                        <a:gd name="connsiteX315" fmla="*/ 15131 w 37439"/>
                        <a:gd name="connsiteY315" fmla="*/ 59090 h 73323"/>
                        <a:gd name="connsiteX316" fmla="*/ 14952 w 37439"/>
                        <a:gd name="connsiteY316" fmla="*/ 59269 h 73323"/>
                        <a:gd name="connsiteX317" fmla="*/ 14773 w 37439"/>
                        <a:gd name="connsiteY317" fmla="*/ 59448 h 73323"/>
                        <a:gd name="connsiteX318" fmla="*/ 14593 w 37439"/>
                        <a:gd name="connsiteY318" fmla="*/ 59628 h 73323"/>
                        <a:gd name="connsiteX319" fmla="*/ 14414 w 37439"/>
                        <a:gd name="connsiteY319" fmla="*/ 59568 h 73323"/>
                        <a:gd name="connsiteX320" fmla="*/ 12201 w 37439"/>
                        <a:gd name="connsiteY320" fmla="*/ 58132 h 73323"/>
                        <a:gd name="connsiteX321" fmla="*/ 13158 w 37439"/>
                        <a:gd name="connsiteY321" fmla="*/ 58731 h 73323"/>
                        <a:gd name="connsiteX322" fmla="*/ 13337 w 37439"/>
                        <a:gd name="connsiteY322" fmla="*/ 58551 h 73323"/>
                        <a:gd name="connsiteX323" fmla="*/ 13516 w 37439"/>
                        <a:gd name="connsiteY323" fmla="*/ 58372 h 73323"/>
                        <a:gd name="connsiteX324" fmla="*/ 13696 w 37439"/>
                        <a:gd name="connsiteY324" fmla="*/ 58192 h 73323"/>
                        <a:gd name="connsiteX325" fmla="*/ 13875 w 37439"/>
                        <a:gd name="connsiteY325" fmla="*/ 58013 h 73323"/>
                        <a:gd name="connsiteX326" fmla="*/ 14055 w 37439"/>
                        <a:gd name="connsiteY326" fmla="*/ 57833 h 73323"/>
                        <a:gd name="connsiteX327" fmla="*/ 14234 w 37439"/>
                        <a:gd name="connsiteY327" fmla="*/ 57654 h 73323"/>
                        <a:gd name="connsiteX328" fmla="*/ 14414 w 37439"/>
                        <a:gd name="connsiteY328" fmla="*/ 57475 h 73323"/>
                        <a:gd name="connsiteX329" fmla="*/ 14593 w 37439"/>
                        <a:gd name="connsiteY329" fmla="*/ 57295 h 73323"/>
                        <a:gd name="connsiteX330" fmla="*/ 13636 w 37439"/>
                        <a:gd name="connsiteY330" fmla="*/ 56637 h 73323"/>
                        <a:gd name="connsiteX331" fmla="*/ 13457 w 37439"/>
                        <a:gd name="connsiteY331" fmla="*/ 56817 h 73323"/>
                        <a:gd name="connsiteX332" fmla="*/ 13277 w 37439"/>
                        <a:gd name="connsiteY332" fmla="*/ 56996 h 73323"/>
                        <a:gd name="connsiteX333" fmla="*/ 13098 w 37439"/>
                        <a:gd name="connsiteY333" fmla="*/ 57176 h 73323"/>
                        <a:gd name="connsiteX334" fmla="*/ 12919 w 37439"/>
                        <a:gd name="connsiteY334" fmla="*/ 57355 h 73323"/>
                        <a:gd name="connsiteX335" fmla="*/ 12679 w 37439"/>
                        <a:gd name="connsiteY335" fmla="*/ 57594 h 73323"/>
                        <a:gd name="connsiteX336" fmla="*/ 12440 w 37439"/>
                        <a:gd name="connsiteY336" fmla="*/ 57833 h 73323"/>
                        <a:gd name="connsiteX337" fmla="*/ 12201 w 37439"/>
                        <a:gd name="connsiteY337" fmla="*/ 58073 h 73323"/>
                        <a:gd name="connsiteX338" fmla="*/ 12201 w 37439"/>
                        <a:gd name="connsiteY338" fmla="*/ 58132 h 73323"/>
                        <a:gd name="connsiteX339" fmla="*/ 12141 w 37439"/>
                        <a:gd name="connsiteY339" fmla="*/ 61840 h 73323"/>
                        <a:gd name="connsiteX340" fmla="*/ 13098 w 37439"/>
                        <a:gd name="connsiteY340" fmla="*/ 62439 h 73323"/>
                        <a:gd name="connsiteX341" fmla="*/ 13457 w 37439"/>
                        <a:gd name="connsiteY341" fmla="*/ 62080 h 73323"/>
                        <a:gd name="connsiteX342" fmla="*/ 13815 w 37439"/>
                        <a:gd name="connsiteY342" fmla="*/ 61721 h 73323"/>
                        <a:gd name="connsiteX343" fmla="*/ 14174 w 37439"/>
                        <a:gd name="connsiteY343" fmla="*/ 61362 h 73323"/>
                        <a:gd name="connsiteX344" fmla="*/ 14533 w 37439"/>
                        <a:gd name="connsiteY344" fmla="*/ 61003 h 73323"/>
                        <a:gd name="connsiteX345" fmla="*/ 13576 w 37439"/>
                        <a:gd name="connsiteY345" fmla="*/ 60405 h 73323"/>
                        <a:gd name="connsiteX346" fmla="*/ 13218 w 37439"/>
                        <a:gd name="connsiteY346" fmla="*/ 60764 h 73323"/>
                        <a:gd name="connsiteX347" fmla="*/ 12859 w 37439"/>
                        <a:gd name="connsiteY347" fmla="*/ 61123 h 73323"/>
                        <a:gd name="connsiteX348" fmla="*/ 12500 w 37439"/>
                        <a:gd name="connsiteY348" fmla="*/ 61482 h 73323"/>
                        <a:gd name="connsiteX349" fmla="*/ 12141 w 37439"/>
                        <a:gd name="connsiteY349" fmla="*/ 61840 h 73323"/>
                        <a:gd name="connsiteX350" fmla="*/ 9928 w 37439"/>
                        <a:gd name="connsiteY350" fmla="*/ 60405 h 73323"/>
                        <a:gd name="connsiteX351" fmla="*/ 10885 w 37439"/>
                        <a:gd name="connsiteY351" fmla="*/ 61003 h 73323"/>
                        <a:gd name="connsiteX352" fmla="*/ 11244 w 37439"/>
                        <a:gd name="connsiteY352" fmla="*/ 60645 h 73323"/>
                        <a:gd name="connsiteX353" fmla="*/ 11603 w 37439"/>
                        <a:gd name="connsiteY353" fmla="*/ 60286 h 73323"/>
                        <a:gd name="connsiteX354" fmla="*/ 11961 w 37439"/>
                        <a:gd name="connsiteY354" fmla="*/ 59927 h 73323"/>
                        <a:gd name="connsiteX355" fmla="*/ 12320 w 37439"/>
                        <a:gd name="connsiteY355" fmla="*/ 59568 h 73323"/>
                        <a:gd name="connsiteX356" fmla="*/ 11364 w 37439"/>
                        <a:gd name="connsiteY356" fmla="*/ 58970 h 73323"/>
                        <a:gd name="connsiteX357" fmla="*/ 11005 w 37439"/>
                        <a:gd name="connsiteY357" fmla="*/ 59329 h 73323"/>
                        <a:gd name="connsiteX358" fmla="*/ 10646 w 37439"/>
                        <a:gd name="connsiteY358" fmla="*/ 59687 h 73323"/>
                        <a:gd name="connsiteX359" fmla="*/ 10287 w 37439"/>
                        <a:gd name="connsiteY359" fmla="*/ 60046 h 73323"/>
                        <a:gd name="connsiteX360" fmla="*/ 9928 w 37439"/>
                        <a:gd name="connsiteY360" fmla="*/ 60405 h 73323"/>
                        <a:gd name="connsiteX361" fmla="*/ 0 w 37439"/>
                        <a:gd name="connsiteY361" fmla="*/ 71290 h 73323"/>
                        <a:gd name="connsiteX362" fmla="*/ 3110 w 37439"/>
                        <a:gd name="connsiteY362" fmla="*/ 73324 h 73323"/>
                        <a:gd name="connsiteX363" fmla="*/ 3469 w 37439"/>
                        <a:gd name="connsiteY363" fmla="*/ 72845 h 73323"/>
                        <a:gd name="connsiteX364" fmla="*/ 4127 w 37439"/>
                        <a:gd name="connsiteY364" fmla="*/ 72008 h 73323"/>
                        <a:gd name="connsiteX365" fmla="*/ 4785 w 37439"/>
                        <a:gd name="connsiteY365" fmla="*/ 71171 h 73323"/>
                        <a:gd name="connsiteX366" fmla="*/ 5503 w 37439"/>
                        <a:gd name="connsiteY366" fmla="*/ 70333 h 73323"/>
                        <a:gd name="connsiteX367" fmla="*/ 6220 w 37439"/>
                        <a:gd name="connsiteY367" fmla="*/ 69496 h 73323"/>
                        <a:gd name="connsiteX368" fmla="*/ 6459 w 37439"/>
                        <a:gd name="connsiteY368" fmla="*/ 69257 h 73323"/>
                        <a:gd name="connsiteX369" fmla="*/ 6698 w 37439"/>
                        <a:gd name="connsiteY369" fmla="*/ 69017 h 73323"/>
                        <a:gd name="connsiteX370" fmla="*/ 6938 w 37439"/>
                        <a:gd name="connsiteY370" fmla="*/ 68778 h 73323"/>
                        <a:gd name="connsiteX371" fmla="*/ 7177 w 37439"/>
                        <a:gd name="connsiteY371" fmla="*/ 68539 h 73323"/>
                        <a:gd name="connsiteX372" fmla="*/ 8373 w 37439"/>
                        <a:gd name="connsiteY372" fmla="*/ 67223 h 73323"/>
                        <a:gd name="connsiteX373" fmla="*/ 9629 w 37439"/>
                        <a:gd name="connsiteY373" fmla="*/ 65908 h 73323"/>
                        <a:gd name="connsiteX374" fmla="*/ 10945 w 37439"/>
                        <a:gd name="connsiteY374" fmla="*/ 64592 h 73323"/>
                        <a:gd name="connsiteX375" fmla="*/ 12261 w 37439"/>
                        <a:gd name="connsiteY375" fmla="*/ 63276 h 73323"/>
                        <a:gd name="connsiteX376" fmla="*/ 11304 w 37439"/>
                        <a:gd name="connsiteY376" fmla="*/ 62678 h 73323"/>
                        <a:gd name="connsiteX377" fmla="*/ 9988 w 37439"/>
                        <a:gd name="connsiteY377" fmla="*/ 63994 h 73323"/>
                        <a:gd name="connsiteX378" fmla="*/ 8672 w 37439"/>
                        <a:gd name="connsiteY378" fmla="*/ 65309 h 73323"/>
                        <a:gd name="connsiteX379" fmla="*/ 7416 w 37439"/>
                        <a:gd name="connsiteY379" fmla="*/ 66625 h 73323"/>
                        <a:gd name="connsiteX380" fmla="*/ 6220 w 37439"/>
                        <a:gd name="connsiteY380" fmla="*/ 67941 h 73323"/>
                        <a:gd name="connsiteX381" fmla="*/ 5981 w 37439"/>
                        <a:gd name="connsiteY381" fmla="*/ 68180 h 73323"/>
                        <a:gd name="connsiteX382" fmla="*/ 5742 w 37439"/>
                        <a:gd name="connsiteY382" fmla="*/ 68419 h 73323"/>
                        <a:gd name="connsiteX383" fmla="*/ 5503 w 37439"/>
                        <a:gd name="connsiteY383" fmla="*/ 68659 h 73323"/>
                        <a:gd name="connsiteX384" fmla="*/ 5263 w 37439"/>
                        <a:gd name="connsiteY384" fmla="*/ 68898 h 73323"/>
                        <a:gd name="connsiteX385" fmla="*/ 4665 w 37439"/>
                        <a:gd name="connsiteY385" fmla="*/ 69556 h 73323"/>
                        <a:gd name="connsiteX386" fmla="*/ 4067 w 37439"/>
                        <a:gd name="connsiteY386" fmla="*/ 70214 h 73323"/>
                        <a:gd name="connsiteX387" fmla="*/ 3469 w 37439"/>
                        <a:gd name="connsiteY387" fmla="*/ 70871 h 73323"/>
                        <a:gd name="connsiteX388" fmla="*/ 2931 w 37439"/>
                        <a:gd name="connsiteY388" fmla="*/ 71530 h 73323"/>
                        <a:gd name="connsiteX389" fmla="*/ 1735 w 37439"/>
                        <a:gd name="connsiteY389" fmla="*/ 70752 h 73323"/>
                        <a:gd name="connsiteX390" fmla="*/ 2273 w 37439"/>
                        <a:gd name="connsiteY390" fmla="*/ 70094 h 73323"/>
                        <a:gd name="connsiteX391" fmla="*/ 2871 w 37439"/>
                        <a:gd name="connsiteY391" fmla="*/ 69436 h 73323"/>
                        <a:gd name="connsiteX392" fmla="*/ 3469 w 37439"/>
                        <a:gd name="connsiteY392" fmla="*/ 68778 h 73323"/>
                        <a:gd name="connsiteX393" fmla="*/ 4067 w 37439"/>
                        <a:gd name="connsiteY393" fmla="*/ 68121 h 73323"/>
                        <a:gd name="connsiteX394" fmla="*/ 4306 w 37439"/>
                        <a:gd name="connsiteY394" fmla="*/ 67881 h 73323"/>
                        <a:gd name="connsiteX395" fmla="*/ 4545 w 37439"/>
                        <a:gd name="connsiteY395" fmla="*/ 67642 h 73323"/>
                        <a:gd name="connsiteX396" fmla="*/ 4785 w 37439"/>
                        <a:gd name="connsiteY396" fmla="*/ 67403 h 73323"/>
                        <a:gd name="connsiteX397" fmla="*/ 5024 w 37439"/>
                        <a:gd name="connsiteY397" fmla="*/ 67163 h 73323"/>
                        <a:gd name="connsiteX398" fmla="*/ 6220 w 37439"/>
                        <a:gd name="connsiteY398" fmla="*/ 65848 h 73323"/>
                        <a:gd name="connsiteX399" fmla="*/ 7476 w 37439"/>
                        <a:gd name="connsiteY399" fmla="*/ 64532 h 73323"/>
                        <a:gd name="connsiteX400" fmla="*/ 8732 w 37439"/>
                        <a:gd name="connsiteY400" fmla="*/ 63216 h 73323"/>
                        <a:gd name="connsiteX401" fmla="*/ 10048 w 37439"/>
                        <a:gd name="connsiteY401" fmla="*/ 61900 h 73323"/>
                        <a:gd name="connsiteX402" fmla="*/ 9091 w 37439"/>
                        <a:gd name="connsiteY402" fmla="*/ 61302 h 73323"/>
                        <a:gd name="connsiteX403" fmla="*/ 7775 w 37439"/>
                        <a:gd name="connsiteY403" fmla="*/ 62618 h 73323"/>
                        <a:gd name="connsiteX404" fmla="*/ 6519 w 37439"/>
                        <a:gd name="connsiteY404" fmla="*/ 63934 h 73323"/>
                        <a:gd name="connsiteX405" fmla="*/ 5263 w 37439"/>
                        <a:gd name="connsiteY405" fmla="*/ 65250 h 73323"/>
                        <a:gd name="connsiteX406" fmla="*/ 4067 w 37439"/>
                        <a:gd name="connsiteY406" fmla="*/ 66565 h 73323"/>
                        <a:gd name="connsiteX407" fmla="*/ 3828 w 37439"/>
                        <a:gd name="connsiteY407" fmla="*/ 66805 h 73323"/>
                        <a:gd name="connsiteX408" fmla="*/ 3589 w 37439"/>
                        <a:gd name="connsiteY408" fmla="*/ 67044 h 73323"/>
                        <a:gd name="connsiteX409" fmla="*/ 3349 w 37439"/>
                        <a:gd name="connsiteY409" fmla="*/ 67283 h 73323"/>
                        <a:gd name="connsiteX410" fmla="*/ 3110 w 37439"/>
                        <a:gd name="connsiteY410" fmla="*/ 67522 h 73323"/>
                        <a:gd name="connsiteX411" fmla="*/ 2392 w 37439"/>
                        <a:gd name="connsiteY411" fmla="*/ 68360 h 73323"/>
                        <a:gd name="connsiteX412" fmla="*/ 1675 w 37439"/>
                        <a:gd name="connsiteY412" fmla="*/ 69197 h 73323"/>
                        <a:gd name="connsiteX413" fmla="*/ 1017 w 37439"/>
                        <a:gd name="connsiteY413" fmla="*/ 70034 h 73323"/>
                        <a:gd name="connsiteX414" fmla="*/ 359 w 37439"/>
                        <a:gd name="connsiteY414" fmla="*/ 70871 h 73323"/>
                        <a:gd name="connsiteX415" fmla="*/ 0 w 37439"/>
                        <a:gd name="connsiteY415" fmla="*/ 71290 h 7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37439" h="73323">
                          <a:moveTo>
                            <a:pt x="19378" y="5861"/>
                          </a:moveTo>
                          <a:lnTo>
                            <a:pt x="20155" y="4844"/>
                          </a:lnTo>
                          <a:cubicBezTo>
                            <a:pt x="19976" y="4725"/>
                            <a:pt x="19737" y="4545"/>
                            <a:pt x="19557" y="4426"/>
                          </a:cubicBezTo>
                          <a:cubicBezTo>
                            <a:pt x="19378" y="4306"/>
                            <a:pt x="19138" y="4127"/>
                            <a:pt x="18959" y="4007"/>
                          </a:cubicBezTo>
                          <a:cubicBezTo>
                            <a:pt x="18780" y="3888"/>
                            <a:pt x="18540" y="3708"/>
                            <a:pt x="18361" y="3588"/>
                          </a:cubicBezTo>
                          <a:cubicBezTo>
                            <a:pt x="18182" y="3469"/>
                            <a:pt x="17942" y="3289"/>
                            <a:pt x="17703" y="3170"/>
                          </a:cubicBezTo>
                          <a:lnTo>
                            <a:pt x="18720" y="1854"/>
                          </a:lnTo>
                          <a:cubicBezTo>
                            <a:pt x="18959" y="1974"/>
                            <a:pt x="19138" y="2153"/>
                            <a:pt x="19378" y="2273"/>
                          </a:cubicBezTo>
                          <a:cubicBezTo>
                            <a:pt x="19557" y="2392"/>
                            <a:pt x="19796" y="2572"/>
                            <a:pt x="19976" y="2691"/>
                          </a:cubicBezTo>
                          <a:cubicBezTo>
                            <a:pt x="20155" y="2811"/>
                            <a:pt x="20394" y="2990"/>
                            <a:pt x="20574" y="3110"/>
                          </a:cubicBezTo>
                          <a:cubicBezTo>
                            <a:pt x="20753" y="3229"/>
                            <a:pt x="20992" y="3409"/>
                            <a:pt x="21172" y="3528"/>
                          </a:cubicBezTo>
                          <a:lnTo>
                            <a:pt x="21950" y="2512"/>
                          </a:lnTo>
                          <a:cubicBezTo>
                            <a:pt x="21710" y="2333"/>
                            <a:pt x="21471" y="2153"/>
                            <a:pt x="21232" y="1974"/>
                          </a:cubicBezTo>
                          <a:cubicBezTo>
                            <a:pt x="20992" y="1794"/>
                            <a:pt x="20753" y="1615"/>
                            <a:pt x="20514" y="1435"/>
                          </a:cubicBezTo>
                          <a:cubicBezTo>
                            <a:pt x="20275" y="1256"/>
                            <a:pt x="20036" y="1076"/>
                            <a:pt x="19796" y="897"/>
                          </a:cubicBezTo>
                          <a:cubicBezTo>
                            <a:pt x="19557" y="718"/>
                            <a:pt x="19318" y="538"/>
                            <a:pt x="19019" y="359"/>
                          </a:cubicBezTo>
                          <a:lnTo>
                            <a:pt x="18540" y="0"/>
                          </a:lnTo>
                          <a:lnTo>
                            <a:pt x="15909" y="3289"/>
                          </a:lnTo>
                          <a:lnTo>
                            <a:pt x="16387" y="3648"/>
                          </a:lnTo>
                          <a:cubicBezTo>
                            <a:pt x="16627" y="3828"/>
                            <a:pt x="16866" y="4007"/>
                            <a:pt x="17165" y="4187"/>
                          </a:cubicBezTo>
                          <a:cubicBezTo>
                            <a:pt x="17464" y="4366"/>
                            <a:pt x="17643" y="4545"/>
                            <a:pt x="17883" y="4725"/>
                          </a:cubicBezTo>
                          <a:cubicBezTo>
                            <a:pt x="18122" y="4904"/>
                            <a:pt x="18361" y="5083"/>
                            <a:pt x="18600" y="5263"/>
                          </a:cubicBezTo>
                          <a:cubicBezTo>
                            <a:pt x="18899" y="5502"/>
                            <a:pt x="19138" y="5682"/>
                            <a:pt x="19378" y="5861"/>
                          </a:cubicBezTo>
                          <a:moveTo>
                            <a:pt x="33671" y="20873"/>
                          </a:moveTo>
                          <a:cubicBezTo>
                            <a:pt x="33612" y="20693"/>
                            <a:pt x="33552" y="20514"/>
                            <a:pt x="33492" y="20394"/>
                          </a:cubicBezTo>
                          <a:cubicBezTo>
                            <a:pt x="33432" y="20215"/>
                            <a:pt x="33373" y="20035"/>
                            <a:pt x="33313" y="19916"/>
                          </a:cubicBezTo>
                          <a:cubicBezTo>
                            <a:pt x="33253" y="19736"/>
                            <a:pt x="33193" y="19557"/>
                            <a:pt x="33074" y="19437"/>
                          </a:cubicBezTo>
                          <a:cubicBezTo>
                            <a:pt x="33014" y="19258"/>
                            <a:pt x="32894" y="19079"/>
                            <a:pt x="32834" y="18959"/>
                          </a:cubicBezTo>
                          <a:cubicBezTo>
                            <a:pt x="32715" y="18780"/>
                            <a:pt x="32655" y="18540"/>
                            <a:pt x="32535" y="18361"/>
                          </a:cubicBezTo>
                          <a:cubicBezTo>
                            <a:pt x="32416" y="18181"/>
                            <a:pt x="32296" y="17942"/>
                            <a:pt x="32236" y="17763"/>
                          </a:cubicBezTo>
                          <a:cubicBezTo>
                            <a:pt x="32116" y="17583"/>
                            <a:pt x="31997" y="17344"/>
                            <a:pt x="31877" y="17165"/>
                          </a:cubicBezTo>
                          <a:cubicBezTo>
                            <a:pt x="31758" y="16985"/>
                            <a:pt x="31638" y="16746"/>
                            <a:pt x="31519" y="16567"/>
                          </a:cubicBezTo>
                          <a:cubicBezTo>
                            <a:pt x="30980" y="15669"/>
                            <a:pt x="30322" y="14772"/>
                            <a:pt x="29605" y="13875"/>
                          </a:cubicBezTo>
                          <a:cubicBezTo>
                            <a:pt x="28887" y="12978"/>
                            <a:pt x="28109" y="12081"/>
                            <a:pt x="27213" y="11184"/>
                          </a:cubicBezTo>
                          <a:cubicBezTo>
                            <a:pt x="26375" y="10287"/>
                            <a:pt x="25418" y="9390"/>
                            <a:pt x="24401" y="8493"/>
                          </a:cubicBezTo>
                          <a:cubicBezTo>
                            <a:pt x="23385" y="7596"/>
                            <a:pt x="22308" y="6698"/>
                            <a:pt x="21112" y="5801"/>
                          </a:cubicBezTo>
                          <a:lnTo>
                            <a:pt x="20335" y="6818"/>
                          </a:lnTo>
                          <a:cubicBezTo>
                            <a:pt x="21172" y="7476"/>
                            <a:pt x="21950" y="8134"/>
                            <a:pt x="22727" y="8791"/>
                          </a:cubicBezTo>
                          <a:cubicBezTo>
                            <a:pt x="23505" y="9450"/>
                            <a:pt x="24222" y="10107"/>
                            <a:pt x="24880" y="10705"/>
                          </a:cubicBezTo>
                          <a:cubicBezTo>
                            <a:pt x="25538" y="11364"/>
                            <a:pt x="26196" y="11961"/>
                            <a:pt x="26794" y="12619"/>
                          </a:cubicBezTo>
                          <a:cubicBezTo>
                            <a:pt x="27392" y="13277"/>
                            <a:pt x="27930" y="13875"/>
                            <a:pt x="28468" y="14533"/>
                          </a:cubicBezTo>
                          <a:cubicBezTo>
                            <a:pt x="28648" y="14772"/>
                            <a:pt x="28887" y="15012"/>
                            <a:pt x="29067" y="15251"/>
                          </a:cubicBezTo>
                          <a:cubicBezTo>
                            <a:pt x="29246" y="15490"/>
                            <a:pt x="29425" y="15729"/>
                            <a:pt x="29605" y="15968"/>
                          </a:cubicBezTo>
                          <a:cubicBezTo>
                            <a:pt x="29784" y="16208"/>
                            <a:pt x="29963" y="16447"/>
                            <a:pt x="30083" y="16686"/>
                          </a:cubicBezTo>
                          <a:cubicBezTo>
                            <a:pt x="30262" y="16926"/>
                            <a:pt x="30382" y="17165"/>
                            <a:pt x="30562" y="17404"/>
                          </a:cubicBezTo>
                          <a:cubicBezTo>
                            <a:pt x="30621" y="17523"/>
                            <a:pt x="30681" y="17583"/>
                            <a:pt x="30741" y="17703"/>
                          </a:cubicBezTo>
                          <a:cubicBezTo>
                            <a:pt x="30801" y="17822"/>
                            <a:pt x="30861" y="17882"/>
                            <a:pt x="30921" y="18002"/>
                          </a:cubicBezTo>
                          <a:cubicBezTo>
                            <a:pt x="30980" y="18121"/>
                            <a:pt x="31040" y="18181"/>
                            <a:pt x="31100" y="18301"/>
                          </a:cubicBezTo>
                          <a:cubicBezTo>
                            <a:pt x="31160" y="18421"/>
                            <a:pt x="31220" y="18480"/>
                            <a:pt x="31279" y="18600"/>
                          </a:cubicBezTo>
                          <a:cubicBezTo>
                            <a:pt x="31519" y="18780"/>
                            <a:pt x="31698" y="19019"/>
                            <a:pt x="31937" y="19198"/>
                          </a:cubicBezTo>
                          <a:cubicBezTo>
                            <a:pt x="32176" y="19377"/>
                            <a:pt x="32356" y="19617"/>
                            <a:pt x="32595" y="19796"/>
                          </a:cubicBezTo>
                          <a:cubicBezTo>
                            <a:pt x="32834" y="19975"/>
                            <a:pt x="33014" y="20215"/>
                            <a:pt x="33193" y="20394"/>
                          </a:cubicBezTo>
                          <a:cubicBezTo>
                            <a:pt x="33253" y="20454"/>
                            <a:pt x="33432" y="20634"/>
                            <a:pt x="33671" y="20873"/>
                          </a:cubicBezTo>
                          <a:moveTo>
                            <a:pt x="37380" y="25119"/>
                          </a:moveTo>
                          <a:cubicBezTo>
                            <a:pt x="37380" y="24820"/>
                            <a:pt x="37320" y="24521"/>
                            <a:pt x="37320" y="24222"/>
                          </a:cubicBezTo>
                          <a:cubicBezTo>
                            <a:pt x="37260" y="23923"/>
                            <a:pt x="37260" y="23624"/>
                            <a:pt x="37200" y="23325"/>
                          </a:cubicBezTo>
                          <a:cubicBezTo>
                            <a:pt x="37140" y="23026"/>
                            <a:pt x="37081" y="22727"/>
                            <a:pt x="37021" y="22428"/>
                          </a:cubicBezTo>
                          <a:cubicBezTo>
                            <a:pt x="36961" y="22129"/>
                            <a:pt x="36901" y="21830"/>
                            <a:pt x="36841" y="21530"/>
                          </a:cubicBezTo>
                          <a:cubicBezTo>
                            <a:pt x="36782" y="21351"/>
                            <a:pt x="36782" y="21231"/>
                            <a:pt x="36722" y="21052"/>
                          </a:cubicBezTo>
                          <a:cubicBezTo>
                            <a:pt x="36662" y="20873"/>
                            <a:pt x="36662" y="20753"/>
                            <a:pt x="36602" y="20574"/>
                          </a:cubicBezTo>
                          <a:cubicBezTo>
                            <a:pt x="36542" y="20394"/>
                            <a:pt x="36483" y="20275"/>
                            <a:pt x="36483" y="20095"/>
                          </a:cubicBezTo>
                          <a:cubicBezTo>
                            <a:pt x="36423" y="19916"/>
                            <a:pt x="36363" y="19796"/>
                            <a:pt x="36303" y="19617"/>
                          </a:cubicBezTo>
                          <a:cubicBezTo>
                            <a:pt x="35825" y="18241"/>
                            <a:pt x="35167" y="16866"/>
                            <a:pt x="34389" y="15490"/>
                          </a:cubicBezTo>
                          <a:cubicBezTo>
                            <a:pt x="33612" y="14114"/>
                            <a:pt x="32655" y="12739"/>
                            <a:pt x="31519" y="11364"/>
                          </a:cubicBezTo>
                          <a:cubicBezTo>
                            <a:pt x="30382" y="9988"/>
                            <a:pt x="29126" y="8612"/>
                            <a:pt x="27691" y="7296"/>
                          </a:cubicBezTo>
                          <a:cubicBezTo>
                            <a:pt x="26255" y="5921"/>
                            <a:pt x="24641" y="4605"/>
                            <a:pt x="22906" y="3229"/>
                          </a:cubicBezTo>
                          <a:lnTo>
                            <a:pt x="22129" y="4246"/>
                          </a:lnTo>
                          <a:cubicBezTo>
                            <a:pt x="23684" y="5442"/>
                            <a:pt x="25059" y="6579"/>
                            <a:pt x="26315" y="7775"/>
                          </a:cubicBezTo>
                          <a:cubicBezTo>
                            <a:pt x="27571" y="8971"/>
                            <a:pt x="28708" y="10107"/>
                            <a:pt x="29784" y="11304"/>
                          </a:cubicBezTo>
                          <a:cubicBezTo>
                            <a:pt x="30801" y="12500"/>
                            <a:pt x="31698" y="13636"/>
                            <a:pt x="32476" y="14832"/>
                          </a:cubicBezTo>
                          <a:cubicBezTo>
                            <a:pt x="33253" y="16028"/>
                            <a:pt x="33911" y="17165"/>
                            <a:pt x="34449" y="18361"/>
                          </a:cubicBezTo>
                          <a:cubicBezTo>
                            <a:pt x="34509" y="18540"/>
                            <a:pt x="34629" y="18720"/>
                            <a:pt x="34688" y="18899"/>
                          </a:cubicBezTo>
                          <a:cubicBezTo>
                            <a:pt x="34748" y="19079"/>
                            <a:pt x="34808" y="19258"/>
                            <a:pt x="34928" y="19437"/>
                          </a:cubicBezTo>
                          <a:cubicBezTo>
                            <a:pt x="35047" y="19617"/>
                            <a:pt x="35047" y="19796"/>
                            <a:pt x="35107" y="19975"/>
                          </a:cubicBezTo>
                          <a:cubicBezTo>
                            <a:pt x="35167" y="20155"/>
                            <a:pt x="35227" y="20335"/>
                            <a:pt x="35286" y="20514"/>
                          </a:cubicBezTo>
                          <a:cubicBezTo>
                            <a:pt x="35346" y="20753"/>
                            <a:pt x="35466" y="20992"/>
                            <a:pt x="35526" y="21231"/>
                          </a:cubicBezTo>
                          <a:cubicBezTo>
                            <a:pt x="35585" y="21471"/>
                            <a:pt x="35645" y="21710"/>
                            <a:pt x="35705" y="21949"/>
                          </a:cubicBezTo>
                          <a:cubicBezTo>
                            <a:pt x="35765" y="22189"/>
                            <a:pt x="35825" y="22428"/>
                            <a:pt x="35884" y="22667"/>
                          </a:cubicBezTo>
                          <a:cubicBezTo>
                            <a:pt x="35944" y="22906"/>
                            <a:pt x="36004" y="23145"/>
                            <a:pt x="36004" y="23384"/>
                          </a:cubicBezTo>
                          <a:cubicBezTo>
                            <a:pt x="36124" y="23504"/>
                            <a:pt x="36243" y="23684"/>
                            <a:pt x="36363" y="23803"/>
                          </a:cubicBezTo>
                          <a:cubicBezTo>
                            <a:pt x="36483" y="23923"/>
                            <a:pt x="36602" y="24102"/>
                            <a:pt x="36722" y="24222"/>
                          </a:cubicBezTo>
                          <a:cubicBezTo>
                            <a:pt x="36841" y="24342"/>
                            <a:pt x="36961" y="24521"/>
                            <a:pt x="37081" y="24641"/>
                          </a:cubicBezTo>
                          <a:cubicBezTo>
                            <a:pt x="37140" y="24820"/>
                            <a:pt x="37260" y="24940"/>
                            <a:pt x="37380" y="25119"/>
                          </a:cubicBezTo>
                          <a:moveTo>
                            <a:pt x="34688" y="26315"/>
                          </a:moveTo>
                          <a:cubicBezTo>
                            <a:pt x="34688" y="26076"/>
                            <a:pt x="34688" y="25837"/>
                            <a:pt x="34629" y="25597"/>
                          </a:cubicBezTo>
                          <a:cubicBezTo>
                            <a:pt x="34629" y="25358"/>
                            <a:pt x="34569" y="25119"/>
                            <a:pt x="34569" y="24880"/>
                          </a:cubicBezTo>
                          <a:cubicBezTo>
                            <a:pt x="34569" y="24641"/>
                            <a:pt x="34509" y="24401"/>
                            <a:pt x="34449" y="24162"/>
                          </a:cubicBezTo>
                          <a:cubicBezTo>
                            <a:pt x="34389" y="23923"/>
                            <a:pt x="34389" y="23684"/>
                            <a:pt x="34330" y="23444"/>
                          </a:cubicBezTo>
                          <a:cubicBezTo>
                            <a:pt x="34210" y="23265"/>
                            <a:pt x="34030" y="23145"/>
                            <a:pt x="33911" y="22966"/>
                          </a:cubicBezTo>
                          <a:cubicBezTo>
                            <a:pt x="33791" y="22787"/>
                            <a:pt x="33612" y="22667"/>
                            <a:pt x="33432" y="22488"/>
                          </a:cubicBezTo>
                          <a:cubicBezTo>
                            <a:pt x="33253" y="22308"/>
                            <a:pt x="33133" y="22189"/>
                            <a:pt x="32954" y="22009"/>
                          </a:cubicBezTo>
                          <a:cubicBezTo>
                            <a:pt x="32775" y="21830"/>
                            <a:pt x="32655" y="21650"/>
                            <a:pt x="32476" y="21530"/>
                          </a:cubicBezTo>
                          <a:cubicBezTo>
                            <a:pt x="32595" y="21770"/>
                            <a:pt x="32655" y="22069"/>
                            <a:pt x="32715" y="22308"/>
                          </a:cubicBezTo>
                          <a:cubicBezTo>
                            <a:pt x="32775" y="22547"/>
                            <a:pt x="32834" y="22846"/>
                            <a:pt x="32954" y="23145"/>
                          </a:cubicBezTo>
                          <a:cubicBezTo>
                            <a:pt x="33014" y="23384"/>
                            <a:pt x="33074" y="23684"/>
                            <a:pt x="33133" y="23983"/>
                          </a:cubicBezTo>
                          <a:cubicBezTo>
                            <a:pt x="33193" y="24282"/>
                            <a:pt x="33253" y="24521"/>
                            <a:pt x="33253" y="24820"/>
                          </a:cubicBezTo>
                          <a:cubicBezTo>
                            <a:pt x="33373" y="24940"/>
                            <a:pt x="33492" y="25119"/>
                            <a:pt x="33612" y="25238"/>
                          </a:cubicBezTo>
                          <a:cubicBezTo>
                            <a:pt x="33731" y="25358"/>
                            <a:pt x="33851" y="25538"/>
                            <a:pt x="33971" y="25657"/>
                          </a:cubicBezTo>
                          <a:cubicBezTo>
                            <a:pt x="34090" y="25777"/>
                            <a:pt x="34210" y="25956"/>
                            <a:pt x="34330" y="26076"/>
                          </a:cubicBezTo>
                          <a:cubicBezTo>
                            <a:pt x="34449" y="26196"/>
                            <a:pt x="34569" y="26196"/>
                            <a:pt x="34688" y="26315"/>
                          </a:cubicBezTo>
                          <a:moveTo>
                            <a:pt x="37200" y="29724"/>
                          </a:moveTo>
                          <a:cubicBezTo>
                            <a:pt x="37260" y="29545"/>
                            <a:pt x="37260" y="29306"/>
                            <a:pt x="37260" y="29126"/>
                          </a:cubicBezTo>
                          <a:cubicBezTo>
                            <a:pt x="37260" y="28946"/>
                            <a:pt x="37320" y="28707"/>
                            <a:pt x="37320" y="28468"/>
                          </a:cubicBezTo>
                          <a:cubicBezTo>
                            <a:pt x="37320" y="28229"/>
                            <a:pt x="37380" y="28050"/>
                            <a:pt x="37380" y="27811"/>
                          </a:cubicBezTo>
                          <a:cubicBezTo>
                            <a:pt x="37380" y="27571"/>
                            <a:pt x="37380" y="27392"/>
                            <a:pt x="37439" y="27152"/>
                          </a:cubicBezTo>
                          <a:cubicBezTo>
                            <a:pt x="37320" y="27033"/>
                            <a:pt x="37260" y="26913"/>
                            <a:pt x="37140" y="26794"/>
                          </a:cubicBezTo>
                          <a:cubicBezTo>
                            <a:pt x="37021" y="26674"/>
                            <a:pt x="36961" y="26554"/>
                            <a:pt x="36841" y="26435"/>
                          </a:cubicBezTo>
                          <a:cubicBezTo>
                            <a:pt x="36722" y="26315"/>
                            <a:pt x="36662" y="26196"/>
                            <a:pt x="36542" y="26016"/>
                          </a:cubicBezTo>
                          <a:cubicBezTo>
                            <a:pt x="36423" y="25897"/>
                            <a:pt x="36363" y="25777"/>
                            <a:pt x="36243" y="25597"/>
                          </a:cubicBezTo>
                          <a:cubicBezTo>
                            <a:pt x="36243" y="25657"/>
                            <a:pt x="36243" y="25717"/>
                            <a:pt x="36243" y="25777"/>
                          </a:cubicBezTo>
                          <a:cubicBezTo>
                            <a:pt x="36243" y="25837"/>
                            <a:pt x="36243" y="25897"/>
                            <a:pt x="36243" y="25956"/>
                          </a:cubicBezTo>
                          <a:cubicBezTo>
                            <a:pt x="36243" y="26016"/>
                            <a:pt x="36243" y="26076"/>
                            <a:pt x="36243" y="26136"/>
                          </a:cubicBezTo>
                          <a:cubicBezTo>
                            <a:pt x="36243" y="26196"/>
                            <a:pt x="36243" y="26255"/>
                            <a:pt x="36243" y="26315"/>
                          </a:cubicBezTo>
                          <a:cubicBezTo>
                            <a:pt x="36243" y="26495"/>
                            <a:pt x="36243" y="26614"/>
                            <a:pt x="36243" y="26794"/>
                          </a:cubicBezTo>
                          <a:cubicBezTo>
                            <a:pt x="36243" y="26973"/>
                            <a:pt x="36243" y="27092"/>
                            <a:pt x="36243" y="27272"/>
                          </a:cubicBezTo>
                          <a:cubicBezTo>
                            <a:pt x="36243" y="27451"/>
                            <a:pt x="36243" y="27571"/>
                            <a:pt x="36243" y="27751"/>
                          </a:cubicBezTo>
                          <a:cubicBezTo>
                            <a:pt x="36243" y="27930"/>
                            <a:pt x="36243" y="28050"/>
                            <a:pt x="36184" y="28229"/>
                          </a:cubicBezTo>
                          <a:cubicBezTo>
                            <a:pt x="36243" y="28349"/>
                            <a:pt x="36363" y="28468"/>
                            <a:pt x="36423" y="28588"/>
                          </a:cubicBezTo>
                          <a:cubicBezTo>
                            <a:pt x="36483" y="28707"/>
                            <a:pt x="36602" y="28827"/>
                            <a:pt x="36662" y="28946"/>
                          </a:cubicBezTo>
                          <a:cubicBezTo>
                            <a:pt x="36722" y="29066"/>
                            <a:pt x="36841" y="29186"/>
                            <a:pt x="36901" y="29306"/>
                          </a:cubicBezTo>
                          <a:cubicBezTo>
                            <a:pt x="37021" y="29485"/>
                            <a:pt x="37081" y="29605"/>
                            <a:pt x="37200" y="29724"/>
                          </a:cubicBezTo>
                          <a:moveTo>
                            <a:pt x="16926" y="57116"/>
                          </a:moveTo>
                          <a:lnTo>
                            <a:pt x="17883" y="57714"/>
                          </a:lnTo>
                          <a:cubicBezTo>
                            <a:pt x="18600" y="56996"/>
                            <a:pt x="19318" y="56278"/>
                            <a:pt x="20036" y="55621"/>
                          </a:cubicBezTo>
                          <a:cubicBezTo>
                            <a:pt x="20753" y="54963"/>
                            <a:pt x="21471" y="54185"/>
                            <a:pt x="22129" y="53468"/>
                          </a:cubicBezTo>
                          <a:cubicBezTo>
                            <a:pt x="22787" y="52750"/>
                            <a:pt x="23505" y="52032"/>
                            <a:pt x="24162" y="51315"/>
                          </a:cubicBezTo>
                          <a:cubicBezTo>
                            <a:pt x="24820" y="50597"/>
                            <a:pt x="25478" y="49879"/>
                            <a:pt x="26136" y="49161"/>
                          </a:cubicBezTo>
                          <a:cubicBezTo>
                            <a:pt x="26196" y="49102"/>
                            <a:pt x="26255" y="48982"/>
                            <a:pt x="26315" y="48922"/>
                          </a:cubicBezTo>
                          <a:cubicBezTo>
                            <a:pt x="26375" y="48862"/>
                            <a:pt x="26435" y="48743"/>
                            <a:pt x="26495" y="48683"/>
                          </a:cubicBezTo>
                          <a:cubicBezTo>
                            <a:pt x="26554" y="48623"/>
                            <a:pt x="26614" y="48504"/>
                            <a:pt x="26674" y="48444"/>
                          </a:cubicBezTo>
                          <a:cubicBezTo>
                            <a:pt x="26734" y="48384"/>
                            <a:pt x="26794" y="48264"/>
                            <a:pt x="26854" y="48205"/>
                          </a:cubicBezTo>
                          <a:cubicBezTo>
                            <a:pt x="27213" y="47786"/>
                            <a:pt x="27571" y="47367"/>
                            <a:pt x="27930" y="46949"/>
                          </a:cubicBezTo>
                          <a:cubicBezTo>
                            <a:pt x="28289" y="46530"/>
                            <a:pt x="28648" y="46111"/>
                            <a:pt x="28947" y="45693"/>
                          </a:cubicBezTo>
                          <a:cubicBezTo>
                            <a:pt x="29246" y="45274"/>
                            <a:pt x="29605" y="44855"/>
                            <a:pt x="29963" y="44437"/>
                          </a:cubicBezTo>
                          <a:cubicBezTo>
                            <a:pt x="30322" y="44018"/>
                            <a:pt x="30621" y="43599"/>
                            <a:pt x="30921" y="43181"/>
                          </a:cubicBezTo>
                          <a:cubicBezTo>
                            <a:pt x="30980" y="43121"/>
                            <a:pt x="31040" y="43001"/>
                            <a:pt x="31100" y="42942"/>
                          </a:cubicBezTo>
                          <a:cubicBezTo>
                            <a:pt x="31160" y="42882"/>
                            <a:pt x="31220" y="42762"/>
                            <a:pt x="31279" y="42702"/>
                          </a:cubicBezTo>
                          <a:cubicBezTo>
                            <a:pt x="31339" y="42643"/>
                            <a:pt x="31399" y="42523"/>
                            <a:pt x="31459" y="42463"/>
                          </a:cubicBezTo>
                          <a:cubicBezTo>
                            <a:pt x="31519" y="42403"/>
                            <a:pt x="31578" y="42284"/>
                            <a:pt x="31638" y="42224"/>
                          </a:cubicBezTo>
                          <a:cubicBezTo>
                            <a:pt x="31698" y="42104"/>
                            <a:pt x="31817" y="41985"/>
                            <a:pt x="31877" y="41865"/>
                          </a:cubicBezTo>
                          <a:cubicBezTo>
                            <a:pt x="31937" y="41745"/>
                            <a:pt x="32057" y="41626"/>
                            <a:pt x="32116" y="41506"/>
                          </a:cubicBezTo>
                          <a:cubicBezTo>
                            <a:pt x="32176" y="41386"/>
                            <a:pt x="32296" y="41267"/>
                            <a:pt x="32356" y="41147"/>
                          </a:cubicBezTo>
                          <a:cubicBezTo>
                            <a:pt x="32416" y="41028"/>
                            <a:pt x="32535" y="40908"/>
                            <a:pt x="32595" y="40789"/>
                          </a:cubicBezTo>
                          <a:cubicBezTo>
                            <a:pt x="32655" y="40729"/>
                            <a:pt x="32715" y="40609"/>
                            <a:pt x="32775" y="40549"/>
                          </a:cubicBezTo>
                          <a:cubicBezTo>
                            <a:pt x="32834" y="40490"/>
                            <a:pt x="32894" y="40370"/>
                            <a:pt x="32954" y="40310"/>
                          </a:cubicBezTo>
                          <a:cubicBezTo>
                            <a:pt x="33014" y="40250"/>
                            <a:pt x="33074" y="40131"/>
                            <a:pt x="33133" y="40071"/>
                          </a:cubicBezTo>
                          <a:cubicBezTo>
                            <a:pt x="33193" y="40011"/>
                            <a:pt x="33253" y="39891"/>
                            <a:pt x="33313" y="39831"/>
                          </a:cubicBezTo>
                          <a:cubicBezTo>
                            <a:pt x="33492" y="39532"/>
                            <a:pt x="33612" y="39293"/>
                            <a:pt x="33791" y="38994"/>
                          </a:cubicBezTo>
                          <a:cubicBezTo>
                            <a:pt x="33971" y="38695"/>
                            <a:pt x="34090" y="38456"/>
                            <a:pt x="34270" y="38157"/>
                          </a:cubicBezTo>
                          <a:cubicBezTo>
                            <a:pt x="34449" y="37858"/>
                            <a:pt x="34569" y="37619"/>
                            <a:pt x="34688" y="37320"/>
                          </a:cubicBezTo>
                          <a:cubicBezTo>
                            <a:pt x="34808" y="37021"/>
                            <a:pt x="34987" y="36782"/>
                            <a:pt x="35107" y="36482"/>
                          </a:cubicBezTo>
                          <a:cubicBezTo>
                            <a:pt x="35167" y="36363"/>
                            <a:pt x="35167" y="36303"/>
                            <a:pt x="35227" y="36183"/>
                          </a:cubicBezTo>
                          <a:cubicBezTo>
                            <a:pt x="35286" y="36064"/>
                            <a:pt x="35286" y="36004"/>
                            <a:pt x="35346" y="35884"/>
                          </a:cubicBezTo>
                          <a:cubicBezTo>
                            <a:pt x="35406" y="35765"/>
                            <a:pt x="35406" y="35705"/>
                            <a:pt x="35466" y="35585"/>
                          </a:cubicBezTo>
                          <a:cubicBezTo>
                            <a:pt x="35526" y="35466"/>
                            <a:pt x="35526" y="35406"/>
                            <a:pt x="35585" y="35286"/>
                          </a:cubicBezTo>
                          <a:cubicBezTo>
                            <a:pt x="35705" y="34987"/>
                            <a:pt x="35825" y="34748"/>
                            <a:pt x="35884" y="34449"/>
                          </a:cubicBezTo>
                          <a:cubicBezTo>
                            <a:pt x="36004" y="34150"/>
                            <a:pt x="36064" y="33911"/>
                            <a:pt x="36184" y="33612"/>
                          </a:cubicBezTo>
                          <a:cubicBezTo>
                            <a:pt x="36303" y="33313"/>
                            <a:pt x="36363" y="33073"/>
                            <a:pt x="36423" y="32774"/>
                          </a:cubicBezTo>
                          <a:cubicBezTo>
                            <a:pt x="36483" y="32475"/>
                            <a:pt x="36602" y="32236"/>
                            <a:pt x="36662" y="31937"/>
                          </a:cubicBezTo>
                          <a:cubicBezTo>
                            <a:pt x="36662" y="31877"/>
                            <a:pt x="36662" y="31877"/>
                            <a:pt x="36662" y="31817"/>
                          </a:cubicBezTo>
                          <a:cubicBezTo>
                            <a:pt x="36662" y="31758"/>
                            <a:pt x="36662" y="31758"/>
                            <a:pt x="36662" y="31698"/>
                          </a:cubicBezTo>
                          <a:cubicBezTo>
                            <a:pt x="36662" y="31638"/>
                            <a:pt x="36662" y="31638"/>
                            <a:pt x="36662" y="31578"/>
                          </a:cubicBezTo>
                          <a:cubicBezTo>
                            <a:pt x="36662" y="31519"/>
                            <a:pt x="36662" y="31519"/>
                            <a:pt x="36662" y="31459"/>
                          </a:cubicBezTo>
                          <a:cubicBezTo>
                            <a:pt x="36602" y="31339"/>
                            <a:pt x="36542" y="31219"/>
                            <a:pt x="36423" y="31100"/>
                          </a:cubicBezTo>
                          <a:cubicBezTo>
                            <a:pt x="36303" y="30980"/>
                            <a:pt x="36303" y="30860"/>
                            <a:pt x="36184" y="30741"/>
                          </a:cubicBezTo>
                          <a:cubicBezTo>
                            <a:pt x="36064" y="30621"/>
                            <a:pt x="36064" y="30502"/>
                            <a:pt x="35944" y="30382"/>
                          </a:cubicBezTo>
                          <a:cubicBezTo>
                            <a:pt x="35884" y="30262"/>
                            <a:pt x="35765" y="30143"/>
                            <a:pt x="35705" y="30023"/>
                          </a:cubicBezTo>
                          <a:cubicBezTo>
                            <a:pt x="35705" y="30143"/>
                            <a:pt x="35645" y="30203"/>
                            <a:pt x="35645" y="30322"/>
                          </a:cubicBezTo>
                          <a:cubicBezTo>
                            <a:pt x="35645" y="30442"/>
                            <a:pt x="35585" y="30502"/>
                            <a:pt x="35585" y="30621"/>
                          </a:cubicBezTo>
                          <a:cubicBezTo>
                            <a:pt x="35585" y="30741"/>
                            <a:pt x="35526" y="30801"/>
                            <a:pt x="35526" y="30920"/>
                          </a:cubicBezTo>
                          <a:cubicBezTo>
                            <a:pt x="35526" y="31040"/>
                            <a:pt x="35466" y="31100"/>
                            <a:pt x="35466" y="31219"/>
                          </a:cubicBezTo>
                          <a:cubicBezTo>
                            <a:pt x="35406" y="31519"/>
                            <a:pt x="35346" y="31758"/>
                            <a:pt x="35227" y="32057"/>
                          </a:cubicBezTo>
                          <a:cubicBezTo>
                            <a:pt x="35107" y="32356"/>
                            <a:pt x="35047" y="32595"/>
                            <a:pt x="34987" y="32894"/>
                          </a:cubicBezTo>
                          <a:cubicBezTo>
                            <a:pt x="34868" y="33193"/>
                            <a:pt x="34808" y="33432"/>
                            <a:pt x="34688" y="33731"/>
                          </a:cubicBezTo>
                          <a:cubicBezTo>
                            <a:pt x="34569" y="34030"/>
                            <a:pt x="34509" y="34269"/>
                            <a:pt x="34389" y="34568"/>
                          </a:cubicBezTo>
                          <a:cubicBezTo>
                            <a:pt x="34330" y="34688"/>
                            <a:pt x="34330" y="34748"/>
                            <a:pt x="34270" y="34868"/>
                          </a:cubicBezTo>
                          <a:cubicBezTo>
                            <a:pt x="34210" y="34987"/>
                            <a:pt x="34210" y="35047"/>
                            <a:pt x="34150" y="35167"/>
                          </a:cubicBezTo>
                          <a:cubicBezTo>
                            <a:pt x="34090" y="35286"/>
                            <a:pt x="34090" y="35346"/>
                            <a:pt x="34030" y="35466"/>
                          </a:cubicBezTo>
                          <a:cubicBezTo>
                            <a:pt x="33971" y="35585"/>
                            <a:pt x="33971" y="35645"/>
                            <a:pt x="33911" y="35765"/>
                          </a:cubicBezTo>
                          <a:cubicBezTo>
                            <a:pt x="33791" y="36064"/>
                            <a:pt x="33671" y="36303"/>
                            <a:pt x="33492" y="36602"/>
                          </a:cubicBezTo>
                          <a:cubicBezTo>
                            <a:pt x="33373" y="36901"/>
                            <a:pt x="33193" y="37140"/>
                            <a:pt x="33074" y="37439"/>
                          </a:cubicBezTo>
                          <a:cubicBezTo>
                            <a:pt x="32954" y="37738"/>
                            <a:pt x="32775" y="37977"/>
                            <a:pt x="32655" y="38277"/>
                          </a:cubicBezTo>
                          <a:cubicBezTo>
                            <a:pt x="32535" y="38576"/>
                            <a:pt x="32356" y="38815"/>
                            <a:pt x="32176" y="39114"/>
                          </a:cubicBezTo>
                          <a:cubicBezTo>
                            <a:pt x="32116" y="39234"/>
                            <a:pt x="32057" y="39293"/>
                            <a:pt x="31997" y="39353"/>
                          </a:cubicBezTo>
                          <a:cubicBezTo>
                            <a:pt x="31937" y="39413"/>
                            <a:pt x="31877" y="39532"/>
                            <a:pt x="31817" y="39592"/>
                          </a:cubicBezTo>
                          <a:cubicBezTo>
                            <a:pt x="31758" y="39652"/>
                            <a:pt x="31698" y="39772"/>
                            <a:pt x="31638" y="39831"/>
                          </a:cubicBezTo>
                          <a:cubicBezTo>
                            <a:pt x="31578" y="39891"/>
                            <a:pt x="31519" y="40011"/>
                            <a:pt x="31459" y="40071"/>
                          </a:cubicBezTo>
                          <a:cubicBezTo>
                            <a:pt x="31399" y="40190"/>
                            <a:pt x="31279" y="40310"/>
                            <a:pt x="31220" y="40430"/>
                          </a:cubicBezTo>
                          <a:cubicBezTo>
                            <a:pt x="31160" y="40549"/>
                            <a:pt x="31040" y="40669"/>
                            <a:pt x="30980" y="40789"/>
                          </a:cubicBezTo>
                          <a:cubicBezTo>
                            <a:pt x="30921" y="40908"/>
                            <a:pt x="30801" y="41028"/>
                            <a:pt x="30741" y="41147"/>
                          </a:cubicBezTo>
                          <a:cubicBezTo>
                            <a:pt x="30681" y="41267"/>
                            <a:pt x="30562" y="41386"/>
                            <a:pt x="30502" y="41506"/>
                          </a:cubicBezTo>
                          <a:cubicBezTo>
                            <a:pt x="30442" y="41566"/>
                            <a:pt x="30382" y="41685"/>
                            <a:pt x="30322" y="41745"/>
                          </a:cubicBezTo>
                          <a:cubicBezTo>
                            <a:pt x="30262" y="41805"/>
                            <a:pt x="30203" y="41925"/>
                            <a:pt x="30143" y="41985"/>
                          </a:cubicBezTo>
                          <a:cubicBezTo>
                            <a:pt x="30083" y="42044"/>
                            <a:pt x="30023" y="42164"/>
                            <a:pt x="29963" y="42224"/>
                          </a:cubicBezTo>
                          <a:cubicBezTo>
                            <a:pt x="29904" y="42284"/>
                            <a:pt x="29844" y="42403"/>
                            <a:pt x="29784" y="42463"/>
                          </a:cubicBezTo>
                          <a:cubicBezTo>
                            <a:pt x="29485" y="42882"/>
                            <a:pt x="29186" y="43300"/>
                            <a:pt x="28827" y="43719"/>
                          </a:cubicBezTo>
                          <a:cubicBezTo>
                            <a:pt x="28528" y="44138"/>
                            <a:pt x="28169" y="44556"/>
                            <a:pt x="27811" y="44975"/>
                          </a:cubicBezTo>
                          <a:cubicBezTo>
                            <a:pt x="27452" y="45393"/>
                            <a:pt x="27153" y="45812"/>
                            <a:pt x="26794" y="46231"/>
                          </a:cubicBezTo>
                          <a:cubicBezTo>
                            <a:pt x="26435" y="46650"/>
                            <a:pt x="26076" y="47068"/>
                            <a:pt x="25717" y="47487"/>
                          </a:cubicBezTo>
                          <a:cubicBezTo>
                            <a:pt x="25658" y="47547"/>
                            <a:pt x="25598" y="47666"/>
                            <a:pt x="25538" y="47726"/>
                          </a:cubicBezTo>
                          <a:cubicBezTo>
                            <a:pt x="25478" y="47786"/>
                            <a:pt x="25418" y="47906"/>
                            <a:pt x="25359" y="47966"/>
                          </a:cubicBezTo>
                          <a:cubicBezTo>
                            <a:pt x="25299" y="48025"/>
                            <a:pt x="25239" y="48145"/>
                            <a:pt x="25179" y="48205"/>
                          </a:cubicBezTo>
                          <a:cubicBezTo>
                            <a:pt x="25119" y="48264"/>
                            <a:pt x="25059" y="48384"/>
                            <a:pt x="25000" y="48444"/>
                          </a:cubicBezTo>
                          <a:cubicBezTo>
                            <a:pt x="24342" y="49161"/>
                            <a:pt x="23684" y="49879"/>
                            <a:pt x="23026" y="50597"/>
                          </a:cubicBezTo>
                          <a:cubicBezTo>
                            <a:pt x="22368" y="51315"/>
                            <a:pt x="21650" y="52032"/>
                            <a:pt x="20992" y="52750"/>
                          </a:cubicBezTo>
                          <a:cubicBezTo>
                            <a:pt x="20275" y="53468"/>
                            <a:pt x="19617" y="54185"/>
                            <a:pt x="18899" y="54903"/>
                          </a:cubicBezTo>
                          <a:cubicBezTo>
                            <a:pt x="18361" y="55740"/>
                            <a:pt x="17643" y="56458"/>
                            <a:pt x="16926" y="57116"/>
                          </a:cubicBezTo>
                          <a:moveTo>
                            <a:pt x="14773" y="55681"/>
                          </a:moveTo>
                          <a:lnTo>
                            <a:pt x="15729" y="56338"/>
                          </a:lnTo>
                          <a:cubicBezTo>
                            <a:pt x="16447" y="55621"/>
                            <a:pt x="17165" y="54903"/>
                            <a:pt x="17883" y="54245"/>
                          </a:cubicBezTo>
                          <a:cubicBezTo>
                            <a:pt x="18600" y="53528"/>
                            <a:pt x="19318" y="52810"/>
                            <a:pt x="19976" y="52092"/>
                          </a:cubicBezTo>
                          <a:cubicBezTo>
                            <a:pt x="20693" y="51374"/>
                            <a:pt x="21351" y="50657"/>
                            <a:pt x="22069" y="49939"/>
                          </a:cubicBezTo>
                          <a:cubicBezTo>
                            <a:pt x="22787" y="49221"/>
                            <a:pt x="23385" y="48504"/>
                            <a:pt x="24043" y="47786"/>
                          </a:cubicBezTo>
                          <a:cubicBezTo>
                            <a:pt x="24102" y="47726"/>
                            <a:pt x="24162" y="47607"/>
                            <a:pt x="24222" y="47547"/>
                          </a:cubicBezTo>
                          <a:cubicBezTo>
                            <a:pt x="24282" y="47487"/>
                            <a:pt x="24342" y="47367"/>
                            <a:pt x="24401" y="47307"/>
                          </a:cubicBezTo>
                          <a:cubicBezTo>
                            <a:pt x="24461" y="47248"/>
                            <a:pt x="24521" y="47128"/>
                            <a:pt x="24581" y="47068"/>
                          </a:cubicBezTo>
                          <a:cubicBezTo>
                            <a:pt x="24641" y="47008"/>
                            <a:pt x="24700" y="46889"/>
                            <a:pt x="24760" y="46829"/>
                          </a:cubicBezTo>
                          <a:cubicBezTo>
                            <a:pt x="25119" y="46410"/>
                            <a:pt x="25478" y="45992"/>
                            <a:pt x="25837" y="45573"/>
                          </a:cubicBezTo>
                          <a:cubicBezTo>
                            <a:pt x="26196" y="45154"/>
                            <a:pt x="26554" y="44736"/>
                            <a:pt x="26854" y="44317"/>
                          </a:cubicBezTo>
                          <a:cubicBezTo>
                            <a:pt x="27213" y="43898"/>
                            <a:pt x="27512" y="43480"/>
                            <a:pt x="27870" y="43061"/>
                          </a:cubicBezTo>
                          <a:cubicBezTo>
                            <a:pt x="28169" y="42643"/>
                            <a:pt x="28528" y="42224"/>
                            <a:pt x="28827" y="41805"/>
                          </a:cubicBezTo>
                          <a:cubicBezTo>
                            <a:pt x="28887" y="41745"/>
                            <a:pt x="28947" y="41626"/>
                            <a:pt x="29007" y="41566"/>
                          </a:cubicBezTo>
                          <a:cubicBezTo>
                            <a:pt x="29067" y="41506"/>
                            <a:pt x="29126" y="41386"/>
                            <a:pt x="29186" y="41327"/>
                          </a:cubicBezTo>
                          <a:cubicBezTo>
                            <a:pt x="29246" y="41267"/>
                            <a:pt x="29306" y="41147"/>
                            <a:pt x="29366" y="41088"/>
                          </a:cubicBezTo>
                          <a:cubicBezTo>
                            <a:pt x="29425" y="41028"/>
                            <a:pt x="29485" y="40908"/>
                            <a:pt x="29545" y="40848"/>
                          </a:cubicBezTo>
                          <a:cubicBezTo>
                            <a:pt x="29605" y="40729"/>
                            <a:pt x="29724" y="40609"/>
                            <a:pt x="29784" y="40490"/>
                          </a:cubicBezTo>
                          <a:cubicBezTo>
                            <a:pt x="29844" y="40370"/>
                            <a:pt x="29963" y="40250"/>
                            <a:pt x="30023" y="40131"/>
                          </a:cubicBezTo>
                          <a:cubicBezTo>
                            <a:pt x="30083" y="40011"/>
                            <a:pt x="30203" y="39891"/>
                            <a:pt x="30262" y="39772"/>
                          </a:cubicBezTo>
                          <a:cubicBezTo>
                            <a:pt x="30322" y="39652"/>
                            <a:pt x="30442" y="39532"/>
                            <a:pt x="30502" y="39413"/>
                          </a:cubicBezTo>
                          <a:cubicBezTo>
                            <a:pt x="30562" y="39353"/>
                            <a:pt x="30621" y="39234"/>
                            <a:pt x="30681" y="39174"/>
                          </a:cubicBezTo>
                          <a:cubicBezTo>
                            <a:pt x="30741" y="39114"/>
                            <a:pt x="30801" y="38994"/>
                            <a:pt x="30861" y="38935"/>
                          </a:cubicBezTo>
                          <a:cubicBezTo>
                            <a:pt x="30921" y="38875"/>
                            <a:pt x="30980" y="38755"/>
                            <a:pt x="31040" y="38695"/>
                          </a:cubicBezTo>
                          <a:cubicBezTo>
                            <a:pt x="31100" y="38576"/>
                            <a:pt x="31160" y="38516"/>
                            <a:pt x="31220" y="38396"/>
                          </a:cubicBezTo>
                          <a:cubicBezTo>
                            <a:pt x="31399" y="38097"/>
                            <a:pt x="31519" y="37858"/>
                            <a:pt x="31698" y="37559"/>
                          </a:cubicBezTo>
                          <a:cubicBezTo>
                            <a:pt x="31877" y="37260"/>
                            <a:pt x="31997" y="37021"/>
                            <a:pt x="32116" y="36722"/>
                          </a:cubicBezTo>
                          <a:cubicBezTo>
                            <a:pt x="32236" y="36422"/>
                            <a:pt x="32416" y="36183"/>
                            <a:pt x="32535" y="35884"/>
                          </a:cubicBezTo>
                          <a:cubicBezTo>
                            <a:pt x="32655" y="35585"/>
                            <a:pt x="32775" y="35346"/>
                            <a:pt x="32894" y="35047"/>
                          </a:cubicBezTo>
                          <a:cubicBezTo>
                            <a:pt x="32954" y="34927"/>
                            <a:pt x="32954" y="34868"/>
                            <a:pt x="33014" y="34748"/>
                          </a:cubicBezTo>
                          <a:cubicBezTo>
                            <a:pt x="33074" y="34628"/>
                            <a:pt x="33074" y="34568"/>
                            <a:pt x="33133" y="34449"/>
                          </a:cubicBezTo>
                          <a:cubicBezTo>
                            <a:pt x="33193" y="34329"/>
                            <a:pt x="33193" y="34269"/>
                            <a:pt x="33253" y="34150"/>
                          </a:cubicBezTo>
                          <a:cubicBezTo>
                            <a:pt x="33313" y="34030"/>
                            <a:pt x="33313" y="33970"/>
                            <a:pt x="33373" y="33851"/>
                          </a:cubicBezTo>
                          <a:cubicBezTo>
                            <a:pt x="33492" y="33552"/>
                            <a:pt x="33552" y="33253"/>
                            <a:pt x="33671" y="33014"/>
                          </a:cubicBezTo>
                          <a:cubicBezTo>
                            <a:pt x="33791" y="32714"/>
                            <a:pt x="33851" y="32415"/>
                            <a:pt x="33911" y="32176"/>
                          </a:cubicBezTo>
                          <a:cubicBezTo>
                            <a:pt x="33971" y="31877"/>
                            <a:pt x="34090" y="31578"/>
                            <a:pt x="34150" y="31339"/>
                          </a:cubicBezTo>
                          <a:cubicBezTo>
                            <a:pt x="34210" y="31040"/>
                            <a:pt x="34270" y="30741"/>
                            <a:pt x="34330" y="30502"/>
                          </a:cubicBezTo>
                          <a:cubicBezTo>
                            <a:pt x="34330" y="30382"/>
                            <a:pt x="34389" y="30262"/>
                            <a:pt x="34389" y="30143"/>
                          </a:cubicBezTo>
                          <a:cubicBezTo>
                            <a:pt x="34389" y="30023"/>
                            <a:pt x="34449" y="29904"/>
                            <a:pt x="34449" y="29784"/>
                          </a:cubicBezTo>
                          <a:cubicBezTo>
                            <a:pt x="34449" y="29665"/>
                            <a:pt x="34509" y="29545"/>
                            <a:pt x="34509" y="29425"/>
                          </a:cubicBezTo>
                          <a:cubicBezTo>
                            <a:pt x="34509" y="29306"/>
                            <a:pt x="34569" y="29186"/>
                            <a:pt x="34569" y="29066"/>
                          </a:cubicBezTo>
                          <a:cubicBezTo>
                            <a:pt x="34569" y="29006"/>
                            <a:pt x="34569" y="28946"/>
                            <a:pt x="34569" y="28887"/>
                          </a:cubicBezTo>
                          <a:cubicBezTo>
                            <a:pt x="34569" y="28827"/>
                            <a:pt x="34569" y="28767"/>
                            <a:pt x="34569" y="28707"/>
                          </a:cubicBezTo>
                          <a:cubicBezTo>
                            <a:pt x="34569" y="28648"/>
                            <a:pt x="34569" y="28588"/>
                            <a:pt x="34569" y="28528"/>
                          </a:cubicBezTo>
                          <a:cubicBezTo>
                            <a:pt x="34569" y="28468"/>
                            <a:pt x="34569" y="28408"/>
                            <a:pt x="34569" y="28349"/>
                          </a:cubicBezTo>
                          <a:cubicBezTo>
                            <a:pt x="34449" y="28229"/>
                            <a:pt x="34389" y="28109"/>
                            <a:pt x="34270" y="27990"/>
                          </a:cubicBezTo>
                          <a:cubicBezTo>
                            <a:pt x="34150" y="27870"/>
                            <a:pt x="34090" y="27751"/>
                            <a:pt x="33971" y="27631"/>
                          </a:cubicBezTo>
                          <a:cubicBezTo>
                            <a:pt x="33851" y="27511"/>
                            <a:pt x="33791" y="27392"/>
                            <a:pt x="33671" y="27272"/>
                          </a:cubicBezTo>
                          <a:cubicBezTo>
                            <a:pt x="33552" y="27152"/>
                            <a:pt x="33492" y="27033"/>
                            <a:pt x="33373" y="26913"/>
                          </a:cubicBezTo>
                          <a:cubicBezTo>
                            <a:pt x="33373" y="27033"/>
                            <a:pt x="33373" y="27152"/>
                            <a:pt x="33373" y="27272"/>
                          </a:cubicBezTo>
                          <a:cubicBezTo>
                            <a:pt x="33373" y="27392"/>
                            <a:pt x="33373" y="27511"/>
                            <a:pt x="33373" y="27631"/>
                          </a:cubicBezTo>
                          <a:cubicBezTo>
                            <a:pt x="33373" y="27751"/>
                            <a:pt x="33373" y="27870"/>
                            <a:pt x="33373" y="27990"/>
                          </a:cubicBezTo>
                          <a:cubicBezTo>
                            <a:pt x="33373" y="28109"/>
                            <a:pt x="33373" y="28229"/>
                            <a:pt x="33373" y="28349"/>
                          </a:cubicBezTo>
                          <a:cubicBezTo>
                            <a:pt x="33373" y="28468"/>
                            <a:pt x="33373" y="28588"/>
                            <a:pt x="33313" y="28707"/>
                          </a:cubicBezTo>
                          <a:cubicBezTo>
                            <a:pt x="33313" y="28827"/>
                            <a:pt x="33313" y="28946"/>
                            <a:pt x="33253" y="29066"/>
                          </a:cubicBezTo>
                          <a:cubicBezTo>
                            <a:pt x="33193" y="29186"/>
                            <a:pt x="33253" y="29306"/>
                            <a:pt x="33193" y="29425"/>
                          </a:cubicBezTo>
                          <a:cubicBezTo>
                            <a:pt x="33193" y="29545"/>
                            <a:pt x="33133" y="29665"/>
                            <a:pt x="33133" y="29784"/>
                          </a:cubicBezTo>
                          <a:cubicBezTo>
                            <a:pt x="33074" y="30083"/>
                            <a:pt x="33014" y="30382"/>
                            <a:pt x="32954" y="30681"/>
                          </a:cubicBezTo>
                          <a:cubicBezTo>
                            <a:pt x="32894" y="30980"/>
                            <a:pt x="32834" y="31279"/>
                            <a:pt x="32775" y="31578"/>
                          </a:cubicBezTo>
                          <a:cubicBezTo>
                            <a:pt x="32715" y="31877"/>
                            <a:pt x="32595" y="32176"/>
                            <a:pt x="32535" y="32475"/>
                          </a:cubicBezTo>
                          <a:cubicBezTo>
                            <a:pt x="32476" y="32774"/>
                            <a:pt x="32356" y="33073"/>
                            <a:pt x="32236" y="33373"/>
                          </a:cubicBezTo>
                          <a:cubicBezTo>
                            <a:pt x="32176" y="33492"/>
                            <a:pt x="32176" y="33552"/>
                            <a:pt x="32116" y="33671"/>
                          </a:cubicBezTo>
                          <a:cubicBezTo>
                            <a:pt x="32057" y="33791"/>
                            <a:pt x="32057" y="33851"/>
                            <a:pt x="31997" y="33970"/>
                          </a:cubicBezTo>
                          <a:cubicBezTo>
                            <a:pt x="31937" y="34090"/>
                            <a:pt x="31937" y="34150"/>
                            <a:pt x="31877" y="34269"/>
                          </a:cubicBezTo>
                          <a:cubicBezTo>
                            <a:pt x="31817" y="34389"/>
                            <a:pt x="31817" y="34449"/>
                            <a:pt x="31758" y="34568"/>
                          </a:cubicBezTo>
                          <a:cubicBezTo>
                            <a:pt x="31638" y="34868"/>
                            <a:pt x="31519" y="35107"/>
                            <a:pt x="31399" y="35406"/>
                          </a:cubicBezTo>
                          <a:cubicBezTo>
                            <a:pt x="31279" y="35705"/>
                            <a:pt x="31160" y="35944"/>
                            <a:pt x="30980" y="36243"/>
                          </a:cubicBezTo>
                          <a:cubicBezTo>
                            <a:pt x="30861" y="36542"/>
                            <a:pt x="30681" y="36782"/>
                            <a:pt x="30562" y="37081"/>
                          </a:cubicBezTo>
                          <a:cubicBezTo>
                            <a:pt x="30442" y="37380"/>
                            <a:pt x="30262" y="37619"/>
                            <a:pt x="30083" y="37918"/>
                          </a:cubicBezTo>
                          <a:cubicBezTo>
                            <a:pt x="30023" y="38037"/>
                            <a:pt x="29963" y="38097"/>
                            <a:pt x="29904" y="38217"/>
                          </a:cubicBezTo>
                          <a:cubicBezTo>
                            <a:pt x="29844" y="38336"/>
                            <a:pt x="29784" y="38396"/>
                            <a:pt x="29724" y="38516"/>
                          </a:cubicBezTo>
                          <a:cubicBezTo>
                            <a:pt x="29665" y="38636"/>
                            <a:pt x="29605" y="38695"/>
                            <a:pt x="29545" y="38815"/>
                          </a:cubicBezTo>
                          <a:cubicBezTo>
                            <a:pt x="29485" y="38935"/>
                            <a:pt x="29425" y="38994"/>
                            <a:pt x="29366" y="39114"/>
                          </a:cubicBezTo>
                          <a:cubicBezTo>
                            <a:pt x="29306" y="39234"/>
                            <a:pt x="29186" y="39353"/>
                            <a:pt x="29126" y="39473"/>
                          </a:cubicBezTo>
                          <a:cubicBezTo>
                            <a:pt x="29067" y="39592"/>
                            <a:pt x="28947" y="39712"/>
                            <a:pt x="28887" y="39831"/>
                          </a:cubicBezTo>
                          <a:cubicBezTo>
                            <a:pt x="28827" y="39951"/>
                            <a:pt x="28708" y="40071"/>
                            <a:pt x="28648" y="40190"/>
                          </a:cubicBezTo>
                          <a:cubicBezTo>
                            <a:pt x="28588" y="40310"/>
                            <a:pt x="28468" y="40430"/>
                            <a:pt x="28408" y="40549"/>
                          </a:cubicBezTo>
                          <a:cubicBezTo>
                            <a:pt x="28349" y="40609"/>
                            <a:pt x="28289" y="40729"/>
                            <a:pt x="28229" y="40789"/>
                          </a:cubicBezTo>
                          <a:cubicBezTo>
                            <a:pt x="28169" y="40848"/>
                            <a:pt x="28109" y="40968"/>
                            <a:pt x="28050" y="41028"/>
                          </a:cubicBezTo>
                          <a:cubicBezTo>
                            <a:pt x="27990" y="41088"/>
                            <a:pt x="27930" y="41207"/>
                            <a:pt x="27870" y="41267"/>
                          </a:cubicBezTo>
                          <a:cubicBezTo>
                            <a:pt x="27811" y="41327"/>
                            <a:pt x="27751" y="41446"/>
                            <a:pt x="27691" y="41506"/>
                          </a:cubicBezTo>
                          <a:cubicBezTo>
                            <a:pt x="27392" y="41925"/>
                            <a:pt x="27093" y="42344"/>
                            <a:pt x="26734" y="42762"/>
                          </a:cubicBezTo>
                          <a:cubicBezTo>
                            <a:pt x="26375" y="43181"/>
                            <a:pt x="26076" y="43599"/>
                            <a:pt x="25717" y="44018"/>
                          </a:cubicBezTo>
                          <a:cubicBezTo>
                            <a:pt x="25359" y="44437"/>
                            <a:pt x="25059" y="44855"/>
                            <a:pt x="24700" y="45274"/>
                          </a:cubicBezTo>
                          <a:cubicBezTo>
                            <a:pt x="24342" y="45693"/>
                            <a:pt x="23983" y="46111"/>
                            <a:pt x="23624" y="46530"/>
                          </a:cubicBezTo>
                          <a:cubicBezTo>
                            <a:pt x="23564" y="46590"/>
                            <a:pt x="23505" y="46709"/>
                            <a:pt x="23445" y="46769"/>
                          </a:cubicBezTo>
                          <a:cubicBezTo>
                            <a:pt x="23385" y="46829"/>
                            <a:pt x="23325" y="46949"/>
                            <a:pt x="23265" y="47008"/>
                          </a:cubicBezTo>
                          <a:cubicBezTo>
                            <a:pt x="23205" y="47068"/>
                            <a:pt x="23145" y="47188"/>
                            <a:pt x="23086" y="47248"/>
                          </a:cubicBezTo>
                          <a:cubicBezTo>
                            <a:pt x="23026" y="47307"/>
                            <a:pt x="22966" y="47427"/>
                            <a:pt x="22906" y="47487"/>
                          </a:cubicBezTo>
                          <a:cubicBezTo>
                            <a:pt x="22248" y="48205"/>
                            <a:pt x="21591" y="48922"/>
                            <a:pt x="20933" y="49640"/>
                          </a:cubicBezTo>
                          <a:cubicBezTo>
                            <a:pt x="20275" y="50358"/>
                            <a:pt x="19557" y="51075"/>
                            <a:pt x="18839" y="51793"/>
                          </a:cubicBezTo>
                          <a:cubicBezTo>
                            <a:pt x="18122" y="52511"/>
                            <a:pt x="17404" y="53229"/>
                            <a:pt x="16746" y="53946"/>
                          </a:cubicBezTo>
                          <a:cubicBezTo>
                            <a:pt x="16208" y="54305"/>
                            <a:pt x="15490" y="54963"/>
                            <a:pt x="14773" y="55681"/>
                          </a:cubicBezTo>
                          <a:moveTo>
                            <a:pt x="14414" y="59568"/>
                          </a:moveTo>
                          <a:lnTo>
                            <a:pt x="15311" y="60166"/>
                          </a:lnTo>
                          <a:cubicBezTo>
                            <a:pt x="15371" y="60106"/>
                            <a:pt x="15371" y="60106"/>
                            <a:pt x="15430" y="60046"/>
                          </a:cubicBezTo>
                          <a:cubicBezTo>
                            <a:pt x="15490" y="59986"/>
                            <a:pt x="15490" y="59986"/>
                            <a:pt x="15550" y="59927"/>
                          </a:cubicBezTo>
                          <a:cubicBezTo>
                            <a:pt x="15610" y="59867"/>
                            <a:pt x="15610" y="59867"/>
                            <a:pt x="15669" y="59807"/>
                          </a:cubicBezTo>
                          <a:cubicBezTo>
                            <a:pt x="15729" y="59747"/>
                            <a:pt x="15729" y="59747"/>
                            <a:pt x="15789" y="59687"/>
                          </a:cubicBezTo>
                          <a:cubicBezTo>
                            <a:pt x="15909" y="59628"/>
                            <a:pt x="15969" y="59508"/>
                            <a:pt x="16088" y="59448"/>
                          </a:cubicBezTo>
                          <a:cubicBezTo>
                            <a:pt x="16208" y="59389"/>
                            <a:pt x="16268" y="59269"/>
                            <a:pt x="16387" y="59209"/>
                          </a:cubicBezTo>
                          <a:cubicBezTo>
                            <a:pt x="16507" y="59149"/>
                            <a:pt x="16567" y="59030"/>
                            <a:pt x="16686" y="58970"/>
                          </a:cubicBezTo>
                          <a:cubicBezTo>
                            <a:pt x="16806" y="58910"/>
                            <a:pt x="16866" y="58791"/>
                            <a:pt x="16985" y="58731"/>
                          </a:cubicBezTo>
                          <a:lnTo>
                            <a:pt x="16088" y="58132"/>
                          </a:lnTo>
                          <a:cubicBezTo>
                            <a:pt x="16029" y="58192"/>
                            <a:pt x="15909" y="58312"/>
                            <a:pt x="15849" y="58372"/>
                          </a:cubicBezTo>
                          <a:cubicBezTo>
                            <a:pt x="15789" y="58432"/>
                            <a:pt x="15669" y="58551"/>
                            <a:pt x="15610" y="58611"/>
                          </a:cubicBezTo>
                          <a:cubicBezTo>
                            <a:pt x="15550" y="58671"/>
                            <a:pt x="15430" y="58791"/>
                            <a:pt x="15371" y="58850"/>
                          </a:cubicBezTo>
                          <a:cubicBezTo>
                            <a:pt x="15311" y="58910"/>
                            <a:pt x="15191" y="59030"/>
                            <a:pt x="15131" y="59090"/>
                          </a:cubicBezTo>
                          <a:cubicBezTo>
                            <a:pt x="15072" y="59149"/>
                            <a:pt x="15012" y="59209"/>
                            <a:pt x="14952" y="59269"/>
                          </a:cubicBezTo>
                          <a:cubicBezTo>
                            <a:pt x="14892" y="59329"/>
                            <a:pt x="14832" y="59389"/>
                            <a:pt x="14773" y="59448"/>
                          </a:cubicBezTo>
                          <a:cubicBezTo>
                            <a:pt x="14713" y="59508"/>
                            <a:pt x="14653" y="59568"/>
                            <a:pt x="14593" y="59628"/>
                          </a:cubicBezTo>
                          <a:cubicBezTo>
                            <a:pt x="14533" y="59508"/>
                            <a:pt x="14474" y="59568"/>
                            <a:pt x="14414" y="59568"/>
                          </a:cubicBezTo>
                          <a:moveTo>
                            <a:pt x="12201" y="58132"/>
                          </a:moveTo>
                          <a:lnTo>
                            <a:pt x="13158" y="58731"/>
                          </a:lnTo>
                          <a:cubicBezTo>
                            <a:pt x="13218" y="58671"/>
                            <a:pt x="13277" y="58611"/>
                            <a:pt x="13337" y="58551"/>
                          </a:cubicBezTo>
                          <a:cubicBezTo>
                            <a:pt x="13397" y="58491"/>
                            <a:pt x="13457" y="58432"/>
                            <a:pt x="13516" y="58372"/>
                          </a:cubicBezTo>
                          <a:cubicBezTo>
                            <a:pt x="13576" y="58312"/>
                            <a:pt x="13636" y="58252"/>
                            <a:pt x="13696" y="58192"/>
                          </a:cubicBezTo>
                          <a:cubicBezTo>
                            <a:pt x="13756" y="58132"/>
                            <a:pt x="13815" y="58073"/>
                            <a:pt x="13875" y="58013"/>
                          </a:cubicBezTo>
                          <a:cubicBezTo>
                            <a:pt x="13935" y="57953"/>
                            <a:pt x="13995" y="57893"/>
                            <a:pt x="14055" y="57833"/>
                          </a:cubicBezTo>
                          <a:cubicBezTo>
                            <a:pt x="14115" y="57774"/>
                            <a:pt x="14174" y="57714"/>
                            <a:pt x="14234" y="57654"/>
                          </a:cubicBezTo>
                          <a:cubicBezTo>
                            <a:pt x="14294" y="57594"/>
                            <a:pt x="14354" y="57535"/>
                            <a:pt x="14414" y="57475"/>
                          </a:cubicBezTo>
                          <a:cubicBezTo>
                            <a:pt x="14474" y="57415"/>
                            <a:pt x="14533" y="57355"/>
                            <a:pt x="14593" y="57295"/>
                          </a:cubicBezTo>
                          <a:lnTo>
                            <a:pt x="13636" y="56637"/>
                          </a:lnTo>
                          <a:cubicBezTo>
                            <a:pt x="13576" y="56697"/>
                            <a:pt x="13516" y="56757"/>
                            <a:pt x="13457" y="56817"/>
                          </a:cubicBezTo>
                          <a:cubicBezTo>
                            <a:pt x="13397" y="56877"/>
                            <a:pt x="13337" y="56937"/>
                            <a:pt x="13277" y="56996"/>
                          </a:cubicBezTo>
                          <a:cubicBezTo>
                            <a:pt x="13218" y="57056"/>
                            <a:pt x="13158" y="57116"/>
                            <a:pt x="13098" y="57176"/>
                          </a:cubicBezTo>
                          <a:cubicBezTo>
                            <a:pt x="13038" y="57236"/>
                            <a:pt x="12978" y="57295"/>
                            <a:pt x="12919" y="57355"/>
                          </a:cubicBezTo>
                          <a:cubicBezTo>
                            <a:pt x="12859" y="57415"/>
                            <a:pt x="12739" y="57535"/>
                            <a:pt x="12679" y="57594"/>
                          </a:cubicBezTo>
                          <a:cubicBezTo>
                            <a:pt x="12620" y="57654"/>
                            <a:pt x="12500" y="57774"/>
                            <a:pt x="12440" y="57833"/>
                          </a:cubicBezTo>
                          <a:cubicBezTo>
                            <a:pt x="12380" y="57893"/>
                            <a:pt x="12261" y="58013"/>
                            <a:pt x="12201" y="58073"/>
                          </a:cubicBezTo>
                          <a:cubicBezTo>
                            <a:pt x="12141" y="58132"/>
                            <a:pt x="12320" y="58073"/>
                            <a:pt x="12201" y="58132"/>
                          </a:cubicBezTo>
                          <a:moveTo>
                            <a:pt x="12141" y="61840"/>
                          </a:moveTo>
                          <a:lnTo>
                            <a:pt x="13098" y="62439"/>
                          </a:lnTo>
                          <a:cubicBezTo>
                            <a:pt x="13218" y="62319"/>
                            <a:pt x="13337" y="62200"/>
                            <a:pt x="13457" y="62080"/>
                          </a:cubicBezTo>
                          <a:cubicBezTo>
                            <a:pt x="13576" y="61960"/>
                            <a:pt x="13696" y="61840"/>
                            <a:pt x="13815" y="61721"/>
                          </a:cubicBezTo>
                          <a:cubicBezTo>
                            <a:pt x="13935" y="61601"/>
                            <a:pt x="14055" y="61482"/>
                            <a:pt x="14174" y="61362"/>
                          </a:cubicBezTo>
                          <a:cubicBezTo>
                            <a:pt x="14294" y="61243"/>
                            <a:pt x="14414" y="61123"/>
                            <a:pt x="14533" y="61003"/>
                          </a:cubicBezTo>
                          <a:lnTo>
                            <a:pt x="13576" y="60405"/>
                          </a:lnTo>
                          <a:cubicBezTo>
                            <a:pt x="13457" y="60525"/>
                            <a:pt x="13337" y="60645"/>
                            <a:pt x="13218" y="60764"/>
                          </a:cubicBezTo>
                          <a:cubicBezTo>
                            <a:pt x="13098" y="60884"/>
                            <a:pt x="12978" y="61003"/>
                            <a:pt x="12859" y="61123"/>
                          </a:cubicBezTo>
                          <a:cubicBezTo>
                            <a:pt x="12739" y="61243"/>
                            <a:pt x="12620" y="61362"/>
                            <a:pt x="12500" y="61482"/>
                          </a:cubicBezTo>
                          <a:cubicBezTo>
                            <a:pt x="12320" y="61601"/>
                            <a:pt x="12201" y="61721"/>
                            <a:pt x="12141" y="61840"/>
                          </a:cubicBezTo>
                          <a:moveTo>
                            <a:pt x="9928" y="60405"/>
                          </a:moveTo>
                          <a:lnTo>
                            <a:pt x="10885" y="61003"/>
                          </a:lnTo>
                          <a:cubicBezTo>
                            <a:pt x="11005" y="60884"/>
                            <a:pt x="11124" y="60764"/>
                            <a:pt x="11244" y="60645"/>
                          </a:cubicBezTo>
                          <a:cubicBezTo>
                            <a:pt x="11364" y="60525"/>
                            <a:pt x="11483" y="60405"/>
                            <a:pt x="11603" y="60286"/>
                          </a:cubicBezTo>
                          <a:cubicBezTo>
                            <a:pt x="11722" y="60166"/>
                            <a:pt x="11842" y="60046"/>
                            <a:pt x="11961" y="59927"/>
                          </a:cubicBezTo>
                          <a:cubicBezTo>
                            <a:pt x="12081" y="59807"/>
                            <a:pt x="12201" y="59687"/>
                            <a:pt x="12320" y="59568"/>
                          </a:cubicBezTo>
                          <a:lnTo>
                            <a:pt x="11364" y="58970"/>
                          </a:lnTo>
                          <a:cubicBezTo>
                            <a:pt x="11244" y="59090"/>
                            <a:pt x="11124" y="59209"/>
                            <a:pt x="11005" y="59329"/>
                          </a:cubicBezTo>
                          <a:cubicBezTo>
                            <a:pt x="10885" y="59448"/>
                            <a:pt x="10766" y="59568"/>
                            <a:pt x="10646" y="59687"/>
                          </a:cubicBezTo>
                          <a:cubicBezTo>
                            <a:pt x="10526" y="59807"/>
                            <a:pt x="10407" y="59927"/>
                            <a:pt x="10287" y="60046"/>
                          </a:cubicBezTo>
                          <a:cubicBezTo>
                            <a:pt x="10167" y="60166"/>
                            <a:pt x="10048" y="60286"/>
                            <a:pt x="9928" y="60405"/>
                          </a:cubicBezTo>
                          <a:moveTo>
                            <a:pt x="0" y="71290"/>
                          </a:moveTo>
                          <a:lnTo>
                            <a:pt x="3110" y="73324"/>
                          </a:lnTo>
                          <a:lnTo>
                            <a:pt x="3469" y="72845"/>
                          </a:lnTo>
                          <a:cubicBezTo>
                            <a:pt x="3708" y="72546"/>
                            <a:pt x="3888" y="72307"/>
                            <a:pt x="4127" y="72008"/>
                          </a:cubicBezTo>
                          <a:cubicBezTo>
                            <a:pt x="4366" y="71709"/>
                            <a:pt x="4545" y="71470"/>
                            <a:pt x="4785" y="71171"/>
                          </a:cubicBezTo>
                          <a:cubicBezTo>
                            <a:pt x="5024" y="70871"/>
                            <a:pt x="5263" y="70632"/>
                            <a:pt x="5503" y="70333"/>
                          </a:cubicBezTo>
                          <a:cubicBezTo>
                            <a:pt x="5742" y="70034"/>
                            <a:pt x="5981" y="69795"/>
                            <a:pt x="6220" y="69496"/>
                          </a:cubicBezTo>
                          <a:cubicBezTo>
                            <a:pt x="6280" y="69436"/>
                            <a:pt x="6340" y="69316"/>
                            <a:pt x="6459" y="69257"/>
                          </a:cubicBezTo>
                          <a:cubicBezTo>
                            <a:pt x="6519" y="69197"/>
                            <a:pt x="6579" y="69077"/>
                            <a:pt x="6698" y="69017"/>
                          </a:cubicBezTo>
                          <a:cubicBezTo>
                            <a:pt x="6758" y="68958"/>
                            <a:pt x="6818" y="68838"/>
                            <a:pt x="6938" y="68778"/>
                          </a:cubicBezTo>
                          <a:cubicBezTo>
                            <a:pt x="7058" y="68718"/>
                            <a:pt x="7058" y="68599"/>
                            <a:pt x="7177" y="68539"/>
                          </a:cubicBezTo>
                          <a:cubicBezTo>
                            <a:pt x="7596" y="68121"/>
                            <a:pt x="7954" y="67702"/>
                            <a:pt x="8373" y="67223"/>
                          </a:cubicBezTo>
                          <a:cubicBezTo>
                            <a:pt x="8792" y="66805"/>
                            <a:pt x="9211" y="66326"/>
                            <a:pt x="9629" y="65908"/>
                          </a:cubicBezTo>
                          <a:cubicBezTo>
                            <a:pt x="10048" y="65489"/>
                            <a:pt x="10466" y="65010"/>
                            <a:pt x="10945" y="64592"/>
                          </a:cubicBezTo>
                          <a:cubicBezTo>
                            <a:pt x="11364" y="64173"/>
                            <a:pt x="11842" y="63695"/>
                            <a:pt x="12261" y="63276"/>
                          </a:cubicBezTo>
                          <a:lnTo>
                            <a:pt x="11304" y="62678"/>
                          </a:lnTo>
                          <a:cubicBezTo>
                            <a:pt x="10885" y="63097"/>
                            <a:pt x="10407" y="63575"/>
                            <a:pt x="9988" y="63994"/>
                          </a:cubicBezTo>
                          <a:cubicBezTo>
                            <a:pt x="9569" y="64412"/>
                            <a:pt x="9151" y="64891"/>
                            <a:pt x="8672" y="65309"/>
                          </a:cubicBezTo>
                          <a:cubicBezTo>
                            <a:pt x="8194" y="65728"/>
                            <a:pt x="7835" y="66207"/>
                            <a:pt x="7416" y="66625"/>
                          </a:cubicBezTo>
                          <a:cubicBezTo>
                            <a:pt x="6998" y="67044"/>
                            <a:pt x="6579" y="67462"/>
                            <a:pt x="6220" y="67941"/>
                          </a:cubicBezTo>
                          <a:cubicBezTo>
                            <a:pt x="6160" y="68001"/>
                            <a:pt x="6100" y="68121"/>
                            <a:pt x="5981" y="68180"/>
                          </a:cubicBezTo>
                          <a:cubicBezTo>
                            <a:pt x="5921" y="68240"/>
                            <a:pt x="5861" y="68360"/>
                            <a:pt x="5742" y="68419"/>
                          </a:cubicBezTo>
                          <a:cubicBezTo>
                            <a:pt x="5682" y="68479"/>
                            <a:pt x="5622" y="68599"/>
                            <a:pt x="5503" y="68659"/>
                          </a:cubicBezTo>
                          <a:cubicBezTo>
                            <a:pt x="5443" y="68718"/>
                            <a:pt x="5383" y="68838"/>
                            <a:pt x="5263" y="68898"/>
                          </a:cubicBezTo>
                          <a:cubicBezTo>
                            <a:pt x="5084" y="69137"/>
                            <a:pt x="4844" y="69376"/>
                            <a:pt x="4665" y="69556"/>
                          </a:cubicBezTo>
                          <a:cubicBezTo>
                            <a:pt x="4486" y="69735"/>
                            <a:pt x="4246" y="70034"/>
                            <a:pt x="4067" y="70214"/>
                          </a:cubicBezTo>
                          <a:cubicBezTo>
                            <a:pt x="3888" y="70453"/>
                            <a:pt x="3649" y="70692"/>
                            <a:pt x="3469" y="70871"/>
                          </a:cubicBezTo>
                          <a:cubicBezTo>
                            <a:pt x="3290" y="71051"/>
                            <a:pt x="3110" y="71350"/>
                            <a:pt x="2931" y="71530"/>
                          </a:cubicBezTo>
                          <a:lnTo>
                            <a:pt x="1735" y="70752"/>
                          </a:lnTo>
                          <a:cubicBezTo>
                            <a:pt x="1914" y="70513"/>
                            <a:pt x="2093" y="70273"/>
                            <a:pt x="2273" y="70094"/>
                          </a:cubicBezTo>
                          <a:cubicBezTo>
                            <a:pt x="2452" y="69855"/>
                            <a:pt x="2632" y="69616"/>
                            <a:pt x="2871" y="69436"/>
                          </a:cubicBezTo>
                          <a:cubicBezTo>
                            <a:pt x="3050" y="69197"/>
                            <a:pt x="3290" y="68958"/>
                            <a:pt x="3469" y="68778"/>
                          </a:cubicBezTo>
                          <a:cubicBezTo>
                            <a:pt x="3649" y="68539"/>
                            <a:pt x="3888" y="68300"/>
                            <a:pt x="4067" y="68121"/>
                          </a:cubicBezTo>
                          <a:cubicBezTo>
                            <a:pt x="4127" y="68061"/>
                            <a:pt x="4187" y="67941"/>
                            <a:pt x="4306" y="67881"/>
                          </a:cubicBezTo>
                          <a:cubicBezTo>
                            <a:pt x="4426" y="67821"/>
                            <a:pt x="4426" y="67702"/>
                            <a:pt x="4545" y="67642"/>
                          </a:cubicBezTo>
                          <a:cubicBezTo>
                            <a:pt x="4605" y="67582"/>
                            <a:pt x="4665" y="67462"/>
                            <a:pt x="4785" y="67403"/>
                          </a:cubicBezTo>
                          <a:cubicBezTo>
                            <a:pt x="4844" y="67343"/>
                            <a:pt x="4904" y="67223"/>
                            <a:pt x="5024" y="67163"/>
                          </a:cubicBezTo>
                          <a:cubicBezTo>
                            <a:pt x="5443" y="66745"/>
                            <a:pt x="5801" y="66266"/>
                            <a:pt x="6220" y="65848"/>
                          </a:cubicBezTo>
                          <a:cubicBezTo>
                            <a:pt x="6639" y="65429"/>
                            <a:pt x="7058" y="64951"/>
                            <a:pt x="7476" y="64532"/>
                          </a:cubicBezTo>
                          <a:cubicBezTo>
                            <a:pt x="7895" y="64113"/>
                            <a:pt x="8313" y="63635"/>
                            <a:pt x="8732" y="63216"/>
                          </a:cubicBezTo>
                          <a:cubicBezTo>
                            <a:pt x="9151" y="62798"/>
                            <a:pt x="9629" y="62319"/>
                            <a:pt x="10048" y="61900"/>
                          </a:cubicBezTo>
                          <a:lnTo>
                            <a:pt x="9091" y="61302"/>
                          </a:lnTo>
                          <a:cubicBezTo>
                            <a:pt x="8672" y="61721"/>
                            <a:pt x="8194" y="62200"/>
                            <a:pt x="7775" y="62618"/>
                          </a:cubicBezTo>
                          <a:cubicBezTo>
                            <a:pt x="7357" y="63037"/>
                            <a:pt x="6938" y="63515"/>
                            <a:pt x="6519" y="63934"/>
                          </a:cubicBezTo>
                          <a:cubicBezTo>
                            <a:pt x="6100" y="64353"/>
                            <a:pt x="5682" y="64831"/>
                            <a:pt x="5263" y="65250"/>
                          </a:cubicBezTo>
                          <a:cubicBezTo>
                            <a:pt x="4844" y="65668"/>
                            <a:pt x="4426" y="66147"/>
                            <a:pt x="4067" y="66565"/>
                          </a:cubicBezTo>
                          <a:cubicBezTo>
                            <a:pt x="4007" y="66625"/>
                            <a:pt x="3947" y="66745"/>
                            <a:pt x="3828" y="66805"/>
                          </a:cubicBezTo>
                          <a:cubicBezTo>
                            <a:pt x="3708" y="66864"/>
                            <a:pt x="3708" y="66984"/>
                            <a:pt x="3589" y="67044"/>
                          </a:cubicBezTo>
                          <a:cubicBezTo>
                            <a:pt x="3529" y="67104"/>
                            <a:pt x="3469" y="67223"/>
                            <a:pt x="3349" y="67283"/>
                          </a:cubicBezTo>
                          <a:cubicBezTo>
                            <a:pt x="3290" y="67343"/>
                            <a:pt x="3230" y="67462"/>
                            <a:pt x="3110" y="67522"/>
                          </a:cubicBezTo>
                          <a:cubicBezTo>
                            <a:pt x="2871" y="67821"/>
                            <a:pt x="2632" y="68061"/>
                            <a:pt x="2392" y="68360"/>
                          </a:cubicBezTo>
                          <a:cubicBezTo>
                            <a:pt x="2153" y="68659"/>
                            <a:pt x="1914" y="68898"/>
                            <a:pt x="1675" y="69197"/>
                          </a:cubicBezTo>
                          <a:cubicBezTo>
                            <a:pt x="1436" y="69496"/>
                            <a:pt x="1196" y="69735"/>
                            <a:pt x="1017" y="70034"/>
                          </a:cubicBezTo>
                          <a:cubicBezTo>
                            <a:pt x="778" y="70333"/>
                            <a:pt x="598" y="70572"/>
                            <a:pt x="359" y="70871"/>
                          </a:cubicBezTo>
                          <a:lnTo>
                            <a:pt x="0" y="71290"/>
                          </a:lnTo>
                        </a:path>
                      </a:pathLst>
                    </a:custGeom>
                    <a:noFill/>
                    <a:ln w="6350" cap="flat">
                      <a:solidFill>
                        <a:schemeClr val="bg1">
                          <a:alpha val="80000"/>
                        </a:schemeClr>
                      </a:solidFill>
                      <a:prstDash val="solid"/>
                      <a:miter/>
                    </a:ln>
                  </p:spPr>
                  <p:txBody>
                    <a:bodyPr rtlCol="0" anchor="ctr"/>
                    <a:lstStyle/>
                    <a:p>
                      <a:endParaRPr lang="en-GB"/>
                    </a:p>
                  </p:txBody>
                </p:sp>
                <p:sp>
                  <p:nvSpPr>
                    <p:cNvPr id="7430" name="Vrije vorm: vorm 7429">
                      <a:extLst>
                        <a:ext uri="{FF2B5EF4-FFF2-40B4-BE49-F238E27FC236}">
                          <a16:creationId xmlns:a16="http://schemas.microsoft.com/office/drawing/2014/main" id="{945B26AA-77AD-4C52-859E-3E28C1F555DF}"/>
                        </a:ext>
                      </a:extLst>
                    </p:cNvPr>
                    <p:cNvSpPr/>
                    <p:nvPr/>
                  </p:nvSpPr>
                  <p:spPr>
                    <a:xfrm>
                      <a:off x="4852239" y="5152073"/>
                      <a:ext cx="36721" cy="83072"/>
                    </a:xfrm>
                    <a:custGeom>
                      <a:avLst/>
                      <a:gdLst>
                        <a:gd name="connsiteX0" fmla="*/ 16088 w 36721"/>
                        <a:gd name="connsiteY0" fmla="*/ 5443 h 83072"/>
                        <a:gd name="connsiteX1" fmla="*/ 16268 w 36721"/>
                        <a:gd name="connsiteY1" fmla="*/ 5203 h 83072"/>
                        <a:gd name="connsiteX2" fmla="*/ 16447 w 36721"/>
                        <a:gd name="connsiteY2" fmla="*/ 4964 h 83072"/>
                        <a:gd name="connsiteX3" fmla="*/ 16627 w 36721"/>
                        <a:gd name="connsiteY3" fmla="*/ 4725 h 83072"/>
                        <a:gd name="connsiteX4" fmla="*/ 16806 w 36721"/>
                        <a:gd name="connsiteY4" fmla="*/ 4486 h 83072"/>
                        <a:gd name="connsiteX5" fmla="*/ 16268 w 36721"/>
                        <a:gd name="connsiteY5" fmla="*/ 4127 h 83072"/>
                        <a:gd name="connsiteX6" fmla="*/ 15729 w 36721"/>
                        <a:gd name="connsiteY6" fmla="*/ 3768 h 83072"/>
                        <a:gd name="connsiteX7" fmla="*/ 15191 w 36721"/>
                        <a:gd name="connsiteY7" fmla="*/ 3409 h 83072"/>
                        <a:gd name="connsiteX8" fmla="*/ 14653 w 36721"/>
                        <a:gd name="connsiteY8" fmla="*/ 3050 h 83072"/>
                        <a:gd name="connsiteX9" fmla="*/ 15729 w 36721"/>
                        <a:gd name="connsiteY9" fmla="*/ 1735 h 83072"/>
                        <a:gd name="connsiteX10" fmla="*/ 16208 w 36721"/>
                        <a:gd name="connsiteY10" fmla="*/ 2093 h 83072"/>
                        <a:gd name="connsiteX11" fmla="*/ 16686 w 36721"/>
                        <a:gd name="connsiteY11" fmla="*/ 2452 h 83072"/>
                        <a:gd name="connsiteX12" fmla="*/ 17165 w 36721"/>
                        <a:gd name="connsiteY12" fmla="*/ 2811 h 83072"/>
                        <a:gd name="connsiteX13" fmla="*/ 17643 w 36721"/>
                        <a:gd name="connsiteY13" fmla="*/ 3170 h 83072"/>
                        <a:gd name="connsiteX14" fmla="*/ 17823 w 36721"/>
                        <a:gd name="connsiteY14" fmla="*/ 2871 h 83072"/>
                        <a:gd name="connsiteX15" fmla="*/ 18002 w 36721"/>
                        <a:gd name="connsiteY15" fmla="*/ 2572 h 83072"/>
                        <a:gd name="connsiteX16" fmla="*/ 18182 w 36721"/>
                        <a:gd name="connsiteY16" fmla="*/ 2273 h 83072"/>
                        <a:gd name="connsiteX17" fmla="*/ 18301 w 36721"/>
                        <a:gd name="connsiteY17" fmla="*/ 1974 h 83072"/>
                        <a:gd name="connsiteX18" fmla="*/ 17763 w 36721"/>
                        <a:gd name="connsiteY18" fmla="*/ 1555 h 83072"/>
                        <a:gd name="connsiteX19" fmla="*/ 17225 w 36721"/>
                        <a:gd name="connsiteY19" fmla="*/ 1136 h 83072"/>
                        <a:gd name="connsiteX20" fmla="*/ 16686 w 36721"/>
                        <a:gd name="connsiteY20" fmla="*/ 718 h 83072"/>
                        <a:gd name="connsiteX21" fmla="*/ 16088 w 36721"/>
                        <a:gd name="connsiteY21" fmla="*/ 299 h 83072"/>
                        <a:gd name="connsiteX22" fmla="*/ 15610 w 36721"/>
                        <a:gd name="connsiteY22" fmla="*/ 0 h 83072"/>
                        <a:gd name="connsiteX23" fmla="*/ 12978 w 36721"/>
                        <a:gd name="connsiteY23" fmla="*/ 3289 h 83072"/>
                        <a:gd name="connsiteX24" fmla="*/ 13457 w 36721"/>
                        <a:gd name="connsiteY24" fmla="*/ 3589 h 83072"/>
                        <a:gd name="connsiteX25" fmla="*/ 14114 w 36721"/>
                        <a:gd name="connsiteY25" fmla="*/ 4067 h 83072"/>
                        <a:gd name="connsiteX26" fmla="*/ 14773 w 36721"/>
                        <a:gd name="connsiteY26" fmla="*/ 4545 h 83072"/>
                        <a:gd name="connsiteX27" fmla="*/ 15430 w 36721"/>
                        <a:gd name="connsiteY27" fmla="*/ 5024 h 83072"/>
                        <a:gd name="connsiteX28" fmla="*/ 16088 w 36721"/>
                        <a:gd name="connsiteY28" fmla="*/ 5443 h 83072"/>
                        <a:gd name="connsiteX29" fmla="*/ 33612 w 36721"/>
                        <a:gd name="connsiteY29" fmla="*/ 35705 h 83072"/>
                        <a:gd name="connsiteX30" fmla="*/ 33851 w 36721"/>
                        <a:gd name="connsiteY30" fmla="*/ 34270 h 83072"/>
                        <a:gd name="connsiteX31" fmla="*/ 33970 w 36721"/>
                        <a:gd name="connsiteY31" fmla="*/ 32834 h 83072"/>
                        <a:gd name="connsiteX32" fmla="*/ 34030 w 36721"/>
                        <a:gd name="connsiteY32" fmla="*/ 31399 h 83072"/>
                        <a:gd name="connsiteX33" fmla="*/ 34030 w 36721"/>
                        <a:gd name="connsiteY33" fmla="*/ 29963 h 83072"/>
                        <a:gd name="connsiteX34" fmla="*/ 34030 w 36721"/>
                        <a:gd name="connsiteY34" fmla="*/ 29904 h 83072"/>
                        <a:gd name="connsiteX35" fmla="*/ 34030 w 36721"/>
                        <a:gd name="connsiteY35" fmla="*/ 29844 h 83072"/>
                        <a:gd name="connsiteX36" fmla="*/ 34030 w 36721"/>
                        <a:gd name="connsiteY36" fmla="*/ 29784 h 83072"/>
                        <a:gd name="connsiteX37" fmla="*/ 34030 w 36721"/>
                        <a:gd name="connsiteY37" fmla="*/ 29724 h 83072"/>
                        <a:gd name="connsiteX38" fmla="*/ 34030 w 36721"/>
                        <a:gd name="connsiteY38" fmla="*/ 29306 h 83072"/>
                        <a:gd name="connsiteX39" fmla="*/ 33970 w 36721"/>
                        <a:gd name="connsiteY39" fmla="*/ 28887 h 83072"/>
                        <a:gd name="connsiteX40" fmla="*/ 33911 w 36721"/>
                        <a:gd name="connsiteY40" fmla="*/ 28468 h 83072"/>
                        <a:gd name="connsiteX41" fmla="*/ 33851 w 36721"/>
                        <a:gd name="connsiteY41" fmla="*/ 28050 h 83072"/>
                        <a:gd name="connsiteX42" fmla="*/ 32296 w 36721"/>
                        <a:gd name="connsiteY42" fmla="*/ 22129 h 83072"/>
                        <a:gd name="connsiteX43" fmla="*/ 29126 w 36721"/>
                        <a:gd name="connsiteY43" fmla="*/ 16328 h 83072"/>
                        <a:gd name="connsiteX44" fmla="*/ 24282 w 36721"/>
                        <a:gd name="connsiteY44" fmla="*/ 10646 h 83072"/>
                        <a:gd name="connsiteX45" fmla="*/ 17763 w 36721"/>
                        <a:gd name="connsiteY45" fmla="*/ 5024 h 83072"/>
                        <a:gd name="connsiteX46" fmla="*/ 17583 w 36721"/>
                        <a:gd name="connsiteY46" fmla="*/ 5263 h 83072"/>
                        <a:gd name="connsiteX47" fmla="*/ 17404 w 36721"/>
                        <a:gd name="connsiteY47" fmla="*/ 5502 h 83072"/>
                        <a:gd name="connsiteX48" fmla="*/ 17225 w 36721"/>
                        <a:gd name="connsiteY48" fmla="*/ 5742 h 83072"/>
                        <a:gd name="connsiteX49" fmla="*/ 17045 w 36721"/>
                        <a:gd name="connsiteY49" fmla="*/ 5981 h 83072"/>
                        <a:gd name="connsiteX50" fmla="*/ 23086 w 36721"/>
                        <a:gd name="connsiteY50" fmla="*/ 11184 h 83072"/>
                        <a:gd name="connsiteX51" fmla="*/ 27631 w 36721"/>
                        <a:gd name="connsiteY51" fmla="*/ 16387 h 83072"/>
                        <a:gd name="connsiteX52" fmla="*/ 30741 w 36721"/>
                        <a:gd name="connsiteY52" fmla="*/ 21650 h 83072"/>
                        <a:gd name="connsiteX53" fmla="*/ 32475 w 36721"/>
                        <a:gd name="connsiteY53" fmla="*/ 27033 h 83072"/>
                        <a:gd name="connsiteX54" fmla="*/ 32535 w 36721"/>
                        <a:gd name="connsiteY54" fmla="*/ 27452 h 83072"/>
                        <a:gd name="connsiteX55" fmla="*/ 32595 w 36721"/>
                        <a:gd name="connsiteY55" fmla="*/ 27870 h 83072"/>
                        <a:gd name="connsiteX56" fmla="*/ 32655 w 36721"/>
                        <a:gd name="connsiteY56" fmla="*/ 28289 h 83072"/>
                        <a:gd name="connsiteX57" fmla="*/ 32715 w 36721"/>
                        <a:gd name="connsiteY57" fmla="*/ 28707 h 83072"/>
                        <a:gd name="connsiteX58" fmla="*/ 32775 w 36721"/>
                        <a:gd name="connsiteY58" fmla="*/ 29007 h 83072"/>
                        <a:gd name="connsiteX59" fmla="*/ 32834 w 36721"/>
                        <a:gd name="connsiteY59" fmla="*/ 29306 h 83072"/>
                        <a:gd name="connsiteX60" fmla="*/ 32834 w 36721"/>
                        <a:gd name="connsiteY60" fmla="*/ 29665 h 83072"/>
                        <a:gd name="connsiteX61" fmla="*/ 32834 w 36721"/>
                        <a:gd name="connsiteY61" fmla="*/ 30023 h 83072"/>
                        <a:gd name="connsiteX62" fmla="*/ 32834 w 36721"/>
                        <a:gd name="connsiteY62" fmla="*/ 30980 h 83072"/>
                        <a:gd name="connsiteX63" fmla="*/ 32834 w 36721"/>
                        <a:gd name="connsiteY63" fmla="*/ 31937 h 83072"/>
                        <a:gd name="connsiteX64" fmla="*/ 32775 w 36721"/>
                        <a:gd name="connsiteY64" fmla="*/ 32894 h 83072"/>
                        <a:gd name="connsiteX65" fmla="*/ 32655 w 36721"/>
                        <a:gd name="connsiteY65" fmla="*/ 33851 h 83072"/>
                        <a:gd name="connsiteX66" fmla="*/ 32894 w 36721"/>
                        <a:gd name="connsiteY66" fmla="*/ 34270 h 83072"/>
                        <a:gd name="connsiteX67" fmla="*/ 33133 w 36721"/>
                        <a:gd name="connsiteY67" fmla="*/ 34688 h 83072"/>
                        <a:gd name="connsiteX68" fmla="*/ 33373 w 36721"/>
                        <a:gd name="connsiteY68" fmla="*/ 35107 h 83072"/>
                        <a:gd name="connsiteX69" fmla="*/ 33612 w 36721"/>
                        <a:gd name="connsiteY69" fmla="*/ 35705 h 83072"/>
                        <a:gd name="connsiteX70" fmla="*/ 35346 w 36721"/>
                        <a:gd name="connsiteY70" fmla="*/ 39832 h 83072"/>
                        <a:gd name="connsiteX71" fmla="*/ 35346 w 36721"/>
                        <a:gd name="connsiteY71" fmla="*/ 39832 h 83072"/>
                        <a:gd name="connsiteX72" fmla="*/ 35346 w 36721"/>
                        <a:gd name="connsiteY72" fmla="*/ 39772 h 83072"/>
                        <a:gd name="connsiteX73" fmla="*/ 35346 w 36721"/>
                        <a:gd name="connsiteY73" fmla="*/ 39712 h 83072"/>
                        <a:gd name="connsiteX74" fmla="*/ 35346 w 36721"/>
                        <a:gd name="connsiteY74" fmla="*/ 39652 h 83072"/>
                        <a:gd name="connsiteX75" fmla="*/ 35884 w 36721"/>
                        <a:gd name="connsiteY75" fmla="*/ 37678 h 83072"/>
                        <a:gd name="connsiteX76" fmla="*/ 36303 w 36721"/>
                        <a:gd name="connsiteY76" fmla="*/ 35705 h 83072"/>
                        <a:gd name="connsiteX77" fmla="*/ 36602 w 36721"/>
                        <a:gd name="connsiteY77" fmla="*/ 33731 h 83072"/>
                        <a:gd name="connsiteX78" fmla="*/ 36722 w 36721"/>
                        <a:gd name="connsiteY78" fmla="*/ 31698 h 83072"/>
                        <a:gd name="connsiteX79" fmla="*/ 36722 w 36721"/>
                        <a:gd name="connsiteY79" fmla="*/ 31339 h 83072"/>
                        <a:gd name="connsiteX80" fmla="*/ 36722 w 36721"/>
                        <a:gd name="connsiteY80" fmla="*/ 30980 h 83072"/>
                        <a:gd name="connsiteX81" fmla="*/ 36722 w 36721"/>
                        <a:gd name="connsiteY81" fmla="*/ 30621 h 83072"/>
                        <a:gd name="connsiteX82" fmla="*/ 36722 w 36721"/>
                        <a:gd name="connsiteY82" fmla="*/ 30262 h 83072"/>
                        <a:gd name="connsiteX83" fmla="*/ 36722 w 36721"/>
                        <a:gd name="connsiteY83" fmla="*/ 30083 h 83072"/>
                        <a:gd name="connsiteX84" fmla="*/ 36722 w 36721"/>
                        <a:gd name="connsiteY84" fmla="*/ 29904 h 83072"/>
                        <a:gd name="connsiteX85" fmla="*/ 36722 w 36721"/>
                        <a:gd name="connsiteY85" fmla="*/ 29724 h 83072"/>
                        <a:gd name="connsiteX86" fmla="*/ 36722 w 36721"/>
                        <a:gd name="connsiteY86" fmla="*/ 29545 h 83072"/>
                        <a:gd name="connsiteX87" fmla="*/ 35406 w 36721"/>
                        <a:gd name="connsiteY87" fmla="*/ 22547 h 83072"/>
                        <a:gd name="connsiteX88" fmla="*/ 32057 w 36721"/>
                        <a:gd name="connsiteY88" fmla="*/ 15729 h 83072"/>
                        <a:gd name="connsiteX89" fmla="*/ 26674 w 36721"/>
                        <a:gd name="connsiteY89" fmla="*/ 9091 h 83072"/>
                        <a:gd name="connsiteX90" fmla="*/ 19198 w 36721"/>
                        <a:gd name="connsiteY90" fmla="*/ 2572 h 83072"/>
                        <a:gd name="connsiteX91" fmla="*/ 19079 w 36721"/>
                        <a:gd name="connsiteY91" fmla="*/ 2871 h 83072"/>
                        <a:gd name="connsiteX92" fmla="*/ 18899 w 36721"/>
                        <a:gd name="connsiteY92" fmla="*/ 3170 h 83072"/>
                        <a:gd name="connsiteX93" fmla="*/ 18720 w 36721"/>
                        <a:gd name="connsiteY93" fmla="*/ 3469 h 83072"/>
                        <a:gd name="connsiteX94" fmla="*/ 18540 w 36721"/>
                        <a:gd name="connsiteY94" fmla="*/ 3768 h 83072"/>
                        <a:gd name="connsiteX95" fmla="*/ 25717 w 36721"/>
                        <a:gd name="connsiteY95" fmla="*/ 9988 h 83072"/>
                        <a:gd name="connsiteX96" fmla="*/ 30861 w 36721"/>
                        <a:gd name="connsiteY96" fmla="*/ 16328 h 83072"/>
                        <a:gd name="connsiteX97" fmla="*/ 34090 w 36721"/>
                        <a:gd name="connsiteY97" fmla="*/ 22787 h 83072"/>
                        <a:gd name="connsiteX98" fmla="*/ 35466 w 36721"/>
                        <a:gd name="connsiteY98" fmla="*/ 29366 h 83072"/>
                        <a:gd name="connsiteX99" fmla="*/ 35466 w 36721"/>
                        <a:gd name="connsiteY99" fmla="*/ 29485 h 83072"/>
                        <a:gd name="connsiteX100" fmla="*/ 35466 w 36721"/>
                        <a:gd name="connsiteY100" fmla="*/ 29605 h 83072"/>
                        <a:gd name="connsiteX101" fmla="*/ 35466 w 36721"/>
                        <a:gd name="connsiteY101" fmla="*/ 29724 h 83072"/>
                        <a:gd name="connsiteX102" fmla="*/ 35466 w 36721"/>
                        <a:gd name="connsiteY102" fmla="*/ 29844 h 83072"/>
                        <a:gd name="connsiteX103" fmla="*/ 35466 w 36721"/>
                        <a:gd name="connsiteY103" fmla="*/ 30143 h 83072"/>
                        <a:gd name="connsiteX104" fmla="*/ 35466 w 36721"/>
                        <a:gd name="connsiteY104" fmla="*/ 30442 h 83072"/>
                        <a:gd name="connsiteX105" fmla="*/ 35466 w 36721"/>
                        <a:gd name="connsiteY105" fmla="*/ 30741 h 83072"/>
                        <a:gd name="connsiteX106" fmla="*/ 35466 w 36721"/>
                        <a:gd name="connsiteY106" fmla="*/ 31040 h 83072"/>
                        <a:gd name="connsiteX107" fmla="*/ 35406 w 36721"/>
                        <a:gd name="connsiteY107" fmla="*/ 32834 h 83072"/>
                        <a:gd name="connsiteX108" fmla="*/ 35227 w 36721"/>
                        <a:gd name="connsiteY108" fmla="*/ 34629 h 83072"/>
                        <a:gd name="connsiteX109" fmla="*/ 34928 w 36721"/>
                        <a:gd name="connsiteY109" fmla="*/ 36423 h 83072"/>
                        <a:gd name="connsiteX110" fmla="*/ 34509 w 36721"/>
                        <a:gd name="connsiteY110" fmla="*/ 38157 h 83072"/>
                        <a:gd name="connsiteX111" fmla="*/ 34688 w 36721"/>
                        <a:gd name="connsiteY111" fmla="*/ 38636 h 83072"/>
                        <a:gd name="connsiteX112" fmla="*/ 34868 w 36721"/>
                        <a:gd name="connsiteY112" fmla="*/ 39114 h 83072"/>
                        <a:gd name="connsiteX113" fmla="*/ 35047 w 36721"/>
                        <a:gd name="connsiteY113" fmla="*/ 39592 h 83072"/>
                        <a:gd name="connsiteX114" fmla="*/ 35346 w 36721"/>
                        <a:gd name="connsiteY114" fmla="*/ 39832 h 83072"/>
                        <a:gd name="connsiteX115" fmla="*/ 32416 w 36721"/>
                        <a:gd name="connsiteY115" fmla="*/ 40071 h 83072"/>
                        <a:gd name="connsiteX116" fmla="*/ 32475 w 36721"/>
                        <a:gd name="connsiteY116" fmla="*/ 39891 h 83072"/>
                        <a:gd name="connsiteX117" fmla="*/ 32535 w 36721"/>
                        <a:gd name="connsiteY117" fmla="*/ 39712 h 83072"/>
                        <a:gd name="connsiteX118" fmla="*/ 32595 w 36721"/>
                        <a:gd name="connsiteY118" fmla="*/ 39532 h 83072"/>
                        <a:gd name="connsiteX119" fmla="*/ 32655 w 36721"/>
                        <a:gd name="connsiteY119" fmla="*/ 39353 h 83072"/>
                        <a:gd name="connsiteX120" fmla="*/ 32775 w 36721"/>
                        <a:gd name="connsiteY120" fmla="*/ 39054 h 83072"/>
                        <a:gd name="connsiteX121" fmla="*/ 32894 w 36721"/>
                        <a:gd name="connsiteY121" fmla="*/ 38755 h 83072"/>
                        <a:gd name="connsiteX122" fmla="*/ 33014 w 36721"/>
                        <a:gd name="connsiteY122" fmla="*/ 38456 h 83072"/>
                        <a:gd name="connsiteX123" fmla="*/ 33074 w 36721"/>
                        <a:gd name="connsiteY123" fmla="*/ 38157 h 83072"/>
                        <a:gd name="connsiteX124" fmla="*/ 33074 w 36721"/>
                        <a:gd name="connsiteY124" fmla="*/ 38037 h 83072"/>
                        <a:gd name="connsiteX125" fmla="*/ 33074 w 36721"/>
                        <a:gd name="connsiteY125" fmla="*/ 37918 h 83072"/>
                        <a:gd name="connsiteX126" fmla="*/ 33074 w 36721"/>
                        <a:gd name="connsiteY126" fmla="*/ 37798 h 83072"/>
                        <a:gd name="connsiteX127" fmla="*/ 33074 w 36721"/>
                        <a:gd name="connsiteY127" fmla="*/ 37678 h 83072"/>
                        <a:gd name="connsiteX128" fmla="*/ 32894 w 36721"/>
                        <a:gd name="connsiteY128" fmla="*/ 37260 h 83072"/>
                        <a:gd name="connsiteX129" fmla="*/ 32715 w 36721"/>
                        <a:gd name="connsiteY129" fmla="*/ 36841 h 83072"/>
                        <a:gd name="connsiteX130" fmla="*/ 32535 w 36721"/>
                        <a:gd name="connsiteY130" fmla="*/ 36423 h 83072"/>
                        <a:gd name="connsiteX131" fmla="*/ 32296 w 36721"/>
                        <a:gd name="connsiteY131" fmla="*/ 36004 h 83072"/>
                        <a:gd name="connsiteX132" fmla="*/ 32236 w 36721"/>
                        <a:gd name="connsiteY132" fmla="*/ 36363 h 83072"/>
                        <a:gd name="connsiteX133" fmla="*/ 32176 w 36721"/>
                        <a:gd name="connsiteY133" fmla="*/ 36722 h 83072"/>
                        <a:gd name="connsiteX134" fmla="*/ 32116 w 36721"/>
                        <a:gd name="connsiteY134" fmla="*/ 37081 h 83072"/>
                        <a:gd name="connsiteX135" fmla="*/ 32057 w 36721"/>
                        <a:gd name="connsiteY135" fmla="*/ 37439 h 83072"/>
                        <a:gd name="connsiteX136" fmla="*/ 31997 w 36721"/>
                        <a:gd name="connsiteY136" fmla="*/ 37738 h 83072"/>
                        <a:gd name="connsiteX137" fmla="*/ 31937 w 36721"/>
                        <a:gd name="connsiteY137" fmla="*/ 38037 h 83072"/>
                        <a:gd name="connsiteX138" fmla="*/ 31877 w 36721"/>
                        <a:gd name="connsiteY138" fmla="*/ 38337 h 83072"/>
                        <a:gd name="connsiteX139" fmla="*/ 31817 w 36721"/>
                        <a:gd name="connsiteY139" fmla="*/ 38636 h 83072"/>
                        <a:gd name="connsiteX140" fmla="*/ 31997 w 36721"/>
                        <a:gd name="connsiteY140" fmla="*/ 39054 h 83072"/>
                        <a:gd name="connsiteX141" fmla="*/ 32176 w 36721"/>
                        <a:gd name="connsiteY141" fmla="*/ 39473 h 83072"/>
                        <a:gd name="connsiteX142" fmla="*/ 32356 w 36721"/>
                        <a:gd name="connsiteY142" fmla="*/ 39891 h 83072"/>
                        <a:gd name="connsiteX143" fmla="*/ 32416 w 36721"/>
                        <a:gd name="connsiteY143" fmla="*/ 40071 h 83072"/>
                        <a:gd name="connsiteX144" fmla="*/ 33492 w 36721"/>
                        <a:gd name="connsiteY144" fmla="*/ 44497 h 83072"/>
                        <a:gd name="connsiteX145" fmla="*/ 33552 w 36721"/>
                        <a:gd name="connsiteY145" fmla="*/ 44377 h 83072"/>
                        <a:gd name="connsiteX146" fmla="*/ 33612 w 36721"/>
                        <a:gd name="connsiteY146" fmla="*/ 44257 h 83072"/>
                        <a:gd name="connsiteX147" fmla="*/ 33671 w 36721"/>
                        <a:gd name="connsiteY147" fmla="*/ 44138 h 83072"/>
                        <a:gd name="connsiteX148" fmla="*/ 33731 w 36721"/>
                        <a:gd name="connsiteY148" fmla="*/ 44018 h 83072"/>
                        <a:gd name="connsiteX149" fmla="*/ 33970 w 36721"/>
                        <a:gd name="connsiteY149" fmla="*/ 43480 h 83072"/>
                        <a:gd name="connsiteX150" fmla="*/ 34210 w 36721"/>
                        <a:gd name="connsiteY150" fmla="*/ 42942 h 83072"/>
                        <a:gd name="connsiteX151" fmla="*/ 34449 w 36721"/>
                        <a:gd name="connsiteY151" fmla="*/ 42403 h 83072"/>
                        <a:gd name="connsiteX152" fmla="*/ 34688 w 36721"/>
                        <a:gd name="connsiteY152" fmla="*/ 41865 h 83072"/>
                        <a:gd name="connsiteX153" fmla="*/ 34569 w 36721"/>
                        <a:gd name="connsiteY153" fmla="*/ 41386 h 83072"/>
                        <a:gd name="connsiteX154" fmla="*/ 34449 w 36721"/>
                        <a:gd name="connsiteY154" fmla="*/ 40908 h 83072"/>
                        <a:gd name="connsiteX155" fmla="*/ 34329 w 36721"/>
                        <a:gd name="connsiteY155" fmla="*/ 40430 h 83072"/>
                        <a:gd name="connsiteX156" fmla="*/ 34150 w 36721"/>
                        <a:gd name="connsiteY156" fmla="*/ 39951 h 83072"/>
                        <a:gd name="connsiteX157" fmla="*/ 34150 w 36721"/>
                        <a:gd name="connsiteY157" fmla="*/ 40011 h 83072"/>
                        <a:gd name="connsiteX158" fmla="*/ 34150 w 36721"/>
                        <a:gd name="connsiteY158" fmla="*/ 40071 h 83072"/>
                        <a:gd name="connsiteX159" fmla="*/ 34150 w 36721"/>
                        <a:gd name="connsiteY159" fmla="*/ 40131 h 83072"/>
                        <a:gd name="connsiteX160" fmla="*/ 34150 w 36721"/>
                        <a:gd name="connsiteY160" fmla="*/ 40191 h 83072"/>
                        <a:gd name="connsiteX161" fmla="*/ 33970 w 36721"/>
                        <a:gd name="connsiteY161" fmla="*/ 40729 h 83072"/>
                        <a:gd name="connsiteX162" fmla="*/ 33731 w 36721"/>
                        <a:gd name="connsiteY162" fmla="*/ 41267 h 83072"/>
                        <a:gd name="connsiteX163" fmla="*/ 33492 w 36721"/>
                        <a:gd name="connsiteY163" fmla="*/ 41805 h 83072"/>
                        <a:gd name="connsiteX164" fmla="*/ 33253 w 36721"/>
                        <a:gd name="connsiteY164" fmla="*/ 42344 h 83072"/>
                        <a:gd name="connsiteX165" fmla="*/ 33373 w 36721"/>
                        <a:gd name="connsiteY165" fmla="*/ 42882 h 83072"/>
                        <a:gd name="connsiteX166" fmla="*/ 33492 w 36721"/>
                        <a:gd name="connsiteY166" fmla="*/ 43420 h 83072"/>
                        <a:gd name="connsiteX167" fmla="*/ 33552 w 36721"/>
                        <a:gd name="connsiteY167" fmla="*/ 43959 h 83072"/>
                        <a:gd name="connsiteX168" fmla="*/ 33492 w 36721"/>
                        <a:gd name="connsiteY168" fmla="*/ 44497 h 83072"/>
                        <a:gd name="connsiteX169" fmla="*/ 16088 w 36721"/>
                        <a:gd name="connsiteY169" fmla="*/ 66506 h 83072"/>
                        <a:gd name="connsiteX170" fmla="*/ 17045 w 36721"/>
                        <a:gd name="connsiteY170" fmla="*/ 67104 h 83072"/>
                        <a:gd name="connsiteX171" fmla="*/ 19019 w 36721"/>
                        <a:gd name="connsiteY171" fmla="*/ 64891 h 83072"/>
                        <a:gd name="connsiteX172" fmla="*/ 20933 w 36721"/>
                        <a:gd name="connsiteY172" fmla="*/ 62678 h 83072"/>
                        <a:gd name="connsiteX173" fmla="*/ 22846 w 36721"/>
                        <a:gd name="connsiteY173" fmla="*/ 60465 h 83072"/>
                        <a:gd name="connsiteX174" fmla="*/ 24700 w 36721"/>
                        <a:gd name="connsiteY174" fmla="*/ 58193 h 83072"/>
                        <a:gd name="connsiteX175" fmla="*/ 24880 w 36721"/>
                        <a:gd name="connsiteY175" fmla="*/ 57953 h 83072"/>
                        <a:gd name="connsiteX176" fmla="*/ 25059 w 36721"/>
                        <a:gd name="connsiteY176" fmla="*/ 57714 h 83072"/>
                        <a:gd name="connsiteX177" fmla="*/ 25239 w 36721"/>
                        <a:gd name="connsiteY177" fmla="*/ 57475 h 83072"/>
                        <a:gd name="connsiteX178" fmla="*/ 25418 w 36721"/>
                        <a:gd name="connsiteY178" fmla="*/ 57236 h 83072"/>
                        <a:gd name="connsiteX179" fmla="*/ 26435 w 36721"/>
                        <a:gd name="connsiteY179" fmla="*/ 55920 h 83072"/>
                        <a:gd name="connsiteX180" fmla="*/ 27392 w 36721"/>
                        <a:gd name="connsiteY180" fmla="*/ 54604 h 83072"/>
                        <a:gd name="connsiteX181" fmla="*/ 28349 w 36721"/>
                        <a:gd name="connsiteY181" fmla="*/ 53288 h 83072"/>
                        <a:gd name="connsiteX182" fmla="*/ 29246 w 36721"/>
                        <a:gd name="connsiteY182" fmla="*/ 51972 h 83072"/>
                        <a:gd name="connsiteX183" fmla="*/ 29425 w 36721"/>
                        <a:gd name="connsiteY183" fmla="*/ 51733 h 83072"/>
                        <a:gd name="connsiteX184" fmla="*/ 29605 w 36721"/>
                        <a:gd name="connsiteY184" fmla="*/ 51494 h 83072"/>
                        <a:gd name="connsiteX185" fmla="*/ 29784 w 36721"/>
                        <a:gd name="connsiteY185" fmla="*/ 51255 h 83072"/>
                        <a:gd name="connsiteX186" fmla="*/ 29963 w 36721"/>
                        <a:gd name="connsiteY186" fmla="*/ 51016 h 83072"/>
                        <a:gd name="connsiteX187" fmla="*/ 30203 w 36721"/>
                        <a:gd name="connsiteY187" fmla="*/ 50657 h 83072"/>
                        <a:gd name="connsiteX188" fmla="*/ 30442 w 36721"/>
                        <a:gd name="connsiteY188" fmla="*/ 50298 h 83072"/>
                        <a:gd name="connsiteX189" fmla="*/ 30681 w 36721"/>
                        <a:gd name="connsiteY189" fmla="*/ 49939 h 83072"/>
                        <a:gd name="connsiteX190" fmla="*/ 30921 w 36721"/>
                        <a:gd name="connsiteY190" fmla="*/ 49580 h 83072"/>
                        <a:gd name="connsiteX191" fmla="*/ 31100 w 36721"/>
                        <a:gd name="connsiteY191" fmla="*/ 49341 h 83072"/>
                        <a:gd name="connsiteX192" fmla="*/ 31279 w 36721"/>
                        <a:gd name="connsiteY192" fmla="*/ 49102 h 83072"/>
                        <a:gd name="connsiteX193" fmla="*/ 31459 w 36721"/>
                        <a:gd name="connsiteY193" fmla="*/ 48862 h 83072"/>
                        <a:gd name="connsiteX194" fmla="*/ 31638 w 36721"/>
                        <a:gd name="connsiteY194" fmla="*/ 48623 h 83072"/>
                        <a:gd name="connsiteX195" fmla="*/ 31877 w 36721"/>
                        <a:gd name="connsiteY195" fmla="*/ 48205 h 83072"/>
                        <a:gd name="connsiteX196" fmla="*/ 32116 w 36721"/>
                        <a:gd name="connsiteY196" fmla="*/ 47786 h 83072"/>
                        <a:gd name="connsiteX197" fmla="*/ 32356 w 36721"/>
                        <a:gd name="connsiteY197" fmla="*/ 47367 h 83072"/>
                        <a:gd name="connsiteX198" fmla="*/ 32595 w 36721"/>
                        <a:gd name="connsiteY198" fmla="*/ 46949 h 83072"/>
                        <a:gd name="connsiteX199" fmla="*/ 32595 w 36721"/>
                        <a:gd name="connsiteY199" fmla="*/ 46590 h 83072"/>
                        <a:gd name="connsiteX200" fmla="*/ 32595 w 36721"/>
                        <a:gd name="connsiteY200" fmla="*/ 46231 h 83072"/>
                        <a:gd name="connsiteX201" fmla="*/ 32595 w 36721"/>
                        <a:gd name="connsiteY201" fmla="*/ 45872 h 83072"/>
                        <a:gd name="connsiteX202" fmla="*/ 32595 w 36721"/>
                        <a:gd name="connsiteY202" fmla="*/ 45513 h 83072"/>
                        <a:gd name="connsiteX203" fmla="*/ 32595 w 36721"/>
                        <a:gd name="connsiteY203" fmla="*/ 45274 h 83072"/>
                        <a:gd name="connsiteX204" fmla="*/ 32595 w 36721"/>
                        <a:gd name="connsiteY204" fmla="*/ 45035 h 83072"/>
                        <a:gd name="connsiteX205" fmla="*/ 32595 w 36721"/>
                        <a:gd name="connsiteY205" fmla="*/ 44796 h 83072"/>
                        <a:gd name="connsiteX206" fmla="*/ 32595 w 36721"/>
                        <a:gd name="connsiteY206" fmla="*/ 44556 h 83072"/>
                        <a:gd name="connsiteX207" fmla="*/ 32595 w 36721"/>
                        <a:gd name="connsiteY207" fmla="*/ 44556 h 83072"/>
                        <a:gd name="connsiteX208" fmla="*/ 32595 w 36721"/>
                        <a:gd name="connsiteY208" fmla="*/ 44556 h 83072"/>
                        <a:gd name="connsiteX209" fmla="*/ 32595 w 36721"/>
                        <a:gd name="connsiteY209" fmla="*/ 44556 h 83072"/>
                        <a:gd name="connsiteX210" fmla="*/ 32595 w 36721"/>
                        <a:gd name="connsiteY210" fmla="*/ 44556 h 83072"/>
                        <a:gd name="connsiteX211" fmla="*/ 32176 w 36721"/>
                        <a:gd name="connsiteY211" fmla="*/ 45394 h 83072"/>
                        <a:gd name="connsiteX212" fmla="*/ 31758 w 36721"/>
                        <a:gd name="connsiteY212" fmla="*/ 46231 h 83072"/>
                        <a:gd name="connsiteX213" fmla="*/ 31339 w 36721"/>
                        <a:gd name="connsiteY213" fmla="*/ 47068 h 83072"/>
                        <a:gd name="connsiteX214" fmla="*/ 30861 w 36721"/>
                        <a:gd name="connsiteY214" fmla="*/ 47906 h 83072"/>
                        <a:gd name="connsiteX215" fmla="*/ 30681 w 36721"/>
                        <a:gd name="connsiteY215" fmla="*/ 48205 h 83072"/>
                        <a:gd name="connsiteX216" fmla="*/ 30502 w 36721"/>
                        <a:gd name="connsiteY216" fmla="*/ 48504 h 83072"/>
                        <a:gd name="connsiteX217" fmla="*/ 30322 w 36721"/>
                        <a:gd name="connsiteY217" fmla="*/ 48803 h 83072"/>
                        <a:gd name="connsiteX218" fmla="*/ 30143 w 36721"/>
                        <a:gd name="connsiteY218" fmla="*/ 49042 h 83072"/>
                        <a:gd name="connsiteX219" fmla="*/ 29904 w 36721"/>
                        <a:gd name="connsiteY219" fmla="*/ 49401 h 83072"/>
                        <a:gd name="connsiteX220" fmla="*/ 29665 w 36721"/>
                        <a:gd name="connsiteY220" fmla="*/ 49760 h 83072"/>
                        <a:gd name="connsiteX221" fmla="*/ 29425 w 36721"/>
                        <a:gd name="connsiteY221" fmla="*/ 50118 h 83072"/>
                        <a:gd name="connsiteX222" fmla="*/ 29186 w 36721"/>
                        <a:gd name="connsiteY222" fmla="*/ 50477 h 83072"/>
                        <a:gd name="connsiteX223" fmla="*/ 29007 w 36721"/>
                        <a:gd name="connsiteY223" fmla="*/ 50717 h 83072"/>
                        <a:gd name="connsiteX224" fmla="*/ 28827 w 36721"/>
                        <a:gd name="connsiteY224" fmla="*/ 50956 h 83072"/>
                        <a:gd name="connsiteX225" fmla="*/ 28648 w 36721"/>
                        <a:gd name="connsiteY225" fmla="*/ 51195 h 83072"/>
                        <a:gd name="connsiteX226" fmla="*/ 28468 w 36721"/>
                        <a:gd name="connsiteY226" fmla="*/ 51434 h 83072"/>
                        <a:gd name="connsiteX227" fmla="*/ 27571 w 36721"/>
                        <a:gd name="connsiteY227" fmla="*/ 52750 h 83072"/>
                        <a:gd name="connsiteX228" fmla="*/ 26614 w 36721"/>
                        <a:gd name="connsiteY228" fmla="*/ 54066 h 83072"/>
                        <a:gd name="connsiteX229" fmla="*/ 25658 w 36721"/>
                        <a:gd name="connsiteY229" fmla="*/ 55382 h 83072"/>
                        <a:gd name="connsiteX230" fmla="*/ 24641 w 36721"/>
                        <a:gd name="connsiteY230" fmla="*/ 56697 h 83072"/>
                        <a:gd name="connsiteX231" fmla="*/ 24461 w 36721"/>
                        <a:gd name="connsiteY231" fmla="*/ 56937 h 83072"/>
                        <a:gd name="connsiteX232" fmla="*/ 24282 w 36721"/>
                        <a:gd name="connsiteY232" fmla="*/ 57176 h 83072"/>
                        <a:gd name="connsiteX233" fmla="*/ 24102 w 36721"/>
                        <a:gd name="connsiteY233" fmla="*/ 57415 h 83072"/>
                        <a:gd name="connsiteX234" fmla="*/ 23923 w 36721"/>
                        <a:gd name="connsiteY234" fmla="*/ 57654 h 83072"/>
                        <a:gd name="connsiteX235" fmla="*/ 22069 w 36721"/>
                        <a:gd name="connsiteY235" fmla="*/ 59927 h 83072"/>
                        <a:gd name="connsiteX236" fmla="*/ 20155 w 36721"/>
                        <a:gd name="connsiteY236" fmla="*/ 62140 h 83072"/>
                        <a:gd name="connsiteX237" fmla="*/ 18241 w 36721"/>
                        <a:gd name="connsiteY237" fmla="*/ 64353 h 83072"/>
                        <a:gd name="connsiteX238" fmla="*/ 16088 w 36721"/>
                        <a:gd name="connsiteY238" fmla="*/ 66506 h 83072"/>
                        <a:gd name="connsiteX239" fmla="*/ 13995 w 36721"/>
                        <a:gd name="connsiteY239" fmla="*/ 65070 h 83072"/>
                        <a:gd name="connsiteX240" fmla="*/ 14952 w 36721"/>
                        <a:gd name="connsiteY240" fmla="*/ 65669 h 83072"/>
                        <a:gd name="connsiteX241" fmla="*/ 16926 w 36721"/>
                        <a:gd name="connsiteY241" fmla="*/ 63455 h 83072"/>
                        <a:gd name="connsiteX242" fmla="*/ 18839 w 36721"/>
                        <a:gd name="connsiteY242" fmla="*/ 61243 h 83072"/>
                        <a:gd name="connsiteX243" fmla="*/ 20753 w 36721"/>
                        <a:gd name="connsiteY243" fmla="*/ 59030 h 83072"/>
                        <a:gd name="connsiteX244" fmla="*/ 22547 w 36721"/>
                        <a:gd name="connsiteY244" fmla="*/ 56757 h 83072"/>
                        <a:gd name="connsiteX245" fmla="*/ 22727 w 36721"/>
                        <a:gd name="connsiteY245" fmla="*/ 56518 h 83072"/>
                        <a:gd name="connsiteX246" fmla="*/ 22906 w 36721"/>
                        <a:gd name="connsiteY246" fmla="*/ 56279 h 83072"/>
                        <a:gd name="connsiteX247" fmla="*/ 23086 w 36721"/>
                        <a:gd name="connsiteY247" fmla="*/ 56039 h 83072"/>
                        <a:gd name="connsiteX248" fmla="*/ 23265 w 36721"/>
                        <a:gd name="connsiteY248" fmla="*/ 55800 h 83072"/>
                        <a:gd name="connsiteX249" fmla="*/ 24282 w 36721"/>
                        <a:gd name="connsiteY249" fmla="*/ 54484 h 83072"/>
                        <a:gd name="connsiteX250" fmla="*/ 25239 w 36721"/>
                        <a:gd name="connsiteY250" fmla="*/ 53169 h 83072"/>
                        <a:gd name="connsiteX251" fmla="*/ 26196 w 36721"/>
                        <a:gd name="connsiteY251" fmla="*/ 51853 h 83072"/>
                        <a:gd name="connsiteX252" fmla="*/ 27093 w 36721"/>
                        <a:gd name="connsiteY252" fmla="*/ 50537 h 83072"/>
                        <a:gd name="connsiteX253" fmla="*/ 27272 w 36721"/>
                        <a:gd name="connsiteY253" fmla="*/ 50298 h 83072"/>
                        <a:gd name="connsiteX254" fmla="*/ 27452 w 36721"/>
                        <a:gd name="connsiteY254" fmla="*/ 50059 h 83072"/>
                        <a:gd name="connsiteX255" fmla="*/ 27631 w 36721"/>
                        <a:gd name="connsiteY255" fmla="*/ 49820 h 83072"/>
                        <a:gd name="connsiteX256" fmla="*/ 27811 w 36721"/>
                        <a:gd name="connsiteY256" fmla="*/ 49580 h 83072"/>
                        <a:gd name="connsiteX257" fmla="*/ 28050 w 36721"/>
                        <a:gd name="connsiteY257" fmla="*/ 49222 h 83072"/>
                        <a:gd name="connsiteX258" fmla="*/ 28289 w 36721"/>
                        <a:gd name="connsiteY258" fmla="*/ 48862 h 83072"/>
                        <a:gd name="connsiteX259" fmla="*/ 28528 w 36721"/>
                        <a:gd name="connsiteY259" fmla="*/ 48504 h 83072"/>
                        <a:gd name="connsiteX260" fmla="*/ 28767 w 36721"/>
                        <a:gd name="connsiteY260" fmla="*/ 48145 h 83072"/>
                        <a:gd name="connsiteX261" fmla="*/ 28947 w 36721"/>
                        <a:gd name="connsiteY261" fmla="*/ 47846 h 83072"/>
                        <a:gd name="connsiteX262" fmla="*/ 29126 w 36721"/>
                        <a:gd name="connsiteY262" fmla="*/ 47547 h 83072"/>
                        <a:gd name="connsiteX263" fmla="*/ 29306 w 36721"/>
                        <a:gd name="connsiteY263" fmla="*/ 47248 h 83072"/>
                        <a:gd name="connsiteX264" fmla="*/ 29485 w 36721"/>
                        <a:gd name="connsiteY264" fmla="*/ 46949 h 83072"/>
                        <a:gd name="connsiteX265" fmla="*/ 29963 w 36721"/>
                        <a:gd name="connsiteY265" fmla="*/ 46111 h 83072"/>
                        <a:gd name="connsiteX266" fmla="*/ 30382 w 36721"/>
                        <a:gd name="connsiteY266" fmla="*/ 45274 h 83072"/>
                        <a:gd name="connsiteX267" fmla="*/ 30801 w 36721"/>
                        <a:gd name="connsiteY267" fmla="*/ 44437 h 83072"/>
                        <a:gd name="connsiteX268" fmla="*/ 31220 w 36721"/>
                        <a:gd name="connsiteY268" fmla="*/ 43600 h 83072"/>
                        <a:gd name="connsiteX269" fmla="*/ 31339 w 36721"/>
                        <a:gd name="connsiteY269" fmla="*/ 43300 h 83072"/>
                        <a:gd name="connsiteX270" fmla="*/ 31459 w 36721"/>
                        <a:gd name="connsiteY270" fmla="*/ 43001 h 83072"/>
                        <a:gd name="connsiteX271" fmla="*/ 31578 w 36721"/>
                        <a:gd name="connsiteY271" fmla="*/ 42702 h 83072"/>
                        <a:gd name="connsiteX272" fmla="*/ 31698 w 36721"/>
                        <a:gd name="connsiteY272" fmla="*/ 42403 h 83072"/>
                        <a:gd name="connsiteX273" fmla="*/ 31758 w 36721"/>
                        <a:gd name="connsiteY273" fmla="*/ 42284 h 83072"/>
                        <a:gd name="connsiteX274" fmla="*/ 31817 w 36721"/>
                        <a:gd name="connsiteY274" fmla="*/ 42164 h 83072"/>
                        <a:gd name="connsiteX275" fmla="*/ 31877 w 36721"/>
                        <a:gd name="connsiteY275" fmla="*/ 42045 h 83072"/>
                        <a:gd name="connsiteX276" fmla="*/ 31937 w 36721"/>
                        <a:gd name="connsiteY276" fmla="*/ 41925 h 83072"/>
                        <a:gd name="connsiteX277" fmla="*/ 31817 w 36721"/>
                        <a:gd name="connsiteY277" fmla="*/ 41506 h 83072"/>
                        <a:gd name="connsiteX278" fmla="*/ 31698 w 36721"/>
                        <a:gd name="connsiteY278" fmla="*/ 41088 h 83072"/>
                        <a:gd name="connsiteX279" fmla="*/ 31578 w 36721"/>
                        <a:gd name="connsiteY279" fmla="*/ 40669 h 83072"/>
                        <a:gd name="connsiteX280" fmla="*/ 31399 w 36721"/>
                        <a:gd name="connsiteY280" fmla="*/ 40251 h 83072"/>
                        <a:gd name="connsiteX281" fmla="*/ 31220 w 36721"/>
                        <a:gd name="connsiteY281" fmla="*/ 40669 h 83072"/>
                        <a:gd name="connsiteX282" fmla="*/ 31040 w 36721"/>
                        <a:gd name="connsiteY282" fmla="*/ 41088 h 83072"/>
                        <a:gd name="connsiteX283" fmla="*/ 30861 w 36721"/>
                        <a:gd name="connsiteY283" fmla="*/ 41506 h 83072"/>
                        <a:gd name="connsiteX284" fmla="*/ 30681 w 36721"/>
                        <a:gd name="connsiteY284" fmla="*/ 41925 h 83072"/>
                        <a:gd name="connsiteX285" fmla="*/ 30561 w 36721"/>
                        <a:gd name="connsiteY285" fmla="*/ 42224 h 83072"/>
                        <a:gd name="connsiteX286" fmla="*/ 30442 w 36721"/>
                        <a:gd name="connsiteY286" fmla="*/ 42523 h 83072"/>
                        <a:gd name="connsiteX287" fmla="*/ 30322 w 36721"/>
                        <a:gd name="connsiteY287" fmla="*/ 42822 h 83072"/>
                        <a:gd name="connsiteX288" fmla="*/ 30203 w 36721"/>
                        <a:gd name="connsiteY288" fmla="*/ 43121 h 83072"/>
                        <a:gd name="connsiteX289" fmla="*/ 29784 w 36721"/>
                        <a:gd name="connsiteY289" fmla="*/ 43959 h 83072"/>
                        <a:gd name="connsiteX290" fmla="*/ 29366 w 36721"/>
                        <a:gd name="connsiteY290" fmla="*/ 44796 h 83072"/>
                        <a:gd name="connsiteX291" fmla="*/ 28947 w 36721"/>
                        <a:gd name="connsiteY291" fmla="*/ 45633 h 83072"/>
                        <a:gd name="connsiteX292" fmla="*/ 28468 w 36721"/>
                        <a:gd name="connsiteY292" fmla="*/ 46470 h 83072"/>
                        <a:gd name="connsiteX293" fmla="*/ 28289 w 36721"/>
                        <a:gd name="connsiteY293" fmla="*/ 46769 h 83072"/>
                        <a:gd name="connsiteX294" fmla="*/ 28109 w 36721"/>
                        <a:gd name="connsiteY294" fmla="*/ 47068 h 83072"/>
                        <a:gd name="connsiteX295" fmla="*/ 27930 w 36721"/>
                        <a:gd name="connsiteY295" fmla="*/ 47367 h 83072"/>
                        <a:gd name="connsiteX296" fmla="*/ 27751 w 36721"/>
                        <a:gd name="connsiteY296" fmla="*/ 47667 h 83072"/>
                        <a:gd name="connsiteX297" fmla="*/ 27512 w 36721"/>
                        <a:gd name="connsiteY297" fmla="*/ 48025 h 83072"/>
                        <a:gd name="connsiteX298" fmla="*/ 27272 w 36721"/>
                        <a:gd name="connsiteY298" fmla="*/ 48384 h 83072"/>
                        <a:gd name="connsiteX299" fmla="*/ 27033 w 36721"/>
                        <a:gd name="connsiteY299" fmla="*/ 48743 h 83072"/>
                        <a:gd name="connsiteX300" fmla="*/ 26794 w 36721"/>
                        <a:gd name="connsiteY300" fmla="*/ 49102 h 83072"/>
                        <a:gd name="connsiteX301" fmla="*/ 26614 w 36721"/>
                        <a:gd name="connsiteY301" fmla="*/ 49341 h 83072"/>
                        <a:gd name="connsiteX302" fmla="*/ 26435 w 36721"/>
                        <a:gd name="connsiteY302" fmla="*/ 49580 h 83072"/>
                        <a:gd name="connsiteX303" fmla="*/ 26255 w 36721"/>
                        <a:gd name="connsiteY303" fmla="*/ 49820 h 83072"/>
                        <a:gd name="connsiteX304" fmla="*/ 26076 w 36721"/>
                        <a:gd name="connsiteY304" fmla="*/ 50059 h 83072"/>
                        <a:gd name="connsiteX305" fmla="*/ 25179 w 36721"/>
                        <a:gd name="connsiteY305" fmla="*/ 51375 h 83072"/>
                        <a:gd name="connsiteX306" fmla="*/ 24282 w 36721"/>
                        <a:gd name="connsiteY306" fmla="*/ 52690 h 83072"/>
                        <a:gd name="connsiteX307" fmla="*/ 23325 w 36721"/>
                        <a:gd name="connsiteY307" fmla="*/ 54006 h 83072"/>
                        <a:gd name="connsiteX308" fmla="*/ 22308 w 36721"/>
                        <a:gd name="connsiteY308" fmla="*/ 55322 h 83072"/>
                        <a:gd name="connsiteX309" fmla="*/ 22129 w 36721"/>
                        <a:gd name="connsiteY309" fmla="*/ 55561 h 83072"/>
                        <a:gd name="connsiteX310" fmla="*/ 21950 w 36721"/>
                        <a:gd name="connsiteY310" fmla="*/ 55800 h 83072"/>
                        <a:gd name="connsiteX311" fmla="*/ 21770 w 36721"/>
                        <a:gd name="connsiteY311" fmla="*/ 56039 h 83072"/>
                        <a:gd name="connsiteX312" fmla="*/ 21590 w 36721"/>
                        <a:gd name="connsiteY312" fmla="*/ 56279 h 83072"/>
                        <a:gd name="connsiteX313" fmla="*/ 19796 w 36721"/>
                        <a:gd name="connsiteY313" fmla="*/ 58551 h 83072"/>
                        <a:gd name="connsiteX314" fmla="*/ 17882 w 36721"/>
                        <a:gd name="connsiteY314" fmla="*/ 60764 h 83072"/>
                        <a:gd name="connsiteX315" fmla="*/ 15969 w 36721"/>
                        <a:gd name="connsiteY315" fmla="*/ 62977 h 83072"/>
                        <a:gd name="connsiteX316" fmla="*/ 13995 w 36721"/>
                        <a:gd name="connsiteY316" fmla="*/ 65070 h 83072"/>
                        <a:gd name="connsiteX317" fmla="*/ 13756 w 36721"/>
                        <a:gd name="connsiteY317" fmla="*/ 69077 h 83072"/>
                        <a:gd name="connsiteX318" fmla="*/ 14713 w 36721"/>
                        <a:gd name="connsiteY318" fmla="*/ 69676 h 83072"/>
                        <a:gd name="connsiteX319" fmla="*/ 15072 w 36721"/>
                        <a:gd name="connsiteY319" fmla="*/ 69257 h 83072"/>
                        <a:gd name="connsiteX320" fmla="*/ 15430 w 36721"/>
                        <a:gd name="connsiteY320" fmla="*/ 68838 h 83072"/>
                        <a:gd name="connsiteX321" fmla="*/ 15789 w 36721"/>
                        <a:gd name="connsiteY321" fmla="*/ 68419 h 83072"/>
                        <a:gd name="connsiteX322" fmla="*/ 16148 w 36721"/>
                        <a:gd name="connsiteY322" fmla="*/ 68001 h 83072"/>
                        <a:gd name="connsiteX323" fmla="*/ 15191 w 36721"/>
                        <a:gd name="connsiteY323" fmla="*/ 67403 h 83072"/>
                        <a:gd name="connsiteX324" fmla="*/ 14832 w 36721"/>
                        <a:gd name="connsiteY324" fmla="*/ 67822 h 83072"/>
                        <a:gd name="connsiteX325" fmla="*/ 14474 w 36721"/>
                        <a:gd name="connsiteY325" fmla="*/ 68240 h 83072"/>
                        <a:gd name="connsiteX326" fmla="*/ 14114 w 36721"/>
                        <a:gd name="connsiteY326" fmla="*/ 68659 h 83072"/>
                        <a:gd name="connsiteX327" fmla="*/ 13756 w 36721"/>
                        <a:gd name="connsiteY327" fmla="*/ 69077 h 83072"/>
                        <a:gd name="connsiteX328" fmla="*/ 11662 w 36721"/>
                        <a:gd name="connsiteY328" fmla="*/ 67702 h 83072"/>
                        <a:gd name="connsiteX329" fmla="*/ 12619 w 36721"/>
                        <a:gd name="connsiteY329" fmla="*/ 68300 h 83072"/>
                        <a:gd name="connsiteX330" fmla="*/ 12978 w 36721"/>
                        <a:gd name="connsiteY330" fmla="*/ 67881 h 83072"/>
                        <a:gd name="connsiteX331" fmla="*/ 13337 w 36721"/>
                        <a:gd name="connsiteY331" fmla="*/ 67463 h 83072"/>
                        <a:gd name="connsiteX332" fmla="*/ 13696 w 36721"/>
                        <a:gd name="connsiteY332" fmla="*/ 67044 h 83072"/>
                        <a:gd name="connsiteX333" fmla="*/ 14055 w 36721"/>
                        <a:gd name="connsiteY333" fmla="*/ 66625 h 83072"/>
                        <a:gd name="connsiteX334" fmla="*/ 13098 w 36721"/>
                        <a:gd name="connsiteY334" fmla="*/ 66027 h 83072"/>
                        <a:gd name="connsiteX335" fmla="*/ 12739 w 36721"/>
                        <a:gd name="connsiteY335" fmla="*/ 66446 h 83072"/>
                        <a:gd name="connsiteX336" fmla="*/ 12380 w 36721"/>
                        <a:gd name="connsiteY336" fmla="*/ 66864 h 83072"/>
                        <a:gd name="connsiteX337" fmla="*/ 12021 w 36721"/>
                        <a:gd name="connsiteY337" fmla="*/ 67283 h 83072"/>
                        <a:gd name="connsiteX338" fmla="*/ 11662 w 36721"/>
                        <a:gd name="connsiteY338" fmla="*/ 67702 h 83072"/>
                        <a:gd name="connsiteX339" fmla="*/ 11662 w 36721"/>
                        <a:gd name="connsiteY339" fmla="*/ 71410 h 83072"/>
                        <a:gd name="connsiteX340" fmla="*/ 12619 w 36721"/>
                        <a:gd name="connsiteY340" fmla="*/ 72008 h 83072"/>
                        <a:gd name="connsiteX341" fmla="*/ 12859 w 36721"/>
                        <a:gd name="connsiteY341" fmla="*/ 71769 h 83072"/>
                        <a:gd name="connsiteX342" fmla="*/ 13098 w 36721"/>
                        <a:gd name="connsiteY342" fmla="*/ 71530 h 83072"/>
                        <a:gd name="connsiteX343" fmla="*/ 13337 w 36721"/>
                        <a:gd name="connsiteY343" fmla="*/ 71290 h 83072"/>
                        <a:gd name="connsiteX344" fmla="*/ 13576 w 36721"/>
                        <a:gd name="connsiteY344" fmla="*/ 71051 h 83072"/>
                        <a:gd name="connsiteX345" fmla="*/ 13636 w 36721"/>
                        <a:gd name="connsiteY345" fmla="*/ 70931 h 83072"/>
                        <a:gd name="connsiteX346" fmla="*/ 13696 w 36721"/>
                        <a:gd name="connsiteY346" fmla="*/ 70812 h 83072"/>
                        <a:gd name="connsiteX347" fmla="*/ 13756 w 36721"/>
                        <a:gd name="connsiteY347" fmla="*/ 70692 h 83072"/>
                        <a:gd name="connsiteX348" fmla="*/ 13815 w 36721"/>
                        <a:gd name="connsiteY348" fmla="*/ 70572 h 83072"/>
                        <a:gd name="connsiteX349" fmla="*/ 12859 w 36721"/>
                        <a:gd name="connsiteY349" fmla="*/ 69975 h 83072"/>
                        <a:gd name="connsiteX350" fmla="*/ 12799 w 36721"/>
                        <a:gd name="connsiteY350" fmla="*/ 70034 h 83072"/>
                        <a:gd name="connsiteX351" fmla="*/ 12739 w 36721"/>
                        <a:gd name="connsiteY351" fmla="*/ 70094 h 83072"/>
                        <a:gd name="connsiteX352" fmla="*/ 12679 w 36721"/>
                        <a:gd name="connsiteY352" fmla="*/ 70154 h 83072"/>
                        <a:gd name="connsiteX353" fmla="*/ 12619 w 36721"/>
                        <a:gd name="connsiteY353" fmla="*/ 70214 h 83072"/>
                        <a:gd name="connsiteX354" fmla="*/ 12380 w 36721"/>
                        <a:gd name="connsiteY354" fmla="*/ 70513 h 83072"/>
                        <a:gd name="connsiteX355" fmla="*/ 12141 w 36721"/>
                        <a:gd name="connsiteY355" fmla="*/ 70812 h 83072"/>
                        <a:gd name="connsiteX356" fmla="*/ 11902 w 36721"/>
                        <a:gd name="connsiteY356" fmla="*/ 71111 h 83072"/>
                        <a:gd name="connsiteX357" fmla="*/ 11662 w 36721"/>
                        <a:gd name="connsiteY357" fmla="*/ 71410 h 83072"/>
                        <a:gd name="connsiteX358" fmla="*/ 9510 w 36721"/>
                        <a:gd name="connsiteY358" fmla="*/ 70034 h 83072"/>
                        <a:gd name="connsiteX359" fmla="*/ 10466 w 36721"/>
                        <a:gd name="connsiteY359" fmla="*/ 70632 h 83072"/>
                        <a:gd name="connsiteX360" fmla="*/ 10765 w 36721"/>
                        <a:gd name="connsiteY360" fmla="*/ 70333 h 83072"/>
                        <a:gd name="connsiteX361" fmla="*/ 11065 w 36721"/>
                        <a:gd name="connsiteY361" fmla="*/ 70034 h 83072"/>
                        <a:gd name="connsiteX362" fmla="*/ 11364 w 36721"/>
                        <a:gd name="connsiteY362" fmla="*/ 69735 h 83072"/>
                        <a:gd name="connsiteX363" fmla="*/ 11662 w 36721"/>
                        <a:gd name="connsiteY363" fmla="*/ 69436 h 83072"/>
                        <a:gd name="connsiteX364" fmla="*/ 11722 w 36721"/>
                        <a:gd name="connsiteY364" fmla="*/ 69377 h 83072"/>
                        <a:gd name="connsiteX365" fmla="*/ 11782 w 36721"/>
                        <a:gd name="connsiteY365" fmla="*/ 69317 h 83072"/>
                        <a:gd name="connsiteX366" fmla="*/ 11842 w 36721"/>
                        <a:gd name="connsiteY366" fmla="*/ 69257 h 83072"/>
                        <a:gd name="connsiteX367" fmla="*/ 11902 w 36721"/>
                        <a:gd name="connsiteY367" fmla="*/ 69197 h 83072"/>
                        <a:gd name="connsiteX368" fmla="*/ 10945 w 36721"/>
                        <a:gd name="connsiteY368" fmla="*/ 68599 h 83072"/>
                        <a:gd name="connsiteX369" fmla="*/ 10885 w 36721"/>
                        <a:gd name="connsiteY369" fmla="*/ 68659 h 83072"/>
                        <a:gd name="connsiteX370" fmla="*/ 10825 w 36721"/>
                        <a:gd name="connsiteY370" fmla="*/ 68718 h 83072"/>
                        <a:gd name="connsiteX371" fmla="*/ 10765 w 36721"/>
                        <a:gd name="connsiteY371" fmla="*/ 68778 h 83072"/>
                        <a:gd name="connsiteX372" fmla="*/ 10706 w 36721"/>
                        <a:gd name="connsiteY372" fmla="*/ 68838 h 83072"/>
                        <a:gd name="connsiteX373" fmla="*/ 10406 w 36721"/>
                        <a:gd name="connsiteY373" fmla="*/ 69137 h 83072"/>
                        <a:gd name="connsiteX374" fmla="*/ 10107 w 36721"/>
                        <a:gd name="connsiteY374" fmla="*/ 69436 h 83072"/>
                        <a:gd name="connsiteX375" fmla="*/ 9808 w 36721"/>
                        <a:gd name="connsiteY375" fmla="*/ 69735 h 83072"/>
                        <a:gd name="connsiteX376" fmla="*/ 9510 w 36721"/>
                        <a:gd name="connsiteY376" fmla="*/ 70034 h 83072"/>
                        <a:gd name="connsiteX377" fmla="*/ 0 w 36721"/>
                        <a:gd name="connsiteY377" fmla="*/ 81099 h 83072"/>
                        <a:gd name="connsiteX378" fmla="*/ 3110 w 36721"/>
                        <a:gd name="connsiteY378" fmla="*/ 83072 h 83072"/>
                        <a:gd name="connsiteX379" fmla="*/ 3469 w 36721"/>
                        <a:gd name="connsiteY379" fmla="*/ 82594 h 83072"/>
                        <a:gd name="connsiteX380" fmla="*/ 4127 w 36721"/>
                        <a:gd name="connsiteY380" fmla="*/ 81756 h 83072"/>
                        <a:gd name="connsiteX381" fmla="*/ 4785 w 36721"/>
                        <a:gd name="connsiteY381" fmla="*/ 80919 h 83072"/>
                        <a:gd name="connsiteX382" fmla="*/ 5443 w 36721"/>
                        <a:gd name="connsiteY382" fmla="*/ 80082 h 83072"/>
                        <a:gd name="connsiteX383" fmla="*/ 6160 w 36721"/>
                        <a:gd name="connsiteY383" fmla="*/ 79245 h 83072"/>
                        <a:gd name="connsiteX384" fmla="*/ 6340 w 36721"/>
                        <a:gd name="connsiteY384" fmla="*/ 79005 h 83072"/>
                        <a:gd name="connsiteX385" fmla="*/ 6519 w 36721"/>
                        <a:gd name="connsiteY385" fmla="*/ 78766 h 83072"/>
                        <a:gd name="connsiteX386" fmla="*/ 6698 w 36721"/>
                        <a:gd name="connsiteY386" fmla="*/ 78527 h 83072"/>
                        <a:gd name="connsiteX387" fmla="*/ 6878 w 36721"/>
                        <a:gd name="connsiteY387" fmla="*/ 78288 h 83072"/>
                        <a:gd name="connsiteX388" fmla="*/ 8014 w 36721"/>
                        <a:gd name="connsiteY388" fmla="*/ 76972 h 83072"/>
                        <a:gd name="connsiteX389" fmla="*/ 9211 w 36721"/>
                        <a:gd name="connsiteY389" fmla="*/ 75656 h 83072"/>
                        <a:gd name="connsiteX390" fmla="*/ 10406 w 36721"/>
                        <a:gd name="connsiteY390" fmla="*/ 74280 h 83072"/>
                        <a:gd name="connsiteX391" fmla="*/ 11662 w 36721"/>
                        <a:gd name="connsiteY391" fmla="*/ 72905 h 83072"/>
                        <a:gd name="connsiteX392" fmla="*/ 10706 w 36721"/>
                        <a:gd name="connsiteY392" fmla="*/ 72307 h 83072"/>
                        <a:gd name="connsiteX393" fmla="*/ 9510 w 36721"/>
                        <a:gd name="connsiteY393" fmla="*/ 73683 h 83072"/>
                        <a:gd name="connsiteX394" fmla="*/ 8313 w 36721"/>
                        <a:gd name="connsiteY394" fmla="*/ 75058 h 83072"/>
                        <a:gd name="connsiteX395" fmla="*/ 7117 w 36721"/>
                        <a:gd name="connsiteY395" fmla="*/ 76374 h 83072"/>
                        <a:gd name="connsiteX396" fmla="*/ 5981 w 36721"/>
                        <a:gd name="connsiteY396" fmla="*/ 77690 h 83072"/>
                        <a:gd name="connsiteX397" fmla="*/ 5801 w 36721"/>
                        <a:gd name="connsiteY397" fmla="*/ 77929 h 83072"/>
                        <a:gd name="connsiteX398" fmla="*/ 5622 w 36721"/>
                        <a:gd name="connsiteY398" fmla="*/ 78168 h 83072"/>
                        <a:gd name="connsiteX399" fmla="*/ 5443 w 36721"/>
                        <a:gd name="connsiteY399" fmla="*/ 78407 h 83072"/>
                        <a:gd name="connsiteX400" fmla="*/ 5263 w 36721"/>
                        <a:gd name="connsiteY400" fmla="*/ 78647 h 83072"/>
                        <a:gd name="connsiteX401" fmla="*/ 4665 w 36721"/>
                        <a:gd name="connsiteY401" fmla="*/ 79364 h 83072"/>
                        <a:gd name="connsiteX402" fmla="*/ 4067 w 36721"/>
                        <a:gd name="connsiteY402" fmla="*/ 80082 h 83072"/>
                        <a:gd name="connsiteX403" fmla="*/ 3529 w 36721"/>
                        <a:gd name="connsiteY403" fmla="*/ 80800 h 83072"/>
                        <a:gd name="connsiteX404" fmla="*/ 2990 w 36721"/>
                        <a:gd name="connsiteY404" fmla="*/ 81517 h 83072"/>
                        <a:gd name="connsiteX405" fmla="*/ 1794 w 36721"/>
                        <a:gd name="connsiteY405" fmla="*/ 80740 h 83072"/>
                        <a:gd name="connsiteX406" fmla="*/ 2333 w 36721"/>
                        <a:gd name="connsiteY406" fmla="*/ 80022 h 83072"/>
                        <a:gd name="connsiteX407" fmla="*/ 2871 w 36721"/>
                        <a:gd name="connsiteY407" fmla="*/ 79304 h 83072"/>
                        <a:gd name="connsiteX408" fmla="*/ 3469 w 36721"/>
                        <a:gd name="connsiteY408" fmla="*/ 78587 h 83072"/>
                        <a:gd name="connsiteX409" fmla="*/ 4067 w 36721"/>
                        <a:gd name="connsiteY409" fmla="*/ 77869 h 83072"/>
                        <a:gd name="connsiteX410" fmla="*/ 4246 w 36721"/>
                        <a:gd name="connsiteY410" fmla="*/ 77630 h 83072"/>
                        <a:gd name="connsiteX411" fmla="*/ 4426 w 36721"/>
                        <a:gd name="connsiteY411" fmla="*/ 77391 h 83072"/>
                        <a:gd name="connsiteX412" fmla="*/ 4605 w 36721"/>
                        <a:gd name="connsiteY412" fmla="*/ 77151 h 83072"/>
                        <a:gd name="connsiteX413" fmla="*/ 4785 w 36721"/>
                        <a:gd name="connsiteY413" fmla="*/ 76912 h 83072"/>
                        <a:gd name="connsiteX414" fmla="*/ 5921 w 36721"/>
                        <a:gd name="connsiteY414" fmla="*/ 75596 h 83072"/>
                        <a:gd name="connsiteX415" fmla="*/ 7117 w 36721"/>
                        <a:gd name="connsiteY415" fmla="*/ 74280 h 83072"/>
                        <a:gd name="connsiteX416" fmla="*/ 8313 w 36721"/>
                        <a:gd name="connsiteY416" fmla="*/ 72905 h 83072"/>
                        <a:gd name="connsiteX417" fmla="*/ 9569 w 36721"/>
                        <a:gd name="connsiteY417" fmla="*/ 71530 h 83072"/>
                        <a:gd name="connsiteX418" fmla="*/ 8612 w 36721"/>
                        <a:gd name="connsiteY418" fmla="*/ 70931 h 83072"/>
                        <a:gd name="connsiteX419" fmla="*/ 7357 w 36721"/>
                        <a:gd name="connsiteY419" fmla="*/ 72307 h 83072"/>
                        <a:gd name="connsiteX420" fmla="*/ 6160 w 36721"/>
                        <a:gd name="connsiteY420" fmla="*/ 73683 h 83072"/>
                        <a:gd name="connsiteX421" fmla="*/ 4964 w 36721"/>
                        <a:gd name="connsiteY421" fmla="*/ 74998 h 83072"/>
                        <a:gd name="connsiteX422" fmla="*/ 3828 w 36721"/>
                        <a:gd name="connsiteY422" fmla="*/ 76314 h 83072"/>
                        <a:gd name="connsiteX423" fmla="*/ 3648 w 36721"/>
                        <a:gd name="connsiteY423" fmla="*/ 76553 h 83072"/>
                        <a:gd name="connsiteX424" fmla="*/ 3469 w 36721"/>
                        <a:gd name="connsiteY424" fmla="*/ 76793 h 83072"/>
                        <a:gd name="connsiteX425" fmla="*/ 3289 w 36721"/>
                        <a:gd name="connsiteY425" fmla="*/ 77032 h 83072"/>
                        <a:gd name="connsiteX426" fmla="*/ 3110 w 36721"/>
                        <a:gd name="connsiteY426" fmla="*/ 77271 h 83072"/>
                        <a:gd name="connsiteX427" fmla="*/ 2392 w 36721"/>
                        <a:gd name="connsiteY427" fmla="*/ 78108 h 83072"/>
                        <a:gd name="connsiteX428" fmla="*/ 1735 w 36721"/>
                        <a:gd name="connsiteY428" fmla="*/ 78946 h 83072"/>
                        <a:gd name="connsiteX429" fmla="*/ 1076 w 36721"/>
                        <a:gd name="connsiteY429" fmla="*/ 79783 h 83072"/>
                        <a:gd name="connsiteX430" fmla="*/ 419 w 36721"/>
                        <a:gd name="connsiteY430" fmla="*/ 80620 h 83072"/>
                        <a:gd name="connsiteX431" fmla="*/ 0 w 36721"/>
                        <a:gd name="connsiteY431" fmla="*/ 81099 h 8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Lst>
                      <a:rect l="l" t="t" r="r" b="b"/>
                      <a:pathLst>
                        <a:path w="36721" h="83072">
                          <a:moveTo>
                            <a:pt x="16088" y="5443"/>
                          </a:moveTo>
                          <a:cubicBezTo>
                            <a:pt x="16148" y="5383"/>
                            <a:pt x="16208" y="5263"/>
                            <a:pt x="16268" y="5203"/>
                          </a:cubicBezTo>
                          <a:cubicBezTo>
                            <a:pt x="16328" y="5143"/>
                            <a:pt x="16387" y="5024"/>
                            <a:pt x="16447" y="4964"/>
                          </a:cubicBezTo>
                          <a:cubicBezTo>
                            <a:pt x="16507" y="4904"/>
                            <a:pt x="16567" y="4785"/>
                            <a:pt x="16627" y="4725"/>
                          </a:cubicBezTo>
                          <a:cubicBezTo>
                            <a:pt x="16686" y="4665"/>
                            <a:pt x="16746" y="4545"/>
                            <a:pt x="16806" y="4486"/>
                          </a:cubicBezTo>
                          <a:cubicBezTo>
                            <a:pt x="16627" y="4366"/>
                            <a:pt x="16447" y="4246"/>
                            <a:pt x="16268" y="4127"/>
                          </a:cubicBezTo>
                          <a:cubicBezTo>
                            <a:pt x="16088" y="4007"/>
                            <a:pt x="15909" y="3888"/>
                            <a:pt x="15729" y="3768"/>
                          </a:cubicBezTo>
                          <a:cubicBezTo>
                            <a:pt x="15550" y="3648"/>
                            <a:pt x="15371" y="3529"/>
                            <a:pt x="15191" y="3409"/>
                          </a:cubicBezTo>
                          <a:cubicBezTo>
                            <a:pt x="15012" y="3289"/>
                            <a:pt x="14832" y="3170"/>
                            <a:pt x="14653" y="3050"/>
                          </a:cubicBezTo>
                          <a:lnTo>
                            <a:pt x="15729" y="1735"/>
                          </a:lnTo>
                          <a:cubicBezTo>
                            <a:pt x="15909" y="1854"/>
                            <a:pt x="16088" y="1974"/>
                            <a:pt x="16208" y="2093"/>
                          </a:cubicBezTo>
                          <a:cubicBezTo>
                            <a:pt x="16387" y="2213"/>
                            <a:pt x="16567" y="2333"/>
                            <a:pt x="16686" y="2452"/>
                          </a:cubicBezTo>
                          <a:cubicBezTo>
                            <a:pt x="16866" y="2572"/>
                            <a:pt x="16985" y="2691"/>
                            <a:pt x="17165" y="2811"/>
                          </a:cubicBezTo>
                          <a:cubicBezTo>
                            <a:pt x="17344" y="2930"/>
                            <a:pt x="17464" y="3050"/>
                            <a:pt x="17643" y="3170"/>
                          </a:cubicBezTo>
                          <a:cubicBezTo>
                            <a:pt x="17703" y="3050"/>
                            <a:pt x="17763" y="2990"/>
                            <a:pt x="17823" y="2871"/>
                          </a:cubicBezTo>
                          <a:cubicBezTo>
                            <a:pt x="17882" y="2751"/>
                            <a:pt x="17942" y="2691"/>
                            <a:pt x="18002" y="2572"/>
                          </a:cubicBezTo>
                          <a:cubicBezTo>
                            <a:pt x="18062" y="2452"/>
                            <a:pt x="18122" y="2392"/>
                            <a:pt x="18182" y="2273"/>
                          </a:cubicBezTo>
                          <a:cubicBezTo>
                            <a:pt x="18241" y="2153"/>
                            <a:pt x="18301" y="2093"/>
                            <a:pt x="18301" y="1974"/>
                          </a:cubicBezTo>
                          <a:cubicBezTo>
                            <a:pt x="18122" y="1854"/>
                            <a:pt x="17942" y="1735"/>
                            <a:pt x="17763" y="1555"/>
                          </a:cubicBezTo>
                          <a:cubicBezTo>
                            <a:pt x="17583" y="1435"/>
                            <a:pt x="17404" y="1316"/>
                            <a:pt x="17225" y="1136"/>
                          </a:cubicBezTo>
                          <a:cubicBezTo>
                            <a:pt x="17045" y="957"/>
                            <a:pt x="16866" y="897"/>
                            <a:pt x="16686" y="718"/>
                          </a:cubicBezTo>
                          <a:cubicBezTo>
                            <a:pt x="16507" y="598"/>
                            <a:pt x="16328" y="479"/>
                            <a:pt x="16088" y="299"/>
                          </a:cubicBezTo>
                          <a:lnTo>
                            <a:pt x="15610" y="0"/>
                          </a:lnTo>
                          <a:lnTo>
                            <a:pt x="12978" y="3289"/>
                          </a:lnTo>
                          <a:lnTo>
                            <a:pt x="13457" y="3589"/>
                          </a:lnTo>
                          <a:cubicBezTo>
                            <a:pt x="13696" y="3768"/>
                            <a:pt x="13935" y="3888"/>
                            <a:pt x="14114" y="4067"/>
                          </a:cubicBezTo>
                          <a:cubicBezTo>
                            <a:pt x="14354" y="4246"/>
                            <a:pt x="14533" y="4366"/>
                            <a:pt x="14773" y="4545"/>
                          </a:cubicBezTo>
                          <a:cubicBezTo>
                            <a:pt x="15012" y="4725"/>
                            <a:pt x="15191" y="4844"/>
                            <a:pt x="15430" y="5024"/>
                          </a:cubicBezTo>
                          <a:cubicBezTo>
                            <a:pt x="15669" y="5143"/>
                            <a:pt x="15849" y="5263"/>
                            <a:pt x="16088" y="5443"/>
                          </a:cubicBezTo>
                          <a:moveTo>
                            <a:pt x="33612" y="35705"/>
                          </a:moveTo>
                          <a:cubicBezTo>
                            <a:pt x="33671" y="35227"/>
                            <a:pt x="33791" y="34748"/>
                            <a:pt x="33851" y="34270"/>
                          </a:cubicBezTo>
                          <a:cubicBezTo>
                            <a:pt x="33911" y="33791"/>
                            <a:pt x="33970" y="33313"/>
                            <a:pt x="33970" y="32834"/>
                          </a:cubicBezTo>
                          <a:cubicBezTo>
                            <a:pt x="34030" y="32356"/>
                            <a:pt x="34030" y="31877"/>
                            <a:pt x="34030" y="31399"/>
                          </a:cubicBezTo>
                          <a:cubicBezTo>
                            <a:pt x="34030" y="30920"/>
                            <a:pt x="34030" y="30442"/>
                            <a:pt x="34030" y="29963"/>
                          </a:cubicBezTo>
                          <a:cubicBezTo>
                            <a:pt x="34030" y="29963"/>
                            <a:pt x="34030" y="29904"/>
                            <a:pt x="34030" y="29904"/>
                          </a:cubicBezTo>
                          <a:cubicBezTo>
                            <a:pt x="34030" y="29904"/>
                            <a:pt x="34030" y="29844"/>
                            <a:pt x="34030" y="29844"/>
                          </a:cubicBezTo>
                          <a:cubicBezTo>
                            <a:pt x="34030" y="29844"/>
                            <a:pt x="34030" y="29784"/>
                            <a:pt x="34030" y="29784"/>
                          </a:cubicBezTo>
                          <a:cubicBezTo>
                            <a:pt x="34030" y="29784"/>
                            <a:pt x="34030" y="29724"/>
                            <a:pt x="34030" y="29724"/>
                          </a:cubicBezTo>
                          <a:cubicBezTo>
                            <a:pt x="34030" y="29605"/>
                            <a:pt x="34030" y="29425"/>
                            <a:pt x="34030" y="29306"/>
                          </a:cubicBezTo>
                          <a:cubicBezTo>
                            <a:pt x="34030" y="29186"/>
                            <a:pt x="34030" y="29007"/>
                            <a:pt x="33970" y="28887"/>
                          </a:cubicBezTo>
                          <a:cubicBezTo>
                            <a:pt x="33911" y="28767"/>
                            <a:pt x="33970" y="28588"/>
                            <a:pt x="33911" y="28468"/>
                          </a:cubicBezTo>
                          <a:cubicBezTo>
                            <a:pt x="33911" y="28349"/>
                            <a:pt x="33851" y="28169"/>
                            <a:pt x="33851" y="28050"/>
                          </a:cubicBezTo>
                          <a:cubicBezTo>
                            <a:pt x="33612" y="26076"/>
                            <a:pt x="33074" y="24102"/>
                            <a:pt x="32296" y="22129"/>
                          </a:cubicBezTo>
                          <a:cubicBezTo>
                            <a:pt x="31519" y="20155"/>
                            <a:pt x="30442" y="18241"/>
                            <a:pt x="29126" y="16328"/>
                          </a:cubicBezTo>
                          <a:cubicBezTo>
                            <a:pt x="27811" y="14414"/>
                            <a:pt x="26196" y="12500"/>
                            <a:pt x="24282" y="10646"/>
                          </a:cubicBezTo>
                          <a:cubicBezTo>
                            <a:pt x="22368" y="8732"/>
                            <a:pt x="20215" y="6878"/>
                            <a:pt x="17763" y="5024"/>
                          </a:cubicBezTo>
                          <a:cubicBezTo>
                            <a:pt x="17703" y="5084"/>
                            <a:pt x="17643" y="5203"/>
                            <a:pt x="17583" y="5263"/>
                          </a:cubicBezTo>
                          <a:cubicBezTo>
                            <a:pt x="17523" y="5323"/>
                            <a:pt x="17464" y="5443"/>
                            <a:pt x="17404" y="5502"/>
                          </a:cubicBezTo>
                          <a:cubicBezTo>
                            <a:pt x="17344" y="5562"/>
                            <a:pt x="17284" y="5682"/>
                            <a:pt x="17225" y="5742"/>
                          </a:cubicBezTo>
                          <a:cubicBezTo>
                            <a:pt x="17165" y="5801"/>
                            <a:pt x="17105" y="5921"/>
                            <a:pt x="17045" y="5981"/>
                          </a:cubicBezTo>
                          <a:cubicBezTo>
                            <a:pt x="19318" y="7715"/>
                            <a:pt x="21291" y="9450"/>
                            <a:pt x="23086" y="11184"/>
                          </a:cubicBezTo>
                          <a:cubicBezTo>
                            <a:pt x="24820" y="12919"/>
                            <a:pt x="26375" y="14653"/>
                            <a:pt x="27631" y="16387"/>
                          </a:cubicBezTo>
                          <a:cubicBezTo>
                            <a:pt x="28887" y="18122"/>
                            <a:pt x="29963" y="19916"/>
                            <a:pt x="30741" y="21650"/>
                          </a:cubicBezTo>
                          <a:cubicBezTo>
                            <a:pt x="31578" y="23444"/>
                            <a:pt x="32116" y="25179"/>
                            <a:pt x="32475" y="27033"/>
                          </a:cubicBezTo>
                          <a:cubicBezTo>
                            <a:pt x="32475" y="27153"/>
                            <a:pt x="32535" y="27332"/>
                            <a:pt x="32535" y="27452"/>
                          </a:cubicBezTo>
                          <a:cubicBezTo>
                            <a:pt x="32535" y="27571"/>
                            <a:pt x="32595" y="27751"/>
                            <a:pt x="32595" y="27870"/>
                          </a:cubicBezTo>
                          <a:cubicBezTo>
                            <a:pt x="32595" y="27990"/>
                            <a:pt x="32655" y="28169"/>
                            <a:pt x="32655" y="28289"/>
                          </a:cubicBezTo>
                          <a:cubicBezTo>
                            <a:pt x="32655" y="28408"/>
                            <a:pt x="32715" y="28588"/>
                            <a:pt x="32715" y="28707"/>
                          </a:cubicBezTo>
                          <a:cubicBezTo>
                            <a:pt x="32715" y="28827"/>
                            <a:pt x="32715" y="28947"/>
                            <a:pt x="32775" y="29007"/>
                          </a:cubicBezTo>
                          <a:cubicBezTo>
                            <a:pt x="32775" y="29126"/>
                            <a:pt x="32775" y="29246"/>
                            <a:pt x="32834" y="29306"/>
                          </a:cubicBezTo>
                          <a:cubicBezTo>
                            <a:pt x="32834" y="29425"/>
                            <a:pt x="32834" y="29545"/>
                            <a:pt x="32834" y="29665"/>
                          </a:cubicBezTo>
                          <a:cubicBezTo>
                            <a:pt x="32834" y="29784"/>
                            <a:pt x="32834" y="29904"/>
                            <a:pt x="32834" y="30023"/>
                          </a:cubicBezTo>
                          <a:cubicBezTo>
                            <a:pt x="32834" y="30322"/>
                            <a:pt x="32834" y="30681"/>
                            <a:pt x="32834" y="30980"/>
                          </a:cubicBezTo>
                          <a:cubicBezTo>
                            <a:pt x="32834" y="31279"/>
                            <a:pt x="32834" y="31638"/>
                            <a:pt x="32834" y="31937"/>
                          </a:cubicBezTo>
                          <a:cubicBezTo>
                            <a:pt x="32834" y="32236"/>
                            <a:pt x="32775" y="32595"/>
                            <a:pt x="32775" y="32894"/>
                          </a:cubicBezTo>
                          <a:cubicBezTo>
                            <a:pt x="32775" y="33193"/>
                            <a:pt x="32715" y="33552"/>
                            <a:pt x="32655" y="33851"/>
                          </a:cubicBezTo>
                          <a:cubicBezTo>
                            <a:pt x="32715" y="33970"/>
                            <a:pt x="32834" y="34150"/>
                            <a:pt x="32894" y="34270"/>
                          </a:cubicBezTo>
                          <a:cubicBezTo>
                            <a:pt x="32954" y="34389"/>
                            <a:pt x="33074" y="34569"/>
                            <a:pt x="33133" y="34688"/>
                          </a:cubicBezTo>
                          <a:cubicBezTo>
                            <a:pt x="33193" y="34808"/>
                            <a:pt x="33313" y="34987"/>
                            <a:pt x="33373" y="35107"/>
                          </a:cubicBezTo>
                          <a:cubicBezTo>
                            <a:pt x="33492" y="35466"/>
                            <a:pt x="33552" y="35585"/>
                            <a:pt x="33612" y="35705"/>
                          </a:cubicBezTo>
                          <a:moveTo>
                            <a:pt x="35346" y="39832"/>
                          </a:moveTo>
                          <a:cubicBezTo>
                            <a:pt x="35346" y="39772"/>
                            <a:pt x="35346" y="39772"/>
                            <a:pt x="35346" y="39832"/>
                          </a:cubicBezTo>
                          <a:cubicBezTo>
                            <a:pt x="35346" y="39772"/>
                            <a:pt x="35346" y="39772"/>
                            <a:pt x="35346" y="39772"/>
                          </a:cubicBezTo>
                          <a:cubicBezTo>
                            <a:pt x="35346" y="39772"/>
                            <a:pt x="35346" y="39712"/>
                            <a:pt x="35346" y="39712"/>
                          </a:cubicBezTo>
                          <a:cubicBezTo>
                            <a:pt x="35346" y="39712"/>
                            <a:pt x="35346" y="39652"/>
                            <a:pt x="35346" y="39652"/>
                          </a:cubicBezTo>
                          <a:cubicBezTo>
                            <a:pt x="35526" y="38994"/>
                            <a:pt x="35765" y="38337"/>
                            <a:pt x="35884" y="37678"/>
                          </a:cubicBezTo>
                          <a:cubicBezTo>
                            <a:pt x="36064" y="37021"/>
                            <a:pt x="36183" y="36363"/>
                            <a:pt x="36303" y="35705"/>
                          </a:cubicBezTo>
                          <a:cubicBezTo>
                            <a:pt x="36423" y="35047"/>
                            <a:pt x="36542" y="34389"/>
                            <a:pt x="36602" y="33731"/>
                          </a:cubicBezTo>
                          <a:cubicBezTo>
                            <a:pt x="36662" y="33074"/>
                            <a:pt x="36722" y="32415"/>
                            <a:pt x="36722" y="31698"/>
                          </a:cubicBezTo>
                          <a:cubicBezTo>
                            <a:pt x="36722" y="31578"/>
                            <a:pt x="36722" y="31459"/>
                            <a:pt x="36722" y="31339"/>
                          </a:cubicBezTo>
                          <a:cubicBezTo>
                            <a:pt x="36722" y="31220"/>
                            <a:pt x="36722" y="31100"/>
                            <a:pt x="36722" y="30980"/>
                          </a:cubicBezTo>
                          <a:cubicBezTo>
                            <a:pt x="36722" y="30861"/>
                            <a:pt x="36722" y="30741"/>
                            <a:pt x="36722" y="30621"/>
                          </a:cubicBezTo>
                          <a:cubicBezTo>
                            <a:pt x="36722" y="30502"/>
                            <a:pt x="36722" y="30382"/>
                            <a:pt x="36722" y="30262"/>
                          </a:cubicBezTo>
                          <a:cubicBezTo>
                            <a:pt x="36722" y="30203"/>
                            <a:pt x="36722" y="30143"/>
                            <a:pt x="36722" y="30083"/>
                          </a:cubicBezTo>
                          <a:cubicBezTo>
                            <a:pt x="36722" y="30023"/>
                            <a:pt x="36722" y="29963"/>
                            <a:pt x="36722" y="29904"/>
                          </a:cubicBezTo>
                          <a:cubicBezTo>
                            <a:pt x="36722" y="29844"/>
                            <a:pt x="36722" y="29784"/>
                            <a:pt x="36722" y="29724"/>
                          </a:cubicBezTo>
                          <a:cubicBezTo>
                            <a:pt x="36722" y="29665"/>
                            <a:pt x="36722" y="29605"/>
                            <a:pt x="36722" y="29545"/>
                          </a:cubicBezTo>
                          <a:cubicBezTo>
                            <a:pt x="36602" y="27153"/>
                            <a:pt x="36183" y="24880"/>
                            <a:pt x="35406" y="22547"/>
                          </a:cubicBezTo>
                          <a:cubicBezTo>
                            <a:pt x="34629" y="20275"/>
                            <a:pt x="33492" y="18002"/>
                            <a:pt x="32057" y="15729"/>
                          </a:cubicBezTo>
                          <a:cubicBezTo>
                            <a:pt x="30621" y="13516"/>
                            <a:pt x="28827" y="11304"/>
                            <a:pt x="26674" y="9091"/>
                          </a:cubicBezTo>
                          <a:cubicBezTo>
                            <a:pt x="24521" y="6878"/>
                            <a:pt x="22009" y="4725"/>
                            <a:pt x="19198" y="2572"/>
                          </a:cubicBezTo>
                          <a:cubicBezTo>
                            <a:pt x="19138" y="2691"/>
                            <a:pt x="19079" y="2751"/>
                            <a:pt x="19079" y="2871"/>
                          </a:cubicBezTo>
                          <a:cubicBezTo>
                            <a:pt x="19019" y="2990"/>
                            <a:pt x="18959" y="3050"/>
                            <a:pt x="18899" y="3170"/>
                          </a:cubicBezTo>
                          <a:cubicBezTo>
                            <a:pt x="18839" y="3289"/>
                            <a:pt x="18780" y="3349"/>
                            <a:pt x="18720" y="3469"/>
                          </a:cubicBezTo>
                          <a:cubicBezTo>
                            <a:pt x="18660" y="3589"/>
                            <a:pt x="18600" y="3648"/>
                            <a:pt x="18540" y="3768"/>
                          </a:cubicBezTo>
                          <a:cubicBezTo>
                            <a:pt x="21291" y="5861"/>
                            <a:pt x="23624" y="7895"/>
                            <a:pt x="25717" y="9988"/>
                          </a:cubicBezTo>
                          <a:cubicBezTo>
                            <a:pt x="27751" y="12081"/>
                            <a:pt x="29485" y="14174"/>
                            <a:pt x="30861" y="16328"/>
                          </a:cubicBezTo>
                          <a:cubicBezTo>
                            <a:pt x="32236" y="18421"/>
                            <a:pt x="33313" y="20574"/>
                            <a:pt x="34090" y="22787"/>
                          </a:cubicBezTo>
                          <a:cubicBezTo>
                            <a:pt x="34868" y="24940"/>
                            <a:pt x="35286" y="27153"/>
                            <a:pt x="35466" y="29366"/>
                          </a:cubicBezTo>
                          <a:cubicBezTo>
                            <a:pt x="35466" y="29425"/>
                            <a:pt x="35466" y="29425"/>
                            <a:pt x="35466" y="29485"/>
                          </a:cubicBezTo>
                          <a:cubicBezTo>
                            <a:pt x="35466" y="29545"/>
                            <a:pt x="35466" y="29545"/>
                            <a:pt x="35466" y="29605"/>
                          </a:cubicBezTo>
                          <a:cubicBezTo>
                            <a:pt x="35466" y="29665"/>
                            <a:pt x="35466" y="29665"/>
                            <a:pt x="35466" y="29724"/>
                          </a:cubicBezTo>
                          <a:cubicBezTo>
                            <a:pt x="35466" y="29784"/>
                            <a:pt x="35466" y="29784"/>
                            <a:pt x="35466" y="29844"/>
                          </a:cubicBezTo>
                          <a:cubicBezTo>
                            <a:pt x="35466" y="29963"/>
                            <a:pt x="35466" y="30023"/>
                            <a:pt x="35466" y="30143"/>
                          </a:cubicBezTo>
                          <a:cubicBezTo>
                            <a:pt x="35466" y="30262"/>
                            <a:pt x="35466" y="30322"/>
                            <a:pt x="35466" y="30442"/>
                          </a:cubicBezTo>
                          <a:cubicBezTo>
                            <a:pt x="35466" y="30561"/>
                            <a:pt x="35466" y="30621"/>
                            <a:pt x="35466" y="30741"/>
                          </a:cubicBezTo>
                          <a:cubicBezTo>
                            <a:pt x="35466" y="30861"/>
                            <a:pt x="35466" y="30920"/>
                            <a:pt x="35466" y="31040"/>
                          </a:cubicBezTo>
                          <a:cubicBezTo>
                            <a:pt x="35466" y="31638"/>
                            <a:pt x="35466" y="32236"/>
                            <a:pt x="35406" y="32834"/>
                          </a:cubicBezTo>
                          <a:cubicBezTo>
                            <a:pt x="35346" y="33432"/>
                            <a:pt x="35286" y="34030"/>
                            <a:pt x="35227" y="34629"/>
                          </a:cubicBezTo>
                          <a:cubicBezTo>
                            <a:pt x="35167" y="35227"/>
                            <a:pt x="35047" y="35824"/>
                            <a:pt x="34928" y="36423"/>
                          </a:cubicBezTo>
                          <a:cubicBezTo>
                            <a:pt x="34808" y="37021"/>
                            <a:pt x="34688" y="37619"/>
                            <a:pt x="34509" y="38157"/>
                          </a:cubicBezTo>
                          <a:cubicBezTo>
                            <a:pt x="34569" y="38337"/>
                            <a:pt x="34629" y="38456"/>
                            <a:pt x="34688" y="38636"/>
                          </a:cubicBezTo>
                          <a:cubicBezTo>
                            <a:pt x="34748" y="38815"/>
                            <a:pt x="34808" y="38935"/>
                            <a:pt x="34868" y="39114"/>
                          </a:cubicBezTo>
                          <a:cubicBezTo>
                            <a:pt x="34928" y="39293"/>
                            <a:pt x="34987" y="39413"/>
                            <a:pt x="35047" y="39592"/>
                          </a:cubicBezTo>
                          <a:cubicBezTo>
                            <a:pt x="35227" y="39532"/>
                            <a:pt x="35286" y="39652"/>
                            <a:pt x="35346" y="39832"/>
                          </a:cubicBezTo>
                          <a:moveTo>
                            <a:pt x="32416" y="40071"/>
                          </a:moveTo>
                          <a:cubicBezTo>
                            <a:pt x="32416" y="40011"/>
                            <a:pt x="32475" y="39951"/>
                            <a:pt x="32475" y="39891"/>
                          </a:cubicBezTo>
                          <a:cubicBezTo>
                            <a:pt x="32475" y="39832"/>
                            <a:pt x="32535" y="39772"/>
                            <a:pt x="32535" y="39712"/>
                          </a:cubicBezTo>
                          <a:cubicBezTo>
                            <a:pt x="32535" y="39652"/>
                            <a:pt x="32595" y="39592"/>
                            <a:pt x="32595" y="39532"/>
                          </a:cubicBezTo>
                          <a:cubicBezTo>
                            <a:pt x="32595" y="39473"/>
                            <a:pt x="32655" y="39413"/>
                            <a:pt x="32655" y="39353"/>
                          </a:cubicBezTo>
                          <a:cubicBezTo>
                            <a:pt x="32715" y="39234"/>
                            <a:pt x="32715" y="39114"/>
                            <a:pt x="32775" y="39054"/>
                          </a:cubicBezTo>
                          <a:cubicBezTo>
                            <a:pt x="32834" y="38935"/>
                            <a:pt x="32834" y="38815"/>
                            <a:pt x="32894" y="38755"/>
                          </a:cubicBezTo>
                          <a:cubicBezTo>
                            <a:pt x="32954" y="38636"/>
                            <a:pt x="32954" y="38516"/>
                            <a:pt x="33014" y="38456"/>
                          </a:cubicBezTo>
                          <a:cubicBezTo>
                            <a:pt x="33074" y="38337"/>
                            <a:pt x="33074" y="38217"/>
                            <a:pt x="33074" y="38157"/>
                          </a:cubicBezTo>
                          <a:cubicBezTo>
                            <a:pt x="33074" y="38097"/>
                            <a:pt x="33074" y="38097"/>
                            <a:pt x="33074" y="38037"/>
                          </a:cubicBezTo>
                          <a:cubicBezTo>
                            <a:pt x="33074" y="37978"/>
                            <a:pt x="33074" y="37978"/>
                            <a:pt x="33074" y="37918"/>
                          </a:cubicBezTo>
                          <a:cubicBezTo>
                            <a:pt x="33074" y="37858"/>
                            <a:pt x="33074" y="37858"/>
                            <a:pt x="33074" y="37798"/>
                          </a:cubicBezTo>
                          <a:cubicBezTo>
                            <a:pt x="33074" y="37738"/>
                            <a:pt x="33074" y="37738"/>
                            <a:pt x="33074" y="37678"/>
                          </a:cubicBezTo>
                          <a:cubicBezTo>
                            <a:pt x="33014" y="37559"/>
                            <a:pt x="32954" y="37439"/>
                            <a:pt x="32894" y="37260"/>
                          </a:cubicBezTo>
                          <a:cubicBezTo>
                            <a:pt x="32834" y="37140"/>
                            <a:pt x="32775" y="36961"/>
                            <a:pt x="32715" y="36841"/>
                          </a:cubicBezTo>
                          <a:cubicBezTo>
                            <a:pt x="32655" y="36722"/>
                            <a:pt x="32595" y="36542"/>
                            <a:pt x="32535" y="36423"/>
                          </a:cubicBezTo>
                          <a:cubicBezTo>
                            <a:pt x="32475" y="36303"/>
                            <a:pt x="32416" y="36124"/>
                            <a:pt x="32296" y="36004"/>
                          </a:cubicBezTo>
                          <a:cubicBezTo>
                            <a:pt x="32296" y="36124"/>
                            <a:pt x="32236" y="36243"/>
                            <a:pt x="32236" y="36363"/>
                          </a:cubicBezTo>
                          <a:cubicBezTo>
                            <a:pt x="32236" y="36483"/>
                            <a:pt x="32176" y="36602"/>
                            <a:pt x="32176" y="36722"/>
                          </a:cubicBezTo>
                          <a:cubicBezTo>
                            <a:pt x="32176" y="36841"/>
                            <a:pt x="32116" y="36961"/>
                            <a:pt x="32116" y="37081"/>
                          </a:cubicBezTo>
                          <a:cubicBezTo>
                            <a:pt x="32116" y="37200"/>
                            <a:pt x="32057" y="37320"/>
                            <a:pt x="32057" y="37439"/>
                          </a:cubicBezTo>
                          <a:cubicBezTo>
                            <a:pt x="32057" y="37559"/>
                            <a:pt x="31997" y="37619"/>
                            <a:pt x="31997" y="37738"/>
                          </a:cubicBezTo>
                          <a:cubicBezTo>
                            <a:pt x="31997" y="37858"/>
                            <a:pt x="31937" y="37918"/>
                            <a:pt x="31937" y="38037"/>
                          </a:cubicBezTo>
                          <a:cubicBezTo>
                            <a:pt x="31937" y="38157"/>
                            <a:pt x="31877" y="38217"/>
                            <a:pt x="31877" y="38337"/>
                          </a:cubicBezTo>
                          <a:cubicBezTo>
                            <a:pt x="31877" y="38456"/>
                            <a:pt x="31817" y="38516"/>
                            <a:pt x="31817" y="38636"/>
                          </a:cubicBezTo>
                          <a:cubicBezTo>
                            <a:pt x="31877" y="38755"/>
                            <a:pt x="31937" y="38935"/>
                            <a:pt x="31997" y="39054"/>
                          </a:cubicBezTo>
                          <a:cubicBezTo>
                            <a:pt x="32057" y="39174"/>
                            <a:pt x="32116" y="39353"/>
                            <a:pt x="32176" y="39473"/>
                          </a:cubicBezTo>
                          <a:cubicBezTo>
                            <a:pt x="32236" y="39592"/>
                            <a:pt x="32296" y="39772"/>
                            <a:pt x="32356" y="39891"/>
                          </a:cubicBezTo>
                          <a:cubicBezTo>
                            <a:pt x="32416" y="40011"/>
                            <a:pt x="32416" y="39951"/>
                            <a:pt x="32416" y="40071"/>
                          </a:cubicBezTo>
                          <a:moveTo>
                            <a:pt x="33492" y="44497"/>
                          </a:moveTo>
                          <a:cubicBezTo>
                            <a:pt x="33492" y="44437"/>
                            <a:pt x="33552" y="44437"/>
                            <a:pt x="33552" y="44377"/>
                          </a:cubicBezTo>
                          <a:cubicBezTo>
                            <a:pt x="33552" y="44317"/>
                            <a:pt x="33612" y="44317"/>
                            <a:pt x="33612" y="44257"/>
                          </a:cubicBezTo>
                          <a:cubicBezTo>
                            <a:pt x="33612" y="44198"/>
                            <a:pt x="33671" y="44198"/>
                            <a:pt x="33671" y="44138"/>
                          </a:cubicBezTo>
                          <a:cubicBezTo>
                            <a:pt x="33671" y="44078"/>
                            <a:pt x="33731" y="44078"/>
                            <a:pt x="33731" y="44018"/>
                          </a:cubicBezTo>
                          <a:cubicBezTo>
                            <a:pt x="33791" y="43839"/>
                            <a:pt x="33911" y="43659"/>
                            <a:pt x="33970" y="43480"/>
                          </a:cubicBezTo>
                          <a:cubicBezTo>
                            <a:pt x="34030" y="43300"/>
                            <a:pt x="34150" y="43121"/>
                            <a:pt x="34210" y="42942"/>
                          </a:cubicBezTo>
                          <a:cubicBezTo>
                            <a:pt x="34270" y="42762"/>
                            <a:pt x="34389" y="42583"/>
                            <a:pt x="34449" y="42403"/>
                          </a:cubicBezTo>
                          <a:cubicBezTo>
                            <a:pt x="34509" y="42224"/>
                            <a:pt x="34629" y="42045"/>
                            <a:pt x="34688" y="41865"/>
                          </a:cubicBezTo>
                          <a:cubicBezTo>
                            <a:pt x="34629" y="41686"/>
                            <a:pt x="34629" y="41566"/>
                            <a:pt x="34569" y="41386"/>
                          </a:cubicBezTo>
                          <a:cubicBezTo>
                            <a:pt x="34509" y="41207"/>
                            <a:pt x="34509" y="41088"/>
                            <a:pt x="34449" y="40908"/>
                          </a:cubicBezTo>
                          <a:cubicBezTo>
                            <a:pt x="34389" y="40729"/>
                            <a:pt x="34329" y="40609"/>
                            <a:pt x="34329" y="40430"/>
                          </a:cubicBezTo>
                          <a:cubicBezTo>
                            <a:pt x="34329" y="40251"/>
                            <a:pt x="34210" y="40131"/>
                            <a:pt x="34150" y="39951"/>
                          </a:cubicBezTo>
                          <a:cubicBezTo>
                            <a:pt x="34150" y="39951"/>
                            <a:pt x="34150" y="40011"/>
                            <a:pt x="34150" y="40011"/>
                          </a:cubicBezTo>
                          <a:cubicBezTo>
                            <a:pt x="34150" y="40011"/>
                            <a:pt x="34150" y="40071"/>
                            <a:pt x="34150" y="40071"/>
                          </a:cubicBezTo>
                          <a:cubicBezTo>
                            <a:pt x="34150" y="40071"/>
                            <a:pt x="34150" y="40131"/>
                            <a:pt x="34150" y="40131"/>
                          </a:cubicBezTo>
                          <a:cubicBezTo>
                            <a:pt x="34150" y="40131"/>
                            <a:pt x="34150" y="40191"/>
                            <a:pt x="34150" y="40191"/>
                          </a:cubicBezTo>
                          <a:cubicBezTo>
                            <a:pt x="34090" y="40370"/>
                            <a:pt x="34030" y="40549"/>
                            <a:pt x="33970" y="40729"/>
                          </a:cubicBezTo>
                          <a:cubicBezTo>
                            <a:pt x="33911" y="40908"/>
                            <a:pt x="33851" y="41088"/>
                            <a:pt x="33731" y="41267"/>
                          </a:cubicBezTo>
                          <a:cubicBezTo>
                            <a:pt x="33671" y="41446"/>
                            <a:pt x="33612" y="41626"/>
                            <a:pt x="33492" y="41805"/>
                          </a:cubicBezTo>
                          <a:cubicBezTo>
                            <a:pt x="33432" y="41985"/>
                            <a:pt x="33313" y="42164"/>
                            <a:pt x="33253" y="42344"/>
                          </a:cubicBezTo>
                          <a:cubicBezTo>
                            <a:pt x="33313" y="42523"/>
                            <a:pt x="33313" y="42702"/>
                            <a:pt x="33373" y="42882"/>
                          </a:cubicBezTo>
                          <a:cubicBezTo>
                            <a:pt x="33432" y="43061"/>
                            <a:pt x="33432" y="43241"/>
                            <a:pt x="33492" y="43420"/>
                          </a:cubicBezTo>
                          <a:cubicBezTo>
                            <a:pt x="33552" y="43600"/>
                            <a:pt x="33552" y="43779"/>
                            <a:pt x="33552" y="43959"/>
                          </a:cubicBezTo>
                          <a:cubicBezTo>
                            <a:pt x="33432" y="44138"/>
                            <a:pt x="33492" y="44317"/>
                            <a:pt x="33492" y="44497"/>
                          </a:cubicBezTo>
                          <a:moveTo>
                            <a:pt x="16088" y="66506"/>
                          </a:moveTo>
                          <a:lnTo>
                            <a:pt x="17045" y="67104"/>
                          </a:lnTo>
                          <a:cubicBezTo>
                            <a:pt x="17703" y="66386"/>
                            <a:pt x="18361" y="65609"/>
                            <a:pt x="19019" y="64891"/>
                          </a:cubicBezTo>
                          <a:cubicBezTo>
                            <a:pt x="19677" y="64173"/>
                            <a:pt x="20335" y="63396"/>
                            <a:pt x="20933" y="62678"/>
                          </a:cubicBezTo>
                          <a:cubicBezTo>
                            <a:pt x="21590" y="61960"/>
                            <a:pt x="22189" y="61183"/>
                            <a:pt x="22846" y="60465"/>
                          </a:cubicBezTo>
                          <a:cubicBezTo>
                            <a:pt x="23504" y="59747"/>
                            <a:pt x="24102" y="58970"/>
                            <a:pt x="24700" y="58193"/>
                          </a:cubicBezTo>
                          <a:cubicBezTo>
                            <a:pt x="24760" y="58133"/>
                            <a:pt x="24820" y="58013"/>
                            <a:pt x="24880" y="57953"/>
                          </a:cubicBezTo>
                          <a:cubicBezTo>
                            <a:pt x="24940" y="57893"/>
                            <a:pt x="24999" y="57774"/>
                            <a:pt x="25059" y="57714"/>
                          </a:cubicBezTo>
                          <a:cubicBezTo>
                            <a:pt x="25119" y="57654"/>
                            <a:pt x="25179" y="57535"/>
                            <a:pt x="25239" y="57475"/>
                          </a:cubicBezTo>
                          <a:cubicBezTo>
                            <a:pt x="25299" y="57415"/>
                            <a:pt x="25358" y="57295"/>
                            <a:pt x="25418" y="57236"/>
                          </a:cubicBezTo>
                          <a:cubicBezTo>
                            <a:pt x="25777" y="56817"/>
                            <a:pt x="26076" y="56398"/>
                            <a:pt x="26435" y="55920"/>
                          </a:cubicBezTo>
                          <a:cubicBezTo>
                            <a:pt x="26734" y="55501"/>
                            <a:pt x="27093" y="55083"/>
                            <a:pt x="27392" y="54604"/>
                          </a:cubicBezTo>
                          <a:cubicBezTo>
                            <a:pt x="27691" y="54125"/>
                            <a:pt x="27990" y="53707"/>
                            <a:pt x="28349" y="53288"/>
                          </a:cubicBezTo>
                          <a:cubicBezTo>
                            <a:pt x="28707" y="52870"/>
                            <a:pt x="28947" y="52391"/>
                            <a:pt x="29246" y="51972"/>
                          </a:cubicBezTo>
                          <a:cubicBezTo>
                            <a:pt x="29306" y="51913"/>
                            <a:pt x="29366" y="51793"/>
                            <a:pt x="29425" y="51733"/>
                          </a:cubicBezTo>
                          <a:cubicBezTo>
                            <a:pt x="29485" y="51674"/>
                            <a:pt x="29545" y="51554"/>
                            <a:pt x="29605" y="51494"/>
                          </a:cubicBezTo>
                          <a:cubicBezTo>
                            <a:pt x="29665" y="51434"/>
                            <a:pt x="29724" y="51315"/>
                            <a:pt x="29784" y="51255"/>
                          </a:cubicBezTo>
                          <a:cubicBezTo>
                            <a:pt x="29844" y="51195"/>
                            <a:pt x="29904" y="51076"/>
                            <a:pt x="29963" y="51016"/>
                          </a:cubicBezTo>
                          <a:cubicBezTo>
                            <a:pt x="30023" y="50896"/>
                            <a:pt x="30143" y="50776"/>
                            <a:pt x="30203" y="50657"/>
                          </a:cubicBezTo>
                          <a:cubicBezTo>
                            <a:pt x="30262" y="50537"/>
                            <a:pt x="30382" y="50417"/>
                            <a:pt x="30442" y="50298"/>
                          </a:cubicBezTo>
                          <a:cubicBezTo>
                            <a:pt x="30502" y="50178"/>
                            <a:pt x="30621" y="50059"/>
                            <a:pt x="30681" y="49939"/>
                          </a:cubicBezTo>
                          <a:cubicBezTo>
                            <a:pt x="30741" y="49820"/>
                            <a:pt x="30801" y="49700"/>
                            <a:pt x="30921" y="49580"/>
                          </a:cubicBezTo>
                          <a:cubicBezTo>
                            <a:pt x="30980" y="49521"/>
                            <a:pt x="31040" y="49401"/>
                            <a:pt x="31100" y="49341"/>
                          </a:cubicBezTo>
                          <a:cubicBezTo>
                            <a:pt x="31160" y="49281"/>
                            <a:pt x="31220" y="49162"/>
                            <a:pt x="31279" y="49102"/>
                          </a:cubicBezTo>
                          <a:cubicBezTo>
                            <a:pt x="31339" y="49042"/>
                            <a:pt x="31399" y="48922"/>
                            <a:pt x="31459" y="48862"/>
                          </a:cubicBezTo>
                          <a:cubicBezTo>
                            <a:pt x="31519" y="48803"/>
                            <a:pt x="31578" y="48683"/>
                            <a:pt x="31638" y="48623"/>
                          </a:cubicBezTo>
                          <a:cubicBezTo>
                            <a:pt x="31698" y="48504"/>
                            <a:pt x="31817" y="48324"/>
                            <a:pt x="31877" y="48205"/>
                          </a:cubicBezTo>
                          <a:cubicBezTo>
                            <a:pt x="31937" y="48085"/>
                            <a:pt x="32057" y="47906"/>
                            <a:pt x="32116" y="47786"/>
                          </a:cubicBezTo>
                          <a:cubicBezTo>
                            <a:pt x="32176" y="47667"/>
                            <a:pt x="32296" y="47487"/>
                            <a:pt x="32356" y="47367"/>
                          </a:cubicBezTo>
                          <a:cubicBezTo>
                            <a:pt x="32416" y="47248"/>
                            <a:pt x="32535" y="47068"/>
                            <a:pt x="32595" y="46949"/>
                          </a:cubicBezTo>
                          <a:cubicBezTo>
                            <a:pt x="32595" y="46829"/>
                            <a:pt x="32595" y="46709"/>
                            <a:pt x="32595" y="46590"/>
                          </a:cubicBezTo>
                          <a:cubicBezTo>
                            <a:pt x="32595" y="46470"/>
                            <a:pt x="32595" y="46351"/>
                            <a:pt x="32595" y="46231"/>
                          </a:cubicBezTo>
                          <a:cubicBezTo>
                            <a:pt x="32595" y="46111"/>
                            <a:pt x="32595" y="45992"/>
                            <a:pt x="32595" y="45872"/>
                          </a:cubicBezTo>
                          <a:cubicBezTo>
                            <a:pt x="32595" y="45753"/>
                            <a:pt x="32595" y="45633"/>
                            <a:pt x="32595" y="45513"/>
                          </a:cubicBezTo>
                          <a:cubicBezTo>
                            <a:pt x="32595" y="45454"/>
                            <a:pt x="32595" y="45334"/>
                            <a:pt x="32595" y="45274"/>
                          </a:cubicBezTo>
                          <a:cubicBezTo>
                            <a:pt x="32595" y="45214"/>
                            <a:pt x="32595" y="45095"/>
                            <a:pt x="32595" y="45035"/>
                          </a:cubicBezTo>
                          <a:cubicBezTo>
                            <a:pt x="32595" y="44975"/>
                            <a:pt x="32595" y="44855"/>
                            <a:pt x="32595" y="44796"/>
                          </a:cubicBezTo>
                          <a:cubicBezTo>
                            <a:pt x="32595" y="44736"/>
                            <a:pt x="32595" y="44616"/>
                            <a:pt x="32595" y="44556"/>
                          </a:cubicBezTo>
                          <a:cubicBezTo>
                            <a:pt x="32595" y="44556"/>
                            <a:pt x="32595" y="44556"/>
                            <a:pt x="32595" y="44556"/>
                          </a:cubicBezTo>
                          <a:cubicBezTo>
                            <a:pt x="32595" y="44556"/>
                            <a:pt x="32595" y="44556"/>
                            <a:pt x="32595" y="44556"/>
                          </a:cubicBezTo>
                          <a:cubicBezTo>
                            <a:pt x="32595" y="44556"/>
                            <a:pt x="32595" y="44556"/>
                            <a:pt x="32595" y="44556"/>
                          </a:cubicBezTo>
                          <a:cubicBezTo>
                            <a:pt x="32595" y="44556"/>
                            <a:pt x="32595" y="44556"/>
                            <a:pt x="32595" y="44556"/>
                          </a:cubicBezTo>
                          <a:cubicBezTo>
                            <a:pt x="32475" y="44855"/>
                            <a:pt x="32356" y="45095"/>
                            <a:pt x="32176" y="45394"/>
                          </a:cubicBezTo>
                          <a:cubicBezTo>
                            <a:pt x="32057" y="45693"/>
                            <a:pt x="31877" y="45932"/>
                            <a:pt x="31758" y="46231"/>
                          </a:cubicBezTo>
                          <a:cubicBezTo>
                            <a:pt x="31638" y="46530"/>
                            <a:pt x="31459" y="46769"/>
                            <a:pt x="31339" y="47068"/>
                          </a:cubicBezTo>
                          <a:cubicBezTo>
                            <a:pt x="31220" y="47367"/>
                            <a:pt x="31040" y="47607"/>
                            <a:pt x="30861" y="47906"/>
                          </a:cubicBezTo>
                          <a:cubicBezTo>
                            <a:pt x="30801" y="48025"/>
                            <a:pt x="30741" y="48085"/>
                            <a:pt x="30681" y="48205"/>
                          </a:cubicBezTo>
                          <a:cubicBezTo>
                            <a:pt x="30621" y="48324"/>
                            <a:pt x="30561" y="48384"/>
                            <a:pt x="30502" y="48504"/>
                          </a:cubicBezTo>
                          <a:cubicBezTo>
                            <a:pt x="30442" y="48623"/>
                            <a:pt x="30382" y="48683"/>
                            <a:pt x="30322" y="48803"/>
                          </a:cubicBezTo>
                          <a:cubicBezTo>
                            <a:pt x="30262" y="48922"/>
                            <a:pt x="30203" y="48982"/>
                            <a:pt x="30143" y="49042"/>
                          </a:cubicBezTo>
                          <a:cubicBezTo>
                            <a:pt x="30083" y="49162"/>
                            <a:pt x="30023" y="49281"/>
                            <a:pt x="29904" y="49401"/>
                          </a:cubicBezTo>
                          <a:cubicBezTo>
                            <a:pt x="29844" y="49521"/>
                            <a:pt x="29724" y="49640"/>
                            <a:pt x="29665" y="49760"/>
                          </a:cubicBezTo>
                          <a:cubicBezTo>
                            <a:pt x="29605" y="49879"/>
                            <a:pt x="29485" y="49999"/>
                            <a:pt x="29425" y="50118"/>
                          </a:cubicBezTo>
                          <a:cubicBezTo>
                            <a:pt x="29366" y="50238"/>
                            <a:pt x="29246" y="50358"/>
                            <a:pt x="29186" y="50477"/>
                          </a:cubicBezTo>
                          <a:cubicBezTo>
                            <a:pt x="29126" y="50537"/>
                            <a:pt x="29066" y="50657"/>
                            <a:pt x="29007" y="50717"/>
                          </a:cubicBezTo>
                          <a:cubicBezTo>
                            <a:pt x="28947" y="50776"/>
                            <a:pt x="28887" y="50896"/>
                            <a:pt x="28827" y="50956"/>
                          </a:cubicBezTo>
                          <a:cubicBezTo>
                            <a:pt x="28767" y="51016"/>
                            <a:pt x="28707" y="51135"/>
                            <a:pt x="28648" y="51195"/>
                          </a:cubicBezTo>
                          <a:cubicBezTo>
                            <a:pt x="28588" y="51255"/>
                            <a:pt x="28528" y="51375"/>
                            <a:pt x="28468" y="51434"/>
                          </a:cubicBezTo>
                          <a:cubicBezTo>
                            <a:pt x="28169" y="51853"/>
                            <a:pt x="27870" y="52331"/>
                            <a:pt x="27571" y="52750"/>
                          </a:cubicBezTo>
                          <a:cubicBezTo>
                            <a:pt x="27272" y="53169"/>
                            <a:pt x="26973" y="53647"/>
                            <a:pt x="26614" y="54066"/>
                          </a:cubicBezTo>
                          <a:cubicBezTo>
                            <a:pt x="26315" y="54484"/>
                            <a:pt x="25956" y="54963"/>
                            <a:pt x="25658" y="55382"/>
                          </a:cubicBezTo>
                          <a:cubicBezTo>
                            <a:pt x="25358" y="55800"/>
                            <a:pt x="24999" y="56219"/>
                            <a:pt x="24641" y="56697"/>
                          </a:cubicBezTo>
                          <a:cubicBezTo>
                            <a:pt x="24581" y="56757"/>
                            <a:pt x="24521" y="56877"/>
                            <a:pt x="24461" y="56937"/>
                          </a:cubicBezTo>
                          <a:cubicBezTo>
                            <a:pt x="24401" y="56996"/>
                            <a:pt x="24342" y="57116"/>
                            <a:pt x="24282" y="57176"/>
                          </a:cubicBezTo>
                          <a:cubicBezTo>
                            <a:pt x="24222" y="57236"/>
                            <a:pt x="24162" y="57355"/>
                            <a:pt x="24102" y="57415"/>
                          </a:cubicBezTo>
                          <a:cubicBezTo>
                            <a:pt x="24043" y="57475"/>
                            <a:pt x="23983" y="57594"/>
                            <a:pt x="23923" y="57654"/>
                          </a:cubicBezTo>
                          <a:cubicBezTo>
                            <a:pt x="23325" y="58432"/>
                            <a:pt x="22727" y="59149"/>
                            <a:pt x="22069" y="59927"/>
                          </a:cubicBezTo>
                          <a:cubicBezTo>
                            <a:pt x="21471" y="60704"/>
                            <a:pt x="20813" y="61422"/>
                            <a:pt x="20155" y="62140"/>
                          </a:cubicBezTo>
                          <a:cubicBezTo>
                            <a:pt x="19497" y="62857"/>
                            <a:pt x="18899" y="63635"/>
                            <a:pt x="18241" y="64353"/>
                          </a:cubicBezTo>
                          <a:cubicBezTo>
                            <a:pt x="17404" y="65010"/>
                            <a:pt x="16746" y="65728"/>
                            <a:pt x="16088" y="66506"/>
                          </a:cubicBezTo>
                          <a:moveTo>
                            <a:pt x="13995" y="65070"/>
                          </a:moveTo>
                          <a:lnTo>
                            <a:pt x="14952" y="65669"/>
                          </a:lnTo>
                          <a:cubicBezTo>
                            <a:pt x="15610" y="64951"/>
                            <a:pt x="16268" y="64173"/>
                            <a:pt x="16926" y="63455"/>
                          </a:cubicBezTo>
                          <a:cubicBezTo>
                            <a:pt x="17583" y="62738"/>
                            <a:pt x="18241" y="61960"/>
                            <a:pt x="18839" y="61243"/>
                          </a:cubicBezTo>
                          <a:cubicBezTo>
                            <a:pt x="19497" y="60525"/>
                            <a:pt x="20095" y="59747"/>
                            <a:pt x="20753" y="59030"/>
                          </a:cubicBezTo>
                          <a:cubicBezTo>
                            <a:pt x="21411" y="58312"/>
                            <a:pt x="22009" y="57535"/>
                            <a:pt x="22547" y="56757"/>
                          </a:cubicBezTo>
                          <a:cubicBezTo>
                            <a:pt x="22607" y="56697"/>
                            <a:pt x="22667" y="56578"/>
                            <a:pt x="22727" y="56518"/>
                          </a:cubicBezTo>
                          <a:cubicBezTo>
                            <a:pt x="22787" y="56458"/>
                            <a:pt x="22846" y="56338"/>
                            <a:pt x="22906" y="56279"/>
                          </a:cubicBezTo>
                          <a:cubicBezTo>
                            <a:pt x="22966" y="56219"/>
                            <a:pt x="23026" y="56099"/>
                            <a:pt x="23086" y="56039"/>
                          </a:cubicBezTo>
                          <a:cubicBezTo>
                            <a:pt x="23145" y="55979"/>
                            <a:pt x="23205" y="55860"/>
                            <a:pt x="23265" y="55800"/>
                          </a:cubicBezTo>
                          <a:cubicBezTo>
                            <a:pt x="23624" y="55382"/>
                            <a:pt x="23923" y="54963"/>
                            <a:pt x="24282" y="54484"/>
                          </a:cubicBezTo>
                          <a:cubicBezTo>
                            <a:pt x="24641" y="54006"/>
                            <a:pt x="24940" y="53587"/>
                            <a:pt x="25239" y="53169"/>
                          </a:cubicBezTo>
                          <a:cubicBezTo>
                            <a:pt x="25538" y="52750"/>
                            <a:pt x="25837" y="52271"/>
                            <a:pt x="26196" y="51853"/>
                          </a:cubicBezTo>
                          <a:cubicBezTo>
                            <a:pt x="26495" y="51434"/>
                            <a:pt x="26794" y="50956"/>
                            <a:pt x="27093" y="50537"/>
                          </a:cubicBezTo>
                          <a:cubicBezTo>
                            <a:pt x="27153" y="50477"/>
                            <a:pt x="27212" y="50358"/>
                            <a:pt x="27272" y="50298"/>
                          </a:cubicBezTo>
                          <a:cubicBezTo>
                            <a:pt x="27332" y="50238"/>
                            <a:pt x="27392" y="50118"/>
                            <a:pt x="27452" y="50059"/>
                          </a:cubicBezTo>
                          <a:cubicBezTo>
                            <a:pt x="27512" y="49999"/>
                            <a:pt x="27571" y="49879"/>
                            <a:pt x="27631" y="49820"/>
                          </a:cubicBezTo>
                          <a:cubicBezTo>
                            <a:pt x="27691" y="49760"/>
                            <a:pt x="27751" y="49640"/>
                            <a:pt x="27811" y="49580"/>
                          </a:cubicBezTo>
                          <a:cubicBezTo>
                            <a:pt x="27870" y="49461"/>
                            <a:pt x="27990" y="49341"/>
                            <a:pt x="28050" y="49222"/>
                          </a:cubicBezTo>
                          <a:cubicBezTo>
                            <a:pt x="28109" y="49102"/>
                            <a:pt x="28229" y="48982"/>
                            <a:pt x="28289" y="48862"/>
                          </a:cubicBezTo>
                          <a:cubicBezTo>
                            <a:pt x="28349" y="48743"/>
                            <a:pt x="28468" y="48623"/>
                            <a:pt x="28528" y="48504"/>
                          </a:cubicBezTo>
                          <a:cubicBezTo>
                            <a:pt x="28588" y="48384"/>
                            <a:pt x="28648" y="48264"/>
                            <a:pt x="28767" y="48145"/>
                          </a:cubicBezTo>
                          <a:cubicBezTo>
                            <a:pt x="28827" y="48025"/>
                            <a:pt x="28887" y="47966"/>
                            <a:pt x="28947" y="47846"/>
                          </a:cubicBezTo>
                          <a:cubicBezTo>
                            <a:pt x="29007" y="47726"/>
                            <a:pt x="29066" y="47667"/>
                            <a:pt x="29126" y="47547"/>
                          </a:cubicBezTo>
                          <a:cubicBezTo>
                            <a:pt x="29186" y="47427"/>
                            <a:pt x="29246" y="47367"/>
                            <a:pt x="29306" y="47248"/>
                          </a:cubicBezTo>
                          <a:cubicBezTo>
                            <a:pt x="29366" y="47128"/>
                            <a:pt x="29425" y="47068"/>
                            <a:pt x="29485" y="46949"/>
                          </a:cubicBezTo>
                          <a:cubicBezTo>
                            <a:pt x="29665" y="46650"/>
                            <a:pt x="29784" y="46410"/>
                            <a:pt x="29963" y="46111"/>
                          </a:cubicBezTo>
                          <a:cubicBezTo>
                            <a:pt x="30143" y="45813"/>
                            <a:pt x="30262" y="45573"/>
                            <a:pt x="30382" y="45274"/>
                          </a:cubicBezTo>
                          <a:cubicBezTo>
                            <a:pt x="30502" y="44975"/>
                            <a:pt x="30681" y="44736"/>
                            <a:pt x="30801" y="44437"/>
                          </a:cubicBezTo>
                          <a:cubicBezTo>
                            <a:pt x="30921" y="44138"/>
                            <a:pt x="31100" y="43899"/>
                            <a:pt x="31220" y="43600"/>
                          </a:cubicBezTo>
                          <a:cubicBezTo>
                            <a:pt x="31279" y="43480"/>
                            <a:pt x="31279" y="43420"/>
                            <a:pt x="31339" y="43300"/>
                          </a:cubicBezTo>
                          <a:cubicBezTo>
                            <a:pt x="31399" y="43181"/>
                            <a:pt x="31399" y="43121"/>
                            <a:pt x="31459" y="43001"/>
                          </a:cubicBezTo>
                          <a:cubicBezTo>
                            <a:pt x="31519" y="42882"/>
                            <a:pt x="31519" y="42822"/>
                            <a:pt x="31578" y="42702"/>
                          </a:cubicBezTo>
                          <a:cubicBezTo>
                            <a:pt x="31638" y="42583"/>
                            <a:pt x="31638" y="42523"/>
                            <a:pt x="31698" y="42403"/>
                          </a:cubicBezTo>
                          <a:cubicBezTo>
                            <a:pt x="31698" y="42344"/>
                            <a:pt x="31758" y="42284"/>
                            <a:pt x="31758" y="42284"/>
                          </a:cubicBezTo>
                          <a:cubicBezTo>
                            <a:pt x="31758" y="42224"/>
                            <a:pt x="31817" y="42164"/>
                            <a:pt x="31817" y="42164"/>
                          </a:cubicBezTo>
                          <a:cubicBezTo>
                            <a:pt x="31817" y="42105"/>
                            <a:pt x="31877" y="42045"/>
                            <a:pt x="31877" y="42045"/>
                          </a:cubicBezTo>
                          <a:cubicBezTo>
                            <a:pt x="31877" y="41985"/>
                            <a:pt x="31937" y="41925"/>
                            <a:pt x="31937" y="41925"/>
                          </a:cubicBezTo>
                          <a:cubicBezTo>
                            <a:pt x="31877" y="41805"/>
                            <a:pt x="31877" y="41626"/>
                            <a:pt x="31817" y="41506"/>
                          </a:cubicBezTo>
                          <a:cubicBezTo>
                            <a:pt x="31758" y="41386"/>
                            <a:pt x="31758" y="41207"/>
                            <a:pt x="31698" y="41088"/>
                          </a:cubicBezTo>
                          <a:cubicBezTo>
                            <a:pt x="31638" y="40968"/>
                            <a:pt x="31578" y="40789"/>
                            <a:pt x="31578" y="40669"/>
                          </a:cubicBezTo>
                          <a:cubicBezTo>
                            <a:pt x="31519" y="40549"/>
                            <a:pt x="31459" y="40370"/>
                            <a:pt x="31399" y="40251"/>
                          </a:cubicBezTo>
                          <a:cubicBezTo>
                            <a:pt x="31339" y="40370"/>
                            <a:pt x="31279" y="40549"/>
                            <a:pt x="31220" y="40669"/>
                          </a:cubicBezTo>
                          <a:cubicBezTo>
                            <a:pt x="31160" y="40789"/>
                            <a:pt x="31100" y="40968"/>
                            <a:pt x="31040" y="41088"/>
                          </a:cubicBezTo>
                          <a:cubicBezTo>
                            <a:pt x="30980" y="41207"/>
                            <a:pt x="30921" y="41386"/>
                            <a:pt x="30861" y="41506"/>
                          </a:cubicBezTo>
                          <a:cubicBezTo>
                            <a:pt x="30801" y="41626"/>
                            <a:pt x="30741" y="41805"/>
                            <a:pt x="30681" y="41925"/>
                          </a:cubicBezTo>
                          <a:cubicBezTo>
                            <a:pt x="30621" y="42045"/>
                            <a:pt x="30621" y="42105"/>
                            <a:pt x="30561" y="42224"/>
                          </a:cubicBezTo>
                          <a:cubicBezTo>
                            <a:pt x="30502" y="42344"/>
                            <a:pt x="30502" y="42403"/>
                            <a:pt x="30442" y="42523"/>
                          </a:cubicBezTo>
                          <a:cubicBezTo>
                            <a:pt x="30382" y="42643"/>
                            <a:pt x="30382" y="42702"/>
                            <a:pt x="30322" y="42822"/>
                          </a:cubicBezTo>
                          <a:cubicBezTo>
                            <a:pt x="30262" y="42942"/>
                            <a:pt x="30262" y="43001"/>
                            <a:pt x="30203" y="43121"/>
                          </a:cubicBezTo>
                          <a:cubicBezTo>
                            <a:pt x="30083" y="43420"/>
                            <a:pt x="29963" y="43659"/>
                            <a:pt x="29784" y="43959"/>
                          </a:cubicBezTo>
                          <a:cubicBezTo>
                            <a:pt x="29605" y="44257"/>
                            <a:pt x="29485" y="44497"/>
                            <a:pt x="29366" y="44796"/>
                          </a:cubicBezTo>
                          <a:cubicBezTo>
                            <a:pt x="29246" y="45095"/>
                            <a:pt x="29066" y="45334"/>
                            <a:pt x="28947" y="45633"/>
                          </a:cubicBezTo>
                          <a:cubicBezTo>
                            <a:pt x="28827" y="45932"/>
                            <a:pt x="28648" y="46171"/>
                            <a:pt x="28468" y="46470"/>
                          </a:cubicBezTo>
                          <a:cubicBezTo>
                            <a:pt x="28408" y="46590"/>
                            <a:pt x="28349" y="46650"/>
                            <a:pt x="28289" y="46769"/>
                          </a:cubicBezTo>
                          <a:cubicBezTo>
                            <a:pt x="28229" y="46889"/>
                            <a:pt x="28169" y="46949"/>
                            <a:pt x="28109" y="47068"/>
                          </a:cubicBezTo>
                          <a:cubicBezTo>
                            <a:pt x="28050" y="47188"/>
                            <a:pt x="27990" y="47248"/>
                            <a:pt x="27930" y="47367"/>
                          </a:cubicBezTo>
                          <a:cubicBezTo>
                            <a:pt x="27870" y="47487"/>
                            <a:pt x="27811" y="47547"/>
                            <a:pt x="27751" y="47667"/>
                          </a:cubicBezTo>
                          <a:cubicBezTo>
                            <a:pt x="27691" y="47786"/>
                            <a:pt x="27631" y="47906"/>
                            <a:pt x="27512" y="48025"/>
                          </a:cubicBezTo>
                          <a:cubicBezTo>
                            <a:pt x="27392" y="48145"/>
                            <a:pt x="27392" y="48264"/>
                            <a:pt x="27272" y="48384"/>
                          </a:cubicBezTo>
                          <a:cubicBezTo>
                            <a:pt x="27212" y="48504"/>
                            <a:pt x="27093" y="48623"/>
                            <a:pt x="27033" y="48743"/>
                          </a:cubicBezTo>
                          <a:cubicBezTo>
                            <a:pt x="26973" y="48862"/>
                            <a:pt x="26853" y="48982"/>
                            <a:pt x="26794" y="49102"/>
                          </a:cubicBezTo>
                          <a:cubicBezTo>
                            <a:pt x="26734" y="49162"/>
                            <a:pt x="26674" y="49281"/>
                            <a:pt x="26614" y="49341"/>
                          </a:cubicBezTo>
                          <a:cubicBezTo>
                            <a:pt x="26554" y="49401"/>
                            <a:pt x="26495" y="49521"/>
                            <a:pt x="26435" y="49580"/>
                          </a:cubicBezTo>
                          <a:cubicBezTo>
                            <a:pt x="26375" y="49640"/>
                            <a:pt x="26315" y="49760"/>
                            <a:pt x="26255" y="49820"/>
                          </a:cubicBezTo>
                          <a:cubicBezTo>
                            <a:pt x="26196" y="49879"/>
                            <a:pt x="26136" y="49999"/>
                            <a:pt x="26076" y="50059"/>
                          </a:cubicBezTo>
                          <a:cubicBezTo>
                            <a:pt x="25777" y="50477"/>
                            <a:pt x="25478" y="50956"/>
                            <a:pt x="25179" y="51375"/>
                          </a:cubicBezTo>
                          <a:cubicBezTo>
                            <a:pt x="24880" y="51793"/>
                            <a:pt x="24581" y="52271"/>
                            <a:pt x="24282" y="52690"/>
                          </a:cubicBezTo>
                          <a:cubicBezTo>
                            <a:pt x="23983" y="53109"/>
                            <a:pt x="23624" y="53587"/>
                            <a:pt x="23325" y="54006"/>
                          </a:cubicBezTo>
                          <a:cubicBezTo>
                            <a:pt x="23026" y="54425"/>
                            <a:pt x="22667" y="54903"/>
                            <a:pt x="22308" y="55322"/>
                          </a:cubicBezTo>
                          <a:cubicBezTo>
                            <a:pt x="22248" y="55382"/>
                            <a:pt x="22189" y="55501"/>
                            <a:pt x="22129" y="55561"/>
                          </a:cubicBezTo>
                          <a:cubicBezTo>
                            <a:pt x="22069" y="55621"/>
                            <a:pt x="22009" y="55740"/>
                            <a:pt x="21950" y="55800"/>
                          </a:cubicBezTo>
                          <a:cubicBezTo>
                            <a:pt x="21890" y="55860"/>
                            <a:pt x="21830" y="55979"/>
                            <a:pt x="21770" y="56039"/>
                          </a:cubicBezTo>
                          <a:cubicBezTo>
                            <a:pt x="21710" y="56099"/>
                            <a:pt x="21650" y="56219"/>
                            <a:pt x="21590" y="56279"/>
                          </a:cubicBezTo>
                          <a:cubicBezTo>
                            <a:pt x="20992" y="57056"/>
                            <a:pt x="20394" y="57774"/>
                            <a:pt x="19796" y="58551"/>
                          </a:cubicBezTo>
                          <a:cubicBezTo>
                            <a:pt x="19198" y="59329"/>
                            <a:pt x="18540" y="60047"/>
                            <a:pt x="17882" y="60764"/>
                          </a:cubicBezTo>
                          <a:cubicBezTo>
                            <a:pt x="17225" y="61482"/>
                            <a:pt x="16627" y="62260"/>
                            <a:pt x="15969" y="62977"/>
                          </a:cubicBezTo>
                          <a:cubicBezTo>
                            <a:pt x="15311" y="63635"/>
                            <a:pt x="14653" y="64353"/>
                            <a:pt x="13995" y="65070"/>
                          </a:cubicBezTo>
                          <a:moveTo>
                            <a:pt x="13756" y="69077"/>
                          </a:moveTo>
                          <a:lnTo>
                            <a:pt x="14713" y="69676"/>
                          </a:lnTo>
                          <a:cubicBezTo>
                            <a:pt x="14832" y="69556"/>
                            <a:pt x="14952" y="69377"/>
                            <a:pt x="15072" y="69257"/>
                          </a:cubicBezTo>
                          <a:cubicBezTo>
                            <a:pt x="15191" y="69137"/>
                            <a:pt x="15311" y="68958"/>
                            <a:pt x="15430" y="68838"/>
                          </a:cubicBezTo>
                          <a:cubicBezTo>
                            <a:pt x="15550" y="68718"/>
                            <a:pt x="15669" y="68539"/>
                            <a:pt x="15789" y="68419"/>
                          </a:cubicBezTo>
                          <a:cubicBezTo>
                            <a:pt x="15909" y="68300"/>
                            <a:pt x="16028" y="68121"/>
                            <a:pt x="16148" y="68001"/>
                          </a:cubicBezTo>
                          <a:lnTo>
                            <a:pt x="15191" y="67403"/>
                          </a:lnTo>
                          <a:cubicBezTo>
                            <a:pt x="15072" y="67523"/>
                            <a:pt x="14952" y="67702"/>
                            <a:pt x="14832" y="67822"/>
                          </a:cubicBezTo>
                          <a:cubicBezTo>
                            <a:pt x="14713" y="67941"/>
                            <a:pt x="14593" y="68121"/>
                            <a:pt x="14474" y="68240"/>
                          </a:cubicBezTo>
                          <a:cubicBezTo>
                            <a:pt x="14354" y="68360"/>
                            <a:pt x="14234" y="68539"/>
                            <a:pt x="14114" y="68659"/>
                          </a:cubicBezTo>
                          <a:cubicBezTo>
                            <a:pt x="13995" y="68778"/>
                            <a:pt x="13875" y="68958"/>
                            <a:pt x="13756" y="69077"/>
                          </a:cubicBezTo>
                          <a:moveTo>
                            <a:pt x="11662" y="67702"/>
                          </a:moveTo>
                          <a:lnTo>
                            <a:pt x="12619" y="68300"/>
                          </a:lnTo>
                          <a:cubicBezTo>
                            <a:pt x="12739" y="68180"/>
                            <a:pt x="12859" y="68001"/>
                            <a:pt x="12978" y="67881"/>
                          </a:cubicBezTo>
                          <a:cubicBezTo>
                            <a:pt x="13098" y="67762"/>
                            <a:pt x="13218" y="67582"/>
                            <a:pt x="13337" y="67463"/>
                          </a:cubicBezTo>
                          <a:cubicBezTo>
                            <a:pt x="13457" y="67343"/>
                            <a:pt x="13576" y="67164"/>
                            <a:pt x="13696" y="67044"/>
                          </a:cubicBezTo>
                          <a:cubicBezTo>
                            <a:pt x="13815" y="66924"/>
                            <a:pt x="13935" y="66745"/>
                            <a:pt x="14055" y="66625"/>
                          </a:cubicBezTo>
                          <a:lnTo>
                            <a:pt x="13098" y="66027"/>
                          </a:lnTo>
                          <a:cubicBezTo>
                            <a:pt x="12978" y="66147"/>
                            <a:pt x="12859" y="66326"/>
                            <a:pt x="12739" y="66446"/>
                          </a:cubicBezTo>
                          <a:cubicBezTo>
                            <a:pt x="12619" y="66565"/>
                            <a:pt x="12500" y="66745"/>
                            <a:pt x="12380" y="66864"/>
                          </a:cubicBezTo>
                          <a:cubicBezTo>
                            <a:pt x="12260" y="66984"/>
                            <a:pt x="12141" y="67164"/>
                            <a:pt x="12021" y="67283"/>
                          </a:cubicBezTo>
                          <a:cubicBezTo>
                            <a:pt x="11902" y="67403"/>
                            <a:pt x="11782" y="67523"/>
                            <a:pt x="11662" y="67702"/>
                          </a:cubicBezTo>
                          <a:moveTo>
                            <a:pt x="11662" y="71410"/>
                          </a:moveTo>
                          <a:lnTo>
                            <a:pt x="12619" y="72008"/>
                          </a:lnTo>
                          <a:cubicBezTo>
                            <a:pt x="12679" y="71948"/>
                            <a:pt x="12799" y="71829"/>
                            <a:pt x="12859" y="71769"/>
                          </a:cubicBezTo>
                          <a:cubicBezTo>
                            <a:pt x="12919" y="71709"/>
                            <a:pt x="13038" y="71589"/>
                            <a:pt x="13098" y="71530"/>
                          </a:cubicBezTo>
                          <a:cubicBezTo>
                            <a:pt x="13158" y="71470"/>
                            <a:pt x="13277" y="71350"/>
                            <a:pt x="13337" y="71290"/>
                          </a:cubicBezTo>
                          <a:cubicBezTo>
                            <a:pt x="13397" y="71231"/>
                            <a:pt x="13516" y="71111"/>
                            <a:pt x="13576" y="71051"/>
                          </a:cubicBezTo>
                          <a:cubicBezTo>
                            <a:pt x="13576" y="70991"/>
                            <a:pt x="13636" y="70991"/>
                            <a:pt x="13636" y="70931"/>
                          </a:cubicBezTo>
                          <a:cubicBezTo>
                            <a:pt x="13636" y="70872"/>
                            <a:pt x="13696" y="70872"/>
                            <a:pt x="13696" y="70812"/>
                          </a:cubicBezTo>
                          <a:cubicBezTo>
                            <a:pt x="13696" y="70752"/>
                            <a:pt x="13756" y="70752"/>
                            <a:pt x="13756" y="70692"/>
                          </a:cubicBezTo>
                          <a:cubicBezTo>
                            <a:pt x="13756" y="70632"/>
                            <a:pt x="13815" y="70632"/>
                            <a:pt x="13815" y="70572"/>
                          </a:cubicBezTo>
                          <a:lnTo>
                            <a:pt x="12859" y="69975"/>
                          </a:lnTo>
                          <a:cubicBezTo>
                            <a:pt x="12859" y="69975"/>
                            <a:pt x="12799" y="70034"/>
                            <a:pt x="12799" y="70034"/>
                          </a:cubicBezTo>
                          <a:cubicBezTo>
                            <a:pt x="12799" y="70034"/>
                            <a:pt x="12739" y="70094"/>
                            <a:pt x="12739" y="70094"/>
                          </a:cubicBezTo>
                          <a:cubicBezTo>
                            <a:pt x="12739" y="70094"/>
                            <a:pt x="12679" y="70154"/>
                            <a:pt x="12679" y="70154"/>
                          </a:cubicBezTo>
                          <a:cubicBezTo>
                            <a:pt x="12679" y="70154"/>
                            <a:pt x="12619" y="70214"/>
                            <a:pt x="12619" y="70214"/>
                          </a:cubicBezTo>
                          <a:cubicBezTo>
                            <a:pt x="12560" y="70333"/>
                            <a:pt x="12440" y="70393"/>
                            <a:pt x="12380" y="70513"/>
                          </a:cubicBezTo>
                          <a:cubicBezTo>
                            <a:pt x="12320" y="70632"/>
                            <a:pt x="12201" y="70692"/>
                            <a:pt x="12141" y="70812"/>
                          </a:cubicBezTo>
                          <a:cubicBezTo>
                            <a:pt x="12081" y="70931"/>
                            <a:pt x="11961" y="70991"/>
                            <a:pt x="11902" y="71111"/>
                          </a:cubicBezTo>
                          <a:cubicBezTo>
                            <a:pt x="11842" y="71231"/>
                            <a:pt x="11722" y="71350"/>
                            <a:pt x="11662" y="71410"/>
                          </a:cubicBezTo>
                          <a:moveTo>
                            <a:pt x="9510" y="70034"/>
                          </a:moveTo>
                          <a:lnTo>
                            <a:pt x="10466" y="70632"/>
                          </a:lnTo>
                          <a:cubicBezTo>
                            <a:pt x="10586" y="70513"/>
                            <a:pt x="10646" y="70453"/>
                            <a:pt x="10765" y="70333"/>
                          </a:cubicBezTo>
                          <a:cubicBezTo>
                            <a:pt x="10885" y="70214"/>
                            <a:pt x="10945" y="70154"/>
                            <a:pt x="11065" y="70034"/>
                          </a:cubicBezTo>
                          <a:cubicBezTo>
                            <a:pt x="11184" y="69915"/>
                            <a:pt x="11244" y="69855"/>
                            <a:pt x="11364" y="69735"/>
                          </a:cubicBezTo>
                          <a:cubicBezTo>
                            <a:pt x="11483" y="69616"/>
                            <a:pt x="11543" y="69556"/>
                            <a:pt x="11662" y="69436"/>
                          </a:cubicBezTo>
                          <a:cubicBezTo>
                            <a:pt x="11662" y="69436"/>
                            <a:pt x="11722" y="69377"/>
                            <a:pt x="11722" y="69377"/>
                          </a:cubicBezTo>
                          <a:cubicBezTo>
                            <a:pt x="11722" y="69377"/>
                            <a:pt x="11782" y="69317"/>
                            <a:pt x="11782" y="69317"/>
                          </a:cubicBezTo>
                          <a:cubicBezTo>
                            <a:pt x="11782" y="69317"/>
                            <a:pt x="11842" y="69257"/>
                            <a:pt x="11842" y="69257"/>
                          </a:cubicBezTo>
                          <a:cubicBezTo>
                            <a:pt x="11842" y="69257"/>
                            <a:pt x="11902" y="69197"/>
                            <a:pt x="11902" y="69197"/>
                          </a:cubicBezTo>
                          <a:lnTo>
                            <a:pt x="10945" y="68599"/>
                          </a:lnTo>
                          <a:cubicBezTo>
                            <a:pt x="10945" y="68599"/>
                            <a:pt x="10945" y="68599"/>
                            <a:pt x="10885" y="68659"/>
                          </a:cubicBezTo>
                          <a:cubicBezTo>
                            <a:pt x="10825" y="68718"/>
                            <a:pt x="10885" y="68659"/>
                            <a:pt x="10825" y="68718"/>
                          </a:cubicBezTo>
                          <a:cubicBezTo>
                            <a:pt x="10825" y="68718"/>
                            <a:pt x="10825" y="68718"/>
                            <a:pt x="10765" y="68778"/>
                          </a:cubicBezTo>
                          <a:cubicBezTo>
                            <a:pt x="10765" y="68778"/>
                            <a:pt x="10765" y="68778"/>
                            <a:pt x="10706" y="68838"/>
                          </a:cubicBezTo>
                          <a:cubicBezTo>
                            <a:pt x="10586" y="68958"/>
                            <a:pt x="10526" y="69077"/>
                            <a:pt x="10406" y="69137"/>
                          </a:cubicBezTo>
                          <a:cubicBezTo>
                            <a:pt x="10287" y="69257"/>
                            <a:pt x="10227" y="69377"/>
                            <a:pt x="10107" y="69436"/>
                          </a:cubicBezTo>
                          <a:cubicBezTo>
                            <a:pt x="9988" y="69556"/>
                            <a:pt x="9928" y="69676"/>
                            <a:pt x="9808" y="69735"/>
                          </a:cubicBezTo>
                          <a:cubicBezTo>
                            <a:pt x="9689" y="69855"/>
                            <a:pt x="9629" y="69915"/>
                            <a:pt x="9510" y="70034"/>
                          </a:cubicBezTo>
                          <a:moveTo>
                            <a:pt x="0" y="81099"/>
                          </a:moveTo>
                          <a:lnTo>
                            <a:pt x="3110" y="83072"/>
                          </a:lnTo>
                          <a:lnTo>
                            <a:pt x="3469" y="82594"/>
                          </a:lnTo>
                          <a:cubicBezTo>
                            <a:pt x="3708" y="82295"/>
                            <a:pt x="3888" y="82056"/>
                            <a:pt x="4127" y="81756"/>
                          </a:cubicBezTo>
                          <a:cubicBezTo>
                            <a:pt x="4366" y="81457"/>
                            <a:pt x="4545" y="81218"/>
                            <a:pt x="4785" y="80919"/>
                          </a:cubicBezTo>
                          <a:cubicBezTo>
                            <a:pt x="5024" y="80620"/>
                            <a:pt x="5263" y="80381"/>
                            <a:pt x="5443" y="80082"/>
                          </a:cubicBezTo>
                          <a:cubicBezTo>
                            <a:pt x="5682" y="79783"/>
                            <a:pt x="5921" y="79544"/>
                            <a:pt x="6160" y="79245"/>
                          </a:cubicBezTo>
                          <a:cubicBezTo>
                            <a:pt x="6220" y="79185"/>
                            <a:pt x="6280" y="79065"/>
                            <a:pt x="6340" y="79005"/>
                          </a:cubicBezTo>
                          <a:cubicBezTo>
                            <a:pt x="6399" y="78946"/>
                            <a:pt x="6459" y="78826"/>
                            <a:pt x="6519" y="78766"/>
                          </a:cubicBezTo>
                          <a:cubicBezTo>
                            <a:pt x="6579" y="78706"/>
                            <a:pt x="6639" y="78587"/>
                            <a:pt x="6698" y="78527"/>
                          </a:cubicBezTo>
                          <a:cubicBezTo>
                            <a:pt x="6758" y="78467"/>
                            <a:pt x="6818" y="78348"/>
                            <a:pt x="6878" y="78288"/>
                          </a:cubicBezTo>
                          <a:cubicBezTo>
                            <a:pt x="7237" y="77869"/>
                            <a:pt x="7656" y="77391"/>
                            <a:pt x="8014" y="76972"/>
                          </a:cubicBezTo>
                          <a:cubicBezTo>
                            <a:pt x="8433" y="76553"/>
                            <a:pt x="8792" y="76075"/>
                            <a:pt x="9211" y="75656"/>
                          </a:cubicBezTo>
                          <a:cubicBezTo>
                            <a:pt x="9629" y="75178"/>
                            <a:pt x="9988" y="74759"/>
                            <a:pt x="10406" y="74280"/>
                          </a:cubicBezTo>
                          <a:cubicBezTo>
                            <a:pt x="10825" y="73802"/>
                            <a:pt x="11244" y="73384"/>
                            <a:pt x="11662" y="72905"/>
                          </a:cubicBezTo>
                          <a:lnTo>
                            <a:pt x="10706" y="72307"/>
                          </a:lnTo>
                          <a:cubicBezTo>
                            <a:pt x="10287" y="72785"/>
                            <a:pt x="9868" y="73204"/>
                            <a:pt x="9510" y="73683"/>
                          </a:cubicBezTo>
                          <a:cubicBezTo>
                            <a:pt x="9091" y="74161"/>
                            <a:pt x="8732" y="74580"/>
                            <a:pt x="8313" y="75058"/>
                          </a:cubicBezTo>
                          <a:cubicBezTo>
                            <a:pt x="7895" y="75537"/>
                            <a:pt x="7536" y="75955"/>
                            <a:pt x="7117" y="76374"/>
                          </a:cubicBezTo>
                          <a:cubicBezTo>
                            <a:pt x="6698" y="76793"/>
                            <a:pt x="6340" y="77271"/>
                            <a:pt x="5981" y="77690"/>
                          </a:cubicBezTo>
                          <a:cubicBezTo>
                            <a:pt x="5921" y="77749"/>
                            <a:pt x="5861" y="77869"/>
                            <a:pt x="5801" y="77929"/>
                          </a:cubicBezTo>
                          <a:cubicBezTo>
                            <a:pt x="5742" y="77989"/>
                            <a:pt x="5682" y="78108"/>
                            <a:pt x="5622" y="78168"/>
                          </a:cubicBezTo>
                          <a:cubicBezTo>
                            <a:pt x="5562" y="78228"/>
                            <a:pt x="5503" y="78348"/>
                            <a:pt x="5443" y="78407"/>
                          </a:cubicBezTo>
                          <a:cubicBezTo>
                            <a:pt x="5383" y="78467"/>
                            <a:pt x="5323" y="78587"/>
                            <a:pt x="5263" y="78647"/>
                          </a:cubicBezTo>
                          <a:cubicBezTo>
                            <a:pt x="5084" y="78886"/>
                            <a:pt x="4844" y="79125"/>
                            <a:pt x="4665" y="79364"/>
                          </a:cubicBezTo>
                          <a:cubicBezTo>
                            <a:pt x="4486" y="79603"/>
                            <a:pt x="4306" y="79843"/>
                            <a:pt x="4067" y="80082"/>
                          </a:cubicBezTo>
                          <a:cubicBezTo>
                            <a:pt x="3888" y="80321"/>
                            <a:pt x="3708" y="80561"/>
                            <a:pt x="3529" y="80800"/>
                          </a:cubicBezTo>
                          <a:cubicBezTo>
                            <a:pt x="3349" y="81039"/>
                            <a:pt x="3170" y="81278"/>
                            <a:pt x="2990" y="81517"/>
                          </a:cubicBezTo>
                          <a:lnTo>
                            <a:pt x="1794" y="80740"/>
                          </a:lnTo>
                          <a:cubicBezTo>
                            <a:pt x="1974" y="80501"/>
                            <a:pt x="2153" y="80261"/>
                            <a:pt x="2333" y="80022"/>
                          </a:cubicBezTo>
                          <a:cubicBezTo>
                            <a:pt x="2512" y="79783"/>
                            <a:pt x="2691" y="79544"/>
                            <a:pt x="2871" y="79304"/>
                          </a:cubicBezTo>
                          <a:cubicBezTo>
                            <a:pt x="3050" y="79065"/>
                            <a:pt x="3230" y="78826"/>
                            <a:pt x="3469" y="78587"/>
                          </a:cubicBezTo>
                          <a:cubicBezTo>
                            <a:pt x="3708" y="78348"/>
                            <a:pt x="3828" y="78108"/>
                            <a:pt x="4067" y="77869"/>
                          </a:cubicBezTo>
                          <a:cubicBezTo>
                            <a:pt x="4127" y="77809"/>
                            <a:pt x="4187" y="77690"/>
                            <a:pt x="4246" y="77630"/>
                          </a:cubicBezTo>
                          <a:cubicBezTo>
                            <a:pt x="4306" y="77570"/>
                            <a:pt x="4366" y="77450"/>
                            <a:pt x="4426" y="77391"/>
                          </a:cubicBezTo>
                          <a:cubicBezTo>
                            <a:pt x="4486" y="77331"/>
                            <a:pt x="4545" y="77211"/>
                            <a:pt x="4605" y="77151"/>
                          </a:cubicBezTo>
                          <a:cubicBezTo>
                            <a:pt x="4665" y="77092"/>
                            <a:pt x="4725" y="76972"/>
                            <a:pt x="4785" y="76912"/>
                          </a:cubicBezTo>
                          <a:cubicBezTo>
                            <a:pt x="5143" y="76494"/>
                            <a:pt x="5562" y="76015"/>
                            <a:pt x="5921" y="75596"/>
                          </a:cubicBezTo>
                          <a:cubicBezTo>
                            <a:pt x="6340" y="75178"/>
                            <a:pt x="6698" y="74699"/>
                            <a:pt x="7117" y="74280"/>
                          </a:cubicBezTo>
                          <a:cubicBezTo>
                            <a:pt x="7536" y="73802"/>
                            <a:pt x="7895" y="73384"/>
                            <a:pt x="8313" y="72905"/>
                          </a:cubicBezTo>
                          <a:cubicBezTo>
                            <a:pt x="8732" y="72426"/>
                            <a:pt x="9151" y="72008"/>
                            <a:pt x="9569" y="71530"/>
                          </a:cubicBezTo>
                          <a:lnTo>
                            <a:pt x="8612" y="70931"/>
                          </a:lnTo>
                          <a:cubicBezTo>
                            <a:pt x="8194" y="71410"/>
                            <a:pt x="7775" y="71829"/>
                            <a:pt x="7357" y="72307"/>
                          </a:cubicBezTo>
                          <a:cubicBezTo>
                            <a:pt x="6938" y="72785"/>
                            <a:pt x="6519" y="73204"/>
                            <a:pt x="6160" y="73683"/>
                          </a:cubicBezTo>
                          <a:cubicBezTo>
                            <a:pt x="5742" y="74161"/>
                            <a:pt x="5383" y="74580"/>
                            <a:pt x="4964" y="74998"/>
                          </a:cubicBezTo>
                          <a:cubicBezTo>
                            <a:pt x="4545" y="75417"/>
                            <a:pt x="4187" y="75895"/>
                            <a:pt x="3828" y="76314"/>
                          </a:cubicBezTo>
                          <a:cubicBezTo>
                            <a:pt x="3768" y="76374"/>
                            <a:pt x="3708" y="76494"/>
                            <a:pt x="3648" y="76553"/>
                          </a:cubicBezTo>
                          <a:cubicBezTo>
                            <a:pt x="3589" y="76613"/>
                            <a:pt x="3529" y="76733"/>
                            <a:pt x="3469" y="76793"/>
                          </a:cubicBezTo>
                          <a:cubicBezTo>
                            <a:pt x="3409" y="76852"/>
                            <a:pt x="3349" y="76972"/>
                            <a:pt x="3289" y="77032"/>
                          </a:cubicBezTo>
                          <a:cubicBezTo>
                            <a:pt x="3230" y="77092"/>
                            <a:pt x="3170" y="77211"/>
                            <a:pt x="3110" y="77271"/>
                          </a:cubicBezTo>
                          <a:cubicBezTo>
                            <a:pt x="2871" y="77570"/>
                            <a:pt x="2632" y="77809"/>
                            <a:pt x="2392" y="78108"/>
                          </a:cubicBezTo>
                          <a:cubicBezTo>
                            <a:pt x="2153" y="78407"/>
                            <a:pt x="1914" y="78647"/>
                            <a:pt x="1735" y="78946"/>
                          </a:cubicBezTo>
                          <a:cubicBezTo>
                            <a:pt x="1555" y="79245"/>
                            <a:pt x="1316" y="79484"/>
                            <a:pt x="1076" y="79783"/>
                          </a:cubicBezTo>
                          <a:cubicBezTo>
                            <a:pt x="837" y="80082"/>
                            <a:pt x="658" y="80321"/>
                            <a:pt x="419" y="80620"/>
                          </a:cubicBezTo>
                          <a:lnTo>
                            <a:pt x="0" y="81099"/>
                          </a:lnTo>
                        </a:path>
                      </a:pathLst>
                    </a:custGeom>
                    <a:noFill/>
                    <a:ln w="6350" cap="flat">
                      <a:solidFill>
                        <a:schemeClr val="bg1">
                          <a:alpha val="80000"/>
                        </a:schemeClr>
                      </a:solidFill>
                      <a:prstDash val="solid"/>
                      <a:miter/>
                    </a:ln>
                  </p:spPr>
                  <p:txBody>
                    <a:bodyPr rtlCol="0" anchor="ctr"/>
                    <a:lstStyle/>
                    <a:p>
                      <a:endParaRPr lang="en-GB"/>
                    </a:p>
                  </p:txBody>
                </p:sp>
                <p:sp>
                  <p:nvSpPr>
                    <p:cNvPr id="7431" name="Vrije vorm: vorm 7430">
                      <a:extLst>
                        <a:ext uri="{FF2B5EF4-FFF2-40B4-BE49-F238E27FC236}">
                          <a16:creationId xmlns:a16="http://schemas.microsoft.com/office/drawing/2014/main" id="{1CB75A36-7620-41DC-9829-E110A4ED8351}"/>
                        </a:ext>
                      </a:extLst>
                    </p:cNvPr>
                    <p:cNvSpPr/>
                    <p:nvPr/>
                  </p:nvSpPr>
                  <p:spPr>
                    <a:xfrm>
                      <a:off x="4853973" y="5160386"/>
                      <a:ext cx="34628" cy="81816"/>
                    </a:xfrm>
                    <a:custGeom>
                      <a:avLst/>
                      <a:gdLst>
                        <a:gd name="connsiteX0" fmla="*/ 6100 w 34628"/>
                        <a:gd name="connsiteY0" fmla="*/ 7596 h 81816"/>
                        <a:gd name="connsiteX1" fmla="*/ 6878 w 34628"/>
                        <a:gd name="connsiteY1" fmla="*/ 6579 h 81816"/>
                        <a:gd name="connsiteX2" fmla="*/ 5622 w 34628"/>
                        <a:gd name="connsiteY2" fmla="*/ 5682 h 81816"/>
                        <a:gd name="connsiteX3" fmla="*/ 4366 w 34628"/>
                        <a:gd name="connsiteY3" fmla="*/ 4785 h 81816"/>
                        <a:gd name="connsiteX4" fmla="*/ 3050 w 34628"/>
                        <a:gd name="connsiteY4" fmla="*/ 3888 h 81816"/>
                        <a:gd name="connsiteX5" fmla="*/ 1734 w 34628"/>
                        <a:gd name="connsiteY5" fmla="*/ 2990 h 81816"/>
                        <a:gd name="connsiteX6" fmla="*/ 2751 w 34628"/>
                        <a:gd name="connsiteY6" fmla="*/ 1674 h 81816"/>
                        <a:gd name="connsiteX7" fmla="*/ 4067 w 34628"/>
                        <a:gd name="connsiteY7" fmla="*/ 2572 h 81816"/>
                        <a:gd name="connsiteX8" fmla="*/ 5382 w 34628"/>
                        <a:gd name="connsiteY8" fmla="*/ 3469 h 81816"/>
                        <a:gd name="connsiteX9" fmla="*/ 6639 w 34628"/>
                        <a:gd name="connsiteY9" fmla="*/ 4366 h 81816"/>
                        <a:gd name="connsiteX10" fmla="*/ 7894 w 34628"/>
                        <a:gd name="connsiteY10" fmla="*/ 5263 h 81816"/>
                        <a:gd name="connsiteX11" fmla="*/ 8672 w 34628"/>
                        <a:gd name="connsiteY11" fmla="*/ 4246 h 81816"/>
                        <a:gd name="connsiteX12" fmla="*/ 7296 w 34628"/>
                        <a:gd name="connsiteY12" fmla="*/ 3289 h 81816"/>
                        <a:gd name="connsiteX13" fmla="*/ 5921 w 34628"/>
                        <a:gd name="connsiteY13" fmla="*/ 2333 h 81816"/>
                        <a:gd name="connsiteX14" fmla="*/ 4486 w 34628"/>
                        <a:gd name="connsiteY14" fmla="*/ 1316 h 81816"/>
                        <a:gd name="connsiteX15" fmla="*/ 3050 w 34628"/>
                        <a:gd name="connsiteY15" fmla="*/ 299 h 81816"/>
                        <a:gd name="connsiteX16" fmla="*/ 2572 w 34628"/>
                        <a:gd name="connsiteY16" fmla="*/ 0 h 81816"/>
                        <a:gd name="connsiteX17" fmla="*/ 1973 w 34628"/>
                        <a:gd name="connsiteY17" fmla="*/ 778 h 81816"/>
                        <a:gd name="connsiteX18" fmla="*/ 0 w 34628"/>
                        <a:gd name="connsiteY18" fmla="*/ 3289 h 81816"/>
                        <a:gd name="connsiteX19" fmla="*/ 478 w 34628"/>
                        <a:gd name="connsiteY19" fmla="*/ 3588 h 81816"/>
                        <a:gd name="connsiteX20" fmla="*/ 1973 w 34628"/>
                        <a:gd name="connsiteY20" fmla="*/ 4605 h 81816"/>
                        <a:gd name="connsiteX21" fmla="*/ 3409 w 34628"/>
                        <a:gd name="connsiteY21" fmla="*/ 5622 h 81816"/>
                        <a:gd name="connsiteX22" fmla="*/ 4785 w 34628"/>
                        <a:gd name="connsiteY22" fmla="*/ 6579 h 81816"/>
                        <a:gd name="connsiteX23" fmla="*/ 6100 w 34628"/>
                        <a:gd name="connsiteY23" fmla="*/ 7596 h 81816"/>
                        <a:gd name="connsiteX24" fmla="*/ 20693 w 34628"/>
                        <a:gd name="connsiteY24" fmla="*/ 62379 h 81816"/>
                        <a:gd name="connsiteX25" fmla="*/ 21590 w 34628"/>
                        <a:gd name="connsiteY25" fmla="*/ 62977 h 81816"/>
                        <a:gd name="connsiteX26" fmla="*/ 23564 w 34628"/>
                        <a:gd name="connsiteY26" fmla="*/ 60585 h 81816"/>
                        <a:gd name="connsiteX27" fmla="*/ 25418 w 34628"/>
                        <a:gd name="connsiteY27" fmla="*/ 58252 h 81816"/>
                        <a:gd name="connsiteX28" fmla="*/ 27152 w 34628"/>
                        <a:gd name="connsiteY28" fmla="*/ 55979 h 81816"/>
                        <a:gd name="connsiteX29" fmla="*/ 28707 w 34628"/>
                        <a:gd name="connsiteY29" fmla="*/ 53707 h 81816"/>
                        <a:gd name="connsiteX30" fmla="*/ 28887 w 34628"/>
                        <a:gd name="connsiteY30" fmla="*/ 53468 h 81816"/>
                        <a:gd name="connsiteX31" fmla="*/ 29066 w 34628"/>
                        <a:gd name="connsiteY31" fmla="*/ 53229 h 81816"/>
                        <a:gd name="connsiteX32" fmla="*/ 29245 w 34628"/>
                        <a:gd name="connsiteY32" fmla="*/ 52989 h 81816"/>
                        <a:gd name="connsiteX33" fmla="*/ 29425 w 34628"/>
                        <a:gd name="connsiteY33" fmla="*/ 52750 h 81816"/>
                        <a:gd name="connsiteX34" fmla="*/ 30322 w 34628"/>
                        <a:gd name="connsiteY34" fmla="*/ 51315 h 81816"/>
                        <a:gd name="connsiteX35" fmla="*/ 31159 w 34628"/>
                        <a:gd name="connsiteY35" fmla="*/ 49879 h 81816"/>
                        <a:gd name="connsiteX36" fmla="*/ 31877 w 34628"/>
                        <a:gd name="connsiteY36" fmla="*/ 48444 h 81816"/>
                        <a:gd name="connsiteX37" fmla="*/ 32535 w 34628"/>
                        <a:gd name="connsiteY37" fmla="*/ 47068 h 81816"/>
                        <a:gd name="connsiteX38" fmla="*/ 32655 w 34628"/>
                        <a:gd name="connsiteY38" fmla="*/ 46769 h 81816"/>
                        <a:gd name="connsiteX39" fmla="*/ 32774 w 34628"/>
                        <a:gd name="connsiteY39" fmla="*/ 46470 h 81816"/>
                        <a:gd name="connsiteX40" fmla="*/ 32894 w 34628"/>
                        <a:gd name="connsiteY40" fmla="*/ 46171 h 81816"/>
                        <a:gd name="connsiteX41" fmla="*/ 33013 w 34628"/>
                        <a:gd name="connsiteY41" fmla="*/ 45872 h 81816"/>
                        <a:gd name="connsiteX42" fmla="*/ 33193 w 34628"/>
                        <a:gd name="connsiteY42" fmla="*/ 45453 h 81816"/>
                        <a:gd name="connsiteX43" fmla="*/ 33372 w 34628"/>
                        <a:gd name="connsiteY43" fmla="*/ 45035 h 81816"/>
                        <a:gd name="connsiteX44" fmla="*/ 33492 w 34628"/>
                        <a:gd name="connsiteY44" fmla="*/ 44616 h 81816"/>
                        <a:gd name="connsiteX45" fmla="*/ 33612 w 34628"/>
                        <a:gd name="connsiteY45" fmla="*/ 44198 h 81816"/>
                        <a:gd name="connsiteX46" fmla="*/ 33731 w 34628"/>
                        <a:gd name="connsiteY46" fmla="*/ 43899 h 81816"/>
                        <a:gd name="connsiteX47" fmla="*/ 33851 w 34628"/>
                        <a:gd name="connsiteY47" fmla="*/ 43599 h 81816"/>
                        <a:gd name="connsiteX48" fmla="*/ 33911 w 34628"/>
                        <a:gd name="connsiteY48" fmla="*/ 43300 h 81816"/>
                        <a:gd name="connsiteX49" fmla="*/ 33970 w 34628"/>
                        <a:gd name="connsiteY49" fmla="*/ 43001 h 81816"/>
                        <a:gd name="connsiteX50" fmla="*/ 34210 w 34628"/>
                        <a:gd name="connsiteY50" fmla="*/ 41985 h 81816"/>
                        <a:gd name="connsiteX51" fmla="*/ 34389 w 34628"/>
                        <a:gd name="connsiteY51" fmla="*/ 40968 h 81816"/>
                        <a:gd name="connsiteX52" fmla="*/ 34509 w 34628"/>
                        <a:gd name="connsiteY52" fmla="*/ 39951 h 81816"/>
                        <a:gd name="connsiteX53" fmla="*/ 34628 w 34628"/>
                        <a:gd name="connsiteY53" fmla="*/ 38935 h 81816"/>
                        <a:gd name="connsiteX54" fmla="*/ 34628 w 34628"/>
                        <a:gd name="connsiteY54" fmla="*/ 38576 h 81816"/>
                        <a:gd name="connsiteX55" fmla="*/ 34628 w 34628"/>
                        <a:gd name="connsiteY55" fmla="*/ 38217 h 81816"/>
                        <a:gd name="connsiteX56" fmla="*/ 34628 w 34628"/>
                        <a:gd name="connsiteY56" fmla="*/ 37858 h 81816"/>
                        <a:gd name="connsiteX57" fmla="*/ 34628 w 34628"/>
                        <a:gd name="connsiteY57" fmla="*/ 37499 h 81816"/>
                        <a:gd name="connsiteX58" fmla="*/ 34628 w 34628"/>
                        <a:gd name="connsiteY58" fmla="*/ 37200 h 81816"/>
                        <a:gd name="connsiteX59" fmla="*/ 34628 w 34628"/>
                        <a:gd name="connsiteY59" fmla="*/ 36901 h 81816"/>
                        <a:gd name="connsiteX60" fmla="*/ 34628 w 34628"/>
                        <a:gd name="connsiteY60" fmla="*/ 36602 h 81816"/>
                        <a:gd name="connsiteX61" fmla="*/ 34628 w 34628"/>
                        <a:gd name="connsiteY61" fmla="*/ 36303 h 81816"/>
                        <a:gd name="connsiteX62" fmla="*/ 34568 w 34628"/>
                        <a:gd name="connsiteY62" fmla="*/ 35526 h 81816"/>
                        <a:gd name="connsiteX63" fmla="*/ 34449 w 34628"/>
                        <a:gd name="connsiteY63" fmla="*/ 34688 h 81816"/>
                        <a:gd name="connsiteX64" fmla="*/ 34329 w 34628"/>
                        <a:gd name="connsiteY64" fmla="*/ 33851 h 81816"/>
                        <a:gd name="connsiteX65" fmla="*/ 34150 w 34628"/>
                        <a:gd name="connsiteY65" fmla="*/ 33014 h 81816"/>
                        <a:gd name="connsiteX66" fmla="*/ 34030 w 34628"/>
                        <a:gd name="connsiteY66" fmla="*/ 32595 h 81816"/>
                        <a:gd name="connsiteX67" fmla="*/ 33911 w 34628"/>
                        <a:gd name="connsiteY67" fmla="*/ 32176 h 81816"/>
                        <a:gd name="connsiteX68" fmla="*/ 33791 w 34628"/>
                        <a:gd name="connsiteY68" fmla="*/ 31758 h 81816"/>
                        <a:gd name="connsiteX69" fmla="*/ 33671 w 34628"/>
                        <a:gd name="connsiteY69" fmla="*/ 31339 h 81816"/>
                        <a:gd name="connsiteX70" fmla="*/ 33492 w 34628"/>
                        <a:gd name="connsiteY70" fmla="*/ 30860 h 81816"/>
                        <a:gd name="connsiteX71" fmla="*/ 33312 w 34628"/>
                        <a:gd name="connsiteY71" fmla="*/ 30382 h 81816"/>
                        <a:gd name="connsiteX72" fmla="*/ 33133 w 34628"/>
                        <a:gd name="connsiteY72" fmla="*/ 29904 h 81816"/>
                        <a:gd name="connsiteX73" fmla="*/ 32953 w 34628"/>
                        <a:gd name="connsiteY73" fmla="*/ 29425 h 81816"/>
                        <a:gd name="connsiteX74" fmla="*/ 32714 w 34628"/>
                        <a:gd name="connsiteY74" fmla="*/ 28887 h 81816"/>
                        <a:gd name="connsiteX75" fmla="*/ 32475 w 34628"/>
                        <a:gd name="connsiteY75" fmla="*/ 28349 h 81816"/>
                        <a:gd name="connsiteX76" fmla="*/ 32176 w 34628"/>
                        <a:gd name="connsiteY76" fmla="*/ 27811 h 81816"/>
                        <a:gd name="connsiteX77" fmla="*/ 31877 w 34628"/>
                        <a:gd name="connsiteY77" fmla="*/ 27272 h 81816"/>
                        <a:gd name="connsiteX78" fmla="*/ 31638 w 34628"/>
                        <a:gd name="connsiteY78" fmla="*/ 26853 h 81816"/>
                        <a:gd name="connsiteX79" fmla="*/ 31399 w 34628"/>
                        <a:gd name="connsiteY79" fmla="*/ 26435 h 81816"/>
                        <a:gd name="connsiteX80" fmla="*/ 31159 w 34628"/>
                        <a:gd name="connsiteY80" fmla="*/ 26016 h 81816"/>
                        <a:gd name="connsiteX81" fmla="*/ 30920 w 34628"/>
                        <a:gd name="connsiteY81" fmla="*/ 25597 h 81816"/>
                        <a:gd name="connsiteX82" fmla="*/ 30262 w 34628"/>
                        <a:gd name="connsiteY82" fmla="*/ 24581 h 81816"/>
                        <a:gd name="connsiteX83" fmla="*/ 29604 w 34628"/>
                        <a:gd name="connsiteY83" fmla="*/ 23564 h 81816"/>
                        <a:gd name="connsiteX84" fmla="*/ 28887 w 34628"/>
                        <a:gd name="connsiteY84" fmla="*/ 22547 h 81816"/>
                        <a:gd name="connsiteX85" fmla="*/ 28109 w 34628"/>
                        <a:gd name="connsiteY85" fmla="*/ 21530 h 81816"/>
                        <a:gd name="connsiteX86" fmla="*/ 27750 w 34628"/>
                        <a:gd name="connsiteY86" fmla="*/ 21112 h 81816"/>
                        <a:gd name="connsiteX87" fmla="*/ 27391 w 34628"/>
                        <a:gd name="connsiteY87" fmla="*/ 20693 h 81816"/>
                        <a:gd name="connsiteX88" fmla="*/ 27033 w 34628"/>
                        <a:gd name="connsiteY88" fmla="*/ 20275 h 81816"/>
                        <a:gd name="connsiteX89" fmla="*/ 26674 w 34628"/>
                        <a:gd name="connsiteY89" fmla="*/ 19856 h 81816"/>
                        <a:gd name="connsiteX90" fmla="*/ 26136 w 34628"/>
                        <a:gd name="connsiteY90" fmla="*/ 19198 h 81816"/>
                        <a:gd name="connsiteX91" fmla="*/ 25537 w 34628"/>
                        <a:gd name="connsiteY91" fmla="*/ 18540 h 81816"/>
                        <a:gd name="connsiteX92" fmla="*/ 24940 w 34628"/>
                        <a:gd name="connsiteY92" fmla="*/ 17882 h 81816"/>
                        <a:gd name="connsiteX93" fmla="*/ 24341 w 34628"/>
                        <a:gd name="connsiteY93" fmla="*/ 17225 h 81816"/>
                        <a:gd name="connsiteX94" fmla="*/ 23743 w 34628"/>
                        <a:gd name="connsiteY94" fmla="*/ 16626 h 81816"/>
                        <a:gd name="connsiteX95" fmla="*/ 23145 w 34628"/>
                        <a:gd name="connsiteY95" fmla="*/ 16028 h 81816"/>
                        <a:gd name="connsiteX96" fmla="*/ 22487 w 34628"/>
                        <a:gd name="connsiteY96" fmla="*/ 15430 h 81816"/>
                        <a:gd name="connsiteX97" fmla="*/ 21829 w 34628"/>
                        <a:gd name="connsiteY97" fmla="*/ 14832 h 81816"/>
                        <a:gd name="connsiteX98" fmla="*/ 21112 w 34628"/>
                        <a:gd name="connsiteY98" fmla="*/ 14174 h 81816"/>
                        <a:gd name="connsiteX99" fmla="*/ 20394 w 34628"/>
                        <a:gd name="connsiteY99" fmla="*/ 13516 h 81816"/>
                        <a:gd name="connsiteX100" fmla="*/ 19617 w 34628"/>
                        <a:gd name="connsiteY100" fmla="*/ 12799 h 81816"/>
                        <a:gd name="connsiteX101" fmla="*/ 18839 w 34628"/>
                        <a:gd name="connsiteY101" fmla="*/ 12081 h 81816"/>
                        <a:gd name="connsiteX102" fmla="*/ 16746 w 34628"/>
                        <a:gd name="connsiteY102" fmla="*/ 10287 h 81816"/>
                        <a:gd name="connsiteX103" fmla="*/ 14533 w 34628"/>
                        <a:gd name="connsiteY103" fmla="*/ 8493 h 81816"/>
                        <a:gd name="connsiteX104" fmla="*/ 12141 w 34628"/>
                        <a:gd name="connsiteY104" fmla="*/ 6639 h 81816"/>
                        <a:gd name="connsiteX105" fmla="*/ 9629 w 34628"/>
                        <a:gd name="connsiteY105" fmla="*/ 4725 h 81816"/>
                        <a:gd name="connsiteX106" fmla="*/ 8851 w 34628"/>
                        <a:gd name="connsiteY106" fmla="*/ 5742 h 81816"/>
                        <a:gd name="connsiteX107" fmla="*/ 13098 w 34628"/>
                        <a:gd name="connsiteY107" fmla="*/ 8971 h 81816"/>
                        <a:gd name="connsiteX108" fmla="*/ 16925 w 34628"/>
                        <a:gd name="connsiteY108" fmla="*/ 12081 h 81816"/>
                        <a:gd name="connsiteX109" fmla="*/ 20334 w 34628"/>
                        <a:gd name="connsiteY109" fmla="*/ 15072 h 81816"/>
                        <a:gd name="connsiteX110" fmla="*/ 23325 w 34628"/>
                        <a:gd name="connsiteY110" fmla="*/ 17942 h 81816"/>
                        <a:gd name="connsiteX111" fmla="*/ 23803 w 34628"/>
                        <a:gd name="connsiteY111" fmla="*/ 18421 h 81816"/>
                        <a:gd name="connsiteX112" fmla="*/ 24282 w 34628"/>
                        <a:gd name="connsiteY112" fmla="*/ 18899 h 81816"/>
                        <a:gd name="connsiteX113" fmla="*/ 24760 w 34628"/>
                        <a:gd name="connsiteY113" fmla="*/ 19377 h 81816"/>
                        <a:gd name="connsiteX114" fmla="*/ 25179 w 34628"/>
                        <a:gd name="connsiteY114" fmla="*/ 19856 h 81816"/>
                        <a:gd name="connsiteX115" fmla="*/ 25657 w 34628"/>
                        <a:gd name="connsiteY115" fmla="*/ 20394 h 81816"/>
                        <a:gd name="connsiteX116" fmla="*/ 26136 w 34628"/>
                        <a:gd name="connsiteY116" fmla="*/ 20933 h 81816"/>
                        <a:gd name="connsiteX117" fmla="*/ 26614 w 34628"/>
                        <a:gd name="connsiteY117" fmla="*/ 21471 h 81816"/>
                        <a:gd name="connsiteX118" fmla="*/ 27033 w 34628"/>
                        <a:gd name="connsiteY118" fmla="*/ 22009 h 81816"/>
                        <a:gd name="connsiteX119" fmla="*/ 27332 w 34628"/>
                        <a:gd name="connsiteY119" fmla="*/ 22428 h 81816"/>
                        <a:gd name="connsiteX120" fmla="*/ 27631 w 34628"/>
                        <a:gd name="connsiteY120" fmla="*/ 22846 h 81816"/>
                        <a:gd name="connsiteX121" fmla="*/ 27930 w 34628"/>
                        <a:gd name="connsiteY121" fmla="*/ 23205 h 81816"/>
                        <a:gd name="connsiteX122" fmla="*/ 28229 w 34628"/>
                        <a:gd name="connsiteY122" fmla="*/ 23564 h 81816"/>
                        <a:gd name="connsiteX123" fmla="*/ 28946 w 34628"/>
                        <a:gd name="connsiteY123" fmla="*/ 24521 h 81816"/>
                        <a:gd name="connsiteX124" fmla="*/ 29604 w 34628"/>
                        <a:gd name="connsiteY124" fmla="*/ 25478 h 81816"/>
                        <a:gd name="connsiteX125" fmla="*/ 30203 w 34628"/>
                        <a:gd name="connsiteY125" fmla="*/ 26435 h 81816"/>
                        <a:gd name="connsiteX126" fmla="*/ 30741 w 34628"/>
                        <a:gd name="connsiteY126" fmla="*/ 27392 h 81816"/>
                        <a:gd name="connsiteX127" fmla="*/ 30980 w 34628"/>
                        <a:gd name="connsiteY127" fmla="*/ 27811 h 81816"/>
                        <a:gd name="connsiteX128" fmla="*/ 31159 w 34628"/>
                        <a:gd name="connsiteY128" fmla="*/ 28229 h 81816"/>
                        <a:gd name="connsiteX129" fmla="*/ 31339 w 34628"/>
                        <a:gd name="connsiteY129" fmla="*/ 28648 h 81816"/>
                        <a:gd name="connsiteX130" fmla="*/ 31518 w 34628"/>
                        <a:gd name="connsiteY130" fmla="*/ 29066 h 81816"/>
                        <a:gd name="connsiteX131" fmla="*/ 31578 w 34628"/>
                        <a:gd name="connsiteY131" fmla="*/ 29246 h 81816"/>
                        <a:gd name="connsiteX132" fmla="*/ 31638 w 34628"/>
                        <a:gd name="connsiteY132" fmla="*/ 29425 h 81816"/>
                        <a:gd name="connsiteX133" fmla="*/ 31698 w 34628"/>
                        <a:gd name="connsiteY133" fmla="*/ 29605 h 81816"/>
                        <a:gd name="connsiteX134" fmla="*/ 31758 w 34628"/>
                        <a:gd name="connsiteY134" fmla="*/ 29784 h 81816"/>
                        <a:gd name="connsiteX135" fmla="*/ 31937 w 34628"/>
                        <a:gd name="connsiteY135" fmla="*/ 30203 h 81816"/>
                        <a:gd name="connsiteX136" fmla="*/ 32116 w 34628"/>
                        <a:gd name="connsiteY136" fmla="*/ 30621 h 81816"/>
                        <a:gd name="connsiteX137" fmla="*/ 32296 w 34628"/>
                        <a:gd name="connsiteY137" fmla="*/ 31040 h 81816"/>
                        <a:gd name="connsiteX138" fmla="*/ 32415 w 34628"/>
                        <a:gd name="connsiteY138" fmla="*/ 31459 h 81816"/>
                        <a:gd name="connsiteX139" fmla="*/ 32595 w 34628"/>
                        <a:gd name="connsiteY139" fmla="*/ 31937 h 81816"/>
                        <a:gd name="connsiteX140" fmla="*/ 32714 w 34628"/>
                        <a:gd name="connsiteY140" fmla="*/ 32415 h 81816"/>
                        <a:gd name="connsiteX141" fmla="*/ 32834 w 34628"/>
                        <a:gd name="connsiteY141" fmla="*/ 32894 h 81816"/>
                        <a:gd name="connsiteX142" fmla="*/ 32953 w 34628"/>
                        <a:gd name="connsiteY142" fmla="*/ 33373 h 81816"/>
                        <a:gd name="connsiteX143" fmla="*/ 33133 w 34628"/>
                        <a:gd name="connsiteY143" fmla="*/ 34150 h 81816"/>
                        <a:gd name="connsiteX144" fmla="*/ 33253 w 34628"/>
                        <a:gd name="connsiteY144" fmla="*/ 34928 h 81816"/>
                        <a:gd name="connsiteX145" fmla="*/ 33372 w 34628"/>
                        <a:gd name="connsiteY145" fmla="*/ 35705 h 81816"/>
                        <a:gd name="connsiteX146" fmla="*/ 33432 w 34628"/>
                        <a:gd name="connsiteY146" fmla="*/ 36482 h 81816"/>
                        <a:gd name="connsiteX147" fmla="*/ 33432 w 34628"/>
                        <a:gd name="connsiteY147" fmla="*/ 36482 h 81816"/>
                        <a:gd name="connsiteX148" fmla="*/ 33432 w 34628"/>
                        <a:gd name="connsiteY148" fmla="*/ 36482 h 81816"/>
                        <a:gd name="connsiteX149" fmla="*/ 33432 w 34628"/>
                        <a:gd name="connsiteY149" fmla="*/ 36482 h 81816"/>
                        <a:gd name="connsiteX150" fmla="*/ 33432 w 34628"/>
                        <a:gd name="connsiteY150" fmla="*/ 36482 h 81816"/>
                        <a:gd name="connsiteX151" fmla="*/ 33432 w 34628"/>
                        <a:gd name="connsiteY151" fmla="*/ 36841 h 81816"/>
                        <a:gd name="connsiteX152" fmla="*/ 33432 w 34628"/>
                        <a:gd name="connsiteY152" fmla="*/ 37200 h 81816"/>
                        <a:gd name="connsiteX153" fmla="*/ 33432 w 34628"/>
                        <a:gd name="connsiteY153" fmla="*/ 37559 h 81816"/>
                        <a:gd name="connsiteX154" fmla="*/ 33432 w 34628"/>
                        <a:gd name="connsiteY154" fmla="*/ 37918 h 81816"/>
                        <a:gd name="connsiteX155" fmla="*/ 33372 w 34628"/>
                        <a:gd name="connsiteY155" fmla="*/ 38935 h 81816"/>
                        <a:gd name="connsiteX156" fmla="*/ 33253 w 34628"/>
                        <a:gd name="connsiteY156" fmla="*/ 39951 h 81816"/>
                        <a:gd name="connsiteX157" fmla="*/ 33073 w 34628"/>
                        <a:gd name="connsiteY157" fmla="*/ 40968 h 81816"/>
                        <a:gd name="connsiteX158" fmla="*/ 32834 w 34628"/>
                        <a:gd name="connsiteY158" fmla="*/ 41985 h 81816"/>
                        <a:gd name="connsiteX159" fmla="*/ 32774 w 34628"/>
                        <a:gd name="connsiteY159" fmla="*/ 42284 h 81816"/>
                        <a:gd name="connsiteX160" fmla="*/ 32714 w 34628"/>
                        <a:gd name="connsiteY160" fmla="*/ 42583 h 81816"/>
                        <a:gd name="connsiteX161" fmla="*/ 32655 w 34628"/>
                        <a:gd name="connsiteY161" fmla="*/ 42882 h 81816"/>
                        <a:gd name="connsiteX162" fmla="*/ 32535 w 34628"/>
                        <a:gd name="connsiteY162" fmla="*/ 43181 h 81816"/>
                        <a:gd name="connsiteX163" fmla="*/ 32415 w 34628"/>
                        <a:gd name="connsiteY163" fmla="*/ 43599 h 81816"/>
                        <a:gd name="connsiteX164" fmla="*/ 32296 w 34628"/>
                        <a:gd name="connsiteY164" fmla="*/ 44018 h 81816"/>
                        <a:gd name="connsiteX165" fmla="*/ 32176 w 34628"/>
                        <a:gd name="connsiteY165" fmla="*/ 44437 h 81816"/>
                        <a:gd name="connsiteX166" fmla="*/ 31997 w 34628"/>
                        <a:gd name="connsiteY166" fmla="*/ 44855 h 81816"/>
                        <a:gd name="connsiteX167" fmla="*/ 31877 w 34628"/>
                        <a:gd name="connsiteY167" fmla="*/ 45154 h 81816"/>
                        <a:gd name="connsiteX168" fmla="*/ 31758 w 34628"/>
                        <a:gd name="connsiteY168" fmla="*/ 45453 h 81816"/>
                        <a:gd name="connsiteX169" fmla="*/ 31638 w 34628"/>
                        <a:gd name="connsiteY169" fmla="*/ 45753 h 81816"/>
                        <a:gd name="connsiteX170" fmla="*/ 31518 w 34628"/>
                        <a:gd name="connsiteY170" fmla="*/ 46052 h 81816"/>
                        <a:gd name="connsiteX171" fmla="*/ 30860 w 34628"/>
                        <a:gd name="connsiteY171" fmla="*/ 47487 h 81816"/>
                        <a:gd name="connsiteX172" fmla="*/ 30143 w 34628"/>
                        <a:gd name="connsiteY172" fmla="*/ 48922 h 81816"/>
                        <a:gd name="connsiteX173" fmla="*/ 29365 w 34628"/>
                        <a:gd name="connsiteY173" fmla="*/ 50358 h 81816"/>
                        <a:gd name="connsiteX174" fmla="*/ 28468 w 34628"/>
                        <a:gd name="connsiteY174" fmla="*/ 51793 h 81816"/>
                        <a:gd name="connsiteX175" fmla="*/ 28289 w 34628"/>
                        <a:gd name="connsiteY175" fmla="*/ 52032 h 81816"/>
                        <a:gd name="connsiteX176" fmla="*/ 28109 w 34628"/>
                        <a:gd name="connsiteY176" fmla="*/ 52271 h 81816"/>
                        <a:gd name="connsiteX177" fmla="*/ 27930 w 34628"/>
                        <a:gd name="connsiteY177" fmla="*/ 52511 h 81816"/>
                        <a:gd name="connsiteX178" fmla="*/ 27750 w 34628"/>
                        <a:gd name="connsiteY178" fmla="*/ 52750 h 81816"/>
                        <a:gd name="connsiteX179" fmla="*/ 26196 w 34628"/>
                        <a:gd name="connsiteY179" fmla="*/ 55023 h 81816"/>
                        <a:gd name="connsiteX180" fmla="*/ 24461 w 34628"/>
                        <a:gd name="connsiteY180" fmla="*/ 57295 h 81816"/>
                        <a:gd name="connsiteX181" fmla="*/ 22607 w 34628"/>
                        <a:gd name="connsiteY181" fmla="*/ 59628 h 81816"/>
                        <a:gd name="connsiteX182" fmla="*/ 20693 w 34628"/>
                        <a:gd name="connsiteY182" fmla="*/ 62379 h 81816"/>
                        <a:gd name="connsiteX183" fmla="*/ 18600 w 34628"/>
                        <a:gd name="connsiteY183" fmla="*/ 60944 h 81816"/>
                        <a:gd name="connsiteX184" fmla="*/ 19497 w 34628"/>
                        <a:gd name="connsiteY184" fmla="*/ 61541 h 81816"/>
                        <a:gd name="connsiteX185" fmla="*/ 21471 w 34628"/>
                        <a:gd name="connsiteY185" fmla="*/ 59149 h 81816"/>
                        <a:gd name="connsiteX186" fmla="*/ 23325 w 34628"/>
                        <a:gd name="connsiteY186" fmla="*/ 56817 h 81816"/>
                        <a:gd name="connsiteX187" fmla="*/ 25059 w 34628"/>
                        <a:gd name="connsiteY187" fmla="*/ 54544 h 81816"/>
                        <a:gd name="connsiteX188" fmla="*/ 26614 w 34628"/>
                        <a:gd name="connsiteY188" fmla="*/ 52331 h 81816"/>
                        <a:gd name="connsiteX189" fmla="*/ 26794 w 34628"/>
                        <a:gd name="connsiteY189" fmla="*/ 52092 h 81816"/>
                        <a:gd name="connsiteX190" fmla="*/ 26973 w 34628"/>
                        <a:gd name="connsiteY190" fmla="*/ 51853 h 81816"/>
                        <a:gd name="connsiteX191" fmla="*/ 27152 w 34628"/>
                        <a:gd name="connsiteY191" fmla="*/ 51614 h 81816"/>
                        <a:gd name="connsiteX192" fmla="*/ 27332 w 34628"/>
                        <a:gd name="connsiteY192" fmla="*/ 51375 h 81816"/>
                        <a:gd name="connsiteX193" fmla="*/ 28229 w 34628"/>
                        <a:gd name="connsiteY193" fmla="*/ 49939 h 81816"/>
                        <a:gd name="connsiteX194" fmla="*/ 29006 w 34628"/>
                        <a:gd name="connsiteY194" fmla="*/ 48504 h 81816"/>
                        <a:gd name="connsiteX195" fmla="*/ 29724 w 34628"/>
                        <a:gd name="connsiteY195" fmla="*/ 47068 h 81816"/>
                        <a:gd name="connsiteX196" fmla="*/ 30322 w 34628"/>
                        <a:gd name="connsiteY196" fmla="*/ 45633 h 81816"/>
                        <a:gd name="connsiteX197" fmla="*/ 30442 w 34628"/>
                        <a:gd name="connsiteY197" fmla="*/ 45334 h 81816"/>
                        <a:gd name="connsiteX198" fmla="*/ 30561 w 34628"/>
                        <a:gd name="connsiteY198" fmla="*/ 45035 h 81816"/>
                        <a:gd name="connsiteX199" fmla="*/ 30681 w 34628"/>
                        <a:gd name="connsiteY199" fmla="*/ 44736 h 81816"/>
                        <a:gd name="connsiteX200" fmla="*/ 30801 w 34628"/>
                        <a:gd name="connsiteY200" fmla="*/ 44437 h 81816"/>
                        <a:gd name="connsiteX201" fmla="*/ 30920 w 34628"/>
                        <a:gd name="connsiteY201" fmla="*/ 44018 h 81816"/>
                        <a:gd name="connsiteX202" fmla="*/ 31040 w 34628"/>
                        <a:gd name="connsiteY202" fmla="*/ 43599 h 81816"/>
                        <a:gd name="connsiteX203" fmla="*/ 31159 w 34628"/>
                        <a:gd name="connsiteY203" fmla="*/ 43181 h 81816"/>
                        <a:gd name="connsiteX204" fmla="*/ 31279 w 34628"/>
                        <a:gd name="connsiteY204" fmla="*/ 42762 h 81816"/>
                        <a:gd name="connsiteX205" fmla="*/ 31339 w 34628"/>
                        <a:gd name="connsiteY205" fmla="*/ 42463 h 81816"/>
                        <a:gd name="connsiteX206" fmla="*/ 31399 w 34628"/>
                        <a:gd name="connsiteY206" fmla="*/ 42164 h 81816"/>
                        <a:gd name="connsiteX207" fmla="*/ 31458 w 34628"/>
                        <a:gd name="connsiteY207" fmla="*/ 41865 h 81816"/>
                        <a:gd name="connsiteX208" fmla="*/ 31518 w 34628"/>
                        <a:gd name="connsiteY208" fmla="*/ 41566 h 81816"/>
                        <a:gd name="connsiteX209" fmla="*/ 31698 w 34628"/>
                        <a:gd name="connsiteY209" fmla="*/ 40490 h 81816"/>
                        <a:gd name="connsiteX210" fmla="*/ 31817 w 34628"/>
                        <a:gd name="connsiteY210" fmla="*/ 39413 h 81816"/>
                        <a:gd name="connsiteX211" fmla="*/ 31877 w 34628"/>
                        <a:gd name="connsiteY211" fmla="*/ 38336 h 81816"/>
                        <a:gd name="connsiteX212" fmla="*/ 31877 w 34628"/>
                        <a:gd name="connsiteY212" fmla="*/ 37260 h 81816"/>
                        <a:gd name="connsiteX213" fmla="*/ 31877 w 34628"/>
                        <a:gd name="connsiteY213" fmla="*/ 37200 h 81816"/>
                        <a:gd name="connsiteX214" fmla="*/ 31877 w 34628"/>
                        <a:gd name="connsiteY214" fmla="*/ 37140 h 81816"/>
                        <a:gd name="connsiteX215" fmla="*/ 31877 w 34628"/>
                        <a:gd name="connsiteY215" fmla="*/ 37081 h 81816"/>
                        <a:gd name="connsiteX216" fmla="*/ 31877 w 34628"/>
                        <a:gd name="connsiteY216" fmla="*/ 37021 h 81816"/>
                        <a:gd name="connsiteX217" fmla="*/ 31877 w 34628"/>
                        <a:gd name="connsiteY217" fmla="*/ 36841 h 81816"/>
                        <a:gd name="connsiteX218" fmla="*/ 31877 w 34628"/>
                        <a:gd name="connsiteY218" fmla="*/ 36662 h 81816"/>
                        <a:gd name="connsiteX219" fmla="*/ 31877 w 34628"/>
                        <a:gd name="connsiteY219" fmla="*/ 36482 h 81816"/>
                        <a:gd name="connsiteX220" fmla="*/ 31877 w 34628"/>
                        <a:gd name="connsiteY220" fmla="*/ 36303 h 81816"/>
                        <a:gd name="connsiteX221" fmla="*/ 31817 w 34628"/>
                        <a:gd name="connsiteY221" fmla="*/ 35824 h 81816"/>
                        <a:gd name="connsiteX222" fmla="*/ 31758 w 34628"/>
                        <a:gd name="connsiteY222" fmla="*/ 35286 h 81816"/>
                        <a:gd name="connsiteX223" fmla="*/ 31638 w 34628"/>
                        <a:gd name="connsiteY223" fmla="*/ 34748 h 81816"/>
                        <a:gd name="connsiteX224" fmla="*/ 31518 w 34628"/>
                        <a:gd name="connsiteY224" fmla="*/ 34210 h 81816"/>
                        <a:gd name="connsiteX225" fmla="*/ 31399 w 34628"/>
                        <a:gd name="connsiteY225" fmla="*/ 33612 h 81816"/>
                        <a:gd name="connsiteX226" fmla="*/ 31219 w 34628"/>
                        <a:gd name="connsiteY226" fmla="*/ 33014 h 81816"/>
                        <a:gd name="connsiteX227" fmla="*/ 31040 w 34628"/>
                        <a:gd name="connsiteY227" fmla="*/ 32415 h 81816"/>
                        <a:gd name="connsiteX228" fmla="*/ 30860 w 34628"/>
                        <a:gd name="connsiteY228" fmla="*/ 31817 h 81816"/>
                        <a:gd name="connsiteX229" fmla="*/ 30681 w 34628"/>
                        <a:gd name="connsiteY229" fmla="*/ 31399 h 81816"/>
                        <a:gd name="connsiteX230" fmla="*/ 30502 w 34628"/>
                        <a:gd name="connsiteY230" fmla="*/ 30980 h 81816"/>
                        <a:gd name="connsiteX231" fmla="*/ 30322 w 34628"/>
                        <a:gd name="connsiteY231" fmla="*/ 30561 h 81816"/>
                        <a:gd name="connsiteX232" fmla="*/ 30143 w 34628"/>
                        <a:gd name="connsiteY232" fmla="*/ 30143 h 81816"/>
                        <a:gd name="connsiteX233" fmla="*/ 29904 w 34628"/>
                        <a:gd name="connsiteY233" fmla="*/ 29665 h 81816"/>
                        <a:gd name="connsiteX234" fmla="*/ 29664 w 34628"/>
                        <a:gd name="connsiteY234" fmla="*/ 29186 h 81816"/>
                        <a:gd name="connsiteX235" fmla="*/ 29425 w 34628"/>
                        <a:gd name="connsiteY235" fmla="*/ 28707 h 81816"/>
                        <a:gd name="connsiteX236" fmla="*/ 29126 w 34628"/>
                        <a:gd name="connsiteY236" fmla="*/ 28229 h 81816"/>
                        <a:gd name="connsiteX237" fmla="*/ 28887 w 34628"/>
                        <a:gd name="connsiteY237" fmla="*/ 27811 h 81816"/>
                        <a:gd name="connsiteX238" fmla="*/ 28588 w 34628"/>
                        <a:gd name="connsiteY238" fmla="*/ 27332 h 81816"/>
                        <a:gd name="connsiteX239" fmla="*/ 28289 w 34628"/>
                        <a:gd name="connsiteY239" fmla="*/ 26853 h 81816"/>
                        <a:gd name="connsiteX240" fmla="*/ 27990 w 34628"/>
                        <a:gd name="connsiteY240" fmla="*/ 26375 h 81816"/>
                        <a:gd name="connsiteX241" fmla="*/ 27750 w 34628"/>
                        <a:gd name="connsiteY241" fmla="*/ 26016 h 81816"/>
                        <a:gd name="connsiteX242" fmla="*/ 27511 w 34628"/>
                        <a:gd name="connsiteY242" fmla="*/ 25657 h 81816"/>
                        <a:gd name="connsiteX243" fmla="*/ 27272 w 34628"/>
                        <a:gd name="connsiteY243" fmla="*/ 25298 h 81816"/>
                        <a:gd name="connsiteX244" fmla="*/ 27033 w 34628"/>
                        <a:gd name="connsiteY244" fmla="*/ 24940 h 81816"/>
                        <a:gd name="connsiteX245" fmla="*/ 26674 w 34628"/>
                        <a:gd name="connsiteY245" fmla="*/ 24461 h 81816"/>
                        <a:gd name="connsiteX246" fmla="*/ 26315 w 34628"/>
                        <a:gd name="connsiteY246" fmla="*/ 23983 h 81816"/>
                        <a:gd name="connsiteX247" fmla="*/ 25956 w 34628"/>
                        <a:gd name="connsiteY247" fmla="*/ 23504 h 81816"/>
                        <a:gd name="connsiteX248" fmla="*/ 25537 w 34628"/>
                        <a:gd name="connsiteY248" fmla="*/ 23026 h 81816"/>
                        <a:gd name="connsiteX249" fmla="*/ 25179 w 34628"/>
                        <a:gd name="connsiteY249" fmla="*/ 22607 h 81816"/>
                        <a:gd name="connsiteX250" fmla="*/ 24820 w 34628"/>
                        <a:gd name="connsiteY250" fmla="*/ 22189 h 81816"/>
                        <a:gd name="connsiteX251" fmla="*/ 24461 w 34628"/>
                        <a:gd name="connsiteY251" fmla="*/ 21770 h 81816"/>
                        <a:gd name="connsiteX252" fmla="*/ 24102 w 34628"/>
                        <a:gd name="connsiteY252" fmla="*/ 21351 h 81816"/>
                        <a:gd name="connsiteX253" fmla="*/ 20933 w 34628"/>
                        <a:gd name="connsiteY253" fmla="*/ 18062 h 81816"/>
                        <a:gd name="connsiteX254" fmla="*/ 17165 w 34628"/>
                        <a:gd name="connsiteY254" fmla="*/ 14593 h 81816"/>
                        <a:gd name="connsiteX255" fmla="*/ 12858 w 34628"/>
                        <a:gd name="connsiteY255" fmla="*/ 11005 h 81816"/>
                        <a:gd name="connsiteX256" fmla="*/ 7894 w 34628"/>
                        <a:gd name="connsiteY256" fmla="*/ 7237 h 81816"/>
                        <a:gd name="connsiteX257" fmla="*/ 7117 w 34628"/>
                        <a:gd name="connsiteY257" fmla="*/ 8253 h 81816"/>
                        <a:gd name="connsiteX258" fmla="*/ 12500 w 34628"/>
                        <a:gd name="connsiteY258" fmla="*/ 12380 h 81816"/>
                        <a:gd name="connsiteX259" fmla="*/ 17105 w 34628"/>
                        <a:gd name="connsiteY259" fmla="*/ 16267 h 81816"/>
                        <a:gd name="connsiteX260" fmla="*/ 20992 w 34628"/>
                        <a:gd name="connsiteY260" fmla="*/ 19976 h 81816"/>
                        <a:gd name="connsiteX261" fmla="*/ 24222 w 34628"/>
                        <a:gd name="connsiteY261" fmla="*/ 23504 h 81816"/>
                        <a:gd name="connsiteX262" fmla="*/ 24521 w 34628"/>
                        <a:gd name="connsiteY262" fmla="*/ 23863 h 81816"/>
                        <a:gd name="connsiteX263" fmla="*/ 24820 w 34628"/>
                        <a:gd name="connsiteY263" fmla="*/ 24222 h 81816"/>
                        <a:gd name="connsiteX264" fmla="*/ 25119 w 34628"/>
                        <a:gd name="connsiteY264" fmla="*/ 24581 h 81816"/>
                        <a:gd name="connsiteX265" fmla="*/ 25418 w 34628"/>
                        <a:gd name="connsiteY265" fmla="*/ 24940 h 81816"/>
                        <a:gd name="connsiteX266" fmla="*/ 25717 w 34628"/>
                        <a:gd name="connsiteY266" fmla="*/ 25298 h 81816"/>
                        <a:gd name="connsiteX267" fmla="*/ 26016 w 34628"/>
                        <a:gd name="connsiteY267" fmla="*/ 25657 h 81816"/>
                        <a:gd name="connsiteX268" fmla="*/ 26255 w 34628"/>
                        <a:gd name="connsiteY268" fmla="*/ 26016 h 81816"/>
                        <a:gd name="connsiteX269" fmla="*/ 26495 w 34628"/>
                        <a:gd name="connsiteY269" fmla="*/ 26375 h 81816"/>
                        <a:gd name="connsiteX270" fmla="*/ 26554 w 34628"/>
                        <a:gd name="connsiteY270" fmla="*/ 26495 h 81816"/>
                        <a:gd name="connsiteX271" fmla="*/ 26614 w 34628"/>
                        <a:gd name="connsiteY271" fmla="*/ 26614 h 81816"/>
                        <a:gd name="connsiteX272" fmla="*/ 26674 w 34628"/>
                        <a:gd name="connsiteY272" fmla="*/ 26734 h 81816"/>
                        <a:gd name="connsiteX273" fmla="*/ 26734 w 34628"/>
                        <a:gd name="connsiteY273" fmla="*/ 26794 h 81816"/>
                        <a:gd name="connsiteX274" fmla="*/ 26973 w 34628"/>
                        <a:gd name="connsiteY274" fmla="*/ 27152 h 81816"/>
                        <a:gd name="connsiteX275" fmla="*/ 27212 w 34628"/>
                        <a:gd name="connsiteY275" fmla="*/ 27511 h 81816"/>
                        <a:gd name="connsiteX276" fmla="*/ 27451 w 34628"/>
                        <a:gd name="connsiteY276" fmla="*/ 27870 h 81816"/>
                        <a:gd name="connsiteX277" fmla="*/ 27691 w 34628"/>
                        <a:gd name="connsiteY277" fmla="*/ 28229 h 81816"/>
                        <a:gd name="connsiteX278" fmla="*/ 27810 w 34628"/>
                        <a:gd name="connsiteY278" fmla="*/ 28468 h 81816"/>
                        <a:gd name="connsiteX279" fmla="*/ 27930 w 34628"/>
                        <a:gd name="connsiteY279" fmla="*/ 28707 h 81816"/>
                        <a:gd name="connsiteX280" fmla="*/ 28050 w 34628"/>
                        <a:gd name="connsiteY280" fmla="*/ 28947 h 81816"/>
                        <a:gd name="connsiteX281" fmla="*/ 28169 w 34628"/>
                        <a:gd name="connsiteY281" fmla="*/ 29186 h 81816"/>
                        <a:gd name="connsiteX282" fmla="*/ 28588 w 34628"/>
                        <a:gd name="connsiteY282" fmla="*/ 29904 h 81816"/>
                        <a:gd name="connsiteX283" fmla="*/ 28946 w 34628"/>
                        <a:gd name="connsiteY283" fmla="*/ 30621 h 81816"/>
                        <a:gd name="connsiteX284" fmla="*/ 29245 w 34628"/>
                        <a:gd name="connsiteY284" fmla="*/ 31339 h 81816"/>
                        <a:gd name="connsiteX285" fmla="*/ 29545 w 34628"/>
                        <a:gd name="connsiteY285" fmla="*/ 32057 h 81816"/>
                        <a:gd name="connsiteX286" fmla="*/ 29724 w 34628"/>
                        <a:gd name="connsiteY286" fmla="*/ 32475 h 81816"/>
                        <a:gd name="connsiteX287" fmla="*/ 29844 w 34628"/>
                        <a:gd name="connsiteY287" fmla="*/ 32894 h 81816"/>
                        <a:gd name="connsiteX288" fmla="*/ 29963 w 34628"/>
                        <a:gd name="connsiteY288" fmla="*/ 33313 h 81816"/>
                        <a:gd name="connsiteX289" fmla="*/ 30083 w 34628"/>
                        <a:gd name="connsiteY289" fmla="*/ 33731 h 81816"/>
                        <a:gd name="connsiteX290" fmla="*/ 30143 w 34628"/>
                        <a:gd name="connsiteY290" fmla="*/ 33970 h 81816"/>
                        <a:gd name="connsiteX291" fmla="*/ 30203 w 34628"/>
                        <a:gd name="connsiteY291" fmla="*/ 34210 h 81816"/>
                        <a:gd name="connsiteX292" fmla="*/ 30262 w 34628"/>
                        <a:gd name="connsiteY292" fmla="*/ 34449 h 81816"/>
                        <a:gd name="connsiteX293" fmla="*/ 30322 w 34628"/>
                        <a:gd name="connsiteY293" fmla="*/ 34688 h 81816"/>
                        <a:gd name="connsiteX294" fmla="*/ 30382 w 34628"/>
                        <a:gd name="connsiteY294" fmla="*/ 35107 h 81816"/>
                        <a:gd name="connsiteX295" fmla="*/ 30442 w 34628"/>
                        <a:gd name="connsiteY295" fmla="*/ 35526 h 81816"/>
                        <a:gd name="connsiteX296" fmla="*/ 30502 w 34628"/>
                        <a:gd name="connsiteY296" fmla="*/ 35944 h 81816"/>
                        <a:gd name="connsiteX297" fmla="*/ 30561 w 34628"/>
                        <a:gd name="connsiteY297" fmla="*/ 36363 h 81816"/>
                        <a:gd name="connsiteX298" fmla="*/ 30561 w 34628"/>
                        <a:gd name="connsiteY298" fmla="*/ 36602 h 81816"/>
                        <a:gd name="connsiteX299" fmla="*/ 30561 w 34628"/>
                        <a:gd name="connsiteY299" fmla="*/ 36841 h 81816"/>
                        <a:gd name="connsiteX300" fmla="*/ 30561 w 34628"/>
                        <a:gd name="connsiteY300" fmla="*/ 37081 h 81816"/>
                        <a:gd name="connsiteX301" fmla="*/ 30561 w 34628"/>
                        <a:gd name="connsiteY301" fmla="*/ 37320 h 81816"/>
                        <a:gd name="connsiteX302" fmla="*/ 30561 w 34628"/>
                        <a:gd name="connsiteY302" fmla="*/ 37678 h 81816"/>
                        <a:gd name="connsiteX303" fmla="*/ 30561 w 34628"/>
                        <a:gd name="connsiteY303" fmla="*/ 38037 h 81816"/>
                        <a:gd name="connsiteX304" fmla="*/ 30561 w 34628"/>
                        <a:gd name="connsiteY304" fmla="*/ 38396 h 81816"/>
                        <a:gd name="connsiteX305" fmla="*/ 30561 w 34628"/>
                        <a:gd name="connsiteY305" fmla="*/ 38755 h 81816"/>
                        <a:gd name="connsiteX306" fmla="*/ 30561 w 34628"/>
                        <a:gd name="connsiteY306" fmla="*/ 39293 h 81816"/>
                        <a:gd name="connsiteX307" fmla="*/ 30502 w 34628"/>
                        <a:gd name="connsiteY307" fmla="*/ 39831 h 81816"/>
                        <a:gd name="connsiteX308" fmla="*/ 30442 w 34628"/>
                        <a:gd name="connsiteY308" fmla="*/ 40370 h 81816"/>
                        <a:gd name="connsiteX309" fmla="*/ 30382 w 34628"/>
                        <a:gd name="connsiteY309" fmla="*/ 40908 h 81816"/>
                        <a:gd name="connsiteX310" fmla="*/ 30322 w 34628"/>
                        <a:gd name="connsiteY310" fmla="*/ 41267 h 81816"/>
                        <a:gd name="connsiteX311" fmla="*/ 30262 w 34628"/>
                        <a:gd name="connsiteY311" fmla="*/ 41626 h 81816"/>
                        <a:gd name="connsiteX312" fmla="*/ 30203 w 34628"/>
                        <a:gd name="connsiteY312" fmla="*/ 41985 h 81816"/>
                        <a:gd name="connsiteX313" fmla="*/ 30143 w 34628"/>
                        <a:gd name="connsiteY313" fmla="*/ 42344 h 81816"/>
                        <a:gd name="connsiteX314" fmla="*/ 30023 w 34628"/>
                        <a:gd name="connsiteY314" fmla="*/ 42762 h 81816"/>
                        <a:gd name="connsiteX315" fmla="*/ 29904 w 34628"/>
                        <a:gd name="connsiteY315" fmla="*/ 43181 h 81816"/>
                        <a:gd name="connsiteX316" fmla="*/ 29784 w 34628"/>
                        <a:gd name="connsiteY316" fmla="*/ 43599 h 81816"/>
                        <a:gd name="connsiteX317" fmla="*/ 29664 w 34628"/>
                        <a:gd name="connsiteY317" fmla="*/ 44018 h 81816"/>
                        <a:gd name="connsiteX318" fmla="*/ 29545 w 34628"/>
                        <a:gd name="connsiteY318" fmla="*/ 44317 h 81816"/>
                        <a:gd name="connsiteX319" fmla="*/ 29425 w 34628"/>
                        <a:gd name="connsiteY319" fmla="*/ 44616 h 81816"/>
                        <a:gd name="connsiteX320" fmla="*/ 29305 w 34628"/>
                        <a:gd name="connsiteY320" fmla="*/ 44915 h 81816"/>
                        <a:gd name="connsiteX321" fmla="*/ 29186 w 34628"/>
                        <a:gd name="connsiteY321" fmla="*/ 45214 h 81816"/>
                        <a:gd name="connsiteX322" fmla="*/ 28588 w 34628"/>
                        <a:gd name="connsiteY322" fmla="*/ 46650 h 81816"/>
                        <a:gd name="connsiteX323" fmla="*/ 27870 w 34628"/>
                        <a:gd name="connsiteY323" fmla="*/ 48085 h 81816"/>
                        <a:gd name="connsiteX324" fmla="*/ 27092 w 34628"/>
                        <a:gd name="connsiteY324" fmla="*/ 49520 h 81816"/>
                        <a:gd name="connsiteX325" fmla="*/ 26196 w 34628"/>
                        <a:gd name="connsiteY325" fmla="*/ 50956 h 81816"/>
                        <a:gd name="connsiteX326" fmla="*/ 26016 w 34628"/>
                        <a:gd name="connsiteY326" fmla="*/ 51195 h 81816"/>
                        <a:gd name="connsiteX327" fmla="*/ 25836 w 34628"/>
                        <a:gd name="connsiteY327" fmla="*/ 51434 h 81816"/>
                        <a:gd name="connsiteX328" fmla="*/ 25657 w 34628"/>
                        <a:gd name="connsiteY328" fmla="*/ 51674 h 81816"/>
                        <a:gd name="connsiteX329" fmla="*/ 25478 w 34628"/>
                        <a:gd name="connsiteY329" fmla="*/ 51913 h 81816"/>
                        <a:gd name="connsiteX330" fmla="*/ 23923 w 34628"/>
                        <a:gd name="connsiteY330" fmla="*/ 54125 h 81816"/>
                        <a:gd name="connsiteX331" fmla="*/ 22248 w 34628"/>
                        <a:gd name="connsiteY331" fmla="*/ 56398 h 81816"/>
                        <a:gd name="connsiteX332" fmla="*/ 20394 w 34628"/>
                        <a:gd name="connsiteY332" fmla="*/ 58731 h 81816"/>
                        <a:gd name="connsiteX333" fmla="*/ 18600 w 34628"/>
                        <a:gd name="connsiteY333" fmla="*/ 60944 h 81816"/>
                        <a:gd name="connsiteX334" fmla="*/ 18480 w 34628"/>
                        <a:gd name="connsiteY334" fmla="*/ 64951 h 81816"/>
                        <a:gd name="connsiteX335" fmla="*/ 19377 w 34628"/>
                        <a:gd name="connsiteY335" fmla="*/ 65549 h 81816"/>
                        <a:gd name="connsiteX336" fmla="*/ 19736 w 34628"/>
                        <a:gd name="connsiteY336" fmla="*/ 65130 h 81816"/>
                        <a:gd name="connsiteX337" fmla="*/ 20095 w 34628"/>
                        <a:gd name="connsiteY337" fmla="*/ 64711 h 81816"/>
                        <a:gd name="connsiteX338" fmla="*/ 20454 w 34628"/>
                        <a:gd name="connsiteY338" fmla="*/ 64293 h 81816"/>
                        <a:gd name="connsiteX339" fmla="*/ 20813 w 34628"/>
                        <a:gd name="connsiteY339" fmla="*/ 63874 h 81816"/>
                        <a:gd name="connsiteX340" fmla="*/ 19916 w 34628"/>
                        <a:gd name="connsiteY340" fmla="*/ 63276 h 81816"/>
                        <a:gd name="connsiteX341" fmla="*/ 19557 w 34628"/>
                        <a:gd name="connsiteY341" fmla="*/ 63695 h 81816"/>
                        <a:gd name="connsiteX342" fmla="*/ 19198 w 34628"/>
                        <a:gd name="connsiteY342" fmla="*/ 64113 h 81816"/>
                        <a:gd name="connsiteX343" fmla="*/ 18839 w 34628"/>
                        <a:gd name="connsiteY343" fmla="*/ 64532 h 81816"/>
                        <a:gd name="connsiteX344" fmla="*/ 18480 w 34628"/>
                        <a:gd name="connsiteY344" fmla="*/ 64951 h 81816"/>
                        <a:gd name="connsiteX345" fmla="*/ 16327 w 34628"/>
                        <a:gd name="connsiteY345" fmla="*/ 63575 h 81816"/>
                        <a:gd name="connsiteX346" fmla="*/ 17225 w 34628"/>
                        <a:gd name="connsiteY346" fmla="*/ 64173 h 81816"/>
                        <a:gd name="connsiteX347" fmla="*/ 17583 w 34628"/>
                        <a:gd name="connsiteY347" fmla="*/ 63754 h 81816"/>
                        <a:gd name="connsiteX348" fmla="*/ 17942 w 34628"/>
                        <a:gd name="connsiteY348" fmla="*/ 63336 h 81816"/>
                        <a:gd name="connsiteX349" fmla="*/ 18301 w 34628"/>
                        <a:gd name="connsiteY349" fmla="*/ 62917 h 81816"/>
                        <a:gd name="connsiteX350" fmla="*/ 18660 w 34628"/>
                        <a:gd name="connsiteY350" fmla="*/ 62499 h 81816"/>
                        <a:gd name="connsiteX351" fmla="*/ 17763 w 34628"/>
                        <a:gd name="connsiteY351" fmla="*/ 61900 h 81816"/>
                        <a:gd name="connsiteX352" fmla="*/ 17404 w 34628"/>
                        <a:gd name="connsiteY352" fmla="*/ 62319 h 81816"/>
                        <a:gd name="connsiteX353" fmla="*/ 17045 w 34628"/>
                        <a:gd name="connsiteY353" fmla="*/ 62738 h 81816"/>
                        <a:gd name="connsiteX354" fmla="*/ 16686 w 34628"/>
                        <a:gd name="connsiteY354" fmla="*/ 63156 h 81816"/>
                        <a:gd name="connsiteX355" fmla="*/ 16327 w 34628"/>
                        <a:gd name="connsiteY355" fmla="*/ 63575 h 81816"/>
                        <a:gd name="connsiteX356" fmla="*/ 16447 w 34628"/>
                        <a:gd name="connsiteY356" fmla="*/ 67403 h 81816"/>
                        <a:gd name="connsiteX357" fmla="*/ 17344 w 34628"/>
                        <a:gd name="connsiteY357" fmla="*/ 68001 h 81816"/>
                        <a:gd name="connsiteX358" fmla="*/ 17643 w 34628"/>
                        <a:gd name="connsiteY358" fmla="*/ 67642 h 81816"/>
                        <a:gd name="connsiteX359" fmla="*/ 17942 w 34628"/>
                        <a:gd name="connsiteY359" fmla="*/ 67283 h 81816"/>
                        <a:gd name="connsiteX360" fmla="*/ 18241 w 34628"/>
                        <a:gd name="connsiteY360" fmla="*/ 66924 h 81816"/>
                        <a:gd name="connsiteX361" fmla="*/ 18540 w 34628"/>
                        <a:gd name="connsiteY361" fmla="*/ 66565 h 81816"/>
                        <a:gd name="connsiteX362" fmla="*/ 17643 w 34628"/>
                        <a:gd name="connsiteY362" fmla="*/ 65967 h 81816"/>
                        <a:gd name="connsiteX363" fmla="*/ 17344 w 34628"/>
                        <a:gd name="connsiteY363" fmla="*/ 66326 h 81816"/>
                        <a:gd name="connsiteX364" fmla="*/ 17045 w 34628"/>
                        <a:gd name="connsiteY364" fmla="*/ 66685 h 81816"/>
                        <a:gd name="connsiteX365" fmla="*/ 16746 w 34628"/>
                        <a:gd name="connsiteY365" fmla="*/ 67044 h 81816"/>
                        <a:gd name="connsiteX366" fmla="*/ 16447 w 34628"/>
                        <a:gd name="connsiteY366" fmla="*/ 67403 h 81816"/>
                        <a:gd name="connsiteX367" fmla="*/ 14294 w 34628"/>
                        <a:gd name="connsiteY367" fmla="*/ 65967 h 81816"/>
                        <a:gd name="connsiteX368" fmla="*/ 15251 w 34628"/>
                        <a:gd name="connsiteY368" fmla="*/ 66565 h 81816"/>
                        <a:gd name="connsiteX369" fmla="*/ 15550 w 34628"/>
                        <a:gd name="connsiteY369" fmla="*/ 66207 h 81816"/>
                        <a:gd name="connsiteX370" fmla="*/ 15849 w 34628"/>
                        <a:gd name="connsiteY370" fmla="*/ 65848 h 81816"/>
                        <a:gd name="connsiteX371" fmla="*/ 16148 w 34628"/>
                        <a:gd name="connsiteY371" fmla="*/ 65489 h 81816"/>
                        <a:gd name="connsiteX372" fmla="*/ 16447 w 34628"/>
                        <a:gd name="connsiteY372" fmla="*/ 65130 h 81816"/>
                        <a:gd name="connsiteX373" fmla="*/ 15490 w 34628"/>
                        <a:gd name="connsiteY373" fmla="*/ 64532 h 81816"/>
                        <a:gd name="connsiteX374" fmla="*/ 15191 w 34628"/>
                        <a:gd name="connsiteY374" fmla="*/ 64891 h 81816"/>
                        <a:gd name="connsiteX375" fmla="*/ 14892 w 34628"/>
                        <a:gd name="connsiteY375" fmla="*/ 65250 h 81816"/>
                        <a:gd name="connsiteX376" fmla="*/ 14593 w 34628"/>
                        <a:gd name="connsiteY376" fmla="*/ 65608 h 81816"/>
                        <a:gd name="connsiteX377" fmla="*/ 14294 w 34628"/>
                        <a:gd name="connsiteY377" fmla="*/ 65967 h 81816"/>
                        <a:gd name="connsiteX378" fmla="*/ 2811 w 34628"/>
                        <a:gd name="connsiteY378" fmla="*/ 79842 h 81816"/>
                        <a:gd name="connsiteX379" fmla="*/ 5861 w 34628"/>
                        <a:gd name="connsiteY379" fmla="*/ 81816 h 81816"/>
                        <a:gd name="connsiteX380" fmla="*/ 5921 w 34628"/>
                        <a:gd name="connsiteY380" fmla="*/ 81696 h 81816"/>
                        <a:gd name="connsiteX381" fmla="*/ 7236 w 34628"/>
                        <a:gd name="connsiteY381" fmla="*/ 80082 h 81816"/>
                        <a:gd name="connsiteX382" fmla="*/ 8552 w 34628"/>
                        <a:gd name="connsiteY382" fmla="*/ 78467 h 81816"/>
                        <a:gd name="connsiteX383" fmla="*/ 9868 w 34628"/>
                        <a:gd name="connsiteY383" fmla="*/ 76912 h 81816"/>
                        <a:gd name="connsiteX384" fmla="*/ 11124 w 34628"/>
                        <a:gd name="connsiteY384" fmla="*/ 75357 h 81816"/>
                        <a:gd name="connsiteX385" fmla="*/ 11303 w 34628"/>
                        <a:gd name="connsiteY385" fmla="*/ 75118 h 81816"/>
                        <a:gd name="connsiteX386" fmla="*/ 11483 w 34628"/>
                        <a:gd name="connsiteY386" fmla="*/ 74879 h 81816"/>
                        <a:gd name="connsiteX387" fmla="*/ 11662 w 34628"/>
                        <a:gd name="connsiteY387" fmla="*/ 74639 h 81816"/>
                        <a:gd name="connsiteX388" fmla="*/ 11842 w 34628"/>
                        <a:gd name="connsiteY388" fmla="*/ 74400 h 81816"/>
                        <a:gd name="connsiteX389" fmla="*/ 13038 w 34628"/>
                        <a:gd name="connsiteY389" fmla="*/ 73025 h 81816"/>
                        <a:gd name="connsiteX390" fmla="*/ 14174 w 34628"/>
                        <a:gd name="connsiteY390" fmla="*/ 71649 h 81816"/>
                        <a:gd name="connsiteX391" fmla="*/ 15311 w 34628"/>
                        <a:gd name="connsiteY391" fmla="*/ 70273 h 81816"/>
                        <a:gd name="connsiteX392" fmla="*/ 16447 w 34628"/>
                        <a:gd name="connsiteY392" fmla="*/ 68958 h 81816"/>
                        <a:gd name="connsiteX393" fmla="*/ 15550 w 34628"/>
                        <a:gd name="connsiteY393" fmla="*/ 68360 h 81816"/>
                        <a:gd name="connsiteX394" fmla="*/ 14413 w 34628"/>
                        <a:gd name="connsiteY394" fmla="*/ 69676 h 81816"/>
                        <a:gd name="connsiteX395" fmla="*/ 13277 w 34628"/>
                        <a:gd name="connsiteY395" fmla="*/ 71051 h 81816"/>
                        <a:gd name="connsiteX396" fmla="*/ 12141 w 34628"/>
                        <a:gd name="connsiteY396" fmla="*/ 72426 h 81816"/>
                        <a:gd name="connsiteX397" fmla="*/ 10944 w 34628"/>
                        <a:gd name="connsiteY397" fmla="*/ 73802 h 81816"/>
                        <a:gd name="connsiteX398" fmla="*/ 10765 w 34628"/>
                        <a:gd name="connsiteY398" fmla="*/ 74041 h 81816"/>
                        <a:gd name="connsiteX399" fmla="*/ 10586 w 34628"/>
                        <a:gd name="connsiteY399" fmla="*/ 74280 h 81816"/>
                        <a:gd name="connsiteX400" fmla="*/ 10406 w 34628"/>
                        <a:gd name="connsiteY400" fmla="*/ 74520 h 81816"/>
                        <a:gd name="connsiteX401" fmla="*/ 10227 w 34628"/>
                        <a:gd name="connsiteY401" fmla="*/ 74759 h 81816"/>
                        <a:gd name="connsiteX402" fmla="*/ 9031 w 34628"/>
                        <a:gd name="connsiteY402" fmla="*/ 76194 h 81816"/>
                        <a:gd name="connsiteX403" fmla="*/ 7835 w 34628"/>
                        <a:gd name="connsiteY403" fmla="*/ 77630 h 81816"/>
                        <a:gd name="connsiteX404" fmla="*/ 6639 w 34628"/>
                        <a:gd name="connsiteY404" fmla="*/ 79125 h 81816"/>
                        <a:gd name="connsiteX405" fmla="*/ 5442 w 34628"/>
                        <a:gd name="connsiteY405" fmla="*/ 80620 h 81816"/>
                        <a:gd name="connsiteX406" fmla="*/ 4186 w 34628"/>
                        <a:gd name="connsiteY406" fmla="*/ 79842 h 81816"/>
                        <a:gd name="connsiteX407" fmla="*/ 5382 w 34628"/>
                        <a:gd name="connsiteY407" fmla="*/ 78347 h 81816"/>
                        <a:gd name="connsiteX408" fmla="*/ 6579 w 34628"/>
                        <a:gd name="connsiteY408" fmla="*/ 76852 h 81816"/>
                        <a:gd name="connsiteX409" fmla="*/ 7775 w 34628"/>
                        <a:gd name="connsiteY409" fmla="*/ 75417 h 81816"/>
                        <a:gd name="connsiteX410" fmla="*/ 8971 w 34628"/>
                        <a:gd name="connsiteY410" fmla="*/ 73981 h 81816"/>
                        <a:gd name="connsiteX411" fmla="*/ 9150 w 34628"/>
                        <a:gd name="connsiteY411" fmla="*/ 73742 h 81816"/>
                        <a:gd name="connsiteX412" fmla="*/ 9330 w 34628"/>
                        <a:gd name="connsiteY412" fmla="*/ 73503 h 81816"/>
                        <a:gd name="connsiteX413" fmla="*/ 9509 w 34628"/>
                        <a:gd name="connsiteY413" fmla="*/ 73264 h 81816"/>
                        <a:gd name="connsiteX414" fmla="*/ 9689 w 34628"/>
                        <a:gd name="connsiteY414" fmla="*/ 73025 h 81816"/>
                        <a:gd name="connsiteX415" fmla="*/ 10885 w 34628"/>
                        <a:gd name="connsiteY415" fmla="*/ 71649 h 81816"/>
                        <a:gd name="connsiteX416" fmla="*/ 12021 w 34628"/>
                        <a:gd name="connsiteY416" fmla="*/ 70273 h 81816"/>
                        <a:gd name="connsiteX417" fmla="*/ 13157 w 34628"/>
                        <a:gd name="connsiteY417" fmla="*/ 68898 h 81816"/>
                        <a:gd name="connsiteX418" fmla="*/ 14294 w 34628"/>
                        <a:gd name="connsiteY418" fmla="*/ 67582 h 81816"/>
                        <a:gd name="connsiteX419" fmla="*/ 13337 w 34628"/>
                        <a:gd name="connsiteY419" fmla="*/ 66984 h 81816"/>
                        <a:gd name="connsiteX420" fmla="*/ 12201 w 34628"/>
                        <a:gd name="connsiteY420" fmla="*/ 68300 h 81816"/>
                        <a:gd name="connsiteX421" fmla="*/ 11064 w 34628"/>
                        <a:gd name="connsiteY421" fmla="*/ 69676 h 81816"/>
                        <a:gd name="connsiteX422" fmla="*/ 9928 w 34628"/>
                        <a:gd name="connsiteY422" fmla="*/ 71051 h 81816"/>
                        <a:gd name="connsiteX423" fmla="*/ 8732 w 34628"/>
                        <a:gd name="connsiteY423" fmla="*/ 72426 h 81816"/>
                        <a:gd name="connsiteX424" fmla="*/ 8552 w 34628"/>
                        <a:gd name="connsiteY424" fmla="*/ 72666 h 81816"/>
                        <a:gd name="connsiteX425" fmla="*/ 8373 w 34628"/>
                        <a:gd name="connsiteY425" fmla="*/ 72905 h 81816"/>
                        <a:gd name="connsiteX426" fmla="*/ 8194 w 34628"/>
                        <a:gd name="connsiteY426" fmla="*/ 73144 h 81816"/>
                        <a:gd name="connsiteX427" fmla="*/ 8014 w 34628"/>
                        <a:gd name="connsiteY427" fmla="*/ 73384 h 81816"/>
                        <a:gd name="connsiteX428" fmla="*/ 6758 w 34628"/>
                        <a:gd name="connsiteY428" fmla="*/ 74938 h 81816"/>
                        <a:gd name="connsiteX429" fmla="*/ 5502 w 34628"/>
                        <a:gd name="connsiteY429" fmla="*/ 76493 h 81816"/>
                        <a:gd name="connsiteX430" fmla="*/ 4186 w 34628"/>
                        <a:gd name="connsiteY430" fmla="*/ 78108 h 81816"/>
                        <a:gd name="connsiteX431" fmla="*/ 2871 w 34628"/>
                        <a:gd name="connsiteY431" fmla="*/ 79723 h 81816"/>
                        <a:gd name="connsiteX432" fmla="*/ 2811 w 34628"/>
                        <a:gd name="connsiteY432" fmla="*/ 79842 h 8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Lst>
                      <a:rect l="l" t="t" r="r" b="b"/>
                      <a:pathLst>
                        <a:path w="34628" h="81816">
                          <a:moveTo>
                            <a:pt x="6100" y="7596"/>
                          </a:moveTo>
                          <a:lnTo>
                            <a:pt x="6878" y="6579"/>
                          </a:lnTo>
                          <a:cubicBezTo>
                            <a:pt x="6459" y="6280"/>
                            <a:pt x="6040" y="5981"/>
                            <a:pt x="5622" y="5682"/>
                          </a:cubicBezTo>
                          <a:cubicBezTo>
                            <a:pt x="5203" y="5383"/>
                            <a:pt x="4785" y="5083"/>
                            <a:pt x="4366" y="4785"/>
                          </a:cubicBezTo>
                          <a:cubicBezTo>
                            <a:pt x="3947" y="4486"/>
                            <a:pt x="3528" y="4187"/>
                            <a:pt x="3050" y="3888"/>
                          </a:cubicBezTo>
                          <a:cubicBezTo>
                            <a:pt x="2632" y="3588"/>
                            <a:pt x="2153" y="3289"/>
                            <a:pt x="1734" y="2990"/>
                          </a:cubicBezTo>
                          <a:lnTo>
                            <a:pt x="2751" y="1674"/>
                          </a:lnTo>
                          <a:cubicBezTo>
                            <a:pt x="3229" y="1974"/>
                            <a:pt x="3648" y="2273"/>
                            <a:pt x="4067" y="2572"/>
                          </a:cubicBezTo>
                          <a:cubicBezTo>
                            <a:pt x="4486" y="2871"/>
                            <a:pt x="4964" y="3170"/>
                            <a:pt x="5382" y="3469"/>
                          </a:cubicBezTo>
                          <a:cubicBezTo>
                            <a:pt x="5801" y="3768"/>
                            <a:pt x="6220" y="4067"/>
                            <a:pt x="6639" y="4366"/>
                          </a:cubicBezTo>
                          <a:cubicBezTo>
                            <a:pt x="7057" y="4665"/>
                            <a:pt x="7476" y="4964"/>
                            <a:pt x="7894" y="5263"/>
                          </a:cubicBezTo>
                          <a:lnTo>
                            <a:pt x="8672" y="4246"/>
                          </a:lnTo>
                          <a:cubicBezTo>
                            <a:pt x="8253" y="3947"/>
                            <a:pt x="7775" y="3588"/>
                            <a:pt x="7296" y="3289"/>
                          </a:cubicBezTo>
                          <a:cubicBezTo>
                            <a:pt x="6818" y="2990"/>
                            <a:pt x="6399" y="2632"/>
                            <a:pt x="5921" y="2333"/>
                          </a:cubicBezTo>
                          <a:cubicBezTo>
                            <a:pt x="5442" y="1974"/>
                            <a:pt x="4964" y="1674"/>
                            <a:pt x="4486" y="1316"/>
                          </a:cubicBezTo>
                          <a:cubicBezTo>
                            <a:pt x="4007" y="957"/>
                            <a:pt x="3528" y="658"/>
                            <a:pt x="3050" y="299"/>
                          </a:cubicBezTo>
                          <a:lnTo>
                            <a:pt x="2572" y="0"/>
                          </a:lnTo>
                          <a:lnTo>
                            <a:pt x="1973" y="778"/>
                          </a:lnTo>
                          <a:lnTo>
                            <a:pt x="0" y="3289"/>
                          </a:lnTo>
                          <a:lnTo>
                            <a:pt x="478" y="3588"/>
                          </a:lnTo>
                          <a:cubicBezTo>
                            <a:pt x="957" y="3947"/>
                            <a:pt x="1435" y="4246"/>
                            <a:pt x="1973" y="4605"/>
                          </a:cubicBezTo>
                          <a:cubicBezTo>
                            <a:pt x="2452" y="4964"/>
                            <a:pt x="2930" y="5263"/>
                            <a:pt x="3409" y="5622"/>
                          </a:cubicBezTo>
                          <a:cubicBezTo>
                            <a:pt x="3887" y="5921"/>
                            <a:pt x="4366" y="6280"/>
                            <a:pt x="4785" y="6579"/>
                          </a:cubicBezTo>
                          <a:cubicBezTo>
                            <a:pt x="5203" y="6878"/>
                            <a:pt x="5681" y="7237"/>
                            <a:pt x="6100" y="7596"/>
                          </a:cubicBezTo>
                          <a:moveTo>
                            <a:pt x="20693" y="62379"/>
                          </a:moveTo>
                          <a:lnTo>
                            <a:pt x="21590" y="62977"/>
                          </a:lnTo>
                          <a:cubicBezTo>
                            <a:pt x="22248" y="62200"/>
                            <a:pt x="22906" y="61362"/>
                            <a:pt x="23564" y="60585"/>
                          </a:cubicBezTo>
                          <a:cubicBezTo>
                            <a:pt x="24222" y="59807"/>
                            <a:pt x="24820" y="59030"/>
                            <a:pt x="25418" y="58252"/>
                          </a:cubicBezTo>
                          <a:cubicBezTo>
                            <a:pt x="26016" y="57475"/>
                            <a:pt x="26554" y="56697"/>
                            <a:pt x="27152" y="55979"/>
                          </a:cubicBezTo>
                          <a:cubicBezTo>
                            <a:pt x="27691" y="55202"/>
                            <a:pt x="28229" y="54484"/>
                            <a:pt x="28707" y="53707"/>
                          </a:cubicBezTo>
                          <a:cubicBezTo>
                            <a:pt x="28767" y="53647"/>
                            <a:pt x="28827" y="53528"/>
                            <a:pt x="28887" y="53468"/>
                          </a:cubicBezTo>
                          <a:cubicBezTo>
                            <a:pt x="28946" y="53408"/>
                            <a:pt x="29006" y="53288"/>
                            <a:pt x="29066" y="53229"/>
                          </a:cubicBezTo>
                          <a:cubicBezTo>
                            <a:pt x="29126" y="53169"/>
                            <a:pt x="29186" y="53049"/>
                            <a:pt x="29245" y="52989"/>
                          </a:cubicBezTo>
                          <a:cubicBezTo>
                            <a:pt x="29305" y="52929"/>
                            <a:pt x="29365" y="52810"/>
                            <a:pt x="29425" y="52750"/>
                          </a:cubicBezTo>
                          <a:cubicBezTo>
                            <a:pt x="29724" y="52271"/>
                            <a:pt x="30023" y="51793"/>
                            <a:pt x="30322" y="51315"/>
                          </a:cubicBezTo>
                          <a:cubicBezTo>
                            <a:pt x="30621" y="50836"/>
                            <a:pt x="30860" y="50358"/>
                            <a:pt x="31159" y="49879"/>
                          </a:cubicBezTo>
                          <a:cubicBezTo>
                            <a:pt x="31399" y="49401"/>
                            <a:pt x="31638" y="48922"/>
                            <a:pt x="31877" y="48444"/>
                          </a:cubicBezTo>
                          <a:cubicBezTo>
                            <a:pt x="32116" y="47966"/>
                            <a:pt x="32356" y="47487"/>
                            <a:pt x="32535" y="47068"/>
                          </a:cubicBezTo>
                          <a:cubicBezTo>
                            <a:pt x="32595" y="46949"/>
                            <a:pt x="32595" y="46889"/>
                            <a:pt x="32655" y="46769"/>
                          </a:cubicBezTo>
                          <a:cubicBezTo>
                            <a:pt x="32714" y="46650"/>
                            <a:pt x="32714" y="46590"/>
                            <a:pt x="32774" y="46470"/>
                          </a:cubicBezTo>
                          <a:cubicBezTo>
                            <a:pt x="32834" y="46351"/>
                            <a:pt x="32834" y="46291"/>
                            <a:pt x="32894" y="46171"/>
                          </a:cubicBezTo>
                          <a:cubicBezTo>
                            <a:pt x="32953" y="46052"/>
                            <a:pt x="32953" y="45992"/>
                            <a:pt x="33013" y="45872"/>
                          </a:cubicBezTo>
                          <a:cubicBezTo>
                            <a:pt x="33073" y="45753"/>
                            <a:pt x="33133" y="45573"/>
                            <a:pt x="33193" y="45453"/>
                          </a:cubicBezTo>
                          <a:cubicBezTo>
                            <a:pt x="33253" y="45334"/>
                            <a:pt x="33312" y="45154"/>
                            <a:pt x="33372" y="45035"/>
                          </a:cubicBezTo>
                          <a:cubicBezTo>
                            <a:pt x="33432" y="44915"/>
                            <a:pt x="33492" y="44736"/>
                            <a:pt x="33492" y="44616"/>
                          </a:cubicBezTo>
                          <a:cubicBezTo>
                            <a:pt x="33552" y="44497"/>
                            <a:pt x="33612" y="44317"/>
                            <a:pt x="33612" y="44198"/>
                          </a:cubicBezTo>
                          <a:cubicBezTo>
                            <a:pt x="33671" y="44078"/>
                            <a:pt x="33671" y="44018"/>
                            <a:pt x="33731" y="43899"/>
                          </a:cubicBezTo>
                          <a:cubicBezTo>
                            <a:pt x="33791" y="43779"/>
                            <a:pt x="33791" y="43719"/>
                            <a:pt x="33851" y="43599"/>
                          </a:cubicBezTo>
                          <a:cubicBezTo>
                            <a:pt x="33911" y="43480"/>
                            <a:pt x="33911" y="43360"/>
                            <a:pt x="33911" y="43300"/>
                          </a:cubicBezTo>
                          <a:cubicBezTo>
                            <a:pt x="33911" y="43240"/>
                            <a:pt x="33970" y="43061"/>
                            <a:pt x="33970" y="43001"/>
                          </a:cubicBezTo>
                          <a:cubicBezTo>
                            <a:pt x="34030" y="42643"/>
                            <a:pt x="34150" y="42344"/>
                            <a:pt x="34210" y="41985"/>
                          </a:cubicBezTo>
                          <a:cubicBezTo>
                            <a:pt x="34269" y="41626"/>
                            <a:pt x="34329" y="41327"/>
                            <a:pt x="34389" y="40968"/>
                          </a:cubicBezTo>
                          <a:cubicBezTo>
                            <a:pt x="34449" y="40609"/>
                            <a:pt x="34509" y="40310"/>
                            <a:pt x="34509" y="39951"/>
                          </a:cubicBezTo>
                          <a:cubicBezTo>
                            <a:pt x="34568" y="39592"/>
                            <a:pt x="34568" y="39293"/>
                            <a:pt x="34628" y="38935"/>
                          </a:cubicBezTo>
                          <a:cubicBezTo>
                            <a:pt x="34628" y="38815"/>
                            <a:pt x="34628" y="38695"/>
                            <a:pt x="34628" y="38576"/>
                          </a:cubicBezTo>
                          <a:cubicBezTo>
                            <a:pt x="34628" y="38456"/>
                            <a:pt x="34628" y="38336"/>
                            <a:pt x="34628" y="38217"/>
                          </a:cubicBezTo>
                          <a:cubicBezTo>
                            <a:pt x="34628" y="38097"/>
                            <a:pt x="34628" y="37977"/>
                            <a:pt x="34628" y="37858"/>
                          </a:cubicBezTo>
                          <a:cubicBezTo>
                            <a:pt x="34628" y="37738"/>
                            <a:pt x="34628" y="37619"/>
                            <a:pt x="34628" y="37499"/>
                          </a:cubicBezTo>
                          <a:cubicBezTo>
                            <a:pt x="34628" y="37380"/>
                            <a:pt x="34628" y="37320"/>
                            <a:pt x="34628" y="37200"/>
                          </a:cubicBezTo>
                          <a:cubicBezTo>
                            <a:pt x="34628" y="37081"/>
                            <a:pt x="34628" y="37021"/>
                            <a:pt x="34628" y="36901"/>
                          </a:cubicBezTo>
                          <a:cubicBezTo>
                            <a:pt x="34628" y="36782"/>
                            <a:pt x="34628" y="36722"/>
                            <a:pt x="34628" y="36602"/>
                          </a:cubicBezTo>
                          <a:cubicBezTo>
                            <a:pt x="34628" y="36482"/>
                            <a:pt x="34628" y="36423"/>
                            <a:pt x="34628" y="36303"/>
                          </a:cubicBezTo>
                          <a:cubicBezTo>
                            <a:pt x="34628" y="36064"/>
                            <a:pt x="34568" y="35765"/>
                            <a:pt x="34568" y="35526"/>
                          </a:cubicBezTo>
                          <a:cubicBezTo>
                            <a:pt x="34568" y="35286"/>
                            <a:pt x="34509" y="34987"/>
                            <a:pt x="34449" y="34688"/>
                          </a:cubicBezTo>
                          <a:cubicBezTo>
                            <a:pt x="34389" y="34389"/>
                            <a:pt x="34389" y="34150"/>
                            <a:pt x="34329" y="33851"/>
                          </a:cubicBezTo>
                          <a:cubicBezTo>
                            <a:pt x="34269" y="33552"/>
                            <a:pt x="34210" y="33313"/>
                            <a:pt x="34150" y="33014"/>
                          </a:cubicBezTo>
                          <a:cubicBezTo>
                            <a:pt x="34090" y="32894"/>
                            <a:pt x="34090" y="32774"/>
                            <a:pt x="34030" y="32595"/>
                          </a:cubicBezTo>
                          <a:cubicBezTo>
                            <a:pt x="33970" y="32475"/>
                            <a:pt x="33970" y="32356"/>
                            <a:pt x="33911" y="32176"/>
                          </a:cubicBezTo>
                          <a:cubicBezTo>
                            <a:pt x="33851" y="31997"/>
                            <a:pt x="33851" y="31937"/>
                            <a:pt x="33791" y="31758"/>
                          </a:cubicBezTo>
                          <a:cubicBezTo>
                            <a:pt x="33731" y="31638"/>
                            <a:pt x="33731" y="31519"/>
                            <a:pt x="33671" y="31339"/>
                          </a:cubicBezTo>
                          <a:cubicBezTo>
                            <a:pt x="33612" y="31160"/>
                            <a:pt x="33552" y="31040"/>
                            <a:pt x="33492" y="30860"/>
                          </a:cubicBezTo>
                          <a:cubicBezTo>
                            <a:pt x="33432" y="30681"/>
                            <a:pt x="33372" y="30561"/>
                            <a:pt x="33312" y="30382"/>
                          </a:cubicBezTo>
                          <a:cubicBezTo>
                            <a:pt x="33253" y="30203"/>
                            <a:pt x="33193" y="30083"/>
                            <a:pt x="33133" y="29904"/>
                          </a:cubicBezTo>
                          <a:cubicBezTo>
                            <a:pt x="33073" y="29724"/>
                            <a:pt x="33013" y="29605"/>
                            <a:pt x="32953" y="29425"/>
                          </a:cubicBezTo>
                          <a:cubicBezTo>
                            <a:pt x="32894" y="29246"/>
                            <a:pt x="32774" y="29066"/>
                            <a:pt x="32714" y="28887"/>
                          </a:cubicBezTo>
                          <a:cubicBezTo>
                            <a:pt x="32655" y="28707"/>
                            <a:pt x="32535" y="28528"/>
                            <a:pt x="32475" y="28349"/>
                          </a:cubicBezTo>
                          <a:cubicBezTo>
                            <a:pt x="32415" y="28169"/>
                            <a:pt x="32296" y="27990"/>
                            <a:pt x="32176" y="27811"/>
                          </a:cubicBezTo>
                          <a:cubicBezTo>
                            <a:pt x="32057" y="27631"/>
                            <a:pt x="31997" y="27452"/>
                            <a:pt x="31877" y="27272"/>
                          </a:cubicBezTo>
                          <a:cubicBezTo>
                            <a:pt x="31817" y="27152"/>
                            <a:pt x="31758" y="26973"/>
                            <a:pt x="31638" y="26853"/>
                          </a:cubicBezTo>
                          <a:cubicBezTo>
                            <a:pt x="31578" y="26734"/>
                            <a:pt x="31458" y="26554"/>
                            <a:pt x="31399" y="26435"/>
                          </a:cubicBezTo>
                          <a:cubicBezTo>
                            <a:pt x="31339" y="26315"/>
                            <a:pt x="31219" y="26136"/>
                            <a:pt x="31159" y="26016"/>
                          </a:cubicBezTo>
                          <a:cubicBezTo>
                            <a:pt x="31099" y="25897"/>
                            <a:pt x="30980" y="25717"/>
                            <a:pt x="30920" y="25597"/>
                          </a:cubicBezTo>
                          <a:cubicBezTo>
                            <a:pt x="30741" y="25238"/>
                            <a:pt x="30502" y="24940"/>
                            <a:pt x="30262" y="24581"/>
                          </a:cubicBezTo>
                          <a:cubicBezTo>
                            <a:pt x="30023" y="24222"/>
                            <a:pt x="29844" y="23923"/>
                            <a:pt x="29604" y="23564"/>
                          </a:cubicBezTo>
                          <a:cubicBezTo>
                            <a:pt x="29365" y="23205"/>
                            <a:pt x="29126" y="22906"/>
                            <a:pt x="28887" y="22547"/>
                          </a:cubicBezTo>
                          <a:cubicBezTo>
                            <a:pt x="28648" y="22189"/>
                            <a:pt x="28349" y="21889"/>
                            <a:pt x="28109" y="21530"/>
                          </a:cubicBezTo>
                          <a:cubicBezTo>
                            <a:pt x="27990" y="21411"/>
                            <a:pt x="27870" y="21231"/>
                            <a:pt x="27750" y="21112"/>
                          </a:cubicBezTo>
                          <a:cubicBezTo>
                            <a:pt x="27631" y="20992"/>
                            <a:pt x="27511" y="20813"/>
                            <a:pt x="27391" y="20693"/>
                          </a:cubicBezTo>
                          <a:cubicBezTo>
                            <a:pt x="27272" y="20574"/>
                            <a:pt x="27152" y="20394"/>
                            <a:pt x="27033" y="20275"/>
                          </a:cubicBezTo>
                          <a:cubicBezTo>
                            <a:pt x="26913" y="20155"/>
                            <a:pt x="26794" y="19976"/>
                            <a:pt x="26674" y="19856"/>
                          </a:cubicBezTo>
                          <a:cubicBezTo>
                            <a:pt x="26495" y="19676"/>
                            <a:pt x="26315" y="19437"/>
                            <a:pt x="26136" y="19198"/>
                          </a:cubicBezTo>
                          <a:cubicBezTo>
                            <a:pt x="25956" y="18959"/>
                            <a:pt x="25777" y="18780"/>
                            <a:pt x="25537" y="18540"/>
                          </a:cubicBezTo>
                          <a:cubicBezTo>
                            <a:pt x="25298" y="18301"/>
                            <a:pt x="25119" y="18121"/>
                            <a:pt x="24940" y="17882"/>
                          </a:cubicBezTo>
                          <a:cubicBezTo>
                            <a:pt x="24760" y="17643"/>
                            <a:pt x="24521" y="17464"/>
                            <a:pt x="24341" y="17225"/>
                          </a:cubicBezTo>
                          <a:cubicBezTo>
                            <a:pt x="24162" y="17045"/>
                            <a:pt x="23923" y="16806"/>
                            <a:pt x="23743" y="16626"/>
                          </a:cubicBezTo>
                          <a:cubicBezTo>
                            <a:pt x="23564" y="16447"/>
                            <a:pt x="23325" y="16208"/>
                            <a:pt x="23145" y="16028"/>
                          </a:cubicBezTo>
                          <a:cubicBezTo>
                            <a:pt x="22966" y="15849"/>
                            <a:pt x="22727" y="15610"/>
                            <a:pt x="22487" y="15430"/>
                          </a:cubicBezTo>
                          <a:cubicBezTo>
                            <a:pt x="22248" y="15251"/>
                            <a:pt x="22069" y="15012"/>
                            <a:pt x="21829" y="14832"/>
                          </a:cubicBezTo>
                          <a:cubicBezTo>
                            <a:pt x="21590" y="14593"/>
                            <a:pt x="21351" y="14354"/>
                            <a:pt x="21112" y="14174"/>
                          </a:cubicBezTo>
                          <a:cubicBezTo>
                            <a:pt x="20873" y="13935"/>
                            <a:pt x="20633" y="13696"/>
                            <a:pt x="20394" y="13516"/>
                          </a:cubicBezTo>
                          <a:cubicBezTo>
                            <a:pt x="20155" y="13337"/>
                            <a:pt x="19856" y="13038"/>
                            <a:pt x="19617" y="12799"/>
                          </a:cubicBezTo>
                          <a:cubicBezTo>
                            <a:pt x="19377" y="12559"/>
                            <a:pt x="19079" y="12320"/>
                            <a:pt x="18839" y="12081"/>
                          </a:cubicBezTo>
                          <a:cubicBezTo>
                            <a:pt x="18181" y="11483"/>
                            <a:pt x="17464" y="10885"/>
                            <a:pt x="16746" y="10287"/>
                          </a:cubicBezTo>
                          <a:cubicBezTo>
                            <a:pt x="16028" y="9689"/>
                            <a:pt x="15311" y="9091"/>
                            <a:pt x="14533" y="8493"/>
                          </a:cubicBezTo>
                          <a:cubicBezTo>
                            <a:pt x="13756" y="7895"/>
                            <a:pt x="12978" y="7237"/>
                            <a:pt x="12141" y="6639"/>
                          </a:cubicBezTo>
                          <a:cubicBezTo>
                            <a:pt x="11303" y="6041"/>
                            <a:pt x="10466" y="5383"/>
                            <a:pt x="9629" y="4725"/>
                          </a:cubicBezTo>
                          <a:lnTo>
                            <a:pt x="8851" y="5742"/>
                          </a:lnTo>
                          <a:cubicBezTo>
                            <a:pt x="10347" y="6818"/>
                            <a:pt x="11722" y="7895"/>
                            <a:pt x="13098" y="8971"/>
                          </a:cubicBezTo>
                          <a:cubicBezTo>
                            <a:pt x="14413" y="10048"/>
                            <a:pt x="15729" y="11064"/>
                            <a:pt x="16925" y="12081"/>
                          </a:cubicBezTo>
                          <a:cubicBezTo>
                            <a:pt x="18121" y="13098"/>
                            <a:pt x="19258" y="14114"/>
                            <a:pt x="20334" y="15072"/>
                          </a:cubicBezTo>
                          <a:cubicBezTo>
                            <a:pt x="21411" y="16028"/>
                            <a:pt x="22368" y="16985"/>
                            <a:pt x="23325" y="17942"/>
                          </a:cubicBezTo>
                          <a:cubicBezTo>
                            <a:pt x="23504" y="18121"/>
                            <a:pt x="23624" y="18301"/>
                            <a:pt x="23803" y="18421"/>
                          </a:cubicBezTo>
                          <a:cubicBezTo>
                            <a:pt x="23982" y="18540"/>
                            <a:pt x="24102" y="18720"/>
                            <a:pt x="24282" y="18899"/>
                          </a:cubicBezTo>
                          <a:cubicBezTo>
                            <a:pt x="24461" y="19079"/>
                            <a:pt x="24581" y="19198"/>
                            <a:pt x="24760" y="19377"/>
                          </a:cubicBezTo>
                          <a:cubicBezTo>
                            <a:pt x="24940" y="19557"/>
                            <a:pt x="25059" y="19676"/>
                            <a:pt x="25179" y="19856"/>
                          </a:cubicBezTo>
                          <a:cubicBezTo>
                            <a:pt x="25358" y="20035"/>
                            <a:pt x="25478" y="20215"/>
                            <a:pt x="25657" y="20394"/>
                          </a:cubicBezTo>
                          <a:cubicBezTo>
                            <a:pt x="25836" y="20574"/>
                            <a:pt x="25956" y="20753"/>
                            <a:pt x="26136" y="20933"/>
                          </a:cubicBezTo>
                          <a:cubicBezTo>
                            <a:pt x="26315" y="21112"/>
                            <a:pt x="26435" y="21291"/>
                            <a:pt x="26614" y="21471"/>
                          </a:cubicBezTo>
                          <a:cubicBezTo>
                            <a:pt x="26794" y="21650"/>
                            <a:pt x="26913" y="21830"/>
                            <a:pt x="27033" y="22009"/>
                          </a:cubicBezTo>
                          <a:cubicBezTo>
                            <a:pt x="27152" y="22129"/>
                            <a:pt x="27212" y="22248"/>
                            <a:pt x="27332" y="22428"/>
                          </a:cubicBezTo>
                          <a:cubicBezTo>
                            <a:pt x="27451" y="22547"/>
                            <a:pt x="27511" y="22667"/>
                            <a:pt x="27631" y="22846"/>
                          </a:cubicBezTo>
                          <a:cubicBezTo>
                            <a:pt x="27750" y="22966"/>
                            <a:pt x="27810" y="23085"/>
                            <a:pt x="27930" y="23205"/>
                          </a:cubicBezTo>
                          <a:cubicBezTo>
                            <a:pt x="28050" y="23325"/>
                            <a:pt x="28109" y="23444"/>
                            <a:pt x="28229" y="23564"/>
                          </a:cubicBezTo>
                          <a:cubicBezTo>
                            <a:pt x="28468" y="23923"/>
                            <a:pt x="28707" y="24222"/>
                            <a:pt x="28946" y="24521"/>
                          </a:cubicBezTo>
                          <a:cubicBezTo>
                            <a:pt x="29186" y="24820"/>
                            <a:pt x="29365" y="25179"/>
                            <a:pt x="29604" y="25478"/>
                          </a:cubicBezTo>
                          <a:cubicBezTo>
                            <a:pt x="29784" y="25777"/>
                            <a:pt x="30023" y="26136"/>
                            <a:pt x="30203" y="26435"/>
                          </a:cubicBezTo>
                          <a:cubicBezTo>
                            <a:pt x="30382" y="26734"/>
                            <a:pt x="30561" y="27092"/>
                            <a:pt x="30741" y="27392"/>
                          </a:cubicBezTo>
                          <a:cubicBezTo>
                            <a:pt x="30801" y="27511"/>
                            <a:pt x="30860" y="27691"/>
                            <a:pt x="30980" y="27811"/>
                          </a:cubicBezTo>
                          <a:cubicBezTo>
                            <a:pt x="31040" y="27930"/>
                            <a:pt x="31099" y="28109"/>
                            <a:pt x="31159" y="28229"/>
                          </a:cubicBezTo>
                          <a:cubicBezTo>
                            <a:pt x="31219" y="28349"/>
                            <a:pt x="31279" y="28528"/>
                            <a:pt x="31339" y="28648"/>
                          </a:cubicBezTo>
                          <a:cubicBezTo>
                            <a:pt x="31399" y="28767"/>
                            <a:pt x="31458" y="28887"/>
                            <a:pt x="31518" y="29066"/>
                          </a:cubicBezTo>
                          <a:cubicBezTo>
                            <a:pt x="31518" y="29126"/>
                            <a:pt x="31578" y="29186"/>
                            <a:pt x="31578" y="29246"/>
                          </a:cubicBezTo>
                          <a:cubicBezTo>
                            <a:pt x="31578" y="29306"/>
                            <a:pt x="31638" y="29365"/>
                            <a:pt x="31638" y="29425"/>
                          </a:cubicBezTo>
                          <a:cubicBezTo>
                            <a:pt x="31638" y="29485"/>
                            <a:pt x="31698" y="29545"/>
                            <a:pt x="31698" y="29605"/>
                          </a:cubicBezTo>
                          <a:cubicBezTo>
                            <a:pt x="31698" y="29665"/>
                            <a:pt x="31758" y="29724"/>
                            <a:pt x="31758" y="29784"/>
                          </a:cubicBezTo>
                          <a:cubicBezTo>
                            <a:pt x="31817" y="29904"/>
                            <a:pt x="31877" y="30083"/>
                            <a:pt x="31937" y="30203"/>
                          </a:cubicBezTo>
                          <a:cubicBezTo>
                            <a:pt x="31997" y="30322"/>
                            <a:pt x="32057" y="30502"/>
                            <a:pt x="32116" y="30621"/>
                          </a:cubicBezTo>
                          <a:cubicBezTo>
                            <a:pt x="32176" y="30741"/>
                            <a:pt x="32236" y="30920"/>
                            <a:pt x="32296" y="31040"/>
                          </a:cubicBezTo>
                          <a:cubicBezTo>
                            <a:pt x="32356" y="31160"/>
                            <a:pt x="32415" y="31279"/>
                            <a:pt x="32415" y="31459"/>
                          </a:cubicBezTo>
                          <a:cubicBezTo>
                            <a:pt x="32475" y="31638"/>
                            <a:pt x="32535" y="31758"/>
                            <a:pt x="32595" y="31937"/>
                          </a:cubicBezTo>
                          <a:cubicBezTo>
                            <a:pt x="32655" y="32116"/>
                            <a:pt x="32714" y="32236"/>
                            <a:pt x="32714" y="32415"/>
                          </a:cubicBezTo>
                          <a:cubicBezTo>
                            <a:pt x="32774" y="32595"/>
                            <a:pt x="32774" y="32714"/>
                            <a:pt x="32834" y="32894"/>
                          </a:cubicBezTo>
                          <a:cubicBezTo>
                            <a:pt x="32894" y="33073"/>
                            <a:pt x="32894" y="33193"/>
                            <a:pt x="32953" y="33373"/>
                          </a:cubicBezTo>
                          <a:cubicBezTo>
                            <a:pt x="33013" y="33612"/>
                            <a:pt x="33073" y="33911"/>
                            <a:pt x="33133" y="34150"/>
                          </a:cubicBezTo>
                          <a:cubicBezTo>
                            <a:pt x="33193" y="34389"/>
                            <a:pt x="33253" y="34688"/>
                            <a:pt x="33253" y="34928"/>
                          </a:cubicBezTo>
                          <a:cubicBezTo>
                            <a:pt x="33312" y="35167"/>
                            <a:pt x="33312" y="35466"/>
                            <a:pt x="33372" y="35705"/>
                          </a:cubicBezTo>
                          <a:cubicBezTo>
                            <a:pt x="33372" y="35944"/>
                            <a:pt x="33432" y="36243"/>
                            <a:pt x="33432" y="36482"/>
                          </a:cubicBezTo>
                          <a:cubicBezTo>
                            <a:pt x="33432" y="36482"/>
                            <a:pt x="33432" y="36482"/>
                            <a:pt x="33432" y="36482"/>
                          </a:cubicBezTo>
                          <a:cubicBezTo>
                            <a:pt x="33432" y="36482"/>
                            <a:pt x="33432" y="36482"/>
                            <a:pt x="33432" y="36482"/>
                          </a:cubicBezTo>
                          <a:cubicBezTo>
                            <a:pt x="33432" y="36482"/>
                            <a:pt x="33432" y="36482"/>
                            <a:pt x="33432" y="36482"/>
                          </a:cubicBezTo>
                          <a:cubicBezTo>
                            <a:pt x="33432" y="36482"/>
                            <a:pt x="33432" y="36482"/>
                            <a:pt x="33432" y="36482"/>
                          </a:cubicBezTo>
                          <a:cubicBezTo>
                            <a:pt x="33432" y="36602"/>
                            <a:pt x="33432" y="36722"/>
                            <a:pt x="33432" y="36841"/>
                          </a:cubicBezTo>
                          <a:cubicBezTo>
                            <a:pt x="33432" y="36961"/>
                            <a:pt x="33432" y="37081"/>
                            <a:pt x="33432" y="37200"/>
                          </a:cubicBezTo>
                          <a:cubicBezTo>
                            <a:pt x="33432" y="37320"/>
                            <a:pt x="33432" y="37439"/>
                            <a:pt x="33432" y="37559"/>
                          </a:cubicBezTo>
                          <a:cubicBezTo>
                            <a:pt x="33432" y="37678"/>
                            <a:pt x="33432" y="37798"/>
                            <a:pt x="33432" y="37918"/>
                          </a:cubicBezTo>
                          <a:cubicBezTo>
                            <a:pt x="33432" y="38277"/>
                            <a:pt x="33432" y="38576"/>
                            <a:pt x="33372" y="38935"/>
                          </a:cubicBezTo>
                          <a:cubicBezTo>
                            <a:pt x="33372" y="39293"/>
                            <a:pt x="33312" y="39592"/>
                            <a:pt x="33253" y="39951"/>
                          </a:cubicBezTo>
                          <a:cubicBezTo>
                            <a:pt x="33193" y="40310"/>
                            <a:pt x="33133" y="40609"/>
                            <a:pt x="33073" y="40968"/>
                          </a:cubicBezTo>
                          <a:cubicBezTo>
                            <a:pt x="33013" y="41327"/>
                            <a:pt x="32953" y="41626"/>
                            <a:pt x="32834" y="41985"/>
                          </a:cubicBezTo>
                          <a:cubicBezTo>
                            <a:pt x="32834" y="42104"/>
                            <a:pt x="32774" y="42224"/>
                            <a:pt x="32774" y="42284"/>
                          </a:cubicBezTo>
                          <a:cubicBezTo>
                            <a:pt x="32774" y="42403"/>
                            <a:pt x="32714" y="42523"/>
                            <a:pt x="32714" y="42583"/>
                          </a:cubicBezTo>
                          <a:cubicBezTo>
                            <a:pt x="32714" y="42702"/>
                            <a:pt x="32655" y="42822"/>
                            <a:pt x="32655" y="42882"/>
                          </a:cubicBezTo>
                          <a:cubicBezTo>
                            <a:pt x="32595" y="43001"/>
                            <a:pt x="32595" y="43121"/>
                            <a:pt x="32535" y="43181"/>
                          </a:cubicBezTo>
                          <a:cubicBezTo>
                            <a:pt x="32475" y="43300"/>
                            <a:pt x="32475" y="43480"/>
                            <a:pt x="32415" y="43599"/>
                          </a:cubicBezTo>
                          <a:cubicBezTo>
                            <a:pt x="32356" y="43719"/>
                            <a:pt x="32296" y="43899"/>
                            <a:pt x="32296" y="44018"/>
                          </a:cubicBezTo>
                          <a:cubicBezTo>
                            <a:pt x="32236" y="44138"/>
                            <a:pt x="32176" y="44317"/>
                            <a:pt x="32176" y="44437"/>
                          </a:cubicBezTo>
                          <a:cubicBezTo>
                            <a:pt x="32116" y="44556"/>
                            <a:pt x="32057" y="44736"/>
                            <a:pt x="31997" y="44855"/>
                          </a:cubicBezTo>
                          <a:cubicBezTo>
                            <a:pt x="31937" y="44975"/>
                            <a:pt x="31937" y="45035"/>
                            <a:pt x="31877" y="45154"/>
                          </a:cubicBezTo>
                          <a:cubicBezTo>
                            <a:pt x="31817" y="45274"/>
                            <a:pt x="31817" y="45334"/>
                            <a:pt x="31758" y="45453"/>
                          </a:cubicBezTo>
                          <a:cubicBezTo>
                            <a:pt x="31698" y="45573"/>
                            <a:pt x="31698" y="45633"/>
                            <a:pt x="31638" y="45753"/>
                          </a:cubicBezTo>
                          <a:cubicBezTo>
                            <a:pt x="31578" y="45872"/>
                            <a:pt x="31578" y="45932"/>
                            <a:pt x="31518" y="46052"/>
                          </a:cubicBezTo>
                          <a:cubicBezTo>
                            <a:pt x="31339" y="46530"/>
                            <a:pt x="31099" y="47008"/>
                            <a:pt x="30860" y="47487"/>
                          </a:cubicBezTo>
                          <a:cubicBezTo>
                            <a:pt x="30621" y="47966"/>
                            <a:pt x="30382" y="48444"/>
                            <a:pt x="30143" y="48922"/>
                          </a:cubicBezTo>
                          <a:cubicBezTo>
                            <a:pt x="29904" y="49401"/>
                            <a:pt x="29604" y="49879"/>
                            <a:pt x="29365" y="50358"/>
                          </a:cubicBezTo>
                          <a:cubicBezTo>
                            <a:pt x="29066" y="50836"/>
                            <a:pt x="28767" y="51315"/>
                            <a:pt x="28468" y="51793"/>
                          </a:cubicBezTo>
                          <a:cubicBezTo>
                            <a:pt x="28408" y="51853"/>
                            <a:pt x="28349" y="51972"/>
                            <a:pt x="28289" y="52032"/>
                          </a:cubicBezTo>
                          <a:cubicBezTo>
                            <a:pt x="28229" y="52092"/>
                            <a:pt x="28169" y="52212"/>
                            <a:pt x="28109" y="52271"/>
                          </a:cubicBezTo>
                          <a:cubicBezTo>
                            <a:pt x="28050" y="52331"/>
                            <a:pt x="27990" y="52451"/>
                            <a:pt x="27930" y="52511"/>
                          </a:cubicBezTo>
                          <a:cubicBezTo>
                            <a:pt x="27870" y="52570"/>
                            <a:pt x="27810" y="52690"/>
                            <a:pt x="27750" y="52750"/>
                          </a:cubicBezTo>
                          <a:cubicBezTo>
                            <a:pt x="27272" y="53468"/>
                            <a:pt x="26734" y="54245"/>
                            <a:pt x="26196" y="55023"/>
                          </a:cubicBezTo>
                          <a:cubicBezTo>
                            <a:pt x="25657" y="55800"/>
                            <a:pt x="25059" y="56518"/>
                            <a:pt x="24461" y="57295"/>
                          </a:cubicBezTo>
                          <a:cubicBezTo>
                            <a:pt x="23863" y="58073"/>
                            <a:pt x="23265" y="58850"/>
                            <a:pt x="22607" y="59628"/>
                          </a:cubicBezTo>
                          <a:cubicBezTo>
                            <a:pt x="22009" y="60764"/>
                            <a:pt x="21351" y="61541"/>
                            <a:pt x="20693" y="62379"/>
                          </a:cubicBezTo>
                          <a:moveTo>
                            <a:pt x="18600" y="60944"/>
                          </a:moveTo>
                          <a:lnTo>
                            <a:pt x="19497" y="61541"/>
                          </a:lnTo>
                          <a:cubicBezTo>
                            <a:pt x="20155" y="60704"/>
                            <a:pt x="20873" y="59927"/>
                            <a:pt x="21471" y="59149"/>
                          </a:cubicBezTo>
                          <a:cubicBezTo>
                            <a:pt x="22069" y="58372"/>
                            <a:pt x="22727" y="57594"/>
                            <a:pt x="23325" y="56817"/>
                          </a:cubicBezTo>
                          <a:cubicBezTo>
                            <a:pt x="23923" y="56039"/>
                            <a:pt x="24461" y="55262"/>
                            <a:pt x="25059" y="54544"/>
                          </a:cubicBezTo>
                          <a:cubicBezTo>
                            <a:pt x="25597" y="53767"/>
                            <a:pt x="26136" y="53049"/>
                            <a:pt x="26614" y="52331"/>
                          </a:cubicBezTo>
                          <a:cubicBezTo>
                            <a:pt x="26674" y="52271"/>
                            <a:pt x="26734" y="52152"/>
                            <a:pt x="26794" y="52092"/>
                          </a:cubicBezTo>
                          <a:cubicBezTo>
                            <a:pt x="26853" y="52032"/>
                            <a:pt x="26913" y="51913"/>
                            <a:pt x="26973" y="51853"/>
                          </a:cubicBezTo>
                          <a:cubicBezTo>
                            <a:pt x="27033" y="51793"/>
                            <a:pt x="27092" y="51674"/>
                            <a:pt x="27152" y="51614"/>
                          </a:cubicBezTo>
                          <a:cubicBezTo>
                            <a:pt x="27212" y="51554"/>
                            <a:pt x="27272" y="51434"/>
                            <a:pt x="27332" y="51375"/>
                          </a:cubicBezTo>
                          <a:cubicBezTo>
                            <a:pt x="27631" y="50896"/>
                            <a:pt x="27930" y="50417"/>
                            <a:pt x="28229" y="49939"/>
                          </a:cubicBezTo>
                          <a:cubicBezTo>
                            <a:pt x="28528" y="49461"/>
                            <a:pt x="28767" y="48982"/>
                            <a:pt x="29006" y="48504"/>
                          </a:cubicBezTo>
                          <a:cubicBezTo>
                            <a:pt x="29245" y="48025"/>
                            <a:pt x="29485" y="47547"/>
                            <a:pt x="29724" y="47068"/>
                          </a:cubicBezTo>
                          <a:cubicBezTo>
                            <a:pt x="29963" y="46590"/>
                            <a:pt x="30143" y="46111"/>
                            <a:pt x="30322" y="45633"/>
                          </a:cubicBezTo>
                          <a:cubicBezTo>
                            <a:pt x="30382" y="45513"/>
                            <a:pt x="30382" y="45453"/>
                            <a:pt x="30442" y="45334"/>
                          </a:cubicBezTo>
                          <a:cubicBezTo>
                            <a:pt x="30502" y="45214"/>
                            <a:pt x="30502" y="45154"/>
                            <a:pt x="30561" y="45035"/>
                          </a:cubicBezTo>
                          <a:cubicBezTo>
                            <a:pt x="30621" y="44915"/>
                            <a:pt x="30621" y="44855"/>
                            <a:pt x="30681" y="44736"/>
                          </a:cubicBezTo>
                          <a:cubicBezTo>
                            <a:pt x="30741" y="44616"/>
                            <a:pt x="30741" y="44556"/>
                            <a:pt x="30801" y="44437"/>
                          </a:cubicBezTo>
                          <a:cubicBezTo>
                            <a:pt x="30860" y="44317"/>
                            <a:pt x="30920" y="44138"/>
                            <a:pt x="30920" y="44018"/>
                          </a:cubicBezTo>
                          <a:cubicBezTo>
                            <a:pt x="30980" y="43899"/>
                            <a:pt x="31040" y="43719"/>
                            <a:pt x="31040" y="43599"/>
                          </a:cubicBezTo>
                          <a:cubicBezTo>
                            <a:pt x="31099" y="43480"/>
                            <a:pt x="31099" y="43300"/>
                            <a:pt x="31159" y="43181"/>
                          </a:cubicBezTo>
                          <a:cubicBezTo>
                            <a:pt x="31219" y="43061"/>
                            <a:pt x="31219" y="42882"/>
                            <a:pt x="31279" y="42762"/>
                          </a:cubicBezTo>
                          <a:cubicBezTo>
                            <a:pt x="31279" y="42643"/>
                            <a:pt x="31339" y="42523"/>
                            <a:pt x="31339" y="42463"/>
                          </a:cubicBezTo>
                          <a:cubicBezTo>
                            <a:pt x="31339" y="42344"/>
                            <a:pt x="31399" y="42224"/>
                            <a:pt x="31399" y="42164"/>
                          </a:cubicBezTo>
                          <a:cubicBezTo>
                            <a:pt x="31399" y="42044"/>
                            <a:pt x="31458" y="41925"/>
                            <a:pt x="31458" y="41865"/>
                          </a:cubicBezTo>
                          <a:cubicBezTo>
                            <a:pt x="31458" y="41745"/>
                            <a:pt x="31518" y="41626"/>
                            <a:pt x="31518" y="41566"/>
                          </a:cubicBezTo>
                          <a:cubicBezTo>
                            <a:pt x="31578" y="41207"/>
                            <a:pt x="31638" y="40848"/>
                            <a:pt x="31698" y="40490"/>
                          </a:cubicBezTo>
                          <a:cubicBezTo>
                            <a:pt x="31758" y="40131"/>
                            <a:pt x="31758" y="39772"/>
                            <a:pt x="31817" y="39413"/>
                          </a:cubicBezTo>
                          <a:cubicBezTo>
                            <a:pt x="31817" y="39054"/>
                            <a:pt x="31877" y="38695"/>
                            <a:pt x="31877" y="38336"/>
                          </a:cubicBezTo>
                          <a:cubicBezTo>
                            <a:pt x="31877" y="37977"/>
                            <a:pt x="31877" y="37619"/>
                            <a:pt x="31877" y="37260"/>
                          </a:cubicBezTo>
                          <a:cubicBezTo>
                            <a:pt x="31877" y="37260"/>
                            <a:pt x="31877" y="37200"/>
                            <a:pt x="31877" y="37200"/>
                          </a:cubicBezTo>
                          <a:cubicBezTo>
                            <a:pt x="31877" y="37200"/>
                            <a:pt x="31877" y="37140"/>
                            <a:pt x="31877" y="37140"/>
                          </a:cubicBezTo>
                          <a:cubicBezTo>
                            <a:pt x="31877" y="37140"/>
                            <a:pt x="31877" y="37081"/>
                            <a:pt x="31877" y="37081"/>
                          </a:cubicBezTo>
                          <a:cubicBezTo>
                            <a:pt x="31877" y="37081"/>
                            <a:pt x="31877" y="37021"/>
                            <a:pt x="31877" y="37021"/>
                          </a:cubicBezTo>
                          <a:cubicBezTo>
                            <a:pt x="31877" y="36961"/>
                            <a:pt x="31877" y="36901"/>
                            <a:pt x="31877" y="36841"/>
                          </a:cubicBezTo>
                          <a:cubicBezTo>
                            <a:pt x="31877" y="36782"/>
                            <a:pt x="31877" y="36722"/>
                            <a:pt x="31877" y="36662"/>
                          </a:cubicBezTo>
                          <a:cubicBezTo>
                            <a:pt x="31877" y="36602"/>
                            <a:pt x="31877" y="36542"/>
                            <a:pt x="31877" y="36482"/>
                          </a:cubicBezTo>
                          <a:cubicBezTo>
                            <a:pt x="31877" y="36423"/>
                            <a:pt x="31877" y="36363"/>
                            <a:pt x="31877" y="36303"/>
                          </a:cubicBezTo>
                          <a:cubicBezTo>
                            <a:pt x="31877" y="36123"/>
                            <a:pt x="31817" y="35944"/>
                            <a:pt x="31817" y="35824"/>
                          </a:cubicBezTo>
                          <a:cubicBezTo>
                            <a:pt x="31817" y="35645"/>
                            <a:pt x="31758" y="35466"/>
                            <a:pt x="31758" y="35286"/>
                          </a:cubicBezTo>
                          <a:cubicBezTo>
                            <a:pt x="31758" y="35107"/>
                            <a:pt x="31698" y="34928"/>
                            <a:pt x="31638" y="34748"/>
                          </a:cubicBezTo>
                          <a:cubicBezTo>
                            <a:pt x="31578" y="34568"/>
                            <a:pt x="31578" y="34389"/>
                            <a:pt x="31518" y="34210"/>
                          </a:cubicBezTo>
                          <a:cubicBezTo>
                            <a:pt x="31458" y="34030"/>
                            <a:pt x="31399" y="33791"/>
                            <a:pt x="31399" y="33612"/>
                          </a:cubicBezTo>
                          <a:cubicBezTo>
                            <a:pt x="31339" y="33432"/>
                            <a:pt x="31279" y="33193"/>
                            <a:pt x="31219" y="33014"/>
                          </a:cubicBezTo>
                          <a:cubicBezTo>
                            <a:pt x="31159" y="32834"/>
                            <a:pt x="31099" y="32595"/>
                            <a:pt x="31040" y="32415"/>
                          </a:cubicBezTo>
                          <a:cubicBezTo>
                            <a:pt x="30980" y="32236"/>
                            <a:pt x="30920" y="31997"/>
                            <a:pt x="30860" y="31817"/>
                          </a:cubicBezTo>
                          <a:cubicBezTo>
                            <a:pt x="30801" y="31698"/>
                            <a:pt x="30741" y="31519"/>
                            <a:pt x="30681" y="31399"/>
                          </a:cubicBezTo>
                          <a:cubicBezTo>
                            <a:pt x="30621" y="31279"/>
                            <a:pt x="30561" y="31100"/>
                            <a:pt x="30502" y="30980"/>
                          </a:cubicBezTo>
                          <a:cubicBezTo>
                            <a:pt x="30442" y="30860"/>
                            <a:pt x="30382" y="30681"/>
                            <a:pt x="30322" y="30561"/>
                          </a:cubicBezTo>
                          <a:cubicBezTo>
                            <a:pt x="30262" y="30442"/>
                            <a:pt x="30203" y="30262"/>
                            <a:pt x="30143" y="30143"/>
                          </a:cubicBezTo>
                          <a:cubicBezTo>
                            <a:pt x="30083" y="29963"/>
                            <a:pt x="29963" y="29844"/>
                            <a:pt x="29904" y="29665"/>
                          </a:cubicBezTo>
                          <a:cubicBezTo>
                            <a:pt x="29844" y="29485"/>
                            <a:pt x="29724" y="29306"/>
                            <a:pt x="29664" y="29186"/>
                          </a:cubicBezTo>
                          <a:cubicBezTo>
                            <a:pt x="29604" y="29066"/>
                            <a:pt x="29485" y="28827"/>
                            <a:pt x="29425" y="28707"/>
                          </a:cubicBezTo>
                          <a:cubicBezTo>
                            <a:pt x="29365" y="28528"/>
                            <a:pt x="29245" y="28349"/>
                            <a:pt x="29126" y="28229"/>
                          </a:cubicBezTo>
                          <a:cubicBezTo>
                            <a:pt x="29066" y="28109"/>
                            <a:pt x="28946" y="27930"/>
                            <a:pt x="28887" y="27811"/>
                          </a:cubicBezTo>
                          <a:cubicBezTo>
                            <a:pt x="28827" y="27631"/>
                            <a:pt x="28707" y="27511"/>
                            <a:pt x="28588" y="27332"/>
                          </a:cubicBezTo>
                          <a:cubicBezTo>
                            <a:pt x="28468" y="27152"/>
                            <a:pt x="28408" y="27033"/>
                            <a:pt x="28289" y="26853"/>
                          </a:cubicBezTo>
                          <a:cubicBezTo>
                            <a:pt x="28169" y="26674"/>
                            <a:pt x="28109" y="26554"/>
                            <a:pt x="27990" y="26375"/>
                          </a:cubicBezTo>
                          <a:cubicBezTo>
                            <a:pt x="27930" y="26255"/>
                            <a:pt x="27810" y="26136"/>
                            <a:pt x="27750" y="26016"/>
                          </a:cubicBezTo>
                          <a:cubicBezTo>
                            <a:pt x="27691" y="25897"/>
                            <a:pt x="27571" y="25777"/>
                            <a:pt x="27511" y="25657"/>
                          </a:cubicBezTo>
                          <a:cubicBezTo>
                            <a:pt x="27451" y="25538"/>
                            <a:pt x="27332" y="25418"/>
                            <a:pt x="27272" y="25298"/>
                          </a:cubicBezTo>
                          <a:cubicBezTo>
                            <a:pt x="27212" y="25179"/>
                            <a:pt x="27092" y="25059"/>
                            <a:pt x="27033" y="24940"/>
                          </a:cubicBezTo>
                          <a:cubicBezTo>
                            <a:pt x="26913" y="24760"/>
                            <a:pt x="26794" y="24641"/>
                            <a:pt x="26674" y="24461"/>
                          </a:cubicBezTo>
                          <a:cubicBezTo>
                            <a:pt x="26554" y="24282"/>
                            <a:pt x="26435" y="24162"/>
                            <a:pt x="26315" y="23983"/>
                          </a:cubicBezTo>
                          <a:cubicBezTo>
                            <a:pt x="26196" y="23803"/>
                            <a:pt x="26076" y="23684"/>
                            <a:pt x="25956" y="23504"/>
                          </a:cubicBezTo>
                          <a:cubicBezTo>
                            <a:pt x="25836" y="23325"/>
                            <a:pt x="25717" y="23205"/>
                            <a:pt x="25537" y="23026"/>
                          </a:cubicBezTo>
                          <a:cubicBezTo>
                            <a:pt x="25418" y="22906"/>
                            <a:pt x="25298" y="22787"/>
                            <a:pt x="25179" y="22607"/>
                          </a:cubicBezTo>
                          <a:cubicBezTo>
                            <a:pt x="25059" y="22428"/>
                            <a:pt x="24940" y="22308"/>
                            <a:pt x="24820" y="22189"/>
                          </a:cubicBezTo>
                          <a:cubicBezTo>
                            <a:pt x="24700" y="22069"/>
                            <a:pt x="24581" y="21889"/>
                            <a:pt x="24461" y="21770"/>
                          </a:cubicBezTo>
                          <a:cubicBezTo>
                            <a:pt x="24341" y="21650"/>
                            <a:pt x="24222" y="21471"/>
                            <a:pt x="24102" y="21351"/>
                          </a:cubicBezTo>
                          <a:cubicBezTo>
                            <a:pt x="23145" y="20275"/>
                            <a:pt x="22069" y="19198"/>
                            <a:pt x="20933" y="18062"/>
                          </a:cubicBezTo>
                          <a:cubicBezTo>
                            <a:pt x="19796" y="16926"/>
                            <a:pt x="18540" y="15789"/>
                            <a:pt x="17165" y="14593"/>
                          </a:cubicBezTo>
                          <a:cubicBezTo>
                            <a:pt x="15789" y="13397"/>
                            <a:pt x="14354" y="12201"/>
                            <a:pt x="12858" y="11005"/>
                          </a:cubicBezTo>
                          <a:cubicBezTo>
                            <a:pt x="11303" y="9749"/>
                            <a:pt x="9689" y="8493"/>
                            <a:pt x="7894" y="7237"/>
                          </a:cubicBezTo>
                          <a:lnTo>
                            <a:pt x="7117" y="8253"/>
                          </a:lnTo>
                          <a:cubicBezTo>
                            <a:pt x="9031" y="9629"/>
                            <a:pt x="10825" y="11005"/>
                            <a:pt x="12500" y="12380"/>
                          </a:cubicBezTo>
                          <a:cubicBezTo>
                            <a:pt x="14174" y="13696"/>
                            <a:pt x="15729" y="15012"/>
                            <a:pt x="17105" y="16267"/>
                          </a:cubicBezTo>
                          <a:cubicBezTo>
                            <a:pt x="18540" y="17523"/>
                            <a:pt x="19856" y="18780"/>
                            <a:pt x="20992" y="19976"/>
                          </a:cubicBezTo>
                          <a:cubicBezTo>
                            <a:pt x="22188" y="21172"/>
                            <a:pt x="23265" y="22368"/>
                            <a:pt x="24222" y="23504"/>
                          </a:cubicBezTo>
                          <a:cubicBezTo>
                            <a:pt x="24341" y="23624"/>
                            <a:pt x="24401" y="23743"/>
                            <a:pt x="24521" y="23863"/>
                          </a:cubicBezTo>
                          <a:cubicBezTo>
                            <a:pt x="24641" y="23983"/>
                            <a:pt x="24700" y="24102"/>
                            <a:pt x="24820" y="24222"/>
                          </a:cubicBezTo>
                          <a:cubicBezTo>
                            <a:pt x="24940" y="24342"/>
                            <a:pt x="24999" y="24461"/>
                            <a:pt x="25119" y="24581"/>
                          </a:cubicBezTo>
                          <a:cubicBezTo>
                            <a:pt x="25238" y="24700"/>
                            <a:pt x="25298" y="24820"/>
                            <a:pt x="25418" y="24940"/>
                          </a:cubicBezTo>
                          <a:cubicBezTo>
                            <a:pt x="25537" y="25059"/>
                            <a:pt x="25597" y="25179"/>
                            <a:pt x="25717" y="25298"/>
                          </a:cubicBezTo>
                          <a:cubicBezTo>
                            <a:pt x="25836" y="25418"/>
                            <a:pt x="25896" y="25538"/>
                            <a:pt x="26016" y="25657"/>
                          </a:cubicBezTo>
                          <a:cubicBezTo>
                            <a:pt x="26076" y="25777"/>
                            <a:pt x="26196" y="25897"/>
                            <a:pt x="26255" y="26016"/>
                          </a:cubicBezTo>
                          <a:cubicBezTo>
                            <a:pt x="26315" y="26136"/>
                            <a:pt x="26435" y="26255"/>
                            <a:pt x="26495" y="26375"/>
                          </a:cubicBezTo>
                          <a:cubicBezTo>
                            <a:pt x="26495" y="26435"/>
                            <a:pt x="26554" y="26435"/>
                            <a:pt x="26554" y="26495"/>
                          </a:cubicBezTo>
                          <a:cubicBezTo>
                            <a:pt x="26554" y="26554"/>
                            <a:pt x="26614" y="26554"/>
                            <a:pt x="26614" y="26614"/>
                          </a:cubicBezTo>
                          <a:cubicBezTo>
                            <a:pt x="26614" y="26674"/>
                            <a:pt x="26674" y="26674"/>
                            <a:pt x="26674" y="26734"/>
                          </a:cubicBezTo>
                          <a:cubicBezTo>
                            <a:pt x="26674" y="26794"/>
                            <a:pt x="26734" y="26794"/>
                            <a:pt x="26734" y="26794"/>
                          </a:cubicBezTo>
                          <a:cubicBezTo>
                            <a:pt x="26794" y="26913"/>
                            <a:pt x="26913" y="27033"/>
                            <a:pt x="26973" y="27152"/>
                          </a:cubicBezTo>
                          <a:cubicBezTo>
                            <a:pt x="27033" y="27272"/>
                            <a:pt x="27152" y="27392"/>
                            <a:pt x="27212" y="27511"/>
                          </a:cubicBezTo>
                          <a:cubicBezTo>
                            <a:pt x="27272" y="27631"/>
                            <a:pt x="27332" y="27751"/>
                            <a:pt x="27451" y="27870"/>
                          </a:cubicBezTo>
                          <a:cubicBezTo>
                            <a:pt x="27571" y="27990"/>
                            <a:pt x="27571" y="28109"/>
                            <a:pt x="27691" y="28229"/>
                          </a:cubicBezTo>
                          <a:cubicBezTo>
                            <a:pt x="27750" y="28289"/>
                            <a:pt x="27750" y="28349"/>
                            <a:pt x="27810" y="28468"/>
                          </a:cubicBezTo>
                          <a:cubicBezTo>
                            <a:pt x="27870" y="28528"/>
                            <a:pt x="27870" y="28588"/>
                            <a:pt x="27930" y="28707"/>
                          </a:cubicBezTo>
                          <a:cubicBezTo>
                            <a:pt x="27990" y="28767"/>
                            <a:pt x="27990" y="28827"/>
                            <a:pt x="28050" y="28947"/>
                          </a:cubicBezTo>
                          <a:cubicBezTo>
                            <a:pt x="28109" y="29006"/>
                            <a:pt x="28109" y="29066"/>
                            <a:pt x="28169" y="29186"/>
                          </a:cubicBezTo>
                          <a:cubicBezTo>
                            <a:pt x="28289" y="29425"/>
                            <a:pt x="28408" y="29665"/>
                            <a:pt x="28588" y="29904"/>
                          </a:cubicBezTo>
                          <a:cubicBezTo>
                            <a:pt x="28707" y="30143"/>
                            <a:pt x="28827" y="30382"/>
                            <a:pt x="28946" y="30621"/>
                          </a:cubicBezTo>
                          <a:cubicBezTo>
                            <a:pt x="29066" y="30860"/>
                            <a:pt x="29186" y="31100"/>
                            <a:pt x="29245" y="31339"/>
                          </a:cubicBezTo>
                          <a:cubicBezTo>
                            <a:pt x="29365" y="31578"/>
                            <a:pt x="29425" y="31817"/>
                            <a:pt x="29545" y="32057"/>
                          </a:cubicBezTo>
                          <a:cubicBezTo>
                            <a:pt x="29604" y="32176"/>
                            <a:pt x="29664" y="32356"/>
                            <a:pt x="29724" y="32475"/>
                          </a:cubicBezTo>
                          <a:cubicBezTo>
                            <a:pt x="29784" y="32595"/>
                            <a:pt x="29844" y="32774"/>
                            <a:pt x="29844" y="32894"/>
                          </a:cubicBezTo>
                          <a:cubicBezTo>
                            <a:pt x="29904" y="33014"/>
                            <a:pt x="29963" y="33193"/>
                            <a:pt x="29963" y="33313"/>
                          </a:cubicBezTo>
                          <a:cubicBezTo>
                            <a:pt x="30023" y="33432"/>
                            <a:pt x="30023" y="33612"/>
                            <a:pt x="30083" y="33731"/>
                          </a:cubicBezTo>
                          <a:cubicBezTo>
                            <a:pt x="30083" y="33791"/>
                            <a:pt x="30143" y="33911"/>
                            <a:pt x="30143" y="33970"/>
                          </a:cubicBezTo>
                          <a:cubicBezTo>
                            <a:pt x="30143" y="34030"/>
                            <a:pt x="30203" y="34150"/>
                            <a:pt x="30203" y="34210"/>
                          </a:cubicBezTo>
                          <a:cubicBezTo>
                            <a:pt x="30203" y="34269"/>
                            <a:pt x="30262" y="34389"/>
                            <a:pt x="30262" y="34449"/>
                          </a:cubicBezTo>
                          <a:cubicBezTo>
                            <a:pt x="30262" y="34509"/>
                            <a:pt x="30322" y="34628"/>
                            <a:pt x="30322" y="34688"/>
                          </a:cubicBezTo>
                          <a:cubicBezTo>
                            <a:pt x="30382" y="34808"/>
                            <a:pt x="30382" y="34928"/>
                            <a:pt x="30382" y="35107"/>
                          </a:cubicBezTo>
                          <a:cubicBezTo>
                            <a:pt x="30382" y="35286"/>
                            <a:pt x="30442" y="35346"/>
                            <a:pt x="30442" y="35526"/>
                          </a:cubicBezTo>
                          <a:cubicBezTo>
                            <a:pt x="30442" y="35645"/>
                            <a:pt x="30502" y="35765"/>
                            <a:pt x="30502" y="35944"/>
                          </a:cubicBezTo>
                          <a:cubicBezTo>
                            <a:pt x="30502" y="36064"/>
                            <a:pt x="30561" y="36183"/>
                            <a:pt x="30561" y="36363"/>
                          </a:cubicBezTo>
                          <a:cubicBezTo>
                            <a:pt x="30561" y="36423"/>
                            <a:pt x="30561" y="36542"/>
                            <a:pt x="30561" y="36602"/>
                          </a:cubicBezTo>
                          <a:cubicBezTo>
                            <a:pt x="30561" y="36662"/>
                            <a:pt x="30561" y="36782"/>
                            <a:pt x="30561" y="36841"/>
                          </a:cubicBezTo>
                          <a:cubicBezTo>
                            <a:pt x="30561" y="36901"/>
                            <a:pt x="30561" y="37021"/>
                            <a:pt x="30561" y="37081"/>
                          </a:cubicBezTo>
                          <a:cubicBezTo>
                            <a:pt x="30561" y="37140"/>
                            <a:pt x="30561" y="37260"/>
                            <a:pt x="30561" y="37320"/>
                          </a:cubicBezTo>
                          <a:cubicBezTo>
                            <a:pt x="30561" y="37439"/>
                            <a:pt x="30561" y="37559"/>
                            <a:pt x="30561" y="37678"/>
                          </a:cubicBezTo>
                          <a:cubicBezTo>
                            <a:pt x="30561" y="37798"/>
                            <a:pt x="30561" y="37918"/>
                            <a:pt x="30561" y="38037"/>
                          </a:cubicBezTo>
                          <a:cubicBezTo>
                            <a:pt x="30561" y="38157"/>
                            <a:pt x="30561" y="38277"/>
                            <a:pt x="30561" y="38396"/>
                          </a:cubicBezTo>
                          <a:cubicBezTo>
                            <a:pt x="30561" y="38516"/>
                            <a:pt x="30561" y="38636"/>
                            <a:pt x="30561" y="38755"/>
                          </a:cubicBezTo>
                          <a:cubicBezTo>
                            <a:pt x="30561" y="38935"/>
                            <a:pt x="30561" y="39114"/>
                            <a:pt x="30561" y="39293"/>
                          </a:cubicBezTo>
                          <a:cubicBezTo>
                            <a:pt x="30561" y="39473"/>
                            <a:pt x="30561" y="39652"/>
                            <a:pt x="30502" y="39831"/>
                          </a:cubicBezTo>
                          <a:cubicBezTo>
                            <a:pt x="30502" y="40011"/>
                            <a:pt x="30442" y="40190"/>
                            <a:pt x="30442" y="40370"/>
                          </a:cubicBezTo>
                          <a:cubicBezTo>
                            <a:pt x="30442" y="40549"/>
                            <a:pt x="30382" y="40729"/>
                            <a:pt x="30382" y="40908"/>
                          </a:cubicBezTo>
                          <a:cubicBezTo>
                            <a:pt x="30382" y="41028"/>
                            <a:pt x="30322" y="41147"/>
                            <a:pt x="30322" y="41267"/>
                          </a:cubicBezTo>
                          <a:cubicBezTo>
                            <a:pt x="30322" y="41386"/>
                            <a:pt x="30262" y="41506"/>
                            <a:pt x="30262" y="41626"/>
                          </a:cubicBezTo>
                          <a:cubicBezTo>
                            <a:pt x="30262" y="41745"/>
                            <a:pt x="30203" y="41865"/>
                            <a:pt x="30203" y="41985"/>
                          </a:cubicBezTo>
                          <a:cubicBezTo>
                            <a:pt x="30203" y="42104"/>
                            <a:pt x="30143" y="42224"/>
                            <a:pt x="30143" y="42344"/>
                          </a:cubicBezTo>
                          <a:cubicBezTo>
                            <a:pt x="30083" y="42463"/>
                            <a:pt x="30083" y="42643"/>
                            <a:pt x="30023" y="42762"/>
                          </a:cubicBezTo>
                          <a:cubicBezTo>
                            <a:pt x="29963" y="42882"/>
                            <a:pt x="29963" y="43061"/>
                            <a:pt x="29904" y="43181"/>
                          </a:cubicBezTo>
                          <a:cubicBezTo>
                            <a:pt x="29844" y="43300"/>
                            <a:pt x="29844" y="43480"/>
                            <a:pt x="29784" y="43599"/>
                          </a:cubicBezTo>
                          <a:cubicBezTo>
                            <a:pt x="29724" y="43719"/>
                            <a:pt x="29724" y="43899"/>
                            <a:pt x="29664" y="44018"/>
                          </a:cubicBezTo>
                          <a:cubicBezTo>
                            <a:pt x="29604" y="44138"/>
                            <a:pt x="29604" y="44198"/>
                            <a:pt x="29545" y="44317"/>
                          </a:cubicBezTo>
                          <a:cubicBezTo>
                            <a:pt x="29485" y="44437"/>
                            <a:pt x="29485" y="44497"/>
                            <a:pt x="29425" y="44616"/>
                          </a:cubicBezTo>
                          <a:cubicBezTo>
                            <a:pt x="29365" y="44736"/>
                            <a:pt x="29365" y="44796"/>
                            <a:pt x="29305" y="44915"/>
                          </a:cubicBezTo>
                          <a:cubicBezTo>
                            <a:pt x="29245" y="45035"/>
                            <a:pt x="29245" y="45095"/>
                            <a:pt x="29186" y="45214"/>
                          </a:cubicBezTo>
                          <a:cubicBezTo>
                            <a:pt x="29006" y="45693"/>
                            <a:pt x="28827" y="46171"/>
                            <a:pt x="28588" y="46650"/>
                          </a:cubicBezTo>
                          <a:cubicBezTo>
                            <a:pt x="28349" y="47128"/>
                            <a:pt x="28169" y="47607"/>
                            <a:pt x="27870" y="48085"/>
                          </a:cubicBezTo>
                          <a:cubicBezTo>
                            <a:pt x="27631" y="48563"/>
                            <a:pt x="27332" y="49042"/>
                            <a:pt x="27092" y="49520"/>
                          </a:cubicBezTo>
                          <a:cubicBezTo>
                            <a:pt x="26794" y="49999"/>
                            <a:pt x="26495" y="50477"/>
                            <a:pt x="26196" y="50956"/>
                          </a:cubicBezTo>
                          <a:cubicBezTo>
                            <a:pt x="26136" y="51015"/>
                            <a:pt x="26076" y="51135"/>
                            <a:pt x="26016" y="51195"/>
                          </a:cubicBezTo>
                          <a:cubicBezTo>
                            <a:pt x="25956" y="51255"/>
                            <a:pt x="25896" y="51375"/>
                            <a:pt x="25836" y="51434"/>
                          </a:cubicBezTo>
                          <a:cubicBezTo>
                            <a:pt x="25777" y="51494"/>
                            <a:pt x="25717" y="51614"/>
                            <a:pt x="25657" y="51674"/>
                          </a:cubicBezTo>
                          <a:cubicBezTo>
                            <a:pt x="25597" y="51733"/>
                            <a:pt x="25537" y="51853"/>
                            <a:pt x="25478" y="51913"/>
                          </a:cubicBezTo>
                          <a:cubicBezTo>
                            <a:pt x="24999" y="52630"/>
                            <a:pt x="24461" y="53408"/>
                            <a:pt x="23923" y="54125"/>
                          </a:cubicBezTo>
                          <a:cubicBezTo>
                            <a:pt x="23384" y="54843"/>
                            <a:pt x="22787" y="55621"/>
                            <a:pt x="22248" y="56398"/>
                          </a:cubicBezTo>
                          <a:cubicBezTo>
                            <a:pt x="21710" y="57176"/>
                            <a:pt x="21052" y="57953"/>
                            <a:pt x="20394" y="58731"/>
                          </a:cubicBezTo>
                          <a:cubicBezTo>
                            <a:pt x="19916" y="59329"/>
                            <a:pt x="19258" y="60106"/>
                            <a:pt x="18600" y="60944"/>
                          </a:cubicBezTo>
                          <a:moveTo>
                            <a:pt x="18480" y="64951"/>
                          </a:moveTo>
                          <a:lnTo>
                            <a:pt x="19377" y="65549"/>
                          </a:lnTo>
                          <a:cubicBezTo>
                            <a:pt x="19497" y="65429"/>
                            <a:pt x="19617" y="65250"/>
                            <a:pt x="19736" y="65130"/>
                          </a:cubicBezTo>
                          <a:cubicBezTo>
                            <a:pt x="19856" y="65010"/>
                            <a:pt x="19975" y="64831"/>
                            <a:pt x="20095" y="64711"/>
                          </a:cubicBezTo>
                          <a:cubicBezTo>
                            <a:pt x="20215" y="64592"/>
                            <a:pt x="20334" y="64412"/>
                            <a:pt x="20454" y="64293"/>
                          </a:cubicBezTo>
                          <a:cubicBezTo>
                            <a:pt x="20574" y="64173"/>
                            <a:pt x="20693" y="63994"/>
                            <a:pt x="20813" y="63874"/>
                          </a:cubicBezTo>
                          <a:lnTo>
                            <a:pt x="19916" y="63276"/>
                          </a:lnTo>
                          <a:cubicBezTo>
                            <a:pt x="19796" y="63396"/>
                            <a:pt x="19676" y="63575"/>
                            <a:pt x="19557" y="63695"/>
                          </a:cubicBezTo>
                          <a:cubicBezTo>
                            <a:pt x="19437" y="63814"/>
                            <a:pt x="19318" y="63994"/>
                            <a:pt x="19198" y="64113"/>
                          </a:cubicBezTo>
                          <a:cubicBezTo>
                            <a:pt x="19079" y="64233"/>
                            <a:pt x="18959" y="64412"/>
                            <a:pt x="18839" y="64532"/>
                          </a:cubicBezTo>
                          <a:cubicBezTo>
                            <a:pt x="18720" y="64711"/>
                            <a:pt x="18600" y="64831"/>
                            <a:pt x="18480" y="64951"/>
                          </a:cubicBezTo>
                          <a:moveTo>
                            <a:pt x="16327" y="63575"/>
                          </a:moveTo>
                          <a:lnTo>
                            <a:pt x="17225" y="64173"/>
                          </a:lnTo>
                          <a:cubicBezTo>
                            <a:pt x="17344" y="64054"/>
                            <a:pt x="17464" y="63874"/>
                            <a:pt x="17583" y="63754"/>
                          </a:cubicBezTo>
                          <a:cubicBezTo>
                            <a:pt x="17703" y="63635"/>
                            <a:pt x="17822" y="63455"/>
                            <a:pt x="17942" y="63336"/>
                          </a:cubicBezTo>
                          <a:cubicBezTo>
                            <a:pt x="18062" y="63216"/>
                            <a:pt x="18181" y="63037"/>
                            <a:pt x="18301" y="62917"/>
                          </a:cubicBezTo>
                          <a:cubicBezTo>
                            <a:pt x="18420" y="62798"/>
                            <a:pt x="18540" y="62618"/>
                            <a:pt x="18660" y="62499"/>
                          </a:cubicBezTo>
                          <a:lnTo>
                            <a:pt x="17763" y="61900"/>
                          </a:lnTo>
                          <a:cubicBezTo>
                            <a:pt x="17643" y="62020"/>
                            <a:pt x="17523" y="62200"/>
                            <a:pt x="17404" y="62319"/>
                          </a:cubicBezTo>
                          <a:cubicBezTo>
                            <a:pt x="17284" y="62439"/>
                            <a:pt x="17165" y="62618"/>
                            <a:pt x="17045" y="62738"/>
                          </a:cubicBezTo>
                          <a:cubicBezTo>
                            <a:pt x="16925" y="62857"/>
                            <a:pt x="16806" y="63037"/>
                            <a:pt x="16686" y="63156"/>
                          </a:cubicBezTo>
                          <a:cubicBezTo>
                            <a:pt x="16566" y="63276"/>
                            <a:pt x="16447" y="63455"/>
                            <a:pt x="16327" y="63575"/>
                          </a:cubicBezTo>
                          <a:moveTo>
                            <a:pt x="16447" y="67403"/>
                          </a:moveTo>
                          <a:lnTo>
                            <a:pt x="17344" y="68001"/>
                          </a:lnTo>
                          <a:cubicBezTo>
                            <a:pt x="17464" y="67881"/>
                            <a:pt x="17523" y="67762"/>
                            <a:pt x="17643" y="67642"/>
                          </a:cubicBezTo>
                          <a:cubicBezTo>
                            <a:pt x="17763" y="67522"/>
                            <a:pt x="17822" y="67403"/>
                            <a:pt x="17942" y="67283"/>
                          </a:cubicBezTo>
                          <a:cubicBezTo>
                            <a:pt x="18062" y="67163"/>
                            <a:pt x="18121" y="67044"/>
                            <a:pt x="18241" y="66924"/>
                          </a:cubicBezTo>
                          <a:cubicBezTo>
                            <a:pt x="18360" y="66805"/>
                            <a:pt x="18420" y="66685"/>
                            <a:pt x="18540" y="66565"/>
                          </a:cubicBezTo>
                          <a:lnTo>
                            <a:pt x="17643" y="65967"/>
                          </a:lnTo>
                          <a:cubicBezTo>
                            <a:pt x="17523" y="66087"/>
                            <a:pt x="17464" y="66207"/>
                            <a:pt x="17344" y="66326"/>
                          </a:cubicBezTo>
                          <a:cubicBezTo>
                            <a:pt x="17225" y="66446"/>
                            <a:pt x="17165" y="66565"/>
                            <a:pt x="17045" y="66685"/>
                          </a:cubicBezTo>
                          <a:cubicBezTo>
                            <a:pt x="16925" y="66805"/>
                            <a:pt x="16865" y="66924"/>
                            <a:pt x="16746" y="67044"/>
                          </a:cubicBezTo>
                          <a:cubicBezTo>
                            <a:pt x="16626" y="67163"/>
                            <a:pt x="16566" y="67283"/>
                            <a:pt x="16447" y="67403"/>
                          </a:cubicBezTo>
                          <a:moveTo>
                            <a:pt x="14294" y="65967"/>
                          </a:moveTo>
                          <a:lnTo>
                            <a:pt x="15251" y="66565"/>
                          </a:lnTo>
                          <a:cubicBezTo>
                            <a:pt x="15370" y="66446"/>
                            <a:pt x="15430" y="66326"/>
                            <a:pt x="15550" y="66207"/>
                          </a:cubicBezTo>
                          <a:cubicBezTo>
                            <a:pt x="15669" y="66087"/>
                            <a:pt x="15729" y="65967"/>
                            <a:pt x="15849" y="65848"/>
                          </a:cubicBezTo>
                          <a:cubicBezTo>
                            <a:pt x="15968" y="65728"/>
                            <a:pt x="16028" y="65608"/>
                            <a:pt x="16148" y="65489"/>
                          </a:cubicBezTo>
                          <a:cubicBezTo>
                            <a:pt x="16267" y="65369"/>
                            <a:pt x="16327" y="65250"/>
                            <a:pt x="16447" y="65130"/>
                          </a:cubicBezTo>
                          <a:lnTo>
                            <a:pt x="15490" y="64532"/>
                          </a:lnTo>
                          <a:cubicBezTo>
                            <a:pt x="15370" y="64652"/>
                            <a:pt x="15311" y="64771"/>
                            <a:pt x="15191" y="64891"/>
                          </a:cubicBezTo>
                          <a:cubicBezTo>
                            <a:pt x="15071" y="65010"/>
                            <a:pt x="15011" y="65130"/>
                            <a:pt x="14892" y="65250"/>
                          </a:cubicBezTo>
                          <a:cubicBezTo>
                            <a:pt x="14772" y="65369"/>
                            <a:pt x="14712" y="65489"/>
                            <a:pt x="14593" y="65608"/>
                          </a:cubicBezTo>
                          <a:cubicBezTo>
                            <a:pt x="14533" y="65728"/>
                            <a:pt x="14413" y="65848"/>
                            <a:pt x="14294" y="65967"/>
                          </a:cubicBezTo>
                          <a:moveTo>
                            <a:pt x="2811" y="79842"/>
                          </a:moveTo>
                          <a:lnTo>
                            <a:pt x="5861" y="81816"/>
                          </a:lnTo>
                          <a:lnTo>
                            <a:pt x="5921" y="81696"/>
                          </a:lnTo>
                          <a:cubicBezTo>
                            <a:pt x="6340" y="81158"/>
                            <a:pt x="6818" y="80620"/>
                            <a:pt x="7236" y="80082"/>
                          </a:cubicBezTo>
                          <a:cubicBezTo>
                            <a:pt x="7655" y="79544"/>
                            <a:pt x="8074" y="79005"/>
                            <a:pt x="8552" y="78467"/>
                          </a:cubicBezTo>
                          <a:cubicBezTo>
                            <a:pt x="8971" y="77929"/>
                            <a:pt x="9389" y="77450"/>
                            <a:pt x="9868" y="76912"/>
                          </a:cubicBezTo>
                          <a:cubicBezTo>
                            <a:pt x="10287" y="76374"/>
                            <a:pt x="10705" y="75895"/>
                            <a:pt x="11124" y="75357"/>
                          </a:cubicBezTo>
                          <a:cubicBezTo>
                            <a:pt x="11184" y="75297"/>
                            <a:pt x="11244" y="75178"/>
                            <a:pt x="11303" y="75118"/>
                          </a:cubicBezTo>
                          <a:cubicBezTo>
                            <a:pt x="11363" y="75058"/>
                            <a:pt x="11423" y="74938"/>
                            <a:pt x="11483" y="74879"/>
                          </a:cubicBezTo>
                          <a:cubicBezTo>
                            <a:pt x="11543" y="74819"/>
                            <a:pt x="11603" y="74699"/>
                            <a:pt x="11662" y="74639"/>
                          </a:cubicBezTo>
                          <a:cubicBezTo>
                            <a:pt x="11722" y="74579"/>
                            <a:pt x="11782" y="74460"/>
                            <a:pt x="11842" y="74400"/>
                          </a:cubicBezTo>
                          <a:cubicBezTo>
                            <a:pt x="12260" y="73922"/>
                            <a:pt x="12619" y="73503"/>
                            <a:pt x="13038" y="73025"/>
                          </a:cubicBezTo>
                          <a:cubicBezTo>
                            <a:pt x="13457" y="72546"/>
                            <a:pt x="13815" y="72127"/>
                            <a:pt x="14174" y="71649"/>
                          </a:cubicBezTo>
                          <a:cubicBezTo>
                            <a:pt x="14533" y="71171"/>
                            <a:pt x="14952" y="70752"/>
                            <a:pt x="15311" y="70273"/>
                          </a:cubicBezTo>
                          <a:cubicBezTo>
                            <a:pt x="15669" y="69795"/>
                            <a:pt x="16088" y="69376"/>
                            <a:pt x="16447" y="68958"/>
                          </a:cubicBezTo>
                          <a:lnTo>
                            <a:pt x="15550" y="68360"/>
                          </a:lnTo>
                          <a:cubicBezTo>
                            <a:pt x="15191" y="68778"/>
                            <a:pt x="14772" y="69257"/>
                            <a:pt x="14413" y="69676"/>
                          </a:cubicBezTo>
                          <a:cubicBezTo>
                            <a:pt x="14055" y="70154"/>
                            <a:pt x="13636" y="70572"/>
                            <a:pt x="13277" y="71051"/>
                          </a:cubicBezTo>
                          <a:cubicBezTo>
                            <a:pt x="12918" y="71530"/>
                            <a:pt x="12500" y="71948"/>
                            <a:pt x="12141" y="72426"/>
                          </a:cubicBezTo>
                          <a:cubicBezTo>
                            <a:pt x="11722" y="72905"/>
                            <a:pt x="11363" y="73324"/>
                            <a:pt x="10944" y="73802"/>
                          </a:cubicBezTo>
                          <a:cubicBezTo>
                            <a:pt x="10885" y="73862"/>
                            <a:pt x="10825" y="73981"/>
                            <a:pt x="10765" y="74041"/>
                          </a:cubicBezTo>
                          <a:cubicBezTo>
                            <a:pt x="10705" y="74101"/>
                            <a:pt x="10645" y="74221"/>
                            <a:pt x="10586" y="74280"/>
                          </a:cubicBezTo>
                          <a:cubicBezTo>
                            <a:pt x="10526" y="74340"/>
                            <a:pt x="10466" y="74460"/>
                            <a:pt x="10406" y="74520"/>
                          </a:cubicBezTo>
                          <a:cubicBezTo>
                            <a:pt x="10347" y="74579"/>
                            <a:pt x="10287" y="74699"/>
                            <a:pt x="10227" y="74759"/>
                          </a:cubicBezTo>
                          <a:cubicBezTo>
                            <a:pt x="9808" y="75238"/>
                            <a:pt x="9449" y="75716"/>
                            <a:pt x="9031" y="76194"/>
                          </a:cubicBezTo>
                          <a:cubicBezTo>
                            <a:pt x="8612" y="76673"/>
                            <a:pt x="8253" y="77151"/>
                            <a:pt x="7835" y="77630"/>
                          </a:cubicBezTo>
                          <a:cubicBezTo>
                            <a:pt x="7416" y="78108"/>
                            <a:pt x="7057" y="78587"/>
                            <a:pt x="6639" y="79125"/>
                          </a:cubicBezTo>
                          <a:cubicBezTo>
                            <a:pt x="6220" y="79603"/>
                            <a:pt x="5861" y="80142"/>
                            <a:pt x="5442" y="80620"/>
                          </a:cubicBezTo>
                          <a:lnTo>
                            <a:pt x="4186" y="79842"/>
                          </a:lnTo>
                          <a:cubicBezTo>
                            <a:pt x="4605" y="79364"/>
                            <a:pt x="5024" y="78826"/>
                            <a:pt x="5382" y="78347"/>
                          </a:cubicBezTo>
                          <a:cubicBezTo>
                            <a:pt x="5801" y="77869"/>
                            <a:pt x="6160" y="77391"/>
                            <a:pt x="6579" y="76852"/>
                          </a:cubicBezTo>
                          <a:cubicBezTo>
                            <a:pt x="6997" y="76314"/>
                            <a:pt x="7356" y="75895"/>
                            <a:pt x="7775" y="75417"/>
                          </a:cubicBezTo>
                          <a:cubicBezTo>
                            <a:pt x="8194" y="74938"/>
                            <a:pt x="8552" y="74460"/>
                            <a:pt x="8971" y="73981"/>
                          </a:cubicBezTo>
                          <a:cubicBezTo>
                            <a:pt x="9031" y="73922"/>
                            <a:pt x="9090" y="73802"/>
                            <a:pt x="9150" y="73742"/>
                          </a:cubicBezTo>
                          <a:cubicBezTo>
                            <a:pt x="9210" y="73683"/>
                            <a:pt x="9270" y="73563"/>
                            <a:pt x="9330" y="73503"/>
                          </a:cubicBezTo>
                          <a:cubicBezTo>
                            <a:pt x="9389" y="73443"/>
                            <a:pt x="9449" y="73324"/>
                            <a:pt x="9509" y="73264"/>
                          </a:cubicBezTo>
                          <a:cubicBezTo>
                            <a:pt x="9569" y="73204"/>
                            <a:pt x="9629" y="73084"/>
                            <a:pt x="9689" y="73025"/>
                          </a:cubicBezTo>
                          <a:cubicBezTo>
                            <a:pt x="10107" y="72546"/>
                            <a:pt x="10466" y="72068"/>
                            <a:pt x="10885" y="71649"/>
                          </a:cubicBezTo>
                          <a:cubicBezTo>
                            <a:pt x="11303" y="71171"/>
                            <a:pt x="11662" y="70752"/>
                            <a:pt x="12021" y="70273"/>
                          </a:cubicBezTo>
                          <a:cubicBezTo>
                            <a:pt x="12380" y="69795"/>
                            <a:pt x="12798" y="69376"/>
                            <a:pt x="13157" y="68898"/>
                          </a:cubicBezTo>
                          <a:cubicBezTo>
                            <a:pt x="13516" y="68419"/>
                            <a:pt x="13935" y="68001"/>
                            <a:pt x="14294" y="67582"/>
                          </a:cubicBezTo>
                          <a:lnTo>
                            <a:pt x="13337" y="66984"/>
                          </a:lnTo>
                          <a:cubicBezTo>
                            <a:pt x="12978" y="67403"/>
                            <a:pt x="12559" y="67881"/>
                            <a:pt x="12201" y="68300"/>
                          </a:cubicBezTo>
                          <a:cubicBezTo>
                            <a:pt x="11842" y="68778"/>
                            <a:pt x="11423" y="69197"/>
                            <a:pt x="11064" y="69676"/>
                          </a:cubicBezTo>
                          <a:cubicBezTo>
                            <a:pt x="10705" y="70154"/>
                            <a:pt x="10287" y="70572"/>
                            <a:pt x="9928" y="71051"/>
                          </a:cubicBezTo>
                          <a:cubicBezTo>
                            <a:pt x="9569" y="71530"/>
                            <a:pt x="9150" y="71948"/>
                            <a:pt x="8732" y="72426"/>
                          </a:cubicBezTo>
                          <a:cubicBezTo>
                            <a:pt x="8672" y="72486"/>
                            <a:pt x="8612" y="72606"/>
                            <a:pt x="8552" y="72666"/>
                          </a:cubicBezTo>
                          <a:cubicBezTo>
                            <a:pt x="8493" y="72725"/>
                            <a:pt x="8433" y="72845"/>
                            <a:pt x="8373" y="72905"/>
                          </a:cubicBezTo>
                          <a:cubicBezTo>
                            <a:pt x="8313" y="72965"/>
                            <a:pt x="8253" y="73084"/>
                            <a:pt x="8194" y="73144"/>
                          </a:cubicBezTo>
                          <a:cubicBezTo>
                            <a:pt x="8134" y="73204"/>
                            <a:pt x="8074" y="73324"/>
                            <a:pt x="8014" y="73384"/>
                          </a:cubicBezTo>
                          <a:cubicBezTo>
                            <a:pt x="7595" y="73862"/>
                            <a:pt x="7177" y="74400"/>
                            <a:pt x="6758" y="74938"/>
                          </a:cubicBezTo>
                          <a:cubicBezTo>
                            <a:pt x="6340" y="75477"/>
                            <a:pt x="5921" y="75955"/>
                            <a:pt x="5502" y="76493"/>
                          </a:cubicBezTo>
                          <a:cubicBezTo>
                            <a:pt x="5083" y="77032"/>
                            <a:pt x="4665" y="77570"/>
                            <a:pt x="4186" y="78108"/>
                          </a:cubicBezTo>
                          <a:cubicBezTo>
                            <a:pt x="3768" y="78647"/>
                            <a:pt x="3289" y="79185"/>
                            <a:pt x="2871" y="79723"/>
                          </a:cubicBezTo>
                          <a:lnTo>
                            <a:pt x="2811" y="79842"/>
                          </a:lnTo>
                        </a:path>
                      </a:pathLst>
                    </a:custGeom>
                    <a:noFill/>
                    <a:ln w="6350" cap="flat">
                      <a:solidFill>
                        <a:schemeClr val="bg1">
                          <a:alpha val="80000"/>
                        </a:schemeClr>
                      </a:solidFill>
                      <a:prstDash val="solid"/>
                      <a:miter/>
                    </a:ln>
                  </p:spPr>
                  <p:txBody>
                    <a:bodyPr rtlCol="0" anchor="ctr"/>
                    <a:lstStyle/>
                    <a:p>
                      <a:endParaRPr lang="en-GB"/>
                    </a:p>
                  </p:txBody>
                </p:sp>
                <p:sp>
                  <p:nvSpPr>
                    <p:cNvPr id="7432" name="Vrije vorm: vorm 7431">
                      <a:extLst>
                        <a:ext uri="{FF2B5EF4-FFF2-40B4-BE49-F238E27FC236}">
                          <a16:creationId xmlns:a16="http://schemas.microsoft.com/office/drawing/2014/main" id="{41ADDDA5-B732-4053-8989-E6636727567E}"/>
                        </a:ext>
                      </a:extLst>
                    </p:cNvPr>
                    <p:cNvSpPr/>
                    <p:nvPr/>
                  </p:nvSpPr>
                  <p:spPr>
                    <a:xfrm>
                      <a:off x="4811690" y="5167862"/>
                      <a:ext cx="28827" cy="27391"/>
                    </a:xfrm>
                    <a:custGeom>
                      <a:avLst/>
                      <a:gdLst>
                        <a:gd name="connsiteX0" fmla="*/ 3588 w 28827"/>
                        <a:gd name="connsiteY0" fmla="*/ 5742 h 27391"/>
                        <a:gd name="connsiteX1" fmla="*/ 4545 w 28827"/>
                        <a:gd name="connsiteY1" fmla="*/ 6399 h 27391"/>
                        <a:gd name="connsiteX2" fmla="*/ 5203 w 28827"/>
                        <a:gd name="connsiteY2" fmla="*/ 5682 h 27391"/>
                        <a:gd name="connsiteX3" fmla="*/ 5861 w 28827"/>
                        <a:gd name="connsiteY3" fmla="*/ 5024 h 27391"/>
                        <a:gd name="connsiteX4" fmla="*/ 6579 w 28827"/>
                        <a:gd name="connsiteY4" fmla="*/ 4426 h 27391"/>
                        <a:gd name="connsiteX5" fmla="*/ 7296 w 28827"/>
                        <a:gd name="connsiteY5" fmla="*/ 3888 h 27391"/>
                        <a:gd name="connsiteX6" fmla="*/ 7595 w 28827"/>
                        <a:gd name="connsiteY6" fmla="*/ 3708 h 27391"/>
                        <a:gd name="connsiteX7" fmla="*/ 7895 w 28827"/>
                        <a:gd name="connsiteY7" fmla="*/ 3529 h 27391"/>
                        <a:gd name="connsiteX8" fmla="*/ 8194 w 28827"/>
                        <a:gd name="connsiteY8" fmla="*/ 3349 h 27391"/>
                        <a:gd name="connsiteX9" fmla="*/ 8493 w 28827"/>
                        <a:gd name="connsiteY9" fmla="*/ 3170 h 27391"/>
                        <a:gd name="connsiteX10" fmla="*/ 10586 w 28827"/>
                        <a:gd name="connsiteY10" fmla="*/ 2153 h 27391"/>
                        <a:gd name="connsiteX11" fmla="*/ 12798 w 28827"/>
                        <a:gd name="connsiteY11" fmla="*/ 1435 h 27391"/>
                        <a:gd name="connsiteX12" fmla="*/ 15071 w 28827"/>
                        <a:gd name="connsiteY12" fmla="*/ 1076 h 27391"/>
                        <a:gd name="connsiteX13" fmla="*/ 17344 w 28827"/>
                        <a:gd name="connsiteY13" fmla="*/ 1136 h 27391"/>
                        <a:gd name="connsiteX14" fmla="*/ 18301 w 28827"/>
                        <a:gd name="connsiteY14" fmla="*/ 1256 h 27391"/>
                        <a:gd name="connsiteX15" fmla="*/ 19258 w 28827"/>
                        <a:gd name="connsiteY15" fmla="*/ 1435 h 27391"/>
                        <a:gd name="connsiteX16" fmla="*/ 20155 w 28827"/>
                        <a:gd name="connsiteY16" fmla="*/ 1734 h 27391"/>
                        <a:gd name="connsiteX17" fmla="*/ 21052 w 28827"/>
                        <a:gd name="connsiteY17" fmla="*/ 2093 h 27391"/>
                        <a:gd name="connsiteX18" fmla="*/ 21530 w 28827"/>
                        <a:gd name="connsiteY18" fmla="*/ 2333 h 27391"/>
                        <a:gd name="connsiteX19" fmla="*/ 22009 w 28827"/>
                        <a:gd name="connsiteY19" fmla="*/ 2572 h 27391"/>
                        <a:gd name="connsiteX20" fmla="*/ 22488 w 28827"/>
                        <a:gd name="connsiteY20" fmla="*/ 2811 h 27391"/>
                        <a:gd name="connsiteX21" fmla="*/ 22906 w 28827"/>
                        <a:gd name="connsiteY21" fmla="*/ 3110 h 27391"/>
                        <a:gd name="connsiteX22" fmla="*/ 23325 w 28827"/>
                        <a:gd name="connsiteY22" fmla="*/ 3409 h 27391"/>
                        <a:gd name="connsiteX23" fmla="*/ 23743 w 28827"/>
                        <a:gd name="connsiteY23" fmla="*/ 3708 h 27391"/>
                        <a:gd name="connsiteX24" fmla="*/ 24102 w 28827"/>
                        <a:gd name="connsiteY24" fmla="*/ 4067 h 27391"/>
                        <a:gd name="connsiteX25" fmla="*/ 24461 w 28827"/>
                        <a:gd name="connsiteY25" fmla="*/ 4426 h 27391"/>
                        <a:gd name="connsiteX26" fmla="*/ 25119 w 28827"/>
                        <a:gd name="connsiteY26" fmla="*/ 5083 h 27391"/>
                        <a:gd name="connsiteX27" fmla="*/ 25717 w 28827"/>
                        <a:gd name="connsiteY27" fmla="*/ 5801 h 27391"/>
                        <a:gd name="connsiteX28" fmla="*/ 26196 w 28827"/>
                        <a:gd name="connsiteY28" fmla="*/ 6579 h 27391"/>
                        <a:gd name="connsiteX29" fmla="*/ 26614 w 28827"/>
                        <a:gd name="connsiteY29" fmla="*/ 7356 h 27391"/>
                        <a:gd name="connsiteX30" fmla="*/ 27332 w 28827"/>
                        <a:gd name="connsiteY30" fmla="*/ 9330 h 27391"/>
                        <a:gd name="connsiteX31" fmla="*/ 27691 w 28827"/>
                        <a:gd name="connsiteY31" fmla="*/ 11423 h 27391"/>
                        <a:gd name="connsiteX32" fmla="*/ 27631 w 28827"/>
                        <a:gd name="connsiteY32" fmla="*/ 13576 h 27391"/>
                        <a:gd name="connsiteX33" fmla="*/ 27212 w 28827"/>
                        <a:gd name="connsiteY33" fmla="*/ 15729 h 27391"/>
                        <a:gd name="connsiteX34" fmla="*/ 27092 w 28827"/>
                        <a:gd name="connsiteY34" fmla="*/ 16028 h 27391"/>
                        <a:gd name="connsiteX35" fmla="*/ 26973 w 28827"/>
                        <a:gd name="connsiteY35" fmla="*/ 16327 h 27391"/>
                        <a:gd name="connsiteX36" fmla="*/ 26853 w 28827"/>
                        <a:gd name="connsiteY36" fmla="*/ 16626 h 27391"/>
                        <a:gd name="connsiteX37" fmla="*/ 26734 w 28827"/>
                        <a:gd name="connsiteY37" fmla="*/ 16926 h 27391"/>
                        <a:gd name="connsiteX38" fmla="*/ 26375 w 28827"/>
                        <a:gd name="connsiteY38" fmla="*/ 17703 h 27391"/>
                        <a:gd name="connsiteX39" fmla="*/ 25956 w 28827"/>
                        <a:gd name="connsiteY39" fmla="*/ 18481 h 27391"/>
                        <a:gd name="connsiteX40" fmla="*/ 25478 w 28827"/>
                        <a:gd name="connsiteY40" fmla="*/ 19258 h 27391"/>
                        <a:gd name="connsiteX41" fmla="*/ 24940 w 28827"/>
                        <a:gd name="connsiteY41" fmla="*/ 20035 h 27391"/>
                        <a:gd name="connsiteX42" fmla="*/ 25896 w 28827"/>
                        <a:gd name="connsiteY42" fmla="*/ 20693 h 27391"/>
                        <a:gd name="connsiteX43" fmla="*/ 26435 w 28827"/>
                        <a:gd name="connsiteY43" fmla="*/ 19916 h 27391"/>
                        <a:gd name="connsiteX44" fmla="*/ 26913 w 28827"/>
                        <a:gd name="connsiteY44" fmla="*/ 19138 h 27391"/>
                        <a:gd name="connsiteX45" fmla="*/ 27332 w 28827"/>
                        <a:gd name="connsiteY45" fmla="*/ 18361 h 27391"/>
                        <a:gd name="connsiteX46" fmla="*/ 27691 w 28827"/>
                        <a:gd name="connsiteY46" fmla="*/ 17583 h 27391"/>
                        <a:gd name="connsiteX47" fmla="*/ 27810 w 28827"/>
                        <a:gd name="connsiteY47" fmla="*/ 17284 h 27391"/>
                        <a:gd name="connsiteX48" fmla="*/ 27930 w 28827"/>
                        <a:gd name="connsiteY48" fmla="*/ 16985 h 27391"/>
                        <a:gd name="connsiteX49" fmla="*/ 28050 w 28827"/>
                        <a:gd name="connsiteY49" fmla="*/ 16686 h 27391"/>
                        <a:gd name="connsiteX50" fmla="*/ 28169 w 28827"/>
                        <a:gd name="connsiteY50" fmla="*/ 16387 h 27391"/>
                        <a:gd name="connsiteX51" fmla="*/ 28648 w 28827"/>
                        <a:gd name="connsiteY51" fmla="*/ 14413 h 27391"/>
                        <a:gd name="connsiteX52" fmla="*/ 28827 w 28827"/>
                        <a:gd name="connsiteY52" fmla="*/ 12440 h 27391"/>
                        <a:gd name="connsiteX53" fmla="*/ 28707 w 28827"/>
                        <a:gd name="connsiteY53" fmla="*/ 10526 h 27391"/>
                        <a:gd name="connsiteX54" fmla="*/ 28349 w 28827"/>
                        <a:gd name="connsiteY54" fmla="*/ 8672 h 27391"/>
                        <a:gd name="connsiteX55" fmla="*/ 28169 w 28827"/>
                        <a:gd name="connsiteY55" fmla="*/ 8134 h 27391"/>
                        <a:gd name="connsiteX56" fmla="*/ 27990 w 28827"/>
                        <a:gd name="connsiteY56" fmla="*/ 7596 h 27391"/>
                        <a:gd name="connsiteX57" fmla="*/ 27750 w 28827"/>
                        <a:gd name="connsiteY57" fmla="*/ 7057 h 27391"/>
                        <a:gd name="connsiteX58" fmla="*/ 27511 w 28827"/>
                        <a:gd name="connsiteY58" fmla="*/ 6579 h 27391"/>
                        <a:gd name="connsiteX59" fmla="*/ 26794 w 28827"/>
                        <a:gd name="connsiteY59" fmla="*/ 5323 h 27391"/>
                        <a:gd name="connsiteX60" fmla="*/ 25896 w 28827"/>
                        <a:gd name="connsiteY60" fmla="*/ 4187 h 27391"/>
                        <a:gd name="connsiteX61" fmla="*/ 24820 w 28827"/>
                        <a:gd name="connsiteY61" fmla="*/ 3110 h 27391"/>
                        <a:gd name="connsiteX62" fmla="*/ 23564 w 28827"/>
                        <a:gd name="connsiteY62" fmla="*/ 2153 h 27391"/>
                        <a:gd name="connsiteX63" fmla="*/ 22188 w 28827"/>
                        <a:gd name="connsiteY63" fmla="*/ 1375 h 27391"/>
                        <a:gd name="connsiteX64" fmla="*/ 20753 w 28827"/>
                        <a:gd name="connsiteY64" fmla="*/ 778 h 27391"/>
                        <a:gd name="connsiteX65" fmla="*/ 19258 w 28827"/>
                        <a:gd name="connsiteY65" fmla="*/ 359 h 27391"/>
                        <a:gd name="connsiteX66" fmla="*/ 17703 w 28827"/>
                        <a:gd name="connsiteY66" fmla="*/ 120 h 27391"/>
                        <a:gd name="connsiteX67" fmla="*/ 17105 w 28827"/>
                        <a:gd name="connsiteY67" fmla="*/ 60 h 27391"/>
                        <a:gd name="connsiteX68" fmla="*/ 16507 w 28827"/>
                        <a:gd name="connsiteY68" fmla="*/ 0 h 27391"/>
                        <a:gd name="connsiteX69" fmla="*/ 15909 w 28827"/>
                        <a:gd name="connsiteY69" fmla="*/ 0 h 27391"/>
                        <a:gd name="connsiteX70" fmla="*/ 15311 w 28827"/>
                        <a:gd name="connsiteY70" fmla="*/ 0 h 27391"/>
                        <a:gd name="connsiteX71" fmla="*/ 13217 w 28827"/>
                        <a:gd name="connsiteY71" fmla="*/ 239 h 27391"/>
                        <a:gd name="connsiteX72" fmla="*/ 11184 w 28827"/>
                        <a:gd name="connsiteY72" fmla="*/ 778 h 27391"/>
                        <a:gd name="connsiteX73" fmla="*/ 9210 w 28827"/>
                        <a:gd name="connsiteY73" fmla="*/ 1555 h 27391"/>
                        <a:gd name="connsiteX74" fmla="*/ 7296 w 28827"/>
                        <a:gd name="connsiteY74" fmla="*/ 2632 h 27391"/>
                        <a:gd name="connsiteX75" fmla="*/ 6997 w 28827"/>
                        <a:gd name="connsiteY75" fmla="*/ 2811 h 27391"/>
                        <a:gd name="connsiteX76" fmla="*/ 6698 w 28827"/>
                        <a:gd name="connsiteY76" fmla="*/ 2990 h 27391"/>
                        <a:gd name="connsiteX77" fmla="*/ 6399 w 28827"/>
                        <a:gd name="connsiteY77" fmla="*/ 3170 h 27391"/>
                        <a:gd name="connsiteX78" fmla="*/ 6160 w 28827"/>
                        <a:gd name="connsiteY78" fmla="*/ 3349 h 27391"/>
                        <a:gd name="connsiteX79" fmla="*/ 5442 w 28827"/>
                        <a:gd name="connsiteY79" fmla="*/ 3888 h 27391"/>
                        <a:gd name="connsiteX80" fmla="*/ 4785 w 28827"/>
                        <a:gd name="connsiteY80" fmla="*/ 4486 h 27391"/>
                        <a:gd name="connsiteX81" fmla="*/ 4127 w 28827"/>
                        <a:gd name="connsiteY81" fmla="*/ 5143 h 27391"/>
                        <a:gd name="connsiteX82" fmla="*/ 3588 w 28827"/>
                        <a:gd name="connsiteY82" fmla="*/ 5742 h 27391"/>
                        <a:gd name="connsiteX83" fmla="*/ 17942 w 28827"/>
                        <a:gd name="connsiteY83" fmla="*/ 25298 h 27391"/>
                        <a:gd name="connsiteX84" fmla="*/ 19138 w 28827"/>
                        <a:gd name="connsiteY84" fmla="*/ 26076 h 27391"/>
                        <a:gd name="connsiteX85" fmla="*/ 20813 w 28827"/>
                        <a:gd name="connsiteY85" fmla="*/ 25238 h 27391"/>
                        <a:gd name="connsiteX86" fmla="*/ 22368 w 28827"/>
                        <a:gd name="connsiteY86" fmla="*/ 24222 h 27391"/>
                        <a:gd name="connsiteX87" fmla="*/ 23863 w 28827"/>
                        <a:gd name="connsiteY87" fmla="*/ 23026 h 27391"/>
                        <a:gd name="connsiteX88" fmla="*/ 25179 w 28827"/>
                        <a:gd name="connsiteY88" fmla="*/ 21650 h 27391"/>
                        <a:gd name="connsiteX89" fmla="*/ 24222 w 28827"/>
                        <a:gd name="connsiteY89" fmla="*/ 20992 h 27391"/>
                        <a:gd name="connsiteX90" fmla="*/ 22846 w 28827"/>
                        <a:gd name="connsiteY90" fmla="*/ 22368 h 27391"/>
                        <a:gd name="connsiteX91" fmla="*/ 21351 w 28827"/>
                        <a:gd name="connsiteY91" fmla="*/ 23564 h 27391"/>
                        <a:gd name="connsiteX92" fmla="*/ 19736 w 28827"/>
                        <a:gd name="connsiteY92" fmla="*/ 24521 h 27391"/>
                        <a:gd name="connsiteX93" fmla="*/ 17942 w 28827"/>
                        <a:gd name="connsiteY93" fmla="*/ 25298 h 27391"/>
                        <a:gd name="connsiteX94" fmla="*/ 60 w 28827"/>
                        <a:gd name="connsiteY94" fmla="*/ 13516 h 27391"/>
                        <a:gd name="connsiteX95" fmla="*/ 1256 w 28827"/>
                        <a:gd name="connsiteY95" fmla="*/ 14294 h 27391"/>
                        <a:gd name="connsiteX96" fmla="*/ 1495 w 28827"/>
                        <a:gd name="connsiteY96" fmla="*/ 12559 h 27391"/>
                        <a:gd name="connsiteX97" fmla="*/ 1973 w 28827"/>
                        <a:gd name="connsiteY97" fmla="*/ 10825 h 27391"/>
                        <a:gd name="connsiteX98" fmla="*/ 2751 w 28827"/>
                        <a:gd name="connsiteY98" fmla="*/ 9091 h 27391"/>
                        <a:gd name="connsiteX99" fmla="*/ 3768 w 28827"/>
                        <a:gd name="connsiteY99" fmla="*/ 7416 h 27391"/>
                        <a:gd name="connsiteX100" fmla="*/ 2811 w 28827"/>
                        <a:gd name="connsiteY100" fmla="*/ 6758 h 27391"/>
                        <a:gd name="connsiteX101" fmla="*/ 1794 w 28827"/>
                        <a:gd name="connsiteY101" fmla="*/ 8373 h 27391"/>
                        <a:gd name="connsiteX102" fmla="*/ 1017 w 28827"/>
                        <a:gd name="connsiteY102" fmla="*/ 10048 h 27391"/>
                        <a:gd name="connsiteX103" fmla="*/ 478 w 28827"/>
                        <a:gd name="connsiteY103" fmla="*/ 11782 h 27391"/>
                        <a:gd name="connsiteX104" fmla="*/ 60 w 28827"/>
                        <a:gd name="connsiteY104" fmla="*/ 13516 h 27391"/>
                        <a:gd name="connsiteX105" fmla="*/ 12978 w 28827"/>
                        <a:gd name="connsiteY105" fmla="*/ 26196 h 27391"/>
                        <a:gd name="connsiteX106" fmla="*/ 14653 w 28827"/>
                        <a:gd name="connsiteY106" fmla="*/ 27272 h 27391"/>
                        <a:gd name="connsiteX107" fmla="*/ 15430 w 28827"/>
                        <a:gd name="connsiteY107" fmla="*/ 27152 h 27391"/>
                        <a:gd name="connsiteX108" fmla="*/ 16208 w 28827"/>
                        <a:gd name="connsiteY108" fmla="*/ 26973 h 27391"/>
                        <a:gd name="connsiteX109" fmla="*/ 16985 w 28827"/>
                        <a:gd name="connsiteY109" fmla="*/ 26794 h 27391"/>
                        <a:gd name="connsiteX110" fmla="*/ 17703 w 28827"/>
                        <a:gd name="connsiteY110" fmla="*/ 26554 h 27391"/>
                        <a:gd name="connsiteX111" fmla="*/ 16447 w 28827"/>
                        <a:gd name="connsiteY111" fmla="*/ 25717 h 27391"/>
                        <a:gd name="connsiteX112" fmla="*/ 15610 w 28827"/>
                        <a:gd name="connsiteY112" fmla="*/ 25897 h 27391"/>
                        <a:gd name="connsiteX113" fmla="*/ 14772 w 28827"/>
                        <a:gd name="connsiteY113" fmla="*/ 26016 h 27391"/>
                        <a:gd name="connsiteX114" fmla="*/ 13935 w 28827"/>
                        <a:gd name="connsiteY114" fmla="*/ 26076 h 27391"/>
                        <a:gd name="connsiteX115" fmla="*/ 12978 w 28827"/>
                        <a:gd name="connsiteY115" fmla="*/ 26196 h 27391"/>
                        <a:gd name="connsiteX116" fmla="*/ 239 w 28827"/>
                        <a:gd name="connsiteY116" fmla="*/ 17822 h 27391"/>
                        <a:gd name="connsiteX117" fmla="*/ 1914 w 28827"/>
                        <a:gd name="connsiteY117" fmla="*/ 18899 h 27391"/>
                        <a:gd name="connsiteX118" fmla="*/ 1674 w 28827"/>
                        <a:gd name="connsiteY118" fmla="*/ 18121 h 27391"/>
                        <a:gd name="connsiteX119" fmla="*/ 1495 w 28827"/>
                        <a:gd name="connsiteY119" fmla="*/ 17344 h 27391"/>
                        <a:gd name="connsiteX120" fmla="*/ 1375 w 28827"/>
                        <a:gd name="connsiteY120" fmla="*/ 16567 h 27391"/>
                        <a:gd name="connsiteX121" fmla="*/ 1316 w 28827"/>
                        <a:gd name="connsiteY121" fmla="*/ 15789 h 27391"/>
                        <a:gd name="connsiteX122" fmla="*/ 0 w 28827"/>
                        <a:gd name="connsiteY122" fmla="*/ 14952 h 27391"/>
                        <a:gd name="connsiteX123" fmla="*/ 0 w 28827"/>
                        <a:gd name="connsiteY123" fmla="*/ 15669 h 27391"/>
                        <a:gd name="connsiteX124" fmla="*/ 60 w 28827"/>
                        <a:gd name="connsiteY124" fmla="*/ 16387 h 27391"/>
                        <a:gd name="connsiteX125" fmla="*/ 119 w 28827"/>
                        <a:gd name="connsiteY125" fmla="*/ 17105 h 27391"/>
                        <a:gd name="connsiteX126" fmla="*/ 239 w 28827"/>
                        <a:gd name="connsiteY126" fmla="*/ 17822 h 27391"/>
                        <a:gd name="connsiteX127" fmla="*/ 3648 w 28827"/>
                        <a:gd name="connsiteY127" fmla="*/ 23923 h 27391"/>
                        <a:gd name="connsiteX128" fmla="*/ 7236 w 28827"/>
                        <a:gd name="connsiteY128" fmla="*/ 26255 h 27391"/>
                        <a:gd name="connsiteX129" fmla="*/ 8493 w 28827"/>
                        <a:gd name="connsiteY129" fmla="*/ 26734 h 27391"/>
                        <a:gd name="connsiteX130" fmla="*/ 9808 w 28827"/>
                        <a:gd name="connsiteY130" fmla="*/ 27092 h 27391"/>
                        <a:gd name="connsiteX131" fmla="*/ 11124 w 28827"/>
                        <a:gd name="connsiteY131" fmla="*/ 27332 h 27391"/>
                        <a:gd name="connsiteX132" fmla="*/ 12500 w 28827"/>
                        <a:gd name="connsiteY132" fmla="*/ 27392 h 27391"/>
                        <a:gd name="connsiteX133" fmla="*/ 10287 w 28827"/>
                        <a:gd name="connsiteY133" fmla="*/ 25956 h 27391"/>
                        <a:gd name="connsiteX134" fmla="*/ 9210 w 28827"/>
                        <a:gd name="connsiteY134" fmla="*/ 25657 h 27391"/>
                        <a:gd name="connsiteX135" fmla="*/ 8134 w 28827"/>
                        <a:gd name="connsiteY135" fmla="*/ 25298 h 27391"/>
                        <a:gd name="connsiteX136" fmla="*/ 7117 w 28827"/>
                        <a:gd name="connsiteY136" fmla="*/ 24820 h 27391"/>
                        <a:gd name="connsiteX137" fmla="*/ 6160 w 28827"/>
                        <a:gd name="connsiteY137" fmla="*/ 24222 h 27391"/>
                        <a:gd name="connsiteX138" fmla="*/ 5263 w 28827"/>
                        <a:gd name="connsiteY138" fmla="*/ 23564 h 27391"/>
                        <a:gd name="connsiteX139" fmla="*/ 4426 w 28827"/>
                        <a:gd name="connsiteY139" fmla="*/ 22846 h 27391"/>
                        <a:gd name="connsiteX140" fmla="*/ 3708 w 28827"/>
                        <a:gd name="connsiteY140" fmla="*/ 22069 h 27391"/>
                        <a:gd name="connsiteX141" fmla="*/ 3050 w 28827"/>
                        <a:gd name="connsiteY141" fmla="*/ 21231 h 27391"/>
                        <a:gd name="connsiteX142" fmla="*/ 837 w 28827"/>
                        <a:gd name="connsiteY142" fmla="*/ 19736 h 27391"/>
                        <a:gd name="connsiteX143" fmla="*/ 1375 w 28827"/>
                        <a:gd name="connsiteY143" fmla="*/ 20873 h 27391"/>
                        <a:gd name="connsiteX144" fmla="*/ 2033 w 28827"/>
                        <a:gd name="connsiteY144" fmla="*/ 21949 h 27391"/>
                        <a:gd name="connsiteX145" fmla="*/ 2811 w 28827"/>
                        <a:gd name="connsiteY145" fmla="*/ 22966 h 27391"/>
                        <a:gd name="connsiteX146" fmla="*/ 3648 w 28827"/>
                        <a:gd name="connsiteY146" fmla="*/ 23923 h 2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28827" h="27391">
                          <a:moveTo>
                            <a:pt x="3588" y="5742"/>
                          </a:moveTo>
                          <a:lnTo>
                            <a:pt x="4545" y="6399"/>
                          </a:lnTo>
                          <a:cubicBezTo>
                            <a:pt x="4725" y="6160"/>
                            <a:pt x="4964" y="5921"/>
                            <a:pt x="5203" y="5682"/>
                          </a:cubicBezTo>
                          <a:cubicBezTo>
                            <a:pt x="5442" y="5442"/>
                            <a:pt x="5622" y="5263"/>
                            <a:pt x="5861" y="5024"/>
                          </a:cubicBezTo>
                          <a:cubicBezTo>
                            <a:pt x="6100" y="4785"/>
                            <a:pt x="6340" y="4605"/>
                            <a:pt x="6579" y="4426"/>
                          </a:cubicBezTo>
                          <a:cubicBezTo>
                            <a:pt x="6818" y="4246"/>
                            <a:pt x="7057" y="4067"/>
                            <a:pt x="7296" y="3888"/>
                          </a:cubicBezTo>
                          <a:cubicBezTo>
                            <a:pt x="7416" y="3828"/>
                            <a:pt x="7476" y="3768"/>
                            <a:pt x="7595" y="3708"/>
                          </a:cubicBezTo>
                          <a:cubicBezTo>
                            <a:pt x="7715" y="3648"/>
                            <a:pt x="7775" y="3588"/>
                            <a:pt x="7895" y="3529"/>
                          </a:cubicBezTo>
                          <a:cubicBezTo>
                            <a:pt x="8014" y="3469"/>
                            <a:pt x="8074" y="3409"/>
                            <a:pt x="8194" y="3349"/>
                          </a:cubicBezTo>
                          <a:cubicBezTo>
                            <a:pt x="8313" y="3289"/>
                            <a:pt x="8373" y="3229"/>
                            <a:pt x="8493" y="3170"/>
                          </a:cubicBezTo>
                          <a:cubicBezTo>
                            <a:pt x="9150" y="2751"/>
                            <a:pt x="9868" y="2392"/>
                            <a:pt x="10586" y="2153"/>
                          </a:cubicBezTo>
                          <a:cubicBezTo>
                            <a:pt x="11303" y="1914"/>
                            <a:pt x="12081" y="1615"/>
                            <a:pt x="12798" y="1435"/>
                          </a:cubicBezTo>
                          <a:cubicBezTo>
                            <a:pt x="13576" y="1256"/>
                            <a:pt x="14294" y="1136"/>
                            <a:pt x="15071" y="1076"/>
                          </a:cubicBezTo>
                          <a:cubicBezTo>
                            <a:pt x="15849" y="1017"/>
                            <a:pt x="16566" y="1017"/>
                            <a:pt x="17344" y="1136"/>
                          </a:cubicBezTo>
                          <a:cubicBezTo>
                            <a:pt x="17643" y="1196"/>
                            <a:pt x="18002" y="1196"/>
                            <a:pt x="18301" y="1256"/>
                          </a:cubicBezTo>
                          <a:cubicBezTo>
                            <a:pt x="18600" y="1316"/>
                            <a:pt x="18959" y="1375"/>
                            <a:pt x="19258" y="1435"/>
                          </a:cubicBezTo>
                          <a:cubicBezTo>
                            <a:pt x="19557" y="1495"/>
                            <a:pt x="19856" y="1615"/>
                            <a:pt x="20155" y="1734"/>
                          </a:cubicBezTo>
                          <a:cubicBezTo>
                            <a:pt x="20454" y="1854"/>
                            <a:pt x="20753" y="1974"/>
                            <a:pt x="21052" y="2093"/>
                          </a:cubicBezTo>
                          <a:cubicBezTo>
                            <a:pt x="21231" y="2153"/>
                            <a:pt x="21351" y="2213"/>
                            <a:pt x="21530" y="2333"/>
                          </a:cubicBezTo>
                          <a:cubicBezTo>
                            <a:pt x="21710" y="2392"/>
                            <a:pt x="21829" y="2512"/>
                            <a:pt x="22009" y="2572"/>
                          </a:cubicBezTo>
                          <a:cubicBezTo>
                            <a:pt x="22188" y="2632"/>
                            <a:pt x="22308" y="2751"/>
                            <a:pt x="22488" y="2811"/>
                          </a:cubicBezTo>
                          <a:cubicBezTo>
                            <a:pt x="22607" y="2871"/>
                            <a:pt x="22787" y="2990"/>
                            <a:pt x="22906" y="3110"/>
                          </a:cubicBezTo>
                          <a:cubicBezTo>
                            <a:pt x="23026" y="3229"/>
                            <a:pt x="23205" y="3289"/>
                            <a:pt x="23325" y="3409"/>
                          </a:cubicBezTo>
                          <a:cubicBezTo>
                            <a:pt x="23444" y="3529"/>
                            <a:pt x="23624" y="3588"/>
                            <a:pt x="23743" y="3708"/>
                          </a:cubicBezTo>
                          <a:cubicBezTo>
                            <a:pt x="23863" y="3828"/>
                            <a:pt x="23983" y="3947"/>
                            <a:pt x="24102" y="4067"/>
                          </a:cubicBezTo>
                          <a:cubicBezTo>
                            <a:pt x="24222" y="4187"/>
                            <a:pt x="24342" y="4306"/>
                            <a:pt x="24461" y="4426"/>
                          </a:cubicBezTo>
                          <a:cubicBezTo>
                            <a:pt x="24700" y="4665"/>
                            <a:pt x="24880" y="4844"/>
                            <a:pt x="25119" y="5083"/>
                          </a:cubicBezTo>
                          <a:cubicBezTo>
                            <a:pt x="25298" y="5323"/>
                            <a:pt x="25537" y="5562"/>
                            <a:pt x="25717" y="5801"/>
                          </a:cubicBezTo>
                          <a:cubicBezTo>
                            <a:pt x="25896" y="6041"/>
                            <a:pt x="26076" y="6280"/>
                            <a:pt x="26196" y="6579"/>
                          </a:cubicBezTo>
                          <a:cubicBezTo>
                            <a:pt x="26375" y="6818"/>
                            <a:pt x="26495" y="7117"/>
                            <a:pt x="26614" y="7356"/>
                          </a:cubicBezTo>
                          <a:cubicBezTo>
                            <a:pt x="26913" y="7954"/>
                            <a:pt x="27152" y="8612"/>
                            <a:pt x="27332" y="9330"/>
                          </a:cubicBezTo>
                          <a:cubicBezTo>
                            <a:pt x="27511" y="9988"/>
                            <a:pt x="27631" y="10705"/>
                            <a:pt x="27691" y="11423"/>
                          </a:cubicBezTo>
                          <a:cubicBezTo>
                            <a:pt x="27750" y="12141"/>
                            <a:pt x="27750" y="12859"/>
                            <a:pt x="27631" y="13576"/>
                          </a:cubicBezTo>
                          <a:cubicBezTo>
                            <a:pt x="27511" y="14294"/>
                            <a:pt x="27391" y="15012"/>
                            <a:pt x="27212" y="15729"/>
                          </a:cubicBezTo>
                          <a:cubicBezTo>
                            <a:pt x="27212" y="15849"/>
                            <a:pt x="27152" y="15909"/>
                            <a:pt x="27092" y="16028"/>
                          </a:cubicBezTo>
                          <a:cubicBezTo>
                            <a:pt x="27033" y="16148"/>
                            <a:pt x="27033" y="16208"/>
                            <a:pt x="26973" y="16327"/>
                          </a:cubicBezTo>
                          <a:cubicBezTo>
                            <a:pt x="26913" y="16447"/>
                            <a:pt x="26913" y="16507"/>
                            <a:pt x="26853" y="16626"/>
                          </a:cubicBezTo>
                          <a:cubicBezTo>
                            <a:pt x="26794" y="16746"/>
                            <a:pt x="26794" y="16806"/>
                            <a:pt x="26734" y="16926"/>
                          </a:cubicBezTo>
                          <a:cubicBezTo>
                            <a:pt x="26614" y="17165"/>
                            <a:pt x="26495" y="17464"/>
                            <a:pt x="26375" y="17703"/>
                          </a:cubicBezTo>
                          <a:cubicBezTo>
                            <a:pt x="26255" y="17942"/>
                            <a:pt x="26136" y="18241"/>
                            <a:pt x="25956" y="18481"/>
                          </a:cubicBezTo>
                          <a:cubicBezTo>
                            <a:pt x="25837" y="18720"/>
                            <a:pt x="25657" y="19019"/>
                            <a:pt x="25478" y="19258"/>
                          </a:cubicBezTo>
                          <a:cubicBezTo>
                            <a:pt x="25298" y="19497"/>
                            <a:pt x="25119" y="19736"/>
                            <a:pt x="24940" y="20035"/>
                          </a:cubicBezTo>
                          <a:lnTo>
                            <a:pt x="25896" y="20693"/>
                          </a:lnTo>
                          <a:cubicBezTo>
                            <a:pt x="26076" y="20454"/>
                            <a:pt x="26255" y="20215"/>
                            <a:pt x="26435" y="19916"/>
                          </a:cubicBezTo>
                          <a:cubicBezTo>
                            <a:pt x="26614" y="19676"/>
                            <a:pt x="26734" y="19437"/>
                            <a:pt x="26913" y="19138"/>
                          </a:cubicBezTo>
                          <a:cubicBezTo>
                            <a:pt x="27033" y="18899"/>
                            <a:pt x="27212" y="18600"/>
                            <a:pt x="27332" y="18361"/>
                          </a:cubicBezTo>
                          <a:cubicBezTo>
                            <a:pt x="27451" y="18121"/>
                            <a:pt x="27571" y="17822"/>
                            <a:pt x="27691" y="17583"/>
                          </a:cubicBezTo>
                          <a:cubicBezTo>
                            <a:pt x="27750" y="17464"/>
                            <a:pt x="27750" y="17404"/>
                            <a:pt x="27810" y="17284"/>
                          </a:cubicBezTo>
                          <a:cubicBezTo>
                            <a:pt x="27870" y="17165"/>
                            <a:pt x="27870" y="17105"/>
                            <a:pt x="27930" y="16985"/>
                          </a:cubicBezTo>
                          <a:cubicBezTo>
                            <a:pt x="27990" y="16866"/>
                            <a:pt x="27990" y="16806"/>
                            <a:pt x="28050" y="16686"/>
                          </a:cubicBezTo>
                          <a:cubicBezTo>
                            <a:pt x="28109" y="16567"/>
                            <a:pt x="28109" y="16507"/>
                            <a:pt x="28169" y="16387"/>
                          </a:cubicBezTo>
                          <a:cubicBezTo>
                            <a:pt x="28408" y="15729"/>
                            <a:pt x="28528" y="15072"/>
                            <a:pt x="28648" y="14413"/>
                          </a:cubicBezTo>
                          <a:cubicBezTo>
                            <a:pt x="28767" y="13756"/>
                            <a:pt x="28827" y="13098"/>
                            <a:pt x="28827" y="12440"/>
                          </a:cubicBezTo>
                          <a:cubicBezTo>
                            <a:pt x="28827" y="11782"/>
                            <a:pt x="28827" y="11124"/>
                            <a:pt x="28707" y="10526"/>
                          </a:cubicBezTo>
                          <a:cubicBezTo>
                            <a:pt x="28648" y="9868"/>
                            <a:pt x="28468" y="9270"/>
                            <a:pt x="28349" y="8672"/>
                          </a:cubicBezTo>
                          <a:cubicBezTo>
                            <a:pt x="28289" y="8493"/>
                            <a:pt x="28229" y="8313"/>
                            <a:pt x="28169" y="8134"/>
                          </a:cubicBezTo>
                          <a:cubicBezTo>
                            <a:pt x="28109" y="7954"/>
                            <a:pt x="28050" y="7775"/>
                            <a:pt x="27990" y="7596"/>
                          </a:cubicBezTo>
                          <a:cubicBezTo>
                            <a:pt x="27930" y="7416"/>
                            <a:pt x="27870" y="7237"/>
                            <a:pt x="27750" y="7057"/>
                          </a:cubicBezTo>
                          <a:cubicBezTo>
                            <a:pt x="27631" y="6878"/>
                            <a:pt x="27571" y="6698"/>
                            <a:pt x="27511" y="6579"/>
                          </a:cubicBezTo>
                          <a:cubicBezTo>
                            <a:pt x="27272" y="6160"/>
                            <a:pt x="27033" y="5742"/>
                            <a:pt x="26794" y="5323"/>
                          </a:cubicBezTo>
                          <a:cubicBezTo>
                            <a:pt x="26495" y="4904"/>
                            <a:pt x="26196" y="4545"/>
                            <a:pt x="25896" y="4187"/>
                          </a:cubicBezTo>
                          <a:cubicBezTo>
                            <a:pt x="25537" y="3828"/>
                            <a:pt x="25238" y="3469"/>
                            <a:pt x="24820" y="3110"/>
                          </a:cubicBezTo>
                          <a:cubicBezTo>
                            <a:pt x="24461" y="2751"/>
                            <a:pt x="24042" y="2452"/>
                            <a:pt x="23564" y="2153"/>
                          </a:cubicBezTo>
                          <a:cubicBezTo>
                            <a:pt x="23145" y="1854"/>
                            <a:pt x="22667" y="1615"/>
                            <a:pt x="22188" y="1375"/>
                          </a:cubicBezTo>
                          <a:cubicBezTo>
                            <a:pt x="21710" y="1136"/>
                            <a:pt x="21231" y="957"/>
                            <a:pt x="20753" y="778"/>
                          </a:cubicBezTo>
                          <a:cubicBezTo>
                            <a:pt x="20274" y="598"/>
                            <a:pt x="19796" y="479"/>
                            <a:pt x="19258" y="359"/>
                          </a:cubicBezTo>
                          <a:cubicBezTo>
                            <a:pt x="18779" y="239"/>
                            <a:pt x="18241" y="179"/>
                            <a:pt x="17703" y="120"/>
                          </a:cubicBezTo>
                          <a:cubicBezTo>
                            <a:pt x="17523" y="120"/>
                            <a:pt x="17284" y="60"/>
                            <a:pt x="17105" y="60"/>
                          </a:cubicBezTo>
                          <a:cubicBezTo>
                            <a:pt x="16925" y="60"/>
                            <a:pt x="16686" y="60"/>
                            <a:pt x="16507" y="0"/>
                          </a:cubicBezTo>
                          <a:cubicBezTo>
                            <a:pt x="16327" y="0"/>
                            <a:pt x="16088" y="0"/>
                            <a:pt x="15909" y="0"/>
                          </a:cubicBezTo>
                          <a:cubicBezTo>
                            <a:pt x="15729" y="0"/>
                            <a:pt x="15490" y="0"/>
                            <a:pt x="15311" y="0"/>
                          </a:cubicBezTo>
                          <a:cubicBezTo>
                            <a:pt x="14593" y="60"/>
                            <a:pt x="13935" y="120"/>
                            <a:pt x="13217" y="239"/>
                          </a:cubicBezTo>
                          <a:cubicBezTo>
                            <a:pt x="12500" y="359"/>
                            <a:pt x="11842" y="538"/>
                            <a:pt x="11184" y="778"/>
                          </a:cubicBezTo>
                          <a:cubicBezTo>
                            <a:pt x="10526" y="1017"/>
                            <a:pt x="9808" y="1256"/>
                            <a:pt x="9210" y="1555"/>
                          </a:cubicBezTo>
                          <a:cubicBezTo>
                            <a:pt x="8552" y="1854"/>
                            <a:pt x="7895" y="2213"/>
                            <a:pt x="7296" y="2632"/>
                          </a:cubicBezTo>
                          <a:cubicBezTo>
                            <a:pt x="7177" y="2691"/>
                            <a:pt x="7117" y="2751"/>
                            <a:pt x="6997" y="2811"/>
                          </a:cubicBezTo>
                          <a:cubicBezTo>
                            <a:pt x="6878" y="2871"/>
                            <a:pt x="6818" y="2930"/>
                            <a:pt x="6698" y="2990"/>
                          </a:cubicBezTo>
                          <a:cubicBezTo>
                            <a:pt x="6579" y="3050"/>
                            <a:pt x="6519" y="3110"/>
                            <a:pt x="6399" y="3170"/>
                          </a:cubicBezTo>
                          <a:cubicBezTo>
                            <a:pt x="6280" y="3229"/>
                            <a:pt x="6220" y="3289"/>
                            <a:pt x="6160" y="3349"/>
                          </a:cubicBezTo>
                          <a:cubicBezTo>
                            <a:pt x="5921" y="3529"/>
                            <a:pt x="5682" y="3708"/>
                            <a:pt x="5442" y="3888"/>
                          </a:cubicBezTo>
                          <a:cubicBezTo>
                            <a:pt x="5203" y="4067"/>
                            <a:pt x="4964" y="4306"/>
                            <a:pt x="4785" y="4486"/>
                          </a:cubicBezTo>
                          <a:cubicBezTo>
                            <a:pt x="4545" y="4725"/>
                            <a:pt x="4366" y="4904"/>
                            <a:pt x="4127" y="5143"/>
                          </a:cubicBezTo>
                          <a:cubicBezTo>
                            <a:pt x="4007" y="5263"/>
                            <a:pt x="3827" y="5502"/>
                            <a:pt x="3588" y="5742"/>
                          </a:cubicBezTo>
                          <a:moveTo>
                            <a:pt x="17942" y="25298"/>
                          </a:moveTo>
                          <a:lnTo>
                            <a:pt x="19138" y="26076"/>
                          </a:lnTo>
                          <a:cubicBezTo>
                            <a:pt x="19676" y="25837"/>
                            <a:pt x="20274" y="25538"/>
                            <a:pt x="20813" y="25238"/>
                          </a:cubicBezTo>
                          <a:cubicBezTo>
                            <a:pt x="21351" y="24940"/>
                            <a:pt x="21889" y="24581"/>
                            <a:pt x="22368" y="24222"/>
                          </a:cubicBezTo>
                          <a:cubicBezTo>
                            <a:pt x="22906" y="23863"/>
                            <a:pt x="23384" y="23444"/>
                            <a:pt x="23863" y="23026"/>
                          </a:cubicBezTo>
                          <a:cubicBezTo>
                            <a:pt x="24342" y="22607"/>
                            <a:pt x="24760" y="22129"/>
                            <a:pt x="25179" y="21650"/>
                          </a:cubicBezTo>
                          <a:lnTo>
                            <a:pt x="24222" y="20992"/>
                          </a:lnTo>
                          <a:cubicBezTo>
                            <a:pt x="23803" y="21471"/>
                            <a:pt x="23325" y="21949"/>
                            <a:pt x="22846" y="22368"/>
                          </a:cubicBezTo>
                          <a:cubicBezTo>
                            <a:pt x="22368" y="22787"/>
                            <a:pt x="21829" y="23205"/>
                            <a:pt x="21351" y="23564"/>
                          </a:cubicBezTo>
                          <a:cubicBezTo>
                            <a:pt x="20873" y="23923"/>
                            <a:pt x="20274" y="24282"/>
                            <a:pt x="19736" y="24521"/>
                          </a:cubicBezTo>
                          <a:cubicBezTo>
                            <a:pt x="19198" y="24760"/>
                            <a:pt x="18540" y="25059"/>
                            <a:pt x="17942" y="25298"/>
                          </a:cubicBezTo>
                          <a:moveTo>
                            <a:pt x="60" y="13516"/>
                          </a:moveTo>
                          <a:lnTo>
                            <a:pt x="1256" y="14294"/>
                          </a:lnTo>
                          <a:cubicBezTo>
                            <a:pt x="1316" y="13696"/>
                            <a:pt x="1375" y="13098"/>
                            <a:pt x="1495" y="12559"/>
                          </a:cubicBezTo>
                          <a:cubicBezTo>
                            <a:pt x="1615" y="11961"/>
                            <a:pt x="1794" y="11364"/>
                            <a:pt x="1973" y="10825"/>
                          </a:cubicBezTo>
                          <a:cubicBezTo>
                            <a:pt x="2213" y="10227"/>
                            <a:pt x="2452" y="9689"/>
                            <a:pt x="2751" y="9091"/>
                          </a:cubicBezTo>
                          <a:cubicBezTo>
                            <a:pt x="3050" y="8552"/>
                            <a:pt x="3409" y="7954"/>
                            <a:pt x="3768" y="7416"/>
                          </a:cubicBezTo>
                          <a:lnTo>
                            <a:pt x="2811" y="6758"/>
                          </a:lnTo>
                          <a:cubicBezTo>
                            <a:pt x="2452" y="7296"/>
                            <a:pt x="2093" y="7835"/>
                            <a:pt x="1794" y="8373"/>
                          </a:cubicBezTo>
                          <a:cubicBezTo>
                            <a:pt x="1495" y="8911"/>
                            <a:pt x="1196" y="9510"/>
                            <a:pt x="1017" y="10048"/>
                          </a:cubicBezTo>
                          <a:cubicBezTo>
                            <a:pt x="837" y="10586"/>
                            <a:pt x="598" y="11184"/>
                            <a:pt x="478" y="11782"/>
                          </a:cubicBezTo>
                          <a:cubicBezTo>
                            <a:pt x="359" y="12380"/>
                            <a:pt x="119" y="12978"/>
                            <a:pt x="60" y="13516"/>
                          </a:cubicBezTo>
                          <a:moveTo>
                            <a:pt x="12978" y="26196"/>
                          </a:moveTo>
                          <a:lnTo>
                            <a:pt x="14653" y="27272"/>
                          </a:lnTo>
                          <a:cubicBezTo>
                            <a:pt x="14892" y="27212"/>
                            <a:pt x="15131" y="27212"/>
                            <a:pt x="15430" y="27152"/>
                          </a:cubicBezTo>
                          <a:cubicBezTo>
                            <a:pt x="15669" y="27092"/>
                            <a:pt x="15909" y="27033"/>
                            <a:pt x="16208" y="26973"/>
                          </a:cubicBezTo>
                          <a:cubicBezTo>
                            <a:pt x="16447" y="26913"/>
                            <a:pt x="16686" y="26853"/>
                            <a:pt x="16985" y="26794"/>
                          </a:cubicBezTo>
                          <a:cubicBezTo>
                            <a:pt x="17225" y="26734"/>
                            <a:pt x="17464" y="26674"/>
                            <a:pt x="17703" y="26554"/>
                          </a:cubicBezTo>
                          <a:lnTo>
                            <a:pt x="16447" y="25717"/>
                          </a:lnTo>
                          <a:cubicBezTo>
                            <a:pt x="16148" y="25777"/>
                            <a:pt x="15909" y="25837"/>
                            <a:pt x="15610" y="25897"/>
                          </a:cubicBezTo>
                          <a:cubicBezTo>
                            <a:pt x="15311" y="25956"/>
                            <a:pt x="15071" y="26016"/>
                            <a:pt x="14772" y="26016"/>
                          </a:cubicBezTo>
                          <a:cubicBezTo>
                            <a:pt x="14473" y="26016"/>
                            <a:pt x="14234" y="26076"/>
                            <a:pt x="13935" y="26076"/>
                          </a:cubicBezTo>
                          <a:cubicBezTo>
                            <a:pt x="13576" y="26196"/>
                            <a:pt x="13277" y="26196"/>
                            <a:pt x="12978" y="26196"/>
                          </a:cubicBezTo>
                          <a:moveTo>
                            <a:pt x="239" y="17822"/>
                          </a:moveTo>
                          <a:lnTo>
                            <a:pt x="1914" y="18899"/>
                          </a:lnTo>
                          <a:cubicBezTo>
                            <a:pt x="1854" y="18660"/>
                            <a:pt x="1734" y="18421"/>
                            <a:pt x="1674" y="18121"/>
                          </a:cubicBezTo>
                          <a:cubicBezTo>
                            <a:pt x="1615" y="17882"/>
                            <a:pt x="1555" y="17583"/>
                            <a:pt x="1495" y="17344"/>
                          </a:cubicBezTo>
                          <a:cubicBezTo>
                            <a:pt x="1435" y="17105"/>
                            <a:pt x="1375" y="16806"/>
                            <a:pt x="1375" y="16567"/>
                          </a:cubicBezTo>
                          <a:cubicBezTo>
                            <a:pt x="1316" y="16327"/>
                            <a:pt x="1316" y="16028"/>
                            <a:pt x="1316" y="15789"/>
                          </a:cubicBezTo>
                          <a:lnTo>
                            <a:pt x="0" y="14952"/>
                          </a:lnTo>
                          <a:cubicBezTo>
                            <a:pt x="0" y="15191"/>
                            <a:pt x="0" y="15430"/>
                            <a:pt x="0" y="15669"/>
                          </a:cubicBezTo>
                          <a:cubicBezTo>
                            <a:pt x="0" y="15909"/>
                            <a:pt x="0" y="16148"/>
                            <a:pt x="60" y="16387"/>
                          </a:cubicBezTo>
                          <a:cubicBezTo>
                            <a:pt x="60" y="16626"/>
                            <a:pt x="119" y="16866"/>
                            <a:pt x="119" y="17105"/>
                          </a:cubicBezTo>
                          <a:cubicBezTo>
                            <a:pt x="119" y="17404"/>
                            <a:pt x="179" y="17643"/>
                            <a:pt x="239" y="17822"/>
                          </a:cubicBezTo>
                          <a:moveTo>
                            <a:pt x="3648" y="23923"/>
                          </a:moveTo>
                          <a:lnTo>
                            <a:pt x="7236" y="26255"/>
                          </a:lnTo>
                          <a:cubicBezTo>
                            <a:pt x="7655" y="26435"/>
                            <a:pt x="8074" y="26614"/>
                            <a:pt x="8493" y="26734"/>
                          </a:cubicBezTo>
                          <a:cubicBezTo>
                            <a:pt x="8911" y="26853"/>
                            <a:pt x="9330" y="26973"/>
                            <a:pt x="9808" y="27092"/>
                          </a:cubicBezTo>
                          <a:cubicBezTo>
                            <a:pt x="10227" y="27212"/>
                            <a:pt x="10705" y="27272"/>
                            <a:pt x="11124" y="27332"/>
                          </a:cubicBezTo>
                          <a:cubicBezTo>
                            <a:pt x="11543" y="27392"/>
                            <a:pt x="12021" y="27392"/>
                            <a:pt x="12500" y="27392"/>
                          </a:cubicBezTo>
                          <a:lnTo>
                            <a:pt x="10287" y="25956"/>
                          </a:lnTo>
                          <a:cubicBezTo>
                            <a:pt x="9928" y="25897"/>
                            <a:pt x="9569" y="25777"/>
                            <a:pt x="9210" y="25657"/>
                          </a:cubicBezTo>
                          <a:cubicBezTo>
                            <a:pt x="8851" y="25538"/>
                            <a:pt x="8493" y="25418"/>
                            <a:pt x="8134" y="25298"/>
                          </a:cubicBezTo>
                          <a:cubicBezTo>
                            <a:pt x="7775" y="25179"/>
                            <a:pt x="7476" y="24999"/>
                            <a:pt x="7117" y="24820"/>
                          </a:cubicBezTo>
                          <a:cubicBezTo>
                            <a:pt x="6758" y="24641"/>
                            <a:pt x="6459" y="24461"/>
                            <a:pt x="6160" y="24222"/>
                          </a:cubicBezTo>
                          <a:cubicBezTo>
                            <a:pt x="5861" y="24043"/>
                            <a:pt x="5562" y="23803"/>
                            <a:pt x="5263" y="23564"/>
                          </a:cubicBezTo>
                          <a:cubicBezTo>
                            <a:pt x="4964" y="23325"/>
                            <a:pt x="4725" y="23085"/>
                            <a:pt x="4426" y="22846"/>
                          </a:cubicBezTo>
                          <a:cubicBezTo>
                            <a:pt x="4187" y="22607"/>
                            <a:pt x="3947" y="22308"/>
                            <a:pt x="3708" y="22069"/>
                          </a:cubicBezTo>
                          <a:cubicBezTo>
                            <a:pt x="3469" y="21830"/>
                            <a:pt x="3289" y="21530"/>
                            <a:pt x="3050" y="21231"/>
                          </a:cubicBezTo>
                          <a:lnTo>
                            <a:pt x="837" y="19736"/>
                          </a:lnTo>
                          <a:cubicBezTo>
                            <a:pt x="1017" y="20155"/>
                            <a:pt x="1196" y="20514"/>
                            <a:pt x="1375" y="20873"/>
                          </a:cubicBezTo>
                          <a:cubicBezTo>
                            <a:pt x="1555" y="21231"/>
                            <a:pt x="1794" y="21590"/>
                            <a:pt x="2033" y="21949"/>
                          </a:cubicBezTo>
                          <a:cubicBezTo>
                            <a:pt x="2273" y="22308"/>
                            <a:pt x="2512" y="22667"/>
                            <a:pt x="2811" y="22966"/>
                          </a:cubicBezTo>
                          <a:cubicBezTo>
                            <a:pt x="3110" y="23265"/>
                            <a:pt x="3349" y="23624"/>
                            <a:pt x="3648" y="23923"/>
                          </a:cubicBezTo>
                        </a:path>
                      </a:pathLst>
                    </a:custGeom>
                    <a:noFill/>
                    <a:ln w="6350" cap="flat">
                      <a:solidFill>
                        <a:schemeClr val="bg1">
                          <a:alpha val="80000"/>
                        </a:schemeClr>
                      </a:solidFill>
                      <a:prstDash val="solid"/>
                      <a:miter/>
                    </a:ln>
                  </p:spPr>
                  <p:txBody>
                    <a:bodyPr rtlCol="0" anchor="ctr"/>
                    <a:lstStyle/>
                    <a:p>
                      <a:endParaRPr lang="en-GB"/>
                    </a:p>
                  </p:txBody>
                </p:sp>
                <p:sp>
                  <p:nvSpPr>
                    <p:cNvPr id="7433" name="Vrije vorm: vorm 7432">
                      <a:extLst>
                        <a:ext uri="{FF2B5EF4-FFF2-40B4-BE49-F238E27FC236}">
                          <a16:creationId xmlns:a16="http://schemas.microsoft.com/office/drawing/2014/main" id="{FE15D0FD-7FD9-4654-B30E-B9E1AF07C68E}"/>
                        </a:ext>
                      </a:extLst>
                    </p:cNvPr>
                    <p:cNvSpPr/>
                    <p:nvPr/>
                  </p:nvSpPr>
                  <p:spPr>
                    <a:xfrm>
                      <a:off x="4818507" y="5173937"/>
                      <a:ext cx="15370" cy="15036"/>
                    </a:xfrm>
                    <a:custGeom>
                      <a:avLst/>
                      <a:gdLst>
                        <a:gd name="connsiteX0" fmla="*/ 2034 w 15370"/>
                        <a:gd name="connsiteY0" fmla="*/ 3135 h 15036"/>
                        <a:gd name="connsiteX1" fmla="*/ 2990 w 15370"/>
                        <a:gd name="connsiteY1" fmla="*/ 3733 h 15036"/>
                        <a:gd name="connsiteX2" fmla="*/ 3708 w 15370"/>
                        <a:gd name="connsiteY2" fmla="*/ 3015 h 15036"/>
                        <a:gd name="connsiteX3" fmla="*/ 4545 w 15370"/>
                        <a:gd name="connsiteY3" fmla="*/ 2417 h 15036"/>
                        <a:gd name="connsiteX4" fmla="*/ 5383 w 15370"/>
                        <a:gd name="connsiteY4" fmla="*/ 1939 h 15036"/>
                        <a:gd name="connsiteX5" fmla="*/ 6280 w 15370"/>
                        <a:gd name="connsiteY5" fmla="*/ 1579 h 15036"/>
                        <a:gd name="connsiteX6" fmla="*/ 6699 w 15370"/>
                        <a:gd name="connsiteY6" fmla="*/ 1460 h 15036"/>
                        <a:gd name="connsiteX7" fmla="*/ 7117 w 15370"/>
                        <a:gd name="connsiteY7" fmla="*/ 1340 h 15036"/>
                        <a:gd name="connsiteX8" fmla="*/ 7536 w 15370"/>
                        <a:gd name="connsiteY8" fmla="*/ 1281 h 15036"/>
                        <a:gd name="connsiteX9" fmla="*/ 7954 w 15370"/>
                        <a:gd name="connsiteY9" fmla="*/ 1221 h 15036"/>
                        <a:gd name="connsiteX10" fmla="*/ 8971 w 15370"/>
                        <a:gd name="connsiteY10" fmla="*/ 1221 h 15036"/>
                        <a:gd name="connsiteX11" fmla="*/ 9928 w 15370"/>
                        <a:gd name="connsiteY11" fmla="*/ 1400 h 15036"/>
                        <a:gd name="connsiteX12" fmla="*/ 10885 w 15370"/>
                        <a:gd name="connsiteY12" fmla="*/ 1699 h 15036"/>
                        <a:gd name="connsiteX13" fmla="*/ 11782 w 15370"/>
                        <a:gd name="connsiteY13" fmla="*/ 2178 h 15036"/>
                        <a:gd name="connsiteX14" fmla="*/ 12560 w 15370"/>
                        <a:gd name="connsiteY14" fmla="*/ 2776 h 15036"/>
                        <a:gd name="connsiteX15" fmla="*/ 13158 w 15370"/>
                        <a:gd name="connsiteY15" fmla="*/ 3493 h 15036"/>
                        <a:gd name="connsiteX16" fmla="*/ 13636 w 15370"/>
                        <a:gd name="connsiteY16" fmla="*/ 4271 h 15036"/>
                        <a:gd name="connsiteX17" fmla="*/ 13935 w 15370"/>
                        <a:gd name="connsiteY17" fmla="*/ 5108 h 15036"/>
                        <a:gd name="connsiteX18" fmla="*/ 14055 w 15370"/>
                        <a:gd name="connsiteY18" fmla="*/ 5527 h 15036"/>
                        <a:gd name="connsiteX19" fmla="*/ 14115 w 15370"/>
                        <a:gd name="connsiteY19" fmla="*/ 5946 h 15036"/>
                        <a:gd name="connsiteX20" fmla="*/ 14175 w 15370"/>
                        <a:gd name="connsiteY20" fmla="*/ 6364 h 15036"/>
                        <a:gd name="connsiteX21" fmla="*/ 14175 w 15370"/>
                        <a:gd name="connsiteY21" fmla="*/ 6783 h 15036"/>
                        <a:gd name="connsiteX22" fmla="*/ 14115 w 15370"/>
                        <a:gd name="connsiteY22" fmla="*/ 7680 h 15036"/>
                        <a:gd name="connsiteX23" fmla="*/ 13875 w 15370"/>
                        <a:gd name="connsiteY23" fmla="*/ 8577 h 15036"/>
                        <a:gd name="connsiteX24" fmla="*/ 13516 w 15370"/>
                        <a:gd name="connsiteY24" fmla="*/ 9474 h 15036"/>
                        <a:gd name="connsiteX25" fmla="*/ 13038 w 15370"/>
                        <a:gd name="connsiteY25" fmla="*/ 10311 h 15036"/>
                        <a:gd name="connsiteX26" fmla="*/ 13995 w 15370"/>
                        <a:gd name="connsiteY26" fmla="*/ 10969 h 15036"/>
                        <a:gd name="connsiteX27" fmla="*/ 14474 w 15370"/>
                        <a:gd name="connsiteY27" fmla="*/ 10132 h 15036"/>
                        <a:gd name="connsiteX28" fmla="*/ 14832 w 15370"/>
                        <a:gd name="connsiteY28" fmla="*/ 9295 h 15036"/>
                        <a:gd name="connsiteX29" fmla="*/ 15131 w 15370"/>
                        <a:gd name="connsiteY29" fmla="*/ 8457 h 15036"/>
                        <a:gd name="connsiteX30" fmla="*/ 15311 w 15370"/>
                        <a:gd name="connsiteY30" fmla="*/ 7620 h 15036"/>
                        <a:gd name="connsiteX31" fmla="*/ 15371 w 15370"/>
                        <a:gd name="connsiteY31" fmla="*/ 7261 h 15036"/>
                        <a:gd name="connsiteX32" fmla="*/ 15371 w 15370"/>
                        <a:gd name="connsiteY32" fmla="*/ 6902 h 15036"/>
                        <a:gd name="connsiteX33" fmla="*/ 15371 w 15370"/>
                        <a:gd name="connsiteY33" fmla="*/ 6544 h 15036"/>
                        <a:gd name="connsiteX34" fmla="*/ 15371 w 15370"/>
                        <a:gd name="connsiteY34" fmla="*/ 6185 h 15036"/>
                        <a:gd name="connsiteX35" fmla="*/ 15131 w 15370"/>
                        <a:gd name="connsiteY35" fmla="*/ 4749 h 15036"/>
                        <a:gd name="connsiteX36" fmla="*/ 14593 w 15370"/>
                        <a:gd name="connsiteY36" fmla="*/ 3434 h 15036"/>
                        <a:gd name="connsiteX37" fmla="*/ 13696 w 15370"/>
                        <a:gd name="connsiteY37" fmla="*/ 2238 h 15036"/>
                        <a:gd name="connsiteX38" fmla="*/ 12500 w 15370"/>
                        <a:gd name="connsiteY38" fmla="*/ 1221 h 15036"/>
                        <a:gd name="connsiteX39" fmla="*/ 11124 w 15370"/>
                        <a:gd name="connsiteY39" fmla="*/ 503 h 15036"/>
                        <a:gd name="connsiteX40" fmla="*/ 9629 w 15370"/>
                        <a:gd name="connsiteY40" fmla="*/ 84 h 15036"/>
                        <a:gd name="connsiteX41" fmla="*/ 8074 w 15370"/>
                        <a:gd name="connsiteY41" fmla="*/ 25 h 15036"/>
                        <a:gd name="connsiteX42" fmla="*/ 6519 w 15370"/>
                        <a:gd name="connsiteY42" fmla="*/ 264 h 15036"/>
                        <a:gd name="connsiteX43" fmla="*/ 6160 w 15370"/>
                        <a:gd name="connsiteY43" fmla="*/ 384 h 15036"/>
                        <a:gd name="connsiteX44" fmla="*/ 5801 w 15370"/>
                        <a:gd name="connsiteY44" fmla="*/ 503 h 15036"/>
                        <a:gd name="connsiteX45" fmla="*/ 5443 w 15370"/>
                        <a:gd name="connsiteY45" fmla="*/ 623 h 15036"/>
                        <a:gd name="connsiteX46" fmla="*/ 5084 w 15370"/>
                        <a:gd name="connsiteY46" fmla="*/ 802 h 15036"/>
                        <a:gd name="connsiteX47" fmla="*/ 4246 w 15370"/>
                        <a:gd name="connsiteY47" fmla="*/ 1221 h 15036"/>
                        <a:gd name="connsiteX48" fmla="*/ 3469 w 15370"/>
                        <a:gd name="connsiteY48" fmla="*/ 1759 h 15036"/>
                        <a:gd name="connsiteX49" fmla="*/ 2691 w 15370"/>
                        <a:gd name="connsiteY49" fmla="*/ 2357 h 15036"/>
                        <a:gd name="connsiteX50" fmla="*/ 2034 w 15370"/>
                        <a:gd name="connsiteY50" fmla="*/ 3135 h 15036"/>
                        <a:gd name="connsiteX51" fmla="*/ 1555 w 15370"/>
                        <a:gd name="connsiteY51" fmla="*/ 12883 h 15036"/>
                        <a:gd name="connsiteX52" fmla="*/ 4187 w 15370"/>
                        <a:gd name="connsiteY52" fmla="*/ 14618 h 15036"/>
                        <a:gd name="connsiteX53" fmla="*/ 6579 w 15370"/>
                        <a:gd name="connsiteY53" fmla="*/ 15036 h 15036"/>
                        <a:gd name="connsiteX54" fmla="*/ 9031 w 15370"/>
                        <a:gd name="connsiteY54" fmla="*/ 14737 h 15036"/>
                        <a:gd name="connsiteX55" fmla="*/ 11364 w 15370"/>
                        <a:gd name="connsiteY55" fmla="*/ 13721 h 15036"/>
                        <a:gd name="connsiteX56" fmla="*/ 13397 w 15370"/>
                        <a:gd name="connsiteY56" fmla="*/ 12046 h 15036"/>
                        <a:gd name="connsiteX57" fmla="*/ 12440 w 15370"/>
                        <a:gd name="connsiteY57" fmla="*/ 11388 h 15036"/>
                        <a:gd name="connsiteX58" fmla="*/ 10466 w 15370"/>
                        <a:gd name="connsiteY58" fmla="*/ 12883 h 15036"/>
                        <a:gd name="connsiteX59" fmla="*/ 8194 w 15370"/>
                        <a:gd name="connsiteY59" fmla="*/ 13661 h 15036"/>
                        <a:gd name="connsiteX60" fmla="*/ 5861 w 15370"/>
                        <a:gd name="connsiteY60" fmla="*/ 13661 h 15036"/>
                        <a:gd name="connsiteX61" fmla="*/ 3708 w 15370"/>
                        <a:gd name="connsiteY61" fmla="*/ 12823 h 15036"/>
                        <a:gd name="connsiteX62" fmla="*/ 2093 w 15370"/>
                        <a:gd name="connsiteY62" fmla="*/ 11209 h 15036"/>
                        <a:gd name="connsiteX63" fmla="*/ 1316 w 15370"/>
                        <a:gd name="connsiteY63" fmla="*/ 9175 h 15036"/>
                        <a:gd name="connsiteX64" fmla="*/ 1376 w 15370"/>
                        <a:gd name="connsiteY64" fmla="*/ 6902 h 15036"/>
                        <a:gd name="connsiteX65" fmla="*/ 2333 w 15370"/>
                        <a:gd name="connsiteY65" fmla="*/ 4690 h 15036"/>
                        <a:gd name="connsiteX66" fmla="*/ 1376 w 15370"/>
                        <a:gd name="connsiteY66" fmla="*/ 4092 h 15036"/>
                        <a:gd name="connsiteX67" fmla="*/ 299 w 15370"/>
                        <a:gd name="connsiteY67" fmla="*/ 6364 h 15036"/>
                        <a:gd name="connsiteX68" fmla="*/ 0 w 15370"/>
                        <a:gd name="connsiteY68" fmla="*/ 8697 h 15036"/>
                        <a:gd name="connsiteX69" fmla="*/ 479 w 15370"/>
                        <a:gd name="connsiteY69" fmla="*/ 10910 h 15036"/>
                        <a:gd name="connsiteX70" fmla="*/ 1555 w 15370"/>
                        <a:gd name="connsiteY70" fmla="*/ 12883 h 15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5370" h="15036">
                          <a:moveTo>
                            <a:pt x="2034" y="3135"/>
                          </a:moveTo>
                          <a:lnTo>
                            <a:pt x="2990" y="3733"/>
                          </a:lnTo>
                          <a:cubicBezTo>
                            <a:pt x="3230" y="3493"/>
                            <a:pt x="3469" y="3254"/>
                            <a:pt x="3708" y="3015"/>
                          </a:cubicBezTo>
                          <a:cubicBezTo>
                            <a:pt x="3947" y="2776"/>
                            <a:pt x="4246" y="2596"/>
                            <a:pt x="4545" y="2417"/>
                          </a:cubicBezTo>
                          <a:cubicBezTo>
                            <a:pt x="4845" y="2238"/>
                            <a:pt x="5144" y="2118"/>
                            <a:pt x="5383" y="1939"/>
                          </a:cubicBezTo>
                          <a:cubicBezTo>
                            <a:pt x="5682" y="1819"/>
                            <a:pt x="5981" y="1699"/>
                            <a:pt x="6280" y="1579"/>
                          </a:cubicBezTo>
                          <a:cubicBezTo>
                            <a:pt x="6399" y="1520"/>
                            <a:pt x="6579" y="1520"/>
                            <a:pt x="6699" y="1460"/>
                          </a:cubicBezTo>
                          <a:cubicBezTo>
                            <a:pt x="6818" y="1400"/>
                            <a:pt x="6998" y="1400"/>
                            <a:pt x="7117" y="1340"/>
                          </a:cubicBezTo>
                          <a:cubicBezTo>
                            <a:pt x="7237" y="1340"/>
                            <a:pt x="7416" y="1281"/>
                            <a:pt x="7536" y="1281"/>
                          </a:cubicBezTo>
                          <a:cubicBezTo>
                            <a:pt x="7656" y="1281"/>
                            <a:pt x="7835" y="1281"/>
                            <a:pt x="7954" y="1221"/>
                          </a:cubicBezTo>
                          <a:cubicBezTo>
                            <a:pt x="8313" y="1221"/>
                            <a:pt x="8612" y="1221"/>
                            <a:pt x="8971" y="1221"/>
                          </a:cubicBezTo>
                          <a:cubicBezTo>
                            <a:pt x="9330" y="1281"/>
                            <a:pt x="9629" y="1281"/>
                            <a:pt x="9928" y="1400"/>
                          </a:cubicBezTo>
                          <a:cubicBezTo>
                            <a:pt x="10227" y="1460"/>
                            <a:pt x="10586" y="1579"/>
                            <a:pt x="10885" y="1699"/>
                          </a:cubicBezTo>
                          <a:cubicBezTo>
                            <a:pt x="11184" y="1819"/>
                            <a:pt x="11483" y="1998"/>
                            <a:pt x="11782" y="2178"/>
                          </a:cubicBezTo>
                          <a:cubicBezTo>
                            <a:pt x="12081" y="2357"/>
                            <a:pt x="12321" y="2596"/>
                            <a:pt x="12560" y="2776"/>
                          </a:cubicBezTo>
                          <a:cubicBezTo>
                            <a:pt x="12799" y="3015"/>
                            <a:pt x="12978" y="3254"/>
                            <a:pt x="13158" y="3493"/>
                          </a:cubicBezTo>
                          <a:cubicBezTo>
                            <a:pt x="13337" y="3733"/>
                            <a:pt x="13516" y="4032"/>
                            <a:pt x="13636" y="4271"/>
                          </a:cubicBezTo>
                          <a:cubicBezTo>
                            <a:pt x="13756" y="4570"/>
                            <a:pt x="13875" y="4809"/>
                            <a:pt x="13935" y="5108"/>
                          </a:cubicBezTo>
                          <a:cubicBezTo>
                            <a:pt x="13995" y="5228"/>
                            <a:pt x="13995" y="5347"/>
                            <a:pt x="14055" y="5527"/>
                          </a:cubicBezTo>
                          <a:cubicBezTo>
                            <a:pt x="14055" y="5647"/>
                            <a:pt x="14115" y="5766"/>
                            <a:pt x="14115" y="5946"/>
                          </a:cubicBezTo>
                          <a:cubicBezTo>
                            <a:pt x="14115" y="6125"/>
                            <a:pt x="14175" y="6245"/>
                            <a:pt x="14175" y="6364"/>
                          </a:cubicBezTo>
                          <a:cubicBezTo>
                            <a:pt x="14175" y="6484"/>
                            <a:pt x="14175" y="6663"/>
                            <a:pt x="14175" y="6783"/>
                          </a:cubicBezTo>
                          <a:cubicBezTo>
                            <a:pt x="14175" y="7082"/>
                            <a:pt x="14115" y="7381"/>
                            <a:pt x="14115" y="7680"/>
                          </a:cubicBezTo>
                          <a:cubicBezTo>
                            <a:pt x="14115" y="7979"/>
                            <a:pt x="13995" y="8278"/>
                            <a:pt x="13875" y="8577"/>
                          </a:cubicBezTo>
                          <a:cubicBezTo>
                            <a:pt x="13756" y="8876"/>
                            <a:pt x="13696" y="9175"/>
                            <a:pt x="13516" y="9474"/>
                          </a:cubicBezTo>
                          <a:cubicBezTo>
                            <a:pt x="13397" y="9773"/>
                            <a:pt x="13218" y="10072"/>
                            <a:pt x="13038" y="10311"/>
                          </a:cubicBezTo>
                          <a:lnTo>
                            <a:pt x="13995" y="10969"/>
                          </a:lnTo>
                          <a:cubicBezTo>
                            <a:pt x="14175" y="10730"/>
                            <a:pt x="14354" y="10431"/>
                            <a:pt x="14474" y="10132"/>
                          </a:cubicBezTo>
                          <a:cubicBezTo>
                            <a:pt x="14593" y="9833"/>
                            <a:pt x="14773" y="9594"/>
                            <a:pt x="14832" y="9295"/>
                          </a:cubicBezTo>
                          <a:cubicBezTo>
                            <a:pt x="14952" y="8996"/>
                            <a:pt x="15012" y="8756"/>
                            <a:pt x="15131" y="8457"/>
                          </a:cubicBezTo>
                          <a:cubicBezTo>
                            <a:pt x="15191" y="8158"/>
                            <a:pt x="15251" y="7860"/>
                            <a:pt x="15311" y="7620"/>
                          </a:cubicBezTo>
                          <a:cubicBezTo>
                            <a:pt x="15311" y="7501"/>
                            <a:pt x="15371" y="7381"/>
                            <a:pt x="15371" y="7261"/>
                          </a:cubicBezTo>
                          <a:cubicBezTo>
                            <a:pt x="15371" y="7142"/>
                            <a:pt x="15371" y="7022"/>
                            <a:pt x="15371" y="6902"/>
                          </a:cubicBezTo>
                          <a:cubicBezTo>
                            <a:pt x="15371" y="6783"/>
                            <a:pt x="15371" y="6663"/>
                            <a:pt x="15371" y="6544"/>
                          </a:cubicBezTo>
                          <a:cubicBezTo>
                            <a:pt x="15371" y="6424"/>
                            <a:pt x="15371" y="6304"/>
                            <a:pt x="15371" y="6185"/>
                          </a:cubicBezTo>
                          <a:cubicBezTo>
                            <a:pt x="15311" y="5706"/>
                            <a:pt x="15251" y="5228"/>
                            <a:pt x="15131" y="4749"/>
                          </a:cubicBezTo>
                          <a:cubicBezTo>
                            <a:pt x="15012" y="4271"/>
                            <a:pt x="14832" y="3852"/>
                            <a:pt x="14593" y="3434"/>
                          </a:cubicBezTo>
                          <a:cubicBezTo>
                            <a:pt x="14354" y="3015"/>
                            <a:pt x="14055" y="2596"/>
                            <a:pt x="13696" y="2238"/>
                          </a:cubicBezTo>
                          <a:cubicBezTo>
                            <a:pt x="13337" y="1879"/>
                            <a:pt x="12978" y="1520"/>
                            <a:pt x="12500" y="1221"/>
                          </a:cubicBezTo>
                          <a:cubicBezTo>
                            <a:pt x="12021" y="922"/>
                            <a:pt x="11603" y="683"/>
                            <a:pt x="11124" y="503"/>
                          </a:cubicBezTo>
                          <a:cubicBezTo>
                            <a:pt x="10646" y="324"/>
                            <a:pt x="10107" y="204"/>
                            <a:pt x="9629" y="84"/>
                          </a:cubicBezTo>
                          <a:cubicBezTo>
                            <a:pt x="9091" y="25"/>
                            <a:pt x="8612" y="-35"/>
                            <a:pt x="8074" y="25"/>
                          </a:cubicBezTo>
                          <a:cubicBezTo>
                            <a:pt x="7536" y="25"/>
                            <a:pt x="6998" y="144"/>
                            <a:pt x="6519" y="264"/>
                          </a:cubicBezTo>
                          <a:cubicBezTo>
                            <a:pt x="6399" y="324"/>
                            <a:pt x="6280" y="324"/>
                            <a:pt x="6160" y="384"/>
                          </a:cubicBezTo>
                          <a:cubicBezTo>
                            <a:pt x="6041" y="444"/>
                            <a:pt x="5921" y="444"/>
                            <a:pt x="5801" y="503"/>
                          </a:cubicBezTo>
                          <a:cubicBezTo>
                            <a:pt x="5682" y="563"/>
                            <a:pt x="5562" y="563"/>
                            <a:pt x="5443" y="623"/>
                          </a:cubicBezTo>
                          <a:cubicBezTo>
                            <a:pt x="5323" y="683"/>
                            <a:pt x="5204" y="742"/>
                            <a:pt x="5084" y="802"/>
                          </a:cubicBezTo>
                          <a:cubicBezTo>
                            <a:pt x="4785" y="922"/>
                            <a:pt x="4545" y="1041"/>
                            <a:pt x="4246" y="1221"/>
                          </a:cubicBezTo>
                          <a:cubicBezTo>
                            <a:pt x="3947" y="1400"/>
                            <a:pt x="3708" y="1520"/>
                            <a:pt x="3469" y="1759"/>
                          </a:cubicBezTo>
                          <a:cubicBezTo>
                            <a:pt x="3230" y="1939"/>
                            <a:pt x="2931" y="2118"/>
                            <a:pt x="2691" y="2357"/>
                          </a:cubicBezTo>
                          <a:cubicBezTo>
                            <a:pt x="2512" y="2656"/>
                            <a:pt x="2273" y="2895"/>
                            <a:pt x="2034" y="3135"/>
                          </a:cubicBezTo>
                          <a:moveTo>
                            <a:pt x="1555" y="12883"/>
                          </a:moveTo>
                          <a:lnTo>
                            <a:pt x="4187" y="14618"/>
                          </a:lnTo>
                          <a:cubicBezTo>
                            <a:pt x="4964" y="14917"/>
                            <a:pt x="5742" y="15036"/>
                            <a:pt x="6579" y="15036"/>
                          </a:cubicBezTo>
                          <a:cubicBezTo>
                            <a:pt x="7416" y="15036"/>
                            <a:pt x="8194" y="14977"/>
                            <a:pt x="9031" y="14737"/>
                          </a:cubicBezTo>
                          <a:cubicBezTo>
                            <a:pt x="9808" y="14498"/>
                            <a:pt x="10586" y="14199"/>
                            <a:pt x="11364" y="13721"/>
                          </a:cubicBezTo>
                          <a:cubicBezTo>
                            <a:pt x="12141" y="13242"/>
                            <a:pt x="12799" y="12704"/>
                            <a:pt x="13397" y="12046"/>
                          </a:cubicBezTo>
                          <a:lnTo>
                            <a:pt x="12440" y="11388"/>
                          </a:lnTo>
                          <a:cubicBezTo>
                            <a:pt x="11842" y="11986"/>
                            <a:pt x="11184" y="12524"/>
                            <a:pt x="10466" y="12883"/>
                          </a:cubicBezTo>
                          <a:cubicBezTo>
                            <a:pt x="9749" y="13242"/>
                            <a:pt x="8971" y="13541"/>
                            <a:pt x="8194" y="13661"/>
                          </a:cubicBezTo>
                          <a:cubicBezTo>
                            <a:pt x="7416" y="13780"/>
                            <a:pt x="6639" y="13780"/>
                            <a:pt x="5861" y="13661"/>
                          </a:cubicBezTo>
                          <a:cubicBezTo>
                            <a:pt x="5084" y="13541"/>
                            <a:pt x="4366" y="13242"/>
                            <a:pt x="3708" y="12823"/>
                          </a:cubicBezTo>
                          <a:cubicBezTo>
                            <a:pt x="3050" y="12405"/>
                            <a:pt x="2512" y="11867"/>
                            <a:pt x="2093" y="11209"/>
                          </a:cubicBezTo>
                          <a:cubicBezTo>
                            <a:pt x="1675" y="10610"/>
                            <a:pt x="1436" y="9893"/>
                            <a:pt x="1316" y="9175"/>
                          </a:cubicBezTo>
                          <a:cubicBezTo>
                            <a:pt x="1196" y="8457"/>
                            <a:pt x="1196" y="7680"/>
                            <a:pt x="1376" y="6902"/>
                          </a:cubicBezTo>
                          <a:cubicBezTo>
                            <a:pt x="1555" y="6125"/>
                            <a:pt x="1854" y="5407"/>
                            <a:pt x="2333" y="4690"/>
                          </a:cubicBezTo>
                          <a:lnTo>
                            <a:pt x="1376" y="4092"/>
                          </a:lnTo>
                          <a:cubicBezTo>
                            <a:pt x="897" y="4809"/>
                            <a:pt x="538" y="5587"/>
                            <a:pt x="299" y="6364"/>
                          </a:cubicBezTo>
                          <a:cubicBezTo>
                            <a:pt x="60" y="7142"/>
                            <a:pt x="0" y="7919"/>
                            <a:pt x="0" y="8697"/>
                          </a:cubicBezTo>
                          <a:cubicBezTo>
                            <a:pt x="60" y="9474"/>
                            <a:pt x="180" y="10192"/>
                            <a:pt x="479" y="10910"/>
                          </a:cubicBezTo>
                          <a:cubicBezTo>
                            <a:pt x="598" y="11687"/>
                            <a:pt x="1017" y="12345"/>
                            <a:pt x="1555" y="12883"/>
                          </a:cubicBezTo>
                        </a:path>
                      </a:pathLst>
                    </a:custGeom>
                    <a:noFill/>
                    <a:ln w="6350" cap="flat">
                      <a:solidFill>
                        <a:schemeClr val="bg1">
                          <a:alpha val="80000"/>
                        </a:schemeClr>
                      </a:solidFill>
                      <a:prstDash val="solid"/>
                      <a:miter/>
                    </a:ln>
                  </p:spPr>
                  <p:txBody>
                    <a:bodyPr rtlCol="0" anchor="ctr"/>
                    <a:lstStyle/>
                    <a:p>
                      <a:endParaRPr lang="en-GB"/>
                    </a:p>
                  </p:txBody>
                </p:sp>
                <p:sp>
                  <p:nvSpPr>
                    <p:cNvPr id="7434" name="Vrije vorm: vorm 7433">
                      <a:extLst>
                        <a:ext uri="{FF2B5EF4-FFF2-40B4-BE49-F238E27FC236}">
                          <a16:creationId xmlns:a16="http://schemas.microsoft.com/office/drawing/2014/main" id="{ECF02FF9-E67D-49D0-939B-47FAD7634E83}"/>
                        </a:ext>
                      </a:extLst>
                    </p:cNvPr>
                    <p:cNvSpPr/>
                    <p:nvPr/>
                  </p:nvSpPr>
                  <p:spPr>
                    <a:xfrm>
                      <a:off x="4754454" y="5129944"/>
                      <a:ext cx="30322" cy="28468"/>
                    </a:xfrm>
                    <a:custGeom>
                      <a:avLst/>
                      <a:gdLst>
                        <a:gd name="connsiteX0" fmla="*/ 26375 w 30322"/>
                        <a:gd name="connsiteY0" fmla="*/ 20873 h 28468"/>
                        <a:gd name="connsiteX1" fmla="*/ 27392 w 30322"/>
                        <a:gd name="connsiteY1" fmla="*/ 21531 h 28468"/>
                        <a:gd name="connsiteX2" fmla="*/ 27930 w 30322"/>
                        <a:gd name="connsiteY2" fmla="*/ 20753 h 28468"/>
                        <a:gd name="connsiteX3" fmla="*/ 28408 w 30322"/>
                        <a:gd name="connsiteY3" fmla="*/ 19976 h 28468"/>
                        <a:gd name="connsiteX4" fmla="*/ 28827 w 30322"/>
                        <a:gd name="connsiteY4" fmla="*/ 19198 h 28468"/>
                        <a:gd name="connsiteX5" fmla="*/ 29186 w 30322"/>
                        <a:gd name="connsiteY5" fmla="*/ 18361 h 28468"/>
                        <a:gd name="connsiteX6" fmla="*/ 29305 w 30322"/>
                        <a:gd name="connsiteY6" fmla="*/ 18062 h 28468"/>
                        <a:gd name="connsiteX7" fmla="*/ 29425 w 30322"/>
                        <a:gd name="connsiteY7" fmla="*/ 17763 h 28468"/>
                        <a:gd name="connsiteX8" fmla="*/ 29545 w 30322"/>
                        <a:gd name="connsiteY8" fmla="*/ 17464 h 28468"/>
                        <a:gd name="connsiteX9" fmla="*/ 29664 w 30322"/>
                        <a:gd name="connsiteY9" fmla="*/ 17165 h 28468"/>
                        <a:gd name="connsiteX10" fmla="*/ 30143 w 30322"/>
                        <a:gd name="connsiteY10" fmla="*/ 15131 h 28468"/>
                        <a:gd name="connsiteX11" fmla="*/ 30322 w 30322"/>
                        <a:gd name="connsiteY11" fmla="*/ 13098 h 28468"/>
                        <a:gd name="connsiteX12" fmla="*/ 30203 w 30322"/>
                        <a:gd name="connsiteY12" fmla="*/ 11065 h 28468"/>
                        <a:gd name="connsiteX13" fmla="*/ 29784 w 30322"/>
                        <a:gd name="connsiteY13" fmla="*/ 9091 h 28468"/>
                        <a:gd name="connsiteX14" fmla="*/ 29605 w 30322"/>
                        <a:gd name="connsiteY14" fmla="*/ 8553 h 28468"/>
                        <a:gd name="connsiteX15" fmla="*/ 29365 w 30322"/>
                        <a:gd name="connsiteY15" fmla="*/ 8014 h 28468"/>
                        <a:gd name="connsiteX16" fmla="*/ 29126 w 30322"/>
                        <a:gd name="connsiteY16" fmla="*/ 7476 h 28468"/>
                        <a:gd name="connsiteX17" fmla="*/ 28887 w 30322"/>
                        <a:gd name="connsiteY17" fmla="*/ 6938 h 28468"/>
                        <a:gd name="connsiteX18" fmla="*/ 28109 w 30322"/>
                        <a:gd name="connsiteY18" fmla="*/ 5622 h 28468"/>
                        <a:gd name="connsiteX19" fmla="*/ 27152 w 30322"/>
                        <a:gd name="connsiteY19" fmla="*/ 4426 h 28468"/>
                        <a:gd name="connsiteX20" fmla="*/ 26016 w 30322"/>
                        <a:gd name="connsiteY20" fmla="*/ 3290 h 28468"/>
                        <a:gd name="connsiteX21" fmla="*/ 24700 w 30322"/>
                        <a:gd name="connsiteY21" fmla="*/ 2273 h 28468"/>
                        <a:gd name="connsiteX22" fmla="*/ 24162 w 30322"/>
                        <a:gd name="connsiteY22" fmla="*/ 1914 h 28468"/>
                        <a:gd name="connsiteX23" fmla="*/ 23624 w 30322"/>
                        <a:gd name="connsiteY23" fmla="*/ 1615 h 28468"/>
                        <a:gd name="connsiteX24" fmla="*/ 23086 w 30322"/>
                        <a:gd name="connsiteY24" fmla="*/ 1316 h 28468"/>
                        <a:gd name="connsiteX25" fmla="*/ 22547 w 30322"/>
                        <a:gd name="connsiteY25" fmla="*/ 1077 h 28468"/>
                        <a:gd name="connsiteX26" fmla="*/ 21710 w 30322"/>
                        <a:gd name="connsiteY26" fmla="*/ 2153 h 28468"/>
                        <a:gd name="connsiteX27" fmla="*/ 21770 w 30322"/>
                        <a:gd name="connsiteY27" fmla="*/ 2153 h 28468"/>
                        <a:gd name="connsiteX28" fmla="*/ 21829 w 30322"/>
                        <a:gd name="connsiteY28" fmla="*/ 2153 h 28468"/>
                        <a:gd name="connsiteX29" fmla="*/ 21889 w 30322"/>
                        <a:gd name="connsiteY29" fmla="*/ 2153 h 28468"/>
                        <a:gd name="connsiteX30" fmla="*/ 21949 w 30322"/>
                        <a:gd name="connsiteY30" fmla="*/ 2153 h 28468"/>
                        <a:gd name="connsiteX31" fmla="*/ 22428 w 30322"/>
                        <a:gd name="connsiteY31" fmla="*/ 2392 h 28468"/>
                        <a:gd name="connsiteX32" fmla="*/ 22906 w 30322"/>
                        <a:gd name="connsiteY32" fmla="*/ 2632 h 28468"/>
                        <a:gd name="connsiteX33" fmla="*/ 23384 w 30322"/>
                        <a:gd name="connsiteY33" fmla="*/ 2931 h 28468"/>
                        <a:gd name="connsiteX34" fmla="*/ 23863 w 30322"/>
                        <a:gd name="connsiteY34" fmla="*/ 3230 h 28468"/>
                        <a:gd name="connsiteX35" fmla="*/ 24282 w 30322"/>
                        <a:gd name="connsiteY35" fmla="*/ 3529 h 28468"/>
                        <a:gd name="connsiteX36" fmla="*/ 24700 w 30322"/>
                        <a:gd name="connsiteY36" fmla="*/ 3888 h 28468"/>
                        <a:gd name="connsiteX37" fmla="*/ 25119 w 30322"/>
                        <a:gd name="connsiteY37" fmla="*/ 4246 h 28468"/>
                        <a:gd name="connsiteX38" fmla="*/ 25478 w 30322"/>
                        <a:gd name="connsiteY38" fmla="*/ 4605 h 28468"/>
                        <a:gd name="connsiteX39" fmla="*/ 26136 w 30322"/>
                        <a:gd name="connsiteY39" fmla="*/ 5323 h 28468"/>
                        <a:gd name="connsiteX40" fmla="*/ 26734 w 30322"/>
                        <a:gd name="connsiteY40" fmla="*/ 6100 h 28468"/>
                        <a:gd name="connsiteX41" fmla="*/ 27272 w 30322"/>
                        <a:gd name="connsiteY41" fmla="*/ 6878 h 28468"/>
                        <a:gd name="connsiteX42" fmla="*/ 27751 w 30322"/>
                        <a:gd name="connsiteY42" fmla="*/ 7715 h 28468"/>
                        <a:gd name="connsiteX43" fmla="*/ 28528 w 30322"/>
                        <a:gd name="connsiteY43" fmla="*/ 9749 h 28468"/>
                        <a:gd name="connsiteX44" fmla="*/ 28887 w 30322"/>
                        <a:gd name="connsiteY44" fmla="*/ 11902 h 28468"/>
                        <a:gd name="connsiteX45" fmla="*/ 28887 w 30322"/>
                        <a:gd name="connsiteY45" fmla="*/ 14115 h 28468"/>
                        <a:gd name="connsiteX46" fmla="*/ 28468 w 30322"/>
                        <a:gd name="connsiteY46" fmla="*/ 16328 h 28468"/>
                        <a:gd name="connsiteX47" fmla="*/ 28349 w 30322"/>
                        <a:gd name="connsiteY47" fmla="*/ 16627 h 28468"/>
                        <a:gd name="connsiteX48" fmla="*/ 28229 w 30322"/>
                        <a:gd name="connsiteY48" fmla="*/ 16926 h 28468"/>
                        <a:gd name="connsiteX49" fmla="*/ 28109 w 30322"/>
                        <a:gd name="connsiteY49" fmla="*/ 17225 h 28468"/>
                        <a:gd name="connsiteX50" fmla="*/ 27990 w 30322"/>
                        <a:gd name="connsiteY50" fmla="*/ 17524 h 28468"/>
                        <a:gd name="connsiteX51" fmla="*/ 27631 w 30322"/>
                        <a:gd name="connsiteY51" fmla="*/ 18361 h 28468"/>
                        <a:gd name="connsiteX52" fmla="*/ 27212 w 30322"/>
                        <a:gd name="connsiteY52" fmla="*/ 19198 h 28468"/>
                        <a:gd name="connsiteX53" fmla="*/ 26734 w 30322"/>
                        <a:gd name="connsiteY53" fmla="*/ 19976 h 28468"/>
                        <a:gd name="connsiteX54" fmla="*/ 26375 w 30322"/>
                        <a:gd name="connsiteY54" fmla="*/ 20873 h 28468"/>
                        <a:gd name="connsiteX55" fmla="*/ 3768 w 30322"/>
                        <a:gd name="connsiteY55" fmla="*/ 5861 h 28468"/>
                        <a:gd name="connsiteX56" fmla="*/ 4785 w 30322"/>
                        <a:gd name="connsiteY56" fmla="*/ 6579 h 28468"/>
                        <a:gd name="connsiteX57" fmla="*/ 5442 w 30322"/>
                        <a:gd name="connsiteY57" fmla="*/ 5861 h 28468"/>
                        <a:gd name="connsiteX58" fmla="*/ 6100 w 30322"/>
                        <a:gd name="connsiteY58" fmla="*/ 5203 h 28468"/>
                        <a:gd name="connsiteX59" fmla="*/ 6818 w 30322"/>
                        <a:gd name="connsiteY59" fmla="*/ 4605 h 28468"/>
                        <a:gd name="connsiteX60" fmla="*/ 7596 w 30322"/>
                        <a:gd name="connsiteY60" fmla="*/ 4067 h 28468"/>
                        <a:gd name="connsiteX61" fmla="*/ 7895 w 30322"/>
                        <a:gd name="connsiteY61" fmla="*/ 3888 h 28468"/>
                        <a:gd name="connsiteX62" fmla="*/ 8194 w 30322"/>
                        <a:gd name="connsiteY62" fmla="*/ 3708 h 28468"/>
                        <a:gd name="connsiteX63" fmla="*/ 8493 w 30322"/>
                        <a:gd name="connsiteY63" fmla="*/ 3529 h 28468"/>
                        <a:gd name="connsiteX64" fmla="*/ 8791 w 30322"/>
                        <a:gd name="connsiteY64" fmla="*/ 3349 h 28468"/>
                        <a:gd name="connsiteX65" fmla="*/ 11004 w 30322"/>
                        <a:gd name="connsiteY65" fmla="*/ 2273 h 28468"/>
                        <a:gd name="connsiteX66" fmla="*/ 13337 w 30322"/>
                        <a:gd name="connsiteY66" fmla="*/ 1555 h 28468"/>
                        <a:gd name="connsiteX67" fmla="*/ 15729 w 30322"/>
                        <a:gd name="connsiteY67" fmla="*/ 1256 h 28468"/>
                        <a:gd name="connsiteX68" fmla="*/ 18121 w 30322"/>
                        <a:gd name="connsiteY68" fmla="*/ 1316 h 28468"/>
                        <a:gd name="connsiteX69" fmla="*/ 18720 w 30322"/>
                        <a:gd name="connsiteY69" fmla="*/ 1376 h 28468"/>
                        <a:gd name="connsiteX70" fmla="*/ 19318 w 30322"/>
                        <a:gd name="connsiteY70" fmla="*/ 1495 h 28468"/>
                        <a:gd name="connsiteX71" fmla="*/ 19916 w 30322"/>
                        <a:gd name="connsiteY71" fmla="*/ 1615 h 28468"/>
                        <a:gd name="connsiteX72" fmla="*/ 20514 w 30322"/>
                        <a:gd name="connsiteY72" fmla="*/ 1795 h 28468"/>
                        <a:gd name="connsiteX73" fmla="*/ 21351 w 30322"/>
                        <a:gd name="connsiteY73" fmla="*/ 718 h 28468"/>
                        <a:gd name="connsiteX74" fmla="*/ 20693 w 30322"/>
                        <a:gd name="connsiteY74" fmla="*/ 538 h 28468"/>
                        <a:gd name="connsiteX75" fmla="*/ 20035 w 30322"/>
                        <a:gd name="connsiteY75" fmla="*/ 359 h 28468"/>
                        <a:gd name="connsiteX76" fmla="*/ 19318 w 30322"/>
                        <a:gd name="connsiteY76" fmla="*/ 239 h 28468"/>
                        <a:gd name="connsiteX77" fmla="*/ 18600 w 30322"/>
                        <a:gd name="connsiteY77" fmla="*/ 120 h 28468"/>
                        <a:gd name="connsiteX78" fmla="*/ 17942 w 30322"/>
                        <a:gd name="connsiteY78" fmla="*/ 60 h 28468"/>
                        <a:gd name="connsiteX79" fmla="*/ 17284 w 30322"/>
                        <a:gd name="connsiteY79" fmla="*/ 0 h 28468"/>
                        <a:gd name="connsiteX80" fmla="*/ 16626 w 30322"/>
                        <a:gd name="connsiteY80" fmla="*/ 0 h 28468"/>
                        <a:gd name="connsiteX81" fmla="*/ 15968 w 30322"/>
                        <a:gd name="connsiteY81" fmla="*/ 0 h 28468"/>
                        <a:gd name="connsiteX82" fmla="*/ 13815 w 30322"/>
                        <a:gd name="connsiteY82" fmla="*/ 239 h 28468"/>
                        <a:gd name="connsiteX83" fmla="*/ 11662 w 30322"/>
                        <a:gd name="connsiteY83" fmla="*/ 718 h 28468"/>
                        <a:gd name="connsiteX84" fmla="*/ 9569 w 30322"/>
                        <a:gd name="connsiteY84" fmla="*/ 1495 h 28468"/>
                        <a:gd name="connsiteX85" fmla="*/ 7596 w 30322"/>
                        <a:gd name="connsiteY85" fmla="*/ 2572 h 28468"/>
                        <a:gd name="connsiteX86" fmla="*/ 7296 w 30322"/>
                        <a:gd name="connsiteY86" fmla="*/ 2751 h 28468"/>
                        <a:gd name="connsiteX87" fmla="*/ 6997 w 30322"/>
                        <a:gd name="connsiteY87" fmla="*/ 2931 h 28468"/>
                        <a:gd name="connsiteX88" fmla="*/ 6698 w 30322"/>
                        <a:gd name="connsiteY88" fmla="*/ 3110 h 28468"/>
                        <a:gd name="connsiteX89" fmla="*/ 6399 w 30322"/>
                        <a:gd name="connsiteY89" fmla="*/ 3290 h 28468"/>
                        <a:gd name="connsiteX90" fmla="*/ 5682 w 30322"/>
                        <a:gd name="connsiteY90" fmla="*/ 3888 h 28468"/>
                        <a:gd name="connsiteX91" fmla="*/ 4964 w 30322"/>
                        <a:gd name="connsiteY91" fmla="*/ 4486 h 28468"/>
                        <a:gd name="connsiteX92" fmla="*/ 4306 w 30322"/>
                        <a:gd name="connsiteY92" fmla="*/ 5144 h 28468"/>
                        <a:gd name="connsiteX93" fmla="*/ 3768 w 30322"/>
                        <a:gd name="connsiteY93" fmla="*/ 5861 h 28468"/>
                        <a:gd name="connsiteX94" fmla="*/ 19079 w 30322"/>
                        <a:gd name="connsiteY94" fmla="*/ 26315 h 28468"/>
                        <a:gd name="connsiteX95" fmla="*/ 20334 w 30322"/>
                        <a:gd name="connsiteY95" fmla="*/ 27153 h 28468"/>
                        <a:gd name="connsiteX96" fmla="*/ 22069 w 30322"/>
                        <a:gd name="connsiteY96" fmla="*/ 26315 h 28468"/>
                        <a:gd name="connsiteX97" fmla="*/ 23683 w 30322"/>
                        <a:gd name="connsiteY97" fmla="*/ 25299 h 28468"/>
                        <a:gd name="connsiteX98" fmla="*/ 25238 w 30322"/>
                        <a:gd name="connsiteY98" fmla="*/ 24043 h 28468"/>
                        <a:gd name="connsiteX99" fmla="*/ 26614 w 30322"/>
                        <a:gd name="connsiteY99" fmla="*/ 22607 h 28468"/>
                        <a:gd name="connsiteX100" fmla="*/ 25597 w 30322"/>
                        <a:gd name="connsiteY100" fmla="*/ 21950 h 28468"/>
                        <a:gd name="connsiteX101" fmla="*/ 24162 w 30322"/>
                        <a:gd name="connsiteY101" fmla="*/ 23385 h 28468"/>
                        <a:gd name="connsiteX102" fmla="*/ 22607 w 30322"/>
                        <a:gd name="connsiteY102" fmla="*/ 24581 h 28468"/>
                        <a:gd name="connsiteX103" fmla="*/ 20933 w 30322"/>
                        <a:gd name="connsiteY103" fmla="*/ 25598 h 28468"/>
                        <a:gd name="connsiteX104" fmla="*/ 19079 w 30322"/>
                        <a:gd name="connsiteY104" fmla="*/ 26315 h 28468"/>
                        <a:gd name="connsiteX105" fmla="*/ 179 w 30322"/>
                        <a:gd name="connsiteY105" fmla="*/ 13875 h 28468"/>
                        <a:gd name="connsiteX106" fmla="*/ 1435 w 30322"/>
                        <a:gd name="connsiteY106" fmla="*/ 14713 h 28468"/>
                        <a:gd name="connsiteX107" fmla="*/ 1674 w 30322"/>
                        <a:gd name="connsiteY107" fmla="*/ 12919 h 28468"/>
                        <a:gd name="connsiteX108" fmla="*/ 2153 w 30322"/>
                        <a:gd name="connsiteY108" fmla="*/ 11124 h 28468"/>
                        <a:gd name="connsiteX109" fmla="*/ 2930 w 30322"/>
                        <a:gd name="connsiteY109" fmla="*/ 9330 h 28468"/>
                        <a:gd name="connsiteX110" fmla="*/ 4007 w 30322"/>
                        <a:gd name="connsiteY110" fmla="*/ 7596 h 28468"/>
                        <a:gd name="connsiteX111" fmla="*/ 2990 w 30322"/>
                        <a:gd name="connsiteY111" fmla="*/ 6878 h 28468"/>
                        <a:gd name="connsiteX112" fmla="*/ 1914 w 30322"/>
                        <a:gd name="connsiteY112" fmla="*/ 8553 h 28468"/>
                        <a:gd name="connsiteX113" fmla="*/ 1076 w 30322"/>
                        <a:gd name="connsiteY113" fmla="*/ 10287 h 28468"/>
                        <a:gd name="connsiteX114" fmla="*/ 538 w 30322"/>
                        <a:gd name="connsiteY114" fmla="*/ 12081 h 28468"/>
                        <a:gd name="connsiteX115" fmla="*/ 179 w 30322"/>
                        <a:gd name="connsiteY115" fmla="*/ 13875 h 28468"/>
                        <a:gd name="connsiteX116" fmla="*/ 13875 w 30322"/>
                        <a:gd name="connsiteY116" fmla="*/ 27213 h 28468"/>
                        <a:gd name="connsiteX117" fmla="*/ 15610 w 30322"/>
                        <a:gd name="connsiteY117" fmla="*/ 28349 h 28468"/>
                        <a:gd name="connsiteX118" fmla="*/ 16387 w 30322"/>
                        <a:gd name="connsiteY118" fmla="*/ 28229 h 28468"/>
                        <a:gd name="connsiteX119" fmla="*/ 17165 w 30322"/>
                        <a:gd name="connsiteY119" fmla="*/ 28109 h 28468"/>
                        <a:gd name="connsiteX120" fmla="*/ 17942 w 30322"/>
                        <a:gd name="connsiteY120" fmla="*/ 27930 h 28468"/>
                        <a:gd name="connsiteX121" fmla="*/ 18720 w 30322"/>
                        <a:gd name="connsiteY121" fmla="*/ 27691 h 28468"/>
                        <a:gd name="connsiteX122" fmla="*/ 17404 w 30322"/>
                        <a:gd name="connsiteY122" fmla="*/ 26794 h 28468"/>
                        <a:gd name="connsiteX123" fmla="*/ 16507 w 30322"/>
                        <a:gd name="connsiteY123" fmla="*/ 26973 h 28468"/>
                        <a:gd name="connsiteX124" fmla="*/ 15610 w 30322"/>
                        <a:gd name="connsiteY124" fmla="*/ 27093 h 28468"/>
                        <a:gd name="connsiteX125" fmla="*/ 14712 w 30322"/>
                        <a:gd name="connsiteY125" fmla="*/ 27153 h 28468"/>
                        <a:gd name="connsiteX126" fmla="*/ 13875 w 30322"/>
                        <a:gd name="connsiteY126" fmla="*/ 27213 h 28468"/>
                        <a:gd name="connsiteX127" fmla="*/ 419 w 30322"/>
                        <a:gd name="connsiteY127" fmla="*/ 18361 h 28468"/>
                        <a:gd name="connsiteX128" fmla="*/ 2153 w 30322"/>
                        <a:gd name="connsiteY128" fmla="*/ 19497 h 28468"/>
                        <a:gd name="connsiteX129" fmla="*/ 1914 w 30322"/>
                        <a:gd name="connsiteY129" fmla="*/ 18720 h 28468"/>
                        <a:gd name="connsiteX130" fmla="*/ 1674 w 30322"/>
                        <a:gd name="connsiteY130" fmla="*/ 17942 h 28468"/>
                        <a:gd name="connsiteX131" fmla="*/ 1495 w 30322"/>
                        <a:gd name="connsiteY131" fmla="*/ 17105 h 28468"/>
                        <a:gd name="connsiteX132" fmla="*/ 1375 w 30322"/>
                        <a:gd name="connsiteY132" fmla="*/ 16268 h 28468"/>
                        <a:gd name="connsiteX133" fmla="*/ 0 w 30322"/>
                        <a:gd name="connsiteY133" fmla="*/ 15370 h 28468"/>
                        <a:gd name="connsiteX134" fmla="*/ 0 w 30322"/>
                        <a:gd name="connsiteY134" fmla="*/ 16148 h 28468"/>
                        <a:gd name="connsiteX135" fmla="*/ 60 w 30322"/>
                        <a:gd name="connsiteY135" fmla="*/ 16866 h 28468"/>
                        <a:gd name="connsiteX136" fmla="*/ 179 w 30322"/>
                        <a:gd name="connsiteY136" fmla="*/ 17583 h 28468"/>
                        <a:gd name="connsiteX137" fmla="*/ 419 w 30322"/>
                        <a:gd name="connsiteY137" fmla="*/ 18361 h 28468"/>
                        <a:gd name="connsiteX138" fmla="*/ 4067 w 30322"/>
                        <a:gd name="connsiteY138" fmla="*/ 24760 h 28468"/>
                        <a:gd name="connsiteX139" fmla="*/ 7895 w 30322"/>
                        <a:gd name="connsiteY139" fmla="*/ 27272 h 28468"/>
                        <a:gd name="connsiteX140" fmla="*/ 9210 w 30322"/>
                        <a:gd name="connsiteY140" fmla="*/ 27751 h 28468"/>
                        <a:gd name="connsiteX141" fmla="*/ 10586 w 30322"/>
                        <a:gd name="connsiteY141" fmla="*/ 28109 h 28468"/>
                        <a:gd name="connsiteX142" fmla="*/ 11961 w 30322"/>
                        <a:gd name="connsiteY142" fmla="*/ 28349 h 28468"/>
                        <a:gd name="connsiteX143" fmla="*/ 13397 w 30322"/>
                        <a:gd name="connsiteY143" fmla="*/ 28468 h 28468"/>
                        <a:gd name="connsiteX144" fmla="*/ 11064 w 30322"/>
                        <a:gd name="connsiteY144" fmla="*/ 26913 h 28468"/>
                        <a:gd name="connsiteX145" fmla="*/ 9928 w 30322"/>
                        <a:gd name="connsiteY145" fmla="*/ 26614 h 28468"/>
                        <a:gd name="connsiteX146" fmla="*/ 8791 w 30322"/>
                        <a:gd name="connsiteY146" fmla="*/ 26196 h 28468"/>
                        <a:gd name="connsiteX147" fmla="*/ 7715 w 30322"/>
                        <a:gd name="connsiteY147" fmla="*/ 25717 h 28468"/>
                        <a:gd name="connsiteX148" fmla="*/ 6698 w 30322"/>
                        <a:gd name="connsiteY148" fmla="*/ 25119 h 28468"/>
                        <a:gd name="connsiteX149" fmla="*/ 5741 w 30322"/>
                        <a:gd name="connsiteY149" fmla="*/ 24401 h 28468"/>
                        <a:gd name="connsiteX150" fmla="*/ 4844 w 30322"/>
                        <a:gd name="connsiteY150" fmla="*/ 23624 h 28468"/>
                        <a:gd name="connsiteX151" fmla="*/ 4067 w 30322"/>
                        <a:gd name="connsiteY151" fmla="*/ 22787 h 28468"/>
                        <a:gd name="connsiteX152" fmla="*/ 3409 w 30322"/>
                        <a:gd name="connsiteY152" fmla="*/ 21890 h 28468"/>
                        <a:gd name="connsiteX153" fmla="*/ 1017 w 30322"/>
                        <a:gd name="connsiteY153" fmla="*/ 20335 h 28468"/>
                        <a:gd name="connsiteX154" fmla="*/ 1615 w 30322"/>
                        <a:gd name="connsiteY154" fmla="*/ 21531 h 28468"/>
                        <a:gd name="connsiteX155" fmla="*/ 2333 w 30322"/>
                        <a:gd name="connsiteY155" fmla="*/ 22667 h 28468"/>
                        <a:gd name="connsiteX156" fmla="*/ 3170 w 30322"/>
                        <a:gd name="connsiteY156" fmla="*/ 23744 h 28468"/>
                        <a:gd name="connsiteX157" fmla="*/ 4067 w 30322"/>
                        <a:gd name="connsiteY157" fmla="*/ 24760 h 2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30322" h="28468">
                          <a:moveTo>
                            <a:pt x="26375" y="20873"/>
                          </a:moveTo>
                          <a:lnTo>
                            <a:pt x="27392" y="21531"/>
                          </a:lnTo>
                          <a:cubicBezTo>
                            <a:pt x="27571" y="21291"/>
                            <a:pt x="27751" y="20992"/>
                            <a:pt x="27930" y="20753"/>
                          </a:cubicBezTo>
                          <a:cubicBezTo>
                            <a:pt x="28109" y="20514"/>
                            <a:pt x="28229" y="20215"/>
                            <a:pt x="28408" y="19976"/>
                          </a:cubicBezTo>
                          <a:cubicBezTo>
                            <a:pt x="28528" y="19737"/>
                            <a:pt x="28707" y="19437"/>
                            <a:pt x="28827" y="19198"/>
                          </a:cubicBezTo>
                          <a:cubicBezTo>
                            <a:pt x="28946" y="18959"/>
                            <a:pt x="29066" y="18660"/>
                            <a:pt x="29186" y="18361"/>
                          </a:cubicBezTo>
                          <a:cubicBezTo>
                            <a:pt x="29246" y="18241"/>
                            <a:pt x="29246" y="18182"/>
                            <a:pt x="29305" y="18062"/>
                          </a:cubicBezTo>
                          <a:cubicBezTo>
                            <a:pt x="29365" y="17942"/>
                            <a:pt x="29365" y="17883"/>
                            <a:pt x="29425" y="17763"/>
                          </a:cubicBezTo>
                          <a:cubicBezTo>
                            <a:pt x="29485" y="17643"/>
                            <a:pt x="29485" y="17583"/>
                            <a:pt x="29545" y="17464"/>
                          </a:cubicBezTo>
                          <a:cubicBezTo>
                            <a:pt x="29605" y="17344"/>
                            <a:pt x="29605" y="17284"/>
                            <a:pt x="29664" y="17165"/>
                          </a:cubicBezTo>
                          <a:cubicBezTo>
                            <a:pt x="29904" y="16507"/>
                            <a:pt x="30023" y="15789"/>
                            <a:pt x="30143" y="15131"/>
                          </a:cubicBezTo>
                          <a:cubicBezTo>
                            <a:pt x="30262" y="14474"/>
                            <a:pt x="30322" y="13756"/>
                            <a:pt x="30322" y="13098"/>
                          </a:cubicBezTo>
                          <a:cubicBezTo>
                            <a:pt x="30322" y="12440"/>
                            <a:pt x="30262" y="11722"/>
                            <a:pt x="30203" y="11065"/>
                          </a:cubicBezTo>
                          <a:cubicBezTo>
                            <a:pt x="30083" y="10407"/>
                            <a:pt x="29963" y="9749"/>
                            <a:pt x="29784" y="9091"/>
                          </a:cubicBezTo>
                          <a:cubicBezTo>
                            <a:pt x="29724" y="8912"/>
                            <a:pt x="29664" y="8732"/>
                            <a:pt x="29605" y="8553"/>
                          </a:cubicBezTo>
                          <a:cubicBezTo>
                            <a:pt x="29545" y="8373"/>
                            <a:pt x="29485" y="8194"/>
                            <a:pt x="29365" y="8014"/>
                          </a:cubicBezTo>
                          <a:cubicBezTo>
                            <a:pt x="29305" y="7835"/>
                            <a:pt x="29186" y="7655"/>
                            <a:pt x="29126" y="7476"/>
                          </a:cubicBezTo>
                          <a:cubicBezTo>
                            <a:pt x="29066" y="7297"/>
                            <a:pt x="28946" y="7117"/>
                            <a:pt x="28887" y="6938"/>
                          </a:cubicBezTo>
                          <a:cubicBezTo>
                            <a:pt x="28648" y="6459"/>
                            <a:pt x="28408" y="6041"/>
                            <a:pt x="28109" y="5622"/>
                          </a:cubicBezTo>
                          <a:cubicBezTo>
                            <a:pt x="27810" y="5203"/>
                            <a:pt x="27511" y="4785"/>
                            <a:pt x="27152" y="4426"/>
                          </a:cubicBezTo>
                          <a:cubicBezTo>
                            <a:pt x="26794" y="4007"/>
                            <a:pt x="26435" y="3649"/>
                            <a:pt x="26016" y="3290"/>
                          </a:cubicBezTo>
                          <a:cubicBezTo>
                            <a:pt x="25597" y="2931"/>
                            <a:pt x="25179" y="2632"/>
                            <a:pt x="24700" y="2273"/>
                          </a:cubicBezTo>
                          <a:cubicBezTo>
                            <a:pt x="24521" y="2153"/>
                            <a:pt x="24342" y="2034"/>
                            <a:pt x="24162" y="1914"/>
                          </a:cubicBezTo>
                          <a:cubicBezTo>
                            <a:pt x="23983" y="1795"/>
                            <a:pt x="23803" y="1735"/>
                            <a:pt x="23624" y="1615"/>
                          </a:cubicBezTo>
                          <a:cubicBezTo>
                            <a:pt x="23444" y="1495"/>
                            <a:pt x="23265" y="1436"/>
                            <a:pt x="23086" y="1316"/>
                          </a:cubicBezTo>
                          <a:cubicBezTo>
                            <a:pt x="22906" y="1256"/>
                            <a:pt x="22727" y="1136"/>
                            <a:pt x="22547" y="1077"/>
                          </a:cubicBezTo>
                          <a:lnTo>
                            <a:pt x="21710" y="2153"/>
                          </a:lnTo>
                          <a:cubicBezTo>
                            <a:pt x="21710" y="2153"/>
                            <a:pt x="21770" y="2153"/>
                            <a:pt x="21770" y="2153"/>
                          </a:cubicBezTo>
                          <a:cubicBezTo>
                            <a:pt x="21770" y="2153"/>
                            <a:pt x="21829" y="2153"/>
                            <a:pt x="21829" y="2153"/>
                          </a:cubicBezTo>
                          <a:cubicBezTo>
                            <a:pt x="21829" y="2153"/>
                            <a:pt x="21889" y="2153"/>
                            <a:pt x="21889" y="2153"/>
                          </a:cubicBezTo>
                          <a:cubicBezTo>
                            <a:pt x="21889" y="2153"/>
                            <a:pt x="21949" y="2153"/>
                            <a:pt x="21949" y="2153"/>
                          </a:cubicBezTo>
                          <a:cubicBezTo>
                            <a:pt x="22129" y="2213"/>
                            <a:pt x="22308" y="2333"/>
                            <a:pt x="22428" y="2392"/>
                          </a:cubicBezTo>
                          <a:cubicBezTo>
                            <a:pt x="22607" y="2452"/>
                            <a:pt x="22727" y="2572"/>
                            <a:pt x="22906" y="2632"/>
                          </a:cubicBezTo>
                          <a:cubicBezTo>
                            <a:pt x="23086" y="2691"/>
                            <a:pt x="23205" y="2811"/>
                            <a:pt x="23384" y="2931"/>
                          </a:cubicBezTo>
                          <a:cubicBezTo>
                            <a:pt x="23564" y="3050"/>
                            <a:pt x="23683" y="3110"/>
                            <a:pt x="23863" y="3230"/>
                          </a:cubicBezTo>
                          <a:cubicBezTo>
                            <a:pt x="24043" y="3349"/>
                            <a:pt x="24162" y="3409"/>
                            <a:pt x="24282" y="3529"/>
                          </a:cubicBezTo>
                          <a:cubicBezTo>
                            <a:pt x="24401" y="3649"/>
                            <a:pt x="24581" y="3768"/>
                            <a:pt x="24700" y="3888"/>
                          </a:cubicBezTo>
                          <a:cubicBezTo>
                            <a:pt x="24820" y="4007"/>
                            <a:pt x="24999" y="4127"/>
                            <a:pt x="25119" y="4246"/>
                          </a:cubicBezTo>
                          <a:cubicBezTo>
                            <a:pt x="25238" y="4366"/>
                            <a:pt x="25358" y="4486"/>
                            <a:pt x="25478" y="4605"/>
                          </a:cubicBezTo>
                          <a:cubicBezTo>
                            <a:pt x="25717" y="4844"/>
                            <a:pt x="25956" y="5084"/>
                            <a:pt x="26136" y="5323"/>
                          </a:cubicBezTo>
                          <a:cubicBezTo>
                            <a:pt x="26375" y="5562"/>
                            <a:pt x="26554" y="5801"/>
                            <a:pt x="26734" y="6100"/>
                          </a:cubicBezTo>
                          <a:cubicBezTo>
                            <a:pt x="26913" y="6340"/>
                            <a:pt x="27092" y="6639"/>
                            <a:pt x="27272" y="6878"/>
                          </a:cubicBezTo>
                          <a:cubicBezTo>
                            <a:pt x="27451" y="7117"/>
                            <a:pt x="27571" y="7416"/>
                            <a:pt x="27751" y="7715"/>
                          </a:cubicBezTo>
                          <a:cubicBezTo>
                            <a:pt x="28050" y="8373"/>
                            <a:pt x="28349" y="9031"/>
                            <a:pt x="28528" y="9749"/>
                          </a:cubicBezTo>
                          <a:cubicBezTo>
                            <a:pt x="28707" y="10466"/>
                            <a:pt x="28827" y="11184"/>
                            <a:pt x="28887" y="11902"/>
                          </a:cubicBezTo>
                          <a:cubicBezTo>
                            <a:pt x="28946" y="12620"/>
                            <a:pt x="28946" y="13397"/>
                            <a:pt x="28887" y="14115"/>
                          </a:cubicBezTo>
                          <a:cubicBezTo>
                            <a:pt x="28827" y="14832"/>
                            <a:pt x="28707" y="15610"/>
                            <a:pt x="28468" y="16328"/>
                          </a:cubicBezTo>
                          <a:cubicBezTo>
                            <a:pt x="28468" y="16447"/>
                            <a:pt x="28408" y="16507"/>
                            <a:pt x="28349" y="16627"/>
                          </a:cubicBezTo>
                          <a:cubicBezTo>
                            <a:pt x="28289" y="16746"/>
                            <a:pt x="28289" y="16806"/>
                            <a:pt x="28229" y="16926"/>
                          </a:cubicBezTo>
                          <a:cubicBezTo>
                            <a:pt x="28169" y="17045"/>
                            <a:pt x="28169" y="17105"/>
                            <a:pt x="28109" y="17225"/>
                          </a:cubicBezTo>
                          <a:cubicBezTo>
                            <a:pt x="28050" y="17344"/>
                            <a:pt x="28050" y="17404"/>
                            <a:pt x="27990" y="17524"/>
                          </a:cubicBezTo>
                          <a:cubicBezTo>
                            <a:pt x="27870" y="17823"/>
                            <a:pt x="27751" y="18062"/>
                            <a:pt x="27631" y="18361"/>
                          </a:cubicBezTo>
                          <a:cubicBezTo>
                            <a:pt x="27511" y="18660"/>
                            <a:pt x="27392" y="18899"/>
                            <a:pt x="27212" y="19198"/>
                          </a:cubicBezTo>
                          <a:cubicBezTo>
                            <a:pt x="27092" y="19437"/>
                            <a:pt x="26913" y="19737"/>
                            <a:pt x="26734" y="19976"/>
                          </a:cubicBezTo>
                          <a:cubicBezTo>
                            <a:pt x="26554" y="20215"/>
                            <a:pt x="26614" y="20634"/>
                            <a:pt x="26375" y="20873"/>
                          </a:cubicBezTo>
                          <a:moveTo>
                            <a:pt x="3768" y="5861"/>
                          </a:moveTo>
                          <a:lnTo>
                            <a:pt x="4785" y="6579"/>
                          </a:lnTo>
                          <a:cubicBezTo>
                            <a:pt x="5024" y="6340"/>
                            <a:pt x="5203" y="6100"/>
                            <a:pt x="5442" y="5861"/>
                          </a:cubicBezTo>
                          <a:cubicBezTo>
                            <a:pt x="5682" y="5622"/>
                            <a:pt x="5921" y="5383"/>
                            <a:pt x="6100" y="5203"/>
                          </a:cubicBezTo>
                          <a:cubicBezTo>
                            <a:pt x="6340" y="4964"/>
                            <a:pt x="6579" y="4785"/>
                            <a:pt x="6818" y="4605"/>
                          </a:cubicBezTo>
                          <a:cubicBezTo>
                            <a:pt x="7057" y="4426"/>
                            <a:pt x="7296" y="4246"/>
                            <a:pt x="7596" y="4067"/>
                          </a:cubicBezTo>
                          <a:cubicBezTo>
                            <a:pt x="7715" y="4007"/>
                            <a:pt x="7775" y="3947"/>
                            <a:pt x="7895" y="3888"/>
                          </a:cubicBezTo>
                          <a:cubicBezTo>
                            <a:pt x="8014" y="3828"/>
                            <a:pt x="8074" y="3768"/>
                            <a:pt x="8194" y="3708"/>
                          </a:cubicBezTo>
                          <a:cubicBezTo>
                            <a:pt x="8313" y="3649"/>
                            <a:pt x="8373" y="3589"/>
                            <a:pt x="8493" y="3529"/>
                          </a:cubicBezTo>
                          <a:cubicBezTo>
                            <a:pt x="8612" y="3469"/>
                            <a:pt x="8672" y="3409"/>
                            <a:pt x="8791" y="3349"/>
                          </a:cubicBezTo>
                          <a:cubicBezTo>
                            <a:pt x="9509" y="2931"/>
                            <a:pt x="10227" y="2572"/>
                            <a:pt x="11004" y="2273"/>
                          </a:cubicBezTo>
                          <a:cubicBezTo>
                            <a:pt x="11782" y="1974"/>
                            <a:pt x="12559" y="1735"/>
                            <a:pt x="13337" y="1555"/>
                          </a:cubicBezTo>
                          <a:cubicBezTo>
                            <a:pt x="14114" y="1376"/>
                            <a:pt x="14892" y="1256"/>
                            <a:pt x="15729" y="1256"/>
                          </a:cubicBezTo>
                          <a:cubicBezTo>
                            <a:pt x="16507" y="1196"/>
                            <a:pt x="17284" y="1256"/>
                            <a:pt x="18121" y="1316"/>
                          </a:cubicBezTo>
                          <a:cubicBezTo>
                            <a:pt x="18301" y="1316"/>
                            <a:pt x="18540" y="1376"/>
                            <a:pt x="18720" y="1376"/>
                          </a:cubicBezTo>
                          <a:cubicBezTo>
                            <a:pt x="18899" y="1436"/>
                            <a:pt x="19138" y="1436"/>
                            <a:pt x="19318" y="1495"/>
                          </a:cubicBezTo>
                          <a:cubicBezTo>
                            <a:pt x="19497" y="1555"/>
                            <a:pt x="19736" y="1555"/>
                            <a:pt x="19916" y="1615"/>
                          </a:cubicBezTo>
                          <a:cubicBezTo>
                            <a:pt x="20095" y="1675"/>
                            <a:pt x="20334" y="1735"/>
                            <a:pt x="20514" y="1795"/>
                          </a:cubicBezTo>
                          <a:lnTo>
                            <a:pt x="21351" y="718"/>
                          </a:lnTo>
                          <a:cubicBezTo>
                            <a:pt x="21112" y="658"/>
                            <a:pt x="20933" y="598"/>
                            <a:pt x="20693" y="538"/>
                          </a:cubicBezTo>
                          <a:cubicBezTo>
                            <a:pt x="20454" y="479"/>
                            <a:pt x="20215" y="419"/>
                            <a:pt x="20035" y="359"/>
                          </a:cubicBezTo>
                          <a:cubicBezTo>
                            <a:pt x="19796" y="299"/>
                            <a:pt x="19557" y="239"/>
                            <a:pt x="19318" y="239"/>
                          </a:cubicBezTo>
                          <a:cubicBezTo>
                            <a:pt x="19079" y="180"/>
                            <a:pt x="18839" y="180"/>
                            <a:pt x="18600" y="120"/>
                          </a:cubicBezTo>
                          <a:cubicBezTo>
                            <a:pt x="18361" y="120"/>
                            <a:pt x="18181" y="60"/>
                            <a:pt x="17942" y="60"/>
                          </a:cubicBezTo>
                          <a:cubicBezTo>
                            <a:pt x="17703" y="60"/>
                            <a:pt x="17523" y="0"/>
                            <a:pt x="17284" y="0"/>
                          </a:cubicBezTo>
                          <a:cubicBezTo>
                            <a:pt x="17045" y="0"/>
                            <a:pt x="16866" y="0"/>
                            <a:pt x="16626" y="0"/>
                          </a:cubicBezTo>
                          <a:cubicBezTo>
                            <a:pt x="16387" y="0"/>
                            <a:pt x="16208" y="0"/>
                            <a:pt x="15968" y="0"/>
                          </a:cubicBezTo>
                          <a:cubicBezTo>
                            <a:pt x="15251" y="0"/>
                            <a:pt x="14533" y="120"/>
                            <a:pt x="13815" y="239"/>
                          </a:cubicBezTo>
                          <a:cubicBezTo>
                            <a:pt x="13098" y="359"/>
                            <a:pt x="12380" y="538"/>
                            <a:pt x="11662" y="718"/>
                          </a:cubicBezTo>
                          <a:cubicBezTo>
                            <a:pt x="10945" y="957"/>
                            <a:pt x="10287" y="1196"/>
                            <a:pt x="9569" y="1495"/>
                          </a:cubicBezTo>
                          <a:cubicBezTo>
                            <a:pt x="8911" y="1795"/>
                            <a:pt x="8253" y="2153"/>
                            <a:pt x="7596" y="2572"/>
                          </a:cubicBezTo>
                          <a:cubicBezTo>
                            <a:pt x="7476" y="2632"/>
                            <a:pt x="7416" y="2691"/>
                            <a:pt x="7296" y="2751"/>
                          </a:cubicBezTo>
                          <a:cubicBezTo>
                            <a:pt x="7177" y="2811"/>
                            <a:pt x="7117" y="2871"/>
                            <a:pt x="6997" y="2931"/>
                          </a:cubicBezTo>
                          <a:cubicBezTo>
                            <a:pt x="6878" y="2990"/>
                            <a:pt x="6818" y="3050"/>
                            <a:pt x="6698" y="3110"/>
                          </a:cubicBezTo>
                          <a:cubicBezTo>
                            <a:pt x="6579" y="3170"/>
                            <a:pt x="6519" y="3230"/>
                            <a:pt x="6399" y="3290"/>
                          </a:cubicBezTo>
                          <a:cubicBezTo>
                            <a:pt x="6160" y="3469"/>
                            <a:pt x="5921" y="3649"/>
                            <a:pt x="5682" y="3888"/>
                          </a:cubicBezTo>
                          <a:cubicBezTo>
                            <a:pt x="5442" y="4067"/>
                            <a:pt x="5203" y="4306"/>
                            <a:pt x="4964" y="4486"/>
                          </a:cubicBezTo>
                          <a:cubicBezTo>
                            <a:pt x="4725" y="4725"/>
                            <a:pt x="4486" y="4904"/>
                            <a:pt x="4306" y="5144"/>
                          </a:cubicBezTo>
                          <a:cubicBezTo>
                            <a:pt x="4187" y="5383"/>
                            <a:pt x="3947" y="5622"/>
                            <a:pt x="3768" y="5861"/>
                          </a:cubicBezTo>
                          <a:moveTo>
                            <a:pt x="19079" y="26315"/>
                          </a:moveTo>
                          <a:lnTo>
                            <a:pt x="20334" y="27153"/>
                          </a:lnTo>
                          <a:cubicBezTo>
                            <a:pt x="20933" y="26913"/>
                            <a:pt x="21530" y="26614"/>
                            <a:pt x="22069" y="26315"/>
                          </a:cubicBezTo>
                          <a:cubicBezTo>
                            <a:pt x="22607" y="26016"/>
                            <a:pt x="23205" y="25658"/>
                            <a:pt x="23683" y="25299"/>
                          </a:cubicBezTo>
                          <a:cubicBezTo>
                            <a:pt x="24222" y="24940"/>
                            <a:pt x="24700" y="24521"/>
                            <a:pt x="25238" y="24043"/>
                          </a:cubicBezTo>
                          <a:cubicBezTo>
                            <a:pt x="25717" y="23624"/>
                            <a:pt x="26196" y="23145"/>
                            <a:pt x="26614" y="22607"/>
                          </a:cubicBezTo>
                          <a:lnTo>
                            <a:pt x="25597" y="21950"/>
                          </a:lnTo>
                          <a:cubicBezTo>
                            <a:pt x="25179" y="22488"/>
                            <a:pt x="24700" y="22966"/>
                            <a:pt x="24162" y="23385"/>
                          </a:cubicBezTo>
                          <a:cubicBezTo>
                            <a:pt x="23624" y="23804"/>
                            <a:pt x="23145" y="24222"/>
                            <a:pt x="22607" y="24581"/>
                          </a:cubicBezTo>
                          <a:cubicBezTo>
                            <a:pt x="22069" y="24940"/>
                            <a:pt x="21471" y="25299"/>
                            <a:pt x="20933" y="25598"/>
                          </a:cubicBezTo>
                          <a:cubicBezTo>
                            <a:pt x="20394" y="25897"/>
                            <a:pt x="19676" y="26136"/>
                            <a:pt x="19079" y="26315"/>
                          </a:cubicBezTo>
                          <a:moveTo>
                            <a:pt x="179" y="13875"/>
                          </a:moveTo>
                          <a:lnTo>
                            <a:pt x="1435" y="14713"/>
                          </a:lnTo>
                          <a:cubicBezTo>
                            <a:pt x="1495" y="14115"/>
                            <a:pt x="1555" y="13516"/>
                            <a:pt x="1674" y="12919"/>
                          </a:cubicBezTo>
                          <a:cubicBezTo>
                            <a:pt x="1794" y="12320"/>
                            <a:pt x="1974" y="11722"/>
                            <a:pt x="2153" y="11124"/>
                          </a:cubicBezTo>
                          <a:cubicBezTo>
                            <a:pt x="2392" y="10526"/>
                            <a:pt x="2632" y="9928"/>
                            <a:pt x="2930" y="9330"/>
                          </a:cubicBezTo>
                          <a:cubicBezTo>
                            <a:pt x="3229" y="8732"/>
                            <a:pt x="3588" y="8194"/>
                            <a:pt x="4007" y="7596"/>
                          </a:cubicBezTo>
                          <a:lnTo>
                            <a:pt x="2990" y="6878"/>
                          </a:lnTo>
                          <a:cubicBezTo>
                            <a:pt x="2572" y="7416"/>
                            <a:pt x="2213" y="7954"/>
                            <a:pt x="1914" y="8553"/>
                          </a:cubicBezTo>
                          <a:cubicBezTo>
                            <a:pt x="1615" y="9151"/>
                            <a:pt x="1316" y="9689"/>
                            <a:pt x="1076" y="10287"/>
                          </a:cubicBezTo>
                          <a:cubicBezTo>
                            <a:pt x="837" y="10885"/>
                            <a:pt x="658" y="11483"/>
                            <a:pt x="538" y="12081"/>
                          </a:cubicBezTo>
                          <a:cubicBezTo>
                            <a:pt x="359" y="12679"/>
                            <a:pt x="239" y="13277"/>
                            <a:pt x="179" y="13875"/>
                          </a:cubicBezTo>
                          <a:moveTo>
                            <a:pt x="13875" y="27213"/>
                          </a:moveTo>
                          <a:lnTo>
                            <a:pt x="15610" y="28349"/>
                          </a:lnTo>
                          <a:cubicBezTo>
                            <a:pt x="15849" y="28349"/>
                            <a:pt x="16148" y="28289"/>
                            <a:pt x="16387" y="28229"/>
                          </a:cubicBezTo>
                          <a:cubicBezTo>
                            <a:pt x="16626" y="28169"/>
                            <a:pt x="16926" y="28109"/>
                            <a:pt x="17165" y="28109"/>
                          </a:cubicBezTo>
                          <a:cubicBezTo>
                            <a:pt x="17404" y="28109"/>
                            <a:pt x="17703" y="27990"/>
                            <a:pt x="17942" y="27930"/>
                          </a:cubicBezTo>
                          <a:cubicBezTo>
                            <a:pt x="18181" y="27870"/>
                            <a:pt x="18480" y="27811"/>
                            <a:pt x="18720" y="27691"/>
                          </a:cubicBezTo>
                          <a:lnTo>
                            <a:pt x="17404" y="26794"/>
                          </a:lnTo>
                          <a:cubicBezTo>
                            <a:pt x="17105" y="26854"/>
                            <a:pt x="16806" y="26913"/>
                            <a:pt x="16507" y="26973"/>
                          </a:cubicBezTo>
                          <a:cubicBezTo>
                            <a:pt x="16208" y="27033"/>
                            <a:pt x="15909" y="27093"/>
                            <a:pt x="15610" y="27093"/>
                          </a:cubicBezTo>
                          <a:cubicBezTo>
                            <a:pt x="15311" y="27093"/>
                            <a:pt x="15012" y="27153"/>
                            <a:pt x="14712" y="27153"/>
                          </a:cubicBezTo>
                          <a:cubicBezTo>
                            <a:pt x="14473" y="27213"/>
                            <a:pt x="14174" y="27213"/>
                            <a:pt x="13875" y="27213"/>
                          </a:cubicBezTo>
                          <a:moveTo>
                            <a:pt x="419" y="18361"/>
                          </a:moveTo>
                          <a:lnTo>
                            <a:pt x="2153" y="19497"/>
                          </a:lnTo>
                          <a:cubicBezTo>
                            <a:pt x="2033" y="19258"/>
                            <a:pt x="1974" y="18959"/>
                            <a:pt x="1914" y="18720"/>
                          </a:cubicBezTo>
                          <a:cubicBezTo>
                            <a:pt x="1854" y="18481"/>
                            <a:pt x="1734" y="18182"/>
                            <a:pt x="1674" y="17942"/>
                          </a:cubicBezTo>
                          <a:cubicBezTo>
                            <a:pt x="1615" y="17643"/>
                            <a:pt x="1555" y="17404"/>
                            <a:pt x="1495" y="17105"/>
                          </a:cubicBezTo>
                          <a:cubicBezTo>
                            <a:pt x="1435" y="16806"/>
                            <a:pt x="1435" y="16567"/>
                            <a:pt x="1375" y="16268"/>
                          </a:cubicBezTo>
                          <a:lnTo>
                            <a:pt x="0" y="15370"/>
                          </a:lnTo>
                          <a:cubicBezTo>
                            <a:pt x="0" y="15610"/>
                            <a:pt x="0" y="15849"/>
                            <a:pt x="0" y="16148"/>
                          </a:cubicBezTo>
                          <a:cubicBezTo>
                            <a:pt x="0" y="16387"/>
                            <a:pt x="60" y="16627"/>
                            <a:pt x="60" y="16866"/>
                          </a:cubicBezTo>
                          <a:cubicBezTo>
                            <a:pt x="60" y="17105"/>
                            <a:pt x="120" y="17344"/>
                            <a:pt x="179" y="17583"/>
                          </a:cubicBezTo>
                          <a:cubicBezTo>
                            <a:pt x="239" y="17823"/>
                            <a:pt x="359" y="18122"/>
                            <a:pt x="419" y="18361"/>
                          </a:cubicBezTo>
                          <a:moveTo>
                            <a:pt x="4067" y="24760"/>
                          </a:moveTo>
                          <a:lnTo>
                            <a:pt x="7895" y="27272"/>
                          </a:lnTo>
                          <a:cubicBezTo>
                            <a:pt x="8313" y="27452"/>
                            <a:pt x="8791" y="27631"/>
                            <a:pt x="9210" y="27751"/>
                          </a:cubicBezTo>
                          <a:cubicBezTo>
                            <a:pt x="9629" y="27870"/>
                            <a:pt x="10107" y="27990"/>
                            <a:pt x="10586" y="28109"/>
                          </a:cubicBezTo>
                          <a:cubicBezTo>
                            <a:pt x="11064" y="28229"/>
                            <a:pt x="11483" y="28289"/>
                            <a:pt x="11961" y="28349"/>
                          </a:cubicBezTo>
                          <a:cubicBezTo>
                            <a:pt x="12440" y="28408"/>
                            <a:pt x="12918" y="28468"/>
                            <a:pt x="13397" y="28468"/>
                          </a:cubicBezTo>
                          <a:lnTo>
                            <a:pt x="11064" y="26913"/>
                          </a:lnTo>
                          <a:cubicBezTo>
                            <a:pt x="10705" y="26854"/>
                            <a:pt x="10287" y="26734"/>
                            <a:pt x="9928" y="26614"/>
                          </a:cubicBezTo>
                          <a:cubicBezTo>
                            <a:pt x="9569" y="26495"/>
                            <a:pt x="9210" y="26375"/>
                            <a:pt x="8791" y="26196"/>
                          </a:cubicBezTo>
                          <a:cubicBezTo>
                            <a:pt x="8433" y="26076"/>
                            <a:pt x="8074" y="25897"/>
                            <a:pt x="7715" y="25717"/>
                          </a:cubicBezTo>
                          <a:cubicBezTo>
                            <a:pt x="7356" y="25538"/>
                            <a:pt x="6997" y="25359"/>
                            <a:pt x="6698" y="25119"/>
                          </a:cubicBezTo>
                          <a:cubicBezTo>
                            <a:pt x="6340" y="24880"/>
                            <a:pt x="6041" y="24641"/>
                            <a:pt x="5741" y="24401"/>
                          </a:cubicBezTo>
                          <a:cubicBezTo>
                            <a:pt x="5442" y="24162"/>
                            <a:pt x="5143" y="23923"/>
                            <a:pt x="4844" y="23624"/>
                          </a:cubicBezTo>
                          <a:cubicBezTo>
                            <a:pt x="4545" y="23385"/>
                            <a:pt x="4306" y="23086"/>
                            <a:pt x="4067" y="22787"/>
                          </a:cubicBezTo>
                          <a:cubicBezTo>
                            <a:pt x="3828" y="22488"/>
                            <a:pt x="3588" y="22189"/>
                            <a:pt x="3409" y="21890"/>
                          </a:cubicBezTo>
                          <a:lnTo>
                            <a:pt x="1017" y="20335"/>
                          </a:lnTo>
                          <a:cubicBezTo>
                            <a:pt x="1196" y="20753"/>
                            <a:pt x="1375" y="21112"/>
                            <a:pt x="1615" y="21531"/>
                          </a:cubicBezTo>
                          <a:cubicBezTo>
                            <a:pt x="1854" y="21950"/>
                            <a:pt x="2033" y="22308"/>
                            <a:pt x="2333" y="22667"/>
                          </a:cubicBezTo>
                          <a:cubicBezTo>
                            <a:pt x="2572" y="23026"/>
                            <a:pt x="2871" y="23385"/>
                            <a:pt x="3170" y="23744"/>
                          </a:cubicBezTo>
                          <a:cubicBezTo>
                            <a:pt x="3409" y="24102"/>
                            <a:pt x="3768" y="24461"/>
                            <a:pt x="4067" y="24760"/>
                          </a:cubicBezTo>
                        </a:path>
                      </a:pathLst>
                    </a:custGeom>
                    <a:noFill/>
                    <a:ln w="6350" cap="flat">
                      <a:solidFill>
                        <a:schemeClr val="bg1">
                          <a:alpha val="80000"/>
                        </a:schemeClr>
                      </a:solidFill>
                      <a:prstDash val="solid"/>
                      <a:miter/>
                    </a:ln>
                  </p:spPr>
                  <p:txBody>
                    <a:bodyPr rtlCol="0" anchor="ctr"/>
                    <a:lstStyle/>
                    <a:p>
                      <a:endParaRPr lang="en-GB"/>
                    </a:p>
                  </p:txBody>
                </p:sp>
                <p:sp>
                  <p:nvSpPr>
                    <p:cNvPr id="7435" name="Vrije vorm: vorm 7434">
                      <a:extLst>
                        <a:ext uri="{FF2B5EF4-FFF2-40B4-BE49-F238E27FC236}">
                          <a16:creationId xmlns:a16="http://schemas.microsoft.com/office/drawing/2014/main" id="{21D06EE1-02E6-4277-AB2F-6A033C9BFDC8}"/>
                        </a:ext>
                      </a:extLst>
                    </p:cNvPr>
                    <p:cNvSpPr/>
                    <p:nvPr/>
                  </p:nvSpPr>
                  <p:spPr>
                    <a:xfrm>
                      <a:off x="4761691" y="5136463"/>
                      <a:ext cx="16327" cy="15505"/>
                    </a:xfrm>
                    <a:custGeom>
                      <a:avLst/>
                      <a:gdLst>
                        <a:gd name="connsiteX0" fmla="*/ 13875 w 16327"/>
                        <a:gd name="connsiteY0" fmla="*/ 10825 h 15505"/>
                        <a:gd name="connsiteX1" fmla="*/ 14892 w 16327"/>
                        <a:gd name="connsiteY1" fmla="*/ 11483 h 15505"/>
                        <a:gd name="connsiteX2" fmla="*/ 15371 w 16327"/>
                        <a:gd name="connsiteY2" fmla="*/ 10645 h 15505"/>
                        <a:gd name="connsiteX3" fmla="*/ 15789 w 16327"/>
                        <a:gd name="connsiteY3" fmla="*/ 9808 h 15505"/>
                        <a:gd name="connsiteX4" fmla="*/ 16088 w 16327"/>
                        <a:gd name="connsiteY4" fmla="*/ 8911 h 15505"/>
                        <a:gd name="connsiteX5" fmla="*/ 16268 w 16327"/>
                        <a:gd name="connsiteY5" fmla="*/ 8014 h 15505"/>
                        <a:gd name="connsiteX6" fmla="*/ 16328 w 16327"/>
                        <a:gd name="connsiteY6" fmla="*/ 7655 h 15505"/>
                        <a:gd name="connsiteX7" fmla="*/ 16328 w 16327"/>
                        <a:gd name="connsiteY7" fmla="*/ 7296 h 15505"/>
                        <a:gd name="connsiteX8" fmla="*/ 16328 w 16327"/>
                        <a:gd name="connsiteY8" fmla="*/ 6937 h 15505"/>
                        <a:gd name="connsiteX9" fmla="*/ 16328 w 16327"/>
                        <a:gd name="connsiteY9" fmla="*/ 6579 h 15505"/>
                        <a:gd name="connsiteX10" fmla="*/ 16029 w 16327"/>
                        <a:gd name="connsiteY10" fmla="*/ 5083 h 15505"/>
                        <a:gd name="connsiteX11" fmla="*/ 15430 w 16327"/>
                        <a:gd name="connsiteY11" fmla="*/ 3708 h 15505"/>
                        <a:gd name="connsiteX12" fmla="*/ 14474 w 16327"/>
                        <a:gd name="connsiteY12" fmla="*/ 2452 h 15505"/>
                        <a:gd name="connsiteX13" fmla="*/ 13218 w 16327"/>
                        <a:gd name="connsiteY13" fmla="*/ 1375 h 15505"/>
                        <a:gd name="connsiteX14" fmla="*/ 12679 w 16327"/>
                        <a:gd name="connsiteY14" fmla="*/ 1017 h 15505"/>
                        <a:gd name="connsiteX15" fmla="*/ 12081 w 16327"/>
                        <a:gd name="connsiteY15" fmla="*/ 718 h 15505"/>
                        <a:gd name="connsiteX16" fmla="*/ 11483 w 16327"/>
                        <a:gd name="connsiteY16" fmla="*/ 479 h 15505"/>
                        <a:gd name="connsiteX17" fmla="*/ 10885 w 16327"/>
                        <a:gd name="connsiteY17" fmla="*/ 299 h 15505"/>
                        <a:gd name="connsiteX18" fmla="*/ 9988 w 16327"/>
                        <a:gd name="connsiteY18" fmla="*/ 1435 h 15505"/>
                        <a:gd name="connsiteX19" fmla="*/ 10586 w 16327"/>
                        <a:gd name="connsiteY19" fmla="*/ 1555 h 15505"/>
                        <a:gd name="connsiteX20" fmla="*/ 11184 w 16327"/>
                        <a:gd name="connsiteY20" fmla="*/ 1734 h 15505"/>
                        <a:gd name="connsiteX21" fmla="*/ 11782 w 16327"/>
                        <a:gd name="connsiteY21" fmla="*/ 2034 h 15505"/>
                        <a:gd name="connsiteX22" fmla="*/ 12321 w 16327"/>
                        <a:gd name="connsiteY22" fmla="*/ 2392 h 15505"/>
                        <a:gd name="connsiteX23" fmla="*/ 13158 w 16327"/>
                        <a:gd name="connsiteY23" fmla="*/ 3050 h 15505"/>
                        <a:gd name="connsiteX24" fmla="*/ 13816 w 16327"/>
                        <a:gd name="connsiteY24" fmla="*/ 3828 h 15505"/>
                        <a:gd name="connsiteX25" fmla="*/ 14354 w 16327"/>
                        <a:gd name="connsiteY25" fmla="*/ 4665 h 15505"/>
                        <a:gd name="connsiteX26" fmla="*/ 14713 w 16327"/>
                        <a:gd name="connsiteY26" fmla="*/ 5562 h 15505"/>
                        <a:gd name="connsiteX27" fmla="*/ 14832 w 16327"/>
                        <a:gd name="connsiteY27" fmla="*/ 5981 h 15505"/>
                        <a:gd name="connsiteX28" fmla="*/ 14892 w 16327"/>
                        <a:gd name="connsiteY28" fmla="*/ 6399 h 15505"/>
                        <a:gd name="connsiteX29" fmla="*/ 14952 w 16327"/>
                        <a:gd name="connsiteY29" fmla="*/ 6818 h 15505"/>
                        <a:gd name="connsiteX30" fmla="*/ 14952 w 16327"/>
                        <a:gd name="connsiteY30" fmla="*/ 7237 h 15505"/>
                        <a:gd name="connsiteX31" fmla="*/ 14892 w 16327"/>
                        <a:gd name="connsiteY31" fmla="*/ 8134 h 15505"/>
                        <a:gd name="connsiteX32" fmla="*/ 14713 w 16327"/>
                        <a:gd name="connsiteY32" fmla="*/ 9031 h 15505"/>
                        <a:gd name="connsiteX33" fmla="*/ 14354 w 16327"/>
                        <a:gd name="connsiteY33" fmla="*/ 9928 h 15505"/>
                        <a:gd name="connsiteX34" fmla="*/ 13875 w 16327"/>
                        <a:gd name="connsiteY34" fmla="*/ 10825 h 15505"/>
                        <a:gd name="connsiteX35" fmla="*/ 2034 w 16327"/>
                        <a:gd name="connsiteY35" fmla="*/ 2990 h 15505"/>
                        <a:gd name="connsiteX36" fmla="*/ 3050 w 16327"/>
                        <a:gd name="connsiteY36" fmla="*/ 3708 h 15505"/>
                        <a:gd name="connsiteX37" fmla="*/ 3828 w 16327"/>
                        <a:gd name="connsiteY37" fmla="*/ 2990 h 15505"/>
                        <a:gd name="connsiteX38" fmla="*/ 4665 w 16327"/>
                        <a:gd name="connsiteY38" fmla="*/ 2392 h 15505"/>
                        <a:gd name="connsiteX39" fmla="*/ 5562 w 16327"/>
                        <a:gd name="connsiteY39" fmla="*/ 1914 h 15505"/>
                        <a:gd name="connsiteX40" fmla="*/ 6519 w 16327"/>
                        <a:gd name="connsiteY40" fmla="*/ 1555 h 15505"/>
                        <a:gd name="connsiteX41" fmla="*/ 6998 w 16327"/>
                        <a:gd name="connsiteY41" fmla="*/ 1435 h 15505"/>
                        <a:gd name="connsiteX42" fmla="*/ 7476 w 16327"/>
                        <a:gd name="connsiteY42" fmla="*/ 1316 h 15505"/>
                        <a:gd name="connsiteX43" fmla="*/ 7954 w 16327"/>
                        <a:gd name="connsiteY43" fmla="*/ 1256 h 15505"/>
                        <a:gd name="connsiteX44" fmla="*/ 8433 w 16327"/>
                        <a:gd name="connsiteY44" fmla="*/ 1196 h 15505"/>
                        <a:gd name="connsiteX45" fmla="*/ 8493 w 16327"/>
                        <a:gd name="connsiteY45" fmla="*/ 1196 h 15505"/>
                        <a:gd name="connsiteX46" fmla="*/ 8553 w 16327"/>
                        <a:gd name="connsiteY46" fmla="*/ 1196 h 15505"/>
                        <a:gd name="connsiteX47" fmla="*/ 8612 w 16327"/>
                        <a:gd name="connsiteY47" fmla="*/ 1196 h 15505"/>
                        <a:gd name="connsiteX48" fmla="*/ 8672 w 16327"/>
                        <a:gd name="connsiteY48" fmla="*/ 1196 h 15505"/>
                        <a:gd name="connsiteX49" fmla="*/ 9629 w 16327"/>
                        <a:gd name="connsiteY49" fmla="*/ 0 h 15505"/>
                        <a:gd name="connsiteX50" fmla="*/ 8971 w 16327"/>
                        <a:gd name="connsiteY50" fmla="*/ 0 h 15505"/>
                        <a:gd name="connsiteX51" fmla="*/ 8313 w 16327"/>
                        <a:gd name="connsiteY51" fmla="*/ 0 h 15505"/>
                        <a:gd name="connsiteX52" fmla="*/ 7656 w 16327"/>
                        <a:gd name="connsiteY52" fmla="*/ 60 h 15505"/>
                        <a:gd name="connsiteX53" fmla="*/ 6998 w 16327"/>
                        <a:gd name="connsiteY53" fmla="*/ 179 h 15505"/>
                        <a:gd name="connsiteX54" fmla="*/ 6579 w 16327"/>
                        <a:gd name="connsiteY54" fmla="*/ 299 h 15505"/>
                        <a:gd name="connsiteX55" fmla="*/ 6160 w 16327"/>
                        <a:gd name="connsiteY55" fmla="*/ 419 h 15505"/>
                        <a:gd name="connsiteX56" fmla="*/ 5801 w 16327"/>
                        <a:gd name="connsiteY56" fmla="*/ 538 h 15505"/>
                        <a:gd name="connsiteX57" fmla="*/ 5443 w 16327"/>
                        <a:gd name="connsiteY57" fmla="*/ 718 h 15505"/>
                        <a:gd name="connsiteX58" fmla="*/ 4545 w 16327"/>
                        <a:gd name="connsiteY58" fmla="*/ 1136 h 15505"/>
                        <a:gd name="connsiteX59" fmla="*/ 3708 w 16327"/>
                        <a:gd name="connsiteY59" fmla="*/ 1674 h 15505"/>
                        <a:gd name="connsiteX60" fmla="*/ 2931 w 16327"/>
                        <a:gd name="connsiteY60" fmla="*/ 2273 h 15505"/>
                        <a:gd name="connsiteX61" fmla="*/ 2034 w 16327"/>
                        <a:gd name="connsiteY61" fmla="*/ 2990 h 15505"/>
                        <a:gd name="connsiteX62" fmla="*/ 1735 w 16327"/>
                        <a:gd name="connsiteY62" fmla="*/ 13158 h 15505"/>
                        <a:gd name="connsiteX63" fmla="*/ 4545 w 16327"/>
                        <a:gd name="connsiteY63" fmla="*/ 15012 h 15505"/>
                        <a:gd name="connsiteX64" fmla="*/ 7058 w 16327"/>
                        <a:gd name="connsiteY64" fmla="*/ 15490 h 15505"/>
                        <a:gd name="connsiteX65" fmla="*/ 9629 w 16327"/>
                        <a:gd name="connsiteY65" fmla="*/ 15191 h 15505"/>
                        <a:gd name="connsiteX66" fmla="*/ 12021 w 16327"/>
                        <a:gd name="connsiteY66" fmla="*/ 14174 h 15505"/>
                        <a:gd name="connsiteX67" fmla="*/ 14115 w 16327"/>
                        <a:gd name="connsiteY67" fmla="*/ 12500 h 15505"/>
                        <a:gd name="connsiteX68" fmla="*/ 13098 w 16327"/>
                        <a:gd name="connsiteY68" fmla="*/ 11842 h 15505"/>
                        <a:gd name="connsiteX69" fmla="*/ 11005 w 16327"/>
                        <a:gd name="connsiteY69" fmla="*/ 13397 h 15505"/>
                        <a:gd name="connsiteX70" fmla="*/ 8612 w 16327"/>
                        <a:gd name="connsiteY70" fmla="*/ 14174 h 15505"/>
                        <a:gd name="connsiteX71" fmla="*/ 6160 w 16327"/>
                        <a:gd name="connsiteY71" fmla="*/ 14114 h 15505"/>
                        <a:gd name="connsiteX72" fmla="*/ 3888 w 16327"/>
                        <a:gd name="connsiteY72" fmla="*/ 13158 h 15505"/>
                        <a:gd name="connsiteX73" fmla="*/ 2213 w 16327"/>
                        <a:gd name="connsiteY73" fmla="*/ 11483 h 15505"/>
                        <a:gd name="connsiteX74" fmla="*/ 1376 w 16327"/>
                        <a:gd name="connsiteY74" fmla="*/ 9330 h 15505"/>
                        <a:gd name="connsiteX75" fmla="*/ 1436 w 16327"/>
                        <a:gd name="connsiteY75" fmla="*/ 6997 h 15505"/>
                        <a:gd name="connsiteX76" fmla="*/ 2392 w 16327"/>
                        <a:gd name="connsiteY76" fmla="*/ 4725 h 15505"/>
                        <a:gd name="connsiteX77" fmla="*/ 1376 w 16327"/>
                        <a:gd name="connsiteY77" fmla="*/ 4067 h 15505"/>
                        <a:gd name="connsiteX78" fmla="*/ 299 w 16327"/>
                        <a:gd name="connsiteY78" fmla="*/ 6399 h 15505"/>
                        <a:gd name="connsiteX79" fmla="*/ 0 w 16327"/>
                        <a:gd name="connsiteY79" fmla="*/ 8851 h 15505"/>
                        <a:gd name="connsiteX80" fmla="*/ 538 w 16327"/>
                        <a:gd name="connsiteY80" fmla="*/ 11184 h 15505"/>
                        <a:gd name="connsiteX81" fmla="*/ 1735 w 16327"/>
                        <a:gd name="connsiteY81" fmla="*/ 13158 h 1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327" h="15505">
                          <a:moveTo>
                            <a:pt x="13875" y="10825"/>
                          </a:moveTo>
                          <a:lnTo>
                            <a:pt x="14892" y="11483"/>
                          </a:lnTo>
                          <a:cubicBezTo>
                            <a:pt x="15072" y="11184"/>
                            <a:pt x="15251" y="10945"/>
                            <a:pt x="15371" y="10645"/>
                          </a:cubicBezTo>
                          <a:cubicBezTo>
                            <a:pt x="15490" y="10347"/>
                            <a:pt x="15670" y="10048"/>
                            <a:pt x="15789" y="9808"/>
                          </a:cubicBezTo>
                          <a:cubicBezTo>
                            <a:pt x="15909" y="9569"/>
                            <a:pt x="15969" y="9210"/>
                            <a:pt x="16088" y="8911"/>
                          </a:cubicBezTo>
                          <a:cubicBezTo>
                            <a:pt x="16148" y="8612"/>
                            <a:pt x="16208" y="8313"/>
                            <a:pt x="16268" y="8014"/>
                          </a:cubicBezTo>
                          <a:cubicBezTo>
                            <a:pt x="16268" y="7895"/>
                            <a:pt x="16268" y="7775"/>
                            <a:pt x="16328" y="7655"/>
                          </a:cubicBezTo>
                          <a:cubicBezTo>
                            <a:pt x="16328" y="7536"/>
                            <a:pt x="16328" y="7416"/>
                            <a:pt x="16328" y="7296"/>
                          </a:cubicBezTo>
                          <a:cubicBezTo>
                            <a:pt x="16328" y="7177"/>
                            <a:pt x="16328" y="7057"/>
                            <a:pt x="16328" y="6937"/>
                          </a:cubicBezTo>
                          <a:cubicBezTo>
                            <a:pt x="16328" y="6818"/>
                            <a:pt x="16328" y="6698"/>
                            <a:pt x="16328" y="6579"/>
                          </a:cubicBezTo>
                          <a:cubicBezTo>
                            <a:pt x="16268" y="6041"/>
                            <a:pt x="16208" y="5562"/>
                            <a:pt x="16029" y="5083"/>
                          </a:cubicBezTo>
                          <a:cubicBezTo>
                            <a:pt x="15909" y="4605"/>
                            <a:pt x="15670" y="4127"/>
                            <a:pt x="15430" y="3708"/>
                          </a:cubicBezTo>
                          <a:cubicBezTo>
                            <a:pt x="15191" y="3289"/>
                            <a:pt x="14892" y="2871"/>
                            <a:pt x="14474" y="2452"/>
                          </a:cubicBezTo>
                          <a:cubicBezTo>
                            <a:pt x="14115" y="2093"/>
                            <a:pt x="13696" y="1734"/>
                            <a:pt x="13218" y="1375"/>
                          </a:cubicBezTo>
                          <a:cubicBezTo>
                            <a:pt x="13038" y="1256"/>
                            <a:pt x="12859" y="1136"/>
                            <a:pt x="12679" y="1017"/>
                          </a:cubicBezTo>
                          <a:cubicBezTo>
                            <a:pt x="12500" y="897"/>
                            <a:pt x="12321" y="837"/>
                            <a:pt x="12081" y="718"/>
                          </a:cubicBezTo>
                          <a:cubicBezTo>
                            <a:pt x="11902" y="658"/>
                            <a:pt x="11662" y="538"/>
                            <a:pt x="11483" y="479"/>
                          </a:cubicBezTo>
                          <a:cubicBezTo>
                            <a:pt x="11304" y="419"/>
                            <a:pt x="11065" y="359"/>
                            <a:pt x="10885" y="299"/>
                          </a:cubicBezTo>
                          <a:lnTo>
                            <a:pt x="9988" y="1435"/>
                          </a:lnTo>
                          <a:cubicBezTo>
                            <a:pt x="10227" y="1495"/>
                            <a:pt x="10407" y="1495"/>
                            <a:pt x="10586" y="1555"/>
                          </a:cubicBezTo>
                          <a:cubicBezTo>
                            <a:pt x="10766" y="1615"/>
                            <a:pt x="11005" y="1674"/>
                            <a:pt x="11184" y="1734"/>
                          </a:cubicBezTo>
                          <a:cubicBezTo>
                            <a:pt x="11364" y="1794"/>
                            <a:pt x="11603" y="1914"/>
                            <a:pt x="11782" y="2034"/>
                          </a:cubicBezTo>
                          <a:cubicBezTo>
                            <a:pt x="11961" y="2153"/>
                            <a:pt x="12141" y="2273"/>
                            <a:pt x="12321" y="2392"/>
                          </a:cubicBezTo>
                          <a:cubicBezTo>
                            <a:pt x="12620" y="2572"/>
                            <a:pt x="12859" y="2811"/>
                            <a:pt x="13158" y="3050"/>
                          </a:cubicBezTo>
                          <a:cubicBezTo>
                            <a:pt x="13457" y="3289"/>
                            <a:pt x="13636" y="3529"/>
                            <a:pt x="13816" y="3828"/>
                          </a:cubicBezTo>
                          <a:cubicBezTo>
                            <a:pt x="13995" y="4127"/>
                            <a:pt x="14175" y="4366"/>
                            <a:pt x="14354" y="4665"/>
                          </a:cubicBezTo>
                          <a:cubicBezTo>
                            <a:pt x="14533" y="4964"/>
                            <a:pt x="14593" y="5263"/>
                            <a:pt x="14713" y="5562"/>
                          </a:cubicBezTo>
                          <a:cubicBezTo>
                            <a:pt x="14773" y="5682"/>
                            <a:pt x="14773" y="5861"/>
                            <a:pt x="14832" y="5981"/>
                          </a:cubicBezTo>
                          <a:cubicBezTo>
                            <a:pt x="14892" y="6100"/>
                            <a:pt x="14892" y="6280"/>
                            <a:pt x="14892" y="6399"/>
                          </a:cubicBezTo>
                          <a:cubicBezTo>
                            <a:pt x="14892" y="6519"/>
                            <a:pt x="14952" y="6698"/>
                            <a:pt x="14952" y="6818"/>
                          </a:cubicBezTo>
                          <a:cubicBezTo>
                            <a:pt x="14952" y="6937"/>
                            <a:pt x="14952" y="7117"/>
                            <a:pt x="14952" y="7237"/>
                          </a:cubicBezTo>
                          <a:cubicBezTo>
                            <a:pt x="14952" y="7536"/>
                            <a:pt x="14952" y="7835"/>
                            <a:pt x="14892" y="8134"/>
                          </a:cubicBezTo>
                          <a:cubicBezTo>
                            <a:pt x="14832" y="8433"/>
                            <a:pt x="14773" y="8732"/>
                            <a:pt x="14713" y="9031"/>
                          </a:cubicBezTo>
                          <a:cubicBezTo>
                            <a:pt x="14593" y="9330"/>
                            <a:pt x="14533" y="9629"/>
                            <a:pt x="14354" y="9928"/>
                          </a:cubicBezTo>
                          <a:cubicBezTo>
                            <a:pt x="14234" y="10227"/>
                            <a:pt x="14055" y="10526"/>
                            <a:pt x="13875" y="10825"/>
                          </a:cubicBezTo>
                          <a:moveTo>
                            <a:pt x="2034" y="2990"/>
                          </a:moveTo>
                          <a:lnTo>
                            <a:pt x="3050" y="3708"/>
                          </a:lnTo>
                          <a:cubicBezTo>
                            <a:pt x="3290" y="3469"/>
                            <a:pt x="3529" y="3229"/>
                            <a:pt x="3828" y="2990"/>
                          </a:cubicBezTo>
                          <a:cubicBezTo>
                            <a:pt x="4067" y="2751"/>
                            <a:pt x="4366" y="2572"/>
                            <a:pt x="4665" y="2392"/>
                          </a:cubicBezTo>
                          <a:cubicBezTo>
                            <a:pt x="4964" y="2213"/>
                            <a:pt x="5263" y="2034"/>
                            <a:pt x="5562" y="1914"/>
                          </a:cubicBezTo>
                          <a:cubicBezTo>
                            <a:pt x="5861" y="1794"/>
                            <a:pt x="6160" y="1674"/>
                            <a:pt x="6519" y="1555"/>
                          </a:cubicBezTo>
                          <a:cubicBezTo>
                            <a:pt x="6699" y="1495"/>
                            <a:pt x="6818" y="1495"/>
                            <a:pt x="6998" y="1435"/>
                          </a:cubicBezTo>
                          <a:cubicBezTo>
                            <a:pt x="7177" y="1375"/>
                            <a:pt x="7297" y="1375"/>
                            <a:pt x="7476" y="1316"/>
                          </a:cubicBezTo>
                          <a:cubicBezTo>
                            <a:pt x="7656" y="1316"/>
                            <a:pt x="7775" y="1256"/>
                            <a:pt x="7954" y="1256"/>
                          </a:cubicBezTo>
                          <a:cubicBezTo>
                            <a:pt x="8134" y="1256"/>
                            <a:pt x="8253" y="1256"/>
                            <a:pt x="8433" y="1196"/>
                          </a:cubicBezTo>
                          <a:cubicBezTo>
                            <a:pt x="8433" y="1196"/>
                            <a:pt x="8433" y="1196"/>
                            <a:pt x="8493" y="1196"/>
                          </a:cubicBezTo>
                          <a:cubicBezTo>
                            <a:pt x="8493" y="1196"/>
                            <a:pt x="8493" y="1196"/>
                            <a:pt x="8553" y="1196"/>
                          </a:cubicBezTo>
                          <a:cubicBezTo>
                            <a:pt x="8553" y="1196"/>
                            <a:pt x="8553" y="1196"/>
                            <a:pt x="8612" y="1196"/>
                          </a:cubicBezTo>
                          <a:cubicBezTo>
                            <a:pt x="8672" y="1196"/>
                            <a:pt x="8612" y="1196"/>
                            <a:pt x="8672" y="1196"/>
                          </a:cubicBezTo>
                          <a:lnTo>
                            <a:pt x="9629" y="0"/>
                          </a:lnTo>
                          <a:cubicBezTo>
                            <a:pt x="9390" y="0"/>
                            <a:pt x="9211" y="0"/>
                            <a:pt x="8971" y="0"/>
                          </a:cubicBezTo>
                          <a:cubicBezTo>
                            <a:pt x="8732" y="0"/>
                            <a:pt x="8553" y="0"/>
                            <a:pt x="8313" y="0"/>
                          </a:cubicBezTo>
                          <a:cubicBezTo>
                            <a:pt x="8074" y="0"/>
                            <a:pt x="7895" y="60"/>
                            <a:pt x="7656" y="60"/>
                          </a:cubicBezTo>
                          <a:cubicBezTo>
                            <a:pt x="7416" y="60"/>
                            <a:pt x="7237" y="120"/>
                            <a:pt x="6998" y="179"/>
                          </a:cubicBezTo>
                          <a:cubicBezTo>
                            <a:pt x="6878" y="239"/>
                            <a:pt x="6758" y="239"/>
                            <a:pt x="6579" y="299"/>
                          </a:cubicBezTo>
                          <a:cubicBezTo>
                            <a:pt x="6399" y="359"/>
                            <a:pt x="6340" y="359"/>
                            <a:pt x="6160" y="419"/>
                          </a:cubicBezTo>
                          <a:cubicBezTo>
                            <a:pt x="5981" y="479"/>
                            <a:pt x="5921" y="479"/>
                            <a:pt x="5801" y="538"/>
                          </a:cubicBezTo>
                          <a:cubicBezTo>
                            <a:pt x="5682" y="598"/>
                            <a:pt x="5562" y="658"/>
                            <a:pt x="5443" y="718"/>
                          </a:cubicBezTo>
                          <a:cubicBezTo>
                            <a:pt x="5144" y="837"/>
                            <a:pt x="4845" y="957"/>
                            <a:pt x="4545" y="1136"/>
                          </a:cubicBezTo>
                          <a:cubicBezTo>
                            <a:pt x="4246" y="1316"/>
                            <a:pt x="4007" y="1495"/>
                            <a:pt x="3708" y="1674"/>
                          </a:cubicBezTo>
                          <a:cubicBezTo>
                            <a:pt x="3409" y="1854"/>
                            <a:pt x="3170" y="2093"/>
                            <a:pt x="2931" y="2273"/>
                          </a:cubicBezTo>
                          <a:cubicBezTo>
                            <a:pt x="2512" y="2512"/>
                            <a:pt x="2273" y="2751"/>
                            <a:pt x="2034" y="2990"/>
                          </a:cubicBezTo>
                          <a:moveTo>
                            <a:pt x="1735" y="13158"/>
                          </a:moveTo>
                          <a:lnTo>
                            <a:pt x="4545" y="15012"/>
                          </a:lnTo>
                          <a:cubicBezTo>
                            <a:pt x="5323" y="15311"/>
                            <a:pt x="6160" y="15490"/>
                            <a:pt x="7058" y="15490"/>
                          </a:cubicBezTo>
                          <a:cubicBezTo>
                            <a:pt x="7895" y="15550"/>
                            <a:pt x="8792" y="15430"/>
                            <a:pt x="9629" y="15191"/>
                          </a:cubicBezTo>
                          <a:cubicBezTo>
                            <a:pt x="10466" y="14952"/>
                            <a:pt x="11304" y="14653"/>
                            <a:pt x="12021" y="14174"/>
                          </a:cubicBezTo>
                          <a:cubicBezTo>
                            <a:pt x="12799" y="13696"/>
                            <a:pt x="13457" y="13158"/>
                            <a:pt x="14115" y="12500"/>
                          </a:cubicBezTo>
                          <a:lnTo>
                            <a:pt x="13098" y="11842"/>
                          </a:lnTo>
                          <a:cubicBezTo>
                            <a:pt x="12500" y="12500"/>
                            <a:pt x="11782" y="12978"/>
                            <a:pt x="11005" y="13397"/>
                          </a:cubicBezTo>
                          <a:cubicBezTo>
                            <a:pt x="10227" y="13756"/>
                            <a:pt x="9450" y="14055"/>
                            <a:pt x="8612" y="14174"/>
                          </a:cubicBezTo>
                          <a:cubicBezTo>
                            <a:pt x="7775" y="14294"/>
                            <a:pt x="6938" y="14294"/>
                            <a:pt x="6160" y="14114"/>
                          </a:cubicBezTo>
                          <a:cubicBezTo>
                            <a:pt x="5323" y="13935"/>
                            <a:pt x="4605" y="13636"/>
                            <a:pt x="3888" y="13158"/>
                          </a:cubicBezTo>
                          <a:cubicBezTo>
                            <a:pt x="3170" y="12679"/>
                            <a:pt x="2632" y="12141"/>
                            <a:pt x="2213" y="11483"/>
                          </a:cubicBezTo>
                          <a:cubicBezTo>
                            <a:pt x="1795" y="10825"/>
                            <a:pt x="1495" y="10107"/>
                            <a:pt x="1376" y="9330"/>
                          </a:cubicBezTo>
                          <a:cubicBezTo>
                            <a:pt x="1256" y="8552"/>
                            <a:pt x="1256" y="7775"/>
                            <a:pt x="1436" y="6997"/>
                          </a:cubicBezTo>
                          <a:cubicBezTo>
                            <a:pt x="1615" y="6220"/>
                            <a:pt x="1914" y="5442"/>
                            <a:pt x="2392" y="4725"/>
                          </a:cubicBezTo>
                          <a:lnTo>
                            <a:pt x="1376" y="4067"/>
                          </a:lnTo>
                          <a:cubicBezTo>
                            <a:pt x="897" y="4844"/>
                            <a:pt x="479" y="5622"/>
                            <a:pt x="299" y="6399"/>
                          </a:cubicBezTo>
                          <a:cubicBezTo>
                            <a:pt x="120" y="7177"/>
                            <a:pt x="0" y="8014"/>
                            <a:pt x="0" y="8851"/>
                          </a:cubicBezTo>
                          <a:cubicBezTo>
                            <a:pt x="60" y="9629"/>
                            <a:pt x="239" y="10406"/>
                            <a:pt x="538" y="11184"/>
                          </a:cubicBezTo>
                          <a:cubicBezTo>
                            <a:pt x="718" y="11842"/>
                            <a:pt x="1136" y="12559"/>
                            <a:pt x="1735" y="13158"/>
                          </a:cubicBezTo>
                        </a:path>
                      </a:pathLst>
                    </a:custGeom>
                    <a:noFill/>
                    <a:ln w="6350" cap="flat">
                      <a:solidFill>
                        <a:schemeClr val="bg1">
                          <a:alpha val="80000"/>
                        </a:schemeClr>
                      </a:solidFill>
                      <a:prstDash val="solid"/>
                      <a:miter/>
                    </a:ln>
                  </p:spPr>
                  <p:txBody>
                    <a:bodyPr rtlCol="0" anchor="ctr"/>
                    <a:lstStyle/>
                    <a:p>
                      <a:endParaRPr lang="en-GB"/>
                    </a:p>
                  </p:txBody>
                </p:sp>
                <p:sp>
                  <p:nvSpPr>
                    <p:cNvPr id="7436" name="Vrije vorm: vorm 7435">
                      <a:extLst>
                        <a:ext uri="{FF2B5EF4-FFF2-40B4-BE49-F238E27FC236}">
                          <a16:creationId xmlns:a16="http://schemas.microsoft.com/office/drawing/2014/main" id="{11D07E9E-7F96-49B2-89AE-3B830432087B}"/>
                        </a:ext>
                      </a:extLst>
                    </p:cNvPr>
                    <p:cNvSpPr/>
                    <p:nvPr/>
                  </p:nvSpPr>
                  <p:spPr>
                    <a:xfrm>
                      <a:off x="4768688" y="5149322"/>
                      <a:ext cx="45214" cy="46111"/>
                    </a:xfrm>
                    <a:custGeom>
                      <a:avLst/>
                      <a:gdLst>
                        <a:gd name="connsiteX0" fmla="*/ 21231 w 45214"/>
                        <a:gd name="connsiteY0" fmla="*/ 7476 h 46111"/>
                        <a:gd name="connsiteX1" fmla="*/ 22248 w 45214"/>
                        <a:gd name="connsiteY1" fmla="*/ 8134 h 46111"/>
                        <a:gd name="connsiteX2" fmla="*/ 24521 w 45214"/>
                        <a:gd name="connsiteY2" fmla="*/ 5263 h 46111"/>
                        <a:gd name="connsiteX3" fmla="*/ 25298 w 45214"/>
                        <a:gd name="connsiteY3" fmla="*/ 4246 h 46111"/>
                        <a:gd name="connsiteX4" fmla="*/ 27332 w 45214"/>
                        <a:gd name="connsiteY4" fmla="*/ 1674 h 46111"/>
                        <a:gd name="connsiteX5" fmla="*/ 43420 w 45214"/>
                        <a:gd name="connsiteY5" fmla="*/ 12440 h 46111"/>
                        <a:gd name="connsiteX6" fmla="*/ 41386 w 45214"/>
                        <a:gd name="connsiteY6" fmla="*/ 15011 h 46111"/>
                        <a:gd name="connsiteX7" fmla="*/ 40609 w 45214"/>
                        <a:gd name="connsiteY7" fmla="*/ 15968 h 46111"/>
                        <a:gd name="connsiteX8" fmla="*/ 38396 w 45214"/>
                        <a:gd name="connsiteY8" fmla="*/ 18779 h 46111"/>
                        <a:gd name="connsiteX9" fmla="*/ 39413 w 45214"/>
                        <a:gd name="connsiteY9" fmla="*/ 19437 h 46111"/>
                        <a:gd name="connsiteX10" fmla="*/ 41626 w 45214"/>
                        <a:gd name="connsiteY10" fmla="*/ 16626 h 46111"/>
                        <a:gd name="connsiteX11" fmla="*/ 42403 w 45214"/>
                        <a:gd name="connsiteY11" fmla="*/ 15669 h 46111"/>
                        <a:gd name="connsiteX12" fmla="*/ 45214 w 45214"/>
                        <a:gd name="connsiteY12" fmla="*/ 12081 h 46111"/>
                        <a:gd name="connsiteX13" fmla="*/ 27152 w 45214"/>
                        <a:gd name="connsiteY13" fmla="*/ 0 h 46111"/>
                        <a:gd name="connsiteX14" fmla="*/ 24282 w 45214"/>
                        <a:gd name="connsiteY14" fmla="*/ 3588 h 46111"/>
                        <a:gd name="connsiteX15" fmla="*/ 23504 w 45214"/>
                        <a:gd name="connsiteY15" fmla="*/ 4605 h 46111"/>
                        <a:gd name="connsiteX16" fmla="*/ 21231 w 45214"/>
                        <a:gd name="connsiteY16" fmla="*/ 7476 h 46111"/>
                        <a:gd name="connsiteX17" fmla="*/ 33073 w 45214"/>
                        <a:gd name="connsiteY17" fmla="*/ 25478 h 46111"/>
                        <a:gd name="connsiteX18" fmla="*/ 34090 w 45214"/>
                        <a:gd name="connsiteY18" fmla="*/ 26136 h 46111"/>
                        <a:gd name="connsiteX19" fmla="*/ 38576 w 45214"/>
                        <a:gd name="connsiteY19" fmla="*/ 20454 h 46111"/>
                        <a:gd name="connsiteX20" fmla="*/ 37559 w 45214"/>
                        <a:gd name="connsiteY20" fmla="*/ 19796 h 46111"/>
                        <a:gd name="connsiteX21" fmla="*/ 33073 w 45214"/>
                        <a:gd name="connsiteY21" fmla="*/ 25478 h 46111"/>
                        <a:gd name="connsiteX22" fmla="*/ 15909 w 45214"/>
                        <a:gd name="connsiteY22" fmla="*/ 14234 h 46111"/>
                        <a:gd name="connsiteX23" fmla="*/ 16925 w 45214"/>
                        <a:gd name="connsiteY23" fmla="*/ 14892 h 46111"/>
                        <a:gd name="connsiteX24" fmla="*/ 21411 w 45214"/>
                        <a:gd name="connsiteY24" fmla="*/ 9210 h 46111"/>
                        <a:gd name="connsiteX25" fmla="*/ 20394 w 45214"/>
                        <a:gd name="connsiteY25" fmla="*/ 8552 h 46111"/>
                        <a:gd name="connsiteX26" fmla="*/ 15909 w 45214"/>
                        <a:gd name="connsiteY26" fmla="*/ 14234 h 46111"/>
                        <a:gd name="connsiteX27" fmla="*/ 30860 w 45214"/>
                        <a:gd name="connsiteY27" fmla="*/ 28289 h 46111"/>
                        <a:gd name="connsiteX28" fmla="*/ 31877 w 45214"/>
                        <a:gd name="connsiteY28" fmla="*/ 28946 h 46111"/>
                        <a:gd name="connsiteX29" fmla="*/ 33253 w 45214"/>
                        <a:gd name="connsiteY29" fmla="*/ 27152 h 46111"/>
                        <a:gd name="connsiteX30" fmla="*/ 32236 w 45214"/>
                        <a:gd name="connsiteY30" fmla="*/ 26495 h 46111"/>
                        <a:gd name="connsiteX31" fmla="*/ 30860 w 45214"/>
                        <a:gd name="connsiteY31" fmla="*/ 28289 h 46111"/>
                        <a:gd name="connsiteX32" fmla="*/ 13696 w 45214"/>
                        <a:gd name="connsiteY32" fmla="*/ 17045 h 46111"/>
                        <a:gd name="connsiteX33" fmla="*/ 14712 w 45214"/>
                        <a:gd name="connsiteY33" fmla="*/ 17703 h 46111"/>
                        <a:gd name="connsiteX34" fmla="*/ 16148 w 45214"/>
                        <a:gd name="connsiteY34" fmla="*/ 15909 h 46111"/>
                        <a:gd name="connsiteX35" fmla="*/ 15131 w 45214"/>
                        <a:gd name="connsiteY35" fmla="*/ 15251 h 46111"/>
                        <a:gd name="connsiteX36" fmla="*/ 13696 w 45214"/>
                        <a:gd name="connsiteY36" fmla="*/ 17045 h 46111"/>
                        <a:gd name="connsiteX37" fmla="*/ 28887 w 45214"/>
                        <a:gd name="connsiteY37" fmla="*/ 30860 h 46111"/>
                        <a:gd name="connsiteX38" fmla="*/ 29904 w 45214"/>
                        <a:gd name="connsiteY38" fmla="*/ 31518 h 46111"/>
                        <a:gd name="connsiteX39" fmla="*/ 31100 w 45214"/>
                        <a:gd name="connsiteY39" fmla="*/ 29963 h 46111"/>
                        <a:gd name="connsiteX40" fmla="*/ 30083 w 45214"/>
                        <a:gd name="connsiteY40" fmla="*/ 29305 h 46111"/>
                        <a:gd name="connsiteX41" fmla="*/ 28887 w 45214"/>
                        <a:gd name="connsiteY41" fmla="*/ 30860 h 46111"/>
                        <a:gd name="connsiteX42" fmla="*/ 11603 w 45214"/>
                        <a:gd name="connsiteY42" fmla="*/ 19617 h 46111"/>
                        <a:gd name="connsiteX43" fmla="*/ 12619 w 45214"/>
                        <a:gd name="connsiteY43" fmla="*/ 20274 h 46111"/>
                        <a:gd name="connsiteX44" fmla="*/ 13875 w 45214"/>
                        <a:gd name="connsiteY44" fmla="*/ 18719 h 46111"/>
                        <a:gd name="connsiteX45" fmla="*/ 12858 w 45214"/>
                        <a:gd name="connsiteY45" fmla="*/ 18062 h 46111"/>
                        <a:gd name="connsiteX46" fmla="*/ 11603 w 45214"/>
                        <a:gd name="connsiteY46" fmla="*/ 19617 h 46111"/>
                        <a:gd name="connsiteX47" fmla="*/ 0 w 45214"/>
                        <a:gd name="connsiteY47" fmla="*/ 34329 h 46111"/>
                        <a:gd name="connsiteX48" fmla="*/ 18301 w 45214"/>
                        <a:gd name="connsiteY48" fmla="*/ 46111 h 46111"/>
                        <a:gd name="connsiteX49" fmla="*/ 25597 w 45214"/>
                        <a:gd name="connsiteY49" fmla="*/ 36841 h 46111"/>
                        <a:gd name="connsiteX50" fmla="*/ 26375 w 45214"/>
                        <a:gd name="connsiteY50" fmla="*/ 35824 h 46111"/>
                        <a:gd name="connsiteX51" fmla="*/ 28946 w 45214"/>
                        <a:gd name="connsiteY51" fmla="*/ 32535 h 46111"/>
                        <a:gd name="connsiteX52" fmla="*/ 27930 w 45214"/>
                        <a:gd name="connsiteY52" fmla="*/ 31877 h 46111"/>
                        <a:gd name="connsiteX53" fmla="*/ 25358 w 45214"/>
                        <a:gd name="connsiteY53" fmla="*/ 35166 h 46111"/>
                        <a:gd name="connsiteX54" fmla="*/ 24581 w 45214"/>
                        <a:gd name="connsiteY54" fmla="*/ 36183 h 46111"/>
                        <a:gd name="connsiteX55" fmla="*/ 18062 w 45214"/>
                        <a:gd name="connsiteY55" fmla="*/ 44497 h 46111"/>
                        <a:gd name="connsiteX56" fmla="*/ 1734 w 45214"/>
                        <a:gd name="connsiteY56" fmla="*/ 34030 h 46111"/>
                        <a:gd name="connsiteX57" fmla="*/ 8313 w 45214"/>
                        <a:gd name="connsiteY57" fmla="*/ 25657 h 46111"/>
                        <a:gd name="connsiteX58" fmla="*/ 9150 w 45214"/>
                        <a:gd name="connsiteY58" fmla="*/ 24641 h 46111"/>
                        <a:gd name="connsiteX59" fmla="*/ 11782 w 45214"/>
                        <a:gd name="connsiteY59" fmla="*/ 21351 h 46111"/>
                        <a:gd name="connsiteX60" fmla="*/ 10765 w 45214"/>
                        <a:gd name="connsiteY60" fmla="*/ 20693 h 46111"/>
                        <a:gd name="connsiteX61" fmla="*/ 8134 w 45214"/>
                        <a:gd name="connsiteY61" fmla="*/ 23982 h 46111"/>
                        <a:gd name="connsiteX62" fmla="*/ 7296 w 45214"/>
                        <a:gd name="connsiteY62" fmla="*/ 24999 h 46111"/>
                        <a:gd name="connsiteX63" fmla="*/ 0 w 45214"/>
                        <a:gd name="connsiteY63" fmla="*/ 34329 h 46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5214" h="46111">
                          <a:moveTo>
                            <a:pt x="21231" y="7476"/>
                          </a:moveTo>
                          <a:lnTo>
                            <a:pt x="22248" y="8134"/>
                          </a:lnTo>
                          <a:lnTo>
                            <a:pt x="24521" y="5263"/>
                          </a:lnTo>
                          <a:lnTo>
                            <a:pt x="25298" y="4246"/>
                          </a:lnTo>
                          <a:lnTo>
                            <a:pt x="27332" y="1674"/>
                          </a:lnTo>
                          <a:lnTo>
                            <a:pt x="43420" y="12440"/>
                          </a:lnTo>
                          <a:lnTo>
                            <a:pt x="41386" y="15011"/>
                          </a:lnTo>
                          <a:lnTo>
                            <a:pt x="40609" y="15968"/>
                          </a:lnTo>
                          <a:lnTo>
                            <a:pt x="38396" y="18779"/>
                          </a:lnTo>
                          <a:lnTo>
                            <a:pt x="39413" y="19437"/>
                          </a:lnTo>
                          <a:lnTo>
                            <a:pt x="41626" y="16626"/>
                          </a:lnTo>
                          <a:lnTo>
                            <a:pt x="42403" y="15669"/>
                          </a:lnTo>
                          <a:lnTo>
                            <a:pt x="45214" y="12081"/>
                          </a:lnTo>
                          <a:lnTo>
                            <a:pt x="27152" y="0"/>
                          </a:lnTo>
                          <a:lnTo>
                            <a:pt x="24282" y="3588"/>
                          </a:lnTo>
                          <a:lnTo>
                            <a:pt x="23504" y="4605"/>
                          </a:lnTo>
                          <a:lnTo>
                            <a:pt x="21231" y="7476"/>
                          </a:lnTo>
                          <a:moveTo>
                            <a:pt x="33073" y="25478"/>
                          </a:moveTo>
                          <a:lnTo>
                            <a:pt x="34090" y="26136"/>
                          </a:lnTo>
                          <a:lnTo>
                            <a:pt x="38576" y="20454"/>
                          </a:lnTo>
                          <a:lnTo>
                            <a:pt x="37559" y="19796"/>
                          </a:lnTo>
                          <a:lnTo>
                            <a:pt x="33073" y="25478"/>
                          </a:lnTo>
                          <a:moveTo>
                            <a:pt x="15909" y="14234"/>
                          </a:moveTo>
                          <a:lnTo>
                            <a:pt x="16925" y="14892"/>
                          </a:lnTo>
                          <a:lnTo>
                            <a:pt x="21411" y="9210"/>
                          </a:lnTo>
                          <a:lnTo>
                            <a:pt x="20394" y="8552"/>
                          </a:lnTo>
                          <a:lnTo>
                            <a:pt x="15909" y="14234"/>
                          </a:lnTo>
                          <a:moveTo>
                            <a:pt x="30860" y="28289"/>
                          </a:moveTo>
                          <a:lnTo>
                            <a:pt x="31877" y="28946"/>
                          </a:lnTo>
                          <a:lnTo>
                            <a:pt x="33253" y="27152"/>
                          </a:lnTo>
                          <a:lnTo>
                            <a:pt x="32236" y="26495"/>
                          </a:lnTo>
                          <a:lnTo>
                            <a:pt x="30860" y="28289"/>
                          </a:lnTo>
                          <a:moveTo>
                            <a:pt x="13696" y="17045"/>
                          </a:moveTo>
                          <a:lnTo>
                            <a:pt x="14712" y="17703"/>
                          </a:lnTo>
                          <a:lnTo>
                            <a:pt x="16148" y="15909"/>
                          </a:lnTo>
                          <a:lnTo>
                            <a:pt x="15131" y="15251"/>
                          </a:lnTo>
                          <a:lnTo>
                            <a:pt x="13696" y="17045"/>
                          </a:lnTo>
                          <a:moveTo>
                            <a:pt x="28887" y="30860"/>
                          </a:moveTo>
                          <a:lnTo>
                            <a:pt x="29904" y="31518"/>
                          </a:lnTo>
                          <a:lnTo>
                            <a:pt x="31100" y="29963"/>
                          </a:lnTo>
                          <a:lnTo>
                            <a:pt x="30083" y="29305"/>
                          </a:lnTo>
                          <a:lnTo>
                            <a:pt x="28887" y="30860"/>
                          </a:lnTo>
                          <a:moveTo>
                            <a:pt x="11603" y="19617"/>
                          </a:moveTo>
                          <a:lnTo>
                            <a:pt x="12619" y="20274"/>
                          </a:lnTo>
                          <a:lnTo>
                            <a:pt x="13875" y="18719"/>
                          </a:lnTo>
                          <a:lnTo>
                            <a:pt x="12858" y="18062"/>
                          </a:lnTo>
                          <a:lnTo>
                            <a:pt x="11603" y="19617"/>
                          </a:lnTo>
                          <a:moveTo>
                            <a:pt x="0" y="34329"/>
                          </a:moveTo>
                          <a:lnTo>
                            <a:pt x="18301" y="46111"/>
                          </a:lnTo>
                          <a:lnTo>
                            <a:pt x="25597" y="36841"/>
                          </a:lnTo>
                          <a:lnTo>
                            <a:pt x="26375" y="35824"/>
                          </a:lnTo>
                          <a:lnTo>
                            <a:pt x="28946" y="32535"/>
                          </a:lnTo>
                          <a:lnTo>
                            <a:pt x="27930" y="31877"/>
                          </a:lnTo>
                          <a:lnTo>
                            <a:pt x="25358" y="35166"/>
                          </a:lnTo>
                          <a:lnTo>
                            <a:pt x="24581" y="36183"/>
                          </a:lnTo>
                          <a:lnTo>
                            <a:pt x="18062" y="44497"/>
                          </a:lnTo>
                          <a:lnTo>
                            <a:pt x="1734" y="34030"/>
                          </a:lnTo>
                          <a:lnTo>
                            <a:pt x="8313" y="25657"/>
                          </a:lnTo>
                          <a:lnTo>
                            <a:pt x="9150" y="24641"/>
                          </a:lnTo>
                          <a:lnTo>
                            <a:pt x="11782" y="21351"/>
                          </a:lnTo>
                          <a:lnTo>
                            <a:pt x="10765" y="20693"/>
                          </a:lnTo>
                          <a:lnTo>
                            <a:pt x="8134" y="23982"/>
                          </a:lnTo>
                          <a:lnTo>
                            <a:pt x="7296" y="24999"/>
                          </a:lnTo>
                          <a:lnTo>
                            <a:pt x="0" y="34329"/>
                          </a:lnTo>
                        </a:path>
                      </a:pathLst>
                    </a:custGeom>
                    <a:noFill/>
                    <a:ln w="6350" cap="flat">
                      <a:solidFill>
                        <a:schemeClr val="bg1">
                          <a:alpha val="80000"/>
                        </a:schemeClr>
                      </a:solidFill>
                      <a:prstDash val="solid"/>
                      <a:miter/>
                    </a:ln>
                  </p:spPr>
                  <p:txBody>
                    <a:bodyPr rtlCol="0" anchor="ctr"/>
                    <a:lstStyle/>
                    <a:p>
                      <a:endParaRPr lang="en-GB"/>
                    </a:p>
                  </p:txBody>
                </p:sp>
                <p:sp>
                  <p:nvSpPr>
                    <p:cNvPr id="7437" name="Vrije vorm: vorm 7436">
                      <a:extLst>
                        <a:ext uri="{FF2B5EF4-FFF2-40B4-BE49-F238E27FC236}">
                          <a16:creationId xmlns:a16="http://schemas.microsoft.com/office/drawing/2014/main" id="{E8D08D9B-4734-4AEB-85C5-C7FC048D45CC}"/>
                        </a:ext>
                      </a:extLst>
                    </p:cNvPr>
                    <p:cNvSpPr/>
                    <p:nvPr/>
                  </p:nvSpPr>
                  <p:spPr>
                    <a:xfrm>
                      <a:off x="4992487" y="4951539"/>
                      <a:ext cx="80560" cy="137376"/>
                    </a:xfrm>
                    <a:custGeom>
                      <a:avLst/>
                      <a:gdLst>
                        <a:gd name="connsiteX0" fmla="*/ 79364 w 80560"/>
                        <a:gd name="connsiteY0" fmla="*/ 12440 h 137376"/>
                        <a:gd name="connsiteX1" fmla="*/ 79364 w 80560"/>
                        <a:gd name="connsiteY1" fmla="*/ 12440 h 137376"/>
                        <a:gd name="connsiteX2" fmla="*/ 79424 w 80560"/>
                        <a:gd name="connsiteY2" fmla="*/ 12500 h 137376"/>
                        <a:gd name="connsiteX3" fmla="*/ 79484 w 80560"/>
                        <a:gd name="connsiteY3" fmla="*/ 12500 h 137376"/>
                        <a:gd name="connsiteX4" fmla="*/ 79544 w 80560"/>
                        <a:gd name="connsiteY4" fmla="*/ 12500 h 137376"/>
                        <a:gd name="connsiteX5" fmla="*/ 80321 w 80560"/>
                        <a:gd name="connsiteY5" fmla="*/ 10765 h 137376"/>
                        <a:gd name="connsiteX6" fmla="*/ 80561 w 80560"/>
                        <a:gd name="connsiteY6" fmla="*/ 10167 h 137376"/>
                        <a:gd name="connsiteX7" fmla="*/ 78946 w 80560"/>
                        <a:gd name="connsiteY7" fmla="*/ 9509 h 137376"/>
                        <a:gd name="connsiteX8" fmla="*/ 78946 w 80560"/>
                        <a:gd name="connsiteY8" fmla="*/ 9569 h 137376"/>
                        <a:gd name="connsiteX9" fmla="*/ 78946 w 80560"/>
                        <a:gd name="connsiteY9" fmla="*/ 9629 h 137376"/>
                        <a:gd name="connsiteX10" fmla="*/ 78946 w 80560"/>
                        <a:gd name="connsiteY10" fmla="*/ 9689 h 137376"/>
                        <a:gd name="connsiteX11" fmla="*/ 78946 w 80560"/>
                        <a:gd name="connsiteY11" fmla="*/ 9749 h 137376"/>
                        <a:gd name="connsiteX12" fmla="*/ 78886 w 80560"/>
                        <a:gd name="connsiteY12" fmla="*/ 9988 h 137376"/>
                        <a:gd name="connsiteX13" fmla="*/ 78826 w 80560"/>
                        <a:gd name="connsiteY13" fmla="*/ 10227 h 137376"/>
                        <a:gd name="connsiteX14" fmla="*/ 78826 w 80560"/>
                        <a:gd name="connsiteY14" fmla="*/ 10466 h 137376"/>
                        <a:gd name="connsiteX15" fmla="*/ 78826 w 80560"/>
                        <a:gd name="connsiteY15" fmla="*/ 10705 h 137376"/>
                        <a:gd name="connsiteX16" fmla="*/ 79185 w 80560"/>
                        <a:gd name="connsiteY16" fmla="*/ 10825 h 137376"/>
                        <a:gd name="connsiteX17" fmla="*/ 78946 w 80560"/>
                        <a:gd name="connsiteY17" fmla="*/ 11363 h 137376"/>
                        <a:gd name="connsiteX18" fmla="*/ 78946 w 80560"/>
                        <a:gd name="connsiteY18" fmla="*/ 11423 h 137376"/>
                        <a:gd name="connsiteX19" fmla="*/ 78946 w 80560"/>
                        <a:gd name="connsiteY19" fmla="*/ 11483 h 137376"/>
                        <a:gd name="connsiteX20" fmla="*/ 78946 w 80560"/>
                        <a:gd name="connsiteY20" fmla="*/ 11543 h 137376"/>
                        <a:gd name="connsiteX21" fmla="*/ 78946 w 80560"/>
                        <a:gd name="connsiteY21" fmla="*/ 11603 h 137376"/>
                        <a:gd name="connsiteX22" fmla="*/ 79065 w 80560"/>
                        <a:gd name="connsiteY22" fmla="*/ 11782 h 137376"/>
                        <a:gd name="connsiteX23" fmla="*/ 79185 w 80560"/>
                        <a:gd name="connsiteY23" fmla="*/ 11961 h 137376"/>
                        <a:gd name="connsiteX24" fmla="*/ 79304 w 80560"/>
                        <a:gd name="connsiteY24" fmla="*/ 12141 h 137376"/>
                        <a:gd name="connsiteX25" fmla="*/ 79364 w 80560"/>
                        <a:gd name="connsiteY25" fmla="*/ 12440 h 137376"/>
                        <a:gd name="connsiteX26" fmla="*/ 76434 w 80560"/>
                        <a:gd name="connsiteY26" fmla="*/ 9928 h 137376"/>
                        <a:gd name="connsiteX27" fmla="*/ 77570 w 80560"/>
                        <a:gd name="connsiteY27" fmla="*/ 10406 h 137376"/>
                        <a:gd name="connsiteX28" fmla="*/ 77630 w 80560"/>
                        <a:gd name="connsiteY28" fmla="*/ 10167 h 137376"/>
                        <a:gd name="connsiteX29" fmla="*/ 77690 w 80560"/>
                        <a:gd name="connsiteY29" fmla="*/ 9928 h 137376"/>
                        <a:gd name="connsiteX30" fmla="*/ 77749 w 80560"/>
                        <a:gd name="connsiteY30" fmla="*/ 9689 h 137376"/>
                        <a:gd name="connsiteX31" fmla="*/ 77809 w 80560"/>
                        <a:gd name="connsiteY31" fmla="*/ 9449 h 137376"/>
                        <a:gd name="connsiteX32" fmla="*/ 77869 w 80560"/>
                        <a:gd name="connsiteY32" fmla="*/ 9390 h 137376"/>
                        <a:gd name="connsiteX33" fmla="*/ 77929 w 80560"/>
                        <a:gd name="connsiteY33" fmla="*/ 9330 h 137376"/>
                        <a:gd name="connsiteX34" fmla="*/ 77988 w 80560"/>
                        <a:gd name="connsiteY34" fmla="*/ 9270 h 137376"/>
                        <a:gd name="connsiteX35" fmla="*/ 78048 w 80560"/>
                        <a:gd name="connsiteY35" fmla="*/ 9210 h 137376"/>
                        <a:gd name="connsiteX36" fmla="*/ 77032 w 80560"/>
                        <a:gd name="connsiteY36" fmla="*/ 8791 h 137376"/>
                        <a:gd name="connsiteX37" fmla="*/ 76972 w 80560"/>
                        <a:gd name="connsiteY37" fmla="*/ 8911 h 137376"/>
                        <a:gd name="connsiteX38" fmla="*/ 76912 w 80560"/>
                        <a:gd name="connsiteY38" fmla="*/ 9031 h 137376"/>
                        <a:gd name="connsiteX39" fmla="*/ 76852 w 80560"/>
                        <a:gd name="connsiteY39" fmla="*/ 9150 h 137376"/>
                        <a:gd name="connsiteX40" fmla="*/ 76793 w 80560"/>
                        <a:gd name="connsiteY40" fmla="*/ 9270 h 137376"/>
                        <a:gd name="connsiteX41" fmla="*/ 76733 w 80560"/>
                        <a:gd name="connsiteY41" fmla="*/ 9449 h 137376"/>
                        <a:gd name="connsiteX42" fmla="*/ 76673 w 80560"/>
                        <a:gd name="connsiteY42" fmla="*/ 9629 h 137376"/>
                        <a:gd name="connsiteX43" fmla="*/ 76613 w 80560"/>
                        <a:gd name="connsiteY43" fmla="*/ 9808 h 137376"/>
                        <a:gd name="connsiteX44" fmla="*/ 76434 w 80560"/>
                        <a:gd name="connsiteY44" fmla="*/ 9928 h 137376"/>
                        <a:gd name="connsiteX45" fmla="*/ 73384 w 80560"/>
                        <a:gd name="connsiteY45" fmla="*/ 8672 h 137376"/>
                        <a:gd name="connsiteX46" fmla="*/ 75178 w 80560"/>
                        <a:gd name="connsiteY46" fmla="*/ 9390 h 137376"/>
                        <a:gd name="connsiteX47" fmla="*/ 75238 w 80560"/>
                        <a:gd name="connsiteY47" fmla="*/ 9270 h 137376"/>
                        <a:gd name="connsiteX48" fmla="*/ 75297 w 80560"/>
                        <a:gd name="connsiteY48" fmla="*/ 9150 h 137376"/>
                        <a:gd name="connsiteX49" fmla="*/ 75357 w 80560"/>
                        <a:gd name="connsiteY49" fmla="*/ 8971 h 137376"/>
                        <a:gd name="connsiteX50" fmla="*/ 75417 w 80560"/>
                        <a:gd name="connsiteY50" fmla="*/ 8791 h 137376"/>
                        <a:gd name="connsiteX51" fmla="*/ 75477 w 80560"/>
                        <a:gd name="connsiteY51" fmla="*/ 8612 h 137376"/>
                        <a:gd name="connsiteX52" fmla="*/ 75537 w 80560"/>
                        <a:gd name="connsiteY52" fmla="*/ 8433 h 137376"/>
                        <a:gd name="connsiteX53" fmla="*/ 75596 w 80560"/>
                        <a:gd name="connsiteY53" fmla="*/ 8253 h 137376"/>
                        <a:gd name="connsiteX54" fmla="*/ 75656 w 80560"/>
                        <a:gd name="connsiteY54" fmla="*/ 8074 h 137376"/>
                        <a:gd name="connsiteX55" fmla="*/ 73742 w 80560"/>
                        <a:gd name="connsiteY55" fmla="*/ 7296 h 137376"/>
                        <a:gd name="connsiteX56" fmla="*/ 73742 w 80560"/>
                        <a:gd name="connsiteY56" fmla="*/ 7296 h 137376"/>
                        <a:gd name="connsiteX57" fmla="*/ 73742 w 80560"/>
                        <a:gd name="connsiteY57" fmla="*/ 7296 h 137376"/>
                        <a:gd name="connsiteX58" fmla="*/ 73742 w 80560"/>
                        <a:gd name="connsiteY58" fmla="*/ 7296 h 137376"/>
                        <a:gd name="connsiteX59" fmla="*/ 73742 w 80560"/>
                        <a:gd name="connsiteY59" fmla="*/ 7296 h 137376"/>
                        <a:gd name="connsiteX60" fmla="*/ 73922 w 80560"/>
                        <a:gd name="connsiteY60" fmla="*/ 7356 h 137376"/>
                        <a:gd name="connsiteX61" fmla="*/ 73683 w 80560"/>
                        <a:gd name="connsiteY61" fmla="*/ 7954 h 137376"/>
                        <a:gd name="connsiteX62" fmla="*/ 73384 w 80560"/>
                        <a:gd name="connsiteY62" fmla="*/ 8672 h 137376"/>
                        <a:gd name="connsiteX63" fmla="*/ 67223 w 80560"/>
                        <a:gd name="connsiteY63" fmla="*/ 6220 h 137376"/>
                        <a:gd name="connsiteX64" fmla="*/ 72068 w 80560"/>
                        <a:gd name="connsiteY64" fmla="*/ 8194 h 137376"/>
                        <a:gd name="connsiteX65" fmla="*/ 72068 w 80560"/>
                        <a:gd name="connsiteY65" fmla="*/ 8194 h 137376"/>
                        <a:gd name="connsiteX66" fmla="*/ 72068 w 80560"/>
                        <a:gd name="connsiteY66" fmla="*/ 8194 h 137376"/>
                        <a:gd name="connsiteX67" fmla="*/ 72068 w 80560"/>
                        <a:gd name="connsiteY67" fmla="*/ 8194 h 137376"/>
                        <a:gd name="connsiteX68" fmla="*/ 72068 w 80560"/>
                        <a:gd name="connsiteY68" fmla="*/ 8194 h 137376"/>
                        <a:gd name="connsiteX69" fmla="*/ 67223 w 80560"/>
                        <a:gd name="connsiteY69" fmla="*/ 6220 h 137376"/>
                        <a:gd name="connsiteX70" fmla="*/ 62857 w 80560"/>
                        <a:gd name="connsiteY70" fmla="*/ 4426 h 137376"/>
                        <a:gd name="connsiteX71" fmla="*/ 63754 w 80560"/>
                        <a:gd name="connsiteY71" fmla="*/ 4785 h 137376"/>
                        <a:gd name="connsiteX72" fmla="*/ 64233 w 80560"/>
                        <a:gd name="connsiteY72" fmla="*/ 3648 h 137376"/>
                        <a:gd name="connsiteX73" fmla="*/ 72367 w 80560"/>
                        <a:gd name="connsiteY73" fmla="*/ 6937 h 137376"/>
                        <a:gd name="connsiteX74" fmla="*/ 72367 w 80560"/>
                        <a:gd name="connsiteY74" fmla="*/ 6937 h 137376"/>
                        <a:gd name="connsiteX75" fmla="*/ 72367 w 80560"/>
                        <a:gd name="connsiteY75" fmla="*/ 6937 h 137376"/>
                        <a:gd name="connsiteX76" fmla="*/ 72367 w 80560"/>
                        <a:gd name="connsiteY76" fmla="*/ 6937 h 137376"/>
                        <a:gd name="connsiteX77" fmla="*/ 72367 w 80560"/>
                        <a:gd name="connsiteY77" fmla="*/ 6937 h 137376"/>
                        <a:gd name="connsiteX78" fmla="*/ 63515 w 80560"/>
                        <a:gd name="connsiteY78" fmla="*/ 3349 h 137376"/>
                        <a:gd name="connsiteX79" fmla="*/ 63336 w 80560"/>
                        <a:gd name="connsiteY79" fmla="*/ 3588 h 137376"/>
                        <a:gd name="connsiteX80" fmla="*/ 63156 w 80560"/>
                        <a:gd name="connsiteY80" fmla="*/ 3827 h 137376"/>
                        <a:gd name="connsiteX81" fmla="*/ 62977 w 80560"/>
                        <a:gd name="connsiteY81" fmla="*/ 4127 h 137376"/>
                        <a:gd name="connsiteX82" fmla="*/ 62857 w 80560"/>
                        <a:gd name="connsiteY82" fmla="*/ 4426 h 137376"/>
                        <a:gd name="connsiteX83" fmla="*/ 59747 w 80560"/>
                        <a:gd name="connsiteY83" fmla="*/ 3170 h 137376"/>
                        <a:gd name="connsiteX84" fmla="*/ 61601 w 80560"/>
                        <a:gd name="connsiteY84" fmla="*/ 3947 h 137376"/>
                        <a:gd name="connsiteX85" fmla="*/ 61721 w 80560"/>
                        <a:gd name="connsiteY85" fmla="*/ 3648 h 137376"/>
                        <a:gd name="connsiteX86" fmla="*/ 61841 w 80560"/>
                        <a:gd name="connsiteY86" fmla="*/ 3349 h 137376"/>
                        <a:gd name="connsiteX87" fmla="*/ 62020 w 80560"/>
                        <a:gd name="connsiteY87" fmla="*/ 3050 h 137376"/>
                        <a:gd name="connsiteX88" fmla="*/ 62200 w 80560"/>
                        <a:gd name="connsiteY88" fmla="*/ 2811 h 137376"/>
                        <a:gd name="connsiteX89" fmla="*/ 60286 w 80560"/>
                        <a:gd name="connsiteY89" fmla="*/ 2033 h 137376"/>
                        <a:gd name="connsiteX90" fmla="*/ 60106 w 80560"/>
                        <a:gd name="connsiteY90" fmla="*/ 2332 h 137376"/>
                        <a:gd name="connsiteX91" fmla="*/ 59987 w 80560"/>
                        <a:gd name="connsiteY91" fmla="*/ 2632 h 137376"/>
                        <a:gd name="connsiteX92" fmla="*/ 59867 w 80560"/>
                        <a:gd name="connsiteY92" fmla="*/ 2930 h 137376"/>
                        <a:gd name="connsiteX93" fmla="*/ 59747 w 80560"/>
                        <a:gd name="connsiteY93" fmla="*/ 3170 h 137376"/>
                        <a:gd name="connsiteX94" fmla="*/ 76793 w 80560"/>
                        <a:gd name="connsiteY94" fmla="*/ 18899 h 137376"/>
                        <a:gd name="connsiteX95" fmla="*/ 79005 w 80560"/>
                        <a:gd name="connsiteY95" fmla="*/ 13696 h 137376"/>
                        <a:gd name="connsiteX96" fmla="*/ 78886 w 80560"/>
                        <a:gd name="connsiteY96" fmla="*/ 13636 h 137376"/>
                        <a:gd name="connsiteX97" fmla="*/ 78766 w 80560"/>
                        <a:gd name="connsiteY97" fmla="*/ 13576 h 137376"/>
                        <a:gd name="connsiteX98" fmla="*/ 78647 w 80560"/>
                        <a:gd name="connsiteY98" fmla="*/ 13516 h 137376"/>
                        <a:gd name="connsiteX99" fmla="*/ 78527 w 80560"/>
                        <a:gd name="connsiteY99" fmla="*/ 13457 h 137376"/>
                        <a:gd name="connsiteX100" fmla="*/ 78407 w 80560"/>
                        <a:gd name="connsiteY100" fmla="*/ 13337 h 137376"/>
                        <a:gd name="connsiteX101" fmla="*/ 78288 w 80560"/>
                        <a:gd name="connsiteY101" fmla="*/ 13217 h 137376"/>
                        <a:gd name="connsiteX102" fmla="*/ 78168 w 80560"/>
                        <a:gd name="connsiteY102" fmla="*/ 13098 h 137376"/>
                        <a:gd name="connsiteX103" fmla="*/ 78048 w 80560"/>
                        <a:gd name="connsiteY103" fmla="*/ 12978 h 137376"/>
                        <a:gd name="connsiteX104" fmla="*/ 76075 w 80560"/>
                        <a:gd name="connsiteY104" fmla="*/ 17523 h 137376"/>
                        <a:gd name="connsiteX105" fmla="*/ 76134 w 80560"/>
                        <a:gd name="connsiteY105" fmla="*/ 17643 h 137376"/>
                        <a:gd name="connsiteX106" fmla="*/ 76194 w 80560"/>
                        <a:gd name="connsiteY106" fmla="*/ 17763 h 137376"/>
                        <a:gd name="connsiteX107" fmla="*/ 76254 w 80560"/>
                        <a:gd name="connsiteY107" fmla="*/ 17882 h 137376"/>
                        <a:gd name="connsiteX108" fmla="*/ 76314 w 80560"/>
                        <a:gd name="connsiteY108" fmla="*/ 18062 h 137376"/>
                        <a:gd name="connsiteX109" fmla="*/ 76374 w 80560"/>
                        <a:gd name="connsiteY109" fmla="*/ 18241 h 137376"/>
                        <a:gd name="connsiteX110" fmla="*/ 76434 w 80560"/>
                        <a:gd name="connsiteY110" fmla="*/ 18480 h 137376"/>
                        <a:gd name="connsiteX111" fmla="*/ 76493 w 80560"/>
                        <a:gd name="connsiteY111" fmla="*/ 18720 h 137376"/>
                        <a:gd name="connsiteX112" fmla="*/ 76793 w 80560"/>
                        <a:gd name="connsiteY112" fmla="*/ 18899 h 137376"/>
                        <a:gd name="connsiteX113" fmla="*/ 57295 w 80560"/>
                        <a:gd name="connsiteY113" fmla="*/ 2213 h 137376"/>
                        <a:gd name="connsiteX114" fmla="*/ 58492 w 80560"/>
                        <a:gd name="connsiteY114" fmla="*/ 2691 h 137376"/>
                        <a:gd name="connsiteX115" fmla="*/ 58611 w 80560"/>
                        <a:gd name="connsiteY115" fmla="*/ 2392 h 137376"/>
                        <a:gd name="connsiteX116" fmla="*/ 58731 w 80560"/>
                        <a:gd name="connsiteY116" fmla="*/ 2093 h 137376"/>
                        <a:gd name="connsiteX117" fmla="*/ 58850 w 80560"/>
                        <a:gd name="connsiteY117" fmla="*/ 1794 h 137376"/>
                        <a:gd name="connsiteX118" fmla="*/ 58970 w 80560"/>
                        <a:gd name="connsiteY118" fmla="*/ 1495 h 137376"/>
                        <a:gd name="connsiteX119" fmla="*/ 56996 w 80560"/>
                        <a:gd name="connsiteY119" fmla="*/ 718 h 137376"/>
                        <a:gd name="connsiteX120" fmla="*/ 57116 w 80560"/>
                        <a:gd name="connsiteY120" fmla="*/ 1076 h 137376"/>
                        <a:gd name="connsiteX121" fmla="*/ 57176 w 80560"/>
                        <a:gd name="connsiteY121" fmla="*/ 1435 h 137376"/>
                        <a:gd name="connsiteX122" fmla="*/ 57236 w 80560"/>
                        <a:gd name="connsiteY122" fmla="*/ 1794 h 137376"/>
                        <a:gd name="connsiteX123" fmla="*/ 57295 w 80560"/>
                        <a:gd name="connsiteY123" fmla="*/ 2213 h 137376"/>
                        <a:gd name="connsiteX124" fmla="*/ 74221 w 80560"/>
                        <a:gd name="connsiteY124" fmla="*/ 22128 h 137376"/>
                        <a:gd name="connsiteX125" fmla="*/ 74221 w 80560"/>
                        <a:gd name="connsiteY125" fmla="*/ 22128 h 137376"/>
                        <a:gd name="connsiteX126" fmla="*/ 74221 w 80560"/>
                        <a:gd name="connsiteY126" fmla="*/ 22128 h 137376"/>
                        <a:gd name="connsiteX127" fmla="*/ 74280 w 80560"/>
                        <a:gd name="connsiteY127" fmla="*/ 22069 h 137376"/>
                        <a:gd name="connsiteX128" fmla="*/ 74280 w 80560"/>
                        <a:gd name="connsiteY128" fmla="*/ 22069 h 137376"/>
                        <a:gd name="connsiteX129" fmla="*/ 74998 w 80560"/>
                        <a:gd name="connsiteY129" fmla="*/ 21471 h 137376"/>
                        <a:gd name="connsiteX130" fmla="*/ 75477 w 80560"/>
                        <a:gd name="connsiteY130" fmla="*/ 20693 h 137376"/>
                        <a:gd name="connsiteX131" fmla="*/ 75656 w 80560"/>
                        <a:gd name="connsiteY131" fmla="*/ 19796 h 137376"/>
                        <a:gd name="connsiteX132" fmla="*/ 75537 w 80560"/>
                        <a:gd name="connsiteY132" fmla="*/ 18899 h 137376"/>
                        <a:gd name="connsiteX133" fmla="*/ 74221 w 80560"/>
                        <a:gd name="connsiteY133" fmla="*/ 22128 h 137376"/>
                        <a:gd name="connsiteX134" fmla="*/ 52750 w 80560"/>
                        <a:gd name="connsiteY134" fmla="*/ 4785 h 137376"/>
                        <a:gd name="connsiteX135" fmla="*/ 52870 w 80560"/>
                        <a:gd name="connsiteY135" fmla="*/ 4844 h 137376"/>
                        <a:gd name="connsiteX136" fmla="*/ 53109 w 80560"/>
                        <a:gd name="connsiteY136" fmla="*/ 4904 h 137376"/>
                        <a:gd name="connsiteX137" fmla="*/ 53348 w 80560"/>
                        <a:gd name="connsiteY137" fmla="*/ 4964 h 137376"/>
                        <a:gd name="connsiteX138" fmla="*/ 53587 w 80560"/>
                        <a:gd name="connsiteY138" fmla="*/ 4964 h 137376"/>
                        <a:gd name="connsiteX139" fmla="*/ 53827 w 80560"/>
                        <a:gd name="connsiteY139" fmla="*/ 4904 h 137376"/>
                        <a:gd name="connsiteX140" fmla="*/ 55322 w 80560"/>
                        <a:gd name="connsiteY140" fmla="*/ 1435 h 137376"/>
                        <a:gd name="connsiteX141" fmla="*/ 55979 w 80560"/>
                        <a:gd name="connsiteY141" fmla="*/ 1734 h 137376"/>
                        <a:gd name="connsiteX142" fmla="*/ 55920 w 80560"/>
                        <a:gd name="connsiteY142" fmla="*/ 1555 h 137376"/>
                        <a:gd name="connsiteX143" fmla="*/ 55860 w 80560"/>
                        <a:gd name="connsiteY143" fmla="*/ 1375 h 137376"/>
                        <a:gd name="connsiteX144" fmla="*/ 55800 w 80560"/>
                        <a:gd name="connsiteY144" fmla="*/ 1256 h 137376"/>
                        <a:gd name="connsiteX145" fmla="*/ 55740 w 80560"/>
                        <a:gd name="connsiteY145" fmla="*/ 1136 h 137376"/>
                        <a:gd name="connsiteX146" fmla="*/ 55621 w 80560"/>
                        <a:gd name="connsiteY146" fmla="*/ 897 h 137376"/>
                        <a:gd name="connsiteX147" fmla="*/ 55501 w 80560"/>
                        <a:gd name="connsiteY147" fmla="*/ 718 h 137376"/>
                        <a:gd name="connsiteX148" fmla="*/ 55322 w 80560"/>
                        <a:gd name="connsiteY148" fmla="*/ 538 h 137376"/>
                        <a:gd name="connsiteX149" fmla="*/ 55142 w 80560"/>
                        <a:gd name="connsiteY149" fmla="*/ 359 h 137376"/>
                        <a:gd name="connsiteX150" fmla="*/ 55023 w 80560"/>
                        <a:gd name="connsiteY150" fmla="*/ 239 h 137376"/>
                        <a:gd name="connsiteX151" fmla="*/ 54903 w 80560"/>
                        <a:gd name="connsiteY151" fmla="*/ 119 h 137376"/>
                        <a:gd name="connsiteX152" fmla="*/ 54783 w 80560"/>
                        <a:gd name="connsiteY152" fmla="*/ 60 h 137376"/>
                        <a:gd name="connsiteX153" fmla="*/ 54664 w 80560"/>
                        <a:gd name="connsiteY153" fmla="*/ 0 h 137376"/>
                        <a:gd name="connsiteX154" fmla="*/ 52750 w 80560"/>
                        <a:gd name="connsiteY154" fmla="*/ 4785 h 137376"/>
                        <a:gd name="connsiteX155" fmla="*/ 72965 w 80560"/>
                        <a:gd name="connsiteY155" fmla="*/ 25059 h 137376"/>
                        <a:gd name="connsiteX156" fmla="*/ 73324 w 80560"/>
                        <a:gd name="connsiteY156" fmla="*/ 24880 h 137376"/>
                        <a:gd name="connsiteX157" fmla="*/ 73683 w 80560"/>
                        <a:gd name="connsiteY157" fmla="*/ 24700 h 137376"/>
                        <a:gd name="connsiteX158" fmla="*/ 74041 w 80560"/>
                        <a:gd name="connsiteY158" fmla="*/ 24521 h 137376"/>
                        <a:gd name="connsiteX159" fmla="*/ 74400 w 80560"/>
                        <a:gd name="connsiteY159" fmla="*/ 24342 h 137376"/>
                        <a:gd name="connsiteX160" fmla="*/ 74998 w 80560"/>
                        <a:gd name="connsiteY160" fmla="*/ 23026 h 137376"/>
                        <a:gd name="connsiteX161" fmla="*/ 74939 w 80560"/>
                        <a:gd name="connsiteY161" fmla="*/ 23085 h 137376"/>
                        <a:gd name="connsiteX162" fmla="*/ 74879 w 80560"/>
                        <a:gd name="connsiteY162" fmla="*/ 23145 h 137376"/>
                        <a:gd name="connsiteX163" fmla="*/ 74819 w 80560"/>
                        <a:gd name="connsiteY163" fmla="*/ 23205 h 137376"/>
                        <a:gd name="connsiteX164" fmla="*/ 74759 w 80560"/>
                        <a:gd name="connsiteY164" fmla="*/ 23265 h 137376"/>
                        <a:gd name="connsiteX165" fmla="*/ 74460 w 80560"/>
                        <a:gd name="connsiteY165" fmla="*/ 23384 h 137376"/>
                        <a:gd name="connsiteX166" fmla="*/ 74161 w 80560"/>
                        <a:gd name="connsiteY166" fmla="*/ 23504 h 137376"/>
                        <a:gd name="connsiteX167" fmla="*/ 73862 w 80560"/>
                        <a:gd name="connsiteY167" fmla="*/ 23624 h 137376"/>
                        <a:gd name="connsiteX168" fmla="*/ 73563 w 80560"/>
                        <a:gd name="connsiteY168" fmla="*/ 23683 h 137376"/>
                        <a:gd name="connsiteX169" fmla="*/ 72965 w 80560"/>
                        <a:gd name="connsiteY169" fmla="*/ 25059 h 137376"/>
                        <a:gd name="connsiteX170" fmla="*/ 70812 w 80560"/>
                        <a:gd name="connsiteY170" fmla="*/ 30083 h 137376"/>
                        <a:gd name="connsiteX171" fmla="*/ 71171 w 80560"/>
                        <a:gd name="connsiteY171" fmla="*/ 29963 h 137376"/>
                        <a:gd name="connsiteX172" fmla="*/ 71530 w 80560"/>
                        <a:gd name="connsiteY172" fmla="*/ 29844 h 137376"/>
                        <a:gd name="connsiteX173" fmla="*/ 71888 w 80560"/>
                        <a:gd name="connsiteY173" fmla="*/ 29724 h 137376"/>
                        <a:gd name="connsiteX174" fmla="*/ 72247 w 80560"/>
                        <a:gd name="connsiteY174" fmla="*/ 29604 h 137376"/>
                        <a:gd name="connsiteX175" fmla="*/ 73683 w 80560"/>
                        <a:gd name="connsiteY175" fmla="*/ 26315 h 137376"/>
                        <a:gd name="connsiteX176" fmla="*/ 73324 w 80560"/>
                        <a:gd name="connsiteY176" fmla="*/ 26495 h 137376"/>
                        <a:gd name="connsiteX177" fmla="*/ 72965 w 80560"/>
                        <a:gd name="connsiteY177" fmla="*/ 26674 h 137376"/>
                        <a:gd name="connsiteX178" fmla="*/ 72606 w 80560"/>
                        <a:gd name="connsiteY178" fmla="*/ 26794 h 137376"/>
                        <a:gd name="connsiteX179" fmla="*/ 72247 w 80560"/>
                        <a:gd name="connsiteY179" fmla="*/ 26913 h 137376"/>
                        <a:gd name="connsiteX180" fmla="*/ 70812 w 80560"/>
                        <a:gd name="connsiteY180" fmla="*/ 30083 h 137376"/>
                        <a:gd name="connsiteX181" fmla="*/ 49521 w 80560"/>
                        <a:gd name="connsiteY181" fmla="*/ 15251 h 137376"/>
                        <a:gd name="connsiteX182" fmla="*/ 53408 w 80560"/>
                        <a:gd name="connsiteY182" fmla="*/ 6160 h 137376"/>
                        <a:gd name="connsiteX183" fmla="*/ 53169 w 80560"/>
                        <a:gd name="connsiteY183" fmla="*/ 6160 h 137376"/>
                        <a:gd name="connsiteX184" fmla="*/ 52929 w 80560"/>
                        <a:gd name="connsiteY184" fmla="*/ 6160 h 137376"/>
                        <a:gd name="connsiteX185" fmla="*/ 52690 w 80560"/>
                        <a:gd name="connsiteY185" fmla="*/ 6100 h 137376"/>
                        <a:gd name="connsiteX186" fmla="*/ 52451 w 80560"/>
                        <a:gd name="connsiteY186" fmla="*/ 6041 h 137376"/>
                        <a:gd name="connsiteX187" fmla="*/ 52391 w 80560"/>
                        <a:gd name="connsiteY187" fmla="*/ 6041 h 137376"/>
                        <a:gd name="connsiteX188" fmla="*/ 52331 w 80560"/>
                        <a:gd name="connsiteY188" fmla="*/ 6041 h 137376"/>
                        <a:gd name="connsiteX189" fmla="*/ 52271 w 80560"/>
                        <a:gd name="connsiteY189" fmla="*/ 6041 h 137376"/>
                        <a:gd name="connsiteX190" fmla="*/ 52212 w 80560"/>
                        <a:gd name="connsiteY190" fmla="*/ 6041 h 137376"/>
                        <a:gd name="connsiteX191" fmla="*/ 48982 w 80560"/>
                        <a:gd name="connsiteY191" fmla="*/ 13636 h 137376"/>
                        <a:gd name="connsiteX192" fmla="*/ 49102 w 80560"/>
                        <a:gd name="connsiteY192" fmla="*/ 14055 h 137376"/>
                        <a:gd name="connsiteX193" fmla="*/ 49221 w 80560"/>
                        <a:gd name="connsiteY193" fmla="*/ 14473 h 137376"/>
                        <a:gd name="connsiteX194" fmla="*/ 49341 w 80560"/>
                        <a:gd name="connsiteY194" fmla="*/ 14892 h 137376"/>
                        <a:gd name="connsiteX195" fmla="*/ 49521 w 80560"/>
                        <a:gd name="connsiteY195" fmla="*/ 15251 h 137376"/>
                        <a:gd name="connsiteX196" fmla="*/ 47307 w 80560"/>
                        <a:gd name="connsiteY196" fmla="*/ 20454 h 137376"/>
                        <a:gd name="connsiteX197" fmla="*/ 48683 w 80560"/>
                        <a:gd name="connsiteY197" fmla="*/ 17284 h 137376"/>
                        <a:gd name="connsiteX198" fmla="*/ 48504 w 80560"/>
                        <a:gd name="connsiteY198" fmla="*/ 16925 h 137376"/>
                        <a:gd name="connsiteX199" fmla="*/ 48324 w 80560"/>
                        <a:gd name="connsiteY199" fmla="*/ 16566 h 137376"/>
                        <a:gd name="connsiteX200" fmla="*/ 48205 w 80560"/>
                        <a:gd name="connsiteY200" fmla="*/ 16208 h 137376"/>
                        <a:gd name="connsiteX201" fmla="*/ 48085 w 80560"/>
                        <a:gd name="connsiteY201" fmla="*/ 15849 h 137376"/>
                        <a:gd name="connsiteX202" fmla="*/ 46650 w 80560"/>
                        <a:gd name="connsiteY202" fmla="*/ 19198 h 137376"/>
                        <a:gd name="connsiteX203" fmla="*/ 46829 w 80560"/>
                        <a:gd name="connsiteY203" fmla="*/ 19557 h 137376"/>
                        <a:gd name="connsiteX204" fmla="*/ 47008 w 80560"/>
                        <a:gd name="connsiteY204" fmla="*/ 19916 h 137376"/>
                        <a:gd name="connsiteX205" fmla="*/ 47188 w 80560"/>
                        <a:gd name="connsiteY205" fmla="*/ 20274 h 137376"/>
                        <a:gd name="connsiteX206" fmla="*/ 47307 w 80560"/>
                        <a:gd name="connsiteY206" fmla="*/ 20454 h 137376"/>
                        <a:gd name="connsiteX207" fmla="*/ 27571 w 80560"/>
                        <a:gd name="connsiteY207" fmla="*/ 133490 h 137376"/>
                        <a:gd name="connsiteX208" fmla="*/ 71589 w 80560"/>
                        <a:gd name="connsiteY208" fmla="*/ 31040 h 137376"/>
                        <a:gd name="connsiteX209" fmla="*/ 71230 w 80560"/>
                        <a:gd name="connsiteY209" fmla="*/ 31159 h 137376"/>
                        <a:gd name="connsiteX210" fmla="*/ 70871 w 80560"/>
                        <a:gd name="connsiteY210" fmla="*/ 31279 h 137376"/>
                        <a:gd name="connsiteX211" fmla="*/ 70513 w 80560"/>
                        <a:gd name="connsiteY211" fmla="*/ 31339 h 137376"/>
                        <a:gd name="connsiteX212" fmla="*/ 70154 w 80560"/>
                        <a:gd name="connsiteY212" fmla="*/ 31399 h 137376"/>
                        <a:gd name="connsiteX213" fmla="*/ 26794 w 80560"/>
                        <a:gd name="connsiteY213" fmla="*/ 132353 h 137376"/>
                        <a:gd name="connsiteX214" fmla="*/ 26973 w 80560"/>
                        <a:gd name="connsiteY214" fmla="*/ 132652 h 137376"/>
                        <a:gd name="connsiteX215" fmla="*/ 27152 w 80560"/>
                        <a:gd name="connsiteY215" fmla="*/ 132951 h 137376"/>
                        <a:gd name="connsiteX216" fmla="*/ 27332 w 80560"/>
                        <a:gd name="connsiteY216" fmla="*/ 133250 h 137376"/>
                        <a:gd name="connsiteX217" fmla="*/ 27571 w 80560"/>
                        <a:gd name="connsiteY217" fmla="*/ 133490 h 137376"/>
                        <a:gd name="connsiteX218" fmla="*/ 25119 w 80560"/>
                        <a:gd name="connsiteY218" fmla="*/ 137138 h 137376"/>
                        <a:gd name="connsiteX219" fmla="*/ 25358 w 80560"/>
                        <a:gd name="connsiteY219" fmla="*/ 137198 h 137376"/>
                        <a:gd name="connsiteX220" fmla="*/ 25897 w 80560"/>
                        <a:gd name="connsiteY220" fmla="*/ 137377 h 137376"/>
                        <a:gd name="connsiteX221" fmla="*/ 26973 w 80560"/>
                        <a:gd name="connsiteY221" fmla="*/ 134925 h 137376"/>
                        <a:gd name="connsiteX222" fmla="*/ 26794 w 80560"/>
                        <a:gd name="connsiteY222" fmla="*/ 134626 h 137376"/>
                        <a:gd name="connsiteX223" fmla="*/ 26614 w 80560"/>
                        <a:gd name="connsiteY223" fmla="*/ 134327 h 137376"/>
                        <a:gd name="connsiteX224" fmla="*/ 26435 w 80560"/>
                        <a:gd name="connsiteY224" fmla="*/ 134028 h 137376"/>
                        <a:gd name="connsiteX225" fmla="*/ 26255 w 80560"/>
                        <a:gd name="connsiteY225" fmla="*/ 133729 h 137376"/>
                        <a:gd name="connsiteX226" fmla="*/ 25298 w 80560"/>
                        <a:gd name="connsiteY226" fmla="*/ 136002 h 137376"/>
                        <a:gd name="connsiteX227" fmla="*/ 24342 w 80560"/>
                        <a:gd name="connsiteY227" fmla="*/ 135703 h 137376"/>
                        <a:gd name="connsiteX228" fmla="*/ 24521 w 80560"/>
                        <a:gd name="connsiteY228" fmla="*/ 136061 h 137376"/>
                        <a:gd name="connsiteX229" fmla="*/ 24700 w 80560"/>
                        <a:gd name="connsiteY229" fmla="*/ 136420 h 137376"/>
                        <a:gd name="connsiteX230" fmla="*/ 24880 w 80560"/>
                        <a:gd name="connsiteY230" fmla="*/ 136779 h 137376"/>
                        <a:gd name="connsiteX231" fmla="*/ 25119 w 80560"/>
                        <a:gd name="connsiteY231" fmla="*/ 137138 h 137376"/>
                        <a:gd name="connsiteX232" fmla="*/ 19497 w 80560"/>
                        <a:gd name="connsiteY232" fmla="*/ 134447 h 137376"/>
                        <a:gd name="connsiteX233" fmla="*/ 19856 w 80560"/>
                        <a:gd name="connsiteY233" fmla="*/ 134506 h 137376"/>
                        <a:gd name="connsiteX234" fmla="*/ 20215 w 80560"/>
                        <a:gd name="connsiteY234" fmla="*/ 134626 h 137376"/>
                        <a:gd name="connsiteX235" fmla="*/ 20574 w 80560"/>
                        <a:gd name="connsiteY235" fmla="*/ 134805 h 137376"/>
                        <a:gd name="connsiteX236" fmla="*/ 20873 w 80560"/>
                        <a:gd name="connsiteY236" fmla="*/ 134985 h 137376"/>
                        <a:gd name="connsiteX237" fmla="*/ 21471 w 80560"/>
                        <a:gd name="connsiteY237" fmla="*/ 135583 h 137376"/>
                        <a:gd name="connsiteX238" fmla="*/ 21530 w 80560"/>
                        <a:gd name="connsiteY238" fmla="*/ 135703 h 137376"/>
                        <a:gd name="connsiteX239" fmla="*/ 21590 w 80560"/>
                        <a:gd name="connsiteY239" fmla="*/ 135822 h 137376"/>
                        <a:gd name="connsiteX240" fmla="*/ 21650 w 80560"/>
                        <a:gd name="connsiteY240" fmla="*/ 135942 h 137376"/>
                        <a:gd name="connsiteX241" fmla="*/ 21710 w 80560"/>
                        <a:gd name="connsiteY241" fmla="*/ 136061 h 137376"/>
                        <a:gd name="connsiteX242" fmla="*/ 23145 w 80560"/>
                        <a:gd name="connsiteY242" fmla="*/ 136540 h 137376"/>
                        <a:gd name="connsiteX243" fmla="*/ 22906 w 80560"/>
                        <a:gd name="connsiteY243" fmla="*/ 136121 h 137376"/>
                        <a:gd name="connsiteX244" fmla="*/ 22667 w 80560"/>
                        <a:gd name="connsiteY244" fmla="*/ 135703 h 137376"/>
                        <a:gd name="connsiteX245" fmla="*/ 22428 w 80560"/>
                        <a:gd name="connsiteY245" fmla="*/ 135284 h 137376"/>
                        <a:gd name="connsiteX246" fmla="*/ 22129 w 80560"/>
                        <a:gd name="connsiteY246" fmla="*/ 134925 h 137376"/>
                        <a:gd name="connsiteX247" fmla="*/ 19676 w 80560"/>
                        <a:gd name="connsiteY247" fmla="*/ 134088 h 137376"/>
                        <a:gd name="connsiteX248" fmla="*/ 19497 w 80560"/>
                        <a:gd name="connsiteY248" fmla="*/ 134447 h 137376"/>
                        <a:gd name="connsiteX249" fmla="*/ 1794 w 80560"/>
                        <a:gd name="connsiteY249" fmla="*/ 124399 h 137376"/>
                        <a:gd name="connsiteX250" fmla="*/ 2153 w 80560"/>
                        <a:gd name="connsiteY250" fmla="*/ 124279 h 137376"/>
                        <a:gd name="connsiteX251" fmla="*/ 2512 w 80560"/>
                        <a:gd name="connsiteY251" fmla="*/ 124160 h 137376"/>
                        <a:gd name="connsiteX252" fmla="*/ 2871 w 80560"/>
                        <a:gd name="connsiteY252" fmla="*/ 124040 h 137376"/>
                        <a:gd name="connsiteX253" fmla="*/ 3229 w 80560"/>
                        <a:gd name="connsiteY253" fmla="*/ 123920 h 137376"/>
                        <a:gd name="connsiteX254" fmla="*/ 46769 w 80560"/>
                        <a:gd name="connsiteY254" fmla="*/ 21770 h 137376"/>
                        <a:gd name="connsiteX255" fmla="*/ 46590 w 80560"/>
                        <a:gd name="connsiteY255" fmla="*/ 21471 h 137376"/>
                        <a:gd name="connsiteX256" fmla="*/ 46410 w 80560"/>
                        <a:gd name="connsiteY256" fmla="*/ 21172 h 137376"/>
                        <a:gd name="connsiteX257" fmla="*/ 46231 w 80560"/>
                        <a:gd name="connsiteY257" fmla="*/ 20873 h 137376"/>
                        <a:gd name="connsiteX258" fmla="*/ 46052 w 80560"/>
                        <a:gd name="connsiteY258" fmla="*/ 20574 h 137376"/>
                        <a:gd name="connsiteX259" fmla="*/ 1794 w 80560"/>
                        <a:gd name="connsiteY259" fmla="*/ 124399 h 137376"/>
                        <a:gd name="connsiteX260" fmla="*/ 12739 w 80560"/>
                        <a:gd name="connsiteY260" fmla="*/ 132951 h 137376"/>
                        <a:gd name="connsiteX261" fmla="*/ 13218 w 80560"/>
                        <a:gd name="connsiteY261" fmla="*/ 133131 h 137376"/>
                        <a:gd name="connsiteX262" fmla="*/ 12739 w 80560"/>
                        <a:gd name="connsiteY262" fmla="*/ 132951 h 137376"/>
                        <a:gd name="connsiteX263" fmla="*/ 12739 w 80560"/>
                        <a:gd name="connsiteY263" fmla="*/ 132951 h 137376"/>
                        <a:gd name="connsiteX264" fmla="*/ 12739 w 80560"/>
                        <a:gd name="connsiteY264" fmla="*/ 132951 h 137376"/>
                        <a:gd name="connsiteX265" fmla="*/ 12739 w 80560"/>
                        <a:gd name="connsiteY265" fmla="*/ 132951 h 137376"/>
                        <a:gd name="connsiteX266" fmla="*/ 12739 w 80560"/>
                        <a:gd name="connsiteY266" fmla="*/ 132951 h 137376"/>
                        <a:gd name="connsiteX267" fmla="*/ 7715 w 80560"/>
                        <a:gd name="connsiteY267" fmla="*/ 131277 h 137376"/>
                        <a:gd name="connsiteX268" fmla="*/ 11662 w 80560"/>
                        <a:gd name="connsiteY268" fmla="*/ 132592 h 137376"/>
                        <a:gd name="connsiteX269" fmla="*/ 11662 w 80560"/>
                        <a:gd name="connsiteY269" fmla="*/ 132592 h 137376"/>
                        <a:gd name="connsiteX270" fmla="*/ 11662 w 80560"/>
                        <a:gd name="connsiteY270" fmla="*/ 132592 h 137376"/>
                        <a:gd name="connsiteX271" fmla="*/ 11662 w 80560"/>
                        <a:gd name="connsiteY271" fmla="*/ 132592 h 137376"/>
                        <a:gd name="connsiteX272" fmla="*/ 11662 w 80560"/>
                        <a:gd name="connsiteY272" fmla="*/ 132592 h 137376"/>
                        <a:gd name="connsiteX273" fmla="*/ 9450 w 80560"/>
                        <a:gd name="connsiteY273" fmla="*/ 131875 h 137376"/>
                        <a:gd name="connsiteX274" fmla="*/ 9689 w 80560"/>
                        <a:gd name="connsiteY274" fmla="*/ 131277 h 137376"/>
                        <a:gd name="connsiteX275" fmla="*/ 9928 w 80560"/>
                        <a:gd name="connsiteY275" fmla="*/ 130738 h 137376"/>
                        <a:gd name="connsiteX276" fmla="*/ 9210 w 80560"/>
                        <a:gd name="connsiteY276" fmla="*/ 130499 h 137376"/>
                        <a:gd name="connsiteX277" fmla="*/ 8911 w 80560"/>
                        <a:gd name="connsiteY277" fmla="*/ 130559 h 137376"/>
                        <a:gd name="connsiteX278" fmla="*/ 8612 w 80560"/>
                        <a:gd name="connsiteY278" fmla="*/ 130679 h 137376"/>
                        <a:gd name="connsiteX279" fmla="*/ 8313 w 80560"/>
                        <a:gd name="connsiteY279" fmla="*/ 130858 h 137376"/>
                        <a:gd name="connsiteX280" fmla="*/ 8014 w 80560"/>
                        <a:gd name="connsiteY280" fmla="*/ 131097 h 137376"/>
                        <a:gd name="connsiteX281" fmla="*/ 7954 w 80560"/>
                        <a:gd name="connsiteY281" fmla="*/ 131157 h 137376"/>
                        <a:gd name="connsiteX282" fmla="*/ 7895 w 80560"/>
                        <a:gd name="connsiteY282" fmla="*/ 131217 h 137376"/>
                        <a:gd name="connsiteX283" fmla="*/ 7715 w 80560"/>
                        <a:gd name="connsiteY283" fmla="*/ 131277 h 137376"/>
                        <a:gd name="connsiteX284" fmla="*/ 7715 w 80560"/>
                        <a:gd name="connsiteY284" fmla="*/ 131277 h 137376"/>
                        <a:gd name="connsiteX285" fmla="*/ 2392 w 80560"/>
                        <a:gd name="connsiteY285" fmla="*/ 129482 h 137376"/>
                        <a:gd name="connsiteX286" fmla="*/ 6639 w 80560"/>
                        <a:gd name="connsiteY286" fmla="*/ 130918 h 137376"/>
                        <a:gd name="connsiteX287" fmla="*/ 6818 w 80560"/>
                        <a:gd name="connsiteY287" fmla="*/ 130738 h 137376"/>
                        <a:gd name="connsiteX288" fmla="*/ 6997 w 80560"/>
                        <a:gd name="connsiteY288" fmla="*/ 130559 h 137376"/>
                        <a:gd name="connsiteX289" fmla="*/ 7177 w 80560"/>
                        <a:gd name="connsiteY289" fmla="*/ 130380 h 137376"/>
                        <a:gd name="connsiteX290" fmla="*/ 7356 w 80560"/>
                        <a:gd name="connsiteY290" fmla="*/ 130200 h 137376"/>
                        <a:gd name="connsiteX291" fmla="*/ 7416 w 80560"/>
                        <a:gd name="connsiteY291" fmla="*/ 130141 h 137376"/>
                        <a:gd name="connsiteX292" fmla="*/ 7476 w 80560"/>
                        <a:gd name="connsiteY292" fmla="*/ 130081 h 137376"/>
                        <a:gd name="connsiteX293" fmla="*/ 7536 w 80560"/>
                        <a:gd name="connsiteY293" fmla="*/ 130021 h 137376"/>
                        <a:gd name="connsiteX294" fmla="*/ 7596 w 80560"/>
                        <a:gd name="connsiteY294" fmla="*/ 129961 h 137376"/>
                        <a:gd name="connsiteX295" fmla="*/ 4366 w 80560"/>
                        <a:gd name="connsiteY295" fmla="*/ 128884 h 137376"/>
                        <a:gd name="connsiteX296" fmla="*/ 3828 w 80560"/>
                        <a:gd name="connsiteY296" fmla="*/ 129004 h 137376"/>
                        <a:gd name="connsiteX297" fmla="*/ 3289 w 80560"/>
                        <a:gd name="connsiteY297" fmla="*/ 129124 h 137376"/>
                        <a:gd name="connsiteX298" fmla="*/ 2811 w 80560"/>
                        <a:gd name="connsiteY298" fmla="*/ 129303 h 137376"/>
                        <a:gd name="connsiteX299" fmla="*/ 2392 w 80560"/>
                        <a:gd name="connsiteY299" fmla="*/ 129482 h 137376"/>
                        <a:gd name="connsiteX300" fmla="*/ 0 w 80560"/>
                        <a:gd name="connsiteY300" fmla="*/ 128705 h 137376"/>
                        <a:gd name="connsiteX301" fmla="*/ 299 w 80560"/>
                        <a:gd name="connsiteY301" fmla="*/ 128825 h 137376"/>
                        <a:gd name="connsiteX302" fmla="*/ 718 w 80560"/>
                        <a:gd name="connsiteY302" fmla="*/ 128645 h 137376"/>
                        <a:gd name="connsiteX303" fmla="*/ 1136 w 80560"/>
                        <a:gd name="connsiteY303" fmla="*/ 128466 h 137376"/>
                        <a:gd name="connsiteX304" fmla="*/ 1555 w 80560"/>
                        <a:gd name="connsiteY304" fmla="*/ 128286 h 137376"/>
                        <a:gd name="connsiteX305" fmla="*/ 1974 w 80560"/>
                        <a:gd name="connsiteY305" fmla="*/ 128107 h 137376"/>
                        <a:gd name="connsiteX306" fmla="*/ 1435 w 80560"/>
                        <a:gd name="connsiteY306" fmla="*/ 127927 h 137376"/>
                        <a:gd name="connsiteX307" fmla="*/ 2512 w 80560"/>
                        <a:gd name="connsiteY307" fmla="*/ 125356 h 137376"/>
                        <a:gd name="connsiteX308" fmla="*/ 2153 w 80560"/>
                        <a:gd name="connsiteY308" fmla="*/ 125475 h 137376"/>
                        <a:gd name="connsiteX309" fmla="*/ 1794 w 80560"/>
                        <a:gd name="connsiteY309" fmla="*/ 125595 h 137376"/>
                        <a:gd name="connsiteX310" fmla="*/ 1435 w 80560"/>
                        <a:gd name="connsiteY310" fmla="*/ 125715 h 137376"/>
                        <a:gd name="connsiteX311" fmla="*/ 1076 w 80560"/>
                        <a:gd name="connsiteY311" fmla="*/ 125834 h 137376"/>
                        <a:gd name="connsiteX312" fmla="*/ 120 w 80560"/>
                        <a:gd name="connsiteY312" fmla="*/ 128107 h 137376"/>
                        <a:gd name="connsiteX313" fmla="*/ 0 w 80560"/>
                        <a:gd name="connsiteY313" fmla="*/ 128705 h 137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80560" h="137376">
                          <a:moveTo>
                            <a:pt x="79364" y="12440"/>
                          </a:moveTo>
                          <a:cubicBezTo>
                            <a:pt x="79424" y="12440"/>
                            <a:pt x="79424" y="12440"/>
                            <a:pt x="79364" y="12440"/>
                          </a:cubicBezTo>
                          <a:cubicBezTo>
                            <a:pt x="79424" y="12500"/>
                            <a:pt x="79424" y="12500"/>
                            <a:pt x="79424" y="12500"/>
                          </a:cubicBezTo>
                          <a:cubicBezTo>
                            <a:pt x="79424" y="12500"/>
                            <a:pt x="79424" y="12500"/>
                            <a:pt x="79484" y="12500"/>
                          </a:cubicBezTo>
                          <a:cubicBezTo>
                            <a:pt x="79484" y="12500"/>
                            <a:pt x="79484" y="12500"/>
                            <a:pt x="79544" y="12500"/>
                          </a:cubicBezTo>
                          <a:lnTo>
                            <a:pt x="80321" y="10765"/>
                          </a:lnTo>
                          <a:lnTo>
                            <a:pt x="80561" y="10167"/>
                          </a:lnTo>
                          <a:lnTo>
                            <a:pt x="78946" y="9509"/>
                          </a:lnTo>
                          <a:cubicBezTo>
                            <a:pt x="78946" y="9509"/>
                            <a:pt x="78946" y="9569"/>
                            <a:pt x="78946" y="9569"/>
                          </a:cubicBezTo>
                          <a:cubicBezTo>
                            <a:pt x="78946" y="9569"/>
                            <a:pt x="78946" y="9629"/>
                            <a:pt x="78946" y="9629"/>
                          </a:cubicBezTo>
                          <a:cubicBezTo>
                            <a:pt x="78946" y="9629"/>
                            <a:pt x="78946" y="9689"/>
                            <a:pt x="78946" y="9689"/>
                          </a:cubicBezTo>
                          <a:cubicBezTo>
                            <a:pt x="78946" y="9689"/>
                            <a:pt x="78946" y="9749"/>
                            <a:pt x="78946" y="9749"/>
                          </a:cubicBezTo>
                          <a:cubicBezTo>
                            <a:pt x="78946" y="9808"/>
                            <a:pt x="78886" y="9928"/>
                            <a:pt x="78886" y="9988"/>
                          </a:cubicBezTo>
                          <a:cubicBezTo>
                            <a:pt x="78886" y="10048"/>
                            <a:pt x="78826" y="10167"/>
                            <a:pt x="78826" y="10227"/>
                          </a:cubicBezTo>
                          <a:cubicBezTo>
                            <a:pt x="78826" y="10287"/>
                            <a:pt x="78826" y="10406"/>
                            <a:pt x="78826" y="10466"/>
                          </a:cubicBezTo>
                          <a:cubicBezTo>
                            <a:pt x="78826" y="10526"/>
                            <a:pt x="78826" y="10645"/>
                            <a:pt x="78826" y="10705"/>
                          </a:cubicBezTo>
                          <a:lnTo>
                            <a:pt x="79185" y="10825"/>
                          </a:lnTo>
                          <a:lnTo>
                            <a:pt x="78946" y="11363"/>
                          </a:lnTo>
                          <a:cubicBezTo>
                            <a:pt x="78946" y="11363"/>
                            <a:pt x="78946" y="11423"/>
                            <a:pt x="78946" y="11423"/>
                          </a:cubicBezTo>
                          <a:cubicBezTo>
                            <a:pt x="78946" y="11423"/>
                            <a:pt x="78946" y="11483"/>
                            <a:pt x="78946" y="11483"/>
                          </a:cubicBezTo>
                          <a:cubicBezTo>
                            <a:pt x="78946" y="11483"/>
                            <a:pt x="78946" y="11543"/>
                            <a:pt x="78946" y="11543"/>
                          </a:cubicBezTo>
                          <a:cubicBezTo>
                            <a:pt x="78946" y="11543"/>
                            <a:pt x="78946" y="11603"/>
                            <a:pt x="78946" y="11603"/>
                          </a:cubicBezTo>
                          <a:cubicBezTo>
                            <a:pt x="78946" y="11662"/>
                            <a:pt x="79005" y="11722"/>
                            <a:pt x="79065" y="11782"/>
                          </a:cubicBezTo>
                          <a:cubicBezTo>
                            <a:pt x="79125" y="11842"/>
                            <a:pt x="79125" y="11902"/>
                            <a:pt x="79185" y="11961"/>
                          </a:cubicBezTo>
                          <a:cubicBezTo>
                            <a:pt x="79245" y="12021"/>
                            <a:pt x="79245" y="12081"/>
                            <a:pt x="79304" y="12141"/>
                          </a:cubicBezTo>
                          <a:cubicBezTo>
                            <a:pt x="79304" y="12320"/>
                            <a:pt x="79304" y="12380"/>
                            <a:pt x="79364" y="12440"/>
                          </a:cubicBezTo>
                          <a:moveTo>
                            <a:pt x="76434" y="9928"/>
                          </a:moveTo>
                          <a:lnTo>
                            <a:pt x="77570" y="10406"/>
                          </a:lnTo>
                          <a:cubicBezTo>
                            <a:pt x="77570" y="10347"/>
                            <a:pt x="77570" y="10227"/>
                            <a:pt x="77630" y="10167"/>
                          </a:cubicBezTo>
                          <a:cubicBezTo>
                            <a:pt x="77690" y="10107"/>
                            <a:pt x="77630" y="9988"/>
                            <a:pt x="77690" y="9928"/>
                          </a:cubicBezTo>
                          <a:cubicBezTo>
                            <a:pt x="77690" y="9868"/>
                            <a:pt x="77749" y="9749"/>
                            <a:pt x="77749" y="9689"/>
                          </a:cubicBezTo>
                          <a:cubicBezTo>
                            <a:pt x="77749" y="9629"/>
                            <a:pt x="77809" y="9509"/>
                            <a:pt x="77809" y="9449"/>
                          </a:cubicBezTo>
                          <a:cubicBezTo>
                            <a:pt x="77809" y="9449"/>
                            <a:pt x="77809" y="9390"/>
                            <a:pt x="77869" y="9390"/>
                          </a:cubicBezTo>
                          <a:cubicBezTo>
                            <a:pt x="77929" y="9390"/>
                            <a:pt x="77869" y="9330"/>
                            <a:pt x="77929" y="9330"/>
                          </a:cubicBezTo>
                          <a:cubicBezTo>
                            <a:pt x="77929" y="9330"/>
                            <a:pt x="77929" y="9270"/>
                            <a:pt x="77988" y="9270"/>
                          </a:cubicBezTo>
                          <a:cubicBezTo>
                            <a:pt x="77988" y="9270"/>
                            <a:pt x="77988" y="9210"/>
                            <a:pt x="78048" y="9210"/>
                          </a:cubicBezTo>
                          <a:lnTo>
                            <a:pt x="77032" y="8791"/>
                          </a:lnTo>
                          <a:cubicBezTo>
                            <a:pt x="77032" y="8851"/>
                            <a:pt x="77032" y="8851"/>
                            <a:pt x="76972" y="8911"/>
                          </a:cubicBezTo>
                          <a:cubicBezTo>
                            <a:pt x="76972" y="8971"/>
                            <a:pt x="76972" y="8971"/>
                            <a:pt x="76912" y="9031"/>
                          </a:cubicBezTo>
                          <a:cubicBezTo>
                            <a:pt x="76912" y="9090"/>
                            <a:pt x="76912" y="9090"/>
                            <a:pt x="76852" y="9150"/>
                          </a:cubicBezTo>
                          <a:cubicBezTo>
                            <a:pt x="76852" y="9210"/>
                            <a:pt x="76852" y="9210"/>
                            <a:pt x="76793" y="9270"/>
                          </a:cubicBezTo>
                          <a:cubicBezTo>
                            <a:pt x="76793" y="9330"/>
                            <a:pt x="76733" y="9390"/>
                            <a:pt x="76733" y="9449"/>
                          </a:cubicBezTo>
                          <a:cubicBezTo>
                            <a:pt x="76733" y="9509"/>
                            <a:pt x="76673" y="9569"/>
                            <a:pt x="76673" y="9629"/>
                          </a:cubicBezTo>
                          <a:cubicBezTo>
                            <a:pt x="76673" y="9689"/>
                            <a:pt x="76613" y="9749"/>
                            <a:pt x="76613" y="9808"/>
                          </a:cubicBezTo>
                          <a:cubicBezTo>
                            <a:pt x="76493" y="9808"/>
                            <a:pt x="76434" y="9868"/>
                            <a:pt x="76434" y="9928"/>
                          </a:cubicBezTo>
                          <a:moveTo>
                            <a:pt x="73384" y="8672"/>
                          </a:moveTo>
                          <a:lnTo>
                            <a:pt x="75178" y="9390"/>
                          </a:lnTo>
                          <a:cubicBezTo>
                            <a:pt x="75178" y="9330"/>
                            <a:pt x="75238" y="9270"/>
                            <a:pt x="75238" y="9270"/>
                          </a:cubicBezTo>
                          <a:cubicBezTo>
                            <a:pt x="75238" y="9210"/>
                            <a:pt x="75297" y="9150"/>
                            <a:pt x="75297" y="9150"/>
                          </a:cubicBezTo>
                          <a:cubicBezTo>
                            <a:pt x="75297" y="9150"/>
                            <a:pt x="75357" y="9031"/>
                            <a:pt x="75357" y="8971"/>
                          </a:cubicBezTo>
                          <a:cubicBezTo>
                            <a:pt x="75357" y="8911"/>
                            <a:pt x="75417" y="8851"/>
                            <a:pt x="75417" y="8791"/>
                          </a:cubicBezTo>
                          <a:cubicBezTo>
                            <a:pt x="75417" y="8732"/>
                            <a:pt x="75477" y="8672"/>
                            <a:pt x="75477" y="8612"/>
                          </a:cubicBezTo>
                          <a:cubicBezTo>
                            <a:pt x="75477" y="8552"/>
                            <a:pt x="75537" y="8493"/>
                            <a:pt x="75537" y="8433"/>
                          </a:cubicBezTo>
                          <a:cubicBezTo>
                            <a:pt x="75537" y="8373"/>
                            <a:pt x="75596" y="8313"/>
                            <a:pt x="75596" y="8253"/>
                          </a:cubicBezTo>
                          <a:cubicBezTo>
                            <a:pt x="75596" y="8194"/>
                            <a:pt x="75596" y="8134"/>
                            <a:pt x="75656" y="8074"/>
                          </a:cubicBezTo>
                          <a:lnTo>
                            <a:pt x="73742" y="7296"/>
                          </a:lnTo>
                          <a:cubicBezTo>
                            <a:pt x="73742" y="7296"/>
                            <a:pt x="73742" y="7296"/>
                            <a:pt x="73742" y="7296"/>
                          </a:cubicBezTo>
                          <a:cubicBezTo>
                            <a:pt x="73742" y="7296"/>
                            <a:pt x="73742" y="7296"/>
                            <a:pt x="73742" y="7296"/>
                          </a:cubicBezTo>
                          <a:cubicBezTo>
                            <a:pt x="73742" y="7296"/>
                            <a:pt x="73742" y="7296"/>
                            <a:pt x="73742" y="7296"/>
                          </a:cubicBezTo>
                          <a:cubicBezTo>
                            <a:pt x="73742" y="7296"/>
                            <a:pt x="73742" y="7296"/>
                            <a:pt x="73742" y="7296"/>
                          </a:cubicBezTo>
                          <a:lnTo>
                            <a:pt x="73922" y="7356"/>
                          </a:lnTo>
                          <a:lnTo>
                            <a:pt x="73683" y="7954"/>
                          </a:lnTo>
                          <a:lnTo>
                            <a:pt x="73384" y="8672"/>
                          </a:lnTo>
                          <a:moveTo>
                            <a:pt x="67223" y="6220"/>
                          </a:moveTo>
                          <a:lnTo>
                            <a:pt x="72068" y="8194"/>
                          </a:lnTo>
                          <a:cubicBezTo>
                            <a:pt x="72068" y="8194"/>
                            <a:pt x="72068" y="8194"/>
                            <a:pt x="72068" y="8194"/>
                          </a:cubicBezTo>
                          <a:cubicBezTo>
                            <a:pt x="72068" y="8194"/>
                            <a:pt x="72068" y="8194"/>
                            <a:pt x="72068" y="8194"/>
                          </a:cubicBezTo>
                          <a:cubicBezTo>
                            <a:pt x="72068" y="8194"/>
                            <a:pt x="72068" y="8194"/>
                            <a:pt x="72068" y="8194"/>
                          </a:cubicBezTo>
                          <a:cubicBezTo>
                            <a:pt x="72068" y="8194"/>
                            <a:pt x="72068" y="8194"/>
                            <a:pt x="72068" y="8194"/>
                          </a:cubicBezTo>
                          <a:lnTo>
                            <a:pt x="67223" y="6220"/>
                          </a:lnTo>
                          <a:moveTo>
                            <a:pt x="62857" y="4426"/>
                          </a:moveTo>
                          <a:lnTo>
                            <a:pt x="63754" y="4785"/>
                          </a:lnTo>
                          <a:lnTo>
                            <a:pt x="64233" y="3648"/>
                          </a:lnTo>
                          <a:lnTo>
                            <a:pt x="72367" y="6937"/>
                          </a:lnTo>
                          <a:cubicBezTo>
                            <a:pt x="72367" y="6937"/>
                            <a:pt x="72367" y="6937"/>
                            <a:pt x="72367" y="6937"/>
                          </a:cubicBezTo>
                          <a:cubicBezTo>
                            <a:pt x="72367" y="6937"/>
                            <a:pt x="72367" y="6937"/>
                            <a:pt x="72367" y="6937"/>
                          </a:cubicBezTo>
                          <a:cubicBezTo>
                            <a:pt x="72367" y="6937"/>
                            <a:pt x="72367" y="6937"/>
                            <a:pt x="72367" y="6937"/>
                          </a:cubicBezTo>
                          <a:cubicBezTo>
                            <a:pt x="72367" y="6937"/>
                            <a:pt x="72367" y="6937"/>
                            <a:pt x="72367" y="6937"/>
                          </a:cubicBezTo>
                          <a:lnTo>
                            <a:pt x="63515" y="3349"/>
                          </a:lnTo>
                          <a:cubicBezTo>
                            <a:pt x="63455" y="3409"/>
                            <a:pt x="63396" y="3528"/>
                            <a:pt x="63336" y="3588"/>
                          </a:cubicBezTo>
                          <a:cubicBezTo>
                            <a:pt x="63276" y="3648"/>
                            <a:pt x="63216" y="3768"/>
                            <a:pt x="63156" y="3827"/>
                          </a:cubicBezTo>
                          <a:cubicBezTo>
                            <a:pt x="63097" y="3947"/>
                            <a:pt x="63037" y="4007"/>
                            <a:pt x="62977" y="4127"/>
                          </a:cubicBezTo>
                          <a:cubicBezTo>
                            <a:pt x="62977" y="4246"/>
                            <a:pt x="62917" y="4366"/>
                            <a:pt x="62857" y="4426"/>
                          </a:cubicBezTo>
                          <a:moveTo>
                            <a:pt x="59747" y="3170"/>
                          </a:moveTo>
                          <a:lnTo>
                            <a:pt x="61601" y="3947"/>
                          </a:lnTo>
                          <a:cubicBezTo>
                            <a:pt x="61661" y="3827"/>
                            <a:pt x="61661" y="3768"/>
                            <a:pt x="61721" y="3648"/>
                          </a:cubicBezTo>
                          <a:cubicBezTo>
                            <a:pt x="61781" y="3528"/>
                            <a:pt x="61841" y="3469"/>
                            <a:pt x="61841" y="3349"/>
                          </a:cubicBezTo>
                          <a:cubicBezTo>
                            <a:pt x="61841" y="3229"/>
                            <a:pt x="61960" y="3170"/>
                            <a:pt x="62020" y="3050"/>
                          </a:cubicBezTo>
                          <a:cubicBezTo>
                            <a:pt x="62080" y="2930"/>
                            <a:pt x="62140" y="2871"/>
                            <a:pt x="62200" y="2811"/>
                          </a:cubicBezTo>
                          <a:lnTo>
                            <a:pt x="60286" y="2033"/>
                          </a:lnTo>
                          <a:cubicBezTo>
                            <a:pt x="60226" y="2093"/>
                            <a:pt x="60166" y="2213"/>
                            <a:pt x="60106" y="2332"/>
                          </a:cubicBezTo>
                          <a:cubicBezTo>
                            <a:pt x="60046" y="2452"/>
                            <a:pt x="59987" y="2512"/>
                            <a:pt x="59987" y="2632"/>
                          </a:cubicBezTo>
                          <a:cubicBezTo>
                            <a:pt x="59927" y="2751"/>
                            <a:pt x="59867" y="2811"/>
                            <a:pt x="59867" y="2930"/>
                          </a:cubicBezTo>
                          <a:cubicBezTo>
                            <a:pt x="59867" y="3050"/>
                            <a:pt x="59747" y="3110"/>
                            <a:pt x="59747" y="3170"/>
                          </a:cubicBezTo>
                          <a:moveTo>
                            <a:pt x="76793" y="18899"/>
                          </a:moveTo>
                          <a:lnTo>
                            <a:pt x="79005" y="13696"/>
                          </a:lnTo>
                          <a:cubicBezTo>
                            <a:pt x="78946" y="13696"/>
                            <a:pt x="78946" y="13636"/>
                            <a:pt x="78886" y="13636"/>
                          </a:cubicBezTo>
                          <a:cubicBezTo>
                            <a:pt x="78826" y="13636"/>
                            <a:pt x="78826" y="13576"/>
                            <a:pt x="78766" y="13576"/>
                          </a:cubicBezTo>
                          <a:cubicBezTo>
                            <a:pt x="78706" y="13576"/>
                            <a:pt x="78706" y="13516"/>
                            <a:pt x="78647" y="13516"/>
                          </a:cubicBezTo>
                          <a:cubicBezTo>
                            <a:pt x="78587" y="13516"/>
                            <a:pt x="78587" y="13457"/>
                            <a:pt x="78527" y="13457"/>
                          </a:cubicBezTo>
                          <a:cubicBezTo>
                            <a:pt x="78467" y="13397"/>
                            <a:pt x="78467" y="13397"/>
                            <a:pt x="78407" y="13337"/>
                          </a:cubicBezTo>
                          <a:cubicBezTo>
                            <a:pt x="78347" y="13277"/>
                            <a:pt x="78347" y="13277"/>
                            <a:pt x="78288" y="13217"/>
                          </a:cubicBezTo>
                          <a:cubicBezTo>
                            <a:pt x="78228" y="13157"/>
                            <a:pt x="78228" y="13157"/>
                            <a:pt x="78168" y="13098"/>
                          </a:cubicBezTo>
                          <a:cubicBezTo>
                            <a:pt x="78108" y="13038"/>
                            <a:pt x="78108" y="13038"/>
                            <a:pt x="78048" y="12978"/>
                          </a:cubicBezTo>
                          <a:lnTo>
                            <a:pt x="76075" y="17523"/>
                          </a:lnTo>
                          <a:cubicBezTo>
                            <a:pt x="76075" y="17583"/>
                            <a:pt x="76134" y="17583"/>
                            <a:pt x="76134" y="17643"/>
                          </a:cubicBezTo>
                          <a:cubicBezTo>
                            <a:pt x="76134" y="17703"/>
                            <a:pt x="76194" y="17763"/>
                            <a:pt x="76194" y="17763"/>
                          </a:cubicBezTo>
                          <a:cubicBezTo>
                            <a:pt x="76194" y="17822"/>
                            <a:pt x="76254" y="17882"/>
                            <a:pt x="76254" y="17882"/>
                          </a:cubicBezTo>
                          <a:cubicBezTo>
                            <a:pt x="76254" y="17882"/>
                            <a:pt x="76314" y="18002"/>
                            <a:pt x="76314" y="18062"/>
                          </a:cubicBezTo>
                          <a:cubicBezTo>
                            <a:pt x="76374" y="18121"/>
                            <a:pt x="76374" y="18181"/>
                            <a:pt x="76374" y="18241"/>
                          </a:cubicBezTo>
                          <a:cubicBezTo>
                            <a:pt x="76374" y="18301"/>
                            <a:pt x="76434" y="18361"/>
                            <a:pt x="76434" y="18480"/>
                          </a:cubicBezTo>
                          <a:cubicBezTo>
                            <a:pt x="76434" y="18540"/>
                            <a:pt x="76493" y="18600"/>
                            <a:pt x="76493" y="18720"/>
                          </a:cubicBezTo>
                          <a:cubicBezTo>
                            <a:pt x="76793" y="18779"/>
                            <a:pt x="76793" y="18839"/>
                            <a:pt x="76793" y="18899"/>
                          </a:cubicBezTo>
                          <a:moveTo>
                            <a:pt x="57295" y="2213"/>
                          </a:moveTo>
                          <a:lnTo>
                            <a:pt x="58492" y="2691"/>
                          </a:lnTo>
                          <a:cubicBezTo>
                            <a:pt x="58551" y="2572"/>
                            <a:pt x="58551" y="2512"/>
                            <a:pt x="58611" y="2392"/>
                          </a:cubicBezTo>
                          <a:cubicBezTo>
                            <a:pt x="58671" y="2273"/>
                            <a:pt x="58731" y="2213"/>
                            <a:pt x="58731" y="2093"/>
                          </a:cubicBezTo>
                          <a:cubicBezTo>
                            <a:pt x="58791" y="1973"/>
                            <a:pt x="58850" y="1914"/>
                            <a:pt x="58850" y="1794"/>
                          </a:cubicBezTo>
                          <a:cubicBezTo>
                            <a:pt x="58910" y="1674"/>
                            <a:pt x="58970" y="1615"/>
                            <a:pt x="58970" y="1495"/>
                          </a:cubicBezTo>
                          <a:lnTo>
                            <a:pt x="56996" y="718"/>
                          </a:lnTo>
                          <a:cubicBezTo>
                            <a:pt x="57056" y="837"/>
                            <a:pt x="57056" y="957"/>
                            <a:pt x="57116" y="1076"/>
                          </a:cubicBezTo>
                          <a:cubicBezTo>
                            <a:pt x="57176" y="1196"/>
                            <a:pt x="57176" y="1316"/>
                            <a:pt x="57176" y="1435"/>
                          </a:cubicBezTo>
                          <a:cubicBezTo>
                            <a:pt x="57176" y="1555"/>
                            <a:pt x="57176" y="1674"/>
                            <a:pt x="57236" y="1794"/>
                          </a:cubicBezTo>
                          <a:cubicBezTo>
                            <a:pt x="57295" y="1973"/>
                            <a:pt x="57295" y="2093"/>
                            <a:pt x="57295" y="2213"/>
                          </a:cubicBezTo>
                          <a:moveTo>
                            <a:pt x="74221" y="22128"/>
                          </a:moveTo>
                          <a:cubicBezTo>
                            <a:pt x="74221" y="22128"/>
                            <a:pt x="74280" y="22128"/>
                            <a:pt x="74221" y="22128"/>
                          </a:cubicBezTo>
                          <a:cubicBezTo>
                            <a:pt x="74280" y="22128"/>
                            <a:pt x="74280" y="22128"/>
                            <a:pt x="74221" y="22128"/>
                          </a:cubicBezTo>
                          <a:cubicBezTo>
                            <a:pt x="74280" y="22069"/>
                            <a:pt x="74280" y="22069"/>
                            <a:pt x="74280" y="22069"/>
                          </a:cubicBezTo>
                          <a:cubicBezTo>
                            <a:pt x="74280" y="22069"/>
                            <a:pt x="74280" y="22069"/>
                            <a:pt x="74280" y="22069"/>
                          </a:cubicBezTo>
                          <a:cubicBezTo>
                            <a:pt x="74580" y="21889"/>
                            <a:pt x="74819" y="21710"/>
                            <a:pt x="74998" y="21471"/>
                          </a:cubicBezTo>
                          <a:cubicBezTo>
                            <a:pt x="75178" y="21231"/>
                            <a:pt x="75357" y="20933"/>
                            <a:pt x="75477" y="20693"/>
                          </a:cubicBezTo>
                          <a:cubicBezTo>
                            <a:pt x="75596" y="20454"/>
                            <a:pt x="75656" y="20095"/>
                            <a:pt x="75656" y="19796"/>
                          </a:cubicBezTo>
                          <a:cubicBezTo>
                            <a:pt x="75656" y="19497"/>
                            <a:pt x="75656" y="19198"/>
                            <a:pt x="75537" y="18899"/>
                          </a:cubicBezTo>
                          <a:lnTo>
                            <a:pt x="74221" y="22128"/>
                          </a:lnTo>
                          <a:moveTo>
                            <a:pt x="52750" y="4785"/>
                          </a:moveTo>
                          <a:lnTo>
                            <a:pt x="52870" y="4844"/>
                          </a:lnTo>
                          <a:cubicBezTo>
                            <a:pt x="52929" y="4844"/>
                            <a:pt x="53049" y="4904"/>
                            <a:pt x="53109" y="4904"/>
                          </a:cubicBezTo>
                          <a:cubicBezTo>
                            <a:pt x="53169" y="4904"/>
                            <a:pt x="53288" y="4904"/>
                            <a:pt x="53348" y="4964"/>
                          </a:cubicBezTo>
                          <a:cubicBezTo>
                            <a:pt x="53408" y="4964"/>
                            <a:pt x="53528" y="4964"/>
                            <a:pt x="53587" y="4964"/>
                          </a:cubicBezTo>
                          <a:cubicBezTo>
                            <a:pt x="53647" y="4964"/>
                            <a:pt x="53767" y="4964"/>
                            <a:pt x="53827" y="4904"/>
                          </a:cubicBezTo>
                          <a:lnTo>
                            <a:pt x="55322" y="1435"/>
                          </a:lnTo>
                          <a:lnTo>
                            <a:pt x="55979" y="1734"/>
                          </a:lnTo>
                          <a:cubicBezTo>
                            <a:pt x="55979" y="1674"/>
                            <a:pt x="55979" y="1615"/>
                            <a:pt x="55920" y="1555"/>
                          </a:cubicBezTo>
                          <a:cubicBezTo>
                            <a:pt x="55860" y="1495"/>
                            <a:pt x="55920" y="1435"/>
                            <a:pt x="55860" y="1375"/>
                          </a:cubicBezTo>
                          <a:cubicBezTo>
                            <a:pt x="55860" y="1316"/>
                            <a:pt x="55800" y="1256"/>
                            <a:pt x="55800" y="1256"/>
                          </a:cubicBezTo>
                          <a:cubicBezTo>
                            <a:pt x="55800" y="1256"/>
                            <a:pt x="55740" y="1136"/>
                            <a:pt x="55740" y="1136"/>
                          </a:cubicBezTo>
                          <a:cubicBezTo>
                            <a:pt x="55681" y="1076"/>
                            <a:pt x="55681" y="957"/>
                            <a:pt x="55621" y="897"/>
                          </a:cubicBezTo>
                          <a:cubicBezTo>
                            <a:pt x="55561" y="837"/>
                            <a:pt x="55561" y="778"/>
                            <a:pt x="55501" y="718"/>
                          </a:cubicBezTo>
                          <a:cubicBezTo>
                            <a:pt x="55441" y="658"/>
                            <a:pt x="55382" y="598"/>
                            <a:pt x="55322" y="538"/>
                          </a:cubicBezTo>
                          <a:cubicBezTo>
                            <a:pt x="55262" y="478"/>
                            <a:pt x="55202" y="419"/>
                            <a:pt x="55142" y="359"/>
                          </a:cubicBezTo>
                          <a:cubicBezTo>
                            <a:pt x="55083" y="299"/>
                            <a:pt x="55083" y="299"/>
                            <a:pt x="55023" y="239"/>
                          </a:cubicBezTo>
                          <a:cubicBezTo>
                            <a:pt x="54963" y="179"/>
                            <a:pt x="54963" y="179"/>
                            <a:pt x="54903" y="119"/>
                          </a:cubicBezTo>
                          <a:cubicBezTo>
                            <a:pt x="54843" y="119"/>
                            <a:pt x="54783" y="60"/>
                            <a:pt x="54783" y="60"/>
                          </a:cubicBezTo>
                          <a:cubicBezTo>
                            <a:pt x="54724" y="60"/>
                            <a:pt x="54664" y="0"/>
                            <a:pt x="54664" y="0"/>
                          </a:cubicBezTo>
                          <a:lnTo>
                            <a:pt x="52750" y="4785"/>
                          </a:lnTo>
                          <a:moveTo>
                            <a:pt x="72965" y="25059"/>
                          </a:moveTo>
                          <a:cubicBezTo>
                            <a:pt x="73085" y="24999"/>
                            <a:pt x="73204" y="24940"/>
                            <a:pt x="73324" y="24880"/>
                          </a:cubicBezTo>
                          <a:cubicBezTo>
                            <a:pt x="73443" y="24820"/>
                            <a:pt x="73563" y="24760"/>
                            <a:pt x="73683" y="24700"/>
                          </a:cubicBezTo>
                          <a:cubicBezTo>
                            <a:pt x="73802" y="24641"/>
                            <a:pt x="73922" y="24581"/>
                            <a:pt x="74041" y="24521"/>
                          </a:cubicBezTo>
                          <a:cubicBezTo>
                            <a:pt x="74161" y="24461"/>
                            <a:pt x="74280" y="24401"/>
                            <a:pt x="74400" y="24342"/>
                          </a:cubicBezTo>
                          <a:lnTo>
                            <a:pt x="74998" y="23026"/>
                          </a:lnTo>
                          <a:cubicBezTo>
                            <a:pt x="74998" y="23026"/>
                            <a:pt x="74939" y="23026"/>
                            <a:pt x="74939" y="23085"/>
                          </a:cubicBezTo>
                          <a:cubicBezTo>
                            <a:pt x="74939" y="23085"/>
                            <a:pt x="74879" y="23085"/>
                            <a:pt x="74879" y="23145"/>
                          </a:cubicBezTo>
                          <a:cubicBezTo>
                            <a:pt x="74879" y="23145"/>
                            <a:pt x="74819" y="23145"/>
                            <a:pt x="74819" y="23205"/>
                          </a:cubicBezTo>
                          <a:cubicBezTo>
                            <a:pt x="74819" y="23205"/>
                            <a:pt x="74759" y="23205"/>
                            <a:pt x="74759" y="23265"/>
                          </a:cubicBezTo>
                          <a:cubicBezTo>
                            <a:pt x="74639" y="23325"/>
                            <a:pt x="74580" y="23384"/>
                            <a:pt x="74460" y="23384"/>
                          </a:cubicBezTo>
                          <a:cubicBezTo>
                            <a:pt x="74340" y="23444"/>
                            <a:pt x="74280" y="23444"/>
                            <a:pt x="74161" y="23504"/>
                          </a:cubicBezTo>
                          <a:cubicBezTo>
                            <a:pt x="74041" y="23564"/>
                            <a:pt x="73982" y="23564"/>
                            <a:pt x="73862" y="23624"/>
                          </a:cubicBezTo>
                          <a:cubicBezTo>
                            <a:pt x="73742" y="23624"/>
                            <a:pt x="73683" y="23683"/>
                            <a:pt x="73563" y="23683"/>
                          </a:cubicBezTo>
                          <a:lnTo>
                            <a:pt x="72965" y="25059"/>
                          </a:lnTo>
                          <a:moveTo>
                            <a:pt x="70812" y="30083"/>
                          </a:moveTo>
                          <a:cubicBezTo>
                            <a:pt x="70931" y="30023"/>
                            <a:pt x="71051" y="30023"/>
                            <a:pt x="71171" y="29963"/>
                          </a:cubicBezTo>
                          <a:cubicBezTo>
                            <a:pt x="71290" y="29904"/>
                            <a:pt x="71410" y="29904"/>
                            <a:pt x="71530" y="29844"/>
                          </a:cubicBezTo>
                          <a:cubicBezTo>
                            <a:pt x="71649" y="29784"/>
                            <a:pt x="71769" y="29784"/>
                            <a:pt x="71888" y="29724"/>
                          </a:cubicBezTo>
                          <a:cubicBezTo>
                            <a:pt x="72008" y="29664"/>
                            <a:pt x="72128" y="29664"/>
                            <a:pt x="72247" y="29604"/>
                          </a:cubicBezTo>
                          <a:lnTo>
                            <a:pt x="73683" y="26315"/>
                          </a:lnTo>
                          <a:cubicBezTo>
                            <a:pt x="73563" y="26375"/>
                            <a:pt x="73443" y="26435"/>
                            <a:pt x="73324" y="26495"/>
                          </a:cubicBezTo>
                          <a:cubicBezTo>
                            <a:pt x="73204" y="26554"/>
                            <a:pt x="73085" y="26614"/>
                            <a:pt x="72965" y="26674"/>
                          </a:cubicBezTo>
                          <a:cubicBezTo>
                            <a:pt x="72845" y="26734"/>
                            <a:pt x="72725" y="26794"/>
                            <a:pt x="72606" y="26794"/>
                          </a:cubicBezTo>
                          <a:cubicBezTo>
                            <a:pt x="72486" y="26853"/>
                            <a:pt x="72367" y="26913"/>
                            <a:pt x="72247" y="26913"/>
                          </a:cubicBezTo>
                          <a:lnTo>
                            <a:pt x="70812" y="30083"/>
                          </a:lnTo>
                          <a:moveTo>
                            <a:pt x="49521" y="15251"/>
                          </a:moveTo>
                          <a:lnTo>
                            <a:pt x="53408" y="6160"/>
                          </a:lnTo>
                          <a:cubicBezTo>
                            <a:pt x="53348" y="6160"/>
                            <a:pt x="53229" y="6160"/>
                            <a:pt x="53169" y="6160"/>
                          </a:cubicBezTo>
                          <a:cubicBezTo>
                            <a:pt x="53109" y="6160"/>
                            <a:pt x="52989" y="6160"/>
                            <a:pt x="52929" y="6160"/>
                          </a:cubicBezTo>
                          <a:cubicBezTo>
                            <a:pt x="52870" y="6160"/>
                            <a:pt x="52750" y="6160"/>
                            <a:pt x="52690" y="6100"/>
                          </a:cubicBezTo>
                          <a:cubicBezTo>
                            <a:pt x="52630" y="6100"/>
                            <a:pt x="52511" y="6041"/>
                            <a:pt x="52451" y="6041"/>
                          </a:cubicBezTo>
                          <a:cubicBezTo>
                            <a:pt x="52451" y="6041"/>
                            <a:pt x="52391" y="6041"/>
                            <a:pt x="52391" y="6041"/>
                          </a:cubicBezTo>
                          <a:cubicBezTo>
                            <a:pt x="52391" y="6041"/>
                            <a:pt x="52331" y="6041"/>
                            <a:pt x="52331" y="6041"/>
                          </a:cubicBezTo>
                          <a:cubicBezTo>
                            <a:pt x="52331" y="6041"/>
                            <a:pt x="52271" y="6041"/>
                            <a:pt x="52271" y="6041"/>
                          </a:cubicBezTo>
                          <a:cubicBezTo>
                            <a:pt x="52271" y="6041"/>
                            <a:pt x="52212" y="6041"/>
                            <a:pt x="52212" y="6041"/>
                          </a:cubicBezTo>
                          <a:lnTo>
                            <a:pt x="48982" y="13636"/>
                          </a:lnTo>
                          <a:cubicBezTo>
                            <a:pt x="49042" y="13756"/>
                            <a:pt x="49042" y="13935"/>
                            <a:pt x="49102" y="14055"/>
                          </a:cubicBezTo>
                          <a:cubicBezTo>
                            <a:pt x="49162" y="14174"/>
                            <a:pt x="49162" y="14354"/>
                            <a:pt x="49221" y="14473"/>
                          </a:cubicBezTo>
                          <a:cubicBezTo>
                            <a:pt x="49281" y="14593"/>
                            <a:pt x="49281" y="14772"/>
                            <a:pt x="49341" y="14892"/>
                          </a:cubicBezTo>
                          <a:cubicBezTo>
                            <a:pt x="49401" y="15012"/>
                            <a:pt x="49461" y="15131"/>
                            <a:pt x="49521" y="15251"/>
                          </a:cubicBezTo>
                          <a:moveTo>
                            <a:pt x="47307" y="20454"/>
                          </a:moveTo>
                          <a:lnTo>
                            <a:pt x="48683" y="17284"/>
                          </a:lnTo>
                          <a:cubicBezTo>
                            <a:pt x="48623" y="17165"/>
                            <a:pt x="48563" y="17045"/>
                            <a:pt x="48504" y="16925"/>
                          </a:cubicBezTo>
                          <a:cubicBezTo>
                            <a:pt x="48444" y="16806"/>
                            <a:pt x="48384" y="16686"/>
                            <a:pt x="48324" y="16566"/>
                          </a:cubicBezTo>
                          <a:cubicBezTo>
                            <a:pt x="48264" y="16447"/>
                            <a:pt x="48205" y="16327"/>
                            <a:pt x="48205" y="16208"/>
                          </a:cubicBezTo>
                          <a:cubicBezTo>
                            <a:pt x="48145" y="16088"/>
                            <a:pt x="48085" y="15968"/>
                            <a:pt x="48085" y="15849"/>
                          </a:cubicBezTo>
                          <a:lnTo>
                            <a:pt x="46650" y="19198"/>
                          </a:lnTo>
                          <a:cubicBezTo>
                            <a:pt x="46709" y="19318"/>
                            <a:pt x="46769" y="19437"/>
                            <a:pt x="46829" y="19557"/>
                          </a:cubicBezTo>
                          <a:cubicBezTo>
                            <a:pt x="46889" y="19676"/>
                            <a:pt x="46949" y="19796"/>
                            <a:pt x="47008" y="19916"/>
                          </a:cubicBezTo>
                          <a:cubicBezTo>
                            <a:pt x="47068" y="20035"/>
                            <a:pt x="47128" y="20155"/>
                            <a:pt x="47188" y="20274"/>
                          </a:cubicBezTo>
                          <a:cubicBezTo>
                            <a:pt x="47188" y="20215"/>
                            <a:pt x="47248" y="20334"/>
                            <a:pt x="47307" y="20454"/>
                          </a:cubicBezTo>
                          <a:moveTo>
                            <a:pt x="27571" y="133490"/>
                          </a:moveTo>
                          <a:lnTo>
                            <a:pt x="71589" y="31040"/>
                          </a:lnTo>
                          <a:cubicBezTo>
                            <a:pt x="71470" y="31099"/>
                            <a:pt x="71350" y="31099"/>
                            <a:pt x="71230" y="31159"/>
                          </a:cubicBezTo>
                          <a:cubicBezTo>
                            <a:pt x="71111" y="31219"/>
                            <a:pt x="70991" y="31219"/>
                            <a:pt x="70871" y="31279"/>
                          </a:cubicBezTo>
                          <a:cubicBezTo>
                            <a:pt x="70752" y="31339"/>
                            <a:pt x="70632" y="31339"/>
                            <a:pt x="70513" y="31339"/>
                          </a:cubicBezTo>
                          <a:cubicBezTo>
                            <a:pt x="70393" y="31339"/>
                            <a:pt x="70273" y="31399"/>
                            <a:pt x="70154" y="31399"/>
                          </a:cubicBezTo>
                          <a:lnTo>
                            <a:pt x="26794" y="132353"/>
                          </a:lnTo>
                          <a:cubicBezTo>
                            <a:pt x="26853" y="132473"/>
                            <a:pt x="26913" y="132533"/>
                            <a:pt x="26973" y="132652"/>
                          </a:cubicBezTo>
                          <a:cubicBezTo>
                            <a:pt x="27033" y="132772"/>
                            <a:pt x="27093" y="132832"/>
                            <a:pt x="27152" y="132951"/>
                          </a:cubicBezTo>
                          <a:cubicBezTo>
                            <a:pt x="27212" y="133071"/>
                            <a:pt x="27272" y="133131"/>
                            <a:pt x="27332" y="133250"/>
                          </a:cubicBezTo>
                          <a:cubicBezTo>
                            <a:pt x="27392" y="133370"/>
                            <a:pt x="27511" y="133430"/>
                            <a:pt x="27571" y="133490"/>
                          </a:cubicBezTo>
                          <a:moveTo>
                            <a:pt x="25119" y="137138"/>
                          </a:moveTo>
                          <a:lnTo>
                            <a:pt x="25358" y="137198"/>
                          </a:lnTo>
                          <a:lnTo>
                            <a:pt x="25897" y="137377"/>
                          </a:lnTo>
                          <a:lnTo>
                            <a:pt x="26973" y="134925"/>
                          </a:lnTo>
                          <a:cubicBezTo>
                            <a:pt x="26913" y="134805"/>
                            <a:pt x="26853" y="134745"/>
                            <a:pt x="26794" y="134626"/>
                          </a:cubicBezTo>
                          <a:cubicBezTo>
                            <a:pt x="26734" y="134506"/>
                            <a:pt x="26674" y="134447"/>
                            <a:pt x="26614" y="134327"/>
                          </a:cubicBezTo>
                          <a:cubicBezTo>
                            <a:pt x="26554" y="134207"/>
                            <a:pt x="26495" y="134148"/>
                            <a:pt x="26435" y="134028"/>
                          </a:cubicBezTo>
                          <a:cubicBezTo>
                            <a:pt x="26375" y="133908"/>
                            <a:pt x="26315" y="133849"/>
                            <a:pt x="26255" y="133729"/>
                          </a:cubicBezTo>
                          <a:lnTo>
                            <a:pt x="25298" y="136002"/>
                          </a:lnTo>
                          <a:lnTo>
                            <a:pt x="24342" y="135703"/>
                          </a:lnTo>
                          <a:cubicBezTo>
                            <a:pt x="24401" y="135822"/>
                            <a:pt x="24461" y="135942"/>
                            <a:pt x="24521" y="136061"/>
                          </a:cubicBezTo>
                          <a:cubicBezTo>
                            <a:pt x="24581" y="136181"/>
                            <a:pt x="24641" y="136301"/>
                            <a:pt x="24700" y="136420"/>
                          </a:cubicBezTo>
                          <a:cubicBezTo>
                            <a:pt x="24760" y="136540"/>
                            <a:pt x="24820" y="136659"/>
                            <a:pt x="24880" y="136779"/>
                          </a:cubicBezTo>
                          <a:cubicBezTo>
                            <a:pt x="24940" y="136898"/>
                            <a:pt x="25119" y="137018"/>
                            <a:pt x="25119" y="137138"/>
                          </a:cubicBezTo>
                          <a:moveTo>
                            <a:pt x="19497" y="134447"/>
                          </a:moveTo>
                          <a:cubicBezTo>
                            <a:pt x="19617" y="134447"/>
                            <a:pt x="19736" y="134506"/>
                            <a:pt x="19856" y="134506"/>
                          </a:cubicBezTo>
                          <a:cubicBezTo>
                            <a:pt x="19976" y="134506"/>
                            <a:pt x="20095" y="134566"/>
                            <a:pt x="20215" y="134626"/>
                          </a:cubicBezTo>
                          <a:cubicBezTo>
                            <a:pt x="20335" y="134686"/>
                            <a:pt x="20454" y="134745"/>
                            <a:pt x="20574" y="134805"/>
                          </a:cubicBezTo>
                          <a:cubicBezTo>
                            <a:pt x="20693" y="134865"/>
                            <a:pt x="20753" y="134925"/>
                            <a:pt x="20873" y="134985"/>
                          </a:cubicBezTo>
                          <a:lnTo>
                            <a:pt x="21471" y="135583"/>
                          </a:lnTo>
                          <a:cubicBezTo>
                            <a:pt x="21471" y="135643"/>
                            <a:pt x="21530" y="135643"/>
                            <a:pt x="21530" y="135703"/>
                          </a:cubicBezTo>
                          <a:cubicBezTo>
                            <a:pt x="21530" y="135762"/>
                            <a:pt x="21590" y="135762"/>
                            <a:pt x="21590" y="135822"/>
                          </a:cubicBezTo>
                          <a:cubicBezTo>
                            <a:pt x="21590" y="135882"/>
                            <a:pt x="21650" y="135882"/>
                            <a:pt x="21650" y="135942"/>
                          </a:cubicBezTo>
                          <a:cubicBezTo>
                            <a:pt x="21650" y="136002"/>
                            <a:pt x="21710" y="136002"/>
                            <a:pt x="21710" y="136061"/>
                          </a:cubicBezTo>
                          <a:lnTo>
                            <a:pt x="23145" y="136540"/>
                          </a:lnTo>
                          <a:cubicBezTo>
                            <a:pt x="23086" y="136420"/>
                            <a:pt x="22966" y="136241"/>
                            <a:pt x="22906" y="136121"/>
                          </a:cubicBezTo>
                          <a:cubicBezTo>
                            <a:pt x="22846" y="136002"/>
                            <a:pt x="22727" y="135882"/>
                            <a:pt x="22667" y="135703"/>
                          </a:cubicBezTo>
                          <a:cubicBezTo>
                            <a:pt x="22607" y="135523"/>
                            <a:pt x="22488" y="135463"/>
                            <a:pt x="22428" y="135284"/>
                          </a:cubicBezTo>
                          <a:cubicBezTo>
                            <a:pt x="22368" y="135164"/>
                            <a:pt x="22248" y="135044"/>
                            <a:pt x="22129" y="134925"/>
                          </a:cubicBezTo>
                          <a:lnTo>
                            <a:pt x="19676" y="134088"/>
                          </a:lnTo>
                          <a:lnTo>
                            <a:pt x="19497" y="134447"/>
                          </a:lnTo>
                          <a:moveTo>
                            <a:pt x="1794" y="124399"/>
                          </a:moveTo>
                          <a:cubicBezTo>
                            <a:pt x="1914" y="124339"/>
                            <a:pt x="2034" y="124339"/>
                            <a:pt x="2153" y="124279"/>
                          </a:cubicBezTo>
                          <a:cubicBezTo>
                            <a:pt x="2273" y="124219"/>
                            <a:pt x="2392" y="124219"/>
                            <a:pt x="2512" y="124160"/>
                          </a:cubicBezTo>
                          <a:cubicBezTo>
                            <a:pt x="2632" y="124100"/>
                            <a:pt x="2751" y="124100"/>
                            <a:pt x="2871" y="124040"/>
                          </a:cubicBezTo>
                          <a:cubicBezTo>
                            <a:pt x="2990" y="123980"/>
                            <a:pt x="3110" y="123980"/>
                            <a:pt x="3229" y="123920"/>
                          </a:cubicBezTo>
                          <a:lnTo>
                            <a:pt x="46769" y="21770"/>
                          </a:lnTo>
                          <a:cubicBezTo>
                            <a:pt x="46709" y="21650"/>
                            <a:pt x="46650" y="21590"/>
                            <a:pt x="46590" y="21471"/>
                          </a:cubicBezTo>
                          <a:cubicBezTo>
                            <a:pt x="46530" y="21351"/>
                            <a:pt x="46470" y="21231"/>
                            <a:pt x="46410" y="21172"/>
                          </a:cubicBezTo>
                          <a:cubicBezTo>
                            <a:pt x="46351" y="21052"/>
                            <a:pt x="46291" y="20933"/>
                            <a:pt x="46231" y="20873"/>
                          </a:cubicBezTo>
                          <a:cubicBezTo>
                            <a:pt x="46171" y="20753"/>
                            <a:pt x="46112" y="20633"/>
                            <a:pt x="46052" y="20574"/>
                          </a:cubicBezTo>
                          <a:lnTo>
                            <a:pt x="1794" y="124399"/>
                          </a:lnTo>
                          <a:moveTo>
                            <a:pt x="12739" y="132951"/>
                          </a:moveTo>
                          <a:lnTo>
                            <a:pt x="13218" y="133131"/>
                          </a:lnTo>
                          <a:lnTo>
                            <a:pt x="12739" y="132951"/>
                          </a:lnTo>
                          <a:lnTo>
                            <a:pt x="12739" y="132951"/>
                          </a:lnTo>
                          <a:cubicBezTo>
                            <a:pt x="12739" y="132951"/>
                            <a:pt x="12739" y="132951"/>
                            <a:pt x="12739" y="132951"/>
                          </a:cubicBezTo>
                          <a:lnTo>
                            <a:pt x="12739" y="132951"/>
                          </a:lnTo>
                          <a:lnTo>
                            <a:pt x="12739" y="132951"/>
                          </a:lnTo>
                          <a:moveTo>
                            <a:pt x="7715" y="131277"/>
                          </a:moveTo>
                          <a:lnTo>
                            <a:pt x="11662" y="132592"/>
                          </a:lnTo>
                          <a:cubicBezTo>
                            <a:pt x="11662" y="132592"/>
                            <a:pt x="11662" y="132592"/>
                            <a:pt x="11662" y="132592"/>
                          </a:cubicBezTo>
                          <a:lnTo>
                            <a:pt x="11662" y="132592"/>
                          </a:lnTo>
                          <a:cubicBezTo>
                            <a:pt x="11662" y="132592"/>
                            <a:pt x="11662" y="132592"/>
                            <a:pt x="11662" y="132592"/>
                          </a:cubicBezTo>
                          <a:cubicBezTo>
                            <a:pt x="11662" y="132592"/>
                            <a:pt x="11662" y="132592"/>
                            <a:pt x="11662" y="132592"/>
                          </a:cubicBezTo>
                          <a:lnTo>
                            <a:pt x="9450" y="131875"/>
                          </a:lnTo>
                          <a:lnTo>
                            <a:pt x="9689" y="131277"/>
                          </a:lnTo>
                          <a:lnTo>
                            <a:pt x="9928" y="130738"/>
                          </a:lnTo>
                          <a:lnTo>
                            <a:pt x="9210" y="130499"/>
                          </a:lnTo>
                          <a:cubicBezTo>
                            <a:pt x="9091" y="130499"/>
                            <a:pt x="8971" y="130559"/>
                            <a:pt x="8911" y="130559"/>
                          </a:cubicBezTo>
                          <a:cubicBezTo>
                            <a:pt x="8851" y="130559"/>
                            <a:pt x="8672" y="130619"/>
                            <a:pt x="8612" y="130679"/>
                          </a:cubicBezTo>
                          <a:cubicBezTo>
                            <a:pt x="8493" y="130738"/>
                            <a:pt x="8433" y="130798"/>
                            <a:pt x="8313" y="130858"/>
                          </a:cubicBezTo>
                          <a:cubicBezTo>
                            <a:pt x="8194" y="130918"/>
                            <a:pt x="8134" y="130978"/>
                            <a:pt x="8014" y="131097"/>
                          </a:cubicBezTo>
                          <a:cubicBezTo>
                            <a:pt x="8014" y="131097"/>
                            <a:pt x="7954" y="131157"/>
                            <a:pt x="7954" y="131157"/>
                          </a:cubicBezTo>
                          <a:cubicBezTo>
                            <a:pt x="7954" y="131157"/>
                            <a:pt x="7895" y="131217"/>
                            <a:pt x="7895" y="131217"/>
                          </a:cubicBezTo>
                          <a:cubicBezTo>
                            <a:pt x="7895" y="131217"/>
                            <a:pt x="7775" y="131217"/>
                            <a:pt x="7715" y="131277"/>
                          </a:cubicBezTo>
                          <a:cubicBezTo>
                            <a:pt x="7775" y="131277"/>
                            <a:pt x="7775" y="131277"/>
                            <a:pt x="7715" y="131277"/>
                          </a:cubicBezTo>
                          <a:moveTo>
                            <a:pt x="2392" y="129482"/>
                          </a:moveTo>
                          <a:lnTo>
                            <a:pt x="6639" y="130918"/>
                          </a:lnTo>
                          <a:cubicBezTo>
                            <a:pt x="6698" y="130858"/>
                            <a:pt x="6758" y="130798"/>
                            <a:pt x="6818" y="130738"/>
                          </a:cubicBezTo>
                          <a:cubicBezTo>
                            <a:pt x="6878" y="130679"/>
                            <a:pt x="6937" y="130619"/>
                            <a:pt x="6997" y="130559"/>
                          </a:cubicBezTo>
                          <a:cubicBezTo>
                            <a:pt x="7057" y="130499"/>
                            <a:pt x="7117" y="130440"/>
                            <a:pt x="7177" y="130380"/>
                          </a:cubicBezTo>
                          <a:cubicBezTo>
                            <a:pt x="7237" y="130320"/>
                            <a:pt x="7297" y="130260"/>
                            <a:pt x="7356" y="130200"/>
                          </a:cubicBezTo>
                          <a:cubicBezTo>
                            <a:pt x="7356" y="130200"/>
                            <a:pt x="7416" y="130141"/>
                            <a:pt x="7416" y="130141"/>
                          </a:cubicBezTo>
                          <a:cubicBezTo>
                            <a:pt x="7416" y="130141"/>
                            <a:pt x="7476" y="130081"/>
                            <a:pt x="7476" y="130081"/>
                          </a:cubicBezTo>
                          <a:cubicBezTo>
                            <a:pt x="7476" y="130081"/>
                            <a:pt x="7536" y="130021"/>
                            <a:pt x="7536" y="130021"/>
                          </a:cubicBezTo>
                          <a:cubicBezTo>
                            <a:pt x="7536" y="130021"/>
                            <a:pt x="7596" y="129961"/>
                            <a:pt x="7596" y="129961"/>
                          </a:cubicBezTo>
                          <a:lnTo>
                            <a:pt x="4366" y="128884"/>
                          </a:lnTo>
                          <a:cubicBezTo>
                            <a:pt x="4187" y="128944"/>
                            <a:pt x="4007" y="128944"/>
                            <a:pt x="3828" y="129004"/>
                          </a:cubicBezTo>
                          <a:cubicBezTo>
                            <a:pt x="3648" y="129064"/>
                            <a:pt x="3469" y="129124"/>
                            <a:pt x="3289" y="129124"/>
                          </a:cubicBezTo>
                          <a:cubicBezTo>
                            <a:pt x="3110" y="129183"/>
                            <a:pt x="2930" y="129243"/>
                            <a:pt x="2811" y="129303"/>
                          </a:cubicBezTo>
                          <a:cubicBezTo>
                            <a:pt x="2691" y="129363"/>
                            <a:pt x="2512" y="129423"/>
                            <a:pt x="2392" y="129482"/>
                          </a:cubicBezTo>
                          <a:moveTo>
                            <a:pt x="0" y="128705"/>
                          </a:moveTo>
                          <a:lnTo>
                            <a:pt x="299" y="128825"/>
                          </a:lnTo>
                          <a:cubicBezTo>
                            <a:pt x="419" y="128765"/>
                            <a:pt x="598" y="128705"/>
                            <a:pt x="718" y="128645"/>
                          </a:cubicBezTo>
                          <a:cubicBezTo>
                            <a:pt x="837" y="128586"/>
                            <a:pt x="1017" y="128526"/>
                            <a:pt x="1136" y="128466"/>
                          </a:cubicBezTo>
                          <a:cubicBezTo>
                            <a:pt x="1256" y="128406"/>
                            <a:pt x="1435" y="128346"/>
                            <a:pt x="1555" y="128286"/>
                          </a:cubicBezTo>
                          <a:cubicBezTo>
                            <a:pt x="1675" y="128227"/>
                            <a:pt x="1854" y="128167"/>
                            <a:pt x="1974" y="128107"/>
                          </a:cubicBezTo>
                          <a:lnTo>
                            <a:pt x="1435" y="127927"/>
                          </a:lnTo>
                          <a:lnTo>
                            <a:pt x="2512" y="125356"/>
                          </a:lnTo>
                          <a:cubicBezTo>
                            <a:pt x="2392" y="125416"/>
                            <a:pt x="2273" y="125416"/>
                            <a:pt x="2153" y="125475"/>
                          </a:cubicBezTo>
                          <a:cubicBezTo>
                            <a:pt x="2034" y="125535"/>
                            <a:pt x="1914" y="125535"/>
                            <a:pt x="1794" y="125595"/>
                          </a:cubicBezTo>
                          <a:cubicBezTo>
                            <a:pt x="1675" y="125655"/>
                            <a:pt x="1555" y="125655"/>
                            <a:pt x="1435" y="125715"/>
                          </a:cubicBezTo>
                          <a:cubicBezTo>
                            <a:pt x="1316" y="125774"/>
                            <a:pt x="1196" y="125774"/>
                            <a:pt x="1076" y="125834"/>
                          </a:cubicBezTo>
                          <a:lnTo>
                            <a:pt x="120" y="128107"/>
                          </a:lnTo>
                          <a:lnTo>
                            <a:pt x="0" y="128705"/>
                          </a:lnTo>
                        </a:path>
                      </a:pathLst>
                    </a:custGeom>
                    <a:noFill/>
                    <a:ln w="6350" cap="flat">
                      <a:solidFill>
                        <a:schemeClr val="bg1">
                          <a:alpha val="80000"/>
                        </a:schemeClr>
                      </a:solidFill>
                      <a:prstDash val="solid"/>
                      <a:miter/>
                    </a:ln>
                  </p:spPr>
                  <p:txBody>
                    <a:bodyPr rtlCol="0" anchor="ctr"/>
                    <a:lstStyle/>
                    <a:p>
                      <a:endParaRPr lang="en-GB"/>
                    </a:p>
                  </p:txBody>
                </p:sp>
                <p:sp>
                  <p:nvSpPr>
                    <p:cNvPr id="7438" name="Vrije vorm: vorm 7437">
                      <a:extLst>
                        <a:ext uri="{FF2B5EF4-FFF2-40B4-BE49-F238E27FC236}">
                          <a16:creationId xmlns:a16="http://schemas.microsoft.com/office/drawing/2014/main" id="{62EFC46B-0690-45B3-A67F-D904DB61AE3F}"/>
                        </a:ext>
                      </a:extLst>
                    </p:cNvPr>
                    <p:cNvSpPr/>
                    <p:nvPr/>
                  </p:nvSpPr>
                  <p:spPr>
                    <a:xfrm>
                      <a:off x="5001937" y="4955187"/>
                      <a:ext cx="64412" cy="130977"/>
                    </a:xfrm>
                    <a:custGeom>
                      <a:avLst/>
                      <a:gdLst>
                        <a:gd name="connsiteX0" fmla="*/ 59986 w 64412"/>
                        <a:gd name="connsiteY0" fmla="*/ 11423 h 130977"/>
                        <a:gd name="connsiteX1" fmla="*/ 60405 w 64412"/>
                        <a:gd name="connsiteY1" fmla="*/ 11244 h 130977"/>
                        <a:gd name="connsiteX2" fmla="*/ 60764 w 64412"/>
                        <a:gd name="connsiteY2" fmla="*/ 11064 h 130977"/>
                        <a:gd name="connsiteX3" fmla="*/ 61123 w 64412"/>
                        <a:gd name="connsiteY3" fmla="*/ 10885 h 130977"/>
                        <a:gd name="connsiteX4" fmla="*/ 61482 w 64412"/>
                        <a:gd name="connsiteY4" fmla="*/ 10645 h 130977"/>
                        <a:gd name="connsiteX5" fmla="*/ 63934 w 64412"/>
                        <a:gd name="connsiteY5" fmla="*/ 4964 h 130977"/>
                        <a:gd name="connsiteX6" fmla="*/ 64173 w 64412"/>
                        <a:gd name="connsiteY6" fmla="*/ 4366 h 130977"/>
                        <a:gd name="connsiteX7" fmla="*/ 64412 w 64412"/>
                        <a:gd name="connsiteY7" fmla="*/ 3768 h 130977"/>
                        <a:gd name="connsiteX8" fmla="*/ 64233 w 64412"/>
                        <a:gd name="connsiteY8" fmla="*/ 3708 h 130977"/>
                        <a:gd name="connsiteX9" fmla="*/ 64173 w 64412"/>
                        <a:gd name="connsiteY9" fmla="*/ 3888 h 130977"/>
                        <a:gd name="connsiteX10" fmla="*/ 64113 w 64412"/>
                        <a:gd name="connsiteY10" fmla="*/ 4067 h 130977"/>
                        <a:gd name="connsiteX11" fmla="*/ 64053 w 64412"/>
                        <a:gd name="connsiteY11" fmla="*/ 4246 h 130977"/>
                        <a:gd name="connsiteX12" fmla="*/ 63994 w 64412"/>
                        <a:gd name="connsiteY12" fmla="*/ 4426 h 130977"/>
                        <a:gd name="connsiteX13" fmla="*/ 63515 w 64412"/>
                        <a:gd name="connsiteY13" fmla="*/ 5562 h 130977"/>
                        <a:gd name="connsiteX14" fmla="*/ 62917 w 64412"/>
                        <a:gd name="connsiteY14" fmla="*/ 6579 h 130977"/>
                        <a:gd name="connsiteX15" fmla="*/ 62199 w 64412"/>
                        <a:gd name="connsiteY15" fmla="*/ 7476 h 130977"/>
                        <a:gd name="connsiteX16" fmla="*/ 61362 w 64412"/>
                        <a:gd name="connsiteY16" fmla="*/ 8253 h 130977"/>
                        <a:gd name="connsiteX17" fmla="*/ 59986 w 64412"/>
                        <a:gd name="connsiteY17" fmla="*/ 11423 h 130977"/>
                        <a:gd name="connsiteX18" fmla="*/ 53468 w 64412"/>
                        <a:gd name="connsiteY18" fmla="*/ 5921 h 130977"/>
                        <a:gd name="connsiteX19" fmla="*/ 55322 w 64412"/>
                        <a:gd name="connsiteY19" fmla="*/ 1615 h 130977"/>
                        <a:gd name="connsiteX20" fmla="*/ 57774 w 64412"/>
                        <a:gd name="connsiteY20" fmla="*/ 2572 h 130977"/>
                        <a:gd name="connsiteX21" fmla="*/ 62618 w 64412"/>
                        <a:gd name="connsiteY21" fmla="*/ 4486 h 130977"/>
                        <a:gd name="connsiteX22" fmla="*/ 62618 w 64412"/>
                        <a:gd name="connsiteY22" fmla="*/ 4426 h 130977"/>
                        <a:gd name="connsiteX23" fmla="*/ 62618 w 64412"/>
                        <a:gd name="connsiteY23" fmla="*/ 4366 h 130977"/>
                        <a:gd name="connsiteX24" fmla="*/ 62618 w 64412"/>
                        <a:gd name="connsiteY24" fmla="*/ 4306 h 130977"/>
                        <a:gd name="connsiteX25" fmla="*/ 62618 w 64412"/>
                        <a:gd name="connsiteY25" fmla="*/ 4246 h 130977"/>
                        <a:gd name="connsiteX26" fmla="*/ 62678 w 64412"/>
                        <a:gd name="connsiteY26" fmla="*/ 4007 h 130977"/>
                        <a:gd name="connsiteX27" fmla="*/ 62738 w 64412"/>
                        <a:gd name="connsiteY27" fmla="*/ 3768 h 130977"/>
                        <a:gd name="connsiteX28" fmla="*/ 62798 w 64412"/>
                        <a:gd name="connsiteY28" fmla="*/ 3528 h 130977"/>
                        <a:gd name="connsiteX29" fmla="*/ 62857 w 64412"/>
                        <a:gd name="connsiteY29" fmla="*/ 3289 h 130977"/>
                        <a:gd name="connsiteX30" fmla="*/ 54723 w 64412"/>
                        <a:gd name="connsiteY30" fmla="*/ 0 h 130977"/>
                        <a:gd name="connsiteX31" fmla="*/ 54245 w 64412"/>
                        <a:gd name="connsiteY31" fmla="*/ 1136 h 130977"/>
                        <a:gd name="connsiteX32" fmla="*/ 52869 w 64412"/>
                        <a:gd name="connsiteY32" fmla="*/ 4306 h 130977"/>
                        <a:gd name="connsiteX33" fmla="*/ 52929 w 64412"/>
                        <a:gd name="connsiteY33" fmla="*/ 4725 h 130977"/>
                        <a:gd name="connsiteX34" fmla="*/ 53049 w 64412"/>
                        <a:gd name="connsiteY34" fmla="*/ 5143 h 130977"/>
                        <a:gd name="connsiteX35" fmla="*/ 53169 w 64412"/>
                        <a:gd name="connsiteY35" fmla="*/ 5502 h 130977"/>
                        <a:gd name="connsiteX36" fmla="*/ 53468 w 64412"/>
                        <a:gd name="connsiteY36" fmla="*/ 5921 h 130977"/>
                        <a:gd name="connsiteX37" fmla="*/ 51793 w 64412"/>
                        <a:gd name="connsiteY37" fmla="*/ 9868 h 130977"/>
                        <a:gd name="connsiteX38" fmla="*/ 52750 w 64412"/>
                        <a:gd name="connsiteY38" fmla="*/ 7536 h 130977"/>
                        <a:gd name="connsiteX39" fmla="*/ 52570 w 64412"/>
                        <a:gd name="connsiteY39" fmla="*/ 7237 h 130977"/>
                        <a:gd name="connsiteX40" fmla="*/ 52391 w 64412"/>
                        <a:gd name="connsiteY40" fmla="*/ 6937 h 130977"/>
                        <a:gd name="connsiteX41" fmla="*/ 52212 w 64412"/>
                        <a:gd name="connsiteY41" fmla="*/ 6639 h 130977"/>
                        <a:gd name="connsiteX42" fmla="*/ 52032 w 64412"/>
                        <a:gd name="connsiteY42" fmla="*/ 6340 h 130977"/>
                        <a:gd name="connsiteX43" fmla="*/ 50956 w 64412"/>
                        <a:gd name="connsiteY43" fmla="*/ 8851 h 130977"/>
                        <a:gd name="connsiteX44" fmla="*/ 51135 w 64412"/>
                        <a:gd name="connsiteY44" fmla="*/ 9091 h 130977"/>
                        <a:gd name="connsiteX45" fmla="*/ 51314 w 64412"/>
                        <a:gd name="connsiteY45" fmla="*/ 9330 h 130977"/>
                        <a:gd name="connsiteX46" fmla="*/ 51494 w 64412"/>
                        <a:gd name="connsiteY46" fmla="*/ 9569 h 130977"/>
                        <a:gd name="connsiteX47" fmla="*/ 51793 w 64412"/>
                        <a:gd name="connsiteY47" fmla="*/ 9868 h 130977"/>
                        <a:gd name="connsiteX48" fmla="*/ 55023 w 64412"/>
                        <a:gd name="connsiteY48" fmla="*/ 23085 h 130977"/>
                        <a:gd name="connsiteX49" fmla="*/ 55322 w 64412"/>
                        <a:gd name="connsiteY49" fmla="*/ 23085 h 130977"/>
                        <a:gd name="connsiteX50" fmla="*/ 55621 w 64412"/>
                        <a:gd name="connsiteY50" fmla="*/ 23085 h 130977"/>
                        <a:gd name="connsiteX51" fmla="*/ 55920 w 64412"/>
                        <a:gd name="connsiteY51" fmla="*/ 23085 h 130977"/>
                        <a:gd name="connsiteX52" fmla="*/ 56219 w 64412"/>
                        <a:gd name="connsiteY52" fmla="*/ 23085 h 130977"/>
                        <a:gd name="connsiteX53" fmla="*/ 60645 w 64412"/>
                        <a:gd name="connsiteY53" fmla="*/ 12739 h 130977"/>
                        <a:gd name="connsiteX54" fmla="*/ 60285 w 64412"/>
                        <a:gd name="connsiteY54" fmla="*/ 12859 h 130977"/>
                        <a:gd name="connsiteX55" fmla="*/ 59927 w 64412"/>
                        <a:gd name="connsiteY55" fmla="*/ 12978 h 130977"/>
                        <a:gd name="connsiteX56" fmla="*/ 59568 w 64412"/>
                        <a:gd name="connsiteY56" fmla="*/ 13098 h 130977"/>
                        <a:gd name="connsiteX57" fmla="*/ 59209 w 64412"/>
                        <a:gd name="connsiteY57" fmla="*/ 13218 h 130977"/>
                        <a:gd name="connsiteX58" fmla="*/ 55023 w 64412"/>
                        <a:gd name="connsiteY58" fmla="*/ 23085 h 130977"/>
                        <a:gd name="connsiteX59" fmla="*/ 46291 w 64412"/>
                        <a:gd name="connsiteY59" fmla="*/ 20035 h 130977"/>
                        <a:gd name="connsiteX60" fmla="*/ 46530 w 64412"/>
                        <a:gd name="connsiteY60" fmla="*/ 20215 h 130977"/>
                        <a:gd name="connsiteX61" fmla="*/ 46769 w 64412"/>
                        <a:gd name="connsiteY61" fmla="*/ 20394 h 130977"/>
                        <a:gd name="connsiteX62" fmla="*/ 47008 w 64412"/>
                        <a:gd name="connsiteY62" fmla="*/ 20574 h 130977"/>
                        <a:gd name="connsiteX63" fmla="*/ 47247 w 64412"/>
                        <a:gd name="connsiteY63" fmla="*/ 20693 h 130977"/>
                        <a:gd name="connsiteX64" fmla="*/ 51195 w 64412"/>
                        <a:gd name="connsiteY64" fmla="*/ 11423 h 130977"/>
                        <a:gd name="connsiteX65" fmla="*/ 50956 w 64412"/>
                        <a:gd name="connsiteY65" fmla="*/ 11244 h 130977"/>
                        <a:gd name="connsiteX66" fmla="*/ 50716 w 64412"/>
                        <a:gd name="connsiteY66" fmla="*/ 11064 h 130977"/>
                        <a:gd name="connsiteX67" fmla="*/ 50537 w 64412"/>
                        <a:gd name="connsiteY67" fmla="*/ 10825 h 130977"/>
                        <a:gd name="connsiteX68" fmla="*/ 50358 w 64412"/>
                        <a:gd name="connsiteY68" fmla="*/ 10586 h 130977"/>
                        <a:gd name="connsiteX69" fmla="*/ 46291 w 64412"/>
                        <a:gd name="connsiteY69" fmla="*/ 20035 h 130977"/>
                        <a:gd name="connsiteX70" fmla="*/ 53288 w 64412"/>
                        <a:gd name="connsiteY70" fmla="*/ 27152 h 130977"/>
                        <a:gd name="connsiteX71" fmla="*/ 53587 w 64412"/>
                        <a:gd name="connsiteY71" fmla="*/ 27152 h 130977"/>
                        <a:gd name="connsiteX72" fmla="*/ 53886 w 64412"/>
                        <a:gd name="connsiteY72" fmla="*/ 27152 h 130977"/>
                        <a:gd name="connsiteX73" fmla="*/ 54185 w 64412"/>
                        <a:gd name="connsiteY73" fmla="*/ 27152 h 130977"/>
                        <a:gd name="connsiteX74" fmla="*/ 54484 w 64412"/>
                        <a:gd name="connsiteY74" fmla="*/ 27152 h 130977"/>
                        <a:gd name="connsiteX75" fmla="*/ 55621 w 64412"/>
                        <a:gd name="connsiteY75" fmla="*/ 24521 h 130977"/>
                        <a:gd name="connsiteX76" fmla="*/ 55322 w 64412"/>
                        <a:gd name="connsiteY76" fmla="*/ 24521 h 130977"/>
                        <a:gd name="connsiteX77" fmla="*/ 55023 w 64412"/>
                        <a:gd name="connsiteY77" fmla="*/ 24521 h 130977"/>
                        <a:gd name="connsiteX78" fmla="*/ 54723 w 64412"/>
                        <a:gd name="connsiteY78" fmla="*/ 24521 h 130977"/>
                        <a:gd name="connsiteX79" fmla="*/ 54424 w 64412"/>
                        <a:gd name="connsiteY79" fmla="*/ 24521 h 130977"/>
                        <a:gd name="connsiteX80" fmla="*/ 53288 w 64412"/>
                        <a:gd name="connsiteY80" fmla="*/ 27152 h 130977"/>
                        <a:gd name="connsiteX81" fmla="*/ 44556 w 64412"/>
                        <a:gd name="connsiteY81" fmla="*/ 24043 h 130977"/>
                        <a:gd name="connsiteX82" fmla="*/ 44796 w 64412"/>
                        <a:gd name="connsiteY82" fmla="*/ 24162 h 130977"/>
                        <a:gd name="connsiteX83" fmla="*/ 45035 w 64412"/>
                        <a:gd name="connsiteY83" fmla="*/ 24282 h 130977"/>
                        <a:gd name="connsiteX84" fmla="*/ 45274 w 64412"/>
                        <a:gd name="connsiteY84" fmla="*/ 24401 h 130977"/>
                        <a:gd name="connsiteX85" fmla="*/ 45513 w 64412"/>
                        <a:gd name="connsiteY85" fmla="*/ 24521 h 130977"/>
                        <a:gd name="connsiteX86" fmla="*/ 46590 w 64412"/>
                        <a:gd name="connsiteY86" fmla="*/ 22009 h 130977"/>
                        <a:gd name="connsiteX87" fmla="*/ 46351 w 64412"/>
                        <a:gd name="connsiteY87" fmla="*/ 21889 h 130977"/>
                        <a:gd name="connsiteX88" fmla="*/ 46111 w 64412"/>
                        <a:gd name="connsiteY88" fmla="*/ 21770 h 130977"/>
                        <a:gd name="connsiteX89" fmla="*/ 45872 w 64412"/>
                        <a:gd name="connsiteY89" fmla="*/ 21590 h 130977"/>
                        <a:gd name="connsiteX90" fmla="*/ 45633 w 64412"/>
                        <a:gd name="connsiteY90" fmla="*/ 21411 h 130977"/>
                        <a:gd name="connsiteX91" fmla="*/ 44556 w 64412"/>
                        <a:gd name="connsiteY91" fmla="*/ 24043 h 130977"/>
                        <a:gd name="connsiteX92" fmla="*/ 12141 w 64412"/>
                        <a:gd name="connsiteY92" fmla="*/ 123143 h 130977"/>
                        <a:gd name="connsiteX93" fmla="*/ 12380 w 64412"/>
                        <a:gd name="connsiteY93" fmla="*/ 123322 h 130977"/>
                        <a:gd name="connsiteX94" fmla="*/ 12619 w 64412"/>
                        <a:gd name="connsiteY94" fmla="*/ 123502 h 130977"/>
                        <a:gd name="connsiteX95" fmla="*/ 12858 w 64412"/>
                        <a:gd name="connsiteY95" fmla="*/ 123681 h 130977"/>
                        <a:gd name="connsiteX96" fmla="*/ 13098 w 64412"/>
                        <a:gd name="connsiteY96" fmla="*/ 123861 h 130977"/>
                        <a:gd name="connsiteX97" fmla="*/ 54006 w 64412"/>
                        <a:gd name="connsiteY97" fmla="*/ 28408 h 130977"/>
                        <a:gd name="connsiteX98" fmla="*/ 53707 w 64412"/>
                        <a:gd name="connsiteY98" fmla="*/ 28408 h 130977"/>
                        <a:gd name="connsiteX99" fmla="*/ 53408 w 64412"/>
                        <a:gd name="connsiteY99" fmla="*/ 28408 h 130977"/>
                        <a:gd name="connsiteX100" fmla="*/ 53109 w 64412"/>
                        <a:gd name="connsiteY100" fmla="*/ 28408 h 130977"/>
                        <a:gd name="connsiteX101" fmla="*/ 52810 w 64412"/>
                        <a:gd name="connsiteY101" fmla="*/ 28349 h 130977"/>
                        <a:gd name="connsiteX102" fmla="*/ 12141 w 64412"/>
                        <a:gd name="connsiteY102" fmla="*/ 123143 h 130977"/>
                        <a:gd name="connsiteX103" fmla="*/ 3588 w 64412"/>
                        <a:gd name="connsiteY103" fmla="*/ 119794 h 130977"/>
                        <a:gd name="connsiteX104" fmla="*/ 3887 w 64412"/>
                        <a:gd name="connsiteY104" fmla="*/ 119854 h 130977"/>
                        <a:gd name="connsiteX105" fmla="*/ 4187 w 64412"/>
                        <a:gd name="connsiteY105" fmla="*/ 119913 h 130977"/>
                        <a:gd name="connsiteX106" fmla="*/ 4486 w 64412"/>
                        <a:gd name="connsiteY106" fmla="*/ 119973 h 130977"/>
                        <a:gd name="connsiteX107" fmla="*/ 4785 w 64412"/>
                        <a:gd name="connsiteY107" fmla="*/ 120033 h 130977"/>
                        <a:gd name="connsiteX108" fmla="*/ 45035 w 64412"/>
                        <a:gd name="connsiteY108" fmla="*/ 25837 h 130977"/>
                        <a:gd name="connsiteX109" fmla="*/ 44796 w 64412"/>
                        <a:gd name="connsiteY109" fmla="*/ 25717 h 130977"/>
                        <a:gd name="connsiteX110" fmla="*/ 44556 w 64412"/>
                        <a:gd name="connsiteY110" fmla="*/ 25597 h 130977"/>
                        <a:gd name="connsiteX111" fmla="*/ 44317 w 64412"/>
                        <a:gd name="connsiteY111" fmla="*/ 25478 h 130977"/>
                        <a:gd name="connsiteX112" fmla="*/ 44078 w 64412"/>
                        <a:gd name="connsiteY112" fmla="*/ 25358 h 130977"/>
                        <a:gd name="connsiteX113" fmla="*/ 3588 w 64412"/>
                        <a:gd name="connsiteY113" fmla="*/ 119794 h 130977"/>
                        <a:gd name="connsiteX114" fmla="*/ 11423 w 64412"/>
                        <a:gd name="connsiteY114" fmla="*/ 127569 h 130977"/>
                        <a:gd name="connsiteX115" fmla="*/ 12500 w 64412"/>
                        <a:gd name="connsiteY115" fmla="*/ 124997 h 130977"/>
                        <a:gd name="connsiteX116" fmla="*/ 12440 w 64412"/>
                        <a:gd name="connsiteY116" fmla="*/ 124937 h 130977"/>
                        <a:gd name="connsiteX117" fmla="*/ 12380 w 64412"/>
                        <a:gd name="connsiteY117" fmla="*/ 124877 h 130977"/>
                        <a:gd name="connsiteX118" fmla="*/ 12320 w 64412"/>
                        <a:gd name="connsiteY118" fmla="*/ 124818 h 130977"/>
                        <a:gd name="connsiteX119" fmla="*/ 12260 w 64412"/>
                        <a:gd name="connsiteY119" fmla="*/ 124758 h 130977"/>
                        <a:gd name="connsiteX120" fmla="*/ 12081 w 64412"/>
                        <a:gd name="connsiteY120" fmla="*/ 124638 h 130977"/>
                        <a:gd name="connsiteX121" fmla="*/ 11902 w 64412"/>
                        <a:gd name="connsiteY121" fmla="*/ 124519 h 130977"/>
                        <a:gd name="connsiteX122" fmla="*/ 11722 w 64412"/>
                        <a:gd name="connsiteY122" fmla="*/ 124399 h 130977"/>
                        <a:gd name="connsiteX123" fmla="*/ 11543 w 64412"/>
                        <a:gd name="connsiteY123" fmla="*/ 124279 h 130977"/>
                        <a:gd name="connsiteX124" fmla="*/ 10466 w 64412"/>
                        <a:gd name="connsiteY124" fmla="*/ 126791 h 130977"/>
                        <a:gd name="connsiteX125" fmla="*/ 10466 w 64412"/>
                        <a:gd name="connsiteY125" fmla="*/ 126791 h 130977"/>
                        <a:gd name="connsiteX126" fmla="*/ 10466 w 64412"/>
                        <a:gd name="connsiteY126" fmla="*/ 126791 h 130977"/>
                        <a:gd name="connsiteX127" fmla="*/ 10466 w 64412"/>
                        <a:gd name="connsiteY127" fmla="*/ 126791 h 130977"/>
                        <a:gd name="connsiteX128" fmla="*/ 10466 w 64412"/>
                        <a:gd name="connsiteY128" fmla="*/ 126791 h 130977"/>
                        <a:gd name="connsiteX129" fmla="*/ 10645 w 64412"/>
                        <a:gd name="connsiteY129" fmla="*/ 126971 h 130977"/>
                        <a:gd name="connsiteX130" fmla="*/ 10825 w 64412"/>
                        <a:gd name="connsiteY130" fmla="*/ 127150 h 130977"/>
                        <a:gd name="connsiteX131" fmla="*/ 11004 w 64412"/>
                        <a:gd name="connsiteY131" fmla="*/ 127329 h 130977"/>
                        <a:gd name="connsiteX132" fmla="*/ 11423 w 64412"/>
                        <a:gd name="connsiteY132" fmla="*/ 127569 h 130977"/>
                        <a:gd name="connsiteX133" fmla="*/ 2093 w 64412"/>
                        <a:gd name="connsiteY133" fmla="*/ 123442 h 130977"/>
                        <a:gd name="connsiteX134" fmla="*/ 2392 w 64412"/>
                        <a:gd name="connsiteY134" fmla="*/ 123502 h 130977"/>
                        <a:gd name="connsiteX135" fmla="*/ 2691 w 64412"/>
                        <a:gd name="connsiteY135" fmla="*/ 123562 h 130977"/>
                        <a:gd name="connsiteX136" fmla="*/ 2990 w 64412"/>
                        <a:gd name="connsiteY136" fmla="*/ 123621 h 130977"/>
                        <a:gd name="connsiteX137" fmla="*/ 3289 w 64412"/>
                        <a:gd name="connsiteY137" fmla="*/ 123681 h 130977"/>
                        <a:gd name="connsiteX138" fmla="*/ 4366 w 64412"/>
                        <a:gd name="connsiteY138" fmla="*/ 121229 h 130977"/>
                        <a:gd name="connsiteX139" fmla="*/ 4067 w 64412"/>
                        <a:gd name="connsiteY139" fmla="*/ 121169 h 130977"/>
                        <a:gd name="connsiteX140" fmla="*/ 3768 w 64412"/>
                        <a:gd name="connsiteY140" fmla="*/ 121110 h 130977"/>
                        <a:gd name="connsiteX141" fmla="*/ 3469 w 64412"/>
                        <a:gd name="connsiteY141" fmla="*/ 121050 h 130977"/>
                        <a:gd name="connsiteX142" fmla="*/ 3170 w 64412"/>
                        <a:gd name="connsiteY142" fmla="*/ 120990 h 130977"/>
                        <a:gd name="connsiteX143" fmla="*/ 2093 w 64412"/>
                        <a:gd name="connsiteY143" fmla="*/ 123442 h 130977"/>
                        <a:gd name="connsiteX144" fmla="*/ 1076 w 64412"/>
                        <a:gd name="connsiteY144" fmla="*/ 125774 h 130977"/>
                        <a:gd name="connsiteX145" fmla="*/ 1375 w 64412"/>
                        <a:gd name="connsiteY145" fmla="*/ 125834 h 130977"/>
                        <a:gd name="connsiteX146" fmla="*/ 1615 w 64412"/>
                        <a:gd name="connsiteY146" fmla="*/ 125954 h 130977"/>
                        <a:gd name="connsiteX147" fmla="*/ 1854 w 64412"/>
                        <a:gd name="connsiteY147" fmla="*/ 126074 h 130977"/>
                        <a:gd name="connsiteX148" fmla="*/ 2093 w 64412"/>
                        <a:gd name="connsiteY148" fmla="*/ 126193 h 130977"/>
                        <a:gd name="connsiteX149" fmla="*/ 2632 w 64412"/>
                        <a:gd name="connsiteY149" fmla="*/ 124937 h 130977"/>
                        <a:gd name="connsiteX150" fmla="*/ 2333 w 64412"/>
                        <a:gd name="connsiteY150" fmla="*/ 124877 h 130977"/>
                        <a:gd name="connsiteX151" fmla="*/ 2033 w 64412"/>
                        <a:gd name="connsiteY151" fmla="*/ 124818 h 130977"/>
                        <a:gd name="connsiteX152" fmla="*/ 1734 w 64412"/>
                        <a:gd name="connsiteY152" fmla="*/ 124758 h 130977"/>
                        <a:gd name="connsiteX153" fmla="*/ 1435 w 64412"/>
                        <a:gd name="connsiteY153" fmla="*/ 124698 h 130977"/>
                        <a:gd name="connsiteX154" fmla="*/ 1076 w 64412"/>
                        <a:gd name="connsiteY154" fmla="*/ 125774 h 130977"/>
                        <a:gd name="connsiteX155" fmla="*/ 3289 w 64412"/>
                        <a:gd name="connsiteY155" fmla="*/ 129303 h 130977"/>
                        <a:gd name="connsiteX156" fmla="*/ 3768 w 64412"/>
                        <a:gd name="connsiteY156" fmla="*/ 129483 h 130977"/>
                        <a:gd name="connsiteX157" fmla="*/ 8253 w 64412"/>
                        <a:gd name="connsiteY157" fmla="*/ 130978 h 130977"/>
                        <a:gd name="connsiteX158" fmla="*/ 8612 w 64412"/>
                        <a:gd name="connsiteY158" fmla="*/ 130858 h 130977"/>
                        <a:gd name="connsiteX159" fmla="*/ 9031 w 64412"/>
                        <a:gd name="connsiteY159" fmla="*/ 130738 h 130977"/>
                        <a:gd name="connsiteX160" fmla="*/ 9449 w 64412"/>
                        <a:gd name="connsiteY160" fmla="*/ 130679 h 130977"/>
                        <a:gd name="connsiteX161" fmla="*/ 9868 w 64412"/>
                        <a:gd name="connsiteY161" fmla="*/ 130679 h 130977"/>
                        <a:gd name="connsiteX162" fmla="*/ 9928 w 64412"/>
                        <a:gd name="connsiteY162" fmla="*/ 130679 h 130977"/>
                        <a:gd name="connsiteX163" fmla="*/ 9988 w 64412"/>
                        <a:gd name="connsiteY163" fmla="*/ 130679 h 130977"/>
                        <a:gd name="connsiteX164" fmla="*/ 10048 w 64412"/>
                        <a:gd name="connsiteY164" fmla="*/ 130679 h 130977"/>
                        <a:gd name="connsiteX165" fmla="*/ 10107 w 64412"/>
                        <a:gd name="connsiteY165" fmla="*/ 130679 h 130977"/>
                        <a:gd name="connsiteX166" fmla="*/ 10287 w 64412"/>
                        <a:gd name="connsiteY166" fmla="*/ 130320 h 130977"/>
                        <a:gd name="connsiteX167" fmla="*/ 10825 w 64412"/>
                        <a:gd name="connsiteY167" fmla="*/ 129004 h 130977"/>
                        <a:gd name="connsiteX168" fmla="*/ 10586 w 64412"/>
                        <a:gd name="connsiteY168" fmla="*/ 128825 h 130977"/>
                        <a:gd name="connsiteX169" fmla="*/ 10347 w 64412"/>
                        <a:gd name="connsiteY169" fmla="*/ 128645 h 130977"/>
                        <a:gd name="connsiteX170" fmla="*/ 10107 w 64412"/>
                        <a:gd name="connsiteY170" fmla="*/ 128466 h 130977"/>
                        <a:gd name="connsiteX171" fmla="*/ 9868 w 64412"/>
                        <a:gd name="connsiteY171" fmla="*/ 128287 h 130977"/>
                        <a:gd name="connsiteX172" fmla="*/ 9150 w 64412"/>
                        <a:gd name="connsiteY172" fmla="*/ 129961 h 130977"/>
                        <a:gd name="connsiteX173" fmla="*/ 3229 w 64412"/>
                        <a:gd name="connsiteY173" fmla="*/ 127928 h 130977"/>
                        <a:gd name="connsiteX174" fmla="*/ 3289 w 64412"/>
                        <a:gd name="connsiteY174" fmla="*/ 128227 h 130977"/>
                        <a:gd name="connsiteX175" fmla="*/ 3289 w 64412"/>
                        <a:gd name="connsiteY175" fmla="*/ 128526 h 130977"/>
                        <a:gd name="connsiteX176" fmla="*/ 3289 w 64412"/>
                        <a:gd name="connsiteY176" fmla="*/ 128884 h 130977"/>
                        <a:gd name="connsiteX177" fmla="*/ 3289 w 64412"/>
                        <a:gd name="connsiteY177" fmla="*/ 129303 h 130977"/>
                        <a:gd name="connsiteX178" fmla="*/ 0 w 64412"/>
                        <a:gd name="connsiteY178" fmla="*/ 128227 h 130977"/>
                        <a:gd name="connsiteX179" fmla="*/ 2213 w 64412"/>
                        <a:gd name="connsiteY179" fmla="*/ 128944 h 130977"/>
                        <a:gd name="connsiteX180" fmla="*/ 2213 w 64412"/>
                        <a:gd name="connsiteY180" fmla="*/ 128586 h 130977"/>
                        <a:gd name="connsiteX181" fmla="*/ 2153 w 64412"/>
                        <a:gd name="connsiteY181" fmla="*/ 128227 h 130977"/>
                        <a:gd name="connsiteX182" fmla="*/ 2033 w 64412"/>
                        <a:gd name="connsiteY182" fmla="*/ 127928 h 130977"/>
                        <a:gd name="connsiteX183" fmla="*/ 1854 w 64412"/>
                        <a:gd name="connsiteY183" fmla="*/ 127628 h 130977"/>
                        <a:gd name="connsiteX184" fmla="*/ 1794 w 64412"/>
                        <a:gd name="connsiteY184" fmla="*/ 127569 h 130977"/>
                        <a:gd name="connsiteX185" fmla="*/ 1734 w 64412"/>
                        <a:gd name="connsiteY185" fmla="*/ 127509 h 130977"/>
                        <a:gd name="connsiteX186" fmla="*/ 1674 w 64412"/>
                        <a:gd name="connsiteY186" fmla="*/ 127449 h 130977"/>
                        <a:gd name="connsiteX187" fmla="*/ 1615 w 64412"/>
                        <a:gd name="connsiteY187" fmla="*/ 127389 h 130977"/>
                        <a:gd name="connsiteX188" fmla="*/ 1555 w 64412"/>
                        <a:gd name="connsiteY188" fmla="*/ 127389 h 130977"/>
                        <a:gd name="connsiteX189" fmla="*/ 1555 w 64412"/>
                        <a:gd name="connsiteY189" fmla="*/ 127389 h 130977"/>
                        <a:gd name="connsiteX190" fmla="*/ 1495 w 64412"/>
                        <a:gd name="connsiteY190" fmla="*/ 127329 h 130977"/>
                        <a:gd name="connsiteX191" fmla="*/ 1435 w 64412"/>
                        <a:gd name="connsiteY191" fmla="*/ 127270 h 130977"/>
                        <a:gd name="connsiteX192" fmla="*/ 1375 w 64412"/>
                        <a:gd name="connsiteY192" fmla="*/ 127210 h 130977"/>
                        <a:gd name="connsiteX193" fmla="*/ 1316 w 64412"/>
                        <a:gd name="connsiteY193" fmla="*/ 127150 h 130977"/>
                        <a:gd name="connsiteX194" fmla="*/ 1136 w 64412"/>
                        <a:gd name="connsiteY194" fmla="*/ 127030 h 130977"/>
                        <a:gd name="connsiteX195" fmla="*/ 957 w 64412"/>
                        <a:gd name="connsiteY195" fmla="*/ 126911 h 130977"/>
                        <a:gd name="connsiteX196" fmla="*/ 778 w 64412"/>
                        <a:gd name="connsiteY196" fmla="*/ 126851 h 130977"/>
                        <a:gd name="connsiteX197" fmla="*/ 538 w 64412"/>
                        <a:gd name="connsiteY197" fmla="*/ 126791 h 130977"/>
                        <a:gd name="connsiteX198" fmla="*/ 419 w 64412"/>
                        <a:gd name="connsiteY198" fmla="*/ 127030 h 130977"/>
                        <a:gd name="connsiteX199" fmla="*/ 179 w 64412"/>
                        <a:gd name="connsiteY199" fmla="*/ 127569 h 130977"/>
                        <a:gd name="connsiteX200" fmla="*/ 0 w 64412"/>
                        <a:gd name="connsiteY200" fmla="*/ 128227 h 13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64412" h="130977">
                          <a:moveTo>
                            <a:pt x="59986" y="11423"/>
                          </a:moveTo>
                          <a:cubicBezTo>
                            <a:pt x="60106" y="11364"/>
                            <a:pt x="60226" y="11304"/>
                            <a:pt x="60405" y="11244"/>
                          </a:cubicBezTo>
                          <a:cubicBezTo>
                            <a:pt x="60525" y="11184"/>
                            <a:pt x="60645" y="11124"/>
                            <a:pt x="60764" y="11064"/>
                          </a:cubicBezTo>
                          <a:cubicBezTo>
                            <a:pt x="60884" y="11004"/>
                            <a:pt x="61003" y="10945"/>
                            <a:pt x="61123" y="10885"/>
                          </a:cubicBezTo>
                          <a:cubicBezTo>
                            <a:pt x="61243" y="10825"/>
                            <a:pt x="61362" y="10765"/>
                            <a:pt x="61482" y="10645"/>
                          </a:cubicBezTo>
                          <a:lnTo>
                            <a:pt x="63934" y="4964"/>
                          </a:lnTo>
                          <a:lnTo>
                            <a:pt x="64173" y="4366"/>
                          </a:lnTo>
                          <a:lnTo>
                            <a:pt x="64412" y="3768"/>
                          </a:lnTo>
                          <a:lnTo>
                            <a:pt x="64233" y="3708"/>
                          </a:lnTo>
                          <a:cubicBezTo>
                            <a:pt x="64233" y="3768"/>
                            <a:pt x="64173" y="3828"/>
                            <a:pt x="64173" y="3888"/>
                          </a:cubicBezTo>
                          <a:cubicBezTo>
                            <a:pt x="64173" y="3947"/>
                            <a:pt x="64113" y="4007"/>
                            <a:pt x="64113" y="4067"/>
                          </a:cubicBezTo>
                          <a:cubicBezTo>
                            <a:pt x="64113" y="4127"/>
                            <a:pt x="64053" y="4187"/>
                            <a:pt x="64053" y="4246"/>
                          </a:cubicBezTo>
                          <a:cubicBezTo>
                            <a:pt x="64053" y="4306"/>
                            <a:pt x="63994" y="4366"/>
                            <a:pt x="63994" y="4426"/>
                          </a:cubicBezTo>
                          <a:cubicBezTo>
                            <a:pt x="63874" y="4844"/>
                            <a:pt x="63694" y="5203"/>
                            <a:pt x="63515" y="5562"/>
                          </a:cubicBezTo>
                          <a:cubicBezTo>
                            <a:pt x="63336" y="5921"/>
                            <a:pt x="63097" y="6280"/>
                            <a:pt x="62917" y="6579"/>
                          </a:cubicBezTo>
                          <a:cubicBezTo>
                            <a:pt x="62738" y="6878"/>
                            <a:pt x="62439" y="7177"/>
                            <a:pt x="62199" y="7476"/>
                          </a:cubicBezTo>
                          <a:cubicBezTo>
                            <a:pt x="61960" y="7775"/>
                            <a:pt x="61661" y="8014"/>
                            <a:pt x="61362" y="8253"/>
                          </a:cubicBezTo>
                          <a:lnTo>
                            <a:pt x="59986" y="11423"/>
                          </a:lnTo>
                          <a:moveTo>
                            <a:pt x="53468" y="5921"/>
                          </a:moveTo>
                          <a:lnTo>
                            <a:pt x="55322" y="1615"/>
                          </a:lnTo>
                          <a:lnTo>
                            <a:pt x="57774" y="2572"/>
                          </a:lnTo>
                          <a:lnTo>
                            <a:pt x="62618" y="4486"/>
                          </a:lnTo>
                          <a:cubicBezTo>
                            <a:pt x="62618" y="4486"/>
                            <a:pt x="62618" y="4426"/>
                            <a:pt x="62618" y="4426"/>
                          </a:cubicBezTo>
                          <a:cubicBezTo>
                            <a:pt x="62618" y="4426"/>
                            <a:pt x="62618" y="4366"/>
                            <a:pt x="62618" y="4366"/>
                          </a:cubicBezTo>
                          <a:cubicBezTo>
                            <a:pt x="62618" y="4366"/>
                            <a:pt x="62618" y="4306"/>
                            <a:pt x="62618" y="4306"/>
                          </a:cubicBezTo>
                          <a:cubicBezTo>
                            <a:pt x="62618" y="4306"/>
                            <a:pt x="62618" y="4246"/>
                            <a:pt x="62618" y="4246"/>
                          </a:cubicBezTo>
                          <a:cubicBezTo>
                            <a:pt x="62618" y="4187"/>
                            <a:pt x="62678" y="4067"/>
                            <a:pt x="62678" y="4007"/>
                          </a:cubicBezTo>
                          <a:cubicBezTo>
                            <a:pt x="62678" y="3947"/>
                            <a:pt x="62738" y="3828"/>
                            <a:pt x="62738" y="3768"/>
                          </a:cubicBezTo>
                          <a:cubicBezTo>
                            <a:pt x="62738" y="3708"/>
                            <a:pt x="62798" y="3588"/>
                            <a:pt x="62798" y="3528"/>
                          </a:cubicBezTo>
                          <a:cubicBezTo>
                            <a:pt x="62798" y="3469"/>
                            <a:pt x="62857" y="3349"/>
                            <a:pt x="62857" y="3289"/>
                          </a:cubicBezTo>
                          <a:lnTo>
                            <a:pt x="54723" y="0"/>
                          </a:lnTo>
                          <a:lnTo>
                            <a:pt x="54245" y="1136"/>
                          </a:lnTo>
                          <a:lnTo>
                            <a:pt x="52869" y="4306"/>
                          </a:lnTo>
                          <a:cubicBezTo>
                            <a:pt x="52869" y="4426"/>
                            <a:pt x="52929" y="4605"/>
                            <a:pt x="52929" y="4725"/>
                          </a:cubicBezTo>
                          <a:cubicBezTo>
                            <a:pt x="52989" y="4844"/>
                            <a:pt x="52989" y="4964"/>
                            <a:pt x="53049" y="5143"/>
                          </a:cubicBezTo>
                          <a:cubicBezTo>
                            <a:pt x="53109" y="5263"/>
                            <a:pt x="53169" y="5383"/>
                            <a:pt x="53169" y="5502"/>
                          </a:cubicBezTo>
                          <a:cubicBezTo>
                            <a:pt x="53169" y="5622"/>
                            <a:pt x="53408" y="5801"/>
                            <a:pt x="53468" y="5921"/>
                          </a:cubicBezTo>
                          <a:moveTo>
                            <a:pt x="51793" y="9868"/>
                          </a:moveTo>
                          <a:lnTo>
                            <a:pt x="52750" y="7536"/>
                          </a:lnTo>
                          <a:cubicBezTo>
                            <a:pt x="52690" y="7476"/>
                            <a:pt x="52630" y="7356"/>
                            <a:pt x="52570" y="7237"/>
                          </a:cubicBezTo>
                          <a:cubicBezTo>
                            <a:pt x="52511" y="7117"/>
                            <a:pt x="52451" y="7057"/>
                            <a:pt x="52391" y="6937"/>
                          </a:cubicBezTo>
                          <a:cubicBezTo>
                            <a:pt x="52331" y="6818"/>
                            <a:pt x="52271" y="6758"/>
                            <a:pt x="52212" y="6639"/>
                          </a:cubicBezTo>
                          <a:cubicBezTo>
                            <a:pt x="52152" y="6519"/>
                            <a:pt x="52092" y="6459"/>
                            <a:pt x="52032" y="6340"/>
                          </a:cubicBezTo>
                          <a:lnTo>
                            <a:pt x="50956" y="8851"/>
                          </a:lnTo>
                          <a:cubicBezTo>
                            <a:pt x="51015" y="8911"/>
                            <a:pt x="51075" y="9031"/>
                            <a:pt x="51135" y="9091"/>
                          </a:cubicBezTo>
                          <a:cubicBezTo>
                            <a:pt x="51195" y="9150"/>
                            <a:pt x="51255" y="9270"/>
                            <a:pt x="51314" y="9330"/>
                          </a:cubicBezTo>
                          <a:cubicBezTo>
                            <a:pt x="51374" y="9390"/>
                            <a:pt x="51434" y="9509"/>
                            <a:pt x="51494" y="9569"/>
                          </a:cubicBezTo>
                          <a:cubicBezTo>
                            <a:pt x="51554" y="9629"/>
                            <a:pt x="51733" y="9808"/>
                            <a:pt x="51793" y="9868"/>
                          </a:cubicBezTo>
                          <a:moveTo>
                            <a:pt x="55023" y="23085"/>
                          </a:moveTo>
                          <a:cubicBezTo>
                            <a:pt x="55142" y="23085"/>
                            <a:pt x="55202" y="23085"/>
                            <a:pt x="55322" y="23085"/>
                          </a:cubicBezTo>
                          <a:cubicBezTo>
                            <a:pt x="55441" y="23085"/>
                            <a:pt x="55501" y="23085"/>
                            <a:pt x="55621" y="23085"/>
                          </a:cubicBezTo>
                          <a:cubicBezTo>
                            <a:pt x="55740" y="23085"/>
                            <a:pt x="55800" y="23085"/>
                            <a:pt x="55920" y="23085"/>
                          </a:cubicBezTo>
                          <a:cubicBezTo>
                            <a:pt x="56039" y="23085"/>
                            <a:pt x="56099" y="23085"/>
                            <a:pt x="56219" y="23085"/>
                          </a:cubicBezTo>
                          <a:lnTo>
                            <a:pt x="60645" y="12739"/>
                          </a:lnTo>
                          <a:cubicBezTo>
                            <a:pt x="60525" y="12799"/>
                            <a:pt x="60405" y="12859"/>
                            <a:pt x="60285" y="12859"/>
                          </a:cubicBezTo>
                          <a:cubicBezTo>
                            <a:pt x="60166" y="12918"/>
                            <a:pt x="60046" y="12918"/>
                            <a:pt x="59927" y="12978"/>
                          </a:cubicBezTo>
                          <a:cubicBezTo>
                            <a:pt x="59807" y="13038"/>
                            <a:pt x="59687" y="13038"/>
                            <a:pt x="59568" y="13098"/>
                          </a:cubicBezTo>
                          <a:cubicBezTo>
                            <a:pt x="59448" y="13158"/>
                            <a:pt x="59329" y="13158"/>
                            <a:pt x="59209" y="13218"/>
                          </a:cubicBezTo>
                          <a:lnTo>
                            <a:pt x="55023" y="23085"/>
                          </a:lnTo>
                          <a:moveTo>
                            <a:pt x="46291" y="20035"/>
                          </a:moveTo>
                          <a:cubicBezTo>
                            <a:pt x="46351" y="20095"/>
                            <a:pt x="46470" y="20155"/>
                            <a:pt x="46530" y="20215"/>
                          </a:cubicBezTo>
                          <a:cubicBezTo>
                            <a:pt x="46590" y="20275"/>
                            <a:pt x="46709" y="20335"/>
                            <a:pt x="46769" y="20394"/>
                          </a:cubicBezTo>
                          <a:cubicBezTo>
                            <a:pt x="46829" y="20454"/>
                            <a:pt x="46949" y="20514"/>
                            <a:pt x="47008" y="20574"/>
                          </a:cubicBezTo>
                          <a:cubicBezTo>
                            <a:pt x="47068" y="20634"/>
                            <a:pt x="47188" y="20693"/>
                            <a:pt x="47247" y="20693"/>
                          </a:cubicBezTo>
                          <a:lnTo>
                            <a:pt x="51195" y="11423"/>
                          </a:lnTo>
                          <a:cubicBezTo>
                            <a:pt x="51135" y="11364"/>
                            <a:pt x="51075" y="11304"/>
                            <a:pt x="50956" y="11244"/>
                          </a:cubicBezTo>
                          <a:cubicBezTo>
                            <a:pt x="50896" y="11184"/>
                            <a:pt x="50836" y="11124"/>
                            <a:pt x="50716" y="11064"/>
                          </a:cubicBezTo>
                          <a:cubicBezTo>
                            <a:pt x="50657" y="11004"/>
                            <a:pt x="50597" y="10945"/>
                            <a:pt x="50537" y="10825"/>
                          </a:cubicBezTo>
                          <a:cubicBezTo>
                            <a:pt x="50477" y="10765"/>
                            <a:pt x="50417" y="10705"/>
                            <a:pt x="50358" y="10586"/>
                          </a:cubicBezTo>
                          <a:lnTo>
                            <a:pt x="46291" y="20035"/>
                          </a:lnTo>
                          <a:moveTo>
                            <a:pt x="53288" y="27152"/>
                          </a:moveTo>
                          <a:cubicBezTo>
                            <a:pt x="53408" y="27152"/>
                            <a:pt x="53468" y="27152"/>
                            <a:pt x="53587" y="27152"/>
                          </a:cubicBezTo>
                          <a:cubicBezTo>
                            <a:pt x="53707" y="27152"/>
                            <a:pt x="53767" y="27152"/>
                            <a:pt x="53886" y="27152"/>
                          </a:cubicBezTo>
                          <a:cubicBezTo>
                            <a:pt x="54006" y="27152"/>
                            <a:pt x="54066" y="27152"/>
                            <a:pt x="54185" y="27152"/>
                          </a:cubicBezTo>
                          <a:cubicBezTo>
                            <a:pt x="54305" y="27152"/>
                            <a:pt x="54365" y="27152"/>
                            <a:pt x="54484" y="27152"/>
                          </a:cubicBezTo>
                          <a:lnTo>
                            <a:pt x="55621" y="24521"/>
                          </a:lnTo>
                          <a:cubicBezTo>
                            <a:pt x="55501" y="24521"/>
                            <a:pt x="55441" y="24521"/>
                            <a:pt x="55322" y="24521"/>
                          </a:cubicBezTo>
                          <a:cubicBezTo>
                            <a:pt x="55202" y="24521"/>
                            <a:pt x="55142" y="24521"/>
                            <a:pt x="55023" y="24521"/>
                          </a:cubicBezTo>
                          <a:cubicBezTo>
                            <a:pt x="54903" y="24521"/>
                            <a:pt x="54843" y="24521"/>
                            <a:pt x="54723" y="24521"/>
                          </a:cubicBezTo>
                          <a:cubicBezTo>
                            <a:pt x="54604" y="24521"/>
                            <a:pt x="54544" y="24521"/>
                            <a:pt x="54424" y="24521"/>
                          </a:cubicBezTo>
                          <a:lnTo>
                            <a:pt x="53288" y="27152"/>
                          </a:lnTo>
                          <a:moveTo>
                            <a:pt x="44556" y="24043"/>
                          </a:moveTo>
                          <a:cubicBezTo>
                            <a:pt x="44616" y="24102"/>
                            <a:pt x="44736" y="24162"/>
                            <a:pt x="44796" y="24162"/>
                          </a:cubicBezTo>
                          <a:cubicBezTo>
                            <a:pt x="44855" y="24162"/>
                            <a:pt x="44975" y="24282"/>
                            <a:pt x="45035" y="24282"/>
                          </a:cubicBezTo>
                          <a:cubicBezTo>
                            <a:pt x="45095" y="24342"/>
                            <a:pt x="45214" y="24401"/>
                            <a:pt x="45274" y="24401"/>
                          </a:cubicBezTo>
                          <a:cubicBezTo>
                            <a:pt x="45334" y="24401"/>
                            <a:pt x="45453" y="24521"/>
                            <a:pt x="45513" y="24521"/>
                          </a:cubicBezTo>
                          <a:lnTo>
                            <a:pt x="46590" y="22009"/>
                          </a:lnTo>
                          <a:cubicBezTo>
                            <a:pt x="46530" y="21949"/>
                            <a:pt x="46410" y="21889"/>
                            <a:pt x="46351" y="21889"/>
                          </a:cubicBezTo>
                          <a:cubicBezTo>
                            <a:pt x="46291" y="21889"/>
                            <a:pt x="46171" y="21770"/>
                            <a:pt x="46111" y="21770"/>
                          </a:cubicBezTo>
                          <a:cubicBezTo>
                            <a:pt x="46052" y="21710"/>
                            <a:pt x="45932" y="21650"/>
                            <a:pt x="45872" y="21590"/>
                          </a:cubicBezTo>
                          <a:cubicBezTo>
                            <a:pt x="45812" y="21530"/>
                            <a:pt x="45693" y="21471"/>
                            <a:pt x="45633" y="21411"/>
                          </a:cubicBezTo>
                          <a:lnTo>
                            <a:pt x="44556" y="24043"/>
                          </a:lnTo>
                          <a:moveTo>
                            <a:pt x="12141" y="123143"/>
                          </a:moveTo>
                          <a:cubicBezTo>
                            <a:pt x="12201" y="123203"/>
                            <a:pt x="12320" y="123263"/>
                            <a:pt x="12380" y="123322"/>
                          </a:cubicBezTo>
                          <a:cubicBezTo>
                            <a:pt x="12440" y="123382"/>
                            <a:pt x="12559" y="123442"/>
                            <a:pt x="12619" y="123502"/>
                          </a:cubicBezTo>
                          <a:cubicBezTo>
                            <a:pt x="12679" y="123562"/>
                            <a:pt x="12799" y="123621"/>
                            <a:pt x="12858" y="123681"/>
                          </a:cubicBezTo>
                          <a:cubicBezTo>
                            <a:pt x="12918" y="123741"/>
                            <a:pt x="13038" y="123801"/>
                            <a:pt x="13098" y="123861"/>
                          </a:cubicBezTo>
                          <a:lnTo>
                            <a:pt x="54006" y="28408"/>
                          </a:lnTo>
                          <a:cubicBezTo>
                            <a:pt x="53886" y="28408"/>
                            <a:pt x="53827" y="28408"/>
                            <a:pt x="53707" y="28408"/>
                          </a:cubicBezTo>
                          <a:cubicBezTo>
                            <a:pt x="53587" y="28408"/>
                            <a:pt x="53528" y="28408"/>
                            <a:pt x="53408" y="28408"/>
                          </a:cubicBezTo>
                          <a:cubicBezTo>
                            <a:pt x="53288" y="28408"/>
                            <a:pt x="53228" y="28408"/>
                            <a:pt x="53109" y="28408"/>
                          </a:cubicBezTo>
                          <a:cubicBezTo>
                            <a:pt x="52989" y="28408"/>
                            <a:pt x="52929" y="28408"/>
                            <a:pt x="52810" y="28349"/>
                          </a:cubicBezTo>
                          <a:lnTo>
                            <a:pt x="12141" y="123143"/>
                          </a:lnTo>
                          <a:moveTo>
                            <a:pt x="3588" y="119794"/>
                          </a:moveTo>
                          <a:cubicBezTo>
                            <a:pt x="3708" y="119794"/>
                            <a:pt x="3768" y="119854"/>
                            <a:pt x="3887" y="119854"/>
                          </a:cubicBezTo>
                          <a:cubicBezTo>
                            <a:pt x="4007" y="119854"/>
                            <a:pt x="4067" y="119913"/>
                            <a:pt x="4187" y="119913"/>
                          </a:cubicBezTo>
                          <a:cubicBezTo>
                            <a:pt x="4306" y="119913"/>
                            <a:pt x="4366" y="119973"/>
                            <a:pt x="4486" y="119973"/>
                          </a:cubicBezTo>
                          <a:cubicBezTo>
                            <a:pt x="4605" y="119973"/>
                            <a:pt x="4665" y="120033"/>
                            <a:pt x="4785" y="120033"/>
                          </a:cubicBezTo>
                          <a:lnTo>
                            <a:pt x="45035" y="25837"/>
                          </a:lnTo>
                          <a:cubicBezTo>
                            <a:pt x="44975" y="25777"/>
                            <a:pt x="44855" y="25717"/>
                            <a:pt x="44796" y="25717"/>
                          </a:cubicBezTo>
                          <a:cubicBezTo>
                            <a:pt x="44736" y="25657"/>
                            <a:pt x="44616" y="25597"/>
                            <a:pt x="44556" y="25597"/>
                          </a:cubicBezTo>
                          <a:cubicBezTo>
                            <a:pt x="44497" y="25538"/>
                            <a:pt x="44377" y="25478"/>
                            <a:pt x="44317" y="25478"/>
                          </a:cubicBezTo>
                          <a:cubicBezTo>
                            <a:pt x="44257" y="25478"/>
                            <a:pt x="44138" y="25358"/>
                            <a:pt x="44078" y="25358"/>
                          </a:cubicBezTo>
                          <a:lnTo>
                            <a:pt x="3588" y="119794"/>
                          </a:lnTo>
                          <a:moveTo>
                            <a:pt x="11423" y="127569"/>
                          </a:moveTo>
                          <a:lnTo>
                            <a:pt x="12500" y="124997"/>
                          </a:lnTo>
                          <a:cubicBezTo>
                            <a:pt x="12500" y="124997"/>
                            <a:pt x="12440" y="124937"/>
                            <a:pt x="12440" y="124937"/>
                          </a:cubicBezTo>
                          <a:cubicBezTo>
                            <a:pt x="12440" y="124937"/>
                            <a:pt x="12380" y="124877"/>
                            <a:pt x="12380" y="124877"/>
                          </a:cubicBezTo>
                          <a:cubicBezTo>
                            <a:pt x="12380" y="124877"/>
                            <a:pt x="12320" y="124818"/>
                            <a:pt x="12320" y="124818"/>
                          </a:cubicBezTo>
                          <a:cubicBezTo>
                            <a:pt x="12320" y="124818"/>
                            <a:pt x="12260" y="124758"/>
                            <a:pt x="12260" y="124758"/>
                          </a:cubicBezTo>
                          <a:cubicBezTo>
                            <a:pt x="12201" y="124698"/>
                            <a:pt x="12141" y="124698"/>
                            <a:pt x="12081" y="124638"/>
                          </a:cubicBezTo>
                          <a:cubicBezTo>
                            <a:pt x="12021" y="124579"/>
                            <a:pt x="11961" y="124579"/>
                            <a:pt x="11902" y="124519"/>
                          </a:cubicBezTo>
                          <a:cubicBezTo>
                            <a:pt x="11842" y="124459"/>
                            <a:pt x="11782" y="124459"/>
                            <a:pt x="11722" y="124399"/>
                          </a:cubicBezTo>
                          <a:cubicBezTo>
                            <a:pt x="11662" y="124339"/>
                            <a:pt x="11603" y="124339"/>
                            <a:pt x="11543" y="124279"/>
                          </a:cubicBezTo>
                          <a:lnTo>
                            <a:pt x="10466" y="126791"/>
                          </a:lnTo>
                          <a:cubicBezTo>
                            <a:pt x="10466" y="126791"/>
                            <a:pt x="10466" y="126791"/>
                            <a:pt x="10466" y="126791"/>
                          </a:cubicBezTo>
                          <a:cubicBezTo>
                            <a:pt x="10466" y="126791"/>
                            <a:pt x="10466" y="126791"/>
                            <a:pt x="10466" y="126791"/>
                          </a:cubicBezTo>
                          <a:cubicBezTo>
                            <a:pt x="10466" y="126791"/>
                            <a:pt x="10466" y="126791"/>
                            <a:pt x="10466" y="126791"/>
                          </a:cubicBezTo>
                          <a:cubicBezTo>
                            <a:pt x="10466" y="126791"/>
                            <a:pt x="10466" y="126791"/>
                            <a:pt x="10466" y="126791"/>
                          </a:cubicBezTo>
                          <a:cubicBezTo>
                            <a:pt x="10526" y="126851"/>
                            <a:pt x="10586" y="126911"/>
                            <a:pt x="10645" y="126971"/>
                          </a:cubicBezTo>
                          <a:cubicBezTo>
                            <a:pt x="10705" y="127030"/>
                            <a:pt x="10765" y="127090"/>
                            <a:pt x="10825" y="127150"/>
                          </a:cubicBezTo>
                          <a:cubicBezTo>
                            <a:pt x="10885" y="127210"/>
                            <a:pt x="10944" y="127270"/>
                            <a:pt x="11004" y="127329"/>
                          </a:cubicBezTo>
                          <a:cubicBezTo>
                            <a:pt x="11304" y="127449"/>
                            <a:pt x="11363" y="127509"/>
                            <a:pt x="11423" y="127569"/>
                          </a:cubicBezTo>
                          <a:moveTo>
                            <a:pt x="2093" y="123442"/>
                          </a:moveTo>
                          <a:cubicBezTo>
                            <a:pt x="2213" y="123442"/>
                            <a:pt x="2273" y="123442"/>
                            <a:pt x="2392" y="123502"/>
                          </a:cubicBezTo>
                          <a:cubicBezTo>
                            <a:pt x="2512" y="123562"/>
                            <a:pt x="2572" y="123502"/>
                            <a:pt x="2691" y="123562"/>
                          </a:cubicBezTo>
                          <a:cubicBezTo>
                            <a:pt x="2811" y="123562"/>
                            <a:pt x="2871" y="123621"/>
                            <a:pt x="2990" y="123621"/>
                          </a:cubicBezTo>
                          <a:cubicBezTo>
                            <a:pt x="3110" y="123621"/>
                            <a:pt x="3170" y="123681"/>
                            <a:pt x="3289" y="123681"/>
                          </a:cubicBezTo>
                          <a:lnTo>
                            <a:pt x="4366" y="121229"/>
                          </a:lnTo>
                          <a:cubicBezTo>
                            <a:pt x="4246" y="121229"/>
                            <a:pt x="4187" y="121169"/>
                            <a:pt x="4067" y="121169"/>
                          </a:cubicBezTo>
                          <a:cubicBezTo>
                            <a:pt x="3947" y="121169"/>
                            <a:pt x="3887" y="121110"/>
                            <a:pt x="3768" y="121110"/>
                          </a:cubicBezTo>
                          <a:cubicBezTo>
                            <a:pt x="3648" y="121110"/>
                            <a:pt x="3588" y="121050"/>
                            <a:pt x="3469" y="121050"/>
                          </a:cubicBezTo>
                          <a:cubicBezTo>
                            <a:pt x="3349" y="121050"/>
                            <a:pt x="3289" y="121050"/>
                            <a:pt x="3170" y="120990"/>
                          </a:cubicBezTo>
                          <a:lnTo>
                            <a:pt x="2093" y="123442"/>
                          </a:lnTo>
                          <a:moveTo>
                            <a:pt x="1076" y="125774"/>
                          </a:moveTo>
                          <a:cubicBezTo>
                            <a:pt x="1196" y="125774"/>
                            <a:pt x="1256" y="125834"/>
                            <a:pt x="1375" y="125834"/>
                          </a:cubicBezTo>
                          <a:cubicBezTo>
                            <a:pt x="1435" y="125894"/>
                            <a:pt x="1555" y="125894"/>
                            <a:pt x="1615" y="125954"/>
                          </a:cubicBezTo>
                          <a:cubicBezTo>
                            <a:pt x="1674" y="126014"/>
                            <a:pt x="1794" y="126014"/>
                            <a:pt x="1854" y="126074"/>
                          </a:cubicBezTo>
                          <a:cubicBezTo>
                            <a:pt x="1914" y="126133"/>
                            <a:pt x="2033" y="126193"/>
                            <a:pt x="2093" y="126193"/>
                          </a:cubicBezTo>
                          <a:lnTo>
                            <a:pt x="2632" y="124937"/>
                          </a:lnTo>
                          <a:cubicBezTo>
                            <a:pt x="2512" y="124937"/>
                            <a:pt x="2452" y="124877"/>
                            <a:pt x="2333" y="124877"/>
                          </a:cubicBezTo>
                          <a:cubicBezTo>
                            <a:pt x="2213" y="124877"/>
                            <a:pt x="2153" y="124818"/>
                            <a:pt x="2033" y="124818"/>
                          </a:cubicBezTo>
                          <a:cubicBezTo>
                            <a:pt x="1914" y="124818"/>
                            <a:pt x="1854" y="124818"/>
                            <a:pt x="1734" y="124758"/>
                          </a:cubicBezTo>
                          <a:cubicBezTo>
                            <a:pt x="1615" y="124758"/>
                            <a:pt x="1555" y="124758"/>
                            <a:pt x="1435" y="124698"/>
                          </a:cubicBezTo>
                          <a:lnTo>
                            <a:pt x="1076" y="125774"/>
                          </a:lnTo>
                          <a:moveTo>
                            <a:pt x="3289" y="129303"/>
                          </a:moveTo>
                          <a:lnTo>
                            <a:pt x="3768" y="129483"/>
                          </a:lnTo>
                          <a:lnTo>
                            <a:pt x="8253" y="130978"/>
                          </a:lnTo>
                          <a:cubicBezTo>
                            <a:pt x="8373" y="130918"/>
                            <a:pt x="8493" y="130858"/>
                            <a:pt x="8612" y="130858"/>
                          </a:cubicBezTo>
                          <a:cubicBezTo>
                            <a:pt x="8732" y="130798"/>
                            <a:pt x="8851" y="130798"/>
                            <a:pt x="9031" y="130738"/>
                          </a:cubicBezTo>
                          <a:cubicBezTo>
                            <a:pt x="9150" y="130738"/>
                            <a:pt x="9270" y="130679"/>
                            <a:pt x="9449" y="130679"/>
                          </a:cubicBezTo>
                          <a:cubicBezTo>
                            <a:pt x="9569" y="130679"/>
                            <a:pt x="9689" y="130679"/>
                            <a:pt x="9868" y="130679"/>
                          </a:cubicBezTo>
                          <a:cubicBezTo>
                            <a:pt x="9868" y="130679"/>
                            <a:pt x="9928" y="130679"/>
                            <a:pt x="9928" y="130679"/>
                          </a:cubicBezTo>
                          <a:cubicBezTo>
                            <a:pt x="9928" y="130679"/>
                            <a:pt x="9988" y="130679"/>
                            <a:pt x="9988" y="130679"/>
                          </a:cubicBezTo>
                          <a:cubicBezTo>
                            <a:pt x="9988" y="130679"/>
                            <a:pt x="10048" y="130679"/>
                            <a:pt x="10048" y="130679"/>
                          </a:cubicBezTo>
                          <a:cubicBezTo>
                            <a:pt x="10048" y="130679"/>
                            <a:pt x="10107" y="130679"/>
                            <a:pt x="10107" y="130679"/>
                          </a:cubicBezTo>
                          <a:lnTo>
                            <a:pt x="10287" y="130320"/>
                          </a:lnTo>
                          <a:lnTo>
                            <a:pt x="10825" y="129004"/>
                          </a:lnTo>
                          <a:cubicBezTo>
                            <a:pt x="10765" y="128944"/>
                            <a:pt x="10705" y="128884"/>
                            <a:pt x="10586" y="128825"/>
                          </a:cubicBezTo>
                          <a:cubicBezTo>
                            <a:pt x="10526" y="128765"/>
                            <a:pt x="10466" y="128705"/>
                            <a:pt x="10347" y="128645"/>
                          </a:cubicBezTo>
                          <a:cubicBezTo>
                            <a:pt x="10287" y="128586"/>
                            <a:pt x="10227" y="128526"/>
                            <a:pt x="10107" y="128466"/>
                          </a:cubicBezTo>
                          <a:cubicBezTo>
                            <a:pt x="10048" y="128406"/>
                            <a:pt x="9988" y="128346"/>
                            <a:pt x="9868" y="128287"/>
                          </a:cubicBezTo>
                          <a:lnTo>
                            <a:pt x="9150" y="129961"/>
                          </a:lnTo>
                          <a:lnTo>
                            <a:pt x="3229" y="127928"/>
                          </a:lnTo>
                          <a:cubicBezTo>
                            <a:pt x="3229" y="128047"/>
                            <a:pt x="3289" y="128167"/>
                            <a:pt x="3289" y="128227"/>
                          </a:cubicBezTo>
                          <a:cubicBezTo>
                            <a:pt x="3289" y="128346"/>
                            <a:pt x="3289" y="128466"/>
                            <a:pt x="3289" y="128526"/>
                          </a:cubicBezTo>
                          <a:cubicBezTo>
                            <a:pt x="3289" y="128645"/>
                            <a:pt x="3289" y="128765"/>
                            <a:pt x="3289" y="128884"/>
                          </a:cubicBezTo>
                          <a:cubicBezTo>
                            <a:pt x="3289" y="129124"/>
                            <a:pt x="3289" y="129243"/>
                            <a:pt x="3289" y="129303"/>
                          </a:cubicBezTo>
                          <a:moveTo>
                            <a:pt x="0" y="128227"/>
                          </a:moveTo>
                          <a:lnTo>
                            <a:pt x="2213" y="128944"/>
                          </a:lnTo>
                          <a:cubicBezTo>
                            <a:pt x="2213" y="128825"/>
                            <a:pt x="2213" y="128705"/>
                            <a:pt x="2213" y="128586"/>
                          </a:cubicBezTo>
                          <a:cubicBezTo>
                            <a:pt x="2213" y="128466"/>
                            <a:pt x="2153" y="128346"/>
                            <a:pt x="2153" y="128227"/>
                          </a:cubicBezTo>
                          <a:cubicBezTo>
                            <a:pt x="2093" y="128107"/>
                            <a:pt x="2093" y="127988"/>
                            <a:pt x="2033" y="127928"/>
                          </a:cubicBezTo>
                          <a:cubicBezTo>
                            <a:pt x="1973" y="127808"/>
                            <a:pt x="1914" y="127748"/>
                            <a:pt x="1854" y="127628"/>
                          </a:cubicBezTo>
                          <a:cubicBezTo>
                            <a:pt x="1854" y="127628"/>
                            <a:pt x="1854" y="127569"/>
                            <a:pt x="1794" y="127569"/>
                          </a:cubicBezTo>
                          <a:cubicBezTo>
                            <a:pt x="1794" y="127569"/>
                            <a:pt x="1794" y="127509"/>
                            <a:pt x="1734" y="127509"/>
                          </a:cubicBezTo>
                          <a:cubicBezTo>
                            <a:pt x="1674" y="127509"/>
                            <a:pt x="1734" y="127449"/>
                            <a:pt x="1674" y="127449"/>
                          </a:cubicBezTo>
                          <a:cubicBezTo>
                            <a:pt x="1674" y="127449"/>
                            <a:pt x="1615" y="127389"/>
                            <a:pt x="1615" y="127389"/>
                          </a:cubicBezTo>
                          <a:lnTo>
                            <a:pt x="1555" y="127389"/>
                          </a:lnTo>
                          <a:lnTo>
                            <a:pt x="1555" y="127389"/>
                          </a:lnTo>
                          <a:cubicBezTo>
                            <a:pt x="1555" y="127389"/>
                            <a:pt x="1555" y="127389"/>
                            <a:pt x="1495" y="127329"/>
                          </a:cubicBezTo>
                          <a:cubicBezTo>
                            <a:pt x="1435" y="127270"/>
                            <a:pt x="1495" y="127329"/>
                            <a:pt x="1435" y="127270"/>
                          </a:cubicBezTo>
                          <a:cubicBezTo>
                            <a:pt x="1375" y="127210"/>
                            <a:pt x="1375" y="127270"/>
                            <a:pt x="1375" y="127210"/>
                          </a:cubicBezTo>
                          <a:cubicBezTo>
                            <a:pt x="1375" y="127210"/>
                            <a:pt x="1316" y="127210"/>
                            <a:pt x="1316" y="127150"/>
                          </a:cubicBezTo>
                          <a:cubicBezTo>
                            <a:pt x="1256" y="127090"/>
                            <a:pt x="1196" y="127090"/>
                            <a:pt x="1136" y="127030"/>
                          </a:cubicBezTo>
                          <a:cubicBezTo>
                            <a:pt x="1076" y="126971"/>
                            <a:pt x="1017" y="126971"/>
                            <a:pt x="957" y="126911"/>
                          </a:cubicBezTo>
                          <a:cubicBezTo>
                            <a:pt x="897" y="126851"/>
                            <a:pt x="837" y="126851"/>
                            <a:pt x="778" y="126851"/>
                          </a:cubicBezTo>
                          <a:cubicBezTo>
                            <a:pt x="718" y="126851"/>
                            <a:pt x="658" y="126791"/>
                            <a:pt x="538" y="126791"/>
                          </a:cubicBezTo>
                          <a:lnTo>
                            <a:pt x="419" y="127030"/>
                          </a:lnTo>
                          <a:lnTo>
                            <a:pt x="179" y="127569"/>
                          </a:lnTo>
                          <a:lnTo>
                            <a:pt x="0" y="128227"/>
                          </a:lnTo>
                        </a:path>
                      </a:pathLst>
                    </a:custGeom>
                    <a:noFill/>
                    <a:ln w="6350" cap="flat">
                      <a:solidFill>
                        <a:schemeClr val="bg1">
                          <a:alpha val="80000"/>
                        </a:schemeClr>
                      </a:solidFill>
                      <a:prstDash val="solid"/>
                      <a:miter/>
                    </a:ln>
                  </p:spPr>
                  <p:txBody>
                    <a:bodyPr rtlCol="0" anchor="ctr"/>
                    <a:lstStyle/>
                    <a:p>
                      <a:endParaRPr lang="en-GB"/>
                    </a:p>
                  </p:txBody>
                </p:sp>
                <p:sp>
                  <p:nvSpPr>
                    <p:cNvPr id="7439" name="Vrije vorm: vorm 7438">
                      <a:extLst>
                        <a:ext uri="{FF2B5EF4-FFF2-40B4-BE49-F238E27FC236}">
                          <a16:creationId xmlns:a16="http://schemas.microsoft.com/office/drawing/2014/main" id="{71ADAA8E-EC5A-4002-87AF-BB1144AADB98}"/>
                        </a:ext>
                      </a:extLst>
                    </p:cNvPr>
                    <p:cNvSpPr/>
                    <p:nvPr/>
                  </p:nvSpPr>
                  <p:spPr>
                    <a:xfrm>
                      <a:off x="5035892" y="4931781"/>
                      <a:ext cx="48175" cy="51694"/>
                    </a:xfrm>
                    <a:custGeom>
                      <a:avLst/>
                      <a:gdLst>
                        <a:gd name="connsiteX0" fmla="*/ 10601 w 48175"/>
                        <a:gd name="connsiteY0" fmla="*/ 47449 h 51694"/>
                        <a:gd name="connsiteX1" fmla="*/ 10063 w 48175"/>
                        <a:gd name="connsiteY1" fmla="*/ 47090 h 51694"/>
                        <a:gd name="connsiteX2" fmla="*/ 9524 w 48175"/>
                        <a:gd name="connsiteY2" fmla="*/ 46731 h 51694"/>
                        <a:gd name="connsiteX3" fmla="*/ 8986 w 48175"/>
                        <a:gd name="connsiteY3" fmla="*/ 46313 h 51694"/>
                        <a:gd name="connsiteX4" fmla="*/ 8508 w 48175"/>
                        <a:gd name="connsiteY4" fmla="*/ 45894 h 51694"/>
                        <a:gd name="connsiteX5" fmla="*/ 7192 w 48175"/>
                        <a:gd name="connsiteY5" fmla="*/ 44638 h 51694"/>
                        <a:gd name="connsiteX6" fmla="*/ 5996 w 48175"/>
                        <a:gd name="connsiteY6" fmla="*/ 43262 h 51694"/>
                        <a:gd name="connsiteX7" fmla="*/ 4919 w 48175"/>
                        <a:gd name="connsiteY7" fmla="*/ 41767 h 51694"/>
                        <a:gd name="connsiteX8" fmla="*/ 3962 w 48175"/>
                        <a:gd name="connsiteY8" fmla="*/ 40152 h 51694"/>
                        <a:gd name="connsiteX9" fmla="*/ 3783 w 48175"/>
                        <a:gd name="connsiteY9" fmla="*/ 39853 h 51694"/>
                        <a:gd name="connsiteX10" fmla="*/ 3604 w 48175"/>
                        <a:gd name="connsiteY10" fmla="*/ 39494 h 51694"/>
                        <a:gd name="connsiteX11" fmla="*/ 3424 w 48175"/>
                        <a:gd name="connsiteY11" fmla="*/ 39136 h 51694"/>
                        <a:gd name="connsiteX12" fmla="*/ 3245 w 48175"/>
                        <a:gd name="connsiteY12" fmla="*/ 38777 h 51694"/>
                        <a:gd name="connsiteX13" fmla="*/ 3185 w 48175"/>
                        <a:gd name="connsiteY13" fmla="*/ 38717 h 51694"/>
                        <a:gd name="connsiteX14" fmla="*/ 3125 w 48175"/>
                        <a:gd name="connsiteY14" fmla="*/ 38657 h 51694"/>
                        <a:gd name="connsiteX15" fmla="*/ 3065 w 48175"/>
                        <a:gd name="connsiteY15" fmla="*/ 38597 h 51694"/>
                        <a:gd name="connsiteX16" fmla="*/ 3006 w 48175"/>
                        <a:gd name="connsiteY16" fmla="*/ 38537 h 51694"/>
                        <a:gd name="connsiteX17" fmla="*/ 1510 w 48175"/>
                        <a:gd name="connsiteY17" fmla="*/ 34112 h 51694"/>
                        <a:gd name="connsiteX18" fmla="*/ 912 w 48175"/>
                        <a:gd name="connsiteY18" fmla="*/ 29447 h 51694"/>
                        <a:gd name="connsiteX19" fmla="*/ 1211 w 48175"/>
                        <a:gd name="connsiteY19" fmla="*/ 24602 h 51694"/>
                        <a:gd name="connsiteX20" fmla="*/ 2407 w 48175"/>
                        <a:gd name="connsiteY20" fmla="*/ 19758 h 51694"/>
                        <a:gd name="connsiteX21" fmla="*/ 4441 w 48175"/>
                        <a:gd name="connsiteY21" fmla="*/ 15153 h 51694"/>
                        <a:gd name="connsiteX22" fmla="*/ 7192 w 48175"/>
                        <a:gd name="connsiteY22" fmla="*/ 11026 h 51694"/>
                        <a:gd name="connsiteX23" fmla="*/ 10601 w 48175"/>
                        <a:gd name="connsiteY23" fmla="*/ 7497 h 51694"/>
                        <a:gd name="connsiteX24" fmla="*/ 14608 w 48175"/>
                        <a:gd name="connsiteY24" fmla="*/ 4627 h 51694"/>
                        <a:gd name="connsiteX25" fmla="*/ 18615 w 48175"/>
                        <a:gd name="connsiteY25" fmla="*/ 2713 h 51694"/>
                        <a:gd name="connsiteX26" fmla="*/ 22742 w 48175"/>
                        <a:gd name="connsiteY26" fmla="*/ 1636 h 51694"/>
                        <a:gd name="connsiteX27" fmla="*/ 26929 w 48175"/>
                        <a:gd name="connsiteY27" fmla="*/ 1397 h 51694"/>
                        <a:gd name="connsiteX28" fmla="*/ 31055 w 48175"/>
                        <a:gd name="connsiteY28" fmla="*/ 1935 h 51694"/>
                        <a:gd name="connsiteX29" fmla="*/ 31354 w 48175"/>
                        <a:gd name="connsiteY29" fmla="*/ 1995 h 51694"/>
                        <a:gd name="connsiteX30" fmla="*/ 31653 w 48175"/>
                        <a:gd name="connsiteY30" fmla="*/ 2055 h 51694"/>
                        <a:gd name="connsiteX31" fmla="*/ 31952 w 48175"/>
                        <a:gd name="connsiteY31" fmla="*/ 2115 h 51694"/>
                        <a:gd name="connsiteX32" fmla="*/ 32251 w 48175"/>
                        <a:gd name="connsiteY32" fmla="*/ 2175 h 51694"/>
                        <a:gd name="connsiteX33" fmla="*/ 33148 w 48175"/>
                        <a:gd name="connsiteY33" fmla="*/ 2474 h 51694"/>
                        <a:gd name="connsiteX34" fmla="*/ 33986 w 48175"/>
                        <a:gd name="connsiteY34" fmla="*/ 2833 h 51694"/>
                        <a:gd name="connsiteX35" fmla="*/ 34823 w 48175"/>
                        <a:gd name="connsiteY35" fmla="*/ 3191 h 51694"/>
                        <a:gd name="connsiteX36" fmla="*/ 35660 w 48175"/>
                        <a:gd name="connsiteY36" fmla="*/ 3610 h 51694"/>
                        <a:gd name="connsiteX37" fmla="*/ 35900 w 48175"/>
                        <a:gd name="connsiteY37" fmla="*/ 3730 h 51694"/>
                        <a:gd name="connsiteX38" fmla="*/ 36139 w 48175"/>
                        <a:gd name="connsiteY38" fmla="*/ 3849 h 51694"/>
                        <a:gd name="connsiteX39" fmla="*/ 36378 w 48175"/>
                        <a:gd name="connsiteY39" fmla="*/ 3969 h 51694"/>
                        <a:gd name="connsiteX40" fmla="*/ 36617 w 48175"/>
                        <a:gd name="connsiteY40" fmla="*/ 4089 h 51694"/>
                        <a:gd name="connsiteX41" fmla="*/ 37395 w 48175"/>
                        <a:gd name="connsiteY41" fmla="*/ 4567 h 51694"/>
                        <a:gd name="connsiteX42" fmla="*/ 38112 w 48175"/>
                        <a:gd name="connsiteY42" fmla="*/ 5045 h 51694"/>
                        <a:gd name="connsiteX43" fmla="*/ 38830 w 48175"/>
                        <a:gd name="connsiteY43" fmla="*/ 5584 h 51694"/>
                        <a:gd name="connsiteX44" fmla="*/ 39488 w 48175"/>
                        <a:gd name="connsiteY44" fmla="*/ 6122 h 51694"/>
                        <a:gd name="connsiteX45" fmla="*/ 39548 w 48175"/>
                        <a:gd name="connsiteY45" fmla="*/ 6122 h 51694"/>
                        <a:gd name="connsiteX46" fmla="*/ 39608 w 48175"/>
                        <a:gd name="connsiteY46" fmla="*/ 6122 h 51694"/>
                        <a:gd name="connsiteX47" fmla="*/ 39667 w 48175"/>
                        <a:gd name="connsiteY47" fmla="*/ 6122 h 51694"/>
                        <a:gd name="connsiteX48" fmla="*/ 39727 w 48175"/>
                        <a:gd name="connsiteY48" fmla="*/ 6122 h 51694"/>
                        <a:gd name="connsiteX49" fmla="*/ 39907 w 48175"/>
                        <a:gd name="connsiteY49" fmla="*/ 6301 h 51694"/>
                        <a:gd name="connsiteX50" fmla="*/ 40086 w 48175"/>
                        <a:gd name="connsiteY50" fmla="*/ 6481 h 51694"/>
                        <a:gd name="connsiteX51" fmla="*/ 40265 w 48175"/>
                        <a:gd name="connsiteY51" fmla="*/ 6660 h 51694"/>
                        <a:gd name="connsiteX52" fmla="*/ 40445 w 48175"/>
                        <a:gd name="connsiteY52" fmla="*/ 6840 h 51694"/>
                        <a:gd name="connsiteX53" fmla="*/ 41641 w 48175"/>
                        <a:gd name="connsiteY53" fmla="*/ 8096 h 51694"/>
                        <a:gd name="connsiteX54" fmla="*/ 42718 w 48175"/>
                        <a:gd name="connsiteY54" fmla="*/ 9471 h 51694"/>
                        <a:gd name="connsiteX55" fmla="*/ 43674 w 48175"/>
                        <a:gd name="connsiteY55" fmla="*/ 10966 h 51694"/>
                        <a:gd name="connsiteX56" fmla="*/ 44512 w 48175"/>
                        <a:gd name="connsiteY56" fmla="*/ 12521 h 51694"/>
                        <a:gd name="connsiteX57" fmla="*/ 44632 w 48175"/>
                        <a:gd name="connsiteY57" fmla="*/ 12820 h 51694"/>
                        <a:gd name="connsiteX58" fmla="*/ 44751 w 48175"/>
                        <a:gd name="connsiteY58" fmla="*/ 13119 h 51694"/>
                        <a:gd name="connsiteX59" fmla="*/ 44871 w 48175"/>
                        <a:gd name="connsiteY59" fmla="*/ 13419 h 51694"/>
                        <a:gd name="connsiteX60" fmla="*/ 44990 w 48175"/>
                        <a:gd name="connsiteY60" fmla="*/ 13718 h 51694"/>
                        <a:gd name="connsiteX61" fmla="*/ 46366 w 48175"/>
                        <a:gd name="connsiteY61" fmla="*/ 18023 h 51694"/>
                        <a:gd name="connsiteX62" fmla="*/ 46904 w 48175"/>
                        <a:gd name="connsiteY62" fmla="*/ 22629 h 51694"/>
                        <a:gd name="connsiteX63" fmla="*/ 46605 w 48175"/>
                        <a:gd name="connsiteY63" fmla="*/ 27413 h 51694"/>
                        <a:gd name="connsiteX64" fmla="*/ 45409 w 48175"/>
                        <a:gd name="connsiteY64" fmla="*/ 32258 h 51694"/>
                        <a:gd name="connsiteX65" fmla="*/ 43375 w 48175"/>
                        <a:gd name="connsiteY65" fmla="*/ 36803 h 51694"/>
                        <a:gd name="connsiteX66" fmla="*/ 40684 w 48175"/>
                        <a:gd name="connsiteY66" fmla="*/ 40810 h 51694"/>
                        <a:gd name="connsiteX67" fmla="*/ 37335 w 48175"/>
                        <a:gd name="connsiteY67" fmla="*/ 44279 h 51694"/>
                        <a:gd name="connsiteX68" fmla="*/ 33447 w 48175"/>
                        <a:gd name="connsiteY68" fmla="*/ 47090 h 51694"/>
                        <a:gd name="connsiteX69" fmla="*/ 32311 w 48175"/>
                        <a:gd name="connsiteY69" fmla="*/ 47688 h 51694"/>
                        <a:gd name="connsiteX70" fmla="*/ 31175 w 48175"/>
                        <a:gd name="connsiteY70" fmla="*/ 48226 h 51694"/>
                        <a:gd name="connsiteX71" fmla="*/ 30039 w 48175"/>
                        <a:gd name="connsiteY71" fmla="*/ 48705 h 51694"/>
                        <a:gd name="connsiteX72" fmla="*/ 28902 w 48175"/>
                        <a:gd name="connsiteY72" fmla="*/ 49123 h 51694"/>
                        <a:gd name="connsiteX73" fmla="*/ 28543 w 48175"/>
                        <a:gd name="connsiteY73" fmla="*/ 49243 h 51694"/>
                        <a:gd name="connsiteX74" fmla="*/ 28185 w 48175"/>
                        <a:gd name="connsiteY74" fmla="*/ 49362 h 51694"/>
                        <a:gd name="connsiteX75" fmla="*/ 27825 w 48175"/>
                        <a:gd name="connsiteY75" fmla="*/ 49482 h 51694"/>
                        <a:gd name="connsiteX76" fmla="*/ 27467 w 48175"/>
                        <a:gd name="connsiteY76" fmla="*/ 49602 h 51694"/>
                        <a:gd name="connsiteX77" fmla="*/ 25732 w 48175"/>
                        <a:gd name="connsiteY77" fmla="*/ 50021 h 51694"/>
                        <a:gd name="connsiteX78" fmla="*/ 23998 w 48175"/>
                        <a:gd name="connsiteY78" fmla="*/ 50320 h 51694"/>
                        <a:gd name="connsiteX79" fmla="*/ 22263 w 48175"/>
                        <a:gd name="connsiteY79" fmla="*/ 50439 h 51694"/>
                        <a:gd name="connsiteX80" fmla="*/ 20529 w 48175"/>
                        <a:gd name="connsiteY80" fmla="*/ 50439 h 51694"/>
                        <a:gd name="connsiteX81" fmla="*/ 20230 w 48175"/>
                        <a:gd name="connsiteY81" fmla="*/ 50439 h 51694"/>
                        <a:gd name="connsiteX82" fmla="*/ 19931 w 48175"/>
                        <a:gd name="connsiteY82" fmla="*/ 50439 h 51694"/>
                        <a:gd name="connsiteX83" fmla="*/ 19632 w 48175"/>
                        <a:gd name="connsiteY83" fmla="*/ 50439 h 51694"/>
                        <a:gd name="connsiteX84" fmla="*/ 19333 w 48175"/>
                        <a:gd name="connsiteY84" fmla="*/ 50439 h 51694"/>
                        <a:gd name="connsiteX85" fmla="*/ 18495 w 48175"/>
                        <a:gd name="connsiteY85" fmla="*/ 50320 h 51694"/>
                        <a:gd name="connsiteX86" fmla="*/ 17658 w 48175"/>
                        <a:gd name="connsiteY86" fmla="*/ 50200 h 51694"/>
                        <a:gd name="connsiteX87" fmla="*/ 16821 w 48175"/>
                        <a:gd name="connsiteY87" fmla="*/ 50021 h 51694"/>
                        <a:gd name="connsiteX88" fmla="*/ 15984 w 48175"/>
                        <a:gd name="connsiteY88" fmla="*/ 49781 h 51694"/>
                        <a:gd name="connsiteX89" fmla="*/ 14847 w 48175"/>
                        <a:gd name="connsiteY89" fmla="*/ 49422 h 51694"/>
                        <a:gd name="connsiteX90" fmla="*/ 13711 w 48175"/>
                        <a:gd name="connsiteY90" fmla="*/ 49004 h 51694"/>
                        <a:gd name="connsiteX91" fmla="*/ 12634 w 48175"/>
                        <a:gd name="connsiteY91" fmla="*/ 48525 h 51694"/>
                        <a:gd name="connsiteX92" fmla="*/ 11618 w 48175"/>
                        <a:gd name="connsiteY92" fmla="*/ 47987 h 51694"/>
                        <a:gd name="connsiteX93" fmla="*/ 11378 w 48175"/>
                        <a:gd name="connsiteY93" fmla="*/ 47867 h 51694"/>
                        <a:gd name="connsiteX94" fmla="*/ 11139 w 48175"/>
                        <a:gd name="connsiteY94" fmla="*/ 47748 h 51694"/>
                        <a:gd name="connsiteX95" fmla="*/ 10900 w 48175"/>
                        <a:gd name="connsiteY95" fmla="*/ 47628 h 51694"/>
                        <a:gd name="connsiteX96" fmla="*/ 10601 w 48175"/>
                        <a:gd name="connsiteY96" fmla="*/ 47449 h 51694"/>
                        <a:gd name="connsiteX97" fmla="*/ 7730 w 48175"/>
                        <a:gd name="connsiteY97" fmla="*/ 46851 h 51694"/>
                        <a:gd name="connsiteX98" fmla="*/ 8329 w 48175"/>
                        <a:gd name="connsiteY98" fmla="*/ 47329 h 51694"/>
                        <a:gd name="connsiteX99" fmla="*/ 8926 w 48175"/>
                        <a:gd name="connsiteY99" fmla="*/ 47808 h 51694"/>
                        <a:gd name="connsiteX100" fmla="*/ 9524 w 48175"/>
                        <a:gd name="connsiteY100" fmla="*/ 48226 h 51694"/>
                        <a:gd name="connsiteX101" fmla="*/ 10123 w 48175"/>
                        <a:gd name="connsiteY101" fmla="*/ 48645 h 51694"/>
                        <a:gd name="connsiteX102" fmla="*/ 10362 w 48175"/>
                        <a:gd name="connsiteY102" fmla="*/ 48764 h 51694"/>
                        <a:gd name="connsiteX103" fmla="*/ 10601 w 48175"/>
                        <a:gd name="connsiteY103" fmla="*/ 48884 h 51694"/>
                        <a:gd name="connsiteX104" fmla="*/ 10840 w 48175"/>
                        <a:gd name="connsiteY104" fmla="*/ 49004 h 51694"/>
                        <a:gd name="connsiteX105" fmla="*/ 11079 w 48175"/>
                        <a:gd name="connsiteY105" fmla="*/ 49123 h 51694"/>
                        <a:gd name="connsiteX106" fmla="*/ 12156 w 48175"/>
                        <a:gd name="connsiteY106" fmla="*/ 49662 h 51694"/>
                        <a:gd name="connsiteX107" fmla="*/ 13233 w 48175"/>
                        <a:gd name="connsiteY107" fmla="*/ 50140 h 51694"/>
                        <a:gd name="connsiteX108" fmla="*/ 14369 w 48175"/>
                        <a:gd name="connsiteY108" fmla="*/ 50559 h 51694"/>
                        <a:gd name="connsiteX109" fmla="*/ 15565 w 48175"/>
                        <a:gd name="connsiteY109" fmla="*/ 50917 h 51694"/>
                        <a:gd name="connsiteX110" fmla="*/ 16402 w 48175"/>
                        <a:gd name="connsiteY110" fmla="*/ 51157 h 51694"/>
                        <a:gd name="connsiteX111" fmla="*/ 17240 w 48175"/>
                        <a:gd name="connsiteY111" fmla="*/ 51336 h 51694"/>
                        <a:gd name="connsiteX112" fmla="*/ 18077 w 48175"/>
                        <a:gd name="connsiteY112" fmla="*/ 51456 h 51694"/>
                        <a:gd name="connsiteX113" fmla="*/ 18914 w 48175"/>
                        <a:gd name="connsiteY113" fmla="*/ 51576 h 51694"/>
                        <a:gd name="connsiteX114" fmla="*/ 19214 w 48175"/>
                        <a:gd name="connsiteY114" fmla="*/ 51635 h 51694"/>
                        <a:gd name="connsiteX115" fmla="*/ 19512 w 48175"/>
                        <a:gd name="connsiteY115" fmla="*/ 51635 h 51694"/>
                        <a:gd name="connsiteX116" fmla="*/ 19811 w 48175"/>
                        <a:gd name="connsiteY116" fmla="*/ 51635 h 51694"/>
                        <a:gd name="connsiteX117" fmla="*/ 20110 w 48175"/>
                        <a:gd name="connsiteY117" fmla="*/ 51635 h 51694"/>
                        <a:gd name="connsiteX118" fmla="*/ 21845 w 48175"/>
                        <a:gd name="connsiteY118" fmla="*/ 51695 h 51694"/>
                        <a:gd name="connsiteX119" fmla="*/ 23579 w 48175"/>
                        <a:gd name="connsiteY119" fmla="*/ 51635 h 51694"/>
                        <a:gd name="connsiteX120" fmla="*/ 25314 w 48175"/>
                        <a:gd name="connsiteY120" fmla="*/ 51396 h 51694"/>
                        <a:gd name="connsiteX121" fmla="*/ 27048 w 48175"/>
                        <a:gd name="connsiteY121" fmla="*/ 51037 h 51694"/>
                        <a:gd name="connsiteX122" fmla="*/ 27407 w 48175"/>
                        <a:gd name="connsiteY122" fmla="*/ 50977 h 51694"/>
                        <a:gd name="connsiteX123" fmla="*/ 27766 w 48175"/>
                        <a:gd name="connsiteY123" fmla="*/ 50917 h 51694"/>
                        <a:gd name="connsiteX124" fmla="*/ 28125 w 48175"/>
                        <a:gd name="connsiteY124" fmla="*/ 50798 h 51694"/>
                        <a:gd name="connsiteX125" fmla="*/ 28484 w 48175"/>
                        <a:gd name="connsiteY125" fmla="*/ 50678 h 51694"/>
                        <a:gd name="connsiteX126" fmla="*/ 29919 w 48175"/>
                        <a:gd name="connsiteY126" fmla="*/ 50200 h 51694"/>
                        <a:gd name="connsiteX127" fmla="*/ 31354 w 48175"/>
                        <a:gd name="connsiteY127" fmla="*/ 49602 h 51694"/>
                        <a:gd name="connsiteX128" fmla="*/ 32730 w 48175"/>
                        <a:gd name="connsiteY128" fmla="*/ 48944 h 51694"/>
                        <a:gd name="connsiteX129" fmla="*/ 34105 w 48175"/>
                        <a:gd name="connsiteY129" fmla="*/ 48167 h 51694"/>
                        <a:gd name="connsiteX130" fmla="*/ 38172 w 48175"/>
                        <a:gd name="connsiteY130" fmla="*/ 45236 h 51694"/>
                        <a:gd name="connsiteX131" fmla="*/ 41641 w 48175"/>
                        <a:gd name="connsiteY131" fmla="*/ 41588 h 51694"/>
                        <a:gd name="connsiteX132" fmla="*/ 44452 w 48175"/>
                        <a:gd name="connsiteY132" fmla="*/ 37341 h 51694"/>
                        <a:gd name="connsiteX133" fmla="*/ 46545 w 48175"/>
                        <a:gd name="connsiteY133" fmla="*/ 32616 h 51694"/>
                        <a:gd name="connsiteX134" fmla="*/ 47861 w 48175"/>
                        <a:gd name="connsiteY134" fmla="*/ 27413 h 51694"/>
                        <a:gd name="connsiteX135" fmla="*/ 48160 w 48175"/>
                        <a:gd name="connsiteY135" fmla="*/ 22270 h 51694"/>
                        <a:gd name="connsiteX136" fmla="*/ 47502 w 48175"/>
                        <a:gd name="connsiteY136" fmla="*/ 17366 h 51694"/>
                        <a:gd name="connsiteX137" fmla="*/ 45947 w 48175"/>
                        <a:gd name="connsiteY137" fmla="*/ 12760 h 51694"/>
                        <a:gd name="connsiteX138" fmla="*/ 45827 w 48175"/>
                        <a:gd name="connsiteY138" fmla="*/ 12461 h 51694"/>
                        <a:gd name="connsiteX139" fmla="*/ 45708 w 48175"/>
                        <a:gd name="connsiteY139" fmla="*/ 12162 h 51694"/>
                        <a:gd name="connsiteX140" fmla="*/ 45588 w 48175"/>
                        <a:gd name="connsiteY140" fmla="*/ 11864 h 51694"/>
                        <a:gd name="connsiteX141" fmla="*/ 45469 w 48175"/>
                        <a:gd name="connsiteY141" fmla="*/ 11565 h 51694"/>
                        <a:gd name="connsiteX142" fmla="*/ 44632 w 48175"/>
                        <a:gd name="connsiteY142" fmla="*/ 10010 h 51694"/>
                        <a:gd name="connsiteX143" fmla="*/ 43674 w 48175"/>
                        <a:gd name="connsiteY143" fmla="*/ 8574 h 51694"/>
                        <a:gd name="connsiteX144" fmla="*/ 42598 w 48175"/>
                        <a:gd name="connsiteY144" fmla="*/ 7198 h 51694"/>
                        <a:gd name="connsiteX145" fmla="*/ 41402 w 48175"/>
                        <a:gd name="connsiteY145" fmla="*/ 5943 h 51694"/>
                        <a:gd name="connsiteX146" fmla="*/ 41223 w 48175"/>
                        <a:gd name="connsiteY146" fmla="*/ 5763 h 51694"/>
                        <a:gd name="connsiteX147" fmla="*/ 41043 w 48175"/>
                        <a:gd name="connsiteY147" fmla="*/ 5584 h 51694"/>
                        <a:gd name="connsiteX148" fmla="*/ 40864 w 48175"/>
                        <a:gd name="connsiteY148" fmla="*/ 5404 h 51694"/>
                        <a:gd name="connsiteX149" fmla="*/ 40684 w 48175"/>
                        <a:gd name="connsiteY149" fmla="*/ 5225 h 51694"/>
                        <a:gd name="connsiteX150" fmla="*/ 40624 w 48175"/>
                        <a:gd name="connsiteY150" fmla="*/ 5225 h 51694"/>
                        <a:gd name="connsiteX151" fmla="*/ 40564 w 48175"/>
                        <a:gd name="connsiteY151" fmla="*/ 5225 h 51694"/>
                        <a:gd name="connsiteX152" fmla="*/ 40505 w 48175"/>
                        <a:gd name="connsiteY152" fmla="*/ 5225 h 51694"/>
                        <a:gd name="connsiteX153" fmla="*/ 40445 w 48175"/>
                        <a:gd name="connsiteY153" fmla="*/ 5225 h 51694"/>
                        <a:gd name="connsiteX154" fmla="*/ 39787 w 48175"/>
                        <a:gd name="connsiteY154" fmla="*/ 4687 h 51694"/>
                        <a:gd name="connsiteX155" fmla="*/ 39069 w 48175"/>
                        <a:gd name="connsiteY155" fmla="*/ 4148 h 51694"/>
                        <a:gd name="connsiteX156" fmla="*/ 38352 w 48175"/>
                        <a:gd name="connsiteY156" fmla="*/ 3610 h 51694"/>
                        <a:gd name="connsiteX157" fmla="*/ 37634 w 48175"/>
                        <a:gd name="connsiteY157" fmla="*/ 3132 h 51694"/>
                        <a:gd name="connsiteX158" fmla="*/ 37395 w 48175"/>
                        <a:gd name="connsiteY158" fmla="*/ 3012 h 51694"/>
                        <a:gd name="connsiteX159" fmla="*/ 37156 w 48175"/>
                        <a:gd name="connsiteY159" fmla="*/ 2892 h 51694"/>
                        <a:gd name="connsiteX160" fmla="*/ 36916 w 48175"/>
                        <a:gd name="connsiteY160" fmla="*/ 2773 h 51694"/>
                        <a:gd name="connsiteX161" fmla="*/ 36677 w 48175"/>
                        <a:gd name="connsiteY161" fmla="*/ 2653 h 51694"/>
                        <a:gd name="connsiteX162" fmla="*/ 35900 w 48175"/>
                        <a:gd name="connsiteY162" fmla="*/ 2235 h 51694"/>
                        <a:gd name="connsiteX163" fmla="*/ 35062 w 48175"/>
                        <a:gd name="connsiteY163" fmla="*/ 1876 h 51694"/>
                        <a:gd name="connsiteX164" fmla="*/ 34225 w 48175"/>
                        <a:gd name="connsiteY164" fmla="*/ 1517 h 51694"/>
                        <a:gd name="connsiteX165" fmla="*/ 33328 w 48175"/>
                        <a:gd name="connsiteY165" fmla="*/ 1218 h 51694"/>
                        <a:gd name="connsiteX166" fmla="*/ 33208 w 48175"/>
                        <a:gd name="connsiteY166" fmla="*/ 1158 h 51694"/>
                        <a:gd name="connsiteX167" fmla="*/ 33088 w 48175"/>
                        <a:gd name="connsiteY167" fmla="*/ 1098 h 51694"/>
                        <a:gd name="connsiteX168" fmla="*/ 32969 w 48175"/>
                        <a:gd name="connsiteY168" fmla="*/ 1038 h 51694"/>
                        <a:gd name="connsiteX169" fmla="*/ 32849 w 48175"/>
                        <a:gd name="connsiteY169" fmla="*/ 979 h 51694"/>
                        <a:gd name="connsiteX170" fmla="*/ 32670 w 48175"/>
                        <a:gd name="connsiteY170" fmla="*/ 919 h 51694"/>
                        <a:gd name="connsiteX171" fmla="*/ 32491 w 48175"/>
                        <a:gd name="connsiteY171" fmla="*/ 859 h 51694"/>
                        <a:gd name="connsiteX172" fmla="*/ 32311 w 48175"/>
                        <a:gd name="connsiteY172" fmla="*/ 799 h 51694"/>
                        <a:gd name="connsiteX173" fmla="*/ 32132 w 48175"/>
                        <a:gd name="connsiteY173" fmla="*/ 739 h 51694"/>
                        <a:gd name="connsiteX174" fmla="*/ 27706 w 48175"/>
                        <a:gd name="connsiteY174" fmla="*/ 21 h 51694"/>
                        <a:gd name="connsiteX175" fmla="*/ 23220 w 48175"/>
                        <a:gd name="connsiteY175" fmla="*/ 261 h 51694"/>
                        <a:gd name="connsiteX176" fmla="*/ 18735 w 48175"/>
                        <a:gd name="connsiteY176" fmla="*/ 1397 h 51694"/>
                        <a:gd name="connsiteX177" fmla="*/ 14369 w 48175"/>
                        <a:gd name="connsiteY177" fmla="*/ 3430 h 51694"/>
                        <a:gd name="connsiteX178" fmla="*/ 10183 w 48175"/>
                        <a:gd name="connsiteY178" fmla="*/ 6421 h 51694"/>
                        <a:gd name="connsiteX179" fmla="*/ 6594 w 48175"/>
                        <a:gd name="connsiteY179" fmla="*/ 10129 h 51694"/>
                        <a:gd name="connsiteX180" fmla="*/ 3723 w 48175"/>
                        <a:gd name="connsiteY180" fmla="*/ 14435 h 51694"/>
                        <a:gd name="connsiteX181" fmla="*/ 1570 w 48175"/>
                        <a:gd name="connsiteY181" fmla="*/ 19280 h 51694"/>
                        <a:gd name="connsiteX182" fmla="*/ 314 w 48175"/>
                        <a:gd name="connsiteY182" fmla="*/ 24363 h 51694"/>
                        <a:gd name="connsiteX183" fmla="*/ 15 w 48175"/>
                        <a:gd name="connsiteY183" fmla="*/ 29447 h 51694"/>
                        <a:gd name="connsiteX184" fmla="*/ 673 w 48175"/>
                        <a:gd name="connsiteY184" fmla="*/ 34351 h 51694"/>
                        <a:gd name="connsiteX185" fmla="*/ 2228 w 48175"/>
                        <a:gd name="connsiteY185" fmla="*/ 38956 h 51694"/>
                        <a:gd name="connsiteX186" fmla="*/ 2348 w 48175"/>
                        <a:gd name="connsiteY186" fmla="*/ 39255 h 51694"/>
                        <a:gd name="connsiteX187" fmla="*/ 2467 w 48175"/>
                        <a:gd name="connsiteY187" fmla="*/ 39554 h 51694"/>
                        <a:gd name="connsiteX188" fmla="*/ 2587 w 48175"/>
                        <a:gd name="connsiteY188" fmla="*/ 39853 h 51694"/>
                        <a:gd name="connsiteX189" fmla="*/ 2707 w 48175"/>
                        <a:gd name="connsiteY189" fmla="*/ 40152 h 51694"/>
                        <a:gd name="connsiteX190" fmla="*/ 2886 w 48175"/>
                        <a:gd name="connsiteY190" fmla="*/ 40451 h 51694"/>
                        <a:gd name="connsiteX191" fmla="*/ 3065 w 48175"/>
                        <a:gd name="connsiteY191" fmla="*/ 40751 h 51694"/>
                        <a:gd name="connsiteX192" fmla="*/ 3245 w 48175"/>
                        <a:gd name="connsiteY192" fmla="*/ 41049 h 51694"/>
                        <a:gd name="connsiteX193" fmla="*/ 3424 w 48175"/>
                        <a:gd name="connsiteY193" fmla="*/ 41348 h 51694"/>
                        <a:gd name="connsiteX194" fmla="*/ 4381 w 48175"/>
                        <a:gd name="connsiteY194" fmla="*/ 42844 h 51694"/>
                        <a:gd name="connsiteX195" fmla="*/ 5458 w 48175"/>
                        <a:gd name="connsiteY195" fmla="*/ 44219 h 51694"/>
                        <a:gd name="connsiteX196" fmla="*/ 6594 w 48175"/>
                        <a:gd name="connsiteY196" fmla="*/ 45475 h 51694"/>
                        <a:gd name="connsiteX197" fmla="*/ 7730 w 48175"/>
                        <a:gd name="connsiteY197" fmla="*/ 46851 h 5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48175" h="51694">
                          <a:moveTo>
                            <a:pt x="10601" y="47449"/>
                          </a:moveTo>
                          <a:cubicBezTo>
                            <a:pt x="10422" y="47329"/>
                            <a:pt x="10242" y="47209"/>
                            <a:pt x="10063" y="47090"/>
                          </a:cubicBezTo>
                          <a:cubicBezTo>
                            <a:pt x="9883" y="46970"/>
                            <a:pt x="9704" y="46851"/>
                            <a:pt x="9524" y="46731"/>
                          </a:cubicBezTo>
                          <a:cubicBezTo>
                            <a:pt x="9345" y="46611"/>
                            <a:pt x="9166" y="46492"/>
                            <a:pt x="8986" y="46313"/>
                          </a:cubicBezTo>
                          <a:cubicBezTo>
                            <a:pt x="8807" y="46133"/>
                            <a:pt x="8628" y="46013"/>
                            <a:pt x="8508" y="45894"/>
                          </a:cubicBezTo>
                          <a:cubicBezTo>
                            <a:pt x="8029" y="45535"/>
                            <a:pt x="7611" y="45116"/>
                            <a:pt x="7192" y="44638"/>
                          </a:cubicBezTo>
                          <a:cubicBezTo>
                            <a:pt x="6774" y="44219"/>
                            <a:pt x="6355" y="43741"/>
                            <a:pt x="5996" y="43262"/>
                          </a:cubicBezTo>
                          <a:cubicBezTo>
                            <a:pt x="5637" y="42784"/>
                            <a:pt x="5278" y="42305"/>
                            <a:pt x="4919" y="41767"/>
                          </a:cubicBezTo>
                          <a:cubicBezTo>
                            <a:pt x="4561" y="41229"/>
                            <a:pt x="4262" y="40751"/>
                            <a:pt x="3962" y="40152"/>
                          </a:cubicBezTo>
                          <a:cubicBezTo>
                            <a:pt x="3903" y="40032"/>
                            <a:pt x="3843" y="39913"/>
                            <a:pt x="3783" y="39853"/>
                          </a:cubicBezTo>
                          <a:cubicBezTo>
                            <a:pt x="3723" y="39734"/>
                            <a:pt x="3663" y="39614"/>
                            <a:pt x="3604" y="39494"/>
                          </a:cubicBezTo>
                          <a:cubicBezTo>
                            <a:pt x="3544" y="39375"/>
                            <a:pt x="3484" y="39255"/>
                            <a:pt x="3424" y="39136"/>
                          </a:cubicBezTo>
                          <a:cubicBezTo>
                            <a:pt x="3364" y="39016"/>
                            <a:pt x="3305" y="38896"/>
                            <a:pt x="3245" y="38777"/>
                          </a:cubicBezTo>
                          <a:cubicBezTo>
                            <a:pt x="3245" y="38777"/>
                            <a:pt x="3245" y="38717"/>
                            <a:pt x="3185" y="38717"/>
                          </a:cubicBezTo>
                          <a:cubicBezTo>
                            <a:pt x="3185" y="38717"/>
                            <a:pt x="3185" y="38657"/>
                            <a:pt x="3125" y="38657"/>
                          </a:cubicBezTo>
                          <a:cubicBezTo>
                            <a:pt x="3065" y="38657"/>
                            <a:pt x="3125" y="38597"/>
                            <a:pt x="3065" y="38597"/>
                          </a:cubicBezTo>
                          <a:cubicBezTo>
                            <a:pt x="3065" y="38597"/>
                            <a:pt x="3065" y="38537"/>
                            <a:pt x="3006" y="38537"/>
                          </a:cubicBezTo>
                          <a:cubicBezTo>
                            <a:pt x="2348" y="37102"/>
                            <a:pt x="1869" y="35607"/>
                            <a:pt x="1510" y="34112"/>
                          </a:cubicBezTo>
                          <a:cubicBezTo>
                            <a:pt x="1152" y="32557"/>
                            <a:pt x="972" y="31002"/>
                            <a:pt x="912" y="29447"/>
                          </a:cubicBezTo>
                          <a:cubicBezTo>
                            <a:pt x="853" y="27832"/>
                            <a:pt x="972" y="26217"/>
                            <a:pt x="1211" y="24602"/>
                          </a:cubicBezTo>
                          <a:cubicBezTo>
                            <a:pt x="1451" y="22988"/>
                            <a:pt x="1869" y="21373"/>
                            <a:pt x="2407" y="19758"/>
                          </a:cubicBezTo>
                          <a:cubicBezTo>
                            <a:pt x="2946" y="18143"/>
                            <a:pt x="3604" y="16588"/>
                            <a:pt x="4441" y="15153"/>
                          </a:cubicBezTo>
                          <a:cubicBezTo>
                            <a:pt x="5278" y="13718"/>
                            <a:pt x="6175" y="12342"/>
                            <a:pt x="7192" y="11026"/>
                          </a:cubicBezTo>
                          <a:cubicBezTo>
                            <a:pt x="8209" y="9711"/>
                            <a:pt x="9345" y="8574"/>
                            <a:pt x="10601" y="7497"/>
                          </a:cubicBezTo>
                          <a:cubicBezTo>
                            <a:pt x="11857" y="6421"/>
                            <a:pt x="13173" y="5464"/>
                            <a:pt x="14608" y="4627"/>
                          </a:cubicBezTo>
                          <a:cubicBezTo>
                            <a:pt x="15924" y="3849"/>
                            <a:pt x="17240" y="3251"/>
                            <a:pt x="18615" y="2713"/>
                          </a:cubicBezTo>
                          <a:cubicBezTo>
                            <a:pt x="19991" y="2235"/>
                            <a:pt x="21366" y="1876"/>
                            <a:pt x="22742" y="1636"/>
                          </a:cubicBezTo>
                          <a:cubicBezTo>
                            <a:pt x="24117" y="1397"/>
                            <a:pt x="25553" y="1337"/>
                            <a:pt x="26929" y="1397"/>
                          </a:cubicBezTo>
                          <a:cubicBezTo>
                            <a:pt x="28304" y="1457"/>
                            <a:pt x="29680" y="1636"/>
                            <a:pt x="31055" y="1935"/>
                          </a:cubicBezTo>
                          <a:cubicBezTo>
                            <a:pt x="31175" y="1935"/>
                            <a:pt x="31234" y="1995"/>
                            <a:pt x="31354" y="1995"/>
                          </a:cubicBezTo>
                          <a:cubicBezTo>
                            <a:pt x="31474" y="1995"/>
                            <a:pt x="31534" y="2055"/>
                            <a:pt x="31653" y="2055"/>
                          </a:cubicBezTo>
                          <a:cubicBezTo>
                            <a:pt x="31773" y="2055"/>
                            <a:pt x="31833" y="2115"/>
                            <a:pt x="31952" y="2115"/>
                          </a:cubicBezTo>
                          <a:cubicBezTo>
                            <a:pt x="32072" y="2115"/>
                            <a:pt x="32132" y="2175"/>
                            <a:pt x="32251" y="2175"/>
                          </a:cubicBezTo>
                          <a:cubicBezTo>
                            <a:pt x="32550" y="2294"/>
                            <a:pt x="32849" y="2354"/>
                            <a:pt x="33148" y="2474"/>
                          </a:cubicBezTo>
                          <a:cubicBezTo>
                            <a:pt x="33447" y="2593"/>
                            <a:pt x="33747" y="2713"/>
                            <a:pt x="33986" y="2833"/>
                          </a:cubicBezTo>
                          <a:cubicBezTo>
                            <a:pt x="34285" y="2952"/>
                            <a:pt x="34524" y="3072"/>
                            <a:pt x="34823" y="3191"/>
                          </a:cubicBezTo>
                          <a:cubicBezTo>
                            <a:pt x="35122" y="3311"/>
                            <a:pt x="35361" y="3430"/>
                            <a:pt x="35660" y="3610"/>
                          </a:cubicBezTo>
                          <a:cubicBezTo>
                            <a:pt x="35720" y="3670"/>
                            <a:pt x="35840" y="3670"/>
                            <a:pt x="35900" y="3730"/>
                          </a:cubicBezTo>
                          <a:cubicBezTo>
                            <a:pt x="35959" y="3789"/>
                            <a:pt x="36079" y="3849"/>
                            <a:pt x="36139" y="3849"/>
                          </a:cubicBezTo>
                          <a:cubicBezTo>
                            <a:pt x="36199" y="3909"/>
                            <a:pt x="36318" y="3969"/>
                            <a:pt x="36378" y="3969"/>
                          </a:cubicBezTo>
                          <a:cubicBezTo>
                            <a:pt x="36438" y="4029"/>
                            <a:pt x="36557" y="4089"/>
                            <a:pt x="36617" y="4089"/>
                          </a:cubicBezTo>
                          <a:cubicBezTo>
                            <a:pt x="36856" y="4268"/>
                            <a:pt x="37096" y="4388"/>
                            <a:pt x="37395" y="4567"/>
                          </a:cubicBezTo>
                          <a:cubicBezTo>
                            <a:pt x="37634" y="4746"/>
                            <a:pt x="37873" y="4926"/>
                            <a:pt x="38112" y="5045"/>
                          </a:cubicBezTo>
                          <a:cubicBezTo>
                            <a:pt x="38352" y="5225"/>
                            <a:pt x="38591" y="5404"/>
                            <a:pt x="38830" y="5584"/>
                          </a:cubicBezTo>
                          <a:cubicBezTo>
                            <a:pt x="39069" y="5763"/>
                            <a:pt x="39309" y="5943"/>
                            <a:pt x="39488" y="6122"/>
                          </a:cubicBezTo>
                          <a:cubicBezTo>
                            <a:pt x="39488" y="6122"/>
                            <a:pt x="39488" y="6122"/>
                            <a:pt x="39548" y="6122"/>
                          </a:cubicBezTo>
                          <a:cubicBezTo>
                            <a:pt x="39548" y="6122"/>
                            <a:pt x="39548" y="6122"/>
                            <a:pt x="39608" y="6122"/>
                          </a:cubicBezTo>
                          <a:cubicBezTo>
                            <a:pt x="39608" y="6122"/>
                            <a:pt x="39608" y="6122"/>
                            <a:pt x="39667" y="6122"/>
                          </a:cubicBezTo>
                          <a:cubicBezTo>
                            <a:pt x="39667" y="6122"/>
                            <a:pt x="39667" y="6122"/>
                            <a:pt x="39727" y="6122"/>
                          </a:cubicBezTo>
                          <a:cubicBezTo>
                            <a:pt x="39787" y="6182"/>
                            <a:pt x="39847" y="6242"/>
                            <a:pt x="39907" y="6301"/>
                          </a:cubicBezTo>
                          <a:cubicBezTo>
                            <a:pt x="39966" y="6361"/>
                            <a:pt x="40026" y="6421"/>
                            <a:pt x="40086" y="6481"/>
                          </a:cubicBezTo>
                          <a:cubicBezTo>
                            <a:pt x="40146" y="6541"/>
                            <a:pt x="40206" y="6600"/>
                            <a:pt x="40265" y="6660"/>
                          </a:cubicBezTo>
                          <a:cubicBezTo>
                            <a:pt x="40325" y="6720"/>
                            <a:pt x="40385" y="6780"/>
                            <a:pt x="40445" y="6840"/>
                          </a:cubicBezTo>
                          <a:cubicBezTo>
                            <a:pt x="40864" y="7258"/>
                            <a:pt x="41282" y="7677"/>
                            <a:pt x="41641" y="8096"/>
                          </a:cubicBezTo>
                          <a:cubicBezTo>
                            <a:pt x="42000" y="8514"/>
                            <a:pt x="42359" y="8993"/>
                            <a:pt x="42718" y="9471"/>
                          </a:cubicBezTo>
                          <a:cubicBezTo>
                            <a:pt x="43077" y="9950"/>
                            <a:pt x="43375" y="10428"/>
                            <a:pt x="43674" y="10966"/>
                          </a:cubicBezTo>
                          <a:cubicBezTo>
                            <a:pt x="43973" y="11445"/>
                            <a:pt x="44272" y="11983"/>
                            <a:pt x="44512" y="12521"/>
                          </a:cubicBezTo>
                          <a:cubicBezTo>
                            <a:pt x="44572" y="12641"/>
                            <a:pt x="44632" y="12701"/>
                            <a:pt x="44632" y="12820"/>
                          </a:cubicBezTo>
                          <a:cubicBezTo>
                            <a:pt x="44691" y="12940"/>
                            <a:pt x="44691" y="13000"/>
                            <a:pt x="44751" y="13119"/>
                          </a:cubicBezTo>
                          <a:cubicBezTo>
                            <a:pt x="44811" y="13239"/>
                            <a:pt x="44811" y="13299"/>
                            <a:pt x="44871" y="13419"/>
                          </a:cubicBezTo>
                          <a:cubicBezTo>
                            <a:pt x="44931" y="13538"/>
                            <a:pt x="44931" y="13598"/>
                            <a:pt x="44990" y="13718"/>
                          </a:cubicBezTo>
                          <a:cubicBezTo>
                            <a:pt x="45588" y="15093"/>
                            <a:pt x="46007" y="16528"/>
                            <a:pt x="46366" y="18023"/>
                          </a:cubicBezTo>
                          <a:cubicBezTo>
                            <a:pt x="46665" y="19519"/>
                            <a:pt x="46844" y="21074"/>
                            <a:pt x="46904" y="22629"/>
                          </a:cubicBezTo>
                          <a:cubicBezTo>
                            <a:pt x="46964" y="24184"/>
                            <a:pt x="46844" y="25799"/>
                            <a:pt x="46605" y="27413"/>
                          </a:cubicBezTo>
                          <a:cubicBezTo>
                            <a:pt x="46366" y="29028"/>
                            <a:pt x="45947" y="30643"/>
                            <a:pt x="45409" y="32258"/>
                          </a:cubicBezTo>
                          <a:cubicBezTo>
                            <a:pt x="44871" y="33813"/>
                            <a:pt x="44213" y="35368"/>
                            <a:pt x="43375" y="36803"/>
                          </a:cubicBezTo>
                          <a:cubicBezTo>
                            <a:pt x="42598" y="38238"/>
                            <a:pt x="41701" y="39614"/>
                            <a:pt x="40684" y="40810"/>
                          </a:cubicBezTo>
                          <a:cubicBezTo>
                            <a:pt x="39667" y="42066"/>
                            <a:pt x="38531" y="43202"/>
                            <a:pt x="37335" y="44279"/>
                          </a:cubicBezTo>
                          <a:cubicBezTo>
                            <a:pt x="36139" y="45355"/>
                            <a:pt x="34823" y="46253"/>
                            <a:pt x="33447" y="47090"/>
                          </a:cubicBezTo>
                          <a:cubicBezTo>
                            <a:pt x="33088" y="47329"/>
                            <a:pt x="32730" y="47508"/>
                            <a:pt x="32311" y="47688"/>
                          </a:cubicBezTo>
                          <a:cubicBezTo>
                            <a:pt x="31893" y="47867"/>
                            <a:pt x="31534" y="48047"/>
                            <a:pt x="31175" y="48226"/>
                          </a:cubicBezTo>
                          <a:cubicBezTo>
                            <a:pt x="30816" y="48406"/>
                            <a:pt x="30397" y="48585"/>
                            <a:pt x="30039" y="48705"/>
                          </a:cubicBezTo>
                          <a:cubicBezTo>
                            <a:pt x="29680" y="48884"/>
                            <a:pt x="29261" y="49004"/>
                            <a:pt x="28902" y="49123"/>
                          </a:cubicBezTo>
                          <a:cubicBezTo>
                            <a:pt x="28783" y="49183"/>
                            <a:pt x="28663" y="49183"/>
                            <a:pt x="28543" y="49243"/>
                          </a:cubicBezTo>
                          <a:cubicBezTo>
                            <a:pt x="28424" y="49303"/>
                            <a:pt x="28304" y="49303"/>
                            <a:pt x="28185" y="49362"/>
                          </a:cubicBezTo>
                          <a:cubicBezTo>
                            <a:pt x="28065" y="49422"/>
                            <a:pt x="27945" y="49422"/>
                            <a:pt x="27825" y="49482"/>
                          </a:cubicBezTo>
                          <a:cubicBezTo>
                            <a:pt x="27706" y="49542"/>
                            <a:pt x="27586" y="49542"/>
                            <a:pt x="27467" y="49602"/>
                          </a:cubicBezTo>
                          <a:cubicBezTo>
                            <a:pt x="26869" y="49781"/>
                            <a:pt x="26330" y="49901"/>
                            <a:pt x="25732" y="50021"/>
                          </a:cubicBezTo>
                          <a:cubicBezTo>
                            <a:pt x="25134" y="50140"/>
                            <a:pt x="24596" y="50200"/>
                            <a:pt x="23998" y="50320"/>
                          </a:cubicBezTo>
                          <a:cubicBezTo>
                            <a:pt x="23400" y="50379"/>
                            <a:pt x="22862" y="50439"/>
                            <a:pt x="22263" y="50439"/>
                          </a:cubicBezTo>
                          <a:cubicBezTo>
                            <a:pt x="21665" y="50439"/>
                            <a:pt x="21127" y="50439"/>
                            <a:pt x="20529" y="50439"/>
                          </a:cubicBezTo>
                          <a:cubicBezTo>
                            <a:pt x="20409" y="50439"/>
                            <a:pt x="20349" y="50439"/>
                            <a:pt x="20230" y="50439"/>
                          </a:cubicBezTo>
                          <a:cubicBezTo>
                            <a:pt x="20110" y="50439"/>
                            <a:pt x="20051" y="50439"/>
                            <a:pt x="19931" y="50439"/>
                          </a:cubicBezTo>
                          <a:cubicBezTo>
                            <a:pt x="19811" y="50439"/>
                            <a:pt x="19752" y="50439"/>
                            <a:pt x="19632" y="50439"/>
                          </a:cubicBezTo>
                          <a:cubicBezTo>
                            <a:pt x="19512" y="50439"/>
                            <a:pt x="19453" y="50439"/>
                            <a:pt x="19333" y="50439"/>
                          </a:cubicBezTo>
                          <a:cubicBezTo>
                            <a:pt x="19034" y="50379"/>
                            <a:pt x="18735" y="50379"/>
                            <a:pt x="18495" y="50320"/>
                          </a:cubicBezTo>
                          <a:cubicBezTo>
                            <a:pt x="18197" y="50260"/>
                            <a:pt x="17957" y="50200"/>
                            <a:pt x="17658" y="50200"/>
                          </a:cubicBezTo>
                          <a:cubicBezTo>
                            <a:pt x="17359" y="50140"/>
                            <a:pt x="17120" y="50080"/>
                            <a:pt x="16821" y="50021"/>
                          </a:cubicBezTo>
                          <a:cubicBezTo>
                            <a:pt x="16522" y="49961"/>
                            <a:pt x="16283" y="49901"/>
                            <a:pt x="15984" y="49781"/>
                          </a:cubicBezTo>
                          <a:cubicBezTo>
                            <a:pt x="15625" y="49662"/>
                            <a:pt x="15206" y="49542"/>
                            <a:pt x="14847" y="49422"/>
                          </a:cubicBezTo>
                          <a:cubicBezTo>
                            <a:pt x="14489" y="49303"/>
                            <a:pt x="14070" y="49123"/>
                            <a:pt x="13711" y="49004"/>
                          </a:cubicBezTo>
                          <a:cubicBezTo>
                            <a:pt x="13352" y="48884"/>
                            <a:pt x="12993" y="48705"/>
                            <a:pt x="12634" y="48525"/>
                          </a:cubicBezTo>
                          <a:cubicBezTo>
                            <a:pt x="12276" y="48346"/>
                            <a:pt x="11917" y="48167"/>
                            <a:pt x="11618" y="47987"/>
                          </a:cubicBezTo>
                          <a:cubicBezTo>
                            <a:pt x="11558" y="47927"/>
                            <a:pt x="11438" y="47867"/>
                            <a:pt x="11378" y="47867"/>
                          </a:cubicBezTo>
                          <a:cubicBezTo>
                            <a:pt x="11319" y="47867"/>
                            <a:pt x="11199" y="47748"/>
                            <a:pt x="11139" y="47748"/>
                          </a:cubicBezTo>
                          <a:cubicBezTo>
                            <a:pt x="11079" y="47688"/>
                            <a:pt x="10960" y="47628"/>
                            <a:pt x="10900" y="47628"/>
                          </a:cubicBezTo>
                          <a:cubicBezTo>
                            <a:pt x="10840" y="47628"/>
                            <a:pt x="10661" y="47508"/>
                            <a:pt x="10601" y="47449"/>
                          </a:cubicBezTo>
                          <a:moveTo>
                            <a:pt x="7730" y="46851"/>
                          </a:moveTo>
                          <a:cubicBezTo>
                            <a:pt x="7910" y="47030"/>
                            <a:pt x="8089" y="47150"/>
                            <a:pt x="8329" y="47329"/>
                          </a:cubicBezTo>
                          <a:cubicBezTo>
                            <a:pt x="8508" y="47508"/>
                            <a:pt x="8687" y="47628"/>
                            <a:pt x="8926" y="47808"/>
                          </a:cubicBezTo>
                          <a:cubicBezTo>
                            <a:pt x="9106" y="47927"/>
                            <a:pt x="9345" y="48107"/>
                            <a:pt x="9524" y="48226"/>
                          </a:cubicBezTo>
                          <a:cubicBezTo>
                            <a:pt x="9704" y="48346"/>
                            <a:pt x="9943" y="48525"/>
                            <a:pt x="10123" y="48645"/>
                          </a:cubicBezTo>
                          <a:cubicBezTo>
                            <a:pt x="10183" y="48705"/>
                            <a:pt x="10302" y="48764"/>
                            <a:pt x="10362" y="48764"/>
                          </a:cubicBezTo>
                          <a:cubicBezTo>
                            <a:pt x="10422" y="48764"/>
                            <a:pt x="10541" y="48884"/>
                            <a:pt x="10601" y="48884"/>
                          </a:cubicBezTo>
                          <a:cubicBezTo>
                            <a:pt x="10661" y="48944"/>
                            <a:pt x="10780" y="49004"/>
                            <a:pt x="10840" y="49004"/>
                          </a:cubicBezTo>
                          <a:cubicBezTo>
                            <a:pt x="10900" y="49063"/>
                            <a:pt x="11020" y="49123"/>
                            <a:pt x="11079" y="49123"/>
                          </a:cubicBezTo>
                          <a:cubicBezTo>
                            <a:pt x="11438" y="49303"/>
                            <a:pt x="11797" y="49482"/>
                            <a:pt x="12156" y="49662"/>
                          </a:cubicBezTo>
                          <a:cubicBezTo>
                            <a:pt x="12515" y="49841"/>
                            <a:pt x="12874" y="50021"/>
                            <a:pt x="13233" y="50140"/>
                          </a:cubicBezTo>
                          <a:cubicBezTo>
                            <a:pt x="13592" y="50320"/>
                            <a:pt x="14010" y="50439"/>
                            <a:pt x="14369" y="50559"/>
                          </a:cubicBezTo>
                          <a:cubicBezTo>
                            <a:pt x="14728" y="50678"/>
                            <a:pt x="15146" y="50798"/>
                            <a:pt x="15565" y="50917"/>
                          </a:cubicBezTo>
                          <a:cubicBezTo>
                            <a:pt x="15864" y="50977"/>
                            <a:pt x="16103" y="51037"/>
                            <a:pt x="16402" y="51157"/>
                          </a:cubicBezTo>
                          <a:cubicBezTo>
                            <a:pt x="16701" y="51217"/>
                            <a:pt x="16941" y="51276"/>
                            <a:pt x="17240" y="51336"/>
                          </a:cubicBezTo>
                          <a:cubicBezTo>
                            <a:pt x="17539" y="51396"/>
                            <a:pt x="17778" y="51456"/>
                            <a:pt x="18077" y="51456"/>
                          </a:cubicBezTo>
                          <a:cubicBezTo>
                            <a:pt x="18376" y="51456"/>
                            <a:pt x="18615" y="51516"/>
                            <a:pt x="18914" y="51576"/>
                          </a:cubicBezTo>
                          <a:cubicBezTo>
                            <a:pt x="19034" y="51576"/>
                            <a:pt x="19094" y="51576"/>
                            <a:pt x="19214" y="51635"/>
                          </a:cubicBezTo>
                          <a:cubicBezTo>
                            <a:pt x="19333" y="51695"/>
                            <a:pt x="19393" y="51635"/>
                            <a:pt x="19512" y="51635"/>
                          </a:cubicBezTo>
                          <a:cubicBezTo>
                            <a:pt x="19632" y="51635"/>
                            <a:pt x="19692" y="51635"/>
                            <a:pt x="19811" y="51635"/>
                          </a:cubicBezTo>
                          <a:cubicBezTo>
                            <a:pt x="19931" y="51635"/>
                            <a:pt x="19991" y="51635"/>
                            <a:pt x="20110" y="51635"/>
                          </a:cubicBezTo>
                          <a:cubicBezTo>
                            <a:pt x="20709" y="51695"/>
                            <a:pt x="21247" y="51695"/>
                            <a:pt x="21845" y="51695"/>
                          </a:cubicBezTo>
                          <a:cubicBezTo>
                            <a:pt x="22443" y="51695"/>
                            <a:pt x="22981" y="51635"/>
                            <a:pt x="23579" y="51635"/>
                          </a:cubicBezTo>
                          <a:cubicBezTo>
                            <a:pt x="24177" y="51576"/>
                            <a:pt x="24716" y="51516"/>
                            <a:pt x="25314" y="51396"/>
                          </a:cubicBezTo>
                          <a:cubicBezTo>
                            <a:pt x="25912" y="51276"/>
                            <a:pt x="26450" y="51157"/>
                            <a:pt x="27048" y="51037"/>
                          </a:cubicBezTo>
                          <a:cubicBezTo>
                            <a:pt x="27168" y="51037"/>
                            <a:pt x="27287" y="50977"/>
                            <a:pt x="27407" y="50977"/>
                          </a:cubicBezTo>
                          <a:cubicBezTo>
                            <a:pt x="27526" y="50977"/>
                            <a:pt x="27646" y="50917"/>
                            <a:pt x="27766" y="50917"/>
                          </a:cubicBezTo>
                          <a:cubicBezTo>
                            <a:pt x="27885" y="50917"/>
                            <a:pt x="28005" y="50858"/>
                            <a:pt x="28125" y="50798"/>
                          </a:cubicBezTo>
                          <a:cubicBezTo>
                            <a:pt x="28244" y="50738"/>
                            <a:pt x="28364" y="50738"/>
                            <a:pt x="28484" y="50678"/>
                          </a:cubicBezTo>
                          <a:cubicBezTo>
                            <a:pt x="28962" y="50559"/>
                            <a:pt x="29440" y="50379"/>
                            <a:pt x="29919" y="50200"/>
                          </a:cubicBezTo>
                          <a:cubicBezTo>
                            <a:pt x="30397" y="50021"/>
                            <a:pt x="30876" y="49841"/>
                            <a:pt x="31354" y="49602"/>
                          </a:cubicBezTo>
                          <a:cubicBezTo>
                            <a:pt x="31833" y="49362"/>
                            <a:pt x="32311" y="49183"/>
                            <a:pt x="32730" y="48944"/>
                          </a:cubicBezTo>
                          <a:cubicBezTo>
                            <a:pt x="33208" y="48705"/>
                            <a:pt x="33627" y="48466"/>
                            <a:pt x="34105" y="48167"/>
                          </a:cubicBezTo>
                          <a:cubicBezTo>
                            <a:pt x="35541" y="47329"/>
                            <a:pt x="36916" y="46313"/>
                            <a:pt x="38172" y="45236"/>
                          </a:cubicBezTo>
                          <a:cubicBezTo>
                            <a:pt x="39428" y="44159"/>
                            <a:pt x="40624" y="42903"/>
                            <a:pt x="41641" y="41588"/>
                          </a:cubicBezTo>
                          <a:cubicBezTo>
                            <a:pt x="42718" y="40272"/>
                            <a:pt x="43674" y="38837"/>
                            <a:pt x="44452" y="37341"/>
                          </a:cubicBezTo>
                          <a:cubicBezTo>
                            <a:pt x="45289" y="35846"/>
                            <a:pt x="46007" y="34231"/>
                            <a:pt x="46545" y="32616"/>
                          </a:cubicBezTo>
                          <a:cubicBezTo>
                            <a:pt x="47143" y="30882"/>
                            <a:pt x="47562" y="29148"/>
                            <a:pt x="47861" y="27413"/>
                          </a:cubicBezTo>
                          <a:cubicBezTo>
                            <a:pt x="48100" y="25679"/>
                            <a:pt x="48220" y="23944"/>
                            <a:pt x="48160" y="22270"/>
                          </a:cubicBezTo>
                          <a:cubicBezTo>
                            <a:pt x="48100" y="20595"/>
                            <a:pt x="47861" y="18921"/>
                            <a:pt x="47502" y="17366"/>
                          </a:cubicBezTo>
                          <a:cubicBezTo>
                            <a:pt x="47143" y="15751"/>
                            <a:pt x="46605" y="14256"/>
                            <a:pt x="45947" y="12760"/>
                          </a:cubicBezTo>
                          <a:cubicBezTo>
                            <a:pt x="45887" y="12641"/>
                            <a:pt x="45887" y="12581"/>
                            <a:pt x="45827" y="12461"/>
                          </a:cubicBezTo>
                          <a:cubicBezTo>
                            <a:pt x="45768" y="12342"/>
                            <a:pt x="45768" y="12282"/>
                            <a:pt x="45708" y="12162"/>
                          </a:cubicBezTo>
                          <a:cubicBezTo>
                            <a:pt x="45648" y="12043"/>
                            <a:pt x="45648" y="11983"/>
                            <a:pt x="45588" y="11864"/>
                          </a:cubicBezTo>
                          <a:cubicBezTo>
                            <a:pt x="45528" y="11744"/>
                            <a:pt x="45469" y="11684"/>
                            <a:pt x="45469" y="11565"/>
                          </a:cubicBezTo>
                          <a:cubicBezTo>
                            <a:pt x="45170" y="11026"/>
                            <a:pt x="44931" y="10548"/>
                            <a:pt x="44632" y="10010"/>
                          </a:cubicBezTo>
                          <a:cubicBezTo>
                            <a:pt x="44332" y="9531"/>
                            <a:pt x="43973" y="9052"/>
                            <a:pt x="43674" y="8574"/>
                          </a:cubicBezTo>
                          <a:cubicBezTo>
                            <a:pt x="43316" y="8096"/>
                            <a:pt x="42957" y="7617"/>
                            <a:pt x="42598" y="7198"/>
                          </a:cubicBezTo>
                          <a:cubicBezTo>
                            <a:pt x="42239" y="6780"/>
                            <a:pt x="41820" y="6361"/>
                            <a:pt x="41402" y="5943"/>
                          </a:cubicBezTo>
                          <a:cubicBezTo>
                            <a:pt x="41342" y="5883"/>
                            <a:pt x="41282" y="5823"/>
                            <a:pt x="41223" y="5763"/>
                          </a:cubicBezTo>
                          <a:cubicBezTo>
                            <a:pt x="41163" y="5703"/>
                            <a:pt x="41103" y="5643"/>
                            <a:pt x="41043" y="5584"/>
                          </a:cubicBezTo>
                          <a:cubicBezTo>
                            <a:pt x="40983" y="5524"/>
                            <a:pt x="40923" y="5464"/>
                            <a:pt x="40864" y="5404"/>
                          </a:cubicBezTo>
                          <a:cubicBezTo>
                            <a:pt x="40804" y="5344"/>
                            <a:pt x="40744" y="5285"/>
                            <a:pt x="40684" y="5225"/>
                          </a:cubicBezTo>
                          <a:cubicBezTo>
                            <a:pt x="40684" y="5225"/>
                            <a:pt x="40684" y="5225"/>
                            <a:pt x="40624" y="5225"/>
                          </a:cubicBezTo>
                          <a:cubicBezTo>
                            <a:pt x="40624" y="5225"/>
                            <a:pt x="40624" y="5225"/>
                            <a:pt x="40564" y="5225"/>
                          </a:cubicBezTo>
                          <a:cubicBezTo>
                            <a:pt x="40564" y="5225"/>
                            <a:pt x="40564" y="5225"/>
                            <a:pt x="40505" y="5225"/>
                          </a:cubicBezTo>
                          <a:cubicBezTo>
                            <a:pt x="40505" y="5225"/>
                            <a:pt x="40505" y="5225"/>
                            <a:pt x="40445" y="5225"/>
                          </a:cubicBezTo>
                          <a:cubicBezTo>
                            <a:pt x="40206" y="5045"/>
                            <a:pt x="40026" y="4866"/>
                            <a:pt x="39787" y="4687"/>
                          </a:cubicBezTo>
                          <a:cubicBezTo>
                            <a:pt x="39548" y="4507"/>
                            <a:pt x="39309" y="4328"/>
                            <a:pt x="39069" y="4148"/>
                          </a:cubicBezTo>
                          <a:cubicBezTo>
                            <a:pt x="38830" y="3969"/>
                            <a:pt x="38591" y="3789"/>
                            <a:pt x="38352" y="3610"/>
                          </a:cubicBezTo>
                          <a:cubicBezTo>
                            <a:pt x="38112" y="3430"/>
                            <a:pt x="37873" y="3311"/>
                            <a:pt x="37634" y="3132"/>
                          </a:cubicBezTo>
                          <a:cubicBezTo>
                            <a:pt x="37574" y="3072"/>
                            <a:pt x="37455" y="3012"/>
                            <a:pt x="37395" y="3012"/>
                          </a:cubicBezTo>
                          <a:cubicBezTo>
                            <a:pt x="37335" y="3012"/>
                            <a:pt x="37215" y="2892"/>
                            <a:pt x="37156" y="2892"/>
                          </a:cubicBezTo>
                          <a:cubicBezTo>
                            <a:pt x="37096" y="2833"/>
                            <a:pt x="36976" y="2773"/>
                            <a:pt x="36916" y="2773"/>
                          </a:cubicBezTo>
                          <a:cubicBezTo>
                            <a:pt x="36856" y="2713"/>
                            <a:pt x="36737" y="2653"/>
                            <a:pt x="36677" y="2653"/>
                          </a:cubicBezTo>
                          <a:cubicBezTo>
                            <a:pt x="36438" y="2534"/>
                            <a:pt x="36139" y="2354"/>
                            <a:pt x="35900" y="2235"/>
                          </a:cubicBezTo>
                          <a:cubicBezTo>
                            <a:pt x="35660" y="2115"/>
                            <a:pt x="35361" y="1995"/>
                            <a:pt x="35062" y="1876"/>
                          </a:cubicBezTo>
                          <a:cubicBezTo>
                            <a:pt x="34763" y="1756"/>
                            <a:pt x="34524" y="1636"/>
                            <a:pt x="34225" y="1517"/>
                          </a:cubicBezTo>
                          <a:cubicBezTo>
                            <a:pt x="33926" y="1397"/>
                            <a:pt x="33627" y="1278"/>
                            <a:pt x="33328" y="1218"/>
                          </a:cubicBezTo>
                          <a:cubicBezTo>
                            <a:pt x="33268" y="1218"/>
                            <a:pt x="33268" y="1218"/>
                            <a:pt x="33208" y="1158"/>
                          </a:cubicBezTo>
                          <a:cubicBezTo>
                            <a:pt x="33148" y="1158"/>
                            <a:pt x="33148" y="1158"/>
                            <a:pt x="33088" y="1098"/>
                          </a:cubicBezTo>
                          <a:cubicBezTo>
                            <a:pt x="33029" y="1038"/>
                            <a:pt x="33029" y="1098"/>
                            <a:pt x="32969" y="1038"/>
                          </a:cubicBezTo>
                          <a:cubicBezTo>
                            <a:pt x="32909" y="1038"/>
                            <a:pt x="32909" y="1038"/>
                            <a:pt x="32849" y="979"/>
                          </a:cubicBezTo>
                          <a:cubicBezTo>
                            <a:pt x="32790" y="979"/>
                            <a:pt x="32730" y="919"/>
                            <a:pt x="32670" y="919"/>
                          </a:cubicBezTo>
                          <a:cubicBezTo>
                            <a:pt x="32610" y="919"/>
                            <a:pt x="32550" y="859"/>
                            <a:pt x="32491" y="859"/>
                          </a:cubicBezTo>
                          <a:cubicBezTo>
                            <a:pt x="32431" y="859"/>
                            <a:pt x="32371" y="799"/>
                            <a:pt x="32311" y="799"/>
                          </a:cubicBezTo>
                          <a:cubicBezTo>
                            <a:pt x="32251" y="799"/>
                            <a:pt x="32192" y="739"/>
                            <a:pt x="32132" y="739"/>
                          </a:cubicBezTo>
                          <a:cubicBezTo>
                            <a:pt x="30696" y="321"/>
                            <a:pt x="29201" y="81"/>
                            <a:pt x="27706" y="21"/>
                          </a:cubicBezTo>
                          <a:cubicBezTo>
                            <a:pt x="26211" y="-38"/>
                            <a:pt x="24716" y="21"/>
                            <a:pt x="23220" y="261"/>
                          </a:cubicBezTo>
                          <a:cubicBezTo>
                            <a:pt x="21725" y="500"/>
                            <a:pt x="20230" y="859"/>
                            <a:pt x="18735" y="1397"/>
                          </a:cubicBezTo>
                          <a:cubicBezTo>
                            <a:pt x="17240" y="1935"/>
                            <a:pt x="15804" y="2593"/>
                            <a:pt x="14369" y="3430"/>
                          </a:cubicBezTo>
                          <a:cubicBezTo>
                            <a:pt x="12874" y="4328"/>
                            <a:pt x="11498" y="5285"/>
                            <a:pt x="10183" y="6421"/>
                          </a:cubicBezTo>
                          <a:cubicBezTo>
                            <a:pt x="8867" y="7557"/>
                            <a:pt x="7670" y="8813"/>
                            <a:pt x="6594" y="10129"/>
                          </a:cubicBezTo>
                          <a:cubicBezTo>
                            <a:pt x="5517" y="11445"/>
                            <a:pt x="4561" y="12940"/>
                            <a:pt x="3723" y="14435"/>
                          </a:cubicBezTo>
                          <a:cubicBezTo>
                            <a:pt x="2886" y="15990"/>
                            <a:pt x="2168" y="17605"/>
                            <a:pt x="1570" y="19280"/>
                          </a:cubicBezTo>
                          <a:cubicBezTo>
                            <a:pt x="972" y="20954"/>
                            <a:pt x="553" y="22689"/>
                            <a:pt x="314" y="24363"/>
                          </a:cubicBezTo>
                          <a:cubicBezTo>
                            <a:pt x="75" y="26038"/>
                            <a:pt x="-45" y="27772"/>
                            <a:pt x="15" y="29447"/>
                          </a:cubicBezTo>
                          <a:cubicBezTo>
                            <a:pt x="75" y="31121"/>
                            <a:pt x="314" y="32736"/>
                            <a:pt x="673" y="34351"/>
                          </a:cubicBezTo>
                          <a:cubicBezTo>
                            <a:pt x="1032" y="35966"/>
                            <a:pt x="1570" y="37521"/>
                            <a:pt x="2228" y="38956"/>
                          </a:cubicBezTo>
                          <a:cubicBezTo>
                            <a:pt x="2288" y="39076"/>
                            <a:pt x="2288" y="39136"/>
                            <a:pt x="2348" y="39255"/>
                          </a:cubicBezTo>
                          <a:cubicBezTo>
                            <a:pt x="2407" y="39375"/>
                            <a:pt x="2467" y="39435"/>
                            <a:pt x="2467" y="39554"/>
                          </a:cubicBezTo>
                          <a:cubicBezTo>
                            <a:pt x="2527" y="39674"/>
                            <a:pt x="2587" y="39734"/>
                            <a:pt x="2587" y="39853"/>
                          </a:cubicBezTo>
                          <a:cubicBezTo>
                            <a:pt x="2647" y="39973"/>
                            <a:pt x="2707" y="40032"/>
                            <a:pt x="2707" y="40152"/>
                          </a:cubicBezTo>
                          <a:cubicBezTo>
                            <a:pt x="2767" y="40272"/>
                            <a:pt x="2826" y="40391"/>
                            <a:pt x="2886" y="40451"/>
                          </a:cubicBezTo>
                          <a:cubicBezTo>
                            <a:pt x="2946" y="40571"/>
                            <a:pt x="3006" y="40691"/>
                            <a:pt x="3065" y="40751"/>
                          </a:cubicBezTo>
                          <a:cubicBezTo>
                            <a:pt x="3125" y="40870"/>
                            <a:pt x="3185" y="40990"/>
                            <a:pt x="3245" y="41049"/>
                          </a:cubicBezTo>
                          <a:cubicBezTo>
                            <a:pt x="3305" y="41169"/>
                            <a:pt x="3364" y="41229"/>
                            <a:pt x="3424" y="41348"/>
                          </a:cubicBezTo>
                          <a:cubicBezTo>
                            <a:pt x="3723" y="41827"/>
                            <a:pt x="4022" y="42365"/>
                            <a:pt x="4381" y="42844"/>
                          </a:cubicBezTo>
                          <a:cubicBezTo>
                            <a:pt x="4740" y="43322"/>
                            <a:pt x="5039" y="43800"/>
                            <a:pt x="5458" y="44219"/>
                          </a:cubicBezTo>
                          <a:cubicBezTo>
                            <a:pt x="5816" y="44638"/>
                            <a:pt x="6235" y="45056"/>
                            <a:pt x="6594" y="45475"/>
                          </a:cubicBezTo>
                          <a:cubicBezTo>
                            <a:pt x="6953" y="45894"/>
                            <a:pt x="7312" y="46492"/>
                            <a:pt x="7730" y="46851"/>
                          </a:cubicBezTo>
                        </a:path>
                      </a:pathLst>
                    </a:custGeom>
                    <a:noFill/>
                    <a:ln w="6350" cap="flat">
                      <a:solidFill>
                        <a:schemeClr val="bg1">
                          <a:alpha val="80000"/>
                        </a:schemeClr>
                      </a:solidFill>
                      <a:prstDash val="solid"/>
                      <a:miter/>
                    </a:ln>
                  </p:spPr>
                  <p:txBody>
                    <a:bodyPr rtlCol="0" anchor="ctr"/>
                    <a:lstStyle/>
                    <a:p>
                      <a:endParaRPr lang="en-GB"/>
                    </a:p>
                  </p:txBody>
                </p:sp>
                <p:sp>
                  <p:nvSpPr>
                    <p:cNvPr id="7440" name="Vrije vorm: vorm 7439">
                      <a:extLst>
                        <a:ext uri="{FF2B5EF4-FFF2-40B4-BE49-F238E27FC236}">
                          <a16:creationId xmlns:a16="http://schemas.microsoft.com/office/drawing/2014/main" id="{761E79D3-B4FD-4427-BB4C-73D93E702085}"/>
                        </a:ext>
                      </a:extLst>
                    </p:cNvPr>
                    <p:cNvSpPr/>
                    <p:nvPr/>
                  </p:nvSpPr>
                  <p:spPr>
                    <a:xfrm>
                      <a:off x="5039376" y="4935959"/>
                      <a:ext cx="40788" cy="43809"/>
                    </a:xfrm>
                    <a:custGeom>
                      <a:avLst/>
                      <a:gdLst>
                        <a:gd name="connsiteX0" fmla="*/ 8851 w 40788"/>
                        <a:gd name="connsiteY0" fmla="*/ 39264 h 43809"/>
                        <a:gd name="connsiteX1" fmla="*/ 8552 w 40788"/>
                        <a:gd name="connsiteY1" fmla="*/ 39025 h 43809"/>
                        <a:gd name="connsiteX2" fmla="*/ 8253 w 40788"/>
                        <a:gd name="connsiteY2" fmla="*/ 38786 h 43809"/>
                        <a:gd name="connsiteX3" fmla="*/ 7954 w 40788"/>
                        <a:gd name="connsiteY3" fmla="*/ 38546 h 43809"/>
                        <a:gd name="connsiteX4" fmla="*/ 7655 w 40788"/>
                        <a:gd name="connsiteY4" fmla="*/ 38307 h 43809"/>
                        <a:gd name="connsiteX5" fmla="*/ 6040 w 40788"/>
                        <a:gd name="connsiteY5" fmla="*/ 36692 h 43809"/>
                        <a:gd name="connsiteX6" fmla="*/ 4665 w 40788"/>
                        <a:gd name="connsiteY6" fmla="*/ 34898 h 43809"/>
                        <a:gd name="connsiteX7" fmla="*/ 3528 w 40788"/>
                        <a:gd name="connsiteY7" fmla="*/ 32924 h 43809"/>
                        <a:gd name="connsiteX8" fmla="*/ 2632 w 40788"/>
                        <a:gd name="connsiteY8" fmla="*/ 30831 h 43809"/>
                        <a:gd name="connsiteX9" fmla="*/ 2512 w 40788"/>
                        <a:gd name="connsiteY9" fmla="*/ 30413 h 43809"/>
                        <a:gd name="connsiteX10" fmla="*/ 2392 w 40788"/>
                        <a:gd name="connsiteY10" fmla="*/ 29994 h 43809"/>
                        <a:gd name="connsiteX11" fmla="*/ 2273 w 40788"/>
                        <a:gd name="connsiteY11" fmla="*/ 29575 h 43809"/>
                        <a:gd name="connsiteX12" fmla="*/ 2153 w 40788"/>
                        <a:gd name="connsiteY12" fmla="*/ 29157 h 43809"/>
                        <a:gd name="connsiteX13" fmla="*/ 1615 w 40788"/>
                        <a:gd name="connsiteY13" fmla="*/ 26166 h 43809"/>
                        <a:gd name="connsiteX14" fmla="*/ 1555 w 40788"/>
                        <a:gd name="connsiteY14" fmla="*/ 23056 h 43809"/>
                        <a:gd name="connsiteX15" fmla="*/ 1914 w 40788"/>
                        <a:gd name="connsiteY15" fmla="*/ 19887 h 43809"/>
                        <a:gd name="connsiteX16" fmla="*/ 2751 w 40788"/>
                        <a:gd name="connsiteY16" fmla="*/ 16717 h 43809"/>
                        <a:gd name="connsiteX17" fmla="*/ 4426 w 40788"/>
                        <a:gd name="connsiteY17" fmla="*/ 12889 h 43809"/>
                        <a:gd name="connsiteX18" fmla="*/ 6698 w 40788"/>
                        <a:gd name="connsiteY18" fmla="*/ 9480 h 43809"/>
                        <a:gd name="connsiteX19" fmla="*/ 9509 w 40788"/>
                        <a:gd name="connsiteY19" fmla="*/ 6550 h 43809"/>
                        <a:gd name="connsiteX20" fmla="*/ 12798 w 40788"/>
                        <a:gd name="connsiteY20" fmla="*/ 4157 h 43809"/>
                        <a:gd name="connsiteX21" fmla="*/ 15669 w 40788"/>
                        <a:gd name="connsiteY21" fmla="*/ 2782 h 43809"/>
                        <a:gd name="connsiteX22" fmla="*/ 18660 w 40788"/>
                        <a:gd name="connsiteY22" fmla="*/ 1884 h 43809"/>
                        <a:gd name="connsiteX23" fmla="*/ 21650 w 40788"/>
                        <a:gd name="connsiteY23" fmla="*/ 1466 h 43809"/>
                        <a:gd name="connsiteX24" fmla="*/ 24641 w 40788"/>
                        <a:gd name="connsiteY24" fmla="*/ 1586 h 43809"/>
                        <a:gd name="connsiteX25" fmla="*/ 24940 w 40788"/>
                        <a:gd name="connsiteY25" fmla="*/ 1645 h 43809"/>
                        <a:gd name="connsiteX26" fmla="*/ 25238 w 40788"/>
                        <a:gd name="connsiteY26" fmla="*/ 1705 h 43809"/>
                        <a:gd name="connsiteX27" fmla="*/ 25537 w 40788"/>
                        <a:gd name="connsiteY27" fmla="*/ 1765 h 43809"/>
                        <a:gd name="connsiteX28" fmla="*/ 25836 w 40788"/>
                        <a:gd name="connsiteY28" fmla="*/ 1825 h 43809"/>
                        <a:gd name="connsiteX29" fmla="*/ 26196 w 40788"/>
                        <a:gd name="connsiteY29" fmla="*/ 1884 h 43809"/>
                        <a:gd name="connsiteX30" fmla="*/ 26554 w 40788"/>
                        <a:gd name="connsiteY30" fmla="*/ 1944 h 43809"/>
                        <a:gd name="connsiteX31" fmla="*/ 26913 w 40788"/>
                        <a:gd name="connsiteY31" fmla="*/ 2064 h 43809"/>
                        <a:gd name="connsiteX32" fmla="*/ 27272 w 40788"/>
                        <a:gd name="connsiteY32" fmla="*/ 2184 h 43809"/>
                        <a:gd name="connsiteX33" fmla="*/ 27810 w 40788"/>
                        <a:gd name="connsiteY33" fmla="*/ 2363 h 43809"/>
                        <a:gd name="connsiteX34" fmla="*/ 28349 w 40788"/>
                        <a:gd name="connsiteY34" fmla="*/ 2543 h 43809"/>
                        <a:gd name="connsiteX35" fmla="*/ 28827 w 40788"/>
                        <a:gd name="connsiteY35" fmla="*/ 2722 h 43809"/>
                        <a:gd name="connsiteX36" fmla="*/ 29305 w 40788"/>
                        <a:gd name="connsiteY36" fmla="*/ 2961 h 43809"/>
                        <a:gd name="connsiteX37" fmla="*/ 29545 w 40788"/>
                        <a:gd name="connsiteY37" fmla="*/ 3081 h 43809"/>
                        <a:gd name="connsiteX38" fmla="*/ 29784 w 40788"/>
                        <a:gd name="connsiteY38" fmla="*/ 3200 h 43809"/>
                        <a:gd name="connsiteX39" fmla="*/ 30023 w 40788"/>
                        <a:gd name="connsiteY39" fmla="*/ 3320 h 43809"/>
                        <a:gd name="connsiteX40" fmla="*/ 30262 w 40788"/>
                        <a:gd name="connsiteY40" fmla="*/ 3440 h 43809"/>
                        <a:gd name="connsiteX41" fmla="*/ 31040 w 40788"/>
                        <a:gd name="connsiteY41" fmla="*/ 3858 h 43809"/>
                        <a:gd name="connsiteX42" fmla="*/ 31758 w 40788"/>
                        <a:gd name="connsiteY42" fmla="*/ 4337 h 43809"/>
                        <a:gd name="connsiteX43" fmla="*/ 32475 w 40788"/>
                        <a:gd name="connsiteY43" fmla="*/ 4875 h 43809"/>
                        <a:gd name="connsiteX44" fmla="*/ 33133 w 40788"/>
                        <a:gd name="connsiteY44" fmla="*/ 5413 h 43809"/>
                        <a:gd name="connsiteX45" fmla="*/ 33193 w 40788"/>
                        <a:gd name="connsiteY45" fmla="*/ 5413 h 43809"/>
                        <a:gd name="connsiteX46" fmla="*/ 33253 w 40788"/>
                        <a:gd name="connsiteY46" fmla="*/ 5413 h 43809"/>
                        <a:gd name="connsiteX47" fmla="*/ 33312 w 40788"/>
                        <a:gd name="connsiteY47" fmla="*/ 5413 h 43809"/>
                        <a:gd name="connsiteX48" fmla="*/ 33372 w 40788"/>
                        <a:gd name="connsiteY48" fmla="*/ 5413 h 43809"/>
                        <a:gd name="connsiteX49" fmla="*/ 33552 w 40788"/>
                        <a:gd name="connsiteY49" fmla="*/ 5593 h 43809"/>
                        <a:gd name="connsiteX50" fmla="*/ 33731 w 40788"/>
                        <a:gd name="connsiteY50" fmla="*/ 5772 h 43809"/>
                        <a:gd name="connsiteX51" fmla="*/ 33911 w 40788"/>
                        <a:gd name="connsiteY51" fmla="*/ 5951 h 43809"/>
                        <a:gd name="connsiteX52" fmla="*/ 34090 w 40788"/>
                        <a:gd name="connsiteY52" fmla="*/ 6131 h 43809"/>
                        <a:gd name="connsiteX53" fmla="*/ 35286 w 40788"/>
                        <a:gd name="connsiteY53" fmla="*/ 7447 h 43809"/>
                        <a:gd name="connsiteX54" fmla="*/ 36303 w 40788"/>
                        <a:gd name="connsiteY54" fmla="*/ 8882 h 43809"/>
                        <a:gd name="connsiteX55" fmla="*/ 37200 w 40788"/>
                        <a:gd name="connsiteY55" fmla="*/ 10437 h 43809"/>
                        <a:gd name="connsiteX56" fmla="*/ 37918 w 40788"/>
                        <a:gd name="connsiteY56" fmla="*/ 12052 h 43809"/>
                        <a:gd name="connsiteX57" fmla="*/ 38037 w 40788"/>
                        <a:gd name="connsiteY57" fmla="*/ 12351 h 43809"/>
                        <a:gd name="connsiteX58" fmla="*/ 38157 w 40788"/>
                        <a:gd name="connsiteY58" fmla="*/ 12650 h 43809"/>
                        <a:gd name="connsiteX59" fmla="*/ 38276 w 40788"/>
                        <a:gd name="connsiteY59" fmla="*/ 12949 h 43809"/>
                        <a:gd name="connsiteX60" fmla="*/ 38396 w 40788"/>
                        <a:gd name="connsiteY60" fmla="*/ 13248 h 43809"/>
                        <a:gd name="connsiteX61" fmla="*/ 39174 w 40788"/>
                        <a:gd name="connsiteY61" fmla="*/ 16537 h 43809"/>
                        <a:gd name="connsiteX62" fmla="*/ 39413 w 40788"/>
                        <a:gd name="connsiteY62" fmla="*/ 19946 h 43809"/>
                        <a:gd name="connsiteX63" fmla="*/ 39054 w 40788"/>
                        <a:gd name="connsiteY63" fmla="*/ 23475 h 43809"/>
                        <a:gd name="connsiteX64" fmla="*/ 38157 w 40788"/>
                        <a:gd name="connsiteY64" fmla="*/ 27004 h 43809"/>
                        <a:gd name="connsiteX65" fmla="*/ 36303 w 40788"/>
                        <a:gd name="connsiteY65" fmla="*/ 31011 h 43809"/>
                        <a:gd name="connsiteX66" fmla="*/ 33851 w 40788"/>
                        <a:gd name="connsiteY66" fmla="*/ 34539 h 43809"/>
                        <a:gd name="connsiteX67" fmla="*/ 30920 w 40788"/>
                        <a:gd name="connsiteY67" fmla="*/ 37470 h 43809"/>
                        <a:gd name="connsiteX68" fmla="*/ 27571 w 40788"/>
                        <a:gd name="connsiteY68" fmla="*/ 39743 h 43809"/>
                        <a:gd name="connsiteX69" fmla="*/ 27212 w 40788"/>
                        <a:gd name="connsiteY69" fmla="*/ 39922 h 43809"/>
                        <a:gd name="connsiteX70" fmla="*/ 26853 w 40788"/>
                        <a:gd name="connsiteY70" fmla="*/ 40101 h 43809"/>
                        <a:gd name="connsiteX71" fmla="*/ 26495 w 40788"/>
                        <a:gd name="connsiteY71" fmla="*/ 40281 h 43809"/>
                        <a:gd name="connsiteX72" fmla="*/ 26136 w 40788"/>
                        <a:gd name="connsiteY72" fmla="*/ 40460 h 43809"/>
                        <a:gd name="connsiteX73" fmla="*/ 24341 w 40788"/>
                        <a:gd name="connsiteY73" fmla="*/ 41178 h 43809"/>
                        <a:gd name="connsiteX74" fmla="*/ 22547 w 40788"/>
                        <a:gd name="connsiteY74" fmla="*/ 41716 h 43809"/>
                        <a:gd name="connsiteX75" fmla="*/ 20693 w 40788"/>
                        <a:gd name="connsiteY75" fmla="*/ 42015 h 43809"/>
                        <a:gd name="connsiteX76" fmla="*/ 18839 w 40788"/>
                        <a:gd name="connsiteY76" fmla="*/ 42135 h 43809"/>
                        <a:gd name="connsiteX77" fmla="*/ 18540 w 40788"/>
                        <a:gd name="connsiteY77" fmla="*/ 42135 h 43809"/>
                        <a:gd name="connsiteX78" fmla="*/ 18241 w 40788"/>
                        <a:gd name="connsiteY78" fmla="*/ 42135 h 43809"/>
                        <a:gd name="connsiteX79" fmla="*/ 17942 w 40788"/>
                        <a:gd name="connsiteY79" fmla="*/ 42135 h 43809"/>
                        <a:gd name="connsiteX80" fmla="*/ 17643 w 40788"/>
                        <a:gd name="connsiteY80" fmla="*/ 42135 h 43809"/>
                        <a:gd name="connsiteX81" fmla="*/ 16686 w 40788"/>
                        <a:gd name="connsiteY81" fmla="*/ 42075 h 43809"/>
                        <a:gd name="connsiteX82" fmla="*/ 15729 w 40788"/>
                        <a:gd name="connsiteY82" fmla="*/ 41955 h 43809"/>
                        <a:gd name="connsiteX83" fmla="*/ 14772 w 40788"/>
                        <a:gd name="connsiteY83" fmla="*/ 41776 h 43809"/>
                        <a:gd name="connsiteX84" fmla="*/ 13815 w 40788"/>
                        <a:gd name="connsiteY84" fmla="*/ 41537 h 43809"/>
                        <a:gd name="connsiteX85" fmla="*/ 12739 w 40788"/>
                        <a:gd name="connsiteY85" fmla="*/ 41178 h 43809"/>
                        <a:gd name="connsiteX86" fmla="*/ 11722 w 40788"/>
                        <a:gd name="connsiteY86" fmla="*/ 40759 h 43809"/>
                        <a:gd name="connsiteX87" fmla="*/ 10705 w 40788"/>
                        <a:gd name="connsiteY87" fmla="*/ 40281 h 43809"/>
                        <a:gd name="connsiteX88" fmla="*/ 9749 w 40788"/>
                        <a:gd name="connsiteY88" fmla="*/ 39743 h 43809"/>
                        <a:gd name="connsiteX89" fmla="*/ 9509 w 40788"/>
                        <a:gd name="connsiteY89" fmla="*/ 39623 h 43809"/>
                        <a:gd name="connsiteX90" fmla="*/ 9270 w 40788"/>
                        <a:gd name="connsiteY90" fmla="*/ 39444 h 43809"/>
                        <a:gd name="connsiteX91" fmla="*/ 9031 w 40788"/>
                        <a:gd name="connsiteY91" fmla="*/ 39264 h 43809"/>
                        <a:gd name="connsiteX92" fmla="*/ 8851 w 40788"/>
                        <a:gd name="connsiteY92" fmla="*/ 39264 h 43809"/>
                        <a:gd name="connsiteX93" fmla="*/ 7595 w 40788"/>
                        <a:gd name="connsiteY93" fmla="*/ 38486 h 43809"/>
                        <a:gd name="connsiteX94" fmla="*/ 8971 w 40788"/>
                        <a:gd name="connsiteY94" fmla="*/ 39563 h 43809"/>
                        <a:gd name="connsiteX95" fmla="*/ 10466 w 40788"/>
                        <a:gd name="connsiteY95" fmla="*/ 40520 h 43809"/>
                        <a:gd name="connsiteX96" fmla="*/ 12081 w 40788"/>
                        <a:gd name="connsiteY96" fmla="*/ 41298 h 43809"/>
                        <a:gd name="connsiteX97" fmla="*/ 13756 w 40788"/>
                        <a:gd name="connsiteY97" fmla="*/ 41896 h 43809"/>
                        <a:gd name="connsiteX98" fmla="*/ 21231 w 40788"/>
                        <a:gd name="connsiteY98" fmla="*/ 42314 h 43809"/>
                        <a:gd name="connsiteX99" fmla="*/ 28349 w 40788"/>
                        <a:gd name="connsiteY99" fmla="*/ 39743 h 43809"/>
                        <a:gd name="connsiteX100" fmla="*/ 34269 w 40788"/>
                        <a:gd name="connsiteY100" fmla="*/ 34599 h 43809"/>
                        <a:gd name="connsiteX101" fmla="*/ 38276 w 40788"/>
                        <a:gd name="connsiteY101" fmla="*/ 27362 h 43809"/>
                        <a:gd name="connsiteX102" fmla="*/ 39532 w 40788"/>
                        <a:gd name="connsiteY102" fmla="*/ 21202 h 43809"/>
                        <a:gd name="connsiteX103" fmla="*/ 39054 w 40788"/>
                        <a:gd name="connsiteY103" fmla="*/ 15281 h 43809"/>
                        <a:gd name="connsiteX104" fmla="*/ 37021 w 40788"/>
                        <a:gd name="connsiteY104" fmla="*/ 9959 h 43809"/>
                        <a:gd name="connsiteX105" fmla="*/ 33552 w 40788"/>
                        <a:gd name="connsiteY105" fmla="*/ 5652 h 43809"/>
                        <a:gd name="connsiteX106" fmla="*/ 32176 w 40788"/>
                        <a:gd name="connsiteY106" fmla="*/ 4576 h 43809"/>
                        <a:gd name="connsiteX107" fmla="*/ 30681 w 40788"/>
                        <a:gd name="connsiteY107" fmla="*/ 3619 h 43809"/>
                        <a:gd name="connsiteX108" fmla="*/ 29066 w 40788"/>
                        <a:gd name="connsiteY108" fmla="*/ 2842 h 43809"/>
                        <a:gd name="connsiteX109" fmla="*/ 27391 w 40788"/>
                        <a:gd name="connsiteY109" fmla="*/ 2184 h 43809"/>
                        <a:gd name="connsiteX110" fmla="*/ 19856 w 40788"/>
                        <a:gd name="connsiteY110" fmla="*/ 1645 h 43809"/>
                        <a:gd name="connsiteX111" fmla="*/ 12679 w 40788"/>
                        <a:gd name="connsiteY111" fmla="*/ 4217 h 43809"/>
                        <a:gd name="connsiteX112" fmla="*/ 6639 w 40788"/>
                        <a:gd name="connsiteY112" fmla="*/ 9420 h 43809"/>
                        <a:gd name="connsiteX113" fmla="*/ 2572 w 40788"/>
                        <a:gd name="connsiteY113" fmla="*/ 16776 h 43809"/>
                        <a:gd name="connsiteX114" fmla="*/ 1375 w 40788"/>
                        <a:gd name="connsiteY114" fmla="*/ 23056 h 43809"/>
                        <a:gd name="connsiteX115" fmla="*/ 1914 w 40788"/>
                        <a:gd name="connsiteY115" fmla="*/ 29037 h 43809"/>
                        <a:gd name="connsiteX116" fmla="*/ 4067 w 40788"/>
                        <a:gd name="connsiteY116" fmla="*/ 34300 h 43809"/>
                        <a:gd name="connsiteX117" fmla="*/ 7595 w 40788"/>
                        <a:gd name="connsiteY117" fmla="*/ 38486 h 43809"/>
                        <a:gd name="connsiteX118" fmla="*/ 34329 w 40788"/>
                        <a:gd name="connsiteY118" fmla="*/ 4576 h 43809"/>
                        <a:gd name="connsiteX119" fmla="*/ 38037 w 40788"/>
                        <a:gd name="connsiteY119" fmla="*/ 9181 h 43809"/>
                        <a:gd name="connsiteX120" fmla="*/ 40190 w 40788"/>
                        <a:gd name="connsiteY120" fmla="*/ 14803 h 43809"/>
                        <a:gd name="connsiteX121" fmla="*/ 40669 w 40788"/>
                        <a:gd name="connsiteY121" fmla="*/ 21083 h 43809"/>
                        <a:gd name="connsiteX122" fmla="*/ 39353 w 40788"/>
                        <a:gd name="connsiteY122" fmla="*/ 27602 h 43809"/>
                        <a:gd name="connsiteX123" fmla="*/ 35047 w 40788"/>
                        <a:gd name="connsiteY123" fmla="*/ 35317 h 43809"/>
                        <a:gd name="connsiteX124" fmla="*/ 28767 w 40788"/>
                        <a:gd name="connsiteY124" fmla="*/ 40759 h 43809"/>
                        <a:gd name="connsiteX125" fmla="*/ 21291 w 40788"/>
                        <a:gd name="connsiteY125" fmla="*/ 43510 h 43809"/>
                        <a:gd name="connsiteX126" fmla="*/ 13397 w 40788"/>
                        <a:gd name="connsiteY126" fmla="*/ 43032 h 43809"/>
                        <a:gd name="connsiteX127" fmla="*/ 11603 w 40788"/>
                        <a:gd name="connsiteY127" fmla="*/ 42434 h 43809"/>
                        <a:gd name="connsiteX128" fmla="*/ 9928 w 40788"/>
                        <a:gd name="connsiteY128" fmla="*/ 41656 h 43809"/>
                        <a:gd name="connsiteX129" fmla="*/ 8373 w 40788"/>
                        <a:gd name="connsiteY129" fmla="*/ 40699 h 43809"/>
                        <a:gd name="connsiteX130" fmla="*/ 6937 w 40788"/>
                        <a:gd name="connsiteY130" fmla="*/ 39563 h 43809"/>
                        <a:gd name="connsiteX131" fmla="*/ 3170 w 40788"/>
                        <a:gd name="connsiteY131" fmla="*/ 35078 h 43809"/>
                        <a:gd name="connsiteX132" fmla="*/ 897 w 40788"/>
                        <a:gd name="connsiteY132" fmla="*/ 29456 h 43809"/>
                        <a:gd name="connsiteX133" fmla="*/ 299 w 40788"/>
                        <a:gd name="connsiteY133" fmla="*/ 23116 h 43809"/>
                        <a:gd name="connsiteX134" fmla="*/ 1555 w 40788"/>
                        <a:gd name="connsiteY134" fmla="*/ 16477 h 43809"/>
                        <a:gd name="connsiteX135" fmla="*/ 5861 w 40788"/>
                        <a:gd name="connsiteY135" fmla="*/ 8643 h 43809"/>
                        <a:gd name="connsiteX136" fmla="*/ 12260 w 40788"/>
                        <a:gd name="connsiteY136" fmla="*/ 3081 h 43809"/>
                        <a:gd name="connsiteX137" fmla="*/ 19916 w 40788"/>
                        <a:gd name="connsiteY137" fmla="*/ 389 h 43809"/>
                        <a:gd name="connsiteX138" fmla="*/ 27870 w 40788"/>
                        <a:gd name="connsiteY138" fmla="*/ 988 h 43809"/>
                        <a:gd name="connsiteX139" fmla="*/ 29664 w 40788"/>
                        <a:gd name="connsiteY139" fmla="*/ 1645 h 43809"/>
                        <a:gd name="connsiteX140" fmla="*/ 31339 w 40788"/>
                        <a:gd name="connsiteY140" fmla="*/ 2483 h 43809"/>
                        <a:gd name="connsiteX141" fmla="*/ 32894 w 40788"/>
                        <a:gd name="connsiteY141" fmla="*/ 3499 h 43809"/>
                        <a:gd name="connsiteX142" fmla="*/ 34329 w 40788"/>
                        <a:gd name="connsiteY142" fmla="*/ 4576 h 43809"/>
                        <a:gd name="connsiteX143" fmla="*/ 6698 w 40788"/>
                        <a:gd name="connsiteY143" fmla="*/ 39623 h 43809"/>
                        <a:gd name="connsiteX144" fmla="*/ 7057 w 40788"/>
                        <a:gd name="connsiteY144" fmla="*/ 39922 h 43809"/>
                        <a:gd name="connsiteX145" fmla="*/ 7416 w 40788"/>
                        <a:gd name="connsiteY145" fmla="*/ 40221 h 43809"/>
                        <a:gd name="connsiteX146" fmla="*/ 7775 w 40788"/>
                        <a:gd name="connsiteY146" fmla="*/ 40520 h 43809"/>
                        <a:gd name="connsiteX147" fmla="*/ 8134 w 40788"/>
                        <a:gd name="connsiteY147" fmla="*/ 40759 h 43809"/>
                        <a:gd name="connsiteX148" fmla="*/ 8373 w 40788"/>
                        <a:gd name="connsiteY148" fmla="*/ 40939 h 43809"/>
                        <a:gd name="connsiteX149" fmla="*/ 8612 w 40788"/>
                        <a:gd name="connsiteY149" fmla="*/ 41118 h 43809"/>
                        <a:gd name="connsiteX150" fmla="*/ 8851 w 40788"/>
                        <a:gd name="connsiteY150" fmla="*/ 41238 h 43809"/>
                        <a:gd name="connsiteX151" fmla="*/ 9090 w 40788"/>
                        <a:gd name="connsiteY151" fmla="*/ 41357 h 43809"/>
                        <a:gd name="connsiteX152" fmla="*/ 10107 w 40788"/>
                        <a:gd name="connsiteY152" fmla="*/ 41896 h 43809"/>
                        <a:gd name="connsiteX153" fmla="*/ 11124 w 40788"/>
                        <a:gd name="connsiteY153" fmla="*/ 42374 h 43809"/>
                        <a:gd name="connsiteX154" fmla="*/ 12201 w 40788"/>
                        <a:gd name="connsiteY154" fmla="*/ 42793 h 43809"/>
                        <a:gd name="connsiteX155" fmla="*/ 13337 w 40788"/>
                        <a:gd name="connsiteY155" fmla="*/ 43152 h 43809"/>
                        <a:gd name="connsiteX156" fmla="*/ 14234 w 40788"/>
                        <a:gd name="connsiteY156" fmla="*/ 43391 h 43809"/>
                        <a:gd name="connsiteX157" fmla="*/ 15131 w 40788"/>
                        <a:gd name="connsiteY157" fmla="*/ 43570 h 43809"/>
                        <a:gd name="connsiteX158" fmla="*/ 16028 w 40788"/>
                        <a:gd name="connsiteY158" fmla="*/ 43690 h 43809"/>
                        <a:gd name="connsiteX159" fmla="*/ 16925 w 40788"/>
                        <a:gd name="connsiteY159" fmla="*/ 43809 h 43809"/>
                        <a:gd name="connsiteX160" fmla="*/ 17225 w 40788"/>
                        <a:gd name="connsiteY160" fmla="*/ 43809 h 43809"/>
                        <a:gd name="connsiteX161" fmla="*/ 17523 w 40788"/>
                        <a:gd name="connsiteY161" fmla="*/ 43809 h 43809"/>
                        <a:gd name="connsiteX162" fmla="*/ 17822 w 40788"/>
                        <a:gd name="connsiteY162" fmla="*/ 43809 h 43809"/>
                        <a:gd name="connsiteX163" fmla="*/ 18121 w 40788"/>
                        <a:gd name="connsiteY163" fmla="*/ 43809 h 43809"/>
                        <a:gd name="connsiteX164" fmla="*/ 19916 w 40788"/>
                        <a:gd name="connsiteY164" fmla="*/ 43750 h 43809"/>
                        <a:gd name="connsiteX165" fmla="*/ 21710 w 40788"/>
                        <a:gd name="connsiteY165" fmla="*/ 43510 h 43809"/>
                        <a:gd name="connsiteX166" fmla="*/ 23504 w 40788"/>
                        <a:gd name="connsiteY166" fmla="*/ 43092 h 43809"/>
                        <a:gd name="connsiteX167" fmla="*/ 25238 w 40788"/>
                        <a:gd name="connsiteY167" fmla="*/ 42494 h 43809"/>
                        <a:gd name="connsiteX168" fmla="*/ 25597 w 40788"/>
                        <a:gd name="connsiteY168" fmla="*/ 42374 h 43809"/>
                        <a:gd name="connsiteX169" fmla="*/ 25956 w 40788"/>
                        <a:gd name="connsiteY169" fmla="*/ 42254 h 43809"/>
                        <a:gd name="connsiteX170" fmla="*/ 26315 w 40788"/>
                        <a:gd name="connsiteY170" fmla="*/ 42075 h 43809"/>
                        <a:gd name="connsiteX171" fmla="*/ 26674 w 40788"/>
                        <a:gd name="connsiteY171" fmla="*/ 41896 h 43809"/>
                        <a:gd name="connsiteX172" fmla="*/ 30741 w 40788"/>
                        <a:gd name="connsiteY172" fmla="*/ 39503 h 43809"/>
                        <a:gd name="connsiteX173" fmla="*/ 34329 w 40788"/>
                        <a:gd name="connsiteY173" fmla="*/ 36274 h 43809"/>
                        <a:gd name="connsiteX174" fmla="*/ 37260 w 40788"/>
                        <a:gd name="connsiteY174" fmla="*/ 32267 h 43809"/>
                        <a:gd name="connsiteX175" fmla="*/ 39413 w 40788"/>
                        <a:gd name="connsiteY175" fmla="*/ 27602 h 43809"/>
                        <a:gd name="connsiteX176" fmla="*/ 40429 w 40788"/>
                        <a:gd name="connsiteY176" fmla="*/ 23595 h 43809"/>
                        <a:gd name="connsiteX177" fmla="*/ 40788 w 40788"/>
                        <a:gd name="connsiteY177" fmla="*/ 19588 h 43809"/>
                        <a:gd name="connsiteX178" fmla="*/ 40489 w 40788"/>
                        <a:gd name="connsiteY178" fmla="*/ 15700 h 43809"/>
                        <a:gd name="connsiteX179" fmla="*/ 39532 w 40788"/>
                        <a:gd name="connsiteY179" fmla="*/ 12052 h 43809"/>
                        <a:gd name="connsiteX180" fmla="*/ 39413 w 40788"/>
                        <a:gd name="connsiteY180" fmla="*/ 11753 h 43809"/>
                        <a:gd name="connsiteX181" fmla="*/ 39293 w 40788"/>
                        <a:gd name="connsiteY181" fmla="*/ 11454 h 43809"/>
                        <a:gd name="connsiteX182" fmla="*/ 39174 w 40788"/>
                        <a:gd name="connsiteY182" fmla="*/ 11155 h 43809"/>
                        <a:gd name="connsiteX183" fmla="*/ 39054 w 40788"/>
                        <a:gd name="connsiteY183" fmla="*/ 10856 h 43809"/>
                        <a:gd name="connsiteX184" fmla="*/ 38276 w 40788"/>
                        <a:gd name="connsiteY184" fmla="*/ 9241 h 43809"/>
                        <a:gd name="connsiteX185" fmla="*/ 37380 w 40788"/>
                        <a:gd name="connsiteY185" fmla="*/ 7746 h 43809"/>
                        <a:gd name="connsiteX186" fmla="*/ 36303 w 40788"/>
                        <a:gd name="connsiteY186" fmla="*/ 6310 h 43809"/>
                        <a:gd name="connsiteX187" fmla="*/ 35107 w 40788"/>
                        <a:gd name="connsiteY187" fmla="*/ 4995 h 43809"/>
                        <a:gd name="connsiteX188" fmla="*/ 34927 w 40788"/>
                        <a:gd name="connsiteY188" fmla="*/ 4815 h 43809"/>
                        <a:gd name="connsiteX189" fmla="*/ 34748 w 40788"/>
                        <a:gd name="connsiteY189" fmla="*/ 4636 h 43809"/>
                        <a:gd name="connsiteX190" fmla="*/ 34568 w 40788"/>
                        <a:gd name="connsiteY190" fmla="*/ 4456 h 43809"/>
                        <a:gd name="connsiteX191" fmla="*/ 34389 w 40788"/>
                        <a:gd name="connsiteY191" fmla="*/ 4277 h 43809"/>
                        <a:gd name="connsiteX192" fmla="*/ 34329 w 40788"/>
                        <a:gd name="connsiteY192" fmla="*/ 4277 h 43809"/>
                        <a:gd name="connsiteX193" fmla="*/ 34269 w 40788"/>
                        <a:gd name="connsiteY193" fmla="*/ 4277 h 43809"/>
                        <a:gd name="connsiteX194" fmla="*/ 34210 w 40788"/>
                        <a:gd name="connsiteY194" fmla="*/ 4277 h 43809"/>
                        <a:gd name="connsiteX195" fmla="*/ 34150 w 40788"/>
                        <a:gd name="connsiteY195" fmla="*/ 4277 h 43809"/>
                        <a:gd name="connsiteX196" fmla="*/ 33492 w 40788"/>
                        <a:gd name="connsiteY196" fmla="*/ 3739 h 43809"/>
                        <a:gd name="connsiteX197" fmla="*/ 32774 w 40788"/>
                        <a:gd name="connsiteY197" fmla="*/ 3200 h 43809"/>
                        <a:gd name="connsiteX198" fmla="*/ 32057 w 40788"/>
                        <a:gd name="connsiteY198" fmla="*/ 2722 h 43809"/>
                        <a:gd name="connsiteX199" fmla="*/ 31279 w 40788"/>
                        <a:gd name="connsiteY199" fmla="*/ 2243 h 43809"/>
                        <a:gd name="connsiteX200" fmla="*/ 31040 w 40788"/>
                        <a:gd name="connsiteY200" fmla="*/ 2124 h 43809"/>
                        <a:gd name="connsiteX201" fmla="*/ 30801 w 40788"/>
                        <a:gd name="connsiteY201" fmla="*/ 2004 h 43809"/>
                        <a:gd name="connsiteX202" fmla="*/ 30561 w 40788"/>
                        <a:gd name="connsiteY202" fmla="*/ 1884 h 43809"/>
                        <a:gd name="connsiteX203" fmla="*/ 30322 w 40788"/>
                        <a:gd name="connsiteY203" fmla="*/ 1765 h 43809"/>
                        <a:gd name="connsiteX204" fmla="*/ 29724 w 40788"/>
                        <a:gd name="connsiteY204" fmla="*/ 1466 h 43809"/>
                        <a:gd name="connsiteX205" fmla="*/ 29126 w 40788"/>
                        <a:gd name="connsiteY205" fmla="*/ 1227 h 43809"/>
                        <a:gd name="connsiteX206" fmla="*/ 28468 w 40788"/>
                        <a:gd name="connsiteY206" fmla="*/ 988 h 43809"/>
                        <a:gd name="connsiteX207" fmla="*/ 27810 w 40788"/>
                        <a:gd name="connsiteY207" fmla="*/ 748 h 43809"/>
                        <a:gd name="connsiteX208" fmla="*/ 27571 w 40788"/>
                        <a:gd name="connsiteY208" fmla="*/ 689 h 43809"/>
                        <a:gd name="connsiteX209" fmla="*/ 27332 w 40788"/>
                        <a:gd name="connsiteY209" fmla="*/ 629 h 43809"/>
                        <a:gd name="connsiteX210" fmla="*/ 27092 w 40788"/>
                        <a:gd name="connsiteY210" fmla="*/ 569 h 43809"/>
                        <a:gd name="connsiteX211" fmla="*/ 26853 w 40788"/>
                        <a:gd name="connsiteY211" fmla="*/ 509 h 43809"/>
                        <a:gd name="connsiteX212" fmla="*/ 26554 w 40788"/>
                        <a:gd name="connsiteY212" fmla="*/ 449 h 43809"/>
                        <a:gd name="connsiteX213" fmla="*/ 26255 w 40788"/>
                        <a:gd name="connsiteY213" fmla="*/ 389 h 43809"/>
                        <a:gd name="connsiteX214" fmla="*/ 25956 w 40788"/>
                        <a:gd name="connsiteY214" fmla="*/ 329 h 43809"/>
                        <a:gd name="connsiteX215" fmla="*/ 25657 w 40788"/>
                        <a:gd name="connsiteY215" fmla="*/ 270 h 43809"/>
                        <a:gd name="connsiteX216" fmla="*/ 18181 w 40788"/>
                        <a:gd name="connsiteY216" fmla="*/ 509 h 43809"/>
                        <a:gd name="connsiteX217" fmla="*/ 11184 w 40788"/>
                        <a:gd name="connsiteY217" fmla="*/ 3559 h 43809"/>
                        <a:gd name="connsiteX218" fmla="*/ 5323 w 40788"/>
                        <a:gd name="connsiteY218" fmla="*/ 9002 h 43809"/>
                        <a:gd name="connsiteX219" fmla="*/ 1375 w 40788"/>
                        <a:gd name="connsiteY219" fmla="*/ 16418 h 43809"/>
                        <a:gd name="connsiteX220" fmla="*/ 359 w 40788"/>
                        <a:gd name="connsiteY220" fmla="*/ 20305 h 43809"/>
                        <a:gd name="connsiteX221" fmla="*/ 0 w 40788"/>
                        <a:gd name="connsiteY221" fmla="*/ 24133 h 43809"/>
                        <a:gd name="connsiteX222" fmla="*/ 299 w 40788"/>
                        <a:gd name="connsiteY222" fmla="*/ 27901 h 43809"/>
                        <a:gd name="connsiteX223" fmla="*/ 1196 w 40788"/>
                        <a:gd name="connsiteY223" fmla="*/ 31429 h 43809"/>
                        <a:gd name="connsiteX224" fmla="*/ 1316 w 40788"/>
                        <a:gd name="connsiteY224" fmla="*/ 31788 h 43809"/>
                        <a:gd name="connsiteX225" fmla="*/ 1435 w 40788"/>
                        <a:gd name="connsiteY225" fmla="*/ 32147 h 43809"/>
                        <a:gd name="connsiteX226" fmla="*/ 1615 w 40788"/>
                        <a:gd name="connsiteY226" fmla="*/ 32506 h 43809"/>
                        <a:gd name="connsiteX227" fmla="*/ 1794 w 40788"/>
                        <a:gd name="connsiteY227" fmla="*/ 32865 h 43809"/>
                        <a:gd name="connsiteX228" fmla="*/ 2751 w 40788"/>
                        <a:gd name="connsiteY228" fmla="*/ 34719 h 43809"/>
                        <a:gd name="connsiteX229" fmla="*/ 3887 w 40788"/>
                        <a:gd name="connsiteY229" fmla="*/ 36453 h 43809"/>
                        <a:gd name="connsiteX230" fmla="*/ 5203 w 40788"/>
                        <a:gd name="connsiteY230" fmla="*/ 38068 h 43809"/>
                        <a:gd name="connsiteX231" fmla="*/ 6698 w 40788"/>
                        <a:gd name="connsiteY231" fmla="*/ 39623 h 4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40788" h="43809">
                          <a:moveTo>
                            <a:pt x="8851" y="39264"/>
                          </a:moveTo>
                          <a:cubicBezTo>
                            <a:pt x="8732" y="39204"/>
                            <a:pt x="8672" y="39145"/>
                            <a:pt x="8552" y="39025"/>
                          </a:cubicBezTo>
                          <a:cubicBezTo>
                            <a:pt x="8433" y="38965"/>
                            <a:pt x="8373" y="38905"/>
                            <a:pt x="8253" y="38786"/>
                          </a:cubicBezTo>
                          <a:cubicBezTo>
                            <a:pt x="8134" y="38726"/>
                            <a:pt x="8074" y="38666"/>
                            <a:pt x="7954" y="38546"/>
                          </a:cubicBezTo>
                          <a:cubicBezTo>
                            <a:pt x="7835" y="38486"/>
                            <a:pt x="7775" y="38367"/>
                            <a:pt x="7655" y="38307"/>
                          </a:cubicBezTo>
                          <a:cubicBezTo>
                            <a:pt x="7057" y="37829"/>
                            <a:pt x="6519" y="37291"/>
                            <a:pt x="6040" y="36692"/>
                          </a:cubicBezTo>
                          <a:cubicBezTo>
                            <a:pt x="5562" y="36094"/>
                            <a:pt x="5083" y="35496"/>
                            <a:pt x="4665" y="34898"/>
                          </a:cubicBezTo>
                          <a:cubicBezTo>
                            <a:pt x="4246" y="34240"/>
                            <a:pt x="3887" y="33583"/>
                            <a:pt x="3528" y="32924"/>
                          </a:cubicBezTo>
                          <a:cubicBezTo>
                            <a:pt x="3170" y="32267"/>
                            <a:pt x="2871" y="31549"/>
                            <a:pt x="2632" y="30831"/>
                          </a:cubicBezTo>
                          <a:cubicBezTo>
                            <a:pt x="2572" y="30712"/>
                            <a:pt x="2512" y="30532"/>
                            <a:pt x="2512" y="30413"/>
                          </a:cubicBezTo>
                          <a:cubicBezTo>
                            <a:pt x="2452" y="30293"/>
                            <a:pt x="2392" y="30114"/>
                            <a:pt x="2392" y="29994"/>
                          </a:cubicBezTo>
                          <a:cubicBezTo>
                            <a:pt x="2392" y="29874"/>
                            <a:pt x="2332" y="29695"/>
                            <a:pt x="2273" y="29575"/>
                          </a:cubicBezTo>
                          <a:cubicBezTo>
                            <a:pt x="2213" y="29456"/>
                            <a:pt x="2213" y="29276"/>
                            <a:pt x="2153" y="29157"/>
                          </a:cubicBezTo>
                          <a:cubicBezTo>
                            <a:pt x="1914" y="28200"/>
                            <a:pt x="1734" y="27183"/>
                            <a:pt x="1615" y="26166"/>
                          </a:cubicBezTo>
                          <a:cubicBezTo>
                            <a:pt x="1495" y="25150"/>
                            <a:pt x="1495" y="24133"/>
                            <a:pt x="1555" y="23056"/>
                          </a:cubicBezTo>
                          <a:cubicBezTo>
                            <a:pt x="1615" y="21980"/>
                            <a:pt x="1734" y="20963"/>
                            <a:pt x="1914" y="19887"/>
                          </a:cubicBezTo>
                          <a:cubicBezTo>
                            <a:pt x="2093" y="18810"/>
                            <a:pt x="2392" y="17793"/>
                            <a:pt x="2751" y="16717"/>
                          </a:cubicBezTo>
                          <a:cubicBezTo>
                            <a:pt x="3229" y="15401"/>
                            <a:pt x="3768" y="14085"/>
                            <a:pt x="4426" y="12889"/>
                          </a:cubicBezTo>
                          <a:cubicBezTo>
                            <a:pt x="5083" y="11693"/>
                            <a:pt x="5861" y="10557"/>
                            <a:pt x="6698" y="9480"/>
                          </a:cubicBezTo>
                          <a:cubicBezTo>
                            <a:pt x="7535" y="8404"/>
                            <a:pt x="8493" y="7447"/>
                            <a:pt x="9509" y="6550"/>
                          </a:cubicBezTo>
                          <a:cubicBezTo>
                            <a:pt x="10526" y="5652"/>
                            <a:pt x="11603" y="4875"/>
                            <a:pt x="12798" y="4157"/>
                          </a:cubicBezTo>
                          <a:cubicBezTo>
                            <a:pt x="13756" y="3619"/>
                            <a:pt x="14712" y="3141"/>
                            <a:pt x="15669" y="2782"/>
                          </a:cubicBezTo>
                          <a:cubicBezTo>
                            <a:pt x="16626" y="2423"/>
                            <a:pt x="17643" y="2124"/>
                            <a:pt x="18660" y="1884"/>
                          </a:cubicBezTo>
                          <a:cubicBezTo>
                            <a:pt x="19676" y="1645"/>
                            <a:pt x="20633" y="1526"/>
                            <a:pt x="21650" y="1466"/>
                          </a:cubicBezTo>
                          <a:cubicBezTo>
                            <a:pt x="22667" y="1406"/>
                            <a:pt x="23624" y="1466"/>
                            <a:pt x="24641" y="1586"/>
                          </a:cubicBezTo>
                          <a:cubicBezTo>
                            <a:pt x="24760" y="1586"/>
                            <a:pt x="24880" y="1586"/>
                            <a:pt x="24940" y="1645"/>
                          </a:cubicBezTo>
                          <a:cubicBezTo>
                            <a:pt x="25059" y="1645"/>
                            <a:pt x="25179" y="1705"/>
                            <a:pt x="25238" y="1705"/>
                          </a:cubicBezTo>
                          <a:cubicBezTo>
                            <a:pt x="25358" y="1705"/>
                            <a:pt x="25478" y="1765"/>
                            <a:pt x="25537" y="1765"/>
                          </a:cubicBezTo>
                          <a:cubicBezTo>
                            <a:pt x="25657" y="1765"/>
                            <a:pt x="25777" y="1825"/>
                            <a:pt x="25836" y="1825"/>
                          </a:cubicBezTo>
                          <a:cubicBezTo>
                            <a:pt x="25956" y="1825"/>
                            <a:pt x="26076" y="1884"/>
                            <a:pt x="26196" y="1884"/>
                          </a:cubicBezTo>
                          <a:cubicBezTo>
                            <a:pt x="26315" y="1884"/>
                            <a:pt x="26435" y="1944"/>
                            <a:pt x="26554" y="1944"/>
                          </a:cubicBezTo>
                          <a:cubicBezTo>
                            <a:pt x="26674" y="1944"/>
                            <a:pt x="26794" y="2004"/>
                            <a:pt x="26913" y="2064"/>
                          </a:cubicBezTo>
                          <a:cubicBezTo>
                            <a:pt x="27033" y="2124"/>
                            <a:pt x="27152" y="2124"/>
                            <a:pt x="27272" y="2184"/>
                          </a:cubicBezTo>
                          <a:cubicBezTo>
                            <a:pt x="27451" y="2243"/>
                            <a:pt x="27631" y="2303"/>
                            <a:pt x="27810" y="2363"/>
                          </a:cubicBezTo>
                          <a:cubicBezTo>
                            <a:pt x="27990" y="2423"/>
                            <a:pt x="28169" y="2483"/>
                            <a:pt x="28349" y="2543"/>
                          </a:cubicBezTo>
                          <a:cubicBezTo>
                            <a:pt x="28528" y="2602"/>
                            <a:pt x="28707" y="2662"/>
                            <a:pt x="28827" y="2722"/>
                          </a:cubicBezTo>
                          <a:cubicBezTo>
                            <a:pt x="28946" y="2782"/>
                            <a:pt x="29186" y="2842"/>
                            <a:pt x="29305" y="2961"/>
                          </a:cubicBezTo>
                          <a:cubicBezTo>
                            <a:pt x="29365" y="3021"/>
                            <a:pt x="29485" y="3021"/>
                            <a:pt x="29545" y="3081"/>
                          </a:cubicBezTo>
                          <a:cubicBezTo>
                            <a:pt x="29604" y="3141"/>
                            <a:pt x="29724" y="3141"/>
                            <a:pt x="29784" y="3200"/>
                          </a:cubicBezTo>
                          <a:cubicBezTo>
                            <a:pt x="29844" y="3260"/>
                            <a:pt x="29963" y="3260"/>
                            <a:pt x="30023" y="3320"/>
                          </a:cubicBezTo>
                          <a:cubicBezTo>
                            <a:pt x="30083" y="3380"/>
                            <a:pt x="30203" y="3440"/>
                            <a:pt x="30262" y="3440"/>
                          </a:cubicBezTo>
                          <a:cubicBezTo>
                            <a:pt x="30502" y="3559"/>
                            <a:pt x="30801" y="3739"/>
                            <a:pt x="31040" y="3858"/>
                          </a:cubicBezTo>
                          <a:cubicBezTo>
                            <a:pt x="31279" y="4038"/>
                            <a:pt x="31518" y="4157"/>
                            <a:pt x="31758" y="4337"/>
                          </a:cubicBezTo>
                          <a:cubicBezTo>
                            <a:pt x="31997" y="4516"/>
                            <a:pt x="32236" y="4696"/>
                            <a:pt x="32475" y="4875"/>
                          </a:cubicBezTo>
                          <a:cubicBezTo>
                            <a:pt x="32714" y="5054"/>
                            <a:pt x="32953" y="5234"/>
                            <a:pt x="33133" y="5413"/>
                          </a:cubicBezTo>
                          <a:cubicBezTo>
                            <a:pt x="33133" y="5413"/>
                            <a:pt x="33133" y="5413"/>
                            <a:pt x="33193" y="5413"/>
                          </a:cubicBezTo>
                          <a:cubicBezTo>
                            <a:pt x="33193" y="5413"/>
                            <a:pt x="33193" y="5413"/>
                            <a:pt x="33253" y="5413"/>
                          </a:cubicBezTo>
                          <a:cubicBezTo>
                            <a:pt x="33253" y="5413"/>
                            <a:pt x="33253" y="5413"/>
                            <a:pt x="33312" y="5413"/>
                          </a:cubicBezTo>
                          <a:cubicBezTo>
                            <a:pt x="33312" y="5413"/>
                            <a:pt x="33312" y="5413"/>
                            <a:pt x="33372" y="5413"/>
                          </a:cubicBezTo>
                          <a:cubicBezTo>
                            <a:pt x="33432" y="5473"/>
                            <a:pt x="33492" y="5533"/>
                            <a:pt x="33552" y="5593"/>
                          </a:cubicBezTo>
                          <a:cubicBezTo>
                            <a:pt x="33612" y="5652"/>
                            <a:pt x="33671" y="5712"/>
                            <a:pt x="33731" y="5772"/>
                          </a:cubicBezTo>
                          <a:cubicBezTo>
                            <a:pt x="33791" y="5832"/>
                            <a:pt x="33851" y="5892"/>
                            <a:pt x="33911" y="5951"/>
                          </a:cubicBezTo>
                          <a:cubicBezTo>
                            <a:pt x="33970" y="6011"/>
                            <a:pt x="34030" y="6071"/>
                            <a:pt x="34090" y="6131"/>
                          </a:cubicBezTo>
                          <a:cubicBezTo>
                            <a:pt x="34509" y="6550"/>
                            <a:pt x="34927" y="6968"/>
                            <a:pt x="35286" y="7447"/>
                          </a:cubicBezTo>
                          <a:cubicBezTo>
                            <a:pt x="35645" y="7925"/>
                            <a:pt x="36004" y="8404"/>
                            <a:pt x="36303" y="8882"/>
                          </a:cubicBezTo>
                          <a:cubicBezTo>
                            <a:pt x="36602" y="9360"/>
                            <a:pt x="36901" y="9899"/>
                            <a:pt x="37200" y="10437"/>
                          </a:cubicBezTo>
                          <a:cubicBezTo>
                            <a:pt x="37499" y="10975"/>
                            <a:pt x="37738" y="11514"/>
                            <a:pt x="37918" y="12052"/>
                          </a:cubicBezTo>
                          <a:cubicBezTo>
                            <a:pt x="37977" y="12172"/>
                            <a:pt x="37977" y="12231"/>
                            <a:pt x="38037" y="12351"/>
                          </a:cubicBezTo>
                          <a:cubicBezTo>
                            <a:pt x="38097" y="12470"/>
                            <a:pt x="38097" y="12530"/>
                            <a:pt x="38157" y="12650"/>
                          </a:cubicBezTo>
                          <a:cubicBezTo>
                            <a:pt x="38217" y="12769"/>
                            <a:pt x="38217" y="12829"/>
                            <a:pt x="38276" y="12949"/>
                          </a:cubicBezTo>
                          <a:cubicBezTo>
                            <a:pt x="38336" y="13068"/>
                            <a:pt x="38336" y="13128"/>
                            <a:pt x="38396" y="13248"/>
                          </a:cubicBezTo>
                          <a:cubicBezTo>
                            <a:pt x="38755" y="14324"/>
                            <a:pt x="38994" y="15401"/>
                            <a:pt x="39174" y="16537"/>
                          </a:cubicBezTo>
                          <a:cubicBezTo>
                            <a:pt x="39353" y="17674"/>
                            <a:pt x="39413" y="18810"/>
                            <a:pt x="39413" y="19946"/>
                          </a:cubicBezTo>
                          <a:cubicBezTo>
                            <a:pt x="39413" y="21083"/>
                            <a:pt x="39293" y="22279"/>
                            <a:pt x="39054" y="23475"/>
                          </a:cubicBezTo>
                          <a:cubicBezTo>
                            <a:pt x="38815" y="24671"/>
                            <a:pt x="38516" y="25807"/>
                            <a:pt x="38157" y="27004"/>
                          </a:cubicBezTo>
                          <a:cubicBezTo>
                            <a:pt x="37678" y="28439"/>
                            <a:pt x="37021" y="29755"/>
                            <a:pt x="36303" y="31011"/>
                          </a:cubicBezTo>
                          <a:cubicBezTo>
                            <a:pt x="35585" y="32267"/>
                            <a:pt x="34748" y="33463"/>
                            <a:pt x="33851" y="34539"/>
                          </a:cubicBezTo>
                          <a:cubicBezTo>
                            <a:pt x="32953" y="35616"/>
                            <a:pt x="31937" y="36573"/>
                            <a:pt x="30920" y="37470"/>
                          </a:cubicBezTo>
                          <a:cubicBezTo>
                            <a:pt x="29844" y="38367"/>
                            <a:pt x="28707" y="39085"/>
                            <a:pt x="27571" y="39743"/>
                          </a:cubicBezTo>
                          <a:cubicBezTo>
                            <a:pt x="27451" y="39802"/>
                            <a:pt x="27332" y="39862"/>
                            <a:pt x="27212" y="39922"/>
                          </a:cubicBezTo>
                          <a:cubicBezTo>
                            <a:pt x="27092" y="39982"/>
                            <a:pt x="26973" y="40042"/>
                            <a:pt x="26853" y="40101"/>
                          </a:cubicBezTo>
                          <a:cubicBezTo>
                            <a:pt x="26734" y="40161"/>
                            <a:pt x="26614" y="40221"/>
                            <a:pt x="26495" y="40281"/>
                          </a:cubicBezTo>
                          <a:cubicBezTo>
                            <a:pt x="26375" y="40340"/>
                            <a:pt x="26255" y="40400"/>
                            <a:pt x="26136" y="40460"/>
                          </a:cubicBezTo>
                          <a:cubicBezTo>
                            <a:pt x="25537" y="40699"/>
                            <a:pt x="24940" y="40939"/>
                            <a:pt x="24341" y="41178"/>
                          </a:cubicBezTo>
                          <a:cubicBezTo>
                            <a:pt x="23743" y="41357"/>
                            <a:pt x="23145" y="41537"/>
                            <a:pt x="22547" y="41716"/>
                          </a:cubicBezTo>
                          <a:cubicBezTo>
                            <a:pt x="21949" y="41896"/>
                            <a:pt x="21291" y="41955"/>
                            <a:pt x="20693" y="42015"/>
                          </a:cubicBezTo>
                          <a:cubicBezTo>
                            <a:pt x="20095" y="42075"/>
                            <a:pt x="19437" y="42135"/>
                            <a:pt x="18839" y="42135"/>
                          </a:cubicBezTo>
                          <a:cubicBezTo>
                            <a:pt x="18720" y="42135"/>
                            <a:pt x="18660" y="42135"/>
                            <a:pt x="18540" y="42135"/>
                          </a:cubicBezTo>
                          <a:cubicBezTo>
                            <a:pt x="18420" y="42135"/>
                            <a:pt x="18360" y="42135"/>
                            <a:pt x="18241" y="42135"/>
                          </a:cubicBezTo>
                          <a:cubicBezTo>
                            <a:pt x="18121" y="42135"/>
                            <a:pt x="18062" y="42135"/>
                            <a:pt x="17942" y="42135"/>
                          </a:cubicBezTo>
                          <a:cubicBezTo>
                            <a:pt x="17822" y="42135"/>
                            <a:pt x="17763" y="42135"/>
                            <a:pt x="17643" y="42135"/>
                          </a:cubicBezTo>
                          <a:cubicBezTo>
                            <a:pt x="17344" y="42135"/>
                            <a:pt x="17045" y="42075"/>
                            <a:pt x="16686" y="42075"/>
                          </a:cubicBezTo>
                          <a:cubicBezTo>
                            <a:pt x="16387" y="42015"/>
                            <a:pt x="16088" y="42015"/>
                            <a:pt x="15729" y="41955"/>
                          </a:cubicBezTo>
                          <a:cubicBezTo>
                            <a:pt x="15430" y="41896"/>
                            <a:pt x="15131" y="41836"/>
                            <a:pt x="14772" y="41776"/>
                          </a:cubicBezTo>
                          <a:cubicBezTo>
                            <a:pt x="14413" y="41716"/>
                            <a:pt x="14174" y="41656"/>
                            <a:pt x="13815" y="41537"/>
                          </a:cubicBezTo>
                          <a:cubicBezTo>
                            <a:pt x="13457" y="41417"/>
                            <a:pt x="13098" y="41298"/>
                            <a:pt x="12739" y="41178"/>
                          </a:cubicBezTo>
                          <a:cubicBezTo>
                            <a:pt x="12380" y="41059"/>
                            <a:pt x="12021" y="40939"/>
                            <a:pt x="11722" y="40759"/>
                          </a:cubicBezTo>
                          <a:cubicBezTo>
                            <a:pt x="11363" y="40580"/>
                            <a:pt x="11064" y="40460"/>
                            <a:pt x="10705" y="40281"/>
                          </a:cubicBezTo>
                          <a:cubicBezTo>
                            <a:pt x="10347" y="40101"/>
                            <a:pt x="10048" y="39922"/>
                            <a:pt x="9749" y="39743"/>
                          </a:cubicBezTo>
                          <a:cubicBezTo>
                            <a:pt x="9689" y="39683"/>
                            <a:pt x="9569" y="39623"/>
                            <a:pt x="9509" y="39623"/>
                          </a:cubicBezTo>
                          <a:cubicBezTo>
                            <a:pt x="9449" y="39563"/>
                            <a:pt x="9330" y="39503"/>
                            <a:pt x="9270" y="39444"/>
                          </a:cubicBezTo>
                          <a:cubicBezTo>
                            <a:pt x="9210" y="39384"/>
                            <a:pt x="9090" y="39324"/>
                            <a:pt x="9031" y="39264"/>
                          </a:cubicBezTo>
                          <a:cubicBezTo>
                            <a:pt x="8971" y="39324"/>
                            <a:pt x="8911" y="39264"/>
                            <a:pt x="8851" y="39264"/>
                          </a:cubicBezTo>
                          <a:moveTo>
                            <a:pt x="7595" y="38486"/>
                          </a:moveTo>
                          <a:cubicBezTo>
                            <a:pt x="8014" y="38845"/>
                            <a:pt x="8493" y="39204"/>
                            <a:pt x="8971" y="39563"/>
                          </a:cubicBezTo>
                          <a:cubicBezTo>
                            <a:pt x="9449" y="39922"/>
                            <a:pt x="9928" y="40221"/>
                            <a:pt x="10466" y="40520"/>
                          </a:cubicBezTo>
                          <a:cubicBezTo>
                            <a:pt x="11004" y="40819"/>
                            <a:pt x="11483" y="41059"/>
                            <a:pt x="12081" y="41298"/>
                          </a:cubicBezTo>
                          <a:cubicBezTo>
                            <a:pt x="12619" y="41537"/>
                            <a:pt x="13217" y="41716"/>
                            <a:pt x="13756" y="41896"/>
                          </a:cubicBezTo>
                          <a:cubicBezTo>
                            <a:pt x="16208" y="42613"/>
                            <a:pt x="18779" y="42733"/>
                            <a:pt x="21231" y="42314"/>
                          </a:cubicBezTo>
                          <a:cubicBezTo>
                            <a:pt x="23683" y="41955"/>
                            <a:pt x="26076" y="41059"/>
                            <a:pt x="28349" y="39743"/>
                          </a:cubicBezTo>
                          <a:cubicBezTo>
                            <a:pt x="30561" y="38427"/>
                            <a:pt x="32595" y="36692"/>
                            <a:pt x="34269" y="34599"/>
                          </a:cubicBezTo>
                          <a:cubicBezTo>
                            <a:pt x="36004" y="32506"/>
                            <a:pt x="37380" y="30054"/>
                            <a:pt x="38276" y="27362"/>
                          </a:cubicBezTo>
                          <a:cubicBezTo>
                            <a:pt x="38994" y="25269"/>
                            <a:pt x="39413" y="23236"/>
                            <a:pt x="39532" y="21202"/>
                          </a:cubicBezTo>
                          <a:cubicBezTo>
                            <a:pt x="39652" y="19169"/>
                            <a:pt x="39473" y="17195"/>
                            <a:pt x="39054" y="15281"/>
                          </a:cubicBezTo>
                          <a:cubicBezTo>
                            <a:pt x="38635" y="13368"/>
                            <a:pt x="37918" y="11633"/>
                            <a:pt x="37021" y="9959"/>
                          </a:cubicBezTo>
                          <a:cubicBezTo>
                            <a:pt x="36064" y="8344"/>
                            <a:pt x="34927" y="6849"/>
                            <a:pt x="33552" y="5652"/>
                          </a:cubicBezTo>
                          <a:cubicBezTo>
                            <a:pt x="33133" y="5294"/>
                            <a:pt x="32655" y="4875"/>
                            <a:pt x="32176" y="4576"/>
                          </a:cubicBezTo>
                          <a:cubicBezTo>
                            <a:pt x="31698" y="4277"/>
                            <a:pt x="31219" y="3918"/>
                            <a:pt x="30681" y="3619"/>
                          </a:cubicBezTo>
                          <a:cubicBezTo>
                            <a:pt x="30143" y="3320"/>
                            <a:pt x="29664" y="3081"/>
                            <a:pt x="29066" y="2842"/>
                          </a:cubicBezTo>
                          <a:cubicBezTo>
                            <a:pt x="28528" y="2602"/>
                            <a:pt x="27930" y="2423"/>
                            <a:pt x="27391" y="2184"/>
                          </a:cubicBezTo>
                          <a:cubicBezTo>
                            <a:pt x="24940" y="1406"/>
                            <a:pt x="22368" y="1287"/>
                            <a:pt x="19856" y="1645"/>
                          </a:cubicBezTo>
                          <a:cubicBezTo>
                            <a:pt x="17344" y="2004"/>
                            <a:pt x="14892" y="2901"/>
                            <a:pt x="12679" y="4217"/>
                          </a:cubicBezTo>
                          <a:cubicBezTo>
                            <a:pt x="10406" y="5533"/>
                            <a:pt x="8373" y="7327"/>
                            <a:pt x="6639" y="9420"/>
                          </a:cubicBezTo>
                          <a:cubicBezTo>
                            <a:pt x="4904" y="11514"/>
                            <a:pt x="3528" y="14026"/>
                            <a:pt x="2572" y="16776"/>
                          </a:cubicBezTo>
                          <a:cubicBezTo>
                            <a:pt x="1854" y="18870"/>
                            <a:pt x="1435" y="20963"/>
                            <a:pt x="1375" y="23056"/>
                          </a:cubicBezTo>
                          <a:cubicBezTo>
                            <a:pt x="1256" y="25090"/>
                            <a:pt x="1495" y="27123"/>
                            <a:pt x="1914" y="29037"/>
                          </a:cubicBezTo>
                          <a:cubicBezTo>
                            <a:pt x="2392" y="30951"/>
                            <a:pt x="3110" y="32685"/>
                            <a:pt x="4067" y="34300"/>
                          </a:cubicBezTo>
                          <a:cubicBezTo>
                            <a:pt x="5024" y="35795"/>
                            <a:pt x="6220" y="37231"/>
                            <a:pt x="7595" y="38486"/>
                          </a:cubicBezTo>
                          <a:moveTo>
                            <a:pt x="34329" y="4576"/>
                          </a:moveTo>
                          <a:cubicBezTo>
                            <a:pt x="35765" y="5892"/>
                            <a:pt x="37021" y="7447"/>
                            <a:pt x="38037" y="9181"/>
                          </a:cubicBezTo>
                          <a:cubicBezTo>
                            <a:pt x="38994" y="10915"/>
                            <a:pt x="39772" y="12769"/>
                            <a:pt x="40190" y="14803"/>
                          </a:cubicBezTo>
                          <a:cubicBezTo>
                            <a:pt x="40669" y="16776"/>
                            <a:pt x="40788" y="18930"/>
                            <a:pt x="40669" y="21083"/>
                          </a:cubicBezTo>
                          <a:cubicBezTo>
                            <a:pt x="40549" y="23236"/>
                            <a:pt x="40130" y="25449"/>
                            <a:pt x="39353" y="27602"/>
                          </a:cubicBezTo>
                          <a:cubicBezTo>
                            <a:pt x="38336" y="30473"/>
                            <a:pt x="36901" y="33044"/>
                            <a:pt x="35047" y="35317"/>
                          </a:cubicBezTo>
                          <a:cubicBezTo>
                            <a:pt x="33253" y="37530"/>
                            <a:pt x="31099" y="39384"/>
                            <a:pt x="28767" y="40759"/>
                          </a:cubicBezTo>
                          <a:cubicBezTo>
                            <a:pt x="26435" y="42135"/>
                            <a:pt x="23863" y="43092"/>
                            <a:pt x="21291" y="43510"/>
                          </a:cubicBezTo>
                          <a:cubicBezTo>
                            <a:pt x="18660" y="43929"/>
                            <a:pt x="15968" y="43809"/>
                            <a:pt x="13397" y="43032"/>
                          </a:cubicBezTo>
                          <a:cubicBezTo>
                            <a:pt x="12798" y="42853"/>
                            <a:pt x="12201" y="42673"/>
                            <a:pt x="11603" y="42434"/>
                          </a:cubicBezTo>
                          <a:cubicBezTo>
                            <a:pt x="11004" y="42195"/>
                            <a:pt x="10466" y="41955"/>
                            <a:pt x="9928" y="41656"/>
                          </a:cubicBezTo>
                          <a:cubicBezTo>
                            <a:pt x="9389" y="41357"/>
                            <a:pt x="8851" y="41059"/>
                            <a:pt x="8373" y="40699"/>
                          </a:cubicBezTo>
                          <a:cubicBezTo>
                            <a:pt x="7894" y="40340"/>
                            <a:pt x="7356" y="39982"/>
                            <a:pt x="6937" y="39563"/>
                          </a:cubicBezTo>
                          <a:cubicBezTo>
                            <a:pt x="5442" y="38307"/>
                            <a:pt x="4186" y="36752"/>
                            <a:pt x="3170" y="35078"/>
                          </a:cubicBezTo>
                          <a:cubicBezTo>
                            <a:pt x="2153" y="33343"/>
                            <a:pt x="1375" y="31489"/>
                            <a:pt x="897" y="29456"/>
                          </a:cubicBezTo>
                          <a:cubicBezTo>
                            <a:pt x="418" y="27422"/>
                            <a:pt x="179" y="25329"/>
                            <a:pt x="299" y="23116"/>
                          </a:cubicBezTo>
                          <a:cubicBezTo>
                            <a:pt x="418" y="20903"/>
                            <a:pt x="837" y="18690"/>
                            <a:pt x="1555" y="16477"/>
                          </a:cubicBezTo>
                          <a:cubicBezTo>
                            <a:pt x="2572" y="13547"/>
                            <a:pt x="4067" y="10915"/>
                            <a:pt x="5861" y="8643"/>
                          </a:cubicBezTo>
                          <a:cubicBezTo>
                            <a:pt x="7715" y="6370"/>
                            <a:pt x="9868" y="4516"/>
                            <a:pt x="12260" y="3081"/>
                          </a:cubicBezTo>
                          <a:cubicBezTo>
                            <a:pt x="14652" y="1705"/>
                            <a:pt x="17225" y="748"/>
                            <a:pt x="19916" y="389"/>
                          </a:cubicBezTo>
                          <a:cubicBezTo>
                            <a:pt x="22547" y="30"/>
                            <a:pt x="25238" y="150"/>
                            <a:pt x="27870" y="988"/>
                          </a:cubicBezTo>
                          <a:cubicBezTo>
                            <a:pt x="28468" y="1167"/>
                            <a:pt x="29066" y="1406"/>
                            <a:pt x="29664" y="1645"/>
                          </a:cubicBezTo>
                          <a:cubicBezTo>
                            <a:pt x="30262" y="1884"/>
                            <a:pt x="30801" y="2184"/>
                            <a:pt x="31339" y="2483"/>
                          </a:cubicBezTo>
                          <a:cubicBezTo>
                            <a:pt x="31877" y="2782"/>
                            <a:pt x="32415" y="3141"/>
                            <a:pt x="32894" y="3499"/>
                          </a:cubicBezTo>
                          <a:cubicBezTo>
                            <a:pt x="33372" y="3739"/>
                            <a:pt x="33851" y="4157"/>
                            <a:pt x="34329" y="4576"/>
                          </a:cubicBezTo>
                          <a:moveTo>
                            <a:pt x="6698" y="39623"/>
                          </a:moveTo>
                          <a:cubicBezTo>
                            <a:pt x="6818" y="39743"/>
                            <a:pt x="6937" y="39802"/>
                            <a:pt x="7057" y="39922"/>
                          </a:cubicBezTo>
                          <a:cubicBezTo>
                            <a:pt x="7177" y="40042"/>
                            <a:pt x="7296" y="40101"/>
                            <a:pt x="7416" y="40221"/>
                          </a:cubicBezTo>
                          <a:cubicBezTo>
                            <a:pt x="7535" y="40340"/>
                            <a:pt x="7655" y="40400"/>
                            <a:pt x="7775" y="40520"/>
                          </a:cubicBezTo>
                          <a:cubicBezTo>
                            <a:pt x="7894" y="40640"/>
                            <a:pt x="8014" y="40699"/>
                            <a:pt x="8134" y="40759"/>
                          </a:cubicBezTo>
                          <a:cubicBezTo>
                            <a:pt x="8194" y="40819"/>
                            <a:pt x="8313" y="40879"/>
                            <a:pt x="8373" y="40939"/>
                          </a:cubicBezTo>
                          <a:cubicBezTo>
                            <a:pt x="8433" y="40999"/>
                            <a:pt x="8552" y="41059"/>
                            <a:pt x="8612" y="41118"/>
                          </a:cubicBezTo>
                          <a:cubicBezTo>
                            <a:pt x="8672" y="41178"/>
                            <a:pt x="8791" y="41238"/>
                            <a:pt x="8851" y="41238"/>
                          </a:cubicBezTo>
                          <a:cubicBezTo>
                            <a:pt x="8911" y="41238"/>
                            <a:pt x="9031" y="41357"/>
                            <a:pt x="9090" y="41357"/>
                          </a:cubicBezTo>
                          <a:cubicBezTo>
                            <a:pt x="9389" y="41537"/>
                            <a:pt x="9749" y="41716"/>
                            <a:pt x="10107" y="41896"/>
                          </a:cubicBezTo>
                          <a:cubicBezTo>
                            <a:pt x="10466" y="42075"/>
                            <a:pt x="10765" y="42254"/>
                            <a:pt x="11124" y="42374"/>
                          </a:cubicBezTo>
                          <a:cubicBezTo>
                            <a:pt x="11483" y="42554"/>
                            <a:pt x="11842" y="42673"/>
                            <a:pt x="12201" y="42793"/>
                          </a:cubicBezTo>
                          <a:cubicBezTo>
                            <a:pt x="12559" y="42913"/>
                            <a:pt x="12918" y="43032"/>
                            <a:pt x="13337" y="43152"/>
                          </a:cubicBezTo>
                          <a:cubicBezTo>
                            <a:pt x="13636" y="43211"/>
                            <a:pt x="13935" y="43331"/>
                            <a:pt x="14234" y="43391"/>
                          </a:cubicBezTo>
                          <a:cubicBezTo>
                            <a:pt x="14533" y="43451"/>
                            <a:pt x="14832" y="43510"/>
                            <a:pt x="15131" y="43570"/>
                          </a:cubicBezTo>
                          <a:cubicBezTo>
                            <a:pt x="15430" y="43630"/>
                            <a:pt x="15729" y="43690"/>
                            <a:pt x="16028" y="43690"/>
                          </a:cubicBezTo>
                          <a:cubicBezTo>
                            <a:pt x="16327" y="43690"/>
                            <a:pt x="16626" y="43750"/>
                            <a:pt x="16925" y="43809"/>
                          </a:cubicBezTo>
                          <a:cubicBezTo>
                            <a:pt x="17045" y="43809"/>
                            <a:pt x="17105" y="43809"/>
                            <a:pt x="17225" y="43809"/>
                          </a:cubicBezTo>
                          <a:cubicBezTo>
                            <a:pt x="17344" y="43809"/>
                            <a:pt x="17404" y="43809"/>
                            <a:pt x="17523" y="43809"/>
                          </a:cubicBezTo>
                          <a:cubicBezTo>
                            <a:pt x="17643" y="43809"/>
                            <a:pt x="17703" y="43809"/>
                            <a:pt x="17822" y="43809"/>
                          </a:cubicBezTo>
                          <a:cubicBezTo>
                            <a:pt x="17942" y="43809"/>
                            <a:pt x="18002" y="43809"/>
                            <a:pt x="18121" y="43809"/>
                          </a:cubicBezTo>
                          <a:cubicBezTo>
                            <a:pt x="18720" y="43809"/>
                            <a:pt x="19318" y="43809"/>
                            <a:pt x="19916" y="43750"/>
                          </a:cubicBezTo>
                          <a:cubicBezTo>
                            <a:pt x="20514" y="43690"/>
                            <a:pt x="21112" y="43630"/>
                            <a:pt x="21710" y="43510"/>
                          </a:cubicBezTo>
                          <a:cubicBezTo>
                            <a:pt x="22308" y="43391"/>
                            <a:pt x="22906" y="43271"/>
                            <a:pt x="23504" y="43092"/>
                          </a:cubicBezTo>
                          <a:cubicBezTo>
                            <a:pt x="24102" y="42913"/>
                            <a:pt x="24700" y="42733"/>
                            <a:pt x="25238" y="42494"/>
                          </a:cubicBezTo>
                          <a:cubicBezTo>
                            <a:pt x="25358" y="42434"/>
                            <a:pt x="25478" y="42374"/>
                            <a:pt x="25597" y="42374"/>
                          </a:cubicBezTo>
                          <a:cubicBezTo>
                            <a:pt x="25717" y="42314"/>
                            <a:pt x="25836" y="42254"/>
                            <a:pt x="25956" y="42254"/>
                          </a:cubicBezTo>
                          <a:cubicBezTo>
                            <a:pt x="26076" y="42195"/>
                            <a:pt x="26196" y="42135"/>
                            <a:pt x="26315" y="42075"/>
                          </a:cubicBezTo>
                          <a:cubicBezTo>
                            <a:pt x="26435" y="42015"/>
                            <a:pt x="26554" y="41955"/>
                            <a:pt x="26674" y="41896"/>
                          </a:cubicBezTo>
                          <a:cubicBezTo>
                            <a:pt x="28109" y="41238"/>
                            <a:pt x="29425" y="40460"/>
                            <a:pt x="30741" y="39503"/>
                          </a:cubicBezTo>
                          <a:cubicBezTo>
                            <a:pt x="31997" y="38546"/>
                            <a:pt x="33253" y="37470"/>
                            <a:pt x="34329" y="36274"/>
                          </a:cubicBezTo>
                          <a:cubicBezTo>
                            <a:pt x="35406" y="35078"/>
                            <a:pt x="36422" y="33702"/>
                            <a:pt x="37260" y="32267"/>
                          </a:cubicBezTo>
                          <a:cubicBezTo>
                            <a:pt x="38097" y="30831"/>
                            <a:pt x="38875" y="29276"/>
                            <a:pt x="39413" y="27602"/>
                          </a:cubicBezTo>
                          <a:cubicBezTo>
                            <a:pt x="39891" y="26286"/>
                            <a:pt x="40250" y="24910"/>
                            <a:pt x="40429" y="23595"/>
                          </a:cubicBezTo>
                          <a:cubicBezTo>
                            <a:pt x="40669" y="22279"/>
                            <a:pt x="40788" y="20903"/>
                            <a:pt x="40788" y="19588"/>
                          </a:cubicBezTo>
                          <a:cubicBezTo>
                            <a:pt x="40788" y="18272"/>
                            <a:pt x="40669" y="16956"/>
                            <a:pt x="40489" y="15700"/>
                          </a:cubicBezTo>
                          <a:cubicBezTo>
                            <a:pt x="40250" y="14444"/>
                            <a:pt x="39951" y="13188"/>
                            <a:pt x="39532" y="12052"/>
                          </a:cubicBezTo>
                          <a:cubicBezTo>
                            <a:pt x="39473" y="11932"/>
                            <a:pt x="39473" y="11873"/>
                            <a:pt x="39413" y="11753"/>
                          </a:cubicBezTo>
                          <a:cubicBezTo>
                            <a:pt x="39353" y="11633"/>
                            <a:pt x="39353" y="11573"/>
                            <a:pt x="39293" y="11454"/>
                          </a:cubicBezTo>
                          <a:cubicBezTo>
                            <a:pt x="39234" y="11334"/>
                            <a:pt x="39234" y="11274"/>
                            <a:pt x="39174" y="11155"/>
                          </a:cubicBezTo>
                          <a:cubicBezTo>
                            <a:pt x="39114" y="11035"/>
                            <a:pt x="39114" y="10975"/>
                            <a:pt x="39054" y="10856"/>
                          </a:cubicBezTo>
                          <a:cubicBezTo>
                            <a:pt x="38815" y="10318"/>
                            <a:pt x="38575" y="9779"/>
                            <a:pt x="38276" y="9241"/>
                          </a:cubicBezTo>
                          <a:cubicBezTo>
                            <a:pt x="37977" y="8703"/>
                            <a:pt x="37678" y="8224"/>
                            <a:pt x="37380" y="7746"/>
                          </a:cubicBezTo>
                          <a:cubicBezTo>
                            <a:pt x="37021" y="7267"/>
                            <a:pt x="36721" y="6789"/>
                            <a:pt x="36303" y="6310"/>
                          </a:cubicBezTo>
                          <a:cubicBezTo>
                            <a:pt x="35944" y="5832"/>
                            <a:pt x="35526" y="5413"/>
                            <a:pt x="35107" y="4995"/>
                          </a:cubicBezTo>
                          <a:cubicBezTo>
                            <a:pt x="35047" y="4935"/>
                            <a:pt x="34987" y="4875"/>
                            <a:pt x="34927" y="4815"/>
                          </a:cubicBezTo>
                          <a:cubicBezTo>
                            <a:pt x="34867" y="4755"/>
                            <a:pt x="34807" y="4696"/>
                            <a:pt x="34748" y="4636"/>
                          </a:cubicBezTo>
                          <a:cubicBezTo>
                            <a:pt x="34688" y="4576"/>
                            <a:pt x="34628" y="4516"/>
                            <a:pt x="34568" y="4456"/>
                          </a:cubicBezTo>
                          <a:cubicBezTo>
                            <a:pt x="34509" y="4397"/>
                            <a:pt x="34449" y="4337"/>
                            <a:pt x="34389" y="4277"/>
                          </a:cubicBezTo>
                          <a:cubicBezTo>
                            <a:pt x="34389" y="4277"/>
                            <a:pt x="34389" y="4277"/>
                            <a:pt x="34329" y="4277"/>
                          </a:cubicBezTo>
                          <a:cubicBezTo>
                            <a:pt x="34329" y="4277"/>
                            <a:pt x="34329" y="4277"/>
                            <a:pt x="34269" y="4277"/>
                          </a:cubicBezTo>
                          <a:cubicBezTo>
                            <a:pt x="34269" y="4277"/>
                            <a:pt x="34269" y="4277"/>
                            <a:pt x="34210" y="4277"/>
                          </a:cubicBezTo>
                          <a:cubicBezTo>
                            <a:pt x="34210" y="4277"/>
                            <a:pt x="34210" y="4277"/>
                            <a:pt x="34150" y="4277"/>
                          </a:cubicBezTo>
                          <a:cubicBezTo>
                            <a:pt x="33911" y="4097"/>
                            <a:pt x="33671" y="3918"/>
                            <a:pt x="33492" y="3739"/>
                          </a:cubicBezTo>
                          <a:cubicBezTo>
                            <a:pt x="33253" y="3559"/>
                            <a:pt x="33013" y="3380"/>
                            <a:pt x="32774" y="3200"/>
                          </a:cubicBezTo>
                          <a:cubicBezTo>
                            <a:pt x="32535" y="3021"/>
                            <a:pt x="32296" y="2842"/>
                            <a:pt x="32057" y="2722"/>
                          </a:cubicBezTo>
                          <a:cubicBezTo>
                            <a:pt x="31817" y="2602"/>
                            <a:pt x="31578" y="2423"/>
                            <a:pt x="31279" y="2243"/>
                          </a:cubicBezTo>
                          <a:cubicBezTo>
                            <a:pt x="31219" y="2184"/>
                            <a:pt x="31099" y="2124"/>
                            <a:pt x="31040" y="2124"/>
                          </a:cubicBezTo>
                          <a:cubicBezTo>
                            <a:pt x="30980" y="2064"/>
                            <a:pt x="30860" y="2004"/>
                            <a:pt x="30801" y="2004"/>
                          </a:cubicBezTo>
                          <a:cubicBezTo>
                            <a:pt x="30741" y="1944"/>
                            <a:pt x="30621" y="1944"/>
                            <a:pt x="30561" y="1884"/>
                          </a:cubicBezTo>
                          <a:cubicBezTo>
                            <a:pt x="30502" y="1825"/>
                            <a:pt x="30382" y="1825"/>
                            <a:pt x="30322" y="1765"/>
                          </a:cubicBezTo>
                          <a:cubicBezTo>
                            <a:pt x="30143" y="1645"/>
                            <a:pt x="29904" y="1586"/>
                            <a:pt x="29724" y="1466"/>
                          </a:cubicBezTo>
                          <a:cubicBezTo>
                            <a:pt x="29545" y="1346"/>
                            <a:pt x="29305" y="1287"/>
                            <a:pt x="29126" y="1227"/>
                          </a:cubicBezTo>
                          <a:cubicBezTo>
                            <a:pt x="28946" y="1167"/>
                            <a:pt x="28707" y="1047"/>
                            <a:pt x="28468" y="988"/>
                          </a:cubicBezTo>
                          <a:cubicBezTo>
                            <a:pt x="28229" y="928"/>
                            <a:pt x="28050" y="868"/>
                            <a:pt x="27810" y="748"/>
                          </a:cubicBezTo>
                          <a:cubicBezTo>
                            <a:pt x="27750" y="748"/>
                            <a:pt x="27631" y="689"/>
                            <a:pt x="27571" y="689"/>
                          </a:cubicBezTo>
                          <a:cubicBezTo>
                            <a:pt x="27511" y="689"/>
                            <a:pt x="27391" y="629"/>
                            <a:pt x="27332" y="629"/>
                          </a:cubicBezTo>
                          <a:cubicBezTo>
                            <a:pt x="27272" y="629"/>
                            <a:pt x="27152" y="569"/>
                            <a:pt x="27092" y="569"/>
                          </a:cubicBezTo>
                          <a:cubicBezTo>
                            <a:pt x="27033" y="569"/>
                            <a:pt x="26913" y="509"/>
                            <a:pt x="26853" y="509"/>
                          </a:cubicBezTo>
                          <a:cubicBezTo>
                            <a:pt x="26734" y="509"/>
                            <a:pt x="26674" y="449"/>
                            <a:pt x="26554" y="449"/>
                          </a:cubicBezTo>
                          <a:cubicBezTo>
                            <a:pt x="26435" y="449"/>
                            <a:pt x="26375" y="389"/>
                            <a:pt x="26255" y="389"/>
                          </a:cubicBezTo>
                          <a:cubicBezTo>
                            <a:pt x="26136" y="389"/>
                            <a:pt x="26076" y="329"/>
                            <a:pt x="25956" y="329"/>
                          </a:cubicBezTo>
                          <a:cubicBezTo>
                            <a:pt x="25836" y="329"/>
                            <a:pt x="25777" y="270"/>
                            <a:pt x="25657" y="270"/>
                          </a:cubicBezTo>
                          <a:cubicBezTo>
                            <a:pt x="23145" y="-149"/>
                            <a:pt x="20633" y="-89"/>
                            <a:pt x="18181" y="509"/>
                          </a:cubicBezTo>
                          <a:cubicBezTo>
                            <a:pt x="15729" y="1047"/>
                            <a:pt x="13337" y="2124"/>
                            <a:pt x="11184" y="3559"/>
                          </a:cubicBezTo>
                          <a:cubicBezTo>
                            <a:pt x="8971" y="4995"/>
                            <a:pt x="6997" y="6849"/>
                            <a:pt x="5323" y="9002"/>
                          </a:cubicBezTo>
                          <a:cubicBezTo>
                            <a:pt x="3648" y="11155"/>
                            <a:pt x="2273" y="13667"/>
                            <a:pt x="1375" y="16418"/>
                          </a:cubicBezTo>
                          <a:cubicBezTo>
                            <a:pt x="957" y="17734"/>
                            <a:pt x="598" y="18990"/>
                            <a:pt x="359" y="20305"/>
                          </a:cubicBezTo>
                          <a:cubicBezTo>
                            <a:pt x="119" y="21621"/>
                            <a:pt x="0" y="22877"/>
                            <a:pt x="0" y="24133"/>
                          </a:cubicBezTo>
                          <a:cubicBezTo>
                            <a:pt x="0" y="25389"/>
                            <a:pt x="60" y="26645"/>
                            <a:pt x="299" y="27901"/>
                          </a:cubicBezTo>
                          <a:cubicBezTo>
                            <a:pt x="478" y="29097"/>
                            <a:pt x="778" y="30293"/>
                            <a:pt x="1196" y="31429"/>
                          </a:cubicBezTo>
                          <a:cubicBezTo>
                            <a:pt x="1256" y="31549"/>
                            <a:pt x="1316" y="31669"/>
                            <a:pt x="1316" y="31788"/>
                          </a:cubicBezTo>
                          <a:cubicBezTo>
                            <a:pt x="1375" y="31908"/>
                            <a:pt x="1435" y="32028"/>
                            <a:pt x="1435" y="32147"/>
                          </a:cubicBezTo>
                          <a:cubicBezTo>
                            <a:pt x="1495" y="32267"/>
                            <a:pt x="1555" y="32386"/>
                            <a:pt x="1615" y="32506"/>
                          </a:cubicBezTo>
                          <a:cubicBezTo>
                            <a:pt x="1674" y="32625"/>
                            <a:pt x="1734" y="32745"/>
                            <a:pt x="1794" y="32865"/>
                          </a:cubicBezTo>
                          <a:cubicBezTo>
                            <a:pt x="2093" y="33523"/>
                            <a:pt x="2392" y="34121"/>
                            <a:pt x="2751" y="34719"/>
                          </a:cubicBezTo>
                          <a:cubicBezTo>
                            <a:pt x="3110" y="35317"/>
                            <a:pt x="3469" y="35915"/>
                            <a:pt x="3887" y="36453"/>
                          </a:cubicBezTo>
                          <a:cubicBezTo>
                            <a:pt x="4306" y="36991"/>
                            <a:pt x="4725" y="37530"/>
                            <a:pt x="5203" y="38068"/>
                          </a:cubicBezTo>
                          <a:cubicBezTo>
                            <a:pt x="5681" y="38666"/>
                            <a:pt x="6160" y="39145"/>
                            <a:pt x="6698" y="39623"/>
                          </a:cubicBezTo>
                        </a:path>
                      </a:pathLst>
                    </a:custGeom>
                    <a:noFill/>
                    <a:ln w="6350" cap="flat">
                      <a:solidFill>
                        <a:schemeClr val="bg1">
                          <a:alpha val="80000"/>
                        </a:schemeClr>
                      </a:solidFill>
                      <a:prstDash val="solid"/>
                      <a:miter/>
                    </a:ln>
                  </p:spPr>
                  <p:txBody>
                    <a:bodyPr rtlCol="0" anchor="ctr"/>
                    <a:lstStyle/>
                    <a:p>
                      <a:endParaRPr lang="en-GB"/>
                    </a:p>
                  </p:txBody>
                </p:sp>
                <p:sp>
                  <p:nvSpPr>
                    <p:cNvPr id="7441" name="Vrije vorm: vorm 7440">
                      <a:extLst>
                        <a:ext uri="{FF2B5EF4-FFF2-40B4-BE49-F238E27FC236}">
                          <a16:creationId xmlns:a16="http://schemas.microsoft.com/office/drawing/2014/main" id="{2F11EB61-3870-4841-9795-B959951CF230}"/>
                        </a:ext>
                      </a:extLst>
                    </p:cNvPr>
                    <p:cNvSpPr/>
                    <p:nvPr/>
                  </p:nvSpPr>
                  <p:spPr>
                    <a:xfrm>
                      <a:off x="5039525" y="4936051"/>
                      <a:ext cx="40436" cy="43595"/>
                    </a:xfrm>
                    <a:custGeom>
                      <a:avLst/>
                      <a:gdLst>
                        <a:gd name="connsiteX0" fmla="*/ 33403 w 40436"/>
                        <a:gd name="connsiteY0" fmla="*/ 5440 h 43595"/>
                        <a:gd name="connsiteX1" fmla="*/ 36872 w 40436"/>
                        <a:gd name="connsiteY1" fmla="*/ 9746 h 43595"/>
                        <a:gd name="connsiteX2" fmla="*/ 38905 w 40436"/>
                        <a:gd name="connsiteY2" fmla="*/ 15069 h 43595"/>
                        <a:gd name="connsiteX3" fmla="*/ 39384 w 40436"/>
                        <a:gd name="connsiteY3" fmla="*/ 20990 h 43595"/>
                        <a:gd name="connsiteX4" fmla="*/ 38128 w 40436"/>
                        <a:gd name="connsiteY4" fmla="*/ 27150 h 43595"/>
                        <a:gd name="connsiteX5" fmla="*/ 34121 w 40436"/>
                        <a:gd name="connsiteY5" fmla="*/ 34387 h 43595"/>
                        <a:gd name="connsiteX6" fmla="*/ 28200 w 40436"/>
                        <a:gd name="connsiteY6" fmla="*/ 39530 h 43595"/>
                        <a:gd name="connsiteX7" fmla="*/ 21083 w 40436"/>
                        <a:gd name="connsiteY7" fmla="*/ 42102 h 43595"/>
                        <a:gd name="connsiteX8" fmla="*/ 13607 w 40436"/>
                        <a:gd name="connsiteY8" fmla="*/ 41684 h 43595"/>
                        <a:gd name="connsiteX9" fmla="*/ 11932 w 40436"/>
                        <a:gd name="connsiteY9" fmla="*/ 41085 h 43595"/>
                        <a:gd name="connsiteX10" fmla="*/ 10318 w 40436"/>
                        <a:gd name="connsiteY10" fmla="*/ 40308 h 43595"/>
                        <a:gd name="connsiteX11" fmla="*/ 8822 w 40436"/>
                        <a:gd name="connsiteY11" fmla="*/ 39351 h 43595"/>
                        <a:gd name="connsiteX12" fmla="*/ 7447 w 40436"/>
                        <a:gd name="connsiteY12" fmla="*/ 38274 h 43595"/>
                        <a:gd name="connsiteX13" fmla="*/ 3918 w 40436"/>
                        <a:gd name="connsiteY13" fmla="*/ 34028 h 43595"/>
                        <a:gd name="connsiteX14" fmla="*/ 1765 w 40436"/>
                        <a:gd name="connsiteY14" fmla="*/ 28765 h 43595"/>
                        <a:gd name="connsiteX15" fmla="*/ 1227 w 40436"/>
                        <a:gd name="connsiteY15" fmla="*/ 22784 h 43595"/>
                        <a:gd name="connsiteX16" fmla="*/ 2423 w 40436"/>
                        <a:gd name="connsiteY16" fmla="*/ 16505 h 43595"/>
                        <a:gd name="connsiteX17" fmla="*/ 6490 w 40436"/>
                        <a:gd name="connsiteY17" fmla="*/ 9148 h 43595"/>
                        <a:gd name="connsiteX18" fmla="*/ 12530 w 40436"/>
                        <a:gd name="connsiteY18" fmla="*/ 3945 h 43595"/>
                        <a:gd name="connsiteX19" fmla="*/ 19707 w 40436"/>
                        <a:gd name="connsiteY19" fmla="*/ 1373 h 43595"/>
                        <a:gd name="connsiteX20" fmla="*/ 27243 w 40436"/>
                        <a:gd name="connsiteY20" fmla="*/ 1912 h 43595"/>
                        <a:gd name="connsiteX21" fmla="*/ 28918 w 40436"/>
                        <a:gd name="connsiteY21" fmla="*/ 2569 h 43595"/>
                        <a:gd name="connsiteX22" fmla="*/ 30532 w 40436"/>
                        <a:gd name="connsiteY22" fmla="*/ 3347 h 43595"/>
                        <a:gd name="connsiteX23" fmla="*/ 32028 w 40436"/>
                        <a:gd name="connsiteY23" fmla="*/ 4304 h 43595"/>
                        <a:gd name="connsiteX24" fmla="*/ 33403 w 40436"/>
                        <a:gd name="connsiteY24" fmla="*/ 5440 h 43595"/>
                        <a:gd name="connsiteX25" fmla="*/ 6669 w 40436"/>
                        <a:gd name="connsiteY25" fmla="*/ 39411 h 43595"/>
                        <a:gd name="connsiteX26" fmla="*/ 8105 w 40436"/>
                        <a:gd name="connsiteY26" fmla="*/ 40547 h 43595"/>
                        <a:gd name="connsiteX27" fmla="*/ 9659 w 40436"/>
                        <a:gd name="connsiteY27" fmla="*/ 41504 h 43595"/>
                        <a:gd name="connsiteX28" fmla="*/ 11334 w 40436"/>
                        <a:gd name="connsiteY28" fmla="*/ 42281 h 43595"/>
                        <a:gd name="connsiteX29" fmla="*/ 13128 w 40436"/>
                        <a:gd name="connsiteY29" fmla="*/ 42879 h 43595"/>
                        <a:gd name="connsiteX30" fmla="*/ 21023 w 40436"/>
                        <a:gd name="connsiteY30" fmla="*/ 43358 h 43595"/>
                        <a:gd name="connsiteX31" fmla="*/ 28499 w 40436"/>
                        <a:gd name="connsiteY31" fmla="*/ 40607 h 43595"/>
                        <a:gd name="connsiteX32" fmla="*/ 34778 w 40436"/>
                        <a:gd name="connsiteY32" fmla="*/ 35164 h 43595"/>
                        <a:gd name="connsiteX33" fmla="*/ 39085 w 40436"/>
                        <a:gd name="connsiteY33" fmla="*/ 27449 h 43595"/>
                        <a:gd name="connsiteX34" fmla="*/ 40400 w 40436"/>
                        <a:gd name="connsiteY34" fmla="*/ 20930 h 43595"/>
                        <a:gd name="connsiteX35" fmla="*/ 39922 w 40436"/>
                        <a:gd name="connsiteY35" fmla="*/ 14651 h 43595"/>
                        <a:gd name="connsiteX36" fmla="*/ 37769 w 40436"/>
                        <a:gd name="connsiteY36" fmla="*/ 9029 h 43595"/>
                        <a:gd name="connsiteX37" fmla="*/ 34061 w 40436"/>
                        <a:gd name="connsiteY37" fmla="*/ 4423 h 43595"/>
                        <a:gd name="connsiteX38" fmla="*/ 32626 w 40436"/>
                        <a:gd name="connsiteY38" fmla="*/ 3287 h 43595"/>
                        <a:gd name="connsiteX39" fmla="*/ 31070 w 40436"/>
                        <a:gd name="connsiteY39" fmla="*/ 2270 h 43595"/>
                        <a:gd name="connsiteX40" fmla="*/ 29396 w 40436"/>
                        <a:gd name="connsiteY40" fmla="*/ 1433 h 43595"/>
                        <a:gd name="connsiteX41" fmla="*/ 27602 w 40436"/>
                        <a:gd name="connsiteY41" fmla="*/ 775 h 43595"/>
                        <a:gd name="connsiteX42" fmla="*/ 19647 w 40436"/>
                        <a:gd name="connsiteY42" fmla="*/ 177 h 43595"/>
                        <a:gd name="connsiteX43" fmla="*/ 11992 w 40436"/>
                        <a:gd name="connsiteY43" fmla="*/ 2868 h 43595"/>
                        <a:gd name="connsiteX44" fmla="*/ 5593 w 40436"/>
                        <a:gd name="connsiteY44" fmla="*/ 8431 h 43595"/>
                        <a:gd name="connsiteX45" fmla="*/ 1287 w 40436"/>
                        <a:gd name="connsiteY45" fmla="*/ 16265 h 43595"/>
                        <a:gd name="connsiteX46" fmla="*/ 31 w 40436"/>
                        <a:gd name="connsiteY46" fmla="*/ 22904 h 43595"/>
                        <a:gd name="connsiteX47" fmla="*/ 629 w 40436"/>
                        <a:gd name="connsiteY47" fmla="*/ 29244 h 43595"/>
                        <a:gd name="connsiteX48" fmla="*/ 2901 w 40436"/>
                        <a:gd name="connsiteY48" fmla="*/ 34865 h 43595"/>
                        <a:gd name="connsiteX49" fmla="*/ 6669 w 40436"/>
                        <a:gd name="connsiteY49" fmla="*/ 39411 h 4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436" h="43595">
                          <a:moveTo>
                            <a:pt x="33403" y="5440"/>
                          </a:moveTo>
                          <a:cubicBezTo>
                            <a:pt x="34778" y="6696"/>
                            <a:pt x="35975" y="8131"/>
                            <a:pt x="36872" y="9746"/>
                          </a:cubicBezTo>
                          <a:cubicBezTo>
                            <a:pt x="37769" y="11361"/>
                            <a:pt x="38487" y="13155"/>
                            <a:pt x="38905" y="15069"/>
                          </a:cubicBezTo>
                          <a:cubicBezTo>
                            <a:pt x="39324" y="16983"/>
                            <a:pt x="39504" y="18956"/>
                            <a:pt x="39384" y="20990"/>
                          </a:cubicBezTo>
                          <a:cubicBezTo>
                            <a:pt x="39264" y="23024"/>
                            <a:pt x="38845" y="25117"/>
                            <a:pt x="38128" y="27150"/>
                          </a:cubicBezTo>
                          <a:cubicBezTo>
                            <a:pt x="37171" y="29841"/>
                            <a:pt x="35795" y="32294"/>
                            <a:pt x="34121" y="34387"/>
                          </a:cubicBezTo>
                          <a:cubicBezTo>
                            <a:pt x="32446" y="36480"/>
                            <a:pt x="30413" y="38215"/>
                            <a:pt x="28200" y="39530"/>
                          </a:cubicBezTo>
                          <a:cubicBezTo>
                            <a:pt x="25987" y="40846"/>
                            <a:pt x="23595" y="41743"/>
                            <a:pt x="21083" y="42102"/>
                          </a:cubicBezTo>
                          <a:cubicBezTo>
                            <a:pt x="18630" y="42461"/>
                            <a:pt x="16059" y="42401"/>
                            <a:pt x="13607" y="41684"/>
                          </a:cubicBezTo>
                          <a:cubicBezTo>
                            <a:pt x="13009" y="41504"/>
                            <a:pt x="12471" y="41325"/>
                            <a:pt x="11932" y="41085"/>
                          </a:cubicBezTo>
                          <a:cubicBezTo>
                            <a:pt x="11394" y="40846"/>
                            <a:pt x="10856" y="40607"/>
                            <a:pt x="10318" y="40308"/>
                          </a:cubicBezTo>
                          <a:cubicBezTo>
                            <a:pt x="9779" y="40009"/>
                            <a:pt x="9301" y="39710"/>
                            <a:pt x="8822" y="39351"/>
                          </a:cubicBezTo>
                          <a:cubicBezTo>
                            <a:pt x="8344" y="38992"/>
                            <a:pt x="7865" y="38633"/>
                            <a:pt x="7447" y="38274"/>
                          </a:cubicBezTo>
                          <a:cubicBezTo>
                            <a:pt x="6071" y="37078"/>
                            <a:pt x="4875" y="35643"/>
                            <a:pt x="3918" y="34028"/>
                          </a:cubicBezTo>
                          <a:cubicBezTo>
                            <a:pt x="2961" y="32413"/>
                            <a:pt x="2243" y="30619"/>
                            <a:pt x="1765" y="28765"/>
                          </a:cubicBezTo>
                          <a:cubicBezTo>
                            <a:pt x="1287" y="26851"/>
                            <a:pt x="1107" y="24878"/>
                            <a:pt x="1227" y="22784"/>
                          </a:cubicBezTo>
                          <a:cubicBezTo>
                            <a:pt x="1346" y="20751"/>
                            <a:pt x="1705" y="18598"/>
                            <a:pt x="2423" y="16505"/>
                          </a:cubicBezTo>
                          <a:cubicBezTo>
                            <a:pt x="3380" y="13753"/>
                            <a:pt x="4755" y="11241"/>
                            <a:pt x="6490" y="9148"/>
                          </a:cubicBezTo>
                          <a:cubicBezTo>
                            <a:pt x="8224" y="7055"/>
                            <a:pt x="10258" y="5261"/>
                            <a:pt x="12530" y="3945"/>
                          </a:cubicBezTo>
                          <a:cubicBezTo>
                            <a:pt x="14803" y="2629"/>
                            <a:pt x="17255" y="1732"/>
                            <a:pt x="19707" y="1373"/>
                          </a:cubicBezTo>
                          <a:cubicBezTo>
                            <a:pt x="22219" y="1014"/>
                            <a:pt x="24731" y="1194"/>
                            <a:pt x="27243" y="1912"/>
                          </a:cubicBezTo>
                          <a:cubicBezTo>
                            <a:pt x="27841" y="2091"/>
                            <a:pt x="28379" y="2330"/>
                            <a:pt x="28918" y="2569"/>
                          </a:cubicBezTo>
                          <a:cubicBezTo>
                            <a:pt x="29456" y="2809"/>
                            <a:pt x="29994" y="3048"/>
                            <a:pt x="30532" y="3347"/>
                          </a:cubicBezTo>
                          <a:cubicBezTo>
                            <a:pt x="31070" y="3646"/>
                            <a:pt x="31549" y="3945"/>
                            <a:pt x="32028" y="4304"/>
                          </a:cubicBezTo>
                          <a:cubicBezTo>
                            <a:pt x="32506" y="4663"/>
                            <a:pt x="32984" y="5082"/>
                            <a:pt x="33403" y="5440"/>
                          </a:cubicBezTo>
                          <a:moveTo>
                            <a:pt x="6669" y="39411"/>
                          </a:moveTo>
                          <a:cubicBezTo>
                            <a:pt x="7148" y="39830"/>
                            <a:pt x="7626" y="40188"/>
                            <a:pt x="8105" y="40547"/>
                          </a:cubicBezTo>
                          <a:cubicBezTo>
                            <a:pt x="8583" y="40906"/>
                            <a:pt x="9121" y="41205"/>
                            <a:pt x="9659" y="41504"/>
                          </a:cubicBezTo>
                          <a:cubicBezTo>
                            <a:pt x="10198" y="41803"/>
                            <a:pt x="10796" y="42042"/>
                            <a:pt x="11334" y="42281"/>
                          </a:cubicBezTo>
                          <a:cubicBezTo>
                            <a:pt x="11932" y="42521"/>
                            <a:pt x="12530" y="42700"/>
                            <a:pt x="13128" y="42879"/>
                          </a:cubicBezTo>
                          <a:cubicBezTo>
                            <a:pt x="15760" y="43657"/>
                            <a:pt x="18391" y="43777"/>
                            <a:pt x="21023" y="43358"/>
                          </a:cubicBezTo>
                          <a:cubicBezTo>
                            <a:pt x="23654" y="42939"/>
                            <a:pt x="26166" y="41982"/>
                            <a:pt x="28499" y="40607"/>
                          </a:cubicBezTo>
                          <a:cubicBezTo>
                            <a:pt x="30831" y="39231"/>
                            <a:pt x="32984" y="37377"/>
                            <a:pt x="34778" y="35164"/>
                          </a:cubicBezTo>
                          <a:cubicBezTo>
                            <a:pt x="36573" y="32952"/>
                            <a:pt x="38068" y="30380"/>
                            <a:pt x="39085" y="27449"/>
                          </a:cubicBezTo>
                          <a:cubicBezTo>
                            <a:pt x="39862" y="25237"/>
                            <a:pt x="40281" y="23083"/>
                            <a:pt x="40400" y="20930"/>
                          </a:cubicBezTo>
                          <a:cubicBezTo>
                            <a:pt x="40520" y="18777"/>
                            <a:pt x="40341" y="16684"/>
                            <a:pt x="39922" y="14651"/>
                          </a:cubicBezTo>
                          <a:cubicBezTo>
                            <a:pt x="39444" y="12677"/>
                            <a:pt x="38726" y="10763"/>
                            <a:pt x="37769" y="9029"/>
                          </a:cubicBezTo>
                          <a:cubicBezTo>
                            <a:pt x="36812" y="7294"/>
                            <a:pt x="35556" y="5739"/>
                            <a:pt x="34061" y="4423"/>
                          </a:cubicBezTo>
                          <a:cubicBezTo>
                            <a:pt x="33582" y="4005"/>
                            <a:pt x="33104" y="3646"/>
                            <a:pt x="32626" y="3287"/>
                          </a:cubicBezTo>
                          <a:cubicBezTo>
                            <a:pt x="32147" y="2928"/>
                            <a:pt x="31609" y="2569"/>
                            <a:pt x="31070" y="2270"/>
                          </a:cubicBezTo>
                          <a:cubicBezTo>
                            <a:pt x="30532" y="1971"/>
                            <a:pt x="29994" y="1672"/>
                            <a:pt x="29396" y="1433"/>
                          </a:cubicBezTo>
                          <a:cubicBezTo>
                            <a:pt x="28798" y="1194"/>
                            <a:pt x="28200" y="955"/>
                            <a:pt x="27602" y="775"/>
                          </a:cubicBezTo>
                          <a:cubicBezTo>
                            <a:pt x="24970" y="-2"/>
                            <a:pt x="22279" y="-182"/>
                            <a:pt x="19647" y="177"/>
                          </a:cubicBezTo>
                          <a:cubicBezTo>
                            <a:pt x="17016" y="536"/>
                            <a:pt x="14384" y="1493"/>
                            <a:pt x="11992" y="2868"/>
                          </a:cubicBezTo>
                          <a:cubicBezTo>
                            <a:pt x="9600" y="4244"/>
                            <a:pt x="7387" y="6158"/>
                            <a:pt x="5593" y="8431"/>
                          </a:cubicBezTo>
                          <a:cubicBezTo>
                            <a:pt x="3739" y="10703"/>
                            <a:pt x="2243" y="13335"/>
                            <a:pt x="1287" y="16265"/>
                          </a:cubicBezTo>
                          <a:cubicBezTo>
                            <a:pt x="509" y="18478"/>
                            <a:pt x="90" y="20751"/>
                            <a:pt x="31" y="22904"/>
                          </a:cubicBezTo>
                          <a:cubicBezTo>
                            <a:pt x="-89" y="25117"/>
                            <a:pt x="150" y="27210"/>
                            <a:pt x="629" y="29244"/>
                          </a:cubicBezTo>
                          <a:cubicBezTo>
                            <a:pt x="1107" y="31277"/>
                            <a:pt x="1885" y="33131"/>
                            <a:pt x="2901" y="34865"/>
                          </a:cubicBezTo>
                          <a:cubicBezTo>
                            <a:pt x="3918" y="36600"/>
                            <a:pt x="5174" y="38095"/>
                            <a:pt x="6669" y="39411"/>
                          </a:cubicBezTo>
                        </a:path>
                      </a:pathLst>
                    </a:custGeom>
                    <a:noFill/>
                    <a:ln w="6350" cap="flat">
                      <a:solidFill>
                        <a:schemeClr val="bg1">
                          <a:alpha val="80000"/>
                        </a:schemeClr>
                      </a:solidFill>
                      <a:prstDash val="solid"/>
                      <a:miter/>
                    </a:ln>
                  </p:spPr>
                  <p:txBody>
                    <a:bodyPr rtlCol="0" anchor="ctr"/>
                    <a:lstStyle/>
                    <a:p>
                      <a:endParaRPr lang="en-GB"/>
                    </a:p>
                  </p:txBody>
                </p:sp>
                <p:sp>
                  <p:nvSpPr>
                    <p:cNvPr id="7442" name="Vrije vorm: vorm 7441">
                      <a:extLst>
                        <a:ext uri="{FF2B5EF4-FFF2-40B4-BE49-F238E27FC236}">
                          <a16:creationId xmlns:a16="http://schemas.microsoft.com/office/drawing/2014/main" id="{1659E8D0-50D3-4788-8E59-23BE892C59F0}"/>
                        </a:ext>
                      </a:extLst>
                    </p:cNvPr>
                    <p:cNvSpPr/>
                    <p:nvPr/>
                  </p:nvSpPr>
                  <p:spPr>
                    <a:xfrm>
                      <a:off x="5042725" y="4949901"/>
                      <a:ext cx="6997" cy="7678"/>
                    </a:xfrm>
                    <a:custGeom>
                      <a:avLst/>
                      <a:gdLst>
                        <a:gd name="connsiteX0" fmla="*/ 2512 w 6997"/>
                        <a:gd name="connsiteY0" fmla="*/ 6423 h 7678"/>
                        <a:gd name="connsiteX1" fmla="*/ 1914 w 6997"/>
                        <a:gd name="connsiteY1" fmla="*/ 6124 h 7678"/>
                        <a:gd name="connsiteX2" fmla="*/ 1495 w 6997"/>
                        <a:gd name="connsiteY2" fmla="*/ 5586 h 7678"/>
                        <a:gd name="connsiteX3" fmla="*/ 1256 w 6997"/>
                        <a:gd name="connsiteY3" fmla="*/ 4928 h 7678"/>
                        <a:gd name="connsiteX4" fmla="*/ 1196 w 6997"/>
                        <a:gd name="connsiteY4" fmla="*/ 4210 h 7678"/>
                        <a:gd name="connsiteX5" fmla="*/ 1375 w 6997"/>
                        <a:gd name="connsiteY5" fmla="*/ 3433 h 7678"/>
                        <a:gd name="connsiteX6" fmla="*/ 1854 w 6997"/>
                        <a:gd name="connsiteY6" fmla="*/ 2535 h 7678"/>
                        <a:gd name="connsiteX7" fmla="*/ 2572 w 6997"/>
                        <a:gd name="connsiteY7" fmla="*/ 1877 h 7678"/>
                        <a:gd name="connsiteX8" fmla="*/ 3469 w 6997"/>
                        <a:gd name="connsiteY8" fmla="*/ 1579 h 7678"/>
                        <a:gd name="connsiteX9" fmla="*/ 4426 w 6997"/>
                        <a:gd name="connsiteY9" fmla="*/ 1638 h 7678"/>
                        <a:gd name="connsiteX10" fmla="*/ 4486 w 6997"/>
                        <a:gd name="connsiteY10" fmla="*/ 1638 h 7678"/>
                        <a:gd name="connsiteX11" fmla="*/ 4545 w 6997"/>
                        <a:gd name="connsiteY11" fmla="*/ 1638 h 7678"/>
                        <a:gd name="connsiteX12" fmla="*/ 4605 w 6997"/>
                        <a:gd name="connsiteY12" fmla="*/ 1638 h 7678"/>
                        <a:gd name="connsiteX13" fmla="*/ 4665 w 6997"/>
                        <a:gd name="connsiteY13" fmla="*/ 1638 h 7678"/>
                        <a:gd name="connsiteX14" fmla="*/ 4785 w 6997"/>
                        <a:gd name="connsiteY14" fmla="*/ 1698 h 7678"/>
                        <a:gd name="connsiteX15" fmla="*/ 4904 w 6997"/>
                        <a:gd name="connsiteY15" fmla="*/ 1758 h 7678"/>
                        <a:gd name="connsiteX16" fmla="*/ 5024 w 6997"/>
                        <a:gd name="connsiteY16" fmla="*/ 1877 h 7678"/>
                        <a:gd name="connsiteX17" fmla="*/ 5143 w 6997"/>
                        <a:gd name="connsiteY17" fmla="*/ 1997 h 7678"/>
                        <a:gd name="connsiteX18" fmla="*/ 5323 w 6997"/>
                        <a:gd name="connsiteY18" fmla="*/ 2176 h 7678"/>
                        <a:gd name="connsiteX19" fmla="*/ 5502 w 6997"/>
                        <a:gd name="connsiteY19" fmla="*/ 2356 h 7678"/>
                        <a:gd name="connsiteX20" fmla="*/ 5622 w 6997"/>
                        <a:gd name="connsiteY20" fmla="*/ 2535 h 7678"/>
                        <a:gd name="connsiteX21" fmla="*/ 5741 w 6997"/>
                        <a:gd name="connsiteY21" fmla="*/ 2775 h 7678"/>
                        <a:gd name="connsiteX22" fmla="*/ 5801 w 6997"/>
                        <a:gd name="connsiteY22" fmla="*/ 2894 h 7678"/>
                        <a:gd name="connsiteX23" fmla="*/ 5861 w 6997"/>
                        <a:gd name="connsiteY23" fmla="*/ 3014 h 7678"/>
                        <a:gd name="connsiteX24" fmla="*/ 5921 w 6997"/>
                        <a:gd name="connsiteY24" fmla="*/ 3193 h 7678"/>
                        <a:gd name="connsiteX25" fmla="*/ 5981 w 6997"/>
                        <a:gd name="connsiteY25" fmla="*/ 3373 h 7678"/>
                        <a:gd name="connsiteX26" fmla="*/ 6040 w 6997"/>
                        <a:gd name="connsiteY26" fmla="*/ 3672 h 7678"/>
                        <a:gd name="connsiteX27" fmla="*/ 6040 w 6997"/>
                        <a:gd name="connsiteY27" fmla="*/ 4030 h 7678"/>
                        <a:gd name="connsiteX28" fmla="*/ 5981 w 6997"/>
                        <a:gd name="connsiteY28" fmla="*/ 4389 h 7678"/>
                        <a:gd name="connsiteX29" fmla="*/ 5861 w 6997"/>
                        <a:gd name="connsiteY29" fmla="*/ 4748 h 7678"/>
                        <a:gd name="connsiteX30" fmla="*/ 5622 w 6997"/>
                        <a:gd name="connsiteY30" fmla="*/ 5227 h 7678"/>
                        <a:gd name="connsiteX31" fmla="*/ 5323 w 6997"/>
                        <a:gd name="connsiteY31" fmla="*/ 5645 h 7678"/>
                        <a:gd name="connsiteX32" fmla="*/ 4964 w 6997"/>
                        <a:gd name="connsiteY32" fmla="*/ 6004 h 7678"/>
                        <a:gd name="connsiteX33" fmla="*/ 4605 w 6997"/>
                        <a:gd name="connsiteY33" fmla="*/ 6303 h 7678"/>
                        <a:gd name="connsiteX34" fmla="*/ 4426 w 6997"/>
                        <a:gd name="connsiteY34" fmla="*/ 6423 h 7678"/>
                        <a:gd name="connsiteX35" fmla="*/ 4246 w 6997"/>
                        <a:gd name="connsiteY35" fmla="*/ 6483 h 7678"/>
                        <a:gd name="connsiteX36" fmla="*/ 4067 w 6997"/>
                        <a:gd name="connsiteY36" fmla="*/ 6543 h 7678"/>
                        <a:gd name="connsiteX37" fmla="*/ 3887 w 6997"/>
                        <a:gd name="connsiteY37" fmla="*/ 6602 h 7678"/>
                        <a:gd name="connsiteX38" fmla="*/ 3648 w 6997"/>
                        <a:gd name="connsiteY38" fmla="*/ 6662 h 7678"/>
                        <a:gd name="connsiteX39" fmla="*/ 3409 w 6997"/>
                        <a:gd name="connsiteY39" fmla="*/ 6662 h 7678"/>
                        <a:gd name="connsiteX40" fmla="*/ 3170 w 6997"/>
                        <a:gd name="connsiteY40" fmla="*/ 6602 h 7678"/>
                        <a:gd name="connsiteX41" fmla="*/ 2930 w 6997"/>
                        <a:gd name="connsiteY41" fmla="*/ 6543 h 7678"/>
                        <a:gd name="connsiteX42" fmla="*/ 2512 w 6997"/>
                        <a:gd name="connsiteY42" fmla="*/ 6423 h 7678"/>
                        <a:gd name="connsiteX43" fmla="*/ 1076 w 6997"/>
                        <a:gd name="connsiteY43" fmla="*/ 7021 h 7678"/>
                        <a:gd name="connsiteX44" fmla="*/ 1256 w 6997"/>
                        <a:gd name="connsiteY44" fmla="*/ 7200 h 7678"/>
                        <a:gd name="connsiteX45" fmla="*/ 1495 w 6997"/>
                        <a:gd name="connsiteY45" fmla="*/ 7320 h 7678"/>
                        <a:gd name="connsiteX46" fmla="*/ 1734 w 6997"/>
                        <a:gd name="connsiteY46" fmla="*/ 7440 h 7678"/>
                        <a:gd name="connsiteX47" fmla="*/ 1973 w 6997"/>
                        <a:gd name="connsiteY47" fmla="*/ 7559 h 7678"/>
                        <a:gd name="connsiteX48" fmla="*/ 2033 w 6997"/>
                        <a:gd name="connsiteY48" fmla="*/ 7559 h 7678"/>
                        <a:gd name="connsiteX49" fmla="*/ 2093 w 6997"/>
                        <a:gd name="connsiteY49" fmla="*/ 7559 h 7678"/>
                        <a:gd name="connsiteX50" fmla="*/ 2153 w 6997"/>
                        <a:gd name="connsiteY50" fmla="*/ 7559 h 7678"/>
                        <a:gd name="connsiteX51" fmla="*/ 2213 w 6997"/>
                        <a:gd name="connsiteY51" fmla="*/ 7559 h 7678"/>
                        <a:gd name="connsiteX52" fmla="*/ 2452 w 6997"/>
                        <a:gd name="connsiteY52" fmla="*/ 7619 h 7678"/>
                        <a:gd name="connsiteX53" fmla="*/ 2691 w 6997"/>
                        <a:gd name="connsiteY53" fmla="*/ 7679 h 7678"/>
                        <a:gd name="connsiteX54" fmla="*/ 2930 w 6997"/>
                        <a:gd name="connsiteY54" fmla="*/ 7679 h 7678"/>
                        <a:gd name="connsiteX55" fmla="*/ 3170 w 6997"/>
                        <a:gd name="connsiteY55" fmla="*/ 7679 h 7678"/>
                        <a:gd name="connsiteX56" fmla="*/ 3648 w 6997"/>
                        <a:gd name="connsiteY56" fmla="*/ 7619 h 7678"/>
                        <a:gd name="connsiteX57" fmla="*/ 4127 w 6997"/>
                        <a:gd name="connsiteY57" fmla="*/ 7499 h 7678"/>
                        <a:gd name="connsiteX58" fmla="*/ 4545 w 6997"/>
                        <a:gd name="connsiteY58" fmla="*/ 7320 h 7678"/>
                        <a:gd name="connsiteX59" fmla="*/ 4964 w 6997"/>
                        <a:gd name="connsiteY59" fmla="*/ 7081 h 7678"/>
                        <a:gd name="connsiteX60" fmla="*/ 5562 w 6997"/>
                        <a:gd name="connsiteY60" fmla="*/ 6662 h 7678"/>
                        <a:gd name="connsiteX61" fmla="*/ 6100 w 6997"/>
                        <a:gd name="connsiteY61" fmla="*/ 6124 h 7678"/>
                        <a:gd name="connsiteX62" fmla="*/ 6519 w 6997"/>
                        <a:gd name="connsiteY62" fmla="*/ 5526 h 7678"/>
                        <a:gd name="connsiteX63" fmla="*/ 6818 w 6997"/>
                        <a:gd name="connsiteY63" fmla="*/ 4808 h 7678"/>
                        <a:gd name="connsiteX64" fmla="*/ 6878 w 6997"/>
                        <a:gd name="connsiteY64" fmla="*/ 4509 h 7678"/>
                        <a:gd name="connsiteX65" fmla="*/ 6937 w 6997"/>
                        <a:gd name="connsiteY65" fmla="*/ 4210 h 7678"/>
                        <a:gd name="connsiteX66" fmla="*/ 6997 w 6997"/>
                        <a:gd name="connsiteY66" fmla="*/ 3911 h 7678"/>
                        <a:gd name="connsiteX67" fmla="*/ 6997 w 6997"/>
                        <a:gd name="connsiteY67" fmla="*/ 3612 h 7678"/>
                        <a:gd name="connsiteX68" fmla="*/ 6997 w 6997"/>
                        <a:gd name="connsiteY68" fmla="*/ 3253 h 7678"/>
                        <a:gd name="connsiteX69" fmla="*/ 6937 w 6997"/>
                        <a:gd name="connsiteY69" fmla="*/ 2894 h 7678"/>
                        <a:gd name="connsiteX70" fmla="*/ 6878 w 6997"/>
                        <a:gd name="connsiteY70" fmla="*/ 2535 h 7678"/>
                        <a:gd name="connsiteX71" fmla="*/ 6758 w 6997"/>
                        <a:gd name="connsiteY71" fmla="*/ 2176 h 7678"/>
                        <a:gd name="connsiteX72" fmla="*/ 6758 w 6997"/>
                        <a:gd name="connsiteY72" fmla="*/ 2117 h 7678"/>
                        <a:gd name="connsiteX73" fmla="*/ 6758 w 6997"/>
                        <a:gd name="connsiteY73" fmla="*/ 2057 h 7678"/>
                        <a:gd name="connsiteX74" fmla="*/ 6758 w 6997"/>
                        <a:gd name="connsiteY74" fmla="*/ 1997 h 7678"/>
                        <a:gd name="connsiteX75" fmla="*/ 6758 w 6997"/>
                        <a:gd name="connsiteY75" fmla="*/ 1937 h 7678"/>
                        <a:gd name="connsiteX76" fmla="*/ 6579 w 6997"/>
                        <a:gd name="connsiteY76" fmla="*/ 1579 h 7678"/>
                        <a:gd name="connsiteX77" fmla="*/ 6399 w 6997"/>
                        <a:gd name="connsiteY77" fmla="*/ 1280 h 7678"/>
                        <a:gd name="connsiteX78" fmla="*/ 6160 w 6997"/>
                        <a:gd name="connsiteY78" fmla="*/ 980 h 7678"/>
                        <a:gd name="connsiteX79" fmla="*/ 5921 w 6997"/>
                        <a:gd name="connsiteY79" fmla="*/ 741 h 7678"/>
                        <a:gd name="connsiteX80" fmla="*/ 5681 w 6997"/>
                        <a:gd name="connsiteY80" fmla="*/ 562 h 7678"/>
                        <a:gd name="connsiteX81" fmla="*/ 5382 w 6997"/>
                        <a:gd name="connsiteY81" fmla="*/ 382 h 7678"/>
                        <a:gd name="connsiteX82" fmla="*/ 5083 w 6997"/>
                        <a:gd name="connsiteY82" fmla="*/ 263 h 7678"/>
                        <a:gd name="connsiteX83" fmla="*/ 4785 w 6997"/>
                        <a:gd name="connsiteY83" fmla="*/ 143 h 7678"/>
                        <a:gd name="connsiteX84" fmla="*/ 3409 w 6997"/>
                        <a:gd name="connsiteY84" fmla="*/ 23 h 7678"/>
                        <a:gd name="connsiteX85" fmla="*/ 2093 w 6997"/>
                        <a:gd name="connsiteY85" fmla="*/ 502 h 7678"/>
                        <a:gd name="connsiteX86" fmla="*/ 957 w 6997"/>
                        <a:gd name="connsiteY86" fmla="*/ 1459 h 7678"/>
                        <a:gd name="connsiteX87" fmla="*/ 239 w 6997"/>
                        <a:gd name="connsiteY87" fmla="*/ 2834 h 7678"/>
                        <a:gd name="connsiteX88" fmla="*/ 0 w 6997"/>
                        <a:gd name="connsiteY88" fmla="*/ 3971 h 7678"/>
                        <a:gd name="connsiteX89" fmla="*/ 119 w 6997"/>
                        <a:gd name="connsiteY89" fmla="*/ 5047 h 7678"/>
                        <a:gd name="connsiteX90" fmla="*/ 478 w 6997"/>
                        <a:gd name="connsiteY90" fmla="*/ 6004 h 7678"/>
                        <a:gd name="connsiteX91" fmla="*/ 1076 w 6997"/>
                        <a:gd name="connsiteY91" fmla="*/ 7021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997" h="7678">
                          <a:moveTo>
                            <a:pt x="2512" y="6423"/>
                          </a:moveTo>
                          <a:lnTo>
                            <a:pt x="1914" y="6124"/>
                          </a:lnTo>
                          <a:cubicBezTo>
                            <a:pt x="1734" y="5944"/>
                            <a:pt x="1615" y="5765"/>
                            <a:pt x="1495" y="5586"/>
                          </a:cubicBezTo>
                          <a:cubicBezTo>
                            <a:pt x="1375" y="5406"/>
                            <a:pt x="1256" y="5167"/>
                            <a:pt x="1256" y="4928"/>
                          </a:cubicBezTo>
                          <a:cubicBezTo>
                            <a:pt x="1256" y="4689"/>
                            <a:pt x="1196" y="4449"/>
                            <a:pt x="1196" y="4210"/>
                          </a:cubicBezTo>
                          <a:cubicBezTo>
                            <a:pt x="1196" y="3971"/>
                            <a:pt x="1256" y="3672"/>
                            <a:pt x="1375" y="3433"/>
                          </a:cubicBezTo>
                          <a:cubicBezTo>
                            <a:pt x="1495" y="3074"/>
                            <a:pt x="1674" y="2775"/>
                            <a:pt x="1854" y="2535"/>
                          </a:cubicBezTo>
                          <a:cubicBezTo>
                            <a:pt x="2093" y="2296"/>
                            <a:pt x="2332" y="2057"/>
                            <a:pt x="2572" y="1877"/>
                          </a:cubicBezTo>
                          <a:cubicBezTo>
                            <a:pt x="2811" y="1698"/>
                            <a:pt x="3170" y="1579"/>
                            <a:pt x="3469" y="1579"/>
                          </a:cubicBezTo>
                          <a:cubicBezTo>
                            <a:pt x="3768" y="1519"/>
                            <a:pt x="4127" y="1579"/>
                            <a:pt x="4426" y="1638"/>
                          </a:cubicBezTo>
                          <a:cubicBezTo>
                            <a:pt x="4426" y="1638"/>
                            <a:pt x="4486" y="1638"/>
                            <a:pt x="4486" y="1638"/>
                          </a:cubicBezTo>
                          <a:cubicBezTo>
                            <a:pt x="4486" y="1638"/>
                            <a:pt x="4545" y="1638"/>
                            <a:pt x="4545" y="1638"/>
                          </a:cubicBezTo>
                          <a:cubicBezTo>
                            <a:pt x="4545" y="1638"/>
                            <a:pt x="4605" y="1638"/>
                            <a:pt x="4605" y="1638"/>
                          </a:cubicBezTo>
                          <a:cubicBezTo>
                            <a:pt x="4605" y="1638"/>
                            <a:pt x="4665" y="1638"/>
                            <a:pt x="4665" y="1638"/>
                          </a:cubicBezTo>
                          <a:cubicBezTo>
                            <a:pt x="4725" y="1638"/>
                            <a:pt x="4785" y="1698"/>
                            <a:pt x="4785" y="1698"/>
                          </a:cubicBezTo>
                          <a:cubicBezTo>
                            <a:pt x="4844" y="1698"/>
                            <a:pt x="4904" y="1758"/>
                            <a:pt x="4904" y="1758"/>
                          </a:cubicBezTo>
                          <a:cubicBezTo>
                            <a:pt x="4964" y="1758"/>
                            <a:pt x="5024" y="1818"/>
                            <a:pt x="5024" y="1877"/>
                          </a:cubicBezTo>
                          <a:cubicBezTo>
                            <a:pt x="5024" y="1937"/>
                            <a:pt x="5083" y="1937"/>
                            <a:pt x="5143" y="1997"/>
                          </a:cubicBezTo>
                          <a:cubicBezTo>
                            <a:pt x="5203" y="2057"/>
                            <a:pt x="5263" y="2117"/>
                            <a:pt x="5323" y="2176"/>
                          </a:cubicBezTo>
                          <a:cubicBezTo>
                            <a:pt x="5382" y="2236"/>
                            <a:pt x="5442" y="2296"/>
                            <a:pt x="5502" y="2356"/>
                          </a:cubicBezTo>
                          <a:cubicBezTo>
                            <a:pt x="5562" y="2416"/>
                            <a:pt x="5622" y="2475"/>
                            <a:pt x="5622" y="2535"/>
                          </a:cubicBezTo>
                          <a:cubicBezTo>
                            <a:pt x="5681" y="2595"/>
                            <a:pt x="5681" y="2655"/>
                            <a:pt x="5741" y="2775"/>
                          </a:cubicBezTo>
                          <a:cubicBezTo>
                            <a:pt x="5741" y="2834"/>
                            <a:pt x="5801" y="2894"/>
                            <a:pt x="5801" y="2894"/>
                          </a:cubicBezTo>
                          <a:cubicBezTo>
                            <a:pt x="5801" y="2894"/>
                            <a:pt x="5861" y="3014"/>
                            <a:pt x="5861" y="3014"/>
                          </a:cubicBezTo>
                          <a:cubicBezTo>
                            <a:pt x="5861" y="3074"/>
                            <a:pt x="5921" y="3134"/>
                            <a:pt x="5921" y="3193"/>
                          </a:cubicBezTo>
                          <a:cubicBezTo>
                            <a:pt x="5921" y="3253"/>
                            <a:pt x="5921" y="3313"/>
                            <a:pt x="5981" y="3373"/>
                          </a:cubicBezTo>
                          <a:cubicBezTo>
                            <a:pt x="5981" y="3492"/>
                            <a:pt x="5981" y="3612"/>
                            <a:pt x="6040" y="3672"/>
                          </a:cubicBezTo>
                          <a:cubicBezTo>
                            <a:pt x="6100" y="3732"/>
                            <a:pt x="6040" y="3911"/>
                            <a:pt x="6040" y="4030"/>
                          </a:cubicBezTo>
                          <a:cubicBezTo>
                            <a:pt x="6040" y="4150"/>
                            <a:pt x="6040" y="4270"/>
                            <a:pt x="5981" y="4389"/>
                          </a:cubicBezTo>
                          <a:cubicBezTo>
                            <a:pt x="5981" y="4509"/>
                            <a:pt x="5921" y="4629"/>
                            <a:pt x="5861" y="4748"/>
                          </a:cubicBezTo>
                          <a:cubicBezTo>
                            <a:pt x="5801" y="4928"/>
                            <a:pt x="5741" y="5047"/>
                            <a:pt x="5622" y="5227"/>
                          </a:cubicBezTo>
                          <a:cubicBezTo>
                            <a:pt x="5502" y="5406"/>
                            <a:pt x="5442" y="5526"/>
                            <a:pt x="5323" y="5645"/>
                          </a:cubicBezTo>
                          <a:cubicBezTo>
                            <a:pt x="5203" y="5765"/>
                            <a:pt x="5083" y="5884"/>
                            <a:pt x="4964" y="6004"/>
                          </a:cubicBezTo>
                          <a:cubicBezTo>
                            <a:pt x="4844" y="6124"/>
                            <a:pt x="4725" y="6184"/>
                            <a:pt x="4605" y="6303"/>
                          </a:cubicBezTo>
                          <a:cubicBezTo>
                            <a:pt x="4545" y="6363"/>
                            <a:pt x="4486" y="6363"/>
                            <a:pt x="4426" y="6423"/>
                          </a:cubicBezTo>
                          <a:cubicBezTo>
                            <a:pt x="4366" y="6483"/>
                            <a:pt x="4306" y="6483"/>
                            <a:pt x="4246" y="6483"/>
                          </a:cubicBezTo>
                          <a:cubicBezTo>
                            <a:pt x="4186" y="6483"/>
                            <a:pt x="4127" y="6543"/>
                            <a:pt x="4067" y="6543"/>
                          </a:cubicBezTo>
                          <a:cubicBezTo>
                            <a:pt x="4007" y="6543"/>
                            <a:pt x="3947" y="6602"/>
                            <a:pt x="3887" y="6602"/>
                          </a:cubicBezTo>
                          <a:cubicBezTo>
                            <a:pt x="3827" y="6602"/>
                            <a:pt x="3708" y="6662"/>
                            <a:pt x="3648" y="6662"/>
                          </a:cubicBezTo>
                          <a:cubicBezTo>
                            <a:pt x="3588" y="6662"/>
                            <a:pt x="3469" y="6662"/>
                            <a:pt x="3409" y="6662"/>
                          </a:cubicBezTo>
                          <a:cubicBezTo>
                            <a:pt x="3349" y="6662"/>
                            <a:pt x="3229" y="6662"/>
                            <a:pt x="3170" y="6602"/>
                          </a:cubicBezTo>
                          <a:cubicBezTo>
                            <a:pt x="3110" y="6602"/>
                            <a:pt x="2990" y="6543"/>
                            <a:pt x="2930" y="6543"/>
                          </a:cubicBezTo>
                          <a:lnTo>
                            <a:pt x="2512" y="6423"/>
                          </a:lnTo>
                          <a:moveTo>
                            <a:pt x="1076" y="7021"/>
                          </a:moveTo>
                          <a:cubicBezTo>
                            <a:pt x="1136" y="7081"/>
                            <a:pt x="1196" y="7141"/>
                            <a:pt x="1256" y="7200"/>
                          </a:cubicBezTo>
                          <a:cubicBezTo>
                            <a:pt x="1316" y="7260"/>
                            <a:pt x="1375" y="7320"/>
                            <a:pt x="1495" y="7320"/>
                          </a:cubicBezTo>
                          <a:cubicBezTo>
                            <a:pt x="1615" y="7320"/>
                            <a:pt x="1674" y="7380"/>
                            <a:pt x="1734" y="7440"/>
                          </a:cubicBezTo>
                          <a:cubicBezTo>
                            <a:pt x="1794" y="7499"/>
                            <a:pt x="1914" y="7499"/>
                            <a:pt x="1973" y="7559"/>
                          </a:cubicBezTo>
                          <a:cubicBezTo>
                            <a:pt x="1973" y="7559"/>
                            <a:pt x="2033" y="7559"/>
                            <a:pt x="2033" y="7559"/>
                          </a:cubicBezTo>
                          <a:cubicBezTo>
                            <a:pt x="2033" y="7559"/>
                            <a:pt x="2093" y="7559"/>
                            <a:pt x="2093" y="7559"/>
                          </a:cubicBezTo>
                          <a:cubicBezTo>
                            <a:pt x="2093" y="7559"/>
                            <a:pt x="2153" y="7559"/>
                            <a:pt x="2153" y="7559"/>
                          </a:cubicBezTo>
                          <a:cubicBezTo>
                            <a:pt x="2153" y="7559"/>
                            <a:pt x="2213" y="7559"/>
                            <a:pt x="2213" y="7559"/>
                          </a:cubicBezTo>
                          <a:cubicBezTo>
                            <a:pt x="2273" y="7559"/>
                            <a:pt x="2392" y="7619"/>
                            <a:pt x="2452" y="7619"/>
                          </a:cubicBezTo>
                          <a:cubicBezTo>
                            <a:pt x="2512" y="7619"/>
                            <a:pt x="2632" y="7679"/>
                            <a:pt x="2691" y="7679"/>
                          </a:cubicBezTo>
                          <a:cubicBezTo>
                            <a:pt x="2751" y="7679"/>
                            <a:pt x="2871" y="7679"/>
                            <a:pt x="2930" y="7679"/>
                          </a:cubicBezTo>
                          <a:cubicBezTo>
                            <a:pt x="2990" y="7679"/>
                            <a:pt x="3110" y="7679"/>
                            <a:pt x="3170" y="7679"/>
                          </a:cubicBezTo>
                          <a:cubicBezTo>
                            <a:pt x="3349" y="7679"/>
                            <a:pt x="3469" y="7679"/>
                            <a:pt x="3648" y="7619"/>
                          </a:cubicBezTo>
                          <a:cubicBezTo>
                            <a:pt x="3827" y="7619"/>
                            <a:pt x="3947" y="7559"/>
                            <a:pt x="4127" y="7499"/>
                          </a:cubicBezTo>
                          <a:cubicBezTo>
                            <a:pt x="4306" y="7440"/>
                            <a:pt x="4426" y="7380"/>
                            <a:pt x="4545" y="7320"/>
                          </a:cubicBezTo>
                          <a:cubicBezTo>
                            <a:pt x="4665" y="7260"/>
                            <a:pt x="4844" y="7200"/>
                            <a:pt x="4964" y="7081"/>
                          </a:cubicBezTo>
                          <a:cubicBezTo>
                            <a:pt x="5203" y="6961"/>
                            <a:pt x="5382" y="6842"/>
                            <a:pt x="5562" y="6662"/>
                          </a:cubicBezTo>
                          <a:cubicBezTo>
                            <a:pt x="5741" y="6483"/>
                            <a:pt x="5921" y="6303"/>
                            <a:pt x="6100" y="6124"/>
                          </a:cubicBezTo>
                          <a:cubicBezTo>
                            <a:pt x="6280" y="5944"/>
                            <a:pt x="6399" y="5705"/>
                            <a:pt x="6519" y="5526"/>
                          </a:cubicBezTo>
                          <a:cubicBezTo>
                            <a:pt x="6639" y="5287"/>
                            <a:pt x="6758" y="5047"/>
                            <a:pt x="6818" y="4808"/>
                          </a:cubicBezTo>
                          <a:cubicBezTo>
                            <a:pt x="6878" y="4689"/>
                            <a:pt x="6878" y="4629"/>
                            <a:pt x="6878" y="4509"/>
                          </a:cubicBezTo>
                          <a:cubicBezTo>
                            <a:pt x="6878" y="4389"/>
                            <a:pt x="6937" y="4329"/>
                            <a:pt x="6937" y="4210"/>
                          </a:cubicBezTo>
                          <a:cubicBezTo>
                            <a:pt x="6937" y="4090"/>
                            <a:pt x="6997" y="4030"/>
                            <a:pt x="6997" y="3911"/>
                          </a:cubicBezTo>
                          <a:cubicBezTo>
                            <a:pt x="6997" y="3791"/>
                            <a:pt x="6997" y="3732"/>
                            <a:pt x="6997" y="3612"/>
                          </a:cubicBezTo>
                          <a:cubicBezTo>
                            <a:pt x="6997" y="3492"/>
                            <a:pt x="6997" y="3373"/>
                            <a:pt x="6997" y="3253"/>
                          </a:cubicBezTo>
                          <a:cubicBezTo>
                            <a:pt x="6997" y="3134"/>
                            <a:pt x="6997" y="3014"/>
                            <a:pt x="6937" y="2894"/>
                          </a:cubicBezTo>
                          <a:cubicBezTo>
                            <a:pt x="6878" y="2775"/>
                            <a:pt x="6878" y="2655"/>
                            <a:pt x="6878" y="2535"/>
                          </a:cubicBezTo>
                          <a:cubicBezTo>
                            <a:pt x="6878" y="2416"/>
                            <a:pt x="6818" y="2296"/>
                            <a:pt x="6758" y="2176"/>
                          </a:cubicBezTo>
                          <a:cubicBezTo>
                            <a:pt x="6758" y="2176"/>
                            <a:pt x="6758" y="2117"/>
                            <a:pt x="6758" y="2117"/>
                          </a:cubicBezTo>
                          <a:cubicBezTo>
                            <a:pt x="6758" y="2117"/>
                            <a:pt x="6758" y="2057"/>
                            <a:pt x="6758" y="2057"/>
                          </a:cubicBezTo>
                          <a:cubicBezTo>
                            <a:pt x="6758" y="2057"/>
                            <a:pt x="6758" y="1997"/>
                            <a:pt x="6758" y="1997"/>
                          </a:cubicBezTo>
                          <a:cubicBezTo>
                            <a:pt x="6758" y="1997"/>
                            <a:pt x="6758" y="1937"/>
                            <a:pt x="6758" y="1937"/>
                          </a:cubicBezTo>
                          <a:cubicBezTo>
                            <a:pt x="6698" y="1818"/>
                            <a:pt x="6639" y="1698"/>
                            <a:pt x="6579" y="1579"/>
                          </a:cubicBezTo>
                          <a:cubicBezTo>
                            <a:pt x="6519" y="1459"/>
                            <a:pt x="6459" y="1339"/>
                            <a:pt x="6399" y="1280"/>
                          </a:cubicBezTo>
                          <a:cubicBezTo>
                            <a:pt x="6340" y="1160"/>
                            <a:pt x="6280" y="1100"/>
                            <a:pt x="6160" y="980"/>
                          </a:cubicBezTo>
                          <a:cubicBezTo>
                            <a:pt x="6100" y="921"/>
                            <a:pt x="5981" y="801"/>
                            <a:pt x="5921" y="741"/>
                          </a:cubicBezTo>
                          <a:cubicBezTo>
                            <a:pt x="5861" y="681"/>
                            <a:pt x="5741" y="621"/>
                            <a:pt x="5681" y="562"/>
                          </a:cubicBezTo>
                          <a:cubicBezTo>
                            <a:pt x="5622" y="502"/>
                            <a:pt x="5502" y="442"/>
                            <a:pt x="5382" y="382"/>
                          </a:cubicBezTo>
                          <a:cubicBezTo>
                            <a:pt x="5263" y="322"/>
                            <a:pt x="5203" y="263"/>
                            <a:pt x="5083" y="263"/>
                          </a:cubicBezTo>
                          <a:cubicBezTo>
                            <a:pt x="4964" y="203"/>
                            <a:pt x="4904" y="203"/>
                            <a:pt x="4785" y="143"/>
                          </a:cubicBezTo>
                          <a:cubicBezTo>
                            <a:pt x="4306" y="23"/>
                            <a:pt x="3887" y="-36"/>
                            <a:pt x="3409" y="23"/>
                          </a:cubicBezTo>
                          <a:cubicBezTo>
                            <a:pt x="2930" y="83"/>
                            <a:pt x="2512" y="263"/>
                            <a:pt x="2093" y="502"/>
                          </a:cubicBezTo>
                          <a:cubicBezTo>
                            <a:pt x="1674" y="741"/>
                            <a:pt x="1316" y="1040"/>
                            <a:pt x="957" y="1459"/>
                          </a:cubicBezTo>
                          <a:cubicBezTo>
                            <a:pt x="658" y="1818"/>
                            <a:pt x="359" y="2296"/>
                            <a:pt x="239" y="2834"/>
                          </a:cubicBezTo>
                          <a:cubicBezTo>
                            <a:pt x="119" y="3253"/>
                            <a:pt x="0" y="3612"/>
                            <a:pt x="0" y="3971"/>
                          </a:cubicBezTo>
                          <a:cubicBezTo>
                            <a:pt x="0" y="4329"/>
                            <a:pt x="0" y="4748"/>
                            <a:pt x="119" y="5047"/>
                          </a:cubicBezTo>
                          <a:cubicBezTo>
                            <a:pt x="179" y="5406"/>
                            <a:pt x="359" y="5705"/>
                            <a:pt x="478" y="6004"/>
                          </a:cubicBezTo>
                          <a:cubicBezTo>
                            <a:pt x="598" y="6543"/>
                            <a:pt x="837" y="6842"/>
                            <a:pt x="1076" y="7021"/>
                          </a:cubicBezTo>
                        </a:path>
                      </a:pathLst>
                    </a:custGeom>
                    <a:noFill/>
                    <a:ln w="6350" cap="flat">
                      <a:solidFill>
                        <a:schemeClr val="bg1">
                          <a:alpha val="80000"/>
                        </a:schemeClr>
                      </a:solidFill>
                      <a:prstDash val="solid"/>
                      <a:miter/>
                    </a:ln>
                  </p:spPr>
                  <p:txBody>
                    <a:bodyPr rtlCol="0" anchor="ctr"/>
                    <a:lstStyle/>
                    <a:p>
                      <a:endParaRPr lang="en-GB"/>
                    </a:p>
                  </p:txBody>
                </p:sp>
                <p:sp>
                  <p:nvSpPr>
                    <p:cNvPr id="7443" name="Vrije vorm: vorm 7442">
                      <a:extLst>
                        <a:ext uri="{FF2B5EF4-FFF2-40B4-BE49-F238E27FC236}">
                          <a16:creationId xmlns:a16="http://schemas.microsoft.com/office/drawing/2014/main" id="{994C85C3-0145-4983-AF95-EA49FE3B6CFB}"/>
                        </a:ext>
                      </a:extLst>
                    </p:cNvPr>
                    <p:cNvSpPr/>
                    <p:nvPr/>
                  </p:nvSpPr>
                  <p:spPr>
                    <a:xfrm>
                      <a:off x="5050320" y="4940535"/>
                      <a:ext cx="7057" cy="7535"/>
                    </a:xfrm>
                    <a:custGeom>
                      <a:avLst/>
                      <a:gdLst>
                        <a:gd name="connsiteX0" fmla="*/ 5263 w 7057"/>
                        <a:gd name="connsiteY0" fmla="*/ 1734 h 7535"/>
                        <a:gd name="connsiteX1" fmla="*/ 5443 w 7057"/>
                        <a:gd name="connsiteY1" fmla="*/ 1914 h 7535"/>
                        <a:gd name="connsiteX2" fmla="*/ 5562 w 7057"/>
                        <a:gd name="connsiteY2" fmla="*/ 2093 h 7535"/>
                        <a:gd name="connsiteX3" fmla="*/ 5682 w 7057"/>
                        <a:gd name="connsiteY3" fmla="*/ 2273 h 7535"/>
                        <a:gd name="connsiteX4" fmla="*/ 5801 w 7057"/>
                        <a:gd name="connsiteY4" fmla="*/ 2512 h 7535"/>
                        <a:gd name="connsiteX5" fmla="*/ 5981 w 7057"/>
                        <a:gd name="connsiteY5" fmla="*/ 3469 h 7535"/>
                        <a:gd name="connsiteX6" fmla="*/ 5801 w 7057"/>
                        <a:gd name="connsiteY6" fmla="*/ 4426 h 7535"/>
                        <a:gd name="connsiteX7" fmla="*/ 5323 w 7057"/>
                        <a:gd name="connsiteY7" fmla="*/ 5323 h 7535"/>
                        <a:gd name="connsiteX8" fmla="*/ 4545 w 7057"/>
                        <a:gd name="connsiteY8" fmla="*/ 5981 h 7535"/>
                        <a:gd name="connsiteX9" fmla="*/ 4067 w 7057"/>
                        <a:gd name="connsiteY9" fmla="*/ 6160 h 7535"/>
                        <a:gd name="connsiteX10" fmla="*/ 3589 w 7057"/>
                        <a:gd name="connsiteY10" fmla="*/ 6280 h 7535"/>
                        <a:gd name="connsiteX11" fmla="*/ 3110 w 7057"/>
                        <a:gd name="connsiteY11" fmla="*/ 6280 h 7535"/>
                        <a:gd name="connsiteX12" fmla="*/ 2691 w 7057"/>
                        <a:gd name="connsiteY12" fmla="*/ 6220 h 7535"/>
                        <a:gd name="connsiteX13" fmla="*/ 2512 w 7057"/>
                        <a:gd name="connsiteY13" fmla="*/ 6160 h 7535"/>
                        <a:gd name="connsiteX14" fmla="*/ 2333 w 7057"/>
                        <a:gd name="connsiteY14" fmla="*/ 6041 h 7535"/>
                        <a:gd name="connsiteX15" fmla="*/ 2153 w 7057"/>
                        <a:gd name="connsiteY15" fmla="*/ 5921 h 7535"/>
                        <a:gd name="connsiteX16" fmla="*/ 1974 w 7057"/>
                        <a:gd name="connsiteY16" fmla="*/ 5801 h 7535"/>
                        <a:gd name="connsiteX17" fmla="*/ 1795 w 7057"/>
                        <a:gd name="connsiteY17" fmla="*/ 5622 h 7535"/>
                        <a:gd name="connsiteX18" fmla="*/ 1615 w 7057"/>
                        <a:gd name="connsiteY18" fmla="*/ 5443 h 7535"/>
                        <a:gd name="connsiteX19" fmla="*/ 1495 w 7057"/>
                        <a:gd name="connsiteY19" fmla="*/ 5263 h 7535"/>
                        <a:gd name="connsiteX20" fmla="*/ 1376 w 7057"/>
                        <a:gd name="connsiteY20" fmla="*/ 5024 h 7535"/>
                        <a:gd name="connsiteX21" fmla="*/ 1196 w 7057"/>
                        <a:gd name="connsiteY21" fmla="*/ 4545 h 7535"/>
                        <a:gd name="connsiteX22" fmla="*/ 1136 w 7057"/>
                        <a:gd name="connsiteY22" fmla="*/ 4067 h 7535"/>
                        <a:gd name="connsiteX23" fmla="*/ 1196 w 7057"/>
                        <a:gd name="connsiteY23" fmla="*/ 3589 h 7535"/>
                        <a:gd name="connsiteX24" fmla="*/ 1316 w 7057"/>
                        <a:gd name="connsiteY24" fmla="*/ 3050 h 7535"/>
                        <a:gd name="connsiteX25" fmla="*/ 1555 w 7057"/>
                        <a:gd name="connsiteY25" fmla="*/ 2572 h 7535"/>
                        <a:gd name="connsiteX26" fmla="*/ 1854 w 7057"/>
                        <a:gd name="connsiteY26" fmla="*/ 2153 h 7535"/>
                        <a:gd name="connsiteX27" fmla="*/ 2213 w 7057"/>
                        <a:gd name="connsiteY27" fmla="*/ 1794 h 7535"/>
                        <a:gd name="connsiteX28" fmla="*/ 2632 w 7057"/>
                        <a:gd name="connsiteY28" fmla="*/ 1495 h 7535"/>
                        <a:gd name="connsiteX29" fmla="*/ 3290 w 7057"/>
                        <a:gd name="connsiteY29" fmla="*/ 1196 h 7535"/>
                        <a:gd name="connsiteX30" fmla="*/ 4007 w 7057"/>
                        <a:gd name="connsiteY30" fmla="*/ 1136 h 7535"/>
                        <a:gd name="connsiteX31" fmla="*/ 4665 w 7057"/>
                        <a:gd name="connsiteY31" fmla="*/ 1316 h 7535"/>
                        <a:gd name="connsiteX32" fmla="*/ 5263 w 7057"/>
                        <a:gd name="connsiteY32" fmla="*/ 1734 h 7535"/>
                        <a:gd name="connsiteX33" fmla="*/ 1196 w 7057"/>
                        <a:gd name="connsiteY33" fmla="*/ 6818 h 7535"/>
                        <a:gd name="connsiteX34" fmla="*/ 1435 w 7057"/>
                        <a:gd name="connsiteY34" fmla="*/ 6997 h 7535"/>
                        <a:gd name="connsiteX35" fmla="*/ 1735 w 7057"/>
                        <a:gd name="connsiteY35" fmla="*/ 7177 h 7535"/>
                        <a:gd name="connsiteX36" fmla="*/ 2034 w 7057"/>
                        <a:gd name="connsiteY36" fmla="*/ 7297 h 7535"/>
                        <a:gd name="connsiteX37" fmla="*/ 2333 w 7057"/>
                        <a:gd name="connsiteY37" fmla="*/ 7416 h 7535"/>
                        <a:gd name="connsiteX38" fmla="*/ 2990 w 7057"/>
                        <a:gd name="connsiteY38" fmla="*/ 7536 h 7535"/>
                        <a:gd name="connsiteX39" fmla="*/ 3649 w 7057"/>
                        <a:gd name="connsiteY39" fmla="*/ 7536 h 7535"/>
                        <a:gd name="connsiteX40" fmla="*/ 4306 w 7057"/>
                        <a:gd name="connsiteY40" fmla="*/ 7356 h 7535"/>
                        <a:gd name="connsiteX41" fmla="*/ 4964 w 7057"/>
                        <a:gd name="connsiteY41" fmla="*/ 7057 h 7535"/>
                        <a:gd name="connsiteX42" fmla="*/ 6100 w 7057"/>
                        <a:gd name="connsiteY42" fmla="*/ 6041 h 7535"/>
                        <a:gd name="connsiteX43" fmla="*/ 6818 w 7057"/>
                        <a:gd name="connsiteY43" fmla="*/ 4725 h 7535"/>
                        <a:gd name="connsiteX44" fmla="*/ 7057 w 7057"/>
                        <a:gd name="connsiteY44" fmla="*/ 3289 h 7535"/>
                        <a:gd name="connsiteX45" fmla="*/ 6758 w 7057"/>
                        <a:gd name="connsiteY45" fmla="*/ 1854 h 7535"/>
                        <a:gd name="connsiteX46" fmla="*/ 6579 w 7057"/>
                        <a:gd name="connsiteY46" fmla="*/ 1555 h 7535"/>
                        <a:gd name="connsiteX47" fmla="*/ 6399 w 7057"/>
                        <a:gd name="connsiteY47" fmla="*/ 1256 h 7535"/>
                        <a:gd name="connsiteX48" fmla="*/ 6160 w 7057"/>
                        <a:gd name="connsiteY48" fmla="*/ 1017 h 7535"/>
                        <a:gd name="connsiteX49" fmla="*/ 5921 w 7057"/>
                        <a:gd name="connsiteY49" fmla="*/ 778 h 7535"/>
                        <a:gd name="connsiteX50" fmla="*/ 5084 w 7057"/>
                        <a:gd name="connsiteY50" fmla="*/ 239 h 7535"/>
                        <a:gd name="connsiteX51" fmla="*/ 4127 w 7057"/>
                        <a:gd name="connsiteY51" fmla="*/ 0 h 7535"/>
                        <a:gd name="connsiteX52" fmla="*/ 3110 w 7057"/>
                        <a:gd name="connsiteY52" fmla="*/ 60 h 7535"/>
                        <a:gd name="connsiteX53" fmla="*/ 2093 w 7057"/>
                        <a:gd name="connsiteY53" fmla="*/ 479 h 7535"/>
                        <a:gd name="connsiteX54" fmla="*/ 1495 w 7057"/>
                        <a:gd name="connsiteY54" fmla="*/ 897 h 7535"/>
                        <a:gd name="connsiteX55" fmla="*/ 957 w 7057"/>
                        <a:gd name="connsiteY55" fmla="*/ 1435 h 7535"/>
                        <a:gd name="connsiteX56" fmla="*/ 538 w 7057"/>
                        <a:gd name="connsiteY56" fmla="*/ 2093 h 7535"/>
                        <a:gd name="connsiteX57" fmla="*/ 239 w 7057"/>
                        <a:gd name="connsiteY57" fmla="*/ 2811 h 7535"/>
                        <a:gd name="connsiteX58" fmla="*/ 60 w 7057"/>
                        <a:gd name="connsiteY58" fmla="*/ 3589 h 7535"/>
                        <a:gd name="connsiteX59" fmla="*/ 0 w 7057"/>
                        <a:gd name="connsiteY59" fmla="*/ 4306 h 7535"/>
                        <a:gd name="connsiteX60" fmla="*/ 120 w 7057"/>
                        <a:gd name="connsiteY60" fmla="*/ 5024 h 7535"/>
                        <a:gd name="connsiteX61" fmla="*/ 359 w 7057"/>
                        <a:gd name="connsiteY61" fmla="*/ 5742 h 7535"/>
                        <a:gd name="connsiteX62" fmla="*/ 538 w 7057"/>
                        <a:gd name="connsiteY62" fmla="*/ 6041 h 7535"/>
                        <a:gd name="connsiteX63" fmla="*/ 718 w 7057"/>
                        <a:gd name="connsiteY63" fmla="*/ 6340 h 7535"/>
                        <a:gd name="connsiteX64" fmla="*/ 957 w 7057"/>
                        <a:gd name="connsiteY64" fmla="*/ 6639 h 7535"/>
                        <a:gd name="connsiteX65" fmla="*/ 1196 w 7057"/>
                        <a:gd name="connsiteY65" fmla="*/ 6818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057" h="7535">
                          <a:moveTo>
                            <a:pt x="5263" y="1734"/>
                          </a:moveTo>
                          <a:cubicBezTo>
                            <a:pt x="5323" y="1794"/>
                            <a:pt x="5383" y="1854"/>
                            <a:pt x="5443" y="1914"/>
                          </a:cubicBezTo>
                          <a:cubicBezTo>
                            <a:pt x="5503" y="1974"/>
                            <a:pt x="5562" y="2034"/>
                            <a:pt x="5562" y="2093"/>
                          </a:cubicBezTo>
                          <a:cubicBezTo>
                            <a:pt x="5622" y="2153"/>
                            <a:pt x="5682" y="2213"/>
                            <a:pt x="5682" y="2273"/>
                          </a:cubicBezTo>
                          <a:cubicBezTo>
                            <a:pt x="5742" y="2333"/>
                            <a:pt x="5742" y="2392"/>
                            <a:pt x="5801" y="2512"/>
                          </a:cubicBezTo>
                          <a:cubicBezTo>
                            <a:pt x="5921" y="2811"/>
                            <a:pt x="5981" y="3170"/>
                            <a:pt x="5981" y="3469"/>
                          </a:cubicBezTo>
                          <a:cubicBezTo>
                            <a:pt x="5981" y="3768"/>
                            <a:pt x="5921" y="4127"/>
                            <a:pt x="5801" y="4426"/>
                          </a:cubicBezTo>
                          <a:cubicBezTo>
                            <a:pt x="5682" y="4725"/>
                            <a:pt x="5503" y="5024"/>
                            <a:pt x="5323" y="5323"/>
                          </a:cubicBezTo>
                          <a:cubicBezTo>
                            <a:pt x="5084" y="5562"/>
                            <a:pt x="4844" y="5801"/>
                            <a:pt x="4545" y="5981"/>
                          </a:cubicBezTo>
                          <a:cubicBezTo>
                            <a:pt x="4426" y="6041"/>
                            <a:pt x="4246" y="6160"/>
                            <a:pt x="4067" y="6160"/>
                          </a:cubicBezTo>
                          <a:cubicBezTo>
                            <a:pt x="3888" y="6220"/>
                            <a:pt x="3768" y="6220"/>
                            <a:pt x="3589" y="6280"/>
                          </a:cubicBezTo>
                          <a:cubicBezTo>
                            <a:pt x="3409" y="6280"/>
                            <a:pt x="3290" y="6280"/>
                            <a:pt x="3110" y="6280"/>
                          </a:cubicBezTo>
                          <a:cubicBezTo>
                            <a:pt x="2930" y="6280"/>
                            <a:pt x="2811" y="6220"/>
                            <a:pt x="2691" y="6220"/>
                          </a:cubicBezTo>
                          <a:cubicBezTo>
                            <a:pt x="2632" y="6220"/>
                            <a:pt x="2572" y="6160"/>
                            <a:pt x="2512" y="6160"/>
                          </a:cubicBezTo>
                          <a:cubicBezTo>
                            <a:pt x="2452" y="6100"/>
                            <a:pt x="2392" y="6100"/>
                            <a:pt x="2333" y="6041"/>
                          </a:cubicBezTo>
                          <a:cubicBezTo>
                            <a:pt x="2273" y="5981"/>
                            <a:pt x="2213" y="5981"/>
                            <a:pt x="2153" y="5921"/>
                          </a:cubicBezTo>
                          <a:cubicBezTo>
                            <a:pt x="2093" y="5861"/>
                            <a:pt x="2034" y="5861"/>
                            <a:pt x="1974" y="5801"/>
                          </a:cubicBezTo>
                          <a:cubicBezTo>
                            <a:pt x="1914" y="5742"/>
                            <a:pt x="1854" y="5682"/>
                            <a:pt x="1795" y="5622"/>
                          </a:cubicBezTo>
                          <a:cubicBezTo>
                            <a:pt x="1735" y="5562"/>
                            <a:pt x="1675" y="5502"/>
                            <a:pt x="1615" y="5443"/>
                          </a:cubicBezTo>
                          <a:cubicBezTo>
                            <a:pt x="1555" y="5383"/>
                            <a:pt x="1495" y="5323"/>
                            <a:pt x="1495" y="5263"/>
                          </a:cubicBezTo>
                          <a:cubicBezTo>
                            <a:pt x="1435" y="5203"/>
                            <a:pt x="1435" y="5084"/>
                            <a:pt x="1376" y="5024"/>
                          </a:cubicBezTo>
                          <a:cubicBezTo>
                            <a:pt x="1316" y="4904"/>
                            <a:pt x="1256" y="4725"/>
                            <a:pt x="1196" y="4545"/>
                          </a:cubicBezTo>
                          <a:cubicBezTo>
                            <a:pt x="1136" y="4366"/>
                            <a:pt x="1136" y="4246"/>
                            <a:pt x="1136" y="4067"/>
                          </a:cubicBezTo>
                          <a:cubicBezTo>
                            <a:pt x="1136" y="3888"/>
                            <a:pt x="1136" y="3708"/>
                            <a:pt x="1196" y="3589"/>
                          </a:cubicBezTo>
                          <a:cubicBezTo>
                            <a:pt x="1196" y="3409"/>
                            <a:pt x="1256" y="3229"/>
                            <a:pt x="1316" y="3050"/>
                          </a:cubicBezTo>
                          <a:cubicBezTo>
                            <a:pt x="1376" y="2871"/>
                            <a:pt x="1435" y="2751"/>
                            <a:pt x="1555" y="2572"/>
                          </a:cubicBezTo>
                          <a:cubicBezTo>
                            <a:pt x="1615" y="2392"/>
                            <a:pt x="1735" y="2273"/>
                            <a:pt x="1854" y="2153"/>
                          </a:cubicBezTo>
                          <a:cubicBezTo>
                            <a:pt x="1974" y="2034"/>
                            <a:pt x="2093" y="1914"/>
                            <a:pt x="2213" y="1794"/>
                          </a:cubicBezTo>
                          <a:cubicBezTo>
                            <a:pt x="2333" y="1675"/>
                            <a:pt x="2452" y="1555"/>
                            <a:pt x="2632" y="1495"/>
                          </a:cubicBezTo>
                          <a:cubicBezTo>
                            <a:pt x="2871" y="1375"/>
                            <a:pt x="3110" y="1256"/>
                            <a:pt x="3290" y="1196"/>
                          </a:cubicBezTo>
                          <a:cubicBezTo>
                            <a:pt x="3529" y="1136"/>
                            <a:pt x="3768" y="1136"/>
                            <a:pt x="4007" y="1136"/>
                          </a:cubicBezTo>
                          <a:cubicBezTo>
                            <a:pt x="4246" y="1136"/>
                            <a:pt x="4426" y="1196"/>
                            <a:pt x="4665" y="1316"/>
                          </a:cubicBezTo>
                          <a:cubicBezTo>
                            <a:pt x="4904" y="1495"/>
                            <a:pt x="5084" y="1615"/>
                            <a:pt x="5263" y="1734"/>
                          </a:cubicBezTo>
                          <a:moveTo>
                            <a:pt x="1196" y="6818"/>
                          </a:moveTo>
                          <a:cubicBezTo>
                            <a:pt x="1256" y="6878"/>
                            <a:pt x="1376" y="6938"/>
                            <a:pt x="1435" y="6997"/>
                          </a:cubicBezTo>
                          <a:cubicBezTo>
                            <a:pt x="1495" y="7057"/>
                            <a:pt x="1615" y="7117"/>
                            <a:pt x="1735" y="7177"/>
                          </a:cubicBezTo>
                          <a:cubicBezTo>
                            <a:pt x="1854" y="7237"/>
                            <a:pt x="1914" y="7297"/>
                            <a:pt x="2034" y="7297"/>
                          </a:cubicBezTo>
                          <a:cubicBezTo>
                            <a:pt x="2153" y="7297"/>
                            <a:pt x="2213" y="7356"/>
                            <a:pt x="2333" y="7416"/>
                          </a:cubicBezTo>
                          <a:cubicBezTo>
                            <a:pt x="2572" y="7476"/>
                            <a:pt x="2811" y="7536"/>
                            <a:pt x="2990" y="7536"/>
                          </a:cubicBezTo>
                          <a:cubicBezTo>
                            <a:pt x="3230" y="7536"/>
                            <a:pt x="3469" y="7536"/>
                            <a:pt x="3649" y="7536"/>
                          </a:cubicBezTo>
                          <a:cubicBezTo>
                            <a:pt x="3888" y="7536"/>
                            <a:pt x="4127" y="7476"/>
                            <a:pt x="4306" y="7356"/>
                          </a:cubicBezTo>
                          <a:cubicBezTo>
                            <a:pt x="4545" y="7297"/>
                            <a:pt x="4725" y="7177"/>
                            <a:pt x="4964" y="7057"/>
                          </a:cubicBezTo>
                          <a:cubicBezTo>
                            <a:pt x="5383" y="6818"/>
                            <a:pt x="5801" y="6459"/>
                            <a:pt x="6100" y="6041"/>
                          </a:cubicBezTo>
                          <a:cubicBezTo>
                            <a:pt x="6399" y="5622"/>
                            <a:pt x="6639" y="5203"/>
                            <a:pt x="6818" y="4725"/>
                          </a:cubicBezTo>
                          <a:cubicBezTo>
                            <a:pt x="6998" y="4246"/>
                            <a:pt x="7057" y="3768"/>
                            <a:pt x="7057" y="3289"/>
                          </a:cubicBezTo>
                          <a:cubicBezTo>
                            <a:pt x="7057" y="2811"/>
                            <a:pt x="6938" y="2333"/>
                            <a:pt x="6758" y="1854"/>
                          </a:cubicBezTo>
                          <a:cubicBezTo>
                            <a:pt x="6698" y="1734"/>
                            <a:pt x="6639" y="1615"/>
                            <a:pt x="6579" y="1555"/>
                          </a:cubicBezTo>
                          <a:cubicBezTo>
                            <a:pt x="6519" y="1495"/>
                            <a:pt x="6459" y="1375"/>
                            <a:pt x="6399" y="1256"/>
                          </a:cubicBezTo>
                          <a:cubicBezTo>
                            <a:pt x="6340" y="1136"/>
                            <a:pt x="6280" y="1076"/>
                            <a:pt x="6160" y="1017"/>
                          </a:cubicBezTo>
                          <a:cubicBezTo>
                            <a:pt x="6100" y="957"/>
                            <a:pt x="5981" y="837"/>
                            <a:pt x="5921" y="778"/>
                          </a:cubicBezTo>
                          <a:cubicBezTo>
                            <a:pt x="5682" y="538"/>
                            <a:pt x="5383" y="359"/>
                            <a:pt x="5084" y="239"/>
                          </a:cubicBezTo>
                          <a:cubicBezTo>
                            <a:pt x="4785" y="120"/>
                            <a:pt x="4426" y="60"/>
                            <a:pt x="4127" y="0"/>
                          </a:cubicBezTo>
                          <a:cubicBezTo>
                            <a:pt x="3768" y="0"/>
                            <a:pt x="3469" y="0"/>
                            <a:pt x="3110" y="60"/>
                          </a:cubicBezTo>
                          <a:cubicBezTo>
                            <a:pt x="2751" y="120"/>
                            <a:pt x="2452" y="299"/>
                            <a:pt x="2093" y="479"/>
                          </a:cubicBezTo>
                          <a:cubicBezTo>
                            <a:pt x="1854" y="598"/>
                            <a:pt x="1675" y="718"/>
                            <a:pt x="1495" y="897"/>
                          </a:cubicBezTo>
                          <a:cubicBezTo>
                            <a:pt x="1316" y="1076"/>
                            <a:pt x="1136" y="1256"/>
                            <a:pt x="957" y="1435"/>
                          </a:cubicBezTo>
                          <a:cubicBezTo>
                            <a:pt x="778" y="1615"/>
                            <a:pt x="658" y="1854"/>
                            <a:pt x="538" y="2093"/>
                          </a:cubicBezTo>
                          <a:cubicBezTo>
                            <a:pt x="419" y="2333"/>
                            <a:pt x="299" y="2572"/>
                            <a:pt x="239" y="2811"/>
                          </a:cubicBezTo>
                          <a:cubicBezTo>
                            <a:pt x="180" y="3050"/>
                            <a:pt x="120" y="3349"/>
                            <a:pt x="60" y="3589"/>
                          </a:cubicBezTo>
                          <a:cubicBezTo>
                            <a:pt x="0" y="3828"/>
                            <a:pt x="0" y="4067"/>
                            <a:pt x="0" y="4306"/>
                          </a:cubicBezTo>
                          <a:cubicBezTo>
                            <a:pt x="0" y="4545"/>
                            <a:pt x="60" y="4785"/>
                            <a:pt x="120" y="5024"/>
                          </a:cubicBezTo>
                          <a:cubicBezTo>
                            <a:pt x="180" y="5263"/>
                            <a:pt x="239" y="5502"/>
                            <a:pt x="359" y="5742"/>
                          </a:cubicBezTo>
                          <a:cubicBezTo>
                            <a:pt x="419" y="5861"/>
                            <a:pt x="479" y="5981"/>
                            <a:pt x="538" y="6041"/>
                          </a:cubicBezTo>
                          <a:cubicBezTo>
                            <a:pt x="598" y="6100"/>
                            <a:pt x="658" y="6220"/>
                            <a:pt x="718" y="6340"/>
                          </a:cubicBezTo>
                          <a:cubicBezTo>
                            <a:pt x="778" y="6459"/>
                            <a:pt x="837" y="6519"/>
                            <a:pt x="957" y="6639"/>
                          </a:cubicBezTo>
                          <a:cubicBezTo>
                            <a:pt x="1076" y="6758"/>
                            <a:pt x="1136" y="6758"/>
                            <a:pt x="1196" y="6818"/>
                          </a:cubicBezTo>
                        </a:path>
                      </a:pathLst>
                    </a:custGeom>
                    <a:noFill/>
                    <a:ln w="6350" cap="flat">
                      <a:solidFill>
                        <a:schemeClr val="bg1">
                          <a:alpha val="80000"/>
                        </a:schemeClr>
                      </a:solidFill>
                      <a:prstDash val="solid"/>
                      <a:miter/>
                    </a:ln>
                  </p:spPr>
                  <p:txBody>
                    <a:bodyPr rtlCol="0" anchor="ctr"/>
                    <a:lstStyle/>
                    <a:p>
                      <a:endParaRPr lang="en-GB"/>
                    </a:p>
                  </p:txBody>
                </p:sp>
                <p:sp>
                  <p:nvSpPr>
                    <p:cNvPr id="7444" name="Vrije vorm: vorm 7443">
                      <a:extLst>
                        <a:ext uri="{FF2B5EF4-FFF2-40B4-BE49-F238E27FC236}">
                          <a16:creationId xmlns:a16="http://schemas.microsoft.com/office/drawing/2014/main" id="{FCDB6851-5242-45FE-95FC-EAA8EA552F7E}"/>
                        </a:ext>
                      </a:extLst>
                    </p:cNvPr>
                    <p:cNvSpPr/>
                    <p:nvPr/>
                  </p:nvSpPr>
                  <p:spPr>
                    <a:xfrm>
                      <a:off x="5061624" y="4938860"/>
                      <a:ext cx="6997" cy="7655"/>
                    </a:xfrm>
                    <a:custGeom>
                      <a:avLst/>
                      <a:gdLst>
                        <a:gd name="connsiteX0" fmla="*/ 2333 w 6997"/>
                        <a:gd name="connsiteY0" fmla="*/ 6220 h 7655"/>
                        <a:gd name="connsiteX1" fmla="*/ 1914 w 6997"/>
                        <a:gd name="connsiteY1" fmla="*/ 5981 h 7655"/>
                        <a:gd name="connsiteX2" fmla="*/ 1734 w 6997"/>
                        <a:gd name="connsiteY2" fmla="*/ 5801 h 7655"/>
                        <a:gd name="connsiteX3" fmla="*/ 1555 w 6997"/>
                        <a:gd name="connsiteY3" fmla="*/ 5562 h 7655"/>
                        <a:gd name="connsiteX4" fmla="*/ 1435 w 6997"/>
                        <a:gd name="connsiteY4" fmla="*/ 5323 h 7655"/>
                        <a:gd name="connsiteX5" fmla="*/ 1316 w 6997"/>
                        <a:gd name="connsiteY5" fmla="*/ 5083 h 7655"/>
                        <a:gd name="connsiteX6" fmla="*/ 1196 w 6997"/>
                        <a:gd name="connsiteY6" fmla="*/ 4665 h 7655"/>
                        <a:gd name="connsiteX7" fmla="*/ 1136 w 6997"/>
                        <a:gd name="connsiteY7" fmla="*/ 4246 h 7655"/>
                        <a:gd name="connsiteX8" fmla="*/ 1196 w 6997"/>
                        <a:gd name="connsiteY8" fmla="*/ 3768 h 7655"/>
                        <a:gd name="connsiteX9" fmla="*/ 1316 w 6997"/>
                        <a:gd name="connsiteY9" fmla="*/ 3289 h 7655"/>
                        <a:gd name="connsiteX10" fmla="*/ 1555 w 6997"/>
                        <a:gd name="connsiteY10" fmla="*/ 2811 h 7655"/>
                        <a:gd name="connsiteX11" fmla="*/ 1854 w 6997"/>
                        <a:gd name="connsiteY11" fmla="*/ 2392 h 7655"/>
                        <a:gd name="connsiteX12" fmla="*/ 2213 w 6997"/>
                        <a:gd name="connsiteY12" fmla="*/ 2033 h 7655"/>
                        <a:gd name="connsiteX13" fmla="*/ 2632 w 6997"/>
                        <a:gd name="connsiteY13" fmla="*/ 1734 h 7655"/>
                        <a:gd name="connsiteX14" fmla="*/ 3110 w 6997"/>
                        <a:gd name="connsiteY14" fmla="*/ 1495 h 7655"/>
                        <a:gd name="connsiteX15" fmla="*/ 3588 w 6997"/>
                        <a:gd name="connsiteY15" fmla="*/ 1375 h 7655"/>
                        <a:gd name="connsiteX16" fmla="*/ 4067 w 6997"/>
                        <a:gd name="connsiteY16" fmla="*/ 1375 h 7655"/>
                        <a:gd name="connsiteX17" fmla="*/ 4486 w 6997"/>
                        <a:gd name="connsiteY17" fmla="*/ 1435 h 7655"/>
                        <a:gd name="connsiteX18" fmla="*/ 4725 w 6997"/>
                        <a:gd name="connsiteY18" fmla="*/ 1495 h 7655"/>
                        <a:gd name="connsiteX19" fmla="*/ 4904 w 6997"/>
                        <a:gd name="connsiteY19" fmla="*/ 1615 h 7655"/>
                        <a:gd name="connsiteX20" fmla="*/ 5083 w 6997"/>
                        <a:gd name="connsiteY20" fmla="*/ 1734 h 7655"/>
                        <a:gd name="connsiteX21" fmla="*/ 5263 w 6997"/>
                        <a:gd name="connsiteY21" fmla="*/ 1854 h 7655"/>
                        <a:gd name="connsiteX22" fmla="*/ 5323 w 6997"/>
                        <a:gd name="connsiteY22" fmla="*/ 1914 h 7655"/>
                        <a:gd name="connsiteX23" fmla="*/ 5383 w 6997"/>
                        <a:gd name="connsiteY23" fmla="*/ 2033 h 7655"/>
                        <a:gd name="connsiteX24" fmla="*/ 5443 w 6997"/>
                        <a:gd name="connsiteY24" fmla="*/ 2153 h 7655"/>
                        <a:gd name="connsiteX25" fmla="*/ 5502 w 6997"/>
                        <a:gd name="connsiteY25" fmla="*/ 2273 h 7655"/>
                        <a:gd name="connsiteX26" fmla="*/ 5562 w 6997"/>
                        <a:gd name="connsiteY26" fmla="*/ 2392 h 7655"/>
                        <a:gd name="connsiteX27" fmla="*/ 5622 w 6997"/>
                        <a:gd name="connsiteY27" fmla="*/ 2512 h 7655"/>
                        <a:gd name="connsiteX28" fmla="*/ 5682 w 6997"/>
                        <a:gd name="connsiteY28" fmla="*/ 2632 h 7655"/>
                        <a:gd name="connsiteX29" fmla="*/ 5742 w 6997"/>
                        <a:gd name="connsiteY29" fmla="*/ 2751 h 7655"/>
                        <a:gd name="connsiteX30" fmla="*/ 5801 w 6997"/>
                        <a:gd name="connsiteY30" fmla="*/ 2990 h 7655"/>
                        <a:gd name="connsiteX31" fmla="*/ 5861 w 6997"/>
                        <a:gd name="connsiteY31" fmla="*/ 3229 h 7655"/>
                        <a:gd name="connsiteX32" fmla="*/ 5921 w 6997"/>
                        <a:gd name="connsiteY32" fmla="*/ 3469 h 7655"/>
                        <a:gd name="connsiteX33" fmla="*/ 5921 w 6997"/>
                        <a:gd name="connsiteY33" fmla="*/ 3708 h 7655"/>
                        <a:gd name="connsiteX34" fmla="*/ 5921 w 6997"/>
                        <a:gd name="connsiteY34" fmla="*/ 3947 h 7655"/>
                        <a:gd name="connsiteX35" fmla="*/ 5921 w 6997"/>
                        <a:gd name="connsiteY35" fmla="*/ 4186 h 7655"/>
                        <a:gd name="connsiteX36" fmla="*/ 5861 w 6997"/>
                        <a:gd name="connsiteY36" fmla="*/ 4426 h 7655"/>
                        <a:gd name="connsiteX37" fmla="*/ 5801 w 6997"/>
                        <a:gd name="connsiteY37" fmla="*/ 4665 h 7655"/>
                        <a:gd name="connsiteX38" fmla="*/ 5622 w 6997"/>
                        <a:gd name="connsiteY38" fmla="*/ 5143 h 7655"/>
                        <a:gd name="connsiteX39" fmla="*/ 5323 w 6997"/>
                        <a:gd name="connsiteY39" fmla="*/ 5562 h 7655"/>
                        <a:gd name="connsiteX40" fmla="*/ 4964 w 6997"/>
                        <a:gd name="connsiteY40" fmla="*/ 5921 h 7655"/>
                        <a:gd name="connsiteX41" fmla="*/ 4545 w 6997"/>
                        <a:gd name="connsiteY41" fmla="*/ 6220 h 7655"/>
                        <a:gd name="connsiteX42" fmla="*/ 4306 w 6997"/>
                        <a:gd name="connsiteY42" fmla="*/ 6340 h 7655"/>
                        <a:gd name="connsiteX43" fmla="*/ 4067 w 6997"/>
                        <a:gd name="connsiteY43" fmla="*/ 6459 h 7655"/>
                        <a:gd name="connsiteX44" fmla="*/ 3828 w 6997"/>
                        <a:gd name="connsiteY44" fmla="*/ 6519 h 7655"/>
                        <a:gd name="connsiteX45" fmla="*/ 3588 w 6997"/>
                        <a:gd name="connsiteY45" fmla="*/ 6579 h 7655"/>
                        <a:gd name="connsiteX46" fmla="*/ 3349 w 6997"/>
                        <a:gd name="connsiteY46" fmla="*/ 6579 h 7655"/>
                        <a:gd name="connsiteX47" fmla="*/ 3110 w 6997"/>
                        <a:gd name="connsiteY47" fmla="*/ 6579 h 7655"/>
                        <a:gd name="connsiteX48" fmla="*/ 2871 w 6997"/>
                        <a:gd name="connsiteY48" fmla="*/ 6579 h 7655"/>
                        <a:gd name="connsiteX49" fmla="*/ 2632 w 6997"/>
                        <a:gd name="connsiteY49" fmla="*/ 6519 h 7655"/>
                        <a:gd name="connsiteX50" fmla="*/ 2333 w 6997"/>
                        <a:gd name="connsiteY50" fmla="*/ 6220 h 7655"/>
                        <a:gd name="connsiteX51" fmla="*/ 1136 w 6997"/>
                        <a:gd name="connsiteY51" fmla="*/ 6937 h 7655"/>
                        <a:gd name="connsiteX52" fmla="*/ 1375 w 6997"/>
                        <a:gd name="connsiteY52" fmla="*/ 7117 h 7655"/>
                        <a:gd name="connsiteX53" fmla="*/ 1675 w 6997"/>
                        <a:gd name="connsiteY53" fmla="*/ 7296 h 7655"/>
                        <a:gd name="connsiteX54" fmla="*/ 1974 w 6997"/>
                        <a:gd name="connsiteY54" fmla="*/ 7416 h 7655"/>
                        <a:gd name="connsiteX55" fmla="*/ 2273 w 6997"/>
                        <a:gd name="connsiteY55" fmla="*/ 7535 h 7655"/>
                        <a:gd name="connsiteX56" fmla="*/ 2751 w 6997"/>
                        <a:gd name="connsiteY56" fmla="*/ 7655 h 7655"/>
                        <a:gd name="connsiteX57" fmla="*/ 3229 w 6997"/>
                        <a:gd name="connsiteY57" fmla="*/ 7655 h 7655"/>
                        <a:gd name="connsiteX58" fmla="*/ 3708 w 6997"/>
                        <a:gd name="connsiteY58" fmla="*/ 7595 h 7655"/>
                        <a:gd name="connsiteX59" fmla="*/ 4187 w 6997"/>
                        <a:gd name="connsiteY59" fmla="*/ 7476 h 7655"/>
                        <a:gd name="connsiteX60" fmla="*/ 4366 w 6997"/>
                        <a:gd name="connsiteY60" fmla="*/ 7416 h 7655"/>
                        <a:gd name="connsiteX61" fmla="*/ 4545 w 6997"/>
                        <a:gd name="connsiteY61" fmla="*/ 7356 h 7655"/>
                        <a:gd name="connsiteX62" fmla="*/ 4725 w 6997"/>
                        <a:gd name="connsiteY62" fmla="*/ 7236 h 7655"/>
                        <a:gd name="connsiteX63" fmla="*/ 4904 w 6997"/>
                        <a:gd name="connsiteY63" fmla="*/ 7117 h 7655"/>
                        <a:gd name="connsiteX64" fmla="*/ 5502 w 6997"/>
                        <a:gd name="connsiteY64" fmla="*/ 6639 h 7655"/>
                        <a:gd name="connsiteX65" fmla="*/ 6041 w 6997"/>
                        <a:gd name="connsiteY65" fmla="*/ 6100 h 7655"/>
                        <a:gd name="connsiteX66" fmla="*/ 6459 w 6997"/>
                        <a:gd name="connsiteY66" fmla="*/ 5502 h 7655"/>
                        <a:gd name="connsiteX67" fmla="*/ 6758 w 6997"/>
                        <a:gd name="connsiteY67" fmla="*/ 4785 h 7655"/>
                        <a:gd name="connsiteX68" fmla="*/ 6938 w 6997"/>
                        <a:gd name="connsiteY68" fmla="*/ 4127 h 7655"/>
                        <a:gd name="connsiteX69" fmla="*/ 6997 w 6997"/>
                        <a:gd name="connsiteY69" fmla="*/ 3469 h 7655"/>
                        <a:gd name="connsiteX70" fmla="*/ 6938 w 6997"/>
                        <a:gd name="connsiteY70" fmla="*/ 2811 h 7655"/>
                        <a:gd name="connsiteX71" fmla="*/ 6758 w 6997"/>
                        <a:gd name="connsiteY71" fmla="*/ 2213 h 7655"/>
                        <a:gd name="connsiteX72" fmla="*/ 6758 w 6997"/>
                        <a:gd name="connsiteY72" fmla="*/ 2153 h 7655"/>
                        <a:gd name="connsiteX73" fmla="*/ 6698 w 6997"/>
                        <a:gd name="connsiteY73" fmla="*/ 2093 h 7655"/>
                        <a:gd name="connsiteX74" fmla="*/ 6639 w 6997"/>
                        <a:gd name="connsiteY74" fmla="*/ 2033 h 7655"/>
                        <a:gd name="connsiteX75" fmla="*/ 6579 w 6997"/>
                        <a:gd name="connsiteY75" fmla="*/ 1973 h 7655"/>
                        <a:gd name="connsiteX76" fmla="*/ 6519 w 6997"/>
                        <a:gd name="connsiteY76" fmla="*/ 1734 h 7655"/>
                        <a:gd name="connsiteX77" fmla="*/ 6399 w 6997"/>
                        <a:gd name="connsiteY77" fmla="*/ 1555 h 7655"/>
                        <a:gd name="connsiteX78" fmla="*/ 6280 w 6997"/>
                        <a:gd name="connsiteY78" fmla="*/ 1375 h 7655"/>
                        <a:gd name="connsiteX79" fmla="*/ 6160 w 6997"/>
                        <a:gd name="connsiteY79" fmla="*/ 1196 h 7655"/>
                        <a:gd name="connsiteX80" fmla="*/ 6100 w 6997"/>
                        <a:gd name="connsiteY80" fmla="*/ 1076 h 7655"/>
                        <a:gd name="connsiteX81" fmla="*/ 6041 w 6997"/>
                        <a:gd name="connsiteY81" fmla="*/ 957 h 7655"/>
                        <a:gd name="connsiteX82" fmla="*/ 5921 w 6997"/>
                        <a:gd name="connsiteY82" fmla="*/ 837 h 7655"/>
                        <a:gd name="connsiteX83" fmla="*/ 5801 w 6997"/>
                        <a:gd name="connsiteY83" fmla="*/ 778 h 7655"/>
                        <a:gd name="connsiteX84" fmla="*/ 5562 w 6997"/>
                        <a:gd name="connsiteY84" fmla="*/ 598 h 7655"/>
                        <a:gd name="connsiteX85" fmla="*/ 5263 w 6997"/>
                        <a:gd name="connsiteY85" fmla="*/ 418 h 7655"/>
                        <a:gd name="connsiteX86" fmla="*/ 4964 w 6997"/>
                        <a:gd name="connsiteY86" fmla="*/ 239 h 7655"/>
                        <a:gd name="connsiteX87" fmla="*/ 4665 w 6997"/>
                        <a:gd name="connsiteY87" fmla="*/ 119 h 7655"/>
                        <a:gd name="connsiteX88" fmla="*/ 4067 w 6997"/>
                        <a:gd name="connsiteY88" fmla="*/ 0 h 7655"/>
                        <a:gd name="connsiteX89" fmla="*/ 3469 w 6997"/>
                        <a:gd name="connsiteY89" fmla="*/ 0 h 7655"/>
                        <a:gd name="connsiteX90" fmla="*/ 2871 w 6997"/>
                        <a:gd name="connsiteY90" fmla="*/ 119 h 7655"/>
                        <a:gd name="connsiteX91" fmla="*/ 2273 w 6997"/>
                        <a:gd name="connsiteY91" fmla="*/ 299 h 7655"/>
                        <a:gd name="connsiteX92" fmla="*/ 2213 w 6997"/>
                        <a:gd name="connsiteY92" fmla="*/ 359 h 7655"/>
                        <a:gd name="connsiteX93" fmla="*/ 2153 w 6997"/>
                        <a:gd name="connsiteY93" fmla="*/ 418 h 7655"/>
                        <a:gd name="connsiteX94" fmla="*/ 2093 w 6997"/>
                        <a:gd name="connsiteY94" fmla="*/ 478 h 7655"/>
                        <a:gd name="connsiteX95" fmla="*/ 2034 w 6997"/>
                        <a:gd name="connsiteY95" fmla="*/ 538 h 7655"/>
                        <a:gd name="connsiteX96" fmla="*/ 1435 w 6997"/>
                        <a:gd name="connsiteY96" fmla="*/ 957 h 7655"/>
                        <a:gd name="connsiteX97" fmla="*/ 897 w 6997"/>
                        <a:gd name="connsiteY97" fmla="*/ 1495 h 7655"/>
                        <a:gd name="connsiteX98" fmla="*/ 479 w 6997"/>
                        <a:gd name="connsiteY98" fmla="*/ 2153 h 7655"/>
                        <a:gd name="connsiteX99" fmla="*/ 180 w 6997"/>
                        <a:gd name="connsiteY99" fmla="*/ 2871 h 7655"/>
                        <a:gd name="connsiteX100" fmla="*/ 120 w 6997"/>
                        <a:gd name="connsiteY100" fmla="*/ 2990 h 7655"/>
                        <a:gd name="connsiteX101" fmla="*/ 60 w 6997"/>
                        <a:gd name="connsiteY101" fmla="*/ 3110 h 7655"/>
                        <a:gd name="connsiteX102" fmla="*/ 60 w 6997"/>
                        <a:gd name="connsiteY102" fmla="*/ 3229 h 7655"/>
                        <a:gd name="connsiteX103" fmla="*/ 60 w 6997"/>
                        <a:gd name="connsiteY103" fmla="*/ 3349 h 7655"/>
                        <a:gd name="connsiteX104" fmla="*/ 0 w 6997"/>
                        <a:gd name="connsiteY104" fmla="*/ 3469 h 7655"/>
                        <a:gd name="connsiteX105" fmla="*/ 0 w 6997"/>
                        <a:gd name="connsiteY105" fmla="*/ 3588 h 7655"/>
                        <a:gd name="connsiteX106" fmla="*/ 0 w 6997"/>
                        <a:gd name="connsiteY106" fmla="*/ 3708 h 7655"/>
                        <a:gd name="connsiteX107" fmla="*/ 0 w 6997"/>
                        <a:gd name="connsiteY107" fmla="*/ 3827 h 7655"/>
                        <a:gd name="connsiteX108" fmla="*/ 0 w 6997"/>
                        <a:gd name="connsiteY108" fmla="*/ 4306 h 7655"/>
                        <a:gd name="connsiteX109" fmla="*/ 60 w 6997"/>
                        <a:gd name="connsiteY109" fmla="*/ 4785 h 7655"/>
                        <a:gd name="connsiteX110" fmla="*/ 180 w 6997"/>
                        <a:gd name="connsiteY110" fmla="*/ 5263 h 7655"/>
                        <a:gd name="connsiteX111" fmla="*/ 359 w 6997"/>
                        <a:gd name="connsiteY111" fmla="*/ 5681 h 7655"/>
                        <a:gd name="connsiteX112" fmla="*/ 359 w 6997"/>
                        <a:gd name="connsiteY112" fmla="*/ 5681 h 7655"/>
                        <a:gd name="connsiteX113" fmla="*/ 359 w 6997"/>
                        <a:gd name="connsiteY113" fmla="*/ 5681 h 7655"/>
                        <a:gd name="connsiteX114" fmla="*/ 359 w 6997"/>
                        <a:gd name="connsiteY114" fmla="*/ 5681 h 7655"/>
                        <a:gd name="connsiteX115" fmla="*/ 359 w 6997"/>
                        <a:gd name="connsiteY115" fmla="*/ 5681 h 7655"/>
                        <a:gd name="connsiteX116" fmla="*/ 538 w 6997"/>
                        <a:gd name="connsiteY116" fmla="*/ 5981 h 7655"/>
                        <a:gd name="connsiteX117" fmla="*/ 718 w 6997"/>
                        <a:gd name="connsiteY117" fmla="*/ 6280 h 7655"/>
                        <a:gd name="connsiteX118" fmla="*/ 897 w 6997"/>
                        <a:gd name="connsiteY118" fmla="*/ 6519 h 7655"/>
                        <a:gd name="connsiteX119" fmla="*/ 1136 w 6997"/>
                        <a:gd name="connsiteY119" fmla="*/ 6937 h 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997" h="7655">
                          <a:moveTo>
                            <a:pt x="2333" y="6220"/>
                          </a:moveTo>
                          <a:lnTo>
                            <a:pt x="1914" y="5981"/>
                          </a:lnTo>
                          <a:cubicBezTo>
                            <a:pt x="1854" y="5921"/>
                            <a:pt x="1794" y="5861"/>
                            <a:pt x="1734" y="5801"/>
                          </a:cubicBezTo>
                          <a:cubicBezTo>
                            <a:pt x="1675" y="5741"/>
                            <a:pt x="1615" y="5681"/>
                            <a:pt x="1555" y="5562"/>
                          </a:cubicBezTo>
                          <a:cubicBezTo>
                            <a:pt x="1495" y="5502"/>
                            <a:pt x="1435" y="5382"/>
                            <a:pt x="1435" y="5323"/>
                          </a:cubicBezTo>
                          <a:cubicBezTo>
                            <a:pt x="1375" y="5263"/>
                            <a:pt x="1375" y="5143"/>
                            <a:pt x="1316" y="5083"/>
                          </a:cubicBezTo>
                          <a:cubicBezTo>
                            <a:pt x="1256" y="4964"/>
                            <a:pt x="1256" y="4785"/>
                            <a:pt x="1196" y="4665"/>
                          </a:cubicBezTo>
                          <a:cubicBezTo>
                            <a:pt x="1196" y="4545"/>
                            <a:pt x="1136" y="4366"/>
                            <a:pt x="1136" y="4246"/>
                          </a:cubicBezTo>
                          <a:cubicBezTo>
                            <a:pt x="1136" y="4067"/>
                            <a:pt x="1136" y="3947"/>
                            <a:pt x="1196" y="3768"/>
                          </a:cubicBezTo>
                          <a:cubicBezTo>
                            <a:pt x="1196" y="3588"/>
                            <a:pt x="1256" y="3469"/>
                            <a:pt x="1316" y="3289"/>
                          </a:cubicBezTo>
                          <a:cubicBezTo>
                            <a:pt x="1375" y="3110"/>
                            <a:pt x="1435" y="2990"/>
                            <a:pt x="1555" y="2811"/>
                          </a:cubicBezTo>
                          <a:cubicBezTo>
                            <a:pt x="1615" y="2691"/>
                            <a:pt x="1734" y="2512"/>
                            <a:pt x="1854" y="2392"/>
                          </a:cubicBezTo>
                          <a:cubicBezTo>
                            <a:pt x="1974" y="2273"/>
                            <a:pt x="2093" y="2153"/>
                            <a:pt x="2213" y="2033"/>
                          </a:cubicBezTo>
                          <a:cubicBezTo>
                            <a:pt x="2333" y="1914"/>
                            <a:pt x="2452" y="1854"/>
                            <a:pt x="2632" y="1734"/>
                          </a:cubicBezTo>
                          <a:cubicBezTo>
                            <a:pt x="2751" y="1674"/>
                            <a:pt x="2930" y="1555"/>
                            <a:pt x="3110" y="1495"/>
                          </a:cubicBezTo>
                          <a:cubicBezTo>
                            <a:pt x="3289" y="1435"/>
                            <a:pt x="3409" y="1375"/>
                            <a:pt x="3588" y="1375"/>
                          </a:cubicBezTo>
                          <a:cubicBezTo>
                            <a:pt x="3768" y="1375"/>
                            <a:pt x="3888" y="1375"/>
                            <a:pt x="4067" y="1375"/>
                          </a:cubicBezTo>
                          <a:cubicBezTo>
                            <a:pt x="4246" y="1375"/>
                            <a:pt x="4366" y="1435"/>
                            <a:pt x="4486" y="1435"/>
                          </a:cubicBezTo>
                          <a:cubicBezTo>
                            <a:pt x="4545" y="1435"/>
                            <a:pt x="4665" y="1495"/>
                            <a:pt x="4725" y="1495"/>
                          </a:cubicBezTo>
                          <a:cubicBezTo>
                            <a:pt x="4785" y="1495"/>
                            <a:pt x="4844" y="1555"/>
                            <a:pt x="4904" y="1615"/>
                          </a:cubicBezTo>
                          <a:cubicBezTo>
                            <a:pt x="4964" y="1674"/>
                            <a:pt x="5024" y="1674"/>
                            <a:pt x="5083" y="1734"/>
                          </a:cubicBezTo>
                          <a:cubicBezTo>
                            <a:pt x="5143" y="1794"/>
                            <a:pt x="5203" y="1854"/>
                            <a:pt x="5263" y="1854"/>
                          </a:cubicBezTo>
                          <a:cubicBezTo>
                            <a:pt x="5323" y="1854"/>
                            <a:pt x="5323" y="1914"/>
                            <a:pt x="5323" y="1914"/>
                          </a:cubicBezTo>
                          <a:cubicBezTo>
                            <a:pt x="5323" y="1914"/>
                            <a:pt x="5383" y="1973"/>
                            <a:pt x="5383" y="2033"/>
                          </a:cubicBezTo>
                          <a:cubicBezTo>
                            <a:pt x="5383" y="2093"/>
                            <a:pt x="5443" y="2093"/>
                            <a:pt x="5443" y="2153"/>
                          </a:cubicBezTo>
                          <a:cubicBezTo>
                            <a:pt x="5443" y="2213"/>
                            <a:pt x="5502" y="2213"/>
                            <a:pt x="5502" y="2273"/>
                          </a:cubicBezTo>
                          <a:cubicBezTo>
                            <a:pt x="5502" y="2273"/>
                            <a:pt x="5562" y="2332"/>
                            <a:pt x="5562" y="2392"/>
                          </a:cubicBezTo>
                          <a:cubicBezTo>
                            <a:pt x="5562" y="2452"/>
                            <a:pt x="5622" y="2452"/>
                            <a:pt x="5622" y="2512"/>
                          </a:cubicBezTo>
                          <a:cubicBezTo>
                            <a:pt x="5622" y="2572"/>
                            <a:pt x="5682" y="2572"/>
                            <a:pt x="5682" y="2632"/>
                          </a:cubicBezTo>
                          <a:cubicBezTo>
                            <a:pt x="5682" y="2691"/>
                            <a:pt x="5742" y="2691"/>
                            <a:pt x="5742" y="2751"/>
                          </a:cubicBezTo>
                          <a:cubicBezTo>
                            <a:pt x="5742" y="2811"/>
                            <a:pt x="5801" y="2871"/>
                            <a:pt x="5801" y="2990"/>
                          </a:cubicBezTo>
                          <a:cubicBezTo>
                            <a:pt x="5801" y="3050"/>
                            <a:pt x="5861" y="3110"/>
                            <a:pt x="5861" y="3229"/>
                          </a:cubicBezTo>
                          <a:cubicBezTo>
                            <a:pt x="5861" y="3289"/>
                            <a:pt x="5861" y="3409"/>
                            <a:pt x="5921" y="3469"/>
                          </a:cubicBezTo>
                          <a:cubicBezTo>
                            <a:pt x="5981" y="3528"/>
                            <a:pt x="5921" y="3648"/>
                            <a:pt x="5921" y="3708"/>
                          </a:cubicBezTo>
                          <a:cubicBezTo>
                            <a:pt x="5921" y="3768"/>
                            <a:pt x="5921" y="3887"/>
                            <a:pt x="5921" y="3947"/>
                          </a:cubicBezTo>
                          <a:cubicBezTo>
                            <a:pt x="5921" y="4007"/>
                            <a:pt x="5921" y="4127"/>
                            <a:pt x="5921" y="4186"/>
                          </a:cubicBezTo>
                          <a:cubicBezTo>
                            <a:pt x="5921" y="4246"/>
                            <a:pt x="5921" y="4366"/>
                            <a:pt x="5861" y="4426"/>
                          </a:cubicBezTo>
                          <a:cubicBezTo>
                            <a:pt x="5801" y="4486"/>
                            <a:pt x="5801" y="4605"/>
                            <a:pt x="5801" y="4665"/>
                          </a:cubicBezTo>
                          <a:cubicBezTo>
                            <a:pt x="5742" y="4844"/>
                            <a:pt x="5682" y="4964"/>
                            <a:pt x="5622" y="5143"/>
                          </a:cubicBezTo>
                          <a:cubicBezTo>
                            <a:pt x="5562" y="5263"/>
                            <a:pt x="5443" y="5442"/>
                            <a:pt x="5323" y="5562"/>
                          </a:cubicBezTo>
                          <a:cubicBezTo>
                            <a:pt x="5203" y="5681"/>
                            <a:pt x="5083" y="5801"/>
                            <a:pt x="4964" y="5921"/>
                          </a:cubicBezTo>
                          <a:cubicBezTo>
                            <a:pt x="4844" y="6040"/>
                            <a:pt x="4725" y="6100"/>
                            <a:pt x="4545" y="6220"/>
                          </a:cubicBezTo>
                          <a:cubicBezTo>
                            <a:pt x="4486" y="6280"/>
                            <a:pt x="4426" y="6280"/>
                            <a:pt x="4306" y="6340"/>
                          </a:cubicBezTo>
                          <a:cubicBezTo>
                            <a:pt x="4246" y="6399"/>
                            <a:pt x="4187" y="6399"/>
                            <a:pt x="4067" y="6459"/>
                          </a:cubicBezTo>
                          <a:cubicBezTo>
                            <a:pt x="4007" y="6459"/>
                            <a:pt x="3947" y="6519"/>
                            <a:pt x="3828" y="6519"/>
                          </a:cubicBezTo>
                          <a:cubicBezTo>
                            <a:pt x="3708" y="6519"/>
                            <a:pt x="3648" y="6579"/>
                            <a:pt x="3588" y="6579"/>
                          </a:cubicBezTo>
                          <a:cubicBezTo>
                            <a:pt x="3529" y="6579"/>
                            <a:pt x="3409" y="6579"/>
                            <a:pt x="3349" y="6579"/>
                          </a:cubicBezTo>
                          <a:cubicBezTo>
                            <a:pt x="3289" y="6579"/>
                            <a:pt x="3170" y="6579"/>
                            <a:pt x="3110" y="6579"/>
                          </a:cubicBezTo>
                          <a:cubicBezTo>
                            <a:pt x="3050" y="6579"/>
                            <a:pt x="2930" y="6579"/>
                            <a:pt x="2871" y="6579"/>
                          </a:cubicBezTo>
                          <a:cubicBezTo>
                            <a:pt x="2811" y="6579"/>
                            <a:pt x="2691" y="6519"/>
                            <a:pt x="2632" y="6519"/>
                          </a:cubicBezTo>
                          <a:lnTo>
                            <a:pt x="2333" y="6220"/>
                          </a:lnTo>
                          <a:moveTo>
                            <a:pt x="1136" y="6937"/>
                          </a:moveTo>
                          <a:cubicBezTo>
                            <a:pt x="1196" y="6997"/>
                            <a:pt x="1316" y="7057"/>
                            <a:pt x="1375" y="7117"/>
                          </a:cubicBezTo>
                          <a:cubicBezTo>
                            <a:pt x="1435" y="7177"/>
                            <a:pt x="1555" y="7236"/>
                            <a:pt x="1675" y="7296"/>
                          </a:cubicBezTo>
                          <a:cubicBezTo>
                            <a:pt x="1794" y="7356"/>
                            <a:pt x="1854" y="7416"/>
                            <a:pt x="1974" y="7416"/>
                          </a:cubicBezTo>
                          <a:cubicBezTo>
                            <a:pt x="2093" y="7476"/>
                            <a:pt x="2153" y="7476"/>
                            <a:pt x="2273" y="7535"/>
                          </a:cubicBezTo>
                          <a:cubicBezTo>
                            <a:pt x="2392" y="7595"/>
                            <a:pt x="2572" y="7595"/>
                            <a:pt x="2751" y="7655"/>
                          </a:cubicBezTo>
                          <a:cubicBezTo>
                            <a:pt x="2930" y="7655"/>
                            <a:pt x="3050" y="7655"/>
                            <a:pt x="3229" y="7655"/>
                          </a:cubicBezTo>
                          <a:cubicBezTo>
                            <a:pt x="3409" y="7655"/>
                            <a:pt x="3529" y="7655"/>
                            <a:pt x="3708" y="7595"/>
                          </a:cubicBezTo>
                          <a:cubicBezTo>
                            <a:pt x="3888" y="7595"/>
                            <a:pt x="4007" y="7535"/>
                            <a:pt x="4187" y="7476"/>
                          </a:cubicBezTo>
                          <a:cubicBezTo>
                            <a:pt x="4246" y="7476"/>
                            <a:pt x="4306" y="7416"/>
                            <a:pt x="4366" y="7416"/>
                          </a:cubicBezTo>
                          <a:cubicBezTo>
                            <a:pt x="4426" y="7416"/>
                            <a:pt x="4486" y="7356"/>
                            <a:pt x="4545" y="7356"/>
                          </a:cubicBezTo>
                          <a:cubicBezTo>
                            <a:pt x="4605" y="7356"/>
                            <a:pt x="4665" y="7296"/>
                            <a:pt x="4725" y="7236"/>
                          </a:cubicBezTo>
                          <a:cubicBezTo>
                            <a:pt x="4785" y="7177"/>
                            <a:pt x="4844" y="7177"/>
                            <a:pt x="4904" y="7117"/>
                          </a:cubicBezTo>
                          <a:cubicBezTo>
                            <a:pt x="5143" y="6997"/>
                            <a:pt x="5323" y="6818"/>
                            <a:pt x="5502" y="6639"/>
                          </a:cubicBezTo>
                          <a:cubicBezTo>
                            <a:pt x="5682" y="6459"/>
                            <a:pt x="5861" y="6280"/>
                            <a:pt x="6041" y="6100"/>
                          </a:cubicBezTo>
                          <a:cubicBezTo>
                            <a:pt x="6220" y="5921"/>
                            <a:pt x="6340" y="5681"/>
                            <a:pt x="6459" y="5502"/>
                          </a:cubicBezTo>
                          <a:cubicBezTo>
                            <a:pt x="6579" y="5263"/>
                            <a:pt x="6698" y="5024"/>
                            <a:pt x="6758" y="4785"/>
                          </a:cubicBezTo>
                          <a:cubicBezTo>
                            <a:pt x="6818" y="4545"/>
                            <a:pt x="6878" y="4366"/>
                            <a:pt x="6938" y="4127"/>
                          </a:cubicBezTo>
                          <a:cubicBezTo>
                            <a:pt x="6997" y="3887"/>
                            <a:pt x="6997" y="3708"/>
                            <a:pt x="6997" y="3469"/>
                          </a:cubicBezTo>
                          <a:cubicBezTo>
                            <a:pt x="6997" y="3229"/>
                            <a:pt x="6997" y="3050"/>
                            <a:pt x="6938" y="2811"/>
                          </a:cubicBezTo>
                          <a:cubicBezTo>
                            <a:pt x="6878" y="2632"/>
                            <a:pt x="6878" y="2392"/>
                            <a:pt x="6758" y="2213"/>
                          </a:cubicBezTo>
                          <a:cubicBezTo>
                            <a:pt x="6758" y="2213"/>
                            <a:pt x="6758" y="2153"/>
                            <a:pt x="6758" y="2153"/>
                          </a:cubicBezTo>
                          <a:cubicBezTo>
                            <a:pt x="6758" y="2153"/>
                            <a:pt x="6758" y="2093"/>
                            <a:pt x="6698" y="2093"/>
                          </a:cubicBezTo>
                          <a:cubicBezTo>
                            <a:pt x="6698" y="2093"/>
                            <a:pt x="6698" y="2033"/>
                            <a:pt x="6639" y="2033"/>
                          </a:cubicBezTo>
                          <a:cubicBezTo>
                            <a:pt x="6579" y="2033"/>
                            <a:pt x="6639" y="1973"/>
                            <a:pt x="6579" y="1973"/>
                          </a:cubicBezTo>
                          <a:cubicBezTo>
                            <a:pt x="6579" y="1914"/>
                            <a:pt x="6519" y="1854"/>
                            <a:pt x="6519" y="1734"/>
                          </a:cubicBezTo>
                          <a:cubicBezTo>
                            <a:pt x="6459" y="1674"/>
                            <a:pt x="6459" y="1615"/>
                            <a:pt x="6399" y="1555"/>
                          </a:cubicBezTo>
                          <a:cubicBezTo>
                            <a:pt x="6340" y="1495"/>
                            <a:pt x="6340" y="1435"/>
                            <a:pt x="6280" y="1375"/>
                          </a:cubicBezTo>
                          <a:cubicBezTo>
                            <a:pt x="6220" y="1316"/>
                            <a:pt x="6220" y="1256"/>
                            <a:pt x="6160" y="1196"/>
                          </a:cubicBezTo>
                          <a:cubicBezTo>
                            <a:pt x="6160" y="1136"/>
                            <a:pt x="6100" y="1136"/>
                            <a:pt x="6100" y="1076"/>
                          </a:cubicBezTo>
                          <a:cubicBezTo>
                            <a:pt x="6100" y="1017"/>
                            <a:pt x="6041" y="1017"/>
                            <a:pt x="6041" y="957"/>
                          </a:cubicBezTo>
                          <a:cubicBezTo>
                            <a:pt x="6041" y="897"/>
                            <a:pt x="5981" y="897"/>
                            <a:pt x="5921" y="837"/>
                          </a:cubicBezTo>
                          <a:cubicBezTo>
                            <a:pt x="5861" y="778"/>
                            <a:pt x="5861" y="778"/>
                            <a:pt x="5801" y="778"/>
                          </a:cubicBezTo>
                          <a:cubicBezTo>
                            <a:pt x="5742" y="718"/>
                            <a:pt x="5622" y="658"/>
                            <a:pt x="5562" y="598"/>
                          </a:cubicBezTo>
                          <a:cubicBezTo>
                            <a:pt x="5502" y="538"/>
                            <a:pt x="5383" y="478"/>
                            <a:pt x="5263" y="418"/>
                          </a:cubicBezTo>
                          <a:cubicBezTo>
                            <a:pt x="5143" y="359"/>
                            <a:pt x="5083" y="299"/>
                            <a:pt x="4964" y="239"/>
                          </a:cubicBezTo>
                          <a:cubicBezTo>
                            <a:pt x="4844" y="179"/>
                            <a:pt x="4785" y="179"/>
                            <a:pt x="4665" y="119"/>
                          </a:cubicBezTo>
                          <a:cubicBezTo>
                            <a:pt x="4486" y="60"/>
                            <a:pt x="4306" y="0"/>
                            <a:pt x="4067" y="0"/>
                          </a:cubicBezTo>
                          <a:cubicBezTo>
                            <a:pt x="3888" y="0"/>
                            <a:pt x="3648" y="0"/>
                            <a:pt x="3469" y="0"/>
                          </a:cubicBezTo>
                          <a:cubicBezTo>
                            <a:pt x="3289" y="0"/>
                            <a:pt x="3050" y="60"/>
                            <a:pt x="2871" y="119"/>
                          </a:cubicBezTo>
                          <a:cubicBezTo>
                            <a:pt x="2691" y="179"/>
                            <a:pt x="2452" y="239"/>
                            <a:pt x="2273" y="299"/>
                          </a:cubicBezTo>
                          <a:cubicBezTo>
                            <a:pt x="2273" y="299"/>
                            <a:pt x="2213" y="299"/>
                            <a:pt x="2213" y="359"/>
                          </a:cubicBezTo>
                          <a:cubicBezTo>
                            <a:pt x="2213" y="359"/>
                            <a:pt x="2153" y="359"/>
                            <a:pt x="2153" y="418"/>
                          </a:cubicBezTo>
                          <a:cubicBezTo>
                            <a:pt x="2153" y="418"/>
                            <a:pt x="2093" y="418"/>
                            <a:pt x="2093" y="478"/>
                          </a:cubicBezTo>
                          <a:cubicBezTo>
                            <a:pt x="2093" y="478"/>
                            <a:pt x="2034" y="538"/>
                            <a:pt x="2034" y="538"/>
                          </a:cubicBezTo>
                          <a:cubicBezTo>
                            <a:pt x="1854" y="658"/>
                            <a:pt x="1615" y="837"/>
                            <a:pt x="1435" y="957"/>
                          </a:cubicBezTo>
                          <a:cubicBezTo>
                            <a:pt x="1256" y="1136"/>
                            <a:pt x="1076" y="1316"/>
                            <a:pt x="897" y="1495"/>
                          </a:cubicBezTo>
                          <a:cubicBezTo>
                            <a:pt x="718" y="1674"/>
                            <a:pt x="598" y="1914"/>
                            <a:pt x="479" y="2153"/>
                          </a:cubicBezTo>
                          <a:cubicBezTo>
                            <a:pt x="359" y="2392"/>
                            <a:pt x="239" y="2632"/>
                            <a:pt x="180" y="2871"/>
                          </a:cubicBezTo>
                          <a:cubicBezTo>
                            <a:pt x="180" y="2930"/>
                            <a:pt x="180" y="2930"/>
                            <a:pt x="120" y="2990"/>
                          </a:cubicBezTo>
                          <a:cubicBezTo>
                            <a:pt x="120" y="3050"/>
                            <a:pt x="120" y="3050"/>
                            <a:pt x="60" y="3110"/>
                          </a:cubicBezTo>
                          <a:cubicBezTo>
                            <a:pt x="60" y="3170"/>
                            <a:pt x="60" y="3170"/>
                            <a:pt x="60" y="3229"/>
                          </a:cubicBezTo>
                          <a:cubicBezTo>
                            <a:pt x="60" y="3289"/>
                            <a:pt x="60" y="3289"/>
                            <a:pt x="60" y="3349"/>
                          </a:cubicBezTo>
                          <a:cubicBezTo>
                            <a:pt x="60" y="3409"/>
                            <a:pt x="60" y="3469"/>
                            <a:pt x="0" y="3469"/>
                          </a:cubicBezTo>
                          <a:cubicBezTo>
                            <a:pt x="0" y="3528"/>
                            <a:pt x="0" y="3588"/>
                            <a:pt x="0" y="3588"/>
                          </a:cubicBezTo>
                          <a:cubicBezTo>
                            <a:pt x="0" y="3648"/>
                            <a:pt x="0" y="3708"/>
                            <a:pt x="0" y="3708"/>
                          </a:cubicBezTo>
                          <a:cubicBezTo>
                            <a:pt x="0" y="3768"/>
                            <a:pt x="0" y="3827"/>
                            <a:pt x="0" y="3827"/>
                          </a:cubicBezTo>
                          <a:cubicBezTo>
                            <a:pt x="0" y="4007"/>
                            <a:pt x="0" y="4127"/>
                            <a:pt x="0" y="4306"/>
                          </a:cubicBezTo>
                          <a:cubicBezTo>
                            <a:pt x="0" y="4486"/>
                            <a:pt x="0" y="4605"/>
                            <a:pt x="60" y="4785"/>
                          </a:cubicBezTo>
                          <a:cubicBezTo>
                            <a:pt x="60" y="4964"/>
                            <a:pt x="120" y="5083"/>
                            <a:pt x="180" y="5263"/>
                          </a:cubicBezTo>
                          <a:cubicBezTo>
                            <a:pt x="239" y="5442"/>
                            <a:pt x="299" y="5562"/>
                            <a:pt x="359" y="5681"/>
                          </a:cubicBezTo>
                          <a:cubicBezTo>
                            <a:pt x="359" y="5681"/>
                            <a:pt x="359" y="5681"/>
                            <a:pt x="359" y="5681"/>
                          </a:cubicBezTo>
                          <a:cubicBezTo>
                            <a:pt x="359" y="5681"/>
                            <a:pt x="359" y="5681"/>
                            <a:pt x="359" y="5681"/>
                          </a:cubicBezTo>
                          <a:cubicBezTo>
                            <a:pt x="359" y="5681"/>
                            <a:pt x="359" y="5681"/>
                            <a:pt x="359" y="5681"/>
                          </a:cubicBezTo>
                          <a:cubicBezTo>
                            <a:pt x="359" y="5681"/>
                            <a:pt x="359" y="5681"/>
                            <a:pt x="359" y="5681"/>
                          </a:cubicBezTo>
                          <a:cubicBezTo>
                            <a:pt x="419" y="5801"/>
                            <a:pt x="479" y="5861"/>
                            <a:pt x="538" y="5981"/>
                          </a:cubicBezTo>
                          <a:cubicBezTo>
                            <a:pt x="598" y="6100"/>
                            <a:pt x="658" y="6160"/>
                            <a:pt x="718" y="6280"/>
                          </a:cubicBezTo>
                          <a:cubicBezTo>
                            <a:pt x="778" y="6340"/>
                            <a:pt x="837" y="6459"/>
                            <a:pt x="897" y="6519"/>
                          </a:cubicBezTo>
                          <a:cubicBezTo>
                            <a:pt x="957" y="6818"/>
                            <a:pt x="1017" y="6878"/>
                            <a:pt x="1136" y="6937"/>
                          </a:cubicBezTo>
                        </a:path>
                      </a:pathLst>
                    </a:custGeom>
                    <a:noFill/>
                    <a:ln w="6350" cap="flat">
                      <a:solidFill>
                        <a:schemeClr val="bg1">
                          <a:alpha val="80000"/>
                        </a:schemeClr>
                      </a:solidFill>
                      <a:prstDash val="solid"/>
                      <a:miter/>
                    </a:ln>
                  </p:spPr>
                  <p:txBody>
                    <a:bodyPr rtlCol="0" anchor="ctr"/>
                    <a:lstStyle/>
                    <a:p>
                      <a:endParaRPr lang="en-GB"/>
                    </a:p>
                  </p:txBody>
                </p:sp>
                <p:sp>
                  <p:nvSpPr>
                    <p:cNvPr id="7445" name="Vrije vorm: vorm 7444">
                      <a:extLst>
                        <a:ext uri="{FF2B5EF4-FFF2-40B4-BE49-F238E27FC236}">
                          <a16:creationId xmlns:a16="http://schemas.microsoft.com/office/drawing/2014/main" id="{19EDFEE8-0AF4-4B68-96E6-DC0EAF40B985}"/>
                        </a:ext>
                      </a:extLst>
                    </p:cNvPr>
                    <p:cNvSpPr/>
                    <p:nvPr/>
                  </p:nvSpPr>
                  <p:spPr>
                    <a:xfrm>
                      <a:off x="5069578" y="4945917"/>
                      <a:ext cx="6997" cy="7834"/>
                    </a:xfrm>
                    <a:custGeom>
                      <a:avLst/>
                      <a:gdLst>
                        <a:gd name="connsiteX0" fmla="*/ 3170 w 6997"/>
                        <a:gd name="connsiteY0" fmla="*/ 6698 h 7834"/>
                        <a:gd name="connsiteX1" fmla="*/ 3050 w 6997"/>
                        <a:gd name="connsiteY1" fmla="*/ 6698 h 7834"/>
                        <a:gd name="connsiteX2" fmla="*/ 2930 w 6997"/>
                        <a:gd name="connsiteY2" fmla="*/ 6698 h 7834"/>
                        <a:gd name="connsiteX3" fmla="*/ 2811 w 6997"/>
                        <a:gd name="connsiteY3" fmla="*/ 6698 h 7834"/>
                        <a:gd name="connsiteX4" fmla="*/ 2691 w 6997"/>
                        <a:gd name="connsiteY4" fmla="*/ 6698 h 7834"/>
                        <a:gd name="connsiteX5" fmla="*/ 2452 w 6997"/>
                        <a:gd name="connsiteY5" fmla="*/ 6639 h 7834"/>
                        <a:gd name="connsiteX6" fmla="*/ 2273 w 6997"/>
                        <a:gd name="connsiteY6" fmla="*/ 6519 h 7834"/>
                        <a:gd name="connsiteX7" fmla="*/ 2093 w 6997"/>
                        <a:gd name="connsiteY7" fmla="*/ 6399 h 7834"/>
                        <a:gd name="connsiteX8" fmla="*/ 1914 w 6997"/>
                        <a:gd name="connsiteY8" fmla="*/ 6280 h 7834"/>
                        <a:gd name="connsiteX9" fmla="*/ 1734 w 6997"/>
                        <a:gd name="connsiteY9" fmla="*/ 6100 h 7834"/>
                        <a:gd name="connsiteX10" fmla="*/ 1615 w 6997"/>
                        <a:gd name="connsiteY10" fmla="*/ 5921 h 7834"/>
                        <a:gd name="connsiteX11" fmla="*/ 1495 w 6997"/>
                        <a:gd name="connsiteY11" fmla="*/ 5741 h 7834"/>
                        <a:gd name="connsiteX12" fmla="*/ 1375 w 6997"/>
                        <a:gd name="connsiteY12" fmla="*/ 5562 h 7834"/>
                        <a:gd name="connsiteX13" fmla="*/ 1316 w 6997"/>
                        <a:gd name="connsiteY13" fmla="*/ 5502 h 7834"/>
                        <a:gd name="connsiteX14" fmla="*/ 1256 w 6997"/>
                        <a:gd name="connsiteY14" fmla="*/ 5442 h 7834"/>
                        <a:gd name="connsiteX15" fmla="*/ 1256 w 6997"/>
                        <a:gd name="connsiteY15" fmla="*/ 5382 h 7834"/>
                        <a:gd name="connsiteX16" fmla="*/ 1256 w 6997"/>
                        <a:gd name="connsiteY16" fmla="*/ 5263 h 7834"/>
                        <a:gd name="connsiteX17" fmla="*/ 1196 w 6997"/>
                        <a:gd name="connsiteY17" fmla="*/ 4844 h 7834"/>
                        <a:gd name="connsiteX18" fmla="*/ 1196 w 6997"/>
                        <a:gd name="connsiteY18" fmla="*/ 4426 h 7834"/>
                        <a:gd name="connsiteX19" fmla="*/ 1256 w 6997"/>
                        <a:gd name="connsiteY19" fmla="*/ 4007 h 7834"/>
                        <a:gd name="connsiteX20" fmla="*/ 1375 w 6997"/>
                        <a:gd name="connsiteY20" fmla="*/ 3588 h 7834"/>
                        <a:gd name="connsiteX21" fmla="*/ 1555 w 6997"/>
                        <a:gd name="connsiteY21" fmla="*/ 3110 h 7834"/>
                        <a:gd name="connsiteX22" fmla="*/ 1854 w 6997"/>
                        <a:gd name="connsiteY22" fmla="*/ 2691 h 7834"/>
                        <a:gd name="connsiteX23" fmla="*/ 2213 w 6997"/>
                        <a:gd name="connsiteY23" fmla="*/ 2332 h 7834"/>
                        <a:gd name="connsiteX24" fmla="*/ 2632 w 6997"/>
                        <a:gd name="connsiteY24" fmla="*/ 2033 h 7834"/>
                        <a:gd name="connsiteX25" fmla="*/ 3110 w 6997"/>
                        <a:gd name="connsiteY25" fmla="*/ 1854 h 7834"/>
                        <a:gd name="connsiteX26" fmla="*/ 3588 w 6997"/>
                        <a:gd name="connsiteY26" fmla="*/ 1734 h 7834"/>
                        <a:gd name="connsiteX27" fmla="*/ 4067 w 6997"/>
                        <a:gd name="connsiteY27" fmla="*/ 1734 h 7834"/>
                        <a:gd name="connsiteX28" fmla="*/ 4545 w 6997"/>
                        <a:gd name="connsiteY28" fmla="*/ 1794 h 7834"/>
                        <a:gd name="connsiteX29" fmla="*/ 4725 w 6997"/>
                        <a:gd name="connsiteY29" fmla="*/ 1854 h 7834"/>
                        <a:gd name="connsiteX30" fmla="*/ 4904 w 6997"/>
                        <a:gd name="connsiteY30" fmla="*/ 1973 h 7834"/>
                        <a:gd name="connsiteX31" fmla="*/ 5083 w 6997"/>
                        <a:gd name="connsiteY31" fmla="*/ 2093 h 7834"/>
                        <a:gd name="connsiteX32" fmla="*/ 5263 w 6997"/>
                        <a:gd name="connsiteY32" fmla="*/ 2213 h 7834"/>
                        <a:gd name="connsiteX33" fmla="*/ 5442 w 6997"/>
                        <a:gd name="connsiteY33" fmla="*/ 2392 h 7834"/>
                        <a:gd name="connsiteX34" fmla="*/ 5562 w 6997"/>
                        <a:gd name="connsiteY34" fmla="*/ 2572 h 7834"/>
                        <a:gd name="connsiteX35" fmla="*/ 5682 w 6997"/>
                        <a:gd name="connsiteY35" fmla="*/ 2751 h 7834"/>
                        <a:gd name="connsiteX36" fmla="*/ 5801 w 6997"/>
                        <a:gd name="connsiteY36" fmla="*/ 2990 h 7834"/>
                        <a:gd name="connsiteX37" fmla="*/ 5981 w 6997"/>
                        <a:gd name="connsiteY37" fmla="*/ 3409 h 7834"/>
                        <a:gd name="connsiteX38" fmla="*/ 6041 w 6997"/>
                        <a:gd name="connsiteY38" fmla="*/ 3887 h 7834"/>
                        <a:gd name="connsiteX39" fmla="*/ 6041 w 6997"/>
                        <a:gd name="connsiteY39" fmla="*/ 4366 h 7834"/>
                        <a:gd name="connsiteX40" fmla="*/ 5921 w 6997"/>
                        <a:gd name="connsiteY40" fmla="*/ 4844 h 7834"/>
                        <a:gd name="connsiteX41" fmla="*/ 5921 w 6997"/>
                        <a:gd name="connsiteY41" fmla="*/ 4844 h 7834"/>
                        <a:gd name="connsiteX42" fmla="*/ 5921 w 6997"/>
                        <a:gd name="connsiteY42" fmla="*/ 4844 h 7834"/>
                        <a:gd name="connsiteX43" fmla="*/ 5921 w 6997"/>
                        <a:gd name="connsiteY43" fmla="*/ 4844 h 7834"/>
                        <a:gd name="connsiteX44" fmla="*/ 5921 w 6997"/>
                        <a:gd name="connsiteY44" fmla="*/ 4844 h 7834"/>
                        <a:gd name="connsiteX45" fmla="*/ 5741 w 6997"/>
                        <a:gd name="connsiteY45" fmla="*/ 5323 h 7834"/>
                        <a:gd name="connsiteX46" fmla="*/ 5442 w 6997"/>
                        <a:gd name="connsiteY46" fmla="*/ 5741 h 7834"/>
                        <a:gd name="connsiteX47" fmla="*/ 5083 w 6997"/>
                        <a:gd name="connsiteY47" fmla="*/ 6100 h 7834"/>
                        <a:gd name="connsiteX48" fmla="*/ 4725 w 6997"/>
                        <a:gd name="connsiteY48" fmla="*/ 6399 h 7834"/>
                        <a:gd name="connsiteX49" fmla="*/ 4725 w 6997"/>
                        <a:gd name="connsiteY49" fmla="*/ 6399 h 7834"/>
                        <a:gd name="connsiteX50" fmla="*/ 4725 w 6997"/>
                        <a:gd name="connsiteY50" fmla="*/ 6399 h 7834"/>
                        <a:gd name="connsiteX51" fmla="*/ 4725 w 6997"/>
                        <a:gd name="connsiteY51" fmla="*/ 6399 h 7834"/>
                        <a:gd name="connsiteX52" fmla="*/ 4725 w 6997"/>
                        <a:gd name="connsiteY52" fmla="*/ 6399 h 7834"/>
                        <a:gd name="connsiteX53" fmla="*/ 4366 w 6997"/>
                        <a:gd name="connsiteY53" fmla="*/ 6579 h 7834"/>
                        <a:gd name="connsiteX54" fmla="*/ 4007 w 6997"/>
                        <a:gd name="connsiteY54" fmla="*/ 6698 h 7834"/>
                        <a:gd name="connsiteX55" fmla="*/ 3648 w 6997"/>
                        <a:gd name="connsiteY55" fmla="*/ 6758 h 7834"/>
                        <a:gd name="connsiteX56" fmla="*/ 3170 w 6997"/>
                        <a:gd name="connsiteY56" fmla="*/ 6698 h 7834"/>
                        <a:gd name="connsiteX57" fmla="*/ 1256 w 6997"/>
                        <a:gd name="connsiteY57" fmla="*/ 7177 h 7834"/>
                        <a:gd name="connsiteX58" fmla="*/ 1495 w 6997"/>
                        <a:gd name="connsiteY58" fmla="*/ 7356 h 7834"/>
                        <a:gd name="connsiteX59" fmla="*/ 1794 w 6997"/>
                        <a:gd name="connsiteY59" fmla="*/ 7536 h 7834"/>
                        <a:gd name="connsiteX60" fmla="*/ 2093 w 6997"/>
                        <a:gd name="connsiteY60" fmla="*/ 7655 h 7834"/>
                        <a:gd name="connsiteX61" fmla="*/ 2392 w 6997"/>
                        <a:gd name="connsiteY61" fmla="*/ 7775 h 7834"/>
                        <a:gd name="connsiteX62" fmla="*/ 2452 w 6997"/>
                        <a:gd name="connsiteY62" fmla="*/ 7775 h 7834"/>
                        <a:gd name="connsiteX63" fmla="*/ 2512 w 6997"/>
                        <a:gd name="connsiteY63" fmla="*/ 7775 h 7834"/>
                        <a:gd name="connsiteX64" fmla="*/ 2572 w 6997"/>
                        <a:gd name="connsiteY64" fmla="*/ 7775 h 7834"/>
                        <a:gd name="connsiteX65" fmla="*/ 2632 w 6997"/>
                        <a:gd name="connsiteY65" fmla="*/ 7775 h 7834"/>
                        <a:gd name="connsiteX66" fmla="*/ 3229 w 6997"/>
                        <a:gd name="connsiteY66" fmla="*/ 7835 h 7834"/>
                        <a:gd name="connsiteX67" fmla="*/ 3828 w 6997"/>
                        <a:gd name="connsiteY67" fmla="*/ 7775 h 7834"/>
                        <a:gd name="connsiteX68" fmla="*/ 4426 w 6997"/>
                        <a:gd name="connsiteY68" fmla="*/ 7595 h 7834"/>
                        <a:gd name="connsiteX69" fmla="*/ 5024 w 6997"/>
                        <a:gd name="connsiteY69" fmla="*/ 7296 h 7834"/>
                        <a:gd name="connsiteX70" fmla="*/ 5083 w 6997"/>
                        <a:gd name="connsiteY70" fmla="*/ 7236 h 7834"/>
                        <a:gd name="connsiteX71" fmla="*/ 5143 w 6997"/>
                        <a:gd name="connsiteY71" fmla="*/ 7177 h 7834"/>
                        <a:gd name="connsiteX72" fmla="*/ 5203 w 6997"/>
                        <a:gd name="connsiteY72" fmla="*/ 7117 h 7834"/>
                        <a:gd name="connsiteX73" fmla="*/ 5263 w 6997"/>
                        <a:gd name="connsiteY73" fmla="*/ 7057 h 7834"/>
                        <a:gd name="connsiteX74" fmla="*/ 5741 w 6997"/>
                        <a:gd name="connsiteY74" fmla="*/ 6639 h 7834"/>
                        <a:gd name="connsiteX75" fmla="*/ 6160 w 6997"/>
                        <a:gd name="connsiteY75" fmla="*/ 6160 h 7834"/>
                        <a:gd name="connsiteX76" fmla="*/ 6519 w 6997"/>
                        <a:gd name="connsiteY76" fmla="*/ 5622 h 7834"/>
                        <a:gd name="connsiteX77" fmla="*/ 6818 w 6997"/>
                        <a:gd name="connsiteY77" fmla="*/ 5024 h 7834"/>
                        <a:gd name="connsiteX78" fmla="*/ 6818 w 6997"/>
                        <a:gd name="connsiteY78" fmla="*/ 4964 h 7834"/>
                        <a:gd name="connsiteX79" fmla="*/ 6818 w 6997"/>
                        <a:gd name="connsiteY79" fmla="*/ 4904 h 7834"/>
                        <a:gd name="connsiteX80" fmla="*/ 6818 w 6997"/>
                        <a:gd name="connsiteY80" fmla="*/ 4844 h 7834"/>
                        <a:gd name="connsiteX81" fmla="*/ 6818 w 6997"/>
                        <a:gd name="connsiteY81" fmla="*/ 4785 h 7834"/>
                        <a:gd name="connsiteX82" fmla="*/ 6937 w 6997"/>
                        <a:gd name="connsiteY82" fmla="*/ 4306 h 7834"/>
                        <a:gd name="connsiteX83" fmla="*/ 6997 w 6997"/>
                        <a:gd name="connsiteY83" fmla="*/ 3827 h 7834"/>
                        <a:gd name="connsiteX84" fmla="*/ 6997 w 6997"/>
                        <a:gd name="connsiteY84" fmla="*/ 3349 h 7834"/>
                        <a:gd name="connsiteX85" fmla="*/ 6937 w 6997"/>
                        <a:gd name="connsiteY85" fmla="*/ 2871 h 7834"/>
                        <a:gd name="connsiteX86" fmla="*/ 6878 w 6997"/>
                        <a:gd name="connsiteY86" fmla="*/ 2632 h 7834"/>
                        <a:gd name="connsiteX87" fmla="*/ 6818 w 6997"/>
                        <a:gd name="connsiteY87" fmla="*/ 2392 h 7834"/>
                        <a:gd name="connsiteX88" fmla="*/ 6758 w 6997"/>
                        <a:gd name="connsiteY88" fmla="*/ 2153 h 7834"/>
                        <a:gd name="connsiteX89" fmla="*/ 6698 w 6997"/>
                        <a:gd name="connsiteY89" fmla="*/ 1914 h 7834"/>
                        <a:gd name="connsiteX90" fmla="*/ 6519 w 6997"/>
                        <a:gd name="connsiteY90" fmla="*/ 1555 h 7834"/>
                        <a:gd name="connsiteX91" fmla="*/ 6340 w 6997"/>
                        <a:gd name="connsiteY91" fmla="*/ 1256 h 7834"/>
                        <a:gd name="connsiteX92" fmla="*/ 6100 w 6997"/>
                        <a:gd name="connsiteY92" fmla="*/ 957 h 7834"/>
                        <a:gd name="connsiteX93" fmla="*/ 5861 w 6997"/>
                        <a:gd name="connsiteY93" fmla="*/ 718 h 7834"/>
                        <a:gd name="connsiteX94" fmla="*/ 5622 w 6997"/>
                        <a:gd name="connsiteY94" fmla="*/ 538 h 7834"/>
                        <a:gd name="connsiteX95" fmla="*/ 5382 w 6997"/>
                        <a:gd name="connsiteY95" fmla="*/ 359 h 7834"/>
                        <a:gd name="connsiteX96" fmla="*/ 5083 w 6997"/>
                        <a:gd name="connsiteY96" fmla="*/ 239 h 7834"/>
                        <a:gd name="connsiteX97" fmla="*/ 4785 w 6997"/>
                        <a:gd name="connsiteY97" fmla="*/ 119 h 7834"/>
                        <a:gd name="connsiteX98" fmla="*/ 4127 w 6997"/>
                        <a:gd name="connsiteY98" fmla="*/ 0 h 7834"/>
                        <a:gd name="connsiteX99" fmla="*/ 3469 w 6997"/>
                        <a:gd name="connsiteY99" fmla="*/ 0 h 7834"/>
                        <a:gd name="connsiteX100" fmla="*/ 2811 w 6997"/>
                        <a:gd name="connsiteY100" fmla="*/ 179 h 7834"/>
                        <a:gd name="connsiteX101" fmla="*/ 2153 w 6997"/>
                        <a:gd name="connsiteY101" fmla="*/ 478 h 7834"/>
                        <a:gd name="connsiteX102" fmla="*/ 1555 w 6997"/>
                        <a:gd name="connsiteY102" fmla="*/ 897 h 7834"/>
                        <a:gd name="connsiteX103" fmla="*/ 1017 w 6997"/>
                        <a:gd name="connsiteY103" fmla="*/ 1435 h 7834"/>
                        <a:gd name="connsiteX104" fmla="*/ 598 w 6997"/>
                        <a:gd name="connsiteY104" fmla="*/ 2033 h 7834"/>
                        <a:gd name="connsiteX105" fmla="*/ 299 w 6997"/>
                        <a:gd name="connsiteY105" fmla="*/ 2691 h 7834"/>
                        <a:gd name="connsiteX106" fmla="*/ 239 w 6997"/>
                        <a:gd name="connsiteY106" fmla="*/ 2930 h 7834"/>
                        <a:gd name="connsiteX107" fmla="*/ 179 w 6997"/>
                        <a:gd name="connsiteY107" fmla="*/ 3170 h 7834"/>
                        <a:gd name="connsiteX108" fmla="*/ 119 w 6997"/>
                        <a:gd name="connsiteY108" fmla="*/ 3409 h 7834"/>
                        <a:gd name="connsiteX109" fmla="*/ 60 w 6997"/>
                        <a:gd name="connsiteY109" fmla="*/ 3648 h 7834"/>
                        <a:gd name="connsiteX110" fmla="*/ 0 w 6997"/>
                        <a:gd name="connsiteY110" fmla="*/ 4127 h 7834"/>
                        <a:gd name="connsiteX111" fmla="*/ 0 w 6997"/>
                        <a:gd name="connsiteY111" fmla="*/ 4605 h 7834"/>
                        <a:gd name="connsiteX112" fmla="*/ 60 w 6997"/>
                        <a:gd name="connsiteY112" fmla="*/ 5083 h 7834"/>
                        <a:gd name="connsiteX113" fmla="*/ 179 w 6997"/>
                        <a:gd name="connsiteY113" fmla="*/ 5502 h 7834"/>
                        <a:gd name="connsiteX114" fmla="*/ 179 w 6997"/>
                        <a:gd name="connsiteY114" fmla="*/ 5562 h 7834"/>
                        <a:gd name="connsiteX115" fmla="*/ 179 w 6997"/>
                        <a:gd name="connsiteY115" fmla="*/ 5622 h 7834"/>
                        <a:gd name="connsiteX116" fmla="*/ 179 w 6997"/>
                        <a:gd name="connsiteY116" fmla="*/ 5682 h 7834"/>
                        <a:gd name="connsiteX117" fmla="*/ 179 w 6997"/>
                        <a:gd name="connsiteY117" fmla="*/ 5741 h 7834"/>
                        <a:gd name="connsiteX118" fmla="*/ 359 w 6997"/>
                        <a:gd name="connsiteY118" fmla="*/ 6041 h 7834"/>
                        <a:gd name="connsiteX119" fmla="*/ 538 w 6997"/>
                        <a:gd name="connsiteY119" fmla="*/ 6340 h 7834"/>
                        <a:gd name="connsiteX120" fmla="*/ 778 w 6997"/>
                        <a:gd name="connsiteY120" fmla="*/ 6579 h 7834"/>
                        <a:gd name="connsiteX121" fmla="*/ 1256 w 6997"/>
                        <a:gd name="connsiteY121" fmla="*/ 7177 h 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997" h="7834">
                          <a:moveTo>
                            <a:pt x="3170" y="6698"/>
                          </a:moveTo>
                          <a:cubicBezTo>
                            <a:pt x="3110" y="6698"/>
                            <a:pt x="3110" y="6698"/>
                            <a:pt x="3050" y="6698"/>
                          </a:cubicBezTo>
                          <a:cubicBezTo>
                            <a:pt x="2990" y="6698"/>
                            <a:pt x="2990" y="6698"/>
                            <a:pt x="2930" y="6698"/>
                          </a:cubicBezTo>
                          <a:cubicBezTo>
                            <a:pt x="2871" y="6698"/>
                            <a:pt x="2871" y="6698"/>
                            <a:pt x="2811" y="6698"/>
                          </a:cubicBezTo>
                          <a:cubicBezTo>
                            <a:pt x="2751" y="6698"/>
                            <a:pt x="2751" y="6698"/>
                            <a:pt x="2691" y="6698"/>
                          </a:cubicBezTo>
                          <a:cubicBezTo>
                            <a:pt x="2632" y="6698"/>
                            <a:pt x="2572" y="6639"/>
                            <a:pt x="2452" y="6639"/>
                          </a:cubicBezTo>
                          <a:cubicBezTo>
                            <a:pt x="2333" y="6639"/>
                            <a:pt x="2333" y="6579"/>
                            <a:pt x="2273" y="6519"/>
                          </a:cubicBezTo>
                          <a:cubicBezTo>
                            <a:pt x="2213" y="6459"/>
                            <a:pt x="2153" y="6459"/>
                            <a:pt x="2093" y="6399"/>
                          </a:cubicBezTo>
                          <a:cubicBezTo>
                            <a:pt x="2033" y="6340"/>
                            <a:pt x="1974" y="6340"/>
                            <a:pt x="1914" y="6280"/>
                          </a:cubicBezTo>
                          <a:cubicBezTo>
                            <a:pt x="1854" y="6220"/>
                            <a:pt x="1794" y="6160"/>
                            <a:pt x="1734" y="6100"/>
                          </a:cubicBezTo>
                          <a:cubicBezTo>
                            <a:pt x="1674" y="6041"/>
                            <a:pt x="1615" y="5981"/>
                            <a:pt x="1615" y="5921"/>
                          </a:cubicBezTo>
                          <a:cubicBezTo>
                            <a:pt x="1555" y="5861"/>
                            <a:pt x="1555" y="5801"/>
                            <a:pt x="1495" y="5741"/>
                          </a:cubicBezTo>
                          <a:cubicBezTo>
                            <a:pt x="1435" y="5682"/>
                            <a:pt x="1435" y="5622"/>
                            <a:pt x="1375" y="5562"/>
                          </a:cubicBezTo>
                          <a:cubicBezTo>
                            <a:pt x="1375" y="5562"/>
                            <a:pt x="1375" y="5502"/>
                            <a:pt x="1316" y="5502"/>
                          </a:cubicBezTo>
                          <a:cubicBezTo>
                            <a:pt x="1316" y="5502"/>
                            <a:pt x="1316" y="5442"/>
                            <a:pt x="1256" y="5442"/>
                          </a:cubicBezTo>
                          <a:cubicBezTo>
                            <a:pt x="1196" y="5442"/>
                            <a:pt x="1256" y="5382"/>
                            <a:pt x="1256" y="5382"/>
                          </a:cubicBezTo>
                          <a:cubicBezTo>
                            <a:pt x="1256" y="5323"/>
                            <a:pt x="1256" y="5323"/>
                            <a:pt x="1256" y="5263"/>
                          </a:cubicBezTo>
                          <a:cubicBezTo>
                            <a:pt x="1196" y="5143"/>
                            <a:pt x="1196" y="5024"/>
                            <a:pt x="1196" y="4844"/>
                          </a:cubicBezTo>
                          <a:cubicBezTo>
                            <a:pt x="1196" y="4665"/>
                            <a:pt x="1196" y="4605"/>
                            <a:pt x="1196" y="4426"/>
                          </a:cubicBezTo>
                          <a:cubicBezTo>
                            <a:pt x="1196" y="4246"/>
                            <a:pt x="1196" y="4127"/>
                            <a:pt x="1256" y="4007"/>
                          </a:cubicBezTo>
                          <a:cubicBezTo>
                            <a:pt x="1256" y="3887"/>
                            <a:pt x="1316" y="3768"/>
                            <a:pt x="1375" y="3588"/>
                          </a:cubicBezTo>
                          <a:cubicBezTo>
                            <a:pt x="1435" y="3409"/>
                            <a:pt x="1495" y="3289"/>
                            <a:pt x="1555" y="3110"/>
                          </a:cubicBezTo>
                          <a:cubicBezTo>
                            <a:pt x="1615" y="2930"/>
                            <a:pt x="1734" y="2811"/>
                            <a:pt x="1854" y="2691"/>
                          </a:cubicBezTo>
                          <a:cubicBezTo>
                            <a:pt x="1974" y="2572"/>
                            <a:pt x="2093" y="2452"/>
                            <a:pt x="2213" y="2332"/>
                          </a:cubicBezTo>
                          <a:cubicBezTo>
                            <a:pt x="2333" y="2213"/>
                            <a:pt x="2452" y="2093"/>
                            <a:pt x="2632" y="2033"/>
                          </a:cubicBezTo>
                          <a:cubicBezTo>
                            <a:pt x="2751" y="1973"/>
                            <a:pt x="2930" y="1854"/>
                            <a:pt x="3110" y="1854"/>
                          </a:cubicBezTo>
                          <a:cubicBezTo>
                            <a:pt x="3289" y="1794"/>
                            <a:pt x="3409" y="1794"/>
                            <a:pt x="3588" y="1734"/>
                          </a:cubicBezTo>
                          <a:cubicBezTo>
                            <a:pt x="3768" y="1674"/>
                            <a:pt x="3887" y="1734"/>
                            <a:pt x="4067" y="1734"/>
                          </a:cubicBezTo>
                          <a:cubicBezTo>
                            <a:pt x="4246" y="1734"/>
                            <a:pt x="4366" y="1794"/>
                            <a:pt x="4545" y="1794"/>
                          </a:cubicBezTo>
                          <a:cubicBezTo>
                            <a:pt x="4605" y="1794"/>
                            <a:pt x="4665" y="1854"/>
                            <a:pt x="4725" y="1854"/>
                          </a:cubicBezTo>
                          <a:cubicBezTo>
                            <a:pt x="4785" y="1854"/>
                            <a:pt x="4844" y="1914"/>
                            <a:pt x="4904" y="1973"/>
                          </a:cubicBezTo>
                          <a:cubicBezTo>
                            <a:pt x="4964" y="2033"/>
                            <a:pt x="5024" y="2033"/>
                            <a:pt x="5083" y="2093"/>
                          </a:cubicBezTo>
                          <a:cubicBezTo>
                            <a:pt x="5143" y="2153"/>
                            <a:pt x="5203" y="2153"/>
                            <a:pt x="5263" y="2213"/>
                          </a:cubicBezTo>
                          <a:cubicBezTo>
                            <a:pt x="5323" y="2273"/>
                            <a:pt x="5382" y="2332"/>
                            <a:pt x="5442" y="2392"/>
                          </a:cubicBezTo>
                          <a:cubicBezTo>
                            <a:pt x="5502" y="2452"/>
                            <a:pt x="5562" y="2512"/>
                            <a:pt x="5562" y="2572"/>
                          </a:cubicBezTo>
                          <a:cubicBezTo>
                            <a:pt x="5562" y="2632"/>
                            <a:pt x="5622" y="2691"/>
                            <a:pt x="5682" y="2751"/>
                          </a:cubicBezTo>
                          <a:cubicBezTo>
                            <a:pt x="5741" y="2811"/>
                            <a:pt x="5741" y="2871"/>
                            <a:pt x="5801" y="2990"/>
                          </a:cubicBezTo>
                          <a:cubicBezTo>
                            <a:pt x="5861" y="3110"/>
                            <a:pt x="5921" y="3289"/>
                            <a:pt x="5981" y="3409"/>
                          </a:cubicBezTo>
                          <a:cubicBezTo>
                            <a:pt x="6041" y="3528"/>
                            <a:pt x="6041" y="3708"/>
                            <a:pt x="6041" y="3887"/>
                          </a:cubicBezTo>
                          <a:cubicBezTo>
                            <a:pt x="6041" y="4067"/>
                            <a:pt x="6041" y="4187"/>
                            <a:pt x="6041" y="4366"/>
                          </a:cubicBezTo>
                          <a:cubicBezTo>
                            <a:pt x="6041" y="4545"/>
                            <a:pt x="5981" y="4665"/>
                            <a:pt x="5921" y="4844"/>
                          </a:cubicBezTo>
                          <a:cubicBezTo>
                            <a:pt x="5921" y="4844"/>
                            <a:pt x="5921" y="4844"/>
                            <a:pt x="5921" y="4844"/>
                          </a:cubicBezTo>
                          <a:cubicBezTo>
                            <a:pt x="5921" y="4844"/>
                            <a:pt x="5921" y="4844"/>
                            <a:pt x="5921" y="4844"/>
                          </a:cubicBezTo>
                          <a:cubicBezTo>
                            <a:pt x="5921" y="4844"/>
                            <a:pt x="5921" y="4844"/>
                            <a:pt x="5921" y="4844"/>
                          </a:cubicBezTo>
                          <a:cubicBezTo>
                            <a:pt x="5921" y="4844"/>
                            <a:pt x="5921" y="4844"/>
                            <a:pt x="5921" y="4844"/>
                          </a:cubicBezTo>
                          <a:cubicBezTo>
                            <a:pt x="5861" y="5024"/>
                            <a:pt x="5801" y="5143"/>
                            <a:pt x="5741" y="5323"/>
                          </a:cubicBezTo>
                          <a:cubicBezTo>
                            <a:pt x="5682" y="5442"/>
                            <a:pt x="5562" y="5622"/>
                            <a:pt x="5442" y="5741"/>
                          </a:cubicBezTo>
                          <a:cubicBezTo>
                            <a:pt x="5323" y="5861"/>
                            <a:pt x="5203" y="5981"/>
                            <a:pt x="5083" y="6100"/>
                          </a:cubicBezTo>
                          <a:cubicBezTo>
                            <a:pt x="4964" y="6220"/>
                            <a:pt x="4844" y="6280"/>
                            <a:pt x="4725" y="6399"/>
                          </a:cubicBezTo>
                          <a:cubicBezTo>
                            <a:pt x="4725" y="6399"/>
                            <a:pt x="4725" y="6399"/>
                            <a:pt x="4725" y="6399"/>
                          </a:cubicBezTo>
                          <a:cubicBezTo>
                            <a:pt x="4725" y="6399"/>
                            <a:pt x="4725" y="6399"/>
                            <a:pt x="4725" y="6399"/>
                          </a:cubicBezTo>
                          <a:cubicBezTo>
                            <a:pt x="4725" y="6399"/>
                            <a:pt x="4725" y="6399"/>
                            <a:pt x="4725" y="6399"/>
                          </a:cubicBezTo>
                          <a:cubicBezTo>
                            <a:pt x="4725" y="6399"/>
                            <a:pt x="4725" y="6399"/>
                            <a:pt x="4725" y="6399"/>
                          </a:cubicBezTo>
                          <a:cubicBezTo>
                            <a:pt x="4605" y="6459"/>
                            <a:pt x="4486" y="6519"/>
                            <a:pt x="4366" y="6579"/>
                          </a:cubicBezTo>
                          <a:cubicBezTo>
                            <a:pt x="4246" y="6639"/>
                            <a:pt x="4127" y="6639"/>
                            <a:pt x="4007" y="6698"/>
                          </a:cubicBezTo>
                          <a:cubicBezTo>
                            <a:pt x="3887" y="6698"/>
                            <a:pt x="3768" y="6758"/>
                            <a:pt x="3648" y="6758"/>
                          </a:cubicBezTo>
                          <a:cubicBezTo>
                            <a:pt x="3409" y="6698"/>
                            <a:pt x="3289" y="6698"/>
                            <a:pt x="3170" y="6698"/>
                          </a:cubicBezTo>
                          <a:moveTo>
                            <a:pt x="1256" y="7177"/>
                          </a:moveTo>
                          <a:cubicBezTo>
                            <a:pt x="1316" y="7236"/>
                            <a:pt x="1435" y="7296"/>
                            <a:pt x="1495" y="7356"/>
                          </a:cubicBezTo>
                          <a:cubicBezTo>
                            <a:pt x="1615" y="7416"/>
                            <a:pt x="1674" y="7476"/>
                            <a:pt x="1794" y="7536"/>
                          </a:cubicBezTo>
                          <a:cubicBezTo>
                            <a:pt x="1914" y="7595"/>
                            <a:pt x="1974" y="7655"/>
                            <a:pt x="2093" y="7655"/>
                          </a:cubicBezTo>
                          <a:cubicBezTo>
                            <a:pt x="2213" y="7715"/>
                            <a:pt x="2273" y="7715"/>
                            <a:pt x="2392" y="7775"/>
                          </a:cubicBezTo>
                          <a:cubicBezTo>
                            <a:pt x="2392" y="7775"/>
                            <a:pt x="2452" y="7775"/>
                            <a:pt x="2452" y="7775"/>
                          </a:cubicBezTo>
                          <a:cubicBezTo>
                            <a:pt x="2452" y="7775"/>
                            <a:pt x="2512" y="7775"/>
                            <a:pt x="2512" y="7775"/>
                          </a:cubicBezTo>
                          <a:cubicBezTo>
                            <a:pt x="2512" y="7775"/>
                            <a:pt x="2572" y="7775"/>
                            <a:pt x="2572" y="7775"/>
                          </a:cubicBezTo>
                          <a:cubicBezTo>
                            <a:pt x="2572" y="7775"/>
                            <a:pt x="2632" y="7775"/>
                            <a:pt x="2632" y="7775"/>
                          </a:cubicBezTo>
                          <a:cubicBezTo>
                            <a:pt x="2811" y="7835"/>
                            <a:pt x="3050" y="7835"/>
                            <a:pt x="3229" y="7835"/>
                          </a:cubicBezTo>
                          <a:cubicBezTo>
                            <a:pt x="3409" y="7835"/>
                            <a:pt x="3648" y="7835"/>
                            <a:pt x="3828" y="7775"/>
                          </a:cubicBezTo>
                          <a:cubicBezTo>
                            <a:pt x="4007" y="7715"/>
                            <a:pt x="4246" y="7655"/>
                            <a:pt x="4426" y="7595"/>
                          </a:cubicBezTo>
                          <a:cubicBezTo>
                            <a:pt x="4605" y="7536"/>
                            <a:pt x="4844" y="7416"/>
                            <a:pt x="5024" y="7296"/>
                          </a:cubicBezTo>
                          <a:cubicBezTo>
                            <a:pt x="5024" y="7296"/>
                            <a:pt x="5083" y="7296"/>
                            <a:pt x="5083" y="7236"/>
                          </a:cubicBezTo>
                          <a:cubicBezTo>
                            <a:pt x="5083" y="7236"/>
                            <a:pt x="5143" y="7236"/>
                            <a:pt x="5143" y="7177"/>
                          </a:cubicBezTo>
                          <a:cubicBezTo>
                            <a:pt x="5143" y="7177"/>
                            <a:pt x="5203" y="7177"/>
                            <a:pt x="5203" y="7117"/>
                          </a:cubicBezTo>
                          <a:cubicBezTo>
                            <a:pt x="5203" y="7117"/>
                            <a:pt x="5263" y="7117"/>
                            <a:pt x="5263" y="7057"/>
                          </a:cubicBezTo>
                          <a:cubicBezTo>
                            <a:pt x="5442" y="6937"/>
                            <a:pt x="5622" y="6818"/>
                            <a:pt x="5741" y="6639"/>
                          </a:cubicBezTo>
                          <a:cubicBezTo>
                            <a:pt x="5921" y="6519"/>
                            <a:pt x="6041" y="6340"/>
                            <a:pt x="6160" y="6160"/>
                          </a:cubicBezTo>
                          <a:cubicBezTo>
                            <a:pt x="6280" y="5981"/>
                            <a:pt x="6399" y="5801"/>
                            <a:pt x="6519" y="5622"/>
                          </a:cubicBezTo>
                          <a:cubicBezTo>
                            <a:pt x="6639" y="5442"/>
                            <a:pt x="6698" y="5263"/>
                            <a:pt x="6818" y="5024"/>
                          </a:cubicBezTo>
                          <a:cubicBezTo>
                            <a:pt x="6818" y="5024"/>
                            <a:pt x="6818" y="5024"/>
                            <a:pt x="6818" y="4964"/>
                          </a:cubicBezTo>
                          <a:cubicBezTo>
                            <a:pt x="6818" y="4964"/>
                            <a:pt x="6818" y="4964"/>
                            <a:pt x="6818" y="4904"/>
                          </a:cubicBezTo>
                          <a:cubicBezTo>
                            <a:pt x="6818" y="4904"/>
                            <a:pt x="6818" y="4904"/>
                            <a:pt x="6818" y="4844"/>
                          </a:cubicBezTo>
                          <a:cubicBezTo>
                            <a:pt x="6818" y="4844"/>
                            <a:pt x="6818" y="4844"/>
                            <a:pt x="6818" y="4785"/>
                          </a:cubicBezTo>
                          <a:cubicBezTo>
                            <a:pt x="6878" y="4605"/>
                            <a:pt x="6937" y="4426"/>
                            <a:pt x="6937" y="4306"/>
                          </a:cubicBezTo>
                          <a:cubicBezTo>
                            <a:pt x="6997" y="4127"/>
                            <a:pt x="6997" y="3947"/>
                            <a:pt x="6997" y="3827"/>
                          </a:cubicBezTo>
                          <a:cubicBezTo>
                            <a:pt x="6997" y="3648"/>
                            <a:pt x="6997" y="3469"/>
                            <a:pt x="6997" y="3349"/>
                          </a:cubicBezTo>
                          <a:cubicBezTo>
                            <a:pt x="6997" y="3170"/>
                            <a:pt x="6997" y="3050"/>
                            <a:pt x="6937" y="2871"/>
                          </a:cubicBezTo>
                          <a:cubicBezTo>
                            <a:pt x="6937" y="2811"/>
                            <a:pt x="6937" y="2691"/>
                            <a:pt x="6878" y="2632"/>
                          </a:cubicBezTo>
                          <a:cubicBezTo>
                            <a:pt x="6878" y="2572"/>
                            <a:pt x="6818" y="2452"/>
                            <a:pt x="6818" y="2392"/>
                          </a:cubicBezTo>
                          <a:cubicBezTo>
                            <a:pt x="6818" y="2332"/>
                            <a:pt x="6758" y="2273"/>
                            <a:pt x="6758" y="2153"/>
                          </a:cubicBezTo>
                          <a:cubicBezTo>
                            <a:pt x="6758" y="2093"/>
                            <a:pt x="6698" y="2033"/>
                            <a:pt x="6698" y="1914"/>
                          </a:cubicBezTo>
                          <a:cubicBezTo>
                            <a:pt x="6639" y="1794"/>
                            <a:pt x="6579" y="1674"/>
                            <a:pt x="6519" y="1555"/>
                          </a:cubicBezTo>
                          <a:cubicBezTo>
                            <a:pt x="6459" y="1435"/>
                            <a:pt x="6399" y="1316"/>
                            <a:pt x="6340" y="1256"/>
                          </a:cubicBezTo>
                          <a:cubicBezTo>
                            <a:pt x="6280" y="1196"/>
                            <a:pt x="6220" y="1076"/>
                            <a:pt x="6100" y="957"/>
                          </a:cubicBezTo>
                          <a:cubicBezTo>
                            <a:pt x="6041" y="897"/>
                            <a:pt x="5921" y="778"/>
                            <a:pt x="5861" y="718"/>
                          </a:cubicBezTo>
                          <a:cubicBezTo>
                            <a:pt x="5801" y="658"/>
                            <a:pt x="5682" y="598"/>
                            <a:pt x="5622" y="538"/>
                          </a:cubicBezTo>
                          <a:cubicBezTo>
                            <a:pt x="5562" y="478"/>
                            <a:pt x="5442" y="419"/>
                            <a:pt x="5382" y="359"/>
                          </a:cubicBezTo>
                          <a:cubicBezTo>
                            <a:pt x="5263" y="299"/>
                            <a:pt x="5203" y="239"/>
                            <a:pt x="5083" y="239"/>
                          </a:cubicBezTo>
                          <a:cubicBezTo>
                            <a:pt x="4964" y="179"/>
                            <a:pt x="4904" y="179"/>
                            <a:pt x="4785" y="119"/>
                          </a:cubicBezTo>
                          <a:cubicBezTo>
                            <a:pt x="4545" y="60"/>
                            <a:pt x="4306" y="0"/>
                            <a:pt x="4127" y="0"/>
                          </a:cubicBezTo>
                          <a:cubicBezTo>
                            <a:pt x="3887" y="0"/>
                            <a:pt x="3648" y="0"/>
                            <a:pt x="3469" y="0"/>
                          </a:cubicBezTo>
                          <a:cubicBezTo>
                            <a:pt x="3229" y="0"/>
                            <a:pt x="3050" y="60"/>
                            <a:pt x="2811" y="179"/>
                          </a:cubicBezTo>
                          <a:cubicBezTo>
                            <a:pt x="2572" y="239"/>
                            <a:pt x="2392" y="359"/>
                            <a:pt x="2153" y="478"/>
                          </a:cubicBezTo>
                          <a:cubicBezTo>
                            <a:pt x="1914" y="598"/>
                            <a:pt x="1734" y="778"/>
                            <a:pt x="1555" y="897"/>
                          </a:cubicBezTo>
                          <a:cubicBezTo>
                            <a:pt x="1375" y="1017"/>
                            <a:pt x="1196" y="1256"/>
                            <a:pt x="1017" y="1435"/>
                          </a:cubicBezTo>
                          <a:cubicBezTo>
                            <a:pt x="837" y="1615"/>
                            <a:pt x="718" y="1854"/>
                            <a:pt x="598" y="2033"/>
                          </a:cubicBezTo>
                          <a:cubicBezTo>
                            <a:pt x="479" y="2213"/>
                            <a:pt x="359" y="2452"/>
                            <a:pt x="299" y="2691"/>
                          </a:cubicBezTo>
                          <a:cubicBezTo>
                            <a:pt x="299" y="2751"/>
                            <a:pt x="239" y="2811"/>
                            <a:pt x="239" y="2930"/>
                          </a:cubicBezTo>
                          <a:cubicBezTo>
                            <a:pt x="239" y="2990"/>
                            <a:pt x="179" y="3050"/>
                            <a:pt x="179" y="3170"/>
                          </a:cubicBezTo>
                          <a:cubicBezTo>
                            <a:pt x="179" y="3289"/>
                            <a:pt x="119" y="3289"/>
                            <a:pt x="119" y="3409"/>
                          </a:cubicBezTo>
                          <a:cubicBezTo>
                            <a:pt x="119" y="3528"/>
                            <a:pt x="119" y="3528"/>
                            <a:pt x="60" y="3648"/>
                          </a:cubicBezTo>
                          <a:cubicBezTo>
                            <a:pt x="60" y="3827"/>
                            <a:pt x="0" y="3947"/>
                            <a:pt x="0" y="4127"/>
                          </a:cubicBezTo>
                          <a:cubicBezTo>
                            <a:pt x="0" y="4306"/>
                            <a:pt x="0" y="4426"/>
                            <a:pt x="0" y="4605"/>
                          </a:cubicBezTo>
                          <a:cubicBezTo>
                            <a:pt x="0" y="4785"/>
                            <a:pt x="60" y="4904"/>
                            <a:pt x="60" y="5083"/>
                          </a:cubicBezTo>
                          <a:cubicBezTo>
                            <a:pt x="119" y="5263"/>
                            <a:pt x="119" y="5382"/>
                            <a:pt x="179" y="5502"/>
                          </a:cubicBezTo>
                          <a:cubicBezTo>
                            <a:pt x="179" y="5502"/>
                            <a:pt x="179" y="5562"/>
                            <a:pt x="179" y="5562"/>
                          </a:cubicBezTo>
                          <a:cubicBezTo>
                            <a:pt x="179" y="5562"/>
                            <a:pt x="179" y="5622"/>
                            <a:pt x="179" y="5622"/>
                          </a:cubicBezTo>
                          <a:cubicBezTo>
                            <a:pt x="179" y="5622"/>
                            <a:pt x="179" y="5682"/>
                            <a:pt x="179" y="5682"/>
                          </a:cubicBezTo>
                          <a:cubicBezTo>
                            <a:pt x="179" y="5682"/>
                            <a:pt x="179" y="5741"/>
                            <a:pt x="179" y="5741"/>
                          </a:cubicBezTo>
                          <a:cubicBezTo>
                            <a:pt x="239" y="5861"/>
                            <a:pt x="299" y="5921"/>
                            <a:pt x="359" y="6041"/>
                          </a:cubicBezTo>
                          <a:cubicBezTo>
                            <a:pt x="419" y="6160"/>
                            <a:pt x="479" y="6220"/>
                            <a:pt x="538" y="6340"/>
                          </a:cubicBezTo>
                          <a:cubicBezTo>
                            <a:pt x="598" y="6459"/>
                            <a:pt x="658" y="6519"/>
                            <a:pt x="778" y="6579"/>
                          </a:cubicBezTo>
                          <a:cubicBezTo>
                            <a:pt x="1076" y="6997"/>
                            <a:pt x="1136" y="7117"/>
                            <a:pt x="1256" y="7177"/>
                          </a:cubicBezTo>
                        </a:path>
                      </a:pathLst>
                    </a:custGeom>
                    <a:noFill/>
                    <a:ln w="6350" cap="flat">
                      <a:solidFill>
                        <a:schemeClr val="bg1">
                          <a:alpha val="80000"/>
                        </a:schemeClr>
                      </a:solidFill>
                      <a:prstDash val="solid"/>
                      <a:miter/>
                    </a:ln>
                  </p:spPr>
                  <p:txBody>
                    <a:bodyPr rtlCol="0" anchor="ctr"/>
                    <a:lstStyle/>
                    <a:p>
                      <a:endParaRPr lang="en-GB"/>
                    </a:p>
                  </p:txBody>
                </p:sp>
                <p:sp>
                  <p:nvSpPr>
                    <p:cNvPr id="7446" name="Vrije vorm: vorm 7445">
                      <a:extLst>
                        <a:ext uri="{FF2B5EF4-FFF2-40B4-BE49-F238E27FC236}">
                          <a16:creationId xmlns:a16="http://schemas.microsoft.com/office/drawing/2014/main" id="{D4683B30-F5CD-4FAB-94B7-48606EF8325B}"/>
                        </a:ext>
                      </a:extLst>
                    </p:cNvPr>
                    <p:cNvSpPr/>
                    <p:nvPr/>
                  </p:nvSpPr>
                  <p:spPr>
                    <a:xfrm>
                      <a:off x="5070057" y="4958238"/>
                      <a:ext cx="6997" cy="7421"/>
                    </a:xfrm>
                    <a:custGeom>
                      <a:avLst/>
                      <a:gdLst>
                        <a:gd name="connsiteX0" fmla="*/ 1973 w 6997"/>
                        <a:gd name="connsiteY0" fmla="*/ 5861 h 7421"/>
                        <a:gd name="connsiteX1" fmla="*/ 1973 w 6997"/>
                        <a:gd name="connsiteY1" fmla="*/ 5861 h 7421"/>
                        <a:gd name="connsiteX2" fmla="*/ 1914 w 6997"/>
                        <a:gd name="connsiteY2" fmla="*/ 5801 h 7421"/>
                        <a:gd name="connsiteX3" fmla="*/ 1854 w 6997"/>
                        <a:gd name="connsiteY3" fmla="*/ 5801 h 7421"/>
                        <a:gd name="connsiteX4" fmla="*/ 1794 w 6997"/>
                        <a:gd name="connsiteY4" fmla="*/ 5741 h 7421"/>
                        <a:gd name="connsiteX5" fmla="*/ 1615 w 6997"/>
                        <a:gd name="connsiteY5" fmla="*/ 5562 h 7421"/>
                        <a:gd name="connsiteX6" fmla="*/ 1495 w 6997"/>
                        <a:gd name="connsiteY6" fmla="*/ 5382 h 7421"/>
                        <a:gd name="connsiteX7" fmla="*/ 1375 w 6997"/>
                        <a:gd name="connsiteY7" fmla="*/ 5203 h 7421"/>
                        <a:gd name="connsiteX8" fmla="*/ 1256 w 6997"/>
                        <a:gd name="connsiteY8" fmla="*/ 5024 h 7421"/>
                        <a:gd name="connsiteX9" fmla="*/ 1256 w 6997"/>
                        <a:gd name="connsiteY9" fmla="*/ 4964 h 7421"/>
                        <a:gd name="connsiteX10" fmla="*/ 1256 w 6997"/>
                        <a:gd name="connsiteY10" fmla="*/ 4904 h 7421"/>
                        <a:gd name="connsiteX11" fmla="*/ 1256 w 6997"/>
                        <a:gd name="connsiteY11" fmla="*/ 4844 h 7421"/>
                        <a:gd name="connsiteX12" fmla="*/ 1256 w 6997"/>
                        <a:gd name="connsiteY12" fmla="*/ 4785 h 7421"/>
                        <a:gd name="connsiteX13" fmla="*/ 1196 w 6997"/>
                        <a:gd name="connsiteY13" fmla="*/ 4605 h 7421"/>
                        <a:gd name="connsiteX14" fmla="*/ 1136 w 6997"/>
                        <a:gd name="connsiteY14" fmla="*/ 4426 h 7421"/>
                        <a:gd name="connsiteX15" fmla="*/ 1136 w 6997"/>
                        <a:gd name="connsiteY15" fmla="*/ 4246 h 7421"/>
                        <a:gd name="connsiteX16" fmla="*/ 1136 w 6997"/>
                        <a:gd name="connsiteY16" fmla="*/ 4067 h 7421"/>
                        <a:gd name="connsiteX17" fmla="*/ 1136 w 6997"/>
                        <a:gd name="connsiteY17" fmla="*/ 3828 h 7421"/>
                        <a:gd name="connsiteX18" fmla="*/ 1136 w 6997"/>
                        <a:gd name="connsiteY18" fmla="*/ 3588 h 7421"/>
                        <a:gd name="connsiteX19" fmla="*/ 1196 w 6997"/>
                        <a:gd name="connsiteY19" fmla="*/ 3349 h 7421"/>
                        <a:gd name="connsiteX20" fmla="*/ 1256 w 6997"/>
                        <a:gd name="connsiteY20" fmla="*/ 3110 h 7421"/>
                        <a:gd name="connsiteX21" fmla="*/ 1256 w 6997"/>
                        <a:gd name="connsiteY21" fmla="*/ 3050 h 7421"/>
                        <a:gd name="connsiteX22" fmla="*/ 1256 w 6997"/>
                        <a:gd name="connsiteY22" fmla="*/ 2990 h 7421"/>
                        <a:gd name="connsiteX23" fmla="*/ 1256 w 6997"/>
                        <a:gd name="connsiteY23" fmla="*/ 2930 h 7421"/>
                        <a:gd name="connsiteX24" fmla="*/ 1256 w 6997"/>
                        <a:gd name="connsiteY24" fmla="*/ 2871 h 7421"/>
                        <a:gd name="connsiteX25" fmla="*/ 1435 w 6997"/>
                        <a:gd name="connsiteY25" fmla="*/ 2452 h 7421"/>
                        <a:gd name="connsiteX26" fmla="*/ 1674 w 6997"/>
                        <a:gd name="connsiteY26" fmla="*/ 2093 h 7421"/>
                        <a:gd name="connsiteX27" fmla="*/ 1973 w 6997"/>
                        <a:gd name="connsiteY27" fmla="*/ 1794 h 7421"/>
                        <a:gd name="connsiteX28" fmla="*/ 2332 w 6997"/>
                        <a:gd name="connsiteY28" fmla="*/ 1555 h 7421"/>
                        <a:gd name="connsiteX29" fmla="*/ 2751 w 6997"/>
                        <a:gd name="connsiteY29" fmla="*/ 1375 h 7421"/>
                        <a:gd name="connsiteX30" fmla="*/ 3229 w 6997"/>
                        <a:gd name="connsiteY30" fmla="*/ 1256 h 7421"/>
                        <a:gd name="connsiteX31" fmla="*/ 3708 w 6997"/>
                        <a:gd name="connsiteY31" fmla="*/ 1256 h 7421"/>
                        <a:gd name="connsiteX32" fmla="*/ 4126 w 6997"/>
                        <a:gd name="connsiteY32" fmla="*/ 1375 h 7421"/>
                        <a:gd name="connsiteX33" fmla="*/ 4366 w 6997"/>
                        <a:gd name="connsiteY33" fmla="*/ 1435 h 7421"/>
                        <a:gd name="connsiteX34" fmla="*/ 4545 w 6997"/>
                        <a:gd name="connsiteY34" fmla="*/ 1555 h 7421"/>
                        <a:gd name="connsiteX35" fmla="*/ 4725 w 6997"/>
                        <a:gd name="connsiteY35" fmla="*/ 1674 h 7421"/>
                        <a:gd name="connsiteX36" fmla="*/ 4904 w 6997"/>
                        <a:gd name="connsiteY36" fmla="*/ 1794 h 7421"/>
                        <a:gd name="connsiteX37" fmla="*/ 5083 w 6997"/>
                        <a:gd name="connsiteY37" fmla="*/ 1973 h 7421"/>
                        <a:gd name="connsiteX38" fmla="*/ 5203 w 6997"/>
                        <a:gd name="connsiteY38" fmla="*/ 2153 h 7421"/>
                        <a:gd name="connsiteX39" fmla="*/ 5323 w 6997"/>
                        <a:gd name="connsiteY39" fmla="*/ 2333 h 7421"/>
                        <a:gd name="connsiteX40" fmla="*/ 5442 w 6997"/>
                        <a:gd name="connsiteY40" fmla="*/ 2512 h 7421"/>
                        <a:gd name="connsiteX41" fmla="*/ 5562 w 6997"/>
                        <a:gd name="connsiteY41" fmla="*/ 2990 h 7421"/>
                        <a:gd name="connsiteX42" fmla="*/ 5622 w 6997"/>
                        <a:gd name="connsiteY42" fmla="*/ 3469 h 7421"/>
                        <a:gd name="connsiteX43" fmla="*/ 5622 w 6997"/>
                        <a:gd name="connsiteY43" fmla="*/ 3947 h 7421"/>
                        <a:gd name="connsiteX44" fmla="*/ 5502 w 6997"/>
                        <a:gd name="connsiteY44" fmla="*/ 4426 h 7421"/>
                        <a:gd name="connsiteX45" fmla="*/ 4964 w 6997"/>
                        <a:gd name="connsiteY45" fmla="*/ 5323 h 7421"/>
                        <a:gd name="connsiteX46" fmla="*/ 4246 w 6997"/>
                        <a:gd name="connsiteY46" fmla="*/ 5981 h 7421"/>
                        <a:gd name="connsiteX47" fmla="*/ 3349 w 6997"/>
                        <a:gd name="connsiteY47" fmla="*/ 6280 h 7421"/>
                        <a:gd name="connsiteX48" fmla="*/ 2452 w 6997"/>
                        <a:gd name="connsiteY48" fmla="*/ 6220 h 7421"/>
                        <a:gd name="connsiteX49" fmla="*/ 2272 w 6997"/>
                        <a:gd name="connsiteY49" fmla="*/ 6160 h 7421"/>
                        <a:gd name="connsiteX50" fmla="*/ 2093 w 6997"/>
                        <a:gd name="connsiteY50" fmla="*/ 6100 h 7421"/>
                        <a:gd name="connsiteX51" fmla="*/ 1914 w 6997"/>
                        <a:gd name="connsiteY51" fmla="*/ 6041 h 7421"/>
                        <a:gd name="connsiteX52" fmla="*/ 1973 w 6997"/>
                        <a:gd name="connsiteY52" fmla="*/ 5861 h 7421"/>
                        <a:gd name="connsiteX53" fmla="*/ 1076 w 6997"/>
                        <a:gd name="connsiteY53" fmla="*/ 6758 h 7421"/>
                        <a:gd name="connsiteX54" fmla="*/ 1196 w 6997"/>
                        <a:gd name="connsiteY54" fmla="*/ 6818 h 7421"/>
                        <a:gd name="connsiteX55" fmla="*/ 1316 w 6997"/>
                        <a:gd name="connsiteY55" fmla="*/ 6878 h 7421"/>
                        <a:gd name="connsiteX56" fmla="*/ 1435 w 6997"/>
                        <a:gd name="connsiteY56" fmla="*/ 6937 h 7421"/>
                        <a:gd name="connsiteX57" fmla="*/ 1555 w 6997"/>
                        <a:gd name="connsiteY57" fmla="*/ 6997 h 7421"/>
                        <a:gd name="connsiteX58" fmla="*/ 1734 w 6997"/>
                        <a:gd name="connsiteY58" fmla="*/ 7117 h 7421"/>
                        <a:gd name="connsiteX59" fmla="*/ 1914 w 6997"/>
                        <a:gd name="connsiteY59" fmla="*/ 7177 h 7421"/>
                        <a:gd name="connsiteX60" fmla="*/ 2093 w 6997"/>
                        <a:gd name="connsiteY60" fmla="*/ 7236 h 7421"/>
                        <a:gd name="connsiteX61" fmla="*/ 2272 w 6997"/>
                        <a:gd name="connsiteY61" fmla="*/ 7296 h 7421"/>
                        <a:gd name="connsiteX62" fmla="*/ 3648 w 6997"/>
                        <a:gd name="connsiteY62" fmla="*/ 7356 h 7421"/>
                        <a:gd name="connsiteX63" fmla="*/ 4964 w 6997"/>
                        <a:gd name="connsiteY63" fmla="*/ 6878 h 7421"/>
                        <a:gd name="connsiteX64" fmla="*/ 6040 w 6997"/>
                        <a:gd name="connsiteY64" fmla="*/ 5921 h 7421"/>
                        <a:gd name="connsiteX65" fmla="*/ 6758 w 6997"/>
                        <a:gd name="connsiteY65" fmla="*/ 4605 h 7421"/>
                        <a:gd name="connsiteX66" fmla="*/ 6937 w 6997"/>
                        <a:gd name="connsiteY66" fmla="*/ 3887 h 7421"/>
                        <a:gd name="connsiteX67" fmla="*/ 6997 w 6997"/>
                        <a:gd name="connsiteY67" fmla="*/ 3170 h 7421"/>
                        <a:gd name="connsiteX68" fmla="*/ 6937 w 6997"/>
                        <a:gd name="connsiteY68" fmla="*/ 2452 h 7421"/>
                        <a:gd name="connsiteX69" fmla="*/ 6758 w 6997"/>
                        <a:gd name="connsiteY69" fmla="*/ 1794 h 7421"/>
                        <a:gd name="connsiteX70" fmla="*/ 6579 w 6997"/>
                        <a:gd name="connsiteY70" fmla="*/ 1495 h 7421"/>
                        <a:gd name="connsiteX71" fmla="*/ 6399 w 6997"/>
                        <a:gd name="connsiteY71" fmla="*/ 1196 h 7421"/>
                        <a:gd name="connsiteX72" fmla="*/ 6160 w 6997"/>
                        <a:gd name="connsiteY72" fmla="*/ 957 h 7421"/>
                        <a:gd name="connsiteX73" fmla="*/ 5921 w 6997"/>
                        <a:gd name="connsiteY73" fmla="*/ 718 h 7421"/>
                        <a:gd name="connsiteX74" fmla="*/ 5681 w 6997"/>
                        <a:gd name="connsiteY74" fmla="*/ 538 h 7421"/>
                        <a:gd name="connsiteX75" fmla="*/ 5442 w 6997"/>
                        <a:gd name="connsiteY75" fmla="*/ 359 h 7421"/>
                        <a:gd name="connsiteX76" fmla="*/ 5143 w 6997"/>
                        <a:gd name="connsiteY76" fmla="*/ 239 h 7421"/>
                        <a:gd name="connsiteX77" fmla="*/ 4844 w 6997"/>
                        <a:gd name="connsiteY77" fmla="*/ 119 h 7421"/>
                        <a:gd name="connsiteX78" fmla="*/ 4186 w 6997"/>
                        <a:gd name="connsiteY78" fmla="*/ 0 h 7421"/>
                        <a:gd name="connsiteX79" fmla="*/ 3528 w 6997"/>
                        <a:gd name="connsiteY79" fmla="*/ 0 h 7421"/>
                        <a:gd name="connsiteX80" fmla="*/ 2871 w 6997"/>
                        <a:gd name="connsiteY80" fmla="*/ 179 h 7421"/>
                        <a:gd name="connsiteX81" fmla="*/ 2213 w 6997"/>
                        <a:gd name="connsiteY81" fmla="*/ 538 h 7421"/>
                        <a:gd name="connsiteX82" fmla="*/ 1674 w 6997"/>
                        <a:gd name="connsiteY82" fmla="*/ 897 h 7421"/>
                        <a:gd name="connsiteX83" fmla="*/ 1196 w 6997"/>
                        <a:gd name="connsiteY83" fmla="*/ 1375 h 7421"/>
                        <a:gd name="connsiteX84" fmla="*/ 777 w 6997"/>
                        <a:gd name="connsiteY84" fmla="*/ 1914 h 7421"/>
                        <a:gd name="connsiteX85" fmla="*/ 478 w 6997"/>
                        <a:gd name="connsiteY85" fmla="*/ 2512 h 7421"/>
                        <a:gd name="connsiteX86" fmla="*/ 418 w 6997"/>
                        <a:gd name="connsiteY86" fmla="*/ 2572 h 7421"/>
                        <a:gd name="connsiteX87" fmla="*/ 359 w 6997"/>
                        <a:gd name="connsiteY87" fmla="*/ 2632 h 7421"/>
                        <a:gd name="connsiteX88" fmla="*/ 299 w 6997"/>
                        <a:gd name="connsiteY88" fmla="*/ 2691 h 7421"/>
                        <a:gd name="connsiteX89" fmla="*/ 239 w 6997"/>
                        <a:gd name="connsiteY89" fmla="*/ 2751 h 7421"/>
                        <a:gd name="connsiteX90" fmla="*/ 179 w 6997"/>
                        <a:gd name="connsiteY90" fmla="*/ 2990 h 7421"/>
                        <a:gd name="connsiteX91" fmla="*/ 119 w 6997"/>
                        <a:gd name="connsiteY91" fmla="*/ 3229 h 7421"/>
                        <a:gd name="connsiteX92" fmla="*/ 60 w 6997"/>
                        <a:gd name="connsiteY92" fmla="*/ 3469 h 7421"/>
                        <a:gd name="connsiteX93" fmla="*/ 0 w 6997"/>
                        <a:gd name="connsiteY93" fmla="*/ 3708 h 7421"/>
                        <a:gd name="connsiteX94" fmla="*/ 0 w 6997"/>
                        <a:gd name="connsiteY94" fmla="*/ 4187 h 7421"/>
                        <a:gd name="connsiteX95" fmla="*/ 60 w 6997"/>
                        <a:gd name="connsiteY95" fmla="*/ 4665 h 7421"/>
                        <a:gd name="connsiteX96" fmla="*/ 179 w 6997"/>
                        <a:gd name="connsiteY96" fmla="*/ 5143 h 7421"/>
                        <a:gd name="connsiteX97" fmla="*/ 359 w 6997"/>
                        <a:gd name="connsiteY97" fmla="*/ 5622 h 7421"/>
                        <a:gd name="connsiteX98" fmla="*/ 418 w 6997"/>
                        <a:gd name="connsiteY98" fmla="*/ 5801 h 7421"/>
                        <a:gd name="connsiteX99" fmla="*/ 478 w 6997"/>
                        <a:gd name="connsiteY99" fmla="*/ 5981 h 7421"/>
                        <a:gd name="connsiteX100" fmla="*/ 598 w 6997"/>
                        <a:gd name="connsiteY100" fmla="*/ 6160 h 7421"/>
                        <a:gd name="connsiteX101" fmla="*/ 718 w 6997"/>
                        <a:gd name="connsiteY101" fmla="*/ 6280 h 7421"/>
                        <a:gd name="connsiteX102" fmla="*/ 837 w 6997"/>
                        <a:gd name="connsiteY102" fmla="*/ 6399 h 7421"/>
                        <a:gd name="connsiteX103" fmla="*/ 957 w 6997"/>
                        <a:gd name="connsiteY103" fmla="*/ 6519 h 7421"/>
                        <a:gd name="connsiteX104" fmla="*/ 1076 w 6997"/>
                        <a:gd name="connsiteY104" fmla="*/ 6639 h 7421"/>
                        <a:gd name="connsiteX105" fmla="*/ 1076 w 6997"/>
                        <a:gd name="connsiteY105" fmla="*/ 6758 h 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997" h="7421">
                          <a:moveTo>
                            <a:pt x="1973" y="5861"/>
                          </a:moveTo>
                          <a:cubicBezTo>
                            <a:pt x="1973" y="5861"/>
                            <a:pt x="1914" y="5801"/>
                            <a:pt x="1973" y="5861"/>
                          </a:cubicBezTo>
                          <a:cubicBezTo>
                            <a:pt x="1914" y="5801"/>
                            <a:pt x="1914" y="5801"/>
                            <a:pt x="1914" y="5801"/>
                          </a:cubicBezTo>
                          <a:cubicBezTo>
                            <a:pt x="1914" y="5801"/>
                            <a:pt x="1914" y="5801"/>
                            <a:pt x="1854" y="5801"/>
                          </a:cubicBezTo>
                          <a:cubicBezTo>
                            <a:pt x="1854" y="5801"/>
                            <a:pt x="1854" y="5801"/>
                            <a:pt x="1794" y="5741"/>
                          </a:cubicBezTo>
                          <a:cubicBezTo>
                            <a:pt x="1734" y="5682"/>
                            <a:pt x="1674" y="5622"/>
                            <a:pt x="1615" y="5562"/>
                          </a:cubicBezTo>
                          <a:cubicBezTo>
                            <a:pt x="1555" y="5502"/>
                            <a:pt x="1495" y="5442"/>
                            <a:pt x="1495" y="5382"/>
                          </a:cubicBezTo>
                          <a:cubicBezTo>
                            <a:pt x="1435" y="5323"/>
                            <a:pt x="1435" y="5263"/>
                            <a:pt x="1375" y="5203"/>
                          </a:cubicBezTo>
                          <a:cubicBezTo>
                            <a:pt x="1316" y="5143"/>
                            <a:pt x="1316" y="5083"/>
                            <a:pt x="1256" y="5024"/>
                          </a:cubicBezTo>
                          <a:cubicBezTo>
                            <a:pt x="1256" y="5024"/>
                            <a:pt x="1256" y="4964"/>
                            <a:pt x="1256" y="4964"/>
                          </a:cubicBezTo>
                          <a:cubicBezTo>
                            <a:pt x="1256" y="4964"/>
                            <a:pt x="1256" y="4904"/>
                            <a:pt x="1256" y="4904"/>
                          </a:cubicBezTo>
                          <a:cubicBezTo>
                            <a:pt x="1256" y="4904"/>
                            <a:pt x="1256" y="4844"/>
                            <a:pt x="1256" y="4844"/>
                          </a:cubicBezTo>
                          <a:cubicBezTo>
                            <a:pt x="1256" y="4844"/>
                            <a:pt x="1256" y="4785"/>
                            <a:pt x="1256" y="4785"/>
                          </a:cubicBezTo>
                          <a:cubicBezTo>
                            <a:pt x="1256" y="4725"/>
                            <a:pt x="1196" y="4665"/>
                            <a:pt x="1196" y="4605"/>
                          </a:cubicBezTo>
                          <a:cubicBezTo>
                            <a:pt x="1196" y="4545"/>
                            <a:pt x="1196" y="4486"/>
                            <a:pt x="1136" y="4426"/>
                          </a:cubicBezTo>
                          <a:cubicBezTo>
                            <a:pt x="1136" y="4366"/>
                            <a:pt x="1136" y="4306"/>
                            <a:pt x="1136" y="4246"/>
                          </a:cubicBezTo>
                          <a:cubicBezTo>
                            <a:pt x="1136" y="4187"/>
                            <a:pt x="1136" y="4127"/>
                            <a:pt x="1136" y="4067"/>
                          </a:cubicBezTo>
                          <a:cubicBezTo>
                            <a:pt x="1136" y="4007"/>
                            <a:pt x="1136" y="3887"/>
                            <a:pt x="1136" y="3828"/>
                          </a:cubicBezTo>
                          <a:cubicBezTo>
                            <a:pt x="1136" y="3768"/>
                            <a:pt x="1136" y="3648"/>
                            <a:pt x="1136" y="3588"/>
                          </a:cubicBezTo>
                          <a:cubicBezTo>
                            <a:pt x="1136" y="3528"/>
                            <a:pt x="1136" y="3409"/>
                            <a:pt x="1196" y="3349"/>
                          </a:cubicBezTo>
                          <a:cubicBezTo>
                            <a:pt x="1196" y="3289"/>
                            <a:pt x="1256" y="3170"/>
                            <a:pt x="1256" y="3110"/>
                          </a:cubicBezTo>
                          <a:cubicBezTo>
                            <a:pt x="1256" y="3110"/>
                            <a:pt x="1256" y="3050"/>
                            <a:pt x="1256" y="3050"/>
                          </a:cubicBezTo>
                          <a:cubicBezTo>
                            <a:pt x="1256" y="3050"/>
                            <a:pt x="1256" y="2990"/>
                            <a:pt x="1256" y="2990"/>
                          </a:cubicBezTo>
                          <a:cubicBezTo>
                            <a:pt x="1256" y="2990"/>
                            <a:pt x="1256" y="2930"/>
                            <a:pt x="1256" y="2930"/>
                          </a:cubicBezTo>
                          <a:cubicBezTo>
                            <a:pt x="1256" y="2930"/>
                            <a:pt x="1256" y="2871"/>
                            <a:pt x="1256" y="2871"/>
                          </a:cubicBezTo>
                          <a:cubicBezTo>
                            <a:pt x="1316" y="2751"/>
                            <a:pt x="1375" y="2572"/>
                            <a:pt x="1435" y="2452"/>
                          </a:cubicBezTo>
                          <a:cubicBezTo>
                            <a:pt x="1495" y="2333"/>
                            <a:pt x="1615" y="2213"/>
                            <a:pt x="1674" y="2093"/>
                          </a:cubicBezTo>
                          <a:cubicBezTo>
                            <a:pt x="1734" y="1973"/>
                            <a:pt x="1854" y="1854"/>
                            <a:pt x="1973" y="1794"/>
                          </a:cubicBezTo>
                          <a:cubicBezTo>
                            <a:pt x="2093" y="1674"/>
                            <a:pt x="2213" y="1615"/>
                            <a:pt x="2332" y="1555"/>
                          </a:cubicBezTo>
                          <a:cubicBezTo>
                            <a:pt x="2452" y="1495"/>
                            <a:pt x="2631" y="1435"/>
                            <a:pt x="2751" y="1375"/>
                          </a:cubicBezTo>
                          <a:cubicBezTo>
                            <a:pt x="2871" y="1316"/>
                            <a:pt x="3050" y="1316"/>
                            <a:pt x="3229" y="1256"/>
                          </a:cubicBezTo>
                          <a:cubicBezTo>
                            <a:pt x="3409" y="1256"/>
                            <a:pt x="3528" y="1256"/>
                            <a:pt x="3708" y="1256"/>
                          </a:cubicBezTo>
                          <a:cubicBezTo>
                            <a:pt x="3887" y="1256"/>
                            <a:pt x="4007" y="1316"/>
                            <a:pt x="4126" y="1375"/>
                          </a:cubicBezTo>
                          <a:cubicBezTo>
                            <a:pt x="4186" y="1375"/>
                            <a:pt x="4246" y="1435"/>
                            <a:pt x="4366" y="1435"/>
                          </a:cubicBezTo>
                          <a:cubicBezTo>
                            <a:pt x="4426" y="1435"/>
                            <a:pt x="4486" y="1495"/>
                            <a:pt x="4545" y="1555"/>
                          </a:cubicBezTo>
                          <a:cubicBezTo>
                            <a:pt x="4605" y="1615"/>
                            <a:pt x="4665" y="1615"/>
                            <a:pt x="4725" y="1674"/>
                          </a:cubicBezTo>
                          <a:cubicBezTo>
                            <a:pt x="4785" y="1734"/>
                            <a:pt x="4844" y="1734"/>
                            <a:pt x="4904" y="1794"/>
                          </a:cubicBezTo>
                          <a:cubicBezTo>
                            <a:pt x="4964" y="1854"/>
                            <a:pt x="5024" y="1914"/>
                            <a:pt x="5083" y="1973"/>
                          </a:cubicBezTo>
                          <a:cubicBezTo>
                            <a:pt x="5143" y="2033"/>
                            <a:pt x="5203" y="2093"/>
                            <a:pt x="5203" y="2153"/>
                          </a:cubicBezTo>
                          <a:cubicBezTo>
                            <a:pt x="5263" y="2213"/>
                            <a:pt x="5263" y="2273"/>
                            <a:pt x="5323" y="2333"/>
                          </a:cubicBezTo>
                          <a:cubicBezTo>
                            <a:pt x="5382" y="2392"/>
                            <a:pt x="5382" y="2452"/>
                            <a:pt x="5442" y="2512"/>
                          </a:cubicBezTo>
                          <a:cubicBezTo>
                            <a:pt x="5502" y="2691"/>
                            <a:pt x="5562" y="2811"/>
                            <a:pt x="5562" y="2990"/>
                          </a:cubicBezTo>
                          <a:cubicBezTo>
                            <a:pt x="5562" y="3170"/>
                            <a:pt x="5622" y="3289"/>
                            <a:pt x="5622" y="3469"/>
                          </a:cubicBezTo>
                          <a:cubicBezTo>
                            <a:pt x="5622" y="3648"/>
                            <a:pt x="5622" y="3768"/>
                            <a:pt x="5622" y="3947"/>
                          </a:cubicBezTo>
                          <a:cubicBezTo>
                            <a:pt x="5622" y="4127"/>
                            <a:pt x="5562" y="4306"/>
                            <a:pt x="5502" y="4426"/>
                          </a:cubicBezTo>
                          <a:cubicBezTo>
                            <a:pt x="5382" y="4785"/>
                            <a:pt x="5203" y="5083"/>
                            <a:pt x="4964" y="5323"/>
                          </a:cubicBezTo>
                          <a:cubicBezTo>
                            <a:pt x="4725" y="5562"/>
                            <a:pt x="4486" y="5801"/>
                            <a:pt x="4246" y="5981"/>
                          </a:cubicBezTo>
                          <a:cubicBezTo>
                            <a:pt x="4007" y="6160"/>
                            <a:pt x="3708" y="6220"/>
                            <a:pt x="3349" y="6280"/>
                          </a:cubicBezTo>
                          <a:cubicBezTo>
                            <a:pt x="3050" y="6340"/>
                            <a:pt x="2751" y="6280"/>
                            <a:pt x="2452" y="6220"/>
                          </a:cubicBezTo>
                          <a:cubicBezTo>
                            <a:pt x="2392" y="6220"/>
                            <a:pt x="2332" y="6160"/>
                            <a:pt x="2272" y="6160"/>
                          </a:cubicBezTo>
                          <a:cubicBezTo>
                            <a:pt x="2213" y="6160"/>
                            <a:pt x="2153" y="6100"/>
                            <a:pt x="2093" y="6100"/>
                          </a:cubicBezTo>
                          <a:cubicBezTo>
                            <a:pt x="2033" y="6100"/>
                            <a:pt x="1973" y="6041"/>
                            <a:pt x="1914" y="6041"/>
                          </a:cubicBezTo>
                          <a:cubicBezTo>
                            <a:pt x="2033" y="5921"/>
                            <a:pt x="2033" y="5861"/>
                            <a:pt x="1973" y="5861"/>
                          </a:cubicBezTo>
                          <a:moveTo>
                            <a:pt x="1076" y="6758"/>
                          </a:moveTo>
                          <a:cubicBezTo>
                            <a:pt x="1136" y="6758"/>
                            <a:pt x="1136" y="6818"/>
                            <a:pt x="1196" y="6818"/>
                          </a:cubicBezTo>
                          <a:cubicBezTo>
                            <a:pt x="1256" y="6818"/>
                            <a:pt x="1256" y="6878"/>
                            <a:pt x="1316" y="6878"/>
                          </a:cubicBezTo>
                          <a:cubicBezTo>
                            <a:pt x="1375" y="6878"/>
                            <a:pt x="1375" y="6937"/>
                            <a:pt x="1435" y="6937"/>
                          </a:cubicBezTo>
                          <a:cubicBezTo>
                            <a:pt x="1495" y="6937"/>
                            <a:pt x="1495" y="6997"/>
                            <a:pt x="1555" y="6997"/>
                          </a:cubicBezTo>
                          <a:cubicBezTo>
                            <a:pt x="1615" y="7057"/>
                            <a:pt x="1674" y="7057"/>
                            <a:pt x="1734" y="7117"/>
                          </a:cubicBezTo>
                          <a:cubicBezTo>
                            <a:pt x="1794" y="7177"/>
                            <a:pt x="1854" y="7177"/>
                            <a:pt x="1914" y="7177"/>
                          </a:cubicBezTo>
                          <a:cubicBezTo>
                            <a:pt x="1973" y="7177"/>
                            <a:pt x="2033" y="7236"/>
                            <a:pt x="2093" y="7236"/>
                          </a:cubicBezTo>
                          <a:cubicBezTo>
                            <a:pt x="2153" y="7236"/>
                            <a:pt x="2213" y="7296"/>
                            <a:pt x="2272" y="7296"/>
                          </a:cubicBezTo>
                          <a:cubicBezTo>
                            <a:pt x="2691" y="7416"/>
                            <a:pt x="3170" y="7476"/>
                            <a:pt x="3648" y="7356"/>
                          </a:cubicBezTo>
                          <a:cubicBezTo>
                            <a:pt x="4126" y="7296"/>
                            <a:pt x="4545" y="7117"/>
                            <a:pt x="4964" y="6878"/>
                          </a:cubicBezTo>
                          <a:cubicBezTo>
                            <a:pt x="5382" y="6639"/>
                            <a:pt x="5741" y="6340"/>
                            <a:pt x="6040" y="5921"/>
                          </a:cubicBezTo>
                          <a:cubicBezTo>
                            <a:pt x="6340" y="5502"/>
                            <a:pt x="6579" y="5083"/>
                            <a:pt x="6758" y="4605"/>
                          </a:cubicBezTo>
                          <a:cubicBezTo>
                            <a:pt x="6818" y="4366"/>
                            <a:pt x="6878" y="4127"/>
                            <a:pt x="6937" y="3887"/>
                          </a:cubicBezTo>
                          <a:cubicBezTo>
                            <a:pt x="6997" y="3648"/>
                            <a:pt x="6997" y="3409"/>
                            <a:pt x="6997" y="3170"/>
                          </a:cubicBezTo>
                          <a:cubicBezTo>
                            <a:pt x="6997" y="2930"/>
                            <a:pt x="6937" y="2691"/>
                            <a:pt x="6937" y="2452"/>
                          </a:cubicBezTo>
                          <a:cubicBezTo>
                            <a:pt x="6937" y="2213"/>
                            <a:pt x="6818" y="1973"/>
                            <a:pt x="6758" y="1794"/>
                          </a:cubicBezTo>
                          <a:cubicBezTo>
                            <a:pt x="6698" y="1674"/>
                            <a:pt x="6639" y="1555"/>
                            <a:pt x="6579" y="1495"/>
                          </a:cubicBezTo>
                          <a:cubicBezTo>
                            <a:pt x="6519" y="1375"/>
                            <a:pt x="6459" y="1316"/>
                            <a:pt x="6399" y="1196"/>
                          </a:cubicBezTo>
                          <a:cubicBezTo>
                            <a:pt x="6340" y="1076"/>
                            <a:pt x="6280" y="1017"/>
                            <a:pt x="6160" y="957"/>
                          </a:cubicBezTo>
                          <a:cubicBezTo>
                            <a:pt x="6100" y="897"/>
                            <a:pt x="5981" y="778"/>
                            <a:pt x="5921" y="718"/>
                          </a:cubicBezTo>
                          <a:cubicBezTo>
                            <a:pt x="5861" y="658"/>
                            <a:pt x="5741" y="598"/>
                            <a:pt x="5681" y="538"/>
                          </a:cubicBezTo>
                          <a:cubicBezTo>
                            <a:pt x="5622" y="478"/>
                            <a:pt x="5502" y="419"/>
                            <a:pt x="5442" y="359"/>
                          </a:cubicBezTo>
                          <a:cubicBezTo>
                            <a:pt x="5382" y="299"/>
                            <a:pt x="5263" y="239"/>
                            <a:pt x="5143" y="239"/>
                          </a:cubicBezTo>
                          <a:cubicBezTo>
                            <a:pt x="5024" y="179"/>
                            <a:pt x="4964" y="179"/>
                            <a:pt x="4844" y="119"/>
                          </a:cubicBezTo>
                          <a:cubicBezTo>
                            <a:pt x="4605" y="60"/>
                            <a:pt x="4426" y="0"/>
                            <a:pt x="4186" y="0"/>
                          </a:cubicBezTo>
                          <a:cubicBezTo>
                            <a:pt x="3947" y="0"/>
                            <a:pt x="3768" y="0"/>
                            <a:pt x="3528" y="0"/>
                          </a:cubicBezTo>
                          <a:cubicBezTo>
                            <a:pt x="3289" y="60"/>
                            <a:pt x="3110" y="60"/>
                            <a:pt x="2871" y="179"/>
                          </a:cubicBezTo>
                          <a:cubicBezTo>
                            <a:pt x="2631" y="299"/>
                            <a:pt x="2452" y="359"/>
                            <a:pt x="2213" y="538"/>
                          </a:cubicBezTo>
                          <a:cubicBezTo>
                            <a:pt x="2033" y="658"/>
                            <a:pt x="1854" y="778"/>
                            <a:pt x="1674" y="897"/>
                          </a:cubicBezTo>
                          <a:cubicBezTo>
                            <a:pt x="1495" y="1017"/>
                            <a:pt x="1375" y="1196"/>
                            <a:pt x="1196" y="1375"/>
                          </a:cubicBezTo>
                          <a:cubicBezTo>
                            <a:pt x="1076" y="1555"/>
                            <a:pt x="897" y="1734"/>
                            <a:pt x="777" y="1914"/>
                          </a:cubicBezTo>
                          <a:cubicBezTo>
                            <a:pt x="658" y="2093"/>
                            <a:pt x="538" y="2273"/>
                            <a:pt x="478" y="2512"/>
                          </a:cubicBezTo>
                          <a:cubicBezTo>
                            <a:pt x="478" y="2512"/>
                            <a:pt x="478" y="2572"/>
                            <a:pt x="418" y="2572"/>
                          </a:cubicBezTo>
                          <a:cubicBezTo>
                            <a:pt x="418" y="2572"/>
                            <a:pt x="418" y="2632"/>
                            <a:pt x="359" y="2632"/>
                          </a:cubicBezTo>
                          <a:cubicBezTo>
                            <a:pt x="359" y="2632"/>
                            <a:pt x="359" y="2691"/>
                            <a:pt x="299" y="2691"/>
                          </a:cubicBezTo>
                          <a:cubicBezTo>
                            <a:pt x="239" y="2691"/>
                            <a:pt x="299" y="2751"/>
                            <a:pt x="239" y="2751"/>
                          </a:cubicBezTo>
                          <a:cubicBezTo>
                            <a:pt x="239" y="2811"/>
                            <a:pt x="179" y="2871"/>
                            <a:pt x="179" y="2990"/>
                          </a:cubicBezTo>
                          <a:cubicBezTo>
                            <a:pt x="179" y="3110"/>
                            <a:pt x="119" y="3170"/>
                            <a:pt x="119" y="3229"/>
                          </a:cubicBezTo>
                          <a:cubicBezTo>
                            <a:pt x="119" y="3289"/>
                            <a:pt x="60" y="3409"/>
                            <a:pt x="60" y="3469"/>
                          </a:cubicBezTo>
                          <a:cubicBezTo>
                            <a:pt x="60" y="3528"/>
                            <a:pt x="60" y="3648"/>
                            <a:pt x="0" y="3708"/>
                          </a:cubicBezTo>
                          <a:cubicBezTo>
                            <a:pt x="0" y="3887"/>
                            <a:pt x="0" y="4067"/>
                            <a:pt x="0" y="4187"/>
                          </a:cubicBezTo>
                          <a:cubicBezTo>
                            <a:pt x="0" y="4366"/>
                            <a:pt x="0" y="4545"/>
                            <a:pt x="60" y="4665"/>
                          </a:cubicBezTo>
                          <a:cubicBezTo>
                            <a:pt x="119" y="4785"/>
                            <a:pt x="119" y="4964"/>
                            <a:pt x="179" y="5143"/>
                          </a:cubicBezTo>
                          <a:cubicBezTo>
                            <a:pt x="239" y="5323"/>
                            <a:pt x="299" y="5442"/>
                            <a:pt x="359" y="5622"/>
                          </a:cubicBezTo>
                          <a:cubicBezTo>
                            <a:pt x="359" y="5682"/>
                            <a:pt x="418" y="5741"/>
                            <a:pt x="418" y="5801"/>
                          </a:cubicBezTo>
                          <a:cubicBezTo>
                            <a:pt x="418" y="5861"/>
                            <a:pt x="478" y="5921"/>
                            <a:pt x="478" y="5981"/>
                          </a:cubicBezTo>
                          <a:cubicBezTo>
                            <a:pt x="478" y="6041"/>
                            <a:pt x="538" y="6100"/>
                            <a:pt x="598" y="6160"/>
                          </a:cubicBezTo>
                          <a:cubicBezTo>
                            <a:pt x="658" y="6220"/>
                            <a:pt x="658" y="6280"/>
                            <a:pt x="718" y="6280"/>
                          </a:cubicBezTo>
                          <a:cubicBezTo>
                            <a:pt x="777" y="6340"/>
                            <a:pt x="777" y="6340"/>
                            <a:pt x="837" y="6399"/>
                          </a:cubicBezTo>
                          <a:cubicBezTo>
                            <a:pt x="897" y="6459"/>
                            <a:pt x="897" y="6459"/>
                            <a:pt x="957" y="6519"/>
                          </a:cubicBezTo>
                          <a:cubicBezTo>
                            <a:pt x="1017" y="6579"/>
                            <a:pt x="1017" y="6579"/>
                            <a:pt x="1076" y="6639"/>
                          </a:cubicBezTo>
                          <a:cubicBezTo>
                            <a:pt x="957" y="6639"/>
                            <a:pt x="1017" y="6698"/>
                            <a:pt x="1076" y="6758"/>
                          </a:cubicBezTo>
                        </a:path>
                      </a:pathLst>
                    </a:custGeom>
                    <a:noFill/>
                    <a:ln w="6350" cap="flat">
                      <a:solidFill>
                        <a:schemeClr val="bg1">
                          <a:alpha val="80000"/>
                        </a:schemeClr>
                      </a:solidFill>
                      <a:prstDash val="solid"/>
                      <a:miter/>
                    </a:ln>
                  </p:spPr>
                  <p:txBody>
                    <a:bodyPr rtlCol="0" anchor="ctr"/>
                    <a:lstStyle/>
                    <a:p>
                      <a:endParaRPr lang="en-GB"/>
                    </a:p>
                  </p:txBody>
                </p:sp>
                <p:sp>
                  <p:nvSpPr>
                    <p:cNvPr id="7447" name="Vrije vorm: vorm 7446">
                      <a:extLst>
                        <a:ext uri="{FF2B5EF4-FFF2-40B4-BE49-F238E27FC236}">
                          <a16:creationId xmlns:a16="http://schemas.microsoft.com/office/drawing/2014/main" id="{34D2FD13-6EAD-4189-8826-BB7DBCB205E9}"/>
                        </a:ext>
                      </a:extLst>
                    </p:cNvPr>
                    <p:cNvSpPr/>
                    <p:nvPr/>
                  </p:nvSpPr>
                  <p:spPr>
                    <a:xfrm>
                      <a:off x="5062402" y="4967568"/>
                      <a:ext cx="6922" cy="7595"/>
                    </a:xfrm>
                    <a:custGeom>
                      <a:avLst/>
                      <a:gdLst>
                        <a:gd name="connsiteX0" fmla="*/ 4306 w 6922"/>
                        <a:gd name="connsiteY0" fmla="*/ 6100 h 7595"/>
                        <a:gd name="connsiteX1" fmla="*/ 3888 w 6922"/>
                        <a:gd name="connsiteY1" fmla="*/ 6280 h 7595"/>
                        <a:gd name="connsiteX2" fmla="*/ 3469 w 6922"/>
                        <a:gd name="connsiteY2" fmla="*/ 6399 h 7595"/>
                        <a:gd name="connsiteX3" fmla="*/ 3050 w 6922"/>
                        <a:gd name="connsiteY3" fmla="*/ 6399 h 7595"/>
                        <a:gd name="connsiteX4" fmla="*/ 2632 w 6922"/>
                        <a:gd name="connsiteY4" fmla="*/ 6340 h 7595"/>
                        <a:gd name="connsiteX5" fmla="*/ 1854 w 6922"/>
                        <a:gd name="connsiteY5" fmla="*/ 5921 h 7595"/>
                        <a:gd name="connsiteX6" fmla="*/ 1316 w 6922"/>
                        <a:gd name="connsiteY6" fmla="*/ 5143 h 7595"/>
                        <a:gd name="connsiteX7" fmla="*/ 1136 w 6922"/>
                        <a:gd name="connsiteY7" fmla="*/ 4725 h 7595"/>
                        <a:gd name="connsiteX8" fmla="*/ 1076 w 6922"/>
                        <a:gd name="connsiteY8" fmla="*/ 4246 h 7595"/>
                        <a:gd name="connsiteX9" fmla="*/ 1076 w 6922"/>
                        <a:gd name="connsiteY9" fmla="*/ 3768 h 7595"/>
                        <a:gd name="connsiteX10" fmla="*/ 1196 w 6922"/>
                        <a:gd name="connsiteY10" fmla="*/ 3289 h 7595"/>
                        <a:gd name="connsiteX11" fmla="*/ 1435 w 6922"/>
                        <a:gd name="connsiteY11" fmla="*/ 2811 h 7595"/>
                        <a:gd name="connsiteX12" fmla="*/ 1734 w 6922"/>
                        <a:gd name="connsiteY12" fmla="*/ 2392 h 7595"/>
                        <a:gd name="connsiteX13" fmla="*/ 2093 w 6922"/>
                        <a:gd name="connsiteY13" fmla="*/ 2033 h 7595"/>
                        <a:gd name="connsiteX14" fmla="*/ 2512 w 6922"/>
                        <a:gd name="connsiteY14" fmla="*/ 1734 h 7595"/>
                        <a:gd name="connsiteX15" fmla="*/ 3170 w 6922"/>
                        <a:gd name="connsiteY15" fmla="*/ 1435 h 7595"/>
                        <a:gd name="connsiteX16" fmla="*/ 3888 w 6922"/>
                        <a:gd name="connsiteY16" fmla="*/ 1375 h 7595"/>
                        <a:gd name="connsiteX17" fmla="*/ 4545 w 6922"/>
                        <a:gd name="connsiteY17" fmla="*/ 1495 h 7595"/>
                        <a:gd name="connsiteX18" fmla="*/ 5083 w 6922"/>
                        <a:gd name="connsiteY18" fmla="*/ 1854 h 7595"/>
                        <a:gd name="connsiteX19" fmla="*/ 5263 w 6922"/>
                        <a:gd name="connsiteY19" fmla="*/ 2033 h 7595"/>
                        <a:gd name="connsiteX20" fmla="*/ 5383 w 6922"/>
                        <a:gd name="connsiteY20" fmla="*/ 2213 h 7595"/>
                        <a:gd name="connsiteX21" fmla="*/ 5502 w 6922"/>
                        <a:gd name="connsiteY21" fmla="*/ 2392 h 7595"/>
                        <a:gd name="connsiteX22" fmla="*/ 5622 w 6922"/>
                        <a:gd name="connsiteY22" fmla="*/ 2632 h 7595"/>
                        <a:gd name="connsiteX23" fmla="*/ 5622 w 6922"/>
                        <a:gd name="connsiteY23" fmla="*/ 2691 h 7595"/>
                        <a:gd name="connsiteX24" fmla="*/ 5622 w 6922"/>
                        <a:gd name="connsiteY24" fmla="*/ 2751 h 7595"/>
                        <a:gd name="connsiteX25" fmla="*/ 5622 w 6922"/>
                        <a:gd name="connsiteY25" fmla="*/ 2811 h 7595"/>
                        <a:gd name="connsiteX26" fmla="*/ 5622 w 6922"/>
                        <a:gd name="connsiteY26" fmla="*/ 2871 h 7595"/>
                        <a:gd name="connsiteX27" fmla="*/ 5742 w 6922"/>
                        <a:gd name="connsiteY27" fmla="*/ 3768 h 7595"/>
                        <a:gd name="connsiteX28" fmla="*/ 5562 w 6922"/>
                        <a:gd name="connsiteY28" fmla="*/ 4665 h 7595"/>
                        <a:gd name="connsiteX29" fmla="*/ 5083 w 6922"/>
                        <a:gd name="connsiteY29" fmla="*/ 5442 h 7595"/>
                        <a:gd name="connsiteX30" fmla="*/ 4366 w 6922"/>
                        <a:gd name="connsiteY30" fmla="*/ 6041 h 7595"/>
                        <a:gd name="connsiteX31" fmla="*/ 4366 w 6922"/>
                        <a:gd name="connsiteY31" fmla="*/ 6041 h 7595"/>
                        <a:gd name="connsiteX32" fmla="*/ 4306 w 6922"/>
                        <a:gd name="connsiteY32" fmla="*/ 6100 h 7595"/>
                        <a:gd name="connsiteX33" fmla="*/ 4306 w 6922"/>
                        <a:gd name="connsiteY33" fmla="*/ 6100 h 7595"/>
                        <a:gd name="connsiteX34" fmla="*/ 4306 w 6922"/>
                        <a:gd name="connsiteY34" fmla="*/ 6100 h 7595"/>
                        <a:gd name="connsiteX35" fmla="*/ 1076 w 6922"/>
                        <a:gd name="connsiteY35" fmla="*/ 6878 h 7595"/>
                        <a:gd name="connsiteX36" fmla="*/ 1316 w 6922"/>
                        <a:gd name="connsiteY36" fmla="*/ 7057 h 7595"/>
                        <a:gd name="connsiteX37" fmla="*/ 1615 w 6922"/>
                        <a:gd name="connsiteY37" fmla="*/ 7236 h 7595"/>
                        <a:gd name="connsiteX38" fmla="*/ 1914 w 6922"/>
                        <a:gd name="connsiteY38" fmla="*/ 7356 h 7595"/>
                        <a:gd name="connsiteX39" fmla="*/ 2213 w 6922"/>
                        <a:gd name="connsiteY39" fmla="*/ 7476 h 7595"/>
                        <a:gd name="connsiteX40" fmla="*/ 2572 w 6922"/>
                        <a:gd name="connsiteY40" fmla="*/ 7536 h 7595"/>
                        <a:gd name="connsiteX41" fmla="*/ 2930 w 6922"/>
                        <a:gd name="connsiteY41" fmla="*/ 7595 h 7595"/>
                        <a:gd name="connsiteX42" fmla="*/ 3289 w 6922"/>
                        <a:gd name="connsiteY42" fmla="*/ 7595 h 7595"/>
                        <a:gd name="connsiteX43" fmla="*/ 3648 w 6922"/>
                        <a:gd name="connsiteY43" fmla="*/ 7536 h 7595"/>
                        <a:gd name="connsiteX44" fmla="*/ 3947 w 6922"/>
                        <a:gd name="connsiteY44" fmla="*/ 7476 h 7595"/>
                        <a:gd name="connsiteX45" fmla="*/ 4246 w 6922"/>
                        <a:gd name="connsiteY45" fmla="*/ 7356 h 7595"/>
                        <a:gd name="connsiteX46" fmla="*/ 4545 w 6922"/>
                        <a:gd name="connsiteY46" fmla="*/ 7236 h 7595"/>
                        <a:gd name="connsiteX47" fmla="*/ 4844 w 6922"/>
                        <a:gd name="connsiteY47" fmla="*/ 7117 h 7595"/>
                        <a:gd name="connsiteX48" fmla="*/ 4904 w 6922"/>
                        <a:gd name="connsiteY48" fmla="*/ 7057 h 7595"/>
                        <a:gd name="connsiteX49" fmla="*/ 4964 w 6922"/>
                        <a:gd name="connsiteY49" fmla="*/ 6997 h 7595"/>
                        <a:gd name="connsiteX50" fmla="*/ 5024 w 6922"/>
                        <a:gd name="connsiteY50" fmla="*/ 6937 h 7595"/>
                        <a:gd name="connsiteX51" fmla="*/ 5083 w 6922"/>
                        <a:gd name="connsiteY51" fmla="*/ 6878 h 7595"/>
                        <a:gd name="connsiteX52" fmla="*/ 5981 w 6922"/>
                        <a:gd name="connsiteY52" fmla="*/ 6041 h 7595"/>
                        <a:gd name="connsiteX53" fmla="*/ 6579 w 6922"/>
                        <a:gd name="connsiteY53" fmla="*/ 5024 h 7595"/>
                        <a:gd name="connsiteX54" fmla="*/ 6878 w 6922"/>
                        <a:gd name="connsiteY54" fmla="*/ 3887 h 7595"/>
                        <a:gd name="connsiteX55" fmla="*/ 6878 w 6922"/>
                        <a:gd name="connsiteY55" fmla="*/ 2751 h 7595"/>
                        <a:gd name="connsiteX56" fmla="*/ 6818 w 6922"/>
                        <a:gd name="connsiteY56" fmla="*/ 2512 h 7595"/>
                        <a:gd name="connsiteX57" fmla="*/ 6758 w 6922"/>
                        <a:gd name="connsiteY57" fmla="*/ 2273 h 7595"/>
                        <a:gd name="connsiteX58" fmla="*/ 6698 w 6922"/>
                        <a:gd name="connsiteY58" fmla="*/ 2033 h 7595"/>
                        <a:gd name="connsiteX59" fmla="*/ 6639 w 6922"/>
                        <a:gd name="connsiteY59" fmla="*/ 1854 h 7595"/>
                        <a:gd name="connsiteX60" fmla="*/ 6579 w 6922"/>
                        <a:gd name="connsiteY60" fmla="*/ 1674 h 7595"/>
                        <a:gd name="connsiteX61" fmla="*/ 6519 w 6922"/>
                        <a:gd name="connsiteY61" fmla="*/ 1555 h 7595"/>
                        <a:gd name="connsiteX62" fmla="*/ 6459 w 6922"/>
                        <a:gd name="connsiteY62" fmla="*/ 1435 h 7595"/>
                        <a:gd name="connsiteX63" fmla="*/ 6399 w 6922"/>
                        <a:gd name="connsiteY63" fmla="*/ 1316 h 7595"/>
                        <a:gd name="connsiteX64" fmla="*/ 6280 w 6922"/>
                        <a:gd name="connsiteY64" fmla="*/ 1136 h 7595"/>
                        <a:gd name="connsiteX65" fmla="*/ 6160 w 6922"/>
                        <a:gd name="connsiteY65" fmla="*/ 1017 h 7595"/>
                        <a:gd name="connsiteX66" fmla="*/ 6041 w 6922"/>
                        <a:gd name="connsiteY66" fmla="*/ 897 h 7595"/>
                        <a:gd name="connsiteX67" fmla="*/ 5921 w 6922"/>
                        <a:gd name="connsiteY67" fmla="*/ 778 h 7595"/>
                        <a:gd name="connsiteX68" fmla="*/ 5083 w 6922"/>
                        <a:gd name="connsiteY68" fmla="*/ 239 h 7595"/>
                        <a:gd name="connsiteX69" fmla="*/ 4127 w 6922"/>
                        <a:gd name="connsiteY69" fmla="*/ 0 h 7595"/>
                        <a:gd name="connsiteX70" fmla="*/ 3110 w 6922"/>
                        <a:gd name="connsiteY70" fmla="*/ 60 h 7595"/>
                        <a:gd name="connsiteX71" fmla="*/ 2093 w 6922"/>
                        <a:gd name="connsiteY71" fmla="*/ 479 h 7595"/>
                        <a:gd name="connsiteX72" fmla="*/ 1495 w 6922"/>
                        <a:gd name="connsiteY72" fmla="*/ 897 h 7595"/>
                        <a:gd name="connsiteX73" fmla="*/ 957 w 6922"/>
                        <a:gd name="connsiteY73" fmla="*/ 1435 h 7595"/>
                        <a:gd name="connsiteX74" fmla="*/ 538 w 6922"/>
                        <a:gd name="connsiteY74" fmla="*/ 2033 h 7595"/>
                        <a:gd name="connsiteX75" fmla="*/ 239 w 6922"/>
                        <a:gd name="connsiteY75" fmla="*/ 2751 h 7595"/>
                        <a:gd name="connsiteX76" fmla="*/ 60 w 6922"/>
                        <a:gd name="connsiteY76" fmla="*/ 3469 h 7595"/>
                        <a:gd name="connsiteX77" fmla="*/ 0 w 6922"/>
                        <a:gd name="connsiteY77" fmla="*/ 4187 h 7595"/>
                        <a:gd name="connsiteX78" fmla="*/ 60 w 6922"/>
                        <a:gd name="connsiteY78" fmla="*/ 4904 h 7595"/>
                        <a:gd name="connsiteX79" fmla="*/ 299 w 6922"/>
                        <a:gd name="connsiteY79" fmla="*/ 5562 h 7595"/>
                        <a:gd name="connsiteX80" fmla="*/ 479 w 6922"/>
                        <a:gd name="connsiteY80" fmla="*/ 5861 h 7595"/>
                        <a:gd name="connsiteX81" fmla="*/ 658 w 6922"/>
                        <a:gd name="connsiteY81" fmla="*/ 6160 h 7595"/>
                        <a:gd name="connsiteX82" fmla="*/ 897 w 6922"/>
                        <a:gd name="connsiteY82" fmla="*/ 6399 h 7595"/>
                        <a:gd name="connsiteX83" fmla="*/ 1076 w 6922"/>
                        <a:gd name="connsiteY83" fmla="*/ 6878 h 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922" h="7595">
                          <a:moveTo>
                            <a:pt x="4306" y="6100"/>
                          </a:moveTo>
                          <a:cubicBezTo>
                            <a:pt x="4187" y="6160"/>
                            <a:pt x="4007" y="6220"/>
                            <a:pt x="3888" y="6280"/>
                          </a:cubicBezTo>
                          <a:cubicBezTo>
                            <a:pt x="3768" y="6340"/>
                            <a:pt x="3588" y="6340"/>
                            <a:pt x="3469" y="6399"/>
                          </a:cubicBezTo>
                          <a:cubicBezTo>
                            <a:pt x="3349" y="6399"/>
                            <a:pt x="3170" y="6399"/>
                            <a:pt x="3050" y="6399"/>
                          </a:cubicBezTo>
                          <a:cubicBezTo>
                            <a:pt x="2930" y="6399"/>
                            <a:pt x="2751" y="6340"/>
                            <a:pt x="2632" y="6340"/>
                          </a:cubicBezTo>
                          <a:lnTo>
                            <a:pt x="1854" y="5921"/>
                          </a:lnTo>
                          <a:lnTo>
                            <a:pt x="1316" y="5143"/>
                          </a:lnTo>
                          <a:cubicBezTo>
                            <a:pt x="1256" y="5024"/>
                            <a:pt x="1196" y="4844"/>
                            <a:pt x="1136" y="4725"/>
                          </a:cubicBezTo>
                          <a:cubicBezTo>
                            <a:pt x="1076" y="4545"/>
                            <a:pt x="1076" y="4426"/>
                            <a:pt x="1076" y="4246"/>
                          </a:cubicBezTo>
                          <a:cubicBezTo>
                            <a:pt x="1076" y="4067"/>
                            <a:pt x="1076" y="3887"/>
                            <a:pt x="1076" y="3768"/>
                          </a:cubicBezTo>
                          <a:cubicBezTo>
                            <a:pt x="1076" y="3588"/>
                            <a:pt x="1136" y="3409"/>
                            <a:pt x="1196" y="3289"/>
                          </a:cubicBezTo>
                          <a:cubicBezTo>
                            <a:pt x="1256" y="3110"/>
                            <a:pt x="1316" y="2990"/>
                            <a:pt x="1435" y="2811"/>
                          </a:cubicBezTo>
                          <a:cubicBezTo>
                            <a:pt x="1495" y="2691"/>
                            <a:pt x="1615" y="2512"/>
                            <a:pt x="1734" y="2392"/>
                          </a:cubicBezTo>
                          <a:cubicBezTo>
                            <a:pt x="1854" y="2273"/>
                            <a:pt x="1974" y="2153"/>
                            <a:pt x="2093" y="2033"/>
                          </a:cubicBezTo>
                          <a:cubicBezTo>
                            <a:pt x="2213" y="1914"/>
                            <a:pt x="2333" y="1854"/>
                            <a:pt x="2512" y="1734"/>
                          </a:cubicBezTo>
                          <a:cubicBezTo>
                            <a:pt x="2751" y="1615"/>
                            <a:pt x="2990" y="1495"/>
                            <a:pt x="3170" y="1435"/>
                          </a:cubicBezTo>
                          <a:cubicBezTo>
                            <a:pt x="3409" y="1375"/>
                            <a:pt x="3648" y="1375"/>
                            <a:pt x="3888" y="1375"/>
                          </a:cubicBezTo>
                          <a:cubicBezTo>
                            <a:pt x="4127" y="1375"/>
                            <a:pt x="4306" y="1435"/>
                            <a:pt x="4545" y="1495"/>
                          </a:cubicBezTo>
                          <a:cubicBezTo>
                            <a:pt x="4725" y="1555"/>
                            <a:pt x="4964" y="1674"/>
                            <a:pt x="5083" y="1854"/>
                          </a:cubicBezTo>
                          <a:cubicBezTo>
                            <a:pt x="5143" y="1914"/>
                            <a:pt x="5203" y="1974"/>
                            <a:pt x="5263" y="2033"/>
                          </a:cubicBezTo>
                          <a:cubicBezTo>
                            <a:pt x="5323" y="2093"/>
                            <a:pt x="5383" y="2153"/>
                            <a:pt x="5383" y="2213"/>
                          </a:cubicBezTo>
                          <a:cubicBezTo>
                            <a:pt x="5442" y="2273"/>
                            <a:pt x="5442" y="2333"/>
                            <a:pt x="5502" y="2392"/>
                          </a:cubicBezTo>
                          <a:cubicBezTo>
                            <a:pt x="5562" y="2452"/>
                            <a:pt x="5562" y="2512"/>
                            <a:pt x="5622" y="2632"/>
                          </a:cubicBezTo>
                          <a:cubicBezTo>
                            <a:pt x="5622" y="2632"/>
                            <a:pt x="5622" y="2691"/>
                            <a:pt x="5622" y="2691"/>
                          </a:cubicBezTo>
                          <a:cubicBezTo>
                            <a:pt x="5622" y="2691"/>
                            <a:pt x="5622" y="2751"/>
                            <a:pt x="5622" y="2751"/>
                          </a:cubicBezTo>
                          <a:cubicBezTo>
                            <a:pt x="5622" y="2751"/>
                            <a:pt x="5622" y="2811"/>
                            <a:pt x="5622" y="2811"/>
                          </a:cubicBezTo>
                          <a:cubicBezTo>
                            <a:pt x="5622" y="2811"/>
                            <a:pt x="5622" y="2871"/>
                            <a:pt x="5622" y="2871"/>
                          </a:cubicBezTo>
                          <a:cubicBezTo>
                            <a:pt x="5682" y="3170"/>
                            <a:pt x="5742" y="3469"/>
                            <a:pt x="5742" y="3768"/>
                          </a:cubicBezTo>
                          <a:cubicBezTo>
                            <a:pt x="5742" y="4067"/>
                            <a:pt x="5682" y="4366"/>
                            <a:pt x="5562" y="4665"/>
                          </a:cubicBezTo>
                          <a:cubicBezTo>
                            <a:pt x="5442" y="4964"/>
                            <a:pt x="5263" y="5203"/>
                            <a:pt x="5083" y="5442"/>
                          </a:cubicBezTo>
                          <a:cubicBezTo>
                            <a:pt x="4904" y="5682"/>
                            <a:pt x="4665" y="5861"/>
                            <a:pt x="4366" y="6041"/>
                          </a:cubicBezTo>
                          <a:cubicBezTo>
                            <a:pt x="4366" y="6041"/>
                            <a:pt x="4366" y="6041"/>
                            <a:pt x="4366" y="6041"/>
                          </a:cubicBezTo>
                          <a:cubicBezTo>
                            <a:pt x="4366" y="6100"/>
                            <a:pt x="4366" y="6100"/>
                            <a:pt x="4306" y="6100"/>
                          </a:cubicBezTo>
                          <a:cubicBezTo>
                            <a:pt x="4366" y="6100"/>
                            <a:pt x="4366" y="6100"/>
                            <a:pt x="4306" y="6100"/>
                          </a:cubicBezTo>
                          <a:cubicBezTo>
                            <a:pt x="4366" y="6100"/>
                            <a:pt x="4306" y="6100"/>
                            <a:pt x="4306" y="6100"/>
                          </a:cubicBezTo>
                          <a:moveTo>
                            <a:pt x="1076" y="6878"/>
                          </a:moveTo>
                          <a:cubicBezTo>
                            <a:pt x="1136" y="6937"/>
                            <a:pt x="1256" y="6997"/>
                            <a:pt x="1316" y="7057"/>
                          </a:cubicBezTo>
                          <a:cubicBezTo>
                            <a:pt x="1375" y="7117"/>
                            <a:pt x="1495" y="7177"/>
                            <a:pt x="1615" y="7236"/>
                          </a:cubicBezTo>
                          <a:cubicBezTo>
                            <a:pt x="1734" y="7296"/>
                            <a:pt x="1794" y="7356"/>
                            <a:pt x="1914" y="7356"/>
                          </a:cubicBezTo>
                          <a:cubicBezTo>
                            <a:pt x="2034" y="7416"/>
                            <a:pt x="2093" y="7416"/>
                            <a:pt x="2213" y="7476"/>
                          </a:cubicBezTo>
                          <a:cubicBezTo>
                            <a:pt x="2333" y="7536"/>
                            <a:pt x="2452" y="7536"/>
                            <a:pt x="2572" y="7536"/>
                          </a:cubicBezTo>
                          <a:cubicBezTo>
                            <a:pt x="2691" y="7536"/>
                            <a:pt x="2811" y="7595"/>
                            <a:pt x="2930" y="7595"/>
                          </a:cubicBezTo>
                          <a:cubicBezTo>
                            <a:pt x="3050" y="7595"/>
                            <a:pt x="3170" y="7595"/>
                            <a:pt x="3289" y="7595"/>
                          </a:cubicBezTo>
                          <a:cubicBezTo>
                            <a:pt x="3409" y="7595"/>
                            <a:pt x="3529" y="7595"/>
                            <a:pt x="3648" y="7536"/>
                          </a:cubicBezTo>
                          <a:cubicBezTo>
                            <a:pt x="3768" y="7536"/>
                            <a:pt x="3828" y="7476"/>
                            <a:pt x="3947" y="7476"/>
                          </a:cubicBezTo>
                          <a:cubicBezTo>
                            <a:pt x="4067" y="7476"/>
                            <a:pt x="4127" y="7416"/>
                            <a:pt x="4246" y="7356"/>
                          </a:cubicBezTo>
                          <a:cubicBezTo>
                            <a:pt x="4366" y="7296"/>
                            <a:pt x="4426" y="7296"/>
                            <a:pt x="4545" y="7236"/>
                          </a:cubicBezTo>
                          <a:cubicBezTo>
                            <a:pt x="4665" y="7177"/>
                            <a:pt x="4725" y="7117"/>
                            <a:pt x="4844" y="7117"/>
                          </a:cubicBezTo>
                          <a:cubicBezTo>
                            <a:pt x="4844" y="7117"/>
                            <a:pt x="4904" y="7117"/>
                            <a:pt x="4904" y="7057"/>
                          </a:cubicBezTo>
                          <a:cubicBezTo>
                            <a:pt x="4904" y="7057"/>
                            <a:pt x="4964" y="7057"/>
                            <a:pt x="4964" y="6997"/>
                          </a:cubicBezTo>
                          <a:cubicBezTo>
                            <a:pt x="4964" y="6997"/>
                            <a:pt x="5024" y="6997"/>
                            <a:pt x="5024" y="6937"/>
                          </a:cubicBezTo>
                          <a:cubicBezTo>
                            <a:pt x="5024" y="6937"/>
                            <a:pt x="5083" y="6937"/>
                            <a:pt x="5083" y="6878"/>
                          </a:cubicBezTo>
                          <a:cubicBezTo>
                            <a:pt x="5442" y="6639"/>
                            <a:pt x="5682" y="6340"/>
                            <a:pt x="5981" y="6041"/>
                          </a:cubicBezTo>
                          <a:cubicBezTo>
                            <a:pt x="6220" y="5741"/>
                            <a:pt x="6459" y="5382"/>
                            <a:pt x="6579" y="5024"/>
                          </a:cubicBezTo>
                          <a:cubicBezTo>
                            <a:pt x="6758" y="4665"/>
                            <a:pt x="6818" y="4306"/>
                            <a:pt x="6878" y="3887"/>
                          </a:cubicBezTo>
                          <a:cubicBezTo>
                            <a:pt x="6937" y="3528"/>
                            <a:pt x="6937" y="3110"/>
                            <a:pt x="6878" y="2751"/>
                          </a:cubicBezTo>
                          <a:cubicBezTo>
                            <a:pt x="6878" y="2691"/>
                            <a:pt x="6878" y="2632"/>
                            <a:pt x="6818" y="2512"/>
                          </a:cubicBezTo>
                          <a:cubicBezTo>
                            <a:pt x="6818" y="2452"/>
                            <a:pt x="6758" y="2392"/>
                            <a:pt x="6758" y="2273"/>
                          </a:cubicBezTo>
                          <a:cubicBezTo>
                            <a:pt x="6758" y="2213"/>
                            <a:pt x="6698" y="2153"/>
                            <a:pt x="6698" y="2033"/>
                          </a:cubicBezTo>
                          <a:cubicBezTo>
                            <a:pt x="6698" y="1914"/>
                            <a:pt x="6639" y="1914"/>
                            <a:pt x="6639" y="1854"/>
                          </a:cubicBezTo>
                          <a:cubicBezTo>
                            <a:pt x="6639" y="1794"/>
                            <a:pt x="6579" y="1734"/>
                            <a:pt x="6579" y="1674"/>
                          </a:cubicBezTo>
                          <a:cubicBezTo>
                            <a:pt x="6579" y="1615"/>
                            <a:pt x="6519" y="1555"/>
                            <a:pt x="6519" y="1555"/>
                          </a:cubicBezTo>
                          <a:cubicBezTo>
                            <a:pt x="6519" y="1495"/>
                            <a:pt x="6459" y="1435"/>
                            <a:pt x="6459" y="1435"/>
                          </a:cubicBezTo>
                          <a:cubicBezTo>
                            <a:pt x="6459" y="1375"/>
                            <a:pt x="6399" y="1316"/>
                            <a:pt x="6399" y="1316"/>
                          </a:cubicBezTo>
                          <a:cubicBezTo>
                            <a:pt x="6340" y="1256"/>
                            <a:pt x="6340" y="1196"/>
                            <a:pt x="6280" y="1136"/>
                          </a:cubicBezTo>
                          <a:cubicBezTo>
                            <a:pt x="6220" y="1076"/>
                            <a:pt x="6220" y="1017"/>
                            <a:pt x="6160" y="1017"/>
                          </a:cubicBezTo>
                          <a:cubicBezTo>
                            <a:pt x="6100" y="957"/>
                            <a:pt x="6100" y="897"/>
                            <a:pt x="6041" y="897"/>
                          </a:cubicBezTo>
                          <a:cubicBezTo>
                            <a:pt x="5981" y="837"/>
                            <a:pt x="5981" y="837"/>
                            <a:pt x="5921" y="778"/>
                          </a:cubicBezTo>
                          <a:cubicBezTo>
                            <a:pt x="5682" y="538"/>
                            <a:pt x="5383" y="419"/>
                            <a:pt x="5083" y="239"/>
                          </a:cubicBezTo>
                          <a:cubicBezTo>
                            <a:pt x="4785" y="119"/>
                            <a:pt x="4486" y="60"/>
                            <a:pt x="4127" y="0"/>
                          </a:cubicBezTo>
                          <a:cubicBezTo>
                            <a:pt x="3828" y="0"/>
                            <a:pt x="3469" y="0"/>
                            <a:pt x="3110" y="60"/>
                          </a:cubicBezTo>
                          <a:cubicBezTo>
                            <a:pt x="2751" y="119"/>
                            <a:pt x="2452" y="299"/>
                            <a:pt x="2093" y="479"/>
                          </a:cubicBezTo>
                          <a:cubicBezTo>
                            <a:pt x="1914" y="598"/>
                            <a:pt x="1675" y="778"/>
                            <a:pt x="1495" y="897"/>
                          </a:cubicBezTo>
                          <a:cubicBezTo>
                            <a:pt x="1316" y="1017"/>
                            <a:pt x="1136" y="1256"/>
                            <a:pt x="957" y="1435"/>
                          </a:cubicBezTo>
                          <a:cubicBezTo>
                            <a:pt x="778" y="1615"/>
                            <a:pt x="658" y="1854"/>
                            <a:pt x="538" y="2033"/>
                          </a:cubicBezTo>
                          <a:cubicBezTo>
                            <a:pt x="419" y="2273"/>
                            <a:pt x="299" y="2512"/>
                            <a:pt x="239" y="2751"/>
                          </a:cubicBezTo>
                          <a:cubicBezTo>
                            <a:pt x="180" y="2990"/>
                            <a:pt x="60" y="3229"/>
                            <a:pt x="60" y="3469"/>
                          </a:cubicBezTo>
                          <a:cubicBezTo>
                            <a:pt x="0" y="3708"/>
                            <a:pt x="0" y="3947"/>
                            <a:pt x="0" y="4187"/>
                          </a:cubicBezTo>
                          <a:cubicBezTo>
                            <a:pt x="0" y="4426"/>
                            <a:pt x="60" y="4665"/>
                            <a:pt x="60" y="4904"/>
                          </a:cubicBezTo>
                          <a:cubicBezTo>
                            <a:pt x="60" y="5143"/>
                            <a:pt x="180" y="5382"/>
                            <a:pt x="299" y="5562"/>
                          </a:cubicBezTo>
                          <a:cubicBezTo>
                            <a:pt x="359" y="5682"/>
                            <a:pt x="419" y="5801"/>
                            <a:pt x="479" y="5861"/>
                          </a:cubicBezTo>
                          <a:cubicBezTo>
                            <a:pt x="538" y="5981"/>
                            <a:pt x="598" y="6041"/>
                            <a:pt x="658" y="6160"/>
                          </a:cubicBezTo>
                          <a:cubicBezTo>
                            <a:pt x="718" y="6280"/>
                            <a:pt x="778" y="6340"/>
                            <a:pt x="897" y="6399"/>
                          </a:cubicBezTo>
                          <a:cubicBezTo>
                            <a:pt x="1017" y="6459"/>
                            <a:pt x="1017" y="6818"/>
                            <a:pt x="1076" y="6878"/>
                          </a:cubicBezTo>
                        </a:path>
                      </a:pathLst>
                    </a:custGeom>
                    <a:noFill/>
                    <a:ln w="6350" cap="flat">
                      <a:solidFill>
                        <a:schemeClr val="bg1">
                          <a:alpha val="80000"/>
                        </a:schemeClr>
                      </a:solidFill>
                      <a:prstDash val="solid"/>
                      <a:miter/>
                    </a:ln>
                  </p:spPr>
                  <p:txBody>
                    <a:bodyPr rtlCol="0" anchor="ctr"/>
                    <a:lstStyle/>
                    <a:p>
                      <a:endParaRPr lang="en-GB"/>
                    </a:p>
                  </p:txBody>
                </p:sp>
                <p:sp>
                  <p:nvSpPr>
                    <p:cNvPr id="7448" name="Vrije vorm: vorm 7447">
                      <a:extLst>
                        <a:ext uri="{FF2B5EF4-FFF2-40B4-BE49-F238E27FC236}">
                          <a16:creationId xmlns:a16="http://schemas.microsoft.com/office/drawing/2014/main" id="{F1ABB287-B86F-44CF-BBEE-E1F50B85A963}"/>
                        </a:ext>
                      </a:extLst>
                    </p:cNvPr>
                    <p:cNvSpPr/>
                    <p:nvPr/>
                  </p:nvSpPr>
                  <p:spPr>
                    <a:xfrm>
                      <a:off x="5051218" y="4969356"/>
                      <a:ext cx="6997" cy="7460"/>
                    </a:xfrm>
                    <a:custGeom>
                      <a:avLst/>
                      <a:gdLst>
                        <a:gd name="connsiteX0" fmla="*/ 5143 w 6997"/>
                        <a:gd name="connsiteY0" fmla="*/ 1740 h 7460"/>
                        <a:gd name="connsiteX1" fmla="*/ 5562 w 6997"/>
                        <a:gd name="connsiteY1" fmla="*/ 2278 h 7460"/>
                        <a:gd name="connsiteX2" fmla="*/ 5801 w 6997"/>
                        <a:gd name="connsiteY2" fmla="*/ 2936 h 7460"/>
                        <a:gd name="connsiteX3" fmla="*/ 5861 w 6997"/>
                        <a:gd name="connsiteY3" fmla="*/ 3654 h 7460"/>
                        <a:gd name="connsiteX4" fmla="*/ 5682 w 6997"/>
                        <a:gd name="connsiteY4" fmla="*/ 4431 h 7460"/>
                        <a:gd name="connsiteX5" fmla="*/ 5203 w 6997"/>
                        <a:gd name="connsiteY5" fmla="*/ 5328 h 7460"/>
                        <a:gd name="connsiteX6" fmla="*/ 4486 w 6997"/>
                        <a:gd name="connsiteY6" fmla="*/ 5986 h 7460"/>
                        <a:gd name="connsiteX7" fmla="*/ 3588 w 6997"/>
                        <a:gd name="connsiteY7" fmla="*/ 6285 h 7460"/>
                        <a:gd name="connsiteX8" fmla="*/ 2691 w 6997"/>
                        <a:gd name="connsiteY8" fmla="*/ 6225 h 7460"/>
                        <a:gd name="connsiteX9" fmla="*/ 1914 w 6997"/>
                        <a:gd name="connsiteY9" fmla="*/ 5807 h 7460"/>
                        <a:gd name="connsiteX10" fmla="*/ 1495 w 6997"/>
                        <a:gd name="connsiteY10" fmla="*/ 5268 h 7460"/>
                        <a:gd name="connsiteX11" fmla="*/ 1256 w 6997"/>
                        <a:gd name="connsiteY11" fmla="*/ 4611 h 7460"/>
                        <a:gd name="connsiteX12" fmla="*/ 1196 w 6997"/>
                        <a:gd name="connsiteY12" fmla="*/ 3893 h 7460"/>
                        <a:gd name="connsiteX13" fmla="*/ 1375 w 6997"/>
                        <a:gd name="connsiteY13" fmla="*/ 3115 h 7460"/>
                        <a:gd name="connsiteX14" fmla="*/ 1854 w 6997"/>
                        <a:gd name="connsiteY14" fmla="*/ 2218 h 7460"/>
                        <a:gd name="connsiteX15" fmla="*/ 2572 w 6997"/>
                        <a:gd name="connsiteY15" fmla="*/ 1560 h 7460"/>
                        <a:gd name="connsiteX16" fmla="*/ 3469 w 6997"/>
                        <a:gd name="connsiteY16" fmla="*/ 1261 h 7460"/>
                        <a:gd name="connsiteX17" fmla="*/ 4366 w 6997"/>
                        <a:gd name="connsiteY17" fmla="*/ 1321 h 7460"/>
                        <a:gd name="connsiteX18" fmla="*/ 4605 w 6997"/>
                        <a:gd name="connsiteY18" fmla="*/ 1381 h 7460"/>
                        <a:gd name="connsiteX19" fmla="*/ 4785 w 6997"/>
                        <a:gd name="connsiteY19" fmla="*/ 1501 h 7460"/>
                        <a:gd name="connsiteX20" fmla="*/ 4964 w 6997"/>
                        <a:gd name="connsiteY20" fmla="*/ 1620 h 7460"/>
                        <a:gd name="connsiteX21" fmla="*/ 5143 w 6997"/>
                        <a:gd name="connsiteY21" fmla="*/ 1740 h 7460"/>
                        <a:gd name="connsiteX22" fmla="*/ 1196 w 6997"/>
                        <a:gd name="connsiteY22" fmla="*/ 6764 h 7460"/>
                        <a:gd name="connsiteX23" fmla="*/ 1435 w 6997"/>
                        <a:gd name="connsiteY23" fmla="*/ 6943 h 7460"/>
                        <a:gd name="connsiteX24" fmla="*/ 1674 w 6997"/>
                        <a:gd name="connsiteY24" fmla="*/ 7122 h 7460"/>
                        <a:gd name="connsiteX25" fmla="*/ 1974 w 6997"/>
                        <a:gd name="connsiteY25" fmla="*/ 7242 h 7460"/>
                        <a:gd name="connsiteX26" fmla="*/ 2273 w 6997"/>
                        <a:gd name="connsiteY26" fmla="*/ 7362 h 7460"/>
                        <a:gd name="connsiteX27" fmla="*/ 3648 w 6997"/>
                        <a:gd name="connsiteY27" fmla="*/ 7421 h 7460"/>
                        <a:gd name="connsiteX28" fmla="*/ 4964 w 6997"/>
                        <a:gd name="connsiteY28" fmla="*/ 6943 h 7460"/>
                        <a:gd name="connsiteX29" fmla="*/ 6041 w 6997"/>
                        <a:gd name="connsiteY29" fmla="*/ 5986 h 7460"/>
                        <a:gd name="connsiteX30" fmla="*/ 6758 w 6997"/>
                        <a:gd name="connsiteY30" fmla="*/ 4671 h 7460"/>
                        <a:gd name="connsiteX31" fmla="*/ 6997 w 6997"/>
                        <a:gd name="connsiteY31" fmla="*/ 3534 h 7460"/>
                        <a:gd name="connsiteX32" fmla="*/ 6878 w 6997"/>
                        <a:gd name="connsiteY32" fmla="*/ 2457 h 7460"/>
                        <a:gd name="connsiteX33" fmla="*/ 6519 w 6997"/>
                        <a:gd name="connsiteY33" fmla="*/ 1501 h 7460"/>
                        <a:gd name="connsiteX34" fmla="*/ 5861 w 6997"/>
                        <a:gd name="connsiteY34" fmla="*/ 723 h 7460"/>
                        <a:gd name="connsiteX35" fmla="*/ 5622 w 6997"/>
                        <a:gd name="connsiteY35" fmla="*/ 544 h 7460"/>
                        <a:gd name="connsiteX36" fmla="*/ 5323 w 6997"/>
                        <a:gd name="connsiteY36" fmla="*/ 364 h 7460"/>
                        <a:gd name="connsiteX37" fmla="*/ 5024 w 6997"/>
                        <a:gd name="connsiteY37" fmla="*/ 244 h 7460"/>
                        <a:gd name="connsiteX38" fmla="*/ 4725 w 6997"/>
                        <a:gd name="connsiteY38" fmla="*/ 125 h 7460"/>
                        <a:gd name="connsiteX39" fmla="*/ 3349 w 6997"/>
                        <a:gd name="connsiteY39" fmla="*/ 65 h 7460"/>
                        <a:gd name="connsiteX40" fmla="*/ 2033 w 6997"/>
                        <a:gd name="connsiteY40" fmla="*/ 544 h 7460"/>
                        <a:gd name="connsiteX41" fmla="*/ 957 w 6997"/>
                        <a:gd name="connsiteY41" fmla="*/ 1501 h 7460"/>
                        <a:gd name="connsiteX42" fmla="*/ 239 w 6997"/>
                        <a:gd name="connsiteY42" fmla="*/ 2816 h 7460"/>
                        <a:gd name="connsiteX43" fmla="*/ 0 w 6997"/>
                        <a:gd name="connsiteY43" fmla="*/ 3953 h 7460"/>
                        <a:gd name="connsiteX44" fmla="*/ 120 w 6997"/>
                        <a:gd name="connsiteY44" fmla="*/ 5029 h 7460"/>
                        <a:gd name="connsiteX45" fmla="*/ 538 w 6997"/>
                        <a:gd name="connsiteY45" fmla="*/ 5986 h 7460"/>
                        <a:gd name="connsiteX46" fmla="*/ 1196 w 6997"/>
                        <a:gd name="connsiteY46" fmla="*/ 6764 h 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997" h="7460">
                          <a:moveTo>
                            <a:pt x="5143" y="1740"/>
                          </a:moveTo>
                          <a:cubicBezTo>
                            <a:pt x="5323" y="1859"/>
                            <a:pt x="5442" y="2039"/>
                            <a:pt x="5562" y="2278"/>
                          </a:cubicBezTo>
                          <a:cubicBezTo>
                            <a:pt x="5682" y="2457"/>
                            <a:pt x="5742" y="2697"/>
                            <a:pt x="5801" y="2936"/>
                          </a:cubicBezTo>
                          <a:cubicBezTo>
                            <a:pt x="5861" y="3175"/>
                            <a:pt x="5861" y="3414"/>
                            <a:pt x="5861" y="3654"/>
                          </a:cubicBezTo>
                          <a:cubicBezTo>
                            <a:pt x="5861" y="3893"/>
                            <a:pt x="5801" y="4192"/>
                            <a:pt x="5682" y="4431"/>
                          </a:cubicBezTo>
                          <a:cubicBezTo>
                            <a:pt x="5562" y="4790"/>
                            <a:pt x="5383" y="5089"/>
                            <a:pt x="5203" y="5328"/>
                          </a:cubicBezTo>
                          <a:cubicBezTo>
                            <a:pt x="5024" y="5567"/>
                            <a:pt x="4725" y="5807"/>
                            <a:pt x="4486" y="5986"/>
                          </a:cubicBezTo>
                          <a:cubicBezTo>
                            <a:pt x="4187" y="6166"/>
                            <a:pt x="3888" y="6285"/>
                            <a:pt x="3588" y="6285"/>
                          </a:cubicBezTo>
                          <a:cubicBezTo>
                            <a:pt x="3289" y="6345"/>
                            <a:pt x="2990" y="6345"/>
                            <a:pt x="2691" y="6225"/>
                          </a:cubicBezTo>
                          <a:lnTo>
                            <a:pt x="1914" y="5807"/>
                          </a:lnTo>
                          <a:cubicBezTo>
                            <a:pt x="1734" y="5687"/>
                            <a:pt x="1615" y="5508"/>
                            <a:pt x="1495" y="5268"/>
                          </a:cubicBezTo>
                          <a:cubicBezTo>
                            <a:pt x="1375" y="5089"/>
                            <a:pt x="1316" y="4850"/>
                            <a:pt x="1256" y="4611"/>
                          </a:cubicBezTo>
                          <a:cubicBezTo>
                            <a:pt x="1196" y="4371"/>
                            <a:pt x="1196" y="4132"/>
                            <a:pt x="1196" y="3893"/>
                          </a:cubicBezTo>
                          <a:cubicBezTo>
                            <a:pt x="1196" y="3654"/>
                            <a:pt x="1256" y="3355"/>
                            <a:pt x="1375" y="3115"/>
                          </a:cubicBezTo>
                          <a:cubicBezTo>
                            <a:pt x="1495" y="2757"/>
                            <a:pt x="1674" y="2457"/>
                            <a:pt x="1854" y="2218"/>
                          </a:cubicBezTo>
                          <a:cubicBezTo>
                            <a:pt x="2033" y="1979"/>
                            <a:pt x="2333" y="1740"/>
                            <a:pt x="2572" y="1560"/>
                          </a:cubicBezTo>
                          <a:cubicBezTo>
                            <a:pt x="2871" y="1381"/>
                            <a:pt x="3170" y="1261"/>
                            <a:pt x="3469" y="1261"/>
                          </a:cubicBezTo>
                          <a:cubicBezTo>
                            <a:pt x="3768" y="1202"/>
                            <a:pt x="4067" y="1202"/>
                            <a:pt x="4366" y="1321"/>
                          </a:cubicBezTo>
                          <a:cubicBezTo>
                            <a:pt x="4426" y="1321"/>
                            <a:pt x="4486" y="1381"/>
                            <a:pt x="4605" y="1381"/>
                          </a:cubicBezTo>
                          <a:cubicBezTo>
                            <a:pt x="4725" y="1381"/>
                            <a:pt x="4725" y="1441"/>
                            <a:pt x="4785" y="1501"/>
                          </a:cubicBezTo>
                          <a:cubicBezTo>
                            <a:pt x="4844" y="1560"/>
                            <a:pt x="4904" y="1560"/>
                            <a:pt x="4964" y="1620"/>
                          </a:cubicBezTo>
                          <a:cubicBezTo>
                            <a:pt x="5024" y="1620"/>
                            <a:pt x="5083" y="1680"/>
                            <a:pt x="5143" y="1740"/>
                          </a:cubicBezTo>
                          <a:moveTo>
                            <a:pt x="1196" y="6764"/>
                          </a:moveTo>
                          <a:cubicBezTo>
                            <a:pt x="1256" y="6824"/>
                            <a:pt x="1375" y="6883"/>
                            <a:pt x="1435" y="6943"/>
                          </a:cubicBezTo>
                          <a:cubicBezTo>
                            <a:pt x="1495" y="7003"/>
                            <a:pt x="1615" y="7063"/>
                            <a:pt x="1674" y="7122"/>
                          </a:cubicBezTo>
                          <a:cubicBezTo>
                            <a:pt x="1794" y="7182"/>
                            <a:pt x="1854" y="7242"/>
                            <a:pt x="1974" y="7242"/>
                          </a:cubicBezTo>
                          <a:cubicBezTo>
                            <a:pt x="2093" y="7302"/>
                            <a:pt x="2153" y="7302"/>
                            <a:pt x="2273" y="7362"/>
                          </a:cubicBezTo>
                          <a:cubicBezTo>
                            <a:pt x="2751" y="7481"/>
                            <a:pt x="3170" y="7481"/>
                            <a:pt x="3648" y="7421"/>
                          </a:cubicBezTo>
                          <a:cubicBezTo>
                            <a:pt x="4127" y="7362"/>
                            <a:pt x="4545" y="7182"/>
                            <a:pt x="4964" y="6943"/>
                          </a:cubicBezTo>
                          <a:cubicBezTo>
                            <a:pt x="5383" y="6704"/>
                            <a:pt x="5742" y="6405"/>
                            <a:pt x="6041" y="5986"/>
                          </a:cubicBezTo>
                          <a:cubicBezTo>
                            <a:pt x="6340" y="5627"/>
                            <a:pt x="6579" y="5149"/>
                            <a:pt x="6758" y="4671"/>
                          </a:cubicBezTo>
                          <a:cubicBezTo>
                            <a:pt x="6878" y="4252"/>
                            <a:pt x="6997" y="3893"/>
                            <a:pt x="6997" y="3534"/>
                          </a:cubicBezTo>
                          <a:cubicBezTo>
                            <a:pt x="6997" y="3175"/>
                            <a:pt x="6997" y="2816"/>
                            <a:pt x="6878" y="2457"/>
                          </a:cubicBezTo>
                          <a:cubicBezTo>
                            <a:pt x="6818" y="2099"/>
                            <a:pt x="6698" y="1800"/>
                            <a:pt x="6519" y="1501"/>
                          </a:cubicBezTo>
                          <a:cubicBezTo>
                            <a:pt x="6340" y="1202"/>
                            <a:pt x="6160" y="962"/>
                            <a:pt x="5861" y="723"/>
                          </a:cubicBezTo>
                          <a:cubicBezTo>
                            <a:pt x="5801" y="663"/>
                            <a:pt x="5682" y="603"/>
                            <a:pt x="5622" y="544"/>
                          </a:cubicBezTo>
                          <a:cubicBezTo>
                            <a:pt x="5562" y="484"/>
                            <a:pt x="5442" y="424"/>
                            <a:pt x="5323" y="364"/>
                          </a:cubicBezTo>
                          <a:cubicBezTo>
                            <a:pt x="5203" y="304"/>
                            <a:pt x="5143" y="244"/>
                            <a:pt x="5024" y="244"/>
                          </a:cubicBezTo>
                          <a:cubicBezTo>
                            <a:pt x="4904" y="185"/>
                            <a:pt x="4844" y="185"/>
                            <a:pt x="4725" y="125"/>
                          </a:cubicBezTo>
                          <a:cubicBezTo>
                            <a:pt x="4246" y="5"/>
                            <a:pt x="3828" y="-54"/>
                            <a:pt x="3349" y="65"/>
                          </a:cubicBezTo>
                          <a:cubicBezTo>
                            <a:pt x="2871" y="125"/>
                            <a:pt x="2452" y="304"/>
                            <a:pt x="2033" y="544"/>
                          </a:cubicBezTo>
                          <a:cubicBezTo>
                            <a:pt x="1615" y="783"/>
                            <a:pt x="1256" y="1082"/>
                            <a:pt x="957" y="1501"/>
                          </a:cubicBezTo>
                          <a:cubicBezTo>
                            <a:pt x="658" y="1859"/>
                            <a:pt x="359" y="2338"/>
                            <a:pt x="239" y="2816"/>
                          </a:cubicBezTo>
                          <a:cubicBezTo>
                            <a:pt x="120" y="3175"/>
                            <a:pt x="60" y="3594"/>
                            <a:pt x="0" y="3953"/>
                          </a:cubicBezTo>
                          <a:cubicBezTo>
                            <a:pt x="0" y="4311"/>
                            <a:pt x="0" y="4671"/>
                            <a:pt x="120" y="5029"/>
                          </a:cubicBezTo>
                          <a:cubicBezTo>
                            <a:pt x="239" y="5388"/>
                            <a:pt x="359" y="5687"/>
                            <a:pt x="538" y="5986"/>
                          </a:cubicBezTo>
                          <a:cubicBezTo>
                            <a:pt x="718" y="6285"/>
                            <a:pt x="957" y="6525"/>
                            <a:pt x="1196" y="6764"/>
                          </a:cubicBezTo>
                        </a:path>
                      </a:pathLst>
                    </a:custGeom>
                    <a:noFill/>
                    <a:ln w="6350" cap="flat">
                      <a:solidFill>
                        <a:schemeClr val="bg1">
                          <a:alpha val="80000"/>
                        </a:schemeClr>
                      </a:solidFill>
                      <a:prstDash val="solid"/>
                      <a:miter/>
                    </a:ln>
                  </p:spPr>
                  <p:txBody>
                    <a:bodyPr rtlCol="0" anchor="ctr"/>
                    <a:lstStyle/>
                    <a:p>
                      <a:endParaRPr lang="en-GB"/>
                    </a:p>
                  </p:txBody>
                </p:sp>
                <p:sp>
                  <p:nvSpPr>
                    <p:cNvPr id="7449" name="Vrije vorm: vorm 7448">
                      <a:extLst>
                        <a:ext uri="{FF2B5EF4-FFF2-40B4-BE49-F238E27FC236}">
                          <a16:creationId xmlns:a16="http://schemas.microsoft.com/office/drawing/2014/main" id="{955A934E-FAFE-48FD-A779-5135DA82B16C}"/>
                        </a:ext>
                      </a:extLst>
                    </p:cNvPr>
                    <p:cNvSpPr/>
                    <p:nvPr/>
                  </p:nvSpPr>
                  <p:spPr>
                    <a:xfrm>
                      <a:off x="5043024" y="4962065"/>
                      <a:ext cx="7057" cy="7535"/>
                    </a:xfrm>
                    <a:custGeom>
                      <a:avLst/>
                      <a:gdLst>
                        <a:gd name="connsiteX0" fmla="*/ 5203 w 7057"/>
                        <a:gd name="connsiteY0" fmla="*/ 1734 h 7535"/>
                        <a:gd name="connsiteX1" fmla="*/ 5382 w 7057"/>
                        <a:gd name="connsiteY1" fmla="*/ 1914 h 7535"/>
                        <a:gd name="connsiteX2" fmla="*/ 5502 w 7057"/>
                        <a:gd name="connsiteY2" fmla="*/ 2093 h 7535"/>
                        <a:gd name="connsiteX3" fmla="*/ 5622 w 7057"/>
                        <a:gd name="connsiteY3" fmla="*/ 2272 h 7535"/>
                        <a:gd name="connsiteX4" fmla="*/ 5741 w 7057"/>
                        <a:gd name="connsiteY4" fmla="*/ 2512 h 7535"/>
                        <a:gd name="connsiteX5" fmla="*/ 5921 w 7057"/>
                        <a:gd name="connsiteY5" fmla="*/ 3469 h 7535"/>
                        <a:gd name="connsiteX6" fmla="*/ 5741 w 7057"/>
                        <a:gd name="connsiteY6" fmla="*/ 4426 h 7535"/>
                        <a:gd name="connsiteX7" fmla="*/ 5263 w 7057"/>
                        <a:gd name="connsiteY7" fmla="*/ 5323 h 7535"/>
                        <a:gd name="connsiteX8" fmla="*/ 4486 w 7057"/>
                        <a:gd name="connsiteY8" fmla="*/ 5981 h 7535"/>
                        <a:gd name="connsiteX9" fmla="*/ 4067 w 7057"/>
                        <a:gd name="connsiteY9" fmla="*/ 6220 h 7535"/>
                        <a:gd name="connsiteX10" fmla="*/ 3588 w 7057"/>
                        <a:gd name="connsiteY10" fmla="*/ 6340 h 7535"/>
                        <a:gd name="connsiteX11" fmla="*/ 3110 w 7057"/>
                        <a:gd name="connsiteY11" fmla="*/ 6340 h 7535"/>
                        <a:gd name="connsiteX12" fmla="*/ 2632 w 7057"/>
                        <a:gd name="connsiteY12" fmla="*/ 6220 h 7535"/>
                        <a:gd name="connsiteX13" fmla="*/ 1854 w 7057"/>
                        <a:gd name="connsiteY13" fmla="*/ 5801 h 7535"/>
                        <a:gd name="connsiteX14" fmla="*/ 1316 w 7057"/>
                        <a:gd name="connsiteY14" fmla="*/ 5024 h 7535"/>
                        <a:gd name="connsiteX15" fmla="*/ 1136 w 7057"/>
                        <a:gd name="connsiteY15" fmla="*/ 4545 h 7535"/>
                        <a:gd name="connsiteX16" fmla="*/ 1076 w 7057"/>
                        <a:gd name="connsiteY16" fmla="*/ 4067 h 7535"/>
                        <a:gd name="connsiteX17" fmla="*/ 1076 w 7057"/>
                        <a:gd name="connsiteY17" fmla="*/ 3588 h 7535"/>
                        <a:gd name="connsiteX18" fmla="*/ 1196 w 7057"/>
                        <a:gd name="connsiteY18" fmla="*/ 3110 h 7535"/>
                        <a:gd name="connsiteX19" fmla="*/ 1375 w 7057"/>
                        <a:gd name="connsiteY19" fmla="*/ 2631 h 7535"/>
                        <a:gd name="connsiteX20" fmla="*/ 1674 w 7057"/>
                        <a:gd name="connsiteY20" fmla="*/ 2213 h 7535"/>
                        <a:gd name="connsiteX21" fmla="*/ 2033 w 7057"/>
                        <a:gd name="connsiteY21" fmla="*/ 1854 h 7535"/>
                        <a:gd name="connsiteX22" fmla="*/ 2452 w 7057"/>
                        <a:gd name="connsiteY22" fmla="*/ 1555 h 7535"/>
                        <a:gd name="connsiteX23" fmla="*/ 3110 w 7057"/>
                        <a:gd name="connsiteY23" fmla="*/ 1256 h 7535"/>
                        <a:gd name="connsiteX24" fmla="*/ 3768 w 7057"/>
                        <a:gd name="connsiteY24" fmla="*/ 1196 h 7535"/>
                        <a:gd name="connsiteX25" fmla="*/ 4426 w 7057"/>
                        <a:gd name="connsiteY25" fmla="*/ 1375 h 7535"/>
                        <a:gd name="connsiteX26" fmla="*/ 5203 w 7057"/>
                        <a:gd name="connsiteY26" fmla="*/ 1734 h 7535"/>
                        <a:gd name="connsiteX27" fmla="*/ 1196 w 7057"/>
                        <a:gd name="connsiteY27" fmla="*/ 6818 h 7535"/>
                        <a:gd name="connsiteX28" fmla="*/ 1435 w 7057"/>
                        <a:gd name="connsiteY28" fmla="*/ 6997 h 7535"/>
                        <a:gd name="connsiteX29" fmla="*/ 1734 w 7057"/>
                        <a:gd name="connsiteY29" fmla="*/ 7177 h 7535"/>
                        <a:gd name="connsiteX30" fmla="*/ 2033 w 7057"/>
                        <a:gd name="connsiteY30" fmla="*/ 7296 h 7535"/>
                        <a:gd name="connsiteX31" fmla="*/ 2333 w 7057"/>
                        <a:gd name="connsiteY31" fmla="*/ 7416 h 7535"/>
                        <a:gd name="connsiteX32" fmla="*/ 2990 w 7057"/>
                        <a:gd name="connsiteY32" fmla="*/ 7535 h 7535"/>
                        <a:gd name="connsiteX33" fmla="*/ 3648 w 7057"/>
                        <a:gd name="connsiteY33" fmla="*/ 7476 h 7535"/>
                        <a:gd name="connsiteX34" fmla="*/ 4306 w 7057"/>
                        <a:gd name="connsiteY34" fmla="*/ 7296 h 7535"/>
                        <a:gd name="connsiteX35" fmla="*/ 4964 w 7057"/>
                        <a:gd name="connsiteY35" fmla="*/ 6997 h 7535"/>
                        <a:gd name="connsiteX36" fmla="*/ 6100 w 7057"/>
                        <a:gd name="connsiteY36" fmla="*/ 6040 h 7535"/>
                        <a:gd name="connsiteX37" fmla="*/ 6818 w 7057"/>
                        <a:gd name="connsiteY37" fmla="*/ 4725 h 7535"/>
                        <a:gd name="connsiteX38" fmla="*/ 7057 w 7057"/>
                        <a:gd name="connsiteY38" fmla="*/ 3289 h 7535"/>
                        <a:gd name="connsiteX39" fmla="*/ 6758 w 7057"/>
                        <a:gd name="connsiteY39" fmla="*/ 1854 h 7535"/>
                        <a:gd name="connsiteX40" fmla="*/ 6579 w 7057"/>
                        <a:gd name="connsiteY40" fmla="*/ 1555 h 7535"/>
                        <a:gd name="connsiteX41" fmla="*/ 6399 w 7057"/>
                        <a:gd name="connsiteY41" fmla="*/ 1256 h 7535"/>
                        <a:gd name="connsiteX42" fmla="*/ 6160 w 7057"/>
                        <a:gd name="connsiteY42" fmla="*/ 1017 h 7535"/>
                        <a:gd name="connsiteX43" fmla="*/ 5921 w 7057"/>
                        <a:gd name="connsiteY43" fmla="*/ 777 h 7535"/>
                        <a:gd name="connsiteX44" fmla="*/ 5083 w 7057"/>
                        <a:gd name="connsiteY44" fmla="*/ 239 h 7535"/>
                        <a:gd name="connsiteX45" fmla="*/ 4127 w 7057"/>
                        <a:gd name="connsiteY45" fmla="*/ 0 h 7535"/>
                        <a:gd name="connsiteX46" fmla="*/ 3110 w 7057"/>
                        <a:gd name="connsiteY46" fmla="*/ 119 h 7535"/>
                        <a:gd name="connsiteX47" fmla="*/ 2093 w 7057"/>
                        <a:gd name="connsiteY47" fmla="*/ 538 h 7535"/>
                        <a:gd name="connsiteX48" fmla="*/ 1495 w 7057"/>
                        <a:gd name="connsiteY48" fmla="*/ 957 h 7535"/>
                        <a:gd name="connsiteX49" fmla="*/ 957 w 7057"/>
                        <a:gd name="connsiteY49" fmla="*/ 1495 h 7535"/>
                        <a:gd name="connsiteX50" fmla="*/ 538 w 7057"/>
                        <a:gd name="connsiteY50" fmla="*/ 2093 h 7535"/>
                        <a:gd name="connsiteX51" fmla="*/ 239 w 7057"/>
                        <a:gd name="connsiteY51" fmla="*/ 2811 h 7535"/>
                        <a:gd name="connsiteX52" fmla="*/ 60 w 7057"/>
                        <a:gd name="connsiteY52" fmla="*/ 3528 h 7535"/>
                        <a:gd name="connsiteX53" fmla="*/ 0 w 7057"/>
                        <a:gd name="connsiteY53" fmla="*/ 4246 h 7535"/>
                        <a:gd name="connsiteX54" fmla="*/ 60 w 7057"/>
                        <a:gd name="connsiteY54" fmla="*/ 4964 h 7535"/>
                        <a:gd name="connsiteX55" fmla="*/ 299 w 7057"/>
                        <a:gd name="connsiteY55" fmla="*/ 5622 h 7535"/>
                        <a:gd name="connsiteX56" fmla="*/ 479 w 7057"/>
                        <a:gd name="connsiteY56" fmla="*/ 5921 h 7535"/>
                        <a:gd name="connsiteX57" fmla="*/ 658 w 7057"/>
                        <a:gd name="connsiteY57" fmla="*/ 6220 h 7535"/>
                        <a:gd name="connsiteX58" fmla="*/ 897 w 7057"/>
                        <a:gd name="connsiteY58" fmla="*/ 6519 h 7535"/>
                        <a:gd name="connsiteX59" fmla="*/ 1196 w 7057"/>
                        <a:gd name="connsiteY59" fmla="*/ 6818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057" h="7535">
                          <a:moveTo>
                            <a:pt x="5203" y="1734"/>
                          </a:moveTo>
                          <a:cubicBezTo>
                            <a:pt x="5263" y="1794"/>
                            <a:pt x="5323" y="1854"/>
                            <a:pt x="5382" y="1914"/>
                          </a:cubicBezTo>
                          <a:cubicBezTo>
                            <a:pt x="5442" y="1973"/>
                            <a:pt x="5502" y="2033"/>
                            <a:pt x="5502" y="2093"/>
                          </a:cubicBezTo>
                          <a:cubicBezTo>
                            <a:pt x="5562" y="2153"/>
                            <a:pt x="5622" y="2213"/>
                            <a:pt x="5622" y="2272"/>
                          </a:cubicBezTo>
                          <a:cubicBezTo>
                            <a:pt x="5682" y="2332"/>
                            <a:pt x="5682" y="2392"/>
                            <a:pt x="5741" y="2512"/>
                          </a:cubicBezTo>
                          <a:cubicBezTo>
                            <a:pt x="5861" y="2811"/>
                            <a:pt x="5921" y="3110"/>
                            <a:pt x="5921" y="3469"/>
                          </a:cubicBezTo>
                          <a:cubicBezTo>
                            <a:pt x="5921" y="3827"/>
                            <a:pt x="5861" y="4126"/>
                            <a:pt x="5741" y="4426"/>
                          </a:cubicBezTo>
                          <a:cubicBezTo>
                            <a:pt x="5622" y="4725"/>
                            <a:pt x="5442" y="5024"/>
                            <a:pt x="5263" y="5323"/>
                          </a:cubicBezTo>
                          <a:cubicBezTo>
                            <a:pt x="5083" y="5622"/>
                            <a:pt x="4785" y="5801"/>
                            <a:pt x="4486" y="5981"/>
                          </a:cubicBezTo>
                          <a:cubicBezTo>
                            <a:pt x="4366" y="6040"/>
                            <a:pt x="4187" y="6160"/>
                            <a:pt x="4067" y="6220"/>
                          </a:cubicBezTo>
                          <a:cubicBezTo>
                            <a:pt x="3947" y="6280"/>
                            <a:pt x="3768" y="6340"/>
                            <a:pt x="3588" y="6340"/>
                          </a:cubicBezTo>
                          <a:cubicBezTo>
                            <a:pt x="3409" y="6340"/>
                            <a:pt x="3289" y="6340"/>
                            <a:pt x="3110" y="6340"/>
                          </a:cubicBezTo>
                          <a:cubicBezTo>
                            <a:pt x="2930" y="6340"/>
                            <a:pt x="2811" y="6280"/>
                            <a:pt x="2632" y="6220"/>
                          </a:cubicBezTo>
                          <a:lnTo>
                            <a:pt x="1854" y="5801"/>
                          </a:lnTo>
                          <a:lnTo>
                            <a:pt x="1316" y="5024"/>
                          </a:lnTo>
                          <a:cubicBezTo>
                            <a:pt x="1256" y="4844"/>
                            <a:pt x="1196" y="4725"/>
                            <a:pt x="1136" y="4545"/>
                          </a:cubicBezTo>
                          <a:cubicBezTo>
                            <a:pt x="1076" y="4366"/>
                            <a:pt x="1076" y="4246"/>
                            <a:pt x="1076" y="4067"/>
                          </a:cubicBezTo>
                          <a:cubicBezTo>
                            <a:pt x="1076" y="3887"/>
                            <a:pt x="1076" y="3768"/>
                            <a:pt x="1076" y="3588"/>
                          </a:cubicBezTo>
                          <a:cubicBezTo>
                            <a:pt x="1076" y="3409"/>
                            <a:pt x="1136" y="3289"/>
                            <a:pt x="1196" y="3110"/>
                          </a:cubicBezTo>
                          <a:cubicBezTo>
                            <a:pt x="1256" y="2930"/>
                            <a:pt x="1316" y="2751"/>
                            <a:pt x="1375" y="2631"/>
                          </a:cubicBezTo>
                          <a:cubicBezTo>
                            <a:pt x="1435" y="2452"/>
                            <a:pt x="1555" y="2332"/>
                            <a:pt x="1674" y="2213"/>
                          </a:cubicBezTo>
                          <a:cubicBezTo>
                            <a:pt x="1794" y="2093"/>
                            <a:pt x="1914" y="1973"/>
                            <a:pt x="2033" y="1854"/>
                          </a:cubicBezTo>
                          <a:cubicBezTo>
                            <a:pt x="2153" y="1734"/>
                            <a:pt x="2273" y="1615"/>
                            <a:pt x="2452" y="1555"/>
                          </a:cubicBezTo>
                          <a:cubicBezTo>
                            <a:pt x="2691" y="1435"/>
                            <a:pt x="2930" y="1316"/>
                            <a:pt x="3110" y="1256"/>
                          </a:cubicBezTo>
                          <a:cubicBezTo>
                            <a:pt x="3289" y="1196"/>
                            <a:pt x="3588" y="1196"/>
                            <a:pt x="3768" y="1196"/>
                          </a:cubicBezTo>
                          <a:cubicBezTo>
                            <a:pt x="4007" y="1196"/>
                            <a:pt x="4187" y="1256"/>
                            <a:pt x="4426" y="1375"/>
                          </a:cubicBezTo>
                          <a:cubicBezTo>
                            <a:pt x="4844" y="1495"/>
                            <a:pt x="5024" y="1615"/>
                            <a:pt x="5203" y="1734"/>
                          </a:cubicBezTo>
                          <a:moveTo>
                            <a:pt x="1196" y="6818"/>
                          </a:moveTo>
                          <a:cubicBezTo>
                            <a:pt x="1256" y="6878"/>
                            <a:pt x="1375" y="6937"/>
                            <a:pt x="1435" y="6997"/>
                          </a:cubicBezTo>
                          <a:cubicBezTo>
                            <a:pt x="1495" y="7057"/>
                            <a:pt x="1615" y="7117"/>
                            <a:pt x="1734" y="7177"/>
                          </a:cubicBezTo>
                          <a:cubicBezTo>
                            <a:pt x="1854" y="7236"/>
                            <a:pt x="1914" y="7296"/>
                            <a:pt x="2033" y="7296"/>
                          </a:cubicBezTo>
                          <a:cubicBezTo>
                            <a:pt x="2153" y="7356"/>
                            <a:pt x="2213" y="7356"/>
                            <a:pt x="2333" y="7416"/>
                          </a:cubicBezTo>
                          <a:cubicBezTo>
                            <a:pt x="2572" y="7476"/>
                            <a:pt x="2751" y="7535"/>
                            <a:pt x="2990" y="7535"/>
                          </a:cubicBezTo>
                          <a:cubicBezTo>
                            <a:pt x="3229" y="7535"/>
                            <a:pt x="3469" y="7535"/>
                            <a:pt x="3648" y="7476"/>
                          </a:cubicBezTo>
                          <a:cubicBezTo>
                            <a:pt x="3828" y="7416"/>
                            <a:pt x="4127" y="7356"/>
                            <a:pt x="4306" y="7296"/>
                          </a:cubicBezTo>
                          <a:cubicBezTo>
                            <a:pt x="4486" y="7236"/>
                            <a:pt x="4725" y="7117"/>
                            <a:pt x="4964" y="6997"/>
                          </a:cubicBezTo>
                          <a:cubicBezTo>
                            <a:pt x="5382" y="6758"/>
                            <a:pt x="5801" y="6399"/>
                            <a:pt x="6100" y="6040"/>
                          </a:cubicBezTo>
                          <a:cubicBezTo>
                            <a:pt x="6399" y="5622"/>
                            <a:pt x="6639" y="5203"/>
                            <a:pt x="6818" y="4725"/>
                          </a:cubicBezTo>
                          <a:cubicBezTo>
                            <a:pt x="6997" y="4246"/>
                            <a:pt x="7057" y="3768"/>
                            <a:pt x="7057" y="3289"/>
                          </a:cubicBezTo>
                          <a:cubicBezTo>
                            <a:pt x="7057" y="2811"/>
                            <a:pt x="6937" y="2332"/>
                            <a:pt x="6758" y="1854"/>
                          </a:cubicBezTo>
                          <a:cubicBezTo>
                            <a:pt x="6698" y="1734"/>
                            <a:pt x="6639" y="1615"/>
                            <a:pt x="6579" y="1555"/>
                          </a:cubicBezTo>
                          <a:cubicBezTo>
                            <a:pt x="6519" y="1435"/>
                            <a:pt x="6459" y="1375"/>
                            <a:pt x="6399" y="1256"/>
                          </a:cubicBezTo>
                          <a:cubicBezTo>
                            <a:pt x="6340" y="1136"/>
                            <a:pt x="6280" y="1076"/>
                            <a:pt x="6160" y="1017"/>
                          </a:cubicBezTo>
                          <a:cubicBezTo>
                            <a:pt x="6100" y="957"/>
                            <a:pt x="5981" y="837"/>
                            <a:pt x="5921" y="777"/>
                          </a:cubicBezTo>
                          <a:cubicBezTo>
                            <a:pt x="5682" y="538"/>
                            <a:pt x="5382" y="359"/>
                            <a:pt x="5083" y="239"/>
                          </a:cubicBezTo>
                          <a:cubicBezTo>
                            <a:pt x="4785" y="119"/>
                            <a:pt x="4486" y="60"/>
                            <a:pt x="4127" y="0"/>
                          </a:cubicBezTo>
                          <a:cubicBezTo>
                            <a:pt x="3768" y="0"/>
                            <a:pt x="3469" y="0"/>
                            <a:pt x="3110" y="119"/>
                          </a:cubicBezTo>
                          <a:cubicBezTo>
                            <a:pt x="2751" y="179"/>
                            <a:pt x="2452" y="359"/>
                            <a:pt x="2093" y="538"/>
                          </a:cubicBezTo>
                          <a:cubicBezTo>
                            <a:pt x="1854" y="658"/>
                            <a:pt x="1674" y="777"/>
                            <a:pt x="1495" y="957"/>
                          </a:cubicBezTo>
                          <a:cubicBezTo>
                            <a:pt x="1316" y="1136"/>
                            <a:pt x="1136" y="1316"/>
                            <a:pt x="957" y="1495"/>
                          </a:cubicBezTo>
                          <a:cubicBezTo>
                            <a:pt x="778" y="1674"/>
                            <a:pt x="658" y="1914"/>
                            <a:pt x="538" y="2093"/>
                          </a:cubicBezTo>
                          <a:cubicBezTo>
                            <a:pt x="419" y="2332"/>
                            <a:pt x="299" y="2572"/>
                            <a:pt x="239" y="2811"/>
                          </a:cubicBezTo>
                          <a:cubicBezTo>
                            <a:pt x="179" y="3050"/>
                            <a:pt x="120" y="3289"/>
                            <a:pt x="60" y="3528"/>
                          </a:cubicBezTo>
                          <a:cubicBezTo>
                            <a:pt x="0" y="3768"/>
                            <a:pt x="0" y="4007"/>
                            <a:pt x="0" y="4246"/>
                          </a:cubicBezTo>
                          <a:cubicBezTo>
                            <a:pt x="0" y="4486"/>
                            <a:pt x="60" y="4725"/>
                            <a:pt x="60" y="4964"/>
                          </a:cubicBezTo>
                          <a:cubicBezTo>
                            <a:pt x="120" y="5203"/>
                            <a:pt x="179" y="5442"/>
                            <a:pt x="299" y="5622"/>
                          </a:cubicBezTo>
                          <a:cubicBezTo>
                            <a:pt x="359" y="5741"/>
                            <a:pt x="419" y="5861"/>
                            <a:pt x="479" y="5921"/>
                          </a:cubicBezTo>
                          <a:cubicBezTo>
                            <a:pt x="538" y="6040"/>
                            <a:pt x="598" y="6100"/>
                            <a:pt x="658" y="6220"/>
                          </a:cubicBezTo>
                          <a:cubicBezTo>
                            <a:pt x="718" y="6340"/>
                            <a:pt x="778" y="6399"/>
                            <a:pt x="897" y="6519"/>
                          </a:cubicBezTo>
                          <a:cubicBezTo>
                            <a:pt x="1017" y="6698"/>
                            <a:pt x="1076" y="6758"/>
                            <a:pt x="1196" y="6818"/>
                          </a:cubicBezTo>
                        </a:path>
                      </a:pathLst>
                    </a:custGeom>
                    <a:noFill/>
                    <a:ln w="6350" cap="flat">
                      <a:solidFill>
                        <a:schemeClr val="bg1">
                          <a:alpha val="80000"/>
                        </a:schemeClr>
                      </a:solidFill>
                      <a:prstDash val="solid"/>
                      <a:miter/>
                    </a:ln>
                  </p:spPr>
                  <p:txBody>
                    <a:bodyPr rtlCol="0" anchor="ctr"/>
                    <a:lstStyle/>
                    <a:p>
                      <a:endParaRPr lang="en-GB"/>
                    </a:p>
                  </p:txBody>
                </p:sp>
                <p:sp>
                  <p:nvSpPr>
                    <p:cNvPr id="7450" name="Vrije vorm: vorm 7449">
                      <a:extLst>
                        <a:ext uri="{FF2B5EF4-FFF2-40B4-BE49-F238E27FC236}">
                          <a16:creationId xmlns:a16="http://schemas.microsoft.com/office/drawing/2014/main" id="{48B77E38-A1C6-44FA-836C-05AA4B2EADDF}"/>
                        </a:ext>
                      </a:extLst>
                    </p:cNvPr>
                    <p:cNvSpPr/>
                    <p:nvPr/>
                  </p:nvSpPr>
                  <p:spPr>
                    <a:xfrm>
                      <a:off x="5049986" y="4947208"/>
                      <a:ext cx="19891" cy="21555"/>
                    </a:xfrm>
                    <a:custGeom>
                      <a:avLst/>
                      <a:gdLst>
                        <a:gd name="connsiteX0" fmla="*/ 11937 w 19891"/>
                        <a:gd name="connsiteY0" fmla="*/ 19402 h 21555"/>
                        <a:gd name="connsiteX1" fmla="*/ 10682 w 19891"/>
                        <a:gd name="connsiteY1" fmla="*/ 19761 h 21555"/>
                        <a:gd name="connsiteX2" fmla="*/ 9426 w 19891"/>
                        <a:gd name="connsiteY2" fmla="*/ 19941 h 21555"/>
                        <a:gd name="connsiteX3" fmla="*/ 8169 w 19891"/>
                        <a:gd name="connsiteY3" fmla="*/ 19881 h 21555"/>
                        <a:gd name="connsiteX4" fmla="*/ 6914 w 19891"/>
                        <a:gd name="connsiteY4" fmla="*/ 19642 h 21555"/>
                        <a:gd name="connsiteX5" fmla="*/ 6136 w 19891"/>
                        <a:gd name="connsiteY5" fmla="*/ 19402 h 21555"/>
                        <a:gd name="connsiteX6" fmla="*/ 5419 w 19891"/>
                        <a:gd name="connsiteY6" fmla="*/ 19043 h 21555"/>
                        <a:gd name="connsiteX7" fmla="*/ 4760 w 19891"/>
                        <a:gd name="connsiteY7" fmla="*/ 18625 h 21555"/>
                        <a:gd name="connsiteX8" fmla="*/ 4103 w 19891"/>
                        <a:gd name="connsiteY8" fmla="*/ 18147 h 21555"/>
                        <a:gd name="connsiteX9" fmla="*/ 4043 w 19891"/>
                        <a:gd name="connsiteY9" fmla="*/ 18087 h 21555"/>
                        <a:gd name="connsiteX10" fmla="*/ 3983 w 19891"/>
                        <a:gd name="connsiteY10" fmla="*/ 18027 h 21555"/>
                        <a:gd name="connsiteX11" fmla="*/ 3923 w 19891"/>
                        <a:gd name="connsiteY11" fmla="*/ 17967 h 21555"/>
                        <a:gd name="connsiteX12" fmla="*/ 3864 w 19891"/>
                        <a:gd name="connsiteY12" fmla="*/ 17907 h 21555"/>
                        <a:gd name="connsiteX13" fmla="*/ 3624 w 19891"/>
                        <a:gd name="connsiteY13" fmla="*/ 17668 h 21555"/>
                        <a:gd name="connsiteX14" fmla="*/ 3445 w 19891"/>
                        <a:gd name="connsiteY14" fmla="*/ 17429 h 21555"/>
                        <a:gd name="connsiteX15" fmla="*/ 3265 w 19891"/>
                        <a:gd name="connsiteY15" fmla="*/ 17189 h 21555"/>
                        <a:gd name="connsiteX16" fmla="*/ 3086 w 19891"/>
                        <a:gd name="connsiteY16" fmla="*/ 16950 h 21555"/>
                        <a:gd name="connsiteX17" fmla="*/ 2069 w 19891"/>
                        <a:gd name="connsiteY17" fmla="*/ 15096 h 21555"/>
                        <a:gd name="connsiteX18" fmla="*/ 1531 w 19891"/>
                        <a:gd name="connsiteY18" fmla="*/ 13003 h 21555"/>
                        <a:gd name="connsiteX19" fmla="*/ 1471 w 19891"/>
                        <a:gd name="connsiteY19" fmla="*/ 10731 h 21555"/>
                        <a:gd name="connsiteX20" fmla="*/ 1950 w 19891"/>
                        <a:gd name="connsiteY20" fmla="*/ 8458 h 21555"/>
                        <a:gd name="connsiteX21" fmla="*/ 2010 w 19891"/>
                        <a:gd name="connsiteY21" fmla="*/ 8218 h 21555"/>
                        <a:gd name="connsiteX22" fmla="*/ 2069 w 19891"/>
                        <a:gd name="connsiteY22" fmla="*/ 7979 h 21555"/>
                        <a:gd name="connsiteX23" fmla="*/ 2189 w 19891"/>
                        <a:gd name="connsiteY23" fmla="*/ 7740 h 21555"/>
                        <a:gd name="connsiteX24" fmla="*/ 2309 w 19891"/>
                        <a:gd name="connsiteY24" fmla="*/ 7501 h 21555"/>
                        <a:gd name="connsiteX25" fmla="*/ 2428 w 19891"/>
                        <a:gd name="connsiteY25" fmla="*/ 7202 h 21555"/>
                        <a:gd name="connsiteX26" fmla="*/ 2548 w 19891"/>
                        <a:gd name="connsiteY26" fmla="*/ 6903 h 21555"/>
                        <a:gd name="connsiteX27" fmla="*/ 2667 w 19891"/>
                        <a:gd name="connsiteY27" fmla="*/ 6604 h 21555"/>
                        <a:gd name="connsiteX28" fmla="*/ 2847 w 19891"/>
                        <a:gd name="connsiteY28" fmla="*/ 6304 h 21555"/>
                        <a:gd name="connsiteX29" fmla="*/ 3565 w 19891"/>
                        <a:gd name="connsiteY29" fmla="*/ 5228 h 21555"/>
                        <a:gd name="connsiteX30" fmla="*/ 4402 w 19891"/>
                        <a:gd name="connsiteY30" fmla="*/ 4271 h 21555"/>
                        <a:gd name="connsiteX31" fmla="*/ 5359 w 19891"/>
                        <a:gd name="connsiteY31" fmla="*/ 3434 h 21555"/>
                        <a:gd name="connsiteX32" fmla="*/ 6435 w 19891"/>
                        <a:gd name="connsiteY32" fmla="*/ 2716 h 21555"/>
                        <a:gd name="connsiteX33" fmla="*/ 8050 w 19891"/>
                        <a:gd name="connsiteY33" fmla="*/ 1939 h 21555"/>
                        <a:gd name="connsiteX34" fmla="*/ 9725 w 19891"/>
                        <a:gd name="connsiteY34" fmla="*/ 1520 h 21555"/>
                        <a:gd name="connsiteX35" fmla="*/ 11399 w 19891"/>
                        <a:gd name="connsiteY35" fmla="*/ 1460 h 21555"/>
                        <a:gd name="connsiteX36" fmla="*/ 13014 w 19891"/>
                        <a:gd name="connsiteY36" fmla="*/ 1759 h 21555"/>
                        <a:gd name="connsiteX37" fmla="*/ 13791 w 19891"/>
                        <a:gd name="connsiteY37" fmla="*/ 1999 h 21555"/>
                        <a:gd name="connsiteX38" fmla="*/ 14509 w 19891"/>
                        <a:gd name="connsiteY38" fmla="*/ 2357 h 21555"/>
                        <a:gd name="connsiteX39" fmla="*/ 15167 w 19891"/>
                        <a:gd name="connsiteY39" fmla="*/ 2776 h 21555"/>
                        <a:gd name="connsiteX40" fmla="*/ 15765 w 19891"/>
                        <a:gd name="connsiteY40" fmla="*/ 3255 h 21555"/>
                        <a:gd name="connsiteX41" fmla="*/ 17320 w 19891"/>
                        <a:gd name="connsiteY41" fmla="*/ 5109 h 21555"/>
                        <a:gd name="connsiteX42" fmla="*/ 18217 w 19891"/>
                        <a:gd name="connsiteY42" fmla="*/ 7321 h 21555"/>
                        <a:gd name="connsiteX43" fmla="*/ 18516 w 19891"/>
                        <a:gd name="connsiteY43" fmla="*/ 9773 h 21555"/>
                        <a:gd name="connsiteX44" fmla="*/ 18158 w 19891"/>
                        <a:gd name="connsiteY44" fmla="*/ 12345 h 21555"/>
                        <a:gd name="connsiteX45" fmla="*/ 18098 w 19891"/>
                        <a:gd name="connsiteY45" fmla="*/ 12525 h 21555"/>
                        <a:gd name="connsiteX46" fmla="*/ 18038 w 19891"/>
                        <a:gd name="connsiteY46" fmla="*/ 12704 h 21555"/>
                        <a:gd name="connsiteX47" fmla="*/ 17978 w 19891"/>
                        <a:gd name="connsiteY47" fmla="*/ 12883 h 21555"/>
                        <a:gd name="connsiteX48" fmla="*/ 17918 w 19891"/>
                        <a:gd name="connsiteY48" fmla="*/ 13063 h 21555"/>
                        <a:gd name="connsiteX49" fmla="*/ 17858 w 19891"/>
                        <a:gd name="connsiteY49" fmla="*/ 13242 h 21555"/>
                        <a:gd name="connsiteX50" fmla="*/ 17799 w 19891"/>
                        <a:gd name="connsiteY50" fmla="*/ 13422 h 21555"/>
                        <a:gd name="connsiteX51" fmla="*/ 17739 w 19891"/>
                        <a:gd name="connsiteY51" fmla="*/ 13541 h 21555"/>
                        <a:gd name="connsiteX52" fmla="*/ 17679 w 19891"/>
                        <a:gd name="connsiteY52" fmla="*/ 13661 h 21555"/>
                        <a:gd name="connsiteX53" fmla="*/ 16901 w 19891"/>
                        <a:gd name="connsiteY53" fmla="*/ 15156 h 21555"/>
                        <a:gd name="connsiteX54" fmla="*/ 15945 w 19891"/>
                        <a:gd name="connsiteY54" fmla="*/ 16472 h 21555"/>
                        <a:gd name="connsiteX55" fmla="*/ 14808 w 19891"/>
                        <a:gd name="connsiteY55" fmla="*/ 17608 h 21555"/>
                        <a:gd name="connsiteX56" fmla="*/ 13492 w 19891"/>
                        <a:gd name="connsiteY56" fmla="*/ 18565 h 21555"/>
                        <a:gd name="connsiteX57" fmla="*/ 13134 w 19891"/>
                        <a:gd name="connsiteY57" fmla="*/ 18804 h 21555"/>
                        <a:gd name="connsiteX58" fmla="*/ 12775 w 19891"/>
                        <a:gd name="connsiteY58" fmla="*/ 18984 h 21555"/>
                        <a:gd name="connsiteX59" fmla="*/ 12416 w 19891"/>
                        <a:gd name="connsiteY59" fmla="*/ 19163 h 21555"/>
                        <a:gd name="connsiteX60" fmla="*/ 11937 w 19891"/>
                        <a:gd name="connsiteY60" fmla="*/ 19402 h 21555"/>
                        <a:gd name="connsiteX61" fmla="*/ 3983 w 19891"/>
                        <a:gd name="connsiteY61" fmla="*/ 18266 h 21555"/>
                        <a:gd name="connsiteX62" fmla="*/ 4641 w 19891"/>
                        <a:gd name="connsiteY62" fmla="*/ 18744 h 21555"/>
                        <a:gd name="connsiteX63" fmla="*/ 5299 w 19891"/>
                        <a:gd name="connsiteY63" fmla="*/ 19163 h 21555"/>
                        <a:gd name="connsiteX64" fmla="*/ 6017 w 19891"/>
                        <a:gd name="connsiteY64" fmla="*/ 19522 h 21555"/>
                        <a:gd name="connsiteX65" fmla="*/ 6794 w 19891"/>
                        <a:gd name="connsiteY65" fmla="*/ 19761 h 21555"/>
                        <a:gd name="connsiteX66" fmla="*/ 10203 w 19891"/>
                        <a:gd name="connsiteY66" fmla="*/ 20001 h 21555"/>
                        <a:gd name="connsiteX67" fmla="*/ 13433 w 19891"/>
                        <a:gd name="connsiteY67" fmla="*/ 18804 h 21555"/>
                        <a:gd name="connsiteX68" fmla="*/ 16184 w 19891"/>
                        <a:gd name="connsiteY68" fmla="*/ 16472 h 21555"/>
                        <a:gd name="connsiteX69" fmla="*/ 18038 w 19891"/>
                        <a:gd name="connsiteY69" fmla="*/ 13182 h 21555"/>
                        <a:gd name="connsiteX70" fmla="*/ 18576 w 19891"/>
                        <a:gd name="connsiteY70" fmla="*/ 10372 h 21555"/>
                        <a:gd name="connsiteX71" fmla="*/ 18337 w 19891"/>
                        <a:gd name="connsiteY71" fmla="*/ 7680 h 21555"/>
                        <a:gd name="connsiteX72" fmla="*/ 17380 w 19891"/>
                        <a:gd name="connsiteY72" fmla="*/ 5288 h 21555"/>
                        <a:gd name="connsiteX73" fmla="*/ 15765 w 19891"/>
                        <a:gd name="connsiteY73" fmla="*/ 3314 h 21555"/>
                        <a:gd name="connsiteX74" fmla="*/ 15167 w 19891"/>
                        <a:gd name="connsiteY74" fmla="*/ 2836 h 21555"/>
                        <a:gd name="connsiteX75" fmla="*/ 14509 w 19891"/>
                        <a:gd name="connsiteY75" fmla="*/ 2417 h 21555"/>
                        <a:gd name="connsiteX76" fmla="*/ 13791 w 19891"/>
                        <a:gd name="connsiteY76" fmla="*/ 2058 h 21555"/>
                        <a:gd name="connsiteX77" fmla="*/ 13014 w 19891"/>
                        <a:gd name="connsiteY77" fmla="*/ 1759 h 21555"/>
                        <a:gd name="connsiteX78" fmla="*/ 11339 w 19891"/>
                        <a:gd name="connsiteY78" fmla="*/ 1460 h 21555"/>
                        <a:gd name="connsiteX79" fmla="*/ 9665 w 19891"/>
                        <a:gd name="connsiteY79" fmla="*/ 1520 h 21555"/>
                        <a:gd name="connsiteX80" fmla="*/ 7990 w 19891"/>
                        <a:gd name="connsiteY80" fmla="*/ 1939 h 21555"/>
                        <a:gd name="connsiteX81" fmla="*/ 6375 w 19891"/>
                        <a:gd name="connsiteY81" fmla="*/ 2716 h 21555"/>
                        <a:gd name="connsiteX82" fmla="*/ 4880 w 19891"/>
                        <a:gd name="connsiteY82" fmla="*/ 3793 h 21555"/>
                        <a:gd name="connsiteX83" fmla="*/ 3565 w 19891"/>
                        <a:gd name="connsiteY83" fmla="*/ 5109 h 21555"/>
                        <a:gd name="connsiteX84" fmla="*/ 2548 w 19891"/>
                        <a:gd name="connsiteY84" fmla="*/ 6663 h 21555"/>
                        <a:gd name="connsiteX85" fmla="*/ 1770 w 19891"/>
                        <a:gd name="connsiteY85" fmla="*/ 8398 h 21555"/>
                        <a:gd name="connsiteX86" fmla="*/ 1352 w 19891"/>
                        <a:gd name="connsiteY86" fmla="*/ 10252 h 21555"/>
                        <a:gd name="connsiteX87" fmla="*/ 1232 w 19891"/>
                        <a:gd name="connsiteY87" fmla="*/ 12106 h 21555"/>
                        <a:gd name="connsiteX88" fmla="*/ 1471 w 19891"/>
                        <a:gd name="connsiteY88" fmla="*/ 13900 h 21555"/>
                        <a:gd name="connsiteX89" fmla="*/ 2010 w 19891"/>
                        <a:gd name="connsiteY89" fmla="*/ 15575 h 21555"/>
                        <a:gd name="connsiteX90" fmla="*/ 2428 w 19891"/>
                        <a:gd name="connsiteY90" fmla="*/ 16352 h 21555"/>
                        <a:gd name="connsiteX91" fmla="*/ 2906 w 19891"/>
                        <a:gd name="connsiteY91" fmla="*/ 17070 h 21555"/>
                        <a:gd name="connsiteX92" fmla="*/ 3445 w 19891"/>
                        <a:gd name="connsiteY92" fmla="*/ 17728 h 21555"/>
                        <a:gd name="connsiteX93" fmla="*/ 3983 w 19891"/>
                        <a:gd name="connsiteY93" fmla="*/ 18266 h 21555"/>
                        <a:gd name="connsiteX94" fmla="*/ 16603 w 19891"/>
                        <a:gd name="connsiteY94" fmla="*/ 2298 h 21555"/>
                        <a:gd name="connsiteX95" fmla="*/ 18397 w 19891"/>
                        <a:gd name="connsiteY95" fmla="*/ 4510 h 21555"/>
                        <a:gd name="connsiteX96" fmla="*/ 19473 w 19891"/>
                        <a:gd name="connsiteY96" fmla="*/ 7262 h 21555"/>
                        <a:gd name="connsiteX97" fmla="*/ 19712 w 19891"/>
                        <a:gd name="connsiteY97" fmla="*/ 10312 h 21555"/>
                        <a:gd name="connsiteX98" fmla="*/ 19114 w 19891"/>
                        <a:gd name="connsiteY98" fmla="*/ 13541 h 21555"/>
                        <a:gd name="connsiteX99" fmla="*/ 17021 w 19891"/>
                        <a:gd name="connsiteY99" fmla="*/ 17249 h 21555"/>
                        <a:gd name="connsiteX100" fmla="*/ 13971 w 19891"/>
                        <a:gd name="connsiteY100" fmla="*/ 19881 h 21555"/>
                        <a:gd name="connsiteX101" fmla="*/ 10323 w 19891"/>
                        <a:gd name="connsiteY101" fmla="*/ 21197 h 21555"/>
                        <a:gd name="connsiteX102" fmla="*/ 6435 w 19891"/>
                        <a:gd name="connsiteY102" fmla="*/ 20957 h 21555"/>
                        <a:gd name="connsiteX103" fmla="*/ 5598 w 19891"/>
                        <a:gd name="connsiteY103" fmla="*/ 20658 h 21555"/>
                        <a:gd name="connsiteX104" fmla="*/ 4760 w 19891"/>
                        <a:gd name="connsiteY104" fmla="*/ 20240 h 21555"/>
                        <a:gd name="connsiteX105" fmla="*/ 3983 w 19891"/>
                        <a:gd name="connsiteY105" fmla="*/ 19761 h 21555"/>
                        <a:gd name="connsiteX106" fmla="*/ 3265 w 19891"/>
                        <a:gd name="connsiteY106" fmla="*/ 19223 h 21555"/>
                        <a:gd name="connsiteX107" fmla="*/ 2548 w 19891"/>
                        <a:gd name="connsiteY107" fmla="*/ 18565 h 21555"/>
                        <a:gd name="connsiteX108" fmla="*/ 1950 w 19891"/>
                        <a:gd name="connsiteY108" fmla="*/ 17788 h 21555"/>
                        <a:gd name="connsiteX109" fmla="*/ 1411 w 19891"/>
                        <a:gd name="connsiteY109" fmla="*/ 16950 h 21555"/>
                        <a:gd name="connsiteX110" fmla="*/ 933 w 19891"/>
                        <a:gd name="connsiteY110" fmla="*/ 16053 h 21555"/>
                        <a:gd name="connsiteX111" fmla="*/ 335 w 19891"/>
                        <a:gd name="connsiteY111" fmla="*/ 14139 h 21555"/>
                        <a:gd name="connsiteX112" fmla="*/ 96 w 19891"/>
                        <a:gd name="connsiteY112" fmla="*/ 12166 h 21555"/>
                        <a:gd name="connsiteX113" fmla="*/ 215 w 19891"/>
                        <a:gd name="connsiteY113" fmla="*/ 10132 h 21555"/>
                        <a:gd name="connsiteX114" fmla="*/ 694 w 19891"/>
                        <a:gd name="connsiteY114" fmla="*/ 8039 h 21555"/>
                        <a:gd name="connsiteX115" fmla="*/ 1531 w 19891"/>
                        <a:gd name="connsiteY115" fmla="*/ 6065 h 21555"/>
                        <a:gd name="connsiteX116" fmla="*/ 2727 w 19891"/>
                        <a:gd name="connsiteY116" fmla="*/ 4331 h 21555"/>
                        <a:gd name="connsiteX117" fmla="*/ 4163 w 19891"/>
                        <a:gd name="connsiteY117" fmla="*/ 2836 h 21555"/>
                        <a:gd name="connsiteX118" fmla="*/ 5837 w 19891"/>
                        <a:gd name="connsiteY118" fmla="*/ 1640 h 21555"/>
                        <a:gd name="connsiteX119" fmla="*/ 7691 w 19891"/>
                        <a:gd name="connsiteY119" fmla="*/ 802 h 21555"/>
                        <a:gd name="connsiteX120" fmla="*/ 9605 w 19891"/>
                        <a:gd name="connsiteY120" fmla="*/ 324 h 21555"/>
                        <a:gd name="connsiteX121" fmla="*/ 11519 w 19891"/>
                        <a:gd name="connsiteY121" fmla="*/ 264 h 21555"/>
                        <a:gd name="connsiteX122" fmla="*/ 13373 w 19891"/>
                        <a:gd name="connsiteY122" fmla="*/ 623 h 21555"/>
                        <a:gd name="connsiteX123" fmla="*/ 14270 w 19891"/>
                        <a:gd name="connsiteY123" fmla="*/ 922 h 21555"/>
                        <a:gd name="connsiteX124" fmla="*/ 15107 w 19891"/>
                        <a:gd name="connsiteY124" fmla="*/ 1341 h 21555"/>
                        <a:gd name="connsiteX125" fmla="*/ 15885 w 19891"/>
                        <a:gd name="connsiteY125" fmla="*/ 1819 h 21555"/>
                        <a:gd name="connsiteX126" fmla="*/ 16603 w 19891"/>
                        <a:gd name="connsiteY126" fmla="*/ 2298 h 21555"/>
                        <a:gd name="connsiteX127" fmla="*/ 3146 w 19891"/>
                        <a:gd name="connsiteY127" fmla="*/ 19402 h 21555"/>
                        <a:gd name="connsiteX128" fmla="*/ 3864 w 19891"/>
                        <a:gd name="connsiteY128" fmla="*/ 20001 h 21555"/>
                        <a:gd name="connsiteX129" fmla="*/ 4641 w 19891"/>
                        <a:gd name="connsiteY129" fmla="*/ 20479 h 21555"/>
                        <a:gd name="connsiteX130" fmla="*/ 5478 w 19891"/>
                        <a:gd name="connsiteY130" fmla="*/ 20897 h 21555"/>
                        <a:gd name="connsiteX131" fmla="*/ 6375 w 19891"/>
                        <a:gd name="connsiteY131" fmla="*/ 21197 h 21555"/>
                        <a:gd name="connsiteX132" fmla="*/ 7572 w 19891"/>
                        <a:gd name="connsiteY132" fmla="*/ 21436 h 21555"/>
                        <a:gd name="connsiteX133" fmla="*/ 8768 w 19891"/>
                        <a:gd name="connsiteY133" fmla="*/ 21556 h 21555"/>
                        <a:gd name="connsiteX134" fmla="*/ 9964 w 19891"/>
                        <a:gd name="connsiteY134" fmla="*/ 21496 h 21555"/>
                        <a:gd name="connsiteX135" fmla="*/ 11160 w 19891"/>
                        <a:gd name="connsiteY135" fmla="*/ 21256 h 21555"/>
                        <a:gd name="connsiteX136" fmla="*/ 11519 w 19891"/>
                        <a:gd name="connsiteY136" fmla="*/ 21137 h 21555"/>
                        <a:gd name="connsiteX137" fmla="*/ 11878 w 19891"/>
                        <a:gd name="connsiteY137" fmla="*/ 21017 h 21555"/>
                        <a:gd name="connsiteX138" fmla="*/ 12236 w 19891"/>
                        <a:gd name="connsiteY138" fmla="*/ 20897 h 21555"/>
                        <a:gd name="connsiteX139" fmla="*/ 12596 w 19891"/>
                        <a:gd name="connsiteY139" fmla="*/ 20778 h 21555"/>
                        <a:gd name="connsiteX140" fmla="*/ 14569 w 19891"/>
                        <a:gd name="connsiteY140" fmla="*/ 19702 h 21555"/>
                        <a:gd name="connsiteX141" fmla="*/ 16304 w 19891"/>
                        <a:gd name="connsiteY141" fmla="*/ 18266 h 21555"/>
                        <a:gd name="connsiteX142" fmla="*/ 17799 w 19891"/>
                        <a:gd name="connsiteY142" fmla="*/ 16412 h 21555"/>
                        <a:gd name="connsiteX143" fmla="*/ 18935 w 19891"/>
                        <a:gd name="connsiteY143" fmla="*/ 14259 h 21555"/>
                        <a:gd name="connsiteX144" fmla="*/ 18995 w 19891"/>
                        <a:gd name="connsiteY144" fmla="*/ 14080 h 21555"/>
                        <a:gd name="connsiteX145" fmla="*/ 19054 w 19891"/>
                        <a:gd name="connsiteY145" fmla="*/ 13900 h 21555"/>
                        <a:gd name="connsiteX146" fmla="*/ 19114 w 19891"/>
                        <a:gd name="connsiteY146" fmla="*/ 13721 h 21555"/>
                        <a:gd name="connsiteX147" fmla="*/ 19174 w 19891"/>
                        <a:gd name="connsiteY147" fmla="*/ 13541 h 21555"/>
                        <a:gd name="connsiteX148" fmla="*/ 19234 w 19891"/>
                        <a:gd name="connsiteY148" fmla="*/ 13422 h 21555"/>
                        <a:gd name="connsiteX149" fmla="*/ 19294 w 19891"/>
                        <a:gd name="connsiteY149" fmla="*/ 13302 h 21555"/>
                        <a:gd name="connsiteX150" fmla="*/ 19353 w 19891"/>
                        <a:gd name="connsiteY150" fmla="*/ 13182 h 21555"/>
                        <a:gd name="connsiteX151" fmla="*/ 19413 w 19891"/>
                        <a:gd name="connsiteY151" fmla="*/ 13063 h 21555"/>
                        <a:gd name="connsiteX152" fmla="*/ 19892 w 19891"/>
                        <a:gd name="connsiteY152" fmla="*/ 10012 h 21555"/>
                        <a:gd name="connsiteX153" fmla="*/ 19593 w 19891"/>
                        <a:gd name="connsiteY153" fmla="*/ 7082 h 21555"/>
                        <a:gd name="connsiteX154" fmla="*/ 18516 w 19891"/>
                        <a:gd name="connsiteY154" fmla="*/ 4450 h 21555"/>
                        <a:gd name="connsiteX155" fmla="*/ 16722 w 19891"/>
                        <a:gd name="connsiteY155" fmla="*/ 2238 h 21555"/>
                        <a:gd name="connsiteX156" fmla="*/ 16004 w 19891"/>
                        <a:gd name="connsiteY156" fmla="*/ 1640 h 21555"/>
                        <a:gd name="connsiteX157" fmla="*/ 15227 w 19891"/>
                        <a:gd name="connsiteY157" fmla="*/ 1161 h 21555"/>
                        <a:gd name="connsiteX158" fmla="*/ 14390 w 19891"/>
                        <a:gd name="connsiteY158" fmla="*/ 742 h 21555"/>
                        <a:gd name="connsiteX159" fmla="*/ 13492 w 19891"/>
                        <a:gd name="connsiteY159" fmla="*/ 384 h 21555"/>
                        <a:gd name="connsiteX160" fmla="*/ 11579 w 19891"/>
                        <a:gd name="connsiteY160" fmla="*/ 25 h 21555"/>
                        <a:gd name="connsiteX161" fmla="*/ 9665 w 19891"/>
                        <a:gd name="connsiteY161" fmla="*/ 85 h 21555"/>
                        <a:gd name="connsiteX162" fmla="*/ 7751 w 19891"/>
                        <a:gd name="connsiteY162" fmla="*/ 563 h 21555"/>
                        <a:gd name="connsiteX163" fmla="*/ 5837 w 19891"/>
                        <a:gd name="connsiteY163" fmla="*/ 1460 h 21555"/>
                        <a:gd name="connsiteX164" fmla="*/ 4581 w 19891"/>
                        <a:gd name="connsiteY164" fmla="*/ 2357 h 21555"/>
                        <a:gd name="connsiteX165" fmla="*/ 3445 w 19891"/>
                        <a:gd name="connsiteY165" fmla="*/ 3374 h 21555"/>
                        <a:gd name="connsiteX166" fmla="*/ 2428 w 19891"/>
                        <a:gd name="connsiteY166" fmla="*/ 4570 h 21555"/>
                        <a:gd name="connsiteX167" fmla="*/ 1591 w 19891"/>
                        <a:gd name="connsiteY167" fmla="*/ 5886 h 21555"/>
                        <a:gd name="connsiteX168" fmla="*/ 1471 w 19891"/>
                        <a:gd name="connsiteY168" fmla="*/ 6185 h 21555"/>
                        <a:gd name="connsiteX169" fmla="*/ 1352 w 19891"/>
                        <a:gd name="connsiteY169" fmla="*/ 6484 h 21555"/>
                        <a:gd name="connsiteX170" fmla="*/ 1232 w 19891"/>
                        <a:gd name="connsiteY170" fmla="*/ 6783 h 21555"/>
                        <a:gd name="connsiteX171" fmla="*/ 1112 w 19891"/>
                        <a:gd name="connsiteY171" fmla="*/ 7082 h 21555"/>
                        <a:gd name="connsiteX172" fmla="*/ 993 w 19891"/>
                        <a:gd name="connsiteY172" fmla="*/ 7321 h 21555"/>
                        <a:gd name="connsiteX173" fmla="*/ 873 w 19891"/>
                        <a:gd name="connsiteY173" fmla="*/ 7561 h 21555"/>
                        <a:gd name="connsiteX174" fmla="*/ 753 w 19891"/>
                        <a:gd name="connsiteY174" fmla="*/ 7800 h 21555"/>
                        <a:gd name="connsiteX175" fmla="*/ 634 w 19891"/>
                        <a:gd name="connsiteY175" fmla="*/ 8039 h 21555"/>
                        <a:gd name="connsiteX176" fmla="*/ 36 w 19891"/>
                        <a:gd name="connsiteY176" fmla="*/ 10910 h 21555"/>
                        <a:gd name="connsiteX177" fmla="*/ 156 w 19891"/>
                        <a:gd name="connsiteY177" fmla="*/ 13721 h 21555"/>
                        <a:gd name="connsiteX178" fmla="*/ 933 w 19891"/>
                        <a:gd name="connsiteY178" fmla="*/ 16293 h 21555"/>
                        <a:gd name="connsiteX179" fmla="*/ 2368 w 19891"/>
                        <a:gd name="connsiteY179" fmla="*/ 18505 h 21555"/>
                        <a:gd name="connsiteX180" fmla="*/ 2548 w 19891"/>
                        <a:gd name="connsiteY180" fmla="*/ 18744 h 21555"/>
                        <a:gd name="connsiteX181" fmla="*/ 2727 w 19891"/>
                        <a:gd name="connsiteY181" fmla="*/ 18984 h 21555"/>
                        <a:gd name="connsiteX182" fmla="*/ 2966 w 19891"/>
                        <a:gd name="connsiteY182" fmla="*/ 19163 h 21555"/>
                        <a:gd name="connsiteX183" fmla="*/ 3146 w 19891"/>
                        <a:gd name="connsiteY183" fmla="*/ 19402 h 21555"/>
                        <a:gd name="connsiteX184" fmla="*/ 3146 w 19891"/>
                        <a:gd name="connsiteY184" fmla="*/ 19402 h 21555"/>
                        <a:gd name="connsiteX185" fmla="*/ 3146 w 19891"/>
                        <a:gd name="connsiteY185" fmla="*/ 19402 h 21555"/>
                        <a:gd name="connsiteX186" fmla="*/ 3146 w 19891"/>
                        <a:gd name="connsiteY186" fmla="*/ 19402 h 21555"/>
                        <a:gd name="connsiteX187" fmla="*/ 3146 w 19891"/>
                        <a:gd name="connsiteY187" fmla="*/ 19402 h 2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9891" h="21555">
                          <a:moveTo>
                            <a:pt x="11937" y="19402"/>
                          </a:moveTo>
                          <a:cubicBezTo>
                            <a:pt x="11519" y="19582"/>
                            <a:pt x="11100" y="19702"/>
                            <a:pt x="10682" y="19761"/>
                          </a:cubicBezTo>
                          <a:cubicBezTo>
                            <a:pt x="10263" y="19881"/>
                            <a:pt x="9844" y="19881"/>
                            <a:pt x="9426" y="19941"/>
                          </a:cubicBezTo>
                          <a:cubicBezTo>
                            <a:pt x="9007" y="20001"/>
                            <a:pt x="8588" y="19941"/>
                            <a:pt x="8169" y="19881"/>
                          </a:cubicBezTo>
                          <a:cubicBezTo>
                            <a:pt x="7751" y="19821"/>
                            <a:pt x="7332" y="19761"/>
                            <a:pt x="6914" y="19642"/>
                          </a:cubicBezTo>
                          <a:cubicBezTo>
                            <a:pt x="6674" y="19582"/>
                            <a:pt x="6375" y="19462"/>
                            <a:pt x="6136" y="19402"/>
                          </a:cubicBezTo>
                          <a:cubicBezTo>
                            <a:pt x="5897" y="19283"/>
                            <a:pt x="5658" y="19163"/>
                            <a:pt x="5419" y="19043"/>
                          </a:cubicBezTo>
                          <a:cubicBezTo>
                            <a:pt x="5179" y="18924"/>
                            <a:pt x="4940" y="18804"/>
                            <a:pt x="4760" y="18625"/>
                          </a:cubicBezTo>
                          <a:cubicBezTo>
                            <a:pt x="4521" y="18446"/>
                            <a:pt x="4342" y="18326"/>
                            <a:pt x="4103" y="18147"/>
                          </a:cubicBezTo>
                          <a:cubicBezTo>
                            <a:pt x="4043" y="18147"/>
                            <a:pt x="4043" y="18087"/>
                            <a:pt x="4043" y="18087"/>
                          </a:cubicBezTo>
                          <a:cubicBezTo>
                            <a:pt x="4043" y="18087"/>
                            <a:pt x="3983" y="18027"/>
                            <a:pt x="3983" y="18027"/>
                          </a:cubicBezTo>
                          <a:cubicBezTo>
                            <a:pt x="3983" y="18027"/>
                            <a:pt x="3923" y="17967"/>
                            <a:pt x="3923" y="17967"/>
                          </a:cubicBezTo>
                          <a:cubicBezTo>
                            <a:pt x="3923" y="17967"/>
                            <a:pt x="3864" y="17907"/>
                            <a:pt x="3864" y="17907"/>
                          </a:cubicBezTo>
                          <a:cubicBezTo>
                            <a:pt x="3804" y="17848"/>
                            <a:pt x="3744" y="17788"/>
                            <a:pt x="3624" y="17668"/>
                          </a:cubicBezTo>
                          <a:cubicBezTo>
                            <a:pt x="3505" y="17548"/>
                            <a:pt x="3505" y="17548"/>
                            <a:pt x="3445" y="17429"/>
                          </a:cubicBezTo>
                          <a:cubicBezTo>
                            <a:pt x="3385" y="17369"/>
                            <a:pt x="3325" y="17249"/>
                            <a:pt x="3265" y="17189"/>
                          </a:cubicBezTo>
                          <a:cubicBezTo>
                            <a:pt x="3206" y="17130"/>
                            <a:pt x="3146" y="17010"/>
                            <a:pt x="3086" y="16950"/>
                          </a:cubicBezTo>
                          <a:cubicBezTo>
                            <a:pt x="2667" y="16352"/>
                            <a:pt x="2309" y="15754"/>
                            <a:pt x="2069" y="15096"/>
                          </a:cubicBezTo>
                          <a:cubicBezTo>
                            <a:pt x="1830" y="14439"/>
                            <a:pt x="1651" y="13721"/>
                            <a:pt x="1531" y="13003"/>
                          </a:cubicBezTo>
                          <a:cubicBezTo>
                            <a:pt x="1411" y="12285"/>
                            <a:pt x="1411" y="11508"/>
                            <a:pt x="1471" y="10731"/>
                          </a:cubicBezTo>
                          <a:cubicBezTo>
                            <a:pt x="1531" y="9953"/>
                            <a:pt x="1711" y="9175"/>
                            <a:pt x="1950" y="8458"/>
                          </a:cubicBezTo>
                          <a:cubicBezTo>
                            <a:pt x="1950" y="8398"/>
                            <a:pt x="2010" y="8278"/>
                            <a:pt x="2010" y="8218"/>
                          </a:cubicBezTo>
                          <a:cubicBezTo>
                            <a:pt x="2010" y="8158"/>
                            <a:pt x="2069" y="8039"/>
                            <a:pt x="2069" y="7979"/>
                          </a:cubicBezTo>
                          <a:cubicBezTo>
                            <a:pt x="2069" y="7919"/>
                            <a:pt x="2129" y="7800"/>
                            <a:pt x="2189" y="7740"/>
                          </a:cubicBezTo>
                          <a:cubicBezTo>
                            <a:pt x="2249" y="7680"/>
                            <a:pt x="2249" y="7620"/>
                            <a:pt x="2309" y="7501"/>
                          </a:cubicBezTo>
                          <a:cubicBezTo>
                            <a:pt x="2368" y="7381"/>
                            <a:pt x="2368" y="7321"/>
                            <a:pt x="2428" y="7202"/>
                          </a:cubicBezTo>
                          <a:cubicBezTo>
                            <a:pt x="2488" y="7082"/>
                            <a:pt x="2548" y="7022"/>
                            <a:pt x="2548" y="6903"/>
                          </a:cubicBezTo>
                          <a:cubicBezTo>
                            <a:pt x="2607" y="6783"/>
                            <a:pt x="2667" y="6723"/>
                            <a:pt x="2667" y="6604"/>
                          </a:cubicBezTo>
                          <a:cubicBezTo>
                            <a:pt x="2727" y="6484"/>
                            <a:pt x="2787" y="6424"/>
                            <a:pt x="2847" y="6304"/>
                          </a:cubicBezTo>
                          <a:cubicBezTo>
                            <a:pt x="3086" y="5946"/>
                            <a:pt x="3325" y="5587"/>
                            <a:pt x="3565" y="5228"/>
                          </a:cubicBezTo>
                          <a:cubicBezTo>
                            <a:pt x="3804" y="4869"/>
                            <a:pt x="4103" y="4570"/>
                            <a:pt x="4402" y="4271"/>
                          </a:cubicBezTo>
                          <a:cubicBezTo>
                            <a:pt x="4701" y="3972"/>
                            <a:pt x="5000" y="3673"/>
                            <a:pt x="5359" y="3434"/>
                          </a:cubicBezTo>
                          <a:cubicBezTo>
                            <a:pt x="5718" y="3195"/>
                            <a:pt x="6017" y="2955"/>
                            <a:pt x="6435" y="2716"/>
                          </a:cubicBezTo>
                          <a:cubicBezTo>
                            <a:pt x="6974" y="2417"/>
                            <a:pt x="7512" y="2118"/>
                            <a:pt x="8050" y="1939"/>
                          </a:cubicBezTo>
                          <a:cubicBezTo>
                            <a:pt x="8588" y="1759"/>
                            <a:pt x="9127" y="1580"/>
                            <a:pt x="9725" y="1520"/>
                          </a:cubicBezTo>
                          <a:cubicBezTo>
                            <a:pt x="10263" y="1460"/>
                            <a:pt x="10861" y="1401"/>
                            <a:pt x="11399" y="1460"/>
                          </a:cubicBezTo>
                          <a:cubicBezTo>
                            <a:pt x="11937" y="1520"/>
                            <a:pt x="12476" y="1580"/>
                            <a:pt x="13014" y="1759"/>
                          </a:cubicBezTo>
                          <a:cubicBezTo>
                            <a:pt x="13253" y="1819"/>
                            <a:pt x="13552" y="1939"/>
                            <a:pt x="13791" y="1999"/>
                          </a:cubicBezTo>
                          <a:cubicBezTo>
                            <a:pt x="14031" y="2118"/>
                            <a:pt x="14270" y="2238"/>
                            <a:pt x="14509" y="2357"/>
                          </a:cubicBezTo>
                          <a:cubicBezTo>
                            <a:pt x="14749" y="2477"/>
                            <a:pt x="14988" y="2596"/>
                            <a:pt x="15167" y="2776"/>
                          </a:cubicBezTo>
                          <a:cubicBezTo>
                            <a:pt x="15346" y="2955"/>
                            <a:pt x="15586" y="3075"/>
                            <a:pt x="15765" y="3255"/>
                          </a:cubicBezTo>
                          <a:cubicBezTo>
                            <a:pt x="16363" y="3793"/>
                            <a:pt x="16901" y="4450"/>
                            <a:pt x="17320" y="5109"/>
                          </a:cubicBezTo>
                          <a:cubicBezTo>
                            <a:pt x="17739" y="5826"/>
                            <a:pt x="18038" y="6544"/>
                            <a:pt x="18217" y="7321"/>
                          </a:cubicBezTo>
                          <a:cubicBezTo>
                            <a:pt x="18397" y="8099"/>
                            <a:pt x="18516" y="8936"/>
                            <a:pt x="18516" y="9773"/>
                          </a:cubicBezTo>
                          <a:cubicBezTo>
                            <a:pt x="18516" y="10611"/>
                            <a:pt x="18397" y="11508"/>
                            <a:pt x="18158" y="12345"/>
                          </a:cubicBezTo>
                          <a:cubicBezTo>
                            <a:pt x="18158" y="12405"/>
                            <a:pt x="18158" y="12465"/>
                            <a:pt x="18098" y="12525"/>
                          </a:cubicBezTo>
                          <a:cubicBezTo>
                            <a:pt x="18098" y="12585"/>
                            <a:pt x="18038" y="12644"/>
                            <a:pt x="18038" y="12704"/>
                          </a:cubicBezTo>
                          <a:cubicBezTo>
                            <a:pt x="18038" y="12764"/>
                            <a:pt x="17978" y="12824"/>
                            <a:pt x="17978" y="12883"/>
                          </a:cubicBezTo>
                          <a:cubicBezTo>
                            <a:pt x="17978" y="12943"/>
                            <a:pt x="17918" y="13003"/>
                            <a:pt x="17918" y="13063"/>
                          </a:cubicBezTo>
                          <a:cubicBezTo>
                            <a:pt x="17918" y="13123"/>
                            <a:pt x="17858" y="13182"/>
                            <a:pt x="17858" y="13242"/>
                          </a:cubicBezTo>
                          <a:cubicBezTo>
                            <a:pt x="17858" y="13302"/>
                            <a:pt x="17799" y="13362"/>
                            <a:pt x="17799" y="13422"/>
                          </a:cubicBezTo>
                          <a:cubicBezTo>
                            <a:pt x="17799" y="13481"/>
                            <a:pt x="17739" y="13541"/>
                            <a:pt x="17739" y="13541"/>
                          </a:cubicBezTo>
                          <a:cubicBezTo>
                            <a:pt x="17739" y="13601"/>
                            <a:pt x="17679" y="13661"/>
                            <a:pt x="17679" y="13661"/>
                          </a:cubicBezTo>
                          <a:cubicBezTo>
                            <a:pt x="17440" y="14199"/>
                            <a:pt x="17200" y="14678"/>
                            <a:pt x="16901" y="15156"/>
                          </a:cubicBezTo>
                          <a:cubicBezTo>
                            <a:pt x="16603" y="15634"/>
                            <a:pt x="16304" y="16053"/>
                            <a:pt x="15945" y="16472"/>
                          </a:cubicBezTo>
                          <a:cubicBezTo>
                            <a:pt x="15586" y="16890"/>
                            <a:pt x="15227" y="17249"/>
                            <a:pt x="14808" y="17608"/>
                          </a:cubicBezTo>
                          <a:cubicBezTo>
                            <a:pt x="14390" y="17967"/>
                            <a:pt x="13971" y="18266"/>
                            <a:pt x="13492" y="18565"/>
                          </a:cubicBezTo>
                          <a:cubicBezTo>
                            <a:pt x="13373" y="18625"/>
                            <a:pt x="13253" y="18685"/>
                            <a:pt x="13134" y="18804"/>
                          </a:cubicBezTo>
                          <a:cubicBezTo>
                            <a:pt x="13014" y="18864"/>
                            <a:pt x="12895" y="18924"/>
                            <a:pt x="12775" y="18984"/>
                          </a:cubicBezTo>
                          <a:cubicBezTo>
                            <a:pt x="12655" y="19043"/>
                            <a:pt x="12536" y="19103"/>
                            <a:pt x="12416" y="19163"/>
                          </a:cubicBezTo>
                          <a:cubicBezTo>
                            <a:pt x="12177" y="19343"/>
                            <a:pt x="12057" y="19402"/>
                            <a:pt x="11937" y="19402"/>
                          </a:cubicBezTo>
                          <a:moveTo>
                            <a:pt x="3983" y="18266"/>
                          </a:moveTo>
                          <a:cubicBezTo>
                            <a:pt x="4163" y="18446"/>
                            <a:pt x="4402" y="18625"/>
                            <a:pt x="4641" y="18744"/>
                          </a:cubicBezTo>
                          <a:cubicBezTo>
                            <a:pt x="4880" y="18924"/>
                            <a:pt x="5120" y="19043"/>
                            <a:pt x="5299" y="19163"/>
                          </a:cubicBezTo>
                          <a:cubicBezTo>
                            <a:pt x="5478" y="19283"/>
                            <a:pt x="5777" y="19402"/>
                            <a:pt x="6017" y="19522"/>
                          </a:cubicBezTo>
                          <a:cubicBezTo>
                            <a:pt x="6256" y="19642"/>
                            <a:pt x="6495" y="19702"/>
                            <a:pt x="6794" y="19761"/>
                          </a:cubicBezTo>
                          <a:cubicBezTo>
                            <a:pt x="7930" y="20120"/>
                            <a:pt x="9067" y="20180"/>
                            <a:pt x="10203" y="20001"/>
                          </a:cubicBezTo>
                          <a:cubicBezTo>
                            <a:pt x="11339" y="19821"/>
                            <a:pt x="12416" y="19402"/>
                            <a:pt x="13433" y="18804"/>
                          </a:cubicBezTo>
                          <a:cubicBezTo>
                            <a:pt x="14450" y="18206"/>
                            <a:pt x="15346" y="17429"/>
                            <a:pt x="16184" y="16472"/>
                          </a:cubicBezTo>
                          <a:cubicBezTo>
                            <a:pt x="16961" y="15515"/>
                            <a:pt x="17619" y="14379"/>
                            <a:pt x="18038" y="13182"/>
                          </a:cubicBezTo>
                          <a:cubicBezTo>
                            <a:pt x="18337" y="12226"/>
                            <a:pt x="18516" y="11269"/>
                            <a:pt x="18576" y="10372"/>
                          </a:cubicBezTo>
                          <a:cubicBezTo>
                            <a:pt x="18636" y="9415"/>
                            <a:pt x="18516" y="8517"/>
                            <a:pt x="18337" y="7680"/>
                          </a:cubicBezTo>
                          <a:cubicBezTo>
                            <a:pt x="18158" y="6843"/>
                            <a:pt x="17799" y="6006"/>
                            <a:pt x="17380" y="5288"/>
                          </a:cubicBezTo>
                          <a:cubicBezTo>
                            <a:pt x="16961" y="4570"/>
                            <a:pt x="16423" y="3912"/>
                            <a:pt x="15765" y="3314"/>
                          </a:cubicBezTo>
                          <a:cubicBezTo>
                            <a:pt x="15586" y="3135"/>
                            <a:pt x="15346" y="2955"/>
                            <a:pt x="15167" y="2836"/>
                          </a:cubicBezTo>
                          <a:cubicBezTo>
                            <a:pt x="14928" y="2656"/>
                            <a:pt x="14749" y="2537"/>
                            <a:pt x="14509" y="2417"/>
                          </a:cubicBezTo>
                          <a:cubicBezTo>
                            <a:pt x="14270" y="2298"/>
                            <a:pt x="14031" y="2178"/>
                            <a:pt x="13791" y="2058"/>
                          </a:cubicBezTo>
                          <a:cubicBezTo>
                            <a:pt x="13552" y="1939"/>
                            <a:pt x="13313" y="1879"/>
                            <a:pt x="13014" y="1759"/>
                          </a:cubicBezTo>
                          <a:cubicBezTo>
                            <a:pt x="12476" y="1580"/>
                            <a:pt x="11937" y="1460"/>
                            <a:pt x="11339" y="1460"/>
                          </a:cubicBezTo>
                          <a:cubicBezTo>
                            <a:pt x="10801" y="1401"/>
                            <a:pt x="10203" y="1460"/>
                            <a:pt x="9665" y="1520"/>
                          </a:cubicBezTo>
                          <a:cubicBezTo>
                            <a:pt x="9127" y="1580"/>
                            <a:pt x="8528" y="1759"/>
                            <a:pt x="7990" y="1939"/>
                          </a:cubicBezTo>
                          <a:cubicBezTo>
                            <a:pt x="7452" y="2118"/>
                            <a:pt x="6914" y="2417"/>
                            <a:pt x="6375" y="2716"/>
                          </a:cubicBezTo>
                          <a:cubicBezTo>
                            <a:pt x="5837" y="3015"/>
                            <a:pt x="5359" y="3434"/>
                            <a:pt x="4880" y="3793"/>
                          </a:cubicBezTo>
                          <a:cubicBezTo>
                            <a:pt x="4402" y="4211"/>
                            <a:pt x="3983" y="4630"/>
                            <a:pt x="3565" y="5109"/>
                          </a:cubicBezTo>
                          <a:cubicBezTo>
                            <a:pt x="3146" y="5587"/>
                            <a:pt x="2847" y="6125"/>
                            <a:pt x="2548" y="6663"/>
                          </a:cubicBezTo>
                          <a:cubicBezTo>
                            <a:pt x="2249" y="7202"/>
                            <a:pt x="2010" y="7800"/>
                            <a:pt x="1770" y="8398"/>
                          </a:cubicBezTo>
                          <a:cubicBezTo>
                            <a:pt x="1591" y="8996"/>
                            <a:pt x="1411" y="9594"/>
                            <a:pt x="1352" y="10252"/>
                          </a:cubicBezTo>
                          <a:cubicBezTo>
                            <a:pt x="1232" y="10850"/>
                            <a:pt x="1232" y="11448"/>
                            <a:pt x="1232" y="12106"/>
                          </a:cubicBezTo>
                          <a:cubicBezTo>
                            <a:pt x="1232" y="12704"/>
                            <a:pt x="1292" y="13302"/>
                            <a:pt x="1471" y="13900"/>
                          </a:cubicBezTo>
                          <a:cubicBezTo>
                            <a:pt x="1651" y="14498"/>
                            <a:pt x="1770" y="15036"/>
                            <a:pt x="2010" y="15575"/>
                          </a:cubicBezTo>
                          <a:cubicBezTo>
                            <a:pt x="2129" y="15874"/>
                            <a:pt x="2309" y="16113"/>
                            <a:pt x="2428" y="16352"/>
                          </a:cubicBezTo>
                          <a:cubicBezTo>
                            <a:pt x="2548" y="16592"/>
                            <a:pt x="2727" y="16831"/>
                            <a:pt x="2906" y="17070"/>
                          </a:cubicBezTo>
                          <a:cubicBezTo>
                            <a:pt x="3086" y="17309"/>
                            <a:pt x="3265" y="17548"/>
                            <a:pt x="3445" y="17728"/>
                          </a:cubicBezTo>
                          <a:cubicBezTo>
                            <a:pt x="3624" y="17907"/>
                            <a:pt x="3804" y="18087"/>
                            <a:pt x="3983" y="18266"/>
                          </a:cubicBezTo>
                          <a:moveTo>
                            <a:pt x="16603" y="2298"/>
                          </a:moveTo>
                          <a:cubicBezTo>
                            <a:pt x="17320" y="2896"/>
                            <a:pt x="17918" y="3673"/>
                            <a:pt x="18397" y="4510"/>
                          </a:cubicBezTo>
                          <a:cubicBezTo>
                            <a:pt x="18875" y="5348"/>
                            <a:pt x="19234" y="6245"/>
                            <a:pt x="19473" y="7262"/>
                          </a:cubicBezTo>
                          <a:cubicBezTo>
                            <a:pt x="19712" y="8218"/>
                            <a:pt x="19772" y="9295"/>
                            <a:pt x="19712" y="10312"/>
                          </a:cubicBezTo>
                          <a:cubicBezTo>
                            <a:pt x="19653" y="11388"/>
                            <a:pt x="19473" y="12465"/>
                            <a:pt x="19114" y="13541"/>
                          </a:cubicBezTo>
                          <a:cubicBezTo>
                            <a:pt x="18636" y="14917"/>
                            <a:pt x="17918" y="16173"/>
                            <a:pt x="17021" y="17249"/>
                          </a:cubicBezTo>
                          <a:cubicBezTo>
                            <a:pt x="16124" y="18326"/>
                            <a:pt x="15107" y="19223"/>
                            <a:pt x="13971" y="19881"/>
                          </a:cubicBezTo>
                          <a:cubicBezTo>
                            <a:pt x="12835" y="20539"/>
                            <a:pt x="11579" y="21017"/>
                            <a:pt x="10323" y="21197"/>
                          </a:cubicBezTo>
                          <a:cubicBezTo>
                            <a:pt x="9067" y="21376"/>
                            <a:pt x="7751" y="21316"/>
                            <a:pt x="6435" y="20957"/>
                          </a:cubicBezTo>
                          <a:cubicBezTo>
                            <a:pt x="6136" y="20897"/>
                            <a:pt x="5837" y="20778"/>
                            <a:pt x="5598" y="20658"/>
                          </a:cubicBezTo>
                          <a:cubicBezTo>
                            <a:pt x="5299" y="20539"/>
                            <a:pt x="5060" y="20419"/>
                            <a:pt x="4760" y="20240"/>
                          </a:cubicBezTo>
                          <a:cubicBezTo>
                            <a:pt x="4521" y="20120"/>
                            <a:pt x="4222" y="19941"/>
                            <a:pt x="3983" y="19761"/>
                          </a:cubicBezTo>
                          <a:cubicBezTo>
                            <a:pt x="3744" y="19582"/>
                            <a:pt x="3505" y="19402"/>
                            <a:pt x="3265" y="19223"/>
                          </a:cubicBezTo>
                          <a:cubicBezTo>
                            <a:pt x="3026" y="18984"/>
                            <a:pt x="2787" y="18804"/>
                            <a:pt x="2548" y="18565"/>
                          </a:cubicBezTo>
                          <a:cubicBezTo>
                            <a:pt x="2309" y="18326"/>
                            <a:pt x="2129" y="18087"/>
                            <a:pt x="1950" y="17788"/>
                          </a:cubicBezTo>
                          <a:cubicBezTo>
                            <a:pt x="1770" y="17488"/>
                            <a:pt x="1591" y="17249"/>
                            <a:pt x="1411" y="16950"/>
                          </a:cubicBezTo>
                          <a:cubicBezTo>
                            <a:pt x="1232" y="16651"/>
                            <a:pt x="1112" y="16352"/>
                            <a:pt x="933" y="16053"/>
                          </a:cubicBezTo>
                          <a:cubicBezTo>
                            <a:pt x="694" y="15455"/>
                            <a:pt x="454" y="14797"/>
                            <a:pt x="335" y="14139"/>
                          </a:cubicBezTo>
                          <a:cubicBezTo>
                            <a:pt x="215" y="13481"/>
                            <a:pt x="96" y="12824"/>
                            <a:pt x="96" y="12166"/>
                          </a:cubicBezTo>
                          <a:cubicBezTo>
                            <a:pt x="96" y="11508"/>
                            <a:pt x="96" y="10790"/>
                            <a:pt x="215" y="10132"/>
                          </a:cubicBezTo>
                          <a:cubicBezTo>
                            <a:pt x="335" y="9415"/>
                            <a:pt x="514" y="8757"/>
                            <a:pt x="694" y="8039"/>
                          </a:cubicBezTo>
                          <a:cubicBezTo>
                            <a:pt x="933" y="7321"/>
                            <a:pt x="1232" y="6663"/>
                            <a:pt x="1531" y="6065"/>
                          </a:cubicBezTo>
                          <a:cubicBezTo>
                            <a:pt x="1890" y="5467"/>
                            <a:pt x="2249" y="4869"/>
                            <a:pt x="2727" y="4331"/>
                          </a:cubicBezTo>
                          <a:cubicBezTo>
                            <a:pt x="3146" y="3793"/>
                            <a:pt x="3624" y="3255"/>
                            <a:pt x="4163" y="2836"/>
                          </a:cubicBezTo>
                          <a:cubicBezTo>
                            <a:pt x="4701" y="2417"/>
                            <a:pt x="5239" y="1999"/>
                            <a:pt x="5837" y="1640"/>
                          </a:cubicBezTo>
                          <a:cubicBezTo>
                            <a:pt x="6435" y="1281"/>
                            <a:pt x="7093" y="982"/>
                            <a:pt x="7691" y="802"/>
                          </a:cubicBezTo>
                          <a:cubicBezTo>
                            <a:pt x="8349" y="563"/>
                            <a:pt x="8947" y="443"/>
                            <a:pt x="9605" y="324"/>
                          </a:cubicBezTo>
                          <a:cubicBezTo>
                            <a:pt x="10263" y="204"/>
                            <a:pt x="10861" y="204"/>
                            <a:pt x="11519" y="264"/>
                          </a:cubicBezTo>
                          <a:cubicBezTo>
                            <a:pt x="12177" y="324"/>
                            <a:pt x="12775" y="443"/>
                            <a:pt x="13373" y="623"/>
                          </a:cubicBezTo>
                          <a:cubicBezTo>
                            <a:pt x="13672" y="742"/>
                            <a:pt x="13971" y="802"/>
                            <a:pt x="14270" y="922"/>
                          </a:cubicBezTo>
                          <a:cubicBezTo>
                            <a:pt x="14569" y="1041"/>
                            <a:pt x="14808" y="1161"/>
                            <a:pt x="15107" y="1341"/>
                          </a:cubicBezTo>
                          <a:cubicBezTo>
                            <a:pt x="15346" y="1460"/>
                            <a:pt x="15645" y="1640"/>
                            <a:pt x="15885" y="1819"/>
                          </a:cubicBezTo>
                          <a:cubicBezTo>
                            <a:pt x="16124" y="1939"/>
                            <a:pt x="16363" y="2118"/>
                            <a:pt x="16603" y="2298"/>
                          </a:cubicBezTo>
                          <a:moveTo>
                            <a:pt x="3146" y="19402"/>
                          </a:moveTo>
                          <a:cubicBezTo>
                            <a:pt x="3385" y="19582"/>
                            <a:pt x="3624" y="19821"/>
                            <a:pt x="3864" y="20001"/>
                          </a:cubicBezTo>
                          <a:cubicBezTo>
                            <a:pt x="4103" y="20180"/>
                            <a:pt x="4402" y="20359"/>
                            <a:pt x="4641" y="20479"/>
                          </a:cubicBezTo>
                          <a:cubicBezTo>
                            <a:pt x="4940" y="20598"/>
                            <a:pt x="5179" y="20778"/>
                            <a:pt x="5478" y="20897"/>
                          </a:cubicBezTo>
                          <a:cubicBezTo>
                            <a:pt x="5777" y="21017"/>
                            <a:pt x="6076" y="21137"/>
                            <a:pt x="6375" y="21197"/>
                          </a:cubicBezTo>
                          <a:cubicBezTo>
                            <a:pt x="6794" y="21316"/>
                            <a:pt x="7153" y="21376"/>
                            <a:pt x="7572" y="21436"/>
                          </a:cubicBezTo>
                          <a:cubicBezTo>
                            <a:pt x="7990" y="21496"/>
                            <a:pt x="8349" y="21496"/>
                            <a:pt x="8768" y="21556"/>
                          </a:cubicBezTo>
                          <a:cubicBezTo>
                            <a:pt x="9186" y="21556"/>
                            <a:pt x="9545" y="21556"/>
                            <a:pt x="9964" y="21496"/>
                          </a:cubicBezTo>
                          <a:cubicBezTo>
                            <a:pt x="10382" y="21436"/>
                            <a:pt x="10741" y="21376"/>
                            <a:pt x="11160" y="21256"/>
                          </a:cubicBezTo>
                          <a:cubicBezTo>
                            <a:pt x="11280" y="21197"/>
                            <a:pt x="11399" y="21197"/>
                            <a:pt x="11519" y="21137"/>
                          </a:cubicBezTo>
                          <a:cubicBezTo>
                            <a:pt x="11638" y="21077"/>
                            <a:pt x="11758" y="21077"/>
                            <a:pt x="11878" y="21017"/>
                          </a:cubicBezTo>
                          <a:cubicBezTo>
                            <a:pt x="11997" y="20957"/>
                            <a:pt x="12117" y="20957"/>
                            <a:pt x="12236" y="20897"/>
                          </a:cubicBezTo>
                          <a:cubicBezTo>
                            <a:pt x="12356" y="20838"/>
                            <a:pt x="12476" y="20838"/>
                            <a:pt x="12596" y="20778"/>
                          </a:cubicBezTo>
                          <a:cubicBezTo>
                            <a:pt x="13253" y="20479"/>
                            <a:pt x="13911" y="20120"/>
                            <a:pt x="14569" y="19702"/>
                          </a:cubicBezTo>
                          <a:cubicBezTo>
                            <a:pt x="15227" y="19283"/>
                            <a:pt x="15765" y="18804"/>
                            <a:pt x="16304" y="18266"/>
                          </a:cubicBezTo>
                          <a:cubicBezTo>
                            <a:pt x="16842" y="17728"/>
                            <a:pt x="17320" y="17130"/>
                            <a:pt x="17799" y="16412"/>
                          </a:cubicBezTo>
                          <a:cubicBezTo>
                            <a:pt x="18217" y="15754"/>
                            <a:pt x="18636" y="15036"/>
                            <a:pt x="18935" y="14259"/>
                          </a:cubicBezTo>
                          <a:cubicBezTo>
                            <a:pt x="18935" y="14199"/>
                            <a:pt x="18995" y="14139"/>
                            <a:pt x="18995" y="14080"/>
                          </a:cubicBezTo>
                          <a:cubicBezTo>
                            <a:pt x="18995" y="14020"/>
                            <a:pt x="19054" y="13960"/>
                            <a:pt x="19054" y="13900"/>
                          </a:cubicBezTo>
                          <a:cubicBezTo>
                            <a:pt x="19054" y="13840"/>
                            <a:pt x="19114" y="13780"/>
                            <a:pt x="19114" y="13721"/>
                          </a:cubicBezTo>
                          <a:cubicBezTo>
                            <a:pt x="19114" y="13661"/>
                            <a:pt x="19174" y="13601"/>
                            <a:pt x="19174" y="13541"/>
                          </a:cubicBezTo>
                          <a:cubicBezTo>
                            <a:pt x="19174" y="13481"/>
                            <a:pt x="19174" y="13481"/>
                            <a:pt x="19234" y="13422"/>
                          </a:cubicBezTo>
                          <a:cubicBezTo>
                            <a:pt x="19234" y="13362"/>
                            <a:pt x="19234" y="13362"/>
                            <a:pt x="19294" y="13302"/>
                          </a:cubicBezTo>
                          <a:cubicBezTo>
                            <a:pt x="19294" y="13242"/>
                            <a:pt x="19294" y="13242"/>
                            <a:pt x="19353" y="13182"/>
                          </a:cubicBezTo>
                          <a:cubicBezTo>
                            <a:pt x="19353" y="13123"/>
                            <a:pt x="19353" y="13123"/>
                            <a:pt x="19413" y="13063"/>
                          </a:cubicBezTo>
                          <a:cubicBezTo>
                            <a:pt x="19712" y="12046"/>
                            <a:pt x="19892" y="11029"/>
                            <a:pt x="19892" y="10012"/>
                          </a:cubicBezTo>
                          <a:cubicBezTo>
                            <a:pt x="19892" y="8996"/>
                            <a:pt x="19832" y="8039"/>
                            <a:pt x="19593" y="7082"/>
                          </a:cubicBezTo>
                          <a:cubicBezTo>
                            <a:pt x="19353" y="6125"/>
                            <a:pt x="18995" y="5228"/>
                            <a:pt x="18516" y="4450"/>
                          </a:cubicBezTo>
                          <a:cubicBezTo>
                            <a:pt x="18038" y="3613"/>
                            <a:pt x="17440" y="2896"/>
                            <a:pt x="16722" y="2238"/>
                          </a:cubicBezTo>
                          <a:cubicBezTo>
                            <a:pt x="16483" y="2058"/>
                            <a:pt x="16244" y="1819"/>
                            <a:pt x="16004" y="1640"/>
                          </a:cubicBezTo>
                          <a:cubicBezTo>
                            <a:pt x="15765" y="1460"/>
                            <a:pt x="15466" y="1281"/>
                            <a:pt x="15227" y="1161"/>
                          </a:cubicBezTo>
                          <a:cubicBezTo>
                            <a:pt x="14988" y="982"/>
                            <a:pt x="14689" y="862"/>
                            <a:pt x="14390" y="742"/>
                          </a:cubicBezTo>
                          <a:cubicBezTo>
                            <a:pt x="14091" y="623"/>
                            <a:pt x="13791" y="503"/>
                            <a:pt x="13492" y="384"/>
                          </a:cubicBezTo>
                          <a:cubicBezTo>
                            <a:pt x="12895" y="204"/>
                            <a:pt x="12236" y="85"/>
                            <a:pt x="11579" y="25"/>
                          </a:cubicBezTo>
                          <a:cubicBezTo>
                            <a:pt x="10921" y="-35"/>
                            <a:pt x="10263" y="25"/>
                            <a:pt x="9665" y="85"/>
                          </a:cubicBezTo>
                          <a:cubicBezTo>
                            <a:pt x="9007" y="204"/>
                            <a:pt x="8349" y="324"/>
                            <a:pt x="7751" y="563"/>
                          </a:cubicBezTo>
                          <a:cubicBezTo>
                            <a:pt x="7153" y="802"/>
                            <a:pt x="6495" y="1101"/>
                            <a:pt x="5837" y="1460"/>
                          </a:cubicBezTo>
                          <a:cubicBezTo>
                            <a:pt x="5419" y="1700"/>
                            <a:pt x="5000" y="1999"/>
                            <a:pt x="4581" y="2357"/>
                          </a:cubicBezTo>
                          <a:cubicBezTo>
                            <a:pt x="4163" y="2656"/>
                            <a:pt x="3804" y="3015"/>
                            <a:pt x="3445" y="3374"/>
                          </a:cubicBezTo>
                          <a:cubicBezTo>
                            <a:pt x="3086" y="3733"/>
                            <a:pt x="2727" y="4152"/>
                            <a:pt x="2428" y="4570"/>
                          </a:cubicBezTo>
                          <a:cubicBezTo>
                            <a:pt x="2129" y="4989"/>
                            <a:pt x="1830" y="5408"/>
                            <a:pt x="1591" y="5886"/>
                          </a:cubicBezTo>
                          <a:cubicBezTo>
                            <a:pt x="1531" y="6006"/>
                            <a:pt x="1471" y="6065"/>
                            <a:pt x="1471" y="6185"/>
                          </a:cubicBezTo>
                          <a:cubicBezTo>
                            <a:pt x="1411" y="6304"/>
                            <a:pt x="1352" y="6364"/>
                            <a:pt x="1352" y="6484"/>
                          </a:cubicBezTo>
                          <a:cubicBezTo>
                            <a:pt x="1292" y="6604"/>
                            <a:pt x="1232" y="6663"/>
                            <a:pt x="1232" y="6783"/>
                          </a:cubicBezTo>
                          <a:cubicBezTo>
                            <a:pt x="1172" y="6903"/>
                            <a:pt x="1172" y="6963"/>
                            <a:pt x="1112" y="7082"/>
                          </a:cubicBezTo>
                          <a:cubicBezTo>
                            <a:pt x="1052" y="7142"/>
                            <a:pt x="1052" y="7262"/>
                            <a:pt x="993" y="7321"/>
                          </a:cubicBezTo>
                          <a:cubicBezTo>
                            <a:pt x="933" y="7381"/>
                            <a:pt x="933" y="7501"/>
                            <a:pt x="873" y="7561"/>
                          </a:cubicBezTo>
                          <a:cubicBezTo>
                            <a:pt x="813" y="7620"/>
                            <a:pt x="813" y="7740"/>
                            <a:pt x="753" y="7800"/>
                          </a:cubicBezTo>
                          <a:cubicBezTo>
                            <a:pt x="694" y="7860"/>
                            <a:pt x="694" y="7979"/>
                            <a:pt x="634" y="8039"/>
                          </a:cubicBezTo>
                          <a:cubicBezTo>
                            <a:pt x="335" y="8996"/>
                            <a:pt x="96" y="9953"/>
                            <a:pt x="36" y="10910"/>
                          </a:cubicBezTo>
                          <a:cubicBezTo>
                            <a:pt x="-24" y="11867"/>
                            <a:pt x="-24" y="12824"/>
                            <a:pt x="156" y="13721"/>
                          </a:cubicBezTo>
                          <a:cubicBezTo>
                            <a:pt x="275" y="14618"/>
                            <a:pt x="574" y="15515"/>
                            <a:pt x="933" y="16293"/>
                          </a:cubicBezTo>
                          <a:cubicBezTo>
                            <a:pt x="1292" y="17130"/>
                            <a:pt x="1770" y="17848"/>
                            <a:pt x="2368" y="18505"/>
                          </a:cubicBezTo>
                          <a:cubicBezTo>
                            <a:pt x="2428" y="18565"/>
                            <a:pt x="2488" y="18625"/>
                            <a:pt x="2548" y="18744"/>
                          </a:cubicBezTo>
                          <a:cubicBezTo>
                            <a:pt x="2607" y="18804"/>
                            <a:pt x="2667" y="18864"/>
                            <a:pt x="2727" y="18984"/>
                          </a:cubicBezTo>
                          <a:cubicBezTo>
                            <a:pt x="2787" y="19043"/>
                            <a:pt x="2847" y="19103"/>
                            <a:pt x="2966" y="19163"/>
                          </a:cubicBezTo>
                          <a:cubicBezTo>
                            <a:pt x="2966" y="19223"/>
                            <a:pt x="3026" y="19283"/>
                            <a:pt x="3146" y="19402"/>
                          </a:cubicBezTo>
                          <a:cubicBezTo>
                            <a:pt x="3086" y="19343"/>
                            <a:pt x="3086" y="19343"/>
                            <a:pt x="3146" y="19402"/>
                          </a:cubicBezTo>
                          <a:cubicBezTo>
                            <a:pt x="3086" y="19343"/>
                            <a:pt x="3086" y="19343"/>
                            <a:pt x="3146" y="19402"/>
                          </a:cubicBezTo>
                          <a:cubicBezTo>
                            <a:pt x="3086" y="19343"/>
                            <a:pt x="3086" y="19343"/>
                            <a:pt x="3146" y="19402"/>
                          </a:cubicBezTo>
                          <a:cubicBezTo>
                            <a:pt x="3146" y="19402"/>
                            <a:pt x="3146" y="19402"/>
                            <a:pt x="3146" y="19402"/>
                          </a:cubicBezTo>
                        </a:path>
                      </a:pathLst>
                    </a:custGeom>
                    <a:noFill/>
                    <a:ln w="6350" cap="flat">
                      <a:solidFill>
                        <a:schemeClr val="bg1">
                          <a:alpha val="80000"/>
                        </a:schemeClr>
                      </a:solidFill>
                      <a:prstDash val="solid"/>
                      <a:miter/>
                    </a:ln>
                  </p:spPr>
                  <p:txBody>
                    <a:bodyPr rtlCol="0" anchor="ctr"/>
                    <a:lstStyle/>
                    <a:p>
                      <a:endParaRPr lang="en-GB"/>
                    </a:p>
                  </p:txBody>
                </p:sp>
                <p:sp>
                  <p:nvSpPr>
                    <p:cNvPr id="7451" name="Vrije vorm: vorm 7450">
                      <a:extLst>
                        <a:ext uri="{FF2B5EF4-FFF2-40B4-BE49-F238E27FC236}">
                          <a16:creationId xmlns:a16="http://schemas.microsoft.com/office/drawing/2014/main" id="{B6AC5C20-1C71-491E-A833-6E40B6D2B550}"/>
                        </a:ext>
                      </a:extLst>
                    </p:cNvPr>
                    <p:cNvSpPr/>
                    <p:nvPr/>
                  </p:nvSpPr>
                  <p:spPr>
                    <a:xfrm>
                      <a:off x="5049998" y="4947448"/>
                      <a:ext cx="19655" cy="21114"/>
                    </a:xfrm>
                    <a:custGeom>
                      <a:avLst/>
                      <a:gdLst>
                        <a:gd name="connsiteX0" fmla="*/ 15813 w 19655"/>
                        <a:gd name="connsiteY0" fmla="*/ 3075 h 21114"/>
                        <a:gd name="connsiteX1" fmla="*/ 17428 w 19655"/>
                        <a:gd name="connsiteY1" fmla="*/ 5048 h 21114"/>
                        <a:gd name="connsiteX2" fmla="*/ 18384 w 19655"/>
                        <a:gd name="connsiteY2" fmla="*/ 7441 h 21114"/>
                        <a:gd name="connsiteX3" fmla="*/ 18623 w 19655"/>
                        <a:gd name="connsiteY3" fmla="*/ 10132 h 21114"/>
                        <a:gd name="connsiteX4" fmla="*/ 18085 w 19655"/>
                        <a:gd name="connsiteY4" fmla="*/ 12943 h 21114"/>
                        <a:gd name="connsiteX5" fmla="*/ 16231 w 19655"/>
                        <a:gd name="connsiteY5" fmla="*/ 16232 h 21114"/>
                        <a:gd name="connsiteX6" fmla="*/ 13480 w 19655"/>
                        <a:gd name="connsiteY6" fmla="*/ 18565 h 21114"/>
                        <a:gd name="connsiteX7" fmla="*/ 10251 w 19655"/>
                        <a:gd name="connsiteY7" fmla="*/ 19761 h 21114"/>
                        <a:gd name="connsiteX8" fmla="*/ 6842 w 19655"/>
                        <a:gd name="connsiteY8" fmla="*/ 19522 h 21114"/>
                        <a:gd name="connsiteX9" fmla="*/ 6064 w 19655"/>
                        <a:gd name="connsiteY9" fmla="*/ 19283 h 21114"/>
                        <a:gd name="connsiteX10" fmla="*/ 5346 w 19655"/>
                        <a:gd name="connsiteY10" fmla="*/ 18924 h 21114"/>
                        <a:gd name="connsiteX11" fmla="*/ 4689 w 19655"/>
                        <a:gd name="connsiteY11" fmla="*/ 18505 h 21114"/>
                        <a:gd name="connsiteX12" fmla="*/ 4030 w 19655"/>
                        <a:gd name="connsiteY12" fmla="*/ 18026 h 21114"/>
                        <a:gd name="connsiteX13" fmla="*/ 3433 w 19655"/>
                        <a:gd name="connsiteY13" fmla="*/ 17429 h 21114"/>
                        <a:gd name="connsiteX14" fmla="*/ 2894 w 19655"/>
                        <a:gd name="connsiteY14" fmla="*/ 16771 h 21114"/>
                        <a:gd name="connsiteX15" fmla="*/ 2416 w 19655"/>
                        <a:gd name="connsiteY15" fmla="*/ 16053 h 21114"/>
                        <a:gd name="connsiteX16" fmla="*/ 1997 w 19655"/>
                        <a:gd name="connsiteY16" fmla="*/ 15276 h 21114"/>
                        <a:gd name="connsiteX17" fmla="*/ 1459 w 19655"/>
                        <a:gd name="connsiteY17" fmla="*/ 13601 h 21114"/>
                        <a:gd name="connsiteX18" fmla="*/ 1220 w 19655"/>
                        <a:gd name="connsiteY18" fmla="*/ 11807 h 21114"/>
                        <a:gd name="connsiteX19" fmla="*/ 1339 w 19655"/>
                        <a:gd name="connsiteY19" fmla="*/ 9953 h 21114"/>
                        <a:gd name="connsiteX20" fmla="*/ 1758 w 19655"/>
                        <a:gd name="connsiteY20" fmla="*/ 8099 h 21114"/>
                        <a:gd name="connsiteX21" fmla="*/ 2535 w 19655"/>
                        <a:gd name="connsiteY21" fmla="*/ 6364 h 21114"/>
                        <a:gd name="connsiteX22" fmla="*/ 3552 w 19655"/>
                        <a:gd name="connsiteY22" fmla="*/ 4809 h 21114"/>
                        <a:gd name="connsiteX23" fmla="*/ 4868 w 19655"/>
                        <a:gd name="connsiteY23" fmla="*/ 3493 h 21114"/>
                        <a:gd name="connsiteX24" fmla="*/ 6363 w 19655"/>
                        <a:gd name="connsiteY24" fmla="*/ 2417 h 21114"/>
                        <a:gd name="connsiteX25" fmla="*/ 7978 w 19655"/>
                        <a:gd name="connsiteY25" fmla="*/ 1639 h 21114"/>
                        <a:gd name="connsiteX26" fmla="*/ 9652 w 19655"/>
                        <a:gd name="connsiteY26" fmla="*/ 1221 h 21114"/>
                        <a:gd name="connsiteX27" fmla="*/ 11327 w 19655"/>
                        <a:gd name="connsiteY27" fmla="*/ 1161 h 21114"/>
                        <a:gd name="connsiteX28" fmla="*/ 13002 w 19655"/>
                        <a:gd name="connsiteY28" fmla="*/ 1460 h 21114"/>
                        <a:gd name="connsiteX29" fmla="*/ 13779 w 19655"/>
                        <a:gd name="connsiteY29" fmla="*/ 1759 h 21114"/>
                        <a:gd name="connsiteX30" fmla="*/ 14497 w 19655"/>
                        <a:gd name="connsiteY30" fmla="*/ 2118 h 21114"/>
                        <a:gd name="connsiteX31" fmla="*/ 15155 w 19655"/>
                        <a:gd name="connsiteY31" fmla="*/ 2537 h 21114"/>
                        <a:gd name="connsiteX32" fmla="*/ 15813 w 19655"/>
                        <a:gd name="connsiteY32" fmla="*/ 3075 h 21114"/>
                        <a:gd name="connsiteX33" fmla="*/ 3193 w 19655"/>
                        <a:gd name="connsiteY33" fmla="*/ 19043 h 21114"/>
                        <a:gd name="connsiteX34" fmla="*/ 3911 w 19655"/>
                        <a:gd name="connsiteY34" fmla="*/ 19582 h 21114"/>
                        <a:gd name="connsiteX35" fmla="*/ 4689 w 19655"/>
                        <a:gd name="connsiteY35" fmla="*/ 20060 h 21114"/>
                        <a:gd name="connsiteX36" fmla="*/ 5526 w 19655"/>
                        <a:gd name="connsiteY36" fmla="*/ 20479 h 21114"/>
                        <a:gd name="connsiteX37" fmla="*/ 6363 w 19655"/>
                        <a:gd name="connsiteY37" fmla="*/ 20778 h 21114"/>
                        <a:gd name="connsiteX38" fmla="*/ 10251 w 19655"/>
                        <a:gd name="connsiteY38" fmla="*/ 21017 h 21114"/>
                        <a:gd name="connsiteX39" fmla="*/ 13899 w 19655"/>
                        <a:gd name="connsiteY39" fmla="*/ 19701 h 21114"/>
                        <a:gd name="connsiteX40" fmla="*/ 16949 w 19655"/>
                        <a:gd name="connsiteY40" fmla="*/ 17070 h 21114"/>
                        <a:gd name="connsiteX41" fmla="*/ 19042 w 19655"/>
                        <a:gd name="connsiteY41" fmla="*/ 13362 h 21114"/>
                        <a:gd name="connsiteX42" fmla="*/ 19640 w 19655"/>
                        <a:gd name="connsiteY42" fmla="*/ 10132 h 21114"/>
                        <a:gd name="connsiteX43" fmla="*/ 19401 w 19655"/>
                        <a:gd name="connsiteY43" fmla="*/ 7082 h 21114"/>
                        <a:gd name="connsiteX44" fmla="*/ 18324 w 19655"/>
                        <a:gd name="connsiteY44" fmla="*/ 4331 h 21114"/>
                        <a:gd name="connsiteX45" fmla="*/ 16530 w 19655"/>
                        <a:gd name="connsiteY45" fmla="*/ 2118 h 21114"/>
                        <a:gd name="connsiteX46" fmla="*/ 15813 w 19655"/>
                        <a:gd name="connsiteY46" fmla="*/ 1579 h 21114"/>
                        <a:gd name="connsiteX47" fmla="*/ 15035 w 19655"/>
                        <a:gd name="connsiteY47" fmla="*/ 1101 h 21114"/>
                        <a:gd name="connsiteX48" fmla="*/ 14198 w 19655"/>
                        <a:gd name="connsiteY48" fmla="*/ 683 h 21114"/>
                        <a:gd name="connsiteX49" fmla="*/ 13301 w 19655"/>
                        <a:gd name="connsiteY49" fmla="*/ 384 h 21114"/>
                        <a:gd name="connsiteX50" fmla="*/ 11447 w 19655"/>
                        <a:gd name="connsiteY50" fmla="*/ 25 h 21114"/>
                        <a:gd name="connsiteX51" fmla="*/ 9533 w 19655"/>
                        <a:gd name="connsiteY51" fmla="*/ 84 h 21114"/>
                        <a:gd name="connsiteX52" fmla="*/ 7619 w 19655"/>
                        <a:gd name="connsiteY52" fmla="*/ 563 h 21114"/>
                        <a:gd name="connsiteX53" fmla="*/ 5765 w 19655"/>
                        <a:gd name="connsiteY53" fmla="*/ 1400 h 21114"/>
                        <a:gd name="connsiteX54" fmla="*/ 4090 w 19655"/>
                        <a:gd name="connsiteY54" fmla="*/ 2596 h 21114"/>
                        <a:gd name="connsiteX55" fmla="*/ 2655 w 19655"/>
                        <a:gd name="connsiteY55" fmla="*/ 4092 h 21114"/>
                        <a:gd name="connsiteX56" fmla="*/ 1459 w 19655"/>
                        <a:gd name="connsiteY56" fmla="*/ 5826 h 21114"/>
                        <a:gd name="connsiteX57" fmla="*/ 622 w 19655"/>
                        <a:gd name="connsiteY57" fmla="*/ 7800 h 21114"/>
                        <a:gd name="connsiteX58" fmla="*/ 143 w 19655"/>
                        <a:gd name="connsiteY58" fmla="*/ 9893 h 21114"/>
                        <a:gd name="connsiteX59" fmla="*/ 23 w 19655"/>
                        <a:gd name="connsiteY59" fmla="*/ 11926 h 21114"/>
                        <a:gd name="connsiteX60" fmla="*/ 263 w 19655"/>
                        <a:gd name="connsiteY60" fmla="*/ 13900 h 21114"/>
                        <a:gd name="connsiteX61" fmla="*/ 861 w 19655"/>
                        <a:gd name="connsiteY61" fmla="*/ 15814 h 21114"/>
                        <a:gd name="connsiteX62" fmla="*/ 1339 w 19655"/>
                        <a:gd name="connsiteY62" fmla="*/ 16711 h 21114"/>
                        <a:gd name="connsiteX63" fmla="*/ 1877 w 19655"/>
                        <a:gd name="connsiteY63" fmla="*/ 17548 h 21114"/>
                        <a:gd name="connsiteX64" fmla="*/ 2476 w 19655"/>
                        <a:gd name="connsiteY64" fmla="*/ 18326 h 21114"/>
                        <a:gd name="connsiteX65" fmla="*/ 3193 w 19655"/>
                        <a:gd name="connsiteY65" fmla="*/ 19043 h 21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9655" h="21114">
                          <a:moveTo>
                            <a:pt x="15813" y="3075"/>
                          </a:moveTo>
                          <a:cubicBezTo>
                            <a:pt x="16470" y="3613"/>
                            <a:pt x="16949" y="4271"/>
                            <a:pt x="17428" y="5048"/>
                          </a:cubicBezTo>
                          <a:cubicBezTo>
                            <a:pt x="17846" y="5766"/>
                            <a:pt x="18145" y="6603"/>
                            <a:pt x="18384" y="7441"/>
                          </a:cubicBezTo>
                          <a:cubicBezTo>
                            <a:pt x="18564" y="8278"/>
                            <a:pt x="18683" y="9235"/>
                            <a:pt x="18623" y="10132"/>
                          </a:cubicBezTo>
                          <a:cubicBezTo>
                            <a:pt x="18564" y="11089"/>
                            <a:pt x="18384" y="11986"/>
                            <a:pt x="18085" y="12943"/>
                          </a:cubicBezTo>
                          <a:cubicBezTo>
                            <a:pt x="17667" y="14199"/>
                            <a:pt x="17009" y="15335"/>
                            <a:pt x="16231" y="16232"/>
                          </a:cubicBezTo>
                          <a:cubicBezTo>
                            <a:pt x="15454" y="17189"/>
                            <a:pt x="14497" y="17967"/>
                            <a:pt x="13480" y="18565"/>
                          </a:cubicBezTo>
                          <a:cubicBezTo>
                            <a:pt x="12463" y="19163"/>
                            <a:pt x="11387" y="19582"/>
                            <a:pt x="10251" y="19761"/>
                          </a:cubicBezTo>
                          <a:cubicBezTo>
                            <a:pt x="9114" y="19940"/>
                            <a:pt x="7978" y="19880"/>
                            <a:pt x="6842" y="19522"/>
                          </a:cubicBezTo>
                          <a:cubicBezTo>
                            <a:pt x="6602" y="19462"/>
                            <a:pt x="6303" y="19342"/>
                            <a:pt x="6064" y="19283"/>
                          </a:cubicBezTo>
                          <a:cubicBezTo>
                            <a:pt x="5825" y="19163"/>
                            <a:pt x="5586" y="19043"/>
                            <a:pt x="5346" y="18924"/>
                          </a:cubicBezTo>
                          <a:cubicBezTo>
                            <a:pt x="5107" y="18804"/>
                            <a:pt x="4868" y="18625"/>
                            <a:pt x="4689" y="18505"/>
                          </a:cubicBezTo>
                          <a:cubicBezTo>
                            <a:pt x="4449" y="18326"/>
                            <a:pt x="4270" y="18206"/>
                            <a:pt x="4030" y="18026"/>
                          </a:cubicBezTo>
                          <a:cubicBezTo>
                            <a:pt x="3791" y="17847"/>
                            <a:pt x="3612" y="17668"/>
                            <a:pt x="3433" y="17429"/>
                          </a:cubicBezTo>
                          <a:cubicBezTo>
                            <a:pt x="3253" y="17189"/>
                            <a:pt x="3074" y="17010"/>
                            <a:pt x="2894" y="16771"/>
                          </a:cubicBezTo>
                          <a:cubicBezTo>
                            <a:pt x="2715" y="16531"/>
                            <a:pt x="2535" y="16292"/>
                            <a:pt x="2416" y="16053"/>
                          </a:cubicBezTo>
                          <a:cubicBezTo>
                            <a:pt x="2296" y="15814"/>
                            <a:pt x="2117" y="15515"/>
                            <a:pt x="1997" y="15276"/>
                          </a:cubicBezTo>
                          <a:cubicBezTo>
                            <a:pt x="1758" y="14737"/>
                            <a:pt x="1579" y="14139"/>
                            <a:pt x="1459" y="13601"/>
                          </a:cubicBezTo>
                          <a:cubicBezTo>
                            <a:pt x="1339" y="13063"/>
                            <a:pt x="1280" y="12405"/>
                            <a:pt x="1220" y="11807"/>
                          </a:cubicBezTo>
                          <a:cubicBezTo>
                            <a:pt x="1220" y="11209"/>
                            <a:pt x="1220" y="10610"/>
                            <a:pt x="1339" y="9953"/>
                          </a:cubicBezTo>
                          <a:cubicBezTo>
                            <a:pt x="1459" y="9355"/>
                            <a:pt x="1579" y="8756"/>
                            <a:pt x="1758" y="8099"/>
                          </a:cubicBezTo>
                          <a:cubicBezTo>
                            <a:pt x="1997" y="7501"/>
                            <a:pt x="2236" y="6902"/>
                            <a:pt x="2535" y="6364"/>
                          </a:cubicBezTo>
                          <a:cubicBezTo>
                            <a:pt x="2835" y="5826"/>
                            <a:pt x="3193" y="5288"/>
                            <a:pt x="3552" y="4809"/>
                          </a:cubicBezTo>
                          <a:cubicBezTo>
                            <a:pt x="3971" y="4331"/>
                            <a:pt x="4389" y="3852"/>
                            <a:pt x="4868" y="3493"/>
                          </a:cubicBezTo>
                          <a:cubicBezTo>
                            <a:pt x="5346" y="3075"/>
                            <a:pt x="5825" y="2716"/>
                            <a:pt x="6363" y="2417"/>
                          </a:cubicBezTo>
                          <a:cubicBezTo>
                            <a:pt x="6901" y="2118"/>
                            <a:pt x="7440" y="1819"/>
                            <a:pt x="7978" y="1639"/>
                          </a:cubicBezTo>
                          <a:cubicBezTo>
                            <a:pt x="8516" y="1460"/>
                            <a:pt x="9114" y="1281"/>
                            <a:pt x="9652" y="1221"/>
                          </a:cubicBezTo>
                          <a:cubicBezTo>
                            <a:pt x="10191" y="1161"/>
                            <a:pt x="10789" y="1101"/>
                            <a:pt x="11327" y="1161"/>
                          </a:cubicBezTo>
                          <a:cubicBezTo>
                            <a:pt x="11865" y="1221"/>
                            <a:pt x="12463" y="1340"/>
                            <a:pt x="13002" y="1460"/>
                          </a:cubicBezTo>
                          <a:cubicBezTo>
                            <a:pt x="13241" y="1520"/>
                            <a:pt x="13540" y="1639"/>
                            <a:pt x="13779" y="1759"/>
                          </a:cubicBezTo>
                          <a:cubicBezTo>
                            <a:pt x="14019" y="1879"/>
                            <a:pt x="14258" y="1998"/>
                            <a:pt x="14497" y="2118"/>
                          </a:cubicBezTo>
                          <a:cubicBezTo>
                            <a:pt x="14736" y="2238"/>
                            <a:pt x="14975" y="2417"/>
                            <a:pt x="15155" y="2537"/>
                          </a:cubicBezTo>
                          <a:cubicBezTo>
                            <a:pt x="15394" y="2716"/>
                            <a:pt x="15574" y="2895"/>
                            <a:pt x="15813" y="3075"/>
                          </a:cubicBezTo>
                          <a:moveTo>
                            <a:pt x="3193" y="19043"/>
                          </a:moveTo>
                          <a:cubicBezTo>
                            <a:pt x="3433" y="19223"/>
                            <a:pt x="3672" y="19402"/>
                            <a:pt x="3911" y="19582"/>
                          </a:cubicBezTo>
                          <a:cubicBezTo>
                            <a:pt x="4150" y="19761"/>
                            <a:pt x="4389" y="19940"/>
                            <a:pt x="4689" y="20060"/>
                          </a:cubicBezTo>
                          <a:cubicBezTo>
                            <a:pt x="4928" y="20180"/>
                            <a:pt x="5227" y="20359"/>
                            <a:pt x="5526" y="20479"/>
                          </a:cubicBezTo>
                          <a:cubicBezTo>
                            <a:pt x="5825" y="20599"/>
                            <a:pt x="6124" y="20718"/>
                            <a:pt x="6363" y="20778"/>
                          </a:cubicBezTo>
                          <a:cubicBezTo>
                            <a:pt x="7619" y="21137"/>
                            <a:pt x="8935" y="21196"/>
                            <a:pt x="10251" y="21017"/>
                          </a:cubicBezTo>
                          <a:cubicBezTo>
                            <a:pt x="11506" y="20838"/>
                            <a:pt x="12762" y="20359"/>
                            <a:pt x="13899" y="19701"/>
                          </a:cubicBezTo>
                          <a:cubicBezTo>
                            <a:pt x="15035" y="19043"/>
                            <a:pt x="16112" y="18146"/>
                            <a:pt x="16949" y="17070"/>
                          </a:cubicBezTo>
                          <a:cubicBezTo>
                            <a:pt x="17846" y="15993"/>
                            <a:pt x="18564" y="14737"/>
                            <a:pt x="19042" y="13362"/>
                          </a:cubicBezTo>
                          <a:cubicBezTo>
                            <a:pt x="19401" y="12285"/>
                            <a:pt x="19581" y="11209"/>
                            <a:pt x="19640" y="10132"/>
                          </a:cubicBezTo>
                          <a:cubicBezTo>
                            <a:pt x="19700" y="9055"/>
                            <a:pt x="19581" y="8039"/>
                            <a:pt x="19401" y="7082"/>
                          </a:cubicBezTo>
                          <a:cubicBezTo>
                            <a:pt x="19162" y="6125"/>
                            <a:pt x="18803" y="5168"/>
                            <a:pt x="18324" y="4331"/>
                          </a:cubicBezTo>
                          <a:cubicBezTo>
                            <a:pt x="17846" y="3493"/>
                            <a:pt x="17248" y="2776"/>
                            <a:pt x="16530" y="2118"/>
                          </a:cubicBezTo>
                          <a:cubicBezTo>
                            <a:pt x="16291" y="1938"/>
                            <a:pt x="16052" y="1759"/>
                            <a:pt x="15813" y="1579"/>
                          </a:cubicBezTo>
                          <a:cubicBezTo>
                            <a:pt x="15574" y="1400"/>
                            <a:pt x="15334" y="1221"/>
                            <a:pt x="15035" y="1101"/>
                          </a:cubicBezTo>
                          <a:cubicBezTo>
                            <a:pt x="14796" y="982"/>
                            <a:pt x="14497" y="802"/>
                            <a:pt x="14198" y="683"/>
                          </a:cubicBezTo>
                          <a:cubicBezTo>
                            <a:pt x="13899" y="563"/>
                            <a:pt x="13600" y="443"/>
                            <a:pt x="13301" y="384"/>
                          </a:cubicBezTo>
                          <a:cubicBezTo>
                            <a:pt x="12703" y="204"/>
                            <a:pt x="12045" y="84"/>
                            <a:pt x="11447" y="25"/>
                          </a:cubicBezTo>
                          <a:cubicBezTo>
                            <a:pt x="10789" y="-35"/>
                            <a:pt x="10191" y="25"/>
                            <a:pt x="9533" y="84"/>
                          </a:cubicBezTo>
                          <a:cubicBezTo>
                            <a:pt x="8875" y="144"/>
                            <a:pt x="8277" y="324"/>
                            <a:pt x="7619" y="563"/>
                          </a:cubicBezTo>
                          <a:cubicBezTo>
                            <a:pt x="6961" y="802"/>
                            <a:pt x="6363" y="1101"/>
                            <a:pt x="5765" y="1400"/>
                          </a:cubicBezTo>
                          <a:cubicBezTo>
                            <a:pt x="5167" y="1759"/>
                            <a:pt x="4569" y="2178"/>
                            <a:pt x="4090" y="2596"/>
                          </a:cubicBezTo>
                          <a:cubicBezTo>
                            <a:pt x="3612" y="3015"/>
                            <a:pt x="3074" y="3553"/>
                            <a:pt x="2655" y="4092"/>
                          </a:cubicBezTo>
                          <a:cubicBezTo>
                            <a:pt x="2236" y="4630"/>
                            <a:pt x="1818" y="5228"/>
                            <a:pt x="1459" y="5826"/>
                          </a:cubicBezTo>
                          <a:cubicBezTo>
                            <a:pt x="1100" y="6424"/>
                            <a:pt x="801" y="7142"/>
                            <a:pt x="622" y="7800"/>
                          </a:cubicBezTo>
                          <a:cubicBezTo>
                            <a:pt x="382" y="8457"/>
                            <a:pt x="203" y="9175"/>
                            <a:pt x="143" y="9893"/>
                          </a:cubicBezTo>
                          <a:cubicBezTo>
                            <a:pt x="23" y="10610"/>
                            <a:pt x="-36" y="11268"/>
                            <a:pt x="23" y="11926"/>
                          </a:cubicBezTo>
                          <a:cubicBezTo>
                            <a:pt x="23" y="12584"/>
                            <a:pt x="143" y="13302"/>
                            <a:pt x="263" y="13900"/>
                          </a:cubicBezTo>
                          <a:cubicBezTo>
                            <a:pt x="382" y="14558"/>
                            <a:pt x="622" y="15156"/>
                            <a:pt x="861" y="15814"/>
                          </a:cubicBezTo>
                          <a:cubicBezTo>
                            <a:pt x="981" y="16113"/>
                            <a:pt x="1160" y="16412"/>
                            <a:pt x="1339" y="16711"/>
                          </a:cubicBezTo>
                          <a:cubicBezTo>
                            <a:pt x="1519" y="17010"/>
                            <a:pt x="1698" y="17309"/>
                            <a:pt x="1877" y="17548"/>
                          </a:cubicBezTo>
                          <a:cubicBezTo>
                            <a:pt x="2057" y="17787"/>
                            <a:pt x="2296" y="18086"/>
                            <a:pt x="2476" y="18326"/>
                          </a:cubicBezTo>
                          <a:cubicBezTo>
                            <a:pt x="2775" y="18565"/>
                            <a:pt x="2954" y="18804"/>
                            <a:pt x="3193" y="19043"/>
                          </a:cubicBezTo>
                        </a:path>
                      </a:pathLst>
                    </a:custGeom>
                    <a:noFill/>
                    <a:ln w="6350" cap="flat">
                      <a:solidFill>
                        <a:schemeClr val="bg1">
                          <a:alpha val="80000"/>
                        </a:schemeClr>
                      </a:solidFill>
                      <a:prstDash val="solid"/>
                      <a:miter/>
                    </a:ln>
                  </p:spPr>
                  <p:txBody>
                    <a:bodyPr rtlCol="0" anchor="ctr"/>
                    <a:lstStyle/>
                    <a:p>
                      <a:endParaRPr lang="en-GB"/>
                    </a:p>
                  </p:txBody>
                </p:sp>
                <p:sp>
                  <p:nvSpPr>
                    <p:cNvPr id="7452" name="Vrije vorm: vorm 7451">
                      <a:extLst>
                        <a:ext uri="{FF2B5EF4-FFF2-40B4-BE49-F238E27FC236}">
                          <a16:creationId xmlns:a16="http://schemas.microsoft.com/office/drawing/2014/main" id="{5CE73E7A-277C-4764-B91A-AB174D1642EB}"/>
                        </a:ext>
                      </a:extLst>
                    </p:cNvPr>
                    <p:cNvSpPr/>
                    <p:nvPr/>
                  </p:nvSpPr>
                  <p:spPr>
                    <a:xfrm>
                      <a:off x="5053466" y="4951001"/>
                      <a:ext cx="12942" cy="13875"/>
                    </a:xfrm>
                    <a:custGeom>
                      <a:avLst/>
                      <a:gdLst>
                        <a:gd name="connsiteX0" fmla="*/ 11029 w 12942"/>
                        <a:gd name="connsiteY0" fmla="*/ 8672 h 13875"/>
                        <a:gd name="connsiteX1" fmla="*/ 9893 w 12942"/>
                        <a:gd name="connsiteY1" fmla="*/ 10466 h 13875"/>
                        <a:gd name="connsiteX2" fmla="*/ 8338 w 12942"/>
                        <a:gd name="connsiteY2" fmla="*/ 11722 h 13875"/>
                        <a:gd name="connsiteX3" fmla="*/ 6484 w 12942"/>
                        <a:gd name="connsiteY3" fmla="*/ 12320 h 13875"/>
                        <a:gd name="connsiteX4" fmla="*/ 4570 w 12942"/>
                        <a:gd name="connsiteY4" fmla="*/ 12201 h 13875"/>
                        <a:gd name="connsiteX5" fmla="*/ 4152 w 12942"/>
                        <a:gd name="connsiteY5" fmla="*/ 12081 h 13875"/>
                        <a:gd name="connsiteX6" fmla="*/ 3733 w 12942"/>
                        <a:gd name="connsiteY6" fmla="*/ 11902 h 13875"/>
                        <a:gd name="connsiteX7" fmla="*/ 3314 w 12942"/>
                        <a:gd name="connsiteY7" fmla="*/ 11662 h 13875"/>
                        <a:gd name="connsiteX8" fmla="*/ 2955 w 12942"/>
                        <a:gd name="connsiteY8" fmla="*/ 11364 h 13875"/>
                        <a:gd name="connsiteX9" fmla="*/ 2656 w 12942"/>
                        <a:gd name="connsiteY9" fmla="*/ 11065 h 13875"/>
                        <a:gd name="connsiteX10" fmla="*/ 2357 w 12942"/>
                        <a:gd name="connsiteY10" fmla="*/ 10765 h 13875"/>
                        <a:gd name="connsiteX11" fmla="*/ 2118 w 12942"/>
                        <a:gd name="connsiteY11" fmla="*/ 10406 h 13875"/>
                        <a:gd name="connsiteX12" fmla="*/ 1879 w 12942"/>
                        <a:gd name="connsiteY12" fmla="*/ 10048 h 13875"/>
                        <a:gd name="connsiteX13" fmla="*/ 1699 w 12942"/>
                        <a:gd name="connsiteY13" fmla="*/ 9689 h 13875"/>
                        <a:gd name="connsiteX14" fmla="*/ 1580 w 12942"/>
                        <a:gd name="connsiteY14" fmla="*/ 9330 h 13875"/>
                        <a:gd name="connsiteX15" fmla="*/ 1460 w 12942"/>
                        <a:gd name="connsiteY15" fmla="*/ 8911 h 13875"/>
                        <a:gd name="connsiteX16" fmla="*/ 1400 w 12942"/>
                        <a:gd name="connsiteY16" fmla="*/ 8493 h 13875"/>
                        <a:gd name="connsiteX17" fmla="*/ 1340 w 12942"/>
                        <a:gd name="connsiteY17" fmla="*/ 7775 h 13875"/>
                        <a:gd name="connsiteX18" fmla="*/ 1340 w 12942"/>
                        <a:gd name="connsiteY18" fmla="*/ 7057 h 13875"/>
                        <a:gd name="connsiteX19" fmla="*/ 1460 w 12942"/>
                        <a:gd name="connsiteY19" fmla="*/ 6280 h 13875"/>
                        <a:gd name="connsiteX20" fmla="*/ 1640 w 12942"/>
                        <a:gd name="connsiteY20" fmla="*/ 5502 h 13875"/>
                        <a:gd name="connsiteX21" fmla="*/ 1699 w 12942"/>
                        <a:gd name="connsiteY21" fmla="*/ 5323 h 13875"/>
                        <a:gd name="connsiteX22" fmla="*/ 1759 w 12942"/>
                        <a:gd name="connsiteY22" fmla="*/ 5203 h 13875"/>
                        <a:gd name="connsiteX23" fmla="*/ 1819 w 12942"/>
                        <a:gd name="connsiteY23" fmla="*/ 5084 h 13875"/>
                        <a:gd name="connsiteX24" fmla="*/ 1879 w 12942"/>
                        <a:gd name="connsiteY24" fmla="*/ 4964 h 13875"/>
                        <a:gd name="connsiteX25" fmla="*/ 1999 w 12942"/>
                        <a:gd name="connsiteY25" fmla="*/ 4665 h 13875"/>
                        <a:gd name="connsiteX26" fmla="*/ 2178 w 12942"/>
                        <a:gd name="connsiteY26" fmla="*/ 4366 h 13875"/>
                        <a:gd name="connsiteX27" fmla="*/ 2357 w 12942"/>
                        <a:gd name="connsiteY27" fmla="*/ 4127 h 13875"/>
                        <a:gd name="connsiteX28" fmla="*/ 2537 w 12942"/>
                        <a:gd name="connsiteY28" fmla="*/ 3888 h 13875"/>
                        <a:gd name="connsiteX29" fmla="*/ 2895 w 12942"/>
                        <a:gd name="connsiteY29" fmla="*/ 3409 h 13875"/>
                        <a:gd name="connsiteX30" fmla="*/ 3314 w 12942"/>
                        <a:gd name="connsiteY30" fmla="*/ 2990 h 13875"/>
                        <a:gd name="connsiteX31" fmla="*/ 3793 w 12942"/>
                        <a:gd name="connsiteY31" fmla="*/ 2572 h 13875"/>
                        <a:gd name="connsiteX32" fmla="*/ 4331 w 12942"/>
                        <a:gd name="connsiteY32" fmla="*/ 2213 h 13875"/>
                        <a:gd name="connsiteX33" fmla="*/ 5288 w 12942"/>
                        <a:gd name="connsiteY33" fmla="*/ 1794 h 13875"/>
                        <a:gd name="connsiteX34" fmla="*/ 6245 w 12942"/>
                        <a:gd name="connsiteY34" fmla="*/ 1555 h 13875"/>
                        <a:gd name="connsiteX35" fmla="*/ 7202 w 12942"/>
                        <a:gd name="connsiteY35" fmla="*/ 1495 h 13875"/>
                        <a:gd name="connsiteX36" fmla="*/ 8158 w 12942"/>
                        <a:gd name="connsiteY36" fmla="*/ 1675 h 13875"/>
                        <a:gd name="connsiteX37" fmla="*/ 8577 w 12942"/>
                        <a:gd name="connsiteY37" fmla="*/ 1854 h 13875"/>
                        <a:gd name="connsiteX38" fmla="*/ 8996 w 12942"/>
                        <a:gd name="connsiteY38" fmla="*/ 2093 h 13875"/>
                        <a:gd name="connsiteX39" fmla="*/ 9415 w 12942"/>
                        <a:gd name="connsiteY39" fmla="*/ 2333 h 13875"/>
                        <a:gd name="connsiteX40" fmla="*/ 9773 w 12942"/>
                        <a:gd name="connsiteY40" fmla="*/ 2632 h 13875"/>
                        <a:gd name="connsiteX41" fmla="*/ 10611 w 12942"/>
                        <a:gd name="connsiteY41" fmla="*/ 3589 h 13875"/>
                        <a:gd name="connsiteX42" fmla="*/ 11149 w 12942"/>
                        <a:gd name="connsiteY42" fmla="*/ 4785 h 13875"/>
                        <a:gd name="connsiteX43" fmla="*/ 11388 w 12942"/>
                        <a:gd name="connsiteY43" fmla="*/ 6100 h 13875"/>
                        <a:gd name="connsiteX44" fmla="*/ 11328 w 12942"/>
                        <a:gd name="connsiteY44" fmla="*/ 7476 h 13875"/>
                        <a:gd name="connsiteX45" fmla="*/ 11328 w 12942"/>
                        <a:gd name="connsiteY45" fmla="*/ 7476 h 13875"/>
                        <a:gd name="connsiteX46" fmla="*/ 11328 w 12942"/>
                        <a:gd name="connsiteY46" fmla="*/ 7476 h 13875"/>
                        <a:gd name="connsiteX47" fmla="*/ 11328 w 12942"/>
                        <a:gd name="connsiteY47" fmla="*/ 7476 h 13875"/>
                        <a:gd name="connsiteX48" fmla="*/ 11328 w 12942"/>
                        <a:gd name="connsiteY48" fmla="*/ 7476 h 13875"/>
                        <a:gd name="connsiteX49" fmla="*/ 11269 w 12942"/>
                        <a:gd name="connsiteY49" fmla="*/ 7715 h 13875"/>
                        <a:gd name="connsiteX50" fmla="*/ 11209 w 12942"/>
                        <a:gd name="connsiteY50" fmla="*/ 7954 h 13875"/>
                        <a:gd name="connsiteX51" fmla="*/ 11149 w 12942"/>
                        <a:gd name="connsiteY51" fmla="*/ 8194 h 13875"/>
                        <a:gd name="connsiteX52" fmla="*/ 11089 w 12942"/>
                        <a:gd name="connsiteY52" fmla="*/ 8433 h 13875"/>
                        <a:gd name="connsiteX53" fmla="*/ 11089 w 12942"/>
                        <a:gd name="connsiteY53" fmla="*/ 8493 h 13875"/>
                        <a:gd name="connsiteX54" fmla="*/ 11089 w 12942"/>
                        <a:gd name="connsiteY54" fmla="*/ 8552 h 13875"/>
                        <a:gd name="connsiteX55" fmla="*/ 11089 w 12942"/>
                        <a:gd name="connsiteY55" fmla="*/ 8612 h 13875"/>
                        <a:gd name="connsiteX56" fmla="*/ 11029 w 12942"/>
                        <a:gd name="connsiteY56" fmla="*/ 8672 h 13875"/>
                        <a:gd name="connsiteX57" fmla="*/ 11029 w 12942"/>
                        <a:gd name="connsiteY57" fmla="*/ 8672 h 13875"/>
                        <a:gd name="connsiteX58" fmla="*/ 11029 w 12942"/>
                        <a:gd name="connsiteY58" fmla="*/ 8672 h 13875"/>
                        <a:gd name="connsiteX59" fmla="*/ 11029 w 12942"/>
                        <a:gd name="connsiteY59" fmla="*/ 8672 h 13875"/>
                        <a:gd name="connsiteX60" fmla="*/ 11029 w 12942"/>
                        <a:gd name="connsiteY60" fmla="*/ 8672 h 13875"/>
                        <a:gd name="connsiteX61" fmla="*/ 2895 w 12942"/>
                        <a:gd name="connsiteY61" fmla="*/ 11483 h 13875"/>
                        <a:gd name="connsiteX62" fmla="*/ 3254 w 12942"/>
                        <a:gd name="connsiteY62" fmla="*/ 11782 h 13875"/>
                        <a:gd name="connsiteX63" fmla="*/ 3673 w 12942"/>
                        <a:gd name="connsiteY63" fmla="*/ 12021 h 13875"/>
                        <a:gd name="connsiteX64" fmla="*/ 4092 w 12942"/>
                        <a:gd name="connsiteY64" fmla="*/ 12260 h 13875"/>
                        <a:gd name="connsiteX65" fmla="*/ 4570 w 12942"/>
                        <a:gd name="connsiteY65" fmla="*/ 12440 h 13875"/>
                        <a:gd name="connsiteX66" fmla="*/ 6603 w 12942"/>
                        <a:gd name="connsiteY66" fmla="*/ 12560 h 13875"/>
                        <a:gd name="connsiteX67" fmla="*/ 8577 w 12942"/>
                        <a:gd name="connsiteY67" fmla="*/ 11842 h 13875"/>
                        <a:gd name="connsiteX68" fmla="*/ 10192 w 12942"/>
                        <a:gd name="connsiteY68" fmla="*/ 10406 h 13875"/>
                        <a:gd name="connsiteX69" fmla="*/ 11328 w 12942"/>
                        <a:gd name="connsiteY69" fmla="*/ 8433 h 13875"/>
                        <a:gd name="connsiteX70" fmla="*/ 11627 w 12942"/>
                        <a:gd name="connsiteY70" fmla="*/ 6758 h 13875"/>
                        <a:gd name="connsiteX71" fmla="*/ 11508 w 12942"/>
                        <a:gd name="connsiteY71" fmla="*/ 5143 h 13875"/>
                        <a:gd name="connsiteX72" fmla="*/ 10910 w 12942"/>
                        <a:gd name="connsiteY72" fmla="*/ 3708 h 13875"/>
                        <a:gd name="connsiteX73" fmla="*/ 9953 w 12942"/>
                        <a:gd name="connsiteY73" fmla="*/ 2512 h 13875"/>
                        <a:gd name="connsiteX74" fmla="*/ 9594 w 12942"/>
                        <a:gd name="connsiteY74" fmla="*/ 2213 h 13875"/>
                        <a:gd name="connsiteX75" fmla="*/ 9175 w 12942"/>
                        <a:gd name="connsiteY75" fmla="*/ 1974 h 13875"/>
                        <a:gd name="connsiteX76" fmla="*/ 8756 w 12942"/>
                        <a:gd name="connsiteY76" fmla="*/ 1734 h 13875"/>
                        <a:gd name="connsiteX77" fmla="*/ 8278 w 12942"/>
                        <a:gd name="connsiteY77" fmla="*/ 1555 h 13875"/>
                        <a:gd name="connsiteX78" fmla="*/ 6245 w 12942"/>
                        <a:gd name="connsiteY78" fmla="*/ 1435 h 13875"/>
                        <a:gd name="connsiteX79" fmla="*/ 4271 w 12942"/>
                        <a:gd name="connsiteY79" fmla="*/ 2153 h 13875"/>
                        <a:gd name="connsiteX80" fmla="*/ 2656 w 12942"/>
                        <a:gd name="connsiteY80" fmla="*/ 3589 h 13875"/>
                        <a:gd name="connsiteX81" fmla="*/ 1520 w 12942"/>
                        <a:gd name="connsiteY81" fmla="*/ 5562 h 13875"/>
                        <a:gd name="connsiteX82" fmla="*/ 1281 w 12942"/>
                        <a:gd name="connsiteY82" fmla="*/ 6639 h 13875"/>
                        <a:gd name="connsiteX83" fmla="*/ 1221 w 12942"/>
                        <a:gd name="connsiteY83" fmla="*/ 7715 h 13875"/>
                        <a:gd name="connsiteX84" fmla="*/ 1340 w 12942"/>
                        <a:gd name="connsiteY84" fmla="*/ 8792 h 13875"/>
                        <a:gd name="connsiteX85" fmla="*/ 1640 w 12942"/>
                        <a:gd name="connsiteY85" fmla="*/ 9808 h 13875"/>
                        <a:gd name="connsiteX86" fmla="*/ 1879 w 12942"/>
                        <a:gd name="connsiteY86" fmla="*/ 10287 h 13875"/>
                        <a:gd name="connsiteX87" fmla="*/ 2178 w 12942"/>
                        <a:gd name="connsiteY87" fmla="*/ 10705 h 13875"/>
                        <a:gd name="connsiteX88" fmla="*/ 2537 w 12942"/>
                        <a:gd name="connsiteY88" fmla="*/ 11124 h 13875"/>
                        <a:gd name="connsiteX89" fmla="*/ 2895 w 12942"/>
                        <a:gd name="connsiteY89" fmla="*/ 11483 h 13875"/>
                        <a:gd name="connsiteX90" fmla="*/ 10730 w 12942"/>
                        <a:gd name="connsiteY90" fmla="*/ 1495 h 13875"/>
                        <a:gd name="connsiteX91" fmla="*/ 11867 w 12942"/>
                        <a:gd name="connsiteY91" fmla="*/ 2930 h 13875"/>
                        <a:gd name="connsiteX92" fmla="*/ 12584 w 12942"/>
                        <a:gd name="connsiteY92" fmla="*/ 4665 h 13875"/>
                        <a:gd name="connsiteX93" fmla="*/ 12764 w 12942"/>
                        <a:gd name="connsiteY93" fmla="*/ 6639 h 13875"/>
                        <a:gd name="connsiteX94" fmla="*/ 12345 w 12942"/>
                        <a:gd name="connsiteY94" fmla="*/ 8672 h 13875"/>
                        <a:gd name="connsiteX95" fmla="*/ 10970 w 12942"/>
                        <a:gd name="connsiteY95" fmla="*/ 11124 h 13875"/>
                        <a:gd name="connsiteX96" fmla="*/ 8996 w 12942"/>
                        <a:gd name="connsiteY96" fmla="*/ 12859 h 13875"/>
                        <a:gd name="connsiteX97" fmla="*/ 6603 w 12942"/>
                        <a:gd name="connsiteY97" fmla="*/ 13756 h 13875"/>
                        <a:gd name="connsiteX98" fmla="*/ 4152 w 12942"/>
                        <a:gd name="connsiteY98" fmla="*/ 13636 h 13875"/>
                        <a:gd name="connsiteX99" fmla="*/ 3613 w 12942"/>
                        <a:gd name="connsiteY99" fmla="*/ 13457 h 13875"/>
                        <a:gd name="connsiteX100" fmla="*/ 3075 w 12942"/>
                        <a:gd name="connsiteY100" fmla="*/ 13218 h 13875"/>
                        <a:gd name="connsiteX101" fmla="*/ 2596 w 12942"/>
                        <a:gd name="connsiteY101" fmla="*/ 12919 h 13875"/>
                        <a:gd name="connsiteX102" fmla="*/ 2118 w 12942"/>
                        <a:gd name="connsiteY102" fmla="*/ 12560 h 13875"/>
                        <a:gd name="connsiteX103" fmla="*/ 1640 w 12942"/>
                        <a:gd name="connsiteY103" fmla="*/ 12141 h 13875"/>
                        <a:gd name="connsiteX104" fmla="*/ 1221 w 12942"/>
                        <a:gd name="connsiteY104" fmla="*/ 11662 h 13875"/>
                        <a:gd name="connsiteX105" fmla="*/ 862 w 12942"/>
                        <a:gd name="connsiteY105" fmla="*/ 11124 h 13875"/>
                        <a:gd name="connsiteX106" fmla="*/ 563 w 12942"/>
                        <a:gd name="connsiteY106" fmla="*/ 10526 h 13875"/>
                        <a:gd name="connsiteX107" fmla="*/ 204 w 12942"/>
                        <a:gd name="connsiteY107" fmla="*/ 9270 h 13875"/>
                        <a:gd name="connsiteX108" fmla="*/ 25 w 12942"/>
                        <a:gd name="connsiteY108" fmla="*/ 7954 h 13875"/>
                        <a:gd name="connsiteX109" fmla="*/ 85 w 12942"/>
                        <a:gd name="connsiteY109" fmla="*/ 6639 h 13875"/>
                        <a:gd name="connsiteX110" fmla="*/ 384 w 12942"/>
                        <a:gd name="connsiteY110" fmla="*/ 5323 h 13875"/>
                        <a:gd name="connsiteX111" fmla="*/ 1759 w 12942"/>
                        <a:gd name="connsiteY111" fmla="*/ 2871 h 13875"/>
                        <a:gd name="connsiteX112" fmla="*/ 3793 w 12942"/>
                        <a:gd name="connsiteY112" fmla="*/ 1136 h 13875"/>
                        <a:gd name="connsiteX113" fmla="*/ 6185 w 12942"/>
                        <a:gd name="connsiteY113" fmla="*/ 299 h 13875"/>
                        <a:gd name="connsiteX114" fmla="*/ 8697 w 12942"/>
                        <a:gd name="connsiteY114" fmla="*/ 479 h 13875"/>
                        <a:gd name="connsiteX115" fmla="*/ 9235 w 12942"/>
                        <a:gd name="connsiteY115" fmla="*/ 718 h 13875"/>
                        <a:gd name="connsiteX116" fmla="*/ 9773 w 12942"/>
                        <a:gd name="connsiteY116" fmla="*/ 1017 h 13875"/>
                        <a:gd name="connsiteX117" fmla="*/ 10252 w 12942"/>
                        <a:gd name="connsiteY117" fmla="*/ 1316 h 13875"/>
                        <a:gd name="connsiteX118" fmla="*/ 10730 w 12942"/>
                        <a:gd name="connsiteY118" fmla="*/ 1495 h 13875"/>
                        <a:gd name="connsiteX119" fmla="*/ 1999 w 12942"/>
                        <a:gd name="connsiteY119" fmla="*/ 12560 h 13875"/>
                        <a:gd name="connsiteX120" fmla="*/ 2477 w 12942"/>
                        <a:gd name="connsiteY120" fmla="*/ 12919 h 13875"/>
                        <a:gd name="connsiteX121" fmla="*/ 3015 w 12942"/>
                        <a:gd name="connsiteY121" fmla="*/ 13218 h 13875"/>
                        <a:gd name="connsiteX122" fmla="*/ 3553 w 12942"/>
                        <a:gd name="connsiteY122" fmla="*/ 13457 h 13875"/>
                        <a:gd name="connsiteX123" fmla="*/ 4092 w 12942"/>
                        <a:gd name="connsiteY123" fmla="*/ 13636 h 13875"/>
                        <a:gd name="connsiteX124" fmla="*/ 5587 w 12942"/>
                        <a:gd name="connsiteY124" fmla="*/ 13875 h 13875"/>
                        <a:gd name="connsiteX125" fmla="*/ 7082 w 12942"/>
                        <a:gd name="connsiteY125" fmla="*/ 13696 h 13875"/>
                        <a:gd name="connsiteX126" fmla="*/ 8517 w 12942"/>
                        <a:gd name="connsiteY126" fmla="*/ 13218 h 13875"/>
                        <a:gd name="connsiteX127" fmla="*/ 9833 w 12942"/>
                        <a:gd name="connsiteY127" fmla="*/ 12440 h 13875"/>
                        <a:gd name="connsiteX128" fmla="*/ 10670 w 12942"/>
                        <a:gd name="connsiteY128" fmla="*/ 11662 h 13875"/>
                        <a:gd name="connsiteX129" fmla="*/ 11388 w 12942"/>
                        <a:gd name="connsiteY129" fmla="*/ 10765 h 13875"/>
                        <a:gd name="connsiteX130" fmla="*/ 11986 w 12942"/>
                        <a:gd name="connsiteY130" fmla="*/ 9749 h 13875"/>
                        <a:gd name="connsiteX131" fmla="*/ 12465 w 12942"/>
                        <a:gd name="connsiteY131" fmla="*/ 8612 h 13875"/>
                        <a:gd name="connsiteX132" fmla="*/ 12524 w 12942"/>
                        <a:gd name="connsiteY132" fmla="*/ 8433 h 13875"/>
                        <a:gd name="connsiteX133" fmla="*/ 12584 w 12942"/>
                        <a:gd name="connsiteY133" fmla="*/ 8253 h 13875"/>
                        <a:gd name="connsiteX134" fmla="*/ 12644 w 12942"/>
                        <a:gd name="connsiteY134" fmla="*/ 8074 h 13875"/>
                        <a:gd name="connsiteX135" fmla="*/ 12704 w 12942"/>
                        <a:gd name="connsiteY135" fmla="*/ 7895 h 13875"/>
                        <a:gd name="connsiteX136" fmla="*/ 12704 w 12942"/>
                        <a:gd name="connsiteY136" fmla="*/ 7895 h 13875"/>
                        <a:gd name="connsiteX137" fmla="*/ 12704 w 12942"/>
                        <a:gd name="connsiteY137" fmla="*/ 7895 h 13875"/>
                        <a:gd name="connsiteX138" fmla="*/ 12704 w 12942"/>
                        <a:gd name="connsiteY138" fmla="*/ 7895 h 13875"/>
                        <a:gd name="connsiteX139" fmla="*/ 12704 w 12942"/>
                        <a:gd name="connsiteY139" fmla="*/ 7895 h 13875"/>
                        <a:gd name="connsiteX140" fmla="*/ 12943 w 12942"/>
                        <a:gd name="connsiteY140" fmla="*/ 6041 h 13875"/>
                        <a:gd name="connsiteX141" fmla="*/ 12704 w 12942"/>
                        <a:gd name="connsiteY141" fmla="*/ 4246 h 13875"/>
                        <a:gd name="connsiteX142" fmla="*/ 11986 w 12942"/>
                        <a:gd name="connsiteY142" fmla="*/ 2632 h 13875"/>
                        <a:gd name="connsiteX143" fmla="*/ 10850 w 12942"/>
                        <a:gd name="connsiteY143" fmla="*/ 1316 h 13875"/>
                        <a:gd name="connsiteX144" fmla="*/ 10371 w 12942"/>
                        <a:gd name="connsiteY144" fmla="*/ 957 h 13875"/>
                        <a:gd name="connsiteX145" fmla="*/ 9833 w 12942"/>
                        <a:gd name="connsiteY145" fmla="*/ 658 h 13875"/>
                        <a:gd name="connsiteX146" fmla="*/ 9295 w 12942"/>
                        <a:gd name="connsiteY146" fmla="*/ 419 h 13875"/>
                        <a:gd name="connsiteX147" fmla="*/ 8756 w 12942"/>
                        <a:gd name="connsiteY147" fmla="*/ 239 h 13875"/>
                        <a:gd name="connsiteX148" fmla="*/ 7501 w 12942"/>
                        <a:gd name="connsiteY148" fmla="*/ 0 h 13875"/>
                        <a:gd name="connsiteX149" fmla="*/ 6245 w 12942"/>
                        <a:gd name="connsiteY149" fmla="*/ 60 h 13875"/>
                        <a:gd name="connsiteX150" fmla="*/ 4989 w 12942"/>
                        <a:gd name="connsiteY150" fmla="*/ 359 h 13875"/>
                        <a:gd name="connsiteX151" fmla="*/ 3793 w 12942"/>
                        <a:gd name="connsiteY151" fmla="*/ 897 h 13875"/>
                        <a:gd name="connsiteX152" fmla="*/ 3075 w 12942"/>
                        <a:gd name="connsiteY152" fmla="*/ 1375 h 13875"/>
                        <a:gd name="connsiteX153" fmla="*/ 2417 w 12942"/>
                        <a:gd name="connsiteY153" fmla="*/ 1974 h 13875"/>
                        <a:gd name="connsiteX154" fmla="*/ 1819 w 12942"/>
                        <a:gd name="connsiteY154" fmla="*/ 2632 h 13875"/>
                        <a:gd name="connsiteX155" fmla="*/ 1281 w 12942"/>
                        <a:gd name="connsiteY155" fmla="*/ 3349 h 13875"/>
                        <a:gd name="connsiteX156" fmla="*/ 1101 w 12942"/>
                        <a:gd name="connsiteY156" fmla="*/ 3589 h 13875"/>
                        <a:gd name="connsiteX157" fmla="*/ 922 w 12942"/>
                        <a:gd name="connsiteY157" fmla="*/ 3888 h 13875"/>
                        <a:gd name="connsiteX158" fmla="*/ 802 w 12942"/>
                        <a:gd name="connsiteY158" fmla="*/ 4187 h 13875"/>
                        <a:gd name="connsiteX159" fmla="*/ 683 w 12942"/>
                        <a:gd name="connsiteY159" fmla="*/ 4486 h 13875"/>
                        <a:gd name="connsiteX160" fmla="*/ 623 w 12942"/>
                        <a:gd name="connsiteY160" fmla="*/ 4665 h 13875"/>
                        <a:gd name="connsiteX161" fmla="*/ 563 w 12942"/>
                        <a:gd name="connsiteY161" fmla="*/ 4844 h 13875"/>
                        <a:gd name="connsiteX162" fmla="*/ 503 w 12942"/>
                        <a:gd name="connsiteY162" fmla="*/ 5024 h 13875"/>
                        <a:gd name="connsiteX163" fmla="*/ 443 w 12942"/>
                        <a:gd name="connsiteY163" fmla="*/ 5203 h 13875"/>
                        <a:gd name="connsiteX164" fmla="*/ 85 w 12942"/>
                        <a:gd name="connsiteY164" fmla="*/ 6639 h 13875"/>
                        <a:gd name="connsiteX165" fmla="*/ 25 w 12942"/>
                        <a:gd name="connsiteY165" fmla="*/ 8074 h 13875"/>
                        <a:gd name="connsiteX166" fmla="*/ 204 w 12942"/>
                        <a:gd name="connsiteY166" fmla="*/ 9450 h 13875"/>
                        <a:gd name="connsiteX167" fmla="*/ 623 w 12942"/>
                        <a:gd name="connsiteY167" fmla="*/ 10705 h 13875"/>
                        <a:gd name="connsiteX168" fmla="*/ 802 w 12942"/>
                        <a:gd name="connsiteY168" fmla="*/ 11005 h 13875"/>
                        <a:gd name="connsiteX169" fmla="*/ 982 w 12942"/>
                        <a:gd name="connsiteY169" fmla="*/ 11304 h 13875"/>
                        <a:gd name="connsiteX170" fmla="*/ 1161 w 12942"/>
                        <a:gd name="connsiteY170" fmla="*/ 11603 h 13875"/>
                        <a:gd name="connsiteX171" fmla="*/ 1340 w 12942"/>
                        <a:gd name="connsiteY171" fmla="*/ 11902 h 13875"/>
                        <a:gd name="connsiteX172" fmla="*/ 1520 w 12942"/>
                        <a:gd name="connsiteY172" fmla="*/ 12141 h 13875"/>
                        <a:gd name="connsiteX173" fmla="*/ 1699 w 12942"/>
                        <a:gd name="connsiteY173" fmla="*/ 12380 h 13875"/>
                        <a:gd name="connsiteX174" fmla="*/ 1879 w 12942"/>
                        <a:gd name="connsiteY174" fmla="*/ 12560 h 13875"/>
                        <a:gd name="connsiteX175" fmla="*/ 1999 w 12942"/>
                        <a:gd name="connsiteY175" fmla="*/ 12560 h 1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12942" h="13875">
                          <a:moveTo>
                            <a:pt x="11029" y="8672"/>
                          </a:moveTo>
                          <a:cubicBezTo>
                            <a:pt x="10730" y="9330"/>
                            <a:pt x="10371" y="9928"/>
                            <a:pt x="9893" y="10466"/>
                          </a:cubicBezTo>
                          <a:cubicBezTo>
                            <a:pt x="9415" y="11005"/>
                            <a:pt x="8876" y="11423"/>
                            <a:pt x="8338" y="11722"/>
                          </a:cubicBezTo>
                          <a:cubicBezTo>
                            <a:pt x="7800" y="12021"/>
                            <a:pt x="7142" y="12260"/>
                            <a:pt x="6484" y="12320"/>
                          </a:cubicBezTo>
                          <a:cubicBezTo>
                            <a:pt x="5826" y="12380"/>
                            <a:pt x="5168" y="12380"/>
                            <a:pt x="4570" y="12201"/>
                          </a:cubicBezTo>
                          <a:cubicBezTo>
                            <a:pt x="4391" y="12141"/>
                            <a:pt x="4271" y="12081"/>
                            <a:pt x="4152" y="12081"/>
                          </a:cubicBezTo>
                          <a:cubicBezTo>
                            <a:pt x="4032" y="12081"/>
                            <a:pt x="3853" y="11961"/>
                            <a:pt x="3733" y="11902"/>
                          </a:cubicBezTo>
                          <a:cubicBezTo>
                            <a:pt x="3613" y="11842"/>
                            <a:pt x="3434" y="11722"/>
                            <a:pt x="3314" y="11662"/>
                          </a:cubicBezTo>
                          <a:cubicBezTo>
                            <a:pt x="3194" y="11603"/>
                            <a:pt x="3075" y="11483"/>
                            <a:pt x="2955" y="11364"/>
                          </a:cubicBezTo>
                          <a:cubicBezTo>
                            <a:pt x="2836" y="11244"/>
                            <a:pt x="2776" y="11184"/>
                            <a:pt x="2656" y="11065"/>
                          </a:cubicBezTo>
                          <a:cubicBezTo>
                            <a:pt x="2537" y="10945"/>
                            <a:pt x="2477" y="10885"/>
                            <a:pt x="2357" y="10765"/>
                          </a:cubicBezTo>
                          <a:cubicBezTo>
                            <a:pt x="2298" y="10646"/>
                            <a:pt x="2178" y="10526"/>
                            <a:pt x="2118" y="10406"/>
                          </a:cubicBezTo>
                          <a:cubicBezTo>
                            <a:pt x="2058" y="10287"/>
                            <a:pt x="1999" y="10167"/>
                            <a:pt x="1879" y="10048"/>
                          </a:cubicBezTo>
                          <a:cubicBezTo>
                            <a:pt x="1819" y="9928"/>
                            <a:pt x="1759" y="9808"/>
                            <a:pt x="1699" y="9689"/>
                          </a:cubicBezTo>
                          <a:cubicBezTo>
                            <a:pt x="1640" y="9569"/>
                            <a:pt x="1580" y="9450"/>
                            <a:pt x="1580" y="9330"/>
                          </a:cubicBezTo>
                          <a:cubicBezTo>
                            <a:pt x="1520" y="9210"/>
                            <a:pt x="1520" y="9091"/>
                            <a:pt x="1460" y="8911"/>
                          </a:cubicBezTo>
                          <a:cubicBezTo>
                            <a:pt x="1400" y="8792"/>
                            <a:pt x="1400" y="8672"/>
                            <a:pt x="1400" y="8493"/>
                          </a:cubicBezTo>
                          <a:cubicBezTo>
                            <a:pt x="1340" y="8253"/>
                            <a:pt x="1340" y="8014"/>
                            <a:pt x="1340" y="7775"/>
                          </a:cubicBezTo>
                          <a:cubicBezTo>
                            <a:pt x="1340" y="7536"/>
                            <a:pt x="1340" y="7297"/>
                            <a:pt x="1340" y="7057"/>
                          </a:cubicBezTo>
                          <a:cubicBezTo>
                            <a:pt x="1340" y="6818"/>
                            <a:pt x="1400" y="6579"/>
                            <a:pt x="1460" y="6280"/>
                          </a:cubicBezTo>
                          <a:cubicBezTo>
                            <a:pt x="1520" y="6041"/>
                            <a:pt x="1580" y="5801"/>
                            <a:pt x="1640" y="5502"/>
                          </a:cubicBezTo>
                          <a:cubicBezTo>
                            <a:pt x="1640" y="5443"/>
                            <a:pt x="1699" y="5383"/>
                            <a:pt x="1699" y="5323"/>
                          </a:cubicBezTo>
                          <a:cubicBezTo>
                            <a:pt x="1699" y="5263"/>
                            <a:pt x="1759" y="5203"/>
                            <a:pt x="1759" y="5203"/>
                          </a:cubicBezTo>
                          <a:cubicBezTo>
                            <a:pt x="1759" y="5143"/>
                            <a:pt x="1819" y="5084"/>
                            <a:pt x="1819" y="5084"/>
                          </a:cubicBezTo>
                          <a:cubicBezTo>
                            <a:pt x="1819" y="5024"/>
                            <a:pt x="1879" y="4964"/>
                            <a:pt x="1879" y="4964"/>
                          </a:cubicBezTo>
                          <a:cubicBezTo>
                            <a:pt x="1939" y="4844"/>
                            <a:pt x="1999" y="4785"/>
                            <a:pt x="1999" y="4665"/>
                          </a:cubicBezTo>
                          <a:cubicBezTo>
                            <a:pt x="2058" y="4545"/>
                            <a:pt x="2118" y="4486"/>
                            <a:pt x="2178" y="4366"/>
                          </a:cubicBezTo>
                          <a:cubicBezTo>
                            <a:pt x="2238" y="4246"/>
                            <a:pt x="2298" y="4187"/>
                            <a:pt x="2357" y="4127"/>
                          </a:cubicBezTo>
                          <a:cubicBezTo>
                            <a:pt x="2417" y="4067"/>
                            <a:pt x="2477" y="3947"/>
                            <a:pt x="2537" y="3888"/>
                          </a:cubicBezTo>
                          <a:cubicBezTo>
                            <a:pt x="2656" y="3708"/>
                            <a:pt x="2776" y="3529"/>
                            <a:pt x="2895" y="3409"/>
                          </a:cubicBezTo>
                          <a:cubicBezTo>
                            <a:pt x="3015" y="3229"/>
                            <a:pt x="3194" y="3110"/>
                            <a:pt x="3314" y="2990"/>
                          </a:cubicBezTo>
                          <a:cubicBezTo>
                            <a:pt x="3494" y="2871"/>
                            <a:pt x="3613" y="2691"/>
                            <a:pt x="3793" y="2572"/>
                          </a:cubicBezTo>
                          <a:cubicBezTo>
                            <a:pt x="3972" y="2452"/>
                            <a:pt x="4152" y="2333"/>
                            <a:pt x="4331" y="2213"/>
                          </a:cubicBezTo>
                          <a:cubicBezTo>
                            <a:pt x="4630" y="2034"/>
                            <a:pt x="4989" y="1914"/>
                            <a:pt x="5288" y="1794"/>
                          </a:cubicBezTo>
                          <a:cubicBezTo>
                            <a:pt x="5587" y="1675"/>
                            <a:pt x="5946" y="1615"/>
                            <a:pt x="6245" y="1555"/>
                          </a:cubicBezTo>
                          <a:cubicBezTo>
                            <a:pt x="6544" y="1495"/>
                            <a:pt x="6902" y="1495"/>
                            <a:pt x="7202" y="1495"/>
                          </a:cubicBezTo>
                          <a:cubicBezTo>
                            <a:pt x="7501" y="1495"/>
                            <a:pt x="7860" y="1555"/>
                            <a:pt x="8158" y="1675"/>
                          </a:cubicBezTo>
                          <a:cubicBezTo>
                            <a:pt x="8338" y="1734"/>
                            <a:pt x="8457" y="1794"/>
                            <a:pt x="8577" y="1854"/>
                          </a:cubicBezTo>
                          <a:cubicBezTo>
                            <a:pt x="8697" y="1914"/>
                            <a:pt x="8876" y="1974"/>
                            <a:pt x="8996" y="2093"/>
                          </a:cubicBezTo>
                          <a:cubicBezTo>
                            <a:pt x="9116" y="2153"/>
                            <a:pt x="9235" y="2273"/>
                            <a:pt x="9415" y="2333"/>
                          </a:cubicBezTo>
                          <a:cubicBezTo>
                            <a:pt x="9534" y="2452"/>
                            <a:pt x="9654" y="2512"/>
                            <a:pt x="9773" y="2632"/>
                          </a:cubicBezTo>
                          <a:cubicBezTo>
                            <a:pt x="10072" y="2930"/>
                            <a:pt x="10371" y="3229"/>
                            <a:pt x="10611" y="3589"/>
                          </a:cubicBezTo>
                          <a:cubicBezTo>
                            <a:pt x="10850" y="3947"/>
                            <a:pt x="11029" y="4366"/>
                            <a:pt x="11149" y="4785"/>
                          </a:cubicBezTo>
                          <a:cubicBezTo>
                            <a:pt x="11269" y="5203"/>
                            <a:pt x="11328" y="5622"/>
                            <a:pt x="11388" y="6100"/>
                          </a:cubicBezTo>
                          <a:cubicBezTo>
                            <a:pt x="11388" y="6579"/>
                            <a:pt x="11388" y="6997"/>
                            <a:pt x="11328" y="7476"/>
                          </a:cubicBezTo>
                          <a:cubicBezTo>
                            <a:pt x="11328" y="7476"/>
                            <a:pt x="11328" y="7476"/>
                            <a:pt x="11328" y="7476"/>
                          </a:cubicBezTo>
                          <a:cubicBezTo>
                            <a:pt x="11328" y="7476"/>
                            <a:pt x="11328" y="7476"/>
                            <a:pt x="11328" y="7476"/>
                          </a:cubicBezTo>
                          <a:cubicBezTo>
                            <a:pt x="11328" y="7476"/>
                            <a:pt x="11328" y="7476"/>
                            <a:pt x="11328" y="7476"/>
                          </a:cubicBezTo>
                          <a:cubicBezTo>
                            <a:pt x="11328" y="7476"/>
                            <a:pt x="11328" y="7476"/>
                            <a:pt x="11328" y="7476"/>
                          </a:cubicBezTo>
                          <a:cubicBezTo>
                            <a:pt x="11328" y="7536"/>
                            <a:pt x="11328" y="7655"/>
                            <a:pt x="11269" y="7715"/>
                          </a:cubicBezTo>
                          <a:cubicBezTo>
                            <a:pt x="11269" y="7775"/>
                            <a:pt x="11209" y="7895"/>
                            <a:pt x="11209" y="7954"/>
                          </a:cubicBezTo>
                          <a:cubicBezTo>
                            <a:pt x="11209" y="8014"/>
                            <a:pt x="11149" y="8134"/>
                            <a:pt x="11149" y="8194"/>
                          </a:cubicBezTo>
                          <a:cubicBezTo>
                            <a:pt x="11149" y="8253"/>
                            <a:pt x="11089" y="8373"/>
                            <a:pt x="11089" y="8433"/>
                          </a:cubicBezTo>
                          <a:cubicBezTo>
                            <a:pt x="11089" y="8433"/>
                            <a:pt x="11089" y="8493"/>
                            <a:pt x="11089" y="8493"/>
                          </a:cubicBezTo>
                          <a:cubicBezTo>
                            <a:pt x="11089" y="8493"/>
                            <a:pt x="11089" y="8552"/>
                            <a:pt x="11089" y="8552"/>
                          </a:cubicBezTo>
                          <a:cubicBezTo>
                            <a:pt x="11089" y="8552"/>
                            <a:pt x="11089" y="8612"/>
                            <a:pt x="11089" y="8612"/>
                          </a:cubicBezTo>
                          <a:cubicBezTo>
                            <a:pt x="11089" y="8612"/>
                            <a:pt x="11089" y="8672"/>
                            <a:pt x="11029" y="8672"/>
                          </a:cubicBezTo>
                          <a:cubicBezTo>
                            <a:pt x="11089" y="8672"/>
                            <a:pt x="11089" y="8672"/>
                            <a:pt x="11029" y="8672"/>
                          </a:cubicBezTo>
                          <a:cubicBezTo>
                            <a:pt x="11089" y="8672"/>
                            <a:pt x="11089" y="8672"/>
                            <a:pt x="11029" y="8672"/>
                          </a:cubicBezTo>
                          <a:cubicBezTo>
                            <a:pt x="11089" y="8672"/>
                            <a:pt x="11089" y="8672"/>
                            <a:pt x="11029" y="8672"/>
                          </a:cubicBezTo>
                          <a:cubicBezTo>
                            <a:pt x="11089" y="8672"/>
                            <a:pt x="11089" y="8672"/>
                            <a:pt x="11029" y="8672"/>
                          </a:cubicBezTo>
                          <a:moveTo>
                            <a:pt x="2895" y="11483"/>
                          </a:moveTo>
                          <a:cubicBezTo>
                            <a:pt x="3015" y="11603"/>
                            <a:pt x="3135" y="11662"/>
                            <a:pt x="3254" y="11782"/>
                          </a:cubicBezTo>
                          <a:cubicBezTo>
                            <a:pt x="3374" y="11902"/>
                            <a:pt x="3494" y="11961"/>
                            <a:pt x="3673" y="12021"/>
                          </a:cubicBezTo>
                          <a:cubicBezTo>
                            <a:pt x="3853" y="12081"/>
                            <a:pt x="3972" y="12201"/>
                            <a:pt x="4092" y="12260"/>
                          </a:cubicBezTo>
                          <a:cubicBezTo>
                            <a:pt x="4271" y="12320"/>
                            <a:pt x="4391" y="12380"/>
                            <a:pt x="4570" y="12440"/>
                          </a:cubicBezTo>
                          <a:cubicBezTo>
                            <a:pt x="5228" y="12619"/>
                            <a:pt x="5946" y="12679"/>
                            <a:pt x="6603" y="12560"/>
                          </a:cubicBezTo>
                          <a:cubicBezTo>
                            <a:pt x="7261" y="12440"/>
                            <a:pt x="7919" y="12201"/>
                            <a:pt x="8577" y="11842"/>
                          </a:cubicBezTo>
                          <a:cubicBezTo>
                            <a:pt x="9175" y="11483"/>
                            <a:pt x="9773" y="11005"/>
                            <a:pt x="10192" y="10406"/>
                          </a:cubicBezTo>
                          <a:cubicBezTo>
                            <a:pt x="10611" y="9808"/>
                            <a:pt x="11029" y="9151"/>
                            <a:pt x="11328" y="8433"/>
                          </a:cubicBezTo>
                          <a:cubicBezTo>
                            <a:pt x="11508" y="7835"/>
                            <a:pt x="11627" y="7297"/>
                            <a:pt x="11627" y="6758"/>
                          </a:cubicBezTo>
                          <a:cubicBezTo>
                            <a:pt x="11627" y="6220"/>
                            <a:pt x="11627" y="5622"/>
                            <a:pt x="11508" y="5143"/>
                          </a:cubicBezTo>
                          <a:cubicBezTo>
                            <a:pt x="11388" y="4605"/>
                            <a:pt x="11209" y="4127"/>
                            <a:pt x="10910" y="3708"/>
                          </a:cubicBezTo>
                          <a:cubicBezTo>
                            <a:pt x="10670" y="3289"/>
                            <a:pt x="10311" y="2871"/>
                            <a:pt x="9953" y="2512"/>
                          </a:cubicBezTo>
                          <a:cubicBezTo>
                            <a:pt x="9833" y="2392"/>
                            <a:pt x="9714" y="2333"/>
                            <a:pt x="9594" y="2213"/>
                          </a:cubicBezTo>
                          <a:cubicBezTo>
                            <a:pt x="9474" y="2093"/>
                            <a:pt x="9355" y="2034"/>
                            <a:pt x="9175" y="1974"/>
                          </a:cubicBezTo>
                          <a:cubicBezTo>
                            <a:pt x="9056" y="1914"/>
                            <a:pt x="8876" y="1854"/>
                            <a:pt x="8756" y="1734"/>
                          </a:cubicBezTo>
                          <a:cubicBezTo>
                            <a:pt x="8637" y="1615"/>
                            <a:pt x="8457" y="1615"/>
                            <a:pt x="8278" y="1555"/>
                          </a:cubicBezTo>
                          <a:cubicBezTo>
                            <a:pt x="7620" y="1375"/>
                            <a:pt x="6902" y="1316"/>
                            <a:pt x="6245" y="1435"/>
                          </a:cubicBezTo>
                          <a:cubicBezTo>
                            <a:pt x="5587" y="1555"/>
                            <a:pt x="4929" y="1794"/>
                            <a:pt x="4271" y="2153"/>
                          </a:cubicBezTo>
                          <a:cubicBezTo>
                            <a:pt x="3673" y="2512"/>
                            <a:pt x="3075" y="2990"/>
                            <a:pt x="2656" y="3589"/>
                          </a:cubicBezTo>
                          <a:cubicBezTo>
                            <a:pt x="2178" y="4187"/>
                            <a:pt x="1819" y="4844"/>
                            <a:pt x="1520" y="5562"/>
                          </a:cubicBezTo>
                          <a:cubicBezTo>
                            <a:pt x="1400" y="5921"/>
                            <a:pt x="1281" y="6280"/>
                            <a:pt x="1281" y="6639"/>
                          </a:cubicBezTo>
                          <a:cubicBezTo>
                            <a:pt x="1221" y="6997"/>
                            <a:pt x="1221" y="7356"/>
                            <a:pt x="1221" y="7715"/>
                          </a:cubicBezTo>
                          <a:cubicBezTo>
                            <a:pt x="1221" y="8074"/>
                            <a:pt x="1281" y="8433"/>
                            <a:pt x="1340" y="8792"/>
                          </a:cubicBezTo>
                          <a:cubicBezTo>
                            <a:pt x="1400" y="9151"/>
                            <a:pt x="1520" y="9510"/>
                            <a:pt x="1640" y="9808"/>
                          </a:cubicBezTo>
                          <a:cubicBezTo>
                            <a:pt x="1699" y="9988"/>
                            <a:pt x="1759" y="10107"/>
                            <a:pt x="1879" y="10287"/>
                          </a:cubicBezTo>
                          <a:cubicBezTo>
                            <a:pt x="1939" y="10466"/>
                            <a:pt x="2058" y="10586"/>
                            <a:pt x="2178" y="10705"/>
                          </a:cubicBezTo>
                          <a:cubicBezTo>
                            <a:pt x="2298" y="10825"/>
                            <a:pt x="2417" y="11005"/>
                            <a:pt x="2537" y="11124"/>
                          </a:cubicBezTo>
                          <a:cubicBezTo>
                            <a:pt x="2656" y="11244"/>
                            <a:pt x="2776" y="11364"/>
                            <a:pt x="2895" y="11483"/>
                          </a:cubicBezTo>
                          <a:moveTo>
                            <a:pt x="10730" y="1495"/>
                          </a:moveTo>
                          <a:cubicBezTo>
                            <a:pt x="11209" y="1914"/>
                            <a:pt x="11568" y="2392"/>
                            <a:pt x="11867" y="2930"/>
                          </a:cubicBezTo>
                          <a:cubicBezTo>
                            <a:pt x="12165" y="3469"/>
                            <a:pt x="12405" y="4067"/>
                            <a:pt x="12584" y="4665"/>
                          </a:cubicBezTo>
                          <a:cubicBezTo>
                            <a:pt x="12764" y="5263"/>
                            <a:pt x="12764" y="5921"/>
                            <a:pt x="12764" y="6639"/>
                          </a:cubicBezTo>
                          <a:cubicBezTo>
                            <a:pt x="12704" y="7297"/>
                            <a:pt x="12584" y="8014"/>
                            <a:pt x="12345" y="8672"/>
                          </a:cubicBezTo>
                          <a:cubicBezTo>
                            <a:pt x="12046" y="9569"/>
                            <a:pt x="11568" y="10406"/>
                            <a:pt x="10970" y="11124"/>
                          </a:cubicBezTo>
                          <a:cubicBezTo>
                            <a:pt x="10371" y="11842"/>
                            <a:pt x="9714" y="12440"/>
                            <a:pt x="8996" y="12859"/>
                          </a:cubicBezTo>
                          <a:cubicBezTo>
                            <a:pt x="8278" y="13277"/>
                            <a:pt x="7441" y="13576"/>
                            <a:pt x="6603" y="13756"/>
                          </a:cubicBezTo>
                          <a:cubicBezTo>
                            <a:pt x="5766" y="13875"/>
                            <a:pt x="4929" y="13815"/>
                            <a:pt x="4152" y="13636"/>
                          </a:cubicBezTo>
                          <a:cubicBezTo>
                            <a:pt x="3972" y="13576"/>
                            <a:pt x="3793" y="13516"/>
                            <a:pt x="3613" y="13457"/>
                          </a:cubicBezTo>
                          <a:cubicBezTo>
                            <a:pt x="3434" y="13397"/>
                            <a:pt x="3254" y="13277"/>
                            <a:pt x="3075" y="13218"/>
                          </a:cubicBezTo>
                          <a:cubicBezTo>
                            <a:pt x="2895" y="13098"/>
                            <a:pt x="2716" y="13038"/>
                            <a:pt x="2596" y="12919"/>
                          </a:cubicBezTo>
                          <a:cubicBezTo>
                            <a:pt x="2477" y="12799"/>
                            <a:pt x="2298" y="12679"/>
                            <a:pt x="2118" y="12560"/>
                          </a:cubicBezTo>
                          <a:cubicBezTo>
                            <a:pt x="1939" y="12440"/>
                            <a:pt x="1819" y="12260"/>
                            <a:pt x="1640" y="12141"/>
                          </a:cubicBezTo>
                          <a:cubicBezTo>
                            <a:pt x="1520" y="11961"/>
                            <a:pt x="1340" y="11842"/>
                            <a:pt x="1221" y="11662"/>
                          </a:cubicBezTo>
                          <a:cubicBezTo>
                            <a:pt x="1101" y="11483"/>
                            <a:pt x="982" y="11304"/>
                            <a:pt x="862" y="11124"/>
                          </a:cubicBezTo>
                          <a:cubicBezTo>
                            <a:pt x="742" y="10945"/>
                            <a:pt x="623" y="10765"/>
                            <a:pt x="563" y="10526"/>
                          </a:cubicBezTo>
                          <a:cubicBezTo>
                            <a:pt x="384" y="10107"/>
                            <a:pt x="264" y="9749"/>
                            <a:pt x="204" y="9270"/>
                          </a:cubicBezTo>
                          <a:cubicBezTo>
                            <a:pt x="85" y="8851"/>
                            <a:pt x="85" y="8433"/>
                            <a:pt x="25" y="7954"/>
                          </a:cubicBezTo>
                          <a:cubicBezTo>
                            <a:pt x="-35" y="7476"/>
                            <a:pt x="25" y="7057"/>
                            <a:pt x="85" y="6639"/>
                          </a:cubicBezTo>
                          <a:cubicBezTo>
                            <a:pt x="145" y="6220"/>
                            <a:pt x="264" y="5742"/>
                            <a:pt x="384" y="5323"/>
                          </a:cubicBezTo>
                          <a:cubicBezTo>
                            <a:pt x="683" y="4426"/>
                            <a:pt x="1161" y="3589"/>
                            <a:pt x="1759" y="2871"/>
                          </a:cubicBezTo>
                          <a:cubicBezTo>
                            <a:pt x="2357" y="2153"/>
                            <a:pt x="3015" y="1555"/>
                            <a:pt x="3793" y="1136"/>
                          </a:cubicBezTo>
                          <a:cubicBezTo>
                            <a:pt x="4570" y="718"/>
                            <a:pt x="5348" y="419"/>
                            <a:pt x="6185" y="299"/>
                          </a:cubicBezTo>
                          <a:cubicBezTo>
                            <a:pt x="7022" y="180"/>
                            <a:pt x="7860" y="239"/>
                            <a:pt x="8697" y="479"/>
                          </a:cubicBezTo>
                          <a:cubicBezTo>
                            <a:pt x="8876" y="538"/>
                            <a:pt x="9056" y="598"/>
                            <a:pt x="9235" y="718"/>
                          </a:cubicBezTo>
                          <a:cubicBezTo>
                            <a:pt x="9415" y="778"/>
                            <a:pt x="9594" y="897"/>
                            <a:pt x="9773" y="1017"/>
                          </a:cubicBezTo>
                          <a:cubicBezTo>
                            <a:pt x="9953" y="1136"/>
                            <a:pt x="10132" y="1196"/>
                            <a:pt x="10252" y="1316"/>
                          </a:cubicBezTo>
                          <a:cubicBezTo>
                            <a:pt x="10431" y="1256"/>
                            <a:pt x="10611" y="1375"/>
                            <a:pt x="10730" y="1495"/>
                          </a:cubicBezTo>
                          <a:moveTo>
                            <a:pt x="1999" y="12560"/>
                          </a:moveTo>
                          <a:cubicBezTo>
                            <a:pt x="2118" y="12679"/>
                            <a:pt x="2298" y="12799"/>
                            <a:pt x="2477" y="12919"/>
                          </a:cubicBezTo>
                          <a:cubicBezTo>
                            <a:pt x="2656" y="13038"/>
                            <a:pt x="2836" y="13158"/>
                            <a:pt x="3015" y="13218"/>
                          </a:cubicBezTo>
                          <a:cubicBezTo>
                            <a:pt x="3194" y="13277"/>
                            <a:pt x="3374" y="13397"/>
                            <a:pt x="3553" y="13457"/>
                          </a:cubicBezTo>
                          <a:cubicBezTo>
                            <a:pt x="3733" y="13516"/>
                            <a:pt x="3912" y="13576"/>
                            <a:pt x="4092" y="13636"/>
                          </a:cubicBezTo>
                          <a:cubicBezTo>
                            <a:pt x="4570" y="13756"/>
                            <a:pt x="5048" y="13875"/>
                            <a:pt x="5587" y="13875"/>
                          </a:cubicBezTo>
                          <a:cubicBezTo>
                            <a:pt x="6065" y="13875"/>
                            <a:pt x="6603" y="13815"/>
                            <a:pt x="7082" y="13696"/>
                          </a:cubicBezTo>
                          <a:cubicBezTo>
                            <a:pt x="7561" y="13576"/>
                            <a:pt x="8039" y="13397"/>
                            <a:pt x="8517" y="13218"/>
                          </a:cubicBezTo>
                          <a:cubicBezTo>
                            <a:pt x="8996" y="12978"/>
                            <a:pt x="9415" y="12739"/>
                            <a:pt x="9833" y="12440"/>
                          </a:cubicBezTo>
                          <a:cubicBezTo>
                            <a:pt x="10132" y="12201"/>
                            <a:pt x="10431" y="11961"/>
                            <a:pt x="10670" y="11662"/>
                          </a:cubicBezTo>
                          <a:cubicBezTo>
                            <a:pt x="10910" y="11364"/>
                            <a:pt x="11209" y="11065"/>
                            <a:pt x="11388" y="10765"/>
                          </a:cubicBezTo>
                          <a:cubicBezTo>
                            <a:pt x="11568" y="10466"/>
                            <a:pt x="11807" y="10107"/>
                            <a:pt x="11986" y="9749"/>
                          </a:cubicBezTo>
                          <a:cubicBezTo>
                            <a:pt x="12165" y="9390"/>
                            <a:pt x="12345" y="9031"/>
                            <a:pt x="12465" y="8612"/>
                          </a:cubicBezTo>
                          <a:cubicBezTo>
                            <a:pt x="12465" y="8552"/>
                            <a:pt x="12524" y="8493"/>
                            <a:pt x="12524" y="8433"/>
                          </a:cubicBezTo>
                          <a:cubicBezTo>
                            <a:pt x="12524" y="8373"/>
                            <a:pt x="12584" y="8313"/>
                            <a:pt x="12584" y="8253"/>
                          </a:cubicBezTo>
                          <a:cubicBezTo>
                            <a:pt x="12584" y="8194"/>
                            <a:pt x="12644" y="8134"/>
                            <a:pt x="12644" y="8074"/>
                          </a:cubicBezTo>
                          <a:cubicBezTo>
                            <a:pt x="12644" y="8014"/>
                            <a:pt x="12704" y="7954"/>
                            <a:pt x="12704" y="7895"/>
                          </a:cubicBezTo>
                          <a:cubicBezTo>
                            <a:pt x="12704" y="7895"/>
                            <a:pt x="12704" y="7895"/>
                            <a:pt x="12704" y="7895"/>
                          </a:cubicBezTo>
                          <a:cubicBezTo>
                            <a:pt x="12704" y="7895"/>
                            <a:pt x="12704" y="7895"/>
                            <a:pt x="12704" y="7895"/>
                          </a:cubicBezTo>
                          <a:cubicBezTo>
                            <a:pt x="12704" y="7895"/>
                            <a:pt x="12704" y="7895"/>
                            <a:pt x="12704" y="7895"/>
                          </a:cubicBezTo>
                          <a:cubicBezTo>
                            <a:pt x="12704" y="7895"/>
                            <a:pt x="12704" y="7895"/>
                            <a:pt x="12704" y="7895"/>
                          </a:cubicBezTo>
                          <a:cubicBezTo>
                            <a:pt x="12883" y="7297"/>
                            <a:pt x="12943" y="6639"/>
                            <a:pt x="12943" y="6041"/>
                          </a:cubicBezTo>
                          <a:cubicBezTo>
                            <a:pt x="12943" y="5443"/>
                            <a:pt x="12824" y="4844"/>
                            <a:pt x="12704" y="4246"/>
                          </a:cubicBezTo>
                          <a:cubicBezTo>
                            <a:pt x="12524" y="3648"/>
                            <a:pt x="12345" y="3110"/>
                            <a:pt x="11986" y="2632"/>
                          </a:cubicBezTo>
                          <a:cubicBezTo>
                            <a:pt x="11687" y="2153"/>
                            <a:pt x="11328" y="1675"/>
                            <a:pt x="10850" y="1316"/>
                          </a:cubicBezTo>
                          <a:cubicBezTo>
                            <a:pt x="10670" y="1196"/>
                            <a:pt x="10551" y="1076"/>
                            <a:pt x="10371" y="957"/>
                          </a:cubicBezTo>
                          <a:cubicBezTo>
                            <a:pt x="10192" y="837"/>
                            <a:pt x="10013" y="718"/>
                            <a:pt x="9833" y="658"/>
                          </a:cubicBezTo>
                          <a:cubicBezTo>
                            <a:pt x="9654" y="538"/>
                            <a:pt x="9474" y="479"/>
                            <a:pt x="9295" y="419"/>
                          </a:cubicBezTo>
                          <a:cubicBezTo>
                            <a:pt x="9116" y="359"/>
                            <a:pt x="8936" y="299"/>
                            <a:pt x="8756" y="239"/>
                          </a:cubicBezTo>
                          <a:cubicBezTo>
                            <a:pt x="8338" y="120"/>
                            <a:pt x="7919" y="60"/>
                            <a:pt x="7501" y="0"/>
                          </a:cubicBezTo>
                          <a:cubicBezTo>
                            <a:pt x="7082" y="0"/>
                            <a:pt x="6663" y="0"/>
                            <a:pt x="6245" y="60"/>
                          </a:cubicBezTo>
                          <a:cubicBezTo>
                            <a:pt x="5826" y="120"/>
                            <a:pt x="5407" y="239"/>
                            <a:pt x="4989" y="359"/>
                          </a:cubicBezTo>
                          <a:cubicBezTo>
                            <a:pt x="4570" y="479"/>
                            <a:pt x="4152" y="718"/>
                            <a:pt x="3793" y="897"/>
                          </a:cubicBezTo>
                          <a:cubicBezTo>
                            <a:pt x="3553" y="1076"/>
                            <a:pt x="3314" y="1196"/>
                            <a:pt x="3075" y="1375"/>
                          </a:cubicBezTo>
                          <a:cubicBezTo>
                            <a:pt x="2836" y="1555"/>
                            <a:pt x="2596" y="1734"/>
                            <a:pt x="2417" y="1974"/>
                          </a:cubicBezTo>
                          <a:cubicBezTo>
                            <a:pt x="2178" y="2153"/>
                            <a:pt x="1999" y="2392"/>
                            <a:pt x="1819" y="2632"/>
                          </a:cubicBezTo>
                          <a:cubicBezTo>
                            <a:pt x="1640" y="2871"/>
                            <a:pt x="1460" y="3110"/>
                            <a:pt x="1281" y="3349"/>
                          </a:cubicBezTo>
                          <a:cubicBezTo>
                            <a:pt x="1221" y="3409"/>
                            <a:pt x="1161" y="3529"/>
                            <a:pt x="1101" y="3589"/>
                          </a:cubicBezTo>
                          <a:cubicBezTo>
                            <a:pt x="1041" y="3648"/>
                            <a:pt x="982" y="3768"/>
                            <a:pt x="922" y="3888"/>
                          </a:cubicBezTo>
                          <a:cubicBezTo>
                            <a:pt x="862" y="4007"/>
                            <a:pt x="802" y="4067"/>
                            <a:pt x="802" y="4187"/>
                          </a:cubicBezTo>
                          <a:cubicBezTo>
                            <a:pt x="802" y="4306"/>
                            <a:pt x="683" y="4366"/>
                            <a:pt x="683" y="4486"/>
                          </a:cubicBezTo>
                          <a:cubicBezTo>
                            <a:pt x="683" y="4545"/>
                            <a:pt x="623" y="4605"/>
                            <a:pt x="623" y="4665"/>
                          </a:cubicBezTo>
                          <a:cubicBezTo>
                            <a:pt x="623" y="4725"/>
                            <a:pt x="563" y="4785"/>
                            <a:pt x="563" y="4844"/>
                          </a:cubicBezTo>
                          <a:cubicBezTo>
                            <a:pt x="563" y="4904"/>
                            <a:pt x="503" y="4964"/>
                            <a:pt x="503" y="5024"/>
                          </a:cubicBezTo>
                          <a:cubicBezTo>
                            <a:pt x="503" y="5084"/>
                            <a:pt x="443" y="5143"/>
                            <a:pt x="443" y="5203"/>
                          </a:cubicBezTo>
                          <a:cubicBezTo>
                            <a:pt x="264" y="5682"/>
                            <a:pt x="145" y="6160"/>
                            <a:pt x="85" y="6639"/>
                          </a:cubicBezTo>
                          <a:cubicBezTo>
                            <a:pt x="25" y="7117"/>
                            <a:pt x="-35" y="7596"/>
                            <a:pt x="25" y="8074"/>
                          </a:cubicBezTo>
                          <a:cubicBezTo>
                            <a:pt x="25" y="8552"/>
                            <a:pt x="85" y="8971"/>
                            <a:pt x="204" y="9450"/>
                          </a:cubicBezTo>
                          <a:cubicBezTo>
                            <a:pt x="324" y="9928"/>
                            <a:pt x="443" y="10287"/>
                            <a:pt x="623" y="10705"/>
                          </a:cubicBezTo>
                          <a:cubicBezTo>
                            <a:pt x="683" y="10825"/>
                            <a:pt x="742" y="10885"/>
                            <a:pt x="802" y="11005"/>
                          </a:cubicBezTo>
                          <a:cubicBezTo>
                            <a:pt x="862" y="11124"/>
                            <a:pt x="922" y="11184"/>
                            <a:pt x="982" y="11304"/>
                          </a:cubicBezTo>
                          <a:cubicBezTo>
                            <a:pt x="1041" y="11423"/>
                            <a:pt x="1101" y="11483"/>
                            <a:pt x="1161" y="11603"/>
                          </a:cubicBezTo>
                          <a:cubicBezTo>
                            <a:pt x="1221" y="11722"/>
                            <a:pt x="1281" y="11782"/>
                            <a:pt x="1340" y="11902"/>
                          </a:cubicBezTo>
                          <a:cubicBezTo>
                            <a:pt x="1400" y="11961"/>
                            <a:pt x="1460" y="12021"/>
                            <a:pt x="1520" y="12141"/>
                          </a:cubicBezTo>
                          <a:cubicBezTo>
                            <a:pt x="1580" y="12201"/>
                            <a:pt x="1640" y="12260"/>
                            <a:pt x="1699" y="12380"/>
                          </a:cubicBezTo>
                          <a:cubicBezTo>
                            <a:pt x="1759" y="12440"/>
                            <a:pt x="1819" y="12500"/>
                            <a:pt x="1879" y="12560"/>
                          </a:cubicBezTo>
                          <a:cubicBezTo>
                            <a:pt x="1879" y="12440"/>
                            <a:pt x="1939" y="12500"/>
                            <a:pt x="1999" y="12560"/>
                          </a:cubicBezTo>
                        </a:path>
                      </a:pathLst>
                    </a:custGeom>
                    <a:noFill/>
                    <a:ln w="6350" cap="flat">
                      <a:solidFill>
                        <a:schemeClr val="bg1">
                          <a:alpha val="80000"/>
                        </a:schemeClr>
                      </a:solidFill>
                      <a:prstDash val="solid"/>
                      <a:miter/>
                    </a:ln>
                  </p:spPr>
                  <p:txBody>
                    <a:bodyPr rtlCol="0" anchor="ctr"/>
                    <a:lstStyle/>
                    <a:p>
                      <a:endParaRPr lang="en-GB"/>
                    </a:p>
                  </p:txBody>
                </p:sp>
                <p:sp>
                  <p:nvSpPr>
                    <p:cNvPr id="7453" name="Vrije vorm: vorm 7452">
                      <a:extLst>
                        <a:ext uri="{FF2B5EF4-FFF2-40B4-BE49-F238E27FC236}">
                          <a16:creationId xmlns:a16="http://schemas.microsoft.com/office/drawing/2014/main" id="{6417D8B9-242E-4C69-93A2-A3DF345BBA9D}"/>
                        </a:ext>
                      </a:extLst>
                    </p:cNvPr>
                    <p:cNvSpPr/>
                    <p:nvPr/>
                  </p:nvSpPr>
                  <p:spPr>
                    <a:xfrm>
                      <a:off x="5053466" y="4951001"/>
                      <a:ext cx="12786" cy="13800"/>
                    </a:xfrm>
                    <a:custGeom>
                      <a:avLst/>
                      <a:gdLst>
                        <a:gd name="connsiteX0" fmla="*/ 9953 w 12786"/>
                        <a:gd name="connsiteY0" fmla="*/ 2452 h 13800"/>
                        <a:gd name="connsiteX1" fmla="*/ 10910 w 12786"/>
                        <a:gd name="connsiteY1" fmla="*/ 3648 h 13800"/>
                        <a:gd name="connsiteX2" fmla="*/ 11508 w 12786"/>
                        <a:gd name="connsiteY2" fmla="*/ 5084 h 13800"/>
                        <a:gd name="connsiteX3" fmla="*/ 11627 w 12786"/>
                        <a:gd name="connsiteY3" fmla="*/ 6698 h 13800"/>
                        <a:gd name="connsiteX4" fmla="*/ 11328 w 12786"/>
                        <a:gd name="connsiteY4" fmla="*/ 8373 h 13800"/>
                        <a:gd name="connsiteX5" fmla="*/ 10192 w 12786"/>
                        <a:gd name="connsiteY5" fmla="*/ 10347 h 13800"/>
                        <a:gd name="connsiteX6" fmla="*/ 8577 w 12786"/>
                        <a:gd name="connsiteY6" fmla="*/ 11782 h 13800"/>
                        <a:gd name="connsiteX7" fmla="*/ 6603 w 12786"/>
                        <a:gd name="connsiteY7" fmla="*/ 12500 h 13800"/>
                        <a:gd name="connsiteX8" fmla="*/ 4570 w 12786"/>
                        <a:gd name="connsiteY8" fmla="*/ 12380 h 13800"/>
                        <a:gd name="connsiteX9" fmla="*/ 4092 w 12786"/>
                        <a:gd name="connsiteY9" fmla="*/ 12201 h 13800"/>
                        <a:gd name="connsiteX10" fmla="*/ 3673 w 12786"/>
                        <a:gd name="connsiteY10" fmla="*/ 11961 h 13800"/>
                        <a:gd name="connsiteX11" fmla="*/ 3254 w 12786"/>
                        <a:gd name="connsiteY11" fmla="*/ 11722 h 13800"/>
                        <a:gd name="connsiteX12" fmla="*/ 2895 w 12786"/>
                        <a:gd name="connsiteY12" fmla="*/ 11423 h 13800"/>
                        <a:gd name="connsiteX13" fmla="*/ 2537 w 12786"/>
                        <a:gd name="connsiteY13" fmla="*/ 11065 h 13800"/>
                        <a:gd name="connsiteX14" fmla="*/ 2178 w 12786"/>
                        <a:gd name="connsiteY14" fmla="*/ 10646 h 13800"/>
                        <a:gd name="connsiteX15" fmla="*/ 1879 w 12786"/>
                        <a:gd name="connsiteY15" fmla="*/ 10227 h 13800"/>
                        <a:gd name="connsiteX16" fmla="*/ 1640 w 12786"/>
                        <a:gd name="connsiteY16" fmla="*/ 9749 h 13800"/>
                        <a:gd name="connsiteX17" fmla="*/ 1340 w 12786"/>
                        <a:gd name="connsiteY17" fmla="*/ 8732 h 13800"/>
                        <a:gd name="connsiteX18" fmla="*/ 1221 w 12786"/>
                        <a:gd name="connsiteY18" fmla="*/ 7656 h 13800"/>
                        <a:gd name="connsiteX19" fmla="*/ 1281 w 12786"/>
                        <a:gd name="connsiteY19" fmla="*/ 6579 h 13800"/>
                        <a:gd name="connsiteX20" fmla="*/ 1520 w 12786"/>
                        <a:gd name="connsiteY20" fmla="*/ 5502 h 13800"/>
                        <a:gd name="connsiteX21" fmla="*/ 2656 w 12786"/>
                        <a:gd name="connsiteY21" fmla="*/ 3529 h 13800"/>
                        <a:gd name="connsiteX22" fmla="*/ 4271 w 12786"/>
                        <a:gd name="connsiteY22" fmla="*/ 2093 h 13800"/>
                        <a:gd name="connsiteX23" fmla="*/ 6245 w 12786"/>
                        <a:gd name="connsiteY23" fmla="*/ 1375 h 13800"/>
                        <a:gd name="connsiteX24" fmla="*/ 8278 w 12786"/>
                        <a:gd name="connsiteY24" fmla="*/ 1495 h 13800"/>
                        <a:gd name="connsiteX25" fmla="*/ 8756 w 12786"/>
                        <a:gd name="connsiteY25" fmla="*/ 1675 h 13800"/>
                        <a:gd name="connsiteX26" fmla="*/ 9175 w 12786"/>
                        <a:gd name="connsiteY26" fmla="*/ 1914 h 13800"/>
                        <a:gd name="connsiteX27" fmla="*/ 9594 w 12786"/>
                        <a:gd name="connsiteY27" fmla="*/ 2153 h 13800"/>
                        <a:gd name="connsiteX28" fmla="*/ 9953 w 12786"/>
                        <a:gd name="connsiteY28" fmla="*/ 2452 h 13800"/>
                        <a:gd name="connsiteX29" fmla="*/ 2118 w 12786"/>
                        <a:gd name="connsiteY29" fmla="*/ 12500 h 13800"/>
                        <a:gd name="connsiteX30" fmla="*/ 2596 w 12786"/>
                        <a:gd name="connsiteY30" fmla="*/ 12859 h 13800"/>
                        <a:gd name="connsiteX31" fmla="*/ 3075 w 12786"/>
                        <a:gd name="connsiteY31" fmla="*/ 13158 h 13800"/>
                        <a:gd name="connsiteX32" fmla="*/ 3613 w 12786"/>
                        <a:gd name="connsiteY32" fmla="*/ 13397 h 13800"/>
                        <a:gd name="connsiteX33" fmla="*/ 4152 w 12786"/>
                        <a:gd name="connsiteY33" fmla="*/ 13576 h 13800"/>
                        <a:gd name="connsiteX34" fmla="*/ 6603 w 12786"/>
                        <a:gd name="connsiteY34" fmla="*/ 13696 h 13800"/>
                        <a:gd name="connsiteX35" fmla="*/ 8996 w 12786"/>
                        <a:gd name="connsiteY35" fmla="*/ 12799 h 13800"/>
                        <a:gd name="connsiteX36" fmla="*/ 10970 w 12786"/>
                        <a:gd name="connsiteY36" fmla="*/ 11065 h 13800"/>
                        <a:gd name="connsiteX37" fmla="*/ 12345 w 12786"/>
                        <a:gd name="connsiteY37" fmla="*/ 8612 h 13800"/>
                        <a:gd name="connsiteX38" fmla="*/ 12764 w 12786"/>
                        <a:gd name="connsiteY38" fmla="*/ 6579 h 13800"/>
                        <a:gd name="connsiteX39" fmla="*/ 12584 w 12786"/>
                        <a:gd name="connsiteY39" fmla="*/ 4605 h 13800"/>
                        <a:gd name="connsiteX40" fmla="*/ 11867 w 12786"/>
                        <a:gd name="connsiteY40" fmla="*/ 2871 h 13800"/>
                        <a:gd name="connsiteX41" fmla="*/ 10730 w 12786"/>
                        <a:gd name="connsiteY41" fmla="*/ 1435 h 13800"/>
                        <a:gd name="connsiteX42" fmla="*/ 10252 w 12786"/>
                        <a:gd name="connsiteY42" fmla="*/ 1076 h 13800"/>
                        <a:gd name="connsiteX43" fmla="*/ 9773 w 12786"/>
                        <a:gd name="connsiteY43" fmla="*/ 778 h 13800"/>
                        <a:gd name="connsiteX44" fmla="*/ 9235 w 12786"/>
                        <a:gd name="connsiteY44" fmla="*/ 479 h 13800"/>
                        <a:gd name="connsiteX45" fmla="*/ 8697 w 12786"/>
                        <a:gd name="connsiteY45" fmla="*/ 239 h 13800"/>
                        <a:gd name="connsiteX46" fmla="*/ 6185 w 12786"/>
                        <a:gd name="connsiteY46" fmla="*/ 60 h 13800"/>
                        <a:gd name="connsiteX47" fmla="*/ 3793 w 12786"/>
                        <a:gd name="connsiteY47" fmla="*/ 897 h 13800"/>
                        <a:gd name="connsiteX48" fmla="*/ 1759 w 12786"/>
                        <a:gd name="connsiteY48" fmla="*/ 2632 h 13800"/>
                        <a:gd name="connsiteX49" fmla="*/ 384 w 12786"/>
                        <a:gd name="connsiteY49" fmla="*/ 5084 h 13800"/>
                        <a:gd name="connsiteX50" fmla="*/ 85 w 12786"/>
                        <a:gd name="connsiteY50" fmla="*/ 6399 h 13800"/>
                        <a:gd name="connsiteX51" fmla="*/ 25 w 12786"/>
                        <a:gd name="connsiteY51" fmla="*/ 7715 h 13800"/>
                        <a:gd name="connsiteX52" fmla="*/ 204 w 12786"/>
                        <a:gd name="connsiteY52" fmla="*/ 9031 h 13800"/>
                        <a:gd name="connsiteX53" fmla="*/ 563 w 12786"/>
                        <a:gd name="connsiteY53" fmla="*/ 10287 h 13800"/>
                        <a:gd name="connsiteX54" fmla="*/ 862 w 12786"/>
                        <a:gd name="connsiteY54" fmla="*/ 10885 h 13800"/>
                        <a:gd name="connsiteX55" fmla="*/ 1221 w 12786"/>
                        <a:gd name="connsiteY55" fmla="*/ 11423 h 13800"/>
                        <a:gd name="connsiteX56" fmla="*/ 1640 w 12786"/>
                        <a:gd name="connsiteY56" fmla="*/ 11902 h 13800"/>
                        <a:gd name="connsiteX57" fmla="*/ 2118 w 12786"/>
                        <a:gd name="connsiteY57" fmla="*/ 12500 h 1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2786" h="13800">
                          <a:moveTo>
                            <a:pt x="9953" y="2452"/>
                          </a:moveTo>
                          <a:cubicBezTo>
                            <a:pt x="10311" y="2811"/>
                            <a:pt x="10670" y="3170"/>
                            <a:pt x="10910" y="3648"/>
                          </a:cubicBezTo>
                          <a:cubicBezTo>
                            <a:pt x="11149" y="4067"/>
                            <a:pt x="11388" y="4605"/>
                            <a:pt x="11508" y="5084"/>
                          </a:cubicBezTo>
                          <a:cubicBezTo>
                            <a:pt x="11627" y="5622"/>
                            <a:pt x="11687" y="6160"/>
                            <a:pt x="11627" y="6698"/>
                          </a:cubicBezTo>
                          <a:cubicBezTo>
                            <a:pt x="11627" y="7237"/>
                            <a:pt x="11508" y="7835"/>
                            <a:pt x="11328" y="8373"/>
                          </a:cubicBezTo>
                          <a:cubicBezTo>
                            <a:pt x="11089" y="9091"/>
                            <a:pt x="10670" y="9808"/>
                            <a:pt x="10192" y="10347"/>
                          </a:cubicBezTo>
                          <a:cubicBezTo>
                            <a:pt x="9714" y="10885"/>
                            <a:pt x="9175" y="11423"/>
                            <a:pt x="8577" y="11782"/>
                          </a:cubicBezTo>
                          <a:cubicBezTo>
                            <a:pt x="7979" y="12141"/>
                            <a:pt x="7321" y="12380"/>
                            <a:pt x="6603" y="12500"/>
                          </a:cubicBezTo>
                          <a:cubicBezTo>
                            <a:pt x="5886" y="12619"/>
                            <a:pt x="5228" y="12560"/>
                            <a:pt x="4570" y="12380"/>
                          </a:cubicBezTo>
                          <a:cubicBezTo>
                            <a:pt x="4391" y="12320"/>
                            <a:pt x="4271" y="12260"/>
                            <a:pt x="4092" y="12201"/>
                          </a:cubicBezTo>
                          <a:cubicBezTo>
                            <a:pt x="3912" y="12141"/>
                            <a:pt x="3793" y="12081"/>
                            <a:pt x="3673" y="11961"/>
                          </a:cubicBezTo>
                          <a:cubicBezTo>
                            <a:pt x="3553" y="11842"/>
                            <a:pt x="3374" y="11782"/>
                            <a:pt x="3254" y="11722"/>
                          </a:cubicBezTo>
                          <a:cubicBezTo>
                            <a:pt x="3135" y="11603"/>
                            <a:pt x="3015" y="11543"/>
                            <a:pt x="2895" y="11423"/>
                          </a:cubicBezTo>
                          <a:cubicBezTo>
                            <a:pt x="2776" y="11304"/>
                            <a:pt x="2656" y="11184"/>
                            <a:pt x="2537" y="11065"/>
                          </a:cubicBezTo>
                          <a:cubicBezTo>
                            <a:pt x="2417" y="10945"/>
                            <a:pt x="2298" y="10825"/>
                            <a:pt x="2178" y="10646"/>
                          </a:cubicBezTo>
                          <a:cubicBezTo>
                            <a:pt x="2058" y="10526"/>
                            <a:pt x="1999" y="10347"/>
                            <a:pt x="1879" y="10227"/>
                          </a:cubicBezTo>
                          <a:cubicBezTo>
                            <a:pt x="1819" y="10048"/>
                            <a:pt x="1699" y="9928"/>
                            <a:pt x="1640" y="9749"/>
                          </a:cubicBezTo>
                          <a:cubicBezTo>
                            <a:pt x="1520" y="9450"/>
                            <a:pt x="1400" y="9091"/>
                            <a:pt x="1340" y="8732"/>
                          </a:cubicBezTo>
                          <a:cubicBezTo>
                            <a:pt x="1281" y="8373"/>
                            <a:pt x="1221" y="8014"/>
                            <a:pt x="1221" y="7656"/>
                          </a:cubicBezTo>
                          <a:cubicBezTo>
                            <a:pt x="1221" y="7297"/>
                            <a:pt x="1221" y="6938"/>
                            <a:pt x="1281" y="6579"/>
                          </a:cubicBezTo>
                          <a:cubicBezTo>
                            <a:pt x="1340" y="6220"/>
                            <a:pt x="1400" y="5861"/>
                            <a:pt x="1520" y="5502"/>
                          </a:cubicBezTo>
                          <a:cubicBezTo>
                            <a:pt x="1759" y="4725"/>
                            <a:pt x="2178" y="4067"/>
                            <a:pt x="2656" y="3529"/>
                          </a:cubicBezTo>
                          <a:cubicBezTo>
                            <a:pt x="3135" y="2931"/>
                            <a:pt x="3673" y="2452"/>
                            <a:pt x="4271" y="2093"/>
                          </a:cubicBezTo>
                          <a:cubicBezTo>
                            <a:pt x="4869" y="1734"/>
                            <a:pt x="5527" y="1495"/>
                            <a:pt x="6245" y="1375"/>
                          </a:cubicBezTo>
                          <a:cubicBezTo>
                            <a:pt x="6902" y="1256"/>
                            <a:pt x="7620" y="1316"/>
                            <a:pt x="8278" y="1495"/>
                          </a:cubicBezTo>
                          <a:cubicBezTo>
                            <a:pt x="8457" y="1555"/>
                            <a:pt x="8577" y="1615"/>
                            <a:pt x="8756" y="1675"/>
                          </a:cubicBezTo>
                          <a:cubicBezTo>
                            <a:pt x="8936" y="1734"/>
                            <a:pt x="9056" y="1794"/>
                            <a:pt x="9175" y="1914"/>
                          </a:cubicBezTo>
                          <a:cubicBezTo>
                            <a:pt x="9295" y="1974"/>
                            <a:pt x="9474" y="2093"/>
                            <a:pt x="9594" y="2153"/>
                          </a:cubicBezTo>
                          <a:cubicBezTo>
                            <a:pt x="9714" y="2273"/>
                            <a:pt x="9833" y="2333"/>
                            <a:pt x="9953" y="2452"/>
                          </a:cubicBezTo>
                          <a:moveTo>
                            <a:pt x="2118" y="12500"/>
                          </a:moveTo>
                          <a:cubicBezTo>
                            <a:pt x="2238" y="12619"/>
                            <a:pt x="2417" y="12739"/>
                            <a:pt x="2596" y="12859"/>
                          </a:cubicBezTo>
                          <a:cubicBezTo>
                            <a:pt x="2776" y="12978"/>
                            <a:pt x="2895" y="13098"/>
                            <a:pt x="3075" y="13158"/>
                          </a:cubicBezTo>
                          <a:cubicBezTo>
                            <a:pt x="3254" y="13277"/>
                            <a:pt x="3434" y="13337"/>
                            <a:pt x="3613" y="13397"/>
                          </a:cubicBezTo>
                          <a:cubicBezTo>
                            <a:pt x="3793" y="13457"/>
                            <a:pt x="3972" y="13517"/>
                            <a:pt x="4152" y="13576"/>
                          </a:cubicBezTo>
                          <a:cubicBezTo>
                            <a:pt x="4989" y="13815"/>
                            <a:pt x="5826" y="13875"/>
                            <a:pt x="6603" y="13696"/>
                          </a:cubicBezTo>
                          <a:cubicBezTo>
                            <a:pt x="7441" y="13576"/>
                            <a:pt x="8218" y="13277"/>
                            <a:pt x="8996" y="12799"/>
                          </a:cubicBezTo>
                          <a:cubicBezTo>
                            <a:pt x="9714" y="12380"/>
                            <a:pt x="10431" y="11782"/>
                            <a:pt x="10970" y="11065"/>
                          </a:cubicBezTo>
                          <a:cubicBezTo>
                            <a:pt x="11568" y="10347"/>
                            <a:pt x="11986" y="9569"/>
                            <a:pt x="12345" y="8612"/>
                          </a:cubicBezTo>
                          <a:cubicBezTo>
                            <a:pt x="12584" y="7954"/>
                            <a:pt x="12704" y="7237"/>
                            <a:pt x="12764" y="6579"/>
                          </a:cubicBezTo>
                          <a:cubicBezTo>
                            <a:pt x="12824" y="5921"/>
                            <a:pt x="12764" y="5263"/>
                            <a:pt x="12584" y="4605"/>
                          </a:cubicBezTo>
                          <a:cubicBezTo>
                            <a:pt x="12405" y="3947"/>
                            <a:pt x="12225" y="3409"/>
                            <a:pt x="11867" y="2871"/>
                          </a:cubicBezTo>
                          <a:cubicBezTo>
                            <a:pt x="11568" y="2333"/>
                            <a:pt x="11149" y="1854"/>
                            <a:pt x="10730" y="1435"/>
                          </a:cubicBezTo>
                          <a:cubicBezTo>
                            <a:pt x="10611" y="1316"/>
                            <a:pt x="10431" y="1196"/>
                            <a:pt x="10252" y="1076"/>
                          </a:cubicBezTo>
                          <a:cubicBezTo>
                            <a:pt x="10072" y="957"/>
                            <a:pt x="9953" y="837"/>
                            <a:pt x="9773" y="778"/>
                          </a:cubicBezTo>
                          <a:cubicBezTo>
                            <a:pt x="9594" y="658"/>
                            <a:pt x="9415" y="598"/>
                            <a:pt x="9235" y="479"/>
                          </a:cubicBezTo>
                          <a:cubicBezTo>
                            <a:pt x="9056" y="419"/>
                            <a:pt x="8876" y="299"/>
                            <a:pt x="8697" y="239"/>
                          </a:cubicBezTo>
                          <a:cubicBezTo>
                            <a:pt x="7860" y="0"/>
                            <a:pt x="7022" y="-60"/>
                            <a:pt x="6185" y="60"/>
                          </a:cubicBezTo>
                          <a:cubicBezTo>
                            <a:pt x="5348" y="180"/>
                            <a:pt x="4570" y="479"/>
                            <a:pt x="3793" y="897"/>
                          </a:cubicBezTo>
                          <a:cubicBezTo>
                            <a:pt x="3015" y="1316"/>
                            <a:pt x="2357" y="1914"/>
                            <a:pt x="1759" y="2632"/>
                          </a:cubicBezTo>
                          <a:cubicBezTo>
                            <a:pt x="1161" y="3349"/>
                            <a:pt x="742" y="4127"/>
                            <a:pt x="384" y="5084"/>
                          </a:cubicBezTo>
                          <a:cubicBezTo>
                            <a:pt x="204" y="5502"/>
                            <a:pt x="145" y="5981"/>
                            <a:pt x="85" y="6399"/>
                          </a:cubicBezTo>
                          <a:cubicBezTo>
                            <a:pt x="25" y="6818"/>
                            <a:pt x="-35" y="7297"/>
                            <a:pt x="25" y="7715"/>
                          </a:cubicBezTo>
                          <a:cubicBezTo>
                            <a:pt x="85" y="8134"/>
                            <a:pt x="85" y="8612"/>
                            <a:pt x="204" y="9031"/>
                          </a:cubicBezTo>
                          <a:cubicBezTo>
                            <a:pt x="324" y="9450"/>
                            <a:pt x="443" y="9868"/>
                            <a:pt x="563" y="10287"/>
                          </a:cubicBezTo>
                          <a:cubicBezTo>
                            <a:pt x="683" y="10466"/>
                            <a:pt x="742" y="10705"/>
                            <a:pt x="862" y="10885"/>
                          </a:cubicBezTo>
                          <a:cubicBezTo>
                            <a:pt x="982" y="11065"/>
                            <a:pt x="1101" y="11244"/>
                            <a:pt x="1221" y="11423"/>
                          </a:cubicBezTo>
                          <a:cubicBezTo>
                            <a:pt x="1340" y="11603"/>
                            <a:pt x="1460" y="11782"/>
                            <a:pt x="1640" y="11902"/>
                          </a:cubicBezTo>
                          <a:cubicBezTo>
                            <a:pt x="1819" y="12201"/>
                            <a:pt x="1939" y="12320"/>
                            <a:pt x="2118" y="12500"/>
                          </a:cubicBezTo>
                        </a:path>
                      </a:pathLst>
                    </a:custGeom>
                    <a:noFill/>
                    <a:ln w="6350" cap="flat">
                      <a:solidFill>
                        <a:schemeClr val="bg1">
                          <a:alpha val="80000"/>
                        </a:schemeClr>
                      </a:solidFill>
                      <a:prstDash val="solid"/>
                      <a:miter/>
                    </a:ln>
                  </p:spPr>
                  <p:txBody>
                    <a:bodyPr rtlCol="0" anchor="ctr"/>
                    <a:lstStyle/>
                    <a:p>
                      <a:endParaRPr lang="en-GB"/>
                    </a:p>
                  </p:txBody>
                </p:sp>
                <p:sp>
                  <p:nvSpPr>
                    <p:cNvPr id="7454" name="Vrije vorm: vorm 7453">
                      <a:extLst>
                        <a:ext uri="{FF2B5EF4-FFF2-40B4-BE49-F238E27FC236}">
                          <a16:creationId xmlns:a16="http://schemas.microsoft.com/office/drawing/2014/main" id="{CC03BFA0-F8A7-4DD9-ACA3-110CB81582A6}"/>
                        </a:ext>
                      </a:extLst>
                    </p:cNvPr>
                    <p:cNvSpPr/>
                    <p:nvPr/>
                  </p:nvSpPr>
                  <p:spPr>
                    <a:xfrm>
                      <a:off x="4803795" y="5061252"/>
                      <a:ext cx="80081" cy="79278"/>
                    </a:xfrm>
                    <a:custGeom>
                      <a:avLst/>
                      <a:gdLst>
                        <a:gd name="connsiteX0" fmla="*/ 78826 w 80081"/>
                        <a:gd name="connsiteY0" fmla="*/ 25452 h 79278"/>
                        <a:gd name="connsiteX1" fmla="*/ 80082 w 80081"/>
                        <a:gd name="connsiteY1" fmla="*/ 25511 h 79278"/>
                        <a:gd name="connsiteX2" fmla="*/ 79663 w 80081"/>
                        <a:gd name="connsiteY2" fmla="*/ 21744 h 79278"/>
                        <a:gd name="connsiteX3" fmla="*/ 78766 w 80081"/>
                        <a:gd name="connsiteY3" fmla="*/ 18095 h 79278"/>
                        <a:gd name="connsiteX4" fmla="*/ 77331 w 80081"/>
                        <a:gd name="connsiteY4" fmla="*/ 14627 h 79278"/>
                        <a:gd name="connsiteX5" fmla="*/ 75417 w 80081"/>
                        <a:gd name="connsiteY5" fmla="*/ 11397 h 79278"/>
                        <a:gd name="connsiteX6" fmla="*/ 73742 w 80081"/>
                        <a:gd name="connsiteY6" fmla="*/ 11277 h 79278"/>
                        <a:gd name="connsiteX7" fmla="*/ 75836 w 80081"/>
                        <a:gd name="connsiteY7" fmla="*/ 14507 h 79278"/>
                        <a:gd name="connsiteX8" fmla="*/ 77391 w 80081"/>
                        <a:gd name="connsiteY8" fmla="*/ 17976 h 79278"/>
                        <a:gd name="connsiteX9" fmla="*/ 78407 w 80081"/>
                        <a:gd name="connsiteY9" fmla="*/ 21624 h 79278"/>
                        <a:gd name="connsiteX10" fmla="*/ 78826 w 80081"/>
                        <a:gd name="connsiteY10" fmla="*/ 25452 h 79278"/>
                        <a:gd name="connsiteX11" fmla="*/ 76075 w 80081"/>
                        <a:gd name="connsiteY11" fmla="*/ 39088 h 79278"/>
                        <a:gd name="connsiteX12" fmla="*/ 77331 w 80081"/>
                        <a:gd name="connsiteY12" fmla="*/ 39147 h 79278"/>
                        <a:gd name="connsiteX13" fmla="*/ 78527 w 80081"/>
                        <a:gd name="connsiteY13" fmla="*/ 36097 h 79278"/>
                        <a:gd name="connsiteX14" fmla="*/ 79364 w 80081"/>
                        <a:gd name="connsiteY14" fmla="*/ 32987 h 79278"/>
                        <a:gd name="connsiteX15" fmla="*/ 79843 w 80081"/>
                        <a:gd name="connsiteY15" fmla="*/ 29877 h 79278"/>
                        <a:gd name="connsiteX16" fmla="*/ 80022 w 80081"/>
                        <a:gd name="connsiteY16" fmla="*/ 26768 h 79278"/>
                        <a:gd name="connsiteX17" fmla="*/ 78766 w 80081"/>
                        <a:gd name="connsiteY17" fmla="*/ 26708 h 79278"/>
                        <a:gd name="connsiteX18" fmla="*/ 78587 w 80081"/>
                        <a:gd name="connsiteY18" fmla="*/ 29817 h 79278"/>
                        <a:gd name="connsiteX19" fmla="*/ 78108 w 80081"/>
                        <a:gd name="connsiteY19" fmla="*/ 32927 h 79278"/>
                        <a:gd name="connsiteX20" fmla="*/ 77271 w 80081"/>
                        <a:gd name="connsiteY20" fmla="*/ 36038 h 79278"/>
                        <a:gd name="connsiteX21" fmla="*/ 76075 w 80081"/>
                        <a:gd name="connsiteY21" fmla="*/ 39088 h 79278"/>
                        <a:gd name="connsiteX22" fmla="*/ 69077 w 80081"/>
                        <a:gd name="connsiteY22" fmla="*/ 49374 h 79278"/>
                        <a:gd name="connsiteX23" fmla="*/ 70513 w 80081"/>
                        <a:gd name="connsiteY23" fmla="*/ 49434 h 79278"/>
                        <a:gd name="connsiteX24" fmla="*/ 73204 w 80081"/>
                        <a:gd name="connsiteY24" fmla="*/ 46025 h 79278"/>
                        <a:gd name="connsiteX25" fmla="*/ 74221 w 80081"/>
                        <a:gd name="connsiteY25" fmla="*/ 44650 h 79278"/>
                        <a:gd name="connsiteX26" fmla="*/ 75178 w 80081"/>
                        <a:gd name="connsiteY26" fmla="*/ 43215 h 79278"/>
                        <a:gd name="connsiteX27" fmla="*/ 76015 w 80081"/>
                        <a:gd name="connsiteY27" fmla="*/ 41779 h 79278"/>
                        <a:gd name="connsiteX28" fmla="*/ 76792 w 80081"/>
                        <a:gd name="connsiteY28" fmla="*/ 40284 h 79278"/>
                        <a:gd name="connsiteX29" fmla="*/ 75477 w 80081"/>
                        <a:gd name="connsiteY29" fmla="*/ 40224 h 79278"/>
                        <a:gd name="connsiteX30" fmla="*/ 74759 w 80081"/>
                        <a:gd name="connsiteY30" fmla="*/ 41540 h 79278"/>
                        <a:gd name="connsiteX31" fmla="*/ 73982 w 80081"/>
                        <a:gd name="connsiteY31" fmla="*/ 42856 h 79278"/>
                        <a:gd name="connsiteX32" fmla="*/ 73144 w 80081"/>
                        <a:gd name="connsiteY32" fmla="*/ 44111 h 79278"/>
                        <a:gd name="connsiteX33" fmla="*/ 72187 w 80081"/>
                        <a:gd name="connsiteY33" fmla="*/ 45368 h 79278"/>
                        <a:gd name="connsiteX34" fmla="*/ 69077 w 80081"/>
                        <a:gd name="connsiteY34" fmla="*/ 49374 h 79278"/>
                        <a:gd name="connsiteX35" fmla="*/ 53049 w 80081"/>
                        <a:gd name="connsiteY35" fmla="*/ 69649 h 79278"/>
                        <a:gd name="connsiteX36" fmla="*/ 54006 w 80081"/>
                        <a:gd name="connsiteY36" fmla="*/ 70307 h 79278"/>
                        <a:gd name="connsiteX37" fmla="*/ 69556 w 80081"/>
                        <a:gd name="connsiteY37" fmla="*/ 50571 h 79278"/>
                        <a:gd name="connsiteX38" fmla="*/ 68121 w 80081"/>
                        <a:gd name="connsiteY38" fmla="*/ 50511 h 79278"/>
                        <a:gd name="connsiteX39" fmla="*/ 53049 w 80081"/>
                        <a:gd name="connsiteY39" fmla="*/ 69649 h 79278"/>
                        <a:gd name="connsiteX40" fmla="*/ 7177 w 80081"/>
                        <a:gd name="connsiteY40" fmla="*/ 37652 h 79278"/>
                        <a:gd name="connsiteX41" fmla="*/ 8194 w 80081"/>
                        <a:gd name="connsiteY41" fmla="*/ 38370 h 79278"/>
                        <a:gd name="connsiteX42" fmla="*/ 27810 w 80081"/>
                        <a:gd name="connsiteY42" fmla="*/ 13490 h 79278"/>
                        <a:gd name="connsiteX43" fmla="*/ 36841 w 80081"/>
                        <a:gd name="connsiteY43" fmla="*/ 5596 h 79278"/>
                        <a:gd name="connsiteX44" fmla="*/ 47547 w 80081"/>
                        <a:gd name="connsiteY44" fmla="*/ 1648 h 79278"/>
                        <a:gd name="connsiteX45" fmla="*/ 58611 w 80081"/>
                        <a:gd name="connsiteY45" fmla="*/ 1828 h 79278"/>
                        <a:gd name="connsiteX46" fmla="*/ 68659 w 80081"/>
                        <a:gd name="connsiteY46" fmla="*/ 6313 h 79278"/>
                        <a:gd name="connsiteX47" fmla="*/ 69735 w 80081"/>
                        <a:gd name="connsiteY47" fmla="*/ 7151 h 79278"/>
                        <a:gd name="connsiteX48" fmla="*/ 70752 w 80081"/>
                        <a:gd name="connsiteY48" fmla="*/ 8048 h 79278"/>
                        <a:gd name="connsiteX49" fmla="*/ 71709 w 80081"/>
                        <a:gd name="connsiteY49" fmla="*/ 9005 h 79278"/>
                        <a:gd name="connsiteX50" fmla="*/ 72606 w 80081"/>
                        <a:gd name="connsiteY50" fmla="*/ 9962 h 79278"/>
                        <a:gd name="connsiteX51" fmla="*/ 74400 w 80081"/>
                        <a:gd name="connsiteY51" fmla="*/ 10081 h 79278"/>
                        <a:gd name="connsiteX52" fmla="*/ 73324 w 80081"/>
                        <a:gd name="connsiteY52" fmla="*/ 8766 h 79278"/>
                        <a:gd name="connsiteX53" fmla="*/ 72128 w 80081"/>
                        <a:gd name="connsiteY53" fmla="*/ 7509 h 79278"/>
                        <a:gd name="connsiteX54" fmla="*/ 70871 w 80081"/>
                        <a:gd name="connsiteY54" fmla="*/ 6373 h 79278"/>
                        <a:gd name="connsiteX55" fmla="*/ 69496 w 80081"/>
                        <a:gd name="connsiteY55" fmla="*/ 5297 h 79278"/>
                        <a:gd name="connsiteX56" fmla="*/ 59030 w 80081"/>
                        <a:gd name="connsiteY56" fmla="*/ 631 h 79278"/>
                        <a:gd name="connsiteX57" fmla="*/ 47487 w 80081"/>
                        <a:gd name="connsiteY57" fmla="*/ 452 h 79278"/>
                        <a:gd name="connsiteX58" fmla="*/ 36303 w 80081"/>
                        <a:gd name="connsiteY58" fmla="*/ 4579 h 79278"/>
                        <a:gd name="connsiteX59" fmla="*/ 26913 w 80081"/>
                        <a:gd name="connsiteY59" fmla="*/ 12772 h 79278"/>
                        <a:gd name="connsiteX60" fmla="*/ 7177 w 80081"/>
                        <a:gd name="connsiteY60" fmla="*/ 37652 h 79278"/>
                        <a:gd name="connsiteX61" fmla="*/ 11842 w 80081"/>
                        <a:gd name="connsiteY61" fmla="*/ 54996 h 79278"/>
                        <a:gd name="connsiteX62" fmla="*/ 46949 w 80081"/>
                        <a:gd name="connsiteY62" fmla="*/ 79278 h 79278"/>
                        <a:gd name="connsiteX63" fmla="*/ 53169 w 80081"/>
                        <a:gd name="connsiteY63" fmla="*/ 71383 h 79278"/>
                        <a:gd name="connsiteX64" fmla="*/ 52212 w 80081"/>
                        <a:gd name="connsiteY64" fmla="*/ 70726 h 79278"/>
                        <a:gd name="connsiteX65" fmla="*/ 46769 w 80081"/>
                        <a:gd name="connsiteY65" fmla="*/ 77604 h 79278"/>
                        <a:gd name="connsiteX66" fmla="*/ 12858 w 80081"/>
                        <a:gd name="connsiteY66" fmla="*/ 54159 h 79278"/>
                        <a:gd name="connsiteX67" fmla="*/ 12619 w 80081"/>
                        <a:gd name="connsiteY67" fmla="*/ 54339 h 79278"/>
                        <a:gd name="connsiteX68" fmla="*/ 12380 w 80081"/>
                        <a:gd name="connsiteY68" fmla="*/ 54578 h 79278"/>
                        <a:gd name="connsiteX69" fmla="*/ 12141 w 80081"/>
                        <a:gd name="connsiteY69" fmla="*/ 54817 h 79278"/>
                        <a:gd name="connsiteX70" fmla="*/ 11842 w 80081"/>
                        <a:gd name="connsiteY70" fmla="*/ 54996 h 79278"/>
                        <a:gd name="connsiteX71" fmla="*/ 0 w 80081"/>
                        <a:gd name="connsiteY71" fmla="*/ 46743 h 79278"/>
                        <a:gd name="connsiteX72" fmla="*/ 10885 w 80081"/>
                        <a:gd name="connsiteY72" fmla="*/ 54279 h 79278"/>
                        <a:gd name="connsiteX73" fmla="*/ 11124 w 80081"/>
                        <a:gd name="connsiteY73" fmla="*/ 54040 h 79278"/>
                        <a:gd name="connsiteX74" fmla="*/ 11363 w 80081"/>
                        <a:gd name="connsiteY74" fmla="*/ 53800 h 79278"/>
                        <a:gd name="connsiteX75" fmla="*/ 11603 w 80081"/>
                        <a:gd name="connsiteY75" fmla="*/ 53561 h 79278"/>
                        <a:gd name="connsiteX76" fmla="*/ 11842 w 80081"/>
                        <a:gd name="connsiteY76" fmla="*/ 53381 h 79278"/>
                        <a:gd name="connsiteX77" fmla="*/ 1734 w 80081"/>
                        <a:gd name="connsiteY77" fmla="*/ 46384 h 79278"/>
                        <a:gd name="connsiteX78" fmla="*/ 6818 w 80081"/>
                        <a:gd name="connsiteY78" fmla="*/ 39925 h 79278"/>
                        <a:gd name="connsiteX79" fmla="*/ 6459 w 80081"/>
                        <a:gd name="connsiteY79" fmla="*/ 39805 h 79278"/>
                        <a:gd name="connsiteX80" fmla="*/ 6160 w 80081"/>
                        <a:gd name="connsiteY80" fmla="*/ 39746 h 79278"/>
                        <a:gd name="connsiteX81" fmla="*/ 5861 w 80081"/>
                        <a:gd name="connsiteY81" fmla="*/ 39686 h 79278"/>
                        <a:gd name="connsiteX82" fmla="*/ 5562 w 80081"/>
                        <a:gd name="connsiteY82" fmla="*/ 39626 h 79278"/>
                        <a:gd name="connsiteX83" fmla="*/ 0 w 80081"/>
                        <a:gd name="connsiteY83" fmla="*/ 46743 h 7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0081" h="79278">
                          <a:moveTo>
                            <a:pt x="78826" y="25452"/>
                          </a:moveTo>
                          <a:lnTo>
                            <a:pt x="80082" y="25511"/>
                          </a:lnTo>
                          <a:cubicBezTo>
                            <a:pt x="80022" y="24255"/>
                            <a:pt x="79902" y="23000"/>
                            <a:pt x="79663" y="21744"/>
                          </a:cubicBezTo>
                          <a:cubicBezTo>
                            <a:pt x="79424" y="20487"/>
                            <a:pt x="79125" y="19292"/>
                            <a:pt x="78766" y="18095"/>
                          </a:cubicBezTo>
                          <a:cubicBezTo>
                            <a:pt x="78347" y="16899"/>
                            <a:pt x="77929" y="15763"/>
                            <a:pt x="77331" y="14627"/>
                          </a:cubicBezTo>
                          <a:cubicBezTo>
                            <a:pt x="76792" y="13490"/>
                            <a:pt x="76134" y="12414"/>
                            <a:pt x="75417" y="11397"/>
                          </a:cubicBezTo>
                          <a:lnTo>
                            <a:pt x="73742" y="11277"/>
                          </a:lnTo>
                          <a:cubicBezTo>
                            <a:pt x="74520" y="12294"/>
                            <a:pt x="75238" y="13370"/>
                            <a:pt x="75836" y="14507"/>
                          </a:cubicBezTo>
                          <a:cubicBezTo>
                            <a:pt x="76433" y="15643"/>
                            <a:pt x="76972" y="16779"/>
                            <a:pt x="77391" y="17976"/>
                          </a:cubicBezTo>
                          <a:cubicBezTo>
                            <a:pt x="77809" y="19172"/>
                            <a:pt x="78168" y="20428"/>
                            <a:pt x="78407" y="21624"/>
                          </a:cubicBezTo>
                          <a:cubicBezTo>
                            <a:pt x="78587" y="22880"/>
                            <a:pt x="78706" y="24136"/>
                            <a:pt x="78826" y="25452"/>
                          </a:cubicBezTo>
                          <a:moveTo>
                            <a:pt x="76075" y="39088"/>
                          </a:moveTo>
                          <a:lnTo>
                            <a:pt x="77331" y="39147"/>
                          </a:lnTo>
                          <a:cubicBezTo>
                            <a:pt x="77809" y="38131"/>
                            <a:pt x="78168" y="37114"/>
                            <a:pt x="78527" y="36097"/>
                          </a:cubicBezTo>
                          <a:cubicBezTo>
                            <a:pt x="78886" y="35080"/>
                            <a:pt x="79125" y="34004"/>
                            <a:pt x="79364" y="32987"/>
                          </a:cubicBezTo>
                          <a:cubicBezTo>
                            <a:pt x="79603" y="31971"/>
                            <a:pt x="79783" y="30894"/>
                            <a:pt x="79843" y="29877"/>
                          </a:cubicBezTo>
                          <a:cubicBezTo>
                            <a:pt x="79962" y="28861"/>
                            <a:pt x="80022" y="27784"/>
                            <a:pt x="80022" y="26768"/>
                          </a:cubicBezTo>
                          <a:lnTo>
                            <a:pt x="78766" y="26708"/>
                          </a:lnTo>
                          <a:cubicBezTo>
                            <a:pt x="78766" y="27724"/>
                            <a:pt x="78706" y="28801"/>
                            <a:pt x="78587" y="29817"/>
                          </a:cubicBezTo>
                          <a:cubicBezTo>
                            <a:pt x="78467" y="30834"/>
                            <a:pt x="78287" y="31911"/>
                            <a:pt x="78108" y="32927"/>
                          </a:cubicBezTo>
                          <a:cubicBezTo>
                            <a:pt x="77869" y="33944"/>
                            <a:pt x="77570" y="35021"/>
                            <a:pt x="77271" y="36038"/>
                          </a:cubicBezTo>
                          <a:cubicBezTo>
                            <a:pt x="76972" y="37054"/>
                            <a:pt x="76553" y="38071"/>
                            <a:pt x="76075" y="39088"/>
                          </a:cubicBezTo>
                          <a:moveTo>
                            <a:pt x="69077" y="49374"/>
                          </a:moveTo>
                          <a:lnTo>
                            <a:pt x="70513" y="49434"/>
                          </a:lnTo>
                          <a:lnTo>
                            <a:pt x="73204" y="46025"/>
                          </a:lnTo>
                          <a:cubicBezTo>
                            <a:pt x="73563" y="45547"/>
                            <a:pt x="73922" y="45128"/>
                            <a:pt x="74221" y="44650"/>
                          </a:cubicBezTo>
                          <a:cubicBezTo>
                            <a:pt x="74579" y="44171"/>
                            <a:pt x="74879" y="43693"/>
                            <a:pt x="75178" y="43215"/>
                          </a:cubicBezTo>
                          <a:cubicBezTo>
                            <a:pt x="75477" y="42736"/>
                            <a:pt x="75776" y="42257"/>
                            <a:pt x="76015" y="41779"/>
                          </a:cubicBezTo>
                          <a:cubicBezTo>
                            <a:pt x="76314" y="41301"/>
                            <a:pt x="76553" y="40822"/>
                            <a:pt x="76792" y="40284"/>
                          </a:cubicBezTo>
                          <a:lnTo>
                            <a:pt x="75477" y="40224"/>
                          </a:lnTo>
                          <a:cubicBezTo>
                            <a:pt x="75238" y="40642"/>
                            <a:pt x="74998" y="41121"/>
                            <a:pt x="74759" y="41540"/>
                          </a:cubicBezTo>
                          <a:cubicBezTo>
                            <a:pt x="74520" y="41958"/>
                            <a:pt x="74221" y="42377"/>
                            <a:pt x="73982" y="42856"/>
                          </a:cubicBezTo>
                          <a:cubicBezTo>
                            <a:pt x="73683" y="43274"/>
                            <a:pt x="73443" y="43693"/>
                            <a:pt x="73144" y="44111"/>
                          </a:cubicBezTo>
                          <a:cubicBezTo>
                            <a:pt x="72845" y="44530"/>
                            <a:pt x="72546" y="44949"/>
                            <a:pt x="72187" y="45368"/>
                          </a:cubicBezTo>
                          <a:lnTo>
                            <a:pt x="69077" y="49374"/>
                          </a:lnTo>
                          <a:moveTo>
                            <a:pt x="53049" y="69649"/>
                          </a:moveTo>
                          <a:lnTo>
                            <a:pt x="54006" y="70307"/>
                          </a:lnTo>
                          <a:lnTo>
                            <a:pt x="69556" y="50571"/>
                          </a:lnTo>
                          <a:lnTo>
                            <a:pt x="68121" y="50511"/>
                          </a:lnTo>
                          <a:lnTo>
                            <a:pt x="53049" y="69649"/>
                          </a:lnTo>
                          <a:moveTo>
                            <a:pt x="7177" y="37652"/>
                          </a:moveTo>
                          <a:lnTo>
                            <a:pt x="8194" y="38370"/>
                          </a:lnTo>
                          <a:lnTo>
                            <a:pt x="27810" y="13490"/>
                          </a:lnTo>
                          <a:cubicBezTo>
                            <a:pt x="30382" y="10261"/>
                            <a:pt x="33432" y="7629"/>
                            <a:pt x="36841" y="5596"/>
                          </a:cubicBezTo>
                          <a:cubicBezTo>
                            <a:pt x="40190" y="3622"/>
                            <a:pt x="43839" y="2306"/>
                            <a:pt x="47547" y="1648"/>
                          </a:cubicBezTo>
                          <a:cubicBezTo>
                            <a:pt x="51255" y="991"/>
                            <a:pt x="55023" y="1050"/>
                            <a:pt x="58611" y="1828"/>
                          </a:cubicBezTo>
                          <a:cubicBezTo>
                            <a:pt x="62199" y="2605"/>
                            <a:pt x="65608" y="4100"/>
                            <a:pt x="68659" y="6313"/>
                          </a:cubicBezTo>
                          <a:cubicBezTo>
                            <a:pt x="69017" y="6612"/>
                            <a:pt x="69376" y="6852"/>
                            <a:pt x="69735" y="7151"/>
                          </a:cubicBezTo>
                          <a:cubicBezTo>
                            <a:pt x="70094" y="7450"/>
                            <a:pt x="70453" y="7749"/>
                            <a:pt x="70752" y="8048"/>
                          </a:cubicBezTo>
                          <a:cubicBezTo>
                            <a:pt x="71111" y="8347"/>
                            <a:pt x="71410" y="8646"/>
                            <a:pt x="71709" y="9005"/>
                          </a:cubicBezTo>
                          <a:cubicBezTo>
                            <a:pt x="72008" y="9304"/>
                            <a:pt x="72307" y="9662"/>
                            <a:pt x="72606" y="9962"/>
                          </a:cubicBezTo>
                          <a:lnTo>
                            <a:pt x="74400" y="10081"/>
                          </a:lnTo>
                          <a:cubicBezTo>
                            <a:pt x="74041" y="9662"/>
                            <a:pt x="73683" y="9184"/>
                            <a:pt x="73324" y="8766"/>
                          </a:cubicBezTo>
                          <a:cubicBezTo>
                            <a:pt x="72965" y="8347"/>
                            <a:pt x="72546" y="7928"/>
                            <a:pt x="72128" y="7509"/>
                          </a:cubicBezTo>
                          <a:cubicBezTo>
                            <a:pt x="71709" y="7091"/>
                            <a:pt x="71290" y="6732"/>
                            <a:pt x="70871" y="6373"/>
                          </a:cubicBezTo>
                          <a:cubicBezTo>
                            <a:pt x="70453" y="6014"/>
                            <a:pt x="69975" y="5655"/>
                            <a:pt x="69496" y="5297"/>
                          </a:cubicBezTo>
                          <a:cubicBezTo>
                            <a:pt x="66326" y="2964"/>
                            <a:pt x="62738" y="1409"/>
                            <a:pt x="59030" y="631"/>
                          </a:cubicBezTo>
                          <a:cubicBezTo>
                            <a:pt x="55262" y="-146"/>
                            <a:pt x="51374" y="-206"/>
                            <a:pt x="47487" y="452"/>
                          </a:cubicBezTo>
                          <a:cubicBezTo>
                            <a:pt x="43599" y="1110"/>
                            <a:pt x="39772" y="2486"/>
                            <a:pt x="36303" y="4579"/>
                          </a:cubicBezTo>
                          <a:cubicBezTo>
                            <a:pt x="32774" y="6672"/>
                            <a:pt x="29545" y="9423"/>
                            <a:pt x="26913" y="12772"/>
                          </a:cubicBezTo>
                          <a:lnTo>
                            <a:pt x="7177" y="37652"/>
                          </a:lnTo>
                          <a:moveTo>
                            <a:pt x="11842" y="54996"/>
                          </a:moveTo>
                          <a:lnTo>
                            <a:pt x="46949" y="79278"/>
                          </a:lnTo>
                          <a:lnTo>
                            <a:pt x="53169" y="71383"/>
                          </a:lnTo>
                          <a:lnTo>
                            <a:pt x="52212" y="70726"/>
                          </a:lnTo>
                          <a:lnTo>
                            <a:pt x="46769" y="77604"/>
                          </a:lnTo>
                          <a:lnTo>
                            <a:pt x="12858" y="54159"/>
                          </a:lnTo>
                          <a:cubicBezTo>
                            <a:pt x="12799" y="54219"/>
                            <a:pt x="12679" y="54279"/>
                            <a:pt x="12619" y="54339"/>
                          </a:cubicBezTo>
                          <a:cubicBezTo>
                            <a:pt x="12559" y="54398"/>
                            <a:pt x="12440" y="54458"/>
                            <a:pt x="12380" y="54578"/>
                          </a:cubicBezTo>
                          <a:cubicBezTo>
                            <a:pt x="12320" y="54638"/>
                            <a:pt x="12201" y="54697"/>
                            <a:pt x="12141" y="54817"/>
                          </a:cubicBezTo>
                          <a:cubicBezTo>
                            <a:pt x="12081" y="54937"/>
                            <a:pt x="11961" y="54877"/>
                            <a:pt x="11842" y="54996"/>
                          </a:cubicBezTo>
                          <a:moveTo>
                            <a:pt x="0" y="46743"/>
                          </a:moveTo>
                          <a:lnTo>
                            <a:pt x="10885" y="54279"/>
                          </a:lnTo>
                          <a:cubicBezTo>
                            <a:pt x="10945" y="54219"/>
                            <a:pt x="11064" y="54099"/>
                            <a:pt x="11124" y="54040"/>
                          </a:cubicBezTo>
                          <a:cubicBezTo>
                            <a:pt x="11184" y="53980"/>
                            <a:pt x="11304" y="53920"/>
                            <a:pt x="11363" y="53800"/>
                          </a:cubicBezTo>
                          <a:cubicBezTo>
                            <a:pt x="11423" y="53740"/>
                            <a:pt x="11543" y="53681"/>
                            <a:pt x="11603" y="53561"/>
                          </a:cubicBezTo>
                          <a:cubicBezTo>
                            <a:pt x="11662" y="53501"/>
                            <a:pt x="11782" y="53441"/>
                            <a:pt x="11842" y="53381"/>
                          </a:cubicBezTo>
                          <a:lnTo>
                            <a:pt x="1734" y="46384"/>
                          </a:lnTo>
                          <a:lnTo>
                            <a:pt x="6818" y="39925"/>
                          </a:lnTo>
                          <a:cubicBezTo>
                            <a:pt x="6698" y="39865"/>
                            <a:pt x="6579" y="39865"/>
                            <a:pt x="6459" y="39805"/>
                          </a:cubicBezTo>
                          <a:cubicBezTo>
                            <a:pt x="6340" y="39805"/>
                            <a:pt x="6220" y="39746"/>
                            <a:pt x="6160" y="39746"/>
                          </a:cubicBezTo>
                          <a:cubicBezTo>
                            <a:pt x="6041" y="39746"/>
                            <a:pt x="5921" y="39686"/>
                            <a:pt x="5861" y="39686"/>
                          </a:cubicBezTo>
                          <a:cubicBezTo>
                            <a:pt x="5741" y="39686"/>
                            <a:pt x="5622" y="39626"/>
                            <a:pt x="5562" y="39626"/>
                          </a:cubicBezTo>
                          <a:lnTo>
                            <a:pt x="0" y="46743"/>
                          </a:lnTo>
                        </a:path>
                      </a:pathLst>
                    </a:custGeom>
                    <a:noFill/>
                    <a:ln w="6350" cap="flat">
                      <a:solidFill>
                        <a:schemeClr val="bg1">
                          <a:alpha val="80000"/>
                        </a:schemeClr>
                      </a:solidFill>
                      <a:prstDash val="solid"/>
                      <a:miter/>
                    </a:ln>
                  </p:spPr>
                  <p:txBody>
                    <a:bodyPr rtlCol="0" anchor="ctr"/>
                    <a:lstStyle/>
                    <a:p>
                      <a:endParaRPr lang="en-GB"/>
                    </a:p>
                  </p:txBody>
                </p:sp>
                <p:sp>
                  <p:nvSpPr>
                    <p:cNvPr id="7455" name="Vrije vorm: vorm 7454">
                      <a:extLst>
                        <a:ext uri="{FF2B5EF4-FFF2-40B4-BE49-F238E27FC236}">
                          <a16:creationId xmlns:a16="http://schemas.microsoft.com/office/drawing/2014/main" id="{B99123AD-5732-4CAD-A78A-BEB347469B99}"/>
                        </a:ext>
                      </a:extLst>
                    </p:cNvPr>
                    <p:cNvSpPr/>
                    <p:nvPr/>
                  </p:nvSpPr>
                  <p:spPr>
                    <a:xfrm>
                      <a:off x="4828169" y="5065527"/>
                      <a:ext cx="51401" cy="50249"/>
                    </a:xfrm>
                    <a:custGeom>
                      <a:avLst/>
                      <a:gdLst>
                        <a:gd name="connsiteX0" fmla="*/ 50086 w 51401"/>
                        <a:gd name="connsiteY0" fmla="*/ 20877 h 50249"/>
                        <a:gd name="connsiteX1" fmla="*/ 51342 w 51401"/>
                        <a:gd name="connsiteY1" fmla="*/ 20937 h 50249"/>
                        <a:gd name="connsiteX2" fmla="*/ 50684 w 51401"/>
                        <a:gd name="connsiteY2" fmla="*/ 16990 h 50249"/>
                        <a:gd name="connsiteX3" fmla="*/ 49368 w 51401"/>
                        <a:gd name="connsiteY3" fmla="*/ 13222 h 50249"/>
                        <a:gd name="connsiteX4" fmla="*/ 47395 w 51401"/>
                        <a:gd name="connsiteY4" fmla="*/ 9753 h 50249"/>
                        <a:gd name="connsiteX5" fmla="*/ 44763 w 51401"/>
                        <a:gd name="connsiteY5" fmla="*/ 6643 h 50249"/>
                        <a:gd name="connsiteX6" fmla="*/ 42670 w 51401"/>
                        <a:gd name="connsiteY6" fmla="*/ 6523 h 50249"/>
                        <a:gd name="connsiteX7" fmla="*/ 45601 w 51401"/>
                        <a:gd name="connsiteY7" fmla="*/ 9574 h 50249"/>
                        <a:gd name="connsiteX8" fmla="*/ 47813 w 51401"/>
                        <a:gd name="connsiteY8" fmla="*/ 13043 h 50249"/>
                        <a:gd name="connsiteX9" fmla="*/ 49309 w 51401"/>
                        <a:gd name="connsiteY9" fmla="*/ 16870 h 50249"/>
                        <a:gd name="connsiteX10" fmla="*/ 50086 w 51401"/>
                        <a:gd name="connsiteY10" fmla="*/ 20877 h 50249"/>
                        <a:gd name="connsiteX11" fmla="*/ 47275 w 51401"/>
                        <a:gd name="connsiteY11" fmla="*/ 34513 h 50249"/>
                        <a:gd name="connsiteX12" fmla="*/ 48591 w 51401"/>
                        <a:gd name="connsiteY12" fmla="*/ 34573 h 50249"/>
                        <a:gd name="connsiteX13" fmla="*/ 49906 w 51401"/>
                        <a:gd name="connsiteY13" fmla="*/ 31523 h 50249"/>
                        <a:gd name="connsiteX14" fmla="*/ 50804 w 51401"/>
                        <a:gd name="connsiteY14" fmla="*/ 28413 h 50249"/>
                        <a:gd name="connsiteX15" fmla="*/ 51282 w 51401"/>
                        <a:gd name="connsiteY15" fmla="*/ 25303 h 50249"/>
                        <a:gd name="connsiteX16" fmla="*/ 51402 w 51401"/>
                        <a:gd name="connsiteY16" fmla="*/ 22193 h 50249"/>
                        <a:gd name="connsiteX17" fmla="*/ 50146 w 51401"/>
                        <a:gd name="connsiteY17" fmla="*/ 22133 h 50249"/>
                        <a:gd name="connsiteX18" fmla="*/ 50086 w 51401"/>
                        <a:gd name="connsiteY18" fmla="*/ 25243 h 50249"/>
                        <a:gd name="connsiteX19" fmla="*/ 49607 w 51401"/>
                        <a:gd name="connsiteY19" fmla="*/ 28413 h 50249"/>
                        <a:gd name="connsiteX20" fmla="*/ 48650 w 51401"/>
                        <a:gd name="connsiteY20" fmla="*/ 31523 h 50249"/>
                        <a:gd name="connsiteX21" fmla="*/ 47275 w 51401"/>
                        <a:gd name="connsiteY21" fmla="*/ 34513 h 50249"/>
                        <a:gd name="connsiteX22" fmla="*/ 37945 w 51401"/>
                        <a:gd name="connsiteY22" fmla="*/ 44680 h 50249"/>
                        <a:gd name="connsiteX23" fmla="*/ 39859 w 51401"/>
                        <a:gd name="connsiteY23" fmla="*/ 44800 h 50249"/>
                        <a:gd name="connsiteX24" fmla="*/ 41414 w 51401"/>
                        <a:gd name="connsiteY24" fmla="*/ 43604 h 50249"/>
                        <a:gd name="connsiteX25" fmla="*/ 42849 w 51401"/>
                        <a:gd name="connsiteY25" fmla="*/ 42288 h 50249"/>
                        <a:gd name="connsiteX26" fmla="*/ 44225 w 51401"/>
                        <a:gd name="connsiteY26" fmla="*/ 40853 h 50249"/>
                        <a:gd name="connsiteX27" fmla="*/ 45541 w 51401"/>
                        <a:gd name="connsiteY27" fmla="*/ 39298 h 50249"/>
                        <a:gd name="connsiteX28" fmla="*/ 46198 w 51401"/>
                        <a:gd name="connsiteY28" fmla="*/ 38401 h 50249"/>
                        <a:gd name="connsiteX29" fmla="*/ 46796 w 51401"/>
                        <a:gd name="connsiteY29" fmla="*/ 37503 h 50249"/>
                        <a:gd name="connsiteX30" fmla="*/ 47395 w 51401"/>
                        <a:gd name="connsiteY30" fmla="*/ 36607 h 50249"/>
                        <a:gd name="connsiteX31" fmla="*/ 47933 w 51401"/>
                        <a:gd name="connsiteY31" fmla="*/ 35709 h 50249"/>
                        <a:gd name="connsiteX32" fmla="*/ 46617 w 51401"/>
                        <a:gd name="connsiteY32" fmla="*/ 35649 h 50249"/>
                        <a:gd name="connsiteX33" fmla="*/ 46139 w 51401"/>
                        <a:gd name="connsiteY33" fmla="*/ 36427 h 50249"/>
                        <a:gd name="connsiteX34" fmla="*/ 45660 w 51401"/>
                        <a:gd name="connsiteY34" fmla="*/ 37145 h 50249"/>
                        <a:gd name="connsiteX35" fmla="*/ 45122 w 51401"/>
                        <a:gd name="connsiteY35" fmla="*/ 37862 h 50249"/>
                        <a:gd name="connsiteX36" fmla="*/ 44584 w 51401"/>
                        <a:gd name="connsiteY36" fmla="*/ 38580 h 50249"/>
                        <a:gd name="connsiteX37" fmla="*/ 43088 w 51401"/>
                        <a:gd name="connsiteY37" fmla="*/ 40315 h 50249"/>
                        <a:gd name="connsiteX38" fmla="*/ 41474 w 51401"/>
                        <a:gd name="connsiteY38" fmla="*/ 41930 h 50249"/>
                        <a:gd name="connsiteX39" fmla="*/ 39739 w 51401"/>
                        <a:gd name="connsiteY39" fmla="*/ 43365 h 50249"/>
                        <a:gd name="connsiteX40" fmla="*/ 37945 w 51401"/>
                        <a:gd name="connsiteY40" fmla="*/ 44680 h 50249"/>
                        <a:gd name="connsiteX41" fmla="*/ 9596 w 51401"/>
                        <a:gd name="connsiteY41" fmla="*/ 46056 h 50249"/>
                        <a:gd name="connsiteX42" fmla="*/ 16355 w 51401"/>
                        <a:gd name="connsiteY42" fmla="*/ 49286 h 50249"/>
                        <a:gd name="connsiteX43" fmla="*/ 23711 w 51401"/>
                        <a:gd name="connsiteY43" fmla="*/ 50242 h 50249"/>
                        <a:gd name="connsiteX44" fmla="*/ 31127 w 51401"/>
                        <a:gd name="connsiteY44" fmla="*/ 49106 h 50249"/>
                        <a:gd name="connsiteX45" fmla="*/ 38125 w 51401"/>
                        <a:gd name="connsiteY45" fmla="*/ 45937 h 50249"/>
                        <a:gd name="connsiteX46" fmla="*/ 36031 w 51401"/>
                        <a:gd name="connsiteY46" fmla="*/ 45817 h 50249"/>
                        <a:gd name="connsiteX47" fmla="*/ 29632 w 51401"/>
                        <a:gd name="connsiteY47" fmla="*/ 48329 h 50249"/>
                        <a:gd name="connsiteX48" fmla="*/ 22933 w 51401"/>
                        <a:gd name="connsiteY48" fmla="*/ 49106 h 50249"/>
                        <a:gd name="connsiteX49" fmla="*/ 16355 w 51401"/>
                        <a:gd name="connsiteY49" fmla="*/ 48030 h 50249"/>
                        <a:gd name="connsiteX50" fmla="*/ 10314 w 51401"/>
                        <a:gd name="connsiteY50" fmla="*/ 45039 h 50249"/>
                        <a:gd name="connsiteX51" fmla="*/ 4154 w 51401"/>
                        <a:gd name="connsiteY51" fmla="*/ 38281 h 50249"/>
                        <a:gd name="connsiteX52" fmla="*/ 1463 w 51401"/>
                        <a:gd name="connsiteY52" fmla="*/ 29729 h 50249"/>
                        <a:gd name="connsiteX53" fmla="*/ 2360 w 51401"/>
                        <a:gd name="connsiteY53" fmla="*/ 20459 h 50249"/>
                        <a:gd name="connsiteX54" fmla="*/ 6965 w 51401"/>
                        <a:gd name="connsiteY54" fmla="*/ 11667 h 50249"/>
                        <a:gd name="connsiteX55" fmla="*/ 14381 w 51401"/>
                        <a:gd name="connsiteY55" fmla="*/ 5148 h 50249"/>
                        <a:gd name="connsiteX56" fmla="*/ 23232 w 51401"/>
                        <a:gd name="connsiteY56" fmla="*/ 1739 h 50249"/>
                        <a:gd name="connsiteX57" fmla="*/ 32383 w 51401"/>
                        <a:gd name="connsiteY57" fmla="*/ 1679 h 50249"/>
                        <a:gd name="connsiteX58" fmla="*/ 40816 w 51401"/>
                        <a:gd name="connsiteY58" fmla="*/ 5088 h 50249"/>
                        <a:gd name="connsiteX59" fmla="*/ 43208 w 51401"/>
                        <a:gd name="connsiteY59" fmla="*/ 5268 h 50249"/>
                        <a:gd name="connsiteX60" fmla="*/ 42969 w 51401"/>
                        <a:gd name="connsiteY60" fmla="*/ 5088 h 50249"/>
                        <a:gd name="connsiteX61" fmla="*/ 42730 w 51401"/>
                        <a:gd name="connsiteY61" fmla="*/ 4909 h 50249"/>
                        <a:gd name="connsiteX62" fmla="*/ 42490 w 51401"/>
                        <a:gd name="connsiteY62" fmla="*/ 4729 h 50249"/>
                        <a:gd name="connsiteX63" fmla="*/ 42251 w 51401"/>
                        <a:gd name="connsiteY63" fmla="*/ 4550 h 50249"/>
                        <a:gd name="connsiteX64" fmla="*/ 33280 w 51401"/>
                        <a:gd name="connsiteY64" fmla="*/ 543 h 50249"/>
                        <a:gd name="connsiteX65" fmla="*/ 23412 w 51401"/>
                        <a:gd name="connsiteY65" fmla="*/ 363 h 50249"/>
                        <a:gd name="connsiteX66" fmla="*/ 13902 w 51401"/>
                        <a:gd name="connsiteY66" fmla="*/ 3892 h 50249"/>
                        <a:gd name="connsiteX67" fmla="*/ 5888 w 51401"/>
                        <a:gd name="connsiteY67" fmla="*/ 10890 h 50249"/>
                        <a:gd name="connsiteX68" fmla="*/ 1044 w 51401"/>
                        <a:gd name="connsiteY68" fmla="*/ 20160 h 50249"/>
                        <a:gd name="connsiteX69" fmla="*/ 147 w 51401"/>
                        <a:gd name="connsiteY69" fmla="*/ 29908 h 50249"/>
                        <a:gd name="connsiteX70" fmla="*/ 3018 w 51401"/>
                        <a:gd name="connsiteY70" fmla="*/ 38879 h 50249"/>
                        <a:gd name="connsiteX71" fmla="*/ 9596 w 51401"/>
                        <a:gd name="connsiteY71" fmla="*/ 46056 h 5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1401" h="50249">
                          <a:moveTo>
                            <a:pt x="50086" y="20877"/>
                          </a:moveTo>
                          <a:lnTo>
                            <a:pt x="51342" y="20937"/>
                          </a:lnTo>
                          <a:cubicBezTo>
                            <a:pt x="51222" y="19621"/>
                            <a:pt x="51043" y="18246"/>
                            <a:pt x="50684" y="16990"/>
                          </a:cubicBezTo>
                          <a:cubicBezTo>
                            <a:pt x="50325" y="15674"/>
                            <a:pt x="49906" y="14418"/>
                            <a:pt x="49368" y="13222"/>
                          </a:cubicBezTo>
                          <a:cubicBezTo>
                            <a:pt x="48830" y="12026"/>
                            <a:pt x="48172" y="10830"/>
                            <a:pt x="47395" y="9753"/>
                          </a:cubicBezTo>
                          <a:cubicBezTo>
                            <a:pt x="46617" y="8677"/>
                            <a:pt x="45720" y="7600"/>
                            <a:pt x="44763" y="6643"/>
                          </a:cubicBezTo>
                          <a:lnTo>
                            <a:pt x="42670" y="6523"/>
                          </a:lnTo>
                          <a:cubicBezTo>
                            <a:pt x="43747" y="7481"/>
                            <a:pt x="44763" y="8497"/>
                            <a:pt x="45601" y="9574"/>
                          </a:cubicBezTo>
                          <a:cubicBezTo>
                            <a:pt x="46438" y="10650"/>
                            <a:pt x="47215" y="11846"/>
                            <a:pt x="47813" y="13043"/>
                          </a:cubicBezTo>
                          <a:cubicBezTo>
                            <a:pt x="48411" y="14239"/>
                            <a:pt x="48950" y="15554"/>
                            <a:pt x="49309" y="16870"/>
                          </a:cubicBezTo>
                          <a:cubicBezTo>
                            <a:pt x="49667" y="18126"/>
                            <a:pt x="49906" y="19502"/>
                            <a:pt x="50086" y="20877"/>
                          </a:cubicBezTo>
                          <a:moveTo>
                            <a:pt x="47275" y="34513"/>
                          </a:moveTo>
                          <a:lnTo>
                            <a:pt x="48591" y="34573"/>
                          </a:lnTo>
                          <a:cubicBezTo>
                            <a:pt x="49069" y="33556"/>
                            <a:pt x="49548" y="32540"/>
                            <a:pt x="49906" y="31523"/>
                          </a:cubicBezTo>
                          <a:cubicBezTo>
                            <a:pt x="50265" y="30506"/>
                            <a:pt x="50564" y="29430"/>
                            <a:pt x="50804" y="28413"/>
                          </a:cubicBezTo>
                          <a:cubicBezTo>
                            <a:pt x="51043" y="27396"/>
                            <a:pt x="51222" y="26320"/>
                            <a:pt x="51282" y="25303"/>
                          </a:cubicBezTo>
                          <a:cubicBezTo>
                            <a:pt x="51402" y="24226"/>
                            <a:pt x="51402" y="23210"/>
                            <a:pt x="51402" y="22193"/>
                          </a:cubicBezTo>
                          <a:lnTo>
                            <a:pt x="50146" y="22133"/>
                          </a:lnTo>
                          <a:cubicBezTo>
                            <a:pt x="50205" y="23150"/>
                            <a:pt x="50146" y="24226"/>
                            <a:pt x="50086" y="25243"/>
                          </a:cubicBezTo>
                          <a:cubicBezTo>
                            <a:pt x="49966" y="26320"/>
                            <a:pt x="49847" y="27337"/>
                            <a:pt x="49607" y="28413"/>
                          </a:cubicBezTo>
                          <a:cubicBezTo>
                            <a:pt x="49368" y="29430"/>
                            <a:pt x="49069" y="30506"/>
                            <a:pt x="48650" y="31523"/>
                          </a:cubicBezTo>
                          <a:cubicBezTo>
                            <a:pt x="48232" y="32480"/>
                            <a:pt x="47753" y="33497"/>
                            <a:pt x="47275" y="34513"/>
                          </a:cubicBezTo>
                          <a:moveTo>
                            <a:pt x="37945" y="44680"/>
                          </a:moveTo>
                          <a:lnTo>
                            <a:pt x="39859" y="44800"/>
                          </a:lnTo>
                          <a:cubicBezTo>
                            <a:pt x="40397" y="44441"/>
                            <a:pt x="40876" y="44023"/>
                            <a:pt x="41414" y="43604"/>
                          </a:cubicBezTo>
                          <a:cubicBezTo>
                            <a:pt x="41892" y="43185"/>
                            <a:pt x="42371" y="42767"/>
                            <a:pt x="42849" y="42288"/>
                          </a:cubicBezTo>
                          <a:cubicBezTo>
                            <a:pt x="43328" y="41810"/>
                            <a:pt x="43806" y="41331"/>
                            <a:pt x="44225" y="40853"/>
                          </a:cubicBezTo>
                          <a:cubicBezTo>
                            <a:pt x="44643" y="40374"/>
                            <a:pt x="45122" y="39836"/>
                            <a:pt x="45541" y="39298"/>
                          </a:cubicBezTo>
                          <a:cubicBezTo>
                            <a:pt x="45780" y="38999"/>
                            <a:pt x="45959" y="38700"/>
                            <a:pt x="46198" y="38401"/>
                          </a:cubicBezTo>
                          <a:cubicBezTo>
                            <a:pt x="46438" y="38102"/>
                            <a:pt x="46617" y="37803"/>
                            <a:pt x="46796" y="37503"/>
                          </a:cubicBezTo>
                          <a:cubicBezTo>
                            <a:pt x="46976" y="37205"/>
                            <a:pt x="47215" y="36906"/>
                            <a:pt x="47395" y="36607"/>
                          </a:cubicBezTo>
                          <a:cubicBezTo>
                            <a:pt x="47574" y="36308"/>
                            <a:pt x="47753" y="36008"/>
                            <a:pt x="47933" y="35709"/>
                          </a:cubicBezTo>
                          <a:lnTo>
                            <a:pt x="46617" y="35649"/>
                          </a:lnTo>
                          <a:cubicBezTo>
                            <a:pt x="46438" y="35889"/>
                            <a:pt x="46318" y="36128"/>
                            <a:pt x="46139" y="36427"/>
                          </a:cubicBezTo>
                          <a:cubicBezTo>
                            <a:pt x="45959" y="36726"/>
                            <a:pt x="45840" y="36906"/>
                            <a:pt x="45660" y="37145"/>
                          </a:cubicBezTo>
                          <a:cubicBezTo>
                            <a:pt x="45481" y="37384"/>
                            <a:pt x="45301" y="37623"/>
                            <a:pt x="45122" y="37862"/>
                          </a:cubicBezTo>
                          <a:cubicBezTo>
                            <a:pt x="44942" y="38102"/>
                            <a:pt x="44763" y="38341"/>
                            <a:pt x="44584" y="38580"/>
                          </a:cubicBezTo>
                          <a:cubicBezTo>
                            <a:pt x="44105" y="39178"/>
                            <a:pt x="43627" y="39776"/>
                            <a:pt x="43088" y="40315"/>
                          </a:cubicBezTo>
                          <a:cubicBezTo>
                            <a:pt x="42550" y="40853"/>
                            <a:pt x="42012" y="41391"/>
                            <a:pt x="41474" y="41930"/>
                          </a:cubicBezTo>
                          <a:cubicBezTo>
                            <a:pt x="40935" y="42468"/>
                            <a:pt x="40337" y="42886"/>
                            <a:pt x="39739" y="43365"/>
                          </a:cubicBezTo>
                          <a:cubicBezTo>
                            <a:pt x="39141" y="43903"/>
                            <a:pt x="38543" y="44322"/>
                            <a:pt x="37945" y="44680"/>
                          </a:cubicBezTo>
                          <a:moveTo>
                            <a:pt x="9596" y="46056"/>
                          </a:moveTo>
                          <a:cubicBezTo>
                            <a:pt x="11690" y="47551"/>
                            <a:pt x="13962" y="48628"/>
                            <a:pt x="16355" y="49286"/>
                          </a:cubicBezTo>
                          <a:cubicBezTo>
                            <a:pt x="18747" y="50003"/>
                            <a:pt x="21199" y="50302"/>
                            <a:pt x="23711" y="50242"/>
                          </a:cubicBezTo>
                          <a:cubicBezTo>
                            <a:pt x="26223" y="50183"/>
                            <a:pt x="28735" y="49824"/>
                            <a:pt x="31127" y="49106"/>
                          </a:cubicBezTo>
                          <a:cubicBezTo>
                            <a:pt x="33579" y="48388"/>
                            <a:pt x="35912" y="47312"/>
                            <a:pt x="38125" y="45937"/>
                          </a:cubicBezTo>
                          <a:lnTo>
                            <a:pt x="36031" y="45817"/>
                          </a:lnTo>
                          <a:cubicBezTo>
                            <a:pt x="33998" y="46953"/>
                            <a:pt x="31845" y="47731"/>
                            <a:pt x="29632" y="48329"/>
                          </a:cubicBezTo>
                          <a:cubicBezTo>
                            <a:pt x="27419" y="48867"/>
                            <a:pt x="25206" y="49106"/>
                            <a:pt x="22933" y="49106"/>
                          </a:cubicBezTo>
                          <a:cubicBezTo>
                            <a:pt x="20721" y="49047"/>
                            <a:pt x="18508" y="48687"/>
                            <a:pt x="16355" y="48030"/>
                          </a:cubicBezTo>
                          <a:cubicBezTo>
                            <a:pt x="14202" y="47372"/>
                            <a:pt x="12168" y="46355"/>
                            <a:pt x="10314" y="45039"/>
                          </a:cubicBezTo>
                          <a:cubicBezTo>
                            <a:pt x="7683" y="43185"/>
                            <a:pt x="5649" y="40913"/>
                            <a:pt x="4154" y="38281"/>
                          </a:cubicBezTo>
                          <a:cubicBezTo>
                            <a:pt x="2659" y="35649"/>
                            <a:pt x="1762" y="32779"/>
                            <a:pt x="1463" y="29729"/>
                          </a:cubicBezTo>
                          <a:cubicBezTo>
                            <a:pt x="1164" y="26678"/>
                            <a:pt x="1463" y="23569"/>
                            <a:pt x="2360" y="20459"/>
                          </a:cubicBezTo>
                          <a:cubicBezTo>
                            <a:pt x="3257" y="17408"/>
                            <a:pt x="4812" y="14358"/>
                            <a:pt x="6965" y="11667"/>
                          </a:cubicBezTo>
                          <a:cubicBezTo>
                            <a:pt x="9058" y="8976"/>
                            <a:pt x="11630" y="6763"/>
                            <a:pt x="14381" y="5148"/>
                          </a:cubicBezTo>
                          <a:cubicBezTo>
                            <a:pt x="17132" y="3473"/>
                            <a:pt x="20123" y="2337"/>
                            <a:pt x="23232" y="1739"/>
                          </a:cubicBezTo>
                          <a:cubicBezTo>
                            <a:pt x="26283" y="1141"/>
                            <a:pt x="29393" y="1141"/>
                            <a:pt x="32383" y="1679"/>
                          </a:cubicBezTo>
                          <a:cubicBezTo>
                            <a:pt x="35373" y="2217"/>
                            <a:pt x="38244" y="3354"/>
                            <a:pt x="40816" y="5088"/>
                          </a:cubicBezTo>
                          <a:lnTo>
                            <a:pt x="43208" y="5268"/>
                          </a:lnTo>
                          <a:cubicBezTo>
                            <a:pt x="43148" y="5208"/>
                            <a:pt x="43088" y="5148"/>
                            <a:pt x="42969" y="5088"/>
                          </a:cubicBezTo>
                          <a:cubicBezTo>
                            <a:pt x="42909" y="5028"/>
                            <a:pt x="42789" y="4968"/>
                            <a:pt x="42730" y="4909"/>
                          </a:cubicBezTo>
                          <a:cubicBezTo>
                            <a:pt x="42670" y="4849"/>
                            <a:pt x="42550" y="4789"/>
                            <a:pt x="42490" y="4729"/>
                          </a:cubicBezTo>
                          <a:cubicBezTo>
                            <a:pt x="42431" y="4669"/>
                            <a:pt x="42311" y="4610"/>
                            <a:pt x="42251" y="4550"/>
                          </a:cubicBezTo>
                          <a:cubicBezTo>
                            <a:pt x="39560" y="2576"/>
                            <a:pt x="36510" y="1260"/>
                            <a:pt x="33280" y="543"/>
                          </a:cubicBezTo>
                          <a:cubicBezTo>
                            <a:pt x="30050" y="-115"/>
                            <a:pt x="26761" y="-175"/>
                            <a:pt x="23412" y="363"/>
                          </a:cubicBezTo>
                          <a:cubicBezTo>
                            <a:pt x="20123" y="961"/>
                            <a:pt x="16893" y="2098"/>
                            <a:pt x="13902" y="3892"/>
                          </a:cubicBezTo>
                          <a:cubicBezTo>
                            <a:pt x="10912" y="5686"/>
                            <a:pt x="8161" y="8019"/>
                            <a:pt x="5888" y="10890"/>
                          </a:cubicBezTo>
                          <a:cubicBezTo>
                            <a:pt x="3616" y="13760"/>
                            <a:pt x="2001" y="16930"/>
                            <a:pt x="1044" y="20160"/>
                          </a:cubicBezTo>
                          <a:cubicBezTo>
                            <a:pt x="87" y="23389"/>
                            <a:pt x="-212" y="26678"/>
                            <a:pt x="147" y="29908"/>
                          </a:cubicBezTo>
                          <a:cubicBezTo>
                            <a:pt x="506" y="33078"/>
                            <a:pt x="1463" y="36128"/>
                            <a:pt x="3018" y="38879"/>
                          </a:cubicBezTo>
                          <a:cubicBezTo>
                            <a:pt x="4692" y="41690"/>
                            <a:pt x="6845" y="44142"/>
                            <a:pt x="9596" y="46056"/>
                          </a:cubicBezTo>
                        </a:path>
                      </a:pathLst>
                    </a:custGeom>
                    <a:noFill/>
                    <a:ln w="6350" cap="flat">
                      <a:solidFill>
                        <a:schemeClr val="bg1">
                          <a:alpha val="80000"/>
                        </a:schemeClr>
                      </a:solidFill>
                      <a:prstDash val="solid"/>
                      <a:miter/>
                    </a:ln>
                  </p:spPr>
                  <p:txBody>
                    <a:bodyPr rtlCol="0" anchor="ctr"/>
                    <a:lstStyle/>
                    <a:p>
                      <a:endParaRPr lang="en-GB"/>
                    </a:p>
                  </p:txBody>
                </p:sp>
                <p:sp>
                  <p:nvSpPr>
                    <p:cNvPr id="7456" name="Vrije vorm: vorm 7455">
                      <a:extLst>
                        <a:ext uri="{FF2B5EF4-FFF2-40B4-BE49-F238E27FC236}">
                          <a16:creationId xmlns:a16="http://schemas.microsoft.com/office/drawing/2014/main" id="{72FEA484-738E-4EF0-BC8B-3665783F53BA}"/>
                        </a:ext>
                      </a:extLst>
                    </p:cNvPr>
                    <p:cNvSpPr/>
                    <p:nvPr/>
                  </p:nvSpPr>
                  <p:spPr>
                    <a:xfrm>
                      <a:off x="4752839" y="5090131"/>
                      <a:ext cx="120558" cy="102729"/>
                    </a:xfrm>
                    <a:custGeom>
                      <a:avLst/>
                      <a:gdLst>
                        <a:gd name="connsiteX0" fmla="*/ 0 w 120558"/>
                        <a:gd name="connsiteY0" fmla="*/ 43700 h 102729"/>
                        <a:gd name="connsiteX1" fmla="*/ 4545 w 120558"/>
                        <a:gd name="connsiteY1" fmla="*/ 46690 h 102729"/>
                        <a:gd name="connsiteX2" fmla="*/ 5562 w 120558"/>
                        <a:gd name="connsiteY2" fmla="*/ 47408 h 102729"/>
                        <a:gd name="connsiteX3" fmla="*/ 10107 w 120558"/>
                        <a:gd name="connsiteY3" fmla="*/ 50398 h 102729"/>
                        <a:gd name="connsiteX4" fmla="*/ 11124 w 120558"/>
                        <a:gd name="connsiteY4" fmla="*/ 51056 h 102729"/>
                        <a:gd name="connsiteX5" fmla="*/ 13397 w 120558"/>
                        <a:gd name="connsiteY5" fmla="*/ 52551 h 102729"/>
                        <a:gd name="connsiteX6" fmla="*/ 14234 w 120558"/>
                        <a:gd name="connsiteY6" fmla="*/ 51535 h 102729"/>
                        <a:gd name="connsiteX7" fmla="*/ 11961 w 120558"/>
                        <a:gd name="connsiteY7" fmla="*/ 50040 h 102729"/>
                        <a:gd name="connsiteX8" fmla="*/ 10945 w 120558"/>
                        <a:gd name="connsiteY8" fmla="*/ 49322 h 102729"/>
                        <a:gd name="connsiteX9" fmla="*/ 6459 w 120558"/>
                        <a:gd name="connsiteY9" fmla="*/ 46332 h 102729"/>
                        <a:gd name="connsiteX10" fmla="*/ 5443 w 120558"/>
                        <a:gd name="connsiteY10" fmla="*/ 45614 h 102729"/>
                        <a:gd name="connsiteX11" fmla="*/ 1974 w 120558"/>
                        <a:gd name="connsiteY11" fmla="*/ 43281 h 102729"/>
                        <a:gd name="connsiteX12" fmla="*/ 4246 w 120558"/>
                        <a:gd name="connsiteY12" fmla="*/ 40351 h 102729"/>
                        <a:gd name="connsiteX13" fmla="*/ 5024 w 120558"/>
                        <a:gd name="connsiteY13" fmla="*/ 39334 h 102729"/>
                        <a:gd name="connsiteX14" fmla="*/ 9270 w 120558"/>
                        <a:gd name="connsiteY14" fmla="*/ 33951 h 102729"/>
                        <a:gd name="connsiteX15" fmla="*/ 10107 w 120558"/>
                        <a:gd name="connsiteY15" fmla="*/ 32935 h 102729"/>
                        <a:gd name="connsiteX16" fmla="*/ 11244 w 120558"/>
                        <a:gd name="connsiteY16" fmla="*/ 31500 h 102729"/>
                        <a:gd name="connsiteX17" fmla="*/ 12081 w 120558"/>
                        <a:gd name="connsiteY17" fmla="*/ 30483 h 102729"/>
                        <a:gd name="connsiteX18" fmla="*/ 14533 w 120558"/>
                        <a:gd name="connsiteY18" fmla="*/ 27373 h 102729"/>
                        <a:gd name="connsiteX19" fmla="*/ 15311 w 120558"/>
                        <a:gd name="connsiteY19" fmla="*/ 26356 h 102729"/>
                        <a:gd name="connsiteX20" fmla="*/ 17523 w 120558"/>
                        <a:gd name="connsiteY20" fmla="*/ 23545 h 102729"/>
                        <a:gd name="connsiteX21" fmla="*/ 18361 w 120558"/>
                        <a:gd name="connsiteY21" fmla="*/ 22528 h 102729"/>
                        <a:gd name="connsiteX22" fmla="*/ 23205 w 120558"/>
                        <a:gd name="connsiteY22" fmla="*/ 16368 h 102729"/>
                        <a:gd name="connsiteX23" fmla="*/ 24043 w 120558"/>
                        <a:gd name="connsiteY23" fmla="*/ 15352 h 102729"/>
                        <a:gd name="connsiteX24" fmla="*/ 28887 w 120558"/>
                        <a:gd name="connsiteY24" fmla="*/ 9191 h 102729"/>
                        <a:gd name="connsiteX25" fmla="*/ 33911 w 120558"/>
                        <a:gd name="connsiteY25" fmla="*/ 4168 h 102729"/>
                        <a:gd name="connsiteX26" fmla="*/ 39054 w 120558"/>
                        <a:gd name="connsiteY26" fmla="*/ 1715 h 102729"/>
                        <a:gd name="connsiteX27" fmla="*/ 44317 w 120558"/>
                        <a:gd name="connsiteY27" fmla="*/ 1835 h 102729"/>
                        <a:gd name="connsiteX28" fmla="*/ 49760 w 120558"/>
                        <a:gd name="connsiteY28" fmla="*/ 4467 h 102729"/>
                        <a:gd name="connsiteX29" fmla="*/ 57116 w 120558"/>
                        <a:gd name="connsiteY29" fmla="*/ 9610 h 102729"/>
                        <a:gd name="connsiteX30" fmla="*/ 58731 w 120558"/>
                        <a:gd name="connsiteY30" fmla="*/ 10029 h 102729"/>
                        <a:gd name="connsiteX31" fmla="*/ 60346 w 120558"/>
                        <a:gd name="connsiteY31" fmla="*/ 10686 h 102729"/>
                        <a:gd name="connsiteX32" fmla="*/ 61960 w 120558"/>
                        <a:gd name="connsiteY32" fmla="*/ 11524 h 102729"/>
                        <a:gd name="connsiteX33" fmla="*/ 63575 w 120558"/>
                        <a:gd name="connsiteY33" fmla="*/ 12540 h 102729"/>
                        <a:gd name="connsiteX34" fmla="*/ 80261 w 120558"/>
                        <a:gd name="connsiteY34" fmla="*/ 24203 h 102729"/>
                        <a:gd name="connsiteX35" fmla="*/ 79424 w 120558"/>
                        <a:gd name="connsiteY35" fmla="*/ 25219 h 102729"/>
                        <a:gd name="connsiteX36" fmla="*/ 103227 w 120558"/>
                        <a:gd name="connsiteY36" fmla="*/ 41786 h 102729"/>
                        <a:gd name="connsiteX37" fmla="*/ 104184 w 120558"/>
                        <a:gd name="connsiteY37" fmla="*/ 42444 h 102729"/>
                        <a:gd name="connsiteX38" fmla="*/ 113873 w 120558"/>
                        <a:gd name="connsiteY38" fmla="*/ 49202 h 102729"/>
                        <a:gd name="connsiteX39" fmla="*/ 117222 w 120558"/>
                        <a:gd name="connsiteY39" fmla="*/ 52312 h 102729"/>
                        <a:gd name="connsiteX40" fmla="*/ 118957 w 120558"/>
                        <a:gd name="connsiteY40" fmla="*/ 55781 h 102729"/>
                        <a:gd name="connsiteX41" fmla="*/ 119136 w 120558"/>
                        <a:gd name="connsiteY41" fmla="*/ 59609 h 102729"/>
                        <a:gd name="connsiteX42" fmla="*/ 117701 w 120558"/>
                        <a:gd name="connsiteY42" fmla="*/ 63795 h 102729"/>
                        <a:gd name="connsiteX43" fmla="*/ 117581 w 120558"/>
                        <a:gd name="connsiteY43" fmla="*/ 64094 h 102729"/>
                        <a:gd name="connsiteX44" fmla="*/ 117402 w 120558"/>
                        <a:gd name="connsiteY44" fmla="*/ 64393 h 102729"/>
                        <a:gd name="connsiteX45" fmla="*/ 117222 w 120558"/>
                        <a:gd name="connsiteY45" fmla="*/ 64692 h 102729"/>
                        <a:gd name="connsiteX46" fmla="*/ 117043 w 120558"/>
                        <a:gd name="connsiteY46" fmla="*/ 64991 h 102729"/>
                        <a:gd name="connsiteX47" fmla="*/ 116804 w 120558"/>
                        <a:gd name="connsiteY47" fmla="*/ 65350 h 102729"/>
                        <a:gd name="connsiteX48" fmla="*/ 116564 w 120558"/>
                        <a:gd name="connsiteY48" fmla="*/ 65709 h 102729"/>
                        <a:gd name="connsiteX49" fmla="*/ 116325 w 120558"/>
                        <a:gd name="connsiteY49" fmla="*/ 66068 h 102729"/>
                        <a:gd name="connsiteX50" fmla="*/ 116086 w 120558"/>
                        <a:gd name="connsiteY50" fmla="*/ 66427 h 102729"/>
                        <a:gd name="connsiteX51" fmla="*/ 115906 w 120558"/>
                        <a:gd name="connsiteY51" fmla="*/ 66666 h 102729"/>
                        <a:gd name="connsiteX52" fmla="*/ 115727 w 120558"/>
                        <a:gd name="connsiteY52" fmla="*/ 66905 h 102729"/>
                        <a:gd name="connsiteX53" fmla="*/ 115548 w 120558"/>
                        <a:gd name="connsiteY53" fmla="*/ 67144 h 102729"/>
                        <a:gd name="connsiteX54" fmla="*/ 115368 w 120558"/>
                        <a:gd name="connsiteY54" fmla="*/ 67384 h 102729"/>
                        <a:gd name="connsiteX55" fmla="*/ 115189 w 120558"/>
                        <a:gd name="connsiteY55" fmla="*/ 67623 h 102729"/>
                        <a:gd name="connsiteX56" fmla="*/ 115009 w 120558"/>
                        <a:gd name="connsiteY56" fmla="*/ 67862 h 102729"/>
                        <a:gd name="connsiteX57" fmla="*/ 114830 w 120558"/>
                        <a:gd name="connsiteY57" fmla="*/ 68102 h 102729"/>
                        <a:gd name="connsiteX58" fmla="*/ 114650 w 120558"/>
                        <a:gd name="connsiteY58" fmla="*/ 68341 h 102729"/>
                        <a:gd name="connsiteX59" fmla="*/ 113753 w 120558"/>
                        <a:gd name="connsiteY59" fmla="*/ 69477 h 102729"/>
                        <a:gd name="connsiteX60" fmla="*/ 112976 w 120558"/>
                        <a:gd name="connsiteY60" fmla="*/ 70494 h 102729"/>
                        <a:gd name="connsiteX61" fmla="*/ 111959 w 120558"/>
                        <a:gd name="connsiteY61" fmla="*/ 71810 h 102729"/>
                        <a:gd name="connsiteX62" fmla="*/ 111182 w 120558"/>
                        <a:gd name="connsiteY62" fmla="*/ 72826 h 102729"/>
                        <a:gd name="connsiteX63" fmla="*/ 110045 w 120558"/>
                        <a:gd name="connsiteY63" fmla="*/ 74261 h 102729"/>
                        <a:gd name="connsiteX64" fmla="*/ 109806 w 120558"/>
                        <a:gd name="connsiteY64" fmla="*/ 74560 h 102729"/>
                        <a:gd name="connsiteX65" fmla="*/ 109028 w 120558"/>
                        <a:gd name="connsiteY65" fmla="*/ 75577 h 102729"/>
                        <a:gd name="connsiteX66" fmla="*/ 108012 w 120558"/>
                        <a:gd name="connsiteY66" fmla="*/ 76893 h 102729"/>
                        <a:gd name="connsiteX67" fmla="*/ 107234 w 120558"/>
                        <a:gd name="connsiteY67" fmla="*/ 77910 h 102729"/>
                        <a:gd name="connsiteX68" fmla="*/ 104663 w 120558"/>
                        <a:gd name="connsiteY68" fmla="*/ 81199 h 102729"/>
                        <a:gd name="connsiteX69" fmla="*/ 103885 w 120558"/>
                        <a:gd name="connsiteY69" fmla="*/ 82216 h 102729"/>
                        <a:gd name="connsiteX70" fmla="*/ 101732 w 120558"/>
                        <a:gd name="connsiteY70" fmla="*/ 84907 h 102729"/>
                        <a:gd name="connsiteX71" fmla="*/ 100955 w 120558"/>
                        <a:gd name="connsiteY71" fmla="*/ 85864 h 102729"/>
                        <a:gd name="connsiteX72" fmla="*/ 98622 w 120558"/>
                        <a:gd name="connsiteY72" fmla="*/ 88854 h 102729"/>
                        <a:gd name="connsiteX73" fmla="*/ 97845 w 120558"/>
                        <a:gd name="connsiteY73" fmla="*/ 89871 h 102729"/>
                        <a:gd name="connsiteX74" fmla="*/ 96768 w 120558"/>
                        <a:gd name="connsiteY74" fmla="*/ 91247 h 102729"/>
                        <a:gd name="connsiteX75" fmla="*/ 95991 w 120558"/>
                        <a:gd name="connsiteY75" fmla="*/ 92263 h 102729"/>
                        <a:gd name="connsiteX76" fmla="*/ 91924 w 120558"/>
                        <a:gd name="connsiteY76" fmla="*/ 97407 h 102729"/>
                        <a:gd name="connsiteX77" fmla="*/ 91146 w 120558"/>
                        <a:gd name="connsiteY77" fmla="*/ 98364 h 102729"/>
                        <a:gd name="connsiteX78" fmla="*/ 88933 w 120558"/>
                        <a:gd name="connsiteY78" fmla="*/ 101115 h 102729"/>
                        <a:gd name="connsiteX79" fmla="*/ 84807 w 120558"/>
                        <a:gd name="connsiteY79" fmla="*/ 98424 h 102729"/>
                        <a:gd name="connsiteX80" fmla="*/ 83850 w 120558"/>
                        <a:gd name="connsiteY80" fmla="*/ 97766 h 102729"/>
                        <a:gd name="connsiteX81" fmla="*/ 79783 w 120558"/>
                        <a:gd name="connsiteY81" fmla="*/ 95075 h 102729"/>
                        <a:gd name="connsiteX82" fmla="*/ 78826 w 120558"/>
                        <a:gd name="connsiteY82" fmla="*/ 94416 h 102729"/>
                        <a:gd name="connsiteX83" fmla="*/ 68659 w 120558"/>
                        <a:gd name="connsiteY83" fmla="*/ 87658 h 102729"/>
                        <a:gd name="connsiteX84" fmla="*/ 67702 w 120558"/>
                        <a:gd name="connsiteY84" fmla="*/ 87060 h 102729"/>
                        <a:gd name="connsiteX85" fmla="*/ 63455 w 120558"/>
                        <a:gd name="connsiteY85" fmla="*/ 84250 h 102729"/>
                        <a:gd name="connsiteX86" fmla="*/ 62499 w 120558"/>
                        <a:gd name="connsiteY86" fmla="*/ 83591 h 102729"/>
                        <a:gd name="connsiteX87" fmla="*/ 55262 w 120558"/>
                        <a:gd name="connsiteY87" fmla="*/ 78807 h 102729"/>
                        <a:gd name="connsiteX88" fmla="*/ 54245 w 120558"/>
                        <a:gd name="connsiteY88" fmla="*/ 78149 h 102729"/>
                        <a:gd name="connsiteX89" fmla="*/ 38097 w 120558"/>
                        <a:gd name="connsiteY89" fmla="*/ 67443 h 102729"/>
                        <a:gd name="connsiteX90" fmla="*/ 37081 w 120558"/>
                        <a:gd name="connsiteY90" fmla="*/ 66786 h 102729"/>
                        <a:gd name="connsiteX91" fmla="*/ 32595 w 120558"/>
                        <a:gd name="connsiteY91" fmla="*/ 63795 h 102729"/>
                        <a:gd name="connsiteX92" fmla="*/ 31758 w 120558"/>
                        <a:gd name="connsiteY92" fmla="*/ 64812 h 102729"/>
                        <a:gd name="connsiteX93" fmla="*/ 36243 w 120558"/>
                        <a:gd name="connsiteY93" fmla="*/ 67803 h 102729"/>
                        <a:gd name="connsiteX94" fmla="*/ 37260 w 120558"/>
                        <a:gd name="connsiteY94" fmla="*/ 68460 h 102729"/>
                        <a:gd name="connsiteX95" fmla="*/ 53408 w 120558"/>
                        <a:gd name="connsiteY95" fmla="*/ 79166 h 102729"/>
                        <a:gd name="connsiteX96" fmla="*/ 54425 w 120558"/>
                        <a:gd name="connsiteY96" fmla="*/ 79823 h 102729"/>
                        <a:gd name="connsiteX97" fmla="*/ 61721 w 120558"/>
                        <a:gd name="connsiteY97" fmla="*/ 84608 h 102729"/>
                        <a:gd name="connsiteX98" fmla="*/ 62678 w 120558"/>
                        <a:gd name="connsiteY98" fmla="*/ 85266 h 102729"/>
                        <a:gd name="connsiteX99" fmla="*/ 66924 w 120558"/>
                        <a:gd name="connsiteY99" fmla="*/ 88077 h 102729"/>
                        <a:gd name="connsiteX100" fmla="*/ 67881 w 120558"/>
                        <a:gd name="connsiteY100" fmla="*/ 88675 h 102729"/>
                        <a:gd name="connsiteX101" fmla="*/ 78048 w 120558"/>
                        <a:gd name="connsiteY101" fmla="*/ 95374 h 102729"/>
                        <a:gd name="connsiteX102" fmla="*/ 79005 w 120558"/>
                        <a:gd name="connsiteY102" fmla="*/ 96031 h 102729"/>
                        <a:gd name="connsiteX103" fmla="*/ 83072 w 120558"/>
                        <a:gd name="connsiteY103" fmla="*/ 98723 h 102729"/>
                        <a:gd name="connsiteX104" fmla="*/ 84029 w 120558"/>
                        <a:gd name="connsiteY104" fmla="*/ 99381 h 102729"/>
                        <a:gd name="connsiteX105" fmla="*/ 89113 w 120558"/>
                        <a:gd name="connsiteY105" fmla="*/ 102730 h 102729"/>
                        <a:gd name="connsiteX106" fmla="*/ 92103 w 120558"/>
                        <a:gd name="connsiteY106" fmla="*/ 98962 h 102729"/>
                        <a:gd name="connsiteX107" fmla="*/ 92881 w 120558"/>
                        <a:gd name="connsiteY107" fmla="*/ 98005 h 102729"/>
                        <a:gd name="connsiteX108" fmla="*/ 96948 w 120558"/>
                        <a:gd name="connsiteY108" fmla="*/ 92861 h 102729"/>
                        <a:gd name="connsiteX109" fmla="*/ 97725 w 120558"/>
                        <a:gd name="connsiteY109" fmla="*/ 91845 h 102729"/>
                        <a:gd name="connsiteX110" fmla="*/ 98802 w 120558"/>
                        <a:gd name="connsiteY110" fmla="*/ 90469 h 102729"/>
                        <a:gd name="connsiteX111" fmla="*/ 99579 w 120558"/>
                        <a:gd name="connsiteY111" fmla="*/ 89453 h 102729"/>
                        <a:gd name="connsiteX112" fmla="*/ 101912 w 120558"/>
                        <a:gd name="connsiteY112" fmla="*/ 86462 h 102729"/>
                        <a:gd name="connsiteX113" fmla="*/ 102689 w 120558"/>
                        <a:gd name="connsiteY113" fmla="*/ 85505 h 102729"/>
                        <a:gd name="connsiteX114" fmla="*/ 104842 w 120558"/>
                        <a:gd name="connsiteY114" fmla="*/ 82814 h 102729"/>
                        <a:gd name="connsiteX115" fmla="*/ 105620 w 120558"/>
                        <a:gd name="connsiteY115" fmla="*/ 81797 h 102729"/>
                        <a:gd name="connsiteX116" fmla="*/ 108191 w 120558"/>
                        <a:gd name="connsiteY116" fmla="*/ 78508 h 102729"/>
                        <a:gd name="connsiteX117" fmla="*/ 108969 w 120558"/>
                        <a:gd name="connsiteY117" fmla="*/ 77491 h 102729"/>
                        <a:gd name="connsiteX118" fmla="*/ 109986 w 120558"/>
                        <a:gd name="connsiteY118" fmla="*/ 76175 h 102729"/>
                        <a:gd name="connsiteX119" fmla="*/ 110763 w 120558"/>
                        <a:gd name="connsiteY119" fmla="*/ 75159 h 102729"/>
                        <a:gd name="connsiteX120" fmla="*/ 111002 w 120558"/>
                        <a:gd name="connsiteY120" fmla="*/ 74860 h 102729"/>
                        <a:gd name="connsiteX121" fmla="*/ 112139 w 120558"/>
                        <a:gd name="connsiteY121" fmla="*/ 73424 h 102729"/>
                        <a:gd name="connsiteX122" fmla="*/ 112916 w 120558"/>
                        <a:gd name="connsiteY122" fmla="*/ 72407 h 102729"/>
                        <a:gd name="connsiteX123" fmla="*/ 113933 w 120558"/>
                        <a:gd name="connsiteY123" fmla="*/ 71092 h 102729"/>
                        <a:gd name="connsiteX124" fmla="*/ 114710 w 120558"/>
                        <a:gd name="connsiteY124" fmla="*/ 70075 h 102729"/>
                        <a:gd name="connsiteX125" fmla="*/ 115667 w 120558"/>
                        <a:gd name="connsiteY125" fmla="*/ 68879 h 102729"/>
                        <a:gd name="connsiteX126" fmla="*/ 115847 w 120558"/>
                        <a:gd name="connsiteY126" fmla="*/ 68640 h 102729"/>
                        <a:gd name="connsiteX127" fmla="*/ 116026 w 120558"/>
                        <a:gd name="connsiteY127" fmla="*/ 68400 h 102729"/>
                        <a:gd name="connsiteX128" fmla="*/ 116205 w 120558"/>
                        <a:gd name="connsiteY128" fmla="*/ 68161 h 102729"/>
                        <a:gd name="connsiteX129" fmla="*/ 116385 w 120558"/>
                        <a:gd name="connsiteY129" fmla="*/ 67922 h 102729"/>
                        <a:gd name="connsiteX130" fmla="*/ 116564 w 120558"/>
                        <a:gd name="connsiteY130" fmla="*/ 67683 h 102729"/>
                        <a:gd name="connsiteX131" fmla="*/ 116744 w 120558"/>
                        <a:gd name="connsiteY131" fmla="*/ 67443 h 102729"/>
                        <a:gd name="connsiteX132" fmla="*/ 116923 w 120558"/>
                        <a:gd name="connsiteY132" fmla="*/ 67204 h 102729"/>
                        <a:gd name="connsiteX133" fmla="*/ 117103 w 120558"/>
                        <a:gd name="connsiteY133" fmla="*/ 66965 h 102729"/>
                        <a:gd name="connsiteX134" fmla="*/ 117342 w 120558"/>
                        <a:gd name="connsiteY134" fmla="*/ 66606 h 102729"/>
                        <a:gd name="connsiteX135" fmla="*/ 117581 w 120558"/>
                        <a:gd name="connsiteY135" fmla="*/ 66248 h 102729"/>
                        <a:gd name="connsiteX136" fmla="*/ 117820 w 120558"/>
                        <a:gd name="connsiteY136" fmla="*/ 65889 h 102729"/>
                        <a:gd name="connsiteX137" fmla="*/ 118059 w 120558"/>
                        <a:gd name="connsiteY137" fmla="*/ 65530 h 102729"/>
                        <a:gd name="connsiteX138" fmla="*/ 118239 w 120558"/>
                        <a:gd name="connsiteY138" fmla="*/ 65231 h 102729"/>
                        <a:gd name="connsiteX139" fmla="*/ 118418 w 120558"/>
                        <a:gd name="connsiteY139" fmla="*/ 64932 h 102729"/>
                        <a:gd name="connsiteX140" fmla="*/ 118598 w 120558"/>
                        <a:gd name="connsiteY140" fmla="*/ 64633 h 102729"/>
                        <a:gd name="connsiteX141" fmla="*/ 118718 w 120558"/>
                        <a:gd name="connsiteY141" fmla="*/ 64334 h 102729"/>
                        <a:gd name="connsiteX142" fmla="*/ 120392 w 120558"/>
                        <a:gd name="connsiteY142" fmla="*/ 59609 h 102729"/>
                        <a:gd name="connsiteX143" fmla="*/ 120272 w 120558"/>
                        <a:gd name="connsiteY143" fmla="*/ 55303 h 102729"/>
                        <a:gd name="connsiteX144" fmla="*/ 118359 w 120558"/>
                        <a:gd name="connsiteY144" fmla="*/ 51415 h 102729"/>
                        <a:gd name="connsiteX145" fmla="*/ 114650 w 120558"/>
                        <a:gd name="connsiteY145" fmla="*/ 48006 h 102729"/>
                        <a:gd name="connsiteX146" fmla="*/ 104962 w 120558"/>
                        <a:gd name="connsiteY146" fmla="*/ 41248 h 102729"/>
                        <a:gd name="connsiteX147" fmla="*/ 104005 w 120558"/>
                        <a:gd name="connsiteY147" fmla="*/ 40590 h 102729"/>
                        <a:gd name="connsiteX148" fmla="*/ 59149 w 120558"/>
                        <a:gd name="connsiteY148" fmla="*/ 9251 h 102729"/>
                        <a:gd name="connsiteX149" fmla="*/ 58133 w 120558"/>
                        <a:gd name="connsiteY149" fmla="*/ 8533 h 102729"/>
                        <a:gd name="connsiteX150" fmla="*/ 50477 w 120558"/>
                        <a:gd name="connsiteY150" fmla="*/ 3210 h 102729"/>
                        <a:gd name="connsiteX151" fmla="*/ 44556 w 120558"/>
                        <a:gd name="connsiteY151" fmla="*/ 400 h 102729"/>
                        <a:gd name="connsiteX152" fmla="*/ 38755 w 120558"/>
                        <a:gd name="connsiteY152" fmla="*/ 280 h 102729"/>
                        <a:gd name="connsiteX153" fmla="*/ 33133 w 120558"/>
                        <a:gd name="connsiteY153" fmla="*/ 2911 h 102729"/>
                        <a:gd name="connsiteX154" fmla="*/ 27691 w 120558"/>
                        <a:gd name="connsiteY154" fmla="*/ 8294 h 102729"/>
                        <a:gd name="connsiteX155" fmla="*/ 22846 w 120558"/>
                        <a:gd name="connsiteY155" fmla="*/ 14454 h 102729"/>
                        <a:gd name="connsiteX156" fmla="*/ 22009 w 120558"/>
                        <a:gd name="connsiteY156" fmla="*/ 15471 h 102729"/>
                        <a:gd name="connsiteX157" fmla="*/ 17165 w 120558"/>
                        <a:gd name="connsiteY157" fmla="*/ 21631 h 102729"/>
                        <a:gd name="connsiteX158" fmla="*/ 16327 w 120558"/>
                        <a:gd name="connsiteY158" fmla="*/ 22648 h 102729"/>
                        <a:gd name="connsiteX159" fmla="*/ 14114 w 120558"/>
                        <a:gd name="connsiteY159" fmla="*/ 25459 h 102729"/>
                        <a:gd name="connsiteX160" fmla="*/ 13337 w 120558"/>
                        <a:gd name="connsiteY160" fmla="*/ 26476 h 102729"/>
                        <a:gd name="connsiteX161" fmla="*/ 10885 w 120558"/>
                        <a:gd name="connsiteY161" fmla="*/ 29586 h 102729"/>
                        <a:gd name="connsiteX162" fmla="*/ 10048 w 120558"/>
                        <a:gd name="connsiteY162" fmla="*/ 30602 h 102729"/>
                        <a:gd name="connsiteX163" fmla="*/ 8911 w 120558"/>
                        <a:gd name="connsiteY163" fmla="*/ 32038 h 102729"/>
                        <a:gd name="connsiteX164" fmla="*/ 8074 w 120558"/>
                        <a:gd name="connsiteY164" fmla="*/ 33054 h 102729"/>
                        <a:gd name="connsiteX165" fmla="*/ 3828 w 120558"/>
                        <a:gd name="connsiteY165" fmla="*/ 38437 h 102729"/>
                        <a:gd name="connsiteX166" fmla="*/ 3050 w 120558"/>
                        <a:gd name="connsiteY166" fmla="*/ 39454 h 102729"/>
                        <a:gd name="connsiteX167" fmla="*/ 0 w 120558"/>
                        <a:gd name="connsiteY167" fmla="*/ 43700 h 10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0558" h="102729">
                          <a:moveTo>
                            <a:pt x="0" y="43700"/>
                          </a:moveTo>
                          <a:lnTo>
                            <a:pt x="4545" y="46690"/>
                          </a:lnTo>
                          <a:lnTo>
                            <a:pt x="5562" y="47408"/>
                          </a:lnTo>
                          <a:lnTo>
                            <a:pt x="10107" y="50398"/>
                          </a:lnTo>
                          <a:lnTo>
                            <a:pt x="11124" y="51056"/>
                          </a:lnTo>
                          <a:lnTo>
                            <a:pt x="13397" y="52551"/>
                          </a:lnTo>
                          <a:lnTo>
                            <a:pt x="14234" y="51535"/>
                          </a:lnTo>
                          <a:lnTo>
                            <a:pt x="11961" y="50040"/>
                          </a:lnTo>
                          <a:lnTo>
                            <a:pt x="10945" y="49322"/>
                          </a:lnTo>
                          <a:lnTo>
                            <a:pt x="6459" y="46332"/>
                          </a:lnTo>
                          <a:lnTo>
                            <a:pt x="5443" y="45614"/>
                          </a:lnTo>
                          <a:lnTo>
                            <a:pt x="1974" y="43281"/>
                          </a:lnTo>
                          <a:lnTo>
                            <a:pt x="4246" y="40351"/>
                          </a:lnTo>
                          <a:lnTo>
                            <a:pt x="5024" y="39334"/>
                          </a:lnTo>
                          <a:lnTo>
                            <a:pt x="9270" y="33951"/>
                          </a:lnTo>
                          <a:lnTo>
                            <a:pt x="10107" y="32935"/>
                          </a:lnTo>
                          <a:lnTo>
                            <a:pt x="11244" y="31500"/>
                          </a:lnTo>
                          <a:lnTo>
                            <a:pt x="12081" y="30483"/>
                          </a:lnTo>
                          <a:lnTo>
                            <a:pt x="14533" y="27373"/>
                          </a:lnTo>
                          <a:lnTo>
                            <a:pt x="15311" y="26356"/>
                          </a:lnTo>
                          <a:lnTo>
                            <a:pt x="17523" y="23545"/>
                          </a:lnTo>
                          <a:lnTo>
                            <a:pt x="18361" y="22528"/>
                          </a:lnTo>
                          <a:lnTo>
                            <a:pt x="23205" y="16368"/>
                          </a:lnTo>
                          <a:lnTo>
                            <a:pt x="24043" y="15352"/>
                          </a:lnTo>
                          <a:lnTo>
                            <a:pt x="28887" y="9191"/>
                          </a:lnTo>
                          <a:cubicBezTo>
                            <a:pt x="30561" y="7098"/>
                            <a:pt x="32236" y="5423"/>
                            <a:pt x="33911" y="4168"/>
                          </a:cubicBezTo>
                          <a:cubicBezTo>
                            <a:pt x="35585" y="2911"/>
                            <a:pt x="37320" y="2134"/>
                            <a:pt x="39054" y="1715"/>
                          </a:cubicBezTo>
                          <a:cubicBezTo>
                            <a:pt x="40789" y="1297"/>
                            <a:pt x="42523" y="1356"/>
                            <a:pt x="44317" y="1835"/>
                          </a:cubicBezTo>
                          <a:cubicBezTo>
                            <a:pt x="46112" y="2314"/>
                            <a:pt x="47906" y="3151"/>
                            <a:pt x="49760" y="4467"/>
                          </a:cubicBezTo>
                          <a:lnTo>
                            <a:pt x="57116" y="9610"/>
                          </a:lnTo>
                          <a:cubicBezTo>
                            <a:pt x="57654" y="9730"/>
                            <a:pt x="58192" y="9849"/>
                            <a:pt x="58731" y="10029"/>
                          </a:cubicBezTo>
                          <a:cubicBezTo>
                            <a:pt x="59269" y="10208"/>
                            <a:pt x="59807" y="10387"/>
                            <a:pt x="60346" y="10686"/>
                          </a:cubicBezTo>
                          <a:cubicBezTo>
                            <a:pt x="60884" y="10926"/>
                            <a:pt x="61422" y="11225"/>
                            <a:pt x="61960" y="11524"/>
                          </a:cubicBezTo>
                          <a:cubicBezTo>
                            <a:pt x="62499" y="11823"/>
                            <a:pt x="63037" y="12182"/>
                            <a:pt x="63575" y="12540"/>
                          </a:cubicBezTo>
                          <a:lnTo>
                            <a:pt x="80261" y="24203"/>
                          </a:lnTo>
                          <a:lnTo>
                            <a:pt x="79424" y="25219"/>
                          </a:lnTo>
                          <a:lnTo>
                            <a:pt x="103227" y="41786"/>
                          </a:lnTo>
                          <a:lnTo>
                            <a:pt x="104184" y="42444"/>
                          </a:lnTo>
                          <a:lnTo>
                            <a:pt x="113873" y="49202"/>
                          </a:lnTo>
                          <a:cubicBezTo>
                            <a:pt x="115249" y="50159"/>
                            <a:pt x="116385" y="51176"/>
                            <a:pt x="117222" y="52312"/>
                          </a:cubicBezTo>
                          <a:cubicBezTo>
                            <a:pt x="118059" y="53389"/>
                            <a:pt x="118658" y="54525"/>
                            <a:pt x="118957" y="55781"/>
                          </a:cubicBezTo>
                          <a:cubicBezTo>
                            <a:pt x="119256" y="56977"/>
                            <a:pt x="119315" y="58233"/>
                            <a:pt x="119136" y="59609"/>
                          </a:cubicBezTo>
                          <a:cubicBezTo>
                            <a:pt x="118897" y="60925"/>
                            <a:pt x="118418" y="62360"/>
                            <a:pt x="117701" y="63795"/>
                          </a:cubicBezTo>
                          <a:cubicBezTo>
                            <a:pt x="117641" y="63915"/>
                            <a:pt x="117581" y="63975"/>
                            <a:pt x="117581" y="64094"/>
                          </a:cubicBezTo>
                          <a:cubicBezTo>
                            <a:pt x="117521" y="64214"/>
                            <a:pt x="117461" y="64274"/>
                            <a:pt x="117402" y="64393"/>
                          </a:cubicBezTo>
                          <a:cubicBezTo>
                            <a:pt x="117342" y="64513"/>
                            <a:pt x="117282" y="64573"/>
                            <a:pt x="117222" y="64692"/>
                          </a:cubicBezTo>
                          <a:cubicBezTo>
                            <a:pt x="117163" y="64812"/>
                            <a:pt x="117103" y="64872"/>
                            <a:pt x="117043" y="64991"/>
                          </a:cubicBezTo>
                          <a:cubicBezTo>
                            <a:pt x="116983" y="65111"/>
                            <a:pt x="116923" y="65231"/>
                            <a:pt x="116804" y="65350"/>
                          </a:cubicBezTo>
                          <a:cubicBezTo>
                            <a:pt x="116684" y="65470"/>
                            <a:pt x="116684" y="65589"/>
                            <a:pt x="116564" y="65709"/>
                          </a:cubicBezTo>
                          <a:cubicBezTo>
                            <a:pt x="116445" y="65829"/>
                            <a:pt x="116385" y="65948"/>
                            <a:pt x="116325" y="66068"/>
                          </a:cubicBezTo>
                          <a:cubicBezTo>
                            <a:pt x="116265" y="66188"/>
                            <a:pt x="116146" y="66307"/>
                            <a:pt x="116086" y="66427"/>
                          </a:cubicBezTo>
                          <a:cubicBezTo>
                            <a:pt x="116026" y="66487"/>
                            <a:pt x="115966" y="66606"/>
                            <a:pt x="115906" y="66666"/>
                          </a:cubicBezTo>
                          <a:cubicBezTo>
                            <a:pt x="115847" y="66726"/>
                            <a:pt x="115787" y="66845"/>
                            <a:pt x="115727" y="66905"/>
                          </a:cubicBezTo>
                          <a:cubicBezTo>
                            <a:pt x="115667" y="66965"/>
                            <a:pt x="115607" y="67085"/>
                            <a:pt x="115548" y="67144"/>
                          </a:cubicBezTo>
                          <a:cubicBezTo>
                            <a:pt x="115488" y="67204"/>
                            <a:pt x="115428" y="67324"/>
                            <a:pt x="115368" y="67384"/>
                          </a:cubicBezTo>
                          <a:cubicBezTo>
                            <a:pt x="115309" y="67443"/>
                            <a:pt x="115249" y="67563"/>
                            <a:pt x="115189" y="67623"/>
                          </a:cubicBezTo>
                          <a:cubicBezTo>
                            <a:pt x="115129" y="67683"/>
                            <a:pt x="115069" y="67803"/>
                            <a:pt x="115009" y="67862"/>
                          </a:cubicBezTo>
                          <a:cubicBezTo>
                            <a:pt x="114950" y="67922"/>
                            <a:pt x="114890" y="68042"/>
                            <a:pt x="114830" y="68102"/>
                          </a:cubicBezTo>
                          <a:cubicBezTo>
                            <a:pt x="114770" y="68161"/>
                            <a:pt x="114710" y="68281"/>
                            <a:pt x="114650" y="68341"/>
                          </a:cubicBezTo>
                          <a:lnTo>
                            <a:pt x="113753" y="69477"/>
                          </a:lnTo>
                          <a:lnTo>
                            <a:pt x="112976" y="70494"/>
                          </a:lnTo>
                          <a:lnTo>
                            <a:pt x="111959" y="71810"/>
                          </a:lnTo>
                          <a:lnTo>
                            <a:pt x="111182" y="72826"/>
                          </a:lnTo>
                          <a:lnTo>
                            <a:pt x="110045" y="74261"/>
                          </a:lnTo>
                          <a:lnTo>
                            <a:pt x="109806" y="74560"/>
                          </a:lnTo>
                          <a:lnTo>
                            <a:pt x="109028" y="75577"/>
                          </a:lnTo>
                          <a:lnTo>
                            <a:pt x="108012" y="76893"/>
                          </a:lnTo>
                          <a:lnTo>
                            <a:pt x="107234" y="77910"/>
                          </a:lnTo>
                          <a:lnTo>
                            <a:pt x="104663" y="81199"/>
                          </a:lnTo>
                          <a:lnTo>
                            <a:pt x="103885" y="82216"/>
                          </a:lnTo>
                          <a:lnTo>
                            <a:pt x="101732" y="84907"/>
                          </a:lnTo>
                          <a:lnTo>
                            <a:pt x="100955" y="85864"/>
                          </a:lnTo>
                          <a:lnTo>
                            <a:pt x="98622" y="88854"/>
                          </a:lnTo>
                          <a:lnTo>
                            <a:pt x="97845" y="89871"/>
                          </a:lnTo>
                          <a:lnTo>
                            <a:pt x="96768" y="91247"/>
                          </a:lnTo>
                          <a:lnTo>
                            <a:pt x="95991" y="92263"/>
                          </a:lnTo>
                          <a:lnTo>
                            <a:pt x="91924" y="97407"/>
                          </a:lnTo>
                          <a:lnTo>
                            <a:pt x="91146" y="98364"/>
                          </a:lnTo>
                          <a:lnTo>
                            <a:pt x="88933" y="101115"/>
                          </a:lnTo>
                          <a:lnTo>
                            <a:pt x="84807" y="98424"/>
                          </a:lnTo>
                          <a:lnTo>
                            <a:pt x="83850" y="97766"/>
                          </a:lnTo>
                          <a:lnTo>
                            <a:pt x="79783" y="95075"/>
                          </a:lnTo>
                          <a:lnTo>
                            <a:pt x="78826" y="94416"/>
                          </a:lnTo>
                          <a:lnTo>
                            <a:pt x="68659" y="87658"/>
                          </a:lnTo>
                          <a:lnTo>
                            <a:pt x="67702" y="87060"/>
                          </a:lnTo>
                          <a:lnTo>
                            <a:pt x="63455" y="84250"/>
                          </a:lnTo>
                          <a:lnTo>
                            <a:pt x="62499" y="83591"/>
                          </a:lnTo>
                          <a:lnTo>
                            <a:pt x="55262" y="78807"/>
                          </a:lnTo>
                          <a:lnTo>
                            <a:pt x="54245" y="78149"/>
                          </a:lnTo>
                          <a:lnTo>
                            <a:pt x="38097" y="67443"/>
                          </a:lnTo>
                          <a:lnTo>
                            <a:pt x="37081" y="66786"/>
                          </a:lnTo>
                          <a:lnTo>
                            <a:pt x="32595" y="63795"/>
                          </a:lnTo>
                          <a:lnTo>
                            <a:pt x="31758" y="64812"/>
                          </a:lnTo>
                          <a:lnTo>
                            <a:pt x="36243" y="67803"/>
                          </a:lnTo>
                          <a:lnTo>
                            <a:pt x="37260" y="68460"/>
                          </a:lnTo>
                          <a:lnTo>
                            <a:pt x="53408" y="79166"/>
                          </a:lnTo>
                          <a:lnTo>
                            <a:pt x="54425" y="79823"/>
                          </a:lnTo>
                          <a:lnTo>
                            <a:pt x="61721" y="84608"/>
                          </a:lnTo>
                          <a:lnTo>
                            <a:pt x="62678" y="85266"/>
                          </a:lnTo>
                          <a:lnTo>
                            <a:pt x="66924" y="88077"/>
                          </a:lnTo>
                          <a:lnTo>
                            <a:pt x="67881" y="88675"/>
                          </a:lnTo>
                          <a:lnTo>
                            <a:pt x="78048" y="95374"/>
                          </a:lnTo>
                          <a:lnTo>
                            <a:pt x="79005" y="96031"/>
                          </a:lnTo>
                          <a:lnTo>
                            <a:pt x="83072" y="98723"/>
                          </a:lnTo>
                          <a:lnTo>
                            <a:pt x="84029" y="99381"/>
                          </a:lnTo>
                          <a:lnTo>
                            <a:pt x="89113" y="102730"/>
                          </a:lnTo>
                          <a:lnTo>
                            <a:pt x="92103" y="98962"/>
                          </a:lnTo>
                          <a:lnTo>
                            <a:pt x="92881" y="98005"/>
                          </a:lnTo>
                          <a:lnTo>
                            <a:pt x="96948" y="92861"/>
                          </a:lnTo>
                          <a:lnTo>
                            <a:pt x="97725" y="91845"/>
                          </a:lnTo>
                          <a:lnTo>
                            <a:pt x="98802" y="90469"/>
                          </a:lnTo>
                          <a:lnTo>
                            <a:pt x="99579" y="89453"/>
                          </a:lnTo>
                          <a:lnTo>
                            <a:pt x="101912" y="86462"/>
                          </a:lnTo>
                          <a:lnTo>
                            <a:pt x="102689" y="85505"/>
                          </a:lnTo>
                          <a:lnTo>
                            <a:pt x="104842" y="82814"/>
                          </a:lnTo>
                          <a:lnTo>
                            <a:pt x="105620" y="81797"/>
                          </a:lnTo>
                          <a:lnTo>
                            <a:pt x="108191" y="78508"/>
                          </a:lnTo>
                          <a:lnTo>
                            <a:pt x="108969" y="77491"/>
                          </a:lnTo>
                          <a:lnTo>
                            <a:pt x="109986" y="76175"/>
                          </a:lnTo>
                          <a:lnTo>
                            <a:pt x="110763" y="75159"/>
                          </a:lnTo>
                          <a:lnTo>
                            <a:pt x="111002" y="74860"/>
                          </a:lnTo>
                          <a:lnTo>
                            <a:pt x="112139" y="73424"/>
                          </a:lnTo>
                          <a:lnTo>
                            <a:pt x="112916" y="72407"/>
                          </a:lnTo>
                          <a:lnTo>
                            <a:pt x="113933" y="71092"/>
                          </a:lnTo>
                          <a:lnTo>
                            <a:pt x="114710" y="70075"/>
                          </a:lnTo>
                          <a:lnTo>
                            <a:pt x="115667" y="68879"/>
                          </a:lnTo>
                          <a:cubicBezTo>
                            <a:pt x="115727" y="68819"/>
                            <a:pt x="115787" y="68699"/>
                            <a:pt x="115847" y="68640"/>
                          </a:cubicBezTo>
                          <a:cubicBezTo>
                            <a:pt x="115906" y="68580"/>
                            <a:pt x="115966" y="68460"/>
                            <a:pt x="116026" y="68400"/>
                          </a:cubicBezTo>
                          <a:cubicBezTo>
                            <a:pt x="116086" y="68341"/>
                            <a:pt x="116146" y="68221"/>
                            <a:pt x="116205" y="68161"/>
                          </a:cubicBezTo>
                          <a:cubicBezTo>
                            <a:pt x="116265" y="68102"/>
                            <a:pt x="116325" y="67982"/>
                            <a:pt x="116385" y="67922"/>
                          </a:cubicBezTo>
                          <a:cubicBezTo>
                            <a:pt x="116445" y="67862"/>
                            <a:pt x="116504" y="67743"/>
                            <a:pt x="116564" y="67683"/>
                          </a:cubicBezTo>
                          <a:cubicBezTo>
                            <a:pt x="116624" y="67623"/>
                            <a:pt x="116684" y="67503"/>
                            <a:pt x="116744" y="67443"/>
                          </a:cubicBezTo>
                          <a:cubicBezTo>
                            <a:pt x="116804" y="67384"/>
                            <a:pt x="116864" y="67264"/>
                            <a:pt x="116923" y="67204"/>
                          </a:cubicBezTo>
                          <a:cubicBezTo>
                            <a:pt x="116983" y="67144"/>
                            <a:pt x="117043" y="67025"/>
                            <a:pt x="117103" y="66965"/>
                          </a:cubicBezTo>
                          <a:cubicBezTo>
                            <a:pt x="117163" y="66845"/>
                            <a:pt x="117282" y="66726"/>
                            <a:pt x="117342" y="66606"/>
                          </a:cubicBezTo>
                          <a:cubicBezTo>
                            <a:pt x="117402" y="66487"/>
                            <a:pt x="117521" y="66367"/>
                            <a:pt x="117581" y="66248"/>
                          </a:cubicBezTo>
                          <a:cubicBezTo>
                            <a:pt x="117641" y="66128"/>
                            <a:pt x="117760" y="66008"/>
                            <a:pt x="117820" y="65889"/>
                          </a:cubicBezTo>
                          <a:cubicBezTo>
                            <a:pt x="117880" y="65769"/>
                            <a:pt x="117940" y="65649"/>
                            <a:pt x="118059" y="65530"/>
                          </a:cubicBezTo>
                          <a:cubicBezTo>
                            <a:pt x="118119" y="65410"/>
                            <a:pt x="118179" y="65350"/>
                            <a:pt x="118239" y="65231"/>
                          </a:cubicBezTo>
                          <a:cubicBezTo>
                            <a:pt x="118299" y="65111"/>
                            <a:pt x="118359" y="65051"/>
                            <a:pt x="118418" y="64932"/>
                          </a:cubicBezTo>
                          <a:cubicBezTo>
                            <a:pt x="118478" y="64812"/>
                            <a:pt x="118538" y="64752"/>
                            <a:pt x="118598" y="64633"/>
                          </a:cubicBezTo>
                          <a:cubicBezTo>
                            <a:pt x="118658" y="64513"/>
                            <a:pt x="118718" y="64453"/>
                            <a:pt x="118718" y="64334"/>
                          </a:cubicBezTo>
                          <a:cubicBezTo>
                            <a:pt x="119555" y="62719"/>
                            <a:pt x="120153" y="61104"/>
                            <a:pt x="120392" y="59609"/>
                          </a:cubicBezTo>
                          <a:cubicBezTo>
                            <a:pt x="120631" y="58113"/>
                            <a:pt x="120631" y="56678"/>
                            <a:pt x="120272" y="55303"/>
                          </a:cubicBezTo>
                          <a:cubicBezTo>
                            <a:pt x="119913" y="53927"/>
                            <a:pt x="119315" y="52671"/>
                            <a:pt x="118359" y="51415"/>
                          </a:cubicBezTo>
                          <a:cubicBezTo>
                            <a:pt x="117402" y="50219"/>
                            <a:pt x="116205" y="49083"/>
                            <a:pt x="114650" y="48006"/>
                          </a:cubicBezTo>
                          <a:lnTo>
                            <a:pt x="104962" y="41248"/>
                          </a:lnTo>
                          <a:lnTo>
                            <a:pt x="104005" y="40590"/>
                          </a:lnTo>
                          <a:lnTo>
                            <a:pt x="59149" y="9251"/>
                          </a:lnTo>
                          <a:lnTo>
                            <a:pt x="58133" y="8533"/>
                          </a:lnTo>
                          <a:lnTo>
                            <a:pt x="50477" y="3210"/>
                          </a:lnTo>
                          <a:cubicBezTo>
                            <a:pt x="48504" y="1835"/>
                            <a:pt x="46530" y="878"/>
                            <a:pt x="44556" y="400"/>
                          </a:cubicBezTo>
                          <a:cubicBezTo>
                            <a:pt x="42583" y="-79"/>
                            <a:pt x="40669" y="-139"/>
                            <a:pt x="38755" y="280"/>
                          </a:cubicBezTo>
                          <a:cubicBezTo>
                            <a:pt x="36841" y="699"/>
                            <a:pt x="34987" y="1596"/>
                            <a:pt x="33133" y="2911"/>
                          </a:cubicBezTo>
                          <a:cubicBezTo>
                            <a:pt x="31279" y="4227"/>
                            <a:pt x="29485" y="6022"/>
                            <a:pt x="27691" y="8294"/>
                          </a:cubicBezTo>
                          <a:lnTo>
                            <a:pt x="22846" y="14454"/>
                          </a:lnTo>
                          <a:lnTo>
                            <a:pt x="22009" y="15471"/>
                          </a:lnTo>
                          <a:lnTo>
                            <a:pt x="17165" y="21631"/>
                          </a:lnTo>
                          <a:lnTo>
                            <a:pt x="16327" y="22648"/>
                          </a:lnTo>
                          <a:lnTo>
                            <a:pt x="14114" y="25459"/>
                          </a:lnTo>
                          <a:lnTo>
                            <a:pt x="13337" y="26476"/>
                          </a:lnTo>
                          <a:lnTo>
                            <a:pt x="10885" y="29586"/>
                          </a:lnTo>
                          <a:lnTo>
                            <a:pt x="10048" y="30602"/>
                          </a:lnTo>
                          <a:lnTo>
                            <a:pt x="8911" y="32038"/>
                          </a:lnTo>
                          <a:lnTo>
                            <a:pt x="8074" y="33054"/>
                          </a:lnTo>
                          <a:lnTo>
                            <a:pt x="3828" y="38437"/>
                          </a:lnTo>
                          <a:lnTo>
                            <a:pt x="3050" y="39454"/>
                          </a:lnTo>
                          <a:lnTo>
                            <a:pt x="0" y="43700"/>
                          </a:lnTo>
                        </a:path>
                      </a:pathLst>
                    </a:custGeom>
                    <a:noFill/>
                    <a:ln w="6350" cap="flat">
                      <a:solidFill>
                        <a:schemeClr val="bg1">
                          <a:alpha val="80000"/>
                        </a:schemeClr>
                      </a:solidFill>
                      <a:prstDash val="solid"/>
                      <a:miter/>
                    </a:ln>
                  </p:spPr>
                  <p:txBody>
                    <a:bodyPr rtlCol="0" anchor="ctr"/>
                    <a:lstStyle/>
                    <a:p>
                      <a:endParaRPr lang="en-GB"/>
                    </a:p>
                  </p:txBody>
                </p:sp>
                <p:sp>
                  <p:nvSpPr>
                    <p:cNvPr id="7457" name="Vrije vorm: vorm 7456">
                      <a:extLst>
                        <a:ext uri="{FF2B5EF4-FFF2-40B4-BE49-F238E27FC236}">
                          <a16:creationId xmlns:a16="http://schemas.microsoft.com/office/drawing/2014/main" id="{8910995B-F447-4CE5-996E-FA4B644F5A47}"/>
                        </a:ext>
                      </a:extLst>
                    </p:cNvPr>
                    <p:cNvSpPr/>
                    <p:nvPr/>
                  </p:nvSpPr>
                  <p:spPr>
                    <a:xfrm>
                      <a:off x="4766236" y="5099559"/>
                      <a:ext cx="66745" cy="55324"/>
                    </a:xfrm>
                    <a:custGeom>
                      <a:avLst/>
                      <a:gdLst>
                        <a:gd name="connsiteX0" fmla="*/ 20394 w 66745"/>
                        <a:gd name="connsiteY0" fmla="*/ 50719 h 55324"/>
                        <a:gd name="connsiteX1" fmla="*/ 18122 w 66745"/>
                        <a:gd name="connsiteY1" fmla="*/ 53590 h 55324"/>
                        <a:gd name="connsiteX2" fmla="*/ 1854 w 66745"/>
                        <a:gd name="connsiteY2" fmla="*/ 42825 h 55324"/>
                        <a:gd name="connsiteX3" fmla="*/ 4127 w 66745"/>
                        <a:gd name="connsiteY3" fmla="*/ 39954 h 55324"/>
                        <a:gd name="connsiteX4" fmla="*/ 4904 w 66745"/>
                        <a:gd name="connsiteY4" fmla="*/ 38937 h 55324"/>
                        <a:gd name="connsiteX5" fmla="*/ 5383 w 66745"/>
                        <a:gd name="connsiteY5" fmla="*/ 38339 h 55324"/>
                        <a:gd name="connsiteX6" fmla="*/ 6280 w 66745"/>
                        <a:gd name="connsiteY6" fmla="*/ 37203 h 55324"/>
                        <a:gd name="connsiteX7" fmla="*/ 9151 w 66745"/>
                        <a:gd name="connsiteY7" fmla="*/ 33615 h 55324"/>
                        <a:gd name="connsiteX8" fmla="*/ 9928 w 66745"/>
                        <a:gd name="connsiteY8" fmla="*/ 32598 h 55324"/>
                        <a:gd name="connsiteX9" fmla="*/ 10766 w 66745"/>
                        <a:gd name="connsiteY9" fmla="*/ 31521 h 55324"/>
                        <a:gd name="connsiteX10" fmla="*/ 11065 w 66745"/>
                        <a:gd name="connsiteY10" fmla="*/ 31102 h 55324"/>
                        <a:gd name="connsiteX11" fmla="*/ 11902 w 66745"/>
                        <a:gd name="connsiteY11" fmla="*/ 30086 h 55324"/>
                        <a:gd name="connsiteX12" fmla="*/ 14354 w 66745"/>
                        <a:gd name="connsiteY12" fmla="*/ 27036 h 55324"/>
                        <a:gd name="connsiteX13" fmla="*/ 15131 w 66745"/>
                        <a:gd name="connsiteY13" fmla="*/ 26019 h 55324"/>
                        <a:gd name="connsiteX14" fmla="*/ 17344 w 66745"/>
                        <a:gd name="connsiteY14" fmla="*/ 23208 h 55324"/>
                        <a:gd name="connsiteX15" fmla="*/ 18182 w 66745"/>
                        <a:gd name="connsiteY15" fmla="*/ 22191 h 55324"/>
                        <a:gd name="connsiteX16" fmla="*/ 23026 w 66745"/>
                        <a:gd name="connsiteY16" fmla="*/ 16091 h 55324"/>
                        <a:gd name="connsiteX17" fmla="*/ 23863 w 66745"/>
                        <a:gd name="connsiteY17" fmla="*/ 15074 h 55324"/>
                        <a:gd name="connsiteX18" fmla="*/ 28708 w 66745"/>
                        <a:gd name="connsiteY18" fmla="*/ 8974 h 55324"/>
                        <a:gd name="connsiteX19" fmla="*/ 32236 w 66745"/>
                        <a:gd name="connsiteY19" fmla="*/ 5146 h 55324"/>
                        <a:gd name="connsiteX20" fmla="*/ 35824 w 66745"/>
                        <a:gd name="connsiteY20" fmla="*/ 2634 h 55324"/>
                        <a:gd name="connsiteX21" fmla="*/ 39473 w 66745"/>
                        <a:gd name="connsiteY21" fmla="*/ 1378 h 55324"/>
                        <a:gd name="connsiteX22" fmla="*/ 43181 w 66745"/>
                        <a:gd name="connsiteY22" fmla="*/ 1438 h 55324"/>
                        <a:gd name="connsiteX23" fmla="*/ 43480 w 66745"/>
                        <a:gd name="connsiteY23" fmla="*/ 1498 h 55324"/>
                        <a:gd name="connsiteX24" fmla="*/ 43779 w 66745"/>
                        <a:gd name="connsiteY24" fmla="*/ 1558 h 55324"/>
                        <a:gd name="connsiteX25" fmla="*/ 44078 w 66745"/>
                        <a:gd name="connsiteY25" fmla="*/ 1617 h 55324"/>
                        <a:gd name="connsiteX26" fmla="*/ 44437 w 66745"/>
                        <a:gd name="connsiteY26" fmla="*/ 1737 h 55324"/>
                        <a:gd name="connsiteX27" fmla="*/ 45633 w 66745"/>
                        <a:gd name="connsiteY27" fmla="*/ 2156 h 55324"/>
                        <a:gd name="connsiteX28" fmla="*/ 46829 w 66745"/>
                        <a:gd name="connsiteY28" fmla="*/ 2694 h 55324"/>
                        <a:gd name="connsiteX29" fmla="*/ 48025 w 66745"/>
                        <a:gd name="connsiteY29" fmla="*/ 3352 h 55324"/>
                        <a:gd name="connsiteX30" fmla="*/ 49281 w 66745"/>
                        <a:gd name="connsiteY30" fmla="*/ 4130 h 55324"/>
                        <a:gd name="connsiteX31" fmla="*/ 60465 w 66745"/>
                        <a:gd name="connsiteY31" fmla="*/ 11964 h 55324"/>
                        <a:gd name="connsiteX32" fmla="*/ 57654 w 66745"/>
                        <a:gd name="connsiteY32" fmla="*/ 11785 h 55324"/>
                        <a:gd name="connsiteX33" fmla="*/ 54843 w 66745"/>
                        <a:gd name="connsiteY33" fmla="*/ 12263 h 55324"/>
                        <a:gd name="connsiteX34" fmla="*/ 52092 w 66745"/>
                        <a:gd name="connsiteY34" fmla="*/ 13400 h 55324"/>
                        <a:gd name="connsiteX35" fmla="*/ 49401 w 66745"/>
                        <a:gd name="connsiteY35" fmla="*/ 15194 h 55324"/>
                        <a:gd name="connsiteX36" fmla="*/ 49162 w 66745"/>
                        <a:gd name="connsiteY36" fmla="*/ 15373 h 55324"/>
                        <a:gd name="connsiteX37" fmla="*/ 48922 w 66745"/>
                        <a:gd name="connsiteY37" fmla="*/ 15613 h 55324"/>
                        <a:gd name="connsiteX38" fmla="*/ 48683 w 66745"/>
                        <a:gd name="connsiteY38" fmla="*/ 15852 h 55324"/>
                        <a:gd name="connsiteX39" fmla="*/ 48444 w 66745"/>
                        <a:gd name="connsiteY39" fmla="*/ 16091 h 55324"/>
                        <a:gd name="connsiteX40" fmla="*/ 47487 w 66745"/>
                        <a:gd name="connsiteY40" fmla="*/ 16988 h 55324"/>
                        <a:gd name="connsiteX41" fmla="*/ 46530 w 66745"/>
                        <a:gd name="connsiteY41" fmla="*/ 17945 h 55324"/>
                        <a:gd name="connsiteX42" fmla="*/ 45633 w 66745"/>
                        <a:gd name="connsiteY42" fmla="*/ 18962 h 55324"/>
                        <a:gd name="connsiteX43" fmla="*/ 44736 w 66745"/>
                        <a:gd name="connsiteY43" fmla="*/ 20098 h 55324"/>
                        <a:gd name="connsiteX44" fmla="*/ 39951 w 66745"/>
                        <a:gd name="connsiteY44" fmla="*/ 26139 h 55324"/>
                        <a:gd name="connsiteX45" fmla="*/ 39114 w 66745"/>
                        <a:gd name="connsiteY45" fmla="*/ 27155 h 55324"/>
                        <a:gd name="connsiteX46" fmla="*/ 34329 w 66745"/>
                        <a:gd name="connsiteY46" fmla="*/ 33196 h 55324"/>
                        <a:gd name="connsiteX47" fmla="*/ 33492 w 66745"/>
                        <a:gd name="connsiteY47" fmla="*/ 34212 h 55324"/>
                        <a:gd name="connsiteX48" fmla="*/ 31279 w 66745"/>
                        <a:gd name="connsiteY48" fmla="*/ 37024 h 55324"/>
                        <a:gd name="connsiteX49" fmla="*/ 30502 w 66745"/>
                        <a:gd name="connsiteY49" fmla="*/ 38040 h 55324"/>
                        <a:gd name="connsiteX50" fmla="*/ 28109 w 66745"/>
                        <a:gd name="connsiteY50" fmla="*/ 41090 h 55324"/>
                        <a:gd name="connsiteX51" fmla="*/ 27272 w 66745"/>
                        <a:gd name="connsiteY51" fmla="*/ 42107 h 55324"/>
                        <a:gd name="connsiteX52" fmla="*/ 26136 w 66745"/>
                        <a:gd name="connsiteY52" fmla="*/ 43542 h 55324"/>
                        <a:gd name="connsiteX53" fmla="*/ 25299 w 66745"/>
                        <a:gd name="connsiteY53" fmla="*/ 44559 h 55324"/>
                        <a:gd name="connsiteX54" fmla="*/ 21112 w 66745"/>
                        <a:gd name="connsiteY54" fmla="*/ 49882 h 55324"/>
                        <a:gd name="connsiteX55" fmla="*/ 20394 w 66745"/>
                        <a:gd name="connsiteY55" fmla="*/ 50719 h 55324"/>
                        <a:gd name="connsiteX56" fmla="*/ 0 w 66745"/>
                        <a:gd name="connsiteY56" fmla="*/ 43184 h 55324"/>
                        <a:gd name="connsiteX57" fmla="*/ 8493 w 66745"/>
                        <a:gd name="connsiteY57" fmla="*/ 48805 h 55324"/>
                        <a:gd name="connsiteX58" fmla="*/ 9510 w 66745"/>
                        <a:gd name="connsiteY58" fmla="*/ 49463 h 55324"/>
                        <a:gd name="connsiteX59" fmla="*/ 13815 w 66745"/>
                        <a:gd name="connsiteY59" fmla="*/ 52334 h 55324"/>
                        <a:gd name="connsiteX60" fmla="*/ 14832 w 66745"/>
                        <a:gd name="connsiteY60" fmla="*/ 52992 h 55324"/>
                        <a:gd name="connsiteX61" fmla="*/ 18361 w 66745"/>
                        <a:gd name="connsiteY61" fmla="*/ 55325 h 55324"/>
                        <a:gd name="connsiteX62" fmla="*/ 19198 w 66745"/>
                        <a:gd name="connsiteY62" fmla="*/ 54308 h 55324"/>
                        <a:gd name="connsiteX63" fmla="*/ 21471 w 66745"/>
                        <a:gd name="connsiteY63" fmla="*/ 51437 h 55324"/>
                        <a:gd name="connsiteX64" fmla="*/ 22248 w 66745"/>
                        <a:gd name="connsiteY64" fmla="*/ 50420 h 55324"/>
                        <a:gd name="connsiteX65" fmla="*/ 26435 w 66745"/>
                        <a:gd name="connsiteY65" fmla="*/ 45097 h 55324"/>
                        <a:gd name="connsiteX66" fmla="*/ 27272 w 66745"/>
                        <a:gd name="connsiteY66" fmla="*/ 44081 h 55324"/>
                        <a:gd name="connsiteX67" fmla="*/ 28408 w 66745"/>
                        <a:gd name="connsiteY67" fmla="*/ 42646 h 55324"/>
                        <a:gd name="connsiteX68" fmla="*/ 29246 w 66745"/>
                        <a:gd name="connsiteY68" fmla="*/ 41629 h 55324"/>
                        <a:gd name="connsiteX69" fmla="*/ 31638 w 66745"/>
                        <a:gd name="connsiteY69" fmla="*/ 38578 h 55324"/>
                        <a:gd name="connsiteX70" fmla="*/ 32416 w 66745"/>
                        <a:gd name="connsiteY70" fmla="*/ 37562 h 55324"/>
                        <a:gd name="connsiteX71" fmla="*/ 34629 w 66745"/>
                        <a:gd name="connsiteY71" fmla="*/ 34811 h 55324"/>
                        <a:gd name="connsiteX72" fmla="*/ 35466 w 66745"/>
                        <a:gd name="connsiteY72" fmla="*/ 33794 h 55324"/>
                        <a:gd name="connsiteX73" fmla="*/ 40251 w 66745"/>
                        <a:gd name="connsiteY73" fmla="*/ 27753 h 55324"/>
                        <a:gd name="connsiteX74" fmla="*/ 41088 w 66745"/>
                        <a:gd name="connsiteY74" fmla="*/ 26737 h 55324"/>
                        <a:gd name="connsiteX75" fmla="*/ 45872 w 66745"/>
                        <a:gd name="connsiteY75" fmla="*/ 20696 h 55324"/>
                        <a:gd name="connsiteX76" fmla="*/ 46769 w 66745"/>
                        <a:gd name="connsiteY76" fmla="*/ 19560 h 55324"/>
                        <a:gd name="connsiteX77" fmla="*/ 47667 w 66745"/>
                        <a:gd name="connsiteY77" fmla="*/ 18543 h 55324"/>
                        <a:gd name="connsiteX78" fmla="*/ 48563 w 66745"/>
                        <a:gd name="connsiteY78" fmla="*/ 17586 h 55324"/>
                        <a:gd name="connsiteX79" fmla="*/ 49461 w 66745"/>
                        <a:gd name="connsiteY79" fmla="*/ 16749 h 55324"/>
                        <a:gd name="connsiteX80" fmla="*/ 49700 w 66745"/>
                        <a:gd name="connsiteY80" fmla="*/ 16510 h 55324"/>
                        <a:gd name="connsiteX81" fmla="*/ 49939 w 66745"/>
                        <a:gd name="connsiteY81" fmla="*/ 16270 h 55324"/>
                        <a:gd name="connsiteX82" fmla="*/ 50178 w 66745"/>
                        <a:gd name="connsiteY82" fmla="*/ 16031 h 55324"/>
                        <a:gd name="connsiteX83" fmla="*/ 50417 w 66745"/>
                        <a:gd name="connsiteY83" fmla="*/ 15852 h 55324"/>
                        <a:gd name="connsiteX84" fmla="*/ 54185 w 66745"/>
                        <a:gd name="connsiteY84" fmla="*/ 13699 h 55324"/>
                        <a:gd name="connsiteX85" fmla="*/ 58013 w 66745"/>
                        <a:gd name="connsiteY85" fmla="*/ 12981 h 55324"/>
                        <a:gd name="connsiteX86" fmla="*/ 61901 w 66745"/>
                        <a:gd name="connsiteY86" fmla="*/ 13699 h 55324"/>
                        <a:gd name="connsiteX87" fmla="*/ 65908 w 66745"/>
                        <a:gd name="connsiteY87" fmla="*/ 15852 h 55324"/>
                        <a:gd name="connsiteX88" fmla="*/ 66745 w 66745"/>
                        <a:gd name="connsiteY88" fmla="*/ 14835 h 55324"/>
                        <a:gd name="connsiteX89" fmla="*/ 50059 w 66745"/>
                        <a:gd name="connsiteY89" fmla="*/ 3173 h 55324"/>
                        <a:gd name="connsiteX90" fmla="*/ 48444 w 66745"/>
                        <a:gd name="connsiteY90" fmla="*/ 2156 h 55324"/>
                        <a:gd name="connsiteX91" fmla="*/ 46829 w 66745"/>
                        <a:gd name="connsiteY91" fmla="*/ 1319 h 55324"/>
                        <a:gd name="connsiteX92" fmla="*/ 45214 w 66745"/>
                        <a:gd name="connsiteY92" fmla="*/ 661 h 55324"/>
                        <a:gd name="connsiteX93" fmla="*/ 43600 w 66745"/>
                        <a:gd name="connsiteY93" fmla="*/ 242 h 55324"/>
                        <a:gd name="connsiteX94" fmla="*/ 39473 w 66745"/>
                        <a:gd name="connsiteY94" fmla="*/ 122 h 55324"/>
                        <a:gd name="connsiteX95" fmla="*/ 35406 w 66745"/>
                        <a:gd name="connsiteY95" fmla="*/ 1438 h 55324"/>
                        <a:gd name="connsiteX96" fmla="*/ 31459 w 66745"/>
                        <a:gd name="connsiteY96" fmla="*/ 4130 h 55324"/>
                        <a:gd name="connsiteX97" fmla="*/ 27571 w 66745"/>
                        <a:gd name="connsiteY97" fmla="*/ 8256 h 55324"/>
                        <a:gd name="connsiteX98" fmla="*/ 22727 w 66745"/>
                        <a:gd name="connsiteY98" fmla="*/ 14356 h 55324"/>
                        <a:gd name="connsiteX99" fmla="*/ 21890 w 66745"/>
                        <a:gd name="connsiteY99" fmla="*/ 15373 h 55324"/>
                        <a:gd name="connsiteX100" fmla="*/ 17045 w 66745"/>
                        <a:gd name="connsiteY100" fmla="*/ 21474 h 55324"/>
                        <a:gd name="connsiteX101" fmla="*/ 16208 w 66745"/>
                        <a:gd name="connsiteY101" fmla="*/ 22491 h 55324"/>
                        <a:gd name="connsiteX102" fmla="*/ 13995 w 66745"/>
                        <a:gd name="connsiteY102" fmla="*/ 25301 h 55324"/>
                        <a:gd name="connsiteX103" fmla="*/ 13218 w 66745"/>
                        <a:gd name="connsiteY103" fmla="*/ 26318 h 55324"/>
                        <a:gd name="connsiteX104" fmla="*/ 10766 w 66745"/>
                        <a:gd name="connsiteY104" fmla="*/ 29368 h 55324"/>
                        <a:gd name="connsiteX105" fmla="*/ 9928 w 66745"/>
                        <a:gd name="connsiteY105" fmla="*/ 30385 h 55324"/>
                        <a:gd name="connsiteX106" fmla="*/ 9450 w 66745"/>
                        <a:gd name="connsiteY106" fmla="*/ 31043 h 55324"/>
                        <a:gd name="connsiteX107" fmla="*/ 8612 w 66745"/>
                        <a:gd name="connsiteY107" fmla="*/ 32119 h 55324"/>
                        <a:gd name="connsiteX108" fmla="*/ 8014 w 66745"/>
                        <a:gd name="connsiteY108" fmla="*/ 32897 h 55324"/>
                        <a:gd name="connsiteX109" fmla="*/ 4785 w 66745"/>
                        <a:gd name="connsiteY109" fmla="*/ 36964 h 55324"/>
                        <a:gd name="connsiteX110" fmla="*/ 3828 w 66745"/>
                        <a:gd name="connsiteY110" fmla="*/ 38160 h 55324"/>
                        <a:gd name="connsiteX111" fmla="*/ 3768 w 66745"/>
                        <a:gd name="connsiteY111" fmla="*/ 38219 h 55324"/>
                        <a:gd name="connsiteX112" fmla="*/ 2990 w 66745"/>
                        <a:gd name="connsiteY112" fmla="*/ 39236 h 55324"/>
                        <a:gd name="connsiteX113" fmla="*/ 718 w 66745"/>
                        <a:gd name="connsiteY113" fmla="*/ 42107 h 55324"/>
                        <a:gd name="connsiteX114" fmla="*/ 0 w 66745"/>
                        <a:gd name="connsiteY114" fmla="*/ 43184 h 5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6745" h="55324">
                          <a:moveTo>
                            <a:pt x="20394" y="50719"/>
                          </a:moveTo>
                          <a:lnTo>
                            <a:pt x="18122" y="53590"/>
                          </a:lnTo>
                          <a:lnTo>
                            <a:pt x="1854" y="42825"/>
                          </a:lnTo>
                          <a:lnTo>
                            <a:pt x="4127" y="39954"/>
                          </a:lnTo>
                          <a:lnTo>
                            <a:pt x="4904" y="38937"/>
                          </a:lnTo>
                          <a:lnTo>
                            <a:pt x="5383" y="38339"/>
                          </a:lnTo>
                          <a:lnTo>
                            <a:pt x="6280" y="37203"/>
                          </a:lnTo>
                          <a:lnTo>
                            <a:pt x="9151" y="33615"/>
                          </a:lnTo>
                          <a:lnTo>
                            <a:pt x="9928" y="32598"/>
                          </a:lnTo>
                          <a:lnTo>
                            <a:pt x="10766" y="31521"/>
                          </a:lnTo>
                          <a:lnTo>
                            <a:pt x="11065" y="31102"/>
                          </a:lnTo>
                          <a:lnTo>
                            <a:pt x="11902" y="30086"/>
                          </a:lnTo>
                          <a:lnTo>
                            <a:pt x="14354" y="27036"/>
                          </a:lnTo>
                          <a:lnTo>
                            <a:pt x="15131" y="26019"/>
                          </a:lnTo>
                          <a:lnTo>
                            <a:pt x="17344" y="23208"/>
                          </a:lnTo>
                          <a:lnTo>
                            <a:pt x="18182" y="22191"/>
                          </a:lnTo>
                          <a:lnTo>
                            <a:pt x="23026" y="16091"/>
                          </a:lnTo>
                          <a:lnTo>
                            <a:pt x="23863" y="15074"/>
                          </a:lnTo>
                          <a:lnTo>
                            <a:pt x="28708" y="8974"/>
                          </a:lnTo>
                          <a:cubicBezTo>
                            <a:pt x="29904" y="7479"/>
                            <a:pt x="31040" y="6223"/>
                            <a:pt x="32236" y="5146"/>
                          </a:cubicBezTo>
                          <a:cubicBezTo>
                            <a:pt x="33432" y="4070"/>
                            <a:pt x="34629" y="3232"/>
                            <a:pt x="35824" y="2634"/>
                          </a:cubicBezTo>
                          <a:cubicBezTo>
                            <a:pt x="37021" y="2036"/>
                            <a:pt x="38277" y="1617"/>
                            <a:pt x="39473" y="1378"/>
                          </a:cubicBezTo>
                          <a:cubicBezTo>
                            <a:pt x="40729" y="1199"/>
                            <a:pt x="41925" y="1199"/>
                            <a:pt x="43181" y="1438"/>
                          </a:cubicBezTo>
                          <a:cubicBezTo>
                            <a:pt x="43300" y="1438"/>
                            <a:pt x="43420" y="1498"/>
                            <a:pt x="43480" y="1498"/>
                          </a:cubicBezTo>
                          <a:cubicBezTo>
                            <a:pt x="43600" y="1498"/>
                            <a:pt x="43719" y="1558"/>
                            <a:pt x="43779" y="1558"/>
                          </a:cubicBezTo>
                          <a:cubicBezTo>
                            <a:pt x="43899" y="1558"/>
                            <a:pt x="44018" y="1617"/>
                            <a:pt x="44078" y="1617"/>
                          </a:cubicBezTo>
                          <a:cubicBezTo>
                            <a:pt x="44198" y="1617"/>
                            <a:pt x="44317" y="1677"/>
                            <a:pt x="44437" y="1737"/>
                          </a:cubicBezTo>
                          <a:cubicBezTo>
                            <a:pt x="44855" y="1857"/>
                            <a:pt x="45214" y="1976"/>
                            <a:pt x="45633" y="2156"/>
                          </a:cubicBezTo>
                          <a:cubicBezTo>
                            <a:pt x="46052" y="2335"/>
                            <a:pt x="46470" y="2515"/>
                            <a:pt x="46829" y="2694"/>
                          </a:cubicBezTo>
                          <a:cubicBezTo>
                            <a:pt x="47248" y="2874"/>
                            <a:pt x="47667" y="3113"/>
                            <a:pt x="48025" y="3352"/>
                          </a:cubicBezTo>
                          <a:cubicBezTo>
                            <a:pt x="48444" y="3591"/>
                            <a:pt x="48863" y="3890"/>
                            <a:pt x="49281" y="4130"/>
                          </a:cubicBezTo>
                          <a:lnTo>
                            <a:pt x="60465" y="11964"/>
                          </a:lnTo>
                          <a:cubicBezTo>
                            <a:pt x="59508" y="11785"/>
                            <a:pt x="58611" y="11725"/>
                            <a:pt x="57654" y="11785"/>
                          </a:cubicBezTo>
                          <a:cubicBezTo>
                            <a:pt x="56697" y="11845"/>
                            <a:pt x="55800" y="11964"/>
                            <a:pt x="54843" y="12263"/>
                          </a:cubicBezTo>
                          <a:cubicBezTo>
                            <a:pt x="53946" y="12502"/>
                            <a:pt x="52989" y="12921"/>
                            <a:pt x="52092" y="13400"/>
                          </a:cubicBezTo>
                          <a:cubicBezTo>
                            <a:pt x="51195" y="13878"/>
                            <a:pt x="50298" y="14476"/>
                            <a:pt x="49401" y="15194"/>
                          </a:cubicBezTo>
                          <a:cubicBezTo>
                            <a:pt x="49341" y="15254"/>
                            <a:pt x="49222" y="15314"/>
                            <a:pt x="49162" y="15373"/>
                          </a:cubicBezTo>
                          <a:cubicBezTo>
                            <a:pt x="49102" y="15433"/>
                            <a:pt x="48982" y="15493"/>
                            <a:pt x="48922" y="15613"/>
                          </a:cubicBezTo>
                          <a:cubicBezTo>
                            <a:pt x="48863" y="15672"/>
                            <a:pt x="48743" y="15732"/>
                            <a:pt x="48683" y="15852"/>
                          </a:cubicBezTo>
                          <a:cubicBezTo>
                            <a:pt x="48623" y="15971"/>
                            <a:pt x="48504" y="16031"/>
                            <a:pt x="48444" y="16091"/>
                          </a:cubicBezTo>
                          <a:cubicBezTo>
                            <a:pt x="48145" y="16390"/>
                            <a:pt x="47846" y="16689"/>
                            <a:pt x="47487" y="16988"/>
                          </a:cubicBezTo>
                          <a:cubicBezTo>
                            <a:pt x="47188" y="17287"/>
                            <a:pt x="46889" y="17586"/>
                            <a:pt x="46530" y="17945"/>
                          </a:cubicBezTo>
                          <a:cubicBezTo>
                            <a:pt x="46231" y="18304"/>
                            <a:pt x="45932" y="18603"/>
                            <a:pt x="45633" y="18962"/>
                          </a:cubicBezTo>
                          <a:cubicBezTo>
                            <a:pt x="45334" y="19321"/>
                            <a:pt x="45035" y="19679"/>
                            <a:pt x="44736" y="20098"/>
                          </a:cubicBezTo>
                          <a:lnTo>
                            <a:pt x="39951" y="26139"/>
                          </a:lnTo>
                          <a:lnTo>
                            <a:pt x="39114" y="27155"/>
                          </a:lnTo>
                          <a:lnTo>
                            <a:pt x="34329" y="33196"/>
                          </a:lnTo>
                          <a:lnTo>
                            <a:pt x="33492" y="34212"/>
                          </a:lnTo>
                          <a:lnTo>
                            <a:pt x="31279" y="37024"/>
                          </a:lnTo>
                          <a:lnTo>
                            <a:pt x="30502" y="38040"/>
                          </a:lnTo>
                          <a:lnTo>
                            <a:pt x="28109" y="41090"/>
                          </a:lnTo>
                          <a:lnTo>
                            <a:pt x="27272" y="42107"/>
                          </a:lnTo>
                          <a:lnTo>
                            <a:pt x="26136" y="43542"/>
                          </a:lnTo>
                          <a:lnTo>
                            <a:pt x="25299" y="44559"/>
                          </a:lnTo>
                          <a:lnTo>
                            <a:pt x="21112" y="49882"/>
                          </a:lnTo>
                          <a:lnTo>
                            <a:pt x="20394" y="50719"/>
                          </a:lnTo>
                          <a:moveTo>
                            <a:pt x="0" y="43184"/>
                          </a:moveTo>
                          <a:lnTo>
                            <a:pt x="8493" y="48805"/>
                          </a:lnTo>
                          <a:lnTo>
                            <a:pt x="9510" y="49463"/>
                          </a:lnTo>
                          <a:lnTo>
                            <a:pt x="13815" y="52334"/>
                          </a:lnTo>
                          <a:lnTo>
                            <a:pt x="14832" y="52992"/>
                          </a:lnTo>
                          <a:lnTo>
                            <a:pt x="18361" y="55325"/>
                          </a:lnTo>
                          <a:lnTo>
                            <a:pt x="19198" y="54308"/>
                          </a:lnTo>
                          <a:lnTo>
                            <a:pt x="21471" y="51437"/>
                          </a:lnTo>
                          <a:lnTo>
                            <a:pt x="22248" y="50420"/>
                          </a:lnTo>
                          <a:lnTo>
                            <a:pt x="26435" y="45097"/>
                          </a:lnTo>
                          <a:lnTo>
                            <a:pt x="27272" y="44081"/>
                          </a:lnTo>
                          <a:lnTo>
                            <a:pt x="28408" y="42646"/>
                          </a:lnTo>
                          <a:lnTo>
                            <a:pt x="29246" y="41629"/>
                          </a:lnTo>
                          <a:lnTo>
                            <a:pt x="31638" y="38578"/>
                          </a:lnTo>
                          <a:lnTo>
                            <a:pt x="32416" y="37562"/>
                          </a:lnTo>
                          <a:lnTo>
                            <a:pt x="34629" y="34811"/>
                          </a:lnTo>
                          <a:lnTo>
                            <a:pt x="35466" y="33794"/>
                          </a:lnTo>
                          <a:lnTo>
                            <a:pt x="40251" y="27753"/>
                          </a:lnTo>
                          <a:lnTo>
                            <a:pt x="41088" y="26737"/>
                          </a:lnTo>
                          <a:lnTo>
                            <a:pt x="45872" y="20696"/>
                          </a:lnTo>
                          <a:cubicBezTo>
                            <a:pt x="46171" y="20277"/>
                            <a:pt x="46470" y="19918"/>
                            <a:pt x="46769" y="19560"/>
                          </a:cubicBezTo>
                          <a:cubicBezTo>
                            <a:pt x="47068" y="19201"/>
                            <a:pt x="47368" y="18842"/>
                            <a:pt x="47667" y="18543"/>
                          </a:cubicBezTo>
                          <a:cubicBezTo>
                            <a:pt x="47966" y="18184"/>
                            <a:pt x="48264" y="17885"/>
                            <a:pt x="48563" y="17586"/>
                          </a:cubicBezTo>
                          <a:cubicBezTo>
                            <a:pt x="48863" y="17287"/>
                            <a:pt x="49162" y="16988"/>
                            <a:pt x="49461" y="16749"/>
                          </a:cubicBezTo>
                          <a:cubicBezTo>
                            <a:pt x="49521" y="16689"/>
                            <a:pt x="49640" y="16569"/>
                            <a:pt x="49700" y="16510"/>
                          </a:cubicBezTo>
                          <a:cubicBezTo>
                            <a:pt x="49760" y="16450"/>
                            <a:pt x="49879" y="16390"/>
                            <a:pt x="49939" y="16270"/>
                          </a:cubicBezTo>
                          <a:cubicBezTo>
                            <a:pt x="49999" y="16210"/>
                            <a:pt x="50118" y="16151"/>
                            <a:pt x="50178" y="16031"/>
                          </a:cubicBezTo>
                          <a:cubicBezTo>
                            <a:pt x="50238" y="15971"/>
                            <a:pt x="50358" y="15911"/>
                            <a:pt x="50417" y="15852"/>
                          </a:cubicBezTo>
                          <a:cubicBezTo>
                            <a:pt x="51674" y="14895"/>
                            <a:pt x="52930" y="14177"/>
                            <a:pt x="54185" y="13699"/>
                          </a:cubicBezTo>
                          <a:cubicBezTo>
                            <a:pt x="55441" y="13220"/>
                            <a:pt x="56697" y="12981"/>
                            <a:pt x="58013" y="12981"/>
                          </a:cubicBezTo>
                          <a:cubicBezTo>
                            <a:pt x="59329" y="12981"/>
                            <a:pt x="60585" y="13220"/>
                            <a:pt x="61901" y="13699"/>
                          </a:cubicBezTo>
                          <a:cubicBezTo>
                            <a:pt x="63216" y="14177"/>
                            <a:pt x="64592" y="14895"/>
                            <a:pt x="65908" y="15852"/>
                          </a:cubicBezTo>
                          <a:lnTo>
                            <a:pt x="66745" y="14835"/>
                          </a:lnTo>
                          <a:lnTo>
                            <a:pt x="50059" y="3173"/>
                          </a:lnTo>
                          <a:cubicBezTo>
                            <a:pt x="49521" y="2814"/>
                            <a:pt x="48982" y="2455"/>
                            <a:pt x="48444" y="2156"/>
                          </a:cubicBezTo>
                          <a:cubicBezTo>
                            <a:pt x="47906" y="1857"/>
                            <a:pt x="47368" y="1558"/>
                            <a:pt x="46829" y="1319"/>
                          </a:cubicBezTo>
                          <a:cubicBezTo>
                            <a:pt x="46291" y="1079"/>
                            <a:pt x="45753" y="840"/>
                            <a:pt x="45214" y="661"/>
                          </a:cubicBezTo>
                          <a:cubicBezTo>
                            <a:pt x="44676" y="481"/>
                            <a:pt x="44138" y="362"/>
                            <a:pt x="43600" y="242"/>
                          </a:cubicBezTo>
                          <a:cubicBezTo>
                            <a:pt x="42224" y="-57"/>
                            <a:pt x="40848" y="-57"/>
                            <a:pt x="39473" y="122"/>
                          </a:cubicBezTo>
                          <a:cubicBezTo>
                            <a:pt x="38097" y="302"/>
                            <a:pt x="36722" y="721"/>
                            <a:pt x="35406" y="1438"/>
                          </a:cubicBezTo>
                          <a:cubicBezTo>
                            <a:pt x="34090" y="2096"/>
                            <a:pt x="32715" y="2993"/>
                            <a:pt x="31459" y="4130"/>
                          </a:cubicBezTo>
                          <a:cubicBezTo>
                            <a:pt x="30143" y="5266"/>
                            <a:pt x="28887" y="6641"/>
                            <a:pt x="27571" y="8256"/>
                          </a:cubicBezTo>
                          <a:lnTo>
                            <a:pt x="22727" y="14356"/>
                          </a:lnTo>
                          <a:lnTo>
                            <a:pt x="21890" y="15373"/>
                          </a:lnTo>
                          <a:lnTo>
                            <a:pt x="17045" y="21474"/>
                          </a:lnTo>
                          <a:lnTo>
                            <a:pt x="16208" y="22491"/>
                          </a:lnTo>
                          <a:lnTo>
                            <a:pt x="13995" y="25301"/>
                          </a:lnTo>
                          <a:lnTo>
                            <a:pt x="13218" y="26318"/>
                          </a:lnTo>
                          <a:lnTo>
                            <a:pt x="10766" y="29368"/>
                          </a:lnTo>
                          <a:lnTo>
                            <a:pt x="9928" y="30385"/>
                          </a:lnTo>
                          <a:lnTo>
                            <a:pt x="9450" y="31043"/>
                          </a:lnTo>
                          <a:lnTo>
                            <a:pt x="8612" y="32119"/>
                          </a:lnTo>
                          <a:lnTo>
                            <a:pt x="8014" y="32897"/>
                          </a:lnTo>
                          <a:lnTo>
                            <a:pt x="4785" y="36964"/>
                          </a:lnTo>
                          <a:lnTo>
                            <a:pt x="3828" y="38160"/>
                          </a:lnTo>
                          <a:lnTo>
                            <a:pt x="3768" y="38219"/>
                          </a:lnTo>
                          <a:lnTo>
                            <a:pt x="2990" y="39236"/>
                          </a:lnTo>
                          <a:lnTo>
                            <a:pt x="718" y="42107"/>
                          </a:lnTo>
                          <a:lnTo>
                            <a:pt x="0" y="43184"/>
                          </a:lnTo>
                        </a:path>
                      </a:pathLst>
                    </a:custGeom>
                    <a:noFill/>
                    <a:ln w="6350" cap="flat">
                      <a:solidFill>
                        <a:schemeClr val="bg1">
                          <a:alpha val="80000"/>
                        </a:schemeClr>
                      </a:solidFill>
                      <a:prstDash val="solid"/>
                      <a:miter/>
                    </a:ln>
                  </p:spPr>
                  <p:txBody>
                    <a:bodyPr rtlCol="0" anchor="ctr"/>
                    <a:lstStyle/>
                    <a:p>
                      <a:endParaRPr lang="en-GB"/>
                    </a:p>
                  </p:txBody>
                </p:sp>
                <p:sp>
                  <p:nvSpPr>
                    <p:cNvPr id="7458" name="Vrije vorm: vorm 7457">
                      <a:extLst>
                        <a:ext uri="{FF2B5EF4-FFF2-40B4-BE49-F238E27FC236}">
                          <a16:creationId xmlns:a16="http://schemas.microsoft.com/office/drawing/2014/main" id="{8E1AD436-DF2C-46C9-8584-D17FE5F6D4ED}"/>
                        </a:ext>
                      </a:extLst>
                    </p:cNvPr>
                    <p:cNvSpPr/>
                    <p:nvPr/>
                  </p:nvSpPr>
                  <p:spPr>
                    <a:xfrm>
                      <a:off x="4834174" y="5069716"/>
                      <a:ext cx="157654" cy="48386"/>
                    </a:xfrm>
                    <a:custGeom>
                      <a:avLst/>
                      <a:gdLst>
                        <a:gd name="connsiteX0" fmla="*/ 155861 w 157654"/>
                        <a:gd name="connsiteY0" fmla="*/ 12083 h 48386"/>
                        <a:gd name="connsiteX1" fmla="*/ 156219 w 157654"/>
                        <a:gd name="connsiteY1" fmla="*/ 11904 h 48386"/>
                        <a:gd name="connsiteX2" fmla="*/ 156578 w 157654"/>
                        <a:gd name="connsiteY2" fmla="*/ 11725 h 48386"/>
                        <a:gd name="connsiteX3" fmla="*/ 156937 w 157654"/>
                        <a:gd name="connsiteY3" fmla="*/ 11545 h 48386"/>
                        <a:gd name="connsiteX4" fmla="*/ 157296 w 157654"/>
                        <a:gd name="connsiteY4" fmla="*/ 11366 h 48386"/>
                        <a:gd name="connsiteX5" fmla="*/ 157535 w 157654"/>
                        <a:gd name="connsiteY5" fmla="*/ 10229 h 48386"/>
                        <a:gd name="connsiteX6" fmla="*/ 157655 w 157654"/>
                        <a:gd name="connsiteY6" fmla="*/ 9631 h 48386"/>
                        <a:gd name="connsiteX7" fmla="*/ 155741 w 157654"/>
                        <a:gd name="connsiteY7" fmla="*/ 9512 h 48386"/>
                        <a:gd name="connsiteX8" fmla="*/ 155322 w 157654"/>
                        <a:gd name="connsiteY8" fmla="*/ 9751 h 48386"/>
                        <a:gd name="connsiteX9" fmla="*/ 154903 w 157654"/>
                        <a:gd name="connsiteY9" fmla="*/ 9990 h 48386"/>
                        <a:gd name="connsiteX10" fmla="*/ 154485 w 157654"/>
                        <a:gd name="connsiteY10" fmla="*/ 10289 h 48386"/>
                        <a:gd name="connsiteX11" fmla="*/ 154066 w 157654"/>
                        <a:gd name="connsiteY11" fmla="*/ 10588 h 48386"/>
                        <a:gd name="connsiteX12" fmla="*/ 156279 w 157654"/>
                        <a:gd name="connsiteY12" fmla="*/ 10768 h 48386"/>
                        <a:gd name="connsiteX13" fmla="*/ 155861 w 157654"/>
                        <a:gd name="connsiteY13" fmla="*/ 12083 h 48386"/>
                        <a:gd name="connsiteX14" fmla="*/ 155262 w 157654"/>
                        <a:gd name="connsiteY14" fmla="*/ 15313 h 48386"/>
                        <a:gd name="connsiteX15" fmla="*/ 155561 w 157654"/>
                        <a:gd name="connsiteY15" fmla="*/ 15193 h 48386"/>
                        <a:gd name="connsiteX16" fmla="*/ 155861 w 157654"/>
                        <a:gd name="connsiteY16" fmla="*/ 15074 h 48386"/>
                        <a:gd name="connsiteX17" fmla="*/ 156160 w 157654"/>
                        <a:gd name="connsiteY17" fmla="*/ 15014 h 48386"/>
                        <a:gd name="connsiteX18" fmla="*/ 156458 w 157654"/>
                        <a:gd name="connsiteY18" fmla="*/ 14954 h 48386"/>
                        <a:gd name="connsiteX19" fmla="*/ 156817 w 157654"/>
                        <a:gd name="connsiteY19" fmla="*/ 13160 h 48386"/>
                        <a:gd name="connsiteX20" fmla="*/ 156458 w 157654"/>
                        <a:gd name="connsiteY20" fmla="*/ 13339 h 48386"/>
                        <a:gd name="connsiteX21" fmla="*/ 156100 w 157654"/>
                        <a:gd name="connsiteY21" fmla="*/ 13579 h 48386"/>
                        <a:gd name="connsiteX22" fmla="*/ 155741 w 157654"/>
                        <a:gd name="connsiteY22" fmla="*/ 13818 h 48386"/>
                        <a:gd name="connsiteX23" fmla="*/ 155382 w 157654"/>
                        <a:gd name="connsiteY23" fmla="*/ 14057 h 48386"/>
                        <a:gd name="connsiteX24" fmla="*/ 155262 w 157654"/>
                        <a:gd name="connsiteY24" fmla="*/ 15313 h 48386"/>
                        <a:gd name="connsiteX25" fmla="*/ 154963 w 157654"/>
                        <a:gd name="connsiteY25" fmla="*/ 20516 h 48386"/>
                        <a:gd name="connsiteX26" fmla="*/ 155083 w 157654"/>
                        <a:gd name="connsiteY26" fmla="*/ 20576 h 48386"/>
                        <a:gd name="connsiteX27" fmla="*/ 155202 w 157654"/>
                        <a:gd name="connsiteY27" fmla="*/ 20636 h 48386"/>
                        <a:gd name="connsiteX28" fmla="*/ 155322 w 157654"/>
                        <a:gd name="connsiteY28" fmla="*/ 20696 h 48386"/>
                        <a:gd name="connsiteX29" fmla="*/ 155442 w 157654"/>
                        <a:gd name="connsiteY29" fmla="*/ 20755 h 48386"/>
                        <a:gd name="connsiteX30" fmla="*/ 156339 w 157654"/>
                        <a:gd name="connsiteY30" fmla="*/ 16090 h 48386"/>
                        <a:gd name="connsiteX31" fmla="*/ 156040 w 157654"/>
                        <a:gd name="connsiteY31" fmla="*/ 16150 h 48386"/>
                        <a:gd name="connsiteX32" fmla="*/ 155741 w 157654"/>
                        <a:gd name="connsiteY32" fmla="*/ 16270 h 48386"/>
                        <a:gd name="connsiteX33" fmla="*/ 155502 w 157654"/>
                        <a:gd name="connsiteY33" fmla="*/ 16450 h 48386"/>
                        <a:gd name="connsiteX34" fmla="*/ 155262 w 157654"/>
                        <a:gd name="connsiteY34" fmla="*/ 16629 h 48386"/>
                        <a:gd name="connsiteX35" fmla="*/ 155202 w 157654"/>
                        <a:gd name="connsiteY35" fmla="*/ 16689 h 48386"/>
                        <a:gd name="connsiteX36" fmla="*/ 155143 w 157654"/>
                        <a:gd name="connsiteY36" fmla="*/ 16748 h 48386"/>
                        <a:gd name="connsiteX37" fmla="*/ 155083 w 157654"/>
                        <a:gd name="connsiteY37" fmla="*/ 16808 h 48386"/>
                        <a:gd name="connsiteX38" fmla="*/ 155023 w 157654"/>
                        <a:gd name="connsiteY38" fmla="*/ 16868 h 48386"/>
                        <a:gd name="connsiteX39" fmla="*/ 154485 w 157654"/>
                        <a:gd name="connsiteY39" fmla="*/ 19858 h 48386"/>
                        <a:gd name="connsiteX40" fmla="*/ 154545 w 157654"/>
                        <a:gd name="connsiteY40" fmla="*/ 19918 h 48386"/>
                        <a:gd name="connsiteX41" fmla="*/ 154604 w 157654"/>
                        <a:gd name="connsiteY41" fmla="*/ 19978 h 48386"/>
                        <a:gd name="connsiteX42" fmla="*/ 154664 w 157654"/>
                        <a:gd name="connsiteY42" fmla="*/ 20038 h 48386"/>
                        <a:gd name="connsiteX43" fmla="*/ 154724 w 157654"/>
                        <a:gd name="connsiteY43" fmla="*/ 20098 h 48386"/>
                        <a:gd name="connsiteX44" fmla="*/ 154784 w 157654"/>
                        <a:gd name="connsiteY44" fmla="*/ 20217 h 48386"/>
                        <a:gd name="connsiteX45" fmla="*/ 154903 w 157654"/>
                        <a:gd name="connsiteY45" fmla="*/ 20337 h 48386"/>
                        <a:gd name="connsiteX46" fmla="*/ 155023 w 157654"/>
                        <a:gd name="connsiteY46" fmla="*/ 20457 h 48386"/>
                        <a:gd name="connsiteX47" fmla="*/ 154963 w 157654"/>
                        <a:gd name="connsiteY47" fmla="*/ 20516 h 48386"/>
                        <a:gd name="connsiteX48" fmla="*/ 153229 w 157654"/>
                        <a:gd name="connsiteY48" fmla="*/ 26317 h 48386"/>
                        <a:gd name="connsiteX49" fmla="*/ 153468 w 157654"/>
                        <a:gd name="connsiteY49" fmla="*/ 25002 h 48386"/>
                        <a:gd name="connsiteX50" fmla="*/ 153468 w 157654"/>
                        <a:gd name="connsiteY50" fmla="*/ 25002 h 48386"/>
                        <a:gd name="connsiteX51" fmla="*/ 153229 w 157654"/>
                        <a:gd name="connsiteY51" fmla="*/ 26317 h 48386"/>
                        <a:gd name="connsiteX52" fmla="*/ 153229 w 157654"/>
                        <a:gd name="connsiteY52" fmla="*/ 26317 h 48386"/>
                        <a:gd name="connsiteX53" fmla="*/ 153229 w 157654"/>
                        <a:gd name="connsiteY53" fmla="*/ 26317 h 48386"/>
                        <a:gd name="connsiteX54" fmla="*/ 153229 w 157654"/>
                        <a:gd name="connsiteY54" fmla="*/ 26317 h 48386"/>
                        <a:gd name="connsiteX55" fmla="*/ 153229 w 157654"/>
                        <a:gd name="connsiteY55" fmla="*/ 26317 h 48386"/>
                        <a:gd name="connsiteX56" fmla="*/ 152571 w 157654"/>
                        <a:gd name="connsiteY56" fmla="*/ 36066 h 48386"/>
                        <a:gd name="connsiteX57" fmla="*/ 152571 w 157654"/>
                        <a:gd name="connsiteY57" fmla="*/ 36066 h 48386"/>
                        <a:gd name="connsiteX58" fmla="*/ 152571 w 157654"/>
                        <a:gd name="connsiteY58" fmla="*/ 36066 h 48386"/>
                        <a:gd name="connsiteX59" fmla="*/ 152571 w 157654"/>
                        <a:gd name="connsiteY59" fmla="*/ 36066 h 48386"/>
                        <a:gd name="connsiteX60" fmla="*/ 152571 w 157654"/>
                        <a:gd name="connsiteY60" fmla="*/ 36066 h 48386"/>
                        <a:gd name="connsiteX61" fmla="*/ 155262 w 157654"/>
                        <a:gd name="connsiteY61" fmla="*/ 21952 h 48386"/>
                        <a:gd name="connsiteX62" fmla="*/ 154963 w 157654"/>
                        <a:gd name="connsiteY62" fmla="*/ 21832 h 48386"/>
                        <a:gd name="connsiteX63" fmla="*/ 154724 w 157654"/>
                        <a:gd name="connsiteY63" fmla="*/ 21712 h 48386"/>
                        <a:gd name="connsiteX64" fmla="*/ 154485 w 157654"/>
                        <a:gd name="connsiteY64" fmla="*/ 21593 h 48386"/>
                        <a:gd name="connsiteX65" fmla="*/ 154246 w 157654"/>
                        <a:gd name="connsiteY65" fmla="*/ 21413 h 48386"/>
                        <a:gd name="connsiteX66" fmla="*/ 154246 w 157654"/>
                        <a:gd name="connsiteY66" fmla="*/ 21413 h 48386"/>
                        <a:gd name="connsiteX67" fmla="*/ 154246 w 157654"/>
                        <a:gd name="connsiteY67" fmla="*/ 21413 h 48386"/>
                        <a:gd name="connsiteX68" fmla="*/ 154246 w 157654"/>
                        <a:gd name="connsiteY68" fmla="*/ 21413 h 48386"/>
                        <a:gd name="connsiteX69" fmla="*/ 154246 w 157654"/>
                        <a:gd name="connsiteY69" fmla="*/ 21413 h 48386"/>
                        <a:gd name="connsiteX70" fmla="*/ 153767 w 157654"/>
                        <a:gd name="connsiteY70" fmla="*/ 23866 h 48386"/>
                        <a:gd name="connsiteX71" fmla="*/ 154903 w 157654"/>
                        <a:gd name="connsiteY71" fmla="*/ 23925 h 48386"/>
                        <a:gd name="connsiteX72" fmla="*/ 152571 w 157654"/>
                        <a:gd name="connsiteY72" fmla="*/ 36066 h 48386"/>
                        <a:gd name="connsiteX73" fmla="*/ 151076 w 157654"/>
                        <a:gd name="connsiteY73" fmla="*/ 41628 h 48386"/>
                        <a:gd name="connsiteX74" fmla="*/ 151195 w 157654"/>
                        <a:gd name="connsiteY74" fmla="*/ 41688 h 48386"/>
                        <a:gd name="connsiteX75" fmla="*/ 151315 w 157654"/>
                        <a:gd name="connsiteY75" fmla="*/ 41748 h 48386"/>
                        <a:gd name="connsiteX76" fmla="*/ 151435 w 157654"/>
                        <a:gd name="connsiteY76" fmla="*/ 41808 h 48386"/>
                        <a:gd name="connsiteX77" fmla="*/ 151554 w 157654"/>
                        <a:gd name="connsiteY77" fmla="*/ 41868 h 48386"/>
                        <a:gd name="connsiteX78" fmla="*/ 152392 w 157654"/>
                        <a:gd name="connsiteY78" fmla="*/ 37262 h 48386"/>
                        <a:gd name="connsiteX79" fmla="*/ 152392 w 157654"/>
                        <a:gd name="connsiteY79" fmla="*/ 37262 h 48386"/>
                        <a:gd name="connsiteX80" fmla="*/ 152392 w 157654"/>
                        <a:gd name="connsiteY80" fmla="*/ 37262 h 48386"/>
                        <a:gd name="connsiteX81" fmla="*/ 152392 w 157654"/>
                        <a:gd name="connsiteY81" fmla="*/ 37262 h 48386"/>
                        <a:gd name="connsiteX82" fmla="*/ 152392 w 157654"/>
                        <a:gd name="connsiteY82" fmla="*/ 37262 h 48386"/>
                        <a:gd name="connsiteX83" fmla="*/ 152212 w 157654"/>
                        <a:gd name="connsiteY83" fmla="*/ 38219 h 48386"/>
                        <a:gd name="connsiteX84" fmla="*/ 151674 w 157654"/>
                        <a:gd name="connsiteY84" fmla="*/ 38219 h 48386"/>
                        <a:gd name="connsiteX85" fmla="*/ 151076 w 157654"/>
                        <a:gd name="connsiteY85" fmla="*/ 38159 h 48386"/>
                        <a:gd name="connsiteX86" fmla="*/ 150538 w 157654"/>
                        <a:gd name="connsiteY86" fmla="*/ 40910 h 48386"/>
                        <a:gd name="connsiteX87" fmla="*/ 150597 w 157654"/>
                        <a:gd name="connsiteY87" fmla="*/ 40970 h 48386"/>
                        <a:gd name="connsiteX88" fmla="*/ 150657 w 157654"/>
                        <a:gd name="connsiteY88" fmla="*/ 41030 h 48386"/>
                        <a:gd name="connsiteX89" fmla="*/ 150717 w 157654"/>
                        <a:gd name="connsiteY89" fmla="*/ 41090 h 48386"/>
                        <a:gd name="connsiteX90" fmla="*/ 150777 w 157654"/>
                        <a:gd name="connsiteY90" fmla="*/ 41150 h 48386"/>
                        <a:gd name="connsiteX91" fmla="*/ 151076 w 157654"/>
                        <a:gd name="connsiteY91" fmla="*/ 41628 h 48386"/>
                        <a:gd name="connsiteX92" fmla="*/ 150956 w 157654"/>
                        <a:gd name="connsiteY92" fmla="*/ 44738 h 48386"/>
                        <a:gd name="connsiteX93" fmla="*/ 151255 w 157654"/>
                        <a:gd name="connsiteY93" fmla="*/ 43063 h 48386"/>
                        <a:gd name="connsiteX94" fmla="*/ 151016 w 157654"/>
                        <a:gd name="connsiteY94" fmla="*/ 43004 h 48386"/>
                        <a:gd name="connsiteX95" fmla="*/ 150777 w 157654"/>
                        <a:gd name="connsiteY95" fmla="*/ 42884 h 48386"/>
                        <a:gd name="connsiteX96" fmla="*/ 150538 w 157654"/>
                        <a:gd name="connsiteY96" fmla="*/ 42764 h 48386"/>
                        <a:gd name="connsiteX97" fmla="*/ 150298 w 157654"/>
                        <a:gd name="connsiteY97" fmla="*/ 42585 h 48386"/>
                        <a:gd name="connsiteX98" fmla="*/ 150298 w 157654"/>
                        <a:gd name="connsiteY98" fmla="*/ 42585 h 48386"/>
                        <a:gd name="connsiteX99" fmla="*/ 150298 w 157654"/>
                        <a:gd name="connsiteY99" fmla="*/ 42585 h 48386"/>
                        <a:gd name="connsiteX100" fmla="*/ 150298 w 157654"/>
                        <a:gd name="connsiteY100" fmla="*/ 42585 h 48386"/>
                        <a:gd name="connsiteX101" fmla="*/ 150298 w 157654"/>
                        <a:gd name="connsiteY101" fmla="*/ 42585 h 48386"/>
                        <a:gd name="connsiteX102" fmla="*/ 150059 w 157654"/>
                        <a:gd name="connsiteY102" fmla="*/ 43841 h 48386"/>
                        <a:gd name="connsiteX103" fmla="*/ 150298 w 157654"/>
                        <a:gd name="connsiteY103" fmla="*/ 44080 h 48386"/>
                        <a:gd name="connsiteX104" fmla="*/ 150538 w 157654"/>
                        <a:gd name="connsiteY104" fmla="*/ 44320 h 48386"/>
                        <a:gd name="connsiteX105" fmla="*/ 150777 w 157654"/>
                        <a:gd name="connsiteY105" fmla="*/ 44559 h 48386"/>
                        <a:gd name="connsiteX106" fmla="*/ 150956 w 157654"/>
                        <a:gd name="connsiteY106" fmla="*/ 44738 h 48386"/>
                        <a:gd name="connsiteX107" fmla="*/ 148624 w 157654"/>
                        <a:gd name="connsiteY107" fmla="*/ 48327 h 48386"/>
                        <a:gd name="connsiteX108" fmla="*/ 149700 w 157654"/>
                        <a:gd name="connsiteY108" fmla="*/ 48386 h 48386"/>
                        <a:gd name="connsiteX109" fmla="*/ 150239 w 157654"/>
                        <a:gd name="connsiteY109" fmla="*/ 48386 h 48386"/>
                        <a:gd name="connsiteX110" fmla="*/ 150597 w 157654"/>
                        <a:gd name="connsiteY110" fmla="*/ 46472 h 48386"/>
                        <a:gd name="connsiteX111" fmla="*/ 150358 w 157654"/>
                        <a:gd name="connsiteY111" fmla="*/ 46293 h 48386"/>
                        <a:gd name="connsiteX112" fmla="*/ 150119 w 157654"/>
                        <a:gd name="connsiteY112" fmla="*/ 46054 h 48386"/>
                        <a:gd name="connsiteX113" fmla="*/ 149880 w 157654"/>
                        <a:gd name="connsiteY113" fmla="*/ 45815 h 48386"/>
                        <a:gd name="connsiteX114" fmla="*/ 149640 w 157654"/>
                        <a:gd name="connsiteY114" fmla="*/ 45576 h 48386"/>
                        <a:gd name="connsiteX115" fmla="*/ 149341 w 157654"/>
                        <a:gd name="connsiteY115" fmla="*/ 47190 h 48386"/>
                        <a:gd name="connsiteX116" fmla="*/ 147308 w 157654"/>
                        <a:gd name="connsiteY116" fmla="*/ 47071 h 48386"/>
                        <a:gd name="connsiteX117" fmla="*/ 147607 w 157654"/>
                        <a:gd name="connsiteY117" fmla="*/ 47370 h 48386"/>
                        <a:gd name="connsiteX118" fmla="*/ 147906 w 157654"/>
                        <a:gd name="connsiteY118" fmla="*/ 47669 h 48386"/>
                        <a:gd name="connsiteX119" fmla="*/ 148265 w 157654"/>
                        <a:gd name="connsiteY119" fmla="*/ 47968 h 48386"/>
                        <a:gd name="connsiteX120" fmla="*/ 148624 w 157654"/>
                        <a:gd name="connsiteY120" fmla="*/ 48327 h 48386"/>
                        <a:gd name="connsiteX121" fmla="*/ 7598 w 157654"/>
                        <a:gd name="connsiteY121" fmla="*/ 37501 h 48386"/>
                        <a:gd name="connsiteX122" fmla="*/ 9811 w 157654"/>
                        <a:gd name="connsiteY122" fmla="*/ 38817 h 48386"/>
                        <a:gd name="connsiteX123" fmla="*/ 12263 w 157654"/>
                        <a:gd name="connsiteY123" fmla="*/ 39834 h 48386"/>
                        <a:gd name="connsiteX124" fmla="*/ 14895 w 157654"/>
                        <a:gd name="connsiteY124" fmla="*/ 40552 h 48386"/>
                        <a:gd name="connsiteX125" fmla="*/ 17706 w 157654"/>
                        <a:gd name="connsiteY125" fmla="*/ 40910 h 48386"/>
                        <a:gd name="connsiteX126" fmla="*/ 30086 w 157654"/>
                        <a:gd name="connsiteY126" fmla="*/ 41628 h 48386"/>
                        <a:gd name="connsiteX127" fmla="*/ 32179 w 157654"/>
                        <a:gd name="connsiteY127" fmla="*/ 41748 h 48386"/>
                        <a:gd name="connsiteX128" fmla="*/ 37741 w 157654"/>
                        <a:gd name="connsiteY128" fmla="*/ 42047 h 48386"/>
                        <a:gd name="connsiteX129" fmla="*/ 39177 w 157654"/>
                        <a:gd name="connsiteY129" fmla="*/ 42107 h 48386"/>
                        <a:gd name="connsiteX130" fmla="*/ 146710 w 157654"/>
                        <a:gd name="connsiteY130" fmla="*/ 48207 h 48386"/>
                        <a:gd name="connsiteX131" fmla="*/ 146411 w 157654"/>
                        <a:gd name="connsiteY131" fmla="*/ 47908 h 48386"/>
                        <a:gd name="connsiteX132" fmla="*/ 146112 w 157654"/>
                        <a:gd name="connsiteY132" fmla="*/ 47609 h 48386"/>
                        <a:gd name="connsiteX133" fmla="*/ 145813 w 157654"/>
                        <a:gd name="connsiteY133" fmla="*/ 47310 h 48386"/>
                        <a:gd name="connsiteX134" fmla="*/ 145514 w 157654"/>
                        <a:gd name="connsiteY134" fmla="*/ 47011 h 48386"/>
                        <a:gd name="connsiteX135" fmla="*/ 40014 w 157654"/>
                        <a:gd name="connsiteY135" fmla="*/ 40970 h 48386"/>
                        <a:gd name="connsiteX136" fmla="*/ 38578 w 157654"/>
                        <a:gd name="connsiteY136" fmla="*/ 40910 h 48386"/>
                        <a:gd name="connsiteX137" fmla="*/ 33734 w 157654"/>
                        <a:gd name="connsiteY137" fmla="*/ 40612 h 48386"/>
                        <a:gd name="connsiteX138" fmla="*/ 31820 w 157654"/>
                        <a:gd name="connsiteY138" fmla="*/ 40492 h 48386"/>
                        <a:gd name="connsiteX139" fmla="*/ 17766 w 157654"/>
                        <a:gd name="connsiteY139" fmla="*/ 39714 h 48386"/>
                        <a:gd name="connsiteX140" fmla="*/ 15134 w 157654"/>
                        <a:gd name="connsiteY140" fmla="*/ 39415 h 48386"/>
                        <a:gd name="connsiteX141" fmla="*/ 12682 w 157654"/>
                        <a:gd name="connsiteY141" fmla="*/ 38757 h 48386"/>
                        <a:gd name="connsiteX142" fmla="*/ 10409 w 157654"/>
                        <a:gd name="connsiteY142" fmla="*/ 37800 h 48386"/>
                        <a:gd name="connsiteX143" fmla="*/ 8316 w 157654"/>
                        <a:gd name="connsiteY143" fmla="*/ 36545 h 48386"/>
                        <a:gd name="connsiteX144" fmla="*/ 4907 w 157654"/>
                        <a:gd name="connsiteY144" fmla="*/ 33315 h 48386"/>
                        <a:gd name="connsiteX145" fmla="*/ 2515 w 157654"/>
                        <a:gd name="connsiteY145" fmla="*/ 29248 h 48386"/>
                        <a:gd name="connsiteX146" fmla="*/ 1259 w 157654"/>
                        <a:gd name="connsiteY146" fmla="*/ 24583 h 48386"/>
                        <a:gd name="connsiteX147" fmla="*/ 1378 w 157654"/>
                        <a:gd name="connsiteY147" fmla="*/ 19440 h 48386"/>
                        <a:gd name="connsiteX148" fmla="*/ 2335 w 157654"/>
                        <a:gd name="connsiteY148" fmla="*/ 15672 h 48386"/>
                        <a:gd name="connsiteX149" fmla="*/ 4010 w 157654"/>
                        <a:gd name="connsiteY149" fmla="*/ 12143 h 48386"/>
                        <a:gd name="connsiteX150" fmla="*/ 6342 w 157654"/>
                        <a:gd name="connsiteY150" fmla="*/ 8914 h 48386"/>
                        <a:gd name="connsiteX151" fmla="*/ 9273 w 157654"/>
                        <a:gd name="connsiteY151" fmla="*/ 6103 h 48386"/>
                        <a:gd name="connsiteX152" fmla="*/ 12622 w 157654"/>
                        <a:gd name="connsiteY152" fmla="*/ 3890 h 48386"/>
                        <a:gd name="connsiteX153" fmla="*/ 16270 w 157654"/>
                        <a:gd name="connsiteY153" fmla="*/ 2335 h 48386"/>
                        <a:gd name="connsiteX154" fmla="*/ 20098 w 157654"/>
                        <a:gd name="connsiteY154" fmla="*/ 1498 h 48386"/>
                        <a:gd name="connsiteX155" fmla="*/ 23985 w 157654"/>
                        <a:gd name="connsiteY155" fmla="*/ 1378 h 48386"/>
                        <a:gd name="connsiteX156" fmla="*/ 36664 w 157654"/>
                        <a:gd name="connsiteY156" fmla="*/ 2275 h 48386"/>
                        <a:gd name="connsiteX157" fmla="*/ 38758 w 157654"/>
                        <a:gd name="connsiteY157" fmla="*/ 2395 h 48386"/>
                        <a:gd name="connsiteX158" fmla="*/ 43363 w 157654"/>
                        <a:gd name="connsiteY158" fmla="*/ 2694 h 48386"/>
                        <a:gd name="connsiteX159" fmla="*/ 45038 w 157654"/>
                        <a:gd name="connsiteY159" fmla="*/ 2813 h 48386"/>
                        <a:gd name="connsiteX160" fmla="*/ 152212 w 157654"/>
                        <a:gd name="connsiteY160" fmla="*/ 10349 h 48386"/>
                        <a:gd name="connsiteX161" fmla="*/ 152571 w 157654"/>
                        <a:gd name="connsiteY161" fmla="*/ 10050 h 48386"/>
                        <a:gd name="connsiteX162" fmla="*/ 152930 w 157654"/>
                        <a:gd name="connsiteY162" fmla="*/ 9751 h 48386"/>
                        <a:gd name="connsiteX163" fmla="*/ 153348 w 157654"/>
                        <a:gd name="connsiteY163" fmla="*/ 9512 h 48386"/>
                        <a:gd name="connsiteX164" fmla="*/ 153767 w 157654"/>
                        <a:gd name="connsiteY164" fmla="*/ 9273 h 48386"/>
                        <a:gd name="connsiteX165" fmla="*/ 44140 w 157654"/>
                        <a:gd name="connsiteY165" fmla="*/ 1498 h 48386"/>
                        <a:gd name="connsiteX166" fmla="*/ 42346 w 157654"/>
                        <a:gd name="connsiteY166" fmla="*/ 1378 h 48386"/>
                        <a:gd name="connsiteX167" fmla="*/ 37323 w 157654"/>
                        <a:gd name="connsiteY167" fmla="*/ 1019 h 48386"/>
                        <a:gd name="connsiteX168" fmla="*/ 34930 w 157654"/>
                        <a:gd name="connsiteY168" fmla="*/ 840 h 48386"/>
                        <a:gd name="connsiteX169" fmla="*/ 24285 w 157654"/>
                        <a:gd name="connsiteY169" fmla="*/ 62 h 48386"/>
                        <a:gd name="connsiteX170" fmla="*/ 20158 w 157654"/>
                        <a:gd name="connsiteY170" fmla="*/ 182 h 48386"/>
                        <a:gd name="connsiteX171" fmla="*/ 16091 w 157654"/>
                        <a:gd name="connsiteY171" fmla="*/ 1079 h 48386"/>
                        <a:gd name="connsiteX172" fmla="*/ 12203 w 157654"/>
                        <a:gd name="connsiteY172" fmla="*/ 2694 h 48386"/>
                        <a:gd name="connsiteX173" fmla="*/ 8615 w 157654"/>
                        <a:gd name="connsiteY173" fmla="*/ 5086 h 48386"/>
                        <a:gd name="connsiteX174" fmla="*/ 5505 w 157654"/>
                        <a:gd name="connsiteY174" fmla="*/ 8076 h 48386"/>
                        <a:gd name="connsiteX175" fmla="*/ 3053 w 157654"/>
                        <a:gd name="connsiteY175" fmla="*/ 11485 h 48386"/>
                        <a:gd name="connsiteX176" fmla="*/ 1259 w 157654"/>
                        <a:gd name="connsiteY176" fmla="*/ 15253 h 48386"/>
                        <a:gd name="connsiteX177" fmla="*/ 242 w 157654"/>
                        <a:gd name="connsiteY177" fmla="*/ 19260 h 48386"/>
                        <a:gd name="connsiteX178" fmla="*/ 122 w 157654"/>
                        <a:gd name="connsiteY178" fmla="*/ 24703 h 48386"/>
                        <a:gd name="connsiteX179" fmla="*/ 1438 w 157654"/>
                        <a:gd name="connsiteY179" fmla="*/ 29667 h 48386"/>
                        <a:gd name="connsiteX180" fmla="*/ 4010 w 157654"/>
                        <a:gd name="connsiteY180" fmla="*/ 33973 h 48386"/>
                        <a:gd name="connsiteX181" fmla="*/ 7598 w 157654"/>
                        <a:gd name="connsiteY181" fmla="*/ 37501 h 4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57654" h="48386">
                          <a:moveTo>
                            <a:pt x="155861" y="12083"/>
                          </a:moveTo>
                          <a:cubicBezTo>
                            <a:pt x="155980" y="12023"/>
                            <a:pt x="156100" y="11964"/>
                            <a:pt x="156219" y="11904"/>
                          </a:cubicBezTo>
                          <a:cubicBezTo>
                            <a:pt x="156339" y="11844"/>
                            <a:pt x="156458" y="11784"/>
                            <a:pt x="156578" y="11725"/>
                          </a:cubicBezTo>
                          <a:cubicBezTo>
                            <a:pt x="156698" y="11665"/>
                            <a:pt x="156817" y="11605"/>
                            <a:pt x="156937" y="11545"/>
                          </a:cubicBezTo>
                          <a:cubicBezTo>
                            <a:pt x="157056" y="11485"/>
                            <a:pt x="157176" y="11426"/>
                            <a:pt x="157296" y="11366"/>
                          </a:cubicBezTo>
                          <a:lnTo>
                            <a:pt x="157535" y="10229"/>
                          </a:lnTo>
                          <a:lnTo>
                            <a:pt x="157655" y="9631"/>
                          </a:lnTo>
                          <a:lnTo>
                            <a:pt x="155741" y="9512"/>
                          </a:lnTo>
                          <a:cubicBezTo>
                            <a:pt x="155621" y="9572"/>
                            <a:pt x="155442" y="9691"/>
                            <a:pt x="155322" y="9751"/>
                          </a:cubicBezTo>
                          <a:cubicBezTo>
                            <a:pt x="155202" y="9811"/>
                            <a:pt x="155023" y="9930"/>
                            <a:pt x="154903" y="9990"/>
                          </a:cubicBezTo>
                          <a:cubicBezTo>
                            <a:pt x="154784" y="10050"/>
                            <a:pt x="154604" y="10169"/>
                            <a:pt x="154485" y="10289"/>
                          </a:cubicBezTo>
                          <a:cubicBezTo>
                            <a:pt x="154365" y="10409"/>
                            <a:pt x="154186" y="10469"/>
                            <a:pt x="154066" y="10588"/>
                          </a:cubicBezTo>
                          <a:lnTo>
                            <a:pt x="156279" y="10768"/>
                          </a:lnTo>
                          <a:lnTo>
                            <a:pt x="155861" y="12083"/>
                          </a:lnTo>
                          <a:moveTo>
                            <a:pt x="155262" y="15313"/>
                          </a:moveTo>
                          <a:cubicBezTo>
                            <a:pt x="155382" y="15253"/>
                            <a:pt x="155442" y="15193"/>
                            <a:pt x="155561" y="15193"/>
                          </a:cubicBezTo>
                          <a:cubicBezTo>
                            <a:pt x="155681" y="15134"/>
                            <a:pt x="155741" y="15134"/>
                            <a:pt x="155861" y="15074"/>
                          </a:cubicBezTo>
                          <a:cubicBezTo>
                            <a:pt x="155980" y="15014"/>
                            <a:pt x="156100" y="15014"/>
                            <a:pt x="156160" y="15014"/>
                          </a:cubicBezTo>
                          <a:cubicBezTo>
                            <a:pt x="156279" y="15014"/>
                            <a:pt x="156399" y="14954"/>
                            <a:pt x="156458" y="14954"/>
                          </a:cubicBezTo>
                          <a:lnTo>
                            <a:pt x="156817" y="13160"/>
                          </a:lnTo>
                          <a:cubicBezTo>
                            <a:pt x="156698" y="13220"/>
                            <a:pt x="156578" y="13280"/>
                            <a:pt x="156458" y="13339"/>
                          </a:cubicBezTo>
                          <a:cubicBezTo>
                            <a:pt x="156339" y="13399"/>
                            <a:pt x="156219" y="13459"/>
                            <a:pt x="156100" y="13579"/>
                          </a:cubicBezTo>
                          <a:cubicBezTo>
                            <a:pt x="155980" y="13638"/>
                            <a:pt x="155861" y="13698"/>
                            <a:pt x="155741" y="13818"/>
                          </a:cubicBezTo>
                          <a:cubicBezTo>
                            <a:pt x="155621" y="13877"/>
                            <a:pt x="155502" y="13997"/>
                            <a:pt x="155382" y="14057"/>
                          </a:cubicBezTo>
                          <a:lnTo>
                            <a:pt x="155262" y="15313"/>
                          </a:lnTo>
                          <a:moveTo>
                            <a:pt x="154963" y="20516"/>
                          </a:moveTo>
                          <a:cubicBezTo>
                            <a:pt x="155023" y="20516"/>
                            <a:pt x="155023" y="20576"/>
                            <a:pt x="155083" y="20576"/>
                          </a:cubicBezTo>
                          <a:cubicBezTo>
                            <a:pt x="155143" y="20576"/>
                            <a:pt x="155143" y="20636"/>
                            <a:pt x="155202" y="20636"/>
                          </a:cubicBezTo>
                          <a:cubicBezTo>
                            <a:pt x="155262" y="20636"/>
                            <a:pt x="155262" y="20696"/>
                            <a:pt x="155322" y="20696"/>
                          </a:cubicBezTo>
                          <a:cubicBezTo>
                            <a:pt x="155382" y="20696"/>
                            <a:pt x="155382" y="20755"/>
                            <a:pt x="155442" y="20755"/>
                          </a:cubicBezTo>
                          <a:lnTo>
                            <a:pt x="156339" y="16090"/>
                          </a:lnTo>
                          <a:cubicBezTo>
                            <a:pt x="156219" y="16090"/>
                            <a:pt x="156160" y="16150"/>
                            <a:pt x="156040" y="16150"/>
                          </a:cubicBezTo>
                          <a:cubicBezTo>
                            <a:pt x="155920" y="16210"/>
                            <a:pt x="155861" y="16210"/>
                            <a:pt x="155741" y="16270"/>
                          </a:cubicBezTo>
                          <a:cubicBezTo>
                            <a:pt x="155621" y="16330"/>
                            <a:pt x="155561" y="16390"/>
                            <a:pt x="155502" y="16450"/>
                          </a:cubicBezTo>
                          <a:cubicBezTo>
                            <a:pt x="155442" y="16509"/>
                            <a:pt x="155322" y="16569"/>
                            <a:pt x="155262" y="16629"/>
                          </a:cubicBezTo>
                          <a:cubicBezTo>
                            <a:pt x="155262" y="16629"/>
                            <a:pt x="155202" y="16689"/>
                            <a:pt x="155202" y="16689"/>
                          </a:cubicBezTo>
                          <a:cubicBezTo>
                            <a:pt x="155202" y="16689"/>
                            <a:pt x="155143" y="16748"/>
                            <a:pt x="155143" y="16748"/>
                          </a:cubicBezTo>
                          <a:cubicBezTo>
                            <a:pt x="155143" y="16748"/>
                            <a:pt x="155083" y="16808"/>
                            <a:pt x="155083" y="16808"/>
                          </a:cubicBezTo>
                          <a:cubicBezTo>
                            <a:pt x="155083" y="16808"/>
                            <a:pt x="155023" y="16868"/>
                            <a:pt x="155023" y="16868"/>
                          </a:cubicBezTo>
                          <a:lnTo>
                            <a:pt x="154485" y="19858"/>
                          </a:lnTo>
                          <a:cubicBezTo>
                            <a:pt x="154485" y="19858"/>
                            <a:pt x="154485" y="19918"/>
                            <a:pt x="154545" y="19918"/>
                          </a:cubicBezTo>
                          <a:cubicBezTo>
                            <a:pt x="154545" y="19918"/>
                            <a:pt x="154545" y="19978"/>
                            <a:pt x="154604" y="19978"/>
                          </a:cubicBezTo>
                          <a:cubicBezTo>
                            <a:pt x="154604" y="19978"/>
                            <a:pt x="154604" y="20038"/>
                            <a:pt x="154664" y="20038"/>
                          </a:cubicBezTo>
                          <a:cubicBezTo>
                            <a:pt x="154664" y="20038"/>
                            <a:pt x="154664" y="20098"/>
                            <a:pt x="154724" y="20098"/>
                          </a:cubicBezTo>
                          <a:cubicBezTo>
                            <a:pt x="154724" y="20158"/>
                            <a:pt x="154784" y="20158"/>
                            <a:pt x="154784" y="20217"/>
                          </a:cubicBezTo>
                          <a:cubicBezTo>
                            <a:pt x="154844" y="20277"/>
                            <a:pt x="154844" y="20277"/>
                            <a:pt x="154903" y="20337"/>
                          </a:cubicBezTo>
                          <a:cubicBezTo>
                            <a:pt x="154963" y="20397"/>
                            <a:pt x="154963" y="20397"/>
                            <a:pt x="155023" y="20457"/>
                          </a:cubicBezTo>
                          <a:cubicBezTo>
                            <a:pt x="154903" y="20457"/>
                            <a:pt x="154963" y="20457"/>
                            <a:pt x="154963" y="20516"/>
                          </a:cubicBezTo>
                          <a:moveTo>
                            <a:pt x="153229" y="26317"/>
                          </a:moveTo>
                          <a:lnTo>
                            <a:pt x="153468" y="25002"/>
                          </a:lnTo>
                          <a:lnTo>
                            <a:pt x="153468" y="25002"/>
                          </a:lnTo>
                          <a:lnTo>
                            <a:pt x="153229" y="26317"/>
                          </a:lnTo>
                          <a:cubicBezTo>
                            <a:pt x="153229" y="26317"/>
                            <a:pt x="153229" y="26317"/>
                            <a:pt x="153229" y="26317"/>
                          </a:cubicBezTo>
                          <a:cubicBezTo>
                            <a:pt x="153229" y="26317"/>
                            <a:pt x="153229" y="26317"/>
                            <a:pt x="153229" y="26317"/>
                          </a:cubicBezTo>
                          <a:cubicBezTo>
                            <a:pt x="153229" y="26317"/>
                            <a:pt x="153229" y="26317"/>
                            <a:pt x="153229" y="26317"/>
                          </a:cubicBezTo>
                          <a:cubicBezTo>
                            <a:pt x="153229" y="26317"/>
                            <a:pt x="153229" y="26317"/>
                            <a:pt x="153229" y="26317"/>
                          </a:cubicBezTo>
                          <a:moveTo>
                            <a:pt x="152571" y="36066"/>
                          </a:moveTo>
                          <a:cubicBezTo>
                            <a:pt x="152571" y="36066"/>
                            <a:pt x="152571" y="36066"/>
                            <a:pt x="152571" y="36066"/>
                          </a:cubicBezTo>
                          <a:cubicBezTo>
                            <a:pt x="152571" y="36066"/>
                            <a:pt x="152571" y="36066"/>
                            <a:pt x="152571" y="36066"/>
                          </a:cubicBezTo>
                          <a:cubicBezTo>
                            <a:pt x="152571" y="36066"/>
                            <a:pt x="152571" y="36066"/>
                            <a:pt x="152571" y="36066"/>
                          </a:cubicBezTo>
                          <a:cubicBezTo>
                            <a:pt x="152571" y="36066"/>
                            <a:pt x="152571" y="36066"/>
                            <a:pt x="152571" y="36066"/>
                          </a:cubicBezTo>
                          <a:lnTo>
                            <a:pt x="155262" y="21952"/>
                          </a:lnTo>
                          <a:cubicBezTo>
                            <a:pt x="155143" y="21952"/>
                            <a:pt x="155083" y="21892"/>
                            <a:pt x="154963" y="21832"/>
                          </a:cubicBezTo>
                          <a:cubicBezTo>
                            <a:pt x="154903" y="21772"/>
                            <a:pt x="154784" y="21772"/>
                            <a:pt x="154724" y="21712"/>
                          </a:cubicBezTo>
                          <a:cubicBezTo>
                            <a:pt x="154664" y="21653"/>
                            <a:pt x="154545" y="21653"/>
                            <a:pt x="154485" y="21593"/>
                          </a:cubicBezTo>
                          <a:cubicBezTo>
                            <a:pt x="154425" y="21533"/>
                            <a:pt x="154306" y="21473"/>
                            <a:pt x="154246" y="21413"/>
                          </a:cubicBezTo>
                          <a:cubicBezTo>
                            <a:pt x="154246" y="21413"/>
                            <a:pt x="154246" y="21413"/>
                            <a:pt x="154246" y="21413"/>
                          </a:cubicBezTo>
                          <a:cubicBezTo>
                            <a:pt x="154246" y="21413"/>
                            <a:pt x="154246" y="21413"/>
                            <a:pt x="154246" y="21413"/>
                          </a:cubicBezTo>
                          <a:cubicBezTo>
                            <a:pt x="154246" y="21413"/>
                            <a:pt x="154246" y="21413"/>
                            <a:pt x="154246" y="21413"/>
                          </a:cubicBezTo>
                          <a:cubicBezTo>
                            <a:pt x="154246" y="21413"/>
                            <a:pt x="154246" y="21413"/>
                            <a:pt x="154246" y="21413"/>
                          </a:cubicBezTo>
                          <a:lnTo>
                            <a:pt x="153767" y="23866"/>
                          </a:lnTo>
                          <a:lnTo>
                            <a:pt x="154903" y="23925"/>
                          </a:lnTo>
                          <a:lnTo>
                            <a:pt x="152571" y="36066"/>
                          </a:lnTo>
                          <a:moveTo>
                            <a:pt x="151076" y="41628"/>
                          </a:moveTo>
                          <a:cubicBezTo>
                            <a:pt x="151136" y="41628"/>
                            <a:pt x="151136" y="41688"/>
                            <a:pt x="151195" y="41688"/>
                          </a:cubicBezTo>
                          <a:cubicBezTo>
                            <a:pt x="151255" y="41688"/>
                            <a:pt x="151255" y="41748"/>
                            <a:pt x="151315" y="41748"/>
                          </a:cubicBezTo>
                          <a:cubicBezTo>
                            <a:pt x="151375" y="41748"/>
                            <a:pt x="151375" y="41808"/>
                            <a:pt x="151435" y="41808"/>
                          </a:cubicBezTo>
                          <a:cubicBezTo>
                            <a:pt x="151494" y="41808"/>
                            <a:pt x="151494" y="41868"/>
                            <a:pt x="151554" y="41868"/>
                          </a:cubicBezTo>
                          <a:lnTo>
                            <a:pt x="152392" y="37262"/>
                          </a:lnTo>
                          <a:cubicBezTo>
                            <a:pt x="152392" y="37262"/>
                            <a:pt x="152392" y="37262"/>
                            <a:pt x="152392" y="37262"/>
                          </a:cubicBezTo>
                          <a:cubicBezTo>
                            <a:pt x="152392" y="37262"/>
                            <a:pt x="152392" y="37262"/>
                            <a:pt x="152392" y="37262"/>
                          </a:cubicBezTo>
                          <a:cubicBezTo>
                            <a:pt x="152392" y="37262"/>
                            <a:pt x="152392" y="37262"/>
                            <a:pt x="152392" y="37262"/>
                          </a:cubicBezTo>
                          <a:cubicBezTo>
                            <a:pt x="152392" y="37262"/>
                            <a:pt x="152392" y="37262"/>
                            <a:pt x="152392" y="37262"/>
                          </a:cubicBezTo>
                          <a:lnTo>
                            <a:pt x="152212" y="38219"/>
                          </a:lnTo>
                          <a:lnTo>
                            <a:pt x="151674" y="38219"/>
                          </a:lnTo>
                          <a:lnTo>
                            <a:pt x="151076" y="38159"/>
                          </a:lnTo>
                          <a:lnTo>
                            <a:pt x="150538" y="40910"/>
                          </a:lnTo>
                          <a:cubicBezTo>
                            <a:pt x="150538" y="40910"/>
                            <a:pt x="150538" y="40970"/>
                            <a:pt x="150597" y="40970"/>
                          </a:cubicBezTo>
                          <a:cubicBezTo>
                            <a:pt x="150657" y="40970"/>
                            <a:pt x="150597" y="41030"/>
                            <a:pt x="150657" y="41030"/>
                          </a:cubicBezTo>
                          <a:cubicBezTo>
                            <a:pt x="150657" y="41030"/>
                            <a:pt x="150657" y="41090"/>
                            <a:pt x="150717" y="41090"/>
                          </a:cubicBezTo>
                          <a:cubicBezTo>
                            <a:pt x="150777" y="41090"/>
                            <a:pt x="150717" y="41150"/>
                            <a:pt x="150777" y="41150"/>
                          </a:cubicBezTo>
                          <a:lnTo>
                            <a:pt x="151076" y="41628"/>
                          </a:lnTo>
                          <a:moveTo>
                            <a:pt x="150956" y="44738"/>
                          </a:moveTo>
                          <a:lnTo>
                            <a:pt x="151255" y="43063"/>
                          </a:lnTo>
                          <a:cubicBezTo>
                            <a:pt x="151195" y="43063"/>
                            <a:pt x="151076" y="43004"/>
                            <a:pt x="151016" y="43004"/>
                          </a:cubicBezTo>
                          <a:cubicBezTo>
                            <a:pt x="150956" y="43004"/>
                            <a:pt x="150837" y="42944"/>
                            <a:pt x="150777" y="42884"/>
                          </a:cubicBezTo>
                          <a:cubicBezTo>
                            <a:pt x="150717" y="42824"/>
                            <a:pt x="150597" y="42824"/>
                            <a:pt x="150538" y="42764"/>
                          </a:cubicBezTo>
                          <a:cubicBezTo>
                            <a:pt x="150478" y="42705"/>
                            <a:pt x="150358" y="42645"/>
                            <a:pt x="150298" y="42585"/>
                          </a:cubicBezTo>
                          <a:cubicBezTo>
                            <a:pt x="150298" y="42585"/>
                            <a:pt x="150298" y="42585"/>
                            <a:pt x="150298" y="42585"/>
                          </a:cubicBezTo>
                          <a:cubicBezTo>
                            <a:pt x="150298" y="42585"/>
                            <a:pt x="150298" y="42585"/>
                            <a:pt x="150298" y="42585"/>
                          </a:cubicBezTo>
                          <a:cubicBezTo>
                            <a:pt x="150298" y="42585"/>
                            <a:pt x="150298" y="42585"/>
                            <a:pt x="150298" y="42585"/>
                          </a:cubicBezTo>
                          <a:cubicBezTo>
                            <a:pt x="150298" y="42585"/>
                            <a:pt x="150298" y="42585"/>
                            <a:pt x="150298" y="42585"/>
                          </a:cubicBezTo>
                          <a:lnTo>
                            <a:pt x="150059" y="43841"/>
                          </a:lnTo>
                          <a:cubicBezTo>
                            <a:pt x="150119" y="43901"/>
                            <a:pt x="150239" y="44021"/>
                            <a:pt x="150298" y="44080"/>
                          </a:cubicBezTo>
                          <a:cubicBezTo>
                            <a:pt x="150358" y="44140"/>
                            <a:pt x="150478" y="44260"/>
                            <a:pt x="150538" y="44320"/>
                          </a:cubicBezTo>
                          <a:cubicBezTo>
                            <a:pt x="150597" y="44379"/>
                            <a:pt x="150717" y="44499"/>
                            <a:pt x="150777" y="44559"/>
                          </a:cubicBezTo>
                          <a:cubicBezTo>
                            <a:pt x="150777" y="44618"/>
                            <a:pt x="150837" y="44678"/>
                            <a:pt x="150956" y="44738"/>
                          </a:cubicBezTo>
                          <a:moveTo>
                            <a:pt x="148624" y="48327"/>
                          </a:moveTo>
                          <a:lnTo>
                            <a:pt x="149700" y="48386"/>
                          </a:lnTo>
                          <a:lnTo>
                            <a:pt x="150239" y="48386"/>
                          </a:lnTo>
                          <a:lnTo>
                            <a:pt x="150597" y="46472"/>
                          </a:lnTo>
                          <a:cubicBezTo>
                            <a:pt x="150538" y="46413"/>
                            <a:pt x="150418" y="46353"/>
                            <a:pt x="150358" y="46293"/>
                          </a:cubicBezTo>
                          <a:cubicBezTo>
                            <a:pt x="150298" y="46233"/>
                            <a:pt x="150179" y="46174"/>
                            <a:pt x="150119" y="46054"/>
                          </a:cubicBezTo>
                          <a:cubicBezTo>
                            <a:pt x="150059" y="45994"/>
                            <a:pt x="149939" y="45934"/>
                            <a:pt x="149880" y="45815"/>
                          </a:cubicBezTo>
                          <a:cubicBezTo>
                            <a:pt x="149820" y="45755"/>
                            <a:pt x="149700" y="45695"/>
                            <a:pt x="149640" y="45576"/>
                          </a:cubicBezTo>
                          <a:lnTo>
                            <a:pt x="149341" y="47190"/>
                          </a:lnTo>
                          <a:lnTo>
                            <a:pt x="147308" y="47071"/>
                          </a:lnTo>
                          <a:cubicBezTo>
                            <a:pt x="147428" y="47190"/>
                            <a:pt x="147547" y="47310"/>
                            <a:pt x="147607" y="47370"/>
                          </a:cubicBezTo>
                          <a:cubicBezTo>
                            <a:pt x="147726" y="47489"/>
                            <a:pt x="147846" y="47609"/>
                            <a:pt x="147906" y="47669"/>
                          </a:cubicBezTo>
                          <a:cubicBezTo>
                            <a:pt x="148026" y="47788"/>
                            <a:pt x="148145" y="47848"/>
                            <a:pt x="148265" y="47968"/>
                          </a:cubicBezTo>
                          <a:cubicBezTo>
                            <a:pt x="148385" y="48147"/>
                            <a:pt x="148504" y="48267"/>
                            <a:pt x="148624" y="48327"/>
                          </a:cubicBezTo>
                          <a:moveTo>
                            <a:pt x="7598" y="37501"/>
                          </a:moveTo>
                          <a:cubicBezTo>
                            <a:pt x="8316" y="37980"/>
                            <a:pt x="9034" y="38459"/>
                            <a:pt x="9811" y="38817"/>
                          </a:cubicBezTo>
                          <a:cubicBezTo>
                            <a:pt x="10589" y="39236"/>
                            <a:pt x="11426" y="39535"/>
                            <a:pt x="12263" y="39834"/>
                          </a:cubicBezTo>
                          <a:cubicBezTo>
                            <a:pt x="13101" y="40133"/>
                            <a:pt x="13998" y="40372"/>
                            <a:pt x="14895" y="40552"/>
                          </a:cubicBezTo>
                          <a:cubicBezTo>
                            <a:pt x="15792" y="40731"/>
                            <a:pt x="16749" y="40851"/>
                            <a:pt x="17706" y="40910"/>
                          </a:cubicBezTo>
                          <a:lnTo>
                            <a:pt x="30086" y="41628"/>
                          </a:lnTo>
                          <a:lnTo>
                            <a:pt x="32179" y="41748"/>
                          </a:lnTo>
                          <a:lnTo>
                            <a:pt x="37741" y="42047"/>
                          </a:lnTo>
                          <a:lnTo>
                            <a:pt x="39177" y="42107"/>
                          </a:lnTo>
                          <a:lnTo>
                            <a:pt x="146710" y="48207"/>
                          </a:lnTo>
                          <a:cubicBezTo>
                            <a:pt x="146590" y="48087"/>
                            <a:pt x="146531" y="48028"/>
                            <a:pt x="146411" y="47908"/>
                          </a:cubicBezTo>
                          <a:cubicBezTo>
                            <a:pt x="146291" y="47788"/>
                            <a:pt x="146231" y="47729"/>
                            <a:pt x="146112" y="47609"/>
                          </a:cubicBezTo>
                          <a:cubicBezTo>
                            <a:pt x="145992" y="47489"/>
                            <a:pt x="145932" y="47430"/>
                            <a:pt x="145813" y="47310"/>
                          </a:cubicBezTo>
                          <a:cubicBezTo>
                            <a:pt x="145693" y="47190"/>
                            <a:pt x="145633" y="47071"/>
                            <a:pt x="145514" y="47011"/>
                          </a:cubicBezTo>
                          <a:lnTo>
                            <a:pt x="40014" y="40970"/>
                          </a:lnTo>
                          <a:lnTo>
                            <a:pt x="38578" y="40910"/>
                          </a:lnTo>
                          <a:lnTo>
                            <a:pt x="33734" y="40612"/>
                          </a:lnTo>
                          <a:lnTo>
                            <a:pt x="31820" y="40492"/>
                          </a:lnTo>
                          <a:lnTo>
                            <a:pt x="17766" y="39714"/>
                          </a:lnTo>
                          <a:cubicBezTo>
                            <a:pt x="16868" y="39654"/>
                            <a:pt x="15971" y="39535"/>
                            <a:pt x="15134" y="39415"/>
                          </a:cubicBezTo>
                          <a:cubicBezTo>
                            <a:pt x="14297" y="39236"/>
                            <a:pt x="13460" y="39056"/>
                            <a:pt x="12682" y="38757"/>
                          </a:cubicBezTo>
                          <a:cubicBezTo>
                            <a:pt x="11905" y="38459"/>
                            <a:pt x="11127" y="38159"/>
                            <a:pt x="10409" y="37800"/>
                          </a:cubicBezTo>
                          <a:cubicBezTo>
                            <a:pt x="9692" y="37442"/>
                            <a:pt x="8974" y="37023"/>
                            <a:pt x="8316" y="36545"/>
                          </a:cubicBezTo>
                          <a:cubicBezTo>
                            <a:pt x="7000" y="35647"/>
                            <a:pt x="5864" y="34571"/>
                            <a:pt x="4907" y="33315"/>
                          </a:cubicBezTo>
                          <a:cubicBezTo>
                            <a:pt x="3950" y="32119"/>
                            <a:pt x="3113" y="30743"/>
                            <a:pt x="2515" y="29248"/>
                          </a:cubicBezTo>
                          <a:cubicBezTo>
                            <a:pt x="1916" y="27753"/>
                            <a:pt x="1498" y="26198"/>
                            <a:pt x="1259" y="24583"/>
                          </a:cubicBezTo>
                          <a:cubicBezTo>
                            <a:pt x="1079" y="22908"/>
                            <a:pt x="1079" y="21234"/>
                            <a:pt x="1378" y="19440"/>
                          </a:cubicBezTo>
                          <a:cubicBezTo>
                            <a:pt x="1558" y="18124"/>
                            <a:pt x="1916" y="16868"/>
                            <a:pt x="2335" y="15672"/>
                          </a:cubicBezTo>
                          <a:cubicBezTo>
                            <a:pt x="2754" y="14476"/>
                            <a:pt x="3352" y="13280"/>
                            <a:pt x="4010" y="12143"/>
                          </a:cubicBezTo>
                          <a:cubicBezTo>
                            <a:pt x="4668" y="11007"/>
                            <a:pt x="5445" y="9930"/>
                            <a:pt x="6342" y="8914"/>
                          </a:cubicBezTo>
                          <a:cubicBezTo>
                            <a:pt x="7239" y="7897"/>
                            <a:pt x="8196" y="7000"/>
                            <a:pt x="9273" y="6103"/>
                          </a:cubicBezTo>
                          <a:cubicBezTo>
                            <a:pt x="10349" y="5265"/>
                            <a:pt x="11486" y="4548"/>
                            <a:pt x="12622" y="3890"/>
                          </a:cubicBezTo>
                          <a:cubicBezTo>
                            <a:pt x="13818" y="3292"/>
                            <a:pt x="15014" y="2753"/>
                            <a:pt x="16270" y="2335"/>
                          </a:cubicBezTo>
                          <a:cubicBezTo>
                            <a:pt x="17526" y="1916"/>
                            <a:pt x="18782" y="1677"/>
                            <a:pt x="20098" y="1498"/>
                          </a:cubicBezTo>
                          <a:cubicBezTo>
                            <a:pt x="21354" y="1318"/>
                            <a:pt x="22670" y="1318"/>
                            <a:pt x="23985" y="1378"/>
                          </a:cubicBezTo>
                          <a:lnTo>
                            <a:pt x="36664" y="2275"/>
                          </a:lnTo>
                          <a:lnTo>
                            <a:pt x="38758" y="2395"/>
                          </a:lnTo>
                          <a:lnTo>
                            <a:pt x="43363" y="2694"/>
                          </a:lnTo>
                          <a:lnTo>
                            <a:pt x="45038" y="2813"/>
                          </a:lnTo>
                          <a:lnTo>
                            <a:pt x="152212" y="10349"/>
                          </a:lnTo>
                          <a:cubicBezTo>
                            <a:pt x="152332" y="10229"/>
                            <a:pt x="152451" y="10169"/>
                            <a:pt x="152571" y="10050"/>
                          </a:cubicBezTo>
                          <a:cubicBezTo>
                            <a:pt x="152691" y="9930"/>
                            <a:pt x="152810" y="9871"/>
                            <a:pt x="152930" y="9751"/>
                          </a:cubicBezTo>
                          <a:cubicBezTo>
                            <a:pt x="153049" y="9631"/>
                            <a:pt x="153169" y="9572"/>
                            <a:pt x="153348" y="9512"/>
                          </a:cubicBezTo>
                          <a:cubicBezTo>
                            <a:pt x="153468" y="9452"/>
                            <a:pt x="153588" y="9332"/>
                            <a:pt x="153767" y="9273"/>
                          </a:cubicBezTo>
                          <a:lnTo>
                            <a:pt x="44140" y="1498"/>
                          </a:lnTo>
                          <a:lnTo>
                            <a:pt x="42346" y="1378"/>
                          </a:lnTo>
                          <a:lnTo>
                            <a:pt x="37323" y="1019"/>
                          </a:lnTo>
                          <a:lnTo>
                            <a:pt x="34930" y="840"/>
                          </a:lnTo>
                          <a:lnTo>
                            <a:pt x="24285" y="62"/>
                          </a:lnTo>
                          <a:cubicBezTo>
                            <a:pt x="22909" y="-57"/>
                            <a:pt x="21533" y="3"/>
                            <a:pt x="20158" y="182"/>
                          </a:cubicBezTo>
                          <a:cubicBezTo>
                            <a:pt x="18782" y="361"/>
                            <a:pt x="17407" y="660"/>
                            <a:pt x="16091" y="1079"/>
                          </a:cubicBezTo>
                          <a:cubicBezTo>
                            <a:pt x="14775" y="1498"/>
                            <a:pt x="13460" y="2036"/>
                            <a:pt x="12203" y="2694"/>
                          </a:cubicBezTo>
                          <a:cubicBezTo>
                            <a:pt x="10947" y="3352"/>
                            <a:pt x="9751" y="4129"/>
                            <a:pt x="8615" y="5086"/>
                          </a:cubicBezTo>
                          <a:cubicBezTo>
                            <a:pt x="7479" y="5983"/>
                            <a:pt x="6462" y="7000"/>
                            <a:pt x="5505" y="8076"/>
                          </a:cubicBezTo>
                          <a:cubicBezTo>
                            <a:pt x="4548" y="9153"/>
                            <a:pt x="3770" y="10289"/>
                            <a:pt x="3053" y="11485"/>
                          </a:cubicBezTo>
                          <a:cubicBezTo>
                            <a:pt x="2335" y="12682"/>
                            <a:pt x="1737" y="13937"/>
                            <a:pt x="1259" y="15253"/>
                          </a:cubicBezTo>
                          <a:cubicBezTo>
                            <a:pt x="780" y="16569"/>
                            <a:pt x="421" y="17885"/>
                            <a:pt x="242" y="19260"/>
                          </a:cubicBezTo>
                          <a:cubicBezTo>
                            <a:pt x="-57" y="21114"/>
                            <a:pt x="-57" y="22968"/>
                            <a:pt x="122" y="24703"/>
                          </a:cubicBezTo>
                          <a:cubicBezTo>
                            <a:pt x="362" y="26437"/>
                            <a:pt x="780" y="28112"/>
                            <a:pt x="1438" y="29667"/>
                          </a:cubicBezTo>
                          <a:cubicBezTo>
                            <a:pt x="2096" y="31222"/>
                            <a:pt x="2993" y="32657"/>
                            <a:pt x="4010" y="33973"/>
                          </a:cubicBezTo>
                          <a:cubicBezTo>
                            <a:pt x="5027" y="35408"/>
                            <a:pt x="6223" y="36545"/>
                            <a:pt x="7598" y="37501"/>
                          </a:cubicBezTo>
                        </a:path>
                      </a:pathLst>
                    </a:custGeom>
                    <a:noFill/>
                    <a:ln w="6350" cap="flat">
                      <a:solidFill>
                        <a:schemeClr val="bg1">
                          <a:alpha val="80000"/>
                        </a:schemeClr>
                      </a:solidFill>
                      <a:prstDash val="solid"/>
                      <a:miter/>
                    </a:ln>
                  </p:spPr>
                  <p:txBody>
                    <a:bodyPr rtlCol="0" anchor="ctr"/>
                    <a:lstStyle/>
                    <a:p>
                      <a:endParaRPr lang="en-GB"/>
                    </a:p>
                  </p:txBody>
                </p:sp>
                <p:sp>
                  <p:nvSpPr>
                    <p:cNvPr id="7459" name="Vrije vorm: vorm 7458">
                      <a:extLst>
                        <a:ext uri="{FF2B5EF4-FFF2-40B4-BE49-F238E27FC236}">
                          <a16:creationId xmlns:a16="http://schemas.microsoft.com/office/drawing/2014/main" id="{1D7A81F6-56F1-4743-B9D6-9A56524C890E}"/>
                        </a:ext>
                      </a:extLst>
                    </p:cNvPr>
                    <p:cNvSpPr/>
                    <p:nvPr/>
                  </p:nvSpPr>
                  <p:spPr>
                    <a:xfrm>
                      <a:off x="4853256" y="5084909"/>
                      <a:ext cx="135702" cy="23025"/>
                    </a:xfrm>
                    <a:custGeom>
                      <a:avLst/>
                      <a:gdLst>
                        <a:gd name="connsiteX0" fmla="*/ 124100 w 135702"/>
                        <a:gd name="connsiteY0" fmla="*/ 9150 h 23025"/>
                        <a:gd name="connsiteX1" fmla="*/ 126612 w 135702"/>
                        <a:gd name="connsiteY1" fmla="*/ 9330 h 23025"/>
                        <a:gd name="connsiteX2" fmla="*/ 126731 w 135702"/>
                        <a:gd name="connsiteY2" fmla="*/ 9031 h 23025"/>
                        <a:gd name="connsiteX3" fmla="*/ 126851 w 135702"/>
                        <a:gd name="connsiteY3" fmla="*/ 8732 h 23025"/>
                        <a:gd name="connsiteX4" fmla="*/ 126971 w 135702"/>
                        <a:gd name="connsiteY4" fmla="*/ 8433 h 23025"/>
                        <a:gd name="connsiteX5" fmla="*/ 127090 w 135702"/>
                        <a:gd name="connsiteY5" fmla="*/ 8134 h 23025"/>
                        <a:gd name="connsiteX6" fmla="*/ 124578 w 135702"/>
                        <a:gd name="connsiteY6" fmla="*/ 7954 h 23025"/>
                        <a:gd name="connsiteX7" fmla="*/ 124459 w 135702"/>
                        <a:gd name="connsiteY7" fmla="*/ 8253 h 23025"/>
                        <a:gd name="connsiteX8" fmla="*/ 124339 w 135702"/>
                        <a:gd name="connsiteY8" fmla="*/ 8552 h 23025"/>
                        <a:gd name="connsiteX9" fmla="*/ 124219 w 135702"/>
                        <a:gd name="connsiteY9" fmla="*/ 8851 h 23025"/>
                        <a:gd name="connsiteX10" fmla="*/ 124100 w 135702"/>
                        <a:gd name="connsiteY10" fmla="*/ 9150 h 23025"/>
                        <a:gd name="connsiteX11" fmla="*/ 132234 w 135702"/>
                        <a:gd name="connsiteY11" fmla="*/ 21291 h 23025"/>
                        <a:gd name="connsiteX12" fmla="*/ 132533 w 135702"/>
                        <a:gd name="connsiteY12" fmla="*/ 21172 h 23025"/>
                        <a:gd name="connsiteX13" fmla="*/ 132832 w 135702"/>
                        <a:gd name="connsiteY13" fmla="*/ 21052 h 23025"/>
                        <a:gd name="connsiteX14" fmla="*/ 133131 w 135702"/>
                        <a:gd name="connsiteY14" fmla="*/ 20933 h 23025"/>
                        <a:gd name="connsiteX15" fmla="*/ 133430 w 135702"/>
                        <a:gd name="connsiteY15" fmla="*/ 20873 h 23025"/>
                        <a:gd name="connsiteX16" fmla="*/ 135702 w 135702"/>
                        <a:gd name="connsiteY16" fmla="*/ 8732 h 23025"/>
                        <a:gd name="connsiteX17" fmla="*/ 134566 w 135702"/>
                        <a:gd name="connsiteY17" fmla="*/ 8672 h 23025"/>
                        <a:gd name="connsiteX18" fmla="*/ 128466 w 135702"/>
                        <a:gd name="connsiteY18" fmla="*/ 8253 h 23025"/>
                        <a:gd name="connsiteX19" fmla="*/ 128346 w 135702"/>
                        <a:gd name="connsiteY19" fmla="*/ 8552 h 23025"/>
                        <a:gd name="connsiteX20" fmla="*/ 128226 w 135702"/>
                        <a:gd name="connsiteY20" fmla="*/ 8851 h 23025"/>
                        <a:gd name="connsiteX21" fmla="*/ 128107 w 135702"/>
                        <a:gd name="connsiteY21" fmla="*/ 9150 h 23025"/>
                        <a:gd name="connsiteX22" fmla="*/ 127987 w 135702"/>
                        <a:gd name="connsiteY22" fmla="*/ 9450 h 23025"/>
                        <a:gd name="connsiteX23" fmla="*/ 134327 w 135702"/>
                        <a:gd name="connsiteY23" fmla="*/ 9868 h 23025"/>
                        <a:gd name="connsiteX24" fmla="*/ 134327 w 135702"/>
                        <a:gd name="connsiteY24" fmla="*/ 9868 h 23025"/>
                        <a:gd name="connsiteX25" fmla="*/ 134088 w 135702"/>
                        <a:gd name="connsiteY25" fmla="*/ 11184 h 23025"/>
                        <a:gd name="connsiteX26" fmla="*/ 134447 w 135702"/>
                        <a:gd name="connsiteY26" fmla="*/ 11782 h 23025"/>
                        <a:gd name="connsiteX27" fmla="*/ 134686 w 135702"/>
                        <a:gd name="connsiteY27" fmla="*/ 12440 h 23025"/>
                        <a:gd name="connsiteX28" fmla="*/ 134745 w 135702"/>
                        <a:gd name="connsiteY28" fmla="*/ 13158 h 23025"/>
                        <a:gd name="connsiteX29" fmla="*/ 134686 w 135702"/>
                        <a:gd name="connsiteY29" fmla="*/ 13935 h 23025"/>
                        <a:gd name="connsiteX30" fmla="*/ 134447 w 135702"/>
                        <a:gd name="connsiteY30" fmla="*/ 14653 h 23025"/>
                        <a:gd name="connsiteX31" fmla="*/ 134088 w 135702"/>
                        <a:gd name="connsiteY31" fmla="*/ 15311 h 23025"/>
                        <a:gd name="connsiteX32" fmla="*/ 133609 w 135702"/>
                        <a:gd name="connsiteY32" fmla="*/ 15909 h 23025"/>
                        <a:gd name="connsiteX33" fmla="*/ 133071 w 135702"/>
                        <a:gd name="connsiteY33" fmla="*/ 16387 h 23025"/>
                        <a:gd name="connsiteX34" fmla="*/ 132234 w 135702"/>
                        <a:gd name="connsiteY34" fmla="*/ 21291 h 23025"/>
                        <a:gd name="connsiteX35" fmla="*/ 131875 w 135702"/>
                        <a:gd name="connsiteY35" fmla="*/ 22966 h 23025"/>
                        <a:gd name="connsiteX36" fmla="*/ 131994 w 135702"/>
                        <a:gd name="connsiteY36" fmla="*/ 22966 h 23025"/>
                        <a:gd name="connsiteX37" fmla="*/ 132593 w 135702"/>
                        <a:gd name="connsiteY37" fmla="*/ 23026 h 23025"/>
                        <a:gd name="connsiteX38" fmla="*/ 133131 w 135702"/>
                        <a:gd name="connsiteY38" fmla="*/ 23026 h 23025"/>
                        <a:gd name="connsiteX39" fmla="*/ 133310 w 135702"/>
                        <a:gd name="connsiteY39" fmla="*/ 22069 h 23025"/>
                        <a:gd name="connsiteX40" fmla="*/ 133071 w 135702"/>
                        <a:gd name="connsiteY40" fmla="*/ 22129 h 23025"/>
                        <a:gd name="connsiteX41" fmla="*/ 132832 w 135702"/>
                        <a:gd name="connsiteY41" fmla="*/ 22248 h 23025"/>
                        <a:gd name="connsiteX42" fmla="*/ 132593 w 135702"/>
                        <a:gd name="connsiteY42" fmla="*/ 22428 h 23025"/>
                        <a:gd name="connsiteX43" fmla="*/ 132353 w 135702"/>
                        <a:gd name="connsiteY43" fmla="*/ 22607 h 23025"/>
                        <a:gd name="connsiteX44" fmla="*/ 132234 w 135702"/>
                        <a:gd name="connsiteY44" fmla="*/ 22667 h 23025"/>
                        <a:gd name="connsiteX45" fmla="*/ 132114 w 135702"/>
                        <a:gd name="connsiteY45" fmla="*/ 22727 h 23025"/>
                        <a:gd name="connsiteX46" fmla="*/ 131994 w 135702"/>
                        <a:gd name="connsiteY46" fmla="*/ 22846 h 23025"/>
                        <a:gd name="connsiteX47" fmla="*/ 131875 w 135702"/>
                        <a:gd name="connsiteY47" fmla="*/ 22966 h 23025"/>
                        <a:gd name="connsiteX48" fmla="*/ 127509 w 135702"/>
                        <a:gd name="connsiteY48" fmla="*/ 22727 h 23025"/>
                        <a:gd name="connsiteX49" fmla="*/ 130559 w 135702"/>
                        <a:gd name="connsiteY49" fmla="*/ 22906 h 23025"/>
                        <a:gd name="connsiteX50" fmla="*/ 130739 w 135702"/>
                        <a:gd name="connsiteY50" fmla="*/ 22607 h 23025"/>
                        <a:gd name="connsiteX51" fmla="*/ 130978 w 135702"/>
                        <a:gd name="connsiteY51" fmla="*/ 22308 h 23025"/>
                        <a:gd name="connsiteX52" fmla="*/ 131217 w 135702"/>
                        <a:gd name="connsiteY52" fmla="*/ 22009 h 23025"/>
                        <a:gd name="connsiteX53" fmla="*/ 131516 w 135702"/>
                        <a:gd name="connsiteY53" fmla="*/ 21770 h 23025"/>
                        <a:gd name="connsiteX54" fmla="*/ 127150 w 135702"/>
                        <a:gd name="connsiteY54" fmla="*/ 21530 h 23025"/>
                        <a:gd name="connsiteX55" fmla="*/ 127210 w 135702"/>
                        <a:gd name="connsiteY55" fmla="*/ 21829 h 23025"/>
                        <a:gd name="connsiteX56" fmla="*/ 127270 w 135702"/>
                        <a:gd name="connsiteY56" fmla="*/ 22129 h 23025"/>
                        <a:gd name="connsiteX57" fmla="*/ 127389 w 135702"/>
                        <a:gd name="connsiteY57" fmla="*/ 22428 h 23025"/>
                        <a:gd name="connsiteX58" fmla="*/ 127509 w 135702"/>
                        <a:gd name="connsiteY58" fmla="*/ 22727 h 23025"/>
                        <a:gd name="connsiteX59" fmla="*/ 123143 w 135702"/>
                        <a:gd name="connsiteY59" fmla="*/ 22428 h 23025"/>
                        <a:gd name="connsiteX60" fmla="*/ 125894 w 135702"/>
                        <a:gd name="connsiteY60" fmla="*/ 22607 h 23025"/>
                        <a:gd name="connsiteX61" fmla="*/ 125834 w 135702"/>
                        <a:gd name="connsiteY61" fmla="*/ 22308 h 23025"/>
                        <a:gd name="connsiteX62" fmla="*/ 125774 w 135702"/>
                        <a:gd name="connsiteY62" fmla="*/ 22009 h 23025"/>
                        <a:gd name="connsiteX63" fmla="*/ 125715 w 135702"/>
                        <a:gd name="connsiteY63" fmla="*/ 21710 h 23025"/>
                        <a:gd name="connsiteX64" fmla="*/ 125655 w 135702"/>
                        <a:gd name="connsiteY64" fmla="*/ 21411 h 23025"/>
                        <a:gd name="connsiteX65" fmla="*/ 122964 w 135702"/>
                        <a:gd name="connsiteY65" fmla="*/ 21231 h 23025"/>
                        <a:gd name="connsiteX66" fmla="*/ 123023 w 135702"/>
                        <a:gd name="connsiteY66" fmla="*/ 21530 h 23025"/>
                        <a:gd name="connsiteX67" fmla="*/ 123083 w 135702"/>
                        <a:gd name="connsiteY67" fmla="*/ 21829 h 23025"/>
                        <a:gd name="connsiteX68" fmla="*/ 123143 w 135702"/>
                        <a:gd name="connsiteY68" fmla="*/ 22129 h 23025"/>
                        <a:gd name="connsiteX69" fmla="*/ 123143 w 135702"/>
                        <a:gd name="connsiteY69" fmla="*/ 22428 h 23025"/>
                        <a:gd name="connsiteX70" fmla="*/ 12619 w 135702"/>
                        <a:gd name="connsiteY70" fmla="*/ 1914 h 23025"/>
                        <a:gd name="connsiteX71" fmla="*/ 25059 w 135702"/>
                        <a:gd name="connsiteY71" fmla="*/ 2691 h 23025"/>
                        <a:gd name="connsiteX72" fmla="*/ 26315 w 135702"/>
                        <a:gd name="connsiteY72" fmla="*/ 2751 h 23025"/>
                        <a:gd name="connsiteX73" fmla="*/ 29365 w 135702"/>
                        <a:gd name="connsiteY73" fmla="*/ 2930 h 23025"/>
                        <a:gd name="connsiteX74" fmla="*/ 30621 w 135702"/>
                        <a:gd name="connsiteY74" fmla="*/ 2990 h 23025"/>
                        <a:gd name="connsiteX75" fmla="*/ 122964 w 135702"/>
                        <a:gd name="connsiteY75" fmla="*/ 8971 h 23025"/>
                        <a:gd name="connsiteX76" fmla="*/ 123083 w 135702"/>
                        <a:gd name="connsiteY76" fmla="*/ 8672 h 23025"/>
                        <a:gd name="connsiteX77" fmla="*/ 123203 w 135702"/>
                        <a:gd name="connsiteY77" fmla="*/ 8373 h 23025"/>
                        <a:gd name="connsiteX78" fmla="*/ 123322 w 135702"/>
                        <a:gd name="connsiteY78" fmla="*/ 8074 h 23025"/>
                        <a:gd name="connsiteX79" fmla="*/ 123442 w 135702"/>
                        <a:gd name="connsiteY79" fmla="*/ 7775 h 23025"/>
                        <a:gd name="connsiteX80" fmla="*/ 30681 w 135702"/>
                        <a:gd name="connsiteY80" fmla="*/ 1734 h 23025"/>
                        <a:gd name="connsiteX81" fmla="*/ 29425 w 135702"/>
                        <a:gd name="connsiteY81" fmla="*/ 1674 h 23025"/>
                        <a:gd name="connsiteX82" fmla="*/ 26315 w 135702"/>
                        <a:gd name="connsiteY82" fmla="*/ 1495 h 23025"/>
                        <a:gd name="connsiteX83" fmla="*/ 25059 w 135702"/>
                        <a:gd name="connsiteY83" fmla="*/ 1435 h 23025"/>
                        <a:gd name="connsiteX84" fmla="*/ 12320 w 135702"/>
                        <a:gd name="connsiteY84" fmla="*/ 598 h 23025"/>
                        <a:gd name="connsiteX85" fmla="*/ 12440 w 135702"/>
                        <a:gd name="connsiteY85" fmla="*/ 897 h 23025"/>
                        <a:gd name="connsiteX86" fmla="*/ 12559 w 135702"/>
                        <a:gd name="connsiteY86" fmla="*/ 1196 h 23025"/>
                        <a:gd name="connsiteX87" fmla="*/ 12679 w 135702"/>
                        <a:gd name="connsiteY87" fmla="*/ 1495 h 23025"/>
                        <a:gd name="connsiteX88" fmla="*/ 12619 w 135702"/>
                        <a:gd name="connsiteY88" fmla="*/ 1914 h 23025"/>
                        <a:gd name="connsiteX89" fmla="*/ 9629 w 135702"/>
                        <a:gd name="connsiteY89" fmla="*/ 1734 h 23025"/>
                        <a:gd name="connsiteX90" fmla="*/ 11303 w 135702"/>
                        <a:gd name="connsiteY90" fmla="*/ 1854 h 23025"/>
                        <a:gd name="connsiteX91" fmla="*/ 11184 w 135702"/>
                        <a:gd name="connsiteY91" fmla="*/ 1555 h 23025"/>
                        <a:gd name="connsiteX92" fmla="*/ 11064 w 135702"/>
                        <a:gd name="connsiteY92" fmla="*/ 1256 h 23025"/>
                        <a:gd name="connsiteX93" fmla="*/ 10944 w 135702"/>
                        <a:gd name="connsiteY93" fmla="*/ 957 h 23025"/>
                        <a:gd name="connsiteX94" fmla="*/ 10825 w 135702"/>
                        <a:gd name="connsiteY94" fmla="*/ 658 h 23025"/>
                        <a:gd name="connsiteX95" fmla="*/ 8971 w 135702"/>
                        <a:gd name="connsiteY95" fmla="*/ 538 h 23025"/>
                        <a:gd name="connsiteX96" fmla="*/ 9090 w 135702"/>
                        <a:gd name="connsiteY96" fmla="*/ 718 h 23025"/>
                        <a:gd name="connsiteX97" fmla="*/ 9210 w 135702"/>
                        <a:gd name="connsiteY97" fmla="*/ 897 h 23025"/>
                        <a:gd name="connsiteX98" fmla="*/ 9330 w 135702"/>
                        <a:gd name="connsiteY98" fmla="*/ 1076 h 23025"/>
                        <a:gd name="connsiteX99" fmla="*/ 9449 w 135702"/>
                        <a:gd name="connsiteY99" fmla="*/ 1256 h 23025"/>
                        <a:gd name="connsiteX100" fmla="*/ 9509 w 135702"/>
                        <a:gd name="connsiteY100" fmla="*/ 1435 h 23025"/>
                        <a:gd name="connsiteX101" fmla="*/ 9569 w 135702"/>
                        <a:gd name="connsiteY101" fmla="*/ 1615 h 23025"/>
                        <a:gd name="connsiteX102" fmla="*/ 9629 w 135702"/>
                        <a:gd name="connsiteY102" fmla="*/ 1794 h 23025"/>
                        <a:gd name="connsiteX103" fmla="*/ 9629 w 135702"/>
                        <a:gd name="connsiteY103" fmla="*/ 1734 h 23025"/>
                        <a:gd name="connsiteX104" fmla="*/ 5921 w 135702"/>
                        <a:gd name="connsiteY104" fmla="*/ 15370 h 23025"/>
                        <a:gd name="connsiteX105" fmla="*/ 21530 w 135702"/>
                        <a:gd name="connsiteY105" fmla="*/ 16327 h 23025"/>
                        <a:gd name="connsiteX106" fmla="*/ 22846 w 135702"/>
                        <a:gd name="connsiteY106" fmla="*/ 16387 h 23025"/>
                        <a:gd name="connsiteX107" fmla="*/ 26076 w 135702"/>
                        <a:gd name="connsiteY107" fmla="*/ 16567 h 23025"/>
                        <a:gd name="connsiteX108" fmla="*/ 27391 w 135702"/>
                        <a:gd name="connsiteY108" fmla="*/ 16626 h 23025"/>
                        <a:gd name="connsiteX109" fmla="*/ 122007 w 135702"/>
                        <a:gd name="connsiteY109" fmla="*/ 22308 h 23025"/>
                        <a:gd name="connsiteX110" fmla="*/ 121947 w 135702"/>
                        <a:gd name="connsiteY110" fmla="*/ 22009 h 23025"/>
                        <a:gd name="connsiteX111" fmla="*/ 121887 w 135702"/>
                        <a:gd name="connsiteY111" fmla="*/ 21710 h 23025"/>
                        <a:gd name="connsiteX112" fmla="*/ 121827 w 135702"/>
                        <a:gd name="connsiteY112" fmla="*/ 21411 h 23025"/>
                        <a:gd name="connsiteX113" fmla="*/ 121767 w 135702"/>
                        <a:gd name="connsiteY113" fmla="*/ 21112 h 23025"/>
                        <a:gd name="connsiteX114" fmla="*/ 27930 w 135702"/>
                        <a:gd name="connsiteY114" fmla="*/ 15430 h 23025"/>
                        <a:gd name="connsiteX115" fmla="*/ 26674 w 135702"/>
                        <a:gd name="connsiteY115" fmla="*/ 15370 h 23025"/>
                        <a:gd name="connsiteX116" fmla="*/ 23504 w 135702"/>
                        <a:gd name="connsiteY116" fmla="*/ 15191 h 23025"/>
                        <a:gd name="connsiteX117" fmla="*/ 22188 w 135702"/>
                        <a:gd name="connsiteY117" fmla="*/ 15131 h 23025"/>
                        <a:gd name="connsiteX118" fmla="*/ 7775 w 135702"/>
                        <a:gd name="connsiteY118" fmla="*/ 14234 h 23025"/>
                        <a:gd name="connsiteX119" fmla="*/ 7356 w 135702"/>
                        <a:gd name="connsiteY119" fmla="*/ 14533 h 23025"/>
                        <a:gd name="connsiteX120" fmla="*/ 6878 w 135702"/>
                        <a:gd name="connsiteY120" fmla="*/ 14832 h 23025"/>
                        <a:gd name="connsiteX121" fmla="*/ 6399 w 135702"/>
                        <a:gd name="connsiteY121" fmla="*/ 15131 h 23025"/>
                        <a:gd name="connsiteX122" fmla="*/ 5921 w 135702"/>
                        <a:gd name="connsiteY122" fmla="*/ 15370 h 23025"/>
                        <a:gd name="connsiteX123" fmla="*/ 418 w 135702"/>
                        <a:gd name="connsiteY123" fmla="*/ 12679 h 23025"/>
                        <a:gd name="connsiteX124" fmla="*/ 718 w 135702"/>
                        <a:gd name="connsiteY124" fmla="*/ 12679 h 23025"/>
                        <a:gd name="connsiteX125" fmla="*/ 1017 w 135702"/>
                        <a:gd name="connsiteY125" fmla="*/ 12679 h 23025"/>
                        <a:gd name="connsiteX126" fmla="*/ 1316 w 135702"/>
                        <a:gd name="connsiteY126" fmla="*/ 12679 h 23025"/>
                        <a:gd name="connsiteX127" fmla="*/ 1615 w 135702"/>
                        <a:gd name="connsiteY127" fmla="*/ 12679 h 23025"/>
                        <a:gd name="connsiteX128" fmla="*/ 3409 w 135702"/>
                        <a:gd name="connsiteY128" fmla="*/ 1375 h 23025"/>
                        <a:gd name="connsiteX129" fmla="*/ 8074 w 135702"/>
                        <a:gd name="connsiteY129" fmla="*/ 1674 h 23025"/>
                        <a:gd name="connsiteX130" fmla="*/ 7894 w 135702"/>
                        <a:gd name="connsiteY130" fmla="*/ 1316 h 23025"/>
                        <a:gd name="connsiteX131" fmla="*/ 7655 w 135702"/>
                        <a:gd name="connsiteY131" fmla="*/ 957 h 23025"/>
                        <a:gd name="connsiteX132" fmla="*/ 7416 w 135702"/>
                        <a:gd name="connsiteY132" fmla="*/ 658 h 23025"/>
                        <a:gd name="connsiteX133" fmla="*/ 7177 w 135702"/>
                        <a:gd name="connsiteY133" fmla="*/ 359 h 23025"/>
                        <a:gd name="connsiteX134" fmla="*/ 3050 w 135702"/>
                        <a:gd name="connsiteY134" fmla="*/ 60 h 23025"/>
                        <a:gd name="connsiteX135" fmla="*/ 2452 w 135702"/>
                        <a:gd name="connsiteY135" fmla="*/ 0 h 23025"/>
                        <a:gd name="connsiteX136" fmla="*/ 418 w 135702"/>
                        <a:gd name="connsiteY136" fmla="*/ 12679 h 23025"/>
                        <a:gd name="connsiteX137" fmla="*/ 0 w 135702"/>
                        <a:gd name="connsiteY137" fmla="*/ 15012 h 23025"/>
                        <a:gd name="connsiteX138" fmla="*/ 2871 w 135702"/>
                        <a:gd name="connsiteY138" fmla="*/ 15191 h 23025"/>
                        <a:gd name="connsiteX139" fmla="*/ 3588 w 135702"/>
                        <a:gd name="connsiteY139" fmla="*/ 15012 h 23025"/>
                        <a:gd name="connsiteX140" fmla="*/ 4306 w 135702"/>
                        <a:gd name="connsiteY140" fmla="*/ 14772 h 23025"/>
                        <a:gd name="connsiteX141" fmla="*/ 5024 w 135702"/>
                        <a:gd name="connsiteY141" fmla="*/ 14473 h 23025"/>
                        <a:gd name="connsiteX142" fmla="*/ 5681 w 135702"/>
                        <a:gd name="connsiteY142" fmla="*/ 14114 h 23025"/>
                        <a:gd name="connsiteX143" fmla="*/ 1555 w 135702"/>
                        <a:gd name="connsiteY143" fmla="*/ 13875 h 23025"/>
                        <a:gd name="connsiteX144" fmla="*/ 1196 w 135702"/>
                        <a:gd name="connsiteY144" fmla="*/ 13875 h 23025"/>
                        <a:gd name="connsiteX145" fmla="*/ 837 w 135702"/>
                        <a:gd name="connsiteY145" fmla="*/ 13875 h 23025"/>
                        <a:gd name="connsiteX146" fmla="*/ 478 w 135702"/>
                        <a:gd name="connsiteY146" fmla="*/ 13875 h 23025"/>
                        <a:gd name="connsiteX147" fmla="*/ 119 w 135702"/>
                        <a:gd name="connsiteY147" fmla="*/ 13875 h 23025"/>
                        <a:gd name="connsiteX148" fmla="*/ 0 w 135702"/>
                        <a:gd name="connsiteY148" fmla="*/ 15012 h 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135702" h="23025">
                          <a:moveTo>
                            <a:pt x="124100" y="9150"/>
                          </a:moveTo>
                          <a:lnTo>
                            <a:pt x="126612" y="9330"/>
                          </a:lnTo>
                          <a:cubicBezTo>
                            <a:pt x="126672" y="9210"/>
                            <a:pt x="126672" y="9150"/>
                            <a:pt x="126731" y="9031"/>
                          </a:cubicBezTo>
                          <a:cubicBezTo>
                            <a:pt x="126791" y="8911"/>
                            <a:pt x="126791" y="8851"/>
                            <a:pt x="126851" y="8732"/>
                          </a:cubicBezTo>
                          <a:cubicBezTo>
                            <a:pt x="126911" y="8612"/>
                            <a:pt x="126911" y="8552"/>
                            <a:pt x="126971" y="8433"/>
                          </a:cubicBezTo>
                          <a:cubicBezTo>
                            <a:pt x="127030" y="8313"/>
                            <a:pt x="127030" y="8253"/>
                            <a:pt x="127090" y="8134"/>
                          </a:cubicBezTo>
                          <a:lnTo>
                            <a:pt x="124578" y="7954"/>
                          </a:lnTo>
                          <a:cubicBezTo>
                            <a:pt x="124518" y="8074"/>
                            <a:pt x="124518" y="8134"/>
                            <a:pt x="124459" y="8253"/>
                          </a:cubicBezTo>
                          <a:cubicBezTo>
                            <a:pt x="124399" y="8373"/>
                            <a:pt x="124399" y="8433"/>
                            <a:pt x="124339" y="8552"/>
                          </a:cubicBezTo>
                          <a:cubicBezTo>
                            <a:pt x="124279" y="8672"/>
                            <a:pt x="124279" y="8732"/>
                            <a:pt x="124219" y="8851"/>
                          </a:cubicBezTo>
                          <a:cubicBezTo>
                            <a:pt x="124159" y="8971"/>
                            <a:pt x="124159" y="9031"/>
                            <a:pt x="124100" y="9150"/>
                          </a:cubicBezTo>
                          <a:moveTo>
                            <a:pt x="132234" y="21291"/>
                          </a:moveTo>
                          <a:cubicBezTo>
                            <a:pt x="132353" y="21231"/>
                            <a:pt x="132413" y="21172"/>
                            <a:pt x="132533" y="21172"/>
                          </a:cubicBezTo>
                          <a:cubicBezTo>
                            <a:pt x="132652" y="21112"/>
                            <a:pt x="132712" y="21112"/>
                            <a:pt x="132832" y="21052"/>
                          </a:cubicBezTo>
                          <a:cubicBezTo>
                            <a:pt x="132951" y="20992"/>
                            <a:pt x="133011" y="20992"/>
                            <a:pt x="133131" y="20933"/>
                          </a:cubicBezTo>
                          <a:cubicBezTo>
                            <a:pt x="133250" y="20933"/>
                            <a:pt x="133310" y="20873"/>
                            <a:pt x="133430" y="20873"/>
                          </a:cubicBezTo>
                          <a:lnTo>
                            <a:pt x="135702" y="8732"/>
                          </a:lnTo>
                          <a:lnTo>
                            <a:pt x="134566" y="8672"/>
                          </a:lnTo>
                          <a:lnTo>
                            <a:pt x="128466" y="8253"/>
                          </a:lnTo>
                          <a:cubicBezTo>
                            <a:pt x="128406" y="8373"/>
                            <a:pt x="128406" y="8433"/>
                            <a:pt x="128346" y="8552"/>
                          </a:cubicBezTo>
                          <a:cubicBezTo>
                            <a:pt x="128286" y="8672"/>
                            <a:pt x="128286" y="8732"/>
                            <a:pt x="128226" y="8851"/>
                          </a:cubicBezTo>
                          <a:cubicBezTo>
                            <a:pt x="128167" y="8971"/>
                            <a:pt x="128167" y="9031"/>
                            <a:pt x="128107" y="9150"/>
                          </a:cubicBezTo>
                          <a:cubicBezTo>
                            <a:pt x="128047" y="9270"/>
                            <a:pt x="128047" y="9330"/>
                            <a:pt x="127987" y="9450"/>
                          </a:cubicBezTo>
                          <a:lnTo>
                            <a:pt x="134327" y="9868"/>
                          </a:lnTo>
                          <a:lnTo>
                            <a:pt x="134327" y="9868"/>
                          </a:lnTo>
                          <a:lnTo>
                            <a:pt x="134088" y="11184"/>
                          </a:lnTo>
                          <a:cubicBezTo>
                            <a:pt x="134207" y="11363"/>
                            <a:pt x="134327" y="11543"/>
                            <a:pt x="134447" y="11782"/>
                          </a:cubicBezTo>
                          <a:cubicBezTo>
                            <a:pt x="134566" y="11961"/>
                            <a:pt x="134626" y="12201"/>
                            <a:pt x="134686" y="12440"/>
                          </a:cubicBezTo>
                          <a:cubicBezTo>
                            <a:pt x="134745" y="12679"/>
                            <a:pt x="134745" y="12918"/>
                            <a:pt x="134745" y="13158"/>
                          </a:cubicBezTo>
                          <a:cubicBezTo>
                            <a:pt x="134745" y="13397"/>
                            <a:pt x="134745" y="13636"/>
                            <a:pt x="134686" y="13935"/>
                          </a:cubicBezTo>
                          <a:cubicBezTo>
                            <a:pt x="134626" y="14174"/>
                            <a:pt x="134566" y="14413"/>
                            <a:pt x="134447" y="14653"/>
                          </a:cubicBezTo>
                          <a:cubicBezTo>
                            <a:pt x="134327" y="14892"/>
                            <a:pt x="134207" y="15131"/>
                            <a:pt x="134088" y="15311"/>
                          </a:cubicBezTo>
                          <a:cubicBezTo>
                            <a:pt x="133968" y="15550"/>
                            <a:pt x="133789" y="15729"/>
                            <a:pt x="133609" y="15909"/>
                          </a:cubicBezTo>
                          <a:cubicBezTo>
                            <a:pt x="133430" y="16088"/>
                            <a:pt x="133250" y="16267"/>
                            <a:pt x="133071" y="16387"/>
                          </a:cubicBezTo>
                          <a:lnTo>
                            <a:pt x="132234" y="21291"/>
                          </a:lnTo>
                          <a:moveTo>
                            <a:pt x="131875" y="22966"/>
                          </a:moveTo>
                          <a:lnTo>
                            <a:pt x="131994" y="22966"/>
                          </a:lnTo>
                          <a:lnTo>
                            <a:pt x="132593" y="23026"/>
                          </a:lnTo>
                          <a:lnTo>
                            <a:pt x="133131" y="23026"/>
                          </a:lnTo>
                          <a:lnTo>
                            <a:pt x="133310" y="22069"/>
                          </a:lnTo>
                          <a:cubicBezTo>
                            <a:pt x="133250" y="22069"/>
                            <a:pt x="133131" y="22129"/>
                            <a:pt x="133071" y="22129"/>
                          </a:cubicBezTo>
                          <a:cubicBezTo>
                            <a:pt x="133011" y="22189"/>
                            <a:pt x="132891" y="22189"/>
                            <a:pt x="132832" y="22248"/>
                          </a:cubicBezTo>
                          <a:cubicBezTo>
                            <a:pt x="132772" y="22308"/>
                            <a:pt x="132652" y="22368"/>
                            <a:pt x="132593" y="22428"/>
                          </a:cubicBezTo>
                          <a:cubicBezTo>
                            <a:pt x="132533" y="22488"/>
                            <a:pt x="132413" y="22547"/>
                            <a:pt x="132353" y="22607"/>
                          </a:cubicBezTo>
                          <a:cubicBezTo>
                            <a:pt x="132294" y="22607"/>
                            <a:pt x="132294" y="22667"/>
                            <a:pt x="132234" y="22667"/>
                          </a:cubicBezTo>
                          <a:cubicBezTo>
                            <a:pt x="132174" y="22667"/>
                            <a:pt x="132174" y="22727"/>
                            <a:pt x="132114" y="22727"/>
                          </a:cubicBezTo>
                          <a:cubicBezTo>
                            <a:pt x="132054" y="22787"/>
                            <a:pt x="132054" y="22787"/>
                            <a:pt x="131994" y="22846"/>
                          </a:cubicBezTo>
                          <a:cubicBezTo>
                            <a:pt x="131875" y="22906"/>
                            <a:pt x="131875" y="22966"/>
                            <a:pt x="131875" y="22966"/>
                          </a:cubicBezTo>
                          <a:moveTo>
                            <a:pt x="127509" y="22727"/>
                          </a:moveTo>
                          <a:lnTo>
                            <a:pt x="130559" y="22906"/>
                          </a:lnTo>
                          <a:cubicBezTo>
                            <a:pt x="130619" y="22787"/>
                            <a:pt x="130679" y="22727"/>
                            <a:pt x="130739" y="22607"/>
                          </a:cubicBezTo>
                          <a:cubicBezTo>
                            <a:pt x="130798" y="22488"/>
                            <a:pt x="130858" y="22428"/>
                            <a:pt x="130978" y="22308"/>
                          </a:cubicBezTo>
                          <a:cubicBezTo>
                            <a:pt x="131097" y="22189"/>
                            <a:pt x="131157" y="22129"/>
                            <a:pt x="131217" y="22009"/>
                          </a:cubicBezTo>
                          <a:cubicBezTo>
                            <a:pt x="131277" y="21889"/>
                            <a:pt x="131396" y="21829"/>
                            <a:pt x="131516" y="21770"/>
                          </a:cubicBezTo>
                          <a:lnTo>
                            <a:pt x="127150" y="21530"/>
                          </a:lnTo>
                          <a:cubicBezTo>
                            <a:pt x="127150" y="21650"/>
                            <a:pt x="127210" y="21710"/>
                            <a:pt x="127210" y="21829"/>
                          </a:cubicBezTo>
                          <a:cubicBezTo>
                            <a:pt x="127210" y="21949"/>
                            <a:pt x="127270" y="22009"/>
                            <a:pt x="127270" y="22129"/>
                          </a:cubicBezTo>
                          <a:cubicBezTo>
                            <a:pt x="127270" y="22248"/>
                            <a:pt x="127329" y="22308"/>
                            <a:pt x="127389" y="22428"/>
                          </a:cubicBezTo>
                          <a:cubicBezTo>
                            <a:pt x="127449" y="22547"/>
                            <a:pt x="127449" y="22607"/>
                            <a:pt x="127509" y="22727"/>
                          </a:cubicBezTo>
                          <a:moveTo>
                            <a:pt x="123143" y="22428"/>
                          </a:moveTo>
                          <a:lnTo>
                            <a:pt x="125894" y="22607"/>
                          </a:lnTo>
                          <a:cubicBezTo>
                            <a:pt x="125894" y="22488"/>
                            <a:pt x="125834" y="22428"/>
                            <a:pt x="125834" y="22308"/>
                          </a:cubicBezTo>
                          <a:cubicBezTo>
                            <a:pt x="125834" y="22189"/>
                            <a:pt x="125774" y="22129"/>
                            <a:pt x="125774" y="22009"/>
                          </a:cubicBezTo>
                          <a:cubicBezTo>
                            <a:pt x="125774" y="21889"/>
                            <a:pt x="125715" y="21829"/>
                            <a:pt x="125715" y="21710"/>
                          </a:cubicBezTo>
                          <a:cubicBezTo>
                            <a:pt x="125715" y="21590"/>
                            <a:pt x="125655" y="21530"/>
                            <a:pt x="125655" y="21411"/>
                          </a:cubicBezTo>
                          <a:lnTo>
                            <a:pt x="122964" y="21231"/>
                          </a:lnTo>
                          <a:cubicBezTo>
                            <a:pt x="122964" y="21351"/>
                            <a:pt x="123023" y="21411"/>
                            <a:pt x="123023" y="21530"/>
                          </a:cubicBezTo>
                          <a:cubicBezTo>
                            <a:pt x="123023" y="21650"/>
                            <a:pt x="123083" y="21710"/>
                            <a:pt x="123083" y="21829"/>
                          </a:cubicBezTo>
                          <a:cubicBezTo>
                            <a:pt x="123083" y="21949"/>
                            <a:pt x="123143" y="22009"/>
                            <a:pt x="123143" y="22129"/>
                          </a:cubicBezTo>
                          <a:cubicBezTo>
                            <a:pt x="123143" y="22248"/>
                            <a:pt x="123143" y="22368"/>
                            <a:pt x="123143" y="22428"/>
                          </a:cubicBezTo>
                          <a:moveTo>
                            <a:pt x="12619" y="1914"/>
                          </a:moveTo>
                          <a:lnTo>
                            <a:pt x="25059" y="2691"/>
                          </a:lnTo>
                          <a:lnTo>
                            <a:pt x="26315" y="2751"/>
                          </a:lnTo>
                          <a:lnTo>
                            <a:pt x="29365" y="2930"/>
                          </a:lnTo>
                          <a:lnTo>
                            <a:pt x="30621" y="2990"/>
                          </a:lnTo>
                          <a:lnTo>
                            <a:pt x="122964" y="8971"/>
                          </a:lnTo>
                          <a:cubicBezTo>
                            <a:pt x="123023" y="8851"/>
                            <a:pt x="123023" y="8791"/>
                            <a:pt x="123083" y="8672"/>
                          </a:cubicBezTo>
                          <a:cubicBezTo>
                            <a:pt x="123143" y="8552"/>
                            <a:pt x="123143" y="8493"/>
                            <a:pt x="123203" y="8373"/>
                          </a:cubicBezTo>
                          <a:cubicBezTo>
                            <a:pt x="123263" y="8253"/>
                            <a:pt x="123263" y="8194"/>
                            <a:pt x="123322" y="8074"/>
                          </a:cubicBezTo>
                          <a:cubicBezTo>
                            <a:pt x="123382" y="7954"/>
                            <a:pt x="123382" y="7895"/>
                            <a:pt x="123442" y="7775"/>
                          </a:cubicBezTo>
                          <a:lnTo>
                            <a:pt x="30681" y="1734"/>
                          </a:lnTo>
                          <a:lnTo>
                            <a:pt x="29425" y="1674"/>
                          </a:lnTo>
                          <a:lnTo>
                            <a:pt x="26315" y="1495"/>
                          </a:lnTo>
                          <a:lnTo>
                            <a:pt x="25059" y="1435"/>
                          </a:lnTo>
                          <a:lnTo>
                            <a:pt x="12320" y="598"/>
                          </a:lnTo>
                          <a:cubicBezTo>
                            <a:pt x="12380" y="718"/>
                            <a:pt x="12380" y="778"/>
                            <a:pt x="12440" y="897"/>
                          </a:cubicBezTo>
                          <a:cubicBezTo>
                            <a:pt x="12500" y="1017"/>
                            <a:pt x="12500" y="1076"/>
                            <a:pt x="12559" y="1196"/>
                          </a:cubicBezTo>
                          <a:cubicBezTo>
                            <a:pt x="12619" y="1316"/>
                            <a:pt x="12619" y="1435"/>
                            <a:pt x="12679" y="1495"/>
                          </a:cubicBezTo>
                          <a:cubicBezTo>
                            <a:pt x="12559" y="1674"/>
                            <a:pt x="12619" y="1794"/>
                            <a:pt x="12619" y="1914"/>
                          </a:cubicBezTo>
                          <a:moveTo>
                            <a:pt x="9629" y="1734"/>
                          </a:moveTo>
                          <a:lnTo>
                            <a:pt x="11303" y="1854"/>
                          </a:lnTo>
                          <a:cubicBezTo>
                            <a:pt x="11243" y="1734"/>
                            <a:pt x="11243" y="1615"/>
                            <a:pt x="11184" y="1555"/>
                          </a:cubicBezTo>
                          <a:cubicBezTo>
                            <a:pt x="11124" y="1435"/>
                            <a:pt x="11124" y="1316"/>
                            <a:pt x="11064" y="1256"/>
                          </a:cubicBezTo>
                          <a:cubicBezTo>
                            <a:pt x="11004" y="1136"/>
                            <a:pt x="11004" y="1076"/>
                            <a:pt x="10944" y="957"/>
                          </a:cubicBezTo>
                          <a:cubicBezTo>
                            <a:pt x="10885" y="837"/>
                            <a:pt x="10825" y="778"/>
                            <a:pt x="10825" y="658"/>
                          </a:cubicBezTo>
                          <a:lnTo>
                            <a:pt x="8971" y="538"/>
                          </a:lnTo>
                          <a:cubicBezTo>
                            <a:pt x="9031" y="598"/>
                            <a:pt x="9031" y="658"/>
                            <a:pt x="9090" y="718"/>
                          </a:cubicBezTo>
                          <a:cubicBezTo>
                            <a:pt x="9150" y="778"/>
                            <a:pt x="9150" y="837"/>
                            <a:pt x="9210" y="897"/>
                          </a:cubicBezTo>
                          <a:cubicBezTo>
                            <a:pt x="9270" y="957"/>
                            <a:pt x="9270" y="1017"/>
                            <a:pt x="9330" y="1076"/>
                          </a:cubicBezTo>
                          <a:cubicBezTo>
                            <a:pt x="9389" y="1136"/>
                            <a:pt x="9389" y="1196"/>
                            <a:pt x="9449" y="1256"/>
                          </a:cubicBezTo>
                          <a:cubicBezTo>
                            <a:pt x="9449" y="1316"/>
                            <a:pt x="9509" y="1375"/>
                            <a:pt x="9509" y="1435"/>
                          </a:cubicBezTo>
                          <a:cubicBezTo>
                            <a:pt x="9509" y="1495"/>
                            <a:pt x="9569" y="1555"/>
                            <a:pt x="9569" y="1615"/>
                          </a:cubicBezTo>
                          <a:cubicBezTo>
                            <a:pt x="9569" y="1674"/>
                            <a:pt x="9629" y="1734"/>
                            <a:pt x="9629" y="1794"/>
                          </a:cubicBezTo>
                          <a:cubicBezTo>
                            <a:pt x="9569" y="1615"/>
                            <a:pt x="9629" y="1674"/>
                            <a:pt x="9629" y="1734"/>
                          </a:cubicBezTo>
                          <a:moveTo>
                            <a:pt x="5921" y="15370"/>
                          </a:moveTo>
                          <a:lnTo>
                            <a:pt x="21530" y="16327"/>
                          </a:lnTo>
                          <a:lnTo>
                            <a:pt x="22846" y="16387"/>
                          </a:lnTo>
                          <a:lnTo>
                            <a:pt x="26076" y="16567"/>
                          </a:lnTo>
                          <a:lnTo>
                            <a:pt x="27391" y="16626"/>
                          </a:lnTo>
                          <a:lnTo>
                            <a:pt x="122007" y="22308"/>
                          </a:lnTo>
                          <a:cubicBezTo>
                            <a:pt x="122007" y="22189"/>
                            <a:pt x="121947" y="22129"/>
                            <a:pt x="121947" y="22009"/>
                          </a:cubicBezTo>
                          <a:cubicBezTo>
                            <a:pt x="121947" y="21889"/>
                            <a:pt x="121887" y="21829"/>
                            <a:pt x="121887" y="21710"/>
                          </a:cubicBezTo>
                          <a:cubicBezTo>
                            <a:pt x="121887" y="21590"/>
                            <a:pt x="121827" y="21530"/>
                            <a:pt x="121827" y="21411"/>
                          </a:cubicBezTo>
                          <a:cubicBezTo>
                            <a:pt x="121827" y="21291"/>
                            <a:pt x="121767" y="21231"/>
                            <a:pt x="121767" y="21112"/>
                          </a:cubicBezTo>
                          <a:lnTo>
                            <a:pt x="27930" y="15430"/>
                          </a:lnTo>
                          <a:lnTo>
                            <a:pt x="26674" y="15370"/>
                          </a:lnTo>
                          <a:lnTo>
                            <a:pt x="23504" y="15191"/>
                          </a:lnTo>
                          <a:lnTo>
                            <a:pt x="22188" y="15131"/>
                          </a:lnTo>
                          <a:lnTo>
                            <a:pt x="7775" y="14234"/>
                          </a:lnTo>
                          <a:cubicBezTo>
                            <a:pt x="7655" y="14354"/>
                            <a:pt x="7476" y="14413"/>
                            <a:pt x="7356" y="14533"/>
                          </a:cubicBezTo>
                          <a:cubicBezTo>
                            <a:pt x="7177" y="14653"/>
                            <a:pt x="7057" y="14713"/>
                            <a:pt x="6878" y="14832"/>
                          </a:cubicBezTo>
                          <a:cubicBezTo>
                            <a:pt x="6698" y="14952"/>
                            <a:pt x="6579" y="15012"/>
                            <a:pt x="6399" y="15131"/>
                          </a:cubicBezTo>
                          <a:cubicBezTo>
                            <a:pt x="6220" y="15191"/>
                            <a:pt x="6040" y="15311"/>
                            <a:pt x="5921" y="15370"/>
                          </a:cubicBezTo>
                          <a:moveTo>
                            <a:pt x="418" y="12679"/>
                          </a:moveTo>
                          <a:cubicBezTo>
                            <a:pt x="538" y="12679"/>
                            <a:pt x="658" y="12679"/>
                            <a:pt x="718" y="12679"/>
                          </a:cubicBezTo>
                          <a:cubicBezTo>
                            <a:pt x="777" y="12679"/>
                            <a:pt x="957" y="12679"/>
                            <a:pt x="1017" y="12679"/>
                          </a:cubicBezTo>
                          <a:cubicBezTo>
                            <a:pt x="1076" y="12679"/>
                            <a:pt x="1256" y="12679"/>
                            <a:pt x="1316" y="12679"/>
                          </a:cubicBezTo>
                          <a:cubicBezTo>
                            <a:pt x="1435" y="12679"/>
                            <a:pt x="1555" y="12679"/>
                            <a:pt x="1615" y="12679"/>
                          </a:cubicBezTo>
                          <a:lnTo>
                            <a:pt x="3409" y="1375"/>
                          </a:lnTo>
                          <a:lnTo>
                            <a:pt x="8074" y="1674"/>
                          </a:lnTo>
                          <a:cubicBezTo>
                            <a:pt x="8014" y="1555"/>
                            <a:pt x="7954" y="1435"/>
                            <a:pt x="7894" y="1316"/>
                          </a:cubicBezTo>
                          <a:cubicBezTo>
                            <a:pt x="7835" y="1196"/>
                            <a:pt x="7715" y="1076"/>
                            <a:pt x="7655" y="957"/>
                          </a:cubicBezTo>
                          <a:cubicBezTo>
                            <a:pt x="7595" y="837"/>
                            <a:pt x="7476" y="718"/>
                            <a:pt x="7416" y="658"/>
                          </a:cubicBezTo>
                          <a:cubicBezTo>
                            <a:pt x="7356" y="538"/>
                            <a:pt x="7236" y="479"/>
                            <a:pt x="7177" y="359"/>
                          </a:cubicBezTo>
                          <a:lnTo>
                            <a:pt x="3050" y="60"/>
                          </a:lnTo>
                          <a:lnTo>
                            <a:pt x="2452" y="0"/>
                          </a:lnTo>
                          <a:lnTo>
                            <a:pt x="418" y="12679"/>
                          </a:lnTo>
                          <a:moveTo>
                            <a:pt x="0" y="15012"/>
                          </a:moveTo>
                          <a:lnTo>
                            <a:pt x="2871" y="15191"/>
                          </a:lnTo>
                          <a:cubicBezTo>
                            <a:pt x="3110" y="15131"/>
                            <a:pt x="3349" y="15072"/>
                            <a:pt x="3588" y="15012"/>
                          </a:cubicBezTo>
                          <a:cubicBezTo>
                            <a:pt x="3827" y="14952"/>
                            <a:pt x="4067" y="14832"/>
                            <a:pt x="4306" y="14772"/>
                          </a:cubicBezTo>
                          <a:cubicBezTo>
                            <a:pt x="4545" y="14713"/>
                            <a:pt x="4785" y="14593"/>
                            <a:pt x="5024" y="14473"/>
                          </a:cubicBezTo>
                          <a:cubicBezTo>
                            <a:pt x="5263" y="14354"/>
                            <a:pt x="5502" y="14234"/>
                            <a:pt x="5681" y="14114"/>
                          </a:cubicBezTo>
                          <a:lnTo>
                            <a:pt x="1555" y="13875"/>
                          </a:lnTo>
                          <a:cubicBezTo>
                            <a:pt x="1435" y="13875"/>
                            <a:pt x="1316" y="13875"/>
                            <a:pt x="1196" y="13875"/>
                          </a:cubicBezTo>
                          <a:cubicBezTo>
                            <a:pt x="1076" y="13875"/>
                            <a:pt x="957" y="13875"/>
                            <a:pt x="837" y="13875"/>
                          </a:cubicBezTo>
                          <a:cubicBezTo>
                            <a:pt x="718" y="13875"/>
                            <a:pt x="598" y="13875"/>
                            <a:pt x="478" y="13875"/>
                          </a:cubicBezTo>
                          <a:cubicBezTo>
                            <a:pt x="359" y="13875"/>
                            <a:pt x="239" y="13875"/>
                            <a:pt x="119" y="13875"/>
                          </a:cubicBezTo>
                          <a:lnTo>
                            <a:pt x="0" y="15012"/>
                          </a:lnTo>
                        </a:path>
                      </a:pathLst>
                    </a:custGeom>
                    <a:noFill/>
                    <a:ln w="6350" cap="flat">
                      <a:solidFill>
                        <a:schemeClr val="bg1">
                          <a:alpha val="80000"/>
                        </a:schemeClr>
                      </a:solidFill>
                      <a:prstDash val="solid"/>
                      <a:miter/>
                    </a:ln>
                  </p:spPr>
                  <p:txBody>
                    <a:bodyPr rtlCol="0" anchor="ctr"/>
                    <a:lstStyle/>
                    <a:p>
                      <a:endParaRPr lang="en-GB"/>
                    </a:p>
                  </p:txBody>
                </p:sp>
                <p:sp>
                  <p:nvSpPr>
                    <p:cNvPr id="7460" name="Vrije vorm: vorm 7459">
                      <a:extLst>
                        <a:ext uri="{FF2B5EF4-FFF2-40B4-BE49-F238E27FC236}">
                          <a16:creationId xmlns:a16="http://schemas.microsoft.com/office/drawing/2014/main" id="{B64041CD-E0BC-4694-AF23-21D85425FEA7}"/>
                        </a:ext>
                      </a:extLst>
                    </p:cNvPr>
                    <p:cNvSpPr/>
                    <p:nvPr/>
                  </p:nvSpPr>
                  <p:spPr>
                    <a:xfrm>
                      <a:off x="4843627" y="5079323"/>
                      <a:ext cx="22667" cy="22295"/>
                    </a:xfrm>
                    <a:custGeom>
                      <a:avLst/>
                      <a:gdLst>
                        <a:gd name="connsiteX0" fmla="*/ 12560 w 22667"/>
                        <a:gd name="connsiteY0" fmla="*/ 20777 h 22295"/>
                        <a:gd name="connsiteX1" fmla="*/ 11423 w 22667"/>
                        <a:gd name="connsiteY1" fmla="*/ 20957 h 22295"/>
                        <a:gd name="connsiteX2" fmla="*/ 10287 w 22667"/>
                        <a:gd name="connsiteY2" fmla="*/ 21016 h 22295"/>
                        <a:gd name="connsiteX3" fmla="*/ 9151 w 22667"/>
                        <a:gd name="connsiteY3" fmla="*/ 20957 h 22295"/>
                        <a:gd name="connsiteX4" fmla="*/ 8014 w 22667"/>
                        <a:gd name="connsiteY4" fmla="*/ 20777 h 22295"/>
                        <a:gd name="connsiteX5" fmla="*/ 7117 w 22667"/>
                        <a:gd name="connsiteY5" fmla="*/ 20478 h 22295"/>
                        <a:gd name="connsiteX6" fmla="*/ 6280 w 22667"/>
                        <a:gd name="connsiteY6" fmla="*/ 20119 h 22295"/>
                        <a:gd name="connsiteX7" fmla="*/ 5503 w 22667"/>
                        <a:gd name="connsiteY7" fmla="*/ 19700 h 22295"/>
                        <a:gd name="connsiteX8" fmla="*/ 4785 w 22667"/>
                        <a:gd name="connsiteY8" fmla="*/ 19222 h 22295"/>
                        <a:gd name="connsiteX9" fmla="*/ 2751 w 22667"/>
                        <a:gd name="connsiteY9" fmla="*/ 17189 h 22295"/>
                        <a:gd name="connsiteX10" fmla="*/ 1495 w 22667"/>
                        <a:gd name="connsiteY10" fmla="*/ 14617 h 22295"/>
                        <a:gd name="connsiteX11" fmla="*/ 1076 w 22667"/>
                        <a:gd name="connsiteY11" fmla="*/ 11746 h 22295"/>
                        <a:gd name="connsiteX12" fmla="*/ 1615 w 22667"/>
                        <a:gd name="connsiteY12" fmla="*/ 8696 h 22295"/>
                        <a:gd name="connsiteX13" fmla="*/ 3649 w 22667"/>
                        <a:gd name="connsiteY13" fmla="*/ 5108 h 22295"/>
                        <a:gd name="connsiteX14" fmla="*/ 6758 w 22667"/>
                        <a:gd name="connsiteY14" fmla="*/ 2536 h 22295"/>
                        <a:gd name="connsiteX15" fmla="*/ 10526 w 22667"/>
                        <a:gd name="connsiteY15" fmla="*/ 1220 h 22295"/>
                        <a:gd name="connsiteX16" fmla="*/ 14533 w 22667"/>
                        <a:gd name="connsiteY16" fmla="*/ 1399 h 22295"/>
                        <a:gd name="connsiteX17" fmla="*/ 15430 w 22667"/>
                        <a:gd name="connsiteY17" fmla="*/ 1639 h 22295"/>
                        <a:gd name="connsiteX18" fmla="*/ 16268 w 22667"/>
                        <a:gd name="connsiteY18" fmla="*/ 1997 h 22295"/>
                        <a:gd name="connsiteX19" fmla="*/ 17045 w 22667"/>
                        <a:gd name="connsiteY19" fmla="*/ 2416 h 22295"/>
                        <a:gd name="connsiteX20" fmla="*/ 17763 w 22667"/>
                        <a:gd name="connsiteY20" fmla="*/ 2895 h 22295"/>
                        <a:gd name="connsiteX21" fmla="*/ 18600 w 22667"/>
                        <a:gd name="connsiteY21" fmla="*/ 3552 h 22295"/>
                        <a:gd name="connsiteX22" fmla="*/ 19318 w 22667"/>
                        <a:gd name="connsiteY22" fmla="*/ 4330 h 22295"/>
                        <a:gd name="connsiteX23" fmla="*/ 19916 w 22667"/>
                        <a:gd name="connsiteY23" fmla="*/ 5167 h 22295"/>
                        <a:gd name="connsiteX24" fmla="*/ 20454 w 22667"/>
                        <a:gd name="connsiteY24" fmla="*/ 6065 h 22295"/>
                        <a:gd name="connsiteX25" fmla="*/ 20574 w 22667"/>
                        <a:gd name="connsiteY25" fmla="*/ 6364 h 22295"/>
                        <a:gd name="connsiteX26" fmla="*/ 20693 w 22667"/>
                        <a:gd name="connsiteY26" fmla="*/ 6663 h 22295"/>
                        <a:gd name="connsiteX27" fmla="*/ 20813 w 22667"/>
                        <a:gd name="connsiteY27" fmla="*/ 6962 h 22295"/>
                        <a:gd name="connsiteX28" fmla="*/ 20933 w 22667"/>
                        <a:gd name="connsiteY28" fmla="*/ 7260 h 22295"/>
                        <a:gd name="connsiteX29" fmla="*/ 21231 w 22667"/>
                        <a:gd name="connsiteY29" fmla="*/ 8696 h 22295"/>
                        <a:gd name="connsiteX30" fmla="*/ 21351 w 22667"/>
                        <a:gd name="connsiteY30" fmla="*/ 10191 h 22295"/>
                        <a:gd name="connsiteX31" fmla="*/ 21231 w 22667"/>
                        <a:gd name="connsiteY31" fmla="*/ 11746 h 22295"/>
                        <a:gd name="connsiteX32" fmla="*/ 20813 w 22667"/>
                        <a:gd name="connsiteY32" fmla="*/ 13301 h 22295"/>
                        <a:gd name="connsiteX33" fmla="*/ 19916 w 22667"/>
                        <a:gd name="connsiteY33" fmla="*/ 15275 h 22295"/>
                        <a:gd name="connsiteX34" fmla="*/ 18660 w 22667"/>
                        <a:gd name="connsiteY34" fmla="*/ 17009 h 22295"/>
                        <a:gd name="connsiteX35" fmla="*/ 17105 w 22667"/>
                        <a:gd name="connsiteY35" fmla="*/ 18444 h 22295"/>
                        <a:gd name="connsiteX36" fmla="*/ 15371 w 22667"/>
                        <a:gd name="connsiteY36" fmla="*/ 19581 h 22295"/>
                        <a:gd name="connsiteX37" fmla="*/ 14713 w 22667"/>
                        <a:gd name="connsiteY37" fmla="*/ 19940 h 22295"/>
                        <a:gd name="connsiteX38" fmla="*/ 13995 w 22667"/>
                        <a:gd name="connsiteY38" fmla="*/ 20239 h 22295"/>
                        <a:gd name="connsiteX39" fmla="*/ 13277 w 22667"/>
                        <a:gd name="connsiteY39" fmla="*/ 20478 h 22295"/>
                        <a:gd name="connsiteX40" fmla="*/ 12560 w 22667"/>
                        <a:gd name="connsiteY40" fmla="*/ 20777 h 22295"/>
                        <a:gd name="connsiteX41" fmla="*/ 3947 w 22667"/>
                        <a:gd name="connsiteY41" fmla="*/ 20358 h 22295"/>
                        <a:gd name="connsiteX42" fmla="*/ 4785 w 22667"/>
                        <a:gd name="connsiteY42" fmla="*/ 20897 h 22295"/>
                        <a:gd name="connsiteX43" fmla="*/ 5682 w 22667"/>
                        <a:gd name="connsiteY43" fmla="*/ 21315 h 22295"/>
                        <a:gd name="connsiteX44" fmla="*/ 6639 w 22667"/>
                        <a:gd name="connsiteY44" fmla="*/ 21674 h 22295"/>
                        <a:gd name="connsiteX45" fmla="*/ 7656 w 22667"/>
                        <a:gd name="connsiteY45" fmla="*/ 21973 h 22295"/>
                        <a:gd name="connsiteX46" fmla="*/ 9689 w 22667"/>
                        <a:gd name="connsiteY46" fmla="*/ 22272 h 22295"/>
                        <a:gd name="connsiteX47" fmla="*/ 11722 w 22667"/>
                        <a:gd name="connsiteY47" fmla="*/ 22153 h 22295"/>
                        <a:gd name="connsiteX48" fmla="*/ 13696 w 22667"/>
                        <a:gd name="connsiteY48" fmla="*/ 21734 h 22295"/>
                        <a:gd name="connsiteX49" fmla="*/ 15610 w 22667"/>
                        <a:gd name="connsiteY49" fmla="*/ 20957 h 22295"/>
                        <a:gd name="connsiteX50" fmla="*/ 16088 w 22667"/>
                        <a:gd name="connsiteY50" fmla="*/ 20717 h 22295"/>
                        <a:gd name="connsiteX51" fmla="*/ 16567 w 22667"/>
                        <a:gd name="connsiteY51" fmla="*/ 20418 h 22295"/>
                        <a:gd name="connsiteX52" fmla="*/ 17045 w 22667"/>
                        <a:gd name="connsiteY52" fmla="*/ 20119 h 22295"/>
                        <a:gd name="connsiteX53" fmla="*/ 17464 w 22667"/>
                        <a:gd name="connsiteY53" fmla="*/ 19820 h 22295"/>
                        <a:gd name="connsiteX54" fmla="*/ 18959 w 22667"/>
                        <a:gd name="connsiteY54" fmla="*/ 18564 h 22295"/>
                        <a:gd name="connsiteX55" fmla="*/ 20215 w 22667"/>
                        <a:gd name="connsiteY55" fmla="*/ 17129 h 22295"/>
                        <a:gd name="connsiteX56" fmla="*/ 21291 w 22667"/>
                        <a:gd name="connsiteY56" fmla="*/ 15514 h 22295"/>
                        <a:gd name="connsiteX57" fmla="*/ 22069 w 22667"/>
                        <a:gd name="connsiteY57" fmla="*/ 13720 h 22295"/>
                        <a:gd name="connsiteX58" fmla="*/ 22488 w 22667"/>
                        <a:gd name="connsiteY58" fmla="*/ 12105 h 22295"/>
                        <a:gd name="connsiteX59" fmla="*/ 22667 w 22667"/>
                        <a:gd name="connsiteY59" fmla="*/ 10550 h 22295"/>
                        <a:gd name="connsiteX60" fmla="*/ 22607 w 22667"/>
                        <a:gd name="connsiteY60" fmla="*/ 8995 h 22295"/>
                        <a:gd name="connsiteX61" fmla="*/ 22368 w 22667"/>
                        <a:gd name="connsiteY61" fmla="*/ 7500 h 22295"/>
                        <a:gd name="connsiteX62" fmla="*/ 22308 w 22667"/>
                        <a:gd name="connsiteY62" fmla="*/ 7201 h 22295"/>
                        <a:gd name="connsiteX63" fmla="*/ 22189 w 22667"/>
                        <a:gd name="connsiteY63" fmla="*/ 6902 h 22295"/>
                        <a:gd name="connsiteX64" fmla="*/ 22069 w 22667"/>
                        <a:gd name="connsiteY64" fmla="*/ 6603 h 22295"/>
                        <a:gd name="connsiteX65" fmla="*/ 21950 w 22667"/>
                        <a:gd name="connsiteY65" fmla="*/ 6304 h 22295"/>
                        <a:gd name="connsiteX66" fmla="*/ 21351 w 22667"/>
                        <a:gd name="connsiteY66" fmla="*/ 5048 h 22295"/>
                        <a:gd name="connsiteX67" fmla="*/ 20574 w 22667"/>
                        <a:gd name="connsiteY67" fmla="*/ 3911 h 22295"/>
                        <a:gd name="connsiteX68" fmla="*/ 19677 w 22667"/>
                        <a:gd name="connsiteY68" fmla="*/ 2895 h 22295"/>
                        <a:gd name="connsiteX69" fmla="*/ 18600 w 22667"/>
                        <a:gd name="connsiteY69" fmla="*/ 1997 h 22295"/>
                        <a:gd name="connsiteX70" fmla="*/ 17763 w 22667"/>
                        <a:gd name="connsiteY70" fmla="*/ 1459 h 22295"/>
                        <a:gd name="connsiteX71" fmla="*/ 16926 w 22667"/>
                        <a:gd name="connsiteY71" fmla="*/ 981 h 22295"/>
                        <a:gd name="connsiteX72" fmla="*/ 16028 w 22667"/>
                        <a:gd name="connsiteY72" fmla="*/ 622 h 22295"/>
                        <a:gd name="connsiteX73" fmla="*/ 15072 w 22667"/>
                        <a:gd name="connsiteY73" fmla="*/ 323 h 22295"/>
                        <a:gd name="connsiteX74" fmla="*/ 10586 w 22667"/>
                        <a:gd name="connsiteY74" fmla="*/ 143 h 22295"/>
                        <a:gd name="connsiteX75" fmla="*/ 6340 w 22667"/>
                        <a:gd name="connsiteY75" fmla="*/ 1639 h 22295"/>
                        <a:gd name="connsiteX76" fmla="*/ 2871 w 22667"/>
                        <a:gd name="connsiteY76" fmla="*/ 4510 h 22295"/>
                        <a:gd name="connsiteX77" fmla="*/ 598 w 22667"/>
                        <a:gd name="connsiteY77" fmla="*/ 8517 h 22295"/>
                        <a:gd name="connsiteX78" fmla="*/ 0 w 22667"/>
                        <a:gd name="connsiteY78" fmla="*/ 11985 h 22295"/>
                        <a:gd name="connsiteX79" fmla="*/ 479 w 22667"/>
                        <a:gd name="connsiteY79" fmla="*/ 15275 h 22295"/>
                        <a:gd name="connsiteX80" fmla="*/ 1914 w 22667"/>
                        <a:gd name="connsiteY80" fmla="*/ 18145 h 22295"/>
                        <a:gd name="connsiteX81" fmla="*/ 3947 w 22667"/>
                        <a:gd name="connsiteY81" fmla="*/ 20358 h 2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2667" h="22295">
                          <a:moveTo>
                            <a:pt x="12560" y="20777"/>
                          </a:moveTo>
                          <a:cubicBezTo>
                            <a:pt x="12201" y="20837"/>
                            <a:pt x="11842" y="20897"/>
                            <a:pt x="11423" y="20957"/>
                          </a:cubicBezTo>
                          <a:cubicBezTo>
                            <a:pt x="11065" y="21016"/>
                            <a:pt x="10646" y="21016"/>
                            <a:pt x="10287" y="21016"/>
                          </a:cubicBezTo>
                          <a:cubicBezTo>
                            <a:pt x="9928" y="21016"/>
                            <a:pt x="9510" y="21016"/>
                            <a:pt x="9151" y="20957"/>
                          </a:cubicBezTo>
                          <a:cubicBezTo>
                            <a:pt x="8792" y="20897"/>
                            <a:pt x="8373" y="20837"/>
                            <a:pt x="8014" y="20777"/>
                          </a:cubicBezTo>
                          <a:cubicBezTo>
                            <a:pt x="7715" y="20717"/>
                            <a:pt x="7416" y="20598"/>
                            <a:pt x="7117" y="20478"/>
                          </a:cubicBezTo>
                          <a:cubicBezTo>
                            <a:pt x="6818" y="20358"/>
                            <a:pt x="6579" y="20239"/>
                            <a:pt x="6280" y="20119"/>
                          </a:cubicBezTo>
                          <a:cubicBezTo>
                            <a:pt x="6041" y="19999"/>
                            <a:pt x="5742" y="19880"/>
                            <a:pt x="5503" y="19700"/>
                          </a:cubicBezTo>
                          <a:cubicBezTo>
                            <a:pt x="5263" y="19581"/>
                            <a:pt x="5024" y="19402"/>
                            <a:pt x="4785" y="19222"/>
                          </a:cubicBezTo>
                          <a:cubicBezTo>
                            <a:pt x="4007" y="18684"/>
                            <a:pt x="3289" y="17966"/>
                            <a:pt x="2751" y="17189"/>
                          </a:cubicBezTo>
                          <a:cubicBezTo>
                            <a:pt x="2213" y="16411"/>
                            <a:pt x="1794" y="15574"/>
                            <a:pt x="1495" y="14617"/>
                          </a:cubicBezTo>
                          <a:cubicBezTo>
                            <a:pt x="1196" y="13720"/>
                            <a:pt x="1076" y="12703"/>
                            <a:pt x="1076" y="11746"/>
                          </a:cubicBezTo>
                          <a:cubicBezTo>
                            <a:pt x="1076" y="10729"/>
                            <a:pt x="1256" y="9713"/>
                            <a:pt x="1615" y="8696"/>
                          </a:cubicBezTo>
                          <a:cubicBezTo>
                            <a:pt x="2034" y="7380"/>
                            <a:pt x="2751" y="6124"/>
                            <a:pt x="3649" y="5108"/>
                          </a:cubicBezTo>
                          <a:cubicBezTo>
                            <a:pt x="4545" y="4091"/>
                            <a:pt x="5562" y="3194"/>
                            <a:pt x="6758" y="2536"/>
                          </a:cubicBezTo>
                          <a:cubicBezTo>
                            <a:pt x="7954" y="1878"/>
                            <a:pt x="9211" y="1399"/>
                            <a:pt x="10526" y="1220"/>
                          </a:cubicBezTo>
                          <a:cubicBezTo>
                            <a:pt x="11842" y="981"/>
                            <a:pt x="13218" y="1041"/>
                            <a:pt x="14533" y="1399"/>
                          </a:cubicBezTo>
                          <a:cubicBezTo>
                            <a:pt x="14832" y="1459"/>
                            <a:pt x="15131" y="1579"/>
                            <a:pt x="15430" y="1639"/>
                          </a:cubicBezTo>
                          <a:cubicBezTo>
                            <a:pt x="15729" y="1758"/>
                            <a:pt x="15969" y="1878"/>
                            <a:pt x="16268" y="1997"/>
                          </a:cubicBezTo>
                          <a:cubicBezTo>
                            <a:pt x="16567" y="2117"/>
                            <a:pt x="16806" y="2237"/>
                            <a:pt x="17045" y="2416"/>
                          </a:cubicBezTo>
                          <a:cubicBezTo>
                            <a:pt x="17284" y="2536"/>
                            <a:pt x="17523" y="2715"/>
                            <a:pt x="17763" y="2895"/>
                          </a:cubicBezTo>
                          <a:cubicBezTo>
                            <a:pt x="18062" y="3134"/>
                            <a:pt x="18301" y="3313"/>
                            <a:pt x="18600" y="3552"/>
                          </a:cubicBezTo>
                          <a:cubicBezTo>
                            <a:pt x="18839" y="3792"/>
                            <a:pt x="19079" y="4031"/>
                            <a:pt x="19318" y="4330"/>
                          </a:cubicBezTo>
                          <a:cubicBezTo>
                            <a:pt x="19557" y="4569"/>
                            <a:pt x="19736" y="4868"/>
                            <a:pt x="19916" y="5167"/>
                          </a:cubicBezTo>
                          <a:cubicBezTo>
                            <a:pt x="20096" y="5466"/>
                            <a:pt x="20275" y="5765"/>
                            <a:pt x="20454" y="6065"/>
                          </a:cubicBezTo>
                          <a:cubicBezTo>
                            <a:pt x="20514" y="6184"/>
                            <a:pt x="20574" y="6244"/>
                            <a:pt x="20574" y="6364"/>
                          </a:cubicBezTo>
                          <a:cubicBezTo>
                            <a:pt x="20634" y="6483"/>
                            <a:pt x="20693" y="6543"/>
                            <a:pt x="20693" y="6663"/>
                          </a:cubicBezTo>
                          <a:cubicBezTo>
                            <a:pt x="20753" y="6782"/>
                            <a:pt x="20753" y="6902"/>
                            <a:pt x="20813" y="6962"/>
                          </a:cubicBezTo>
                          <a:cubicBezTo>
                            <a:pt x="20873" y="7081"/>
                            <a:pt x="20873" y="7201"/>
                            <a:pt x="20933" y="7260"/>
                          </a:cubicBezTo>
                          <a:cubicBezTo>
                            <a:pt x="21052" y="7739"/>
                            <a:pt x="21172" y="8218"/>
                            <a:pt x="21231" y="8696"/>
                          </a:cubicBezTo>
                          <a:cubicBezTo>
                            <a:pt x="21291" y="9174"/>
                            <a:pt x="21351" y="9653"/>
                            <a:pt x="21351" y="10191"/>
                          </a:cubicBezTo>
                          <a:cubicBezTo>
                            <a:pt x="21351" y="10729"/>
                            <a:pt x="21291" y="11208"/>
                            <a:pt x="21231" y="11746"/>
                          </a:cubicBezTo>
                          <a:cubicBezTo>
                            <a:pt x="21172" y="12284"/>
                            <a:pt x="20992" y="12763"/>
                            <a:pt x="20813" y="13301"/>
                          </a:cubicBezTo>
                          <a:cubicBezTo>
                            <a:pt x="20574" y="14019"/>
                            <a:pt x="20275" y="14677"/>
                            <a:pt x="19916" y="15275"/>
                          </a:cubicBezTo>
                          <a:cubicBezTo>
                            <a:pt x="19557" y="15873"/>
                            <a:pt x="19138" y="16471"/>
                            <a:pt x="18660" y="17009"/>
                          </a:cubicBezTo>
                          <a:cubicBezTo>
                            <a:pt x="18182" y="17548"/>
                            <a:pt x="17703" y="18026"/>
                            <a:pt x="17105" y="18444"/>
                          </a:cubicBezTo>
                          <a:cubicBezTo>
                            <a:pt x="16567" y="18863"/>
                            <a:pt x="15969" y="19282"/>
                            <a:pt x="15371" y="19581"/>
                          </a:cubicBezTo>
                          <a:cubicBezTo>
                            <a:pt x="15131" y="19700"/>
                            <a:pt x="14892" y="19820"/>
                            <a:pt x="14713" y="19940"/>
                          </a:cubicBezTo>
                          <a:cubicBezTo>
                            <a:pt x="14474" y="20059"/>
                            <a:pt x="14234" y="20119"/>
                            <a:pt x="13995" y="20239"/>
                          </a:cubicBezTo>
                          <a:cubicBezTo>
                            <a:pt x="13756" y="20299"/>
                            <a:pt x="13516" y="20418"/>
                            <a:pt x="13277" y="20478"/>
                          </a:cubicBezTo>
                          <a:cubicBezTo>
                            <a:pt x="13038" y="20658"/>
                            <a:pt x="12799" y="20717"/>
                            <a:pt x="12560" y="20777"/>
                          </a:cubicBezTo>
                          <a:moveTo>
                            <a:pt x="3947" y="20358"/>
                          </a:moveTo>
                          <a:cubicBezTo>
                            <a:pt x="4187" y="20538"/>
                            <a:pt x="4486" y="20717"/>
                            <a:pt x="4785" y="20897"/>
                          </a:cubicBezTo>
                          <a:cubicBezTo>
                            <a:pt x="5084" y="21076"/>
                            <a:pt x="5383" y="21196"/>
                            <a:pt x="5682" y="21315"/>
                          </a:cubicBezTo>
                          <a:cubicBezTo>
                            <a:pt x="5981" y="21435"/>
                            <a:pt x="6280" y="21554"/>
                            <a:pt x="6639" y="21674"/>
                          </a:cubicBezTo>
                          <a:cubicBezTo>
                            <a:pt x="6998" y="21794"/>
                            <a:pt x="7297" y="21853"/>
                            <a:pt x="7656" y="21973"/>
                          </a:cubicBezTo>
                          <a:cubicBezTo>
                            <a:pt x="8313" y="22153"/>
                            <a:pt x="9031" y="22212"/>
                            <a:pt x="9689" y="22272"/>
                          </a:cubicBezTo>
                          <a:cubicBezTo>
                            <a:pt x="10347" y="22332"/>
                            <a:pt x="11065" y="22272"/>
                            <a:pt x="11722" y="22153"/>
                          </a:cubicBezTo>
                          <a:cubicBezTo>
                            <a:pt x="12380" y="22093"/>
                            <a:pt x="13038" y="21913"/>
                            <a:pt x="13696" y="21734"/>
                          </a:cubicBezTo>
                          <a:cubicBezTo>
                            <a:pt x="14354" y="21554"/>
                            <a:pt x="14952" y="21256"/>
                            <a:pt x="15610" y="20957"/>
                          </a:cubicBezTo>
                          <a:cubicBezTo>
                            <a:pt x="15789" y="20897"/>
                            <a:pt x="15909" y="20777"/>
                            <a:pt x="16088" y="20717"/>
                          </a:cubicBezTo>
                          <a:cubicBezTo>
                            <a:pt x="16268" y="20658"/>
                            <a:pt x="16387" y="20538"/>
                            <a:pt x="16567" y="20418"/>
                          </a:cubicBezTo>
                          <a:cubicBezTo>
                            <a:pt x="16746" y="20299"/>
                            <a:pt x="16866" y="20239"/>
                            <a:pt x="17045" y="20119"/>
                          </a:cubicBezTo>
                          <a:cubicBezTo>
                            <a:pt x="17225" y="19999"/>
                            <a:pt x="17344" y="19940"/>
                            <a:pt x="17464" y="19820"/>
                          </a:cubicBezTo>
                          <a:cubicBezTo>
                            <a:pt x="18002" y="19461"/>
                            <a:pt x="18481" y="19043"/>
                            <a:pt x="18959" y="18564"/>
                          </a:cubicBezTo>
                          <a:cubicBezTo>
                            <a:pt x="19437" y="18086"/>
                            <a:pt x="19856" y="17607"/>
                            <a:pt x="20215" y="17129"/>
                          </a:cubicBezTo>
                          <a:cubicBezTo>
                            <a:pt x="20634" y="16590"/>
                            <a:pt x="20933" y="16052"/>
                            <a:pt x="21291" y="15514"/>
                          </a:cubicBezTo>
                          <a:cubicBezTo>
                            <a:pt x="21591" y="14916"/>
                            <a:pt x="21890" y="14318"/>
                            <a:pt x="22069" y="13720"/>
                          </a:cubicBezTo>
                          <a:cubicBezTo>
                            <a:pt x="22248" y="13182"/>
                            <a:pt x="22368" y="12643"/>
                            <a:pt x="22488" y="12105"/>
                          </a:cubicBezTo>
                          <a:cubicBezTo>
                            <a:pt x="22607" y="11567"/>
                            <a:pt x="22667" y="11028"/>
                            <a:pt x="22667" y="10550"/>
                          </a:cubicBezTo>
                          <a:cubicBezTo>
                            <a:pt x="22667" y="10012"/>
                            <a:pt x="22667" y="9533"/>
                            <a:pt x="22607" y="8995"/>
                          </a:cubicBezTo>
                          <a:cubicBezTo>
                            <a:pt x="22547" y="8517"/>
                            <a:pt x="22488" y="7978"/>
                            <a:pt x="22368" y="7500"/>
                          </a:cubicBezTo>
                          <a:cubicBezTo>
                            <a:pt x="22368" y="7380"/>
                            <a:pt x="22308" y="7260"/>
                            <a:pt x="22308" y="7201"/>
                          </a:cubicBezTo>
                          <a:cubicBezTo>
                            <a:pt x="22248" y="7081"/>
                            <a:pt x="22248" y="6962"/>
                            <a:pt x="22189" y="6902"/>
                          </a:cubicBezTo>
                          <a:cubicBezTo>
                            <a:pt x="22129" y="6782"/>
                            <a:pt x="22129" y="6722"/>
                            <a:pt x="22069" y="6603"/>
                          </a:cubicBezTo>
                          <a:cubicBezTo>
                            <a:pt x="22009" y="6483"/>
                            <a:pt x="22009" y="6423"/>
                            <a:pt x="21950" y="6304"/>
                          </a:cubicBezTo>
                          <a:cubicBezTo>
                            <a:pt x="21770" y="5885"/>
                            <a:pt x="21591" y="5466"/>
                            <a:pt x="21351" y="5048"/>
                          </a:cubicBezTo>
                          <a:cubicBezTo>
                            <a:pt x="21112" y="4629"/>
                            <a:pt x="20873" y="4270"/>
                            <a:pt x="20574" y="3911"/>
                          </a:cubicBezTo>
                          <a:cubicBezTo>
                            <a:pt x="20275" y="3552"/>
                            <a:pt x="19976" y="3194"/>
                            <a:pt x="19677" y="2895"/>
                          </a:cubicBezTo>
                          <a:cubicBezTo>
                            <a:pt x="19318" y="2596"/>
                            <a:pt x="18959" y="2297"/>
                            <a:pt x="18600" y="1997"/>
                          </a:cubicBezTo>
                          <a:cubicBezTo>
                            <a:pt x="18361" y="1818"/>
                            <a:pt x="18062" y="1639"/>
                            <a:pt x="17763" y="1459"/>
                          </a:cubicBezTo>
                          <a:cubicBezTo>
                            <a:pt x="17464" y="1280"/>
                            <a:pt x="17225" y="1160"/>
                            <a:pt x="16926" y="981"/>
                          </a:cubicBezTo>
                          <a:cubicBezTo>
                            <a:pt x="16627" y="861"/>
                            <a:pt x="16328" y="742"/>
                            <a:pt x="16028" y="622"/>
                          </a:cubicBezTo>
                          <a:cubicBezTo>
                            <a:pt x="15729" y="502"/>
                            <a:pt x="15371" y="443"/>
                            <a:pt x="15072" y="323"/>
                          </a:cubicBezTo>
                          <a:cubicBezTo>
                            <a:pt x="13576" y="-36"/>
                            <a:pt x="12081" y="-96"/>
                            <a:pt x="10586" y="143"/>
                          </a:cubicBezTo>
                          <a:cubicBezTo>
                            <a:pt x="9091" y="383"/>
                            <a:pt x="7656" y="861"/>
                            <a:pt x="6340" y="1639"/>
                          </a:cubicBezTo>
                          <a:cubicBezTo>
                            <a:pt x="5024" y="2357"/>
                            <a:pt x="3828" y="3373"/>
                            <a:pt x="2871" y="4510"/>
                          </a:cubicBezTo>
                          <a:cubicBezTo>
                            <a:pt x="1914" y="5646"/>
                            <a:pt x="1076" y="7021"/>
                            <a:pt x="598" y="8517"/>
                          </a:cubicBezTo>
                          <a:cubicBezTo>
                            <a:pt x="180" y="9653"/>
                            <a:pt x="0" y="10849"/>
                            <a:pt x="0" y="11985"/>
                          </a:cubicBezTo>
                          <a:cubicBezTo>
                            <a:pt x="0" y="13122"/>
                            <a:pt x="120" y="14198"/>
                            <a:pt x="479" y="15275"/>
                          </a:cubicBezTo>
                          <a:cubicBezTo>
                            <a:pt x="778" y="16291"/>
                            <a:pt x="1256" y="17249"/>
                            <a:pt x="1914" y="18145"/>
                          </a:cubicBezTo>
                          <a:cubicBezTo>
                            <a:pt x="2333" y="18983"/>
                            <a:pt x="3110" y="19700"/>
                            <a:pt x="3947" y="20358"/>
                          </a:cubicBezTo>
                        </a:path>
                      </a:pathLst>
                    </a:custGeom>
                    <a:noFill/>
                    <a:ln w="6350" cap="flat">
                      <a:solidFill>
                        <a:schemeClr val="bg1">
                          <a:alpha val="80000"/>
                        </a:schemeClr>
                      </a:solidFill>
                      <a:prstDash val="solid"/>
                      <a:miter/>
                    </a:ln>
                  </p:spPr>
                  <p:txBody>
                    <a:bodyPr rtlCol="0" anchor="ctr"/>
                    <a:lstStyle/>
                    <a:p>
                      <a:endParaRPr lang="en-GB"/>
                    </a:p>
                  </p:txBody>
                </p:sp>
                <p:sp>
                  <p:nvSpPr>
                    <p:cNvPr id="7461" name="Vrije vorm: vorm 7460">
                      <a:extLst>
                        <a:ext uri="{FF2B5EF4-FFF2-40B4-BE49-F238E27FC236}">
                          <a16:creationId xmlns:a16="http://schemas.microsoft.com/office/drawing/2014/main" id="{0D2B1CD0-FDAC-4B4C-87BA-38F42B0A0A10}"/>
                        </a:ext>
                      </a:extLst>
                    </p:cNvPr>
                    <p:cNvSpPr/>
                    <p:nvPr/>
                  </p:nvSpPr>
                  <p:spPr>
                    <a:xfrm>
                      <a:off x="4846198" y="5081799"/>
                      <a:ext cx="17284" cy="17104"/>
                    </a:xfrm>
                    <a:custGeom>
                      <a:avLst/>
                      <a:gdLst>
                        <a:gd name="connsiteX0" fmla="*/ 7476 w 17284"/>
                        <a:gd name="connsiteY0" fmla="*/ 15789 h 17104"/>
                        <a:gd name="connsiteX1" fmla="*/ 7177 w 17284"/>
                        <a:gd name="connsiteY1" fmla="*/ 15789 h 17104"/>
                        <a:gd name="connsiteX2" fmla="*/ 6878 w 17284"/>
                        <a:gd name="connsiteY2" fmla="*/ 15729 h 17104"/>
                        <a:gd name="connsiteX3" fmla="*/ 6579 w 17284"/>
                        <a:gd name="connsiteY3" fmla="*/ 15669 h 17104"/>
                        <a:gd name="connsiteX4" fmla="*/ 6280 w 17284"/>
                        <a:gd name="connsiteY4" fmla="*/ 15610 h 17104"/>
                        <a:gd name="connsiteX5" fmla="*/ 5622 w 17284"/>
                        <a:gd name="connsiteY5" fmla="*/ 15430 h 17104"/>
                        <a:gd name="connsiteX6" fmla="*/ 5024 w 17284"/>
                        <a:gd name="connsiteY6" fmla="*/ 15191 h 17104"/>
                        <a:gd name="connsiteX7" fmla="*/ 4486 w 17284"/>
                        <a:gd name="connsiteY7" fmla="*/ 14892 h 17104"/>
                        <a:gd name="connsiteX8" fmla="*/ 3947 w 17284"/>
                        <a:gd name="connsiteY8" fmla="*/ 14593 h 17104"/>
                        <a:gd name="connsiteX9" fmla="*/ 2452 w 17284"/>
                        <a:gd name="connsiteY9" fmla="*/ 13098 h 17104"/>
                        <a:gd name="connsiteX10" fmla="*/ 1555 w 17284"/>
                        <a:gd name="connsiteY10" fmla="*/ 11244 h 17104"/>
                        <a:gd name="connsiteX11" fmla="*/ 1256 w 17284"/>
                        <a:gd name="connsiteY11" fmla="*/ 9151 h 17104"/>
                        <a:gd name="connsiteX12" fmla="*/ 1615 w 17284"/>
                        <a:gd name="connsiteY12" fmla="*/ 6938 h 17104"/>
                        <a:gd name="connsiteX13" fmla="*/ 2213 w 17284"/>
                        <a:gd name="connsiteY13" fmla="*/ 5562 h 17104"/>
                        <a:gd name="connsiteX14" fmla="*/ 3050 w 17284"/>
                        <a:gd name="connsiteY14" fmla="*/ 4366 h 17104"/>
                        <a:gd name="connsiteX15" fmla="*/ 4067 w 17284"/>
                        <a:gd name="connsiteY15" fmla="*/ 3289 h 17104"/>
                        <a:gd name="connsiteX16" fmla="*/ 5323 w 17284"/>
                        <a:gd name="connsiteY16" fmla="*/ 2452 h 17104"/>
                        <a:gd name="connsiteX17" fmla="*/ 6698 w 17284"/>
                        <a:gd name="connsiteY17" fmla="*/ 1854 h 17104"/>
                        <a:gd name="connsiteX18" fmla="*/ 8134 w 17284"/>
                        <a:gd name="connsiteY18" fmla="*/ 1495 h 17104"/>
                        <a:gd name="connsiteX19" fmla="*/ 9569 w 17284"/>
                        <a:gd name="connsiteY19" fmla="*/ 1435 h 17104"/>
                        <a:gd name="connsiteX20" fmla="*/ 11005 w 17284"/>
                        <a:gd name="connsiteY20" fmla="*/ 1615 h 17104"/>
                        <a:gd name="connsiteX21" fmla="*/ 11603 w 17284"/>
                        <a:gd name="connsiteY21" fmla="*/ 1794 h 17104"/>
                        <a:gd name="connsiteX22" fmla="*/ 12201 w 17284"/>
                        <a:gd name="connsiteY22" fmla="*/ 2034 h 17104"/>
                        <a:gd name="connsiteX23" fmla="*/ 12739 w 17284"/>
                        <a:gd name="connsiteY23" fmla="*/ 2333 h 17104"/>
                        <a:gd name="connsiteX24" fmla="*/ 13277 w 17284"/>
                        <a:gd name="connsiteY24" fmla="*/ 2691 h 17104"/>
                        <a:gd name="connsiteX25" fmla="*/ 13516 w 17284"/>
                        <a:gd name="connsiteY25" fmla="*/ 2871 h 17104"/>
                        <a:gd name="connsiteX26" fmla="*/ 13756 w 17284"/>
                        <a:gd name="connsiteY26" fmla="*/ 3050 h 17104"/>
                        <a:gd name="connsiteX27" fmla="*/ 13995 w 17284"/>
                        <a:gd name="connsiteY27" fmla="*/ 3230 h 17104"/>
                        <a:gd name="connsiteX28" fmla="*/ 14174 w 17284"/>
                        <a:gd name="connsiteY28" fmla="*/ 3409 h 17104"/>
                        <a:gd name="connsiteX29" fmla="*/ 14414 w 17284"/>
                        <a:gd name="connsiteY29" fmla="*/ 3708 h 17104"/>
                        <a:gd name="connsiteX30" fmla="*/ 14653 w 17284"/>
                        <a:gd name="connsiteY30" fmla="*/ 4007 h 17104"/>
                        <a:gd name="connsiteX31" fmla="*/ 14892 w 17284"/>
                        <a:gd name="connsiteY31" fmla="*/ 4366 h 17104"/>
                        <a:gd name="connsiteX32" fmla="*/ 15072 w 17284"/>
                        <a:gd name="connsiteY32" fmla="*/ 4725 h 17104"/>
                        <a:gd name="connsiteX33" fmla="*/ 15072 w 17284"/>
                        <a:gd name="connsiteY33" fmla="*/ 4785 h 17104"/>
                        <a:gd name="connsiteX34" fmla="*/ 15072 w 17284"/>
                        <a:gd name="connsiteY34" fmla="*/ 4844 h 17104"/>
                        <a:gd name="connsiteX35" fmla="*/ 15072 w 17284"/>
                        <a:gd name="connsiteY35" fmla="*/ 4904 h 17104"/>
                        <a:gd name="connsiteX36" fmla="*/ 15072 w 17284"/>
                        <a:gd name="connsiteY36" fmla="*/ 4964 h 17104"/>
                        <a:gd name="connsiteX37" fmla="*/ 15610 w 17284"/>
                        <a:gd name="connsiteY37" fmla="*/ 6280 h 17104"/>
                        <a:gd name="connsiteX38" fmla="*/ 15849 w 17284"/>
                        <a:gd name="connsiteY38" fmla="*/ 7655 h 17104"/>
                        <a:gd name="connsiteX39" fmla="*/ 15789 w 17284"/>
                        <a:gd name="connsiteY39" fmla="*/ 9031 h 17104"/>
                        <a:gd name="connsiteX40" fmla="*/ 15430 w 17284"/>
                        <a:gd name="connsiteY40" fmla="*/ 10406 h 17104"/>
                        <a:gd name="connsiteX41" fmla="*/ 14832 w 17284"/>
                        <a:gd name="connsiteY41" fmla="*/ 11722 h 17104"/>
                        <a:gd name="connsiteX42" fmla="*/ 13995 w 17284"/>
                        <a:gd name="connsiteY42" fmla="*/ 12919 h 17104"/>
                        <a:gd name="connsiteX43" fmla="*/ 12919 w 17284"/>
                        <a:gd name="connsiteY43" fmla="*/ 13935 h 17104"/>
                        <a:gd name="connsiteX44" fmla="*/ 11662 w 17284"/>
                        <a:gd name="connsiteY44" fmla="*/ 14773 h 17104"/>
                        <a:gd name="connsiteX45" fmla="*/ 10885 w 17284"/>
                        <a:gd name="connsiteY45" fmla="*/ 15131 h 17104"/>
                        <a:gd name="connsiteX46" fmla="*/ 10107 w 17284"/>
                        <a:gd name="connsiteY46" fmla="*/ 15430 h 17104"/>
                        <a:gd name="connsiteX47" fmla="*/ 9330 w 17284"/>
                        <a:gd name="connsiteY47" fmla="*/ 15669 h 17104"/>
                        <a:gd name="connsiteX48" fmla="*/ 8493 w 17284"/>
                        <a:gd name="connsiteY48" fmla="*/ 15789 h 17104"/>
                        <a:gd name="connsiteX49" fmla="*/ 8194 w 17284"/>
                        <a:gd name="connsiteY49" fmla="*/ 15789 h 17104"/>
                        <a:gd name="connsiteX50" fmla="*/ 7895 w 17284"/>
                        <a:gd name="connsiteY50" fmla="*/ 15789 h 17104"/>
                        <a:gd name="connsiteX51" fmla="*/ 7596 w 17284"/>
                        <a:gd name="connsiteY51" fmla="*/ 15789 h 17104"/>
                        <a:gd name="connsiteX52" fmla="*/ 7476 w 17284"/>
                        <a:gd name="connsiteY52" fmla="*/ 15789 h 17104"/>
                        <a:gd name="connsiteX53" fmla="*/ 3170 w 17284"/>
                        <a:gd name="connsiteY53" fmla="*/ 15550 h 17104"/>
                        <a:gd name="connsiteX54" fmla="*/ 3768 w 17284"/>
                        <a:gd name="connsiteY54" fmla="*/ 15968 h 17104"/>
                        <a:gd name="connsiteX55" fmla="*/ 4426 w 17284"/>
                        <a:gd name="connsiteY55" fmla="*/ 16328 h 17104"/>
                        <a:gd name="connsiteX56" fmla="*/ 5144 w 17284"/>
                        <a:gd name="connsiteY56" fmla="*/ 16627 h 17104"/>
                        <a:gd name="connsiteX57" fmla="*/ 5921 w 17284"/>
                        <a:gd name="connsiteY57" fmla="*/ 16866 h 17104"/>
                        <a:gd name="connsiteX58" fmla="*/ 6220 w 17284"/>
                        <a:gd name="connsiteY58" fmla="*/ 16926 h 17104"/>
                        <a:gd name="connsiteX59" fmla="*/ 6579 w 17284"/>
                        <a:gd name="connsiteY59" fmla="*/ 16985 h 17104"/>
                        <a:gd name="connsiteX60" fmla="*/ 6938 w 17284"/>
                        <a:gd name="connsiteY60" fmla="*/ 17045 h 17104"/>
                        <a:gd name="connsiteX61" fmla="*/ 7297 w 17284"/>
                        <a:gd name="connsiteY61" fmla="*/ 17105 h 17104"/>
                        <a:gd name="connsiteX62" fmla="*/ 7656 w 17284"/>
                        <a:gd name="connsiteY62" fmla="*/ 17105 h 17104"/>
                        <a:gd name="connsiteX63" fmla="*/ 8014 w 17284"/>
                        <a:gd name="connsiteY63" fmla="*/ 17105 h 17104"/>
                        <a:gd name="connsiteX64" fmla="*/ 8373 w 17284"/>
                        <a:gd name="connsiteY64" fmla="*/ 17105 h 17104"/>
                        <a:gd name="connsiteX65" fmla="*/ 8732 w 17284"/>
                        <a:gd name="connsiteY65" fmla="*/ 17105 h 17104"/>
                        <a:gd name="connsiteX66" fmla="*/ 9689 w 17284"/>
                        <a:gd name="connsiteY66" fmla="*/ 16985 h 17104"/>
                        <a:gd name="connsiteX67" fmla="*/ 10646 w 17284"/>
                        <a:gd name="connsiteY67" fmla="*/ 16746 h 17104"/>
                        <a:gd name="connsiteX68" fmla="*/ 11603 w 17284"/>
                        <a:gd name="connsiteY68" fmla="*/ 16387 h 17104"/>
                        <a:gd name="connsiteX69" fmla="*/ 12500 w 17284"/>
                        <a:gd name="connsiteY69" fmla="*/ 15909 h 17104"/>
                        <a:gd name="connsiteX70" fmla="*/ 13935 w 17284"/>
                        <a:gd name="connsiteY70" fmla="*/ 14892 h 17104"/>
                        <a:gd name="connsiteX71" fmla="*/ 15131 w 17284"/>
                        <a:gd name="connsiteY71" fmla="*/ 13636 h 17104"/>
                        <a:gd name="connsiteX72" fmla="*/ 16088 w 17284"/>
                        <a:gd name="connsiteY72" fmla="*/ 12201 h 17104"/>
                        <a:gd name="connsiteX73" fmla="*/ 16806 w 17284"/>
                        <a:gd name="connsiteY73" fmla="*/ 10646 h 17104"/>
                        <a:gd name="connsiteX74" fmla="*/ 17165 w 17284"/>
                        <a:gd name="connsiteY74" fmla="*/ 9211 h 17104"/>
                        <a:gd name="connsiteX75" fmla="*/ 17284 w 17284"/>
                        <a:gd name="connsiteY75" fmla="*/ 7715 h 17104"/>
                        <a:gd name="connsiteX76" fmla="*/ 17105 w 17284"/>
                        <a:gd name="connsiteY76" fmla="*/ 6280 h 17104"/>
                        <a:gd name="connsiteX77" fmla="*/ 16686 w 17284"/>
                        <a:gd name="connsiteY77" fmla="*/ 4904 h 17104"/>
                        <a:gd name="connsiteX78" fmla="*/ 16627 w 17284"/>
                        <a:gd name="connsiteY78" fmla="*/ 4725 h 17104"/>
                        <a:gd name="connsiteX79" fmla="*/ 16567 w 17284"/>
                        <a:gd name="connsiteY79" fmla="*/ 4545 h 17104"/>
                        <a:gd name="connsiteX80" fmla="*/ 16507 w 17284"/>
                        <a:gd name="connsiteY80" fmla="*/ 4366 h 17104"/>
                        <a:gd name="connsiteX81" fmla="*/ 16447 w 17284"/>
                        <a:gd name="connsiteY81" fmla="*/ 4187 h 17104"/>
                        <a:gd name="connsiteX82" fmla="*/ 16328 w 17284"/>
                        <a:gd name="connsiteY82" fmla="*/ 4007 h 17104"/>
                        <a:gd name="connsiteX83" fmla="*/ 16208 w 17284"/>
                        <a:gd name="connsiteY83" fmla="*/ 3828 h 17104"/>
                        <a:gd name="connsiteX84" fmla="*/ 16088 w 17284"/>
                        <a:gd name="connsiteY84" fmla="*/ 3648 h 17104"/>
                        <a:gd name="connsiteX85" fmla="*/ 15969 w 17284"/>
                        <a:gd name="connsiteY85" fmla="*/ 3469 h 17104"/>
                        <a:gd name="connsiteX86" fmla="*/ 15550 w 17284"/>
                        <a:gd name="connsiteY86" fmla="*/ 2930 h 17104"/>
                        <a:gd name="connsiteX87" fmla="*/ 15131 w 17284"/>
                        <a:gd name="connsiteY87" fmla="*/ 2452 h 17104"/>
                        <a:gd name="connsiteX88" fmla="*/ 14653 w 17284"/>
                        <a:gd name="connsiteY88" fmla="*/ 1974 h 17104"/>
                        <a:gd name="connsiteX89" fmla="*/ 14115 w 17284"/>
                        <a:gd name="connsiteY89" fmla="*/ 1555 h 17104"/>
                        <a:gd name="connsiteX90" fmla="*/ 13516 w 17284"/>
                        <a:gd name="connsiteY90" fmla="*/ 1136 h 17104"/>
                        <a:gd name="connsiteX91" fmla="*/ 12859 w 17284"/>
                        <a:gd name="connsiteY91" fmla="*/ 778 h 17104"/>
                        <a:gd name="connsiteX92" fmla="*/ 12141 w 17284"/>
                        <a:gd name="connsiteY92" fmla="*/ 479 h 17104"/>
                        <a:gd name="connsiteX93" fmla="*/ 11423 w 17284"/>
                        <a:gd name="connsiteY93" fmla="*/ 239 h 17104"/>
                        <a:gd name="connsiteX94" fmla="*/ 9749 w 17284"/>
                        <a:gd name="connsiteY94" fmla="*/ 0 h 17104"/>
                        <a:gd name="connsiteX95" fmla="*/ 8074 w 17284"/>
                        <a:gd name="connsiteY95" fmla="*/ 120 h 17104"/>
                        <a:gd name="connsiteX96" fmla="*/ 6399 w 17284"/>
                        <a:gd name="connsiteY96" fmla="*/ 538 h 17104"/>
                        <a:gd name="connsiteX97" fmla="*/ 4785 w 17284"/>
                        <a:gd name="connsiteY97" fmla="*/ 1256 h 17104"/>
                        <a:gd name="connsiteX98" fmla="*/ 3349 w 17284"/>
                        <a:gd name="connsiteY98" fmla="*/ 2273 h 17104"/>
                        <a:gd name="connsiteX99" fmla="*/ 2093 w 17284"/>
                        <a:gd name="connsiteY99" fmla="*/ 3529 h 17104"/>
                        <a:gd name="connsiteX100" fmla="*/ 1136 w 17284"/>
                        <a:gd name="connsiteY100" fmla="*/ 4964 h 17104"/>
                        <a:gd name="connsiteX101" fmla="*/ 479 w 17284"/>
                        <a:gd name="connsiteY101" fmla="*/ 6519 h 17104"/>
                        <a:gd name="connsiteX102" fmla="*/ 0 w 17284"/>
                        <a:gd name="connsiteY102" fmla="*/ 9151 h 17104"/>
                        <a:gd name="connsiteX103" fmla="*/ 359 w 17284"/>
                        <a:gd name="connsiteY103" fmla="*/ 11603 h 17104"/>
                        <a:gd name="connsiteX104" fmla="*/ 1436 w 17284"/>
                        <a:gd name="connsiteY104" fmla="*/ 13756 h 17104"/>
                        <a:gd name="connsiteX105" fmla="*/ 3170 w 17284"/>
                        <a:gd name="connsiteY105" fmla="*/ 15550 h 1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7284" h="17104">
                          <a:moveTo>
                            <a:pt x="7476" y="15789"/>
                          </a:moveTo>
                          <a:cubicBezTo>
                            <a:pt x="7357" y="15789"/>
                            <a:pt x="7297" y="15789"/>
                            <a:pt x="7177" y="15789"/>
                          </a:cubicBezTo>
                          <a:cubicBezTo>
                            <a:pt x="7058" y="15789"/>
                            <a:pt x="6998" y="15789"/>
                            <a:pt x="6878" y="15729"/>
                          </a:cubicBezTo>
                          <a:cubicBezTo>
                            <a:pt x="6758" y="15729"/>
                            <a:pt x="6698" y="15669"/>
                            <a:pt x="6579" y="15669"/>
                          </a:cubicBezTo>
                          <a:cubicBezTo>
                            <a:pt x="6459" y="15669"/>
                            <a:pt x="6399" y="15610"/>
                            <a:pt x="6280" y="15610"/>
                          </a:cubicBezTo>
                          <a:cubicBezTo>
                            <a:pt x="6041" y="15550"/>
                            <a:pt x="5861" y="15490"/>
                            <a:pt x="5622" y="15430"/>
                          </a:cubicBezTo>
                          <a:cubicBezTo>
                            <a:pt x="5443" y="15370"/>
                            <a:pt x="5203" y="15311"/>
                            <a:pt x="5024" y="15191"/>
                          </a:cubicBezTo>
                          <a:cubicBezTo>
                            <a:pt x="4844" y="15131"/>
                            <a:pt x="4665" y="15012"/>
                            <a:pt x="4486" y="14892"/>
                          </a:cubicBezTo>
                          <a:cubicBezTo>
                            <a:pt x="4306" y="14773"/>
                            <a:pt x="4127" y="14713"/>
                            <a:pt x="3947" y="14593"/>
                          </a:cubicBezTo>
                          <a:cubicBezTo>
                            <a:pt x="3349" y="14174"/>
                            <a:pt x="2871" y="13696"/>
                            <a:pt x="2452" y="13098"/>
                          </a:cubicBezTo>
                          <a:cubicBezTo>
                            <a:pt x="2034" y="12560"/>
                            <a:pt x="1735" y="11902"/>
                            <a:pt x="1555" y="11244"/>
                          </a:cubicBezTo>
                          <a:cubicBezTo>
                            <a:pt x="1376" y="10586"/>
                            <a:pt x="1256" y="9868"/>
                            <a:pt x="1256" y="9151"/>
                          </a:cubicBezTo>
                          <a:cubicBezTo>
                            <a:pt x="1256" y="8433"/>
                            <a:pt x="1376" y="7655"/>
                            <a:pt x="1615" y="6938"/>
                          </a:cubicBezTo>
                          <a:cubicBezTo>
                            <a:pt x="1795" y="6459"/>
                            <a:pt x="1974" y="6041"/>
                            <a:pt x="2213" y="5562"/>
                          </a:cubicBezTo>
                          <a:cubicBezTo>
                            <a:pt x="2452" y="5143"/>
                            <a:pt x="2751" y="4725"/>
                            <a:pt x="3050" y="4366"/>
                          </a:cubicBezTo>
                          <a:cubicBezTo>
                            <a:pt x="3349" y="4007"/>
                            <a:pt x="3708" y="3648"/>
                            <a:pt x="4067" y="3289"/>
                          </a:cubicBezTo>
                          <a:cubicBezTo>
                            <a:pt x="4426" y="2990"/>
                            <a:pt x="4844" y="2691"/>
                            <a:pt x="5323" y="2452"/>
                          </a:cubicBezTo>
                          <a:cubicBezTo>
                            <a:pt x="5801" y="2213"/>
                            <a:pt x="6220" y="1974"/>
                            <a:pt x="6698" y="1854"/>
                          </a:cubicBezTo>
                          <a:cubicBezTo>
                            <a:pt x="7177" y="1675"/>
                            <a:pt x="7656" y="1555"/>
                            <a:pt x="8134" y="1495"/>
                          </a:cubicBezTo>
                          <a:cubicBezTo>
                            <a:pt x="8612" y="1435"/>
                            <a:pt x="9091" y="1376"/>
                            <a:pt x="9569" y="1435"/>
                          </a:cubicBezTo>
                          <a:cubicBezTo>
                            <a:pt x="10048" y="1435"/>
                            <a:pt x="10526" y="1495"/>
                            <a:pt x="11005" y="1615"/>
                          </a:cubicBezTo>
                          <a:cubicBezTo>
                            <a:pt x="11244" y="1675"/>
                            <a:pt x="11423" y="1735"/>
                            <a:pt x="11603" y="1794"/>
                          </a:cubicBezTo>
                          <a:cubicBezTo>
                            <a:pt x="11782" y="1854"/>
                            <a:pt x="12021" y="1974"/>
                            <a:pt x="12201" y="2034"/>
                          </a:cubicBezTo>
                          <a:cubicBezTo>
                            <a:pt x="12380" y="2093"/>
                            <a:pt x="12560" y="2213"/>
                            <a:pt x="12739" y="2333"/>
                          </a:cubicBezTo>
                          <a:cubicBezTo>
                            <a:pt x="12919" y="2452"/>
                            <a:pt x="13098" y="2572"/>
                            <a:pt x="13277" y="2691"/>
                          </a:cubicBezTo>
                          <a:cubicBezTo>
                            <a:pt x="13337" y="2751"/>
                            <a:pt x="13457" y="2811"/>
                            <a:pt x="13516" y="2871"/>
                          </a:cubicBezTo>
                          <a:cubicBezTo>
                            <a:pt x="13576" y="2930"/>
                            <a:pt x="13696" y="2990"/>
                            <a:pt x="13756" y="3050"/>
                          </a:cubicBezTo>
                          <a:cubicBezTo>
                            <a:pt x="13815" y="3110"/>
                            <a:pt x="13875" y="3170"/>
                            <a:pt x="13995" y="3230"/>
                          </a:cubicBezTo>
                          <a:cubicBezTo>
                            <a:pt x="14055" y="3289"/>
                            <a:pt x="14115" y="3349"/>
                            <a:pt x="14174" y="3409"/>
                          </a:cubicBezTo>
                          <a:cubicBezTo>
                            <a:pt x="14294" y="3529"/>
                            <a:pt x="14354" y="3589"/>
                            <a:pt x="14414" y="3708"/>
                          </a:cubicBezTo>
                          <a:cubicBezTo>
                            <a:pt x="14474" y="3828"/>
                            <a:pt x="14593" y="3888"/>
                            <a:pt x="14653" y="4007"/>
                          </a:cubicBezTo>
                          <a:cubicBezTo>
                            <a:pt x="14713" y="4127"/>
                            <a:pt x="14832" y="4246"/>
                            <a:pt x="14892" y="4366"/>
                          </a:cubicBezTo>
                          <a:cubicBezTo>
                            <a:pt x="14952" y="4486"/>
                            <a:pt x="15012" y="4605"/>
                            <a:pt x="15072" y="4725"/>
                          </a:cubicBezTo>
                          <a:cubicBezTo>
                            <a:pt x="15072" y="4725"/>
                            <a:pt x="15072" y="4725"/>
                            <a:pt x="15072" y="4785"/>
                          </a:cubicBezTo>
                          <a:cubicBezTo>
                            <a:pt x="15072" y="4785"/>
                            <a:pt x="15072" y="4785"/>
                            <a:pt x="15072" y="4844"/>
                          </a:cubicBezTo>
                          <a:cubicBezTo>
                            <a:pt x="15072" y="4844"/>
                            <a:pt x="15072" y="4844"/>
                            <a:pt x="15072" y="4904"/>
                          </a:cubicBezTo>
                          <a:cubicBezTo>
                            <a:pt x="15072" y="4904"/>
                            <a:pt x="15072" y="4904"/>
                            <a:pt x="15072" y="4964"/>
                          </a:cubicBezTo>
                          <a:cubicBezTo>
                            <a:pt x="15311" y="5383"/>
                            <a:pt x="15490" y="5801"/>
                            <a:pt x="15610" y="6280"/>
                          </a:cubicBezTo>
                          <a:cubicBezTo>
                            <a:pt x="15729" y="6698"/>
                            <a:pt x="15789" y="7177"/>
                            <a:pt x="15849" y="7655"/>
                          </a:cubicBezTo>
                          <a:cubicBezTo>
                            <a:pt x="15909" y="8134"/>
                            <a:pt x="15849" y="8552"/>
                            <a:pt x="15789" y="9031"/>
                          </a:cubicBezTo>
                          <a:cubicBezTo>
                            <a:pt x="15729" y="9510"/>
                            <a:pt x="15610" y="9988"/>
                            <a:pt x="15430" y="10406"/>
                          </a:cubicBezTo>
                          <a:cubicBezTo>
                            <a:pt x="15251" y="10885"/>
                            <a:pt x="15072" y="11304"/>
                            <a:pt x="14832" y="11722"/>
                          </a:cubicBezTo>
                          <a:cubicBezTo>
                            <a:pt x="14593" y="12141"/>
                            <a:pt x="14294" y="12560"/>
                            <a:pt x="13995" y="12919"/>
                          </a:cubicBezTo>
                          <a:cubicBezTo>
                            <a:pt x="13696" y="13277"/>
                            <a:pt x="13337" y="13636"/>
                            <a:pt x="12919" y="13935"/>
                          </a:cubicBezTo>
                          <a:cubicBezTo>
                            <a:pt x="12560" y="14234"/>
                            <a:pt x="12141" y="14533"/>
                            <a:pt x="11662" y="14773"/>
                          </a:cubicBezTo>
                          <a:cubicBezTo>
                            <a:pt x="11423" y="14892"/>
                            <a:pt x="11184" y="15072"/>
                            <a:pt x="10885" y="15131"/>
                          </a:cubicBezTo>
                          <a:cubicBezTo>
                            <a:pt x="10586" y="15191"/>
                            <a:pt x="10347" y="15370"/>
                            <a:pt x="10107" y="15430"/>
                          </a:cubicBezTo>
                          <a:cubicBezTo>
                            <a:pt x="9868" y="15490"/>
                            <a:pt x="9569" y="15610"/>
                            <a:pt x="9330" y="15669"/>
                          </a:cubicBezTo>
                          <a:cubicBezTo>
                            <a:pt x="9031" y="15729"/>
                            <a:pt x="8792" y="15789"/>
                            <a:pt x="8493" y="15789"/>
                          </a:cubicBezTo>
                          <a:cubicBezTo>
                            <a:pt x="8373" y="15789"/>
                            <a:pt x="8253" y="15789"/>
                            <a:pt x="8194" y="15789"/>
                          </a:cubicBezTo>
                          <a:cubicBezTo>
                            <a:pt x="8074" y="15789"/>
                            <a:pt x="7954" y="15789"/>
                            <a:pt x="7895" y="15789"/>
                          </a:cubicBezTo>
                          <a:cubicBezTo>
                            <a:pt x="7835" y="15789"/>
                            <a:pt x="7656" y="15789"/>
                            <a:pt x="7596" y="15789"/>
                          </a:cubicBezTo>
                          <a:cubicBezTo>
                            <a:pt x="7536" y="15789"/>
                            <a:pt x="7596" y="15789"/>
                            <a:pt x="7476" y="15789"/>
                          </a:cubicBezTo>
                          <a:moveTo>
                            <a:pt x="3170" y="15550"/>
                          </a:moveTo>
                          <a:cubicBezTo>
                            <a:pt x="3349" y="15669"/>
                            <a:pt x="3589" y="15849"/>
                            <a:pt x="3768" y="15968"/>
                          </a:cubicBezTo>
                          <a:cubicBezTo>
                            <a:pt x="4007" y="16088"/>
                            <a:pt x="4187" y="16208"/>
                            <a:pt x="4426" y="16328"/>
                          </a:cubicBezTo>
                          <a:cubicBezTo>
                            <a:pt x="4665" y="16447"/>
                            <a:pt x="4904" y="16507"/>
                            <a:pt x="5144" y="16627"/>
                          </a:cubicBezTo>
                          <a:cubicBezTo>
                            <a:pt x="5383" y="16686"/>
                            <a:pt x="5622" y="16806"/>
                            <a:pt x="5921" y="16866"/>
                          </a:cubicBezTo>
                          <a:cubicBezTo>
                            <a:pt x="6041" y="16866"/>
                            <a:pt x="6160" y="16926"/>
                            <a:pt x="6220" y="16926"/>
                          </a:cubicBezTo>
                          <a:cubicBezTo>
                            <a:pt x="6340" y="16926"/>
                            <a:pt x="6459" y="16985"/>
                            <a:pt x="6579" y="16985"/>
                          </a:cubicBezTo>
                          <a:cubicBezTo>
                            <a:pt x="6698" y="16985"/>
                            <a:pt x="6818" y="17045"/>
                            <a:pt x="6938" y="17045"/>
                          </a:cubicBezTo>
                          <a:cubicBezTo>
                            <a:pt x="7058" y="17045"/>
                            <a:pt x="7177" y="17045"/>
                            <a:pt x="7297" y="17105"/>
                          </a:cubicBezTo>
                          <a:cubicBezTo>
                            <a:pt x="7416" y="17105"/>
                            <a:pt x="7536" y="17105"/>
                            <a:pt x="7656" y="17105"/>
                          </a:cubicBezTo>
                          <a:cubicBezTo>
                            <a:pt x="7775" y="17105"/>
                            <a:pt x="7895" y="17105"/>
                            <a:pt x="8014" y="17105"/>
                          </a:cubicBezTo>
                          <a:cubicBezTo>
                            <a:pt x="8134" y="17105"/>
                            <a:pt x="8253" y="17105"/>
                            <a:pt x="8373" y="17105"/>
                          </a:cubicBezTo>
                          <a:cubicBezTo>
                            <a:pt x="8493" y="17105"/>
                            <a:pt x="8612" y="17105"/>
                            <a:pt x="8732" y="17105"/>
                          </a:cubicBezTo>
                          <a:cubicBezTo>
                            <a:pt x="9031" y="17105"/>
                            <a:pt x="9390" y="17045"/>
                            <a:pt x="9689" y="16985"/>
                          </a:cubicBezTo>
                          <a:cubicBezTo>
                            <a:pt x="9988" y="16926"/>
                            <a:pt x="10347" y="16866"/>
                            <a:pt x="10646" y="16746"/>
                          </a:cubicBezTo>
                          <a:cubicBezTo>
                            <a:pt x="10945" y="16627"/>
                            <a:pt x="11304" y="16507"/>
                            <a:pt x="11603" y="16387"/>
                          </a:cubicBezTo>
                          <a:cubicBezTo>
                            <a:pt x="11902" y="16268"/>
                            <a:pt x="12201" y="16088"/>
                            <a:pt x="12500" y="15909"/>
                          </a:cubicBezTo>
                          <a:cubicBezTo>
                            <a:pt x="13038" y="15610"/>
                            <a:pt x="13516" y="15251"/>
                            <a:pt x="13935" y="14892"/>
                          </a:cubicBezTo>
                          <a:cubicBezTo>
                            <a:pt x="14354" y="14533"/>
                            <a:pt x="14773" y="14114"/>
                            <a:pt x="15131" y="13636"/>
                          </a:cubicBezTo>
                          <a:cubicBezTo>
                            <a:pt x="15490" y="13218"/>
                            <a:pt x="15849" y="12739"/>
                            <a:pt x="16088" y="12201"/>
                          </a:cubicBezTo>
                          <a:cubicBezTo>
                            <a:pt x="16387" y="11722"/>
                            <a:pt x="16627" y="11184"/>
                            <a:pt x="16806" y="10646"/>
                          </a:cubicBezTo>
                          <a:cubicBezTo>
                            <a:pt x="16985" y="10167"/>
                            <a:pt x="17105" y="9689"/>
                            <a:pt x="17165" y="9211"/>
                          </a:cubicBezTo>
                          <a:cubicBezTo>
                            <a:pt x="17225" y="8732"/>
                            <a:pt x="17284" y="8253"/>
                            <a:pt x="17284" y="7715"/>
                          </a:cubicBezTo>
                          <a:cubicBezTo>
                            <a:pt x="17284" y="7177"/>
                            <a:pt x="17225" y="6758"/>
                            <a:pt x="17105" y="6280"/>
                          </a:cubicBezTo>
                          <a:cubicBezTo>
                            <a:pt x="16985" y="5801"/>
                            <a:pt x="16866" y="5323"/>
                            <a:pt x="16686" y="4904"/>
                          </a:cubicBezTo>
                          <a:cubicBezTo>
                            <a:pt x="16686" y="4844"/>
                            <a:pt x="16627" y="4785"/>
                            <a:pt x="16627" y="4725"/>
                          </a:cubicBezTo>
                          <a:cubicBezTo>
                            <a:pt x="16627" y="4665"/>
                            <a:pt x="16567" y="4605"/>
                            <a:pt x="16567" y="4545"/>
                          </a:cubicBezTo>
                          <a:cubicBezTo>
                            <a:pt x="16567" y="4486"/>
                            <a:pt x="16507" y="4426"/>
                            <a:pt x="16507" y="4366"/>
                          </a:cubicBezTo>
                          <a:cubicBezTo>
                            <a:pt x="16507" y="4306"/>
                            <a:pt x="16447" y="4246"/>
                            <a:pt x="16447" y="4187"/>
                          </a:cubicBezTo>
                          <a:cubicBezTo>
                            <a:pt x="16387" y="4127"/>
                            <a:pt x="16387" y="4067"/>
                            <a:pt x="16328" y="4007"/>
                          </a:cubicBezTo>
                          <a:cubicBezTo>
                            <a:pt x="16268" y="3947"/>
                            <a:pt x="16268" y="3888"/>
                            <a:pt x="16208" y="3828"/>
                          </a:cubicBezTo>
                          <a:cubicBezTo>
                            <a:pt x="16148" y="3768"/>
                            <a:pt x="16148" y="3708"/>
                            <a:pt x="16088" y="3648"/>
                          </a:cubicBezTo>
                          <a:cubicBezTo>
                            <a:pt x="16029" y="3589"/>
                            <a:pt x="16029" y="3529"/>
                            <a:pt x="15969" y="3469"/>
                          </a:cubicBezTo>
                          <a:cubicBezTo>
                            <a:pt x="15849" y="3289"/>
                            <a:pt x="15729" y="3110"/>
                            <a:pt x="15550" y="2930"/>
                          </a:cubicBezTo>
                          <a:cubicBezTo>
                            <a:pt x="15371" y="2751"/>
                            <a:pt x="15251" y="2572"/>
                            <a:pt x="15131" y="2452"/>
                          </a:cubicBezTo>
                          <a:cubicBezTo>
                            <a:pt x="14952" y="2273"/>
                            <a:pt x="14832" y="2153"/>
                            <a:pt x="14653" y="1974"/>
                          </a:cubicBezTo>
                          <a:cubicBezTo>
                            <a:pt x="14474" y="1794"/>
                            <a:pt x="14294" y="1675"/>
                            <a:pt x="14115" y="1555"/>
                          </a:cubicBezTo>
                          <a:cubicBezTo>
                            <a:pt x="13935" y="1435"/>
                            <a:pt x="13696" y="1256"/>
                            <a:pt x="13516" y="1136"/>
                          </a:cubicBezTo>
                          <a:cubicBezTo>
                            <a:pt x="13277" y="1017"/>
                            <a:pt x="13098" y="897"/>
                            <a:pt x="12859" y="778"/>
                          </a:cubicBezTo>
                          <a:cubicBezTo>
                            <a:pt x="12620" y="658"/>
                            <a:pt x="12380" y="598"/>
                            <a:pt x="12141" y="479"/>
                          </a:cubicBezTo>
                          <a:cubicBezTo>
                            <a:pt x="11902" y="359"/>
                            <a:pt x="11662" y="299"/>
                            <a:pt x="11423" y="239"/>
                          </a:cubicBezTo>
                          <a:cubicBezTo>
                            <a:pt x="10885" y="120"/>
                            <a:pt x="10347" y="60"/>
                            <a:pt x="9749" y="0"/>
                          </a:cubicBezTo>
                          <a:cubicBezTo>
                            <a:pt x="9211" y="0"/>
                            <a:pt x="8612" y="0"/>
                            <a:pt x="8074" y="120"/>
                          </a:cubicBezTo>
                          <a:cubicBezTo>
                            <a:pt x="7536" y="180"/>
                            <a:pt x="6938" y="359"/>
                            <a:pt x="6399" y="538"/>
                          </a:cubicBezTo>
                          <a:cubicBezTo>
                            <a:pt x="5861" y="718"/>
                            <a:pt x="5323" y="957"/>
                            <a:pt x="4785" y="1256"/>
                          </a:cubicBezTo>
                          <a:cubicBezTo>
                            <a:pt x="4246" y="1555"/>
                            <a:pt x="3768" y="1914"/>
                            <a:pt x="3349" y="2273"/>
                          </a:cubicBezTo>
                          <a:cubicBezTo>
                            <a:pt x="2871" y="2632"/>
                            <a:pt x="2512" y="3050"/>
                            <a:pt x="2093" y="3529"/>
                          </a:cubicBezTo>
                          <a:cubicBezTo>
                            <a:pt x="1735" y="3947"/>
                            <a:pt x="1376" y="4426"/>
                            <a:pt x="1136" y="4964"/>
                          </a:cubicBezTo>
                          <a:cubicBezTo>
                            <a:pt x="897" y="5502"/>
                            <a:pt x="658" y="5981"/>
                            <a:pt x="479" y="6519"/>
                          </a:cubicBezTo>
                          <a:cubicBezTo>
                            <a:pt x="180" y="7416"/>
                            <a:pt x="60" y="8253"/>
                            <a:pt x="0" y="9151"/>
                          </a:cubicBezTo>
                          <a:cubicBezTo>
                            <a:pt x="0" y="9988"/>
                            <a:pt x="120" y="10825"/>
                            <a:pt x="359" y="11603"/>
                          </a:cubicBezTo>
                          <a:cubicBezTo>
                            <a:pt x="598" y="12380"/>
                            <a:pt x="957" y="13098"/>
                            <a:pt x="1436" y="13756"/>
                          </a:cubicBezTo>
                          <a:cubicBezTo>
                            <a:pt x="1974" y="14533"/>
                            <a:pt x="2512" y="15072"/>
                            <a:pt x="3170" y="15550"/>
                          </a:cubicBezTo>
                        </a:path>
                      </a:pathLst>
                    </a:custGeom>
                    <a:noFill/>
                    <a:ln w="6350" cap="flat">
                      <a:solidFill>
                        <a:schemeClr val="bg1">
                          <a:alpha val="80000"/>
                        </a:schemeClr>
                      </a:solidFill>
                      <a:prstDash val="solid"/>
                      <a:miter/>
                    </a:ln>
                  </p:spPr>
                  <p:txBody>
                    <a:bodyPr rtlCol="0" anchor="ctr"/>
                    <a:lstStyle/>
                    <a:p>
                      <a:endParaRPr lang="en-GB"/>
                    </a:p>
                  </p:txBody>
                </p:sp>
                <p:sp>
                  <p:nvSpPr>
                    <p:cNvPr id="7462" name="Vrije vorm: vorm 7461">
                      <a:extLst>
                        <a:ext uri="{FF2B5EF4-FFF2-40B4-BE49-F238E27FC236}">
                          <a16:creationId xmlns:a16="http://schemas.microsoft.com/office/drawing/2014/main" id="{FCE79BD7-B298-4227-B9AD-66C56525A520}"/>
                        </a:ext>
                      </a:extLst>
                    </p:cNvPr>
                    <p:cNvSpPr/>
                    <p:nvPr/>
                  </p:nvSpPr>
                  <p:spPr>
                    <a:xfrm>
                      <a:off x="4974605" y="5074563"/>
                      <a:ext cx="48339" cy="49303"/>
                    </a:xfrm>
                    <a:custGeom>
                      <a:avLst/>
                      <a:gdLst>
                        <a:gd name="connsiteX0" fmla="*/ 44855 w 48339"/>
                        <a:gd name="connsiteY0" fmla="*/ 11902 h 49303"/>
                        <a:gd name="connsiteX1" fmla="*/ 46171 w 48339"/>
                        <a:gd name="connsiteY1" fmla="*/ 15191 h 49303"/>
                        <a:gd name="connsiteX2" fmla="*/ 46889 w 48339"/>
                        <a:gd name="connsiteY2" fmla="*/ 18719 h 49303"/>
                        <a:gd name="connsiteX3" fmla="*/ 47068 w 48339"/>
                        <a:gd name="connsiteY3" fmla="*/ 22428 h 49303"/>
                        <a:gd name="connsiteX4" fmla="*/ 46590 w 48339"/>
                        <a:gd name="connsiteY4" fmla="*/ 26255 h 49303"/>
                        <a:gd name="connsiteX5" fmla="*/ 45274 w 48339"/>
                        <a:gd name="connsiteY5" fmla="*/ 30800 h 49303"/>
                        <a:gd name="connsiteX6" fmla="*/ 43181 w 48339"/>
                        <a:gd name="connsiteY6" fmla="*/ 35047 h 49303"/>
                        <a:gd name="connsiteX7" fmla="*/ 40370 w 48339"/>
                        <a:gd name="connsiteY7" fmla="*/ 38875 h 49303"/>
                        <a:gd name="connsiteX8" fmla="*/ 36901 w 48339"/>
                        <a:gd name="connsiteY8" fmla="*/ 42224 h 49303"/>
                        <a:gd name="connsiteX9" fmla="*/ 32954 w 48339"/>
                        <a:gd name="connsiteY9" fmla="*/ 44915 h 49303"/>
                        <a:gd name="connsiteX10" fmla="*/ 28707 w 48339"/>
                        <a:gd name="connsiteY10" fmla="*/ 46829 h 49303"/>
                        <a:gd name="connsiteX11" fmla="*/ 24282 w 48339"/>
                        <a:gd name="connsiteY11" fmla="*/ 47905 h 49303"/>
                        <a:gd name="connsiteX12" fmla="*/ 19796 w 48339"/>
                        <a:gd name="connsiteY12" fmla="*/ 48085 h 49303"/>
                        <a:gd name="connsiteX13" fmla="*/ 16746 w 48339"/>
                        <a:gd name="connsiteY13" fmla="*/ 47726 h 49303"/>
                        <a:gd name="connsiteX14" fmla="*/ 13875 w 48339"/>
                        <a:gd name="connsiteY14" fmla="*/ 46949 h 49303"/>
                        <a:gd name="connsiteX15" fmla="*/ 11244 w 48339"/>
                        <a:gd name="connsiteY15" fmla="*/ 45752 h 49303"/>
                        <a:gd name="connsiteX16" fmla="*/ 8851 w 48339"/>
                        <a:gd name="connsiteY16" fmla="*/ 44257 h 49303"/>
                        <a:gd name="connsiteX17" fmla="*/ 8612 w 48339"/>
                        <a:gd name="connsiteY17" fmla="*/ 44078 h 49303"/>
                        <a:gd name="connsiteX18" fmla="*/ 8373 w 48339"/>
                        <a:gd name="connsiteY18" fmla="*/ 43898 h 49303"/>
                        <a:gd name="connsiteX19" fmla="*/ 8134 w 48339"/>
                        <a:gd name="connsiteY19" fmla="*/ 43719 h 49303"/>
                        <a:gd name="connsiteX20" fmla="*/ 7895 w 48339"/>
                        <a:gd name="connsiteY20" fmla="*/ 43539 h 49303"/>
                        <a:gd name="connsiteX21" fmla="*/ 7536 w 48339"/>
                        <a:gd name="connsiteY21" fmla="*/ 43240 h 49303"/>
                        <a:gd name="connsiteX22" fmla="*/ 7177 w 48339"/>
                        <a:gd name="connsiteY22" fmla="*/ 42942 h 49303"/>
                        <a:gd name="connsiteX23" fmla="*/ 6878 w 48339"/>
                        <a:gd name="connsiteY23" fmla="*/ 42642 h 49303"/>
                        <a:gd name="connsiteX24" fmla="*/ 6579 w 48339"/>
                        <a:gd name="connsiteY24" fmla="*/ 42343 h 49303"/>
                        <a:gd name="connsiteX25" fmla="*/ 4844 w 48339"/>
                        <a:gd name="connsiteY25" fmla="*/ 40310 h 49303"/>
                        <a:gd name="connsiteX26" fmla="*/ 3409 w 48339"/>
                        <a:gd name="connsiteY26" fmla="*/ 38037 h 49303"/>
                        <a:gd name="connsiteX27" fmla="*/ 2273 w 48339"/>
                        <a:gd name="connsiteY27" fmla="*/ 35526 h 49303"/>
                        <a:gd name="connsiteX28" fmla="*/ 1495 w 48339"/>
                        <a:gd name="connsiteY28" fmla="*/ 32834 h 49303"/>
                        <a:gd name="connsiteX29" fmla="*/ 1435 w 48339"/>
                        <a:gd name="connsiteY29" fmla="*/ 32535 h 49303"/>
                        <a:gd name="connsiteX30" fmla="*/ 1375 w 48339"/>
                        <a:gd name="connsiteY30" fmla="*/ 32236 h 49303"/>
                        <a:gd name="connsiteX31" fmla="*/ 1316 w 48339"/>
                        <a:gd name="connsiteY31" fmla="*/ 31937 h 49303"/>
                        <a:gd name="connsiteX32" fmla="*/ 1256 w 48339"/>
                        <a:gd name="connsiteY32" fmla="*/ 31638 h 49303"/>
                        <a:gd name="connsiteX33" fmla="*/ 1017 w 48339"/>
                        <a:gd name="connsiteY33" fmla="*/ 29664 h 49303"/>
                        <a:gd name="connsiteX34" fmla="*/ 957 w 48339"/>
                        <a:gd name="connsiteY34" fmla="*/ 27631 h 49303"/>
                        <a:gd name="connsiteX35" fmla="*/ 1076 w 48339"/>
                        <a:gd name="connsiteY35" fmla="*/ 25537 h 49303"/>
                        <a:gd name="connsiteX36" fmla="*/ 1375 w 48339"/>
                        <a:gd name="connsiteY36" fmla="*/ 23444 h 49303"/>
                        <a:gd name="connsiteX37" fmla="*/ 1555 w 48339"/>
                        <a:gd name="connsiteY37" fmla="*/ 22428 h 49303"/>
                        <a:gd name="connsiteX38" fmla="*/ 1794 w 48339"/>
                        <a:gd name="connsiteY38" fmla="*/ 21411 h 49303"/>
                        <a:gd name="connsiteX39" fmla="*/ 2093 w 48339"/>
                        <a:gd name="connsiteY39" fmla="*/ 20454 h 49303"/>
                        <a:gd name="connsiteX40" fmla="*/ 2392 w 48339"/>
                        <a:gd name="connsiteY40" fmla="*/ 19497 h 49303"/>
                        <a:gd name="connsiteX41" fmla="*/ 2512 w 48339"/>
                        <a:gd name="connsiteY41" fmla="*/ 19198 h 49303"/>
                        <a:gd name="connsiteX42" fmla="*/ 2632 w 48339"/>
                        <a:gd name="connsiteY42" fmla="*/ 18899 h 49303"/>
                        <a:gd name="connsiteX43" fmla="*/ 2751 w 48339"/>
                        <a:gd name="connsiteY43" fmla="*/ 18600 h 49303"/>
                        <a:gd name="connsiteX44" fmla="*/ 2871 w 48339"/>
                        <a:gd name="connsiteY44" fmla="*/ 18301 h 49303"/>
                        <a:gd name="connsiteX45" fmla="*/ 4725 w 48339"/>
                        <a:gd name="connsiteY45" fmla="*/ 14593 h 49303"/>
                        <a:gd name="connsiteX46" fmla="*/ 7117 w 48339"/>
                        <a:gd name="connsiteY46" fmla="*/ 11184 h 49303"/>
                        <a:gd name="connsiteX47" fmla="*/ 9928 w 48339"/>
                        <a:gd name="connsiteY47" fmla="*/ 8194 h 49303"/>
                        <a:gd name="connsiteX48" fmla="*/ 13158 w 48339"/>
                        <a:gd name="connsiteY48" fmla="*/ 5681 h 49303"/>
                        <a:gd name="connsiteX49" fmla="*/ 13576 w 48339"/>
                        <a:gd name="connsiteY49" fmla="*/ 5382 h 49303"/>
                        <a:gd name="connsiteX50" fmla="*/ 13995 w 48339"/>
                        <a:gd name="connsiteY50" fmla="*/ 5083 h 49303"/>
                        <a:gd name="connsiteX51" fmla="*/ 14413 w 48339"/>
                        <a:gd name="connsiteY51" fmla="*/ 4844 h 49303"/>
                        <a:gd name="connsiteX52" fmla="*/ 14832 w 48339"/>
                        <a:gd name="connsiteY52" fmla="*/ 4605 h 49303"/>
                        <a:gd name="connsiteX53" fmla="*/ 15789 w 48339"/>
                        <a:gd name="connsiteY53" fmla="*/ 4067 h 49303"/>
                        <a:gd name="connsiteX54" fmla="*/ 16746 w 48339"/>
                        <a:gd name="connsiteY54" fmla="*/ 3588 h 49303"/>
                        <a:gd name="connsiteX55" fmla="*/ 17703 w 48339"/>
                        <a:gd name="connsiteY55" fmla="*/ 3170 h 49303"/>
                        <a:gd name="connsiteX56" fmla="*/ 18720 w 48339"/>
                        <a:gd name="connsiteY56" fmla="*/ 2751 h 49303"/>
                        <a:gd name="connsiteX57" fmla="*/ 19079 w 48339"/>
                        <a:gd name="connsiteY57" fmla="*/ 2632 h 49303"/>
                        <a:gd name="connsiteX58" fmla="*/ 19437 w 48339"/>
                        <a:gd name="connsiteY58" fmla="*/ 2512 h 49303"/>
                        <a:gd name="connsiteX59" fmla="*/ 19796 w 48339"/>
                        <a:gd name="connsiteY59" fmla="*/ 2392 h 49303"/>
                        <a:gd name="connsiteX60" fmla="*/ 20155 w 48339"/>
                        <a:gd name="connsiteY60" fmla="*/ 2272 h 49303"/>
                        <a:gd name="connsiteX61" fmla="*/ 22189 w 48339"/>
                        <a:gd name="connsiteY61" fmla="*/ 1734 h 49303"/>
                        <a:gd name="connsiteX62" fmla="*/ 24282 w 48339"/>
                        <a:gd name="connsiteY62" fmla="*/ 1375 h 49303"/>
                        <a:gd name="connsiteX63" fmla="*/ 26375 w 48339"/>
                        <a:gd name="connsiteY63" fmla="*/ 1256 h 49303"/>
                        <a:gd name="connsiteX64" fmla="*/ 28468 w 48339"/>
                        <a:gd name="connsiteY64" fmla="*/ 1316 h 49303"/>
                        <a:gd name="connsiteX65" fmla="*/ 28887 w 48339"/>
                        <a:gd name="connsiteY65" fmla="*/ 1375 h 49303"/>
                        <a:gd name="connsiteX66" fmla="*/ 29305 w 48339"/>
                        <a:gd name="connsiteY66" fmla="*/ 1435 h 49303"/>
                        <a:gd name="connsiteX67" fmla="*/ 29724 w 48339"/>
                        <a:gd name="connsiteY67" fmla="*/ 1495 h 49303"/>
                        <a:gd name="connsiteX68" fmla="*/ 30143 w 48339"/>
                        <a:gd name="connsiteY68" fmla="*/ 1555 h 49303"/>
                        <a:gd name="connsiteX69" fmla="*/ 30442 w 48339"/>
                        <a:gd name="connsiteY69" fmla="*/ 1615 h 49303"/>
                        <a:gd name="connsiteX70" fmla="*/ 30741 w 48339"/>
                        <a:gd name="connsiteY70" fmla="*/ 1674 h 49303"/>
                        <a:gd name="connsiteX71" fmla="*/ 31040 w 48339"/>
                        <a:gd name="connsiteY71" fmla="*/ 1734 h 49303"/>
                        <a:gd name="connsiteX72" fmla="*/ 31339 w 48339"/>
                        <a:gd name="connsiteY72" fmla="*/ 1794 h 49303"/>
                        <a:gd name="connsiteX73" fmla="*/ 33313 w 48339"/>
                        <a:gd name="connsiteY73" fmla="*/ 2332 h 49303"/>
                        <a:gd name="connsiteX74" fmla="*/ 35227 w 48339"/>
                        <a:gd name="connsiteY74" fmla="*/ 3050 h 49303"/>
                        <a:gd name="connsiteX75" fmla="*/ 37021 w 48339"/>
                        <a:gd name="connsiteY75" fmla="*/ 3947 h 49303"/>
                        <a:gd name="connsiteX76" fmla="*/ 38695 w 48339"/>
                        <a:gd name="connsiteY76" fmla="*/ 5024 h 49303"/>
                        <a:gd name="connsiteX77" fmla="*/ 38875 w 48339"/>
                        <a:gd name="connsiteY77" fmla="*/ 5143 h 49303"/>
                        <a:gd name="connsiteX78" fmla="*/ 39054 w 48339"/>
                        <a:gd name="connsiteY78" fmla="*/ 5263 h 49303"/>
                        <a:gd name="connsiteX79" fmla="*/ 39234 w 48339"/>
                        <a:gd name="connsiteY79" fmla="*/ 5382 h 49303"/>
                        <a:gd name="connsiteX80" fmla="*/ 39413 w 48339"/>
                        <a:gd name="connsiteY80" fmla="*/ 5502 h 49303"/>
                        <a:gd name="connsiteX81" fmla="*/ 39473 w 48339"/>
                        <a:gd name="connsiteY81" fmla="*/ 5562 h 49303"/>
                        <a:gd name="connsiteX82" fmla="*/ 39532 w 48339"/>
                        <a:gd name="connsiteY82" fmla="*/ 5622 h 49303"/>
                        <a:gd name="connsiteX83" fmla="*/ 39592 w 48339"/>
                        <a:gd name="connsiteY83" fmla="*/ 5681 h 49303"/>
                        <a:gd name="connsiteX84" fmla="*/ 39652 w 48339"/>
                        <a:gd name="connsiteY84" fmla="*/ 5741 h 49303"/>
                        <a:gd name="connsiteX85" fmla="*/ 40609 w 48339"/>
                        <a:gd name="connsiteY85" fmla="*/ 6579 h 49303"/>
                        <a:gd name="connsiteX86" fmla="*/ 41506 w 48339"/>
                        <a:gd name="connsiteY86" fmla="*/ 7476 h 49303"/>
                        <a:gd name="connsiteX87" fmla="*/ 42344 w 48339"/>
                        <a:gd name="connsiteY87" fmla="*/ 8433 h 49303"/>
                        <a:gd name="connsiteX88" fmla="*/ 43121 w 48339"/>
                        <a:gd name="connsiteY88" fmla="*/ 9449 h 49303"/>
                        <a:gd name="connsiteX89" fmla="*/ 43360 w 48339"/>
                        <a:gd name="connsiteY89" fmla="*/ 9808 h 49303"/>
                        <a:gd name="connsiteX90" fmla="*/ 43599 w 48339"/>
                        <a:gd name="connsiteY90" fmla="*/ 10167 h 49303"/>
                        <a:gd name="connsiteX91" fmla="*/ 43839 w 48339"/>
                        <a:gd name="connsiteY91" fmla="*/ 10526 h 49303"/>
                        <a:gd name="connsiteX92" fmla="*/ 44018 w 48339"/>
                        <a:gd name="connsiteY92" fmla="*/ 10885 h 49303"/>
                        <a:gd name="connsiteX93" fmla="*/ 44198 w 48339"/>
                        <a:gd name="connsiteY93" fmla="*/ 11184 h 49303"/>
                        <a:gd name="connsiteX94" fmla="*/ 44377 w 48339"/>
                        <a:gd name="connsiteY94" fmla="*/ 11483 h 49303"/>
                        <a:gd name="connsiteX95" fmla="*/ 44556 w 48339"/>
                        <a:gd name="connsiteY95" fmla="*/ 11782 h 49303"/>
                        <a:gd name="connsiteX96" fmla="*/ 44855 w 48339"/>
                        <a:gd name="connsiteY96" fmla="*/ 11902 h 49303"/>
                        <a:gd name="connsiteX97" fmla="*/ 8373 w 48339"/>
                        <a:gd name="connsiteY97" fmla="*/ 45154 h 49303"/>
                        <a:gd name="connsiteX98" fmla="*/ 10885 w 48339"/>
                        <a:gd name="connsiteY98" fmla="*/ 46769 h 49303"/>
                        <a:gd name="connsiteX99" fmla="*/ 13636 w 48339"/>
                        <a:gd name="connsiteY99" fmla="*/ 48025 h 49303"/>
                        <a:gd name="connsiteX100" fmla="*/ 16626 w 48339"/>
                        <a:gd name="connsiteY100" fmla="*/ 48862 h 49303"/>
                        <a:gd name="connsiteX101" fmla="*/ 19796 w 48339"/>
                        <a:gd name="connsiteY101" fmla="*/ 49281 h 49303"/>
                        <a:gd name="connsiteX102" fmla="*/ 24521 w 48339"/>
                        <a:gd name="connsiteY102" fmla="*/ 49101 h 49303"/>
                        <a:gd name="connsiteX103" fmla="*/ 29126 w 48339"/>
                        <a:gd name="connsiteY103" fmla="*/ 47965 h 49303"/>
                        <a:gd name="connsiteX104" fmla="*/ 33552 w 48339"/>
                        <a:gd name="connsiteY104" fmla="*/ 45992 h 49303"/>
                        <a:gd name="connsiteX105" fmla="*/ 37678 w 48339"/>
                        <a:gd name="connsiteY105" fmla="*/ 43121 h 49303"/>
                        <a:gd name="connsiteX106" fmla="*/ 41327 w 48339"/>
                        <a:gd name="connsiteY106" fmla="*/ 39592 h 49303"/>
                        <a:gd name="connsiteX107" fmla="*/ 44257 w 48339"/>
                        <a:gd name="connsiteY107" fmla="*/ 35585 h 49303"/>
                        <a:gd name="connsiteX108" fmla="*/ 46470 w 48339"/>
                        <a:gd name="connsiteY108" fmla="*/ 31159 h 49303"/>
                        <a:gd name="connsiteX109" fmla="*/ 47846 w 48339"/>
                        <a:gd name="connsiteY109" fmla="*/ 26435 h 49303"/>
                        <a:gd name="connsiteX110" fmla="*/ 48324 w 48339"/>
                        <a:gd name="connsiteY110" fmla="*/ 22188 h 49303"/>
                        <a:gd name="connsiteX111" fmla="*/ 48085 w 48339"/>
                        <a:gd name="connsiteY111" fmla="*/ 18062 h 49303"/>
                        <a:gd name="connsiteX112" fmla="*/ 47188 w 48339"/>
                        <a:gd name="connsiteY112" fmla="*/ 14174 h 49303"/>
                        <a:gd name="connsiteX113" fmla="*/ 45573 w 48339"/>
                        <a:gd name="connsiteY113" fmla="*/ 10526 h 49303"/>
                        <a:gd name="connsiteX114" fmla="*/ 45393 w 48339"/>
                        <a:gd name="connsiteY114" fmla="*/ 10227 h 49303"/>
                        <a:gd name="connsiteX115" fmla="*/ 45214 w 48339"/>
                        <a:gd name="connsiteY115" fmla="*/ 9928 h 49303"/>
                        <a:gd name="connsiteX116" fmla="*/ 45035 w 48339"/>
                        <a:gd name="connsiteY116" fmla="*/ 9629 h 49303"/>
                        <a:gd name="connsiteX117" fmla="*/ 44855 w 48339"/>
                        <a:gd name="connsiteY117" fmla="*/ 9330 h 49303"/>
                        <a:gd name="connsiteX118" fmla="*/ 44736 w 48339"/>
                        <a:gd name="connsiteY118" fmla="*/ 9150 h 49303"/>
                        <a:gd name="connsiteX119" fmla="*/ 44616 w 48339"/>
                        <a:gd name="connsiteY119" fmla="*/ 8971 h 49303"/>
                        <a:gd name="connsiteX120" fmla="*/ 44497 w 48339"/>
                        <a:gd name="connsiteY120" fmla="*/ 8791 h 49303"/>
                        <a:gd name="connsiteX121" fmla="*/ 44377 w 48339"/>
                        <a:gd name="connsiteY121" fmla="*/ 8612 h 49303"/>
                        <a:gd name="connsiteX122" fmla="*/ 43539 w 48339"/>
                        <a:gd name="connsiteY122" fmla="*/ 7476 h 49303"/>
                        <a:gd name="connsiteX123" fmla="*/ 42583 w 48339"/>
                        <a:gd name="connsiteY123" fmla="*/ 6399 h 49303"/>
                        <a:gd name="connsiteX124" fmla="*/ 41566 w 48339"/>
                        <a:gd name="connsiteY124" fmla="*/ 5382 h 49303"/>
                        <a:gd name="connsiteX125" fmla="*/ 40490 w 48339"/>
                        <a:gd name="connsiteY125" fmla="*/ 4486 h 49303"/>
                        <a:gd name="connsiteX126" fmla="*/ 40490 w 48339"/>
                        <a:gd name="connsiteY126" fmla="*/ 4486 h 49303"/>
                        <a:gd name="connsiteX127" fmla="*/ 40490 w 48339"/>
                        <a:gd name="connsiteY127" fmla="*/ 4486 h 49303"/>
                        <a:gd name="connsiteX128" fmla="*/ 40490 w 48339"/>
                        <a:gd name="connsiteY128" fmla="*/ 4486 h 49303"/>
                        <a:gd name="connsiteX129" fmla="*/ 40490 w 48339"/>
                        <a:gd name="connsiteY129" fmla="*/ 4486 h 49303"/>
                        <a:gd name="connsiteX130" fmla="*/ 40250 w 48339"/>
                        <a:gd name="connsiteY130" fmla="*/ 4306 h 49303"/>
                        <a:gd name="connsiteX131" fmla="*/ 40011 w 48339"/>
                        <a:gd name="connsiteY131" fmla="*/ 4127 h 49303"/>
                        <a:gd name="connsiteX132" fmla="*/ 39772 w 48339"/>
                        <a:gd name="connsiteY132" fmla="*/ 3947 h 49303"/>
                        <a:gd name="connsiteX133" fmla="*/ 39532 w 48339"/>
                        <a:gd name="connsiteY133" fmla="*/ 3768 h 49303"/>
                        <a:gd name="connsiteX134" fmla="*/ 37858 w 48339"/>
                        <a:gd name="connsiteY134" fmla="*/ 2691 h 49303"/>
                        <a:gd name="connsiteX135" fmla="*/ 36064 w 48339"/>
                        <a:gd name="connsiteY135" fmla="*/ 1794 h 49303"/>
                        <a:gd name="connsiteX136" fmla="*/ 34150 w 48339"/>
                        <a:gd name="connsiteY136" fmla="*/ 1076 h 49303"/>
                        <a:gd name="connsiteX137" fmla="*/ 32176 w 48339"/>
                        <a:gd name="connsiteY137" fmla="*/ 538 h 49303"/>
                        <a:gd name="connsiteX138" fmla="*/ 31877 w 48339"/>
                        <a:gd name="connsiteY138" fmla="*/ 478 h 49303"/>
                        <a:gd name="connsiteX139" fmla="*/ 31578 w 48339"/>
                        <a:gd name="connsiteY139" fmla="*/ 418 h 49303"/>
                        <a:gd name="connsiteX140" fmla="*/ 31279 w 48339"/>
                        <a:gd name="connsiteY140" fmla="*/ 359 h 49303"/>
                        <a:gd name="connsiteX141" fmla="*/ 30980 w 48339"/>
                        <a:gd name="connsiteY141" fmla="*/ 299 h 49303"/>
                        <a:gd name="connsiteX142" fmla="*/ 30502 w 48339"/>
                        <a:gd name="connsiteY142" fmla="*/ 239 h 49303"/>
                        <a:gd name="connsiteX143" fmla="*/ 30023 w 48339"/>
                        <a:gd name="connsiteY143" fmla="*/ 179 h 49303"/>
                        <a:gd name="connsiteX144" fmla="*/ 29545 w 48339"/>
                        <a:gd name="connsiteY144" fmla="*/ 119 h 49303"/>
                        <a:gd name="connsiteX145" fmla="*/ 29066 w 48339"/>
                        <a:gd name="connsiteY145" fmla="*/ 60 h 49303"/>
                        <a:gd name="connsiteX146" fmla="*/ 27033 w 48339"/>
                        <a:gd name="connsiteY146" fmla="*/ 0 h 49303"/>
                        <a:gd name="connsiteX147" fmla="*/ 25059 w 48339"/>
                        <a:gd name="connsiteY147" fmla="*/ 119 h 49303"/>
                        <a:gd name="connsiteX148" fmla="*/ 23086 w 48339"/>
                        <a:gd name="connsiteY148" fmla="*/ 418 h 49303"/>
                        <a:gd name="connsiteX149" fmla="*/ 21112 w 48339"/>
                        <a:gd name="connsiteY149" fmla="*/ 837 h 49303"/>
                        <a:gd name="connsiteX150" fmla="*/ 20753 w 48339"/>
                        <a:gd name="connsiteY150" fmla="*/ 957 h 49303"/>
                        <a:gd name="connsiteX151" fmla="*/ 20394 w 48339"/>
                        <a:gd name="connsiteY151" fmla="*/ 1076 h 49303"/>
                        <a:gd name="connsiteX152" fmla="*/ 20035 w 48339"/>
                        <a:gd name="connsiteY152" fmla="*/ 1196 h 49303"/>
                        <a:gd name="connsiteX153" fmla="*/ 19676 w 48339"/>
                        <a:gd name="connsiteY153" fmla="*/ 1316 h 49303"/>
                        <a:gd name="connsiteX154" fmla="*/ 18002 w 48339"/>
                        <a:gd name="connsiteY154" fmla="*/ 1914 h 49303"/>
                        <a:gd name="connsiteX155" fmla="*/ 16387 w 48339"/>
                        <a:gd name="connsiteY155" fmla="*/ 2632 h 49303"/>
                        <a:gd name="connsiteX156" fmla="*/ 14772 w 48339"/>
                        <a:gd name="connsiteY156" fmla="*/ 3469 h 49303"/>
                        <a:gd name="connsiteX157" fmla="*/ 13218 w 48339"/>
                        <a:gd name="connsiteY157" fmla="*/ 4426 h 49303"/>
                        <a:gd name="connsiteX158" fmla="*/ 12799 w 48339"/>
                        <a:gd name="connsiteY158" fmla="*/ 4665 h 49303"/>
                        <a:gd name="connsiteX159" fmla="*/ 12380 w 48339"/>
                        <a:gd name="connsiteY159" fmla="*/ 4904 h 49303"/>
                        <a:gd name="connsiteX160" fmla="*/ 12021 w 48339"/>
                        <a:gd name="connsiteY160" fmla="*/ 5203 h 49303"/>
                        <a:gd name="connsiteX161" fmla="*/ 11662 w 48339"/>
                        <a:gd name="connsiteY161" fmla="*/ 5502 h 49303"/>
                        <a:gd name="connsiteX162" fmla="*/ 8612 w 48339"/>
                        <a:gd name="connsiteY162" fmla="*/ 8134 h 49303"/>
                        <a:gd name="connsiteX163" fmla="*/ 5921 w 48339"/>
                        <a:gd name="connsiteY163" fmla="*/ 11184 h 49303"/>
                        <a:gd name="connsiteX164" fmla="*/ 3648 w 48339"/>
                        <a:gd name="connsiteY164" fmla="*/ 14533 h 49303"/>
                        <a:gd name="connsiteX165" fmla="*/ 1914 w 48339"/>
                        <a:gd name="connsiteY165" fmla="*/ 18241 h 49303"/>
                        <a:gd name="connsiteX166" fmla="*/ 1794 w 48339"/>
                        <a:gd name="connsiteY166" fmla="*/ 18540 h 49303"/>
                        <a:gd name="connsiteX167" fmla="*/ 1674 w 48339"/>
                        <a:gd name="connsiteY167" fmla="*/ 18839 h 49303"/>
                        <a:gd name="connsiteX168" fmla="*/ 1555 w 48339"/>
                        <a:gd name="connsiteY168" fmla="*/ 19138 h 49303"/>
                        <a:gd name="connsiteX169" fmla="*/ 1435 w 48339"/>
                        <a:gd name="connsiteY169" fmla="*/ 19437 h 49303"/>
                        <a:gd name="connsiteX170" fmla="*/ 1136 w 48339"/>
                        <a:gd name="connsiteY170" fmla="*/ 20394 h 49303"/>
                        <a:gd name="connsiteX171" fmla="*/ 837 w 48339"/>
                        <a:gd name="connsiteY171" fmla="*/ 21351 h 49303"/>
                        <a:gd name="connsiteX172" fmla="*/ 598 w 48339"/>
                        <a:gd name="connsiteY172" fmla="*/ 22308 h 49303"/>
                        <a:gd name="connsiteX173" fmla="*/ 419 w 48339"/>
                        <a:gd name="connsiteY173" fmla="*/ 23325 h 49303"/>
                        <a:gd name="connsiteX174" fmla="*/ 120 w 48339"/>
                        <a:gd name="connsiteY174" fmla="*/ 25418 h 49303"/>
                        <a:gd name="connsiteX175" fmla="*/ 0 w 48339"/>
                        <a:gd name="connsiteY175" fmla="*/ 27511 h 49303"/>
                        <a:gd name="connsiteX176" fmla="*/ 60 w 48339"/>
                        <a:gd name="connsiteY176" fmla="*/ 29545 h 49303"/>
                        <a:gd name="connsiteX177" fmla="*/ 299 w 48339"/>
                        <a:gd name="connsiteY177" fmla="*/ 31518 h 49303"/>
                        <a:gd name="connsiteX178" fmla="*/ 359 w 48339"/>
                        <a:gd name="connsiteY178" fmla="*/ 31817 h 49303"/>
                        <a:gd name="connsiteX179" fmla="*/ 419 w 48339"/>
                        <a:gd name="connsiteY179" fmla="*/ 32116 h 49303"/>
                        <a:gd name="connsiteX180" fmla="*/ 479 w 48339"/>
                        <a:gd name="connsiteY180" fmla="*/ 32415 h 49303"/>
                        <a:gd name="connsiteX181" fmla="*/ 538 w 48339"/>
                        <a:gd name="connsiteY181" fmla="*/ 32714 h 49303"/>
                        <a:gd name="connsiteX182" fmla="*/ 1256 w 48339"/>
                        <a:gd name="connsiteY182" fmla="*/ 35346 h 49303"/>
                        <a:gd name="connsiteX183" fmla="*/ 2273 w 48339"/>
                        <a:gd name="connsiteY183" fmla="*/ 37798 h 49303"/>
                        <a:gd name="connsiteX184" fmla="*/ 3528 w 48339"/>
                        <a:gd name="connsiteY184" fmla="*/ 40071 h 49303"/>
                        <a:gd name="connsiteX185" fmla="*/ 5083 w 48339"/>
                        <a:gd name="connsiteY185" fmla="*/ 42164 h 49303"/>
                        <a:gd name="connsiteX186" fmla="*/ 5382 w 48339"/>
                        <a:gd name="connsiteY186" fmla="*/ 42463 h 49303"/>
                        <a:gd name="connsiteX187" fmla="*/ 5682 w 48339"/>
                        <a:gd name="connsiteY187" fmla="*/ 42762 h 49303"/>
                        <a:gd name="connsiteX188" fmla="*/ 5981 w 48339"/>
                        <a:gd name="connsiteY188" fmla="*/ 43061 h 49303"/>
                        <a:gd name="connsiteX189" fmla="*/ 6280 w 48339"/>
                        <a:gd name="connsiteY189" fmla="*/ 43360 h 49303"/>
                        <a:gd name="connsiteX190" fmla="*/ 6758 w 48339"/>
                        <a:gd name="connsiteY190" fmla="*/ 43838 h 49303"/>
                        <a:gd name="connsiteX191" fmla="*/ 7237 w 48339"/>
                        <a:gd name="connsiteY191" fmla="*/ 44317 h 49303"/>
                        <a:gd name="connsiteX192" fmla="*/ 7775 w 48339"/>
                        <a:gd name="connsiteY192" fmla="*/ 44736 h 49303"/>
                        <a:gd name="connsiteX193" fmla="*/ 8373 w 48339"/>
                        <a:gd name="connsiteY193" fmla="*/ 45154 h 4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48339" h="49303">
                          <a:moveTo>
                            <a:pt x="44855" y="11902"/>
                          </a:moveTo>
                          <a:cubicBezTo>
                            <a:pt x="45393" y="12978"/>
                            <a:pt x="45812" y="14055"/>
                            <a:pt x="46171" y="15191"/>
                          </a:cubicBezTo>
                          <a:cubicBezTo>
                            <a:pt x="46530" y="16327"/>
                            <a:pt x="46769" y="17523"/>
                            <a:pt x="46889" y="18719"/>
                          </a:cubicBezTo>
                          <a:cubicBezTo>
                            <a:pt x="47068" y="19916"/>
                            <a:pt x="47068" y="21172"/>
                            <a:pt x="47068" y="22428"/>
                          </a:cubicBezTo>
                          <a:cubicBezTo>
                            <a:pt x="47008" y="23683"/>
                            <a:pt x="46889" y="24940"/>
                            <a:pt x="46590" y="26255"/>
                          </a:cubicBezTo>
                          <a:cubicBezTo>
                            <a:pt x="46291" y="27810"/>
                            <a:pt x="45872" y="29305"/>
                            <a:pt x="45274" y="30800"/>
                          </a:cubicBezTo>
                          <a:cubicBezTo>
                            <a:pt x="44736" y="32236"/>
                            <a:pt x="44018" y="33671"/>
                            <a:pt x="43181" y="35047"/>
                          </a:cubicBezTo>
                          <a:cubicBezTo>
                            <a:pt x="42344" y="36422"/>
                            <a:pt x="41446" y="37678"/>
                            <a:pt x="40370" y="38875"/>
                          </a:cubicBezTo>
                          <a:cubicBezTo>
                            <a:pt x="39293" y="40071"/>
                            <a:pt x="38157" y="41207"/>
                            <a:pt x="36901" y="42224"/>
                          </a:cubicBezTo>
                          <a:cubicBezTo>
                            <a:pt x="35645" y="43240"/>
                            <a:pt x="34329" y="44137"/>
                            <a:pt x="32954" y="44915"/>
                          </a:cubicBezTo>
                          <a:cubicBezTo>
                            <a:pt x="31578" y="45692"/>
                            <a:pt x="30203" y="46291"/>
                            <a:pt x="28707" y="46829"/>
                          </a:cubicBezTo>
                          <a:cubicBezTo>
                            <a:pt x="27272" y="47307"/>
                            <a:pt x="25777" y="47666"/>
                            <a:pt x="24282" y="47905"/>
                          </a:cubicBezTo>
                          <a:cubicBezTo>
                            <a:pt x="22787" y="48145"/>
                            <a:pt x="21291" y="48205"/>
                            <a:pt x="19796" y="48085"/>
                          </a:cubicBezTo>
                          <a:cubicBezTo>
                            <a:pt x="18780" y="48025"/>
                            <a:pt x="17763" y="47905"/>
                            <a:pt x="16746" y="47726"/>
                          </a:cubicBezTo>
                          <a:cubicBezTo>
                            <a:pt x="15789" y="47546"/>
                            <a:pt x="14832" y="47247"/>
                            <a:pt x="13875" y="46949"/>
                          </a:cubicBezTo>
                          <a:cubicBezTo>
                            <a:pt x="12978" y="46650"/>
                            <a:pt x="12081" y="46231"/>
                            <a:pt x="11244" y="45752"/>
                          </a:cubicBezTo>
                          <a:cubicBezTo>
                            <a:pt x="10406" y="45274"/>
                            <a:pt x="9629" y="44796"/>
                            <a:pt x="8851" y="44257"/>
                          </a:cubicBezTo>
                          <a:cubicBezTo>
                            <a:pt x="8791" y="44197"/>
                            <a:pt x="8672" y="44137"/>
                            <a:pt x="8612" y="44078"/>
                          </a:cubicBezTo>
                          <a:cubicBezTo>
                            <a:pt x="8552" y="44018"/>
                            <a:pt x="8433" y="43958"/>
                            <a:pt x="8373" y="43898"/>
                          </a:cubicBezTo>
                          <a:cubicBezTo>
                            <a:pt x="8313" y="43838"/>
                            <a:pt x="8194" y="43779"/>
                            <a:pt x="8134" y="43719"/>
                          </a:cubicBezTo>
                          <a:cubicBezTo>
                            <a:pt x="8074" y="43659"/>
                            <a:pt x="8014" y="43599"/>
                            <a:pt x="7895" y="43539"/>
                          </a:cubicBezTo>
                          <a:cubicBezTo>
                            <a:pt x="7775" y="43420"/>
                            <a:pt x="7655" y="43360"/>
                            <a:pt x="7536" y="43240"/>
                          </a:cubicBezTo>
                          <a:cubicBezTo>
                            <a:pt x="7416" y="43121"/>
                            <a:pt x="7296" y="43061"/>
                            <a:pt x="7177" y="42942"/>
                          </a:cubicBezTo>
                          <a:cubicBezTo>
                            <a:pt x="7057" y="42822"/>
                            <a:pt x="6937" y="42762"/>
                            <a:pt x="6878" y="42642"/>
                          </a:cubicBezTo>
                          <a:cubicBezTo>
                            <a:pt x="6758" y="42523"/>
                            <a:pt x="6639" y="42403"/>
                            <a:pt x="6579" y="42343"/>
                          </a:cubicBezTo>
                          <a:cubicBezTo>
                            <a:pt x="5981" y="41685"/>
                            <a:pt x="5382" y="41028"/>
                            <a:pt x="4844" y="40310"/>
                          </a:cubicBezTo>
                          <a:cubicBezTo>
                            <a:pt x="4306" y="39592"/>
                            <a:pt x="3828" y="38815"/>
                            <a:pt x="3409" y="38037"/>
                          </a:cubicBezTo>
                          <a:cubicBezTo>
                            <a:pt x="2990" y="37260"/>
                            <a:pt x="2632" y="36422"/>
                            <a:pt x="2273" y="35526"/>
                          </a:cubicBezTo>
                          <a:cubicBezTo>
                            <a:pt x="1974" y="34688"/>
                            <a:pt x="1674" y="33791"/>
                            <a:pt x="1495" y="32834"/>
                          </a:cubicBezTo>
                          <a:cubicBezTo>
                            <a:pt x="1495" y="32714"/>
                            <a:pt x="1435" y="32655"/>
                            <a:pt x="1435" y="32535"/>
                          </a:cubicBezTo>
                          <a:cubicBezTo>
                            <a:pt x="1435" y="32415"/>
                            <a:pt x="1375" y="32356"/>
                            <a:pt x="1375" y="32236"/>
                          </a:cubicBezTo>
                          <a:cubicBezTo>
                            <a:pt x="1375" y="32116"/>
                            <a:pt x="1316" y="32057"/>
                            <a:pt x="1316" y="31937"/>
                          </a:cubicBezTo>
                          <a:cubicBezTo>
                            <a:pt x="1316" y="31817"/>
                            <a:pt x="1256" y="31758"/>
                            <a:pt x="1256" y="31638"/>
                          </a:cubicBezTo>
                          <a:cubicBezTo>
                            <a:pt x="1136" y="30980"/>
                            <a:pt x="1076" y="30322"/>
                            <a:pt x="1017" y="29664"/>
                          </a:cubicBezTo>
                          <a:cubicBezTo>
                            <a:pt x="957" y="29006"/>
                            <a:pt x="957" y="28349"/>
                            <a:pt x="957" y="27631"/>
                          </a:cubicBezTo>
                          <a:cubicBezTo>
                            <a:pt x="957" y="26973"/>
                            <a:pt x="1017" y="26255"/>
                            <a:pt x="1076" y="25537"/>
                          </a:cubicBezTo>
                          <a:cubicBezTo>
                            <a:pt x="1136" y="24820"/>
                            <a:pt x="1256" y="24162"/>
                            <a:pt x="1375" y="23444"/>
                          </a:cubicBezTo>
                          <a:cubicBezTo>
                            <a:pt x="1435" y="23085"/>
                            <a:pt x="1495" y="22787"/>
                            <a:pt x="1555" y="22428"/>
                          </a:cubicBezTo>
                          <a:cubicBezTo>
                            <a:pt x="1615" y="22069"/>
                            <a:pt x="1734" y="21770"/>
                            <a:pt x="1794" y="21411"/>
                          </a:cubicBezTo>
                          <a:cubicBezTo>
                            <a:pt x="1854" y="21112"/>
                            <a:pt x="1974" y="20753"/>
                            <a:pt x="2093" y="20454"/>
                          </a:cubicBezTo>
                          <a:cubicBezTo>
                            <a:pt x="2213" y="20155"/>
                            <a:pt x="2273" y="19796"/>
                            <a:pt x="2392" y="19497"/>
                          </a:cubicBezTo>
                          <a:cubicBezTo>
                            <a:pt x="2452" y="19377"/>
                            <a:pt x="2452" y="19318"/>
                            <a:pt x="2512" y="19198"/>
                          </a:cubicBezTo>
                          <a:cubicBezTo>
                            <a:pt x="2572" y="19079"/>
                            <a:pt x="2572" y="19019"/>
                            <a:pt x="2632" y="18899"/>
                          </a:cubicBezTo>
                          <a:cubicBezTo>
                            <a:pt x="2691" y="18779"/>
                            <a:pt x="2691" y="18719"/>
                            <a:pt x="2751" y="18600"/>
                          </a:cubicBezTo>
                          <a:cubicBezTo>
                            <a:pt x="2811" y="18480"/>
                            <a:pt x="2811" y="18420"/>
                            <a:pt x="2871" y="18301"/>
                          </a:cubicBezTo>
                          <a:cubicBezTo>
                            <a:pt x="3409" y="16985"/>
                            <a:pt x="4007" y="15729"/>
                            <a:pt x="4725" y="14593"/>
                          </a:cubicBezTo>
                          <a:cubicBezTo>
                            <a:pt x="5442" y="13457"/>
                            <a:pt x="6220" y="12260"/>
                            <a:pt x="7117" y="11184"/>
                          </a:cubicBezTo>
                          <a:cubicBezTo>
                            <a:pt x="8014" y="10107"/>
                            <a:pt x="8911" y="9090"/>
                            <a:pt x="9928" y="8194"/>
                          </a:cubicBezTo>
                          <a:cubicBezTo>
                            <a:pt x="10945" y="7296"/>
                            <a:pt x="12021" y="6399"/>
                            <a:pt x="13158" y="5681"/>
                          </a:cubicBezTo>
                          <a:cubicBezTo>
                            <a:pt x="13277" y="5562"/>
                            <a:pt x="13457" y="5502"/>
                            <a:pt x="13576" y="5382"/>
                          </a:cubicBezTo>
                          <a:cubicBezTo>
                            <a:pt x="13696" y="5263"/>
                            <a:pt x="13875" y="5203"/>
                            <a:pt x="13995" y="5083"/>
                          </a:cubicBezTo>
                          <a:cubicBezTo>
                            <a:pt x="14114" y="4964"/>
                            <a:pt x="14294" y="4904"/>
                            <a:pt x="14413" y="4844"/>
                          </a:cubicBezTo>
                          <a:cubicBezTo>
                            <a:pt x="14533" y="4785"/>
                            <a:pt x="14713" y="4665"/>
                            <a:pt x="14832" y="4605"/>
                          </a:cubicBezTo>
                          <a:cubicBezTo>
                            <a:pt x="15131" y="4426"/>
                            <a:pt x="15490" y="4246"/>
                            <a:pt x="15789" y="4067"/>
                          </a:cubicBezTo>
                          <a:cubicBezTo>
                            <a:pt x="16088" y="3887"/>
                            <a:pt x="16447" y="3768"/>
                            <a:pt x="16746" y="3588"/>
                          </a:cubicBezTo>
                          <a:cubicBezTo>
                            <a:pt x="17045" y="3409"/>
                            <a:pt x="17404" y="3289"/>
                            <a:pt x="17703" y="3170"/>
                          </a:cubicBezTo>
                          <a:cubicBezTo>
                            <a:pt x="18062" y="3050"/>
                            <a:pt x="18361" y="2930"/>
                            <a:pt x="18720" y="2751"/>
                          </a:cubicBezTo>
                          <a:cubicBezTo>
                            <a:pt x="18839" y="2691"/>
                            <a:pt x="18959" y="2691"/>
                            <a:pt x="19079" y="2632"/>
                          </a:cubicBezTo>
                          <a:cubicBezTo>
                            <a:pt x="19198" y="2572"/>
                            <a:pt x="19318" y="2572"/>
                            <a:pt x="19437" y="2512"/>
                          </a:cubicBezTo>
                          <a:cubicBezTo>
                            <a:pt x="19557" y="2452"/>
                            <a:pt x="19676" y="2452"/>
                            <a:pt x="19796" y="2392"/>
                          </a:cubicBezTo>
                          <a:cubicBezTo>
                            <a:pt x="19916" y="2332"/>
                            <a:pt x="20035" y="2332"/>
                            <a:pt x="20155" y="2272"/>
                          </a:cubicBezTo>
                          <a:cubicBezTo>
                            <a:pt x="20813" y="2093"/>
                            <a:pt x="21530" y="1914"/>
                            <a:pt x="22189" y="1734"/>
                          </a:cubicBezTo>
                          <a:cubicBezTo>
                            <a:pt x="22846" y="1615"/>
                            <a:pt x="23564" y="1495"/>
                            <a:pt x="24282" y="1375"/>
                          </a:cubicBezTo>
                          <a:cubicBezTo>
                            <a:pt x="24999" y="1316"/>
                            <a:pt x="25657" y="1256"/>
                            <a:pt x="26375" y="1256"/>
                          </a:cubicBezTo>
                          <a:cubicBezTo>
                            <a:pt x="27092" y="1256"/>
                            <a:pt x="27751" y="1256"/>
                            <a:pt x="28468" y="1316"/>
                          </a:cubicBezTo>
                          <a:cubicBezTo>
                            <a:pt x="28588" y="1316"/>
                            <a:pt x="28767" y="1316"/>
                            <a:pt x="28887" y="1375"/>
                          </a:cubicBezTo>
                          <a:cubicBezTo>
                            <a:pt x="29006" y="1375"/>
                            <a:pt x="29186" y="1375"/>
                            <a:pt x="29305" y="1435"/>
                          </a:cubicBezTo>
                          <a:cubicBezTo>
                            <a:pt x="29425" y="1435"/>
                            <a:pt x="29605" y="1495"/>
                            <a:pt x="29724" y="1495"/>
                          </a:cubicBezTo>
                          <a:cubicBezTo>
                            <a:pt x="29844" y="1495"/>
                            <a:pt x="30023" y="1555"/>
                            <a:pt x="30143" y="1555"/>
                          </a:cubicBezTo>
                          <a:cubicBezTo>
                            <a:pt x="30262" y="1555"/>
                            <a:pt x="30322" y="1555"/>
                            <a:pt x="30442" y="1615"/>
                          </a:cubicBezTo>
                          <a:cubicBezTo>
                            <a:pt x="30561" y="1615"/>
                            <a:pt x="30621" y="1674"/>
                            <a:pt x="30741" y="1674"/>
                          </a:cubicBezTo>
                          <a:cubicBezTo>
                            <a:pt x="30860" y="1674"/>
                            <a:pt x="30920" y="1734"/>
                            <a:pt x="31040" y="1734"/>
                          </a:cubicBezTo>
                          <a:cubicBezTo>
                            <a:pt x="31160" y="1734"/>
                            <a:pt x="31219" y="1794"/>
                            <a:pt x="31339" y="1794"/>
                          </a:cubicBezTo>
                          <a:cubicBezTo>
                            <a:pt x="31997" y="1914"/>
                            <a:pt x="32714" y="2093"/>
                            <a:pt x="33313" y="2332"/>
                          </a:cubicBezTo>
                          <a:cubicBezTo>
                            <a:pt x="33970" y="2512"/>
                            <a:pt x="34568" y="2751"/>
                            <a:pt x="35227" y="3050"/>
                          </a:cubicBezTo>
                          <a:cubicBezTo>
                            <a:pt x="35824" y="3289"/>
                            <a:pt x="36422" y="3648"/>
                            <a:pt x="37021" y="3947"/>
                          </a:cubicBezTo>
                          <a:cubicBezTo>
                            <a:pt x="37619" y="4306"/>
                            <a:pt x="38157" y="4665"/>
                            <a:pt x="38695" y="5024"/>
                          </a:cubicBezTo>
                          <a:cubicBezTo>
                            <a:pt x="38755" y="5083"/>
                            <a:pt x="38815" y="5083"/>
                            <a:pt x="38875" y="5143"/>
                          </a:cubicBezTo>
                          <a:cubicBezTo>
                            <a:pt x="38935" y="5203"/>
                            <a:pt x="38994" y="5203"/>
                            <a:pt x="39054" y="5263"/>
                          </a:cubicBezTo>
                          <a:cubicBezTo>
                            <a:pt x="39114" y="5323"/>
                            <a:pt x="39174" y="5323"/>
                            <a:pt x="39234" y="5382"/>
                          </a:cubicBezTo>
                          <a:cubicBezTo>
                            <a:pt x="39293" y="5442"/>
                            <a:pt x="39353" y="5442"/>
                            <a:pt x="39413" y="5502"/>
                          </a:cubicBezTo>
                          <a:cubicBezTo>
                            <a:pt x="39413" y="5502"/>
                            <a:pt x="39473" y="5562"/>
                            <a:pt x="39473" y="5562"/>
                          </a:cubicBezTo>
                          <a:cubicBezTo>
                            <a:pt x="39473" y="5562"/>
                            <a:pt x="39532" y="5622"/>
                            <a:pt x="39532" y="5622"/>
                          </a:cubicBezTo>
                          <a:cubicBezTo>
                            <a:pt x="39532" y="5622"/>
                            <a:pt x="39592" y="5681"/>
                            <a:pt x="39592" y="5681"/>
                          </a:cubicBezTo>
                          <a:cubicBezTo>
                            <a:pt x="39592" y="5681"/>
                            <a:pt x="39652" y="5741"/>
                            <a:pt x="39652" y="5741"/>
                          </a:cubicBezTo>
                          <a:cubicBezTo>
                            <a:pt x="39951" y="5981"/>
                            <a:pt x="40310" y="6280"/>
                            <a:pt x="40609" y="6579"/>
                          </a:cubicBezTo>
                          <a:cubicBezTo>
                            <a:pt x="40908" y="6878"/>
                            <a:pt x="41207" y="7177"/>
                            <a:pt x="41506" y="7476"/>
                          </a:cubicBezTo>
                          <a:cubicBezTo>
                            <a:pt x="41805" y="7775"/>
                            <a:pt x="42104" y="8134"/>
                            <a:pt x="42344" y="8433"/>
                          </a:cubicBezTo>
                          <a:cubicBezTo>
                            <a:pt x="42583" y="8732"/>
                            <a:pt x="42882" y="9090"/>
                            <a:pt x="43121" y="9449"/>
                          </a:cubicBezTo>
                          <a:cubicBezTo>
                            <a:pt x="43181" y="9569"/>
                            <a:pt x="43300" y="9689"/>
                            <a:pt x="43360" y="9808"/>
                          </a:cubicBezTo>
                          <a:cubicBezTo>
                            <a:pt x="43420" y="9928"/>
                            <a:pt x="43480" y="10048"/>
                            <a:pt x="43599" y="10167"/>
                          </a:cubicBezTo>
                          <a:cubicBezTo>
                            <a:pt x="43659" y="10287"/>
                            <a:pt x="43719" y="10406"/>
                            <a:pt x="43839" y="10526"/>
                          </a:cubicBezTo>
                          <a:cubicBezTo>
                            <a:pt x="43898" y="10645"/>
                            <a:pt x="43958" y="10765"/>
                            <a:pt x="44018" y="10885"/>
                          </a:cubicBezTo>
                          <a:cubicBezTo>
                            <a:pt x="44078" y="11004"/>
                            <a:pt x="44138" y="11064"/>
                            <a:pt x="44198" y="11184"/>
                          </a:cubicBezTo>
                          <a:cubicBezTo>
                            <a:pt x="44257" y="11303"/>
                            <a:pt x="44317" y="11363"/>
                            <a:pt x="44377" y="11483"/>
                          </a:cubicBezTo>
                          <a:cubicBezTo>
                            <a:pt x="44437" y="11603"/>
                            <a:pt x="44497" y="11662"/>
                            <a:pt x="44556" y="11782"/>
                          </a:cubicBezTo>
                          <a:cubicBezTo>
                            <a:pt x="44736" y="11722"/>
                            <a:pt x="44796" y="11782"/>
                            <a:pt x="44855" y="11902"/>
                          </a:cubicBezTo>
                          <a:moveTo>
                            <a:pt x="8373" y="45154"/>
                          </a:moveTo>
                          <a:cubicBezTo>
                            <a:pt x="9150" y="45752"/>
                            <a:pt x="9988" y="46291"/>
                            <a:pt x="10885" y="46769"/>
                          </a:cubicBezTo>
                          <a:cubicBezTo>
                            <a:pt x="11782" y="47247"/>
                            <a:pt x="12679" y="47666"/>
                            <a:pt x="13636" y="48025"/>
                          </a:cubicBezTo>
                          <a:cubicBezTo>
                            <a:pt x="14593" y="48384"/>
                            <a:pt x="15610" y="48623"/>
                            <a:pt x="16626" y="48862"/>
                          </a:cubicBezTo>
                          <a:cubicBezTo>
                            <a:pt x="17643" y="49042"/>
                            <a:pt x="18720" y="49221"/>
                            <a:pt x="19796" y="49281"/>
                          </a:cubicBezTo>
                          <a:cubicBezTo>
                            <a:pt x="21351" y="49341"/>
                            <a:pt x="22966" y="49281"/>
                            <a:pt x="24521" y="49101"/>
                          </a:cubicBezTo>
                          <a:cubicBezTo>
                            <a:pt x="26076" y="48862"/>
                            <a:pt x="27631" y="48504"/>
                            <a:pt x="29126" y="47965"/>
                          </a:cubicBezTo>
                          <a:cubicBezTo>
                            <a:pt x="30621" y="47427"/>
                            <a:pt x="32116" y="46769"/>
                            <a:pt x="33552" y="45992"/>
                          </a:cubicBezTo>
                          <a:cubicBezTo>
                            <a:pt x="34987" y="45154"/>
                            <a:pt x="36363" y="44257"/>
                            <a:pt x="37678" y="43121"/>
                          </a:cubicBezTo>
                          <a:cubicBezTo>
                            <a:pt x="38994" y="42044"/>
                            <a:pt x="40190" y="40848"/>
                            <a:pt x="41327" y="39592"/>
                          </a:cubicBezTo>
                          <a:cubicBezTo>
                            <a:pt x="42403" y="38336"/>
                            <a:pt x="43420" y="36961"/>
                            <a:pt x="44257" y="35585"/>
                          </a:cubicBezTo>
                          <a:cubicBezTo>
                            <a:pt x="45095" y="34150"/>
                            <a:pt x="45872" y="32714"/>
                            <a:pt x="46470" y="31159"/>
                          </a:cubicBezTo>
                          <a:cubicBezTo>
                            <a:pt x="47068" y="29604"/>
                            <a:pt x="47547" y="28050"/>
                            <a:pt x="47846" y="26435"/>
                          </a:cubicBezTo>
                          <a:cubicBezTo>
                            <a:pt x="48145" y="24999"/>
                            <a:pt x="48264" y="23564"/>
                            <a:pt x="48324" y="22188"/>
                          </a:cubicBezTo>
                          <a:cubicBezTo>
                            <a:pt x="48384" y="20813"/>
                            <a:pt x="48264" y="19437"/>
                            <a:pt x="48085" y="18062"/>
                          </a:cubicBezTo>
                          <a:cubicBezTo>
                            <a:pt x="47906" y="16746"/>
                            <a:pt x="47607" y="15430"/>
                            <a:pt x="47188" y="14174"/>
                          </a:cubicBezTo>
                          <a:cubicBezTo>
                            <a:pt x="46769" y="12918"/>
                            <a:pt x="46231" y="11722"/>
                            <a:pt x="45573" y="10526"/>
                          </a:cubicBezTo>
                          <a:cubicBezTo>
                            <a:pt x="45513" y="10406"/>
                            <a:pt x="45453" y="10347"/>
                            <a:pt x="45393" y="10227"/>
                          </a:cubicBezTo>
                          <a:cubicBezTo>
                            <a:pt x="45334" y="10107"/>
                            <a:pt x="45274" y="10048"/>
                            <a:pt x="45214" y="9928"/>
                          </a:cubicBezTo>
                          <a:cubicBezTo>
                            <a:pt x="45154" y="9808"/>
                            <a:pt x="45095" y="9748"/>
                            <a:pt x="45035" y="9629"/>
                          </a:cubicBezTo>
                          <a:cubicBezTo>
                            <a:pt x="44975" y="9509"/>
                            <a:pt x="44915" y="9449"/>
                            <a:pt x="44855" y="9330"/>
                          </a:cubicBezTo>
                          <a:cubicBezTo>
                            <a:pt x="44796" y="9270"/>
                            <a:pt x="44796" y="9210"/>
                            <a:pt x="44736" y="9150"/>
                          </a:cubicBezTo>
                          <a:cubicBezTo>
                            <a:pt x="44676" y="9090"/>
                            <a:pt x="44676" y="9031"/>
                            <a:pt x="44616" y="8971"/>
                          </a:cubicBezTo>
                          <a:cubicBezTo>
                            <a:pt x="44556" y="8911"/>
                            <a:pt x="44556" y="8851"/>
                            <a:pt x="44497" y="8791"/>
                          </a:cubicBezTo>
                          <a:cubicBezTo>
                            <a:pt x="44437" y="8732"/>
                            <a:pt x="44377" y="8672"/>
                            <a:pt x="44377" y="8612"/>
                          </a:cubicBezTo>
                          <a:cubicBezTo>
                            <a:pt x="44078" y="8194"/>
                            <a:pt x="43839" y="7835"/>
                            <a:pt x="43539" y="7476"/>
                          </a:cubicBezTo>
                          <a:cubicBezTo>
                            <a:pt x="43241" y="7117"/>
                            <a:pt x="42942" y="6758"/>
                            <a:pt x="42583" y="6399"/>
                          </a:cubicBezTo>
                          <a:cubicBezTo>
                            <a:pt x="42284" y="6040"/>
                            <a:pt x="41925" y="5741"/>
                            <a:pt x="41566" y="5382"/>
                          </a:cubicBezTo>
                          <a:cubicBezTo>
                            <a:pt x="41207" y="5083"/>
                            <a:pt x="40848" y="4785"/>
                            <a:pt x="40490" y="4486"/>
                          </a:cubicBezTo>
                          <a:cubicBezTo>
                            <a:pt x="40490" y="4486"/>
                            <a:pt x="40490" y="4486"/>
                            <a:pt x="40490" y="4486"/>
                          </a:cubicBezTo>
                          <a:cubicBezTo>
                            <a:pt x="40490" y="4486"/>
                            <a:pt x="40490" y="4486"/>
                            <a:pt x="40490" y="4486"/>
                          </a:cubicBezTo>
                          <a:cubicBezTo>
                            <a:pt x="40490" y="4486"/>
                            <a:pt x="40490" y="4486"/>
                            <a:pt x="40490" y="4486"/>
                          </a:cubicBezTo>
                          <a:cubicBezTo>
                            <a:pt x="40490" y="4486"/>
                            <a:pt x="40490" y="4486"/>
                            <a:pt x="40490" y="4486"/>
                          </a:cubicBezTo>
                          <a:cubicBezTo>
                            <a:pt x="40430" y="4426"/>
                            <a:pt x="40370" y="4366"/>
                            <a:pt x="40250" y="4306"/>
                          </a:cubicBezTo>
                          <a:cubicBezTo>
                            <a:pt x="40131" y="4246"/>
                            <a:pt x="40071" y="4186"/>
                            <a:pt x="40011" y="4127"/>
                          </a:cubicBezTo>
                          <a:cubicBezTo>
                            <a:pt x="39951" y="4067"/>
                            <a:pt x="39831" y="4007"/>
                            <a:pt x="39772" y="3947"/>
                          </a:cubicBezTo>
                          <a:cubicBezTo>
                            <a:pt x="39712" y="3887"/>
                            <a:pt x="39592" y="3827"/>
                            <a:pt x="39532" y="3768"/>
                          </a:cubicBezTo>
                          <a:cubicBezTo>
                            <a:pt x="38994" y="3409"/>
                            <a:pt x="38396" y="3050"/>
                            <a:pt x="37858" y="2691"/>
                          </a:cubicBezTo>
                          <a:cubicBezTo>
                            <a:pt x="37260" y="2392"/>
                            <a:pt x="36662" y="2093"/>
                            <a:pt x="36064" y="1794"/>
                          </a:cubicBezTo>
                          <a:cubicBezTo>
                            <a:pt x="35466" y="1555"/>
                            <a:pt x="34808" y="1316"/>
                            <a:pt x="34150" y="1076"/>
                          </a:cubicBezTo>
                          <a:cubicBezTo>
                            <a:pt x="33492" y="897"/>
                            <a:pt x="32834" y="718"/>
                            <a:pt x="32176" y="538"/>
                          </a:cubicBezTo>
                          <a:cubicBezTo>
                            <a:pt x="32057" y="538"/>
                            <a:pt x="31997" y="478"/>
                            <a:pt x="31877" y="478"/>
                          </a:cubicBezTo>
                          <a:cubicBezTo>
                            <a:pt x="31758" y="478"/>
                            <a:pt x="31698" y="418"/>
                            <a:pt x="31578" y="418"/>
                          </a:cubicBezTo>
                          <a:cubicBezTo>
                            <a:pt x="31459" y="418"/>
                            <a:pt x="31399" y="359"/>
                            <a:pt x="31279" y="359"/>
                          </a:cubicBezTo>
                          <a:cubicBezTo>
                            <a:pt x="31160" y="359"/>
                            <a:pt x="31100" y="299"/>
                            <a:pt x="30980" y="299"/>
                          </a:cubicBezTo>
                          <a:cubicBezTo>
                            <a:pt x="30801" y="299"/>
                            <a:pt x="30681" y="239"/>
                            <a:pt x="30502" y="239"/>
                          </a:cubicBezTo>
                          <a:cubicBezTo>
                            <a:pt x="30322" y="239"/>
                            <a:pt x="30203" y="179"/>
                            <a:pt x="30023" y="179"/>
                          </a:cubicBezTo>
                          <a:cubicBezTo>
                            <a:pt x="29844" y="179"/>
                            <a:pt x="29724" y="119"/>
                            <a:pt x="29545" y="119"/>
                          </a:cubicBezTo>
                          <a:cubicBezTo>
                            <a:pt x="29365" y="119"/>
                            <a:pt x="29246" y="119"/>
                            <a:pt x="29066" y="60"/>
                          </a:cubicBezTo>
                          <a:cubicBezTo>
                            <a:pt x="28408" y="0"/>
                            <a:pt x="27751" y="0"/>
                            <a:pt x="27033" y="0"/>
                          </a:cubicBezTo>
                          <a:cubicBezTo>
                            <a:pt x="26375" y="0"/>
                            <a:pt x="25717" y="60"/>
                            <a:pt x="25059" y="119"/>
                          </a:cubicBezTo>
                          <a:cubicBezTo>
                            <a:pt x="24401" y="179"/>
                            <a:pt x="23743" y="299"/>
                            <a:pt x="23086" y="418"/>
                          </a:cubicBezTo>
                          <a:cubicBezTo>
                            <a:pt x="22428" y="538"/>
                            <a:pt x="21770" y="658"/>
                            <a:pt x="21112" y="837"/>
                          </a:cubicBezTo>
                          <a:cubicBezTo>
                            <a:pt x="20992" y="897"/>
                            <a:pt x="20873" y="897"/>
                            <a:pt x="20753" y="957"/>
                          </a:cubicBezTo>
                          <a:cubicBezTo>
                            <a:pt x="20634" y="1017"/>
                            <a:pt x="20514" y="1017"/>
                            <a:pt x="20394" y="1076"/>
                          </a:cubicBezTo>
                          <a:cubicBezTo>
                            <a:pt x="20275" y="1136"/>
                            <a:pt x="20155" y="1136"/>
                            <a:pt x="20035" y="1196"/>
                          </a:cubicBezTo>
                          <a:cubicBezTo>
                            <a:pt x="19916" y="1256"/>
                            <a:pt x="19796" y="1256"/>
                            <a:pt x="19676" y="1316"/>
                          </a:cubicBezTo>
                          <a:cubicBezTo>
                            <a:pt x="19138" y="1495"/>
                            <a:pt x="18540" y="1734"/>
                            <a:pt x="18002" y="1914"/>
                          </a:cubicBezTo>
                          <a:cubicBezTo>
                            <a:pt x="17464" y="2153"/>
                            <a:pt x="16926" y="2392"/>
                            <a:pt x="16387" y="2632"/>
                          </a:cubicBezTo>
                          <a:cubicBezTo>
                            <a:pt x="15849" y="2871"/>
                            <a:pt x="15311" y="3170"/>
                            <a:pt x="14772" y="3469"/>
                          </a:cubicBezTo>
                          <a:cubicBezTo>
                            <a:pt x="14234" y="3768"/>
                            <a:pt x="13756" y="4067"/>
                            <a:pt x="13218" y="4426"/>
                          </a:cubicBezTo>
                          <a:cubicBezTo>
                            <a:pt x="13098" y="4486"/>
                            <a:pt x="12978" y="4605"/>
                            <a:pt x="12799" y="4665"/>
                          </a:cubicBezTo>
                          <a:cubicBezTo>
                            <a:pt x="12679" y="4725"/>
                            <a:pt x="12559" y="4844"/>
                            <a:pt x="12380" y="4904"/>
                          </a:cubicBezTo>
                          <a:cubicBezTo>
                            <a:pt x="12260" y="5024"/>
                            <a:pt x="12141" y="5083"/>
                            <a:pt x="12021" y="5203"/>
                          </a:cubicBezTo>
                          <a:cubicBezTo>
                            <a:pt x="11902" y="5323"/>
                            <a:pt x="11782" y="5382"/>
                            <a:pt x="11662" y="5502"/>
                          </a:cubicBezTo>
                          <a:cubicBezTo>
                            <a:pt x="10586" y="6280"/>
                            <a:pt x="9569" y="7177"/>
                            <a:pt x="8612" y="8134"/>
                          </a:cubicBezTo>
                          <a:cubicBezTo>
                            <a:pt x="7655" y="9090"/>
                            <a:pt x="6758" y="10107"/>
                            <a:pt x="5921" y="11184"/>
                          </a:cubicBezTo>
                          <a:cubicBezTo>
                            <a:pt x="5083" y="12260"/>
                            <a:pt x="4366" y="13397"/>
                            <a:pt x="3648" y="14533"/>
                          </a:cubicBezTo>
                          <a:cubicBezTo>
                            <a:pt x="2990" y="15729"/>
                            <a:pt x="2392" y="16925"/>
                            <a:pt x="1914" y="18241"/>
                          </a:cubicBezTo>
                          <a:cubicBezTo>
                            <a:pt x="1854" y="18360"/>
                            <a:pt x="1854" y="18420"/>
                            <a:pt x="1794" y="18540"/>
                          </a:cubicBezTo>
                          <a:cubicBezTo>
                            <a:pt x="1734" y="18660"/>
                            <a:pt x="1734" y="18719"/>
                            <a:pt x="1674" y="18839"/>
                          </a:cubicBezTo>
                          <a:cubicBezTo>
                            <a:pt x="1615" y="18959"/>
                            <a:pt x="1615" y="19019"/>
                            <a:pt x="1555" y="19138"/>
                          </a:cubicBezTo>
                          <a:cubicBezTo>
                            <a:pt x="1495" y="19258"/>
                            <a:pt x="1495" y="19318"/>
                            <a:pt x="1435" y="19437"/>
                          </a:cubicBezTo>
                          <a:cubicBezTo>
                            <a:pt x="1316" y="19736"/>
                            <a:pt x="1196" y="20095"/>
                            <a:pt x="1136" y="20394"/>
                          </a:cubicBezTo>
                          <a:cubicBezTo>
                            <a:pt x="1017" y="20693"/>
                            <a:pt x="957" y="21052"/>
                            <a:pt x="837" y="21351"/>
                          </a:cubicBezTo>
                          <a:cubicBezTo>
                            <a:pt x="778" y="21650"/>
                            <a:pt x="658" y="22009"/>
                            <a:pt x="598" y="22308"/>
                          </a:cubicBezTo>
                          <a:cubicBezTo>
                            <a:pt x="538" y="22667"/>
                            <a:pt x="479" y="22966"/>
                            <a:pt x="419" y="23325"/>
                          </a:cubicBezTo>
                          <a:cubicBezTo>
                            <a:pt x="299" y="24042"/>
                            <a:pt x="179" y="24760"/>
                            <a:pt x="120" y="25418"/>
                          </a:cubicBezTo>
                          <a:cubicBezTo>
                            <a:pt x="60" y="26136"/>
                            <a:pt x="0" y="26794"/>
                            <a:pt x="0" y="27511"/>
                          </a:cubicBezTo>
                          <a:cubicBezTo>
                            <a:pt x="0" y="28169"/>
                            <a:pt x="0" y="28887"/>
                            <a:pt x="60" y="29545"/>
                          </a:cubicBezTo>
                          <a:cubicBezTo>
                            <a:pt x="120" y="30203"/>
                            <a:pt x="179" y="30860"/>
                            <a:pt x="299" y="31518"/>
                          </a:cubicBezTo>
                          <a:cubicBezTo>
                            <a:pt x="299" y="31638"/>
                            <a:pt x="359" y="31698"/>
                            <a:pt x="359" y="31817"/>
                          </a:cubicBezTo>
                          <a:cubicBezTo>
                            <a:pt x="359" y="31937"/>
                            <a:pt x="419" y="31997"/>
                            <a:pt x="419" y="32116"/>
                          </a:cubicBezTo>
                          <a:cubicBezTo>
                            <a:pt x="419" y="32236"/>
                            <a:pt x="479" y="32296"/>
                            <a:pt x="479" y="32415"/>
                          </a:cubicBezTo>
                          <a:cubicBezTo>
                            <a:pt x="479" y="32535"/>
                            <a:pt x="538" y="32595"/>
                            <a:pt x="538" y="32714"/>
                          </a:cubicBezTo>
                          <a:cubicBezTo>
                            <a:pt x="718" y="33612"/>
                            <a:pt x="957" y="34509"/>
                            <a:pt x="1256" y="35346"/>
                          </a:cubicBezTo>
                          <a:cubicBezTo>
                            <a:pt x="1555" y="36183"/>
                            <a:pt x="1854" y="37021"/>
                            <a:pt x="2273" y="37798"/>
                          </a:cubicBezTo>
                          <a:cubicBezTo>
                            <a:pt x="2632" y="38575"/>
                            <a:pt x="3110" y="39353"/>
                            <a:pt x="3528" y="40071"/>
                          </a:cubicBezTo>
                          <a:cubicBezTo>
                            <a:pt x="4007" y="40788"/>
                            <a:pt x="4545" y="41506"/>
                            <a:pt x="5083" y="42164"/>
                          </a:cubicBezTo>
                          <a:cubicBezTo>
                            <a:pt x="5203" y="42283"/>
                            <a:pt x="5263" y="42403"/>
                            <a:pt x="5382" y="42463"/>
                          </a:cubicBezTo>
                          <a:cubicBezTo>
                            <a:pt x="5502" y="42583"/>
                            <a:pt x="5562" y="42642"/>
                            <a:pt x="5682" y="42762"/>
                          </a:cubicBezTo>
                          <a:cubicBezTo>
                            <a:pt x="5801" y="42882"/>
                            <a:pt x="5861" y="42942"/>
                            <a:pt x="5981" y="43061"/>
                          </a:cubicBezTo>
                          <a:cubicBezTo>
                            <a:pt x="6100" y="43181"/>
                            <a:pt x="6160" y="43240"/>
                            <a:pt x="6280" y="43360"/>
                          </a:cubicBezTo>
                          <a:cubicBezTo>
                            <a:pt x="6459" y="43539"/>
                            <a:pt x="6579" y="43659"/>
                            <a:pt x="6758" y="43838"/>
                          </a:cubicBezTo>
                          <a:cubicBezTo>
                            <a:pt x="6937" y="44018"/>
                            <a:pt x="7117" y="44137"/>
                            <a:pt x="7237" y="44317"/>
                          </a:cubicBezTo>
                          <a:cubicBezTo>
                            <a:pt x="7416" y="44437"/>
                            <a:pt x="7596" y="44616"/>
                            <a:pt x="7775" y="44736"/>
                          </a:cubicBezTo>
                          <a:cubicBezTo>
                            <a:pt x="7954" y="44855"/>
                            <a:pt x="8194" y="45035"/>
                            <a:pt x="8373" y="45154"/>
                          </a:cubicBezTo>
                        </a:path>
                      </a:pathLst>
                    </a:custGeom>
                    <a:noFill/>
                    <a:ln w="6350" cap="flat">
                      <a:solidFill>
                        <a:schemeClr val="bg1">
                          <a:alpha val="80000"/>
                        </a:schemeClr>
                      </a:solidFill>
                      <a:prstDash val="solid"/>
                      <a:miter/>
                    </a:ln>
                  </p:spPr>
                  <p:txBody>
                    <a:bodyPr rtlCol="0" anchor="ctr"/>
                    <a:lstStyle/>
                    <a:p>
                      <a:endParaRPr lang="en-GB"/>
                    </a:p>
                  </p:txBody>
                </p:sp>
                <p:sp>
                  <p:nvSpPr>
                    <p:cNvPr id="7463" name="Vrije vorm: vorm 7462">
                      <a:extLst>
                        <a:ext uri="{FF2B5EF4-FFF2-40B4-BE49-F238E27FC236}">
                          <a16:creationId xmlns:a16="http://schemas.microsoft.com/office/drawing/2014/main" id="{76FDD1C1-3384-4CF1-8F92-DBBD698F80D5}"/>
                        </a:ext>
                      </a:extLst>
                    </p:cNvPr>
                    <p:cNvSpPr/>
                    <p:nvPr/>
                  </p:nvSpPr>
                  <p:spPr>
                    <a:xfrm>
                      <a:off x="4978313" y="5078630"/>
                      <a:ext cx="40873" cy="41588"/>
                    </a:xfrm>
                    <a:custGeom>
                      <a:avLst/>
                      <a:gdLst>
                        <a:gd name="connsiteX0" fmla="*/ 37320 w 40873"/>
                        <a:gd name="connsiteY0" fmla="*/ 9390 h 41588"/>
                        <a:gd name="connsiteX1" fmla="*/ 38576 w 40873"/>
                        <a:gd name="connsiteY1" fmla="*/ 12260 h 41588"/>
                        <a:gd name="connsiteX2" fmla="*/ 39353 w 40873"/>
                        <a:gd name="connsiteY2" fmla="*/ 15370 h 41588"/>
                        <a:gd name="connsiteX3" fmla="*/ 39532 w 40873"/>
                        <a:gd name="connsiteY3" fmla="*/ 18660 h 41588"/>
                        <a:gd name="connsiteX4" fmla="*/ 39174 w 40873"/>
                        <a:gd name="connsiteY4" fmla="*/ 22009 h 41588"/>
                        <a:gd name="connsiteX5" fmla="*/ 38097 w 40873"/>
                        <a:gd name="connsiteY5" fmla="*/ 25777 h 41588"/>
                        <a:gd name="connsiteX6" fmla="*/ 36363 w 40873"/>
                        <a:gd name="connsiteY6" fmla="*/ 29305 h 41588"/>
                        <a:gd name="connsiteX7" fmla="*/ 34030 w 40873"/>
                        <a:gd name="connsiteY7" fmla="*/ 32475 h 41588"/>
                        <a:gd name="connsiteX8" fmla="*/ 31160 w 40873"/>
                        <a:gd name="connsiteY8" fmla="*/ 35226 h 41588"/>
                        <a:gd name="connsiteX9" fmla="*/ 27870 w 40873"/>
                        <a:gd name="connsiteY9" fmla="*/ 37439 h 41588"/>
                        <a:gd name="connsiteX10" fmla="*/ 24342 w 40873"/>
                        <a:gd name="connsiteY10" fmla="*/ 39054 h 41588"/>
                        <a:gd name="connsiteX11" fmla="*/ 20693 w 40873"/>
                        <a:gd name="connsiteY11" fmla="*/ 39951 h 41588"/>
                        <a:gd name="connsiteX12" fmla="*/ 16985 w 40873"/>
                        <a:gd name="connsiteY12" fmla="*/ 40130 h 41588"/>
                        <a:gd name="connsiteX13" fmla="*/ 14533 w 40873"/>
                        <a:gd name="connsiteY13" fmla="*/ 39772 h 41588"/>
                        <a:gd name="connsiteX14" fmla="*/ 12201 w 40873"/>
                        <a:gd name="connsiteY14" fmla="*/ 39114 h 41588"/>
                        <a:gd name="connsiteX15" fmla="*/ 9988 w 40873"/>
                        <a:gd name="connsiteY15" fmla="*/ 38157 h 41588"/>
                        <a:gd name="connsiteX16" fmla="*/ 8014 w 40873"/>
                        <a:gd name="connsiteY16" fmla="*/ 36901 h 41588"/>
                        <a:gd name="connsiteX17" fmla="*/ 7715 w 40873"/>
                        <a:gd name="connsiteY17" fmla="*/ 36662 h 41588"/>
                        <a:gd name="connsiteX18" fmla="*/ 7416 w 40873"/>
                        <a:gd name="connsiteY18" fmla="*/ 36422 h 41588"/>
                        <a:gd name="connsiteX19" fmla="*/ 7117 w 40873"/>
                        <a:gd name="connsiteY19" fmla="*/ 36183 h 41588"/>
                        <a:gd name="connsiteX20" fmla="*/ 6818 w 40873"/>
                        <a:gd name="connsiteY20" fmla="*/ 35944 h 41588"/>
                        <a:gd name="connsiteX21" fmla="*/ 6579 w 40873"/>
                        <a:gd name="connsiteY21" fmla="*/ 35705 h 41588"/>
                        <a:gd name="connsiteX22" fmla="*/ 6340 w 40873"/>
                        <a:gd name="connsiteY22" fmla="*/ 35466 h 41588"/>
                        <a:gd name="connsiteX23" fmla="*/ 6100 w 40873"/>
                        <a:gd name="connsiteY23" fmla="*/ 35226 h 41588"/>
                        <a:gd name="connsiteX24" fmla="*/ 5861 w 40873"/>
                        <a:gd name="connsiteY24" fmla="*/ 34987 h 41588"/>
                        <a:gd name="connsiteX25" fmla="*/ 4785 w 40873"/>
                        <a:gd name="connsiteY25" fmla="*/ 33671 h 41588"/>
                        <a:gd name="connsiteX26" fmla="*/ 3828 w 40873"/>
                        <a:gd name="connsiteY26" fmla="*/ 32236 h 41588"/>
                        <a:gd name="connsiteX27" fmla="*/ 3050 w 40873"/>
                        <a:gd name="connsiteY27" fmla="*/ 30681 h 41588"/>
                        <a:gd name="connsiteX28" fmla="*/ 2452 w 40873"/>
                        <a:gd name="connsiteY28" fmla="*/ 29066 h 41588"/>
                        <a:gd name="connsiteX29" fmla="*/ 2333 w 40873"/>
                        <a:gd name="connsiteY29" fmla="*/ 28767 h 41588"/>
                        <a:gd name="connsiteX30" fmla="*/ 2213 w 40873"/>
                        <a:gd name="connsiteY30" fmla="*/ 28468 h 41588"/>
                        <a:gd name="connsiteX31" fmla="*/ 2153 w 40873"/>
                        <a:gd name="connsiteY31" fmla="*/ 28169 h 41588"/>
                        <a:gd name="connsiteX32" fmla="*/ 2093 w 40873"/>
                        <a:gd name="connsiteY32" fmla="*/ 27870 h 41588"/>
                        <a:gd name="connsiteX33" fmla="*/ 1734 w 40873"/>
                        <a:gd name="connsiteY33" fmla="*/ 25896 h 41588"/>
                        <a:gd name="connsiteX34" fmla="*/ 1555 w 40873"/>
                        <a:gd name="connsiteY34" fmla="*/ 23863 h 41588"/>
                        <a:gd name="connsiteX35" fmla="*/ 1615 w 40873"/>
                        <a:gd name="connsiteY35" fmla="*/ 21770 h 41588"/>
                        <a:gd name="connsiteX36" fmla="*/ 1914 w 40873"/>
                        <a:gd name="connsiteY36" fmla="*/ 19676 h 41588"/>
                        <a:gd name="connsiteX37" fmla="*/ 2153 w 40873"/>
                        <a:gd name="connsiteY37" fmla="*/ 18660 h 41588"/>
                        <a:gd name="connsiteX38" fmla="*/ 2392 w 40873"/>
                        <a:gd name="connsiteY38" fmla="*/ 17643 h 41588"/>
                        <a:gd name="connsiteX39" fmla="*/ 2691 w 40873"/>
                        <a:gd name="connsiteY39" fmla="*/ 16686 h 41588"/>
                        <a:gd name="connsiteX40" fmla="*/ 3050 w 40873"/>
                        <a:gd name="connsiteY40" fmla="*/ 15729 h 41588"/>
                        <a:gd name="connsiteX41" fmla="*/ 3170 w 40873"/>
                        <a:gd name="connsiteY41" fmla="*/ 15430 h 41588"/>
                        <a:gd name="connsiteX42" fmla="*/ 3289 w 40873"/>
                        <a:gd name="connsiteY42" fmla="*/ 15131 h 41588"/>
                        <a:gd name="connsiteX43" fmla="*/ 3409 w 40873"/>
                        <a:gd name="connsiteY43" fmla="*/ 14832 h 41588"/>
                        <a:gd name="connsiteX44" fmla="*/ 3529 w 40873"/>
                        <a:gd name="connsiteY44" fmla="*/ 14533 h 41588"/>
                        <a:gd name="connsiteX45" fmla="*/ 5024 w 40873"/>
                        <a:gd name="connsiteY45" fmla="*/ 11782 h 41588"/>
                        <a:gd name="connsiteX46" fmla="*/ 6878 w 40873"/>
                        <a:gd name="connsiteY46" fmla="*/ 9270 h 41588"/>
                        <a:gd name="connsiteX47" fmla="*/ 9031 w 40873"/>
                        <a:gd name="connsiteY47" fmla="*/ 6997 h 41588"/>
                        <a:gd name="connsiteX48" fmla="*/ 11423 w 40873"/>
                        <a:gd name="connsiteY48" fmla="*/ 5083 h 41588"/>
                        <a:gd name="connsiteX49" fmla="*/ 11782 w 40873"/>
                        <a:gd name="connsiteY49" fmla="*/ 4844 h 41588"/>
                        <a:gd name="connsiteX50" fmla="*/ 12141 w 40873"/>
                        <a:gd name="connsiteY50" fmla="*/ 4605 h 41588"/>
                        <a:gd name="connsiteX51" fmla="*/ 12500 w 40873"/>
                        <a:gd name="connsiteY51" fmla="*/ 4366 h 41588"/>
                        <a:gd name="connsiteX52" fmla="*/ 12859 w 40873"/>
                        <a:gd name="connsiteY52" fmla="*/ 4186 h 41588"/>
                        <a:gd name="connsiteX53" fmla="*/ 13756 w 40873"/>
                        <a:gd name="connsiteY53" fmla="*/ 3648 h 41588"/>
                        <a:gd name="connsiteX54" fmla="*/ 14713 w 40873"/>
                        <a:gd name="connsiteY54" fmla="*/ 3170 h 41588"/>
                        <a:gd name="connsiteX55" fmla="*/ 15669 w 40873"/>
                        <a:gd name="connsiteY55" fmla="*/ 2751 h 41588"/>
                        <a:gd name="connsiteX56" fmla="*/ 16626 w 40873"/>
                        <a:gd name="connsiteY56" fmla="*/ 2392 h 41588"/>
                        <a:gd name="connsiteX57" fmla="*/ 17105 w 40873"/>
                        <a:gd name="connsiteY57" fmla="*/ 2213 h 41588"/>
                        <a:gd name="connsiteX58" fmla="*/ 17583 w 40873"/>
                        <a:gd name="connsiteY58" fmla="*/ 2033 h 41588"/>
                        <a:gd name="connsiteX59" fmla="*/ 18121 w 40873"/>
                        <a:gd name="connsiteY59" fmla="*/ 1914 h 41588"/>
                        <a:gd name="connsiteX60" fmla="*/ 18660 w 40873"/>
                        <a:gd name="connsiteY60" fmla="*/ 1794 h 41588"/>
                        <a:gd name="connsiteX61" fmla="*/ 20095 w 40873"/>
                        <a:gd name="connsiteY61" fmla="*/ 1495 h 41588"/>
                        <a:gd name="connsiteX62" fmla="*/ 21530 w 40873"/>
                        <a:gd name="connsiteY62" fmla="*/ 1316 h 41588"/>
                        <a:gd name="connsiteX63" fmla="*/ 22966 w 40873"/>
                        <a:gd name="connsiteY63" fmla="*/ 1256 h 41588"/>
                        <a:gd name="connsiteX64" fmla="*/ 24401 w 40873"/>
                        <a:gd name="connsiteY64" fmla="*/ 1316 h 41588"/>
                        <a:gd name="connsiteX65" fmla="*/ 24581 w 40873"/>
                        <a:gd name="connsiteY65" fmla="*/ 1316 h 41588"/>
                        <a:gd name="connsiteX66" fmla="*/ 24760 w 40873"/>
                        <a:gd name="connsiteY66" fmla="*/ 1316 h 41588"/>
                        <a:gd name="connsiteX67" fmla="*/ 24940 w 40873"/>
                        <a:gd name="connsiteY67" fmla="*/ 1316 h 41588"/>
                        <a:gd name="connsiteX68" fmla="*/ 25119 w 40873"/>
                        <a:gd name="connsiteY68" fmla="*/ 1316 h 41588"/>
                        <a:gd name="connsiteX69" fmla="*/ 25418 w 40873"/>
                        <a:gd name="connsiteY69" fmla="*/ 1375 h 41588"/>
                        <a:gd name="connsiteX70" fmla="*/ 25717 w 40873"/>
                        <a:gd name="connsiteY70" fmla="*/ 1435 h 41588"/>
                        <a:gd name="connsiteX71" fmla="*/ 26016 w 40873"/>
                        <a:gd name="connsiteY71" fmla="*/ 1495 h 41588"/>
                        <a:gd name="connsiteX72" fmla="*/ 26315 w 40873"/>
                        <a:gd name="connsiteY72" fmla="*/ 1555 h 41588"/>
                        <a:gd name="connsiteX73" fmla="*/ 28229 w 40873"/>
                        <a:gd name="connsiteY73" fmla="*/ 2033 h 41588"/>
                        <a:gd name="connsiteX74" fmla="*/ 30083 w 40873"/>
                        <a:gd name="connsiteY74" fmla="*/ 2751 h 41588"/>
                        <a:gd name="connsiteX75" fmla="*/ 31817 w 40873"/>
                        <a:gd name="connsiteY75" fmla="*/ 3648 h 41588"/>
                        <a:gd name="connsiteX76" fmla="*/ 33432 w 40873"/>
                        <a:gd name="connsiteY76" fmla="*/ 4725 h 41588"/>
                        <a:gd name="connsiteX77" fmla="*/ 33492 w 40873"/>
                        <a:gd name="connsiteY77" fmla="*/ 4785 h 41588"/>
                        <a:gd name="connsiteX78" fmla="*/ 33552 w 40873"/>
                        <a:gd name="connsiteY78" fmla="*/ 4844 h 41588"/>
                        <a:gd name="connsiteX79" fmla="*/ 33612 w 40873"/>
                        <a:gd name="connsiteY79" fmla="*/ 4904 h 41588"/>
                        <a:gd name="connsiteX80" fmla="*/ 33671 w 40873"/>
                        <a:gd name="connsiteY80" fmla="*/ 4964 h 41588"/>
                        <a:gd name="connsiteX81" fmla="*/ 33911 w 40873"/>
                        <a:gd name="connsiteY81" fmla="*/ 5143 h 41588"/>
                        <a:gd name="connsiteX82" fmla="*/ 34150 w 40873"/>
                        <a:gd name="connsiteY82" fmla="*/ 5323 h 41588"/>
                        <a:gd name="connsiteX83" fmla="*/ 34389 w 40873"/>
                        <a:gd name="connsiteY83" fmla="*/ 5502 h 41588"/>
                        <a:gd name="connsiteX84" fmla="*/ 34628 w 40873"/>
                        <a:gd name="connsiteY84" fmla="*/ 5681 h 41588"/>
                        <a:gd name="connsiteX85" fmla="*/ 35167 w 40873"/>
                        <a:gd name="connsiteY85" fmla="*/ 6160 h 41588"/>
                        <a:gd name="connsiteX86" fmla="*/ 35645 w 40873"/>
                        <a:gd name="connsiteY86" fmla="*/ 6698 h 41588"/>
                        <a:gd name="connsiteX87" fmla="*/ 36123 w 40873"/>
                        <a:gd name="connsiteY87" fmla="*/ 7236 h 41588"/>
                        <a:gd name="connsiteX88" fmla="*/ 36542 w 40873"/>
                        <a:gd name="connsiteY88" fmla="*/ 7775 h 41588"/>
                        <a:gd name="connsiteX89" fmla="*/ 36841 w 40873"/>
                        <a:gd name="connsiteY89" fmla="*/ 8134 h 41588"/>
                        <a:gd name="connsiteX90" fmla="*/ 37081 w 40873"/>
                        <a:gd name="connsiteY90" fmla="*/ 8552 h 41588"/>
                        <a:gd name="connsiteX91" fmla="*/ 37320 w 40873"/>
                        <a:gd name="connsiteY91" fmla="*/ 8971 h 41588"/>
                        <a:gd name="connsiteX92" fmla="*/ 37320 w 40873"/>
                        <a:gd name="connsiteY92" fmla="*/ 9390 h 41588"/>
                        <a:gd name="connsiteX93" fmla="*/ 7895 w 40873"/>
                        <a:gd name="connsiteY93" fmla="*/ 36961 h 41588"/>
                        <a:gd name="connsiteX94" fmla="*/ 9928 w 40873"/>
                        <a:gd name="connsiteY94" fmla="*/ 38276 h 41588"/>
                        <a:gd name="connsiteX95" fmla="*/ 12141 w 40873"/>
                        <a:gd name="connsiteY95" fmla="*/ 39234 h 41588"/>
                        <a:gd name="connsiteX96" fmla="*/ 14473 w 40873"/>
                        <a:gd name="connsiteY96" fmla="*/ 39891 h 41588"/>
                        <a:gd name="connsiteX97" fmla="*/ 16985 w 40873"/>
                        <a:gd name="connsiteY97" fmla="*/ 40190 h 41588"/>
                        <a:gd name="connsiteX98" fmla="*/ 20753 w 40873"/>
                        <a:gd name="connsiteY98" fmla="*/ 40011 h 41588"/>
                        <a:gd name="connsiteX99" fmla="*/ 24461 w 40873"/>
                        <a:gd name="connsiteY99" fmla="*/ 39114 h 41588"/>
                        <a:gd name="connsiteX100" fmla="*/ 27990 w 40873"/>
                        <a:gd name="connsiteY100" fmla="*/ 37499 h 41588"/>
                        <a:gd name="connsiteX101" fmla="*/ 31279 w 40873"/>
                        <a:gd name="connsiteY101" fmla="*/ 35226 h 41588"/>
                        <a:gd name="connsiteX102" fmla="*/ 34150 w 40873"/>
                        <a:gd name="connsiteY102" fmla="*/ 32415 h 41588"/>
                        <a:gd name="connsiteX103" fmla="*/ 36482 w 40873"/>
                        <a:gd name="connsiteY103" fmla="*/ 29186 h 41588"/>
                        <a:gd name="connsiteX104" fmla="*/ 38217 w 40873"/>
                        <a:gd name="connsiteY104" fmla="*/ 25657 h 41588"/>
                        <a:gd name="connsiteX105" fmla="*/ 39353 w 40873"/>
                        <a:gd name="connsiteY105" fmla="*/ 21829 h 41588"/>
                        <a:gd name="connsiteX106" fmla="*/ 39712 w 40873"/>
                        <a:gd name="connsiteY106" fmla="*/ 18002 h 41588"/>
                        <a:gd name="connsiteX107" fmla="*/ 39353 w 40873"/>
                        <a:gd name="connsiteY107" fmla="*/ 14294 h 41588"/>
                        <a:gd name="connsiteX108" fmla="*/ 38277 w 40873"/>
                        <a:gd name="connsiteY108" fmla="*/ 10825 h 41588"/>
                        <a:gd name="connsiteX109" fmla="*/ 36482 w 40873"/>
                        <a:gd name="connsiteY109" fmla="*/ 7715 h 41588"/>
                        <a:gd name="connsiteX110" fmla="*/ 35765 w 40873"/>
                        <a:gd name="connsiteY110" fmla="*/ 6818 h 41588"/>
                        <a:gd name="connsiteX111" fmla="*/ 34987 w 40873"/>
                        <a:gd name="connsiteY111" fmla="*/ 5981 h 41588"/>
                        <a:gd name="connsiteX112" fmla="*/ 34150 w 40873"/>
                        <a:gd name="connsiteY112" fmla="*/ 5203 h 41588"/>
                        <a:gd name="connsiteX113" fmla="*/ 33313 w 40873"/>
                        <a:gd name="connsiteY113" fmla="*/ 4486 h 41588"/>
                        <a:gd name="connsiteX114" fmla="*/ 31339 w 40873"/>
                        <a:gd name="connsiteY114" fmla="*/ 3170 h 41588"/>
                        <a:gd name="connsiteX115" fmla="*/ 29186 w 40873"/>
                        <a:gd name="connsiteY115" fmla="*/ 2153 h 41588"/>
                        <a:gd name="connsiteX116" fmla="*/ 26853 w 40873"/>
                        <a:gd name="connsiteY116" fmla="*/ 1495 h 41588"/>
                        <a:gd name="connsiteX117" fmla="*/ 24342 w 40873"/>
                        <a:gd name="connsiteY117" fmla="*/ 1136 h 41588"/>
                        <a:gd name="connsiteX118" fmla="*/ 16686 w 40873"/>
                        <a:gd name="connsiteY118" fmla="*/ 2153 h 41588"/>
                        <a:gd name="connsiteX119" fmla="*/ 9868 w 40873"/>
                        <a:gd name="connsiteY119" fmla="*/ 5981 h 41588"/>
                        <a:gd name="connsiteX120" fmla="*/ 4605 w 40873"/>
                        <a:gd name="connsiteY120" fmla="*/ 11961 h 41588"/>
                        <a:gd name="connsiteX121" fmla="*/ 1674 w 40873"/>
                        <a:gd name="connsiteY121" fmla="*/ 19497 h 41588"/>
                        <a:gd name="connsiteX122" fmla="*/ 1316 w 40873"/>
                        <a:gd name="connsiteY122" fmla="*/ 23384 h 41588"/>
                        <a:gd name="connsiteX123" fmla="*/ 1734 w 40873"/>
                        <a:gd name="connsiteY123" fmla="*/ 27092 h 41588"/>
                        <a:gd name="connsiteX124" fmla="*/ 2871 w 40873"/>
                        <a:gd name="connsiteY124" fmla="*/ 30561 h 41588"/>
                        <a:gd name="connsiteX125" fmla="*/ 4725 w 40873"/>
                        <a:gd name="connsiteY125" fmla="*/ 33671 h 41588"/>
                        <a:gd name="connsiteX126" fmla="*/ 5442 w 40873"/>
                        <a:gd name="connsiteY126" fmla="*/ 34568 h 41588"/>
                        <a:gd name="connsiteX127" fmla="*/ 6220 w 40873"/>
                        <a:gd name="connsiteY127" fmla="*/ 35406 h 41588"/>
                        <a:gd name="connsiteX128" fmla="*/ 7057 w 40873"/>
                        <a:gd name="connsiteY128" fmla="*/ 36183 h 41588"/>
                        <a:gd name="connsiteX129" fmla="*/ 7895 w 40873"/>
                        <a:gd name="connsiteY129" fmla="*/ 36961 h 41588"/>
                        <a:gd name="connsiteX130" fmla="*/ 34150 w 40873"/>
                        <a:gd name="connsiteY130" fmla="*/ 3588 h 41588"/>
                        <a:gd name="connsiteX131" fmla="*/ 35047 w 40873"/>
                        <a:gd name="connsiteY131" fmla="*/ 4366 h 41588"/>
                        <a:gd name="connsiteX132" fmla="*/ 35884 w 40873"/>
                        <a:gd name="connsiteY132" fmla="*/ 5203 h 41588"/>
                        <a:gd name="connsiteX133" fmla="*/ 36722 w 40873"/>
                        <a:gd name="connsiteY133" fmla="*/ 6100 h 41588"/>
                        <a:gd name="connsiteX134" fmla="*/ 37499 w 40873"/>
                        <a:gd name="connsiteY134" fmla="*/ 7057 h 41588"/>
                        <a:gd name="connsiteX135" fmla="*/ 39353 w 40873"/>
                        <a:gd name="connsiteY135" fmla="*/ 10406 h 41588"/>
                        <a:gd name="connsiteX136" fmla="*/ 40490 w 40873"/>
                        <a:gd name="connsiteY136" fmla="*/ 14055 h 41588"/>
                        <a:gd name="connsiteX137" fmla="*/ 40848 w 40873"/>
                        <a:gd name="connsiteY137" fmla="*/ 17942 h 41588"/>
                        <a:gd name="connsiteX138" fmla="*/ 40430 w 40873"/>
                        <a:gd name="connsiteY138" fmla="*/ 22009 h 41588"/>
                        <a:gd name="connsiteX139" fmla="*/ 39293 w 40873"/>
                        <a:gd name="connsiteY139" fmla="*/ 26016 h 41588"/>
                        <a:gd name="connsiteX140" fmla="*/ 37439 w 40873"/>
                        <a:gd name="connsiteY140" fmla="*/ 29784 h 41588"/>
                        <a:gd name="connsiteX141" fmla="*/ 34987 w 40873"/>
                        <a:gd name="connsiteY141" fmla="*/ 33193 h 41588"/>
                        <a:gd name="connsiteX142" fmla="*/ 31937 w 40873"/>
                        <a:gd name="connsiteY142" fmla="*/ 36183 h 41588"/>
                        <a:gd name="connsiteX143" fmla="*/ 28408 w 40873"/>
                        <a:gd name="connsiteY143" fmla="*/ 38575 h 41588"/>
                        <a:gd name="connsiteX144" fmla="*/ 24641 w 40873"/>
                        <a:gd name="connsiteY144" fmla="*/ 40250 h 41588"/>
                        <a:gd name="connsiteX145" fmla="*/ 20753 w 40873"/>
                        <a:gd name="connsiteY145" fmla="*/ 41207 h 41588"/>
                        <a:gd name="connsiteX146" fmla="*/ 16746 w 40873"/>
                        <a:gd name="connsiteY146" fmla="*/ 41386 h 41588"/>
                        <a:gd name="connsiteX147" fmla="*/ 14114 w 40873"/>
                        <a:gd name="connsiteY147" fmla="*/ 41088 h 41588"/>
                        <a:gd name="connsiteX148" fmla="*/ 11603 w 40873"/>
                        <a:gd name="connsiteY148" fmla="*/ 40430 h 41588"/>
                        <a:gd name="connsiteX149" fmla="*/ 9270 w 40873"/>
                        <a:gd name="connsiteY149" fmla="*/ 39413 h 41588"/>
                        <a:gd name="connsiteX150" fmla="*/ 7117 w 40873"/>
                        <a:gd name="connsiteY150" fmla="*/ 38037 h 41588"/>
                        <a:gd name="connsiteX151" fmla="*/ 6220 w 40873"/>
                        <a:gd name="connsiteY151" fmla="*/ 37260 h 41588"/>
                        <a:gd name="connsiteX152" fmla="*/ 5323 w 40873"/>
                        <a:gd name="connsiteY152" fmla="*/ 36422 h 41588"/>
                        <a:gd name="connsiteX153" fmla="*/ 4486 w 40873"/>
                        <a:gd name="connsiteY153" fmla="*/ 35526 h 41588"/>
                        <a:gd name="connsiteX154" fmla="*/ 3708 w 40873"/>
                        <a:gd name="connsiteY154" fmla="*/ 34568 h 41588"/>
                        <a:gd name="connsiteX155" fmla="*/ 1734 w 40873"/>
                        <a:gd name="connsiteY155" fmla="*/ 31279 h 41588"/>
                        <a:gd name="connsiteX156" fmla="*/ 538 w 40873"/>
                        <a:gd name="connsiteY156" fmla="*/ 27631 h 41588"/>
                        <a:gd name="connsiteX157" fmla="*/ 120 w 40873"/>
                        <a:gd name="connsiteY157" fmla="*/ 23683 h 41588"/>
                        <a:gd name="connsiteX158" fmla="*/ 479 w 40873"/>
                        <a:gd name="connsiteY158" fmla="*/ 19557 h 41588"/>
                        <a:gd name="connsiteX159" fmla="*/ 3588 w 40873"/>
                        <a:gd name="connsiteY159" fmla="*/ 11543 h 41588"/>
                        <a:gd name="connsiteX160" fmla="*/ 9150 w 40873"/>
                        <a:gd name="connsiteY160" fmla="*/ 5203 h 41588"/>
                        <a:gd name="connsiteX161" fmla="*/ 16387 w 40873"/>
                        <a:gd name="connsiteY161" fmla="*/ 1196 h 41588"/>
                        <a:gd name="connsiteX162" fmla="*/ 24461 w 40873"/>
                        <a:gd name="connsiteY162" fmla="*/ 119 h 41588"/>
                        <a:gd name="connsiteX163" fmla="*/ 27152 w 40873"/>
                        <a:gd name="connsiteY163" fmla="*/ 478 h 41588"/>
                        <a:gd name="connsiteX164" fmla="*/ 29665 w 40873"/>
                        <a:gd name="connsiteY164" fmla="*/ 1196 h 41588"/>
                        <a:gd name="connsiteX165" fmla="*/ 31997 w 40873"/>
                        <a:gd name="connsiteY165" fmla="*/ 2273 h 41588"/>
                        <a:gd name="connsiteX166" fmla="*/ 34150 w 40873"/>
                        <a:gd name="connsiteY166" fmla="*/ 3588 h 41588"/>
                        <a:gd name="connsiteX167" fmla="*/ 7057 w 40873"/>
                        <a:gd name="connsiteY167" fmla="*/ 38037 h 41588"/>
                        <a:gd name="connsiteX168" fmla="*/ 9210 w 40873"/>
                        <a:gd name="connsiteY168" fmla="*/ 39413 h 41588"/>
                        <a:gd name="connsiteX169" fmla="*/ 11543 w 40873"/>
                        <a:gd name="connsiteY169" fmla="*/ 40489 h 41588"/>
                        <a:gd name="connsiteX170" fmla="*/ 14055 w 40873"/>
                        <a:gd name="connsiteY170" fmla="*/ 41207 h 41588"/>
                        <a:gd name="connsiteX171" fmla="*/ 16686 w 40873"/>
                        <a:gd name="connsiteY171" fmla="*/ 41566 h 41588"/>
                        <a:gd name="connsiteX172" fmla="*/ 20693 w 40873"/>
                        <a:gd name="connsiteY172" fmla="*/ 41386 h 41588"/>
                        <a:gd name="connsiteX173" fmla="*/ 24641 w 40873"/>
                        <a:gd name="connsiteY173" fmla="*/ 40430 h 41588"/>
                        <a:gd name="connsiteX174" fmla="*/ 28408 w 40873"/>
                        <a:gd name="connsiteY174" fmla="*/ 38755 h 41588"/>
                        <a:gd name="connsiteX175" fmla="*/ 31937 w 40873"/>
                        <a:gd name="connsiteY175" fmla="*/ 36363 h 41588"/>
                        <a:gd name="connsiteX176" fmla="*/ 34987 w 40873"/>
                        <a:gd name="connsiteY176" fmla="*/ 33372 h 41588"/>
                        <a:gd name="connsiteX177" fmla="*/ 37499 w 40873"/>
                        <a:gd name="connsiteY177" fmla="*/ 29963 h 41588"/>
                        <a:gd name="connsiteX178" fmla="*/ 39353 w 40873"/>
                        <a:gd name="connsiteY178" fmla="*/ 26196 h 41588"/>
                        <a:gd name="connsiteX179" fmla="*/ 40490 w 40873"/>
                        <a:gd name="connsiteY179" fmla="*/ 22128 h 41588"/>
                        <a:gd name="connsiteX180" fmla="*/ 40848 w 40873"/>
                        <a:gd name="connsiteY180" fmla="*/ 18959 h 41588"/>
                        <a:gd name="connsiteX181" fmla="*/ 40789 w 40873"/>
                        <a:gd name="connsiteY181" fmla="*/ 15909 h 41588"/>
                        <a:gd name="connsiteX182" fmla="*/ 40250 w 40873"/>
                        <a:gd name="connsiteY182" fmla="*/ 12978 h 41588"/>
                        <a:gd name="connsiteX183" fmla="*/ 39293 w 40873"/>
                        <a:gd name="connsiteY183" fmla="*/ 10227 h 41588"/>
                        <a:gd name="connsiteX184" fmla="*/ 39114 w 40873"/>
                        <a:gd name="connsiteY184" fmla="*/ 9868 h 41588"/>
                        <a:gd name="connsiteX185" fmla="*/ 38935 w 40873"/>
                        <a:gd name="connsiteY185" fmla="*/ 9509 h 41588"/>
                        <a:gd name="connsiteX186" fmla="*/ 38755 w 40873"/>
                        <a:gd name="connsiteY186" fmla="*/ 9150 h 41588"/>
                        <a:gd name="connsiteX187" fmla="*/ 38576 w 40873"/>
                        <a:gd name="connsiteY187" fmla="*/ 8791 h 41588"/>
                        <a:gd name="connsiteX188" fmla="*/ 37858 w 40873"/>
                        <a:gd name="connsiteY188" fmla="*/ 7595 h 41588"/>
                        <a:gd name="connsiteX189" fmla="*/ 37021 w 40873"/>
                        <a:gd name="connsiteY189" fmla="*/ 6459 h 41588"/>
                        <a:gd name="connsiteX190" fmla="*/ 36064 w 40873"/>
                        <a:gd name="connsiteY190" fmla="*/ 5382 h 41588"/>
                        <a:gd name="connsiteX191" fmla="*/ 35047 w 40873"/>
                        <a:gd name="connsiteY191" fmla="*/ 4366 h 41588"/>
                        <a:gd name="connsiteX192" fmla="*/ 34868 w 40873"/>
                        <a:gd name="connsiteY192" fmla="*/ 4186 h 41588"/>
                        <a:gd name="connsiteX193" fmla="*/ 34688 w 40873"/>
                        <a:gd name="connsiteY193" fmla="*/ 4007 h 41588"/>
                        <a:gd name="connsiteX194" fmla="*/ 34509 w 40873"/>
                        <a:gd name="connsiteY194" fmla="*/ 3827 h 41588"/>
                        <a:gd name="connsiteX195" fmla="*/ 34329 w 40873"/>
                        <a:gd name="connsiteY195" fmla="*/ 3648 h 41588"/>
                        <a:gd name="connsiteX196" fmla="*/ 34329 w 40873"/>
                        <a:gd name="connsiteY196" fmla="*/ 3648 h 41588"/>
                        <a:gd name="connsiteX197" fmla="*/ 34329 w 40873"/>
                        <a:gd name="connsiteY197" fmla="*/ 3648 h 41588"/>
                        <a:gd name="connsiteX198" fmla="*/ 34329 w 40873"/>
                        <a:gd name="connsiteY198" fmla="*/ 3648 h 41588"/>
                        <a:gd name="connsiteX199" fmla="*/ 34329 w 40873"/>
                        <a:gd name="connsiteY199" fmla="*/ 3648 h 41588"/>
                        <a:gd name="connsiteX200" fmla="*/ 32655 w 40873"/>
                        <a:gd name="connsiteY200" fmla="*/ 2512 h 41588"/>
                        <a:gd name="connsiteX201" fmla="*/ 30860 w 40873"/>
                        <a:gd name="connsiteY201" fmla="*/ 1615 h 41588"/>
                        <a:gd name="connsiteX202" fmla="*/ 28947 w 40873"/>
                        <a:gd name="connsiteY202" fmla="*/ 897 h 41588"/>
                        <a:gd name="connsiteX203" fmla="*/ 26973 w 40873"/>
                        <a:gd name="connsiteY203" fmla="*/ 419 h 41588"/>
                        <a:gd name="connsiteX204" fmla="*/ 26674 w 40873"/>
                        <a:gd name="connsiteY204" fmla="*/ 359 h 41588"/>
                        <a:gd name="connsiteX205" fmla="*/ 26375 w 40873"/>
                        <a:gd name="connsiteY205" fmla="*/ 299 h 41588"/>
                        <a:gd name="connsiteX206" fmla="*/ 26076 w 40873"/>
                        <a:gd name="connsiteY206" fmla="*/ 239 h 41588"/>
                        <a:gd name="connsiteX207" fmla="*/ 25777 w 40873"/>
                        <a:gd name="connsiteY207" fmla="*/ 179 h 41588"/>
                        <a:gd name="connsiteX208" fmla="*/ 25478 w 40873"/>
                        <a:gd name="connsiteY208" fmla="*/ 119 h 41588"/>
                        <a:gd name="connsiteX209" fmla="*/ 25179 w 40873"/>
                        <a:gd name="connsiteY209" fmla="*/ 60 h 41588"/>
                        <a:gd name="connsiteX210" fmla="*/ 24880 w 40873"/>
                        <a:gd name="connsiteY210" fmla="*/ 60 h 41588"/>
                        <a:gd name="connsiteX211" fmla="*/ 24581 w 40873"/>
                        <a:gd name="connsiteY211" fmla="*/ 60 h 41588"/>
                        <a:gd name="connsiteX212" fmla="*/ 22488 w 40873"/>
                        <a:gd name="connsiteY212" fmla="*/ 0 h 41588"/>
                        <a:gd name="connsiteX213" fmla="*/ 20394 w 40873"/>
                        <a:gd name="connsiteY213" fmla="*/ 179 h 41588"/>
                        <a:gd name="connsiteX214" fmla="*/ 18301 w 40873"/>
                        <a:gd name="connsiteY214" fmla="*/ 598 h 41588"/>
                        <a:gd name="connsiteX215" fmla="*/ 16267 w 40873"/>
                        <a:gd name="connsiteY215" fmla="*/ 1196 h 41588"/>
                        <a:gd name="connsiteX216" fmla="*/ 15849 w 40873"/>
                        <a:gd name="connsiteY216" fmla="*/ 1375 h 41588"/>
                        <a:gd name="connsiteX217" fmla="*/ 15430 w 40873"/>
                        <a:gd name="connsiteY217" fmla="*/ 1555 h 41588"/>
                        <a:gd name="connsiteX218" fmla="*/ 15012 w 40873"/>
                        <a:gd name="connsiteY218" fmla="*/ 1734 h 41588"/>
                        <a:gd name="connsiteX219" fmla="*/ 14593 w 40873"/>
                        <a:gd name="connsiteY219" fmla="*/ 1914 h 41588"/>
                        <a:gd name="connsiteX220" fmla="*/ 14234 w 40873"/>
                        <a:gd name="connsiteY220" fmla="*/ 2093 h 41588"/>
                        <a:gd name="connsiteX221" fmla="*/ 13875 w 40873"/>
                        <a:gd name="connsiteY221" fmla="*/ 2273 h 41588"/>
                        <a:gd name="connsiteX222" fmla="*/ 13516 w 40873"/>
                        <a:gd name="connsiteY222" fmla="*/ 2452 h 41588"/>
                        <a:gd name="connsiteX223" fmla="*/ 13158 w 40873"/>
                        <a:gd name="connsiteY223" fmla="*/ 2632 h 41588"/>
                        <a:gd name="connsiteX224" fmla="*/ 12799 w 40873"/>
                        <a:gd name="connsiteY224" fmla="*/ 2811 h 41588"/>
                        <a:gd name="connsiteX225" fmla="*/ 12440 w 40873"/>
                        <a:gd name="connsiteY225" fmla="*/ 2990 h 41588"/>
                        <a:gd name="connsiteX226" fmla="*/ 12081 w 40873"/>
                        <a:gd name="connsiteY226" fmla="*/ 3170 h 41588"/>
                        <a:gd name="connsiteX227" fmla="*/ 11722 w 40873"/>
                        <a:gd name="connsiteY227" fmla="*/ 3349 h 41588"/>
                        <a:gd name="connsiteX228" fmla="*/ 11064 w 40873"/>
                        <a:gd name="connsiteY228" fmla="*/ 3768 h 41588"/>
                        <a:gd name="connsiteX229" fmla="*/ 10406 w 40873"/>
                        <a:gd name="connsiteY229" fmla="*/ 4246 h 41588"/>
                        <a:gd name="connsiteX230" fmla="*/ 9749 w 40873"/>
                        <a:gd name="connsiteY230" fmla="*/ 4725 h 41588"/>
                        <a:gd name="connsiteX231" fmla="*/ 9150 w 40873"/>
                        <a:gd name="connsiteY231" fmla="*/ 5203 h 41588"/>
                        <a:gd name="connsiteX232" fmla="*/ 6937 w 40873"/>
                        <a:gd name="connsiteY232" fmla="*/ 7236 h 41588"/>
                        <a:gd name="connsiteX233" fmla="*/ 4964 w 40873"/>
                        <a:gd name="connsiteY233" fmla="*/ 9509 h 41588"/>
                        <a:gd name="connsiteX234" fmla="*/ 3289 w 40873"/>
                        <a:gd name="connsiteY234" fmla="*/ 11961 h 41588"/>
                        <a:gd name="connsiteX235" fmla="*/ 1974 w 40873"/>
                        <a:gd name="connsiteY235" fmla="*/ 14593 h 41588"/>
                        <a:gd name="connsiteX236" fmla="*/ 1854 w 40873"/>
                        <a:gd name="connsiteY236" fmla="*/ 14892 h 41588"/>
                        <a:gd name="connsiteX237" fmla="*/ 1734 w 40873"/>
                        <a:gd name="connsiteY237" fmla="*/ 15191 h 41588"/>
                        <a:gd name="connsiteX238" fmla="*/ 1615 w 40873"/>
                        <a:gd name="connsiteY238" fmla="*/ 15490 h 41588"/>
                        <a:gd name="connsiteX239" fmla="*/ 1495 w 40873"/>
                        <a:gd name="connsiteY239" fmla="*/ 15789 h 41588"/>
                        <a:gd name="connsiteX240" fmla="*/ 1136 w 40873"/>
                        <a:gd name="connsiteY240" fmla="*/ 16746 h 41588"/>
                        <a:gd name="connsiteX241" fmla="*/ 837 w 40873"/>
                        <a:gd name="connsiteY241" fmla="*/ 17703 h 41588"/>
                        <a:gd name="connsiteX242" fmla="*/ 598 w 40873"/>
                        <a:gd name="connsiteY242" fmla="*/ 18660 h 41588"/>
                        <a:gd name="connsiteX243" fmla="*/ 359 w 40873"/>
                        <a:gd name="connsiteY243" fmla="*/ 19676 h 41588"/>
                        <a:gd name="connsiteX244" fmla="*/ 60 w 40873"/>
                        <a:gd name="connsiteY244" fmla="*/ 21770 h 41588"/>
                        <a:gd name="connsiteX245" fmla="*/ 0 w 40873"/>
                        <a:gd name="connsiteY245" fmla="*/ 23863 h 41588"/>
                        <a:gd name="connsiteX246" fmla="*/ 120 w 40873"/>
                        <a:gd name="connsiteY246" fmla="*/ 25896 h 41588"/>
                        <a:gd name="connsiteX247" fmla="*/ 479 w 40873"/>
                        <a:gd name="connsiteY247" fmla="*/ 27870 h 41588"/>
                        <a:gd name="connsiteX248" fmla="*/ 538 w 40873"/>
                        <a:gd name="connsiteY248" fmla="*/ 28169 h 41588"/>
                        <a:gd name="connsiteX249" fmla="*/ 598 w 40873"/>
                        <a:gd name="connsiteY249" fmla="*/ 28468 h 41588"/>
                        <a:gd name="connsiteX250" fmla="*/ 658 w 40873"/>
                        <a:gd name="connsiteY250" fmla="*/ 28767 h 41588"/>
                        <a:gd name="connsiteX251" fmla="*/ 718 w 40873"/>
                        <a:gd name="connsiteY251" fmla="*/ 29066 h 41588"/>
                        <a:gd name="connsiteX252" fmla="*/ 1495 w 40873"/>
                        <a:gd name="connsiteY252" fmla="*/ 31279 h 41588"/>
                        <a:gd name="connsiteX253" fmla="*/ 2512 w 40873"/>
                        <a:gd name="connsiteY253" fmla="*/ 33313 h 41588"/>
                        <a:gd name="connsiteX254" fmla="*/ 3828 w 40873"/>
                        <a:gd name="connsiteY254" fmla="*/ 35167 h 41588"/>
                        <a:gd name="connsiteX255" fmla="*/ 5383 w 40873"/>
                        <a:gd name="connsiteY255" fmla="*/ 36841 h 41588"/>
                        <a:gd name="connsiteX256" fmla="*/ 5622 w 40873"/>
                        <a:gd name="connsiteY256" fmla="*/ 37080 h 41588"/>
                        <a:gd name="connsiteX257" fmla="*/ 5861 w 40873"/>
                        <a:gd name="connsiteY257" fmla="*/ 37320 h 41588"/>
                        <a:gd name="connsiteX258" fmla="*/ 6100 w 40873"/>
                        <a:gd name="connsiteY258" fmla="*/ 37559 h 41588"/>
                        <a:gd name="connsiteX259" fmla="*/ 6340 w 40873"/>
                        <a:gd name="connsiteY259" fmla="*/ 37738 h 41588"/>
                        <a:gd name="connsiteX260" fmla="*/ 6459 w 40873"/>
                        <a:gd name="connsiteY260" fmla="*/ 37858 h 41588"/>
                        <a:gd name="connsiteX261" fmla="*/ 6579 w 40873"/>
                        <a:gd name="connsiteY261" fmla="*/ 37977 h 41588"/>
                        <a:gd name="connsiteX262" fmla="*/ 6698 w 40873"/>
                        <a:gd name="connsiteY262" fmla="*/ 38097 h 41588"/>
                        <a:gd name="connsiteX263" fmla="*/ 7057 w 40873"/>
                        <a:gd name="connsiteY263" fmla="*/ 38037 h 4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40873" h="41588">
                          <a:moveTo>
                            <a:pt x="37320" y="9390"/>
                          </a:moveTo>
                          <a:cubicBezTo>
                            <a:pt x="37858" y="10287"/>
                            <a:pt x="38277" y="11244"/>
                            <a:pt x="38576" y="12260"/>
                          </a:cubicBezTo>
                          <a:cubicBezTo>
                            <a:pt x="38935" y="13277"/>
                            <a:pt x="39174" y="14294"/>
                            <a:pt x="39353" y="15370"/>
                          </a:cubicBezTo>
                          <a:cubicBezTo>
                            <a:pt x="39532" y="16447"/>
                            <a:pt x="39592" y="17523"/>
                            <a:pt x="39532" y="18660"/>
                          </a:cubicBezTo>
                          <a:cubicBezTo>
                            <a:pt x="39532" y="19796"/>
                            <a:pt x="39413" y="20873"/>
                            <a:pt x="39174" y="22009"/>
                          </a:cubicBezTo>
                          <a:cubicBezTo>
                            <a:pt x="38935" y="23325"/>
                            <a:pt x="38576" y="24581"/>
                            <a:pt x="38097" y="25777"/>
                          </a:cubicBezTo>
                          <a:cubicBezTo>
                            <a:pt x="37619" y="26973"/>
                            <a:pt x="37021" y="28169"/>
                            <a:pt x="36363" y="29305"/>
                          </a:cubicBezTo>
                          <a:cubicBezTo>
                            <a:pt x="35705" y="30442"/>
                            <a:pt x="34928" y="31518"/>
                            <a:pt x="34030" y="32475"/>
                          </a:cubicBezTo>
                          <a:cubicBezTo>
                            <a:pt x="33133" y="33492"/>
                            <a:pt x="32176" y="34389"/>
                            <a:pt x="31160" y="35226"/>
                          </a:cubicBezTo>
                          <a:cubicBezTo>
                            <a:pt x="30143" y="36064"/>
                            <a:pt x="29006" y="36841"/>
                            <a:pt x="27870" y="37439"/>
                          </a:cubicBezTo>
                          <a:cubicBezTo>
                            <a:pt x="26734" y="38097"/>
                            <a:pt x="25538" y="38635"/>
                            <a:pt x="24342" y="39054"/>
                          </a:cubicBezTo>
                          <a:cubicBezTo>
                            <a:pt x="23145" y="39473"/>
                            <a:pt x="21889" y="39772"/>
                            <a:pt x="20693" y="39951"/>
                          </a:cubicBezTo>
                          <a:cubicBezTo>
                            <a:pt x="19437" y="40130"/>
                            <a:pt x="18241" y="40190"/>
                            <a:pt x="16985" y="40130"/>
                          </a:cubicBezTo>
                          <a:cubicBezTo>
                            <a:pt x="16148" y="40071"/>
                            <a:pt x="15311" y="39951"/>
                            <a:pt x="14533" y="39772"/>
                          </a:cubicBezTo>
                          <a:cubicBezTo>
                            <a:pt x="13756" y="39592"/>
                            <a:pt x="12978" y="39413"/>
                            <a:pt x="12201" y="39114"/>
                          </a:cubicBezTo>
                          <a:cubicBezTo>
                            <a:pt x="11423" y="38815"/>
                            <a:pt x="10705" y="38516"/>
                            <a:pt x="9988" y="38157"/>
                          </a:cubicBezTo>
                          <a:cubicBezTo>
                            <a:pt x="9270" y="37798"/>
                            <a:pt x="8612" y="37380"/>
                            <a:pt x="8014" y="36901"/>
                          </a:cubicBezTo>
                          <a:cubicBezTo>
                            <a:pt x="7895" y="36841"/>
                            <a:pt x="7835" y="36721"/>
                            <a:pt x="7715" y="36662"/>
                          </a:cubicBezTo>
                          <a:cubicBezTo>
                            <a:pt x="7596" y="36602"/>
                            <a:pt x="7536" y="36482"/>
                            <a:pt x="7416" y="36422"/>
                          </a:cubicBezTo>
                          <a:cubicBezTo>
                            <a:pt x="7296" y="36363"/>
                            <a:pt x="7237" y="36243"/>
                            <a:pt x="7117" y="36183"/>
                          </a:cubicBezTo>
                          <a:cubicBezTo>
                            <a:pt x="6997" y="36123"/>
                            <a:pt x="6937" y="36004"/>
                            <a:pt x="6818" y="35944"/>
                          </a:cubicBezTo>
                          <a:cubicBezTo>
                            <a:pt x="6758" y="35884"/>
                            <a:pt x="6639" y="35765"/>
                            <a:pt x="6579" y="35705"/>
                          </a:cubicBezTo>
                          <a:cubicBezTo>
                            <a:pt x="6519" y="35645"/>
                            <a:pt x="6399" y="35526"/>
                            <a:pt x="6340" y="35466"/>
                          </a:cubicBezTo>
                          <a:cubicBezTo>
                            <a:pt x="6280" y="35406"/>
                            <a:pt x="6160" y="35286"/>
                            <a:pt x="6100" y="35226"/>
                          </a:cubicBezTo>
                          <a:cubicBezTo>
                            <a:pt x="6041" y="35167"/>
                            <a:pt x="5921" y="35047"/>
                            <a:pt x="5861" y="34987"/>
                          </a:cubicBezTo>
                          <a:cubicBezTo>
                            <a:pt x="5502" y="34568"/>
                            <a:pt x="5143" y="34150"/>
                            <a:pt x="4785" y="33671"/>
                          </a:cubicBezTo>
                          <a:cubicBezTo>
                            <a:pt x="4426" y="33193"/>
                            <a:pt x="4127" y="32714"/>
                            <a:pt x="3828" y="32236"/>
                          </a:cubicBezTo>
                          <a:cubicBezTo>
                            <a:pt x="3529" y="31758"/>
                            <a:pt x="3289" y="31219"/>
                            <a:pt x="3050" y="30681"/>
                          </a:cubicBezTo>
                          <a:cubicBezTo>
                            <a:pt x="2811" y="30143"/>
                            <a:pt x="2632" y="29604"/>
                            <a:pt x="2452" y="29066"/>
                          </a:cubicBezTo>
                          <a:cubicBezTo>
                            <a:pt x="2392" y="28946"/>
                            <a:pt x="2392" y="28887"/>
                            <a:pt x="2333" y="28767"/>
                          </a:cubicBezTo>
                          <a:cubicBezTo>
                            <a:pt x="2273" y="28648"/>
                            <a:pt x="2273" y="28588"/>
                            <a:pt x="2213" y="28468"/>
                          </a:cubicBezTo>
                          <a:cubicBezTo>
                            <a:pt x="2213" y="28349"/>
                            <a:pt x="2153" y="28289"/>
                            <a:pt x="2153" y="28169"/>
                          </a:cubicBezTo>
                          <a:cubicBezTo>
                            <a:pt x="2153" y="28050"/>
                            <a:pt x="2093" y="27990"/>
                            <a:pt x="2093" y="27870"/>
                          </a:cubicBezTo>
                          <a:cubicBezTo>
                            <a:pt x="1914" y="27212"/>
                            <a:pt x="1794" y="26554"/>
                            <a:pt x="1734" y="25896"/>
                          </a:cubicBezTo>
                          <a:cubicBezTo>
                            <a:pt x="1674" y="25238"/>
                            <a:pt x="1615" y="24581"/>
                            <a:pt x="1555" y="23863"/>
                          </a:cubicBezTo>
                          <a:cubicBezTo>
                            <a:pt x="1555" y="23205"/>
                            <a:pt x="1555" y="22488"/>
                            <a:pt x="1615" y="21770"/>
                          </a:cubicBezTo>
                          <a:cubicBezTo>
                            <a:pt x="1674" y="21052"/>
                            <a:pt x="1734" y="20334"/>
                            <a:pt x="1914" y="19676"/>
                          </a:cubicBezTo>
                          <a:cubicBezTo>
                            <a:pt x="1974" y="19318"/>
                            <a:pt x="2034" y="19019"/>
                            <a:pt x="2153" y="18660"/>
                          </a:cubicBezTo>
                          <a:cubicBezTo>
                            <a:pt x="2273" y="18301"/>
                            <a:pt x="2333" y="18002"/>
                            <a:pt x="2392" y="17643"/>
                          </a:cubicBezTo>
                          <a:cubicBezTo>
                            <a:pt x="2452" y="17284"/>
                            <a:pt x="2572" y="16985"/>
                            <a:pt x="2691" y="16686"/>
                          </a:cubicBezTo>
                          <a:cubicBezTo>
                            <a:pt x="2811" y="16387"/>
                            <a:pt x="2930" y="16028"/>
                            <a:pt x="3050" y="15729"/>
                          </a:cubicBezTo>
                          <a:cubicBezTo>
                            <a:pt x="3110" y="15610"/>
                            <a:pt x="3110" y="15550"/>
                            <a:pt x="3170" y="15430"/>
                          </a:cubicBezTo>
                          <a:cubicBezTo>
                            <a:pt x="3229" y="15311"/>
                            <a:pt x="3229" y="15251"/>
                            <a:pt x="3289" y="15131"/>
                          </a:cubicBezTo>
                          <a:cubicBezTo>
                            <a:pt x="3349" y="15012"/>
                            <a:pt x="3349" y="14952"/>
                            <a:pt x="3409" y="14832"/>
                          </a:cubicBezTo>
                          <a:cubicBezTo>
                            <a:pt x="3469" y="14712"/>
                            <a:pt x="3469" y="14652"/>
                            <a:pt x="3529" y="14533"/>
                          </a:cubicBezTo>
                          <a:cubicBezTo>
                            <a:pt x="3947" y="13576"/>
                            <a:pt x="4486" y="12619"/>
                            <a:pt x="5024" y="11782"/>
                          </a:cubicBezTo>
                          <a:cubicBezTo>
                            <a:pt x="5562" y="10885"/>
                            <a:pt x="6220" y="10048"/>
                            <a:pt x="6878" y="9270"/>
                          </a:cubicBezTo>
                          <a:cubicBezTo>
                            <a:pt x="7536" y="8493"/>
                            <a:pt x="8253" y="7715"/>
                            <a:pt x="9031" y="6997"/>
                          </a:cubicBezTo>
                          <a:cubicBezTo>
                            <a:pt x="9808" y="6280"/>
                            <a:pt x="10586" y="5681"/>
                            <a:pt x="11423" y="5083"/>
                          </a:cubicBezTo>
                          <a:cubicBezTo>
                            <a:pt x="11543" y="5024"/>
                            <a:pt x="11662" y="4904"/>
                            <a:pt x="11782" y="4844"/>
                          </a:cubicBezTo>
                          <a:cubicBezTo>
                            <a:pt x="11902" y="4785"/>
                            <a:pt x="12021" y="4725"/>
                            <a:pt x="12141" y="4605"/>
                          </a:cubicBezTo>
                          <a:cubicBezTo>
                            <a:pt x="12260" y="4545"/>
                            <a:pt x="12380" y="4486"/>
                            <a:pt x="12500" y="4366"/>
                          </a:cubicBezTo>
                          <a:cubicBezTo>
                            <a:pt x="12619" y="4306"/>
                            <a:pt x="12739" y="4246"/>
                            <a:pt x="12859" y="4186"/>
                          </a:cubicBezTo>
                          <a:cubicBezTo>
                            <a:pt x="13158" y="4007"/>
                            <a:pt x="13457" y="3827"/>
                            <a:pt x="13756" y="3648"/>
                          </a:cubicBezTo>
                          <a:cubicBezTo>
                            <a:pt x="14055" y="3469"/>
                            <a:pt x="14354" y="3349"/>
                            <a:pt x="14713" y="3170"/>
                          </a:cubicBezTo>
                          <a:cubicBezTo>
                            <a:pt x="15012" y="2990"/>
                            <a:pt x="15371" y="2871"/>
                            <a:pt x="15669" y="2751"/>
                          </a:cubicBezTo>
                          <a:cubicBezTo>
                            <a:pt x="15968" y="2632"/>
                            <a:pt x="16327" y="2512"/>
                            <a:pt x="16626" y="2392"/>
                          </a:cubicBezTo>
                          <a:cubicBezTo>
                            <a:pt x="16806" y="2332"/>
                            <a:pt x="16985" y="2273"/>
                            <a:pt x="17105" y="2213"/>
                          </a:cubicBezTo>
                          <a:cubicBezTo>
                            <a:pt x="17284" y="2153"/>
                            <a:pt x="17464" y="2093"/>
                            <a:pt x="17583" y="2033"/>
                          </a:cubicBezTo>
                          <a:cubicBezTo>
                            <a:pt x="17763" y="1973"/>
                            <a:pt x="17942" y="1914"/>
                            <a:pt x="18121" y="1914"/>
                          </a:cubicBezTo>
                          <a:cubicBezTo>
                            <a:pt x="18301" y="1854"/>
                            <a:pt x="18481" y="1794"/>
                            <a:pt x="18660" y="1794"/>
                          </a:cubicBezTo>
                          <a:cubicBezTo>
                            <a:pt x="19138" y="1674"/>
                            <a:pt x="19617" y="1555"/>
                            <a:pt x="20095" y="1495"/>
                          </a:cubicBezTo>
                          <a:cubicBezTo>
                            <a:pt x="20574" y="1435"/>
                            <a:pt x="21052" y="1375"/>
                            <a:pt x="21530" y="1316"/>
                          </a:cubicBezTo>
                          <a:cubicBezTo>
                            <a:pt x="22009" y="1256"/>
                            <a:pt x="22488" y="1256"/>
                            <a:pt x="22966" y="1256"/>
                          </a:cubicBezTo>
                          <a:cubicBezTo>
                            <a:pt x="23444" y="1256"/>
                            <a:pt x="23923" y="1256"/>
                            <a:pt x="24401" y="1316"/>
                          </a:cubicBezTo>
                          <a:cubicBezTo>
                            <a:pt x="24461" y="1316"/>
                            <a:pt x="24521" y="1316"/>
                            <a:pt x="24581" y="1316"/>
                          </a:cubicBezTo>
                          <a:cubicBezTo>
                            <a:pt x="24641" y="1316"/>
                            <a:pt x="24700" y="1316"/>
                            <a:pt x="24760" y="1316"/>
                          </a:cubicBezTo>
                          <a:cubicBezTo>
                            <a:pt x="24820" y="1316"/>
                            <a:pt x="24880" y="1316"/>
                            <a:pt x="24940" y="1316"/>
                          </a:cubicBezTo>
                          <a:cubicBezTo>
                            <a:pt x="24999" y="1316"/>
                            <a:pt x="25059" y="1316"/>
                            <a:pt x="25119" y="1316"/>
                          </a:cubicBezTo>
                          <a:cubicBezTo>
                            <a:pt x="25238" y="1316"/>
                            <a:pt x="25298" y="1316"/>
                            <a:pt x="25418" y="1375"/>
                          </a:cubicBezTo>
                          <a:cubicBezTo>
                            <a:pt x="25538" y="1375"/>
                            <a:pt x="25597" y="1375"/>
                            <a:pt x="25717" y="1435"/>
                          </a:cubicBezTo>
                          <a:cubicBezTo>
                            <a:pt x="25837" y="1435"/>
                            <a:pt x="25897" y="1435"/>
                            <a:pt x="26016" y="1495"/>
                          </a:cubicBezTo>
                          <a:cubicBezTo>
                            <a:pt x="26136" y="1495"/>
                            <a:pt x="26196" y="1555"/>
                            <a:pt x="26315" y="1555"/>
                          </a:cubicBezTo>
                          <a:cubicBezTo>
                            <a:pt x="26973" y="1674"/>
                            <a:pt x="27631" y="1854"/>
                            <a:pt x="28229" y="2033"/>
                          </a:cubicBezTo>
                          <a:cubicBezTo>
                            <a:pt x="28827" y="2213"/>
                            <a:pt x="29485" y="2452"/>
                            <a:pt x="30083" y="2751"/>
                          </a:cubicBezTo>
                          <a:cubicBezTo>
                            <a:pt x="30681" y="2990"/>
                            <a:pt x="31279" y="3349"/>
                            <a:pt x="31817" y="3648"/>
                          </a:cubicBezTo>
                          <a:cubicBezTo>
                            <a:pt x="32356" y="4007"/>
                            <a:pt x="32894" y="4366"/>
                            <a:pt x="33432" y="4725"/>
                          </a:cubicBezTo>
                          <a:cubicBezTo>
                            <a:pt x="33432" y="4725"/>
                            <a:pt x="33492" y="4725"/>
                            <a:pt x="33492" y="4785"/>
                          </a:cubicBezTo>
                          <a:cubicBezTo>
                            <a:pt x="33492" y="4785"/>
                            <a:pt x="33552" y="4785"/>
                            <a:pt x="33552" y="4844"/>
                          </a:cubicBezTo>
                          <a:cubicBezTo>
                            <a:pt x="33552" y="4844"/>
                            <a:pt x="33612" y="4904"/>
                            <a:pt x="33612" y="4904"/>
                          </a:cubicBezTo>
                          <a:cubicBezTo>
                            <a:pt x="33612" y="4904"/>
                            <a:pt x="33671" y="4904"/>
                            <a:pt x="33671" y="4964"/>
                          </a:cubicBezTo>
                          <a:cubicBezTo>
                            <a:pt x="33731" y="5024"/>
                            <a:pt x="33851" y="5083"/>
                            <a:pt x="33911" y="5143"/>
                          </a:cubicBezTo>
                          <a:cubicBezTo>
                            <a:pt x="33970" y="5203"/>
                            <a:pt x="34030" y="5263"/>
                            <a:pt x="34150" y="5323"/>
                          </a:cubicBezTo>
                          <a:cubicBezTo>
                            <a:pt x="34210" y="5382"/>
                            <a:pt x="34269" y="5442"/>
                            <a:pt x="34389" y="5502"/>
                          </a:cubicBezTo>
                          <a:cubicBezTo>
                            <a:pt x="34449" y="5562"/>
                            <a:pt x="34509" y="5622"/>
                            <a:pt x="34628" y="5681"/>
                          </a:cubicBezTo>
                          <a:cubicBezTo>
                            <a:pt x="34808" y="5861"/>
                            <a:pt x="34987" y="6041"/>
                            <a:pt x="35167" y="6160"/>
                          </a:cubicBezTo>
                          <a:cubicBezTo>
                            <a:pt x="35346" y="6340"/>
                            <a:pt x="35466" y="6519"/>
                            <a:pt x="35645" y="6698"/>
                          </a:cubicBezTo>
                          <a:cubicBezTo>
                            <a:pt x="35824" y="6878"/>
                            <a:pt x="35944" y="7057"/>
                            <a:pt x="36123" y="7236"/>
                          </a:cubicBezTo>
                          <a:cubicBezTo>
                            <a:pt x="36243" y="7416"/>
                            <a:pt x="36423" y="7595"/>
                            <a:pt x="36542" y="7775"/>
                          </a:cubicBezTo>
                          <a:cubicBezTo>
                            <a:pt x="36662" y="7895"/>
                            <a:pt x="36722" y="8014"/>
                            <a:pt x="36841" y="8134"/>
                          </a:cubicBezTo>
                          <a:cubicBezTo>
                            <a:pt x="36901" y="8253"/>
                            <a:pt x="37021" y="8373"/>
                            <a:pt x="37081" y="8552"/>
                          </a:cubicBezTo>
                          <a:cubicBezTo>
                            <a:pt x="37140" y="8732"/>
                            <a:pt x="37260" y="8791"/>
                            <a:pt x="37320" y="8971"/>
                          </a:cubicBezTo>
                          <a:cubicBezTo>
                            <a:pt x="37140" y="9090"/>
                            <a:pt x="37260" y="9270"/>
                            <a:pt x="37320" y="9390"/>
                          </a:cubicBezTo>
                          <a:moveTo>
                            <a:pt x="7895" y="36961"/>
                          </a:moveTo>
                          <a:cubicBezTo>
                            <a:pt x="8552" y="37439"/>
                            <a:pt x="9210" y="37858"/>
                            <a:pt x="9928" y="38276"/>
                          </a:cubicBezTo>
                          <a:cubicBezTo>
                            <a:pt x="10645" y="38635"/>
                            <a:pt x="11364" y="38994"/>
                            <a:pt x="12141" y="39234"/>
                          </a:cubicBezTo>
                          <a:cubicBezTo>
                            <a:pt x="12918" y="39532"/>
                            <a:pt x="13696" y="39712"/>
                            <a:pt x="14473" y="39891"/>
                          </a:cubicBezTo>
                          <a:cubicBezTo>
                            <a:pt x="15311" y="40071"/>
                            <a:pt x="16148" y="40190"/>
                            <a:pt x="16985" y="40190"/>
                          </a:cubicBezTo>
                          <a:cubicBezTo>
                            <a:pt x="18241" y="40250"/>
                            <a:pt x="19497" y="40190"/>
                            <a:pt x="20753" y="40011"/>
                          </a:cubicBezTo>
                          <a:cubicBezTo>
                            <a:pt x="22009" y="39831"/>
                            <a:pt x="23205" y="39532"/>
                            <a:pt x="24461" y="39114"/>
                          </a:cubicBezTo>
                          <a:cubicBezTo>
                            <a:pt x="25657" y="38695"/>
                            <a:pt x="26853" y="38157"/>
                            <a:pt x="27990" y="37499"/>
                          </a:cubicBezTo>
                          <a:cubicBezTo>
                            <a:pt x="29126" y="36841"/>
                            <a:pt x="30262" y="36123"/>
                            <a:pt x="31279" y="35226"/>
                          </a:cubicBezTo>
                          <a:cubicBezTo>
                            <a:pt x="32296" y="34389"/>
                            <a:pt x="33313" y="33432"/>
                            <a:pt x="34150" y="32415"/>
                          </a:cubicBezTo>
                          <a:cubicBezTo>
                            <a:pt x="35047" y="31399"/>
                            <a:pt x="35824" y="30322"/>
                            <a:pt x="36482" y="29186"/>
                          </a:cubicBezTo>
                          <a:cubicBezTo>
                            <a:pt x="37140" y="28050"/>
                            <a:pt x="37738" y="26853"/>
                            <a:pt x="38217" y="25657"/>
                          </a:cubicBezTo>
                          <a:cubicBezTo>
                            <a:pt x="38695" y="24401"/>
                            <a:pt x="39054" y="23145"/>
                            <a:pt x="39353" y="21829"/>
                          </a:cubicBezTo>
                          <a:cubicBezTo>
                            <a:pt x="39592" y="20514"/>
                            <a:pt x="39712" y="19258"/>
                            <a:pt x="39712" y="18002"/>
                          </a:cubicBezTo>
                          <a:cubicBezTo>
                            <a:pt x="39712" y="16746"/>
                            <a:pt x="39592" y="15490"/>
                            <a:pt x="39353" y="14294"/>
                          </a:cubicBezTo>
                          <a:cubicBezTo>
                            <a:pt x="39114" y="13098"/>
                            <a:pt x="38755" y="11961"/>
                            <a:pt x="38277" y="10825"/>
                          </a:cubicBezTo>
                          <a:cubicBezTo>
                            <a:pt x="37798" y="9749"/>
                            <a:pt x="37200" y="8672"/>
                            <a:pt x="36482" y="7715"/>
                          </a:cubicBezTo>
                          <a:cubicBezTo>
                            <a:pt x="36243" y="7416"/>
                            <a:pt x="36004" y="7117"/>
                            <a:pt x="35765" y="6818"/>
                          </a:cubicBezTo>
                          <a:cubicBezTo>
                            <a:pt x="35526" y="6519"/>
                            <a:pt x="35286" y="6220"/>
                            <a:pt x="34987" y="5981"/>
                          </a:cubicBezTo>
                          <a:cubicBezTo>
                            <a:pt x="34748" y="5681"/>
                            <a:pt x="34449" y="5442"/>
                            <a:pt x="34150" y="5203"/>
                          </a:cubicBezTo>
                          <a:cubicBezTo>
                            <a:pt x="33851" y="4964"/>
                            <a:pt x="33612" y="4725"/>
                            <a:pt x="33313" y="4486"/>
                          </a:cubicBezTo>
                          <a:cubicBezTo>
                            <a:pt x="32714" y="4007"/>
                            <a:pt x="31997" y="3528"/>
                            <a:pt x="31339" y="3170"/>
                          </a:cubicBezTo>
                          <a:cubicBezTo>
                            <a:pt x="30621" y="2751"/>
                            <a:pt x="29904" y="2452"/>
                            <a:pt x="29186" y="2153"/>
                          </a:cubicBezTo>
                          <a:cubicBezTo>
                            <a:pt x="28408" y="1854"/>
                            <a:pt x="27631" y="1615"/>
                            <a:pt x="26853" y="1495"/>
                          </a:cubicBezTo>
                          <a:cubicBezTo>
                            <a:pt x="26016" y="1316"/>
                            <a:pt x="25238" y="1196"/>
                            <a:pt x="24342" y="1136"/>
                          </a:cubicBezTo>
                          <a:cubicBezTo>
                            <a:pt x="21770" y="957"/>
                            <a:pt x="19138" y="1316"/>
                            <a:pt x="16686" y="2153"/>
                          </a:cubicBezTo>
                          <a:cubicBezTo>
                            <a:pt x="14234" y="2990"/>
                            <a:pt x="11902" y="4306"/>
                            <a:pt x="9868" y="5981"/>
                          </a:cubicBezTo>
                          <a:cubicBezTo>
                            <a:pt x="7835" y="7655"/>
                            <a:pt x="6041" y="9689"/>
                            <a:pt x="4605" y="11961"/>
                          </a:cubicBezTo>
                          <a:cubicBezTo>
                            <a:pt x="3229" y="14234"/>
                            <a:pt x="2213" y="16806"/>
                            <a:pt x="1674" y="19497"/>
                          </a:cubicBezTo>
                          <a:cubicBezTo>
                            <a:pt x="1435" y="20813"/>
                            <a:pt x="1316" y="22128"/>
                            <a:pt x="1316" y="23384"/>
                          </a:cubicBezTo>
                          <a:cubicBezTo>
                            <a:pt x="1316" y="24641"/>
                            <a:pt x="1435" y="25896"/>
                            <a:pt x="1734" y="27092"/>
                          </a:cubicBezTo>
                          <a:cubicBezTo>
                            <a:pt x="1974" y="28289"/>
                            <a:pt x="2392" y="29425"/>
                            <a:pt x="2871" y="30561"/>
                          </a:cubicBezTo>
                          <a:cubicBezTo>
                            <a:pt x="3349" y="31638"/>
                            <a:pt x="3947" y="32714"/>
                            <a:pt x="4725" y="33671"/>
                          </a:cubicBezTo>
                          <a:cubicBezTo>
                            <a:pt x="4964" y="33970"/>
                            <a:pt x="5203" y="34269"/>
                            <a:pt x="5442" y="34568"/>
                          </a:cubicBezTo>
                          <a:cubicBezTo>
                            <a:pt x="5682" y="34867"/>
                            <a:pt x="5981" y="35167"/>
                            <a:pt x="6220" y="35406"/>
                          </a:cubicBezTo>
                          <a:cubicBezTo>
                            <a:pt x="6459" y="35645"/>
                            <a:pt x="6758" y="35944"/>
                            <a:pt x="7057" y="36183"/>
                          </a:cubicBezTo>
                          <a:cubicBezTo>
                            <a:pt x="7356" y="36482"/>
                            <a:pt x="7596" y="36721"/>
                            <a:pt x="7895" y="36961"/>
                          </a:cubicBezTo>
                          <a:moveTo>
                            <a:pt x="34150" y="3588"/>
                          </a:moveTo>
                          <a:cubicBezTo>
                            <a:pt x="34449" y="3827"/>
                            <a:pt x="34748" y="4067"/>
                            <a:pt x="35047" y="4366"/>
                          </a:cubicBezTo>
                          <a:cubicBezTo>
                            <a:pt x="35346" y="4605"/>
                            <a:pt x="35645" y="4904"/>
                            <a:pt x="35884" y="5203"/>
                          </a:cubicBezTo>
                          <a:cubicBezTo>
                            <a:pt x="36183" y="5502"/>
                            <a:pt x="36423" y="5801"/>
                            <a:pt x="36722" y="6100"/>
                          </a:cubicBezTo>
                          <a:cubicBezTo>
                            <a:pt x="36961" y="6399"/>
                            <a:pt x="37260" y="6698"/>
                            <a:pt x="37499" y="7057"/>
                          </a:cubicBezTo>
                          <a:cubicBezTo>
                            <a:pt x="38217" y="8074"/>
                            <a:pt x="38875" y="9210"/>
                            <a:pt x="39353" y="10406"/>
                          </a:cubicBezTo>
                          <a:cubicBezTo>
                            <a:pt x="39831" y="11603"/>
                            <a:pt x="40250" y="12798"/>
                            <a:pt x="40490" y="14055"/>
                          </a:cubicBezTo>
                          <a:cubicBezTo>
                            <a:pt x="40729" y="15311"/>
                            <a:pt x="40848" y="16626"/>
                            <a:pt x="40848" y="17942"/>
                          </a:cubicBezTo>
                          <a:cubicBezTo>
                            <a:pt x="40848" y="19258"/>
                            <a:pt x="40729" y="20633"/>
                            <a:pt x="40430" y="22009"/>
                          </a:cubicBezTo>
                          <a:cubicBezTo>
                            <a:pt x="40190" y="23384"/>
                            <a:pt x="39772" y="24700"/>
                            <a:pt x="39293" y="26016"/>
                          </a:cubicBezTo>
                          <a:cubicBezTo>
                            <a:pt x="38815" y="27332"/>
                            <a:pt x="38157" y="28588"/>
                            <a:pt x="37439" y="29784"/>
                          </a:cubicBezTo>
                          <a:cubicBezTo>
                            <a:pt x="36722" y="30980"/>
                            <a:pt x="35884" y="32116"/>
                            <a:pt x="34987" y="33193"/>
                          </a:cubicBezTo>
                          <a:cubicBezTo>
                            <a:pt x="34090" y="34269"/>
                            <a:pt x="33014" y="35226"/>
                            <a:pt x="31937" y="36183"/>
                          </a:cubicBezTo>
                          <a:cubicBezTo>
                            <a:pt x="30801" y="37080"/>
                            <a:pt x="29665" y="37918"/>
                            <a:pt x="28408" y="38575"/>
                          </a:cubicBezTo>
                          <a:cubicBezTo>
                            <a:pt x="27212" y="39234"/>
                            <a:pt x="25956" y="39831"/>
                            <a:pt x="24641" y="40250"/>
                          </a:cubicBezTo>
                          <a:cubicBezTo>
                            <a:pt x="23384" y="40669"/>
                            <a:pt x="22069" y="41028"/>
                            <a:pt x="20753" y="41207"/>
                          </a:cubicBezTo>
                          <a:cubicBezTo>
                            <a:pt x="19437" y="41386"/>
                            <a:pt x="18121" y="41446"/>
                            <a:pt x="16746" y="41386"/>
                          </a:cubicBezTo>
                          <a:cubicBezTo>
                            <a:pt x="15849" y="41327"/>
                            <a:pt x="14952" y="41207"/>
                            <a:pt x="14114" y="41088"/>
                          </a:cubicBezTo>
                          <a:cubicBezTo>
                            <a:pt x="13277" y="40908"/>
                            <a:pt x="12440" y="40669"/>
                            <a:pt x="11603" y="40430"/>
                          </a:cubicBezTo>
                          <a:cubicBezTo>
                            <a:pt x="10825" y="40130"/>
                            <a:pt x="10048" y="39772"/>
                            <a:pt x="9270" y="39413"/>
                          </a:cubicBezTo>
                          <a:cubicBezTo>
                            <a:pt x="8552" y="38994"/>
                            <a:pt x="7835" y="38575"/>
                            <a:pt x="7117" y="38037"/>
                          </a:cubicBezTo>
                          <a:cubicBezTo>
                            <a:pt x="6818" y="37798"/>
                            <a:pt x="6519" y="37559"/>
                            <a:pt x="6220" y="37260"/>
                          </a:cubicBezTo>
                          <a:cubicBezTo>
                            <a:pt x="5921" y="37021"/>
                            <a:pt x="5622" y="36721"/>
                            <a:pt x="5323" y="36422"/>
                          </a:cubicBezTo>
                          <a:cubicBezTo>
                            <a:pt x="5024" y="36123"/>
                            <a:pt x="4785" y="35824"/>
                            <a:pt x="4486" y="35526"/>
                          </a:cubicBezTo>
                          <a:cubicBezTo>
                            <a:pt x="4187" y="35226"/>
                            <a:pt x="3947" y="34927"/>
                            <a:pt x="3708" y="34568"/>
                          </a:cubicBezTo>
                          <a:cubicBezTo>
                            <a:pt x="2930" y="33552"/>
                            <a:pt x="2273" y="32415"/>
                            <a:pt x="1734" y="31279"/>
                          </a:cubicBezTo>
                          <a:cubicBezTo>
                            <a:pt x="1196" y="30083"/>
                            <a:pt x="837" y="28887"/>
                            <a:pt x="538" y="27631"/>
                          </a:cubicBezTo>
                          <a:cubicBezTo>
                            <a:pt x="239" y="26375"/>
                            <a:pt x="120" y="25059"/>
                            <a:pt x="120" y="23683"/>
                          </a:cubicBezTo>
                          <a:cubicBezTo>
                            <a:pt x="120" y="22308"/>
                            <a:pt x="239" y="20933"/>
                            <a:pt x="479" y="19557"/>
                          </a:cubicBezTo>
                          <a:cubicBezTo>
                            <a:pt x="1017" y="16686"/>
                            <a:pt x="2093" y="13995"/>
                            <a:pt x="3588" y="11543"/>
                          </a:cubicBezTo>
                          <a:cubicBezTo>
                            <a:pt x="5083" y="9090"/>
                            <a:pt x="6937" y="6937"/>
                            <a:pt x="9150" y="5203"/>
                          </a:cubicBezTo>
                          <a:cubicBezTo>
                            <a:pt x="11304" y="3409"/>
                            <a:pt x="13756" y="2033"/>
                            <a:pt x="16387" y="1196"/>
                          </a:cubicBezTo>
                          <a:cubicBezTo>
                            <a:pt x="18959" y="299"/>
                            <a:pt x="21710" y="-60"/>
                            <a:pt x="24461" y="119"/>
                          </a:cubicBezTo>
                          <a:cubicBezTo>
                            <a:pt x="25358" y="179"/>
                            <a:pt x="26255" y="299"/>
                            <a:pt x="27152" y="478"/>
                          </a:cubicBezTo>
                          <a:cubicBezTo>
                            <a:pt x="27990" y="658"/>
                            <a:pt x="28827" y="897"/>
                            <a:pt x="29665" y="1196"/>
                          </a:cubicBezTo>
                          <a:cubicBezTo>
                            <a:pt x="30442" y="1495"/>
                            <a:pt x="31219" y="1854"/>
                            <a:pt x="31997" y="2273"/>
                          </a:cubicBezTo>
                          <a:cubicBezTo>
                            <a:pt x="32774" y="2632"/>
                            <a:pt x="33492" y="3110"/>
                            <a:pt x="34150" y="3588"/>
                          </a:cubicBezTo>
                          <a:moveTo>
                            <a:pt x="7057" y="38037"/>
                          </a:moveTo>
                          <a:cubicBezTo>
                            <a:pt x="7715" y="38575"/>
                            <a:pt x="8493" y="38994"/>
                            <a:pt x="9210" y="39413"/>
                          </a:cubicBezTo>
                          <a:cubicBezTo>
                            <a:pt x="9988" y="39831"/>
                            <a:pt x="10765" y="40190"/>
                            <a:pt x="11543" y="40489"/>
                          </a:cubicBezTo>
                          <a:cubicBezTo>
                            <a:pt x="12380" y="40789"/>
                            <a:pt x="13218" y="41028"/>
                            <a:pt x="14055" y="41207"/>
                          </a:cubicBezTo>
                          <a:cubicBezTo>
                            <a:pt x="14892" y="41386"/>
                            <a:pt x="15789" y="41506"/>
                            <a:pt x="16686" y="41566"/>
                          </a:cubicBezTo>
                          <a:cubicBezTo>
                            <a:pt x="18002" y="41626"/>
                            <a:pt x="19377" y="41566"/>
                            <a:pt x="20693" y="41386"/>
                          </a:cubicBezTo>
                          <a:cubicBezTo>
                            <a:pt x="22009" y="41207"/>
                            <a:pt x="23325" y="40848"/>
                            <a:pt x="24641" y="40430"/>
                          </a:cubicBezTo>
                          <a:cubicBezTo>
                            <a:pt x="25956" y="40011"/>
                            <a:pt x="27212" y="39413"/>
                            <a:pt x="28408" y="38755"/>
                          </a:cubicBezTo>
                          <a:cubicBezTo>
                            <a:pt x="29605" y="38097"/>
                            <a:pt x="30801" y="37260"/>
                            <a:pt x="31937" y="36363"/>
                          </a:cubicBezTo>
                          <a:cubicBezTo>
                            <a:pt x="33073" y="35466"/>
                            <a:pt x="34090" y="34449"/>
                            <a:pt x="34987" y="33372"/>
                          </a:cubicBezTo>
                          <a:cubicBezTo>
                            <a:pt x="35884" y="32296"/>
                            <a:pt x="36782" y="31159"/>
                            <a:pt x="37499" y="29963"/>
                          </a:cubicBezTo>
                          <a:cubicBezTo>
                            <a:pt x="38217" y="28767"/>
                            <a:pt x="38875" y="27511"/>
                            <a:pt x="39353" y="26196"/>
                          </a:cubicBezTo>
                          <a:cubicBezTo>
                            <a:pt x="39831" y="24880"/>
                            <a:pt x="40250" y="23564"/>
                            <a:pt x="40490" y="22128"/>
                          </a:cubicBezTo>
                          <a:cubicBezTo>
                            <a:pt x="40669" y="21052"/>
                            <a:pt x="40848" y="20035"/>
                            <a:pt x="40848" y="18959"/>
                          </a:cubicBezTo>
                          <a:cubicBezTo>
                            <a:pt x="40908" y="17942"/>
                            <a:pt x="40848" y="16866"/>
                            <a:pt x="40789" y="15909"/>
                          </a:cubicBezTo>
                          <a:cubicBezTo>
                            <a:pt x="40669" y="14892"/>
                            <a:pt x="40490" y="13935"/>
                            <a:pt x="40250" y="12978"/>
                          </a:cubicBezTo>
                          <a:cubicBezTo>
                            <a:pt x="40011" y="12021"/>
                            <a:pt x="39652" y="11064"/>
                            <a:pt x="39293" y="10227"/>
                          </a:cubicBezTo>
                          <a:cubicBezTo>
                            <a:pt x="39234" y="10107"/>
                            <a:pt x="39174" y="9988"/>
                            <a:pt x="39114" y="9868"/>
                          </a:cubicBezTo>
                          <a:cubicBezTo>
                            <a:pt x="39054" y="9749"/>
                            <a:pt x="38994" y="9629"/>
                            <a:pt x="38935" y="9509"/>
                          </a:cubicBezTo>
                          <a:cubicBezTo>
                            <a:pt x="38875" y="9390"/>
                            <a:pt x="38815" y="9270"/>
                            <a:pt x="38755" y="9150"/>
                          </a:cubicBezTo>
                          <a:cubicBezTo>
                            <a:pt x="38695" y="9031"/>
                            <a:pt x="38636" y="8911"/>
                            <a:pt x="38576" y="8791"/>
                          </a:cubicBezTo>
                          <a:cubicBezTo>
                            <a:pt x="38336" y="8373"/>
                            <a:pt x="38097" y="7954"/>
                            <a:pt x="37858" y="7595"/>
                          </a:cubicBezTo>
                          <a:cubicBezTo>
                            <a:pt x="37619" y="7236"/>
                            <a:pt x="37320" y="6818"/>
                            <a:pt x="37021" y="6459"/>
                          </a:cubicBezTo>
                          <a:cubicBezTo>
                            <a:pt x="36722" y="6100"/>
                            <a:pt x="36423" y="5741"/>
                            <a:pt x="36064" y="5382"/>
                          </a:cubicBezTo>
                          <a:cubicBezTo>
                            <a:pt x="35765" y="5024"/>
                            <a:pt x="35406" y="4725"/>
                            <a:pt x="35047" y="4366"/>
                          </a:cubicBezTo>
                          <a:cubicBezTo>
                            <a:pt x="34987" y="4306"/>
                            <a:pt x="34928" y="4246"/>
                            <a:pt x="34868" y="4186"/>
                          </a:cubicBezTo>
                          <a:cubicBezTo>
                            <a:pt x="34808" y="4127"/>
                            <a:pt x="34748" y="4067"/>
                            <a:pt x="34688" y="4007"/>
                          </a:cubicBezTo>
                          <a:cubicBezTo>
                            <a:pt x="34628" y="3947"/>
                            <a:pt x="34568" y="3887"/>
                            <a:pt x="34509" y="3827"/>
                          </a:cubicBezTo>
                          <a:cubicBezTo>
                            <a:pt x="34449" y="3768"/>
                            <a:pt x="34389" y="3708"/>
                            <a:pt x="34329" y="3648"/>
                          </a:cubicBezTo>
                          <a:cubicBezTo>
                            <a:pt x="34329" y="3648"/>
                            <a:pt x="34329" y="3648"/>
                            <a:pt x="34329" y="3648"/>
                          </a:cubicBezTo>
                          <a:cubicBezTo>
                            <a:pt x="34329" y="3648"/>
                            <a:pt x="34329" y="3648"/>
                            <a:pt x="34329" y="3648"/>
                          </a:cubicBezTo>
                          <a:cubicBezTo>
                            <a:pt x="34329" y="3648"/>
                            <a:pt x="34329" y="3648"/>
                            <a:pt x="34329" y="3648"/>
                          </a:cubicBezTo>
                          <a:cubicBezTo>
                            <a:pt x="34329" y="3648"/>
                            <a:pt x="34329" y="3648"/>
                            <a:pt x="34329" y="3648"/>
                          </a:cubicBezTo>
                          <a:cubicBezTo>
                            <a:pt x="33791" y="3229"/>
                            <a:pt x="33253" y="2871"/>
                            <a:pt x="32655" y="2512"/>
                          </a:cubicBezTo>
                          <a:cubicBezTo>
                            <a:pt x="32057" y="2153"/>
                            <a:pt x="31459" y="1854"/>
                            <a:pt x="30860" y="1615"/>
                          </a:cubicBezTo>
                          <a:cubicBezTo>
                            <a:pt x="30262" y="1375"/>
                            <a:pt x="29605" y="1076"/>
                            <a:pt x="28947" y="897"/>
                          </a:cubicBezTo>
                          <a:cubicBezTo>
                            <a:pt x="28289" y="718"/>
                            <a:pt x="27631" y="538"/>
                            <a:pt x="26973" y="419"/>
                          </a:cubicBezTo>
                          <a:cubicBezTo>
                            <a:pt x="26853" y="419"/>
                            <a:pt x="26794" y="359"/>
                            <a:pt x="26674" y="359"/>
                          </a:cubicBezTo>
                          <a:cubicBezTo>
                            <a:pt x="26554" y="359"/>
                            <a:pt x="26495" y="299"/>
                            <a:pt x="26375" y="299"/>
                          </a:cubicBezTo>
                          <a:cubicBezTo>
                            <a:pt x="26255" y="299"/>
                            <a:pt x="26196" y="299"/>
                            <a:pt x="26076" y="239"/>
                          </a:cubicBezTo>
                          <a:cubicBezTo>
                            <a:pt x="25956" y="179"/>
                            <a:pt x="25897" y="239"/>
                            <a:pt x="25777" y="179"/>
                          </a:cubicBezTo>
                          <a:cubicBezTo>
                            <a:pt x="25657" y="179"/>
                            <a:pt x="25597" y="179"/>
                            <a:pt x="25478" y="119"/>
                          </a:cubicBezTo>
                          <a:cubicBezTo>
                            <a:pt x="25358" y="119"/>
                            <a:pt x="25298" y="119"/>
                            <a:pt x="25179" y="60"/>
                          </a:cubicBezTo>
                          <a:cubicBezTo>
                            <a:pt x="25059" y="0"/>
                            <a:pt x="24999" y="60"/>
                            <a:pt x="24880" y="60"/>
                          </a:cubicBezTo>
                          <a:cubicBezTo>
                            <a:pt x="24760" y="60"/>
                            <a:pt x="24700" y="60"/>
                            <a:pt x="24581" y="60"/>
                          </a:cubicBezTo>
                          <a:cubicBezTo>
                            <a:pt x="23863" y="0"/>
                            <a:pt x="23205" y="0"/>
                            <a:pt x="22488" y="0"/>
                          </a:cubicBezTo>
                          <a:cubicBezTo>
                            <a:pt x="21770" y="0"/>
                            <a:pt x="21112" y="60"/>
                            <a:pt x="20394" y="179"/>
                          </a:cubicBezTo>
                          <a:cubicBezTo>
                            <a:pt x="19676" y="299"/>
                            <a:pt x="19019" y="419"/>
                            <a:pt x="18301" y="598"/>
                          </a:cubicBezTo>
                          <a:cubicBezTo>
                            <a:pt x="17583" y="778"/>
                            <a:pt x="16926" y="957"/>
                            <a:pt x="16267" y="1196"/>
                          </a:cubicBezTo>
                          <a:cubicBezTo>
                            <a:pt x="16148" y="1256"/>
                            <a:pt x="15968" y="1316"/>
                            <a:pt x="15849" y="1375"/>
                          </a:cubicBezTo>
                          <a:cubicBezTo>
                            <a:pt x="15729" y="1435"/>
                            <a:pt x="15550" y="1495"/>
                            <a:pt x="15430" y="1555"/>
                          </a:cubicBezTo>
                          <a:cubicBezTo>
                            <a:pt x="15311" y="1615"/>
                            <a:pt x="15131" y="1674"/>
                            <a:pt x="15012" y="1734"/>
                          </a:cubicBezTo>
                          <a:cubicBezTo>
                            <a:pt x="14892" y="1794"/>
                            <a:pt x="14713" y="1854"/>
                            <a:pt x="14593" y="1914"/>
                          </a:cubicBezTo>
                          <a:cubicBezTo>
                            <a:pt x="14473" y="1973"/>
                            <a:pt x="14354" y="2033"/>
                            <a:pt x="14234" y="2093"/>
                          </a:cubicBezTo>
                          <a:cubicBezTo>
                            <a:pt x="14114" y="2153"/>
                            <a:pt x="13995" y="2213"/>
                            <a:pt x="13875" y="2273"/>
                          </a:cubicBezTo>
                          <a:cubicBezTo>
                            <a:pt x="13756" y="2332"/>
                            <a:pt x="13636" y="2392"/>
                            <a:pt x="13516" y="2452"/>
                          </a:cubicBezTo>
                          <a:cubicBezTo>
                            <a:pt x="13397" y="2512"/>
                            <a:pt x="13277" y="2572"/>
                            <a:pt x="13158" y="2632"/>
                          </a:cubicBezTo>
                          <a:cubicBezTo>
                            <a:pt x="13038" y="2691"/>
                            <a:pt x="12918" y="2751"/>
                            <a:pt x="12799" y="2811"/>
                          </a:cubicBezTo>
                          <a:cubicBezTo>
                            <a:pt x="12679" y="2871"/>
                            <a:pt x="12559" y="2930"/>
                            <a:pt x="12440" y="2990"/>
                          </a:cubicBezTo>
                          <a:cubicBezTo>
                            <a:pt x="12320" y="3050"/>
                            <a:pt x="12201" y="3110"/>
                            <a:pt x="12081" y="3170"/>
                          </a:cubicBezTo>
                          <a:cubicBezTo>
                            <a:pt x="11961" y="3229"/>
                            <a:pt x="11842" y="3289"/>
                            <a:pt x="11722" y="3349"/>
                          </a:cubicBezTo>
                          <a:cubicBezTo>
                            <a:pt x="11483" y="3469"/>
                            <a:pt x="11304" y="3648"/>
                            <a:pt x="11064" y="3768"/>
                          </a:cubicBezTo>
                          <a:cubicBezTo>
                            <a:pt x="10825" y="3887"/>
                            <a:pt x="10645" y="4067"/>
                            <a:pt x="10406" y="4246"/>
                          </a:cubicBezTo>
                          <a:cubicBezTo>
                            <a:pt x="10167" y="4426"/>
                            <a:pt x="9988" y="4545"/>
                            <a:pt x="9749" y="4725"/>
                          </a:cubicBezTo>
                          <a:cubicBezTo>
                            <a:pt x="9510" y="4904"/>
                            <a:pt x="9330" y="5024"/>
                            <a:pt x="9150" y="5203"/>
                          </a:cubicBezTo>
                          <a:cubicBezTo>
                            <a:pt x="8373" y="5861"/>
                            <a:pt x="7596" y="6519"/>
                            <a:pt x="6937" y="7236"/>
                          </a:cubicBezTo>
                          <a:cubicBezTo>
                            <a:pt x="6220" y="7954"/>
                            <a:pt x="5562" y="8732"/>
                            <a:pt x="4964" y="9509"/>
                          </a:cubicBezTo>
                          <a:cubicBezTo>
                            <a:pt x="4366" y="10287"/>
                            <a:pt x="3828" y="11124"/>
                            <a:pt x="3289" y="11961"/>
                          </a:cubicBezTo>
                          <a:cubicBezTo>
                            <a:pt x="2811" y="12798"/>
                            <a:pt x="2333" y="13696"/>
                            <a:pt x="1974" y="14593"/>
                          </a:cubicBezTo>
                          <a:cubicBezTo>
                            <a:pt x="1914" y="14712"/>
                            <a:pt x="1914" y="14772"/>
                            <a:pt x="1854" y="14892"/>
                          </a:cubicBezTo>
                          <a:cubicBezTo>
                            <a:pt x="1794" y="15012"/>
                            <a:pt x="1794" y="15071"/>
                            <a:pt x="1734" y="15191"/>
                          </a:cubicBezTo>
                          <a:cubicBezTo>
                            <a:pt x="1674" y="15311"/>
                            <a:pt x="1674" y="15370"/>
                            <a:pt x="1615" y="15490"/>
                          </a:cubicBezTo>
                          <a:cubicBezTo>
                            <a:pt x="1555" y="15610"/>
                            <a:pt x="1555" y="15669"/>
                            <a:pt x="1495" y="15789"/>
                          </a:cubicBezTo>
                          <a:cubicBezTo>
                            <a:pt x="1375" y="16088"/>
                            <a:pt x="1256" y="16447"/>
                            <a:pt x="1136" y="16746"/>
                          </a:cubicBezTo>
                          <a:cubicBezTo>
                            <a:pt x="1017" y="17045"/>
                            <a:pt x="957" y="17404"/>
                            <a:pt x="837" y="17703"/>
                          </a:cubicBezTo>
                          <a:cubicBezTo>
                            <a:pt x="718" y="18002"/>
                            <a:pt x="658" y="18361"/>
                            <a:pt x="598" y="18660"/>
                          </a:cubicBezTo>
                          <a:cubicBezTo>
                            <a:pt x="538" y="18959"/>
                            <a:pt x="479" y="19318"/>
                            <a:pt x="359" y="19676"/>
                          </a:cubicBezTo>
                          <a:cubicBezTo>
                            <a:pt x="239" y="20394"/>
                            <a:pt x="120" y="21112"/>
                            <a:pt x="60" y="21770"/>
                          </a:cubicBezTo>
                          <a:cubicBezTo>
                            <a:pt x="0" y="22488"/>
                            <a:pt x="0" y="23145"/>
                            <a:pt x="0" y="23863"/>
                          </a:cubicBezTo>
                          <a:cubicBezTo>
                            <a:pt x="0" y="24521"/>
                            <a:pt x="60" y="25238"/>
                            <a:pt x="120" y="25896"/>
                          </a:cubicBezTo>
                          <a:cubicBezTo>
                            <a:pt x="179" y="26554"/>
                            <a:pt x="299" y="27212"/>
                            <a:pt x="479" y="27870"/>
                          </a:cubicBezTo>
                          <a:cubicBezTo>
                            <a:pt x="479" y="27990"/>
                            <a:pt x="538" y="28050"/>
                            <a:pt x="538" y="28169"/>
                          </a:cubicBezTo>
                          <a:cubicBezTo>
                            <a:pt x="538" y="28289"/>
                            <a:pt x="598" y="28349"/>
                            <a:pt x="598" y="28468"/>
                          </a:cubicBezTo>
                          <a:cubicBezTo>
                            <a:pt x="598" y="28588"/>
                            <a:pt x="658" y="28648"/>
                            <a:pt x="658" y="28767"/>
                          </a:cubicBezTo>
                          <a:cubicBezTo>
                            <a:pt x="658" y="28887"/>
                            <a:pt x="718" y="28946"/>
                            <a:pt x="718" y="29066"/>
                          </a:cubicBezTo>
                          <a:cubicBezTo>
                            <a:pt x="957" y="29844"/>
                            <a:pt x="1196" y="30561"/>
                            <a:pt x="1495" y="31279"/>
                          </a:cubicBezTo>
                          <a:cubicBezTo>
                            <a:pt x="1794" y="31997"/>
                            <a:pt x="2153" y="32655"/>
                            <a:pt x="2512" y="33313"/>
                          </a:cubicBezTo>
                          <a:cubicBezTo>
                            <a:pt x="2930" y="33970"/>
                            <a:pt x="3349" y="34568"/>
                            <a:pt x="3828" y="35167"/>
                          </a:cubicBezTo>
                          <a:cubicBezTo>
                            <a:pt x="4306" y="35765"/>
                            <a:pt x="4785" y="36303"/>
                            <a:pt x="5383" y="36841"/>
                          </a:cubicBezTo>
                          <a:cubicBezTo>
                            <a:pt x="5442" y="36901"/>
                            <a:pt x="5562" y="36961"/>
                            <a:pt x="5622" y="37080"/>
                          </a:cubicBezTo>
                          <a:cubicBezTo>
                            <a:pt x="5682" y="37140"/>
                            <a:pt x="5801" y="37200"/>
                            <a:pt x="5861" y="37320"/>
                          </a:cubicBezTo>
                          <a:cubicBezTo>
                            <a:pt x="5921" y="37380"/>
                            <a:pt x="6041" y="37439"/>
                            <a:pt x="6100" y="37559"/>
                          </a:cubicBezTo>
                          <a:cubicBezTo>
                            <a:pt x="6160" y="37619"/>
                            <a:pt x="6280" y="37678"/>
                            <a:pt x="6340" y="37738"/>
                          </a:cubicBezTo>
                          <a:cubicBezTo>
                            <a:pt x="6399" y="37798"/>
                            <a:pt x="6459" y="37798"/>
                            <a:pt x="6459" y="37858"/>
                          </a:cubicBezTo>
                          <a:cubicBezTo>
                            <a:pt x="6519" y="37918"/>
                            <a:pt x="6579" y="37918"/>
                            <a:pt x="6579" y="37977"/>
                          </a:cubicBezTo>
                          <a:cubicBezTo>
                            <a:pt x="6639" y="38037"/>
                            <a:pt x="6698" y="38037"/>
                            <a:pt x="6698" y="38097"/>
                          </a:cubicBezTo>
                          <a:cubicBezTo>
                            <a:pt x="6937" y="37977"/>
                            <a:pt x="6997" y="37977"/>
                            <a:pt x="7057" y="38037"/>
                          </a:cubicBezTo>
                        </a:path>
                      </a:pathLst>
                    </a:custGeom>
                    <a:noFill/>
                    <a:ln w="6350" cap="flat">
                      <a:solidFill>
                        <a:schemeClr val="bg1">
                          <a:alpha val="80000"/>
                        </a:schemeClr>
                      </a:solidFill>
                      <a:prstDash val="solid"/>
                      <a:miter/>
                    </a:ln>
                  </p:spPr>
                  <p:txBody>
                    <a:bodyPr rtlCol="0" anchor="ctr"/>
                    <a:lstStyle/>
                    <a:p>
                      <a:endParaRPr lang="en-GB"/>
                    </a:p>
                  </p:txBody>
                </p:sp>
                <p:sp>
                  <p:nvSpPr>
                    <p:cNvPr id="7464" name="Vrije vorm: vorm 7463">
                      <a:extLst>
                        <a:ext uri="{FF2B5EF4-FFF2-40B4-BE49-F238E27FC236}">
                          <a16:creationId xmlns:a16="http://schemas.microsoft.com/office/drawing/2014/main" id="{77070921-BED8-4A05-A088-C8CDA994637D}"/>
                        </a:ext>
                      </a:extLst>
                    </p:cNvPr>
                    <p:cNvSpPr/>
                    <p:nvPr/>
                  </p:nvSpPr>
                  <p:spPr>
                    <a:xfrm>
                      <a:off x="4978552" y="5078525"/>
                      <a:ext cx="40669" cy="41453"/>
                    </a:xfrm>
                    <a:custGeom>
                      <a:avLst/>
                      <a:gdLst>
                        <a:gd name="connsiteX0" fmla="*/ 33133 w 40669"/>
                        <a:gd name="connsiteY0" fmla="*/ 4650 h 41453"/>
                        <a:gd name="connsiteX1" fmla="*/ 33970 w 40669"/>
                        <a:gd name="connsiteY1" fmla="*/ 5368 h 41453"/>
                        <a:gd name="connsiteX2" fmla="*/ 34808 w 40669"/>
                        <a:gd name="connsiteY2" fmla="*/ 6145 h 41453"/>
                        <a:gd name="connsiteX3" fmla="*/ 35585 w 40669"/>
                        <a:gd name="connsiteY3" fmla="*/ 6982 h 41453"/>
                        <a:gd name="connsiteX4" fmla="*/ 36303 w 40669"/>
                        <a:gd name="connsiteY4" fmla="*/ 7880 h 41453"/>
                        <a:gd name="connsiteX5" fmla="*/ 38097 w 40669"/>
                        <a:gd name="connsiteY5" fmla="*/ 10990 h 41453"/>
                        <a:gd name="connsiteX6" fmla="*/ 39174 w 40669"/>
                        <a:gd name="connsiteY6" fmla="*/ 14458 h 41453"/>
                        <a:gd name="connsiteX7" fmla="*/ 39533 w 40669"/>
                        <a:gd name="connsiteY7" fmla="*/ 18166 h 41453"/>
                        <a:gd name="connsiteX8" fmla="*/ 39174 w 40669"/>
                        <a:gd name="connsiteY8" fmla="*/ 21994 h 41453"/>
                        <a:gd name="connsiteX9" fmla="*/ 38038 w 40669"/>
                        <a:gd name="connsiteY9" fmla="*/ 25822 h 41453"/>
                        <a:gd name="connsiteX10" fmla="*/ 36303 w 40669"/>
                        <a:gd name="connsiteY10" fmla="*/ 29350 h 41453"/>
                        <a:gd name="connsiteX11" fmla="*/ 33970 w 40669"/>
                        <a:gd name="connsiteY11" fmla="*/ 32580 h 41453"/>
                        <a:gd name="connsiteX12" fmla="*/ 31100 w 40669"/>
                        <a:gd name="connsiteY12" fmla="*/ 35391 h 41453"/>
                        <a:gd name="connsiteX13" fmla="*/ 27811 w 40669"/>
                        <a:gd name="connsiteY13" fmla="*/ 37664 h 41453"/>
                        <a:gd name="connsiteX14" fmla="*/ 24282 w 40669"/>
                        <a:gd name="connsiteY14" fmla="*/ 39278 h 41453"/>
                        <a:gd name="connsiteX15" fmla="*/ 20574 w 40669"/>
                        <a:gd name="connsiteY15" fmla="*/ 40175 h 41453"/>
                        <a:gd name="connsiteX16" fmla="*/ 16806 w 40669"/>
                        <a:gd name="connsiteY16" fmla="*/ 40355 h 41453"/>
                        <a:gd name="connsiteX17" fmla="*/ 14294 w 40669"/>
                        <a:gd name="connsiteY17" fmla="*/ 40056 h 41453"/>
                        <a:gd name="connsiteX18" fmla="*/ 11961 w 40669"/>
                        <a:gd name="connsiteY18" fmla="*/ 39398 h 41453"/>
                        <a:gd name="connsiteX19" fmla="*/ 9749 w 40669"/>
                        <a:gd name="connsiteY19" fmla="*/ 38441 h 41453"/>
                        <a:gd name="connsiteX20" fmla="*/ 7715 w 40669"/>
                        <a:gd name="connsiteY20" fmla="*/ 37125 h 41453"/>
                        <a:gd name="connsiteX21" fmla="*/ 6818 w 40669"/>
                        <a:gd name="connsiteY21" fmla="*/ 36408 h 41453"/>
                        <a:gd name="connsiteX22" fmla="*/ 5981 w 40669"/>
                        <a:gd name="connsiteY22" fmla="*/ 35630 h 41453"/>
                        <a:gd name="connsiteX23" fmla="*/ 5203 w 40669"/>
                        <a:gd name="connsiteY23" fmla="*/ 34793 h 41453"/>
                        <a:gd name="connsiteX24" fmla="*/ 4486 w 40669"/>
                        <a:gd name="connsiteY24" fmla="*/ 33896 h 41453"/>
                        <a:gd name="connsiteX25" fmla="*/ 2632 w 40669"/>
                        <a:gd name="connsiteY25" fmla="*/ 30786 h 41453"/>
                        <a:gd name="connsiteX26" fmla="*/ 1495 w 40669"/>
                        <a:gd name="connsiteY26" fmla="*/ 27317 h 41453"/>
                        <a:gd name="connsiteX27" fmla="*/ 1076 w 40669"/>
                        <a:gd name="connsiteY27" fmla="*/ 23609 h 41453"/>
                        <a:gd name="connsiteX28" fmla="*/ 1435 w 40669"/>
                        <a:gd name="connsiteY28" fmla="*/ 19721 h 41453"/>
                        <a:gd name="connsiteX29" fmla="*/ 4366 w 40669"/>
                        <a:gd name="connsiteY29" fmla="*/ 12186 h 41453"/>
                        <a:gd name="connsiteX30" fmla="*/ 9629 w 40669"/>
                        <a:gd name="connsiteY30" fmla="*/ 6205 h 41453"/>
                        <a:gd name="connsiteX31" fmla="*/ 16447 w 40669"/>
                        <a:gd name="connsiteY31" fmla="*/ 2377 h 41453"/>
                        <a:gd name="connsiteX32" fmla="*/ 24102 w 40669"/>
                        <a:gd name="connsiteY32" fmla="*/ 1361 h 41453"/>
                        <a:gd name="connsiteX33" fmla="*/ 26614 w 40669"/>
                        <a:gd name="connsiteY33" fmla="*/ 1719 h 41453"/>
                        <a:gd name="connsiteX34" fmla="*/ 28947 w 40669"/>
                        <a:gd name="connsiteY34" fmla="*/ 2377 h 41453"/>
                        <a:gd name="connsiteX35" fmla="*/ 31100 w 40669"/>
                        <a:gd name="connsiteY35" fmla="*/ 3394 h 41453"/>
                        <a:gd name="connsiteX36" fmla="*/ 33133 w 40669"/>
                        <a:gd name="connsiteY36" fmla="*/ 4650 h 41453"/>
                        <a:gd name="connsiteX37" fmla="*/ 6938 w 40669"/>
                        <a:gd name="connsiteY37" fmla="*/ 38082 h 41453"/>
                        <a:gd name="connsiteX38" fmla="*/ 9091 w 40669"/>
                        <a:gd name="connsiteY38" fmla="*/ 39458 h 41453"/>
                        <a:gd name="connsiteX39" fmla="*/ 11423 w 40669"/>
                        <a:gd name="connsiteY39" fmla="*/ 40475 h 41453"/>
                        <a:gd name="connsiteX40" fmla="*/ 13935 w 40669"/>
                        <a:gd name="connsiteY40" fmla="*/ 41132 h 41453"/>
                        <a:gd name="connsiteX41" fmla="*/ 16567 w 40669"/>
                        <a:gd name="connsiteY41" fmla="*/ 41431 h 41453"/>
                        <a:gd name="connsiteX42" fmla="*/ 20574 w 40669"/>
                        <a:gd name="connsiteY42" fmla="*/ 41252 h 41453"/>
                        <a:gd name="connsiteX43" fmla="*/ 24461 w 40669"/>
                        <a:gd name="connsiteY43" fmla="*/ 40295 h 41453"/>
                        <a:gd name="connsiteX44" fmla="*/ 28229 w 40669"/>
                        <a:gd name="connsiteY44" fmla="*/ 38621 h 41453"/>
                        <a:gd name="connsiteX45" fmla="*/ 31758 w 40669"/>
                        <a:gd name="connsiteY45" fmla="*/ 36228 h 41453"/>
                        <a:gd name="connsiteX46" fmla="*/ 34808 w 40669"/>
                        <a:gd name="connsiteY46" fmla="*/ 33238 h 41453"/>
                        <a:gd name="connsiteX47" fmla="*/ 37260 w 40669"/>
                        <a:gd name="connsiteY47" fmla="*/ 29829 h 41453"/>
                        <a:gd name="connsiteX48" fmla="*/ 39114 w 40669"/>
                        <a:gd name="connsiteY48" fmla="*/ 26061 h 41453"/>
                        <a:gd name="connsiteX49" fmla="*/ 40251 w 40669"/>
                        <a:gd name="connsiteY49" fmla="*/ 22054 h 41453"/>
                        <a:gd name="connsiteX50" fmla="*/ 40669 w 40669"/>
                        <a:gd name="connsiteY50" fmla="*/ 17987 h 41453"/>
                        <a:gd name="connsiteX51" fmla="*/ 40310 w 40669"/>
                        <a:gd name="connsiteY51" fmla="*/ 14099 h 41453"/>
                        <a:gd name="connsiteX52" fmla="*/ 39174 w 40669"/>
                        <a:gd name="connsiteY52" fmla="*/ 10451 h 41453"/>
                        <a:gd name="connsiteX53" fmla="*/ 37320 w 40669"/>
                        <a:gd name="connsiteY53" fmla="*/ 7102 h 41453"/>
                        <a:gd name="connsiteX54" fmla="*/ 36542 w 40669"/>
                        <a:gd name="connsiteY54" fmla="*/ 6145 h 41453"/>
                        <a:gd name="connsiteX55" fmla="*/ 35705 w 40669"/>
                        <a:gd name="connsiteY55" fmla="*/ 5248 h 41453"/>
                        <a:gd name="connsiteX56" fmla="*/ 34868 w 40669"/>
                        <a:gd name="connsiteY56" fmla="*/ 4411 h 41453"/>
                        <a:gd name="connsiteX57" fmla="*/ 33970 w 40669"/>
                        <a:gd name="connsiteY57" fmla="*/ 3633 h 41453"/>
                        <a:gd name="connsiteX58" fmla="*/ 31877 w 40669"/>
                        <a:gd name="connsiteY58" fmla="*/ 2198 h 41453"/>
                        <a:gd name="connsiteX59" fmla="*/ 29545 w 40669"/>
                        <a:gd name="connsiteY59" fmla="*/ 1121 h 41453"/>
                        <a:gd name="connsiteX60" fmla="*/ 27033 w 40669"/>
                        <a:gd name="connsiteY60" fmla="*/ 404 h 41453"/>
                        <a:gd name="connsiteX61" fmla="*/ 24342 w 40669"/>
                        <a:gd name="connsiteY61" fmla="*/ 45 h 41453"/>
                        <a:gd name="connsiteX62" fmla="*/ 16268 w 40669"/>
                        <a:gd name="connsiteY62" fmla="*/ 1121 h 41453"/>
                        <a:gd name="connsiteX63" fmla="*/ 9031 w 40669"/>
                        <a:gd name="connsiteY63" fmla="*/ 5128 h 41453"/>
                        <a:gd name="connsiteX64" fmla="*/ 3469 w 40669"/>
                        <a:gd name="connsiteY64" fmla="*/ 11468 h 41453"/>
                        <a:gd name="connsiteX65" fmla="*/ 359 w 40669"/>
                        <a:gd name="connsiteY65" fmla="*/ 19482 h 41453"/>
                        <a:gd name="connsiteX66" fmla="*/ 0 w 40669"/>
                        <a:gd name="connsiteY66" fmla="*/ 23609 h 41453"/>
                        <a:gd name="connsiteX67" fmla="*/ 419 w 40669"/>
                        <a:gd name="connsiteY67" fmla="*/ 27556 h 41453"/>
                        <a:gd name="connsiteX68" fmla="*/ 1615 w 40669"/>
                        <a:gd name="connsiteY68" fmla="*/ 31204 h 41453"/>
                        <a:gd name="connsiteX69" fmla="*/ 3589 w 40669"/>
                        <a:gd name="connsiteY69" fmla="*/ 34494 h 41453"/>
                        <a:gd name="connsiteX70" fmla="*/ 4366 w 40669"/>
                        <a:gd name="connsiteY70" fmla="*/ 35451 h 41453"/>
                        <a:gd name="connsiteX71" fmla="*/ 5203 w 40669"/>
                        <a:gd name="connsiteY71" fmla="*/ 36348 h 41453"/>
                        <a:gd name="connsiteX72" fmla="*/ 6100 w 40669"/>
                        <a:gd name="connsiteY72" fmla="*/ 37185 h 41453"/>
                        <a:gd name="connsiteX73" fmla="*/ 6938 w 40669"/>
                        <a:gd name="connsiteY73" fmla="*/ 38082 h 4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0669" h="41453">
                          <a:moveTo>
                            <a:pt x="33133" y="4650"/>
                          </a:moveTo>
                          <a:cubicBezTo>
                            <a:pt x="33432" y="4889"/>
                            <a:pt x="33731" y="5128"/>
                            <a:pt x="33970" y="5368"/>
                          </a:cubicBezTo>
                          <a:cubicBezTo>
                            <a:pt x="34270" y="5607"/>
                            <a:pt x="34509" y="5906"/>
                            <a:pt x="34808" y="6145"/>
                          </a:cubicBezTo>
                          <a:cubicBezTo>
                            <a:pt x="35047" y="6444"/>
                            <a:pt x="35346" y="6683"/>
                            <a:pt x="35585" y="6982"/>
                          </a:cubicBezTo>
                          <a:cubicBezTo>
                            <a:pt x="35824" y="7281"/>
                            <a:pt x="36064" y="7581"/>
                            <a:pt x="36303" y="7880"/>
                          </a:cubicBezTo>
                          <a:cubicBezTo>
                            <a:pt x="37021" y="8836"/>
                            <a:pt x="37619" y="9913"/>
                            <a:pt x="38097" y="10990"/>
                          </a:cubicBezTo>
                          <a:cubicBezTo>
                            <a:pt x="38576" y="12066"/>
                            <a:pt x="38935" y="13262"/>
                            <a:pt x="39174" y="14458"/>
                          </a:cubicBezTo>
                          <a:cubicBezTo>
                            <a:pt x="39413" y="15655"/>
                            <a:pt x="39533" y="16911"/>
                            <a:pt x="39533" y="18166"/>
                          </a:cubicBezTo>
                          <a:cubicBezTo>
                            <a:pt x="39533" y="19422"/>
                            <a:pt x="39413" y="20738"/>
                            <a:pt x="39174" y="21994"/>
                          </a:cubicBezTo>
                          <a:cubicBezTo>
                            <a:pt x="38935" y="23310"/>
                            <a:pt x="38516" y="24566"/>
                            <a:pt x="38038" y="25822"/>
                          </a:cubicBezTo>
                          <a:cubicBezTo>
                            <a:pt x="37559" y="27078"/>
                            <a:pt x="36961" y="28214"/>
                            <a:pt x="36303" y="29350"/>
                          </a:cubicBezTo>
                          <a:cubicBezTo>
                            <a:pt x="35645" y="30487"/>
                            <a:pt x="34808" y="31563"/>
                            <a:pt x="33970" y="32580"/>
                          </a:cubicBezTo>
                          <a:cubicBezTo>
                            <a:pt x="33074" y="33597"/>
                            <a:pt x="32116" y="34554"/>
                            <a:pt x="31100" y="35391"/>
                          </a:cubicBezTo>
                          <a:cubicBezTo>
                            <a:pt x="30023" y="36228"/>
                            <a:pt x="28947" y="37006"/>
                            <a:pt x="27811" y="37664"/>
                          </a:cubicBezTo>
                          <a:cubicBezTo>
                            <a:pt x="26674" y="38321"/>
                            <a:pt x="25478" y="38860"/>
                            <a:pt x="24282" y="39278"/>
                          </a:cubicBezTo>
                          <a:cubicBezTo>
                            <a:pt x="23086" y="39697"/>
                            <a:pt x="21830" y="39996"/>
                            <a:pt x="20574" y="40175"/>
                          </a:cubicBezTo>
                          <a:cubicBezTo>
                            <a:pt x="19318" y="40355"/>
                            <a:pt x="18062" y="40415"/>
                            <a:pt x="16806" y="40355"/>
                          </a:cubicBezTo>
                          <a:cubicBezTo>
                            <a:pt x="15969" y="40295"/>
                            <a:pt x="15131" y="40175"/>
                            <a:pt x="14294" y="40056"/>
                          </a:cubicBezTo>
                          <a:cubicBezTo>
                            <a:pt x="13457" y="39876"/>
                            <a:pt x="12679" y="39697"/>
                            <a:pt x="11961" y="39398"/>
                          </a:cubicBezTo>
                          <a:cubicBezTo>
                            <a:pt x="11184" y="39099"/>
                            <a:pt x="10466" y="38800"/>
                            <a:pt x="9749" y="38441"/>
                          </a:cubicBezTo>
                          <a:cubicBezTo>
                            <a:pt x="9031" y="38082"/>
                            <a:pt x="8373" y="37604"/>
                            <a:pt x="7715" y="37125"/>
                          </a:cubicBezTo>
                          <a:cubicBezTo>
                            <a:pt x="7416" y="36886"/>
                            <a:pt x="7117" y="36647"/>
                            <a:pt x="6818" y="36408"/>
                          </a:cubicBezTo>
                          <a:cubicBezTo>
                            <a:pt x="6519" y="36168"/>
                            <a:pt x="6280" y="35929"/>
                            <a:pt x="5981" y="35630"/>
                          </a:cubicBezTo>
                          <a:cubicBezTo>
                            <a:pt x="5742" y="35391"/>
                            <a:pt x="5443" y="35092"/>
                            <a:pt x="5203" y="34793"/>
                          </a:cubicBezTo>
                          <a:cubicBezTo>
                            <a:pt x="4964" y="34494"/>
                            <a:pt x="4725" y="34195"/>
                            <a:pt x="4486" y="33896"/>
                          </a:cubicBezTo>
                          <a:cubicBezTo>
                            <a:pt x="3768" y="32939"/>
                            <a:pt x="3170" y="31862"/>
                            <a:pt x="2632" y="30786"/>
                          </a:cubicBezTo>
                          <a:cubicBezTo>
                            <a:pt x="2153" y="29709"/>
                            <a:pt x="1735" y="28513"/>
                            <a:pt x="1495" y="27317"/>
                          </a:cubicBezTo>
                          <a:cubicBezTo>
                            <a:pt x="1256" y="26121"/>
                            <a:pt x="1136" y="24865"/>
                            <a:pt x="1076" y="23609"/>
                          </a:cubicBezTo>
                          <a:cubicBezTo>
                            <a:pt x="1076" y="22353"/>
                            <a:pt x="1196" y="21037"/>
                            <a:pt x="1435" y="19721"/>
                          </a:cubicBezTo>
                          <a:cubicBezTo>
                            <a:pt x="1914" y="17030"/>
                            <a:pt x="2930" y="14458"/>
                            <a:pt x="4366" y="12186"/>
                          </a:cubicBezTo>
                          <a:cubicBezTo>
                            <a:pt x="5742" y="9913"/>
                            <a:pt x="7536" y="7880"/>
                            <a:pt x="9629" y="6205"/>
                          </a:cubicBezTo>
                          <a:cubicBezTo>
                            <a:pt x="11662" y="4530"/>
                            <a:pt x="13995" y="3215"/>
                            <a:pt x="16447" y="2377"/>
                          </a:cubicBezTo>
                          <a:cubicBezTo>
                            <a:pt x="18899" y="1540"/>
                            <a:pt x="21471" y="1181"/>
                            <a:pt x="24102" y="1361"/>
                          </a:cubicBezTo>
                          <a:cubicBezTo>
                            <a:pt x="24940" y="1420"/>
                            <a:pt x="25777" y="1540"/>
                            <a:pt x="26614" y="1719"/>
                          </a:cubicBezTo>
                          <a:cubicBezTo>
                            <a:pt x="27452" y="1899"/>
                            <a:pt x="28229" y="2138"/>
                            <a:pt x="28947" y="2377"/>
                          </a:cubicBezTo>
                          <a:cubicBezTo>
                            <a:pt x="29724" y="2676"/>
                            <a:pt x="30442" y="2975"/>
                            <a:pt x="31100" y="3394"/>
                          </a:cubicBezTo>
                          <a:cubicBezTo>
                            <a:pt x="31817" y="3753"/>
                            <a:pt x="32475" y="4172"/>
                            <a:pt x="33133" y="4650"/>
                          </a:cubicBezTo>
                          <a:moveTo>
                            <a:pt x="6938" y="38082"/>
                          </a:moveTo>
                          <a:cubicBezTo>
                            <a:pt x="7596" y="38621"/>
                            <a:pt x="8313" y="39039"/>
                            <a:pt x="9091" y="39458"/>
                          </a:cubicBezTo>
                          <a:cubicBezTo>
                            <a:pt x="9808" y="39876"/>
                            <a:pt x="10586" y="40175"/>
                            <a:pt x="11423" y="40475"/>
                          </a:cubicBezTo>
                          <a:cubicBezTo>
                            <a:pt x="12201" y="40774"/>
                            <a:pt x="13038" y="41013"/>
                            <a:pt x="13935" y="41132"/>
                          </a:cubicBezTo>
                          <a:cubicBezTo>
                            <a:pt x="14773" y="41312"/>
                            <a:pt x="15669" y="41431"/>
                            <a:pt x="16567" y="41431"/>
                          </a:cubicBezTo>
                          <a:cubicBezTo>
                            <a:pt x="17882" y="41491"/>
                            <a:pt x="19198" y="41431"/>
                            <a:pt x="20574" y="41252"/>
                          </a:cubicBezTo>
                          <a:cubicBezTo>
                            <a:pt x="21890" y="41073"/>
                            <a:pt x="23205" y="40774"/>
                            <a:pt x="24461" y="40295"/>
                          </a:cubicBezTo>
                          <a:cubicBezTo>
                            <a:pt x="25717" y="39876"/>
                            <a:pt x="26973" y="39278"/>
                            <a:pt x="28229" y="38621"/>
                          </a:cubicBezTo>
                          <a:cubicBezTo>
                            <a:pt x="29425" y="37962"/>
                            <a:pt x="30621" y="37125"/>
                            <a:pt x="31758" y="36228"/>
                          </a:cubicBezTo>
                          <a:cubicBezTo>
                            <a:pt x="32894" y="35331"/>
                            <a:pt x="33911" y="34314"/>
                            <a:pt x="34808" y="33238"/>
                          </a:cubicBezTo>
                          <a:cubicBezTo>
                            <a:pt x="35705" y="32161"/>
                            <a:pt x="36542" y="31025"/>
                            <a:pt x="37260" y="29829"/>
                          </a:cubicBezTo>
                          <a:cubicBezTo>
                            <a:pt x="37978" y="28633"/>
                            <a:pt x="38576" y="27377"/>
                            <a:pt x="39114" y="26061"/>
                          </a:cubicBezTo>
                          <a:cubicBezTo>
                            <a:pt x="39592" y="24745"/>
                            <a:pt x="40011" y="23429"/>
                            <a:pt x="40251" y="22054"/>
                          </a:cubicBezTo>
                          <a:cubicBezTo>
                            <a:pt x="40490" y="20678"/>
                            <a:pt x="40669" y="19303"/>
                            <a:pt x="40669" y="17987"/>
                          </a:cubicBezTo>
                          <a:cubicBezTo>
                            <a:pt x="40669" y="16671"/>
                            <a:pt x="40549" y="15356"/>
                            <a:pt x="40310" y="14099"/>
                          </a:cubicBezTo>
                          <a:cubicBezTo>
                            <a:pt x="40071" y="12844"/>
                            <a:pt x="39712" y="11588"/>
                            <a:pt x="39174" y="10451"/>
                          </a:cubicBezTo>
                          <a:cubicBezTo>
                            <a:pt x="38695" y="9255"/>
                            <a:pt x="38038" y="8179"/>
                            <a:pt x="37320" y="7102"/>
                          </a:cubicBezTo>
                          <a:cubicBezTo>
                            <a:pt x="37081" y="6803"/>
                            <a:pt x="36841" y="6444"/>
                            <a:pt x="36542" y="6145"/>
                          </a:cubicBezTo>
                          <a:cubicBezTo>
                            <a:pt x="36303" y="5846"/>
                            <a:pt x="36004" y="5547"/>
                            <a:pt x="35705" y="5248"/>
                          </a:cubicBezTo>
                          <a:cubicBezTo>
                            <a:pt x="35406" y="4949"/>
                            <a:pt x="35167" y="4710"/>
                            <a:pt x="34868" y="4411"/>
                          </a:cubicBezTo>
                          <a:cubicBezTo>
                            <a:pt x="34569" y="4172"/>
                            <a:pt x="34270" y="3873"/>
                            <a:pt x="33970" y="3633"/>
                          </a:cubicBezTo>
                          <a:cubicBezTo>
                            <a:pt x="33313" y="3095"/>
                            <a:pt x="32595" y="2617"/>
                            <a:pt x="31877" y="2198"/>
                          </a:cubicBezTo>
                          <a:cubicBezTo>
                            <a:pt x="31160" y="1779"/>
                            <a:pt x="30382" y="1420"/>
                            <a:pt x="29545" y="1121"/>
                          </a:cubicBezTo>
                          <a:cubicBezTo>
                            <a:pt x="28767" y="822"/>
                            <a:pt x="27930" y="583"/>
                            <a:pt x="27033" y="404"/>
                          </a:cubicBezTo>
                          <a:cubicBezTo>
                            <a:pt x="26196" y="224"/>
                            <a:pt x="25299" y="105"/>
                            <a:pt x="24342" y="45"/>
                          </a:cubicBezTo>
                          <a:cubicBezTo>
                            <a:pt x="21591" y="-135"/>
                            <a:pt x="18839" y="224"/>
                            <a:pt x="16268" y="1121"/>
                          </a:cubicBezTo>
                          <a:cubicBezTo>
                            <a:pt x="13696" y="2019"/>
                            <a:pt x="11244" y="3394"/>
                            <a:pt x="9031" y="5128"/>
                          </a:cubicBezTo>
                          <a:cubicBezTo>
                            <a:pt x="6878" y="6923"/>
                            <a:pt x="4964" y="9076"/>
                            <a:pt x="3469" y="11468"/>
                          </a:cubicBezTo>
                          <a:cubicBezTo>
                            <a:pt x="1974" y="13920"/>
                            <a:pt x="897" y="16612"/>
                            <a:pt x="359" y="19482"/>
                          </a:cubicBezTo>
                          <a:cubicBezTo>
                            <a:pt x="120" y="20858"/>
                            <a:pt x="0" y="22233"/>
                            <a:pt x="0" y="23609"/>
                          </a:cubicBezTo>
                          <a:cubicBezTo>
                            <a:pt x="0" y="24984"/>
                            <a:pt x="120" y="26300"/>
                            <a:pt x="419" y="27556"/>
                          </a:cubicBezTo>
                          <a:cubicBezTo>
                            <a:pt x="718" y="28812"/>
                            <a:pt x="1076" y="30068"/>
                            <a:pt x="1615" y="31204"/>
                          </a:cubicBezTo>
                          <a:cubicBezTo>
                            <a:pt x="2153" y="32341"/>
                            <a:pt x="2811" y="33477"/>
                            <a:pt x="3589" y="34494"/>
                          </a:cubicBezTo>
                          <a:cubicBezTo>
                            <a:pt x="3828" y="34853"/>
                            <a:pt x="4067" y="35152"/>
                            <a:pt x="4366" y="35451"/>
                          </a:cubicBezTo>
                          <a:cubicBezTo>
                            <a:pt x="4665" y="35750"/>
                            <a:pt x="4904" y="36049"/>
                            <a:pt x="5203" y="36348"/>
                          </a:cubicBezTo>
                          <a:cubicBezTo>
                            <a:pt x="5503" y="36647"/>
                            <a:pt x="5801" y="36886"/>
                            <a:pt x="6100" y="37185"/>
                          </a:cubicBezTo>
                          <a:cubicBezTo>
                            <a:pt x="6280" y="37544"/>
                            <a:pt x="6579" y="37843"/>
                            <a:pt x="6938" y="38082"/>
                          </a:cubicBezTo>
                        </a:path>
                      </a:pathLst>
                    </a:custGeom>
                    <a:noFill/>
                    <a:ln w="6350" cap="flat">
                      <a:solidFill>
                        <a:schemeClr val="bg1">
                          <a:alpha val="80000"/>
                        </a:schemeClr>
                      </a:solidFill>
                      <a:prstDash val="solid"/>
                      <a:miter/>
                    </a:ln>
                  </p:spPr>
                  <p:txBody>
                    <a:bodyPr rtlCol="0" anchor="ctr"/>
                    <a:lstStyle/>
                    <a:p>
                      <a:endParaRPr lang="en-GB"/>
                    </a:p>
                  </p:txBody>
                </p:sp>
                <p:sp>
                  <p:nvSpPr>
                    <p:cNvPr id="7465" name="Vrije vorm: vorm 7464">
                      <a:extLst>
                        <a:ext uri="{FF2B5EF4-FFF2-40B4-BE49-F238E27FC236}">
                          <a16:creationId xmlns:a16="http://schemas.microsoft.com/office/drawing/2014/main" id="{707AC782-34C2-41FC-AB1F-6F0271CFC0D5}"/>
                        </a:ext>
                      </a:extLst>
                    </p:cNvPr>
                    <p:cNvSpPr/>
                    <p:nvPr/>
                  </p:nvSpPr>
                  <p:spPr>
                    <a:xfrm>
                      <a:off x="4989016" y="5089310"/>
                      <a:ext cx="19715" cy="20191"/>
                    </a:xfrm>
                    <a:custGeom>
                      <a:avLst/>
                      <a:gdLst>
                        <a:gd name="connsiteX0" fmla="*/ 15672 w 19715"/>
                        <a:gd name="connsiteY0" fmla="*/ 2776 h 20191"/>
                        <a:gd name="connsiteX1" fmla="*/ 17108 w 19715"/>
                        <a:gd name="connsiteY1" fmla="*/ 4271 h 20191"/>
                        <a:gd name="connsiteX2" fmla="*/ 18064 w 19715"/>
                        <a:gd name="connsiteY2" fmla="*/ 6125 h 20191"/>
                        <a:gd name="connsiteX3" fmla="*/ 18543 w 19715"/>
                        <a:gd name="connsiteY3" fmla="*/ 8278 h 20191"/>
                        <a:gd name="connsiteX4" fmla="*/ 18423 w 19715"/>
                        <a:gd name="connsiteY4" fmla="*/ 10611 h 20191"/>
                        <a:gd name="connsiteX5" fmla="*/ 17108 w 19715"/>
                        <a:gd name="connsiteY5" fmla="*/ 14020 h 20191"/>
                        <a:gd name="connsiteX6" fmla="*/ 14715 w 19715"/>
                        <a:gd name="connsiteY6" fmla="*/ 16711 h 20191"/>
                        <a:gd name="connsiteX7" fmla="*/ 11665 w 19715"/>
                        <a:gd name="connsiteY7" fmla="*/ 18446 h 20191"/>
                        <a:gd name="connsiteX8" fmla="*/ 8196 w 19715"/>
                        <a:gd name="connsiteY8" fmla="*/ 18924 h 20191"/>
                        <a:gd name="connsiteX9" fmla="*/ 7060 w 19715"/>
                        <a:gd name="connsiteY9" fmla="*/ 18804 h 20191"/>
                        <a:gd name="connsiteX10" fmla="*/ 5983 w 19715"/>
                        <a:gd name="connsiteY10" fmla="*/ 18505 h 20191"/>
                        <a:gd name="connsiteX11" fmla="*/ 4967 w 19715"/>
                        <a:gd name="connsiteY11" fmla="*/ 18027 h 20191"/>
                        <a:gd name="connsiteX12" fmla="*/ 4069 w 19715"/>
                        <a:gd name="connsiteY12" fmla="*/ 17429 h 20191"/>
                        <a:gd name="connsiteX13" fmla="*/ 2634 w 19715"/>
                        <a:gd name="connsiteY13" fmla="*/ 15933 h 20191"/>
                        <a:gd name="connsiteX14" fmla="*/ 1617 w 19715"/>
                        <a:gd name="connsiteY14" fmla="*/ 14079 h 20191"/>
                        <a:gd name="connsiteX15" fmla="*/ 1139 w 19715"/>
                        <a:gd name="connsiteY15" fmla="*/ 11926 h 20191"/>
                        <a:gd name="connsiteX16" fmla="*/ 1259 w 19715"/>
                        <a:gd name="connsiteY16" fmla="*/ 9534 h 20191"/>
                        <a:gd name="connsiteX17" fmla="*/ 1737 w 19715"/>
                        <a:gd name="connsiteY17" fmla="*/ 7800 h 20191"/>
                        <a:gd name="connsiteX18" fmla="*/ 2515 w 19715"/>
                        <a:gd name="connsiteY18" fmla="*/ 6185 h 20191"/>
                        <a:gd name="connsiteX19" fmla="*/ 3591 w 19715"/>
                        <a:gd name="connsiteY19" fmla="*/ 4690 h 20191"/>
                        <a:gd name="connsiteX20" fmla="*/ 4907 w 19715"/>
                        <a:gd name="connsiteY20" fmla="*/ 3374 h 20191"/>
                        <a:gd name="connsiteX21" fmla="*/ 6402 w 19715"/>
                        <a:gd name="connsiteY21" fmla="*/ 2357 h 20191"/>
                        <a:gd name="connsiteX22" fmla="*/ 8017 w 19715"/>
                        <a:gd name="connsiteY22" fmla="*/ 1640 h 20191"/>
                        <a:gd name="connsiteX23" fmla="*/ 9691 w 19715"/>
                        <a:gd name="connsiteY23" fmla="*/ 1221 h 20191"/>
                        <a:gd name="connsiteX24" fmla="*/ 11366 w 19715"/>
                        <a:gd name="connsiteY24" fmla="*/ 1161 h 20191"/>
                        <a:gd name="connsiteX25" fmla="*/ 12502 w 19715"/>
                        <a:gd name="connsiteY25" fmla="*/ 1341 h 20191"/>
                        <a:gd name="connsiteX26" fmla="*/ 13579 w 19715"/>
                        <a:gd name="connsiteY26" fmla="*/ 1640 h 20191"/>
                        <a:gd name="connsiteX27" fmla="*/ 14595 w 19715"/>
                        <a:gd name="connsiteY27" fmla="*/ 2118 h 20191"/>
                        <a:gd name="connsiteX28" fmla="*/ 15672 w 19715"/>
                        <a:gd name="connsiteY28" fmla="*/ 2776 h 20191"/>
                        <a:gd name="connsiteX29" fmla="*/ 3352 w 19715"/>
                        <a:gd name="connsiteY29" fmla="*/ 18446 h 20191"/>
                        <a:gd name="connsiteX30" fmla="*/ 4369 w 19715"/>
                        <a:gd name="connsiteY30" fmla="*/ 19103 h 20191"/>
                        <a:gd name="connsiteX31" fmla="*/ 5505 w 19715"/>
                        <a:gd name="connsiteY31" fmla="*/ 19642 h 20191"/>
                        <a:gd name="connsiteX32" fmla="*/ 6701 w 19715"/>
                        <a:gd name="connsiteY32" fmla="*/ 20001 h 20191"/>
                        <a:gd name="connsiteX33" fmla="*/ 8017 w 19715"/>
                        <a:gd name="connsiteY33" fmla="*/ 20180 h 20191"/>
                        <a:gd name="connsiteX34" fmla="*/ 11904 w 19715"/>
                        <a:gd name="connsiteY34" fmla="*/ 19642 h 20191"/>
                        <a:gd name="connsiteX35" fmla="*/ 15373 w 19715"/>
                        <a:gd name="connsiteY35" fmla="*/ 17668 h 20191"/>
                        <a:gd name="connsiteX36" fmla="*/ 18064 w 19715"/>
                        <a:gd name="connsiteY36" fmla="*/ 14618 h 20191"/>
                        <a:gd name="connsiteX37" fmla="*/ 19560 w 19715"/>
                        <a:gd name="connsiteY37" fmla="*/ 10790 h 20191"/>
                        <a:gd name="connsiteX38" fmla="*/ 19679 w 19715"/>
                        <a:gd name="connsiteY38" fmla="*/ 8099 h 20191"/>
                        <a:gd name="connsiteX39" fmla="*/ 19141 w 19715"/>
                        <a:gd name="connsiteY39" fmla="*/ 5647 h 20191"/>
                        <a:gd name="connsiteX40" fmla="*/ 18064 w 19715"/>
                        <a:gd name="connsiteY40" fmla="*/ 3494 h 20191"/>
                        <a:gd name="connsiteX41" fmla="*/ 16449 w 19715"/>
                        <a:gd name="connsiteY41" fmla="*/ 1759 h 20191"/>
                        <a:gd name="connsiteX42" fmla="*/ 15433 w 19715"/>
                        <a:gd name="connsiteY42" fmla="*/ 1101 h 20191"/>
                        <a:gd name="connsiteX43" fmla="*/ 14296 w 19715"/>
                        <a:gd name="connsiteY43" fmla="*/ 563 h 20191"/>
                        <a:gd name="connsiteX44" fmla="*/ 13100 w 19715"/>
                        <a:gd name="connsiteY44" fmla="*/ 204 h 20191"/>
                        <a:gd name="connsiteX45" fmla="*/ 11785 w 19715"/>
                        <a:gd name="connsiteY45" fmla="*/ 25 h 20191"/>
                        <a:gd name="connsiteX46" fmla="*/ 9871 w 19715"/>
                        <a:gd name="connsiteY46" fmla="*/ 85 h 20191"/>
                        <a:gd name="connsiteX47" fmla="*/ 7957 w 19715"/>
                        <a:gd name="connsiteY47" fmla="*/ 503 h 20191"/>
                        <a:gd name="connsiteX48" fmla="*/ 6103 w 19715"/>
                        <a:gd name="connsiteY48" fmla="*/ 1341 h 20191"/>
                        <a:gd name="connsiteX49" fmla="*/ 4369 w 19715"/>
                        <a:gd name="connsiteY49" fmla="*/ 2477 h 20191"/>
                        <a:gd name="connsiteX50" fmla="*/ 2873 w 19715"/>
                        <a:gd name="connsiteY50" fmla="*/ 3972 h 20191"/>
                        <a:gd name="connsiteX51" fmla="*/ 1677 w 19715"/>
                        <a:gd name="connsiteY51" fmla="*/ 5647 h 20191"/>
                        <a:gd name="connsiteX52" fmla="*/ 780 w 19715"/>
                        <a:gd name="connsiteY52" fmla="*/ 7501 h 20191"/>
                        <a:gd name="connsiteX53" fmla="*/ 182 w 19715"/>
                        <a:gd name="connsiteY53" fmla="*/ 9474 h 20191"/>
                        <a:gd name="connsiteX54" fmla="*/ 62 w 19715"/>
                        <a:gd name="connsiteY54" fmla="*/ 12166 h 20191"/>
                        <a:gd name="connsiteX55" fmla="*/ 601 w 19715"/>
                        <a:gd name="connsiteY55" fmla="*/ 14618 h 20191"/>
                        <a:gd name="connsiteX56" fmla="*/ 1737 w 19715"/>
                        <a:gd name="connsiteY56" fmla="*/ 16711 h 20191"/>
                        <a:gd name="connsiteX57" fmla="*/ 3352 w 19715"/>
                        <a:gd name="connsiteY57" fmla="*/ 18446 h 20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9715" h="20191">
                          <a:moveTo>
                            <a:pt x="15672" y="2776"/>
                          </a:moveTo>
                          <a:cubicBezTo>
                            <a:pt x="16210" y="3195"/>
                            <a:pt x="16689" y="3733"/>
                            <a:pt x="17108" y="4271"/>
                          </a:cubicBezTo>
                          <a:cubicBezTo>
                            <a:pt x="17526" y="4869"/>
                            <a:pt x="17825" y="5467"/>
                            <a:pt x="18064" y="6125"/>
                          </a:cubicBezTo>
                          <a:cubicBezTo>
                            <a:pt x="18303" y="6783"/>
                            <a:pt x="18483" y="7561"/>
                            <a:pt x="18543" y="8278"/>
                          </a:cubicBezTo>
                          <a:cubicBezTo>
                            <a:pt x="18603" y="8996"/>
                            <a:pt x="18543" y="9833"/>
                            <a:pt x="18423" y="10611"/>
                          </a:cubicBezTo>
                          <a:cubicBezTo>
                            <a:pt x="18184" y="11807"/>
                            <a:pt x="17705" y="13003"/>
                            <a:pt x="17108" y="14020"/>
                          </a:cubicBezTo>
                          <a:cubicBezTo>
                            <a:pt x="16449" y="15036"/>
                            <a:pt x="15672" y="15993"/>
                            <a:pt x="14715" y="16711"/>
                          </a:cubicBezTo>
                          <a:cubicBezTo>
                            <a:pt x="13818" y="17488"/>
                            <a:pt x="12741" y="18027"/>
                            <a:pt x="11665" y="18446"/>
                          </a:cubicBezTo>
                          <a:cubicBezTo>
                            <a:pt x="10588" y="18804"/>
                            <a:pt x="9392" y="18984"/>
                            <a:pt x="8196" y="18924"/>
                          </a:cubicBezTo>
                          <a:cubicBezTo>
                            <a:pt x="7778" y="18924"/>
                            <a:pt x="7418" y="18864"/>
                            <a:pt x="7060" y="18804"/>
                          </a:cubicBezTo>
                          <a:cubicBezTo>
                            <a:pt x="6701" y="18744"/>
                            <a:pt x="6342" y="18625"/>
                            <a:pt x="5983" y="18505"/>
                          </a:cubicBezTo>
                          <a:cubicBezTo>
                            <a:pt x="5624" y="18386"/>
                            <a:pt x="5325" y="18206"/>
                            <a:pt x="4967" y="18027"/>
                          </a:cubicBezTo>
                          <a:cubicBezTo>
                            <a:pt x="4668" y="17847"/>
                            <a:pt x="4369" y="17668"/>
                            <a:pt x="4069" y="17429"/>
                          </a:cubicBezTo>
                          <a:cubicBezTo>
                            <a:pt x="3531" y="17010"/>
                            <a:pt x="2993" y="16472"/>
                            <a:pt x="2634" y="15933"/>
                          </a:cubicBezTo>
                          <a:cubicBezTo>
                            <a:pt x="2215" y="15395"/>
                            <a:pt x="1916" y="14738"/>
                            <a:pt x="1617" y="14079"/>
                          </a:cubicBezTo>
                          <a:cubicBezTo>
                            <a:pt x="1378" y="13422"/>
                            <a:pt x="1199" y="12644"/>
                            <a:pt x="1139" y="11926"/>
                          </a:cubicBezTo>
                          <a:cubicBezTo>
                            <a:pt x="1079" y="11149"/>
                            <a:pt x="1139" y="10371"/>
                            <a:pt x="1259" y="9534"/>
                          </a:cubicBezTo>
                          <a:cubicBezTo>
                            <a:pt x="1378" y="8936"/>
                            <a:pt x="1557" y="8338"/>
                            <a:pt x="1737" y="7800"/>
                          </a:cubicBezTo>
                          <a:cubicBezTo>
                            <a:pt x="1916" y="7262"/>
                            <a:pt x="2215" y="6663"/>
                            <a:pt x="2515" y="6185"/>
                          </a:cubicBezTo>
                          <a:cubicBezTo>
                            <a:pt x="2814" y="5647"/>
                            <a:pt x="3172" y="5168"/>
                            <a:pt x="3591" y="4690"/>
                          </a:cubicBezTo>
                          <a:cubicBezTo>
                            <a:pt x="4010" y="4211"/>
                            <a:pt x="4428" y="3793"/>
                            <a:pt x="4907" y="3374"/>
                          </a:cubicBezTo>
                          <a:cubicBezTo>
                            <a:pt x="5385" y="2955"/>
                            <a:pt x="5923" y="2656"/>
                            <a:pt x="6402" y="2357"/>
                          </a:cubicBezTo>
                          <a:cubicBezTo>
                            <a:pt x="6880" y="2058"/>
                            <a:pt x="7478" y="1819"/>
                            <a:pt x="8017" y="1640"/>
                          </a:cubicBezTo>
                          <a:cubicBezTo>
                            <a:pt x="8555" y="1460"/>
                            <a:pt x="9153" y="1341"/>
                            <a:pt x="9691" y="1221"/>
                          </a:cubicBezTo>
                          <a:cubicBezTo>
                            <a:pt x="10230" y="1101"/>
                            <a:pt x="10828" y="1101"/>
                            <a:pt x="11366" y="1161"/>
                          </a:cubicBezTo>
                          <a:cubicBezTo>
                            <a:pt x="11785" y="1161"/>
                            <a:pt x="12143" y="1221"/>
                            <a:pt x="12502" y="1341"/>
                          </a:cubicBezTo>
                          <a:cubicBezTo>
                            <a:pt x="12861" y="1400"/>
                            <a:pt x="13220" y="1520"/>
                            <a:pt x="13579" y="1640"/>
                          </a:cubicBezTo>
                          <a:cubicBezTo>
                            <a:pt x="13938" y="1759"/>
                            <a:pt x="14237" y="1939"/>
                            <a:pt x="14595" y="2118"/>
                          </a:cubicBezTo>
                          <a:cubicBezTo>
                            <a:pt x="15134" y="2357"/>
                            <a:pt x="15433" y="2537"/>
                            <a:pt x="15672" y="2776"/>
                          </a:cubicBezTo>
                          <a:moveTo>
                            <a:pt x="3352" y="18446"/>
                          </a:moveTo>
                          <a:cubicBezTo>
                            <a:pt x="3651" y="18685"/>
                            <a:pt x="4010" y="18924"/>
                            <a:pt x="4369" y="19103"/>
                          </a:cubicBezTo>
                          <a:cubicBezTo>
                            <a:pt x="4727" y="19283"/>
                            <a:pt x="5086" y="19462"/>
                            <a:pt x="5505" y="19642"/>
                          </a:cubicBezTo>
                          <a:cubicBezTo>
                            <a:pt x="5923" y="19761"/>
                            <a:pt x="6282" y="19881"/>
                            <a:pt x="6701" y="20001"/>
                          </a:cubicBezTo>
                          <a:cubicBezTo>
                            <a:pt x="7120" y="20060"/>
                            <a:pt x="7538" y="20120"/>
                            <a:pt x="8017" y="20180"/>
                          </a:cubicBezTo>
                          <a:cubicBezTo>
                            <a:pt x="9332" y="20240"/>
                            <a:pt x="10648" y="20060"/>
                            <a:pt x="11904" y="19642"/>
                          </a:cubicBezTo>
                          <a:cubicBezTo>
                            <a:pt x="13160" y="19223"/>
                            <a:pt x="14356" y="18565"/>
                            <a:pt x="15373" y="17668"/>
                          </a:cubicBezTo>
                          <a:cubicBezTo>
                            <a:pt x="16390" y="16831"/>
                            <a:pt x="17347" y="15754"/>
                            <a:pt x="18064" y="14618"/>
                          </a:cubicBezTo>
                          <a:cubicBezTo>
                            <a:pt x="18782" y="13422"/>
                            <a:pt x="19320" y="12166"/>
                            <a:pt x="19560" y="10790"/>
                          </a:cubicBezTo>
                          <a:cubicBezTo>
                            <a:pt x="19739" y="9893"/>
                            <a:pt x="19739" y="8996"/>
                            <a:pt x="19679" y="8099"/>
                          </a:cubicBezTo>
                          <a:cubicBezTo>
                            <a:pt x="19619" y="7262"/>
                            <a:pt x="19440" y="6424"/>
                            <a:pt x="19141" y="5647"/>
                          </a:cubicBezTo>
                          <a:cubicBezTo>
                            <a:pt x="18842" y="4869"/>
                            <a:pt x="18483" y="4152"/>
                            <a:pt x="18064" y="3494"/>
                          </a:cubicBezTo>
                          <a:cubicBezTo>
                            <a:pt x="17586" y="2836"/>
                            <a:pt x="17048" y="2298"/>
                            <a:pt x="16449" y="1759"/>
                          </a:cubicBezTo>
                          <a:cubicBezTo>
                            <a:pt x="16150" y="1520"/>
                            <a:pt x="15792" y="1281"/>
                            <a:pt x="15433" y="1101"/>
                          </a:cubicBezTo>
                          <a:cubicBezTo>
                            <a:pt x="15074" y="922"/>
                            <a:pt x="14715" y="742"/>
                            <a:pt x="14296" y="563"/>
                          </a:cubicBezTo>
                          <a:cubicBezTo>
                            <a:pt x="13878" y="384"/>
                            <a:pt x="13519" y="324"/>
                            <a:pt x="13100" y="204"/>
                          </a:cubicBezTo>
                          <a:cubicBezTo>
                            <a:pt x="12682" y="145"/>
                            <a:pt x="12263" y="85"/>
                            <a:pt x="11785" y="25"/>
                          </a:cubicBezTo>
                          <a:cubicBezTo>
                            <a:pt x="11127" y="-35"/>
                            <a:pt x="10469" y="25"/>
                            <a:pt x="9871" y="85"/>
                          </a:cubicBezTo>
                          <a:cubicBezTo>
                            <a:pt x="9213" y="145"/>
                            <a:pt x="8555" y="324"/>
                            <a:pt x="7957" y="503"/>
                          </a:cubicBezTo>
                          <a:cubicBezTo>
                            <a:pt x="7359" y="683"/>
                            <a:pt x="6701" y="982"/>
                            <a:pt x="6103" y="1341"/>
                          </a:cubicBezTo>
                          <a:cubicBezTo>
                            <a:pt x="5505" y="1700"/>
                            <a:pt x="4907" y="2058"/>
                            <a:pt x="4369" y="2477"/>
                          </a:cubicBezTo>
                          <a:cubicBezTo>
                            <a:pt x="3830" y="2955"/>
                            <a:pt x="3292" y="3434"/>
                            <a:pt x="2873" y="3972"/>
                          </a:cubicBezTo>
                          <a:cubicBezTo>
                            <a:pt x="2455" y="4510"/>
                            <a:pt x="2036" y="5049"/>
                            <a:pt x="1677" y="5647"/>
                          </a:cubicBezTo>
                          <a:cubicBezTo>
                            <a:pt x="1318" y="6245"/>
                            <a:pt x="1019" y="6843"/>
                            <a:pt x="780" y="7501"/>
                          </a:cubicBezTo>
                          <a:cubicBezTo>
                            <a:pt x="541" y="8158"/>
                            <a:pt x="361" y="8817"/>
                            <a:pt x="182" y="9474"/>
                          </a:cubicBezTo>
                          <a:cubicBezTo>
                            <a:pt x="2" y="10371"/>
                            <a:pt x="-57" y="11269"/>
                            <a:pt x="62" y="12166"/>
                          </a:cubicBezTo>
                          <a:cubicBezTo>
                            <a:pt x="122" y="13003"/>
                            <a:pt x="302" y="13840"/>
                            <a:pt x="601" y="14618"/>
                          </a:cubicBezTo>
                          <a:cubicBezTo>
                            <a:pt x="900" y="15395"/>
                            <a:pt x="1259" y="16113"/>
                            <a:pt x="1737" y="16711"/>
                          </a:cubicBezTo>
                          <a:cubicBezTo>
                            <a:pt x="2156" y="17429"/>
                            <a:pt x="2694" y="17967"/>
                            <a:pt x="3352" y="18446"/>
                          </a:cubicBezTo>
                        </a:path>
                      </a:pathLst>
                    </a:custGeom>
                    <a:noFill/>
                    <a:ln w="6350" cap="flat">
                      <a:solidFill>
                        <a:schemeClr val="bg1">
                          <a:alpha val="80000"/>
                        </a:schemeClr>
                      </a:solidFill>
                      <a:prstDash val="solid"/>
                      <a:miter/>
                    </a:ln>
                  </p:spPr>
                  <p:txBody>
                    <a:bodyPr rtlCol="0" anchor="ctr"/>
                    <a:lstStyle/>
                    <a:p>
                      <a:endParaRPr lang="en-GB"/>
                    </a:p>
                  </p:txBody>
                </p:sp>
                <p:sp>
                  <p:nvSpPr>
                    <p:cNvPr id="7466" name="Vrije vorm: vorm 7465">
                      <a:extLst>
                        <a:ext uri="{FF2B5EF4-FFF2-40B4-BE49-F238E27FC236}">
                          <a16:creationId xmlns:a16="http://schemas.microsoft.com/office/drawing/2014/main" id="{25118F3C-73F4-4ACC-860E-F4F0FCDB3458}"/>
                        </a:ext>
                      </a:extLst>
                    </p:cNvPr>
                    <p:cNvSpPr/>
                    <p:nvPr/>
                  </p:nvSpPr>
                  <p:spPr>
                    <a:xfrm>
                      <a:off x="4992487" y="5092849"/>
                      <a:ext cx="12738" cy="13112"/>
                    </a:xfrm>
                    <a:custGeom>
                      <a:avLst/>
                      <a:gdLst>
                        <a:gd name="connsiteX0" fmla="*/ 9928 w 12738"/>
                        <a:gd name="connsiteY0" fmla="*/ 2168 h 13112"/>
                        <a:gd name="connsiteX1" fmla="*/ 10167 w 12738"/>
                        <a:gd name="connsiteY1" fmla="*/ 2347 h 13112"/>
                        <a:gd name="connsiteX2" fmla="*/ 10406 w 12738"/>
                        <a:gd name="connsiteY2" fmla="*/ 2527 h 13112"/>
                        <a:gd name="connsiteX3" fmla="*/ 10586 w 12738"/>
                        <a:gd name="connsiteY3" fmla="*/ 2766 h 13112"/>
                        <a:gd name="connsiteX4" fmla="*/ 10765 w 12738"/>
                        <a:gd name="connsiteY4" fmla="*/ 3005 h 13112"/>
                        <a:gd name="connsiteX5" fmla="*/ 11244 w 12738"/>
                        <a:gd name="connsiteY5" fmla="*/ 3842 h 13112"/>
                        <a:gd name="connsiteX6" fmla="*/ 11543 w 12738"/>
                        <a:gd name="connsiteY6" fmla="*/ 4799 h 13112"/>
                        <a:gd name="connsiteX7" fmla="*/ 11603 w 12738"/>
                        <a:gd name="connsiteY7" fmla="*/ 5816 h 13112"/>
                        <a:gd name="connsiteX8" fmla="*/ 11483 w 12738"/>
                        <a:gd name="connsiteY8" fmla="*/ 6893 h 13112"/>
                        <a:gd name="connsiteX9" fmla="*/ 11184 w 12738"/>
                        <a:gd name="connsiteY9" fmla="*/ 7909 h 13112"/>
                        <a:gd name="connsiteX10" fmla="*/ 10705 w 12738"/>
                        <a:gd name="connsiteY10" fmla="*/ 8866 h 13112"/>
                        <a:gd name="connsiteX11" fmla="*/ 10048 w 12738"/>
                        <a:gd name="connsiteY11" fmla="*/ 9764 h 13112"/>
                        <a:gd name="connsiteX12" fmla="*/ 9270 w 12738"/>
                        <a:gd name="connsiteY12" fmla="*/ 10481 h 13112"/>
                        <a:gd name="connsiteX13" fmla="*/ 8373 w 12738"/>
                        <a:gd name="connsiteY13" fmla="*/ 11079 h 13112"/>
                        <a:gd name="connsiteX14" fmla="*/ 7416 w 12738"/>
                        <a:gd name="connsiteY14" fmla="*/ 11498 h 13112"/>
                        <a:gd name="connsiteX15" fmla="*/ 6399 w 12738"/>
                        <a:gd name="connsiteY15" fmla="*/ 11737 h 13112"/>
                        <a:gd name="connsiteX16" fmla="*/ 5383 w 12738"/>
                        <a:gd name="connsiteY16" fmla="*/ 11797 h 13112"/>
                        <a:gd name="connsiteX17" fmla="*/ 4725 w 12738"/>
                        <a:gd name="connsiteY17" fmla="*/ 11677 h 13112"/>
                        <a:gd name="connsiteX18" fmla="*/ 4067 w 12738"/>
                        <a:gd name="connsiteY18" fmla="*/ 11498 h 13112"/>
                        <a:gd name="connsiteX19" fmla="*/ 3469 w 12738"/>
                        <a:gd name="connsiteY19" fmla="*/ 11259 h 13112"/>
                        <a:gd name="connsiteX20" fmla="*/ 2930 w 12738"/>
                        <a:gd name="connsiteY20" fmla="*/ 10900 h 13112"/>
                        <a:gd name="connsiteX21" fmla="*/ 2691 w 12738"/>
                        <a:gd name="connsiteY21" fmla="*/ 10720 h 13112"/>
                        <a:gd name="connsiteX22" fmla="*/ 2452 w 12738"/>
                        <a:gd name="connsiteY22" fmla="*/ 10481 h 13112"/>
                        <a:gd name="connsiteX23" fmla="*/ 2213 w 12738"/>
                        <a:gd name="connsiteY23" fmla="*/ 10242 h 13112"/>
                        <a:gd name="connsiteX24" fmla="*/ 2034 w 12738"/>
                        <a:gd name="connsiteY24" fmla="*/ 10003 h 13112"/>
                        <a:gd name="connsiteX25" fmla="*/ 1555 w 12738"/>
                        <a:gd name="connsiteY25" fmla="*/ 9165 h 13112"/>
                        <a:gd name="connsiteX26" fmla="*/ 1256 w 12738"/>
                        <a:gd name="connsiteY26" fmla="*/ 8209 h 13112"/>
                        <a:gd name="connsiteX27" fmla="*/ 1136 w 12738"/>
                        <a:gd name="connsiteY27" fmla="*/ 7192 h 13112"/>
                        <a:gd name="connsiteX28" fmla="*/ 1256 w 12738"/>
                        <a:gd name="connsiteY28" fmla="*/ 6115 h 13112"/>
                        <a:gd name="connsiteX29" fmla="*/ 2034 w 12738"/>
                        <a:gd name="connsiteY29" fmla="*/ 4082 h 13112"/>
                        <a:gd name="connsiteX30" fmla="*/ 3469 w 12738"/>
                        <a:gd name="connsiteY30" fmla="*/ 2467 h 13112"/>
                        <a:gd name="connsiteX31" fmla="*/ 5323 w 12738"/>
                        <a:gd name="connsiteY31" fmla="*/ 1450 h 13112"/>
                        <a:gd name="connsiteX32" fmla="*/ 7416 w 12738"/>
                        <a:gd name="connsiteY32" fmla="*/ 1151 h 13112"/>
                        <a:gd name="connsiteX33" fmla="*/ 8134 w 12738"/>
                        <a:gd name="connsiteY33" fmla="*/ 1211 h 13112"/>
                        <a:gd name="connsiteX34" fmla="*/ 8792 w 12738"/>
                        <a:gd name="connsiteY34" fmla="*/ 1390 h 13112"/>
                        <a:gd name="connsiteX35" fmla="*/ 9390 w 12738"/>
                        <a:gd name="connsiteY35" fmla="*/ 1689 h 13112"/>
                        <a:gd name="connsiteX36" fmla="*/ 9928 w 12738"/>
                        <a:gd name="connsiteY36" fmla="*/ 2168 h 13112"/>
                        <a:gd name="connsiteX37" fmla="*/ 2153 w 12738"/>
                        <a:gd name="connsiteY37" fmla="*/ 11976 h 13112"/>
                        <a:gd name="connsiteX38" fmla="*/ 2811 w 12738"/>
                        <a:gd name="connsiteY38" fmla="*/ 12395 h 13112"/>
                        <a:gd name="connsiteX39" fmla="*/ 3529 w 12738"/>
                        <a:gd name="connsiteY39" fmla="*/ 12754 h 13112"/>
                        <a:gd name="connsiteX40" fmla="*/ 4306 w 12738"/>
                        <a:gd name="connsiteY40" fmla="*/ 12993 h 13112"/>
                        <a:gd name="connsiteX41" fmla="*/ 5143 w 12738"/>
                        <a:gd name="connsiteY41" fmla="*/ 13113 h 13112"/>
                        <a:gd name="connsiteX42" fmla="*/ 6399 w 12738"/>
                        <a:gd name="connsiteY42" fmla="*/ 13053 h 13112"/>
                        <a:gd name="connsiteX43" fmla="*/ 7656 w 12738"/>
                        <a:gd name="connsiteY43" fmla="*/ 12754 h 13112"/>
                        <a:gd name="connsiteX44" fmla="*/ 8851 w 12738"/>
                        <a:gd name="connsiteY44" fmla="*/ 12216 h 13112"/>
                        <a:gd name="connsiteX45" fmla="*/ 9928 w 12738"/>
                        <a:gd name="connsiteY45" fmla="*/ 11438 h 13112"/>
                        <a:gd name="connsiteX46" fmla="*/ 10885 w 12738"/>
                        <a:gd name="connsiteY46" fmla="*/ 10481 h 13112"/>
                        <a:gd name="connsiteX47" fmla="*/ 11662 w 12738"/>
                        <a:gd name="connsiteY47" fmla="*/ 9404 h 13112"/>
                        <a:gd name="connsiteX48" fmla="*/ 12260 w 12738"/>
                        <a:gd name="connsiteY48" fmla="*/ 8209 h 13112"/>
                        <a:gd name="connsiteX49" fmla="*/ 12619 w 12738"/>
                        <a:gd name="connsiteY49" fmla="*/ 6952 h 13112"/>
                        <a:gd name="connsiteX50" fmla="*/ 12739 w 12738"/>
                        <a:gd name="connsiteY50" fmla="*/ 5637 h 13112"/>
                        <a:gd name="connsiteX51" fmla="*/ 12619 w 12738"/>
                        <a:gd name="connsiteY51" fmla="*/ 4381 h 13112"/>
                        <a:gd name="connsiteX52" fmla="*/ 12260 w 12738"/>
                        <a:gd name="connsiteY52" fmla="*/ 3244 h 13112"/>
                        <a:gd name="connsiteX53" fmla="*/ 11662 w 12738"/>
                        <a:gd name="connsiteY53" fmla="*/ 2168 h 13112"/>
                        <a:gd name="connsiteX54" fmla="*/ 11423 w 12738"/>
                        <a:gd name="connsiteY54" fmla="*/ 1869 h 13112"/>
                        <a:gd name="connsiteX55" fmla="*/ 11184 w 12738"/>
                        <a:gd name="connsiteY55" fmla="*/ 1630 h 13112"/>
                        <a:gd name="connsiteX56" fmla="*/ 10885 w 12738"/>
                        <a:gd name="connsiteY56" fmla="*/ 1390 h 13112"/>
                        <a:gd name="connsiteX57" fmla="*/ 10586 w 12738"/>
                        <a:gd name="connsiteY57" fmla="*/ 1151 h 13112"/>
                        <a:gd name="connsiteX58" fmla="*/ 9928 w 12738"/>
                        <a:gd name="connsiteY58" fmla="*/ 733 h 13112"/>
                        <a:gd name="connsiteX59" fmla="*/ 9210 w 12738"/>
                        <a:gd name="connsiteY59" fmla="*/ 374 h 13112"/>
                        <a:gd name="connsiteX60" fmla="*/ 8433 w 12738"/>
                        <a:gd name="connsiteY60" fmla="*/ 134 h 13112"/>
                        <a:gd name="connsiteX61" fmla="*/ 7596 w 12738"/>
                        <a:gd name="connsiteY61" fmla="*/ 15 h 13112"/>
                        <a:gd name="connsiteX62" fmla="*/ 5083 w 12738"/>
                        <a:gd name="connsiteY62" fmla="*/ 374 h 13112"/>
                        <a:gd name="connsiteX63" fmla="*/ 2811 w 12738"/>
                        <a:gd name="connsiteY63" fmla="*/ 1630 h 13112"/>
                        <a:gd name="connsiteX64" fmla="*/ 1076 w 12738"/>
                        <a:gd name="connsiteY64" fmla="*/ 3603 h 13112"/>
                        <a:gd name="connsiteX65" fmla="*/ 120 w 12738"/>
                        <a:gd name="connsiteY65" fmla="*/ 6115 h 13112"/>
                        <a:gd name="connsiteX66" fmla="*/ 0 w 12738"/>
                        <a:gd name="connsiteY66" fmla="*/ 7371 h 13112"/>
                        <a:gd name="connsiteX67" fmla="*/ 120 w 12738"/>
                        <a:gd name="connsiteY67" fmla="*/ 8627 h 13112"/>
                        <a:gd name="connsiteX68" fmla="*/ 479 w 12738"/>
                        <a:gd name="connsiteY68" fmla="*/ 9764 h 13112"/>
                        <a:gd name="connsiteX69" fmla="*/ 1076 w 12738"/>
                        <a:gd name="connsiteY69" fmla="*/ 10840 h 13112"/>
                        <a:gd name="connsiteX70" fmla="*/ 1316 w 12738"/>
                        <a:gd name="connsiteY70" fmla="*/ 11139 h 13112"/>
                        <a:gd name="connsiteX71" fmla="*/ 1555 w 12738"/>
                        <a:gd name="connsiteY71" fmla="*/ 11438 h 13112"/>
                        <a:gd name="connsiteX72" fmla="*/ 1854 w 12738"/>
                        <a:gd name="connsiteY72" fmla="*/ 11677 h 13112"/>
                        <a:gd name="connsiteX73" fmla="*/ 2153 w 12738"/>
                        <a:gd name="connsiteY73" fmla="*/ 11976 h 13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738" h="13112">
                          <a:moveTo>
                            <a:pt x="9928" y="2168"/>
                          </a:moveTo>
                          <a:cubicBezTo>
                            <a:pt x="9988" y="2228"/>
                            <a:pt x="10107" y="2288"/>
                            <a:pt x="10167" y="2347"/>
                          </a:cubicBezTo>
                          <a:cubicBezTo>
                            <a:pt x="10227" y="2407"/>
                            <a:pt x="10287" y="2467"/>
                            <a:pt x="10406" y="2527"/>
                          </a:cubicBezTo>
                          <a:cubicBezTo>
                            <a:pt x="10466" y="2587"/>
                            <a:pt x="10526" y="2647"/>
                            <a:pt x="10586" y="2766"/>
                          </a:cubicBezTo>
                          <a:cubicBezTo>
                            <a:pt x="10646" y="2826"/>
                            <a:pt x="10705" y="2945"/>
                            <a:pt x="10765" y="3005"/>
                          </a:cubicBezTo>
                          <a:cubicBezTo>
                            <a:pt x="10945" y="3244"/>
                            <a:pt x="11124" y="3543"/>
                            <a:pt x="11244" y="3842"/>
                          </a:cubicBezTo>
                          <a:cubicBezTo>
                            <a:pt x="11364" y="4142"/>
                            <a:pt x="11483" y="4441"/>
                            <a:pt x="11543" y="4799"/>
                          </a:cubicBezTo>
                          <a:cubicBezTo>
                            <a:pt x="11603" y="5098"/>
                            <a:pt x="11662" y="5457"/>
                            <a:pt x="11603" y="5816"/>
                          </a:cubicBezTo>
                          <a:cubicBezTo>
                            <a:pt x="11603" y="6175"/>
                            <a:pt x="11543" y="6534"/>
                            <a:pt x="11483" y="6893"/>
                          </a:cubicBezTo>
                          <a:cubicBezTo>
                            <a:pt x="11423" y="7251"/>
                            <a:pt x="11304" y="7610"/>
                            <a:pt x="11184" y="7909"/>
                          </a:cubicBezTo>
                          <a:cubicBezTo>
                            <a:pt x="11064" y="8268"/>
                            <a:pt x="10885" y="8567"/>
                            <a:pt x="10705" y="8866"/>
                          </a:cubicBezTo>
                          <a:cubicBezTo>
                            <a:pt x="10526" y="9165"/>
                            <a:pt x="10287" y="9464"/>
                            <a:pt x="10048" y="9764"/>
                          </a:cubicBezTo>
                          <a:cubicBezTo>
                            <a:pt x="9808" y="10063"/>
                            <a:pt x="9569" y="10302"/>
                            <a:pt x="9270" y="10481"/>
                          </a:cubicBezTo>
                          <a:cubicBezTo>
                            <a:pt x="8971" y="10720"/>
                            <a:pt x="8672" y="10900"/>
                            <a:pt x="8373" y="11079"/>
                          </a:cubicBezTo>
                          <a:cubicBezTo>
                            <a:pt x="8074" y="11259"/>
                            <a:pt x="7715" y="11378"/>
                            <a:pt x="7416" y="11498"/>
                          </a:cubicBezTo>
                          <a:cubicBezTo>
                            <a:pt x="7117" y="11618"/>
                            <a:pt x="6758" y="11677"/>
                            <a:pt x="6399" y="11737"/>
                          </a:cubicBezTo>
                          <a:cubicBezTo>
                            <a:pt x="6041" y="11797"/>
                            <a:pt x="5742" y="11797"/>
                            <a:pt x="5383" y="11797"/>
                          </a:cubicBezTo>
                          <a:cubicBezTo>
                            <a:pt x="5143" y="11797"/>
                            <a:pt x="4904" y="11737"/>
                            <a:pt x="4725" y="11677"/>
                          </a:cubicBezTo>
                          <a:cubicBezTo>
                            <a:pt x="4545" y="11618"/>
                            <a:pt x="4306" y="11558"/>
                            <a:pt x="4067" y="11498"/>
                          </a:cubicBezTo>
                          <a:cubicBezTo>
                            <a:pt x="3888" y="11438"/>
                            <a:pt x="3648" y="11318"/>
                            <a:pt x="3469" y="11259"/>
                          </a:cubicBezTo>
                          <a:cubicBezTo>
                            <a:pt x="3289" y="11139"/>
                            <a:pt x="3110" y="11019"/>
                            <a:pt x="2930" y="10900"/>
                          </a:cubicBezTo>
                          <a:cubicBezTo>
                            <a:pt x="2871" y="10840"/>
                            <a:pt x="2751" y="10780"/>
                            <a:pt x="2691" y="10720"/>
                          </a:cubicBezTo>
                          <a:cubicBezTo>
                            <a:pt x="2632" y="10660"/>
                            <a:pt x="2512" y="10601"/>
                            <a:pt x="2452" y="10481"/>
                          </a:cubicBezTo>
                          <a:cubicBezTo>
                            <a:pt x="2392" y="10421"/>
                            <a:pt x="2333" y="10302"/>
                            <a:pt x="2213" y="10242"/>
                          </a:cubicBezTo>
                          <a:cubicBezTo>
                            <a:pt x="2153" y="10182"/>
                            <a:pt x="2093" y="10063"/>
                            <a:pt x="2034" y="10003"/>
                          </a:cubicBezTo>
                          <a:cubicBezTo>
                            <a:pt x="1854" y="9764"/>
                            <a:pt x="1675" y="9464"/>
                            <a:pt x="1555" y="9165"/>
                          </a:cubicBezTo>
                          <a:cubicBezTo>
                            <a:pt x="1435" y="8866"/>
                            <a:pt x="1316" y="8567"/>
                            <a:pt x="1256" y="8209"/>
                          </a:cubicBezTo>
                          <a:cubicBezTo>
                            <a:pt x="1196" y="7909"/>
                            <a:pt x="1136" y="7550"/>
                            <a:pt x="1136" y="7192"/>
                          </a:cubicBezTo>
                          <a:cubicBezTo>
                            <a:pt x="1136" y="6833"/>
                            <a:pt x="1136" y="6474"/>
                            <a:pt x="1256" y="6115"/>
                          </a:cubicBezTo>
                          <a:cubicBezTo>
                            <a:pt x="1375" y="5397"/>
                            <a:pt x="1675" y="4680"/>
                            <a:pt x="2034" y="4082"/>
                          </a:cubicBezTo>
                          <a:cubicBezTo>
                            <a:pt x="2392" y="3484"/>
                            <a:pt x="2930" y="2886"/>
                            <a:pt x="3469" y="2467"/>
                          </a:cubicBezTo>
                          <a:cubicBezTo>
                            <a:pt x="4007" y="1988"/>
                            <a:pt x="4665" y="1630"/>
                            <a:pt x="5323" y="1450"/>
                          </a:cubicBezTo>
                          <a:cubicBezTo>
                            <a:pt x="5981" y="1211"/>
                            <a:pt x="6698" y="1091"/>
                            <a:pt x="7416" y="1151"/>
                          </a:cubicBezTo>
                          <a:cubicBezTo>
                            <a:pt x="7656" y="1151"/>
                            <a:pt x="7895" y="1211"/>
                            <a:pt x="8134" y="1211"/>
                          </a:cubicBezTo>
                          <a:cubicBezTo>
                            <a:pt x="8373" y="1271"/>
                            <a:pt x="8552" y="1331"/>
                            <a:pt x="8792" y="1390"/>
                          </a:cubicBezTo>
                          <a:cubicBezTo>
                            <a:pt x="9031" y="1450"/>
                            <a:pt x="9210" y="1570"/>
                            <a:pt x="9390" y="1689"/>
                          </a:cubicBezTo>
                          <a:cubicBezTo>
                            <a:pt x="9569" y="1809"/>
                            <a:pt x="9749" y="2048"/>
                            <a:pt x="9928" y="2168"/>
                          </a:cubicBezTo>
                          <a:moveTo>
                            <a:pt x="2153" y="11976"/>
                          </a:moveTo>
                          <a:cubicBezTo>
                            <a:pt x="2392" y="12156"/>
                            <a:pt x="2572" y="12275"/>
                            <a:pt x="2811" y="12395"/>
                          </a:cubicBezTo>
                          <a:cubicBezTo>
                            <a:pt x="3050" y="12514"/>
                            <a:pt x="3289" y="12634"/>
                            <a:pt x="3529" y="12754"/>
                          </a:cubicBezTo>
                          <a:cubicBezTo>
                            <a:pt x="3768" y="12873"/>
                            <a:pt x="4067" y="12933"/>
                            <a:pt x="4306" y="12993"/>
                          </a:cubicBezTo>
                          <a:cubicBezTo>
                            <a:pt x="4545" y="13053"/>
                            <a:pt x="4844" y="13113"/>
                            <a:pt x="5143" y="13113"/>
                          </a:cubicBezTo>
                          <a:cubicBezTo>
                            <a:pt x="5562" y="13113"/>
                            <a:pt x="5981" y="13113"/>
                            <a:pt x="6399" y="13053"/>
                          </a:cubicBezTo>
                          <a:cubicBezTo>
                            <a:pt x="6818" y="12993"/>
                            <a:pt x="7237" y="12873"/>
                            <a:pt x="7656" y="12754"/>
                          </a:cubicBezTo>
                          <a:cubicBezTo>
                            <a:pt x="8074" y="12634"/>
                            <a:pt x="8433" y="12455"/>
                            <a:pt x="8851" y="12216"/>
                          </a:cubicBezTo>
                          <a:cubicBezTo>
                            <a:pt x="9210" y="11976"/>
                            <a:pt x="9569" y="11737"/>
                            <a:pt x="9928" y="11438"/>
                          </a:cubicBezTo>
                          <a:cubicBezTo>
                            <a:pt x="10287" y="11139"/>
                            <a:pt x="10586" y="10840"/>
                            <a:pt x="10885" y="10481"/>
                          </a:cubicBezTo>
                          <a:cubicBezTo>
                            <a:pt x="11184" y="10122"/>
                            <a:pt x="11423" y="9764"/>
                            <a:pt x="11662" y="9404"/>
                          </a:cubicBezTo>
                          <a:cubicBezTo>
                            <a:pt x="11902" y="9046"/>
                            <a:pt x="12081" y="8627"/>
                            <a:pt x="12260" y="8209"/>
                          </a:cubicBezTo>
                          <a:cubicBezTo>
                            <a:pt x="12440" y="7790"/>
                            <a:pt x="12559" y="7371"/>
                            <a:pt x="12619" y="6952"/>
                          </a:cubicBezTo>
                          <a:cubicBezTo>
                            <a:pt x="12739" y="6534"/>
                            <a:pt x="12739" y="6055"/>
                            <a:pt x="12739" y="5637"/>
                          </a:cubicBezTo>
                          <a:cubicBezTo>
                            <a:pt x="12739" y="5218"/>
                            <a:pt x="12679" y="4799"/>
                            <a:pt x="12619" y="4381"/>
                          </a:cubicBezTo>
                          <a:cubicBezTo>
                            <a:pt x="12559" y="3962"/>
                            <a:pt x="12440" y="3603"/>
                            <a:pt x="12260" y="3244"/>
                          </a:cubicBezTo>
                          <a:cubicBezTo>
                            <a:pt x="12081" y="2886"/>
                            <a:pt x="11902" y="2527"/>
                            <a:pt x="11662" y="2168"/>
                          </a:cubicBezTo>
                          <a:cubicBezTo>
                            <a:pt x="11603" y="2048"/>
                            <a:pt x="11483" y="1988"/>
                            <a:pt x="11423" y="1869"/>
                          </a:cubicBezTo>
                          <a:cubicBezTo>
                            <a:pt x="11364" y="1749"/>
                            <a:pt x="11244" y="1689"/>
                            <a:pt x="11184" y="1630"/>
                          </a:cubicBezTo>
                          <a:cubicBezTo>
                            <a:pt x="11124" y="1570"/>
                            <a:pt x="11005" y="1450"/>
                            <a:pt x="10885" y="1390"/>
                          </a:cubicBezTo>
                          <a:cubicBezTo>
                            <a:pt x="10765" y="1331"/>
                            <a:pt x="10705" y="1211"/>
                            <a:pt x="10586" y="1151"/>
                          </a:cubicBezTo>
                          <a:cubicBezTo>
                            <a:pt x="10406" y="972"/>
                            <a:pt x="10167" y="852"/>
                            <a:pt x="9928" y="733"/>
                          </a:cubicBezTo>
                          <a:cubicBezTo>
                            <a:pt x="9689" y="613"/>
                            <a:pt x="9450" y="493"/>
                            <a:pt x="9210" y="374"/>
                          </a:cubicBezTo>
                          <a:cubicBezTo>
                            <a:pt x="8971" y="254"/>
                            <a:pt x="8672" y="194"/>
                            <a:pt x="8433" y="134"/>
                          </a:cubicBezTo>
                          <a:cubicBezTo>
                            <a:pt x="8134" y="74"/>
                            <a:pt x="7895" y="15"/>
                            <a:pt x="7596" y="15"/>
                          </a:cubicBezTo>
                          <a:cubicBezTo>
                            <a:pt x="6758" y="-45"/>
                            <a:pt x="5861" y="74"/>
                            <a:pt x="5083" y="374"/>
                          </a:cubicBezTo>
                          <a:cubicBezTo>
                            <a:pt x="4246" y="673"/>
                            <a:pt x="3529" y="1091"/>
                            <a:pt x="2811" y="1630"/>
                          </a:cubicBezTo>
                          <a:cubicBezTo>
                            <a:pt x="2153" y="2168"/>
                            <a:pt x="1555" y="2886"/>
                            <a:pt x="1076" y="3603"/>
                          </a:cubicBezTo>
                          <a:cubicBezTo>
                            <a:pt x="598" y="4381"/>
                            <a:pt x="299" y="5218"/>
                            <a:pt x="120" y="6115"/>
                          </a:cubicBezTo>
                          <a:cubicBezTo>
                            <a:pt x="60" y="6534"/>
                            <a:pt x="0" y="6952"/>
                            <a:pt x="0" y="7371"/>
                          </a:cubicBezTo>
                          <a:cubicBezTo>
                            <a:pt x="0" y="7790"/>
                            <a:pt x="60" y="8209"/>
                            <a:pt x="120" y="8627"/>
                          </a:cubicBezTo>
                          <a:cubicBezTo>
                            <a:pt x="180" y="9046"/>
                            <a:pt x="359" y="9404"/>
                            <a:pt x="479" y="9764"/>
                          </a:cubicBezTo>
                          <a:cubicBezTo>
                            <a:pt x="658" y="10122"/>
                            <a:pt x="837" y="10481"/>
                            <a:pt x="1076" y="10840"/>
                          </a:cubicBezTo>
                          <a:cubicBezTo>
                            <a:pt x="1136" y="10959"/>
                            <a:pt x="1256" y="11019"/>
                            <a:pt x="1316" y="11139"/>
                          </a:cubicBezTo>
                          <a:cubicBezTo>
                            <a:pt x="1375" y="11259"/>
                            <a:pt x="1495" y="11318"/>
                            <a:pt x="1555" y="11438"/>
                          </a:cubicBezTo>
                          <a:cubicBezTo>
                            <a:pt x="1615" y="11498"/>
                            <a:pt x="1734" y="11618"/>
                            <a:pt x="1854" y="11677"/>
                          </a:cubicBezTo>
                          <a:cubicBezTo>
                            <a:pt x="1974" y="11797"/>
                            <a:pt x="2093" y="11917"/>
                            <a:pt x="2153" y="11976"/>
                          </a:cubicBezTo>
                        </a:path>
                      </a:pathLst>
                    </a:custGeom>
                    <a:noFill/>
                    <a:ln w="6350" cap="flat">
                      <a:solidFill>
                        <a:schemeClr val="bg1">
                          <a:alpha val="80000"/>
                        </a:schemeClr>
                      </a:solidFill>
                      <a:prstDash val="solid"/>
                      <a:miter/>
                    </a:ln>
                  </p:spPr>
                  <p:txBody>
                    <a:bodyPr rtlCol="0" anchor="ctr"/>
                    <a:lstStyle/>
                    <a:p>
                      <a:endParaRPr lang="en-GB"/>
                    </a:p>
                  </p:txBody>
                </p:sp>
                <p:sp>
                  <p:nvSpPr>
                    <p:cNvPr id="7467" name="Vrije vorm: vorm 7466">
                      <a:extLst>
                        <a:ext uri="{FF2B5EF4-FFF2-40B4-BE49-F238E27FC236}">
                          <a16:creationId xmlns:a16="http://schemas.microsoft.com/office/drawing/2014/main" id="{8D46DF8F-5DB5-43FB-A4BD-53E747A5801C}"/>
                        </a:ext>
                      </a:extLst>
                    </p:cNvPr>
                    <p:cNvSpPr/>
                    <p:nvPr/>
                  </p:nvSpPr>
                  <p:spPr>
                    <a:xfrm>
                      <a:off x="4981183" y="5094897"/>
                      <a:ext cx="6937" cy="7176"/>
                    </a:xfrm>
                    <a:custGeom>
                      <a:avLst/>
                      <a:gdLst>
                        <a:gd name="connsiteX0" fmla="*/ 4904 w 6937"/>
                        <a:gd name="connsiteY0" fmla="*/ 1615 h 7176"/>
                        <a:gd name="connsiteX1" fmla="*/ 5323 w 6937"/>
                        <a:gd name="connsiteY1" fmla="*/ 2034 h 7176"/>
                        <a:gd name="connsiteX2" fmla="*/ 5622 w 6937"/>
                        <a:gd name="connsiteY2" fmla="*/ 2512 h 7176"/>
                        <a:gd name="connsiteX3" fmla="*/ 5742 w 6937"/>
                        <a:gd name="connsiteY3" fmla="*/ 3110 h 7176"/>
                        <a:gd name="connsiteX4" fmla="*/ 5682 w 6937"/>
                        <a:gd name="connsiteY4" fmla="*/ 3768 h 7176"/>
                        <a:gd name="connsiteX5" fmla="*/ 5562 w 6937"/>
                        <a:gd name="connsiteY5" fmla="*/ 4246 h 7176"/>
                        <a:gd name="connsiteX6" fmla="*/ 5323 w 6937"/>
                        <a:gd name="connsiteY6" fmla="*/ 4665 h 7176"/>
                        <a:gd name="connsiteX7" fmla="*/ 5024 w 6937"/>
                        <a:gd name="connsiteY7" fmla="*/ 5084 h 7176"/>
                        <a:gd name="connsiteX8" fmla="*/ 4665 w 6937"/>
                        <a:gd name="connsiteY8" fmla="*/ 5443 h 7176"/>
                        <a:gd name="connsiteX9" fmla="*/ 4246 w 6937"/>
                        <a:gd name="connsiteY9" fmla="*/ 5742 h 7176"/>
                        <a:gd name="connsiteX10" fmla="*/ 3828 w 6937"/>
                        <a:gd name="connsiteY10" fmla="*/ 5921 h 7176"/>
                        <a:gd name="connsiteX11" fmla="*/ 3349 w 6937"/>
                        <a:gd name="connsiteY11" fmla="*/ 6041 h 7176"/>
                        <a:gd name="connsiteX12" fmla="*/ 2871 w 6937"/>
                        <a:gd name="connsiteY12" fmla="*/ 6041 h 7176"/>
                        <a:gd name="connsiteX13" fmla="*/ 1735 w 6937"/>
                        <a:gd name="connsiteY13" fmla="*/ 5562 h 7176"/>
                        <a:gd name="connsiteX14" fmla="*/ 1316 w 6937"/>
                        <a:gd name="connsiteY14" fmla="*/ 5203 h 7176"/>
                        <a:gd name="connsiteX15" fmla="*/ 1076 w 6937"/>
                        <a:gd name="connsiteY15" fmla="*/ 4785 h 7176"/>
                        <a:gd name="connsiteX16" fmla="*/ 957 w 6937"/>
                        <a:gd name="connsiteY16" fmla="*/ 4366 h 7176"/>
                        <a:gd name="connsiteX17" fmla="*/ 897 w 6937"/>
                        <a:gd name="connsiteY17" fmla="*/ 3888 h 7176"/>
                        <a:gd name="connsiteX18" fmla="*/ 957 w 6937"/>
                        <a:gd name="connsiteY18" fmla="*/ 3409 h 7176"/>
                        <a:gd name="connsiteX19" fmla="*/ 1076 w 6937"/>
                        <a:gd name="connsiteY19" fmla="*/ 2930 h 7176"/>
                        <a:gd name="connsiteX20" fmla="*/ 1316 w 6937"/>
                        <a:gd name="connsiteY20" fmla="*/ 2512 h 7176"/>
                        <a:gd name="connsiteX21" fmla="*/ 1615 w 6937"/>
                        <a:gd name="connsiteY21" fmla="*/ 2093 h 7176"/>
                        <a:gd name="connsiteX22" fmla="*/ 1974 w 6937"/>
                        <a:gd name="connsiteY22" fmla="*/ 1735 h 7176"/>
                        <a:gd name="connsiteX23" fmla="*/ 2392 w 6937"/>
                        <a:gd name="connsiteY23" fmla="*/ 1435 h 7176"/>
                        <a:gd name="connsiteX24" fmla="*/ 2811 w 6937"/>
                        <a:gd name="connsiteY24" fmla="*/ 1256 h 7176"/>
                        <a:gd name="connsiteX25" fmla="*/ 3289 w 6937"/>
                        <a:gd name="connsiteY25" fmla="*/ 1136 h 7176"/>
                        <a:gd name="connsiteX26" fmla="*/ 3768 w 6937"/>
                        <a:gd name="connsiteY26" fmla="*/ 1136 h 7176"/>
                        <a:gd name="connsiteX27" fmla="*/ 4067 w 6937"/>
                        <a:gd name="connsiteY27" fmla="*/ 1196 h 7176"/>
                        <a:gd name="connsiteX28" fmla="*/ 4366 w 6937"/>
                        <a:gd name="connsiteY28" fmla="*/ 1256 h 7176"/>
                        <a:gd name="connsiteX29" fmla="*/ 4665 w 6937"/>
                        <a:gd name="connsiteY29" fmla="*/ 1375 h 7176"/>
                        <a:gd name="connsiteX30" fmla="*/ 4904 w 6937"/>
                        <a:gd name="connsiteY30" fmla="*/ 1615 h 7176"/>
                        <a:gd name="connsiteX31" fmla="*/ 957 w 6937"/>
                        <a:gd name="connsiteY31" fmla="*/ 6579 h 7176"/>
                        <a:gd name="connsiteX32" fmla="*/ 1316 w 6937"/>
                        <a:gd name="connsiteY32" fmla="*/ 6818 h 7176"/>
                        <a:gd name="connsiteX33" fmla="*/ 1735 w 6937"/>
                        <a:gd name="connsiteY33" fmla="*/ 6997 h 7176"/>
                        <a:gd name="connsiteX34" fmla="*/ 2153 w 6937"/>
                        <a:gd name="connsiteY34" fmla="*/ 7117 h 7176"/>
                        <a:gd name="connsiteX35" fmla="*/ 2632 w 6937"/>
                        <a:gd name="connsiteY35" fmla="*/ 7177 h 7176"/>
                        <a:gd name="connsiteX36" fmla="*/ 3349 w 6937"/>
                        <a:gd name="connsiteY36" fmla="*/ 7117 h 7176"/>
                        <a:gd name="connsiteX37" fmla="*/ 4007 w 6937"/>
                        <a:gd name="connsiteY37" fmla="*/ 6938 h 7176"/>
                        <a:gd name="connsiteX38" fmla="*/ 4665 w 6937"/>
                        <a:gd name="connsiteY38" fmla="*/ 6639 h 7176"/>
                        <a:gd name="connsiteX39" fmla="*/ 5263 w 6937"/>
                        <a:gd name="connsiteY39" fmla="*/ 6280 h 7176"/>
                        <a:gd name="connsiteX40" fmla="*/ 5801 w 6937"/>
                        <a:gd name="connsiteY40" fmla="*/ 5801 h 7176"/>
                        <a:gd name="connsiteX41" fmla="*/ 6280 w 6937"/>
                        <a:gd name="connsiteY41" fmla="*/ 5203 h 7176"/>
                        <a:gd name="connsiteX42" fmla="*/ 6639 w 6937"/>
                        <a:gd name="connsiteY42" fmla="*/ 4545 h 7176"/>
                        <a:gd name="connsiteX43" fmla="*/ 6878 w 6937"/>
                        <a:gd name="connsiteY43" fmla="*/ 3828 h 7176"/>
                        <a:gd name="connsiteX44" fmla="*/ 6938 w 6937"/>
                        <a:gd name="connsiteY44" fmla="*/ 3050 h 7176"/>
                        <a:gd name="connsiteX45" fmla="*/ 6878 w 6937"/>
                        <a:gd name="connsiteY45" fmla="*/ 2333 h 7176"/>
                        <a:gd name="connsiteX46" fmla="*/ 6639 w 6937"/>
                        <a:gd name="connsiteY46" fmla="*/ 1675 h 7176"/>
                        <a:gd name="connsiteX47" fmla="*/ 6280 w 6937"/>
                        <a:gd name="connsiteY47" fmla="*/ 1076 h 7176"/>
                        <a:gd name="connsiteX48" fmla="*/ 6280 w 6937"/>
                        <a:gd name="connsiteY48" fmla="*/ 1076 h 7176"/>
                        <a:gd name="connsiteX49" fmla="*/ 6280 w 6937"/>
                        <a:gd name="connsiteY49" fmla="*/ 1076 h 7176"/>
                        <a:gd name="connsiteX50" fmla="*/ 6280 w 6937"/>
                        <a:gd name="connsiteY50" fmla="*/ 1076 h 7176"/>
                        <a:gd name="connsiteX51" fmla="*/ 6280 w 6937"/>
                        <a:gd name="connsiteY51" fmla="*/ 1076 h 7176"/>
                        <a:gd name="connsiteX52" fmla="*/ 6160 w 6937"/>
                        <a:gd name="connsiteY52" fmla="*/ 957 h 7176"/>
                        <a:gd name="connsiteX53" fmla="*/ 6041 w 6937"/>
                        <a:gd name="connsiteY53" fmla="*/ 837 h 7176"/>
                        <a:gd name="connsiteX54" fmla="*/ 5921 w 6937"/>
                        <a:gd name="connsiteY54" fmla="*/ 718 h 7176"/>
                        <a:gd name="connsiteX55" fmla="*/ 5801 w 6937"/>
                        <a:gd name="connsiteY55" fmla="*/ 598 h 7176"/>
                        <a:gd name="connsiteX56" fmla="*/ 5443 w 6937"/>
                        <a:gd name="connsiteY56" fmla="*/ 359 h 7176"/>
                        <a:gd name="connsiteX57" fmla="*/ 5024 w 6937"/>
                        <a:gd name="connsiteY57" fmla="*/ 180 h 7176"/>
                        <a:gd name="connsiteX58" fmla="*/ 4605 w 6937"/>
                        <a:gd name="connsiteY58" fmla="*/ 60 h 7176"/>
                        <a:gd name="connsiteX59" fmla="*/ 4127 w 6937"/>
                        <a:gd name="connsiteY59" fmla="*/ 0 h 7176"/>
                        <a:gd name="connsiteX60" fmla="*/ 3409 w 6937"/>
                        <a:gd name="connsiteY60" fmla="*/ 0 h 7176"/>
                        <a:gd name="connsiteX61" fmla="*/ 2751 w 6937"/>
                        <a:gd name="connsiteY61" fmla="*/ 180 h 7176"/>
                        <a:gd name="connsiteX62" fmla="*/ 2093 w 6937"/>
                        <a:gd name="connsiteY62" fmla="*/ 479 h 7176"/>
                        <a:gd name="connsiteX63" fmla="*/ 1495 w 6937"/>
                        <a:gd name="connsiteY63" fmla="*/ 897 h 7176"/>
                        <a:gd name="connsiteX64" fmla="*/ 957 w 6937"/>
                        <a:gd name="connsiteY64" fmla="*/ 1435 h 7176"/>
                        <a:gd name="connsiteX65" fmla="*/ 538 w 6937"/>
                        <a:gd name="connsiteY65" fmla="*/ 2034 h 7176"/>
                        <a:gd name="connsiteX66" fmla="*/ 239 w 6937"/>
                        <a:gd name="connsiteY66" fmla="*/ 2691 h 7176"/>
                        <a:gd name="connsiteX67" fmla="*/ 60 w 6937"/>
                        <a:gd name="connsiteY67" fmla="*/ 3409 h 7176"/>
                        <a:gd name="connsiteX68" fmla="*/ 0 w 6937"/>
                        <a:gd name="connsiteY68" fmla="*/ 4127 h 7176"/>
                        <a:gd name="connsiteX69" fmla="*/ 60 w 6937"/>
                        <a:gd name="connsiteY69" fmla="*/ 4785 h 7176"/>
                        <a:gd name="connsiteX70" fmla="*/ 239 w 6937"/>
                        <a:gd name="connsiteY70" fmla="*/ 5443 h 7176"/>
                        <a:gd name="connsiteX71" fmla="*/ 538 w 6937"/>
                        <a:gd name="connsiteY71" fmla="*/ 6041 h 7176"/>
                        <a:gd name="connsiteX72" fmla="*/ 658 w 6937"/>
                        <a:gd name="connsiteY72" fmla="*/ 6220 h 7176"/>
                        <a:gd name="connsiteX73" fmla="*/ 778 w 6937"/>
                        <a:gd name="connsiteY73" fmla="*/ 6399 h 7176"/>
                        <a:gd name="connsiteX74" fmla="*/ 957 w 6937"/>
                        <a:gd name="connsiteY74" fmla="*/ 6519 h 7176"/>
                        <a:gd name="connsiteX75" fmla="*/ 957 w 6937"/>
                        <a:gd name="connsiteY75" fmla="*/ 6579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6937" h="7176">
                          <a:moveTo>
                            <a:pt x="4904" y="1615"/>
                          </a:moveTo>
                          <a:cubicBezTo>
                            <a:pt x="5084" y="1735"/>
                            <a:pt x="5203" y="1854"/>
                            <a:pt x="5323" y="2034"/>
                          </a:cubicBezTo>
                          <a:cubicBezTo>
                            <a:pt x="5443" y="2213"/>
                            <a:pt x="5503" y="2333"/>
                            <a:pt x="5622" y="2512"/>
                          </a:cubicBezTo>
                          <a:cubicBezTo>
                            <a:pt x="5682" y="2691"/>
                            <a:pt x="5742" y="2871"/>
                            <a:pt x="5742" y="3110"/>
                          </a:cubicBezTo>
                          <a:cubicBezTo>
                            <a:pt x="5742" y="3289"/>
                            <a:pt x="5742" y="3529"/>
                            <a:pt x="5682" y="3768"/>
                          </a:cubicBezTo>
                          <a:cubicBezTo>
                            <a:pt x="5682" y="3947"/>
                            <a:pt x="5622" y="4067"/>
                            <a:pt x="5562" y="4246"/>
                          </a:cubicBezTo>
                          <a:cubicBezTo>
                            <a:pt x="5503" y="4426"/>
                            <a:pt x="5443" y="4545"/>
                            <a:pt x="5323" y="4665"/>
                          </a:cubicBezTo>
                          <a:cubicBezTo>
                            <a:pt x="5263" y="4785"/>
                            <a:pt x="5144" y="4964"/>
                            <a:pt x="5024" y="5084"/>
                          </a:cubicBezTo>
                          <a:cubicBezTo>
                            <a:pt x="4904" y="5203"/>
                            <a:pt x="4785" y="5323"/>
                            <a:pt x="4665" y="5443"/>
                          </a:cubicBezTo>
                          <a:cubicBezTo>
                            <a:pt x="4545" y="5562"/>
                            <a:pt x="4426" y="5682"/>
                            <a:pt x="4246" y="5742"/>
                          </a:cubicBezTo>
                          <a:cubicBezTo>
                            <a:pt x="4067" y="5801"/>
                            <a:pt x="3947" y="5921"/>
                            <a:pt x="3828" y="5921"/>
                          </a:cubicBezTo>
                          <a:cubicBezTo>
                            <a:pt x="3649" y="5981"/>
                            <a:pt x="3529" y="6041"/>
                            <a:pt x="3349" y="6041"/>
                          </a:cubicBezTo>
                          <a:cubicBezTo>
                            <a:pt x="3170" y="6041"/>
                            <a:pt x="3050" y="6100"/>
                            <a:pt x="2871" y="6041"/>
                          </a:cubicBezTo>
                          <a:lnTo>
                            <a:pt x="1735" y="5562"/>
                          </a:lnTo>
                          <a:lnTo>
                            <a:pt x="1316" y="5203"/>
                          </a:lnTo>
                          <a:cubicBezTo>
                            <a:pt x="1196" y="5084"/>
                            <a:pt x="1136" y="4964"/>
                            <a:pt x="1076" y="4785"/>
                          </a:cubicBezTo>
                          <a:cubicBezTo>
                            <a:pt x="1017" y="4605"/>
                            <a:pt x="957" y="4486"/>
                            <a:pt x="957" y="4366"/>
                          </a:cubicBezTo>
                          <a:cubicBezTo>
                            <a:pt x="897" y="4187"/>
                            <a:pt x="897" y="4067"/>
                            <a:pt x="897" y="3888"/>
                          </a:cubicBezTo>
                          <a:cubicBezTo>
                            <a:pt x="897" y="3708"/>
                            <a:pt x="897" y="3589"/>
                            <a:pt x="957" y="3409"/>
                          </a:cubicBezTo>
                          <a:cubicBezTo>
                            <a:pt x="957" y="3230"/>
                            <a:pt x="1017" y="3050"/>
                            <a:pt x="1076" y="2930"/>
                          </a:cubicBezTo>
                          <a:cubicBezTo>
                            <a:pt x="1136" y="2751"/>
                            <a:pt x="1196" y="2632"/>
                            <a:pt x="1316" y="2512"/>
                          </a:cubicBezTo>
                          <a:cubicBezTo>
                            <a:pt x="1376" y="2392"/>
                            <a:pt x="1495" y="2213"/>
                            <a:pt x="1615" y="2093"/>
                          </a:cubicBezTo>
                          <a:cubicBezTo>
                            <a:pt x="1735" y="1974"/>
                            <a:pt x="1854" y="1854"/>
                            <a:pt x="1974" y="1735"/>
                          </a:cubicBezTo>
                          <a:cubicBezTo>
                            <a:pt x="2093" y="1615"/>
                            <a:pt x="2213" y="1555"/>
                            <a:pt x="2392" y="1435"/>
                          </a:cubicBezTo>
                          <a:cubicBezTo>
                            <a:pt x="2512" y="1375"/>
                            <a:pt x="2691" y="1316"/>
                            <a:pt x="2811" y="1256"/>
                          </a:cubicBezTo>
                          <a:cubicBezTo>
                            <a:pt x="2990" y="1196"/>
                            <a:pt x="3110" y="1196"/>
                            <a:pt x="3289" y="1136"/>
                          </a:cubicBezTo>
                          <a:cubicBezTo>
                            <a:pt x="3469" y="1076"/>
                            <a:pt x="3589" y="1076"/>
                            <a:pt x="3768" y="1136"/>
                          </a:cubicBezTo>
                          <a:cubicBezTo>
                            <a:pt x="3888" y="1136"/>
                            <a:pt x="4007" y="1136"/>
                            <a:pt x="4067" y="1196"/>
                          </a:cubicBezTo>
                          <a:cubicBezTo>
                            <a:pt x="4187" y="1196"/>
                            <a:pt x="4246" y="1256"/>
                            <a:pt x="4366" y="1256"/>
                          </a:cubicBezTo>
                          <a:cubicBezTo>
                            <a:pt x="4486" y="1316"/>
                            <a:pt x="4545" y="1316"/>
                            <a:pt x="4665" y="1375"/>
                          </a:cubicBezTo>
                          <a:cubicBezTo>
                            <a:pt x="4785" y="1495"/>
                            <a:pt x="4844" y="1555"/>
                            <a:pt x="4904" y="1615"/>
                          </a:cubicBezTo>
                          <a:moveTo>
                            <a:pt x="957" y="6579"/>
                          </a:moveTo>
                          <a:cubicBezTo>
                            <a:pt x="1076" y="6698"/>
                            <a:pt x="1196" y="6758"/>
                            <a:pt x="1316" y="6818"/>
                          </a:cubicBezTo>
                          <a:cubicBezTo>
                            <a:pt x="1435" y="6878"/>
                            <a:pt x="1555" y="6938"/>
                            <a:pt x="1735" y="6997"/>
                          </a:cubicBezTo>
                          <a:cubicBezTo>
                            <a:pt x="1914" y="7057"/>
                            <a:pt x="2034" y="7117"/>
                            <a:pt x="2153" y="7117"/>
                          </a:cubicBezTo>
                          <a:cubicBezTo>
                            <a:pt x="2273" y="7117"/>
                            <a:pt x="2452" y="7177"/>
                            <a:pt x="2632" y="7177"/>
                          </a:cubicBezTo>
                          <a:cubicBezTo>
                            <a:pt x="2871" y="7177"/>
                            <a:pt x="3110" y="7177"/>
                            <a:pt x="3349" y="7117"/>
                          </a:cubicBezTo>
                          <a:cubicBezTo>
                            <a:pt x="3589" y="7057"/>
                            <a:pt x="3828" y="7057"/>
                            <a:pt x="4007" y="6938"/>
                          </a:cubicBezTo>
                          <a:cubicBezTo>
                            <a:pt x="4246" y="6878"/>
                            <a:pt x="4426" y="6758"/>
                            <a:pt x="4665" y="6639"/>
                          </a:cubicBezTo>
                          <a:cubicBezTo>
                            <a:pt x="4844" y="6519"/>
                            <a:pt x="5084" y="6399"/>
                            <a:pt x="5263" y="6280"/>
                          </a:cubicBezTo>
                          <a:cubicBezTo>
                            <a:pt x="5443" y="6100"/>
                            <a:pt x="5622" y="5981"/>
                            <a:pt x="5801" y="5801"/>
                          </a:cubicBezTo>
                          <a:cubicBezTo>
                            <a:pt x="5981" y="5622"/>
                            <a:pt x="6100" y="5443"/>
                            <a:pt x="6280" y="5203"/>
                          </a:cubicBezTo>
                          <a:cubicBezTo>
                            <a:pt x="6399" y="4964"/>
                            <a:pt x="6519" y="4785"/>
                            <a:pt x="6639" y="4545"/>
                          </a:cubicBezTo>
                          <a:cubicBezTo>
                            <a:pt x="6758" y="4306"/>
                            <a:pt x="6818" y="4067"/>
                            <a:pt x="6878" y="3828"/>
                          </a:cubicBezTo>
                          <a:cubicBezTo>
                            <a:pt x="6938" y="3589"/>
                            <a:pt x="6938" y="3349"/>
                            <a:pt x="6938" y="3050"/>
                          </a:cubicBezTo>
                          <a:cubicBezTo>
                            <a:pt x="6938" y="2751"/>
                            <a:pt x="6878" y="2572"/>
                            <a:pt x="6878" y="2333"/>
                          </a:cubicBezTo>
                          <a:cubicBezTo>
                            <a:pt x="6818" y="2093"/>
                            <a:pt x="6758" y="1914"/>
                            <a:pt x="6639" y="1675"/>
                          </a:cubicBezTo>
                          <a:cubicBezTo>
                            <a:pt x="6519" y="1495"/>
                            <a:pt x="6399" y="1256"/>
                            <a:pt x="6280" y="1076"/>
                          </a:cubicBezTo>
                          <a:cubicBezTo>
                            <a:pt x="6280" y="1076"/>
                            <a:pt x="6280" y="1076"/>
                            <a:pt x="6280" y="1076"/>
                          </a:cubicBezTo>
                          <a:cubicBezTo>
                            <a:pt x="6280" y="1076"/>
                            <a:pt x="6280" y="1076"/>
                            <a:pt x="6280" y="1076"/>
                          </a:cubicBezTo>
                          <a:cubicBezTo>
                            <a:pt x="6280" y="1076"/>
                            <a:pt x="6280" y="1076"/>
                            <a:pt x="6280" y="1076"/>
                          </a:cubicBezTo>
                          <a:cubicBezTo>
                            <a:pt x="6280" y="1076"/>
                            <a:pt x="6280" y="1076"/>
                            <a:pt x="6280" y="1076"/>
                          </a:cubicBezTo>
                          <a:cubicBezTo>
                            <a:pt x="6220" y="1017"/>
                            <a:pt x="6220" y="957"/>
                            <a:pt x="6160" y="957"/>
                          </a:cubicBezTo>
                          <a:cubicBezTo>
                            <a:pt x="6100" y="957"/>
                            <a:pt x="6100" y="837"/>
                            <a:pt x="6041" y="837"/>
                          </a:cubicBezTo>
                          <a:cubicBezTo>
                            <a:pt x="5981" y="778"/>
                            <a:pt x="5981" y="778"/>
                            <a:pt x="5921" y="718"/>
                          </a:cubicBezTo>
                          <a:cubicBezTo>
                            <a:pt x="5861" y="658"/>
                            <a:pt x="5801" y="658"/>
                            <a:pt x="5801" y="598"/>
                          </a:cubicBezTo>
                          <a:cubicBezTo>
                            <a:pt x="5682" y="538"/>
                            <a:pt x="5562" y="419"/>
                            <a:pt x="5443" y="359"/>
                          </a:cubicBezTo>
                          <a:cubicBezTo>
                            <a:pt x="5323" y="299"/>
                            <a:pt x="5203" y="239"/>
                            <a:pt x="5024" y="180"/>
                          </a:cubicBezTo>
                          <a:cubicBezTo>
                            <a:pt x="4844" y="120"/>
                            <a:pt x="4725" y="60"/>
                            <a:pt x="4605" y="60"/>
                          </a:cubicBezTo>
                          <a:cubicBezTo>
                            <a:pt x="4426" y="0"/>
                            <a:pt x="4306" y="0"/>
                            <a:pt x="4127" y="0"/>
                          </a:cubicBezTo>
                          <a:cubicBezTo>
                            <a:pt x="3888" y="0"/>
                            <a:pt x="3649" y="0"/>
                            <a:pt x="3409" y="0"/>
                          </a:cubicBezTo>
                          <a:cubicBezTo>
                            <a:pt x="3170" y="0"/>
                            <a:pt x="2930" y="60"/>
                            <a:pt x="2751" y="180"/>
                          </a:cubicBezTo>
                          <a:cubicBezTo>
                            <a:pt x="2572" y="299"/>
                            <a:pt x="2333" y="359"/>
                            <a:pt x="2093" y="479"/>
                          </a:cubicBezTo>
                          <a:cubicBezTo>
                            <a:pt x="1914" y="598"/>
                            <a:pt x="1675" y="718"/>
                            <a:pt x="1495" y="897"/>
                          </a:cubicBezTo>
                          <a:cubicBezTo>
                            <a:pt x="1316" y="1076"/>
                            <a:pt x="1076" y="1256"/>
                            <a:pt x="957" y="1435"/>
                          </a:cubicBezTo>
                          <a:cubicBezTo>
                            <a:pt x="778" y="1615"/>
                            <a:pt x="658" y="1854"/>
                            <a:pt x="538" y="2034"/>
                          </a:cubicBezTo>
                          <a:cubicBezTo>
                            <a:pt x="419" y="2213"/>
                            <a:pt x="299" y="2452"/>
                            <a:pt x="239" y="2691"/>
                          </a:cubicBezTo>
                          <a:cubicBezTo>
                            <a:pt x="180" y="2930"/>
                            <a:pt x="120" y="3170"/>
                            <a:pt x="60" y="3409"/>
                          </a:cubicBezTo>
                          <a:cubicBezTo>
                            <a:pt x="0" y="3648"/>
                            <a:pt x="0" y="3888"/>
                            <a:pt x="0" y="4127"/>
                          </a:cubicBezTo>
                          <a:cubicBezTo>
                            <a:pt x="0" y="4366"/>
                            <a:pt x="0" y="4605"/>
                            <a:pt x="60" y="4785"/>
                          </a:cubicBezTo>
                          <a:cubicBezTo>
                            <a:pt x="120" y="5024"/>
                            <a:pt x="180" y="5203"/>
                            <a:pt x="239" y="5443"/>
                          </a:cubicBezTo>
                          <a:cubicBezTo>
                            <a:pt x="299" y="5622"/>
                            <a:pt x="419" y="5861"/>
                            <a:pt x="538" y="6041"/>
                          </a:cubicBezTo>
                          <a:cubicBezTo>
                            <a:pt x="598" y="6100"/>
                            <a:pt x="598" y="6160"/>
                            <a:pt x="658" y="6220"/>
                          </a:cubicBezTo>
                          <a:cubicBezTo>
                            <a:pt x="718" y="6280"/>
                            <a:pt x="778" y="6340"/>
                            <a:pt x="778" y="6399"/>
                          </a:cubicBezTo>
                          <a:cubicBezTo>
                            <a:pt x="837" y="6459"/>
                            <a:pt x="897" y="6519"/>
                            <a:pt x="957" y="6519"/>
                          </a:cubicBezTo>
                          <a:cubicBezTo>
                            <a:pt x="897" y="6519"/>
                            <a:pt x="957" y="6579"/>
                            <a:pt x="957" y="6579"/>
                          </a:cubicBezTo>
                        </a:path>
                      </a:pathLst>
                    </a:custGeom>
                    <a:noFill/>
                    <a:ln w="6350" cap="flat">
                      <a:solidFill>
                        <a:schemeClr val="bg1">
                          <a:alpha val="80000"/>
                        </a:schemeClr>
                      </a:solidFill>
                      <a:prstDash val="solid"/>
                      <a:miter/>
                    </a:ln>
                  </p:spPr>
                  <p:txBody>
                    <a:bodyPr rtlCol="0" anchor="ctr"/>
                    <a:lstStyle/>
                    <a:p>
                      <a:endParaRPr lang="en-GB"/>
                    </a:p>
                  </p:txBody>
                </p:sp>
                <p:sp>
                  <p:nvSpPr>
                    <p:cNvPr id="7468" name="Vrije vorm: vorm 7467">
                      <a:extLst>
                        <a:ext uri="{FF2B5EF4-FFF2-40B4-BE49-F238E27FC236}">
                          <a16:creationId xmlns:a16="http://schemas.microsoft.com/office/drawing/2014/main" id="{1B98DCC7-72E2-4B8D-A659-260BCF89FE77}"/>
                        </a:ext>
                      </a:extLst>
                    </p:cNvPr>
                    <p:cNvSpPr/>
                    <p:nvPr/>
                  </p:nvSpPr>
                  <p:spPr>
                    <a:xfrm>
                      <a:off x="4987194" y="5084404"/>
                      <a:ext cx="7072" cy="7382"/>
                    </a:xfrm>
                    <a:custGeom>
                      <a:avLst/>
                      <a:gdLst>
                        <a:gd name="connsiteX0" fmla="*/ 2422 w 7072"/>
                        <a:gd name="connsiteY0" fmla="*/ 6067 h 7382"/>
                        <a:gd name="connsiteX1" fmla="*/ 2303 w 7072"/>
                        <a:gd name="connsiteY1" fmla="*/ 6007 h 7382"/>
                        <a:gd name="connsiteX2" fmla="*/ 2183 w 7072"/>
                        <a:gd name="connsiteY2" fmla="*/ 5947 h 7382"/>
                        <a:gd name="connsiteX3" fmla="*/ 2064 w 7072"/>
                        <a:gd name="connsiteY3" fmla="*/ 5888 h 7382"/>
                        <a:gd name="connsiteX4" fmla="*/ 1944 w 7072"/>
                        <a:gd name="connsiteY4" fmla="*/ 5828 h 7382"/>
                        <a:gd name="connsiteX5" fmla="*/ 1824 w 7072"/>
                        <a:gd name="connsiteY5" fmla="*/ 5768 h 7382"/>
                        <a:gd name="connsiteX6" fmla="*/ 1705 w 7072"/>
                        <a:gd name="connsiteY6" fmla="*/ 5648 h 7382"/>
                        <a:gd name="connsiteX7" fmla="*/ 1585 w 7072"/>
                        <a:gd name="connsiteY7" fmla="*/ 5529 h 7382"/>
                        <a:gd name="connsiteX8" fmla="*/ 1525 w 7072"/>
                        <a:gd name="connsiteY8" fmla="*/ 5409 h 7382"/>
                        <a:gd name="connsiteX9" fmla="*/ 1465 w 7072"/>
                        <a:gd name="connsiteY9" fmla="*/ 5350 h 7382"/>
                        <a:gd name="connsiteX10" fmla="*/ 1405 w 7072"/>
                        <a:gd name="connsiteY10" fmla="*/ 5290 h 7382"/>
                        <a:gd name="connsiteX11" fmla="*/ 1346 w 7072"/>
                        <a:gd name="connsiteY11" fmla="*/ 5230 h 7382"/>
                        <a:gd name="connsiteX12" fmla="*/ 1286 w 7072"/>
                        <a:gd name="connsiteY12" fmla="*/ 5170 h 7382"/>
                        <a:gd name="connsiteX13" fmla="*/ 1047 w 7072"/>
                        <a:gd name="connsiteY13" fmla="*/ 4452 h 7382"/>
                        <a:gd name="connsiteX14" fmla="*/ 1047 w 7072"/>
                        <a:gd name="connsiteY14" fmla="*/ 3675 h 7382"/>
                        <a:gd name="connsiteX15" fmla="*/ 1286 w 7072"/>
                        <a:gd name="connsiteY15" fmla="*/ 2897 h 7382"/>
                        <a:gd name="connsiteX16" fmla="*/ 1764 w 7072"/>
                        <a:gd name="connsiteY16" fmla="*/ 2239 h 7382"/>
                        <a:gd name="connsiteX17" fmla="*/ 1824 w 7072"/>
                        <a:gd name="connsiteY17" fmla="*/ 2180 h 7382"/>
                        <a:gd name="connsiteX18" fmla="*/ 1884 w 7072"/>
                        <a:gd name="connsiteY18" fmla="*/ 2120 h 7382"/>
                        <a:gd name="connsiteX19" fmla="*/ 1944 w 7072"/>
                        <a:gd name="connsiteY19" fmla="*/ 2060 h 7382"/>
                        <a:gd name="connsiteX20" fmla="*/ 2004 w 7072"/>
                        <a:gd name="connsiteY20" fmla="*/ 2000 h 7382"/>
                        <a:gd name="connsiteX21" fmla="*/ 2243 w 7072"/>
                        <a:gd name="connsiteY21" fmla="*/ 1821 h 7382"/>
                        <a:gd name="connsiteX22" fmla="*/ 2482 w 7072"/>
                        <a:gd name="connsiteY22" fmla="*/ 1642 h 7382"/>
                        <a:gd name="connsiteX23" fmla="*/ 2781 w 7072"/>
                        <a:gd name="connsiteY23" fmla="*/ 1522 h 7382"/>
                        <a:gd name="connsiteX24" fmla="*/ 3080 w 7072"/>
                        <a:gd name="connsiteY24" fmla="*/ 1462 h 7382"/>
                        <a:gd name="connsiteX25" fmla="*/ 3559 w 7072"/>
                        <a:gd name="connsiteY25" fmla="*/ 1402 h 7382"/>
                        <a:gd name="connsiteX26" fmla="*/ 4037 w 7072"/>
                        <a:gd name="connsiteY26" fmla="*/ 1462 h 7382"/>
                        <a:gd name="connsiteX27" fmla="*/ 4515 w 7072"/>
                        <a:gd name="connsiteY27" fmla="*/ 1582 h 7382"/>
                        <a:gd name="connsiteX28" fmla="*/ 4934 w 7072"/>
                        <a:gd name="connsiteY28" fmla="*/ 1821 h 7382"/>
                        <a:gd name="connsiteX29" fmla="*/ 5054 w 7072"/>
                        <a:gd name="connsiteY29" fmla="*/ 1881 h 7382"/>
                        <a:gd name="connsiteX30" fmla="*/ 5173 w 7072"/>
                        <a:gd name="connsiteY30" fmla="*/ 2000 h 7382"/>
                        <a:gd name="connsiteX31" fmla="*/ 5293 w 7072"/>
                        <a:gd name="connsiteY31" fmla="*/ 2120 h 7382"/>
                        <a:gd name="connsiteX32" fmla="*/ 5353 w 7072"/>
                        <a:gd name="connsiteY32" fmla="*/ 2239 h 7382"/>
                        <a:gd name="connsiteX33" fmla="*/ 5712 w 7072"/>
                        <a:gd name="connsiteY33" fmla="*/ 3077 h 7382"/>
                        <a:gd name="connsiteX34" fmla="*/ 5712 w 7072"/>
                        <a:gd name="connsiteY34" fmla="*/ 4034 h 7382"/>
                        <a:gd name="connsiteX35" fmla="*/ 5353 w 7072"/>
                        <a:gd name="connsiteY35" fmla="*/ 4931 h 7382"/>
                        <a:gd name="connsiteX36" fmla="*/ 4695 w 7072"/>
                        <a:gd name="connsiteY36" fmla="*/ 5708 h 7382"/>
                        <a:gd name="connsiteX37" fmla="*/ 4097 w 7072"/>
                        <a:gd name="connsiteY37" fmla="*/ 6067 h 7382"/>
                        <a:gd name="connsiteX38" fmla="*/ 3499 w 7072"/>
                        <a:gd name="connsiteY38" fmla="*/ 6247 h 7382"/>
                        <a:gd name="connsiteX39" fmla="*/ 2841 w 7072"/>
                        <a:gd name="connsiteY39" fmla="*/ 6306 h 7382"/>
                        <a:gd name="connsiteX40" fmla="*/ 2422 w 7072"/>
                        <a:gd name="connsiteY40" fmla="*/ 6067 h 7382"/>
                        <a:gd name="connsiteX41" fmla="*/ 1166 w 7072"/>
                        <a:gd name="connsiteY41" fmla="*/ 6725 h 7382"/>
                        <a:gd name="connsiteX42" fmla="*/ 1405 w 7072"/>
                        <a:gd name="connsiteY42" fmla="*/ 6905 h 7382"/>
                        <a:gd name="connsiteX43" fmla="*/ 1645 w 7072"/>
                        <a:gd name="connsiteY43" fmla="*/ 7024 h 7382"/>
                        <a:gd name="connsiteX44" fmla="*/ 1884 w 7072"/>
                        <a:gd name="connsiteY44" fmla="*/ 7144 h 7382"/>
                        <a:gd name="connsiteX45" fmla="*/ 2183 w 7072"/>
                        <a:gd name="connsiteY45" fmla="*/ 7263 h 7382"/>
                        <a:gd name="connsiteX46" fmla="*/ 3020 w 7072"/>
                        <a:gd name="connsiteY46" fmla="*/ 7383 h 7382"/>
                        <a:gd name="connsiteX47" fmla="*/ 3858 w 7072"/>
                        <a:gd name="connsiteY47" fmla="*/ 7263 h 7382"/>
                        <a:gd name="connsiteX48" fmla="*/ 4695 w 7072"/>
                        <a:gd name="connsiteY48" fmla="*/ 6964 h 7382"/>
                        <a:gd name="connsiteX49" fmla="*/ 5473 w 7072"/>
                        <a:gd name="connsiteY49" fmla="*/ 6426 h 7382"/>
                        <a:gd name="connsiteX50" fmla="*/ 6489 w 7072"/>
                        <a:gd name="connsiteY50" fmla="*/ 5290 h 7382"/>
                        <a:gd name="connsiteX51" fmla="*/ 7027 w 7072"/>
                        <a:gd name="connsiteY51" fmla="*/ 3974 h 7382"/>
                        <a:gd name="connsiteX52" fmla="*/ 7027 w 7072"/>
                        <a:gd name="connsiteY52" fmla="*/ 2598 h 7382"/>
                        <a:gd name="connsiteX53" fmla="*/ 6489 w 7072"/>
                        <a:gd name="connsiteY53" fmla="*/ 1343 h 7382"/>
                        <a:gd name="connsiteX54" fmla="*/ 5891 w 7072"/>
                        <a:gd name="connsiteY54" fmla="*/ 744 h 7382"/>
                        <a:gd name="connsiteX55" fmla="*/ 5353 w 7072"/>
                        <a:gd name="connsiteY55" fmla="*/ 385 h 7382"/>
                        <a:gd name="connsiteX56" fmla="*/ 4755 w 7072"/>
                        <a:gd name="connsiteY56" fmla="*/ 146 h 7382"/>
                        <a:gd name="connsiteX57" fmla="*/ 4157 w 7072"/>
                        <a:gd name="connsiteY57" fmla="*/ 27 h 7382"/>
                        <a:gd name="connsiteX58" fmla="*/ 3499 w 7072"/>
                        <a:gd name="connsiteY58" fmla="*/ 27 h 7382"/>
                        <a:gd name="connsiteX59" fmla="*/ 3200 w 7072"/>
                        <a:gd name="connsiteY59" fmla="*/ 86 h 7382"/>
                        <a:gd name="connsiteX60" fmla="*/ 2901 w 7072"/>
                        <a:gd name="connsiteY60" fmla="*/ 146 h 7382"/>
                        <a:gd name="connsiteX61" fmla="*/ 2602 w 7072"/>
                        <a:gd name="connsiteY61" fmla="*/ 266 h 7382"/>
                        <a:gd name="connsiteX62" fmla="*/ 2303 w 7072"/>
                        <a:gd name="connsiteY62" fmla="*/ 385 h 7382"/>
                        <a:gd name="connsiteX63" fmla="*/ 2123 w 7072"/>
                        <a:gd name="connsiteY63" fmla="*/ 505 h 7382"/>
                        <a:gd name="connsiteX64" fmla="*/ 1944 w 7072"/>
                        <a:gd name="connsiteY64" fmla="*/ 625 h 7382"/>
                        <a:gd name="connsiteX65" fmla="*/ 1764 w 7072"/>
                        <a:gd name="connsiteY65" fmla="*/ 744 h 7382"/>
                        <a:gd name="connsiteX66" fmla="*/ 1585 w 7072"/>
                        <a:gd name="connsiteY66" fmla="*/ 864 h 7382"/>
                        <a:gd name="connsiteX67" fmla="*/ 628 w 7072"/>
                        <a:gd name="connsiteY67" fmla="*/ 2000 h 7382"/>
                        <a:gd name="connsiteX68" fmla="*/ 90 w 7072"/>
                        <a:gd name="connsiteY68" fmla="*/ 3316 h 7382"/>
                        <a:gd name="connsiteX69" fmla="*/ 90 w 7072"/>
                        <a:gd name="connsiteY69" fmla="*/ 4692 h 7382"/>
                        <a:gd name="connsiteX70" fmla="*/ 628 w 7072"/>
                        <a:gd name="connsiteY70" fmla="*/ 5947 h 7382"/>
                        <a:gd name="connsiteX71" fmla="*/ 748 w 7072"/>
                        <a:gd name="connsiteY71" fmla="*/ 6127 h 7382"/>
                        <a:gd name="connsiteX72" fmla="*/ 867 w 7072"/>
                        <a:gd name="connsiteY72" fmla="*/ 6247 h 7382"/>
                        <a:gd name="connsiteX73" fmla="*/ 987 w 7072"/>
                        <a:gd name="connsiteY73" fmla="*/ 6366 h 7382"/>
                        <a:gd name="connsiteX74" fmla="*/ 1166 w 7072"/>
                        <a:gd name="connsiteY74" fmla="*/ 6725 h 7382"/>
                        <a:gd name="connsiteX75" fmla="*/ 1166 w 7072"/>
                        <a:gd name="connsiteY75" fmla="*/ 6725 h 7382"/>
                        <a:gd name="connsiteX76" fmla="*/ 1166 w 7072"/>
                        <a:gd name="connsiteY76" fmla="*/ 6725 h 7382"/>
                        <a:gd name="connsiteX77" fmla="*/ 1166 w 7072"/>
                        <a:gd name="connsiteY77" fmla="*/ 6725 h 7382"/>
                        <a:gd name="connsiteX78" fmla="*/ 1166 w 7072"/>
                        <a:gd name="connsiteY78" fmla="*/ 6725 h 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7072" h="7382">
                          <a:moveTo>
                            <a:pt x="2422" y="6067"/>
                          </a:moveTo>
                          <a:cubicBezTo>
                            <a:pt x="2363" y="6067"/>
                            <a:pt x="2363" y="6007"/>
                            <a:pt x="2303" y="6007"/>
                          </a:cubicBezTo>
                          <a:cubicBezTo>
                            <a:pt x="2243" y="6007"/>
                            <a:pt x="2243" y="5947"/>
                            <a:pt x="2183" y="5947"/>
                          </a:cubicBezTo>
                          <a:cubicBezTo>
                            <a:pt x="2123" y="5947"/>
                            <a:pt x="2123" y="5888"/>
                            <a:pt x="2064" y="5888"/>
                          </a:cubicBezTo>
                          <a:cubicBezTo>
                            <a:pt x="2004" y="5888"/>
                            <a:pt x="2004" y="5828"/>
                            <a:pt x="1944" y="5828"/>
                          </a:cubicBezTo>
                          <a:cubicBezTo>
                            <a:pt x="1884" y="5828"/>
                            <a:pt x="1884" y="5768"/>
                            <a:pt x="1824" y="5768"/>
                          </a:cubicBezTo>
                          <a:cubicBezTo>
                            <a:pt x="1764" y="5708"/>
                            <a:pt x="1764" y="5708"/>
                            <a:pt x="1705" y="5648"/>
                          </a:cubicBezTo>
                          <a:cubicBezTo>
                            <a:pt x="1645" y="5589"/>
                            <a:pt x="1645" y="5589"/>
                            <a:pt x="1585" y="5529"/>
                          </a:cubicBezTo>
                          <a:cubicBezTo>
                            <a:pt x="1525" y="5469"/>
                            <a:pt x="1525" y="5469"/>
                            <a:pt x="1525" y="5409"/>
                          </a:cubicBezTo>
                          <a:cubicBezTo>
                            <a:pt x="1525" y="5409"/>
                            <a:pt x="1525" y="5350"/>
                            <a:pt x="1465" y="5350"/>
                          </a:cubicBezTo>
                          <a:cubicBezTo>
                            <a:pt x="1465" y="5350"/>
                            <a:pt x="1465" y="5290"/>
                            <a:pt x="1405" y="5290"/>
                          </a:cubicBezTo>
                          <a:cubicBezTo>
                            <a:pt x="1405" y="5290"/>
                            <a:pt x="1405" y="5230"/>
                            <a:pt x="1346" y="5230"/>
                          </a:cubicBezTo>
                          <a:cubicBezTo>
                            <a:pt x="1346" y="5230"/>
                            <a:pt x="1346" y="5170"/>
                            <a:pt x="1286" y="5170"/>
                          </a:cubicBezTo>
                          <a:cubicBezTo>
                            <a:pt x="1166" y="4931"/>
                            <a:pt x="1106" y="4692"/>
                            <a:pt x="1047" y="4452"/>
                          </a:cubicBezTo>
                          <a:cubicBezTo>
                            <a:pt x="987" y="4213"/>
                            <a:pt x="1047" y="3914"/>
                            <a:pt x="1047" y="3675"/>
                          </a:cubicBezTo>
                          <a:cubicBezTo>
                            <a:pt x="1106" y="3436"/>
                            <a:pt x="1166" y="3137"/>
                            <a:pt x="1286" y="2897"/>
                          </a:cubicBezTo>
                          <a:cubicBezTo>
                            <a:pt x="1405" y="2658"/>
                            <a:pt x="1585" y="2419"/>
                            <a:pt x="1764" y="2239"/>
                          </a:cubicBezTo>
                          <a:cubicBezTo>
                            <a:pt x="1764" y="2239"/>
                            <a:pt x="1824" y="2180"/>
                            <a:pt x="1824" y="2180"/>
                          </a:cubicBezTo>
                          <a:cubicBezTo>
                            <a:pt x="1824" y="2180"/>
                            <a:pt x="1884" y="2120"/>
                            <a:pt x="1884" y="2120"/>
                          </a:cubicBezTo>
                          <a:cubicBezTo>
                            <a:pt x="1884" y="2120"/>
                            <a:pt x="1944" y="2060"/>
                            <a:pt x="1944" y="2060"/>
                          </a:cubicBezTo>
                          <a:cubicBezTo>
                            <a:pt x="1944" y="2060"/>
                            <a:pt x="2004" y="2000"/>
                            <a:pt x="2004" y="2000"/>
                          </a:cubicBezTo>
                          <a:cubicBezTo>
                            <a:pt x="2064" y="1940"/>
                            <a:pt x="2183" y="1881"/>
                            <a:pt x="2243" y="1821"/>
                          </a:cubicBezTo>
                          <a:cubicBezTo>
                            <a:pt x="2303" y="1761"/>
                            <a:pt x="2422" y="1701"/>
                            <a:pt x="2482" y="1642"/>
                          </a:cubicBezTo>
                          <a:cubicBezTo>
                            <a:pt x="2602" y="1582"/>
                            <a:pt x="2661" y="1582"/>
                            <a:pt x="2781" y="1522"/>
                          </a:cubicBezTo>
                          <a:cubicBezTo>
                            <a:pt x="2901" y="1462"/>
                            <a:pt x="2960" y="1462"/>
                            <a:pt x="3080" y="1462"/>
                          </a:cubicBezTo>
                          <a:cubicBezTo>
                            <a:pt x="3259" y="1402"/>
                            <a:pt x="3439" y="1402"/>
                            <a:pt x="3559" y="1402"/>
                          </a:cubicBezTo>
                          <a:cubicBezTo>
                            <a:pt x="3738" y="1402"/>
                            <a:pt x="3858" y="1402"/>
                            <a:pt x="4037" y="1462"/>
                          </a:cubicBezTo>
                          <a:cubicBezTo>
                            <a:pt x="4217" y="1462"/>
                            <a:pt x="4336" y="1522"/>
                            <a:pt x="4515" y="1582"/>
                          </a:cubicBezTo>
                          <a:cubicBezTo>
                            <a:pt x="4635" y="1642"/>
                            <a:pt x="4814" y="1701"/>
                            <a:pt x="4934" y="1821"/>
                          </a:cubicBezTo>
                          <a:cubicBezTo>
                            <a:pt x="4994" y="1821"/>
                            <a:pt x="4994" y="1881"/>
                            <a:pt x="5054" y="1881"/>
                          </a:cubicBezTo>
                          <a:cubicBezTo>
                            <a:pt x="5114" y="1940"/>
                            <a:pt x="5114" y="1940"/>
                            <a:pt x="5173" y="2000"/>
                          </a:cubicBezTo>
                          <a:cubicBezTo>
                            <a:pt x="5233" y="2060"/>
                            <a:pt x="5233" y="2060"/>
                            <a:pt x="5293" y="2120"/>
                          </a:cubicBezTo>
                          <a:cubicBezTo>
                            <a:pt x="5353" y="2180"/>
                            <a:pt x="5353" y="2180"/>
                            <a:pt x="5353" y="2239"/>
                          </a:cubicBezTo>
                          <a:cubicBezTo>
                            <a:pt x="5532" y="2479"/>
                            <a:pt x="5652" y="2778"/>
                            <a:pt x="5712" y="3077"/>
                          </a:cubicBezTo>
                          <a:cubicBezTo>
                            <a:pt x="5772" y="3376"/>
                            <a:pt x="5772" y="3675"/>
                            <a:pt x="5712" y="4034"/>
                          </a:cubicBezTo>
                          <a:cubicBezTo>
                            <a:pt x="5652" y="4333"/>
                            <a:pt x="5532" y="4632"/>
                            <a:pt x="5353" y="4931"/>
                          </a:cubicBezTo>
                          <a:cubicBezTo>
                            <a:pt x="5173" y="5230"/>
                            <a:pt x="4934" y="5469"/>
                            <a:pt x="4695" y="5708"/>
                          </a:cubicBezTo>
                          <a:cubicBezTo>
                            <a:pt x="4515" y="5888"/>
                            <a:pt x="4336" y="6007"/>
                            <a:pt x="4097" y="6067"/>
                          </a:cubicBezTo>
                          <a:cubicBezTo>
                            <a:pt x="3918" y="6187"/>
                            <a:pt x="3678" y="6247"/>
                            <a:pt x="3499" y="6247"/>
                          </a:cubicBezTo>
                          <a:cubicBezTo>
                            <a:pt x="3259" y="6306"/>
                            <a:pt x="3080" y="6306"/>
                            <a:pt x="2841" y="6306"/>
                          </a:cubicBezTo>
                          <a:cubicBezTo>
                            <a:pt x="2841" y="6187"/>
                            <a:pt x="2602" y="6127"/>
                            <a:pt x="2422" y="6067"/>
                          </a:cubicBezTo>
                          <a:moveTo>
                            <a:pt x="1166" y="6725"/>
                          </a:moveTo>
                          <a:cubicBezTo>
                            <a:pt x="1226" y="6785"/>
                            <a:pt x="1346" y="6845"/>
                            <a:pt x="1405" y="6905"/>
                          </a:cubicBezTo>
                          <a:cubicBezTo>
                            <a:pt x="1465" y="6964"/>
                            <a:pt x="1585" y="7024"/>
                            <a:pt x="1645" y="7024"/>
                          </a:cubicBezTo>
                          <a:cubicBezTo>
                            <a:pt x="1705" y="7024"/>
                            <a:pt x="1824" y="7084"/>
                            <a:pt x="1884" y="7144"/>
                          </a:cubicBezTo>
                          <a:cubicBezTo>
                            <a:pt x="1944" y="7204"/>
                            <a:pt x="2064" y="7204"/>
                            <a:pt x="2183" y="7263"/>
                          </a:cubicBezTo>
                          <a:cubicBezTo>
                            <a:pt x="2422" y="7323"/>
                            <a:pt x="2721" y="7383"/>
                            <a:pt x="3020" y="7383"/>
                          </a:cubicBezTo>
                          <a:cubicBezTo>
                            <a:pt x="3319" y="7383"/>
                            <a:pt x="3619" y="7383"/>
                            <a:pt x="3858" y="7263"/>
                          </a:cubicBezTo>
                          <a:cubicBezTo>
                            <a:pt x="4097" y="7144"/>
                            <a:pt x="4456" y="7084"/>
                            <a:pt x="4695" y="6964"/>
                          </a:cubicBezTo>
                          <a:cubicBezTo>
                            <a:pt x="4994" y="6845"/>
                            <a:pt x="5233" y="6665"/>
                            <a:pt x="5473" y="6426"/>
                          </a:cubicBezTo>
                          <a:cubicBezTo>
                            <a:pt x="5891" y="6127"/>
                            <a:pt x="6190" y="5708"/>
                            <a:pt x="6489" y="5290"/>
                          </a:cubicBezTo>
                          <a:cubicBezTo>
                            <a:pt x="6728" y="4871"/>
                            <a:pt x="6908" y="4392"/>
                            <a:pt x="7027" y="3974"/>
                          </a:cubicBezTo>
                          <a:cubicBezTo>
                            <a:pt x="7087" y="3496"/>
                            <a:pt x="7087" y="3017"/>
                            <a:pt x="7027" y="2598"/>
                          </a:cubicBezTo>
                          <a:cubicBezTo>
                            <a:pt x="6968" y="2180"/>
                            <a:pt x="6788" y="1701"/>
                            <a:pt x="6489" y="1343"/>
                          </a:cubicBezTo>
                          <a:lnTo>
                            <a:pt x="5891" y="744"/>
                          </a:lnTo>
                          <a:cubicBezTo>
                            <a:pt x="5712" y="625"/>
                            <a:pt x="5532" y="505"/>
                            <a:pt x="5353" y="385"/>
                          </a:cubicBezTo>
                          <a:cubicBezTo>
                            <a:pt x="5173" y="266"/>
                            <a:pt x="4994" y="206"/>
                            <a:pt x="4755" y="146"/>
                          </a:cubicBezTo>
                          <a:cubicBezTo>
                            <a:pt x="4575" y="86"/>
                            <a:pt x="4336" y="86"/>
                            <a:pt x="4157" y="27"/>
                          </a:cubicBezTo>
                          <a:cubicBezTo>
                            <a:pt x="3977" y="-33"/>
                            <a:pt x="3738" y="27"/>
                            <a:pt x="3499" y="27"/>
                          </a:cubicBezTo>
                          <a:cubicBezTo>
                            <a:pt x="3379" y="27"/>
                            <a:pt x="3259" y="86"/>
                            <a:pt x="3200" y="86"/>
                          </a:cubicBezTo>
                          <a:cubicBezTo>
                            <a:pt x="3080" y="86"/>
                            <a:pt x="2960" y="146"/>
                            <a:pt x="2901" y="146"/>
                          </a:cubicBezTo>
                          <a:cubicBezTo>
                            <a:pt x="2841" y="146"/>
                            <a:pt x="2661" y="206"/>
                            <a:pt x="2602" y="266"/>
                          </a:cubicBezTo>
                          <a:cubicBezTo>
                            <a:pt x="2482" y="326"/>
                            <a:pt x="2422" y="385"/>
                            <a:pt x="2303" y="385"/>
                          </a:cubicBezTo>
                          <a:cubicBezTo>
                            <a:pt x="2243" y="445"/>
                            <a:pt x="2183" y="445"/>
                            <a:pt x="2123" y="505"/>
                          </a:cubicBezTo>
                          <a:cubicBezTo>
                            <a:pt x="2064" y="565"/>
                            <a:pt x="2004" y="565"/>
                            <a:pt x="1944" y="625"/>
                          </a:cubicBezTo>
                          <a:cubicBezTo>
                            <a:pt x="1884" y="684"/>
                            <a:pt x="1824" y="684"/>
                            <a:pt x="1764" y="744"/>
                          </a:cubicBezTo>
                          <a:cubicBezTo>
                            <a:pt x="1705" y="804"/>
                            <a:pt x="1645" y="804"/>
                            <a:pt x="1585" y="864"/>
                          </a:cubicBezTo>
                          <a:cubicBezTo>
                            <a:pt x="1166" y="1223"/>
                            <a:pt x="867" y="1582"/>
                            <a:pt x="628" y="2000"/>
                          </a:cubicBezTo>
                          <a:cubicBezTo>
                            <a:pt x="389" y="2419"/>
                            <a:pt x="210" y="2897"/>
                            <a:pt x="90" y="3316"/>
                          </a:cubicBezTo>
                          <a:cubicBezTo>
                            <a:pt x="-30" y="3735"/>
                            <a:pt x="-30" y="4213"/>
                            <a:pt x="90" y="4692"/>
                          </a:cubicBezTo>
                          <a:cubicBezTo>
                            <a:pt x="150" y="5110"/>
                            <a:pt x="329" y="5529"/>
                            <a:pt x="628" y="5947"/>
                          </a:cubicBezTo>
                          <a:cubicBezTo>
                            <a:pt x="688" y="6007"/>
                            <a:pt x="688" y="6067"/>
                            <a:pt x="748" y="6127"/>
                          </a:cubicBezTo>
                          <a:cubicBezTo>
                            <a:pt x="807" y="6187"/>
                            <a:pt x="807" y="6247"/>
                            <a:pt x="867" y="6247"/>
                          </a:cubicBezTo>
                          <a:cubicBezTo>
                            <a:pt x="927" y="6247"/>
                            <a:pt x="987" y="6366"/>
                            <a:pt x="987" y="6366"/>
                          </a:cubicBezTo>
                          <a:cubicBezTo>
                            <a:pt x="1047" y="6606"/>
                            <a:pt x="1106" y="6665"/>
                            <a:pt x="1166" y="6725"/>
                          </a:cubicBezTo>
                          <a:cubicBezTo>
                            <a:pt x="1106" y="6725"/>
                            <a:pt x="1166" y="6725"/>
                            <a:pt x="1166" y="6725"/>
                          </a:cubicBezTo>
                          <a:cubicBezTo>
                            <a:pt x="1166" y="6725"/>
                            <a:pt x="1166" y="6725"/>
                            <a:pt x="1166" y="6725"/>
                          </a:cubicBezTo>
                          <a:cubicBezTo>
                            <a:pt x="1166" y="6725"/>
                            <a:pt x="1166" y="6725"/>
                            <a:pt x="1166" y="6725"/>
                          </a:cubicBezTo>
                          <a:cubicBezTo>
                            <a:pt x="1166" y="6725"/>
                            <a:pt x="1166" y="6725"/>
                            <a:pt x="1166" y="6725"/>
                          </a:cubicBezTo>
                        </a:path>
                      </a:pathLst>
                    </a:custGeom>
                    <a:noFill/>
                    <a:ln w="6350" cap="flat">
                      <a:solidFill>
                        <a:schemeClr val="bg1">
                          <a:alpha val="80000"/>
                        </a:schemeClr>
                      </a:solidFill>
                      <a:prstDash val="solid"/>
                      <a:miter/>
                    </a:ln>
                  </p:spPr>
                  <p:txBody>
                    <a:bodyPr rtlCol="0" anchor="ctr"/>
                    <a:lstStyle/>
                    <a:p>
                      <a:endParaRPr lang="en-GB"/>
                    </a:p>
                  </p:txBody>
                </p:sp>
                <p:sp>
                  <p:nvSpPr>
                    <p:cNvPr id="7469" name="Vrije vorm: vorm 7468">
                      <a:extLst>
                        <a:ext uri="{FF2B5EF4-FFF2-40B4-BE49-F238E27FC236}">
                          <a16:creationId xmlns:a16="http://schemas.microsoft.com/office/drawing/2014/main" id="{7D7C6732-00BB-4AFB-A15B-273D50802C1B}"/>
                        </a:ext>
                      </a:extLst>
                    </p:cNvPr>
                    <p:cNvSpPr/>
                    <p:nvPr/>
                  </p:nvSpPr>
                  <p:spPr>
                    <a:xfrm>
                      <a:off x="4998348" y="5080962"/>
                      <a:ext cx="6818" cy="7057"/>
                    </a:xfrm>
                    <a:custGeom>
                      <a:avLst/>
                      <a:gdLst>
                        <a:gd name="connsiteX0" fmla="*/ 5801 w 6818"/>
                        <a:gd name="connsiteY0" fmla="*/ 3170 h 7057"/>
                        <a:gd name="connsiteX1" fmla="*/ 5801 w 6818"/>
                        <a:gd name="connsiteY1" fmla="*/ 3290 h 7057"/>
                        <a:gd name="connsiteX2" fmla="*/ 5801 w 6818"/>
                        <a:gd name="connsiteY2" fmla="*/ 3409 h 7057"/>
                        <a:gd name="connsiteX3" fmla="*/ 5801 w 6818"/>
                        <a:gd name="connsiteY3" fmla="*/ 3529 h 7057"/>
                        <a:gd name="connsiteX4" fmla="*/ 5801 w 6818"/>
                        <a:gd name="connsiteY4" fmla="*/ 3649 h 7057"/>
                        <a:gd name="connsiteX5" fmla="*/ 5682 w 6818"/>
                        <a:gd name="connsiteY5" fmla="*/ 4127 h 7057"/>
                        <a:gd name="connsiteX6" fmla="*/ 5443 w 6818"/>
                        <a:gd name="connsiteY6" fmla="*/ 4545 h 7057"/>
                        <a:gd name="connsiteX7" fmla="*/ 5144 w 6818"/>
                        <a:gd name="connsiteY7" fmla="*/ 4964 h 7057"/>
                        <a:gd name="connsiteX8" fmla="*/ 4785 w 6818"/>
                        <a:gd name="connsiteY8" fmla="*/ 5323 h 7057"/>
                        <a:gd name="connsiteX9" fmla="*/ 4366 w 6818"/>
                        <a:gd name="connsiteY9" fmla="*/ 5622 h 7057"/>
                        <a:gd name="connsiteX10" fmla="*/ 3947 w 6818"/>
                        <a:gd name="connsiteY10" fmla="*/ 5801 h 7057"/>
                        <a:gd name="connsiteX11" fmla="*/ 3469 w 6818"/>
                        <a:gd name="connsiteY11" fmla="*/ 5921 h 7057"/>
                        <a:gd name="connsiteX12" fmla="*/ 2990 w 6818"/>
                        <a:gd name="connsiteY12" fmla="*/ 5921 h 7057"/>
                        <a:gd name="connsiteX13" fmla="*/ 1854 w 6818"/>
                        <a:gd name="connsiteY13" fmla="*/ 5503 h 7057"/>
                        <a:gd name="connsiteX14" fmla="*/ 1436 w 6818"/>
                        <a:gd name="connsiteY14" fmla="*/ 5084 h 7057"/>
                        <a:gd name="connsiteX15" fmla="*/ 1136 w 6818"/>
                        <a:gd name="connsiteY15" fmla="*/ 4545 h 7057"/>
                        <a:gd name="connsiteX16" fmla="*/ 1017 w 6818"/>
                        <a:gd name="connsiteY16" fmla="*/ 3947 h 7057"/>
                        <a:gd name="connsiteX17" fmla="*/ 1076 w 6818"/>
                        <a:gd name="connsiteY17" fmla="*/ 3290 h 7057"/>
                        <a:gd name="connsiteX18" fmla="*/ 1196 w 6818"/>
                        <a:gd name="connsiteY18" fmla="*/ 2871 h 7057"/>
                        <a:gd name="connsiteX19" fmla="*/ 1376 w 6818"/>
                        <a:gd name="connsiteY19" fmla="*/ 2512 h 7057"/>
                        <a:gd name="connsiteX20" fmla="*/ 1615 w 6818"/>
                        <a:gd name="connsiteY20" fmla="*/ 2153 h 7057"/>
                        <a:gd name="connsiteX21" fmla="*/ 1914 w 6818"/>
                        <a:gd name="connsiteY21" fmla="*/ 1854 h 7057"/>
                        <a:gd name="connsiteX22" fmla="*/ 1974 w 6818"/>
                        <a:gd name="connsiteY22" fmla="*/ 1795 h 7057"/>
                        <a:gd name="connsiteX23" fmla="*/ 2034 w 6818"/>
                        <a:gd name="connsiteY23" fmla="*/ 1735 h 7057"/>
                        <a:gd name="connsiteX24" fmla="*/ 2093 w 6818"/>
                        <a:gd name="connsiteY24" fmla="*/ 1675 h 7057"/>
                        <a:gd name="connsiteX25" fmla="*/ 2153 w 6818"/>
                        <a:gd name="connsiteY25" fmla="*/ 1615 h 7057"/>
                        <a:gd name="connsiteX26" fmla="*/ 2452 w 6818"/>
                        <a:gd name="connsiteY26" fmla="*/ 1376 h 7057"/>
                        <a:gd name="connsiteX27" fmla="*/ 2751 w 6818"/>
                        <a:gd name="connsiteY27" fmla="*/ 1196 h 7057"/>
                        <a:gd name="connsiteX28" fmla="*/ 3050 w 6818"/>
                        <a:gd name="connsiteY28" fmla="*/ 1077 h 7057"/>
                        <a:gd name="connsiteX29" fmla="*/ 3349 w 6818"/>
                        <a:gd name="connsiteY29" fmla="*/ 1017 h 7057"/>
                        <a:gd name="connsiteX30" fmla="*/ 3469 w 6818"/>
                        <a:gd name="connsiteY30" fmla="*/ 1017 h 7057"/>
                        <a:gd name="connsiteX31" fmla="*/ 3589 w 6818"/>
                        <a:gd name="connsiteY31" fmla="*/ 1017 h 7057"/>
                        <a:gd name="connsiteX32" fmla="*/ 3708 w 6818"/>
                        <a:gd name="connsiteY32" fmla="*/ 1017 h 7057"/>
                        <a:gd name="connsiteX33" fmla="*/ 3828 w 6818"/>
                        <a:gd name="connsiteY33" fmla="*/ 1017 h 7057"/>
                        <a:gd name="connsiteX34" fmla="*/ 3888 w 6818"/>
                        <a:gd name="connsiteY34" fmla="*/ 1017 h 7057"/>
                        <a:gd name="connsiteX35" fmla="*/ 3947 w 6818"/>
                        <a:gd name="connsiteY35" fmla="*/ 1017 h 7057"/>
                        <a:gd name="connsiteX36" fmla="*/ 4007 w 6818"/>
                        <a:gd name="connsiteY36" fmla="*/ 1017 h 7057"/>
                        <a:gd name="connsiteX37" fmla="*/ 4067 w 6818"/>
                        <a:gd name="connsiteY37" fmla="*/ 1017 h 7057"/>
                        <a:gd name="connsiteX38" fmla="*/ 4306 w 6818"/>
                        <a:gd name="connsiteY38" fmla="*/ 1077 h 7057"/>
                        <a:gd name="connsiteX39" fmla="*/ 4486 w 6818"/>
                        <a:gd name="connsiteY39" fmla="*/ 1136 h 7057"/>
                        <a:gd name="connsiteX40" fmla="*/ 4665 w 6818"/>
                        <a:gd name="connsiteY40" fmla="*/ 1256 h 7057"/>
                        <a:gd name="connsiteX41" fmla="*/ 4844 w 6818"/>
                        <a:gd name="connsiteY41" fmla="*/ 1376 h 7057"/>
                        <a:gd name="connsiteX42" fmla="*/ 4904 w 6818"/>
                        <a:gd name="connsiteY42" fmla="*/ 1436 h 7057"/>
                        <a:gd name="connsiteX43" fmla="*/ 4964 w 6818"/>
                        <a:gd name="connsiteY43" fmla="*/ 1495 h 7057"/>
                        <a:gd name="connsiteX44" fmla="*/ 5024 w 6818"/>
                        <a:gd name="connsiteY44" fmla="*/ 1555 h 7057"/>
                        <a:gd name="connsiteX45" fmla="*/ 5084 w 6818"/>
                        <a:gd name="connsiteY45" fmla="*/ 1615 h 7057"/>
                        <a:gd name="connsiteX46" fmla="*/ 5084 w 6818"/>
                        <a:gd name="connsiteY46" fmla="*/ 1615 h 7057"/>
                        <a:gd name="connsiteX47" fmla="*/ 5084 w 6818"/>
                        <a:gd name="connsiteY47" fmla="*/ 1615 h 7057"/>
                        <a:gd name="connsiteX48" fmla="*/ 5084 w 6818"/>
                        <a:gd name="connsiteY48" fmla="*/ 1615 h 7057"/>
                        <a:gd name="connsiteX49" fmla="*/ 5084 w 6818"/>
                        <a:gd name="connsiteY49" fmla="*/ 1615 h 7057"/>
                        <a:gd name="connsiteX50" fmla="*/ 5144 w 6818"/>
                        <a:gd name="connsiteY50" fmla="*/ 1675 h 7057"/>
                        <a:gd name="connsiteX51" fmla="*/ 5203 w 6818"/>
                        <a:gd name="connsiteY51" fmla="*/ 1735 h 7057"/>
                        <a:gd name="connsiteX52" fmla="*/ 5263 w 6818"/>
                        <a:gd name="connsiteY52" fmla="*/ 1795 h 7057"/>
                        <a:gd name="connsiteX53" fmla="*/ 5323 w 6818"/>
                        <a:gd name="connsiteY53" fmla="*/ 1854 h 7057"/>
                        <a:gd name="connsiteX54" fmla="*/ 5503 w 6818"/>
                        <a:gd name="connsiteY54" fmla="*/ 2153 h 7057"/>
                        <a:gd name="connsiteX55" fmla="*/ 5622 w 6818"/>
                        <a:gd name="connsiteY55" fmla="*/ 2452 h 7057"/>
                        <a:gd name="connsiteX56" fmla="*/ 5682 w 6818"/>
                        <a:gd name="connsiteY56" fmla="*/ 2811 h 7057"/>
                        <a:gd name="connsiteX57" fmla="*/ 5801 w 6818"/>
                        <a:gd name="connsiteY57" fmla="*/ 3170 h 7057"/>
                        <a:gd name="connsiteX58" fmla="*/ 5801 w 6818"/>
                        <a:gd name="connsiteY58" fmla="*/ 3170 h 7057"/>
                        <a:gd name="connsiteX59" fmla="*/ 5801 w 6818"/>
                        <a:gd name="connsiteY59" fmla="*/ 3170 h 7057"/>
                        <a:gd name="connsiteX60" fmla="*/ 5801 w 6818"/>
                        <a:gd name="connsiteY60" fmla="*/ 3170 h 7057"/>
                        <a:gd name="connsiteX61" fmla="*/ 5801 w 6818"/>
                        <a:gd name="connsiteY61" fmla="*/ 3170 h 7057"/>
                        <a:gd name="connsiteX62" fmla="*/ 1076 w 6818"/>
                        <a:gd name="connsiteY62" fmla="*/ 6459 h 7057"/>
                        <a:gd name="connsiteX63" fmla="*/ 1436 w 6818"/>
                        <a:gd name="connsiteY63" fmla="*/ 6699 h 7057"/>
                        <a:gd name="connsiteX64" fmla="*/ 1854 w 6818"/>
                        <a:gd name="connsiteY64" fmla="*/ 6878 h 7057"/>
                        <a:gd name="connsiteX65" fmla="*/ 2273 w 6818"/>
                        <a:gd name="connsiteY65" fmla="*/ 6998 h 7057"/>
                        <a:gd name="connsiteX66" fmla="*/ 2751 w 6818"/>
                        <a:gd name="connsiteY66" fmla="*/ 7058 h 7057"/>
                        <a:gd name="connsiteX67" fmla="*/ 3409 w 6818"/>
                        <a:gd name="connsiteY67" fmla="*/ 7058 h 7057"/>
                        <a:gd name="connsiteX68" fmla="*/ 4067 w 6818"/>
                        <a:gd name="connsiteY68" fmla="*/ 6878 h 7057"/>
                        <a:gd name="connsiteX69" fmla="*/ 4725 w 6818"/>
                        <a:gd name="connsiteY69" fmla="*/ 6579 h 7057"/>
                        <a:gd name="connsiteX70" fmla="*/ 5323 w 6818"/>
                        <a:gd name="connsiteY70" fmla="*/ 6160 h 7057"/>
                        <a:gd name="connsiteX71" fmla="*/ 5861 w 6818"/>
                        <a:gd name="connsiteY71" fmla="*/ 5682 h 7057"/>
                        <a:gd name="connsiteX72" fmla="*/ 6280 w 6818"/>
                        <a:gd name="connsiteY72" fmla="*/ 5084 h 7057"/>
                        <a:gd name="connsiteX73" fmla="*/ 6579 w 6818"/>
                        <a:gd name="connsiteY73" fmla="*/ 4426 h 7057"/>
                        <a:gd name="connsiteX74" fmla="*/ 6758 w 6818"/>
                        <a:gd name="connsiteY74" fmla="*/ 3708 h 7057"/>
                        <a:gd name="connsiteX75" fmla="*/ 6758 w 6818"/>
                        <a:gd name="connsiteY75" fmla="*/ 3649 h 7057"/>
                        <a:gd name="connsiteX76" fmla="*/ 6758 w 6818"/>
                        <a:gd name="connsiteY76" fmla="*/ 3589 h 7057"/>
                        <a:gd name="connsiteX77" fmla="*/ 6758 w 6818"/>
                        <a:gd name="connsiteY77" fmla="*/ 3529 h 7057"/>
                        <a:gd name="connsiteX78" fmla="*/ 6758 w 6818"/>
                        <a:gd name="connsiteY78" fmla="*/ 3469 h 7057"/>
                        <a:gd name="connsiteX79" fmla="*/ 6758 w 6818"/>
                        <a:gd name="connsiteY79" fmla="*/ 3469 h 7057"/>
                        <a:gd name="connsiteX80" fmla="*/ 6758 w 6818"/>
                        <a:gd name="connsiteY80" fmla="*/ 3469 h 7057"/>
                        <a:gd name="connsiteX81" fmla="*/ 6758 w 6818"/>
                        <a:gd name="connsiteY81" fmla="*/ 3469 h 7057"/>
                        <a:gd name="connsiteX82" fmla="*/ 6758 w 6818"/>
                        <a:gd name="connsiteY82" fmla="*/ 3469 h 7057"/>
                        <a:gd name="connsiteX83" fmla="*/ 6818 w 6818"/>
                        <a:gd name="connsiteY83" fmla="*/ 3110 h 7057"/>
                        <a:gd name="connsiteX84" fmla="*/ 6818 w 6818"/>
                        <a:gd name="connsiteY84" fmla="*/ 2751 h 7057"/>
                        <a:gd name="connsiteX85" fmla="*/ 6818 w 6818"/>
                        <a:gd name="connsiteY85" fmla="*/ 2452 h 7057"/>
                        <a:gd name="connsiteX86" fmla="*/ 6758 w 6818"/>
                        <a:gd name="connsiteY86" fmla="*/ 2153 h 7057"/>
                        <a:gd name="connsiteX87" fmla="*/ 6698 w 6818"/>
                        <a:gd name="connsiteY87" fmla="*/ 1854 h 7057"/>
                        <a:gd name="connsiteX88" fmla="*/ 6579 w 6818"/>
                        <a:gd name="connsiteY88" fmla="*/ 1555 h 7057"/>
                        <a:gd name="connsiteX89" fmla="*/ 6459 w 6818"/>
                        <a:gd name="connsiteY89" fmla="*/ 1316 h 7057"/>
                        <a:gd name="connsiteX90" fmla="*/ 6280 w 6818"/>
                        <a:gd name="connsiteY90" fmla="*/ 1077 h 7057"/>
                        <a:gd name="connsiteX91" fmla="*/ 5682 w 6818"/>
                        <a:gd name="connsiteY91" fmla="*/ 419 h 7057"/>
                        <a:gd name="connsiteX92" fmla="*/ 5682 w 6818"/>
                        <a:gd name="connsiteY92" fmla="*/ 419 h 7057"/>
                        <a:gd name="connsiteX93" fmla="*/ 5682 w 6818"/>
                        <a:gd name="connsiteY93" fmla="*/ 419 h 7057"/>
                        <a:gd name="connsiteX94" fmla="*/ 5682 w 6818"/>
                        <a:gd name="connsiteY94" fmla="*/ 419 h 7057"/>
                        <a:gd name="connsiteX95" fmla="*/ 5682 w 6818"/>
                        <a:gd name="connsiteY95" fmla="*/ 419 h 7057"/>
                        <a:gd name="connsiteX96" fmla="*/ 5443 w 6818"/>
                        <a:gd name="connsiteY96" fmla="*/ 299 h 7057"/>
                        <a:gd name="connsiteX97" fmla="*/ 5203 w 6818"/>
                        <a:gd name="connsiteY97" fmla="*/ 180 h 7057"/>
                        <a:gd name="connsiteX98" fmla="*/ 4964 w 6818"/>
                        <a:gd name="connsiteY98" fmla="*/ 60 h 7057"/>
                        <a:gd name="connsiteX99" fmla="*/ 4665 w 6818"/>
                        <a:gd name="connsiteY99" fmla="*/ 0 h 7057"/>
                        <a:gd name="connsiteX100" fmla="*/ 4545 w 6818"/>
                        <a:gd name="connsiteY100" fmla="*/ 0 h 7057"/>
                        <a:gd name="connsiteX101" fmla="*/ 4426 w 6818"/>
                        <a:gd name="connsiteY101" fmla="*/ 0 h 7057"/>
                        <a:gd name="connsiteX102" fmla="*/ 4306 w 6818"/>
                        <a:gd name="connsiteY102" fmla="*/ 0 h 7057"/>
                        <a:gd name="connsiteX103" fmla="*/ 4187 w 6818"/>
                        <a:gd name="connsiteY103" fmla="*/ 0 h 7057"/>
                        <a:gd name="connsiteX104" fmla="*/ 3589 w 6818"/>
                        <a:gd name="connsiteY104" fmla="*/ 0 h 7057"/>
                        <a:gd name="connsiteX105" fmla="*/ 2990 w 6818"/>
                        <a:gd name="connsiteY105" fmla="*/ 120 h 7057"/>
                        <a:gd name="connsiteX106" fmla="*/ 2392 w 6818"/>
                        <a:gd name="connsiteY106" fmla="*/ 359 h 7057"/>
                        <a:gd name="connsiteX107" fmla="*/ 1854 w 6818"/>
                        <a:gd name="connsiteY107" fmla="*/ 658 h 7057"/>
                        <a:gd name="connsiteX108" fmla="*/ 1795 w 6818"/>
                        <a:gd name="connsiteY108" fmla="*/ 718 h 7057"/>
                        <a:gd name="connsiteX109" fmla="*/ 1735 w 6818"/>
                        <a:gd name="connsiteY109" fmla="*/ 778 h 7057"/>
                        <a:gd name="connsiteX110" fmla="*/ 1675 w 6818"/>
                        <a:gd name="connsiteY110" fmla="*/ 837 h 7057"/>
                        <a:gd name="connsiteX111" fmla="*/ 1615 w 6818"/>
                        <a:gd name="connsiteY111" fmla="*/ 897 h 7057"/>
                        <a:gd name="connsiteX112" fmla="*/ 1436 w 6818"/>
                        <a:gd name="connsiteY112" fmla="*/ 1077 h 7057"/>
                        <a:gd name="connsiteX113" fmla="*/ 1256 w 6818"/>
                        <a:gd name="connsiteY113" fmla="*/ 1256 h 7057"/>
                        <a:gd name="connsiteX114" fmla="*/ 1076 w 6818"/>
                        <a:gd name="connsiteY114" fmla="*/ 1436 h 7057"/>
                        <a:gd name="connsiteX115" fmla="*/ 897 w 6818"/>
                        <a:gd name="connsiteY115" fmla="*/ 1615 h 7057"/>
                        <a:gd name="connsiteX116" fmla="*/ 598 w 6818"/>
                        <a:gd name="connsiteY116" fmla="*/ 2034 h 7057"/>
                        <a:gd name="connsiteX117" fmla="*/ 359 w 6818"/>
                        <a:gd name="connsiteY117" fmla="*/ 2452 h 7057"/>
                        <a:gd name="connsiteX118" fmla="*/ 180 w 6818"/>
                        <a:gd name="connsiteY118" fmla="*/ 2931 h 7057"/>
                        <a:gd name="connsiteX119" fmla="*/ 60 w 6818"/>
                        <a:gd name="connsiteY119" fmla="*/ 3409 h 7057"/>
                        <a:gd name="connsiteX120" fmla="*/ 0 w 6818"/>
                        <a:gd name="connsiteY120" fmla="*/ 4366 h 7057"/>
                        <a:gd name="connsiteX121" fmla="*/ 180 w 6818"/>
                        <a:gd name="connsiteY121" fmla="*/ 5263 h 7057"/>
                        <a:gd name="connsiteX122" fmla="*/ 598 w 6818"/>
                        <a:gd name="connsiteY122" fmla="*/ 6041 h 7057"/>
                        <a:gd name="connsiteX123" fmla="*/ 1076 w 6818"/>
                        <a:gd name="connsiteY123" fmla="*/ 6459 h 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6818" h="7057">
                          <a:moveTo>
                            <a:pt x="5801" y="3170"/>
                          </a:moveTo>
                          <a:cubicBezTo>
                            <a:pt x="5801" y="3230"/>
                            <a:pt x="5801" y="3230"/>
                            <a:pt x="5801" y="3290"/>
                          </a:cubicBezTo>
                          <a:cubicBezTo>
                            <a:pt x="5801" y="3349"/>
                            <a:pt x="5801" y="3349"/>
                            <a:pt x="5801" y="3409"/>
                          </a:cubicBezTo>
                          <a:cubicBezTo>
                            <a:pt x="5801" y="3469"/>
                            <a:pt x="5801" y="3469"/>
                            <a:pt x="5801" y="3529"/>
                          </a:cubicBezTo>
                          <a:cubicBezTo>
                            <a:pt x="5801" y="3589"/>
                            <a:pt x="5801" y="3589"/>
                            <a:pt x="5801" y="3649"/>
                          </a:cubicBezTo>
                          <a:cubicBezTo>
                            <a:pt x="5801" y="3828"/>
                            <a:pt x="5742" y="3947"/>
                            <a:pt x="5682" y="4127"/>
                          </a:cubicBezTo>
                          <a:cubicBezTo>
                            <a:pt x="5622" y="4306"/>
                            <a:pt x="5562" y="4426"/>
                            <a:pt x="5443" y="4545"/>
                          </a:cubicBezTo>
                          <a:cubicBezTo>
                            <a:pt x="5383" y="4665"/>
                            <a:pt x="5263" y="4844"/>
                            <a:pt x="5144" y="4964"/>
                          </a:cubicBezTo>
                          <a:cubicBezTo>
                            <a:pt x="5024" y="5084"/>
                            <a:pt x="4904" y="5204"/>
                            <a:pt x="4785" y="5323"/>
                          </a:cubicBezTo>
                          <a:cubicBezTo>
                            <a:pt x="4665" y="5443"/>
                            <a:pt x="4545" y="5562"/>
                            <a:pt x="4366" y="5622"/>
                          </a:cubicBezTo>
                          <a:cubicBezTo>
                            <a:pt x="4246" y="5682"/>
                            <a:pt x="4067" y="5801"/>
                            <a:pt x="3947" y="5801"/>
                          </a:cubicBezTo>
                          <a:cubicBezTo>
                            <a:pt x="3828" y="5861"/>
                            <a:pt x="3649" y="5861"/>
                            <a:pt x="3469" y="5921"/>
                          </a:cubicBezTo>
                          <a:cubicBezTo>
                            <a:pt x="3290" y="5921"/>
                            <a:pt x="3170" y="5921"/>
                            <a:pt x="2990" y="5921"/>
                          </a:cubicBezTo>
                          <a:lnTo>
                            <a:pt x="1854" y="5503"/>
                          </a:lnTo>
                          <a:cubicBezTo>
                            <a:pt x="1675" y="5383"/>
                            <a:pt x="1555" y="5263"/>
                            <a:pt x="1436" y="5084"/>
                          </a:cubicBezTo>
                          <a:cubicBezTo>
                            <a:pt x="1316" y="4904"/>
                            <a:pt x="1256" y="4725"/>
                            <a:pt x="1136" y="4545"/>
                          </a:cubicBezTo>
                          <a:cubicBezTo>
                            <a:pt x="1076" y="4366"/>
                            <a:pt x="1017" y="4187"/>
                            <a:pt x="1017" y="3947"/>
                          </a:cubicBezTo>
                          <a:cubicBezTo>
                            <a:pt x="1017" y="3768"/>
                            <a:pt x="1017" y="3529"/>
                            <a:pt x="1076" y="3290"/>
                          </a:cubicBezTo>
                          <a:cubicBezTo>
                            <a:pt x="1076" y="3170"/>
                            <a:pt x="1136" y="2990"/>
                            <a:pt x="1196" y="2871"/>
                          </a:cubicBezTo>
                          <a:cubicBezTo>
                            <a:pt x="1256" y="2751"/>
                            <a:pt x="1316" y="2632"/>
                            <a:pt x="1376" y="2512"/>
                          </a:cubicBezTo>
                          <a:cubicBezTo>
                            <a:pt x="1436" y="2392"/>
                            <a:pt x="1495" y="2273"/>
                            <a:pt x="1615" y="2153"/>
                          </a:cubicBezTo>
                          <a:cubicBezTo>
                            <a:pt x="1675" y="2034"/>
                            <a:pt x="1795" y="1914"/>
                            <a:pt x="1914" y="1854"/>
                          </a:cubicBezTo>
                          <a:cubicBezTo>
                            <a:pt x="1914" y="1854"/>
                            <a:pt x="1974" y="1795"/>
                            <a:pt x="1974" y="1795"/>
                          </a:cubicBezTo>
                          <a:cubicBezTo>
                            <a:pt x="1974" y="1795"/>
                            <a:pt x="2034" y="1735"/>
                            <a:pt x="2034" y="1735"/>
                          </a:cubicBezTo>
                          <a:cubicBezTo>
                            <a:pt x="2034" y="1735"/>
                            <a:pt x="2093" y="1675"/>
                            <a:pt x="2093" y="1675"/>
                          </a:cubicBezTo>
                          <a:cubicBezTo>
                            <a:pt x="2093" y="1675"/>
                            <a:pt x="2153" y="1615"/>
                            <a:pt x="2153" y="1615"/>
                          </a:cubicBezTo>
                          <a:cubicBezTo>
                            <a:pt x="2273" y="1555"/>
                            <a:pt x="2333" y="1436"/>
                            <a:pt x="2452" y="1376"/>
                          </a:cubicBezTo>
                          <a:cubicBezTo>
                            <a:pt x="2572" y="1316"/>
                            <a:pt x="2632" y="1256"/>
                            <a:pt x="2751" y="1196"/>
                          </a:cubicBezTo>
                          <a:cubicBezTo>
                            <a:pt x="2871" y="1136"/>
                            <a:pt x="2990" y="1077"/>
                            <a:pt x="3050" y="1077"/>
                          </a:cubicBezTo>
                          <a:cubicBezTo>
                            <a:pt x="3110" y="1077"/>
                            <a:pt x="3290" y="1017"/>
                            <a:pt x="3349" y="1017"/>
                          </a:cubicBezTo>
                          <a:cubicBezTo>
                            <a:pt x="3409" y="1017"/>
                            <a:pt x="3409" y="1017"/>
                            <a:pt x="3469" y="1017"/>
                          </a:cubicBezTo>
                          <a:cubicBezTo>
                            <a:pt x="3529" y="1017"/>
                            <a:pt x="3529" y="1017"/>
                            <a:pt x="3589" y="1017"/>
                          </a:cubicBezTo>
                          <a:cubicBezTo>
                            <a:pt x="3649" y="1017"/>
                            <a:pt x="3649" y="1017"/>
                            <a:pt x="3708" y="1017"/>
                          </a:cubicBezTo>
                          <a:cubicBezTo>
                            <a:pt x="3768" y="1017"/>
                            <a:pt x="3768" y="1017"/>
                            <a:pt x="3828" y="1017"/>
                          </a:cubicBezTo>
                          <a:cubicBezTo>
                            <a:pt x="3828" y="1017"/>
                            <a:pt x="3888" y="1017"/>
                            <a:pt x="3888" y="1017"/>
                          </a:cubicBezTo>
                          <a:cubicBezTo>
                            <a:pt x="3888" y="1017"/>
                            <a:pt x="3947" y="1017"/>
                            <a:pt x="3947" y="1017"/>
                          </a:cubicBezTo>
                          <a:cubicBezTo>
                            <a:pt x="3947" y="1017"/>
                            <a:pt x="4007" y="1017"/>
                            <a:pt x="4007" y="1017"/>
                          </a:cubicBezTo>
                          <a:cubicBezTo>
                            <a:pt x="4007" y="1017"/>
                            <a:pt x="4067" y="1017"/>
                            <a:pt x="4067" y="1017"/>
                          </a:cubicBezTo>
                          <a:cubicBezTo>
                            <a:pt x="4127" y="1017"/>
                            <a:pt x="4187" y="1077"/>
                            <a:pt x="4306" y="1077"/>
                          </a:cubicBezTo>
                          <a:cubicBezTo>
                            <a:pt x="4366" y="1077"/>
                            <a:pt x="4426" y="1136"/>
                            <a:pt x="4486" y="1136"/>
                          </a:cubicBezTo>
                          <a:cubicBezTo>
                            <a:pt x="4545" y="1196"/>
                            <a:pt x="4605" y="1196"/>
                            <a:pt x="4665" y="1256"/>
                          </a:cubicBezTo>
                          <a:cubicBezTo>
                            <a:pt x="4725" y="1316"/>
                            <a:pt x="4785" y="1316"/>
                            <a:pt x="4844" y="1376"/>
                          </a:cubicBezTo>
                          <a:cubicBezTo>
                            <a:pt x="4844" y="1376"/>
                            <a:pt x="4904" y="1376"/>
                            <a:pt x="4904" y="1436"/>
                          </a:cubicBezTo>
                          <a:cubicBezTo>
                            <a:pt x="4904" y="1436"/>
                            <a:pt x="4964" y="1436"/>
                            <a:pt x="4964" y="1495"/>
                          </a:cubicBezTo>
                          <a:cubicBezTo>
                            <a:pt x="4964" y="1555"/>
                            <a:pt x="4964" y="1495"/>
                            <a:pt x="5024" y="1555"/>
                          </a:cubicBezTo>
                          <a:cubicBezTo>
                            <a:pt x="5084" y="1615"/>
                            <a:pt x="5024" y="1555"/>
                            <a:pt x="5084" y="1615"/>
                          </a:cubicBezTo>
                          <a:cubicBezTo>
                            <a:pt x="5084" y="1615"/>
                            <a:pt x="5084" y="1615"/>
                            <a:pt x="5084" y="1615"/>
                          </a:cubicBezTo>
                          <a:cubicBezTo>
                            <a:pt x="5084" y="1615"/>
                            <a:pt x="5084" y="1615"/>
                            <a:pt x="5084" y="1615"/>
                          </a:cubicBezTo>
                          <a:cubicBezTo>
                            <a:pt x="5084" y="1615"/>
                            <a:pt x="5084" y="1615"/>
                            <a:pt x="5084" y="1615"/>
                          </a:cubicBezTo>
                          <a:cubicBezTo>
                            <a:pt x="5084" y="1615"/>
                            <a:pt x="5084" y="1615"/>
                            <a:pt x="5084" y="1615"/>
                          </a:cubicBezTo>
                          <a:cubicBezTo>
                            <a:pt x="5084" y="1615"/>
                            <a:pt x="5144" y="1675"/>
                            <a:pt x="5144" y="1675"/>
                          </a:cubicBezTo>
                          <a:cubicBezTo>
                            <a:pt x="5144" y="1675"/>
                            <a:pt x="5144" y="1735"/>
                            <a:pt x="5203" y="1735"/>
                          </a:cubicBezTo>
                          <a:cubicBezTo>
                            <a:pt x="5263" y="1735"/>
                            <a:pt x="5203" y="1795"/>
                            <a:pt x="5263" y="1795"/>
                          </a:cubicBezTo>
                          <a:cubicBezTo>
                            <a:pt x="5263" y="1795"/>
                            <a:pt x="5263" y="1854"/>
                            <a:pt x="5323" y="1854"/>
                          </a:cubicBezTo>
                          <a:cubicBezTo>
                            <a:pt x="5383" y="1974"/>
                            <a:pt x="5443" y="2034"/>
                            <a:pt x="5503" y="2153"/>
                          </a:cubicBezTo>
                          <a:cubicBezTo>
                            <a:pt x="5562" y="2273"/>
                            <a:pt x="5622" y="2333"/>
                            <a:pt x="5622" y="2452"/>
                          </a:cubicBezTo>
                          <a:cubicBezTo>
                            <a:pt x="5682" y="2572"/>
                            <a:pt x="5682" y="2691"/>
                            <a:pt x="5682" y="2811"/>
                          </a:cubicBezTo>
                          <a:cubicBezTo>
                            <a:pt x="5682" y="2931"/>
                            <a:pt x="5801" y="3050"/>
                            <a:pt x="5801" y="3170"/>
                          </a:cubicBezTo>
                          <a:cubicBezTo>
                            <a:pt x="5801" y="3170"/>
                            <a:pt x="5801" y="3170"/>
                            <a:pt x="5801" y="3170"/>
                          </a:cubicBezTo>
                          <a:cubicBezTo>
                            <a:pt x="5801" y="3170"/>
                            <a:pt x="5801" y="3170"/>
                            <a:pt x="5801" y="3170"/>
                          </a:cubicBezTo>
                          <a:lnTo>
                            <a:pt x="5801" y="3170"/>
                          </a:lnTo>
                          <a:cubicBezTo>
                            <a:pt x="5801" y="3170"/>
                            <a:pt x="5801" y="3170"/>
                            <a:pt x="5801" y="3170"/>
                          </a:cubicBezTo>
                          <a:moveTo>
                            <a:pt x="1076" y="6459"/>
                          </a:moveTo>
                          <a:cubicBezTo>
                            <a:pt x="1196" y="6579"/>
                            <a:pt x="1316" y="6639"/>
                            <a:pt x="1436" y="6699"/>
                          </a:cubicBezTo>
                          <a:cubicBezTo>
                            <a:pt x="1555" y="6758"/>
                            <a:pt x="1675" y="6818"/>
                            <a:pt x="1854" y="6878"/>
                          </a:cubicBezTo>
                          <a:cubicBezTo>
                            <a:pt x="1974" y="6938"/>
                            <a:pt x="2153" y="6998"/>
                            <a:pt x="2273" y="6998"/>
                          </a:cubicBezTo>
                          <a:cubicBezTo>
                            <a:pt x="2452" y="7058"/>
                            <a:pt x="2572" y="7058"/>
                            <a:pt x="2751" y="7058"/>
                          </a:cubicBezTo>
                          <a:cubicBezTo>
                            <a:pt x="2990" y="7058"/>
                            <a:pt x="3230" y="7058"/>
                            <a:pt x="3409" y="7058"/>
                          </a:cubicBezTo>
                          <a:cubicBezTo>
                            <a:pt x="3649" y="6998"/>
                            <a:pt x="3888" y="6998"/>
                            <a:pt x="4067" y="6878"/>
                          </a:cubicBezTo>
                          <a:cubicBezTo>
                            <a:pt x="4306" y="6818"/>
                            <a:pt x="4486" y="6699"/>
                            <a:pt x="4725" y="6579"/>
                          </a:cubicBezTo>
                          <a:cubicBezTo>
                            <a:pt x="4964" y="6459"/>
                            <a:pt x="5144" y="6340"/>
                            <a:pt x="5323" y="6160"/>
                          </a:cubicBezTo>
                          <a:cubicBezTo>
                            <a:pt x="5503" y="5981"/>
                            <a:pt x="5682" y="5861"/>
                            <a:pt x="5861" y="5682"/>
                          </a:cubicBezTo>
                          <a:cubicBezTo>
                            <a:pt x="6041" y="5503"/>
                            <a:pt x="6160" y="5323"/>
                            <a:pt x="6280" y="5084"/>
                          </a:cubicBezTo>
                          <a:cubicBezTo>
                            <a:pt x="6399" y="4844"/>
                            <a:pt x="6519" y="4665"/>
                            <a:pt x="6579" y="4426"/>
                          </a:cubicBezTo>
                          <a:cubicBezTo>
                            <a:pt x="6639" y="4187"/>
                            <a:pt x="6698" y="3947"/>
                            <a:pt x="6758" y="3708"/>
                          </a:cubicBezTo>
                          <a:cubicBezTo>
                            <a:pt x="6758" y="3708"/>
                            <a:pt x="6758" y="3649"/>
                            <a:pt x="6758" y="3649"/>
                          </a:cubicBezTo>
                          <a:cubicBezTo>
                            <a:pt x="6758" y="3649"/>
                            <a:pt x="6758" y="3589"/>
                            <a:pt x="6758" y="3589"/>
                          </a:cubicBezTo>
                          <a:cubicBezTo>
                            <a:pt x="6758" y="3589"/>
                            <a:pt x="6758" y="3529"/>
                            <a:pt x="6758" y="3529"/>
                          </a:cubicBezTo>
                          <a:cubicBezTo>
                            <a:pt x="6758" y="3529"/>
                            <a:pt x="6758" y="3469"/>
                            <a:pt x="6758" y="3469"/>
                          </a:cubicBezTo>
                          <a:lnTo>
                            <a:pt x="6758" y="3469"/>
                          </a:lnTo>
                          <a:lnTo>
                            <a:pt x="6758" y="3469"/>
                          </a:lnTo>
                          <a:cubicBezTo>
                            <a:pt x="6758" y="3469"/>
                            <a:pt x="6758" y="3469"/>
                            <a:pt x="6758" y="3469"/>
                          </a:cubicBezTo>
                          <a:lnTo>
                            <a:pt x="6758" y="3469"/>
                          </a:lnTo>
                          <a:cubicBezTo>
                            <a:pt x="6758" y="3349"/>
                            <a:pt x="6758" y="3230"/>
                            <a:pt x="6818" y="3110"/>
                          </a:cubicBezTo>
                          <a:cubicBezTo>
                            <a:pt x="6818" y="2990"/>
                            <a:pt x="6818" y="2871"/>
                            <a:pt x="6818" y="2751"/>
                          </a:cubicBezTo>
                          <a:cubicBezTo>
                            <a:pt x="6818" y="2632"/>
                            <a:pt x="6818" y="2512"/>
                            <a:pt x="6818" y="2452"/>
                          </a:cubicBezTo>
                          <a:cubicBezTo>
                            <a:pt x="6818" y="2333"/>
                            <a:pt x="6758" y="2213"/>
                            <a:pt x="6758" y="2153"/>
                          </a:cubicBezTo>
                          <a:cubicBezTo>
                            <a:pt x="6758" y="2034"/>
                            <a:pt x="6698" y="1974"/>
                            <a:pt x="6698" y="1854"/>
                          </a:cubicBezTo>
                          <a:cubicBezTo>
                            <a:pt x="6639" y="1735"/>
                            <a:pt x="6639" y="1675"/>
                            <a:pt x="6579" y="1555"/>
                          </a:cubicBezTo>
                          <a:cubicBezTo>
                            <a:pt x="6519" y="1436"/>
                            <a:pt x="6519" y="1376"/>
                            <a:pt x="6459" y="1316"/>
                          </a:cubicBezTo>
                          <a:cubicBezTo>
                            <a:pt x="6399" y="1256"/>
                            <a:pt x="6340" y="1136"/>
                            <a:pt x="6280" y="1077"/>
                          </a:cubicBezTo>
                          <a:lnTo>
                            <a:pt x="5682" y="419"/>
                          </a:lnTo>
                          <a:cubicBezTo>
                            <a:pt x="5682" y="419"/>
                            <a:pt x="5682" y="419"/>
                            <a:pt x="5682" y="419"/>
                          </a:cubicBezTo>
                          <a:cubicBezTo>
                            <a:pt x="5682" y="419"/>
                            <a:pt x="5682" y="419"/>
                            <a:pt x="5682" y="419"/>
                          </a:cubicBezTo>
                          <a:cubicBezTo>
                            <a:pt x="5682" y="419"/>
                            <a:pt x="5682" y="419"/>
                            <a:pt x="5682" y="419"/>
                          </a:cubicBezTo>
                          <a:cubicBezTo>
                            <a:pt x="5682" y="419"/>
                            <a:pt x="5682" y="419"/>
                            <a:pt x="5682" y="419"/>
                          </a:cubicBezTo>
                          <a:cubicBezTo>
                            <a:pt x="5622" y="359"/>
                            <a:pt x="5503" y="299"/>
                            <a:pt x="5443" y="299"/>
                          </a:cubicBezTo>
                          <a:cubicBezTo>
                            <a:pt x="5383" y="299"/>
                            <a:pt x="5263" y="239"/>
                            <a:pt x="5203" y="180"/>
                          </a:cubicBezTo>
                          <a:cubicBezTo>
                            <a:pt x="5144" y="120"/>
                            <a:pt x="5024" y="120"/>
                            <a:pt x="4964" y="60"/>
                          </a:cubicBezTo>
                          <a:cubicBezTo>
                            <a:pt x="4904" y="0"/>
                            <a:pt x="4785" y="0"/>
                            <a:pt x="4665" y="0"/>
                          </a:cubicBezTo>
                          <a:cubicBezTo>
                            <a:pt x="4605" y="0"/>
                            <a:pt x="4545" y="0"/>
                            <a:pt x="4545" y="0"/>
                          </a:cubicBezTo>
                          <a:cubicBezTo>
                            <a:pt x="4486" y="0"/>
                            <a:pt x="4426" y="0"/>
                            <a:pt x="4426" y="0"/>
                          </a:cubicBezTo>
                          <a:cubicBezTo>
                            <a:pt x="4366" y="0"/>
                            <a:pt x="4306" y="0"/>
                            <a:pt x="4306" y="0"/>
                          </a:cubicBezTo>
                          <a:cubicBezTo>
                            <a:pt x="4306" y="0"/>
                            <a:pt x="4187" y="0"/>
                            <a:pt x="4187" y="0"/>
                          </a:cubicBezTo>
                          <a:cubicBezTo>
                            <a:pt x="4007" y="0"/>
                            <a:pt x="3768" y="0"/>
                            <a:pt x="3589" y="0"/>
                          </a:cubicBezTo>
                          <a:cubicBezTo>
                            <a:pt x="3409" y="0"/>
                            <a:pt x="3170" y="60"/>
                            <a:pt x="2990" y="120"/>
                          </a:cubicBezTo>
                          <a:cubicBezTo>
                            <a:pt x="2811" y="180"/>
                            <a:pt x="2572" y="239"/>
                            <a:pt x="2392" y="359"/>
                          </a:cubicBezTo>
                          <a:cubicBezTo>
                            <a:pt x="2213" y="419"/>
                            <a:pt x="2034" y="538"/>
                            <a:pt x="1854" y="658"/>
                          </a:cubicBezTo>
                          <a:cubicBezTo>
                            <a:pt x="1854" y="658"/>
                            <a:pt x="1795" y="718"/>
                            <a:pt x="1795" y="718"/>
                          </a:cubicBezTo>
                          <a:cubicBezTo>
                            <a:pt x="1795" y="718"/>
                            <a:pt x="1735" y="778"/>
                            <a:pt x="1735" y="778"/>
                          </a:cubicBezTo>
                          <a:cubicBezTo>
                            <a:pt x="1735" y="778"/>
                            <a:pt x="1675" y="837"/>
                            <a:pt x="1675" y="837"/>
                          </a:cubicBezTo>
                          <a:cubicBezTo>
                            <a:pt x="1675" y="837"/>
                            <a:pt x="1615" y="897"/>
                            <a:pt x="1615" y="897"/>
                          </a:cubicBezTo>
                          <a:cubicBezTo>
                            <a:pt x="1555" y="957"/>
                            <a:pt x="1495" y="1017"/>
                            <a:pt x="1436" y="1077"/>
                          </a:cubicBezTo>
                          <a:cubicBezTo>
                            <a:pt x="1376" y="1136"/>
                            <a:pt x="1316" y="1196"/>
                            <a:pt x="1256" y="1256"/>
                          </a:cubicBezTo>
                          <a:cubicBezTo>
                            <a:pt x="1196" y="1316"/>
                            <a:pt x="1136" y="1376"/>
                            <a:pt x="1076" y="1436"/>
                          </a:cubicBezTo>
                          <a:cubicBezTo>
                            <a:pt x="1017" y="1495"/>
                            <a:pt x="957" y="1555"/>
                            <a:pt x="897" y="1615"/>
                          </a:cubicBezTo>
                          <a:cubicBezTo>
                            <a:pt x="778" y="1735"/>
                            <a:pt x="718" y="1914"/>
                            <a:pt x="598" y="2034"/>
                          </a:cubicBezTo>
                          <a:cubicBezTo>
                            <a:pt x="538" y="2153"/>
                            <a:pt x="419" y="2333"/>
                            <a:pt x="359" y="2452"/>
                          </a:cubicBezTo>
                          <a:cubicBezTo>
                            <a:pt x="299" y="2632"/>
                            <a:pt x="239" y="2751"/>
                            <a:pt x="180" y="2931"/>
                          </a:cubicBezTo>
                          <a:cubicBezTo>
                            <a:pt x="120" y="3110"/>
                            <a:pt x="60" y="3230"/>
                            <a:pt x="60" y="3409"/>
                          </a:cubicBezTo>
                          <a:cubicBezTo>
                            <a:pt x="0" y="3708"/>
                            <a:pt x="0" y="4067"/>
                            <a:pt x="0" y="4366"/>
                          </a:cubicBezTo>
                          <a:cubicBezTo>
                            <a:pt x="0" y="4665"/>
                            <a:pt x="60" y="4964"/>
                            <a:pt x="180" y="5263"/>
                          </a:cubicBezTo>
                          <a:cubicBezTo>
                            <a:pt x="299" y="5562"/>
                            <a:pt x="419" y="5801"/>
                            <a:pt x="598" y="6041"/>
                          </a:cubicBezTo>
                          <a:cubicBezTo>
                            <a:pt x="658" y="6100"/>
                            <a:pt x="837" y="6280"/>
                            <a:pt x="1076" y="6459"/>
                          </a:cubicBezTo>
                        </a:path>
                      </a:pathLst>
                    </a:custGeom>
                    <a:noFill/>
                    <a:ln w="6350" cap="flat">
                      <a:solidFill>
                        <a:schemeClr val="bg1">
                          <a:alpha val="80000"/>
                        </a:schemeClr>
                      </a:solidFill>
                      <a:prstDash val="solid"/>
                      <a:miter/>
                    </a:ln>
                  </p:spPr>
                  <p:txBody>
                    <a:bodyPr rtlCol="0" anchor="ctr"/>
                    <a:lstStyle/>
                    <a:p>
                      <a:endParaRPr lang="en-GB"/>
                    </a:p>
                  </p:txBody>
                </p:sp>
                <p:sp>
                  <p:nvSpPr>
                    <p:cNvPr id="7470" name="Vrije vorm: vorm 7469">
                      <a:extLst>
                        <a:ext uri="{FF2B5EF4-FFF2-40B4-BE49-F238E27FC236}">
                          <a16:creationId xmlns:a16="http://schemas.microsoft.com/office/drawing/2014/main" id="{67BFD0ED-1C9D-48A8-B250-F74B55C0D665}"/>
                        </a:ext>
                      </a:extLst>
                    </p:cNvPr>
                    <p:cNvSpPr/>
                    <p:nvPr/>
                  </p:nvSpPr>
                  <p:spPr>
                    <a:xfrm>
                      <a:off x="5007499" y="5085926"/>
                      <a:ext cx="6997" cy="7176"/>
                    </a:xfrm>
                    <a:custGeom>
                      <a:avLst/>
                      <a:gdLst>
                        <a:gd name="connsiteX0" fmla="*/ 5143 w 6997"/>
                        <a:gd name="connsiteY0" fmla="*/ 1615 h 7176"/>
                        <a:gd name="connsiteX1" fmla="*/ 5263 w 6997"/>
                        <a:gd name="connsiteY1" fmla="*/ 1675 h 7176"/>
                        <a:gd name="connsiteX2" fmla="*/ 5382 w 6997"/>
                        <a:gd name="connsiteY2" fmla="*/ 1735 h 7176"/>
                        <a:gd name="connsiteX3" fmla="*/ 5442 w 6997"/>
                        <a:gd name="connsiteY3" fmla="*/ 1854 h 7176"/>
                        <a:gd name="connsiteX4" fmla="*/ 5502 w 6997"/>
                        <a:gd name="connsiteY4" fmla="*/ 1974 h 7176"/>
                        <a:gd name="connsiteX5" fmla="*/ 5861 w 6997"/>
                        <a:gd name="connsiteY5" fmla="*/ 2811 h 7176"/>
                        <a:gd name="connsiteX6" fmla="*/ 5861 w 6997"/>
                        <a:gd name="connsiteY6" fmla="*/ 3708 h 7176"/>
                        <a:gd name="connsiteX7" fmla="*/ 5502 w 6997"/>
                        <a:gd name="connsiteY7" fmla="*/ 4605 h 7176"/>
                        <a:gd name="connsiteX8" fmla="*/ 4844 w 6997"/>
                        <a:gd name="connsiteY8" fmla="*/ 5383 h 7176"/>
                        <a:gd name="connsiteX9" fmla="*/ 4426 w 6997"/>
                        <a:gd name="connsiteY9" fmla="*/ 5622 h 7176"/>
                        <a:gd name="connsiteX10" fmla="*/ 4007 w 6997"/>
                        <a:gd name="connsiteY10" fmla="*/ 5801 h 7176"/>
                        <a:gd name="connsiteX11" fmla="*/ 3528 w 6997"/>
                        <a:gd name="connsiteY11" fmla="*/ 5921 h 7176"/>
                        <a:gd name="connsiteX12" fmla="*/ 3050 w 6997"/>
                        <a:gd name="connsiteY12" fmla="*/ 5981 h 7176"/>
                        <a:gd name="connsiteX13" fmla="*/ 2751 w 6997"/>
                        <a:gd name="connsiteY13" fmla="*/ 5921 h 7176"/>
                        <a:gd name="connsiteX14" fmla="*/ 2452 w 6997"/>
                        <a:gd name="connsiteY14" fmla="*/ 5801 h 7176"/>
                        <a:gd name="connsiteX15" fmla="*/ 2153 w 6997"/>
                        <a:gd name="connsiteY15" fmla="*/ 5682 h 7176"/>
                        <a:gd name="connsiteX16" fmla="*/ 1914 w 6997"/>
                        <a:gd name="connsiteY16" fmla="*/ 5502 h 7176"/>
                        <a:gd name="connsiteX17" fmla="*/ 1794 w 6997"/>
                        <a:gd name="connsiteY17" fmla="*/ 5443 h 7176"/>
                        <a:gd name="connsiteX18" fmla="*/ 1674 w 6997"/>
                        <a:gd name="connsiteY18" fmla="*/ 5383 h 7176"/>
                        <a:gd name="connsiteX19" fmla="*/ 1615 w 6997"/>
                        <a:gd name="connsiteY19" fmla="*/ 5263 h 7176"/>
                        <a:gd name="connsiteX20" fmla="*/ 1555 w 6997"/>
                        <a:gd name="connsiteY20" fmla="*/ 5143 h 7176"/>
                        <a:gd name="connsiteX21" fmla="*/ 1316 w 6997"/>
                        <a:gd name="connsiteY21" fmla="*/ 4725 h 7176"/>
                        <a:gd name="connsiteX22" fmla="*/ 1196 w 6997"/>
                        <a:gd name="connsiteY22" fmla="*/ 4306 h 7176"/>
                        <a:gd name="connsiteX23" fmla="*/ 1136 w 6997"/>
                        <a:gd name="connsiteY23" fmla="*/ 3828 h 7176"/>
                        <a:gd name="connsiteX24" fmla="*/ 1196 w 6997"/>
                        <a:gd name="connsiteY24" fmla="*/ 3349 h 7176"/>
                        <a:gd name="connsiteX25" fmla="*/ 1316 w 6997"/>
                        <a:gd name="connsiteY25" fmla="*/ 2871 h 7176"/>
                        <a:gd name="connsiteX26" fmla="*/ 1555 w 6997"/>
                        <a:gd name="connsiteY26" fmla="*/ 2452 h 7176"/>
                        <a:gd name="connsiteX27" fmla="*/ 1854 w 6997"/>
                        <a:gd name="connsiteY27" fmla="*/ 2034 h 7176"/>
                        <a:gd name="connsiteX28" fmla="*/ 2213 w 6997"/>
                        <a:gd name="connsiteY28" fmla="*/ 1675 h 7176"/>
                        <a:gd name="connsiteX29" fmla="*/ 2632 w 6997"/>
                        <a:gd name="connsiteY29" fmla="*/ 1375 h 7176"/>
                        <a:gd name="connsiteX30" fmla="*/ 3050 w 6997"/>
                        <a:gd name="connsiteY30" fmla="*/ 1196 h 7176"/>
                        <a:gd name="connsiteX31" fmla="*/ 3528 w 6997"/>
                        <a:gd name="connsiteY31" fmla="*/ 1076 h 7176"/>
                        <a:gd name="connsiteX32" fmla="*/ 4007 w 6997"/>
                        <a:gd name="connsiteY32" fmla="*/ 1076 h 7176"/>
                        <a:gd name="connsiteX33" fmla="*/ 4306 w 6997"/>
                        <a:gd name="connsiteY33" fmla="*/ 1136 h 7176"/>
                        <a:gd name="connsiteX34" fmla="*/ 4605 w 6997"/>
                        <a:gd name="connsiteY34" fmla="*/ 1256 h 7176"/>
                        <a:gd name="connsiteX35" fmla="*/ 4904 w 6997"/>
                        <a:gd name="connsiteY35" fmla="*/ 1375 h 7176"/>
                        <a:gd name="connsiteX36" fmla="*/ 5143 w 6997"/>
                        <a:gd name="connsiteY36" fmla="*/ 1615 h 7176"/>
                        <a:gd name="connsiteX37" fmla="*/ 1196 w 6997"/>
                        <a:gd name="connsiteY37" fmla="*/ 6579 h 7176"/>
                        <a:gd name="connsiteX38" fmla="*/ 1555 w 6997"/>
                        <a:gd name="connsiteY38" fmla="*/ 6818 h 7176"/>
                        <a:gd name="connsiteX39" fmla="*/ 1974 w 6997"/>
                        <a:gd name="connsiteY39" fmla="*/ 6997 h 7176"/>
                        <a:gd name="connsiteX40" fmla="*/ 2392 w 6997"/>
                        <a:gd name="connsiteY40" fmla="*/ 7117 h 7176"/>
                        <a:gd name="connsiteX41" fmla="*/ 2871 w 6997"/>
                        <a:gd name="connsiteY41" fmla="*/ 7177 h 7176"/>
                        <a:gd name="connsiteX42" fmla="*/ 3528 w 6997"/>
                        <a:gd name="connsiteY42" fmla="*/ 7177 h 7176"/>
                        <a:gd name="connsiteX43" fmla="*/ 4187 w 6997"/>
                        <a:gd name="connsiteY43" fmla="*/ 6997 h 7176"/>
                        <a:gd name="connsiteX44" fmla="*/ 4844 w 6997"/>
                        <a:gd name="connsiteY44" fmla="*/ 6698 h 7176"/>
                        <a:gd name="connsiteX45" fmla="*/ 5442 w 6997"/>
                        <a:gd name="connsiteY45" fmla="*/ 6280 h 7176"/>
                        <a:gd name="connsiteX46" fmla="*/ 6340 w 6997"/>
                        <a:gd name="connsiteY46" fmla="*/ 5263 h 7176"/>
                        <a:gd name="connsiteX47" fmla="*/ 6878 w 6997"/>
                        <a:gd name="connsiteY47" fmla="*/ 4067 h 7176"/>
                        <a:gd name="connsiteX48" fmla="*/ 6997 w 6997"/>
                        <a:gd name="connsiteY48" fmla="*/ 2811 h 7176"/>
                        <a:gd name="connsiteX49" fmla="*/ 6639 w 6997"/>
                        <a:gd name="connsiteY49" fmla="*/ 1615 h 7176"/>
                        <a:gd name="connsiteX50" fmla="*/ 6579 w 6997"/>
                        <a:gd name="connsiteY50" fmla="*/ 1495 h 7176"/>
                        <a:gd name="connsiteX51" fmla="*/ 6519 w 6997"/>
                        <a:gd name="connsiteY51" fmla="*/ 1375 h 7176"/>
                        <a:gd name="connsiteX52" fmla="*/ 6459 w 6997"/>
                        <a:gd name="connsiteY52" fmla="*/ 1256 h 7176"/>
                        <a:gd name="connsiteX53" fmla="*/ 6399 w 6997"/>
                        <a:gd name="connsiteY53" fmla="*/ 1136 h 7176"/>
                        <a:gd name="connsiteX54" fmla="*/ 5801 w 6997"/>
                        <a:gd name="connsiteY54" fmla="*/ 538 h 7176"/>
                        <a:gd name="connsiteX55" fmla="*/ 5502 w 6997"/>
                        <a:gd name="connsiteY55" fmla="*/ 359 h 7176"/>
                        <a:gd name="connsiteX56" fmla="*/ 5143 w 6997"/>
                        <a:gd name="connsiteY56" fmla="*/ 180 h 7176"/>
                        <a:gd name="connsiteX57" fmla="*/ 4785 w 6997"/>
                        <a:gd name="connsiteY57" fmla="*/ 60 h 7176"/>
                        <a:gd name="connsiteX58" fmla="*/ 4426 w 6997"/>
                        <a:gd name="connsiteY58" fmla="*/ 0 h 7176"/>
                        <a:gd name="connsiteX59" fmla="*/ 4366 w 6997"/>
                        <a:gd name="connsiteY59" fmla="*/ 0 h 7176"/>
                        <a:gd name="connsiteX60" fmla="*/ 4306 w 6997"/>
                        <a:gd name="connsiteY60" fmla="*/ 0 h 7176"/>
                        <a:gd name="connsiteX61" fmla="*/ 4246 w 6997"/>
                        <a:gd name="connsiteY61" fmla="*/ 0 h 7176"/>
                        <a:gd name="connsiteX62" fmla="*/ 4187 w 6997"/>
                        <a:gd name="connsiteY62" fmla="*/ 0 h 7176"/>
                        <a:gd name="connsiteX63" fmla="*/ 3768 w 6997"/>
                        <a:gd name="connsiteY63" fmla="*/ 0 h 7176"/>
                        <a:gd name="connsiteX64" fmla="*/ 3349 w 6997"/>
                        <a:gd name="connsiteY64" fmla="*/ 60 h 7176"/>
                        <a:gd name="connsiteX65" fmla="*/ 2930 w 6997"/>
                        <a:gd name="connsiteY65" fmla="*/ 180 h 7176"/>
                        <a:gd name="connsiteX66" fmla="*/ 2572 w 6997"/>
                        <a:gd name="connsiteY66" fmla="*/ 299 h 7176"/>
                        <a:gd name="connsiteX67" fmla="*/ 2273 w 6997"/>
                        <a:gd name="connsiteY67" fmla="*/ 419 h 7176"/>
                        <a:gd name="connsiteX68" fmla="*/ 1974 w 6997"/>
                        <a:gd name="connsiteY68" fmla="*/ 538 h 7176"/>
                        <a:gd name="connsiteX69" fmla="*/ 1734 w 6997"/>
                        <a:gd name="connsiteY69" fmla="*/ 718 h 7176"/>
                        <a:gd name="connsiteX70" fmla="*/ 1495 w 6997"/>
                        <a:gd name="connsiteY70" fmla="*/ 897 h 7176"/>
                        <a:gd name="connsiteX71" fmla="*/ 957 w 6997"/>
                        <a:gd name="connsiteY71" fmla="*/ 1435 h 7176"/>
                        <a:gd name="connsiteX72" fmla="*/ 538 w 6997"/>
                        <a:gd name="connsiteY72" fmla="*/ 2034 h 7176"/>
                        <a:gd name="connsiteX73" fmla="*/ 239 w 6997"/>
                        <a:gd name="connsiteY73" fmla="*/ 2691 h 7176"/>
                        <a:gd name="connsiteX74" fmla="*/ 60 w 6997"/>
                        <a:gd name="connsiteY74" fmla="*/ 3409 h 7176"/>
                        <a:gd name="connsiteX75" fmla="*/ 0 w 6997"/>
                        <a:gd name="connsiteY75" fmla="*/ 4127 h 7176"/>
                        <a:gd name="connsiteX76" fmla="*/ 60 w 6997"/>
                        <a:gd name="connsiteY76" fmla="*/ 4785 h 7176"/>
                        <a:gd name="connsiteX77" fmla="*/ 239 w 6997"/>
                        <a:gd name="connsiteY77" fmla="*/ 5443 h 7176"/>
                        <a:gd name="connsiteX78" fmla="*/ 538 w 6997"/>
                        <a:gd name="connsiteY78" fmla="*/ 6041 h 7176"/>
                        <a:gd name="connsiteX79" fmla="*/ 658 w 6997"/>
                        <a:gd name="connsiteY79" fmla="*/ 6220 h 7176"/>
                        <a:gd name="connsiteX80" fmla="*/ 778 w 6997"/>
                        <a:gd name="connsiteY80" fmla="*/ 6340 h 7176"/>
                        <a:gd name="connsiteX81" fmla="*/ 897 w 6997"/>
                        <a:gd name="connsiteY81" fmla="*/ 6459 h 7176"/>
                        <a:gd name="connsiteX82" fmla="*/ 1196 w 6997"/>
                        <a:gd name="connsiteY82" fmla="*/ 6579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997" h="7176">
                          <a:moveTo>
                            <a:pt x="5143" y="1615"/>
                          </a:moveTo>
                          <a:cubicBezTo>
                            <a:pt x="5203" y="1615"/>
                            <a:pt x="5203" y="1675"/>
                            <a:pt x="5263" y="1675"/>
                          </a:cubicBezTo>
                          <a:cubicBezTo>
                            <a:pt x="5323" y="1675"/>
                            <a:pt x="5323" y="1735"/>
                            <a:pt x="5382" y="1735"/>
                          </a:cubicBezTo>
                          <a:cubicBezTo>
                            <a:pt x="5442" y="1735"/>
                            <a:pt x="5442" y="1794"/>
                            <a:pt x="5442" y="1854"/>
                          </a:cubicBezTo>
                          <a:cubicBezTo>
                            <a:pt x="5442" y="1914"/>
                            <a:pt x="5502" y="1914"/>
                            <a:pt x="5502" y="1974"/>
                          </a:cubicBezTo>
                          <a:cubicBezTo>
                            <a:pt x="5682" y="2213"/>
                            <a:pt x="5801" y="2512"/>
                            <a:pt x="5861" y="2811"/>
                          </a:cubicBezTo>
                          <a:cubicBezTo>
                            <a:pt x="5921" y="3110"/>
                            <a:pt x="5921" y="3409"/>
                            <a:pt x="5861" y="3708"/>
                          </a:cubicBezTo>
                          <a:cubicBezTo>
                            <a:pt x="5801" y="4007"/>
                            <a:pt x="5682" y="4306"/>
                            <a:pt x="5502" y="4605"/>
                          </a:cubicBezTo>
                          <a:cubicBezTo>
                            <a:pt x="5323" y="4904"/>
                            <a:pt x="5083" y="5143"/>
                            <a:pt x="4844" y="5383"/>
                          </a:cubicBezTo>
                          <a:cubicBezTo>
                            <a:pt x="4725" y="5502"/>
                            <a:pt x="4605" y="5562"/>
                            <a:pt x="4426" y="5622"/>
                          </a:cubicBezTo>
                          <a:cubicBezTo>
                            <a:pt x="4306" y="5682"/>
                            <a:pt x="4127" y="5742"/>
                            <a:pt x="4007" y="5801"/>
                          </a:cubicBezTo>
                          <a:cubicBezTo>
                            <a:pt x="3887" y="5861"/>
                            <a:pt x="3708" y="5861"/>
                            <a:pt x="3528" y="5921"/>
                          </a:cubicBezTo>
                          <a:cubicBezTo>
                            <a:pt x="3349" y="5921"/>
                            <a:pt x="3229" y="5981"/>
                            <a:pt x="3050" y="5981"/>
                          </a:cubicBezTo>
                          <a:cubicBezTo>
                            <a:pt x="2930" y="5981"/>
                            <a:pt x="2811" y="5921"/>
                            <a:pt x="2751" y="5921"/>
                          </a:cubicBezTo>
                          <a:cubicBezTo>
                            <a:pt x="2691" y="5921"/>
                            <a:pt x="2572" y="5861"/>
                            <a:pt x="2452" y="5801"/>
                          </a:cubicBezTo>
                          <a:cubicBezTo>
                            <a:pt x="2333" y="5742"/>
                            <a:pt x="2273" y="5742"/>
                            <a:pt x="2153" y="5682"/>
                          </a:cubicBezTo>
                          <a:cubicBezTo>
                            <a:pt x="2093" y="5622"/>
                            <a:pt x="1974" y="5562"/>
                            <a:pt x="1914" y="5502"/>
                          </a:cubicBezTo>
                          <a:cubicBezTo>
                            <a:pt x="1854" y="5502"/>
                            <a:pt x="1854" y="5443"/>
                            <a:pt x="1794" y="5443"/>
                          </a:cubicBezTo>
                          <a:cubicBezTo>
                            <a:pt x="1734" y="5443"/>
                            <a:pt x="1734" y="5383"/>
                            <a:pt x="1674" y="5383"/>
                          </a:cubicBezTo>
                          <a:cubicBezTo>
                            <a:pt x="1615" y="5383"/>
                            <a:pt x="1615" y="5323"/>
                            <a:pt x="1615" y="5263"/>
                          </a:cubicBezTo>
                          <a:cubicBezTo>
                            <a:pt x="1615" y="5203"/>
                            <a:pt x="1555" y="5203"/>
                            <a:pt x="1555" y="5143"/>
                          </a:cubicBezTo>
                          <a:cubicBezTo>
                            <a:pt x="1435" y="5024"/>
                            <a:pt x="1375" y="4904"/>
                            <a:pt x="1316" y="4725"/>
                          </a:cubicBezTo>
                          <a:cubicBezTo>
                            <a:pt x="1256" y="4605"/>
                            <a:pt x="1196" y="4426"/>
                            <a:pt x="1196" y="4306"/>
                          </a:cubicBezTo>
                          <a:cubicBezTo>
                            <a:pt x="1196" y="4187"/>
                            <a:pt x="1136" y="4007"/>
                            <a:pt x="1136" y="3828"/>
                          </a:cubicBezTo>
                          <a:cubicBezTo>
                            <a:pt x="1136" y="3648"/>
                            <a:pt x="1136" y="3529"/>
                            <a:pt x="1196" y="3349"/>
                          </a:cubicBezTo>
                          <a:cubicBezTo>
                            <a:pt x="1196" y="3170"/>
                            <a:pt x="1256" y="3050"/>
                            <a:pt x="1316" y="2871"/>
                          </a:cubicBezTo>
                          <a:cubicBezTo>
                            <a:pt x="1375" y="2691"/>
                            <a:pt x="1435" y="2572"/>
                            <a:pt x="1555" y="2452"/>
                          </a:cubicBezTo>
                          <a:cubicBezTo>
                            <a:pt x="1674" y="2333"/>
                            <a:pt x="1734" y="2153"/>
                            <a:pt x="1854" y="2034"/>
                          </a:cubicBezTo>
                          <a:cubicBezTo>
                            <a:pt x="1974" y="1914"/>
                            <a:pt x="2093" y="1794"/>
                            <a:pt x="2213" y="1675"/>
                          </a:cubicBezTo>
                          <a:cubicBezTo>
                            <a:pt x="2333" y="1555"/>
                            <a:pt x="2452" y="1495"/>
                            <a:pt x="2632" y="1375"/>
                          </a:cubicBezTo>
                          <a:cubicBezTo>
                            <a:pt x="2811" y="1256"/>
                            <a:pt x="2930" y="1256"/>
                            <a:pt x="3050" y="1196"/>
                          </a:cubicBezTo>
                          <a:cubicBezTo>
                            <a:pt x="3170" y="1136"/>
                            <a:pt x="3349" y="1136"/>
                            <a:pt x="3528" y="1076"/>
                          </a:cubicBezTo>
                          <a:cubicBezTo>
                            <a:pt x="3708" y="1076"/>
                            <a:pt x="3828" y="1076"/>
                            <a:pt x="4007" y="1076"/>
                          </a:cubicBezTo>
                          <a:cubicBezTo>
                            <a:pt x="4127" y="1076"/>
                            <a:pt x="4246" y="1136"/>
                            <a:pt x="4306" y="1136"/>
                          </a:cubicBezTo>
                          <a:cubicBezTo>
                            <a:pt x="4426" y="1136"/>
                            <a:pt x="4486" y="1196"/>
                            <a:pt x="4605" y="1256"/>
                          </a:cubicBezTo>
                          <a:cubicBezTo>
                            <a:pt x="4725" y="1316"/>
                            <a:pt x="4785" y="1316"/>
                            <a:pt x="4904" y="1375"/>
                          </a:cubicBezTo>
                          <a:cubicBezTo>
                            <a:pt x="4964" y="1495"/>
                            <a:pt x="5083" y="1555"/>
                            <a:pt x="5143" y="1615"/>
                          </a:cubicBezTo>
                          <a:moveTo>
                            <a:pt x="1196" y="6579"/>
                          </a:moveTo>
                          <a:cubicBezTo>
                            <a:pt x="1316" y="6639"/>
                            <a:pt x="1435" y="6758"/>
                            <a:pt x="1555" y="6818"/>
                          </a:cubicBezTo>
                          <a:cubicBezTo>
                            <a:pt x="1674" y="6878"/>
                            <a:pt x="1794" y="6938"/>
                            <a:pt x="1974" y="6997"/>
                          </a:cubicBezTo>
                          <a:cubicBezTo>
                            <a:pt x="2093" y="7057"/>
                            <a:pt x="2273" y="7117"/>
                            <a:pt x="2392" y="7117"/>
                          </a:cubicBezTo>
                          <a:cubicBezTo>
                            <a:pt x="2512" y="7177"/>
                            <a:pt x="2691" y="7177"/>
                            <a:pt x="2871" y="7177"/>
                          </a:cubicBezTo>
                          <a:cubicBezTo>
                            <a:pt x="3110" y="7177"/>
                            <a:pt x="3349" y="7177"/>
                            <a:pt x="3528" y="7177"/>
                          </a:cubicBezTo>
                          <a:cubicBezTo>
                            <a:pt x="3708" y="7177"/>
                            <a:pt x="4007" y="7117"/>
                            <a:pt x="4187" y="6997"/>
                          </a:cubicBezTo>
                          <a:cubicBezTo>
                            <a:pt x="4426" y="6938"/>
                            <a:pt x="4605" y="6818"/>
                            <a:pt x="4844" y="6698"/>
                          </a:cubicBezTo>
                          <a:cubicBezTo>
                            <a:pt x="5083" y="6579"/>
                            <a:pt x="5263" y="6459"/>
                            <a:pt x="5442" y="6280"/>
                          </a:cubicBezTo>
                          <a:cubicBezTo>
                            <a:pt x="5801" y="5981"/>
                            <a:pt x="6100" y="5622"/>
                            <a:pt x="6340" y="5263"/>
                          </a:cubicBezTo>
                          <a:cubicBezTo>
                            <a:pt x="6579" y="4904"/>
                            <a:pt x="6758" y="4486"/>
                            <a:pt x="6878" y="4067"/>
                          </a:cubicBezTo>
                          <a:cubicBezTo>
                            <a:pt x="6997" y="3648"/>
                            <a:pt x="6997" y="3230"/>
                            <a:pt x="6997" y="2811"/>
                          </a:cubicBezTo>
                          <a:cubicBezTo>
                            <a:pt x="6937" y="2392"/>
                            <a:pt x="6878" y="1974"/>
                            <a:pt x="6639" y="1615"/>
                          </a:cubicBezTo>
                          <a:cubicBezTo>
                            <a:pt x="6639" y="1555"/>
                            <a:pt x="6579" y="1555"/>
                            <a:pt x="6579" y="1495"/>
                          </a:cubicBezTo>
                          <a:cubicBezTo>
                            <a:pt x="6579" y="1435"/>
                            <a:pt x="6519" y="1435"/>
                            <a:pt x="6519" y="1375"/>
                          </a:cubicBezTo>
                          <a:cubicBezTo>
                            <a:pt x="6519" y="1316"/>
                            <a:pt x="6459" y="1316"/>
                            <a:pt x="6459" y="1256"/>
                          </a:cubicBezTo>
                          <a:cubicBezTo>
                            <a:pt x="6459" y="1196"/>
                            <a:pt x="6399" y="1196"/>
                            <a:pt x="6399" y="1136"/>
                          </a:cubicBezTo>
                          <a:lnTo>
                            <a:pt x="5801" y="538"/>
                          </a:lnTo>
                          <a:cubicBezTo>
                            <a:pt x="5682" y="479"/>
                            <a:pt x="5622" y="419"/>
                            <a:pt x="5502" y="359"/>
                          </a:cubicBezTo>
                          <a:cubicBezTo>
                            <a:pt x="5382" y="299"/>
                            <a:pt x="5263" y="239"/>
                            <a:pt x="5143" y="180"/>
                          </a:cubicBezTo>
                          <a:cubicBezTo>
                            <a:pt x="5024" y="120"/>
                            <a:pt x="4904" y="60"/>
                            <a:pt x="4785" y="60"/>
                          </a:cubicBezTo>
                          <a:cubicBezTo>
                            <a:pt x="4665" y="60"/>
                            <a:pt x="4545" y="0"/>
                            <a:pt x="4426" y="0"/>
                          </a:cubicBezTo>
                          <a:cubicBezTo>
                            <a:pt x="4426" y="0"/>
                            <a:pt x="4366" y="0"/>
                            <a:pt x="4366" y="0"/>
                          </a:cubicBezTo>
                          <a:cubicBezTo>
                            <a:pt x="4366" y="0"/>
                            <a:pt x="4306" y="0"/>
                            <a:pt x="4306" y="0"/>
                          </a:cubicBezTo>
                          <a:cubicBezTo>
                            <a:pt x="4306" y="0"/>
                            <a:pt x="4246" y="0"/>
                            <a:pt x="4246" y="0"/>
                          </a:cubicBezTo>
                          <a:cubicBezTo>
                            <a:pt x="4246" y="0"/>
                            <a:pt x="4187" y="0"/>
                            <a:pt x="4187" y="0"/>
                          </a:cubicBezTo>
                          <a:cubicBezTo>
                            <a:pt x="4067" y="0"/>
                            <a:pt x="3947" y="0"/>
                            <a:pt x="3768" y="0"/>
                          </a:cubicBezTo>
                          <a:cubicBezTo>
                            <a:pt x="3648" y="0"/>
                            <a:pt x="3528" y="0"/>
                            <a:pt x="3349" y="60"/>
                          </a:cubicBezTo>
                          <a:cubicBezTo>
                            <a:pt x="3229" y="60"/>
                            <a:pt x="3110" y="120"/>
                            <a:pt x="2930" y="180"/>
                          </a:cubicBezTo>
                          <a:cubicBezTo>
                            <a:pt x="2811" y="239"/>
                            <a:pt x="2691" y="239"/>
                            <a:pt x="2572" y="299"/>
                          </a:cubicBezTo>
                          <a:cubicBezTo>
                            <a:pt x="2452" y="359"/>
                            <a:pt x="2392" y="359"/>
                            <a:pt x="2273" y="419"/>
                          </a:cubicBezTo>
                          <a:cubicBezTo>
                            <a:pt x="2153" y="479"/>
                            <a:pt x="2093" y="538"/>
                            <a:pt x="1974" y="538"/>
                          </a:cubicBezTo>
                          <a:cubicBezTo>
                            <a:pt x="1854" y="538"/>
                            <a:pt x="1794" y="658"/>
                            <a:pt x="1734" y="718"/>
                          </a:cubicBezTo>
                          <a:cubicBezTo>
                            <a:pt x="1674" y="778"/>
                            <a:pt x="1555" y="837"/>
                            <a:pt x="1495" y="897"/>
                          </a:cubicBezTo>
                          <a:cubicBezTo>
                            <a:pt x="1316" y="1076"/>
                            <a:pt x="1136" y="1256"/>
                            <a:pt x="957" y="1435"/>
                          </a:cubicBezTo>
                          <a:cubicBezTo>
                            <a:pt x="778" y="1615"/>
                            <a:pt x="658" y="1794"/>
                            <a:pt x="538" y="2034"/>
                          </a:cubicBezTo>
                          <a:cubicBezTo>
                            <a:pt x="419" y="2213"/>
                            <a:pt x="299" y="2452"/>
                            <a:pt x="239" y="2691"/>
                          </a:cubicBezTo>
                          <a:cubicBezTo>
                            <a:pt x="179" y="2930"/>
                            <a:pt x="120" y="3170"/>
                            <a:pt x="60" y="3409"/>
                          </a:cubicBezTo>
                          <a:cubicBezTo>
                            <a:pt x="0" y="3648"/>
                            <a:pt x="0" y="3888"/>
                            <a:pt x="0" y="4127"/>
                          </a:cubicBezTo>
                          <a:cubicBezTo>
                            <a:pt x="0" y="4366"/>
                            <a:pt x="0" y="4605"/>
                            <a:pt x="60" y="4785"/>
                          </a:cubicBezTo>
                          <a:cubicBezTo>
                            <a:pt x="120" y="5024"/>
                            <a:pt x="179" y="5203"/>
                            <a:pt x="239" y="5443"/>
                          </a:cubicBezTo>
                          <a:cubicBezTo>
                            <a:pt x="299" y="5622"/>
                            <a:pt x="419" y="5861"/>
                            <a:pt x="538" y="6041"/>
                          </a:cubicBezTo>
                          <a:cubicBezTo>
                            <a:pt x="598" y="6100"/>
                            <a:pt x="598" y="6160"/>
                            <a:pt x="658" y="6220"/>
                          </a:cubicBezTo>
                          <a:cubicBezTo>
                            <a:pt x="718" y="6280"/>
                            <a:pt x="718" y="6340"/>
                            <a:pt x="778" y="6340"/>
                          </a:cubicBezTo>
                          <a:cubicBezTo>
                            <a:pt x="837" y="6340"/>
                            <a:pt x="897" y="6459"/>
                            <a:pt x="897" y="6459"/>
                          </a:cubicBezTo>
                          <a:cubicBezTo>
                            <a:pt x="1076" y="6459"/>
                            <a:pt x="1136" y="6519"/>
                            <a:pt x="1196" y="6579"/>
                          </a:cubicBezTo>
                        </a:path>
                      </a:pathLst>
                    </a:custGeom>
                    <a:noFill/>
                    <a:ln w="6350" cap="flat">
                      <a:solidFill>
                        <a:schemeClr val="bg1">
                          <a:alpha val="80000"/>
                        </a:schemeClr>
                      </a:solidFill>
                      <a:prstDash val="solid"/>
                      <a:miter/>
                    </a:ln>
                  </p:spPr>
                  <p:txBody>
                    <a:bodyPr rtlCol="0" anchor="ctr"/>
                    <a:lstStyle/>
                    <a:p>
                      <a:endParaRPr lang="en-GB"/>
                    </a:p>
                  </p:txBody>
                </p:sp>
                <p:sp>
                  <p:nvSpPr>
                    <p:cNvPr id="7471" name="Vrije vorm: vorm 7470">
                      <a:extLst>
                        <a:ext uri="{FF2B5EF4-FFF2-40B4-BE49-F238E27FC236}">
                          <a16:creationId xmlns:a16="http://schemas.microsoft.com/office/drawing/2014/main" id="{AC11E39E-FF96-4D1D-A926-0ECE144D858D}"/>
                        </a:ext>
                      </a:extLst>
                    </p:cNvPr>
                    <p:cNvSpPr/>
                    <p:nvPr/>
                  </p:nvSpPr>
                  <p:spPr>
                    <a:xfrm>
                      <a:off x="5009950" y="5096751"/>
                      <a:ext cx="6818" cy="7117"/>
                    </a:xfrm>
                    <a:custGeom>
                      <a:avLst/>
                      <a:gdLst>
                        <a:gd name="connsiteX0" fmla="*/ 4844 w 6818"/>
                        <a:gd name="connsiteY0" fmla="*/ 1615 h 7117"/>
                        <a:gd name="connsiteX1" fmla="*/ 4964 w 6818"/>
                        <a:gd name="connsiteY1" fmla="*/ 1675 h 7117"/>
                        <a:gd name="connsiteX2" fmla="*/ 5084 w 6818"/>
                        <a:gd name="connsiteY2" fmla="*/ 1735 h 7117"/>
                        <a:gd name="connsiteX3" fmla="*/ 5144 w 6818"/>
                        <a:gd name="connsiteY3" fmla="*/ 1854 h 7117"/>
                        <a:gd name="connsiteX4" fmla="*/ 5203 w 6818"/>
                        <a:gd name="connsiteY4" fmla="*/ 1974 h 7117"/>
                        <a:gd name="connsiteX5" fmla="*/ 5443 w 6818"/>
                        <a:gd name="connsiteY5" fmla="*/ 2392 h 7117"/>
                        <a:gd name="connsiteX6" fmla="*/ 5562 w 6818"/>
                        <a:gd name="connsiteY6" fmla="*/ 2811 h 7117"/>
                        <a:gd name="connsiteX7" fmla="*/ 5622 w 6818"/>
                        <a:gd name="connsiteY7" fmla="*/ 3289 h 7117"/>
                        <a:gd name="connsiteX8" fmla="*/ 5562 w 6818"/>
                        <a:gd name="connsiteY8" fmla="*/ 3768 h 7117"/>
                        <a:gd name="connsiteX9" fmla="*/ 5203 w 6818"/>
                        <a:gd name="connsiteY9" fmla="*/ 4665 h 7117"/>
                        <a:gd name="connsiteX10" fmla="*/ 4545 w 6818"/>
                        <a:gd name="connsiteY10" fmla="*/ 5383 h 7117"/>
                        <a:gd name="connsiteX11" fmla="*/ 3708 w 6818"/>
                        <a:gd name="connsiteY11" fmla="*/ 5861 h 7117"/>
                        <a:gd name="connsiteX12" fmla="*/ 2751 w 6818"/>
                        <a:gd name="connsiteY12" fmla="*/ 5981 h 7117"/>
                        <a:gd name="connsiteX13" fmla="*/ 2452 w 6818"/>
                        <a:gd name="connsiteY13" fmla="*/ 5921 h 7117"/>
                        <a:gd name="connsiteX14" fmla="*/ 2153 w 6818"/>
                        <a:gd name="connsiteY14" fmla="*/ 5861 h 7117"/>
                        <a:gd name="connsiteX15" fmla="*/ 1914 w 6818"/>
                        <a:gd name="connsiteY15" fmla="*/ 5742 h 7117"/>
                        <a:gd name="connsiteX16" fmla="*/ 1675 w 6818"/>
                        <a:gd name="connsiteY16" fmla="*/ 5562 h 7117"/>
                        <a:gd name="connsiteX17" fmla="*/ 1316 w 6818"/>
                        <a:gd name="connsiteY17" fmla="*/ 5143 h 7117"/>
                        <a:gd name="connsiteX18" fmla="*/ 1076 w 6818"/>
                        <a:gd name="connsiteY18" fmla="*/ 4665 h 7117"/>
                        <a:gd name="connsiteX19" fmla="*/ 957 w 6818"/>
                        <a:gd name="connsiteY19" fmla="*/ 4067 h 7117"/>
                        <a:gd name="connsiteX20" fmla="*/ 1017 w 6818"/>
                        <a:gd name="connsiteY20" fmla="*/ 3409 h 7117"/>
                        <a:gd name="connsiteX21" fmla="*/ 1136 w 6818"/>
                        <a:gd name="connsiteY21" fmla="*/ 2930 h 7117"/>
                        <a:gd name="connsiteX22" fmla="*/ 1376 w 6818"/>
                        <a:gd name="connsiteY22" fmla="*/ 2512 h 7117"/>
                        <a:gd name="connsiteX23" fmla="*/ 1675 w 6818"/>
                        <a:gd name="connsiteY23" fmla="*/ 2093 h 7117"/>
                        <a:gd name="connsiteX24" fmla="*/ 2034 w 6818"/>
                        <a:gd name="connsiteY24" fmla="*/ 1735 h 7117"/>
                        <a:gd name="connsiteX25" fmla="*/ 2452 w 6818"/>
                        <a:gd name="connsiteY25" fmla="*/ 1495 h 7117"/>
                        <a:gd name="connsiteX26" fmla="*/ 2871 w 6818"/>
                        <a:gd name="connsiteY26" fmla="*/ 1316 h 7117"/>
                        <a:gd name="connsiteX27" fmla="*/ 3349 w 6818"/>
                        <a:gd name="connsiteY27" fmla="*/ 1196 h 7117"/>
                        <a:gd name="connsiteX28" fmla="*/ 3828 w 6818"/>
                        <a:gd name="connsiteY28" fmla="*/ 1136 h 7117"/>
                        <a:gd name="connsiteX29" fmla="*/ 4127 w 6818"/>
                        <a:gd name="connsiteY29" fmla="*/ 1196 h 7117"/>
                        <a:gd name="connsiteX30" fmla="*/ 4426 w 6818"/>
                        <a:gd name="connsiteY30" fmla="*/ 1316 h 7117"/>
                        <a:gd name="connsiteX31" fmla="*/ 4725 w 6818"/>
                        <a:gd name="connsiteY31" fmla="*/ 1435 h 7117"/>
                        <a:gd name="connsiteX32" fmla="*/ 4844 w 6818"/>
                        <a:gd name="connsiteY32" fmla="*/ 1615 h 7117"/>
                        <a:gd name="connsiteX33" fmla="*/ 957 w 6818"/>
                        <a:gd name="connsiteY33" fmla="*/ 6519 h 7117"/>
                        <a:gd name="connsiteX34" fmla="*/ 1316 w 6818"/>
                        <a:gd name="connsiteY34" fmla="*/ 6758 h 7117"/>
                        <a:gd name="connsiteX35" fmla="*/ 1735 w 6818"/>
                        <a:gd name="connsiteY35" fmla="*/ 6938 h 7117"/>
                        <a:gd name="connsiteX36" fmla="*/ 2153 w 6818"/>
                        <a:gd name="connsiteY36" fmla="*/ 7057 h 7117"/>
                        <a:gd name="connsiteX37" fmla="*/ 2632 w 6818"/>
                        <a:gd name="connsiteY37" fmla="*/ 7117 h 7117"/>
                        <a:gd name="connsiteX38" fmla="*/ 4007 w 6818"/>
                        <a:gd name="connsiteY38" fmla="*/ 6878 h 7117"/>
                        <a:gd name="connsiteX39" fmla="*/ 5263 w 6818"/>
                        <a:gd name="connsiteY39" fmla="*/ 6160 h 7117"/>
                        <a:gd name="connsiteX40" fmla="*/ 6220 w 6818"/>
                        <a:gd name="connsiteY40" fmla="*/ 5084 h 7117"/>
                        <a:gd name="connsiteX41" fmla="*/ 6758 w 6818"/>
                        <a:gd name="connsiteY41" fmla="*/ 3708 h 7117"/>
                        <a:gd name="connsiteX42" fmla="*/ 6818 w 6818"/>
                        <a:gd name="connsiteY42" fmla="*/ 2751 h 7117"/>
                        <a:gd name="connsiteX43" fmla="*/ 6639 w 6818"/>
                        <a:gd name="connsiteY43" fmla="*/ 1914 h 7117"/>
                        <a:gd name="connsiteX44" fmla="*/ 6280 w 6818"/>
                        <a:gd name="connsiteY44" fmla="*/ 1196 h 7117"/>
                        <a:gd name="connsiteX45" fmla="*/ 5682 w 6818"/>
                        <a:gd name="connsiteY45" fmla="*/ 598 h 7117"/>
                        <a:gd name="connsiteX46" fmla="*/ 5323 w 6818"/>
                        <a:gd name="connsiteY46" fmla="*/ 359 h 7117"/>
                        <a:gd name="connsiteX47" fmla="*/ 4964 w 6818"/>
                        <a:gd name="connsiteY47" fmla="*/ 180 h 7117"/>
                        <a:gd name="connsiteX48" fmla="*/ 4545 w 6818"/>
                        <a:gd name="connsiteY48" fmla="*/ 60 h 7117"/>
                        <a:gd name="connsiteX49" fmla="*/ 4067 w 6818"/>
                        <a:gd name="connsiteY49" fmla="*/ 0 h 7117"/>
                        <a:gd name="connsiteX50" fmla="*/ 3409 w 6818"/>
                        <a:gd name="connsiteY50" fmla="*/ 0 h 7117"/>
                        <a:gd name="connsiteX51" fmla="*/ 2751 w 6818"/>
                        <a:gd name="connsiteY51" fmla="*/ 180 h 7117"/>
                        <a:gd name="connsiteX52" fmla="*/ 2093 w 6818"/>
                        <a:gd name="connsiteY52" fmla="*/ 479 h 7117"/>
                        <a:gd name="connsiteX53" fmla="*/ 1495 w 6818"/>
                        <a:gd name="connsiteY53" fmla="*/ 897 h 7117"/>
                        <a:gd name="connsiteX54" fmla="*/ 957 w 6818"/>
                        <a:gd name="connsiteY54" fmla="*/ 1376 h 7117"/>
                        <a:gd name="connsiteX55" fmla="*/ 538 w 6818"/>
                        <a:gd name="connsiteY55" fmla="*/ 1974 h 7117"/>
                        <a:gd name="connsiteX56" fmla="*/ 239 w 6818"/>
                        <a:gd name="connsiteY56" fmla="*/ 2632 h 7117"/>
                        <a:gd name="connsiteX57" fmla="*/ 60 w 6818"/>
                        <a:gd name="connsiteY57" fmla="*/ 3349 h 7117"/>
                        <a:gd name="connsiteX58" fmla="*/ 0 w 6818"/>
                        <a:gd name="connsiteY58" fmla="*/ 4306 h 7117"/>
                        <a:gd name="connsiteX59" fmla="*/ 180 w 6818"/>
                        <a:gd name="connsiteY59" fmla="*/ 5203 h 7117"/>
                        <a:gd name="connsiteX60" fmla="*/ 598 w 6818"/>
                        <a:gd name="connsiteY60" fmla="*/ 5981 h 7117"/>
                        <a:gd name="connsiteX61" fmla="*/ 957 w 6818"/>
                        <a:gd name="connsiteY61" fmla="*/ 6519 h 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6818" h="7117">
                          <a:moveTo>
                            <a:pt x="4844" y="1615"/>
                          </a:moveTo>
                          <a:cubicBezTo>
                            <a:pt x="4904" y="1615"/>
                            <a:pt x="4904" y="1675"/>
                            <a:pt x="4964" y="1675"/>
                          </a:cubicBezTo>
                          <a:cubicBezTo>
                            <a:pt x="5024" y="1675"/>
                            <a:pt x="5024" y="1735"/>
                            <a:pt x="5084" y="1735"/>
                          </a:cubicBezTo>
                          <a:cubicBezTo>
                            <a:pt x="5144" y="1794"/>
                            <a:pt x="5144" y="1794"/>
                            <a:pt x="5144" y="1854"/>
                          </a:cubicBezTo>
                          <a:cubicBezTo>
                            <a:pt x="5144" y="1914"/>
                            <a:pt x="5203" y="1914"/>
                            <a:pt x="5203" y="1974"/>
                          </a:cubicBezTo>
                          <a:cubicBezTo>
                            <a:pt x="5263" y="2093"/>
                            <a:pt x="5383" y="2213"/>
                            <a:pt x="5443" y="2392"/>
                          </a:cubicBezTo>
                          <a:cubicBezTo>
                            <a:pt x="5503" y="2572"/>
                            <a:pt x="5562" y="2691"/>
                            <a:pt x="5562" y="2811"/>
                          </a:cubicBezTo>
                          <a:cubicBezTo>
                            <a:pt x="5562" y="2930"/>
                            <a:pt x="5622" y="3110"/>
                            <a:pt x="5622" y="3289"/>
                          </a:cubicBezTo>
                          <a:cubicBezTo>
                            <a:pt x="5622" y="3469"/>
                            <a:pt x="5622" y="3589"/>
                            <a:pt x="5562" y="3768"/>
                          </a:cubicBezTo>
                          <a:cubicBezTo>
                            <a:pt x="5503" y="4127"/>
                            <a:pt x="5383" y="4426"/>
                            <a:pt x="5203" y="4665"/>
                          </a:cubicBezTo>
                          <a:cubicBezTo>
                            <a:pt x="5024" y="4964"/>
                            <a:pt x="4844" y="5203"/>
                            <a:pt x="4545" y="5383"/>
                          </a:cubicBezTo>
                          <a:cubicBezTo>
                            <a:pt x="4306" y="5562"/>
                            <a:pt x="4007" y="5742"/>
                            <a:pt x="3708" y="5861"/>
                          </a:cubicBezTo>
                          <a:cubicBezTo>
                            <a:pt x="3409" y="5981"/>
                            <a:pt x="3110" y="6041"/>
                            <a:pt x="2751" y="5981"/>
                          </a:cubicBezTo>
                          <a:cubicBezTo>
                            <a:pt x="2632" y="5981"/>
                            <a:pt x="2572" y="5981"/>
                            <a:pt x="2452" y="5921"/>
                          </a:cubicBezTo>
                          <a:cubicBezTo>
                            <a:pt x="2333" y="5861"/>
                            <a:pt x="2273" y="5861"/>
                            <a:pt x="2153" y="5861"/>
                          </a:cubicBezTo>
                          <a:cubicBezTo>
                            <a:pt x="2034" y="5801"/>
                            <a:pt x="1974" y="5801"/>
                            <a:pt x="1914" y="5742"/>
                          </a:cubicBezTo>
                          <a:cubicBezTo>
                            <a:pt x="1854" y="5682"/>
                            <a:pt x="1735" y="5622"/>
                            <a:pt x="1675" y="5562"/>
                          </a:cubicBezTo>
                          <a:cubicBezTo>
                            <a:pt x="1555" y="5443"/>
                            <a:pt x="1376" y="5323"/>
                            <a:pt x="1316" y="5143"/>
                          </a:cubicBezTo>
                          <a:cubicBezTo>
                            <a:pt x="1256" y="4964"/>
                            <a:pt x="1136" y="4844"/>
                            <a:pt x="1076" y="4665"/>
                          </a:cubicBezTo>
                          <a:cubicBezTo>
                            <a:pt x="1017" y="4486"/>
                            <a:pt x="957" y="4306"/>
                            <a:pt x="957" y="4067"/>
                          </a:cubicBezTo>
                          <a:cubicBezTo>
                            <a:pt x="957" y="3888"/>
                            <a:pt x="957" y="3648"/>
                            <a:pt x="1017" y="3409"/>
                          </a:cubicBezTo>
                          <a:cubicBezTo>
                            <a:pt x="1017" y="3230"/>
                            <a:pt x="1076" y="3110"/>
                            <a:pt x="1136" y="2930"/>
                          </a:cubicBezTo>
                          <a:cubicBezTo>
                            <a:pt x="1196" y="2751"/>
                            <a:pt x="1256" y="2632"/>
                            <a:pt x="1376" y="2512"/>
                          </a:cubicBezTo>
                          <a:cubicBezTo>
                            <a:pt x="1495" y="2392"/>
                            <a:pt x="1555" y="2213"/>
                            <a:pt x="1675" y="2093"/>
                          </a:cubicBezTo>
                          <a:cubicBezTo>
                            <a:pt x="1795" y="1974"/>
                            <a:pt x="1914" y="1854"/>
                            <a:pt x="2034" y="1735"/>
                          </a:cubicBezTo>
                          <a:cubicBezTo>
                            <a:pt x="2153" y="1615"/>
                            <a:pt x="2273" y="1555"/>
                            <a:pt x="2452" y="1495"/>
                          </a:cubicBezTo>
                          <a:cubicBezTo>
                            <a:pt x="2572" y="1435"/>
                            <a:pt x="2751" y="1376"/>
                            <a:pt x="2871" y="1316"/>
                          </a:cubicBezTo>
                          <a:cubicBezTo>
                            <a:pt x="2990" y="1256"/>
                            <a:pt x="3170" y="1256"/>
                            <a:pt x="3349" y="1196"/>
                          </a:cubicBezTo>
                          <a:cubicBezTo>
                            <a:pt x="3529" y="1196"/>
                            <a:pt x="3649" y="1136"/>
                            <a:pt x="3828" y="1136"/>
                          </a:cubicBezTo>
                          <a:cubicBezTo>
                            <a:pt x="3947" y="1136"/>
                            <a:pt x="4067" y="1196"/>
                            <a:pt x="4127" y="1196"/>
                          </a:cubicBezTo>
                          <a:cubicBezTo>
                            <a:pt x="4246" y="1196"/>
                            <a:pt x="4306" y="1256"/>
                            <a:pt x="4426" y="1316"/>
                          </a:cubicBezTo>
                          <a:cubicBezTo>
                            <a:pt x="4545" y="1376"/>
                            <a:pt x="4605" y="1376"/>
                            <a:pt x="4725" y="1435"/>
                          </a:cubicBezTo>
                          <a:cubicBezTo>
                            <a:pt x="4844" y="1495"/>
                            <a:pt x="4785" y="1555"/>
                            <a:pt x="4844" y="1615"/>
                          </a:cubicBezTo>
                          <a:moveTo>
                            <a:pt x="957" y="6519"/>
                          </a:moveTo>
                          <a:cubicBezTo>
                            <a:pt x="1076" y="6579"/>
                            <a:pt x="1196" y="6698"/>
                            <a:pt x="1316" y="6758"/>
                          </a:cubicBezTo>
                          <a:cubicBezTo>
                            <a:pt x="1435" y="6818"/>
                            <a:pt x="1555" y="6878"/>
                            <a:pt x="1735" y="6938"/>
                          </a:cubicBezTo>
                          <a:cubicBezTo>
                            <a:pt x="1914" y="6997"/>
                            <a:pt x="2034" y="7057"/>
                            <a:pt x="2153" y="7057"/>
                          </a:cubicBezTo>
                          <a:cubicBezTo>
                            <a:pt x="2273" y="7057"/>
                            <a:pt x="2452" y="7117"/>
                            <a:pt x="2632" y="7117"/>
                          </a:cubicBezTo>
                          <a:cubicBezTo>
                            <a:pt x="3110" y="7117"/>
                            <a:pt x="3589" y="7057"/>
                            <a:pt x="4007" y="6878"/>
                          </a:cubicBezTo>
                          <a:cubicBezTo>
                            <a:pt x="4426" y="6698"/>
                            <a:pt x="4844" y="6459"/>
                            <a:pt x="5263" y="6160"/>
                          </a:cubicBezTo>
                          <a:cubicBezTo>
                            <a:pt x="5622" y="5861"/>
                            <a:pt x="5921" y="5502"/>
                            <a:pt x="6220" y="5084"/>
                          </a:cubicBezTo>
                          <a:cubicBezTo>
                            <a:pt x="6519" y="4665"/>
                            <a:pt x="6639" y="4187"/>
                            <a:pt x="6758" y="3708"/>
                          </a:cubicBezTo>
                          <a:cubicBezTo>
                            <a:pt x="6818" y="3409"/>
                            <a:pt x="6818" y="3050"/>
                            <a:pt x="6818" y="2751"/>
                          </a:cubicBezTo>
                          <a:cubicBezTo>
                            <a:pt x="6818" y="2452"/>
                            <a:pt x="6758" y="2153"/>
                            <a:pt x="6639" y="1914"/>
                          </a:cubicBezTo>
                          <a:cubicBezTo>
                            <a:pt x="6519" y="1675"/>
                            <a:pt x="6399" y="1376"/>
                            <a:pt x="6280" y="1196"/>
                          </a:cubicBezTo>
                          <a:cubicBezTo>
                            <a:pt x="6160" y="1017"/>
                            <a:pt x="5921" y="778"/>
                            <a:pt x="5682" y="598"/>
                          </a:cubicBezTo>
                          <a:cubicBezTo>
                            <a:pt x="5562" y="479"/>
                            <a:pt x="5443" y="419"/>
                            <a:pt x="5323" y="359"/>
                          </a:cubicBezTo>
                          <a:cubicBezTo>
                            <a:pt x="5203" y="299"/>
                            <a:pt x="5084" y="239"/>
                            <a:pt x="4964" y="180"/>
                          </a:cubicBezTo>
                          <a:cubicBezTo>
                            <a:pt x="4844" y="120"/>
                            <a:pt x="4665" y="60"/>
                            <a:pt x="4545" y="60"/>
                          </a:cubicBezTo>
                          <a:cubicBezTo>
                            <a:pt x="4426" y="0"/>
                            <a:pt x="4246" y="0"/>
                            <a:pt x="4067" y="0"/>
                          </a:cubicBezTo>
                          <a:cubicBezTo>
                            <a:pt x="3828" y="0"/>
                            <a:pt x="3589" y="0"/>
                            <a:pt x="3409" y="0"/>
                          </a:cubicBezTo>
                          <a:cubicBezTo>
                            <a:pt x="3170" y="0"/>
                            <a:pt x="2930" y="60"/>
                            <a:pt x="2751" y="180"/>
                          </a:cubicBezTo>
                          <a:cubicBezTo>
                            <a:pt x="2512" y="239"/>
                            <a:pt x="2333" y="359"/>
                            <a:pt x="2093" y="479"/>
                          </a:cubicBezTo>
                          <a:cubicBezTo>
                            <a:pt x="1854" y="598"/>
                            <a:pt x="1675" y="718"/>
                            <a:pt x="1495" y="897"/>
                          </a:cubicBezTo>
                          <a:cubicBezTo>
                            <a:pt x="1316" y="1076"/>
                            <a:pt x="1136" y="1196"/>
                            <a:pt x="957" y="1376"/>
                          </a:cubicBezTo>
                          <a:cubicBezTo>
                            <a:pt x="778" y="1555"/>
                            <a:pt x="658" y="1735"/>
                            <a:pt x="538" y="1974"/>
                          </a:cubicBezTo>
                          <a:cubicBezTo>
                            <a:pt x="419" y="2213"/>
                            <a:pt x="299" y="2392"/>
                            <a:pt x="239" y="2632"/>
                          </a:cubicBezTo>
                          <a:cubicBezTo>
                            <a:pt x="180" y="2871"/>
                            <a:pt x="60" y="3110"/>
                            <a:pt x="60" y="3349"/>
                          </a:cubicBezTo>
                          <a:cubicBezTo>
                            <a:pt x="0" y="3648"/>
                            <a:pt x="0" y="4007"/>
                            <a:pt x="0" y="4306"/>
                          </a:cubicBezTo>
                          <a:cubicBezTo>
                            <a:pt x="0" y="4605"/>
                            <a:pt x="60" y="4904"/>
                            <a:pt x="180" y="5203"/>
                          </a:cubicBezTo>
                          <a:cubicBezTo>
                            <a:pt x="299" y="5502"/>
                            <a:pt x="419" y="5742"/>
                            <a:pt x="598" y="5981"/>
                          </a:cubicBezTo>
                          <a:cubicBezTo>
                            <a:pt x="538" y="6160"/>
                            <a:pt x="718" y="6340"/>
                            <a:pt x="957" y="6519"/>
                          </a:cubicBezTo>
                        </a:path>
                      </a:pathLst>
                    </a:custGeom>
                    <a:noFill/>
                    <a:ln w="6350" cap="flat">
                      <a:solidFill>
                        <a:schemeClr val="bg1">
                          <a:alpha val="80000"/>
                        </a:schemeClr>
                      </a:solidFill>
                      <a:prstDash val="solid"/>
                      <a:miter/>
                    </a:ln>
                  </p:spPr>
                  <p:txBody>
                    <a:bodyPr rtlCol="0" anchor="ctr"/>
                    <a:lstStyle/>
                    <a:p>
                      <a:endParaRPr lang="en-GB"/>
                    </a:p>
                  </p:txBody>
                </p:sp>
                <p:sp>
                  <p:nvSpPr>
                    <p:cNvPr id="7472" name="Vrije vorm: vorm 7471">
                      <a:extLst>
                        <a:ext uri="{FF2B5EF4-FFF2-40B4-BE49-F238E27FC236}">
                          <a16:creationId xmlns:a16="http://schemas.microsoft.com/office/drawing/2014/main" id="{2C958E1C-8A01-4059-94B4-6BE314124A13}"/>
                        </a:ext>
                      </a:extLst>
                    </p:cNvPr>
                    <p:cNvSpPr/>
                    <p:nvPr/>
                  </p:nvSpPr>
                  <p:spPr>
                    <a:xfrm>
                      <a:off x="5003611" y="5107038"/>
                      <a:ext cx="6947" cy="7057"/>
                    </a:xfrm>
                    <a:custGeom>
                      <a:avLst/>
                      <a:gdLst>
                        <a:gd name="connsiteX0" fmla="*/ 4964 w 6947"/>
                        <a:gd name="connsiteY0" fmla="*/ 1495 h 7057"/>
                        <a:gd name="connsiteX1" fmla="*/ 5084 w 6947"/>
                        <a:gd name="connsiteY1" fmla="*/ 1615 h 7057"/>
                        <a:gd name="connsiteX2" fmla="*/ 5203 w 6947"/>
                        <a:gd name="connsiteY2" fmla="*/ 1734 h 7057"/>
                        <a:gd name="connsiteX3" fmla="*/ 5323 w 6947"/>
                        <a:gd name="connsiteY3" fmla="*/ 1854 h 7057"/>
                        <a:gd name="connsiteX4" fmla="*/ 5383 w 6947"/>
                        <a:gd name="connsiteY4" fmla="*/ 1973 h 7057"/>
                        <a:gd name="connsiteX5" fmla="*/ 5742 w 6947"/>
                        <a:gd name="connsiteY5" fmla="*/ 2811 h 7057"/>
                        <a:gd name="connsiteX6" fmla="*/ 5742 w 6947"/>
                        <a:gd name="connsiteY6" fmla="*/ 3708 h 7057"/>
                        <a:gd name="connsiteX7" fmla="*/ 5383 w 6947"/>
                        <a:gd name="connsiteY7" fmla="*/ 4605 h 7057"/>
                        <a:gd name="connsiteX8" fmla="*/ 4725 w 6947"/>
                        <a:gd name="connsiteY8" fmla="*/ 5323 h 7057"/>
                        <a:gd name="connsiteX9" fmla="*/ 4007 w 6947"/>
                        <a:gd name="connsiteY9" fmla="*/ 5741 h 7057"/>
                        <a:gd name="connsiteX10" fmla="*/ 3230 w 6947"/>
                        <a:gd name="connsiteY10" fmla="*/ 5921 h 7057"/>
                        <a:gd name="connsiteX11" fmla="*/ 2512 w 6947"/>
                        <a:gd name="connsiteY11" fmla="*/ 5861 h 7057"/>
                        <a:gd name="connsiteX12" fmla="*/ 1854 w 6947"/>
                        <a:gd name="connsiteY12" fmla="*/ 5562 h 7057"/>
                        <a:gd name="connsiteX13" fmla="*/ 1495 w 6947"/>
                        <a:gd name="connsiteY13" fmla="*/ 5203 h 7057"/>
                        <a:gd name="connsiteX14" fmla="*/ 1256 w 6947"/>
                        <a:gd name="connsiteY14" fmla="*/ 4844 h 7057"/>
                        <a:gd name="connsiteX15" fmla="*/ 1136 w 6947"/>
                        <a:gd name="connsiteY15" fmla="*/ 4426 h 7057"/>
                        <a:gd name="connsiteX16" fmla="*/ 1076 w 6947"/>
                        <a:gd name="connsiteY16" fmla="*/ 3947 h 7057"/>
                        <a:gd name="connsiteX17" fmla="*/ 1136 w 6947"/>
                        <a:gd name="connsiteY17" fmla="*/ 3469 h 7057"/>
                        <a:gd name="connsiteX18" fmla="*/ 1256 w 6947"/>
                        <a:gd name="connsiteY18" fmla="*/ 2990 h 7057"/>
                        <a:gd name="connsiteX19" fmla="*/ 1495 w 6947"/>
                        <a:gd name="connsiteY19" fmla="*/ 2572 h 7057"/>
                        <a:gd name="connsiteX20" fmla="*/ 1794 w 6947"/>
                        <a:gd name="connsiteY20" fmla="*/ 2153 h 7057"/>
                        <a:gd name="connsiteX21" fmla="*/ 2153 w 6947"/>
                        <a:gd name="connsiteY21" fmla="*/ 1794 h 7057"/>
                        <a:gd name="connsiteX22" fmla="*/ 2572 w 6947"/>
                        <a:gd name="connsiteY22" fmla="*/ 1495 h 7057"/>
                        <a:gd name="connsiteX23" fmla="*/ 2990 w 6947"/>
                        <a:gd name="connsiteY23" fmla="*/ 1316 h 7057"/>
                        <a:gd name="connsiteX24" fmla="*/ 3469 w 6947"/>
                        <a:gd name="connsiteY24" fmla="*/ 1196 h 7057"/>
                        <a:gd name="connsiteX25" fmla="*/ 3947 w 6947"/>
                        <a:gd name="connsiteY25" fmla="*/ 1196 h 7057"/>
                        <a:gd name="connsiteX26" fmla="*/ 4246 w 6947"/>
                        <a:gd name="connsiteY26" fmla="*/ 1256 h 7057"/>
                        <a:gd name="connsiteX27" fmla="*/ 4545 w 6947"/>
                        <a:gd name="connsiteY27" fmla="*/ 1316 h 7057"/>
                        <a:gd name="connsiteX28" fmla="*/ 4785 w 6947"/>
                        <a:gd name="connsiteY28" fmla="*/ 1435 h 7057"/>
                        <a:gd name="connsiteX29" fmla="*/ 4964 w 6947"/>
                        <a:gd name="connsiteY29" fmla="*/ 1495 h 7057"/>
                        <a:gd name="connsiteX30" fmla="*/ 1136 w 6947"/>
                        <a:gd name="connsiteY30" fmla="*/ 6459 h 7057"/>
                        <a:gd name="connsiteX31" fmla="*/ 2093 w 6947"/>
                        <a:gd name="connsiteY31" fmla="*/ 6937 h 7057"/>
                        <a:gd name="connsiteX32" fmla="*/ 3170 w 6947"/>
                        <a:gd name="connsiteY32" fmla="*/ 7057 h 7057"/>
                        <a:gd name="connsiteX33" fmla="*/ 4306 w 6947"/>
                        <a:gd name="connsiteY33" fmla="*/ 6818 h 7057"/>
                        <a:gd name="connsiteX34" fmla="*/ 5383 w 6947"/>
                        <a:gd name="connsiteY34" fmla="*/ 6160 h 7057"/>
                        <a:gd name="connsiteX35" fmla="*/ 6340 w 6947"/>
                        <a:gd name="connsiteY35" fmla="*/ 5024 h 7057"/>
                        <a:gd name="connsiteX36" fmla="*/ 6878 w 6947"/>
                        <a:gd name="connsiteY36" fmla="*/ 3708 h 7057"/>
                        <a:gd name="connsiteX37" fmla="*/ 6878 w 6947"/>
                        <a:gd name="connsiteY37" fmla="*/ 2392 h 7057"/>
                        <a:gd name="connsiteX38" fmla="*/ 6340 w 6947"/>
                        <a:gd name="connsiteY38" fmla="*/ 1196 h 7057"/>
                        <a:gd name="connsiteX39" fmla="*/ 5742 w 6947"/>
                        <a:gd name="connsiteY39" fmla="*/ 598 h 7057"/>
                        <a:gd name="connsiteX40" fmla="*/ 5383 w 6947"/>
                        <a:gd name="connsiteY40" fmla="*/ 359 h 7057"/>
                        <a:gd name="connsiteX41" fmla="*/ 4964 w 6947"/>
                        <a:gd name="connsiteY41" fmla="*/ 179 h 7057"/>
                        <a:gd name="connsiteX42" fmla="*/ 4545 w 6947"/>
                        <a:gd name="connsiteY42" fmla="*/ 60 h 7057"/>
                        <a:gd name="connsiteX43" fmla="*/ 4067 w 6947"/>
                        <a:gd name="connsiteY43" fmla="*/ 0 h 7057"/>
                        <a:gd name="connsiteX44" fmla="*/ 3409 w 6947"/>
                        <a:gd name="connsiteY44" fmla="*/ 0 h 7057"/>
                        <a:gd name="connsiteX45" fmla="*/ 2751 w 6947"/>
                        <a:gd name="connsiteY45" fmla="*/ 179 h 7057"/>
                        <a:gd name="connsiteX46" fmla="*/ 2093 w 6947"/>
                        <a:gd name="connsiteY46" fmla="*/ 478 h 7057"/>
                        <a:gd name="connsiteX47" fmla="*/ 1495 w 6947"/>
                        <a:gd name="connsiteY47" fmla="*/ 897 h 7057"/>
                        <a:gd name="connsiteX48" fmla="*/ 957 w 6947"/>
                        <a:gd name="connsiteY48" fmla="*/ 1435 h 7057"/>
                        <a:gd name="connsiteX49" fmla="*/ 538 w 6947"/>
                        <a:gd name="connsiteY49" fmla="*/ 2033 h 7057"/>
                        <a:gd name="connsiteX50" fmla="*/ 239 w 6947"/>
                        <a:gd name="connsiteY50" fmla="*/ 2691 h 7057"/>
                        <a:gd name="connsiteX51" fmla="*/ 60 w 6947"/>
                        <a:gd name="connsiteY51" fmla="*/ 3409 h 7057"/>
                        <a:gd name="connsiteX52" fmla="*/ 0 w 6947"/>
                        <a:gd name="connsiteY52" fmla="*/ 4127 h 7057"/>
                        <a:gd name="connsiteX53" fmla="*/ 60 w 6947"/>
                        <a:gd name="connsiteY53" fmla="*/ 4785 h 7057"/>
                        <a:gd name="connsiteX54" fmla="*/ 239 w 6947"/>
                        <a:gd name="connsiteY54" fmla="*/ 5382 h 7057"/>
                        <a:gd name="connsiteX55" fmla="*/ 538 w 6947"/>
                        <a:gd name="connsiteY55" fmla="*/ 5921 h 7057"/>
                        <a:gd name="connsiteX56" fmla="*/ 658 w 6947"/>
                        <a:gd name="connsiteY56" fmla="*/ 6100 h 7057"/>
                        <a:gd name="connsiteX57" fmla="*/ 778 w 6947"/>
                        <a:gd name="connsiteY57" fmla="*/ 6280 h 7057"/>
                        <a:gd name="connsiteX58" fmla="*/ 957 w 6947"/>
                        <a:gd name="connsiteY58" fmla="*/ 6399 h 7057"/>
                        <a:gd name="connsiteX59" fmla="*/ 1136 w 6947"/>
                        <a:gd name="connsiteY59" fmla="*/ 6459 h 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947" h="7057">
                          <a:moveTo>
                            <a:pt x="4964" y="1495"/>
                          </a:moveTo>
                          <a:cubicBezTo>
                            <a:pt x="5024" y="1495"/>
                            <a:pt x="5024" y="1555"/>
                            <a:pt x="5084" y="1615"/>
                          </a:cubicBezTo>
                          <a:cubicBezTo>
                            <a:pt x="5144" y="1674"/>
                            <a:pt x="5144" y="1674"/>
                            <a:pt x="5203" y="1734"/>
                          </a:cubicBezTo>
                          <a:cubicBezTo>
                            <a:pt x="5263" y="1794"/>
                            <a:pt x="5263" y="1794"/>
                            <a:pt x="5323" y="1854"/>
                          </a:cubicBezTo>
                          <a:cubicBezTo>
                            <a:pt x="5383" y="1914"/>
                            <a:pt x="5383" y="1914"/>
                            <a:pt x="5383" y="1973"/>
                          </a:cubicBezTo>
                          <a:cubicBezTo>
                            <a:pt x="5562" y="2213"/>
                            <a:pt x="5682" y="2512"/>
                            <a:pt x="5742" y="2811"/>
                          </a:cubicBezTo>
                          <a:cubicBezTo>
                            <a:pt x="5801" y="3110"/>
                            <a:pt x="5801" y="3409"/>
                            <a:pt x="5742" y="3708"/>
                          </a:cubicBezTo>
                          <a:cubicBezTo>
                            <a:pt x="5682" y="4007"/>
                            <a:pt x="5562" y="4306"/>
                            <a:pt x="5383" y="4605"/>
                          </a:cubicBezTo>
                          <a:cubicBezTo>
                            <a:pt x="5203" y="4904"/>
                            <a:pt x="5024" y="5143"/>
                            <a:pt x="4725" y="5323"/>
                          </a:cubicBezTo>
                          <a:cubicBezTo>
                            <a:pt x="4486" y="5502"/>
                            <a:pt x="4246" y="5681"/>
                            <a:pt x="4007" y="5741"/>
                          </a:cubicBezTo>
                          <a:cubicBezTo>
                            <a:pt x="3768" y="5861"/>
                            <a:pt x="3469" y="5921"/>
                            <a:pt x="3230" y="5921"/>
                          </a:cubicBezTo>
                          <a:cubicBezTo>
                            <a:pt x="2990" y="5921"/>
                            <a:pt x="2751" y="5921"/>
                            <a:pt x="2512" y="5861"/>
                          </a:cubicBezTo>
                          <a:cubicBezTo>
                            <a:pt x="2273" y="5801"/>
                            <a:pt x="2034" y="5681"/>
                            <a:pt x="1854" y="5562"/>
                          </a:cubicBezTo>
                          <a:lnTo>
                            <a:pt x="1495" y="5203"/>
                          </a:lnTo>
                          <a:cubicBezTo>
                            <a:pt x="1376" y="5083"/>
                            <a:pt x="1316" y="4964"/>
                            <a:pt x="1256" y="4844"/>
                          </a:cubicBezTo>
                          <a:cubicBezTo>
                            <a:pt x="1196" y="4725"/>
                            <a:pt x="1136" y="4545"/>
                            <a:pt x="1136" y="4426"/>
                          </a:cubicBezTo>
                          <a:cubicBezTo>
                            <a:pt x="1076" y="4306"/>
                            <a:pt x="1076" y="4127"/>
                            <a:pt x="1076" y="3947"/>
                          </a:cubicBezTo>
                          <a:cubicBezTo>
                            <a:pt x="1076" y="3768"/>
                            <a:pt x="1076" y="3648"/>
                            <a:pt x="1136" y="3469"/>
                          </a:cubicBezTo>
                          <a:cubicBezTo>
                            <a:pt x="1136" y="3289"/>
                            <a:pt x="1196" y="3170"/>
                            <a:pt x="1256" y="2990"/>
                          </a:cubicBezTo>
                          <a:cubicBezTo>
                            <a:pt x="1316" y="2811"/>
                            <a:pt x="1376" y="2691"/>
                            <a:pt x="1495" y="2572"/>
                          </a:cubicBezTo>
                          <a:cubicBezTo>
                            <a:pt x="1555" y="2452"/>
                            <a:pt x="1675" y="2273"/>
                            <a:pt x="1794" y="2153"/>
                          </a:cubicBezTo>
                          <a:cubicBezTo>
                            <a:pt x="1914" y="2033"/>
                            <a:pt x="2034" y="1914"/>
                            <a:pt x="2153" y="1794"/>
                          </a:cubicBezTo>
                          <a:cubicBezTo>
                            <a:pt x="2273" y="1674"/>
                            <a:pt x="2392" y="1615"/>
                            <a:pt x="2572" y="1495"/>
                          </a:cubicBezTo>
                          <a:cubicBezTo>
                            <a:pt x="2751" y="1375"/>
                            <a:pt x="2871" y="1316"/>
                            <a:pt x="2990" y="1316"/>
                          </a:cubicBezTo>
                          <a:cubicBezTo>
                            <a:pt x="3170" y="1256"/>
                            <a:pt x="3289" y="1196"/>
                            <a:pt x="3469" y="1196"/>
                          </a:cubicBezTo>
                          <a:cubicBezTo>
                            <a:pt x="3649" y="1196"/>
                            <a:pt x="3768" y="1196"/>
                            <a:pt x="3947" y="1196"/>
                          </a:cubicBezTo>
                          <a:cubicBezTo>
                            <a:pt x="4067" y="1196"/>
                            <a:pt x="4127" y="1196"/>
                            <a:pt x="4246" y="1256"/>
                          </a:cubicBezTo>
                          <a:cubicBezTo>
                            <a:pt x="4366" y="1316"/>
                            <a:pt x="4426" y="1316"/>
                            <a:pt x="4545" y="1316"/>
                          </a:cubicBezTo>
                          <a:cubicBezTo>
                            <a:pt x="4665" y="1375"/>
                            <a:pt x="4725" y="1375"/>
                            <a:pt x="4785" y="1435"/>
                          </a:cubicBezTo>
                          <a:cubicBezTo>
                            <a:pt x="4844" y="1375"/>
                            <a:pt x="4904" y="1435"/>
                            <a:pt x="4964" y="1495"/>
                          </a:cubicBezTo>
                          <a:moveTo>
                            <a:pt x="1136" y="6459"/>
                          </a:moveTo>
                          <a:cubicBezTo>
                            <a:pt x="1435" y="6698"/>
                            <a:pt x="1735" y="6818"/>
                            <a:pt x="2093" y="6937"/>
                          </a:cubicBezTo>
                          <a:cubicBezTo>
                            <a:pt x="2452" y="7057"/>
                            <a:pt x="2811" y="7057"/>
                            <a:pt x="3170" y="7057"/>
                          </a:cubicBezTo>
                          <a:cubicBezTo>
                            <a:pt x="3529" y="7057"/>
                            <a:pt x="3888" y="6937"/>
                            <a:pt x="4306" y="6818"/>
                          </a:cubicBezTo>
                          <a:cubicBezTo>
                            <a:pt x="4725" y="6698"/>
                            <a:pt x="5024" y="6459"/>
                            <a:pt x="5383" y="6160"/>
                          </a:cubicBezTo>
                          <a:cubicBezTo>
                            <a:pt x="5801" y="5861"/>
                            <a:pt x="6100" y="5442"/>
                            <a:pt x="6340" y="5024"/>
                          </a:cubicBezTo>
                          <a:cubicBezTo>
                            <a:pt x="6579" y="4605"/>
                            <a:pt x="6758" y="4186"/>
                            <a:pt x="6878" y="3708"/>
                          </a:cubicBezTo>
                          <a:cubicBezTo>
                            <a:pt x="6938" y="3229"/>
                            <a:pt x="6998" y="2811"/>
                            <a:pt x="6878" y="2392"/>
                          </a:cubicBezTo>
                          <a:cubicBezTo>
                            <a:pt x="6758" y="1973"/>
                            <a:pt x="6639" y="1555"/>
                            <a:pt x="6340" y="1196"/>
                          </a:cubicBezTo>
                          <a:lnTo>
                            <a:pt x="5742" y="598"/>
                          </a:lnTo>
                          <a:cubicBezTo>
                            <a:pt x="5622" y="538"/>
                            <a:pt x="5503" y="419"/>
                            <a:pt x="5383" y="359"/>
                          </a:cubicBezTo>
                          <a:cubicBezTo>
                            <a:pt x="5263" y="299"/>
                            <a:pt x="5144" y="239"/>
                            <a:pt x="4964" y="179"/>
                          </a:cubicBezTo>
                          <a:cubicBezTo>
                            <a:pt x="4844" y="119"/>
                            <a:pt x="4665" y="60"/>
                            <a:pt x="4545" y="60"/>
                          </a:cubicBezTo>
                          <a:cubicBezTo>
                            <a:pt x="4426" y="60"/>
                            <a:pt x="4246" y="0"/>
                            <a:pt x="4067" y="0"/>
                          </a:cubicBezTo>
                          <a:cubicBezTo>
                            <a:pt x="3828" y="0"/>
                            <a:pt x="3589" y="0"/>
                            <a:pt x="3409" y="0"/>
                          </a:cubicBezTo>
                          <a:cubicBezTo>
                            <a:pt x="3170" y="60"/>
                            <a:pt x="2930" y="60"/>
                            <a:pt x="2751" y="179"/>
                          </a:cubicBezTo>
                          <a:cubicBezTo>
                            <a:pt x="2512" y="239"/>
                            <a:pt x="2333" y="359"/>
                            <a:pt x="2093" y="478"/>
                          </a:cubicBezTo>
                          <a:cubicBezTo>
                            <a:pt x="1854" y="598"/>
                            <a:pt x="1675" y="718"/>
                            <a:pt x="1495" y="897"/>
                          </a:cubicBezTo>
                          <a:cubicBezTo>
                            <a:pt x="1316" y="1076"/>
                            <a:pt x="1136" y="1256"/>
                            <a:pt x="957" y="1435"/>
                          </a:cubicBezTo>
                          <a:cubicBezTo>
                            <a:pt x="778" y="1615"/>
                            <a:pt x="658" y="1794"/>
                            <a:pt x="538" y="2033"/>
                          </a:cubicBezTo>
                          <a:cubicBezTo>
                            <a:pt x="419" y="2213"/>
                            <a:pt x="299" y="2452"/>
                            <a:pt x="239" y="2691"/>
                          </a:cubicBezTo>
                          <a:cubicBezTo>
                            <a:pt x="180" y="2930"/>
                            <a:pt x="120" y="3170"/>
                            <a:pt x="60" y="3409"/>
                          </a:cubicBezTo>
                          <a:cubicBezTo>
                            <a:pt x="0" y="3648"/>
                            <a:pt x="0" y="3887"/>
                            <a:pt x="0" y="4127"/>
                          </a:cubicBezTo>
                          <a:cubicBezTo>
                            <a:pt x="0" y="4366"/>
                            <a:pt x="0" y="4605"/>
                            <a:pt x="60" y="4785"/>
                          </a:cubicBezTo>
                          <a:cubicBezTo>
                            <a:pt x="120" y="5024"/>
                            <a:pt x="180" y="5203"/>
                            <a:pt x="239" y="5382"/>
                          </a:cubicBezTo>
                          <a:cubicBezTo>
                            <a:pt x="299" y="5562"/>
                            <a:pt x="419" y="5741"/>
                            <a:pt x="538" y="5921"/>
                          </a:cubicBezTo>
                          <a:cubicBezTo>
                            <a:pt x="598" y="5981"/>
                            <a:pt x="598" y="6041"/>
                            <a:pt x="658" y="6100"/>
                          </a:cubicBezTo>
                          <a:cubicBezTo>
                            <a:pt x="718" y="6160"/>
                            <a:pt x="778" y="6220"/>
                            <a:pt x="778" y="6280"/>
                          </a:cubicBezTo>
                          <a:cubicBezTo>
                            <a:pt x="778" y="6340"/>
                            <a:pt x="897" y="6399"/>
                            <a:pt x="957" y="6399"/>
                          </a:cubicBezTo>
                          <a:cubicBezTo>
                            <a:pt x="1017" y="6399"/>
                            <a:pt x="1076" y="6399"/>
                            <a:pt x="1136" y="6459"/>
                          </a:cubicBezTo>
                        </a:path>
                      </a:pathLst>
                    </a:custGeom>
                    <a:noFill/>
                    <a:ln w="6350" cap="flat">
                      <a:solidFill>
                        <a:schemeClr val="bg1">
                          <a:alpha val="80000"/>
                        </a:schemeClr>
                      </a:solidFill>
                      <a:prstDash val="solid"/>
                      <a:miter/>
                    </a:ln>
                  </p:spPr>
                  <p:txBody>
                    <a:bodyPr rtlCol="0" anchor="ctr"/>
                    <a:lstStyle/>
                    <a:p>
                      <a:endParaRPr lang="en-GB"/>
                    </a:p>
                  </p:txBody>
                </p:sp>
                <p:sp>
                  <p:nvSpPr>
                    <p:cNvPr id="7473" name="Vrije vorm: vorm 7472">
                      <a:extLst>
                        <a:ext uri="{FF2B5EF4-FFF2-40B4-BE49-F238E27FC236}">
                          <a16:creationId xmlns:a16="http://schemas.microsoft.com/office/drawing/2014/main" id="{D5384250-EA2D-4F08-A979-9A51C5D39313}"/>
                        </a:ext>
                      </a:extLst>
                    </p:cNvPr>
                    <p:cNvSpPr/>
                    <p:nvPr/>
                  </p:nvSpPr>
                  <p:spPr>
                    <a:xfrm>
                      <a:off x="4992846" y="5110746"/>
                      <a:ext cx="6877" cy="7117"/>
                    </a:xfrm>
                    <a:custGeom>
                      <a:avLst/>
                      <a:gdLst>
                        <a:gd name="connsiteX0" fmla="*/ 4844 w 6877"/>
                        <a:gd name="connsiteY0" fmla="*/ 1555 h 7117"/>
                        <a:gd name="connsiteX1" fmla="*/ 5263 w 6877"/>
                        <a:gd name="connsiteY1" fmla="*/ 1973 h 7117"/>
                        <a:gd name="connsiteX2" fmla="*/ 5562 w 6877"/>
                        <a:gd name="connsiteY2" fmla="*/ 2452 h 7117"/>
                        <a:gd name="connsiteX3" fmla="*/ 5682 w 6877"/>
                        <a:gd name="connsiteY3" fmla="*/ 3050 h 7117"/>
                        <a:gd name="connsiteX4" fmla="*/ 5622 w 6877"/>
                        <a:gd name="connsiteY4" fmla="*/ 3708 h 7117"/>
                        <a:gd name="connsiteX5" fmla="*/ 5263 w 6877"/>
                        <a:gd name="connsiteY5" fmla="*/ 4605 h 7117"/>
                        <a:gd name="connsiteX6" fmla="*/ 4605 w 6877"/>
                        <a:gd name="connsiteY6" fmla="*/ 5323 h 7117"/>
                        <a:gd name="connsiteX7" fmla="*/ 3768 w 6877"/>
                        <a:gd name="connsiteY7" fmla="*/ 5801 h 7117"/>
                        <a:gd name="connsiteX8" fmla="*/ 2811 w 6877"/>
                        <a:gd name="connsiteY8" fmla="*/ 5921 h 7117"/>
                        <a:gd name="connsiteX9" fmla="*/ 1734 w 6877"/>
                        <a:gd name="connsiteY9" fmla="*/ 5502 h 7117"/>
                        <a:gd name="connsiteX10" fmla="*/ 1316 w 6877"/>
                        <a:gd name="connsiteY10" fmla="*/ 5083 h 7117"/>
                        <a:gd name="connsiteX11" fmla="*/ 1017 w 6877"/>
                        <a:gd name="connsiteY11" fmla="*/ 4605 h 7117"/>
                        <a:gd name="connsiteX12" fmla="*/ 897 w 6877"/>
                        <a:gd name="connsiteY12" fmla="*/ 4007 h 7117"/>
                        <a:gd name="connsiteX13" fmla="*/ 957 w 6877"/>
                        <a:gd name="connsiteY13" fmla="*/ 3349 h 7117"/>
                        <a:gd name="connsiteX14" fmla="*/ 1076 w 6877"/>
                        <a:gd name="connsiteY14" fmla="*/ 2871 h 7117"/>
                        <a:gd name="connsiteX15" fmla="*/ 1316 w 6877"/>
                        <a:gd name="connsiteY15" fmla="*/ 2452 h 7117"/>
                        <a:gd name="connsiteX16" fmla="*/ 1615 w 6877"/>
                        <a:gd name="connsiteY16" fmla="*/ 2033 h 7117"/>
                        <a:gd name="connsiteX17" fmla="*/ 1974 w 6877"/>
                        <a:gd name="connsiteY17" fmla="*/ 1674 h 7117"/>
                        <a:gd name="connsiteX18" fmla="*/ 2392 w 6877"/>
                        <a:gd name="connsiteY18" fmla="*/ 1375 h 7117"/>
                        <a:gd name="connsiteX19" fmla="*/ 2811 w 6877"/>
                        <a:gd name="connsiteY19" fmla="*/ 1196 h 7117"/>
                        <a:gd name="connsiteX20" fmla="*/ 3289 w 6877"/>
                        <a:gd name="connsiteY20" fmla="*/ 1076 h 7117"/>
                        <a:gd name="connsiteX21" fmla="*/ 3768 w 6877"/>
                        <a:gd name="connsiteY21" fmla="*/ 1076 h 7117"/>
                        <a:gd name="connsiteX22" fmla="*/ 4067 w 6877"/>
                        <a:gd name="connsiteY22" fmla="*/ 1136 h 7117"/>
                        <a:gd name="connsiteX23" fmla="*/ 4366 w 6877"/>
                        <a:gd name="connsiteY23" fmla="*/ 1196 h 7117"/>
                        <a:gd name="connsiteX24" fmla="*/ 4605 w 6877"/>
                        <a:gd name="connsiteY24" fmla="*/ 1316 h 7117"/>
                        <a:gd name="connsiteX25" fmla="*/ 4844 w 6877"/>
                        <a:gd name="connsiteY25" fmla="*/ 1555 h 7117"/>
                        <a:gd name="connsiteX26" fmla="*/ 1017 w 6877"/>
                        <a:gd name="connsiteY26" fmla="*/ 6519 h 7117"/>
                        <a:gd name="connsiteX27" fmla="*/ 1375 w 6877"/>
                        <a:gd name="connsiteY27" fmla="*/ 6758 h 7117"/>
                        <a:gd name="connsiteX28" fmla="*/ 1794 w 6877"/>
                        <a:gd name="connsiteY28" fmla="*/ 6937 h 7117"/>
                        <a:gd name="connsiteX29" fmla="*/ 2213 w 6877"/>
                        <a:gd name="connsiteY29" fmla="*/ 7057 h 7117"/>
                        <a:gd name="connsiteX30" fmla="*/ 2691 w 6877"/>
                        <a:gd name="connsiteY30" fmla="*/ 7117 h 7117"/>
                        <a:gd name="connsiteX31" fmla="*/ 4067 w 6877"/>
                        <a:gd name="connsiteY31" fmla="*/ 6937 h 7117"/>
                        <a:gd name="connsiteX32" fmla="*/ 5323 w 6877"/>
                        <a:gd name="connsiteY32" fmla="*/ 6220 h 7117"/>
                        <a:gd name="connsiteX33" fmla="*/ 6280 w 6877"/>
                        <a:gd name="connsiteY33" fmla="*/ 5143 h 7117"/>
                        <a:gd name="connsiteX34" fmla="*/ 6818 w 6877"/>
                        <a:gd name="connsiteY34" fmla="*/ 3768 h 7117"/>
                        <a:gd name="connsiteX35" fmla="*/ 6878 w 6877"/>
                        <a:gd name="connsiteY35" fmla="*/ 2811 h 7117"/>
                        <a:gd name="connsiteX36" fmla="*/ 6698 w 6877"/>
                        <a:gd name="connsiteY36" fmla="*/ 1973 h 7117"/>
                        <a:gd name="connsiteX37" fmla="*/ 6280 w 6877"/>
                        <a:gd name="connsiteY37" fmla="*/ 1196 h 7117"/>
                        <a:gd name="connsiteX38" fmla="*/ 5682 w 6877"/>
                        <a:gd name="connsiteY38" fmla="*/ 598 h 7117"/>
                        <a:gd name="connsiteX39" fmla="*/ 5323 w 6877"/>
                        <a:gd name="connsiteY39" fmla="*/ 359 h 7117"/>
                        <a:gd name="connsiteX40" fmla="*/ 4964 w 6877"/>
                        <a:gd name="connsiteY40" fmla="*/ 179 h 7117"/>
                        <a:gd name="connsiteX41" fmla="*/ 4545 w 6877"/>
                        <a:gd name="connsiteY41" fmla="*/ 60 h 7117"/>
                        <a:gd name="connsiteX42" fmla="*/ 4067 w 6877"/>
                        <a:gd name="connsiteY42" fmla="*/ 0 h 7117"/>
                        <a:gd name="connsiteX43" fmla="*/ 3409 w 6877"/>
                        <a:gd name="connsiteY43" fmla="*/ 0 h 7117"/>
                        <a:gd name="connsiteX44" fmla="*/ 2751 w 6877"/>
                        <a:gd name="connsiteY44" fmla="*/ 179 h 7117"/>
                        <a:gd name="connsiteX45" fmla="*/ 2093 w 6877"/>
                        <a:gd name="connsiteY45" fmla="*/ 478 h 7117"/>
                        <a:gd name="connsiteX46" fmla="*/ 1495 w 6877"/>
                        <a:gd name="connsiteY46" fmla="*/ 897 h 7117"/>
                        <a:gd name="connsiteX47" fmla="*/ 957 w 6877"/>
                        <a:gd name="connsiteY47" fmla="*/ 1375 h 7117"/>
                        <a:gd name="connsiteX48" fmla="*/ 538 w 6877"/>
                        <a:gd name="connsiteY48" fmla="*/ 1973 h 7117"/>
                        <a:gd name="connsiteX49" fmla="*/ 239 w 6877"/>
                        <a:gd name="connsiteY49" fmla="*/ 2632 h 7117"/>
                        <a:gd name="connsiteX50" fmla="*/ 60 w 6877"/>
                        <a:gd name="connsiteY50" fmla="*/ 3349 h 7117"/>
                        <a:gd name="connsiteX51" fmla="*/ 0 w 6877"/>
                        <a:gd name="connsiteY51" fmla="*/ 4306 h 7117"/>
                        <a:gd name="connsiteX52" fmla="*/ 180 w 6877"/>
                        <a:gd name="connsiteY52" fmla="*/ 5203 h 7117"/>
                        <a:gd name="connsiteX53" fmla="*/ 598 w 6877"/>
                        <a:gd name="connsiteY53" fmla="*/ 5981 h 7117"/>
                        <a:gd name="connsiteX54" fmla="*/ 1017 w 6877"/>
                        <a:gd name="connsiteY54" fmla="*/ 6519 h 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877" h="7117">
                          <a:moveTo>
                            <a:pt x="4844" y="1555"/>
                          </a:moveTo>
                          <a:cubicBezTo>
                            <a:pt x="5024" y="1674"/>
                            <a:pt x="5143" y="1794"/>
                            <a:pt x="5263" y="1973"/>
                          </a:cubicBezTo>
                          <a:cubicBezTo>
                            <a:pt x="5383" y="2153"/>
                            <a:pt x="5443" y="2273"/>
                            <a:pt x="5562" y="2452"/>
                          </a:cubicBezTo>
                          <a:cubicBezTo>
                            <a:pt x="5622" y="2632"/>
                            <a:pt x="5682" y="2811"/>
                            <a:pt x="5682" y="3050"/>
                          </a:cubicBezTo>
                          <a:cubicBezTo>
                            <a:pt x="5682" y="3229"/>
                            <a:pt x="5682" y="3469"/>
                            <a:pt x="5622" y="3708"/>
                          </a:cubicBezTo>
                          <a:cubicBezTo>
                            <a:pt x="5562" y="4067"/>
                            <a:pt x="5443" y="4366"/>
                            <a:pt x="5263" y="4605"/>
                          </a:cubicBezTo>
                          <a:cubicBezTo>
                            <a:pt x="5083" y="4844"/>
                            <a:pt x="4904" y="5143"/>
                            <a:pt x="4605" y="5323"/>
                          </a:cubicBezTo>
                          <a:cubicBezTo>
                            <a:pt x="4366" y="5502"/>
                            <a:pt x="4067" y="5682"/>
                            <a:pt x="3768" y="5801"/>
                          </a:cubicBezTo>
                          <a:cubicBezTo>
                            <a:pt x="3469" y="5921"/>
                            <a:pt x="3170" y="5981"/>
                            <a:pt x="2811" y="5921"/>
                          </a:cubicBezTo>
                          <a:lnTo>
                            <a:pt x="1734" y="5502"/>
                          </a:lnTo>
                          <a:cubicBezTo>
                            <a:pt x="1555" y="5382"/>
                            <a:pt x="1435" y="5263"/>
                            <a:pt x="1316" y="5083"/>
                          </a:cubicBezTo>
                          <a:cubicBezTo>
                            <a:pt x="1196" y="4904"/>
                            <a:pt x="1136" y="4785"/>
                            <a:pt x="1017" y="4605"/>
                          </a:cubicBezTo>
                          <a:cubicBezTo>
                            <a:pt x="957" y="4426"/>
                            <a:pt x="897" y="4246"/>
                            <a:pt x="897" y="4007"/>
                          </a:cubicBezTo>
                          <a:cubicBezTo>
                            <a:pt x="897" y="3768"/>
                            <a:pt x="897" y="3588"/>
                            <a:pt x="957" y="3349"/>
                          </a:cubicBezTo>
                          <a:cubicBezTo>
                            <a:pt x="957" y="3170"/>
                            <a:pt x="1017" y="3050"/>
                            <a:pt x="1076" y="2871"/>
                          </a:cubicBezTo>
                          <a:cubicBezTo>
                            <a:pt x="1136" y="2691"/>
                            <a:pt x="1196" y="2572"/>
                            <a:pt x="1316" y="2452"/>
                          </a:cubicBezTo>
                          <a:cubicBezTo>
                            <a:pt x="1375" y="2333"/>
                            <a:pt x="1495" y="2153"/>
                            <a:pt x="1615" y="2033"/>
                          </a:cubicBezTo>
                          <a:cubicBezTo>
                            <a:pt x="1734" y="1914"/>
                            <a:pt x="1854" y="1794"/>
                            <a:pt x="1974" y="1674"/>
                          </a:cubicBezTo>
                          <a:cubicBezTo>
                            <a:pt x="2093" y="1555"/>
                            <a:pt x="2213" y="1495"/>
                            <a:pt x="2392" y="1375"/>
                          </a:cubicBezTo>
                          <a:cubicBezTo>
                            <a:pt x="2512" y="1316"/>
                            <a:pt x="2691" y="1256"/>
                            <a:pt x="2811" y="1196"/>
                          </a:cubicBezTo>
                          <a:cubicBezTo>
                            <a:pt x="2930" y="1136"/>
                            <a:pt x="3110" y="1136"/>
                            <a:pt x="3289" y="1076"/>
                          </a:cubicBezTo>
                          <a:cubicBezTo>
                            <a:pt x="3469" y="1076"/>
                            <a:pt x="3588" y="1017"/>
                            <a:pt x="3768" y="1076"/>
                          </a:cubicBezTo>
                          <a:cubicBezTo>
                            <a:pt x="3888" y="1076"/>
                            <a:pt x="3947" y="1076"/>
                            <a:pt x="4067" y="1136"/>
                          </a:cubicBezTo>
                          <a:cubicBezTo>
                            <a:pt x="4187" y="1136"/>
                            <a:pt x="4246" y="1196"/>
                            <a:pt x="4366" y="1196"/>
                          </a:cubicBezTo>
                          <a:cubicBezTo>
                            <a:pt x="4486" y="1256"/>
                            <a:pt x="4545" y="1256"/>
                            <a:pt x="4605" y="1316"/>
                          </a:cubicBezTo>
                          <a:cubicBezTo>
                            <a:pt x="4725" y="1435"/>
                            <a:pt x="4785" y="1495"/>
                            <a:pt x="4844" y="1555"/>
                          </a:cubicBezTo>
                          <a:moveTo>
                            <a:pt x="1017" y="6519"/>
                          </a:moveTo>
                          <a:cubicBezTo>
                            <a:pt x="1136" y="6579"/>
                            <a:pt x="1256" y="6698"/>
                            <a:pt x="1375" y="6758"/>
                          </a:cubicBezTo>
                          <a:cubicBezTo>
                            <a:pt x="1495" y="6818"/>
                            <a:pt x="1615" y="6878"/>
                            <a:pt x="1794" y="6937"/>
                          </a:cubicBezTo>
                          <a:cubicBezTo>
                            <a:pt x="1974" y="6997"/>
                            <a:pt x="2093" y="7057"/>
                            <a:pt x="2213" y="7057"/>
                          </a:cubicBezTo>
                          <a:cubicBezTo>
                            <a:pt x="2333" y="7117"/>
                            <a:pt x="2512" y="7117"/>
                            <a:pt x="2691" y="7117"/>
                          </a:cubicBezTo>
                          <a:cubicBezTo>
                            <a:pt x="3170" y="7117"/>
                            <a:pt x="3648" y="7057"/>
                            <a:pt x="4067" y="6937"/>
                          </a:cubicBezTo>
                          <a:cubicBezTo>
                            <a:pt x="4486" y="6758"/>
                            <a:pt x="4904" y="6519"/>
                            <a:pt x="5323" y="6220"/>
                          </a:cubicBezTo>
                          <a:cubicBezTo>
                            <a:pt x="5682" y="5921"/>
                            <a:pt x="6041" y="5562"/>
                            <a:pt x="6280" y="5143"/>
                          </a:cubicBezTo>
                          <a:cubicBezTo>
                            <a:pt x="6519" y="4725"/>
                            <a:pt x="6698" y="4246"/>
                            <a:pt x="6818" y="3768"/>
                          </a:cubicBezTo>
                          <a:cubicBezTo>
                            <a:pt x="6878" y="3469"/>
                            <a:pt x="6878" y="3110"/>
                            <a:pt x="6878" y="2811"/>
                          </a:cubicBezTo>
                          <a:cubicBezTo>
                            <a:pt x="6878" y="2512"/>
                            <a:pt x="6818" y="2213"/>
                            <a:pt x="6698" y="1973"/>
                          </a:cubicBezTo>
                          <a:cubicBezTo>
                            <a:pt x="6579" y="1674"/>
                            <a:pt x="6459" y="1435"/>
                            <a:pt x="6280" y="1196"/>
                          </a:cubicBezTo>
                          <a:cubicBezTo>
                            <a:pt x="6100" y="957"/>
                            <a:pt x="5921" y="778"/>
                            <a:pt x="5682" y="598"/>
                          </a:cubicBezTo>
                          <a:cubicBezTo>
                            <a:pt x="5562" y="538"/>
                            <a:pt x="5443" y="419"/>
                            <a:pt x="5323" y="359"/>
                          </a:cubicBezTo>
                          <a:cubicBezTo>
                            <a:pt x="5203" y="299"/>
                            <a:pt x="5083" y="239"/>
                            <a:pt x="4964" y="179"/>
                          </a:cubicBezTo>
                          <a:cubicBezTo>
                            <a:pt x="4844" y="119"/>
                            <a:pt x="4665" y="60"/>
                            <a:pt x="4545" y="60"/>
                          </a:cubicBezTo>
                          <a:cubicBezTo>
                            <a:pt x="4426" y="60"/>
                            <a:pt x="4246" y="0"/>
                            <a:pt x="4067" y="0"/>
                          </a:cubicBezTo>
                          <a:cubicBezTo>
                            <a:pt x="3828" y="0"/>
                            <a:pt x="3588" y="0"/>
                            <a:pt x="3409" y="0"/>
                          </a:cubicBezTo>
                          <a:cubicBezTo>
                            <a:pt x="3229" y="0"/>
                            <a:pt x="2930" y="60"/>
                            <a:pt x="2751" y="179"/>
                          </a:cubicBezTo>
                          <a:cubicBezTo>
                            <a:pt x="2512" y="239"/>
                            <a:pt x="2333" y="359"/>
                            <a:pt x="2093" y="478"/>
                          </a:cubicBezTo>
                          <a:cubicBezTo>
                            <a:pt x="1854" y="598"/>
                            <a:pt x="1675" y="778"/>
                            <a:pt x="1495" y="897"/>
                          </a:cubicBezTo>
                          <a:cubicBezTo>
                            <a:pt x="1316" y="1076"/>
                            <a:pt x="1136" y="1196"/>
                            <a:pt x="957" y="1375"/>
                          </a:cubicBezTo>
                          <a:cubicBezTo>
                            <a:pt x="778" y="1555"/>
                            <a:pt x="658" y="1734"/>
                            <a:pt x="538" y="1973"/>
                          </a:cubicBezTo>
                          <a:cubicBezTo>
                            <a:pt x="419" y="2153"/>
                            <a:pt x="299" y="2392"/>
                            <a:pt x="239" y="2632"/>
                          </a:cubicBezTo>
                          <a:cubicBezTo>
                            <a:pt x="180" y="2871"/>
                            <a:pt x="120" y="3110"/>
                            <a:pt x="60" y="3349"/>
                          </a:cubicBezTo>
                          <a:cubicBezTo>
                            <a:pt x="0" y="3648"/>
                            <a:pt x="0" y="4007"/>
                            <a:pt x="0" y="4306"/>
                          </a:cubicBezTo>
                          <a:cubicBezTo>
                            <a:pt x="0" y="4605"/>
                            <a:pt x="60" y="4904"/>
                            <a:pt x="180" y="5203"/>
                          </a:cubicBezTo>
                          <a:cubicBezTo>
                            <a:pt x="299" y="5502"/>
                            <a:pt x="419" y="5741"/>
                            <a:pt x="598" y="5981"/>
                          </a:cubicBezTo>
                          <a:cubicBezTo>
                            <a:pt x="598" y="6100"/>
                            <a:pt x="778" y="6340"/>
                            <a:pt x="1017" y="6519"/>
                          </a:cubicBezTo>
                        </a:path>
                      </a:pathLst>
                    </a:custGeom>
                    <a:noFill/>
                    <a:ln w="6350" cap="flat">
                      <a:solidFill>
                        <a:schemeClr val="bg1">
                          <a:alpha val="80000"/>
                        </a:schemeClr>
                      </a:solidFill>
                      <a:prstDash val="solid"/>
                      <a:miter/>
                    </a:ln>
                  </p:spPr>
                  <p:txBody>
                    <a:bodyPr rtlCol="0" anchor="ctr"/>
                    <a:lstStyle/>
                    <a:p>
                      <a:endParaRPr lang="en-GB"/>
                    </a:p>
                  </p:txBody>
                </p:sp>
                <p:sp>
                  <p:nvSpPr>
                    <p:cNvPr id="7474" name="Vrije vorm: vorm 7473">
                      <a:extLst>
                        <a:ext uri="{FF2B5EF4-FFF2-40B4-BE49-F238E27FC236}">
                          <a16:creationId xmlns:a16="http://schemas.microsoft.com/office/drawing/2014/main" id="{3CAEFAD3-985C-4B61-A73B-9B710D255A4D}"/>
                        </a:ext>
                      </a:extLst>
                    </p:cNvPr>
                    <p:cNvSpPr/>
                    <p:nvPr/>
                  </p:nvSpPr>
                  <p:spPr>
                    <a:xfrm>
                      <a:off x="4983217" y="5105782"/>
                      <a:ext cx="6982" cy="7117"/>
                    </a:xfrm>
                    <a:custGeom>
                      <a:avLst/>
                      <a:gdLst>
                        <a:gd name="connsiteX0" fmla="*/ 2452 w 6982"/>
                        <a:gd name="connsiteY0" fmla="*/ 5801 h 7117"/>
                        <a:gd name="connsiteX1" fmla="*/ 2333 w 6982"/>
                        <a:gd name="connsiteY1" fmla="*/ 5742 h 7117"/>
                        <a:gd name="connsiteX2" fmla="*/ 2213 w 6982"/>
                        <a:gd name="connsiteY2" fmla="*/ 5682 h 7117"/>
                        <a:gd name="connsiteX3" fmla="*/ 2093 w 6982"/>
                        <a:gd name="connsiteY3" fmla="*/ 5622 h 7117"/>
                        <a:gd name="connsiteX4" fmla="*/ 1974 w 6982"/>
                        <a:gd name="connsiteY4" fmla="*/ 5562 h 7117"/>
                        <a:gd name="connsiteX5" fmla="*/ 1555 w 6982"/>
                        <a:gd name="connsiteY5" fmla="*/ 5143 h 7117"/>
                        <a:gd name="connsiteX6" fmla="*/ 1495 w 6982"/>
                        <a:gd name="connsiteY6" fmla="*/ 5083 h 7117"/>
                        <a:gd name="connsiteX7" fmla="*/ 1435 w 6982"/>
                        <a:gd name="connsiteY7" fmla="*/ 5024 h 7117"/>
                        <a:gd name="connsiteX8" fmla="*/ 1375 w 6982"/>
                        <a:gd name="connsiteY8" fmla="*/ 4964 h 7117"/>
                        <a:gd name="connsiteX9" fmla="*/ 1316 w 6982"/>
                        <a:gd name="connsiteY9" fmla="*/ 4904 h 7117"/>
                        <a:gd name="connsiteX10" fmla="*/ 1076 w 6982"/>
                        <a:gd name="connsiteY10" fmla="*/ 4246 h 7117"/>
                        <a:gd name="connsiteX11" fmla="*/ 1076 w 6982"/>
                        <a:gd name="connsiteY11" fmla="*/ 3529 h 7117"/>
                        <a:gd name="connsiteX12" fmla="*/ 1316 w 6982"/>
                        <a:gd name="connsiteY12" fmla="*/ 2811 h 7117"/>
                        <a:gd name="connsiteX13" fmla="*/ 1734 w 6982"/>
                        <a:gd name="connsiteY13" fmla="*/ 2153 h 7117"/>
                        <a:gd name="connsiteX14" fmla="*/ 1794 w 6982"/>
                        <a:gd name="connsiteY14" fmla="*/ 2034 h 7117"/>
                        <a:gd name="connsiteX15" fmla="*/ 1914 w 6982"/>
                        <a:gd name="connsiteY15" fmla="*/ 1914 h 7117"/>
                        <a:gd name="connsiteX16" fmla="*/ 2033 w 6982"/>
                        <a:gd name="connsiteY16" fmla="*/ 1854 h 7117"/>
                        <a:gd name="connsiteX17" fmla="*/ 2153 w 6982"/>
                        <a:gd name="connsiteY17" fmla="*/ 1794 h 7117"/>
                        <a:gd name="connsiteX18" fmla="*/ 2392 w 6982"/>
                        <a:gd name="connsiteY18" fmla="*/ 1615 h 7117"/>
                        <a:gd name="connsiteX19" fmla="*/ 2632 w 6982"/>
                        <a:gd name="connsiteY19" fmla="*/ 1435 h 7117"/>
                        <a:gd name="connsiteX20" fmla="*/ 2871 w 6982"/>
                        <a:gd name="connsiteY20" fmla="*/ 1316 h 7117"/>
                        <a:gd name="connsiteX21" fmla="*/ 3110 w 6982"/>
                        <a:gd name="connsiteY21" fmla="*/ 1256 h 7117"/>
                        <a:gd name="connsiteX22" fmla="*/ 3110 w 6982"/>
                        <a:gd name="connsiteY22" fmla="*/ 1256 h 7117"/>
                        <a:gd name="connsiteX23" fmla="*/ 3110 w 6982"/>
                        <a:gd name="connsiteY23" fmla="*/ 1256 h 7117"/>
                        <a:gd name="connsiteX24" fmla="*/ 3110 w 6982"/>
                        <a:gd name="connsiteY24" fmla="*/ 1256 h 7117"/>
                        <a:gd name="connsiteX25" fmla="*/ 3110 w 6982"/>
                        <a:gd name="connsiteY25" fmla="*/ 1256 h 7117"/>
                        <a:gd name="connsiteX26" fmla="*/ 3588 w 6982"/>
                        <a:gd name="connsiteY26" fmla="*/ 1196 h 7117"/>
                        <a:gd name="connsiteX27" fmla="*/ 4067 w 6982"/>
                        <a:gd name="connsiteY27" fmla="*/ 1196 h 7117"/>
                        <a:gd name="connsiteX28" fmla="*/ 4545 w 6982"/>
                        <a:gd name="connsiteY28" fmla="*/ 1316 h 7117"/>
                        <a:gd name="connsiteX29" fmla="*/ 4964 w 6982"/>
                        <a:gd name="connsiteY29" fmla="*/ 1555 h 7117"/>
                        <a:gd name="connsiteX30" fmla="*/ 5083 w 6982"/>
                        <a:gd name="connsiteY30" fmla="*/ 1615 h 7117"/>
                        <a:gd name="connsiteX31" fmla="*/ 5203 w 6982"/>
                        <a:gd name="connsiteY31" fmla="*/ 1734 h 7117"/>
                        <a:gd name="connsiteX32" fmla="*/ 5323 w 6982"/>
                        <a:gd name="connsiteY32" fmla="*/ 1854 h 7117"/>
                        <a:gd name="connsiteX33" fmla="*/ 5382 w 6982"/>
                        <a:gd name="connsiteY33" fmla="*/ 1974 h 7117"/>
                        <a:gd name="connsiteX34" fmla="*/ 5741 w 6982"/>
                        <a:gd name="connsiteY34" fmla="*/ 2811 h 7117"/>
                        <a:gd name="connsiteX35" fmla="*/ 5741 w 6982"/>
                        <a:gd name="connsiteY35" fmla="*/ 3708 h 7117"/>
                        <a:gd name="connsiteX36" fmla="*/ 5382 w 6982"/>
                        <a:gd name="connsiteY36" fmla="*/ 4605 h 7117"/>
                        <a:gd name="connsiteX37" fmla="*/ 4725 w 6982"/>
                        <a:gd name="connsiteY37" fmla="*/ 5383 h 7117"/>
                        <a:gd name="connsiteX38" fmla="*/ 4127 w 6982"/>
                        <a:gd name="connsiteY38" fmla="*/ 5742 h 7117"/>
                        <a:gd name="connsiteX39" fmla="*/ 3469 w 6982"/>
                        <a:gd name="connsiteY39" fmla="*/ 5921 h 7117"/>
                        <a:gd name="connsiteX40" fmla="*/ 2811 w 6982"/>
                        <a:gd name="connsiteY40" fmla="*/ 5921 h 7117"/>
                        <a:gd name="connsiteX41" fmla="*/ 2452 w 6982"/>
                        <a:gd name="connsiteY41" fmla="*/ 5801 h 7117"/>
                        <a:gd name="connsiteX42" fmla="*/ 1196 w 6982"/>
                        <a:gd name="connsiteY42" fmla="*/ 6519 h 7117"/>
                        <a:gd name="connsiteX43" fmla="*/ 1435 w 6982"/>
                        <a:gd name="connsiteY43" fmla="*/ 6698 h 7117"/>
                        <a:gd name="connsiteX44" fmla="*/ 1674 w 6982"/>
                        <a:gd name="connsiteY44" fmla="*/ 6818 h 7117"/>
                        <a:gd name="connsiteX45" fmla="*/ 1914 w 6982"/>
                        <a:gd name="connsiteY45" fmla="*/ 6937 h 7117"/>
                        <a:gd name="connsiteX46" fmla="*/ 2153 w 6982"/>
                        <a:gd name="connsiteY46" fmla="*/ 6997 h 7117"/>
                        <a:gd name="connsiteX47" fmla="*/ 2990 w 6982"/>
                        <a:gd name="connsiteY47" fmla="*/ 7117 h 7117"/>
                        <a:gd name="connsiteX48" fmla="*/ 3828 w 6982"/>
                        <a:gd name="connsiteY48" fmla="*/ 6997 h 7117"/>
                        <a:gd name="connsiteX49" fmla="*/ 4665 w 6982"/>
                        <a:gd name="connsiteY49" fmla="*/ 6698 h 7117"/>
                        <a:gd name="connsiteX50" fmla="*/ 5502 w 6982"/>
                        <a:gd name="connsiteY50" fmla="*/ 6160 h 7117"/>
                        <a:gd name="connsiteX51" fmla="*/ 6459 w 6982"/>
                        <a:gd name="connsiteY51" fmla="*/ 5024 h 7117"/>
                        <a:gd name="connsiteX52" fmla="*/ 6937 w 6982"/>
                        <a:gd name="connsiteY52" fmla="*/ 3708 h 7117"/>
                        <a:gd name="connsiteX53" fmla="*/ 6937 w 6982"/>
                        <a:gd name="connsiteY53" fmla="*/ 2333 h 7117"/>
                        <a:gd name="connsiteX54" fmla="*/ 6399 w 6982"/>
                        <a:gd name="connsiteY54" fmla="*/ 1136 h 7117"/>
                        <a:gd name="connsiteX55" fmla="*/ 5861 w 6982"/>
                        <a:gd name="connsiteY55" fmla="*/ 538 h 7117"/>
                        <a:gd name="connsiteX56" fmla="*/ 5323 w 6982"/>
                        <a:gd name="connsiteY56" fmla="*/ 239 h 7117"/>
                        <a:gd name="connsiteX57" fmla="*/ 4725 w 6982"/>
                        <a:gd name="connsiteY57" fmla="*/ 60 h 7117"/>
                        <a:gd name="connsiteX58" fmla="*/ 4067 w 6982"/>
                        <a:gd name="connsiteY58" fmla="*/ 0 h 7117"/>
                        <a:gd name="connsiteX59" fmla="*/ 3409 w 6982"/>
                        <a:gd name="connsiteY59" fmla="*/ 60 h 7117"/>
                        <a:gd name="connsiteX60" fmla="*/ 3409 w 6982"/>
                        <a:gd name="connsiteY60" fmla="*/ 60 h 7117"/>
                        <a:gd name="connsiteX61" fmla="*/ 3409 w 6982"/>
                        <a:gd name="connsiteY61" fmla="*/ 60 h 7117"/>
                        <a:gd name="connsiteX62" fmla="*/ 3409 w 6982"/>
                        <a:gd name="connsiteY62" fmla="*/ 60 h 7117"/>
                        <a:gd name="connsiteX63" fmla="*/ 3409 w 6982"/>
                        <a:gd name="connsiteY63" fmla="*/ 60 h 7117"/>
                        <a:gd name="connsiteX64" fmla="*/ 3110 w 6982"/>
                        <a:gd name="connsiteY64" fmla="*/ 120 h 7117"/>
                        <a:gd name="connsiteX65" fmla="*/ 2811 w 6982"/>
                        <a:gd name="connsiteY65" fmla="*/ 239 h 7117"/>
                        <a:gd name="connsiteX66" fmla="*/ 2512 w 6982"/>
                        <a:gd name="connsiteY66" fmla="*/ 359 h 7117"/>
                        <a:gd name="connsiteX67" fmla="*/ 2213 w 6982"/>
                        <a:gd name="connsiteY67" fmla="*/ 479 h 7117"/>
                        <a:gd name="connsiteX68" fmla="*/ 2033 w 6982"/>
                        <a:gd name="connsiteY68" fmla="*/ 598 h 7117"/>
                        <a:gd name="connsiteX69" fmla="*/ 1854 w 6982"/>
                        <a:gd name="connsiteY69" fmla="*/ 718 h 7117"/>
                        <a:gd name="connsiteX70" fmla="*/ 1674 w 6982"/>
                        <a:gd name="connsiteY70" fmla="*/ 837 h 7117"/>
                        <a:gd name="connsiteX71" fmla="*/ 1495 w 6982"/>
                        <a:gd name="connsiteY71" fmla="*/ 957 h 7117"/>
                        <a:gd name="connsiteX72" fmla="*/ 1495 w 6982"/>
                        <a:gd name="connsiteY72" fmla="*/ 957 h 7117"/>
                        <a:gd name="connsiteX73" fmla="*/ 1495 w 6982"/>
                        <a:gd name="connsiteY73" fmla="*/ 957 h 7117"/>
                        <a:gd name="connsiteX74" fmla="*/ 1495 w 6982"/>
                        <a:gd name="connsiteY74" fmla="*/ 957 h 7117"/>
                        <a:gd name="connsiteX75" fmla="*/ 1495 w 6982"/>
                        <a:gd name="connsiteY75" fmla="*/ 957 h 7117"/>
                        <a:gd name="connsiteX76" fmla="*/ 1196 w 6982"/>
                        <a:gd name="connsiteY76" fmla="*/ 1196 h 7117"/>
                        <a:gd name="connsiteX77" fmla="*/ 957 w 6982"/>
                        <a:gd name="connsiteY77" fmla="*/ 1495 h 7117"/>
                        <a:gd name="connsiteX78" fmla="*/ 718 w 6982"/>
                        <a:gd name="connsiteY78" fmla="*/ 1794 h 7117"/>
                        <a:gd name="connsiteX79" fmla="*/ 538 w 6982"/>
                        <a:gd name="connsiteY79" fmla="*/ 2093 h 7117"/>
                        <a:gd name="connsiteX80" fmla="*/ 359 w 6982"/>
                        <a:gd name="connsiteY80" fmla="*/ 2392 h 7117"/>
                        <a:gd name="connsiteX81" fmla="*/ 239 w 6982"/>
                        <a:gd name="connsiteY81" fmla="*/ 2691 h 7117"/>
                        <a:gd name="connsiteX82" fmla="*/ 120 w 6982"/>
                        <a:gd name="connsiteY82" fmla="*/ 3050 h 7117"/>
                        <a:gd name="connsiteX83" fmla="*/ 60 w 6982"/>
                        <a:gd name="connsiteY83" fmla="*/ 3409 h 7117"/>
                        <a:gd name="connsiteX84" fmla="*/ 0 w 6982"/>
                        <a:gd name="connsiteY84" fmla="*/ 4127 h 7117"/>
                        <a:gd name="connsiteX85" fmla="*/ 60 w 6982"/>
                        <a:gd name="connsiteY85" fmla="*/ 4785 h 7117"/>
                        <a:gd name="connsiteX86" fmla="*/ 239 w 6982"/>
                        <a:gd name="connsiteY86" fmla="*/ 5442 h 7117"/>
                        <a:gd name="connsiteX87" fmla="*/ 538 w 6982"/>
                        <a:gd name="connsiteY87" fmla="*/ 6041 h 7117"/>
                        <a:gd name="connsiteX88" fmla="*/ 658 w 6982"/>
                        <a:gd name="connsiteY88" fmla="*/ 6220 h 7117"/>
                        <a:gd name="connsiteX89" fmla="*/ 778 w 6982"/>
                        <a:gd name="connsiteY89" fmla="*/ 6340 h 7117"/>
                        <a:gd name="connsiteX90" fmla="*/ 897 w 6982"/>
                        <a:gd name="connsiteY90" fmla="*/ 6459 h 7117"/>
                        <a:gd name="connsiteX91" fmla="*/ 1196 w 6982"/>
                        <a:gd name="connsiteY91" fmla="*/ 6519 h 7117"/>
                        <a:gd name="connsiteX92" fmla="*/ 1196 w 6982"/>
                        <a:gd name="connsiteY92" fmla="*/ 6519 h 7117"/>
                        <a:gd name="connsiteX93" fmla="*/ 1196 w 6982"/>
                        <a:gd name="connsiteY93" fmla="*/ 6519 h 7117"/>
                        <a:gd name="connsiteX94" fmla="*/ 1196 w 6982"/>
                        <a:gd name="connsiteY94" fmla="*/ 6519 h 7117"/>
                        <a:gd name="connsiteX95" fmla="*/ 1196 w 6982"/>
                        <a:gd name="connsiteY95" fmla="*/ 6519 h 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6982" h="7117">
                          <a:moveTo>
                            <a:pt x="2452" y="5801"/>
                          </a:moveTo>
                          <a:cubicBezTo>
                            <a:pt x="2392" y="5801"/>
                            <a:pt x="2392" y="5742"/>
                            <a:pt x="2333" y="5742"/>
                          </a:cubicBezTo>
                          <a:cubicBezTo>
                            <a:pt x="2273" y="5742"/>
                            <a:pt x="2273" y="5682"/>
                            <a:pt x="2213" y="5682"/>
                          </a:cubicBezTo>
                          <a:cubicBezTo>
                            <a:pt x="2153" y="5682"/>
                            <a:pt x="2153" y="5622"/>
                            <a:pt x="2093" y="5622"/>
                          </a:cubicBezTo>
                          <a:cubicBezTo>
                            <a:pt x="2033" y="5622"/>
                            <a:pt x="2033" y="5562"/>
                            <a:pt x="1974" y="5562"/>
                          </a:cubicBezTo>
                          <a:lnTo>
                            <a:pt x="1555" y="5143"/>
                          </a:lnTo>
                          <a:cubicBezTo>
                            <a:pt x="1555" y="5143"/>
                            <a:pt x="1555" y="5083"/>
                            <a:pt x="1495" y="5083"/>
                          </a:cubicBezTo>
                          <a:cubicBezTo>
                            <a:pt x="1435" y="5083"/>
                            <a:pt x="1495" y="5024"/>
                            <a:pt x="1435" y="5024"/>
                          </a:cubicBezTo>
                          <a:cubicBezTo>
                            <a:pt x="1435" y="5024"/>
                            <a:pt x="1435" y="4964"/>
                            <a:pt x="1375" y="4964"/>
                          </a:cubicBezTo>
                          <a:cubicBezTo>
                            <a:pt x="1316" y="4964"/>
                            <a:pt x="1375" y="4904"/>
                            <a:pt x="1316" y="4904"/>
                          </a:cubicBezTo>
                          <a:cubicBezTo>
                            <a:pt x="1196" y="4665"/>
                            <a:pt x="1136" y="4486"/>
                            <a:pt x="1076" y="4246"/>
                          </a:cubicBezTo>
                          <a:cubicBezTo>
                            <a:pt x="1017" y="4007"/>
                            <a:pt x="1017" y="3768"/>
                            <a:pt x="1076" y="3529"/>
                          </a:cubicBezTo>
                          <a:cubicBezTo>
                            <a:pt x="1136" y="3289"/>
                            <a:pt x="1196" y="3050"/>
                            <a:pt x="1316" y="2811"/>
                          </a:cubicBezTo>
                          <a:cubicBezTo>
                            <a:pt x="1435" y="2572"/>
                            <a:pt x="1555" y="2333"/>
                            <a:pt x="1734" y="2153"/>
                          </a:cubicBezTo>
                          <a:cubicBezTo>
                            <a:pt x="1734" y="2093"/>
                            <a:pt x="1794" y="2093"/>
                            <a:pt x="1794" y="2034"/>
                          </a:cubicBezTo>
                          <a:cubicBezTo>
                            <a:pt x="1794" y="1974"/>
                            <a:pt x="1854" y="1974"/>
                            <a:pt x="1914" y="1914"/>
                          </a:cubicBezTo>
                          <a:cubicBezTo>
                            <a:pt x="1974" y="1854"/>
                            <a:pt x="1974" y="1854"/>
                            <a:pt x="2033" y="1854"/>
                          </a:cubicBezTo>
                          <a:cubicBezTo>
                            <a:pt x="2093" y="1854"/>
                            <a:pt x="2093" y="1794"/>
                            <a:pt x="2153" y="1794"/>
                          </a:cubicBezTo>
                          <a:cubicBezTo>
                            <a:pt x="2213" y="1734"/>
                            <a:pt x="2333" y="1675"/>
                            <a:pt x="2392" y="1615"/>
                          </a:cubicBezTo>
                          <a:cubicBezTo>
                            <a:pt x="2452" y="1555"/>
                            <a:pt x="2572" y="1495"/>
                            <a:pt x="2632" y="1435"/>
                          </a:cubicBezTo>
                          <a:cubicBezTo>
                            <a:pt x="2691" y="1375"/>
                            <a:pt x="2811" y="1375"/>
                            <a:pt x="2871" y="1316"/>
                          </a:cubicBezTo>
                          <a:cubicBezTo>
                            <a:pt x="2930" y="1256"/>
                            <a:pt x="3050" y="1256"/>
                            <a:pt x="3110" y="1256"/>
                          </a:cubicBezTo>
                          <a:cubicBezTo>
                            <a:pt x="3110" y="1256"/>
                            <a:pt x="3110" y="1256"/>
                            <a:pt x="3110" y="1256"/>
                          </a:cubicBezTo>
                          <a:cubicBezTo>
                            <a:pt x="3110" y="1256"/>
                            <a:pt x="3110" y="1256"/>
                            <a:pt x="3110" y="1256"/>
                          </a:cubicBezTo>
                          <a:cubicBezTo>
                            <a:pt x="3110" y="1256"/>
                            <a:pt x="3110" y="1256"/>
                            <a:pt x="3110" y="1256"/>
                          </a:cubicBezTo>
                          <a:cubicBezTo>
                            <a:pt x="3110" y="1256"/>
                            <a:pt x="3110" y="1256"/>
                            <a:pt x="3110" y="1256"/>
                          </a:cubicBezTo>
                          <a:cubicBezTo>
                            <a:pt x="3289" y="1196"/>
                            <a:pt x="3469" y="1196"/>
                            <a:pt x="3588" y="1196"/>
                          </a:cubicBezTo>
                          <a:cubicBezTo>
                            <a:pt x="3768" y="1196"/>
                            <a:pt x="3887" y="1196"/>
                            <a:pt x="4067" y="1196"/>
                          </a:cubicBezTo>
                          <a:cubicBezTo>
                            <a:pt x="4246" y="1196"/>
                            <a:pt x="4366" y="1256"/>
                            <a:pt x="4545" y="1316"/>
                          </a:cubicBezTo>
                          <a:cubicBezTo>
                            <a:pt x="4665" y="1375"/>
                            <a:pt x="4844" y="1435"/>
                            <a:pt x="4964" y="1555"/>
                          </a:cubicBezTo>
                          <a:cubicBezTo>
                            <a:pt x="5024" y="1555"/>
                            <a:pt x="5024" y="1615"/>
                            <a:pt x="5083" y="1615"/>
                          </a:cubicBezTo>
                          <a:cubicBezTo>
                            <a:pt x="5143" y="1675"/>
                            <a:pt x="5143" y="1675"/>
                            <a:pt x="5203" y="1734"/>
                          </a:cubicBezTo>
                          <a:cubicBezTo>
                            <a:pt x="5263" y="1794"/>
                            <a:pt x="5263" y="1794"/>
                            <a:pt x="5323" y="1854"/>
                          </a:cubicBezTo>
                          <a:cubicBezTo>
                            <a:pt x="5382" y="1914"/>
                            <a:pt x="5382" y="1914"/>
                            <a:pt x="5382" y="1974"/>
                          </a:cubicBezTo>
                          <a:cubicBezTo>
                            <a:pt x="5562" y="2213"/>
                            <a:pt x="5682" y="2512"/>
                            <a:pt x="5741" y="2811"/>
                          </a:cubicBezTo>
                          <a:cubicBezTo>
                            <a:pt x="5801" y="3110"/>
                            <a:pt x="5801" y="3409"/>
                            <a:pt x="5741" y="3708"/>
                          </a:cubicBezTo>
                          <a:cubicBezTo>
                            <a:pt x="5682" y="4007"/>
                            <a:pt x="5562" y="4306"/>
                            <a:pt x="5382" y="4605"/>
                          </a:cubicBezTo>
                          <a:cubicBezTo>
                            <a:pt x="5203" y="4904"/>
                            <a:pt x="5024" y="5143"/>
                            <a:pt x="4725" y="5383"/>
                          </a:cubicBezTo>
                          <a:cubicBezTo>
                            <a:pt x="4545" y="5562"/>
                            <a:pt x="4306" y="5682"/>
                            <a:pt x="4127" y="5742"/>
                          </a:cubicBezTo>
                          <a:cubicBezTo>
                            <a:pt x="3947" y="5801"/>
                            <a:pt x="3708" y="5921"/>
                            <a:pt x="3469" y="5921"/>
                          </a:cubicBezTo>
                          <a:cubicBezTo>
                            <a:pt x="3229" y="5921"/>
                            <a:pt x="3050" y="5981"/>
                            <a:pt x="2811" y="5921"/>
                          </a:cubicBezTo>
                          <a:cubicBezTo>
                            <a:pt x="2811" y="5921"/>
                            <a:pt x="2632" y="5861"/>
                            <a:pt x="2452" y="5801"/>
                          </a:cubicBezTo>
                          <a:moveTo>
                            <a:pt x="1196" y="6519"/>
                          </a:moveTo>
                          <a:cubicBezTo>
                            <a:pt x="1256" y="6579"/>
                            <a:pt x="1375" y="6639"/>
                            <a:pt x="1435" y="6698"/>
                          </a:cubicBezTo>
                          <a:cubicBezTo>
                            <a:pt x="1495" y="6758"/>
                            <a:pt x="1615" y="6818"/>
                            <a:pt x="1674" y="6818"/>
                          </a:cubicBezTo>
                          <a:cubicBezTo>
                            <a:pt x="1734" y="6878"/>
                            <a:pt x="1854" y="6878"/>
                            <a:pt x="1914" y="6937"/>
                          </a:cubicBezTo>
                          <a:cubicBezTo>
                            <a:pt x="1974" y="6997"/>
                            <a:pt x="2093" y="6997"/>
                            <a:pt x="2153" y="6997"/>
                          </a:cubicBezTo>
                          <a:cubicBezTo>
                            <a:pt x="2392" y="7057"/>
                            <a:pt x="2691" y="7117"/>
                            <a:pt x="2990" y="7117"/>
                          </a:cubicBezTo>
                          <a:cubicBezTo>
                            <a:pt x="3289" y="7117"/>
                            <a:pt x="3588" y="7117"/>
                            <a:pt x="3828" y="6997"/>
                          </a:cubicBezTo>
                          <a:cubicBezTo>
                            <a:pt x="4127" y="6937"/>
                            <a:pt x="4426" y="6818"/>
                            <a:pt x="4665" y="6698"/>
                          </a:cubicBezTo>
                          <a:cubicBezTo>
                            <a:pt x="4964" y="6579"/>
                            <a:pt x="5203" y="6399"/>
                            <a:pt x="5502" y="6160"/>
                          </a:cubicBezTo>
                          <a:cubicBezTo>
                            <a:pt x="5921" y="5801"/>
                            <a:pt x="6220" y="5442"/>
                            <a:pt x="6459" y="5024"/>
                          </a:cubicBezTo>
                          <a:cubicBezTo>
                            <a:pt x="6698" y="4605"/>
                            <a:pt x="6878" y="4127"/>
                            <a:pt x="6937" y="3708"/>
                          </a:cubicBezTo>
                          <a:cubicBezTo>
                            <a:pt x="6997" y="3229"/>
                            <a:pt x="6997" y="2811"/>
                            <a:pt x="6937" y="2333"/>
                          </a:cubicBezTo>
                          <a:cubicBezTo>
                            <a:pt x="6878" y="1914"/>
                            <a:pt x="6698" y="1495"/>
                            <a:pt x="6399" y="1136"/>
                          </a:cubicBezTo>
                          <a:lnTo>
                            <a:pt x="5861" y="538"/>
                          </a:lnTo>
                          <a:cubicBezTo>
                            <a:pt x="5682" y="419"/>
                            <a:pt x="5502" y="299"/>
                            <a:pt x="5323" y="239"/>
                          </a:cubicBezTo>
                          <a:cubicBezTo>
                            <a:pt x="5143" y="180"/>
                            <a:pt x="4904" y="60"/>
                            <a:pt x="4725" y="60"/>
                          </a:cubicBezTo>
                          <a:cubicBezTo>
                            <a:pt x="4545" y="60"/>
                            <a:pt x="4306" y="0"/>
                            <a:pt x="4067" y="0"/>
                          </a:cubicBezTo>
                          <a:cubicBezTo>
                            <a:pt x="3828" y="0"/>
                            <a:pt x="3648" y="0"/>
                            <a:pt x="3409" y="60"/>
                          </a:cubicBezTo>
                          <a:cubicBezTo>
                            <a:pt x="3409" y="60"/>
                            <a:pt x="3409" y="60"/>
                            <a:pt x="3409" y="60"/>
                          </a:cubicBezTo>
                          <a:cubicBezTo>
                            <a:pt x="3409" y="60"/>
                            <a:pt x="3409" y="60"/>
                            <a:pt x="3409" y="60"/>
                          </a:cubicBezTo>
                          <a:cubicBezTo>
                            <a:pt x="3409" y="60"/>
                            <a:pt x="3409" y="60"/>
                            <a:pt x="3409" y="60"/>
                          </a:cubicBezTo>
                          <a:cubicBezTo>
                            <a:pt x="3409" y="60"/>
                            <a:pt x="3409" y="60"/>
                            <a:pt x="3409" y="60"/>
                          </a:cubicBezTo>
                          <a:cubicBezTo>
                            <a:pt x="3289" y="60"/>
                            <a:pt x="3229" y="120"/>
                            <a:pt x="3110" y="120"/>
                          </a:cubicBezTo>
                          <a:cubicBezTo>
                            <a:pt x="2990" y="120"/>
                            <a:pt x="2930" y="180"/>
                            <a:pt x="2811" y="239"/>
                          </a:cubicBezTo>
                          <a:cubicBezTo>
                            <a:pt x="2691" y="299"/>
                            <a:pt x="2632" y="299"/>
                            <a:pt x="2512" y="359"/>
                          </a:cubicBezTo>
                          <a:cubicBezTo>
                            <a:pt x="2392" y="419"/>
                            <a:pt x="2333" y="479"/>
                            <a:pt x="2213" y="479"/>
                          </a:cubicBezTo>
                          <a:cubicBezTo>
                            <a:pt x="2153" y="538"/>
                            <a:pt x="2093" y="538"/>
                            <a:pt x="2033" y="598"/>
                          </a:cubicBezTo>
                          <a:cubicBezTo>
                            <a:pt x="1974" y="658"/>
                            <a:pt x="1914" y="658"/>
                            <a:pt x="1854" y="718"/>
                          </a:cubicBezTo>
                          <a:cubicBezTo>
                            <a:pt x="1794" y="778"/>
                            <a:pt x="1734" y="778"/>
                            <a:pt x="1674" y="837"/>
                          </a:cubicBezTo>
                          <a:cubicBezTo>
                            <a:pt x="1615" y="897"/>
                            <a:pt x="1555" y="897"/>
                            <a:pt x="1495" y="957"/>
                          </a:cubicBezTo>
                          <a:cubicBezTo>
                            <a:pt x="1495" y="957"/>
                            <a:pt x="1495" y="957"/>
                            <a:pt x="1495" y="957"/>
                          </a:cubicBezTo>
                          <a:cubicBezTo>
                            <a:pt x="1495" y="957"/>
                            <a:pt x="1495" y="957"/>
                            <a:pt x="1495" y="957"/>
                          </a:cubicBezTo>
                          <a:cubicBezTo>
                            <a:pt x="1495" y="957"/>
                            <a:pt x="1495" y="957"/>
                            <a:pt x="1495" y="957"/>
                          </a:cubicBezTo>
                          <a:cubicBezTo>
                            <a:pt x="1495" y="957"/>
                            <a:pt x="1495" y="957"/>
                            <a:pt x="1495" y="957"/>
                          </a:cubicBezTo>
                          <a:cubicBezTo>
                            <a:pt x="1375" y="1017"/>
                            <a:pt x="1316" y="1136"/>
                            <a:pt x="1196" y="1196"/>
                          </a:cubicBezTo>
                          <a:cubicBezTo>
                            <a:pt x="1076" y="1256"/>
                            <a:pt x="1017" y="1375"/>
                            <a:pt x="957" y="1495"/>
                          </a:cubicBezTo>
                          <a:cubicBezTo>
                            <a:pt x="897" y="1615"/>
                            <a:pt x="778" y="1675"/>
                            <a:pt x="718" y="1794"/>
                          </a:cubicBezTo>
                          <a:cubicBezTo>
                            <a:pt x="658" y="1914"/>
                            <a:pt x="598" y="1974"/>
                            <a:pt x="538" y="2093"/>
                          </a:cubicBezTo>
                          <a:cubicBezTo>
                            <a:pt x="479" y="2213"/>
                            <a:pt x="419" y="2273"/>
                            <a:pt x="359" y="2392"/>
                          </a:cubicBezTo>
                          <a:cubicBezTo>
                            <a:pt x="299" y="2512"/>
                            <a:pt x="239" y="2632"/>
                            <a:pt x="239" y="2691"/>
                          </a:cubicBezTo>
                          <a:cubicBezTo>
                            <a:pt x="179" y="2811"/>
                            <a:pt x="179" y="2930"/>
                            <a:pt x="120" y="3050"/>
                          </a:cubicBezTo>
                          <a:cubicBezTo>
                            <a:pt x="60" y="3170"/>
                            <a:pt x="60" y="3289"/>
                            <a:pt x="60" y="3409"/>
                          </a:cubicBezTo>
                          <a:cubicBezTo>
                            <a:pt x="0" y="3648"/>
                            <a:pt x="0" y="3888"/>
                            <a:pt x="0" y="4127"/>
                          </a:cubicBezTo>
                          <a:cubicBezTo>
                            <a:pt x="0" y="4366"/>
                            <a:pt x="0" y="4605"/>
                            <a:pt x="60" y="4785"/>
                          </a:cubicBezTo>
                          <a:cubicBezTo>
                            <a:pt x="120" y="5024"/>
                            <a:pt x="179" y="5203"/>
                            <a:pt x="239" y="5442"/>
                          </a:cubicBezTo>
                          <a:cubicBezTo>
                            <a:pt x="299" y="5622"/>
                            <a:pt x="419" y="5861"/>
                            <a:pt x="538" y="6041"/>
                          </a:cubicBezTo>
                          <a:cubicBezTo>
                            <a:pt x="598" y="6100"/>
                            <a:pt x="598" y="6160"/>
                            <a:pt x="658" y="6220"/>
                          </a:cubicBezTo>
                          <a:cubicBezTo>
                            <a:pt x="718" y="6280"/>
                            <a:pt x="718" y="6340"/>
                            <a:pt x="778" y="6340"/>
                          </a:cubicBezTo>
                          <a:cubicBezTo>
                            <a:pt x="837" y="6399"/>
                            <a:pt x="897" y="6399"/>
                            <a:pt x="897" y="6459"/>
                          </a:cubicBezTo>
                          <a:cubicBezTo>
                            <a:pt x="1076" y="6399"/>
                            <a:pt x="1136" y="6459"/>
                            <a:pt x="1196" y="6519"/>
                          </a:cubicBezTo>
                          <a:cubicBezTo>
                            <a:pt x="1196" y="6519"/>
                            <a:pt x="1196" y="6519"/>
                            <a:pt x="1196" y="6519"/>
                          </a:cubicBezTo>
                          <a:cubicBezTo>
                            <a:pt x="1196" y="6519"/>
                            <a:pt x="1196" y="6519"/>
                            <a:pt x="1196" y="6519"/>
                          </a:cubicBezTo>
                          <a:cubicBezTo>
                            <a:pt x="1196" y="6519"/>
                            <a:pt x="1196" y="6519"/>
                            <a:pt x="1196" y="6519"/>
                          </a:cubicBezTo>
                          <a:cubicBezTo>
                            <a:pt x="1196" y="6519"/>
                            <a:pt x="1196" y="6519"/>
                            <a:pt x="1196" y="6519"/>
                          </a:cubicBezTo>
                        </a:path>
                      </a:pathLst>
                    </a:custGeom>
                    <a:noFill/>
                    <a:ln w="6350" cap="flat">
                      <a:solidFill>
                        <a:schemeClr val="bg1">
                          <a:alpha val="80000"/>
                        </a:schemeClr>
                      </a:solidFill>
                      <a:prstDash val="solid"/>
                      <a:miter/>
                    </a:ln>
                  </p:spPr>
                  <p:txBody>
                    <a:bodyPr rtlCol="0" anchor="ctr"/>
                    <a:lstStyle/>
                    <a:p>
                      <a:endParaRPr lang="en-GB"/>
                    </a:p>
                  </p:txBody>
                </p:sp>
                <p:sp>
                  <p:nvSpPr>
                    <p:cNvPr id="7475" name="Vrije vorm: vorm 7474">
                      <a:extLst>
                        <a:ext uri="{FF2B5EF4-FFF2-40B4-BE49-F238E27FC236}">
                          <a16:creationId xmlns:a16="http://schemas.microsoft.com/office/drawing/2014/main" id="{7D405B7A-7194-4096-A318-021BAD4ABDAF}"/>
                        </a:ext>
                      </a:extLst>
                    </p:cNvPr>
                    <p:cNvSpPr/>
                    <p:nvPr/>
                  </p:nvSpPr>
                  <p:spPr>
                    <a:xfrm>
                      <a:off x="5370588" y="5033834"/>
                      <a:ext cx="34089" cy="42462"/>
                    </a:xfrm>
                    <a:custGeom>
                      <a:avLst/>
                      <a:gdLst>
                        <a:gd name="connsiteX0" fmla="*/ 5861 w 34089"/>
                        <a:gd name="connsiteY0" fmla="*/ 31937 h 42462"/>
                        <a:gd name="connsiteX1" fmla="*/ 6399 w 34089"/>
                        <a:gd name="connsiteY1" fmla="*/ 32475 h 42462"/>
                        <a:gd name="connsiteX2" fmla="*/ 29604 w 34089"/>
                        <a:gd name="connsiteY2" fmla="*/ 3110 h 42462"/>
                        <a:gd name="connsiteX3" fmla="*/ 32953 w 34089"/>
                        <a:gd name="connsiteY3" fmla="*/ 60 h 42462"/>
                        <a:gd name="connsiteX4" fmla="*/ 34030 w 34089"/>
                        <a:gd name="connsiteY4" fmla="*/ 1136 h 42462"/>
                        <a:gd name="connsiteX5" fmla="*/ 32774 w 34089"/>
                        <a:gd name="connsiteY5" fmla="*/ 2213 h 42462"/>
                        <a:gd name="connsiteX6" fmla="*/ 31578 w 34089"/>
                        <a:gd name="connsiteY6" fmla="*/ 5263 h 42462"/>
                        <a:gd name="connsiteX7" fmla="*/ 8493 w 34089"/>
                        <a:gd name="connsiteY7" fmla="*/ 34509 h 42462"/>
                        <a:gd name="connsiteX8" fmla="*/ 9090 w 34089"/>
                        <a:gd name="connsiteY8" fmla="*/ 35107 h 42462"/>
                        <a:gd name="connsiteX9" fmla="*/ 32236 w 34089"/>
                        <a:gd name="connsiteY9" fmla="*/ 5801 h 42462"/>
                        <a:gd name="connsiteX10" fmla="*/ 34090 w 34089"/>
                        <a:gd name="connsiteY10" fmla="*/ 1196 h 42462"/>
                        <a:gd name="connsiteX11" fmla="*/ 32953 w 34089"/>
                        <a:gd name="connsiteY11" fmla="*/ 0 h 42462"/>
                        <a:gd name="connsiteX12" fmla="*/ 29305 w 34089"/>
                        <a:gd name="connsiteY12" fmla="*/ 2392 h 42462"/>
                        <a:gd name="connsiteX13" fmla="*/ 5861 w 34089"/>
                        <a:gd name="connsiteY13" fmla="*/ 31937 h 42462"/>
                        <a:gd name="connsiteX14" fmla="*/ 3528 w 34089"/>
                        <a:gd name="connsiteY14" fmla="*/ 34867 h 42462"/>
                        <a:gd name="connsiteX15" fmla="*/ 4067 w 34089"/>
                        <a:gd name="connsiteY15" fmla="*/ 34509 h 42462"/>
                        <a:gd name="connsiteX16" fmla="*/ 3947 w 34089"/>
                        <a:gd name="connsiteY16" fmla="*/ 34389 h 42462"/>
                        <a:gd name="connsiteX17" fmla="*/ 3528 w 34089"/>
                        <a:gd name="connsiteY17" fmla="*/ 34867 h 42462"/>
                        <a:gd name="connsiteX18" fmla="*/ 1555 w 34089"/>
                        <a:gd name="connsiteY18" fmla="*/ 40848 h 42462"/>
                        <a:gd name="connsiteX19" fmla="*/ 3170 w 34089"/>
                        <a:gd name="connsiteY19" fmla="*/ 42463 h 42462"/>
                        <a:gd name="connsiteX20" fmla="*/ 7057 w 34089"/>
                        <a:gd name="connsiteY20" fmla="*/ 37499 h 42462"/>
                        <a:gd name="connsiteX21" fmla="*/ 6459 w 34089"/>
                        <a:gd name="connsiteY21" fmla="*/ 36901 h 42462"/>
                        <a:gd name="connsiteX22" fmla="*/ 3229 w 34089"/>
                        <a:gd name="connsiteY22" fmla="*/ 41028 h 42462"/>
                        <a:gd name="connsiteX23" fmla="*/ 2213 w 34089"/>
                        <a:gd name="connsiteY23" fmla="*/ 40011 h 42462"/>
                        <a:gd name="connsiteX24" fmla="*/ 1555 w 34089"/>
                        <a:gd name="connsiteY24" fmla="*/ 40848 h 42462"/>
                        <a:gd name="connsiteX25" fmla="*/ 0 w 34089"/>
                        <a:gd name="connsiteY25" fmla="*/ 39293 h 42462"/>
                        <a:gd name="connsiteX26" fmla="*/ 359 w 34089"/>
                        <a:gd name="connsiteY26" fmla="*/ 39652 h 42462"/>
                        <a:gd name="connsiteX27" fmla="*/ 1435 w 34089"/>
                        <a:gd name="connsiteY27" fmla="*/ 38695 h 42462"/>
                        <a:gd name="connsiteX28" fmla="*/ 3768 w 34089"/>
                        <a:gd name="connsiteY28" fmla="*/ 35765 h 42462"/>
                        <a:gd name="connsiteX29" fmla="*/ 1615 w 34089"/>
                        <a:gd name="connsiteY29" fmla="*/ 37320 h 42462"/>
                        <a:gd name="connsiteX30" fmla="*/ 0 w 34089"/>
                        <a:gd name="connsiteY30" fmla="*/ 39293 h 4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089" h="42462">
                          <a:moveTo>
                            <a:pt x="5861" y="31937"/>
                          </a:moveTo>
                          <a:lnTo>
                            <a:pt x="6399" y="32475"/>
                          </a:lnTo>
                          <a:lnTo>
                            <a:pt x="29604" y="3110"/>
                          </a:lnTo>
                          <a:lnTo>
                            <a:pt x="32953" y="60"/>
                          </a:lnTo>
                          <a:lnTo>
                            <a:pt x="34030" y="1136"/>
                          </a:lnTo>
                          <a:lnTo>
                            <a:pt x="32774" y="2213"/>
                          </a:lnTo>
                          <a:lnTo>
                            <a:pt x="31578" y="5263"/>
                          </a:lnTo>
                          <a:lnTo>
                            <a:pt x="8493" y="34509"/>
                          </a:lnTo>
                          <a:lnTo>
                            <a:pt x="9090" y="35107"/>
                          </a:lnTo>
                          <a:lnTo>
                            <a:pt x="32236" y="5801"/>
                          </a:lnTo>
                          <a:lnTo>
                            <a:pt x="34090" y="1196"/>
                          </a:lnTo>
                          <a:lnTo>
                            <a:pt x="32953" y="0"/>
                          </a:lnTo>
                          <a:lnTo>
                            <a:pt x="29305" y="2392"/>
                          </a:lnTo>
                          <a:lnTo>
                            <a:pt x="5861" y="31937"/>
                          </a:lnTo>
                          <a:moveTo>
                            <a:pt x="3528" y="34867"/>
                          </a:moveTo>
                          <a:lnTo>
                            <a:pt x="4067" y="34509"/>
                          </a:lnTo>
                          <a:lnTo>
                            <a:pt x="3947" y="34389"/>
                          </a:lnTo>
                          <a:lnTo>
                            <a:pt x="3528" y="34867"/>
                          </a:lnTo>
                          <a:moveTo>
                            <a:pt x="1555" y="40848"/>
                          </a:moveTo>
                          <a:lnTo>
                            <a:pt x="3170" y="42463"/>
                          </a:lnTo>
                          <a:lnTo>
                            <a:pt x="7057" y="37499"/>
                          </a:lnTo>
                          <a:lnTo>
                            <a:pt x="6459" y="36901"/>
                          </a:lnTo>
                          <a:lnTo>
                            <a:pt x="3229" y="41028"/>
                          </a:lnTo>
                          <a:lnTo>
                            <a:pt x="2213" y="40011"/>
                          </a:lnTo>
                          <a:lnTo>
                            <a:pt x="1555" y="40848"/>
                          </a:lnTo>
                          <a:moveTo>
                            <a:pt x="0" y="39293"/>
                          </a:moveTo>
                          <a:lnTo>
                            <a:pt x="359" y="39652"/>
                          </a:lnTo>
                          <a:lnTo>
                            <a:pt x="1435" y="38695"/>
                          </a:lnTo>
                          <a:lnTo>
                            <a:pt x="3768" y="35765"/>
                          </a:lnTo>
                          <a:lnTo>
                            <a:pt x="1615" y="37320"/>
                          </a:lnTo>
                          <a:lnTo>
                            <a:pt x="0" y="39293"/>
                          </a:lnTo>
                        </a:path>
                      </a:pathLst>
                    </a:custGeom>
                    <a:noFill/>
                    <a:ln w="6350" cap="flat">
                      <a:solidFill>
                        <a:schemeClr val="bg1">
                          <a:alpha val="80000"/>
                        </a:schemeClr>
                      </a:solidFill>
                      <a:prstDash val="solid"/>
                      <a:miter/>
                    </a:ln>
                  </p:spPr>
                  <p:txBody>
                    <a:bodyPr rtlCol="0" anchor="ctr"/>
                    <a:lstStyle/>
                    <a:p>
                      <a:endParaRPr lang="en-GB"/>
                    </a:p>
                  </p:txBody>
                </p:sp>
                <p:sp>
                  <p:nvSpPr>
                    <p:cNvPr id="7476" name="Vrije vorm: vorm 7475">
                      <a:extLst>
                        <a:ext uri="{FF2B5EF4-FFF2-40B4-BE49-F238E27FC236}">
                          <a16:creationId xmlns:a16="http://schemas.microsoft.com/office/drawing/2014/main" id="{7EE88427-F8F3-4D91-8088-1A8869BF8318}"/>
                        </a:ext>
                      </a:extLst>
                    </p:cNvPr>
                    <p:cNvSpPr/>
                    <p:nvPr/>
                  </p:nvSpPr>
                  <p:spPr>
                    <a:xfrm>
                      <a:off x="5371545" y="5033894"/>
                      <a:ext cx="33013" cy="40788"/>
                    </a:xfrm>
                    <a:custGeom>
                      <a:avLst/>
                      <a:gdLst>
                        <a:gd name="connsiteX0" fmla="*/ 5442 w 33013"/>
                        <a:gd name="connsiteY0" fmla="*/ 32356 h 40788"/>
                        <a:gd name="connsiteX1" fmla="*/ 6459 w 33013"/>
                        <a:gd name="connsiteY1" fmla="*/ 33373 h 40788"/>
                        <a:gd name="connsiteX2" fmla="*/ 29545 w 33013"/>
                        <a:gd name="connsiteY2" fmla="*/ 4127 h 40788"/>
                        <a:gd name="connsiteX3" fmla="*/ 31758 w 33013"/>
                        <a:gd name="connsiteY3" fmla="*/ 2153 h 40788"/>
                        <a:gd name="connsiteX4" fmla="*/ 33014 w 33013"/>
                        <a:gd name="connsiteY4" fmla="*/ 1076 h 40788"/>
                        <a:gd name="connsiteX5" fmla="*/ 31937 w 33013"/>
                        <a:gd name="connsiteY5" fmla="*/ 0 h 40788"/>
                        <a:gd name="connsiteX6" fmla="*/ 28588 w 33013"/>
                        <a:gd name="connsiteY6" fmla="*/ 3050 h 40788"/>
                        <a:gd name="connsiteX7" fmla="*/ 5442 w 33013"/>
                        <a:gd name="connsiteY7" fmla="*/ 32356 h 40788"/>
                        <a:gd name="connsiteX8" fmla="*/ 479 w 33013"/>
                        <a:gd name="connsiteY8" fmla="*/ 38636 h 40788"/>
                        <a:gd name="connsiteX9" fmla="*/ 4127 w 33013"/>
                        <a:gd name="connsiteY9" fmla="*/ 35406 h 40788"/>
                        <a:gd name="connsiteX10" fmla="*/ 3708 w 33013"/>
                        <a:gd name="connsiteY10" fmla="*/ 34987 h 40788"/>
                        <a:gd name="connsiteX11" fmla="*/ 2811 w 33013"/>
                        <a:gd name="connsiteY11" fmla="*/ 35645 h 40788"/>
                        <a:gd name="connsiteX12" fmla="*/ 479 w 33013"/>
                        <a:gd name="connsiteY12" fmla="*/ 38636 h 40788"/>
                        <a:gd name="connsiteX13" fmla="*/ 0 w 33013"/>
                        <a:gd name="connsiteY13" fmla="*/ 40191 h 40788"/>
                        <a:gd name="connsiteX14" fmla="*/ 598 w 33013"/>
                        <a:gd name="connsiteY14" fmla="*/ 40789 h 40788"/>
                        <a:gd name="connsiteX15" fmla="*/ 1256 w 33013"/>
                        <a:gd name="connsiteY15" fmla="*/ 39951 h 40788"/>
                        <a:gd name="connsiteX16" fmla="*/ 3529 w 33013"/>
                        <a:gd name="connsiteY16" fmla="*/ 37021 h 40788"/>
                        <a:gd name="connsiteX17" fmla="*/ 0 w 33013"/>
                        <a:gd name="connsiteY17" fmla="*/ 40191 h 40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013" h="40788">
                          <a:moveTo>
                            <a:pt x="5442" y="32356"/>
                          </a:moveTo>
                          <a:lnTo>
                            <a:pt x="6459" y="33373"/>
                          </a:lnTo>
                          <a:lnTo>
                            <a:pt x="29545" y="4127"/>
                          </a:lnTo>
                          <a:lnTo>
                            <a:pt x="31758" y="2153"/>
                          </a:lnTo>
                          <a:lnTo>
                            <a:pt x="33014" y="1076"/>
                          </a:lnTo>
                          <a:lnTo>
                            <a:pt x="31937" y="0"/>
                          </a:lnTo>
                          <a:lnTo>
                            <a:pt x="28588" y="3050"/>
                          </a:lnTo>
                          <a:lnTo>
                            <a:pt x="5442" y="32356"/>
                          </a:lnTo>
                          <a:moveTo>
                            <a:pt x="479" y="38636"/>
                          </a:moveTo>
                          <a:lnTo>
                            <a:pt x="4127" y="35406"/>
                          </a:lnTo>
                          <a:lnTo>
                            <a:pt x="3708" y="34987"/>
                          </a:lnTo>
                          <a:lnTo>
                            <a:pt x="2811" y="35645"/>
                          </a:lnTo>
                          <a:lnTo>
                            <a:pt x="479" y="38636"/>
                          </a:lnTo>
                          <a:moveTo>
                            <a:pt x="0" y="40191"/>
                          </a:moveTo>
                          <a:lnTo>
                            <a:pt x="598" y="40789"/>
                          </a:lnTo>
                          <a:lnTo>
                            <a:pt x="1256" y="39951"/>
                          </a:lnTo>
                          <a:lnTo>
                            <a:pt x="3529" y="37021"/>
                          </a:lnTo>
                          <a:lnTo>
                            <a:pt x="0" y="40191"/>
                          </a:lnTo>
                        </a:path>
                      </a:pathLst>
                    </a:custGeom>
                    <a:noFill/>
                    <a:ln w="6350" cap="flat">
                      <a:solidFill>
                        <a:schemeClr val="bg1">
                          <a:alpha val="80000"/>
                        </a:schemeClr>
                      </a:solidFill>
                      <a:prstDash val="solid"/>
                      <a:miter/>
                    </a:ln>
                  </p:spPr>
                  <p:txBody>
                    <a:bodyPr rtlCol="0" anchor="ctr"/>
                    <a:lstStyle/>
                    <a:p>
                      <a:endParaRPr lang="en-GB"/>
                    </a:p>
                  </p:txBody>
                </p:sp>
                <p:sp>
                  <p:nvSpPr>
                    <p:cNvPr id="7477" name="Vrije vorm: vorm 7476">
                      <a:extLst>
                        <a:ext uri="{FF2B5EF4-FFF2-40B4-BE49-F238E27FC236}">
                          <a16:creationId xmlns:a16="http://schemas.microsoft.com/office/drawing/2014/main" id="{236EFE79-5C7A-437F-8269-291CBF71EF80}"/>
                        </a:ext>
                      </a:extLst>
                    </p:cNvPr>
                    <p:cNvSpPr/>
                    <p:nvPr/>
                  </p:nvSpPr>
                  <p:spPr>
                    <a:xfrm>
                      <a:off x="5347144" y="5066429"/>
                      <a:ext cx="31997" cy="38455"/>
                    </a:xfrm>
                    <a:custGeom>
                      <a:avLst/>
                      <a:gdLst>
                        <a:gd name="connsiteX0" fmla="*/ 29963 w 31997"/>
                        <a:gd name="connsiteY0" fmla="*/ 2811 h 38455"/>
                        <a:gd name="connsiteX1" fmla="*/ 31578 w 31997"/>
                        <a:gd name="connsiteY1" fmla="*/ 4426 h 38455"/>
                        <a:gd name="connsiteX2" fmla="*/ 31877 w 31997"/>
                        <a:gd name="connsiteY2" fmla="*/ 4007 h 38455"/>
                        <a:gd name="connsiteX3" fmla="*/ 31997 w 31997"/>
                        <a:gd name="connsiteY3" fmla="*/ 3589 h 38455"/>
                        <a:gd name="connsiteX4" fmla="*/ 30621 w 31997"/>
                        <a:gd name="connsiteY4" fmla="*/ 2213 h 38455"/>
                        <a:gd name="connsiteX5" fmla="*/ 29963 w 31997"/>
                        <a:gd name="connsiteY5" fmla="*/ 2811 h 38455"/>
                        <a:gd name="connsiteX6" fmla="*/ 27811 w 31997"/>
                        <a:gd name="connsiteY6" fmla="*/ 658 h 38455"/>
                        <a:gd name="connsiteX7" fmla="*/ 28408 w 31997"/>
                        <a:gd name="connsiteY7" fmla="*/ 1256 h 38455"/>
                        <a:gd name="connsiteX8" fmla="*/ 29186 w 31997"/>
                        <a:gd name="connsiteY8" fmla="*/ 718 h 38455"/>
                        <a:gd name="connsiteX9" fmla="*/ 28468 w 31997"/>
                        <a:gd name="connsiteY9" fmla="*/ 0 h 38455"/>
                        <a:gd name="connsiteX10" fmla="*/ 28229 w 31997"/>
                        <a:gd name="connsiteY10" fmla="*/ 120 h 38455"/>
                        <a:gd name="connsiteX11" fmla="*/ 27811 w 31997"/>
                        <a:gd name="connsiteY11" fmla="*/ 658 h 38455"/>
                        <a:gd name="connsiteX12" fmla="*/ 11603 w 31997"/>
                        <a:gd name="connsiteY12" fmla="*/ 35705 h 38455"/>
                        <a:gd name="connsiteX13" fmla="*/ 12201 w 31997"/>
                        <a:gd name="connsiteY13" fmla="*/ 36303 h 38455"/>
                        <a:gd name="connsiteX14" fmla="*/ 27691 w 31997"/>
                        <a:gd name="connsiteY14" fmla="*/ 16686 h 38455"/>
                        <a:gd name="connsiteX15" fmla="*/ 31279 w 31997"/>
                        <a:gd name="connsiteY15" fmla="*/ 5742 h 38455"/>
                        <a:gd name="connsiteX16" fmla="*/ 30621 w 31997"/>
                        <a:gd name="connsiteY16" fmla="*/ 5084 h 38455"/>
                        <a:gd name="connsiteX17" fmla="*/ 27033 w 31997"/>
                        <a:gd name="connsiteY17" fmla="*/ 16148 h 38455"/>
                        <a:gd name="connsiteX18" fmla="*/ 11603 w 31997"/>
                        <a:gd name="connsiteY18" fmla="*/ 35705 h 38455"/>
                        <a:gd name="connsiteX19" fmla="*/ 1735 w 31997"/>
                        <a:gd name="connsiteY19" fmla="*/ 26196 h 38455"/>
                        <a:gd name="connsiteX20" fmla="*/ 2333 w 31997"/>
                        <a:gd name="connsiteY20" fmla="*/ 26734 h 38455"/>
                        <a:gd name="connsiteX21" fmla="*/ 17882 w 31997"/>
                        <a:gd name="connsiteY21" fmla="*/ 7057 h 38455"/>
                        <a:gd name="connsiteX22" fmla="*/ 27332 w 31997"/>
                        <a:gd name="connsiteY22" fmla="*/ 1675 h 38455"/>
                        <a:gd name="connsiteX23" fmla="*/ 26674 w 31997"/>
                        <a:gd name="connsiteY23" fmla="*/ 1017 h 38455"/>
                        <a:gd name="connsiteX24" fmla="*/ 17583 w 31997"/>
                        <a:gd name="connsiteY24" fmla="*/ 6220 h 38455"/>
                        <a:gd name="connsiteX25" fmla="*/ 1735 w 31997"/>
                        <a:gd name="connsiteY25" fmla="*/ 26196 h 38455"/>
                        <a:gd name="connsiteX26" fmla="*/ 2930 w 31997"/>
                        <a:gd name="connsiteY26" fmla="*/ 29724 h 38455"/>
                        <a:gd name="connsiteX27" fmla="*/ 4127 w 31997"/>
                        <a:gd name="connsiteY27" fmla="*/ 30861 h 38455"/>
                        <a:gd name="connsiteX28" fmla="*/ 4127 w 31997"/>
                        <a:gd name="connsiteY28" fmla="*/ 30801 h 38455"/>
                        <a:gd name="connsiteX29" fmla="*/ 2930 w 31997"/>
                        <a:gd name="connsiteY29" fmla="*/ 29724 h 38455"/>
                        <a:gd name="connsiteX30" fmla="*/ 2930 w 31997"/>
                        <a:gd name="connsiteY30" fmla="*/ 29724 h 38455"/>
                        <a:gd name="connsiteX31" fmla="*/ 4306 w 31997"/>
                        <a:gd name="connsiteY31" fmla="*/ 32535 h 38455"/>
                        <a:gd name="connsiteX32" fmla="*/ 10466 w 31997"/>
                        <a:gd name="connsiteY32" fmla="*/ 38456 h 38455"/>
                        <a:gd name="connsiteX33" fmla="*/ 11483 w 31997"/>
                        <a:gd name="connsiteY33" fmla="*/ 37140 h 38455"/>
                        <a:gd name="connsiteX34" fmla="*/ 10885 w 31997"/>
                        <a:gd name="connsiteY34" fmla="*/ 36542 h 38455"/>
                        <a:gd name="connsiteX35" fmla="*/ 10526 w 31997"/>
                        <a:gd name="connsiteY35" fmla="*/ 37021 h 38455"/>
                        <a:gd name="connsiteX36" fmla="*/ 4964 w 31997"/>
                        <a:gd name="connsiteY36" fmla="*/ 31638 h 38455"/>
                        <a:gd name="connsiteX37" fmla="*/ 4306 w 31997"/>
                        <a:gd name="connsiteY37" fmla="*/ 32535 h 38455"/>
                        <a:gd name="connsiteX38" fmla="*/ 0 w 31997"/>
                        <a:gd name="connsiteY38" fmla="*/ 28408 h 38455"/>
                        <a:gd name="connsiteX39" fmla="*/ 1615 w 31997"/>
                        <a:gd name="connsiteY39" fmla="*/ 29963 h 38455"/>
                        <a:gd name="connsiteX40" fmla="*/ 2273 w 31997"/>
                        <a:gd name="connsiteY40" fmla="*/ 29126 h 38455"/>
                        <a:gd name="connsiteX41" fmla="*/ 1196 w 31997"/>
                        <a:gd name="connsiteY41" fmla="*/ 28109 h 38455"/>
                        <a:gd name="connsiteX42" fmla="*/ 1555 w 31997"/>
                        <a:gd name="connsiteY42" fmla="*/ 27631 h 38455"/>
                        <a:gd name="connsiteX43" fmla="*/ 957 w 31997"/>
                        <a:gd name="connsiteY43" fmla="*/ 27093 h 38455"/>
                        <a:gd name="connsiteX44" fmla="*/ 0 w 31997"/>
                        <a:gd name="connsiteY44" fmla="*/ 28408 h 3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1997" h="38455">
                          <a:moveTo>
                            <a:pt x="29963" y="2811"/>
                          </a:moveTo>
                          <a:lnTo>
                            <a:pt x="31578" y="4426"/>
                          </a:lnTo>
                          <a:lnTo>
                            <a:pt x="31877" y="4007"/>
                          </a:lnTo>
                          <a:lnTo>
                            <a:pt x="31997" y="3589"/>
                          </a:lnTo>
                          <a:lnTo>
                            <a:pt x="30621" y="2213"/>
                          </a:lnTo>
                          <a:lnTo>
                            <a:pt x="29963" y="2811"/>
                          </a:lnTo>
                          <a:moveTo>
                            <a:pt x="27811" y="658"/>
                          </a:moveTo>
                          <a:lnTo>
                            <a:pt x="28408" y="1256"/>
                          </a:lnTo>
                          <a:lnTo>
                            <a:pt x="29186" y="718"/>
                          </a:lnTo>
                          <a:lnTo>
                            <a:pt x="28468" y="0"/>
                          </a:lnTo>
                          <a:lnTo>
                            <a:pt x="28229" y="120"/>
                          </a:lnTo>
                          <a:lnTo>
                            <a:pt x="27811" y="658"/>
                          </a:lnTo>
                          <a:moveTo>
                            <a:pt x="11603" y="35705"/>
                          </a:moveTo>
                          <a:lnTo>
                            <a:pt x="12201" y="36303"/>
                          </a:lnTo>
                          <a:lnTo>
                            <a:pt x="27691" y="16686"/>
                          </a:lnTo>
                          <a:lnTo>
                            <a:pt x="31279" y="5742"/>
                          </a:lnTo>
                          <a:lnTo>
                            <a:pt x="30621" y="5084"/>
                          </a:lnTo>
                          <a:lnTo>
                            <a:pt x="27033" y="16148"/>
                          </a:lnTo>
                          <a:lnTo>
                            <a:pt x="11603" y="35705"/>
                          </a:lnTo>
                          <a:moveTo>
                            <a:pt x="1735" y="26196"/>
                          </a:moveTo>
                          <a:lnTo>
                            <a:pt x="2333" y="26734"/>
                          </a:lnTo>
                          <a:lnTo>
                            <a:pt x="17882" y="7057"/>
                          </a:lnTo>
                          <a:lnTo>
                            <a:pt x="27332" y="1675"/>
                          </a:lnTo>
                          <a:lnTo>
                            <a:pt x="26674" y="1017"/>
                          </a:lnTo>
                          <a:lnTo>
                            <a:pt x="17583" y="6220"/>
                          </a:lnTo>
                          <a:lnTo>
                            <a:pt x="1735" y="26196"/>
                          </a:lnTo>
                          <a:moveTo>
                            <a:pt x="2930" y="29724"/>
                          </a:moveTo>
                          <a:lnTo>
                            <a:pt x="4127" y="30861"/>
                          </a:lnTo>
                          <a:lnTo>
                            <a:pt x="4127" y="30801"/>
                          </a:lnTo>
                          <a:lnTo>
                            <a:pt x="2930" y="29724"/>
                          </a:lnTo>
                          <a:lnTo>
                            <a:pt x="2930" y="29724"/>
                          </a:lnTo>
                          <a:moveTo>
                            <a:pt x="4306" y="32535"/>
                          </a:moveTo>
                          <a:lnTo>
                            <a:pt x="10466" y="38456"/>
                          </a:lnTo>
                          <a:lnTo>
                            <a:pt x="11483" y="37140"/>
                          </a:lnTo>
                          <a:lnTo>
                            <a:pt x="10885" y="36542"/>
                          </a:lnTo>
                          <a:lnTo>
                            <a:pt x="10526" y="37021"/>
                          </a:lnTo>
                          <a:lnTo>
                            <a:pt x="4964" y="31638"/>
                          </a:lnTo>
                          <a:lnTo>
                            <a:pt x="4306" y="32535"/>
                          </a:lnTo>
                          <a:moveTo>
                            <a:pt x="0" y="28408"/>
                          </a:moveTo>
                          <a:lnTo>
                            <a:pt x="1615" y="29963"/>
                          </a:lnTo>
                          <a:lnTo>
                            <a:pt x="2273" y="29126"/>
                          </a:lnTo>
                          <a:lnTo>
                            <a:pt x="1196" y="28109"/>
                          </a:lnTo>
                          <a:lnTo>
                            <a:pt x="1555" y="27631"/>
                          </a:lnTo>
                          <a:lnTo>
                            <a:pt x="957" y="27093"/>
                          </a:lnTo>
                          <a:lnTo>
                            <a:pt x="0" y="28408"/>
                          </a:lnTo>
                        </a:path>
                      </a:pathLst>
                    </a:custGeom>
                    <a:noFill/>
                    <a:ln w="6350" cap="flat">
                      <a:solidFill>
                        <a:schemeClr val="bg1">
                          <a:alpha val="80000"/>
                        </a:schemeClr>
                      </a:solidFill>
                      <a:prstDash val="solid"/>
                      <a:miter/>
                    </a:ln>
                  </p:spPr>
                  <p:txBody>
                    <a:bodyPr rtlCol="0" anchor="ctr"/>
                    <a:lstStyle/>
                    <a:p>
                      <a:endParaRPr lang="en-GB"/>
                    </a:p>
                  </p:txBody>
                </p:sp>
                <p:sp>
                  <p:nvSpPr>
                    <p:cNvPr id="7478" name="Vrije vorm: vorm 7477">
                      <a:extLst>
                        <a:ext uri="{FF2B5EF4-FFF2-40B4-BE49-F238E27FC236}">
                          <a16:creationId xmlns:a16="http://schemas.microsoft.com/office/drawing/2014/main" id="{F00AFD75-C273-404E-A60D-26F92839DB89}"/>
                        </a:ext>
                      </a:extLst>
                    </p:cNvPr>
                    <p:cNvSpPr/>
                    <p:nvPr/>
                  </p:nvSpPr>
                  <p:spPr>
                    <a:xfrm>
                      <a:off x="5348818" y="5067146"/>
                      <a:ext cx="29006" cy="31219"/>
                    </a:xfrm>
                    <a:custGeom>
                      <a:avLst/>
                      <a:gdLst>
                        <a:gd name="connsiteX0" fmla="*/ 26734 w 29006"/>
                        <a:gd name="connsiteY0" fmla="*/ 538 h 31219"/>
                        <a:gd name="connsiteX1" fmla="*/ 28289 w 29006"/>
                        <a:gd name="connsiteY1" fmla="*/ 2093 h 31219"/>
                        <a:gd name="connsiteX2" fmla="*/ 29006 w 29006"/>
                        <a:gd name="connsiteY2" fmla="*/ 1495 h 31219"/>
                        <a:gd name="connsiteX3" fmla="*/ 27511 w 29006"/>
                        <a:gd name="connsiteY3" fmla="*/ 0 h 31219"/>
                        <a:gd name="connsiteX4" fmla="*/ 26734 w 29006"/>
                        <a:gd name="connsiteY4" fmla="*/ 538 h 31219"/>
                        <a:gd name="connsiteX5" fmla="*/ 3469 w 29006"/>
                        <a:gd name="connsiteY5" fmla="*/ 28767 h 31219"/>
                        <a:gd name="connsiteX6" fmla="*/ 4067 w 29006"/>
                        <a:gd name="connsiteY6" fmla="*/ 29366 h 31219"/>
                        <a:gd name="connsiteX7" fmla="*/ 19557 w 29006"/>
                        <a:gd name="connsiteY7" fmla="*/ 9749 h 31219"/>
                        <a:gd name="connsiteX8" fmla="*/ 22667 w 29006"/>
                        <a:gd name="connsiteY8" fmla="*/ 6998 h 31219"/>
                        <a:gd name="connsiteX9" fmla="*/ 26255 w 29006"/>
                        <a:gd name="connsiteY9" fmla="*/ 3828 h 31219"/>
                        <a:gd name="connsiteX10" fmla="*/ 27391 w 29006"/>
                        <a:gd name="connsiteY10" fmla="*/ 2811 h 31219"/>
                        <a:gd name="connsiteX11" fmla="*/ 26794 w 29006"/>
                        <a:gd name="connsiteY11" fmla="*/ 2213 h 31219"/>
                        <a:gd name="connsiteX12" fmla="*/ 23145 w 29006"/>
                        <a:gd name="connsiteY12" fmla="*/ 5443 h 31219"/>
                        <a:gd name="connsiteX13" fmla="*/ 22069 w 29006"/>
                        <a:gd name="connsiteY13" fmla="*/ 6399 h 31219"/>
                        <a:gd name="connsiteX14" fmla="*/ 19019 w 29006"/>
                        <a:gd name="connsiteY14" fmla="*/ 9091 h 31219"/>
                        <a:gd name="connsiteX15" fmla="*/ 3469 w 29006"/>
                        <a:gd name="connsiteY15" fmla="*/ 28767 h 31219"/>
                        <a:gd name="connsiteX16" fmla="*/ 1734 w 29006"/>
                        <a:gd name="connsiteY16" fmla="*/ 27033 h 31219"/>
                        <a:gd name="connsiteX17" fmla="*/ 2333 w 29006"/>
                        <a:gd name="connsiteY17" fmla="*/ 27631 h 31219"/>
                        <a:gd name="connsiteX18" fmla="*/ 17882 w 29006"/>
                        <a:gd name="connsiteY18" fmla="*/ 7954 h 31219"/>
                        <a:gd name="connsiteX19" fmla="*/ 23384 w 29006"/>
                        <a:gd name="connsiteY19" fmla="*/ 4007 h 31219"/>
                        <a:gd name="connsiteX20" fmla="*/ 25537 w 29006"/>
                        <a:gd name="connsiteY20" fmla="*/ 2452 h 31219"/>
                        <a:gd name="connsiteX21" fmla="*/ 26435 w 29006"/>
                        <a:gd name="connsiteY21" fmla="*/ 1795 h 31219"/>
                        <a:gd name="connsiteX22" fmla="*/ 25837 w 29006"/>
                        <a:gd name="connsiteY22" fmla="*/ 1196 h 31219"/>
                        <a:gd name="connsiteX23" fmla="*/ 25298 w 29006"/>
                        <a:gd name="connsiteY23" fmla="*/ 1555 h 31219"/>
                        <a:gd name="connsiteX24" fmla="*/ 17464 w 29006"/>
                        <a:gd name="connsiteY24" fmla="*/ 7177 h 31219"/>
                        <a:gd name="connsiteX25" fmla="*/ 1734 w 29006"/>
                        <a:gd name="connsiteY25" fmla="*/ 27033 h 31219"/>
                        <a:gd name="connsiteX26" fmla="*/ 0 w 29006"/>
                        <a:gd name="connsiteY26" fmla="*/ 29246 h 31219"/>
                        <a:gd name="connsiteX27" fmla="*/ 2033 w 29006"/>
                        <a:gd name="connsiteY27" fmla="*/ 31220 h 31219"/>
                        <a:gd name="connsiteX28" fmla="*/ 3110 w 29006"/>
                        <a:gd name="connsiteY28" fmla="*/ 29904 h 31219"/>
                        <a:gd name="connsiteX29" fmla="*/ 2871 w 29006"/>
                        <a:gd name="connsiteY29" fmla="*/ 29665 h 31219"/>
                        <a:gd name="connsiteX30" fmla="*/ 2512 w 29006"/>
                        <a:gd name="connsiteY30" fmla="*/ 30143 h 31219"/>
                        <a:gd name="connsiteX31" fmla="*/ 2512 w 29006"/>
                        <a:gd name="connsiteY31" fmla="*/ 30203 h 31219"/>
                        <a:gd name="connsiteX32" fmla="*/ 1316 w 29006"/>
                        <a:gd name="connsiteY32" fmla="*/ 29067 h 31219"/>
                        <a:gd name="connsiteX33" fmla="*/ 1316 w 29006"/>
                        <a:gd name="connsiteY33" fmla="*/ 29007 h 31219"/>
                        <a:gd name="connsiteX34" fmla="*/ 1674 w 29006"/>
                        <a:gd name="connsiteY34" fmla="*/ 28528 h 31219"/>
                        <a:gd name="connsiteX35" fmla="*/ 1076 w 29006"/>
                        <a:gd name="connsiteY35" fmla="*/ 27930 h 31219"/>
                        <a:gd name="connsiteX36" fmla="*/ 718 w 29006"/>
                        <a:gd name="connsiteY36" fmla="*/ 28408 h 31219"/>
                        <a:gd name="connsiteX37" fmla="*/ 0 w 29006"/>
                        <a:gd name="connsiteY37" fmla="*/ 29246 h 3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9006" h="31219">
                          <a:moveTo>
                            <a:pt x="26734" y="538"/>
                          </a:moveTo>
                          <a:lnTo>
                            <a:pt x="28289" y="2093"/>
                          </a:lnTo>
                          <a:lnTo>
                            <a:pt x="29006" y="1495"/>
                          </a:lnTo>
                          <a:lnTo>
                            <a:pt x="27511" y="0"/>
                          </a:lnTo>
                          <a:lnTo>
                            <a:pt x="26734" y="538"/>
                          </a:lnTo>
                          <a:moveTo>
                            <a:pt x="3469" y="28767"/>
                          </a:moveTo>
                          <a:lnTo>
                            <a:pt x="4067" y="29366"/>
                          </a:lnTo>
                          <a:lnTo>
                            <a:pt x="19557" y="9749"/>
                          </a:lnTo>
                          <a:lnTo>
                            <a:pt x="22667" y="6998"/>
                          </a:lnTo>
                          <a:lnTo>
                            <a:pt x="26255" y="3828"/>
                          </a:lnTo>
                          <a:lnTo>
                            <a:pt x="27391" y="2811"/>
                          </a:lnTo>
                          <a:lnTo>
                            <a:pt x="26794" y="2213"/>
                          </a:lnTo>
                          <a:lnTo>
                            <a:pt x="23145" y="5443"/>
                          </a:lnTo>
                          <a:lnTo>
                            <a:pt x="22069" y="6399"/>
                          </a:lnTo>
                          <a:lnTo>
                            <a:pt x="19019" y="9091"/>
                          </a:lnTo>
                          <a:lnTo>
                            <a:pt x="3469" y="28767"/>
                          </a:lnTo>
                          <a:moveTo>
                            <a:pt x="1734" y="27033"/>
                          </a:moveTo>
                          <a:lnTo>
                            <a:pt x="2333" y="27631"/>
                          </a:lnTo>
                          <a:lnTo>
                            <a:pt x="17882" y="7954"/>
                          </a:lnTo>
                          <a:lnTo>
                            <a:pt x="23384" y="4007"/>
                          </a:lnTo>
                          <a:lnTo>
                            <a:pt x="25537" y="2452"/>
                          </a:lnTo>
                          <a:lnTo>
                            <a:pt x="26435" y="1795"/>
                          </a:lnTo>
                          <a:lnTo>
                            <a:pt x="25837" y="1196"/>
                          </a:lnTo>
                          <a:lnTo>
                            <a:pt x="25298" y="1555"/>
                          </a:lnTo>
                          <a:lnTo>
                            <a:pt x="17464" y="7177"/>
                          </a:lnTo>
                          <a:lnTo>
                            <a:pt x="1734" y="27033"/>
                          </a:lnTo>
                          <a:moveTo>
                            <a:pt x="0" y="29246"/>
                          </a:moveTo>
                          <a:lnTo>
                            <a:pt x="2033" y="31220"/>
                          </a:lnTo>
                          <a:lnTo>
                            <a:pt x="3110" y="29904"/>
                          </a:lnTo>
                          <a:lnTo>
                            <a:pt x="2871" y="29665"/>
                          </a:lnTo>
                          <a:lnTo>
                            <a:pt x="2512" y="30143"/>
                          </a:lnTo>
                          <a:lnTo>
                            <a:pt x="2512" y="30203"/>
                          </a:lnTo>
                          <a:lnTo>
                            <a:pt x="1316" y="29067"/>
                          </a:lnTo>
                          <a:lnTo>
                            <a:pt x="1316" y="29007"/>
                          </a:lnTo>
                          <a:lnTo>
                            <a:pt x="1674" y="28528"/>
                          </a:lnTo>
                          <a:lnTo>
                            <a:pt x="1076" y="27930"/>
                          </a:lnTo>
                          <a:lnTo>
                            <a:pt x="718" y="28408"/>
                          </a:lnTo>
                          <a:lnTo>
                            <a:pt x="0" y="29246"/>
                          </a:lnTo>
                        </a:path>
                      </a:pathLst>
                    </a:custGeom>
                    <a:noFill/>
                    <a:ln w="6350" cap="flat">
                      <a:solidFill>
                        <a:schemeClr val="bg1">
                          <a:alpha val="80000"/>
                        </a:schemeClr>
                      </a:solidFill>
                      <a:prstDash val="solid"/>
                      <a:miter/>
                    </a:ln>
                  </p:spPr>
                  <p:txBody>
                    <a:bodyPr rtlCol="0" anchor="ctr"/>
                    <a:lstStyle/>
                    <a:p>
                      <a:endParaRPr lang="en-GB"/>
                    </a:p>
                  </p:txBody>
                </p:sp>
                <p:sp>
                  <p:nvSpPr>
                    <p:cNvPr id="7479" name="Vrije vorm: vorm 7478">
                      <a:extLst>
                        <a:ext uri="{FF2B5EF4-FFF2-40B4-BE49-F238E27FC236}">
                          <a16:creationId xmlns:a16="http://schemas.microsoft.com/office/drawing/2014/main" id="{72F9E205-56DB-4D73-9C73-47DC7A211F00}"/>
                        </a:ext>
                      </a:extLst>
                    </p:cNvPr>
                    <p:cNvSpPr/>
                    <p:nvPr/>
                  </p:nvSpPr>
                  <p:spPr>
                    <a:xfrm>
                      <a:off x="5373698" y="5064993"/>
                      <a:ext cx="6877" cy="7356"/>
                    </a:xfrm>
                    <a:custGeom>
                      <a:avLst/>
                      <a:gdLst>
                        <a:gd name="connsiteX0" fmla="*/ 1854 w 6877"/>
                        <a:gd name="connsiteY0" fmla="*/ 2691 h 7356"/>
                        <a:gd name="connsiteX1" fmla="*/ 1256 w 6877"/>
                        <a:gd name="connsiteY1" fmla="*/ 2093 h 7356"/>
                        <a:gd name="connsiteX2" fmla="*/ 1675 w 6877"/>
                        <a:gd name="connsiteY2" fmla="*/ 1555 h 7356"/>
                        <a:gd name="connsiteX3" fmla="*/ 1794 w 6877"/>
                        <a:gd name="connsiteY3" fmla="*/ 1375 h 7356"/>
                        <a:gd name="connsiteX4" fmla="*/ 1854 w 6877"/>
                        <a:gd name="connsiteY4" fmla="*/ 1435 h 7356"/>
                        <a:gd name="connsiteX5" fmla="*/ 2572 w 6877"/>
                        <a:gd name="connsiteY5" fmla="*/ 2153 h 7356"/>
                        <a:gd name="connsiteX6" fmla="*/ 4067 w 6877"/>
                        <a:gd name="connsiteY6" fmla="*/ 3648 h 7356"/>
                        <a:gd name="connsiteX7" fmla="*/ 5443 w 6877"/>
                        <a:gd name="connsiteY7" fmla="*/ 5024 h 7356"/>
                        <a:gd name="connsiteX8" fmla="*/ 5562 w 6877"/>
                        <a:gd name="connsiteY8" fmla="*/ 5143 h 7356"/>
                        <a:gd name="connsiteX9" fmla="*/ 5323 w 6877"/>
                        <a:gd name="connsiteY9" fmla="*/ 5443 h 7356"/>
                        <a:gd name="connsiteX10" fmla="*/ 5024 w 6877"/>
                        <a:gd name="connsiteY10" fmla="*/ 5861 h 7356"/>
                        <a:gd name="connsiteX11" fmla="*/ 3409 w 6877"/>
                        <a:gd name="connsiteY11" fmla="*/ 4246 h 7356"/>
                        <a:gd name="connsiteX12" fmla="*/ 1854 w 6877"/>
                        <a:gd name="connsiteY12" fmla="*/ 2691 h 7356"/>
                        <a:gd name="connsiteX13" fmla="*/ 0 w 6877"/>
                        <a:gd name="connsiteY13" fmla="*/ 2392 h 7356"/>
                        <a:gd name="connsiteX14" fmla="*/ 120 w 6877"/>
                        <a:gd name="connsiteY14" fmla="*/ 2512 h 7356"/>
                        <a:gd name="connsiteX15" fmla="*/ 778 w 6877"/>
                        <a:gd name="connsiteY15" fmla="*/ 3170 h 7356"/>
                        <a:gd name="connsiteX16" fmla="*/ 837 w 6877"/>
                        <a:gd name="connsiteY16" fmla="*/ 3230 h 7356"/>
                        <a:gd name="connsiteX17" fmla="*/ 957 w 6877"/>
                        <a:gd name="connsiteY17" fmla="*/ 3349 h 7356"/>
                        <a:gd name="connsiteX18" fmla="*/ 1555 w 6877"/>
                        <a:gd name="connsiteY18" fmla="*/ 3947 h 7356"/>
                        <a:gd name="connsiteX19" fmla="*/ 1974 w 6877"/>
                        <a:gd name="connsiteY19" fmla="*/ 4366 h 7356"/>
                        <a:gd name="connsiteX20" fmla="*/ 2572 w 6877"/>
                        <a:gd name="connsiteY20" fmla="*/ 4964 h 7356"/>
                        <a:gd name="connsiteX21" fmla="*/ 3409 w 6877"/>
                        <a:gd name="connsiteY21" fmla="*/ 5801 h 7356"/>
                        <a:gd name="connsiteX22" fmla="*/ 4007 w 6877"/>
                        <a:gd name="connsiteY22" fmla="*/ 6399 h 7356"/>
                        <a:gd name="connsiteX23" fmla="*/ 4127 w 6877"/>
                        <a:gd name="connsiteY23" fmla="*/ 6519 h 7356"/>
                        <a:gd name="connsiteX24" fmla="*/ 4785 w 6877"/>
                        <a:gd name="connsiteY24" fmla="*/ 7177 h 7356"/>
                        <a:gd name="connsiteX25" fmla="*/ 4964 w 6877"/>
                        <a:gd name="connsiteY25" fmla="*/ 7356 h 7356"/>
                        <a:gd name="connsiteX26" fmla="*/ 6878 w 6877"/>
                        <a:gd name="connsiteY26" fmla="*/ 4904 h 7356"/>
                        <a:gd name="connsiteX27" fmla="*/ 5981 w 6877"/>
                        <a:gd name="connsiteY27" fmla="*/ 4007 h 7356"/>
                        <a:gd name="connsiteX28" fmla="*/ 5383 w 6877"/>
                        <a:gd name="connsiteY28" fmla="*/ 3409 h 7356"/>
                        <a:gd name="connsiteX29" fmla="*/ 4366 w 6877"/>
                        <a:gd name="connsiteY29" fmla="*/ 2392 h 7356"/>
                        <a:gd name="connsiteX30" fmla="*/ 3349 w 6877"/>
                        <a:gd name="connsiteY30" fmla="*/ 1375 h 7356"/>
                        <a:gd name="connsiteX31" fmla="*/ 2811 w 6877"/>
                        <a:gd name="connsiteY31" fmla="*/ 837 h 7356"/>
                        <a:gd name="connsiteX32" fmla="*/ 1974 w 6877"/>
                        <a:gd name="connsiteY32" fmla="*/ 0 h 7356"/>
                        <a:gd name="connsiteX33" fmla="*/ 0 w 6877"/>
                        <a:gd name="connsiteY33" fmla="*/ 2392 h 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877" h="7356">
                          <a:moveTo>
                            <a:pt x="1854" y="2691"/>
                          </a:moveTo>
                          <a:lnTo>
                            <a:pt x="1256" y="2093"/>
                          </a:lnTo>
                          <a:lnTo>
                            <a:pt x="1675" y="1555"/>
                          </a:lnTo>
                          <a:lnTo>
                            <a:pt x="1794" y="1375"/>
                          </a:lnTo>
                          <a:lnTo>
                            <a:pt x="1854" y="1435"/>
                          </a:lnTo>
                          <a:lnTo>
                            <a:pt x="2572" y="2153"/>
                          </a:lnTo>
                          <a:lnTo>
                            <a:pt x="4067" y="3648"/>
                          </a:lnTo>
                          <a:lnTo>
                            <a:pt x="5443" y="5024"/>
                          </a:lnTo>
                          <a:lnTo>
                            <a:pt x="5562" y="5143"/>
                          </a:lnTo>
                          <a:lnTo>
                            <a:pt x="5323" y="5443"/>
                          </a:lnTo>
                          <a:lnTo>
                            <a:pt x="5024" y="5861"/>
                          </a:lnTo>
                          <a:lnTo>
                            <a:pt x="3409" y="4246"/>
                          </a:lnTo>
                          <a:lnTo>
                            <a:pt x="1854" y="2691"/>
                          </a:lnTo>
                          <a:moveTo>
                            <a:pt x="0" y="2392"/>
                          </a:moveTo>
                          <a:lnTo>
                            <a:pt x="120" y="2512"/>
                          </a:lnTo>
                          <a:lnTo>
                            <a:pt x="778" y="3170"/>
                          </a:lnTo>
                          <a:lnTo>
                            <a:pt x="837" y="3230"/>
                          </a:lnTo>
                          <a:lnTo>
                            <a:pt x="957" y="3349"/>
                          </a:lnTo>
                          <a:lnTo>
                            <a:pt x="1555" y="3947"/>
                          </a:lnTo>
                          <a:lnTo>
                            <a:pt x="1974" y="4366"/>
                          </a:lnTo>
                          <a:lnTo>
                            <a:pt x="2572" y="4964"/>
                          </a:lnTo>
                          <a:lnTo>
                            <a:pt x="3409" y="5801"/>
                          </a:lnTo>
                          <a:lnTo>
                            <a:pt x="4007" y="6399"/>
                          </a:lnTo>
                          <a:lnTo>
                            <a:pt x="4127" y="6519"/>
                          </a:lnTo>
                          <a:lnTo>
                            <a:pt x="4785" y="7177"/>
                          </a:lnTo>
                          <a:lnTo>
                            <a:pt x="4964" y="7356"/>
                          </a:lnTo>
                          <a:lnTo>
                            <a:pt x="6878" y="4904"/>
                          </a:lnTo>
                          <a:lnTo>
                            <a:pt x="5981" y="4007"/>
                          </a:lnTo>
                          <a:lnTo>
                            <a:pt x="5383" y="3409"/>
                          </a:lnTo>
                          <a:lnTo>
                            <a:pt x="4366" y="2392"/>
                          </a:lnTo>
                          <a:lnTo>
                            <a:pt x="3349" y="1375"/>
                          </a:lnTo>
                          <a:lnTo>
                            <a:pt x="2811" y="837"/>
                          </a:lnTo>
                          <a:lnTo>
                            <a:pt x="1974" y="0"/>
                          </a:lnTo>
                          <a:lnTo>
                            <a:pt x="0" y="2392"/>
                          </a:lnTo>
                        </a:path>
                      </a:pathLst>
                    </a:custGeom>
                    <a:noFill/>
                    <a:ln w="6350" cap="flat">
                      <a:solidFill>
                        <a:schemeClr val="bg1">
                          <a:alpha val="80000"/>
                        </a:schemeClr>
                      </a:solidFill>
                      <a:prstDash val="solid"/>
                      <a:miter/>
                    </a:ln>
                  </p:spPr>
                  <p:txBody>
                    <a:bodyPr rtlCol="0" anchor="ctr"/>
                    <a:lstStyle/>
                    <a:p>
                      <a:endParaRPr lang="en-GB"/>
                    </a:p>
                  </p:txBody>
                </p:sp>
                <p:sp>
                  <p:nvSpPr>
                    <p:cNvPr id="7480" name="Vrije vorm: vorm 7479">
                      <a:extLst>
                        <a:ext uri="{FF2B5EF4-FFF2-40B4-BE49-F238E27FC236}">
                          <a16:creationId xmlns:a16="http://schemas.microsoft.com/office/drawing/2014/main" id="{5A06F780-A64D-495A-BB4E-9A6C05EDE51F}"/>
                        </a:ext>
                      </a:extLst>
                    </p:cNvPr>
                    <p:cNvSpPr/>
                    <p:nvPr/>
                  </p:nvSpPr>
                  <p:spPr>
                    <a:xfrm>
                      <a:off x="5323101" y="5095615"/>
                      <a:ext cx="34329" cy="39293"/>
                    </a:xfrm>
                    <a:custGeom>
                      <a:avLst/>
                      <a:gdLst>
                        <a:gd name="connsiteX0" fmla="*/ 26734 w 34329"/>
                        <a:gd name="connsiteY0" fmla="*/ 19916 h 39293"/>
                        <a:gd name="connsiteX1" fmla="*/ 27332 w 34329"/>
                        <a:gd name="connsiteY1" fmla="*/ 20514 h 39293"/>
                        <a:gd name="connsiteX2" fmla="*/ 34329 w 34329"/>
                        <a:gd name="connsiteY2" fmla="*/ 11662 h 39293"/>
                        <a:gd name="connsiteX3" fmla="*/ 27212 w 34329"/>
                        <a:gd name="connsiteY3" fmla="*/ 4844 h 39293"/>
                        <a:gd name="connsiteX4" fmla="*/ 29006 w 34329"/>
                        <a:gd name="connsiteY4" fmla="*/ 6579 h 39293"/>
                        <a:gd name="connsiteX5" fmla="*/ 28349 w 34329"/>
                        <a:gd name="connsiteY5" fmla="*/ 7416 h 39293"/>
                        <a:gd name="connsiteX6" fmla="*/ 33073 w 34329"/>
                        <a:gd name="connsiteY6" fmla="*/ 11961 h 39293"/>
                        <a:gd name="connsiteX7" fmla="*/ 26734 w 34329"/>
                        <a:gd name="connsiteY7" fmla="*/ 19916 h 39293"/>
                        <a:gd name="connsiteX8" fmla="*/ 15011 w 34329"/>
                        <a:gd name="connsiteY8" fmla="*/ 8852 h 39293"/>
                        <a:gd name="connsiteX9" fmla="*/ 15610 w 34329"/>
                        <a:gd name="connsiteY9" fmla="*/ 9450 h 39293"/>
                        <a:gd name="connsiteX10" fmla="*/ 21949 w 34329"/>
                        <a:gd name="connsiteY10" fmla="*/ 1376 h 39293"/>
                        <a:gd name="connsiteX11" fmla="*/ 24521 w 34329"/>
                        <a:gd name="connsiteY11" fmla="*/ 3828 h 39293"/>
                        <a:gd name="connsiteX12" fmla="*/ 25179 w 34329"/>
                        <a:gd name="connsiteY12" fmla="*/ 2990 h 39293"/>
                        <a:gd name="connsiteX13" fmla="*/ 26554 w 34329"/>
                        <a:gd name="connsiteY13" fmla="*/ 4306 h 39293"/>
                        <a:gd name="connsiteX14" fmla="*/ 22009 w 34329"/>
                        <a:gd name="connsiteY14" fmla="*/ 0 h 39293"/>
                        <a:gd name="connsiteX15" fmla="*/ 15011 w 34329"/>
                        <a:gd name="connsiteY15" fmla="*/ 8852 h 39293"/>
                        <a:gd name="connsiteX16" fmla="*/ 18959 w 34329"/>
                        <a:gd name="connsiteY16" fmla="*/ 31040 h 39293"/>
                        <a:gd name="connsiteX17" fmla="*/ 26614 w 34329"/>
                        <a:gd name="connsiteY17" fmla="*/ 21351 h 39293"/>
                        <a:gd name="connsiteX18" fmla="*/ 26016 w 34329"/>
                        <a:gd name="connsiteY18" fmla="*/ 20753 h 39293"/>
                        <a:gd name="connsiteX19" fmla="*/ 18719 w 34329"/>
                        <a:gd name="connsiteY19" fmla="*/ 30023 h 39293"/>
                        <a:gd name="connsiteX20" fmla="*/ 18779 w 34329"/>
                        <a:gd name="connsiteY20" fmla="*/ 30262 h 39293"/>
                        <a:gd name="connsiteX21" fmla="*/ 18839 w 34329"/>
                        <a:gd name="connsiteY21" fmla="*/ 30502 h 39293"/>
                        <a:gd name="connsiteX22" fmla="*/ 18899 w 34329"/>
                        <a:gd name="connsiteY22" fmla="*/ 30741 h 39293"/>
                        <a:gd name="connsiteX23" fmla="*/ 18959 w 34329"/>
                        <a:gd name="connsiteY23" fmla="*/ 31040 h 39293"/>
                        <a:gd name="connsiteX24" fmla="*/ 6459 w 34329"/>
                        <a:gd name="connsiteY24" fmla="*/ 19677 h 39293"/>
                        <a:gd name="connsiteX25" fmla="*/ 6698 w 34329"/>
                        <a:gd name="connsiteY25" fmla="*/ 19677 h 39293"/>
                        <a:gd name="connsiteX26" fmla="*/ 6937 w 34329"/>
                        <a:gd name="connsiteY26" fmla="*/ 19677 h 39293"/>
                        <a:gd name="connsiteX27" fmla="*/ 7177 w 34329"/>
                        <a:gd name="connsiteY27" fmla="*/ 19736 h 39293"/>
                        <a:gd name="connsiteX28" fmla="*/ 7416 w 34329"/>
                        <a:gd name="connsiteY28" fmla="*/ 19796 h 39293"/>
                        <a:gd name="connsiteX29" fmla="*/ 14892 w 34329"/>
                        <a:gd name="connsiteY29" fmla="*/ 10287 h 39293"/>
                        <a:gd name="connsiteX30" fmla="*/ 14294 w 34329"/>
                        <a:gd name="connsiteY30" fmla="*/ 9689 h 39293"/>
                        <a:gd name="connsiteX31" fmla="*/ 6459 w 34329"/>
                        <a:gd name="connsiteY31" fmla="*/ 19677 h 39293"/>
                        <a:gd name="connsiteX32" fmla="*/ 16506 w 34329"/>
                        <a:gd name="connsiteY32" fmla="*/ 34210 h 39293"/>
                        <a:gd name="connsiteX33" fmla="*/ 18181 w 34329"/>
                        <a:gd name="connsiteY33" fmla="*/ 32057 h 39293"/>
                        <a:gd name="connsiteX34" fmla="*/ 18121 w 34329"/>
                        <a:gd name="connsiteY34" fmla="*/ 31817 h 39293"/>
                        <a:gd name="connsiteX35" fmla="*/ 18062 w 34329"/>
                        <a:gd name="connsiteY35" fmla="*/ 31578 h 39293"/>
                        <a:gd name="connsiteX36" fmla="*/ 18002 w 34329"/>
                        <a:gd name="connsiteY36" fmla="*/ 31339 h 39293"/>
                        <a:gd name="connsiteX37" fmla="*/ 17942 w 34329"/>
                        <a:gd name="connsiteY37" fmla="*/ 31100 h 39293"/>
                        <a:gd name="connsiteX38" fmla="*/ 16327 w 34329"/>
                        <a:gd name="connsiteY38" fmla="*/ 33193 h 39293"/>
                        <a:gd name="connsiteX39" fmla="*/ 16387 w 34329"/>
                        <a:gd name="connsiteY39" fmla="*/ 33492 h 39293"/>
                        <a:gd name="connsiteX40" fmla="*/ 16447 w 34329"/>
                        <a:gd name="connsiteY40" fmla="*/ 33791 h 39293"/>
                        <a:gd name="connsiteX41" fmla="*/ 16506 w 34329"/>
                        <a:gd name="connsiteY41" fmla="*/ 34090 h 39293"/>
                        <a:gd name="connsiteX42" fmla="*/ 16506 w 34329"/>
                        <a:gd name="connsiteY42" fmla="*/ 34210 h 39293"/>
                        <a:gd name="connsiteX43" fmla="*/ 3947 w 34329"/>
                        <a:gd name="connsiteY43" fmla="*/ 22846 h 39293"/>
                        <a:gd name="connsiteX44" fmla="*/ 4186 w 34329"/>
                        <a:gd name="connsiteY44" fmla="*/ 22846 h 39293"/>
                        <a:gd name="connsiteX45" fmla="*/ 4426 w 34329"/>
                        <a:gd name="connsiteY45" fmla="*/ 22846 h 39293"/>
                        <a:gd name="connsiteX46" fmla="*/ 4665 w 34329"/>
                        <a:gd name="connsiteY46" fmla="*/ 22846 h 39293"/>
                        <a:gd name="connsiteX47" fmla="*/ 4904 w 34329"/>
                        <a:gd name="connsiteY47" fmla="*/ 22846 h 39293"/>
                        <a:gd name="connsiteX48" fmla="*/ 6579 w 34329"/>
                        <a:gd name="connsiteY48" fmla="*/ 20753 h 39293"/>
                        <a:gd name="connsiteX49" fmla="*/ 6340 w 34329"/>
                        <a:gd name="connsiteY49" fmla="*/ 20753 h 39293"/>
                        <a:gd name="connsiteX50" fmla="*/ 6100 w 34329"/>
                        <a:gd name="connsiteY50" fmla="*/ 20753 h 39293"/>
                        <a:gd name="connsiteX51" fmla="*/ 5861 w 34329"/>
                        <a:gd name="connsiteY51" fmla="*/ 20753 h 39293"/>
                        <a:gd name="connsiteX52" fmla="*/ 5622 w 34329"/>
                        <a:gd name="connsiteY52" fmla="*/ 20753 h 39293"/>
                        <a:gd name="connsiteX53" fmla="*/ 3947 w 34329"/>
                        <a:gd name="connsiteY53" fmla="*/ 22846 h 39293"/>
                        <a:gd name="connsiteX54" fmla="*/ 10048 w 34329"/>
                        <a:gd name="connsiteY54" fmla="*/ 35765 h 39293"/>
                        <a:gd name="connsiteX55" fmla="*/ 10107 w 34329"/>
                        <a:gd name="connsiteY55" fmla="*/ 35824 h 39293"/>
                        <a:gd name="connsiteX56" fmla="*/ 10227 w 34329"/>
                        <a:gd name="connsiteY56" fmla="*/ 35884 h 39293"/>
                        <a:gd name="connsiteX57" fmla="*/ 10347 w 34329"/>
                        <a:gd name="connsiteY57" fmla="*/ 35944 h 39293"/>
                        <a:gd name="connsiteX58" fmla="*/ 10466 w 34329"/>
                        <a:gd name="connsiteY58" fmla="*/ 36004 h 39293"/>
                        <a:gd name="connsiteX59" fmla="*/ 9928 w 34329"/>
                        <a:gd name="connsiteY59" fmla="*/ 35526 h 39293"/>
                        <a:gd name="connsiteX60" fmla="*/ 10048 w 34329"/>
                        <a:gd name="connsiteY60" fmla="*/ 35765 h 39293"/>
                        <a:gd name="connsiteX61" fmla="*/ 9808 w 34329"/>
                        <a:gd name="connsiteY61" fmla="*/ 36841 h 39293"/>
                        <a:gd name="connsiteX62" fmla="*/ 12440 w 34329"/>
                        <a:gd name="connsiteY62" fmla="*/ 39293 h 39293"/>
                        <a:gd name="connsiteX63" fmla="*/ 15490 w 34329"/>
                        <a:gd name="connsiteY63" fmla="*/ 35466 h 39293"/>
                        <a:gd name="connsiteX64" fmla="*/ 15490 w 34329"/>
                        <a:gd name="connsiteY64" fmla="*/ 35167 h 39293"/>
                        <a:gd name="connsiteX65" fmla="*/ 15430 w 34329"/>
                        <a:gd name="connsiteY65" fmla="*/ 34868 h 39293"/>
                        <a:gd name="connsiteX66" fmla="*/ 15370 w 34329"/>
                        <a:gd name="connsiteY66" fmla="*/ 34569 h 39293"/>
                        <a:gd name="connsiteX67" fmla="*/ 15311 w 34329"/>
                        <a:gd name="connsiteY67" fmla="*/ 34270 h 39293"/>
                        <a:gd name="connsiteX68" fmla="*/ 12500 w 34329"/>
                        <a:gd name="connsiteY68" fmla="*/ 37858 h 39293"/>
                        <a:gd name="connsiteX69" fmla="*/ 11543 w 34329"/>
                        <a:gd name="connsiteY69" fmla="*/ 36961 h 39293"/>
                        <a:gd name="connsiteX70" fmla="*/ 11064 w 34329"/>
                        <a:gd name="connsiteY70" fmla="*/ 37081 h 39293"/>
                        <a:gd name="connsiteX71" fmla="*/ 10586 w 34329"/>
                        <a:gd name="connsiteY71" fmla="*/ 37081 h 39293"/>
                        <a:gd name="connsiteX72" fmla="*/ 10167 w 34329"/>
                        <a:gd name="connsiteY72" fmla="*/ 37021 h 39293"/>
                        <a:gd name="connsiteX73" fmla="*/ 9808 w 34329"/>
                        <a:gd name="connsiteY73" fmla="*/ 36841 h 39293"/>
                        <a:gd name="connsiteX74" fmla="*/ 7057 w 34329"/>
                        <a:gd name="connsiteY74" fmla="*/ 34329 h 39293"/>
                        <a:gd name="connsiteX75" fmla="*/ 9090 w 34329"/>
                        <a:gd name="connsiteY75" fmla="*/ 36183 h 39293"/>
                        <a:gd name="connsiteX76" fmla="*/ 9031 w 34329"/>
                        <a:gd name="connsiteY76" fmla="*/ 36064 h 39293"/>
                        <a:gd name="connsiteX77" fmla="*/ 8971 w 34329"/>
                        <a:gd name="connsiteY77" fmla="*/ 35944 h 39293"/>
                        <a:gd name="connsiteX78" fmla="*/ 8911 w 34329"/>
                        <a:gd name="connsiteY78" fmla="*/ 35824 h 39293"/>
                        <a:gd name="connsiteX79" fmla="*/ 8851 w 34329"/>
                        <a:gd name="connsiteY79" fmla="*/ 35705 h 39293"/>
                        <a:gd name="connsiteX80" fmla="*/ 8791 w 34329"/>
                        <a:gd name="connsiteY80" fmla="*/ 35406 h 39293"/>
                        <a:gd name="connsiteX81" fmla="*/ 8732 w 34329"/>
                        <a:gd name="connsiteY81" fmla="*/ 35107 h 39293"/>
                        <a:gd name="connsiteX82" fmla="*/ 8732 w 34329"/>
                        <a:gd name="connsiteY82" fmla="*/ 34748 h 39293"/>
                        <a:gd name="connsiteX83" fmla="*/ 8732 w 34329"/>
                        <a:gd name="connsiteY83" fmla="*/ 34389 h 39293"/>
                        <a:gd name="connsiteX84" fmla="*/ 7715 w 34329"/>
                        <a:gd name="connsiteY84" fmla="*/ 33492 h 39293"/>
                        <a:gd name="connsiteX85" fmla="*/ 7057 w 34329"/>
                        <a:gd name="connsiteY85" fmla="*/ 34329 h 39293"/>
                        <a:gd name="connsiteX86" fmla="*/ 0 w 34329"/>
                        <a:gd name="connsiteY86" fmla="*/ 27811 h 39293"/>
                        <a:gd name="connsiteX87" fmla="*/ 3229 w 34329"/>
                        <a:gd name="connsiteY87" fmla="*/ 30801 h 39293"/>
                        <a:gd name="connsiteX88" fmla="*/ 3289 w 34329"/>
                        <a:gd name="connsiteY88" fmla="*/ 30681 h 39293"/>
                        <a:gd name="connsiteX89" fmla="*/ 3050 w 34329"/>
                        <a:gd name="connsiteY89" fmla="*/ 30322 h 39293"/>
                        <a:gd name="connsiteX90" fmla="*/ 2871 w 34329"/>
                        <a:gd name="connsiteY90" fmla="*/ 29904 h 39293"/>
                        <a:gd name="connsiteX91" fmla="*/ 2751 w 34329"/>
                        <a:gd name="connsiteY91" fmla="*/ 29425 h 39293"/>
                        <a:gd name="connsiteX92" fmla="*/ 2751 w 34329"/>
                        <a:gd name="connsiteY92" fmla="*/ 28947 h 39293"/>
                        <a:gd name="connsiteX93" fmla="*/ 1256 w 34329"/>
                        <a:gd name="connsiteY93" fmla="*/ 27571 h 39293"/>
                        <a:gd name="connsiteX94" fmla="*/ 3947 w 34329"/>
                        <a:gd name="connsiteY94" fmla="*/ 24162 h 39293"/>
                        <a:gd name="connsiteX95" fmla="*/ 3648 w 34329"/>
                        <a:gd name="connsiteY95" fmla="*/ 24162 h 39293"/>
                        <a:gd name="connsiteX96" fmla="*/ 3349 w 34329"/>
                        <a:gd name="connsiteY96" fmla="*/ 24162 h 39293"/>
                        <a:gd name="connsiteX97" fmla="*/ 3050 w 34329"/>
                        <a:gd name="connsiteY97" fmla="*/ 24162 h 39293"/>
                        <a:gd name="connsiteX98" fmla="*/ 2751 w 34329"/>
                        <a:gd name="connsiteY98" fmla="*/ 24162 h 39293"/>
                        <a:gd name="connsiteX99" fmla="*/ 0 w 34329"/>
                        <a:gd name="connsiteY99" fmla="*/ 27811 h 3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34329" h="39293">
                          <a:moveTo>
                            <a:pt x="26734" y="19916"/>
                          </a:moveTo>
                          <a:lnTo>
                            <a:pt x="27332" y="20514"/>
                          </a:lnTo>
                          <a:lnTo>
                            <a:pt x="34329" y="11662"/>
                          </a:lnTo>
                          <a:lnTo>
                            <a:pt x="27212" y="4844"/>
                          </a:lnTo>
                          <a:lnTo>
                            <a:pt x="29006" y="6579"/>
                          </a:lnTo>
                          <a:lnTo>
                            <a:pt x="28349" y="7416"/>
                          </a:lnTo>
                          <a:lnTo>
                            <a:pt x="33073" y="11961"/>
                          </a:lnTo>
                          <a:lnTo>
                            <a:pt x="26734" y="19916"/>
                          </a:lnTo>
                          <a:moveTo>
                            <a:pt x="15011" y="8852"/>
                          </a:moveTo>
                          <a:lnTo>
                            <a:pt x="15610" y="9450"/>
                          </a:lnTo>
                          <a:lnTo>
                            <a:pt x="21949" y="1376"/>
                          </a:lnTo>
                          <a:lnTo>
                            <a:pt x="24521" y="3828"/>
                          </a:lnTo>
                          <a:lnTo>
                            <a:pt x="25179" y="2990"/>
                          </a:lnTo>
                          <a:lnTo>
                            <a:pt x="26554" y="4306"/>
                          </a:lnTo>
                          <a:lnTo>
                            <a:pt x="22009" y="0"/>
                          </a:lnTo>
                          <a:lnTo>
                            <a:pt x="15011" y="8852"/>
                          </a:lnTo>
                          <a:moveTo>
                            <a:pt x="18959" y="31040"/>
                          </a:moveTo>
                          <a:lnTo>
                            <a:pt x="26614" y="21351"/>
                          </a:lnTo>
                          <a:lnTo>
                            <a:pt x="26016" y="20753"/>
                          </a:lnTo>
                          <a:lnTo>
                            <a:pt x="18719" y="30023"/>
                          </a:lnTo>
                          <a:cubicBezTo>
                            <a:pt x="18719" y="30083"/>
                            <a:pt x="18779" y="30203"/>
                            <a:pt x="18779" y="30262"/>
                          </a:cubicBezTo>
                          <a:cubicBezTo>
                            <a:pt x="18779" y="30322"/>
                            <a:pt x="18839" y="30442"/>
                            <a:pt x="18839" y="30502"/>
                          </a:cubicBezTo>
                          <a:cubicBezTo>
                            <a:pt x="18839" y="30561"/>
                            <a:pt x="18899" y="30681"/>
                            <a:pt x="18899" y="30741"/>
                          </a:cubicBezTo>
                          <a:cubicBezTo>
                            <a:pt x="18959" y="30861"/>
                            <a:pt x="18959" y="30980"/>
                            <a:pt x="18959" y="31040"/>
                          </a:cubicBezTo>
                          <a:moveTo>
                            <a:pt x="6459" y="19677"/>
                          </a:moveTo>
                          <a:cubicBezTo>
                            <a:pt x="6519" y="19677"/>
                            <a:pt x="6639" y="19677"/>
                            <a:pt x="6698" y="19677"/>
                          </a:cubicBezTo>
                          <a:cubicBezTo>
                            <a:pt x="6758" y="19677"/>
                            <a:pt x="6878" y="19677"/>
                            <a:pt x="6937" y="19677"/>
                          </a:cubicBezTo>
                          <a:cubicBezTo>
                            <a:pt x="6997" y="19677"/>
                            <a:pt x="7117" y="19677"/>
                            <a:pt x="7177" y="19736"/>
                          </a:cubicBezTo>
                          <a:cubicBezTo>
                            <a:pt x="7236" y="19736"/>
                            <a:pt x="7356" y="19736"/>
                            <a:pt x="7416" y="19796"/>
                          </a:cubicBezTo>
                          <a:lnTo>
                            <a:pt x="14892" y="10287"/>
                          </a:lnTo>
                          <a:lnTo>
                            <a:pt x="14294" y="9689"/>
                          </a:lnTo>
                          <a:lnTo>
                            <a:pt x="6459" y="19677"/>
                          </a:lnTo>
                          <a:moveTo>
                            <a:pt x="16506" y="34210"/>
                          </a:moveTo>
                          <a:lnTo>
                            <a:pt x="18181" y="32057"/>
                          </a:lnTo>
                          <a:cubicBezTo>
                            <a:pt x="18181" y="31997"/>
                            <a:pt x="18121" y="31877"/>
                            <a:pt x="18121" y="31817"/>
                          </a:cubicBezTo>
                          <a:cubicBezTo>
                            <a:pt x="18121" y="31758"/>
                            <a:pt x="18062" y="31638"/>
                            <a:pt x="18062" y="31578"/>
                          </a:cubicBezTo>
                          <a:cubicBezTo>
                            <a:pt x="18062" y="31519"/>
                            <a:pt x="18002" y="31399"/>
                            <a:pt x="18002" y="31339"/>
                          </a:cubicBezTo>
                          <a:cubicBezTo>
                            <a:pt x="18002" y="31279"/>
                            <a:pt x="17942" y="31160"/>
                            <a:pt x="17942" y="31100"/>
                          </a:cubicBezTo>
                          <a:lnTo>
                            <a:pt x="16327" y="33193"/>
                          </a:lnTo>
                          <a:cubicBezTo>
                            <a:pt x="16327" y="33313"/>
                            <a:pt x="16387" y="33373"/>
                            <a:pt x="16387" y="33492"/>
                          </a:cubicBezTo>
                          <a:cubicBezTo>
                            <a:pt x="16387" y="33612"/>
                            <a:pt x="16447" y="33671"/>
                            <a:pt x="16447" y="33791"/>
                          </a:cubicBezTo>
                          <a:cubicBezTo>
                            <a:pt x="16447" y="33911"/>
                            <a:pt x="16506" y="33970"/>
                            <a:pt x="16506" y="34090"/>
                          </a:cubicBezTo>
                          <a:cubicBezTo>
                            <a:pt x="16506" y="33970"/>
                            <a:pt x="16506" y="34090"/>
                            <a:pt x="16506" y="34210"/>
                          </a:cubicBezTo>
                          <a:moveTo>
                            <a:pt x="3947" y="22846"/>
                          </a:moveTo>
                          <a:cubicBezTo>
                            <a:pt x="4007" y="22846"/>
                            <a:pt x="4127" y="22846"/>
                            <a:pt x="4186" y="22846"/>
                          </a:cubicBezTo>
                          <a:cubicBezTo>
                            <a:pt x="4246" y="22846"/>
                            <a:pt x="4366" y="22846"/>
                            <a:pt x="4426" y="22846"/>
                          </a:cubicBezTo>
                          <a:cubicBezTo>
                            <a:pt x="4486" y="22846"/>
                            <a:pt x="4605" y="22846"/>
                            <a:pt x="4665" y="22846"/>
                          </a:cubicBezTo>
                          <a:cubicBezTo>
                            <a:pt x="4725" y="22846"/>
                            <a:pt x="4844" y="22846"/>
                            <a:pt x="4904" y="22846"/>
                          </a:cubicBezTo>
                          <a:lnTo>
                            <a:pt x="6579" y="20753"/>
                          </a:lnTo>
                          <a:cubicBezTo>
                            <a:pt x="6519" y="20753"/>
                            <a:pt x="6399" y="20753"/>
                            <a:pt x="6340" y="20753"/>
                          </a:cubicBezTo>
                          <a:cubicBezTo>
                            <a:pt x="6280" y="20753"/>
                            <a:pt x="6160" y="20753"/>
                            <a:pt x="6100" y="20753"/>
                          </a:cubicBezTo>
                          <a:cubicBezTo>
                            <a:pt x="6040" y="20753"/>
                            <a:pt x="5921" y="20753"/>
                            <a:pt x="5861" y="20753"/>
                          </a:cubicBezTo>
                          <a:cubicBezTo>
                            <a:pt x="5801" y="20753"/>
                            <a:pt x="5681" y="20753"/>
                            <a:pt x="5622" y="20753"/>
                          </a:cubicBezTo>
                          <a:lnTo>
                            <a:pt x="3947" y="22846"/>
                          </a:lnTo>
                          <a:moveTo>
                            <a:pt x="10048" y="35765"/>
                          </a:moveTo>
                          <a:cubicBezTo>
                            <a:pt x="10048" y="35765"/>
                            <a:pt x="10107" y="35824"/>
                            <a:pt x="10107" y="35824"/>
                          </a:cubicBezTo>
                          <a:cubicBezTo>
                            <a:pt x="10107" y="35824"/>
                            <a:pt x="10167" y="35884"/>
                            <a:pt x="10227" y="35884"/>
                          </a:cubicBezTo>
                          <a:cubicBezTo>
                            <a:pt x="10287" y="35884"/>
                            <a:pt x="10287" y="35944"/>
                            <a:pt x="10347" y="35944"/>
                          </a:cubicBezTo>
                          <a:cubicBezTo>
                            <a:pt x="10406" y="35944"/>
                            <a:pt x="10406" y="36004"/>
                            <a:pt x="10466" y="36004"/>
                          </a:cubicBezTo>
                          <a:lnTo>
                            <a:pt x="9928" y="35526"/>
                          </a:lnTo>
                          <a:lnTo>
                            <a:pt x="10048" y="35765"/>
                          </a:lnTo>
                          <a:moveTo>
                            <a:pt x="9808" y="36841"/>
                          </a:moveTo>
                          <a:lnTo>
                            <a:pt x="12440" y="39293"/>
                          </a:lnTo>
                          <a:lnTo>
                            <a:pt x="15490" y="35466"/>
                          </a:lnTo>
                          <a:cubicBezTo>
                            <a:pt x="15490" y="35346"/>
                            <a:pt x="15490" y="35286"/>
                            <a:pt x="15490" y="35167"/>
                          </a:cubicBezTo>
                          <a:cubicBezTo>
                            <a:pt x="15490" y="35047"/>
                            <a:pt x="15490" y="34987"/>
                            <a:pt x="15430" y="34868"/>
                          </a:cubicBezTo>
                          <a:cubicBezTo>
                            <a:pt x="15430" y="34748"/>
                            <a:pt x="15430" y="34688"/>
                            <a:pt x="15370" y="34569"/>
                          </a:cubicBezTo>
                          <a:cubicBezTo>
                            <a:pt x="15370" y="34449"/>
                            <a:pt x="15370" y="34389"/>
                            <a:pt x="15311" y="34270"/>
                          </a:cubicBezTo>
                          <a:lnTo>
                            <a:pt x="12500" y="37858"/>
                          </a:lnTo>
                          <a:lnTo>
                            <a:pt x="11543" y="36961"/>
                          </a:lnTo>
                          <a:cubicBezTo>
                            <a:pt x="11363" y="37021"/>
                            <a:pt x="11243" y="37021"/>
                            <a:pt x="11064" y="37081"/>
                          </a:cubicBezTo>
                          <a:cubicBezTo>
                            <a:pt x="10885" y="37081"/>
                            <a:pt x="10765" y="37081"/>
                            <a:pt x="10586" y="37081"/>
                          </a:cubicBezTo>
                          <a:cubicBezTo>
                            <a:pt x="10466" y="37081"/>
                            <a:pt x="10287" y="37021"/>
                            <a:pt x="10167" y="37021"/>
                          </a:cubicBezTo>
                          <a:cubicBezTo>
                            <a:pt x="10048" y="37021"/>
                            <a:pt x="9928" y="36961"/>
                            <a:pt x="9808" y="36841"/>
                          </a:cubicBezTo>
                          <a:moveTo>
                            <a:pt x="7057" y="34329"/>
                          </a:moveTo>
                          <a:lnTo>
                            <a:pt x="9090" y="36183"/>
                          </a:lnTo>
                          <a:cubicBezTo>
                            <a:pt x="9090" y="36124"/>
                            <a:pt x="9031" y="36124"/>
                            <a:pt x="9031" y="36064"/>
                          </a:cubicBezTo>
                          <a:cubicBezTo>
                            <a:pt x="9031" y="36004"/>
                            <a:pt x="8971" y="36004"/>
                            <a:pt x="8971" y="35944"/>
                          </a:cubicBezTo>
                          <a:cubicBezTo>
                            <a:pt x="8971" y="35884"/>
                            <a:pt x="8911" y="35884"/>
                            <a:pt x="8911" y="35824"/>
                          </a:cubicBezTo>
                          <a:cubicBezTo>
                            <a:pt x="8911" y="35765"/>
                            <a:pt x="8851" y="35765"/>
                            <a:pt x="8851" y="35705"/>
                          </a:cubicBezTo>
                          <a:cubicBezTo>
                            <a:pt x="8791" y="35585"/>
                            <a:pt x="8791" y="35526"/>
                            <a:pt x="8791" y="35406"/>
                          </a:cubicBezTo>
                          <a:cubicBezTo>
                            <a:pt x="8791" y="35286"/>
                            <a:pt x="8732" y="35167"/>
                            <a:pt x="8732" y="35107"/>
                          </a:cubicBezTo>
                          <a:cubicBezTo>
                            <a:pt x="8732" y="35047"/>
                            <a:pt x="8732" y="34868"/>
                            <a:pt x="8732" y="34748"/>
                          </a:cubicBezTo>
                          <a:cubicBezTo>
                            <a:pt x="8732" y="34629"/>
                            <a:pt x="8732" y="34509"/>
                            <a:pt x="8732" y="34389"/>
                          </a:cubicBezTo>
                          <a:lnTo>
                            <a:pt x="7715" y="33492"/>
                          </a:lnTo>
                          <a:lnTo>
                            <a:pt x="7057" y="34329"/>
                          </a:lnTo>
                          <a:moveTo>
                            <a:pt x="0" y="27811"/>
                          </a:moveTo>
                          <a:lnTo>
                            <a:pt x="3229" y="30801"/>
                          </a:lnTo>
                          <a:lnTo>
                            <a:pt x="3289" y="30681"/>
                          </a:lnTo>
                          <a:cubicBezTo>
                            <a:pt x="3229" y="30561"/>
                            <a:pt x="3110" y="30442"/>
                            <a:pt x="3050" y="30322"/>
                          </a:cubicBezTo>
                          <a:cubicBezTo>
                            <a:pt x="2990" y="30203"/>
                            <a:pt x="2930" y="30023"/>
                            <a:pt x="2871" y="29904"/>
                          </a:cubicBezTo>
                          <a:cubicBezTo>
                            <a:pt x="2811" y="29784"/>
                            <a:pt x="2811" y="29605"/>
                            <a:pt x="2751" y="29425"/>
                          </a:cubicBezTo>
                          <a:cubicBezTo>
                            <a:pt x="2691" y="29246"/>
                            <a:pt x="2751" y="29066"/>
                            <a:pt x="2751" y="28947"/>
                          </a:cubicBezTo>
                          <a:lnTo>
                            <a:pt x="1256" y="27571"/>
                          </a:lnTo>
                          <a:lnTo>
                            <a:pt x="3947" y="24162"/>
                          </a:lnTo>
                          <a:cubicBezTo>
                            <a:pt x="3827" y="24162"/>
                            <a:pt x="3768" y="24162"/>
                            <a:pt x="3648" y="24162"/>
                          </a:cubicBezTo>
                          <a:cubicBezTo>
                            <a:pt x="3528" y="24162"/>
                            <a:pt x="3469" y="24162"/>
                            <a:pt x="3349" y="24162"/>
                          </a:cubicBezTo>
                          <a:cubicBezTo>
                            <a:pt x="3229" y="24162"/>
                            <a:pt x="3170" y="24162"/>
                            <a:pt x="3050" y="24162"/>
                          </a:cubicBezTo>
                          <a:cubicBezTo>
                            <a:pt x="2930" y="24162"/>
                            <a:pt x="2871" y="24162"/>
                            <a:pt x="2751" y="24162"/>
                          </a:cubicBezTo>
                          <a:lnTo>
                            <a:pt x="0" y="27811"/>
                          </a:lnTo>
                        </a:path>
                      </a:pathLst>
                    </a:custGeom>
                    <a:noFill/>
                    <a:ln w="6350" cap="flat">
                      <a:solidFill>
                        <a:schemeClr val="bg1">
                          <a:alpha val="80000"/>
                        </a:schemeClr>
                      </a:solidFill>
                      <a:prstDash val="solid"/>
                      <a:miter/>
                    </a:ln>
                  </p:spPr>
                  <p:txBody>
                    <a:bodyPr rtlCol="0" anchor="ctr"/>
                    <a:lstStyle/>
                    <a:p>
                      <a:endParaRPr lang="en-GB"/>
                    </a:p>
                  </p:txBody>
                </p:sp>
                <p:sp>
                  <p:nvSpPr>
                    <p:cNvPr id="7481" name="Vrije vorm: vorm 7480">
                      <a:extLst>
                        <a:ext uri="{FF2B5EF4-FFF2-40B4-BE49-F238E27FC236}">
                          <a16:creationId xmlns:a16="http://schemas.microsoft.com/office/drawing/2014/main" id="{5B0976A1-B9A3-4AA3-B189-5AAA3362491D}"/>
                        </a:ext>
                      </a:extLst>
                    </p:cNvPr>
                    <p:cNvSpPr/>
                    <p:nvPr/>
                  </p:nvSpPr>
                  <p:spPr>
                    <a:xfrm>
                      <a:off x="5326331" y="5098605"/>
                      <a:ext cx="25717" cy="31338"/>
                    </a:xfrm>
                    <a:custGeom>
                      <a:avLst/>
                      <a:gdLst>
                        <a:gd name="connsiteX0" fmla="*/ 18121 w 25717"/>
                        <a:gd name="connsiteY0" fmla="*/ 11902 h 31338"/>
                        <a:gd name="connsiteX1" fmla="*/ 18720 w 25717"/>
                        <a:gd name="connsiteY1" fmla="*/ 12440 h 31338"/>
                        <a:gd name="connsiteX2" fmla="*/ 25059 w 25717"/>
                        <a:gd name="connsiteY2" fmla="*/ 4426 h 31338"/>
                        <a:gd name="connsiteX3" fmla="*/ 25717 w 25717"/>
                        <a:gd name="connsiteY3" fmla="*/ 3589 h 31338"/>
                        <a:gd name="connsiteX4" fmla="*/ 23923 w 25717"/>
                        <a:gd name="connsiteY4" fmla="*/ 1854 h 31338"/>
                        <a:gd name="connsiteX5" fmla="*/ 23265 w 25717"/>
                        <a:gd name="connsiteY5" fmla="*/ 2691 h 31338"/>
                        <a:gd name="connsiteX6" fmla="*/ 24461 w 25717"/>
                        <a:gd name="connsiteY6" fmla="*/ 3828 h 31338"/>
                        <a:gd name="connsiteX7" fmla="*/ 18121 w 25717"/>
                        <a:gd name="connsiteY7" fmla="*/ 11902 h 31338"/>
                        <a:gd name="connsiteX8" fmla="*/ 14952 w 25717"/>
                        <a:gd name="connsiteY8" fmla="*/ 8852 h 31338"/>
                        <a:gd name="connsiteX9" fmla="*/ 15550 w 25717"/>
                        <a:gd name="connsiteY9" fmla="*/ 9450 h 31338"/>
                        <a:gd name="connsiteX10" fmla="*/ 21889 w 25717"/>
                        <a:gd name="connsiteY10" fmla="*/ 1435 h 31338"/>
                        <a:gd name="connsiteX11" fmla="*/ 22607 w 25717"/>
                        <a:gd name="connsiteY11" fmla="*/ 2153 h 31338"/>
                        <a:gd name="connsiteX12" fmla="*/ 23265 w 25717"/>
                        <a:gd name="connsiteY12" fmla="*/ 1316 h 31338"/>
                        <a:gd name="connsiteX13" fmla="*/ 21889 w 25717"/>
                        <a:gd name="connsiteY13" fmla="*/ 0 h 31338"/>
                        <a:gd name="connsiteX14" fmla="*/ 21231 w 25717"/>
                        <a:gd name="connsiteY14" fmla="*/ 837 h 31338"/>
                        <a:gd name="connsiteX15" fmla="*/ 14952 w 25717"/>
                        <a:gd name="connsiteY15" fmla="*/ 8852 h 31338"/>
                        <a:gd name="connsiteX16" fmla="*/ 12021 w 25717"/>
                        <a:gd name="connsiteY16" fmla="*/ 20873 h 31338"/>
                        <a:gd name="connsiteX17" fmla="*/ 18002 w 25717"/>
                        <a:gd name="connsiteY17" fmla="*/ 13277 h 31338"/>
                        <a:gd name="connsiteX18" fmla="*/ 17404 w 25717"/>
                        <a:gd name="connsiteY18" fmla="*/ 12739 h 31338"/>
                        <a:gd name="connsiteX19" fmla="*/ 11423 w 25717"/>
                        <a:gd name="connsiteY19" fmla="*/ 20335 h 31338"/>
                        <a:gd name="connsiteX20" fmla="*/ 11543 w 25717"/>
                        <a:gd name="connsiteY20" fmla="*/ 20454 h 31338"/>
                        <a:gd name="connsiteX21" fmla="*/ 11662 w 25717"/>
                        <a:gd name="connsiteY21" fmla="*/ 20574 h 31338"/>
                        <a:gd name="connsiteX22" fmla="*/ 11782 w 25717"/>
                        <a:gd name="connsiteY22" fmla="*/ 20693 h 31338"/>
                        <a:gd name="connsiteX23" fmla="*/ 12021 w 25717"/>
                        <a:gd name="connsiteY23" fmla="*/ 20873 h 31338"/>
                        <a:gd name="connsiteX24" fmla="*/ 7835 w 25717"/>
                        <a:gd name="connsiteY24" fmla="*/ 17882 h 31338"/>
                        <a:gd name="connsiteX25" fmla="*/ 8014 w 25717"/>
                        <a:gd name="connsiteY25" fmla="*/ 18002 h 31338"/>
                        <a:gd name="connsiteX26" fmla="*/ 8194 w 25717"/>
                        <a:gd name="connsiteY26" fmla="*/ 18122 h 31338"/>
                        <a:gd name="connsiteX27" fmla="*/ 8373 w 25717"/>
                        <a:gd name="connsiteY27" fmla="*/ 18241 h 31338"/>
                        <a:gd name="connsiteX28" fmla="*/ 8552 w 25717"/>
                        <a:gd name="connsiteY28" fmla="*/ 18361 h 31338"/>
                        <a:gd name="connsiteX29" fmla="*/ 14832 w 25717"/>
                        <a:gd name="connsiteY29" fmla="*/ 10406 h 31338"/>
                        <a:gd name="connsiteX30" fmla="*/ 14234 w 25717"/>
                        <a:gd name="connsiteY30" fmla="*/ 9808 h 31338"/>
                        <a:gd name="connsiteX31" fmla="*/ 7835 w 25717"/>
                        <a:gd name="connsiteY31" fmla="*/ 17882 h 31338"/>
                        <a:gd name="connsiteX32" fmla="*/ 9928 w 25717"/>
                        <a:gd name="connsiteY32" fmla="*/ 23564 h 31338"/>
                        <a:gd name="connsiteX33" fmla="*/ 11364 w 25717"/>
                        <a:gd name="connsiteY33" fmla="*/ 21710 h 31338"/>
                        <a:gd name="connsiteX34" fmla="*/ 11244 w 25717"/>
                        <a:gd name="connsiteY34" fmla="*/ 21590 h 31338"/>
                        <a:gd name="connsiteX35" fmla="*/ 11124 w 25717"/>
                        <a:gd name="connsiteY35" fmla="*/ 21471 h 31338"/>
                        <a:gd name="connsiteX36" fmla="*/ 11004 w 25717"/>
                        <a:gd name="connsiteY36" fmla="*/ 21351 h 31338"/>
                        <a:gd name="connsiteX37" fmla="*/ 10885 w 25717"/>
                        <a:gd name="connsiteY37" fmla="*/ 21231 h 31338"/>
                        <a:gd name="connsiteX38" fmla="*/ 9450 w 25717"/>
                        <a:gd name="connsiteY38" fmla="*/ 23085 h 31338"/>
                        <a:gd name="connsiteX39" fmla="*/ 9569 w 25717"/>
                        <a:gd name="connsiteY39" fmla="*/ 23205 h 31338"/>
                        <a:gd name="connsiteX40" fmla="*/ 9689 w 25717"/>
                        <a:gd name="connsiteY40" fmla="*/ 23325 h 31338"/>
                        <a:gd name="connsiteX41" fmla="*/ 9808 w 25717"/>
                        <a:gd name="connsiteY41" fmla="*/ 23445 h 31338"/>
                        <a:gd name="connsiteX42" fmla="*/ 9928 w 25717"/>
                        <a:gd name="connsiteY42" fmla="*/ 23564 h 31338"/>
                        <a:gd name="connsiteX43" fmla="*/ 5682 w 25717"/>
                        <a:gd name="connsiteY43" fmla="*/ 20634 h 31338"/>
                        <a:gd name="connsiteX44" fmla="*/ 5861 w 25717"/>
                        <a:gd name="connsiteY44" fmla="*/ 20693 h 31338"/>
                        <a:gd name="connsiteX45" fmla="*/ 6041 w 25717"/>
                        <a:gd name="connsiteY45" fmla="*/ 20753 h 31338"/>
                        <a:gd name="connsiteX46" fmla="*/ 6220 w 25717"/>
                        <a:gd name="connsiteY46" fmla="*/ 20813 h 31338"/>
                        <a:gd name="connsiteX47" fmla="*/ 6399 w 25717"/>
                        <a:gd name="connsiteY47" fmla="*/ 20933 h 31338"/>
                        <a:gd name="connsiteX48" fmla="*/ 7895 w 25717"/>
                        <a:gd name="connsiteY48" fmla="*/ 19079 h 31338"/>
                        <a:gd name="connsiteX49" fmla="*/ 7715 w 25717"/>
                        <a:gd name="connsiteY49" fmla="*/ 18959 h 31338"/>
                        <a:gd name="connsiteX50" fmla="*/ 7536 w 25717"/>
                        <a:gd name="connsiteY50" fmla="*/ 18839 h 31338"/>
                        <a:gd name="connsiteX51" fmla="*/ 7356 w 25717"/>
                        <a:gd name="connsiteY51" fmla="*/ 18720 h 31338"/>
                        <a:gd name="connsiteX52" fmla="*/ 7177 w 25717"/>
                        <a:gd name="connsiteY52" fmla="*/ 18660 h 31338"/>
                        <a:gd name="connsiteX53" fmla="*/ 5682 w 25717"/>
                        <a:gd name="connsiteY53" fmla="*/ 20634 h 31338"/>
                        <a:gd name="connsiteX54" fmla="*/ 4785 w 25717"/>
                        <a:gd name="connsiteY54" fmla="*/ 23145 h 31338"/>
                        <a:gd name="connsiteX55" fmla="*/ 5622 w 25717"/>
                        <a:gd name="connsiteY55" fmla="*/ 22129 h 31338"/>
                        <a:gd name="connsiteX56" fmla="*/ 5442 w 25717"/>
                        <a:gd name="connsiteY56" fmla="*/ 22069 h 31338"/>
                        <a:gd name="connsiteX57" fmla="*/ 5263 w 25717"/>
                        <a:gd name="connsiteY57" fmla="*/ 22009 h 31338"/>
                        <a:gd name="connsiteX58" fmla="*/ 5083 w 25717"/>
                        <a:gd name="connsiteY58" fmla="*/ 21950 h 31338"/>
                        <a:gd name="connsiteX59" fmla="*/ 4904 w 25717"/>
                        <a:gd name="connsiteY59" fmla="*/ 21890 h 31338"/>
                        <a:gd name="connsiteX60" fmla="*/ 4306 w 25717"/>
                        <a:gd name="connsiteY60" fmla="*/ 22667 h 31338"/>
                        <a:gd name="connsiteX61" fmla="*/ 4366 w 25717"/>
                        <a:gd name="connsiteY61" fmla="*/ 22727 h 31338"/>
                        <a:gd name="connsiteX62" fmla="*/ 4426 w 25717"/>
                        <a:gd name="connsiteY62" fmla="*/ 22787 h 31338"/>
                        <a:gd name="connsiteX63" fmla="*/ 4486 w 25717"/>
                        <a:gd name="connsiteY63" fmla="*/ 22846 h 31338"/>
                        <a:gd name="connsiteX64" fmla="*/ 4545 w 25717"/>
                        <a:gd name="connsiteY64" fmla="*/ 22906 h 31338"/>
                        <a:gd name="connsiteX65" fmla="*/ 4665 w 25717"/>
                        <a:gd name="connsiteY65" fmla="*/ 23026 h 31338"/>
                        <a:gd name="connsiteX66" fmla="*/ 4725 w 25717"/>
                        <a:gd name="connsiteY66" fmla="*/ 23145 h 31338"/>
                        <a:gd name="connsiteX67" fmla="*/ 4785 w 25717"/>
                        <a:gd name="connsiteY67" fmla="*/ 23265 h 31338"/>
                        <a:gd name="connsiteX68" fmla="*/ 4785 w 25717"/>
                        <a:gd name="connsiteY68" fmla="*/ 23145 h 31338"/>
                        <a:gd name="connsiteX69" fmla="*/ 1017 w 25717"/>
                        <a:gd name="connsiteY69" fmla="*/ 27093 h 31338"/>
                        <a:gd name="connsiteX70" fmla="*/ 1435 w 25717"/>
                        <a:gd name="connsiteY70" fmla="*/ 27332 h 31338"/>
                        <a:gd name="connsiteX71" fmla="*/ 4067 w 25717"/>
                        <a:gd name="connsiteY71" fmla="*/ 23983 h 31338"/>
                        <a:gd name="connsiteX72" fmla="*/ 4007 w 25717"/>
                        <a:gd name="connsiteY72" fmla="*/ 23863 h 31338"/>
                        <a:gd name="connsiteX73" fmla="*/ 3947 w 25717"/>
                        <a:gd name="connsiteY73" fmla="*/ 23744 h 31338"/>
                        <a:gd name="connsiteX74" fmla="*/ 3888 w 25717"/>
                        <a:gd name="connsiteY74" fmla="*/ 23624 h 31338"/>
                        <a:gd name="connsiteX75" fmla="*/ 3768 w 25717"/>
                        <a:gd name="connsiteY75" fmla="*/ 23504 h 31338"/>
                        <a:gd name="connsiteX76" fmla="*/ 3708 w 25717"/>
                        <a:gd name="connsiteY76" fmla="*/ 23445 h 31338"/>
                        <a:gd name="connsiteX77" fmla="*/ 3648 w 25717"/>
                        <a:gd name="connsiteY77" fmla="*/ 23385 h 31338"/>
                        <a:gd name="connsiteX78" fmla="*/ 3588 w 25717"/>
                        <a:gd name="connsiteY78" fmla="*/ 23325 h 31338"/>
                        <a:gd name="connsiteX79" fmla="*/ 3528 w 25717"/>
                        <a:gd name="connsiteY79" fmla="*/ 23265 h 31338"/>
                        <a:gd name="connsiteX80" fmla="*/ 778 w 25717"/>
                        <a:gd name="connsiteY80" fmla="*/ 26734 h 31338"/>
                        <a:gd name="connsiteX81" fmla="*/ 837 w 25717"/>
                        <a:gd name="connsiteY81" fmla="*/ 26794 h 31338"/>
                        <a:gd name="connsiteX82" fmla="*/ 897 w 25717"/>
                        <a:gd name="connsiteY82" fmla="*/ 26853 h 31338"/>
                        <a:gd name="connsiteX83" fmla="*/ 957 w 25717"/>
                        <a:gd name="connsiteY83" fmla="*/ 26913 h 31338"/>
                        <a:gd name="connsiteX84" fmla="*/ 1017 w 25717"/>
                        <a:gd name="connsiteY84" fmla="*/ 27093 h 31338"/>
                        <a:gd name="connsiteX85" fmla="*/ 0 w 25717"/>
                        <a:gd name="connsiteY85" fmla="*/ 27811 h 31338"/>
                        <a:gd name="connsiteX86" fmla="*/ 3828 w 25717"/>
                        <a:gd name="connsiteY86" fmla="*/ 31339 h 31338"/>
                        <a:gd name="connsiteX87" fmla="*/ 4486 w 25717"/>
                        <a:gd name="connsiteY87" fmla="*/ 30502 h 31338"/>
                        <a:gd name="connsiteX88" fmla="*/ 9091 w 25717"/>
                        <a:gd name="connsiteY88" fmla="*/ 24700 h 31338"/>
                        <a:gd name="connsiteX89" fmla="*/ 8971 w 25717"/>
                        <a:gd name="connsiteY89" fmla="*/ 24581 h 31338"/>
                        <a:gd name="connsiteX90" fmla="*/ 8851 w 25717"/>
                        <a:gd name="connsiteY90" fmla="*/ 24461 h 31338"/>
                        <a:gd name="connsiteX91" fmla="*/ 8732 w 25717"/>
                        <a:gd name="connsiteY91" fmla="*/ 24342 h 31338"/>
                        <a:gd name="connsiteX92" fmla="*/ 8612 w 25717"/>
                        <a:gd name="connsiteY92" fmla="*/ 24222 h 31338"/>
                        <a:gd name="connsiteX93" fmla="*/ 4007 w 25717"/>
                        <a:gd name="connsiteY93" fmla="*/ 30083 h 31338"/>
                        <a:gd name="connsiteX94" fmla="*/ 2392 w 25717"/>
                        <a:gd name="connsiteY94" fmla="*/ 28588 h 31338"/>
                        <a:gd name="connsiteX95" fmla="*/ 2093 w 25717"/>
                        <a:gd name="connsiteY95" fmla="*/ 28648 h 31338"/>
                        <a:gd name="connsiteX96" fmla="*/ 1794 w 25717"/>
                        <a:gd name="connsiteY96" fmla="*/ 28648 h 31338"/>
                        <a:gd name="connsiteX97" fmla="*/ 1495 w 25717"/>
                        <a:gd name="connsiteY97" fmla="*/ 28648 h 31338"/>
                        <a:gd name="connsiteX98" fmla="*/ 1196 w 25717"/>
                        <a:gd name="connsiteY98" fmla="*/ 28588 h 31338"/>
                        <a:gd name="connsiteX99" fmla="*/ 957 w 25717"/>
                        <a:gd name="connsiteY99" fmla="*/ 28528 h 31338"/>
                        <a:gd name="connsiteX100" fmla="*/ 718 w 25717"/>
                        <a:gd name="connsiteY100" fmla="*/ 28408 h 31338"/>
                        <a:gd name="connsiteX101" fmla="*/ 538 w 25717"/>
                        <a:gd name="connsiteY101" fmla="*/ 28289 h 31338"/>
                        <a:gd name="connsiteX102" fmla="*/ 359 w 25717"/>
                        <a:gd name="connsiteY102" fmla="*/ 28169 h 31338"/>
                        <a:gd name="connsiteX103" fmla="*/ 299 w 25717"/>
                        <a:gd name="connsiteY103" fmla="*/ 28109 h 31338"/>
                        <a:gd name="connsiteX104" fmla="*/ 239 w 25717"/>
                        <a:gd name="connsiteY104" fmla="*/ 28050 h 31338"/>
                        <a:gd name="connsiteX105" fmla="*/ 179 w 25717"/>
                        <a:gd name="connsiteY105" fmla="*/ 27990 h 31338"/>
                        <a:gd name="connsiteX106" fmla="*/ 120 w 25717"/>
                        <a:gd name="connsiteY106" fmla="*/ 27930 h 31338"/>
                        <a:gd name="connsiteX107" fmla="*/ 0 w 25717"/>
                        <a:gd name="connsiteY107" fmla="*/ 27811 h 3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5717" h="31338">
                          <a:moveTo>
                            <a:pt x="18121" y="11902"/>
                          </a:moveTo>
                          <a:lnTo>
                            <a:pt x="18720" y="12440"/>
                          </a:lnTo>
                          <a:lnTo>
                            <a:pt x="25059" y="4426"/>
                          </a:lnTo>
                          <a:lnTo>
                            <a:pt x="25717" y="3589"/>
                          </a:lnTo>
                          <a:lnTo>
                            <a:pt x="23923" y="1854"/>
                          </a:lnTo>
                          <a:lnTo>
                            <a:pt x="23265" y="2691"/>
                          </a:lnTo>
                          <a:lnTo>
                            <a:pt x="24461" y="3828"/>
                          </a:lnTo>
                          <a:lnTo>
                            <a:pt x="18121" y="11902"/>
                          </a:lnTo>
                          <a:moveTo>
                            <a:pt x="14952" y="8852"/>
                          </a:moveTo>
                          <a:lnTo>
                            <a:pt x="15550" y="9450"/>
                          </a:lnTo>
                          <a:lnTo>
                            <a:pt x="21889" y="1435"/>
                          </a:lnTo>
                          <a:lnTo>
                            <a:pt x="22607" y="2153"/>
                          </a:lnTo>
                          <a:lnTo>
                            <a:pt x="23265" y="1316"/>
                          </a:lnTo>
                          <a:lnTo>
                            <a:pt x="21889" y="0"/>
                          </a:lnTo>
                          <a:lnTo>
                            <a:pt x="21231" y="837"/>
                          </a:lnTo>
                          <a:lnTo>
                            <a:pt x="14952" y="8852"/>
                          </a:lnTo>
                          <a:moveTo>
                            <a:pt x="12021" y="20873"/>
                          </a:moveTo>
                          <a:lnTo>
                            <a:pt x="18002" y="13277"/>
                          </a:lnTo>
                          <a:lnTo>
                            <a:pt x="17404" y="12739"/>
                          </a:lnTo>
                          <a:lnTo>
                            <a:pt x="11423" y="20335"/>
                          </a:lnTo>
                          <a:cubicBezTo>
                            <a:pt x="11483" y="20394"/>
                            <a:pt x="11543" y="20454"/>
                            <a:pt x="11543" y="20454"/>
                          </a:cubicBezTo>
                          <a:cubicBezTo>
                            <a:pt x="11603" y="20514"/>
                            <a:pt x="11662" y="20574"/>
                            <a:pt x="11662" y="20574"/>
                          </a:cubicBezTo>
                          <a:cubicBezTo>
                            <a:pt x="11722" y="20634"/>
                            <a:pt x="11782" y="20693"/>
                            <a:pt x="11782" y="20693"/>
                          </a:cubicBezTo>
                          <a:cubicBezTo>
                            <a:pt x="11961" y="20813"/>
                            <a:pt x="12021" y="20873"/>
                            <a:pt x="12021" y="20873"/>
                          </a:cubicBezTo>
                          <a:moveTo>
                            <a:pt x="7835" y="17882"/>
                          </a:moveTo>
                          <a:cubicBezTo>
                            <a:pt x="7895" y="17882"/>
                            <a:pt x="7954" y="17942"/>
                            <a:pt x="8014" y="18002"/>
                          </a:cubicBezTo>
                          <a:cubicBezTo>
                            <a:pt x="8074" y="18062"/>
                            <a:pt x="8134" y="18062"/>
                            <a:pt x="8194" y="18122"/>
                          </a:cubicBezTo>
                          <a:cubicBezTo>
                            <a:pt x="8253" y="18182"/>
                            <a:pt x="8313" y="18182"/>
                            <a:pt x="8373" y="18241"/>
                          </a:cubicBezTo>
                          <a:cubicBezTo>
                            <a:pt x="8433" y="18301"/>
                            <a:pt x="8493" y="18301"/>
                            <a:pt x="8552" y="18361"/>
                          </a:cubicBezTo>
                          <a:lnTo>
                            <a:pt x="14832" y="10406"/>
                          </a:lnTo>
                          <a:lnTo>
                            <a:pt x="14234" y="9808"/>
                          </a:lnTo>
                          <a:lnTo>
                            <a:pt x="7835" y="17882"/>
                          </a:lnTo>
                          <a:moveTo>
                            <a:pt x="9928" y="23564"/>
                          </a:moveTo>
                          <a:lnTo>
                            <a:pt x="11364" y="21710"/>
                          </a:lnTo>
                          <a:cubicBezTo>
                            <a:pt x="11304" y="21650"/>
                            <a:pt x="11244" y="21590"/>
                            <a:pt x="11244" y="21590"/>
                          </a:cubicBezTo>
                          <a:cubicBezTo>
                            <a:pt x="11184" y="21531"/>
                            <a:pt x="11124" y="21471"/>
                            <a:pt x="11124" y="21471"/>
                          </a:cubicBezTo>
                          <a:cubicBezTo>
                            <a:pt x="11064" y="21411"/>
                            <a:pt x="11004" y="21351"/>
                            <a:pt x="11004" y="21351"/>
                          </a:cubicBezTo>
                          <a:cubicBezTo>
                            <a:pt x="10945" y="21291"/>
                            <a:pt x="10885" y="21231"/>
                            <a:pt x="10885" y="21231"/>
                          </a:cubicBezTo>
                          <a:lnTo>
                            <a:pt x="9450" y="23085"/>
                          </a:lnTo>
                          <a:cubicBezTo>
                            <a:pt x="9509" y="23145"/>
                            <a:pt x="9569" y="23205"/>
                            <a:pt x="9569" y="23205"/>
                          </a:cubicBezTo>
                          <a:cubicBezTo>
                            <a:pt x="9629" y="23265"/>
                            <a:pt x="9689" y="23325"/>
                            <a:pt x="9689" y="23325"/>
                          </a:cubicBezTo>
                          <a:cubicBezTo>
                            <a:pt x="9749" y="23385"/>
                            <a:pt x="9808" y="23445"/>
                            <a:pt x="9808" y="23445"/>
                          </a:cubicBezTo>
                          <a:cubicBezTo>
                            <a:pt x="9808" y="23445"/>
                            <a:pt x="9868" y="23504"/>
                            <a:pt x="9928" y="23564"/>
                          </a:cubicBezTo>
                          <a:moveTo>
                            <a:pt x="5682" y="20634"/>
                          </a:moveTo>
                          <a:cubicBezTo>
                            <a:pt x="5742" y="20634"/>
                            <a:pt x="5801" y="20693"/>
                            <a:pt x="5861" y="20693"/>
                          </a:cubicBezTo>
                          <a:cubicBezTo>
                            <a:pt x="5921" y="20693"/>
                            <a:pt x="5981" y="20753"/>
                            <a:pt x="6041" y="20753"/>
                          </a:cubicBezTo>
                          <a:cubicBezTo>
                            <a:pt x="6100" y="20753"/>
                            <a:pt x="6160" y="20813"/>
                            <a:pt x="6220" y="20813"/>
                          </a:cubicBezTo>
                          <a:cubicBezTo>
                            <a:pt x="6280" y="20873"/>
                            <a:pt x="6340" y="20873"/>
                            <a:pt x="6399" y="20933"/>
                          </a:cubicBezTo>
                          <a:lnTo>
                            <a:pt x="7895" y="19079"/>
                          </a:lnTo>
                          <a:cubicBezTo>
                            <a:pt x="7835" y="19019"/>
                            <a:pt x="7775" y="19019"/>
                            <a:pt x="7715" y="18959"/>
                          </a:cubicBezTo>
                          <a:cubicBezTo>
                            <a:pt x="7655" y="18899"/>
                            <a:pt x="7596" y="18899"/>
                            <a:pt x="7536" y="18839"/>
                          </a:cubicBezTo>
                          <a:cubicBezTo>
                            <a:pt x="7476" y="18780"/>
                            <a:pt x="7416" y="18780"/>
                            <a:pt x="7356" y="18720"/>
                          </a:cubicBezTo>
                          <a:cubicBezTo>
                            <a:pt x="7296" y="18720"/>
                            <a:pt x="7237" y="18660"/>
                            <a:pt x="7177" y="18660"/>
                          </a:cubicBezTo>
                          <a:lnTo>
                            <a:pt x="5682" y="20634"/>
                          </a:lnTo>
                          <a:moveTo>
                            <a:pt x="4785" y="23145"/>
                          </a:moveTo>
                          <a:lnTo>
                            <a:pt x="5622" y="22129"/>
                          </a:lnTo>
                          <a:cubicBezTo>
                            <a:pt x="5562" y="22069"/>
                            <a:pt x="5502" y="22069"/>
                            <a:pt x="5442" y="22069"/>
                          </a:cubicBezTo>
                          <a:cubicBezTo>
                            <a:pt x="5383" y="22069"/>
                            <a:pt x="5323" y="22009"/>
                            <a:pt x="5263" y="22009"/>
                          </a:cubicBezTo>
                          <a:cubicBezTo>
                            <a:pt x="5203" y="22009"/>
                            <a:pt x="5143" y="21950"/>
                            <a:pt x="5083" y="21950"/>
                          </a:cubicBezTo>
                          <a:cubicBezTo>
                            <a:pt x="5024" y="21950"/>
                            <a:pt x="4964" y="21890"/>
                            <a:pt x="4904" y="21890"/>
                          </a:cubicBezTo>
                          <a:lnTo>
                            <a:pt x="4306" y="22667"/>
                          </a:lnTo>
                          <a:cubicBezTo>
                            <a:pt x="4306" y="22667"/>
                            <a:pt x="4366" y="22667"/>
                            <a:pt x="4366" y="22727"/>
                          </a:cubicBezTo>
                          <a:cubicBezTo>
                            <a:pt x="4366" y="22727"/>
                            <a:pt x="4426" y="22787"/>
                            <a:pt x="4426" y="22787"/>
                          </a:cubicBezTo>
                          <a:cubicBezTo>
                            <a:pt x="4426" y="22787"/>
                            <a:pt x="4486" y="22846"/>
                            <a:pt x="4486" y="22846"/>
                          </a:cubicBezTo>
                          <a:cubicBezTo>
                            <a:pt x="4486" y="22846"/>
                            <a:pt x="4545" y="22906"/>
                            <a:pt x="4545" y="22906"/>
                          </a:cubicBezTo>
                          <a:cubicBezTo>
                            <a:pt x="4605" y="22966"/>
                            <a:pt x="4605" y="22966"/>
                            <a:pt x="4665" y="23026"/>
                          </a:cubicBezTo>
                          <a:cubicBezTo>
                            <a:pt x="4725" y="23085"/>
                            <a:pt x="4725" y="23085"/>
                            <a:pt x="4725" y="23145"/>
                          </a:cubicBezTo>
                          <a:cubicBezTo>
                            <a:pt x="4725" y="23205"/>
                            <a:pt x="4785" y="23205"/>
                            <a:pt x="4785" y="23265"/>
                          </a:cubicBezTo>
                          <a:cubicBezTo>
                            <a:pt x="4785" y="23325"/>
                            <a:pt x="4725" y="23085"/>
                            <a:pt x="4785" y="23145"/>
                          </a:cubicBezTo>
                          <a:moveTo>
                            <a:pt x="1017" y="27093"/>
                          </a:moveTo>
                          <a:lnTo>
                            <a:pt x="1435" y="27332"/>
                          </a:lnTo>
                          <a:lnTo>
                            <a:pt x="4067" y="23983"/>
                          </a:lnTo>
                          <a:cubicBezTo>
                            <a:pt x="4067" y="23923"/>
                            <a:pt x="4007" y="23923"/>
                            <a:pt x="4007" y="23863"/>
                          </a:cubicBezTo>
                          <a:cubicBezTo>
                            <a:pt x="4007" y="23804"/>
                            <a:pt x="3947" y="23804"/>
                            <a:pt x="3947" y="23744"/>
                          </a:cubicBezTo>
                          <a:cubicBezTo>
                            <a:pt x="3947" y="23684"/>
                            <a:pt x="3888" y="23684"/>
                            <a:pt x="3888" y="23624"/>
                          </a:cubicBezTo>
                          <a:cubicBezTo>
                            <a:pt x="3888" y="23564"/>
                            <a:pt x="3828" y="23564"/>
                            <a:pt x="3768" y="23504"/>
                          </a:cubicBezTo>
                          <a:cubicBezTo>
                            <a:pt x="3768" y="23504"/>
                            <a:pt x="3708" y="23445"/>
                            <a:pt x="3708" y="23445"/>
                          </a:cubicBezTo>
                          <a:cubicBezTo>
                            <a:pt x="3708" y="23445"/>
                            <a:pt x="3648" y="23385"/>
                            <a:pt x="3648" y="23385"/>
                          </a:cubicBezTo>
                          <a:cubicBezTo>
                            <a:pt x="3648" y="23385"/>
                            <a:pt x="3588" y="23325"/>
                            <a:pt x="3588" y="23325"/>
                          </a:cubicBezTo>
                          <a:cubicBezTo>
                            <a:pt x="3588" y="23325"/>
                            <a:pt x="3528" y="23325"/>
                            <a:pt x="3528" y="23265"/>
                          </a:cubicBezTo>
                          <a:lnTo>
                            <a:pt x="778" y="26734"/>
                          </a:lnTo>
                          <a:cubicBezTo>
                            <a:pt x="778" y="26734"/>
                            <a:pt x="837" y="26794"/>
                            <a:pt x="837" y="26794"/>
                          </a:cubicBezTo>
                          <a:cubicBezTo>
                            <a:pt x="837" y="26794"/>
                            <a:pt x="897" y="26853"/>
                            <a:pt x="897" y="26853"/>
                          </a:cubicBezTo>
                          <a:cubicBezTo>
                            <a:pt x="897" y="26853"/>
                            <a:pt x="957" y="26913"/>
                            <a:pt x="957" y="26913"/>
                          </a:cubicBezTo>
                          <a:cubicBezTo>
                            <a:pt x="957" y="27093"/>
                            <a:pt x="957" y="27093"/>
                            <a:pt x="1017" y="27093"/>
                          </a:cubicBezTo>
                          <a:moveTo>
                            <a:pt x="0" y="27811"/>
                          </a:moveTo>
                          <a:lnTo>
                            <a:pt x="3828" y="31339"/>
                          </a:lnTo>
                          <a:lnTo>
                            <a:pt x="4486" y="30502"/>
                          </a:lnTo>
                          <a:lnTo>
                            <a:pt x="9091" y="24700"/>
                          </a:lnTo>
                          <a:cubicBezTo>
                            <a:pt x="9031" y="24641"/>
                            <a:pt x="8971" y="24581"/>
                            <a:pt x="8971" y="24581"/>
                          </a:cubicBezTo>
                          <a:cubicBezTo>
                            <a:pt x="8911" y="24521"/>
                            <a:pt x="8851" y="24461"/>
                            <a:pt x="8851" y="24461"/>
                          </a:cubicBezTo>
                          <a:cubicBezTo>
                            <a:pt x="8851" y="24461"/>
                            <a:pt x="8732" y="24342"/>
                            <a:pt x="8732" y="24342"/>
                          </a:cubicBezTo>
                          <a:cubicBezTo>
                            <a:pt x="8672" y="24282"/>
                            <a:pt x="8612" y="24222"/>
                            <a:pt x="8612" y="24222"/>
                          </a:cubicBezTo>
                          <a:lnTo>
                            <a:pt x="4007" y="30083"/>
                          </a:lnTo>
                          <a:lnTo>
                            <a:pt x="2392" y="28588"/>
                          </a:lnTo>
                          <a:cubicBezTo>
                            <a:pt x="2273" y="28588"/>
                            <a:pt x="2213" y="28648"/>
                            <a:pt x="2093" y="28648"/>
                          </a:cubicBezTo>
                          <a:cubicBezTo>
                            <a:pt x="1974" y="28648"/>
                            <a:pt x="1914" y="28648"/>
                            <a:pt x="1794" y="28648"/>
                          </a:cubicBezTo>
                          <a:cubicBezTo>
                            <a:pt x="1674" y="28648"/>
                            <a:pt x="1615" y="28648"/>
                            <a:pt x="1495" y="28648"/>
                          </a:cubicBezTo>
                          <a:cubicBezTo>
                            <a:pt x="1375" y="28648"/>
                            <a:pt x="1316" y="28588"/>
                            <a:pt x="1196" y="28588"/>
                          </a:cubicBezTo>
                          <a:cubicBezTo>
                            <a:pt x="1136" y="28588"/>
                            <a:pt x="1017" y="28528"/>
                            <a:pt x="957" y="28528"/>
                          </a:cubicBezTo>
                          <a:cubicBezTo>
                            <a:pt x="897" y="28528"/>
                            <a:pt x="837" y="28468"/>
                            <a:pt x="718" y="28408"/>
                          </a:cubicBezTo>
                          <a:cubicBezTo>
                            <a:pt x="658" y="28349"/>
                            <a:pt x="598" y="28349"/>
                            <a:pt x="538" y="28289"/>
                          </a:cubicBezTo>
                          <a:cubicBezTo>
                            <a:pt x="479" y="28229"/>
                            <a:pt x="419" y="28169"/>
                            <a:pt x="359" y="28169"/>
                          </a:cubicBezTo>
                          <a:cubicBezTo>
                            <a:pt x="359" y="28169"/>
                            <a:pt x="299" y="28109"/>
                            <a:pt x="299" y="28109"/>
                          </a:cubicBezTo>
                          <a:cubicBezTo>
                            <a:pt x="299" y="28109"/>
                            <a:pt x="239" y="28050"/>
                            <a:pt x="239" y="28050"/>
                          </a:cubicBezTo>
                          <a:cubicBezTo>
                            <a:pt x="239" y="28050"/>
                            <a:pt x="179" y="27990"/>
                            <a:pt x="179" y="27990"/>
                          </a:cubicBezTo>
                          <a:cubicBezTo>
                            <a:pt x="179" y="27990"/>
                            <a:pt x="120" y="27930"/>
                            <a:pt x="120" y="27930"/>
                          </a:cubicBezTo>
                          <a:lnTo>
                            <a:pt x="0" y="27811"/>
                          </a:lnTo>
                        </a:path>
                      </a:pathLst>
                    </a:custGeom>
                    <a:noFill/>
                    <a:ln w="6350" cap="flat">
                      <a:solidFill>
                        <a:schemeClr val="bg1">
                          <a:alpha val="80000"/>
                        </a:schemeClr>
                      </a:solidFill>
                      <a:prstDash val="solid"/>
                      <a:miter/>
                    </a:ln>
                  </p:spPr>
                  <p:txBody>
                    <a:bodyPr rtlCol="0" anchor="ctr"/>
                    <a:lstStyle/>
                    <a:p>
                      <a:endParaRPr lang="en-GB"/>
                    </a:p>
                  </p:txBody>
                </p:sp>
                <p:sp>
                  <p:nvSpPr>
                    <p:cNvPr id="7482" name="Vrije vorm: vorm 7481">
                      <a:extLst>
                        <a:ext uri="{FF2B5EF4-FFF2-40B4-BE49-F238E27FC236}">
                          <a16:creationId xmlns:a16="http://schemas.microsoft.com/office/drawing/2014/main" id="{CE0817B3-1F21-402C-92AF-16DC410684E6}"/>
                        </a:ext>
                      </a:extLst>
                    </p:cNvPr>
                    <p:cNvSpPr/>
                    <p:nvPr/>
                  </p:nvSpPr>
                  <p:spPr>
                    <a:xfrm>
                      <a:off x="5333687" y="5088258"/>
                      <a:ext cx="30143" cy="32056"/>
                    </a:xfrm>
                    <a:custGeom>
                      <a:avLst/>
                      <a:gdLst>
                        <a:gd name="connsiteX0" fmla="*/ 0 w 30143"/>
                        <a:gd name="connsiteY0" fmla="*/ 13516 h 32056"/>
                        <a:gd name="connsiteX1" fmla="*/ 3050 w 30143"/>
                        <a:gd name="connsiteY1" fmla="*/ 16387 h 32056"/>
                        <a:gd name="connsiteX2" fmla="*/ 3708 w 30143"/>
                        <a:gd name="connsiteY2" fmla="*/ 15550 h 32056"/>
                        <a:gd name="connsiteX3" fmla="*/ 1316 w 30143"/>
                        <a:gd name="connsiteY3" fmla="*/ 13277 h 32056"/>
                        <a:gd name="connsiteX4" fmla="*/ 10646 w 30143"/>
                        <a:gd name="connsiteY4" fmla="*/ 1495 h 32056"/>
                        <a:gd name="connsiteX5" fmla="*/ 13038 w 30143"/>
                        <a:gd name="connsiteY5" fmla="*/ 3768 h 32056"/>
                        <a:gd name="connsiteX6" fmla="*/ 13696 w 30143"/>
                        <a:gd name="connsiteY6" fmla="*/ 2930 h 32056"/>
                        <a:gd name="connsiteX7" fmla="*/ 19497 w 30143"/>
                        <a:gd name="connsiteY7" fmla="*/ 8493 h 32056"/>
                        <a:gd name="connsiteX8" fmla="*/ 18839 w 30143"/>
                        <a:gd name="connsiteY8" fmla="*/ 9330 h 32056"/>
                        <a:gd name="connsiteX9" fmla="*/ 24401 w 30143"/>
                        <a:gd name="connsiteY9" fmla="*/ 14713 h 32056"/>
                        <a:gd name="connsiteX10" fmla="*/ 24999 w 30143"/>
                        <a:gd name="connsiteY10" fmla="*/ 15311 h 32056"/>
                        <a:gd name="connsiteX11" fmla="*/ 28827 w 30143"/>
                        <a:gd name="connsiteY11" fmla="*/ 18959 h 32056"/>
                        <a:gd name="connsiteX12" fmla="*/ 19677 w 30143"/>
                        <a:gd name="connsiteY12" fmla="*/ 30621 h 32056"/>
                        <a:gd name="connsiteX13" fmla="*/ 16746 w 30143"/>
                        <a:gd name="connsiteY13" fmla="*/ 27870 h 32056"/>
                        <a:gd name="connsiteX14" fmla="*/ 16148 w 30143"/>
                        <a:gd name="connsiteY14" fmla="*/ 27272 h 32056"/>
                        <a:gd name="connsiteX15" fmla="*/ 11364 w 30143"/>
                        <a:gd name="connsiteY15" fmla="*/ 22787 h 32056"/>
                        <a:gd name="connsiteX16" fmla="*/ 10765 w 30143"/>
                        <a:gd name="connsiteY16" fmla="*/ 22248 h 32056"/>
                        <a:gd name="connsiteX17" fmla="*/ 9569 w 30143"/>
                        <a:gd name="connsiteY17" fmla="*/ 21052 h 32056"/>
                        <a:gd name="connsiteX18" fmla="*/ 8911 w 30143"/>
                        <a:gd name="connsiteY18" fmla="*/ 21949 h 32056"/>
                        <a:gd name="connsiteX19" fmla="*/ 10107 w 30143"/>
                        <a:gd name="connsiteY19" fmla="*/ 23085 h 32056"/>
                        <a:gd name="connsiteX20" fmla="*/ 10706 w 30143"/>
                        <a:gd name="connsiteY20" fmla="*/ 23624 h 32056"/>
                        <a:gd name="connsiteX21" fmla="*/ 15430 w 30143"/>
                        <a:gd name="connsiteY21" fmla="*/ 28109 h 32056"/>
                        <a:gd name="connsiteX22" fmla="*/ 16028 w 30143"/>
                        <a:gd name="connsiteY22" fmla="*/ 28707 h 32056"/>
                        <a:gd name="connsiteX23" fmla="*/ 19617 w 30143"/>
                        <a:gd name="connsiteY23" fmla="*/ 32057 h 32056"/>
                        <a:gd name="connsiteX24" fmla="*/ 30143 w 30143"/>
                        <a:gd name="connsiteY24" fmla="*/ 18720 h 32056"/>
                        <a:gd name="connsiteX25" fmla="*/ 25658 w 30143"/>
                        <a:gd name="connsiteY25" fmla="*/ 14413 h 32056"/>
                        <a:gd name="connsiteX26" fmla="*/ 25059 w 30143"/>
                        <a:gd name="connsiteY26" fmla="*/ 13875 h 32056"/>
                        <a:gd name="connsiteX27" fmla="*/ 19258 w 30143"/>
                        <a:gd name="connsiteY27" fmla="*/ 8253 h 32056"/>
                        <a:gd name="connsiteX28" fmla="*/ 18600 w 30143"/>
                        <a:gd name="connsiteY28" fmla="*/ 7655 h 32056"/>
                        <a:gd name="connsiteX29" fmla="*/ 17464 w 30143"/>
                        <a:gd name="connsiteY29" fmla="*/ 6519 h 32056"/>
                        <a:gd name="connsiteX30" fmla="*/ 16866 w 30143"/>
                        <a:gd name="connsiteY30" fmla="*/ 5921 h 32056"/>
                        <a:gd name="connsiteX31" fmla="*/ 15789 w 30143"/>
                        <a:gd name="connsiteY31" fmla="*/ 4904 h 32056"/>
                        <a:gd name="connsiteX32" fmla="*/ 15191 w 30143"/>
                        <a:gd name="connsiteY32" fmla="*/ 4366 h 32056"/>
                        <a:gd name="connsiteX33" fmla="*/ 10706 w 30143"/>
                        <a:gd name="connsiteY33" fmla="*/ 0 h 32056"/>
                        <a:gd name="connsiteX34" fmla="*/ 0 w 30143"/>
                        <a:gd name="connsiteY34" fmla="*/ 13516 h 3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143" h="32056">
                          <a:moveTo>
                            <a:pt x="0" y="13516"/>
                          </a:moveTo>
                          <a:lnTo>
                            <a:pt x="3050" y="16387"/>
                          </a:lnTo>
                          <a:lnTo>
                            <a:pt x="3708" y="15550"/>
                          </a:lnTo>
                          <a:lnTo>
                            <a:pt x="1316" y="13277"/>
                          </a:lnTo>
                          <a:lnTo>
                            <a:pt x="10646" y="1495"/>
                          </a:lnTo>
                          <a:lnTo>
                            <a:pt x="13038" y="3768"/>
                          </a:lnTo>
                          <a:lnTo>
                            <a:pt x="13696" y="2930"/>
                          </a:lnTo>
                          <a:lnTo>
                            <a:pt x="19497" y="8493"/>
                          </a:lnTo>
                          <a:lnTo>
                            <a:pt x="18839" y="9330"/>
                          </a:lnTo>
                          <a:lnTo>
                            <a:pt x="24401" y="14713"/>
                          </a:lnTo>
                          <a:lnTo>
                            <a:pt x="24999" y="15311"/>
                          </a:lnTo>
                          <a:lnTo>
                            <a:pt x="28827" y="18959"/>
                          </a:lnTo>
                          <a:lnTo>
                            <a:pt x="19677" y="30621"/>
                          </a:lnTo>
                          <a:lnTo>
                            <a:pt x="16746" y="27870"/>
                          </a:lnTo>
                          <a:lnTo>
                            <a:pt x="16148" y="27272"/>
                          </a:lnTo>
                          <a:lnTo>
                            <a:pt x="11364" y="22787"/>
                          </a:lnTo>
                          <a:lnTo>
                            <a:pt x="10765" y="22248"/>
                          </a:lnTo>
                          <a:lnTo>
                            <a:pt x="9569" y="21052"/>
                          </a:lnTo>
                          <a:lnTo>
                            <a:pt x="8911" y="21949"/>
                          </a:lnTo>
                          <a:lnTo>
                            <a:pt x="10107" y="23085"/>
                          </a:lnTo>
                          <a:lnTo>
                            <a:pt x="10706" y="23624"/>
                          </a:lnTo>
                          <a:lnTo>
                            <a:pt x="15430" y="28109"/>
                          </a:lnTo>
                          <a:lnTo>
                            <a:pt x="16028" y="28707"/>
                          </a:lnTo>
                          <a:lnTo>
                            <a:pt x="19617" y="32057"/>
                          </a:lnTo>
                          <a:lnTo>
                            <a:pt x="30143" y="18720"/>
                          </a:lnTo>
                          <a:lnTo>
                            <a:pt x="25658" y="14413"/>
                          </a:lnTo>
                          <a:lnTo>
                            <a:pt x="25059" y="13875"/>
                          </a:lnTo>
                          <a:lnTo>
                            <a:pt x="19258" y="8253"/>
                          </a:lnTo>
                          <a:lnTo>
                            <a:pt x="18600" y="7655"/>
                          </a:lnTo>
                          <a:lnTo>
                            <a:pt x="17464" y="6519"/>
                          </a:lnTo>
                          <a:lnTo>
                            <a:pt x="16866" y="5921"/>
                          </a:lnTo>
                          <a:lnTo>
                            <a:pt x="15789" y="4904"/>
                          </a:lnTo>
                          <a:lnTo>
                            <a:pt x="15191" y="4366"/>
                          </a:lnTo>
                          <a:lnTo>
                            <a:pt x="10706" y="0"/>
                          </a:lnTo>
                          <a:lnTo>
                            <a:pt x="0" y="13516"/>
                          </a:lnTo>
                        </a:path>
                      </a:pathLst>
                    </a:custGeom>
                    <a:noFill/>
                    <a:ln w="6350" cap="flat">
                      <a:solidFill>
                        <a:schemeClr val="bg1">
                          <a:alpha val="80000"/>
                        </a:schemeClr>
                      </a:solidFill>
                      <a:prstDash val="solid"/>
                      <a:miter/>
                    </a:ln>
                  </p:spPr>
                  <p:txBody>
                    <a:bodyPr rtlCol="0" anchor="ctr"/>
                    <a:lstStyle/>
                    <a:p>
                      <a:endParaRPr lang="en-GB"/>
                    </a:p>
                  </p:txBody>
                </p:sp>
                <p:sp>
                  <p:nvSpPr>
                    <p:cNvPr id="7483" name="Vrije vorm: vorm 7482">
                      <a:extLst>
                        <a:ext uri="{FF2B5EF4-FFF2-40B4-BE49-F238E27FC236}">
                          <a16:creationId xmlns:a16="http://schemas.microsoft.com/office/drawing/2014/main" id="{E3C41BB5-6622-4592-94B2-05BCA5746ACB}"/>
                        </a:ext>
                      </a:extLst>
                    </p:cNvPr>
                    <p:cNvSpPr/>
                    <p:nvPr/>
                  </p:nvSpPr>
                  <p:spPr>
                    <a:xfrm>
                      <a:off x="5336737" y="5091309"/>
                      <a:ext cx="16327" cy="18898"/>
                    </a:xfrm>
                    <a:custGeom>
                      <a:avLst/>
                      <a:gdLst>
                        <a:gd name="connsiteX0" fmla="*/ 12260 w 16327"/>
                        <a:gd name="connsiteY0" fmla="*/ 9390 h 18898"/>
                        <a:gd name="connsiteX1" fmla="*/ 5921 w 16327"/>
                        <a:gd name="connsiteY1" fmla="*/ 17404 h 18898"/>
                        <a:gd name="connsiteX2" fmla="*/ 1316 w 16327"/>
                        <a:gd name="connsiteY2" fmla="*/ 13038 h 18898"/>
                        <a:gd name="connsiteX3" fmla="*/ 10586 w 16327"/>
                        <a:gd name="connsiteY3" fmla="*/ 1256 h 18898"/>
                        <a:gd name="connsiteX4" fmla="*/ 11483 w 16327"/>
                        <a:gd name="connsiteY4" fmla="*/ 2153 h 18898"/>
                        <a:gd name="connsiteX5" fmla="*/ 12081 w 16327"/>
                        <a:gd name="connsiteY5" fmla="*/ 2691 h 18898"/>
                        <a:gd name="connsiteX6" fmla="*/ 13158 w 16327"/>
                        <a:gd name="connsiteY6" fmla="*/ 3708 h 18898"/>
                        <a:gd name="connsiteX7" fmla="*/ 13756 w 16327"/>
                        <a:gd name="connsiteY7" fmla="*/ 4306 h 18898"/>
                        <a:gd name="connsiteX8" fmla="*/ 14952 w 16327"/>
                        <a:gd name="connsiteY8" fmla="*/ 5442 h 18898"/>
                        <a:gd name="connsiteX9" fmla="*/ 15191 w 16327"/>
                        <a:gd name="connsiteY9" fmla="*/ 5682 h 18898"/>
                        <a:gd name="connsiteX10" fmla="*/ 14114 w 16327"/>
                        <a:gd name="connsiteY10" fmla="*/ 6997 h 18898"/>
                        <a:gd name="connsiteX11" fmla="*/ 12919 w 16327"/>
                        <a:gd name="connsiteY11" fmla="*/ 8493 h 18898"/>
                        <a:gd name="connsiteX12" fmla="*/ 12260 w 16327"/>
                        <a:gd name="connsiteY12" fmla="*/ 9390 h 18898"/>
                        <a:gd name="connsiteX13" fmla="*/ 0 w 16327"/>
                        <a:gd name="connsiteY13" fmla="*/ 13337 h 18898"/>
                        <a:gd name="connsiteX14" fmla="*/ 658 w 16327"/>
                        <a:gd name="connsiteY14" fmla="*/ 13995 h 18898"/>
                        <a:gd name="connsiteX15" fmla="*/ 1256 w 16327"/>
                        <a:gd name="connsiteY15" fmla="*/ 14593 h 18898"/>
                        <a:gd name="connsiteX16" fmla="*/ 3828 w 16327"/>
                        <a:gd name="connsiteY16" fmla="*/ 17045 h 18898"/>
                        <a:gd name="connsiteX17" fmla="*/ 4426 w 16327"/>
                        <a:gd name="connsiteY17" fmla="*/ 17643 h 18898"/>
                        <a:gd name="connsiteX18" fmla="*/ 5801 w 16327"/>
                        <a:gd name="connsiteY18" fmla="*/ 18899 h 18898"/>
                        <a:gd name="connsiteX19" fmla="*/ 6459 w 16327"/>
                        <a:gd name="connsiteY19" fmla="*/ 18062 h 18898"/>
                        <a:gd name="connsiteX20" fmla="*/ 12799 w 16327"/>
                        <a:gd name="connsiteY20" fmla="*/ 10048 h 18898"/>
                        <a:gd name="connsiteX21" fmla="*/ 13457 w 16327"/>
                        <a:gd name="connsiteY21" fmla="*/ 9210 h 18898"/>
                        <a:gd name="connsiteX22" fmla="*/ 14653 w 16327"/>
                        <a:gd name="connsiteY22" fmla="*/ 7715 h 18898"/>
                        <a:gd name="connsiteX23" fmla="*/ 15311 w 16327"/>
                        <a:gd name="connsiteY23" fmla="*/ 6878 h 18898"/>
                        <a:gd name="connsiteX24" fmla="*/ 15669 w 16327"/>
                        <a:gd name="connsiteY24" fmla="*/ 6399 h 18898"/>
                        <a:gd name="connsiteX25" fmla="*/ 16327 w 16327"/>
                        <a:gd name="connsiteY25" fmla="*/ 5562 h 18898"/>
                        <a:gd name="connsiteX26" fmla="*/ 10526 w 16327"/>
                        <a:gd name="connsiteY26" fmla="*/ 0 h 18898"/>
                        <a:gd name="connsiteX27" fmla="*/ 9868 w 16327"/>
                        <a:gd name="connsiteY27" fmla="*/ 837 h 18898"/>
                        <a:gd name="connsiteX28" fmla="*/ 598 w 16327"/>
                        <a:gd name="connsiteY28" fmla="*/ 12619 h 18898"/>
                        <a:gd name="connsiteX29" fmla="*/ 0 w 16327"/>
                        <a:gd name="connsiteY29" fmla="*/ 13337 h 1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327" h="18898">
                          <a:moveTo>
                            <a:pt x="12260" y="9390"/>
                          </a:moveTo>
                          <a:lnTo>
                            <a:pt x="5921" y="17404"/>
                          </a:lnTo>
                          <a:lnTo>
                            <a:pt x="1316" y="13038"/>
                          </a:lnTo>
                          <a:lnTo>
                            <a:pt x="10586" y="1256"/>
                          </a:lnTo>
                          <a:lnTo>
                            <a:pt x="11483" y="2153"/>
                          </a:lnTo>
                          <a:lnTo>
                            <a:pt x="12081" y="2691"/>
                          </a:lnTo>
                          <a:lnTo>
                            <a:pt x="13158" y="3708"/>
                          </a:lnTo>
                          <a:lnTo>
                            <a:pt x="13756" y="4306"/>
                          </a:lnTo>
                          <a:lnTo>
                            <a:pt x="14952" y="5442"/>
                          </a:lnTo>
                          <a:lnTo>
                            <a:pt x="15191" y="5682"/>
                          </a:lnTo>
                          <a:lnTo>
                            <a:pt x="14114" y="6997"/>
                          </a:lnTo>
                          <a:lnTo>
                            <a:pt x="12919" y="8493"/>
                          </a:lnTo>
                          <a:lnTo>
                            <a:pt x="12260" y="9390"/>
                          </a:lnTo>
                          <a:moveTo>
                            <a:pt x="0" y="13337"/>
                          </a:moveTo>
                          <a:lnTo>
                            <a:pt x="658" y="13995"/>
                          </a:lnTo>
                          <a:lnTo>
                            <a:pt x="1256" y="14593"/>
                          </a:lnTo>
                          <a:lnTo>
                            <a:pt x="3828" y="17045"/>
                          </a:lnTo>
                          <a:lnTo>
                            <a:pt x="4426" y="17643"/>
                          </a:lnTo>
                          <a:lnTo>
                            <a:pt x="5801" y="18899"/>
                          </a:lnTo>
                          <a:lnTo>
                            <a:pt x="6459" y="18062"/>
                          </a:lnTo>
                          <a:lnTo>
                            <a:pt x="12799" y="10048"/>
                          </a:lnTo>
                          <a:lnTo>
                            <a:pt x="13457" y="9210"/>
                          </a:lnTo>
                          <a:lnTo>
                            <a:pt x="14653" y="7715"/>
                          </a:lnTo>
                          <a:lnTo>
                            <a:pt x="15311" y="6878"/>
                          </a:lnTo>
                          <a:lnTo>
                            <a:pt x="15669" y="6399"/>
                          </a:lnTo>
                          <a:lnTo>
                            <a:pt x="16327" y="5562"/>
                          </a:lnTo>
                          <a:lnTo>
                            <a:pt x="10526" y="0"/>
                          </a:lnTo>
                          <a:lnTo>
                            <a:pt x="9868" y="837"/>
                          </a:lnTo>
                          <a:lnTo>
                            <a:pt x="598" y="12619"/>
                          </a:lnTo>
                          <a:lnTo>
                            <a:pt x="0" y="13337"/>
                          </a:lnTo>
                        </a:path>
                      </a:pathLst>
                    </a:custGeom>
                    <a:noFill/>
                    <a:ln w="6350" cap="flat">
                      <a:solidFill>
                        <a:schemeClr val="bg1">
                          <a:alpha val="80000"/>
                        </a:schemeClr>
                      </a:solidFill>
                      <a:prstDash val="solid"/>
                      <a:miter/>
                    </a:ln>
                  </p:spPr>
                  <p:txBody>
                    <a:bodyPr rtlCol="0" anchor="ctr"/>
                    <a:lstStyle/>
                    <a:p>
                      <a:endParaRPr lang="en-GB"/>
                    </a:p>
                  </p:txBody>
                </p:sp>
                <p:sp>
                  <p:nvSpPr>
                    <p:cNvPr id="7484" name="Vrije vorm: vorm 7483">
                      <a:extLst>
                        <a:ext uri="{FF2B5EF4-FFF2-40B4-BE49-F238E27FC236}">
                          <a16:creationId xmlns:a16="http://schemas.microsoft.com/office/drawing/2014/main" id="{A3863AA9-EA63-4DDF-BE93-FC0CB832C800}"/>
                        </a:ext>
                      </a:extLst>
                    </p:cNvPr>
                    <p:cNvSpPr/>
                    <p:nvPr/>
                  </p:nvSpPr>
                  <p:spPr>
                    <a:xfrm>
                      <a:off x="5062820" y="5305897"/>
                      <a:ext cx="31398" cy="64531"/>
                    </a:xfrm>
                    <a:custGeom>
                      <a:avLst/>
                      <a:gdLst>
                        <a:gd name="connsiteX0" fmla="*/ 20634 w 31398"/>
                        <a:gd name="connsiteY0" fmla="*/ 7715 h 64531"/>
                        <a:gd name="connsiteX1" fmla="*/ 21351 w 31398"/>
                        <a:gd name="connsiteY1" fmla="*/ 6818 h 64531"/>
                        <a:gd name="connsiteX2" fmla="*/ 20095 w 31398"/>
                        <a:gd name="connsiteY2" fmla="*/ 5741 h 64531"/>
                        <a:gd name="connsiteX3" fmla="*/ 18780 w 31398"/>
                        <a:gd name="connsiteY3" fmla="*/ 4665 h 64531"/>
                        <a:gd name="connsiteX4" fmla="*/ 17344 w 31398"/>
                        <a:gd name="connsiteY4" fmla="*/ 3588 h 64531"/>
                        <a:gd name="connsiteX5" fmla="*/ 15849 w 31398"/>
                        <a:gd name="connsiteY5" fmla="*/ 2512 h 64531"/>
                        <a:gd name="connsiteX6" fmla="*/ 16746 w 31398"/>
                        <a:gd name="connsiteY6" fmla="*/ 1375 h 64531"/>
                        <a:gd name="connsiteX7" fmla="*/ 18241 w 31398"/>
                        <a:gd name="connsiteY7" fmla="*/ 2452 h 64531"/>
                        <a:gd name="connsiteX8" fmla="*/ 19676 w 31398"/>
                        <a:gd name="connsiteY8" fmla="*/ 3528 h 64531"/>
                        <a:gd name="connsiteX9" fmla="*/ 20992 w 31398"/>
                        <a:gd name="connsiteY9" fmla="*/ 4605 h 64531"/>
                        <a:gd name="connsiteX10" fmla="*/ 22248 w 31398"/>
                        <a:gd name="connsiteY10" fmla="*/ 5681 h 64531"/>
                        <a:gd name="connsiteX11" fmla="*/ 22966 w 31398"/>
                        <a:gd name="connsiteY11" fmla="*/ 4785 h 64531"/>
                        <a:gd name="connsiteX12" fmla="*/ 21650 w 31398"/>
                        <a:gd name="connsiteY12" fmla="*/ 3648 h 64531"/>
                        <a:gd name="connsiteX13" fmla="*/ 20215 w 31398"/>
                        <a:gd name="connsiteY13" fmla="*/ 2512 h 64531"/>
                        <a:gd name="connsiteX14" fmla="*/ 18720 w 31398"/>
                        <a:gd name="connsiteY14" fmla="*/ 1375 h 64531"/>
                        <a:gd name="connsiteX15" fmla="*/ 17105 w 31398"/>
                        <a:gd name="connsiteY15" fmla="*/ 239 h 64531"/>
                        <a:gd name="connsiteX16" fmla="*/ 16686 w 31398"/>
                        <a:gd name="connsiteY16" fmla="*/ 0 h 64531"/>
                        <a:gd name="connsiteX17" fmla="*/ 14354 w 31398"/>
                        <a:gd name="connsiteY17" fmla="*/ 2930 h 64531"/>
                        <a:gd name="connsiteX18" fmla="*/ 14772 w 31398"/>
                        <a:gd name="connsiteY18" fmla="*/ 3170 h 64531"/>
                        <a:gd name="connsiteX19" fmla="*/ 16387 w 31398"/>
                        <a:gd name="connsiteY19" fmla="*/ 4306 h 64531"/>
                        <a:gd name="connsiteX20" fmla="*/ 17882 w 31398"/>
                        <a:gd name="connsiteY20" fmla="*/ 5442 h 64531"/>
                        <a:gd name="connsiteX21" fmla="*/ 19318 w 31398"/>
                        <a:gd name="connsiteY21" fmla="*/ 6579 h 64531"/>
                        <a:gd name="connsiteX22" fmla="*/ 20634 w 31398"/>
                        <a:gd name="connsiteY22" fmla="*/ 7715 h 64531"/>
                        <a:gd name="connsiteX23" fmla="*/ 28349 w 31398"/>
                        <a:gd name="connsiteY23" fmla="*/ 17105 h 64531"/>
                        <a:gd name="connsiteX24" fmla="*/ 28229 w 31398"/>
                        <a:gd name="connsiteY24" fmla="*/ 16686 h 64531"/>
                        <a:gd name="connsiteX25" fmla="*/ 28050 w 31398"/>
                        <a:gd name="connsiteY25" fmla="*/ 16267 h 64531"/>
                        <a:gd name="connsiteX26" fmla="*/ 27870 w 31398"/>
                        <a:gd name="connsiteY26" fmla="*/ 15849 h 64531"/>
                        <a:gd name="connsiteX27" fmla="*/ 27691 w 31398"/>
                        <a:gd name="connsiteY27" fmla="*/ 15430 h 64531"/>
                        <a:gd name="connsiteX28" fmla="*/ 27451 w 31398"/>
                        <a:gd name="connsiteY28" fmla="*/ 14892 h 64531"/>
                        <a:gd name="connsiteX29" fmla="*/ 27212 w 31398"/>
                        <a:gd name="connsiteY29" fmla="*/ 14354 h 64531"/>
                        <a:gd name="connsiteX30" fmla="*/ 26913 w 31398"/>
                        <a:gd name="connsiteY30" fmla="*/ 13815 h 64531"/>
                        <a:gd name="connsiteX31" fmla="*/ 26614 w 31398"/>
                        <a:gd name="connsiteY31" fmla="*/ 13277 h 64531"/>
                        <a:gd name="connsiteX32" fmla="*/ 25657 w 31398"/>
                        <a:gd name="connsiteY32" fmla="*/ 11782 h 64531"/>
                        <a:gd name="connsiteX33" fmla="*/ 24581 w 31398"/>
                        <a:gd name="connsiteY33" fmla="*/ 10287 h 64531"/>
                        <a:gd name="connsiteX34" fmla="*/ 23325 w 31398"/>
                        <a:gd name="connsiteY34" fmla="*/ 8851 h 64531"/>
                        <a:gd name="connsiteX35" fmla="*/ 21889 w 31398"/>
                        <a:gd name="connsiteY35" fmla="*/ 7416 h 64531"/>
                        <a:gd name="connsiteX36" fmla="*/ 21172 w 31398"/>
                        <a:gd name="connsiteY36" fmla="*/ 8313 h 64531"/>
                        <a:gd name="connsiteX37" fmla="*/ 22009 w 31398"/>
                        <a:gd name="connsiteY37" fmla="*/ 9150 h 64531"/>
                        <a:gd name="connsiteX38" fmla="*/ 22787 w 31398"/>
                        <a:gd name="connsiteY38" fmla="*/ 9988 h 64531"/>
                        <a:gd name="connsiteX39" fmla="*/ 23504 w 31398"/>
                        <a:gd name="connsiteY39" fmla="*/ 10825 h 64531"/>
                        <a:gd name="connsiteX40" fmla="*/ 24162 w 31398"/>
                        <a:gd name="connsiteY40" fmla="*/ 11662 h 64531"/>
                        <a:gd name="connsiteX41" fmla="*/ 24641 w 31398"/>
                        <a:gd name="connsiteY41" fmla="*/ 12260 h 64531"/>
                        <a:gd name="connsiteX42" fmla="*/ 25059 w 31398"/>
                        <a:gd name="connsiteY42" fmla="*/ 12858 h 64531"/>
                        <a:gd name="connsiteX43" fmla="*/ 25478 w 31398"/>
                        <a:gd name="connsiteY43" fmla="*/ 13457 h 64531"/>
                        <a:gd name="connsiteX44" fmla="*/ 25837 w 31398"/>
                        <a:gd name="connsiteY44" fmla="*/ 14055 h 64531"/>
                        <a:gd name="connsiteX45" fmla="*/ 25956 w 31398"/>
                        <a:gd name="connsiteY45" fmla="*/ 14294 h 64531"/>
                        <a:gd name="connsiteX46" fmla="*/ 26076 w 31398"/>
                        <a:gd name="connsiteY46" fmla="*/ 14533 h 64531"/>
                        <a:gd name="connsiteX47" fmla="*/ 26196 w 31398"/>
                        <a:gd name="connsiteY47" fmla="*/ 14772 h 64531"/>
                        <a:gd name="connsiteX48" fmla="*/ 26315 w 31398"/>
                        <a:gd name="connsiteY48" fmla="*/ 15012 h 64531"/>
                        <a:gd name="connsiteX49" fmla="*/ 26853 w 31398"/>
                        <a:gd name="connsiteY49" fmla="*/ 15550 h 64531"/>
                        <a:gd name="connsiteX50" fmla="*/ 27332 w 31398"/>
                        <a:gd name="connsiteY50" fmla="*/ 16088 h 64531"/>
                        <a:gd name="connsiteX51" fmla="*/ 27810 w 31398"/>
                        <a:gd name="connsiteY51" fmla="*/ 16626 h 64531"/>
                        <a:gd name="connsiteX52" fmla="*/ 28349 w 31398"/>
                        <a:gd name="connsiteY52" fmla="*/ 17105 h 64531"/>
                        <a:gd name="connsiteX53" fmla="*/ 31399 w 31398"/>
                        <a:gd name="connsiteY53" fmla="*/ 20753 h 64531"/>
                        <a:gd name="connsiteX54" fmla="*/ 31339 w 31398"/>
                        <a:gd name="connsiteY54" fmla="*/ 19975 h 64531"/>
                        <a:gd name="connsiteX55" fmla="*/ 31279 w 31398"/>
                        <a:gd name="connsiteY55" fmla="*/ 19198 h 64531"/>
                        <a:gd name="connsiteX56" fmla="*/ 31160 w 31398"/>
                        <a:gd name="connsiteY56" fmla="*/ 18420 h 64531"/>
                        <a:gd name="connsiteX57" fmla="*/ 31040 w 31398"/>
                        <a:gd name="connsiteY57" fmla="*/ 17643 h 64531"/>
                        <a:gd name="connsiteX58" fmla="*/ 30920 w 31398"/>
                        <a:gd name="connsiteY58" fmla="*/ 17225 h 64531"/>
                        <a:gd name="connsiteX59" fmla="*/ 30801 w 31398"/>
                        <a:gd name="connsiteY59" fmla="*/ 16806 h 64531"/>
                        <a:gd name="connsiteX60" fmla="*/ 30681 w 31398"/>
                        <a:gd name="connsiteY60" fmla="*/ 16387 h 64531"/>
                        <a:gd name="connsiteX61" fmla="*/ 30561 w 31398"/>
                        <a:gd name="connsiteY61" fmla="*/ 15968 h 64531"/>
                        <a:gd name="connsiteX62" fmla="*/ 29485 w 31398"/>
                        <a:gd name="connsiteY62" fmla="*/ 13217 h 64531"/>
                        <a:gd name="connsiteX63" fmla="*/ 27930 w 31398"/>
                        <a:gd name="connsiteY63" fmla="*/ 10526 h 64531"/>
                        <a:gd name="connsiteX64" fmla="*/ 25956 w 31398"/>
                        <a:gd name="connsiteY64" fmla="*/ 7895 h 64531"/>
                        <a:gd name="connsiteX65" fmla="*/ 23504 w 31398"/>
                        <a:gd name="connsiteY65" fmla="*/ 5323 h 64531"/>
                        <a:gd name="connsiteX66" fmla="*/ 22787 w 31398"/>
                        <a:gd name="connsiteY66" fmla="*/ 6220 h 64531"/>
                        <a:gd name="connsiteX67" fmla="*/ 24820 w 31398"/>
                        <a:gd name="connsiteY67" fmla="*/ 8373 h 64531"/>
                        <a:gd name="connsiteX68" fmla="*/ 26554 w 31398"/>
                        <a:gd name="connsiteY68" fmla="*/ 10526 h 64531"/>
                        <a:gd name="connsiteX69" fmla="*/ 27930 w 31398"/>
                        <a:gd name="connsiteY69" fmla="*/ 12739 h 64531"/>
                        <a:gd name="connsiteX70" fmla="*/ 29006 w 31398"/>
                        <a:gd name="connsiteY70" fmla="*/ 14952 h 64531"/>
                        <a:gd name="connsiteX71" fmla="*/ 29186 w 31398"/>
                        <a:gd name="connsiteY71" fmla="*/ 15370 h 64531"/>
                        <a:gd name="connsiteX72" fmla="*/ 29365 w 31398"/>
                        <a:gd name="connsiteY72" fmla="*/ 15789 h 64531"/>
                        <a:gd name="connsiteX73" fmla="*/ 29545 w 31398"/>
                        <a:gd name="connsiteY73" fmla="*/ 16267 h 64531"/>
                        <a:gd name="connsiteX74" fmla="*/ 29665 w 31398"/>
                        <a:gd name="connsiteY74" fmla="*/ 16746 h 64531"/>
                        <a:gd name="connsiteX75" fmla="*/ 29844 w 31398"/>
                        <a:gd name="connsiteY75" fmla="*/ 17344 h 64531"/>
                        <a:gd name="connsiteX76" fmla="*/ 30023 w 31398"/>
                        <a:gd name="connsiteY76" fmla="*/ 18002 h 64531"/>
                        <a:gd name="connsiteX77" fmla="*/ 30143 w 31398"/>
                        <a:gd name="connsiteY77" fmla="*/ 18660 h 64531"/>
                        <a:gd name="connsiteX78" fmla="*/ 30262 w 31398"/>
                        <a:gd name="connsiteY78" fmla="*/ 19318 h 64531"/>
                        <a:gd name="connsiteX79" fmla="*/ 30561 w 31398"/>
                        <a:gd name="connsiteY79" fmla="*/ 19676 h 64531"/>
                        <a:gd name="connsiteX80" fmla="*/ 30860 w 31398"/>
                        <a:gd name="connsiteY80" fmla="*/ 20035 h 64531"/>
                        <a:gd name="connsiteX81" fmla="*/ 31160 w 31398"/>
                        <a:gd name="connsiteY81" fmla="*/ 20394 h 64531"/>
                        <a:gd name="connsiteX82" fmla="*/ 31399 w 31398"/>
                        <a:gd name="connsiteY82" fmla="*/ 20753 h 64531"/>
                        <a:gd name="connsiteX83" fmla="*/ 29126 w 31398"/>
                        <a:gd name="connsiteY83" fmla="*/ 21949 h 64531"/>
                        <a:gd name="connsiteX84" fmla="*/ 29126 w 31398"/>
                        <a:gd name="connsiteY84" fmla="*/ 21291 h 64531"/>
                        <a:gd name="connsiteX85" fmla="*/ 29066 w 31398"/>
                        <a:gd name="connsiteY85" fmla="*/ 20633 h 64531"/>
                        <a:gd name="connsiteX86" fmla="*/ 29006 w 31398"/>
                        <a:gd name="connsiteY86" fmla="*/ 19975 h 64531"/>
                        <a:gd name="connsiteX87" fmla="*/ 28887 w 31398"/>
                        <a:gd name="connsiteY87" fmla="*/ 19318 h 64531"/>
                        <a:gd name="connsiteX88" fmla="*/ 28528 w 31398"/>
                        <a:gd name="connsiteY88" fmla="*/ 18899 h 64531"/>
                        <a:gd name="connsiteX89" fmla="*/ 28169 w 31398"/>
                        <a:gd name="connsiteY89" fmla="*/ 18480 h 64531"/>
                        <a:gd name="connsiteX90" fmla="*/ 27810 w 31398"/>
                        <a:gd name="connsiteY90" fmla="*/ 18062 h 64531"/>
                        <a:gd name="connsiteX91" fmla="*/ 27451 w 31398"/>
                        <a:gd name="connsiteY91" fmla="*/ 17643 h 64531"/>
                        <a:gd name="connsiteX92" fmla="*/ 27631 w 31398"/>
                        <a:gd name="connsiteY92" fmla="*/ 18361 h 64531"/>
                        <a:gd name="connsiteX93" fmla="*/ 27810 w 31398"/>
                        <a:gd name="connsiteY93" fmla="*/ 19079 h 64531"/>
                        <a:gd name="connsiteX94" fmla="*/ 27930 w 31398"/>
                        <a:gd name="connsiteY94" fmla="*/ 19796 h 64531"/>
                        <a:gd name="connsiteX95" fmla="*/ 28050 w 31398"/>
                        <a:gd name="connsiteY95" fmla="*/ 20514 h 64531"/>
                        <a:gd name="connsiteX96" fmla="*/ 28349 w 31398"/>
                        <a:gd name="connsiteY96" fmla="*/ 20873 h 64531"/>
                        <a:gd name="connsiteX97" fmla="*/ 28648 w 31398"/>
                        <a:gd name="connsiteY97" fmla="*/ 21231 h 64531"/>
                        <a:gd name="connsiteX98" fmla="*/ 28946 w 31398"/>
                        <a:gd name="connsiteY98" fmla="*/ 21590 h 64531"/>
                        <a:gd name="connsiteX99" fmla="*/ 29126 w 31398"/>
                        <a:gd name="connsiteY99" fmla="*/ 21949 h 64531"/>
                        <a:gd name="connsiteX100" fmla="*/ 31160 w 31398"/>
                        <a:gd name="connsiteY100" fmla="*/ 24880 h 64531"/>
                        <a:gd name="connsiteX101" fmla="*/ 31219 w 31398"/>
                        <a:gd name="connsiteY101" fmla="*/ 24342 h 64531"/>
                        <a:gd name="connsiteX102" fmla="*/ 31279 w 31398"/>
                        <a:gd name="connsiteY102" fmla="*/ 23803 h 64531"/>
                        <a:gd name="connsiteX103" fmla="*/ 31339 w 31398"/>
                        <a:gd name="connsiteY103" fmla="*/ 23265 h 64531"/>
                        <a:gd name="connsiteX104" fmla="*/ 31399 w 31398"/>
                        <a:gd name="connsiteY104" fmla="*/ 22727 h 64531"/>
                        <a:gd name="connsiteX105" fmla="*/ 31160 w 31398"/>
                        <a:gd name="connsiteY105" fmla="*/ 22368 h 64531"/>
                        <a:gd name="connsiteX106" fmla="*/ 30920 w 31398"/>
                        <a:gd name="connsiteY106" fmla="*/ 22009 h 64531"/>
                        <a:gd name="connsiteX107" fmla="*/ 30681 w 31398"/>
                        <a:gd name="connsiteY107" fmla="*/ 21650 h 64531"/>
                        <a:gd name="connsiteX108" fmla="*/ 30442 w 31398"/>
                        <a:gd name="connsiteY108" fmla="*/ 21291 h 64531"/>
                        <a:gd name="connsiteX109" fmla="*/ 30442 w 31398"/>
                        <a:gd name="connsiteY109" fmla="*/ 21530 h 64531"/>
                        <a:gd name="connsiteX110" fmla="*/ 30442 w 31398"/>
                        <a:gd name="connsiteY110" fmla="*/ 21770 h 64531"/>
                        <a:gd name="connsiteX111" fmla="*/ 30442 w 31398"/>
                        <a:gd name="connsiteY111" fmla="*/ 22009 h 64531"/>
                        <a:gd name="connsiteX112" fmla="*/ 30442 w 31398"/>
                        <a:gd name="connsiteY112" fmla="*/ 22248 h 64531"/>
                        <a:gd name="connsiteX113" fmla="*/ 30442 w 31398"/>
                        <a:gd name="connsiteY113" fmla="*/ 22607 h 64531"/>
                        <a:gd name="connsiteX114" fmla="*/ 30442 w 31398"/>
                        <a:gd name="connsiteY114" fmla="*/ 22966 h 64531"/>
                        <a:gd name="connsiteX115" fmla="*/ 30442 w 31398"/>
                        <a:gd name="connsiteY115" fmla="*/ 23325 h 64531"/>
                        <a:gd name="connsiteX116" fmla="*/ 30442 w 31398"/>
                        <a:gd name="connsiteY116" fmla="*/ 23683 h 64531"/>
                        <a:gd name="connsiteX117" fmla="*/ 30681 w 31398"/>
                        <a:gd name="connsiteY117" fmla="*/ 23983 h 64531"/>
                        <a:gd name="connsiteX118" fmla="*/ 30860 w 31398"/>
                        <a:gd name="connsiteY118" fmla="*/ 24282 h 64531"/>
                        <a:gd name="connsiteX119" fmla="*/ 31040 w 31398"/>
                        <a:gd name="connsiteY119" fmla="*/ 24581 h 64531"/>
                        <a:gd name="connsiteX120" fmla="*/ 31160 w 31398"/>
                        <a:gd name="connsiteY120" fmla="*/ 24880 h 64531"/>
                        <a:gd name="connsiteX121" fmla="*/ 14354 w 31398"/>
                        <a:gd name="connsiteY121" fmla="*/ 49939 h 64531"/>
                        <a:gd name="connsiteX122" fmla="*/ 15131 w 31398"/>
                        <a:gd name="connsiteY122" fmla="*/ 50417 h 64531"/>
                        <a:gd name="connsiteX123" fmla="*/ 16926 w 31398"/>
                        <a:gd name="connsiteY123" fmla="*/ 48444 h 64531"/>
                        <a:gd name="connsiteX124" fmla="*/ 18660 w 31398"/>
                        <a:gd name="connsiteY124" fmla="*/ 46470 h 64531"/>
                        <a:gd name="connsiteX125" fmla="*/ 20394 w 31398"/>
                        <a:gd name="connsiteY125" fmla="*/ 44497 h 64531"/>
                        <a:gd name="connsiteX126" fmla="*/ 22009 w 31398"/>
                        <a:gd name="connsiteY126" fmla="*/ 42523 h 64531"/>
                        <a:gd name="connsiteX127" fmla="*/ 22189 w 31398"/>
                        <a:gd name="connsiteY127" fmla="*/ 42284 h 64531"/>
                        <a:gd name="connsiteX128" fmla="*/ 22368 w 31398"/>
                        <a:gd name="connsiteY128" fmla="*/ 42044 h 64531"/>
                        <a:gd name="connsiteX129" fmla="*/ 22547 w 31398"/>
                        <a:gd name="connsiteY129" fmla="*/ 41805 h 64531"/>
                        <a:gd name="connsiteX130" fmla="*/ 22727 w 31398"/>
                        <a:gd name="connsiteY130" fmla="*/ 41566 h 64531"/>
                        <a:gd name="connsiteX131" fmla="*/ 23624 w 31398"/>
                        <a:gd name="connsiteY131" fmla="*/ 40430 h 64531"/>
                        <a:gd name="connsiteX132" fmla="*/ 24461 w 31398"/>
                        <a:gd name="connsiteY132" fmla="*/ 39293 h 64531"/>
                        <a:gd name="connsiteX133" fmla="*/ 25298 w 31398"/>
                        <a:gd name="connsiteY133" fmla="*/ 38157 h 64531"/>
                        <a:gd name="connsiteX134" fmla="*/ 26076 w 31398"/>
                        <a:gd name="connsiteY134" fmla="*/ 36961 h 64531"/>
                        <a:gd name="connsiteX135" fmla="*/ 26255 w 31398"/>
                        <a:gd name="connsiteY135" fmla="*/ 36721 h 64531"/>
                        <a:gd name="connsiteX136" fmla="*/ 26435 w 31398"/>
                        <a:gd name="connsiteY136" fmla="*/ 36482 h 64531"/>
                        <a:gd name="connsiteX137" fmla="*/ 26554 w 31398"/>
                        <a:gd name="connsiteY137" fmla="*/ 36243 h 64531"/>
                        <a:gd name="connsiteX138" fmla="*/ 26674 w 31398"/>
                        <a:gd name="connsiteY138" fmla="*/ 36004 h 64531"/>
                        <a:gd name="connsiteX139" fmla="*/ 26853 w 31398"/>
                        <a:gd name="connsiteY139" fmla="*/ 35705 h 64531"/>
                        <a:gd name="connsiteX140" fmla="*/ 27033 w 31398"/>
                        <a:gd name="connsiteY140" fmla="*/ 35406 h 64531"/>
                        <a:gd name="connsiteX141" fmla="*/ 27212 w 31398"/>
                        <a:gd name="connsiteY141" fmla="*/ 35107 h 64531"/>
                        <a:gd name="connsiteX142" fmla="*/ 27392 w 31398"/>
                        <a:gd name="connsiteY142" fmla="*/ 34808 h 64531"/>
                        <a:gd name="connsiteX143" fmla="*/ 27511 w 31398"/>
                        <a:gd name="connsiteY143" fmla="*/ 34568 h 64531"/>
                        <a:gd name="connsiteX144" fmla="*/ 27631 w 31398"/>
                        <a:gd name="connsiteY144" fmla="*/ 34329 h 64531"/>
                        <a:gd name="connsiteX145" fmla="*/ 27751 w 31398"/>
                        <a:gd name="connsiteY145" fmla="*/ 34090 h 64531"/>
                        <a:gd name="connsiteX146" fmla="*/ 27870 w 31398"/>
                        <a:gd name="connsiteY146" fmla="*/ 33851 h 64531"/>
                        <a:gd name="connsiteX147" fmla="*/ 28289 w 31398"/>
                        <a:gd name="connsiteY147" fmla="*/ 33073 h 64531"/>
                        <a:gd name="connsiteX148" fmla="*/ 28648 w 31398"/>
                        <a:gd name="connsiteY148" fmla="*/ 32296 h 64531"/>
                        <a:gd name="connsiteX149" fmla="*/ 29006 w 31398"/>
                        <a:gd name="connsiteY149" fmla="*/ 31518 h 64531"/>
                        <a:gd name="connsiteX150" fmla="*/ 29365 w 31398"/>
                        <a:gd name="connsiteY150" fmla="*/ 30741 h 64531"/>
                        <a:gd name="connsiteX151" fmla="*/ 29485 w 31398"/>
                        <a:gd name="connsiteY151" fmla="*/ 30502 h 64531"/>
                        <a:gd name="connsiteX152" fmla="*/ 29605 w 31398"/>
                        <a:gd name="connsiteY152" fmla="*/ 30262 h 64531"/>
                        <a:gd name="connsiteX153" fmla="*/ 29724 w 31398"/>
                        <a:gd name="connsiteY153" fmla="*/ 30023 h 64531"/>
                        <a:gd name="connsiteX154" fmla="*/ 29844 w 31398"/>
                        <a:gd name="connsiteY154" fmla="*/ 29784 h 64531"/>
                        <a:gd name="connsiteX155" fmla="*/ 30143 w 31398"/>
                        <a:gd name="connsiteY155" fmla="*/ 29066 h 64531"/>
                        <a:gd name="connsiteX156" fmla="*/ 30382 w 31398"/>
                        <a:gd name="connsiteY156" fmla="*/ 28289 h 64531"/>
                        <a:gd name="connsiteX157" fmla="*/ 30621 w 31398"/>
                        <a:gd name="connsiteY157" fmla="*/ 27511 h 64531"/>
                        <a:gd name="connsiteX158" fmla="*/ 30801 w 31398"/>
                        <a:gd name="connsiteY158" fmla="*/ 26734 h 64531"/>
                        <a:gd name="connsiteX159" fmla="*/ 30801 w 31398"/>
                        <a:gd name="connsiteY159" fmla="*/ 26674 h 64531"/>
                        <a:gd name="connsiteX160" fmla="*/ 30801 w 31398"/>
                        <a:gd name="connsiteY160" fmla="*/ 26614 h 64531"/>
                        <a:gd name="connsiteX161" fmla="*/ 30801 w 31398"/>
                        <a:gd name="connsiteY161" fmla="*/ 26554 h 64531"/>
                        <a:gd name="connsiteX162" fmla="*/ 30801 w 31398"/>
                        <a:gd name="connsiteY162" fmla="*/ 26495 h 64531"/>
                        <a:gd name="connsiteX163" fmla="*/ 30621 w 31398"/>
                        <a:gd name="connsiteY163" fmla="*/ 26196 h 64531"/>
                        <a:gd name="connsiteX164" fmla="*/ 30442 w 31398"/>
                        <a:gd name="connsiteY164" fmla="*/ 25896 h 64531"/>
                        <a:gd name="connsiteX165" fmla="*/ 30262 w 31398"/>
                        <a:gd name="connsiteY165" fmla="*/ 25597 h 64531"/>
                        <a:gd name="connsiteX166" fmla="*/ 30083 w 31398"/>
                        <a:gd name="connsiteY166" fmla="*/ 25298 h 64531"/>
                        <a:gd name="connsiteX167" fmla="*/ 30023 w 31398"/>
                        <a:gd name="connsiteY167" fmla="*/ 25537 h 64531"/>
                        <a:gd name="connsiteX168" fmla="*/ 29963 w 31398"/>
                        <a:gd name="connsiteY168" fmla="*/ 25777 h 64531"/>
                        <a:gd name="connsiteX169" fmla="*/ 29904 w 31398"/>
                        <a:gd name="connsiteY169" fmla="*/ 26016 h 64531"/>
                        <a:gd name="connsiteX170" fmla="*/ 29844 w 31398"/>
                        <a:gd name="connsiteY170" fmla="*/ 26255 h 64531"/>
                        <a:gd name="connsiteX171" fmla="*/ 29665 w 31398"/>
                        <a:gd name="connsiteY171" fmla="*/ 27033 h 64531"/>
                        <a:gd name="connsiteX172" fmla="*/ 29425 w 31398"/>
                        <a:gd name="connsiteY172" fmla="*/ 27810 h 64531"/>
                        <a:gd name="connsiteX173" fmla="*/ 29186 w 31398"/>
                        <a:gd name="connsiteY173" fmla="*/ 28588 h 64531"/>
                        <a:gd name="connsiteX174" fmla="*/ 28946 w 31398"/>
                        <a:gd name="connsiteY174" fmla="*/ 29365 h 64531"/>
                        <a:gd name="connsiteX175" fmla="*/ 28827 w 31398"/>
                        <a:gd name="connsiteY175" fmla="*/ 29604 h 64531"/>
                        <a:gd name="connsiteX176" fmla="*/ 28707 w 31398"/>
                        <a:gd name="connsiteY176" fmla="*/ 29844 h 64531"/>
                        <a:gd name="connsiteX177" fmla="*/ 28588 w 31398"/>
                        <a:gd name="connsiteY177" fmla="*/ 30083 h 64531"/>
                        <a:gd name="connsiteX178" fmla="*/ 28468 w 31398"/>
                        <a:gd name="connsiteY178" fmla="*/ 30322 h 64531"/>
                        <a:gd name="connsiteX179" fmla="*/ 28169 w 31398"/>
                        <a:gd name="connsiteY179" fmla="*/ 31099 h 64531"/>
                        <a:gd name="connsiteX180" fmla="*/ 27810 w 31398"/>
                        <a:gd name="connsiteY180" fmla="*/ 31877 h 64531"/>
                        <a:gd name="connsiteX181" fmla="*/ 27451 w 31398"/>
                        <a:gd name="connsiteY181" fmla="*/ 32655 h 64531"/>
                        <a:gd name="connsiteX182" fmla="*/ 27033 w 31398"/>
                        <a:gd name="connsiteY182" fmla="*/ 33432 h 64531"/>
                        <a:gd name="connsiteX183" fmla="*/ 26913 w 31398"/>
                        <a:gd name="connsiteY183" fmla="*/ 33671 h 64531"/>
                        <a:gd name="connsiteX184" fmla="*/ 26794 w 31398"/>
                        <a:gd name="connsiteY184" fmla="*/ 33911 h 64531"/>
                        <a:gd name="connsiteX185" fmla="*/ 26674 w 31398"/>
                        <a:gd name="connsiteY185" fmla="*/ 34150 h 64531"/>
                        <a:gd name="connsiteX186" fmla="*/ 26554 w 31398"/>
                        <a:gd name="connsiteY186" fmla="*/ 34389 h 64531"/>
                        <a:gd name="connsiteX187" fmla="*/ 26375 w 31398"/>
                        <a:gd name="connsiteY187" fmla="*/ 34748 h 64531"/>
                        <a:gd name="connsiteX188" fmla="*/ 26196 w 31398"/>
                        <a:gd name="connsiteY188" fmla="*/ 35047 h 64531"/>
                        <a:gd name="connsiteX189" fmla="*/ 26016 w 31398"/>
                        <a:gd name="connsiteY189" fmla="*/ 35346 h 64531"/>
                        <a:gd name="connsiteX190" fmla="*/ 25837 w 31398"/>
                        <a:gd name="connsiteY190" fmla="*/ 35645 h 64531"/>
                        <a:gd name="connsiteX191" fmla="*/ 25717 w 31398"/>
                        <a:gd name="connsiteY191" fmla="*/ 35884 h 64531"/>
                        <a:gd name="connsiteX192" fmla="*/ 25597 w 31398"/>
                        <a:gd name="connsiteY192" fmla="*/ 36123 h 64531"/>
                        <a:gd name="connsiteX193" fmla="*/ 25418 w 31398"/>
                        <a:gd name="connsiteY193" fmla="*/ 36363 h 64531"/>
                        <a:gd name="connsiteX194" fmla="*/ 25238 w 31398"/>
                        <a:gd name="connsiteY194" fmla="*/ 36602 h 64531"/>
                        <a:gd name="connsiteX195" fmla="*/ 24461 w 31398"/>
                        <a:gd name="connsiteY195" fmla="*/ 37798 h 64531"/>
                        <a:gd name="connsiteX196" fmla="*/ 23624 w 31398"/>
                        <a:gd name="connsiteY196" fmla="*/ 38994 h 64531"/>
                        <a:gd name="connsiteX197" fmla="*/ 22787 w 31398"/>
                        <a:gd name="connsiteY197" fmla="*/ 40130 h 64531"/>
                        <a:gd name="connsiteX198" fmla="*/ 21889 w 31398"/>
                        <a:gd name="connsiteY198" fmla="*/ 41267 h 64531"/>
                        <a:gd name="connsiteX199" fmla="*/ 21710 w 31398"/>
                        <a:gd name="connsiteY199" fmla="*/ 41506 h 64531"/>
                        <a:gd name="connsiteX200" fmla="*/ 21530 w 31398"/>
                        <a:gd name="connsiteY200" fmla="*/ 41745 h 64531"/>
                        <a:gd name="connsiteX201" fmla="*/ 21351 w 31398"/>
                        <a:gd name="connsiteY201" fmla="*/ 41984 h 64531"/>
                        <a:gd name="connsiteX202" fmla="*/ 21172 w 31398"/>
                        <a:gd name="connsiteY202" fmla="*/ 42224 h 64531"/>
                        <a:gd name="connsiteX203" fmla="*/ 19557 w 31398"/>
                        <a:gd name="connsiteY203" fmla="*/ 44197 h 64531"/>
                        <a:gd name="connsiteX204" fmla="*/ 17822 w 31398"/>
                        <a:gd name="connsiteY204" fmla="*/ 46171 h 64531"/>
                        <a:gd name="connsiteX205" fmla="*/ 16088 w 31398"/>
                        <a:gd name="connsiteY205" fmla="*/ 48145 h 64531"/>
                        <a:gd name="connsiteX206" fmla="*/ 14354 w 31398"/>
                        <a:gd name="connsiteY206" fmla="*/ 49939 h 64531"/>
                        <a:gd name="connsiteX207" fmla="*/ 12619 w 31398"/>
                        <a:gd name="connsiteY207" fmla="*/ 48803 h 64531"/>
                        <a:gd name="connsiteX208" fmla="*/ 13397 w 31398"/>
                        <a:gd name="connsiteY208" fmla="*/ 49281 h 64531"/>
                        <a:gd name="connsiteX209" fmla="*/ 15191 w 31398"/>
                        <a:gd name="connsiteY209" fmla="*/ 47307 h 64531"/>
                        <a:gd name="connsiteX210" fmla="*/ 16926 w 31398"/>
                        <a:gd name="connsiteY210" fmla="*/ 45334 h 64531"/>
                        <a:gd name="connsiteX211" fmla="*/ 18660 w 31398"/>
                        <a:gd name="connsiteY211" fmla="*/ 43360 h 64531"/>
                        <a:gd name="connsiteX212" fmla="*/ 20275 w 31398"/>
                        <a:gd name="connsiteY212" fmla="*/ 41386 h 64531"/>
                        <a:gd name="connsiteX213" fmla="*/ 20454 w 31398"/>
                        <a:gd name="connsiteY213" fmla="*/ 41147 h 64531"/>
                        <a:gd name="connsiteX214" fmla="*/ 20634 w 31398"/>
                        <a:gd name="connsiteY214" fmla="*/ 40908 h 64531"/>
                        <a:gd name="connsiteX215" fmla="*/ 20813 w 31398"/>
                        <a:gd name="connsiteY215" fmla="*/ 40669 h 64531"/>
                        <a:gd name="connsiteX216" fmla="*/ 20992 w 31398"/>
                        <a:gd name="connsiteY216" fmla="*/ 40430 h 64531"/>
                        <a:gd name="connsiteX217" fmla="*/ 21889 w 31398"/>
                        <a:gd name="connsiteY217" fmla="*/ 39293 h 64531"/>
                        <a:gd name="connsiteX218" fmla="*/ 22727 w 31398"/>
                        <a:gd name="connsiteY218" fmla="*/ 38097 h 64531"/>
                        <a:gd name="connsiteX219" fmla="*/ 23564 w 31398"/>
                        <a:gd name="connsiteY219" fmla="*/ 36901 h 64531"/>
                        <a:gd name="connsiteX220" fmla="*/ 24342 w 31398"/>
                        <a:gd name="connsiteY220" fmla="*/ 35705 h 64531"/>
                        <a:gd name="connsiteX221" fmla="*/ 24521 w 31398"/>
                        <a:gd name="connsiteY221" fmla="*/ 35466 h 64531"/>
                        <a:gd name="connsiteX222" fmla="*/ 24641 w 31398"/>
                        <a:gd name="connsiteY222" fmla="*/ 35226 h 64531"/>
                        <a:gd name="connsiteX223" fmla="*/ 24760 w 31398"/>
                        <a:gd name="connsiteY223" fmla="*/ 34987 h 64531"/>
                        <a:gd name="connsiteX224" fmla="*/ 24880 w 31398"/>
                        <a:gd name="connsiteY224" fmla="*/ 34748 h 64531"/>
                        <a:gd name="connsiteX225" fmla="*/ 25059 w 31398"/>
                        <a:gd name="connsiteY225" fmla="*/ 34389 h 64531"/>
                        <a:gd name="connsiteX226" fmla="*/ 25238 w 31398"/>
                        <a:gd name="connsiteY226" fmla="*/ 34030 h 64531"/>
                        <a:gd name="connsiteX227" fmla="*/ 25418 w 31398"/>
                        <a:gd name="connsiteY227" fmla="*/ 33671 h 64531"/>
                        <a:gd name="connsiteX228" fmla="*/ 25597 w 31398"/>
                        <a:gd name="connsiteY228" fmla="*/ 33313 h 64531"/>
                        <a:gd name="connsiteX229" fmla="*/ 25717 w 31398"/>
                        <a:gd name="connsiteY229" fmla="*/ 33073 h 64531"/>
                        <a:gd name="connsiteX230" fmla="*/ 25837 w 31398"/>
                        <a:gd name="connsiteY230" fmla="*/ 32834 h 64531"/>
                        <a:gd name="connsiteX231" fmla="*/ 25956 w 31398"/>
                        <a:gd name="connsiteY231" fmla="*/ 32595 h 64531"/>
                        <a:gd name="connsiteX232" fmla="*/ 26076 w 31398"/>
                        <a:gd name="connsiteY232" fmla="*/ 32356 h 64531"/>
                        <a:gd name="connsiteX233" fmla="*/ 26435 w 31398"/>
                        <a:gd name="connsiteY233" fmla="*/ 31578 h 64531"/>
                        <a:gd name="connsiteX234" fmla="*/ 26794 w 31398"/>
                        <a:gd name="connsiteY234" fmla="*/ 30800 h 64531"/>
                        <a:gd name="connsiteX235" fmla="*/ 27152 w 31398"/>
                        <a:gd name="connsiteY235" fmla="*/ 30023 h 64531"/>
                        <a:gd name="connsiteX236" fmla="*/ 27451 w 31398"/>
                        <a:gd name="connsiteY236" fmla="*/ 29245 h 64531"/>
                        <a:gd name="connsiteX237" fmla="*/ 27571 w 31398"/>
                        <a:gd name="connsiteY237" fmla="*/ 29006 h 64531"/>
                        <a:gd name="connsiteX238" fmla="*/ 27691 w 31398"/>
                        <a:gd name="connsiteY238" fmla="*/ 28767 h 64531"/>
                        <a:gd name="connsiteX239" fmla="*/ 27810 w 31398"/>
                        <a:gd name="connsiteY239" fmla="*/ 28528 h 64531"/>
                        <a:gd name="connsiteX240" fmla="*/ 27930 w 31398"/>
                        <a:gd name="connsiteY240" fmla="*/ 28289 h 64531"/>
                        <a:gd name="connsiteX241" fmla="*/ 28169 w 31398"/>
                        <a:gd name="connsiteY241" fmla="*/ 27511 h 64531"/>
                        <a:gd name="connsiteX242" fmla="*/ 28408 w 31398"/>
                        <a:gd name="connsiteY242" fmla="*/ 26734 h 64531"/>
                        <a:gd name="connsiteX243" fmla="*/ 28588 w 31398"/>
                        <a:gd name="connsiteY243" fmla="*/ 25956 h 64531"/>
                        <a:gd name="connsiteX244" fmla="*/ 28767 w 31398"/>
                        <a:gd name="connsiteY244" fmla="*/ 25179 h 64531"/>
                        <a:gd name="connsiteX245" fmla="*/ 28827 w 31398"/>
                        <a:gd name="connsiteY245" fmla="*/ 24880 h 64531"/>
                        <a:gd name="connsiteX246" fmla="*/ 28887 w 31398"/>
                        <a:gd name="connsiteY246" fmla="*/ 24581 h 64531"/>
                        <a:gd name="connsiteX247" fmla="*/ 28946 w 31398"/>
                        <a:gd name="connsiteY247" fmla="*/ 24282 h 64531"/>
                        <a:gd name="connsiteX248" fmla="*/ 29006 w 31398"/>
                        <a:gd name="connsiteY248" fmla="*/ 23983 h 64531"/>
                        <a:gd name="connsiteX249" fmla="*/ 29006 w 31398"/>
                        <a:gd name="connsiteY249" fmla="*/ 23863 h 64531"/>
                        <a:gd name="connsiteX250" fmla="*/ 29006 w 31398"/>
                        <a:gd name="connsiteY250" fmla="*/ 23743 h 64531"/>
                        <a:gd name="connsiteX251" fmla="*/ 29006 w 31398"/>
                        <a:gd name="connsiteY251" fmla="*/ 23624 h 64531"/>
                        <a:gd name="connsiteX252" fmla="*/ 29006 w 31398"/>
                        <a:gd name="connsiteY252" fmla="*/ 23504 h 64531"/>
                        <a:gd name="connsiteX253" fmla="*/ 28767 w 31398"/>
                        <a:gd name="connsiteY253" fmla="*/ 23205 h 64531"/>
                        <a:gd name="connsiteX254" fmla="*/ 28528 w 31398"/>
                        <a:gd name="connsiteY254" fmla="*/ 22906 h 64531"/>
                        <a:gd name="connsiteX255" fmla="*/ 28289 w 31398"/>
                        <a:gd name="connsiteY255" fmla="*/ 22607 h 64531"/>
                        <a:gd name="connsiteX256" fmla="*/ 28050 w 31398"/>
                        <a:gd name="connsiteY256" fmla="*/ 22308 h 64531"/>
                        <a:gd name="connsiteX257" fmla="*/ 28050 w 31398"/>
                        <a:gd name="connsiteY257" fmla="*/ 22368 h 64531"/>
                        <a:gd name="connsiteX258" fmla="*/ 28050 w 31398"/>
                        <a:gd name="connsiteY258" fmla="*/ 22428 h 64531"/>
                        <a:gd name="connsiteX259" fmla="*/ 28050 w 31398"/>
                        <a:gd name="connsiteY259" fmla="*/ 22488 h 64531"/>
                        <a:gd name="connsiteX260" fmla="*/ 28050 w 31398"/>
                        <a:gd name="connsiteY260" fmla="*/ 22547 h 64531"/>
                        <a:gd name="connsiteX261" fmla="*/ 28050 w 31398"/>
                        <a:gd name="connsiteY261" fmla="*/ 22727 h 64531"/>
                        <a:gd name="connsiteX262" fmla="*/ 28050 w 31398"/>
                        <a:gd name="connsiteY262" fmla="*/ 22906 h 64531"/>
                        <a:gd name="connsiteX263" fmla="*/ 28050 w 31398"/>
                        <a:gd name="connsiteY263" fmla="*/ 23085 h 64531"/>
                        <a:gd name="connsiteX264" fmla="*/ 28050 w 31398"/>
                        <a:gd name="connsiteY264" fmla="*/ 23265 h 64531"/>
                        <a:gd name="connsiteX265" fmla="*/ 28050 w 31398"/>
                        <a:gd name="connsiteY265" fmla="*/ 23564 h 64531"/>
                        <a:gd name="connsiteX266" fmla="*/ 27990 w 31398"/>
                        <a:gd name="connsiteY266" fmla="*/ 23863 h 64531"/>
                        <a:gd name="connsiteX267" fmla="*/ 27930 w 31398"/>
                        <a:gd name="connsiteY267" fmla="*/ 24162 h 64531"/>
                        <a:gd name="connsiteX268" fmla="*/ 27870 w 31398"/>
                        <a:gd name="connsiteY268" fmla="*/ 24461 h 64531"/>
                        <a:gd name="connsiteX269" fmla="*/ 27751 w 31398"/>
                        <a:gd name="connsiteY269" fmla="*/ 25238 h 64531"/>
                        <a:gd name="connsiteX270" fmla="*/ 27571 w 31398"/>
                        <a:gd name="connsiteY270" fmla="*/ 26016 h 64531"/>
                        <a:gd name="connsiteX271" fmla="*/ 27392 w 31398"/>
                        <a:gd name="connsiteY271" fmla="*/ 26794 h 64531"/>
                        <a:gd name="connsiteX272" fmla="*/ 27152 w 31398"/>
                        <a:gd name="connsiteY272" fmla="*/ 27571 h 64531"/>
                        <a:gd name="connsiteX273" fmla="*/ 27092 w 31398"/>
                        <a:gd name="connsiteY273" fmla="*/ 27810 h 64531"/>
                        <a:gd name="connsiteX274" fmla="*/ 27033 w 31398"/>
                        <a:gd name="connsiteY274" fmla="*/ 28050 h 64531"/>
                        <a:gd name="connsiteX275" fmla="*/ 26913 w 31398"/>
                        <a:gd name="connsiteY275" fmla="*/ 28289 h 64531"/>
                        <a:gd name="connsiteX276" fmla="*/ 26794 w 31398"/>
                        <a:gd name="connsiteY276" fmla="*/ 28528 h 64531"/>
                        <a:gd name="connsiteX277" fmla="*/ 26495 w 31398"/>
                        <a:gd name="connsiteY277" fmla="*/ 29305 h 64531"/>
                        <a:gd name="connsiteX278" fmla="*/ 26196 w 31398"/>
                        <a:gd name="connsiteY278" fmla="*/ 30083 h 64531"/>
                        <a:gd name="connsiteX279" fmla="*/ 25837 w 31398"/>
                        <a:gd name="connsiteY279" fmla="*/ 30860 h 64531"/>
                        <a:gd name="connsiteX280" fmla="*/ 25478 w 31398"/>
                        <a:gd name="connsiteY280" fmla="*/ 31638 h 64531"/>
                        <a:gd name="connsiteX281" fmla="*/ 25358 w 31398"/>
                        <a:gd name="connsiteY281" fmla="*/ 31877 h 64531"/>
                        <a:gd name="connsiteX282" fmla="*/ 25238 w 31398"/>
                        <a:gd name="connsiteY282" fmla="*/ 32116 h 64531"/>
                        <a:gd name="connsiteX283" fmla="*/ 25119 w 31398"/>
                        <a:gd name="connsiteY283" fmla="*/ 32356 h 64531"/>
                        <a:gd name="connsiteX284" fmla="*/ 24999 w 31398"/>
                        <a:gd name="connsiteY284" fmla="*/ 32595 h 64531"/>
                        <a:gd name="connsiteX285" fmla="*/ 24820 w 31398"/>
                        <a:gd name="connsiteY285" fmla="*/ 32954 h 64531"/>
                        <a:gd name="connsiteX286" fmla="*/ 24641 w 31398"/>
                        <a:gd name="connsiteY286" fmla="*/ 33313 h 64531"/>
                        <a:gd name="connsiteX287" fmla="*/ 24461 w 31398"/>
                        <a:gd name="connsiteY287" fmla="*/ 33671 h 64531"/>
                        <a:gd name="connsiteX288" fmla="*/ 24282 w 31398"/>
                        <a:gd name="connsiteY288" fmla="*/ 34030 h 64531"/>
                        <a:gd name="connsiteX289" fmla="*/ 24162 w 31398"/>
                        <a:gd name="connsiteY289" fmla="*/ 34269 h 64531"/>
                        <a:gd name="connsiteX290" fmla="*/ 24043 w 31398"/>
                        <a:gd name="connsiteY290" fmla="*/ 34509 h 64531"/>
                        <a:gd name="connsiteX291" fmla="*/ 23923 w 31398"/>
                        <a:gd name="connsiteY291" fmla="*/ 34748 h 64531"/>
                        <a:gd name="connsiteX292" fmla="*/ 23743 w 31398"/>
                        <a:gd name="connsiteY292" fmla="*/ 34987 h 64531"/>
                        <a:gd name="connsiteX293" fmla="*/ 22966 w 31398"/>
                        <a:gd name="connsiteY293" fmla="*/ 36183 h 64531"/>
                        <a:gd name="connsiteX294" fmla="*/ 22129 w 31398"/>
                        <a:gd name="connsiteY294" fmla="*/ 37380 h 64531"/>
                        <a:gd name="connsiteX295" fmla="*/ 21291 w 31398"/>
                        <a:gd name="connsiteY295" fmla="*/ 38575 h 64531"/>
                        <a:gd name="connsiteX296" fmla="*/ 20394 w 31398"/>
                        <a:gd name="connsiteY296" fmla="*/ 39772 h 64531"/>
                        <a:gd name="connsiteX297" fmla="*/ 20215 w 31398"/>
                        <a:gd name="connsiteY297" fmla="*/ 40011 h 64531"/>
                        <a:gd name="connsiteX298" fmla="*/ 20035 w 31398"/>
                        <a:gd name="connsiteY298" fmla="*/ 40250 h 64531"/>
                        <a:gd name="connsiteX299" fmla="*/ 19856 w 31398"/>
                        <a:gd name="connsiteY299" fmla="*/ 40489 h 64531"/>
                        <a:gd name="connsiteX300" fmla="*/ 19676 w 31398"/>
                        <a:gd name="connsiteY300" fmla="*/ 40729 h 64531"/>
                        <a:gd name="connsiteX301" fmla="*/ 18062 w 31398"/>
                        <a:gd name="connsiteY301" fmla="*/ 42702 h 64531"/>
                        <a:gd name="connsiteX302" fmla="*/ 16327 w 31398"/>
                        <a:gd name="connsiteY302" fmla="*/ 44676 h 64531"/>
                        <a:gd name="connsiteX303" fmla="*/ 14533 w 31398"/>
                        <a:gd name="connsiteY303" fmla="*/ 46650 h 64531"/>
                        <a:gd name="connsiteX304" fmla="*/ 12619 w 31398"/>
                        <a:gd name="connsiteY304" fmla="*/ 48803 h 64531"/>
                        <a:gd name="connsiteX305" fmla="*/ 12260 w 31398"/>
                        <a:gd name="connsiteY305" fmla="*/ 52212 h 64531"/>
                        <a:gd name="connsiteX306" fmla="*/ 13038 w 31398"/>
                        <a:gd name="connsiteY306" fmla="*/ 52690 h 64531"/>
                        <a:gd name="connsiteX307" fmla="*/ 13397 w 31398"/>
                        <a:gd name="connsiteY307" fmla="*/ 52331 h 64531"/>
                        <a:gd name="connsiteX308" fmla="*/ 13756 w 31398"/>
                        <a:gd name="connsiteY308" fmla="*/ 51972 h 64531"/>
                        <a:gd name="connsiteX309" fmla="*/ 14114 w 31398"/>
                        <a:gd name="connsiteY309" fmla="*/ 51614 h 64531"/>
                        <a:gd name="connsiteX310" fmla="*/ 14473 w 31398"/>
                        <a:gd name="connsiteY310" fmla="*/ 51255 h 64531"/>
                        <a:gd name="connsiteX311" fmla="*/ 13696 w 31398"/>
                        <a:gd name="connsiteY311" fmla="*/ 50776 h 64531"/>
                        <a:gd name="connsiteX312" fmla="*/ 13337 w 31398"/>
                        <a:gd name="connsiteY312" fmla="*/ 51135 h 64531"/>
                        <a:gd name="connsiteX313" fmla="*/ 12978 w 31398"/>
                        <a:gd name="connsiteY313" fmla="*/ 51494 h 64531"/>
                        <a:gd name="connsiteX314" fmla="*/ 12619 w 31398"/>
                        <a:gd name="connsiteY314" fmla="*/ 51853 h 64531"/>
                        <a:gd name="connsiteX315" fmla="*/ 12260 w 31398"/>
                        <a:gd name="connsiteY315" fmla="*/ 52212 h 64531"/>
                        <a:gd name="connsiteX316" fmla="*/ 10526 w 31398"/>
                        <a:gd name="connsiteY316" fmla="*/ 51075 h 64531"/>
                        <a:gd name="connsiteX317" fmla="*/ 11304 w 31398"/>
                        <a:gd name="connsiteY317" fmla="*/ 51554 h 64531"/>
                        <a:gd name="connsiteX318" fmla="*/ 11662 w 31398"/>
                        <a:gd name="connsiteY318" fmla="*/ 51195 h 64531"/>
                        <a:gd name="connsiteX319" fmla="*/ 12021 w 31398"/>
                        <a:gd name="connsiteY319" fmla="*/ 50836 h 64531"/>
                        <a:gd name="connsiteX320" fmla="*/ 12380 w 31398"/>
                        <a:gd name="connsiteY320" fmla="*/ 50477 h 64531"/>
                        <a:gd name="connsiteX321" fmla="*/ 12739 w 31398"/>
                        <a:gd name="connsiteY321" fmla="*/ 50118 h 64531"/>
                        <a:gd name="connsiteX322" fmla="*/ 11961 w 31398"/>
                        <a:gd name="connsiteY322" fmla="*/ 49640 h 64531"/>
                        <a:gd name="connsiteX323" fmla="*/ 11603 w 31398"/>
                        <a:gd name="connsiteY323" fmla="*/ 49999 h 64531"/>
                        <a:gd name="connsiteX324" fmla="*/ 11244 w 31398"/>
                        <a:gd name="connsiteY324" fmla="*/ 50358 h 64531"/>
                        <a:gd name="connsiteX325" fmla="*/ 10885 w 31398"/>
                        <a:gd name="connsiteY325" fmla="*/ 50716 h 64531"/>
                        <a:gd name="connsiteX326" fmla="*/ 10526 w 31398"/>
                        <a:gd name="connsiteY326" fmla="*/ 51075 h 64531"/>
                        <a:gd name="connsiteX327" fmla="*/ 10287 w 31398"/>
                        <a:gd name="connsiteY327" fmla="*/ 54305 h 64531"/>
                        <a:gd name="connsiteX328" fmla="*/ 11064 w 31398"/>
                        <a:gd name="connsiteY328" fmla="*/ 54783 h 64531"/>
                        <a:gd name="connsiteX329" fmla="*/ 11304 w 31398"/>
                        <a:gd name="connsiteY329" fmla="*/ 54544 h 64531"/>
                        <a:gd name="connsiteX330" fmla="*/ 11543 w 31398"/>
                        <a:gd name="connsiteY330" fmla="*/ 54305 h 64531"/>
                        <a:gd name="connsiteX331" fmla="*/ 11782 w 31398"/>
                        <a:gd name="connsiteY331" fmla="*/ 54066 h 64531"/>
                        <a:gd name="connsiteX332" fmla="*/ 12021 w 31398"/>
                        <a:gd name="connsiteY332" fmla="*/ 53826 h 64531"/>
                        <a:gd name="connsiteX333" fmla="*/ 12081 w 31398"/>
                        <a:gd name="connsiteY333" fmla="*/ 53767 h 64531"/>
                        <a:gd name="connsiteX334" fmla="*/ 12141 w 31398"/>
                        <a:gd name="connsiteY334" fmla="*/ 53707 h 64531"/>
                        <a:gd name="connsiteX335" fmla="*/ 12201 w 31398"/>
                        <a:gd name="connsiteY335" fmla="*/ 53647 h 64531"/>
                        <a:gd name="connsiteX336" fmla="*/ 12260 w 31398"/>
                        <a:gd name="connsiteY336" fmla="*/ 53587 h 64531"/>
                        <a:gd name="connsiteX337" fmla="*/ 11483 w 31398"/>
                        <a:gd name="connsiteY337" fmla="*/ 53109 h 64531"/>
                        <a:gd name="connsiteX338" fmla="*/ 11483 w 31398"/>
                        <a:gd name="connsiteY338" fmla="*/ 53109 h 64531"/>
                        <a:gd name="connsiteX339" fmla="*/ 11483 w 31398"/>
                        <a:gd name="connsiteY339" fmla="*/ 53109 h 64531"/>
                        <a:gd name="connsiteX340" fmla="*/ 11483 w 31398"/>
                        <a:gd name="connsiteY340" fmla="*/ 53109 h 64531"/>
                        <a:gd name="connsiteX341" fmla="*/ 11483 w 31398"/>
                        <a:gd name="connsiteY341" fmla="*/ 53109 h 64531"/>
                        <a:gd name="connsiteX342" fmla="*/ 11184 w 31398"/>
                        <a:gd name="connsiteY342" fmla="*/ 53408 h 64531"/>
                        <a:gd name="connsiteX343" fmla="*/ 10885 w 31398"/>
                        <a:gd name="connsiteY343" fmla="*/ 53707 h 64531"/>
                        <a:gd name="connsiteX344" fmla="*/ 10586 w 31398"/>
                        <a:gd name="connsiteY344" fmla="*/ 54006 h 64531"/>
                        <a:gd name="connsiteX345" fmla="*/ 10287 w 31398"/>
                        <a:gd name="connsiteY345" fmla="*/ 54305 h 64531"/>
                        <a:gd name="connsiteX346" fmla="*/ 8612 w 31398"/>
                        <a:gd name="connsiteY346" fmla="*/ 53168 h 64531"/>
                        <a:gd name="connsiteX347" fmla="*/ 9390 w 31398"/>
                        <a:gd name="connsiteY347" fmla="*/ 53647 h 64531"/>
                        <a:gd name="connsiteX348" fmla="*/ 9689 w 31398"/>
                        <a:gd name="connsiteY348" fmla="*/ 53348 h 64531"/>
                        <a:gd name="connsiteX349" fmla="*/ 9988 w 31398"/>
                        <a:gd name="connsiteY349" fmla="*/ 53049 h 64531"/>
                        <a:gd name="connsiteX350" fmla="*/ 10287 w 31398"/>
                        <a:gd name="connsiteY350" fmla="*/ 52750 h 64531"/>
                        <a:gd name="connsiteX351" fmla="*/ 10586 w 31398"/>
                        <a:gd name="connsiteY351" fmla="*/ 52451 h 64531"/>
                        <a:gd name="connsiteX352" fmla="*/ 9808 w 31398"/>
                        <a:gd name="connsiteY352" fmla="*/ 51972 h 64531"/>
                        <a:gd name="connsiteX353" fmla="*/ 9509 w 31398"/>
                        <a:gd name="connsiteY353" fmla="*/ 52271 h 64531"/>
                        <a:gd name="connsiteX354" fmla="*/ 9210 w 31398"/>
                        <a:gd name="connsiteY354" fmla="*/ 52570 h 64531"/>
                        <a:gd name="connsiteX355" fmla="*/ 8911 w 31398"/>
                        <a:gd name="connsiteY355" fmla="*/ 52869 h 64531"/>
                        <a:gd name="connsiteX356" fmla="*/ 8612 w 31398"/>
                        <a:gd name="connsiteY356" fmla="*/ 53168 h 64531"/>
                        <a:gd name="connsiteX357" fmla="*/ 0 w 31398"/>
                        <a:gd name="connsiteY357" fmla="*/ 62917 h 64531"/>
                        <a:gd name="connsiteX358" fmla="*/ 2452 w 31398"/>
                        <a:gd name="connsiteY358" fmla="*/ 64532 h 64531"/>
                        <a:gd name="connsiteX359" fmla="*/ 2811 w 31398"/>
                        <a:gd name="connsiteY359" fmla="*/ 64113 h 64531"/>
                        <a:gd name="connsiteX360" fmla="*/ 3409 w 31398"/>
                        <a:gd name="connsiteY360" fmla="*/ 63396 h 64531"/>
                        <a:gd name="connsiteX361" fmla="*/ 4007 w 31398"/>
                        <a:gd name="connsiteY361" fmla="*/ 62678 h 64531"/>
                        <a:gd name="connsiteX362" fmla="*/ 4605 w 31398"/>
                        <a:gd name="connsiteY362" fmla="*/ 61960 h 64531"/>
                        <a:gd name="connsiteX363" fmla="*/ 5203 w 31398"/>
                        <a:gd name="connsiteY363" fmla="*/ 61243 h 64531"/>
                        <a:gd name="connsiteX364" fmla="*/ 5382 w 31398"/>
                        <a:gd name="connsiteY364" fmla="*/ 61003 h 64531"/>
                        <a:gd name="connsiteX365" fmla="*/ 5562 w 31398"/>
                        <a:gd name="connsiteY365" fmla="*/ 60764 h 64531"/>
                        <a:gd name="connsiteX366" fmla="*/ 5742 w 31398"/>
                        <a:gd name="connsiteY366" fmla="*/ 60525 h 64531"/>
                        <a:gd name="connsiteX367" fmla="*/ 5921 w 31398"/>
                        <a:gd name="connsiteY367" fmla="*/ 60285 h 64531"/>
                        <a:gd name="connsiteX368" fmla="*/ 6937 w 31398"/>
                        <a:gd name="connsiteY368" fmla="*/ 59090 h 64531"/>
                        <a:gd name="connsiteX369" fmla="*/ 8014 w 31398"/>
                        <a:gd name="connsiteY369" fmla="*/ 57893 h 64531"/>
                        <a:gd name="connsiteX370" fmla="*/ 9091 w 31398"/>
                        <a:gd name="connsiteY370" fmla="*/ 56697 h 64531"/>
                        <a:gd name="connsiteX371" fmla="*/ 10227 w 31398"/>
                        <a:gd name="connsiteY371" fmla="*/ 55501 h 64531"/>
                        <a:gd name="connsiteX372" fmla="*/ 9509 w 31398"/>
                        <a:gd name="connsiteY372" fmla="*/ 55022 h 64531"/>
                        <a:gd name="connsiteX373" fmla="*/ 8373 w 31398"/>
                        <a:gd name="connsiteY373" fmla="*/ 56219 h 64531"/>
                        <a:gd name="connsiteX374" fmla="*/ 7296 w 31398"/>
                        <a:gd name="connsiteY374" fmla="*/ 57415 h 64531"/>
                        <a:gd name="connsiteX375" fmla="*/ 6220 w 31398"/>
                        <a:gd name="connsiteY375" fmla="*/ 58611 h 64531"/>
                        <a:gd name="connsiteX376" fmla="*/ 5203 w 31398"/>
                        <a:gd name="connsiteY376" fmla="*/ 59807 h 64531"/>
                        <a:gd name="connsiteX377" fmla="*/ 5024 w 31398"/>
                        <a:gd name="connsiteY377" fmla="*/ 60046 h 64531"/>
                        <a:gd name="connsiteX378" fmla="*/ 4844 w 31398"/>
                        <a:gd name="connsiteY378" fmla="*/ 60285 h 64531"/>
                        <a:gd name="connsiteX379" fmla="*/ 4665 w 31398"/>
                        <a:gd name="connsiteY379" fmla="*/ 60525 h 64531"/>
                        <a:gd name="connsiteX380" fmla="*/ 4486 w 31398"/>
                        <a:gd name="connsiteY380" fmla="*/ 60764 h 64531"/>
                        <a:gd name="connsiteX381" fmla="*/ 3947 w 31398"/>
                        <a:gd name="connsiteY381" fmla="*/ 61362 h 64531"/>
                        <a:gd name="connsiteX382" fmla="*/ 3409 w 31398"/>
                        <a:gd name="connsiteY382" fmla="*/ 61960 h 64531"/>
                        <a:gd name="connsiteX383" fmla="*/ 2930 w 31398"/>
                        <a:gd name="connsiteY383" fmla="*/ 62558 h 64531"/>
                        <a:gd name="connsiteX384" fmla="*/ 2452 w 31398"/>
                        <a:gd name="connsiteY384" fmla="*/ 63156 h 64531"/>
                        <a:gd name="connsiteX385" fmla="*/ 1495 w 31398"/>
                        <a:gd name="connsiteY385" fmla="*/ 62558 h 64531"/>
                        <a:gd name="connsiteX386" fmla="*/ 1974 w 31398"/>
                        <a:gd name="connsiteY386" fmla="*/ 61960 h 64531"/>
                        <a:gd name="connsiteX387" fmla="*/ 2452 w 31398"/>
                        <a:gd name="connsiteY387" fmla="*/ 61362 h 64531"/>
                        <a:gd name="connsiteX388" fmla="*/ 2990 w 31398"/>
                        <a:gd name="connsiteY388" fmla="*/ 60764 h 64531"/>
                        <a:gd name="connsiteX389" fmla="*/ 3528 w 31398"/>
                        <a:gd name="connsiteY389" fmla="*/ 60166 h 64531"/>
                        <a:gd name="connsiteX390" fmla="*/ 3708 w 31398"/>
                        <a:gd name="connsiteY390" fmla="*/ 59927 h 64531"/>
                        <a:gd name="connsiteX391" fmla="*/ 3887 w 31398"/>
                        <a:gd name="connsiteY391" fmla="*/ 59687 h 64531"/>
                        <a:gd name="connsiteX392" fmla="*/ 4067 w 31398"/>
                        <a:gd name="connsiteY392" fmla="*/ 59448 h 64531"/>
                        <a:gd name="connsiteX393" fmla="*/ 4246 w 31398"/>
                        <a:gd name="connsiteY393" fmla="*/ 59209 h 64531"/>
                        <a:gd name="connsiteX394" fmla="*/ 5263 w 31398"/>
                        <a:gd name="connsiteY394" fmla="*/ 58013 h 64531"/>
                        <a:gd name="connsiteX395" fmla="*/ 6340 w 31398"/>
                        <a:gd name="connsiteY395" fmla="*/ 56817 h 64531"/>
                        <a:gd name="connsiteX396" fmla="*/ 7416 w 31398"/>
                        <a:gd name="connsiteY396" fmla="*/ 55621 h 64531"/>
                        <a:gd name="connsiteX397" fmla="*/ 8552 w 31398"/>
                        <a:gd name="connsiteY397" fmla="*/ 54424 h 64531"/>
                        <a:gd name="connsiteX398" fmla="*/ 7775 w 31398"/>
                        <a:gd name="connsiteY398" fmla="*/ 53946 h 64531"/>
                        <a:gd name="connsiteX399" fmla="*/ 6639 w 31398"/>
                        <a:gd name="connsiteY399" fmla="*/ 55142 h 64531"/>
                        <a:gd name="connsiteX400" fmla="*/ 5562 w 31398"/>
                        <a:gd name="connsiteY400" fmla="*/ 56338 h 64531"/>
                        <a:gd name="connsiteX401" fmla="*/ 4486 w 31398"/>
                        <a:gd name="connsiteY401" fmla="*/ 57535 h 64531"/>
                        <a:gd name="connsiteX402" fmla="*/ 3469 w 31398"/>
                        <a:gd name="connsiteY402" fmla="*/ 58731 h 64531"/>
                        <a:gd name="connsiteX403" fmla="*/ 3289 w 31398"/>
                        <a:gd name="connsiteY403" fmla="*/ 58970 h 64531"/>
                        <a:gd name="connsiteX404" fmla="*/ 3110 w 31398"/>
                        <a:gd name="connsiteY404" fmla="*/ 59209 h 64531"/>
                        <a:gd name="connsiteX405" fmla="*/ 2930 w 31398"/>
                        <a:gd name="connsiteY405" fmla="*/ 59448 h 64531"/>
                        <a:gd name="connsiteX406" fmla="*/ 2751 w 31398"/>
                        <a:gd name="connsiteY406" fmla="*/ 59687 h 64531"/>
                        <a:gd name="connsiteX407" fmla="*/ 2153 w 31398"/>
                        <a:gd name="connsiteY407" fmla="*/ 60405 h 64531"/>
                        <a:gd name="connsiteX408" fmla="*/ 1555 w 31398"/>
                        <a:gd name="connsiteY408" fmla="*/ 61123 h 64531"/>
                        <a:gd name="connsiteX409" fmla="*/ 957 w 31398"/>
                        <a:gd name="connsiteY409" fmla="*/ 61840 h 64531"/>
                        <a:gd name="connsiteX410" fmla="*/ 359 w 31398"/>
                        <a:gd name="connsiteY410" fmla="*/ 62558 h 64531"/>
                        <a:gd name="connsiteX411" fmla="*/ 0 w 31398"/>
                        <a:gd name="connsiteY411" fmla="*/ 62917 h 6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Lst>
                      <a:rect l="l" t="t" r="r" b="b"/>
                      <a:pathLst>
                        <a:path w="31398" h="64531">
                          <a:moveTo>
                            <a:pt x="20634" y="7715"/>
                          </a:moveTo>
                          <a:lnTo>
                            <a:pt x="21351" y="6818"/>
                          </a:lnTo>
                          <a:cubicBezTo>
                            <a:pt x="20933" y="6459"/>
                            <a:pt x="20514" y="6100"/>
                            <a:pt x="20095" y="5741"/>
                          </a:cubicBezTo>
                          <a:cubicBezTo>
                            <a:pt x="19676" y="5382"/>
                            <a:pt x="19198" y="5024"/>
                            <a:pt x="18780" y="4665"/>
                          </a:cubicBezTo>
                          <a:cubicBezTo>
                            <a:pt x="18301" y="4306"/>
                            <a:pt x="17822" y="3947"/>
                            <a:pt x="17344" y="3588"/>
                          </a:cubicBezTo>
                          <a:cubicBezTo>
                            <a:pt x="16866" y="3229"/>
                            <a:pt x="16327" y="2871"/>
                            <a:pt x="15849" y="2512"/>
                          </a:cubicBezTo>
                          <a:lnTo>
                            <a:pt x="16746" y="1375"/>
                          </a:lnTo>
                          <a:cubicBezTo>
                            <a:pt x="17284" y="1734"/>
                            <a:pt x="17763" y="2093"/>
                            <a:pt x="18241" y="2452"/>
                          </a:cubicBezTo>
                          <a:cubicBezTo>
                            <a:pt x="18720" y="2811"/>
                            <a:pt x="19198" y="3170"/>
                            <a:pt x="19676" y="3528"/>
                          </a:cubicBezTo>
                          <a:cubicBezTo>
                            <a:pt x="20155" y="3887"/>
                            <a:pt x="20574" y="4246"/>
                            <a:pt x="20992" y="4605"/>
                          </a:cubicBezTo>
                          <a:cubicBezTo>
                            <a:pt x="21411" y="4964"/>
                            <a:pt x="21829" y="5323"/>
                            <a:pt x="22248" y="5681"/>
                          </a:cubicBezTo>
                          <a:lnTo>
                            <a:pt x="22966" y="4785"/>
                          </a:lnTo>
                          <a:cubicBezTo>
                            <a:pt x="22547" y="4366"/>
                            <a:pt x="22129" y="4007"/>
                            <a:pt x="21650" y="3648"/>
                          </a:cubicBezTo>
                          <a:cubicBezTo>
                            <a:pt x="21172" y="3289"/>
                            <a:pt x="20693" y="2871"/>
                            <a:pt x="20215" y="2512"/>
                          </a:cubicBezTo>
                          <a:cubicBezTo>
                            <a:pt x="19736" y="2153"/>
                            <a:pt x="19198" y="1734"/>
                            <a:pt x="18720" y="1375"/>
                          </a:cubicBezTo>
                          <a:cubicBezTo>
                            <a:pt x="18181" y="1017"/>
                            <a:pt x="17643" y="598"/>
                            <a:pt x="17105" y="239"/>
                          </a:cubicBezTo>
                          <a:lnTo>
                            <a:pt x="16686" y="0"/>
                          </a:lnTo>
                          <a:lnTo>
                            <a:pt x="14354" y="2930"/>
                          </a:lnTo>
                          <a:lnTo>
                            <a:pt x="14772" y="3170"/>
                          </a:lnTo>
                          <a:cubicBezTo>
                            <a:pt x="15311" y="3528"/>
                            <a:pt x="15849" y="3947"/>
                            <a:pt x="16387" y="4306"/>
                          </a:cubicBezTo>
                          <a:cubicBezTo>
                            <a:pt x="16926" y="4665"/>
                            <a:pt x="17404" y="5083"/>
                            <a:pt x="17882" y="5442"/>
                          </a:cubicBezTo>
                          <a:cubicBezTo>
                            <a:pt x="18361" y="5801"/>
                            <a:pt x="18839" y="6220"/>
                            <a:pt x="19318" y="6579"/>
                          </a:cubicBezTo>
                          <a:cubicBezTo>
                            <a:pt x="19736" y="6937"/>
                            <a:pt x="20215" y="7296"/>
                            <a:pt x="20634" y="7715"/>
                          </a:cubicBezTo>
                          <a:moveTo>
                            <a:pt x="28349" y="17105"/>
                          </a:moveTo>
                          <a:cubicBezTo>
                            <a:pt x="28289" y="16985"/>
                            <a:pt x="28229" y="16806"/>
                            <a:pt x="28229" y="16686"/>
                          </a:cubicBezTo>
                          <a:cubicBezTo>
                            <a:pt x="28169" y="16566"/>
                            <a:pt x="28109" y="16387"/>
                            <a:pt x="28050" y="16267"/>
                          </a:cubicBezTo>
                          <a:cubicBezTo>
                            <a:pt x="27990" y="16148"/>
                            <a:pt x="27930" y="15968"/>
                            <a:pt x="27870" y="15849"/>
                          </a:cubicBezTo>
                          <a:cubicBezTo>
                            <a:pt x="27810" y="15729"/>
                            <a:pt x="27751" y="15550"/>
                            <a:pt x="27691" y="15430"/>
                          </a:cubicBezTo>
                          <a:cubicBezTo>
                            <a:pt x="27631" y="15251"/>
                            <a:pt x="27511" y="15071"/>
                            <a:pt x="27451" y="14892"/>
                          </a:cubicBezTo>
                          <a:cubicBezTo>
                            <a:pt x="27392" y="14712"/>
                            <a:pt x="27272" y="14533"/>
                            <a:pt x="27212" y="14354"/>
                          </a:cubicBezTo>
                          <a:cubicBezTo>
                            <a:pt x="27152" y="14174"/>
                            <a:pt x="27033" y="13995"/>
                            <a:pt x="26913" y="13815"/>
                          </a:cubicBezTo>
                          <a:cubicBezTo>
                            <a:pt x="26794" y="13636"/>
                            <a:pt x="26734" y="13457"/>
                            <a:pt x="26614" y="13277"/>
                          </a:cubicBezTo>
                          <a:cubicBezTo>
                            <a:pt x="26315" y="12798"/>
                            <a:pt x="26016" y="12260"/>
                            <a:pt x="25657" y="11782"/>
                          </a:cubicBezTo>
                          <a:cubicBezTo>
                            <a:pt x="25298" y="11303"/>
                            <a:pt x="24940" y="10825"/>
                            <a:pt x="24581" y="10287"/>
                          </a:cubicBezTo>
                          <a:cubicBezTo>
                            <a:pt x="24162" y="9808"/>
                            <a:pt x="23743" y="9330"/>
                            <a:pt x="23325" y="8851"/>
                          </a:cubicBezTo>
                          <a:cubicBezTo>
                            <a:pt x="22906" y="8373"/>
                            <a:pt x="22428" y="7895"/>
                            <a:pt x="21889" y="7416"/>
                          </a:cubicBezTo>
                          <a:lnTo>
                            <a:pt x="21172" y="8313"/>
                          </a:lnTo>
                          <a:cubicBezTo>
                            <a:pt x="21471" y="8612"/>
                            <a:pt x="21710" y="8851"/>
                            <a:pt x="22009" y="9150"/>
                          </a:cubicBezTo>
                          <a:cubicBezTo>
                            <a:pt x="22248" y="9449"/>
                            <a:pt x="22547" y="9689"/>
                            <a:pt x="22787" y="9988"/>
                          </a:cubicBezTo>
                          <a:cubicBezTo>
                            <a:pt x="23026" y="10287"/>
                            <a:pt x="23265" y="10526"/>
                            <a:pt x="23504" y="10825"/>
                          </a:cubicBezTo>
                          <a:cubicBezTo>
                            <a:pt x="23743" y="11124"/>
                            <a:pt x="23923" y="11363"/>
                            <a:pt x="24162" y="11662"/>
                          </a:cubicBezTo>
                          <a:cubicBezTo>
                            <a:pt x="24342" y="11842"/>
                            <a:pt x="24461" y="12081"/>
                            <a:pt x="24641" y="12260"/>
                          </a:cubicBezTo>
                          <a:cubicBezTo>
                            <a:pt x="24760" y="12440"/>
                            <a:pt x="24940" y="12679"/>
                            <a:pt x="25059" y="12858"/>
                          </a:cubicBezTo>
                          <a:cubicBezTo>
                            <a:pt x="25179" y="13038"/>
                            <a:pt x="25358" y="13277"/>
                            <a:pt x="25478" y="13457"/>
                          </a:cubicBezTo>
                          <a:cubicBezTo>
                            <a:pt x="25597" y="13636"/>
                            <a:pt x="25717" y="13875"/>
                            <a:pt x="25837" y="14055"/>
                          </a:cubicBezTo>
                          <a:cubicBezTo>
                            <a:pt x="25897" y="14114"/>
                            <a:pt x="25897" y="14234"/>
                            <a:pt x="25956" y="14294"/>
                          </a:cubicBezTo>
                          <a:cubicBezTo>
                            <a:pt x="26016" y="14354"/>
                            <a:pt x="26016" y="14473"/>
                            <a:pt x="26076" y="14533"/>
                          </a:cubicBezTo>
                          <a:cubicBezTo>
                            <a:pt x="26136" y="14593"/>
                            <a:pt x="26136" y="14712"/>
                            <a:pt x="26196" y="14772"/>
                          </a:cubicBezTo>
                          <a:cubicBezTo>
                            <a:pt x="26255" y="14832"/>
                            <a:pt x="26255" y="14952"/>
                            <a:pt x="26315" y="15012"/>
                          </a:cubicBezTo>
                          <a:cubicBezTo>
                            <a:pt x="26495" y="15191"/>
                            <a:pt x="26674" y="15370"/>
                            <a:pt x="26853" y="15550"/>
                          </a:cubicBezTo>
                          <a:cubicBezTo>
                            <a:pt x="27033" y="15729"/>
                            <a:pt x="27212" y="15909"/>
                            <a:pt x="27332" y="16088"/>
                          </a:cubicBezTo>
                          <a:cubicBezTo>
                            <a:pt x="27511" y="16267"/>
                            <a:pt x="27691" y="16447"/>
                            <a:pt x="27810" y="16626"/>
                          </a:cubicBezTo>
                          <a:cubicBezTo>
                            <a:pt x="28050" y="16746"/>
                            <a:pt x="28169" y="16925"/>
                            <a:pt x="28349" y="17105"/>
                          </a:cubicBezTo>
                          <a:moveTo>
                            <a:pt x="31399" y="20753"/>
                          </a:moveTo>
                          <a:cubicBezTo>
                            <a:pt x="31399" y="20514"/>
                            <a:pt x="31399" y="20215"/>
                            <a:pt x="31339" y="19975"/>
                          </a:cubicBezTo>
                          <a:cubicBezTo>
                            <a:pt x="31339" y="19736"/>
                            <a:pt x="31279" y="19437"/>
                            <a:pt x="31279" y="19198"/>
                          </a:cubicBezTo>
                          <a:cubicBezTo>
                            <a:pt x="31279" y="18959"/>
                            <a:pt x="31219" y="18660"/>
                            <a:pt x="31160" y="18420"/>
                          </a:cubicBezTo>
                          <a:cubicBezTo>
                            <a:pt x="31100" y="18181"/>
                            <a:pt x="31040" y="17882"/>
                            <a:pt x="31040" y="17643"/>
                          </a:cubicBezTo>
                          <a:cubicBezTo>
                            <a:pt x="31040" y="17523"/>
                            <a:pt x="30980" y="17344"/>
                            <a:pt x="30920" y="17225"/>
                          </a:cubicBezTo>
                          <a:cubicBezTo>
                            <a:pt x="30860" y="17105"/>
                            <a:pt x="30860" y="16925"/>
                            <a:pt x="30801" y="16806"/>
                          </a:cubicBezTo>
                          <a:cubicBezTo>
                            <a:pt x="30741" y="16686"/>
                            <a:pt x="30741" y="16507"/>
                            <a:pt x="30681" y="16387"/>
                          </a:cubicBezTo>
                          <a:cubicBezTo>
                            <a:pt x="30621" y="16267"/>
                            <a:pt x="30621" y="16088"/>
                            <a:pt x="30561" y="15968"/>
                          </a:cubicBezTo>
                          <a:cubicBezTo>
                            <a:pt x="30262" y="15071"/>
                            <a:pt x="29904" y="14114"/>
                            <a:pt x="29485" y="13217"/>
                          </a:cubicBezTo>
                          <a:cubicBezTo>
                            <a:pt x="29066" y="12320"/>
                            <a:pt x="28528" y="11423"/>
                            <a:pt x="27930" y="10526"/>
                          </a:cubicBezTo>
                          <a:cubicBezTo>
                            <a:pt x="27332" y="9629"/>
                            <a:pt x="26674" y="8791"/>
                            <a:pt x="25956" y="7895"/>
                          </a:cubicBezTo>
                          <a:cubicBezTo>
                            <a:pt x="25238" y="6997"/>
                            <a:pt x="24401" y="6160"/>
                            <a:pt x="23504" y="5323"/>
                          </a:cubicBezTo>
                          <a:lnTo>
                            <a:pt x="22787" y="6220"/>
                          </a:lnTo>
                          <a:cubicBezTo>
                            <a:pt x="23504" y="6937"/>
                            <a:pt x="24222" y="7655"/>
                            <a:pt x="24820" y="8373"/>
                          </a:cubicBezTo>
                          <a:cubicBezTo>
                            <a:pt x="25418" y="9090"/>
                            <a:pt x="26016" y="9808"/>
                            <a:pt x="26554" y="10526"/>
                          </a:cubicBezTo>
                          <a:cubicBezTo>
                            <a:pt x="27092" y="11244"/>
                            <a:pt x="27511" y="11961"/>
                            <a:pt x="27930" y="12739"/>
                          </a:cubicBezTo>
                          <a:cubicBezTo>
                            <a:pt x="28349" y="13457"/>
                            <a:pt x="28707" y="14234"/>
                            <a:pt x="29006" y="14952"/>
                          </a:cubicBezTo>
                          <a:cubicBezTo>
                            <a:pt x="29066" y="15071"/>
                            <a:pt x="29126" y="15251"/>
                            <a:pt x="29186" y="15370"/>
                          </a:cubicBezTo>
                          <a:cubicBezTo>
                            <a:pt x="29246" y="15490"/>
                            <a:pt x="29305" y="15669"/>
                            <a:pt x="29365" y="15789"/>
                          </a:cubicBezTo>
                          <a:cubicBezTo>
                            <a:pt x="29425" y="15909"/>
                            <a:pt x="29485" y="16088"/>
                            <a:pt x="29545" y="16267"/>
                          </a:cubicBezTo>
                          <a:cubicBezTo>
                            <a:pt x="29605" y="16447"/>
                            <a:pt x="29665" y="16566"/>
                            <a:pt x="29665" y="16746"/>
                          </a:cubicBezTo>
                          <a:cubicBezTo>
                            <a:pt x="29724" y="16925"/>
                            <a:pt x="29784" y="17165"/>
                            <a:pt x="29844" y="17344"/>
                          </a:cubicBezTo>
                          <a:cubicBezTo>
                            <a:pt x="29904" y="17583"/>
                            <a:pt x="29963" y="17763"/>
                            <a:pt x="30023" y="18002"/>
                          </a:cubicBezTo>
                          <a:cubicBezTo>
                            <a:pt x="30083" y="18241"/>
                            <a:pt x="30083" y="18420"/>
                            <a:pt x="30143" y="18660"/>
                          </a:cubicBezTo>
                          <a:cubicBezTo>
                            <a:pt x="30203" y="18899"/>
                            <a:pt x="30203" y="19079"/>
                            <a:pt x="30262" y="19318"/>
                          </a:cubicBezTo>
                          <a:cubicBezTo>
                            <a:pt x="30382" y="19437"/>
                            <a:pt x="30442" y="19557"/>
                            <a:pt x="30561" y="19676"/>
                          </a:cubicBezTo>
                          <a:cubicBezTo>
                            <a:pt x="30681" y="19796"/>
                            <a:pt x="30741" y="19916"/>
                            <a:pt x="30860" y="20035"/>
                          </a:cubicBezTo>
                          <a:cubicBezTo>
                            <a:pt x="30980" y="20155"/>
                            <a:pt x="31040" y="20274"/>
                            <a:pt x="31160" y="20394"/>
                          </a:cubicBezTo>
                          <a:cubicBezTo>
                            <a:pt x="31219" y="20514"/>
                            <a:pt x="31339" y="20633"/>
                            <a:pt x="31399" y="20753"/>
                          </a:cubicBezTo>
                          <a:moveTo>
                            <a:pt x="29126" y="21949"/>
                          </a:moveTo>
                          <a:cubicBezTo>
                            <a:pt x="29126" y="21710"/>
                            <a:pt x="29126" y="21530"/>
                            <a:pt x="29126" y="21291"/>
                          </a:cubicBezTo>
                          <a:cubicBezTo>
                            <a:pt x="29126" y="21052"/>
                            <a:pt x="29126" y="20873"/>
                            <a:pt x="29066" y="20633"/>
                          </a:cubicBezTo>
                          <a:cubicBezTo>
                            <a:pt x="29066" y="20394"/>
                            <a:pt x="29006" y="20215"/>
                            <a:pt x="29006" y="19975"/>
                          </a:cubicBezTo>
                          <a:cubicBezTo>
                            <a:pt x="29006" y="19736"/>
                            <a:pt x="28946" y="19557"/>
                            <a:pt x="28887" y="19318"/>
                          </a:cubicBezTo>
                          <a:cubicBezTo>
                            <a:pt x="28767" y="19198"/>
                            <a:pt x="28648" y="19019"/>
                            <a:pt x="28528" y="18899"/>
                          </a:cubicBezTo>
                          <a:cubicBezTo>
                            <a:pt x="28408" y="18779"/>
                            <a:pt x="28289" y="18600"/>
                            <a:pt x="28169" y="18480"/>
                          </a:cubicBezTo>
                          <a:cubicBezTo>
                            <a:pt x="28050" y="18361"/>
                            <a:pt x="27930" y="18181"/>
                            <a:pt x="27810" y="18062"/>
                          </a:cubicBezTo>
                          <a:cubicBezTo>
                            <a:pt x="27691" y="17942"/>
                            <a:pt x="27571" y="17763"/>
                            <a:pt x="27451" y="17643"/>
                          </a:cubicBezTo>
                          <a:cubicBezTo>
                            <a:pt x="27511" y="17882"/>
                            <a:pt x="27571" y="18121"/>
                            <a:pt x="27631" y="18361"/>
                          </a:cubicBezTo>
                          <a:cubicBezTo>
                            <a:pt x="27691" y="18600"/>
                            <a:pt x="27751" y="18839"/>
                            <a:pt x="27810" y="19079"/>
                          </a:cubicBezTo>
                          <a:cubicBezTo>
                            <a:pt x="27870" y="19318"/>
                            <a:pt x="27930" y="19557"/>
                            <a:pt x="27930" y="19796"/>
                          </a:cubicBezTo>
                          <a:cubicBezTo>
                            <a:pt x="27990" y="20035"/>
                            <a:pt x="27990" y="20274"/>
                            <a:pt x="28050" y="20514"/>
                          </a:cubicBezTo>
                          <a:cubicBezTo>
                            <a:pt x="28169" y="20633"/>
                            <a:pt x="28229" y="20753"/>
                            <a:pt x="28349" y="20873"/>
                          </a:cubicBezTo>
                          <a:cubicBezTo>
                            <a:pt x="28468" y="20992"/>
                            <a:pt x="28528" y="21112"/>
                            <a:pt x="28648" y="21231"/>
                          </a:cubicBezTo>
                          <a:cubicBezTo>
                            <a:pt x="28767" y="21351"/>
                            <a:pt x="28827" y="21471"/>
                            <a:pt x="28946" y="21590"/>
                          </a:cubicBezTo>
                          <a:cubicBezTo>
                            <a:pt x="29066" y="21710"/>
                            <a:pt x="29066" y="21829"/>
                            <a:pt x="29126" y="21949"/>
                          </a:cubicBezTo>
                          <a:moveTo>
                            <a:pt x="31160" y="24880"/>
                          </a:moveTo>
                          <a:cubicBezTo>
                            <a:pt x="31219" y="24700"/>
                            <a:pt x="31219" y="24521"/>
                            <a:pt x="31219" y="24342"/>
                          </a:cubicBezTo>
                          <a:cubicBezTo>
                            <a:pt x="31219" y="24162"/>
                            <a:pt x="31279" y="23983"/>
                            <a:pt x="31279" y="23803"/>
                          </a:cubicBezTo>
                          <a:cubicBezTo>
                            <a:pt x="31279" y="23624"/>
                            <a:pt x="31339" y="23444"/>
                            <a:pt x="31339" y="23265"/>
                          </a:cubicBezTo>
                          <a:cubicBezTo>
                            <a:pt x="31339" y="23085"/>
                            <a:pt x="31339" y="22906"/>
                            <a:pt x="31399" y="22727"/>
                          </a:cubicBezTo>
                          <a:cubicBezTo>
                            <a:pt x="31339" y="22607"/>
                            <a:pt x="31219" y="22488"/>
                            <a:pt x="31160" y="22368"/>
                          </a:cubicBezTo>
                          <a:cubicBezTo>
                            <a:pt x="31100" y="22248"/>
                            <a:pt x="30980" y="22128"/>
                            <a:pt x="30920" y="22009"/>
                          </a:cubicBezTo>
                          <a:cubicBezTo>
                            <a:pt x="30860" y="21889"/>
                            <a:pt x="30741" y="21770"/>
                            <a:pt x="30681" y="21650"/>
                          </a:cubicBezTo>
                          <a:cubicBezTo>
                            <a:pt x="30621" y="21530"/>
                            <a:pt x="30502" y="21411"/>
                            <a:pt x="30442" y="21291"/>
                          </a:cubicBezTo>
                          <a:cubicBezTo>
                            <a:pt x="30442" y="21351"/>
                            <a:pt x="30442" y="21471"/>
                            <a:pt x="30442" y="21530"/>
                          </a:cubicBezTo>
                          <a:cubicBezTo>
                            <a:pt x="30442" y="21590"/>
                            <a:pt x="30442" y="21710"/>
                            <a:pt x="30442" y="21770"/>
                          </a:cubicBezTo>
                          <a:cubicBezTo>
                            <a:pt x="30442" y="21829"/>
                            <a:pt x="30442" y="21949"/>
                            <a:pt x="30442" y="22009"/>
                          </a:cubicBezTo>
                          <a:cubicBezTo>
                            <a:pt x="30442" y="22069"/>
                            <a:pt x="30442" y="22188"/>
                            <a:pt x="30442" y="22248"/>
                          </a:cubicBezTo>
                          <a:cubicBezTo>
                            <a:pt x="30442" y="22368"/>
                            <a:pt x="30442" y="22488"/>
                            <a:pt x="30442" y="22607"/>
                          </a:cubicBezTo>
                          <a:cubicBezTo>
                            <a:pt x="30442" y="22727"/>
                            <a:pt x="30442" y="22846"/>
                            <a:pt x="30442" y="22966"/>
                          </a:cubicBezTo>
                          <a:cubicBezTo>
                            <a:pt x="30442" y="23085"/>
                            <a:pt x="30442" y="23205"/>
                            <a:pt x="30442" y="23325"/>
                          </a:cubicBezTo>
                          <a:cubicBezTo>
                            <a:pt x="30442" y="23444"/>
                            <a:pt x="30442" y="23564"/>
                            <a:pt x="30442" y="23683"/>
                          </a:cubicBezTo>
                          <a:cubicBezTo>
                            <a:pt x="30502" y="23803"/>
                            <a:pt x="30561" y="23923"/>
                            <a:pt x="30681" y="23983"/>
                          </a:cubicBezTo>
                          <a:cubicBezTo>
                            <a:pt x="30801" y="24042"/>
                            <a:pt x="30801" y="24222"/>
                            <a:pt x="30860" y="24282"/>
                          </a:cubicBezTo>
                          <a:cubicBezTo>
                            <a:pt x="30920" y="24401"/>
                            <a:pt x="30980" y="24521"/>
                            <a:pt x="31040" y="24581"/>
                          </a:cubicBezTo>
                          <a:cubicBezTo>
                            <a:pt x="31040" y="24700"/>
                            <a:pt x="31100" y="24760"/>
                            <a:pt x="31160" y="24880"/>
                          </a:cubicBezTo>
                          <a:moveTo>
                            <a:pt x="14354" y="49939"/>
                          </a:moveTo>
                          <a:lnTo>
                            <a:pt x="15131" y="50417"/>
                          </a:lnTo>
                          <a:cubicBezTo>
                            <a:pt x="15729" y="49760"/>
                            <a:pt x="16327" y="49101"/>
                            <a:pt x="16926" y="48444"/>
                          </a:cubicBezTo>
                          <a:cubicBezTo>
                            <a:pt x="17523" y="47786"/>
                            <a:pt x="18121" y="47128"/>
                            <a:pt x="18660" y="46470"/>
                          </a:cubicBezTo>
                          <a:cubicBezTo>
                            <a:pt x="19258" y="45812"/>
                            <a:pt x="19796" y="45154"/>
                            <a:pt x="20394" y="44497"/>
                          </a:cubicBezTo>
                          <a:cubicBezTo>
                            <a:pt x="20933" y="43838"/>
                            <a:pt x="21471" y="43181"/>
                            <a:pt x="22009" y="42523"/>
                          </a:cubicBezTo>
                          <a:cubicBezTo>
                            <a:pt x="22069" y="42463"/>
                            <a:pt x="22129" y="42403"/>
                            <a:pt x="22189" y="42284"/>
                          </a:cubicBezTo>
                          <a:cubicBezTo>
                            <a:pt x="22248" y="42224"/>
                            <a:pt x="22308" y="42164"/>
                            <a:pt x="22368" y="42044"/>
                          </a:cubicBezTo>
                          <a:cubicBezTo>
                            <a:pt x="22428" y="41925"/>
                            <a:pt x="22488" y="41925"/>
                            <a:pt x="22547" y="41805"/>
                          </a:cubicBezTo>
                          <a:cubicBezTo>
                            <a:pt x="22607" y="41745"/>
                            <a:pt x="22667" y="41685"/>
                            <a:pt x="22727" y="41566"/>
                          </a:cubicBezTo>
                          <a:cubicBezTo>
                            <a:pt x="23026" y="41207"/>
                            <a:pt x="23325" y="40789"/>
                            <a:pt x="23624" y="40430"/>
                          </a:cubicBezTo>
                          <a:cubicBezTo>
                            <a:pt x="23923" y="40071"/>
                            <a:pt x="24222" y="39652"/>
                            <a:pt x="24461" y="39293"/>
                          </a:cubicBezTo>
                          <a:cubicBezTo>
                            <a:pt x="24760" y="38935"/>
                            <a:pt x="24999" y="38516"/>
                            <a:pt x="25298" y="38157"/>
                          </a:cubicBezTo>
                          <a:cubicBezTo>
                            <a:pt x="25538" y="37738"/>
                            <a:pt x="25837" y="37380"/>
                            <a:pt x="26076" y="36961"/>
                          </a:cubicBezTo>
                          <a:cubicBezTo>
                            <a:pt x="26136" y="36901"/>
                            <a:pt x="26196" y="36781"/>
                            <a:pt x="26255" y="36721"/>
                          </a:cubicBezTo>
                          <a:cubicBezTo>
                            <a:pt x="26315" y="36662"/>
                            <a:pt x="26375" y="36542"/>
                            <a:pt x="26435" y="36482"/>
                          </a:cubicBezTo>
                          <a:cubicBezTo>
                            <a:pt x="26495" y="36422"/>
                            <a:pt x="26554" y="36303"/>
                            <a:pt x="26554" y="36243"/>
                          </a:cubicBezTo>
                          <a:cubicBezTo>
                            <a:pt x="26554" y="36183"/>
                            <a:pt x="26674" y="36064"/>
                            <a:pt x="26674" y="36004"/>
                          </a:cubicBezTo>
                          <a:cubicBezTo>
                            <a:pt x="26734" y="35884"/>
                            <a:pt x="26794" y="35765"/>
                            <a:pt x="26853" y="35705"/>
                          </a:cubicBezTo>
                          <a:cubicBezTo>
                            <a:pt x="26913" y="35585"/>
                            <a:pt x="26973" y="35466"/>
                            <a:pt x="27033" y="35406"/>
                          </a:cubicBezTo>
                          <a:cubicBezTo>
                            <a:pt x="27092" y="35346"/>
                            <a:pt x="27152" y="35167"/>
                            <a:pt x="27212" y="35107"/>
                          </a:cubicBezTo>
                          <a:cubicBezTo>
                            <a:pt x="27272" y="34987"/>
                            <a:pt x="27332" y="34867"/>
                            <a:pt x="27392" y="34808"/>
                          </a:cubicBezTo>
                          <a:cubicBezTo>
                            <a:pt x="27451" y="34748"/>
                            <a:pt x="27511" y="34628"/>
                            <a:pt x="27511" y="34568"/>
                          </a:cubicBezTo>
                          <a:cubicBezTo>
                            <a:pt x="27511" y="34509"/>
                            <a:pt x="27631" y="34389"/>
                            <a:pt x="27631" y="34329"/>
                          </a:cubicBezTo>
                          <a:cubicBezTo>
                            <a:pt x="27691" y="34269"/>
                            <a:pt x="27751" y="34150"/>
                            <a:pt x="27751" y="34090"/>
                          </a:cubicBezTo>
                          <a:cubicBezTo>
                            <a:pt x="27810" y="34030"/>
                            <a:pt x="27810" y="33911"/>
                            <a:pt x="27870" y="33851"/>
                          </a:cubicBezTo>
                          <a:cubicBezTo>
                            <a:pt x="27990" y="33612"/>
                            <a:pt x="28109" y="33372"/>
                            <a:pt x="28289" y="33073"/>
                          </a:cubicBezTo>
                          <a:cubicBezTo>
                            <a:pt x="28408" y="32834"/>
                            <a:pt x="28528" y="32595"/>
                            <a:pt x="28648" y="32296"/>
                          </a:cubicBezTo>
                          <a:cubicBezTo>
                            <a:pt x="28767" y="32057"/>
                            <a:pt x="28887" y="31817"/>
                            <a:pt x="29006" y="31518"/>
                          </a:cubicBezTo>
                          <a:cubicBezTo>
                            <a:pt x="29126" y="31279"/>
                            <a:pt x="29246" y="31040"/>
                            <a:pt x="29365" y="30741"/>
                          </a:cubicBezTo>
                          <a:cubicBezTo>
                            <a:pt x="29425" y="30681"/>
                            <a:pt x="29425" y="30561"/>
                            <a:pt x="29485" y="30502"/>
                          </a:cubicBezTo>
                          <a:cubicBezTo>
                            <a:pt x="29545" y="30442"/>
                            <a:pt x="29545" y="30322"/>
                            <a:pt x="29605" y="30262"/>
                          </a:cubicBezTo>
                          <a:cubicBezTo>
                            <a:pt x="29665" y="30203"/>
                            <a:pt x="29665" y="30083"/>
                            <a:pt x="29724" y="30023"/>
                          </a:cubicBezTo>
                          <a:cubicBezTo>
                            <a:pt x="29784" y="29963"/>
                            <a:pt x="29784" y="29844"/>
                            <a:pt x="29844" y="29784"/>
                          </a:cubicBezTo>
                          <a:cubicBezTo>
                            <a:pt x="29963" y="29545"/>
                            <a:pt x="30023" y="29305"/>
                            <a:pt x="30143" y="29066"/>
                          </a:cubicBezTo>
                          <a:cubicBezTo>
                            <a:pt x="30262" y="28827"/>
                            <a:pt x="30322" y="28588"/>
                            <a:pt x="30382" y="28289"/>
                          </a:cubicBezTo>
                          <a:cubicBezTo>
                            <a:pt x="30442" y="28050"/>
                            <a:pt x="30561" y="27810"/>
                            <a:pt x="30621" y="27511"/>
                          </a:cubicBezTo>
                          <a:cubicBezTo>
                            <a:pt x="30681" y="27272"/>
                            <a:pt x="30741" y="27033"/>
                            <a:pt x="30801" y="26734"/>
                          </a:cubicBezTo>
                          <a:cubicBezTo>
                            <a:pt x="30801" y="26734"/>
                            <a:pt x="30801" y="26674"/>
                            <a:pt x="30801" y="26674"/>
                          </a:cubicBezTo>
                          <a:cubicBezTo>
                            <a:pt x="30801" y="26674"/>
                            <a:pt x="30801" y="26614"/>
                            <a:pt x="30801" y="26614"/>
                          </a:cubicBezTo>
                          <a:cubicBezTo>
                            <a:pt x="30801" y="26614"/>
                            <a:pt x="30801" y="26554"/>
                            <a:pt x="30801" y="26554"/>
                          </a:cubicBezTo>
                          <a:cubicBezTo>
                            <a:pt x="30801" y="26554"/>
                            <a:pt x="30801" y="26495"/>
                            <a:pt x="30801" y="26495"/>
                          </a:cubicBezTo>
                          <a:cubicBezTo>
                            <a:pt x="30741" y="26375"/>
                            <a:pt x="30681" y="26315"/>
                            <a:pt x="30621" y="26196"/>
                          </a:cubicBezTo>
                          <a:cubicBezTo>
                            <a:pt x="30561" y="26076"/>
                            <a:pt x="30502" y="26016"/>
                            <a:pt x="30442" y="25896"/>
                          </a:cubicBezTo>
                          <a:cubicBezTo>
                            <a:pt x="30382" y="25777"/>
                            <a:pt x="30322" y="25717"/>
                            <a:pt x="30262" y="25597"/>
                          </a:cubicBezTo>
                          <a:cubicBezTo>
                            <a:pt x="30203" y="25478"/>
                            <a:pt x="30143" y="25418"/>
                            <a:pt x="30083" y="25298"/>
                          </a:cubicBezTo>
                          <a:cubicBezTo>
                            <a:pt x="30083" y="25358"/>
                            <a:pt x="30083" y="25478"/>
                            <a:pt x="30023" y="25537"/>
                          </a:cubicBezTo>
                          <a:cubicBezTo>
                            <a:pt x="30023" y="25597"/>
                            <a:pt x="30023" y="25717"/>
                            <a:pt x="29963" y="25777"/>
                          </a:cubicBezTo>
                          <a:cubicBezTo>
                            <a:pt x="29963" y="25837"/>
                            <a:pt x="29904" y="25956"/>
                            <a:pt x="29904" y="26016"/>
                          </a:cubicBezTo>
                          <a:cubicBezTo>
                            <a:pt x="29904" y="26076"/>
                            <a:pt x="29844" y="26196"/>
                            <a:pt x="29844" y="26255"/>
                          </a:cubicBezTo>
                          <a:cubicBezTo>
                            <a:pt x="29784" y="26495"/>
                            <a:pt x="29724" y="26734"/>
                            <a:pt x="29665" y="27033"/>
                          </a:cubicBezTo>
                          <a:cubicBezTo>
                            <a:pt x="29605" y="27272"/>
                            <a:pt x="29545" y="27511"/>
                            <a:pt x="29425" y="27810"/>
                          </a:cubicBezTo>
                          <a:cubicBezTo>
                            <a:pt x="29305" y="28109"/>
                            <a:pt x="29246" y="28289"/>
                            <a:pt x="29186" y="28588"/>
                          </a:cubicBezTo>
                          <a:cubicBezTo>
                            <a:pt x="29126" y="28827"/>
                            <a:pt x="29006" y="29066"/>
                            <a:pt x="28946" y="29365"/>
                          </a:cubicBezTo>
                          <a:cubicBezTo>
                            <a:pt x="28887" y="29425"/>
                            <a:pt x="28887" y="29545"/>
                            <a:pt x="28827" y="29604"/>
                          </a:cubicBezTo>
                          <a:cubicBezTo>
                            <a:pt x="28767" y="29664"/>
                            <a:pt x="28767" y="29784"/>
                            <a:pt x="28707" y="29844"/>
                          </a:cubicBezTo>
                          <a:cubicBezTo>
                            <a:pt x="28648" y="29904"/>
                            <a:pt x="28648" y="30023"/>
                            <a:pt x="28588" y="30083"/>
                          </a:cubicBezTo>
                          <a:cubicBezTo>
                            <a:pt x="28528" y="30143"/>
                            <a:pt x="28528" y="30262"/>
                            <a:pt x="28468" y="30322"/>
                          </a:cubicBezTo>
                          <a:cubicBezTo>
                            <a:pt x="28349" y="30561"/>
                            <a:pt x="28229" y="30800"/>
                            <a:pt x="28169" y="31099"/>
                          </a:cubicBezTo>
                          <a:cubicBezTo>
                            <a:pt x="28050" y="31339"/>
                            <a:pt x="27930" y="31578"/>
                            <a:pt x="27810" y="31877"/>
                          </a:cubicBezTo>
                          <a:cubicBezTo>
                            <a:pt x="27691" y="32116"/>
                            <a:pt x="27571" y="32356"/>
                            <a:pt x="27451" y="32655"/>
                          </a:cubicBezTo>
                          <a:cubicBezTo>
                            <a:pt x="27332" y="32894"/>
                            <a:pt x="27212" y="33133"/>
                            <a:pt x="27033" y="33432"/>
                          </a:cubicBezTo>
                          <a:cubicBezTo>
                            <a:pt x="26973" y="33492"/>
                            <a:pt x="26973" y="33612"/>
                            <a:pt x="26913" y="33671"/>
                          </a:cubicBezTo>
                          <a:cubicBezTo>
                            <a:pt x="26853" y="33731"/>
                            <a:pt x="26853" y="33851"/>
                            <a:pt x="26794" y="33911"/>
                          </a:cubicBezTo>
                          <a:cubicBezTo>
                            <a:pt x="26734" y="33970"/>
                            <a:pt x="26674" y="34090"/>
                            <a:pt x="26674" y="34150"/>
                          </a:cubicBezTo>
                          <a:cubicBezTo>
                            <a:pt x="26614" y="34210"/>
                            <a:pt x="26554" y="34329"/>
                            <a:pt x="26554" y="34389"/>
                          </a:cubicBezTo>
                          <a:cubicBezTo>
                            <a:pt x="26495" y="34509"/>
                            <a:pt x="26435" y="34628"/>
                            <a:pt x="26375" y="34748"/>
                          </a:cubicBezTo>
                          <a:cubicBezTo>
                            <a:pt x="26315" y="34867"/>
                            <a:pt x="26255" y="34987"/>
                            <a:pt x="26196" y="35047"/>
                          </a:cubicBezTo>
                          <a:cubicBezTo>
                            <a:pt x="26136" y="35107"/>
                            <a:pt x="26076" y="35286"/>
                            <a:pt x="26016" y="35346"/>
                          </a:cubicBezTo>
                          <a:cubicBezTo>
                            <a:pt x="25956" y="35406"/>
                            <a:pt x="25897" y="35585"/>
                            <a:pt x="25837" y="35645"/>
                          </a:cubicBezTo>
                          <a:cubicBezTo>
                            <a:pt x="25777" y="35705"/>
                            <a:pt x="25717" y="35824"/>
                            <a:pt x="25717" y="35884"/>
                          </a:cubicBezTo>
                          <a:cubicBezTo>
                            <a:pt x="25657" y="35944"/>
                            <a:pt x="25597" y="36064"/>
                            <a:pt x="25597" y="36123"/>
                          </a:cubicBezTo>
                          <a:cubicBezTo>
                            <a:pt x="25538" y="36183"/>
                            <a:pt x="25478" y="36303"/>
                            <a:pt x="25418" y="36363"/>
                          </a:cubicBezTo>
                          <a:cubicBezTo>
                            <a:pt x="25358" y="36422"/>
                            <a:pt x="25298" y="36542"/>
                            <a:pt x="25238" y="36602"/>
                          </a:cubicBezTo>
                          <a:cubicBezTo>
                            <a:pt x="24999" y="37021"/>
                            <a:pt x="24700" y="37380"/>
                            <a:pt x="24461" y="37798"/>
                          </a:cubicBezTo>
                          <a:cubicBezTo>
                            <a:pt x="24222" y="38217"/>
                            <a:pt x="23923" y="38575"/>
                            <a:pt x="23624" y="38994"/>
                          </a:cubicBezTo>
                          <a:cubicBezTo>
                            <a:pt x="23325" y="39353"/>
                            <a:pt x="23086" y="39772"/>
                            <a:pt x="22787" y="40130"/>
                          </a:cubicBezTo>
                          <a:cubicBezTo>
                            <a:pt x="22488" y="40489"/>
                            <a:pt x="22189" y="40908"/>
                            <a:pt x="21889" y="41267"/>
                          </a:cubicBezTo>
                          <a:cubicBezTo>
                            <a:pt x="21829" y="41327"/>
                            <a:pt x="21770" y="41386"/>
                            <a:pt x="21710" y="41506"/>
                          </a:cubicBezTo>
                          <a:cubicBezTo>
                            <a:pt x="21650" y="41566"/>
                            <a:pt x="21590" y="41626"/>
                            <a:pt x="21530" y="41745"/>
                          </a:cubicBezTo>
                          <a:cubicBezTo>
                            <a:pt x="21471" y="41805"/>
                            <a:pt x="21411" y="41865"/>
                            <a:pt x="21351" y="41984"/>
                          </a:cubicBezTo>
                          <a:cubicBezTo>
                            <a:pt x="21291" y="42044"/>
                            <a:pt x="21231" y="42104"/>
                            <a:pt x="21172" y="42224"/>
                          </a:cubicBezTo>
                          <a:cubicBezTo>
                            <a:pt x="20634" y="42882"/>
                            <a:pt x="20095" y="43539"/>
                            <a:pt x="19557" y="44197"/>
                          </a:cubicBezTo>
                          <a:cubicBezTo>
                            <a:pt x="19019" y="44855"/>
                            <a:pt x="18421" y="45513"/>
                            <a:pt x="17822" y="46171"/>
                          </a:cubicBezTo>
                          <a:cubicBezTo>
                            <a:pt x="17225" y="46829"/>
                            <a:pt x="16686" y="47487"/>
                            <a:pt x="16088" y="48145"/>
                          </a:cubicBezTo>
                          <a:cubicBezTo>
                            <a:pt x="15490" y="48803"/>
                            <a:pt x="14952" y="49281"/>
                            <a:pt x="14354" y="49939"/>
                          </a:cubicBezTo>
                          <a:moveTo>
                            <a:pt x="12619" y="48803"/>
                          </a:moveTo>
                          <a:lnTo>
                            <a:pt x="13397" y="49281"/>
                          </a:lnTo>
                          <a:cubicBezTo>
                            <a:pt x="13995" y="48623"/>
                            <a:pt x="14593" y="47965"/>
                            <a:pt x="15191" y="47307"/>
                          </a:cubicBezTo>
                          <a:cubicBezTo>
                            <a:pt x="15789" y="46650"/>
                            <a:pt x="16387" y="45992"/>
                            <a:pt x="16926" y="45334"/>
                          </a:cubicBezTo>
                          <a:cubicBezTo>
                            <a:pt x="17523" y="44676"/>
                            <a:pt x="18062" y="44018"/>
                            <a:pt x="18660" y="43360"/>
                          </a:cubicBezTo>
                          <a:cubicBezTo>
                            <a:pt x="19198" y="42702"/>
                            <a:pt x="19736" y="42044"/>
                            <a:pt x="20275" y="41386"/>
                          </a:cubicBezTo>
                          <a:cubicBezTo>
                            <a:pt x="20334" y="41327"/>
                            <a:pt x="20394" y="41267"/>
                            <a:pt x="20454" y="41147"/>
                          </a:cubicBezTo>
                          <a:cubicBezTo>
                            <a:pt x="20514" y="41088"/>
                            <a:pt x="20574" y="41028"/>
                            <a:pt x="20634" y="40908"/>
                          </a:cubicBezTo>
                          <a:cubicBezTo>
                            <a:pt x="20693" y="40789"/>
                            <a:pt x="20753" y="40789"/>
                            <a:pt x="20813" y="40669"/>
                          </a:cubicBezTo>
                          <a:cubicBezTo>
                            <a:pt x="20873" y="40609"/>
                            <a:pt x="20933" y="40549"/>
                            <a:pt x="20992" y="40430"/>
                          </a:cubicBezTo>
                          <a:cubicBezTo>
                            <a:pt x="21291" y="40071"/>
                            <a:pt x="21590" y="39652"/>
                            <a:pt x="21889" y="39293"/>
                          </a:cubicBezTo>
                          <a:cubicBezTo>
                            <a:pt x="22189" y="38935"/>
                            <a:pt x="22488" y="38516"/>
                            <a:pt x="22727" y="38097"/>
                          </a:cubicBezTo>
                          <a:cubicBezTo>
                            <a:pt x="22966" y="37678"/>
                            <a:pt x="23265" y="37320"/>
                            <a:pt x="23564" y="36901"/>
                          </a:cubicBezTo>
                          <a:cubicBezTo>
                            <a:pt x="23803" y="36482"/>
                            <a:pt x="24102" y="36123"/>
                            <a:pt x="24342" y="35705"/>
                          </a:cubicBezTo>
                          <a:cubicBezTo>
                            <a:pt x="24401" y="35645"/>
                            <a:pt x="24461" y="35526"/>
                            <a:pt x="24521" y="35466"/>
                          </a:cubicBezTo>
                          <a:cubicBezTo>
                            <a:pt x="24581" y="35406"/>
                            <a:pt x="24641" y="35286"/>
                            <a:pt x="24641" y="35226"/>
                          </a:cubicBezTo>
                          <a:cubicBezTo>
                            <a:pt x="24641" y="35167"/>
                            <a:pt x="24760" y="35047"/>
                            <a:pt x="24760" y="34987"/>
                          </a:cubicBezTo>
                          <a:cubicBezTo>
                            <a:pt x="24820" y="34927"/>
                            <a:pt x="24880" y="34808"/>
                            <a:pt x="24880" y="34748"/>
                          </a:cubicBezTo>
                          <a:cubicBezTo>
                            <a:pt x="24940" y="34628"/>
                            <a:pt x="24999" y="34509"/>
                            <a:pt x="25059" y="34389"/>
                          </a:cubicBezTo>
                          <a:cubicBezTo>
                            <a:pt x="25119" y="34269"/>
                            <a:pt x="25179" y="34150"/>
                            <a:pt x="25238" y="34030"/>
                          </a:cubicBezTo>
                          <a:cubicBezTo>
                            <a:pt x="25298" y="33911"/>
                            <a:pt x="25358" y="33791"/>
                            <a:pt x="25418" y="33671"/>
                          </a:cubicBezTo>
                          <a:cubicBezTo>
                            <a:pt x="25478" y="33552"/>
                            <a:pt x="25538" y="33432"/>
                            <a:pt x="25597" y="33313"/>
                          </a:cubicBezTo>
                          <a:cubicBezTo>
                            <a:pt x="25657" y="33253"/>
                            <a:pt x="25717" y="33133"/>
                            <a:pt x="25717" y="33073"/>
                          </a:cubicBezTo>
                          <a:cubicBezTo>
                            <a:pt x="25777" y="33013"/>
                            <a:pt x="25837" y="32894"/>
                            <a:pt x="25837" y="32834"/>
                          </a:cubicBezTo>
                          <a:cubicBezTo>
                            <a:pt x="25897" y="32774"/>
                            <a:pt x="25897" y="32655"/>
                            <a:pt x="25956" y="32595"/>
                          </a:cubicBezTo>
                          <a:cubicBezTo>
                            <a:pt x="26016" y="32535"/>
                            <a:pt x="26016" y="32415"/>
                            <a:pt x="26076" y="32356"/>
                          </a:cubicBezTo>
                          <a:cubicBezTo>
                            <a:pt x="26196" y="32116"/>
                            <a:pt x="26315" y="31877"/>
                            <a:pt x="26435" y="31578"/>
                          </a:cubicBezTo>
                          <a:cubicBezTo>
                            <a:pt x="26554" y="31339"/>
                            <a:pt x="26674" y="31099"/>
                            <a:pt x="26794" y="30800"/>
                          </a:cubicBezTo>
                          <a:cubicBezTo>
                            <a:pt x="26913" y="30561"/>
                            <a:pt x="27033" y="30322"/>
                            <a:pt x="27152" y="30023"/>
                          </a:cubicBezTo>
                          <a:cubicBezTo>
                            <a:pt x="27272" y="29784"/>
                            <a:pt x="27392" y="29485"/>
                            <a:pt x="27451" y="29245"/>
                          </a:cubicBezTo>
                          <a:cubicBezTo>
                            <a:pt x="27511" y="29186"/>
                            <a:pt x="27511" y="29066"/>
                            <a:pt x="27571" y="29006"/>
                          </a:cubicBezTo>
                          <a:cubicBezTo>
                            <a:pt x="27631" y="28946"/>
                            <a:pt x="27631" y="28827"/>
                            <a:pt x="27691" y="28767"/>
                          </a:cubicBezTo>
                          <a:cubicBezTo>
                            <a:pt x="27751" y="28707"/>
                            <a:pt x="27751" y="28588"/>
                            <a:pt x="27810" y="28528"/>
                          </a:cubicBezTo>
                          <a:cubicBezTo>
                            <a:pt x="27870" y="28468"/>
                            <a:pt x="27870" y="28349"/>
                            <a:pt x="27930" y="28289"/>
                          </a:cubicBezTo>
                          <a:cubicBezTo>
                            <a:pt x="27990" y="28050"/>
                            <a:pt x="28109" y="27750"/>
                            <a:pt x="28169" y="27511"/>
                          </a:cubicBezTo>
                          <a:cubicBezTo>
                            <a:pt x="28229" y="27272"/>
                            <a:pt x="28349" y="26973"/>
                            <a:pt x="28408" y="26734"/>
                          </a:cubicBezTo>
                          <a:cubicBezTo>
                            <a:pt x="28468" y="26495"/>
                            <a:pt x="28528" y="26196"/>
                            <a:pt x="28588" y="25956"/>
                          </a:cubicBezTo>
                          <a:cubicBezTo>
                            <a:pt x="28648" y="25717"/>
                            <a:pt x="28707" y="25418"/>
                            <a:pt x="28767" y="25179"/>
                          </a:cubicBezTo>
                          <a:cubicBezTo>
                            <a:pt x="28767" y="25059"/>
                            <a:pt x="28827" y="24999"/>
                            <a:pt x="28827" y="24880"/>
                          </a:cubicBezTo>
                          <a:cubicBezTo>
                            <a:pt x="28827" y="24760"/>
                            <a:pt x="28887" y="24700"/>
                            <a:pt x="28887" y="24581"/>
                          </a:cubicBezTo>
                          <a:cubicBezTo>
                            <a:pt x="28887" y="24461"/>
                            <a:pt x="28946" y="24401"/>
                            <a:pt x="28946" y="24282"/>
                          </a:cubicBezTo>
                          <a:cubicBezTo>
                            <a:pt x="28946" y="24162"/>
                            <a:pt x="28946" y="24102"/>
                            <a:pt x="29006" y="23983"/>
                          </a:cubicBezTo>
                          <a:cubicBezTo>
                            <a:pt x="29006" y="23923"/>
                            <a:pt x="29006" y="23923"/>
                            <a:pt x="29006" y="23863"/>
                          </a:cubicBezTo>
                          <a:cubicBezTo>
                            <a:pt x="29006" y="23803"/>
                            <a:pt x="29006" y="23803"/>
                            <a:pt x="29006" y="23743"/>
                          </a:cubicBezTo>
                          <a:cubicBezTo>
                            <a:pt x="29006" y="23683"/>
                            <a:pt x="29006" y="23683"/>
                            <a:pt x="29006" y="23624"/>
                          </a:cubicBezTo>
                          <a:cubicBezTo>
                            <a:pt x="29006" y="23564"/>
                            <a:pt x="29006" y="23564"/>
                            <a:pt x="29006" y="23504"/>
                          </a:cubicBezTo>
                          <a:cubicBezTo>
                            <a:pt x="28946" y="23384"/>
                            <a:pt x="28887" y="23325"/>
                            <a:pt x="28767" y="23205"/>
                          </a:cubicBezTo>
                          <a:cubicBezTo>
                            <a:pt x="28707" y="23085"/>
                            <a:pt x="28588" y="23026"/>
                            <a:pt x="28528" y="22906"/>
                          </a:cubicBezTo>
                          <a:cubicBezTo>
                            <a:pt x="28468" y="22787"/>
                            <a:pt x="28349" y="22727"/>
                            <a:pt x="28289" y="22607"/>
                          </a:cubicBezTo>
                          <a:cubicBezTo>
                            <a:pt x="28229" y="22488"/>
                            <a:pt x="28109" y="22428"/>
                            <a:pt x="28050" y="22308"/>
                          </a:cubicBezTo>
                          <a:cubicBezTo>
                            <a:pt x="28050" y="22308"/>
                            <a:pt x="28050" y="22368"/>
                            <a:pt x="28050" y="22368"/>
                          </a:cubicBezTo>
                          <a:cubicBezTo>
                            <a:pt x="28050" y="22368"/>
                            <a:pt x="28050" y="22428"/>
                            <a:pt x="28050" y="22428"/>
                          </a:cubicBezTo>
                          <a:cubicBezTo>
                            <a:pt x="28050" y="22428"/>
                            <a:pt x="28050" y="22488"/>
                            <a:pt x="28050" y="22488"/>
                          </a:cubicBezTo>
                          <a:cubicBezTo>
                            <a:pt x="28050" y="22488"/>
                            <a:pt x="28050" y="22547"/>
                            <a:pt x="28050" y="22547"/>
                          </a:cubicBezTo>
                          <a:cubicBezTo>
                            <a:pt x="28050" y="22607"/>
                            <a:pt x="28050" y="22667"/>
                            <a:pt x="28050" y="22727"/>
                          </a:cubicBezTo>
                          <a:cubicBezTo>
                            <a:pt x="28050" y="22787"/>
                            <a:pt x="28050" y="22846"/>
                            <a:pt x="28050" y="22906"/>
                          </a:cubicBezTo>
                          <a:cubicBezTo>
                            <a:pt x="28050" y="22966"/>
                            <a:pt x="28050" y="23026"/>
                            <a:pt x="28050" y="23085"/>
                          </a:cubicBezTo>
                          <a:cubicBezTo>
                            <a:pt x="28050" y="23145"/>
                            <a:pt x="28050" y="23205"/>
                            <a:pt x="28050" y="23265"/>
                          </a:cubicBezTo>
                          <a:cubicBezTo>
                            <a:pt x="28050" y="23384"/>
                            <a:pt x="28050" y="23444"/>
                            <a:pt x="28050" y="23564"/>
                          </a:cubicBezTo>
                          <a:cubicBezTo>
                            <a:pt x="28050" y="23683"/>
                            <a:pt x="28050" y="23743"/>
                            <a:pt x="27990" y="23863"/>
                          </a:cubicBezTo>
                          <a:cubicBezTo>
                            <a:pt x="27990" y="23983"/>
                            <a:pt x="27990" y="24042"/>
                            <a:pt x="27930" y="24162"/>
                          </a:cubicBezTo>
                          <a:cubicBezTo>
                            <a:pt x="27870" y="24282"/>
                            <a:pt x="27930" y="24342"/>
                            <a:pt x="27870" y="24461"/>
                          </a:cubicBezTo>
                          <a:cubicBezTo>
                            <a:pt x="27810" y="24700"/>
                            <a:pt x="27810" y="24999"/>
                            <a:pt x="27751" y="25238"/>
                          </a:cubicBezTo>
                          <a:cubicBezTo>
                            <a:pt x="27691" y="25478"/>
                            <a:pt x="27631" y="25777"/>
                            <a:pt x="27571" y="26016"/>
                          </a:cubicBezTo>
                          <a:cubicBezTo>
                            <a:pt x="27511" y="26255"/>
                            <a:pt x="27451" y="26554"/>
                            <a:pt x="27392" y="26794"/>
                          </a:cubicBezTo>
                          <a:cubicBezTo>
                            <a:pt x="27332" y="27033"/>
                            <a:pt x="27212" y="27332"/>
                            <a:pt x="27152" y="27571"/>
                          </a:cubicBezTo>
                          <a:cubicBezTo>
                            <a:pt x="27152" y="27631"/>
                            <a:pt x="27092" y="27750"/>
                            <a:pt x="27092" y="27810"/>
                          </a:cubicBezTo>
                          <a:cubicBezTo>
                            <a:pt x="27092" y="27870"/>
                            <a:pt x="27033" y="27990"/>
                            <a:pt x="27033" y="28050"/>
                          </a:cubicBezTo>
                          <a:cubicBezTo>
                            <a:pt x="26973" y="28109"/>
                            <a:pt x="26973" y="28229"/>
                            <a:pt x="26913" y="28289"/>
                          </a:cubicBezTo>
                          <a:cubicBezTo>
                            <a:pt x="26853" y="28349"/>
                            <a:pt x="26853" y="28468"/>
                            <a:pt x="26794" y="28528"/>
                          </a:cubicBezTo>
                          <a:cubicBezTo>
                            <a:pt x="26674" y="28767"/>
                            <a:pt x="26614" y="29066"/>
                            <a:pt x="26495" y="29305"/>
                          </a:cubicBezTo>
                          <a:cubicBezTo>
                            <a:pt x="26375" y="29545"/>
                            <a:pt x="26255" y="29844"/>
                            <a:pt x="26196" y="30083"/>
                          </a:cubicBezTo>
                          <a:cubicBezTo>
                            <a:pt x="26076" y="30322"/>
                            <a:pt x="25956" y="30621"/>
                            <a:pt x="25837" y="30860"/>
                          </a:cubicBezTo>
                          <a:cubicBezTo>
                            <a:pt x="25717" y="31099"/>
                            <a:pt x="25597" y="31399"/>
                            <a:pt x="25478" y="31638"/>
                          </a:cubicBezTo>
                          <a:cubicBezTo>
                            <a:pt x="25418" y="31698"/>
                            <a:pt x="25418" y="31817"/>
                            <a:pt x="25358" y="31877"/>
                          </a:cubicBezTo>
                          <a:cubicBezTo>
                            <a:pt x="25298" y="31937"/>
                            <a:pt x="25298" y="32057"/>
                            <a:pt x="25238" y="32116"/>
                          </a:cubicBezTo>
                          <a:cubicBezTo>
                            <a:pt x="25179" y="32176"/>
                            <a:pt x="25179" y="32296"/>
                            <a:pt x="25119" y="32356"/>
                          </a:cubicBezTo>
                          <a:cubicBezTo>
                            <a:pt x="25059" y="32415"/>
                            <a:pt x="24999" y="32535"/>
                            <a:pt x="24999" y="32595"/>
                          </a:cubicBezTo>
                          <a:cubicBezTo>
                            <a:pt x="24940" y="32714"/>
                            <a:pt x="24880" y="32834"/>
                            <a:pt x="24820" y="32954"/>
                          </a:cubicBezTo>
                          <a:cubicBezTo>
                            <a:pt x="24760" y="33073"/>
                            <a:pt x="24700" y="33193"/>
                            <a:pt x="24641" y="33313"/>
                          </a:cubicBezTo>
                          <a:cubicBezTo>
                            <a:pt x="24581" y="33432"/>
                            <a:pt x="24521" y="33552"/>
                            <a:pt x="24461" y="33671"/>
                          </a:cubicBezTo>
                          <a:cubicBezTo>
                            <a:pt x="24401" y="33791"/>
                            <a:pt x="24342" y="33911"/>
                            <a:pt x="24282" y="34030"/>
                          </a:cubicBezTo>
                          <a:cubicBezTo>
                            <a:pt x="24222" y="34090"/>
                            <a:pt x="24162" y="34210"/>
                            <a:pt x="24162" y="34269"/>
                          </a:cubicBezTo>
                          <a:cubicBezTo>
                            <a:pt x="24102" y="34329"/>
                            <a:pt x="24043" y="34449"/>
                            <a:pt x="24043" y="34509"/>
                          </a:cubicBezTo>
                          <a:cubicBezTo>
                            <a:pt x="23983" y="34568"/>
                            <a:pt x="23923" y="34688"/>
                            <a:pt x="23923" y="34748"/>
                          </a:cubicBezTo>
                          <a:cubicBezTo>
                            <a:pt x="23863" y="34808"/>
                            <a:pt x="23803" y="34927"/>
                            <a:pt x="23743" y="34987"/>
                          </a:cubicBezTo>
                          <a:cubicBezTo>
                            <a:pt x="23504" y="35406"/>
                            <a:pt x="23265" y="35765"/>
                            <a:pt x="22966" y="36183"/>
                          </a:cubicBezTo>
                          <a:cubicBezTo>
                            <a:pt x="22727" y="36602"/>
                            <a:pt x="22428" y="36961"/>
                            <a:pt x="22129" y="37380"/>
                          </a:cubicBezTo>
                          <a:cubicBezTo>
                            <a:pt x="21829" y="37798"/>
                            <a:pt x="21590" y="38157"/>
                            <a:pt x="21291" y="38575"/>
                          </a:cubicBezTo>
                          <a:cubicBezTo>
                            <a:pt x="20992" y="38994"/>
                            <a:pt x="20693" y="39353"/>
                            <a:pt x="20394" y="39772"/>
                          </a:cubicBezTo>
                          <a:cubicBezTo>
                            <a:pt x="20334" y="39831"/>
                            <a:pt x="20275" y="39891"/>
                            <a:pt x="20215" y="40011"/>
                          </a:cubicBezTo>
                          <a:cubicBezTo>
                            <a:pt x="20155" y="40130"/>
                            <a:pt x="20095" y="40130"/>
                            <a:pt x="20035" y="40250"/>
                          </a:cubicBezTo>
                          <a:cubicBezTo>
                            <a:pt x="19975" y="40310"/>
                            <a:pt x="19916" y="40370"/>
                            <a:pt x="19856" y="40489"/>
                          </a:cubicBezTo>
                          <a:cubicBezTo>
                            <a:pt x="19796" y="40609"/>
                            <a:pt x="19736" y="40609"/>
                            <a:pt x="19676" y="40729"/>
                          </a:cubicBezTo>
                          <a:cubicBezTo>
                            <a:pt x="19138" y="41386"/>
                            <a:pt x="18600" y="42044"/>
                            <a:pt x="18062" y="42702"/>
                          </a:cubicBezTo>
                          <a:cubicBezTo>
                            <a:pt x="17523" y="43360"/>
                            <a:pt x="16926" y="44018"/>
                            <a:pt x="16327" y="44676"/>
                          </a:cubicBezTo>
                          <a:cubicBezTo>
                            <a:pt x="15729" y="45334"/>
                            <a:pt x="15131" y="45992"/>
                            <a:pt x="14533" y="46650"/>
                          </a:cubicBezTo>
                          <a:cubicBezTo>
                            <a:pt x="13935" y="47307"/>
                            <a:pt x="13277" y="48145"/>
                            <a:pt x="12619" y="48803"/>
                          </a:cubicBezTo>
                          <a:moveTo>
                            <a:pt x="12260" y="52212"/>
                          </a:moveTo>
                          <a:lnTo>
                            <a:pt x="13038" y="52690"/>
                          </a:lnTo>
                          <a:cubicBezTo>
                            <a:pt x="13158" y="52570"/>
                            <a:pt x="13277" y="52451"/>
                            <a:pt x="13397" y="52331"/>
                          </a:cubicBezTo>
                          <a:cubicBezTo>
                            <a:pt x="13516" y="52212"/>
                            <a:pt x="13636" y="52092"/>
                            <a:pt x="13756" y="51972"/>
                          </a:cubicBezTo>
                          <a:cubicBezTo>
                            <a:pt x="13875" y="51853"/>
                            <a:pt x="13995" y="51733"/>
                            <a:pt x="14114" y="51614"/>
                          </a:cubicBezTo>
                          <a:cubicBezTo>
                            <a:pt x="14234" y="51494"/>
                            <a:pt x="14354" y="51374"/>
                            <a:pt x="14473" y="51255"/>
                          </a:cubicBezTo>
                          <a:lnTo>
                            <a:pt x="13696" y="50776"/>
                          </a:lnTo>
                          <a:cubicBezTo>
                            <a:pt x="13576" y="50896"/>
                            <a:pt x="13457" y="51015"/>
                            <a:pt x="13337" y="51135"/>
                          </a:cubicBezTo>
                          <a:cubicBezTo>
                            <a:pt x="13218" y="51255"/>
                            <a:pt x="13098" y="51374"/>
                            <a:pt x="12978" y="51494"/>
                          </a:cubicBezTo>
                          <a:cubicBezTo>
                            <a:pt x="12858" y="51614"/>
                            <a:pt x="12739" y="51733"/>
                            <a:pt x="12619" y="51853"/>
                          </a:cubicBezTo>
                          <a:cubicBezTo>
                            <a:pt x="12500" y="51972"/>
                            <a:pt x="12380" y="52092"/>
                            <a:pt x="12260" y="52212"/>
                          </a:cubicBezTo>
                          <a:moveTo>
                            <a:pt x="10526" y="51075"/>
                          </a:moveTo>
                          <a:lnTo>
                            <a:pt x="11304" y="51554"/>
                          </a:lnTo>
                          <a:cubicBezTo>
                            <a:pt x="11423" y="51434"/>
                            <a:pt x="11543" y="51314"/>
                            <a:pt x="11662" y="51195"/>
                          </a:cubicBezTo>
                          <a:cubicBezTo>
                            <a:pt x="11782" y="51075"/>
                            <a:pt x="11902" y="50955"/>
                            <a:pt x="12021" y="50836"/>
                          </a:cubicBezTo>
                          <a:cubicBezTo>
                            <a:pt x="12141" y="50716"/>
                            <a:pt x="12260" y="50597"/>
                            <a:pt x="12380" y="50477"/>
                          </a:cubicBezTo>
                          <a:cubicBezTo>
                            <a:pt x="12500" y="50358"/>
                            <a:pt x="12619" y="50238"/>
                            <a:pt x="12739" y="50118"/>
                          </a:cubicBezTo>
                          <a:lnTo>
                            <a:pt x="11961" y="49640"/>
                          </a:lnTo>
                          <a:cubicBezTo>
                            <a:pt x="11842" y="49760"/>
                            <a:pt x="11722" y="49879"/>
                            <a:pt x="11603" y="49999"/>
                          </a:cubicBezTo>
                          <a:cubicBezTo>
                            <a:pt x="11483" y="50118"/>
                            <a:pt x="11363" y="50238"/>
                            <a:pt x="11244" y="50358"/>
                          </a:cubicBezTo>
                          <a:cubicBezTo>
                            <a:pt x="11124" y="50477"/>
                            <a:pt x="11004" y="50597"/>
                            <a:pt x="10885" y="50716"/>
                          </a:cubicBezTo>
                          <a:cubicBezTo>
                            <a:pt x="10765" y="50836"/>
                            <a:pt x="10645" y="50955"/>
                            <a:pt x="10526" y="51075"/>
                          </a:cubicBezTo>
                          <a:moveTo>
                            <a:pt x="10287" y="54305"/>
                          </a:moveTo>
                          <a:lnTo>
                            <a:pt x="11064" y="54783"/>
                          </a:lnTo>
                          <a:cubicBezTo>
                            <a:pt x="11124" y="54723"/>
                            <a:pt x="11244" y="54604"/>
                            <a:pt x="11304" y="54544"/>
                          </a:cubicBezTo>
                          <a:cubicBezTo>
                            <a:pt x="11363" y="54484"/>
                            <a:pt x="11483" y="54365"/>
                            <a:pt x="11543" y="54305"/>
                          </a:cubicBezTo>
                          <a:cubicBezTo>
                            <a:pt x="11603" y="54245"/>
                            <a:pt x="11722" y="54125"/>
                            <a:pt x="11782" y="54066"/>
                          </a:cubicBezTo>
                          <a:cubicBezTo>
                            <a:pt x="11842" y="54006"/>
                            <a:pt x="11961" y="53886"/>
                            <a:pt x="12021" y="53826"/>
                          </a:cubicBezTo>
                          <a:cubicBezTo>
                            <a:pt x="12021" y="53826"/>
                            <a:pt x="12021" y="53767"/>
                            <a:pt x="12081" y="53767"/>
                          </a:cubicBezTo>
                          <a:cubicBezTo>
                            <a:pt x="12141" y="53767"/>
                            <a:pt x="12081" y="53707"/>
                            <a:pt x="12141" y="53707"/>
                          </a:cubicBezTo>
                          <a:cubicBezTo>
                            <a:pt x="12141" y="53707"/>
                            <a:pt x="12141" y="53647"/>
                            <a:pt x="12201" y="53647"/>
                          </a:cubicBezTo>
                          <a:cubicBezTo>
                            <a:pt x="12260" y="53647"/>
                            <a:pt x="12201" y="53587"/>
                            <a:pt x="12260" y="53587"/>
                          </a:cubicBezTo>
                          <a:lnTo>
                            <a:pt x="11483" y="53109"/>
                          </a:lnTo>
                          <a:cubicBezTo>
                            <a:pt x="11483" y="53109"/>
                            <a:pt x="11483" y="53109"/>
                            <a:pt x="11483" y="53109"/>
                          </a:cubicBezTo>
                          <a:cubicBezTo>
                            <a:pt x="11483" y="53109"/>
                            <a:pt x="11483" y="53109"/>
                            <a:pt x="11483" y="53109"/>
                          </a:cubicBezTo>
                          <a:cubicBezTo>
                            <a:pt x="11483" y="53109"/>
                            <a:pt x="11483" y="53109"/>
                            <a:pt x="11483" y="53109"/>
                          </a:cubicBezTo>
                          <a:cubicBezTo>
                            <a:pt x="11483" y="53109"/>
                            <a:pt x="11483" y="53109"/>
                            <a:pt x="11483" y="53109"/>
                          </a:cubicBezTo>
                          <a:cubicBezTo>
                            <a:pt x="11363" y="53228"/>
                            <a:pt x="11304" y="53288"/>
                            <a:pt x="11184" y="53408"/>
                          </a:cubicBezTo>
                          <a:cubicBezTo>
                            <a:pt x="11064" y="53527"/>
                            <a:pt x="11004" y="53587"/>
                            <a:pt x="10885" y="53707"/>
                          </a:cubicBezTo>
                          <a:cubicBezTo>
                            <a:pt x="10765" y="53826"/>
                            <a:pt x="10705" y="53886"/>
                            <a:pt x="10586" y="54006"/>
                          </a:cubicBezTo>
                          <a:cubicBezTo>
                            <a:pt x="10466" y="54125"/>
                            <a:pt x="10406" y="54185"/>
                            <a:pt x="10287" y="54305"/>
                          </a:cubicBezTo>
                          <a:moveTo>
                            <a:pt x="8612" y="53168"/>
                          </a:moveTo>
                          <a:lnTo>
                            <a:pt x="9390" y="53647"/>
                          </a:lnTo>
                          <a:cubicBezTo>
                            <a:pt x="9509" y="53527"/>
                            <a:pt x="9569" y="53468"/>
                            <a:pt x="9689" y="53348"/>
                          </a:cubicBezTo>
                          <a:cubicBezTo>
                            <a:pt x="9808" y="53228"/>
                            <a:pt x="9868" y="53168"/>
                            <a:pt x="9988" y="53049"/>
                          </a:cubicBezTo>
                          <a:cubicBezTo>
                            <a:pt x="10107" y="52929"/>
                            <a:pt x="10167" y="52810"/>
                            <a:pt x="10287" y="52750"/>
                          </a:cubicBezTo>
                          <a:cubicBezTo>
                            <a:pt x="10406" y="52690"/>
                            <a:pt x="10466" y="52511"/>
                            <a:pt x="10586" y="52451"/>
                          </a:cubicBezTo>
                          <a:lnTo>
                            <a:pt x="9808" y="51972"/>
                          </a:lnTo>
                          <a:cubicBezTo>
                            <a:pt x="9689" y="52092"/>
                            <a:pt x="9629" y="52212"/>
                            <a:pt x="9509" y="52271"/>
                          </a:cubicBezTo>
                          <a:cubicBezTo>
                            <a:pt x="9390" y="52391"/>
                            <a:pt x="9330" y="52511"/>
                            <a:pt x="9210" y="52570"/>
                          </a:cubicBezTo>
                          <a:cubicBezTo>
                            <a:pt x="9091" y="52630"/>
                            <a:pt x="9031" y="52750"/>
                            <a:pt x="8911" y="52869"/>
                          </a:cubicBezTo>
                          <a:cubicBezTo>
                            <a:pt x="8791" y="52989"/>
                            <a:pt x="8672" y="53049"/>
                            <a:pt x="8612" y="53168"/>
                          </a:cubicBezTo>
                          <a:moveTo>
                            <a:pt x="0" y="62917"/>
                          </a:moveTo>
                          <a:lnTo>
                            <a:pt x="2452" y="64532"/>
                          </a:lnTo>
                          <a:lnTo>
                            <a:pt x="2811" y="64113"/>
                          </a:lnTo>
                          <a:cubicBezTo>
                            <a:pt x="2990" y="63874"/>
                            <a:pt x="3170" y="63635"/>
                            <a:pt x="3409" y="63396"/>
                          </a:cubicBezTo>
                          <a:cubicBezTo>
                            <a:pt x="3588" y="63156"/>
                            <a:pt x="3828" y="62917"/>
                            <a:pt x="4007" y="62678"/>
                          </a:cubicBezTo>
                          <a:cubicBezTo>
                            <a:pt x="4187" y="62439"/>
                            <a:pt x="4426" y="62199"/>
                            <a:pt x="4605" y="61960"/>
                          </a:cubicBezTo>
                          <a:cubicBezTo>
                            <a:pt x="4785" y="61721"/>
                            <a:pt x="5024" y="61482"/>
                            <a:pt x="5203" y="61243"/>
                          </a:cubicBezTo>
                          <a:cubicBezTo>
                            <a:pt x="5263" y="61183"/>
                            <a:pt x="5323" y="61123"/>
                            <a:pt x="5382" y="61003"/>
                          </a:cubicBezTo>
                          <a:cubicBezTo>
                            <a:pt x="5442" y="60944"/>
                            <a:pt x="5502" y="60884"/>
                            <a:pt x="5562" y="60764"/>
                          </a:cubicBezTo>
                          <a:cubicBezTo>
                            <a:pt x="5622" y="60704"/>
                            <a:pt x="5682" y="60644"/>
                            <a:pt x="5742" y="60525"/>
                          </a:cubicBezTo>
                          <a:cubicBezTo>
                            <a:pt x="5801" y="60405"/>
                            <a:pt x="5861" y="60405"/>
                            <a:pt x="5921" y="60285"/>
                          </a:cubicBezTo>
                          <a:cubicBezTo>
                            <a:pt x="6280" y="59867"/>
                            <a:pt x="6639" y="59508"/>
                            <a:pt x="6937" y="59090"/>
                          </a:cubicBezTo>
                          <a:cubicBezTo>
                            <a:pt x="7296" y="58671"/>
                            <a:pt x="7655" y="58312"/>
                            <a:pt x="8014" y="57893"/>
                          </a:cubicBezTo>
                          <a:cubicBezTo>
                            <a:pt x="8373" y="57475"/>
                            <a:pt x="8732" y="57116"/>
                            <a:pt x="9091" y="56697"/>
                          </a:cubicBezTo>
                          <a:cubicBezTo>
                            <a:pt x="9450" y="56278"/>
                            <a:pt x="9808" y="55920"/>
                            <a:pt x="10227" y="55501"/>
                          </a:cubicBezTo>
                          <a:lnTo>
                            <a:pt x="9509" y="55022"/>
                          </a:lnTo>
                          <a:cubicBezTo>
                            <a:pt x="9150" y="55441"/>
                            <a:pt x="8732" y="55800"/>
                            <a:pt x="8373" y="56219"/>
                          </a:cubicBezTo>
                          <a:cubicBezTo>
                            <a:pt x="8014" y="56637"/>
                            <a:pt x="7655" y="56996"/>
                            <a:pt x="7296" y="57415"/>
                          </a:cubicBezTo>
                          <a:cubicBezTo>
                            <a:pt x="6937" y="57833"/>
                            <a:pt x="6579" y="58192"/>
                            <a:pt x="6220" y="58611"/>
                          </a:cubicBezTo>
                          <a:cubicBezTo>
                            <a:pt x="5861" y="59030"/>
                            <a:pt x="5502" y="59389"/>
                            <a:pt x="5203" y="59807"/>
                          </a:cubicBezTo>
                          <a:cubicBezTo>
                            <a:pt x="5143" y="59867"/>
                            <a:pt x="5083" y="59927"/>
                            <a:pt x="5024" y="60046"/>
                          </a:cubicBezTo>
                          <a:cubicBezTo>
                            <a:pt x="4964" y="60166"/>
                            <a:pt x="4904" y="60166"/>
                            <a:pt x="4844" y="60285"/>
                          </a:cubicBezTo>
                          <a:cubicBezTo>
                            <a:pt x="4785" y="60345"/>
                            <a:pt x="4725" y="60405"/>
                            <a:pt x="4665" y="60525"/>
                          </a:cubicBezTo>
                          <a:cubicBezTo>
                            <a:pt x="4605" y="60585"/>
                            <a:pt x="4545" y="60644"/>
                            <a:pt x="4486" y="60764"/>
                          </a:cubicBezTo>
                          <a:cubicBezTo>
                            <a:pt x="4306" y="60944"/>
                            <a:pt x="4127" y="61183"/>
                            <a:pt x="3947" y="61362"/>
                          </a:cubicBezTo>
                          <a:cubicBezTo>
                            <a:pt x="3768" y="61541"/>
                            <a:pt x="3588" y="61781"/>
                            <a:pt x="3409" y="61960"/>
                          </a:cubicBezTo>
                          <a:cubicBezTo>
                            <a:pt x="3229" y="62139"/>
                            <a:pt x="3050" y="62379"/>
                            <a:pt x="2930" y="62558"/>
                          </a:cubicBezTo>
                          <a:cubicBezTo>
                            <a:pt x="2751" y="62738"/>
                            <a:pt x="2572" y="62977"/>
                            <a:pt x="2452" y="63156"/>
                          </a:cubicBezTo>
                          <a:lnTo>
                            <a:pt x="1495" y="62558"/>
                          </a:lnTo>
                          <a:cubicBezTo>
                            <a:pt x="1674" y="62379"/>
                            <a:pt x="1854" y="62139"/>
                            <a:pt x="1974" y="61960"/>
                          </a:cubicBezTo>
                          <a:cubicBezTo>
                            <a:pt x="2153" y="61781"/>
                            <a:pt x="2333" y="61541"/>
                            <a:pt x="2452" y="61362"/>
                          </a:cubicBezTo>
                          <a:cubicBezTo>
                            <a:pt x="2572" y="61183"/>
                            <a:pt x="2811" y="60944"/>
                            <a:pt x="2990" y="60764"/>
                          </a:cubicBezTo>
                          <a:cubicBezTo>
                            <a:pt x="3170" y="60585"/>
                            <a:pt x="3349" y="60345"/>
                            <a:pt x="3528" y="60166"/>
                          </a:cubicBezTo>
                          <a:cubicBezTo>
                            <a:pt x="3588" y="60106"/>
                            <a:pt x="3648" y="60046"/>
                            <a:pt x="3708" y="59927"/>
                          </a:cubicBezTo>
                          <a:cubicBezTo>
                            <a:pt x="3768" y="59867"/>
                            <a:pt x="3828" y="59807"/>
                            <a:pt x="3887" y="59687"/>
                          </a:cubicBezTo>
                          <a:cubicBezTo>
                            <a:pt x="3947" y="59568"/>
                            <a:pt x="4007" y="59568"/>
                            <a:pt x="4067" y="59448"/>
                          </a:cubicBezTo>
                          <a:cubicBezTo>
                            <a:pt x="4127" y="59329"/>
                            <a:pt x="4187" y="59329"/>
                            <a:pt x="4246" y="59209"/>
                          </a:cubicBezTo>
                          <a:cubicBezTo>
                            <a:pt x="4605" y="58790"/>
                            <a:pt x="4964" y="58431"/>
                            <a:pt x="5263" y="58013"/>
                          </a:cubicBezTo>
                          <a:cubicBezTo>
                            <a:pt x="5622" y="57594"/>
                            <a:pt x="5981" y="57236"/>
                            <a:pt x="6340" y="56817"/>
                          </a:cubicBezTo>
                          <a:cubicBezTo>
                            <a:pt x="6698" y="56398"/>
                            <a:pt x="7057" y="56039"/>
                            <a:pt x="7416" y="55621"/>
                          </a:cubicBezTo>
                          <a:cubicBezTo>
                            <a:pt x="7775" y="55202"/>
                            <a:pt x="8134" y="54843"/>
                            <a:pt x="8552" y="54424"/>
                          </a:cubicBezTo>
                          <a:lnTo>
                            <a:pt x="7775" y="53946"/>
                          </a:lnTo>
                          <a:cubicBezTo>
                            <a:pt x="7416" y="54365"/>
                            <a:pt x="6997" y="54723"/>
                            <a:pt x="6639" y="55142"/>
                          </a:cubicBezTo>
                          <a:cubicBezTo>
                            <a:pt x="6280" y="55561"/>
                            <a:pt x="5921" y="55920"/>
                            <a:pt x="5562" y="56338"/>
                          </a:cubicBezTo>
                          <a:cubicBezTo>
                            <a:pt x="5203" y="56757"/>
                            <a:pt x="4844" y="57116"/>
                            <a:pt x="4486" y="57535"/>
                          </a:cubicBezTo>
                          <a:cubicBezTo>
                            <a:pt x="4127" y="57953"/>
                            <a:pt x="3768" y="58312"/>
                            <a:pt x="3469" y="58731"/>
                          </a:cubicBezTo>
                          <a:cubicBezTo>
                            <a:pt x="3409" y="58790"/>
                            <a:pt x="3349" y="58850"/>
                            <a:pt x="3289" y="58970"/>
                          </a:cubicBezTo>
                          <a:cubicBezTo>
                            <a:pt x="3229" y="59030"/>
                            <a:pt x="3170" y="59090"/>
                            <a:pt x="3110" y="59209"/>
                          </a:cubicBezTo>
                          <a:cubicBezTo>
                            <a:pt x="3050" y="59269"/>
                            <a:pt x="2990" y="59329"/>
                            <a:pt x="2930" y="59448"/>
                          </a:cubicBezTo>
                          <a:cubicBezTo>
                            <a:pt x="2871" y="59508"/>
                            <a:pt x="2811" y="59568"/>
                            <a:pt x="2751" y="59687"/>
                          </a:cubicBezTo>
                          <a:cubicBezTo>
                            <a:pt x="2572" y="59927"/>
                            <a:pt x="2333" y="60166"/>
                            <a:pt x="2153" y="60405"/>
                          </a:cubicBezTo>
                          <a:cubicBezTo>
                            <a:pt x="1974" y="60644"/>
                            <a:pt x="1734" y="60884"/>
                            <a:pt x="1555" y="61123"/>
                          </a:cubicBezTo>
                          <a:cubicBezTo>
                            <a:pt x="1375" y="61362"/>
                            <a:pt x="1136" y="61601"/>
                            <a:pt x="957" y="61840"/>
                          </a:cubicBezTo>
                          <a:cubicBezTo>
                            <a:pt x="778" y="62080"/>
                            <a:pt x="538" y="62319"/>
                            <a:pt x="359" y="62558"/>
                          </a:cubicBezTo>
                          <a:lnTo>
                            <a:pt x="0" y="62917"/>
                          </a:lnTo>
                        </a:path>
                      </a:pathLst>
                    </a:custGeom>
                    <a:noFill/>
                    <a:ln w="6350" cap="flat">
                      <a:solidFill>
                        <a:schemeClr val="bg1">
                          <a:alpha val="80000"/>
                        </a:schemeClr>
                      </a:solidFill>
                      <a:prstDash val="solid"/>
                      <a:miter/>
                    </a:ln>
                  </p:spPr>
                  <p:txBody>
                    <a:bodyPr rtlCol="0" anchor="ctr"/>
                    <a:lstStyle/>
                    <a:p>
                      <a:endParaRPr lang="en-GB"/>
                    </a:p>
                  </p:txBody>
                </p:sp>
                <p:sp>
                  <p:nvSpPr>
                    <p:cNvPr id="7485" name="Vrije vorm: vorm 7484">
                      <a:extLst>
                        <a:ext uri="{FF2B5EF4-FFF2-40B4-BE49-F238E27FC236}">
                          <a16:creationId xmlns:a16="http://schemas.microsoft.com/office/drawing/2014/main" id="{D120D909-9E2A-4E6C-BD92-0498E47BBFCC}"/>
                        </a:ext>
                      </a:extLst>
                    </p:cNvPr>
                    <p:cNvSpPr/>
                    <p:nvPr/>
                  </p:nvSpPr>
                  <p:spPr>
                    <a:xfrm>
                      <a:off x="5069100" y="5301172"/>
                      <a:ext cx="31039" cy="73263"/>
                    </a:xfrm>
                    <a:custGeom>
                      <a:avLst/>
                      <a:gdLst>
                        <a:gd name="connsiteX0" fmla="*/ 18122 w 31039"/>
                        <a:gd name="connsiteY0" fmla="*/ 7596 h 73263"/>
                        <a:gd name="connsiteX1" fmla="*/ 18301 w 31039"/>
                        <a:gd name="connsiteY1" fmla="*/ 7357 h 73263"/>
                        <a:gd name="connsiteX2" fmla="*/ 18481 w 31039"/>
                        <a:gd name="connsiteY2" fmla="*/ 7117 h 73263"/>
                        <a:gd name="connsiteX3" fmla="*/ 18660 w 31039"/>
                        <a:gd name="connsiteY3" fmla="*/ 6878 h 73263"/>
                        <a:gd name="connsiteX4" fmla="*/ 18839 w 31039"/>
                        <a:gd name="connsiteY4" fmla="*/ 6639 h 73263"/>
                        <a:gd name="connsiteX5" fmla="*/ 17643 w 31039"/>
                        <a:gd name="connsiteY5" fmla="*/ 5622 h 73263"/>
                        <a:gd name="connsiteX6" fmla="*/ 16387 w 31039"/>
                        <a:gd name="connsiteY6" fmla="*/ 4605 h 73263"/>
                        <a:gd name="connsiteX7" fmla="*/ 15012 w 31039"/>
                        <a:gd name="connsiteY7" fmla="*/ 3589 h 73263"/>
                        <a:gd name="connsiteX8" fmla="*/ 13576 w 31039"/>
                        <a:gd name="connsiteY8" fmla="*/ 2572 h 73263"/>
                        <a:gd name="connsiteX9" fmla="*/ 14533 w 31039"/>
                        <a:gd name="connsiteY9" fmla="*/ 1376 h 73263"/>
                        <a:gd name="connsiteX10" fmla="*/ 15909 w 31039"/>
                        <a:gd name="connsiteY10" fmla="*/ 2392 h 73263"/>
                        <a:gd name="connsiteX11" fmla="*/ 17225 w 31039"/>
                        <a:gd name="connsiteY11" fmla="*/ 3409 h 73263"/>
                        <a:gd name="connsiteX12" fmla="*/ 18481 w 31039"/>
                        <a:gd name="connsiteY12" fmla="*/ 4426 h 73263"/>
                        <a:gd name="connsiteX13" fmla="*/ 19676 w 31039"/>
                        <a:gd name="connsiteY13" fmla="*/ 5443 h 73263"/>
                        <a:gd name="connsiteX14" fmla="*/ 19856 w 31039"/>
                        <a:gd name="connsiteY14" fmla="*/ 5203 h 73263"/>
                        <a:gd name="connsiteX15" fmla="*/ 19976 w 31039"/>
                        <a:gd name="connsiteY15" fmla="*/ 4964 h 73263"/>
                        <a:gd name="connsiteX16" fmla="*/ 20095 w 31039"/>
                        <a:gd name="connsiteY16" fmla="*/ 4725 h 73263"/>
                        <a:gd name="connsiteX17" fmla="*/ 20215 w 31039"/>
                        <a:gd name="connsiteY17" fmla="*/ 4486 h 73263"/>
                        <a:gd name="connsiteX18" fmla="*/ 18959 w 31039"/>
                        <a:gd name="connsiteY18" fmla="*/ 3409 h 73263"/>
                        <a:gd name="connsiteX19" fmla="*/ 17643 w 31039"/>
                        <a:gd name="connsiteY19" fmla="*/ 2333 h 73263"/>
                        <a:gd name="connsiteX20" fmla="*/ 16268 w 31039"/>
                        <a:gd name="connsiteY20" fmla="*/ 1256 h 73263"/>
                        <a:gd name="connsiteX21" fmla="*/ 14773 w 31039"/>
                        <a:gd name="connsiteY21" fmla="*/ 239 h 73263"/>
                        <a:gd name="connsiteX22" fmla="*/ 14414 w 31039"/>
                        <a:gd name="connsiteY22" fmla="*/ 0 h 73263"/>
                        <a:gd name="connsiteX23" fmla="*/ 12081 w 31039"/>
                        <a:gd name="connsiteY23" fmla="*/ 2930 h 73263"/>
                        <a:gd name="connsiteX24" fmla="*/ 12440 w 31039"/>
                        <a:gd name="connsiteY24" fmla="*/ 3170 h 73263"/>
                        <a:gd name="connsiteX25" fmla="*/ 13995 w 31039"/>
                        <a:gd name="connsiteY25" fmla="*/ 4246 h 73263"/>
                        <a:gd name="connsiteX26" fmla="*/ 15430 w 31039"/>
                        <a:gd name="connsiteY26" fmla="*/ 5323 h 73263"/>
                        <a:gd name="connsiteX27" fmla="*/ 16806 w 31039"/>
                        <a:gd name="connsiteY27" fmla="*/ 6459 h 73263"/>
                        <a:gd name="connsiteX28" fmla="*/ 18122 w 31039"/>
                        <a:gd name="connsiteY28" fmla="*/ 7596 h 73263"/>
                        <a:gd name="connsiteX29" fmla="*/ 28289 w 31039"/>
                        <a:gd name="connsiteY29" fmla="*/ 30621 h 73263"/>
                        <a:gd name="connsiteX30" fmla="*/ 28468 w 31039"/>
                        <a:gd name="connsiteY30" fmla="*/ 29425 h 73263"/>
                        <a:gd name="connsiteX31" fmla="*/ 28588 w 31039"/>
                        <a:gd name="connsiteY31" fmla="*/ 28229 h 73263"/>
                        <a:gd name="connsiteX32" fmla="*/ 28648 w 31039"/>
                        <a:gd name="connsiteY32" fmla="*/ 27033 h 73263"/>
                        <a:gd name="connsiteX33" fmla="*/ 28648 w 31039"/>
                        <a:gd name="connsiteY33" fmla="*/ 25837 h 73263"/>
                        <a:gd name="connsiteX34" fmla="*/ 28648 w 31039"/>
                        <a:gd name="connsiteY34" fmla="*/ 25598 h 73263"/>
                        <a:gd name="connsiteX35" fmla="*/ 28648 w 31039"/>
                        <a:gd name="connsiteY35" fmla="*/ 25358 h 73263"/>
                        <a:gd name="connsiteX36" fmla="*/ 28648 w 31039"/>
                        <a:gd name="connsiteY36" fmla="*/ 25119 h 73263"/>
                        <a:gd name="connsiteX37" fmla="*/ 28648 w 31039"/>
                        <a:gd name="connsiteY37" fmla="*/ 24880 h 73263"/>
                        <a:gd name="connsiteX38" fmla="*/ 28648 w 31039"/>
                        <a:gd name="connsiteY38" fmla="*/ 24521 h 73263"/>
                        <a:gd name="connsiteX39" fmla="*/ 28648 w 31039"/>
                        <a:gd name="connsiteY39" fmla="*/ 24162 h 73263"/>
                        <a:gd name="connsiteX40" fmla="*/ 28588 w 31039"/>
                        <a:gd name="connsiteY40" fmla="*/ 23804 h 73263"/>
                        <a:gd name="connsiteX41" fmla="*/ 28528 w 31039"/>
                        <a:gd name="connsiteY41" fmla="*/ 23445 h 73263"/>
                        <a:gd name="connsiteX42" fmla="*/ 27571 w 31039"/>
                        <a:gd name="connsiteY42" fmla="*/ 19138 h 73263"/>
                        <a:gd name="connsiteX43" fmla="*/ 25717 w 31039"/>
                        <a:gd name="connsiteY43" fmla="*/ 15012 h 73263"/>
                        <a:gd name="connsiteX44" fmla="*/ 22966 w 31039"/>
                        <a:gd name="connsiteY44" fmla="*/ 11005 h 73263"/>
                        <a:gd name="connsiteX45" fmla="*/ 19318 w 31039"/>
                        <a:gd name="connsiteY45" fmla="*/ 7117 h 73263"/>
                        <a:gd name="connsiteX46" fmla="*/ 19138 w 31039"/>
                        <a:gd name="connsiteY46" fmla="*/ 7357 h 73263"/>
                        <a:gd name="connsiteX47" fmla="*/ 18959 w 31039"/>
                        <a:gd name="connsiteY47" fmla="*/ 7596 h 73263"/>
                        <a:gd name="connsiteX48" fmla="*/ 18780 w 31039"/>
                        <a:gd name="connsiteY48" fmla="*/ 7835 h 73263"/>
                        <a:gd name="connsiteX49" fmla="*/ 18600 w 31039"/>
                        <a:gd name="connsiteY49" fmla="*/ 8074 h 73263"/>
                        <a:gd name="connsiteX50" fmla="*/ 21890 w 31039"/>
                        <a:gd name="connsiteY50" fmla="*/ 11603 h 73263"/>
                        <a:gd name="connsiteX51" fmla="*/ 24401 w 31039"/>
                        <a:gd name="connsiteY51" fmla="*/ 15191 h 73263"/>
                        <a:gd name="connsiteX52" fmla="*/ 26196 w 31039"/>
                        <a:gd name="connsiteY52" fmla="*/ 18899 h 73263"/>
                        <a:gd name="connsiteX53" fmla="*/ 27212 w 31039"/>
                        <a:gd name="connsiteY53" fmla="*/ 22727 h 73263"/>
                        <a:gd name="connsiteX54" fmla="*/ 27272 w 31039"/>
                        <a:gd name="connsiteY54" fmla="*/ 23086 h 73263"/>
                        <a:gd name="connsiteX55" fmla="*/ 27332 w 31039"/>
                        <a:gd name="connsiteY55" fmla="*/ 23445 h 73263"/>
                        <a:gd name="connsiteX56" fmla="*/ 27392 w 31039"/>
                        <a:gd name="connsiteY56" fmla="*/ 23804 h 73263"/>
                        <a:gd name="connsiteX57" fmla="*/ 27452 w 31039"/>
                        <a:gd name="connsiteY57" fmla="*/ 24162 h 73263"/>
                        <a:gd name="connsiteX58" fmla="*/ 27511 w 31039"/>
                        <a:gd name="connsiteY58" fmla="*/ 24641 h 73263"/>
                        <a:gd name="connsiteX59" fmla="*/ 27571 w 31039"/>
                        <a:gd name="connsiteY59" fmla="*/ 25119 h 73263"/>
                        <a:gd name="connsiteX60" fmla="*/ 27571 w 31039"/>
                        <a:gd name="connsiteY60" fmla="*/ 25598 h 73263"/>
                        <a:gd name="connsiteX61" fmla="*/ 27571 w 31039"/>
                        <a:gd name="connsiteY61" fmla="*/ 26076 h 73263"/>
                        <a:gd name="connsiteX62" fmla="*/ 27571 w 31039"/>
                        <a:gd name="connsiteY62" fmla="*/ 26794 h 73263"/>
                        <a:gd name="connsiteX63" fmla="*/ 27511 w 31039"/>
                        <a:gd name="connsiteY63" fmla="*/ 27512 h 73263"/>
                        <a:gd name="connsiteX64" fmla="*/ 27452 w 31039"/>
                        <a:gd name="connsiteY64" fmla="*/ 28229 h 73263"/>
                        <a:gd name="connsiteX65" fmla="*/ 27392 w 31039"/>
                        <a:gd name="connsiteY65" fmla="*/ 28947 h 73263"/>
                        <a:gd name="connsiteX66" fmla="*/ 27571 w 31039"/>
                        <a:gd name="connsiteY66" fmla="*/ 29306 h 73263"/>
                        <a:gd name="connsiteX67" fmla="*/ 27751 w 31039"/>
                        <a:gd name="connsiteY67" fmla="*/ 29665 h 73263"/>
                        <a:gd name="connsiteX68" fmla="*/ 27930 w 31039"/>
                        <a:gd name="connsiteY68" fmla="*/ 30023 h 73263"/>
                        <a:gd name="connsiteX69" fmla="*/ 28289 w 31039"/>
                        <a:gd name="connsiteY69" fmla="*/ 30621 h 73263"/>
                        <a:gd name="connsiteX70" fmla="*/ 29605 w 31039"/>
                        <a:gd name="connsiteY70" fmla="*/ 34150 h 73263"/>
                        <a:gd name="connsiteX71" fmla="*/ 29665 w 31039"/>
                        <a:gd name="connsiteY71" fmla="*/ 34030 h 73263"/>
                        <a:gd name="connsiteX72" fmla="*/ 29724 w 31039"/>
                        <a:gd name="connsiteY72" fmla="*/ 33911 h 73263"/>
                        <a:gd name="connsiteX73" fmla="*/ 29784 w 31039"/>
                        <a:gd name="connsiteY73" fmla="*/ 33791 h 73263"/>
                        <a:gd name="connsiteX74" fmla="*/ 29844 w 31039"/>
                        <a:gd name="connsiteY74" fmla="*/ 33671 h 73263"/>
                        <a:gd name="connsiteX75" fmla="*/ 30322 w 31039"/>
                        <a:gd name="connsiteY75" fmla="*/ 31937 h 73263"/>
                        <a:gd name="connsiteX76" fmla="*/ 30681 w 31039"/>
                        <a:gd name="connsiteY76" fmla="*/ 30143 h 73263"/>
                        <a:gd name="connsiteX77" fmla="*/ 30920 w 31039"/>
                        <a:gd name="connsiteY77" fmla="*/ 28349 h 73263"/>
                        <a:gd name="connsiteX78" fmla="*/ 31040 w 31039"/>
                        <a:gd name="connsiteY78" fmla="*/ 26554 h 73263"/>
                        <a:gd name="connsiteX79" fmla="*/ 31040 w 31039"/>
                        <a:gd name="connsiteY79" fmla="*/ 26255 h 73263"/>
                        <a:gd name="connsiteX80" fmla="*/ 31040 w 31039"/>
                        <a:gd name="connsiteY80" fmla="*/ 25956 h 73263"/>
                        <a:gd name="connsiteX81" fmla="*/ 31040 w 31039"/>
                        <a:gd name="connsiteY81" fmla="*/ 25658 h 73263"/>
                        <a:gd name="connsiteX82" fmla="*/ 31040 w 31039"/>
                        <a:gd name="connsiteY82" fmla="*/ 25358 h 73263"/>
                        <a:gd name="connsiteX83" fmla="*/ 31040 w 31039"/>
                        <a:gd name="connsiteY83" fmla="*/ 25358 h 73263"/>
                        <a:gd name="connsiteX84" fmla="*/ 31040 w 31039"/>
                        <a:gd name="connsiteY84" fmla="*/ 25358 h 73263"/>
                        <a:gd name="connsiteX85" fmla="*/ 31040 w 31039"/>
                        <a:gd name="connsiteY85" fmla="*/ 25358 h 73263"/>
                        <a:gd name="connsiteX86" fmla="*/ 31040 w 31039"/>
                        <a:gd name="connsiteY86" fmla="*/ 25358 h 73263"/>
                        <a:gd name="connsiteX87" fmla="*/ 30382 w 31039"/>
                        <a:gd name="connsiteY87" fmla="*/ 19976 h 73263"/>
                        <a:gd name="connsiteX88" fmla="*/ 28468 w 31039"/>
                        <a:gd name="connsiteY88" fmla="*/ 14832 h 73263"/>
                        <a:gd name="connsiteX89" fmla="*/ 25298 w 31039"/>
                        <a:gd name="connsiteY89" fmla="*/ 9868 h 73263"/>
                        <a:gd name="connsiteX90" fmla="*/ 20873 w 31039"/>
                        <a:gd name="connsiteY90" fmla="*/ 5084 h 73263"/>
                        <a:gd name="connsiteX91" fmla="*/ 20753 w 31039"/>
                        <a:gd name="connsiteY91" fmla="*/ 5323 h 73263"/>
                        <a:gd name="connsiteX92" fmla="*/ 20634 w 31039"/>
                        <a:gd name="connsiteY92" fmla="*/ 5562 h 73263"/>
                        <a:gd name="connsiteX93" fmla="*/ 20454 w 31039"/>
                        <a:gd name="connsiteY93" fmla="*/ 5801 h 73263"/>
                        <a:gd name="connsiteX94" fmla="*/ 20275 w 31039"/>
                        <a:gd name="connsiteY94" fmla="*/ 6041 h 73263"/>
                        <a:gd name="connsiteX95" fmla="*/ 24401 w 31039"/>
                        <a:gd name="connsiteY95" fmla="*/ 10406 h 73263"/>
                        <a:gd name="connsiteX96" fmla="*/ 27392 w 31039"/>
                        <a:gd name="connsiteY96" fmla="*/ 14952 h 73263"/>
                        <a:gd name="connsiteX97" fmla="*/ 29246 w 31039"/>
                        <a:gd name="connsiteY97" fmla="*/ 19677 h 73263"/>
                        <a:gd name="connsiteX98" fmla="*/ 30023 w 31039"/>
                        <a:gd name="connsiteY98" fmla="*/ 24581 h 73263"/>
                        <a:gd name="connsiteX99" fmla="*/ 30023 w 31039"/>
                        <a:gd name="connsiteY99" fmla="*/ 24820 h 73263"/>
                        <a:gd name="connsiteX100" fmla="*/ 30023 w 31039"/>
                        <a:gd name="connsiteY100" fmla="*/ 25059 h 73263"/>
                        <a:gd name="connsiteX101" fmla="*/ 30023 w 31039"/>
                        <a:gd name="connsiteY101" fmla="*/ 25299 h 73263"/>
                        <a:gd name="connsiteX102" fmla="*/ 30023 w 31039"/>
                        <a:gd name="connsiteY102" fmla="*/ 25538 h 73263"/>
                        <a:gd name="connsiteX103" fmla="*/ 30023 w 31039"/>
                        <a:gd name="connsiteY103" fmla="*/ 25598 h 73263"/>
                        <a:gd name="connsiteX104" fmla="*/ 30023 w 31039"/>
                        <a:gd name="connsiteY104" fmla="*/ 25658 h 73263"/>
                        <a:gd name="connsiteX105" fmla="*/ 30023 w 31039"/>
                        <a:gd name="connsiteY105" fmla="*/ 25717 h 73263"/>
                        <a:gd name="connsiteX106" fmla="*/ 30023 w 31039"/>
                        <a:gd name="connsiteY106" fmla="*/ 25777 h 73263"/>
                        <a:gd name="connsiteX107" fmla="*/ 29963 w 31039"/>
                        <a:gd name="connsiteY107" fmla="*/ 27452 h 73263"/>
                        <a:gd name="connsiteX108" fmla="*/ 29784 w 31039"/>
                        <a:gd name="connsiteY108" fmla="*/ 29126 h 73263"/>
                        <a:gd name="connsiteX109" fmla="*/ 29485 w 31039"/>
                        <a:gd name="connsiteY109" fmla="*/ 30801 h 73263"/>
                        <a:gd name="connsiteX110" fmla="*/ 29126 w 31039"/>
                        <a:gd name="connsiteY110" fmla="*/ 32475 h 73263"/>
                        <a:gd name="connsiteX111" fmla="*/ 29246 w 31039"/>
                        <a:gd name="connsiteY111" fmla="*/ 32894 h 73263"/>
                        <a:gd name="connsiteX112" fmla="*/ 29366 w 31039"/>
                        <a:gd name="connsiteY112" fmla="*/ 33313 h 73263"/>
                        <a:gd name="connsiteX113" fmla="*/ 29485 w 31039"/>
                        <a:gd name="connsiteY113" fmla="*/ 33731 h 73263"/>
                        <a:gd name="connsiteX114" fmla="*/ 29605 w 31039"/>
                        <a:gd name="connsiteY114" fmla="*/ 34150 h 73263"/>
                        <a:gd name="connsiteX115" fmla="*/ 27212 w 31039"/>
                        <a:gd name="connsiteY115" fmla="*/ 34688 h 73263"/>
                        <a:gd name="connsiteX116" fmla="*/ 27332 w 31039"/>
                        <a:gd name="connsiteY116" fmla="*/ 34389 h 73263"/>
                        <a:gd name="connsiteX117" fmla="*/ 27392 w 31039"/>
                        <a:gd name="connsiteY117" fmla="*/ 34090 h 73263"/>
                        <a:gd name="connsiteX118" fmla="*/ 27452 w 31039"/>
                        <a:gd name="connsiteY118" fmla="*/ 33791 h 73263"/>
                        <a:gd name="connsiteX119" fmla="*/ 27511 w 31039"/>
                        <a:gd name="connsiteY119" fmla="*/ 33492 h 73263"/>
                        <a:gd name="connsiteX120" fmla="*/ 27571 w 31039"/>
                        <a:gd name="connsiteY120" fmla="*/ 33193 h 73263"/>
                        <a:gd name="connsiteX121" fmla="*/ 27631 w 31039"/>
                        <a:gd name="connsiteY121" fmla="*/ 32894 h 73263"/>
                        <a:gd name="connsiteX122" fmla="*/ 27691 w 31039"/>
                        <a:gd name="connsiteY122" fmla="*/ 32595 h 73263"/>
                        <a:gd name="connsiteX123" fmla="*/ 27751 w 31039"/>
                        <a:gd name="connsiteY123" fmla="*/ 32296 h 73263"/>
                        <a:gd name="connsiteX124" fmla="*/ 27751 w 31039"/>
                        <a:gd name="connsiteY124" fmla="*/ 32296 h 73263"/>
                        <a:gd name="connsiteX125" fmla="*/ 27751 w 31039"/>
                        <a:gd name="connsiteY125" fmla="*/ 32296 h 73263"/>
                        <a:gd name="connsiteX126" fmla="*/ 27751 w 31039"/>
                        <a:gd name="connsiteY126" fmla="*/ 32296 h 73263"/>
                        <a:gd name="connsiteX127" fmla="*/ 27751 w 31039"/>
                        <a:gd name="connsiteY127" fmla="*/ 32296 h 73263"/>
                        <a:gd name="connsiteX128" fmla="*/ 27571 w 31039"/>
                        <a:gd name="connsiteY128" fmla="*/ 31937 h 73263"/>
                        <a:gd name="connsiteX129" fmla="*/ 27392 w 31039"/>
                        <a:gd name="connsiteY129" fmla="*/ 31578 h 73263"/>
                        <a:gd name="connsiteX130" fmla="*/ 27212 w 31039"/>
                        <a:gd name="connsiteY130" fmla="*/ 31220 h 73263"/>
                        <a:gd name="connsiteX131" fmla="*/ 27033 w 31039"/>
                        <a:gd name="connsiteY131" fmla="*/ 30861 h 73263"/>
                        <a:gd name="connsiteX132" fmla="*/ 26973 w 31039"/>
                        <a:gd name="connsiteY132" fmla="*/ 31100 h 73263"/>
                        <a:gd name="connsiteX133" fmla="*/ 26913 w 31039"/>
                        <a:gd name="connsiteY133" fmla="*/ 31339 h 73263"/>
                        <a:gd name="connsiteX134" fmla="*/ 26853 w 31039"/>
                        <a:gd name="connsiteY134" fmla="*/ 31578 h 73263"/>
                        <a:gd name="connsiteX135" fmla="*/ 26794 w 31039"/>
                        <a:gd name="connsiteY135" fmla="*/ 31817 h 73263"/>
                        <a:gd name="connsiteX136" fmla="*/ 26734 w 31039"/>
                        <a:gd name="connsiteY136" fmla="*/ 32116 h 73263"/>
                        <a:gd name="connsiteX137" fmla="*/ 26674 w 31039"/>
                        <a:gd name="connsiteY137" fmla="*/ 32416 h 73263"/>
                        <a:gd name="connsiteX138" fmla="*/ 26614 w 31039"/>
                        <a:gd name="connsiteY138" fmla="*/ 32715 h 73263"/>
                        <a:gd name="connsiteX139" fmla="*/ 26554 w 31039"/>
                        <a:gd name="connsiteY139" fmla="*/ 33014 h 73263"/>
                        <a:gd name="connsiteX140" fmla="*/ 26554 w 31039"/>
                        <a:gd name="connsiteY140" fmla="*/ 33074 h 73263"/>
                        <a:gd name="connsiteX141" fmla="*/ 26554 w 31039"/>
                        <a:gd name="connsiteY141" fmla="*/ 33133 h 73263"/>
                        <a:gd name="connsiteX142" fmla="*/ 26554 w 31039"/>
                        <a:gd name="connsiteY142" fmla="*/ 33193 h 73263"/>
                        <a:gd name="connsiteX143" fmla="*/ 26554 w 31039"/>
                        <a:gd name="connsiteY143" fmla="*/ 33253 h 73263"/>
                        <a:gd name="connsiteX144" fmla="*/ 26674 w 31039"/>
                        <a:gd name="connsiteY144" fmla="*/ 33612 h 73263"/>
                        <a:gd name="connsiteX145" fmla="*/ 26794 w 31039"/>
                        <a:gd name="connsiteY145" fmla="*/ 33970 h 73263"/>
                        <a:gd name="connsiteX146" fmla="*/ 26913 w 31039"/>
                        <a:gd name="connsiteY146" fmla="*/ 34329 h 73263"/>
                        <a:gd name="connsiteX147" fmla="*/ 27212 w 31039"/>
                        <a:gd name="connsiteY147" fmla="*/ 34688 h 73263"/>
                        <a:gd name="connsiteX148" fmla="*/ 27990 w 31039"/>
                        <a:gd name="connsiteY148" fmla="*/ 38516 h 73263"/>
                        <a:gd name="connsiteX149" fmla="*/ 28050 w 31039"/>
                        <a:gd name="connsiteY149" fmla="*/ 38337 h 73263"/>
                        <a:gd name="connsiteX150" fmla="*/ 28109 w 31039"/>
                        <a:gd name="connsiteY150" fmla="*/ 38157 h 73263"/>
                        <a:gd name="connsiteX151" fmla="*/ 28169 w 31039"/>
                        <a:gd name="connsiteY151" fmla="*/ 37978 h 73263"/>
                        <a:gd name="connsiteX152" fmla="*/ 28229 w 31039"/>
                        <a:gd name="connsiteY152" fmla="*/ 37798 h 73263"/>
                        <a:gd name="connsiteX153" fmla="*/ 28408 w 31039"/>
                        <a:gd name="connsiteY153" fmla="*/ 37380 h 73263"/>
                        <a:gd name="connsiteX154" fmla="*/ 28588 w 31039"/>
                        <a:gd name="connsiteY154" fmla="*/ 36961 h 73263"/>
                        <a:gd name="connsiteX155" fmla="*/ 28767 w 31039"/>
                        <a:gd name="connsiteY155" fmla="*/ 36542 h 73263"/>
                        <a:gd name="connsiteX156" fmla="*/ 28947 w 31039"/>
                        <a:gd name="connsiteY156" fmla="*/ 36124 h 73263"/>
                        <a:gd name="connsiteX157" fmla="*/ 28887 w 31039"/>
                        <a:gd name="connsiteY157" fmla="*/ 35705 h 73263"/>
                        <a:gd name="connsiteX158" fmla="*/ 28767 w 31039"/>
                        <a:gd name="connsiteY158" fmla="*/ 35286 h 73263"/>
                        <a:gd name="connsiteX159" fmla="*/ 28648 w 31039"/>
                        <a:gd name="connsiteY159" fmla="*/ 34868 h 73263"/>
                        <a:gd name="connsiteX160" fmla="*/ 28528 w 31039"/>
                        <a:gd name="connsiteY160" fmla="*/ 34449 h 73263"/>
                        <a:gd name="connsiteX161" fmla="*/ 28349 w 31039"/>
                        <a:gd name="connsiteY161" fmla="*/ 35047 h 73263"/>
                        <a:gd name="connsiteX162" fmla="*/ 28169 w 31039"/>
                        <a:gd name="connsiteY162" fmla="*/ 35645 h 73263"/>
                        <a:gd name="connsiteX163" fmla="*/ 27930 w 31039"/>
                        <a:gd name="connsiteY163" fmla="*/ 36243 h 73263"/>
                        <a:gd name="connsiteX164" fmla="*/ 27691 w 31039"/>
                        <a:gd name="connsiteY164" fmla="*/ 36841 h 73263"/>
                        <a:gd name="connsiteX165" fmla="*/ 27751 w 31039"/>
                        <a:gd name="connsiteY165" fmla="*/ 37260 h 73263"/>
                        <a:gd name="connsiteX166" fmla="*/ 27811 w 31039"/>
                        <a:gd name="connsiteY166" fmla="*/ 37679 h 73263"/>
                        <a:gd name="connsiteX167" fmla="*/ 27870 w 31039"/>
                        <a:gd name="connsiteY167" fmla="*/ 38097 h 73263"/>
                        <a:gd name="connsiteX168" fmla="*/ 27990 w 31039"/>
                        <a:gd name="connsiteY168" fmla="*/ 38516 h 73263"/>
                        <a:gd name="connsiteX169" fmla="*/ 13696 w 31039"/>
                        <a:gd name="connsiteY169" fmla="*/ 58372 h 73263"/>
                        <a:gd name="connsiteX170" fmla="*/ 14414 w 31039"/>
                        <a:gd name="connsiteY170" fmla="*/ 58850 h 73263"/>
                        <a:gd name="connsiteX171" fmla="*/ 16028 w 31039"/>
                        <a:gd name="connsiteY171" fmla="*/ 56817 h 73263"/>
                        <a:gd name="connsiteX172" fmla="*/ 17643 w 31039"/>
                        <a:gd name="connsiteY172" fmla="*/ 54784 h 73263"/>
                        <a:gd name="connsiteX173" fmla="*/ 19198 w 31039"/>
                        <a:gd name="connsiteY173" fmla="*/ 52690 h 73263"/>
                        <a:gd name="connsiteX174" fmla="*/ 20753 w 31039"/>
                        <a:gd name="connsiteY174" fmla="*/ 50597 h 73263"/>
                        <a:gd name="connsiteX175" fmla="*/ 20933 w 31039"/>
                        <a:gd name="connsiteY175" fmla="*/ 50358 h 73263"/>
                        <a:gd name="connsiteX176" fmla="*/ 21112 w 31039"/>
                        <a:gd name="connsiteY176" fmla="*/ 50118 h 73263"/>
                        <a:gd name="connsiteX177" fmla="*/ 21291 w 31039"/>
                        <a:gd name="connsiteY177" fmla="*/ 49879 h 73263"/>
                        <a:gd name="connsiteX178" fmla="*/ 21471 w 31039"/>
                        <a:gd name="connsiteY178" fmla="*/ 49640 h 73263"/>
                        <a:gd name="connsiteX179" fmla="*/ 22308 w 31039"/>
                        <a:gd name="connsiteY179" fmla="*/ 48444 h 73263"/>
                        <a:gd name="connsiteX180" fmla="*/ 23086 w 31039"/>
                        <a:gd name="connsiteY180" fmla="*/ 47248 h 73263"/>
                        <a:gd name="connsiteX181" fmla="*/ 23863 w 31039"/>
                        <a:gd name="connsiteY181" fmla="*/ 46052 h 73263"/>
                        <a:gd name="connsiteX182" fmla="*/ 24581 w 31039"/>
                        <a:gd name="connsiteY182" fmla="*/ 44855 h 73263"/>
                        <a:gd name="connsiteX183" fmla="*/ 24700 w 31039"/>
                        <a:gd name="connsiteY183" fmla="*/ 44616 h 73263"/>
                        <a:gd name="connsiteX184" fmla="*/ 24820 w 31039"/>
                        <a:gd name="connsiteY184" fmla="*/ 44377 h 73263"/>
                        <a:gd name="connsiteX185" fmla="*/ 24940 w 31039"/>
                        <a:gd name="connsiteY185" fmla="*/ 44138 h 73263"/>
                        <a:gd name="connsiteX186" fmla="*/ 25059 w 31039"/>
                        <a:gd name="connsiteY186" fmla="*/ 43899 h 73263"/>
                        <a:gd name="connsiteX187" fmla="*/ 25239 w 31039"/>
                        <a:gd name="connsiteY187" fmla="*/ 43540 h 73263"/>
                        <a:gd name="connsiteX188" fmla="*/ 25418 w 31039"/>
                        <a:gd name="connsiteY188" fmla="*/ 43181 h 73263"/>
                        <a:gd name="connsiteX189" fmla="*/ 25598 w 31039"/>
                        <a:gd name="connsiteY189" fmla="*/ 42822 h 73263"/>
                        <a:gd name="connsiteX190" fmla="*/ 25777 w 31039"/>
                        <a:gd name="connsiteY190" fmla="*/ 42463 h 73263"/>
                        <a:gd name="connsiteX191" fmla="*/ 25897 w 31039"/>
                        <a:gd name="connsiteY191" fmla="*/ 42224 h 73263"/>
                        <a:gd name="connsiteX192" fmla="*/ 26016 w 31039"/>
                        <a:gd name="connsiteY192" fmla="*/ 41985 h 73263"/>
                        <a:gd name="connsiteX193" fmla="*/ 26136 w 31039"/>
                        <a:gd name="connsiteY193" fmla="*/ 41746 h 73263"/>
                        <a:gd name="connsiteX194" fmla="*/ 26255 w 31039"/>
                        <a:gd name="connsiteY194" fmla="*/ 41506 h 73263"/>
                        <a:gd name="connsiteX195" fmla="*/ 26435 w 31039"/>
                        <a:gd name="connsiteY195" fmla="*/ 41207 h 73263"/>
                        <a:gd name="connsiteX196" fmla="*/ 26614 w 31039"/>
                        <a:gd name="connsiteY196" fmla="*/ 40908 h 73263"/>
                        <a:gd name="connsiteX197" fmla="*/ 26794 w 31039"/>
                        <a:gd name="connsiteY197" fmla="*/ 40609 h 73263"/>
                        <a:gd name="connsiteX198" fmla="*/ 26973 w 31039"/>
                        <a:gd name="connsiteY198" fmla="*/ 40310 h 73263"/>
                        <a:gd name="connsiteX199" fmla="*/ 26973 w 31039"/>
                        <a:gd name="connsiteY199" fmla="*/ 40131 h 73263"/>
                        <a:gd name="connsiteX200" fmla="*/ 26973 w 31039"/>
                        <a:gd name="connsiteY200" fmla="*/ 39951 h 73263"/>
                        <a:gd name="connsiteX201" fmla="*/ 26973 w 31039"/>
                        <a:gd name="connsiteY201" fmla="*/ 39772 h 73263"/>
                        <a:gd name="connsiteX202" fmla="*/ 26973 w 31039"/>
                        <a:gd name="connsiteY202" fmla="*/ 39592 h 73263"/>
                        <a:gd name="connsiteX203" fmla="*/ 26973 w 31039"/>
                        <a:gd name="connsiteY203" fmla="*/ 39293 h 73263"/>
                        <a:gd name="connsiteX204" fmla="*/ 26973 w 31039"/>
                        <a:gd name="connsiteY204" fmla="*/ 38994 h 73263"/>
                        <a:gd name="connsiteX205" fmla="*/ 26973 w 31039"/>
                        <a:gd name="connsiteY205" fmla="*/ 38695 h 73263"/>
                        <a:gd name="connsiteX206" fmla="*/ 26973 w 31039"/>
                        <a:gd name="connsiteY206" fmla="*/ 38396 h 73263"/>
                        <a:gd name="connsiteX207" fmla="*/ 26674 w 31039"/>
                        <a:gd name="connsiteY207" fmla="*/ 39054 h 73263"/>
                        <a:gd name="connsiteX208" fmla="*/ 26375 w 31039"/>
                        <a:gd name="connsiteY208" fmla="*/ 39712 h 73263"/>
                        <a:gd name="connsiteX209" fmla="*/ 26016 w 31039"/>
                        <a:gd name="connsiteY209" fmla="*/ 40370 h 73263"/>
                        <a:gd name="connsiteX210" fmla="*/ 25657 w 31039"/>
                        <a:gd name="connsiteY210" fmla="*/ 41028 h 73263"/>
                        <a:gd name="connsiteX211" fmla="*/ 25538 w 31039"/>
                        <a:gd name="connsiteY211" fmla="*/ 41267 h 73263"/>
                        <a:gd name="connsiteX212" fmla="*/ 25418 w 31039"/>
                        <a:gd name="connsiteY212" fmla="*/ 41506 h 73263"/>
                        <a:gd name="connsiteX213" fmla="*/ 25298 w 31039"/>
                        <a:gd name="connsiteY213" fmla="*/ 41746 h 73263"/>
                        <a:gd name="connsiteX214" fmla="*/ 25179 w 31039"/>
                        <a:gd name="connsiteY214" fmla="*/ 41985 h 73263"/>
                        <a:gd name="connsiteX215" fmla="*/ 24999 w 31039"/>
                        <a:gd name="connsiteY215" fmla="*/ 42344 h 73263"/>
                        <a:gd name="connsiteX216" fmla="*/ 24820 w 31039"/>
                        <a:gd name="connsiteY216" fmla="*/ 42702 h 73263"/>
                        <a:gd name="connsiteX217" fmla="*/ 24641 w 31039"/>
                        <a:gd name="connsiteY217" fmla="*/ 43061 h 73263"/>
                        <a:gd name="connsiteX218" fmla="*/ 24461 w 31039"/>
                        <a:gd name="connsiteY218" fmla="*/ 43420 h 73263"/>
                        <a:gd name="connsiteX219" fmla="*/ 24342 w 31039"/>
                        <a:gd name="connsiteY219" fmla="*/ 43660 h 73263"/>
                        <a:gd name="connsiteX220" fmla="*/ 24222 w 31039"/>
                        <a:gd name="connsiteY220" fmla="*/ 43899 h 73263"/>
                        <a:gd name="connsiteX221" fmla="*/ 24102 w 31039"/>
                        <a:gd name="connsiteY221" fmla="*/ 44138 h 73263"/>
                        <a:gd name="connsiteX222" fmla="*/ 23983 w 31039"/>
                        <a:gd name="connsiteY222" fmla="*/ 44377 h 73263"/>
                        <a:gd name="connsiteX223" fmla="*/ 23265 w 31039"/>
                        <a:gd name="connsiteY223" fmla="*/ 45573 h 73263"/>
                        <a:gd name="connsiteX224" fmla="*/ 22488 w 31039"/>
                        <a:gd name="connsiteY224" fmla="*/ 46769 h 73263"/>
                        <a:gd name="connsiteX225" fmla="*/ 21710 w 31039"/>
                        <a:gd name="connsiteY225" fmla="*/ 47966 h 73263"/>
                        <a:gd name="connsiteX226" fmla="*/ 20873 w 31039"/>
                        <a:gd name="connsiteY226" fmla="*/ 49162 h 73263"/>
                        <a:gd name="connsiteX227" fmla="*/ 20693 w 31039"/>
                        <a:gd name="connsiteY227" fmla="*/ 49401 h 73263"/>
                        <a:gd name="connsiteX228" fmla="*/ 20514 w 31039"/>
                        <a:gd name="connsiteY228" fmla="*/ 49640 h 73263"/>
                        <a:gd name="connsiteX229" fmla="*/ 20335 w 31039"/>
                        <a:gd name="connsiteY229" fmla="*/ 49879 h 73263"/>
                        <a:gd name="connsiteX230" fmla="*/ 20155 w 31039"/>
                        <a:gd name="connsiteY230" fmla="*/ 50118 h 73263"/>
                        <a:gd name="connsiteX231" fmla="*/ 18600 w 31039"/>
                        <a:gd name="connsiteY231" fmla="*/ 52212 h 73263"/>
                        <a:gd name="connsiteX232" fmla="*/ 17045 w 31039"/>
                        <a:gd name="connsiteY232" fmla="*/ 54305 h 73263"/>
                        <a:gd name="connsiteX233" fmla="*/ 15430 w 31039"/>
                        <a:gd name="connsiteY233" fmla="*/ 56339 h 73263"/>
                        <a:gd name="connsiteX234" fmla="*/ 13696 w 31039"/>
                        <a:gd name="connsiteY234" fmla="*/ 58372 h 73263"/>
                        <a:gd name="connsiteX235" fmla="*/ 12021 w 31039"/>
                        <a:gd name="connsiteY235" fmla="*/ 57236 h 73263"/>
                        <a:gd name="connsiteX236" fmla="*/ 12739 w 31039"/>
                        <a:gd name="connsiteY236" fmla="*/ 57714 h 73263"/>
                        <a:gd name="connsiteX237" fmla="*/ 14354 w 31039"/>
                        <a:gd name="connsiteY237" fmla="*/ 55681 h 73263"/>
                        <a:gd name="connsiteX238" fmla="*/ 15968 w 31039"/>
                        <a:gd name="connsiteY238" fmla="*/ 53647 h 73263"/>
                        <a:gd name="connsiteX239" fmla="*/ 17523 w 31039"/>
                        <a:gd name="connsiteY239" fmla="*/ 51554 h 73263"/>
                        <a:gd name="connsiteX240" fmla="*/ 19079 w 31039"/>
                        <a:gd name="connsiteY240" fmla="*/ 49461 h 73263"/>
                        <a:gd name="connsiteX241" fmla="*/ 19258 w 31039"/>
                        <a:gd name="connsiteY241" fmla="*/ 49222 h 73263"/>
                        <a:gd name="connsiteX242" fmla="*/ 19437 w 31039"/>
                        <a:gd name="connsiteY242" fmla="*/ 48982 h 73263"/>
                        <a:gd name="connsiteX243" fmla="*/ 19617 w 31039"/>
                        <a:gd name="connsiteY243" fmla="*/ 48743 h 73263"/>
                        <a:gd name="connsiteX244" fmla="*/ 19796 w 31039"/>
                        <a:gd name="connsiteY244" fmla="*/ 48504 h 73263"/>
                        <a:gd name="connsiteX245" fmla="*/ 20634 w 31039"/>
                        <a:gd name="connsiteY245" fmla="*/ 47308 h 73263"/>
                        <a:gd name="connsiteX246" fmla="*/ 21411 w 31039"/>
                        <a:gd name="connsiteY246" fmla="*/ 46111 h 73263"/>
                        <a:gd name="connsiteX247" fmla="*/ 22189 w 31039"/>
                        <a:gd name="connsiteY247" fmla="*/ 44915 h 73263"/>
                        <a:gd name="connsiteX248" fmla="*/ 22906 w 31039"/>
                        <a:gd name="connsiteY248" fmla="*/ 43719 h 73263"/>
                        <a:gd name="connsiteX249" fmla="*/ 23026 w 31039"/>
                        <a:gd name="connsiteY249" fmla="*/ 43480 h 73263"/>
                        <a:gd name="connsiteX250" fmla="*/ 23145 w 31039"/>
                        <a:gd name="connsiteY250" fmla="*/ 43241 h 73263"/>
                        <a:gd name="connsiteX251" fmla="*/ 23265 w 31039"/>
                        <a:gd name="connsiteY251" fmla="*/ 43001 h 73263"/>
                        <a:gd name="connsiteX252" fmla="*/ 23385 w 31039"/>
                        <a:gd name="connsiteY252" fmla="*/ 42762 h 73263"/>
                        <a:gd name="connsiteX253" fmla="*/ 23564 w 31039"/>
                        <a:gd name="connsiteY253" fmla="*/ 42403 h 73263"/>
                        <a:gd name="connsiteX254" fmla="*/ 23744 w 31039"/>
                        <a:gd name="connsiteY254" fmla="*/ 42045 h 73263"/>
                        <a:gd name="connsiteX255" fmla="*/ 23923 w 31039"/>
                        <a:gd name="connsiteY255" fmla="*/ 41686 h 73263"/>
                        <a:gd name="connsiteX256" fmla="*/ 24102 w 31039"/>
                        <a:gd name="connsiteY256" fmla="*/ 41327 h 73263"/>
                        <a:gd name="connsiteX257" fmla="*/ 24222 w 31039"/>
                        <a:gd name="connsiteY257" fmla="*/ 41088 h 73263"/>
                        <a:gd name="connsiteX258" fmla="*/ 24342 w 31039"/>
                        <a:gd name="connsiteY258" fmla="*/ 40848 h 73263"/>
                        <a:gd name="connsiteX259" fmla="*/ 24461 w 31039"/>
                        <a:gd name="connsiteY259" fmla="*/ 40609 h 73263"/>
                        <a:gd name="connsiteX260" fmla="*/ 24581 w 31039"/>
                        <a:gd name="connsiteY260" fmla="*/ 40370 h 73263"/>
                        <a:gd name="connsiteX261" fmla="*/ 24940 w 31039"/>
                        <a:gd name="connsiteY261" fmla="*/ 39592 h 73263"/>
                        <a:gd name="connsiteX262" fmla="*/ 25298 w 31039"/>
                        <a:gd name="connsiteY262" fmla="*/ 38815 h 73263"/>
                        <a:gd name="connsiteX263" fmla="*/ 25657 w 31039"/>
                        <a:gd name="connsiteY263" fmla="*/ 38038 h 73263"/>
                        <a:gd name="connsiteX264" fmla="*/ 26016 w 31039"/>
                        <a:gd name="connsiteY264" fmla="*/ 37260 h 73263"/>
                        <a:gd name="connsiteX265" fmla="*/ 26136 w 31039"/>
                        <a:gd name="connsiteY265" fmla="*/ 37021 h 73263"/>
                        <a:gd name="connsiteX266" fmla="*/ 26255 w 31039"/>
                        <a:gd name="connsiteY266" fmla="*/ 36782 h 73263"/>
                        <a:gd name="connsiteX267" fmla="*/ 26375 w 31039"/>
                        <a:gd name="connsiteY267" fmla="*/ 36542 h 73263"/>
                        <a:gd name="connsiteX268" fmla="*/ 26495 w 31039"/>
                        <a:gd name="connsiteY268" fmla="*/ 36303 h 73263"/>
                        <a:gd name="connsiteX269" fmla="*/ 26495 w 31039"/>
                        <a:gd name="connsiteY269" fmla="*/ 36243 h 73263"/>
                        <a:gd name="connsiteX270" fmla="*/ 26495 w 31039"/>
                        <a:gd name="connsiteY270" fmla="*/ 36184 h 73263"/>
                        <a:gd name="connsiteX271" fmla="*/ 26495 w 31039"/>
                        <a:gd name="connsiteY271" fmla="*/ 36124 h 73263"/>
                        <a:gd name="connsiteX272" fmla="*/ 26495 w 31039"/>
                        <a:gd name="connsiteY272" fmla="*/ 36064 h 73263"/>
                        <a:gd name="connsiteX273" fmla="*/ 26375 w 31039"/>
                        <a:gd name="connsiteY273" fmla="*/ 35705 h 73263"/>
                        <a:gd name="connsiteX274" fmla="*/ 26255 w 31039"/>
                        <a:gd name="connsiteY274" fmla="*/ 35346 h 73263"/>
                        <a:gd name="connsiteX275" fmla="*/ 26136 w 31039"/>
                        <a:gd name="connsiteY275" fmla="*/ 34987 h 73263"/>
                        <a:gd name="connsiteX276" fmla="*/ 26016 w 31039"/>
                        <a:gd name="connsiteY276" fmla="*/ 34629 h 73263"/>
                        <a:gd name="connsiteX277" fmla="*/ 25897 w 31039"/>
                        <a:gd name="connsiteY277" fmla="*/ 34928 h 73263"/>
                        <a:gd name="connsiteX278" fmla="*/ 25777 w 31039"/>
                        <a:gd name="connsiteY278" fmla="*/ 35227 h 73263"/>
                        <a:gd name="connsiteX279" fmla="*/ 25657 w 31039"/>
                        <a:gd name="connsiteY279" fmla="*/ 35526 h 73263"/>
                        <a:gd name="connsiteX280" fmla="*/ 25538 w 31039"/>
                        <a:gd name="connsiteY280" fmla="*/ 35824 h 73263"/>
                        <a:gd name="connsiteX281" fmla="*/ 25418 w 31039"/>
                        <a:gd name="connsiteY281" fmla="*/ 36064 h 73263"/>
                        <a:gd name="connsiteX282" fmla="*/ 25298 w 31039"/>
                        <a:gd name="connsiteY282" fmla="*/ 36303 h 73263"/>
                        <a:gd name="connsiteX283" fmla="*/ 25179 w 31039"/>
                        <a:gd name="connsiteY283" fmla="*/ 36542 h 73263"/>
                        <a:gd name="connsiteX284" fmla="*/ 25059 w 31039"/>
                        <a:gd name="connsiteY284" fmla="*/ 36782 h 73263"/>
                        <a:gd name="connsiteX285" fmla="*/ 24760 w 31039"/>
                        <a:gd name="connsiteY285" fmla="*/ 37559 h 73263"/>
                        <a:gd name="connsiteX286" fmla="*/ 24401 w 31039"/>
                        <a:gd name="connsiteY286" fmla="*/ 38337 h 73263"/>
                        <a:gd name="connsiteX287" fmla="*/ 24043 w 31039"/>
                        <a:gd name="connsiteY287" fmla="*/ 39114 h 73263"/>
                        <a:gd name="connsiteX288" fmla="*/ 23684 w 31039"/>
                        <a:gd name="connsiteY288" fmla="*/ 39892 h 73263"/>
                        <a:gd name="connsiteX289" fmla="*/ 23564 w 31039"/>
                        <a:gd name="connsiteY289" fmla="*/ 40131 h 73263"/>
                        <a:gd name="connsiteX290" fmla="*/ 23444 w 31039"/>
                        <a:gd name="connsiteY290" fmla="*/ 40370 h 73263"/>
                        <a:gd name="connsiteX291" fmla="*/ 23325 w 31039"/>
                        <a:gd name="connsiteY291" fmla="*/ 40609 h 73263"/>
                        <a:gd name="connsiteX292" fmla="*/ 23205 w 31039"/>
                        <a:gd name="connsiteY292" fmla="*/ 40848 h 73263"/>
                        <a:gd name="connsiteX293" fmla="*/ 23026 w 31039"/>
                        <a:gd name="connsiteY293" fmla="*/ 41207 h 73263"/>
                        <a:gd name="connsiteX294" fmla="*/ 22846 w 31039"/>
                        <a:gd name="connsiteY294" fmla="*/ 41566 h 73263"/>
                        <a:gd name="connsiteX295" fmla="*/ 22667 w 31039"/>
                        <a:gd name="connsiteY295" fmla="*/ 41925 h 73263"/>
                        <a:gd name="connsiteX296" fmla="*/ 22488 w 31039"/>
                        <a:gd name="connsiteY296" fmla="*/ 42284 h 73263"/>
                        <a:gd name="connsiteX297" fmla="*/ 22368 w 31039"/>
                        <a:gd name="connsiteY297" fmla="*/ 42523 h 73263"/>
                        <a:gd name="connsiteX298" fmla="*/ 22248 w 31039"/>
                        <a:gd name="connsiteY298" fmla="*/ 42762 h 73263"/>
                        <a:gd name="connsiteX299" fmla="*/ 22129 w 31039"/>
                        <a:gd name="connsiteY299" fmla="*/ 43001 h 73263"/>
                        <a:gd name="connsiteX300" fmla="*/ 22009 w 31039"/>
                        <a:gd name="connsiteY300" fmla="*/ 43241 h 73263"/>
                        <a:gd name="connsiteX301" fmla="*/ 21291 w 31039"/>
                        <a:gd name="connsiteY301" fmla="*/ 44437 h 73263"/>
                        <a:gd name="connsiteX302" fmla="*/ 20514 w 31039"/>
                        <a:gd name="connsiteY302" fmla="*/ 45633 h 73263"/>
                        <a:gd name="connsiteX303" fmla="*/ 19736 w 31039"/>
                        <a:gd name="connsiteY303" fmla="*/ 46829 h 73263"/>
                        <a:gd name="connsiteX304" fmla="*/ 18899 w 31039"/>
                        <a:gd name="connsiteY304" fmla="*/ 48025 h 73263"/>
                        <a:gd name="connsiteX305" fmla="*/ 18720 w 31039"/>
                        <a:gd name="connsiteY305" fmla="*/ 48264 h 73263"/>
                        <a:gd name="connsiteX306" fmla="*/ 18540 w 31039"/>
                        <a:gd name="connsiteY306" fmla="*/ 48504 h 73263"/>
                        <a:gd name="connsiteX307" fmla="*/ 18361 w 31039"/>
                        <a:gd name="connsiteY307" fmla="*/ 48743 h 73263"/>
                        <a:gd name="connsiteX308" fmla="*/ 18181 w 31039"/>
                        <a:gd name="connsiteY308" fmla="*/ 48982 h 73263"/>
                        <a:gd name="connsiteX309" fmla="*/ 16686 w 31039"/>
                        <a:gd name="connsiteY309" fmla="*/ 51076 h 73263"/>
                        <a:gd name="connsiteX310" fmla="*/ 15131 w 31039"/>
                        <a:gd name="connsiteY310" fmla="*/ 53169 h 73263"/>
                        <a:gd name="connsiteX311" fmla="*/ 13516 w 31039"/>
                        <a:gd name="connsiteY311" fmla="*/ 55202 h 73263"/>
                        <a:gd name="connsiteX312" fmla="*/ 12021 w 31039"/>
                        <a:gd name="connsiteY312" fmla="*/ 57236 h 73263"/>
                        <a:gd name="connsiteX313" fmla="*/ 11782 w 31039"/>
                        <a:gd name="connsiteY313" fmla="*/ 60704 h 73263"/>
                        <a:gd name="connsiteX314" fmla="*/ 12500 w 31039"/>
                        <a:gd name="connsiteY314" fmla="*/ 61183 h 73263"/>
                        <a:gd name="connsiteX315" fmla="*/ 12799 w 31039"/>
                        <a:gd name="connsiteY315" fmla="*/ 60824 h 73263"/>
                        <a:gd name="connsiteX316" fmla="*/ 13098 w 31039"/>
                        <a:gd name="connsiteY316" fmla="*/ 60465 h 73263"/>
                        <a:gd name="connsiteX317" fmla="*/ 13397 w 31039"/>
                        <a:gd name="connsiteY317" fmla="*/ 60107 h 73263"/>
                        <a:gd name="connsiteX318" fmla="*/ 13696 w 31039"/>
                        <a:gd name="connsiteY318" fmla="*/ 59747 h 73263"/>
                        <a:gd name="connsiteX319" fmla="*/ 12978 w 31039"/>
                        <a:gd name="connsiteY319" fmla="*/ 59269 h 73263"/>
                        <a:gd name="connsiteX320" fmla="*/ 12679 w 31039"/>
                        <a:gd name="connsiteY320" fmla="*/ 59628 h 73263"/>
                        <a:gd name="connsiteX321" fmla="*/ 12380 w 31039"/>
                        <a:gd name="connsiteY321" fmla="*/ 59987 h 73263"/>
                        <a:gd name="connsiteX322" fmla="*/ 12081 w 31039"/>
                        <a:gd name="connsiteY322" fmla="*/ 60346 h 73263"/>
                        <a:gd name="connsiteX323" fmla="*/ 11782 w 31039"/>
                        <a:gd name="connsiteY323" fmla="*/ 60704 h 73263"/>
                        <a:gd name="connsiteX324" fmla="*/ 10048 w 31039"/>
                        <a:gd name="connsiteY324" fmla="*/ 59568 h 73263"/>
                        <a:gd name="connsiteX325" fmla="*/ 10765 w 31039"/>
                        <a:gd name="connsiteY325" fmla="*/ 60047 h 73263"/>
                        <a:gd name="connsiteX326" fmla="*/ 11064 w 31039"/>
                        <a:gd name="connsiteY326" fmla="*/ 59688 h 73263"/>
                        <a:gd name="connsiteX327" fmla="*/ 11364 w 31039"/>
                        <a:gd name="connsiteY327" fmla="*/ 59329 h 73263"/>
                        <a:gd name="connsiteX328" fmla="*/ 11662 w 31039"/>
                        <a:gd name="connsiteY328" fmla="*/ 58970 h 73263"/>
                        <a:gd name="connsiteX329" fmla="*/ 11961 w 31039"/>
                        <a:gd name="connsiteY329" fmla="*/ 58611 h 73263"/>
                        <a:gd name="connsiteX330" fmla="*/ 11244 w 31039"/>
                        <a:gd name="connsiteY330" fmla="*/ 58133 h 73263"/>
                        <a:gd name="connsiteX331" fmla="*/ 10945 w 31039"/>
                        <a:gd name="connsiteY331" fmla="*/ 58492 h 73263"/>
                        <a:gd name="connsiteX332" fmla="*/ 10646 w 31039"/>
                        <a:gd name="connsiteY332" fmla="*/ 58850 h 73263"/>
                        <a:gd name="connsiteX333" fmla="*/ 10347 w 31039"/>
                        <a:gd name="connsiteY333" fmla="*/ 59209 h 73263"/>
                        <a:gd name="connsiteX334" fmla="*/ 10048 w 31039"/>
                        <a:gd name="connsiteY334" fmla="*/ 59568 h 73263"/>
                        <a:gd name="connsiteX335" fmla="*/ 9928 w 31039"/>
                        <a:gd name="connsiteY335" fmla="*/ 62857 h 73263"/>
                        <a:gd name="connsiteX336" fmla="*/ 10646 w 31039"/>
                        <a:gd name="connsiteY336" fmla="*/ 63336 h 73263"/>
                        <a:gd name="connsiteX337" fmla="*/ 10945 w 31039"/>
                        <a:gd name="connsiteY337" fmla="*/ 63037 h 73263"/>
                        <a:gd name="connsiteX338" fmla="*/ 11244 w 31039"/>
                        <a:gd name="connsiteY338" fmla="*/ 62738 h 73263"/>
                        <a:gd name="connsiteX339" fmla="*/ 11543 w 31039"/>
                        <a:gd name="connsiteY339" fmla="*/ 62439 h 73263"/>
                        <a:gd name="connsiteX340" fmla="*/ 11842 w 31039"/>
                        <a:gd name="connsiteY340" fmla="*/ 62140 h 73263"/>
                        <a:gd name="connsiteX341" fmla="*/ 11124 w 31039"/>
                        <a:gd name="connsiteY341" fmla="*/ 61661 h 73263"/>
                        <a:gd name="connsiteX342" fmla="*/ 10825 w 31039"/>
                        <a:gd name="connsiteY342" fmla="*/ 61961 h 73263"/>
                        <a:gd name="connsiteX343" fmla="*/ 10526 w 31039"/>
                        <a:gd name="connsiteY343" fmla="*/ 62260 h 73263"/>
                        <a:gd name="connsiteX344" fmla="*/ 10227 w 31039"/>
                        <a:gd name="connsiteY344" fmla="*/ 62558 h 73263"/>
                        <a:gd name="connsiteX345" fmla="*/ 9928 w 31039"/>
                        <a:gd name="connsiteY345" fmla="*/ 62857 h 73263"/>
                        <a:gd name="connsiteX346" fmla="*/ 8253 w 31039"/>
                        <a:gd name="connsiteY346" fmla="*/ 61781 h 73263"/>
                        <a:gd name="connsiteX347" fmla="*/ 8971 w 31039"/>
                        <a:gd name="connsiteY347" fmla="*/ 62260 h 73263"/>
                        <a:gd name="connsiteX348" fmla="*/ 9270 w 31039"/>
                        <a:gd name="connsiteY348" fmla="*/ 61961 h 73263"/>
                        <a:gd name="connsiteX349" fmla="*/ 9569 w 31039"/>
                        <a:gd name="connsiteY349" fmla="*/ 61661 h 73263"/>
                        <a:gd name="connsiteX350" fmla="*/ 9868 w 31039"/>
                        <a:gd name="connsiteY350" fmla="*/ 61362 h 73263"/>
                        <a:gd name="connsiteX351" fmla="*/ 10167 w 31039"/>
                        <a:gd name="connsiteY351" fmla="*/ 61063 h 73263"/>
                        <a:gd name="connsiteX352" fmla="*/ 9450 w 31039"/>
                        <a:gd name="connsiteY352" fmla="*/ 60585 h 73263"/>
                        <a:gd name="connsiteX353" fmla="*/ 9151 w 31039"/>
                        <a:gd name="connsiteY353" fmla="*/ 60884 h 73263"/>
                        <a:gd name="connsiteX354" fmla="*/ 8851 w 31039"/>
                        <a:gd name="connsiteY354" fmla="*/ 61183 h 73263"/>
                        <a:gd name="connsiteX355" fmla="*/ 8552 w 31039"/>
                        <a:gd name="connsiteY355" fmla="*/ 61482 h 73263"/>
                        <a:gd name="connsiteX356" fmla="*/ 8253 w 31039"/>
                        <a:gd name="connsiteY356" fmla="*/ 61781 h 73263"/>
                        <a:gd name="connsiteX357" fmla="*/ 0 w 31039"/>
                        <a:gd name="connsiteY357" fmla="*/ 71709 h 73263"/>
                        <a:gd name="connsiteX358" fmla="*/ 2452 w 31039"/>
                        <a:gd name="connsiteY358" fmla="*/ 73264 h 73263"/>
                        <a:gd name="connsiteX359" fmla="*/ 2811 w 31039"/>
                        <a:gd name="connsiteY359" fmla="*/ 72845 h 73263"/>
                        <a:gd name="connsiteX360" fmla="*/ 3409 w 31039"/>
                        <a:gd name="connsiteY360" fmla="*/ 72127 h 73263"/>
                        <a:gd name="connsiteX361" fmla="*/ 4007 w 31039"/>
                        <a:gd name="connsiteY361" fmla="*/ 71410 h 73263"/>
                        <a:gd name="connsiteX362" fmla="*/ 4605 w 31039"/>
                        <a:gd name="connsiteY362" fmla="*/ 70692 h 73263"/>
                        <a:gd name="connsiteX363" fmla="*/ 5203 w 31039"/>
                        <a:gd name="connsiteY363" fmla="*/ 69975 h 73263"/>
                        <a:gd name="connsiteX364" fmla="*/ 5383 w 31039"/>
                        <a:gd name="connsiteY364" fmla="*/ 69735 h 73263"/>
                        <a:gd name="connsiteX365" fmla="*/ 5562 w 31039"/>
                        <a:gd name="connsiteY365" fmla="*/ 69496 h 73263"/>
                        <a:gd name="connsiteX366" fmla="*/ 5742 w 31039"/>
                        <a:gd name="connsiteY366" fmla="*/ 69257 h 73263"/>
                        <a:gd name="connsiteX367" fmla="*/ 5921 w 31039"/>
                        <a:gd name="connsiteY367" fmla="*/ 69018 h 73263"/>
                        <a:gd name="connsiteX368" fmla="*/ 6818 w 31039"/>
                        <a:gd name="connsiteY368" fmla="*/ 67941 h 73263"/>
                        <a:gd name="connsiteX369" fmla="*/ 7715 w 31039"/>
                        <a:gd name="connsiteY369" fmla="*/ 66864 h 73263"/>
                        <a:gd name="connsiteX370" fmla="*/ 8612 w 31039"/>
                        <a:gd name="connsiteY370" fmla="*/ 65788 h 73263"/>
                        <a:gd name="connsiteX371" fmla="*/ 9510 w 31039"/>
                        <a:gd name="connsiteY371" fmla="*/ 64711 h 73263"/>
                        <a:gd name="connsiteX372" fmla="*/ 9629 w 31039"/>
                        <a:gd name="connsiteY372" fmla="*/ 64592 h 73263"/>
                        <a:gd name="connsiteX373" fmla="*/ 9749 w 31039"/>
                        <a:gd name="connsiteY373" fmla="*/ 64472 h 73263"/>
                        <a:gd name="connsiteX374" fmla="*/ 9868 w 31039"/>
                        <a:gd name="connsiteY374" fmla="*/ 64353 h 73263"/>
                        <a:gd name="connsiteX375" fmla="*/ 9988 w 31039"/>
                        <a:gd name="connsiteY375" fmla="*/ 64233 h 73263"/>
                        <a:gd name="connsiteX376" fmla="*/ 9270 w 31039"/>
                        <a:gd name="connsiteY376" fmla="*/ 63755 h 73263"/>
                        <a:gd name="connsiteX377" fmla="*/ 9151 w 31039"/>
                        <a:gd name="connsiteY377" fmla="*/ 63874 h 73263"/>
                        <a:gd name="connsiteX378" fmla="*/ 9031 w 31039"/>
                        <a:gd name="connsiteY378" fmla="*/ 63994 h 73263"/>
                        <a:gd name="connsiteX379" fmla="*/ 8911 w 31039"/>
                        <a:gd name="connsiteY379" fmla="*/ 64114 h 73263"/>
                        <a:gd name="connsiteX380" fmla="*/ 8792 w 31039"/>
                        <a:gd name="connsiteY380" fmla="*/ 64233 h 73263"/>
                        <a:gd name="connsiteX381" fmla="*/ 7895 w 31039"/>
                        <a:gd name="connsiteY381" fmla="*/ 65310 h 73263"/>
                        <a:gd name="connsiteX382" fmla="*/ 6997 w 31039"/>
                        <a:gd name="connsiteY382" fmla="*/ 66386 h 73263"/>
                        <a:gd name="connsiteX383" fmla="*/ 6100 w 31039"/>
                        <a:gd name="connsiteY383" fmla="*/ 67463 h 73263"/>
                        <a:gd name="connsiteX384" fmla="*/ 5203 w 31039"/>
                        <a:gd name="connsiteY384" fmla="*/ 68539 h 73263"/>
                        <a:gd name="connsiteX385" fmla="*/ 5024 w 31039"/>
                        <a:gd name="connsiteY385" fmla="*/ 68778 h 73263"/>
                        <a:gd name="connsiteX386" fmla="*/ 4844 w 31039"/>
                        <a:gd name="connsiteY386" fmla="*/ 69018 h 73263"/>
                        <a:gd name="connsiteX387" fmla="*/ 4665 w 31039"/>
                        <a:gd name="connsiteY387" fmla="*/ 69257 h 73263"/>
                        <a:gd name="connsiteX388" fmla="*/ 4486 w 31039"/>
                        <a:gd name="connsiteY388" fmla="*/ 69496 h 73263"/>
                        <a:gd name="connsiteX389" fmla="*/ 3947 w 31039"/>
                        <a:gd name="connsiteY389" fmla="*/ 70094 h 73263"/>
                        <a:gd name="connsiteX390" fmla="*/ 3469 w 31039"/>
                        <a:gd name="connsiteY390" fmla="*/ 70692 h 73263"/>
                        <a:gd name="connsiteX391" fmla="*/ 2990 w 31039"/>
                        <a:gd name="connsiteY391" fmla="*/ 71290 h 73263"/>
                        <a:gd name="connsiteX392" fmla="*/ 2512 w 31039"/>
                        <a:gd name="connsiteY392" fmla="*/ 71888 h 73263"/>
                        <a:gd name="connsiteX393" fmla="*/ 1555 w 31039"/>
                        <a:gd name="connsiteY393" fmla="*/ 71290 h 73263"/>
                        <a:gd name="connsiteX394" fmla="*/ 2034 w 31039"/>
                        <a:gd name="connsiteY394" fmla="*/ 70692 h 73263"/>
                        <a:gd name="connsiteX395" fmla="*/ 2512 w 31039"/>
                        <a:gd name="connsiteY395" fmla="*/ 70094 h 73263"/>
                        <a:gd name="connsiteX396" fmla="*/ 2990 w 31039"/>
                        <a:gd name="connsiteY396" fmla="*/ 69496 h 73263"/>
                        <a:gd name="connsiteX397" fmla="*/ 3529 w 31039"/>
                        <a:gd name="connsiteY397" fmla="*/ 68898 h 73263"/>
                        <a:gd name="connsiteX398" fmla="*/ 3708 w 31039"/>
                        <a:gd name="connsiteY398" fmla="*/ 68659 h 73263"/>
                        <a:gd name="connsiteX399" fmla="*/ 3888 w 31039"/>
                        <a:gd name="connsiteY399" fmla="*/ 68419 h 73263"/>
                        <a:gd name="connsiteX400" fmla="*/ 4067 w 31039"/>
                        <a:gd name="connsiteY400" fmla="*/ 68180 h 73263"/>
                        <a:gd name="connsiteX401" fmla="*/ 4246 w 31039"/>
                        <a:gd name="connsiteY401" fmla="*/ 67941 h 73263"/>
                        <a:gd name="connsiteX402" fmla="*/ 5143 w 31039"/>
                        <a:gd name="connsiteY402" fmla="*/ 66864 h 73263"/>
                        <a:gd name="connsiteX403" fmla="*/ 6100 w 31039"/>
                        <a:gd name="connsiteY403" fmla="*/ 65788 h 73263"/>
                        <a:gd name="connsiteX404" fmla="*/ 7057 w 31039"/>
                        <a:gd name="connsiteY404" fmla="*/ 64652 h 73263"/>
                        <a:gd name="connsiteX405" fmla="*/ 8014 w 31039"/>
                        <a:gd name="connsiteY405" fmla="*/ 63515 h 73263"/>
                        <a:gd name="connsiteX406" fmla="*/ 8134 w 31039"/>
                        <a:gd name="connsiteY406" fmla="*/ 63396 h 73263"/>
                        <a:gd name="connsiteX407" fmla="*/ 8253 w 31039"/>
                        <a:gd name="connsiteY407" fmla="*/ 63276 h 73263"/>
                        <a:gd name="connsiteX408" fmla="*/ 8373 w 31039"/>
                        <a:gd name="connsiteY408" fmla="*/ 63156 h 73263"/>
                        <a:gd name="connsiteX409" fmla="*/ 8493 w 31039"/>
                        <a:gd name="connsiteY409" fmla="*/ 63037 h 73263"/>
                        <a:gd name="connsiteX410" fmla="*/ 7775 w 31039"/>
                        <a:gd name="connsiteY410" fmla="*/ 62558 h 73263"/>
                        <a:gd name="connsiteX411" fmla="*/ 7715 w 31039"/>
                        <a:gd name="connsiteY411" fmla="*/ 62678 h 73263"/>
                        <a:gd name="connsiteX412" fmla="*/ 7656 w 31039"/>
                        <a:gd name="connsiteY412" fmla="*/ 62798 h 73263"/>
                        <a:gd name="connsiteX413" fmla="*/ 7596 w 31039"/>
                        <a:gd name="connsiteY413" fmla="*/ 62917 h 73263"/>
                        <a:gd name="connsiteX414" fmla="*/ 7536 w 31039"/>
                        <a:gd name="connsiteY414" fmla="*/ 63037 h 73263"/>
                        <a:gd name="connsiteX415" fmla="*/ 6579 w 31039"/>
                        <a:gd name="connsiteY415" fmla="*/ 64173 h 73263"/>
                        <a:gd name="connsiteX416" fmla="*/ 5622 w 31039"/>
                        <a:gd name="connsiteY416" fmla="*/ 65310 h 73263"/>
                        <a:gd name="connsiteX417" fmla="*/ 4665 w 31039"/>
                        <a:gd name="connsiteY417" fmla="*/ 66446 h 73263"/>
                        <a:gd name="connsiteX418" fmla="*/ 3768 w 31039"/>
                        <a:gd name="connsiteY418" fmla="*/ 67523 h 73263"/>
                        <a:gd name="connsiteX419" fmla="*/ 3588 w 31039"/>
                        <a:gd name="connsiteY419" fmla="*/ 67762 h 73263"/>
                        <a:gd name="connsiteX420" fmla="*/ 3409 w 31039"/>
                        <a:gd name="connsiteY420" fmla="*/ 68001 h 73263"/>
                        <a:gd name="connsiteX421" fmla="*/ 3229 w 31039"/>
                        <a:gd name="connsiteY421" fmla="*/ 68240 h 73263"/>
                        <a:gd name="connsiteX422" fmla="*/ 3050 w 31039"/>
                        <a:gd name="connsiteY422" fmla="*/ 68479 h 73263"/>
                        <a:gd name="connsiteX423" fmla="*/ 2452 w 31039"/>
                        <a:gd name="connsiteY423" fmla="*/ 69197 h 73263"/>
                        <a:gd name="connsiteX424" fmla="*/ 1854 w 31039"/>
                        <a:gd name="connsiteY424" fmla="*/ 69915 h 73263"/>
                        <a:gd name="connsiteX425" fmla="*/ 1256 w 31039"/>
                        <a:gd name="connsiteY425" fmla="*/ 70632 h 73263"/>
                        <a:gd name="connsiteX426" fmla="*/ 658 w 31039"/>
                        <a:gd name="connsiteY426" fmla="*/ 71350 h 73263"/>
                        <a:gd name="connsiteX427" fmla="*/ 0 w 31039"/>
                        <a:gd name="connsiteY427" fmla="*/ 71709 h 7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Lst>
                      <a:rect l="l" t="t" r="r" b="b"/>
                      <a:pathLst>
                        <a:path w="31039" h="73263">
                          <a:moveTo>
                            <a:pt x="18122" y="7596"/>
                          </a:moveTo>
                          <a:cubicBezTo>
                            <a:pt x="18181" y="7536"/>
                            <a:pt x="18241" y="7416"/>
                            <a:pt x="18301" y="7357"/>
                          </a:cubicBezTo>
                          <a:cubicBezTo>
                            <a:pt x="18361" y="7297"/>
                            <a:pt x="18421" y="7237"/>
                            <a:pt x="18481" y="7117"/>
                          </a:cubicBezTo>
                          <a:cubicBezTo>
                            <a:pt x="18540" y="7057"/>
                            <a:pt x="18600" y="6998"/>
                            <a:pt x="18660" y="6878"/>
                          </a:cubicBezTo>
                          <a:cubicBezTo>
                            <a:pt x="18720" y="6818"/>
                            <a:pt x="18780" y="6758"/>
                            <a:pt x="18839" y="6639"/>
                          </a:cubicBezTo>
                          <a:cubicBezTo>
                            <a:pt x="18421" y="6280"/>
                            <a:pt x="18062" y="5921"/>
                            <a:pt x="17643" y="5622"/>
                          </a:cubicBezTo>
                          <a:cubicBezTo>
                            <a:pt x="17225" y="5263"/>
                            <a:pt x="16806" y="4904"/>
                            <a:pt x="16387" y="4605"/>
                          </a:cubicBezTo>
                          <a:cubicBezTo>
                            <a:pt x="15968" y="4246"/>
                            <a:pt x="15490" y="3947"/>
                            <a:pt x="15012" y="3589"/>
                          </a:cubicBezTo>
                          <a:cubicBezTo>
                            <a:pt x="14533" y="3230"/>
                            <a:pt x="14055" y="2930"/>
                            <a:pt x="13576" y="2572"/>
                          </a:cubicBezTo>
                          <a:lnTo>
                            <a:pt x="14533" y="1376"/>
                          </a:lnTo>
                          <a:cubicBezTo>
                            <a:pt x="15012" y="1735"/>
                            <a:pt x="15490" y="2034"/>
                            <a:pt x="15909" y="2392"/>
                          </a:cubicBezTo>
                          <a:cubicBezTo>
                            <a:pt x="16387" y="2751"/>
                            <a:pt x="16806" y="3050"/>
                            <a:pt x="17225" y="3409"/>
                          </a:cubicBezTo>
                          <a:cubicBezTo>
                            <a:pt x="17643" y="3768"/>
                            <a:pt x="18062" y="4067"/>
                            <a:pt x="18481" y="4426"/>
                          </a:cubicBezTo>
                          <a:cubicBezTo>
                            <a:pt x="18899" y="4785"/>
                            <a:pt x="19258" y="5084"/>
                            <a:pt x="19676" y="5443"/>
                          </a:cubicBezTo>
                          <a:cubicBezTo>
                            <a:pt x="19736" y="5383"/>
                            <a:pt x="19796" y="5263"/>
                            <a:pt x="19856" y="5203"/>
                          </a:cubicBezTo>
                          <a:cubicBezTo>
                            <a:pt x="19916" y="5144"/>
                            <a:pt x="19976" y="5024"/>
                            <a:pt x="19976" y="4964"/>
                          </a:cubicBezTo>
                          <a:cubicBezTo>
                            <a:pt x="20035" y="4904"/>
                            <a:pt x="20095" y="4785"/>
                            <a:pt x="20095" y="4725"/>
                          </a:cubicBezTo>
                          <a:cubicBezTo>
                            <a:pt x="20155" y="4665"/>
                            <a:pt x="20215" y="4545"/>
                            <a:pt x="20215" y="4486"/>
                          </a:cubicBezTo>
                          <a:cubicBezTo>
                            <a:pt x="19796" y="4127"/>
                            <a:pt x="19377" y="3768"/>
                            <a:pt x="18959" y="3409"/>
                          </a:cubicBezTo>
                          <a:cubicBezTo>
                            <a:pt x="18540" y="3050"/>
                            <a:pt x="18062" y="2691"/>
                            <a:pt x="17643" y="2333"/>
                          </a:cubicBezTo>
                          <a:cubicBezTo>
                            <a:pt x="17165" y="1974"/>
                            <a:pt x="16746" y="1615"/>
                            <a:pt x="16268" y="1256"/>
                          </a:cubicBezTo>
                          <a:cubicBezTo>
                            <a:pt x="15789" y="897"/>
                            <a:pt x="15311" y="538"/>
                            <a:pt x="14773" y="239"/>
                          </a:cubicBezTo>
                          <a:lnTo>
                            <a:pt x="14414" y="0"/>
                          </a:lnTo>
                          <a:lnTo>
                            <a:pt x="12081" y="2930"/>
                          </a:lnTo>
                          <a:lnTo>
                            <a:pt x="12440" y="3170"/>
                          </a:lnTo>
                          <a:cubicBezTo>
                            <a:pt x="12978" y="3529"/>
                            <a:pt x="13457" y="3888"/>
                            <a:pt x="13995" y="4246"/>
                          </a:cubicBezTo>
                          <a:cubicBezTo>
                            <a:pt x="14473" y="4605"/>
                            <a:pt x="14952" y="4964"/>
                            <a:pt x="15430" y="5323"/>
                          </a:cubicBezTo>
                          <a:cubicBezTo>
                            <a:pt x="15909" y="5682"/>
                            <a:pt x="16387" y="6041"/>
                            <a:pt x="16806" y="6459"/>
                          </a:cubicBezTo>
                          <a:cubicBezTo>
                            <a:pt x="17225" y="6878"/>
                            <a:pt x="17703" y="7237"/>
                            <a:pt x="18122" y="7596"/>
                          </a:cubicBezTo>
                          <a:moveTo>
                            <a:pt x="28289" y="30621"/>
                          </a:moveTo>
                          <a:cubicBezTo>
                            <a:pt x="28349" y="30203"/>
                            <a:pt x="28408" y="29844"/>
                            <a:pt x="28468" y="29425"/>
                          </a:cubicBezTo>
                          <a:cubicBezTo>
                            <a:pt x="28528" y="29007"/>
                            <a:pt x="28588" y="28648"/>
                            <a:pt x="28588" y="28229"/>
                          </a:cubicBezTo>
                          <a:cubicBezTo>
                            <a:pt x="28648" y="27811"/>
                            <a:pt x="28648" y="27452"/>
                            <a:pt x="28648" y="27033"/>
                          </a:cubicBezTo>
                          <a:cubicBezTo>
                            <a:pt x="28648" y="26614"/>
                            <a:pt x="28648" y="26255"/>
                            <a:pt x="28648" y="25837"/>
                          </a:cubicBezTo>
                          <a:cubicBezTo>
                            <a:pt x="28648" y="25777"/>
                            <a:pt x="28648" y="25717"/>
                            <a:pt x="28648" y="25598"/>
                          </a:cubicBezTo>
                          <a:cubicBezTo>
                            <a:pt x="28648" y="25538"/>
                            <a:pt x="28648" y="25478"/>
                            <a:pt x="28648" y="25358"/>
                          </a:cubicBezTo>
                          <a:cubicBezTo>
                            <a:pt x="28648" y="25299"/>
                            <a:pt x="28648" y="25239"/>
                            <a:pt x="28648" y="25119"/>
                          </a:cubicBezTo>
                          <a:cubicBezTo>
                            <a:pt x="28648" y="25059"/>
                            <a:pt x="28648" y="24999"/>
                            <a:pt x="28648" y="24880"/>
                          </a:cubicBezTo>
                          <a:cubicBezTo>
                            <a:pt x="28648" y="24760"/>
                            <a:pt x="28648" y="24641"/>
                            <a:pt x="28648" y="24521"/>
                          </a:cubicBezTo>
                          <a:cubicBezTo>
                            <a:pt x="28648" y="24401"/>
                            <a:pt x="28648" y="24282"/>
                            <a:pt x="28648" y="24162"/>
                          </a:cubicBezTo>
                          <a:cubicBezTo>
                            <a:pt x="28648" y="24043"/>
                            <a:pt x="28648" y="23923"/>
                            <a:pt x="28588" y="23804"/>
                          </a:cubicBezTo>
                          <a:cubicBezTo>
                            <a:pt x="28588" y="23684"/>
                            <a:pt x="28588" y="23564"/>
                            <a:pt x="28528" y="23445"/>
                          </a:cubicBezTo>
                          <a:cubicBezTo>
                            <a:pt x="28349" y="22009"/>
                            <a:pt x="28050" y="20574"/>
                            <a:pt x="27571" y="19138"/>
                          </a:cubicBezTo>
                          <a:cubicBezTo>
                            <a:pt x="27093" y="17763"/>
                            <a:pt x="26495" y="16328"/>
                            <a:pt x="25717" y="15012"/>
                          </a:cubicBezTo>
                          <a:cubicBezTo>
                            <a:pt x="24940" y="13636"/>
                            <a:pt x="24043" y="12320"/>
                            <a:pt x="22966" y="11005"/>
                          </a:cubicBezTo>
                          <a:cubicBezTo>
                            <a:pt x="21890" y="9689"/>
                            <a:pt x="20693" y="8373"/>
                            <a:pt x="19318" y="7117"/>
                          </a:cubicBezTo>
                          <a:cubicBezTo>
                            <a:pt x="19258" y="7177"/>
                            <a:pt x="19198" y="7237"/>
                            <a:pt x="19138" y="7357"/>
                          </a:cubicBezTo>
                          <a:cubicBezTo>
                            <a:pt x="19079" y="7416"/>
                            <a:pt x="19019" y="7476"/>
                            <a:pt x="18959" y="7596"/>
                          </a:cubicBezTo>
                          <a:cubicBezTo>
                            <a:pt x="18899" y="7715"/>
                            <a:pt x="18839" y="7715"/>
                            <a:pt x="18780" y="7835"/>
                          </a:cubicBezTo>
                          <a:cubicBezTo>
                            <a:pt x="18720" y="7895"/>
                            <a:pt x="18660" y="7954"/>
                            <a:pt x="18600" y="8074"/>
                          </a:cubicBezTo>
                          <a:cubicBezTo>
                            <a:pt x="19856" y="9211"/>
                            <a:pt x="20933" y="10406"/>
                            <a:pt x="21890" y="11603"/>
                          </a:cubicBezTo>
                          <a:cubicBezTo>
                            <a:pt x="22846" y="12799"/>
                            <a:pt x="23684" y="13995"/>
                            <a:pt x="24401" y="15191"/>
                          </a:cubicBezTo>
                          <a:cubicBezTo>
                            <a:pt x="25119" y="16387"/>
                            <a:pt x="25717" y="17643"/>
                            <a:pt x="26196" y="18899"/>
                          </a:cubicBezTo>
                          <a:cubicBezTo>
                            <a:pt x="26674" y="20155"/>
                            <a:pt x="27033" y="21411"/>
                            <a:pt x="27212" y="22727"/>
                          </a:cubicBezTo>
                          <a:cubicBezTo>
                            <a:pt x="27212" y="22846"/>
                            <a:pt x="27272" y="22966"/>
                            <a:pt x="27272" y="23086"/>
                          </a:cubicBezTo>
                          <a:cubicBezTo>
                            <a:pt x="27272" y="23205"/>
                            <a:pt x="27332" y="23325"/>
                            <a:pt x="27332" y="23445"/>
                          </a:cubicBezTo>
                          <a:cubicBezTo>
                            <a:pt x="27332" y="23564"/>
                            <a:pt x="27392" y="23684"/>
                            <a:pt x="27392" y="23804"/>
                          </a:cubicBezTo>
                          <a:cubicBezTo>
                            <a:pt x="27392" y="23923"/>
                            <a:pt x="27392" y="24043"/>
                            <a:pt x="27452" y="24162"/>
                          </a:cubicBezTo>
                          <a:cubicBezTo>
                            <a:pt x="27452" y="24342"/>
                            <a:pt x="27452" y="24461"/>
                            <a:pt x="27511" y="24641"/>
                          </a:cubicBezTo>
                          <a:cubicBezTo>
                            <a:pt x="27511" y="24820"/>
                            <a:pt x="27511" y="24940"/>
                            <a:pt x="27571" y="25119"/>
                          </a:cubicBezTo>
                          <a:cubicBezTo>
                            <a:pt x="27571" y="25299"/>
                            <a:pt x="27571" y="25418"/>
                            <a:pt x="27571" y="25598"/>
                          </a:cubicBezTo>
                          <a:cubicBezTo>
                            <a:pt x="27571" y="25777"/>
                            <a:pt x="27571" y="25897"/>
                            <a:pt x="27571" y="26076"/>
                          </a:cubicBezTo>
                          <a:cubicBezTo>
                            <a:pt x="27571" y="26315"/>
                            <a:pt x="27571" y="26554"/>
                            <a:pt x="27571" y="26794"/>
                          </a:cubicBezTo>
                          <a:cubicBezTo>
                            <a:pt x="27571" y="27033"/>
                            <a:pt x="27571" y="27272"/>
                            <a:pt x="27511" y="27512"/>
                          </a:cubicBezTo>
                          <a:cubicBezTo>
                            <a:pt x="27511" y="27751"/>
                            <a:pt x="27452" y="27990"/>
                            <a:pt x="27452" y="28229"/>
                          </a:cubicBezTo>
                          <a:cubicBezTo>
                            <a:pt x="27452" y="28468"/>
                            <a:pt x="27392" y="28708"/>
                            <a:pt x="27392" y="28947"/>
                          </a:cubicBezTo>
                          <a:cubicBezTo>
                            <a:pt x="27452" y="29067"/>
                            <a:pt x="27511" y="29186"/>
                            <a:pt x="27571" y="29306"/>
                          </a:cubicBezTo>
                          <a:cubicBezTo>
                            <a:pt x="27631" y="29425"/>
                            <a:pt x="27691" y="29545"/>
                            <a:pt x="27751" y="29665"/>
                          </a:cubicBezTo>
                          <a:cubicBezTo>
                            <a:pt x="27811" y="29784"/>
                            <a:pt x="27870" y="29904"/>
                            <a:pt x="27930" y="30023"/>
                          </a:cubicBezTo>
                          <a:cubicBezTo>
                            <a:pt x="27990" y="30143"/>
                            <a:pt x="28229" y="30502"/>
                            <a:pt x="28289" y="30621"/>
                          </a:cubicBezTo>
                          <a:moveTo>
                            <a:pt x="29605" y="34150"/>
                          </a:moveTo>
                          <a:cubicBezTo>
                            <a:pt x="29605" y="34090"/>
                            <a:pt x="29605" y="34090"/>
                            <a:pt x="29665" y="34030"/>
                          </a:cubicBezTo>
                          <a:cubicBezTo>
                            <a:pt x="29665" y="33970"/>
                            <a:pt x="29665" y="33970"/>
                            <a:pt x="29724" y="33911"/>
                          </a:cubicBezTo>
                          <a:cubicBezTo>
                            <a:pt x="29724" y="33851"/>
                            <a:pt x="29724" y="33851"/>
                            <a:pt x="29784" y="33791"/>
                          </a:cubicBezTo>
                          <a:cubicBezTo>
                            <a:pt x="29784" y="33731"/>
                            <a:pt x="29784" y="33731"/>
                            <a:pt x="29844" y="33671"/>
                          </a:cubicBezTo>
                          <a:cubicBezTo>
                            <a:pt x="30023" y="33074"/>
                            <a:pt x="30203" y="32475"/>
                            <a:pt x="30322" y="31937"/>
                          </a:cubicBezTo>
                          <a:cubicBezTo>
                            <a:pt x="30442" y="31339"/>
                            <a:pt x="30561" y="30741"/>
                            <a:pt x="30681" y="30143"/>
                          </a:cubicBezTo>
                          <a:cubicBezTo>
                            <a:pt x="30801" y="29545"/>
                            <a:pt x="30861" y="28947"/>
                            <a:pt x="30920" y="28349"/>
                          </a:cubicBezTo>
                          <a:cubicBezTo>
                            <a:pt x="30980" y="27751"/>
                            <a:pt x="31040" y="27153"/>
                            <a:pt x="31040" y="26554"/>
                          </a:cubicBezTo>
                          <a:cubicBezTo>
                            <a:pt x="31040" y="26435"/>
                            <a:pt x="31040" y="26315"/>
                            <a:pt x="31040" y="26255"/>
                          </a:cubicBezTo>
                          <a:cubicBezTo>
                            <a:pt x="31040" y="26136"/>
                            <a:pt x="31040" y="26016"/>
                            <a:pt x="31040" y="25956"/>
                          </a:cubicBezTo>
                          <a:cubicBezTo>
                            <a:pt x="31040" y="25897"/>
                            <a:pt x="31040" y="25717"/>
                            <a:pt x="31040" y="25658"/>
                          </a:cubicBezTo>
                          <a:cubicBezTo>
                            <a:pt x="31040" y="25538"/>
                            <a:pt x="31040" y="25418"/>
                            <a:pt x="31040" y="25358"/>
                          </a:cubicBezTo>
                          <a:cubicBezTo>
                            <a:pt x="31040" y="25358"/>
                            <a:pt x="31040" y="25358"/>
                            <a:pt x="31040" y="25358"/>
                          </a:cubicBezTo>
                          <a:cubicBezTo>
                            <a:pt x="31040" y="25358"/>
                            <a:pt x="31040" y="25358"/>
                            <a:pt x="31040" y="25358"/>
                          </a:cubicBezTo>
                          <a:cubicBezTo>
                            <a:pt x="31040" y="25358"/>
                            <a:pt x="31040" y="25358"/>
                            <a:pt x="31040" y="25358"/>
                          </a:cubicBezTo>
                          <a:cubicBezTo>
                            <a:pt x="31040" y="25358"/>
                            <a:pt x="31040" y="25358"/>
                            <a:pt x="31040" y="25358"/>
                          </a:cubicBezTo>
                          <a:cubicBezTo>
                            <a:pt x="31040" y="23504"/>
                            <a:pt x="30801" y="21710"/>
                            <a:pt x="30382" y="19976"/>
                          </a:cubicBezTo>
                          <a:cubicBezTo>
                            <a:pt x="29963" y="18241"/>
                            <a:pt x="29306" y="16507"/>
                            <a:pt x="28468" y="14832"/>
                          </a:cubicBezTo>
                          <a:cubicBezTo>
                            <a:pt x="27631" y="13158"/>
                            <a:pt x="26554" y="11483"/>
                            <a:pt x="25298" y="9868"/>
                          </a:cubicBezTo>
                          <a:cubicBezTo>
                            <a:pt x="24043" y="8253"/>
                            <a:pt x="22547" y="6639"/>
                            <a:pt x="20873" y="5084"/>
                          </a:cubicBezTo>
                          <a:cubicBezTo>
                            <a:pt x="20813" y="5144"/>
                            <a:pt x="20753" y="5263"/>
                            <a:pt x="20753" y="5323"/>
                          </a:cubicBezTo>
                          <a:cubicBezTo>
                            <a:pt x="20753" y="5383"/>
                            <a:pt x="20634" y="5503"/>
                            <a:pt x="20634" y="5562"/>
                          </a:cubicBezTo>
                          <a:cubicBezTo>
                            <a:pt x="20634" y="5622"/>
                            <a:pt x="20514" y="5742"/>
                            <a:pt x="20454" y="5801"/>
                          </a:cubicBezTo>
                          <a:cubicBezTo>
                            <a:pt x="20394" y="5861"/>
                            <a:pt x="20335" y="5981"/>
                            <a:pt x="20275" y="6041"/>
                          </a:cubicBezTo>
                          <a:cubicBezTo>
                            <a:pt x="21830" y="7476"/>
                            <a:pt x="23205" y="8911"/>
                            <a:pt x="24401" y="10406"/>
                          </a:cubicBezTo>
                          <a:cubicBezTo>
                            <a:pt x="25598" y="11902"/>
                            <a:pt x="26554" y="13397"/>
                            <a:pt x="27392" y="14952"/>
                          </a:cubicBezTo>
                          <a:cubicBezTo>
                            <a:pt x="28169" y="16507"/>
                            <a:pt x="28827" y="18062"/>
                            <a:pt x="29246" y="19677"/>
                          </a:cubicBezTo>
                          <a:cubicBezTo>
                            <a:pt x="29665" y="21291"/>
                            <a:pt x="29963" y="22906"/>
                            <a:pt x="30023" y="24581"/>
                          </a:cubicBezTo>
                          <a:cubicBezTo>
                            <a:pt x="30023" y="24641"/>
                            <a:pt x="30023" y="24760"/>
                            <a:pt x="30023" y="24820"/>
                          </a:cubicBezTo>
                          <a:cubicBezTo>
                            <a:pt x="30023" y="24880"/>
                            <a:pt x="30023" y="24999"/>
                            <a:pt x="30023" y="25059"/>
                          </a:cubicBezTo>
                          <a:cubicBezTo>
                            <a:pt x="30023" y="25119"/>
                            <a:pt x="30023" y="25239"/>
                            <a:pt x="30023" y="25299"/>
                          </a:cubicBezTo>
                          <a:cubicBezTo>
                            <a:pt x="30023" y="25358"/>
                            <a:pt x="30023" y="25478"/>
                            <a:pt x="30023" y="25538"/>
                          </a:cubicBezTo>
                          <a:cubicBezTo>
                            <a:pt x="30023" y="25538"/>
                            <a:pt x="30023" y="25598"/>
                            <a:pt x="30023" y="25598"/>
                          </a:cubicBezTo>
                          <a:cubicBezTo>
                            <a:pt x="30023" y="25598"/>
                            <a:pt x="30023" y="25658"/>
                            <a:pt x="30023" y="25658"/>
                          </a:cubicBezTo>
                          <a:cubicBezTo>
                            <a:pt x="30023" y="25658"/>
                            <a:pt x="30023" y="25717"/>
                            <a:pt x="30023" y="25717"/>
                          </a:cubicBezTo>
                          <a:cubicBezTo>
                            <a:pt x="30023" y="25717"/>
                            <a:pt x="30023" y="25777"/>
                            <a:pt x="30023" y="25777"/>
                          </a:cubicBezTo>
                          <a:cubicBezTo>
                            <a:pt x="30023" y="26315"/>
                            <a:pt x="30023" y="26853"/>
                            <a:pt x="29963" y="27452"/>
                          </a:cubicBezTo>
                          <a:cubicBezTo>
                            <a:pt x="29904" y="27990"/>
                            <a:pt x="29844" y="28528"/>
                            <a:pt x="29784" y="29126"/>
                          </a:cubicBezTo>
                          <a:cubicBezTo>
                            <a:pt x="29724" y="29665"/>
                            <a:pt x="29605" y="30203"/>
                            <a:pt x="29485" y="30801"/>
                          </a:cubicBezTo>
                          <a:cubicBezTo>
                            <a:pt x="29366" y="31339"/>
                            <a:pt x="29246" y="31877"/>
                            <a:pt x="29126" y="32475"/>
                          </a:cubicBezTo>
                          <a:cubicBezTo>
                            <a:pt x="29186" y="32595"/>
                            <a:pt x="29246" y="32715"/>
                            <a:pt x="29246" y="32894"/>
                          </a:cubicBezTo>
                          <a:cubicBezTo>
                            <a:pt x="29246" y="33074"/>
                            <a:pt x="29306" y="33133"/>
                            <a:pt x="29366" y="33313"/>
                          </a:cubicBezTo>
                          <a:cubicBezTo>
                            <a:pt x="29425" y="33492"/>
                            <a:pt x="29425" y="33552"/>
                            <a:pt x="29485" y="33731"/>
                          </a:cubicBezTo>
                          <a:cubicBezTo>
                            <a:pt x="29545" y="33911"/>
                            <a:pt x="29605" y="34030"/>
                            <a:pt x="29605" y="34150"/>
                          </a:cubicBezTo>
                          <a:moveTo>
                            <a:pt x="27212" y="34688"/>
                          </a:moveTo>
                          <a:cubicBezTo>
                            <a:pt x="27272" y="34569"/>
                            <a:pt x="27272" y="34509"/>
                            <a:pt x="27332" y="34389"/>
                          </a:cubicBezTo>
                          <a:cubicBezTo>
                            <a:pt x="27332" y="34270"/>
                            <a:pt x="27392" y="34210"/>
                            <a:pt x="27392" y="34090"/>
                          </a:cubicBezTo>
                          <a:cubicBezTo>
                            <a:pt x="27392" y="33970"/>
                            <a:pt x="27452" y="33911"/>
                            <a:pt x="27452" y="33791"/>
                          </a:cubicBezTo>
                          <a:cubicBezTo>
                            <a:pt x="27452" y="33671"/>
                            <a:pt x="27511" y="33612"/>
                            <a:pt x="27511" y="33492"/>
                          </a:cubicBezTo>
                          <a:cubicBezTo>
                            <a:pt x="27511" y="33373"/>
                            <a:pt x="27571" y="33313"/>
                            <a:pt x="27571" y="33193"/>
                          </a:cubicBezTo>
                          <a:cubicBezTo>
                            <a:pt x="27571" y="33074"/>
                            <a:pt x="27631" y="33014"/>
                            <a:pt x="27631" y="32894"/>
                          </a:cubicBezTo>
                          <a:cubicBezTo>
                            <a:pt x="27631" y="32775"/>
                            <a:pt x="27691" y="32715"/>
                            <a:pt x="27691" y="32595"/>
                          </a:cubicBezTo>
                          <a:cubicBezTo>
                            <a:pt x="27691" y="32475"/>
                            <a:pt x="27751" y="32416"/>
                            <a:pt x="27751" y="32296"/>
                          </a:cubicBezTo>
                          <a:cubicBezTo>
                            <a:pt x="27751" y="32296"/>
                            <a:pt x="27751" y="32296"/>
                            <a:pt x="27751" y="32296"/>
                          </a:cubicBezTo>
                          <a:cubicBezTo>
                            <a:pt x="27751" y="32296"/>
                            <a:pt x="27751" y="32296"/>
                            <a:pt x="27751" y="32296"/>
                          </a:cubicBezTo>
                          <a:cubicBezTo>
                            <a:pt x="27751" y="32296"/>
                            <a:pt x="27751" y="32296"/>
                            <a:pt x="27751" y="32296"/>
                          </a:cubicBezTo>
                          <a:cubicBezTo>
                            <a:pt x="27751" y="32296"/>
                            <a:pt x="27751" y="32296"/>
                            <a:pt x="27751" y="32296"/>
                          </a:cubicBezTo>
                          <a:cubicBezTo>
                            <a:pt x="27691" y="32176"/>
                            <a:pt x="27631" y="32057"/>
                            <a:pt x="27571" y="31937"/>
                          </a:cubicBezTo>
                          <a:cubicBezTo>
                            <a:pt x="27511" y="31817"/>
                            <a:pt x="27452" y="31698"/>
                            <a:pt x="27392" y="31578"/>
                          </a:cubicBezTo>
                          <a:cubicBezTo>
                            <a:pt x="27332" y="31459"/>
                            <a:pt x="27272" y="31339"/>
                            <a:pt x="27212" y="31220"/>
                          </a:cubicBezTo>
                          <a:cubicBezTo>
                            <a:pt x="27152" y="31100"/>
                            <a:pt x="27093" y="30980"/>
                            <a:pt x="27033" y="30861"/>
                          </a:cubicBezTo>
                          <a:cubicBezTo>
                            <a:pt x="27033" y="30921"/>
                            <a:pt x="26973" y="31040"/>
                            <a:pt x="26973" y="31100"/>
                          </a:cubicBezTo>
                          <a:cubicBezTo>
                            <a:pt x="26973" y="31160"/>
                            <a:pt x="26913" y="31279"/>
                            <a:pt x="26913" y="31339"/>
                          </a:cubicBezTo>
                          <a:cubicBezTo>
                            <a:pt x="26913" y="31399"/>
                            <a:pt x="26853" y="31519"/>
                            <a:pt x="26853" y="31578"/>
                          </a:cubicBezTo>
                          <a:cubicBezTo>
                            <a:pt x="26853" y="31638"/>
                            <a:pt x="26794" y="31758"/>
                            <a:pt x="26794" y="31817"/>
                          </a:cubicBezTo>
                          <a:cubicBezTo>
                            <a:pt x="26794" y="31937"/>
                            <a:pt x="26734" y="31997"/>
                            <a:pt x="26734" y="32116"/>
                          </a:cubicBezTo>
                          <a:cubicBezTo>
                            <a:pt x="26734" y="32236"/>
                            <a:pt x="26674" y="32296"/>
                            <a:pt x="26674" y="32416"/>
                          </a:cubicBezTo>
                          <a:cubicBezTo>
                            <a:pt x="26674" y="32535"/>
                            <a:pt x="26614" y="32595"/>
                            <a:pt x="26614" y="32715"/>
                          </a:cubicBezTo>
                          <a:cubicBezTo>
                            <a:pt x="26614" y="32834"/>
                            <a:pt x="26554" y="32894"/>
                            <a:pt x="26554" y="33014"/>
                          </a:cubicBezTo>
                          <a:cubicBezTo>
                            <a:pt x="26554" y="33014"/>
                            <a:pt x="26554" y="33014"/>
                            <a:pt x="26554" y="33074"/>
                          </a:cubicBezTo>
                          <a:cubicBezTo>
                            <a:pt x="26554" y="33074"/>
                            <a:pt x="26554" y="33074"/>
                            <a:pt x="26554" y="33133"/>
                          </a:cubicBezTo>
                          <a:cubicBezTo>
                            <a:pt x="26554" y="33133"/>
                            <a:pt x="26554" y="33133"/>
                            <a:pt x="26554" y="33193"/>
                          </a:cubicBezTo>
                          <a:cubicBezTo>
                            <a:pt x="26554" y="33193"/>
                            <a:pt x="26554" y="33193"/>
                            <a:pt x="26554" y="33253"/>
                          </a:cubicBezTo>
                          <a:cubicBezTo>
                            <a:pt x="26614" y="33373"/>
                            <a:pt x="26674" y="33492"/>
                            <a:pt x="26674" y="33612"/>
                          </a:cubicBezTo>
                          <a:cubicBezTo>
                            <a:pt x="26674" y="33731"/>
                            <a:pt x="26794" y="33851"/>
                            <a:pt x="26794" y="33970"/>
                          </a:cubicBezTo>
                          <a:cubicBezTo>
                            <a:pt x="26853" y="34090"/>
                            <a:pt x="26853" y="34210"/>
                            <a:pt x="26913" y="34329"/>
                          </a:cubicBezTo>
                          <a:cubicBezTo>
                            <a:pt x="26973" y="34449"/>
                            <a:pt x="27212" y="34509"/>
                            <a:pt x="27212" y="34688"/>
                          </a:cubicBezTo>
                          <a:moveTo>
                            <a:pt x="27990" y="38516"/>
                          </a:moveTo>
                          <a:cubicBezTo>
                            <a:pt x="27990" y="38456"/>
                            <a:pt x="28050" y="38396"/>
                            <a:pt x="28050" y="38337"/>
                          </a:cubicBezTo>
                          <a:cubicBezTo>
                            <a:pt x="28050" y="38277"/>
                            <a:pt x="28109" y="38217"/>
                            <a:pt x="28109" y="38157"/>
                          </a:cubicBezTo>
                          <a:cubicBezTo>
                            <a:pt x="28109" y="38097"/>
                            <a:pt x="28169" y="38038"/>
                            <a:pt x="28169" y="37978"/>
                          </a:cubicBezTo>
                          <a:cubicBezTo>
                            <a:pt x="28169" y="37918"/>
                            <a:pt x="28229" y="37858"/>
                            <a:pt x="28229" y="37798"/>
                          </a:cubicBezTo>
                          <a:cubicBezTo>
                            <a:pt x="28289" y="37679"/>
                            <a:pt x="28349" y="37499"/>
                            <a:pt x="28408" y="37380"/>
                          </a:cubicBezTo>
                          <a:cubicBezTo>
                            <a:pt x="28468" y="37260"/>
                            <a:pt x="28528" y="37081"/>
                            <a:pt x="28588" y="36961"/>
                          </a:cubicBezTo>
                          <a:cubicBezTo>
                            <a:pt x="28648" y="36841"/>
                            <a:pt x="28707" y="36662"/>
                            <a:pt x="28767" y="36542"/>
                          </a:cubicBezTo>
                          <a:cubicBezTo>
                            <a:pt x="28827" y="36423"/>
                            <a:pt x="28887" y="36243"/>
                            <a:pt x="28947" y="36124"/>
                          </a:cubicBezTo>
                          <a:cubicBezTo>
                            <a:pt x="28947" y="36004"/>
                            <a:pt x="28887" y="35824"/>
                            <a:pt x="28887" y="35705"/>
                          </a:cubicBezTo>
                          <a:cubicBezTo>
                            <a:pt x="28827" y="35585"/>
                            <a:pt x="28827" y="35406"/>
                            <a:pt x="28767" y="35286"/>
                          </a:cubicBezTo>
                          <a:cubicBezTo>
                            <a:pt x="28707" y="35167"/>
                            <a:pt x="28707" y="34987"/>
                            <a:pt x="28648" y="34868"/>
                          </a:cubicBezTo>
                          <a:cubicBezTo>
                            <a:pt x="28588" y="34748"/>
                            <a:pt x="28588" y="34569"/>
                            <a:pt x="28528" y="34449"/>
                          </a:cubicBezTo>
                          <a:cubicBezTo>
                            <a:pt x="28468" y="34629"/>
                            <a:pt x="28408" y="34808"/>
                            <a:pt x="28349" y="35047"/>
                          </a:cubicBezTo>
                          <a:cubicBezTo>
                            <a:pt x="28289" y="35227"/>
                            <a:pt x="28229" y="35406"/>
                            <a:pt x="28169" y="35645"/>
                          </a:cubicBezTo>
                          <a:cubicBezTo>
                            <a:pt x="28109" y="35884"/>
                            <a:pt x="28050" y="36004"/>
                            <a:pt x="27930" y="36243"/>
                          </a:cubicBezTo>
                          <a:cubicBezTo>
                            <a:pt x="27811" y="36483"/>
                            <a:pt x="27811" y="36602"/>
                            <a:pt x="27691" y="36841"/>
                          </a:cubicBezTo>
                          <a:cubicBezTo>
                            <a:pt x="27691" y="36961"/>
                            <a:pt x="27751" y="37140"/>
                            <a:pt x="27751" y="37260"/>
                          </a:cubicBezTo>
                          <a:cubicBezTo>
                            <a:pt x="27751" y="37380"/>
                            <a:pt x="27811" y="37559"/>
                            <a:pt x="27811" y="37679"/>
                          </a:cubicBezTo>
                          <a:cubicBezTo>
                            <a:pt x="27811" y="37798"/>
                            <a:pt x="27870" y="37978"/>
                            <a:pt x="27870" y="38097"/>
                          </a:cubicBezTo>
                          <a:cubicBezTo>
                            <a:pt x="27990" y="38217"/>
                            <a:pt x="27990" y="38337"/>
                            <a:pt x="27990" y="38516"/>
                          </a:cubicBezTo>
                          <a:moveTo>
                            <a:pt x="13696" y="58372"/>
                          </a:moveTo>
                          <a:lnTo>
                            <a:pt x="14414" y="58850"/>
                          </a:lnTo>
                          <a:cubicBezTo>
                            <a:pt x="14952" y="58193"/>
                            <a:pt x="15490" y="57535"/>
                            <a:pt x="16028" y="56817"/>
                          </a:cubicBezTo>
                          <a:cubicBezTo>
                            <a:pt x="16567" y="56099"/>
                            <a:pt x="17105" y="55441"/>
                            <a:pt x="17643" y="54784"/>
                          </a:cubicBezTo>
                          <a:cubicBezTo>
                            <a:pt x="18181" y="54126"/>
                            <a:pt x="18720" y="53408"/>
                            <a:pt x="19198" y="52690"/>
                          </a:cubicBezTo>
                          <a:cubicBezTo>
                            <a:pt x="19736" y="51972"/>
                            <a:pt x="20215" y="51315"/>
                            <a:pt x="20753" y="50597"/>
                          </a:cubicBezTo>
                          <a:cubicBezTo>
                            <a:pt x="20813" y="50537"/>
                            <a:pt x="20873" y="50477"/>
                            <a:pt x="20933" y="50358"/>
                          </a:cubicBezTo>
                          <a:cubicBezTo>
                            <a:pt x="20992" y="50238"/>
                            <a:pt x="21052" y="50238"/>
                            <a:pt x="21112" y="50118"/>
                          </a:cubicBezTo>
                          <a:cubicBezTo>
                            <a:pt x="21172" y="50059"/>
                            <a:pt x="21231" y="49999"/>
                            <a:pt x="21291" y="49879"/>
                          </a:cubicBezTo>
                          <a:cubicBezTo>
                            <a:pt x="21351" y="49820"/>
                            <a:pt x="21411" y="49760"/>
                            <a:pt x="21471" y="49640"/>
                          </a:cubicBezTo>
                          <a:cubicBezTo>
                            <a:pt x="21770" y="49222"/>
                            <a:pt x="22009" y="48863"/>
                            <a:pt x="22308" y="48444"/>
                          </a:cubicBezTo>
                          <a:cubicBezTo>
                            <a:pt x="22607" y="48025"/>
                            <a:pt x="22846" y="47667"/>
                            <a:pt x="23086" y="47248"/>
                          </a:cubicBezTo>
                          <a:cubicBezTo>
                            <a:pt x="23325" y="46829"/>
                            <a:pt x="23624" y="46470"/>
                            <a:pt x="23863" y="46052"/>
                          </a:cubicBezTo>
                          <a:cubicBezTo>
                            <a:pt x="24102" y="45633"/>
                            <a:pt x="24342" y="45274"/>
                            <a:pt x="24581" y="44855"/>
                          </a:cubicBezTo>
                          <a:cubicBezTo>
                            <a:pt x="24641" y="44796"/>
                            <a:pt x="24700" y="44676"/>
                            <a:pt x="24700" y="44616"/>
                          </a:cubicBezTo>
                          <a:cubicBezTo>
                            <a:pt x="24700" y="44556"/>
                            <a:pt x="24820" y="44437"/>
                            <a:pt x="24820" y="44377"/>
                          </a:cubicBezTo>
                          <a:cubicBezTo>
                            <a:pt x="24880" y="44317"/>
                            <a:pt x="24940" y="44198"/>
                            <a:pt x="24940" y="44138"/>
                          </a:cubicBezTo>
                          <a:cubicBezTo>
                            <a:pt x="24999" y="44078"/>
                            <a:pt x="25059" y="43959"/>
                            <a:pt x="25059" y="43899"/>
                          </a:cubicBezTo>
                          <a:cubicBezTo>
                            <a:pt x="25119" y="43779"/>
                            <a:pt x="25179" y="43660"/>
                            <a:pt x="25239" y="43540"/>
                          </a:cubicBezTo>
                          <a:cubicBezTo>
                            <a:pt x="25298" y="43420"/>
                            <a:pt x="25358" y="43300"/>
                            <a:pt x="25418" y="43181"/>
                          </a:cubicBezTo>
                          <a:cubicBezTo>
                            <a:pt x="25478" y="43061"/>
                            <a:pt x="25538" y="42942"/>
                            <a:pt x="25598" y="42822"/>
                          </a:cubicBezTo>
                          <a:cubicBezTo>
                            <a:pt x="25657" y="42702"/>
                            <a:pt x="25717" y="42583"/>
                            <a:pt x="25777" y="42463"/>
                          </a:cubicBezTo>
                          <a:cubicBezTo>
                            <a:pt x="25837" y="42403"/>
                            <a:pt x="25897" y="42284"/>
                            <a:pt x="25897" y="42224"/>
                          </a:cubicBezTo>
                          <a:cubicBezTo>
                            <a:pt x="25897" y="42164"/>
                            <a:pt x="25956" y="42045"/>
                            <a:pt x="26016" y="41985"/>
                          </a:cubicBezTo>
                          <a:cubicBezTo>
                            <a:pt x="26076" y="41925"/>
                            <a:pt x="26076" y="41805"/>
                            <a:pt x="26136" y="41746"/>
                          </a:cubicBezTo>
                          <a:cubicBezTo>
                            <a:pt x="26196" y="41686"/>
                            <a:pt x="26196" y="41566"/>
                            <a:pt x="26255" y="41506"/>
                          </a:cubicBezTo>
                          <a:cubicBezTo>
                            <a:pt x="26315" y="41387"/>
                            <a:pt x="26375" y="41327"/>
                            <a:pt x="26435" y="41207"/>
                          </a:cubicBezTo>
                          <a:cubicBezTo>
                            <a:pt x="26495" y="41088"/>
                            <a:pt x="26554" y="41028"/>
                            <a:pt x="26614" y="40908"/>
                          </a:cubicBezTo>
                          <a:cubicBezTo>
                            <a:pt x="26674" y="40789"/>
                            <a:pt x="26734" y="40729"/>
                            <a:pt x="26794" y="40609"/>
                          </a:cubicBezTo>
                          <a:cubicBezTo>
                            <a:pt x="26853" y="40490"/>
                            <a:pt x="26913" y="40430"/>
                            <a:pt x="26973" y="40310"/>
                          </a:cubicBezTo>
                          <a:cubicBezTo>
                            <a:pt x="26973" y="40251"/>
                            <a:pt x="26973" y="40191"/>
                            <a:pt x="26973" y="40131"/>
                          </a:cubicBezTo>
                          <a:cubicBezTo>
                            <a:pt x="26973" y="40071"/>
                            <a:pt x="26973" y="40011"/>
                            <a:pt x="26973" y="39951"/>
                          </a:cubicBezTo>
                          <a:cubicBezTo>
                            <a:pt x="26973" y="39892"/>
                            <a:pt x="26973" y="39832"/>
                            <a:pt x="26973" y="39772"/>
                          </a:cubicBezTo>
                          <a:cubicBezTo>
                            <a:pt x="26973" y="39712"/>
                            <a:pt x="26973" y="39652"/>
                            <a:pt x="26973" y="39592"/>
                          </a:cubicBezTo>
                          <a:cubicBezTo>
                            <a:pt x="26973" y="39473"/>
                            <a:pt x="26973" y="39413"/>
                            <a:pt x="26973" y="39293"/>
                          </a:cubicBezTo>
                          <a:cubicBezTo>
                            <a:pt x="26973" y="39174"/>
                            <a:pt x="26973" y="39114"/>
                            <a:pt x="26973" y="38994"/>
                          </a:cubicBezTo>
                          <a:cubicBezTo>
                            <a:pt x="26973" y="38875"/>
                            <a:pt x="26973" y="38815"/>
                            <a:pt x="26973" y="38695"/>
                          </a:cubicBezTo>
                          <a:cubicBezTo>
                            <a:pt x="26973" y="38576"/>
                            <a:pt x="26973" y="38516"/>
                            <a:pt x="26973" y="38396"/>
                          </a:cubicBezTo>
                          <a:cubicBezTo>
                            <a:pt x="26853" y="38636"/>
                            <a:pt x="26794" y="38815"/>
                            <a:pt x="26674" y="39054"/>
                          </a:cubicBezTo>
                          <a:cubicBezTo>
                            <a:pt x="26554" y="39293"/>
                            <a:pt x="26435" y="39473"/>
                            <a:pt x="26375" y="39712"/>
                          </a:cubicBezTo>
                          <a:cubicBezTo>
                            <a:pt x="26255" y="39951"/>
                            <a:pt x="26136" y="40131"/>
                            <a:pt x="26016" y="40370"/>
                          </a:cubicBezTo>
                          <a:cubicBezTo>
                            <a:pt x="25897" y="40609"/>
                            <a:pt x="25777" y="40789"/>
                            <a:pt x="25657" y="41028"/>
                          </a:cubicBezTo>
                          <a:cubicBezTo>
                            <a:pt x="25598" y="41088"/>
                            <a:pt x="25598" y="41207"/>
                            <a:pt x="25538" y="41267"/>
                          </a:cubicBezTo>
                          <a:cubicBezTo>
                            <a:pt x="25478" y="41327"/>
                            <a:pt x="25478" y="41446"/>
                            <a:pt x="25418" y="41506"/>
                          </a:cubicBezTo>
                          <a:cubicBezTo>
                            <a:pt x="25358" y="41566"/>
                            <a:pt x="25358" y="41686"/>
                            <a:pt x="25298" y="41746"/>
                          </a:cubicBezTo>
                          <a:cubicBezTo>
                            <a:pt x="25239" y="41805"/>
                            <a:pt x="25239" y="41925"/>
                            <a:pt x="25179" y="41985"/>
                          </a:cubicBezTo>
                          <a:cubicBezTo>
                            <a:pt x="25119" y="42105"/>
                            <a:pt x="25059" y="42224"/>
                            <a:pt x="24999" y="42344"/>
                          </a:cubicBezTo>
                          <a:cubicBezTo>
                            <a:pt x="24940" y="42463"/>
                            <a:pt x="24880" y="42583"/>
                            <a:pt x="24820" y="42702"/>
                          </a:cubicBezTo>
                          <a:cubicBezTo>
                            <a:pt x="24760" y="42822"/>
                            <a:pt x="24700" y="42942"/>
                            <a:pt x="24641" y="43061"/>
                          </a:cubicBezTo>
                          <a:cubicBezTo>
                            <a:pt x="24581" y="43181"/>
                            <a:pt x="24521" y="43300"/>
                            <a:pt x="24461" y="43420"/>
                          </a:cubicBezTo>
                          <a:cubicBezTo>
                            <a:pt x="24401" y="43480"/>
                            <a:pt x="24342" y="43600"/>
                            <a:pt x="24342" y="43660"/>
                          </a:cubicBezTo>
                          <a:cubicBezTo>
                            <a:pt x="24282" y="43719"/>
                            <a:pt x="24222" y="43839"/>
                            <a:pt x="24222" y="43899"/>
                          </a:cubicBezTo>
                          <a:cubicBezTo>
                            <a:pt x="24162" y="43959"/>
                            <a:pt x="24102" y="44078"/>
                            <a:pt x="24102" y="44138"/>
                          </a:cubicBezTo>
                          <a:cubicBezTo>
                            <a:pt x="24043" y="44198"/>
                            <a:pt x="23983" y="44317"/>
                            <a:pt x="23983" y="44377"/>
                          </a:cubicBezTo>
                          <a:cubicBezTo>
                            <a:pt x="23744" y="44796"/>
                            <a:pt x="23504" y="45155"/>
                            <a:pt x="23265" y="45573"/>
                          </a:cubicBezTo>
                          <a:cubicBezTo>
                            <a:pt x="23026" y="45992"/>
                            <a:pt x="22727" y="46351"/>
                            <a:pt x="22488" y="46769"/>
                          </a:cubicBezTo>
                          <a:cubicBezTo>
                            <a:pt x="22248" y="47188"/>
                            <a:pt x="21949" y="47547"/>
                            <a:pt x="21710" y="47966"/>
                          </a:cubicBezTo>
                          <a:cubicBezTo>
                            <a:pt x="21411" y="48384"/>
                            <a:pt x="21172" y="48743"/>
                            <a:pt x="20873" y="49162"/>
                          </a:cubicBezTo>
                          <a:cubicBezTo>
                            <a:pt x="20813" y="49222"/>
                            <a:pt x="20753" y="49281"/>
                            <a:pt x="20693" y="49401"/>
                          </a:cubicBezTo>
                          <a:cubicBezTo>
                            <a:pt x="20634" y="49461"/>
                            <a:pt x="20574" y="49521"/>
                            <a:pt x="20514" y="49640"/>
                          </a:cubicBezTo>
                          <a:cubicBezTo>
                            <a:pt x="20454" y="49700"/>
                            <a:pt x="20394" y="49760"/>
                            <a:pt x="20335" y="49879"/>
                          </a:cubicBezTo>
                          <a:cubicBezTo>
                            <a:pt x="20275" y="49939"/>
                            <a:pt x="20215" y="49999"/>
                            <a:pt x="20155" y="50118"/>
                          </a:cubicBezTo>
                          <a:cubicBezTo>
                            <a:pt x="19676" y="50836"/>
                            <a:pt x="19138" y="51494"/>
                            <a:pt x="18600" y="52212"/>
                          </a:cubicBezTo>
                          <a:cubicBezTo>
                            <a:pt x="18062" y="52930"/>
                            <a:pt x="17583" y="53587"/>
                            <a:pt x="17045" y="54305"/>
                          </a:cubicBezTo>
                          <a:cubicBezTo>
                            <a:pt x="16507" y="54963"/>
                            <a:pt x="15968" y="55681"/>
                            <a:pt x="15430" y="56339"/>
                          </a:cubicBezTo>
                          <a:cubicBezTo>
                            <a:pt x="14832" y="56996"/>
                            <a:pt x="14234" y="57654"/>
                            <a:pt x="13696" y="58372"/>
                          </a:cubicBezTo>
                          <a:moveTo>
                            <a:pt x="12021" y="57236"/>
                          </a:moveTo>
                          <a:lnTo>
                            <a:pt x="12739" y="57714"/>
                          </a:lnTo>
                          <a:cubicBezTo>
                            <a:pt x="13277" y="57056"/>
                            <a:pt x="13815" y="56339"/>
                            <a:pt x="14354" y="55681"/>
                          </a:cubicBezTo>
                          <a:cubicBezTo>
                            <a:pt x="14892" y="55023"/>
                            <a:pt x="15430" y="54305"/>
                            <a:pt x="15968" y="53647"/>
                          </a:cubicBezTo>
                          <a:cubicBezTo>
                            <a:pt x="16507" y="52989"/>
                            <a:pt x="17045" y="52271"/>
                            <a:pt x="17523" y="51554"/>
                          </a:cubicBezTo>
                          <a:cubicBezTo>
                            <a:pt x="18002" y="50836"/>
                            <a:pt x="18540" y="50178"/>
                            <a:pt x="19079" y="49461"/>
                          </a:cubicBezTo>
                          <a:cubicBezTo>
                            <a:pt x="19138" y="49401"/>
                            <a:pt x="19198" y="49341"/>
                            <a:pt x="19258" y="49222"/>
                          </a:cubicBezTo>
                          <a:cubicBezTo>
                            <a:pt x="19318" y="49102"/>
                            <a:pt x="19377" y="49102"/>
                            <a:pt x="19437" y="48982"/>
                          </a:cubicBezTo>
                          <a:cubicBezTo>
                            <a:pt x="19497" y="48922"/>
                            <a:pt x="19557" y="48863"/>
                            <a:pt x="19617" y="48743"/>
                          </a:cubicBezTo>
                          <a:cubicBezTo>
                            <a:pt x="19676" y="48683"/>
                            <a:pt x="19736" y="48623"/>
                            <a:pt x="19796" y="48504"/>
                          </a:cubicBezTo>
                          <a:cubicBezTo>
                            <a:pt x="20095" y="48085"/>
                            <a:pt x="20335" y="47726"/>
                            <a:pt x="20634" y="47308"/>
                          </a:cubicBezTo>
                          <a:cubicBezTo>
                            <a:pt x="20933" y="46889"/>
                            <a:pt x="21172" y="46530"/>
                            <a:pt x="21411" y="46111"/>
                          </a:cubicBezTo>
                          <a:cubicBezTo>
                            <a:pt x="21650" y="45693"/>
                            <a:pt x="21949" y="45334"/>
                            <a:pt x="22189" y="44915"/>
                          </a:cubicBezTo>
                          <a:cubicBezTo>
                            <a:pt x="22428" y="44497"/>
                            <a:pt x="22667" y="44138"/>
                            <a:pt x="22906" y="43719"/>
                          </a:cubicBezTo>
                          <a:cubicBezTo>
                            <a:pt x="22966" y="43660"/>
                            <a:pt x="23026" y="43540"/>
                            <a:pt x="23026" y="43480"/>
                          </a:cubicBezTo>
                          <a:cubicBezTo>
                            <a:pt x="23026" y="43420"/>
                            <a:pt x="23145" y="43300"/>
                            <a:pt x="23145" y="43241"/>
                          </a:cubicBezTo>
                          <a:cubicBezTo>
                            <a:pt x="23145" y="43181"/>
                            <a:pt x="23265" y="43061"/>
                            <a:pt x="23265" y="43001"/>
                          </a:cubicBezTo>
                          <a:cubicBezTo>
                            <a:pt x="23265" y="42942"/>
                            <a:pt x="23385" y="42822"/>
                            <a:pt x="23385" y="42762"/>
                          </a:cubicBezTo>
                          <a:cubicBezTo>
                            <a:pt x="23444" y="42643"/>
                            <a:pt x="23504" y="42523"/>
                            <a:pt x="23564" y="42403"/>
                          </a:cubicBezTo>
                          <a:cubicBezTo>
                            <a:pt x="23624" y="42284"/>
                            <a:pt x="23684" y="42164"/>
                            <a:pt x="23744" y="42045"/>
                          </a:cubicBezTo>
                          <a:cubicBezTo>
                            <a:pt x="23803" y="41925"/>
                            <a:pt x="23863" y="41805"/>
                            <a:pt x="23923" y="41686"/>
                          </a:cubicBezTo>
                          <a:cubicBezTo>
                            <a:pt x="23983" y="41566"/>
                            <a:pt x="24043" y="41446"/>
                            <a:pt x="24102" y="41327"/>
                          </a:cubicBezTo>
                          <a:cubicBezTo>
                            <a:pt x="24162" y="41267"/>
                            <a:pt x="24162" y="41147"/>
                            <a:pt x="24222" y="41088"/>
                          </a:cubicBezTo>
                          <a:cubicBezTo>
                            <a:pt x="24282" y="41028"/>
                            <a:pt x="24282" y="40908"/>
                            <a:pt x="24342" y="40848"/>
                          </a:cubicBezTo>
                          <a:cubicBezTo>
                            <a:pt x="24401" y="40789"/>
                            <a:pt x="24401" y="40669"/>
                            <a:pt x="24461" y="40609"/>
                          </a:cubicBezTo>
                          <a:cubicBezTo>
                            <a:pt x="24521" y="40549"/>
                            <a:pt x="24521" y="40430"/>
                            <a:pt x="24581" y="40370"/>
                          </a:cubicBezTo>
                          <a:cubicBezTo>
                            <a:pt x="24700" y="40131"/>
                            <a:pt x="24820" y="39892"/>
                            <a:pt x="24940" y="39592"/>
                          </a:cubicBezTo>
                          <a:cubicBezTo>
                            <a:pt x="25059" y="39293"/>
                            <a:pt x="25179" y="39114"/>
                            <a:pt x="25298" y="38815"/>
                          </a:cubicBezTo>
                          <a:cubicBezTo>
                            <a:pt x="25418" y="38576"/>
                            <a:pt x="25538" y="38337"/>
                            <a:pt x="25657" y="38038"/>
                          </a:cubicBezTo>
                          <a:cubicBezTo>
                            <a:pt x="25777" y="37798"/>
                            <a:pt x="25897" y="37559"/>
                            <a:pt x="26016" y="37260"/>
                          </a:cubicBezTo>
                          <a:cubicBezTo>
                            <a:pt x="26076" y="37200"/>
                            <a:pt x="26076" y="37081"/>
                            <a:pt x="26136" y="37021"/>
                          </a:cubicBezTo>
                          <a:cubicBezTo>
                            <a:pt x="26196" y="36961"/>
                            <a:pt x="26196" y="36841"/>
                            <a:pt x="26255" y="36782"/>
                          </a:cubicBezTo>
                          <a:cubicBezTo>
                            <a:pt x="26315" y="36722"/>
                            <a:pt x="26315" y="36602"/>
                            <a:pt x="26375" y="36542"/>
                          </a:cubicBezTo>
                          <a:cubicBezTo>
                            <a:pt x="26435" y="36483"/>
                            <a:pt x="26435" y="36363"/>
                            <a:pt x="26495" y="36303"/>
                          </a:cubicBezTo>
                          <a:cubicBezTo>
                            <a:pt x="26495" y="36303"/>
                            <a:pt x="26495" y="36303"/>
                            <a:pt x="26495" y="36243"/>
                          </a:cubicBezTo>
                          <a:cubicBezTo>
                            <a:pt x="26495" y="36243"/>
                            <a:pt x="26495" y="36243"/>
                            <a:pt x="26495" y="36184"/>
                          </a:cubicBezTo>
                          <a:cubicBezTo>
                            <a:pt x="26495" y="36184"/>
                            <a:pt x="26495" y="36184"/>
                            <a:pt x="26495" y="36124"/>
                          </a:cubicBezTo>
                          <a:cubicBezTo>
                            <a:pt x="26495" y="36124"/>
                            <a:pt x="26495" y="36124"/>
                            <a:pt x="26495" y="36064"/>
                          </a:cubicBezTo>
                          <a:cubicBezTo>
                            <a:pt x="26435" y="35944"/>
                            <a:pt x="26435" y="35824"/>
                            <a:pt x="26375" y="35705"/>
                          </a:cubicBezTo>
                          <a:cubicBezTo>
                            <a:pt x="26315" y="35585"/>
                            <a:pt x="26315" y="35466"/>
                            <a:pt x="26255" y="35346"/>
                          </a:cubicBezTo>
                          <a:cubicBezTo>
                            <a:pt x="26196" y="35227"/>
                            <a:pt x="26196" y="35107"/>
                            <a:pt x="26136" y="34987"/>
                          </a:cubicBezTo>
                          <a:cubicBezTo>
                            <a:pt x="26076" y="34868"/>
                            <a:pt x="26076" y="34748"/>
                            <a:pt x="26016" y="34629"/>
                          </a:cubicBezTo>
                          <a:cubicBezTo>
                            <a:pt x="25956" y="34748"/>
                            <a:pt x="25956" y="34808"/>
                            <a:pt x="25897" y="34928"/>
                          </a:cubicBezTo>
                          <a:cubicBezTo>
                            <a:pt x="25837" y="35047"/>
                            <a:pt x="25837" y="35107"/>
                            <a:pt x="25777" y="35227"/>
                          </a:cubicBezTo>
                          <a:cubicBezTo>
                            <a:pt x="25717" y="35346"/>
                            <a:pt x="25717" y="35406"/>
                            <a:pt x="25657" y="35526"/>
                          </a:cubicBezTo>
                          <a:cubicBezTo>
                            <a:pt x="25598" y="35645"/>
                            <a:pt x="25598" y="35705"/>
                            <a:pt x="25538" y="35824"/>
                          </a:cubicBezTo>
                          <a:cubicBezTo>
                            <a:pt x="25478" y="35884"/>
                            <a:pt x="25478" y="36004"/>
                            <a:pt x="25418" y="36064"/>
                          </a:cubicBezTo>
                          <a:cubicBezTo>
                            <a:pt x="25358" y="36124"/>
                            <a:pt x="25358" y="36243"/>
                            <a:pt x="25298" y="36303"/>
                          </a:cubicBezTo>
                          <a:cubicBezTo>
                            <a:pt x="25239" y="36363"/>
                            <a:pt x="25239" y="36483"/>
                            <a:pt x="25179" y="36542"/>
                          </a:cubicBezTo>
                          <a:cubicBezTo>
                            <a:pt x="25119" y="36602"/>
                            <a:pt x="25119" y="36722"/>
                            <a:pt x="25059" y="36782"/>
                          </a:cubicBezTo>
                          <a:cubicBezTo>
                            <a:pt x="24940" y="37021"/>
                            <a:pt x="24820" y="37260"/>
                            <a:pt x="24760" y="37559"/>
                          </a:cubicBezTo>
                          <a:cubicBezTo>
                            <a:pt x="24641" y="37798"/>
                            <a:pt x="24521" y="38038"/>
                            <a:pt x="24401" y="38337"/>
                          </a:cubicBezTo>
                          <a:cubicBezTo>
                            <a:pt x="24282" y="38576"/>
                            <a:pt x="24162" y="38815"/>
                            <a:pt x="24043" y="39114"/>
                          </a:cubicBezTo>
                          <a:cubicBezTo>
                            <a:pt x="23923" y="39353"/>
                            <a:pt x="23803" y="39592"/>
                            <a:pt x="23684" y="39892"/>
                          </a:cubicBezTo>
                          <a:cubicBezTo>
                            <a:pt x="23624" y="39951"/>
                            <a:pt x="23624" y="40071"/>
                            <a:pt x="23564" y="40131"/>
                          </a:cubicBezTo>
                          <a:cubicBezTo>
                            <a:pt x="23504" y="40191"/>
                            <a:pt x="23504" y="40310"/>
                            <a:pt x="23444" y="40370"/>
                          </a:cubicBezTo>
                          <a:cubicBezTo>
                            <a:pt x="23385" y="40430"/>
                            <a:pt x="23385" y="40549"/>
                            <a:pt x="23325" y="40609"/>
                          </a:cubicBezTo>
                          <a:cubicBezTo>
                            <a:pt x="23265" y="40669"/>
                            <a:pt x="23265" y="40789"/>
                            <a:pt x="23205" y="40848"/>
                          </a:cubicBezTo>
                          <a:cubicBezTo>
                            <a:pt x="23145" y="40968"/>
                            <a:pt x="23086" y="41088"/>
                            <a:pt x="23026" y="41207"/>
                          </a:cubicBezTo>
                          <a:cubicBezTo>
                            <a:pt x="22966" y="41327"/>
                            <a:pt x="22906" y="41446"/>
                            <a:pt x="22846" y="41566"/>
                          </a:cubicBezTo>
                          <a:cubicBezTo>
                            <a:pt x="22787" y="41686"/>
                            <a:pt x="22727" y="41805"/>
                            <a:pt x="22667" y="41925"/>
                          </a:cubicBezTo>
                          <a:cubicBezTo>
                            <a:pt x="22607" y="42045"/>
                            <a:pt x="22547" y="42164"/>
                            <a:pt x="22488" y="42284"/>
                          </a:cubicBezTo>
                          <a:cubicBezTo>
                            <a:pt x="22428" y="42344"/>
                            <a:pt x="22368" y="42463"/>
                            <a:pt x="22368" y="42523"/>
                          </a:cubicBezTo>
                          <a:cubicBezTo>
                            <a:pt x="22308" y="42583"/>
                            <a:pt x="22248" y="42702"/>
                            <a:pt x="22248" y="42762"/>
                          </a:cubicBezTo>
                          <a:cubicBezTo>
                            <a:pt x="22248" y="42822"/>
                            <a:pt x="22129" y="42942"/>
                            <a:pt x="22129" y="43001"/>
                          </a:cubicBezTo>
                          <a:cubicBezTo>
                            <a:pt x="22069" y="43061"/>
                            <a:pt x="22009" y="43181"/>
                            <a:pt x="22009" y="43241"/>
                          </a:cubicBezTo>
                          <a:cubicBezTo>
                            <a:pt x="21770" y="43660"/>
                            <a:pt x="21530" y="44018"/>
                            <a:pt x="21291" y="44437"/>
                          </a:cubicBezTo>
                          <a:cubicBezTo>
                            <a:pt x="21052" y="44855"/>
                            <a:pt x="20813" y="45214"/>
                            <a:pt x="20514" y="45633"/>
                          </a:cubicBezTo>
                          <a:cubicBezTo>
                            <a:pt x="20275" y="46052"/>
                            <a:pt x="19976" y="46410"/>
                            <a:pt x="19736" y="46829"/>
                          </a:cubicBezTo>
                          <a:cubicBezTo>
                            <a:pt x="19437" y="47248"/>
                            <a:pt x="19198" y="47607"/>
                            <a:pt x="18899" y="48025"/>
                          </a:cubicBezTo>
                          <a:cubicBezTo>
                            <a:pt x="18839" y="48085"/>
                            <a:pt x="18780" y="48145"/>
                            <a:pt x="18720" y="48264"/>
                          </a:cubicBezTo>
                          <a:cubicBezTo>
                            <a:pt x="18660" y="48384"/>
                            <a:pt x="18600" y="48384"/>
                            <a:pt x="18540" y="48504"/>
                          </a:cubicBezTo>
                          <a:cubicBezTo>
                            <a:pt x="18481" y="48563"/>
                            <a:pt x="18421" y="48623"/>
                            <a:pt x="18361" y="48743"/>
                          </a:cubicBezTo>
                          <a:cubicBezTo>
                            <a:pt x="18301" y="48803"/>
                            <a:pt x="18241" y="48863"/>
                            <a:pt x="18181" y="48982"/>
                          </a:cubicBezTo>
                          <a:cubicBezTo>
                            <a:pt x="17703" y="49700"/>
                            <a:pt x="17165" y="50358"/>
                            <a:pt x="16686" y="51076"/>
                          </a:cubicBezTo>
                          <a:cubicBezTo>
                            <a:pt x="16148" y="51793"/>
                            <a:pt x="15669" y="52451"/>
                            <a:pt x="15131" y="53169"/>
                          </a:cubicBezTo>
                          <a:cubicBezTo>
                            <a:pt x="14593" y="53886"/>
                            <a:pt x="14055" y="54544"/>
                            <a:pt x="13516" y="55202"/>
                          </a:cubicBezTo>
                          <a:cubicBezTo>
                            <a:pt x="13098" y="55860"/>
                            <a:pt x="12559" y="56578"/>
                            <a:pt x="12021" y="57236"/>
                          </a:cubicBezTo>
                          <a:moveTo>
                            <a:pt x="11782" y="60704"/>
                          </a:moveTo>
                          <a:lnTo>
                            <a:pt x="12500" y="61183"/>
                          </a:lnTo>
                          <a:cubicBezTo>
                            <a:pt x="12619" y="61063"/>
                            <a:pt x="12679" y="60944"/>
                            <a:pt x="12799" y="60824"/>
                          </a:cubicBezTo>
                          <a:cubicBezTo>
                            <a:pt x="12919" y="60704"/>
                            <a:pt x="12978" y="60585"/>
                            <a:pt x="13098" y="60465"/>
                          </a:cubicBezTo>
                          <a:cubicBezTo>
                            <a:pt x="13218" y="60346"/>
                            <a:pt x="13277" y="60226"/>
                            <a:pt x="13397" y="60107"/>
                          </a:cubicBezTo>
                          <a:cubicBezTo>
                            <a:pt x="13516" y="59987"/>
                            <a:pt x="13576" y="59867"/>
                            <a:pt x="13696" y="59747"/>
                          </a:cubicBezTo>
                          <a:lnTo>
                            <a:pt x="12978" y="59269"/>
                          </a:lnTo>
                          <a:cubicBezTo>
                            <a:pt x="12859" y="59389"/>
                            <a:pt x="12799" y="59508"/>
                            <a:pt x="12679" y="59628"/>
                          </a:cubicBezTo>
                          <a:cubicBezTo>
                            <a:pt x="12559" y="59747"/>
                            <a:pt x="12500" y="59867"/>
                            <a:pt x="12380" y="59987"/>
                          </a:cubicBezTo>
                          <a:cubicBezTo>
                            <a:pt x="12260" y="60107"/>
                            <a:pt x="12201" y="60226"/>
                            <a:pt x="12081" y="60346"/>
                          </a:cubicBezTo>
                          <a:cubicBezTo>
                            <a:pt x="11961" y="60465"/>
                            <a:pt x="11842" y="60585"/>
                            <a:pt x="11782" y="60704"/>
                          </a:cubicBezTo>
                          <a:moveTo>
                            <a:pt x="10048" y="59568"/>
                          </a:moveTo>
                          <a:lnTo>
                            <a:pt x="10765" y="60047"/>
                          </a:lnTo>
                          <a:cubicBezTo>
                            <a:pt x="10885" y="59927"/>
                            <a:pt x="10945" y="59807"/>
                            <a:pt x="11064" y="59688"/>
                          </a:cubicBezTo>
                          <a:cubicBezTo>
                            <a:pt x="11184" y="59568"/>
                            <a:pt x="11244" y="59448"/>
                            <a:pt x="11364" y="59329"/>
                          </a:cubicBezTo>
                          <a:cubicBezTo>
                            <a:pt x="11483" y="59209"/>
                            <a:pt x="11543" y="59090"/>
                            <a:pt x="11662" y="58970"/>
                          </a:cubicBezTo>
                          <a:cubicBezTo>
                            <a:pt x="11782" y="58850"/>
                            <a:pt x="11842" y="58731"/>
                            <a:pt x="11961" y="58611"/>
                          </a:cubicBezTo>
                          <a:lnTo>
                            <a:pt x="11244" y="58133"/>
                          </a:lnTo>
                          <a:cubicBezTo>
                            <a:pt x="11124" y="58252"/>
                            <a:pt x="11064" y="58372"/>
                            <a:pt x="10945" y="58492"/>
                          </a:cubicBezTo>
                          <a:cubicBezTo>
                            <a:pt x="10825" y="58611"/>
                            <a:pt x="10765" y="58731"/>
                            <a:pt x="10646" y="58850"/>
                          </a:cubicBezTo>
                          <a:cubicBezTo>
                            <a:pt x="10526" y="58970"/>
                            <a:pt x="10466" y="59090"/>
                            <a:pt x="10347" y="59209"/>
                          </a:cubicBezTo>
                          <a:cubicBezTo>
                            <a:pt x="10227" y="59329"/>
                            <a:pt x="10167" y="59448"/>
                            <a:pt x="10048" y="59568"/>
                          </a:cubicBezTo>
                          <a:moveTo>
                            <a:pt x="9928" y="62857"/>
                          </a:moveTo>
                          <a:lnTo>
                            <a:pt x="10646" y="63336"/>
                          </a:lnTo>
                          <a:cubicBezTo>
                            <a:pt x="10765" y="63216"/>
                            <a:pt x="10825" y="63097"/>
                            <a:pt x="10945" y="63037"/>
                          </a:cubicBezTo>
                          <a:cubicBezTo>
                            <a:pt x="11064" y="62917"/>
                            <a:pt x="11124" y="62798"/>
                            <a:pt x="11244" y="62738"/>
                          </a:cubicBezTo>
                          <a:cubicBezTo>
                            <a:pt x="11364" y="62678"/>
                            <a:pt x="11423" y="62499"/>
                            <a:pt x="11543" y="62439"/>
                          </a:cubicBezTo>
                          <a:cubicBezTo>
                            <a:pt x="11662" y="62319"/>
                            <a:pt x="11722" y="62200"/>
                            <a:pt x="11842" y="62140"/>
                          </a:cubicBezTo>
                          <a:lnTo>
                            <a:pt x="11124" y="61661"/>
                          </a:lnTo>
                          <a:cubicBezTo>
                            <a:pt x="11005" y="61781"/>
                            <a:pt x="10945" y="61901"/>
                            <a:pt x="10825" y="61961"/>
                          </a:cubicBezTo>
                          <a:cubicBezTo>
                            <a:pt x="10705" y="62080"/>
                            <a:pt x="10646" y="62200"/>
                            <a:pt x="10526" y="62260"/>
                          </a:cubicBezTo>
                          <a:cubicBezTo>
                            <a:pt x="10406" y="62379"/>
                            <a:pt x="10347" y="62499"/>
                            <a:pt x="10227" y="62558"/>
                          </a:cubicBezTo>
                          <a:cubicBezTo>
                            <a:pt x="10107" y="62678"/>
                            <a:pt x="10048" y="62738"/>
                            <a:pt x="9928" y="62857"/>
                          </a:cubicBezTo>
                          <a:moveTo>
                            <a:pt x="8253" y="61781"/>
                          </a:moveTo>
                          <a:lnTo>
                            <a:pt x="8971" y="62260"/>
                          </a:lnTo>
                          <a:cubicBezTo>
                            <a:pt x="9091" y="62140"/>
                            <a:pt x="9151" y="62020"/>
                            <a:pt x="9270" y="61961"/>
                          </a:cubicBezTo>
                          <a:cubicBezTo>
                            <a:pt x="9390" y="61901"/>
                            <a:pt x="9450" y="61721"/>
                            <a:pt x="9569" y="61661"/>
                          </a:cubicBezTo>
                          <a:cubicBezTo>
                            <a:pt x="9689" y="61542"/>
                            <a:pt x="9749" y="61422"/>
                            <a:pt x="9868" y="61362"/>
                          </a:cubicBezTo>
                          <a:cubicBezTo>
                            <a:pt x="9988" y="61243"/>
                            <a:pt x="10048" y="61123"/>
                            <a:pt x="10167" y="61063"/>
                          </a:cubicBezTo>
                          <a:lnTo>
                            <a:pt x="9450" y="60585"/>
                          </a:lnTo>
                          <a:cubicBezTo>
                            <a:pt x="9330" y="60704"/>
                            <a:pt x="9270" y="60824"/>
                            <a:pt x="9151" y="60884"/>
                          </a:cubicBezTo>
                          <a:cubicBezTo>
                            <a:pt x="9031" y="61003"/>
                            <a:pt x="8971" y="61123"/>
                            <a:pt x="8851" y="61183"/>
                          </a:cubicBezTo>
                          <a:cubicBezTo>
                            <a:pt x="8732" y="61302"/>
                            <a:pt x="8672" y="61422"/>
                            <a:pt x="8552" y="61482"/>
                          </a:cubicBezTo>
                          <a:cubicBezTo>
                            <a:pt x="8433" y="61542"/>
                            <a:pt x="8313" y="61661"/>
                            <a:pt x="8253" y="61781"/>
                          </a:cubicBezTo>
                          <a:moveTo>
                            <a:pt x="0" y="71709"/>
                          </a:moveTo>
                          <a:lnTo>
                            <a:pt x="2452" y="73264"/>
                          </a:lnTo>
                          <a:lnTo>
                            <a:pt x="2811" y="72845"/>
                          </a:lnTo>
                          <a:cubicBezTo>
                            <a:pt x="2990" y="72606"/>
                            <a:pt x="3170" y="72367"/>
                            <a:pt x="3409" y="72127"/>
                          </a:cubicBezTo>
                          <a:cubicBezTo>
                            <a:pt x="3648" y="71888"/>
                            <a:pt x="3828" y="71649"/>
                            <a:pt x="4007" y="71410"/>
                          </a:cubicBezTo>
                          <a:cubicBezTo>
                            <a:pt x="4187" y="71171"/>
                            <a:pt x="4426" y="70932"/>
                            <a:pt x="4605" y="70692"/>
                          </a:cubicBezTo>
                          <a:cubicBezTo>
                            <a:pt x="4785" y="70453"/>
                            <a:pt x="5024" y="70214"/>
                            <a:pt x="5203" y="69975"/>
                          </a:cubicBezTo>
                          <a:cubicBezTo>
                            <a:pt x="5263" y="69915"/>
                            <a:pt x="5323" y="69855"/>
                            <a:pt x="5383" y="69735"/>
                          </a:cubicBezTo>
                          <a:cubicBezTo>
                            <a:pt x="5443" y="69676"/>
                            <a:pt x="5502" y="69616"/>
                            <a:pt x="5562" y="69496"/>
                          </a:cubicBezTo>
                          <a:cubicBezTo>
                            <a:pt x="5622" y="69436"/>
                            <a:pt x="5682" y="69377"/>
                            <a:pt x="5742" y="69257"/>
                          </a:cubicBezTo>
                          <a:cubicBezTo>
                            <a:pt x="5801" y="69197"/>
                            <a:pt x="5861" y="69137"/>
                            <a:pt x="5921" y="69018"/>
                          </a:cubicBezTo>
                          <a:cubicBezTo>
                            <a:pt x="6220" y="68659"/>
                            <a:pt x="6519" y="68300"/>
                            <a:pt x="6818" y="67941"/>
                          </a:cubicBezTo>
                          <a:cubicBezTo>
                            <a:pt x="7117" y="67582"/>
                            <a:pt x="7416" y="67223"/>
                            <a:pt x="7715" y="66864"/>
                          </a:cubicBezTo>
                          <a:cubicBezTo>
                            <a:pt x="8014" y="66506"/>
                            <a:pt x="8313" y="66147"/>
                            <a:pt x="8612" y="65788"/>
                          </a:cubicBezTo>
                          <a:cubicBezTo>
                            <a:pt x="8911" y="65429"/>
                            <a:pt x="9210" y="65070"/>
                            <a:pt x="9510" y="64711"/>
                          </a:cubicBezTo>
                          <a:cubicBezTo>
                            <a:pt x="9569" y="64652"/>
                            <a:pt x="9569" y="64652"/>
                            <a:pt x="9629" y="64592"/>
                          </a:cubicBezTo>
                          <a:cubicBezTo>
                            <a:pt x="9689" y="64532"/>
                            <a:pt x="9689" y="64532"/>
                            <a:pt x="9749" y="64472"/>
                          </a:cubicBezTo>
                          <a:cubicBezTo>
                            <a:pt x="9808" y="64412"/>
                            <a:pt x="9808" y="64353"/>
                            <a:pt x="9868" y="64353"/>
                          </a:cubicBezTo>
                          <a:cubicBezTo>
                            <a:pt x="9928" y="64353"/>
                            <a:pt x="9928" y="64293"/>
                            <a:pt x="9988" y="64233"/>
                          </a:cubicBezTo>
                          <a:lnTo>
                            <a:pt x="9270" y="63755"/>
                          </a:lnTo>
                          <a:cubicBezTo>
                            <a:pt x="9210" y="63815"/>
                            <a:pt x="9210" y="63815"/>
                            <a:pt x="9151" y="63874"/>
                          </a:cubicBezTo>
                          <a:cubicBezTo>
                            <a:pt x="9091" y="63934"/>
                            <a:pt x="9091" y="63934"/>
                            <a:pt x="9031" y="63994"/>
                          </a:cubicBezTo>
                          <a:cubicBezTo>
                            <a:pt x="8971" y="64054"/>
                            <a:pt x="8971" y="64054"/>
                            <a:pt x="8911" y="64114"/>
                          </a:cubicBezTo>
                          <a:cubicBezTo>
                            <a:pt x="8851" y="64173"/>
                            <a:pt x="8851" y="64173"/>
                            <a:pt x="8792" y="64233"/>
                          </a:cubicBezTo>
                          <a:cubicBezTo>
                            <a:pt x="8493" y="64592"/>
                            <a:pt x="8194" y="64951"/>
                            <a:pt x="7895" y="65310"/>
                          </a:cubicBezTo>
                          <a:cubicBezTo>
                            <a:pt x="7596" y="65669"/>
                            <a:pt x="7297" y="66027"/>
                            <a:pt x="6997" y="66386"/>
                          </a:cubicBezTo>
                          <a:cubicBezTo>
                            <a:pt x="6698" y="66745"/>
                            <a:pt x="6399" y="67104"/>
                            <a:pt x="6100" y="67463"/>
                          </a:cubicBezTo>
                          <a:cubicBezTo>
                            <a:pt x="5801" y="67822"/>
                            <a:pt x="5502" y="68180"/>
                            <a:pt x="5203" y="68539"/>
                          </a:cubicBezTo>
                          <a:cubicBezTo>
                            <a:pt x="5143" y="68599"/>
                            <a:pt x="5083" y="68659"/>
                            <a:pt x="5024" y="68778"/>
                          </a:cubicBezTo>
                          <a:cubicBezTo>
                            <a:pt x="4964" y="68838"/>
                            <a:pt x="4904" y="68898"/>
                            <a:pt x="4844" y="69018"/>
                          </a:cubicBezTo>
                          <a:cubicBezTo>
                            <a:pt x="4785" y="69078"/>
                            <a:pt x="4725" y="69137"/>
                            <a:pt x="4665" y="69257"/>
                          </a:cubicBezTo>
                          <a:cubicBezTo>
                            <a:pt x="4605" y="69317"/>
                            <a:pt x="4545" y="69377"/>
                            <a:pt x="4486" y="69496"/>
                          </a:cubicBezTo>
                          <a:cubicBezTo>
                            <a:pt x="4306" y="69676"/>
                            <a:pt x="4127" y="69915"/>
                            <a:pt x="3947" y="70094"/>
                          </a:cubicBezTo>
                          <a:cubicBezTo>
                            <a:pt x="3768" y="70273"/>
                            <a:pt x="3588" y="70513"/>
                            <a:pt x="3469" y="70692"/>
                          </a:cubicBezTo>
                          <a:cubicBezTo>
                            <a:pt x="3349" y="70872"/>
                            <a:pt x="3110" y="71111"/>
                            <a:pt x="2990" y="71290"/>
                          </a:cubicBezTo>
                          <a:cubicBezTo>
                            <a:pt x="2811" y="71470"/>
                            <a:pt x="2632" y="71709"/>
                            <a:pt x="2512" y="71888"/>
                          </a:cubicBezTo>
                          <a:lnTo>
                            <a:pt x="1555" y="71290"/>
                          </a:lnTo>
                          <a:cubicBezTo>
                            <a:pt x="1734" y="71111"/>
                            <a:pt x="1854" y="70872"/>
                            <a:pt x="2034" y="70692"/>
                          </a:cubicBezTo>
                          <a:cubicBezTo>
                            <a:pt x="2213" y="70513"/>
                            <a:pt x="2392" y="70273"/>
                            <a:pt x="2512" y="70094"/>
                          </a:cubicBezTo>
                          <a:cubicBezTo>
                            <a:pt x="2632" y="69915"/>
                            <a:pt x="2871" y="69676"/>
                            <a:pt x="2990" y="69496"/>
                          </a:cubicBezTo>
                          <a:cubicBezTo>
                            <a:pt x="3110" y="69317"/>
                            <a:pt x="3349" y="69078"/>
                            <a:pt x="3529" y="68898"/>
                          </a:cubicBezTo>
                          <a:cubicBezTo>
                            <a:pt x="3588" y="68838"/>
                            <a:pt x="3648" y="68778"/>
                            <a:pt x="3708" y="68659"/>
                          </a:cubicBezTo>
                          <a:cubicBezTo>
                            <a:pt x="3768" y="68599"/>
                            <a:pt x="3828" y="68539"/>
                            <a:pt x="3888" y="68419"/>
                          </a:cubicBezTo>
                          <a:cubicBezTo>
                            <a:pt x="3947" y="68360"/>
                            <a:pt x="4007" y="68300"/>
                            <a:pt x="4067" y="68180"/>
                          </a:cubicBezTo>
                          <a:cubicBezTo>
                            <a:pt x="4127" y="68121"/>
                            <a:pt x="4187" y="68061"/>
                            <a:pt x="4246" y="67941"/>
                          </a:cubicBezTo>
                          <a:cubicBezTo>
                            <a:pt x="4545" y="67582"/>
                            <a:pt x="4844" y="67223"/>
                            <a:pt x="5143" y="66864"/>
                          </a:cubicBezTo>
                          <a:cubicBezTo>
                            <a:pt x="5443" y="66506"/>
                            <a:pt x="5742" y="66147"/>
                            <a:pt x="6100" y="65788"/>
                          </a:cubicBezTo>
                          <a:cubicBezTo>
                            <a:pt x="6399" y="65429"/>
                            <a:pt x="6698" y="65070"/>
                            <a:pt x="7057" y="64652"/>
                          </a:cubicBezTo>
                          <a:cubicBezTo>
                            <a:pt x="7416" y="64233"/>
                            <a:pt x="7715" y="63874"/>
                            <a:pt x="8014" y="63515"/>
                          </a:cubicBezTo>
                          <a:cubicBezTo>
                            <a:pt x="8074" y="63456"/>
                            <a:pt x="8074" y="63456"/>
                            <a:pt x="8134" y="63396"/>
                          </a:cubicBezTo>
                          <a:cubicBezTo>
                            <a:pt x="8194" y="63336"/>
                            <a:pt x="8194" y="63336"/>
                            <a:pt x="8253" y="63276"/>
                          </a:cubicBezTo>
                          <a:cubicBezTo>
                            <a:pt x="8313" y="63216"/>
                            <a:pt x="8313" y="63216"/>
                            <a:pt x="8373" y="63156"/>
                          </a:cubicBezTo>
                          <a:cubicBezTo>
                            <a:pt x="8433" y="63097"/>
                            <a:pt x="8433" y="63097"/>
                            <a:pt x="8493" y="63037"/>
                          </a:cubicBezTo>
                          <a:lnTo>
                            <a:pt x="7775" y="62558"/>
                          </a:lnTo>
                          <a:cubicBezTo>
                            <a:pt x="7775" y="62618"/>
                            <a:pt x="7715" y="62618"/>
                            <a:pt x="7715" y="62678"/>
                          </a:cubicBezTo>
                          <a:cubicBezTo>
                            <a:pt x="7715" y="62738"/>
                            <a:pt x="7656" y="62738"/>
                            <a:pt x="7656" y="62798"/>
                          </a:cubicBezTo>
                          <a:cubicBezTo>
                            <a:pt x="7656" y="62857"/>
                            <a:pt x="7596" y="62857"/>
                            <a:pt x="7596" y="62917"/>
                          </a:cubicBezTo>
                          <a:cubicBezTo>
                            <a:pt x="7596" y="62977"/>
                            <a:pt x="7536" y="62977"/>
                            <a:pt x="7536" y="63037"/>
                          </a:cubicBezTo>
                          <a:cubicBezTo>
                            <a:pt x="7237" y="63396"/>
                            <a:pt x="6878" y="63815"/>
                            <a:pt x="6579" y="64173"/>
                          </a:cubicBezTo>
                          <a:cubicBezTo>
                            <a:pt x="6280" y="64532"/>
                            <a:pt x="5921" y="64951"/>
                            <a:pt x="5622" y="65310"/>
                          </a:cubicBezTo>
                          <a:cubicBezTo>
                            <a:pt x="5323" y="65669"/>
                            <a:pt x="5024" y="66027"/>
                            <a:pt x="4665" y="66446"/>
                          </a:cubicBezTo>
                          <a:cubicBezTo>
                            <a:pt x="4366" y="66805"/>
                            <a:pt x="4067" y="67164"/>
                            <a:pt x="3768" y="67523"/>
                          </a:cubicBezTo>
                          <a:cubicBezTo>
                            <a:pt x="3708" y="67582"/>
                            <a:pt x="3648" y="67642"/>
                            <a:pt x="3588" y="67762"/>
                          </a:cubicBezTo>
                          <a:cubicBezTo>
                            <a:pt x="3529" y="67822"/>
                            <a:pt x="3469" y="67881"/>
                            <a:pt x="3409" y="68001"/>
                          </a:cubicBezTo>
                          <a:cubicBezTo>
                            <a:pt x="3349" y="68061"/>
                            <a:pt x="3289" y="68121"/>
                            <a:pt x="3229" y="68240"/>
                          </a:cubicBezTo>
                          <a:cubicBezTo>
                            <a:pt x="3170" y="68300"/>
                            <a:pt x="3110" y="68360"/>
                            <a:pt x="3050" y="68479"/>
                          </a:cubicBezTo>
                          <a:cubicBezTo>
                            <a:pt x="2871" y="68718"/>
                            <a:pt x="2632" y="68958"/>
                            <a:pt x="2452" y="69197"/>
                          </a:cubicBezTo>
                          <a:cubicBezTo>
                            <a:pt x="2273" y="69436"/>
                            <a:pt x="2034" y="69676"/>
                            <a:pt x="1854" y="69915"/>
                          </a:cubicBezTo>
                          <a:cubicBezTo>
                            <a:pt x="1675" y="70154"/>
                            <a:pt x="1435" y="70393"/>
                            <a:pt x="1256" y="70632"/>
                          </a:cubicBezTo>
                          <a:cubicBezTo>
                            <a:pt x="1076" y="70872"/>
                            <a:pt x="897" y="71111"/>
                            <a:pt x="658" y="71350"/>
                          </a:cubicBezTo>
                          <a:lnTo>
                            <a:pt x="0" y="71709"/>
                          </a:lnTo>
                        </a:path>
                      </a:pathLst>
                    </a:custGeom>
                    <a:noFill/>
                    <a:ln w="6350" cap="flat">
                      <a:solidFill>
                        <a:schemeClr val="bg1">
                          <a:alpha val="80000"/>
                        </a:schemeClr>
                      </a:solidFill>
                      <a:prstDash val="solid"/>
                      <a:miter/>
                    </a:ln>
                  </p:spPr>
                  <p:txBody>
                    <a:bodyPr rtlCol="0" anchor="ctr"/>
                    <a:lstStyle/>
                    <a:p>
                      <a:endParaRPr lang="en-GB"/>
                    </a:p>
                  </p:txBody>
                </p:sp>
                <p:sp>
                  <p:nvSpPr>
                    <p:cNvPr id="7486" name="Vrije vorm: vorm 7485">
                      <a:extLst>
                        <a:ext uri="{FF2B5EF4-FFF2-40B4-BE49-F238E27FC236}">
                          <a16:creationId xmlns:a16="http://schemas.microsoft.com/office/drawing/2014/main" id="{1DFB41CC-045F-429C-9AF2-9CE7948B9EFC}"/>
                        </a:ext>
                      </a:extLst>
                    </p:cNvPr>
                    <p:cNvSpPr/>
                    <p:nvPr/>
                  </p:nvSpPr>
                  <p:spPr>
                    <a:xfrm>
                      <a:off x="5071492" y="5308827"/>
                      <a:ext cx="27870" cy="71589"/>
                    </a:xfrm>
                    <a:custGeom>
                      <a:avLst/>
                      <a:gdLst>
                        <a:gd name="connsiteX0" fmla="*/ 8552 w 27870"/>
                        <a:gd name="connsiteY0" fmla="*/ 9091 h 71589"/>
                        <a:gd name="connsiteX1" fmla="*/ 9270 w 27870"/>
                        <a:gd name="connsiteY1" fmla="*/ 8194 h 71589"/>
                        <a:gd name="connsiteX2" fmla="*/ 7476 w 27870"/>
                        <a:gd name="connsiteY2" fmla="*/ 6818 h 71589"/>
                        <a:gd name="connsiteX3" fmla="*/ 5562 w 27870"/>
                        <a:gd name="connsiteY3" fmla="*/ 5442 h 71589"/>
                        <a:gd name="connsiteX4" fmla="*/ 3588 w 27870"/>
                        <a:gd name="connsiteY4" fmla="*/ 4007 h 71589"/>
                        <a:gd name="connsiteX5" fmla="*/ 1495 w 27870"/>
                        <a:gd name="connsiteY5" fmla="*/ 2572 h 71589"/>
                        <a:gd name="connsiteX6" fmla="*/ 2392 w 27870"/>
                        <a:gd name="connsiteY6" fmla="*/ 1435 h 71589"/>
                        <a:gd name="connsiteX7" fmla="*/ 4486 w 27870"/>
                        <a:gd name="connsiteY7" fmla="*/ 2871 h 71589"/>
                        <a:gd name="connsiteX8" fmla="*/ 6459 w 27870"/>
                        <a:gd name="connsiteY8" fmla="*/ 4306 h 71589"/>
                        <a:gd name="connsiteX9" fmla="*/ 8373 w 27870"/>
                        <a:gd name="connsiteY9" fmla="*/ 5682 h 71589"/>
                        <a:gd name="connsiteX10" fmla="*/ 10167 w 27870"/>
                        <a:gd name="connsiteY10" fmla="*/ 7057 h 71589"/>
                        <a:gd name="connsiteX11" fmla="*/ 10885 w 27870"/>
                        <a:gd name="connsiteY11" fmla="*/ 6160 h 71589"/>
                        <a:gd name="connsiteX12" fmla="*/ 9031 w 27870"/>
                        <a:gd name="connsiteY12" fmla="*/ 4725 h 71589"/>
                        <a:gd name="connsiteX13" fmla="*/ 7057 w 27870"/>
                        <a:gd name="connsiteY13" fmla="*/ 3229 h 71589"/>
                        <a:gd name="connsiteX14" fmla="*/ 4964 w 27870"/>
                        <a:gd name="connsiteY14" fmla="*/ 1734 h 71589"/>
                        <a:gd name="connsiteX15" fmla="*/ 2751 w 27870"/>
                        <a:gd name="connsiteY15" fmla="*/ 239 h 71589"/>
                        <a:gd name="connsiteX16" fmla="*/ 2332 w 27870"/>
                        <a:gd name="connsiteY16" fmla="*/ 0 h 71589"/>
                        <a:gd name="connsiteX17" fmla="*/ 1794 w 27870"/>
                        <a:gd name="connsiteY17" fmla="*/ 718 h 71589"/>
                        <a:gd name="connsiteX18" fmla="*/ 0 w 27870"/>
                        <a:gd name="connsiteY18" fmla="*/ 2990 h 71589"/>
                        <a:gd name="connsiteX19" fmla="*/ 419 w 27870"/>
                        <a:gd name="connsiteY19" fmla="*/ 3229 h 71589"/>
                        <a:gd name="connsiteX20" fmla="*/ 2632 w 27870"/>
                        <a:gd name="connsiteY20" fmla="*/ 4725 h 71589"/>
                        <a:gd name="connsiteX21" fmla="*/ 4725 w 27870"/>
                        <a:gd name="connsiteY21" fmla="*/ 6220 h 71589"/>
                        <a:gd name="connsiteX22" fmla="*/ 6698 w 27870"/>
                        <a:gd name="connsiteY22" fmla="*/ 7655 h 71589"/>
                        <a:gd name="connsiteX23" fmla="*/ 8552 w 27870"/>
                        <a:gd name="connsiteY23" fmla="*/ 9091 h 71589"/>
                        <a:gd name="connsiteX24" fmla="*/ 16507 w 27870"/>
                        <a:gd name="connsiteY24" fmla="*/ 54125 h 71589"/>
                        <a:gd name="connsiteX25" fmla="*/ 17225 w 27870"/>
                        <a:gd name="connsiteY25" fmla="*/ 54604 h 71589"/>
                        <a:gd name="connsiteX26" fmla="*/ 18839 w 27870"/>
                        <a:gd name="connsiteY26" fmla="*/ 52451 h 71589"/>
                        <a:gd name="connsiteX27" fmla="*/ 20394 w 27870"/>
                        <a:gd name="connsiteY27" fmla="*/ 50298 h 71589"/>
                        <a:gd name="connsiteX28" fmla="*/ 21829 w 27870"/>
                        <a:gd name="connsiteY28" fmla="*/ 48205 h 71589"/>
                        <a:gd name="connsiteX29" fmla="*/ 23145 w 27870"/>
                        <a:gd name="connsiteY29" fmla="*/ 46111 h 71589"/>
                        <a:gd name="connsiteX30" fmla="*/ 23265 w 27870"/>
                        <a:gd name="connsiteY30" fmla="*/ 45872 h 71589"/>
                        <a:gd name="connsiteX31" fmla="*/ 23384 w 27870"/>
                        <a:gd name="connsiteY31" fmla="*/ 45633 h 71589"/>
                        <a:gd name="connsiteX32" fmla="*/ 23504 w 27870"/>
                        <a:gd name="connsiteY32" fmla="*/ 45393 h 71589"/>
                        <a:gd name="connsiteX33" fmla="*/ 23624 w 27870"/>
                        <a:gd name="connsiteY33" fmla="*/ 45154 h 71589"/>
                        <a:gd name="connsiteX34" fmla="*/ 24342 w 27870"/>
                        <a:gd name="connsiteY34" fmla="*/ 43839 h 71589"/>
                        <a:gd name="connsiteX35" fmla="*/ 24999 w 27870"/>
                        <a:gd name="connsiteY35" fmla="*/ 42523 h 71589"/>
                        <a:gd name="connsiteX36" fmla="*/ 25597 w 27870"/>
                        <a:gd name="connsiteY36" fmla="*/ 41207 h 71589"/>
                        <a:gd name="connsiteX37" fmla="*/ 26136 w 27870"/>
                        <a:gd name="connsiteY37" fmla="*/ 39951 h 71589"/>
                        <a:gd name="connsiteX38" fmla="*/ 26255 w 27870"/>
                        <a:gd name="connsiteY38" fmla="*/ 39712 h 71589"/>
                        <a:gd name="connsiteX39" fmla="*/ 26375 w 27870"/>
                        <a:gd name="connsiteY39" fmla="*/ 39473 h 71589"/>
                        <a:gd name="connsiteX40" fmla="*/ 26495 w 27870"/>
                        <a:gd name="connsiteY40" fmla="*/ 39234 h 71589"/>
                        <a:gd name="connsiteX41" fmla="*/ 26614 w 27870"/>
                        <a:gd name="connsiteY41" fmla="*/ 38994 h 71589"/>
                        <a:gd name="connsiteX42" fmla="*/ 26734 w 27870"/>
                        <a:gd name="connsiteY42" fmla="*/ 38635 h 71589"/>
                        <a:gd name="connsiteX43" fmla="*/ 26853 w 27870"/>
                        <a:gd name="connsiteY43" fmla="*/ 38276 h 71589"/>
                        <a:gd name="connsiteX44" fmla="*/ 26973 w 27870"/>
                        <a:gd name="connsiteY44" fmla="*/ 37918 h 71589"/>
                        <a:gd name="connsiteX45" fmla="*/ 27092 w 27870"/>
                        <a:gd name="connsiteY45" fmla="*/ 37559 h 71589"/>
                        <a:gd name="connsiteX46" fmla="*/ 27152 w 27870"/>
                        <a:gd name="connsiteY46" fmla="*/ 37260 h 71589"/>
                        <a:gd name="connsiteX47" fmla="*/ 27212 w 27870"/>
                        <a:gd name="connsiteY47" fmla="*/ 36961 h 71589"/>
                        <a:gd name="connsiteX48" fmla="*/ 27272 w 27870"/>
                        <a:gd name="connsiteY48" fmla="*/ 36662 h 71589"/>
                        <a:gd name="connsiteX49" fmla="*/ 27332 w 27870"/>
                        <a:gd name="connsiteY49" fmla="*/ 36363 h 71589"/>
                        <a:gd name="connsiteX50" fmla="*/ 27511 w 27870"/>
                        <a:gd name="connsiteY50" fmla="*/ 35466 h 71589"/>
                        <a:gd name="connsiteX51" fmla="*/ 27691 w 27870"/>
                        <a:gd name="connsiteY51" fmla="*/ 34568 h 71589"/>
                        <a:gd name="connsiteX52" fmla="*/ 27810 w 27870"/>
                        <a:gd name="connsiteY52" fmla="*/ 33671 h 71589"/>
                        <a:gd name="connsiteX53" fmla="*/ 27870 w 27870"/>
                        <a:gd name="connsiteY53" fmla="*/ 32774 h 71589"/>
                        <a:gd name="connsiteX54" fmla="*/ 27870 w 27870"/>
                        <a:gd name="connsiteY54" fmla="*/ 32475 h 71589"/>
                        <a:gd name="connsiteX55" fmla="*/ 27870 w 27870"/>
                        <a:gd name="connsiteY55" fmla="*/ 32176 h 71589"/>
                        <a:gd name="connsiteX56" fmla="*/ 27870 w 27870"/>
                        <a:gd name="connsiteY56" fmla="*/ 31877 h 71589"/>
                        <a:gd name="connsiteX57" fmla="*/ 27870 w 27870"/>
                        <a:gd name="connsiteY57" fmla="*/ 31578 h 71589"/>
                        <a:gd name="connsiteX58" fmla="*/ 27870 w 27870"/>
                        <a:gd name="connsiteY58" fmla="*/ 31519 h 71589"/>
                        <a:gd name="connsiteX59" fmla="*/ 27870 w 27870"/>
                        <a:gd name="connsiteY59" fmla="*/ 31459 h 71589"/>
                        <a:gd name="connsiteX60" fmla="*/ 27870 w 27870"/>
                        <a:gd name="connsiteY60" fmla="*/ 31399 h 71589"/>
                        <a:gd name="connsiteX61" fmla="*/ 27870 w 27870"/>
                        <a:gd name="connsiteY61" fmla="*/ 31339 h 71589"/>
                        <a:gd name="connsiteX62" fmla="*/ 27810 w 27870"/>
                        <a:gd name="connsiteY62" fmla="*/ 30382 h 71589"/>
                        <a:gd name="connsiteX63" fmla="*/ 27750 w 27870"/>
                        <a:gd name="connsiteY63" fmla="*/ 29425 h 71589"/>
                        <a:gd name="connsiteX64" fmla="*/ 27631 w 27870"/>
                        <a:gd name="connsiteY64" fmla="*/ 28468 h 71589"/>
                        <a:gd name="connsiteX65" fmla="*/ 27451 w 27870"/>
                        <a:gd name="connsiteY65" fmla="*/ 27511 h 71589"/>
                        <a:gd name="connsiteX66" fmla="*/ 27391 w 27870"/>
                        <a:gd name="connsiteY66" fmla="*/ 27272 h 71589"/>
                        <a:gd name="connsiteX67" fmla="*/ 27332 w 27870"/>
                        <a:gd name="connsiteY67" fmla="*/ 27033 h 71589"/>
                        <a:gd name="connsiteX68" fmla="*/ 27272 w 27870"/>
                        <a:gd name="connsiteY68" fmla="*/ 26794 h 71589"/>
                        <a:gd name="connsiteX69" fmla="*/ 27212 w 27870"/>
                        <a:gd name="connsiteY69" fmla="*/ 26554 h 71589"/>
                        <a:gd name="connsiteX70" fmla="*/ 27092 w 27870"/>
                        <a:gd name="connsiteY70" fmla="*/ 26136 h 71589"/>
                        <a:gd name="connsiteX71" fmla="*/ 26973 w 27870"/>
                        <a:gd name="connsiteY71" fmla="*/ 25717 h 71589"/>
                        <a:gd name="connsiteX72" fmla="*/ 26853 w 27870"/>
                        <a:gd name="connsiteY72" fmla="*/ 25298 h 71589"/>
                        <a:gd name="connsiteX73" fmla="*/ 26734 w 27870"/>
                        <a:gd name="connsiteY73" fmla="*/ 24880 h 71589"/>
                        <a:gd name="connsiteX74" fmla="*/ 26554 w 27870"/>
                        <a:gd name="connsiteY74" fmla="*/ 24401 h 71589"/>
                        <a:gd name="connsiteX75" fmla="*/ 26375 w 27870"/>
                        <a:gd name="connsiteY75" fmla="*/ 23923 h 71589"/>
                        <a:gd name="connsiteX76" fmla="*/ 26136 w 27870"/>
                        <a:gd name="connsiteY76" fmla="*/ 23444 h 71589"/>
                        <a:gd name="connsiteX77" fmla="*/ 25896 w 27870"/>
                        <a:gd name="connsiteY77" fmla="*/ 22966 h 71589"/>
                        <a:gd name="connsiteX78" fmla="*/ 25717 w 27870"/>
                        <a:gd name="connsiteY78" fmla="*/ 22607 h 71589"/>
                        <a:gd name="connsiteX79" fmla="*/ 25537 w 27870"/>
                        <a:gd name="connsiteY79" fmla="*/ 22248 h 71589"/>
                        <a:gd name="connsiteX80" fmla="*/ 25358 w 27870"/>
                        <a:gd name="connsiteY80" fmla="*/ 21889 h 71589"/>
                        <a:gd name="connsiteX81" fmla="*/ 25179 w 27870"/>
                        <a:gd name="connsiteY81" fmla="*/ 21530 h 71589"/>
                        <a:gd name="connsiteX82" fmla="*/ 24641 w 27870"/>
                        <a:gd name="connsiteY82" fmla="*/ 20634 h 71589"/>
                        <a:gd name="connsiteX83" fmla="*/ 24042 w 27870"/>
                        <a:gd name="connsiteY83" fmla="*/ 19736 h 71589"/>
                        <a:gd name="connsiteX84" fmla="*/ 23444 w 27870"/>
                        <a:gd name="connsiteY84" fmla="*/ 18839 h 71589"/>
                        <a:gd name="connsiteX85" fmla="*/ 22787 w 27870"/>
                        <a:gd name="connsiteY85" fmla="*/ 17942 h 71589"/>
                        <a:gd name="connsiteX86" fmla="*/ 22488 w 27870"/>
                        <a:gd name="connsiteY86" fmla="*/ 17583 h 71589"/>
                        <a:gd name="connsiteX87" fmla="*/ 22188 w 27870"/>
                        <a:gd name="connsiteY87" fmla="*/ 17225 h 71589"/>
                        <a:gd name="connsiteX88" fmla="*/ 21889 w 27870"/>
                        <a:gd name="connsiteY88" fmla="*/ 16866 h 71589"/>
                        <a:gd name="connsiteX89" fmla="*/ 21590 w 27870"/>
                        <a:gd name="connsiteY89" fmla="*/ 16507 h 71589"/>
                        <a:gd name="connsiteX90" fmla="*/ 21112 w 27870"/>
                        <a:gd name="connsiteY90" fmla="*/ 15968 h 71589"/>
                        <a:gd name="connsiteX91" fmla="*/ 20633 w 27870"/>
                        <a:gd name="connsiteY91" fmla="*/ 15430 h 71589"/>
                        <a:gd name="connsiteX92" fmla="*/ 20155 w 27870"/>
                        <a:gd name="connsiteY92" fmla="*/ 14892 h 71589"/>
                        <a:gd name="connsiteX93" fmla="*/ 19676 w 27870"/>
                        <a:gd name="connsiteY93" fmla="*/ 14354 h 71589"/>
                        <a:gd name="connsiteX94" fmla="*/ 19198 w 27870"/>
                        <a:gd name="connsiteY94" fmla="*/ 13815 h 71589"/>
                        <a:gd name="connsiteX95" fmla="*/ 18720 w 27870"/>
                        <a:gd name="connsiteY95" fmla="*/ 13277 h 71589"/>
                        <a:gd name="connsiteX96" fmla="*/ 18241 w 27870"/>
                        <a:gd name="connsiteY96" fmla="*/ 12739 h 71589"/>
                        <a:gd name="connsiteX97" fmla="*/ 17703 w 27870"/>
                        <a:gd name="connsiteY97" fmla="*/ 12201 h 71589"/>
                        <a:gd name="connsiteX98" fmla="*/ 17105 w 27870"/>
                        <a:gd name="connsiteY98" fmla="*/ 11662 h 71589"/>
                        <a:gd name="connsiteX99" fmla="*/ 16507 w 27870"/>
                        <a:gd name="connsiteY99" fmla="*/ 11124 h 71589"/>
                        <a:gd name="connsiteX100" fmla="*/ 15909 w 27870"/>
                        <a:gd name="connsiteY100" fmla="*/ 10586 h 71589"/>
                        <a:gd name="connsiteX101" fmla="*/ 15251 w 27870"/>
                        <a:gd name="connsiteY101" fmla="*/ 10048 h 71589"/>
                        <a:gd name="connsiteX102" fmla="*/ 14354 w 27870"/>
                        <a:gd name="connsiteY102" fmla="*/ 9270 h 71589"/>
                        <a:gd name="connsiteX103" fmla="*/ 13457 w 27870"/>
                        <a:gd name="connsiteY103" fmla="*/ 8493 h 71589"/>
                        <a:gd name="connsiteX104" fmla="*/ 12500 w 27870"/>
                        <a:gd name="connsiteY104" fmla="*/ 7715 h 71589"/>
                        <a:gd name="connsiteX105" fmla="*/ 11543 w 27870"/>
                        <a:gd name="connsiteY105" fmla="*/ 6937 h 71589"/>
                        <a:gd name="connsiteX106" fmla="*/ 10825 w 27870"/>
                        <a:gd name="connsiteY106" fmla="*/ 7835 h 71589"/>
                        <a:gd name="connsiteX107" fmla="*/ 13098 w 27870"/>
                        <a:gd name="connsiteY107" fmla="*/ 9689 h 71589"/>
                        <a:gd name="connsiteX108" fmla="*/ 15191 w 27870"/>
                        <a:gd name="connsiteY108" fmla="*/ 11543 h 71589"/>
                        <a:gd name="connsiteX109" fmla="*/ 17105 w 27870"/>
                        <a:gd name="connsiteY109" fmla="*/ 13337 h 71589"/>
                        <a:gd name="connsiteX110" fmla="*/ 18839 w 27870"/>
                        <a:gd name="connsiteY110" fmla="*/ 15072 h 71589"/>
                        <a:gd name="connsiteX111" fmla="*/ 19198 w 27870"/>
                        <a:gd name="connsiteY111" fmla="*/ 15490 h 71589"/>
                        <a:gd name="connsiteX112" fmla="*/ 19557 w 27870"/>
                        <a:gd name="connsiteY112" fmla="*/ 15909 h 71589"/>
                        <a:gd name="connsiteX113" fmla="*/ 19916 w 27870"/>
                        <a:gd name="connsiteY113" fmla="*/ 16327 h 71589"/>
                        <a:gd name="connsiteX114" fmla="*/ 20274 w 27870"/>
                        <a:gd name="connsiteY114" fmla="*/ 16746 h 71589"/>
                        <a:gd name="connsiteX115" fmla="*/ 20693 w 27870"/>
                        <a:gd name="connsiteY115" fmla="*/ 17225 h 71589"/>
                        <a:gd name="connsiteX116" fmla="*/ 21052 w 27870"/>
                        <a:gd name="connsiteY116" fmla="*/ 17703 h 71589"/>
                        <a:gd name="connsiteX117" fmla="*/ 21411 w 27870"/>
                        <a:gd name="connsiteY117" fmla="*/ 18181 h 71589"/>
                        <a:gd name="connsiteX118" fmla="*/ 21770 w 27870"/>
                        <a:gd name="connsiteY118" fmla="*/ 18660 h 71589"/>
                        <a:gd name="connsiteX119" fmla="*/ 22009 w 27870"/>
                        <a:gd name="connsiteY119" fmla="*/ 19019 h 71589"/>
                        <a:gd name="connsiteX120" fmla="*/ 22248 w 27870"/>
                        <a:gd name="connsiteY120" fmla="*/ 19377 h 71589"/>
                        <a:gd name="connsiteX121" fmla="*/ 22488 w 27870"/>
                        <a:gd name="connsiteY121" fmla="*/ 19736 h 71589"/>
                        <a:gd name="connsiteX122" fmla="*/ 22727 w 27870"/>
                        <a:gd name="connsiteY122" fmla="*/ 20095 h 71589"/>
                        <a:gd name="connsiteX123" fmla="*/ 23325 w 27870"/>
                        <a:gd name="connsiteY123" fmla="*/ 20992 h 71589"/>
                        <a:gd name="connsiteX124" fmla="*/ 23863 w 27870"/>
                        <a:gd name="connsiteY124" fmla="*/ 21889 h 71589"/>
                        <a:gd name="connsiteX125" fmla="*/ 24342 w 27870"/>
                        <a:gd name="connsiteY125" fmla="*/ 22787 h 71589"/>
                        <a:gd name="connsiteX126" fmla="*/ 24820 w 27870"/>
                        <a:gd name="connsiteY126" fmla="*/ 23683 h 71589"/>
                        <a:gd name="connsiteX127" fmla="*/ 24999 w 27870"/>
                        <a:gd name="connsiteY127" fmla="*/ 24043 h 71589"/>
                        <a:gd name="connsiteX128" fmla="*/ 25179 w 27870"/>
                        <a:gd name="connsiteY128" fmla="*/ 24401 h 71589"/>
                        <a:gd name="connsiteX129" fmla="*/ 25358 w 27870"/>
                        <a:gd name="connsiteY129" fmla="*/ 24760 h 71589"/>
                        <a:gd name="connsiteX130" fmla="*/ 25537 w 27870"/>
                        <a:gd name="connsiteY130" fmla="*/ 25119 h 71589"/>
                        <a:gd name="connsiteX131" fmla="*/ 25537 w 27870"/>
                        <a:gd name="connsiteY131" fmla="*/ 25119 h 71589"/>
                        <a:gd name="connsiteX132" fmla="*/ 25537 w 27870"/>
                        <a:gd name="connsiteY132" fmla="*/ 25119 h 71589"/>
                        <a:gd name="connsiteX133" fmla="*/ 25537 w 27870"/>
                        <a:gd name="connsiteY133" fmla="*/ 25119 h 71589"/>
                        <a:gd name="connsiteX134" fmla="*/ 25537 w 27870"/>
                        <a:gd name="connsiteY134" fmla="*/ 25119 h 71589"/>
                        <a:gd name="connsiteX135" fmla="*/ 25717 w 27870"/>
                        <a:gd name="connsiteY135" fmla="*/ 25538 h 71589"/>
                        <a:gd name="connsiteX136" fmla="*/ 25896 w 27870"/>
                        <a:gd name="connsiteY136" fmla="*/ 25956 h 71589"/>
                        <a:gd name="connsiteX137" fmla="*/ 26076 w 27870"/>
                        <a:gd name="connsiteY137" fmla="*/ 26375 h 71589"/>
                        <a:gd name="connsiteX138" fmla="*/ 26196 w 27870"/>
                        <a:gd name="connsiteY138" fmla="*/ 26794 h 71589"/>
                        <a:gd name="connsiteX139" fmla="*/ 26196 w 27870"/>
                        <a:gd name="connsiteY139" fmla="*/ 26853 h 71589"/>
                        <a:gd name="connsiteX140" fmla="*/ 26196 w 27870"/>
                        <a:gd name="connsiteY140" fmla="*/ 26913 h 71589"/>
                        <a:gd name="connsiteX141" fmla="*/ 26196 w 27870"/>
                        <a:gd name="connsiteY141" fmla="*/ 26973 h 71589"/>
                        <a:gd name="connsiteX142" fmla="*/ 26196 w 27870"/>
                        <a:gd name="connsiteY142" fmla="*/ 27033 h 71589"/>
                        <a:gd name="connsiteX143" fmla="*/ 26315 w 27870"/>
                        <a:gd name="connsiteY143" fmla="*/ 27451 h 71589"/>
                        <a:gd name="connsiteX144" fmla="*/ 26435 w 27870"/>
                        <a:gd name="connsiteY144" fmla="*/ 27870 h 71589"/>
                        <a:gd name="connsiteX145" fmla="*/ 26554 w 27870"/>
                        <a:gd name="connsiteY145" fmla="*/ 28289 h 71589"/>
                        <a:gd name="connsiteX146" fmla="*/ 26614 w 27870"/>
                        <a:gd name="connsiteY146" fmla="*/ 28707 h 71589"/>
                        <a:gd name="connsiteX147" fmla="*/ 26734 w 27870"/>
                        <a:gd name="connsiteY147" fmla="*/ 29305 h 71589"/>
                        <a:gd name="connsiteX148" fmla="*/ 26794 w 27870"/>
                        <a:gd name="connsiteY148" fmla="*/ 29904 h 71589"/>
                        <a:gd name="connsiteX149" fmla="*/ 26853 w 27870"/>
                        <a:gd name="connsiteY149" fmla="*/ 30502 h 71589"/>
                        <a:gd name="connsiteX150" fmla="*/ 26913 w 27870"/>
                        <a:gd name="connsiteY150" fmla="*/ 31100 h 71589"/>
                        <a:gd name="connsiteX151" fmla="*/ 26913 w 27870"/>
                        <a:gd name="connsiteY151" fmla="*/ 31279 h 71589"/>
                        <a:gd name="connsiteX152" fmla="*/ 26913 w 27870"/>
                        <a:gd name="connsiteY152" fmla="*/ 31459 h 71589"/>
                        <a:gd name="connsiteX153" fmla="*/ 26913 w 27870"/>
                        <a:gd name="connsiteY153" fmla="*/ 31638 h 71589"/>
                        <a:gd name="connsiteX154" fmla="*/ 26913 w 27870"/>
                        <a:gd name="connsiteY154" fmla="*/ 31817 h 71589"/>
                        <a:gd name="connsiteX155" fmla="*/ 26913 w 27870"/>
                        <a:gd name="connsiteY155" fmla="*/ 31937 h 71589"/>
                        <a:gd name="connsiteX156" fmla="*/ 26913 w 27870"/>
                        <a:gd name="connsiteY156" fmla="*/ 32057 h 71589"/>
                        <a:gd name="connsiteX157" fmla="*/ 26913 w 27870"/>
                        <a:gd name="connsiteY157" fmla="*/ 32176 h 71589"/>
                        <a:gd name="connsiteX158" fmla="*/ 26913 w 27870"/>
                        <a:gd name="connsiteY158" fmla="*/ 32296 h 71589"/>
                        <a:gd name="connsiteX159" fmla="*/ 26853 w 27870"/>
                        <a:gd name="connsiteY159" fmla="*/ 33193 h 71589"/>
                        <a:gd name="connsiteX160" fmla="*/ 26794 w 27870"/>
                        <a:gd name="connsiteY160" fmla="*/ 34090 h 71589"/>
                        <a:gd name="connsiteX161" fmla="*/ 26674 w 27870"/>
                        <a:gd name="connsiteY161" fmla="*/ 34987 h 71589"/>
                        <a:gd name="connsiteX162" fmla="*/ 26495 w 27870"/>
                        <a:gd name="connsiteY162" fmla="*/ 35884 h 71589"/>
                        <a:gd name="connsiteX163" fmla="*/ 26435 w 27870"/>
                        <a:gd name="connsiteY163" fmla="*/ 36183 h 71589"/>
                        <a:gd name="connsiteX164" fmla="*/ 26375 w 27870"/>
                        <a:gd name="connsiteY164" fmla="*/ 36482 h 71589"/>
                        <a:gd name="connsiteX165" fmla="*/ 26315 w 27870"/>
                        <a:gd name="connsiteY165" fmla="*/ 36781 h 71589"/>
                        <a:gd name="connsiteX166" fmla="*/ 26255 w 27870"/>
                        <a:gd name="connsiteY166" fmla="*/ 37081 h 71589"/>
                        <a:gd name="connsiteX167" fmla="*/ 26136 w 27870"/>
                        <a:gd name="connsiteY167" fmla="*/ 37439 h 71589"/>
                        <a:gd name="connsiteX168" fmla="*/ 26016 w 27870"/>
                        <a:gd name="connsiteY168" fmla="*/ 37798 h 71589"/>
                        <a:gd name="connsiteX169" fmla="*/ 25896 w 27870"/>
                        <a:gd name="connsiteY169" fmla="*/ 38157 h 71589"/>
                        <a:gd name="connsiteX170" fmla="*/ 25777 w 27870"/>
                        <a:gd name="connsiteY170" fmla="*/ 38516 h 71589"/>
                        <a:gd name="connsiteX171" fmla="*/ 25657 w 27870"/>
                        <a:gd name="connsiteY171" fmla="*/ 38755 h 71589"/>
                        <a:gd name="connsiteX172" fmla="*/ 25537 w 27870"/>
                        <a:gd name="connsiteY172" fmla="*/ 39054 h 71589"/>
                        <a:gd name="connsiteX173" fmla="*/ 25418 w 27870"/>
                        <a:gd name="connsiteY173" fmla="*/ 39353 h 71589"/>
                        <a:gd name="connsiteX174" fmla="*/ 25298 w 27870"/>
                        <a:gd name="connsiteY174" fmla="*/ 39652 h 71589"/>
                        <a:gd name="connsiteX175" fmla="*/ 24760 w 27870"/>
                        <a:gd name="connsiteY175" fmla="*/ 40968 h 71589"/>
                        <a:gd name="connsiteX176" fmla="*/ 24162 w 27870"/>
                        <a:gd name="connsiteY176" fmla="*/ 42284 h 71589"/>
                        <a:gd name="connsiteX177" fmla="*/ 23504 w 27870"/>
                        <a:gd name="connsiteY177" fmla="*/ 43599 h 71589"/>
                        <a:gd name="connsiteX178" fmla="*/ 22787 w 27870"/>
                        <a:gd name="connsiteY178" fmla="*/ 44915 h 71589"/>
                        <a:gd name="connsiteX179" fmla="*/ 22667 w 27870"/>
                        <a:gd name="connsiteY179" fmla="*/ 45154 h 71589"/>
                        <a:gd name="connsiteX180" fmla="*/ 22547 w 27870"/>
                        <a:gd name="connsiteY180" fmla="*/ 45393 h 71589"/>
                        <a:gd name="connsiteX181" fmla="*/ 22428 w 27870"/>
                        <a:gd name="connsiteY181" fmla="*/ 45633 h 71589"/>
                        <a:gd name="connsiteX182" fmla="*/ 22308 w 27870"/>
                        <a:gd name="connsiteY182" fmla="*/ 45872 h 71589"/>
                        <a:gd name="connsiteX183" fmla="*/ 20992 w 27870"/>
                        <a:gd name="connsiteY183" fmla="*/ 47966 h 71589"/>
                        <a:gd name="connsiteX184" fmla="*/ 19557 w 27870"/>
                        <a:gd name="connsiteY184" fmla="*/ 50059 h 71589"/>
                        <a:gd name="connsiteX185" fmla="*/ 18002 w 27870"/>
                        <a:gd name="connsiteY185" fmla="*/ 52212 h 71589"/>
                        <a:gd name="connsiteX186" fmla="*/ 16507 w 27870"/>
                        <a:gd name="connsiteY186" fmla="*/ 54125 h 71589"/>
                        <a:gd name="connsiteX187" fmla="*/ 14832 w 27870"/>
                        <a:gd name="connsiteY187" fmla="*/ 53049 h 71589"/>
                        <a:gd name="connsiteX188" fmla="*/ 15550 w 27870"/>
                        <a:gd name="connsiteY188" fmla="*/ 53528 h 71589"/>
                        <a:gd name="connsiteX189" fmla="*/ 17225 w 27870"/>
                        <a:gd name="connsiteY189" fmla="*/ 51315 h 71589"/>
                        <a:gd name="connsiteX190" fmla="*/ 18779 w 27870"/>
                        <a:gd name="connsiteY190" fmla="*/ 49161 h 71589"/>
                        <a:gd name="connsiteX191" fmla="*/ 20215 w 27870"/>
                        <a:gd name="connsiteY191" fmla="*/ 47068 h 71589"/>
                        <a:gd name="connsiteX192" fmla="*/ 21471 w 27870"/>
                        <a:gd name="connsiteY192" fmla="*/ 45035 h 71589"/>
                        <a:gd name="connsiteX193" fmla="*/ 21590 w 27870"/>
                        <a:gd name="connsiteY193" fmla="*/ 44796 h 71589"/>
                        <a:gd name="connsiteX194" fmla="*/ 21710 w 27870"/>
                        <a:gd name="connsiteY194" fmla="*/ 44556 h 71589"/>
                        <a:gd name="connsiteX195" fmla="*/ 21829 w 27870"/>
                        <a:gd name="connsiteY195" fmla="*/ 44317 h 71589"/>
                        <a:gd name="connsiteX196" fmla="*/ 21949 w 27870"/>
                        <a:gd name="connsiteY196" fmla="*/ 44078 h 71589"/>
                        <a:gd name="connsiteX197" fmla="*/ 22667 w 27870"/>
                        <a:gd name="connsiteY197" fmla="*/ 42762 h 71589"/>
                        <a:gd name="connsiteX198" fmla="*/ 23325 w 27870"/>
                        <a:gd name="connsiteY198" fmla="*/ 41446 h 71589"/>
                        <a:gd name="connsiteX199" fmla="*/ 23923 w 27870"/>
                        <a:gd name="connsiteY199" fmla="*/ 40130 h 71589"/>
                        <a:gd name="connsiteX200" fmla="*/ 24401 w 27870"/>
                        <a:gd name="connsiteY200" fmla="*/ 38815 h 71589"/>
                        <a:gd name="connsiteX201" fmla="*/ 24521 w 27870"/>
                        <a:gd name="connsiteY201" fmla="*/ 38516 h 71589"/>
                        <a:gd name="connsiteX202" fmla="*/ 24641 w 27870"/>
                        <a:gd name="connsiteY202" fmla="*/ 38217 h 71589"/>
                        <a:gd name="connsiteX203" fmla="*/ 24700 w 27870"/>
                        <a:gd name="connsiteY203" fmla="*/ 37918 h 71589"/>
                        <a:gd name="connsiteX204" fmla="*/ 24760 w 27870"/>
                        <a:gd name="connsiteY204" fmla="*/ 37619 h 71589"/>
                        <a:gd name="connsiteX205" fmla="*/ 24880 w 27870"/>
                        <a:gd name="connsiteY205" fmla="*/ 37200 h 71589"/>
                        <a:gd name="connsiteX206" fmla="*/ 24999 w 27870"/>
                        <a:gd name="connsiteY206" fmla="*/ 36781 h 71589"/>
                        <a:gd name="connsiteX207" fmla="*/ 25119 w 27870"/>
                        <a:gd name="connsiteY207" fmla="*/ 36363 h 71589"/>
                        <a:gd name="connsiteX208" fmla="*/ 25238 w 27870"/>
                        <a:gd name="connsiteY208" fmla="*/ 35944 h 71589"/>
                        <a:gd name="connsiteX209" fmla="*/ 25298 w 27870"/>
                        <a:gd name="connsiteY209" fmla="*/ 35645 h 71589"/>
                        <a:gd name="connsiteX210" fmla="*/ 25358 w 27870"/>
                        <a:gd name="connsiteY210" fmla="*/ 35346 h 71589"/>
                        <a:gd name="connsiteX211" fmla="*/ 25418 w 27870"/>
                        <a:gd name="connsiteY211" fmla="*/ 35047 h 71589"/>
                        <a:gd name="connsiteX212" fmla="*/ 25478 w 27870"/>
                        <a:gd name="connsiteY212" fmla="*/ 34748 h 71589"/>
                        <a:gd name="connsiteX213" fmla="*/ 25597 w 27870"/>
                        <a:gd name="connsiteY213" fmla="*/ 33970 h 71589"/>
                        <a:gd name="connsiteX214" fmla="*/ 25657 w 27870"/>
                        <a:gd name="connsiteY214" fmla="*/ 33193 h 71589"/>
                        <a:gd name="connsiteX215" fmla="*/ 25717 w 27870"/>
                        <a:gd name="connsiteY215" fmla="*/ 32415 h 71589"/>
                        <a:gd name="connsiteX216" fmla="*/ 25717 w 27870"/>
                        <a:gd name="connsiteY216" fmla="*/ 31638 h 71589"/>
                        <a:gd name="connsiteX217" fmla="*/ 25717 w 27870"/>
                        <a:gd name="connsiteY217" fmla="*/ 31459 h 71589"/>
                        <a:gd name="connsiteX218" fmla="*/ 25717 w 27870"/>
                        <a:gd name="connsiteY218" fmla="*/ 31279 h 71589"/>
                        <a:gd name="connsiteX219" fmla="*/ 25717 w 27870"/>
                        <a:gd name="connsiteY219" fmla="*/ 31100 h 71589"/>
                        <a:gd name="connsiteX220" fmla="*/ 25717 w 27870"/>
                        <a:gd name="connsiteY220" fmla="*/ 30920 h 71589"/>
                        <a:gd name="connsiteX221" fmla="*/ 25717 w 27870"/>
                        <a:gd name="connsiteY221" fmla="*/ 30860 h 71589"/>
                        <a:gd name="connsiteX222" fmla="*/ 25717 w 27870"/>
                        <a:gd name="connsiteY222" fmla="*/ 30800 h 71589"/>
                        <a:gd name="connsiteX223" fmla="*/ 25717 w 27870"/>
                        <a:gd name="connsiteY223" fmla="*/ 30741 h 71589"/>
                        <a:gd name="connsiteX224" fmla="*/ 25717 w 27870"/>
                        <a:gd name="connsiteY224" fmla="*/ 30681 h 71589"/>
                        <a:gd name="connsiteX225" fmla="*/ 25657 w 27870"/>
                        <a:gd name="connsiteY225" fmla="*/ 30262 h 71589"/>
                        <a:gd name="connsiteX226" fmla="*/ 25597 w 27870"/>
                        <a:gd name="connsiteY226" fmla="*/ 29844 h 71589"/>
                        <a:gd name="connsiteX227" fmla="*/ 25537 w 27870"/>
                        <a:gd name="connsiteY227" fmla="*/ 29425 h 71589"/>
                        <a:gd name="connsiteX228" fmla="*/ 25478 w 27870"/>
                        <a:gd name="connsiteY228" fmla="*/ 29006 h 71589"/>
                        <a:gd name="connsiteX229" fmla="*/ 25358 w 27870"/>
                        <a:gd name="connsiteY229" fmla="*/ 28468 h 71589"/>
                        <a:gd name="connsiteX230" fmla="*/ 25238 w 27870"/>
                        <a:gd name="connsiteY230" fmla="*/ 27930 h 71589"/>
                        <a:gd name="connsiteX231" fmla="*/ 25119 w 27870"/>
                        <a:gd name="connsiteY231" fmla="*/ 27392 h 71589"/>
                        <a:gd name="connsiteX232" fmla="*/ 24940 w 27870"/>
                        <a:gd name="connsiteY232" fmla="*/ 26853 h 71589"/>
                        <a:gd name="connsiteX233" fmla="*/ 24820 w 27870"/>
                        <a:gd name="connsiteY233" fmla="*/ 26495 h 71589"/>
                        <a:gd name="connsiteX234" fmla="*/ 24700 w 27870"/>
                        <a:gd name="connsiteY234" fmla="*/ 26136 h 71589"/>
                        <a:gd name="connsiteX235" fmla="*/ 24581 w 27870"/>
                        <a:gd name="connsiteY235" fmla="*/ 25777 h 71589"/>
                        <a:gd name="connsiteX236" fmla="*/ 24461 w 27870"/>
                        <a:gd name="connsiteY236" fmla="*/ 25418 h 71589"/>
                        <a:gd name="connsiteX237" fmla="*/ 24461 w 27870"/>
                        <a:gd name="connsiteY237" fmla="*/ 25358 h 71589"/>
                        <a:gd name="connsiteX238" fmla="*/ 24461 w 27870"/>
                        <a:gd name="connsiteY238" fmla="*/ 25298 h 71589"/>
                        <a:gd name="connsiteX239" fmla="*/ 24461 w 27870"/>
                        <a:gd name="connsiteY239" fmla="*/ 25238 h 71589"/>
                        <a:gd name="connsiteX240" fmla="*/ 24461 w 27870"/>
                        <a:gd name="connsiteY240" fmla="*/ 25179 h 71589"/>
                        <a:gd name="connsiteX241" fmla="*/ 24222 w 27870"/>
                        <a:gd name="connsiteY241" fmla="*/ 24700 h 71589"/>
                        <a:gd name="connsiteX242" fmla="*/ 23983 w 27870"/>
                        <a:gd name="connsiteY242" fmla="*/ 24222 h 71589"/>
                        <a:gd name="connsiteX243" fmla="*/ 23743 w 27870"/>
                        <a:gd name="connsiteY243" fmla="*/ 23743 h 71589"/>
                        <a:gd name="connsiteX244" fmla="*/ 23504 w 27870"/>
                        <a:gd name="connsiteY244" fmla="*/ 23265 h 71589"/>
                        <a:gd name="connsiteX245" fmla="*/ 23325 w 27870"/>
                        <a:gd name="connsiteY245" fmla="*/ 22966 h 71589"/>
                        <a:gd name="connsiteX246" fmla="*/ 23145 w 27870"/>
                        <a:gd name="connsiteY246" fmla="*/ 22667 h 71589"/>
                        <a:gd name="connsiteX247" fmla="*/ 22966 w 27870"/>
                        <a:gd name="connsiteY247" fmla="*/ 22368 h 71589"/>
                        <a:gd name="connsiteX248" fmla="*/ 22787 w 27870"/>
                        <a:gd name="connsiteY248" fmla="*/ 22069 h 71589"/>
                        <a:gd name="connsiteX249" fmla="*/ 22607 w 27870"/>
                        <a:gd name="connsiteY249" fmla="*/ 21770 h 71589"/>
                        <a:gd name="connsiteX250" fmla="*/ 22428 w 27870"/>
                        <a:gd name="connsiteY250" fmla="*/ 21471 h 71589"/>
                        <a:gd name="connsiteX251" fmla="*/ 22248 w 27870"/>
                        <a:gd name="connsiteY251" fmla="*/ 21172 h 71589"/>
                        <a:gd name="connsiteX252" fmla="*/ 22009 w 27870"/>
                        <a:gd name="connsiteY252" fmla="*/ 20873 h 71589"/>
                        <a:gd name="connsiteX253" fmla="*/ 21710 w 27870"/>
                        <a:gd name="connsiteY253" fmla="*/ 20454 h 71589"/>
                        <a:gd name="connsiteX254" fmla="*/ 21411 w 27870"/>
                        <a:gd name="connsiteY254" fmla="*/ 20035 h 71589"/>
                        <a:gd name="connsiteX255" fmla="*/ 21112 w 27870"/>
                        <a:gd name="connsiteY255" fmla="*/ 19617 h 71589"/>
                        <a:gd name="connsiteX256" fmla="*/ 20813 w 27870"/>
                        <a:gd name="connsiteY256" fmla="*/ 19198 h 71589"/>
                        <a:gd name="connsiteX257" fmla="*/ 20574 w 27870"/>
                        <a:gd name="connsiteY257" fmla="*/ 18839 h 71589"/>
                        <a:gd name="connsiteX258" fmla="*/ 20274 w 27870"/>
                        <a:gd name="connsiteY258" fmla="*/ 18480 h 71589"/>
                        <a:gd name="connsiteX259" fmla="*/ 19975 w 27870"/>
                        <a:gd name="connsiteY259" fmla="*/ 18121 h 71589"/>
                        <a:gd name="connsiteX260" fmla="*/ 19676 w 27870"/>
                        <a:gd name="connsiteY260" fmla="*/ 17763 h 71589"/>
                        <a:gd name="connsiteX261" fmla="*/ 17763 w 27870"/>
                        <a:gd name="connsiteY261" fmla="*/ 15610 h 71589"/>
                        <a:gd name="connsiteX262" fmla="*/ 15550 w 27870"/>
                        <a:gd name="connsiteY262" fmla="*/ 13397 h 71589"/>
                        <a:gd name="connsiteX263" fmla="*/ 13038 w 27870"/>
                        <a:gd name="connsiteY263" fmla="*/ 11124 h 71589"/>
                        <a:gd name="connsiteX264" fmla="*/ 10227 w 27870"/>
                        <a:gd name="connsiteY264" fmla="*/ 8791 h 71589"/>
                        <a:gd name="connsiteX265" fmla="*/ 9509 w 27870"/>
                        <a:gd name="connsiteY265" fmla="*/ 9689 h 71589"/>
                        <a:gd name="connsiteX266" fmla="*/ 12619 w 27870"/>
                        <a:gd name="connsiteY266" fmla="*/ 12260 h 71589"/>
                        <a:gd name="connsiteX267" fmla="*/ 15371 w 27870"/>
                        <a:gd name="connsiteY267" fmla="*/ 14772 h 71589"/>
                        <a:gd name="connsiteX268" fmla="*/ 17763 w 27870"/>
                        <a:gd name="connsiteY268" fmla="*/ 17225 h 71589"/>
                        <a:gd name="connsiteX269" fmla="*/ 19796 w 27870"/>
                        <a:gd name="connsiteY269" fmla="*/ 19617 h 71589"/>
                        <a:gd name="connsiteX270" fmla="*/ 20035 w 27870"/>
                        <a:gd name="connsiteY270" fmla="*/ 19916 h 71589"/>
                        <a:gd name="connsiteX271" fmla="*/ 20274 w 27870"/>
                        <a:gd name="connsiteY271" fmla="*/ 20215 h 71589"/>
                        <a:gd name="connsiteX272" fmla="*/ 20514 w 27870"/>
                        <a:gd name="connsiteY272" fmla="*/ 20514 h 71589"/>
                        <a:gd name="connsiteX273" fmla="*/ 20753 w 27870"/>
                        <a:gd name="connsiteY273" fmla="*/ 20813 h 71589"/>
                        <a:gd name="connsiteX274" fmla="*/ 20933 w 27870"/>
                        <a:gd name="connsiteY274" fmla="*/ 21052 h 71589"/>
                        <a:gd name="connsiteX275" fmla="*/ 21112 w 27870"/>
                        <a:gd name="connsiteY275" fmla="*/ 21291 h 71589"/>
                        <a:gd name="connsiteX276" fmla="*/ 21291 w 27870"/>
                        <a:gd name="connsiteY276" fmla="*/ 21530 h 71589"/>
                        <a:gd name="connsiteX277" fmla="*/ 21471 w 27870"/>
                        <a:gd name="connsiteY277" fmla="*/ 21770 h 71589"/>
                        <a:gd name="connsiteX278" fmla="*/ 21530 w 27870"/>
                        <a:gd name="connsiteY278" fmla="*/ 21889 h 71589"/>
                        <a:gd name="connsiteX279" fmla="*/ 21590 w 27870"/>
                        <a:gd name="connsiteY279" fmla="*/ 22009 h 71589"/>
                        <a:gd name="connsiteX280" fmla="*/ 21650 w 27870"/>
                        <a:gd name="connsiteY280" fmla="*/ 22129 h 71589"/>
                        <a:gd name="connsiteX281" fmla="*/ 21710 w 27870"/>
                        <a:gd name="connsiteY281" fmla="*/ 22248 h 71589"/>
                        <a:gd name="connsiteX282" fmla="*/ 21889 w 27870"/>
                        <a:gd name="connsiteY282" fmla="*/ 22547 h 71589"/>
                        <a:gd name="connsiteX283" fmla="*/ 22069 w 27870"/>
                        <a:gd name="connsiteY283" fmla="*/ 22846 h 71589"/>
                        <a:gd name="connsiteX284" fmla="*/ 22248 w 27870"/>
                        <a:gd name="connsiteY284" fmla="*/ 23145 h 71589"/>
                        <a:gd name="connsiteX285" fmla="*/ 22428 w 27870"/>
                        <a:gd name="connsiteY285" fmla="*/ 23444 h 71589"/>
                        <a:gd name="connsiteX286" fmla="*/ 22488 w 27870"/>
                        <a:gd name="connsiteY286" fmla="*/ 23564 h 71589"/>
                        <a:gd name="connsiteX287" fmla="*/ 22547 w 27870"/>
                        <a:gd name="connsiteY287" fmla="*/ 23683 h 71589"/>
                        <a:gd name="connsiteX288" fmla="*/ 22607 w 27870"/>
                        <a:gd name="connsiteY288" fmla="*/ 23803 h 71589"/>
                        <a:gd name="connsiteX289" fmla="*/ 22667 w 27870"/>
                        <a:gd name="connsiteY289" fmla="*/ 23923 h 71589"/>
                        <a:gd name="connsiteX290" fmla="*/ 23086 w 27870"/>
                        <a:gd name="connsiteY290" fmla="*/ 24700 h 71589"/>
                        <a:gd name="connsiteX291" fmla="*/ 23444 w 27870"/>
                        <a:gd name="connsiteY291" fmla="*/ 25478 h 71589"/>
                        <a:gd name="connsiteX292" fmla="*/ 23743 w 27870"/>
                        <a:gd name="connsiteY292" fmla="*/ 26255 h 71589"/>
                        <a:gd name="connsiteX293" fmla="*/ 24042 w 27870"/>
                        <a:gd name="connsiteY293" fmla="*/ 27033 h 71589"/>
                        <a:gd name="connsiteX294" fmla="*/ 24162 w 27870"/>
                        <a:gd name="connsiteY294" fmla="*/ 27392 h 71589"/>
                        <a:gd name="connsiteX295" fmla="*/ 24282 w 27870"/>
                        <a:gd name="connsiteY295" fmla="*/ 27751 h 71589"/>
                        <a:gd name="connsiteX296" fmla="*/ 24401 w 27870"/>
                        <a:gd name="connsiteY296" fmla="*/ 28109 h 71589"/>
                        <a:gd name="connsiteX297" fmla="*/ 24521 w 27870"/>
                        <a:gd name="connsiteY297" fmla="*/ 28468 h 71589"/>
                        <a:gd name="connsiteX298" fmla="*/ 24521 w 27870"/>
                        <a:gd name="connsiteY298" fmla="*/ 28528 h 71589"/>
                        <a:gd name="connsiteX299" fmla="*/ 24521 w 27870"/>
                        <a:gd name="connsiteY299" fmla="*/ 28588 h 71589"/>
                        <a:gd name="connsiteX300" fmla="*/ 24521 w 27870"/>
                        <a:gd name="connsiteY300" fmla="*/ 28648 h 71589"/>
                        <a:gd name="connsiteX301" fmla="*/ 24521 w 27870"/>
                        <a:gd name="connsiteY301" fmla="*/ 28707 h 71589"/>
                        <a:gd name="connsiteX302" fmla="*/ 24581 w 27870"/>
                        <a:gd name="connsiteY302" fmla="*/ 29066 h 71589"/>
                        <a:gd name="connsiteX303" fmla="*/ 24641 w 27870"/>
                        <a:gd name="connsiteY303" fmla="*/ 29425 h 71589"/>
                        <a:gd name="connsiteX304" fmla="*/ 24700 w 27870"/>
                        <a:gd name="connsiteY304" fmla="*/ 29784 h 71589"/>
                        <a:gd name="connsiteX305" fmla="*/ 24760 w 27870"/>
                        <a:gd name="connsiteY305" fmla="*/ 30143 h 71589"/>
                        <a:gd name="connsiteX306" fmla="*/ 24760 w 27870"/>
                        <a:gd name="connsiteY306" fmla="*/ 30262 h 71589"/>
                        <a:gd name="connsiteX307" fmla="*/ 24760 w 27870"/>
                        <a:gd name="connsiteY307" fmla="*/ 30382 h 71589"/>
                        <a:gd name="connsiteX308" fmla="*/ 24760 w 27870"/>
                        <a:gd name="connsiteY308" fmla="*/ 30502 h 71589"/>
                        <a:gd name="connsiteX309" fmla="*/ 24760 w 27870"/>
                        <a:gd name="connsiteY309" fmla="*/ 30621 h 71589"/>
                        <a:gd name="connsiteX310" fmla="*/ 24760 w 27870"/>
                        <a:gd name="connsiteY310" fmla="*/ 30920 h 71589"/>
                        <a:gd name="connsiteX311" fmla="*/ 24760 w 27870"/>
                        <a:gd name="connsiteY311" fmla="*/ 31219 h 71589"/>
                        <a:gd name="connsiteX312" fmla="*/ 24760 w 27870"/>
                        <a:gd name="connsiteY312" fmla="*/ 31519 h 71589"/>
                        <a:gd name="connsiteX313" fmla="*/ 24760 w 27870"/>
                        <a:gd name="connsiteY313" fmla="*/ 31817 h 71589"/>
                        <a:gd name="connsiteX314" fmla="*/ 24760 w 27870"/>
                        <a:gd name="connsiteY314" fmla="*/ 31997 h 71589"/>
                        <a:gd name="connsiteX315" fmla="*/ 24760 w 27870"/>
                        <a:gd name="connsiteY315" fmla="*/ 32176 h 71589"/>
                        <a:gd name="connsiteX316" fmla="*/ 24760 w 27870"/>
                        <a:gd name="connsiteY316" fmla="*/ 32356 h 71589"/>
                        <a:gd name="connsiteX317" fmla="*/ 24760 w 27870"/>
                        <a:gd name="connsiteY317" fmla="*/ 32535 h 71589"/>
                        <a:gd name="connsiteX318" fmla="*/ 24760 w 27870"/>
                        <a:gd name="connsiteY318" fmla="*/ 32894 h 71589"/>
                        <a:gd name="connsiteX319" fmla="*/ 24760 w 27870"/>
                        <a:gd name="connsiteY319" fmla="*/ 33253 h 71589"/>
                        <a:gd name="connsiteX320" fmla="*/ 24700 w 27870"/>
                        <a:gd name="connsiteY320" fmla="*/ 33612 h 71589"/>
                        <a:gd name="connsiteX321" fmla="*/ 24641 w 27870"/>
                        <a:gd name="connsiteY321" fmla="*/ 33970 h 71589"/>
                        <a:gd name="connsiteX322" fmla="*/ 24581 w 27870"/>
                        <a:gd name="connsiteY322" fmla="*/ 34269 h 71589"/>
                        <a:gd name="connsiteX323" fmla="*/ 24521 w 27870"/>
                        <a:gd name="connsiteY323" fmla="*/ 34568 h 71589"/>
                        <a:gd name="connsiteX324" fmla="*/ 24461 w 27870"/>
                        <a:gd name="connsiteY324" fmla="*/ 34868 h 71589"/>
                        <a:gd name="connsiteX325" fmla="*/ 24401 w 27870"/>
                        <a:gd name="connsiteY325" fmla="*/ 35167 h 71589"/>
                        <a:gd name="connsiteX326" fmla="*/ 24342 w 27870"/>
                        <a:gd name="connsiteY326" fmla="*/ 35585 h 71589"/>
                        <a:gd name="connsiteX327" fmla="*/ 24282 w 27870"/>
                        <a:gd name="connsiteY327" fmla="*/ 36004 h 71589"/>
                        <a:gd name="connsiteX328" fmla="*/ 24162 w 27870"/>
                        <a:gd name="connsiteY328" fmla="*/ 36422 h 71589"/>
                        <a:gd name="connsiteX329" fmla="*/ 24042 w 27870"/>
                        <a:gd name="connsiteY329" fmla="*/ 36841 h 71589"/>
                        <a:gd name="connsiteX330" fmla="*/ 23983 w 27870"/>
                        <a:gd name="connsiteY330" fmla="*/ 37140 h 71589"/>
                        <a:gd name="connsiteX331" fmla="*/ 23923 w 27870"/>
                        <a:gd name="connsiteY331" fmla="*/ 37439 h 71589"/>
                        <a:gd name="connsiteX332" fmla="*/ 23863 w 27870"/>
                        <a:gd name="connsiteY332" fmla="*/ 37738 h 71589"/>
                        <a:gd name="connsiteX333" fmla="*/ 23743 w 27870"/>
                        <a:gd name="connsiteY333" fmla="*/ 38037 h 71589"/>
                        <a:gd name="connsiteX334" fmla="*/ 23265 w 27870"/>
                        <a:gd name="connsiteY334" fmla="*/ 39353 h 71589"/>
                        <a:gd name="connsiteX335" fmla="*/ 22727 w 27870"/>
                        <a:gd name="connsiteY335" fmla="*/ 40669 h 71589"/>
                        <a:gd name="connsiteX336" fmla="*/ 22069 w 27870"/>
                        <a:gd name="connsiteY336" fmla="*/ 41985 h 71589"/>
                        <a:gd name="connsiteX337" fmla="*/ 21351 w 27870"/>
                        <a:gd name="connsiteY337" fmla="*/ 43300 h 71589"/>
                        <a:gd name="connsiteX338" fmla="*/ 21231 w 27870"/>
                        <a:gd name="connsiteY338" fmla="*/ 43539 h 71589"/>
                        <a:gd name="connsiteX339" fmla="*/ 21112 w 27870"/>
                        <a:gd name="connsiteY339" fmla="*/ 43779 h 71589"/>
                        <a:gd name="connsiteX340" fmla="*/ 20992 w 27870"/>
                        <a:gd name="connsiteY340" fmla="*/ 44018 h 71589"/>
                        <a:gd name="connsiteX341" fmla="*/ 20873 w 27870"/>
                        <a:gd name="connsiteY341" fmla="*/ 44257 h 71589"/>
                        <a:gd name="connsiteX342" fmla="*/ 19617 w 27870"/>
                        <a:gd name="connsiteY342" fmla="*/ 46291 h 71589"/>
                        <a:gd name="connsiteX343" fmla="*/ 18241 w 27870"/>
                        <a:gd name="connsiteY343" fmla="*/ 48384 h 71589"/>
                        <a:gd name="connsiteX344" fmla="*/ 16686 w 27870"/>
                        <a:gd name="connsiteY344" fmla="*/ 50537 h 71589"/>
                        <a:gd name="connsiteX345" fmla="*/ 14832 w 27870"/>
                        <a:gd name="connsiteY345" fmla="*/ 53049 h 71589"/>
                        <a:gd name="connsiteX346" fmla="*/ 14652 w 27870"/>
                        <a:gd name="connsiteY346" fmla="*/ 56518 h 71589"/>
                        <a:gd name="connsiteX347" fmla="*/ 15371 w 27870"/>
                        <a:gd name="connsiteY347" fmla="*/ 56996 h 71589"/>
                        <a:gd name="connsiteX348" fmla="*/ 15669 w 27870"/>
                        <a:gd name="connsiteY348" fmla="*/ 56637 h 71589"/>
                        <a:gd name="connsiteX349" fmla="*/ 15968 w 27870"/>
                        <a:gd name="connsiteY349" fmla="*/ 56278 h 71589"/>
                        <a:gd name="connsiteX350" fmla="*/ 16267 w 27870"/>
                        <a:gd name="connsiteY350" fmla="*/ 55920 h 71589"/>
                        <a:gd name="connsiteX351" fmla="*/ 16566 w 27870"/>
                        <a:gd name="connsiteY351" fmla="*/ 55561 h 71589"/>
                        <a:gd name="connsiteX352" fmla="*/ 15849 w 27870"/>
                        <a:gd name="connsiteY352" fmla="*/ 55082 h 71589"/>
                        <a:gd name="connsiteX353" fmla="*/ 15550 w 27870"/>
                        <a:gd name="connsiteY353" fmla="*/ 55441 h 71589"/>
                        <a:gd name="connsiteX354" fmla="*/ 15251 w 27870"/>
                        <a:gd name="connsiteY354" fmla="*/ 55800 h 71589"/>
                        <a:gd name="connsiteX355" fmla="*/ 14952 w 27870"/>
                        <a:gd name="connsiteY355" fmla="*/ 56159 h 71589"/>
                        <a:gd name="connsiteX356" fmla="*/ 14652 w 27870"/>
                        <a:gd name="connsiteY356" fmla="*/ 56518 h 71589"/>
                        <a:gd name="connsiteX357" fmla="*/ 12978 w 27870"/>
                        <a:gd name="connsiteY357" fmla="*/ 55441 h 71589"/>
                        <a:gd name="connsiteX358" fmla="*/ 13696 w 27870"/>
                        <a:gd name="connsiteY358" fmla="*/ 55920 h 71589"/>
                        <a:gd name="connsiteX359" fmla="*/ 13995 w 27870"/>
                        <a:gd name="connsiteY359" fmla="*/ 55561 h 71589"/>
                        <a:gd name="connsiteX360" fmla="*/ 14294 w 27870"/>
                        <a:gd name="connsiteY360" fmla="*/ 55202 h 71589"/>
                        <a:gd name="connsiteX361" fmla="*/ 14593 w 27870"/>
                        <a:gd name="connsiteY361" fmla="*/ 54843 h 71589"/>
                        <a:gd name="connsiteX362" fmla="*/ 14892 w 27870"/>
                        <a:gd name="connsiteY362" fmla="*/ 54484 h 71589"/>
                        <a:gd name="connsiteX363" fmla="*/ 14174 w 27870"/>
                        <a:gd name="connsiteY363" fmla="*/ 54006 h 71589"/>
                        <a:gd name="connsiteX364" fmla="*/ 13875 w 27870"/>
                        <a:gd name="connsiteY364" fmla="*/ 54365 h 71589"/>
                        <a:gd name="connsiteX365" fmla="*/ 13576 w 27870"/>
                        <a:gd name="connsiteY365" fmla="*/ 54723 h 71589"/>
                        <a:gd name="connsiteX366" fmla="*/ 13277 w 27870"/>
                        <a:gd name="connsiteY366" fmla="*/ 55082 h 71589"/>
                        <a:gd name="connsiteX367" fmla="*/ 12978 w 27870"/>
                        <a:gd name="connsiteY367" fmla="*/ 55441 h 71589"/>
                        <a:gd name="connsiteX368" fmla="*/ 12918 w 27870"/>
                        <a:gd name="connsiteY368" fmla="*/ 58731 h 71589"/>
                        <a:gd name="connsiteX369" fmla="*/ 13636 w 27870"/>
                        <a:gd name="connsiteY369" fmla="*/ 59209 h 71589"/>
                        <a:gd name="connsiteX370" fmla="*/ 13875 w 27870"/>
                        <a:gd name="connsiteY370" fmla="*/ 58850 h 71589"/>
                        <a:gd name="connsiteX371" fmla="*/ 14114 w 27870"/>
                        <a:gd name="connsiteY371" fmla="*/ 58491 h 71589"/>
                        <a:gd name="connsiteX372" fmla="*/ 14354 w 27870"/>
                        <a:gd name="connsiteY372" fmla="*/ 58192 h 71589"/>
                        <a:gd name="connsiteX373" fmla="*/ 14593 w 27870"/>
                        <a:gd name="connsiteY373" fmla="*/ 57893 h 71589"/>
                        <a:gd name="connsiteX374" fmla="*/ 13875 w 27870"/>
                        <a:gd name="connsiteY374" fmla="*/ 57415 h 71589"/>
                        <a:gd name="connsiteX375" fmla="*/ 13636 w 27870"/>
                        <a:gd name="connsiteY375" fmla="*/ 57714 h 71589"/>
                        <a:gd name="connsiteX376" fmla="*/ 13397 w 27870"/>
                        <a:gd name="connsiteY376" fmla="*/ 58013 h 71589"/>
                        <a:gd name="connsiteX377" fmla="*/ 13157 w 27870"/>
                        <a:gd name="connsiteY377" fmla="*/ 58372 h 71589"/>
                        <a:gd name="connsiteX378" fmla="*/ 12918 w 27870"/>
                        <a:gd name="connsiteY378" fmla="*/ 58731 h 71589"/>
                        <a:gd name="connsiteX379" fmla="*/ 11244 w 27870"/>
                        <a:gd name="connsiteY379" fmla="*/ 57594 h 71589"/>
                        <a:gd name="connsiteX380" fmla="*/ 11961 w 27870"/>
                        <a:gd name="connsiteY380" fmla="*/ 58073 h 71589"/>
                        <a:gd name="connsiteX381" fmla="*/ 12201 w 27870"/>
                        <a:gd name="connsiteY381" fmla="*/ 57714 h 71589"/>
                        <a:gd name="connsiteX382" fmla="*/ 12440 w 27870"/>
                        <a:gd name="connsiteY382" fmla="*/ 57355 h 71589"/>
                        <a:gd name="connsiteX383" fmla="*/ 12679 w 27870"/>
                        <a:gd name="connsiteY383" fmla="*/ 57056 h 71589"/>
                        <a:gd name="connsiteX384" fmla="*/ 12918 w 27870"/>
                        <a:gd name="connsiteY384" fmla="*/ 56757 h 71589"/>
                        <a:gd name="connsiteX385" fmla="*/ 12201 w 27870"/>
                        <a:gd name="connsiteY385" fmla="*/ 56278 h 71589"/>
                        <a:gd name="connsiteX386" fmla="*/ 11961 w 27870"/>
                        <a:gd name="connsiteY386" fmla="*/ 56577 h 71589"/>
                        <a:gd name="connsiteX387" fmla="*/ 11722 w 27870"/>
                        <a:gd name="connsiteY387" fmla="*/ 56937 h 71589"/>
                        <a:gd name="connsiteX388" fmla="*/ 11483 w 27870"/>
                        <a:gd name="connsiteY388" fmla="*/ 57295 h 71589"/>
                        <a:gd name="connsiteX389" fmla="*/ 11244 w 27870"/>
                        <a:gd name="connsiteY389" fmla="*/ 57594 h 71589"/>
                        <a:gd name="connsiteX390" fmla="*/ 1196 w 27870"/>
                        <a:gd name="connsiteY390" fmla="*/ 70034 h 71589"/>
                        <a:gd name="connsiteX391" fmla="*/ 3648 w 27870"/>
                        <a:gd name="connsiteY391" fmla="*/ 71589 h 71589"/>
                        <a:gd name="connsiteX392" fmla="*/ 3708 w 27870"/>
                        <a:gd name="connsiteY392" fmla="*/ 71470 h 71589"/>
                        <a:gd name="connsiteX393" fmla="*/ 4844 w 27870"/>
                        <a:gd name="connsiteY393" fmla="*/ 70034 h 71589"/>
                        <a:gd name="connsiteX394" fmla="*/ 5981 w 27870"/>
                        <a:gd name="connsiteY394" fmla="*/ 68599 h 71589"/>
                        <a:gd name="connsiteX395" fmla="*/ 7117 w 27870"/>
                        <a:gd name="connsiteY395" fmla="*/ 67223 h 71589"/>
                        <a:gd name="connsiteX396" fmla="*/ 8253 w 27870"/>
                        <a:gd name="connsiteY396" fmla="*/ 65848 h 71589"/>
                        <a:gd name="connsiteX397" fmla="*/ 8433 w 27870"/>
                        <a:gd name="connsiteY397" fmla="*/ 65608 h 71589"/>
                        <a:gd name="connsiteX398" fmla="*/ 8612 w 27870"/>
                        <a:gd name="connsiteY398" fmla="*/ 65369 h 71589"/>
                        <a:gd name="connsiteX399" fmla="*/ 8791 w 27870"/>
                        <a:gd name="connsiteY399" fmla="*/ 65130 h 71589"/>
                        <a:gd name="connsiteX400" fmla="*/ 8971 w 27870"/>
                        <a:gd name="connsiteY400" fmla="*/ 64891 h 71589"/>
                        <a:gd name="connsiteX401" fmla="*/ 9270 w 27870"/>
                        <a:gd name="connsiteY401" fmla="*/ 64532 h 71589"/>
                        <a:gd name="connsiteX402" fmla="*/ 9569 w 27870"/>
                        <a:gd name="connsiteY402" fmla="*/ 64173 h 71589"/>
                        <a:gd name="connsiteX403" fmla="*/ 9868 w 27870"/>
                        <a:gd name="connsiteY403" fmla="*/ 63814 h 71589"/>
                        <a:gd name="connsiteX404" fmla="*/ 10167 w 27870"/>
                        <a:gd name="connsiteY404" fmla="*/ 63455 h 71589"/>
                        <a:gd name="connsiteX405" fmla="*/ 10885 w 27870"/>
                        <a:gd name="connsiteY405" fmla="*/ 62558 h 71589"/>
                        <a:gd name="connsiteX406" fmla="*/ 11603 w 27870"/>
                        <a:gd name="connsiteY406" fmla="*/ 61661 h 71589"/>
                        <a:gd name="connsiteX407" fmla="*/ 12320 w 27870"/>
                        <a:gd name="connsiteY407" fmla="*/ 60764 h 71589"/>
                        <a:gd name="connsiteX408" fmla="*/ 13038 w 27870"/>
                        <a:gd name="connsiteY408" fmla="*/ 59927 h 71589"/>
                        <a:gd name="connsiteX409" fmla="*/ 12320 w 27870"/>
                        <a:gd name="connsiteY409" fmla="*/ 59448 h 71589"/>
                        <a:gd name="connsiteX410" fmla="*/ 11603 w 27870"/>
                        <a:gd name="connsiteY410" fmla="*/ 60286 h 71589"/>
                        <a:gd name="connsiteX411" fmla="*/ 10885 w 27870"/>
                        <a:gd name="connsiteY411" fmla="*/ 61183 h 71589"/>
                        <a:gd name="connsiteX412" fmla="*/ 10167 w 27870"/>
                        <a:gd name="connsiteY412" fmla="*/ 62080 h 71589"/>
                        <a:gd name="connsiteX413" fmla="*/ 9449 w 27870"/>
                        <a:gd name="connsiteY413" fmla="*/ 62977 h 71589"/>
                        <a:gd name="connsiteX414" fmla="*/ 9150 w 27870"/>
                        <a:gd name="connsiteY414" fmla="*/ 63336 h 71589"/>
                        <a:gd name="connsiteX415" fmla="*/ 8851 w 27870"/>
                        <a:gd name="connsiteY415" fmla="*/ 63694 h 71589"/>
                        <a:gd name="connsiteX416" fmla="*/ 8552 w 27870"/>
                        <a:gd name="connsiteY416" fmla="*/ 64053 h 71589"/>
                        <a:gd name="connsiteX417" fmla="*/ 8253 w 27870"/>
                        <a:gd name="connsiteY417" fmla="*/ 64412 h 71589"/>
                        <a:gd name="connsiteX418" fmla="*/ 8074 w 27870"/>
                        <a:gd name="connsiteY418" fmla="*/ 64652 h 71589"/>
                        <a:gd name="connsiteX419" fmla="*/ 7895 w 27870"/>
                        <a:gd name="connsiteY419" fmla="*/ 64891 h 71589"/>
                        <a:gd name="connsiteX420" fmla="*/ 7715 w 27870"/>
                        <a:gd name="connsiteY420" fmla="*/ 65130 h 71589"/>
                        <a:gd name="connsiteX421" fmla="*/ 7536 w 27870"/>
                        <a:gd name="connsiteY421" fmla="*/ 65369 h 71589"/>
                        <a:gd name="connsiteX422" fmla="*/ 6519 w 27870"/>
                        <a:gd name="connsiteY422" fmla="*/ 66625 h 71589"/>
                        <a:gd name="connsiteX423" fmla="*/ 5502 w 27870"/>
                        <a:gd name="connsiteY423" fmla="*/ 67941 h 71589"/>
                        <a:gd name="connsiteX424" fmla="*/ 4426 w 27870"/>
                        <a:gd name="connsiteY424" fmla="*/ 69257 h 71589"/>
                        <a:gd name="connsiteX425" fmla="*/ 3349 w 27870"/>
                        <a:gd name="connsiteY425" fmla="*/ 70572 h 71589"/>
                        <a:gd name="connsiteX426" fmla="*/ 2392 w 27870"/>
                        <a:gd name="connsiteY426" fmla="*/ 69975 h 71589"/>
                        <a:gd name="connsiteX427" fmla="*/ 3469 w 27870"/>
                        <a:gd name="connsiteY427" fmla="*/ 68599 h 71589"/>
                        <a:gd name="connsiteX428" fmla="*/ 4545 w 27870"/>
                        <a:gd name="connsiteY428" fmla="*/ 67283 h 71589"/>
                        <a:gd name="connsiteX429" fmla="*/ 5562 w 27870"/>
                        <a:gd name="connsiteY429" fmla="*/ 65967 h 71589"/>
                        <a:gd name="connsiteX430" fmla="*/ 6579 w 27870"/>
                        <a:gd name="connsiteY430" fmla="*/ 64711 h 71589"/>
                        <a:gd name="connsiteX431" fmla="*/ 6758 w 27870"/>
                        <a:gd name="connsiteY431" fmla="*/ 64472 h 71589"/>
                        <a:gd name="connsiteX432" fmla="*/ 6937 w 27870"/>
                        <a:gd name="connsiteY432" fmla="*/ 64233 h 71589"/>
                        <a:gd name="connsiteX433" fmla="*/ 7117 w 27870"/>
                        <a:gd name="connsiteY433" fmla="*/ 63994 h 71589"/>
                        <a:gd name="connsiteX434" fmla="*/ 7296 w 27870"/>
                        <a:gd name="connsiteY434" fmla="*/ 63754 h 71589"/>
                        <a:gd name="connsiteX435" fmla="*/ 7595 w 27870"/>
                        <a:gd name="connsiteY435" fmla="*/ 63396 h 71589"/>
                        <a:gd name="connsiteX436" fmla="*/ 7895 w 27870"/>
                        <a:gd name="connsiteY436" fmla="*/ 63037 h 71589"/>
                        <a:gd name="connsiteX437" fmla="*/ 8194 w 27870"/>
                        <a:gd name="connsiteY437" fmla="*/ 62678 h 71589"/>
                        <a:gd name="connsiteX438" fmla="*/ 8493 w 27870"/>
                        <a:gd name="connsiteY438" fmla="*/ 62319 h 71589"/>
                        <a:gd name="connsiteX439" fmla="*/ 9210 w 27870"/>
                        <a:gd name="connsiteY439" fmla="*/ 61422 h 71589"/>
                        <a:gd name="connsiteX440" fmla="*/ 9928 w 27870"/>
                        <a:gd name="connsiteY440" fmla="*/ 60525 h 71589"/>
                        <a:gd name="connsiteX441" fmla="*/ 10645 w 27870"/>
                        <a:gd name="connsiteY441" fmla="*/ 59687 h 71589"/>
                        <a:gd name="connsiteX442" fmla="*/ 11303 w 27870"/>
                        <a:gd name="connsiteY442" fmla="*/ 58850 h 71589"/>
                        <a:gd name="connsiteX443" fmla="*/ 10586 w 27870"/>
                        <a:gd name="connsiteY443" fmla="*/ 58372 h 71589"/>
                        <a:gd name="connsiteX444" fmla="*/ 9928 w 27870"/>
                        <a:gd name="connsiteY444" fmla="*/ 59209 h 71589"/>
                        <a:gd name="connsiteX445" fmla="*/ 9210 w 27870"/>
                        <a:gd name="connsiteY445" fmla="*/ 60046 h 71589"/>
                        <a:gd name="connsiteX446" fmla="*/ 8493 w 27870"/>
                        <a:gd name="connsiteY446" fmla="*/ 60944 h 71589"/>
                        <a:gd name="connsiteX447" fmla="*/ 7775 w 27870"/>
                        <a:gd name="connsiteY447" fmla="*/ 61840 h 71589"/>
                        <a:gd name="connsiteX448" fmla="*/ 7476 w 27870"/>
                        <a:gd name="connsiteY448" fmla="*/ 62199 h 71589"/>
                        <a:gd name="connsiteX449" fmla="*/ 7177 w 27870"/>
                        <a:gd name="connsiteY449" fmla="*/ 62558 h 71589"/>
                        <a:gd name="connsiteX450" fmla="*/ 6878 w 27870"/>
                        <a:gd name="connsiteY450" fmla="*/ 62917 h 71589"/>
                        <a:gd name="connsiteX451" fmla="*/ 6579 w 27870"/>
                        <a:gd name="connsiteY451" fmla="*/ 63276 h 71589"/>
                        <a:gd name="connsiteX452" fmla="*/ 6399 w 27870"/>
                        <a:gd name="connsiteY452" fmla="*/ 63515 h 71589"/>
                        <a:gd name="connsiteX453" fmla="*/ 6220 w 27870"/>
                        <a:gd name="connsiteY453" fmla="*/ 63754 h 71589"/>
                        <a:gd name="connsiteX454" fmla="*/ 6041 w 27870"/>
                        <a:gd name="connsiteY454" fmla="*/ 63994 h 71589"/>
                        <a:gd name="connsiteX455" fmla="*/ 5861 w 27870"/>
                        <a:gd name="connsiteY455" fmla="*/ 64233 h 71589"/>
                        <a:gd name="connsiteX456" fmla="*/ 4785 w 27870"/>
                        <a:gd name="connsiteY456" fmla="*/ 65548 h 71589"/>
                        <a:gd name="connsiteX457" fmla="*/ 3648 w 27870"/>
                        <a:gd name="connsiteY457" fmla="*/ 66924 h 71589"/>
                        <a:gd name="connsiteX458" fmla="*/ 2512 w 27870"/>
                        <a:gd name="connsiteY458" fmla="*/ 68360 h 71589"/>
                        <a:gd name="connsiteX459" fmla="*/ 1316 w 27870"/>
                        <a:gd name="connsiteY459" fmla="*/ 69855 h 71589"/>
                        <a:gd name="connsiteX460" fmla="*/ 1196 w 27870"/>
                        <a:gd name="connsiteY460" fmla="*/ 70034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7870" h="71589">
                          <a:moveTo>
                            <a:pt x="8552" y="9091"/>
                          </a:moveTo>
                          <a:lnTo>
                            <a:pt x="9270" y="8194"/>
                          </a:lnTo>
                          <a:cubicBezTo>
                            <a:pt x="8672" y="7715"/>
                            <a:pt x="8074" y="7296"/>
                            <a:pt x="7476" y="6818"/>
                          </a:cubicBezTo>
                          <a:cubicBezTo>
                            <a:pt x="6878" y="6340"/>
                            <a:pt x="6220" y="5861"/>
                            <a:pt x="5562" y="5442"/>
                          </a:cubicBezTo>
                          <a:cubicBezTo>
                            <a:pt x="4904" y="4964"/>
                            <a:pt x="4246" y="4486"/>
                            <a:pt x="3588" y="4007"/>
                          </a:cubicBezTo>
                          <a:cubicBezTo>
                            <a:pt x="2930" y="3528"/>
                            <a:pt x="2213" y="3050"/>
                            <a:pt x="1495" y="2572"/>
                          </a:cubicBezTo>
                          <a:lnTo>
                            <a:pt x="2392" y="1435"/>
                          </a:lnTo>
                          <a:cubicBezTo>
                            <a:pt x="3110" y="1914"/>
                            <a:pt x="3827" y="2392"/>
                            <a:pt x="4486" y="2871"/>
                          </a:cubicBezTo>
                          <a:cubicBezTo>
                            <a:pt x="5143" y="3349"/>
                            <a:pt x="5801" y="3828"/>
                            <a:pt x="6459" y="4306"/>
                          </a:cubicBezTo>
                          <a:cubicBezTo>
                            <a:pt x="7117" y="4785"/>
                            <a:pt x="7715" y="5263"/>
                            <a:pt x="8373" y="5682"/>
                          </a:cubicBezTo>
                          <a:cubicBezTo>
                            <a:pt x="8971" y="6160"/>
                            <a:pt x="9569" y="6579"/>
                            <a:pt x="10167" y="7057"/>
                          </a:cubicBezTo>
                          <a:lnTo>
                            <a:pt x="10885" y="6160"/>
                          </a:lnTo>
                          <a:cubicBezTo>
                            <a:pt x="10287" y="5682"/>
                            <a:pt x="9629" y="5203"/>
                            <a:pt x="9031" y="4725"/>
                          </a:cubicBezTo>
                          <a:cubicBezTo>
                            <a:pt x="8373" y="4246"/>
                            <a:pt x="7715" y="3768"/>
                            <a:pt x="7057" y="3229"/>
                          </a:cubicBezTo>
                          <a:cubicBezTo>
                            <a:pt x="6399" y="2751"/>
                            <a:pt x="5681" y="2213"/>
                            <a:pt x="4964" y="1734"/>
                          </a:cubicBezTo>
                          <a:cubicBezTo>
                            <a:pt x="4246" y="1256"/>
                            <a:pt x="3528" y="718"/>
                            <a:pt x="2751" y="239"/>
                          </a:cubicBezTo>
                          <a:lnTo>
                            <a:pt x="2332" y="0"/>
                          </a:lnTo>
                          <a:lnTo>
                            <a:pt x="1794" y="718"/>
                          </a:lnTo>
                          <a:lnTo>
                            <a:pt x="0" y="2990"/>
                          </a:lnTo>
                          <a:lnTo>
                            <a:pt x="419" y="3229"/>
                          </a:lnTo>
                          <a:cubicBezTo>
                            <a:pt x="1196" y="3768"/>
                            <a:pt x="1914" y="4246"/>
                            <a:pt x="2632" y="4725"/>
                          </a:cubicBezTo>
                          <a:cubicBezTo>
                            <a:pt x="3349" y="5203"/>
                            <a:pt x="4067" y="5741"/>
                            <a:pt x="4725" y="6220"/>
                          </a:cubicBezTo>
                          <a:cubicBezTo>
                            <a:pt x="5382" y="6698"/>
                            <a:pt x="6041" y="7177"/>
                            <a:pt x="6698" y="7655"/>
                          </a:cubicBezTo>
                          <a:cubicBezTo>
                            <a:pt x="7296" y="8134"/>
                            <a:pt x="7954" y="8612"/>
                            <a:pt x="8552" y="9091"/>
                          </a:cubicBezTo>
                          <a:moveTo>
                            <a:pt x="16507" y="54125"/>
                          </a:moveTo>
                          <a:lnTo>
                            <a:pt x="17225" y="54604"/>
                          </a:lnTo>
                          <a:cubicBezTo>
                            <a:pt x="17763" y="53886"/>
                            <a:pt x="18361" y="53169"/>
                            <a:pt x="18839" y="52451"/>
                          </a:cubicBezTo>
                          <a:cubicBezTo>
                            <a:pt x="19377" y="51733"/>
                            <a:pt x="19856" y="51015"/>
                            <a:pt x="20394" y="50298"/>
                          </a:cubicBezTo>
                          <a:cubicBezTo>
                            <a:pt x="20873" y="49580"/>
                            <a:pt x="21351" y="48862"/>
                            <a:pt x="21829" y="48205"/>
                          </a:cubicBezTo>
                          <a:cubicBezTo>
                            <a:pt x="22308" y="47487"/>
                            <a:pt x="22727" y="46829"/>
                            <a:pt x="23145" y="46111"/>
                          </a:cubicBezTo>
                          <a:cubicBezTo>
                            <a:pt x="23205" y="46052"/>
                            <a:pt x="23265" y="45932"/>
                            <a:pt x="23265" y="45872"/>
                          </a:cubicBezTo>
                          <a:cubicBezTo>
                            <a:pt x="23325" y="45812"/>
                            <a:pt x="23384" y="45693"/>
                            <a:pt x="23384" y="45633"/>
                          </a:cubicBezTo>
                          <a:cubicBezTo>
                            <a:pt x="23444" y="45573"/>
                            <a:pt x="23504" y="45453"/>
                            <a:pt x="23504" y="45393"/>
                          </a:cubicBezTo>
                          <a:cubicBezTo>
                            <a:pt x="23564" y="45334"/>
                            <a:pt x="23564" y="45214"/>
                            <a:pt x="23624" y="45154"/>
                          </a:cubicBezTo>
                          <a:cubicBezTo>
                            <a:pt x="23863" y="44736"/>
                            <a:pt x="24102" y="44257"/>
                            <a:pt x="24342" y="43839"/>
                          </a:cubicBezTo>
                          <a:cubicBezTo>
                            <a:pt x="24581" y="43420"/>
                            <a:pt x="24820" y="43001"/>
                            <a:pt x="24999" y="42523"/>
                          </a:cubicBezTo>
                          <a:cubicBezTo>
                            <a:pt x="25238" y="42104"/>
                            <a:pt x="25418" y="41685"/>
                            <a:pt x="25597" y="41207"/>
                          </a:cubicBezTo>
                          <a:cubicBezTo>
                            <a:pt x="25777" y="40729"/>
                            <a:pt x="25956" y="40370"/>
                            <a:pt x="26136" y="39951"/>
                          </a:cubicBezTo>
                          <a:cubicBezTo>
                            <a:pt x="26196" y="39891"/>
                            <a:pt x="26196" y="39772"/>
                            <a:pt x="26255" y="39712"/>
                          </a:cubicBezTo>
                          <a:cubicBezTo>
                            <a:pt x="26315" y="39652"/>
                            <a:pt x="26315" y="39532"/>
                            <a:pt x="26375" y="39473"/>
                          </a:cubicBezTo>
                          <a:cubicBezTo>
                            <a:pt x="26435" y="39413"/>
                            <a:pt x="26435" y="39293"/>
                            <a:pt x="26495" y="39234"/>
                          </a:cubicBezTo>
                          <a:cubicBezTo>
                            <a:pt x="26554" y="39174"/>
                            <a:pt x="26554" y="39054"/>
                            <a:pt x="26614" y="38994"/>
                          </a:cubicBezTo>
                          <a:cubicBezTo>
                            <a:pt x="26674" y="38875"/>
                            <a:pt x="26674" y="38755"/>
                            <a:pt x="26734" y="38635"/>
                          </a:cubicBezTo>
                          <a:cubicBezTo>
                            <a:pt x="26794" y="38516"/>
                            <a:pt x="26794" y="38396"/>
                            <a:pt x="26853" y="38276"/>
                          </a:cubicBezTo>
                          <a:cubicBezTo>
                            <a:pt x="26913" y="38157"/>
                            <a:pt x="26913" y="38037"/>
                            <a:pt x="26973" y="37918"/>
                          </a:cubicBezTo>
                          <a:cubicBezTo>
                            <a:pt x="27033" y="37798"/>
                            <a:pt x="27033" y="37678"/>
                            <a:pt x="27092" y="37559"/>
                          </a:cubicBezTo>
                          <a:cubicBezTo>
                            <a:pt x="27092" y="37439"/>
                            <a:pt x="27152" y="37380"/>
                            <a:pt x="27152" y="37260"/>
                          </a:cubicBezTo>
                          <a:cubicBezTo>
                            <a:pt x="27152" y="37140"/>
                            <a:pt x="27212" y="37081"/>
                            <a:pt x="27212" y="36961"/>
                          </a:cubicBezTo>
                          <a:cubicBezTo>
                            <a:pt x="27212" y="36841"/>
                            <a:pt x="27272" y="36781"/>
                            <a:pt x="27272" y="36662"/>
                          </a:cubicBezTo>
                          <a:cubicBezTo>
                            <a:pt x="27272" y="36542"/>
                            <a:pt x="27332" y="36482"/>
                            <a:pt x="27332" y="36363"/>
                          </a:cubicBezTo>
                          <a:cubicBezTo>
                            <a:pt x="27391" y="36064"/>
                            <a:pt x="27451" y="35765"/>
                            <a:pt x="27511" y="35466"/>
                          </a:cubicBezTo>
                          <a:cubicBezTo>
                            <a:pt x="27571" y="35167"/>
                            <a:pt x="27631" y="34868"/>
                            <a:pt x="27691" y="34568"/>
                          </a:cubicBezTo>
                          <a:cubicBezTo>
                            <a:pt x="27750" y="34269"/>
                            <a:pt x="27750" y="33970"/>
                            <a:pt x="27810" y="33671"/>
                          </a:cubicBezTo>
                          <a:cubicBezTo>
                            <a:pt x="27870" y="33373"/>
                            <a:pt x="27870" y="33073"/>
                            <a:pt x="27870" y="32774"/>
                          </a:cubicBezTo>
                          <a:cubicBezTo>
                            <a:pt x="27870" y="32655"/>
                            <a:pt x="27870" y="32535"/>
                            <a:pt x="27870" y="32475"/>
                          </a:cubicBezTo>
                          <a:cubicBezTo>
                            <a:pt x="27870" y="32356"/>
                            <a:pt x="27870" y="32236"/>
                            <a:pt x="27870" y="32176"/>
                          </a:cubicBezTo>
                          <a:cubicBezTo>
                            <a:pt x="27870" y="32057"/>
                            <a:pt x="27870" y="31937"/>
                            <a:pt x="27870" y="31877"/>
                          </a:cubicBezTo>
                          <a:cubicBezTo>
                            <a:pt x="27870" y="31817"/>
                            <a:pt x="27870" y="31638"/>
                            <a:pt x="27870" y="31578"/>
                          </a:cubicBezTo>
                          <a:cubicBezTo>
                            <a:pt x="27870" y="31578"/>
                            <a:pt x="27870" y="31578"/>
                            <a:pt x="27870" y="31519"/>
                          </a:cubicBezTo>
                          <a:cubicBezTo>
                            <a:pt x="27870" y="31519"/>
                            <a:pt x="27870" y="31519"/>
                            <a:pt x="27870" y="31459"/>
                          </a:cubicBezTo>
                          <a:cubicBezTo>
                            <a:pt x="27870" y="31399"/>
                            <a:pt x="27870" y="31459"/>
                            <a:pt x="27870" y="31399"/>
                          </a:cubicBezTo>
                          <a:cubicBezTo>
                            <a:pt x="27870" y="31399"/>
                            <a:pt x="27870" y="31399"/>
                            <a:pt x="27870" y="31339"/>
                          </a:cubicBezTo>
                          <a:cubicBezTo>
                            <a:pt x="27870" y="31040"/>
                            <a:pt x="27870" y="30681"/>
                            <a:pt x="27810" y="30382"/>
                          </a:cubicBezTo>
                          <a:cubicBezTo>
                            <a:pt x="27810" y="30083"/>
                            <a:pt x="27750" y="29724"/>
                            <a:pt x="27750" y="29425"/>
                          </a:cubicBezTo>
                          <a:cubicBezTo>
                            <a:pt x="27691" y="29126"/>
                            <a:pt x="27691" y="28767"/>
                            <a:pt x="27631" y="28468"/>
                          </a:cubicBezTo>
                          <a:cubicBezTo>
                            <a:pt x="27571" y="28169"/>
                            <a:pt x="27511" y="27810"/>
                            <a:pt x="27451" y="27511"/>
                          </a:cubicBezTo>
                          <a:cubicBezTo>
                            <a:pt x="27451" y="27451"/>
                            <a:pt x="27391" y="27332"/>
                            <a:pt x="27391" y="27272"/>
                          </a:cubicBezTo>
                          <a:cubicBezTo>
                            <a:pt x="27391" y="27212"/>
                            <a:pt x="27332" y="27092"/>
                            <a:pt x="27332" y="27033"/>
                          </a:cubicBezTo>
                          <a:cubicBezTo>
                            <a:pt x="27332" y="26973"/>
                            <a:pt x="27272" y="26853"/>
                            <a:pt x="27272" y="26794"/>
                          </a:cubicBezTo>
                          <a:cubicBezTo>
                            <a:pt x="27272" y="26734"/>
                            <a:pt x="27212" y="26614"/>
                            <a:pt x="27212" y="26554"/>
                          </a:cubicBezTo>
                          <a:cubicBezTo>
                            <a:pt x="27152" y="26435"/>
                            <a:pt x="27152" y="26315"/>
                            <a:pt x="27092" y="26136"/>
                          </a:cubicBezTo>
                          <a:cubicBezTo>
                            <a:pt x="27033" y="26016"/>
                            <a:pt x="27033" y="25897"/>
                            <a:pt x="26973" y="25717"/>
                          </a:cubicBezTo>
                          <a:cubicBezTo>
                            <a:pt x="26913" y="25538"/>
                            <a:pt x="26913" y="25478"/>
                            <a:pt x="26853" y="25298"/>
                          </a:cubicBezTo>
                          <a:cubicBezTo>
                            <a:pt x="26794" y="25119"/>
                            <a:pt x="26734" y="25059"/>
                            <a:pt x="26734" y="24880"/>
                          </a:cubicBezTo>
                          <a:cubicBezTo>
                            <a:pt x="26674" y="24700"/>
                            <a:pt x="26614" y="24581"/>
                            <a:pt x="26554" y="24401"/>
                          </a:cubicBezTo>
                          <a:cubicBezTo>
                            <a:pt x="26495" y="24222"/>
                            <a:pt x="26435" y="24102"/>
                            <a:pt x="26375" y="23923"/>
                          </a:cubicBezTo>
                          <a:cubicBezTo>
                            <a:pt x="26315" y="23743"/>
                            <a:pt x="26255" y="23624"/>
                            <a:pt x="26136" y="23444"/>
                          </a:cubicBezTo>
                          <a:cubicBezTo>
                            <a:pt x="26076" y="23265"/>
                            <a:pt x="26016" y="23145"/>
                            <a:pt x="25896" y="22966"/>
                          </a:cubicBezTo>
                          <a:cubicBezTo>
                            <a:pt x="25837" y="22846"/>
                            <a:pt x="25777" y="22727"/>
                            <a:pt x="25717" y="22607"/>
                          </a:cubicBezTo>
                          <a:cubicBezTo>
                            <a:pt x="25657" y="22488"/>
                            <a:pt x="25597" y="22368"/>
                            <a:pt x="25537" y="22248"/>
                          </a:cubicBezTo>
                          <a:cubicBezTo>
                            <a:pt x="25478" y="22129"/>
                            <a:pt x="25418" y="22009"/>
                            <a:pt x="25358" y="21889"/>
                          </a:cubicBezTo>
                          <a:cubicBezTo>
                            <a:pt x="25298" y="21770"/>
                            <a:pt x="25238" y="21650"/>
                            <a:pt x="25179" y="21530"/>
                          </a:cubicBezTo>
                          <a:cubicBezTo>
                            <a:pt x="24999" y="21231"/>
                            <a:pt x="24820" y="20933"/>
                            <a:pt x="24641" y="20634"/>
                          </a:cubicBezTo>
                          <a:cubicBezTo>
                            <a:pt x="24461" y="20334"/>
                            <a:pt x="24282" y="20035"/>
                            <a:pt x="24042" y="19736"/>
                          </a:cubicBezTo>
                          <a:cubicBezTo>
                            <a:pt x="23863" y="19437"/>
                            <a:pt x="23624" y="19138"/>
                            <a:pt x="23444" y="18839"/>
                          </a:cubicBezTo>
                          <a:cubicBezTo>
                            <a:pt x="23205" y="18540"/>
                            <a:pt x="23026" y="18241"/>
                            <a:pt x="22787" y="17942"/>
                          </a:cubicBezTo>
                          <a:cubicBezTo>
                            <a:pt x="22667" y="17822"/>
                            <a:pt x="22607" y="17703"/>
                            <a:pt x="22488" y="17583"/>
                          </a:cubicBezTo>
                          <a:cubicBezTo>
                            <a:pt x="22368" y="17464"/>
                            <a:pt x="22308" y="17344"/>
                            <a:pt x="22188" y="17225"/>
                          </a:cubicBezTo>
                          <a:cubicBezTo>
                            <a:pt x="22069" y="17105"/>
                            <a:pt x="22009" y="16985"/>
                            <a:pt x="21889" y="16866"/>
                          </a:cubicBezTo>
                          <a:cubicBezTo>
                            <a:pt x="21770" y="16746"/>
                            <a:pt x="21710" y="16626"/>
                            <a:pt x="21590" y="16507"/>
                          </a:cubicBezTo>
                          <a:cubicBezTo>
                            <a:pt x="21471" y="16327"/>
                            <a:pt x="21291" y="16148"/>
                            <a:pt x="21112" y="15968"/>
                          </a:cubicBezTo>
                          <a:cubicBezTo>
                            <a:pt x="20933" y="15789"/>
                            <a:pt x="20813" y="15610"/>
                            <a:pt x="20633" y="15430"/>
                          </a:cubicBezTo>
                          <a:cubicBezTo>
                            <a:pt x="20454" y="15251"/>
                            <a:pt x="20334" y="15072"/>
                            <a:pt x="20155" y="14892"/>
                          </a:cubicBezTo>
                          <a:cubicBezTo>
                            <a:pt x="19975" y="14712"/>
                            <a:pt x="19796" y="14533"/>
                            <a:pt x="19676" y="14354"/>
                          </a:cubicBezTo>
                          <a:cubicBezTo>
                            <a:pt x="19497" y="14174"/>
                            <a:pt x="19377" y="13995"/>
                            <a:pt x="19198" y="13815"/>
                          </a:cubicBezTo>
                          <a:cubicBezTo>
                            <a:pt x="19019" y="13636"/>
                            <a:pt x="18899" y="13457"/>
                            <a:pt x="18720" y="13277"/>
                          </a:cubicBezTo>
                          <a:cubicBezTo>
                            <a:pt x="18540" y="13098"/>
                            <a:pt x="18361" y="12918"/>
                            <a:pt x="18241" y="12739"/>
                          </a:cubicBezTo>
                          <a:cubicBezTo>
                            <a:pt x="18062" y="12559"/>
                            <a:pt x="17882" y="12380"/>
                            <a:pt x="17703" y="12201"/>
                          </a:cubicBezTo>
                          <a:cubicBezTo>
                            <a:pt x="17523" y="12021"/>
                            <a:pt x="17344" y="11842"/>
                            <a:pt x="17105" y="11662"/>
                          </a:cubicBezTo>
                          <a:cubicBezTo>
                            <a:pt x="16925" y="11483"/>
                            <a:pt x="16686" y="11304"/>
                            <a:pt x="16507" y="11124"/>
                          </a:cubicBezTo>
                          <a:cubicBezTo>
                            <a:pt x="16327" y="10945"/>
                            <a:pt x="16088" y="10765"/>
                            <a:pt x="15909" y="10586"/>
                          </a:cubicBezTo>
                          <a:cubicBezTo>
                            <a:pt x="15729" y="10406"/>
                            <a:pt x="15490" y="10227"/>
                            <a:pt x="15251" y="10048"/>
                          </a:cubicBezTo>
                          <a:cubicBezTo>
                            <a:pt x="14952" y="9808"/>
                            <a:pt x="14652" y="9509"/>
                            <a:pt x="14354" y="9270"/>
                          </a:cubicBezTo>
                          <a:cubicBezTo>
                            <a:pt x="14055" y="9031"/>
                            <a:pt x="13756" y="8732"/>
                            <a:pt x="13457" y="8493"/>
                          </a:cubicBezTo>
                          <a:cubicBezTo>
                            <a:pt x="13157" y="8253"/>
                            <a:pt x="12798" y="7954"/>
                            <a:pt x="12500" y="7715"/>
                          </a:cubicBezTo>
                          <a:cubicBezTo>
                            <a:pt x="12201" y="7476"/>
                            <a:pt x="11842" y="7177"/>
                            <a:pt x="11543" y="6937"/>
                          </a:cubicBezTo>
                          <a:lnTo>
                            <a:pt x="10825" y="7835"/>
                          </a:lnTo>
                          <a:cubicBezTo>
                            <a:pt x="11603" y="8433"/>
                            <a:pt x="12380" y="9091"/>
                            <a:pt x="13098" y="9689"/>
                          </a:cubicBezTo>
                          <a:cubicBezTo>
                            <a:pt x="13815" y="10287"/>
                            <a:pt x="14533" y="10885"/>
                            <a:pt x="15191" y="11543"/>
                          </a:cubicBezTo>
                          <a:cubicBezTo>
                            <a:pt x="15849" y="12141"/>
                            <a:pt x="16507" y="12739"/>
                            <a:pt x="17105" y="13337"/>
                          </a:cubicBezTo>
                          <a:cubicBezTo>
                            <a:pt x="17703" y="13935"/>
                            <a:pt x="18301" y="14533"/>
                            <a:pt x="18839" y="15072"/>
                          </a:cubicBezTo>
                          <a:cubicBezTo>
                            <a:pt x="18959" y="15191"/>
                            <a:pt x="19079" y="15370"/>
                            <a:pt x="19198" y="15490"/>
                          </a:cubicBezTo>
                          <a:cubicBezTo>
                            <a:pt x="19318" y="15610"/>
                            <a:pt x="19437" y="15789"/>
                            <a:pt x="19557" y="15909"/>
                          </a:cubicBezTo>
                          <a:cubicBezTo>
                            <a:pt x="19676" y="16028"/>
                            <a:pt x="19796" y="16208"/>
                            <a:pt x="19916" y="16327"/>
                          </a:cubicBezTo>
                          <a:cubicBezTo>
                            <a:pt x="20035" y="16447"/>
                            <a:pt x="20155" y="16626"/>
                            <a:pt x="20274" y="16746"/>
                          </a:cubicBezTo>
                          <a:cubicBezTo>
                            <a:pt x="20394" y="16926"/>
                            <a:pt x="20514" y="17045"/>
                            <a:pt x="20693" y="17225"/>
                          </a:cubicBezTo>
                          <a:cubicBezTo>
                            <a:pt x="20813" y="17404"/>
                            <a:pt x="20933" y="17523"/>
                            <a:pt x="21052" y="17703"/>
                          </a:cubicBezTo>
                          <a:cubicBezTo>
                            <a:pt x="21172" y="17882"/>
                            <a:pt x="21291" y="18002"/>
                            <a:pt x="21411" y="18181"/>
                          </a:cubicBezTo>
                          <a:cubicBezTo>
                            <a:pt x="21530" y="18361"/>
                            <a:pt x="21650" y="18480"/>
                            <a:pt x="21770" y="18660"/>
                          </a:cubicBezTo>
                          <a:cubicBezTo>
                            <a:pt x="21829" y="18780"/>
                            <a:pt x="21949" y="18899"/>
                            <a:pt x="22009" y="19019"/>
                          </a:cubicBezTo>
                          <a:cubicBezTo>
                            <a:pt x="22069" y="19138"/>
                            <a:pt x="22188" y="19258"/>
                            <a:pt x="22248" y="19377"/>
                          </a:cubicBezTo>
                          <a:cubicBezTo>
                            <a:pt x="22308" y="19497"/>
                            <a:pt x="22428" y="19617"/>
                            <a:pt x="22488" y="19736"/>
                          </a:cubicBezTo>
                          <a:cubicBezTo>
                            <a:pt x="22547" y="19856"/>
                            <a:pt x="22667" y="19975"/>
                            <a:pt x="22727" y="20095"/>
                          </a:cubicBezTo>
                          <a:cubicBezTo>
                            <a:pt x="22906" y="20394"/>
                            <a:pt x="23145" y="20693"/>
                            <a:pt x="23325" y="20992"/>
                          </a:cubicBezTo>
                          <a:cubicBezTo>
                            <a:pt x="23504" y="21291"/>
                            <a:pt x="23683" y="21590"/>
                            <a:pt x="23863" y="21889"/>
                          </a:cubicBezTo>
                          <a:cubicBezTo>
                            <a:pt x="24042" y="22188"/>
                            <a:pt x="24222" y="22488"/>
                            <a:pt x="24342" y="22787"/>
                          </a:cubicBezTo>
                          <a:cubicBezTo>
                            <a:pt x="24521" y="23085"/>
                            <a:pt x="24641" y="23384"/>
                            <a:pt x="24820" y="23683"/>
                          </a:cubicBezTo>
                          <a:cubicBezTo>
                            <a:pt x="24880" y="23803"/>
                            <a:pt x="24940" y="23923"/>
                            <a:pt x="24999" y="24043"/>
                          </a:cubicBezTo>
                          <a:cubicBezTo>
                            <a:pt x="25059" y="24162"/>
                            <a:pt x="25119" y="24282"/>
                            <a:pt x="25179" y="24401"/>
                          </a:cubicBezTo>
                          <a:cubicBezTo>
                            <a:pt x="25238" y="24521"/>
                            <a:pt x="25298" y="24641"/>
                            <a:pt x="25358" y="24760"/>
                          </a:cubicBezTo>
                          <a:cubicBezTo>
                            <a:pt x="25418" y="24880"/>
                            <a:pt x="25478" y="24999"/>
                            <a:pt x="25537" y="25119"/>
                          </a:cubicBezTo>
                          <a:cubicBezTo>
                            <a:pt x="25537" y="25119"/>
                            <a:pt x="25537" y="25119"/>
                            <a:pt x="25537" y="25119"/>
                          </a:cubicBezTo>
                          <a:cubicBezTo>
                            <a:pt x="25537" y="25119"/>
                            <a:pt x="25537" y="25119"/>
                            <a:pt x="25537" y="25119"/>
                          </a:cubicBezTo>
                          <a:cubicBezTo>
                            <a:pt x="25537" y="25119"/>
                            <a:pt x="25537" y="25119"/>
                            <a:pt x="25537" y="25119"/>
                          </a:cubicBezTo>
                          <a:cubicBezTo>
                            <a:pt x="25537" y="25119"/>
                            <a:pt x="25537" y="25119"/>
                            <a:pt x="25537" y="25119"/>
                          </a:cubicBezTo>
                          <a:cubicBezTo>
                            <a:pt x="25597" y="25238"/>
                            <a:pt x="25657" y="25418"/>
                            <a:pt x="25717" y="25538"/>
                          </a:cubicBezTo>
                          <a:cubicBezTo>
                            <a:pt x="25777" y="25657"/>
                            <a:pt x="25837" y="25837"/>
                            <a:pt x="25896" y="25956"/>
                          </a:cubicBezTo>
                          <a:cubicBezTo>
                            <a:pt x="25956" y="26076"/>
                            <a:pt x="26016" y="26255"/>
                            <a:pt x="26076" y="26375"/>
                          </a:cubicBezTo>
                          <a:cubicBezTo>
                            <a:pt x="26136" y="26495"/>
                            <a:pt x="26196" y="26674"/>
                            <a:pt x="26196" y="26794"/>
                          </a:cubicBezTo>
                          <a:cubicBezTo>
                            <a:pt x="26196" y="26794"/>
                            <a:pt x="26196" y="26794"/>
                            <a:pt x="26196" y="26853"/>
                          </a:cubicBezTo>
                          <a:cubicBezTo>
                            <a:pt x="26196" y="26853"/>
                            <a:pt x="26196" y="26853"/>
                            <a:pt x="26196" y="26913"/>
                          </a:cubicBezTo>
                          <a:cubicBezTo>
                            <a:pt x="26196" y="26913"/>
                            <a:pt x="26196" y="26913"/>
                            <a:pt x="26196" y="26973"/>
                          </a:cubicBezTo>
                          <a:cubicBezTo>
                            <a:pt x="26196" y="26973"/>
                            <a:pt x="26196" y="26973"/>
                            <a:pt x="26196" y="27033"/>
                          </a:cubicBezTo>
                          <a:cubicBezTo>
                            <a:pt x="26255" y="27152"/>
                            <a:pt x="26255" y="27332"/>
                            <a:pt x="26315" y="27451"/>
                          </a:cubicBezTo>
                          <a:cubicBezTo>
                            <a:pt x="26375" y="27571"/>
                            <a:pt x="26375" y="27751"/>
                            <a:pt x="26435" y="27870"/>
                          </a:cubicBezTo>
                          <a:cubicBezTo>
                            <a:pt x="26495" y="27990"/>
                            <a:pt x="26495" y="28169"/>
                            <a:pt x="26554" y="28289"/>
                          </a:cubicBezTo>
                          <a:cubicBezTo>
                            <a:pt x="26614" y="28408"/>
                            <a:pt x="26614" y="28588"/>
                            <a:pt x="26614" y="28707"/>
                          </a:cubicBezTo>
                          <a:cubicBezTo>
                            <a:pt x="26674" y="28887"/>
                            <a:pt x="26674" y="29126"/>
                            <a:pt x="26734" y="29305"/>
                          </a:cubicBezTo>
                          <a:cubicBezTo>
                            <a:pt x="26794" y="29485"/>
                            <a:pt x="26794" y="29724"/>
                            <a:pt x="26794" y="29904"/>
                          </a:cubicBezTo>
                          <a:cubicBezTo>
                            <a:pt x="26794" y="30083"/>
                            <a:pt x="26853" y="30322"/>
                            <a:pt x="26853" y="30502"/>
                          </a:cubicBezTo>
                          <a:cubicBezTo>
                            <a:pt x="26853" y="30681"/>
                            <a:pt x="26913" y="30920"/>
                            <a:pt x="26913" y="31100"/>
                          </a:cubicBezTo>
                          <a:cubicBezTo>
                            <a:pt x="26913" y="31159"/>
                            <a:pt x="26913" y="31219"/>
                            <a:pt x="26913" y="31279"/>
                          </a:cubicBezTo>
                          <a:cubicBezTo>
                            <a:pt x="26913" y="31339"/>
                            <a:pt x="26913" y="31399"/>
                            <a:pt x="26913" y="31459"/>
                          </a:cubicBezTo>
                          <a:cubicBezTo>
                            <a:pt x="26913" y="31519"/>
                            <a:pt x="26913" y="31578"/>
                            <a:pt x="26913" y="31638"/>
                          </a:cubicBezTo>
                          <a:cubicBezTo>
                            <a:pt x="26913" y="31698"/>
                            <a:pt x="26913" y="31758"/>
                            <a:pt x="26913" y="31817"/>
                          </a:cubicBezTo>
                          <a:cubicBezTo>
                            <a:pt x="26913" y="31877"/>
                            <a:pt x="26913" y="31877"/>
                            <a:pt x="26913" y="31937"/>
                          </a:cubicBezTo>
                          <a:cubicBezTo>
                            <a:pt x="26913" y="31997"/>
                            <a:pt x="26913" y="31997"/>
                            <a:pt x="26913" y="32057"/>
                          </a:cubicBezTo>
                          <a:cubicBezTo>
                            <a:pt x="26913" y="32116"/>
                            <a:pt x="26913" y="32116"/>
                            <a:pt x="26913" y="32176"/>
                          </a:cubicBezTo>
                          <a:cubicBezTo>
                            <a:pt x="26913" y="32236"/>
                            <a:pt x="26913" y="32236"/>
                            <a:pt x="26913" y="32296"/>
                          </a:cubicBezTo>
                          <a:cubicBezTo>
                            <a:pt x="26913" y="32595"/>
                            <a:pt x="26913" y="32894"/>
                            <a:pt x="26853" y="33193"/>
                          </a:cubicBezTo>
                          <a:cubicBezTo>
                            <a:pt x="26794" y="33492"/>
                            <a:pt x="26794" y="33791"/>
                            <a:pt x="26794" y="34090"/>
                          </a:cubicBezTo>
                          <a:cubicBezTo>
                            <a:pt x="26734" y="34389"/>
                            <a:pt x="26734" y="34688"/>
                            <a:pt x="26674" y="34987"/>
                          </a:cubicBezTo>
                          <a:cubicBezTo>
                            <a:pt x="26614" y="35286"/>
                            <a:pt x="26554" y="35585"/>
                            <a:pt x="26495" y="35884"/>
                          </a:cubicBezTo>
                          <a:cubicBezTo>
                            <a:pt x="26495" y="36004"/>
                            <a:pt x="26435" y="36064"/>
                            <a:pt x="26435" y="36183"/>
                          </a:cubicBezTo>
                          <a:cubicBezTo>
                            <a:pt x="26435" y="36303"/>
                            <a:pt x="26375" y="36363"/>
                            <a:pt x="26375" y="36482"/>
                          </a:cubicBezTo>
                          <a:cubicBezTo>
                            <a:pt x="26375" y="36602"/>
                            <a:pt x="26315" y="36662"/>
                            <a:pt x="26315" y="36781"/>
                          </a:cubicBezTo>
                          <a:cubicBezTo>
                            <a:pt x="26315" y="36901"/>
                            <a:pt x="26255" y="36961"/>
                            <a:pt x="26255" y="37081"/>
                          </a:cubicBezTo>
                          <a:cubicBezTo>
                            <a:pt x="26196" y="37200"/>
                            <a:pt x="26196" y="37320"/>
                            <a:pt x="26136" y="37439"/>
                          </a:cubicBezTo>
                          <a:cubicBezTo>
                            <a:pt x="26076" y="37559"/>
                            <a:pt x="26076" y="37678"/>
                            <a:pt x="26016" y="37798"/>
                          </a:cubicBezTo>
                          <a:cubicBezTo>
                            <a:pt x="25956" y="37918"/>
                            <a:pt x="25956" y="38037"/>
                            <a:pt x="25896" y="38157"/>
                          </a:cubicBezTo>
                          <a:cubicBezTo>
                            <a:pt x="25837" y="38276"/>
                            <a:pt x="25837" y="38396"/>
                            <a:pt x="25777" y="38516"/>
                          </a:cubicBezTo>
                          <a:cubicBezTo>
                            <a:pt x="25777" y="38576"/>
                            <a:pt x="25717" y="38695"/>
                            <a:pt x="25657" y="38755"/>
                          </a:cubicBezTo>
                          <a:cubicBezTo>
                            <a:pt x="25597" y="38815"/>
                            <a:pt x="25597" y="38935"/>
                            <a:pt x="25537" y="39054"/>
                          </a:cubicBezTo>
                          <a:cubicBezTo>
                            <a:pt x="25478" y="39174"/>
                            <a:pt x="25478" y="39234"/>
                            <a:pt x="25418" y="39353"/>
                          </a:cubicBezTo>
                          <a:cubicBezTo>
                            <a:pt x="25358" y="39473"/>
                            <a:pt x="25358" y="39532"/>
                            <a:pt x="25298" y="39652"/>
                          </a:cubicBezTo>
                          <a:cubicBezTo>
                            <a:pt x="25119" y="40071"/>
                            <a:pt x="24940" y="40490"/>
                            <a:pt x="24760" y="40968"/>
                          </a:cubicBezTo>
                          <a:cubicBezTo>
                            <a:pt x="24581" y="41386"/>
                            <a:pt x="24401" y="41805"/>
                            <a:pt x="24162" y="42284"/>
                          </a:cubicBezTo>
                          <a:cubicBezTo>
                            <a:pt x="23983" y="42702"/>
                            <a:pt x="23743" y="43181"/>
                            <a:pt x="23504" y="43599"/>
                          </a:cubicBezTo>
                          <a:cubicBezTo>
                            <a:pt x="23265" y="44018"/>
                            <a:pt x="23026" y="44497"/>
                            <a:pt x="22787" y="44915"/>
                          </a:cubicBezTo>
                          <a:cubicBezTo>
                            <a:pt x="22727" y="44975"/>
                            <a:pt x="22727" y="45095"/>
                            <a:pt x="22667" y="45154"/>
                          </a:cubicBezTo>
                          <a:cubicBezTo>
                            <a:pt x="22607" y="45214"/>
                            <a:pt x="22607" y="45334"/>
                            <a:pt x="22547" y="45393"/>
                          </a:cubicBezTo>
                          <a:cubicBezTo>
                            <a:pt x="22488" y="45453"/>
                            <a:pt x="22428" y="45573"/>
                            <a:pt x="22428" y="45633"/>
                          </a:cubicBezTo>
                          <a:cubicBezTo>
                            <a:pt x="22368" y="45693"/>
                            <a:pt x="22308" y="45812"/>
                            <a:pt x="22308" y="45872"/>
                          </a:cubicBezTo>
                          <a:cubicBezTo>
                            <a:pt x="21889" y="46530"/>
                            <a:pt x="21471" y="47247"/>
                            <a:pt x="20992" y="47966"/>
                          </a:cubicBezTo>
                          <a:cubicBezTo>
                            <a:pt x="20514" y="48683"/>
                            <a:pt x="20095" y="49341"/>
                            <a:pt x="19557" y="50059"/>
                          </a:cubicBezTo>
                          <a:cubicBezTo>
                            <a:pt x="19079" y="50776"/>
                            <a:pt x="18540" y="51494"/>
                            <a:pt x="18002" y="52212"/>
                          </a:cubicBezTo>
                          <a:cubicBezTo>
                            <a:pt x="17643" y="52630"/>
                            <a:pt x="17105" y="53408"/>
                            <a:pt x="16507" y="54125"/>
                          </a:cubicBezTo>
                          <a:moveTo>
                            <a:pt x="14832" y="53049"/>
                          </a:moveTo>
                          <a:lnTo>
                            <a:pt x="15550" y="53528"/>
                          </a:lnTo>
                          <a:cubicBezTo>
                            <a:pt x="16148" y="52750"/>
                            <a:pt x="16686" y="52032"/>
                            <a:pt x="17225" y="51315"/>
                          </a:cubicBezTo>
                          <a:cubicBezTo>
                            <a:pt x="17763" y="50597"/>
                            <a:pt x="18301" y="49879"/>
                            <a:pt x="18779" y="49161"/>
                          </a:cubicBezTo>
                          <a:cubicBezTo>
                            <a:pt x="19258" y="48444"/>
                            <a:pt x="19736" y="47786"/>
                            <a:pt x="20215" y="47068"/>
                          </a:cubicBezTo>
                          <a:cubicBezTo>
                            <a:pt x="20633" y="46351"/>
                            <a:pt x="21112" y="45693"/>
                            <a:pt x="21471" y="45035"/>
                          </a:cubicBezTo>
                          <a:cubicBezTo>
                            <a:pt x="21530" y="44975"/>
                            <a:pt x="21590" y="44855"/>
                            <a:pt x="21590" y="44796"/>
                          </a:cubicBezTo>
                          <a:cubicBezTo>
                            <a:pt x="21650" y="44736"/>
                            <a:pt x="21710" y="44616"/>
                            <a:pt x="21710" y="44556"/>
                          </a:cubicBezTo>
                          <a:cubicBezTo>
                            <a:pt x="21710" y="44497"/>
                            <a:pt x="21770" y="44377"/>
                            <a:pt x="21829" y="44317"/>
                          </a:cubicBezTo>
                          <a:cubicBezTo>
                            <a:pt x="21889" y="44257"/>
                            <a:pt x="21889" y="44138"/>
                            <a:pt x="21949" y="44078"/>
                          </a:cubicBezTo>
                          <a:cubicBezTo>
                            <a:pt x="22188" y="43659"/>
                            <a:pt x="22428" y="43181"/>
                            <a:pt x="22667" y="42762"/>
                          </a:cubicBezTo>
                          <a:cubicBezTo>
                            <a:pt x="22906" y="42344"/>
                            <a:pt x="23086" y="41865"/>
                            <a:pt x="23325" y="41446"/>
                          </a:cubicBezTo>
                          <a:cubicBezTo>
                            <a:pt x="23504" y="41028"/>
                            <a:pt x="23743" y="40549"/>
                            <a:pt x="23923" y="40130"/>
                          </a:cubicBezTo>
                          <a:cubicBezTo>
                            <a:pt x="24102" y="39712"/>
                            <a:pt x="24282" y="39293"/>
                            <a:pt x="24401" y="38815"/>
                          </a:cubicBezTo>
                          <a:cubicBezTo>
                            <a:pt x="24461" y="38695"/>
                            <a:pt x="24461" y="38635"/>
                            <a:pt x="24521" y="38516"/>
                          </a:cubicBezTo>
                          <a:cubicBezTo>
                            <a:pt x="24581" y="38396"/>
                            <a:pt x="24581" y="38336"/>
                            <a:pt x="24641" y="38217"/>
                          </a:cubicBezTo>
                          <a:cubicBezTo>
                            <a:pt x="24641" y="38097"/>
                            <a:pt x="24700" y="38037"/>
                            <a:pt x="24700" y="37918"/>
                          </a:cubicBezTo>
                          <a:cubicBezTo>
                            <a:pt x="24700" y="37798"/>
                            <a:pt x="24760" y="37738"/>
                            <a:pt x="24760" y="37619"/>
                          </a:cubicBezTo>
                          <a:cubicBezTo>
                            <a:pt x="24820" y="37499"/>
                            <a:pt x="24820" y="37380"/>
                            <a:pt x="24880" y="37200"/>
                          </a:cubicBezTo>
                          <a:cubicBezTo>
                            <a:pt x="24940" y="37081"/>
                            <a:pt x="24940" y="36961"/>
                            <a:pt x="24999" y="36781"/>
                          </a:cubicBezTo>
                          <a:cubicBezTo>
                            <a:pt x="25059" y="36662"/>
                            <a:pt x="25059" y="36542"/>
                            <a:pt x="25119" y="36363"/>
                          </a:cubicBezTo>
                          <a:cubicBezTo>
                            <a:pt x="25179" y="36243"/>
                            <a:pt x="25179" y="36123"/>
                            <a:pt x="25238" y="35944"/>
                          </a:cubicBezTo>
                          <a:cubicBezTo>
                            <a:pt x="25238" y="35824"/>
                            <a:pt x="25298" y="35765"/>
                            <a:pt x="25298" y="35645"/>
                          </a:cubicBezTo>
                          <a:cubicBezTo>
                            <a:pt x="25298" y="35526"/>
                            <a:pt x="25358" y="35466"/>
                            <a:pt x="25358" y="35346"/>
                          </a:cubicBezTo>
                          <a:cubicBezTo>
                            <a:pt x="25358" y="35227"/>
                            <a:pt x="25418" y="35167"/>
                            <a:pt x="25418" y="35047"/>
                          </a:cubicBezTo>
                          <a:cubicBezTo>
                            <a:pt x="25418" y="34927"/>
                            <a:pt x="25478" y="34868"/>
                            <a:pt x="25478" y="34748"/>
                          </a:cubicBezTo>
                          <a:cubicBezTo>
                            <a:pt x="25537" y="34509"/>
                            <a:pt x="25537" y="34210"/>
                            <a:pt x="25597" y="33970"/>
                          </a:cubicBezTo>
                          <a:cubicBezTo>
                            <a:pt x="25657" y="33731"/>
                            <a:pt x="25657" y="33432"/>
                            <a:pt x="25657" y="33193"/>
                          </a:cubicBezTo>
                          <a:cubicBezTo>
                            <a:pt x="25657" y="32954"/>
                            <a:pt x="25717" y="32655"/>
                            <a:pt x="25717" y="32415"/>
                          </a:cubicBezTo>
                          <a:cubicBezTo>
                            <a:pt x="25717" y="32176"/>
                            <a:pt x="25717" y="31877"/>
                            <a:pt x="25717" y="31638"/>
                          </a:cubicBezTo>
                          <a:cubicBezTo>
                            <a:pt x="25717" y="31578"/>
                            <a:pt x="25717" y="31519"/>
                            <a:pt x="25717" y="31459"/>
                          </a:cubicBezTo>
                          <a:cubicBezTo>
                            <a:pt x="25717" y="31399"/>
                            <a:pt x="25717" y="31339"/>
                            <a:pt x="25717" y="31279"/>
                          </a:cubicBezTo>
                          <a:cubicBezTo>
                            <a:pt x="25717" y="31219"/>
                            <a:pt x="25717" y="31159"/>
                            <a:pt x="25717" y="31100"/>
                          </a:cubicBezTo>
                          <a:cubicBezTo>
                            <a:pt x="25717" y="31040"/>
                            <a:pt x="25717" y="30980"/>
                            <a:pt x="25717" y="30920"/>
                          </a:cubicBezTo>
                          <a:cubicBezTo>
                            <a:pt x="25717" y="30920"/>
                            <a:pt x="25717" y="30860"/>
                            <a:pt x="25717" y="30860"/>
                          </a:cubicBezTo>
                          <a:cubicBezTo>
                            <a:pt x="25717" y="30860"/>
                            <a:pt x="25717" y="30800"/>
                            <a:pt x="25717" y="30800"/>
                          </a:cubicBezTo>
                          <a:cubicBezTo>
                            <a:pt x="25717" y="30800"/>
                            <a:pt x="25717" y="30741"/>
                            <a:pt x="25717" y="30741"/>
                          </a:cubicBezTo>
                          <a:cubicBezTo>
                            <a:pt x="25717" y="30741"/>
                            <a:pt x="25717" y="30681"/>
                            <a:pt x="25717" y="30681"/>
                          </a:cubicBezTo>
                          <a:cubicBezTo>
                            <a:pt x="25717" y="30561"/>
                            <a:pt x="25717" y="30382"/>
                            <a:pt x="25657" y="30262"/>
                          </a:cubicBezTo>
                          <a:cubicBezTo>
                            <a:pt x="25657" y="30143"/>
                            <a:pt x="25597" y="29963"/>
                            <a:pt x="25597" y="29844"/>
                          </a:cubicBezTo>
                          <a:cubicBezTo>
                            <a:pt x="25597" y="29724"/>
                            <a:pt x="25537" y="29545"/>
                            <a:pt x="25537" y="29425"/>
                          </a:cubicBezTo>
                          <a:cubicBezTo>
                            <a:pt x="25537" y="29305"/>
                            <a:pt x="25478" y="29126"/>
                            <a:pt x="25478" y="29006"/>
                          </a:cubicBezTo>
                          <a:cubicBezTo>
                            <a:pt x="25418" y="28827"/>
                            <a:pt x="25418" y="28648"/>
                            <a:pt x="25358" y="28468"/>
                          </a:cubicBezTo>
                          <a:cubicBezTo>
                            <a:pt x="25298" y="28289"/>
                            <a:pt x="25298" y="28109"/>
                            <a:pt x="25238" y="27930"/>
                          </a:cubicBezTo>
                          <a:cubicBezTo>
                            <a:pt x="25179" y="27751"/>
                            <a:pt x="25179" y="27571"/>
                            <a:pt x="25119" y="27392"/>
                          </a:cubicBezTo>
                          <a:cubicBezTo>
                            <a:pt x="25059" y="27212"/>
                            <a:pt x="24999" y="27033"/>
                            <a:pt x="24940" y="26853"/>
                          </a:cubicBezTo>
                          <a:cubicBezTo>
                            <a:pt x="24880" y="26734"/>
                            <a:pt x="24880" y="26614"/>
                            <a:pt x="24820" y="26495"/>
                          </a:cubicBezTo>
                          <a:cubicBezTo>
                            <a:pt x="24760" y="26375"/>
                            <a:pt x="24760" y="26255"/>
                            <a:pt x="24700" y="26136"/>
                          </a:cubicBezTo>
                          <a:cubicBezTo>
                            <a:pt x="24641" y="26016"/>
                            <a:pt x="24641" y="25897"/>
                            <a:pt x="24581" y="25777"/>
                          </a:cubicBezTo>
                          <a:cubicBezTo>
                            <a:pt x="24521" y="25657"/>
                            <a:pt x="24461" y="25538"/>
                            <a:pt x="24461" y="25418"/>
                          </a:cubicBezTo>
                          <a:cubicBezTo>
                            <a:pt x="24461" y="25418"/>
                            <a:pt x="24461" y="25358"/>
                            <a:pt x="24461" y="25358"/>
                          </a:cubicBezTo>
                          <a:cubicBezTo>
                            <a:pt x="24461" y="25358"/>
                            <a:pt x="24461" y="25298"/>
                            <a:pt x="24461" y="25298"/>
                          </a:cubicBezTo>
                          <a:cubicBezTo>
                            <a:pt x="24461" y="25298"/>
                            <a:pt x="24461" y="25238"/>
                            <a:pt x="24461" y="25238"/>
                          </a:cubicBezTo>
                          <a:cubicBezTo>
                            <a:pt x="24461" y="25238"/>
                            <a:pt x="24461" y="25179"/>
                            <a:pt x="24461" y="25179"/>
                          </a:cubicBezTo>
                          <a:cubicBezTo>
                            <a:pt x="24401" y="24999"/>
                            <a:pt x="24342" y="24820"/>
                            <a:pt x="24222" y="24700"/>
                          </a:cubicBezTo>
                          <a:cubicBezTo>
                            <a:pt x="24162" y="24521"/>
                            <a:pt x="24042" y="24342"/>
                            <a:pt x="23983" y="24222"/>
                          </a:cubicBezTo>
                          <a:cubicBezTo>
                            <a:pt x="23923" y="24043"/>
                            <a:pt x="23803" y="23863"/>
                            <a:pt x="23743" y="23743"/>
                          </a:cubicBezTo>
                          <a:cubicBezTo>
                            <a:pt x="23683" y="23564"/>
                            <a:pt x="23564" y="23384"/>
                            <a:pt x="23504" y="23265"/>
                          </a:cubicBezTo>
                          <a:cubicBezTo>
                            <a:pt x="23444" y="23145"/>
                            <a:pt x="23384" y="23026"/>
                            <a:pt x="23325" y="22966"/>
                          </a:cubicBezTo>
                          <a:cubicBezTo>
                            <a:pt x="23265" y="22846"/>
                            <a:pt x="23205" y="22727"/>
                            <a:pt x="23145" y="22667"/>
                          </a:cubicBezTo>
                          <a:cubicBezTo>
                            <a:pt x="23086" y="22547"/>
                            <a:pt x="23026" y="22428"/>
                            <a:pt x="22966" y="22368"/>
                          </a:cubicBezTo>
                          <a:cubicBezTo>
                            <a:pt x="22906" y="22248"/>
                            <a:pt x="22846" y="22129"/>
                            <a:pt x="22787" y="22069"/>
                          </a:cubicBezTo>
                          <a:cubicBezTo>
                            <a:pt x="22727" y="21949"/>
                            <a:pt x="22667" y="21829"/>
                            <a:pt x="22607" y="21770"/>
                          </a:cubicBezTo>
                          <a:cubicBezTo>
                            <a:pt x="22547" y="21650"/>
                            <a:pt x="22488" y="21530"/>
                            <a:pt x="22428" y="21471"/>
                          </a:cubicBezTo>
                          <a:cubicBezTo>
                            <a:pt x="22368" y="21351"/>
                            <a:pt x="22308" y="21231"/>
                            <a:pt x="22248" y="21172"/>
                          </a:cubicBezTo>
                          <a:cubicBezTo>
                            <a:pt x="22188" y="21112"/>
                            <a:pt x="22128" y="20933"/>
                            <a:pt x="22009" y="20873"/>
                          </a:cubicBezTo>
                          <a:cubicBezTo>
                            <a:pt x="21889" y="20753"/>
                            <a:pt x="21829" y="20574"/>
                            <a:pt x="21710" y="20454"/>
                          </a:cubicBezTo>
                          <a:cubicBezTo>
                            <a:pt x="21590" y="20334"/>
                            <a:pt x="21530" y="20155"/>
                            <a:pt x="21411" y="20035"/>
                          </a:cubicBezTo>
                          <a:cubicBezTo>
                            <a:pt x="21291" y="19916"/>
                            <a:pt x="21231" y="19736"/>
                            <a:pt x="21112" y="19617"/>
                          </a:cubicBezTo>
                          <a:cubicBezTo>
                            <a:pt x="20992" y="19497"/>
                            <a:pt x="20873" y="19318"/>
                            <a:pt x="20813" y="19198"/>
                          </a:cubicBezTo>
                          <a:cubicBezTo>
                            <a:pt x="20753" y="19079"/>
                            <a:pt x="20633" y="18959"/>
                            <a:pt x="20574" y="18839"/>
                          </a:cubicBezTo>
                          <a:cubicBezTo>
                            <a:pt x="20514" y="18720"/>
                            <a:pt x="20394" y="18600"/>
                            <a:pt x="20274" y="18480"/>
                          </a:cubicBezTo>
                          <a:cubicBezTo>
                            <a:pt x="20155" y="18361"/>
                            <a:pt x="20095" y="18241"/>
                            <a:pt x="19975" y="18121"/>
                          </a:cubicBezTo>
                          <a:cubicBezTo>
                            <a:pt x="19856" y="18002"/>
                            <a:pt x="19796" y="17882"/>
                            <a:pt x="19676" y="17763"/>
                          </a:cubicBezTo>
                          <a:cubicBezTo>
                            <a:pt x="19079" y="17045"/>
                            <a:pt x="18420" y="16327"/>
                            <a:pt x="17763" y="15610"/>
                          </a:cubicBezTo>
                          <a:cubicBezTo>
                            <a:pt x="17045" y="14892"/>
                            <a:pt x="16327" y="14174"/>
                            <a:pt x="15550" y="13397"/>
                          </a:cubicBezTo>
                          <a:cubicBezTo>
                            <a:pt x="14772" y="12679"/>
                            <a:pt x="13935" y="11902"/>
                            <a:pt x="13038" y="11124"/>
                          </a:cubicBezTo>
                          <a:cubicBezTo>
                            <a:pt x="12141" y="10347"/>
                            <a:pt x="11244" y="9569"/>
                            <a:pt x="10227" y="8791"/>
                          </a:cubicBezTo>
                          <a:lnTo>
                            <a:pt x="9509" y="9689"/>
                          </a:lnTo>
                          <a:cubicBezTo>
                            <a:pt x="10586" y="10586"/>
                            <a:pt x="11662" y="11423"/>
                            <a:pt x="12619" y="12260"/>
                          </a:cubicBezTo>
                          <a:cubicBezTo>
                            <a:pt x="13576" y="13098"/>
                            <a:pt x="14533" y="13935"/>
                            <a:pt x="15371" y="14772"/>
                          </a:cubicBezTo>
                          <a:cubicBezTo>
                            <a:pt x="16208" y="15610"/>
                            <a:pt x="16985" y="16387"/>
                            <a:pt x="17763" y="17225"/>
                          </a:cubicBezTo>
                          <a:cubicBezTo>
                            <a:pt x="18480" y="18002"/>
                            <a:pt x="19198" y="18839"/>
                            <a:pt x="19796" y="19617"/>
                          </a:cubicBezTo>
                          <a:cubicBezTo>
                            <a:pt x="19856" y="19736"/>
                            <a:pt x="19975" y="19796"/>
                            <a:pt x="20035" y="19916"/>
                          </a:cubicBezTo>
                          <a:cubicBezTo>
                            <a:pt x="20095" y="20035"/>
                            <a:pt x="20215" y="20095"/>
                            <a:pt x="20274" y="20215"/>
                          </a:cubicBezTo>
                          <a:cubicBezTo>
                            <a:pt x="20334" y="20334"/>
                            <a:pt x="20454" y="20394"/>
                            <a:pt x="20514" y="20514"/>
                          </a:cubicBezTo>
                          <a:cubicBezTo>
                            <a:pt x="20574" y="20634"/>
                            <a:pt x="20693" y="20693"/>
                            <a:pt x="20753" y="20813"/>
                          </a:cubicBezTo>
                          <a:cubicBezTo>
                            <a:pt x="20813" y="20873"/>
                            <a:pt x="20873" y="20992"/>
                            <a:pt x="20933" y="21052"/>
                          </a:cubicBezTo>
                          <a:cubicBezTo>
                            <a:pt x="20992" y="21112"/>
                            <a:pt x="21052" y="21231"/>
                            <a:pt x="21112" y="21291"/>
                          </a:cubicBezTo>
                          <a:cubicBezTo>
                            <a:pt x="21172" y="21351"/>
                            <a:pt x="21231" y="21471"/>
                            <a:pt x="21291" y="21530"/>
                          </a:cubicBezTo>
                          <a:cubicBezTo>
                            <a:pt x="21351" y="21590"/>
                            <a:pt x="21411" y="21710"/>
                            <a:pt x="21471" y="21770"/>
                          </a:cubicBezTo>
                          <a:cubicBezTo>
                            <a:pt x="21471" y="21829"/>
                            <a:pt x="21530" y="21889"/>
                            <a:pt x="21530" y="21889"/>
                          </a:cubicBezTo>
                          <a:cubicBezTo>
                            <a:pt x="21530" y="21949"/>
                            <a:pt x="21590" y="22009"/>
                            <a:pt x="21590" y="22009"/>
                          </a:cubicBezTo>
                          <a:cubicBezTo>
                            <a:pt x="21590" y="22069"/>
                            <a:pt x="21650" y="22129"/>
                            <a:pt x="21650" y="22129"/>
                          </a:cubicBezTo>
                          <a:cubicBezTo>
                            <a:pt x="21650" y="22188"/>
                            <a:pt x="21710" y="22248"/>
                            <a:pt x="21710" y="22248"/>
                          </a:cubicBezTo>
                          <a:cubicBezTo>
                            <a:pt x="21770" y="22368"/>
                            <a:pt x="21829" y="22428"/>
                            <a:pt x="21889" y="22547"/>
                          </a:cubicBezTo>
                          <a:cubicBezTo>
                            <a:pt x="21949" y="22667"/>
                            <a:pt x="22009" y="22727"/>
                            <a:pt x="22069" y="22846"/>
                          </a:cubicBezTo>
                          <a:cubicBezTo>
                            <a:pt x="22128" y="22966"/>
                            <a:pt x="22188" y="23026"/>
                            <a:pt x="22248" y="23145"/>
                          </a:cubicBezTo>
                          <a:cubicBezTo>
                            <a:pt x="22308" y="23265"/>
                            <a:pt x="22368" y="23325"/>
                            <a:pt x="22428" y="23444"/>
                          </a:cubicBezTo>
                          <a:cubicBezTo>
                            <a:pt x="22428" y="23504"/>
                            <a:pt x="22488" y="23504"/>
                            <a:pt x="22488" y="23564"/>
                          </a:cubicBezTo>
                          <a:cubicBezTo>
                            <a:pt x="22488" y="23624"/>
                            <a:pt x="22547" y="23624"/>
                            <a:pt x="22547" y="23683"/>
                          </a:cubicBezTo>
                          <a:cubicBezTo>
                            <a:pt x="22547" y="23743"/>
                            <a:pt x="22607" y="23743"/>
                            <a:pt x="22607" y="23803"/>
                          </a:cubicBezTo>
                          <a:cubicBezTo>
                            <a:pt x="22607" y="23863"/>
                            <a:pt x="22667" y="23863"/>
                            <a:pt x="22667" y="23923"/>
                          </a:cubicBezTo>
                          <a:cubicBezTo>
                            <a:pt x="22787" y="24162"/>
                            <a:pt x="22966" y="24461"/>
                            <a:pt x="23086" y="24700"/>
                          </a:cubicBezTo>
                          <a:cubicBezTo>
                            <a:pt x="23205" y="24940"/>
                            <a:pt x="23325" y="25238"/>
                            <a:pt x="23444" y="25478"/>
                          </a:cubicBezTo>
                          <a:cubicBezTo>
                            <a:pt x="23564" y="25717"/>
                            <a:pt x="23683" y="26016"/>
                            <a:pt x="23743" y="26255"/>
                          </a:cubicBezTo>
                          <a:cubicBezTo>
                            <a:pt x="23863" y="26495"/>
                            <a:pt x="23923" y="26794"/>
                            <a:pt x="24042" y="27033"/>
                          </a:cubicBezTo>
                          <a:cubicBezTo>
                            <a:pt x="24102" y="27152"/>
                            <a:pt x="24102" y="27272"/>
                            <a:pt x="24162" y="27392"/>
                          </a:cubicBezTo>
                          <a:cubicBezTo>
                            <a:pt x="24222" y="27511"/>
                            <a:pt x="24222" y="27631"/>
                            <a:pt x="24282" y="27751"/>
                          </a:cubicBezTo>
                          <a:cubicBezTo>
                            <a:pt x="24342" y="27870"/>
                            <a:pt x="24342" y="27990"/>
                            <a:pt x="24401" y="28109"/>
                          </a:cubicBezTo>
                          <a:cubicBezTo>
                            <a:pt x="24461" y="28229"/>
                            <a:pt x="24461" y="28349"/>
                            <a:pt x="24521" y="28468"/>
                          </a:cubicBezTo>
                          <a:cubicBezTo>
                            <a:pt x="24521" y="28468"/>
                            <a:pt x="24521" y="28528"/>
                            <a:pt x="24521" y="28528"/>
                          </a:cubicBezTo>
                          <a:cubicBezTo>
                            <a:pt x="24521" y="28528"/>
                            <a:pt x="24521" y="28588"/>
                            <a:pt x="24521" y="28588"/>
                          </a:cubicBezTo>
                          <a:cubicBezTo>
                            <a:pt x="24521" y="28588"/>
                            <a:pt x="24521" y="28648"/>
                            <a:pt x="24521" y="28648"/>
                          </a:cubicBezTo>
                          <a:cubicBezTo>
                            <a:pt x="24521" y="28648"/>
                            <a:pt x="24521" y="28707"/>
                            <a:pt x="24521" y="28707"/>
                          </a:cubicBezTo>
                          <a:cubicBezTo>
                            <a:pt x="24521" y="28827"/>
                            <a:pt x="24581" y="28946"/>
                            <a:pt x="24581" y="29066"/>
                          </a:cubicBezTo>
                          <a:cubicBezTo>
                            <a:pt x="24581" y="29186"/>
                            <a:pt x="24641" y="29305"/>
                            <a:pt x="24641" y="29425"/>
                          </a:cubicBezTo>
                          <a:cubicBezTo>
                            <a:pt x="24641" y="29545"/>
                            <a:pt x="24700" y="29664"/>
                            <a:pt x="24700" y="29784"/>
                          </a:cubicBezTo>
                          <a:cubicBezTo>
                            <a:pt x="24700" y="29904"/>
                            <a:pt x="24760" y="30023"/>
                            <a:pt x="24760" y="30143"/>
                          </a:cubicBezTo>
                          <a:cubicBezTo>
                            <a:pt x="24760" y="30203"/>
                            <a:pt x="24760" y="30203"/>
                            <a:pt x="24760" y="30262"/>
                          </a:cubicBezTo>
                          <a:cubicBezTo>
                            <a:pt x="24760" y="30322"/>
                            <a:pt x="24760" y="30322"/>
                            <a:pt x="24760" y="30382"/>
                          </a:cubicBezTo>
                          <a:cubicBezTo>
                            <a:pt x="24760" y="30442"/>
                            <a:pt x="24760" y="30442"/>
                            <a:pt x="24760" y="30502"/>
                          </a:cubicBezTo>
                          <a:cubicBezTo>
                            <a:pt x="24760" y="30561"/>
                            <a:pt x="24760" y="30561"/>
                            <a:pt x="24760" y="30621"/>
                          </a:cubicBezTo>
                          <a:cubicBezTo>
                            <a:pt x="24760" y="30741"/>
                            <a:pt x="24760" y="30800"/>
                            <a:pt x="24760" y="30920"/>
                          </a:cubicBezTo>
                          <a:cubicBezTo>
                            <a:pt x="24760" y="31040"/>
                            <a:pt x="24760" y="31100"/>
                            <a:pt x="24760" y="31219"/>
                          </a:cubicBezTo>
                          <a:cubicBezTo>
                            <a:pt x="24760" y="31339"/>
                            <a:pt x="24760" y="31399"/>
                            <a:pt x="24760" y="31519"/>
                          </a:cubicBezTo>
                          <a:cubicBezTo>
                            <a:pt x="24760" y="31638"/>
                            <a:pt x="24760" y="31698"/>
                            <a:pt x="24760" y="31817"/>
                          </a:cubicBezTo>
                          <a:cubicBezTo>
                            <a:pt x="24760" y="31877"/>
                            <a:pt x="24760" y="31937"/>
                            <a:pt x="24760" y="31997"/>
                          </a:cubicBezTo>
                          <a:cubicBezTo>
                            <a:pt x="24760" y="32057"/>
                            <a:pt x="24760" y="32116"/>
                            <a:pt x="24760" y="32176"/>
                          </a:cubicBezTo>
                          <a:cubicBezTo>
                            <a:pt x="24760" y="32236"/>
                            <a:pt x="24760" y="32296"/>
                            <a:pt x="24760" y="32356"/>
                          </a:cubicBezTo>
                          <a:cubicBezTo>
                            <a:pt x="24760" y="32415"/>
                            <a:pt x="24760" y="32475"/>
                            <a:pt x="24760" y="32535"/>
                          </a:cubicBezTo>
                          <a:cubicBezTo>
                            <a:pt x="24760" y="32655"/>
                            <a:pt x="24760" y="32774"/>
                            <a:pt x="24760" y="32894"/>
                          </a:cubicBezTo>
                          <a:cubicBezTo>
                            <a:pt x="24760" y="33014"/>
                            <a:pt x="24760" y="33133"/>
                            <a:pt x="24760" y="33253"/>
                          </a:cubicBezTo>
                          <a:cubicBezTo>
                            <a:pt x="24760" y="33373"/>
                            <a:pt x="24760" y="33492"/>
                            <a:pt x="24700" y="33612"/>
                          </a:cubicBezTo>
                          <a:cubicBezTo>
                            <a:pt x="24641" y="33731"/>
                            <a:pt x="24700" y="33851"/>
                            <a:pt x="24641" y="33970"/>
                          </a:cubicBezTo>
                          <a:cubicBezTo>
                            <a:pt x="24641" y="34090"/>
                            <a:pt x="24641" y="34150"/>
                            <a:pt x="24581" y="34269"/>
                          </a:cubicBezTo>
                          <a:cubicBezTo>
                            <a:pt x="24581" y="34389"/>
                            <a:pt x="24581" y="34449"/>
                            <a:pt x="24521" y="34568"/>
                          </a:cubicBezTo>
                          <a:cubicBezTo>
                            <a:pt x="24521" y="34688"/>
                            <a:pt x="24461" y="34748"/>
                            <a:pt x="24461" y="34868"/>
                          </a:cubicBezTo>
                          <a:cubicBezTo>
                            <a:pt x="24461" y="34987"/>
                            <a:pt x="24401" y="35047"/>
                            <a:pt x="24401" y="35167"/>
                          </a:cubicBezTo>
                          <a:cubicBezTo>
                            <a:pt x="24401" y="35286"/>
                            <a:pt x="24342" y="35406"/>
                            <a:pt x="24342" y="35585"/>
                          </a:cubicBezTo>
                          <a:cubicBezTo>
                            <a:pt x="24342" y="35705"/>
                            <a:pt x="24282" y="35824"/>
                            <a:pt x="24282" y="36004"/>
                          </a:cubicBezTo>
                          <a:cubicBezTo>
                            <a:pt x="24222" y="36123"/>
                            <a:pt x="24222" y="36243"/>
                            <a:pt x="24162" y="36422"/>
                          </a:cubicBezTo>
                          <a:cubicBezTo>
                            <a:pt x="24102" y="36542"/>
                            <a:pt x="24102" y="36662"/>
                            <a:pt x="24042" y="36841"/>
                          </a:cubicBezTo>
                          <a:cubicBezTo>
                            <a:pt x="24042" y="36961"/>
                            <a:pt x="23983" y="37021"/>
                            <a:pt x="23983" y="37140"/>
                          </a:cubicBezTo>
                          <a:cubicBezTo>
                            <a:pt x="23983" y="37260"/>
                            <a:pt x="23923" y="37320"/>
                            <a:pt x="23923" y="37439"/>
                          </a:cubicBezTo>
                          <a:cubicBezTo>
                            <a:pt x="23923" y="37559"/>
                            <a:pt x="23863" y="37619"/>
                            <a:pt x="23863" y="37738"/>
                          </a:cubicBezTo>
                          <a:cubicBezTo>
                            <a:pt x="23863" y="37858"/>
                            <a:pt x="23803" y="37918"/>
                            <a:pt x="23743" y="38037"/>
                          </a:cubicBezTo>
                          <a:cubicBezTo>
                            <a:pt x="23624" y="38456"/>
                            <a:pt x="23444" y="38875"/>
                            <a:pt x="23265" y="39353"/>
                          </a:cubicBezTo>
                          <a:cubicBezTo>
                            <a:pt x="23086" y="39772"/>
                            <a:pt x="22906" y="40250"/>
                            <a:pt x="22727" y="40669"/>
                          </a:cubicBezTo>
                          <a:cubicBezTo>
                            <a:pt x="22547" y="41088"/>
                            <a:pt x="22308" y="41566"/>
                            <a:pt x="22069" y="41985"/>
                          </a:cubicBezTo>
                          <a:cubicBezTo>
                            <a:pt x="21829" y="42403"/>
                            <a:pt x="21590" y="42882"/>
                            <a:pt x="21351" y="43300"/>
                          </a:cubicBezTo>
                          <a:cubicBezTo>
                            <a:pt x="21291" y="43360"/>
                            <a:pt x="21291" y="43480"/>
                            <a:pt x="21231" y="43539"/>
                          </a:cubicBezTo>
                          <a:cubicBezTo>
                            <a:pt x="21172" y="43599"/>
                            <a:pt x="21172" y="43719"/>
                            <a:pt x="21112" y="43779"/>
                          </a:cubicBezTo>
                          <a:cubicBezTo>
                            <a:pt x="21052" y="43839"/>
                            <a:pt x="21052" y="43958"/>
                            <a:pt x="20992" y="44018"/>
                          </a:cubicBezTo>
                          <a:cubicBezTo>
                            <a:pt x="20933" y="44078"/>
                            <a:pt x="20873" y="44198"/>
                            <a:pt x="20873" y="44257"/>
                          </a:cubicBezTo>
                          <a:cubicBezTo>
                            <a:pt x="20454" y="44915"/>
                            <a:pt x="20035" y="45633"/>
                            <a:pt x="19617" y="46291"/>
                          </a:cubicBezTo>
                          <a:cubicBezTo>
                            <a:pt x="19198" y="47008"/>
                            <a:pt x="18720" y="47666"/>
                            <a:pt x="18241" y="48384"/>
                          </a:cubicBezTo>
                          <a:cubicBezTo>
                            <a:pt x="17763" y="49101"/>
                            <a:pt x="17225" y="49820"/>
                            <a:pt x="16686" y="50537"/>
                          </a:cubicBezTo>
                          <a:cubicBezTo>
                            <a:pt x="15968" y="51554"/>
                            <a:pt x="15430" y="52271"/>
                            <a:pt x="14832" y="53049"/>
                          </a:cubicBezTo>
                          <a:moveTo>
                            <a:pt x="14652" y="56518"/>
                          </a:moveTo>
                          <a:lnTo>
                            <a:pt x="15371" y="56996"/>
                          </a:lnTo>
                          <a:cubicBezTo>
                            <a:pt x="15490" y="56877"/>
                            <a:pt x="15550" y="56757"/>
                            <a:pt x="15669" y="56637"/>
                          </a:cubicBezTo>
                          <a:cubicBezTo>
                            <a:pt x="15789" y="56518"/>
                            <a:pt x="15849" y="56398"/>
                            <a:pt x="15968" y="56278"/>
                          </a:cubicBezTo>
                          <a:cubicBezTo>
                            <a:pt x="16088" y="56159"/>
                            <a:pt x="16148" y="56039"/>
                            <a:pt x="16267" y="55920"/>
                          </a:cubicBezTo>
                          <a:cubicBezTo>
                            <a:pt x="16387" y="55800"/>
                            <a:pt x="16447" y="55681"/>
                            <a:pt x="16566" y="55561"/>
                          </a:cubicBezTo>
                          <a:lnTo>
                            <a:pt x="15849" y="55082"/>
                          </a:lnTo>
                          <a:cubicBezTo>
                            <a:pt x="15729" y="55202"/>
                            <a:pt x="15669" y="55322"/>
                            <a:pt x="15550" y="55441"/>
                          </a:cubicBezTo>
                          <a:cubicBezTo>
                            <a:pt x="15430" y="55561"/>
                            <a:pt x="15371" y="55681"/>
                            <a:pt x="15251" y="55800"/>
                          </a:cubicBezTo>
                          <a:cubicBezTo>
                            <a:pt x="15131" y="55920"/>
                            <a:pt x="15071" y="56039"/>
                            <a:pt x="14952" y="56159"/>
                          </a:cubicBezTo>
                          <a:cubicBezTo>
                            <a:pt x="14832" y="56278"/>
                            <a:pt x="14772" y="56398"/>
                            <a:pt x="14652" y="56518"/>
                          </a:cubicBezTo>
                          <a:moveTo>
                            <a:pt x="12978" y="55441"/>
                          </a:moveTo>
                          <a:lnTo>
                            <a:pt x="13696" y="55920"/>
                          </a:lnTo>
                          <a:cubicBezTo>
                            <a:pt x="13815" y="55800"/>
                            <a:pt x="13875" y="55681"/>
                            <a:pt x="13995" y="55561"/>
                          </a:cubicBezTo>
                          <a:cubicBezTo>
                            <a:pt x="14114" y="55441"/>
                            <a:pt x="14174" y="55322"/>
                            <a:pt x="14294" y="55202"/>
                          </a:cubicBezTo>
                          <a:cubicBezTo>
                            <a:pt x="14413" y="55082"/>
                            <a:pt x="14473" y="54963"/>
                            <a:pt x="14593" y="54843"/>
                          </a:cubicBezTo>
                          <a:cubicBezTo>
                            <a:pt x="14712" y="54723"/>
                            <a:pt x="14772" y="54604"/>
                            <a:pt x="14892" y="54484"/>
                          </a:cubicBezTo>
                          <a:lnTo>
                            <a:pt x="14174" y="54006"/>
                          </a:lnTo>
                          <a:cubicBezTo>
                            <a:pt x="14055" y="54125"/>
                            <a:pt x="13995" y="54245"/>
                            <a:pt x="13875" y="54365"/>
                          </a:cubicBezTo>
                          <a:cubicBezTo>
                            <a:pt x="13756" y="54484"/>
                            <a:pt x="13696" y="54604"/>
                            <a:pt x="13576" y="54723"/>
                          </a:cubicBezTo>
                          <a:cubicBezTo>
                            <a:pt x="13457" y="54843"/>
                            <a:pt x="13397" y="54963"/>
                            <a:pt x="13277" y="55082"/>
                          </a:cubicBezTo>
                          <a:cubicBezTo>
                            <a:pt x="13217" y="55142"/>
                            <a:pt x="13098" y="55322"/>
                            <a:pt x="12978" y="55441"/>
                          </a:cubicBezTo>
                          <a:moveTo>
                            <a:pt x="12918" y="58731"/>
                          </a:moveTo>
                          <a:lnTo>
                            <a:pt x="13636" y="59209"/>
                          </a:lnTo>
                          <a:cubicBezTo>
                            <a:pt x="13696" y="59090"/>
                            <a:pt x="13815" y="58970"/>
                            <a:pt x="13875" y="58850"/>
                          </a:cubicBezTo>
                          <a:cubicBezTo>
                            <a:pt x="13935" y="58731"/>
                            <a:pt x="14055" y="58611"/>
                            <a:pt x="14114" y="58491"/>
                          </a:cubicBezTo>
                          <a:cubicBezTo>
                            <a:pt x="14174" y="58372"/>
                            <a:pt x="14294" y="58252"/>
                            <a:pt x="14354" y="58192"/>
                          </a:cubicBezTo>
                          <a:cubicBezTo>
                            <a:pt x="14413" y="58132"/>
                            <a:pt x="14533" y="57953"/>
                            <a:pt x="14593" y="57893"/>
                          </a:cubicBezTo>
                          <a:lnTo>
                            <a:pt x="13875" y="57415"/>
                          </a:lnTo>
                          <a:cubicBezTo>
                            <a:pt x="13815" y="57535"/>
                            <a:pt x="13696" y="57654"/>
                            <a:pt x="13636" y="57714"/>
                          </a:cubicBezTo>
                          <a:cubicBezTo>
                            <a:pt x="13576" y="57774"/>
                            <a:pt x="13457" y="57953"/>
                            <a:pt x="13397" y="58013"/>
                          </a:cubicBezTo>
                          <a:cubicBezTo>
                            <a:pt x="13337" y="58132"/>
                            <a:pt x="13217" y="58252"/>
                            <a:pt x="13157" y="58372"/>
                          </a:cubicBezTo>
                          <a:cubicBezTo>
                            <a:pt x="13098" y="58491"/>
                            <a:pt x="13038" y="58611"/>
                            <a:pt x="12918" y="58731"/>
                          </a:cubicBezTo>
                          <a:moveTo>
                            <a:pt x="11244" y="57594"/>
                          </a:moveTo>
                          <a:lnTo>
                            <a:pt x="11961" y="58073"/>
                          </a:lnTo>
                          <a:cubicBezTo>
                            <a:pt x="12021" y="57953"/>
                            <a:pt x="12141" y="57833"/>
                            <a:pt x="12201" y="57714"/>
                          </a:cubicBezTo>
                          <a:cubicBezTo>
                            <a:pt x="12260" y="57594"/>
                            <a:pt x="12380" y="57475"/>
                            <a:pt x="12440" y="57355"/>
                          </a:cubicBezTo>
                          <a:cubicBezTo>
                            <a:pt x="12500" y="57236"/>
                            <a:pt x="12619" y="57116"/>
                            <a:pt x="12679" y="57056"/>
                          </a:cubicBezTo>
                          <a:cubicBezTo>
                            <a:pt x="12739" y="56937"/>
                            <a:pt x="12858" y="56817"/>
                            <a:pt x="12918" y="56757"/>
                          </a:cubicBezTo>
                          <a:lnTo>
                            <a:pt x="12201" y="56278"/>
                          </a:lnTo>
                          <a:cubicBezTo>
                            <a:pt x="12141" y="56398"/>
                            <a:pt x="12021" y="56518"/>
                            <a:pt x="11961" y="56577"/>
                          </a:cubicBezTo>
                          <a:cubicBezTo>
                            <a:pt x="11902" y="56697"/>
                            <a:pt x="11782" y="56817"/>
                            <a:pt x="11722" y="56937"/>
                          </a:cubicBezTo>
                          <a:cubicBezTo>
                            <a:pt x="11662" y="57056"/>
                            <a:pt x="11543" y="57176"/>
                            <a:pt x="11483" y="57295"/>
                          </a:cubicBezTo>
                          <a:cubicBezTo>
                            <a:pt x="11423" y="57415"/>
                            <a:pt x="11303" y="57535"/>
                            <a:pt x="11244" y="57594"/>
                          </a:cubicBezTo>
                          <a:moveTo>
                            <a:pt x="1196" y="70034"/>
                          </a:moveTo>
                          <a:lnTo>
                            <a:pt x="3648" y="71589"/>
                          </a:lnTo>
                          <a:lnTo>
                            <a:pt x="3708" y="71470"/>
                          </a:lnTo>
                          <a:cubicBezTo>
                            <a:pt x="4067" y="70991"/>
                            <a:pt x="4486" y="70513"/>
                            <a:pt x="4844" y="70034"/>
                          </a:cubicBezTo>
                          <a:cubicBezTo>
                            <a:pt x="5203" y="69556"/>
                            <a:pt x="5622" y="69077"/>
                            <a:pt x="5981" y="68599"/>
                          </a:cubicBezTo>
                          <a:cubicBezTo>
                            <a:pt x="6340" y="68121"/>
                            <a:pt x="6758" y="67642"/>
                            <a:pt x="7117" y="67223"/>
                          </a:cubicBezTo>
                          <a:cubicBezTo>
                            <a:pt x="7476" y="66745"/>
                            <a:pt x="7835" y="66326"/>
                            <a:pt x="8253" y="65848"/>
                          </a:cubicBezTo>
                          <a:cubicBezTo>
                            <a:pt x="8313" y="65788"/>
                            <a:pt x="8373" y="65728"/>
                            <a:pt x="8433" y="65608"/>
                          </a:cubicBezTo>
                          <a:cubicBezTo>
                            <a:pt x="8493" y="65548"/>
                            <a:pt x="8552" y="65489"/>
                            <a:pt x="8612" y="65369"/>
                          </a:cubicBezTo>
                          <a:cubicBezTo>
                            <a:pt x="8672" y="65250"/>
                            <a:pt x="8732" y="65250"/>
                            <a:pt x="8791" y="65130"/>
                          </a:cubicBezTo>
                          <a:cubicBezTo>
                            <a:pt x="8851" y="65070"/>
                            <a:pt x="8911" y="65010"/>
                            <a:pt x="8971" y="64891"/>
                          </a:cubicBezTo>
                          <a:cubicBezTo>
                            <a:pt x="9090" y="64771"/>
                            <a:pt x="9150" y="64652"/>
                            <a:pt x="9270" y="64532"/>
                          </a:cubicBezTo>
                          <a:cubicBezTo>
                            <a:pt x="9390" y="64412"/>
                            <a:pt x="9449" y="64293"/>
                            <a:pt x="9569" y="64173"/>
                          </a:cubicBezTo>
                          <a:cubicBezTo>
                            <a:pt x="9689" y="64053"/>
                            <a:pt x="9749" y="63934"/>
                            <a:pt x="9868" y="63814"/>
                          </a:cubicBezTo>
                          <a:cubicBezTo>
                            <a:pt x="9988" y="63694"/>
                            <a:pt x="10048" y="63575"/>
                            <a:pt x="10167" y="63455"/>
                          </a:cubicBezTo>
                          <a:cubicBezTo>
                            <a:pt x="10406" y="63156"/>
                            <a:pt x="10645" y="62857"/>
                            <a:pt x="10885" y="62558"/>
                          </a:cubicBezTo>
                          <a:cubicBezTo>
                            <a:pt x="11124" y="62259"/>
                            <a:pt x="11363" y="61960"/>
                            <a:pt x="11603" y="61661"/>
                          </a:cubicBezTo>
                          <a:cubicBezTo>
                            <a:pt x="11842" y="61362"/>
                            <a:pt x="12081" y="61063"/>
                            <a:pt x="12320" y="60764"/>
                          </a:cubicBezTo>
                          <a:cubicBezTo>
                            <a:pt x="12559" y="60465"/>
                            <a:pt x="12798" y="60166"/>
                            <a:pt x="13038" y="59927"/>
                          </a:cubicBezTo>
                          <a:lnTo>
                            <a:pt x="12320" y="59448"/>
                          </a:lnTo>
                          <a:cubicBezTo>
                            <a:pt x="12081" y="59747"/>
                            <a:pt x="11842" y="60046"/>
                            <a:pt x="11603" y="60286"/>
                          </a:cubicBezTo>
                          <a:cubicBezTo>
                            <a:pt x="11363" y="60585"/>
                            <a:pt x="11124" y="60884"/>
                            <a:pt x="10885" y="61183"/>
                          </a:cubicBezTo>
                          <a:cubicBezTo>
                            <a:pt x="10645" y="61482"/>
                            <a:pt x="10406" y="61781"/>
                            <a:pt x="10167" y="62080"/>
                          </a:cubicBezTo>
                          <a:cubicBezTo>
                            <a:pt x="9928" y="62379"/>
                            <a:pt x="9689" y="62678"/>
                            <a:pt x="9449" y="62977"/>
                          </a:cubicBezTo>
                          <a:cubicBezTo>
                            <a:pt x="9330" y="63097"/>
                            <a:pt x="9270" y="63216"/>
                            <a:pt x="9150" y="63336"/>
                          </a:cubicBezTo>
                          <a:cubicBezTo>
                            <a:pt x="9031" y="63455"/>
                            <a:pt x="8971" y="63575"/>
                            <a:pt x="8851" y="63694"/>
                          </a:cubicBezTo>
                          <a:cubicBezTo>
                            <a:pt x="8732" y="63814"/>
                            <a:pt x="8672" y="63934"/>
                            <a:pt x="8552" y="64053"/>
                          </a:cubicBezTo>
                          <a:cubicBezTo>
                            <a:pt x="8433" y="64173"/>
                            <a:pt x="8373" y="64293"/>
                            <a:pt x="8253" y="64412"/>
                          </a:cubicBezTo>
                          <a:cubicBezTo>
                            <a:pt x="8194" y="64472"/>
                            <a:pt x="8134" y="64532"/>
                            <a:pt x="8074" y="64652"/>
                          </a:cubicBezTo>
                          <a:cubicBezTo>
                            <a:pt x="8014" y="64711"/>
                            <a:pt x="7954" y="64771"/>
                            <a:pt x="7895" y="64891"/>
                          </a:cubicBezTo>
                          <a:cubicBezTo>
                            <a:pt x="7835" y="65010"/>
                            <a:pt x="7775" y="65010"/>
                            <a:pt x="7715" y="65130"/>
                          </a:cubicBezTo>
                          <a:cubicBezTo>
                            <a:pt x="7655" y="65190"/>
                            <a:pt x="7595" y="65250"/>
                            <a:pt x="7536" y="65369"/>
                          </a:cubicBezTo>
                          <a:cubicBezTo>
                            <a:pt x="7177" y="65788"/>
                            <a:pt x="6878" y="66207"/>
                            <a:pt x="6519" y="66625"/>
                          </a:cubicBezTo>
                          <a:cubicBezTo>
                            <a:pt x="6160" y="67044"/>
                            <a:pt x="5801" y="67462"/>
                            <a:pt x="5502" y="67941"/>
                          </a:cubicBezTo>
                          <a:cubicBezTo>
                            <a:pt x="5203" y="68419"/>
                            <a:pt x="4785" y="68838"/>
                            <a:pt x="4426" y="69257"/>
                          </a:cubicBezTo>
                          <a:cubicBezTo>
                            <a:pt x="4067" y="69675"/>
                            <a:pt x="3708" y="70154"/>
                            <a:pt x="3349" y="70572"/>
                          </a:cubicBezTo>
                          <a:lnTo>
                            <a:pt x="2392" y="69975"/>
                          </a:lnTo>
                          <a:cubicBezTo>
                            <a:pt x="2751" y="69496"/>
                            <a:pt x="3110" y="69077"/>
                            <a:pt x="3469" y="68599"/>
                          </a:cubicBezTo>
                          <a:cubicBezTo>
                            <a:pt x="3827" y="68180"/>
                            <a:pt x="4186" y="67702"/>
                            <a:pt x="4545" y="67283"/>
                          </a:cubicBezTo>
                          <a:cubicBezTo>
                            <a:pt x="4904" y="66864"/>
                            <a:pt x="5263" y="66446"/>
                            <a:pt x="5562" y="65967"/>
                          </a:cubicBezTo>
                          <a:cubicBezTo>
                            <a:pt x="5921" y="65548"/>
                            <a:pt x="6220" y="65130"/>
                            <a:pt x="6579" y="64711"/>
                          </a:cubicBezTo>
                          <a:cubicBezTo>
                            <a:pt x="6639" y="64652"/>
                            <a:pt x="6698" y="64592"/>
                            <a:pt x="6758" y="64472"/>
                          </a:cubicBezTo>
                          <a:cubicBezTo>
                            <a:pt x="6818" y="64353"/>
                            <a:pt x="6878" y="64353"/>
                            <a:pt x="6937" y="64233"/>
                          </a:cubicBezTo>
                          <a:cubicBezTo>
                            <a:pt x="6997" y="64173"/>
                            <a:pt x="7057" y="64113"/>
                            <a:pt x="7117" y="63994"/>
                          </a:cubicBezTo>
                          <a:cubicBezTo>
                            <a:pt x="7177" y="63874"/>
                            <a:pt x="7236" y="63874"/>
                            <a:pt x="7296" y="63754"/>
                          </a:cubicBezTo>
                          <a:cubicBezTo>
                            <a:pt x="7416" y="63635"/>
                            <a:pt x="7476" y="63515"/>
                            <a:pt x="7595" y="63396"/>
                          </a:cubicBezTo>
                          <a:cubicBezTo>
                            <a:pt x="7715" y="63276"/>
                            <a:pt x="7775" y="63156"/>
                            <a:pt x="7895" y="63037"/>
                          </a:cubicBezTo>
                          <a:cubicBezTo>
                            <a:pt x="8014" y="62917"/>
                            <a:pt x="8074" y="62798"/>
                            <a:pt x="8194" y="62678"/>
                          </a:cubicBezTo>
                          <a:cubicBezTo>
                            <a:pt x="8313" y="62558"/>
                            <a:pt x="8373" y="62439"/>
                            <a:pt x="8493" y="62319"/>
                          </a:cubicBezTo>
                          <a:cubicBezTo>
                            <a:pt x="8732" y="62020"/>
                            <a:pt x="8971" y="61721"/>
                            <a:pt x="9210" y="61422"/>
                          </a:cubicBezTo>
                          <a:cubicBezTo>
                            <a:pt x="9449" y="61123"/>
                            <a:pt x="9689" y="60824"/>
                            <a:pt x="9928" y="60525"/>
                          </a:cubicBezTo>
                          <a:cubicBezTo>
                            <a:pt x="10167" y="60226"/>
                            <a:pt x="10406" y="59927"/>
                            <a:pt x="10645" y="59687"/>
                          </a:cubicBezTo>
                          <a:cubicBezTo>
                            <a:pt x="10885" y="59389"/>
                            <a:pt x="11124" y="59149"/>
                            <a:pt x="11303" y="58850"/>
                          </a:cubicBezTo>
                          <a:lnTo>
                            <a:pt x="10586" y="58372"/>
                          </a:lnTo>
                          <a:cubicBezTo>
                            <a:pt x="10347" y="58671"/>
                            <a:pt x="10107" y="58910"/>
                            <a:pt x="9928" y="59209"/>
                          </a:cubicBezTo>
                          <a:cubicBezTo>
                            <a:pt x="9689" y="59508"/>
                            <a:pt x="9449" y="59807"/>
                            <a:pt x="9210" y="60046"/>
                          </a:cubicBezTo>
                          <a:cubicBezTo>
                            <a:pt x="8971" y="60345"/>
                            <a:pt x="8732" y="60645"/>
                            <a:pt x="8493" y="60944"/>
                          </a:cubicBezTo>
                          <a:cubicBezTo>
                            <a:pt x="8253" y="61243"/>
                            <a:pt x="8014" y="61541"/>
                            <a:pt x="7775" y="61840"/>
                          </a:cubicBezTo>
                          <a:cubicBezTo>
                            <a:pt x="7655" y="61960"/>
                            <a:pt x="7595" y="62080"/>
                            <a:pt x="7476" y="62199"/>
                          </a:cubicBezTo>
                          <a:cubicBezTo>
                            <a:pt x="7356" y="62319"/>
                            <a:pt x="7296" y="62439"/>
                            <a:pt x="7177" y="62558"/>
                          </a:cubicBezTo>
                          <a:cubicBezTo>
                            <a:pt x="7057" y="62678"/>
                            <a:pt x="6997" y="62798"/>
                            <a:pt x="6878" y="62917"/>
                          </a:cubicBezTo>
                          <a:cubicBezTo>
                            <a:pt x="6758" y="63037"/>
                            <a:pt x="6698" y="63156"/>
                            <a:pt x="6579" y="63276"/>
                          </a:cubicBezTo>
                          <a:cubicBezTo>
                            <a:pt x="6519" y="63336"/>
                            <a:pt x="6459" y="63396"/>
                            <a:pt x="6399" y="63515"/>
                          </a:cubicBezTo>
                          <a:cubicBezTo>
                            <a:pt x="6340" y="63575"/>
                            <a:pt x="6280" y="63635"/>
                            <a:pt x="6220" y="63754"/>
                          </a:cubicBezTo>
                          <a:cubicBezTo>
                            <a:pt x="6160" y="63814"/>
                            <a:pt x="6100" y="63874"/>
                            <a:pt x="6041" y="63994"/>
                          </a:cubicBezTo>
                          <a:cubicBezTo>
                            <a:pt x="5981" y="64053"/>
                            <a:pt x="5921" y="64113"/>
                            <a:pt x="5861" y="64233"/>
                          </a:cubicBezTo>
                          <a:cubicBezTo>
                            <a:pt x="5502" y="64652"/>
                            <a:pt x="5143" y="65130"/>
                            <a:pt x="4785" y="65548"/>
                          </a:cubicBezTo>
                          <a:cubicBezTo>
                            <a:pt x="4426" y="66027"/>
                            <a:pt x="4067" y="66446"/>
                            <a:pt x="3648" y="66924"/>
                          </a:cubicBezTo>
                          <a:cubicBezTo>
                            <a:pt x="3289" y="67403"/>
                            <a:pt x="2871" y="67881"/>
                            <a:pt x="2512" y="68360"/>
                          </a:cubicBezTo>
                          <a:cubicBezTo>
                            <a:pt x="2153" y="68838"/>
                            <a:pt x="1734" y="69316"/>
                            <a:pt x="1316" y="69855"/>
                          </a:cubicBezTo>
                          <a:lnTo>
                            <a:pt x="1196" y="70034"/>
                          </a:lnTo>
                        </a:path>
                      </a:pathLst>
                    </a:custGeom>
                    <a:noFill/>
                    <a:ln w="6350" cap="flat">
                      <a:solidFill>
                        <a:schemeClr val="bg1">
                          <a:alpha val="80000"/>
                        </a:schemeClr>
                      </a:solidFill>
                      <a:prstDash val="solid"/>
                      <a:miter/>
                    </a:ln>
                  </p:spPr>
                  <p:txBody>
                    <a:bodyPr rtlCol="0" anchor="ctr"/>
                    <a:lstStyle/>
                    <a:p>
                      <a:endParaRPr lang="en-GB"/>
                    </a:p>
                  </p:txBody>
                </p:sp>
                <p:sp>
                  <p:nvSpPr>
                    <p:cNvPr id="7487" name="Vrije vorm: vorm 7486">
                      <a:extLst>
                        <a:ext uri="{FF2B5EF4-FFF2-40B4-BE49-F238E27FC236}">
                          <a16:creationId xmlns:a16="http://schemas.microsoft.com/office/drawing/2014/main" id="{AAB55C0A-1B76-4753-B7A0-CB82CFE7EFE9}"/>
                        </a:ext>
                      </a:extLst>
                    </p:cNvPr>
                    <p:cNvSpPr/>
                    <p:nvPr/>
                  </p:nvSpPr>
                  <p:spPr>
                    <a:xfrm>
                      <a:off x="5039615" y="5318995"/>
                      <a:ext cx="23788" cy="23564"/>
                    </a:xfrm>
                    <a:custGeom>
                      <a:avLst/>
                      <a:gdLst>
                        <a:gd name="connsiteX0" fmla="*/ 3529 w 23788"/>
                        <a:gd name="connsiteY0" fmla="*/ 5562 h 23564"/>
                        <a:gd name="connsiteX1" fmla="*/ 4246 w 23788"/>
                        <a:gd name="connsiteY1" fmla="*/ 6040 h 23564"/>
                        <a:gd name="connsiteX2" fmla="*/ 4785 w 23788"/>
                        <a:gd name="connsiteY2" fmla="*/ 5442 h 23564"/>
                        <a:gd name="connsiteX3" fmla="*/ 5383 w 23788"/>
                        <a:gd name="connsiteY3" fmla="*/ 4844 h 23564"/>
                        <a:gd name="connsiteX4" fmla="*/ 5981 w 23788"/>
                        <a:gd name="connsiteY4" fmla="*/ 4306 h 23564"/>
                        <a:gd name="connsiteX5" fmla="*/ 6579 w 23788"/>
                        <a:gd name="connsiteY5" fmla="*/ 3827 h 23564"/>
                        <a:gd name="connsiteX6" fmla="*/ 6818 w 23788"/>
                        <a:gd name="connsiteY6" fmla="*/ 3648 h 23564"/>
                        <a:gd name="connsiteX7" fmla="*/ 7057 w 23788"/>
                        <a:gd name="connsiteY7" fmla="*/ 3469 h 23564"/>
                        <a:gd name="connsiteX8" fmla="*/ 7296 w 23788"/>
                        <a:gd name="connsiteY8" fmla="*/ 3289 h 23564"/>
                        <a:gd name="connsiteX9" fmla="*/ 7536 w 23788"/>
                        <a:gd name="connsiteY9" fmla="*/ 3110 h 23564"/>
                        <a:gd name="connsiteX10" fmla="*/ 9330 w 23788"/>
                        <a:gd name="connsiteY10" fmla="*/ 2153 h 23564"/>
                        <a:gd name="connsiteX11" fmla="*/ 11184 w 23788"/>
                        <a:gd name="connsiteY11" fmla="*/ 1495 h 23564"/>
                        <a:gd name="connsiteX12" fmla="*/ 13038 w 23788"/>
                        <a:gd name="connsiteY12" fmla="*/ 1136 h 23564"/>
                        <a:gd name="connsiteX13" fmla="*/ 14892 w 23788"/>
                        <a:gd name="connsiteY13" fmla="*/ 1076 h 23564"/>
                        <a:gd name="connsiteX14" fmla="*/ 15669 w 23788"/>
                        <a:gd name="connsiteY14" fmla="*/ 1136 h 23564"/>
                        <a:gd name="connsiteX15" fmla="*/ 16447 w 23788"/>
                        <a:gd name="connsiteY15" fmla="*/ 1256 h 23564"/>
                        <a:gd name="connsiteX16" fmla="*/ 17165 w 23788"/>
                        <a:gd name="connsiteY16" fmla="*/ 1435 h 23564"/>
                        <a:gd name="connsiteX17" fmla="*/ 17882 w 23788"/>
                        <a:gd name="connsiteY17" fmla="*/ 1674 h 23564"/>
                        <a:gd name="connsiteX18" fmla="*/ 18241 w 23788"/>
                        <a:gd name="connsiteY18" fmla="*/ 1854 h 23564"/>
                        <a:gd name="connsiteX19" fmla="*/ 18600 w 23788"/>
                        <a:gd name="connsiteY19" fmla="*/ 2033 h 23564"/>
                        <a:gd name="connsiteX20" fmla="*/ 18959 w 23788"/>
                        <a:gd name="connsiteY20" fmla="*/ 2213 h 23564"/>
                        <a:gd name="connsiteX21" fmla="*/ 19318 w 23788"/>
                        <a:gd name="connsiteY21" fmla="*/ 2452 h 23564"/>
                        <a:gd name="connsiteX22" fmla="*/ 19676 w 23788"/>
                        <a:gd name="connsiteY22" fmla="*/ 2691 h 23564"/>
                        <a:gd name="connsiteX23" fmla="*/ 19976 w 23788"/>
                        <a:gd name="connsiteY23" fmla="*/ 2930 h 23564"/>
                        <a:gd name="connsiteX24" fmla="*/ 20275 w 23788"/>
                        <a:gd name="connsiteY24" fmla="*/ 3170 h 23564"/>
                        <a:gd name="connsiteX25" fmla="*/ 20574 w 23788"/>
                        <a:gd name="connsiteY25" fmla="*/ 3469 h 23564"/>
                        <a:gd name="connsiteX26" fmla="*/ 21052 w 23788"/>
                        <a:gd name="connsiteY26" fmla="*/ 4007 h 23564"/>
                        <a:gd name="connsiteX27" fmla="*/ 21471 w 23788"/>
                        <a:gd name="connsiteY27" fmla="*/ 4605 h 23564"/>
                        <a:gd name="connsiteX28" fmla="*/ 21830 w 23788"/>
                        <a:gd name="connsiteY28" fmla="*/ 5203 h 23564"/>
                        <a:gd name="connsiteX29" fmla="*/ 22129 w 23788"/>
                        <a:gd name="connsiteY29" fmla="*/ 5861 h 23564"/>
                        <a:gd name="connsiteX30" fmla="*/ 22607 w 23788"/>
                        <a:gd name="connsiteY30" fmla="*/ 7476 h 23564"/>
                        <a:gd name="connsiteX31" fmla="*/ 22787 w 23788"/>
                        <a:gd name="connsiteY31" fmla="*/ 9210 h 23564"/>
                        <a:gd name="connsiteX32" fmla="*/ 22667 w 23788"/>
                        <a:gd name="connsiteY32" fmla="*/ 11004 h 23564"/>
                        <a:gd name="connsiteX33" fmla="*/ 22189 w 23788"/>
                        <a:gd name="connsiteY33" fmla="*/ 12858 h 23564"/>
                        <a:gd name="connsiteX34" fmla="*/ 22069 w 23788"/>
                        <a:gd name="connsiteY34" fmla="*/ 13098 h 23564"/>
                        <a:gd name="connsiteX35" fmla="*/ 21949 w 23788"/>
                        <a:gd name="connsiteY35" fmla="*/ 13337 h 23564"/>
                        <a:gd name="connsiteX36" fmla="*/ 21830 w 23788"/>
                        <a:gd name="connsiteY36" fmla="*/ 13576 h 23564"/>
                        <a:gd name="connsiteX37" fmla="*/ 21710 w 23788"/>
                        <a:gd name="connsiteY37" fmla="*/ 13815 h 23564"/>
                        <a:gd name="connsiteX38" fmla="*/ 21411 w 23788"/>
                        <a:gd name="connsiteY38" fmla="*/ 14533 h 23564"/>
                        <a:gd name="connsiteX39" fmla="*/ 21052 w 23788"/>
                        <a:gd name="connsiteY39" fmla="*/ 15191 h 23564"/>
                        <a:gd name="connsiteX40" fmla="*/ 20634 w 23788"/>
                        <a:gd name="connsiteY40" fmla="*/ 15849 h 23564"/>
                        <a:gd name="connsiteX41" fmla="*/ 20155 w 23788"/>
                        <a:gd name="connsiteY41" fmla="*/ 16506 h 23564"/>
                        <a:gd name="connsiteX42" fmla="*/ 20933 w 23788"/>
                        <a:gd name="connsiteY42" fmla="*/ 16985 h 23564"/>
                        <a:gd name="connsiteX43" fmla="*/ 21411 w 23788"/>
                        <a:gd name="connsiteY43" fmla="*/ 16327 h 23564"/>
                        <a:gd name="connsiteX44" fmla="*/ 21830 w 23788"/>
                        <a:gd name="connsiteY44" fmla="*/ 15669 h 23564"/>
                        <a:gd name="connsiteX45" fmla="*/ 22189 w 23788"/>
                        <a:gd name="connsiteY45" fmla="*/ 15011 h 23564"/>
                        <a:gd name="connsiteX46" fmla="*/ 22547 w 23788"/>
                        <a:gd name="connsiteY46" fmla="*/ 14354 h 23564"/>
                        <a:gd name="connsiteX47" fmla="*/ 22667 w 23788"/>
                        <a:gd name="connsiteY47" fmla="*/ 14114 h 23564"/>
                        <a:gd name="connsiteX48" fmla="*/ 22787 w 23788"/>
                        <a:gd name="connsiteY48" fmla="*/ 13875 h 23564"/>
                        <a:gd name="connsiteX49" fmla="*/ 22906 w 23788"/>
                        <a:gd name="connsiteY49" fmla="*/ 13636 h 23564"/>
                        <a:gd name="connsiteX50" fmla="*/ 23026 w 23788"/>
                        <a:gd name="connsiteY50" fmla="*/ 13397 h 23564"/>
                        <a:gd name="connsiteX51" fmla="*/ 23504 w 23788"/>
                        <a:gd name="connsiteY51" fmla="*/ 11722 h 23564"/>
                        <a:gd name="connsiteX52" fmla="*/ 23743 w 23788"/>
                        <a:gd name="connsiteY52" fmla="*/ 10048 h 23564"/>
                        <a:gd name="connsiteX53" fmla="*/ 23743 w 23788"/>
                        <a:gd name="connsiteY53" fmla="*/ 8373 h 23564"/>
                        <a:gd name="connsiteX54" fmla="*/ 23504 w 23788"/>
                        <a:gd name="connsiteY54" fmla="*/ 6818 h 23564"/>
                        <a:gd name="connsiteX55" fmla="*/ 23384 w 23788"/>
                        <a:gd name="connsiteY55" fmla="*/ 6340 h 23564"/>
                        <a:gd name="connsiteX56" fmla="*/ 23265 w 23788"/>
                        <a:gd name="connsiteY56" fmla="*/ 5921 h 23564"/>
                        <a:gd name="connsiteX57" fmla="*/ 23086 w 23788"/>
                        <a:gd name="connsiteY57" fmla="*/ 5502 h 23564"/>
                        <a:gd name="connsiteX58" fmla="*/ 22906 w 23788"/>
                        <a:gd name="connsiteY58" fmla="*/ 5083 h 23564"/>
                        <a:gd name="connsiteX59" fmla="*/ 22368 w 23788"/>
                        <a:gd name="connsiteY59" fmla="*/ 4067 h 23564"/>
                        <a:gd name="connsiteX60" fmla="*/ 21710 w 23788"/>
                        <a:gd name="connsiteY60" fmla="*/ 3110 h 23564"/>
                        <a:gd name="connsiteX61" fmla="*/ 20873 w 23788"/>
                        <a:gd name="connsiteY61" fmla="*/ 2273 h 23564"/>
                        <a:gd name="connsiteX62" fmla="*/ 19916 w 23788"/>
                        <a:gd name="connsiteY62" fmla="*/ 1555 h 23564"/>
                        <a:gd name="connsiteX63" fmla="*/ 18839 w 23788"/>
                        <a:gd name="connsiteY63" fmla="*/ 957 h 23564"/>
                        <a:gd name="connsiteX64" fmla="*/ 17703 w 23788"/>
                        <a:gd name="connsiteY64" fmla="*/ 478 h 23564"/>
                        <a:gd name="connsiteX65" fmla="*/ 16507 w 23788"/>
                        <a:gd name="connsiteY65" fmla="*/ 179 h 23564"/>
                        <a:gd name="connsiteX66" fmla="*/ 15251 w 23788"/>
                        <a:gd name="connsiteY66" fmla="*/ 0 h 23564"/>
                        <a:gd name="connsiteX67" fmla="*/ 14772 w 23788"/>
                        <a:gd name="connsiteY67" fmla="*/ 0 h 23564"/>
                        <a:gd name="connsiteX68" fmla="*/ 14294 w 23788"/>
                        <a:gd name="connsiteY68" fmla="*/ 0 h 23564"/>
                        <a:gd name="connsiteX69" fmla="*/ 13815 w 23788"/>
                        <a:gd name="connsiteY69" fmla="*/ 0 h 23564"/>
                        <a:gd name="connsiteX70" fmla="*/ 13337 w 23788"/>
                        <a:gd name="connsiteY70" fmla="*/ 60 h 23564"/>
                        <a:gd name="connsiteX71" fmla="*/ 11603 w 23788"/>
                        <a:gd name="connsiteY71" fmla="*/ 359 h 23564"/>
                        <a:gd name="connsiteX72" fmla="*/ 9868 w 23788"/>
                        <a:gd name="connsiteY72" fmla="*/ 897 h 23564"/>
                        <a:gd name="connsiteX73" fmla="*/ 8194 w 23788"/>
                        <a:gd name="connsiteY73" fmla="*/ 1674 h 23564"/>
                        <a:gd name="connsiteX74" fmla="*/ 6579 w 23788"/>
                        <a:gd name="connsiteY74" fmla="*/ 2632 h 23564"/>
                        <a:gd name="connsiteX75" fmla="*/ 6340 w 23788"/>
                        <a:gd name="connsiteY75" fmla="*/ 2811 h 23564"/>
                        <a:gd name="connsiteX76" fmla="*/ 6100 w 23788"/>
                        <a:gd name="connsiteY76" fmla="*/ 2990 h 23564"/>
                        <a:gd name="connsiteX77" fmla="*/ 5861 w 23788"/>
                        <a:gd name="connsiteY77" fmla="*/ 3170 h 23564"/>
                        <a:gd name="connsiteX78" fmla="*/ 5622 w 23788"/>
                        <a:gd name="connsiteY78" fmla="*/ 3349 h 23564"/>
                        <a:gd name="connsiteX79" fmla="*/ 5024 w 23788"/>
                        <a:gd name="connsiteY79" fmla="*/ 3887 h 23564"/>
                        <a:gd name="connsiteX80" fmla="*/ 4426 w 23788"/>
                        <a:gd name="connsiteY80" fmla="*/ 4426 h 23564"/>
                        <a:gd name="connsiteX81" fmla="*/ 3828 w 23788"/>
                        <a:gd name="connsiteY81" fmla="*/ 5024 h 23564"/>
                        <a:gd name="connsiteX82" fmla="*/ 3529 w 23788"/>
                        <a:gd name="connsiteY82" fmla="*/ 5562 h 23564"/>
                        <a:gd name="connsiteX83" fmla="*/ 14294 w 23788"/>
                        <a:gd name="connsiteY83" fmla="*/ 21530 h 23564"/>
                        <a:gd name="connsiteX84" fmla="*/ 15191 w 23788"/>
                        <a:gd name="connsiteY84" fmla="*/ 22128 h 23564"/>
                        <a:gd name="connsiteX85" fmla="*/ 16626 w 23788"/>
                        <a:gd name="connsiteY85" fmla="*/ 21351 h 23564"/>
                        <a:gd name="connsiteX86" fmla="*/ 18002 w 23788"/>
                        <a:gd name="connsiteY86" fmla="*/ 20394 h 23564"/>
                        <a:gd name="connsiteX87" fmla="*/ 19258 w 23788"/>
                        <a:gd name="connsiteY87" fmla="*/ 19318 h 23564"/>
                        <a:gd name="connsiteX88" fmla="*/ 20454 w 23788"/>
                        <a:gd name="connsiteY88" fmla="*/ 18062 h 23564"/>
                        <a:gd name="connsiteX89" fmla="*/ 19676 w 23788"/>
                        <a:gd name="connsiteY89" fmla="*/ 17583 h 23564"/>
                        <a:gd name="connsiteX90" fmla="*/ 18481 w 23788"/>
                        <a:gd name="connsiteY90" fmla="*/ 18839 h 23564"/>
                        <a:gd name="connsiteX91" fmla="*/ 17165 w 23788"/>
                        <a:gd name="connsiteY91" fmla="*/ 19916 h 23564"/>
                        <a:gd name="connsiteX92" fmla="*/ 15789 w 23788"/>
                        <a:gd name="connsiteY92" fmla="*/ 20813 h 23564"/>
                        <a:gd name="connsiteX93" fmla="*/ 14294 w 23788"/>
                        <a:gd name="connsiteY93" fmla="*/ 21530 h 23564"/>
                        <a:gd name="connsiteX94" fmla="*/ 239 w 23788"/>
                        <a:gd name="connsiteY94" fmla="*/ 12320 h 23564"/>
                        <a:gd name="connsiteX95" fmla="*/ 1136 w 23788"/>
                        <a:gd name="connsiteY95" fmla="*/ 12918 h 23564"/>
                        <a:gd name="connsiteX96" fmla="*/ 1435 w 23788"/>
                        <a:gd name="connsiteY96" fmla="*/ 11423 h 23564"/>
                        <a:gd name="connsiteX97" fmla="*/ 1914 w 23788"/>
                        <a:gd name="connsiteY97" fmla="*/ 9928 h 23564"/>
                        <a:gd name="connsiteX98" fmla="*/ 2632 w 23788"/>
                        <a:gd name="connsiteY98" fmla="*/ 8433 h 23564"/>
                        <a:gd name="connsiteX99" fmla="*/ 3588 w 23788"/>
                        <a:gd name="connsiteY99" fmla="*/ 6997 h 23564"/>
                        <a:gd name="connsiteX100" fmla="*/ 2871 w 23788"/>
                        <a:gd name="connsiteY100" fmla="*/ 6519 h 23564"/>
                        <a:gd name="connsiteX101" fmla="*/ 1914 w 23788"/>
                        <a:gd name="connsiteY101" fmla="*/ 7954 h 23564"/>
                        <a:gd name="connsiteX102" fmla="*/ 1196 w 23788"/>
                        <a:gd name="connsiteY102" fmla="*/ 9449 h 23564"/>
                        <a:gd name="connsiteX103" fmla="*/ 658 w 23788"/>
                        <a:gd name="connsiteY103" fmla="*/ 10944 h 23564"/>
                        <a:gd name="connsiteX104" fmla="*/ 239 w 23788"/>
                        <a:gd name="connsiteY104" fmla="*/ 12320 h 23564"/>
                        <a:gd name="connsiteX105" fmla="*/ 10167 w 23788"/>
                        <a:gd name="connsiteY105" fmla="*/ 22547 h 23564"/>
                        <a:gd name="connsiteX106" fmla="*/ 11423 w 23788"/>
                        <a:gd name="connsiteY106" fmla="*/ 23384 h 23564"/>
                        <a:gd name="connsiteX107" fmla="*/ 12081 w 23788"/>
                        <a:gd name="connsiteY107" fmla="*/ 23265 h 23564"/>
                        <a:gd name="connsiteX108" fmla="*/ 12739 w 23788"/>
                        <a:gd name="connsiteY108" fmla="*/ 23085 h 23564"/>
                        <a:gd name="connsiteX109" fmla="*/ 13337 w 23788"/>
                        <a:gd name="connsiteY109" fmla="*/ 22906 h 23564"/>
                        <a:gd name="connsiteX110" fmla="*/ 13935 w 23788"/>
                        <a:gd name="connsiteY110" fmla="*/ 22667 h 23564"/>
                        <a:gd name="connsiteX111" fmla="*/ 12918 w 23788"/>
                        <a:gd name="connsiteY111" fmla="*/ 22009 h 23564"/>
                        <a:gd name="connsiteX112" fmla="*/ 12201 w 23788"/>
                        <a:gd name="connsiteY112" fmla="*/ 22188 h 23564"/>
                        <a:gd name="connsiteX113" fmla="*/ 11483 w 23788"/>
                        <a:gd name="connsiteY113" fmla="*/ 22368 h 23564"/>
                        <a:gd name="connsiteX114" fmla="*/ 10765 w 23788"/>
                        <a:gd name="connsiteY114" fmla="*/ 22487 h 23564"/>
                        <a:gd name="connsiteX115" fmla="*/ 10167 w 23788"/>
                        <a:gd name="connsiteY115" fmla="*/ 22547 h 23564"/>
                        <a:gd name="connsiteX116" fmla="*/ 120 w 23788"/>
                        <a:gd name="connsiteY116" fmla="*/ 15968 h 23564"/>
                        <a:gd name="connsiteX117" fmla="*/ 1435 w 23788"/>
                        <a:gd name="connsiteY117" fmla="*/ 16806 h 23564"/>
                        <a:gd name="connsiteX118" fmla="*/ 1256 w 23788"/>
                        <a:gd name="connsiteY118" fmla="*/ 16148 h 23564"/>
                        <a:gd name="connsiteX119" fmla="*/ 1136 w 23788"/>
                        <a:gd name="connsiteY119" fmla="*/ 15490 h 23564"/>
                        <a:gd name="connsiteX120" fmla="*/ 1076 w 23788"/>
                        <a:gd name="connsiteY120" fmla="*/ 14832 h 23564"/>
                        <a:gd name="connsiteX121" fmla="*/ 1076 w 23788"/>
                        <a:gd name="connsiteY121" fmla="*/ 14174 h 23564"/>
                        <a:gd name="connsiteX122" fmla="*/ 60 w 23788"/>
                        <a:gd name="connsiteY122" fmla="*/ 13516 h 23564"/>
                        <a:gd name="connsiteX123" fmla="*/ 0 w 23788"/>
                        <a:gd name="connsiteY123" fmla="*/ 14114 h 23564"/>
                        <a:gd name="connsiteX124" fmla="*/ 0 w 23788"/>
                        <a:gd name="connsiteY124" fmla="*/ 14712 h 23564"/>
                        <a:gd name="connsiteX125" fmla="*/ 60 w 23788"/>
                        <a:gd name="connsiteY125" fmla="*/ 15311 h 23564"/>
                        <a:gd name="connsiteX126" fmla="*/ 120 w 23788"/>
                        <a:gd name="connsiteY126" fmla="*/ 15968 h 23564"/>
                        <a:gd name="connsiteX127" fmla="*/ 2632 w 23788"/>
                        <a:gd name="connsiteY127" fmla="*/ 20992 h 23564"/>
                        <a:gd name="connsiteX128" fmla="*/ 5442 w 23788"/>
                        <a:gd name="connsiteY128" fmla="*/ 22846 h 23564"/>
                        <a:gd name="connsiteX129" fmla="*/ 6459 w 23788"/>
                        <a:gd name="connsiteY129" fmla="*/ 23205 h 23564"/>
                        <a:gd name="connsiteX130" fmla="*/ 7476 w 23788"/>
                        <a:gd name="connsiteY130" fmla="*/ 23444 h 23564"/>
                        <a:gd name="connsiteX131" fmla="*/ 8552 w 23788"/>
                        <a:gd name="connsiteY131" fmla="*/ 23564 h 23564"/>
                        <a:gd name="connsiteX132" fmla="*/ 9629 w 23788"/>
                        <a:gd name="connsiteY132" fmla="*/ 23564 h 23564"/>
                        <a:gd name="connsiteX133" fmla="*/ 7895 w 23788"/>
                        <a:gd name="connsiteY133" fmla="*/ 22428 h 23564"/>
                        <a:gd name="connsiteX134" fmla="*/ 6997 w 23788"/>
                        <a:gd name="connsiteY134" fmla="*/ 22248 h 23564"/>
                        <a:gd name="connsiteX135" fmla="*/ 6160 w 23788"/>
                        <a:gd name="connsiteY135" fmla="*/ 21949 h 23564"/>
                        <a:gd name="connsiteX136" fmla="*/ 5323 w 23788"/>
                        <a:gd name="connsiteY136" fmla="*/ 21590 h 23564"/>
                        <a:gd name="connsiteX137" fmla="*/ 4545 w 23788"/>
                        <a:gd name="connsiteY137" fmla="*/ 21172 h 23564"/>
                        <a:gd name="connsiteX138" fmla="*/ 3828 w 23788"/>
                        <a:gd name="connsiteY138" fmla="*/ 20633 h 23564"/>
                        <a:gd name="connsiteX139" fmla="*/ 3229 w 23788"/>
                        <a:gd name="connsiteY139" fmla="*/ 20035 h 23564"/>
                        <a:gd name="connsiteX140" fmla="*/ 2691 w 23788"/>
                        <a:gd name="connsiteY140" fmla="*/ 19377 h 23564"/>
                        <a:gd name="connsiteX141" fmla="*/ 2213 w 23788"/>
                        <a:gd name="connsiteY141" fmla="*/ 18660 h 23564"/>
                        <a:gd name="connsiteX142" fmla="*/ 479 w 23788"/>
                        <a:gd name="connsiteY142" fmla="*/ 17523 h 23564"/>
                        <a:gd name="connsiteX143" fmla="*/ 837 w 23788"/>
                        <a:gd name="connsiteY143" fmla="*/ 18480 h 23564"/>
                        <a:gd name="connsiteX144" fmla="*/ 1316 w 23788"/>
                        <a:gd name="connsiteY144" fmla="*/ 19377 h 23564"/>
                        <a:gd name="connsiteX145" fmla="*/ 1914 w 23788"/>
                        <a:gd name="connsiteY145" fmla="*/ 20215 h 23564"/>
                        <a:gd name="connsiteX146" fmla="*/ 2632 w 23788"/>
                        <a:gd name="connsiteY146" fmla="*/ 20992 h 2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23788" h="23564">
                          <a:moveTo>
                            <a:pt x="3529" y="5562"/>
                          </a:moveTo>
                          <a:lnTo>
                            <a:pt x="4246" y="6040"/>
                          </a:lnTo>
                          <a:cubicBezTo>
                            <a:pt x="4426" y="5801"/>
                            <a:pt x="4605" y="5622"/>
                            <a:pt x="4785" y="5442"/>
                          </a:cubicBezTo>
                          <a:cubicBezTo>
                            <a:pt x="4964" y="5263"/>
                            <a:pt x="5143" y="5024"/>
                            <a:pt x="5383" y="4844"/>
                          </a:cubicBezTo>
                          <a:cubicBezTo>
                            <a:pt x="5562" y="4665"/>
                            <a:pt x="5801" y="4486"/>
                            <a:pt x="5981" y="4306"/>
                          </a:cubicBezTo>
                          <a:cubicBezTo>
                            <a:pt x="6160" y="4127"/>
                            <a:pt x="6399" y="3947"/>
                            <a:pt x="6579" y="3827"/>
                          </a:cubicBezTo>
                          <a:cubicBezTo>
                            <a:pt x="6639" y="3768"/>
                            <a:pt x="6758" y="3708"/>
                            <a:pt x="6818" y="3648"/>
                          </a:cubicBezTo>
                          <a:cubicBezTo>
                            <a:pt x="6878" y="3588"/>
                            <a:pt x="6997" y="3528"/>
                            <a:pt x="7057" y="3469"/>
                          </a:cubicBezTo>
                          <a:cubicBezTo>
                            <a:pt x="7117" y="3409"/>
                            <a:pt x="7237" y="3349"/>
                            <a:pt x="7296" y="3289"/>
                          </a:cubicBezTo>
                          <a:cubicBezTo>
                            <a:pt x="7356" y="3229"/>
                            <a:pt x="7476" y="3170"/>
                            <a:pt x="7536" y="3110"/>
                          </a:cubicBezTo>
                          <a:cubicBezTo>
                            <a:pt x="8134" y="2751"/>
                            <a:pt x="8732" y="2392"/>
                            <a:pt x="9330" y="2153"/>
                          </a:cubicBezTo>
                          <a:cubicBezTo>
                            <a:pt x="9928" y="1854"/>
                            <a:pt x="10586" y="1674"/>
                            <a:pt x="11184" y="1495"/>
                          </a:cubicBezTo>
                          <a:cubicBezTo>
                            <a:pt x="11782" y="1316"/>
                            <a:pt x="12440" y="1196"/>
                            <a:pt x="13038" y="1136"/>
                          </a:cubicBezTo>
                          <a:cubicBezTo>
                            <a:pt x="13636" y="1076"/>
                            <a:pt x="14294" y="1017"/>
                            <a:pt x="14892" y="1076"/>
                          </a:cubicBezTo>
                          <a:cubicBezTo>
                            <a:pt x="15131" y="1076"/>
                            <a:pt x="15430" y="1136"/>
                            <a:pt x="15669" y="1136"/>
                          </a:cubicBezTo>
                          <a:cubicBezTo>
                            <a:pt x="15909" y="1136"/>
                            <a:pt x="16208" y="1196"/>
                            <a:pt x="16447" y="1256"/>
                          </a:cubicBezTo>
                          <a:cubicBezTo>
                            <a:pt x="16686" y="1316"/>
                            <a:pt x="16926" y="1375"/>
                            <a:pt x="17165" y="1435"/>
                          </a:cubicBezTo>
                          <a:cubicBezTo>
                            <a:pt x="17404" y="1495"/>
                            <a:pt x="17643" y="1615"/>
                            <a:pt x="17882" y="1674"/>
                          </a:cubicBezTo>
                          <a:cubicBezTo>
                            <a:pt x="18002" y="1734"/>
                            <a:pt x="18121" y="1794"/>
                            <a:pt x="18241" y="1854"/>
                          </a:cubicBezTo>
                          <a:cubicBezTo>
                            <a:pt x="18361" y="1914"/>
                            <a:pt x="18481" y="1973"/>
                            <a:pt x="18600" y="2033"/>
                          </a:cubicBezTo>
                          <a:cubicBezTo>
                            <a:pt x="18720" y="2093"/>
                            <a:pt x="18839" y="2153"/>
                            <a:pt x="18959" y="2213"/>
                          </a:cubicBezTo>
                          <a:cubicBezTo>
                            <a:pt x="19079" y="2273"/>
                            <a:pt x="19198" y="2332"/>
                            <a:pt x="19318" y="2452"/>
                          </a:cubicBezTo>
                          <a:cubicBezTo>
                            <a:pt x="19437" y="2512"/>
                            <a:pt x="19557" y="2632"/>
                            <a:pt x="19676" y="2691"/>
                          </a:cubicBezTo>
                          <a:cubicBezTo>
                            <a:pt x="19796" y="2751"/>
                            <a:pt x="19916" y="2871"/>
                            <a:pt x="19976" y="2930"/>
                          </a:cubicBezTo>
                          <a:cubicBezTo>
                            <a:pt x="20095" y="2990"/>
                            <a:pt x="20155" y="3110"/>
                            <a:pt x="20275" y="3170"/>
                          </a:cubicBezTo>
                          <a:cubicBezTo>
                            <a:pt x="20394" y="3289"/>
                            <a:pt x="20454" y="3349"/>
                            <a:pt x="20574" y="3469"/>
                          </a:cubicBezTo>
                          <a:cubicBezTo>
                            <a:pt x="20753" y="3648"/>
                            <a:pt x="20933" y="3827"/>
                            <a:pt x="21052" y="4007"/>
                          </a:cubicBezTo>
                          <a:cubicBezTo>
                            <a:pt x="21231" y="4186"/>
                            <a:pt x="21351" y="4366"/>
                            <a:pt x="21471" y="4605"/>
                          </a:cubicBezTo>
                          <a:cubicBezTo>
                            <a:pt x="21590" y="4785"/>
                            <a:pt x="21710" y="5024"/>
                            <a:pt x="21830" y="5203"/>
                          </a:cubicBezTo>
                          <a:cubicBezTo>
                            <a:pt x="21949" y="5442"/>
                            <a:pt x="22069" y="5622"/>
                            <a:pt x="22129" y="5861"/>
                          </a:cubicBezTo>
                          <a:cubicBezTo>
                            <a:pt x="22368" y="6399"/>
                            <a:pt x="22488" y="6937"/>
                            <a:pt x="22607" y="7476"/>
                          </a:cubicBezTo>
                          <a:cubicBezTo>
                            <a:pt x="22727" y="8014"/>
                            <a:pt x="22787" y="8612"/>
                            <a:pt x="22787" y="9210"/>
                          </a:cubicBezTo>
                          <a:cubicBezTo>
                            <a:pt x="22787" y="9808"/>
                            <a:pt x="22727" y="10406"/>
                            <a:pt x="22667" y="11004"/>
                          </a:cubicBezTo>
                          <a:cubicBezTo>
                            <a:pt x="22547" y="11603"/>
                            <a:pt x="22428" y="12260"/>
                            <a:pt x="22189" y="12858"/>
                          </a:cubicBezTo>
                          <a:cubicBezTo>
                            <a:pt x="22189" y="12918"/>
                            <a:pt x="22129" y="13038"/>
                            <a:pt x="22069" y="13098"/>
                          </a:cubicBezTo>
                          <a:cubicBezTo>
                            <a:pt x="22009" y="13157"/>
                            <a:pt x="22009" y="13277"/>
                            <a:pt x="21949" y="13337"/>
                          </a:cubicBezTo>
                          <a:cubicBezTo>
                            <a:pt x="21889" y="13397"/>
                            <a:pt x="21889" y="13516"/>
                            <a:pt x="21830" y="13576"/>
                          </a:cubicBezTo>
                          <a:cubicBezTo>
                            <a:pt x="21770" y="13636"/>
                            <a:pt x="21770" y="13756"/>
                            <a:pt x="21710" y="13815"/>
                          </a:cubicBezTo>
                          <a:cubicBezTo>
                            <a:pt x="21590" y="14055"/>
                            <a:pt x="21530" y="14294"/>
                            <a:pt x="21411" y="14533"/>
                          </a:cubicBezTo>
                          <a:cubicBezTo>
                            <a:pt x="21291" y="14772"/>
                            <a:pt x="21172" y="15011"/>
                            <a:pt x="21052" y="15191"/>
                          </a:cubicBezTo>
                          <a:cubicBezTo>
                            <a:pt x="20933" y="15430"/>
                            <a:pt x="20813" y="15669"/>
                            <a:pt x="20634" y="15849"/>
                          </a:cubicBezTo>
                          <a:cubicBezTo>
                            <a:pt x="20514" y="16088"/>
                            <a:pt x="20335" y="16267"/>
                            <a:pt x="20155" y="16506"/>
                          </a:cubicBezTo>
                          <a:lnTo>
                            <a:pt x="20933" y="16985"/>
                          </a:lnTo>
                          <a:cubicBezTo>
                            <a:pt x="21112" y="16746"/>
                            <a:pt x="21231" y="16566"/>
                            <a:pt x="21411" y="16327"/>
                          </a:cubicBezTo>
                          <a:cubicBezTo>
                            <a:pt x="21530" y="16088"/>
                            <a:pt x="21710" y="15909"/>
                            <a:pt x="21830" y="15669"/>
                          </a:cubicBezTo>
                          <a:cubicBezTo>
                            <a:pt x="21949" y="15430"/>
                            <a:pt x="22069" y="15191"/>
                            <a:pt x="22189" y="15011"/>
                          </a:cubicBezTo>
                          <a:cubicBezTo>
                            <a:pt x="22308" y="14772"/>
                            <a:pt x="22428" y="14533"/>
                            <a:pt x="22547" y="14354"/>
                          </a:cubicBezTo>
                          <a:cubicBezTo>
                            <a:pt x="22607" y="14294"/>
                            <a:pt x="22607" y="14174"/>
                            <a:pt x="22667" y="14114"/>
                          </a:cubicBezTo>
                          <a:cubicBezTo>
                            <a:pt x="22727" y="14055"/>
                            <a:pt x="22727" y="13935"/>
                            <a:pt x="22787" y="13875"/>
                          </a:cubicBezTo>
                          <a:cubicBezTo>
                            <a:pt x="22846" y="13815"/>
                            <a:pt x="22846" y="13696"/>
                            <a:pt x="22906" y="13636"/>
                          </a:cubicBezTo>
                          <a:cubicBezTo>
                            <a:pt x="22966" y="13576"/>
                            <a:pt x="22966" y="13457"/>
                            <a:pt x="23026" y="13397"/>
                          </a:cubicBezTo>
                          <a:cubicBezTo>
                            <a:pt x="23265" y="12858"/>
                            <a:pt x="23384" y="12260"/>
                            <a:pt x="23504" y="11722"/>
                          </a:cubicBezTo>
                          <a:cubicBezTo>
                            <a:pt x="23624" y="11184"/>
                            <a:pt x="23743" y="10586"/>
                            <a:pt x="23743" y="10048"/>
                          </a:cubicBezTo>
                          <a:cubicBezTo>
                            <a:pt x="23803" y="9509"/>
                            <a:pt x="23803" y="8911"/>
                            <a:pt x="23743" y="8373"/>
                          </a:cubicBezTo>
                          <a:cubicBezTo>
                            <a:pt x="23684" y="7835"/>
                            <a:pt x="23624" y="7296"/>
                            <a:pt x="23504" y="6818"/>
                          </a:cubicBezTo>
                          <a:cubicBezTo>
                            <a:pt x="23444" y="6639"/>
                            <a:pt x="23444" y="6519"/>
                            <a:pt x="23384" y="6340"/>
                          </a:cubicBezTo>
                          <a:cubicBezTo>
                            <a:pt x="23325" y="6220"/>
                            <a:pt x="23325" y="6040"/>
                            <a:pt x="23265" y="5921"/>
                          </a:cubicBezTo>
                          <a:cubicBezTo>
                            <a:pt x="23205" y="5801"/>
                            <a:pt x="23145" y="5622"/>
                            <a:pt x="23086" y="5502"/>
                          </a:cubicBezTo>
                          <a:cubicBezTo>
                            <a:pt x="23026" y="5382"/>
                            <a:pt x="22966" y="5203"/>
                            <a:pt x="22906" y="5083"/>
                          </a:cubicBezTo>
                          <a:cubicBezTo>
                            <a:pt x="22727" y="4725"/>
                            <a:pt x="22547" y="4366"/>
                            <a:pt x="22368" y="4067"/>
                          </a:cubicBezTo>
                          <a:cubicBezTo>
                            <a:pt x="22189" y="3708"/>
                            <a:pt x="21949" y="3409"/>
                            <a:pt x="21710" y="3110"/>
                          </a:cubicBezTo>
                          <a:cubicBezTo>
                            <a:pt x="21471" y="2811"/>
                            <a:pt x="21172" y="2512"/>
                            <a:pt x="20873" y="2273"/>
                          </a:cubicBezTo>
                          <a:cubicBezTo>
                            <a:pt x="20574" y="2033"/>
                            <a:pt x="20275" y="1734"/>
                            <a:pt x="19916" y="1555"/>
                          </a:cubicBezTo>
                          <a:cubicBezTo>
                            <a:pt x="19557" y="1316"/>
                            <a:pt x="19198" y="1136"/>
                            <a:pt x="18839" y="957"/>
                          </a:cubicBezTo>
                          <a:cubicBezTo>
                            <a:pt x="18481" y="778"/>
                            <a:pt x="18121" y="658"/>
                            <a:pt x="17703" y="478"/>
                          </a:cubicBezTo>
                          <a:cubicBezTo>
                            <a:pt x="17344" y="359"/>
                            <a:pt x="16926" y="239"/>
                            <a:pt x="16507" y="179"/>
                          </a:cubicBezTo>
                          <a:cubicBezTo>
                            <a:pt x="16088" y="119"/>
                            <a:pt x="15669" y="60"/>
                            <a:pt x="15251" y="0"/>
                          </a:cubicBezTo>
                          <a:cubicBezTo>
                            <a:pt x="15072" y="0"/>
                            <a:pt x="14952" y="0"/>
                            <a:pt x="14772" y="0"/>
                          </a:cubicBezTo>
                          <a:cubicBezTo>
                            <a:pt x="14593" y="0"/>
                            <a:pt x="14413" y="0"/>
                            <a:pt x="14294" y="0"/>
                          </a:cubicBezTo>
                          <a:cubicBezTo>
                            <a:pt x="14114" y="0"/>
                            <a:pt x="13935" y="0"/>
                            <a:pt x="13815" y="0"/>
                          </a:cubicBezTo>
                          <a:cubicBezTo>
                            <a:pt x="13636" y="0"/>
                            <a:pt x="13457" y="0"/>
                            <a:pt x="13337" y="60"/>
                          </a:cubicBezTo>
                          <a:cubicBezTo>
                            <a:pt x="12739" y="119"/>
                            <a:pt x="12201" y="239"/>
                            <a:pt x="11603" y="359"/>
                          </a:cubicBezTo>
                          <a:cubicBezTo>
                            <a:pt x="11005" y="478"/>
                            <a:pt x="10466" y="658"/>
                            <a:pt x="9868" y="897"/>
                          </a:cubicBezTo>
                          <a:cubicBezTo>
                            <a:pt x="9330" y="1136"/>
                            <a:pt x="8732" y="1375"/>
                            <a:pt x="8194" y="1674"/>
                          </a:cubicBezTo>
                          <a:cubicBezTo>
                            <a:pt x="7655" y="1973"/>
                            <a:pt x="7117" y="2273"/>
                            <a:pt x="6579" y="2632"/>
                          </a:cubicBezTo>
                          <a:cubicBezTo>
                            <a:pt x="6519" y="2691"/>
                            <a:pt x="6399" y="2751"/>
                            <a:pt x="6340" y="2811"/>
                          </a:cubicBezTo>
                          <a:cubicBezTo>
                            <a:pt x="6280" y="2871"/>
                            <a:pt x="6160" y="2930"/>
                            <a:pt x="6100" y="2990"/>
                          </a:cubicBezTo>
                          <a:cubicBezTo>
                            <a:pt x="6041" y="3050"/>
                            <a:pt x="5921" y="3110"/>
                            <a:pt x="5861" y="3170"/>
                          </a:cubicBezTo>
                          <a:cubicBezTo>
                            <a:pt x="5801" y="3229"/>
                            <a:pt x="5682" y="3289"/>
                            <a:pt x="5622" y="3349"/>
                          </a:cubicBezTo>
                          <a:cubicBezTo>
                            <a:pt x="5442" y="3528"/>
                            <a:pt x="5203" y="3708"/>
                            <a:pt x="5024" y="3887"/>
                          </a:cubicBezTo>
                          <a:cubicBezTo>
                            <a:pt x="4844" y="4067"/>
                            <a:pt x="4605" y="4246"/>
                            <a:pt x="4426" y="4426"/>
                          </a:cubicBezTo>
                          <a:cubicBezTo>
                            <a:pt x="4246" y="4605"/>
                            <a:pt x="4067" y="4785"/>
                            <a:pt x="3828" y="5024"/>
                          </a:cubicBezTo>
                          <a:cubicBezTo>
                            <a:pt x="3888" y="5143"/>
                            <a:pt x="3708" y="5323"/>
                            <a:pt x="3529" y="5562"/>
                          </a:cubicBezTo>
                          <a:moveTo>
                            <a:pt x="14294" y="21530"/>
                          </a:moveTo>
                          <a:lnTo>
                            <a:pt x="15191" y="22128"/>
                          </a:lnTo>
                          <a:cubicBezTo>
                            <a:pt x="15669" y="21889"/>
                            <a:pt x="16148" y="21650"/>
                            <a:pt x="16626" y="21351"/>
                          </a:cubicBezTo>
                          <a:cubicBezTo>
                            <a:pt x="17105" y="21052"/>
                            <a:pt x="17523" y="20753"/>
                            <a:pt x="18002" y="20394"/>
                          </a:cubicBezTo>
                          <a:cubicBezTo>
                            <a:pt x="18421" y="20035"/>
                            <a:pt x="18839" y="19676"/>
                            <a:pt x="19258" y="19318"/>
                          </a:cubicBezTo>
                          <a:cubicBezTo>
                            <a:pt x="19676" y="18899"/>
                            <a:pt x="20035" y="18540"/>
                            <a:pt x="20454" y="18062"/>
                          </a:cubicBezTo>
                          <a:lnTo>
                            <a:pt x="19676" y="17583"/>
                          </a:lnTo>
                          <a:cubicBezTo>
                            <a:pt x="19318" y="18002"/>
                            <a:pt x="18899" y="18420"/>
                            <a:pt x="18481" y="18839"/>
                          </a:cubicBezTo>
                          <a:cubicBezTo>
                            <a:pt x="18062" y="19258"/>
                            <a:pt x="17643" y="19617"/>
                            <a:pt x="17165" y="19916"/>
                          </a:cubicBezTo>
                          <a:cubicBezTo>
                            <a:pt x="16686" y="20274"/>
                            <a:pt x="16267" y="20574"/>
                            <a:pt x="15789" y="20813"/>
                          </a:cubicBezTo>
                          <a:cubicBezTo>
                            <a:pt x="15251" y="21052"/>
                            <a:pt x="14772" y="21291"/>
                            <a:pt x="14294" y="21530"/>
                          </a:cubicBezTo>
                          <a:moveTo>
                            <a:pt x="239" y="12320"/>
                          </a:moveTo>
                          <a:lnTo>
                            <a:pt x="1136" y="12918"/>
                          </a:lnTo>
                          <a:cubicBezTo>
                            <a:pt x="1196" y="12440"/>
                            <a:pt x="1316" y="11902"/>
                            <a:pt x="1435" y="11423"/>
                          </a:cubicBezTo>
                          <a:cubicBezTo>
                            <a:pt x="1555" y="10944"/>
                            <a:pt x="1734" y="10406"/>
                            <a:pt x="1914" y="9928"/>
                          </a:cubicBezTo>
                          <a:cubicBezTo>
                            <a:pt x="2093" y="9449"/>
                            <a:pt x="2333" y="8911"/>
                            <a:pt x="2632" y="8433"/>
                          </a:cubicBezTo>
                          <a:cubicBezTo>
                            <a:pt x="2930" y="7954"/>
                            <a:pt x="3229" y="7476"/>
                            <a:pt x="3588" y="6997"/>
                          </a:cubicBezTo>
                          <a:lnTo>
                            <a:pt x="2871" y="6519"/>
                          </a:lnTo>
                          <a:cubicBezTo>
                            <a:pt x="2512" y="6997"/>
                            <a:pt x="2213" y="7476"/>
                            <a:pt x="1914" y="7954"/>
                          </a:cubicBezTo>
                          <a:cubicBezTo>
                            <a:pt x="1615" y="8433"/>
                            <a:pt x="1375" y="8911"/>
                            <a:pt x="1196" y="9449"/>
                          </a:cubicBezTo>
                          <a:cubicBezTo>
                            <a:pt x="957" y="9928"/>
                            <a:pt x="778" y="10466"/>
                            <a:pt x="658" y="10944"/>
                          </a:cubicBezTo>
                          <a:cubicBezTo>
                            <a:pt x="479" y="11303"/>
                            <a:pt x="359" y="11782"/>
                            <a:pt x="239" y="12320"/>
                          </a:cubicBezTo>
                          <a:moveTo>
                            <a:pt x="10167" y="22547"/>
                          </a:moveTo>
                          <a:lnTo>
                            <a:pt x="11423" y="23384"/>
                          </a:lnTo>
                          <a:cubicBezTo>
                            <a:pt x="11662" y="23325"/>
                            <a:pt x="11842" y="23325"/>
                            <a:pt x="12081" y="23265"/>
                          </a:cubicBezTo>
                          <a:cubicBezTo>
                            <a:pt x="12320" y="23205"/>
                            <a:pt x="12500" y="23145"/>
                            <a:pt x="12739" y="23085"/>
                          </a:cubicBezTo>
                          <a:cubicBezTo>
                            <a:pt x="12978" y="23026"/>
                            <a:pt x="13158" y="22966"/>
                            <a:pt x="13337" y="22906"/>
                          </a:cubicBezTo>
                          <a:cubicBezTo>
                            <a:pt x="13516" y="22846"/>
                            <a:pt x="13756" y="22787"/>
                            <a:pt x="13935" y="22667"/>
                          </a:cubicBezTo>
                          <a:lnTo>
                            <a:pt x="12918" y="22009"/>
                          </a:lnTo>
                          <a:cubicBezTo>
                            <a:pt x="12679" y="22069"/>
                            <a:pt x="12440" y="22128"/>
                            <a:pt x="12201" y="22188"/>
                          </a:cubicBezTo>
                          <a:cubicBezTo>
                            <a:pt x="11961" y="22248"/>
                            <a:pt x="11722" y="22308"/>
                            <a:pt x="11483" y="22368"/>
                          </a:cubicBezTo>
                          <a:cubicBezTo>
                            <a:pt x="11244" y="22428"/>
                            <a:pt x="11005" y="22428"/>
                            <a:pt x="10765" y="22487"/>
                          </a:cubicBezTo>
                          <a:cubicBezTo>
                            <a:pt x="10586" y="22487"/>
                            <a:pt x="10406" y="22487"/>
                            <a:pt x="10167" y="22547"/>
                          </a:cubicBezTo>
                          <a:moveTo>
                            <a:pt x="120" y="15968"/>
                          </a:moveTo>
                          <a:lnTo>
                            <a:pt x="1435" y="16806"/>
                          </a:lnTo>
                          <a:cubicBezTo>
                            <a:pt x="1375" y="16626"/>
                            <a:pt x="1316" y="16387"/>
                            <a:pt x="1256" y="16148"/>
                          </a:cubicBezTo>
                          <a:cubicBezTo>
                            <a:pt x="1196" y="15909"/>
                            <a:pt x="1196" y="15729"/>
                            <a:pt x="1136" y="15490"/>
                          </a:cubicBezTo>
                          <a:cubicBezTo>
                            <a:pt x="1076" y="15251"/>
                            <a:pt x="1076" y="15071"/>
                            <a:pt x="1076" y="14832"/>
                          </a:cubicBezTo>
                          <a:cubicBezTo>
                            <a:pt x="1076" y="14593"/>
                            <a:pt x="1076" y="14413"/>
                            <a:pt x="1076" y="14174"/>
                          </a:cubicBezTo>
                          <a:lnTo>
                            <a:pt x="60" y="13516"/>
                          </a:lnTo>
                          <a:cubicBezTo>
                            <a:pt x="60" y="13696"/>
                            <a:pt x="60" y="13935"/>
                            <a:pt x="0" y="14114"/>
                          </a:cubicBezTo>
                          <a:cubicBezTo>
                            <a:pt x="0" y="14294"/>
                            <a:pt x="0" y="14533"/>
                            <a:pt x="0" y="14712"/>
                          </a:cubicBezTo>
                          <a:cubicBezTo>
                            <a:pt x="0" y="14892"/>
                            <a:pt x="0" y="15131"/>
                            <a:pt x="60" y="15311"/>
                          </a:cubicBezTo>
                          <a:cubicBezTo>
                            <a:pt x="120" y="15550"/>
                            <a:pt x="120" y="15789"/>
                            <a:pt x="120" y="15968"/>
                          </a:cubicBezTo>
                          <a:moveTo>
                            <a:pt x="2632" y="20992"/>
                          </a:moveTo>
                          <a:lnTo>
                            <a:pt x="5442" y="22846"/>
                          </a:lnTo>
                          <a:cubicBezTo>
                            <a:pt x="5742" y="22966"/>
                            <a:pt x="6100" y="23085"/>
                            <a:pt x="6459" y="23205"/>
                          </a:cubicBezTo>
                          <a:cubicBezTo>
                            <a:pt x="6818" y="23325"/>
                            <a:pt x="7177" y="23384"/>
                            <a:pt x="7476" y="23444"/>
                          </a:cubicBezTo>
                          <a:cubicBezTo>
                            <a:pt x="7775" y="23504"/>
                            <a:pt x="8194" y="23564"/>
                            <a:pt x="8552" y="23564"/>
                          </a:cubicBezTo>
                          <a:cubicBezTo>
                            <a:pt x="8911" y="23564"/>
                            <a:pt x="9270" y="23564"/>
                            <a:pt x="9629" y="23564"/>
                          </a:cubicBezTo>
                          <a:lnTo>
                            <a:pt x="7895" y="22428"/>
                          </a:lnTo>
                          <a:cubicBezTo>
                            <a:pt x="7596" y="22368"/>
                            <a:pt x="7296" y="22308"/>
                            <a:pt x="6997" y="22248"/>
                          </a:cubicBezTo>
                          <a:cubicBezTo>
                            <a:pt x="6698" y="22188"/>
                            <a:pt x="6399" y="22069"/>
                            <a:pt x="6160" y="21949"/>
                          </a:cubicBezTo>
                          <a:cubicBezTo>
                            <a:pt x="5861" y="21829"/>
                            <a:pt x="5622" y="21710"/>
                            <a:pt x="5323" y="21590"/>
                          </a:cubicBezTo>
                          <a:cubicBezTo>
                            <a:pt x="5083" y="21471"/>
                            <a:pt x="4785" y="21291"/>
                            <a:pt x="4545" y="21172"/>
                          </a:cubicBezTo>
                          <a:cubicBezTo>
                            <a:pt x="4306" y="20992"/>
                            <a:pt x="4067" y="20813"/>
                            <a:pt x="3828" y="20633"/>
                          </a:cubicBezTo>
                          <a:cubicBezTo>
                            <a:pt x="3588" y="20454"/>
                            <a:pt x="3409" y="20274"/>
                            <a:pt x="3229" y="20035"/>
                          </a:cubicBezTo>
                          <a:cubicBezTo>
                            <a:pt x="3050" y="19856"/>
                            <a:pt x="2871" y="19617"/>
                            <a:pt x="2691" y="19377"/>
                          </a:cubicBezTo>
                          <a:cubicBezTo>
                            <a:pt x="2512" y="19138"/>
                            <a:pt x="2392" y="18899"/>
                            <a:pt x="2213" y="18660"/>
                          </a:cubicBezTo>
                          <a:lnTo>
                            <a:pt x="479" y="17523"/>
                          </a:lnTo>
                          <a:cubicBezTo>
                            <a:pt x="598" y="17822"/>
                            <a:pt x="718" y="18181"/>
                            <a:pt x="837" y="18480"/>
                          </a:cubicBezTo>
                          <a:cubicBezTo>
                            <a:pt x="957" y="18779"/>
                            <a:pt x="1136" y="19079"/>
                            <a:pt x="1316" y="19377"/>
                          </a:cubicBezTo>
                          <a:cubicBezTo>
                            <a:pt x="1495" y="19676"/>
                            <a:pt x="1674" y="19916"/>
                            <a:pt x="1914" y="20215"/>
                          </a:cubicBezTo>
                          <a:cubicBezTo>
                            <a:pt x="2153" y="20514"/>
                            <a:pt x="2392" y="20753"/>
                            <a:pt x="2632" y="20992"/>
                          </a:cubicBezTo>
                        </a:path>
                      </a:pathLst>
                    </a:custGeom>
                    <a:noFill/>
                    <a:ln w="6350" cap="flat">
                      <a:solidFill>
                        <a:schemeClr val="bg1">
                          <a:alpha val="80000"/>
                        </a:schemeClr>
                      </a:solidFill>
                      <a:prstDash val="solid"/>
                      <a:miter/>
                    </a:ln>
                  </p:spPr>
                  <p:txBody>
                    <a:bodyPr rtlCol="0" anchor="ctr"/>
                    <a:lstStyle/>
                    <a:p>
                      <a:endParaRPr lang="en-GB"/>
                    </a:p>
                  </p:txBody>
                </p:sp>
                <p:sp>
                  <p:nvSpPr>
                    <p:cNvPr id="7488" name="Vrije vorm: vorm 7487">
                      <a:extLst>
                        <a:ext uri="{FF2B5EF4-FFF2-40B4-BE49-F238E27FC236}">
                          <a16:creationId xmlns:a16="http://schemas.microsoft.com/office/drawing/2014/main" id="{BD2BC2AF-66B1-4A55-A972-0D40EE32729A}"/>
                        </a:ext>
                      </a:extLst>
                    </p:cNvPr>
                    <p:cNvSpPr/>
                    <p:nvPr/>
                  </p:nvSpPr>
                  <p:spPr>
                    <a:xfrm>
                      <a:off x="5045237" y="5324691"/>
                      <a:ext cx="13037" cy="12544"/>
                    </a:xfrm>
                    <a:custGeom>
                      <a:avLst/>
                      <a:gdLst>
                        <a:gd name="connsiteX0" fmla="*/ 2033 w 13037"/>
                        <a:gd name="connsiteY0" fmla="*/ 2557 h 12544"/>
                        <a:gd name="connsiteX1" fmla="*/ 2811 w 13037"/>
                        <a:gd name="connsiteY1" fmla="*/ 3095 h 12544"/>
                        <a:gd name="connsiteX2" fmla="*/ 3469 w 13037"/>
                        <a:gd name="connsiteY2" fmla="*/ 2497 h 12544"/>
                        <a:gd name="connsiteX3" fmla="*/ 4187 w 13037"/>
                        <a:gd name="connsiteY3" fmla="*/ 1959 h 12544"/>
                        <a:gd name="connsiteX4" fmla="*/ 4904 w 13037"/>
                        <a:gd name="connsiteY4" fmla="*/ 1540 h 12544"/>
                        <a:gd name="connsiteX5" fmla="*/ 5682 w 13037"/>
                        <a:gd name="connsiteY5" fmla="*/ 1181 h 12544"/>
                        <a:gd name="connsiteX6" fmla="*/ 6041 w 13037"/>
                        <a:gd name="connsiteY6" fmla="*/ 1062 h 12544"/>
                        <a:gd name="connsiteX7" fmla="*/ 6399 w 13037"/>
                        <a:gd name="connsiteY7" fmla="*/ 942 h 12544"/>
                        <a:gd name="connsiteX8" fmla="*/ 6758 w 13037"/>
                        <a:gd name="connsiteY8" fmla="*/ 882 h 12544"/>
                        <a:gd name="connsiteX9" fmla="*/ 7117 w 13037"/>
                        <a:gd name="connsiteY9" fmla="*/ 822 h 12544"/>
                        <a:gd name="connsiteX10" fmla="*/ 7954 w 13037"/>
                        <a:gd name="connsiteY10" fmla="*/ 822 h 12544"/>
                        <a:gd name="connsiteX11" fmla="*/ 8732 w 13037"/>
                        <a:gd name="connsiteY11" fmla="*/ 942 h 12544"/>
                        <a:gd name="connsiteX12" fmla="*/ 9509 w 13037"/>
                        <a:gd name="connsiteY12" fmla="*/ 1181 h 12544"/>
                        <a:gd name="connsiteX13" fmla="*/ 10227 w 13037"/>
                        <a:gd name="connsiteY13" fmla="*/ 1540 h 12544"/>
                        <a:gd name="connsiteX14" fmla="*/ 10825 w 13037"/>
                        <a:gd name="connsiteY14" fmla="*/ 2019 h 12544"/>
                        <a:gd name="connsiteX15" fmla="*/ 11304 w 13037"/>
                        <a:gd name="connsiteY15" fmla="*/ 2617 h 12544"/>
                        <a:gd name="connsiteX16" fmla="*/ 11662 w 13037"/>
                        <a:gd name="connsiteY16" fmla="*/ 3275 h 12544"/>
                        <a:gd name="connsiteX17" fmla="*/ 11902 w 13037"/>
                        <a:gd name="connsiteY17" fmla="*/ 3992 h 12544"/>
                        <a:gd name="connsiteX18" fmla="*/ 11961 w 13037"/>
                        <a:gd name="connsiteY18" fmla="*/ 4351 h 12544"/>
                        <a:gd name="connsiteX19" fmla="*/ 12021 w 13037"/>
                        <a:gd name="connsiteY19" fmla="*/ 4710 h 12544"/>
                        <a:gd name="connsiteX20" fmla="*/ 12021 w 13037"/>
                        <a:gd name="connsiteY20" fmla="*/ 5069 h 12544"/>
                        <a:gd name="connsiteX21" fmla="*/ 12021 w 13037"/>
                        <a:gd name="connsiteY21" fmla="*/ 5428 h 12544"/>
                        <a:gd name="connsiteX22" fmla="*/ 11902 w 13037"/>
                        <a:gd name="connsiteY22" fmla="*/ 6205 h 12544"/>
                        <a:gd name="connsiteX23" fmla="*/ 11662 w 13037"/>
                        <a:gd name="connsiteY23" fmla="*/ 6983 h 12544"/>
                        <a:gd name="connsiteX24" fmla="*/ 11304 w 13037"/>
                        <a:gd name="connsiteY24" fmla="*/ 7760 h 12544"/>
                        <a:gd name="connsiteX25" fmla="*/ 10885 w 13037"/>
                        <a:gd name="connsiteY25" fmla="*/ 8478 h 12544"/>
                        <a:gd name="connsiteX26" fmla="*/ 11662 w 13037"/>
                        <a:gd name="connsiteY26" fmla="*/ 8956 h 12544"/>
                        <a:gd name="connsiteX27" fmla="*/ 12081 w 13037"/>
                        <a:gd name="connsiteY27" fmla="*/ 8238 h 12544"/>
                        <a:gd name="connsiteX28" fmla="*/ 12440 w 13037"/>
                        <a:gd name="connsiteY28" fmla="*/ 7521 h 12544"/>
                        <a:gd name="connsiteX29" fmla="*/ 12739 w 13037"/>
                        <a:gd name="connsiteY29" fmla="*/ 6803 h 12544"/>
                        <a:gd name="connsiteX30" fmla="*/ 12918 w 13037"/>
                        <a:gd name="connsiteY30" fmla="*/ 6085 h 12544"/>
                        <a:gd name="connsiteX31" fmla="*/ 12978 w 13037"/>
                        <a:gd name="connsiteY31" fmla="*/ 5787 h 12544"/>
                        <a:gd name="connsiteX32" fmla="*/ 13038 w 13037"/>
                        <a:gd name="connsiteY32" fmla="*/ 5488 h 12544"/>
                        <a:gd name="connsiteX33" fmla="*/ 13038 w 13037"/>
                        <a:gd name="connsiteY33" fmla="*/ 5189 h 12544"/>
                        <a:gd name="connsiteX34" fmla="*/ 13038 w 13037"/>
                        <a:gd name="connsiteY34" fmla="*/ 4889 h 12544"/>
                        <a:gd name="connsiteX35" fmla="*/ 12918 w 13037"/>
                        <a:gd name="connsiteY35" fmla="*/ 3693 h 12544"/>
                        <a:gd name="connsiteX36" fmla="*/ 12500 w 13037"/>
                        <a:gd name="connsiteY36" fmla="*/ 2557 h 12544"/>
                        <a:gd name="connsiteX37" fmla="*/ 11842 w 13037"/>
                        <a:gd name="connsiteY37" fmla="*/ 1600 h 12544"/>
                        <a:gd name="connsiteX38" fmla="*/ 10945 w 13037"/>
                        <a:gd name="connsiteY38" fmla="*/ 822 h 12544"/>
                        <a:gd name="connsiteX39" fmla="*/ 9868 w 13037"/>
                        <a:gd name="connsiteY39" fmla="*/ 284 h 12544"/>
                        <a:gd name="connsiteX40" fmla="*/ 8672 w 13037"/>
                        <a:gd name="connsiteY40" fmla="*/ 45 h 12544"/>
                        <a:gd name="connsiteX41" fmla="*/ 7356 w 13037"/>
                        <a:gd name="connsiteY41" fmla="*/ 45 h 12544"/>
                        <a:gd name="connsiteX42" fmla="*/ 6041 w 13037"/>
                        <a:gd name="connsiteY42" fmla="*/ 284 h 12544"/>
                        <a:gd name="connsiteX43" fmla="*/ 5742 w 13037"/>
                        <a:gd name="connsiteY43" fmla="*/ 404 h 12544"/>
                        <a:gd name="connsiteX44" fmla="*/ 5442 w 13037"/>
                        <a:gd name="connsiteY44" fmla="*/ 523 h 12544"/>
                        <a:gd name="connsiteX45" fmla="*/ 5143 w 13037"/>
                        <a:gd name="connsiteY45" fmla="*/ 643 h 12544"/>
                        <a:gd name="connsiteX46" fmla="*/ 4844 w 13037"/>
                        <a:gd name="connsiteY46" fmla="*/ 763 h 12544"/>
                        <a:gd name="connsiteX47" fmla="*/ 4127 w 13037"/>
                        <a:gd name="connsiteY47" fmla="*/ 1181 h 12544"/>
                        <a:gd name="connsiteX48" fmla="*/ 3469 w 13037"/>
                        <a:gd name="connsiteY48" fmla="*/ 1660 h 12544"/>
                        <a:gd name="connsiteX49" fmla="*/ 2811 w 13037"/>
                        <a:gd name="connsiteY49" fmla="*/ 2198 h 12544"/>
                        <a:gd name="connsiteX50" fmla="*/ 2033 w 13037"/>
                        <a:gd name="connsiteY50" fmla="*/ 2557 h 12544"/>
                        <a:gd name="connsiteX51" fmla="*/ 1136 w 13037"/>
                        <a:gd name="connsiteY51" fmla="*/ 10870 h 12544"/>
                        <a:gd name="connsiteX52" fmla="*/ 3229 w 13037"/>
                        <a:gd name="connsiteY52" fmla="*/ 12246 h 12544"/>
                        <a:gd name="connsiteX53" fmla="*/ 5143 w 13037"/>
                        <a:gd name="connsiteY53" fmla="*/ 12545 h 12544"/>
                        <a:gd name="connsiteX54" fmla="*/ 7177 w 13037"/>
                        <a:gd name="connsiteY54" fmla="*/ 12186 h 12544"/>
                        <a:gd name="connsiteX55" fmla="*/ 9150 w 13037"/>
                        <a:gd name="connsiteY55" fmla="*/ 11229 h 12544"/>
                        <a:gd name="connsiteX56" fmla="*/ 10885 w 13037"/>
                        <a:gd name="connsiteY56" fmla="*/ 9734 h 12544"/>
                        <a:gd name="connsiteX57" fmla="*/ 10107 w 13037"/>
                        <a:gd name="connsiteY57" fmla="*/ 9255 h 12544"/>
                        <a:gd name="connsiteX58" fmla="*/ 8373 w 13037"/>
                        <a:gd name="connsiteY58" fmla="*/ 10631 h 12544"/>
                        <a:gd name="connsiteX59" fmla="*/ 6459 w 13037"/>
                        <a:gd name="connsiteY59" fmla="*/ 11408 h 12544"/>
                        <a:gd name="connsiteX60" fmla="*/ 4545 w 13037"/>
                        <a:gd name="connsiteY60" fmla="*/ 11468 h 12544"/>
                        <a:gd name="connsiteX61" fmla="*/ 2811 w 13037"/>
                        <a:gd name="connsiteY61" fmla="*/ 10810 h 12544"/>
                        <a:gd name="connsiteX62" fmla="*/ 1615 w 13037"/>
                        <a:gd name="connsiteY62" fmla="*/ 9495 h 12544"/>
                        <a:gd name="connsiteX63" fmla="*/ 1076 w 13037"/>
                        <a:gd name="connsiteY63" fmla="*/ 7760 h 12544"/>
                        <a:gd name="connsiteX64" fmla="*/ 1256 w 13037"/>
                        <a:gd name="connsiteY64" fmla="*/ 5846 h 12544"/>
                        <a:gd name="connsiteX65" fmla="*/ 2153 w 13037"/>
                        <a:gd name="connsiteY65" fmla="*/ 3933 h 12544"/>
                        <a:gd name="connsiteX66" fmla="*/ 1375 w 13037"/>
                        <a:gd name="connsiteY66" fmla="*/ 3394 h 12544"/>
                        <a:gd name="connsiteX67" fmla="*/ 359 w 13037"/>
                        <a:gd name="connsiteY67" fmla="*/ 5368 h 12544"/>
                        <a:gd name="connsiteX68" fmla="*/ 0 w 13037"/>
                        <a:gd name="connsiteY68" fmla="*/ 7401 h 12544"/>
                        <a:gd name="connsiteX69" fmla="*/ 299 w 13037"/>
                        <a:gd name="connsiteY69" fmla="*/ 9255 h 12544"/>
                        <a:gd name="connsiteX70" fmla="*/ 1136 w 13037"/>
                        <a:gd name="connsiteY70" fmla="*/ 10870 h 1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3037" h="12544">
                          <a:moveTo>
                            <a:pt x="2033" y="2557"/>
                          </a:moveTo>
                          <a:lnTo>
                            <a:pt x="2811" y="3095"/>
                          </a:lnTo>
                          <a:cubicBezTo>
                            <a:pt x="2990" y="2856"/>
                            <a:pt x="3229" y="2676"/>
                            <a:pt x="3469" y="2497"/>
                          </a:cubicBezTo>
                          <a:cubicBezTo>
                            <a:pt x="3708" y="2318"/>
                            <a:pt x="3947" y="2138"/>
                            <a:pt x="4187" y="1959"/>
                          </a:cubicBezTo>
                          <a:cubicBezTo>
                            <a:pt x="4426" y="1780"/>
                            <a:pt x="4665" y="1660"/>
                            <a:pt x="4904" y="1540"/>
                          </a:cubicBezTo>
                          <a:cubicBezTo>
                            <a:pt x="5143" y="1421"/>
                            <a:pt x="5383" y="1301"/>
                            <a:pt x="5682" y="1181"/>
                          </a:cubicBezTo>
                          <a:cubicBezTo>
                            <a:pt x="5801" y="1121"/>
                            <a:pt x="5921" y="1121"/>
                            <a:pt x="6041" y="1062"/>
                          </a:cubicBezTo>
                          <a:cubicBezTo>
                            <a:pt x="6160" y="1002"/>
                            <a:pt x="6280" y="1002"/>
                            <a:pt x="6399" y="942"/>
                          </a:cubicBezTo>
                          <a:cubicBezTo>
                            <a:pt x="6519" y="942"/>
                            <a:pt x="6639" y="882"/>
                            <a:pt x="6758" y="882"/>
                          </a:cubicBezTo>
                          <a:cubicBezTo>
                            <a:pt x="6878" y="882"/>
                            <a:pt x="6997" y="822"/>
                            <a:pt x="7117" y="822"/>
                          </a:cubicBezTo>
                          <a:cubicBezTo>
                            <a:pt x="7416" y="763"/>
                            <a:pt x="7655" y="763"/>
                            <a:pt x="7954" y="822"/>
                          </a:cubicBezTo>
                          <a:cubicBezTo>
                            <a:pt x="8253" y="882"/>
                            <a:pt x="8493" y="882"/>
                            <a:pt x="8732" y="942"/>
                          </a:cubicBezTo>
                          <a:cubicBezTo>
                            <a:pt x="8971" y="1002"/>
                            <a:pt x="9270" y="1062"/>
                            <a:pt x="9509" y="1181"/>
                          </a:cubicBezTo>
                          <a:cubicBezTo>
                            <a:pt x="9749" y="1301"/>
                            <a:pt x="9988" y="1421"/>
                            <a:pt x="10227" y="1540"/>
                          </a:cubicBezTo>
                          <a:cubicBezTo>
                            <a:pt x="10466" y="1660"/>
                            <a:pt x="10645" y="1839"/>
                            <a:pt x="10825" y="2019"/>
                          </a:cubicBezTo>
                          <a:cubicBezTo>
                            <a:pt x="11004" y="2198"/>
                            <a:pt x="11184" y="2377"/>
                            <a:pt x="11304" y="2617"/>
                          </a:cubicBezTo>
                          <a:cubicBezTo>
                            <a:pt x="11423" y="2796"/>
                            <a:pt x="11543" y="3035"/>
                            <a:pt x="11662" y="3275"/>
                          </a:cubicBezTo>
                          <a:cubicBezTo>
                            <a:pt x="11782" y="3514"/>
                            <a:pt x="11842" y="3753"/>
                            <a:pt x="11902" y="3992"/>
                          </a:cubicBezTo>
                          <a:cubicBezTo>
                            <a:pt x="11902" y="4112"/>
                            <a:pt x="11961" y="4231"/>
                            <a:pt x="11961" y="4351"/>
                          </a:cubicBezTo>
                          <a:cubicBezTo>
                            <a:pt x="11961" y="4471"/>
                            <a:pt x="11961" y="4590"/>
                            <a:pt x="12021" y="4710"/>
                          </a:cubicBezTo>
                          <a:cubicBezTo>
                            <a:pt x="12081" y="4829"/>
                            <a:pt x="12021" y="4949"/>
                            <a:pt x="12021" y="5069"/>
                          </a:cubicBezTo>
                          <a:cubicBezTo>
                            <a:pt x="12021" y="5189"/>
                            <a:pt x="12021" y="5308"/>
                            <a:pt x="12021" y="5428"/>
                          </a:cubicBezTo>
                          <a:cubicBezTo>
                            <a:pt x="12021" y="5667"/>
                            <a:pt x="11961" y="5906"/>
                            <a:pt x="11902" y="6205"/>
                          </a:cubicBezTo>
                          <a:cubicBezTo>
                            <a:pt x="11842" y="6444"/>
                            <a:pt x="11782" y="6743"/>
                            <a:pt x="11662" y="6983"/>
                          </a:cubicBezTo>
                          <a:cubicBezTo>
                            <a:pt x="11543" y="7222"/>
                            <a:pt x="11483" y="7521"/>
                            <a:pt x="11304" y="7760"/>
                          </a:cubicBezTo>
                          <a:cubicBezTo>
                            <a:pt x="11184" y="7999"/>
                            <a:pt x="11004" y="8238"/>
                            <a:pt x="10885" y="8478"/>
                          </a:cubicBezTo>
                          <a:lnTo>
                            <a:pt x="11662" y="8956"/>
                          </a:lnTo>
                          <a:cubicBezTo>
                            <a:pt x="11842" y="8717"/>
                            <a:pt x="11961" y="8478"/>
                            <a:pt x="12081" y="8238"/>
                          </a:cubicBezTo>
                          <a:cubicBezTo>
                            <a:pt x="12201" y="7999"/>
                            <a:pt x="12320" y="7760"/>
                            <a:pt x="12440" y="7521"/>
                          </a:cubicBezTo>
                          <a:cubicBezTo>
                            <a:pt x="12559" y="7282"/>
                            <a:pt x="12619" y="7043"/>
                            <a:pt x="12739" y="6803"/>
                          </a:cubicBezTo>
                          <a:cubicBezTo>
                            <a:pt x="12799" y="6564"/>
                            <a:pt x="12859" y="6325"/>
                            <a:pt x="12918" y="6085"/>
                          </a:cubicBezTo>
                          <a:cubicBezTo>
                            <a:pt x="12918" y="5966"/>
                            <a:pt x="12978" y="5906"/>
                            <a:pt x="12978" y="5787"/>
                          </a:cubicBezTo>
                          <a:cubicBezTo>
                            <a:pt x="12978" y="5667"/>
                            <a:pt x="12978" y="5607"/>
                            <a:pt x="13038" y="5488"/>
                          </a:cubicBezTo>
                          <a:cubicBezTo>
                            <a:pt x="13038" y="5368"/>
                            <a:pt x="13038" y="5308"/>
                            <a:pt x="13038" y="5189"/>
                          </a:cubicBezTo>
                          <a:cubicBezTo>
                            <a:pt x="13038" y="5069"/>
                            <a:pt x="13038" y="5009"/>
                            <a:pt x="13038" y="4889"/>
                          </a:cubicBezTo>
                          <a:cubicBezTo>
                            <a:pt x="13038" y="4471"/>
                            <a:pt x="12978" y="4052"/>
                            <a:pt x="12918" y="3693"/>
                          </a:cubicBezTo>
                          <a:cubicBezTo>
                            <a:pt x="12859" y="3334"/>
                            <a:pt x="12679" y="2916"/>
                            <a:pt x="12500" y="2557"/>
                          </a:cubicBezTo>
                          <a:cubicBezTo>
                            <a:pt x="12320" y="2198"/>
                            <a:pt x="12081" y="1899"/>
                            <a:pt x="11842" y="1600"/>
                          </a:cubicBezTo>
                          <a:cubicBezTo>
                            <a:pt x="11603" y="1301"/>
                            <a:pt x="11304" y="1062"/>
                            <a:pt x="10945" y="822"/>
                          </a:cubicBezTo>
                          <a:cubicBezTo>
                            <a:pt x="10586" y="583"/>
                            <a:pt x="10227" y="404"/>
                            <a:pt x="9868" y="284"/>
                          </a:cubicBezTo>
                          <a:cubicBezTo>
                            <a:pt x="9450" y="165"/>
                            <a:pt x="9091" y="45"/>
                            <a:pt x="8672" y="45"/>
                          </a:cubicBezTo>
                          <a:cubicBezTo>
                            <a:pt x="8253" y="-15"/>
                            <a:pt x="7835" y="-15"/>
                            <a:pt x="7356" y="45"/>
                          </a:cubicBezTo>
                          <a:cubicBezTo>
                            <a:pt x="6937" y="105"/>
                            <a:pt x="6459" y="165"/>
                            <a:pt x="6041" y="284"/>
                          </a:cubicBezTo>
                          <a:cubicBezTo>
                            <a:pt x="5921" y="344"/>
                            <a:pt x="5801" y="344"/>
                            <a:pt x="5742" y="404"/>
                          </a:cubicBezTo>
                          <a:cubicBezTo>
                            <a:pt x="5622" y="464"/>
                            <a:pt x="5562" y="464"/>
                            <a:pt x="5442" y="523"/>
                          </a:cubicBezTo>
                          <a:cubicBezTo>
                            <a:pt x="5323" y="583"/>
                            <a:pt x="5263" y="583"/>
                            <a:pt x="5143" y="643"/>
                          </a:cubicBezTo>
                          <a:cubicBezTo>
                            <a:pt x="5024" y="703"/>
                            <a:pt x="4964" y="763"/>
                            <a:pt x="4844" y="763"/>
                          </a:cubicBezTo>
                          <a:cubicBezTo>
                            <a:pt x="4605" y="882"/>
                            <a:pt x="4366" y="1002"/>
                            <a:pt x="4127" y="1181"/>
                          </a:cubicBezTo>
                          <a:cubicBezTo>
                            <a:pt x="3888" y="1361"/>
                            <a:pt x="3648" y="1480"/>
                            <a:pt x="3469" y="1660"/>
                          </a:cubicBezTo>
                          <a:cubicBezTo>
                            <a:pt x="3229" y="1839"/>
                            <a:pt x="3050" y="2019"/>
                            <a:pt x="2811" y="2198"/>
                          </a:cubicBezTo>
                          <a:cubicBezTo>
                            <a:pt x="2392" y="2138"/>
                            <a:pt x="2213" y="2318"/>
                            <a:pt x="2033" y="2557"/>
                          </a:cubicBezTo>
                          <a:moveTo>
                            <a:pt x="1136" y="10870"/>
                          </a:moveTo>
                          <a:lnTo>
                            <a:pt x="3229" y="12246"/>
                          </a:lnTo>
                          <a:cubicBezTo>
                            <a:pt x="3828" y="12425"/>
                            <a:pt x="4486" y="12545"/>
                            <a:pt x="5143" y="12545"/>
                          </a:cubicBezTo>
                          <a:cubicBezTo>
                            <a:pt x="5801" y="12545"/>
                            <a:pt x="6459" y="12425"/>
                            <a:pt x="7177" y="12186"/>
                          </a:cubicBezTo>
                          <a:cubicBezTo>
                            <a:pt x="7835" y="11946"/>
                            <a:pt x="8493" y="11648"/>
                            <a:pt x="9150" y="11229"/>
                          </a:cubicBezTo>
                          <a:cubicBezTo>
                            <a:pt x="9808" y="10810"/>
                            <a:pt x="10347" y="10332"/>
                            <a:pt x="10885" y="9734"/>
                          </a:cubicBezTo>
                          <a:lnTo>
                            <a:pt x="10107" y="9255"/>
                          </a:lnTo>
                          <a:cubicBezTo>
                            <a:pt x="9569" y="9794"/>
                            <a:pt x="9031" y="10272"/>
                            <a:pt x="8373" y="10631"/>
                          </a:cubicBezTo>
                          <a:cubicBezTo>
                            <a:pt x="7775" y="10990"/>
                            <a:pt x="7117" y="11229"/>
                            <a:pt x="6459" y="11408"/>
                          </a:cubicBezTo>
                          <a:cubicBezTo>
                            <a:pt x="5801" y="11528"/>
                            <a:pt x="5143" y="11588"/>
                            <a:pt x="4545" y="11468"/>
                          </a:cubicBezTo>
                          <a:cubicBezTo>
                            <a:pt x="3947" y="11349"/>
                            <a:pt x="3349" y="11169"/>
                            <a:pt x="2811" y="10810"/>
                          </a:cubicBezTo>
                          <a:cubicBezTo>
                            <a:pt x="2273" y="10451"/>
                            <a:pt x="1854" y="10033"/>
                            <a:pt x="1615" y="9495"/>
                          </a:cubicBezTo>
                          <a:cubicBezTo>
                            <a:pt x="1316" y="8956"/>
                            <a:pt x="1136" y="8418"/>
                            <a:pt x="1076" y="7760"/>
                          </a:cubicBezTo>
                          <a:cubicBezTo>
                            <a:pt x="1017" y="7102"/>
                            <a:pt x="1076" y="6504"/>
                            <a:pt x="1256" y="5846"/>
                          </a:cubicBezTo>
                          <a:cubicBezTo>
                            <a:pt x="1435" y="5189"/>
                            <a:pt x="1734" y="4530"/>
                            <a:pt x="2153" y="3933"/>
                          </a:cubicBezTo>
                          <a:lnTo>
                            <a:pt x="1375" y="3394"/>
                          </a:lnTo>
                          <a:cubicBezTo>
                            <a:pt x="957" y="4052"/>
                            <a:pt x="598" y="4710"/>
                            <a:pt x="359" y="5368"/>
                          </a:cubicBezTo>
                          <a:cubicBezTo>
                            <a:pt x="120" y="6026"/>
                            <a:pt x="0" y="6743"/>
                            <a:pt x="0" y="7401"/>
                          </a:cubicBezTo>
                          <a:cubicBezTo>
                            <a:pt x="0" y="8059"/>
                            <a:pt x="60" y="8657"/>
                            <a:pt x="299" y="9255"/>
                          </a:cubicBezTo>
                          <a:cubicBezTo>
                            <a:pt x="419" y="9853"/>
                            <a:pt x="718" y="10392"/>
                            <a:pt x="1136" y="10870"/>
                          </a:cubicBezTo>
                        </a:path>
                      </a:pathLst>
                    </a:custGeom>
                    <a:noFill/>
                    <a:ln w="6350" cap="flat">
                      <a:solidFill>
                        <a:schemeClr val="bg1">
                          <a:alpha val="80000"/>
                        </a:schemeClr>
                      </a:solidFill>
                      <a:prstDash val="solid"/>
                      <a:miter/>
                    </a:ln>
                  </p:spPr>
                  <p:txBody>
                    <a:bodyPr rtlCol="0" anchor="ctr"/>
                    <a:lstStyle/>
                    <a:p>
                      <a:endParaRPr lang="en-GB"/>
                    </a:p>
                  </p:txBody>
                </p:sp>
                <p:sp>
                  <p:nvSpPr>
                    <p:cNvPr id="7489" name="Vrije vorm: vorm 7488">
                      <a:extLst>
                        <a:ext uri="{FF2B5EF4-FFF2-40B4-BE49-F238E27FC236}">
                          <a16:creationId xmlns:a16="http://schemas.microsoft.com/office/drawing/2014/main" id="{D9513C3B-6B37-458C-91C7-FEB528EA23E3}"/>
                        </a:ext>
                      </a:extLst>
                    </p:cNvPr>
                    <p:cNvSpPr/>
                    <p:nvPr/>
                  </p:nvSpPr>
                  <p:spPr>
                    <a:xfrm>
                      <a:off x="4995118" y="5289390"/>
                      <a:ext cx="24745" cy="24248"/>
                    </a:xfrm>
                    <a:custGeom>
                      <a:avLst/>
                      <a:gdLst>
                        <a:gd name="connsiteX0" fmla="*/ 21112 w 24745"/>
                        <a:gd name="connsiteY0" fmla="*/ 17284 h 24248"/>
                        <a:gd name="connsiteX1" fmla="*/ 21889 w 24745"/>
                        <a:gd name="connsiteY1" fmla="*/ 17822 h 24248"/>
                        <a:gd name="connsiteX2" fmla="*/ 22368 w 24745"/>
                        <a:gd name="connsiteY2" fmla="*/ 17165 h 24248"/>
                        <a:gd name="connsiteX3" fmla="*/ 22787 w 24745"/>
                        <a:gd name="connsiteY3" fmla="*/ 16447 h 24248"/>
                        <a:gd name="connsiteX4" fmla="*/ 23145 w 24745"/>
                        <a:gd name="connsiteY4" fmla="*/ 15729 h 24248"/>
                        <a:gd name="connsiteX5" fmla="*/ 23504 w 24745"/>
                        <a:gd name="connsiteY5" fmla="*/ 15012 h 24248"/>
                        <a:gd name="connsiteX6" fmla="*/ 23624 w 24745"/>
                        <a:gd name="connsiteY6" fmla="*/ 14772 h 24248"/>
                        <a:gd name="connsiteX7" fmla="*/ 23743 w 24745"/>
                        <a:gd name="connsiteY7" fmla="*/ 14533 h 24248"/>
                        <a:gd name="connsiteX8" fmla="*/ 23863 w 24745"/>
                        <a:gd name="connsiteY8" fmla="*/ 14294 h 24248"/>
                        <a:gd name="connsiteX9" fmla="*/ 23983 w 24745"/>
                        <a:gd name="connsiteY9" fmla="*/ 14055 h 24248"/>
                        <a:gd name="connsiteX10" fmla="*/ 24461 w 24745"/>
                        <a:gd name="connsiteY10" fmla="*/ 12320 h 24248"/>
                        <a:gd name="connsiteX11" fmla="*/ 24700 w 24745"/>
                        <a:gd name="connsiteY11" fmla="*/ 10586 h 24248"/>
                        <a:gd name="connsiteX12" fmla="*/ 24700 w 24745"/>
                        <a:gd name="connsiteY12" fmla="*/ 8911 h 24248"/>
                        <a:gd name="connsiteX13" fmla="*/ 24461 w 24745"/>
                        <a:gd name="connsiteY13" fmla="*/ 7296 h 24248"/>
                        <a:gd name="connsiteX14" fmla="*/ 24342 w 24745"/>
                        <a:gd name="connsiteY14" fmla="*/ 6818 h 24248"/>
                        <a:gd name="connsiteX15" fmla="*/ 24222 w 24745"/>
                        <a:gd name="connsiteY15" fmla="*/ 6340 h 24248"/>
                        <a:gd name="connsiteX16" fmla="*/ 24043 w 24745"/>
                        <a:gd name="connsiteY16" fmla="*/ 5921 h 24248"/>
                        <a:gd name="connsiteX17" fmla="*/ 23863 w 24745"/>
                        <a:gd name="connsiteY17" fmla="*/ 5502 h 24248"/>
                        <a:gd name="connsiteX18" fmla="*/ 23265 w 24745"/>
                        <a:gd name="connsiteY18" fmla="*/ 4426 h 24248"/>
                        <a:gd name="connsiteX19" fmla="*/ 22547 w 24745"/>
                        <a:gd name="connsiteY19" fmla="*/ 3409 h 24248"/>
                        <a:gd name="connsiteX20" fmla="*/ 21710 w 24745"/>
                        <a:gd name="connsiteY20" fmla="*/ 2512 h 24248"/>
                        <a:gd name="connsiteX21" fmla="*/ 20693 w 24745"/>
                        <a:gd name="connsiteY21" fmla="*/ 1734 h 24248"/>
                        <a:gd name="connsiteX22" fmla="*/ 20275 w 24745"/>
                        <a:gd name="connsiteY22" fmla="*/ 1495 h 24248"/>
                        <a:gd name="connsiteX23" fmla="*/ 19856 w 24745"/>
                        <a:gd name="connsiteY23" fmla="*/ 1256 h 24248"/>
                        <a:gd name="connsiteX24" fmla="*/ 19437 w 24745"/>
                        <a:gd name="connsiteY24" fmla="*/ 1017 h 24248"/>
                        <a:gd name="connsiteX25" fmla="*/ 19019 w 24745"/>
                        <a:gd name="connsiteY25" fmla="*/ 837 h 24248"/>
                        <a:gd name="connsiteX26" fmla="*/ 18301 w 24745"/>
                        <a:gd name="connsiteY26" fmla="*/ 1794 h 24248"/>
                        <a:gd name="connsiteX27" fmla="*/ 18361 w 24745"/>
                        <a:gd name="connsiteY27" fmla="*/ 1794 h 24248"/>
                        <a:gd name="connsiteX28" fmla="*/ 18421 w 24745"/>
                        <a:gd name="connsiteY28" fmla="*/ 1794 h 24248"/>
                        <a:gd name="connsiteX29" fmla="*/ 18481 w 24745"/>
                        <a:gd name="connsiteY29" fmla="*/ 1794 h 24248"/>
                        <a:gd name="connsiteX30" fmla="*/ 18540 w 24745"/>
                        <a:gd name="connsiteY30" fmla="*/ 1794 h 24248"/>
                        <a:gd name="connsiteX31" fmla="*/ 18959 w 24745"/>
                        <a:gd name="connsiteY31" fmla="*/ 1974 h 24248"/>
                        <a:gd name="connsiteX32" fmla="*/ 19318 w 24745"/>
                        <a:gd name="connsiteY32" fmla="*/ 2153 h 24248"/>
                        <a:gd name="connsiteX33" fmla="*/ 19676 w 24745"/>
                        <a:gd name="connsiteY33" fmla="*/ 2333 h 24248"/>
                        <a:gd name="connsiteX34" fmla="*/ 20035 w 24745"/>
                        <a:gd name="connsiteY34" fmla="*/ 2572 h 24248"/>
                        <a:gd name="connsiteX35" fmla="*/ 20394 w 24745"/>
                        <a:gd name="connsiteY35" fmla="*/ 2811 h 24248"/>
                        <a:gd name="connsiteX36" fmla="*/ 20753 w 24745"/>
                        <a:gd name="connsiteY36" fmla="*/ 3050 h 24248"/>
                        <a:gd name="connsiteX37" fmla="*/ 21052 w 24745"/>
                        <a:gd name="connsiteY37" fmla="*/ 3349 h 24248"/>
                        <a:gd name="connsiteX38" fmla="*/ 21351 w 24745"/>
                        <a:gd name="connsiteY38" fmla="*/ 3648 h 24248"/>
                        <a:gd name="connsiteX39" fmla="*/ 21889 w 24745"/>
                        <a:gd name="connsiteY39" fmla="*/ 4246 h 24248"/>
                        <a:gd name="connsiteX40" fmla="*/ 22368 w 24745"/>
                        <a:gd name="connsiteY40" fmla="*/ 4844 h 24248"/>
                        <a:gd name="connsiteX41" fmla="*/ 22787 w 24745"/>
                        <a:gd name="connsiteY41" fmla="*/ 5502 h 24248"/>
                        <a:gd name="connsiteX42" fmla="*/ 23145 w 24745"/>
                        <a:gd name="connsiteY42" fmla="*/ 6160 h 24248"/>
                        <a:gd name="connsiteX43" fmla="*/ 23684 w 24745"/>
                        <a:gd name="connsiteY43" fmla="*/ 7835 h 24248"/>
                        <a:gd name="connsiteX44" fmla="*/ 23863 w 24745"/>
                        <a:gd name="connsiteY44" fmla="*/ 9629 h 24248"/>
                        <a:gd name="connsiteX45" fmla="*/ 23743 w 24745"/>
                        <a:gd name="connsiteY45" fmla="*/ 11483 h 24248"/>
                        <a:gd name="connsiteX46" fmla="*/ 23265 w 24745"/>
                        <a:gd name="connsiteY46" fmla="*/ 13397 h 24248"/>
                        <a:gd name="connsiteX47" fmla="*/ 23145 w 24745"/>
                        <a:gd name="connsiteY47" fmla="*/ 13636 h 24248"/>
                        <a:gd name="connsiteX48" fmla="*/ 23026 w 24745"/>
                        <a:gd name="connsiteY48" fmla="*/ 13875 h 24248"/>
                        <a:gd name="connsiteX49" fmla="*/ 22906 w 24745"/>
                        <a:gd name="connsiteY49" fmla="*/ 14114 h 24248"/>
                        <a:gd name="connsiteX50" fmla="*/ 22787 w 24745"/>
                        <a:gd name="connsiteY50" fmla="*/ 14354 h 24248"/>
                        <a:gd name="connsiteX51" fmla="*/ 22488 w 24745"/>
                        <a:gd name="connsiteY51" fmla="*/ 15072 h 24248"/>
                        <a:gd name="connsiteX52" fmla="*/ 22129 w 24745"/>
                        <a:gd name="connsiteY52" fmla="*/ 15789 h 24248"/>
                        <a:gd name="connsiteX53" fmla="*/ 21710 w 24745"/>
                        <a:gd name="connsiteY53" fmla="*/ 16507 h 24248"/>
                        <a:gd name="connsiteX54" fmla="*/ 21112 w 24745"/>
                        <a:gd name="connsiteY54" fmla="*/ 17284 h 24248"/>
                        <a:gd name="connsiteX55" fmla="*/ 3469 w 24745"/>
                        <a:gd name="connsiteY55" fmla="*/ 5622 h 24248"/>
                        <a:gd name="connsiteX56" fmla="*/ 4246 w 24745"/>
                        <a:gd name="connsiteY56" fmla="*/ 6160 h 24248"/>
                        <a:gd name="connsiteX57" fmla="*/ 4785 w 24745"/>
                        <a:gd name="connsiteY57" fmla="*/ 5502 h 24248"/>
                        <a:gd name="connsiteX58" fmla="*/ 5383 w 24745"/>
                        <a:gd name="connsiteY58" fmla="*/ 4904 h 24248"/>
                        <a:gd name="connsiteX59" fmla="*/ 5981 w 24745"/>
                        <a:gd name="connsiteY59" fmla="*/ 4366 h 24248"/>
                        <a:gd name="connsiteX60" fmla="*/ 6639 w 24745"/>
                        <a:gd name="connsiteY60" fmla="*/ 3828 h 24248"/>
                        <a:gd name="connsiteX61" fmla="*/ 6878 w 24745"/>
                        <a:gd name="connsiteY61" fmla="*/ 3648 h 24248"/>
                        <a:gd name="connsiteX62" fmla="*/ 7117 w 24745"/>
                        <a:gd name="connsiteY62" fmla="*/ 3469 h 24248"/>
                        <a:gd name="connsiteX63" fmla="*/ 7356 w 24745"/>
                        <a:gd name="connsiteY63" fmla="*/ 3289 h 24248"/>
                        <a:gd name="connsiteX64" fmla="*/ 7596 w 24745"/>
                        <a:gd name="connsiteY64" fmla="*/ 3110 h 24248"/>
                        <a:gd name="connsiteX65" fmla="*/ 9450 w 24745"/>
                        <a:gd name="connsiteY65" fmla="*/ 2093 h 24248"/>
                        <a:gd name="connsiteX66" fmla="*/ 11364 w 24745"/>
                        <a:gd name="connsiteY66" fmla="*/ 1375 h 24248"/>
                        <a:gd name="connsiteX67" fmla="*/ 13337 w 24745"/>
                        <a:gd name="connsiteY67" fmla="*/ 1017 h 24248"/>
                        <a:gd name="connsiteX68" fmla="*/ 15251 w 24745"/>
                        <a:gd name="connsiteY68" fmla="*/ 957 h 24248"/>
                        <a:gd name="connsiteX69" fmla="*/ 15789 w 24745"/>
                        <a:gd name="connsiteY69" fmla="*/ 1017 h 24248"/>
                        <a:gd name="connsiteX70" fmla="*/ 16267 w 24745"/>
                        <a:gd name="connsiteY70" fmla="*/ 1076 h 24248"/>
                        <a:gd name="connsiteX71" fmla="*/ 16746 w 24745"/>
                        <a:gd name="connsiteY71" fmla="*/ 1196 h 24248"/>
                        <a:gd name="connsiteX72" fmla="*/ 17225 w 24745"/>
                        <a:gd name="connsiteY72" fmla="*/ 1316 h 24248"/>
                        <a:gd name="connsiteX73" fmla="*/ 18002 w 24745"/>
                        <a:gd name="connsiteY73" fmla="*/ 359 h 24248"/>
                        <a:gd name="connsiteX74" fmla="*/ 17464 w 24745"/>
                        <a:gd name="connsiteY74" fmla="*/ 239 h 24248"/>
                        <a:gd name="connsiteX75" fmla="*/ 16926 w 24745"/>
                        <a:gd name="connsiteY75" fmla="*/ 120 h 24248"/>
                        <a:gd name="connsiteX76" fmla="*/ 16387 w 24745"/>
                        <a:gd name="connsiteY76" fmla="*/ 60 h 24248"/>
                        <a:gd name="connsiteX77" fmla="*/ 15849 w 24745"/>
                        <a:gd name="connsiteY77" fmla="*/ 0 h 24248"/>
                        <a:gd name="connsiteX78" fmla="*/ 15311 w 24745"/>
                        <a:gd name="connsiteY78" fmla="*/ 0 h 24248"/>
                        <a:gd name="connsiteX79" fmla="*/ 14772 w 24745"/>
                        <a:gd name="connsiteY79" fmla="*/ 0 h 24248"/>
                        <a:gd name="connsiteX80" fmla="*/ 14234 w 24745"/>
                        <a:gd name="connsiteY80" fmla="*/ 0 h 24248"/>
                        <a:gd name="connsiteX81" fmla="*/ 13696 w 24745"/>
                        <a:gd name="connsiteY81" fmla="*/ 60 h 24248"/>
                        <a:gd name="connsiteX82" fmla="*/ 11902 w 24745"/>
                        <a:gd name="connsiteY82" fmla="*/ 359 h 24248"/>
                        <a:gd name="connsiteX83" fmla="*/ 10107 w 24745"/>
                        <a:gd name="connsiteY83" fmla="*/ 897 h 24248"/>
                        <a:gd name="connsiteX84" fmla="*/ 8373 w 24745"/>
                        <a:gd name="connsiteY84" fmla="*/ 1674 h 24248"/>
                        <a:gd name="connsiteX85" fmla="*/ 6698 w 24745"/>
                        <a:gd name="connsiteY85" fmla="*/ 2691 h 24248"/>
                        <a:gd name="connsiteX86" fmla="*/ 6459 w 24745"/>
                        <a:gd name="connsiteY86" fmla="*/ 2871 h 24248"/>
                        <a:gd name="connsiteX87" fmla="*/ 6220 w 24745"/>
                        <a:gd name="connsiteY87" fmla="*/ 3050 h 24248"/>
                        <a:gd name="connsiteX88" fmla="*/ 5981 w 24745"/>
                        <a:gd name="connsiteY88" fmla="*/ 3229 h 24248"/>
                        <a:gd name="connsiteX89" fmla="*/ 5742 w 24745"/>
                        <a:gd name="connsiteY89" fmla="*/ 3409 h 24248"/>
                        <a:gd name="connsiteX90" fmla="*/ 5083 w 24745"/>
                        <a:gd name="connsiteY90" fmla="*/ 3947 h 24248"/>
                        <a:gd name="connsiteX91" fmla="*/ 4486 w 24745"/>
                        <a:gd name="connsiteY91" fmla="*/ 4486 h 24248"/>
                        <a:gd name="connsiteX92" fmla="*/ 3888 w 24745"/>
                        <a:gd name="connsiteY92" fmla="*/ 5083 h 24248"/>
                        <a:gd name="connsiteX93" fmla="*/ 3469 w 24745"/>
                        <a:gd name="connsiteY93" fmla="*/ 5622 h 24248"/>
                        <a:gd name="connsiteX94" fmla="*/ 14832 w 24745"/>
                        <a:gd name="connsiteY94" fmla="*/ 22248 h 24248"/>
                        <a:gd name="connsiteX95" fmla="*/ 15789 w 24745"/>
                        <a:gd name="connsiteY95" fmla="*/ 22906 h 24248"/>
                        <a:gd name="connsiteX96" fmla="*/ 17225 w 24745"/>
                        <a:gd name="connsiteY96" fmla="*/ 22129 h 24248"/>
                        <a:gd name="connsiteX97" fmla="*/ 18600 w 24745"/>
                        <a:gd name="connsiteY97" fmla="*/ 21172 h 24248"/>
                        <a:gd name="connsiteX98" fmla="*/ 19916 w 24745"/>
                        <a:gd name="connsiteY98" fmla="*/ 20035 h 24248"/>
                        <a:gd name="connsiteX99" fmla="*/ 21112 w 24745"/>
                        <a:gd name="connsiteY99" fmla="*/ 18780 h 24248"/>
                        <a:gd name="connsiteX100" fmla="*/ 20335 w 24745"/>
                        <a:gd name="connsiteY100" fmla="*/ 18241 h 24248"/>
                        <a:gd name="connsiteX101" fmla="*/ 19079 w 24745"/>
                        <a:gd name="connsiteY101" fmla="*/ 19497 h 24248"/>
                        <a:gd name="connsiteX102" fmla="*/ 17703 w 24745"/>
                        <a:gd name="connsiteY102" fmla="*/ 20574 h 24248"/>
                        <a:gd name="connsiteX103" fmla="*/ 16267 w 24745"/>
                        <a:gd name="connsiteY103" fmla="*/ 21471 h 24248"/>
                        <a:gd name="connsiteX104" fmla="*/ 14832 w 24745"/>
                        <a:gd name="connsiteY104" fmla="*/ 22248 h 24248"/>
                        <a:gd name="connsiteX105" fmla="*/ 120 w 24745"/>
                        <a:gd name="connsiteY105" fmla="*/ 12559 h 24248"/>
                        <a:gd name="connsiteX106" fmla="*/ 1076 w 24745"/>
                        <a:gd name="connsiteY106" fmla="*/ 13217 h 24248"/>
                        <a:gd name="connsiteX107" fmla="*/ 1375 w 24745"/>
                        <a:gd name="connsiteY107" fmla="*/ 11662 h 24248"/>
                        <a:gd name="connsiteX108" fmla="*/ 1854 w 24745"/>
                        <a:gd name="connsiteY108" fmla="*/ 10107 h 24248"/>
                        <a:gd name="connsiteX109" fmla="*/ 2572 w 24745"/>
                        <a:gd name="connsiteY109" fmla="*/ 8552 h 24248"/>
                        <a:gd name="connsiteX110" fmla="*/ 3529 w 24745"/>
                        <a:gd name="connsiteY110" fmla="*/ 7057 h 24248"/>
                        <a:gd name="connsiteX111" fmla="*/ 2751 w 24745"/>
                        <a:gd name="connsiteY111" fmla="*/ 6519 h 24248"/>
                        <a:gd name="connsiteX112" fmla="*/ 1794 w 24745"/>
                        <a:gd name="connsiteY112" fmla="*/ 8014 h 24248"/>
                        <a:gd name="connsiteX113" fmla="*/ 1017 w 24745"/>
                        <a:gd name="connsiteY113" fmla="*/ 9509 h 24248"/>
                        <a:gd name="connsiteX114" fmla="*/ 479 w 24745"/>
                        <a:gd name="connsiteY114" fmla="*/ 11064 h 24248"/>
                        <a:gd name="connsiteX115" fmla="*/ 120 w 24745"/>
                        <a:gd name="connsiteY115" fmla="*/ 12559 h 24248"/>
                        <a:gd name="connsiteX116" fmla="*/ 10586 w 24745"/>
                        <a:gd name="connsiteY116" fmla="*/ 23265 h 24248"/>
                        <a:gd name="connsiteX117" fmla="*/ 11961 w 24745"/>
                        <a:gd name="connsiteY117" fmla="*/ 24162 h 24248"/>
                        <a:gd name="connsiteX118" fmla="*/ 12619 w 24745"/>
                        <a:gd name="connsiteY118" fmla="*/ 24043 h 24248"/>
                        <a:gd name="connsiteX119" fmla="*/ 13277 w 24745"/>
                        <a:gd name="connsiteY119" fmla="*/ 23863 h 24248"/>
                        <a:gd name="connsiteX120" fmla="*/ 13935 w 24745"/>
                        <a:gd name="connsiteY120" fmla="*/ 23683 h 24248"/>
                        <a:gd name="connsiteX121" fmla="*/ 14593 w 24745"/>
                        <a:gd name="connsiteY121" fmla="*/ 23444 h 24248"/>
                        <a:gd name="connsiteX122" fmla="*/ 13516 w 24745"/>
                        <a:gd name="connsiteY122" fmla="*/ 22727 h 24248"/>
                        <a:gd name="connsiteX123" fmla="*/ 12799 w 24745"/>
                        <a:gd name="connsiteY123" fmla="*/ 22906 h 24248"/>
                        <a:gd name="connsiteX124" fmla="*/ 12081 w 24745"/>
                        <a:gd name="connsiteY124" fmla="*/ 23026 h 24248"/>
                        <a:gd name="connsiteX125" fmla="*/ 11364 w 24745"/>
                        <a:gd name="connsiteY125" fmla="*/ 23145 h 24248"/>
                        <a:gd name="connsiteX126" fmla="*/ 10586 w 24745"/>
                        <a:gd name="connsiteY126" fmla="*/ 23265 h 24248"/>
                        <a:gd name="connsiteX127" fmla="*/ 60 w 24745"/>
                        <a:gd name="connsiteY127" fmla="*/ 16387 h 24248"/>
                        <a:gd name="connsiteX128" fmla="*/ 1435 w 24745"/>
                        <a:gd name="connsiteY128" fmla="*/ 17284 h 24248"/>
                        <a:gd name="connsiteX129" fmla="*/ 1256 w 24745"/>
                        <a:gd name="connsiteY129" fmla="*/ 16626 h 24248"/>
                        <a:gd name="connsiteX130" fmla="*/ 1136 w 24745"/>
                        <a:gd name="connsiteY130" fmla="*/ 15968 h 24248"/>
                        <a:gd name="connsiteX131" fmla="*/ 1076 w 24745"/>
                        <a:gd name="connsiteY131" fmla="*/ 15311 h 24248"/>
                        <a:gd name="connsiteX132" fmla="*/ 1017 w 24745"/>
                        <a:gd name="connsiteY132" fmla="*/ 14593 h 24248"/>
                        <a:gd name="connsiteX133" fmla="*/ 0 w 24745"/>
                        <a:gd name="connsiteY133" fmla="*/ 13935 h 24248"/>
                        <a:gd name="connsiteX134" fmla="*/ 0 w 24745"/>
                        <a:gd name="connsiteY134" fmla="*/ 14593 h 24248"/>
                        <a:gd name="connsiteX135" fmla="*/ 0 w 24745"/>
                        <a:gd name="connsiteY135" fmla="*/ 15251 h 24248"/>
                        <a:gd name="connsiteX136" fmla="*/ 60 w 24745"/>
                        <a:gd name="connsiteY136" fmla="*/ 15849 h 24248"/>
                        <a:gd name="connsiteX137" fmla="*/ 60 w 24745"/>
                        <a:gd name="connsiteY137" fmla="*/ 16387 h 24248"/>
                        <a:gd name="connsiteX138" fmla="*/ 2691 w 24745"/>
                        <a:gd name="connsiteY138" fmla="*/ 21590 h 24248"/>
                        <a:gd name="connsiteX139" fmla="*/ 5682 w 24745"/>
                        <a:gd name="connsiteY139" fmla="*/ 23504 h 24248"/>
                        <a:gd name="connsiteX140" fmla="*/ 6758 w 24745"/>
                        <a:gd name="connsiteY140" fmla="*/ 23863 h 24248"/>
                        <a:gd name="connsiteX141" fmla="*/ 7835 w 24745"/>
                        <a:gd name="connsiteY141" fmla="*/ 24102 h 24248"/>
                        <a:gd name="connsiteX142" fmla="*/ 8971 w 24745"/>
                        <a:gd name="connsiteY142" fmla="*/ 24222 h 24248"/>
                        <a:gd name="connsiteX143" fmla="*/ 10107 w 24745"/>
                        <a:gd name="connsiteY143" fmla="*/ 24222 h 24248"/>
                        <a:gd name="connsiteX144" fmla="*/ 8253 w 24745"/>
                        <a:gd name="connsiteY144" fmla="*/ 23026 h 24248"/>
                        <a:gd name="connsiteX145" fmla="*/ 7356 w 24745"/>
                        <a:gd name="connsiteY145" fmla="*/ 22846 h 24248"/>
                        <a:gd name="connsiteX146" fmla="*/ 6459 w 24745"/>
                        <a:gd name="connsiteY146" fmla="*/ 22547 h 24248"/>
                        <a:gd name="connsiteX147" fmla="*/ 5622 w 24745"/>
                        <a:gd name="connsiteY147" fmla="*/ 22188 h 24248"/>
                        <a:gd name="connsiteX148" fmla="*/ 4785 w 24745"/>
                        <a:gd name="connsiteY148" fmla="*/ 21710 h 24248"/>
                        <a:gd name="connsiteX149" fmla="*/ 4067 w 24745"/>
                        <a:gd name="connsiteY149" fmla="*/ 21172 h 24248"/>
                        <a:gd name="connsiteX150" fmla="*/ 3409 w 24745"/>
                        <a:gd name="connsiteY150" fmla="*/ 20574 h 24248"/>
                        <a:gd name="connsiteX151" fmla="*/ 2811 w 24745"/>
                        <a:gd name="connsiteY151" fmla="*/ 19916 h 24248"/>
                        <a:gd name="connsiteX152" fmla="*/ 2333 w 24745"/>
                        <a:gd name="connsiteY152" fmla="*/ 19198 h 24248"/>
                        <a:gd name="connsiteX153" fmla="*/ 479 w 24745"/>
                        <a:gd name="connsiteY153" fmla="*/ 18002 h 24248"/>
                        <a:gd name="connsiteX154" fmla="*/ 897 w 24745"/>
                        <a:gd name="connsiteY154" fmla="*/ 18959 h 24248"/>
                        <a:gd name="connsiteX155" fmla="*/ 1375 w 24745"/>
                        <a:gd name="connsiteY155" fmla="*/ 19916 h 24248"/>
                        <a:gd name="connsiteX156" fmla="*/ 1974 w 24745"/>
                        <a:gd name="connsiteY156" fmla="*/ 20753 h 24248"/>
                        <a:gd name="connsiteX157" fmla="*/ 2691 w 24745"/>
                        <a:gd name="connsiteY157" fmla="*/ 21590 h 2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24745" h="24248">
                          <a:moveTo>
                            <a:pt x="21112" y="17284"/>
                          </a:moveTo>
                          <a:lnTo>
                            <a:pt x="21889" y="17822"/>
                          </a:lnTo>
                          <a:cubicBezTo>
                            <a:pt x="22069" y="17583"/>
                            <a:pt x="22189" y="17344"/>
                            <a:pt x="22368" y="17165"/>
                          </a:cubicBezTo>
                          <a:cubicBezTo>
                            <a:pt x="22547" y="16985"/>
                            <a:pt x="22667" y="16686"/>
                            <a:pt x="22787" y="16447"/>
                          </a:cubicBezTo>
                          <a:cubicBezTo>
                            <a:pt x="22906" y="16208"/>
                            <a:pt x="23026" y="15968"/>
                            <a:pt x="23145" y="15729"/>
                          </a:cubicBezTo>
                          <a:cubicBezTo>
                            <a:pt x="23265" y="15490"/>
                            <a:pt x="23384" y="15251"/>
                            <a:pt x="23504" y="15012"/>
                          </a:cubicBezTo>
                          <a:cubicBezTo>
                            <a:pt x="23564" y="14952"/>
                            <a:pt x="23564" y="14832"/>
                            <a:pt x="23624" y="14772"/>
                          </a:cubicBezTo>
                          <a:cubicBezTo>
                            <a:pt x="23684" y="14712"/>
                            <a:pt x="23684" y="14593"/>
                            <a:pt x="23743" y="14533"/>
                          </a:cubicBezTo>
                          <a:cubicBezTo>
                            <a:pt x="23803" y="14473"/>
                            <a:pt x="23803" y="14354"/>
                            <a:pt x="23863" y="14294"/>
                          </a:cubicBezTo>
                          <a:cubicBezTo>
                            <a:pt x="23923" y="14234"/>
                            <a:pt x="23923" y="14114"/>
                            <a:pt x="23983" y="14055"/>
                          </a:cubicBezTo>
                          <a:cubicBezTo>
                            <a:pt x="24222" y="13457"/>
                            <a:pt x="24342" y="12858"/>
                            <a:pt x="24461" y="12320"/>
                          </a:cubicBezTo>
                          <a:cubicBezTo>
                            <a:pt x="24581" y="11722"/>
                            <a:pt x="24700" y="11184"/>
                            <a:pt x="24700" y="10586"/>
                          </a:cubicBezTo>
                          <a:cubicBezTo>
                            <a:pt x="24760" y="9988"/>
                            <a:pt x="24760" y="9450"/>
                            <a:pt x="24700" y="8911"/>
                          </a:cubicBezTo>
                          <a:cubicBezTo>
                            <a:pt x="24641" y="8373"/>
                            <a:pt x="24581" y="7835"/>
                            <a:pt x="24461" y="7296"/>
                          </a:cubicBezTo>
                          <a:cubicBezTo>
                            <a:pt x="24401" y="7117"/>
                            <a:pt x="24401" y="6997"/>
                            <a:pt x="24342" y="6818"/>
                          </a:cubicBezTo>
                          <a:cubicBezTo>
                            <a:pt x="24282" y="6639"/>
                            <a:pt x="24222" y="6519"/>
                            <a:pt x="24222" y="6340"/>
                          </a:cubicBezTo>
                          <a:cubicBezTo>
                            <a:pt x="24222" y="6160"/>
                            <a:pt x="24102" y="6041"/>
                            <a:pt x="24043" y="5921"/>
                          </a:cubicBezTo>
                          <a:cubicBezTo>
                            <a:pt x="23983" y="5801"/>
                            <a:pt x="23923" y="5622"/>
                            <a:pt x="23863" y="5502"/>
                          </a:cubicBezTo>
                          <a:cubicBezTo>
                            <a:pt x="23684" y="5143"/>
                            <a:pt x="23504" y="4785"/>
                            <a:pt x="23265" y="4426"/>
                          </a:cubicBezTo>
                          <a:cubicBezTo>
                            <a:pt x="23026" y="4067"/>
                            <a:pt x="22787" y="3768"/>
                            <a:pt x="22547" y="3409"/>
                          </a:cubicBezTo>
                          <a:cubicBezTo>
                            <a:pt x="22308" y="3110"/>
                            <a:pt x="22009" y="2811"/>
                            <a:pt x="21710" y="2512"/>
                          </a:cubicBezTo>
                          <a:cubicBezTo>
                            <a:pt x="21411" y="2213"/>
                            <a:pt x="21052" y="1974"/>
                            <a:pt x="20693" y="1734"/>
                          </a:cubicBezTo>
                          <a:cubicBezTo>
                            <a:pt x="20574" y="1674"/>
                            <a:pt x="20454" y="1555"/>
                            <a:pt x="20275" y="1495"/>
                          </a:cubicBezTo>
                          <a:cubicBezTo>
                            <a:pt x="20155" y="1435"/>
                            <a:pt x="19976" y="1316"/>
                            <a:pt x="19856" y="1256"/>
                          </a:cubicBezTo>
                          <a:cubicBezTo>
                            <a:pt x="19736" y="1196"/>
                            <a:pt x="19557" y="1136"/>
                            <a:pt x="19437" y="1017"/>
                          </a:cubicBezTo>
                          <a:cubicBezTo>
                            <a:pt x="19318" y="957"/>
                            <a:pt x="19138" y="897"/>
                            <a:pt x="19019" y="837"/>
                          </a:cubicBezTo>
                          <a:lnTo>
                            <a:pt x="18301" y="1794"/>
                          </a:lnTo>
                          <a:cubicBezTo>
                            <a:pt x="18301" y="1794"/>
                            <a:pt x="18301" y="1794"/>
                            <a:pt x="18361" y="1794"/>
                          </a:cubicBezTo>
                          <a:cubicBezTo>
                            <a:pt x="18361" y="1794"/>
                            <a:pt x="18361" y="1794"/>
                            <a:pt x="18421" y="1794"/>
                          </a:cubicBezTo>
                          <a:cubicBezTo>
                            <a:pt x="18421" y="1794"/>
                            <a:pt x="18421" y="1794"/>
                            <a:pt x="18481" y="1794"/>
                          </a:cubicBezTo>
                          <a:cubicBezTo>
                            <a:pt x="18481" y="1794"/>
                            <a:pt x="18481" y="1794"/>
                            <a:pt x="18540" y="1794"/>
                          </a:cubicBezTo>
                          <a:cubicBezTo>
                            <a:pt x="18660" y="1854"/>
                            <a:pt x="18780" y="1914"/>
                            <a:pt x="18959" y="1974"/>
                          </a:cubicBezTo>
                          <a:cubicBezTo>
                            <a:pt x="19079" y="2033"/>
                            <a:pt x="19198" y="2093"/>
                            <a:pt x="19318" y="2153"/>
                          </a:cubicBezTo>
                          <a:cubicBezTo>
                            <a:pt x="19437" y="2213"/>
                            <a:pt x="19557" y="2273"/>
                            <a:pt x="19676" y="2333"/>
                          </a:cubicBezTo>
                          <a:cubicBezTo>
                            <a:pt x="19796" y="2392"/>
                            <a:pt x="19916" y="2452"/>
                            <a:pt x="20035" y="2572"/>
                          </a:cubicBezTo>
                          <a:cubicBezTo>
                            <a:pt x="20155" y="2632"/>
                            <a:pt x="20275" y="2751"/>
                            <a:pt x="20394" y="2811"/>
                          </a:cubicBezTo>
                          <a:cubicBezTo>
                            <a:pt x="20514" y="2871"/>
                            <a:pt x="20634" y="2990"/>
                            <a:pt x="20753" y="3050"/>
                          </a:cubicBezTo>
                          <a:cubicBezTo>
                            <a:pt x="20873" y="3170"/>
                            <a:pt x="20992" y="3229"/>
                            <a:pt x="21052" y="3349"/>
                          </a:cubicBezTo>
                          <a:cubicBezTo>
                            <a:pt x="21112" y="3469"/>
                            <a:pt x="21231" y="3528"/>
                            <a:pt x="21351" y="3648"/>
                          </a:cubicBezTo>
                          <a:cubicBezTo>
                            <a:pt x="21530" y="3828"/>
                            <a:pt x="21710" y="4007"/>
                            <a:pt x="21889" y="4246"/>
                          </a:cubicBezTo>
                          <a:cubicBezTo>
                            <a:pt x="22069" y="4426"/>
                            <a:pt x="22189" y="4665"/>
                            <a:pt x="22368" y="4844"/>
                          </a:cubicBezTo>
                          <a:cubicBezTo>
                            <a:pt x="22488" y="5083"/>
                            <a:pt x="22667" y="5263"/>
                            <a:pt x="22787" y="5502"/>
                          </a:cubicBezTo>
                          <a:cubicBezTo>
                            <a:pt x="22906" y="5741"/>
                            <a:pt x="23026" y="5981"/>
                            <a:pt x="23145" y="6160"/>
                          </a:cubicBezTo>
                          <a:cubicBezTo>
                            <a:pt x="23384" y="6698"/>
                            <a:pt x="23564" y="7236"/>
                            <a:pt x="23684" y="7835"/>
                          </a:cubicBezTo>
                          <a:cubicBezTo>
                            <a:pt x="23803" y="8433"/>
                            <a:pt x="23863" y="9031"/>
                            <a:pt x="23863" y="9629"/>
                          </a:cubicBezTo>
                          <a:cubicBezTo>
                            <a:pt x="23863" y="10227"/>
                            <a:pt x="23863" y="10885"/>
                            <a:pt x="23743" y="11483"/>
                          </a:cubicBezTo>
                          <a:cubicBezTo>
                            <a:pt x="23624" y="12141"/>
                            <a:pt x="23504" y="12739"/>
                            <a:pt x="23265" y="13397"/>
                          </a:cubicBezTo>
                          <a:cubicBezTo>
                            <a:pt x="23265" y="13516"/>
                            <a:pt x="23205" y="13576"/>
                            <a:pt x="23145" y="13636"/>
                          </a:cubicBezTo>
                          <a:cubicBezTo>
                            <a:pt x="23086" y="13696"/>
                            <a:pt x="23086" y="13815"/>
                            <a:pt x="23026" y="13875"/>
                          </a:cubicBezTo>
                          <a:cubicBezTo>
                            <a:pt x="22966" y="13935"/>
                            <a:pt x="22966" y="14055"/>
                            <a:pt x="22906" y="14114"/>
                          </a:cubicBezTo>
                          <a:cubicBezTo>
                            <a:pt x="22846" y="14174"/>
                            <a:pt x="22846" y="14294"/>
                            <a:pt x="22787" y="14354"/>
                          </a:cubicBezTo>
                          <a:cubicBezTo>
                            <a:pt x="22667" y="14593"/>
                            <a:pt x="22547" y="14832"/>
                            <a:pt x="22488" y="15072"/>
                          </a:cubicBezTo>
                          <a:cubicBezTo>
                            <a:pt x="22368" y="15311"/>
                            <a:pt x="22248" y="15550"/>
                            <a:pt x="22129" y="15789"/>
                          </a:cubicBezTo>
                          <a:cubicBezTo>
                            <a:pt x="22009" y="16028"/>
                            <a:pt x="21830" y="16267"/>
                            <a:pt x="21710" y="16507"/>
                          </a:cubicBezTo>
                          <a:cubicBezTo>
                            <a:pt x="21590" y="16746"/>
                            <a:pt x="21291" y="17105"/>
                            <a:pt x="21112" y="17284"/>
                          </a:cubicBezTo>
                          <a:moveTo>
                            <a:pt x="3469" y="5622"/>
                          </a:moveTo>
                          <a:lnTo>
                            <a:pt x="4246" y="6160"/>
                          </a:lnTo>
                          <a:cubicBezTo>
                            <a:pt x="4426" y="5921"/>
                            <a:pt x="4605" y="5741"/>
                            <a:pt x="4785" y="5502"/>
                          </a:cubicBezTo>
                          <a:cubicBezTo>
                            <a:pt x="4964" y="5323"/>
                            <a:pt x="5203" y="5083"/>
                            <a:pt x="5383" y="4904"/>
                          </a:cubicBezTo>
                          <a:cubicBezTo>
                            <a:pt x="5562" y="4725"/>
                            <a:pt x="5801" y="4545"/>
                            <a:pt x="5981" y="4366"/>
                          </a:cubicBezTo>
                          <a:cubicBezTo>
                            <a:pt x="6160" y="4187"/>
                            <a:pt x="6399" y="4007"/>
                            <a:pt x="6639" y="3828"/>
                          </a:cubicBezTo>
                          <a:cubicBezTo>
                            <a:pt x="6698" y="3768"/>
                            <a:pt x="6818" y="3708"/>
                            <a:pt x="6878" y="3648"/>
                          </a:cubicBezTo>
                          <a:cubicBezTo>
                            <a:pt x="6937" y="3588"/>
                            <a:pt x="7057" y="3528"/>
                            <a:pt x="7117" y="3469"/>
                          </a:cubicBezTo>
                          <a:cubicBezTo>
                            <a:pt x="7177" y="3409"/>
                            <a:pt x="7296" y="3349"/>
                            <a:pt x="7356" y="3289"/>
                          </a:cubicBezTo>
                          <a:cubicBezTo>
                            <a:pt x="7416" y="3229"/>
                            <a:pt x="7536" y="3170"/>
                            <a:pt x="7596" y="3110"/>
                          </a:cubicBezTo>
                          <a:cubicBezTo>
                            <a:pt x="8194" y="2751"/>
                            <a:pt x="8791" y="2392"/>
                            <a:pt x="9450" y="2093"/>
                          </a:cubicBezTo>
                          <a:cubicBezTo>
                            <a:pt x="10107" y="1794"/>
                            <a:pt x="10705" y="1555"/>
                            <a:pt x="11364" y="1375"/>
                          </a:cubicBezTo>
                          <a:cubicBezTo>
                            <a:pt x="12021" y="1196"/>
                            <a:pt x="12679" y="1076"/>
                            <a:pt x="13337" y="1017"/>
                          </a:cubicBezTo>
                          <a:cubicBezTo>
                            <a:pt x="13995" y="957"/>
                            <a:pt x="14653" y="897"/>
                            <a:pt x="15251" y="957"/>
                          </a:cubicBezTo>
                          <a:cubicBezTo>
                            <a:pt x="15430" y="957"/>
                            <a:pt x="15610" y="957"/>
                            <a:pt x="15789" y="1017"/>
                          </a:cubicBezTo>
                          <a:cubicBezTo>
                            <a:pt x="15968" y="1076"/>
                            <a:pt x="16148" y="1076"/>
                            <a:pt x="16267" y="1076"/>
                          </a:cubicBezTo>
                          <a:cubicBezTo>
                            <a:pt x="16447" y="1076"/>
                            <a:pt x="16627" y="1136"/>
                            <a:pt x="16746" y="1196"/>
                          </a:cubicBezTo>
                          <a:cubicBezTo>
                            <a:pt x="16926" y="1256"/>
                            <a:pt x="17045" y="1256"/>
                            <a:pt x="17225" y="1316"/>
                          </a:cubicBezTo>
                          <a:lnTo>
                            <a:pt x="18002" y="359"/>
                          </a:lnTo>
                          <a:cubicBezTo>
                            <a:pt x="17822" y="299"/>
                            <a:pt x="17643" y="239"/>
                            <a:pt x="17464" y="239"/>
                          </a:cubicBezTo>
                          <a:cubicBezTo>
                            <a:pt x="17284" y="239"/>
                            <a:pt x="17105" y="179"/>
                            <a:pt x="16926" y="120"/>
                          </a:cubicBezTo>
                          <a:cubicBezTo>
                            <a:pt x="16746" y="60"/>
                            <a:pt x="16567" y="60"/>
                            <a:pt x="16387" y="60"/>
                          </a:cubicBezTo>
                          <a:cubicBezTo>
                            <a:pt x="16208" y="60"/>
                            <a:pt x="16028" y="0"/>
                            <a:pt x="15849" y="0"/>
                          </a:cubicBezTo>
                          <a:cubicBezTo>
                            <a:pt x="15669" y="0"/>
                            <a:pt x="15490" y="0"/>
                            <a:pt x="15311" y="0"/>
                          </a:cubicBezTo>
                          <a:cubicBezTo>
                            <a:pt x="15131" y="0"/>
                            <a:pt x="14952" y="0"/>
                            <a:pt x="14772" y="0"/>
                          </a:cubicBezTo>
                          <a:cubicBezTo>
                            <a:pt x="14593" y="0"/>
                            <a:pt x="14413" y="0"/>
                            <a:pt x="14234" y="0"/>
                          </a:cubicBezTo>
                          <a:cubicBezTo>
                            <a:pt x="14055" y="0"/>
                            <a:pt x="13875" y="0"/>
                            <a:pt x="13696" y="60"/>
                          </a:cubicBezTo>
                          <a:cubicBezTo>
                            <a:pt x="13098" y="120"/>
                            <a:pt x="12500" y="179"/>
                            <a:pt x="11902" y="359"/>
                          </a:cubicBezTo>
                          <a:cubicBezTo>
                            <a:pt x="11304" y="479"/>
                            <a:pt x="10705" y="658"/>
                            <a:pt x="10107" y="897"/>
                          </a:cubicBezTo>
                          <a:cubicBezTo>
                            <a:pt x="9510" y="1136"/>
                            <a:pt x="8911" y="1375"/>
                            <a:pt x="8373" y="1674"/>
                          </a:cubicBezTo>
                          <a:cubicBezTo>
                            <a:pt x="7775" y="1974"/>
                            <a:pt x="7237" y="2273"/>
                            <a:pt x="6698" y="2691"/>
                          </a:cubicBezTo>
                          <a:cubicBezTo>
                            <a:pt x="6639" y="2751"/>
                            <a:pt x="6519" y="2811"/>
                            <a:pt x="6459" y="2871"/>
                          </a:cubicBezTo>
                          <a:cubicBezTo>
                            <a:pt x="6399" y="2930"/>
                            <a:pt x="6280" y="2990"/>
                            <a:pt x="6220" y="3050"/>
                          </a:cubicBezTo>
                          <a:cubicBezTo>
                            <a:pt x="6160" y="3110"/>
                            <a:pt x="6041" y="3170"/>
                            <a:pt x="5981" y="3229"/>
                          </a:cubicBezTo>
                          <a:cubicBezTo>
                            <a:pt x="5921" y="3289"/>
                            <a:pt x="5801" y="3349"/>
                            <a:pt x="5742" y="3409"/>
                          </a:cubicBezTo>
                          <a:cubicBezTo>
                            <a:pt x="5502" y="3588"/>
                            <a:pt x="5323" y="3768"/>
                            <a:pt x="5083" y="3947"/>
                          </a:cubicBezTo>
                          <a:cubicBezTo>
                            <a:pt x="4904" y="4127"/>
                            <a:pt x="4665" y="4306"/>
                            <a:pt x="4486" y="4486"/>
                          </a:cubicBezTo>
                          <a:cubicBezTo>
                            <a:pt x="4306" y="4665"/>
                            <a:pt x="4067" y="4904"/>
                            <a:pt x="3888" y="5083"/>
                          </a:cubicBezTo>
                          <a:cubicBezTo>
                            <a:pt x="3828" y="5203"/>
                            <a:pt x="3648" y="5382"/>
                            <a:pt x="3469" y="5622"/>
                          </a:cubicBezTo>
                          <a:moveTo>
                            <a:pt x="14832" y="22248"/>
                          </a:moveTo>
                          <a:lnTo>
                            <a:pt x="15789" y="22906"/>
                          </a:lnTo>
                          <a:cubicBezTo>
                            <a:pt x="16267" y="22667"/>
                            <a:pt x="16746" y="22428"/>
                            <a:pt x="17225" y="22129"/>
                          </a:cubicBezTo>
                          <a:cubicBezTo>
                            <a:pt x="17703" y="21829"/>
                            <a:pt x="18181" y="21530"/>
                            <a:pt x="18600" y="21172"/>
                          </a:cubicBezTo>
                          <a:cubicBezTo>
                            <a:pt x="19079" y="20813"/>
                            <a:pt x="19497" y="20454"/>
                            <a:pt x="19916" y="20035"/>
                          </a:cubicBezTo>
                          <a:cubicBezTo>
                            <a:pt x="20335" y="19617"/>
                            <a:pt x="20753" y="19198"/>
                            <a:pt x="21112" y="18780"/>
                          </a:cubicBezTo>
                          <a:lnTo>
                            <a:pt x="20335" y="18241"/>
                          </a:lnTo>
                          <a:cubicBezTo>
                            <a:pt x="19916" y="18720"/>
                            <a:pt x="19557" y="19138"/>
                            <a:pt x="19079" y="19497"/>
                          </a:cubicBezTo>
                          <a:cubicBezTo>
                            <a:pt x="18660" y="19916"/>
                            <a:pt x="18181" y="20275"/>
                            <a:pt x="17703" y="20574"/>
                          </a:cubicBezTo>
                          <a:cubicBezTo>
                            <a:pt x="17225" y="20933"/>
                            <a:pt x="16746" y="21231"/>
                            <a:pt x="16267" y="21471"/>
                          </a:cubicBezTo>
                          <a:cubicBezTo>
                            <a:pt x="15789" y="21710"/>
                            <a:pt x="15371" y="22069"/>
                            <a:pt x="14832" y="22248"/>
                          </a:cubicBezTo>
                          <a:moveTo>
                            <a:pt x="120" y="12559"/>
                          </a:moveTo>
                          <a:lnTo>
                            <a:pt x="1076" y="13217"/>
                          </a:lnTo>
                          <a:cubicBezTo>
                            <a:pt x="1136" y="12679"/>
                            <a:pt x="1196" y="12201"/>
                            <a:pt x="1375" y="11662"/>
                          </a:cubicBezTo>
                          <a:cubicBezTo>
                            <a:pt x="1555" y="11124"/>
                            <a:pt x="1675" y="10645"/>
                            <a:pt x="1854" y="10107"/>
                          </a:cubicBezTo>
                          <a:cubicBezTo>
                            <a:pt x="2034" y="9569"/>
                            <a:pt x="2273" y="9091"/>
                            <a:pt x="2572" y="8552"/>
                          </a:cubicBezTo>
                          <a:cubicBezTo>
                            <a:pt x="2871" y="8014"/>
                            <a:pt x="3170" y="7536"/>
                            <a:pt x="3529" y="7057"/>
                          </a:cubicBezTo>
                          <a:lnTo>
                            <a:pt x="2751" y="6519"/>
                          </a:lnTo>
                          <a:cubicBezTo>
                            <a:pt x="2392" y="6997"/>
                            <a:pt x="2093" y="7476"/>
                            <a:pt x="1794" y="8014"/>
                          </a:cubicBezTo>
                          <a:cubicBezTo>
                            <a:pt x="1495" y="8493"/>
                            <a:pt x="1256" y="9031"/>
                            <a:pt x="1017" y="9509"/>
                          </a:cubicBezTo>
                          <a:cubicBezTo>
                            <a:pt x="778" y="9988"/>
                            <a:pt x="598" y="10526"/>
                            <a:pt x="479" y="11064"/>
                          </a:cubicBezTo>
                          <a:cubicBezTo>
                            <a:pt x="359" y="11603"/>
                            <a:pt x="180" y="12081"/>
                            <a:pt x="120" y="12559"/>
                          </a:cubicBezTo>
                          <a:moveTo>
                            <a:pt x="10586" y="23265"/>
                          </a:moveTo>
                          <a:lnTo>
                            <a:pt x="11961" y="24162"/>
                          </a:lnTo>
                          <a:cubicBezTo>
                            <a:pt x="12201" y="24102"/>
                            <a:pt x="12380" y="24102"/>
                            <a:pt x="12619" y="24043"/>
                          </a:cubicBezTo>
                          <a:cubicBezTo>
                            <a:pt x="12859" y="23983"/>
                            <a:pt x="13038" y="23923"/>
                            <a:pt x="13277" y="23863"/>
                          </a:cubicBezTo>
                          <a:cubicBezTo>
                            <a:pt x="13516" y="23803"/>
                            <a:pt x="13696" y="23743"/>
                            <a:pt x="13935" y="23683"/>
                          </a:cubicBezTo>
                          <a:cubicBezTo>
                            <a:pt x="14174" y="23624"/>
                            <a:pt x="14354" y="23564"/>
                            <a:pt x="14593" y="23444"/>
                          </a:cubicBezTo>
                          <a:lnTo>
                            <a:pt x="13516" y="22727"/>
                          </a:lnTo>
                          <a:cubicBezTo>
                            <a:pt x="13277" y="22787"/>
                            <a:pt x="13038" y="22846"/>
                            <a:pt x="12799" y="22906"/>
                          </a:cubicBezTo>
                          <a:cubicBezTo>
                            <a:pt x="12559" y="22966"/>
                            <a:pt x="12320" y="23026"/>
                            <a:pt x="12081" y="23026"/>
                          </a:cubicBezTo>
                          <a:cubicBezTo>
                            <a:pt x="11842" y="23085"/>
                            <a:pt x="11603" y="23085"/>
                            <a:pt x="11364" y="23145"/>
                          </a:cubicBezTo>
                          <a:cubicBezTo>
                            <a:pt x="11064" y="23205"/>
                            <a:pt x="10825" y="23265"/>
                            <a:pt x="10586" y="23265"/>
                          </a:cubicBezTo>
                          <a:moveTo>
                            <a:pt x="60" y="16387"/>
                          </a:moveTo>
                          <a:lnTo>
                            <a:pt x="1435" y="17284"/>
                          </a:lnTo>
                          <a:cubicBezTo>
                            <a:pt x="1375" y="17045"/>
                            <a:pt x="1316" y="16866"/>
                            <a:pt x="1256" y="16626"/>
                          </a:cubicBezTo>
                          <a:cubicBezTo>
                            <a:pt x="1196" y="16387"/>
                            <a:pt x="1136" y="16208"/>
                            <a:pt x="1136" y="15968"/>
                          </a:cubicBezTo>
                          <a:cubicBezTo>
                            <a:pt x="1076" y="15729"/>
                            <a:pt x="1076" y="15490"/>
                            <a:pt x="1076" y="15311"/>
                          </a:cubicBezTo>
                          <a:cubicBezTo>
                            <a:pt x="1076" y="15072"/>
                            <a:pt x="1017" y="14832"/>
                            <a:pt x="1017" y="14593"/>
                          </a:cubicBezTo>
                          <a:lnTo>
                            <a:pt x="0" y="13935"/>
                          </a:lnTo>
                          <a:cubicBezTo>
                            <a:pt x="0" y="14174"/>
                            <a:pt x="0" y="14354"/>
                            <a:pt x="0" y="14593"/>
                          </a:cubicBezTo>
                          <a:cubicBezTo>
                            <a:pt x="0" y="14832"/>
                            <a:pt x="0" y="15012"/>
                            <a:pt x="0" y="15251"/>
                          </a:cubicBezTo>
                          <a:cubicBezTo>
                            <a:pt x="0" y="15430"/>
                            <a:pt x="0" y="15669"/>
                            <a:pt x="60" y="15849"/>
                          </a:cubicBezTo>
                          <a:cubicBezTo>
                            <a:pt x="120" y="16028"/>
                            <a:pt x="0" y="16148"/>
                            <a:pt x="60" y="16387"/>
                          </a:cubicBezTo>
                          <a:moveTo>
                            <a:pt x="2691" y="21590"/>
                          </a:moveTo>
                          <a:lnTo>
                            <a:pt x="5682" y="23504"/>
                          </a:lnTo>
                          <a:cubicBezTo>
                            <a:pt x="6041" y="23624"/>
                            <a:pt x="6399" y="23743"/>
                            <a:pt x="6758" y="23863"/>
                          </a:cubicBezTo>
                          <a:cubicBezTo>
                            <a:pt x="7117" y="23983"/>
                            <a:pt x="7476" y="24043"/>
                            <a:pt x="7835" y="24102"/>
                          </a:cubicBezTo>
                          <a:cubicBezTo>
                            <a:pt x="8194" y="24162"/>
                            <a:pt x="8552" y="24222"/>
                            <a:pt x="8971" y="24222"/>
                          </a:cubicBezTo>
                          <a:cubicBezTo>
                            <a:pt x="9330" y="24222"/>
                            <a:pt x="9749" y="24282"/>
                            <a:pt x="10107" y="24222"/>
                          </a:cubicBezTo>
                          <a:lnTo>
                            <a:pt x="8253" y="23026"/>
                          </a:lnTo>
                          <a:cubicBezTo>
                            <a:pt x="7954" y="22966"/>
                            <a:pt x="7656" y="22906"/>
                            <a:pt x="7356" y="22846"/>
                          </a:cubicBezTo>
                          <a:cubicBezTo>
                            <a:pt x="7057" y="22787"/>
                            <a:pt x="6758" y="22667"/>
                            <a:pt x="6459" y="22547"/>
                          </a:cubicBezTo>
                          <a:cubicBezTo>
                            <a:pt x="6160" y="22428"/>
                            <a:pt x="5861" y="22308"/>
                            <a:pt x="5622" y="22188"/>
                          </a:cubicBezTo>
                          <a:cubicBezTo>
                            <a:pt x="5383" y="22069"/>
                            <a:pt x="5083" y="21889"/>
                            <a:pt x="4785" y="21710"/>
                          </a:cubicBezTo>
                          <a:cubicBezTo>
                            <a:pt x="4545" y="21530"/>
                            <a:pt x="4306" y="21351"/>
                            <a:pt x="4067" y="21172"/>
                          </a:cubicBezTo>
                          <a:cubicBezTo>
                            <a:pt x="3828" y="20992"/>
                            <a:pt x="3588" y="20753"/>
                            <a:pt x="3409" y="20574"/>
                          </a:cubicBezTo>
                          <a:cubicBezTo>
                            <a:pt x="3229" y="20334"/>
                            <a:pt x="2990" y="20155"/>
                            <a:pt x="2811" y="19916"/>
                          </a:cubicBezTo>
                          <a:cubicBezTo>
                            <a:pt x="2632" y="19676"/>
                            <a:pt x="2452" y="19437"/>
                            <a:pt x="2333" y="19198"/>
                          </a:cubicBezTo>
                          <a:lnTo>
                            <a:pt x="479" y="18002"/>
                          </a:lnTo>
                          <a:cubicBezTo>
                            <a:pt x="598" y="18361"/>
                            <a:pt x="718" y="18660"/>
                            <a:pt x="897" y="18959"/>
                          </a:cubicBezTo>
                          <a:cubicBezTo>
                            <a:pt x="1076" y="19258"/>
                            <a:pt x="1196" y="19617"/>
                            <a:pt x="1375" y="19916"/>
                          </a:cubicBezTo>
                          <a:cubicBezTo>
                            <a:pt x="1555" y="20215"/>
                            <a:pt x="1794" y="20514"/>
                            <a:pt x="1974" y="20753"/>
                          </a:cubicBezTo>
                          <a:cubicBezTo>
                            <a:pt x="2213" y="21052"/>
                            <a:pt x="2452" y="21351"/>
                            <a:pt x="2691" y="21590"/>
                          </a:cubicBezTo>
                        </a:path>
                      </a:pathLst>
                    </a:custGeom>
                    <a:noFill/>
                    <a:ln w="6350" cap="flat">
                      <a:solidFill>
                        <a:schemeClr val="bg1">
                          <a:alpha val="80000"/>
                        </a:schemeClr>
                      </a:solidFill>
                      <a:prstDash val="solid"/>
                      <a:miter/>
                    </a:ln>
                  </p:spPr>
                  <p:txBody>
                    <a:bodyPr rtlCol="0" anchor="ctr"/>
                    <a:lstStyle/>
                    <a:p>
                      <a:endParaRPr lang="en-GB"/>
                    </a:p>
                  </p:txBody>
                </p:sp>
                <p:sp>
                  <p:nvSpPr>
                    <p:cNvPr id="7490" name="Vrije vorm: vorm 7489">
                      <a:extLst>
                        <a:ext uri="{FF2B5EF4-FFF2-40B4-BE49-F238E27FC236}">
                          <a16:creationId xmlns:a16="http://schemas.microsoft.com/office/drawing/2014/main" id="{4CFF7324-A7EE-4482-BB96-91AD23CE4F5A}"/>
                        </a:ext>
                      </a:extLst>
                    </p:cNvPr>
                    <p:cNvSpPr/>
                    <p:nvPr/>
                  </p:nvSpPr>
                  <p:spPr>
                    <a:xfrm>
                      <a:off x="5000800" y="5295012"/>
                      <a:ext cx="13456" cy="13157"/>
                    </a:xfrm>
                    <a:custGeom>
                      <a:avLst/>
                      <a:gdLst>
                        <a:gd name="connsiteX0" fmla="*/ 11244 w 13456"/>
                        <a:gd name="connsiteY0" fmla="*/ 8911 h 13157"/>
                        <a:gd name="connsiteX1" fmla="*/ 12021 w 13456"/>
                        <a:gd name="connsiteY1" fmla="*/ 9450 h 13157"/>
                        <a:gd name="connsiteX2" fmla="*/ 12500 w 13456"/>
                        <a:gd name="connsiteY2" fmla="*/ 8732 h 13157"/>
                        <a:gd name="connsiteX3" fmla="*/ 12858 w 13456"/>
                        <a:gd name="connsiteY3" fmla="*/ 7954 h 13157"/>
                        <a:gd name="connsiteX4" fmla="*/ 13158 w 13456"/>
                        <a:gd name="connsiteY4" fmla="*/ 7177 h 13157"/>
                        <a:gd name="connsiteX5" fmla="*/ 13337 w 13456"/>
                        <a:gd name="connsiteY5" fmla="*/ 6399 h 13157"/>
                        <a:gd name="connsiteX6" fmla="*/ 13397 w 13456"/>
                        <a:gd name="connsiteY6" fmla="*/ 6100 h 13157"/>
                        <a:gd name="connsiteX7" fmla="*/ 13457 w 13456"/>
                        <a:gd name="connsiteY7" fmla="*/ 5801 h 13157"/>
                        <a:gd name="connsiteX8" fmla="*/ 13457 w 13456"/>
                        <a:gd name="connsiteY8" fmla="*/ 5502 h 13157"/>
                        <a:gd name="connsiteX9" fmla="*/ 13457 w 13456"/>
                        <a:gd name="connsiteY9" fmla="*/ 5203 h 13157"/>
                        <a:gd name="connsiteX10" fmla="*/ 13277 w 13456"/>
                        <a:gd name="connsiteY10" fmla="*/ 3947 h 13157"/>
                        <a:gd name="connsiteX11" fmla="*/ 12858 w 13456"/>
                        <a:gd name="connsiteY11" fmla="*/ 2811 h 13157"/>
                        <a:gd name="connsiteX12" fmla="*/ 12141 w 13456"/>
                        <a:gd name="connsiteY12" fmla="*/ 1794 h 13157"/>
                        <a:gd name="connsiteX13" fmla="*/ 11184 w 13456"/>
                        <a:gd name="connsiteY13" fmla="*/ 957 h 13157"/>
                        <a:gd name="connsiteX14" fmla="*/ 10765 w 13456"/>
                        <a:gd name="connsiteY14" fmla="*/ 718 h 13157"/>
                        <a:gd name="connsiteX15" fmla="*/ 10287 w 13456"/>
                        <a:gd name="connsiteY15" fmla="*/ 479 h 13157"/>
                        <a:gd name="connsiteX16" fmla="*/ 9808 w 13456"/>
                        <a:gd name="connsiteY16" fmla="*/ 299 h 13157"/>
                        <a:gd name="connsiteX17" fmla="*/ 9330 w 13456"/>
                        <a:gd name="connsiteY17" fmla="*/ 179 h 13157"/>
                        <a:gd name="connsiteX18" fmla="*/ 8552 w 13456"/>
                        <a:gd name="connsiteY18" fmla="*/ 1136 h 13157"/>
                        <a:gd name="connsiteX19" fmla="*/ 9031 w 13456"/>
                        <a:gd name="connsiteY19" fmla="*/ 1256 h 13157"/>
                        <a:gd name="connsiteX20" fmla="*/ 9509 w 13456"/>
                        <a:gd name="connsiteY20" fmla="*/ 1435 h 13157"/>
                        <a:gd name="connsiteX21" fmla="*/ 9988 w 13456"/>
                        <a:gd name="connsiteY21" fmla="*/ 1615 h 13157"/>
                        <a:gd name="connsiteX22" fmla="*/ 10406 w 13456"/>
                        <a:gd name="connsiteY22" fmla="*/ 1854 h 13157"/>
                        <a:gd name="connsiteX23" fmla="*/ 11004 w 13456"/>
                        <a:gd name="connsiteY23" fmla="*/ 2392 h 13157"/>
                        <a:gd name="connsiteX24" fmla="*/ 11483 w 13456"/>
                        <a:gd name="connsiteY24" fmla="*/ 2990 h 13157"/>
                        <a:gd name="connsiteX25" fmla="*/ 11842 w 13456"/>
                        <a:gd name="connsiteY25" fmla="*/ 3648 h 13157"/>
                        <a:gd name="connsiteX26" fmla="*/ 12081 w 13456"/>
                        <a:gd name="connsiteY26" fmla="*/ 4426 h 13157"/>
                        <a:gd name="connsiteX27" fmla="*/ 12141 w 13456"/>
                        <a:gd name="connsiteY27" fmla="*/ 4785 h 13157"/>
                        <a:gd name="connsiteX28" fmla="*/ 12201 w 13456"/>
                        <a:gd name="connsiteY28" fmla="*/ 5143 h 13157"/>
                        <a:gd name="connsiteX29" fmla="*/ 12201 w 13456"/>
                        <a:gd name="connsiteY29" fmla="*/ 5502 h 13157"/>
                        <a:gd name="connsiteX30" fmla="*/ 12201 w 13456"/>
                        <a:gd name="connsiteY30" fmla="*/ 5861 h 13157"/>
                        <a:gd name="connsiteX31" fmla="*/ 12081 w 13456"/>
                        <a:gd name="connsiteY31" fmla="*/ 6639 h 13157"/>
                        <a:gd name="connsiteX32" fmla="*/ 11842 w 13456"/>
                        <a:gd name="connsiteY32" fmla="*/ 7416 h 13157"/>
                        <a:gd name="connsiteX33" fmla="*/ 11483 w 13456"/>
                        <a:gd name="connsiteY33" fmla="*/ 8194 h 13157"/>
                        <a:gd name="connsiteX34" fmla="*/ 11244 w 13456"/>
                        <a:gd name="connsiteY34" fmla="*/ 8911 h 13157"/>
                        <a:gd name="connsiteX35" fmla="*/ 2093 w 13456"/>
                        <a:gd name="connsiteY35" fmla="*/ 2871 h 13157"/>
                        <a:gd name="connsiteX36" fmla="*/ 2871 w 13456"/>
                        <a:gd name="connsiteY36" fmla="*/ 3409 h 13157"/>
                        <a:gd name="connsiteX37" fmla="*/ 3528 w 13456"/>
                        <a:gd name="connsiteY37" fmla="*/ 2751 h 13157"/>
                        <a:gd name="connsiteX38" fmla="*/ 4246 w 13456"/>
                        <a:gd name="connsiteY38" fmla="*/ 2213 h 13157"/>
                        <a:gd name="connsiteX39" fmla="*/ 5024 w 13456"/>
                        <a:gd name="connsiteY39" fmla="*/ 1794 h 13157"/>
                        <a:gd name="connsiteX40" fmla="*/ 5801 w 13456"/>
                        <a:gd name="connsiteY40" fmla="*/ 1435 h 13157"/>
                        <a:gd name="connsiteX41" fmla="*/ 6160 w 13456"/>
                        <a:gd name="connsiteY41" fmla="*/ 1316 h 13157"/>
                        <a:gd name="connsiteX42" fmla="*/ 6519 w 13456"/>
                        <a:gd name="connsiteY42" fmla="*/ 1196 h 13157"/>
                        <a:gd name="connsiteX43" fmla="*/ 6878 w 13456"/>
                        <a:gd name="connsiteY43" fmla="*/ 1136 h 13157"/>
                        <a:gd name="connsiteX44" fmla="*/ 7236 w 13456"/>
                        <a:gd name="connsiteY44" fmla="*/ 1076 h 13157"/>
                        <a:gd name="connsiteX45" fmla="*/ 7236 w 13456"/>
                        <a:gd name="connsiteY45" fmla="*/ 1076 h 13157"/>
                        <a:gd name="connsiteX46" fmla="*/ 7236 w 13456"/>
                        <a:gd name="connsiteY46" fmla="*/ 1076 h 13157"/>
                        <a:gd name="connsiteX47" fmla="*/ 7236 w 13456"/>
                        <a:gd name="connsiteY47" fmla="*/ 1076 h 13157"/>
                        <a:gd name="connsiteX48" fmla="*/ 7236 w 13456"/>
                        <a:gd name="connsiteY48" fmla="*/ 1076 h 13157"/>
                        <a:gd name="connsiteX49" fmla="*/ 8074 w 13456"/>
                        <a:gd name="connsiteY49" fmla="*/ 0 h 13157"/>
                        <a:gd name="connsiteX50" fmla="*/ 7536 w 13456"/>
                        <a:gd name="connsiteY50" fmla="*/ 0 h 13157"/>
                        <a:gd name="connsiteX51" fmla="*/ 6997 w 13456"/>
                        <a:gd name="connsiteY51" fmla="*/ 60 h 13157"/>
                        <a:gd name="connsiteX52" fmla="*/ 6459 w 13456"/>
                        <a:gd name="connsiteY52" fmla="*/ 179 h 13157"/>
                        <a:gd name="connsiteX53" fmla="*/ 5921 w 13456"/>
                        <a:gd name="connsiteY53" fmla="*/ 299 h 13157"/>
                        <a:gd name="connsiteX54" fmla="*/ 5622 w 13456"/>
                        <a:gd name="connsiteY54" fmla="*/ 419 h 13157"/>
                        <a:gd name="connsiteX55" fmla="*/ 5323 w 13456"/>
                        <a:gd name="connsiteY55" fmla="*/ 538 h 13157"/>
                        <a:gd name="connsiteX56" fmla="*/ 5024 w 13456"/>
                        <a:gd name="connsiteY56" fmla="*/ 658 h 13157"/>
                        <a:gd name="connsiteX57" fmla="*/ 4725 w 13456"/>
                        <a:gd name="connsiteY57" fmla="*/ 778 h 13157"/>
                        <a:gd name="connsiteX58" fmla="*/ 4007 w 13456"/>
                        <a:gd name="connsiteY58" fmla="*/ 1196 h 13157"/>
                        <a:gd name="connsiteX59" fmla="*/ 3289 w 13456"/>
                        <a:gd name="connsiteY59" fmla="*/ 1674 h 13157"/>
                        <a:gd name="connsiteX60" fmla="*/ 2632 w 13456"/>
                        <a:gd name="connsiteY60" fmla="*/ 2213 h 13157"/>
                        <a:gd name="connsiteX61" fmla="*/ 2093 w 13456"/>
                        <a:gd name="connsiteY61" fmla="*/ 2871 h 13157"/>
                        <a:gd name="connsiteX62" fmla="*/ 1256 w 13456"/>
                        <a:gd name="connsiteY62" fmla="*/ 11423 h 13157"/>
                        <a:gd name="connsiteX63" fmla="*/ 3409 w 13456"/>
                        <a:gd name="connsiteY63" fmla="*/ 12858 h 13157"/>
                        <a:gd name="connsiteX64" fmla="*/ 5382 w 13456"/>
                        <a:gd name="connsiteY64" fmla="*/ 13158 h 13157"/>
                        <a:gd name="connsiteX65" fmla="*/ 7476 w 13456"/>
                        <a:gd name="connsiteY65" fmla="*/ 12799 h 13157"/>
                        <a:gd name="connsiteX66" fmla="*/ 9509 w 13456"/>
                        <a:gd name="connsiteY66" fmla="*/ 11842 h 13157"/>
                        <a:gd name="connsiteX67" fmla="*/ 11304 w 13456"/>
                        <a:gd name="connsiteY67" fmla="*/ 10347 h 13157"/>
                        <a:gd name="connsiteX68" fmla="*/ 10526 w 13456"/>
                        <a:gd name="connsiteY68" fmla="*/ 9808 h 13157"/>
                        <a:gd name="connsiteX69" fmla="*/ 8732 w 13456"/>
                        <a:gd name="connsiteY69" fmla="*/ 11184 h 13157"/>
                        <a:gd name="connsiteX70" fmla="*/ 6758 w 13456"/>
                        <a:gd name="connsiteY70" fmla="*/ 11961 h 13157"/>
                        <a:gd name="connsiteX71" fmla="*/ 4785 w 13456"/>
                        <a:gd name="connsiteY71" fmla="*/ 12021 h 13157"/>
                        <a:gd name="connsiteX72" fmla="*/ 2990 w 13456"/>
                        <a:gd name="connsiteY72" fmla="*/ 11363 h 13157"/>
                        <a:gd name="connsiteX73" fmla="*/ 1674 w 13456"/>
                        <a:gd name="connsiteY73" fmla="*/ 9988 h 13157"/>
                        <a:gd name="connsiteX74" fmla="*/ 1076 w 13456"/>
                        <a:gd name="connsiteY74" fmla="*/ 8194 h 13157"/>
                        <a:gd name="connsiteX75" fmla="*/ 1256 w 13456"/>
                        <a:gd name="connsiteY75" fmla="*/ 6220 h 13157"/>
                        <a:gd name="connsiteX76" fmla="*/ 2153 w 13456"/>
                        <a:gd name="connsiteY76" fmla="*/ 4246 h 13157"/>
                        <a:gd name="connsiteX77" fmla="*/ 1375 w 13456"/>
                        <a:gd name="connsiteY77" fmla="*/ 3708 h 13157"/>
                        <a:gd name="connsiteX78" fmla="*/ 359 w 13456"/>
                        <a:gd name="connsiteY78" fmla="*/ 5741 h 13157"/>
                        <a:gd name="connsiteX79" fmla="*/ 0 w 13456"/>
                        <a:gd name="connsiteY79" fmla="*/ 7835 h 13157"/>
                        <a:gd name="connsiteX80" fmla="*/ 299 w 13456"/>
                        <a:gd name="connsiteY80" fmla="*/ 9749 h 13157"/>
                        <a:gd name="connsiteX81" fmla="*/ 1256 w 13456"/>
                        <a:gd name="connsiteY81" fmla="*/ 11423 h 1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3456" h="13157">
                          <a:moveTo>
                            <a:pt x="11244" y="8911"/>
                          </a:moveTo>
                          <a:lnTo>
                            <a:pt x="12021" y="9450"/>
                          </a:lnTo>
                          <a:cubicBezTo>
                            <a:pt x="12201" y="9210"/>
                            <a:pt x="12320" y="8971"/>
                            <a:pt x="12500" y="8732"/>
                          </a:cubicBezTo>
                          <a:cubicBezTo>
                            <a:pt x="12619" y="8493"/>
                            <a:pt x="12739" y="8253"/>
                            <a:pt x="12858" y="7954"/>
                          </a:cubicBezTo>
                          <a:cubicBezTo>
                            <a:pt x="12978" y="7655"/>
                            <a:pt x="13038" y="7476"/>
                            <a:pt x="13158" y="7177"/>
                          </a:cubicBezTo>
                          <a:cubicBezTo>
                            <a:pt x="13277" y="6878"/>
                            <a:pt x="13277" y="6639"/>
                            <a:pt x="13337" y="6399"/>
                          </a:cubicBezTo>
                          <a:cubicBezTo>
                            <a:pt x="13337" y="6280"/>
                            <a:pt x="13397" y="6160"/>
                            <a:pt x="13397" y="6100"/>
                          </a:cubicBezTo>
                          <a:cubicBezTo>
                            <a:pt x="13397" y="5981"/>
                            <a:pt x="13397" y="5861"/>
                            <a:pt x="13457" y="5801"/>
                          </a:cubicBezTo>
                          <a:cubicBezTo>
                            <a:pt x="13457" y="5682"/>
                            <a:pt x="13457" y="5562"/>
                            <a:pt x="13457" y="5502"/>
                          </a:cubicBezTo>
                          <a:cubicBezTo>
                            <a:pt x="13457" y="5382"/>
                            <a:pt x="13457" y="5323"/>
                            <a:pt x="13457" y="5203"/>
                          </a:cubicBezTo>
                          <a:cubicBezTo>
                            <a:pt x="13457" y="4785"/>
                            <a:pt x="13397" y="4366"/>
                            <a:pt x="13277" y="3947"/>
                          </a:cubicBezTo>
                          <a:cubicBezTo>
                            <a:pt x="13158" y="3528"/>
                            <a:pt x="13038" y="3170"/>
                            <a:pt x="12858" y="2811"/>
                          </a:cubicBezTo>
                          <a:cubicBezTo>
                            <a:pt x="12679" y="2452"/>
                            <a:pt x="12440" y="2093"/>
                            <a:pt x="12141" y="1794"/>
                          </a:cubicBezTo>
                          <a:cubicBezTo>
                            <a:pt x="11842" y="1495"/>
                            <a:pt x="11543" y="1196"/>
                            <a:pt x="11184" y="957"/>
                          </a:cubicBezTo>
                          <a:cubicBezTo>
                            <a:pt x="11064" y="837"/>
                            <a:pt x="10885" y="778"/>
                            <a:pt x="10765" y="718"/>
                          </a:cubicBezTo>
                          <a:cubicBezTo>
                            <a:pt x="10645" y="658"/>
                            <a:pt x="10466" y="538"/>
                            <a:pt x="10287" y="479"/>
                          </a:cubicBezTo>
                          <a:cubicBezTo>
                            <a:pt x="10107" y="419"/>
                            <a:pt x="9988" y="359"/>
                            <a:pt x="9808" y="299"/>
                          </a:cubicBezTo>
                          <a:cubicBezTo>
                            <a:pt x="9629" y="239"/>
                            <a:pt x="9509" y="179"/>
                            <a:pt x="9330" y="179"/>
                          </a:cubicBezTo>
                          <a:lnTo>
                            <a:pt x="8552" y="1136"/>
                          </a:lnTo>
                          <a:cubicBezTo>
                            <a:pt x="8732" y="1136"/>
                            <a:pt x="8911" y="1196"/>
                            <a:pt x="9031" y="1256"/>
                          </a:cubicBezTo>
                          <a:cubicBezTo>
                            <a:pt x="9210" y="1316"/>
                            <a:pt x="9330" y="1375"/>
                            <a:pt x="9509" y="1435"/>
                          </a:cubicBezTo>
                          <a:cubicBezTo>
                            <a:pt x="9689" y="1495"/>
                            <a:pt x="9808" y="1555"/>
                            <a:pt x="9988" y="1615"/>
                          </a:cubicBezTo>
                          <a:cubicBezTo>
                            <a:pt x="10167" y="1674"/>
                            <a:pt x="10287" y="1794"/>
                            <a:pt x="10406" y="1854"/>
                          </a:cubicBezTo>
                          <a:cubicBezTo>
                            <a:pt x="10645" y="2033"/>
                            <a:pt x="10825" y="2153"/>
                            <a:pt x="11004" y="2392"/>
                          </a:cubicBezTo>
                          <a:cubicBezTo>
                            <a:pt x="11184" y="2632"/>
                            <a:pt x="11363" y="2811"/>
                            <a:pt x="11483" y="2990"/>
                          </a:cubicBezTo>
                          <a:cubicBezTo>
                            <a:pt x="11603" y="3229"/>
                            <a:pt x="11722" y="3409"/>
                            <a:pt x="11842" y="3648"/>
                          </a:cubicBezTo>
                          <a:cubicBezTo>
                            <a:pt x="11961" y="3887"/>
                            <a:pt x="12021" y="4127"/>
                            <a:pt x="12081" y="4426"/>
                          </a:cubicBezTo>
                          <a:cubicBezTo>
                            <a:pt x="12081" y="4545"/>
                            <a:pt x="12141" y="4665"/>
                            <a:pt x="12141" y="4785"/>
                          </a:cubicBezTo>
                          <a:cubicBezTo>
                            <a:pt x="12141" y="4904"/>
                            <a:pt x="12201" y="5024"/>
                            <a:pt x="12201" y="5143"/>
                          </a:cubicBezTo>
                          <a:cubicBezTo>
                            <a:pt x="12201" y="5263"/>
                            <a:pt x="12201" y="5382"/>
                            <a:pt x="12201" y="5502"/>
                          </a:cubicBezTo>
                          <a:cubicBezTo>
                            <a:pt x="12201" y="5622"/>
                            <a:pt x="12201" y="5741"/>
                            <a:pt x="12201" y="5861"/>
                          </a:cubicBezTo>
                          <a:cubicBezTo>
                            <a:pt x="12201" y="6100"/>
                            <a:pt x="12141" y="6399"/>
                            <a:pt x="12081" y="6639"/>
                          </a:cubicBezTo>
                          <a:cubicBezTo>
                            <a:pt x="12021" y="6878"/>
                            <a:pt x="11961" y="7177"/>
                            <a:pt x="11842" y="7416"/>
                          </a:cubicBezTo>
                          <a:cubicBezTo>
                            <a:pt x="11722" y="7655"/>
                            <a:pt x="11662" y="7954"/>
                            <a:pt x="11483" y="8194"/>
                          </a:cubicBezTo>
                          <a:cubicBezTo>
                            <a:pt x="11603" y="8433"/>
                            <a:pt x="11423" y="8672"/>
                            <a:pt x="11244" y="8911"/>
                          </a:cubicBezTo>
                          <a:moveTo>
                            <a:pt x="2093" y="2871"/>
                          </a:moveTo>
                          <a:lnTo>
                            <a:pt x="2871" y="3409"/>
                          </a:lnTo>
                          <a:cubicBezTo>
                            <a:pt x="3050" y="3170"/>
                            <a:pt x="3289" y="2990"/>
                            <a:pt x="3528" y="2751"/>
                          </a:cubicBezTo>
                          <a:cubicBezTo>
                            <a:pt x="3768" y="2512"/>
                            <a:pt x="4007" y="2392"/>
                            <a:pt x="4246" y="2213"/>
                          </a:cubicBezTo>
                          <a:cubicBezTo>
                            <a:pt x="4486" y="2033"/>
                            <a:pt x="4725" y="1914"/>
                            <a:pt x="5024" y="1794"/>
                          </a:cubicBezTo>
                          <a:cubicBezTo>
                            <a:pt x="5263" y="1674"/>
                            <a:pt x="5562" y="1555"/>
                            <a:pt x="5801" y="1435"/>
                          </a:cubicBezTo>
                          <a:cubicBezTo>
                            <a:pt x="5921" y="1375"/>
                            <a:pt x="6041" y="1375"/>
                            <a:pt x="6160" y="1316"/>
                          </a:cubicBezTo>
                          <a:cubicBezTo>
                            <a:pt x="6280" y="1256"/>
                            <a:pt x="6399" y="1256"/>
                            <a:pt x="6519" y="1196"/>
                          </a:cubicBezTo>
                          <a:cubicBezTo>
                            <a:pt x="6639" y="1196"/>
                            <a:pt x="6758" y="1136"/>
                            <a:pt x="6878" y="1136"/>
                          </a:cubicBezTo>
                          <a:cubicBezTo>
                            <a:pt x="6997" y="1136"/>
                            <a:pt x="7117" y="1076"/>
                            <a:pt x="7236" y="1076"/>
                          </a:cubicBezTo>
                          <a:cubicBezTo>
                            <a:pt x="7236" y="1076"/>
                            <a:pt x="7236" y="1076"/>
                            <a:pt x="7236" y="1076"/>
                          </a:cubicBezTo>
                          <a:cubicBezTo>
                            <a:pt x="7236" y="1076"/>
                            <a:pt x="7236" y="1076"/>
                            <a:pt x="7236" y="1076"/>
                          </a:cubicBezTo>
                          <a:cubicBezTo>
                            <a:pt x="7236" y="1076"/>
                            <a:pt x="7236" y="1076"/>
                            <a:pt x="7236" y="1076"/>
                          </a:cubicBezTo>
                          <a:cubicBezTo>
                            <a:pt x="7236" y="1076"/>
                            <a:pt x="7236" y="1076"/>
                            <a:pt x="7236" y="1076"/>
                          </a:cubicBezTo>
                          <a:lnTo>
                            <a:pt x="8074" y="0"/>
                          </a:lnTo>
                          <a:cubicBezTo>
                            <a:pt x="7895" y="0"/>
                            <a:pt x="7715" y="0"/>
                            <a:pt x="7536" y="0"/>
                          </a:cubicBezTo>
                          <a:cubicBezTo>
                            <a:pt x="7356" y="0"/>
                            <a:pt x="7177" y="0"/>
                            <a:pt x="6997" y="60"/>
                          </a:cubicBezTo>
                          <a:cubicBezTo>
                            <a:pt x="6818" y="60"/>
                            <a:pt x="6639" y="119"/>
                            <a:pt x="6459" y="179"/>
                          </a:cubicBezTo>
                          <a:cubicBezTo>
                            <a:pt x="6280" y="239"/>
                            <a:pt x="6100" y="239"/>
                            <a:pt x="5921" y="299"/>
                          </a:cubicBezTo>
                          <a:cubicBezTo>
                            <a:pt x="5801" y="359"/>
                            <a:pt x="5682" y="359"/>
                            <a:pt x="5622" y="419"/>
                          </a:cubicBezTo>
                          <a:cubicBezTo>
                            <a:pt x="5502" y="479"/>
                            <a:pt x="5382" y="479"/>
                            <a:pt x="5323" y="538"/>
                          </a:cubicBezTo>
                          <a:cubicBezTo>
                            <a:pt x="5203" y="598"/>
                            <a:pt x="5083" y="598"/>
                            <a:pt x="5024" y="658"/>
                          </a:cubicBezTo>
                          <a:cubicBezTo>
                            <a:pt x="4904" y="718"/>
                            <a:pt x="4785" y="778"/>
                            <a:pt x="4725" y="778"/>
                          </a:cubicBezTo>
                          <a:cubicBezTo>
                            <a:pt x="4486" y="897"/>
                            <a:pt x="4246" y="1017"/>
                            <a:pt x="4007" y="1196"/>
                          </a:cubicBezTo>
                          <a:cubicBezTo>
                            <a:pt x="3768" y="1316"/>
                            <a:pt x="3528" y="1495"/>
                            <a:pt x="3289" y="1674"/>
                          </a:cubicBezTo>
                          <a:cubicBezTo>
                            <a:pt x="3050" y="1854"/>
                            <a:pt x="2811" y="2033"/>
                            <a:pt x="2632" y="2213"/>
                          </a:cubicBezTo>
                          <a:cubicBezTo>
                            <a:pt x="2512" y="2392"/>
                            <a:pt x="2273" y="2632"/>
                            <a:pt x="2093" y="2871"/>
                          </a:cubicBezTo>
                          <a:moveTo>
                            <a:pt x="1256" y="11423"/>
                          </a:moveTo>
                          <a:lnTo>
                            <a:pt x="3409" y="12858"/>
                          </a:lnTo>
                          <a:cubicBezTo>
                            <a:pt x="4067" y="13098"/>
                            <a:pt x="4725" y="13158"/>
                            <a:pt x="5382" y="13158"/>
                          </a:cubicBezTo>
                          <a:cubicBezTo>
                            <a:pt x="6100" y="13158"/>
                            <a:pt x="6758" y="13038"/>
                            <a:pt x="7476" y="12799"/>
                          </a:cubicBezTo>
                          <a:cubicBezTo>
                            <a:pt x="8194" y="12559"/>
                            <a:pt x="8851" y="12260"/>
                            <a:pt x="9509" y="11842"/>
                          </a:cubicBezTo>
                          <a:cubicBezTo>
                            <a:pt x="10167" y="11423"/>
                            <a:pt x="10765" y="10945"/>
                            <a:pt x="11304" y="10347"/>
                          </a:cubicBezTo>
                          <a:lnTo>
                            <a:pt x="10526" y="9808"/>
                          </a:lnTo>
                          <a:cubicBezTo>
                            <a:pt x="9988" y="10406"/>
                            <a:pt x="9390" y="10825"/>
                            <a:pt x="8732" y="11184"/>
                          </a:cubicBezTo>
                          <a:cubicBezTo>
                            <a:pt x="8074" y="11543"/>
                            <a:pt x="7416" y="11782"/>
                            <a:pt x="6758" y="11961"/>
                          </a:cubicBezTo>
                          <a:cubicBezTo>
                            <a:pt x="6100" y="12081"/>
                            <a:pt x="5382" y="12141"/>
                            <a:pt x="4785" y="12021"/>
                          </a:cubicBezTo>
                          <a:cubicBezTo>
                            <a:pt x="4127" y="11902"/>
                            <a:pt x="3528" y="11722"/>
                            <a:pt x="2990" y="11363"/>
                          </a:cubicBezTo>
                          <a:cubicBezTo>
                            <a:pt x="2452" y="11004"/>
                            <a:pt x="2033" y="10526"/>
                            <a:pt x="1674" y="9988"/>
                          </a:cubicBezTo>
                          <a:cubicBezTo>
                            <a:pt x="1375" y="9450"/>
                            <a:pt x="1196" y="8851"/>
                            <a:pt x="1076" y="8194"/>
                          </a:cubicBezTo>
                          <a:cubicBezTo>
                            <a:pt x="957" y="7536"/>
                            <a:pt x="1076" y="6878"/>
                            <a:pt x="1256" y="6220"/>
                          </a:cubicBezTo>
                          <a:cubicBezTo>
                            <a:pt x="1435" y="5562"/>
                            <a:pt x="1734" y="4844"/>
                            <a:pt x="2153" y="4246"/>
                          </a:cubicBezTo>
                          <a:lnTo>
                            <a:pt x="1375" y="3708"/>
                          </a:lnTo>
                          <a:cubicBezTo>
                            <a:pt x="897" y="4366"/>
                            <a:pt x="598" y="5083"/>
                            <a:pt x="359" y="5741"/>
                          </a:cubicBezTo>
                          <a:cubicBezTo>
                            <a:pt x="119" y="6459"/>
                            <a:pt x="0" y="7117"/>
                            <a:pt x="0" y="7835"/>
                          </a:cubicBezTo>
                          <a:cubicBezTo>
                            <a:pt x="0" y="8493"/>
                            <a:pt x="119" y="9150"/>
                            <a:pt x="299" y="9749"/>
                          </a:cubicBezTo>
                          <a:cubicBezTo>
                            <a:pt x="538" y="10406"/>
                            <a:pt x="837" y="10945"/>
                            <a:pt x="1256" y="11423"/>
                          </a:cubicBezTo>
                        </a:path>
                      </a:pathLst>
                    </a:custGeom>
                    <a:noFill/>
                    <a:ln w="6350" cap="flat">
                      <a:solidFill>
                        <a:schemeClr val="bg1">
                          <a:alpha val="80000"/>
                        </a:schemeClr>
                      </a:solidFill>
                      <a:prstDash val="solid"/>
                      <a:miter/>
                    </a:ln>
                  </p:spPr>
                  <p:txBody>
                    <a:bodyPr rtlCol="0" anchor="ctr"/>
                    <a:lstStyle/>
                    <a:p>
                      <a:endParaRPr lang="en-GB"/>
                    </a:p>
                  </p:txBody>
                </p:sp>
                <p:sp>
                  <p:nvSpPr>
                    <p:cNvPr id="7491" name="Vrije vorm: vorm 7490">
                      <a:extLst>
                        <a:ext uri="{FF2B5EF4-FFF2-40B4-BE49-F238E27FC236}">
                          <a16:creationId xmlns:a16="http://schemas.microsoft.com/office/drawing/2014/main" id="{7F06CC59-F9DB-415F-808B-7AF42E366F4D}"/>
                        </a:ext>
                      </a:extLst>
                    </p:cNvPr>
                    <p:cNvSpPr/>
                    <p:nvPr/>
                  </p:nvSpPr>
                  <p:spPr>
                    <a:xfrm>
                      <a:off x="5004568" y="5304820"/>
                      <a:ext cx="38037" cy="39472"/>
                    </a:xfrm>
                    <a:custGeom>
                      <a:avLst/>
                      <a:gdLst>
                        <a:gd name="connsiteX0" fmla="*/ 18720 w 38037"/>
                        <a:gd name="connsiteY0" fmla="*/ 6519 h 39472"/>
                        <a:gd name="connsiteX1" fmla="*/ 19497 w 38037"/>
                        <a:gd name="connsiteY1" fmla="*/ 7057 h 39472"/>
                        <a:gd name="connsiteX2" fmla="*/ 21471 w 38037"/>
                        <a:gd name="connsiteY2" fmla="*/ 4545 h 39472"/>
                        <a:gd name="connsiteX3" fmla="*/ 22188 w 38037"/>
                        <a:gd name="connsiteY3" fmla="*/ 3648 h 39472"/>
                        <a:gd name="connsiteX4" fmla="*/ 23983 w 38037"/>
                        <a:gd name="connsiteY4" fmla="*/ 1375 h 39472"/>
                        <a:gd name="connsiteX5" fmla="*/ 36542 w 38037"/>
                        <a:gd name="connsiteY5" fmla="*/ 9748 h 39472"/>
                        <a:gd name="connsiteX6" fmla="*/ 34748 w 38037"/>
                        <a:gd name="connsiteY6" fmla="*/ 12021 h 39472"/>
                        <a:gd name="connsiteX7" fmla="*/ 34090 w 38037"/>
                        <a:gd name="connsiteY7" fmla="*/ 12918 h 39472"/>
                        <a:gd name="connsiteX8" fmla="*/ 32116 w 38037"/>
                        <a:gd name="connsiteY8" fmla="*/ 15430 h 39472"/>
                        <a:gd name="connsiteX9" fmla="*/ 32894 w 38037"/>
                        <a:gd name="connsiteY9" fmla="*/ 15968 h 39472"/>
                        <a:gd name="connsiteX10" fmla="*/ 34867 w 38037"/>
                        <a:gd name="connsiteY10" fmla="*/ 13457 h 39472"/>
                        <a:gd name="connsiteX11" fmla="*/ 35526 w 38037"/>
                        <a:gd name="connsiteY11" fmla="*/ 12619 h 39472"/>
                        <a:gd name="connsiteX12" fmla="*/ 38037 w 38037"/>
                        <a:gd name="connsiteY12" fmla="*/ 9449 h 39472"/>
                        <a:gd name="connsiteX13" fmla="*/ 23923 w 38037"/>
                        <a:gd name="connsiteY13" fmla="*/ 0 h 39472"/>
                        <a:gd name="connsiteX14" fmla="*/ 21411 w 38037"/>
                        <a:gd name="connsiteY14" fmla="*/ 3170 h 39472"/>
                        <a:gd name="connsiteX15" fmla="*/ 20693 w 38037"/>
                        <a:gd name="connsiteY15" fmla="*/ 4067 h 39472"/>
                        <a:gd name="connsiteX16" fmla="*/ 18720 w 38037"/>
                        <a:gd name="connsiteY16" fmla="*/ 6519 h 39472"/>
                        <a:gd name="connsiteX17" fmla="*/ 27451 w 38037"/>
                        <a:gd name="connsiteY17" fmla="*/ 21351 h 39472"/>
                        <a:gd name="connsiteX18" fmla="*/ 28229 w 38037"/>
                        <a:gd name="connsiteY18" fmla="*/ 21889 h 39472"/>
                        <a:gd name="connsiteX19" fmla="*/ 32176 w 38037"/>
                        <a:gd name="connsiteY19" fmla="*/ 16865 h 39472"/>
                        <a:gd name="connsiteX20" fmla="*/ 31399 w 38037"/>
                        <a:gd name="connsiteY20" fmla="*/ 16327 h 39472"/>
                        <a:gd name="connsiteX21" fmla="*/ 27451 w 38037"/>
                        <a:gd name="connsiteY21" fmla="*/ 21351 h 39472"/>
                        <a:gd name="connsiteX22" fmla="*/ 13995 w 38037"/>
                        <a:gd name="connsiteY22" fmla="*/ 12500 h 39472"/>
                        <a:gd name="connsiteX23" fmla="*/ 14772 w 38037"/>
                        <a:gd name="connsiteY23" fmla="*/ 13038 h 39472"/>
                        <a:gd name="connsiteX24" fmla="*/ 18720 w 38037"/>
                        <a:gd name="connsiteY24" fmla="*/ 8014 h 39472"/>
                        <a:gd name="connsiteX25" fmla="*/ 17942 w 38037"/>
                        <a:gd name="connsiteY25" fmla="*/ 7476 h 39472"/>
                        <a:gd name="connsiteX26" fmla="*/ 13995 w 38037"/>
                        <a:gd name="connsiteY26" fmla="*/ 12500 h 39472"/>
                        <a:gd name="connsiteX27" fmla="*/ 25537 w 38037"/>
                        <a:gd name="connsiteY27" fmla="*/ 23803 h 39472"/>
                        <a:gd name="connsiteX28" fmla="*/ 26315 w 38037"/>
                        <a:gd name="connsiteY28" fmla="*/ 24341 h 39472"/>
                        <a:gd name="connsiteX29" fmla="*/ 27571 w 38037"/>
                        <a:gd name="connsiteY29" fmla="*/ 22787 h 39472"/>
                        <a:gd name="connsiteX30" fmla="*/ 26794 w 38037"/>
                        <a:gd name="connsiteY30" fmla="*/ 22248 h 39472"/>
                        <a:gd name="connsiteX31" fmla="*/ 25537 w 38037"/>
                        <a:gd name="connsiteY31" fmla="*/ 23803 h 39472"/>
                        <a:gd name="connsiteX32" fmla="*/ 12081 w 38037"/>
                        <a:gd name="connsiteY32" fmla="*/ 15011 h 39472"/>
                        <a:gd name="connsiteX33" fmla="*/ 12858 w 38037"/>
                        <a:gd name="connsiteY33" fmla="*/ 15550 h 39472"/>
                        <a:gd name="connsiteX34" fmla="*/ 14114 w 38037"/>
                        <a:gd name="connsiteY34" fmla="*/ 13995 h 39472"/>
                        <a:gd name="connsiteX35" fmla="*/ 13337 w 38037"/>
                        <a:gd name="connsiteY35" fmla="*/ 13457 h 39472"/>
                        <a:gd name="connsiteX36" fmla="*/ 12081 w 38037"/>
                        <a:gd name="connsiteY36" fmla="*/ 15011 h 39472"/>
                        <a:gd name="connsiteX37" fmla="*/ 23743 w 38037"/>
                        <a:gd name="connsiteY37" fmla="*/ 26076 h 39472"/>
                        <a:gd name="connsiteX38" fmla="*/ 24521 w 38037"/>
                        <a:gd name="connsiteY38" fmla="*/ 26614 h 39472"/>
                        <a:gd name="connsiteX39" fmla="*/ 25597 w 38037"/>
                        <a:gd name="connsiteY39" fmla="*/ 25238 h 39472"/>
                        <a:gd name="connsiteX40" fmla="*/ 24820 w 38037"/>
                        <a:gd name="connsiteY40" fmla="*/ 24700 h 39472"/>
                        <a:gd name="connsiteX41" fmla="*/ 23743 w 38037"/>
                        <a:gd name="connsiteY41" fmla="*/ 26076 h 39472"/>
                        <a:gd name="connsiteX42" fmla="*/ 10227 w 38037"/>
                        <a:gd name="connsiteY42" fmla="*/ 17284 h 39472"/>
                        <a:gd name="connsiteX43" fmla="*/ 11004 w 38037"/>
                        <a:gd name="connsiteY43" fmla="*/ 17822 h 39472"/>
                        <a:gd name="connsiteX44" fmla="*/ 12081 w 38037"/>
                        <a:gd name="connsiteY44" fmla="*/ 16447 h 39472"/>
                        <a:gd name="connsiteX45" fmla="*/ 11303 w 38037"/>
                        <a:gd name="connsiteY45" fmla="*/ 15909 h 39472"/>
                        <a:gd name="connsiteX46" fmla="*/ 10227 w 38037"/>
                        <a:gd name="connsiteY46" fmla="*/ 17284 h 39472"/>
                        <a:gd name="connsiteX47" fmla="*/ 0 w 38037"/>
                        <a:gd name="connsiteY47" fmla="*/ 30262 h 39472"/>
                        <a:gd name="connsiteX48" fmla="*/ 14354 w 38037"/>
                        <a:gd name="connsiteY48" fmla="*/ 39473 h 39472"/>
                        <a:gd name="connsiteX49" fmla="*/ 20813 w 38037"/>
                        <a:gd name="connsiteY49" fmla="*/ 31279 h 39472"/>
                        <a:gd name="connsiteX50" fmla="*/ 21530 w 38037"/>
                        <a:gd name="connsiteY50" fmla="*/ 30382 h 39472"/>
                        <a:gd name="connsiteX51" fmla="*/ 23803 w 38037"/>
                        <a:gd name="connsiteY51" fmla="*/ 27451 h 39472"/>
                        <a:gd name="connsiteX52" fmla="*/ 23026 w 38037"/>
                        <a:gd name="connsiteY52" fmla="*/ 26913 h 39472"/>
                        <a:gd name="connsiteX53" fmla="*/ 20753 w 38037"/>
                        <a:gd name="connsiteY53" fmla="*/ 29844 h 39472"/>
                        <a:gd name="connsiteX54" fmla="*/ 20035 w 38037"/>
                        <a:gd name="connsiteY54" fmla="*/ 30741 h 39472"/>
                        <a:gd name="connsiteX55" fmla="*/ 14234 w 38037"/>
                        <a:gd name="connsiteY55" fmla="*/ 38097 h 39472"/>
                        <a:gd name="connsiteX56" fmla="*/ 1495 w 38037"/>
                        <a:gd name="connsiteY56" fmla="*/ 29904 h 39472"/>
                        <a:gd name="connsiteX57" fmla="*/ 7356 w 38037"/>
                        <a:gd name="connsiteY57" fmla="*/ 22487 h 39472"/>
                        <a:gd name="connsiteX58" fmla="*/ 8074 w 38037"/>
                        <a:gd name="connsiteY58" fmla="*/ 21590 h 39472"/>
                        <a:gd name="connsiteX59" fmla="*/ 10406 w 38037"/>
                        <a:gd name="connsiteY59" fmla="*/ 18660 h 39472"/>
                        <a:gd name="connsiteX60" fmla="*/ 9629 w 38037"/>
                        <a:gd name="connsiteY60" fmla="*/ 18121 h 39472"/>
                        <a:gd name="connsiteX61" fmla="*/ 7296 w 38037"/>
                        <a:gd name="connsiteY61" fmla="*/ 21052 h 39472"/>
                        <a:gd name="connsiteX62" fmla="*/ 6579 w 38037"/>
                        <a:gd name="connsiteY62" fmla="*/ 21949 h 39472"/>
                        <a:gd name="connsiteX63" fmla="*/ 0 w 38037"/>
                        <a:gd name="connsiteY63" fmla="*/ 30262 h 39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037" h="39472">
                          <a:moveTo>
                            <a:pt x="18720" y="6519"/>
                          </a:moveTo>
                          <a:lnTo>
                            <a:pt x="19497" y="7057"/>
                          </a:lnTo>
                          <a:lnTo>
                            <a:pt x="21471" y="4545"/>
                          </a:lnTo>
                          <a:lnTo>
                            <a:pt x="22188" y="3648"/>
                          </a:lnTo>
                          <a:lnTo>
                            <a:pt x="23983" y="1375"/>
                          </a:lnTo>
                          <a:lnTo>
                            <a:pt x="36542" y="9748"/>
                          </a:lnTo>
                          <a:lnTo>
                            <a:pt x="34748" y="12021"/>
                          </a:lnTo>
                          <a:lnTo>
                            <a:pt x="34090" y="12918"/>
                          </a:lnTo>
                          <a:lnTo>
                            <a:pt x="32116" y="15430"/>
                          </a:lnTo>
                          <a:lnTo>
                            <a:pt x="32894" y="15968"/>
                          </a:lnTo>
                          <a:lnTo>
                            <a:pt x="34867" y="13457"/>
                          </a:lnTo>
                          <a:lnTo>
                            <a:pt x="35526" y="12619"/>
                          </a:lnTo>
                          <a:lnTo>
                            <a:pt x="38037" y="9449"/>
                          </a:lnTo>
                          <a:lnTo>
                            <a:pt x="23923" y="0"/>
                          </a:lnTo>
                          <a:lnTo>
                            <a:pt x="21411" y="3170"/>
                          </a:lnTo>
                          <a:lnTo>
                            <a:pt x="20693" y="4067"/>
                          </a:lnTo>
                          <a:lnTo>
                            <a:pt x="18720" y="6519"/>
                          </a:lnTo>
                          <a:moveTo>
                            <a:pt x="27451" y="21351"/>
                          </a:moveTo>
                          <a:lnTo>
                            <a:pt x="28229" y="21889"/>
                          </a:lnTo>
                          <a:lnTo>
                            <a:pt x="32176" y="16865"/>
                          </a:lnTo>
                          <a:lnTo>
                            <a:pt x="31399" y="16327"/>
                          </a:lnTo>
                          <a:lnTo>
                            <a:pt x="27451" y="21351"/>
                          </a:lnTo>
                          <a:moveTo>
                            <a:pt x="13995" y="12500"/>
                          </a:moveTo>
                          <a:lnTo>
                            <a:pt x="14772" y="13038"/>
                          </a:lnTo>
                          <a:lnTo>
                            <a:pt x="18720" y="8014"/>
                          </a:lnTo>
                          <a:lnTo>
                            <a:pt x="17942" y="7476"/>
                          </a:lnTo>
                          <a:lnTo>
                            <a:pt x="13995" y="12500"/>
                          </a:lnTo>
                          <a:moveTo>
                            <a:pt x="25537" y="23803"/>
                          </a:moveTo>
                          <a:lnTo>
                            <a:pt x="26315" y="24341"/>
                          </a:lnTo>
                          <a:lnTo>
                            <a:pt x="27571" y="22787"/>
                          </a:lnTo>
                          <a:lnTo>
                            <a:pt x="26794" y="22248"/>
                          </a:lnTo>
                          <a:lnTo>
                            <a:pt x="25537" y="23803"/>
                          </a:lnTo>
                          <a:moveTo>
                            <a:pt x="12081" y="15011"/>
                          </a:moveTo>
                          <a:lnTo>
                            <a:pt x="12858" y="15550"/>
                          </a:lnTo>
                          <a:lnTo>
                            <a:pt x="14114" y="13995"/>
                          </a:lnTo>
                          <a:lnTo>
                            <a:pt x="13337" y="13457"/>
                          </a:lnTo>
                          <a:lnTo>
                            <a:pt x="12081" y="15011"/>
                          </a:lnTo>
                          <a:moveTo>
                            <a:pt x="23743" y="26076"/>
                          </a:moveTo>
                          <a:lnTo>
                            <a:pt x="24521" y="26614"/>
                          </a:lnTo>
                          <a:lnTo>
                            <a:pt x="25597" y="25238"/>
                          </a:lnTo>
                          <a:lnTo>
                            <a:pt x="24820" y="24700"/>
                          </a:lnTo>
                          <a:lnTo>
                            <a:pt x="23743" y="26076"/>
                          </a:lnTo>
                          <a:moveTo>
                            <a:pt x="10227" y="17284"/>
                          </a:moveTo>
                          <a:lnTo>
                            <a:pt x="11004" y="17822"/>
                          </a:lnTo>
                          <a:lnTo>
                            <a:pt x="12081" y="16447"/>
                          </a:lnTo>
                          <a:lnTo>
                            <a:pt x="11303" y="15909"/>
                          </a:lnTo>
                          <a:lnTo>
                            <a:pt x="10227" y="17284"/>
                          </a:lnTo>
                          <a:moveTo>
                            <a:pt x="0" y="30262"/>
                          </a:moveTo>
                          <a:lnTo>
                            <a:pt x="14354" y="39473"/>
                          </a:lnTo>
                          <a:lnTo>
                            <a:pt x="20813" y="31279"/>
                          </a:lnTo>
                          <a:lnTo>
                            <a:pt x="21530" y="30382"/>
                          </a:lnTo>
                          <a:lnTo>
                            <a:pt x="23803" y="27451"/>
                          </a:lnTo>
                          <a:lnTo>
                            <a:pt x="23026" y="26913"/>
                          </a:lnTo>
                          <a:lnTo>
                            <a:pt x="20753" y="29844"/>
                          </a:lnTo>
                          <a:lnTo>
                            <a:pt x="20035" y="30741"/>
                          </a:lnTo>
                          <a:lnTo>
                            <a:pt x="14234" y="38097"/>
                          </a:lnTo>
                          <a:lnTo>
                            <a:pt x="1495" y="29904"/>
                          </a:lnTo>
                          <a:lnTo>
                            <a:pt x="7356" y="22487"/>
                          </a:lnTo>
                          <a:lnTo>
                            <a:pt x="8074" y="21590"/>
                          </a:lnTo>
                          <a:lnTo>
                            <a:pt x="10406" y="18660"/>
                          </a:lnTo>
                          <a:lnTo>
                            <a:pt x="9629" y="18121"/>
                          </a:lnTo>
                          <a:lnTo>
                            <a:pt x="7296" y="21052"/>
                          </a:lnTo>
                          <a:lnTo>
                            <a:pt x="6579" y="21949"/>
                          </a:lnTo>
                          <a:lnTo>
                            <a:pt x="0" y="30262"/>
                          </a:lnTo>
                        </a:path>
                      </a:pathLst>
                    </a:custGeom>
                    <a:noFill/>
                    <a:ln w="6350" cap="flat">
                      <a:solidFill>
                        <a:schemeClr val="bg1">
                          <a:alpha val="80000"/>
                        </a:schemeClr>
                      </a:solidFill>
                      <a:prstDash val="solid"/>
                      <a:miter/>
                    </a:ln>
                  </p:spPr>
                  <p:txBody>
                    <a:bodyPr rtlCol="0" anchor="ctr"/>
                    <a:lstStyle/>
                    <a:p>
                      <a:endParaRPr lang="en-GB"/>
                    </a:p>
                  </p:txBody>
                </p:sp>
                <p:sp>
                  <p:nvSpPr>
                    <p:cNvPr id="7492" name="Vrije vorm: vorm 7491">
                      <a:extLst>
                        <a:ext uri="{FF2B5EF4-FFF2-40B4-BE49-F238E27FC236}">
                          <a16:creationId xmlns:a16="http://schemas.microsoft.com/office/drawing/2014/main" id="{E7D5F262-3252-4595-82D9-3B74331A1DB9}"/>
                        </a:ext>
                      </a:extLst>
                    </p:cNvPr>
                    <p:cNvSpPr/>
                    <p:nvPr/>
                  </p:nvSpPr>
                  <p:spPr>
                    <a:xfrm>
                      <a:off x="5224898" y="5126296"/>
                      <a:ext cx="104243" cy="91146"/>
                    </a:xfrm>
                    <a:custGeom>
                      <a:avLst/>
                      <a:gdLst>
                        <a:gd name="connsiteX0" fmla="*/ 93539 w 104243"/>
                        <a:gd name="connsiteY0" fmla="*/ 1256 h 91146"/>
                        <a:gd name="connsiteX1" fmla="*/ 93718 w 104243"/>
                        <a:gd name="connsiteY1" fmla="*/ 1375 h 91146"/>
                        <a:gd name="connsiteX2" fmla="*/ 93897 w 104243"/>
                        <a:gd name="connsiteY2" fmla="*/ 1495 h 91146"/>
                        <a:gd name="connsiteX3" fmla="*/ 94077 w 104243"/>
                        <a:gd name="connsiteY3" fmla="*/ 1555 h 91146"/>
                        <a:gd name="connsiteX4" fmla="*/ 94256 w 104243"/>
                        <a:gd name="connsiteY4" fmla="*/ 1615 h 91146"/>
                        <a:gd name="connsiteX5" fmla="*/ 94675 w 104243"/>
                        <a:gd name="connsiteY5" fmla="*/ 1316 h 91146"/>
                        <a:gd name="connsiteX6" fmla="*/ 94795 w 104243"/>
                        <a:gd name="connsiteY6" fmla="*/ 1615 h 91146"/>
                        <a:gd name="connsiteX7" fmla="*/ 94974 w 104243"/>
                        <a:gd name="connsiteY7" fmla="*/ 1555 h 91146"/>
                        <a:gd name="connsiteX8" fmla="*/ 95154 w 104243"/>
                        <a:gd name="connsiteY8" fmla="*/ 1495 h 91146"/>
                        <a:gd name="connsiteX9" fmla="*/ 95333 w 104243"/>
                        <a:gd name="connsiteY9" fmla="*/ 1435 h 91146"/>
                        <a:gd name="connsiteX10" fmla="*/ 95512 w 104243"/>
                        <a:gd name="connsiteY10" fmla="*/ 1316 h 91146"/>
                        <a:gd name="connsiteX11" fmla="*/ 95572 w 104243"/>
                        <a:gd name="connsiteY11" fmla="*/ 1316 h 91146"/>
                        <a:gd name="connsiteX12" fmla="*/ 95632 w 104243"/>
                        <a:gd name="connsiteY12" fmla="*/ 1316 h 91146"/>
                        <a:gd name="connsiteX13" fmla="*/ 95692 w 104243"/>
                        <a:gd name="connsiteY13" fmla="*/ 1316 h 91146"/>
                        <a:gd name="connsiteX14" fmla="*/ 95751 w 104243"/>
                        <a:gd name="connsiteY14" fmla="*/ 1316 h 91146"/>
                        <a:gd name="connsiteX15" fmla="*/ 95154 w 104243"/>
                        <a:gd name="connsiteY15" fmla="*/ 0 h 91146"/>
                        <a:gd name="connsiteX16" fmla="*/ 93479 w 104243"/>
                        <a:gd name="connsiteY16" fmla="*/ 1256 h 91146"/>
                        <a:gd name="connsiteX17" fmla="*/ 93539 w 104243"/>
                        <a:gd name="connsiteY17" fmla="*/ 1256 h 91146"/>
                        <a:gd name="connsiteX18" fmla="*/ 95572 w 104243"/>
                        <a:gd name="connsiteY18" fmla="*/ 3349 h 91146"/>
                        <a:gd name="connsiteX19" fmla="*/ 95692 w 104243"/>
                        <a:gd name="connsiteY19" fmla="*/ 3230 h 91146"/>
                        <a:gd name="connsiteX20" fmla="*/ 95811 w 104243"/>
                        <a:gd name="connsiteY20" fmla="*/ 3170 h 91146"/>
                        <a:gd name="connsiteX21" fmla="*/ 95931 w 104243"/>
                        <a:gd name="connsiteY21" fmla="*/ 3110 h 91146"/>
                        <a:gd name="connsiteX22" fmla="*/ 96050 w 104243"/>
                        <a:gd name="connsiteY22" fmla="*/ 3050 h 91146"/>
                        <a:gd name="connsiteX23" fmla="*/ 96170 w 104243"/>
                        <a:gd name="connsiteY23" fmla="*/ 2990 h 91146"/>
                        <a:gd name="connsiteX24" fmla="*/ 96290 w 104243"/>
                        <a:gd name="connsiteY24" fmla="*/ 2930 h 91146"/>
                        <a:gd name="connsiteX25" fmla="*/ 96409 w 104243"/>
                        <a:gd name="connsiteY25" fmla="*/ 2871 h 91146"/>
                        <a:gd name="connsiteX26" fmla="*/ 96529 w 104243"/>
                        <a:gd name="connsiteY26" fmla="*/ 2811 h 91146"/>
                        <a:gd name="connsiteX27" fmla="*/ 96170 w 104243"/>
                        <a:gd name="connsiteY27" fmla="*/ 1974 h 91146"/>
                        <a:gd name="connsiteX28" fmla="*/ 96110 w 104243"/>
                        <a:gd name="connsiteY28" fmla="*/ 2034 h 91146"/>
                        <a:gd name="connsiteX29" fmla="*/ 96050 w 104243"/>
                        <a:gd name="connsiteY29" fmla="*/ 2093 h 91146"/>
                        <a:gd name="connsiteX30" fmla="*/ 95991 w 104243"/>
                        <a:gd name="connsiteY30" fmla="*/ 2153 h 91146"/>
                        <a:gd name="connsiteX31" fmla="*/ 95931 w 104243"/>
                        <a:gd name="connsiteY31" fmla="*/ 2213 h 91146"/>
                        <a:gd name="connsiteX32" fmla="*/ 95751 w 104243"/>
                        <a:gd name="connsiteY32" fmla="*/ 2333 h 91146"/>
                        <a:gd name="connsiteX33" fmla="*/ 95572 w 104243"/>
                        <a:gd name="connsiteY33" fmla="*/ 2452 h 91146"/>
                        <a:gd name="connsiteX34" fmla="*/ 95393 w 104243"/>
                        <a:gd name="connsiteY34" fmla="*/ 2512 h 91146"/>
                        <a:gd name="connsiteX35" fmla="*/ 95213 w 104243"/>
                        <a:gd name="connsiteY35" fmla="*/ 2572 h 91146"/>
                        <a:gd name="connsiteX36" fmla="*/ 95572 w 104243"/>
                        <a:gd name="connsiteY36" fmla="*/ 3349 h 91146"/>
                        <a:gd name="connsiteX37" fmla="*/ 96709 w 104243"/>
                        <a:gd name="connsiteY37" fmla="*/ 5742 h 91146"/>
                        <a:gd name="connsiteX38" fmla="*/ 97546 w 104243"/>
                        <a:gd name="connsiteY38" fmla="*/ 5143 h 91146"/>
                        <a:gd name="connsiteX39" fmla="*/ 97605 w 104243"/>
                        <a:gd name="connsiteY39" fmla="*/ 5263 h 91146"/>
                        <a:gd name="connsiteX40" fmla="*/ 97605 w 104243"/>
                        <a:gd name="connsiteY40" fmla="*/ 5263 h 91146"/>
                        <a:gd name="connsiteX41" fmla="*/ 97605 w 104243"/>
                        <a:gd name="connsiteY41" fmla="*/ 5263 h 91146"/>
                        <a:gd name="connsiteX42" fmla="*/ 97605 w 104243"/>
                        <a:gd name="connsiteY42" fmla="*/ 5263 h 91146"/>
                        <a:gd name="connsiteX43" fmla="*/ 97605 w 104243"/>
                        <a:gd name="connsiteY43" fmla="*/ 5263 h 91146"/>
                        <a:gd name="connsiteX44" fmla="*/ 96948 w 104243"/>
                        <a:gd name="connsiteY44" fmla="*/ 3768 h 91146"/>
                        <a:gd name="connsiteX45" fmla="*/ 96828 w 104243"/>
                        <a:gd name="connsiteY45" fmla="*/ 3828 h 91146"/>
                        <a:gd name="connsiteX46" fmla="*/ 96709 w 104243"/>
                        <a:gd name="connsiteY46" fmla="*/ 3888 h 91146"/>
                        <a:gd name="connsiteX47" fmla="*/ 96589 w 104243"/>
                        <a:gd name="connsiteY47" fmla="*/ 3947 h 91146"/>
                        <a:gd name="connsiteX48" fmla="*/ 96469 w 104243"/>
                        <a:gd name="connsiteY48" fmla="*/ 4007 h 91146"/>
                        <a:gd name="connsiteX49" fmla="*/ 96350 w 104243"/>
                        <a:gd name="connsiteY49" fmla="*/ 4067 h 91146"/>
                        <a:gd name="connsiteX50" fmla="*/ 96230 w 104243"/>
                        <a:gd name="connsiteY50" fmla="*/ 4127 h 91146"/>
                        <a:gd name="connsiteX51" fmla="*/ 96110 w 104243"/>
                        <a:gd name="connsiteY51" fmla="*/ 4187 h 91146"/>
                        <a:gd name="connsiteX52" fmla="*/ 95991 w 104243"/>
                        <a:gd name="connsiteY52" fmla="*/ 4246 h 91146"/>
                        <a:gd name="connsiteX53" fmla="*/ 96709 w 104243"/>
                        <a:gd name="connsiteY53" fmla="*/ 5742 h 91146"/>
                        <a:gd name="connsiteX54" fmla="*/ 99818 w 104243"/>
                        <a:gd name="connsiteY54" fmla="*/ 12440 h 91146"/>
                        <a:gd name="connsiteX55" fmla="*/ 97247 w 104243"/>
                        <a:gd name="connsiteY55" fmla="*/ 6758 h 91146"/>
                        <a:gd name="connsiteX56" fmla="*/ 97247 w 104243"/>
                        <a:gd name="connsiteY56" fmla="*/ 6758 h 91146"/>
                        <a:gd name="connsiteX57" fmla="*/ 97247 w 104243"/>
                        <a:gd name="connsiteY57" fmla="*/ 6758 h 91146"/>
                        <a:gd name="connsiteX58" fmla="*/ 97247 w 104243"/>
                        <a:gd name="connsiteY58" fmla="*/ 6758 h 91146"/>
                        <a:gd name="connsiteX59" fmla="*/ 97247 w 104243"/>
                        <a:gd name="connsiteY59" fmla="*/ 6758 h 91146"/>
                        <a:gd name="connsiteX60" fmla="*/ 99818 w 104243"/>
                        <a:gd name="connsiteY60" fmla="*/ 12440 h 91146"/>
                        <a:gd name="connsiteX61" fmla="*/ 100476 w 104243"/>
                        <a:gd name="connsiteY61" fmla="*/ 13935 h 91146"/>
                        <a:gd name="connsiteX62" fmla="*/ 100656 w 104243"/>
                        <a:gd name="connsiteY62" fmla="*/ 13756 h 91146"/>
                        <a:gd name="connsiteX63" fmla="*/ 100835 w 104243"/>
                        <a:gd name="connsiteY63" fmla="*/ 13576 h 91146"/>
                        <a:gd name="connsiteX64" fmla="*/ 101014 w 104243"/>
                        <a:gd name="connsiteY64" fmla="*/ 13397 h 91146"/>
                        <a:gd name="connsiteX65" fmla="*/ 101194 w 104243"/>
                        <a:gd name="connsiteY65" fmla="*/ 13218 h 91146"/>
                        <a:gd name="connsiteX66" fmla="*/ 98024 w 104243"/>
                        <a:gd name="connsiteY66" fmla="*/ 6340 h 91146"/>
                        <a:gd name="connsiteX67" fmla="*/ 98024 w 104243"/>
                        <a:gd name="connsiteY67" fmla="*/ 6340 h 91146"/>
                        <a:gd name="connsiteX68" fmla="*/ 98024 w 104243"/>
                        <a:gd name="connsiteY68" fmla="*/ 6340 h 91146"/>
                        <a:gd name="connsiteX69" fmla="*/ 98024 w 104243"/>
                        <a:gd name="connsiteY69" fmla="*/ 6340 h 91146"/>
                        <a:gd name="connsiteX70" fmla="*/ 98024 w 104243"/>
                        <a:gd name="connsiteY70" fmla="*/ 6340 h 91146"/>
                        <a:gd name="connsiteX71" fmla="*/ 100955 w 104243"/>
                        <a:gd name="connsiteY71" fmla="*/ 12679 h 91146"/>
                        <a:gd name="connsiteX72" fmla="*/ 100117 w 104243"/>
                        <a:gd name="connsiteY72" fmla="*/ 13277 h 91146"/>
                        <a:gd name="connsiteX73" fmla="*/ 100476 w 104243"/>
                        <a:gd name="connsiteY73" fmla="*/ 13935 h 91146"/>
                        <a:gd name="connsiteX74" fmla="*/ 88814 w 104243"/>
                        <a:gd name="connsiteY74" fmla="*/ 4605 h 91146"/>
                        <a:gd name="connsiteX75" fmla="*/ 88993 w 104243"/>
                        <a:gd name="connsiteY75" fmla="*/ 4605 h 91146"/>
                        <a:gd name="connsiteX76" fmla="*/ 89173 w 104243"/>
                        <a:gd name="connsiteY76" fmla="*/ 4605 h 91146"/>
                        <a:gd name="connsiteX77" fmla="*/ 89352 w 104243"/>
                        <a:gd name="connsiteY77" fmla="*/ 4605 h 91146"/>
                        <a:gd name="connsiteX78" fmla="*/ 89532 w 104243"/>
                        <a:gd name="connsiteY78" fmla="*/ 4665 h 91146"/>
                        <a:gd name="connsiteX79" fmla="*/ 89651 w 104243"/>
                        <a:gd name="connsiteY79" fmla="*/ 4725 h 91146"/>
                        <a:gd name="connsiteX80" fmla="*/ 89771 w 104243"/>
                        <a:gd name="connsiteY80" fmla="*/ 4785 h 91146"/>
                        <a:gd name="connsiteX81" fmla="*/ 89890 w 104243"/>
                        <a:gd name="connsiteY81" fmla="*/ 4844 h 91146"/>
                        <a:gd name="connsiteX82" fmla="*/ 90010 w 104243"/>
                        <a:gd name="connsiteY82" fmla="*/ 4904 h 91146"/>
                        <a:gd name="connsiteX83" fmla="*/ 93299 w 104243"/>
                        <a:gd name="connsiteY83" fmla="*/ 2452 h 91146"/>
                        <a:gd name="connsiteX84" fmla="*/ 93180 w 104243"/>
                        <a:gd name="connsiteY84" fmla="*/ 2392 h 91146"/>
                        <a:gd name="connsiteX85" fmla="*/ 93120 w 104243"/>
                        <a:gd name="connsiteY85" fmla="*/ 2333 h 91146"/>
                        <a:gd name="connsiteX86" fmla="*/ 93060 w 104243"/>
                        <a:gd name="connsiteY86" fmla="*/ 2273 h 91146"/>
                        <a:gd name="connsiteX87" fmla="*/ 93000 w 104243"/>
                        <a:gd name="connsiteY87" fmla="*/ 2213 h 91146"/>
                        <a:gd name="connsiteX88" fmla="*/ 92941 w 104243"/>
                        <a:gd name="connsiteY88" fmla="*/ 2153 h 91146"/>
                        <a:gd name="connsiteX89" fmla="*/ 92881 w 104243"/>
                        <a:gd name="connsiteY89" fmla="*/ 2093 h 91146"/>
                        <a:gd name="connsiteX90" fmla="*/ 92821 w 104243"/>
                        <a:gd name="connsiteY90" fmla="*/ 1974 h 91146"/>
                        <a:gd name="connsiteX91" fmla="*/ 92761 w 104243"/>
                        <a:gd name="connsiteY91" fmla="*/ 1854 h 91146"/>
                        <a:gd name="connsiteX92" fmla="*/ 88814 w 104243"/>
                        <a:gd name="connsiteY92" fmla="*/ 4605 h 91146"/>
                        <a:gd name="connsiteX93" fmla="*/ 101612 w 104243"/>
                        <a:gd name="connsiteY93" fmla="*/ 16327 h 91146"/>
                        <a:gd name="connsiteX94" fmla="*/ 101792 w 104243"/>
                        <a:gd name="connsiteY94" fmla="*/ 16148 h 91146"/>
                        <a:gd name="connsiteX95" fmla="*/ 101971 w 104243"/>
                        <a:gd name="connsiteY95" fmla="*/ 15968 h 91146"/>
                        <a:gd name="connsiteX96" fmla="*/ 102151 w 104243"/>
                        <a:gd name="connsiteY96" fmla="*/ 15789 h 91146"/>
                        <a:gd name="connsiteX97" fmla="*/ 102330 w 104243"/>
                        <a:gd name="connsiteY97" fmla="*/ 15610 h 91146"/>
                        <a:gd name="connsiteX98" fmla="*/ 101672 w 104243"/>
                        <a:gd name="connsiteY98" fmla="*/ 14174 h 91146"/>
                        <a:gd name="connsiteX99" fmla="*/ 101493 w 104243"/>
                        <a:gd name="connsiteY99" fmla="*/ 14354 h 91146"/>
                        <a:gd name="connsiteX100" fmla="*/ 101313 w 104243"/>
                        <a:gd name="connsiteY100" fmla="*/ 14533 h 91146"/>
                        <a:gd name="connsiteX101" fmla="*/ 101134 w 104243"/>
                        <a:gd name="connsiteY101" fmla="*/ 14713 h 91146"/>
                        <a:gd name="connsiteX102" fmla="*/ 100955 w 104243"/>
                        <a:gd name="connsiteY102" fmla="*/ 14892 h 91146"/>
                        <a:gd name="connsiteX103" fmla="*/ 101612 w 104243"/>
                        <a:gd name="connsiteY103" fmla="*/ 16327 h 91146"/>
                        <a:gd name="connsiteX104" fmla="*/ 102450 w 104243"/>
                        <a:gd name="connsiteY104" fmla="*/ 18241 h 91146"/>
                        <a:gd name="connsiteX105" fmla="*/ 102749 w 104243"/>
                        <a:gd name="connsiteY105" fmla="*/ 18182 h 91146"/>
                        <a:gd name="connsiteX106" fmla="*/ 103048 w 104243"/>
                        <a:gd name="connsiteY106" fmla="*/ 18122 h 91146"/>
                        <a:gd name="connsiteX107" fmla="*/ 103287 w 104243"/>
                        <a:gd name="connsiteY107" fmla="*/ 18122 h 91146"/>
                        <a:gd name="connsiteX108" fmla="*/ 103526 w 104243"/>
                        <a:gd name="connsiteY108" fmla="*/ 18122 h 91146"/>
                        <a:gd name="connsiteX109" fmla="*/ 102869 w 104243"/>
                        <a:gd name="connsiteY109" fmla="*/ 16627 h 91146"/>
                        <a:gd name="connsiteX110" fmla="*/ 102689 w 104243"/>
                        <a:gd name="connsiteY110" fmla="*/ 16806 h 91146"/>
                        <a:gd name="connsiteX111" fmla="*/ 102510 w 104243"/>
                        <a:gd name="connsiteY111" fmla="*/ 16985 h 91146"/>
                        <a:gd name="connsiteX112" fmla="*/ 102330 w 104243"/>
                        <a:gd name="connsiteY112" fmla="*/ 17165 h 91146"/>
                        <a:gd name="connsiteX113" fmla="*/ 102151 w 104243"/>
                        <a:gd name="connsiteY113" fmla="*/ 17344 h 91146"/>
                        <a:gd name="connsiteX114" fmla="*/ 102450 w 104243"/>
                        <a:gd name="connsiteY114" fmla="*/ 18241 h 91146"/>
                        <a:gd name="connsiteX115" fmla="*/ 86541 w 104243"/>
                        <a:gd name="connsiteY115" fmla="*/ 7416 h 91146"/>
                        <a:gd name="connsiteX116" fmla="*/ 88933 w 104243"/>
                        <a:gd name="connsiteY116" fmla="*/ 5622 h 91146"/>
                        <a:gd name="connsiteX117" fmla="*/ 88276 w 104243"/>
                        <a:gd name="connsiteY117" fmla="*/ 5682 h 91146"/>
                        <a:gd name="connsiteX118" fmla="*/ 87618 w 104243"/>
                        <a:gd name="connsiteY118" fmla="*/ 6041 h 91146"/>
                        <a:gd name="connsiteX119" fmla="*/ 87079 w 104243"/>
                        <a:gd name="connsiteY119" fmla="*/ 6579 h 91146"/>
                        <a:gd name="connsiteX120" fmla="*/ 86661 w 104243"/>
                        <a:gd name="connsiteY120" fmla="*/ 7297 h 91146"/>
                        <a:gd name="connsiteX121" fmla="*/ 86661 w 104243"/>
                        <a:gd name="connsiteY121" fmla="*/ 7356 h 91146"/>
                        <a:gd name="connsiteX122" fmla="*/ 86661 w 104243"/>
                        <a:gd name="connsiteY122" fmla="*/ 7416 h 91146"/>
                        <a:gd name="connsiteX123" fmla="*/ 86541 w 104243"/>
                        <a:gd name="connsiteY123" fmla="*/ 7416 h 91146"/>
                        <a:gd name="connsiteX124" fmla="*/ 86541 w 104243"/>
                        <a:gd name="connsiteY124" fmla="*/ 7416 h 91146"/>
                        <a:gd name="connsiteX125" fmla="*/ 100835 w 104243"/>
                        <a:gd name="connsiteY125" fmla="*/ 22488 h 91146"/>
                        <a:gd name="connsiteX126" fmla="*/ 104244 w 104243"/>
                        <a:gd name="connsiteY126" fmla="*/ 19916 h 91146"/>
                        <a:gd name="connsiteX127" fmla="*/ 104184 w 104243"/>
                        <a:gd name="connsiteY127" fmla="*/ 19796 h 91146"/>
                        <a:gd name="connsiteX128" fmla="*/ 104125 w 104243"/>
                        <a:gd name="connsiteY128" fmla="*/ 19677 h 91146"/>
                        <a:gd name="connsiteX129" fmla="*/ 104065 w 104243"/>
                        <a:gd name="connsiteY129" fmla="*/ 19557 h 91146"/>
                        <a:gd name="connsiteX130" fmla="*/ 103945 w 104243"/>
                        <a:gd name="connsiteY130" fmla="*/ 19437 h 91146"/>
                        <a:gd name="connsiteX131" fmla="*/ 103826 w 104243"/>
                        <a:gd name="connsiteY131" fmla="*/ 19318 h 91146"/>
                        <a:gd name="connsiteX132" fmla="*/ 103706 w 104243"/>
                        <a:gd name="connsiteY132" fmla="*/ 19258 h 91146"/>
                        <a:gd name="connsiteX133" fmla="*/ 103586 w 104243"/>
                        <a:gd name="connsiteY133" fmla="*/ 19198 h 91146"/>
                        <a:gd name="connsiteX134" fmla="*/ 103407 w 104243"/>
                        <a:gd name="connsiteY134" fmla="*/ 19138 h 91146"/>
                        <a:gd name="connsiteX135" fmla="*/ 103287 w 104243"/>
                        <a:gd name="connsiteY135" fmla="*/ 19138 h 91146"/>
                        <a:gd name="connsiteX136" fmla="*/ 103167 w 104243"/>
                        <a:gd name="connsiteY136" fmla="*/ 19138 h 91146"/>
                        <a:gd name="connsiteX137" fmla="*/ 103048 w 104243"/>
                        <a:gd name="connsiteY137" fmla="*/ 19138 h 91146"/>
                        <a:gd name="connsiteX138" fmla="*/ 102928 w 104243"/>
                        <a:gd name="connsiteY138" fmla="*/ 19138 h 91146"/>
                        <a:gd name="connsiteX139" fmla="*/ 103167 w 104243"/>
                        <a:gd name="connsiteY139" fmla="*/ 19677 h 91146"/>
                        <a:gd name="connsiteX140" fmla="*/ 100716 w 104243"/>
                        <a:gd name="connsiteY140" fmla="*/ 21531 h 91146"/>
                        <a:gd name="connsiteX141" fmla="*/ 100716 w 104243"/>
                        <a:gd name="connsiteY141" fmla="*/ 21770 h 91146"/>
                        <a:gd name="connsiteX142" fmla="*/ 100716 w 104243"/>
                        <a:gd name="connsiteY142" fmla="*/ 22009 h 91146"/>
                        <a:gd name="connsiteX143" fmla="*/ 100775 w 104243"/>
                        <a:gd name="connsiteY143" fmla="*/ 22248 h 91146"/>
                        <a:gd name="connsiteX144" fmla="*/ 100835 w 104243"/>
                        <a:gd name="connsiteY144" fmla="*/ 22428 h 91146"/>
                        <a:gd name="connsiteX145" fmla="*/ 100835 w 104243"/>
                        <a:gd name="connsiteY145" fmla="*/ 22488 h 91146"/>
                        <a:gd name="connsiteX146" fmla="*/ 84388 w 104243"/>
                        <a:gd name="connsiteY146" fmla="*/ 9031 h 91146"/>
                        <a:gd name="connsiteX147" fmla="*/ 85465 w 104243"/>
                        <a:gd name="connsiteY147" fmla="*/ 8194 h 91146"/>
                        <a:gd name="connsiteX148" fmla="*/ 85524 w 104243"/>
                        <a:gd name="connsiteY148" fmla="*/ 7895 h 91146"/>
                        <a:gd name="connsiteX149" fmla="*/ 85584 w 104243"/>
                        <a:gd name="connsiteY149" fmla="*/ 7596 h 91146"/>
                        <a:gd name="connsiteX150" fmla="*/ 85644 w 104243"/>
                        <a:gd name="connsiteY150" fmla="*/ 7297 h 91146"/>
                        <a:gd name="connsiteX151" fmla="*/ 85764 w 104243"/>
                        <a:gd name="connsiteY151" fmla="*/ 6997 h 91146"/>
                        <a:gd name="connsiteX152" fmla="*/ 85764 w 104243"/>
                        <a:gd name="connsiteY152" fmla="*/ 6938 h 91146"/>
                        <a:gd name="connsiteX153" fmla="*/ 85764 w 104243"/>
                        <a:gd name="connsiteY153" fmla="*/ 6878 h 91146"/>
                        <a:gd name="connsiteX154" fmla="*/ 85764 w 104243"/>
                        <a:gd name="connsiteY154" fmla="*/ 6818 h 91146"/>
                        <a:gd name="connsiteX155" fmla="*/ 85764 w 104243"/>
                        <a:gd name="connsiteY155" fmla="*/ 6758 h 91146"/>
                        <a:gd name="connsiteX156" fmla="*/ 84747 w 104243"/>
                        <a:gd name="connsiteY156" fmla="*/ 7536 h 91146"/>
                        <a:gd name="connsiteX157" fmla="*/ 84627 w 104243"/>
                        <a:gd name="connsiteY157" fmla="*/ 7895 h 91146"/>
                        <a:gd name="connsiteX158" fmla="*/ 84508 w 104243"/>
                        <a:gd name="connsiteY158" fmla="*/ 8253 h 91146"/>
                        <a:gd name="connsiteX159" fmla="*/ 84388 w 104243"/>
                        <a:gd name="connsiteY159" fmla="*/ 8612 h 91146"/>
                        <a:gd name="connsiteX160" fmla="*/ 84388 w 104243"/>
                        <a:gd name="connsiteY160" fmla="*/ 9031 h 91146"/>
                        <a:gd name="connsiteX161" fmla="*/ 80740 w 104243"/>
                        <a:gd name="connsiteY161" fmla="*/ 11782 h 91146"/>
                        <a:gd name="connsiteX162" fmla="*/ 83012 w 104243"/>
                        <a:gd name="connsiteY162" fmla="*/ 10048 h 91146"/>
                        <a:gd name="connsiteX163" fmla="*/ 83072 w 104243"/>
                        <a:gd name="connsiteY163" fmla="*/ 9689 h 91146"/>
                        <a:gd name="connsiteX164" fmla="*/ 83132 w 104243"/>
                        <a:gd name="connsiteY164" fmla="*/ 9330 h 91146"/>
                        <a:gd name="connsiteX165" fmla="*/ 83252 w 104243"/>
                        <a:gd name="connsiteY165" fmla="*/ 8971 h 91146"/>
                        <a:gd name="connsiteX166" fmla="*/ 83371 w 104243"/>
                        <a:gd name="connsiteY166" fmla="*/ 8612 h 91146"/>
                        <a:gd name="connsiteX167" fmla="*/ 80979 w 104243"/>
                        <a:gd name="connsiteY167" fmla="*/ 10406 h 91146"/>
                        <a:gd name="connsiteX168" fmla="*/ 80919 w 104243"/>
                        <a:gd name="connsiteY168" fmla="*/ 10706 h 91146"/>
                        <a:gd name="connsiteX169" fmla="*/ 80859 w 104243"/>
                        <a:gd name="connsiteY169" fmla="*/ 11005 h 91146"/>
                        <a:gd name="connsiteX170" fmla="*/ 80800 w 104243"/>
                        <a:gd name="connsiteY170" fmla="*/ 11304 h 91146"/>
                        <a:gd name="connsiteX171" fmla="*/ 80740 w 104243"/>
                        <a:gd name="connsiteY171" fmla="*/ 11782 h 91146"/>
                        <a:gd name="connsiteX172" fmla="*/ 93299 w 104243"/>
                        <a:gd name="connsiteY172" fmla="*/ 27093 h 91146"/>
                        <a:gd name="connsiteX173" fmla="*/ 93598 w 104243"/>
                        <a:gd name="connsiteY173" fmla="*/ 27153 h 91146"/>
                        <a:gd name="connsiteX174" fmla="*/ 93897 w 104243"/>
                        <a:gd name="connsiteY174" fmla="*/ 27212 h 91146"/>
                        <a:gd name="connsiteX175" fmla="*/ 94196 w 104243"/>
                        <a:gd name="connsiteY175" fmla="*/ 27212 h 91146"/>
                        <a:gd name="connsiteX176" fmla="*/ 94495 w 104243"/>
                        <a:gd name="connsiteY176" fmla="*/ 27212 h 91146"/>
                        <a:gd name="connsiteX177" fmla="*/ 99938 w 104243"/>
                        <a:gd name="connsiteY177" fmla="*/ 23085 h 91146"/>
                        <a:gd name="connsiteX178" fmla="*/ 99938 w 104243"/>
                        <a:gd name="connsiteY178" fmla="*/ 23026 h 91146"/>
                        <a:gd name="connsiteX179" fmla="*/ 99938 w 104243"/>
                        <a:gd name="connsiteY179" fmla="*/ 22966 h 91146"/>
                        <a:gd name="connsiteX180" fmla="*/ 99938 w 104243"/>
                        <a:gd name="connsiteY180" fmla="*/ 22906 h 91146"/>
                        <a:gd name="connsiteX181" fmla="*/ 99938 w 104243"/>
                        <a:gd name="connsiteY181" fmla="*/ 22846 h 91146"/>
                        <a:gd name="connsiteX182" fmla="*/ 99878 w 104243"/>
                        <a:gd name="connsiteY182" fmla="*/ 22667 h 91146"/>
                        <a:gd name="connsiteX183" fmla="*/ 99818 w 104243"/>
                        <a:gd name="connsiteY183" fmla="*/ 22488 h 91146"/>
                        <a:gd name="connsiteX184" fmla="*/ 99758 w 104243"/>
                        <a:gd name="connsiteY184" fmla="*/ 22308 h 91146"/>
                        <a:gd name="connsiteX185" fmla="*/ 99758 w 104243"/>
                        <a:gd name="connsiteY185" fmla="*/ 22129 h 91146"/>
                        <a:gd name="connsiteX186" fmla="*/ 93299 w 104243"/>
                        <a:gd name="connsiteY186" fmla="*/ 27093 h 91146"/>
                        <a:gd name="connsiteX187" fmla="*/ 89651 w 104243"/>
                        <a:gd name="connsiteY187" fmla="*/ 29904 h 91146"/>
                        <a:gd name="connsiteX188" fmla="*/ 89890 w 104243"/>
                        <a:gd name="connsiteY188" fmla="*/ 29963 h 91146"/>
                        <a:gd name="connsiteX189" fmla="*/ 90130 w 104243"/>
                        <a:gd name="connsiteY189" fmla="*/ 30023 h 91146"/>
                        <a:gd name="connsiteX190" fmla="*/ 90369 w 104243"/>
                        <a:gd name="connsiteY190" fmla="*/ 30083 h 91146"/>
                        <a:gd name="connsiteX191" fmla="*/ 90608 w 104243"/>
                        <a:gd name="connsiteY191" fmla="*/ 30143 h 91146"/>
                        <a:gd name="connsiteX192" fmla="*/ 93000 w 104243"/>
                        <a:gd name="connsiteY192" fmla="*/ 28289 h 91146"/>
                        <a:gd name="connsiteX193" fmla="*/ 92701 w 104243"/>
                        <a:gd name="connsiteY193" fmla="*/ 28229 h 91146"/>
                        <a:gd name="connsiteX194" fmla="*/ 92402 w 104243"/>
                        <a:gd name="connsiteY194" fmla="*/ 28169 h 91146"/>
                        <a:gd name="connsiteX195" fmla="*/ 92103 w 104243"/>
                        <a:gd name="connsiteY195" fmla="*/ 28109 h 91146"/>
                        <a:gd name="connsiteX196" fmla="*/ 91804 w 104243"/>
                        <a:gd name="connsiteY196" fmla="*/ 28050 h 91146"/>
                        <a:gd name="connsiteX197" fmla="*/ 89651 w 104243"/>
                        <a:gd name="connsiteY197" fmla="*/ 29904 h 91146"/>
                        <a:gd name="connsiteX198" fmla="*/ 2034 w 104243"/>
                        <a:gd name="connsiteY198" fmla="*/ 70094 h 91146"/>
                        <a:gd name="connsiteX199" fmla="*/ 2333 w 104243"/>
                        <a:gd name="connsiteY199" fmla="*/ 70154 h 91146"/>
                        <a:gd name="connsiteX200" fmla="*/ 2632 w 104243"/>
                        <a:gd name="connsiteY200" fmla="*/ 70214 h 91146"/>
                        <a:gd name="connsiteX201" fmla="*/ 2930 w 104243"/>
                        <a:gd name="connsiteY201" fmla="*/ 70273 h 91146"/>
                        <a:gd name="connsiteX202" fmla="*/ 3170 w 104243"/>
                        <a:gd name="connsiteY202" fmla="*/ 70333 h 91146"/>
                        <a:gd name="connsiteX203" fmla="*/ 79783 w 104243"/>
                        <a:gd name="connsiteY203" fmla="*/ 12500 h 91146"/>
                        <a:gd name="connsiteX204" fmla="*/ 79843 w 104243"/>
                        <a:gd name="connsiteY204" fmla="*/ 12201 h 91146"/>
                        <a:gd name="connsiteX205" fmla="*/ 79903 w 104243"/>
                        <a:gd name="connsiteY205" fmla="*/ 11902 h 91146"/>
                        <a:gd name="connsiteX206" fmla="*/ 79962 w 104243"/>
                        <a:gd name="connsiteY206" fmla="*/ 11603 h 91146"/>
                        <a:gd name="connsiteX207" fmla="*/ 80022 w 104243"/>
                        <a:gd name="connsiteY207" fmla="*/ 11304 h 91146"/>
                        <a:gd name="connsiteX208" fmla="*/ 2034 w 104243"/>
                        <a:gd name="connsiteY208" fmla="*/ 70094 h 91146"/>
                        <a:gd name="connsiteX209" fmla="*/ 957 w 104243"/>
                        <a:gd name="connsiteY209" fmla="*/ 73264 h 91146"/>
                        <a:gd name="connsiteX210" fmla="*/ 1316 w 104243"/>
                        <a:gd name="connsiteY210" fmla="*/ 73384 h 91146"/>
                        <a:gd name="connsiteX211" fmla="*/ 1675 w 104243"/>
                        <a:gd name="connsiteY211" fmla="*/ 73503 h 91146"/>
                        <a:gd name="connsiteX212" fmla="*/ 2034 w 104243"/>
                        <a:gd name="connsiteY212" fmla="*/ 73623 h 91146"/>
                        <a:gd name="connsiteX213" fmla="*/ 2392 w 104243"/>
                        <a:gd name="connsiteY213" fmla="*/ 73742 h 91146"/>
                        <a:gd name="connsiteX214" fmla="*/ 1316 w 104243"/>
                        <a:gd name="connsiteY214" fmla="*/ 71769 h 91146"/>
                        <a:gd name="connsiteX215" fmla="*/ 2034 w 104243"/>
                        <a:gd name="connsiteY215" fmla="*/ 71231 h 91146"/>
                        <a:gd name="connsiteX216" fmla="*/ 1735 w 104243"/>
                        <a:gd name="connsiteY216" fmla="*/ 71171 h 91146"/>
                        <a:gd name="connsiteX217" fmla="*/ 1435 w 104243"/>
                        <a:gd name="connsiteY217" fmla="*/ 71111 h 91146"/>
                        <a:gd name="connsiteX218" fmla="*/ 1136 w 104243"/>
                        <a:gd name="connsiteY218" fmla="*/ 71051 h 91146"/>
                        <a:gd name="connsiteX219" fmla="*/ 837 w 104243"/>
                        <a:gd name="connsiteY219" fmla="*/ 70991 h 91146"/>
                        <a:gd name="connsiteX220" fmla="*/ 0 w 104243"/>
                        <a:gd name="connsiteY220" fmla="*/ 71649 h 91146"/>
                        <a:gd name="connsiteX221" fmla="*/ 957 w 104243"/>
                        <a:gd name="connsiteY221" fmla="*/ 73264 h 91146"/>
                        <a:gd name="connsiteX222" fmla="*/ 3529 w 104243"/>
                        <a:gd name="connsiteY222" fmla="*/ 78168 h 91146"/>
                        <a:gd name="connsiteX223" fmla="*/ 3529 w 104243"/>
                        <a:gd name="connsiteY223" fmla="*/ 78168 h 91146"/>
                        <a:gd name="connsiteX224" fmla="*/ 3529 w 104243"/>
                        <a:gd name="connsiteY224" fmla="*/ 78168 h 91146"/>
                        <a:gd name="connsiteX225" fmla="*/ 3529 w 104243"/>
                        <a:gd name="connsiteY225" fmla="*/ 78168 h 91146"/>
                        <a:gd name="connsiteX226" fmla="*/ 3529 w 104243"/>
                        <a:gd name="connsiteY226" fmla="*/ 78168 h 91146"/>
                        <a:gd name="connsiteX227" fmla="*/ 2751 w 104243"/>
                        <a:gd name="connsiteY227" fmla="*/ 76673 h 91146"/>
                        <a:gd name="connsiteX228" fmla="*/ 3589 w 104243"/>
                        <a:gd name="connsiteY228" fmla="*/ 76015 h 91146"/>
                        <a:gd name="connsiteX229" fmla="*/ 3349 w 104243"/>
                        <a:gd name="connsiteY229" fmla="*/ 75596 h 91146"/>
                        <a:gd name="connsiteX230" fmla="*/ 2990 w 104243"/>
                        <a:gd name="connsiteY230" fmla="*/ 75417 h 91146"/>
                        <a:gd name="connsiteX231" fmla="*/ 2572 w 104243"/>
                        <a:gd name="connsiteY231" fmla="*/ 75238 h 91146"/>
                        <a:gd name="connsiteX232" fmla="*/ 2153 w 104243"/>
                        <a:gd name="connsiteY232" fmla="*/ 75058 h 91146"/>
                        <a:gd name="connsiteX233" fmla="*/ 1735 w 104243"/>
                        <a:gd name="connsiteY233" fmla="*/ 74879 h 91146"/>
                        <a:gd name="connsiteX234" fmla="*/ 3529 w 104243"/>
                        <a:gd name="connsiteY234" fmla="*/ 78168 h 91146"/>
                        <a:gd name="connsiteX235" fmla="*/ 7057 w 104243"/>
                        <a:gd name="connsiteY235" fmla="*/ 82654 h 91146"/>
                        <a:gd name="connsiteX236" fmla="*/ 7057 w 104243"/>
                        <a:gd name="connsiteY236" fmla="*/ 82654 h 91146"/>
                        <a:gd name="connsiteX237" fmla="*/ 6340 w 104243"/>
                        <a:gd name="connsiteY237" fmla="*/ 81338 h 91146"/>
                        <a:gd name="connsiteX238" fmla="*/ 6340 w 104243"/>
                        <a:gd name="connsiteY238" fmla="*/ 81338 h 91146"/>
                        <a:gd name="connsiteX239" fmla="*/ 6340 w 104243"/>
                        <a:gd name="connsiteY239" fmla="*/ 81338 h 91146"/>
                        <a:gd name="connsiteX240" fmla="*/ 6340 w 104243"/>
                        <a:gd name="connsiteY240" fmla="*/ 81338 h 91146"/>
                        <a:gd name="connsiteX241" fmla="*/ 6340 w 104243"/>
                        <a:gd name="connsiteY241" fmla="*/ 81338 h 91146"/>
                        <a:gd name="connsiteX242" fmla="*/ 7057 w 104243"/>
                        <a:gd name="connsiteY242" fmla="*/ 82654 h 91146"/>
                        <a:gd name="connsiteX243" fmla="*/ 5323 w 104243"/>
                        <a:gd name="connsiteY243" fmla="*/ 81637 h 91146"/>
                        <a:gd name="connsiteX244" fmla="*/ 5323 w 104243"/>
                        <a:gd name="connsiteY244" fmla="*/ 81637 h 91146"/>
                        <a:gd name="connsiteX245" fmla="*/ 5323 w 104243"/>
                        <a:gd name="connsiteY245" fmla="*/ 81637 h 91146"/>
                        <a:gd name="connsiteX246" fmla="*/ 5323 w 104243"/>
                        <a:gd name="connsiteY246" fmla="*/ 81637 h 91146"/>
                        <a:gd name="connsiteX247" fmla="*/ 5323 w 104243"/>
                        <a:gd name="connsiteY247" fmla="*/ 81637 h 91146"/>
                        <a:gd name="connsiteX248" fmla="*/ 4007 w 104243"/>
                        <a:gd name="connsiteY248" fmla="*/ 79125 h 91146"/>
                        <a:gd name="connsiteX249" fmla="*/ 4007 w 104243"/>
                        <a:gd name="connsiteY249" fmla="*/ 79125 h 91146"/>
                        <a:gd name="connsiteX250" fmla="*/ 4007 w 104243"/>
                        <a:gd name="connsiteY250" fmla="*/ 79125 h 91146"/>
                        <a:gd name="connsiteX251" fmla="*/ 4007 w 104243"/>
                        <a:gd name="connsiteY251" fmla="*/ 79125 h 91146"/>
                        <a:gd name="connsiteX252" fmla="*/ 4007 w 104243"/>
                        <a:gd name="connsiteY252" fmla="*/ 79125 h 91146"/>
                        <a:gd name="connsiteX253" fmla="*/ 5323 w 104243"/>
                        <a:gd name="connsiteY253" fmla="*/ 81637 h 91146"/>
                        <a:gd name="connsiteX254" fmla="*/ 13516 w 104243"/>
                        <a:gd name="connsiteY254" fmla="*/ 88694 h 91146"/>
                        <a:gd name="connsiteX255" fmla="*/ 89591 w 104243"/>
                        <a:gd name="connsiteY255" fmla="*/ 30980 h 91146"/>
                        <a:gd name="connsiteX256" fmla="*/ 89352 w 104243"/>
                        <a:gd name="connsiteY256" fmla="*/ 30920 h 91146"/>
                        <a:gd name="connsiteX257" fmla="*/ 89113 w 104243"/>
                        <a:gd name="connsiteY257" fmla="*/ 30861 h 91146"/>
                        <a:gd name="connsiteX258" fmla="*/ 88874 w 104243"/>
                        <a:gd name="connsiteY258" fmla="*/ 30801 h 91146"/>
                        <a:gd name="connsiteX259" fmla="*/ 88634 w 104243"/>
                        <a:gd name="connsiteY259" fmla="*/ 30681 h 91146"/>
                        <a:gd name="connsiteX260" fmla="*/ 13636 w 104243"/>
                        <a:gd name="connsiteY260" fmla="*/ 87558 h 91146"/>
                        <a:gd name="connsiteX261" fmla="*/ 13636 w 104243"/>
                        <a:gd name="connsiteY261" fmla="*/ 87857 h 91146"/>
                        <a:gd name="connsiteX262" fmla="*/ 13636 w 104243"/>
                        <a:gd name="connsiteY262" fmla="*/ 88156 h 91146"/>
                        <a:gd name="connsiteX263" fmla="*/ 13576 w 104243"/>
                        <a:gd name="connsiteY263" fmla="*/ 88455 h 91146"/>
                        <a:gd name="connsiteX264" fmla="*/ 13516 w 104243"/>
                        <a:gd name="connsiteY264" fmla="*/ 88694 h 91146"/>
                        <a:gd name="connsiteX265" fmla="*/ 9390 w 104243"/>
                        <a:gd name="connsiteY265" fmla="*/ 89292 h 91146"/>
                        <a:gd name="connsiteX266" fmla="*/ 9450 w 104243"/>
                        <a:gd name="connsiteY266" fmla="*/ 88814 h 91146"/>
                        <a:gd name="connsiteX267" fmla="*/ 9510 w 104243"/>
                        <a:gd name="connsiteY267" fmla="*/ 88335 h 91146"/>
                        <a:gd name="connsiteX268" fmla="*/ 9510 w 104243"/>
                        <a:gd name="connsiteY268" fmla="*/ 87857 h 91146"/>
                        <a:gd name="connsiteX269" fmla="*/ 9510 w 104243"/>
                        <a:gd name="connsiteY269" fmla="*/ 87378 h 91146"/>
                        <a:gd name="connsiteX270" fmla="*/ 7476 w 104243"/>
                        <a:gd name="connsiteY270" fmla="*/ 83491 h 91146"/>
                        <a:gd name="connsiteX271" fmla="*/ 6639 w 104243"/>
                        <a:gd name="connsiteY271" fmla="*/ 84149 h 91146"/>
                        <a:gd name="connsiteX272" fmla="*/ 9390 w 104243"/>
                        <a:gd name="connsiteY272" fmla="*/ 89292 h 91146"/>
                        <a:gd name="connsiteX273" fmla="*/ 10347 w 104243"/>
                        <a:gd name="connsiteY273" fmla="*/ 91146 h 91146"/>
                        <a:gd name="connsiteX274" fmla="*/ 12500 w 104243"/>
                        <a:gd name="connsiteY274" fmla="*/ 89532 h 91146"/>
                        <a:gd name="connsiteX275" fmla="*/ 12500 w 104243"/>
                        <a:gd name="connsiteY275" fmla="*/ 89472 h 91146"/>
                        <a:gd name="connsiteX276" fmla="*/ 12500 w 104243"/>
                        <a:gd name="connsiteY276" fmla="*/ 89412 h 91146"/>
                        <a:gd name="connsiteX277" fmla="*/ 12500 w 104243"/>
                        <a:gd name="connsiteY277" fmla="*/ 89352 h 91146"/>
                        <a:gd name="connsiteX278" fmla="*/ 12500 w 104243"/>
                        <a:gd name="connsiteY278" fmla="*/ 89292 h 91146"/>
                        <a:gd name="connsiteX279" fmla="*/ 12560 w 104243"/>
                        <a:gd name="connsiteY279" fmla="*/ 89053 h 91146"/>
                        <a:gd name="connsiteX280" fmla="*/ 12620 w 104243"/>
                        <a:gd name="connsiteY280" fmla="*/ 88814 h 91146"/>
                        <a:gd name="connsiteX281" fmla="*/ 12679 w 104243"/>
                        <a:gd name="connsiteY281" fmla="*/ 88574 h 91146"/>
                        <a:gd name="connsiteX282" fmla="*/ 12679 w 104243"/>
                        <a:gd name="connsiteY282" fmla="*/ 88335 h 91146"/>
                        <a:gd name="connsiteX283" fmla="*/ 10825 w 104243"/>
                        <a:gd name="connsiteY283" fmla="*/ 89711 h 91146"/>
                        <a:gd name="connsiteX284" fmla="*/ 10586 w 104243"/>
                        <a:gd name="connsiteY284" fmla="*/ 89232 h 91146"/>
                        <a:gd name="connsiteX285" fmla="*/ 10586 w 104243"/>
                        <a:gd name="connsiteY285" fmla="*/ 89292 h 91146"/>
                        <a:gd name="connsiteX286" fmla="*/ 10586 w 104243"/>
                        <a:gd name="connsiteY286" fmla="*/ 89352 h 91146"/>
                        <a:gd name="connsiteX287" fmla="*/ 10586 w 104243"/>
                        <a:gd name="connsiteY287" fmla="*/ 89412 h 91146"/>
                        <a:gd name="connsiteX288" fmla="*/ 10586 w 104243"/>
                        <a:gd name="connsiteY288" fmla="*/ 89472 h 91146"/>
                        <a:gd name="connsiteX289" fmla="*/ 10526 w 104243"/>
                        <a:gd name="connsiteY289" fmla="*/ 89831 h 91146"/>
                        <a:gd name="connsiteX290" fmla="*/ 10466 w 104243"/>
                        <a:gd name="connsiteY290" fmla="*/ 90189 h 91146"/>
                        <a:gd name="connsiteX291" fmla="*/ 10406 w 104243"/>
                        <a:gd name="connsiteY291" fmla="*/ 90548 h 91146"/>
                        <a:gd name="connsiteX292" fmla="*/ 10347 w 104243"/>
                        <a:gd name="connsiteY292" fmla="*/ 90907 h 91146"/>
                        <a:gd name="connsiteX293" fmla="*/ 10347 w 104243"/>
                        <a:gd name="connsiteY293" fmla="*/ 91146 h 9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04243" h="91146">
                          <a:moveTo>
                            <a:pt x="93539" y="1256"/>
                          </a:moveTo>
                          <a:cubicBezTo>
                            <a:pt x="93598" y="1316"/>
                            <a:pt x="93658" y="1316"/>
                            <a:pt x="93718" y="1375"/>
                          </a:cubicBezTo>
                          <a:cubicBezTo>
                            <a:pt x="93778" y="1435"/>
                            <a:pt x="93838" y="1435"/>
                            <a:pt x="93897" y="1495"/>
                          </a:cubicBezTo>
                          <a:cubicBezTo>
                            <a:pt x="93957" y="1495"/>
                            <a:pt x="94017" y="1555"/>
                            <a:pt x="94077" y="1555"/>
                          </a:cubicBezTo>
                          <a:cubicBezTo>
                            <a:pt x="94137" y="1555"/>
                            <a:pt x="94196" y="1615"/>
                            <a:pt x="94256" y="1615"/>
                          </a:cubicBezTo>
                          <a:lnTo>
                            <a:pt x="94675" y="1316"/>
                          </a:lnTo>
                          <a:lnTo>
                            <a:pt x="94795" y="1615"/>
                          </a:lnTo>
                          <a:cubicBezTo>
                            <a:pt x="94855" y="1615"/>
                            <a:pt x="94914" y="1615"/>
                            <a:pt x="94974" y="1555"/>
                          </a:cubicBezTo>
                          <a:cubicBezTo>
                            <a:pt x="95034" y="1555"/>
                            <a:pt x="95094" y="1495"/>
                            <a:pt x="95154" y="1495"/>
                          </a:cubicBezTo>
                          <a:cubicBezTo>
                            <a:pt x="95213" y="1495"/>
                            <a:pt x="95273" y="1435"/>
                            <a:pt x="95333" y="1435"/>
                          </a:cubicBezTo>
                          <a:cubicBezTo>
                            <a:pt x="95393" y="1375"/>
                            <a:pt x="95452" y="1375"/>
                            <a:pt x="95512" y="1316"/>
                          </a:cubicBezTo>
                          <a:cubicBezTo>
                            <a:pt x="95512" y="1316"/>
                            <a:pt x="95512" y="1316"/>
                            <a:pt x="95572" y="1316"/>
                          </a:cubicBezTo>
                          <a:cubicBezTo>
                            <a:pt x="95572" y="1316"/>
                            <a:pt x="95572" y="1316"/>
                            <a:pt x="95632" y="1316"/>
                          </a:cubicBezTo>
                          <a:cubicBezTo>
                            <a:pt x="95632" y="1316"/>
                            <a:pt x="95632" y="1316"/>
                            <a:pt x="95692" y="1316"/>
                          </a:cubicBezTo>
                          <a:cubicBezTo>
                            <a:pt x="95692" y="1316"/>
                            <a:pt x="95692" y="1316"/>
                            <a:pt x="95751" y="1316"/>
                          </a:cubicBezTo>
                          <a:lnTo>
                            <a:pt x="95154" y="0"/>
                          </a:lnTo>
                          <a:lnTo>
                            <a:pt x="93479" y="1256"/>
                          </a:lnTo>
                          <a:lnTo>
                            <a:pt x="93539" y="1256"/>
                          </a:lnTo>
                          <a:moveTo>
                            <a:pt x="95572" y="3349"/>
                          </a:moveTo>
                          <a:cubicBezTo>
                            <a:pt x="95632" y="3289"/>
                            <a:pt x="95632" y="3289"/>
                            <a:pt x="95692" y="3230"/>
                          </a:cubicBezTo>
                          <a:cubicBezTo>
                            <a:pt x="95751" y="3170"/>
                            <a:pt x="95751" y="3170"/>
                            <a:pt x="95811" y="3170"/>
                          </a:cubicBezTo>
                          <a:cubicBezTo>
                            <a:pt x="95871" y="3170"/>
                            <a:pt x="95871" y="3110"/>
                            <a:pt x="95931" y="3110"/>
                          </a:cubicBezTo>
                          <a:cubicBezTo>
                            <a:pt x="95991" y="3110"/>
                            <a:pt x="95991" y="3050"/>
                            <a:pt x="96050" y="3050"/>
                          </a:cubicBezTo>
                          <a:cubicBezTo>
                            <a:pt x="96110" y="3050"/>
                            <a:pt x="96110" y="2990"/>
                            <a:pt x="96170" y="2990"/>
                          </a:cubicBezTo>
                          <a:cubicBezTo>
                            <a:pt x="96230" y="2990"/>
                            <a:pt x="96230" y="2930"/>
                            <a:pt x="96290" y="2930"/>
                          </a:cubicBezTo>
                          <a:cubicBezTo>
                            <a:pt x="96350" y="2930"/>
                            <a:pt x="96350" y="2871"/>
                            <a:pt x="96409" y="2871"/>
                          </a:cubicBezTo>
                          <a:cubicBezTo>
                            <a:pt x="96469" y="2871"/>
                            <a:pt x="96469" y="2811"/>
                            <a:pt x="96529" y="2811"/>
                          </a:cubicBezTo>
                          <a:lnTo>
                            <a:pt x="96170" y="1974"/>
                          </a:lnTo>
                          <a:cubicBezTo>
                            <a:pt x="96170" y="1974"/>
                            <a:pt x="96110" y="1974"/>
                            <a:pt x="96110" y="2034"/>
                          </a:cubicBezTo>
                          <a:cubicBezTo>
                            <a:pt x="96110" y="2034"/>
                            <a:pt x="96050" y="2034"/>
                            <a:pt x="96050" y="2093"/>
                          </a:cubicBezTo>
                          <a:cubicBezTo>
                            <a:pt x="96050" y="2093"/>
                            <a:pt x="95991" y="2093"/>
                            <a:pt x="95991" y="2153"/>
                          </a:cubicBezTo>
                          <a:cubicBezTo>
                            <a:pt x="95991" y="2213"/>
                            <a:pt x="95931" y="2153"/>
                            <a:pt x="95931" y="2213"/>
                          </a:cubicBezTo>
                          <a:cubicBezTo>
                            <a:pt x="95871" y="2273"/>
                            <a:pt x="95811" y="2273"/>
                            <a:pt x="95751" y="2333"/>
                          </a:cubicBezTo>
                          <a:cubicBezTo>
                            <a:pt x="95692" y="2392"/>
                            <a:pt x="95632" y="2392"/>
                            <a:pt x="95572" y="2452"/>
                          </a:cubicBezTo>
                          <a:cubicBezTo>
                            <a:pt x="95512" y="2452"/>
                            <a:pt x="95452" y="2512"/>
                            <a:pt x="95393" y="2512"/>
                          </a:cubicBezTo>
                          <a:cubicBezTo>
                            <a:pt x="95333" y="2512"/>
                            <a:pt x="95273" y="2572"/>
                            <a:pt x="95213" y="2572"/>
                          </a:cubicBezTo>
                          <a:lnTo>
                            <a:pt x="95572" y="3349"/>
                          </a:lnTo>
                          <a:moveTo>
                            <a:pt x="96709" y="5742"/>
                          </a:moveTo>
                          <a:lnTo>
                            <a:pt x="97546" y="5143"/>
                          </a:lnTo>
                          <a:lnTo>
                            <a:pt x="97605" y="5263"/>
                          </a:lnTo>
                          <a:cubicBezTo>
                            <a:pt x="97605" y="5263"/>
                            <a:pt x="97605" y="5263"/>
                            <a:pt x="97605" y="5263"/>
                          </a:cubicBezTo>
                          <a:cubicBezTo>
                            <a:pt x="97605" y="5263"/>
                            <a:pt x="97605" y="5263"/>
                            <a:pt x="97605" y="5263"/>
                          </a:cubicBezTo>
                          <a:cubicBezTo>
                            <a:pt x="97605" y="5263"/>
                            <a:pt x="97605" y="5263"/>
                            <a:pt x="97605" y="5263"/>
                          </a:cubicBezTo>
                          <a:cubicBezTo>
                            <a:pt x="97605" y="5263"/>
                            <a:pt x="97605" y="5263"/>
                            <a:pt x="97605" y="5263"/>
                          </a:cubicBezTo>
                          <a:lnTo>
                            <a:pt x="96948" y="3768"/>
                          </a:lnTo>
                          <a:cubicBezTo>
                            <a:pt x="96888" y="3768"/>
                            <a:pt x="96888" y="3828"/>
                            <a:pt x="96828" y="3828"/>
                          </a:cubicBezTo>
                          <a:cubicBezTo>
                            <a:pt x="96768" y="3828"/>
                            <a:pt x="96768" y="3888"/>
                            <a:pt x="96709" y="3888"/>
                          </a:cubicBezTo>
                          <a:cubicBezTo>
                            <a:pt x="96649" y="3888"/>
                            <a:pt x="96649" y="3947"/>
                            <a:pt x="96589" y="3947"/>
                          </a:cubicBezTo>
                          <a:cubicBezTo>
                            <a:pt x="96529" y="3947"/>
                            <a:pt x="96529" y="4007"/>
                            <a:pt x="96469" y="4007"/>
                          </a:cubicBezTo>
                          <a:cubicBezTo>
                            <a:pt x="96409" y="4007"/>
                            <a:pt x="96409" y="4067"/>
                            <a:pt x="96350" y="4067"/>
                          </a:cubicBezTo>
                          <a:cubicBezTo>
                            <a:pt x="96290" y="4067"/>
                            <a:pt x="96290" y="4127"/>
                            <a:pt x="96230" y="4127"/>
                          </a:cubicBezTo>
                          <a:cubicBezTo>
                            <a:pt x="96170" y="4127"/>
                            <a:pt x="96170" y="4187"/>
                            <a:pt x="96110" y="4187"/>
                          </a:cubicBezTo>
                          <a:cubicBezTo>
                            <a:pt x="96050" y="4187"/>
                            <a:pt x="96050" y="4246"/>
                            <a:pt x="95991" y="4246"/>
                          </a:cubicBezTo>
                          <a:lnTo>
                            <a:pt x="96709" y="5742"/>
                          </a:lnTo>
                          <a:moveTo>
                            <a:pt x="99818" y="12440"/>
                          </a:moveTo>
                          <a:lnTo>
                            <a:pt x="97247" y="6758"/>
                          </a:lnTo>
                          <a:cubicBezTo>
                            <a:pt x="97247" y="6758"/>
                            <a:pt x="97247" y="6758"/>
                            <a:pt x="97247" y="6758"/>
                          </a:cubicBezTo>
                          <a:cubicBezTo>
                            <a:pt x="97247" y="6758"/>
                            <a:pt x="97247" y="6758"/>
                            <a:pt x="97247" y="6758"/>
                          </a:cubicBezTo>
                          <a:cubicBezTo>
                            <a:pt x="97247" y="6758"/>
                            <a:pt x="97247" y="6758"/>
                            <a:pt x="97247" y="6758"/>
                          </a:cubicBezTo>
                          <a:cubicBezTo>
                            <a:pt x="97247" y="6758"/>
                            <a:pt x="97247" y="6758"/>
                            <a:pt x="97247" y="6758"/>
                          </a:cubicBezTo>
                          <a:lnTo>
                            <a:pt x="99818" y="12440"/>
                          </a:lnTo>
                          <a:moveTo>
                            <a:pt x="100476" y="13935"/>
                          </a:moveTo>
                          <a:cubicBezTo>
                            <a:pt x="100536" y="13875"/>
                            <a:pt x="100596" y="13815"/>
                            <a:pt x="100656" y="13756"/>
                          </a:cubicBezTo>
                          <a:cubicBezTo>
                            <a:pt x="100716" y="13696"/>
                            <a:pt x="100775" y="13636"/>
                            <a:pt x="100835" y="13576"/>
                          </a:cubicBezTo>
                          <a:cubicBezTo>
                            <a:pt x="100895" y="13516"/>
                            <a:pt x="100955" y="13457"/>
                            <a:pt x="101014" y="13397"/>
                          </a:cubicBezTo>
                          <a:cubicBezTo>
                            <a:pt x="101074" y="13337"/>
                            <a:pt x="101134" y="13277"/>
                            <a:pt x="101194" y="13218"/>
                          </a:cubicBezTo>
                          <a:lnTo>
                            <a:pt x="98024" y="6340"/>
                          </a:lnTo>
                          <a:cubicBezTo>
                            <a:pt x="98024" y="6340"/>
                            <a:pt x="98024" y="6340"/>
                            <a:pt x="98024" y="6340"/>
                          </a:cubicBezTo>
                          <a:cubicBezTo>
                            <a:pt x="98024" y="6340"/>
                            <a:pt x="98024" y="6340"/>
                            <a:pt x="98024" y="6340"/>
                          </a:cubicBezTo>
                          <a:cubicBezTo>
                            <a:pt x="98024" y="6340"/>
                            <a:pt x="98024" y="6340"/>
                            <a:pt x="98024" y="6340"/>
                          </a:cubicBezTo>
                          <a:cubicBezTo>
                            <a:pt x="98024" y="6340"/>
                            <a:pt x="98024" y="6340"/>
                            <a:pt x="98024" y="6340"/>
                          </a:cubicBezTo>
                          <a:lnTo>
                            <a:pt x="100955" y="12679"/>
                          </a:lnTo>
                          <a:lnTo>
                            <a:pt x="100117" y="13277"/>
                          </a:lnTo>
                          <a:lnTo>
                            <a:pt x="100476" y="13935"/>
                          </a:lnTo>
                          <a:moveTo>
                            <a:pt x="88814" y="4605"/>
                          </a:moveTo>
                          <a:cubicBezTo>
                            <a:pt x="88874" y="4605"/>
                            <a:pt x="88933" y="4605"/>
                            <a:pt x="88993" y="4605"/>
                          </a:cubicBezTo>
                          <a:cubicBezTo>
                            <a:pt x="89053" y="4605"/>
                            <a:pt x="89113" y="4605"/>
                            <a:pt x="89173" y="4605"/>
                          </a:cubicBezTo>
                          <a:cubicBezTo>
                            <a:pt x="89233" y="4605"/>
                            <a:pt x="89292" y="4605"/>
                            <a:pt x="89352" y="4605"/>
                          </a:cubicBezTo>
                          <a:cubicBezTo>
                            <a:pt x="89412" y="4605"/>
                            <a:pt x="89472" y="4605"/>
                            <a:pt x="89532" y="4665"/>
                          </a:cubicBezTo>
                          <a:cubicBezTo>
                            <a:pt x="89591" y="4665"/>
                            <a:pt x="89591" y="4665"/>
                            <a:pt x="89651" y="4725"/>
                          </a:cubicBezTo>
                          <a:cubicBezTo>
                            <a:pt x="89711" y="4725"/>
                            <a:pt x="89711" y="4725"/>
                            <a:pt x="89771" y="4785"/>
                          </a:cubicBezTo>
                          <a:cubicBezTo>
                            <a:pt x="89831" y="4785"/>
                            <a:pt x="89831" y="4844"/>
                            <a:pt x="89890" y="4844"/>
                          </a:cubicBezTo>
                          <a:cubicBezTo>
                            <a:pt x="89950" y="4844"/>
                            <a:pt x="89950" y="4904"/>
                            <a:pt x="90010" y="4904"/>
                          </a:cubicBezTo>
                          <a:lnTo>
                            <a:pt x="93299" y="2452"/>
                          </a:lnTo>
                          <a:cubicBezTo>
                            <a:pt x="93240" y="2452"/>
                            <a:pt x="93240" y="2392"/>
                            <a:pt x="93180" y="2392"/>
                          </a:cubicBezTo>
                          <a:cubicBezTo>
                            <a:pt x="93120" y="2392"/>
                            <a:pt x="93120" y="2333"/>
                            <a:pt x="93120" y="2333"/>
                          </a:cubicBezTo>
                          <a:cubicBezTo>
                            <a:pt x="93120" y="2333"/>
                            <a:pt x="93060" y="2273"/>
                            <a:pt x="93060" y="2273"/>
                          </a:cubicBezTo>
                          <a:cubicBezTo>
                            <a:pt x="93060" y="2273"/>
                            <a:pt x="93000" y="2213"/>
                            <a:pt x="93000" y="2213"/>
                          </a:cubicBezTo>
                          <a:cubicBezTo>
                            <a:pt x="93000" y="2213"/>
                            <a:pt x="92941" y="2153"/>
                            <a:pt x="92941" y="2153"/>
                          </a:cubicBezTo>
                          <a:cubicBezTo>
                            <a:pt x="92941" y="2153"/>
                            <a:pt x="92881" y="2093"/>
                            <a:pt x="92881" y="2093"/>
                          </a:cubicBezTo>
                          <a:cubicBezTo>
                            <a:pt x="92881" y="2093"/>
                            <a:pt x="92821" y="2034"/>
                            <a:pt x="92821" y="1974"/>
                          </a:cubicBezTo>
                          <a:cubicBezTo>
                            <a:pt x="92821" y="1914"/>
                            <a:pt x="92761" y="1914"/>
                            <a:pt x="92761" y="1854"/>
                          </a:cubicBezTo>
                          <a:lnTo>
                            <a:pt x="88814" y="4605"/>
                          </a:lnTo>
                          <a:moveTo>
                            <a:pt x="101612" y="16327"/>
                          </a:moveTo>
                          <a:cubicBezTo>
                            <a:pt x="101672" y="16268"/>
                            <a:pt x="101732" y="16208"/>
                            <a:pt x="101792" y="16148"/>
                          </a:cubicBezTo>
                          <a:cubicBezTo>
                            <a:pt x="101852" y="16088"/>
                            <a:pt x="101912" y="16028"/>
                            <a:pt x="101971" y="15968"/>
                          </a:cubicBezTo>
                          <a:cubicBezTo>
                            <a:pt x="102031" y="15909"/>
                            <a:pt x="102091" y="15849"/>
                            <a:pt x="102151" y="15789"/>
                          </a:cubicBezTo>
                          <a:cubicBezTo>
                            <a:pt x="102211" y="15729"/>
                            <a:pt x="102271" y="15669"/>
                            <a:pt x="102330" y="15610"/>
                          </a:cubicBezTo>
                          <a:lnTo>
                            <a:pt x="101672" y="14174"/>
                          </a:lnTo>
                          <a:cubicBezTo>
                            <a:pt x="101612" y="14234"/>
                            <a:pt x="101553" y="14294"/>
                            <a:pt x="101493" y="14354"/>
                          </a:cubicBezTo>
                          <a:cubicBezTo>
                            <a:pt x="101433" y="14414"/>
                            <a:pt x="101373" y="14473"/>
                            <a:pt x="101313" y="14533"/>
                          </a:cubicBezTo>
                          <a:cubicBezTo>
                            <a:pt x="101254" y="14593"/>
                            <a:pt x="101194" y="14653"/>
                            <a:pt x="101134" y="14713"/>
                          </a:cubicBezTo>
                          <a:cubicBezTo>
                            <a:pt x="101074" y="14773"/>
                            <a:pt x="101014" y="14832"/>
                            <a:pt x="100955" y="14892"/>
                          </a:cubicBezTo>
                          <a:lnTo>
                            <a:pt x="101612" y="16327"/>
                          </a:lnTo>
                          <a:moveTo>
                            <a:pt x="102450" y="18241"/>
                          </a:moveTo>
                          <a:cubicBezTo>
                            <a:pt x="102570" y="18241"/>
                            <a:pt x="102629" y="18182"/>
                            <a:pt x="102749" y="18182"/>
                          </a:cubicBezTo>
                          <a:cubicBezTo>
                            <a:pt x="102869" y="18182"/>
                            <a:pt x="102928" y="18122"/>
                            <a:pt x="103048" y="18122"/>
                          </a:cubicBezTo>
                          <a:cubicBezTo>
                            <a:pt x="103108" y="18122"/>
                            <a:pt x="103227" y="18122"/>
                            <a:pt x="103287" y="18122"/>
                          </a:cubicBezTo>
                          <a:cubicBezTo>
                            <a:pt x="103347" y="18122"/>
                            <a:pt x="103466" y="18122"/>
                            <a:pt x="103526" y="18122"/>
                          </a:cubicBezTo>
                          <a:lnTo>
                            <a:pt x="102869" y="16627"/>
                          </a:lnTo>
                          <a:cubicBezTo>
                            <a:pt x="102809" y="16686"/>
                            <a:pt x="102749" y="16746"/>
                            <a:pt x="102689" y="16806"/>
                          </a:cubicBezTo>
                          <a:cubicBezTo>
                            <a:pt x="102629" y="16866"/>
                            <a:pt x="102570" y="16926"/>
                            <a:pt x="102510" y="16985"/>
                          </a:cubicBezTo>
                          <a:cubicBezTo>
                            <a:pt x="102450" y="17045"/>
                            <a:pt x="102390" y="17105"/>
                            <a:pt x="102330" y="17165"/>
                          </a:cubicBezTo>
                          <a:cubicBezTo>
                            <a:pt x="102271" y="17225"/>
                            <a:pt x="102211" y="17284"/>
                            <a:pt x="102151" y="17344"/>
                          </a:cubicBezTo>
                          <a:lnTo>
                            <a:pt x="102450" y="18241"/>
                          </a:lnTo>
                          <a:moveTo>
                            <a:pt x="86541" y="7416"/>
                          </a:moveTo>
                          <a:lnTo>
                            <a:pt x="88933" y="5622"/>
                          </a:lnTo>
                          <a:cubicBezTo>
                            <a:pt x="88694" y="5622"/>
                            <a:pt x="88455" y="5622"/>
                            <a:pt x="88276" y="5682"/>
                          </a:cubicBezTo>
                          <a:cubicBezTo>
                            <a:pt x="88096" y="5742"/>
                            <a:pt x="87797" y="5861"/>
                            <a:pt x="87618" y="6041"/>
                          </a:cubicBezTo>
                          <a:cubicBezTo>
                            <a:pt x="87438" y="6160"/>
                            <a:pt x="87199" y="6399"/>
                            <a:pt x="87079" y="6579"/>
                          </a:cubicBezTo>
                          <a:cubicBezTo>
                            <a:pt x="86900" y="6818"/>
                            <a:pt x="86780" y="7057"/>
                            <a:pt x="86661" y="7297"/>
                          </a:cubicBezTo>
                          <a:cubicBezTo>
                            <a:pt x="86661" y="7297"/>
                            <a:pt x="86661" y="7297"/>
                            <a:pt x="86661" y="7356"/>
                          </a:cubicBezTo>
                          <a:cubicBezTo>
                            <a:pt x="86661" y="7416"/>
                            <a:pt x="86661" y="7356"/>
                            <a:pt x="86661" y="7416"/>
                          </a:cubicBezTo>
                          <a:cubicBezTo>
                            <a:pt x="86541" y="7356"/>
                            <a:pt x="86541" y="7356"/>
                            <a:pt x="86541" y="7416"/>
                          </a:cubicBezTo>
                          <a:cubicBezTo>
                            <a:pt x="86541" y="7416"/>
                            <a:pt x="86541" y="7416"/>
                            <a:pt x="86541" y="7416"/>
                          </a:cubicBezTo>
                          <a:moveTo>
                            <a:pt x="100835" y="22488"/>
                          </a:moveTo>
                          <a:lnTo>
                            <a:pt x="104244" y="19916"/>
                          </a:lnTo>
                          <a:cubicBezTo>
                            <a:pt x="104244" y="19856"/>
                            <a:pt x="104184" y="19856"/>
                            <a:pt x="104184" y="19796"/>
                          </a:cubicBezTo>
                          <a:cubicBezTo>
                            <a:pt x="104184" y="19736"/>
                            <a:pt x="104125" y="19736"/>
                            <a:pt x="104125" y="19677"/>
                          </a:cubicBezTo>
                          <a:cubicBezTo>
                            <a:pt x="104125" y="19617"/>
                            <a:pt x="104065" y="19617"/>
                            <a:pt x="104065" y="19557"/>
                          </a:cubicBezTo>
                          <a:cubicBezTo>
                            <a:pt x="104065" y="19497"/>
                            <a:pt x="104005" y="19497"/>
                            <a:pt x="103945" y="19437"/>
                          </a:cubicBezTo>
                          <a:cubicBezTo>
                            <a:pt x="103885" y="19377"/>
                            <a:pt x="103885" y="19377"/>
                            <a:pt x="103826" y="19318"/>
                          </a:cubicBezTo>
                          <a:cubicBezTo>
                            <a:pt x="103766" y="19258"/>
                            <a:pt x="103766" y="19258"/>
                            <a:pt x="103706" y="19258"/>
                          </a:cubicBezTo>
                          <a:cubicBezTo>
                            <a:pt x="103646" y="19258"/>
                            <a:pt x="103586" y="19198"/>
                            <a:pt x="103586" y="19198"/>
                          </a:cubicBezTo>
                          <a:cubicBezTo>
                            <a:pt x="103586" y="19198"/>
                            <a:pt x="103466" y="19138"/>
                            <a:pt x="103407" y="19138"/>
                          </a:cubicBezTo>
                          <a:cubicBezTo>
                            <a:pt x="103347" y="19138"/>
                            <a:pt x="103347" y="19138"/>
                            <a:pt x="103287" y="19138"/>
                          </a:cubicBezTo>
                          <a:cubicBezTo>
                            <a:pt x="103227" y="19138"/>
                            <a:pt x="103227" y="19138"/>
                            <a:pt x="103167" y="19138"/>
                          </a:cubicBezTo>
                          <a:cubicBezTo>
                            <a:pt x="103108" y="19138"/>
                            <a:pt x="103108" y="19138"/>
                            <a:pt x="103048" y="19138"/>
                          </a:cubicBezTo>
                          <a:cubicBezTo>
                            <a:pt x="102988" y="19138"/>
                            <a:pt x="102988" y="19138"/>
                            <a:pt x="102928" y="19138"/>
                          </a:cubicBezTo>
                          <a:lnTo>
                            <a:pt x="103167" y="19677"/>
                          </a:lnTo>
                          <a:lnTo>
                            <a:pt x="100716" y="21531"/>
                          </a:lnTo>
                          <a:cubicBezTo>
                            <a:pt x="100716" y="21590"/>
                            <a:pt x="100716" y="21710"/>
                            <a:pt x="100716" y="21770"/>
                          </a:cubicBezTo>
                          <a:cubicBezTo>
                            <a:pt x="100716" y="21830"/>
                            <a:pt x="100716" y="21890"/>
                            <a:pt x="100716" y="22009"/>
                          </a:cubicBezTo>
                          <a:cubicBezTo>
                            <a:pt x="100716" y="22069"/>
                            <a:pt x="100716" y="22129"/>
                            <a:pt x="100775" y="22248"/>
                          </a:cubicBezTo>
                          <a:cubicBezTo>
                            <a:pt x="100775" y="22308"/>
                            <a:pt x="100835" y="22368"/>
                            <a:pt x="100835" y="22428"/>
                          </a:cubicBezTo>
                          <a:lnTo>
                            <a:pt x="100835" y="22488"/>
                          </a:lnTo>
                          <a:moveTo>
                            <a:pt x="84388" y="9031"/>
                          </a:moveTo>
                          <a:lnTo>
                            <a:pt x="85465" y="8194"/>
                          </a:lnTo>
                          <a:cubicBezTo>
                            <a:pt x="85465" y="8074"/>
                            <a:pt x="85465" y="8014"/>
                            <a:pt x="85524" y="7895"/>
                          </a:cubicBezTo>
                          <a:cubicBezTo>
                            <a:pt x="85584" y="7775"/>
                            <a:pt x="85584" y="7715"/>
                            <a:pt x="85584" y="7596"/>
                          </a:cubicBezTo>
                          <a:cubicBezTo>
                            <a:pt x="85584" y="7476"/>
                            <a:pt x="85644" y="7416"/>
                            <a:pt x="85644" y="7297"/>
                          </a:cubicBezTo>
                          <a:cubicBezTo>
                            <a:pt x="85704" y="7177"/>
                            <a:pt x="85704" y="7117"/>
                            <a:pt x="85764" y="6997"/>
                          </a:cubicBezTo>
                          <a:cubicBezTo>
                            <a:pt x="85764" y="6997"/>
                            <a:pt x="85764" y="6938"/>
                            <a:pt x="85764" y="6938"/>
                          </a:cubicBezTo>
                          <a:cubicBezTo>
                            <a:pt x="85764" y="6938"/>
                            <a:pt x="85764" y="6878"/>
                            <a:pt x="85764" y="6878"/>
                          </a:cubicBezTo>
                          <a:cubicBezTo>
                            <a:pt x="85764" y="6878"/>
                            <a:pt x="85764" y="6818"/>
                            <a:pt x="85764" y="6818"/>
                          </a:cubicBezTo>
                          <a:cubicBezTo>
                            <a:pt x="85764" y="6818"/>
                            <a:pt x="85764" y="6758"/>
                            <a:pt x="85764" y="6758"/>
                          </a:cubicBezTo>
                          <a:lnTo>
                            <a:pt x="84747" y="7536"/>
                          </a:lnTo>
                          <a:cubicBezTo>
                            <a:pt x="84687" y="7655"/>
                            <a:pt x="84687" y="7775"/>
                            <a:pt x="84627" y="7895"/>
                          </a:cubicBezTo>
                          <a:cubicBezTo>
                            <a:pt x="84568" y="8014"/>
                            <a:pt x="84568" y="8134"/>
                            <a:pt x="84508" y="8253"/>
                          </a:cubicBezTo>
                          <a:cubicBezTo>
                            <a:pt x="84448" y="8373"/>
                            <a:pt x="84448" y="8493"/>
                            <a:pt x="84388" y="8612"/>
                          </a:cubicBezTo>
                          <a:cubicBezTo>
                            <a:pt x="84448" y="8792"/>
                            <a:pt x="84388" y="8911"/>
                            <a:pt x="84388" y="9031"/>
                          </a:cubicBezTo>
                          <a:moveTo>
                            <a:pt x="80740" y="11782"/>
                          </a:moveTo>
                          <a:lnTo>
                            <a:pt x="83012" y="10048"/>
                          </a:lnTo>
                          <a:cubicBezTo>
                            <a:pt x="83012" y="9928"/>
                            <a:pt x="83072" y="9808"/>
                            <a:pt x="83072" y="9689"/>
                          </a:cubicBezTo>
                          <a:cubicBezTo>
                            <a:pt x="83072" y="9569"/>
                            <a:pt x="83132" y="9450"/>
                            <a:pt x="83132" y="9330"/>
                          </a:cubicBezTo>
                          <a:cubicBezTo>
                            <a:pt x="83192" y="9211"/>
                            <a:pt x="83192" y="9091"/>
                            <a:pt x="83252" y="8971"/>
                          </a:cubicBezTo>
                          <a:cubicBezTo>
                            <a:pt x="83311" y="8851"/>
                            <a:pt x="83311" y="8732"/>
                            <a:pt x="83371" y="8612"/>
                          </a:cubicBezTo>
                          <a:lnTo>
                            <a:pt x="80979" y="10406"/>
                          </a:lnTo>
                          <a:cubicBezTo>
                            <a:pt x="80979" y="10526"/>
                            <a:pt x="80919" y="10646"/>
                            <a:pt x="80919" y="10706"/>
                          </a:cubicBezTo>
                          <a:cubicBezTo>
                            <a:pt x="80919" y="10825"/>
                            <a:pt x="80859" y="10945"/>
                            <a:pt x="80859" y="11005"/>
                          </a:cubicBezTo>
                          <a:cubicBezTo>
                            <a:pt x="80859" y="11124"/>
                            <a:pt x="80800" y="11244"/>
                            <a:pt x="80800" y="11304"/>
                          </a:cubicBezTo>
                          <a:cubicBezTo>
                            <a:pt x="80740" y="11543"/>
                            <a:pt x="80740" y="11662"/>
                            <a:pt x="80740" y="11782"/>
                          </a:cubicBezTo>
                          <a:moveTo>
                            <a:pt x="93299" y="27093"/>
                          </a:moveTo>
                          <a:cubicBezTo>
                            <a:pt x="93419" y="27093"/>
                            <a:pt x="93479" y="27093"/>
                            <a:pt x="93598" y="27153"/>
                          </a:cubicBezTo>
                          <a:cubicBezTo>
                            <a:pt x="93718" y="27153"/>
                            <a:pt x="93838" y="27153"/>
                            <a:pt x="93897" y="27212"/>
                          </a:cubicBezTo>
                          <a:cubicBezTo>
                            <a:pt x="94017" y="27212"/>
                            <a:pt x="94137" y="27212"/>
                            <a:pt x="94196" y="27212"/>
                          </a:cubicBezTo>
                          <a:cubicBezTo>
                            <a:pt x="94256" y="27212"/>
                            <a:pt x="94436" y="27212"/>
                            <a:pt x="94495" y="27212"/>
                          </a:cubicBezTo>
                          <a:lnTo>
                            <a:pt x="99938" y="23085"/>
                          </a:lnTo>
                          <a:cubicBezTo>
                            <a:pt x="99938" y="23085"/>
                            <a:pt x="99938" y="23026"/>
                            <a:pt x="99938" y="23026"/>
                          </a:cubicBezTo>
                          <a:cubicBezTo>
                            <a:pt x="99938" y="23026"/>
                            <a:pt x="99938" y="22966"/>
                            <a:pt x="99938" y="22966"/>
                          </a:cubicBezTo>
                          <a:cubicBezTo>
                            <a:pt x="99938" y="22966"/>
                            <a:pt x="99938" y="22906"/>
                            <a:pt x="99938" y="22906"/>
                          </a:cubicBezTo>
                          <a:cubicBezTo>
                            <a:pt x="99938" y="22906"/>
                            <a:pt x="99938" y="22846"/>
                            <a:pt x="99938" y="22846"/>
                          </a:cubicBezTo>
                          <a:cubicBezTo>
                            <a:pt x="99938" y="22787"/>
                            <a:pt x="99878" y="22727"/>
                            <a:pt x="99878" y="22667"/>
                          </a:cubicBezTo>
                          <a:cubicBezTo>
                            <a:pt x="99878" y="22607"/>
                            <a:pt x="99818" y="22547"/>
                            <a:pt x="99818" y="22488"/>
                          </a:cubicBezTo>
                          <a:cubicBezTo>
                            <a:pt x="99818" y="22428"/>
                            <a:pt x="99818" y="22368"/>
                            <a:pt x="99758" y="22308"/>
                          </a:cubicBezTo>
                          <a:cubicBezTo>
                            <a:pt x="99758" y="22248"/>
                            <a:pt x="99758" y="22189"/>
                            <a:pt x="99758" y="22129"/>
                          </a:cubicBezTo>
                          <a:lnTo>
                            <a:pt x="93299" y="27093"/>
                          </a:lnTo>
                          <a:moveTo>
                            <a:pt x="89651" y="29904"/>
                          </a:moveTo>
                          <a:cubicBezTo>
                            <a:pt x="89711" y="29904"/>
                            <a:pt x="89831" y="29963"/>
                            <a:pt x="89890" y="29963"/>
                          </a:cubicBezTo>
                          <a:cubicBezTo>
                            <a:pt x="89950" y="29963"/>
                            <a:pt x="90070" y="30023"/>
                            <a:pt x="90130" y="30023"/>
                          </a:cubicBezTo>
                          <a:cubicBezTo>
                            <a:pt x="90189" y="30023"/>
                            <a:pt x="90309" y="30083"/>
                            <a:pt x="90369" y="30083"/>
                          </a:cubicBezTo>
                          <a:cubicBezTo>
                            <a:pt x="90428" y="30083"/>
                            <a:pt x="90548" y="30143"/>
                            <a:pt x="90608" y="30143"/>
                          </a:cubicBezTo>
                          <a:lnTo>
                            <a:pt x="93000" y="28289"/>
                          </a:lnTo>
                          <a:cubicBezTo>
                            <a:pt x="92881" y="28289"/>
                            <a:pt x="92821" y="28289"/>
                            <a:pt x="92701" y="28229"/>
                          </a:cubicBezTo>
                          <a:cubicBezTo>
                            <a:pt x="92582" y="28229"/>
                            <a:pt x="92522" y="28169"/>
                            <a:pt x="92402" y="28169"/>
                          </a:cubicBezTo>
                          <a:cubicBezTo>
                            <a:pt x="92283" y="28169"/>
                            <a:pt x="92223" y="28109"/>
                            <a:pt x="92103" y="28109"/>
                          </a:cubicBezTo>
                          <a:cubicBezTo>
                            <a:pt x="91984" y="28109"/>
                            <a:pt x="91924" y="28050"/>
                            <a:pt x="91804" y="28050"/>
                          </a:cubicBezTo>
                          <a:lnTo>
                            <a:pt x="89651" y="29904"/>
                          </a:lnTo>
                          <a:moveTo>
                            <a:pt x="2034" y="70094"/>
                          </a:moveTo>
                          <a:cubicBezTo>
                            <a:pt x="2153" y="70094"/>
                            <a:pt x="2213" y="70154"/>
                            <a:pt x="2333" y="70154"/>
                          </a:cubicBezTo>
                          <a:cubicBezTo>
                            <a:pt x="2452" y="70154"/>
                            <a:pt x="2512" y="70214"/>
                            <a:pt x="2632" y="70214"/>
                          </a:cubicBezTo>
                          <a:cubicBezTo>
                            <a:pt x="2751" y="70214"/>
                            <a:pt x="2811" y="70273"/>
                            <a:pt x="2930" y="70273"/>
                          </a:cubicBezTo>
                          <a:cubicBezTo>
                            <a:pt x="3050" y="70273"/>
                            <a:pt x="3110" y="70333"/>
                            <a:pt x="3170" y="70333"/>
                          </a:cubicBezTo>
                          <a:lnTo>
                            <a:pt x="79783" y="12500"/>
                          </a:lnTo>
                          <a:cubicBezTo>
                            <a:pt x="79783" y="12380"/>
                            <a:pt x="79783" y="12320"/>
                            <a:pt x="79843" y="12201"/>
                          </a:cubicBezTo>
                          <a:cubicBezTo>
                            <a:pt x="79843" y="12081"/>
                            <a:pt x="79843" y="12021"/>
                            <a:pt x="79903" y="11902"/>
                          </a:cubicBezTo>
                          <a:cubicBezTo>
                            <a:pt x="79903" y="11782"/>
                            <a:pt x="79962" y="11722"/>
                            <a:pt x="79962" y="11603"/>
                          </a:cubicBezTo>
                          <a:cubicBezTo>
                            <a:pt x="79962" y="11483"/>
                            <a:pt x="80022" y="11423"/>
                            <a:pt x="80022" y="11304"/>
                          </a:cubicBezTo>
                          <a:lnTo>
                            <a:pt x="2034" y="70094"/>
                          </a:lnTo>
                          <a:moveTo>
                            <a:pt x="957" y="73264"/>
                          </a:moveTo>
                          <a:cubicBezTo>
                            <a:pt x="1076" y="73264"/>
                            <a:pt x="1196" y="73324"/>
                            <a:pt x="1316" y="73384"/>
                          </a:cubicBezTo>
                          <a:cubicBezTo>
                            <a:pt x="1435" y="73443"/>
                            <a:pt x="1555" y="73443"/>
                            <a:pt x="1675" y="73503"/>
                          </a:cubicBezTo>
                          <a:cubicBezTo>
                            <a:pt x="1794" y="73563"/>
                            <a:pt x="1914" y="73563"/>
                            <a:pt x="2034" y="73623"/>
                          </a:cubicBezTo>
                          <a:cubicBezTo>
                            <a:pt x="2153" y="73683"/>
                            <a:pt x="2273" y="73683"/>
                            <a:pt x="2392" y="73742"/>
                          </a:cubicBezTo>
                          <a:lnTo>
                            <a:pt x="1316" y="71769"/>
                          </a:lnTo>
                          <a:lnTo>
                            <a:pt x="2034" y="71231"/>
                          </a:lnTo>
                          <a:cubicBezTo>
                            <a:pt x="1914" y="71231"/>
                            <a:pt x="1854" y="71171"/>
                            <a:pt x="1735" y="71171"/>
                          </a:cubicBezTo>
                          <a:cubicBezTo>
                            <a:pt x="1615" y="71171"/>
                            <a:pt x="1555" y="71111"/>
                            <a:pt x="1435" y="71111"/>
                          </a:cubicBezTo>
                          <a:cubicBezTo>
                            <a:pt x="1316" y="71111"/>
                            <a:pt x="1256" y="71051"/>
                            <a:pt x="1136" y="71051"/>
                          </a:cubicBezTo>
                          <a:cubicBezTo>
                            <a:pt x="1017" y="71051"/>
                            <a:pt x="957" y="70991"/>
                            <a:pt x="837" y="70991"/>
                          </a:cubicBezTo>
                          <a:lnTo>
                            <a:pt x="0" y="71649"/>
                          </a:lnTo>
                          <a:lnTo>
                            <a:pt x="957" y="73264"/>
                          </a:lnTo>
                          <a:moveTo>
                            <a:pt x="3529" y="78168"/>
                          </a:moveTo>
                          <a:cubicBezTo>
                            <a:pt x="3529" y="78168"/>
                            <a:pt x="3529" y="78168"/>
                            <a:pt x="3529" y="78168"/>
                          </a:cubicBezTo>
                          <a:cubicBezTo>
                            <a:pt x="3529" y="78168"/>
                            <a:pt x="3529" y="78168"/>
                            <a:pt x="3529" y="78168"/>
                          </a:cubicBezTo>
                          <a:cubicBezTo>
                            <a:pt x="3529" y="78168"/>
                            <a:pt x="3529" y="78168"/>
                            <a:pt x="3529" y="78168"/>
                          </a:cubicBezTo>
                          <a:cubicBezTo>
                            <a:pt x="3529" y="78168"/>
                            <a:pt x="3529" y="78168"/>
                            <a:pt x="3529" y="78168"/>
                          </a:cubicBezTo>
                          <a:lnTo>
                            <a:pt x="2751" y="76673"/>
                          </a:lnTo>
                          <a:lnTo>
                            <a:pt x="3589" y="76015"/>
                          </a:lnTo>
                          <a:lnTo>
                            <a:pt x="3349" y="75596"/>
                          </a:lnTo>
                          <a:cubicBezTo>
                            <a:pt x="3230" y="75537"/>
                            <a:pt x="3110" y="75477"/>
                            <a:pt x="2990" y="75417"/>
                          </a:cubicBezTo>
                          <a:cubicBezTo>
                            <a:pt x="2871" y="75357"/>
                            <a:pt x="2751" y="75297"/>
                            <a:pt x="2572" y="75238"/>
                          </a:cubicBezTo>
                          <a:cubicBezTo>
                            <a:pt x="2452" y="75178"/>
                            <a:pt x="2333" y="75118"/>
                            <a:pt x="2153" y="75058"/>
                          </a:cubicBezTo>
                          <a:cubicBezTo>
                            <a:pt x="2034" y="74998"/>
                            <a:pt x="1854" y="74939"/>
                            <a:pt x="1735" y="74879"/>
                          </a:cubicBezTo>
                          <a:lnTo>
                            <a:pt x="3529" y="78168"/>
                          </a:lnTo>
                          <a:moveTo>
                            <a:pt x="7057" y="82654"/>
                          </a:moveTo>
                          <a:lnTo>
                            <a:pt x="7057" y="82654"/>
                          </a:lnTo>
                          <a:lnTo>
                            <a:pt x="6340" y="81338"/>
                          </a:lnTo>
                          <a:lnTo>
                            <a:pt x="6340" y="81338"/>
                          </a:lnTo>
                          <a:lnTo>
                            <a:pt x="6340" y="81338"/>
                          </a:lnTo>
                          <a:lnTo>
                            <a:pt x="6340" y="81338"/>
                          </a:lnTo>
                          <a:lnTo>
                            <a:pt x="6340" y="81338"/>
                          </a:lnTo>
                          <a:lnTo>
                            <a:pt x="7057" y="82654"/>
                          </a:lnTo>
                          <a:moveTo>
                            <a:pt x="5323" y="81637"/>
                          </a:moveTo>
                          <a:cubicBezTo>
                            <a:pt x="5323" y="81637"/>
                            <a:pt x="5323" y="81577"/>
                            <a:pt x="5323" y="81637"/>
                          </a:cubicBezTo>
                          <a:cubicBezTo>
                            <a:pt x="5323" y="81577"/>
                            <a:pt x="5323" y="81577"/>
                            <a:pt x="5323" y="81637"/>
                          </a:cubicBezTo>
                          <a:cubicBezTo>
                            <a:pt x="5323" y="81577"/>
                            <a:pt x="5323" y="81577"/>
                            <a:pt x="5323" y="81637"/>
                          </a:cubicBezTo>
                          <a:cubicBezTo>
                            <a:pt x="5323" y="81577"/>
                            <a:pt x="5323" y="81577"/>
                            <a:pt x="5323" y="81637"/>
                          </a:cubicBezTo>
                          <a:lnTo>
                            <a:pt x="4007" y="79125"/>
                          </a:lnTo>
                          <a:cubicBezTo>
                            <a:pt x="4007" y="79125"/>
                            <a:pt x="4007" y="79125"/>
                            <a:pt x="4007" y="79125"/>
                          </a:cubicBezTo>
                          <a:cubicBezTo>
                            <a:pt x="4007" y="79125"/>
                            <a:pt x="4007" y="79125"/>
                            <a:pt x="4007" y="79125"/>
                          </a:cubicBezTo>
                          <a:cubicBezTo>
                            <a:pt x="4007" y="79125"/>
                            <a:pt x="4007" y="79125"/>
                            <a:pt x="4007" y="79125"/>
                          </a:cubicBezTo>
                          <a:cubicBezTo>
                            <a:pt x="4007" y="79125"/>
                            <a:pt x="4007" y="79125"/>
                            <a:pt x="4007" y="79125"/>
                          </a:cubicBezTo>
                          <a:lnTo>
                            <a:pt x="5323" y="81637"/>
                          </a:lnTo>
                          <a:moveTo>
                            <a:pt x="13516" y="88694"/>
                          </a:moveTo>
                          <a:lnTo>
                            <a:pt x="89591" y="30980"/>
                          </a:lnTo>
                          <a:cubicBezTo>
                            <a:pt x="89532" y="30980"/>
                            <a:pt x="89412" y="30920"/>
                            <a:pt x="89352" y="30920"/>
                          </a:cubicBezTo>
                          <a:cubicBezTo>
                            <a:pt x="89292" y="30920"/>
                            <a:pt x="89173" y="30861"/>
                            <a:pt x="89113" y="30861"/>
                          </a:cubicBezTo>
                          <a:cubicBezTo>
                            <a:pt x="89053" y="30861"/>
                            <a:pt x="88933" y="30801"/>
                            <a:pt x="88874" y="30801"/>
                          </a:cubicBezTo>
                          <a:cubicBezTo>
                            <a:pt x="88814" y="30741"/>
                            <a:pt x="88694" y="30741"/>
                            <a:pt x="88634" y="30681"/>
                          </a:cubicBezTo>
                          <a:lnTo>
                            <a:pt x="13636" y="87558"/>
                          </a:lnTo>
                          <a:cubicBezTo>
                            <a:pt x="13636" y="87678"/>
                            <a:pt x="13636" y="87737"/>
                            <a:pt x="13636" y="87857"/>
                          </a:cubicBezTo>
                          <a:cubicBezTo>
                            <a:pt x="13636" y="87977"/>
                            <a:pt x="13636" y="88036"/>
                            <a:pt x="13636" y="88156"/>
                          </a:cubicBezTo>
                          <a:cubicBezTo>
                            <a:pt x="13636" y="88276"/>
                            <a:pt x="13636" y="88335"/>
                            <a:pt x="13576" y="88455"/>
                          </a:cubicBezTo>
                          <a:cubicBezTo>
                            <a:pt x="13516" y="88515"/>
                            <a:pt x="13516" y="88634"/>
                            <a:pt x="13516" y="88694"/>
                          </a:cubicBezTo>
                          <a:moveTo>
                            <a:pt x="9390" y="89292"/>
                          </a:moveTo>
                          <a:cubicBezTo>
                            <a:pt x="9390" y="89113"/>
                            <a:pt x="9450" y="88933"/>
                            <a:pt x="9450" y="88814"/>
                          </a:cubicBezTo>
                          <a:cubicBezTo>
                            <a:pt x="9450" y="88694"/>
                            <a:pt x="9510" y="88455"/>
                            <a:pt x="9510" y="88335"/>
                          </a:cubicBezTo>
                          <a:cubicBezTo>
                            <a:pt x="9510" y="88156"/>
                            <a:pt x="9510" y="87977"/>
                            <a:pt x="9510" y="87857"/>
                          </a:cubicBezTo>
                          <a:cubicBezTo>
                            <a:pt x="9510" y="87678"/>
                            <a:pt x="9510" y="87558"/>
                            <a:pt x="9510" y="87378"/>
                          </a:cubicBezTo>
                          <a:lnTo>
                            <a:pt x="7476" y="83491"/>
                          </a:lnTo>
                          <a:lnTo>
                            <a:pt x="6639" y="84149"/>
                          </a:lnTo>
                          <a:lnTo>
                            <a:pt x="9390" y="89292"/>
                          </a:lnTo>
                          <a:moveTo>
                            <a:pt x="10347" y="91146"/>
                          </a:moveTo>
                          <a:lnTo>
                            <a:pt x="12500" y="89532"/>
                          </a:lnTo>
                          <a:cubicBezTo>
                            <a:pt x="12500" y="89532"/>
                            <a:pt x="12500" y="89532"/>
                            <a:pt x="12500" y="89472"/>
                          </a:cubicBezTo>
                          <a:cubicBezTo>
                            <a:pt x="12500" y="89472"/>
                            <a:pt x="12500" y="89472"/>
                            <a:pt x="12500" y="89412"/>
                          </a:cubicBezTo>
                          <a:cubicBezTo>
                            <a:pt x="12500" y="89412"/>
                            <a:pt x="12500" y="89412"/>
                            <a:pt x="12500" y="89352"/>
                          </a:cubicBezTo>
                          <a:cubicBezTo>
                            <a:pt x="12500" y="89352"/>
                            <a:pt x="12500" y="89352"/>
                            <a:pt x="12500" y="89292"/>
                          </a:cubicBezTo>
                          <a:cubicBezTo>
                            <a:pt x="12500" y="89232"/>
                            <a:pt x="12500" y="89113"/>
                            <a:pt x="12560" y="89053"/>
                          </a:cubicBezTo>
                          <a:cubicBezTo>
                            <a:pt x="12560" y="88993"/>
                            <a:pt x="12560" y="88873"/>
                            <a:pt x="12620" y="88814"/>
                          </a:cubicBezTo>
                          <a:cubicBezTo>
                            <a:pt x="12620" y="88754"/>
                            <a:pt x="12620" y="88634"/>
                            <a:pt x="12679" y="88574"/>
                          </a:cubicBezTo>
                          <a:cubicBezTo>
                            <a:pt x="12679" y="88515"/>
                            <a:pt x="12679" y="88395"/>
                            <a:pt x="12679" y="88335"/>
                          </a:cubicBezTo>
                          <a:lnTo>
                            <a:pt x="10825" y="89711"/>
                          </a:lnTo>
                          <a:lnTo>
                            <a:pt x="10586" y="89232"/>
                          </a:lnTo>
                          <a:cubicBezTo>
                            <a:pt x="10586" y="89232"/>
                            <a:pt x="10586" y="89292"/>
                            <a:pt x="10586" y="89292"/>
                          </a:cubicBezTo>
                          <a:cubicBezTo>
                            <a:pt x="10586" y="89292"/>
                            <a:pt x="10586" y="89352"/>
                            <a:pt x="10586" y="89352"/>
                          </a:cubicBezTo>
                          <a:cubicBezTo>
                            <a:pt x="10586" y="89352"/>
                            <a:pt x="10586" y="89412"/>
                            <a:pt x="10586" y="89412"/>
                          </a:cubicBezTo>
                          <a:cubicBezTo>
                            <a:pt x="10586" y="89412"/>
                            <a:pt x="10586" y="89472"/>
                            <a:pt x="10586" y="89472"/>
                          </a:cubicBezTo>
                          <a:cubicBezTo>
                            <a:pt x="10586" y="89591"/>
                            <a:pt x="10526" y="89711"/>
                            <a:pt x="10526" y="89831"/>
                          </a:cubicBezTo>
                          <a:cubicBezTo>
                            <a:pt x="10526" y="89950"/>
                            <a:pt x="10466" y="90070"/>
                            <a:pt x="10466" y="90189"/>
                          </a:cubicBezTo>
                          <a:cubicBezTo>
                            <a:pt x="10466" y="90309"/>
                            <a:pt x="10406" y="90428"/>
                            <a:pt x="10406" y="90548"/>
                          </a:cubicBezTo>
                          <a:cubicBezTo>
                            <a:pt x="10406" y="90668"/>
                            <a:pt x="10347" y="90787"/>
                            <a:pt x="10347" y="90907"/>
                          </a:cubicBezTo>
                          <a:lnTo>
                            <a:pt x="10347" y="91146"/>
                          </a:lnTo>
                        </a:path>
                      </a:pathLst>
                    </a:custGeom>
                    <a:noFill/>
                    <a:ln w="6350" cap="flat">
                      <a:solidFill>
                        <a:schemeClr val="bg1">
                          <a:alpha val="80000"/>
                        </a:schemeClr>
                      </a:solidFill>
                      <a:prstDash val="solid"/>
                      <a:miter/>
                    </a:ln>
                  </p:spPr>
                  <p:txBody>
                    <a:bodyPr rtlCol="0" anchor="ctr"/>
                    <a:lstStyle/>
                    <a:p>
                      <a:endParaRPr lang="en-GB"/>
                    </a:p>
                  </p:txBody>
                </p:sp>
                <p:sp>
                  <p:nvSpPr>
                    <p:cNvPr id="7493" name="Vrije vorm: vorm 7492">
                      <a:extLst>
                        <a:ext uri="{FF2B5EF4-FFF2-40B4-BE49-F238E27FC236}">
                          <a16:creationId xmlns:a16="http://schemas.microsoft.com/office/drawing/2014/main" id="{92467434-80FE-411A-A257-5117150D5B6D}"/>
                        </a:ext>
                      </a:extLst>
                    </p:cNvPr>
                    <p:cNvSpPr/>
                    <p:nvPr/>
                  </p:nvSpPr>
                  <p:spPr>
                    <a:xfrm>
                      <a:off x="5227709" y="5131619"/>
                      <a:ext cx="98203" cy="78706"/>
                    </a:xfrm>
                    <a:custGeom>
                      <a:avLst/>
                      <a:gdLst>
                        <a:gd name="connsiteX0" fmla="*/ 89352 w 98203"/>
                        <a:gd name="connsiteY0" fmla="*/ 4964 h 78706"/>
                        <a:gd name="connsiteX1" fmla="*/ 91565 w 98203"/>
                        <a:gd name="connsiteY1" fmla="*/ 3289 h 78706"/>
                        <a:gd name="connsiteX2" fmla="*/ 92043 w 98203"/>
                        <a:gd name="connsiteY2" fmla="*/ 2452 h 78706"/>
                        <a:gd name="connsiteX3" fmla="*/ 92641 w 98203"/>
                        <a:gd name="connsiteY3" fmla="*/ 1674 h 78706"/>
                        <a:gd name="connsiteX4" fmla="*/ 93359 w 98203"/>
                        <a:gd name="connsiteY4" fmla="*/ 957 h 78706"/>
                        <a:gd name="connsiteX5" fmla="*/ 94196 w 98203"/>
                        <a:gd name="connsiteY5" fmla="*/ 359 h 78706"/>
                        <a:gd name="connsiteX6" fmla="*/ 94316 w 98203"/>
                        <a:gd name="connsiteY6" fmla="*/ 299 h 78706"/>
                        <a:gd name="connsiteX7" fmla="*/ 94435 w 98203"/>
                        <a:gd name="connsiteY7" fmla="*/ 239 h 78706"/>
                        <a:gd name="connsiteX8" fmla="*/ 94555 w 98203"/>
                        <a:gd name="connsiteY8" fmla="*/ 179 h 78706"/>
                        <a:gd name="connsiteX9" fmla="*/ 94675 w 98203"/>
                        <a:gd name="connsiteY9" fmla="*/ 120 h 78706"/>
                        <a:gd name="connsiteX10" fmla="*/ 94615 w 98203"/>
                        <a:gd name="connsiteY10" fmla="*/ 0 h 78706"/>
                        <a:gd name="connsiteX11" fmla="*/ 93778 w 98203"/>
                        <a:gd name="connsiteY11" fmla="*/ 598 h 78706"/>
                        <a:gd name="connsiteX12" fmla="*/ 89651 w 98203"/>
                        <a:gd name="connsiteY12" fmla="*/ 3708 h 78706"/>
                        <a:gd name="connsiteX13" fmla="*/ 89651 w 98203"/>
                        <a:gd name="connsiteY13" fmla="*/ 3708 h 78706"/>
                        <a:gd name="connsiteX14" fmla="*/ 89651 w 98203"/>
                        <a:gd name="connsiteY14" fmla="*/ 3708 h 78706"/>
                        <a:gd name="connsiteX15" fmla="*/ 89651 w 98203"/>
                        <a:gd name="connsiteY15" fmla="*/ 3708 h 78706"/>
                        <a:gd name="connsiteX16" fmla="*/ 89651 w 98203"/>
                        <a:gd name="connsiteY16" fmla="*/ 3708 h 78706"/>
                        <a:gd name="connsiteX17" fmla="*/ 89531 w 98203"/>
                        <a:gd name="connsiteY17" fmla="*/ 4067 h 78706"/>
                        <a:gd name="connsiteX18" fmla="*/ 89412 w 98203"/>
                        <a:gd name="connsiteY18" fmla="*/ 4426 h 78706"/>
                        <a:gd name="connsiteX19" fmla="*/ 89292 w 98203"/>
                        <a:gd name="connsiteY19" fmla="*/ 4785 h 78706"/>
                        <a:gd name="connsiteX20" fmla="*/ 89352 w 98203"/>
                        <a:gd name="connsiteY20" fmla="*/ 4964 h 78706"/>
                        <a:gd name="connsiteX21" fmla="*/ 93897 w 98203"/>
                        <a:gd name="connsiteY21" fmla="*/ 9450 h 78706"/>
                        <a:gd name="connsiteX22" fmla="*/ 94196 w 98203"/>
                        <a:gd name="connsiteY22" fmla="*/ 9509 h 78706"/>
                        <a:gd name="connsiteX23" fmla="*/ 94495 w 98203"/>
                        <a:gd name="connsiteY23" fmla="*/ 9569 h 78706"/>
                        <a:gd name="connsiteX24" fmla="*/ 94794 w 98203"/>
                        <a:gd name="connsiteY24" fmla="*/ 9629 h 78706"/>
                        <a:gd name="connsiteX25" fmla="*/ 95093 w 98203"/>
                        <a:gd name="connsiteY25" fmla="*/ 9629 h 78706"/>
                        <a:gd name="connsiteX26" fmla="*/ 97366 w 98203"/>
                        <a:gd name="connsiteY26" fmla="*/ 7895 h 78706"/>
                        <a:gd name="connsiteX27" fmla="*/ 98203 w 98203"/>
                        <a:gd name="connsiteY27" fmla="*/ 7296 h 78706"/>
                        <a:gd name="connsiteX28" fmla="*/ 95273 w 98203"/>
                        <a:gd name="connsiteY28" fmla="*/ 957 h 78706"/>
                        <a:gd name="connsiteX29" fmla="*/ 95093 w 98203"/>
                        <a:gd name="connsiteY29" fmla="*/ 1017 h 78706"/>
                        <a:gd name="connsiteX30" fmla="*/ 94914 w 98203"/>
                        <a:gd name="connsiteY30" fmla="*/ 1076 h 78706"/>
                        <a:gd name="connsiteX31" fmla="*/ 94734 w 98203"/>
                        <a:gd name="connsiteY31" fmla="*/ 1196 h 78706"/>
                        <a:gd name="connsiteX32" fmla="*/ 94555 w 98203"/>
                        <a:gd name="connsiteY32" fmla="*/ 1316 h 78706"/>
                        <a:gd name="connsiteX33" fmla="*/ 94495 w 98203"/>
                        <a:gd name="connsiteY33" fmla="*/ 1375 h 78706"/>
                        <a:gd name="connsiteX34" fmla="*/ 94435 w 98203"/>
                        <a:gd name="connsiteY34" fmla="*/ 1435 h 78706"/>
                        <a:gd name="connsiteX35" fmla="*/ 94376 w 98203"/>
                        <a:gd name="connsiteY35" fmla="*/ 1495 h 78706"/>
                        <a:gd name="connsiteX36" fmla="*/ 94316 w 98203"/>
                        <a:gd name="connsiteY36" fmla="*/ 1555 h 78706"/>
                        <a:gd name="connsiteX37" fmla="*/ 96888 w 98203"/>
                        <a:gd name="connsiteY37" fmla="*/ 7237 h 78706"/>
                        <a:gd name="connsiteX38" fmla="*/ 93897 w 98203"/>
                        <a:gd name="connsiteY38" fmla="*/ 9450 h 78706"/>
                        <a:gd name="connsiteX39" fmla="*/ 91086 w 98203"/>
                        <a:gd name="connsiteY39" fmla="*/ 11603 h 78706"/>
                        <a:gd name="connsiteX40" fmla="*/ 91266 w 98203"/>
                        <a:gd name="connsiteY40" fmla="*/ 11722 h 78706"/>
                        <a:gd name="connsiteX41" fmla="*/ 91445 w 98203"/>
                        <a:gd name="connsiteY41" fmla="*/ 11842 h 78706"/>
                        <a:gd name="connsiteX42" fmla="*/ 91625 w 98203"/>
                        <a:gd name="connsiteY42" fmla="*/ 11961 h 78706"/>
                        <a:gd name="connsiteX43" fmla="*/ 91804 w 98203"/>
                        <a:gd name="connsiteY43" fmla="*/ 12081 h 78706"/>
                        <a:gd name="connsiteX44" fmla="*/ 93598 w 98203"/>
                        <a:gd name="connsiteY44" fmla="*/ 10705 h 78706"/>
                        <a:gd name="connsiteX45" fmla="*/ 93359 w 98203"/>
                        <a:gd name="connsiteY45" fmla="*/ 10645 h 78706"/>
                        <a:gd name="connsiteX46" fmla="*/ 93120 w 98203"/>
                        <a:gd name="connsiteY46" fmla="*/ 10586 h 78706"/>
                        <a:gd name="connsiteX47" fmla="*/ 92880 w 98203"/>
                        <a:gd name="connsiteY47" fmla="*/ 10466 h 78706"/>
                        <a:gd name="connsiteX48" fmla="*/ 92641 w 98203"/>
                        <a:gd name="connsiteY48" fmla="*/ 10347 h 78706"/>
                        <a:gd name="connsiteX49" fmla="*/ 91086 w 98203"/>
                        <a:gd name="connsiteY49" fmla="*/ 11603 h 78706"/>
                        <a:gd name="connsiteX50" fmla="*/ 80919 w 98203"/>
                        <a:gd name="connsiteY50" fmla="*/ 11304 h 78706"/>
                        <a:gd name="connsiteX51" fmla="*/ 88036 w 98203"/>
                        <a:gd name="connsiteY51" fmla="*/ 5921 h 78706"/>
                        <a:gd name="connsiteX52" fmla="*/ 88096 w 98203"/>
                        <a:gd name="connsiteY52" fmla="*/ 5622 h 78706"/>
                        <a:gd name="connsiteX53" fmla="*/ 88156 w 98203"/>
                        <a:gd name="connsiteY53" fmla="*/ 5323 h 78706"/>
                        <a:gd name="connsiteX54" fmla="*/ 88216 w 98203"/>
                        <a:gd name="connsiteY54" fmla="*/ 5024 h 78706"/>
                        <a:gd name="connsiteX55" fmla="*/ 88276 w 98203"/>
                        <a:gd name="connsiteY55" fmla="*/ 4725 h 78706"/>
                        <a:gd name="connsiteX56" fmla="*/ 80800 w 98203"/>
                        <a:gd name="connsiteY56" fmla="*/ 10406 h 78706"/>
                        <a:gd name="connsiteX57" fmla="*/ 80800 w 98203"/>
                        <a:gd name="connsiteY57" fmla="*/ 10645 h 78706"/>
                        <a:gd name="connsiteX58" fmla="*/ 80800 w 98203"/>
                        <a:gd name="connsiteY58" fmla="*/ 10885 h 78706"/>
                        <a:gd name="connsiteX59" fmla="*/ 80800 w 98203"/>
                        <a:gd name="connsiteY59" fmla="*/ 11124 h 78706"/>
                        <a:gd name="connsiteX60" fmla="*/ 80919 w 98203"/>
                        <a:gd name="connsiteY60" fmla="*/ 11304 h 78706"/>
                        <a:gd name="connsiteX61" fmla="*/ 83849 w 98203"/>
                        <a:gd name="connsiteY61" fmla="*/ 18181 h 78706"/>
                        <a:gd name="connsiteX62" fmla="*/ 90668 w 98203"/>
                        <a:gd name="connsiteY62" fmla="*/ 13038 h 78706"/>
                        <a:gd name="connsiteX63" fmla="*/ 90548 w 98203"/>
                        <a:gd name="connsiteY63" fmla="*/ 12918 h 78706"/>
                        <a:gd name="connsiteX64" fmla="*/ 90428 w 98203"/>
                        <a:gd name="connsiteY64" fmla="*/ 12799 h 78706"/>
                        <a:gd name="connsiteX65" fmla="*/ 90309 w 98203"/>
                        <a:gd name="connsiteY65" fmla="*/ 12679 h 78706"/>
                        <a:gd name="connsiteX66" fmla="*/ 90189 w 98203"/>
                        <a:gd name="connsiteY66" fmla="*/ 12559 h 78706"/>
                        <a:gd name="connsiteX67" fmla="*/ 90189 w 98203"/>
                        <a:gd name="connsiteY67" fmla="*/ 12559 h 78706"/>
                        <a:gd name="connsiteX68" fmla="*/ 90189 w 98203"/>
                        <a:gd name="connsiteY68" fmla="*/ 12559 h 78706"/>
                        <a:gd name="connsiteX69" fmla="*/ 90189 w 98203"/>
                        <a:gd name="connsiteY69" fmla="*/ 12559 h 78706"/>
                        <a:gd name="connsiteX70" fmla="*/ 90189 w 98203"/>
                        <a:gd name="connsiteY70" fmla="*/ 12559 h 78706"/>
                        <a:gd name="connsiteX71" fmla="*/ 83551 w 98203"/>
                        <a:gd name="connsiteY71" fmla="*/ 17583 h 78706"/>
                        <a:gd name="connsiteX72" fmla="*/ 83670 w 98203"/>
                        <a:gd name="connsiteY72" fmla="*/ 17763 h 78706"/>
                        <a:gd name="connsiteX73" fmla="*/ 83790 w 98203"/>
                        <a:gd name="connsiteY73" fmla="*/ 17942 h 78706"/>
                        <a:gd name="connsiteX74" fmla="*/ 83909 w 98203"/>
                        <a:gd name="connsiteY74" fmla="*/ 18121 h 78706"/>
                        <a:gd name="connsiteX75" fmla="*/ 83849 w 98203"/>
                        <a:gd name="connsiteY75" fmla="*/ 18181 h 78706"/>
                        <a:gd name="connsiteX76" fmla="*/ 77988 w 98203"/>
                        <a:gd name="connsiteY76" fmla="*/ 13516 h 78706"/>
                        <a:gd name="connsiteX77" fmla="*/ 79843 w 98203"/>
                        <a:gd name="connsiteY77" fmla="*/ 12081 h 78706"/>
                        <a:gd name="connsiteX78" fmla="*/ 79783 w 98203"/>
                        <a:gd name="connsiteY78" fmla="*/ 11842 h 78706"/>
                        <a:gd name="connsiteX79" fmla="*/ 79723 w 98203"/>
                        <a:gd name="connsiteY79" fmla="*/ 11603 h 78706"/>
                        <a:gd name="connsiteX80" fmla="*/ 79723 w 98203"/>
                        <a:gd name="connsiteY80" fmla="*/ 11364 h 78706"/>
                        <a:gd name="connsiteX81" fmla="*/ 79723 w 98203"/>
                        <a:gd name="connsiteY81" fmla="*/ 11124 h 78706"/>
                        <a:gd name="connsiteX82" fmla="*/ 77809 w 98203"/>
                        <a:gd name="connsiteY82" fmla="*/ 12559 h 78706"/>
                        <a:gd name="connsiteX83" fmla="*/ 77869 w 98203"/>
                        <a:gd name="connsiteY83" fmla="*/ 12799 h 78706"/>
                        <a:gd name="connsiteX84" fmla="*/ 77929 w 98203"/>
                        <a:gd name="connsiteY84" fmla="*/ 13038 h 78706"/>
                        <a:gd name="connsiteX85" fmla="*/ 77988 w 98203"/>
                        <a:gd name="connsiteY85" fmla="*/ 13277 h 78706"/>
                        <a:gd name="connsiteX86" fmla="*/ 77988 w 98203"/>
                        <a:gd name="connsiteY86" fmla="*/ 13516 h 78706"/>
                        <a:gd name="connsiteX87" fmla="*/ 80919 w 98203"/>
                        <a:gd name="connsiteY87" fmla="*/ 20335 h 78706"/>
                        <a:gd name="connsiteX88" fmla="*/ 82773 w 98203"/>
                        <a:gd name="connsiteY88" fmla="*/ 18959 h 78706"/>
                        <a:gd name="connsiteX89" fmla="*/ 82654 w 98203"/>
                        <a:gd name="connsiteY89" fmla="*/ 18780 h 78706"/>
                        <a:gd name="connsiteX90" fmla="*/ 82534 w 98203"/>
                        <a:gd name="connsiteY90" fmla="*/ 18600 h 78706"/>
                        <a:gd name="connsiteX91" fmla="*/ 82414 w 98203"/>
                        <a:gd name="connsiteY91" fmla="*/ 18421 h 78706"/>
                        <a:gd name="connsiteX92" fmla="*/ 82295 w 98203"/>
                        <a:gd name="connsiteY92" fmla="*/ 18241 h 78706"/>
                        <a:gd name="connsiteX93" fmla="*/ 80441 w 98203"/>
                        <a:gd name="connsiteY93" fmla="*/ 19617 h 78706"/>
                        <a:gd name="connsiteX94" fmla="*/ 80560 w 98203"/>
                        <a:gd name="connsiteY94" fmla="*/ 19796 h 78706"/>
                        <a:gd name="connsiteX95" fmla="*/ 80680 w 98203"/>
                        <a:gd name="connsiteY95" fmla="*/ 19975 h 78706"/>
                        <a:gd name="connsiteX96" fmla="*/ 80800 w 98203"/>
                        <a:gd name="connsiteY96" fmla="*/ 20155 h 78706"/>
                        <a:gd name="connsiteX97" fmla="*/ 80919 w 98203"/>
                        <a:gd name="connsiteY97" fmla="*/ 20335 h 78706"/>
                        <a:gd name="connsiteX98" fmla="*/ 5741 w 98203"/>
                        <a:gd name="connsiteY98" fmla="*/ 68121 h 78706"/>
                        <a:gd name="connsiteX99" fmla="*/ 77092 w 98203"/>
                        <a:gd name="connsiteY99" fmla="*/ 14234 h 78706"/>
                        <a:gd name="connsiteX100" fmla="*/ 77032 w 98203"/>
                        <a:gd name="connsiteY100" fmla="*/ 13995 h 78706"/>
                        <a:gd name="connsiteX101" fmla="*/ 76972 w 98203"/>
                        <a:gd name="connsiteY101" fmla="*/ 13756 h 78706"/>
                        <a:gd name="connsiteX102" fmla="*/ 76912 w 98203"/>
                        <a:gd name="connsiteY102" fmla="*/ 13516 h 78706"/>
                        <a:gd name="connsiteX103" fmla="*/ 76852 w 98203"/>
                        <a:gd name="connsiteY103" fmla="*/ 13277 h 78706"/>
                        <a:gd name="connsiteX104" fmla="*/ 4964 w 98203"/>
                        <a:gd name="connsiteY104" fmla="*/ 67582 h 78706"/>
                        <a:gd name="connsiteX105" fmla="*/ 5024 w 98203"/>
                        <a:gd name="connsiteY105" fmla="*/ 67642 h 78706"/>
                        <a:gd name="connsiteX106" fmla="*/ 5083 w 98203"/>
                        <a:gd name="connsiteY106" fmla="*/ 67702 h 78706"/>
                        <a:gd name="connsiteX107" fmla="*/ 5143 w 98203"/>
                        <a:gd name="connsiteY107" fmla="*/ 67762 h 78706"/>
                        <a:gd name="connsiteX108" fmla="*/ 5203 w 98203"/>
                        <a:gd name="connsiteY108" fmla="*/ 67821 h 78706"/>
                        <a:gd name="connsiteX109" fmla="*/ 5323 w 98203"/>
                        <a:gd name="connsiteY109" fmla="*/ 67941 h 78706"/>
                        <a:gd name="connsiteX110" fmla="*/ 5442 w 98203"/>
                        <a:gd name="connsiteY110" fmla="*/ 68061 h 78706"/>
                        <a:gd name="connsiteX111" fmla="*/ 5562 w 98203"/>
                        <a:gd name="connsiteY111" fmla="*/ 68180 h 78706"/>
                        <a:gd name="connsiteX112" fmla="*/ 5741 w 98203"/>
                        <a:gd name="connsiteY112" fmla="*/ 68121 h 78706"/>
                        <a:gd name="connsiteX113" fmla="*/ 9808 w 98203"/>
                        <a:gd name="connsiteY113" fmla="*/ 74221 h 78706"/>
                        <a:gd name="connsiteX114" fmla="*/ 80082 w 98203"/>
                        <a:gd name="connsiteY114" fmla="*/ 20992 h 78706"/>
                        <a:gd name="connsiteX115" fmla="*/ 79962 w 98203"/>
                        <a:gd name="connsiteY115" fmla="*/ 20813 h 78706"/>
                        <a:gd name="connsiteX116" fmla="*/ 79843 w 98203"/>
                        <a:gd name="connsiteY116" fmla="*/ 20634 h 78706"/>
                        <a:gd name="connsiteX117" fmla="*/ 79723 w 98203"/>
                        <a:gd name="connsiteY117" fmla="*/ 20454 h 78706"/>
                        <a:gd name="connsiteX118" fmla="*/ 79603 w 98203"/>
                        <a:gd name="connsiteY118" fmla="*/ 20275 h 78706"/>
                        <a:gd name="connsiteX119" fmla="*/ 9449 w 98203"/>
                        <a:gd name="connsiteY119" fmla="*/ 73324 h 78706"/>
                        <a:gd name="connsiteX120" fmla="*/ 9509 w 98203"/>
                        <a:gd name="connsiteY120" fmla="*/ 73503 h 78706"/>
                        <a:gd name="connsiteX121" fmla="*/ 9569 w 98203"/>
                        <a:gd name="connsiteY121" fmla="*/ 73742 h 78706"/>
                        <a:gd name="connsiteX122" fmla="*/ 9629 w 98203"/>
                        <a:gd name="connsiteY122" fmla="*/ 73981 h 78706"/>
                        <a:gd name="connsiteX123" fmla="*/ 9808 w 98203"/>
                        <a:gd name="connsiteY123" fmla="*/ 74221 h 78706"/>
                        <a:gd name="connsiteX124" fmla="*/ 2153 w 98203"/>
                        <a:gd name="connsiteY124" fmla="*/ 69735 h 78706"/>
                        <a:gd name="connsiteX125" fmla="*/ 2333 w 98203"/>
                        <a:gd name="connsiteY125" fmla="*/ 69855 h 78706"/>
                        <a:gd name="connsiteX126" fmla="*/ 2512 w 98203"/>
                        <a:gd name="connsiteY126" fmla="*/ 69975 h 78706"/>
                        <a:gd name="connsiteX127" fmla="*/ 2691 w 98203"/>
                        <a:gd name="connsiteY127" fmla="*/ 70094 h 78706"/>
                        <a:gd name="connsiteX128" fmla="*/ 2871 w 98203"/>
                        <a:gd name="connsiteY128" fmla="*/ 70214 h 78706"/>
                        <a:gd name="connsiteX129" fmla="*/ 4844 w 98203"/>
                        <a:gd name="connsiteY129" fmla="*/ 68718 h 78706"/>
                        <a:gd name="connsiteX130" fmla="*/ 4785 w 98203"/>
                        <a:gd name="connsiteY130" fmla="*/ 68659 h 78706"/>
                        <a:gd name="connsiteX131" fmla="*/ 4725 w 98203"/>
                        <a:gd name="connsiteY131" fmla="*/ 68599 h 78706"/>
                        <a:gd name="connsiteX132" fmla="*/ 4665 w 98203"/>
                        <a:gd name="connsiteY132" fmla="*/ 68539 h 78706"/>
                        <a:gd name="connsiteX133" fmla="*/ 4605 w 98203"/>
                        <a:gd name="connsiteY133" fmla="*/ 68479 h 78706"/>
                        <a:gd name="connsiteX134" fmla="*/ 4486 w 98203"/>
                        <a:gd name="connsiteY134" fmla="*/ 68419 h 78706"/>
                        <a:gd name="connsiteX135" fmla="*/ 4366 w 98203"/>
                        <a:gd name="connsiteY135" fmla="*/ 68360 h 78706"/>
                        <a:gd name="connsiteX136" fmla="*/ 4246 w 98203"/>
                        <a:gd name="connsiteY136" fmla="*/ 68300 h 78706"/>
                        <a:gd name="connsiteX137" fmla="*/ 4127 w 98203"/>
                        <a:gd name="connsiteY137" fmla="*/ 68240 h 78706"/>
                        <a:gd name="connsiteX138" fmla="*/ 2153 w 98203"/>
                        <a:gd name="connsiteY138" fmla="*/ 69735 h 78706"/>
                        <a:gd name="connsiteX139" fmla="*/ 7057 w 98203"/>
                        <a:gd name="connsiteY139" fmla="*/ 76254 h 78706"/>
                        <a:gd name="connsiteX140" fmla="*/ 8911 w 98203"/>
                        <a:gd name="connsiteY140" fmla="*/ 74879 h 78706"/>
                        <a:gd name="connsiteX141" fmla="*/ 8851 w 98203"/>
                        <a:gd name="connsiteY141" fmla="*/ 74639 h 78706"/>
                        <a:gd name="connsiteX142" fmla="*/ 8791 w 98203"/>
                        <a:gd name="connsiteY142" fmla="*/ 74400 h 78706"/>
                        <a:gd name="connsiteX143" fmla="*/ 8732 w 98203"/>
                        <a:gd name="connsiteY143" fmla="*/ 74161 h 78706"/>
                        <a:gd name="connsiteX144" fmla="*/ 8672 w 98203"/>
                        <a:gd name="connsiteY144" fmla="*/ 73981 h 78706"/>
                        <a:gd name="connsiteX145" fmla="*/ 6818 w 98203"/>
                        <a:gd name="connsiteY145" fmla="*/ 75357 h 78706"/>
                        <a:gd name="connsiteX146" fmla="*/ 6878 w 98203"/>
                        <a:gd name="connsiteY146" fmla="*/ 75596 h 78706"/>
                        <a:gd name="connsiteX147" fmla="*/ 6937 w 98203"/>
                        <a:gd name="connsiteY147" fmla="*/ 75836 h 78706"/>
                        <a:gd name="connsiteX148" fmla="*/ 6997 w 98203"/>
                        <a:gd name="connsiteY148" fmla="*/ 76075 h 78706"/>
                        <a:gd name="connsiteX149" fmla="*/ 7057 w 98203"/>
                        <a:gd name="connsiteY149" fmla="*/ 76254 h 78706"/>
                        <a:gd name="connsiteX150" fmla="*/ 718 w 98203"/>
                        <a:gd name="connsiteY150" fmla="*/ 72845 h 78706"/>
                        <a:gd name="connsiteX151" fmla="*/ 1017 w 98203"/>
                        <a:gd name="connsiteY151" fmla="*/ 72785 h 78706"/>
                        <a:gd name="connsiteX152" fmla="*/ 1316 w 98203"/>
                        <a:gd name="connsiteY152" fmla="*/ 72785 h 78706"/>
                        <a:gd name="connsiteX153" fmla="*/ 1615 w 98203"/>
                        <a:gd name="connsiteY153" fmla="*/ 72785 h 78706"/>
                        <a:gd name="connsiteX154" fmla="*/ 1914 w 98203"/>
                        <a:gd name="connsiteY154" fmla="*/ 72845 h 78706"/>
                        <a:gd name="connsiteX155" fmla="*/ 1256 w 98203"/>
                        <a:gd name="connsiteY155" fmla="*/ 71530 h 78706"/>
                        <a:gd name="connsiteX156" fmla="*/ 1794 w 98203"/>
                        <a:gd name="connsiteY156" fmla="*/ 71111 h 78706"/>
                        <a:gd name="connsiteX157" fmla="*/ 1615 w 98203"/>
                        <a:gd name="connsiteY157" fmla="*/ 70991 h 78706"/>
                        <a:gd name="connsiteX158" fmla="*/ 1435 w 98203"/>
                        <a:gd name="connsiteY158" fmla="*/ 70871 h 78706"/>
                        <a:gd name="connsiteX159" fmla="*/ 1256 w 98203"/>
                        <a:gd name="connsiteY159" fmla="*/ 70752 h 78706"/>
                        <a:gd name="connsiteX160" fmla="*/ 1076 w 98203"/>
                        <a:gd name="connsiteY160" fmla="*/ 70632 h 78706"/>
                        <a:gd name="connsiteX161" fmla="*/ 837 w 98203"/>
                        <a:gd name="connsiteY161" fmla="*/ 70812 h 78706"/>
                        <a:gd name="connsiteX162" fmla="*/ 0 w 98203"/>
                        <a:gd name="connsiteY162" fmla="*/ 71470 h 78706"/>
                        <a:gd name="connsiteX163" fmla="*/ 718 w 98203"/>
                        <a:gd name="connsiteY163" fmla="*/ 72845 h 78706"/>
                        <a:gd name="connsiteX164" fmla="*/ 2512 w 98203"/>
                        <a:gd name="connsiteY164" fmla="*/ 76254 h 78706"/>
                        <a:gd name="connsiteX165" fmla="*/ 2572 w 98203"/>
                        <a:gd name="connsiteY165" fmla="*/ 76134 h 78706"/>
                        <a:gd name="connsiteX166" fmla="*/ 2632 w 98203"/>
                        <a:gd name="connsiteY166" fmla="*/ 76015 h 78706"/>
                        <a:gd name="connsiteX167" fmla="*/ 2691 w 98203"/>
                        <a:gd name="connsiteY167" fmla="*/ 75895 h 78706"/>
                        <a:gd name="connsiteX168" fmla="*/ 2691 w 98203"/>
                        <a:gd name="connsiteY168" fmla="*/ 75776 h 78706"/>
                        <a:gd name="connsiteX169" fmla="*/ 2691 w 98203"/>
                        <a:gd name="connsiteY169" fmla="*/ 75357 h 78706"/>
                        <a:gd name="connsiteX170" fmla="*/ 2632 w 98203"/>
                        <a:gd name="connsiteY170" fmla="*/ 74998 h 78706"/>
                        <a:gd name="connsiteX171" fmla="*/ 2512 w 98203"/>
                        <a:gd name="connsiteY171" fmla="*/ 74639 h 78706"/>
                        <a:gd name="connsiteX172" fmla="*/ 2333 w 98203"/>
                        <a:gd name="connsiteY172" fmla="*/ 74340 h 78706"/>
                        <a:gd name="connsiteX173" fmla="*/ 2273 w 98203"/>
                        <a:gd name="connsiteY173" fmla="*/ 74280 h 78706"/>
                        <a:gd name="connsiteX174" fmla="*/ 2213 w 98203"/>
                        <a:gd name="connsiteY174" fmla="*/ 74221 h 78706"/>
                        <a:gd name="connsiteX175" fmla="*/ 2153 w 98203"/>
                        <a:gd name="connsiteY175" fmla="*/ 74161 h 78706"/>
                        <a:gd name="connsiteX176" fmla="*/ 2093 w 98203"/>
                        <a:gd name="connsiteY176" fmla="*/ 74101 h 78706"/>
                        <a:gd name="connsiteX177" fmla="*/ 1854 w 98203"/>
                        <a:gd name="connsiteY177" fmla="*/ 73981 h 78706"/>
                        <a:gd name="connsiteX178" fmla="*/ 1615 w 98203"/>
                        <a:gd name="connsiteY178" fmla="*/ 73862 h 78706"/>
                        <a:gd name="connsiteX179" fmla="*/ 1375 w 98203"/>
                        <a:gd name="connsiteY179" fmla="*/ 73802 h 78706"/>
                        <a:gd name="connsiteX180" fmla="*/ 1136 w 98203"/>
                        <a:gd name="connsiteY180" fmla="*/ 73802 h 78706"/>
                        <a:gd name="connsiteX181" fmla="*/ 2512 w 98203"/>
                        <a:gd name="connsiteY181" fmla="*/ 76254 h 78706"/>
                        <a:gd name="connsiteX182" fmla="*/ 3828 w 98203"/>
                        <a:gd name="connsiteY182" fmla="*/ 78706 h 78706"/>
                        <a:gd name="connsiteX183" fmla="*/ 3828 w 98203"/>
                        <a:gd name="connsiteY183" fmla="*/ 78706 h 78706"/>
                        <a:gd name="connsiteX184" fmla="*/ 4665 w 98203"/>
                        <a:gd name="connsiteY184" fmla="*/ 78048 h 78706"/>
                        <a:gd name="connsiteX185" fmla="*/ 5981 w 98203"/>
                        <a:gd name="connsiteY185" fmla="*/ 77032 h 78706"/>
                        <a:gd name="connsiteX186" fmla="*/ 5921 w 98203"/>
                        <a:gd name="connsiteY186" fmla="*/ 76792 h 78706"/>
                        <a:gd name="connsiteX187" fmla="*/ 5861 w 98203"/>
                        <a:gd name="connsiteY187" fmla="*/ 76553 h 78706"/>
                        <a:gd name="connsiteX188" fmla="*/ 5801 w 98203"/>
                        <a:gd name="connsiteY188" fmla="*/ 76314 h 78706"/>
                        <a:gd name="connsiteX189" fmla="*/ 5741 w 98203"/>
                        <a:gd name="connsiteY189" fmla="*/ 76075 h 78706"/>
                        <a:gd name="connsiteX190" fmla="*/ 4306 w 98203"/>
                        <a:gd name="connsiteY190" fmla="*/ 77151 h 78706"/>
                        <a:gd name="connsiteX191" fmla="*/ 4306 w 98203"/>
                        <a:gd name="connsiteY191" fmla="*/ 77151 h 78706"/>
                        <a:gd name="connsiteX192" fmla="*/ 3588 w 98203"/>
                        <a:gd name="connsiteY192" fmla="*/ 75836 h 78706"/>
                        <a:gd name="connsiteX193" fmla="*/ 3469 w 98203"/>
                        <a:gd name="connsiteY193" fmla="*/ 76134 h 78706"/>
                        <a:gd name="connsiteX194" fmla="*/ 3349 w 98203"/>
                        <a:gd name="connsiteY194" fmla="*/ 76433 h 78706"/>
                        <a:gd name="connsiteX195" fmla="*/ 3170 w 98203"/>
                        <a:gd name="connsiteY195" fmla="*/ 76733 h 78706"/>
                        <a:gd name="connsiteX196" fmla="*/ 2990 w 98203"/>
                        <a:gd name="connsiteY196" fmla="*/ 77032 h 78706"/>
                        <a:gd name="connsiteX197" fmla="*/ 3828 w 98203"/>
                        <a:gd name="connsiteY197" fmla="*/ 78706 h 7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98203" h="78706">
                          <a:moveTo>
                            <a:pt x="89352" y="4964"/>
                          </a:moveTo>
                          <a:lnTo>
                            <a:pt x="91565" y="3289"/>
                          </a:lnTo>
                          <a:cubicBezTo>
                            <a:pt x="91744" y="2990"/>
                            <a:pt x="91864" y="2691"/>
                            <a:pt x="92043" y="2452"/>
                          </a:cubicBezTo>
                          <a:cubicBezTo>
                            <a:pt x="92223" y="2213"/>
                            <a:pt x="92462" y="1914"/>
                            <a:pt x="92641" y="1674"/>
                          </a:cubicBezTo>
                          <a:cubicBezTo>
                            <a:pt x="92880" y="1435"/>
                            <a:pt x="93120" y="1196"/>
                            <a:pt x="93359" y="957"/>
                          </a:cubicBezTo>
                          <a:cubicBezTo>
                            <a:pt x="93598" y="718"/>
                            <a:pt x="93897" y="538"/>
                            <a:pt x="94196" y="359"/>
                          </a:cubicBezTo>
                          <a:cubicBezTo>
                            <a:pt x="94256" y="299"/>
                            <a:pt x="94316" y="299"/>
                            <a:pt x="94316" y="299"/>
                          </a:cubicBezTo>
                          <a:cubicBezTo>
                            <a:pt x="94376" y="299"/>
                            <a:pt x="94435" y="239"/>
                            <a:pt x="94435" y="239"/>
                          </a:cubicBezTo>
                          <a:cubicBezTo>
                            <a:pt x="94495" y="239"/>
                            <a:pt x="94555" y="179"/>
                            <a:pt x="94555" y="179"/>
                          </a:cubicBezTo>
                          <a:cubicBezTo>
                            <a:pt x="94615" y="179"/>
                            <a:pt x="94675" y="120"/>
                            <a:pt x="94675" y="120"/>
                          </a:cubicBezTo>
                          <a:lnTo>
                            <a:pt x="94615" y="0"/>
                          </a:lnTo>
                          <a:lnTo>
                            <a:pt x="93778" y="598"/>
                          </a:lnTo>
                          <a:lnTo>
                            <a:pt x="89651" y="3708"/>
                          </a:lnTo>
                          <a:cubicBezTo>
                            <a:pt x="89651" y="3708"/>
                            <a:pt x="89651" y="3708"/>
                            <a:pt x="89651" y="3708"/>
                          </a:cubicBezTo>
                          <a:cubicBezTo>
                            <a:pt x="89651" y="3708"/>
                            <a:pt x="89651" y="3708"/>
                            <a:pt x="89651" y="3708"/>
                          </a:cubicBezTo>
                          <a:cubicBezTo>
                            <a:pt x="89651" y="3708"/>
                            <a:pt x="89651" y="3708"/>
                            <a:pt x="89651" y="3708"/>
                          </a:cubicBezTo>
                          <a:cubicBezTo>
                            <a:pt x="89651" y="3708"/>
                            <a:pt x="89651" y="3708"/>
                            <a:pt x="89651" y="3708"/>
                          </a:cubicBezTo>
                          <a:cubicBezTo>
                            <a:pt x="89591" y="3828"/>
                            <a:pt x="89591" y="3947"/>
                            <a:pt x="89531" y="4067"/>
                          </a:cubicBezTo>
                          <a:cubicBezTo>
                            <a:pt x="89471" y="4187"/>
                            <a:pt x="89471" y="4306"/>
                            <a:pt x="89412" y="4426"/>
                          </a:cubicBezTo>
                          <a:cubicBezTo>
                            <a:pt x="89352" y="4545"/>
                            <a:pt x="89352" y="4665"/>
                            <a:pt x="89292" y="4785"/>
                          </a:cubicBezTo>
                          <a:cubicBezTo>
                            <a:pt x="89232" y="4904"/>
                            <a:pt x="89352" y="4844"/>
                            <a:pt x="89352" y="4964"/>
                          </a:cubicBezTo>
                          <a:moveTo>
                            <a:pt x="93897" y="9450"/>
                          </a:moveTo>
                          <a:cubicBezTo>
                            <a:pt x="94017" y="9509"/>
                            <a:pt x="94077" y="9509"/>
                            <a:pt x="94196" y="9509"/>
                          </a:cubicBezTo>
                          <a:cubicBezTo>
                            <a:pt x="94316" y="9509"/>
                            <a:pt x="94376" y="9569"/>
                            <a:pt x="94495" y="9569"/>
                          </a:cubicBezTo>
                          <a:cubicBezTo>
                            <a:pt x="94615" y="9569"/>
                            <a:pt x="94675" y="9569"/>
                            <a:pt x="94794" y="9629"/>
                          </a:cubicBezTo>
                          <a:cubicBezTo>
                            <a:pt x="94914" y="9629"/>
                            <a:pt x="94974" y="9629"/>
                            <a:pt x="95093" y="9629"/>
                          </a:cubicBezTo>
                          <a:lnTo>
                            <a:pt x="97366" y="7895"/>
                          </a:lnTo>
                          <a:lnTo>
                            <a:pt x="98203" y="7296"/>
                          </a:lnTo>
                          <a:lnTo>
                            <a:pt x="95273" y="957"/>
                          </a:lnTo>
                          <a:cubicBezTo>
                            <a:pt x="95213" y="957"/>
                            <a:pt x="95153" y="1017"/>
                            <a:pt x="95093" y="1017"/>
                          </a:cubicBezTo>
                          <a:cubicBezTo>
                            <a:pt x="95034" y="1017"/>
                            <a:pt x="94974" y="1076"/>
                            <a:pt x="94914" y="1076"/>
                          </a:cubicBezTo>
                          <a:cubicBezTo>
                            <a:pt x="94854" y="1136"/>
                            <a:pt x="94794" y="1136"/>
                            <a:pt x="94734" y="1196"/>
                          </a:cubicBezTo>
                          <a:cubicBezTo>
                            <a:pt x="94675" y="1256"/>
                            <a:pt x="94615" y="1256"/>
                            <a:pt x="94555" y="1316"/>
                          </a:cubicBezTo>
                          <a:cubicBezTo>
                            <a:pt x="94555" y="1316"/>
                            <a:pt x="94495" y="1316"/>
                            <a:pt x="94495" y="1375"/>
                          </a:cubicBezTo>
                          <a:cubicBezTo>
                            <a:pt x="94495" y="1375"/>
                            <a:pt x="94435" y="1375"/>
                            <a:pt x="94435" y="1435"/>
                          </a:cubicBezTo>
                          <a:cubicBezTo>
                            <a:pt x="94435" y="1435"/>
                            <a:pt x="94376" y="1435"/>
                            <a:pt x="94376" y="1495"/>
                          </a:cubicBezTo>
                          <a:cubicBezTo>
                            <a:pt x="94376" y="1495"/>
                            <a:pt x="94316" y="1495"/>
                            <a:pt x="94316" y="1555"/>
                          </a:cubicBezTo>
                          <a:lnTo>
                            <a:pt x="96888" y="7237"/>
                          </a:lnTo>
                          <a:lnTo>
                            <a:pt x="93897" y="9450"/>
                          </a:lnTo>
                          <a:moveTo>
                            <a:pt x="91086" y="11603"/>
                          </a:moveTo>
                          <a:cubicBezTo>
                            <a:pt x="91146" y="11662"/>
                            <a:pt x="91206" y="11722"/>
                            <a:pt x="91266" y="11722"/>
                          </a:cubicBezTo>
                          <a:cubicBezTo>
                            <a:pt x="91325" y="11722"/>
                            <a:pt x="91385" y="11842"/>
                            <a:pt x="91445" y="11842"/>
                          </a:cubicBezTo>
                          <a:cubicBezTo>
                            <a:pt x="91505" y="11902"/>
                            <a:pt x="91565" y="11902"/>
                            <a:pt x="91625" y="11961"/>
                          </a:cubicBezTo>
                          <a:cubicBezTo>
                            <a:pt x="91684" y="12021"/>
                            <a:pt x="91744" y="12021"/>
                            <a:pt x="91804" y="12081"/>
                          </a:cubicBezTo>
                          <a:lnTo>
                            <a:pt x="93598" y="10705"/>
                          </a:lnTo>
                          <a:cubicBezTo>
                            <a:pt x="93539" y="10705"/>
                            <a:pt x="93419" y="10645"/>
                            <a:pt x="93359" y="10645"/>
                          </a:cubicBezTo>
                          <a:cubicBezTo>
                            <a:pt x="93299" y="10645"/>
                            <a:pt x="93179" y="10586"/>
                            <a:pt x="93120" y="10586"/>
                          </a:cubicBezTo>
                          <a:cubicBezTo>
                            <a:pt x="93060" y="10586"/>
                            <a:pt x="92940" y="10526"/>
                            <a:pt x="92880" y="10466"/>
                          </a:cubicBezTo>
                          <a:cubicBezTo>
                            <a:pt x="92821" y="10406"/>
                            <a:pt x="92761" y="10406"/>
                            <a:pt x="92641" y="10347"/>
                          </a:cubicBezTo>
                          <a:lnTo>
                            <a:pt x="91086" y="11603"/>
                          </a:lnTo>
                          <a:moveTo>
                            <a:pt x="80919" y="11304"/>
                          </a:moveTo>
                          <a:lnTo>
                            <a:pt x="88036" y="5921"/>
                          </a:lnTo>
                          <a:cubicBezTo>
                            <a:pt x="88036" y="5801"/>
                            <a:pt x="88096" y="5682"/>
                            <a:pt x="88096" y="5622"/>
                          </a:cubicBezTo>
                          <a:cubicBezTo>
                            <a:pt x="88096" y="5562"/>
                            <a:pt x="88156" y="5383"/>
                            <a:pt x="88156" y="5323"/>
                          </a:cubicBezTo>
                          <a:cubicBezTo>
                            <a:pt x="88156" y="5263"/>
                            <a:pt x="88216" y="5083"/>
                            <a:pt x="88216" y="5024"/>
                          </a:cubicBezTo>
                          <a:cubicBezTo>
                            <a:pt x="88216" y="4964"/>
                            <a:pt x="88276" y="4785"/>
                            <a:pt x="88276" y="4725"/>
                          </a:cubicBezTo>
                          <a:lnTo>
                            <a:pt x="80800" y="10406"/>
                          </a:lnTo>
                          <a:cubicBezTo>
                            <a:pt x="80800" y="10466"/>
                            <a:pt x="80800" y="10586"/>
                            <a:pt x="80800" y="10645"/>
                          </a:cubicBezTo>
                          <a:cubicBezTo>
                            <a:pt x="80800" y="10705"/>
                            <a:pt x="80800" y="10825"/>
                            <a:pt x="80800" y="10885"/>
                          </a:cubicBezTo>
                          <a:cubicBezTo>
                            <a:pt x="80800" y="10945"/>
                            <a:pt x="80800" y="11064"/>
                            <a:pt x="80800" y="11124"/>
                          </a:cubicBezTo>
                          <a:cubicBezTo>
                            <a:pt x="80800" y="11184"/>
                            <a:pt x="80919" y="11244"/>
                            <a:pt x="80919" y="11304"/>
                          </a:cubicBezTo>
                          <a:moveTo>
                            <a:pt x="83849" y="18181"/>
                          </a:moveTo>
                          <a:lnTo>
                            <a:pt x="90668" y="13038"/>
                          </a:lnTo>
                          <a:cubicBezTo>
                            <a:pt x="90608" y="12978"/>
                            <a:pt x="90548" y="12978"/>
                            <a:pt x="90548" y="12918"/>
                          </a:cubicBezTo>
                          <a:cubicBezTo>
                            <a:pt x="90488" y="12859"/>
                            <a:pt x="90428" y="12859"/>
                            <a:pt x="90428" y="12799"/>
                          </a:cubicBezTo>
                          <a:cubicBezTo>
                            <a:pt x="90428" y="12739"/>
                            <a:pt x="90309" y="12739"/>
                            <a:pt x="90309" y="12679"/>
                          </a:cubicBezTo>
                          <a:cubicBezTo>
                            <a:pt x="90309" y="12619"/>
                            <a:pt x="90189" y="12619"/>
                            <a:pt x="90189" y="12559"/>
                          </a:cubicBezTo>
                          <a:cubicBezTo>
                            <a:pt x="90189" y="12559"/>
                            <a:pt x="90189" y="12559"/>
                            <a:pt x="90189" y="12559"/>
                          </a:cubicBezTo>
                          <a:cubicBezTo>
                            <a:pt x="90189" y="12559"/>
                            <a:pt x="90189" y="12559"/>
                            <a:pt x="90189" y="12559"/>
                          </a:cubicBezTo>
                          <a:cubicBezTo>
                            <a:pt x="90189" y="12559"/>
                            <a:pt x="90189" y="12559"/>
                            <a:pt x="90189" y="12559"/>
                          </a:cubicBezTo>
                          <a:cubicBezTo>
                            <a:pt x="90189" y="12559"/>
                            <a:pt x="90189" y="12559"/>
                            <a:pt x="90189" y="12559"/>
                          </a:cubicBezTo>
                          <a:lnTo>
                            <a:pt x="83551" y="17583"/>
                          </a:lnTo>
                          <a:cubicBezTo>
                            <a:pt x="83610" y="17643"/>
                            <a:pt x="83610" y="17703"/>
                            <a:pt x="83670" y="17763"/>
                          </a:cubicBezTo>
                          <a:cubicBezTo>
                            <a:pt x="83730" y="17822"/>
                            <a:pt x="83730" y="17882"/>
                            <a:pt x="83790" y="17942"/>
                          </a:cubicBezTo>
                          <a:cubicBezTo>
                            <a:pt x="83849" y="18002"/>
                            <a:pt x="83909" y="18062"/>
                            <a:pt x="83909" y="18121"/>
                          </a:cubicBezTo>
                          <a:cubicBezTo>
                            <a:pt x="83909" y="18181"/>
                            <a:pt x="83790" y="18121"/>
                            <a:pt x="83849" y="18181"/>
                          </a:cubicBezTo>
                          <a:moveTo>
                            <a:pt x="77988" y="13516"/>
                          </a:moveTo>
                          <a:lnTo>
                            <a:pt x="79843" y="12081"/>
                          </a:lnTo>
                          <a:cubicBezTo>
                            <a:pt x="79843" y="12021"/>
                            <a:pt x="79843" y="11902"/>
                            <a:pt x="79783" y="11842"/>
                          </a:cubicBezTo>
                          <a:cubicBezTo>
                            <a:pt x="79783" y="11782"/>
                            <a:pt x="79783" y="11662"/>
                            <a:pt x="79723" y="11603"/>
                          </a:cubicBezTo>
                          <a:cubicBezTo>
                            <a:pt x="79723" y="11543"/>
                            <a:pt x="79723" y="11423"/>
                            <a:pt x="79723" y="11364"/>
                          </a:cubicBezTo>
                          <a:cubicBezTo>
                            <a:pt x="79723" y="11304"/>
                            <a:pt x="79723" y="11184"/>
                            <a:pt x="79723" y="11124"/>
                          </a:cubicBezTo>
                          <a:lnTo>
                            <a:pt x="77809" y="12559"/>
                          </a:lnTo>
                          <a:cubicBezTo>
                            <a:pt x="77809" y="12619"/>
                            <a:pt x="77809" y="12739"/>
                            <a:pt x="77869" y="12799"/>
                          </a:cubicBezTo>
                          <a:cubicBezTo>
                            <a:pt x="77869" y="12859"/>
                            <a:pt x="77869" y="12978"/>
                            <a:pt x="77929" y="13038"/>
                          </a:cubicBezTo>
                          <a:cubicBezTo>
                            <a:pt x="77988" y="13098"/>
                            <a:pt x="77929" y="13218"/>
                            <a:pt x="77988" y="13277"/>
                          </a:cubicBezTo>
                          <a:cubicBezTo>
                            <a:pt x="77929" y="13397"/>
                            <a:pt x="77988" y="13457"/>
                            <a:pt x="77988" y="13516"/>
                          </a:cubicBezTo>
                          <a:moveTo>
                            <a:pt x="80919" y="20335"/>
                          </a:moveTo>
                          <a:lnTo>
                            <a:pt x="82773" y="18959"/>
                          </a:lnTo>
                          <a:cubicBezTo>
                            <a:pt x="82713" y="18899"/>
                            <a:pt x="82654" y="18839"/>
                            <a:pt x="82654" y="18780"/>
                          </a:cubicBezTo>
                          <a:cubicBezTo>
                            <a:pt x="82594" y="18720"/>
                            <a:pt x="82594" y="18660"/>
                            <a:pt x="82534" y="18600"/>
                          </a:cubicBezTo>
                          <a:cubicBezTo>
                            <a:pt x="82474" y="18540"/>
                            <a:pt x="82474" y="18480"/>
                            <a:pt x="82414" y="18421"/>
                          </a:cubicBezTo>
                          <a:cubicBezTo>
                            <a:pt x="82354" y="18361"/>
                            <a:pt x="82354" y="18301"/>
                            <a:pt x="82295" y="18241"/>
                          </a:cubicBezTo>
                          <a:lnTo>
                            <a:pt x="80441" y="19617"/>
                          </a:lnTo>
                          <a:cubicBezTo>
                            <a:pt x="80500" y="19676"/>
                            <a:pt x="80500" y="19736"/>
                            <a:pt x="80560" y="19796"/>
                          </a:cubicBezTo>
                          <a:cubicBezTo>
                            <a:pt x="80620" y="19856"/>
                            <a:pt x="80620" y="19916"/>
                            <a:pt x="80680" y="19975"/>
                          </a:cubicBezTo>
                          <a:cubicBezTo>
                            <a:pt x="80740" y="20035"/>
                            <a:pt x="80740" y="20095"/>
                            <a:pt x="80800" y="20155"/>
                          </a:cubicBezTo>
                          <a:cubicBezTo>
                            <a:pt x="80859" y="20215"/>
                            <a:pt x="80859" y="20275"/>
                            <a:pt x="80919" y="20335"/>
                          </a:cubicBezTo>
                          <a:moveTo>
                            <a:pt x="5741" y="68121"/>
                          </a:moveTo>
                          <a:lnTo>
                            <a:pt x="77092" y="14234"/>
                          </a:lnTo>
                          <a:cubicBezTo>
                            <a:pt x="77092" y="14174"/>
                            <a:pt x="77032" y="14055"/>
                            <a:pt x="77032" y="13995"/>
                          </a:cubicBezTo>
                          <a:cubicBezTo>
                            <a:pt x="77032" y="13935"/>
                            <a:pt x="77032" y="13815"/>
                            <a:pt x="76972" y="13756"/>
                          </a:cubicBezTo>
                          <a:cubicBezTo>
                            <a:pt x="76972" y="13696"/>
                            <a:pt x="76972" y="13576"/>
                            <a:pt x="76912" y="13516"/>
                          </a:cubicBezTo>
                          <a:cubicBezTo>
                            <a:pt x="76912" y="13457"/>
                            <a:pt x="76912" y="13337"/>
                            <a:pt x="76852" y="13277"/>
                          </a:cubicBezTo>
                          <a:lnTo>
                            <a:pt x="4964" y="67582"/>
                          </a:lnTo>
                          <a:cubicBezTo>
                            <a:pt x="4964" y="67582"/>
                            <a:pt x="4964" y="67582"/>
                            <a:pt x="5024" y="67642"/>
                          </a:cubicBezTo>
                          <a:cubicBezTo>
                            <a:pt x="5083" y="67702"/>
                            <a:pt x="5024" y="67642"/>
                            <a:pt x="5083" y="67702"/>
                          </a:cubicBezTo>
                          <a:cubicBezTo>
                            <a:pt x="5083" y="67702"/>
                            <a:pt x="5083" y="67702"/>
                            <a:pt x="5143" y="67762"/>
                          </a:cubicBezTo>
                          <a:cubicBezTo>
                            <a:pt x="5203" y="67821"/>
                            <a:pt x="5143" y="67762"/>
                            <a:pt x="5203" y="67821"/>
                          </a:cubicBezTo>
                          <a:cubicBezTo>
                            <a:pt x="5263" y="67881"/>
                            <a:pt x="5263" y="67881"/>
                            <a:pt x="5323" y="67941"/>
                          </a:cubicBezTo>
                          <a:cubicBezTo>
                            <a:pt x="5382" y="68001"/>
                            <a:pt x="5382" y="68001"/>
                            <a:pt x="5442" y="68061"/>
                          </a:cubicBezTo>
                          <a:cubicBezTo>
                            <a:pt x="5502" y="68121"/>
                            <a:pt x="5502" y="68121"/>
                            <a:pt x="5562" y="68180"/>
                          </a:cubicBezTo>
                          <a:cubicBezTo>
                            <a:pt x="5682" y="68001"/>
                            <a:pt x="5682" y="68061"/>
                            <a:pt x="5741" y="68121"/>
                          </a:cubicBezTo>
                          <a:moveTo>
                            <a:pt x="9808" y="74221"/>
                          </a:moveTo>
                          <a:lnTo>
                            <a:pt x="80082" y="20992"/>
                          </a:lnTo>
                          <a:cubicBezTo>
                            <a:pt x="80022" y="20933"/>
                            <a:pt x="80022" y="20873"/>
                            <a:pt x="79962" y="20813"/>
                          </a:cubicBezTo>
                          <a:cubicBezTo>
                            <a:pt x="79902" y="20753"/>
                            <a:pt x="79902" y="20693"/>
                            <a:pt x="79843" y="20634"/>
                          </a:cubicBezTo>
                          <a:cubicBezTo>
                            <a:pt x="79783" y="20574"/>
                            <a:pt x="79783" y="20514"/>
                            <a:pt x="79723" y="20454"/>
                          </a:cubicBezTo>
                          <a:cubicBezTo>
                            <a:pt x="79663" y="20394"/>
                            <a:pt x="79663" y="20335"/>
                            <a:pt x="79603" y="20275"/>
                          </a:cubicBezTo>
                          <a:lnTo>
                            <a:pt x="9449" y="73324"/>
                          </a:lnTo>
                          <a:cubicBezTo>
                            <a:pt x="9449" y="73384"/>
                            <a:pt x="9509" y="73443"/>
                            <a:pt x="9509" y="73503"/>
                          </a:cubicBezTo>
                          <a:cubicBezTo>
                            <a:pt x="9509" y="73563"/>
                            <a:pt x="9569" y="73623"/>
                            <a:pt x="9569" y="73742"/>
                          </a:cubicBezTo>
                          <a:cubicBezTo>
                            <a:pt x="9569" y="73802"/>
                            <a:pt x="9629" y="73862"/>
                            <a:pt x="9629" y="73981"/>
                          </a:cubicBezTo>
                          <a:cubicBezTo>
                            <a:pt x="9629" y="74101"/>
                            <a:pt x="9749" y="74161"/>
                            <a:pt x="9808" y="74221"/>
                          </a:cubicBezTo>
                          <a:moveTo>
                            <a:pt x="2153" y="69735"/>
                          </a:moveTo>
                          <a:cubicBezTo>
                            <a:pt x="2213" y="69795"/>
                            <a:pt x="2273" y="69795"/>
                            <a:pt x="2333" y="69855"/>
                          </a:cubicBezTo>
                          <a:cubicBezTo>
                            <a:pt x="2392" y="69915"/>
                            <a:pt x="2452" y="69915"/>
                            <a:pt x="2512" y="69975"/>
                          </a:cubicBezTo>
                          <a:cubicBezTo>
                            <a:pt x="2572" y="70034"/>
                            <a:pt x="2632" y="70094"/>
                            <a:pt x="2691" y="70094"/>
                          </a:cubicBezTo>
                          <a:cubicBezTo>
                            <a:pt x="2751" y="70154"/>
                            <a:pt x="2811" y="70214"/>
                            <a:pt x="2871" y="70214"/>
                          </a:cubicBezTo>
                          <a:lnTo>
                            <a:pt x="4844" y="68718"/>
                          </a:lnTo>
                          <a:cubicBezTo>
                            <a:pt x="4844" y="68718"/>
                            <a:pt x="4785" y="68659"/>
                            <a:pt x="4785" y="68659"/>
                          </a:cubicBezTo>
                          <a:cubicBezTo>
                            <a:pt x="4785" y="68659"/>
                            <a:pt x="4725" y="68599"/>
                            <a:pt x="4725" y="68599"/>
                          </a:cubicBezTo>
                          <a:cubicBezTo>
                            <a:pt x="4725" y="68599"/>
                            <a:pt x="4665" y="68539"/>
                            <a:pt x="4665" y="68539"/>
                          </a:cubicBezTo>
                          <a:cubicBezTo>
                            <a:pt x="4665" y="68539"/>
                            <a:pt x="4605" y="68479"/>
                            <a:pt x="4605" y="68479"/>
                          </a:cubicBezTo>
                          <a:cubicBezTo>
                            <a:pt x="4545" y="68479"/>
                            <a:pt x="4545" y="68419"/>
                            <a:pt x="4486" y="68419"/>
                          </a:cubicBezTo>
                          <a:cubicBezTo>
                            <a:pt x="4426" y="68419"/>
                            <a:pt x="4426" y="68360"/>
                            <a:pt x="4366" y="68360"/>
                          </a:cubicBezTo>
                          <a:cubicBezTo>
                            <a:pt x="4306" y="68360"/>
                            <a:pt x="4306" y="68300"/>
                            <a:pt x="4246" y="68300"/>
                          </a:cubicBezTo>
                          <a:cubicBezTo>
                            <a:pt x="4187" y="68300"/>
                            <a:pt x="4187" y="68240"/>
                            <a:pt x="4127" y="68240"/>
                          </a:cubicBezTo>
                          <a:lnTo>
                            <a:pt x="2153" y="69735"/>
                          </a:lnTo>
                          <a:moveTo>
                            <a:pt x="7057" y="76254"/>
                          </a:moveTo>
                          <a:lnTo>
                            <a:pt x="8911" y="74879"/>
                          </a:lnTo>
                          <a:cubicBezTo>
                            <a:pt x="8911" y="74819"/>
                            <a:pt x="8851" y="74759"/>
                            <a:pt x="8851" y="74639"/>
                          </a:cubicBezTo>
                          <a:cubicBezTo>
                            <a:pt x="8851" y="74579"/>
                            <a:pt x="8791" y="74520"/>
                            <a:pt x="8791" y="74400"/>
                          </a:cubicBezTo>
                          <a:cubicBezTo>
                            <a:pt x="8791" y="74340"/>
                            <a:pt x="8732" y="74280"/>
                            <a:pt x="8732" y="74161"/>
                          </a:cubicBezTo>
                          <a:cubicBezTo>
                            <a:pt x="8732" y="74041"/>
                            <a:pt x="8672" y="74041"/>
                            <a:pt x="8672" y="73981"/>
                          </a:cubicBezTo>
                          <a:lnTo>
                            <a:pt x="6818" y="75357"/>
                          </a:lnTo>
                          <a:cubicBezTo>
                            <a:pt x="6818" y="75417"/>
                            <a:pt x="6878" y="75477"/>
                            <a:pt x="6878" y="75596"/>
                          </a:cubicBezTo>
                          <a:cubicBezTo>
                            <a:pt x="6878" y="75656"/>
                            <a:pt x="6937" y="75716"/>
                            <a:pt x="6937" y="75836"/>
                          </a:cubicBezTo>
                          <a:cubicBezTo>
                            <a:pt x="6937" y="75955"/>
                            <a:pt x="6997" y="75955"/>
                            <a:pt x="6997" y="76075"/>
                          </a:cubicBezTo>
                          <a:cubicBezTo>
                            <a:pt x="6997" y="76134"/>
                            <a:pt x="7057" y="76194"/>
                            <a:pt x="7057" y="76254"/>
                          </a:cubicBezTo>
                          <a:moveTo>
                            <a:pt x="718" y="72845"/>
                          </a:moveTo>
                          <a:cubicBezTo>
                            <a:pt x="837" y="72845"/>
                            <a:pt x="897" y="72785"/>
                            <a:pt x="1017" y="72785"/>
                          </a:cubicBezTo>
                          <a:cubicBezTo>
                            <a:pt x="1136" y="72785"/>
                            <a:pt x="1196" y="72785"/>
                            <a:pt x="1316" y="72785"/>
                          </a:cubicBezTo>
                          <a:cubicBezTo>
                            <a:pt x="1435" y="72785"/>
                            <a:pt x="1495" y="72785"/>
                            <a:pt x="1615" y="72785"/>
                          </a:cubicBezTo>
                          <a:cubicBezTo>
                            <a:pt x="1734" y="72785"/>
                            <a:pt x="1794" y="72785"/>
                            <a:pt x="1914" y="72845"/>
                          </a:cubicBezTo>
                          <a:lnTo>
                            <a:pt x="1256" y="71530"/>
                          </a:lnTo>
                          <a:lnTo>
                            <a:pt x="1794" y="71111"/>
                          </a:lnTo>
                          <a:cubicBezTo>
                            <a:pt x="1734" y="71051"/>
                            <a:pt x="1674" y="70991"/>
                            <a:pt x="1615" y="70991"/>
                          </a:cubicBezTo>
                          <a:cubicBezTo>
                            <a:pt x="1555" y="70931"/>
                            <a:pt x="1495" y="70931"/>
                            <a:pt x="1435" y="70871"/>
                          </a:cubicBezTo>
                          <a:cubicBezTo>
                            <a:pt x="1375" y="70812"/>
                            <a:pt x="1316" y="70812"/>
                            <a:pt x="1256" y="70752"/>
                          </a:cubicBezTo>
                          <a:cubicBezTo>
                            <a:pt x="1196" y="70692"/>
                            <a:pt x="1136" y="70692"/>
                            <a:pt x="1076" y="70632"/>
                          </a:cubicBezTo>
                          <a:lnTo>
                            <a:pt x="837" y="70812"/>
                          </a:lnTo>
                          <a:lnTo>
                            <a:pt x="0" y="71470"/>
                          </a:lnTo>
                          <a:lnTo>
                            <a:pt x="718" y="72845"/>
                          </a:lnTo>
                          <a:moveTo>
                            <a:pt x="2512" y="76254"/>
                          </a:moveTo>
                          <a:cubicBezTo>
                            <a:pt x="2512" y="76194"/>
                            <a:pt x="2572" y="76134"/>
                            <a:pt x="2572" y="76134"/>
                          </a:cubicBezTo>
                          <a:cubicBezTo>
                            <a:pt x="2572" y="76075"/>
                            <a:pt x="2572" y="76015"/>
                            <a:pt x="2632" y="76015"/>
                          </a:cubicBezTo>
                          <a:cubicBezTo>
                            <a:pt x="2632" y="75955"/>
                            <a:pt x="2632" y="75895"/>
                            <a:pt x="2691" y="75895"/>
                          </a:cubicBezTo>
                          <a:cubicBezTo>
                            <a:pt x="2691" y="75836"/>
                            <a:pt x="2691" y="75776"/>
                            <a:pt x="2691" y="75776"/>
                          </a:cubicBezTo>
                          <a:cubicBezTo>
                            <a:pt x="2691" y="75656"/>
                            <a:pt x="2691" y="75477"/>
                            <a:pt x="2691" y="75357"/>
                          </a:cubicBezTo>
                          <a:cubicBezTo>
                            <a:pt x="2691" y="75238"/>
                            <a:pt x="2691" y="75118"/>
                            <a:pt x="2632" y="74998"/>
                          </a:cubicBezTo>
                          <a:cubicBezTo>
                            <a:pt x="2632" y="74879"/>
                            <a:pt x="2572" y="74759"/>
                            <a:pt x="2512" y="74639"/>
                          </a:cubicBezTo>
                          <a:cubicBezTo>
                            <a:pt x="2452" y="74520"/>
                            <a:pt x="2392" y="74460"/>
                            <a:pt x="2333" y="74340"/>
                          </a:cubicBezTo>
                          <a:cubicBezTo>
                            <a:pt x="2333" y="74340"/>
                            <a:pt x="2333" y="74340"/>
                            <a:pt x="2273" y="74280"/>
                          </a:cubicBezTo>
                          <a:cubicBezTo>
                            <a:pt x="2273" y="74280"/>
                            <a:pt x="2273" y="74280"/>
                            <a:pt x="2213" y="74221"/>
                          </a:cubicBezTo>
                          <a:cubicBezTo>
                            <a:pt x="2213" y="74221"/>
                            <a:pt x="2213" y="74221"/>
                            <a:pt x="2153" y="74161"/>
                          </a:cubicBezTo>
                          <a:cubicBezTo>
                            <a:pt x="2153" y="74161"/>
                            <a:pt x="2153" y="74161"/>
                            <a:pt x="2093" y="74101"/>
                          </a:cubicBezTo>
                          <a:cubicBezTo>
                            <a:pt x="2033" y="74041"/>
                            <a:pt x="1973" y="73981"/>
                            <a:pt x="1854" y="73981"/>
                          </a:cubicBezTo>
                          <a:cubicBezTo>
                            <a:pt x="1794" y="73922"/>
                            <a:pt x="1674" y="73922"/>
                            <a:pt x="1615" y="73862"/>
                          </a:cubicBezTo>
                          <a:cubicBezTo>
                            <a:pt x="1555" y="73862"/>
                            <a:pt x="1435" y="73802"/>
                            <a:pt x="1375" y="73802"/>
                          </a:cubicBezTo>
                          <a:cubicBezTo>
                            <a:pt x="1316" y="73802"/>
                            <a:pt x="1196" y="73802"/>
                            <a:pt x="1136" y="73802"/>
                          </a:cubicBezTo>
                          <a:lnTo>
                            <a:pt x="2512" y="76254"/>
                          </a:lnTo>
                          <a:moveTo>
                            <a:pt x="3828" y="78706"/>
                          </a:moveTo>
                          <a:lnTo>
                            <a:pt x="3828" y="78706"/>
                          </a:lnTo>
                          <a:lnTo>
                            <a:pt x="4665" y="78048"/>
                          </a:lnTo>
                          <a:lnTo>
                            <a:pt x="5981" y="77032"/>
                          </a:lnTo>
                          <a:cubicBezTo>
                            <a:pt x="5981" y="76972"/>
                            <a:pt x="5921" y="76912"/>
                            <a:pt x="5921" y="76792"/>
                          </a:cubicBezTo>
                          <a:cubicBezTo>
                            <a:pt x="5921" y="76733"/>
                            <a:pt x="5861" y="76673"/>
                            <a:pt x="5861" y="76553"/>
                          </a:cubicBezTo>
                          <a:cubicBezTo>
                            <a:pt x="5861" y="76493"/>
                            <a:pt x="5801" y="76433"/>
                            <a:pt x="5801" y="76314"/>
                          </a:cubicBezTo>
                          <a:cubicBezTo>
                            <a:pt x="5801" y="76254"/>
                            <a:pt x="5741" y="76194"/>
                            <a:pt x="5741" y="76075"/>
                          </a:cubicBezTo>
                          <a:lnTo>
                            <a:pt x="4306" y="77151"/>
                          </a:lnTo>
                          <a:lnTo>
                            <a:pt x="4306" y="77151"/>
                          </a:lnTo>
                          <a:lnTo>
                            <a:pt x="3588" y="75836"/>
                          </a:lnTo>
                          <a:cubicBezTo>
                            <a:pt x="3588" y="75955"/>
                            <a:pt x="3528" y="76075"/>
                            <a:pt x="3469" y="76134"/>
                          </a:cubicBezTo>
                          <a:cubicBezTo>
                            <a:pt x="3409" y="76194"/>
                            <a:pt x="3409" y="76314"/>
                            <a:pt x="3349" y="76433"/>
                          </a:cubicBezTo>
                          <a:cubicBezTo>
                            <a:pt x="3289" y="76553"/>
                            <a:pt x="3229" y="76613"/>
                            <a:pt x="3170" y="76733"/>
                          </a:cubicBezTo>
                          <a:cubicBezTo>
                            <a:pt x="3110" y="76852"/>
                            <a:pt x="3050" y="76912"/>
                            <a:pt x="2990" y="77032"/>
                          </a:cubicBezTo>
                          <a:lnTo>
                            <a:pt x="3828" y="78706"/>
                          </a:lnTo>
                        </a:path>
                      </a:pathLst>
                    </a:custGeom>
                    <a:noFill/>
                    <a:ln w="6350" cap="flat">
                      <a:solidFill>
                        <a:schemeClr val="bg1">
                          <a:alpha val="80000"/>
                        </a:schemeClr>
                      </a:solidFill>
                      <a:prstDash val="solid"/>
                      <a:miter/>
                    </a:ln>
                  </p:spPr>
                  <p:txBody>
                    <a:bodyPr rtlCol="0" anchor="ctr"/>
                    <a:lstStyle/>
                    <a:p>
                      <a:endParaRPr lang="en-GB"/>
                    </a:p>
                  </p:txBody>
                </p:sp>
                <p:sp>
                  <p:nvSpPr>
                    <p:cNvPr id="7494" name="Vrije vorm: vorm 7493">
                      <a:extLst>
                        <a:ext uri="{FF2B5EF4-FFF2-40B4-BE49-F238E27FC236}">
                          <a16:creationId xmlns:a16="http://schemas.microsoft.com/office/drawing/2014/main" id="{41FBD252-FD43-4A88-B561-100F486F8F27}"/>
                        </a:ext>
                      </a:extLst>
                    </p:cNvPr>
                    <p:cNvSpPr/>
                    <p:nvPr/>
                  </p:nvSpPr>
                  <p:spPr>
                    <a:xfrm>
                      <a:off x="5304920" y="5115222"/>
                      <a:ext cx="37837" cy="42711"/>
                    </a:xfrm>
                    <a:custGeom>
                      <a:avLst/>
                      <a:gdLst>
                        <a:gd name="connsiteX0" fmla="*/ 9629 w 37837"/>
                        <a:gd name="connsiteY0" fmla="*/ 40977 h 42711"/>
                        <a:gd name="connsiteX1" fmla="*/ 8433 w 37837"/>
                        <a:gd name="connsiteY1" fmla="*/ 40498 h 42711"/>
                        <a:gd name="connsiteX2" fmla="*/ 7297 w 37837"/>
                        <a:gd name="connsiteY2" fmla="*/ 39901 h 42711"/>
                        <a:gd name="connsiteX3" fmla="*/ 6280 w 37837"/>
                        <a:gd name="connsiteY3" fmla="*/ 39243 h 42711"/>
                        <a:gd name="connsiteX4" fmla="*/ 5323 w 37837"/>
                        <a:gd name="connsiteY4" fmla="*/ 38465 h 42711"/>
                        <a:gd name="connsiteX5" fmla="*/ 4904 w 37837"/>
                        <a:gd name="connsiteY5" fmla="*/ 38047 h 42711"/>
                        <a:gd name="connsiteX6" fmla="*/ 4486 w 37837"/>
                        <a:gd name="connsiteY6" fmla="*/ 37628 h 42711"/>
                        <a:gd name="connsiteX7" fmla="*/ 4127 w 37837"/>
                        <a:gd name="connsiteY7" fmla="*/ 37209 h 42711"/>
                        <a:gd name="connsiteX8" fmla="*/ 3768 w 37837"/>
                        <a:gd name="connsiteY8" fmla="*/ 36731 h 42711"/>
                        <a:gd name="connsiteX9" fmla="*/ 3648 w 37837"/>
                        <a:gd name="connsiteY9" fmla="*/ 36551 h 42711"/>
                        <a:gd name="connsiteX10" fmla="*/ 3529 w 37837"/>
                        <a:gd name="connsiteY10" fmla="*/ 36372 h 42711"/>
                        <a:gd name="connsiteX11" fmla="*/ 3409 w 37837"/>
                        <a:gd name="connsiteY11" fmla="*/ 36193 h 42711"/>
                        <a:gd name="connsiteX12" fmla="*/ 3289 w 37837"/>
                        <a:gd name="connsiteY12" fmla="*/ 36013 h 42711"/>
                        <a:gd name="connsiteX13" fmla="*/ 2811 w 37837"/>
                        <a:gd name="connsiteY13" fmla="*/ 35236 h 42711"/>
                        <a:gd name="connsiteX14" fmla="*/ 2333 w 37837"/>
                        <a:gd name="connsiteY14" fmla="*/ 34398 h 42711"/>
                        <a:gd name="connsiteX15" fmla="*/ 1914 w 37837"/>
                        <a:gd name="connsiteY15" fmla="*/ 33561 h 42711"/>
                        <a:gd name="connsiteX16" fmla="*/ 1555 w 37837"/>
                        <a:gd name="connsiteY16" fmla="*/ 32664 h 42711"/>
                        <a:gd name="connsiteX17" fmla="*/ 1316 w 37837"/>
                        <a:gd name="connsiteY17" fmla="*/ 32006 h 42711"/>
                        <a:gd name="connsiteX18" fmla="*/ 1136 w 37837"/>
                        <a:gd name="connsiteY18" fmla="*/ 31348 h 42711"/>
                        <a:gd name="connsiteX19" fmla="*/ 957 w 37837"/>
                        <a:gd name="connsiteY19" fmla="*/ 30631 h 42711"/>
                        <a:gd name="connsiteX20" fmla="*/ 837 w 37837"/>
                        <a:gd name="connsiteY20" fmla="*/ 29913 h 42711"/>
                        <a:gd name="connsiteX21" fmla="*/ 778 w 37837"/>
                        <a:gd name="connsiteY21" fmla="*/ 29673 h 42711"/>
                        <a:gd name="connsiteX22" fmla="*/ 718 w 37837"/>
                        <a:gd name="connsiteY22" fmla="*/ 29434 h 42711"/>
                        <a:gd name="connsiteX23" fmla="*/ 658 w 37837"/>
                        <a:gd name="connsiteY23" fmla="*/ 29195 h 42711"/>
                        <a:gd name="connsiteX24" fmla="*/ 598 w 37837"/>
                        <a:gd name="connsiteY24" fmla="*/ 28956 h 42711"/>
                        <a:gd name="connsiteX25" fmla="*/ 479 w 37837"/>
                        <a:gd name="connsiteY25" fmla="*/ 27461 h 42711"/>
                        <a:gd name="connsiteX26" fmla="*/ 419 w 37837"/>
                        <a:gd name="connsiteY26" fmla="*/ 25965 h 42711"/>
                        <a:gd name="connsiteX27" fmla="*/ 479 w 37837"/>
                        <a:gd name="connsiteY27" fmla="*/ 24410 h 42711"/>
                        <a:gd name="connsiteX28" fmla="*/ 658 w 37837"/>
                        <a:gd name="connsiteY28" fmla="*/ 22856 h 42711"/>
                        <a:gd name="connsiteX29" fmla="*/ 718 w 37837"/>
                        <a:gd name="connsiteY29" fmla="*/ 22556 h 42711"/>
                        <a:gd name="connsiteX30" fmla="*/ 778 w 37837"/>
                        <a:gd name="connsiteY30" fmla="*/ 22257 h 42711"/>
                        <a:gd name="connsiteX31" fmla="*/ 837 w 37837"/>
                        <a:gd name="connsiteY31" fmla="*/ 21958 h 42711"/>
                        <a:gd name="connsiteX32" fmla="*/ 897 w 37837"/>
                        <a:gd name="connsiteY32" fmla="*/ 21659 h 42711"/>
                        <a:gd name="connsiteX33" fmla="*/ 1136 w 37837"/>
                        <a:gd name="connsiteY33" fmla="*/ 20583 h 42711"/>
                        <a:gd name="connsiteX34" fmla="*/ 1435 w 37837"/>
                        <a:gd name="connsiteY34" fmla="*/ 19506 h 42711"/>
                        <a:gd name="connsiteX35" fmla="*/ 1794 w 37837"/>
                        <a:gd name="connsiteY35" fmla="*/ 18430 h 42711"/>
                        <a:gd name="connsiteX36" fmla="*/ 2213 w 37837"/>
                        <a:gd name="connsiteY36" fmla="*/ 17353 h 42711"/>
                        <a:gd name="connsiteX37" fmla="*/ 4067 w 37837"/>
                        <a:gd name="connsiteY37" fmla="*/ 13466 h 42711"/>
                        <a:gd name="connsiteX38" fmla="*/ 6459 w 37837"/>
                        <a:gd name="connsiteY38" fmla="*/ 9937 h 42711"/>
                        <a:gd name="connsiteX39" fmla="*/ 9330 w 37837"/>
                        <a:gd name="connsiteY39" fmla="*/ 6887 h 42711"/>
                        <a:gd name="connsiteX40" fmla="*/ 12619 w 37837"/>
                        <a:gd name="connsiteY40" fmla="*/ 4315 h 42711"/>
                        <a:gd name="connsiteX41" fmla="*/ 15430 w 37837"/>
                        <a:gd name="connsiteY41" fmla="*/ 2760 h 42711"/>
                        <a:gd name="connsiteX42" fmla="*/ 18241 w 37837"/>
                        <a:gd name="connsiteY42" fmla="*/ 1684 h 42711"/>
                        <a:gd name="connsiteX43" fmla="*/ 21052 w 37837"/>
                        <a:gd name="connsiteY43" fmla="*/ 1086 h 42711"/>
                        <a:gd name="connsiteX44" fmla="*/ 23804 w 37837"/>
                        <a:gd name="connsiteY44" fmla="*/ 1026 h 42711"/>
                        <a:gd name="connsiteX45" fmla="*/ 24043 w 37837"/>
                        <a:gd name="connsiteY45" fmla="*/ 1026 h 42711"/>
                        <a:gd name="connsiteX46" fmla="*/ 24282 w 37837"/>
                        <a:gd name="connsiteY46" fmla="*/ 1026 h 42711"/>
                        <a:gd name="connsiteX47" fmla="*/ 24521 w 37837"/>
                        <a:gd name="connsiteY47" fmla="*/ 1026 h 42711"/>
                        <a:gd name="connsiteX48" fmla="*/ 24760 w 37837"/>
                        <a:gd name="connsiteY48" fmla="*/ 1026 h 42711"/>
                        <a:gd name="connsiteX49" fmla="*/ 25239 w 37837"/>
                        <a:gd name="connsiteY49" fmla="*/ 1086 h 42711"/>
                        <a:gd name="connsiteX50" fmla="*/ 25658 w 37837"/>
                        <a:gd name="connsiteY50" fmla="*/ 1146 h 42711"/>
                        <a:gd name="connsiteX51" fmla="*/ 26076 w 37837"/>
                        <a:gd name="connsiteY51" fmla="*/ 1265 h 42711"/>
                        <a:gd name="connsiteX52" fmla="*/ 26495 w 37837"/>
                        <a:gd name="connsiteY52" fmla="*/ 1385 h 42711"/>
                        <a:gd name="connsiteX53" fmla="*/ 26973 w 37837"/>
                        <a:gd name="connsiteY53" fmla="*/ 1504 h 42711"/>
                        <a:gd name="connsiteX54" fmla="*/ 27452 w 37837"/>
                        <a:gd name="connsiteY54" fmla="*/ 1684 h 42711"/>
                        <a:gd name="connsiteX55" fmla="*/ 27930 w 37837"/>
                        <a:gd name="connsiteY55" fmla="*/ 1863 h 42711"/>
                        <a:gd name="connsiteX56" fmla="*/ 28408 w 37837"/>
                        <a:gd name="connsiteY56" fmla="*/ 2043 h 42711"/>
                        <a:gd name="connsiteX57" fmla="*/ 28588 w 37837"/>
                        <a:gd name="connsiteY57" fmla="*/ 2102 h 42711"/>
                        <a:gd name="connsiteX58" fmla="*/ 28767 w 37837"/>
                        <a:gd name="connsiteY58" fmla="*/ 2222 h 42711"/>
                        <a:gd name="connsiteX59" fmla="*/ 28947 w 37837"/>
                        <a:gd name="connsiteY59" fmla="*/ 2342 h 42711"/>
                        <a:gd name="connsiteX60" fmla="*/ 29126 w 37837"/>
                        <a:gd name="connsiteY60" fmla="*/ 2461 h 42711"/>
                        <a:gd name="connsiteX61" fmla="*/ 29904 w 37837"/>
                        <a:gd name="connsiteY61" fmla="*/ 2880 h 42711"/>
                        <a:gd name="connsiteX62" fmla="*/ 30621 w 37837"/>
                        <a:gd name="connsiteY62" fmla="*/ 3358 h 42711"/>
                        <a:gd name="connsiteX63" fmla="*/ 31279 w 37837"/>
                        <a:gd name="connsiteY63" fmla="*/ 3897 h 42711"/>
                        <a:gd name="connsiteX64" fmla="*/ 31937 w 37837"/>
                        <a:gd name="connsiteY64" fmla="*/ 4435 h 42711"/>
                        <a:gd name="connsiteX65" fmla="*/ 31937 w 37837"/>
                        <a:gd name="connsiteY65" fmla="*/ 4435 h 42711"/>
                        <a:gd name="connsiteX66" fmla="*/ 31937 w 37837"/>
                        <a:gd name="connsiteY66" fmla="*/ 4435 h 42711"/>
                        <a:gd name="connsiteX67" fmla="*/ 31937 w 37837"/>
                        <a:gd name="connsiteY67" fmla="*/ 4435 h 42711"/>
                        <a:gd name="connsiteX68" fmla="*/ 31937 w 37837"/>
                        <a:gd name="connsiteY68" fmla="*/ 4435 h 42711"/>
                        <a:gd name="connsiteX69" fmla="*/ 32057 w 37837"/>
                        <a:gd name="connsiteY69" fmla="*/ 4555 h 42711"/>
                        <a:gd name="connsiteX70" fmla="*/ 32176 w 37837"/>
                        <a:gd name="connsiteY70" fmla="*/ 4674 h 42711"/>
                        <a:gd name="connsiteX71" fmla="*/ 32296 w 37837"/>
                        <a:gd name="connsiteY71" fmla="*/ 4794 h 42711"/>
                        <a:gd name="connsiteX72" fmla="*/ 32415 w 37837"/>
                        <a:gd name="connsiteY72" fmla="*/ 4913 h 42711"/>
                        <a:gd name="connsiteX73" fmla="*/ 33373 w 37837"/>
                        <a:gd name="connsiteY73" fmla="*/ 6050 h 42711"/>
                        <a:gd name="connsiteX74" fmla="*/ 34210 w 37837"/>
                        <a:gd name="connsiteY74" fmla="*/ 7306 h 42711"/>
                        <a:gd name="connsiteX75" fmla="*/ 34928 w 37837"/>
                        <a:gd name="connsiteY75" fmla="*/ 8681 h 42711"/>
                        <a:gd name="connsiteX76" fmla="*/ 35526 w 37837"/>
                        <a:gd name="connsiteY76" fmla="*/ 10177 h 42711"/>
                        <a:gd name="connsiteX77" fmla="*/ 35585 w 37837"/>
                        <a:gd name="connsiteY77" fmla="*/ 10416 h 42711"/>
                        <a:gd name="connsiteX78" fmla="*/ 35645 w 37837"/>
                        <a:gd name="connsiteY78" fmla="*/ 10655 h 42711"/>
                        <a:gd name="connsiteX79" fmla="*/ 35705 w 37837"/>
                        <a:gd name="connsiteY79" fmla="*/ 10894 h 42711"/>
                        <a:gd name="connsiteX80" fmla="*/ 35765 w 37837"/>
                        <a:gd name="connsiteY80" fmla="*/ 11193 h 42711"/>
                        <a:gd name="connsiteX81" fmla="*/ 35824 w 37837"/>
                        <a:gd name="connsiteY81" fmla="*/ 11432 h 42711"/>
                        <a:gd name="connsiteX82" fmla="*/ 35884 w 37837"/>
                        <a:gd name="connsiteY82" fmla="*/ 11672 h 42711"/>
                        <a:gd name="connsiteX83" fmla="*/ 35944 w 37837"/>
                        <a:gd name="connsiteY83" fmla="*/ 11911 h 42711"/>
                        <a:gd name="connsiteX84" fmla="*/ 36004 w 37837"/>
                        <a:gd name="connsiteY84" fmla="*/ 12150 h 42711"/>
                        <a:gd name="connsiteX85" fmla="*/ 36423 w 37837"/>
                        <a:gd name="connsiteY85" fmla="*/ 15320 h 42711"/>
                        <a:gd name="connsiteX86" fmla="*/ 36303 w 37837"/>
                        <a:gd name="connsiteY86" fmla="*/ 18609 h 42711"/>
                        <a:gd name="connsiteX87" fmla="*/ 35705 w 37837"/>
                        <a:gd name="connsiteY87" fmla="*/ 21958 h 42711"/>
                        <a:gd name="connsiteX88" fmla="*/ 34629 w 37837"/>
                        <a:gd name="connsiteY88" fmla="*/ 25367 h 42711"/>
                        <a:gd name="connsiteX89" fmla="*/ 32775 w 37837"/>
                        <a:gd name="connsiteY89" fmla="*/ 29135 h 42711"/>
                        <a:gd name="connsiteX90" fmla="*/ 30382 w 37837"/>
                        <a:gd name="connsiteY90" fmla="*/ 32604 h 42711"/>
                        <a:gd name="connsiteX91" fmla="*/ 27571 w 37837"/>
                        <a:gd name="connsiteY91" fmla="*/ 35595 h 42711"/>
                        <a:gd name="connsiteX92" fmla="*/ 24342 w 37837"/>
                        <a:gd name="connsiteY92" fmla="*/ 38106 h 42711"/>
                        <a:gd name="connsiteX93" fmla="*/ 20873 w 37837"/>
                        <a:gd name="connsiteY93" fmla="*/ 39960 h 42711"/>
                        <a:gd name="connsiteX94" fmla="*/ 17344 w 37837"/>
                        <a:gd name="connsiteY94" fmla="*/ 41097 h 42711"/>
                        <a:gd name="connsiteX95" fmla="*/ 13875 w 37837"/>
                        <a:gd name="connsiteY95" fmla="*/ 41456 h 42711"/>
                        <a:gd name="connsiteX96" fmla="*/ 10526 w 37837"/>
                        <a:gd name="connsiteY96" fmla="*/ 41037 h 42711"/>
                        <a:gd name="connsiteX97" fmla="*/ 10466 w 37837"/>
                        <a:gd name="connsiteY97" fmla="*/ 41037 h 42711"/>
                        <a:gd name="connsiteX98" fmla="*/ 10406 w 37837"/>
                        <a:gd name="connsiteY98" fmla="*/ 41037 h 42711"/>
                        <a:gd name="connsiteX99" fmla="*/ 10347 w 37837"/>
                        <a:gd name="connsiteY99" fmla="*/ 41037 h 42711"/>
                        <a:gd name="connsiteX100" fmla="*/ 10287 w 37837"/>
                        <a:gd name="connsiteY100" fmla="*/ 41037 h 42711"/>
                        <a:gd name="connsiteX101" fmla="*/ 10048 w 37837"/>
                        <a:gd name="connsiteY101" fmla="*/ 40977 h 42711"/>
                        <a:gd name="connsiteX102" fmla="*/ 9808 w 37837"/>
                        <a:gd name="connsiteY102" fmla="*/ 40917 h 42711"/>
                        <a:gd name="connsiteX103" fmla="*/ 9569 w 37837"/>
                        <a:gd name="connsiteY103" fmla="*/ 40857 h 42711"/>
                        <a:gd name="connsiteX104" fmla="*/ 9629 w 37837"/>
                        <a:gd name="connsiteY104" fmla="*/ 40977 h 42711"/>
                        <a:gd name="connsiteX105" fmla="*/ 4605 w 37837"/>
                        <a:gd name="connsiteY105" fmla="*/ 39303 h 42711"/>
                        <a:gd name="connsiteX106" fmla="*/ 5502 w 37837"/>
                        <a:gd name="connsiteY106" fmla="*/ 40020 h 42711"/>
                        <a:gd name="connsiteX107" fmla="*/ 6459 w 37837"/>
                        <a:gd name="connsiteY107" fmla="*/ 40678 h 42711"/>
                        <a:gd name="connsiteX108" fmla="*/ 7476 w 37837"/>
                        <a:gd name="connsiteY108" fmla="*/ 41276 h 42711"/>
                        <a:gd name="connsiteX109" fmla="*/ 8552 w 37837"/>
                        <a:gd name="connsiteY109" fmla="*/ 41755 h 42711"/>
                        <a:gd name="connsiteX110" fmla="*/ 8792 w 37837"/>
                        <a:gd name="connsiteY110" fmla="*/ 41874 h 42711"/>
                        <a:gd name="connsiteX111" fmla="*/ 9031 w 37837"/>
                        <a:gd name="connsiteY111" fmla="*/ 41934 h 42711"/>
                        <a:gd name="connsiteX112" fmla="*/ 9270 w 37837"/>
                        <a:gd name="connsiteY112" fmla="*/ 41994 h 42711"/>
                        <a:gd name="connsiteX113" fmla="*/ 9510 w 37837"/>
                        <a:gd name="connsiteY113" fmla="*/ 42054 h 42711"/>
                        <a:gd name="connsiteX114" fmla="*/ 9749 w 37837"/>
                        <a:gd name="connsiteY114" fmla="*/ 42113 h 42711"/>
                        <a:gd name="connsiteX115" fmla="*/ 9988 w 37837"/>
                        <a:gd name="connsiteY115" fmla="*/ 42173 h 42711"/>
                        <a:gd name="connsiteX116" fmla="*/ 10227 w 37837"/>
                        <a:gd name="connsiteY116" fmla="*/ 42233 h 42711"/>
                        <a:gd name="connsiteX117" fmla="*/ 10466 w 37837"/>
                        <a:gd name="connsiteY117" fmla="*/ 42293 h 42711"/>
                        <a:gd name="connsiteX118" fmla="*/ 13995 w 37837"/>
                        <a:gd name="connsiteY118" fmla="*/ 42712 h 42711"/>
                        <a:gd name="connsiteX119" fmla="*/ 17643 w 37837"/>
                        <a:gd name="connsiteY119" fmla="*/ 42293 h 42711"/>
                        <a:gd name="connsiteX120" fmla="*/ 21351 w 37837"/>
                        <a:gd name="connsiteY120" fmla="*/ 41097 h 42711"/>
                        <a:gd name="connsiteX121" fmla="*/ 24999 w 37837"/>
                        <a:gd name="connsiteY121" fmla="*/ 39123 h 42711"/>
                        <a:gd name="connsiteX122" fmla="*/ 28408 w 37837"/>
                        <a:gd name="connsiteY122" fmla="*/ 36492 h 42711"/>
                        <a:gd name="connsiteX123" fmla="*/ 31399 w 37837"/>
                        <a:gd name="connsiteY123" fmla="*/ 33322 h 42711"/>
                        <a:gd name="connsiteX124" fmla="*/ 33911 w 37837"/>
                        <a:gd name="connsiteY124" fmla="*/ 29673 h 42711"/>
                        <a:gd name="connsiteX125" fmla="*/ 35884 w 37837"/>
                        <a:gd name="connsiteY125" fmla="*/ 25666 h 42711"/>
                        <a:gd name="connsiteX126" fmla="*/ 37081 w 37837"/>
                        <a:gd name="connsiteY126" fmla="*/ 21958 h 42711"/>
                        <a:gd name="connsiteX127" fmla="*/ 37738 w 37837"/>
                        <a:gd name="connsiteY127" fmla="*/ 18310 h 42711"/>
                        <a:gd name="connsiteX128" fmla="*/ 37798 w 37837"/>
                        <a:gd name="connsiteY128" fmla="*/ 14722 h 42711"/>
                        <a:gd name="connsiteX129" fmla="*/ 37320 w 37837"/>
                        <a:gd name="connsiteY129" fmla="*/ 11313 h 42711"/>
                        <a:gd name="connsiteX130" fmla="*/ 37260 w 37837"/>
                        <a:gd name="connsiteY130" fmla="*/ 11073 h 42711"/>
                        <a:gd name="connsiteX131" fmla="*/ 37200 w 37837"/>
                        <a:gd name="connsiteY131" fmla="*/ 10834 h 42711"/>
                        <a:gd name="connsiteX132" fmla="*/ 37140 w 37837"/>
                        <a:gd name="connsiteY132" fmla="*/ 10595 h 42711"/>
                        <a:gd name="connsiteX133" fmla="*/ 37081 w 37837"/>
                        <a:gd name="connsiteY133" fmla="*/ 10356 h 42711"/>
                        <a:gd name="connsiteX134" fmla="*/ 37021 w 37837"/>
                        <a:gd name="connsiteY134" fmla="*/ 10177 h 42711"/>
                        <a:gd name="connsiteX135" fmla="*/ 36961 w 37837"/>
                        <a:gd name="connsiteY135" fmla="*/ 9997 h 42711"/>
                        <a:gd name="connsiteX136" fmla="*/ 36901 w 37837"/>
                        <a:gd name="connsiteY136" fmla="*/ 9818 h 42711"/>
                        <a:gd name="connsiteX137" fmla="*/ 36841 w 37837"/>
                        <a:gd name="connsiteY137" fmla="*/ 9638 h 42711"/>
                        <a:gd name="connsiteX138" fmla="*/ 36243 w 37837"/>
                        <a:gd name="connsiteY138" fmla="*/ 8083 h 42711"/>
                        <a:gd name="connsiteX139" fmla="*/ 35526 w 37837"/>
                        <a:gd name="connsiteY139" fmla="*/ 6648 h 42711"/>
                        <a:gd name="connsiteX140" fmla="*/ 34688 w 37837"/>
                        <a:gd name="connsiteY140" fmla="*/ 5332 h 42711"/>
                        <a:gd name="connsiteX141" fmla="*/ 33731 w 37837"/>
                        <a:gd name="connsiteY141" fmla="*/ 4136 h 42711"/>
                        <a:gd name="connsiteX142" fmla="*/ 33612 w 37837"/>
                        <a:gd name="connsiteY142" fmla="*/ 4016 h 42711"/>
                        <a:gd name="connsiteX143" fmla="*/ 33492 w 37837"/>
                        <a:gd name="connsiteY143" fmla="*/ 3897 h 42711"/>
                        <a:gd name="connsiteX144" fmla="*/ 33373 w 37837"/>
                        <a:gd name="connsiteY144" fmla="*/ 3777 h 42711"/>
                        <a:gd name="connsiteX145" fmla="*/ 33253 w 37837"/>
                        <a:gd name="connsiteY145" fmla="*/ 3657 h 42711"/>
                        <a:gd name="connsiteX146" fmla="*/ 33253 w 37837"/>
                        <a:gd name="connsiteY146" fmla="*/ 3657 h 42711"/>
                        <a:gd name="connsiteX147" fmla="*/ 33253 w 37837"/>
                        <a:gd name="connsiteY147" fmla="*/ 3657 h 42711"/>
                        <a:gd name="connsiteX148" fmla="*/ 33253 w 37837"/>
                        <a:gd name="connsiteY148" fmla="*/ 3657 h 42711"/>
                        <a:gd name="connsiteX149" fmla="*/ 33253 w 37837"/>
                        <a:gd name="connsiteY149" fmla="*/ 3657 h 42711"/>
                        <a:gd name="connsiteX150" fmla="*/ 32595 w 37837"/>
                        <a:gd name="connsiteY150" fmla="*/ 3119 h 42711"/>
                        <a:gd name="connsiteX151" fmla="*/ 31937 w 37837"/>
                        <a:gd name="connsiteY151" fmla="*/ 2581 h 42711"/>
                        <a:gd name="connsiteX152" fmla="*/ 31220 w 37837"/>
                        <a:gd name="connsiteY152" fmla="*/ 2102 h 42711"/>
                        <a:gd name="connsiteX153" fmla="*/ 30502 w 37837"/>
                        <a:gd name="connsiteY153" fmla="*/ 1684 h 42711"/>
                        <a:gd name="connsiteX154" fmla="*/ 30322 w 37837"/>
                        <a:gd name="connsiteY154" fmla="*/ 1564 h 42711"/>
                        <a:gd name="connsiteX155" fmla="*/ 30143 w 37837"/>
                        <a:gd name="connsiteY155" fmla="*/ 1445 h 42711"/>
                        <a:gd name="connsiteX156" fmla="*/ 29963 w 37837"/>
                        <a:gd name="connsiteY156" fmla="*/ 1325 h 42711"/>
                        <a:gd name="connsiteX157" fmla="*/ 29784 w 37837"/>
                        <a:gd name="connsiteY157" fmla="*/ 1205 h 42711"/>
                        <a:gd name="connsiteX158" fmla="*/ 29246 w 37837"/>
                        <a:gd name="connsiteY158" fmla="*/ 966 h 42711"/>
                        <a:gd name="connsiteX159" fmla="*/ 28707 w 37837"/>
                        <a:gd name="connsiteY159" fmla="*/ 787 h 42711"/>
                        <a:gd name="connsiteX160" fmla="*/ 28169 w 37837"/>
                        <a:gd name="connsiteY160" fmla="*/ 607 h 42711"/>
                        <a:gd name="connsiteX161" fmla="*/ 27571 w 37837"/>
                        <a:gd name="connsiteY161" fmla="*/ 428 h 42711"/>
                        <a:gd name="connsiteX162" fmla="*/ 27212 w 37837"/>
                        <a:gd name="connsiteY162" fmla="*/ 368 h 42711"/>
                        <a:gd name="connsiteX163" fmla="*/ 26853 w 37837"/>
                        <a:gd name="connsiteY163" fmla="*/ 308 h 42711"/>
                        <a:gd name="connsiteX164" fmla="*/ 26495 w 37837"/>
                        <a:gd name="connsiteY164" fmla="*/ 248 h 42711"/>
                        <a:gd name="connsiteX165" fmla="*/ 26136 w 37837"/>
                        <a:gd name="connsiteY165" fmla="*/ 188 h 42711"/>
                        <a:gd name="connsiteX166" fmla="*/ 25897 w 37837"/>
                        <a:gd name="connsiteY166" fmla="*/ 129 h 42711"/>
                        <a:gd name="connsiteX167" fmla="*/ 25658 w 37837"/>
                        <a:gd name="connsiteY167" fmla="*/ 69 h 42711"/>
                        <a:gd name="connsiteX168" fmla="*/ 25418 w 37837"/>
                        <a:gd name="connsiteY168" fmla="*/ 69 h 42711"/>
                        <a:gd name="connsiteX169" fmla="*/ 25179 w 37837"/>
                        <a:gd name="connsiteY169" fmla="*/ 69 h 42711"/>
                        <a:gd name="connsiteX170" fmla="*/ 22189 w 37837"/>
                        <a:gd name="connsiteY170" fmla="*/ 69 h 42711"/>
                        <a:gd name="connsiteX171" fmla="*/ 19079 w 37837"/>
                        <a:gd name="connsiteY171" fmla="*/ 667 h 42711"/>
                        <a:gd name="connsiteX172" fmla="*/ 15968 w 37837"/>
                        <a:gd name="connsiteY172" fmla="*/ 1803 h 42711"/>
                        <a:gd name="connsiteX173" fmla="*/ 12919 w 37837"/>
                        <a:gd name="connsiteY173" fmla="*/ 3478 h 42711"/>
                        <a:gd name="connsiteX174" fmla="*/ 8373 w 37837"/>
                        <a:gd name="connsiteY174" fmla="*/ 7186 h 42711"/>
                        <a:gd name="connsiteX175" fmla="*/ 4665 w 37837"/>
                        <a:gd name="connsiteY175" fmla="*/ 11791 h 42711"/>
                        <a:gd name="connsiteX176" fmla="*/ 1974 w 37837"/>
                        <a:gd name="connsiteY176" fmla="*/ 16934 h 42711"/>
                        <a:gd name="connsiteX177" fmla="*/ 419 w 37837"/>
                        <a:gd name="connsiteY177" fmla="*/ 22377 h 42711"/>
                        <a:gd name="connsiteX178" fmla="*/ 359 w 37837"/>
                        <a:gd name="connsiteY178" fmla="*/ 22676 h 42711"/>
                        <a:gd name="connsiteX179" fmla="*/ 299 w 37837"/>
                        <a:gd name="connsiteY179" fmla="*/ 22975 h 42711"/>
                        <a:gd name="connsiteX180" fmla="*/ 239 w 37837"/>
                        <a:gd name="connsiteY180" fmla="*/ 23274 h 42711"/>
                        <a:gd name="connsiteX181" fmla="*/ 180 w 37837"/>
                        <a:gd name="connsiteY181" fmla="*/ 23573 h 42711"/>
                        <a:gd name="connsiteX182" fmla="*/ 60 w 37837"/>
                        <a:gd name="connsiteY182" fmla="*/ 25128 h 42711"/>
                        <a:gd name="connsiteX183" fmla="*/ 0 w 37837"/>
                        <a:gd name="connsiteY183" fmla="*/ 26624 h 42711"/>
                        <a:gd name="connsiteX184" fmla="*/ 60 w 37837"/>
                        <a:gd name="connsiteY184" fmla="*/ 28119 h 42711"/>
                        <a:gd name="connsiteX185" fmla="*/ 239 w 37837"/>
                        <a:gd name="connsiteY185" fmla="*/ 29614 h 42711"/>
                        <a:gd name="connsiteX186" fmla="*/ 299 w 37837"/>
                        <a:gd name="connsiteY186" fmla="*/ 29853 h 42711"/>
                        <a:gd name="connsiteX187" fmla="*/ 359 w 37837"/>
                        <a:gd name="connsiteY187" fmla="*/ 30092 h 42711"/>
                        <a:gd name="connsiteX188" fmla="*/ 419 w 37837"/>
                        <a:gd name="connsiteY188" fmla="*/ 30332 h 42711"/>
                        <a:gd name="connsiteX189" fmla="*/ 479 w 37837"/>
                        <a:gd name="connsiteY189" fmla="*/ 30571 h 42711"/>
                        <a:gd name="connsiteX190" fmla="*/ 598 w 37837"/>
                        <a:gd name="connsiteY190" fmla="*/ 31228 h 42711"/>
                        <a:gd name="connsiteX191" fmla="*/ 778 w 37837"/>
                        <a:gd name="connsiteY191" fmla="*/ 31886 h 42711"/>
                        <a:gd name="connsiteX192" fmla="*/ 957 w 37837"/>
                        <a:gd name="connsiteY192" fmla="*/ 32544 h 42711"/>
                        <a:gd name="connsiteX193" fmla="*/ 1196 w 37837"/>
                        <a:gd name="connsiteY193" fmla="*/ 33202 h 42711"/>
                        <a:gd name="connsiteX194" fmla="*/ 1555 w 37837"/>
                        <a:gd name="connsiteY194" fmla="*/ 34099 h 42711"/>
                        <a:gd name="connsiteX195" fmla="*/ 1974 w 37837"/>
                        <a:gd name="connsiteY195" fmla="*/ 34996 h 42711"/>
                        <a:gd name="connsiteX196" fmla="*/ 2452 w 37837"/>
                        <a:gd name="connsiteY196" fmla="*/ 35834 h 42711"/>
                        <a:gd name="connsiteX197" fmla="*/ 2930 w 37837"/>
                        <a:gd name="connsiteY197" fmla="*/ 36611 h 42711"/>
                        <a:gd name="connsiteX198" fmla="*/ 3050 w 37837"/>
                        <a:gd name="connsiteY198" fmla="*/ 36790 h 42711"/>
                        <a:gd name="connsiteX199" fmla="*/ 3170 w 37837"/>
                        <a:gd name="connsiteY199" fmla="*/ 36970 h 42711"/>
                        <a:gd name="connsiteX200" fmla="*/ 3289 w 37837"/>
                        <a:gd name="connsiteY200" fmla="*/ 37149 h 42711"/>
                        <a:gd name="connsiteX201" fmla="*/ 3409 w 37837"/>
                        <a:gd name="connsiteY201" fmla="*/ 37329 h 42711"/>
                        <a:gd name="connsiteX202" fmla="*/ 3828 w 37837"/>
                        <a:gd name="connsiteY202" fmla="*/ 37867 h 42711"/>
                        <a:gd name="connsiteX203" fmla="*/ 4246 w 37837"/>
                        <a:gd name="connsiteY203" fmla="*/ 38346 h 42711"/>
                        <a:gd name="connsiteX204" fmla="*/ 4725 w 37837"/>
                        <a:gd name="connsiteY204" fmla="*/ 38824 h 42711"/>
                        <a:gd name="connsiteX205" fmla="*/ 4605 w 37837"/>
                        <a:gd name="connsiteY205" fmla="*/ 39303 h 4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37837" h="42711">
                          <a:moveTo>
                            <a:pt x="9629" y="40977"/>
                          </a:moveTo>
                          <a:cubicBezTo>
                            <a:pt x="9211" y="40857"/>
                            <a:pt x="8852" y="40678"/>
                            <a:pt x="8433" y="40498"/>
                          </a:cubicBezTo>
                          <a:cubicBezTo>
                            <a:pt x="8014" y="40319"/>
                            <a:pt x="7656" y="40140"/>
                            <a:pt x="7297" y="39901"/>
                          </a:cubicBezTo>
                          <a:cubicBezTo>
                            <a:pt x="6938" y="39661"/>
                            <a:pt x="6579" y="39482"/>
                            <a:pt x="6280" y="39243"/>
                          </a:cubicBezTo>
                          <a:cubicBezTo>
                            <a:pt x="5921" y="39003"/>
                            <a:pt x="5622" y="38704"/>
                            <a:pt x="5323" y="38465"/>
                          </a:cubicBezTo>
                          <a:cubicBezTo>
                            <a:pt x="5203" y="38346"/>
                            <a:pt x="5024" y="38226"/>
                            <a:pt x="4904" y="38047"/>
                          </a:cubicBezTo>
                          <a:cubicBezTo>
                            <a:pt x="4785" y="37927"/>
                            <a:pt x="4605" y="37748"/>
                            <a:pt x="4486" y="37628"/>
                          </a:cubicBezTo>
                          <a:cubicBezTo>
                            <a:pt x="4366" y="37508"/>
                            <a:pt x="4246" y="37329"/>
                            <a:pt x="4127" y="37209"/>
                          </a:cubicBezTo>
                          <a:cubicBezTo>
                            <a:pt x="4007" y="37090"/>
                            <a:pt x="3888" y="36910"/>
                            <a:pt x="3768" y="36731"/>
                          </a:cubicBezTo>
                          <a:cubicBezTo>
                            <a:pt x="3708" y="36671"/>
                            <a:pt x="3708" y="36611"/>
                            <a:pt x="3648" y="36551"/>
                          </a:cubicBezTo>
                          <a:cubicBezTo>
                            <a:pt x="3589" y="36492"/>
                            <a:pt x="3589" y="36432"/>
                            <a:pt x="3529" y="36372"/>
                          </a:cubicBezTo>
                          <a:cubicBezTo>
                            <a:pt x="3469" y="36312"/>
                            <a:pt x="3469" y="36252"/>
                            <a:pt x="3409" y="36193"/>
                          </a:cubicBezTo>
                          <a:cubicBezTo>
                            <a:pt x="3349" y="36133"/>
                            <a:pt x="3349" y="36073"/>
                            <a:pt x="3289" y="36013"/>
                          </a:cubicBezTo>
                          <a:cubicBezTo>
                            <a:pt x="3110" y="35774"/>
                            <a:pt x="2930" y="35475"/>
                            <a:pt x="2811" y="35236"/>
                          </a:cubicBezTo>
                          <a:cubicBezTo>
                            <a:pt x="2632" y="34996"/>
                            <a:pt x="2512" y="34697"/>
                            <a:pt x="2333" y="34398"/>
                          </a:cubicBezTo>
                          <a:cubicBezTo>
                            <a:pt x="2213" y="34099"/>
                            <a:pt x="2034" y="33800"/>
                            <a:pt x="1914" y="33561"/>
                          </a:cubicBezTo>
                          <a:cubicBezTo>
                            <a:pt x="1794" y="33262"/>
                            <a:pt x="1675" y="32963"/>
                            <a:pt x="1555" y="32664"/>
                          </a:cubicBezTo>
                          <a:cubicBezTo>
                            <a:pt x="1495" y="32425"/>
                            <a:pt x="1376" y="32245"/>
                            <a:pt x="1316" y="32006"/>
                          </a:cubicBezTo>
                          <a:cubicBezTo>
                            <a:pt x="1256" y="31767"/>
                            <a:pt x="1196" y="31527"/>
                            <a:pt x="1136" y="31348"/>
                          </a:cubicBezTo>
                          <a:cubicBezTo>
                            <a:pt x="1076" y="31109"/>
                            <a:pt x="1017" y="30870"/>
                            <a:pt x="957" y="30631"/>
                          </a:cubicBezTo>
                          <a:cubicBezTo>
                            <a:pt x="897" y="30391"/>
                            <a:pt x="837" y="30152"/>
                            <a:pt x="837" y="29913"/>
                          </a:cubicBezTo>
                          <a:cubicBezTo>
                            <a:pt x="837" y="29853"/>
                            <a:pt x="837" y="29733"/>
                            <a:pt x="778" y="29673"/>
                          </a:cubicBezTo>
                          <a:cubicBezTo>
                            <a:pt x="778" y="29614"/>
                            <a:pt x="778" y="29494"/>
                            <a:pt x="718" y="29434"/>
                          </a:cubicBezTo>
                          <a:cubicBezTo>
                            <a:pt x="658" y="29374"/>
                            <a:pt x="718" y="29255"/>
                            <a:pt x="658" y="29195"/>
                          </a:cubicBezTo>
                          <a:cubicBezTo>
                            <a:pt x="658" y="29135"/>
                            <a:pt x="658" y="29016"/>
                            <a:pt x="598" y="28956"/>
                          </a:cubicBezTo>
                          <a:cubicBezTo>
                            <a:pt x="538" y="28478"/>
                            <a:pt x="479" y="27999"/>
                            <a:pt x="479" y="27461"/>
                          </a:cubicBezTo>
                          <a:cubicBezTo>
                            <a:pt x="479" y="26982"/>
                            <a:pt x="419" y="26444"/>
                            <a:pt x="419" y="25965"/>
                          </a:cubicBezTo>
                          <a:cubicBezTo>
                            <a:pt x="419" y="25487"/>
                            <a:pt x="479" y="24949"/>
                            <a:pt x="479" y="24410"/>
                          </a:cubicBezTo>
                          <a:cubicBezTo>
                            <a:pt x="538" y="23872"/>
                            <a:pt x="598" y="23394"/>
                            <a:pt x="658" y="22856"/>
                          </a:cubicBezTo>
                          <a:cubicBezTo>
                            <a:pt x="658" y="22736"/>
                            <a:pt x="718" y="22616"/>
                            <a:pt x="718" y="22556"/>
                          </a:cubicBezTo>
                          <a:cubicBezTo>
                            <a:pt x="718" y="22437"/>
                            <a:pt x="778" y="22317"/>
                            <a:pt x="778" y="22257"/>
                          </a:cubicBezTo>
                          <a:cubicBezTo>
                            <a:pt x="778" y="22138"/>
                            <a:pt x="837" y="22018"/>
                            <a:pt x="837" y="21958"/>
                          </a:cubicBezTo>
                          <a:cubicBezTo>
                            <a:pt x="837" y="21839"/>
                            <a:pt x="897" y="21719"/>
                            <a:pt x="897" y="21659"/>
                          </a:cubicBezTo>
                          <a:cubicBezTo>
                            <a:pt x="957" y="21301"/>
                            <a:pt x="1076" y="20942"/>
                            <a:pt x="1136" y="20583"/>
                          </a:cubicBezTo>
                          <a:cubicBezTo>
                            <a:pt x="1196" y="20224"/>
                            <a:pt x="1316" y="19865"/>
                            <a:pt x="1435" y="19506"/>
                          </a:cubicBezTo>
                          <a:cubicBezTo>
                            <a:pt x="1555" y="19148"/>
                            <a:pt x="1675" y="18789"/>
                            <a:pt x="1794" y="18430"/>
                          </a:cubicBezTo>
                          <a:cubicBezTo>
                            <a:pt x="1914" y="18071"/>
                            <a:pt x="2034" y="17712"/>
                            <a:pt x="2213" y="17353"/>
                          </a:cubicBezTo>
                          <a:cubicBezTo>
                            <a:pt x="2751" y="16038"/>
                            <a:pt x="3349" y="14722"/>
                            <a:pt x="4067" y="13466"/>
                          </a:cubicBezTo>
                          <a:cubicBezTo>
                            <a:pt x="4785" y="12210"/>
                            <a:pt x="5562" y="11073"/>
                            <a:pt x="6459" y="9937"/>
                          </a:cubicBezTo>
                          <a:cubicBezTo>
                            <a:pt x="7357" y="8861"/>
                            <a:pt x="8313" y="7784"/>
                            <a:pt x="9330" y="6887"/>
                          </a:cubicBezTo>
                          <a:cubicBezTo>
                            <a:pt x="10347" y="5930"/>
                            <a:pt x="11483" y="5093"/>
                            <a:pt x="12619" y="4315"/>
                          </a:cubicBezTo>
                          <a:cubicBezTo>
                            <a:pt x="13516" y="3717"/>
                            <a:pt x="14473" y="3239"/>
                            <a:pt x="15430" y="2760"/>
                          </a:cubicBezTo>
                          <a:cubicBezTo>
                            <a:pt x="16387" y="2342"/>
                            <a:pt x="17284" y="1983"/>
                            <a:pt x="18241" y="1684"/>
                          </a:cubicBezTo>
                          <a:cubicBezTo>
                            <a:pt x="19198" y="1385"/>
                            <a:pt x="20095" y="1205"/>
                            <a:pt x="21052" y="1086"/>
                          </a:cubicBezTo>
                          <a:cubicBezTo>
                            <a:pt x="22009" y="966"/>
                            <a:pt x="22906" y="966"/>
                            <a:pt x="23804" y="1026"/>
                          </a:cubicBezTo>
                          <a:cubicBezTo>
                            <a:pt x="23863" y="1026"/>
                            <a:pt x="23983" y="1026"/>
                            <a:pt x="24043" y="1026"/>
                          </a:cubicBezTo>
                          <a:cubicBezTo>
                            <a:pt x="24102" y="1026"/>
                            <a:pt x="24222" y="1026"/>
                            <a:pt x="24282" y="1026"/>
                          </a:cubicBezTo>
                          <a:cubicBezTo>
                            <a:pt x="24342" y="1026"/>
                            <a:pt x="24461" y="1026"/>
                            <a:pt x="24521" y="1026"/>
                          </a:cubicBezTo>
                          <a:cubicBezTo>
                            <a:pt x="24581" y="1026"/>
                            <a:pt x="24700" y="1026"/>
                            <a:pt x="24760" y="1026"/>
                          </a:cubicBezTo>
                          <a:cubicBezTo>
                            <a:pt x="24940" y="1026"/>
                            <a:pt x="25059" y="1086"/>
                            <a:pt x="25239" y="1086"/>
                          </a:cubicBezTo>
                          <a:cubicBezTo>
                            <a:pt x="25418" y="1086"/>
                            <a:pt x="25538" y="1146"/>
                            <a:pt x="25658" y="1146"/>
                          </a:cubicBezTo>
                          <a:cubicBezTo>
                            <a:pt x="25777" y="1146"/>
                            <a:pt x="25956" y="1205"/>
                            <a:pt x="26076" y="1265"/>
                          </a:cubicBezTo>
                          <a:cubicBezTo>
                            <a:pt x="26196" y="1325"/>
                            <a:pt x="26375" y="1325"/>
                            <a:pt x="26495" y="1385"/>
                          </a:cubicBezTo>
                          <a:cubicBezTo>
                            <a:pt x="26674" y="1445"/>
                            <a:pt x="26853" y="1445"/>
                            <a:pt x="26973" y="1504"/>
                          </a:cubicBezTo>
                          <a:cubicBezTo>
                            <a:pt x="27153" y="1564"/>
                            <a:pt x="27272" y="1624"/>
                            <a:pt x="27452" y="1684"/>
                          </a:cubicBezTo>
                          <a:cubicBezTo>
                            <a:pt x="27631" y="1744"/>
                            <a:pt x="27751" y="1803"/>
                            <a:pt x="27930" y="1863"/>
                          </a:cubicBezTo>
                          <a:cubicBezTo>
                            <a:pt x="28109" y="1923"/>
                            <a:pt x="28229" y="1983"/>
                            <a:pt x="28408" y="2043"/>
                          </a:cubicBezTo>
                          <a:cubicBezTo>
                            <a:pt x="28468" y="2043"/>
                            <a:pt x="28528" y="2102"/>
                            <a:pt x="28588" y="2102"/>
                          </a:cubicBezTo>
                          <a:cubicBezTo>
                            <a:pt x="28648" y="2102"/>
                            <a:pt x="28707" y="2162"/>
                            <a:pt x="28767" y="2222"/>
                          </a:cubicBezTo>
                          <a:cubicBezTo>
                            <a:pt x="28827" y="2282"/>
                            <a:pt x="28887" y="2282"/>
                            <a:pt x="28947" y="2342"/>
                          </a:cubicBezTo>
                          <a:cubicBezTo>
                            <a:pt x="29007" y="2401"/>
                            <a:pt x="29066" y="2401"/>
                            <a:pt x="29126" y="2461"/>
                          </a:cubicBezTo>
                          <a:cubicBezTo>
                            <a:pt x="29366" y="2581"/>
                            <a:pt x="29605" y="2760"/>
                            <a:pt x="29904" y="2880"/>
                          </a:cubicBezTo>
                          <a:cubicBezTo>
                            <a:pt x="30143" y="3000"/>
                            <a:pt x="30382" y="3179"/>
                            <a:pt x="30621" y="3358"/>
                          </a:cubicBezTo>
                          <a:cubicBezTo>
                            <a:pt x="30861" y="3538"/>
                            <a:pt x="31100" y="3717"/>
                            <a:pt x="31279" y="3897"/>
                          </a:cubicBezTo>
                          <a:cubicBezTo>
                            <a:pt x="31459" y="4076"/>
                            <a:pt x="31698" y="4255"/>
                            <a:pt x="31937" y="4435"/>
                          </a:cubicBezTo>
                          <a:cubicBezTo>
                            <a:pt x="31937" y="4435"/>
                            <a:pt x="31937" y="4435"/>
                            <a:pt x="31937" y="4435"/>
                          </a:cubicBezTo>
                          <a:cubicBezTo>
                            <a:pt x="31937" y="4435"/>
                            <a:pt x="31937" y="4435"/>
                            <a:pt x="31937" y="4435"/>
                          </a:cubicBezTo>
                          <a:cubicBezTo>
                            <a:pt x="31937" y="4435"/>
                            <a:pt x="31937" y="4435"/>
                            <a:pt x="31937" y="4435"/>
                          </a:cubicBezTo>
                          <a:cubicBezTo>
                            <a:pt x="31937" y="4435"/>
                            <a:pt x="31937" y="4435"/>
                            <a:pt x="31937" y="4435"/>
                          </a:cubicBezTo>
                          <a:cubicBezTo>
                            <a:pt x="31997" y="4495"/>
                            <a:pt x="32057" y="4555"/>
                            <a:pt x="32057" y="4555"/>
                          </a:cubicBezTo>
                          <a:cubicBezTo>
                            <a:pt x="32116" y="4614"/>
                            <a:pt x="32176" y="4674"/>
                            <a:pt x="32176" y="4674"/>
                          </a:cubicBezTo>
                          <a:cubicBezTo>
                            <a:pt x="32236" y="4734"/>
                            <a:pt x="32296" y="4794"/>
                            <a:pt x="32296" y="4794"/>
                          </a:cubicBezTo>
                          <a:cubicBezTo>
                            <a:pt x="32356" y="4854"/>
                            <a:pt x="32415" y="4913"/>
                            <a:pt x="32415" y="4913"/>
                          </a:cubicBezTo>
                          <a:cubicBezTo>
                            <a:pt x="32715" y="5272"/>
                            <a:pt x="33074" y="5631"/>
                            <a:pt x="33373" y="6050"/>
                          </a:cubicBezTo>
                          <a:cubicBezTo>
                            <a:pt x="33671" y="6468"/>
                            <a:pt x="33911" y="6887"/>
                            <a:pt x="34210" y="7306"/>
                          </a:cubicBezTo>
                          <a:cubicBezTo>
                            <a:pt x="34449" y="7724"/>
                            <a:pt x="34688" y="8203"/>
                            <a:pt x="34928" y="8681"/>
                          </a:cubicBezTo>
                          <a:cubicBezTo>
                            <a:pt x="35167" y="9160"/>
                            <a:pt x="35346" y="9638"/>
                            <a:pt x="35526" y="10177"/>
                          </a:cubicBezTo>
                          <a:cubicBezTo>
                            <a:pt x="35585" y="10236"/>
                            <a:pt x="35585" y="10356"/>
                            <a:pt x="35585" y="10416"/>
                          </a:cubicBezTo>
                          <a:cubicBezTo>
                            <a:pt x="35585" y="10476"/>
                            <a:pt x="35645" y="10595"/>
                            <a:pt x="35645" y="10655"/>
                          </a:cubicBezTo>
                          <a:cubicBezTo>
                            <a:pt x="35645" y="10715"/>
                            <a:pt x="35705" y="10834"/>
                            <a:pt x="35705" y="10894"/>
                          </a:cubicBezTo>
                          <a:cubicBezTo>
                            <a:pt x="35705" y="11014"/>
                            <a:pt x="35765" y="11073"/>
                            <a:pt x="35765" y="11193"/>
                          </a:cubicBezTo>
                          <a:cubicBezTo>
                            <a:pt x="35765" y="11253"/>
                            <a:pt x="35824" y="11372"/>
                            <a:pt x="35824" y="11432"/>
                          </a:cubicBezTo>
                          <a:cubicBezTo>
                            <a:pt x="35824" y="11492"/>
                            <a:pt x="35884" y="11612"/>
                            <a:pt x="35884" y="11672"/>
                          </a:cubicBezTo>
                          <a:cubicBezTo>
                            <a:pt x="35884" y="11731"/>
                            <a:pt x="35944" y="11851"/>
                            <a:pt x="35944" y="11911"/>
                          </a:cubicBezTo>
                          <a:cubicBezTo>
                            <a:pt x="35944" y="11971"/>
                            <a:pt x="36004" y="12090"/>
                            <a:pt x="36004" y="12150"/>
                          </a:cubicBezTo>
                          <a:cubicBezTo>
                            <a:pt x="36243" y="13167"/>
                            <a:pt x="36363" y="14243"/>
                            <a:pt x="36423" y="15320"/>
                          </a:cubicBezTo>
                          <a:cubicBezTo>
                            <a:pt x="36483" y="16396"/>
                            <a:pt x="36423" y="17473"/>
                            <a:pt x="36303" y="18609"/>
                          </a:cubicBezTo>
                          <a:cubicBezTo>
                            <a:pt x="36183" y="19746"/>
                            <a:pt x="36004" y="20822"/>
                            <a:pt x="35705" y="21958"/>
                          </a:cubicBezTo>
                          <a:cubicBezTo>
                            <a:pt x="35406" y="23095"/>
                            <a:pt x="35047" y="24231"/>
                            <a:pt x="34629" y="25367"/>
                          </a:cubicBezTo>
                          <a:cubicBezTo>
                            <a:pt x="34090" y="26683"/>
                            <a:pt x="33492" y="27939"/>
                            <a:pt x="32775" y="29135"/>
                          </a:cubicBezTo>
                          <a:cubicBezTo>
                            <a:pt x="32057" y="30332"/>
                            <a:pt x="31279" y="31527"/>
                            <a:pt x="30382" y="32604"/>
                          </a:cubicBezTo>
                          <a:cubicBezTo>
                            <a:pt x="29485" y="33681"/>
                            <a:pt x="28588" y="34697"/>
                            <a:pt x="27571" y="35595"/>
                          </a:cubicBezTo>
                          <a:cubicBezTo>
                            <a:pt x="26554" y="36492"/>
                            <a:pt x="25478" y="37389"/>
                            <a:pt x="24342" y="38106"/>
                          </a:cubicBezTo>
                          <a:cubicBezTo>
                            <a:pt x="23205" y="38824"/>
                            <a:pt x="22069" y="39482"/>
                            <a:pt x="20873" y="39960"/>
                          </a:cubicBezTo>
                          <a:cubicBezTo>
                            <a:pt x="19677" y="40439"/>
                            <a:pt x="18540" y="40857"/>
                            <a:pt x="17344" y="41097"/>
                          </a:cubicBezTo>
                          <a:cubicBezTo>
                            <a:pt x="16148" y="41336"/>
                            <a:pt x="15012" y="41456"/>
                            <a:pt x="13875" y="41456"/>
                          </a:cubicBezTo>
                          <a:cubicBezTo>
                            <a:pt x="12739" y="41456"/>
                            <a:pt x="11603" y="41336"/>
                            <a:pt x="10526" y="41037"/>
                          </a:cubicBezTo>
                          <a:cubicBezTo>
                            <a:pt x="10526" y="41037"/>
                            <a:pt x="10466" y="41037"/>
                            <a:pt x="10466" y="41037"/>
                          </a:cubicBezTo>
                          <a:cubicBezTo>
                            <a:pt x="10466" y="41037"/>
                            <a:pt x="10406" y="41037"/>
                            <a:pt x="10406" y="41037"/>
                          </a:cubicBezTo>
                          <a:cubicBezTo>
                            <a:pt x="10406" y="41037"/>
                            <a:pt x="10347" y="41037"/>
                            <a:pt x="10347" y="41037"/>
                          </a:cubicBezTo>
                          <a:cubicBezTo>
                            <a:pt x="10347" y="41037"/>
                            <a:pt x="10287" y="41037"/>
                            <a:pt x="10287" y="41037"/>
                          </a:cubicBezTo>
                          <a:cubicBezTo>
                            <a:pt x="10227" y="41037"/>
                            <a:pt x="10107" y="40977"/>
                            <a:pt x="10048" y="40977"/>
                          </a:cubicBezTo>
                          <a:cubicBezTo>
                            <a:pt x="9988" y="40977"/>
                            <a:pt x="9868" y="40917"/>
                            <a:pt x="9808" y="40917"/>
                          </a:cubicBezTo>
                          <a:cubicBezTo>
                            <a:pt x="9749" y="40917"/>
                            <a:pt x="9629" y="40857"/>
                            <a:pt x="9569" y="40857"/>
                          </a:cubicBezTo>
                          <a:cubicBezTo>
                            <a:pt x="9749" y="41037"/>
                            <a:pt x="9689" y="40977"/>
                            <a:pt x="9629" y="40977"/>
                          </a:cubicBezTo>
                          <a:moveTo>
                            <a:pt x="4605" y="39303"/>
                          </a:moveTo>
                          <a:cubicBezTo>
                            <a:pt x="4904" y="39542"/>
                            <a:pt x="5203" y="39781"/>
                            <a:pt x="5502" y="40020"/>
                          </a:cubicBezTo>
                          <a:cubicBezTo>
                            <a:pt x="5801" y="40259"/>
                            <a:pt x="6160" y="40498"/>
                            <a:pt x="6459" y="40678"/>
                          </a:cubicBezTo>
                          <a:cubicBezTo>
                            <a:pt x="6818" y="40857"/>
                            <a:pt x="7117" y="41097"/>
                            <a:pt x="7476" y="41276"/>
                          </a:cubicBezTo>
                          <a:cubicBezTo>
                            <a:pt x="7835" y="41456"/>
                            <a:pt x="8194" y="41635"/>
                            <a:pt x="8552" y="41755"/>
                          </a:cubicBezTo>
                          <a:cubicBezTo>
                            <a:pt x="8612" y="41814"/>
                            <a:pt x="8732" y="41814"/>
                            <a:pt x="8792" y="41874"/>
                          </a:cubicBezTo>
                          <a:cubicBezTo>
                            <a:pt x="8852" y="41934"/>
                            <a:pt x="8971" y="41934"/>
                            <a:pt x="9031" y="41934"/>
                          </a:cubicBezTo>
                          <a:cubicBezTo>
                            <a:pt x="9091" y="41934"/>
                            <a:pt x="9211" y="41994"/>
                            <a:pt x="9270" y="41994"/>
                          </a:cubicBezTo>
                          <a:cubicBezTo>
                            <a:pt x="9330" y="41994"/>
                            <a:pt x="9450" y="42054"/>
                            <a:pt x="9510" y="42054"/>
                          </a:cubicBezTo>
                          <a:cubicBezTo>
                            <a:pt x="9569" y="42054"/>
                            <a:pt x="9629" y="42113"/>
                            <a:pt x="9749" y="42113"/>
                          </a:cubicBezTo>
                          <a:cubicBezTo>
                            <a:pt x="9808" y="42113"/>
                            <a:pt x="9868" y="42173"/>
                            <a:pt x="9988" y="42173"/>
                          </a:cubicBezTo>
                          <a:cubicBezTo>
                            <a:pt x="10107" y="42173"/>
                            <a:pt x="10107" y="42233"/>
                            <a:pt x="10227" y="42233"/>
                          </a:cubicBezTo>
                          <a:cubicBezTo>
                            <a:pt x="10287" y="42233"/>
                            <a:pt x="10347" y="42293"/>
                            <a:pt x="10466" y="42293"/>
                          </a:cubicBezTo>
                          <a:cubicBezTo>
                            <a:pt x="11603" y="42592"/>
                            <a:pt x="12799" y="42712"/>
                            <a:pt x="13995" y="42712"/>
                          </a:cubicBezTo>
                          <a:cubicBezTo>
                            <a:pt x="15191" y="42712"/>
                            <a:pt x="16447" y="42592"/>
                            <a:pt x="17643" y="42293"/>
                          </a:cubicBezTo>
                          <a:cubicBezTo>
                            <a:pt x="18899" y="42054"/>
                            <a:pt x="20095" y="41635"/>
                            <a:pt x="21351" y="41097"/>
                          </a:cubicBezTo>
                          <a:cubicBezTo>
                            <a:pt x="22547" y="40558"/>
                            <a:pt x="23804" y="39901"/>
                            <a:pt x="24999" y="39123"/>
                          </a:cubicBezTo>
                          <a:cubicBezTo>
                            <a:pt x="26196" y="38346"/>
                            <a:pt x="27332" y="37449"/>
                            <a:pt x="28408" y="36492"/>
                          </a:cubicBezTo>
                          <a:cubicBezTo>
                            <a:pt x="29485" y="35535"/>
                            <a:pt x="30442" y="34458"/>
                            <a:pt x="31399" y="33322"/>
                          </a:cubicBezTo>
                          <a:cubicBezTo>
                            <a:pt x="32296" y="32186"/>
                            <a:pt x="33133" y="30989"/>
                            <a:pt x="33911" y="29673"/>
                          </a:cubicBezTo>
                          <a:cubicBezTo>
                            <a:pt x="34629" y="28418"/>
                            <a:pt x="35286" y="27042"/>
                            <a:pt x="35884" y="25666"/>
                          </a:cubicBezTo>
                          <a:cubicBezTo>
                            <a:pt x="36363" y="24470"/>
                            <a:pt x="36782" y="23214"/>
                            <a:pt x="37081" y="21958"/>
                          </a:cubicBezTo>
                          <a:cubicBezTo>
                            <a:pt x="37380" y="20702"/>
                            <a:pt x="37619" y="19506"/>
                            <a:pt x="37738" y="18310"/>
                          </a:cubicBezTo>
                          <a:cubicBezTo>
                            <a:pt x="37858" y="17114"/>
                            <a:pt x="37858" y="15918"/>
                            <a:pt x="37798" y="14722"/>
                          </a:cubicBezTo>
                          <a:cubicBezTo>
                            <a:pt x="37738" y="13526"/>
                            <a:pt x="37559" y="12389"/>
                            <a:pt x="37320" y="11313"/>
                          </a:cubicBezTo>
                          <a:cubicBezTo>
                            <a:pt x="37320" y="11253"/>
                            <a:pt x="37260" y="11133"/>
                            <a:pt x="37260" y="11073"/>
                          </a:cubicBezTo>
                          <a:cubicBezTo>
                            <a:pt x="37260" y="11014"/>
                            <a:pt x="37200" y="10894"/>
                            <a:pt x="37200" y="10834"/>
                          </a:cubicBezTo>
                          <a:cubicBezTo>
                            <a:pt x="37200" y="10774"/>
                            <a:pt x="37140" y="10655"/>
                            <a:pt x="37140" y="10595"/>
                          </a:cubicBezTo>
                          <a:cubicBezTo>
                            <a:pt x="37140" y="10535"/>
                            <a:pt x="37081" y="10416"/>
                            <a:pt x="37081" y="10356"/>
                          </a:cubicBezTo>
                          <a:cubicBezTo>
                            <a:pt x="37081" y="10296"/>
                            <a:pt x="37021" y="10236"/>
                            <a:pt x="37021" y="10177"/>
                          </a:cubicBezTo>
                          <a:cubicBezTo>
                            <a:pt x="37021" y="10117"/>
                            <a:pt x="36961" y="10057"/>
                            <a:pt x="36961" y="9997"/>
                          </a:cubicBezTo>
                          <a:cubicBezTo>
                            <a:pt x="36961" y="9937"/>
                            <a:pt x="36901" y="9877"/>
                            <a:pt x="36901" y="9818"/>
                          </a:cubicBezTo>
                          <a:cubicBezTo>
                            <a:pt x="36901" y="9758"/>
                            <a:pt x="36841" y="9698"/>
                            <a:pt x="36841" y="9638"/>
                          </a:cubicBezTo>
                          <a:cubicBezTo>
                            <a:pt x="36662" y="9100"/>
                            <a:pt x="36423" y="8562"/>
                            <a:pt x="36243" y="8083"/>
                          </a:cubicBezTo>
                          <a:cubicBezTo>
                            <a:pt x="36004" y="7605"/>
                            <a:pt x="35765" y="7126"/>
                            <a:pt x="35526" y="6648"/>
                          </a:cubicBezTo>
                          <a:cubicBezTo>
                            <a:pt x="35286" y="6169"/>
                            <a:pt x="34987" y="5751"/>
                            <a:pt x="34688" y="5332"/>
                          </a:cubicBezTo>
                          <a:cubicBezTo>
                            <a:pt x="34389" y="4913"/>
                            <a:pt x="34030" y="4495"/>
                            <a:pt x="33731" y="4136"/>
                          </a:cubicBezTo>
                          <a:cubicBezTo>
                            <a:pt x="33671" y="4076"/>
                            <a:pt x="33612" y="4016"/>
                            <a:pt x="33612" y="4016"/>
                          </a:cubicBezTo>
                          <a:cubicBezTo>
                            <a:pt x="33552" y="3956"/>
                            <a:pt x="33492" y="3897"/>
                            <a:pt x="33492" y="3897"/>
                          </a:cubicBezTo>
                          <a:cubicBezTo>
                            <a:pt x="33432" y="3837"/>
                            <a:pt x="33373" y="3777"/>
                            <a:pt x="33373" y="3777"/>
                          </a:cubicBezTo>
                          <a:cubicBezTo>
                            <a:pt x="33313" y="3717"/>
                            <a:pt x="33253" y="3657"/>
                            <a:pt x="33253" y="3657"/>
                          </a:cubicBezTo>
                          <a:cubicBezTo>
                            <a:pt x="33253" y="3657"/>
                            <a:pt x="33253" y="3657"/>
                            <a:pt x="33253" y="3657"/>
                          </a:cubicBezTo>
                          <a:cubicBezTo>
                            <a:pt x="33253" y="3657"/>
                            <a:pt x="33253" y="3657"/>
                            <a:pt x="33253" y="3657"/>
                          </a:cubicBezTo>
                          <a:cubicBezTo>
                            <a:pt x="33253" y="3657"/>
                            <a:pt x="33253" y="3657"/>
                            <a:pt x="33253" y="3657"/>
                          </a:cubicBezTo>
                          <a:cubicBezTo>
                            <a:pt x="33253" y="3657"/>
                            <a:pt x="33253" y="3657"/>
                            <a:pt x="33253" y="3657"/>
                          </a:cubicBezTo>
                          <a:cubicBezTo>
                            <a:pt x="33074" y="3478"/>
                            <a:pt x="32834" y="3299"/>
                            <a:pt x="32595" y="3119"/>
                          </a:cubicBezTo>
                          <a:cubicBezTo>
                            <a:pt x="32356" y="2940"/>
                            <a:pt x="32176" y="2760"/>
                            <a:pt x="31937" y="2581"/>
                          </a:cubicBezTo>
                          <a:cubicBezTo>
                            <a:pt x="31698" y="2401"/>
                            <a:pt x="31459" y="2282"/>
                            <a:pt x="31220" y="2102"/>
                          </a:cubicBezTo>
                          <a:cubicBezTo>
                            <a:pt x="30980" y="1923"/>
                            <a:pt x="30741" y="1803"/>
                            <a:pt x="30502" y="1684"/>
                          </a:cubicBezTo>
                          <a:cubicBezTo>
                            <a:pt x="30442" y="1624"/>
                            <a:pt x="30382" y="1624"/>
                            <a:pt x="30322" y="1564"/>
                          </a:cubicBezTo>
                          <a:cubicBezTo>
                            <a:pt x="30262" y="1504"/>
                            <a:pt x="30203" y="1504"/>
                            <a:pt x="30143" y="1445"/>
                          </a:cubicBezTo>
                          <a:cubicBezTo>
                            <a:pt x="30083" y="1385"/>
                            <a:pt x="30023" y="1385"/>
                            <a:pt x="29963" y="1325"/>
                          </a:cubicBezTo>
                          <a:cubicBezTo>
                            <a:pt x="29904" y="1265"/>
                            <a:pt x="29844" y="1265"/>
                            <a:pt x="29784" y="1205"/>
                          </a:cubicBezTo>
                          <a:cubicBezTo>
                            <a:pt x="29605" y="1146"/>
                            <a:pt x="29425" y="1026"/>
                            <a:pt x="29246" y="966"/>
                          </a:cubicBezTo>
                          <a:cubicBezTo>
                            <a:pt x="29066" y="906"/>
                            <a:pt x="28887" y="847"/>
                            <a:pt x="28707" y="787"/>
                          </a:cubicBezTo>
                          <a:cubicBezTo>
                            <a:pt x="28528" y="727"/>
                            <a:pt x="28349" y="667"/>
                            <a:pt x="28169" y="607"/>
                          </a:cubicBezTo>
                          <a:cubicBezTo>
                            <a:pt x="27990" y="547"/>
                            <a:pt x="27811" y="487"/>
                            <a:pt x="27571" y="428"/>
                          </a:cubicBezTo>
                          <a:cubicBezTo>
                            <a:pt x="27452" y="368"/>
                            <a:pt x="27332" y="368"/>
                            <a:pt x="27212" y="368"/>
                          </a:cubicBezTo>
                          <a:cubicBezTo>
                            <a:pt x="27093" y="368"/>
                            <a:pt x="26973" y="308"/>
                            <a:pt x="26853" y="308"/>
                          </a:cubicBezTo>
                          <a:cubicBezTo>
                            <a:pt x="26734" y="308"/>
                            <a:pt x="26614" y="248"/>
                            <a:pt x="26495" y="248"/>
                          </a:cubicBezTo>
                          <a:cubicBezTo>
                            <a:pt x="26375" y="248"/>
                            <a:pt x="26255" y="188"/>
                            <a:pt x="26136" y="188"/>
                          </a:cubicBezTo>
                          <a:cubicBezTo>
                            <a:pt x="26076" y="188"/>
                            <a:pt x="25956" y="188"/>
                            <a:pt x="25897" y="129"/>
                          </a:cubicBezTo>
                          <a:cubicBezTo>
                            <a:pt x="25837" y="129"/>
                            <a:pt x="25717" y="129"/>
                            <a:pt x="25658" y="69"/>
                          </a:cubicBezTo>
                          <a:cubicBezTo>
                            <a:pt x="25598" y="69"/>
                            <a:pt x="25478" y="69"/>
                            <a:pt x="25418" y="69"/>
                          </a:cubicBezTo>
                          <a:cubicBezTo>
                            <a:pt x="25358" y="69"/>
                            <a:pt x="25239" y="69"/>
                            <a:pt x="25179" y="69"/>
                          </a:cubicBezTo>
                          <a:cubicBezTo>
                            <a:pt x="24162" y="-51"/>
                            <a:pt x="23205" y="9"/>
                            <a:pt x="22189" y="69"/>
                          </a:cubicBezTo>
                          <a:cubicBezTo>
                            <a:pt x="21172" y="188"/>
                            <a:pt x="20155" y="368"/>
                            <a:pt x="19079" y="667"/>
                          </a:cubicBezTo>
                          <a:cubicBezTo>
                            <a:pt x="18062" y="966"/>
                            <a:pt x="16985" y="1325"/>
                            <a:pt x="15968" y="1803"/>
                          </a:cubicBezTo>
                          <a:cubicBezTo>
                            <a:pt x="14952" y="2282"/>
                            <a:pt x="13935" y="2820"/>
                            <a:pt x="12919" y="3478"/>
                          </a:cubicBezTo>
                          <a:cubicBezTo>
                            <a:pt x="11244" y="4555"/>
                            <a:pt x="9749" y="5810"/>
                            <a:pt x="8373" y="7186"/>
                          </a:cubicBezTo>
                          <a:cubicBezTo>
                            <a:pt x="6997" y="8562"/>
                            <a:pt x="5742" y="10117"/>
                            <a:pt x="4665" y="11791"/>
                          </a:cubicBezTo>
                          <a:cubicBezTo>
                            <a:pt x="3589" y="13466"/>
                            <a:pt x="2691" y="15140"/>
                            <a:pt x="1974" y="16934"/>
                          </a:cubicBezTo>
                          <a:cubicBezTo>
                            <a:pt x="1256" y="18729"/>
                            <a:pt x="718" y="20523"/>
                            <a:pt x="419" y="22377"/>
                          </a:cubicBezTo>
                          <a:cubicBezTo>
                            <a:pt x="419" y="22497"/>
                            <a:pt x="359" y="22556"/>
                            <a:pt x="359" y="22676"/>
                          </a:cubicBezTo>
                          <a:cubicBezTo>
                            <a:pt x="359" y="22796"/>
                            <a:pt x="299" y="22856"/>
                            <a:pt x="299" y="22975"/>
                          </a:cubicBezTo>
                          <a:cubicBezTo>
                            <a:pt x="299" y="23095"/>
                            <a:pt x="239" y="23155"/>
                            <a:pt x="239" y="23274"/>
                          </a:cubicBezTo>
                          <a:cubicBezTo>
                            <a:pt x="239" y="23394"/>
                            <a:pt x="239" y="23454"/>
                            <a:pt x="180" y="23573"/>
                          </a:cubicBezTo>
                          <a:cubicBezTo>
                            <a:pt x="120" y="24111"/>
                            <a:pt x="60" y="24590"/>
                            <a:pt x="60" y="25128"/>
                          </a:cubicBezTo>
                          <a:cubicBezTo>
                            <a:pt x="0" y="25666"/>
                            <a:pt x="0" y="26145"/>
                            <a:pt x="0" y="26624"/>
                          </a:cubicBezTo>
                          <a:cubicBezTo>
                            <a:pt x="0" y="27102"/>
                            <a:pt x="0" y="27640"/>
                            <a:pt x="60" y="28119"/>
                          </a:cubicBezTo>
                          <a:cubicBezTo>
                            <a:pt x="120" y="28597"/>
                            <a:pt x="120" y="29135"/>
                            <a:pt x="239" y="29614"/>
                          </a:cubicBezTo>
                          <a:cubicBezTo>
                            <a:pt x="239" y="29673"/>
                            <a:pt x="239" y="29793"/>
                            <a:pt x="299" y="29853"/>
                          </a:cubicBezTo>
                          <a:cubicBezTo>
                            <a:pt x="299" y="29913"/>
                            <a:pt x="299" y="30032"/>
                            <a:pt x="359" y="30092"/>
                          </a:cubicBezTo>
                          <a:cubicBezTo>
                            <a:pt x="359" y="30152"/>
                            <a:pt x="359" y="30272"/>
                            <a:pt x="419" y="30332"/>
                          </a:cubicBezTo>
                          <a:cubicBezTo>
                            <a:pt x="479" y="30391"/>
                            <a:pt x="419" y="30511"/>
                            <a:pt x="479" y="30571"/>
                          </a:cubicBezTo>
                          <a:cubicBezTo>
                            <a:pt x="538" y="30810"/>
                            <a:pt x="598" y="31049"/>
                            <a:pt x="598" y="31228"/>
                          </a:cubicBezTo>
                          <a:cubicBezTo>
                            <a:pt x="658" y="31468"/>
                            <a:pt x="718" y="31647"/>
                            <a:pt x="778" y="31886"/>
                          </a:cubicBezTo>
                          <a:cubicBezTo>
                            <a:pt x="837" y="32126"/>
                            <a:pt x="897" y="32305"/>
                            <a:pt x="957" y="32544"/>
                          </a:cubicBezTo>
                          <a:cubicBezTo>
                            <a:pt x="1017" y="32783"/>
                            <a:pt x="1076" y="32963"/>
                            <a:pt x="1196" y="33202"/>
                          </a:cubicBezTo>
                          <a:cubicBezTo>
                            <a:pt x="1316" y="33501"/>
                            <a:pt x="1435" y="33800"/>
                            <a:pt x="1555" y="34099"/>
                          </a:cubicBezTo>
                          <a:cubicBezTo>
                            <a:pt x="1675" y="34398"/>
                            <a:pt x="1794" y="34697"/>
                            <a:pt x="1974" y="34996"/>
                          </a:cubicBezTo>
                          <a:cubicBezTo>
                            <a:pt x="2093" y="35295"/>
                            <a:pt x="2273" y="35535"/>
                            <a:pt x="2452" y="35834"/>
                          </a:cubicBezTo>
                          <a:cubicBezTo>
                            <a:pt x="2632" y="36133"/>
                            <a:pt x="2751" y="36372"/>
                            <a:pt x="2930" y="36611"/>
                          </a:cubicBezTo>
                          <a:cubicBezTo>
                            <a:pt x="2990" y="36671"/>
                            <a:pt x="2990" y="36731"/>
                            <a:pt x="3050" y="36790"/>
                          </a:cubicBezTo>
                          <a:cubicBezTo>
                            <a:pt x="3110" y="36850"/>
                            <a:pt x="3110" y="36910"/>
                            <a:pt x="3170" y="36970"/>
                          </a:cubicBezTo>
                          <a:cubicBezTo>
                            <a:pt x="3230" y="37030"/>
                            <a:pt x="3230" y="37090"/>
                            <a:pt x="3289" y="37149"/>
                          </a:cubicBezTo>
                          <a:cubicBezTo>
                            <a:pt x="3349" y="37209"/>
                            <a:pt x="3349" y="37269"/>
                            <a:pt x="3409" y="37329"/>
                          </a:cubicBezTo>
                          <a:cubicBezTo>
                            <a:pt x="3529" y="37508"/>
                            <a:pt x="3648" y="37688"/>
                            <a:pt x="3828" y="37867"/>
                          </a:cubicBezTo>
                          <a:cubicBezTo>
                            <a:pt x="3947" y="38047"/>
                            <a:pt x="4127" y="38166"/>
                            <a:pt x="4246" y="38346"/>
                          </a:cubicBezTo>
                          <a:cubicBezTo>
                            <a:pt x="4366" y="38525"/>
                            <a:pt x="4545" y="38644"/>
                            <a:pt x="4725" y="38824"/>
                          </a:cubicBezTo>
                          <a:cubicBezTo>
                            <a:pt x="4306" y="39003"/>
                            <a:pt x="4486" y="39123"/>
                            <a:pt x="4605" y="39303"/>
                          </a:cubicBezTo>
                        </a:path>
                      </a:pathLst>
                    </a:custGeom>
                    <a:noFill/>
                    <a:ln w="6350" cap="flat">
                      <a:solidFill>
                        <a:schemeClr val="bg1">
                          <a:alpha val="80000"/>
                        </a:schemeClr>
                      </a:solidFill>
                      <a:prstDash val="solid"/>
                      <a:miter/>
                    </a:ln>
                  </p:spPr>
                  <p:txBody>
                    <a:bodyPr rtlCol="0" anchor="ctr"/>
                    <a:lstStyle/>
                    <a:p>
                      <a:endParaRPr lang="en-GB"/>
                    </a:p>
                  </p:txBody>
                </p:sp>
                <p:sp>
                  <p:nvSpPr>
                    <p:cNvPr id="7495" name="Vrije vorm: vorm 7494">
                      <a:extLst>
                        <a:ext uri="{FF2B5EF4-FFF2-40B4-BE49-F238E27FC236}">
                          <a16:creationId xmlns:a16="http://schemas.microsoft.com/office/drawing/2014/main" id="{D8BEEEEC-BE65-419E-92D4-9C3A6A28CC5C}"/>
                        </a:ext>
                      </a:extLst>
                    </p:cNvPr>
                    <p:cNvSpPr/>
                    <p:nvPr/>
                  </p:nvSpPr>
                  <p:spPr>
                    <a:xfrm>
                      <a:off x="5307551" y="5118641"/>
                      <a:ext cx="32226" cy="36162"/>
                    </a:xfrm>
                    <a:custGeom>
                      <a:avLst/>
                      <a:gdLst>
                        <a:gd name="connsiteX0" fmla="*/ 10646 w 32226"/>
                        <a:gd name="connsiteY0" fmla="*/ 34748 h 36162"/>
                        <a:gd name="connsiteX1" fmla="*/ 9091 w 32226"/>
                        <a:gd name="connsiteY1" fmla="*/ 34389 h 36162"/>
                        <a:gd name="connsiteX2" fmla="*/ 7596 w 32226"/>
                        <a:gd name="connsiteY2" fmla="*/ 33851 h 36162"/>
                        <a:gd name="connsiteX3" fmla="*/ 6220 w 32226"/>
                        <a:gd name="connsiteY3" fmla="*/ 33073 h 36162"/>
                        <a:gd name="connsiteX4" fmla="*/ 4964 w 32226"/>
                        <a:gd name="connsiteY4" fmla="*/ 32116 h 36162"/>
                        <a:gd name="connsiteX5" fmla="*/ 4725 w 32226"/>
                        <a:gd name="connsiteY5" fmla="*/ 31877 h 36162"/>
                        <a:gd name="connsiteX6" fmla="*/ 4486 w 32226"/>
                        <a:gd name="connsiteY6" fmla="*/ 31638 h 36162"/>
                        <a:gd name="connsiteX7" fmla="*/ 4246 w 32226"/>
                        <a:gd name="connsiteY7" fmla="*/ 31399 h 36162"/>
                        <a:gd name="connsiteX8" fmla="*/ 4007 w 32226"/>
                        <a:gd name="connsiteY8" fmla="*/ 31159 h 36162"/>
                        <a:gd name="connsiteX9" fmla="*/ 3888 w 32226"/>
                        <a:gd name="connsiteY9" fmla="*/ 30980 h 36162"/>
                        <a:gd name="connsiteX10" fmla="*/ 3768 w 32226"/>
                        <a:gd name="connsiteY10" fmla="*/ 30800 h 36162"/>
                        <a:gd name="connsiteX11" fmla="*/ 3648 w 32226"/>
                        <a:gd name="connsiteY11" fmla="*/ 30621 h 36162"/>
                        <a:gd name="connsiteX12" fmla="*/ 3529 w 32226"/>
                        <a:gd name="connsiteY12" fmla="*/ 30442 h 36162"/>
                        <a:gd name="connsiteX13" fmla="*/ 3050 w 32226"/>
                        <a:gd name="connsiteY13" fmla="*/ 29724 h 36162"/>
                        <a:gd name="connsiteX14" fmla="*/ 2632 w 32226"/>
                        <a:gd name="connsiteY14" fmla="*/ 28946 h 36162"/>
                        <a:gd name="connsiteX15" fmla="*/ 2273 w 32226"/>
                        <a:gd name="connsiteY15" fmla="*/ 28169 h 36162"/>
                        <a:gd name="connsiteX16" fmla="*/ 1914 w 32226"/>
                        <a:gd name="connsiteY16" fmla="*/ 27332 h 36162"/>
                        <a:gd name="connsiteX17" fmla="*/ 1675 w 32226"/>
                        <a:gd name="connsiteY17" fmla="*/ 26614 h 36162"/>
                        <a:gd name="connsiteX18" fmla="*/ 1495 w 32226"/>
                        <a:gd name="connsiteY18" fmla="*/ 25837 h 36162"/>
                        <a:gd name="connsiteX19" fmla="*/ 1316 w 32226"/>
                        <a:gd name="connsiteY19" fmla="*/ 25059 h 36162"/>
                        <a:gd name="connsiteX20" fmla="*/ 1196 w 32226"/>
                        <a:gd name="connsiteY20" fmla="*/ 24282 h 36162"/>
                        <a:gd name="connsiteX21" fmla="*/ 1136 w 32226"/>
                        <a:gd name="connsiteY21" fmla="*/ 24042 h 36162"/>
                        <a:gd name="connsiteX22" fmla="*/ 1136 w 32226"/>
                        <a:gd name="connsiteY22" fmla="*/ 23803 h 36162"/>
                        <a:gd name="connsiteX23" fmla="*/ 1136 w 32226"/>
                        <a:gd name="connsiteY23" fmla="*/ 23564 h 36162"/>
                        <a:gd name="connsiteX24" fmla="*/ 1136 w 32226"/>
                        <a:gd name="connsiteY24" fmla="*/ 23325 h 36162"/>
                        <a:gd name="connsiteX25" fmla="*/ 1076 w 32226"/>
                        <a:gd name="connsiteY25" fmla="*/ 21710 h 36162"/>
                        <a:gd name="connsiteX26" fmla="*/ 1196 w 32226"/>
                        <a:gd name="connsiteY26" fmla="*/ 20035 h 36162"/>
                        <a:gd name="connsiteX27" fmla="*/ 1435 w 32226"/>
                        <a:gd name="connsiteY27" fmla="*/ 18361 h 36162"/>
                        <a:gd name="connsiteX28" fmla="*/ 1854 w 32226"/>
                        <a:gd name="connsiteY28" fmla="*/ 16686 h 36162"/>
                        <a:gd name="connsiteX29" fmla="*/ 1974 w 32226"/>
                        <a:gd name="connsiteY29" fmla="*/ 16327 h 36162"/>
                        <a:gd name="connsiteX30" fmla="*/ 2093 w 32226"/>
                        <a:gd name="connsiteY30" fmla="*/ 15968 h 36162"/>
                        <a:gd name="connsiteX31" fmla="*/ 2213 w 32226"/>
                        <a:gd name="connsiteY31" fmla="*/ 15610 h 36162"/>
                        <a:gd name="connsiteX32" fmla="*/ 2333 w 32226"/>
                        <a:gd name="connsiteY32" fmla="*/ 15251 h 36162"/>
                        <a:gd name="connsiteX33" fmla="*/ 2392 w 32226"/>
                        <a:gd name="connsiteY33" fmla="*/ 15071 h 36162"/>
                        <a:gd name="connsiteX34" fmla="*/ 2452 w 32226"/>
                        <a:gd name="connsiteY34" fmla="*/ 14892 h 36162"/>
                        <a:gd name="connsiteX35" fmla="*/ 2512 w 32226"/>
                        <a:gd name="connsiteY35" fmla="*/ 14712 h 36162"/>
                        <a:gd name="connsiteX36" fmla="*/ 2572 w 32226"/>
                        <a:gd name="connsiteY36" fmla="*/ 14533 h 36162"/>
                        <a:gd name="connsiteX37" fmla="*/ 4127 w 32226"/>
                        <a:gd name="connsiteY37" fmla="*/ 11303 h 36162"/>
                        <a:gd name="connsiteX38" fmla="*/ 6100 w 32226"/>
                        <a:gd name="connsiteY38" fmla="*/ 8373 h 36162"/>
                        <a:gd name="connsiteX39" fmla="*/ 8493 w 32226"/>
                        <a:gd name="connsiteY39" fmla="*/ 5801 h 36162"/>
                        <a:gd name="connsiteX40" fmla="*/ 11184 w 32226"/>
                        <a:gd name="connsiteY40" fmla="*/ 3708 h 36162"/>
                        <a:gd name="connsiteX41" fmla="*/ 13038 w 32226"/>
                        <a:gd name="connsiteY41" fmla="*/ 2691 h 36162"/>
                        <a:gd name="connsiteX42" fmla="*/ 14892 w 32226"/>
                        <a:gd name="connsiteY42" fmla="*/ 1914 h 36162"/>
                        <a:gd name="connsiteX43" fmla="*/ 16746 w 32226"/>
                        <a:gd name="connsiteY43" fmla="*/ 1375 h 36162"/>
                        <a:gd name="connsiteX44" fmla="*/ 18600 w 32226"/>
                        <a:gd name="connsiteY44" fmla="*/ 1076 h 36162"/>
                        <a:gd name="connsiteX45" fmla="*/ 18899 w 32226"/>
                        <a:gd name="connsiteY45" fmla="*/ 1076 h 36162"/>
                        <a:gd name="connsiteX46" fmla="*/ 19198 w 32226"/>
                        <a:gd name="connsiteY46" fmla="*/ 1076 h 36162"/>
                        <a:gd name="connsiteX47" fmla="*/ 19497 w 32226"/>
                        <a:gd name="connsiteY47" fmla="*/ 1076 h 36162"/>
                        <a:gd name="connsiteX48" fmla="*/ 19796 w 32226"/>
                        <a:gd name="connsiteY48" fmla="*/ 1076 h 36162"/>
                        <a:gd name="connsiteX49" fmla="*/ 20813 w 32226"/>
                        <a:gd name="connsiteY49" fmla="*/ 1136 h 36162"/>
                        <a:gd name="connsiteX50" fmla="*/ 21830 w 32226"/>
                        <a:gd name="connsiteY50" fmla="*/ 1256 h 36162"/>
                        <a:gd name="connsiteX51" fmla="*/ 22846 w 32226"/>
                        <a:gd name="connsiteY51" fmla="*/ 1435 h 36162"/>
                        <a:gd name="connsiteX52" fmla="*/ 23803 w 32226"/>
                        <a:gd name="connsiteY52" fmla="*/ 1734 h 36162"/>
                        <a:gd name="connsiteX53" fmla="*/ 23983 w 32226"/>
                        <a:gd name="connsiteY53" fmla="*/ 1794 h 36162"/>
                        <a:gd name="connsiteX54" fmla="*/ 24162 w 32226"/>
                        <a:gd name="connsiteY54" fmla="*/ 1854 h 36162"/>
                        <a:gd name="connsiteX55" fmla="*/ 24342 w 32226"/>
                        <a:gd name="connsiteY55" fmla="*/ 1914 h 36162"/>
                        <a:gd name="connsiteX56" fmla="*/ 24521 w 32226"/>
                        <a:gd name="connsiteY56" fmla="*/ 1973 h 36162"/>
                        <a:gd name="connsiteX57" fmla="*/ 25298 w 32226"/>
                        <a:gd name="connsiteY57" fmla="*/ 2332 h 36162"/>
                        <a:gd name="connsiteX58" fmla="*/ 26016 w 32226"/>
                        <a:gd name="connsiteY58" fmla="*/ 2751 h 36162"/>
                        <a:gd name="connsiteX59" fmla="*/ 26734 w 32226"/>
                        <a:gd name="connsiteY59" fmla="*/ 3229 h 36162"/>
                        <a:gd name="connsiteX60" fmla="*/ 27392 w 32226"/>
                        <a:gd name="connsiteY60" fmla="*/ 3768 h 36162"/>
                        <a:gd name="connsiteX61" fmla="*/ 27392 w 32226"/>
                        <a:gd name="connsiteY61" fmla="*/ 3768 h 36162"/>
                        <a:gd name="connsiteX62" fmla="*/ 27392 w 32226"/>
                        <a:gd name="connsiteY62" fmla="*/ 3768 h 36162"/>
                        <a:gd name="connsiteX63" fmla="*/ 27392 w 32226"/>
                        <a:gd name="connsiteY63" fmla="*/ 3768 h 36162"/>
                        <a:gd name="connsiteX64" fmla="*/ 27392 w 32226"/>
                        <a:gd name="connsiteY64" fmla="*/ 3768 h 36162"/>
                        <a:gd name="connsiteX65" fmla="*/ 27512 w 32226"/>
                        <a:gd name="connsiteY65" fmla="*/ 3887 h 36162"/>
                        <a:gd name="connsiteX66" fmla="*/ 27631 w 32226"/>
                        <a:gd name="connsiteY66" fmla="*/ 4007 h 36162"/>
                        <a:gd name="connsiteX67" fmla="*/ 27751 w 32226"/>
                        <a:gd name="connsiteY67" fmla="*/ 4127 h 36162"/>
                        <a:gd name="connsiteX68" fmla="*/ 27870 w 32226"/>
                        <a:gd name="connsiteY68" fmla="*/ 4246 h 36162"/>
                        <a:gd name="connsiteX69" fmla="*/ 28648 w 32226"/>
                        <a:gd name="connsiteY69" fmla="*/ 5143 h 36162"/>
                        <a:gd name="connsiteX70" fmla="*/ 29306 w 32226"/>
                        <a:gd name="connsiteY70" fmla="*/ 6160 h 36162"/>
                        <a:gd name="connsiteX71" fmla="*/ 29844 w 32226"/>
                        <a:gd name="connsiteY71" fmla="*/ 7236 h 36162"/>
                        <a:gd name="connsiteX72" fmla="*/ 30322 w 32226"/>
                        <a:gd name="connsiteY72" fmla="*/ 8433 h 36162"/>
                        <a:gd name="connsiteX73" fmla="*/ 30502 w 32226"/>
                        <a:gd name="connsiteY73" fmla="*/ 9031 h 36162"/>
                        <a:gd name="connsiteX74" fmla="*/ 30681 w 32226"/>
                        <a:gd name="connsiteY74" fmla="*/ 9629 h 36162"/>
                        <a:gd name="connsiteX75" fmla="*/ 30801 w 32226"/>
                        <a:gd name="connsiteY75" fmla="*/ 10227 h 36162"/>
                        <a:gd name="connsiteX76" fmla="*/ 30920 w 32226"/>
                        <a:gd name="connsiteY76" fmla="*/ 10885 h 36162"/>
                        <a:gd name="connsiteX77" fmla="*/ 30980 w 32226"/>
                        <a:gd name="connsiteY77" fmla="*/ 11184 h 36162"/>
                        <a:gd name="connsiteX78" fmla="*/ 31040 w 32226"/>
                        <a:gd name="connsiteY78" fmla="*/ 11483 h 36162"/>
                        <a:gd name="connsiteX79" fmla="*/ 31100 w 32226"/>
                        <a:gd name="connsiteY79" fmla="*/ 11782 h 36162"/>
                        <a:gd name="connsiteX80" fmla="*/ 31100 w 32226"/>
                        <a:gd name="connsiteY80" fmla="*/ 12081 h 36162"/>
                        <a:gd name="connsiteX81" fmla="*/ 31160 w 32226"/>
                        <a:gd name="connsiteY81" fmla="*/ 14294 h 36162"/>
                        <a:gd name="connsiteX82" fmla="*/ 30920 w 32226"/>
                        <a:gd name="connsiteY82" fmla="*/ 16566 h 36162"/>
                        <a:gd name="connsiteX83" fmla="*/ 30382 w 32226"/>
                        <a:gd name="connsiteY83" fmla="*/ 18839 h 36162"/>
                        <a:gd name="connsiteX84" fmla="*/ 29605 w 32226"/>
                        <a:gd name="connsiteY84" fmla="*/ 21112 h 36162"/>
                        <a:gd name="connsiteX85" fmla="*/ 28050 w 32226"/>
                        <a:gd name="connsiteY85" fmla="*/ 24282 h 36162"/>
                        <a:gd name="connsiteX86" fmla="*/ 26076 w 32226"/>
                        <a:gd name="connsiteY86" fmla="*/ 27152 h 36162"/>
                        <a:gd name="connsiteX87" fmla="*/ 23744 w 32226"/>
                        <a:gd name="connsiteY87" fmla="*/ 29664 h 36162"/>
                        <a:gd name="connsiteX88" fmla="*/ 21052 w 32226"/>
                        <a:gd name="connsiteY88" fmla="*/ 31758 h 36162"/>
                        <a:gd name="connsiteX89" fmla="*/ 18780 w 32226"/>
                        <a:gd name="connsiteY89" fmla="*/ 33013 h 36162"/>
                        <a:gd name="connsiteX90" fmla="*/ 16447 w 32226"/>
                        <a:gd name="connsiteY90" fmla="*/ 33911 h 36162"/>
                        <a:gd name="connsiteX91" fmla="*/ 14174 w 32226"/>
                        <a:gd name="connsiteY91" fmla="*/ 34389 h 36162"/>
                        <a:gd name="connsiteX92" fmla="*/ 11902 w 32226"/>
                        <a:gd name="connsiteY92" fmla="*/ 34509 h 36162"/>
                        <a:gd name="connsiteX93" fmla="*/ 11603 w 32226"/>
                        <a:gd name="connsiteY93" fmla="*/ 34509 h 36162"/>
                        <a:gd name="connsiteX94" fmla="*/ 11304 w 32226"/>
                        <a:gd name="connsiteY94" fmla="*/ 34509 h 36162"/>
                        <a:gd name="connsiteX95" fmla="*/ 11005 w 32226"/>
                        <a:gd name="connsiteY95" fmla="*/ 34449 h 36162"/>
                        <a:gd name="connsiteX96" fmla="*/ 10646 w 32226"/>
                        <a:gd name="connsiteY96" fmla="*/ 34748 h 36162"/>
                        <a:gd name="connsiteX97" fmla="*/ 4904 w 32226"/>
                        <a:gd name="connsiteY97" fmla="*/ 32236 h 36162"/>
                        <a:gd name="connsiteX98" fmla="*/ 5921 w 32226"/>
                        <a:gd name="connsiteY98" fmla="*/ 33073 h 36162"/>
                        <a:gd name="connsiteX99" fmla="*/ 7057 w 32226"/>
                        <a:gd name="connsiteY99" fmla="*/ 33731 h 36162"/>
                        <a:gd name="connsiteX100" fmla="*/ 8253 w 32226"/>
                        <a:gd name="connsiteY100" fmla="*/ 34269 h 36162"/>
                        <a:gd name="connsiteX101" fmla="*/ 9569 w 32226"/>
                        <a:gd name="connsiteY101" fmla="*/ 34688 h 36162"/>
                        <a:gd name="connsiteX102" fmla="*/ 12380 w 32226"/>
                        <a:gd name="connsiteY102" fmla="*/ 35047 h 36162"/>
                        <a:gd name="connsiteX103" fmla="*/ 15311 w 32226"/>
                        <a:gd name="connsiteY103" fmla="*/ 34748 h 36162"/>
                        <a:gd name="connsiteX104" fmla="*/ 18241 w 32226"/>
                        <a:gd name="connsiteY104" fmla="*/ 33791 h 36162"/>
                        <a:gd name="connsiteX105" fmla="*/ 21112 w 32226"/>
                        <a:gd name="connsiteY105" fmla="*/ 32236 h 36162"/>
                        <a:gd name="connsiteX106" fmla="*/ 26255 w 32226"/>
                        <a:gd name="connsiteY106" fmla="*/ 27511 h 36162"/>
                        <a:gd name="connsiteX107" fmla="*/ 29724 w 32226"/>
                        <a:gd name="connsiteY107" fmla="*/ 21530 h 36162"/>
                        <a:gd name="connsiteX108" fmla="*/ 31220 w 32226"/>
                        <a:gd name="connsiteY108" fmla="*/ 15011 h 36162"/>
                        <a:gd name="connsiteX109" fmla="*/ 30442 w 32226"/>
                        <a:gd name="connsiteY109" fmla="*/ 8732 h 36162"/>
                        <a:gd name="connsiteX110" fmla="*/ 29844 w 32226"/>
                        <a:gd name="connsiteY110" fmla="*/ 7296 h 36162"/>
                        <a:gd name="connsiteX111" fmla="*/ 29126 w 32226"/>
                        <a:gd name="connsiteY111" fmla="*/ 5981 h 36162"/>
                        <a:gd name="connsiteX112" fmla="*/ 28289 w 32226"/>
                        <a:gd name="connsiteY112" fmla="*/ 4844 h 36162"/>
                        <a:gd name="connsiteX113" fmla="*/ 27332 w 32226"/>
                        <a:gd name="connsiteY113" fmla="*/ 3827 h 36162"/>
                        <a:gd name="connsiteX114" fmla="*/ 23983 w 32226"/>
                        <a:gd name="connsiteY114" fmla="*/ 1734 h 36162"/>
                        <a:gd name="connsiteX115" fmla="*/ 19976 w 32226"/>
                        <a:gd name="connsiteY115" fmla="*/ 957 h 36162"/>
                        <a:gd name="connsiteX116" fmla="*/ 15610 w 32226"/>
                        <a:gd name="connsiteY116" fmla="*/ 1615 h 36162"/>
                        <a:gd name="connsiteX117" fmla="*/ 11124 w 32226"/>
                        <a:gd name="connsiteY117" fmla="*/ 3708 h 36162"/>
                        <a:gd name="connsiteX118" fmla="*/ 5921 w 32226"/>
                        <a:gd name="connsiteY118" fmla="*/ 8493 h 36162"/>
                        <a:gd name="connsiteX119" fmla="*/ 2392 w 32226"/>
                        <a:gd name="connsiteY119" fmla="*/ 14593 h 36162"/>
                        <a:gd name="connsiteX120" fmla="*/ 897 w 32226"/>
                        <a:gd name="connsiteY120" fmla="*/ 21172 h 36162"/>
                        <a:gd name="connsiteX121" fmla="*/ 1735 w 32226"/>
                        <a:gd name="connsiteY121" fmla="*/ 27451 h 36162"/>
                        <a:gd name="connsiteX122" fmla="*/ 2333 w 32226"/>
                        <a:gd name="connsiteY122" fmla="*/ 28827 h 36162"/>
                        <a:gd name="connsiteX123" fmla="*/ 3050 w 32226"/>
                        <a:gd name="connsiteY123" fmla="*/ 30083 h 36162"/>
                        <a:gd name="connsiteX124" fmla="*/ 3888 w 32226"/>
                        <a:gd name="connsiteY124" fmla="*/ 31219 h 36162"/>
                        <a:gd name="connsiteX125" fmla="*/ 4904 w 32226"/>
                        <a:gd name="connsiteY125" fmla="*/ 32236 h 36162"/>
                        <a:gd name="connsiteX126" fmla="*/ 27990 w 32226"/>
                        <a:gd name="connsiteY126" fmla="*/ 3050 h 36162"/>
                        <a:gd name="connsiteX127" fmla="*/ 29007 w 32226"/>
                        <a:gd name="connsiteY127" fmla="*/ 4127 h 36162"/>
                        <a:gd name="connsiteX128" fmla="*/ 29904 w 32226"/>
                        <a:gd name="connsiteY128" fmla="*/ 5323 h 36162"/>
                        <a:gd name="connsiteX129" fmla="*/ 30681 w 32226"/>
                        <a:gd name="connsiteY129" fmla="*/ 6698 h 36162"/>
                        <a:gd name="connsiteX130" fmla="*/ 31279 w 32226"/>
                        <a:gd name="connsiteY130" fmla="*/ 8194 h 36162"/>
                        <a:gd name="connsiteX131" fmla="*/ 32116 w 32226"/>
                        <a:gd name="connsiteY131" fmla="*/ 14832 h 36162"/>
                        <a:gd name="connsiteX132" fmla="*/ 30502 w 32226"/>
                        <a:gd name="connsiteY132" fmla="*/ 21710 h 36162"/>
                        <a:gd name="connsiteX133" fmla="*/ 26853 w 32226"/>
                        <a:gd name="connsiteY133" fmla="*/ 28050 h 36162"/>
                        <a:gd name="connsiteX134" fmla="*/ 21411 w 32226"/>
                        <a:gd name="connsiteY134" fmla="*/ 33073 h 36162"/>
                        <a:gd name="connsiteX135" fmla="*/ 18361 w 32226"/>
                        <a:gd name="connsiteY135" fmla="*/ 34748 h 36162"/>
                        <a:gd name="connsiteX136" fmla="*/ 15251 w 32226"/>
                        <a:gd name="connsiteY136" fmla="*/ 35765 h 36162"/>
                        <a:gd name="connsiteX137" fmla="*/ 12201 w 32226"/>
                        <a:gd name="connsiteY137" fmla="*/ 36123 h 36162"/>
                        <a:gd name="connsiteX138" fmla="*/ 9211 w 32226"/>
                        <a:gd name="connsiteY138" fmla="*/ 35765 h 36162"/>
                        <a:gd name="connsiteX139" fmla="*/ 7835 w 32226"/>
                        <a:gd name="connsiteY139" fmla="*/ 35346 h 36162"/>
                        <a:gd name="connsiteX140" fmla="*/ 6579 w 32226"/>
                        <a:gd name="connsiteY140" fmla="*/ 34748 h 36162"/>
                        <a:gd name="connsiteX141" fmla="*/ 5383 w 32226"/>
                        <a:gd name="connsiteY141" fmla="*/ 34030 h 36162"/>
                        <a:gd name="connsiteX142" fmla="*/ 4306 w 32226"/>
                        <a:gd name="connsiteY142" fmla="*/ 33193 h 36162"/>
                        <a:gd name="connsiteX143" fmla="*/ 3289 w 32226"/>
                        <a:gd name="connsiteY143" fmla="*/ 32116 h 36162"/>
                        <a:gd name="connsiteX144" fmla="*/ 2392 w 32226"/>
                        <a:gd name="connsiteY144" fmla="*/ 30920 h 36162"/>
                        <a:gd name="connsiteX145" fmla="*/ 1615 w 32226"/>
                        <a:gd name="connsiteY145" fmla="*/ 29545 h 36162"/>
                        <a:gd name="connsiteX146" fmla="*/ 957 w 32226"/>
                        <a:gd name="connsiteY146" fmla="*/ 28050 h 36162"/>
                        <a:gd name="connsiteX147" fmla="*/ 60 w 32226"/>
                        <a:gd name="connsiteY147" fmla="*/ 21411 h 36162"/>
                        <a:gd name="connsiteX148" fmla="*/ 1615 w 32226"/>
                        <a:gd name="connsiteY148" fmla="*/ 14473 h 36162"/>
                        <a:gd name="connsiteX149" fmla="*/ 5323 w 32226"/>
                        <a:gd name="connsiteY149" fmla="*/ 8074 h 36162"/>
                        <a:gd name="connsiteX150" fmla="*/ 10885 w 32226"/>
                        <a:gd name="connsiteY150" fmla="*/ 2990 h 36162"/>
                        <a:gd name="connsiteX151" fmla="*/ 15669 w 32226"/>
                        <a:gd name="connsiteY151" fmla="*/ 718 h 36162"/>
                        <a:gd name="connsiteX152" fmla="*/ 20335 w 32226"/>
                        <a:gd name="connsiteY152" fmla="*/ 60 h 36162"/>
                        <a:gd name="connsiteX153" fmla="*/ 24581 w 32226"/>
                        <a:gd name="connsiteY153" fmla="*/ 897 h 36162"/>
                        <a:gd name="connsiteX154" fmla="*/ 27990 w 32226"/>
                        <a:gd name="connsiteY154" fmla="*/ 3050 h 36162"/>
                        <a:gd name="connsiteX155" fmla="*/ 4127 w 32226"/>
                        <a:gd name="connsiteY155" fmla="*/ 33193 h 36162"/>
                        <a:gd name="connsiteX156" fmla="*/ 5263 w 32226"/>
                        <a:gd name="connsiteY156" fmla="*/ 34090 h 36162"/>
                        <a:gd name="connsiteX157" fmla="*/ 6519 w 32226"/>
                        <a:gd name="connsiteY157" fmla="*/ 34808 h 36162"/>
                        <a:gd name="connsiteX158" fmla="*/ 7835 w 32226"/>
                        <a:gd name="connsiteY158" fmla="*/ 35406 h 36162"/>
                        <a:gd name="connsiteX159" fmla="*/ 9211 w 32226"/>
                        <a:gd name="connsiteY159" fmla="*/ 35824 h 36162"/>
                        <a:gd name="connsiteX160" fmla="*/ 9510 w 32226"/>
                        <a:gd name="connsiteY160" fmla="*/ 35884 h 36162"/>
                        <a:gd name="connsiteX161" fmla="*/ 9808 w 32226"/>
                        <a:gd name="connsiteY161" fmla="*/ 35944 h 36162"/>
                        <a:gd name="connsiteX162" fmla="*/ 10107 w 32226"/>
                        <a:gd name="connsiteY162" fmla="*/ 36004 h 36162"/>
                        <a:gd name="connsiteX163" fmla="*/ 10406 w 32226"/>
                        <a:gd name="connsiteY163" fmla="*/ 36064 h 36162"/>
                        <a:gd name="connsiteX164" fmla="*/ 13098 w 32226"/>
                        <a:gd name="connsiteY164" fmla="*/ 36123 h 36162"/>
                        <a:gd name="connsiteX165" fmla="*/ 15849 w 32226"/>
                        <a:gd name="connsiteY165" fmla="*/ 35645 h 36162"/>
                        <a:gd name="connsiteX166" fmla="*/ 18660 w 32226"/>
                        <a:gd name="connsiteY166" fmla="*/ 34688 h 36162"/>
                        <a:gd name="connsiteX167" fmla="*/ 21411 w 32226"/>
                        <a:gd name="connsiteY167" fmla="*/ 33193 h 36162"/>
                        <a:gd name="connsiteX168" fmla="*/ 26315 w 32226"/>
                        <a:gd name="connsiteY168" fmla="*/ 28827 h 36162"/>
                        <a:gd name="connsiteX169" fmla="*/ 29904 w 32226"/>
                        <a:gd name="connsiteY169" fmla="*/ 23325 h 36162"/>
                        <a:gd name="connsiteX170" fmla="*/ 31877 w 32226"/>
                        <a:gd name="connsiteY170" fmla="*/ 17284 h 36162"/>
                        <a:gd name="connsiteX171" fmla="*/ 32057 w 32226"/>
                        <a:gd name="connsiteY171" fmla="*/ 11184 h 36162"/>
                        <a:gd name="connsiteX172" fmla="*/ 31997 w 32226"/>
                        <a:gd name="connsiteY172" fmla="*/ 10885 h 36162"/>
                        <a:gd name="connsiteX173" fmla="*/ 31937 w 32226"/>
                        <a:gd name="connsiteY173" fmla="*/ 10586 h 36162"/>
                        <a:gd name="connsiteX174" fmla="*/ 31877 w 32226"/>
                        <a:gd name="connsiteY174" fmla="*/ 10287 h 36162"/>
                        <a:gd name="connsiteX175" fmla="*/ 31817 w 32226"/>
                        <a:gd name="connsiteY175" fmla="*/ 9988 h 36162"/>
                        <a:gd name="connsiteX176" fmla="*/ 31698 w 32226"/>
                        <a:gd name="connsiteY176" fmla="*/ 9509 h 36162"/>
                        <a:gd name="connsiteX177" fmla="*/ 31578 w 32226"/>
                        <a:gd name="connsiteY177" fmla="*/ 9031 h 36162"/>
                        <a:gd name="connsiteX178" fmla="*/ 31459 w 32226"/>
                        <a:gd name="connsiteY178" fmla="*/ 8552 h 36162"/>
                        <a:gd name="connsiteX179" fmla="*/ 31279 w 32226"/>
                        <a:gd name="connsiteY179" fmla="*/ 8074 h 36162"/>
                        <a:gd name="connsiteX180" fmla="*/ 30801 w 32226"/>
                        <a:gd name="connsiteY180" fmla="*/ 6818 h 36162"/>
                        <a:gd name="connsiteX181" fmla="*/ 30203 w 32226"/>
                        <a:gd name="connsiteY181" fmla="*/ 5622 h 36162"/>
                        <a:gd name="connsiteX182" fmla="*/ 29485 w 32226"/>
                        <a:gd name="connsiteY182" fmla="*/ 4545 h 36162"/>
                        <a:gd name="connsiteX183" fmla="*/ 28648 w 32226"/>
                        <a:gd name="connsiteY183" fmla="*/ 3528 h 36162"/>
                        <a:gd name="connsiteX184" fmla="*/ 28528 w 32226"/>
                        <a:gd name="connsiteY184" fmla="*/ 3409 h 36162"/>
                        <a:gd name="connsiteX185" fmla="*/ 28408 w 32226"/>
                        <a:gd name="connsiteY185" fmla="*/ 3289 h 36162"/>
                        <a:gd name="connsiteX186" fmla="*/ 28289 w 32226"/>
                        <a:gd name="connsiteY186" fmla="*/ 3170 h 36162"/>
                        <a:gd name="connsiteX187" fmla="*/ 28169 w 32226"/>
                        <a:gd name="connsiteY187" fmla="*/ 3050 h 36162"/>
                        <a:gd name="connsiteX188" fmla="*/ 28169 w 32226"/>
                        <a:gd name="connsiteY188" fmla="*/ 3050 h 36162"/>
                        <a:gd name="connsiteX189" fmla="*/ 28169 w 32226"/>
                        <a:gd name="connsiteY189" fmla="*/ 3050 h 36162"/>
                        <a:gd name="connsiteX190" fmla="*/ 28169 w 32226"/>
                        <a:gd name="connsiteY190" fmla="*/ 3050 h 36162"/>
                        <a:gd name="connsiteX191" fmla="*/ 28169 w 32226"/>
                        <a:gd name="connsiteY191" fmla="*/ 3050 h 36162"/>
                        <a:gd name="connsiteX192" fmla="*/ 27512 w 32226"/>
                        <a:gd name="connsiteY192" fmla="*/ 2512 h 36162"/>
                        <a:gd name="connsiteX193" fmla="*/ 26794 w 32226"/>
                        <a:gd name="connsiteY193" fmla="*/ 1973 h 36162"/>
                        <a:gd name="connsiteX194" fmla="*/ 26076 w 32226"/>
                        <a:gd name="connsiteY194" fmla="*/ 1495 h 36162"/>
                        <a:gd name="connsiteX195" fmla="*/ 25298 w 32226"/>
                        <a:gd name="connsiteY195" fmla="*/ 1076 h 36162"/>
                        <a:gd name="connsiteX196" fmla="*/ 25119 w 32226"/>
                        <a:gd name="connsiteY196" fmla="*/ 957 h 36162"/>
                        <a:gd name="connsiteX197" fmla="*/ 24940 w 32226"/>
                        <a:gd name="connsiteY197" fmla="*/ 897 h 36162"/>
                        <a:gd name="connsiteX198" fmla="*/ 24760 w 32226"/>
                        <a:gd name="connsiteY198" fmla="*/ 837 h 36162"/>
                        <a:gd name="connsiteX199" fmla="*/ 24581 w 32226"/>
                        <a:gd name="connsiteY199" fmla="*/ 778 h 36162"/>
                        <a:gd name="connsiteX200" fmla="*/ 23624 w 32226"/>
                        <a:gd name="connsiteY200" fmla="*/ 478 h 36162"/>
                        <a:gd name="connsiteX201" fmla="*/ 22667 w 32226"/>
                        <a:gd name="connsiteY201" fmla="*/ 239 h 36162"/>
                        <a:gd name="connsiteX202" fmla="*/ 21710 w 32226"/>
                        <a:gd name="connsiteY202" fmla="*/ 60 h 36162"/>
                        <a:gd name="connsiteX203" fmla="*/ 20693 w 32226"/>
                        <a:gd name="connsiteY203" fmla="*/ 0 h 36162"/>
                        <a:gd name="connsiteX204" fmla="*/ 20454 w 32226"/>
                        <a:gd name="connsiteY204" fmla="*/ 0 h 36162"/>
                        <a:gd name="connsiteX205" fmla="*/ 20215 w 32226"/>
                        <a:gd name="connsiteY205" fmla="*/ 0 h 36162"/>
                        <a:gd name="connsiteX206" fmla="*/ 19976 w 32226"/>
                        <a:gd name="connsiteY206" fmla="*/ 0 h 36162"/>
                        <a:gd name="connsiteX207" fmla="*/ 19736 w 32226"/>
                        <a:gd name="connsiteY207" fmla="*/ 0 h 36162"/>
                        <a:gd name="connsiteX208" fmla="*/ 17583 w 32226"/>
                        <a:gd name="connsiteY208" fmla="*/ 239 h 36162"/>
                        <a:gd name="connsiteX209" fmla="*/ 15371 w 32226"/>
                        <a:gd name="connsiteY209" fmla="*/ 837 h 36162"/>
                        <a:gd name="connsiteX210" fmla="*/ 13158 w 32226"/>
                        <a:gd name="connsiteY210" fmla="*/ 1734 h 36162"/>
                        <a:gd name="connsiteX211" fmla="*/ 10945 w 32226"/>
                        <a:gd name="connsiteY211" fmla="*/ 2990 h 36162"/>
                        <a:gd name="connsiteX212" fmla="*/ 8014 w 32226"/>
                        <a:gd name="connsiteY212" fmla="*/ 5263 h 36162"/>
                        <a:gd name="connsiteX213" fmla="*/ 5443 w 32226"/>
                        <a:gd name="connsiteY213" fmla="*/ 8014 h 36162"/>
                        <a:gd name="connsiteX214" fmla="*/ 3289 w 32226"/>
                        <a:gd name="connsiteY214" fmla="*/ 11124 h 36162"/>
                        <a:gd name="connsiteX215" fmla="*/ 1615 w 32226"/>
                        <a:gd name="connsiteY215" fmla="*/ 14593 h 36162"/>
                        <a:gd name="connsiteX216" fmla="*/ 1435 w 32226"/>
                        <a:gd name="connsiteY216" fmla="*/ 15131 h 36162"/>
                        <a:gd name="connsiteX217" fmla="*/ 1256 w 32226"/>
                        <a:gd name="connsiteY217" fmla="*/ 15669 h 36162"/>
                        <a:gd name="connsiteX218" fmla="*/ 1076 w 32226"/>
                        <a:gd name="connsiteY218" fmla="*/ 16208 h 36162"/>
                        <a:gd name="connsiteX219" fmla="*/ 897 w 32226"/>
                        <a:gd name="connsiteY219" fmla="*/ 16746 h 36162"/>
                        <a:gd name="connsiteX220" fmla="*/ 778 w 32226"/>
                        <a:gd name="connsiteY220" fmla="*/ 17105 h 36162"/>
                        <a:gd name="connsiteX221" fmla="*/ 658 w 32226"/>
                        <a:gd name="connsiteY221" fmla="*/ 17464 h 36162"/>
                        <a:gd name="connsiteX222" fmla="*/ 598 w 32226"/>
                        <a:gd name="connsiteY222" fmla="*/ 17822 h 36162"/>
                        <a:gd name="connsiteX223" fmla="*/ 538 w 32226"/>
                        <a:gd name="connsiteY223" fmla="*/ 18181 h 36162"/>
                        <a:gd name="connsiteX224" fmla="*/ 239 w 32226"/>
                        <a:gd name="connsiteY224" fmla="*/ 19796 h 36162"/>
                        <a:gd name="connsiteX225" fmla="*/ 60 w 32226"/>
                        <a:gd name="connsiteY225" fmla="*/ 21411 h 36162"/>
                        <a:gd name="connsiteX226" fmla="*/ 0 w 32226"/>
                        <a:gd name="connsiteY226" fmla="*/ 23026 h 36162"/>
                        <a:gd name="connsiteX227" fmla="*/ 60 w 32226"/>
                        <a:gd name="connsiteY227" fmla="*/ 24581 h 36162"/>
                        <a:gd name="connsiteX228" fmla="*/ 60 w 32226"/>
                        <a:gd name="connsiteY228" fmla="*/ 24820 h 36162"/>
                        <a:gd name="connsiteX229" fmla="*/ 60 w 32226"/>
                        <a:gd name="connsiteY229" fmla="*/ 25059 h 36162"/>
                        <a:gd name="connsiteX230" fmla="*/ 120 w 32226"/>
                        <a:gd name="connsiteY230" fmla="*/ 25298 h 36162"/>
                        <a:gd name="connsiteX231" fmla="*/ 180 w 32226"/>
                        <a:gd name="connsiteY231" fmla="*/ 25537 h 36162"/>
                        <a:gd name="connsiteX232" fmla="*/ 299 w 32226"/>
                        <a:gd name="connsiteY232" fmla="*/ 26315 h 36162"/>
                        <a:gd name="connsiteX233" fmla="*/ 479 w 32226"/>
                        <a:gd name="connsiteY233" fmla="*/ 27033 h 36162"/>
                        <a:gd name="connsiteX234" fmla="*/ 658 w 32226"/>
                        <a:gd name="connsiteY234" fmla="*/ 27750 h 36162"/>
                        <a:gd name="connsiteX235" fmla="*/ 897 w 32226"/>
                        <a:gd name="connsiteY235" fmla="*/ 28468 h 36162"/>
                        <a:gd name="connsiteX236" fmla="*/ 1256 w 32226"/>
                        <a:gd name="connsiteY236" fmla="*/ 29365 h 36162"/>
                        <a:gd name="connsiteX237" fmla="*/ 1675 w 32226"/>
                        <a:gd name="connsiteY237" fmla="*/ 30203 h 36162"/>
                        <a:gd name="connsiteX238" fmla="*/ 2093 w 32226"/>
                        <a:gd name="connsiteY238" fmla="*/ 30980 h 36162"/>
                        <a:gd name="connsiteX239" fmla="*/ 2572 w 32226"/>
                        <a:gd name="connsiteY239" fmla="*/ 31698 h 36162"/>
                        <a:gd name="connsiteX240" fmla="*/ 2691 w 32226"/>
                        <a:gd name="connsiteY240" fmla="*/ 31877 h 36162"/>
                        <a:gd name="connsiteX241" fmla="*/ 2811 w 32226"/>
                        <a:gd name="connsiteY241" fmla="*/ 32057 h 36162"/>
                        <a:gd name="connsiteX242" fmla="*/ 2930 w 32226"/>
                        <a:gd name="connsiteY242" fmla="*/ 32236 h 36162"/>
                        <a:gd name="connsiteX243" fmla="*/ 3050 w 32226"/>
                        <a:gd name="connsiteY243" fmla="*/ 32415 h 36162"/>
                        <a:gd name="connsiteX244" fmla="*/ 3349 w 32226"/>
                        <a:gd name="connsiteY244" fmla="*/ 32774 h 36162"/>
                        <a:gd name="connsiteX245" fmla="*/ 3648 w 32226"/>
                        <a:gd name="connsiteY245" fmla="*/ 33073 h 36162"/>
                        <a:gd name="connsiteX246" fmla="*/ 3947 w 32226"/>
                        <a:gd name="connsiteY246" fmla="*/ 33372 h 36162"/>
                        <a:gd name="connsiteX247" fmla="*/ 4127 w 32226"/>
                        <a:gd name="connsiteY247" fmla="*/ 33193 h 3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32226" h="36162">
                          <a:moveTo>
                            <a:pt x="10646" y="34748"/>
                          </a:moveTo>
                          <a:cubicBezTo>
                            <a:pt x="10107" y="34688"/>
                            <a:pt x="9569" y="34568"/>
                            <a:pt x="9091" y="34389"/>
                          </a:cubicBezTo>
                          <a:cubicBezTo>
                            <a:pt x="8612" y="34269"/>
                            <a:pt x="8074" y="34030"/>
                            <a:pt x="7596" y="33851"/>
                          </a:cubicBezTo>
                          <a:cubicBezTo>
                            <a:pt x="7117" y="33612"/>
                            <a:pt x="6639" y="33372"/>
                            <a:pt x="6220" y="33073"/>
                          </a:cubicBezTo>
                          <a:cubicBezTo>
                            <a:pt x="5801" y="32774"/>
                            <a:pt x="5323" y="32475"/>
                            <a:pt x="4964" y="32116"/>
                          </a:cubicBezTo>
                          <a:cubicBezTo>
                            <a:pt x="4904" y="32057"/>
                            <a:pt x="4785" y="31937"/>
                            <a:pt x="4725" y="31877"/>
                          </a:cubicBezTo>
                          <a:cubicBezTo>
                            <a:pt x="4665" y="31817"/>
                            <a:pt x="4545" y="31698"/>
                            <a:pt x="4486" y="31638"/>
                          </a:cubicBezTo>
                          <a:cubicBezTo>
                            <a:pt x="4426" y="31578"/>
                            <a:pt x="4306" y="31458"/>
                            <a:pt x="4246" y="31399"/>
                          </a:cubicBezTo>
                          <a:cubicBezTo>
                            <a:pt x="4187" y="31339"/>
                            <a:pt x="4067" y="31219"/>
                            <a:pt x="4007" y="31159"/>
                          </a:cubicBezTo>
                          <a:cubicBezTo>
                            <a:pt x="3947" y="31099"/>
                            <a:pt x="3888" y="31040"/>
                            <a:pt x="3888" y="30980"/>
                          </a:cubicBezTo>
                          <a:cubicBezTo>
                            <a:pt x="3888" y="30920"/>
                            <a:pt x="3768" y="30860"/>
                            <a:pt x="3768" y="30800"/>
                          </a:cubicBezTo>
                          <a:cubicBezTo>
                            <a:pt x="3768" y="30741"/>
                            <a:pt x="3708" y="30681"/>
                            <a:pt x="3648" y="30621"/>
                          </a:cubicBezTo>
                          <a:cubicBezTo>
                            <a:pt x="3589" y="30561"/>
                            <a:pt x="3589" y="30502"/>
                            <a:pt x="3529" y="30442"/>
                          </a:cubicBezTo>
                          <a:cubicBezTo>
                            <a:pt x="3349" y="30203"/>
                            <a:pt x="3170" y="29963"/>
                            <a:pt x="3050" y="29724"/>
                          </a:cubicBezTo>
                          <a:cubicBezTo>
                            <a:pt x="2930" y="29485"/>
                            <a:pt x="2751" y="29245"/>
                            <a:pt x="2632" y="28946"/>
                          </a:cubicBezTo>
                          <a:cubicBezTo>
                            <a:pt x="2512" y="28707"/>
                            <a:pt x="2392" y="28408"/>
                            <a:pt x="2273" y="28169"/>
                          </a:cubicBezTo>
                          <a:cubicBezTo>
                            <a:pt x="2153" y="27870"/>
                            <a:pt x="2034" y="27631"/>
                            <a:pt x="1914" y="27332"/>
                          </a:cubicBezTo>
                          <a:cubicBezTo>
                            <a:pt x="1854" y="27092"/>
                            <a:pt x="1735" y="26853"/>
                            <a:pt x="1675" y="26614"/>
                          </a:cubicBezTo>
                          <a:cubicBezTo>
                            <a:pt x="1615" y="26375"/>
                            <a:pt x="1555" y="26136"/>
                            <a:pt x="1495" y="25837"/>
                          </a:cubicBezTo>
                          <a:cubicBezTo>
                            <a:pt x="1435" y="25597"/>
                            <a:pt x="1375" y="25298"/>
                            <a:pt x="1316" y="25059"/>
                          </a:cubicBezTo>
                          <a:cubicBezTo>
                            <a:pt x="1256" y="24820"/>
                            <a:pt x="1256" y="24521"/>
                            <a:pt x="1196" y="24282"/>
                          </a:cubicBezTo>
                          <a:cubicBezTo>
                            <a:pt x="1196" y="24222"/>
                            <a:pt x="1196" y="24102"/>
                            <a:pt x="1136" y="24042"/>
                          </a:cubicBezTo>
                          <a:cubicBezTo>
                            <a:pt x="1076" y="23982"/>
                            <a:pt x="1136" y="23863"/>
                            <a:pt x="1136" y="23803"/>
                          </a:cubicBezTo>
                          <a:cubicBezTo>
                            <a:pt x="1136" y="23743"/>
                            <a:pt x="1136" y="23624"/>
                            <a:pt x="1136" y="23564"/>
                          </a:cubicBezTo>
                          <a:cubicBezTo>
                            <a:pt x="1136" y="23504"/>
                            <a:pt x="1136" y="23384"/>
                            <a:pt x="1136" y="23325"/>
                          </a:cubicBezTo>
                          <a:cubicBezTo>
                            <a:pt x="1076" y="22787"/>
                            <a:pt x="1076" y="22248"/>
                            <a:pt x="1076" y="21710"/>
                          </a:cubicBezTo>
                          <a:cubicBezTo>
                            <a:pt x="1076" y="21172"/>
                            <a:pt x="1136" y="20633"/>
                            <a:pt x="1196" y="20035"/>
                          </a:cubicBezTo>
                          <a:cubicBezTo>
                            <a:pt x="1256" y="19497"/>
                            <a:pt x="1316" y="18899"/>
                            <a:pt x="1435" y="18361"/>
                          </a:cubicBezTo>
                          <a:cubicBezTo>
                            <a:pt x="1555" y="17822"/>
                            <a:pt x="1675" y="17225"/>
                            <a:pt x="1854" y="16686"/>
                          </a:cubicBezTo>
                          <a:cubicBezTo>
                            <a:pt x="1914" y="16566"/>
                            <a:pt x="1914" y="16447"/>
                            <a:pt x="1974" y="16327"/>
                          </a:cubicBezTo>
                          <a:cubicBezTo>
                            <a:pt x="2034" y="16208"/>
                            <a:pt x="2034" y="16088"/>
                            <a:pt x="2093" y="15968"/>
                          </a:cubicBezTo>
                          <a:cubicBezTo>
                            <a:pt x="2153" y="15849"/>
                            <a:pt x="2153" y="15729"/>
                            <a:pt x="2213" y="15610"/>
                          </a:cubicBezTo>
                          <a:cubicBezTo>
                            <a:pt x="2273" y="15490"/>
                            <a:pt x="2273" y="15370"/>
                            <a:pt x="2333" y="15251"/>
                          </a:cubicBezTo>
                          <a:cubicBezTo>
                            <a:pt x="2333" y="15191"/>
                            <a:pt x="2392" y="15131"/>
                            <a:pt x="2392" y="15071"/>
                          </a:cubicBezTo>
                          <a:cubicBezTo>
                            <a:pt x="2392" y="15011"/>
                            <a:pt x="2452" y="14952"/>
                            <a:pt x="2452" y="14892"/>
                          </a:cubicBezTo>
                          <a:cubicBezTo>
                            <a:pt x="2452" y="14832"/>
                            <a:pt x="2512" y="14772"/>
                            <a:pt x="2512" y="14712"/>
                          </a:cubicBezTo>
                          <a:cubicBezTo>
                            <a:pt x="2512" y="14652"/>
                            <a:pt x="2572" y="14593"/>
                            <a:pt x="2572" y="14533"/>
                          </a:cubicBezTo>
                          <a:cubicBezTo>
                            <a:pt x="2990" y="13397"/>
                            <a:pt x="3529" y="12380"/>
                            <a:pt x="4127" y="11303"/>
                          </a:cubicBezTo>
                          <a:cubicBezTo>
                            <a:pt x="4725" y="10287"/>
                            <a:pt x="5383" y="9330"/>
                            <a:pt x="6100" y="8373"/>
                          </a:cubicBezTo>
                          <a:cubicBezTo>
                            <a:pt x="6818" y="7476"/>
                            <a:pt x="7656" y="6579"/>
                            <a:pt x="8493" y="5801"/>
                          </a:cubicBezTo>
                          <a:cubicBezTo>
                            <a:pt x="9330" y="5024"/>
                            <a:pt x="10227" y="4306"/>
                            <a:pt x="11184" y="3708"/>
                          </a:cubicBezTo>
                          <a:cubicBezTo>
                            <a:pt x="11782" y="3289"/>
                            <a:pt x="12380" y="2990"/>
                            <a:pt x="13038" y="2691"/>
                          </a:cubicBezTo>
                          <a:cubicBezTo>
                            <a:pt x="13636" y="2392"/>
                            <a:pt x="14294" y="2093"/>
                            <a:pt x="14892" y="1914"/>
                          </a:cubicBezTo>
                          <a:cubicBezTo>
                            <a:pt x="15490" y="1734"/>
                            <a:pt x="16148" y="1495"/>
                            <a:pt x="16746" y="1375"/>
                          </a:cubicBezTo>
                          <a:cubicBezTo>
                            <a:pt x="17344" y="1256"/>
                            <a:pt x="17942" y="1136"/>
                            <a:pt x="18600" y="1076"/>
                          </a:cubicBezTo>
                          <a:cubicBezTo>
                            <a:pt x="18720" y="1076"/>
                            <a:pt x="18780" y="1076"/>
                            <a:pt x="18899" y="1076"/>
                          </a:cubicBezTo>
                          <a:cubicBezTo>
                            <a:pt x="19019" y="1076"/>
                            <a:pt x="19079" y="1076"/>
                            <a:pt x="19198" y="1076"/>
                          </a:cubicBezTo>
                          <a:cubicBezTo>
                            <a:pt x="19318" y="1076"/>
                            <a:pt x="19377" y="1076"/>
                            <a:pt x="19497" y="1076"/>
                          </a:cubicBezTo>
                          <a:cubicBezTo>
                            <a:pt x="19617" y="1076"/>
                            <a:pt x="19677" y="1076"/>
                            <a:pt x="19796" y="1076"/>
                          </a:cubicBezTo>
                          <a:cubicBezTo>
                            <a:pt x="20155" y="1076"/>
                            <a:pt x="20514" y="1076"/>
                            <a:pt x="20813" y="1136"/>
                          </a:cubicBezTo>
                          <a:cubicBezTo>
                            <a:pt x="21172" y="1136"/>
                            <a:pt x="21471" y="1196"/>
                            <a:pt x="21830" y="1256"/>
                          </a:cubicBezTo>
                          <a:cubicBezTo>
                            <a:pt x="22189" y="1316"/>
                            <a:pt x="22488" y="1375"/>
                            <a:pt x="22846" y="1435"/>
                          </a:cubicBezTo>
                          <a:cubicBezTo>
                            <a:pt x="23205" y="1495"/>
                            <a:pt x="23504" y="1615"/>
                            <a:pt x="23803" y="1734"/>
                          </a:cubicBezTo>
                          <a:cubicBezTo>
                            <a:pt x="23863" y="1734"/>
                            <a:pt x="23923" y="1794"/>
                            <a:pt x="23983" y="1794"/>
                          </a:cubicBezTo>
                          <a:cubicBezTo>
                            <a:pt x="24043" y="1794"/>
                            <a:pt x="24102" y="1854"/>
                            <a:pt x="24162" y="1854"/>
                          </a:cubicBezTo>
                          <a:cubicBezTo>
                            <a:pt x="24222" y="1854"/>
                            <a:pt x="24282" y="1914"/>
                            <a:pt x="24342" y="1914"/>
                          </a:cubicBezTo>
                          <a:cubicBezTo>
                            <a:pt x="24401" y="1914"/>
                            <a:pt x="24461" y="1973"/>
                            <a:pt x="24521" y="1973"/>
                          </a:cubicBezTo>
                          <a:cubicBezTo>
                            <a:pt x="24760" y="2093"/>
                            <a:pt x="25059" y="2213"/>
                            <a:pt x="25298" y="2332"/>
                          </a:cubicBezTo>
                          <a:cubicBezTo>
                            <a:pt x="25538" y="2452"/>
                            <a:pt x="25777" y="2632"/>
                            <a:pt x="26016" y="2751"/>
                          </a:cubicBezTo>
                          <a:cubicBezTo>
                            <a:pt x="26255" y="2930"/>
                            <a:pt x="26495" y="3050"/>
                            <a:pt x="26734" y="3229"/>
                          </a:cubicBezTo>
                          <a:cubicBezTo>
                            <a:pt x="26973" y="3409"/>
                            <a:pt x="27153" y="3588"/>
                            <a:pt x="27392" y="3768"/>
                          </a:cubicBezTo>
                          <a:cubicBezTo>
                            <a:pt x="27392" y="3768"/>
                            <a:pt x="27392" y="3768"/>
                            <a:pt x="27392" y="3768"/>
                          </a:cubicBezTo>
                          <a:cubicBezTo>
                            <a:pt x="27392" y="3768"/>
                            <a:pt x="27392" y="3768"/>
                            <a:pt x="27392" y="3768"/>
                          </a:cubicBezTo>
                          <a:cubicBezTo>
                            <a:pt x="27392" y="3768"/>
                            <a:pt x="27392" y="3768"/>
                            <a:pt x="27392" y="3768"/>
                          </a:cubicBezTo>
                          <a:cubicBezTo>
                            <a:pt x="27392" y="3768"/>
                            <a:pt x="27392" y="3768"/>
                            <a:pt x="27392" y="3768"/>
                          </a:cubicBezTo>
                          <a:cubicBezTo>
                            <a:pt x="27452" y="3827"/>
                            <a:pt x="27512" y="3887"/>
                            <a:pt x="27512" y="3887"/>
                          </a:cubicBezTo>
                          <a:cubicBezTo>
                            <a:pt x="27571" y="3947"/>
                            <a:pt x="27631" y="4007"/>
                            <a:pt x="27631" y="4007"/>
                          </a:cubicBezTo>
                          <a:cubicBezTo>
                            <a:pt x="27631" y="4007"/>
                            <a:pt x="27751" y="4127"/>
                            <a:pt x="27751" y="4127"/>
                          </a:cubicBezTo>
                          <a:cubicBezTo>
                            <a:pt x="27811" y="4186"/>
                            <a:pt x="27870" y="4246"/>
                            <a:pt x="27870" y="4246"/>
                          </a:cubicBezTo>
                          <a:cubicBezTo>
                            <a:pt x="28109" y="4545"/>
                            <a:pt x="28408" y="4844"/>
                            <a:pt x="28648" y="5143"/>
                          </a:cubicBezTo>
                          <a:cubicBezTo>
                            <a:pt x="28887" y="5442"/>
                            <a:pt x="29126" y="5801"/>
                            <a:pt x="29306" y="6160"/>
                          </a:cubicBezTo>
                          <a:cubicBezTo>
                            <a:pt x="29485" y="6519"/>
                            <a:pt x="29724" y="6878"/>
                            <a:pt x="29844" y="7236"/>
                          </a:cubicBezTo>
                          <a:cubicBezTo>
                            <a:pt x="30023" y="7595"/>
                            <a:pt x="30143" y="8014"/>
                            <a:pt x="30322" y="8433"/>
                          </a:cubicBezTo>
                          <a:cubicBezTo>
                            <a:pt x="30382" y="8612"/>
                            <a:pt x="30442" y="8851"/>
                            <a:pt x="30502" y="9031"/>
                          </a:cubicBezTo>
                          <a:cubicBezTo>
                            <a:pt x="30561" y="9210"/>
                            <a:pt x="30621" y="9449"/>
                            <a:pt x="30681" y="9629"/>
                          </a:cubicBezTo>
                          <a:cubicBezTo>
                            <a:pt x="30741" y="9808"/>
                            <a:pt x="30801" y="10048"/>
                            <a:pt x="30801" y="10227"/>
                          </a:cubicBezTo>
                          <a:cubicBezTo>
                            <a:pt x="30861" y="10466"/>
                            <a:pt x="30861" y="10645"/>
                            <a:pt x="30920" y="10885"/>
                          </a:cubicBezTo>
                          <a:cubicBezTo>
                            <a:pt x="30920" y="11004"/>
                            <a:pt x="30980" y="11064"/>
                            <a:pt x="30980" y="11184"/>
                          </a:cubicBezTo>
                          <a:cubicBezTo>
                            <a:pt x="30980" y="11303"/>
                            <a:pt x="30980" y="11363"/>
                            <a:pt x="31040" y="11483"/>
                          </a:cubicBezTo>
                          <a:cubicBezTo>
                            <a:pt x="31040" y="11603"/>
                            <a:pt x="31040" y="11662"/>
                            <a:pt x="31100" y="11782"/>
                          </a:cubicBezTo>
                          <a:cubicBezTo>
                            <a:pt x="31100" y="11902"/>
                            <a:pt x="31100" y="11961"/>
                            <a:pt x="31100" y="12081"/>
                          </a:cubicBezTo>
                          <a:cubicBezTo>
                            <a:pt x="31160" y="12798"/>
                            <a:pt x="31160" y="13516"/>
                            <a:pt x="31160" y="14294"/>
                          </a:cubicBezTo>
                          <a:cubicBezTo>
                            <a:pt x="31100" y="15011"/>
                            <a:pt x="31040" y="15789"/>
                            <a:pt x="30920" y="16566"/>
                          </a:cubicBezTo>
                          <a:cubicBezTo>
                            <a:pt x="30801" y="17344"/>
                            <a:pt x="30621" y="18062"/>
                            <a:pt x="30382" y="18839"/>
                          </a:cubicBezTo>
                          <a:cubicBezTo>
                            <a:pt x="30143" y="19617"/>
                            <a:pt x="29904" y="20394"/>
                            <a:pt x="29605" y="21112"/>
                          </a:cubicBezTo>
                          <a:cubicBezTo>
                            <a:pt x="29186" y="22188"/>
                            <a:pt x="28648" y="23265"/>
                            <a:pt x="28050" y="24282"/>
                          </a:cubicBezTo>
                          <a:cubicBezTo>
                            <a:pt x="27452" y="25298"/>
                            <a:pt x="26794" y="26255"/>
                            <a:pt x="26076" y="27152"/>
                          </a:cubicBezTo>
                          <a:cubicBezTo>
                            <a:pt x="25358" y="28050"/>
                            <a:pt x="24581" y="28887"/>
                            <a:pt x="23744" y="29664"/>
                          </a:cubicBezTo>
                          <a:cubicBezTo>
                            <a:pt x="22906" y="30442"/>
                            <a:pt x="22009" y="31159"/>
                            <a:pt x="21052" y="31758"/>
                          </a:cubicBezTo>
                          <a:cubicBezTo>
                            <a:pt x="20275" y="32236"/>
                            <a:pt x="19557" y="32655"/>
                            <a:pt x="18780" y="33013"/>
                          </a:cubicBezTo>
                          <a:cubicBezTo>
                            <a:pt x="18002" y="33372"/>
                            <a:pt x="17225" y="33671"/>
                            <a:pt x="16447" y="33911"/>
                          </a:cubicBezTo>
                          <a:cubicBezTo>
                            <a:pt x="15669" y="34150"/>
                            <a:pt x="14892" y="34329"/>
                            <a:pt x="14174" y="34389"/>
                          </a:cubicBezTo>
                          <a:cubicBezTo>
                            <a:pt x="13397" y="34509"/>
                            <a:pt x="12679" y="34509"/>
                            <a:pt x="11902" y="34509"/>
                          </a:cubicBezTo>
                          <a:cubicBezTo>
                            <a:pt x="11782" y="34509"/>
                            <a:pt x="11662" y="34509"/>
                            <a:pt x="11603" y="34509"/>
                          </a:cubicBezTo>
                          <a:cubicBezTo>
                            <a:pt x="11543" y="34509"/>
                            <a:pt x="11364" y="34509"/>
                            <a:pt x="11304" y="34509"/>
                          </a:cubicBezTo>
                          <a:cubicBezTo>
                            <a:pt x="11184" y="34509"/>
                            <a:pt x="11065" y="34509"/>
                            <a:pt x="11005" y="34449"/>
                          </a:cubicBezTo>
                          <a:cubicBezTo>
                            <a:pt x="10885" y="34808"/>
                            <a:pt x="10765" y="34808"/>
                            <a:pt x="10646" y="34748"/>
                          </a:cubicBezTo>
                          <a:moveTo>
                            <a:pt x="4904" y="32236"/>
                          </a:moveTo>
                          <a:cubicBezTo>
                            <a:pt x="5203" y="32535"/>
                            <a:pt x="5562" y="32774"/>
                            <a:pt x="5921" y="33073"/>
                          </a:cubicBezTo>
                          <a:cubicBezTo>
                            <a:pt x="6280" y="33313"/>
                            <a:pt x="6639" y="33552"/>
                            <a:pt x="7057" y="33731"/>
                          </a:cubicBezTo>
                          <a:cubicBezTo>
                            <a:pt x="7476" y="33911"/>
                            <a:pt x="7835" y="34090"/>
                            <a:pt x="8253" y="34269"/>
                          </a:cubicBezTo>
                          <a:cubicBezTo>
                            <a:pt x="8672" y="34449"/>
                            <a:pt x="9091" y="34568"/>
                            <a:pt x="9569" y="34688"/>
                          </a:cubicBezTo>
                          <a:cubicBezTo>
                            <a:pt x="10466" y="34927"/>
                            <a:pt x="11423" y="35047"/>
                            <a:pt x="12380" y="35047"/>
                          </a:cubicBezTo>
                          <a:cubicBezTo>
                            <a:pt x="13337" y="35047"/>
                            <a:pt x="14294" y="34927"/>
                            <a:pt x="15311" y="34748"/>
                          </a:cubicBezTo>
                          <a:cubicBezTo>
                            <a:pt x="16268" y="34509"/>
                            <a:pt x="17284" y="34210"/>
                            <a:pt x="18241" y="33791"/>
                          </a:cubicBezTo>
                          <a:cubicBezTo>
                            <a:pt x="19198" y="33372"/>
                            <a:pt x="20215" y="32834"/>
                            <a:pt x="21112" y="32236"/>
                          </a:cubicBezTo>
                          <a:cubicBezTo>
                            <a:pt x="23086" y="30980"/>
                            <a:pt x="24820" y="29305"/>
                            <a:pt x="26255" y="27511"/>
                          </a:cubicBezTo>
                          <a:cubicBezTo>
                            <a:pt x="27691" y="25657"/>
                            <a:pt x="28887" y="23624"/>
                            <a:pt x="29724" y="21530"/>
                          </a:cubicBezTo>
                          <a:cubicBezTo>
                            <a:pt x="30561" y="19437"/>
                            <a:pt x="31100" y="17225"/>
                            <a:pt x="31220" y="15011"/>
                          </a:cubicBezTo>
                          <a:cubicBezTo>
                            <a:pt x="31339" y="12858"/>
                            <a:pt x="31100" y="10705"/>
                            <a:pt x="30442" y="8732"/>
                          </a:cubicBezTo>
                          <a:cubicBezTo>
                            <a:pt x="30262" y="8253"/>
                            <a:pt x="30083" y="7775"/>
                            <a:pt x="29844" y="7296"/>
                          </a:cubicBezTo>
                          <a:cubicBezTo>
                            <a:pt x="29605" y="6818"/>
                            <a:pt x="29366" y="6399"/>
                            <a:pt x="29126" y="5981"/>
                          </a:cubicBezTo>
                          <a:cubicBezTo>
                            <a:pt x="28887" y="5562"/>
                            <a:pt x="28588" y="5203"/>
                            <a:pt x="28289" y="4844"/>
                          </a:cubicBezTo>
                          <a:cubicBezTo>
                            <a:pt x="27990" y="4486"/>
                            <a:pt x="27691" y="4127"/>
                            <a:pt x="27332" y="3827"/>
                          </a:cubicBezTo>
                          <a:cubicBezTo>
                            <a:pt x="26375" y="2930"/>
                            <a:pt x="25239" y="2213"/>
                            <a:pt x="23983" y="1734"/>
                          </a:cubicBezTo>
                          <a:cubicBezTo>
                            <a:pt x="22727" y="1256"/>
                            <a:pt x="21411" y="957"/>
                            <a:pt x="19976" y="957"/>
                          </a:cubicBezTo>
                          <a:cubicBezTo>
                            <a:pt x="18540" y="957"/>
                            <a:pt x="17105" y="1136"/>
                            <a:pt x="15610" y="1615"/>
                          </a:cubicBezTo>
                          <a:cubicBezTo>
                            <a:pt x="14114" y="2093"/>
                            <a:pt x="12619" y="2751"/>
                            <a:pt x="11124" y="3708"/>
                          </a:cubicBezTo>
                          <a:cubicBezTo>
                            <a:pt x="9151" y="5024"/>
                            <a:pt x="7356" y="6639"/>
                            <a:pt x="5921" y="8493"/>
                          </a:cubicBezTo>
                          <a:cubicBezTo>
                            <a:pt x="4426" y="10347"/>
                            <a:pt x="3289" y="12440"/>
                            <a:pt x="2392" y="14593"/>
                          </a:cubicBezTo>
                          <a:cubicBezTo>
                            <a:pt x="1555" y="16746"/>
                            <a:pt x="1017" y="18959"/>
                            <a:pt x="897" y="21172"/>
                          </a:cubicBezTo>
                          <a:cubicBezTo>
                            <a:pt x="778" y="23384"/>
                            <a:pt x="1017" y="25478"/>
                            <a:pt x="1735" y="27451"/>
                          </a:cubicBezTo>
                          <a:cubicBezTo>
                            <a:pt x="1914" y="27930"/>
                            <a:pt x="2093" y="28408"/>
                            <a:pt x="2333" y="28827"/>
                          </a:cubicBezTo>
                          <a:cubicBezTo>
                            <a:pt x="2572" y="29245"/>
                            <a:pt x="2811" y="29724"/>
                            <a:pt x="3050" y="30083"/>
                          </a:cubicBezTo>
                          <a:cubicBezTo>
                            <a:pt x="3289" y="30442"/>
                            <a:pt x="3589" y="30860"/>
                            <a:pt x="3888" y="31219"/>
                          </a:cubicBezTo>
                          <a:cubicBezTo>
                            <a:pt x="4187" y="31578"/>
                            <a:pt x="4545" y="31937"/>
                            <a:pt x="4904" y="32236"/>
                          </a:cubicBezTo>
                          <a:moveTo>
                            <a:pt x="27990" y="3050"/>
                          </a:moveTo>
                          <a:cubicBezTo>
                            <a:pt x="28349" y="3349"/>
                            <a:pt x="28648" y="3708"/>
                            <a:pt x="29007" y="4127"/>
                          </a:cubicBezTo>
                          <a:cubicBezTo>
                            <a:pt x="29306" y="4486"/>
                            <a:pt x="29605" y="4904"/>
                            <a:pt x="29904" y="5323"/>
                          </a:cubicBezTo>
                          <a:cubicBezTo>
                            <a:pt x="30203" y="5741"/>
                            <a:pt x="30442" y="6220"/>
                            <a:pt x="30681" y="6698"/>
                          </a:cubicBezTo>
                          <a:cubicBezTo>
                            <a:pt x="30920" y="7177"/>
                            <a:pt x="31100" y="7655"/>
                            <a:pt x="31279" y="8194"/>
                          </a:cubicBezTo>
                          <a:cubicBezTo>
                            <a:pt x="31997" y="10287"/>
                            <a:pt x="32236" y="12559"/>
                            <a:pt x="32116" y="14832"/>
                          </a:cubicBezTo>
                          <a:cubicBezTo>
                            <a:pt x="31997" y="17105"/>
                            <a:pt x="31399" y="19437"/>
                            <a:pt x="30502" y="21710"/>
                          </a:cubicBezTo>
                          <a:cubicBezTo>
                            <a:pt x="29605" y="23982"/>
                            <a:pt x="28349" y="26136"/>
                            <a:pt x="26853" y="28050"/>
                          </a:cubicBezTo>
                          <a:cubicBezTo>
                            <a:pt x="25298" y="29963"/>
                            <a:pt x="23504" y="31698"/>
                            <a:pt x="21411" y="33073"/>
                          </a:cubicBezTo>
                          <a:cubicBezTo>
                            <a:pt x="20394" y="33731"/>
                            <a:pt x="19377" y="34269"/>
                            <a:pt x="18361" y="34748"/>
                          </a:cubicBezTo>
                          <a:cubicBezTo>
                            <a:pt x="17344" y="35167"/>
                            <a:pt x="16268" y="35526"/>
                            <a:pt x="15251" y="35765"/>
                          </a:cubicBezTo>
                          <a:cubicBezTo>
                            <a:pt x="14234" y="36004"/>
                            <a:pt x="13158" y="36123"/>
                            <a:pt x="12201" y="36123"/>
                          </a:cubicBezTo>
                          <a:cubicBezTo>
                            <a:pt x="11184" y="36123"/>
                            <a:pt x="10167" y="36004"/>
                            <a:pt x="9211" y="35765"/>
                          </a:cubicBezTo>
                          <a:cubicBezTo>
                            <a:pt x="8732" y="35645"/>
                            <a:pt x="8313" y="35526"/>
                            <a:pt x="7835" y="35346"/>
                          </a:cubicBezTo>
                          <a:cubicBezTo>
                            <a:pt x="7416" y="35167"/>
                            <a:pt x="6938" y="34987"/>
                            <a:pt x="6579" y="34748"/>
                          </a:cubicBezTo>
                          <a:cubicBezTo>
                            <a:pt x="6160" y="34509"/>
                            <a:pt x="5742" y="34269"/>
                            <a:pt x="5383" y="34030"/>
                          </a:cubicBezTo>
                          <a:cubicBezTo>
                            <a:pt x="5024" y="33791"/>
                            <a:pt x="4665" y="33492"/>
                            <a:pt x="4306" y="33193"/>
                          </a:cubicBezTo>
                          <a:cubicBezTo>
                            <a:pt x="3947" y="32834"/>
                            <a:pt x="3589" y="32535"/>
                            <a:pt x="3289" y="32116"/>
                          </a:cubicBezTo>
                          <a:cubicBezTo>
                            <a:pt x="2990" y="31758"/>
                            <a:pt x="2632" y="31339"/>
                            <a:pt x="2392" y="30920"/>
                          </a:cubicBezTo>
                          <a:cubicBezTo>
                            <a:pt x="2093" y="30502"/>
                            <a:pt x="1854" y="30023"/>
                            <a:pt x="1615" y="29545"/>
                          </a:cubicBezTo>
                          <a:cubicBezTo>
                            <a:pt x="1375" y="29066"/>
                            <a:pt x="1196" y="28588"/>
                            <a:pt x="957" y="28050"/>
                          </a:cubicBezTo>
                          <a:cubicBezTo>
                            <a:pt x="180" y="25956"/>
                            <a:pt x="-60" y="23743"/>
                            <a:pt x="60" y="21411"/>
                          </a:cubicBezTo>
                          <a:cubicBezTo>
                            <a:pt x="180" y="19079"/>
                            <a:pt x="718" y="16746"/>
                            <a:pt x="1615" y="14473"/>
                          </a:cubicBezTo>
                          <a:cubicBezTo>
                            <a:pt x="2512" y="12201"/>
                            <a:pt x="3768" y="9988"/>
                            <a:pt x="5323" y="8074"/>
                          </a:cubicBezTo>
                          <a:cubicBezTo>
                            <a:pt x="6878" y="6100"/>
                            <a:pt x="8732" y="4366"/>
                            <a:pt x="10885" y="2990"/>
                          </a:cubicBezTo>
                          <a:cubicBezTo>
                            <a:pt x="12440" y="1973"/>
                            <a:pt x="14055" y="1196"/>
                            <a:pt x="15669" y="718"/>
                          </a:cubicBezTo>
                          <a:cubicBezTo>
                            <a:pt x="17225" y="239"/>
                            <a:pt x="18839" y="0"/>
                            <a:pt x="20335" y="60"/>
                          </a:cubicBezTo>
                          <a:cubicBezTo>
                            <a:pt x="21830" y="119"/>
                            <a:pt x="23265" y="359"/>
                            <a:pt x="24581" y="897"/>
                          </a:cubicBezTo>
                          <a:cubicBezTo>
                            <a:pt x="25717" y="1316"/>
                            <a:pt x="26913" y="2033"/>
                            <a:pt x="27990" y="3050"/>
                          </a:cubicBezTo>
                          <a:moveTo>
                            <a:pt x="4127" y="33193"/>
                          </a:moveTo>
                          <a:cubicBezTo>
                            <a:pt x="4486" y="33552"/>
                            <a:pt x="4904" y="33851"/>
                            <a:pt x="5263" y="34090"/>
                          </a:cubicBezTo>
                          <a:cubicBezTo>
                            <a:pt x="5682" y="34389"/>
                            <a:pt x="6100" y="34628"/>
                            <a:pt x="6519" y="34808"/>
                          </a:cubicBezTo>
                          <a:cubicBezTo>
                            <a:pt x="6938" y="35047"/>
                            <a:pt x="7416" y="35226"/>
                            <a:pt x="7835" y="35406"/>
                          </a:cubicBezTo>
                          <a:cubicBezTo>
                            <a:pt x="8313" y="35585"/>
                            <a:pt x="8732" y="35705"/>
                            <a:pt x="9211" y="35824"/>
                          </a:cubicBezTo>
                          <a:cubicBezTo>
                            <a:pt x="9330" y="35824"/>
                            <a:pt x="9390" y="35884"/>
                            <a:pt x="9510" y="35884"/>
                          </a:cubicBezTo>
                          <a:cubicBezTo>
                            <a:pt x="9629" y="35884"/>
                            <a:pt x="9689" y="35944"/>
                            <a:pt x="9808" y="35944"/>
                          </a:cubicBezTo>
                          <a:cubicBezTo>
                            <a:pt x="9928" y="35944"/>
                            <a:pt x="9988" y="36004"/>
                            <a:pt x="10107" y="36004"/>
                          </a:cubicBezTo>
                          <a:cubicBezTo>
                            <a:pt x="10227" y="36004"/>
                            <a:pt x="10287" y="36004"/>
                            <a:pt x="10406" y="36064"/>
                          </a:cubicBezTo>
                          <a:cubicBezTo>
                            <a:pt x="11304" y="36183"/>
                            <a:pt x="12201" y="36183"/>
                            <a:pt x="13098" y="36123"/>
                          </a:cubicBezTo>
                          <a:cubicBezTo>
                            <a:pt x="13995" y="36064"/>
                            <a:pt x="14952" y="35884"/>
                            <a:pt x="15849" y="35645"/>
                          </a:cubicBezTo>
                          <a:cubicBezTo>
                            <a:pt x="16806" y="35406"/>
                            <a:pt x="17703" y="35047"/>
                            <a:pt x="18660" y="34688"/>
                          </a:cubicBezTo>
                          <a:cubicBezTo>
                            <a:pt x="19617" y="34269"/>
                            <a:pt x="20514" y="33791"/>
                            <a:pt x="21411" y="33193"/>
                          </a:cubicBezTo>
                          <a:cubicBezTo>
                            <a:pt x="23265" y="31997"/>
                            <a:pt x="24940" y="30502"/>
                            <a:pt x="26315" y="28827"/>
                          </a:cubicBezTo>
                          <a:cubicBezTo>
                            <a:pt x="27691" y="27152"/>
                            <a:pt x="28947" y="25298"/>
                            <a:pt x="29904" y="23325"/>
                          </a:cubicBezTo>
                          <a:cubicBezTo>
                            <a:pt x="30861" y="21351"/>
                            <a:pt x="31519" y="19318"/>
                            <a:pt x="31877" y="17284"/>
                          </a:cubicBezTo>
                          <a:cubicBezTo>
                            <a:pt x="32236" y="15251"/>
                            <a:pt x="32356" y="13157"/>
                            <a:pt x="32057" y="11184"/>
                          </a:cubicBezTo>
                          <a:cubicBezTo>
                            <a:pt x="32057" y="11064"/>
                            <a:pt x="32057" y="11004"/>
                            <a:pt x="31997" y="10885"/>
                          </a:cubicBezTo>
                          <a:cubicBezTo>
                            <a:pt x="31997" y="10765"/>
                            <a:pt x="31997" y="10705"/>
                            <a:pt x="31937" y="10586"/>
                          </a:cubicBezTo>
                          <a:cubicBezTo>
                            <a:pt x="31937" y="10466"/>
                            <a:pt x="31877" y="10406"/>
                            <a:pt x="31877" y="10287"/>
                          </a:cubicBezTo>
                          <a:cubicBezTo>
                            <a:pt x="31877" y="10167"/>
                            <a:pt x="31817" y="10107"/>
                            <a:pt x="31817" y="9988"/>
                          </a:cubicBezTo>
                          <a:cubicBezTo>
                            <a:pt x="31758" y="9808"/>
                            <a:pt x="31758" y="9629"/>
                            <a:pt x="31698" y="9509"/>
                          </a:cubicBezTo>
                          <a:cubicBezTo>
                            <a:pt x="31638" y="9330"/>
                            <a:pt x="31638" y="9150"/>
                            <a:pt x="31578" y="9031"/>
                          </a:cubicBezTo>
                          <a:cubicBezTo>
                            <a:pt x="31519" y="8911"/>
                            <a:pt x="31459" y="8732"/>
                            <a:pt x="31459" y="8552"/>
                          </a:cubicBezTo>
                          <a:cubicBezTo>
                            <a:pt x="31399" y="8373"/>
                            <a:pt x="31339" y="8253"/>
                            <a:pt x="31279" y="8074"/>
                          </a:cubicBezTo>
                          <a:cubicBezTo>
                            <a:pt x="31160" y="7655"/>
                            <a:pt x="30980" y="7236"/>
                            <a:pt x="30801" y="6818"/>
                          </a:cubicBezTo>
                          <a:cubicBezTo>
                            <a:pt x="30621" y="6399"/>
                            <a:pt x="30442" y="6040"/>
                            <a:pt x="30203" y="5622"/>
                          </a:cubicBezTo>
                          <a:cubicBezTo>
                            <a:pt x="29963" y="5263"/>
                            <a:pt x="29724" y="4904"/>
                            <a:pt x="29485" y="4545"/>
                          </a:cubicBezTo>
                          <a:cubicBezTo>
                            <a:pt x="29246" y="4186"/>
                            <a:pt x="28947" y="3887"/>
                            <a:pt x="28648" y="3528"/>
                          </a:cubicBezTo>
                          <a:cubicBezTo>
                            <a:pt x="28588" y="3469"/>
                            <a:pt x="28528" y="3409"/>
                            <a:pt x="28528" y="3409"/>
                          </a:cubicBezTo>
                          <a:cubicBezTo>
                            <a:pt x="28528" y="3409"/>
                            <a:pt x="28408" y="3289"/>
                            <a:pt x="28408" y="3289"/>
                          </a:cubicBezTo>
                          <a:cubicBezTo>
                            <a:pt x="28349" y="3229"/>
                            <a:pt x="28289" y="3170"/>
                            <a:pt x="28289" y="3170"/>
                          </a:cubicBezTo>
                          <a:cubicBezTo>
                            <a:pt x="28229" y="3110"/>
                            <a:pt x="28169" y="3050"/>
                            <a:pt x="28169" y="3050"/>
                          </a:cubicBezTo>
                          <a:cubicBezTo>
                            <a:pt x="28169" y="3050"/>
                            <a:pt x="28169" y="3050"/>
                            <a:pt x="28169" y="3050"/>
                          </a:cubicBezTo>
                          <a:cubicBezTo>
                            <a:pt x="28169" y="3050"/>
                            <a:pt x="28169" y="3050"/>
                            <a:pt x="28169" y="3050"/>
                          </a:cubicBezTo>
                          <a:cubicBezTo>
                            <a:pt x="28169" y="3050"/>
                            <a:pt x="28169" y="3050"/>
                            <a:pt x="28169" y="3050"/>
                          </a:cubicBezTo>
                          <a:cubicBezTo>
                            <a:pt x="28169" y="3050"/>
                            <a:pt x="28169" y="3050"/>
                            <a:pt x="28169" y="3050"/>
                          </a:cubicBezTo>
                          <a:cubicBezTo>
                            <a:pt x="27930" y="2871"/>
                            <a:pt x="27751" y="2691"/>
                            <a:pt x="27512" y="2512"/>
                          </a:cubicBezTo>
                          <a:cubicBezTo>
                            <a:pt x="27272" y="2332"/>
                            <a:pt x="27033" y="2153"/>
                            <a:pt x="26794" y="1973"/>
                          </a:cubicBezTo>
                          <a:cubicBezTo>
                            <a:pt x="26554" y="1794"/>
                            <a:pt x="26315" y="1674"/>
                            <a:pt x="26076" y="1495"/>
                          </a:cubicBezTo>
                          <a:cubicBezTo>
                            <a:pt x="25837" y="1375"/>
                            <a:pt x="25598" y="1196"/>
                            <a:pt x="25298" y="1076"/>
                          </a:cubicBezTo>
                          <a:cubicBezTo>
                            <a:pt x="25239" y="1017"/>
                            <a:pt x="25179" y="1017"/>
                            <a:pt x="25119" y="957"/>
                          </a:cubicBezTo>
                          <a:cubicBezTo>
                            <a:pt x="25059" y="897"/>
                            <a:pt x="24999" y="897"/>
                            <a:pt x="24940" y="897"/>
                          </a:cubicBezTo>
                          <a:cubicBezTo>
                            <a:pt x="24880" y="897"/>
                            <a:pt x="24820" y="837"/>
                            <a:pt x="24760" y="837"/>
                          </a:cubicBezTo>
                          <a:cubicBezTo>
                            <a:pt x="24700" y="837"/>
                            <a:pt x="24641" y="778"/>
                            <a:pt x="24581" y="778"/>
                          </a:cubicBezTo>
                          <a:cubicBezTo>
                            <a:pt x="24282" y="658"/>
                            <a:pt x="23983" y="538"/>
                            <a:pt x="23624" y="478"/>
                          </a:cubicBezTo>
                          <a:cubicBezTo>
                            <a:pt x="23325" y="359"/>
                            <a:pt x="22966" y="299"/>
                            <a:pt x="22667" y="239"/>
                          </a:cubicBezTo>
                          <a:cubicBezTo>
                            <a:pt x="22368" y="179"/>
                            <a:pt x="22009" y="119"/>
                            <a:pt x="21710" y="60"/>
                          </a:cubicBezTo>
                          <a:cubicBezTo>
                            <a:pt x="21351" y="0"/>
                            <a:pt x="21052" y="0"/>
                            <a:pt x="20693" y="0"/>
                          </a:cubicBezTo>
                          <a:cubicBezTo>
                            <a:pt x="20634" y="0"/>
                            <a:pt x="20514" y="0"/>
                            <a:pt x="20454" y="0"/>
                          </a:cubicBezTo>
                          <a:cubicBezTo>
                            <a:pt x="20394" y="0"/>
                            <a:pt x="20275" y="0"/>
                            <a:pt x="20215" y="0"/>
                          </a:cubicBezTo>
                          <a:cubicBezTo>
                            <a:pt x="20155" y="0"/>
                            <a:pt x="20036" y="0"/>
                            <a:pt x="19976" y="0"/>
                          </a:cubicBezTo>
                          <a:cubicBezTo>
                            <a:pt x="19916" y="0"/>
                            <a:pt x="19796" y="0"/>
                            <a:pt x="19736" y="0"/>
                          </a:cubicBezTo>
                          <a:cubicBezTo>
                            <a:pt x="19019" y="0"/>
                            <a:pt x="18301" y="119"/>
                            <a:pt x="17583" y="239"/>
                          </a:cubicBezTo>
                          <a:cubicBezTo>
                            <a:pt x="16866" y="359"/>
                            <a:pt x="16088" y="538"/>
                            <a:pt x="15371" y="837"/>
                          </a:cubicBezTo>
                          <a:cubicBezTo>
                            <a:pt x="14653" y="1076"/>
                            <a:pt x="13875" y="1375"/>
                            <a:pt x="13158" y="1734"/>
                          </a:cubicBezTo>
                          <a:cubicBezTo>
                            <a:pt x="12440" y="2093"/>
                            <a:pt x="11662" y="2512"/>
                            <a:pt x="10945" y="2990"/>
                          </a:cubicBezTo>
                          <a:cubicBezTo>
                            <a:pt x="9928" y="3648"/>
                            <a:pt x="8911" y="4426"/>
                            <a:pt x="8014" y="5263"/>
                          </a:cubicBezTo>
                          <a:cubicBezTo>
                            <a:pt x="7117" y="6100"/>
                            <a:pt x="6220" y="6997"/>
                            <a:pt x="5443" y="8014"/>
                          </a:cubicBezTo>
                          <a:cubicBezTo>
                            <a:pt x="4665" y="8971"/>
                            <a:pt x="3947" y="10048"/>
                            <a:pt x="3289" y="11124"/>
                          </a:cubicBezTo>
                          <a:cubicBezTo>
                            <a:pt x="2632" y="12201"/>
                            <a:pt x="2093" y="13397"/>
                            <a:pt x="1615" y="14593"/>
                          </a:cubicBezTo>
                          <a:cubicBezTo>
                            <a:pt x="1555" y="14772"/>
                            <a:pt x="1495" y="14952"/>
                            <a:pt x="1435" y="15131"/>
                          </a:cubicBezTo>
                          <a:cubicBezTo>
                            <a:pt x="1375" y="15311"/>
                            <a:pt x="1316" y="15490"/>
                            <a:pt x="1256" y="15669"/>
                          </a:cubicBezTo>
                          <a:cubicBezTo>
                            <a:pt x="1196" y="15849"/>
                            <a:pt x="1136" y="16028"/>
                            <a:pt x="1076" y="16208"/>
                          </a:cubicBezTo>
                          <a:cubicBezTo>
                            <a:pt x="1017" y="16387"/>
                            <a:pt x="957" y="16566"/>
                            <a:pt x="897" y="16746"/>
                          </a:cubicBezTo>
                          <a:cubicBezTo>
                            <a:pt x="837" y="16866"/>
                            <a:pt x="837" y="16985"/>
                            <a:pt x="778" y="17105"/>
                          </a:cubicBezTo>
                          <a:cubicBezTo>
                            <a:pt x="718" y="17225"/>
                            <a:pt x="718" y="17344"/>
                            <a:pt x="658" y="17464"/>
                          </a:cubicBezTo>
                          <a:cubicBezTo>
                            <a:pt x="598" y="17583"/>
                            <a:pt x="598" y="17703"/>
                            <a:pt x="598" y="17822"/>
                          </a:cubicBezTo>
                          <a:cubicBezTo>
                            <a:pt x="598" y="17942"/>
                            <a:pt x="538" y="18062"/>
                            <a:pt x="538" y="18181"/>
                          </a:cubicBezTo>
                          <a:cubicBezTo>
                            <a:pt x="419" y="18720"/>
                            <a:pt x="299" y="19258"/>
                            <a:pt x="239" y="19796"/>
                          </a:cubicBezTo>
                          <a:cubicBezTo>
                            <a:pt x="180" y="20334"/>
                            <a:pt x="120" y="20873"/>
                            <a:pt x="60" y="21411"/>
                          </a:cubicBezTo>
                          <a:cubicBezTo>
                            <a:pt x="0" y="21949"/>
                            <a:pt x="0" y="22487"/>
                            <a:pt x="0" y="23026"/>
                          </a:cubicBezTo>
                          <a:cubicBezTo>
                            <a:pt x="0" y="23564"/>
                            <a:pt x="60" y="24042"/>
                            <a:pt x="60" y="24581"/>
                          </a:cubicBezTo>
                          <a:cubicBezTo>
                            <a:pt x="60" y="24641"/>
                            <a:pt x="60" y="24760"/>
                            <a:pt x="60" y="24820"/>
                          </a:cubicBezTo>
                          <a:cubicBezTo>
                            <a:pt x="60" y="24880"/>
                            <a:pt x="60" y="24999"/>
                            <a:pt x="60" y="25059"/>
                          </a:cubicBezTo>
                          <a:cubicBezTo>
                            <a:pt x="60" y="25119"/>
                            <a:pt x="60" y="25238"/>
                            <a:pt x="120" y="25298"/>
                          </a:cubicBezTo>
                          <a:cubicBezTo>
                            <a:pt x="120" y="25358"/>
                            <a:pt x="120" y="25478"/>
                            <a:pt x="180" y="25537"/>
                          </a:cubicBezTo>
                          <a:cubicBezTo>
                            <a:pt x="239" y="25777"/>
                            <a:pt x="239" y="26016"/>
                            <a:pt x="299" y="26315"/>
                          </a:cubicBezTo>
                          <a:cubicBezTo>
                            <a:pt x="359" y="26554"/>
                            <a:pt x="419" y="26794"/>
                            <a:pt x="479" y="27033"/>
                          </a:cubicBezTo>
                          <a:cubicBezTo>
                            <a:pt x="538" y="27272"/>
                            <a:pt x="598" y="27511"/>
                            <a:pt x="658" y="27750"/>
                          </a:cubicBezTo>
                          <a:cubicBezTo>
                            <a:pt x="718" y="27990"/>
                            <a:pt x="837" y="28229"/>
                            <a:pt x="897" y="28468"/>
                          </a:cubicBezTo>
                          <a:cubicBezTo>
                            <a:pt x="1017" y="28767"/>
                            <a:pt x="1136" y="29066"/>
                            <a:pt x="1256" y="29365"/>
                          </a:cubicBezTo>
                          <a:cubicBezTo>
                            <a:pt x="1375" y="29664"/>
                            <a:pt x="1495" y="29904"/>
                            <a:pt x="1675" y="30203"/>
                          </a:cubicBezTo>
                          <a:cubicBezTo>
                            <a:pt x="1854" y="30502"/>
                            <a:pt x="1974" y="30741"/>
                            <a:pt x="2093" y="30980"/>
                          </a:cubicBezTo>
                          <a:cubicBezTo>
                            <a:pt x="2273" y="31219"/>
                            <a:pt x="2392" y="31458"/>
                            <a:pt x="2572" y="31698"/>
                          </a:cubicBezTo>
                          <a:cubicBezTo>
                            <a:pt x="2632" y="31758"/>
                            <a:pt x="2632" y="31817"/>
                            <a:pt x="2691" y="31877"/>
                          </a:cubicBezTo>
                          <a:cubicBezTo>
                            <a:pt x="2751" y="31937"/>
                            <a:pt x="2751" y="31997"/>
                            <a:pt x="2811" y="32057"/>
                          </a:cubicBezTo>
                          <a:cubicBezTo>
                            <a:pt x="2871" y="32116"/>
                            <a:pt x="2871" y="32176"/>
                            <a:pt x="2930" y="32236"/>
                          </a:cubicBezTo>
                          <a:cubicBezTo>
                            <a:pt x="2990" y="32296"/>
                            <a:pt x="3050" y="32356"/>
                            <a:pt x="3050" y="32415"/>
                          </a:cubicBezTo>
                          <a:cubicBezTo>
                            <a:pt x="3170" y="32535"/>
                            <a:pt x="3230" y="32655"/>
                            <a:pt x="3349" y="32774"/>
                          </a:cubicBezTo>
                          <a:cubicBezTo>
                            <a:pt x="3469" y="32894"/>
                            <a:pt x="3529" y="33013"/>
                            <a:pt x="3648" y="33073"/>
                          </a:cubicBezTo>
                          <a:cubicBezTo>
                            <a:pt x="3768" y="33193"/>
                            <a:pt x="3828" y="33253"/>
                            <a:pt x="3947" y="33372"/>
                          </a:cubicBezTo>
                          <a:cubicBezTo>
                            <a:pt x="3947" y="33013"/>
                            <a:pt x="4007" y="33073"/>
                            <a:pt x="4127" y="33193"/>
                          </a:cubicBezTo>
                        </a:path>
                      </a:pathLst>
                    </a:custGeom>
                    <a:noFill/>
                    <a:ln w="6350" cap="flat">
                      <a:solidFill>
                        <a:schemeClr val="bg1">
                          <a:alpha val="80000"/>
                        </a:schemeClr>
                      </a:solidFill>
                      <a:prstDash val="solid"/>
                      <a:miter/>
                    </a:ln>
                  </p:spPr>
                  <p:txBody>
                    <a:bodyPr rtlCol="0" anchor="ctr"/>
                    <a:lstStyle/>
                    <a:p>
                      <a:endParaRPr lang="en-GB"/>
                    </a:p>
                  </p:txBody>
                </p:sp>
                <p:sp>
                  <p:nvSpPr>
                    <p:cNvPr id="7496" name="Vrije vorm: vorm 7495">
                      <a:extLst>
                        <a:ext uri="{FF2B5EF4-FFF2-40B4-BE49-F238E27FC236}">
                          <a16:creationId xmlns:a16="http://schemas.microsoft.com/office/drawing/2014/main" id="{3086B1CF-6EA2-46C6-9C0E-1F9083BAB74C}"/>
                        </a:ext>
                      </a:extLst>
                    </p:cNvPr>
                    <p:cNvSpPr/>
                    <p:nvPr/>
                  </p:nvSpPr>
                  <p:spPr>
                    <a:xfrm>
                      <a:off x="5307286" y="5118452"/>
                      <a:ext cx="32291" cy="36192"/>
                    </a:xfrm>
                    <a:custGeom>
                      <a:avLst/>
                      <a:gdLst>
                        <a:gd name="connsiteX0" fmla="*/ 27597 w 32291"/>
                        <a:gd name="connsiteY0" fmla="*/ 4076 h 36192"/>
                        <a:gd name="connsiteX1" fmla="*/ 28553 w 32291"/>
                        <a:gd name="connsiteY1" fmla="*/ 5093 h 36192"/>
                        <a:gd name="connsiteX2" fmla="*/ 29391 w 32291"/>
                        <a:gd name="connsiteY2" fmla="*/ 6229 h 36192"/>
                        <a:gd name="connsiteX3" fmla="*/ 30109 w 32291"/>
                        <a:gd name="connsiteY3" fmla="*/ 7545 h 36192"/>
                        <a:gd name="connsiteX4" fmla="*/ 30707 w 32291"/>
                        <a:gd name="connsiteY4" fmla="*/ 8980 h 36192"/>
                        <a:gd name="connsiteX5" fmla="*/ 31484 w 32291"/>
                        <a:gd name="connsiteY5" fmla="*/ 15260 h 36192"/>
                        <a:gd name="connsiteX6" fmla="*/ 29989 w 32291"/>
                        <a:gd name="connsiteY6" fmla="*/ 21779 h 36192"/>
                        <a:gd name="connsiteX7" fmla="*/ 26520 w 32291"/>
                        <a:gd name="connsiteY7" fmla="*/ 27760 h 36192"/>
                        <a:gd name="connsiteX8" fmla="*/ 21377 w 32291"/>
                        <a:gd name="connsiteY8" fmla="*/ 32484 h 36192"/>
                        <a:gd name="connsiteX9" fmla="*/ 18506 w 32291"/>
                        <a:gd name="connsiteY9" fmla="*/ 34039 h 36192"/>
                        <a:gd name="connsiteX10" fmla="*/ 15575 w 32291"/>
                        <a:gd name="connsiteY10" fmla="*/ 34996 h 36192"/>
                        <a:gd name="connsiteX11" fmla="*/ 12645 w 32291"/>
                        <a:gd name="connsiteY11" fmla="*/ 35295 h 36192"/>
                        <a:gd name="connsiteX12" fmla="*/ 9834 w 32291"/>
                        <a:gd name="connsiteY12" fmla="*/ 34937 h 36192"/>
                        <a:gd name="connsiteX13" fmla="*/ 8518 w 32291"/>
                        <a:gd name="connsiteY13" fmla="*/ 34518 h 36192"/>
                        <a:gd name="connsiteX14" fmla="*/ 7322 w 32291"/>
                        <a:gd name="connsiteY14" fmla="*/ 33979 h 36192"/>
                        <a:gd name="connsiteX15" fmla="*/ 6186 w 32291"/>
                        <a:gd name="connsiteY15" fmla="*/ 33322 h 36192"/>
                        <a:gd name="connsiteX16" fmla="*/ 5169 w 32291"/>
                        <a:gd name="connsiteY16" fmla="*/ 32484 h 36192"/>
                        <a:gd name="connsiteX17" fmla="*/ 4212 w 32291"/>
                        <a:gd name="connsiteY17" fmla="*/ 31468 h 36192"/>
                        <a:gd name="connsiteX18" fmla="*/ 3375 w 32291"/>
                        <a:gd name="connsiteY18" fmla="*/ 30331 h 36192"/>
                        <a:gd name="connsiteX19" fmla="*/ 2657 w 32291"/>
                        <a:gd name="connsiteY19" fmla="*/ 29075 h 36192"/>
                        <a:gd name="connsiteX20" fmla="*/ 2059 w 32291"/>
                        <a:gd name="connsiteY20" fmla="*/ 27700 h 36192"/>
                        <a:gd name="connsiteX21" fmla="*/ 1222 w 32291"/>
                        <a:gd name="connsiteY21" fmla="*/ 21420 h 36192"/>
                        <a:gd name="connsiteX22" fmla="*/ 2717 w 32291"/>
                        <a:gd name="connsiteY22" fmla="*/ 14841 h 36192"/>
                        <a:gd name="connsiteX23" fmla="*/ 6245 w 32291"/>
                        <a:gd name="connsiteY23" fmla="*/ 8741 h 36192"/>
                        <a:gd name="connsiteX24" fmla="*/ 11449 w 32291"/>
                        <a:gd name="connsiteY24" fmla="*/ 3957 h 36192"/>
                        <a:gd name="connsiteX25" fmla="*/ 15934 w 32291"/>
                        <a:gd name="connsiteY25" fmla="*/ 1863 h 36192"/>
                        <a:gd name="connsiteX26" fmla="*/ 20300 w 32291"/>
                        <a:gd name="connsiteY26" fmla="*/ 1205 h 36192"/>
                        <a:gd name="connsiteX27" fmla="*/ 24307 w 32291"/>
                        <a:gd name="connsiteY27" fmla="*/ 1983 h 36192"/>
                        <a:gd name="connsiteX28" fmla="*/ 27597 w 32291"/>
                        <a:gd name="connsiteY28" fmla="*/ 4076 h 36192"/>
                        <a:gd name="connsiteX29" fmla="*/ 4451 w 32291"/>
                        <a:gd name="connsiteY29" fmla="*/ 33262 h 36192"/>
                        <a:gd name="connsiteX30" fmla="*/ 5528 w 32291"/>
                        <a:gd name="connsiteY30" fmla="*/ 34099 h 36192"/>
                        <a:gd name="connsiteX31" fmla="*/ 6724 w 32291"/>
                        <a:gd name="connsiteY31" fmla="*/ 34817 h 36192"/>
                        <a:gd name="connsiteX32" fmla="*/ 7980 w 32291"/>
                        <a:gd name="connsiteY32" fmla="*/ 35415 h 36192"/>
                        <a:gd name="connsiteX33" fmla="*/ 9356 w 32291"/>
                        <a:gd name="connsiteY33" fmla="*/ 35834 h 36192"/>
                        <a:gd name="connsiteX34" fmla="*/ 12346 w 32291"/>
                        <a:gd name="connsiteY34" fmla="*/ 36192 h 36192"/>
                        <a:gd name="connsiteX35" fmla="*/ 15396 w 32291"/>
                        <a:gd name="connsiteY35" fmla="*/ 35834 h 36192"/>
                        <a:gd name="connsiteX36" fmla="*/ 18506 w 32291"/>
                        <a:gd name="connsiteY36" fmla="*/ 34817 h 36192"/>
                        <a:gd name="connsiteX37" fmla="*/ 21556 w 32291"/>
                        <a:gd name="connsiteY37" fmla="*/ 33142 h 36192"/>
                        <a:gd name="connsiteX38" fmla="*/ 26999 w 32291"/>
                        <a:gd name="connsiteY38" fmla="*/ 28119 h 36192"/>
                        <a:gd name="connsiteX39" fmla="*/ 30647 w 32291"/>
                        <a:gd name="connsiteY39" fmla="*/ 21779 h 36192"/>
                        <a:gd name="connsiteX40" fmla="*/ 32262 w 32291"/>
                        <a:gd name="connsiteY40" fmla="*/ 14901 h 36192"/>
                        <a:gd name="connsiteX41" fmla="*/ 31424 w 32291"/>
                        <a:gd name="connsiteY41" fmla="*/ 8262 h 36192"/>
                        <a:gd name="connsiteX42" fmla="*/ 30826 w 32291"/>
                        <a:gd name="connsiteY42" fmla="*/ 6767 h 36192"/>
                        <a:gd name="connsiteX43" fmla="*/ 30049 w 32291"/>
                        <a:gd name="connsiteY43" fmla="*/ 5392 h 36192"/>
                        <a:gd name="connsiteX44" fmla="*/ 29152 w 32291"/>
                        <a:gd name="connsiteY44" fmla="*/ 4196 h 36192"/>
                        <a:gd name="connsiteX45" fmla="*/ 28135 w 32291"/>
                        <a:gd name="connsiteY45" fmla="*/ 3119 h 36192"/>
                        <a:gd name="connsiteX46" fmla="*/ 24546 w 32291"/>
                        <a:gd name="connsiteY46" fmla="*/ 846 h 36192"/>
                        <a:gd name="connsiteX47" fmla="*/ 20300 w 32291"/>
                        <a:gd name="connsiteY47" fmla="*/ 9 h 36192"/>
                        <a:gd name="connsiteX48" fmla="*/ 15635 w 32291"/>
                        <a:gd name="connsiteY48" fmla="*/ 667 h 36192"/>
                        <a:gd name="connsiteX49" fmla="*/ 10851 w 32291"/>
                        <a:gd name="connsiteY49" fmla="*/ 2940 h 36192"/>
                        <a:gd name="connsiteX50" fmla="*/ 5289 w 32291"/>
                        <a:gd name="connsiteY50" fmla="*/ 8023 h 36192"/>
                        <a:gd name="connsiteX51" fmla="*/ 1581 w 32291"/>
                        <a:gd name="connsiteY51" fmla="*/ 14423 h 36192"/>
                        <a:gd name="connsiteX52" fmla="*/ 26 w 32291"/>
                        <a:gd name="connsiteY52" fmla="*/ 21360 h 36192"/>
                        <a:gd name="connsiteX53" fmla="*/ 923 w 32291"/>
                        <a:gd name="connsiteY53" fmla="*/ 27999 h 36192"/>
                        <a:gd name="connsiteX54" fmla="*/ 1581 w 32291"/>
                        <a:gd name="connsiteY54" fmla="*/ 29494 h 36192"/>
                        <a:gd name="connsiteX55" fmla="*/ 2358 w 32291"/>
                        <a:gd name="connsiteY55" fmla="*/ 30870 h 36192"/>
                        <a:gd name="connsiteX56" fmla="*/ 3255 w 32291"/>
                        <a:gd name="connsiteY56" fmla="*/ 32066 h 36192"/>
                        <a:gd name="connsiteX57" fmla="*/ 4451 w 32291"/>
                        <a:gd name="connsiteY57" fmla="*/ 33262 h 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291" h="36192">
                          <a:moveTo>
                            <a:pt x="27597" y="4076"/>
                          </a:moveTo>
                          <a:cubicBezTo>
                            <a:pt x="27956" y="4375"/>
                            <a:pt x="28255" y="4734"/>
                            <a:pt x="28553" y="5093"/>
                          </a:cubicBezTo>
                          <a:cubicBezTo>
                            <a:pt x="28853" y="5452"/>
                            <a:pt x="29152" y="5811"/>
                            <a:pt x="29391" y="6229"/>
                          </a:cubicBezTo>
                          <a:cubicBezTo>
                            <a:pt x="29630" y="6648"/>
                            <a:pt x="29869" y="7066"/>
                            <a:pt x="30109" y="7545"/>
                          </a:cubicBezTo>
                          <a:cubicBezTo>
                            <a:pt x="30348" y="8023"/>
                            <a:pt x="30527" y="8502"/>
                            <a:pt x="30707" y="8980"/>
                          </a:cubicBezTo>
                          <a:cubicBezTo>
                            <a:pt x="31365" y="10954"/>
                            <a:pt x="31604" y="13047"/>
                            <a:pt x="31484" y="15260"/>
                          </a:cubicBezTo>
                          <a:cubicBezTo>
                            <a:pt x="31365" y="17413"/>
                            <a:pt x="30826" y="19626"/>
                            <a:pt x="29989" y="21779"/>
                          </a:cubicBezTo>
                          <a:cubicBezTo>
                            <a:pt x="29152" y="23872"/>
                            <a:pt x="27956" y="25906"/>
                            <a:pt x="26520" y="27760"/>
                          </a:cubicBezTo>
                          <a:cubicBezTo>
                            <a:pt x="25085" y="29614"/>
                            <a:pt x="23350" y="31229"/>
                            <a:pt x="21377" y="32484"/>
                          </a:cubicBezTo>
                          <a:cubicBezTo>
                            <a:pt x="20420" y="33083"/>
                            <a:pt x="19463" y="33621"/>
                            <a:pt x="18506" y="34039"/>
                          </a:cubicBezTo>
                          <a:cubicBezTo>
                            <a:pt x="17549" y="34458"/>
                            <a:pt x="16533" y="34757"/>
                            <a:pt x="15575" y="34996"/>
                          </a:cubicBezTo>
                          <a:cubicBezTo>
                            <a:pt x="14619" y="35236"/>
                            <a:pt x="13602" y="35295"/>
                            <a:pt x="12645" y="35295"/>
                          </a:cubicBezTo>
                          <a:cubicBezTo>
                            <a:pt x="11688" y="35295"/>
                            <a:pt x="10731" y="35176"/>
                            <a:pt x="9834" y="34937"/>
                          </a:cubicBezTo>
                          <a:cubicBezTo>
                            <a:pt x="9415" y="34817"/>
                            <a:pt x="8937" y="34697"/>
                            <a:pt x="8518" y="34518"/>
                          </a:cubicBezTo>
                          <a:cubicBezTo>
                            <a:pt x="8100" y="34338"/>
                            <a:pt x="7681" y="34159"/>
                            <a:pt x="7322" y="33979"/>
                          </a:cubicBezTo>
                          <a:cubicBezTo>
                            <a:pt x="6963" y="33800"/>
                            <a:pt x="6544" y="33561"/>
                            <a:pt x="6186" y="33322"/>
                          </a:cubicBezTo>
                          <a:cubicBezTo>
                            <a:pt x="5827" y="33083"/>
                            <a:pt x="5468" y="32783"/>
                            <a:pt x="5169" y="32484"/>
                          </a:cubicBezTo>
                          <a:cubicBezTo>
                            <a:pt x="4810" y="32185"/>
                            <a:pt x="4511" y="31827"/>
                            <a:pt x="4212" y="31468"/>
                          </a:cubicBezTo>
                          <a:cubicBezTo>
                            <a:pt x="3913" y="31109"/>
                            <a:pt x="3614" y="30750"/>
                            <a:pt x="3375" y="30331"/>
                          </a:cubicBezTo>
                          <a:cubicBezTo>
                            <a:pt x="3135" y="29913"/>
                            <a:pt x="2836" y="29494"/>
                            <a:pt x="2657" y="29075"/>
                          </a:cubicBezTo>
                          <a:cubicBezTo>
                            <a:pt x="2418" y="28657"/>
                            <a:pt x="2239" y="28178"/>
                            <a:pt x="2059" y="27700"/>
                          </a:cubicBezTo>
                          <a:cubicBezTo>
                            <a:pt x="1341" y="25726"/>
                            <a:pt x="1102" y="23573"/>
                            <a:pt x="1222" y="21420"/>
                          </a:cubicBezTo>
                          <a:cubicBezTo>
                            <a:pt x="1341" y="19207"/>
                            <a:pt x="1880" y="16994"/>
                            <a:pt x="2717" y="14841"/>
                          </a:cubicBezTo>
                          <a:cubicBezTo>
                            <a:pt x="3554" y="12688"/>
                            <a:pt x="4750" y="10595"/>
                            <a:pt x="6245" y="8741"/>
                          </a:cubicBezTo>
                          <a:cubicBezTo>
                            <a:pt x="7741" y="6887"/>
                            <a:pt x="9475" y="5272"/>
                            <a:pt x="11449" y="3957"/>
                          </a:cubicBezTo>
                          <a:cubicBezTo>
                            <a:pt x="12944" y="2999"/>
                            <a:pt x="14439" y="2282"/>
                            <a:pt x="15934" y="1863"/>
                          </a:cubicBezTo>
                          <a:cubicBezTo>
                            <a:pt x="17429" y="1384"/>
                            <a:pt x="18925" y="1205"/>
                            <a:pt x="20300" y="1205"/>
                          </a:cubicBezTo>
                          <a:cubicBezTo>
                            <a:pt x="21736" y="1205"/>
                            <a:pt x="23051" y="1504"/>
                            <a:pt x="24307" y="1983"/>
                          </a:cubicBezTo>
                          <a:cubicBezTo>
                            <a:pt x="25444" y="2401"/>
                            <a:pt x="26580" y="3119"/>
                            <a:pt x="27597" y="4076"/>
                          </a:cubicBezTo>
                          <a:moveTo>
                            <a:pt x="4451" y="33262"/>
                          </a:moveTo>
                          <a:cubicBezTo>
                            <a:pt x="4810" y="33561"/>
                            <a:pt x="5169" y="33860"/>
                            <a:pt x="5528" y="34099"/>
                          </a:cubicBezTo>
                          <a:cubicBezTo>
                            <a:pt x="5887" y="34338"/>
                            <a:pt x="6305" y="34578"/>
                            <a:pt x="6724" y="34817"/>
                          </a:cubicBezTo>
                          <a:cubicBezTo>
                            <a:pt x="7143" y="35056"/>
                            <a:pt x="7561" y="35236"/>
                            <a:pt x="7980" y="35415"/>
                          </a:cubicBezTo>
                          <a:cubicBezTo>
                            <a:pt x="8398" y="35594"/>
                            <a:pt x="8877" y="35714"/>
                            <a:pt x="9356" y="35834"/>
                          </a:cubicBezTo>
                          <a:cubicBezTo>
                            <a:pt x="10312" y="36073"/>
                            <a:pt x="11329" y="36192"/>
                            <a:pt x="12346" y="36192"/>
                          </a:cubicBezTo>
                          <a:cubicBezTo>
                            <a:pt x="13363" y="36192"/>
                            <a:pt x="14379" y="36073"/>
                            <a:pt x="15396" y="35834"/>
                          </a:cubicBezTo>
                          <a:cubicBezTo>
                            <a:pt x="16413" y="35594"/>
                            <a:pt x="17489" y="35295"/>
                            <a:pt x="18506" y="34817"/>
                          </a:cubicBezTo>
                          <a:cubicBezTo>
                            <a:pt x="19523" y="34398"/>
                            <a:pt x="20599" y="33800"/>
                            <a:pt x="21556" y="33142"/>
                          </a:cubicBezTo>
                          <a:cubicBezTo>
                            <a:pt x="23650" y="31767"/>
                            <a:pt x="25444" y="30092"/>
                            <a:pt x="26999" y="28119"/>
                          </a:cubicBezTo>
                          <a:cubicBezTo>
                            <a:pt x="28553" y="26205"/>
                            <a:pt x="29750" y="24052"/>
                            <a:pt x="30647" y="21779"/>
                          </a:cubicBezTo>
                          <a:cubicBezTo>
                            <a:pt x="31544" y="19506"/>
                            <a:pt x="32082" y="17174"/>
                            <a:pt x="32262" y="14901"/>
                          </a:cubicBezTo>
                          <a:cubicBezTo>
                            <a:pt x="32381" y="12628"/>
                            <a:pt x="32142" y="10356"/>
                            <a:pt x="31424" y="8262"/>
                          </a:cubicBezTo>
                          <a:cubicBezTo>
                            <a:pt x="31245" y="7724"/>
                            <a:pt x="31006" y="7246"/>
                            <a:pt x="30826" y="6767"/>
                          </a:cubicBezTo>
                          <a:cubicBezTo>
                            <a:pt x="30587" y="6289"/>
                            <a:pt x="30348" y="5811"/>
                            <a:pt x="30049" y="5392"/>
                          </a:cubicBezTo>
                          <a:cubicBezTo>
                            <a:pt x="29750" y="4973"/>
                            <a:pt x="29451" y="4554"/>
                            <a:pt x="29152" y="4196"/>
                          </a:cubicBezTo>
                          <a:cubicBezTo>
                            <a:pt x="28853" y="3837"/>
                            <a:pt x="28494" y="3478"/>
                            <a:pt x="28135" y="3119"/>
                          </a:cubicBezTo>
                          <a:cubicBezTo>
                            <a:pt x="27058" y="2162"/>
                            <a:pt x="25862" y="1384"/>
                            <a:pt x="24546" y="846"/>
                          </a:cubicBezTo>
                          <a:cubicBezTo>
                            <a:pt x="23231" y="308"/>
                            <a:pt x="21796" y="69"/>
                            <a:pt x="20300" y="9"/>
                          </a:cubicBezTo>
                          <a:cubicBezTo>
                            <a:pt x="18805" y="-51"/>
                            <a:pt x="17250" y="189"/>
                            <a:pt x="15635" y="667"/>
                          </a:cubicBezTo>
                          <a:cubicBezTo>
                            <a:pt x="14080" y="1145"/>
                            <a:pt x="12466" y="1923"/>
                            <a:pt x="10851" y="2940"/>
                          </a:cubicBezTo>
                          <a:cubicBezTo>
                            <a:pt x="8757" y="4315"/>
                            <a:pt x="6844" y="6050"/>
                            <a:pt x="5289" y="8023"/>
                          </a:cubicBezTo>
                          <a:cubicBezTo>
                            <a:pt x="3734" y="9997"/>
                            <a:pt x="2478" y="12150"/>
                            <a:pt x="1581" y="14423"/>
                          </a:cubicBezTo>
                          <a:cubicBezTo>
                            <a:pt x="683" y="16695"/>
                            <a:pt x="145" y="19088"/>
                            <a:pt x="26" y="21360"/>
                          </a:cubicBezTo>
                          <a:cubicBezTo>
                            <a:pt x="-94" y="23693"/>
                            <a:pt x="205" y="25906"/>
                            <a:pt x="923" y="27999"/>
                          </a:cubicBezTo>
                          <a:cubicBezTo>
                            <a:pt x="1102" y="28537"/>
                            <a:pt x="1341" y="29016"/>
                            <a:pt x="1581" y="29494"/>
                          </a:cubicBezTo>
                          <a:cubicBezTo>
                            <a:pt x="1820" y="29973"/>
                            <a:pt x="2059" y="30451"/>
                            <a:pt x="2358" y="30870"/>
                          </a:cubicBezTo>
                          <a:cubicBezTo>
                            <a:pt x="2657" y="31288"/>
                            <a:pt x="2956" y="31707"/>
                            <a:pt x="3255" y="32066"/>
                          </a:cubicBezTo>
                          <a:cubicBezTo>
                            <a:pt x="3734" y="32604"/>
                            <a:pt x="4093" y="32963"/>
                            <a:pt x="4451" y="33262"/>
                          </a:cubicBezTo>
                        </a:path>
                      </a:pathLst>
                    </a:custGeom>
                    <a:noFill/>
                    <a:ln w="6350" cap="flat">
                      <a:solidFill>
                        <a:schemeClr val="bg1">
                          <a:alpha val="80000"/>
                        </a:schemeClr>
                      </a:solidFill>
                      <a:prstDash val="solid"/>
                      <a:miter/>
                    </a:ln>
                  </p:spPr>
                  <p:txBody>
                    <a:bodyPr rtlCol="0" anchor="ctr"/>
                    <a:lstStyle/>
                    <a:p>
                      <a:endParaRPr lang="en-GB"/>
                    </a:p>
                  </p:txBody>
                </p:sp>
                <p:sp>
                  <p:nvSpPr>
                    <p:cNvPr id="7497" name="Vrije vorm: vorm 7496">
                      <a:extLst>
                        <a:ext uri="{FF2B5EF4-FFF2-40B4-BE49-F238E27FC236}">
                          <a16:creationId xmlns:a16="http://schemas.microsoft.com/office/drawing/2014/main" id="{46F37504-FCA6-45A7-AD23-2F969C5AFC5A}"/>
                        </a:ext>
                      </a:extLst>
                    </p:cNvPr>
                    <p:cNvSpPr/>
                    <p:nvPr/>
                  </p:nvSpPr>
                  <p:spPr>
                    <a:xfrm>
                      <a:off x="5324597" y="5144417"/>
                      <a:ext cx="5502" cy="6159"/>
                    </a:xfrm>
                    <a:custGeom>
                      <a:avLst/>
                      <a:gdLst>
                        <a:gd name="connsiteX0" fmla="*/ 4545 w 5502"/>
                        <a:gd name="connsiteY0" fmla="*/ 1794 h 6159"/>
                        <a:gd name="connsiteX1" fmla="*/ 4545 w 5502"/>
                        <a:gd name="connsiteY1" fmla="*/ 1794 h 6159"/>
                        <a:gd name="connsiteX2" fmla="*/ 4605 w 5502"/>
                        <a:gd name="connsiteY2" fmla="*/ 1854 h 6159"/>
                        <a:gd name="connsiteX3" fmla="*/ 4605 w 5502"/>
                        <a:gd name="connsiteY3" fmla="*/ 1914 h 6159"/>
                        <a:gd name="connsiteX4" fmla="*/ 4605 w 5502"/>
                        <a:gd name="connsiteY4" fmla="*/ 1973 h 6159"/>
                        <a:gd name="connsiteX5" fmla="*/ 4725 w 5502"/>
                        <a:gd name="connsiteY5" fmla="*/ 2332 h 6159"/>
                        <a:gd name="connsiteX6" fmla="*/ 4725 w 5502"/>
                        <a:gd name="connsiteY6" fmla="*/ 2691 h 6159"/>
                        <a:gd name="connsiteX7" fmla="*/ 4665 w 5502"/>
                        <a:gd name="connsiteY7" fmla="*/ 3110 h 6159"/>
                        <a:gd name="connsiteX8" fmla="*/ 4545 w 5502"/>
                        <a:gd name="connsiteY8" fmla="*/ 3528 h 6159"/>
                        <a:gd name="connsiteX9" fmla="*/ 4366 w 5502"/>
                        <a:gd name="connsiteY9" fmla="*/ 3947 h 6159"/>
                        <a:gd name="connsiteX10" fmla="*/ 4127 w 5502"/>
                        <a:gd name="connsiteY10" fmla="*/ 4306 h 6159"/>
                        <a:gd name="connsiteX11" fmla="*/ 3827 w 5502"/>
                        <a:gd name="connsiteY11" fmla="*/ 4605 h 6159"/>
                        <a:gd name="connsiteX12" fmla="*/ 3469 w 5502"/>
                        <a:gd name="connsiteY12" fmla="*/ 4844 h 6159"/>
                        <a:gd name="connsiteX13" fmla="*/ 3110 w 5502"/>
                        <a:gd name="connsiteY13" fmla="*/ 5024 h 6159"/>
                        <a:gd name="connsiteX14" fmla="*/ 2751 w 5502"/>
                        <a:gd name="connsiteY14" fmla="*/ 5143 h 6159"/>
                        <a:gd name="connsiteX15" fmla="*/ 2392 w 5502"/>
                        <a:gd name="connsiteY15" fmla="*/ 5203 h 6159"/>
                        <a:gd name="connsiteX16" fmla="*/ 2033 w 5502"/>
                        <a:gd name="connsiteY16" fmla="*/ 5143 h 6159"/>
                        <a:gd name="connsiteX17" fmla="*/ 1435 w 5502"/>
                        <a:gd name="connsiteY17" fmla="*/ 4844 h 6159"/>
                        <a:gd name="connsiteX18" fmla="*/ 1136 w 5502"/>
                        <a:gd name="connsiteY18" fmla="*/ 4366 h 6159"/>
                        <a:gd name="connsiteX19" fmla="*/ 1076 w 5502"/>
                        <a:gd name="connsiteY19" fmla="*/ 4246 h 6159"/>
                        <a:gd name="connsiteX20" fmla="*/ 1017 w 5502"/>
                        <a:gd name="connsiteY20" fmla="*/ 4067 h 6159"/>
                        <a:gd name="connsiteX21" fmla="*/ 957 w 5502"/>
                        <a:gd name="connsiteY21" fmla="*/ 3827 h 6159"/>
                        <a:gd name="connsiteX22" fmla="*/ 957 w 5502"/>
                        <a:gd name="connsiteY22" fmla="*/ 3588 h 6159"/>
                        <a:gd name="connsiteX23" fmla="*/ 957 w 5502"/>
                        <a:gd name="connsiteY23" fmla="*/ 3349 h 6159"/>
                        <a:gd name="connsiteX24" fmla="*/ 957 w 5502"/>
                        <a:gd name="connsiteY24" fmla="*/ 3170 h 6159"/>
                        <a:gd name="connsiteX25" fmla="*/ 1017 w 5502"/>
                        <a:gd name="connsiteY25" fmla="*/ 2990 h 6159"/>
                        <a:gd name="connsiteX26" fmla="*/ 1076 w 5502"/>
                        <a:gd name="connsiteY26" fmla="*/ 2811 h 6159"/>
                        <a:gd name="connsiteX27" fmla="*/ 1136 w 5502"/>
                        <a:gd name="connsiteY27" fmla="*/ 2632 h 6159"/>
                        <a:gd name="connsiteX28" fmla="*/ 1316 w 5502"/>
                        <a:gd name="connsiteY28" fmla="*/ 2213 h 6159"/>
                        <a:gd name="connsiteX29" fmla="*/ 1555 w 5502"/>
                        <a:gd name="connsiteY29" fmla="*/ 1854 h 6159"/>
                        <a:gd name="connsiteX30" fmla="*/ 1854 w 5502"/>
                        <a:gd name="connsiteY30" fmla="*/ 1555 h 6159"/>
                        <a:gd name="connsiteX31" fmla="*/ 2213 w 5502"/>
                        <a:gd name="connsiteY31" fmla="*/ 1316 h 6159"/>
                        <a:gd name="connsiteX32" fmla="*/ 2452 w 5502"/>
                        <a:gd name="connsiteY32" fmla="*/ 1196 h 6159"/>
                        <a:gd name="connsiteX33" fmla="*/ 2691 w 5502"/>
                        <a:gd name="connsiteY33" fmla="*/ 1076 h 6159"/>
                        <a:gd name="connsiteX34" fmla="*/ 2930 w 5502"/>
                        <a:gd name="connsiteY34" fmla="*/ 1017 h 6159"/>
                        <a:gd name="connsiteX35" fmla="*/ 3170 w 5502"/>
                        <a:gd name="connsiteY35" fmla="*/ 957 h 6159"/>
                        <a:gd name="connsiteX36" fmla="*/ 3289 w 5502"/>
                        <a:gd name="connsiteY36" fmla="*/ 957 h 6159"/>
                        <a:gd name="connsiteX37" fmla="*/ 3409 w 5502"/>
                        <a:gd name="connsiteY37" fmla="*/ 957 h 6159"/>
                        <a:gd name="connsiteX38" fmla="*/ 3528 w 5502"/>
                        <a:gd name="connsiteY38" fmla="*/ 957 h 6159"/>
                        <a:gd name="connsiteX39" fmla="*/ 3648 w 5502"/>
                        <a:gd name="connsiteY39" fmla="*/ 957 h 6159"/>
                        <a:gd name="connsiteX40" fmla="*/ 3827 w 5502"/>
                        <a:gd name="connsiteY40" fmla="*/ 1017 h 6159"/>
                        <a:gd name="connsiteX41" fmla="*/ 3947 w 5502"/>
                        <a:gd name="connsiteY41" fmla="*/ 1076 h 6159"/>
                        <a:gd name="connsiteX42" fmla="*/ 4067 w 5502"/>
                        <a:gd name="connsiteY42" fmla="*/ 1136 h 6159"/>
                        <a:gd name="connsiteX43" fmla="*/ 4186 w 5502"/>
                        <a:gd name="connsiteY43" fmla="*/ 1256 h 6159"/>
                        <a:gd name="connsiteX44" fmla="*/ 4306 w 5502"/>
                        <a:gd name="connsiteY44" fmla="*/ 1375 h 6159"/>
                        <a:gd name="connsiteX45" fmla="*/ 4366 w 5502"/>
                        <a:gd name="connsiteY45" fmla="*/ 1495 h 6159"/>
                        <a:gd name="connsiteX46" fmla="*/ 4426 w 5502"/>
                        <a:gd name="connsiteY46" fmla="*/ 1615 h 6159"/>
                        <a:gd name="connsiteX47" fmla="*/ 4545 w 5502"/>
                        <a:gd name="connsiteY47" fmla="*/ 1794 h 6159"/>
                        <a:gd name="connsiteX48" fmla="*/ 777 w 5502"/>
                        <a:gd name="connsiteY48" fmla="*/ 5681 h 6159"/>
                        <a:gd name="connsiteX49" fmla="*/ 957 w 5502"/>
                        <a:gd name="connsiteY49" fmla="*/ 5801 h 6159"/>
                        <a:gd name="connsiteX50" fmla="*/ 1136 w 5502"/>
                        <a:gd name="connsiteY50" fmla="*/ 5921 h 6159"/>
                        <a:gd name="connsiteX51" fmla="*/ 1375 w 5502"/>
                        <a:gd name="connsiteY51" fmla="*/ 6041 h 6159"/>
                        <a:gd name="connsiteX52" fmla="*/ 1615 w 5502"/>
                        <a:gd name="connsiteY52" fmla="*/ 6100 h 6159"/>
                        <a:gd name="connsiteX53" fmla="*/ 2093 w 5502"/>
                        <a:gd name="connsiteY53" fmla="*/ 6160 h 6159"/>
                        <a:gd name="connsiteX54" fmla="*/ 2632 w 5502"/>
                        <a:gd name="connsiteY54" fmla="*/ 6100 h 6159"/>
                        <a:gd name="connsiteX55" fmla="*/ 3170 w 5502"/>
                        <a:gd name="connsiteY55" fmla="*/ 5921 h 6159"/>
                        <a:gd name="connsiteX56" fmla="*/ 3708 w 5502"/>
                        <a:gd name="connsiteY56" fmla="*/ 5622 h 6159"/>
                        <a:gd name="connsiteX57" fmla="*/ 4186 w 5502"/>
                        <a:gd name="connsiteY57" fmla="*/ 5263 h 6159"/>
                        <a:gd name="connsiteX58" fmla="*/ 4605 w 5502"/>
                        <a:gd name="connsiteY58" fmla="*/ 4785 h 6159"/>
                        <a:gd name="connsiteX59" fmla="*/ 4964 w 5502"/>
                        <a:gd name="connsiteY59" fmla="*/ 4246 h 6159"/>
                        <a:gd name="connsiteX60" fmla="*/ 5263 w 5502"/>
                        <a:gd name="connsiteY60" fmla="*/ 3648 h 6159"/>
                        <a:gd name="connsiteX61" fmla="*/ 5442 w 5502"/>
                        <a:gd name="connsiteY61" fmla="*/ 3050 h 6159"/>
                        <a:gd name="connsiteX62" fmla="*/ 5502 w 5502"/>
                        <a:gd name="connsiteY62" fmla="*/ 2452 h 6159"/>
                        <a:gd name="connsiteX63" fmla="*/ 5502 w 5502"/>
                        <a:gd name="connsiteY63" fmla="*/ 1854 h 6159"/>
                        <a:gd name="connsiteX64" fmla="*/ 5382 w 5502"/>
                        <a:gd name="connsiteY64" fmla="*/ 1316 h 6159"/>
                        <a:gd name="connsiteX65" fmla="*/ 5263 w 5502"/>
                        <a:gd name="connsiteY65" fmla="*/ 1076 h 6159"/>
                        <a:gd name="connsiteX66" fmla="*/ 5143 w 5502"/>
                        <a:gd name="connsiteY66" fmla="*/ 837 h 6159"/>
                        <a:gd name="connsiteX67" fmla="*/ 4964 w 5502"/>
                        <a:gd name="connsiteY67" fmla="*/ 598 h 6159"/>
                        <a:gd name="connsiteX68" fmla="*/ 4785 w 5502"/>
                        <a:gd name="connsiteY68" fmla="*/ 419 h 6159"/>
                        <a:gd name="connsiteX69" fmla="*/ 4605 w 5502"/>
                        <a:gd name="connsiteY69" fmla="*/ 299 h 6159"/>
                        <a:gd name="connsiteX70" fmla="*/ 4426 w 5502"/>
                        <a:gd name="connsiteY70" fmla="*/ 179 h 6159"/>
                        <a:gd name="connsiteX71" fmla="*/ 4186 w 5502"/>
                        <a:gd name="connsiteY71" fmla="*/ 60 h 6159"/>
                        <a:gd name="connsiteX72" fmla="*/ 3947 w 5502"/>
                        <a:gd name="connsiteY72" fmla="*/ 0 h 6159"/>
                        <a:gd name="connsiteX73" fmla="*/ 3887 w 5502"/>
                        <a:gd name="connsiteY73" fmla="*/ 0 h 6159"/>
                        <a:gd name="connsiteX74" fmla="*/ 3827 w 5502"/>
                        <a:gd name="connsiteY74" fmla="*/ 0 h 6159"/>
                        <a:gd name="connsiteX75" fmla="*/ 3768 w 5502"/>
                        <a:gd name="connsiteY75" fmla="*/ 0 h 6159"/>
                        <a:gd name="connsiteX76" fmla="*/ 3708 w 5502"/>
                        <a:gd name="connsiteY76" fmla="*/ 0 h 6159"/>
                        <a:gd name="connsiteX77" fmla="*/ 3469 w 5502"/>
                        <a:gd name="connsiteY77" fmla="*/ 0 h 6159"/>
                        <a:gd name="connsiteX78" fmla="*/ 3229 w 5502"/>
                        <a:gd name="connsiteY78" fmla="*/ 0 h 6159"/>
                        <a:gd name="connsiteX79" fmla="*/ 2930 w 5502"/>
                        <a:gd name="connsiteY79" fmla="*/ 60 h 6159"/>
                        <a:gd name="connsiteX80" fmla="*/ 2632 w 5502"/>
                        <a:gd name="connsiteY80" fmla="*/ 119 h 6159"/>
                        <a:gd name="connsiteX81" fmla="*/ 2392 w 5502"/>
                        <a:gd name="connsiteY81" fmla="*/ 179 h 6159"/>
                        <a:gd name="connsiteX82" fmla="*/ 2213 w 5502"/>
                        <a:gd name="connsiteY82" fmla="*/ 299 h 6159"/>
                        <a:gd name="connsiteX83" fmla="*/ 2033 w 5502"/>
                        <a:gd name="connsiteY83" fmla="*/ 419 h 6159"/>
                        <a:gd name="connsiteX84" fmla="*/ 1854 w 5502"/>
                        <a:gd name="connsiteY84" fmla="*/ 538 h 6159"/>
                        <a:gd name="connsiteX85" fmla="*/ 1375 w 5502"/>
                        <a:gd name="connsiteY85" fmla="*/ 897 h 6159"/>
                        <a:gd name="connsiteX86" fmla="*/ 957 w 5502"/>
                        <a:gd name="connsiteY86" fmla="*/ 1375 h 6159"/>
                        <a:gd name="connsiteX87" fmla="*/ 598 w 5502"/>
                        <a:gd name="connsiteY87" fmla="*/ 1914 h 6159"/>
                        <a:gd name="connsiteX88" fmla="*/ 299 w 5502"/>
                        <a:gd name="connsiteY88" fmla="*/ 2512 h 6159"/>
                        <a:gd name="connsiteX89" fmla="*/ 179 w 5502"/>
                        <a:gd name="connsiteY89" fmla="*/ 2930 h 6159"/>
                        <a:gd name="connsiteX90" fmla="*/ 60 w 5502"/>
                        <a:gd name="connsiteY90" fmla="*/ 3349 h 6159"/>
                        <a:gd name="connsiteX91" fmla="*/ 0 w 5502"/>
                        <a:gd name="connsiteY91" fmla="*/ 3768 h 6159"/>
                        <a:gd name="connsiteX92" fmla="*/ 0 w 5502"/>
                        <a:gd name="connsiteY92" fmla="*/ 4127 h 6159"/>
                        <a:gd name="connsiteX93" fmla="*/ 0 w 5502"/>
                        <a:gd name="connsiteY93" fmla="*/ 4306 h 6159"/>
                        <a:gd name="connsiteX94" fmla="*/ 60 w 5502"/>
                        <a:gd name="connsiteY94" fmla="*/ 4486 h 6159"/>
                        <a:gd name="connsiteX95" fmla="*/ 119 w 5502"/>
                        <a:gd name="connsiteY95" fmla="*/ 4665 h 6159"/>
                        <a:gd name="connsiteX96" fmla="*/ 179 w 5502"/>
                        <a:gd name="connsiteY96" fmla="*/ 4844 h 6159"/>
                        <a:gd name="connsiteX97" fmla="*/ 179 w 5502"/>
                        <a:gd name="connsiteY97" fmla="*/ 4904 h 6159"/>
                        <a:gd name="connsiteX98" fmla="*/ 179 w 5502"/>
                        <a:gd name="connsiteY98" fmla="*/ 4964 h 6159"/>
                        <a:gd name="connsiteX99" fmla="*/ 179 w 5502"/>
                        <a:gd name="connsiteY99" fmla="*/ 5024 h 6159"/>
                        <a:gd name="connsiteX100" fmla="*/ 179 w 5502"/>
                        <a:gd name="connsiteY100" fmla="*/ 5083 h 6159"/>
                        <a:gd name="connsiteX101" fmla="*/ 299 w 5502"/>
                        <a:gd name="connsiteY101" fmla="*/ 5263 h 6159"/>
                        <a:gd name="connsiteX102" fmla="*/ 418 w 5502"/>
                        <a:gd name="connsiteY102" fmla="*/ 5442 h 6159"/>
                        <a:gd name="connsiteX103" fmla="*/ 538 w 5502"/>
                        <a:gd name="connsiteY103" fmla="*/ 5622 h 6159"/>
                        <a:gd name="connsiteX104" fmla="*/ 777 w 5502"/>
                        <a:gd name="connsiteY104" fmla="*/ 5681 h 6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502" h="6159">
                          <a:moveTo>
                            <a:pt x="4545" y="1794"/>
                          </a:moveTo>
                          <a:cubicBezTo>
                            <a:pt x="4545" y="1794"/>
                            <a:pt x="4545" y="1794"/>
                            <a:pt x="4545" y="1794"/>
                          </a:cubicBezTo>
                          <a:cubicBezTo>
                            <a:pt x="4545" y="1854"/>
                            <a:pt x="4545" y="1854"/>
                            <a:pt x="4605" y="1854"/>
                          </a:cubicBezTo>
                          <a:cubicBezTo>
                            <a:pt x="4605" y="1854"/>
                            <a:pt x="4605" y="1854"/>
                            <a:pt x="4605" y="1914"/>
                          </a:cubicBezTo>
                          <a:cubicBezTo>
                            <a:pt x="4605" y="1914"/>
                            <a:pt x="4605" y="1914"/>
                            <a:pt x="4605" y="1973"/>
                          </a:cubicBezTo>
                          <a:cubicBezTo>
                            <a:pt x="4665" y="2093"/>
                            <a:pt x="4665" y="2213"/>
                            <a:pt x="4725" y="2332"/>
                          </a:cubicBezTo>
                          <a:cubicBezTo>
                            <a:pt x="4725" y="2452"/>
                            <a:pt x="4725" y="2572"/>
                            <a:pt x="4725" y="2691"/>
                          </a:cubicBezTo>
                          <a:cubicBezTo>
                            <a:pt x="4725" y="2811"/>
                            <a:pt x="4725" y="2930"/>
                            <a:pt x="4665" y="3110"/>
                          </a:cubicBezTo>
                          <a:cubicBezTo>
                            <a:pt x="4665" y="3229"/>
                            <a:pt x="4605" y="3409"/>
                            <a:pt x="4545" y="3528"/>
                          </a:cubicBezTo>
                          <a:cubicBezTo>
                            <a:pt x="4486" y="3648"/>
                            <a:pt x="4426" y="3768"/>
                            <a:pt x="4366" y="3947"/>
                          </a:cubicBezTo>
                          <a:cubicBezTo>
                            <a:pt x="4306" y="4067"/>
                            <a:pt x="4186" y="4186"/>
                            <a:pt x="4127" y="4306"/>
                          </a:cubicBezTo>
                          <a:cubicBezTo>
                            <a:pt x="4067" y="4426"/>
                            <a:pt x="3947" y="4545"/>
                            <a:pt x="3827" y="4605"/>
                          </a:cubicBezTo>
                          <a:cubicBezTo>
                            <a:pt x="3708" y="4725"/>
                            <a:pt x="3588" y="4785"/>
                            <a:pt x="3469" y="4844"/>
                          </a:cubicBezTo>
                          <a:cubicBezTo>
                            <a:pt x="3349" y="4904"/>
                            <a:pt x="3229" y="4964"/>
                            <a:pt x="3110" y="5024"/>
                          </a:cubicBezTo>
                          <a:cubicBezTo>
                            <a:pt x="2990" y="5083"/>
                            <a:pt x="2871" y="5143"/>
                            <a:pt x="2751" y="5143"/>
                          </a:cubicBezTo>
                          <a:cubicBezTo>
                            <a:pt x="2632" y="5143"/>
                            <a:pt x="2512" y="5203"/>
                            <a:pt x="2392" y="5203"/>
                          </a:cubicBezTo>
                          <a:cubicBezTo>
                            <a:pt x="2272" y="5203"/>
                            <a:pt x="2153" y="5203"/>
                            <a:pt x="2033" y="5143"/>
                          </a:cubicBezTo>
                          <a:lnTo>
                            <a:pt x="1435" y="4844"/>
                          </a:lnTo>
                          <a:lnTo>
                            <a:pt x="1136" y="4366"/>
                          </a:lnTo>
                          <a:lnTo>
                            <a:pt x="1076" y="4246"/>
                          </a:lnTo>
                          <a:cubicBezTo>
                            <a:pt x="1076" y="4186"/>
                            <a:pt x="1017" y="4127"/>
                            <a:pt x="1017" y="4067"/>
                          </a:cubicBezTo>
                          <a:cubicBezTo>
                            <a:pt x="1017" y="4007"/>
                            <a:pt x="1017" y="3947"/>
                            <a:pt x="957" y="3827"/>
                          </a:cubicBezTo>
                          <a:cubicBezTo>
                            <a:pt x="957" y="3768"/>
                            <a:pt x="957" y="3708"/>
                            <a:pt x="957" y="3588"/>
                          </a:cubicBezTo>
                          <a:cubicBezTo>
                            <a:pt x="957" y="3528"/>
                            <a:pt x="957" y="3469"/>
                            <a:pt x="957" y="3349"/>
                          </a:cubicBezTo>
                          <a:cubicBezTo>
                            <a:pt x="957" y="3289"/>
                            <a:pt x="957" y="3229"/>
                            <a:pt x="957" y="3170"/>
                          </a:cubicBezTo>
                          <a:cubicBezTo>
                            <a:pt x="957" y="3110"/>
                            <a:pt x="957" y="3050"/>
                            <a:pt x="1017" y="2990"/>
                          </a:cubicBezTo>
                          <a:cubicBezTo>
                            <a:pt x="1017" y="2930"/>
                            <a:pt x="1076" y="2871"/>
                            <a:pt x="1076" y="2811"/>
                          </a:cubicBezTo>
                          <a:cubicBezTo>
                            <a:pt x="1076" y="2751"/>
                            <a:pt x="1136" y="2691"/>
                            <a:pt x="1136" y="2632"/>
                          </a:cubicBezTo>
                          <a:cubicBezTo>
                            <a:pt x="1196" y="2512"/>
                            <a:pt x="1256" y="2392"/>
                            <a:pt x="1316" y="2213"/>
                          </a:cubicBezTo>
                          <a:cubicBezTo>
                            <a:pt x="1375" y="2093"/>
                            <a:pt x="1495" y="1973"/>
                            <a:pt x="1555" y="1854"/>
                          </a:cubicBezTo>
                          <a:cubicBezTo>
                            <a:pt x="1674" y="1734"/>
                            <a:pt x="1734" y="1615"/>
                            <a:pt x="1854" y="1555"/>
                          </a:cubicBezTo>
                          <a:cubicBezTo>
                            <a:pt x="1973" y="1435"/>
                            <a:pt x="2093" y="1375"/>
                            <a:pt x="2213" y="1316"/>
                          </a:cubicBezTo>
                          <a:cubicBezTo>
                            <a:pt x="2272" y="1256"/>
                            <a:pt x="2392" y="1196"/>
                            <a:pt x="2452" y="1196"/>
                          </a:cubicBezTo>
                          <a:cubicBezTo>
                            <a:pt x="2512" y="1136"/>
                            <a:pt x="2632" y="1136"/>
                            <a:pt x="2691" y="1076"/>
                          </a:cubicBezTo>
                          <a:cubicBezTo>
                            <a:pt x="2751" y="1076"/>
                            <a:pt x="2871" y="1017"/>
                            <a:pt x="2930" y="1017"/>
                          </a:cubicBezTo>
                          <a:cubicBezTo>
                            <a:pt x="2990" y="1017"/>
                            <a:pt x="3110" y="1017"/>
                            <a:pt x="3170" y="957"/>
                          </a:cubicBezTo>
                          <a:cubicBezTo>
                            <a:pt x="3229" y="957"/>
                            <a:pt x="3229" y="957"/>
                            <a:pt x="3289" y="957"/>
                          </a:cubicBezTo>
                          <a:cubicBezTo>
                            <a:pt x="3349" y="957"/>
                            <a:pt x="3349" y="957"/>
                            <a:pt x="3409" y="957"/>
                          </a:cubicBezTo>
                          <a:cubicBezTo>
                            <a:pt x="3469" y="957"/>
                            <a:pt x="3469" y="957"/>
                            <a:pt x="3528" y="957"/>
                          </a:cubicBezTo>
                          <a:cubicBezTo>
                            <a:pt x="3588" y="957"/>
                            <a:pt x="3588" y="957"/>
                            <a:pt x="3648" y="957"/>
                          </a:cubicBezTo>
                          <a:cubicBezTo>
                            <a:pt x="3708" y="957"/>
                            <a:pt x="3768" y="1017"/>
                            <a:pt x="3827" y="1017"/>
                          </a:cubicBezTo>
                          <a:cubicBezTo>
                            <a:pt x="3887" y="1017"/>
                            <a:pt x="3947" y="1076"/>
                            <a:pt x="3947" y="1076"/>
                          </a:cubicBezTo>
                          <a:cubicBezTo>
                            <a:pt x="4007" y="1076"/>
                            <a:pt x="4067" y="1136"/>
                            <a:pt x="4067" y="1136"/>
                          </a:cubicBezTo>
                          <a:cubicBezTo>
                            <a:pt x="4127" y="1196"/>
                            <a:pt x="4127" y="1196"/>
                            <a:pt x="4186" y="1256"/>
                          </a:cubicBezTo>
                          <a:cubicBezTo>
                            <a:pt x="4246" y="1256"/>
                            <a:pt x="4246" y="1316"/>
                            <a:pt x="4306" y="1375"/>
                          </a:cubicBezTo>
                          <a:cubicBezTo>
                            <a:pt x="4306" y="1435"/>
                            <a:pt x="4366" y="1435"/>
                            <a:pt x="4366" y="1495"/>
                          </a:cubicBezTo>
                          <a:cubicBezTo>
                            <a:pt x="4366" y="1555"/>
                            <a:pt x="4426" y="1555"/>
                            <a:pt x="4426" y="1615"/>
                          </a:cubicBezTo>
                          <a:cubicBezTo>
                            <a:pt x="4426" y="1674"/>
                            <a:pt x="4486" y="1734"/>
                            <a:pt x="4545" y="1794"/>
                          </a:cubicBezTo>
                          <a:moveTo>
                            <a:pt x="777" y="5681"/>
                          </a:moveTo>
                          <a:cubicBezTo>
                            <a:pt x="837" y="5741"/>
                            <a:pt x="897" y="5801"/>
                            <a:pt x="957" y="5801"/>
                          </a:cubicBezTo>
                          <a:cubicBezTo>
                            <a:pt x="1017" y="5801"/>
                            <a:pt x="1076" y="5861"/>
                            <a:pt x="1136" y="5921"/>
                          </a:cubicBezTo>
                          <a:cubicBezTo>
                            <a:pt x="1196" y="5981"/>
                            <a:pt x="1256" y="5981"/>
                            <a:pt x="1375" y="6041"/>
                          </a:cubicBezTo>
                          <a:cubicBezTo>
                            <a:pt x="1435" y="6041"/>
                            <a:pt x="1555" y="6100"/>
                            <a:pt x="1615" y="6100"/>
                          </a:cubicBezTo>
                          <a:cubicBezTo>
                            <a:pt x="1794" y="6160"/>
                            <a:pt x="1973" y="6160"/>
                            <a:pt x="2093" y="6160"/>
                          </a:cubicBezTo>
                          <a:cubicBezTo>
                            <a:pt x="2272" y="6160"/>
                            <a:pt x="2452" y="6160"/>
                            <a:pt x="2632" y="6100"/>
                          </a:cubicBezTo>
                          <a:cubicBezTo>
                            <a:pt x="2811" y="6041"/>
                            <a:pt x="2990" y="5981"/>
                            <a:pt x="3170" y="5921"/>
                          </a:cubicBezTo>
                          <a:cubicBezTo>
                            <a:pt x="3349" y="5861"/>
                            <a:pt x="3528" y="5741"/>
                            <a:pt x="3708" y="5622"/>
                          </a:cubicBezTo>
                          <a:cubicBezTo>
                            <a:pt x="3887" y="5502"/>
                            <a:pt x="4067" y="5382"/>
                            <a:pt x="4186" y="5263"/>
                          </a:cubicBezTo>
                          <a:cubicBezTo>
                            <a:pt x="4306" y="5143"/>
                            <a:pt x="4486" y="4964"/>
                            <a:pt x="4605" y="4785"/>
                          </a:cubicBezTo>
                          <a:cubicBezTo>
                            <a:pt x="4725" y="4605"/>
                            <a:pt x="4844" y="4426"/>
                            <a:pt x="4964" y="4246"/>
                          </a:cubicBezTo>
                          <a:cubicBezTo>
                            <a:pt x="5083" y="4067"/>
                            <a:pt x="5143" y="3887"/>
                            <a:pt x="5263" y="3648"/>
                          </a:cubicBezTo>
                          <a:cubicBezTo>
                            <a:pt x="5323" y="3469"/>
                            <a:pt x="5382" y="3229"/>
                            <a:pt x="5442" y="3050"/>
                          </a:cubicBezTo>
                          <a:cubicBezTo>
                            <a:pt x="5502" y="2871"/>
                            <a:pt x="5502" y="2632"/>
                            <a:pt x="5502" y="2452"/>
                          </a:cubicBezTo>
                          <a:cubicBezTo>
                            <a:pt x="5502" y="2273"/>
                            <a:pt x="5502" y="2033"/>
                            <a:pt x="5502" y="1854"/>
                          </a:cubicBezTo>
                          <a:cubicBezTo>
                            <a:pt x="5502" y="1674"/>
                            <a:pt x="5442" y="1495"/>
                            <a:pt x="5382" y="1316"/>
                          </a:cubicBezTo>
                          <a:cubicBezTo>
                            <a:pt x="5323" y="1256"/>
                            <a:pt x="5323" y="1136"/>
                            <a:pt x="5263" y="1076"/>
                          </a:cubicBezTo>
                          <a:cubicBezTo>
                            <a:pt x="5203" y="1017"/>
                            <a:pt x="5203" y="897"/>
                            <a:pt x="5143" y="837"/>
                          </a:cubicBezTo>
                          <a:cubicBezTo>
                            <a:pt x="5083" y="778"/>
                            <a:pt x="5024" y="718"/>
                            <a:pt x="4964" y="598"/>
                          </a:cubicBezTo>
                          <a:cubicBezTo>
                            <a:pt x="4904" y="478"/>
                            <a:pt x="4844" y="478"/>
                            <a:pt x="4785" y="419"/>
                          </a:cubicBezTo>
                          <a:cubicBezTo>
                            <a:pt x="4725" y="359"/>
                            <a:pt x="4665" y="299"/>
                            <a:pt x="4605" y="299"/>
                          </a:cubicBezTo>
                          <a:cubicBezTo>
                            <a:pt x="4545" y="299"/>
                            <a:pt x="4486" y="239"/>
                            <a:pt x="4426" y="179"/>
                          </a:cubicBezTo>
                          <a:cubicBezTo>
                            <a:pt x="4366" y="119"/>
                            <a:pt x="4306" y="119"/>
                            <a:pt x="4186" y="60"/>
                          </a:cubicBezTo>
                          <a:cubicBezTo>
                            <a:pt x="4067" y="0"/>
                            <a:pt x="4007" y="0"/>
                            <a:pt x="3947" y="0"/>
                          </a:cubicBezTo>
                          <a:cubicBezTo>
                            <a:pt x="3947" y="0"/>
                            <a:pt x="3887" y="0"/>
                            <a:pt x="3887" y="0"/>
                          </a:cubicBezTo>
                          <a:cubicBezTo>
                            <a:pt x="3887" y="0"/>
                            <a:pt x="3827" y="0"/>
                            <a:pt x="3827" y="0"/>
                          </a:cubicBezTo>
                          <a:cubicBezTo>
                            <a:pt x="3827" y="0"/>
                            <a:pt x="3768" y="0"/>
                            <a:pt x="3768" y="0"/>
                          </a:cubicBezTo>
                          <a:cubicBezTo>
                            <a:pt x="3768" y="0"/>
                            <a:pt x="3708" y="0"/>
                            <a:pt x="3708" y="0"/>
                          </a:cubicBezTo>
                          <a:cubicBezTo>
                            <a:pt x="3648" y="0"/>
                            <a:pt x="3528" y="0"/>
                            <a:pt x="3469" y="0"/>
                          </a:cubicBezTo>
                          <a:cubicBezTo>
                            <a:pt x="3409" y="0"/>
                            <a:pt x="3289" y="0"/>
                            <a:pt x="3229" y="0"/>
                          </a:cubicBezTo>
                          <a:cubicBezTo>
                            <a:pt x="3110" y="0"/>
                            <a:pt x="3050" y="0"/>
                            <a:pt x="2930" y="60"/>
                          </a:cubicBezTo>
                          <a:cubicBezTo>
                            <a:pt x="2811" y="119"/>
                            <a:pt x="2751" y="119"/>
                            <a:pt x="2632" y="119"/>
                          </a:cubicBezTo>
                          <a:cubicBezTo>
                            <a:pt x="2572" y="119"/>
                            <a:pt x="2512" y="179"/>
                            <a:pt x="2392" y="179"/>
                          </a:cubicBezTo>
                          <a:cubicBezTo>
                            <a:pt x="2272" y="179"/>
                            <a:pt x="2272" y="239"/>
                            <a:pt x="2213" y="299"/>
                          </a:cubicBezTo>
                          <a:cubicBezTo>
                            <a:pt x="2153" y="359"/>
                            <a:pt x="2093" y="359"/>
                            <a:pt x="2033" y="419"/>
                          </a:cubicBezTo>
                          <a:cubicBezTo>
                            <a:pt x="1973" y="478"/>
                            <a:pt x="1914" y="478"/>
                            <a:pt x="1854" y="538"/>
                          </a:cubicBezTo>
                          <a:cubicBezTo>
                            <a:pt x="1674" y="658"/>
                            <a:pt x="1495" y="778"/>
                            <a:pt x="1375" y="897"/>
                          </a:cubicBezTo>
                          <a:cubicBezTo>
                            <a:pt x="1196" y="1017"/>
                            <a:pt x="1076" y="1196"/>
                            <a:pt x="957" y="1375"/>
                          </a:cubicBezTo>
                          <a:cubicBezTo>
                            <a:pt x="837" y="1555"/>
                            <a:pt x="718" y="1734"/>
                            <a:pt x="598" y="1914"/>
                          </a:cubicBezTo>
                          <a:cubicBezTo>
                            <a:pt x="478" y="2093"/>
                            <a:pt x="418" y="2273"/>
                            <a:pt x="299" y="2512"/>
                          </a:cubicBezTo>
                          <a:cubicBezTo>
                            <a:pt x="239" y="2632"/>
                            <a:pt x="179" y="2811"/>
                            <a:pt x="179" y="2930"/>
                          </a:cubicBezTo>
                          <a:cubicBezTo>
                            <a:pt x="179" y="3050"/>
                            <a:pt x="119" y="3229"/>
                            <a:pt x="60" y="3349"/>
                          </a:cubicBezTo>
                          <a:cubicBezTo>
                            <a:pt x="0" y="3469"/>
                            <a:pt x="0" y="3588"/>
                            <a:pt x="0" y="3768"/>
                          </a:cubicBezTo>
                          <a:cubicBezTo>
                            <a:pt x="0" y="3887"/>
                            <a:pt x="0" y="4007"/>
                            <a:pt x="0" y="4127"/>
                          </a:cubicBezTo>
                          <a:cubicBezTo>
                            <a:pt x="0" y="4186"/>
                            <a:pt x="0" y="4246"/>
                            <a:pt x="0" y="4306"/>
                          </a:cubicBezTo>
                          <a:cubicBezTo>
                            <a:pt x="0" y="4366"/>
                            <a:pt x="0" y="4426"/>
                            <a:pt x="60" y="4486"/>
                          </a:cubicBezTo>
                          <a:cubicBezTo>
                            <a:pt x="60" y="4545"/>
                            <a:pt x="60" y="4605"/>
                            <a:pt x="119" y="4665"/>
                          </a:cubicBezTo>
                          <a:cubicBezTo>
                            <a:pt x="119" y="4725"/>
                            <a:pt x="179" y="4785"/>
                            <a:pt x="179" y="4844"/>
                          </a:cubicBezTo>
                          <a:cubicBezTo>
                            <a:pt x="179" y="4844"/>
                            <a:pt x="179" y="4904"/>
                            <a:pt x="179" y="4904"/>
                          </a:cubicBezTo>
                          <a:cubicBezTo>
                            <a:pt x="179" y="4904"/>
                            <a:pt x="179" y="4964"/>
                            <a:pt x="179" y="4964"/>
                          </a:cubicBezTo>
                          <a:cubicBezTo>
                            <a:pt x="179" y="4964"/>
                            <a:pt x="179" y="5024"/>
                            <a:pt x="179" y="5024"/>
                          </a:cubicBezTo>
                          <a:cubicBezTo>
                            <a:pt x="179" y="5024"/>
                            <a:pt x="179" y="5083"/>
                            <a:pt x="179" y="5083"/>
                          </a:cubicBezTo>
                          <a:cubicBezTo>
                            <a:pt x="239" y="5143"/>
                            <a:pt x="239" y="5203"/>
                            <a:pt x="299" y="5263"/>
                          </a:cubicBezTo>
                          <a:cubicBezTo>
                            <a:pt x="359" y="5323"/>
                            <a:pt x="359" y="5382"/>
                            <a:pt x="418" y="5442"/>
                          </a:cubicBezTo>
                          <a:cubicBezTo>
                            <a:pt x="478" y="5502"/>
                            <a:pt x="478" y="5562"/>
                            <a:pt x="538" y="5622"/>
                          </a:cubicBezTo>
                          <a:cubicBezTo>
                            <a:pt x="718" y="5562"/>
                            <a:pt x="777" y="5622"/>
                            <a:pt x="777" y="5681"/>
                          </a:cubicBezTo>
                        </a:path>
                      </a:pathLst>
                    </a:custGeom>
                    <a:noFill/>
                    <a:ln w="6350" cap="flat">
                      <a:solidFill>
                        <a:schemeClr val="bg1">
                          <a:alpha val="80000"/>
                        </a:schemeClr>
                      </a:solidFill>
                      <a:prstDash val="solid"/>
                      <a:miter/>
                    </a:ln>
                  </p:spPr>
                  <p:txBody>
                    <a:bodyPr rtlCol="0" anchor="ctr"/>
                    <a:lstStyle/>
                    <a:p>
                      <a:endParaRPr lang="en-GB"/>
                    </a:p>
                  </p:txBody>
                </p:sp>
                <p:sp>
                  <p:nvSpPr>
                    <p:cNvPr id="7498" name="Vrije vorm: vorm 7497">
                      <a:extLst>
                        <a:ext uri="{FF2B5EF4-FFF2-40B4-BE49-F238E27FC236}">
                          <a16:creationId xmlns:a16="http://schemas.microsoft.com/office/drawing/2014/main" id="{75E03D83-8B98-44BA-9E1C-EAA70489CACD}"/>
                        </a:ext>
                      </a:extLst>
                    </p:cNvPr>
                    <p:cNvSpPr/>
                    <p:nvPr/>
                  </p:nvSpPr>
                  <p:spPr>
                    <a:xfrm>
                      <a:off x="5331235" y="5136224"/>
                      <a:ext cx="5487" cy="6279"/>
                    </a:xfrm>
                    <a:custGeom>
                      <a:avLst/>
                      <a:gdLst>
                        <a:gd name="connsiteX0" fmla="*/ 4187 w 5487"/>
                        <a:gd name="connsiteY0" fmla="*/ 1375 h 6279"/>
                        <a:gd name="connsiteX1" fmla="*/ 4486 w 5487"/>
                        <a:gd name="connsiteY1" fmla="*/ 1794 h 6279"/>
                        <a:gd name="connsiteX2" fmla="*/ 4665 w 5487"/>
                        <a:gd name="connsiteY2" fmla="*/ 2332 h 6279"/>
                        <a:gd name="connsiteX3" fmla="*/ 4665 w 5487"/>
                        <a:gd name="connsiteY3" fmla="*/ 2930 h 6279"/>
                        <a:gd name="connsiteX4" fmla="*/ 4486 w 5487"/>
                        <a:gd name="connsiteY4" fmla="*/ 3588 h 6279"/>
                        <a:gd name="connsiteX5" fmla="*/ 4007 w 5487"/>
                        <a:gd name="connsiteY5" fmla="*/ 4366 h 6279"/>
                        <a:gd name="connsiteX6" fmla="*/ 3409 w 5487"/>
                        <a:gd name="connsiteY6" fmla="*/ 4904 h 6279"/>
                        <a:gd name="connsiteX7" fmla="*/ 2691 w 5487"/>
                        <a:gd name="connsiteY7" fmla="*/ 5203 h 6279"/>
                        <a:gd name="connsiteX8" fmla="*/ 1974 w 5487"/>
                        <a:gd name="connsiteY8" fmla="*/ 5203 h 6279"/>
                        <a:gd name="connsiteX9" fmla="*/ 1375 w 5487"/>
                        <a:gd name="connsiteY9" fmla="*/ 4904 h 6279"/>
                        <a:gd name="connsiteX10" fmla="*/ 1076 w 5487"/>
                        <a:gd name="connsiteY10" fmla="*/ 4486 h 6279"/>
                        <a:gd name="connsiteX11" fmla="*/ 897 w 5487"/>
                        <a:gd name="connsiteY11" fmla="*/ 3947 h 6279"/>
                        <a:gd name="connsiteX12" fmla="*/ 897 w 5487"/>
                        <a:gd name="connsiteY12" fmla="*/ 3349 h 6279"/>
                        <a:gd name="connsiteX13" fmla="*/ 1076 w 5487"/>
                        <a:gd name="connsiteY13" fmla="*/ 2691 h 6279"/>
                        <a:gd name="connsiteX14" fmla="*/ 1256 w 5487"/>
                        <a:gd name="connsiteY14" fmla="*/ 2273 h 6279"/>
                        <a:gd name="connsiteX15" fmla="*/ 1495 w 5487"/>
                        <a:gd name="connsiteY15" fmla="*/ 1914 h 6279"/>
                        <a:gd name="connsiteX16" fmla="*/ 1794 w 5487"/>
                        <a:gd name="connsiteY16" fmla="*/ 1615 h 6279"/>
                        <a:gd name="connsiteX17" fmla="*/ 2153 w 5487"/>
                        <a:gd name="connsiteY17" fmla="*/ 1375 h 6279"/>
                        <a:gd name="connsiteX18" fmla="*/ 2512 w 5487"/>
                        <a:gd name="connsiteY18" fmla="*/ 1196 h 6279"/>
                        <a:gd name="connsiteX19" fmla="*/ 2871 w 5487"/>
                        <a:gd name="connsiteY19" fmla="*/ 1076 h 6279"/>
                        <a:gd name="connsiteX20" fmla="*/ 3229 w 5487"/>
                        <a:gd name="connsiteY20" fmla="*/ 1017 h 6279"/>
                        <a:gd name="connsiteX21" fmla="*/ 3588 w 5487"/>
                        <a:gd name="connsiteY21" fmla="*/ 1076 h 6279"/>
                        <a:gd name="connsiteX22" fmla="*/ 3768 w 5487"/>
                        <a:gd name="connsiteY22" fmla="*/ 1136 h 6279"/>
                        <a:gd name="connsiteX23" fmla="*/ 3947 w 5487"/>
                        <a:gd name="connsiteY23" fmla="*/ 1196 h 6279"/>
                        <a:gd name="connsiteX24" fmla="*/ 4067 w 5487"/>
                        <a:gd name="connsiteY24" fmla="*/ 1256 h 6279"/>
                        <a:gd name="connsiteX25" fmla="*/ 4187 w 5487"/>
                        <a:gd name="connsiteY25" fmla="*/ 1375 h 6279"/>
                        <a:gd name="connsiteX26" fmla="*/ 718 w 5487"/>
                        <a:gd name="connsiteY26" fmla="*/ 5741 h 6279"/>
                        <a:gd name="connsiteX27" fmla="*/ 897 w 5487"/>
                        <a:gd name="connsiteY27" fmla="*/ 5921 h 6279"/>
                        <a:gd name="connsiteX28" fmla="*/ 1076 w 5487"/>
                        <a:gd name="connsiteY28" fmla="*/ 6040 h 6279"/>
                        <a:gd name="connsiteX29" fmla="*/ 1316 w 5487"/>
                        <a:gd name="connsiteY29" fmla="*/ 6160 h 6279"/>
                        <a:gd name="connsiteX30" fmla="*/ 1555 w 5487"/>
                        <a:gd name="connsiteY30" fmla="*/ 6220 h 6279"/>
                        <a:gd name="connsiteX31" fmla="*/ 2033 w 5487"/>
                        <a:gd name="connsiteY31" fmla="*/ 6280 h 6279"/>
                        <a:gd name="connsiteX32" fmla="*/ 2572 w 5487"/>
                        <a:gd name="connsiteY32" fmla="*/ 6220 h 6279"/>
                        <a:gd name="connsiteX33" fmla="*/ 3110 w 5487"/>
                        <a:gd name="connsiteY33" fmla="*/ 6040 h 6279"/>
                        <a:gd name="connsiteX34" fmla="*/ 3648 w 5487"/>
                        <a:gd name="connsiteY34" fmla="*/ 5741 h 6279"/>
                        <a:gd name="connsiteX35" fmla="*/ 4127 w 5487"/>
                        <a:gd name="connsiteY35" fmla="*/ 5323 h 6279"/>
                        <a:gd name="connsiteX36" fmla="*/ 4545 w 5487"/>
                        <a:gd name="connsiteY36" fmla="*/ 4844 h 6279"/>
                        <a:gd name="connsiteX37" fmla="*/ 4904 w 5487"/>
                        <a:gd name="connsiteY37" fmla="*/ 4306 h 6279"/>
                        <a:gd name="connsiteX38" fmla="*/ 5203 w 5487"/>
                        <a:gd name="connsiteY38" fmla="*/ 3708 h 6279"/>
                        <a:gd name="connsiteX39" fmla="*/ 5442 w 5487"/>
                        <a:gd name="connsiteY39" fmla="*/ 2751 h 6279"/>
                        <a:gd name="connsiteX40" fmla="*/ 5442 w 5487"/>
                        <a:gd name="connsiteY40" fmla="*/ 1854 h 6279"/>
                        <a:gd name="connsiteX41" fmla="*/ 5203 w 5487"/>
                        <a:gd name="connsiteY41" fmla="*/ 1076 h 6279"/>
                        <a:gd name="connsiteX42" fmla="*/ 4725 w 5487"/>
                        <a:gd name="connsiteY42" fmla="*/ 478 h 6279"/>
                        <a:gd name="connsiteX43" fmla="*/ 4545 w 5487"/>
                        <a:gd name="connsiteY43" fmla="*/ 359 h 6279"/>
                        <a:gd name="connsiteX44" fmla="*/ 4366 w 5487"/>
                        <a:gd name="connsiteY44" fmla="*/ 239 h 6279"/>
                        <a:gd name="connsiteX45" fmla="*/ 4127 w 5487"/>
                        <a:gd name="connsiteY45" fmla="*/ 119 h 6279"/>
                        <a:gd name="connsiteX46" fmla="*/ 3887 w 5487"/>
                        <a:gd name="connsiteY46" fmla="*/ 60 h 6279"/>
                        <a:gd name="connsiteX47" fmla="*/ 3409 w 5487"/>
                        <a:gd name="connsiteY47" fmla="*/ 0 h 6279"/>
                        <a:gd name="connsiteX48" fmla="*/ 2871 w 5487"/>
                        <a:gd name="connsiteY48" fmla="*/ 60 h 6279"/>
                        <a:gd name="connsiteX49" fmla="*/ 2333 w 5487"/>
                        <a:gd name="connsiteY49" fmla="*/ 239 h 6279"/>
                        <a:gd name="connsiteX50" fmla="*/ 1794 w 5487"/>
                        <a:gd name="connsiteY50" fmla="*/ 538 h 6279"/>
                        <a:gd name="connsiteX51" fmla="*/ 1316 w 5487"/>
                        <a:gd name="connsiteY51" fmla="*/ 897 h 6279"/>
                        <a:gd name="connsiteX52" fmla="*/ 897 w 5487"/>
                        <a:gd name="connsiteY52" fmla="*/ 1375 h 6279"/>
                        <a:gd name="connsiteX53" fmla="*/ 538 w 5487"/>
                        <a:gd name="connsiteY53" fmla="*/ 1914 h 6279"/>
                        <a:gd name="connsiteX54" fmla="*/ 239 w 5487"/>
                        <a:gd name="connsiteY54" fmla="*/ 2512 h 6279"/>
                        <a:gd name="connsiteX55" fmla="*/ 60 w 5487"/>
                        <a:gd name="connsiteY55" fmla="*/ 3110 h 6279"/>
                        <a:gd name="connsiteX56" fmla="*/ 0 w 5487"/>
                        <a:gd name="connsiteY56" fmla="*/ 3708 h 6279"/>
                        <a:gd name="connsiteX57" fmla="*/ 0 w 5487"/>
                        <a:gd name="connsiteY57" fmla="*/ 4306 h 6279"/>
                        <a:gd name="connsiteX58" fmla="*/ 119 w 5487"/>
                        <a:gd name="connsiteY58" fmla="*/ 4844 h 6279"/>
                        <a:gd name="connsiteX59" fmla="*/ 239 w 5487"/>
                        <a:gd name="connsiteY59" fmla="*/ 5083 h 6279"/>
                        <a:gd name="connsiteX60" fmla="*/ 359 w 5487"/>
                        <a:gd name="connsiteY60" fmla="*/ 5323 h 6279"/>
                        <a:gd name="connsiteX61" fmla="*/ 538 w 5487"/>
                        <a:gd name="connsiteY61" fmla="*/ 5562 h 6279"/>
                        <a:gd name="connsiteX62" fmla="*/ 718 w 5487"/>
                        <a:gd name="connsiteY62" fmla="*/ 574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487" h="6279">
                          <a:moveTo>
                            <a:pt x="4187" y="1375"/>
                          </a:moveTo>
                          <a:cubicBezTo>
                            <a:pt x="4306" y="1495"/>
                            <a:pt x="4426" y="1615"/>
                            <a:pt x="4486" y="1794"/>
                          </a:cubicBezTo>
                          <a:cubicBezTo>
                            <a:pt x="4545" y="1973"/>
                            <a:pt x="4605" y="2153"/>
                            <a:pt x="4665" y="2332"/>
                          </a:cubicBezTo>
                          <a:cubicBezTo>
                            <a:pt x="4665" y="2512"/>
                            <a:pt x="4665" y="2751"/>
                            <a:pt x="4665" y="2930"/>
                          </a:cubicBezTo>
                          <a:cubicBezTo>
                            <a:pt x="4665" y="3110"/>
                            <a:pt x="4605" y="3349"/>
                            <a:pt x="4486" y="3588"/>
                          </a:cubicBezTo>
                          <a:cubicBezTo>
                            <a:pt x="4366" y="3887"/>
                            <a:pt x="4246" y="4127"/>
                            <a:pt x="4007" y="4366"/>
                          </a:cubicBezTo>
                          <a:cubicBezTo>
                            <a:pt x="3828" y="4605"/>
                            <a:pt x="3588" y="4785"/>
                            <a:pt x="3409" y="4904"/>
                          </a:cubicBezTo>
                          <a:cubicBezTo>
                            <a:pt x="3170" y="5024"/>
                            <a:pt x="2930" y="5143"/>
                            <a:pt x="2691" y="5203"/>
                          </a:cubicBezTo>
                          <a:cubicBezTo>
                            <a:pt x="2452" y="5263"/>
                            <a:pt x="2213" y="5263"/>
                            <a:pt x="1974" y="5203"/>
                          </a:cubicBezTo>
                          <a:lnTo>
                            <a:pt x="1375" y="4904"/>
                          </a:lnTo>
                          <a:cubicBezTo>
                            <a:pt x="1256" y="4785"/>
                            <a:pt x="1136" y="4665"/>
                            <a:pt x="1076" y="4486"/>
                          </a:cubicBezTo>
                          <a:cubicBezTo>
                            <a:pt x="1017" y="4306"/>
                            <a:pt x="957" y="4127"/>
                            <a:pt x="897" y="3947"/>
                          </a:cubicBezTo>
                          <a:cubicBezTo>
                            <a:pt x="897" y="3768"/>
                            <a:pt x="837" y="3528"/>
                            <a:pt x="897" y="3349"/>
                          </a:cubicBezTo>
                          <a:cubicBezTo>
                            <a:pt x="897" y="3110"/>
                            <a:pt x="957" y="2930"/>
                            <a:pt x="1076" y="2691"/>
                          </a:cubicBezTo>
                          <a:cubicBezTo>
                            <a:pt x="1136" y="2572"/>
                            <a:pt x="1196" y="2452"/>
                            <a:pt x="1256" y="2273"/>
                          </a:cubicBezTo>
                          <a:cubicBezTo>
                            <a:pt x="1316" y="2153"/>
                            <a:pt x="1435" y="2033"/>
                            <a:pt x="1495" y="1914"/>
                          </a:cubicBezTo>
                          <a:cubicBezTo>
                            <a:pt x="1615" y="1794"/>
                            <a:pt x="1674" y="1674"/>
                            <a:pt x="1794" y="1615"/>
                          </a:cubicBezTo>
                          <a:cubicBezTo>
                            <a:pt x="1914" y="1555"/>
                            <a:pt x="2033" y="1435"/>
                            <a:pt x="2153" y="1375"/>
                          </a:cubicBezTo>
                          <a:cubicBezTo>
                            <a:pt x="2273" y="1316"/>
                            <a:pt x="2392" y="1256"/>
                            <a:pt x="2512" y="1196"/>
                          </a:cubicBezTo>
                          <a:cubicBezTo>
                            <a:pt x="2632" y="1136"/>
                            <a:pt x="2751" y="1136"/>
                            <a:pt x="2871" y="1076"/>
                          </a:cubicBezTo>
                          <a:cubicBezTo>
                            <a:pt x="2990" y="1076"/>
                            <a:pt x="3110" y="1017"/>
                            <a:pt x="3229" y="1017"/>
                          </a:cubicBezTo>
                          <a:cubicBezTo>
                            <a:pt x="3349" y="1017"/>
                            <a:pt x="3469" y="1017"/>
                            <a:pt x="3588" y="1076"/>
                          </a:cubicBezTo>
                          <a:cubicBezTo>
                            <a:pt x="3648" y="1076"/>
                            <a:pt x="3708" y="1136"/>
                            <a:pt x="3768" y="1136"/>
                          </a:cubicBezTo>
                          <a:cubicBezTo>
                            <a:pt x="3828" y="1136"/>
                            <a:pt x="3887" y="1196"/>
                            <a:pt x="3947" y="1196"/>
                          </a:cubicBezTo>
                          <a:cubicBezTo>
                            <a:pt x="4007" y="1196"/>
                            <a:pt x="4067" y="1256"/>
                            <a:pt x="4067" y="1256"/>
                          </a:cubicBezTo>
                          <a:cubicBezTo>
                            <a:pt x="4127" y="1316"/>
                            <a:pt x="4127" y="1316"/>
                            <a:pt x="4187" y="1375"/>
                          </a:cubicBezTo>
                          <a:moveTo>
                            <a:pt x="718" y="5741"/>
                          </a:moveTo>
                          <a:cubicBezTo>
                            <a:pt x="778" y="5801"/>
                            <a:pt x="837" y="5861"/>
                            <a:pt x="897" y="5921"/>
                          </a:cubicBezTo>
                          <a:cubicBezTo>
                            <a:pt x="957" y="5981"/>
                            <a:pt x="1017" y="5981"/>
                            <a:pt x="1076" y="6040"/>
                          </a:cubicBezTo>
                          <a:cubicBezTo>
                            <a:pt x="1136" y="6100"/>
                            <a:pt x="1196" y="6100"/>
                            <a:pt x="1316" y="6160"/>
                          </a:cubicBezTo>
                          <a:cubicBezTo>
                            <a:pt x="1375" y="6220"/>
                            <a:pt x="1495" y="6220"/>
                            <a:pt x="1555" y="6220"/>
                          </a:cubicBezTo>
                          <a:cubicBezTo>
                            <a:pt x="1734" y="6280"/>
                            <a:pt x="1914" y="6280"/>
                            <a:pt x="2033" y="6280"/>
                          </a:cubicBezTo>
                          <a:cubicBezTo>
                            <a:pt x="2153" y="6280"/>
                            <a:pt x="2392" y="6280"/>
                            <a:pt x="2572" y="6220"/>
                          </a:cubicBezTo>
                          <a:cubicBezTo>
                            <a:pt x="2751" y="6160"/>
                            <a:pt x="2930" y="6100"/>
                            <a:pt x="3110" y="6040"/>
                          </a:cubicBezTo>
                          <a:cubicBezTo>
                            <a:pt x="3289" y="5981"/>
                            <a:pt x="3469" y="5861"/>
                            <a:pt x="3648" y="5741"/>
                          </a:cubicBezTo>
                          <a:cubicBezTo>
                            <a:pt x="3828" y="5622"/>
                            <a:pt x="4007" y="5502"/>
                            <a:pt x="4127" y="5323"/>
                          </a:cubicBezTo>
                          <a:cubicBezTo>
                            <a:pt x="4246" y="5143"/>
                            <a:pt x="4426" y="5024"/>
                            <a:pt x="4545" y="4844"/>
                          </a:cubicBezTo>
                          <a:cubicBezTo>
                            <a:pt x="4665" y="4665"/>
                            <a:pt x="4785" y="4486"/>
                            <a:pt x="4904" y="4306"/>
                          </a:cubicBezTo>
                          <a:cubicBezTo>
                            <a:pt x="5024" y="4127"/>
                            <a:pt x="5083" y="3947"/>
                            <a:pt x="5203" y="3708"/>
                          </a:cubicBezTo>
                          <a:cubicBezTo>
                            <a:pt x="5323" y="3409"/>
                            <a:pt x="5382" y="3050"/>
                            <a:pt x="5442" y="2751"/>
                          </a:cubicBezTo>
                          <a:cubicBezTo>
                            <a:pt x="5502" y="2452"/>
                            <a:pt x="5502" y="2153"/>
                            <a:pt x="5442" y="1854"/>
                          </a:cubicBezTo>
                          <a:cubicBezTo>
                            <a:pt x="5382" y="1555"/>
                            <a:pt x="5323" y="1316"/>
                            <a:pt x="5203" y="1076"/>
                          </a:cubicBezTo>
                          <a:cubicBezTo>
                            <a:pt x="5083" y="837"/>
                            <a:pt x="4964" y="658"/>
                            <a:pt x="4725" y="478"/>
                          </a:cubicBezTo>
                          <a:cubicBezTo>
                            <a:pt x="4665" y="418"/>
                            <a:pt x="4605" y="359"/>
                            <a:pt x="4545" y="359"/>
                          </a:cubicBezTo>
                          <a:cubicBezTo>
                            <a:pt x="4486" y="299"/>
                            <a:pt x="4426" y="299"/>
                            <a:pt x="4366" y="239"/>
                          </a:cubicBezTo>
                          <a:cubicBezTo>
                            <a:pt x="4306" y="179"/>
                            <a:pt x="4246" y="179"/>
                            <a:pt x="4127" y="119"/>
                          </a:cubicBezTo>
                          <a:cubicBezTo>
                            <a:pt x="4007" y="60"/>
                            <a:pt x="3947" y="60"/>
                            <a:pt x="3887" y="60"/>
                          </a:cubicBezTo>
                          <a:cubicBezTo>
                            <a:pt x="3708" y="0"/>
                            <a:pt x="3528" y="0"/>
                            <a:pt x="3409" y="0"/>
                          </a:cubicBezTo>
                          <a:cubicBezTo>
                            <a:pt x="3289" y="0"/>
                            <a:pt x="3050" y="0"/>
                            <a:pt x="2871" y="60"/>
                          </a:cubicBezTo>
                          <a:cubicBezTo>
                            <a:pt x="2691" y="119"/>
                            <a:pt x="2512" y="179"/>
                            <a:pt x="2333" y="239"/>
                          </a:cubicBezTo>
                          <a:cubicBezTo>
                            <a:pt x="2153" y="299"/>
                            <a:pt x="1974" y="418"/>
                            <a:pt x="1794" y="538"/>
                          </a:cubicBezTo>
                          <a:cubicBezTo>
                            <a:pt x="1615" y="658"/>
                            <a:pt x="1435" y="778"/>
                            <a:pt x="1316" y="897"/>
                          </a:cubicBezTo>
                          <a:cubicBezTo>
                            <a:pt x="1136" y="1017"/>
                            <a:pt x="1017" y="1196"/>
                            <a:pt x="897" y="1375"/>
                          </a:cubicBezTo>
                          <a:cubicBezTo>
                            <a:pt x="778" y="1555"/>
                            <a:pt x="658" y="1734"/>
                            <a:pt x="538" y="1914"/>
                          </a:cubicBezTo>
                          <a:cubicBezTo>
                            <a:pt x="419" y="2093"/>
                            <a:pt x="299" y="2273"/>
                            <a:pt x="239" y="2512"/>
                          </a:cubicBezTo>
                          <a:cubicBezTo>
                            <a:pt x="179" y="2691"/>
                            <a:pt x="119" y="2930"/>
                            <a:pt x="60" y="3110"/>
                          </a:cubicBezTo>
                          <a:cubicBezTo>
                            <a:pt x="0" y="3289"/>
                            <a:pt x="0" y="3528"/>
                            <a:pt x="0" y="3708"/>
                          </a:cubicBezTo>
                          <a:cubicBezTo>
                            <a:pt x="0" y="3887"/>
                            <a:pt x="0" y="4127"/>
                            <a:pt x="0" y="4306"/>
                          </a:cubicBezTo>
                          <a:cubicBezTo>
                            <a:pt x="0" y="4486"/>
                            <a:pt x="60" y="4665"/>
                            <a:pt x="119" y="4844"/>
                          </a:cubicBezTo>
                          <a:cubicBezTo>
                            <a:pt x="179" y="4964"/>
                            <a:pt x="179" y="5024"/>
                            <a:pt x="239" y="5083"/>
                          </a:cubicBezTo>
                          <a:cubicBezTo>
                            <a:pt x="299" y="5143"/>
                            <a:pt x="299" y="5263"/>
                            <a:pt x="359" y="5323"/>
                          </a:cubicBezTo>
                          <a:cubicBezTo>
                            <a:pt x="419" y="5382"/>
                            <a:pt x="479" y="5442"/>
                            <a:pt x="538" y="5562"/>
                          </a:cubicBezTo>
                          <a:cubicBezTo>
                            <a:pt x="598" y="5622"/>
                            <a:pt x="658" y="5681"/>
                            <a:pt x="718" y="5741"/>
                          </a:cubicBezTo>
                        </a:path>
                      </a:pathLst>
                    </a:custGeom>
                    <a:noFill/>
                    <a:ln w="6350" cap="flat">
                      <a:solidFill>
                        <a:schemeClr val="bg1">
                          <a:alpha val="80000"/>
                        </a:schemeClr>
                      </a:solidFill>
                      <a:prstDash val="solid"/>
                      <a:miter/>
                    </a:ln>
                  </p:spPr>
                  <p:txBody>
                    <a:bodyPr rtlCol="0" anchor="ctr"/>
                    <a:lstStyle/>
                    <a:p>
                      <a:endParaRPr lang="en-GB"/>
                    </a:p>
                  </p:txBody>
                </p:sp>
                <p:sp>
                  <p:nvSpPr>
                    <p:cNvPr id="7499" name="Vrije vorm: vorm 7498">
                      <a:extLst>
                        <a:ext uri="{FF2B5EF4-FFF2-40B4-BE49-F238E27FC236}">
                          <a16:creationId xmlns:a16="http://schemas.microsoft.com/office/drawing/2014/main" id="{079B9C5E-16DF-4DEE-A029-A66975AB2C89}"/>
                        </a:ext>
                      </a:extLst>
                    </p:cNvPr>
                    <p:cNvSpPr/>
                    <p:nvPr/>
                  </p:nvSpPr>
                  <p:spPr>
                    <a:xfrm>
                      <a:off x="5331953" y="5126535"/>
                      <a:ext cx="5442" cy="6159"/>
                    </a:xfrm>
                    <a:custGeom>
                      <a:avLst/>
                      <a:gdLst>
                        <a:gd name="connsiteX0" fmla="*/ 1615 w 5442"/>
                        <a:gd name="connsiteY0" fmla="*/ 5083 h 6159"/>
                        <a:gd name="connsiteX1" fmla="*/ 1495 w 5442"/>
                        <a:gd name="connsiteY1" fmla="*/ 5024 h 6159"/>
                        <a:gd name="connsiteX2" fmla="*/ 1375 w 5442"/>
                        <a:gd name="connsiteY2" fmla="*/ 4964 h 6159"/>
                        <a:gd name="connsiteX3" fmla="*/ 1256 w 5442"/>
                        <a:gd name="connsiteY3" fmla="*/ 4904 h 6159"/>
                        <a:gd name="connsiteX4" fmla="*/ 1196 w 5442"/>
                        <a:gd name="connsiteY4" fmla="*/ 4844 h 6159"/>
                        <a:gd name="connsiteX5" fmla="*/ 1076 w 5442"/>
                        <a:gd name="connsiteY5" fmla="*/ 4605 h 6159"/>
                        <a:gd name="connsiteX6" fmla="*/ 837 w 5442"/>
                        <a:gd name="connsiteY6" fmla="*/ 4246 h 6159"/>
                        <a:gd name="connsiteX7" fmla="*/ 718 w 5442"/>
                        <a:gd name="connsiteY7" fmla="*/ 3469 h 6159"/>
                        <a:gd name="connsiteX8" fmla="*/ 897 w 5442"/>
                        <a:gd name="connsiteY8" fmla="*/ 2631 h 6159"/>
                        <a:gd name="connsiteX9" fmla="*/ 1316 w 5442"/>
                        <a:gd name="connsiteY9" fmla="*/ 1914 h 6159"/>
                        <a:gd name="connsiteX10" fmla="*/ 1974 w 5442"/>
                        <a:gd name="connsiteY10" fmla="*/ 1316 h 6159"/>
                        <a:gd name="connsiteX11" fmla="*/ 2512 w 5442"/>
                        <a:gd name="connsiteY11" fmla="*/ 1076 h 6159"/>
                        <a:gd name="connsiteX12" fmla="*/ 3050 w 5442"/>
                        <a:gd name="connsiteY12" fmla="*/ 1017 h 6159"/>
                        <a:gd name="connsiteX13" fmla="*/ 3528 w 5442"/>
                        <a:gd name="connsiteY13" fmla="*/ 1136 h 6159"/>
                        <a:gd name="connsiteX14" fmla="*/ 3947 w 5442"/>
                        <a:gd name="connsiteY14" fmla="*/ 1375 h 6159"/>
                        <a:gd name="connsiteX15" fmla="*/ 4067 w 5442"/>
                        <a:gd name="connsiteY15" fmla="*/ 1495 h 6159"/>
                        <a:gd name="connsiteX16" fmla="*/ 4187 w 5442"/>
                        <a:gd name="connsiteY16" fmla="*/ 1615 h 6159"/>
                        <a:gd name="connsiteX17" fmla="*/ 4246 w 5442"/>
                        <a:gd name="connsiteY17" fmla="*/ 1794 h 6159"/>
                        <a:gd name="connsiteX18" fmla="*/ 4306 w 5442"/>
                        <a:gd name="connsiteY18" fmla="*/ 1973 h 6159"/>
                        <a:gd name="connsiteX19" fmla="*/ 4426 w 5442"/>
                        <a:gd name="connsiteY19" fmla="*/ 2751 h 6159"/>
                        <a:gd name="connsiteX20" fmla="*/ 4246 w 5442"/>
                        <a:gd name="connsiteY20" fmla="*/ 3528 h 6159"/>
                        <a:gd name="connsiteX21" fmla="*/ 3828 w 5442"/>
                        <a:gd name="connsiteY21" fmla="*/ 4246 h 6159"/>
                        <a:gd name="connsiteX22" fmla="*/ 3170 w 5442"/>
                        <a:gd name="connsiteY22" fmla="*/ 4844 h 6159"/>
                        <a:gd name="connsiteX23" fmla="*/ 2751 w 5442"/>
                        <a:gd name="connsiteY23" fmla="*/ 5083 h 6159"/>
                        <a:gd name="connsiteX24" fmla="*/ 2333 w 5442"/>
                        <a:gd name="connsiteY24" fmla="*/ 5203 h 6159"/>
                        <a:gd name="connsiteX25" fmla="*/ 1914 w 5442"/>
                        <a:gd name="connsiteY25" fmla="*/ 5203 h 6159"/>
                        <a:gd name="connsiteX26" fmla="*/ 1615 w 5442"/>
                        <a:gd name="connsiteY26" fmla="*/ 5083 h 6159"/>
                        <a:gd name="connsiteX27" fmla="*/ 538 w 5442"/>
                        <a:gd name="connsiteY27" fmla="*/ 5681 h 6159"/>
                        <a:gd name="connsiteX28" fmla="*/ 658 w 5442"/>
                        <a:gd name="connsiteY28" fmla="*/ 5741 h 6159"/>
                        <a:gd name="connsiteX29" fmla="*/ 778 w 5442"/>
                        <a:gd name="connsiteY29" fmla="*/ 5801 h 6159"/>
                        <a:gd name="connsiteX30" fmla="*/ 897 w 5442"/>
                        <a:gd name="connsiteY30" fmla="*/ 5861 h 6159"/>
                        <a:gd name="connsiteX31" fmla="*/ 1017 w 5442"/>
                        <a:gd name="connsiteY31" fmla="*/ 5921 h 6159"/>
                        <a:gd name="connsiteX32" fmla="*/ 1435 w 5442"/>
                        <a:gd name="connsiteY32" fmla="*/ 6100 h 6159"/>
                        <a:gd name="connsiteX33" fmla="*/ 1854 w 5442"/>
                        <a:gd name="connsiteY33" fmla="*/ 6160 h 6159"/>
                        <a:gd name="connsiteX34" fmla="*/ 2333 w 5442"/>
                        <a:gd name="connsiteY34" fmla="*/ 6160 h 6159"/>
                        <a:gd name="connsiteX35" fmla="*/ 2811 w 5442"/>
                        <a:gd name="connsiteY35" fmla="*/ 6040 h 6159"/>
                        <a:gd name="connsiteX36" fmla="*/ 2990 w 5442"/>
                        <a:gd name="connsiteY36" fmla="*/ 5981 h 6159"/>
                        <a:gd name="connsiteX37" fmla="*/ 3170 w 5442"/>
                        <a:gd name="connsiteY37" fmla="*/ 5921 h 6159"/>
                        <a:gd name="connsiteX38" fmla="*/ 3349 w 5442"/>
                        <a:gd name="connsiteY38" fmla="*/ 5801 h 6159"/>
                        <a:gd name="connsiteX39" fmla="*/ 3528 w 5442"/>
                        <a:gd name="connsiteY39" fmla="*/ 5681 h 6159"/>
                        <a:gd name="connsiteX40" fmla="*/ 4486 w 5442"/>
                        <a:gd name="connsiteY40" fmla="*/ 4785 h 6159"/>
                        <a:gd name="connsiteX41" fmla="*/ 5143 w 5442"/>
                        <a:gd name="connsiteY41" fmla="*/ 3648 h 6159"/>
                        <a:gd name="connsiteX42" fmla="*/ 5442 w 5442"/>
                        <a:gd name="connsiteY42" fmla="*/ 2452 h 6159"/>
                        <a:gd name="connsiteX43" fmla="*/ 5323 w 5442"/>
                        <a:gd name="connsiteY43" fmla="*/ 1316 h 6159"/>
                        <a:gd name="connsiteX44" fmla="*/ 5203 w 5442"/>
                        <a:gd name="connsiteY44" fmla="*/ 1076 h 6159"/>
                        <a:gd name="connsiteX45" fmla="*/ 5083 w 5442"/>
                        <a:gd name="connsiteY45" fmla="*/ 837 h 6159"/>
                        <a:gd name="connsiteX46" fmla="*/ 4904 w 5442"/>
                        <a:gd name="connsiteY46" fmla="*/ 658 h 6159"/>
                        <a:gd name="connsiteX47" fmla="*/ 4725 w 5442"/>
                        <a:gd name="connsiteY47" fmla="*/ 478 h 6159"/>
                        <a:gd name="connsiteX48" fmla="*/ 4127 w 5442"/>
                        <a:gd name="connsiteY48" fmla="*/ 119 h 6159"/>
                        <a:gd name="connsiteX49" fmla="*/ 3409 w 5442"/>
                        <a:gd name="connsiteY49" fmla="*/ 0 h 6159"/>
                        <a:gd name="connsiteX50" fmla="*/ 2632 w 5442"/>
                        <a:gd name="connsiteY50" fmla="*/ 119 h 6159"/>
                        <a:gd name="connsiteX51" fmla="*/ 1794 w 5442"/>
                        <a:gd name="connsiteY51" fmla="*/ 538 h 6159"/>
                        <a:gd name="connsiteX52" fmla="*/ 1076 w 5442"/>
                        <a:gd name="connsiteY52" fmla="*/ 1136 h 6159"/>
                        <a:gd name="connsiteX53" fmla="*/ 538 w 5442"/>
                        <a:gd name="connsiteY53" fmla="*/ 1854 h 6159"/>
                        <a:gd name="connsiteX54" fmla="*/ 179 w 5442"/>
                        <a:gd name="connsiteY54" fmla="*/ 2691 h 6159"/>
                        <a:gd name="connsiteX55" fmla="*/ 0 w 5442"/>
                        <a:gd name="connsiteY55" fmla="*/ 3528 h 6159"/>
                        <a:gd name="connsiteX56" fmla="*/ 0 w 5442"/>
                        <a:gd name="connsiteY56" fmla="*/ 3887 h 6159"/>
                        <a:gd name="connsiteX57" fmla="*/ 0 w 5442"/>
                        <a:gd name="connsiteY57" fmla="*/ 4246 h 6159"/>
                        <a:gd name="connsiteX58" fmla="*/ 60 w 5442"/>
                        <a:gd name="connsiteY58" fmla="*/ 4545 h 6159"/>
                        <a:gd name="connsiteX59" fmla="*/ 120 w 5442"/>
                        <a:gd name="connsiteY59" fmla="*/ 4844 h 6159"/>
                        <a:gd name="connsiteX60" fmla="*/ 179 w 5442"/>
                        <a:gd name="connsiteY60" fmla="*/ 4964 h 6159"/>
                        <a:gd name="connsiteX61" fmla="*/ 239 w 5442"/>
                        <a:gd name="connsiteY61" fmla="*/ 5083 h 6159"/>
                        <a:gd name="connsiteX62" fmla="*/ 299 w 5442"/>
                        <a:gd name="connsiteY62" fmla="*/ 5203 h 6159"/>
                        <a:gd name="connsiteX63" fmla="*/ 359 w 5442"/>
                        <a:gd name="connsiteY63" fmla="*/ 5323 h 6159"/>
                        <a:gd name="connsiteX64" fmla="*/ 419 w 5442"/>
                        <a:gd name="connsiteY64" fmla="*/ 5442 h 6159"/>
                        <a:gd name="connsiteX65" fmla="*/ 479 w 5442"/>
                        <a:gd name="connsiteY65" fmla="*/ 5562 h 6159"/>
                        <a:gd name="connsiteX66" fmla="*/ 538 w 5442"/>
                        <a:gd name="connsiteY66" fmla="*/ 5681 h 6159"/>
                        <a:gd name="connsiteX67" fmla="*/ 538 w 5442"/>
                        <a:gd name="connsiteY67" fmla="*/ 5681 h 6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442" h="6159">
                          <a:moveTo>
                            <a:pt x="1615" y="5083"/>
                          </a:moveTo>
                          <a:cubicBezTo>
                            <a:pt x="1555" y="5083"/>
                            <a:pt x="1555" y="5083"/>
                            <a:pt x="1495" y="5024"/>
                          </a:cubicBezTo>
                          <a:cubicBezTo>
                            <a:pt x="1435" y="4964"/>
                            <a:pt x="1435" y="4964"/>
                            <a:pt x="1375" y="4964"/>
                          </a:cubicBezTo>
                          <a:cubicBezTo>
                            <a:pt x="1316" y="4964"/>
                            <a:pt x="1316" y="4904"/>
                            <a:pt x="1256" y="4904"/>
                          </a:cubicBezTo>
                          <a:cubicBezTo>
                            <a:pt x="1256" y="4904"/>
                            <a:pt x="1196" y="4844"/>
                            <a:pt x="1196" y="4844"/>
                          </a:cubicBezTo>
                          <a:lnTo>
                            <a:pt x="1076" y="4605"/>
                          </a:lnTo>
                          <a:lnTo>
                            <a:pt x="837" y="4246"/>
                          </a:lnTo>
                          <a:cubicBezTo>
                            <a:pt x="778" y="4007"/>
                            <a:pt x="718" y="3768"/>
                            <a:pt x="718" y="3469"/>
                          </a:cubicBezTo>
                          <a:cubicBezTo>
                            <a:pt x="718" y="3229"/>
                            <a:pt x="778" y="2930"/>
                            <a:pt x="897" y="2631"/>
                          </a:cubicBezTo>
                          <a:cubicBezTo>
                            <a:pt x="1017" y="2392"/>
                            <a:pt x="1136" y="2093"/>
                            <a:pt x="1316" y="1914"/>
                          </a:cubicBezTo>
                          <a:cubicBezTo>
                            <a:pt x="1495" y="1674"/>
                            <a:pt x="1734" y="1495"/>
                            <a:pt x="1974" y="1316"/>
                          </a:cubicBezTo>
                          <a:cubicBezTo>
                            <a:pt x="2153" y="1196"/>
                            <a:pt x="2333" y="1136"/>
                            <a:pt x="2512" y="1076"/>
                          </a:cubicBezTo>
                          <a:cubicBezTo>
                            <a:pt x="2691" y="1017"/>
                            <a:pt x="2871" y="1017"/>
                            <a:pt x="3050" y="1017"/>
                          </a:cubicBezTo>
                          <a:cubicBezTo>
                            <a:pt x="3229" y="1017"/>
                            <a:pt x="3409" y="1076"/>
                            <a:pt x="3528" y="1136"/>
                          </a:cubicBezTo>
                          <a:cubicBezTo>
                            <a:pt x="3708" y="1196"/>
                            <a:pt x="3828" y="1256"/>
                            <a:pt x="3947" y="1375"/>
                          </a:cubicBezTo>
                          <a:cubicBezTo>
                            <a:pt x="4007" y="1435"/>
                            <a:pt x="4007" y="1435"/>
                            <a:pt x="4067" y="1495"/>
                          </a:cubicBezTo>
                          <a:cubicBezTo>
                            <a:pt x="4127" y="1555"/>
                            <a:pt x="4127" y="1615"/>
                            <a:pt x="4187" y="1615"/>
                          </a:cubicBezTo>
                          <a:cubicBezTo>
                            <a:pt x="4246" y="1674"/>
                            <a:pt x="4246" y="1734"/>
                            <a:pt x="4246" y="1794"/>
                          </a:cubicBezTo>
                          <a:cubicBezTo>
                            <a:pt x="4246" y="1854"/>
                            <a:pt x="4306" y="1914"/>
                            <a:pt x="4306" y="1973"/>
                          </a:cubicBezTo>
                          <a:cubicBezTo>
                            <a:pt x="4366" y="2213"/>
                            <a:pt x="4426" y="2452"/>
                            <a:pt x="4426" y="2751"/>
                          </a:cubicBezTo>
                          <a:cubicBezTo>
                            <a:pt x="4426" y="2990"/>
                            <a:pt x="4366" y="3289"/>
                            <a:pt x="4246" y="3528"/>
                          </a:cubicBezTo>
                          <a:cubicBezTo>
                            <a:pt x="4127" y="3768"/>
                            <a:pt x="4007" y="4067"/>
                            <a:pt x="3828" y="4246"/>
                          </a:cubicBezTo>
                          <a:cubicBezTo>
                            <a:pt x="3648" y="4486"/>
                            <a:pt x="3409" y="4665"/>
                            <a:pt x="3170" y="4844"/>
                          </a:cubicBezTo>
                          <a:cubicBezTo>
                            <a:pt x="3050" y="4964"/>
                            <a:pt x="2871" y="5024"/>
                            <a:pt x="2751" y="5083"/>
                          </a:cubicBezTo>
                          <a:cubicBezTo>
                            <a:pt x="2632" y="5143"/>
                            <a:pt x="2452" y="5203"/>
                            <a:pt x="2333" y="5203"/>
                          </a:cubicBezTo>
                          <a:cubicBezTo>
                            <a:pt x="2213" y="5203"/>
                            <a:pt x="2033" y="5203"/>
                            <a:pt x="1914" y="5203"/>
                          </a:cubicBezTo>
                          <a:cubicBezTo>
                            <a:pt x="1854" y="5143"/>
                            <a:pt x="1734" y="5083"/>
                            <a:pt x="1615" y="5083"/>
                          </a:cubicBezTo>
                          <a:moveTo>
                            <a:pt x="538" y="5681"/>
                          </a:moveTo>
                          <a:cubicBezTo>
                            <a:pt x="598" y="5681"/>
                            <a:pt x="598" y="5741"/>
                            <a:pt x="658" y="5741"/>
                          </a:cubicBezTo>
                          <a:cubicBezTo>
                            <a:pt x="718" y="5741"/>
                            <a:pt x="718" y="5801"/>
                            <a:pt x="778" y="5801"/>
                          </a:cubicBezTo>
                          <a:cubicBezTo>
                            <a:pt x="837" y="5801"/>
                            <a:pt x="837" y="5861"/>
                            <a:pt x="897" y="5861"/>
                          </a:cubicBezTo>
                          <a:cubicBezTo>
                            <a:pt x="957" y="5861"/>
                            <a:pt x="957" y="5921"/>
                            <a:pt x="1017" y="5921"/>
                          </a:cubicBezTo>
                          <a:cubicBezTo>
                            <a:pt x="1136" y="5981"/>
                            <a:pt x="1256" y="6040"/>
                            <a:pt x="1435" y="6100"/>
                          </a:cubicBezTo>
                          <a:cubicBezTo>
                            <a:pt x="1615" y="6160"/>
                            <a:pt x="1734" y="6160"/>
                            <a:pt x="1854" y="6160"/>
                          </a:cubicBezTo>
                          <a:cubicBezTo>
                            <a:pt x="1974" y="6160"/>
                            <a:pt x="2153" y="6160"/>
                            <a:pt x="2333" y="6160"/>
                          </a:cubicBezTo>
                          <a:cubicBezTo>
                            <a:pt x="2512" y="6160"/>
                            <a:pt x="2632" y="6100"/>
                            <a:pt x="2811" y="6040"/>
                          </a:cubicBezTo>
                          <a:cubicBezTo>
                            <a:pt x="2871" y="6040"/>
                            <a:pt x="2930" y="5981"/>
                            <a:pt x="2990" y="5981"/>
                          </a:cubicBezTo>
                          <a:cubicBezTo>
                            <a:pt x="3050" y="5981"/>
                            <a:pt x="3110" y="5921"/>
                            <a:pt x="3170" y="5921"/>
                          </a:cubicBezTo>
                          <a:cubicBezTo>
                            <a:pt x="3229" y="5921"/>
                            <a:pt x="3289" y="5861"/>
                            <a:pt x="3349" y="5801"/>
                          </a:cubicBezTo>
                          <a:cubicBezTo>
                            <a:pt x="3409" y="5741"/>
                            <a:pt x="3469" y="5741"/>
                            <a:pt x="3528" y="5681"/>
                          </a:cubicBezTo>
                          <a:cubicBezTo>
                            <a:pt x="3887" y="5442"/>
                            <a:pt x="4187" y="5143"/>
                            <a:pt x="4486" y="4785"/>
                          </a:cubicBezTo>
                          <a:cubicBezTo>
                            <a:pt x="4785" y="4426"/>
                            <a:pt x="4964" y="4067"/>
                            <a:pt x="5143" y="3648"/>
                          </a:cubicBezTo>
                          <a:cubicBezTo>
                            <a:pt x="5323" y="3229"/>
                            <a:pt x="5382" y="2871"/>
                            <a:pt x="5442" y="2452"/>
                          </a:cubicBezTo>
                          <a:cubicBezTo>
                            <a:pt x="5442" y="2033"/>
                            <a:pt x="5442" y="1674"/>
                            <a:pt x="5323" y="1316"/>
                          </a:cubicBezTo>
                          <a:cubicBezTo>
                            <a:pt x="5263" y="1256"/>
                            <a:pt x="5263" y="1136"/>
                            <a:pt x="5203" y="1076"/>
                          </a:cubicBezTo>
                          <a:cubicBezTo>
                            <a:pt x="5143" y="1017"/>
                            <a:pt x="5083" y="897"/>
                            <a:pt x="5083" y="837"/>
                          </a:cubicBezTo>
                          <a:cubicBezTo>
                            <a:pt x="5024" y="777"/>
                            <a:pt x="4964" y="718"/>
                            <a:pt x="4904" y="658"/>
                          </a:cubicBezTo>
                          <a:cubicBezTo>
                            <a:pt x="4844" y="598"/>
                            <a:pt x="4785" y="538"/>
                            <a:pt x="4725" y="478"/>
                          </a:cubicBezTo>
                          <a:cubicBezTo>
                            <a:pt x="4545" y="299"/>
                            <a:pt x="4366" y="179"/>
                            <a:pt x="4127" y="119"/>
                          </a:cubicBezTo>
                          <a:cubicBezTo>
                            <a:pt x="3887" y="60"/>
                            <a:pt x="3648" y="0"/>
                            <a:pt x="3409" y="0"/>
                          </a:cubicBezTo>
                          <a:cubicBezTo>
                            <a:pt x="3170" y="0"/>
                            <a:pt x="2871" y="60"/>
                            <a:pt x="2632" y="119"/>
                          </a:cubicBezTo>
                          <a:cubicBezTo>
                            <a:pt x="2333" y="179"/>
                            <a:pt x="2093" y="359"/>
                            <a:pt x="1794" y="538"/>
                          </a:cubicBezTo>
                          <a:cubicBezTo>
                            <a:pt x="1555" y="718"/>
                            <a:pt x="1316" y="897"/>
                            <a:pt x="1076" y="1136"/>
                          </a:cubicBezTo>
                          <a:cubicBezTo>
                            <a:pt x="837" y="1375"/>
                            <a:pt x="658" y="1615"/>
                            <a:pt x="538" y="1854"/>
                          </a:cubicBezTo>
                          <a:cubicBezTo>
                            <a:pt x="419" y="2093"/>
                            <a:pt x="239" y="2392"/>
                            <a:pt x="179" y="2691"/>
                          </a:cubicBezTo>
                          <a:cubicBezTo>
                            <a:pt x="120" y="2990"/>
                            <a:pt x="0" y="3289"/>
                            <a:pt x="0" y="3528"/>
                          </a:cubicBezTo>
                          <a:cubicBezTo>
                            <a:pt x="0" y="3648"/>
                            <a:pt x="0" y="3768"/>
                            <a:pt x="0" y="3887"/>
                          </a:cubicBezTo>
                          <a:cubicBezTo>
                            <a:pt x="0" y="4007"/>
                            <a:pt x="0" y="4126"/>
                            <a:pt x="0" y="4246"/>
                          </a:cubicBezTo>
                          <a:cubicBezTo>
                            <a:pt x="0" y="4366"/>
                            <a:pt x="0" y="4486"/>
                            <a:pt x="60" y="4545"/>
                          </a:cubicBezTo>
                          <a:cubicBezTo>
                            <a:pt x="60" y="4665"/>
                            <a:pt x="120" y="4785"/>
                            <a:pt x="120" y="4844"/>
                          </a:cubicBezTo>
                          <a:cubicBezTo>
                            <a:pt x="120" y="4904"/>
                            <a:pt x="179" y="4904"/>
                            <a:pt x="179" y="4964"/>
                          </a:cubicBezTo>
                          <a:cubicBezTo>
                            <a:pt x="179" y="5024"/>
                            <a:pt x="239" y="5024"/>
                            <a:pt x="239" y="5083"/>
                          </a:cubicBezTo>
                          <a:cubicBezTo>
                            <a:pt x="239" y="5143"/>
                            <a:pt x="299" y="5143"/>
                            <a:pt x="299" y="5203"/>
                          </a:cubicBezTo>
                          <a:cubicBezTo>
                            <a:pt x="299" y="5263"/>
                            <a:pt x="359" y="5263"/>
                            <a:pt x="359" y="5323"/>
                          </a:cubicBezTo>
                          <a:cubicBezTo>
                            <a:pt x="359" y="5382"/>
                            <a:pt x="419" y="5382"/>
                            <a:pt x="419" y="5442"/>
                          </a:cubicBezTo>
                          <a:cubicBezTo>
                            <a:pt x="419" y="5502"/>
                            <a:pt x="479" y="5502"/>
                            <a:pt x="479" y="5562"/>
                          </a:cubicBezTo>
                          <a:cubicBezTo>
                            <a:pt x="479" y="5622"/>
                            <a:pt x="538" y="5622"/>
                            <a:pt x="538" y="5681"/>
                          </a:cubicBezTo>
                          <a:cubicBezTo>
                            <a:pt x="479" y="5622"/>
                            <a:pt x="538" y="5622"/>
                            <a:pt x="538" y="5681"/>
                          </a:cubicBezTo>
                        </a:path>
                      </a:pathLst>
                    </a:custGeom>
                    <a:noFill/>
                    <a:ln w="6350" cap="flat">
                      <a:solidFill>
                        <a:schemeClr val="bg1">
                          <a:alpha val="80000"/>
                        </a:schemeClr>
                      </a:solidFill>
                      <a:prstDash val="solid"/>
                      <a:miter/>
                    </a:ln>
                  </p:spPr>
                  <p:txBody>
                    <a:bodyPr rtlCol="0" anchor="ctr"/>
                    <a:lstStyle/>
                    <a:p>
                      <a:endParaRPr lang="en-GB"/>
                    </a:p>
                  </p:txBody>
                </p:sp>
                <p:sp>
                  <p:nvSpPr>
                    <p:cNvPr id="7500" name="Vrije vorm: vorm 7499">
                      <a:extLst>
                        <a:ext uri="{FF2B5EF4-FFF2-40B4-BE49-F238E27FC236}">
                          <a16:creationId xmlns:a16="http://schemas.microsoft.com/office/drawing/2014/main" id="{F22324ED-D0EE-4707-B7F2-E6BF0B8E186B}"/>
                        </a:ext>
                      </a:extLst>
                    </p:cNvPr>
                    <p:cNvSpPr/>
                    <p:nvPr/>
                  </p:nvSpPr>
                  <p:spPr>
                    <a:xfrm>
                      <a:off x="5326032" y="5120674"/>
                      <a:ext cx="5502" cy="6399"/>
                    </a:xfrm>
                    <a:custGeom>
                      <a:avLst/>
                      <a:gdLst>
                        <a:gd name="connsiteX0" fmla="*/ 1734 w 5502"/>
                        <a:gd name="connsiteY0" fmla="*/ 5263 h 6399"/>
                        <a:gd name="connsiteX1" fmla="*/ 1316 w 5502"/>
                        <a:gd name="connsiteY1" fmla="*/ 5024 h 6399"/>
                        <a:gd name="connsiteX2" fmla="*/ 1256 w 5502"/>
                        <a:gd name="connsiteY2" fmla="*/ 4964 h 6399"/>
                        <a:gd name="connsiteX3" fmla="*/ 1196 w 5502"/>
                        <a:gd name="connsiteY3" fmla="*/ 4904 h 6399"/>
                        <a:gd name="connsiteX4" fmla="*/ 1136 w 5502"/>
                        <a:gd name="connsiteY4" fmla="*/ 4844 h 6399"/>
                        <a:gd name="connsiteX5" fmla="*/ 1076 w 5502"/>
                        <a:gd name="connsiteY5" fmla="*/ 4785 h 6399"/>
                        <a:gd name="connsiteX6" fmla="*/ 897 w 5502"/>
                        <a:gd name="connsiteY6" fmla="*/ 4366 h 6399"/>
                        <a:gd name="connsiteX7" fmla="*/ 837 w 5502"/>
                        <a:gd name="connsiteY7" fmla="*/ 3888 h 6399"/>
                        <a:gd name="connsiteX8" fmla="*/ 897 w 5502"/>
                        <a:gd name="connsiteY8" fmla="*/ 3349 h 6399"/>
                        <a:gd name="connsiteX9" fmla="*/ 1076 w 5502"/>
                        <a:gd name="connsiteY9" fmla="*/ 2811 h 6399"/>
                        <a:gd name="connsiteX10" fmla="*/ 1555 w 5502"/>
                        <a:gd name="connsiteY10" fmla="*/ 2034 h 6399"/>
                        <a:gd name="connsiteX11" fmla="*/ 2153 w 5502"/>
                        <a:gd name="connsiteY11" fmla="*/ 1495 h 6399"/>
                        <a:gd name="connsiteX12" fmla="*/ 2871 w 5502"/>
                        <a:gd name="connsiteY12" fmla="*/ 1196 h 6399"/>
                        <a:gd name="connsiteX13" fmla="*/ 3588 w 5502"/>
                        <a:gd name="connsiteY13" fmla="*/ 1196 h 6399"/>
                        <a:gd name="connsiteX14" fmla="*/ 3648 w 5502"/>
                        <a:gd name="connsiteY14" fmla="*/ 1196 h 6399"/>
                        <a:gd name="connsiteX15" fmla="*/ 3708 w 5502"/>
                        <a:gd name="connsiteY15" fmla="*/ 1196 h 6399"/>
                        <a:gd name="connsiteX16" fmla="*/ 3768 w 5502"/>
                        <a:gd name="connsiteY16" fmla="*/ 1256 h 6399"/>
                        <a:gd name="connsiteX17" fmla="*/ 3827 w 5502"/>
                        <a:gd name="connsiteY17" fmla="*/ 1316 h 6399"/>
                        <a:gd name="connsiteX18" fmla="*/ 3887 w 5502"/>
                        <a:gd name="connsiteY18" fmla="*/ 1376 h 6399"/>
                        <a:gd name="connsiteX19" fmla="*/ 3947 w 5502"/>
                        <a:gd name="connsiteY19" fmla="*/ 1435 h 6399"/>
                        <a:gd name="connsiteX20" fmla="*/ 4007 w 5502"/>
                        <a:gd name="connsiteY20" fmla="*/ 1495 h 6399"/>
                        <a:gd name="connsiteX21" fmla="*/ 4067 w 5502"/>
                        <a:gd name="connsiteY21" fmla="*/ 1555 h 6399"/>
                        <a:gd name="connsiteX22" fmla="*/ 4187 w 5502"/>
                        <a:gd name="connsiteY22" fmla="*/ 1675 h 6399"/>
                        <a:gd name="connsiteX23" fmla="*/ 4246 w 5502"/>
                        <a:gd name="connsiteY23" fmla="*/ 1794 h 6399"/>
                        <a:gd name="connsiteX24" fmla="*/ 4306 w 5502"/>
                        <a:gd name="connsiteY24" fmla="*/ 1914 h 6399"/>
                        <a:gd name="connsiteX25" fmla="*/ 4366 w 5502"/>
                        <a:gd name="connsiteY25" fmla="*/ 2034 h 6399"/>
                        <a:gd name="connsiteX26" fmla="*/ 4486 w 5502"/>
                        <a:gd name="connsiteY26" fmla="*/ 2452 h 6399"/>
                        <a:gd name="connsiteX27" fmla="*/ 4545 w 5502"/>
                        <a:gd name="connsiteY27" fmla="*/ 2871 h 6399"/>
                        <a:gd name="connsiteX28" fmla="*/ 4486 w 5502"/>
                        <a:gd name="connsiteY28" fmla="*/ 3349 h 6399"/>
                        <a:gd name="connsiteX29" fmla="*/ 4366 w 5502"/>
                        <a:gd name="connsiteY29" fmla="*/ 3828 h 6399"/>
                        <a:gd name="connsiteX30" fmla="*/ 4187 w 5502"/>
                        <a:gd name="connsiteY30" fmla="*/ 4246 h 6399"/>
                        <a:gd name="connsiteX31" fmla="*/ 3947 w 5502"/>
                        <a:gd name="connsiteY31" fmla="*/ 4605 h 6399"/>
                        <a:gd name="connsiteX32" fmla="*/ 3648 w 5502"/>
                        <a:gd name="connsiteY32" fmla="*/ 4904 h 6399"/>
                        <a:gd name="connsiteX33" fmla="*/ 3349 w 5502"/>
                        <a:gd name="connsiteY33" fmla="*/ 5143 h 6399"/>
                        <a:gd name="connsiteX34" fmla="*/ 2990 w 5502"/>
                        <a:gd name="connsiteY34" fmla="*/ 5323 h 6399"/>
                        <a:gd name="connsiteX35" fmla="*/ 2632 w 5502"/>
                        <a:gd name="connsiteY35" fmla="*/ 5443 h 6399"/>
                        <a:gd name="connsiteX36" fmla="*/ 2273 w 5502"/>
                        <a:gd name="connsiteY36" fmla="*/ 5502 h 6399"/>
                        <a:gd name="connsiteX37" fmla="*/ 1914 w 5502"/>
                        <a:gd name="connsiteY37" fmla="*/ 5443 h 6399"/>
                        <a:gd name="connsiteX38" fmla="*/ 1734 w 5502"/>
                        <a:gd name="connsiteY38" fmla="*/ 5263 h 6399"/>
                        <a:gd name="connsiteX39" fmla="*/ 658 w 5502"/>
                        <a:gd name="connsiteY39" fmla="*/ 5921 h 6399"/>
                        <a:gd name="connsiteX40" fmla="*/ 837 w 5502"/>
                        <a:gd name="connsiteY40" fmla="*/ 6041 h 6399"/>
                        <a:gd name="connsiteX41" fmla="*/ 1017 w 5502"/>
                        <a:gd name="connsiteY41" fmla="*/ 6160 h 6399"/>
                        <a:gd name="connsiteX42" fmla="*/ 1256 w 5502"/>
                        <a:gd name="connsiteY42" fmla="*/ 6280 h 6399"/>
                        <a:gd name="connsiteX43" fmla="*/ 1495 w 5502"/>
                        <a:gd name="connsiteY43" fmla="*/ 6340 h 6399"/>
                        <a:gd name="connsiteX44" fmla="*/ 1794 w 5502"/>
                        <a:gd name="connsiteY44" fmla="*/ 6399 h 6399"/>
                        <a:gd name="connsiteX45" fmla="*/ 2093 w 5502"/>
                        <a:gd name="connsiteY45" fmla="*/ 6399 h 6399"/>
                        <a:gd name="connsiteX46" fmla="*/ 2392 w 5502"/>
                        <a:gd name="connsiteY46" fmla="*/ 6399 h 6399"/>
                        <a:gd name="connsiteX47" fmla="*/ 2691 w 5502"/>
                        <a:gd name="connsiteY47" fmla="*/ 6340 h 6399"/>
                        <a:gd name="connsiteX48" fmla="*/ 2930 w 5502"/>
                        <a:gd name="connsiteY48" fmla="*/ 6280 h 6399"/>
                        <a:gd name="connsiteX49" fmla="*/ 3170 w 5502"/>
                        <a:gd name="connsiteY49" fmla="*/ 6160 h 6399"/>
                        <a:gd name="connsiteX50" fmla="*/ 3409 w 5502"/>
                        <a:gd name="connsiteY50" fmla="*/ 6041 h 6399"/>
                        <a:gd name="connsiteX51" fmla="*/ 3648 w 5502"/>
                        <a:gd name="connsiteY51" fmla="*/ 5861 h 6399"/>
                        <a:gd name="connsiteX52" fmla="*/ 4127 w 5502"/>
                        <a:gd name="connsiteY52" fmla="*/ 5502 h 6399"/>
                        <a:gd name="connsiteX53" fmla="*/ 4545 w 5502"/>
                        <a:gd name="connsiteY53" fmla="*/ 5024 h 6399"/>
                        <a:gd name="connsiteX54" fmla="*/ 4904 w 5502"/>
                        <a:gd name="connsiteY54" fmla="*/ 4486 h 6399"/>
                        <a:gd name="connsiteX55" fmla="*/ 5203 w 5502"/>
                        <a:gd name="connsiteY55" fmla="*/ 3888 h 6399"/>
                        <a:gd name="connsiteX56" fmla="*/ 5442 w 5502"/>
                        <a:gd name="connsiteY56" fmla="*/ 3110 h 6399"/>
                        <a:gd name="connsiteX57" fmla="*/ 5502 w 5502"/>
                        <a:gd name="connsiteY57" fmla="*/ 2333 h 6399"/>
                        <a:gd name="connsiteX58" fmla="*/ 5382 w 5502"/>
                        <a:gd name="connsiteY58" fmla="*/ 1615 h 6399"/>
                        <a:gd name="connsiteX59" fmla="*/ 5083 w 5502"/>
                        <a:gd name="connsiteY59" fmla="*/ 1017 h 6399"/>
                        <a:gd name="connsiteX60" fmla="*/ 5024 w 5502"/>
                        <a:gd name="connsiteY60" fmla="*/ 897 h 6399"/>
                        <a:gd name="connsiteX61" fmla="*/ 4964 w 5502"/>
                        <a:gd name="connsiteY61" fmla="*/ 778 h 6399"/>
                        <a:gd name="connsiteX62" fmla="*/ 4904 w 5502"/>
                        <a:gd name="connsiteY62" fmla="*/ 658 h 6399"/>
                        <a:gd name="connsiteX63" fmla="*/ 4785 w 5502"/>
                        <a:gd name="connsiteY63" fmla="*/ 538 h 6399"/>
                        <a:gd name="connsiteX64" fmla="*/ 4725 w 5502"/>
                        <a:gd name="connsiteY64" fmla="*/ 479 h 6399"/>
                        <a:gd name="connsiteX65" fmla="*/ 4665 w 5502"/>
                        <a:gd name="connsiteY65" fmla="*/ 419 h 6399"/>
                        <a:gd name="connsiteX66" fmla="*/ 4605 w 5502"/>
                        <a:gd name="connsiteY66" fmla="*/ 359 h 6399"/>
                        <a:gd name="connsiteX67" fmla="*/ 4545 w 5502"/>
                        <a:gd name="connsiteY67" fmla="*/ 299 h 6399"/>
                        <a:gd name="connsiteX68" fmla="*/ 4426 w 5502"/>
                        <a:gd name="connsiteY68" fmla="*/ 239 h 6399"/>
                        <a:gd name="connsiteX69" fmla="*/ 4306 w 5502"/>
                        <a:gd name="connsiteY69" fmla="*/ 180 h 6399"/>
                        <a:gd name="connsiteX70" fmla="*/ 4127 w 5502"/>
                        <a:gd name="connsiteY70" fmla="*/ 120 h 6399"/>
                        <a:gd name="connsiteX71" fmla="*/ 3947 w 5502"/>
                        <a:gd name="connsiteY71" fmla="*/ 60 h 6399"/>
                        <a:gd name="connsiteX72" fmla="*/ 3409 w 5502"/>
                        <a:gd name="connsiteY72" fmla="*/ 0 h 6399"/>
                        <a:gd name="connsiteX73" fmla="*/ 2871 w 5502"/>
                        <a:gd name="connsiteY73" fmla="*/ 60 h 6399"/>
                        <a:gd name="connsiteX74" fmla="*/ 2332 w 5502"/>
                        <a:gd name="connsiteY74" fmla="*/ 239 h 6399"/>
                        <a:gd name="connsiteX75" fmla="*/ 1794 w 5502"/>
                        <a:gd name="connsiteY75" fmla="*/ 538 h 6399"/>
                        <a:gd name="connsiteX76" fmla="*/ 1316 w 5502"/>
                        <a:gd name="connsiteY76" fmla="*/ 897 h 6399"/>
                        <a:gd name="connsiteX77" fmla="*/ 897 w 5502"/>
                        <a:gd name="connsiteY77" fmla="*/ 1376 h 6399"/>
                        <a:gd name="connsiteX78" fmla="*/ 538 w 5502"/>
                        <a:gd name="connsiteY78" fmla="*/ 1914 h 6399"/>
                        <a:gd name="connsiteX79" fmla="*/ 239 w 5502"/>
                        <a:gd name="connsiteY79" fmla="*/ 2512 h 6399"/>
                        <a:gd name="connsiteX80" fmla="*/ 119 w 5502"/>
                        <a:gd name="connsiteY80" fmla="*/ 2811 h 6399"/>
                        <a:gd name="connsiteX81" fmla="*/ 60 w 5502"/>
                        <a:gd name="connsiteY81" fmla="*/ 3110 h 6399"/>
                        <a:gd name="connsiteX82" fmla="*/ 0 w 5502"/>
                        <a:gd name="connsiteY82" fmla="*/ 3409 h 6399"/>
                        <a:gd name="connsiteX83" fmla="*/ 0 w 5502"/>
                        <a:gd name="connsiteY83" fmla="*/ 3708 h 6399"/>
                        <a:gd name="connsiteX84" fmla="*/ 0 w 5502"/>
                        <a:gd name="connsiteY84" fmla="*/ 4187 h 6399"/>
                        <a:gd name="connsiteX85" fmla="*/ 119 w 5502"/>
                        <a:gd name="connsiteY85" fmla="*/ 4665 h 6399"/>
                        <a:gd name="connsiteX86" fmla="*/ 299 w 5502"/>
                        <a:gd name="connsiteY86" fmla="*/ 5084 h 6399"/>
                        <a:gd name="connsiteX87" fmla="*/ 538 w 5502"/>
                        <a:gd name="connsiteY87" fmla="*/ 5443 h 6399"/>
                        <a:gd name="connsiteX88" fmla="*/ 598 w 5502"/>
                        <a:gd name="connsiteY88" fmla="*/ 5502 h 6399"/>
                        <a:gd name="connsiteX89" fmla="*/ 658 w 5502"/>
                        <a:gd name="connsiteY89" fmla="*/ 5562 h 6399"/>
                        <a:gd name="connsiteX90" fmla="*/ 718 w 5502"/>
                        <a:gd name="connsiteY90" fmla="*/ 5622 h 6399"/>
                        <a:gd name="connsiteX91" fmla="*/ 658 w 5502"/>
                        <a:gd name="connsiteY91" fmla="*/ 5921 h 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502" h="6399">
                          <a:moveTo>
                            <a:pt x="1734" y="5263"/>
                          </a:moveTo>
                          <a:lnTo>
                            <a:pt x="1316" y="5024"/>
                          </a:lnTo>
                          <a:cubicBezTo>
                            <a:pt x="1316" y="5024"/>
                            <a:pt x="1256" y="4964"/>
                            <a:pt x="1256" y="4964"/>
                          </a:cubicBezTo>
                          <a:cubicBezTo>
                            <a:pt x="1256" y="4964"/>
                            <a:pt x="1196" y="4904"/>
                            <a:pt x="1196" y="4904"/>
                          </a:cubicBezTo>
                          <a:cubicBezTo>
                            <a:pt x="1196" y="4904"/>
                            <a:pt x="1136" y="4844"/>
                            <a:pt x="1136" y="4844"/>
                          </a:cubicBezTo>
                          <a:cubicBezTo>
                            <a:pt x="1136" y="4844"/>
                            <a:pt x="1076" y="4785"/>
                            <a:pt x="1076" y="4785"/>
                          </a:cubicBezTo>
                          <a:cubicBezTo>
                            <a:pt x="1017" y="4665"/>
                            <a:pt x="957" y="4545"/>
                            <a:pt x="897" y="4366"/>
                          </a:cubicBezTo>
                          <a:cubicBezTo>
                            <a:pt x="837" y="4246"/>
                            <a:pt x="837" y="4067"/>
                            <a:pt x="837" y="3888"/>
                          </a:cubicBezTo>
                          <a:cubicBezTo>
                            <a:pt x="837" y="3708"/>
                            <a:pt x="837" y="3529"/>
                            <a:pt x="897" y="3349"/>
                          </a:cubicBezTo>
                          <a:cubicBezTo>
                            <a:pt x="957" y="3170"/>
                            <a:pt x="957" y="2990"/>
                            <a:pt x="1076" y="2811"/>
                          </a:cubicBezTo>
                          <a:cubicBezTo>
                            <a:pt x="1196" y="2512"/>
                            <a:pt x="1316" y="2273"/>
                            <a:pt x="1555" y="2034"/>
                          </a:cubicBezTo>
                          <a:cubicBezTo>
                            <a:pt x="1734" y="1794"/>
                            <a:pt x="1973" y="1615"/>
                            <a:pt x="2153" y="1495"/>
                          </a:cubicBezTo>
                          <a:cubicBezTo>
                            <a:pt x="2392" y="1376"/>
                            <a:pt x="2632" y="1256"/>
                            <a:pt x="2871" y="1196"/>
                          </a:cubicBezTo>
                          <a:cubicBezTo>
                            <a:pt x="3110" y="1136"/>
                            <a:pt x="3349" y="1136"/>
                            <a:pt x="3588" y="1196"/>
                          </a:cubicBezTo>
                          <a:cubicBezTo>
                            <a:pt x="3588" y="1196"/>
                            <a:pt x="3648" y="1196"/>
                            <a:pt x="3648" y="1196"/>
                          </a:cubicBezTo>
                          <a:cubicBezTo>
                            <a:pt x="3648" y="1196"/>
                            <a:pt x="3708" y="1196"/>
                            <a:pt x="3708" y="1196"/>
                          </a:cubicBezTo>
                          <a:cubicBezTo>
                            <a:pt x="3708" y="1196"/>
                            <a:pt x="3768" y="1196"/>
                            <a:pt x="3768" y="1256"/>
                          </a:cubicBezTo>
                          <a:cubicBezTo>
                            <a:pt x="3768" y="1316"/>
                            <a:pt x="3827" y="1256"/>
                            <a:pt x="3827" y="1316"/>
                          </a:cubicBezTo>
                          <a:cubicBezTo>
                            <a:pt x="3827" y="1316"/>
                            <a:pt x="3887" y="1316"/>
                            <a:pt x="3887" y="1376"/>
                          </a:cubicBezTo>
                          <a:cubicBezTo>
                            <a:pt x="3887" y="1376"/>
                            <a:pt x="3947" y="1376"/>
                            <a:pt x="3947" y="1435"/>
                          </a:cubicBezTo>
                          <a:cubicBezTo>
                            <a:pt x="3947" y="1435"/>
                            <a:pt x="4007" y="1495"/>
                            <a:pt x="4007" y="1495"/>
                          </a:cubicBezTo>
                          <a:cubicBezTo>
                            <a:pt x="4007" y="1495"/>
                            <a:pt x="4067" y="1555"/>
                            <a:pt x="4067" y="1555"/>
                          </a:cubicBezTo>
                          <a:cubicBezTo>
                            <a:pt x="4127" y="1615"/>
                            <a:pt x="4127" y="1615"/>
                            <a:pt x="4187" y="1675"/>
                          </a:cubicBezTo>
                          <a:cubicBezTo>
                            <a:pt x="4187" y="1735"/>
                            <a:pt x="4246" y="1735"/>
                            <a:pt x="4246" y="1794"/>
                          </a:cubicBezTo>
                          <a:cubicBezTo>
                            <a:pt x="4246" y="1854"/>
                            <a:pt x="4306" y="1854"/>
                            <a:pt x="4306" y="1914"/>
                          </a:cubicBezTo>
                          <a:cubicBezTo>
                            <a:pt x="4306" y="1974"/>
                            <a:pt x="4366" y="1974"/>
                            <a:pt x="4366" y="2034"/>
                          </a:cubicBezTo>
                          <a:cubicBezTo>
                            <a:pt x="4426" y="2153"/>
                            <a:pt x="4486" y="2273"/>
                            <a:pt x="4486" y="2452"/>
                          </a:cubicBezTo>
                          <a:cubicBezTo>
                            <a:pt x="4486" y="2572"/>
                            <a:pt x="4545" y="2751"/>
                            <a:pt x="4545" y="2871"/>
                          </a:cubicBezTo>
                          <a:cubicBezTo>
                            <a:pt x="4545" y="3050"/>
                            <a:pt x="4545" y="3170"/>
                            <a:pt x="4486" y="3349"/>
                          </a:cubicBezTo>
                          <a:cubicBezTo>
                            <a:pt x="4426" y="3529"/>
                            <a:pt x="4426" y="3648"/>
                            <a:pt x="4366" y="3828"/>
                          </a:cubicBezTo>
                          <a:cubicBezTo>
                            <a:pt x="4306" y="3947"/>
                            <a:pt x="4246" y="4127"/>
                            <a:pt x="4187" y="4246"/>
                          </a:cubicBezTo>
                          <a:cubicBezTo>
                            <a:pt x="4127" y="4366"/>
                            <a:pt x="4007" y="4486"/>
                            <a:pt x="3947" y="4605"/>
                          </a:cubicBezTo>
                          <a:cubicBezTo>
                            <a:pt x="3887" y="4725"/>
                            <a:pt x="3768" y="4844"/>
                            <a:pt x="3648" y="4904"/>
                          </a:cubicBezTo>
                          <a:cubicBezTo>
                            <a:pt x="3528" y="5024"/>
                            <a:pt x="3409" y="5084"/>
                            <a:pt x="3349" y="5143"/>
                          </a:cubicBezTo>
                          <a:cubicBezTo>
                            <a:pt x="3229" y="5203"/>
                            <a:pt x="3110" y="5263"/>
                            <a:pt x="2990" y="5323"/>
                          </a:cubicBezTo>
                          <a:cubicBezTo>
                            <a:pt x="2871" y="5383"/>
                            <a:pt x="2751" y="5383"/>
                            <a:pt x="2632" y="5443"/>
                          </a:cubicBezTo>
                          <a:cubicBezTo>
                            <a:pt x="2512" y="5502"/>
                            <a:pt x="2392" y="5502"/>
                            <a:pt x="2273" y="5502"/>
                          </a:cubicBezTo>
                          <a:cubicBezTo>
                            <a:pt x="2153" y="5502"/>
                            <a:pt x="2033" y="5502"/>
                            <a:pt x="1914" y="5443"/>
                          </a:cubicBezTo>
                          <a:lnTo>
                            <a:pt x="1734" y="5263"/>
                          </a:lnTo>
                          <a:moveTo>
                            <a:pt x="658" y="5921"/>
                          </a:moveTo>
                          <a:cubicBezTo>
                            <a:pt x="718" y="5981"/>
                            <a:pt x="778" y="6041"/>
                            <a:pt x="837" y="6041"/>
                          </a:cubicBezTo>
                          <a:cubicBezTo>
                            <a:pt x="897" y="6100"/>
                            <a:pt x="957" y="6100"/>
                            <a:pt x="1017" y="6160"/>
                          </a:cubicBezTo>
                          <a:cubicBezTo>
                            <a:pt x="1076" y="6220"/>
                            <a:pt x="1136" y="6220"/>
                            <a:pt x="1256" y="6280"/>
                          </a:cubicBezTo>
                          <a:cubicBezTo>
                            <a:pt x="1375" y="6340"/>
                            <a:pt x="1435" y="6340"/>
                            <a:pt x="1495" y="6340"/>
                          </a:cubicBezTo>
                          <a:cubicBezTo>
                            <a:pt x="1615" y="6340"/>
                            <a:pt x="1674" y="6399"/>
                            <a:pt x="1794" y="6399"/>
                          </a:cubicBezTo>
                          <a:cubicBezTo>
                            <a:pt x="1914" y="6399"/>
                            <a:pt x="1973" y="6399"/>
                            <a:pt x="2093" y="6399"/>
                          </a:cubicBezTo>
                          <a:cubicBezTo>
                            <a:pt x="2213" y="6399"/>
                            <a:pt x="2273" y="6399"/>
                            <a:pt x="2392" y="6399"/>
                          </a:cubicBezTo>
                          <a:cubicBezTo>
                            <a:pt x="2512" y="6399"/>
                            <a:pt x="2572" y="6399"/>
                            <a:pt x="2691" y="6340"/>
                          </a:cubicBezTo>
                          <a:cubicBezTo>
                            <a:pt x="2751" y="6340"/>
                            <a:pt x="2871" y="6280"/>
                            <a:pt x="2930" y="6280"/>
                          </a:cubicBezTo>
                          <a:cubicBezTo>
                            <a:pt x="2990" y="6280"/>
                            <a:pt x="3110" y="6220"/>
                            <a:pt x="3170" y="6160"/>
                          </a:cubicBezTo>
                          <a:cubicBezTo>
                            <a:pt x="3229" y="6100"/>
                            <a:pt x="3349" y="6100"/>
                            <a:pt x="3409" y="6041"/>
                          </a:cubicBezTo>
                          <a:cubicBezTo>
                            <a:pt x="3469" y="5981"/>
                            <a:pt x="3588" y="5921"/>
                            <a:pt x="3648" y="5861"/>
                          </a:cubicBezTo>
                          <a:cubicBezTo>
                            <a:pt x="3827" y="5742"/>
                            <a:pt x="4007" y="5622"/>
                            <a:pt x="4127" y="5502"/>
                          </a:cubicBezTo>
                          <a:cubicBezTo>
                            <a:pt x="4306" y="5383"/>
                            <a:pt x="4426" y="5203"/>
                            <a:pt x="4545" y="5024"/>
                          </a:cubicBezTo>
                          <a:cubicBezTo>
                            <a:pt x="4665" y="4844"/>
                            <a:pt x="4785" y="4665"/>
                            <a:pt x="4904" y="4486"/>
                          </a:cubicBezTo>
                          <a:cubicBezTo>
                            <a:pt x="5024" y="4306"/>
                            <a:pt x="5083" y="4127"/>
                            <a:pt x="5203" y="3888"/>
                          </a:cubicBezTo>
                          <a:cubicBezTo>
                            <a:pt x="5323" y="3648"/>
                            <a:pt x="5382" y="3349"/>
                            <a:pt x="5442" y="3110"/>
                          </a:cubicBezTo>
                          <a:cubicBezTo>
                            <a:pt x="5502" y="2871"/>
                            <a:pt x="5502" y="2572"/>
                            <a:pt x="5502" y="2333"/>
                          </a:cubicBezTo>
                          <a:cubicBezTo>
                            <a:pt x="5502" y="2093"/>
                            <a:pt x="5442" y="1854"/>
                            <a:pt x="5382" y="1615"/>
                          </a:cubicBezTo>
                          <a:cubicBezTo>
                            <a:pt x="5323" y="1376"/>
                            <a:pt x="5203" y="1196"/>
                            <a:pt x="5083" y="1017"/>
                          </a:cubicBezTo>
                          <a:cubicBezTo>
                            <a:pt x="5083" y="957"/>
                            <a:pt x="5024" y="957"/>
                            <a:pt x="5024" y="897"/>
                          </a:cubicBezTo>
                          <a:cubicBezTo>
                            <a:pt x="5024" y="837"/>
                            <a:pt x="4964" y="837"/>
                            <a:pt x="4964" y="778"/>
                          </a:cubicBezTo>
                          <a:cubicBezTo>
                            <a:pt x="4964" y="718"/>
                            <a:pt x="4904" y="718"/>
                            <a:pt x="4904" y="658"/>
                          </a:cubicBezTo>
                          <a:cubicBezTo>
                            <a:pt x="4844" y="598"/>
                            <a:pt x="4844" y="598"/>
                            <a:pt x="4785" y="538"/>
                          </a:cubicBezTo>
                          <a:cubicBezTo>
                            <a:pt x="4785" y="538"/>
                            <a:pt x="4725" y="479"/>
                            <a:pt x="4725" y="479"/>
                          </a:cubicBezTo>
                          <a:cubicBezTo>
                            <a:pt x="4725" y="479"/>
                            <a:pt x="4665" y="419"/>
                            <a:pt x="4665" y="419"/>
                          </a:cubicBezTo>
                          <a:cubicBezTo>
                            <a:pt x="4665" y="419"/>
                            <a:pt x="4605" y="359"/>
                            <a:pt x="4605" y="359"/>
                          </a:cubicBezTo>
                          <a:cubicBezTo>
                            <a:pt x="4605" y="359"/>
                            <a:pt x="4545" y="359"/>
                            <a:pt x="4545" y="299"/>
                          </a:cubicBezTo>
                          <a:cubicBezTo>
                            <a:pt x="4486" y="299"/>
                            <a:pt x="4486" y="239"/>
                            <a:pt x="4426" y="239"/>
                          </a:cubicBezTo>
                          <a:cubicBezTo>
                            <a:pt x="4366" y="239"/>
                            <a:pt x="4306" y="180"/>
                            <a:pt x="4306" y="180"/>
                          </a:cubicBezTo>
                          <a:cubicBezTo>
                            <a:pt x="4246" y="180"/>
                            <a:pt x="4187" y="120"/>
                            <a:pt x="4127" y="120"/>
                          </a:cubicBezTo>
                          <a:cubicBezTo>
                            <a:pt x="4067" y="120"/>
                            <a:pt x="4007" y="60"/>
                            <a:pt x="3947" y="60"/>
                          </a:cubicBezTo>
                          <a:cubicBezTo>
                            <a:pt x="3768" y="0"/>
                            <a:pt x="3588" y="0"/>
                            <a:pt x="3409" y="0"/>
                          </a:cubicBezTo>
                          <a:cubicBezTo>
                            <a:pt x="3229" y="0"/>
                            <a:pt x="3050" y="0"/>
                            <a:pt x="2871" y="60"/>
                          </a:cubicBezTo>
                          <a:cubicBezTo>
                            <a:pt x="2691" y="120"/>
                            <a:pt x="2512" y="180"/>
                            <a:pt x="2332" y="239"/>
                          </a:cubicBezTo>
                          <a:cubicBezTo>
                            <a:pt x="2153" y="299"/>
                            <a:pt x="1973" y="419"/>
                            <a:pt x="1794" y="538"/>
                          </a:cubicBezTo>
                          <a:cubicBezTo>
                            <a:pt x="1615" y="658"/>
                            <a:pt x="1435" y="778"/>
                            <a:pt x="1316" y="897"/>
                          </a:cubicBezTo>
                          <a:cubicBezTo>
                            <a:pt x="1136" y="1017"/>
                            <a:pt x="1017" y="1196"/>
                            <a:pt x="897" y="1376"/>
                          </a:cubicBezTo>
                          <a:cubicBezTo>
                            <a:pt x="778" y="1555"/>
                            <a:pt x="658" y="1735"/>
                            <a:pt x="538" y="1914"/>
                          </a:cubicBezTo>
                          <a:cubicBezTo>
                            <a:pt x="419" y="2093"/>
                            <a:pt x="359" y="2273"/>
                            <a:pt x="239" y="2512"/>
                          </a:cubicBezTo>
                          <a:cubicBezTo>
                            <a:pt x="179" y="2632"/>
                            <a:pt x="179" y="2751"/>
                            <a:pt x="119" y="2811"/>
                          </a:cubicBezTo>
                          <a:cubicBezTo>
                            <a:pt x="60" y="2930"/>
                            <a:pt x="60" y="2990"/>
                            <a:pt x="60" y="3110"/>
                          </a:cubicBezTo>
                          <a:cubicBezTo>
                            <a:pt x="60" y="3230"/>
                            <a:pt x="0" y="3289"/>
                            <a:pt x="0" y="3409"/>
                          </a:cubicBezTo>
                          <a:cubicBezTo>
                            <a:pt x="0" y="3529"/>
                            <a:pt x="0" y="3589"/>
                            <a:pt x="0" y="3708"/>
                          </a:cubicBezTo>
                          <a:cubicBezTo>
                            <a:pt x="0" y="3888"/>
                            <a:pt x="0" y="4067"/>
                            <a:pt x="0" y="4187"/>
                          </a:cubicBezTo>
                          <a:cubicBezTo>
                            <a:pt x="0" y="4306"/>
                            <a:pt x="60" y="4486"/>
                            <a:pt x="119" y="4665"/>
                          </a:cubicBezTo>
                          <a:cubicBezTo>
                            <a:pt x="179" y="4844"/>
                            <a:pt x="239" y="4964"/>
                            <a:pt x="299" y="5084"/>
                          </a:cubicBezTo>
                          <a:cubicBezTo>
                            <a:pt x="359" y="5203"/>
                            <a:pt x="419" y="5323"/>
                            <a:pt x="538" y="5443"/>
                          </a:cubicBezTo>
                          <a:cubicBezTo>
                            <a:pt x="538" y="5443"/>
                            <a:pt x="598" y="5502"/>
                            <a:pt x="598" y="5502"/>
                          </a:cubicBezTo>
                          <a:cubicBezTo>
                            <a:pt x="598" y="5502"/>
                            <a:pt x="658" y="5562"/>
                            <a:pt x="658" y="5562"/>
                          </a:cubicBezTo>
                          <a:cubicBezTo>
                            <a:pt x="658" y="5562"/>
                            <a:pt x="718" y="5622"/>
                            <a:pt x="718" y="5622"/>
                          </a:cubicBezTo>
                          <a:cubicBezTo>
                            <a:pt x="718" y="5622"/>
                            <a:pt x="598" y="5861"/>
                            <a:pt x="658" y="5921"/>
                          </a:cubicBezTo>
                        </a:path>
                      </a:pathLst>
                    </a:custGeom>
                    <a:noFill/>
                    <a:ln w="6350" cap="flat">
                      <a:solidFill>
                        <a:schemeClr val="bg1">
                          <a:alpha val="80000"/>
                        </a:schemeClr>
                      </a:solidFill>
                      <a:prstDash val="solid"/>
                      <a:miter/>
                    </a:ln>
                  </p:spPr>
                  <p:txBody>
                    <a:bodyPr rtlCol="0" anchor="ctr"/>
                    <a:lstStyle/>
                    <a:p>
                      <a:endParaRPr lang="en-GB"/>
                    </a:p>
                  </p:txBody>
                </p:sp>
                <p:sp>
                  <p:nvSpPr>
                    <p:cNvPr id="7501" name="Vrije vorm: vorm 7500">
                      <a:extLst>
                        <a:ext uri="{FF2B5EF4-FFF2-40B4-BE49-F238E27FC236}">
                          <a16:creationId xmlns:a16="http://schemas.microsoft.com/office/drawing/2014/main" id="{D8520598-E226-4A81-BE71-96A895C992C4}"/>
                        </a:ext>
                      </a:extLst>
                    </p:cNvPr>
                    <p:cNvSpPr/>
                    <p:nvPr/>
                  </p:nvSpPr>
                  <p:spPr>
                    <a:xfrm>
                      <a:off x="5316941" y="5122528"/>
                      <a:ext cx="5681" cy="6339"/>
                    </a:xfrm>
                    <a:custGeom>
                      <a:avLst/>
                      <a:gdLst>
                        <a:gd name="connsiteX0" fmla="*/ 2213 w 5681"/>
                        <a:gd name="connsiteY0" fmla="*/ 5323 h 6339"/>
                        <a:gd name="connsiteX1" fmla="*/ 2034 w 5681"/>
                        <a:gd name="connsiteY1" fmla="*/ 5263 h 6339"/>
                        <a:gd name="connsiteX2" fmla="*/ 1854 w 5681"/>
                        <a:gd name="connsiteY2" fmla="*/ 5203 h 6339"/>
                        <a:gd name="connsiteX3" fmla="*/ 1675 w 5681"/>
                        <a:gd name="connsiteY3" fmla="*/ 5084 h 6339"/>
                        <a:gd name="connsiteX4" fmla="*/ 1495 w 5681"/>
                        <a:gd name="connsiteY4" fmla="*/ 4964 h 6339"/>
                        <a:gd name="connsiteX5" fmla="*/ 1435 w 5681"/>
                        <a:gd name="connsiteY5" fmla="*/ 4844 h 6339"/>
                        <a:gd name="connsiteX6" fmla="*/ 1136 w 5681"/>
                        <a:gd name="connsiteY6" fmla="*/ 4426 h 6339"/>
                        <a:gd name="connsiteX7" fmla="*/ 1017 w 5681"/>
                        <a:gd name="connsiteY7" fmla="*/ 3648 h 6339"/>
                        <a:gd name="connsiteX8" fmla="*/ 1196 w 5681"/>
                        <a:gd name="connsiteY8" fmla="*/ 2811 h 6339"/>
                        <a:gd name="connsiteX9" fmla="*/ 1615 w 5681"/>
                        <a:gd name="connsiteY9" fmla="*/ 2093 h 6339"/>
                        <a:gd name="connsiteX10" fmla="*/ 2273 w 5681"/>
                        <a:gd name="connsiteY10" fmla="*/ 1495 h 6339"/>
                        <a:gd name="connsiteX11" fmla="*/ 2871 w 5681"/>
                        <a:gd name="connsiteY11" fmla="*/ 1256 h 6339"/>
                        <a:gd name="connsiteX12" fmla="*/ 3409 w 5681"/>
                        <a:gd name="connsiteY12" fmla="*/ 1196 h 6339"/>
                        <a:gd name="connsiteX13" fmla="*/ 3888 w 5681"/>
                        <a:gd name="connsiteY13" fmla="*/ 1316 h 6339"/>
                        <a:gd name="connsiteX14" fmla="*/ 4306 w 5681"/>
                        <a:gd name="connsiteY14" fmla="*/ 1555 h 6339"/>
                        <a:gd name="connsiteX15" fmla="*/ 4426 w 5681"/>
                        <a:gd name="connsiteY15" fmla="*/ 1675 h 6339"/>
                        <a:gd name="connsiteX16" fmla="*/ 4545 w 5681"/>
                        <a:gd name="connsiteY16" fmla="*/ 1794 h 6339"/>
                        <a:gd name="connsiteX17" fmla="*/ 4605 w 5681"/>
                        <a:gd name="connsiteY17" fmla="*/ 1974 h 6339"/>
                        <a:gd name="connsiteX18" fmla="*/ 4665 w 5681"/>
                        <a:gd name="connsiteY18" fmla="*/ 2153 h 6339"/>
                        <a:gd name="connsiteX19" fmla="*/ 4785 w 5681"/>
                        <a:gd name="connsiteY19" fmla="*/ 2871 h 6339"/>
                        <a:gd name="connsiteX20" fmla="*/ 4605 w 5681"/>
                        <a:gd name="connsiteY20" fmla="*/ 3648 h 6339"/>
                        <a:gd name="connsiteX21" fmla="*/ 4246 w 5681"/>
                        <a:gd name="connsiteY21" fmla="*/ 4366 h 6339"/>
                        <a:gd name="connsiteX22" fmla="*/ 3648 w 5681"/>
                        <a:gd name="connsiteY22" fmla="*/ 4964 h 6339"/>
                        <a:gd name="connsiteX23" fmla="*/ 3588 w 5681"/>
                        <a:gd name="connsiteY23" fmla="*/ 4964 h 6339"/>
                        <a:gd name="connsiteX24" fmla="*/ 3529 w 5681"/>
                        <a:gd name="connsiteY24" fmla="*/ 4964 h 6339"/>
                        <a:gd name="connsiteX25" fmla="*/ 3469 w 5681"/>
                        <a:gd name="connsiteY25" fmla="*/ 4964 h 6339"/>
                        <a:gd name="connsiteX26" fmla="*/ 3409 w 5681"/>
                        <a:gd name="connsiteY26" fmla="*/ 4964 h 6339"/>
                        <a:gd name="connsiteX27" fmla="*/ 3229 w 5681"/>
                        <a:gd name="connsiteY27" fmla="*/ 5084 h 6339"/>
                        <a:gd name="connsiteX28" fmla="*/ 3050 w 5681"/>
                        <a:gd name="connsiteY28" fmla="*/ 5143 h 6339"/>
                        <a:gd name="connsiteX29" fmla="*/ 2871 w 5681"/>
                        <a:gd name="connsiteY29" fmla="*/ 5203 h 6339"/>
                        <a:gd name="connsiteX30" fmla="*/ 2691 w 5681"/>
                        <a:gd name="connsiteY30" fmla="*/ 5263 h 6339"/>
                        <a:gd name="connsiteX31" fmla="*/ 2572 w 5681"/>
                        <a:gd name="connsiteY31" fmla="*/ 5263 h 6339"/>
                        <a:gd name="connsiteX32" fmla="*/ 2452 w 5681"/>
                        <a:gd name="connsiteY32" fmla="*/ 5263 h 6339"/>
                        <a:gd name="connsiteX33" fmla="*/ 2333 w 5681"/>
                        <a:gd name="connsiteY33" fmla="*/ 5263 h 6339"/>
                        <a:gd name="connsiteX34" fmla="*/ 2213 w 5681"/>
                        <a:gd name="connsiteY34" fmla="*/ 5323 h 6339"/>
                        <a:gd name="connsiteX35" fmla="*/ 837 w 5681"/>
                        <a:gd name="connsiteY35" fmla="*/ 5861 h 6339"/>
                        <a:gd name="connsiteX36" fmla="*/ 897 w 5681"/>
                        <a:gd name="connsiteY36" fmla="*/ 5921 h 6339"/>
                        <a:gd name="connsiteX37" fmla="*/ 957 w 5681"/>
                        <a:gd name="connsiteY37" fmla="*/ 5981 h 6339"/>
                        <a:gd name="connsiteX38" fmla="*/ 1017 w 5681"/>
                        <a:gd name="connsiteY38" fmla="*/ 6041 h 6339"/>
                        <a:gd name="connsiteX39" fmla="*/ 1136 w 5681"/>
                        <a:gd name="connsiteY39" fmla="*/ 6100 h 6339"/>
                        <a:gd name="connsiteX40" fmla="*/ 1555 w 5681"/>
                        <a:gd name="connsiteY40" fmla="*/ 6280 h 6339"/>
                        <a:gd name="connsiteX41" fmla="*/ 2034 w 5681"/>
                        <a:gd name="connsiteY41" fmla="*/ 6340 h 6339"/>
                        <a:gd name="connsiteX42" fmla="*/ 2572 w 5681"/>
                        <a:gd name="connsiteY42" fmla="*/ 6340 h 6339"/>
                        <a:gd name="connsiteX43" fmla="*/ 3110 w 5681"/>
                        <a:gd name="connsiteY43" fmla="*/ 6220 h 6339"/>
                        <a:gd name="connsiteX44" fmla="*/ 3289 w 5681"/>
                        <a:gd name="connsiteY44" fmla="*/ 6160 h 6339"/>
                        <a:gd name="connsiteX45" fmla="*/ 3469 w 5681"/>
                        <a:gd name="connsiteY45" fmla="*/ 6100 h 6339"/>
                        <a:gd name="connsiteX46" fmla="*/ 3648 w 5681"/>
                        <a:gd name="connsiteY46" fmla="*/ 5981 h 6339"/>
                        <a:gd name="connsiteX47" fmla="*/ 3828 w 5681"/>
                        <a:gd name="connsiteY47" fmla="*/ 5861 h 6339"/>
                        <a:gd name="connsiteX48" fmla="*/ 3888 w 5681"/>
                        <a:gd name="connsiteY48" fmla="*/ 5801 h 6339"/>
                        <a:gd name="connsiteX49" fmla="*/ 3947 w 5681"/>
                        <a:gd name="connsiteY49" fmla="*/ 5742 h 6339"/>
                        <a:gd name="connsiteX50" fmla="*/ 4007 w 5681"/>
                        <a:gd name="connsiteY50" fmla="*/ 5682 h 6339"/>
                        <a:gd name="connsiteX51" fmla="*/ 4067 w 5681"/>
                        <a:gd name="connsiteY51" fmla="*/ 5622 h 6339"/>
                        <a:gd name="connsiteX52" fmla="*/ 4904 w 5681"/>
                        <a:gd name="connsiteY52" fmla="*/ 4725 h 6339"/>
                        <a:gd name="connsiteX53" fmla="*/ 5442 w 5681"/>
                        <a:gd name="connsiteY53" fmla="*/ 3648 h 6339"/>
                        <a:gd name="connsiteX54" fmla="*/ 5682 w 5681"/>
                        <a:gd name="connsiteY54" fmla="*/ 2512 h 6339"/>
                        <a:gd name="connsiteX55" fmla="*/ 5502 w 5681"/>
                        <a:gd name="connsiteY55" fmla="*/ 1435 h 6339"/>
                        <a:gd name="connsiteX56" fmla="*/ 5383 w 5681"/>
                        <a:gd name="connsiteY56" fmla="*/ 1136 h 6339"/>
                        <a:gd name="connsiteX57" fmla="*/ 5263 w 5681"/>
                        <a:gd name="connsiteY57" fmla="*/ 897 h 6339"/>
                        <a:gd name="connsiteX58" fmla="*/ 5083 w 5681"/>
                        <a:gd name="connsiteY58" fmla="*/ 718 h 6339"/>
                        <a:gd name="connsiteX59" fmla="*/ 4904 w 5681"/>
                        <a:gd name="connsiteY59" fmla="*/ 538 h 6339"/>
                        <a:gd name="connsiteX60" fmla="*/ 4306 w 5681"/>
                        <a:gd name="connsiteY60" fmla="*/ 120 h 6339"/>
                        <a:gd name="connsiteX61" fmla="*/ 3588 w 5681"/>
                        <a:gd name="connsiteY61" fmla="*/ 0 h 6339"/>
                        <a:gd name="connsiteX62" fmla="*/ 2751 w 5681"/>
                        <a:gd name="connsiteY62" fmla="*/ 120 h 6339"/>
                        <a:gd name="connsiteX63" fmla="*/ 1914 w 5681"/>
                        <a:gd name="connsiteY63" fmla="*/ 538 h 6339"/>
                        <a:gd name="connsiteX64" fmla="*/ 957 w 5681"/>
                        <a:gd name="connsiteY64" fmla="*/ 1435 h 6339"/>
                        <a:gd name="connsiteX65" fmla="*/ 299 w 5681"/>
                        <a:gd name="connsiteY65" fmla="*/ 2512 h 6339"/>
                        <a:gd name="connsiteX66" fmla="*/ 0 w 5681"/>
                        <a:gd name="connsiteY66" fmla="*/ 3708 h 6339"/>
                        <a:gd name="connsiteX67" fmla="*/ 180 w 5681"/>
                        <a:gd name="connsiteY67" fmla="*/ 4844 h 6339"/>
                        <a:gd name="connsiteX68" fmla="*/ 239 w 5681"/>
                        <a:gd name="connsiteY68" fmla="*/ 5024 h 6339"/>
                        <a:gd name="connsiteX69" fmla="*/ 299 w 5681"/>
                        <a:gd name="connsiteY69" fmla="*/ 5143 h 6339"/>
                        <a:gd name="connsiteX70" fmla="*/ 359 w 5681"/>
                        <a:gd name="connsiteY70" fmla="*/ 5263 h 6339"/>
                        <a:gd name="connsiteX71" fmla="*/ 419 w 5681"/>
                        <a:gd name="connsiteY71" fmla="*/ 5383 h 6339"/>
                        <a:gd name="connsiteX72" fmla="*/ 479 w 5681"/>
                        <a:gd name="connsiteY72" fmla="*/ 5503 h 6339"/>
                        <a:gd name="connsiteX73" fmla="*/ 538 w 5681"/>
                        <a:gd name="connsiteY73" fmla="*/ 5622 h 6339"/>
                        <a:gd name="connsiteX74" fmla="*/ 598 w 5681"/>
                        <a:gd name="connsiteY74" fmla="*/ 5682 h 6339"/>
                        <a:gd name="connsiteX75" fmla="*/ 837 w 5681"/>
                        <a:gd name="connsiteY75" fmla="*/ 5861 h 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681" h="6339">
                          <a:moveTo>
                            <a:pt x="2213" y="5323"/>
                          </a:moveTo>
                          <a:cubicBezTo>
                            <a:pt x="2153" y="5323"/>
                            <a:pt x="2093" y="5323"/>
                            <a:pt x="2034" y="5263"/>
                          </a:cubicBezTo>
                          <a:cubicBezTo>
                            <a:pt x="1974" y="5203"/>
                            <a:pt x="1914" y="5203"/>
                            <a:pt x="1854" y="5203"/>
                          </a:cubicBezTo>
                          <a:cubicBezTo>
                            <a:pt x="1794" y="5203"/>
                            <a:pt x="1734" y="5143"/>
                            <a:pt x="1675" y="5084"/>
                          </a:cubicBezTo>
                          <a:cubicBezTo>
                            <a:pt x="1615" y="5024"/>
                            <a:pt x="1555" y="5024"/>
                            <a:pt x="1495" y="4964"/>
                          </a:cubicBezTo>
                          <a:lnTo>
                            <a:pt x="1435" y="4844"/>
                          </a:lnTo>
                          <a:lnTo>
                            <a:pt x="1136" y="4426"/>
                          </a:lnTo>
                          <a:cubicBezTo>
                            <a:pt x="1017" y="4187"/>
                            <a:pt x="1017" y="3888"/>
                            <a:pt x="1017" y="3648"/>
                          </a:cubicBezTo>
                          <a:cubicBezTo>
                            <a:pt x="1017" y="3349"/>
                            <a:pt x="1076" y="3110"/>
                            <a:pt x="1196" y="2811"/>
                          </a:cubicBezTo>
                          <a:cubicBezTo>
                            <a:pt x="1316" y="2572"/>
                            <a:pt x="1435" y="2273"/>
                            <a:pt x="1615" y="2093"/>
                          </a:cubicBezTo>
                          <a:cubicBezTo>
                            <a:pt x="1794" y="1854"/>
                            <a:pt x="2034" y="1675"/>
                            <a:pt x="2273" y="1495"/>
                          </a:cubicBezTo>
                          <a:cubicBezTo>
                            <a:pt x="2452" y="1376"/>
                            <a:pt x="2632" y="1256"/>
                            <a:pt x="2871" y="1256"/>
                          </a:cubicBezTo>
                          <a:cubicBezTo>
                            <a:pt x="3050" y="1196"/>
                            <a:pt x="3229" y="1196"/>
                            <a:pt x="3409" y="1196"/>
                          </a:cubicBezTo>
                          <a:cubicBezTo>
                            <a:pt x="3588" y="1196"/>
                            <a:pt x="3768" y="1256"/>
                            <a:pt x="3888" y="1316"/>
                          </a:cubicBezTo>
                          <a:cubicBezTo>
                            <a:pt x="4067" y="1376"/>
                            <a:pt x="4187" y="1435"/>
                            <a:pt x="4306" y="1555"/>
                          </a:cubicBezTo>
                          <a:cubicBezTo>
                            <a:pt x="4366" y="1615"/>
                            <a:pt x="4366" y="1615"/>
                            <a:pt x="4426" y="1675"/>
                          </a:cubicBezTo>
                          <a:cubicBezTo>
                            <a:pt x="4486" y="1735"/>
                            <a:pt x="4486" y="1794"/>
                            <a:pt x="4545" y="1794"/>
                          </a:cubicBezTo>
                          <a:cubicBezTo>
                            <a:pt x="4605" y="1854"/>
                            <a:pt x="4605" y="1914"/>
                            <a:pt x="4605" y="1974"/>
                          </a:cubicBezTo>
                          <a:cubicBezTo>
                            <a:pt x="4605" y="2034"/>
                            <a:pt x="4665" y="2093"/>
                            <a:pt x="4665" y="2153"/>
                          </a:cubicBezTo>
                          <a:cubicBezTo>
                            <a:pt x="4725" y="2392"/>
                            <a:pt x="4785" y="2632"/>
                            <a:pt x="4785" y="2871"/>
                          </a:cubicBezTo>
                          <a:cubicBezTo>
                            <a:pt x="4785" y="3110"/>
                            <a:pt x="4725" y="3409"/>
                            <a:pt x="4605" y="3648"/>
                          </a:cubicBezTo>
                          <a:cubicBezTo>
                            <a:pt x="4486" y="3888"/>
                            <a:pt x="4366" y="4127"/>
                            <a:pt x="4246" y="4366"/>
                          </a:cubicBezTo>
                          <a:cubicBezTo>
                            <a:pt x="4067" y="4605"/>
                            <a:pt x="3888" y="4785"/>
                            <a:pt x="3648" y="4964"/>
                          </a:cubicBezTo>
                          <a:cubicBezTo>
                            <a:pt x="3648" y="4964"/>
                            <a:pt x="3648" y="4964"/>
                            <a:pt x="3588" y="4964"/>
                          </a:cubicBezTo>
                          <a:cubicBezTo>
                            <a:pt x="3588" y="4964"/>
                            <a:pt x="3588" y="4964"/>
                            <a:pt x="3529" y="4964"/>
                          </a:cubicBezTo>
                          <a:cubicBezTo>
                            <a:pt x="3529" y="4964"/>
                            <a:pt x="3529" y="4964"/>
                            <a:pt x="3469" y="4964"/>
                          </a:cubicBezTo>
                          <a:cubicBezTo>
                            <a:pt x="3469" y="4964"/>
                            <a:pt x="3469" y="4964"/>
                            <a:pt x="3409" y="4964"/>
                          </a:cubicBezTo>
                          <a:cubicBezTo>
                            <a:pt x="3349" y="5024"/>
                            <a:pt x="3289" y="5024"/>
                            <a:pt x="3229" y="5084"/>
                          </a:cubicBezTo>
                          <a:cubicBezTo>
                            <a:pt x="3170" y="5143"/>
                            <a:pt x="3110" y="5143"/>
                            <a:pt x="3050" y="5143"/>
                          </a:cubicBezTo>
                          <a:cubicBezTo>
                            <a:pt x="2990" y="5143"/>
                            <a:pt x="2930" y="5203"/>
                            <a:pt x="2871" y="5203"/>
                          </a:cubicBezTo>
                          <a:cubicBezTo>
                            <a:pt x="2811" y="5203"/>
                            <a:pt x="2751" y="5263"/>
                            <a:pt x="2691" y="5263"/>
                          </a:cubicBezTo>
                          <a:cubicBezTo>
                            <a:pt x="2632" y="5263"/>
                            <a:pt x="2572" y="5263"/>
                            <a:pt x="2572" y="5263"/>
                          </a:cubicBezTo>
                          <a:cubicBezTo>
                            <a:pt x="2512" y="5263"/>
                            <a:pt x="2512" y="5263"/>
                            <a:pt x="2452" y="5263"/>
                          </a:cubicBezTo>
                          <a:cubicBezTo>
                            <a:pt x="2392" y="5263"/>
                            <a:pt x="2392" y="5263"/>
                            <a:pt x="2333" y="5263"/>
                          </a:cubicBezTo>
                          <a:cubicBezTo>
                            <a:pt x="2273" y="5383"/>
                            <a:pt x="2213" y="5323"/>
                            <a:pt x="2213" y="5323"/>
                          </a:cubicBezTo>
                          <a:moveTo>
                            <a:pt x="837" y="5861"/>
                          </a:moveTo>
                          <a:cubicBezTo>
                            <a:pt x="837" y="5861"/>
                            <a:pt x="897" y="5921"/>
                            <a:pt x="897" y="5921"/>
                          </a:cubicBezTo>
                          <a:cubicBezTo>
                            <a:pt x="897" y="5921"/>
                            <a:pt x="957" y="5981"/>
                            <a:pt x="957" y="5981"/>
                          </a:cubicBezTo>
                          <a:cubicBezTo>
                            <a:pt x="957" y="5981"/>
                            <a:pt x="1017" y="6041"/>
                            <a:pt x="1017" y="6041"/>
                          </a:cubicBezTo>
                          <a:cubicBezTo>
                            <a:pt x="1076" y="6041"/>
                            <a:pt x="1076" y="6100"/>
                            <a:pt x="1136" y="6100"/>
                          </a:cubicBezTo>
                          <a:cubicBezTo>
                            <a:pt x="1256" y="6160"/>
                            <a:pt x="1435" y="6220"/>
                            <a:pt x="1555" y="6280"/>
                          </a:cubicBezTo>
                          <a:cubicBezTo>
                            <a:pt x="1734" y="6340"/>
                            <a:pt x="1854" y="6340"/>
                            <a:pt x="2034" y="6340"/>
                          </a:cubicBezTo>
                          <a:cubicBezTo>
                            <a:pt x="2213" y="6340"/>
                            <a:pt x="2392" y="6340"/>
                            <a:pt x="2572" y="6340"/>
                          </a:cubicBezTo>
                          <a:cubicBezTo>
                            <a:pt x="2751" y="6340"/>
                            <a:pt x="2930" y="6280"/>
                            <a:pt x="3110" y="6220"/>
                          </a:cubicBezTo>
                          <a:cubicBezTo>
                            <a:pt x="3170" y="6220"/>
                            <a:pt x="3229" y="6160"/>
                            <a:pt x="3289" y="6160"/>
                          </a:cubicBezTo>
                          <a:cubicBezTo>
                            <a:pt x="3349" y="6160"/>
                            <a:pt x="3409" y="6100"/>
                            <a:pt x="3469" y="6100"/>
                          </a:cubicBezTo>
                          <a:cubicBezTo>
                            <a:pt x="3529" y="6100"/>
                            <a:pt x="3588" y="6041"/>
                            <a:pt x="3648" y="5981"/>
                          </a:cubicBezTo>
                          <a:cubicBezTo>
                            <a:pt x="3708" y="5921"/>
                            <a:pt x="3768" y="5921"/>
                            <a:pt x="3828" y="5861"/>
                          </a:cubicBezTo>
                          <a:cubicBezTo>
                            <a:pt x="3828" y="5861"/>
                            <a:pt x="3888" y="5861"/>
                            <a:pt x="3888" y="5801"/>
                          </a:cubicBezTo>
                          <a:cubicBezTo>
                            <a:pt x="3888" y="5742"/>
                            <a:pt x="3947" y="5801"/>
                            <a:pt x="3947" y="5742"/>
                          </a:cubicBezTo>
                          <a:cubicBezTo>
                            <a:pt x="3947" y="5742"/>
                            <a:pt x="4007" y="5742"/>
                            <a:pt x="4007" y="5682"/>
                          </a:cubicBezTo>
                          <a:cubicBezTo>
                            <a:pt x="4007" y="5682"/>
                            <a:pt x="4067" y="5682"/>
                            <a:pt x="4067" y="5622"/>
                          </a:cubicBezTo>
                          <a:cubicBezTo>
                            <a:pt x="4366" y="5383"/>
                            <a:pt x="4665" y="5084"/>
                            <a:pt x="4904" y="4725"/>
                          </a:cubicBezTo>
                          <a:cubicBezTo>
                            <a:pt x="5143" y="4366"/>
                            <a:pt x="5323" y="4007"/>
                            <a:pt x="5442" y="3648"/>
                          </a:cubicBezTo>
                          <a:cubicBezTo>
                            <a:pt x="5562" y="3289"/>
                            <a:pt x="5682" y="2871"/>
                            <a:pt x="5682" y="2512"/>
                          </a:cubicBezTo>
                          <a:cubicBezTo>
                            <a:pt x="5682" y="2153"/>
                            <a:pt x="5622" y="1735"/>
                            <a:pt x="5502" y="1435"/>
                          </a:cubicBezTo>
                          <a:cubicBezTo>
                            <a:pt x="5442" y="1316"/>
                            <a:pt x="5442" y="1256"/>
                            <a:pt x="5383" y="1136"/>
                          </a:cubicBezTo>
                          <a:cubicBezTo>
                            <a:pt x="5323" y="1076"/>
                            <a:pt x="5323" y="957"/>
                            <a:pt x="5263" y="897"/>
                          </a:cubicBezTo>
                          <a:cubicBezTo>
                            <a:pt x="5203" y="837"/>
                            <a:pt x="5143" y="778"/>
                            <a:pt x="5083" y="718"/>
                          </a:cubicBezTo>
                          <a:cubicBezTo>
                            <a:pt x="5024" y="658"/>
                            <a:pt x="4964" y="598"/>
                            <a:pt x="4904" y="538"/>
                          </a:cubicBezTo>
                          <a:cubicBezTo>
                            <a:pt x="4725" y="359"/>
                            <a:pt x="4486" y="239"/>
                            <a:pt x="4306" y="120"/>
                          </a:cubicBezTo>
                          <a:cubicBezTo>
                            <a:pt x="4067" y="60"/>
                            <a:pt x="3828" y="0"/>
                            <a:pt x="3588" y="0"/>
                          </a:cubicBezTo>
                          <a:cubicBezTo>
                            <a:pt x="3349" y="0"/>
                            <a:pt x="3050" y="60"/>
                            <a:pt x="2751" y="120"/>
                          </a:cubicBezTo>
                          <a:cubicBezTo>
                            <a:pt x="2452" y="180"/>
                            <a:pt x="2213" y="359"/>
                            <a:pt x="1914" y="538"/>
                          </a:cubicBezTo>
                          <a:cubicBezTo>
                            <a:pt x="1555" y="778"/>
                            <a:pt x="1196" y="1076"/>
                            <a:pt x="957" y="1435"/>
                          </a:cubicBezTo>
                          <a:cubicBezTo>
                            <a:pt x="658" y="1794"/>
                            <a:pt x="479" y="2153"/>
                            <a:pt x="299" y="2512"/>
                          </a:cubicBezTo>
                          <a:cubicBezTo>
                            <a:pt x="120" y="2871"/>
                            <a:pt x="60" y="3289"/>
                            <a:pt x="0" y="3708"/>
                          </a:cubicBezTo>
                          <a:cubicBezTo>
                            <a:pt x="0" y="4127"/>
                            <a:pt x="0" y="4486"/>
                            <a:pt x="180" y="4844"/>
                          </a:cubicBezTo>
                          <a:cubicBezTo>
                            <a:pt x="180" y="4904"/>
                            <a:pt x="239" y="4964"/>
                            <a:pt x="239" y="5024"/>
                          </a:cubicBezTo>
                          <a:cubicBezTo>
                            <a:pt x="239" y="5084"/>
                            <a:pt x="299" y="5143"/>
                            <a:pt x="299" y="5143"/>
                          </a:cubicBezTo>
                          <a:cubicBezTo>
                            <a:pt x="299" y="5203"/>
                            <a:pt x="359" y="5263"/>
                            <a:pt x="359" y="5263"/>
                          </a:cubicBezTo>
                          <a:cubicBezTo>
                            <a:pt x="359" y="5323"/>
                            <a:pt x="419" y="5323"/>
                            <a:pt x="419" y="5383"/>
                          </a:cubicBezTo>
                          <a:cubicBezTo>
                            <a:pt x="419" y="5443"/>
                            <a:pt x="479" y="5443"/>
                            <a:pt x="479" y="5503"/>
                          </a:cubicBezTo>
                          <a:cubicBezTo>
                            <a:pt x="479" y="5562"/>
                            <a:pt x="538" y="5562"/>
                            <a:pt x="538" y="5622"/>
                          </a:cubicBezTo>
                          <a:cubicBezTo>
                            <a:pt x="538" y="5622"/>
                            <a:pt x="598" y="5682"/>
                            <a:pt x="598" y="5682"/>
                          </a:cubicBezTo>
                          <a:cubicBezTo>
                            <a:pt x="778" y="5801"/>
                            <a:pt x="778" y="5861"/>
                            <a:pt x="837" y="5861"/>
                          </a:cubicBezTo>
                        </a:path>
                      </a:pathLst>
                    </a:custGeom>
                    <a:noFill/>
                    <a:ln w="6350" cap="flat">
                      <a:solidFill>
                        <a:schemeClr val="bg1">
                          <a:alpha val="80000"/>
                        </a:schemeClr>
                      </a:solidFill>
                      <a:prstDash val="solid"/>
                      <a:miter/>
                    </a:ln>
                  </p:spPr>
                  <p:txBody>
                    <a:bodyPr rtlCol="0" anchor="ctr"/>
                    <a:lstStyle/>
                    <a:p>
                      <a:endParaRPr lang="en-GB"/>
                    </a:p>
                  </p:txBody>
                </p:sp>
                <p:sp>
                  <p:nvSpPr>
                    <p:cNvPr id="7502" name="Vrije vorm: vorm 7501">
                      <a:extLst>
                        <a:ext uri="{FF2B5EF4-FFF2-40B4-BE49-F238E27FC236}">
                          <a16:creationId xmlns:a16="http://schemas.microsoft.com/office/drawing/2014/main" id="{D92B15E5-B85A-4ECC-9C9B-98754D67CA6A}"/>
                        </a:ext>
                      </a:extLst>
                    </p:cNvPr>
                    <p:cNvSpPr/>
                    <p:nvPr/>
                  </p:nvSpPr>
                  <p:spPr>
                    <a:xfrm>
                      <a:off x="5310183" y="5130901"/>
                      <a:ext cx="5726" cy="6279"/>
                    </a:xfrm>
                    <a:custGeom>
                      <a:avLst/>
                      <a:gdLst>
                        <a:gd name="connsiteX0" fmla="*/ 4366 w 5726"/>
                        <a:gd name="connsiteY0" fmla="*/ 1375 h 6279"/>
                        <a:gd name="connsiteX1" fmla="*/ 4665 w 5726"/>
                        <a:gd name="connsiteY1" fmla="*/ 1794 h 6279"/>
                        <a:gd name="connsiteX2" fmla="*/ 4844 w 5726"/>
                        <a:gd name="connsiteY2" fmla="*/ 2333 h 6279"/>
                        <a:gd name="connsiteX3" fmla="*/ 4844 w 5726"/>
                        <a:gd name="connsiteY3" fmla="*/ 2930 h 6279"/>
                        <a:gd name="connsiteX4" fmla="*/ 4665 w 5726"/>
                        <a:gd name="connsiteY4" fmla="*/ 3588 h 6279"/>
                        <a:gd name="connsiteX5" fmla="*/ 4187 w 5726"/>
                        <a:gd name="connsiteY5" fmla="*/ 4366 h 6279"/>
                        <a:gd name="connsiteX6" fmla="*/ 3589 w 5726"/>
                        <a:gd name="connsiteY6" fmla="*/ 4904 h 6279"/>
                        <a:gd name="connsiteX7" fmla="*/ 2871 w 5726"/>
                        <a:gd name="connsiteY7" fmla="*/ 5203 h 6279"/>
                        <a:gd name="connsiteX8" fmla="*/ 2153 w 5726"/>
                        <a:gd name="connsiteY8" fmla="*/ 5203 h 6279"/>
                        <a:gd name="connsiteX9" fmla="*/ 1615 w 5726"/>
                        <a:gd name="connsiteY9" fmla="*/ 4904 h 6279"/>
                        <a:gd name="connsiteX10" fmla="*/ 1316 w 5726"/>
                        <a:gd name="connsiteY10" fmla="*/ 4486 h 6279"/>
                        <a:gd name="connsiteX11" fmla="*/ 1136 w 5726"/>
                        <a:gd name="connsiteY11" fmla="*/ 4007 h 6279"/>
                        <a:gd name="connsiteX12" fmla="*/ 1136 w 5726"/>
                        <a:gd name="connsiteY12" fmla="*/ 3409 h 6279"/>
                        <a:gd name="connsiteX13" fmla="*/ 1256 w 5726"/>
                        <a:gd name="connsiteY13" fmla="*/ 2811 h 6279"/>
                        <a:gd name="connsiteX14" fmla="*/ 1256 w 5726"/>
                        <a:gd name="connsiteY14" fmla="*/ 2751 h 6279"/>
                        <a:gd name="connsiteX15" fmla="*/ 1256 w 5726"/>
                        <a:gd name="connsiteY15" fmla="*/ 2691 h 6279"/>
                        <a:gd name="connsiteX16" fmla="*/ 1256 w 5726"/>
                        <a:gd name="connsiteY16" fmla="*/ 2632 h 6279"/>
                        <a:gd name="connsiteX17" fmla="*/ 1256 w 5726"/>
                        <a:gd name="connsiteY17" fmla="*/ 2572 h 6279"/>
                        <a:gd name="connsiteX18" fmla="*/ 1675 w 5726"/>
                        <a:gd name="connsiteY18" fmla="*/ 1854 h 6279"/>
                        <a:gd name="connsiteX19" fmla="*/ 2213 w 5726"/>
                        <a:gd name="connsiteY19" fmla="*/ 1316 h 6279"/>
                        <a:gd name="connsiteX20" fmla="*/ 2871 w 5726"/>
                        <a:gd name="connsiteY20" fmla="*/ 957 h 6279"/>
                        <a:gd name="connsiteX21" fmla="*/ 3529 w 5726"/>
                        <a:gd name="connsiteY21" fmla="*/ 897 h 6279"/>
                        <a:gd name="connsiteX22" fmla="*/ 3589 w 5726"/>
                        <a:gd name="connsiteY22" fmla="*/ 897 h 6279"/>
                        <a:gd name="connsiteX23" fmla="*/ 3648 w 5726"/>
                        <a:gd name="connsiteY23" fmla="*/ 897 h 6279"/>
                        <a:gd name="connsiteX24" fmla="*/ 3708 w 5726"/>
                        <a:gd name="connsiteY24" fmla="*/ 897 h 6279"/>
                        <a:gd name="connsiteX25" fmla="*/ 3768 w 5726"/>
                        <a:gd name="connsiteY25" fmla="*/ 897 h 6279"/>
                        <a:gd name="connsiteX26" fmla="*/ 3947 w 5726"/>
                        <a:gd name="connsiteY26" fmla="*/ 957 h 6279"/>
                        <a:gd name="connsiteX27" fmla="*/ 4067 w 5726"/>
                        <a:gd name="connsiteY27" fmla="*/ 1017 h 6279"/>
                        <a:gd name="connsiteX28" fmla="*/ 4187 w 5726"/>
                        <a:gd name="connsiteY28" fmla="*/ 1076 h 6279"/>
                        <a:gd name="connsiteX29" fmla="*/ 4366 w 5726"/>
                        <a:gd name="connsiteY29" fmla="*/ 1375 h 6279"/>
                        <a:gd name="connsiteX30" fmla="*/ 897 w 5726"/>
                        <a:gd name="connsiteY30" fmla="*/ 5741 h 6279"/>
                        <a:gd name="connsiteX31" fmla="*/ 1076 w 5726"/>
                        <a:gd name="connsiteY31" fmla="*/ 5921 h 6279"/>
                        <a:gd name="connsiteX32" fmla="*/ 1256 w 5726"/>
                        <a:gd name="connsiteY32" fmla="*/ 6041 h 6279"/>
                        <a:gd name="connsiteX33" fmla="*/ 1495 w 5726"/>
                        <a:gd name="connsiteY33" fmla="*/ 6160 h 6279"/>
                        <a:gd name="connsiteX34" fmla="*/ 1734 w 5726"/>
                        <a:gd name="connsiteY34" fmla="*/ 6220 h 6279"/>
                        <a:gd name="connsiteX35" fmla="*/ 2273 w 5726"/>
                        <a:gd name="connsiteY35" fmla="*/ 6280 h 6279"/>
                        <a:gd name="connsiteX36" fmla="*/ 2811 w 5726"/>
                        <a:gd name="connsiteY36" fmla="*/ 6220 h 6279"/>
                        <a:gd name="connsiteX37" fmla="*/ 3349 w 5726"/>
                        <a:gd name="connsiteY37" fmla="*/ 6041 h 6279"/>
                        <a:gd name="connsiteX38" fmla="*/ 3888 w 5726"/>
                        <a:gd name="connsiteY38" fmla="*/ 5741 h 6279"/>
                        <a:gd name="connsiteX39" fmla="*/ 4366 w 5726"/>
                        <a:gd name="connsiteY39" fmla="*/ 5382 h 6279"/>
                        <a:gd name="connsiteX40" fmla="*/ 4785 w 5726"/>
                        <a:gd name="connsiteY40" fmla="*/ 4904 h 6279"/>
                        <a:gd name="connsiteX41" fmla="*/ 5143 w 5726"/>
                        <a:gd name="connsiteY41" fmla="*/ 4366 h 6279"/>
                        <a:gd name="connsiteX42" fmla="*/ 5443 w 5726"/>
                        <a:gd name="connsiteY42" fmla="*/ 3768 h 6279"/>
                        <a:gd name="connsiteX43" fmla="*/ 5682 w 5726"/>
                        <a:gd name="connsiteY43" fmla="*/ 2811 h 6279"/>
                        <a:gd name="connsiteX44" fmla="*/ 5682 w 5726"/>
                        <a:gd name="connsiteY44" fmla="*/ 1914 h 6279"/>
                        <a:gd name="connsiteX45" fmla="*/ 5443 w 5726"/>
                        <a:gd name="connsiteY45" fmla="*/ 1136 h 6279"/>
                        <a:gd name="connsiteX46" fmla="*/ 4964 w 5726"/>
                        <a:gd name="connsiteY46" fmla="*/ 538 h 6279"/>
                        <a:gd name="connsiteX47" fmla="*/ 4844 w 5726"/>
                        <a:gd name="connsiteY47" fmla="*/ 479 h 6279"/>
                        <a:gd name="connsiteX48" fmla="*/ 4725 w 5726"/>
                        <a:gd name="connsiteY48" fmla="*/ 419 h 6279"/>
                        <a:gd name="connsiteX49" fmla="*/ 4605 w 5726"/>
                        <a:gd name="connsiteY49" fmla="*/ 359 h 6279"/>
                        <a:gd name="connsiteX50" fmla="*/ 4486 w 5726"/>
                        <a:gd name="connsiteY50" fmla="*/ 299 h 6279"/>
                        <a:gd name="connsiteX51" fmla="*/ 4366 w 5726"/>
                        <a:gd name="connsiteY51" fmla="*/ 239 h 6279"/>
                        <a:gd name="connsiteX52" fmla="*/ 4246 w 5726"/>
                        <a:gd name="connsiteY52" fmla="*/ 179 h 6279"/>
                        <a:gd name="connsiteX53" fmla="*/ 4127 w 5726"/>
                        <a:gd name="connsiteY53" fmla="*/ 120 h 6279"/>
                        <a:gd name="connsiteX54" fmla="*/ 4007 w 5726"/>
                        <a:gd name="connsiteY54" fmla="*/ 60 h 6279"/>
                        <a:gd name="connsiteX55" fmla="*/ 3828 w 5726"/>
                        <a:gd name="connsiteY55" fmla="*/ 0 h 6279"/>
                        <a:gd name="connsiteX56" fmla="*/ 3648 w 5726"/>
                        <a:gd name="connsiteY56" fmla="*/ 0 h 6279"/>
                        <a:gd name="connsiteX57" fmla="*/ 3469 w 5726"/>
                        <a:gd name="connsiteY57" fmla="*/ 0 h 6279"/>
                        <a:gd name="connsiteX58" fmla="*/ 3289 w 5726"/>
                        <a:gd name="connsiteY58" fmla="*/ 0 h 6279"/>
                        <a:gd name="connsiteX59" fmla="*/ 2930 w 5726"/>
                        <a:gd name="connsiteY59" fmla="*/ 60 h 6279"/>
                        <a:gd name="connsiteX60" fmla="*/ 2572 w 5726"/>
                        <a:gd name="connsiteY60" fmla="*/ 179 h 6279"/>
                        <a:gd name="connsiteX61" fmla="*/ 2213 w 5726"/>
                        <a:gd name="connsiteY61" fmla="*/ 359 h 6279"/>
                        <a:gd name="connsiteX62" fmla="*/ 1854 w 5726"/>
                        <a:gd name="connsiteY62" fmla="*/ 538 h 6279"/>
                        <a:gd name="connsiteX63" fmla="*/ 1375 w 5726"/>
                        <a:gd name="connsiteY63" fmla="*/ 897 h 6279"/>
                        <a:gd name="connsiteX64" fmla="*/ 957 w 5726"/>
                        <a:gd name="connsiteY64" fmla="*/ 1316 h 6279"/>
                        <a:gd name="connsiteX65" fmla="*/ 598 w 5726"/>
                        <a:gd name="connsiteY65" fmla="*/ 1794 h 6279"/>
                        <a:gd name="connsiteX66" fmla="*/ 299 w 5726"/>
                        <a:gd name="connsiteY66" fmla="*/ 2273 h 6279"/>
                        <a:gd name="connsiteX67" fmla="*/ 299 w 5726"/>
                        <a:gd name="connsiteY67" fmla="*/ 2333 h 6279"/>
                        <a:gd name="connsiteX68" fmla="*/ 299 w 5726"/>
                        <a:gd name="connsiteY68" fmla="*/ 2392 h 6279"/>
                        <a:gd name="connsiteX69" fmla="*/ 299 w 5726"/>
                        <a:gd name="connsiteY69" fmla="*/ 2452 h 6279"/>
                        <a:gd name="connsiteX70" fmla="*/ 299 w 5726"/>
                        <a:gd name="connsiteY70" fmla="*/ 2512 h 6279"/>
                        <a:gd name="connsiteX71" fmla="*/ 180 w 5726"/>
                        <a:gd name="connsiteY71" fmla="*/ 2811 h 6279"/>
                        <a:gd name="connsiteX72" fmla="*/ 120 w 5726"/>
                        <a:gd name="connsiteY72" fmla="*/ 3110 h 6279"/>
                        <a:gd name="connsiteX73" fmla="*/ 60 w 5726"/>
                        <a:gd name="connsiteY73" fmla="*/ 3409 h 6279"/>
                        <a:gd name="connsiteX74" fmla="*/ 0 w 5726"/>
                        <a:gd name="connsiteY74" fmla="*/ 3708 h 6279"/>
                        <a:gd name="connsiteX75" fmla="*/ 0 w 5726"/>
                        <a:gd name="connsiteY75" fmla="*/ 4366 h 6279"/>
                        <a:gd name="connsiteX76" fmla="*/ 120 w 5726"/>
                        <a:gd name="connsiteY76" fmla="*/ 4964 h 6279"/>
                        <a:gd name="connsiteX77" fmla="*/ 359 w 5726"/>
                        <a:gd name="connsiteY77" fmla="*/ 5442 h 6279"/>
                        <a:gd name="connsiteX78" fmla="*/ 897 w 5726"/>
                        <a:gd name="connsiteY78" fmla="*/ 574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726" h="6279">
                          <a:moveTo>
                            <a:pt x="4366" y="1375"/>
                          </a:moveTo>
                          <a:cubicBezTo>
                            <a:pt x="4486" y="1495"/>
                            <a:pt x="4605" y="1615"/>
                            <a:pt x="4665" y="1794"/>
                          </a:cubicBezTo>
                          <a:cubicBezTo>
                            <a:pt x="4725" y="1974"/>
                            <a:pt x="4785" y="2153"/>
                            <a:pt x="4844" y="2333"/>
                          </a:cubicBezTo>
                          <a:cubicBezTo>
                            <a:pt x="4904" y="2512"/>
                            <a:pt x="4904" y="2751"/>
                            <a:pt x="4844" y="2930"/>
                          </a:cubicBezTo>
                          <a:cubicBezTo>
                            <a:pt x="4785" y="3110"/>
                            <a:pt x="4785" y="3349"/>
                            <a:pt x="4665" y="3588"/>
                          </a:cubicBezTo>
                          <a:cubicBezTo>
                            <a:pt x="4545" y="3887"/>
                            <a:pt x="4426" y="4127"/>
                            <a:pt x="4187" y="4366"/>
                          </a:cubicBezTo>
                          <a:cubicBezTo>
                            <a:pt x="4007" y="4605"/>
                            <a:pt x="3768" y="4785"/>
                            <a:pt x="3589" y="4904"/>
                          </a:cubicBezTo>
                          <a:cubicBezTo>
                            <a:pt x="3349" y="5024"/>
                            <a:pt x="3110" y="5143"/>
                            <a:pt x="2871" y="5203"/>
                          </a:cubicBezTo>
                          <a:cubicBezTo>
                            <a:pt x="2632" y="5263"/>
                            <a:pt x="2392" y="5263"/>
                            <a:pt x="2153" y="5203"/>
                          </a:cubicBezTo>
                          <a:lnTo>
                            <a:pt x="1615" y="4904"/>
                          </a:lnTo>
                          <a:cubicBezTo>
                            <a:pt x="1495" y="4785"/>
                            <a:pt x="1375" y="4665"/>
                            <a:pt x="1316" y="4486"/>
                          </a:cubicBezTo>
                          <a:cubicBezTo>
                            <a:pt x="1256" y="4306"/>
                            <a:pt x="1196" y="4187"/>
                            <a:pt x="1136" y="4007"/>
                          </a:cubicBezTo>
                          <a:cubicBezTo>
                            <a:pt x="1076" y="3828"/>
                            <a:pt x="1076" y="3648"/>
                            <a:pt x="1136" y="3409"/>
                          </a:cubicBezTo>
                          <a:cubicBezTo>
                            <a:pt x="1136" y="3229"/>
                            <a:pt x="1196" y="2990"/>
                            <a:pt x="1256" y="2811"/>
                          </a:cubicBezTo>
                          <a:cubicBezTo>
                            <a:pt x="1256" y="2811"/>
                            <a:pt x="1256" y="2811"/>
                            <a:pt x="1256" y="2751"/>
                          </a:cubicBezTo>
                          <a:cubicBezTo>
                            <a:pt x="1256" y="2751"/>
                            <a:pt x="1256" y="2751"/>
                            <a:pt x="1256" y="2691"/>
                          </a:cubicBezTo>
                          <a:cubicBezTo>
                            <a:pt x="1256" y="2691"/>
                            <a:pt x="1256" y="2691"/>
                            <a:pt x="1256" y="2632"/>
                          </a:cubicBezTo>
                          <a:cubicBezTo>
                            <a:pt x="1256" y="2572"/>
                            <a:pt x="1256" y="2632"/>
                            <a:pt x="1256" y="2572"/>
                          </a:cubicBezTo>
                          <a:cubicBezTo>
                            <a:pt x="1375" y="2333"/>
                            <a:pt x="1495" y="2093"/>
                            <a:pt x="1675" y="1854"/>
                          </a:cubicBezTo>
                          <a:cubicBezTo>
                            <a:pt x="1854" y="1615"/>
                            <a:pt x="2034" y="1435"/>
                            <a:pt x="2213" y="1316"/>
                          </a:cubicBezTo>
                          <a:cubicBezTo>
                            <a:pt x="2392" y="1196"/>
                            <a:pt x="2632" y="1076"/>
                            <a:pt x="2871" y="957"/>
                          </a:cubicBezTo>
                          <a:cubicBezTo>
                            <a:pt x="3110" y="837"/>
                            <a:pt x="3349" y="837"/>
                            <a:pt x="3529" y="897"/>
                          </a:cubicBezTo>
                          <a:cubicBezTo>
                            <a:pt x="3529" y="897"/>
                            <a:pt x="3589" y="897"/>
                            <a:pt x="3589" y="897"/>
                          </a:cubicBezTo>
                          <a:cubicBezTo>
                            <a:pt x="3589" y="897"/>
                            <a:pt x="3648" y="897"/>
                            <a:pt x="3648" y="897"/>
                          </a:cubicBezTo>
                          <a:cubicBezTo>
                            <a:pt x="3648" y="897"/>
                            <a:pt x="3708" y="897"/>
                            <a:pt x="3708" y="897"/>
                          </a:cubicBezTo>
                          <a:cubicBezTo>
                            <a:pt x="3708" y="897"/>
                            <a:pt x="3768" y="897"/>
                            <a:pt x="3768" y="897"/>
                          </a:cubicBezTo>
                          <a:cubicBezTo>
                            <a:pt x="3828" y="897"/>
                            <a:pt x="3888" y="957"/>
                            <a:pt x="3947" y="957"/>
                          </a:cubicBezTo>
                          <a:cubicBezTo>
                            <a:pt x="4007" y="957"/>
                            <a:pt x="4067" y="1017"/>
                            <a:pt x="4067" y="1017"/>
                          </a:cubicBezTo>
                          <a:cubicBezTo>
                            <a:pt x="4127" y="1017"/>
                            <a:pt x="4187" y="1076"/>
                            <a:pt x="4187" y="1076"/>
                          </a:cubicBezTo>
                          <a:cubicBezTo>
                            <a:pt x="4246" y="1256"/>
                            <a:pt x="4306" y="1316"/>
                            <a:pt x="4366" y="1375"/>
                          </a:cubicBezTo>
                          <a:moveTo>
                            <a:pt x="897" y="5741"/>
                          </a:moveTo>
                          <a:cubicBezTo>
                            <a:pt x="957" y="5801"/>
                            <a:pt x="1017" y="5861"/>
                            <a:pt x="1076" y="5921"/>
                          </a:cubicBezTo>
                          <a:cubicBezTo>
                            <a:pt x="1136" y="5981"/>
                            <a:pt x="1196" y="5981"/>
                            <a:pt x="1256" y="6041"/>
                          </a:cubicBezTo>
                          <a:cubicBezTo>
                            <a:pt x="1316" y="6100"/>
                            <a:pt x="1375" y="6100"/>
                            <a:pt x="1495" y="6160"/>
                          </a:cubicBezTo>
                          <a:cubicBezTo>
                            <a:pt x="1555" y="6160"/>
                            <a:pt x="1675" y="6220"/>
                            <a:pt x="1734" y="6220"/>
                          </a:cubicBezTo>
                          <a:cubicBezTo>
                            <a:pt x="1914" y="6280"/>
                            <a:pt x="2093" y="6280"/>
                            <a:pt x="2273" y="6280"/>
                          </a:cubicBezTo>
                          <a:cubicBezTo>
                            <a:pt x="2452" y="6280"/>
                            <a:pt x="2632" y="6280"/>
                            <a:pt x="2811" y="6220"/>
                          </a:cubicBezTo>
                          <a:cubicBezTo>
                            <a:pt x="2990" y="6160"/>
                            <a:pt x="3170" y="6100"/>
                            <a:pt x="3349" y="6041"/>
                          </a:cubicBezTo>
                          <a:cubicBezTo>
                            <a:pt x="3529" y="5981"/>
                            <a:pt x="3708" y="5861"/>
                            <a:pt x="3888" y="5741"/>
                          </a:cubicBezTo>
                          <a:cubicBezTo>
                            <a:pt x="4067" y="5622"/>
                            <a:pt x="4246" y="5502"/>
                            <a:pt x="4366" y="5382"/>
                          </a:cubicBezTo>
                          <a:cubicBezTo>
                            <a:pt x="4545" y="5263"/>
                            <a:pt x="4665" y="5083"/>
                            <a:pt x="4785" y="4904"/>
                          </a:cubicBezTo>
                          <a:cubicBezTo>
                            <a:pt x="4904" y="4725"/>
                            <a:pt x="5024" y="4545"/>
                            <a:pt x="5143" y="4366"/>
                          </a:cubicBezTo>
                          <a:cubicBezTo>
                            <a:pt x="5263" y="4187"/>
                            <a:pt x="5323" y="3947"/>
                            <a:pt x="5443" y="3768"/>
                          </a:cubicBezTo>
                          <a:cubicBezTo>
                            <a:pt x="5562" y="3469"/>
                            <a:pt x="5622" y="3110"/>
                            <a:pt x="5682" y="2811"/>
                          </a:cubicBezTo>
                          <a:cubicBezTo>
                            <a:pt x="5742" y="2512"/>
                            <a:pt x="5742" y="2213"/>
                            <a:pt x="5682" y="1914"/>
                          </a:cubicBezTo>
                          <a:cubicBezTo>
                            <a:pt x="5622" y="1615"/>
                            <a:pt x="5562" y="1375"/>
                            <a:pt x="5443" y="1136"/>
                          </a:cubicBezTo>
                          <a:cubicBezTo>
                            <a:pt x="5323" y="897"/>
                            <a:pt x="5203" y="718"/>
                            <a:pt x="4964" y="538"/>
                          </a:cubicBezTo>
                          <a:cubicBezTo>
                            <a:pt x="4964" y="538"/>
                            <a:pt x="4904" y="479"/>
                            <a:pt x="4844" y="479"/>
                          </a:cubicBezTo>
                          <a:cubicBezTo>
                            <a:pt x="4785" y="479"/>
                            <a:pt x="4785" y="419"/>
                            <a:pt x="4725" y="419"/>
                          </a:cubicBezTo>
                          <a:cubicBezTo>
                            <a:pt x="4665" y="419"/>
                            <a:pt x="4665" y="359"/>
                            <a:pt x="4605" y="359"/>
                          </a:cubicBezTo>
                          <a:cubicBezTo>
                            <a:pt x="4545" y="359"/>
                            <a:pt x="4545" y="299"/>
                            <a:pt x="4486" y="299"/>
                          </a:cubicBezTo>
                          <a:cubicBezTo>
                            <a:pt x="4426" y="299"/>
                            <a:pt x="4426" y="239"/>
                            <a:pt x="4366" y="239"/>
                          </a:cubicBezTo>
                          <a:cubicBezTo>
                            <a:pt x="4306" y="239"/>
                            <a:pt x="4306" y="179"/>
                            <a:pt x="4246" y="179"/>
                          </a:cubicBezTo>
                          <a:cubicBezTo>
                            <a:pt x="4187" y="179"/>
                            <a:pt x="4187" y="179"/>
                            <a:pt x="4127" y="120"/>
                          </a:cubicBezTo>
                          <a:cubicBezTo>
                            <a:pt x="4067" y="120"/>
                            <a:pt x="4067" y="120"/>
                            <a:pt x="4007" y="60"/>
                          </a:cubicBezTo>
                          <a:cubicBezTo>
                            <a:pt x="3947" y="60"/>
                            <a:pt x="3888" y="60"/>
                            <a:pt x="3828" y="0"/>
                          </a:cubicBezTo>
                          <a:cubicBezTo>
                            <a:pt x="3768" y="0"/>
                            <a:pt x="3708" y="0"/>
                            <a:pt x="3648" y="0"/>
                          </a:cubicBezTo>
                          <a:cubicBezTo>
                            <a:pt x="3589" y="0"/>
                            <a:pt x="3529" y="0"/>
                            <a:pt x="3469" y="0"/>
                          </a:cubicBezTo>
                          <a:cubicBezTo>
                            <a:pt x="3409" y="0"/>
                            <a:pt x="3349" y="0"/>
                            <a:pt x="3289" y="0"/>
                          </a:cubicBezTo>
                          <a:cubicBezTo>
                            <a:pt x="3170" y="0"/>
                            <a:pt x="3050" y="0"/>
                            <a:pt x="2930" y="60"/>
                          </a:cubicBezTo>
                          <a:cubicBezTo>
                            <a:pt x="2811" y="60"/>
                            <a:pt x="2691" y="120"/>
                            <a:pt x="2572" y="179"/>
                          </a:cubicBezTo>
                          <a:cubicBezTo>
                            <a:pt x="2452" y="239"/>
                            <a:pt x="2333" y="299"/>
                            <a:pt x="2213" y="359"/>
                          </a:cubicBezTo>
                          <a:cubicBezTo>
                            <a:pt x="2093" y="419"/>
                            <a:pt x="1974" y="479"/>
                            <a:pt x="1854" y="538"/>
                          </a:cubicBezTo>
                          <a:cubicBezTo>
                            <a:pt x="1675" y="658"/>
                            <a:pt x="1555" y="778"/>
                            <a:pt x="1375" y="897"/>
                          </a:cubicBezTo>
                          <a:cubicBezTo>
                            <a:pt x="1196" y="1017"/>
                            <a:pt x="1076" y="1136"/>
                            <a:pt x="957" y="1316"/>
                          </a:cubicBezTo>
                          <a:cubicBezTo>
                            <a:pt x="837" y="1435"/>
                            <a:pt x="718" y="1615"/>
                            <a:pt x="598" y="1794"/>
                          </a:cubicBezTo>
                          <a:cubicBezTo>
                            <a:pt x="479" y="1974"/>
                            <a:pt x="419" y="2153"/>
                            <a:pt x="299" y="2273"/>
                          </a:cubicBezTo>
                          <a:cubicBezTo>
                            <a:pt x="299" y="2273"/>
                            <a:pt x="299" y="2333"/>
                            <a:pt x="299" y="2333"/>
                          </a:cubicBezTo>
                          <a:cubicBezTo>
                            <a:pt x="299" y="2333"/>
                            <a:pt x="299" y="2392"/>
                            <a:pt x="299" y="2392"/>
                          </a:cubicBezTo>
                          <a:cubicBezTo>
                            <a:pt x="299" y="2392"/>
                            <a:pt x="299" y="2452"/>
                            <a:pt x="299" y="2452"/>
                          </a:cubicBezTo>
                          <a:cubicBezTo>
                            <a:pt x="299" y="2452"/>
                            <a:pt x="299" y="2512"/>
                            <a:pt x="299" y="2512"/>
                          </a:cubicBezTo>
                          <a:cubicBezTo>
                            <a:pt x="239" y="2632"/>
                            <a:pt x="239" y="2691"/>
                            <a:pt x="180" y="2811"/>
                          </a:cubicBezTo>
                          <a:cubicBezTo>
                            <a:pt x="120" y="2930"/>
                            <a:pt x="120" y="2990"/>
                            <a:pt x="120" y="3110"/>
                          </a:cubicBezTo>
                          <a:cubicBezTo>
                            <a:pt x="120" y="3229"/>
                            <a:pt x="60" y="3289"/>
                            <a:pt x="60" y="3409"/>
                          </a:cubicBezTo>
                          <a:cubicBezTo>
                            <a:pt x="60" y="3528"/>
                            <a:pt x="60" y="3588"/>
                            <a:pt x="0" y="3708"/>
                          </a:cubicBezTo>
                          <a:cubicBezTo>
                            <a:pt x="0" y="3947"/>
                            <a:pt x="0" y="4127"/>
                            <a:pt x="0" y="4366"/>
                          </a:cubicBezTo>
                          <a:cubicBezTo>
                            <a:pt x="0" y="4545"/>
                            <a:pt x="60" y="4785"/>
                            <a:pt x="120" y="4964"/>
                          </a:cubicBezTo>
                          <a:cubicBezTo>
                            <a:pt x="180" y="5143"/>
                            <a:pt x="239" y="5323"/>
                            <a:pt x="359" y="5442"/>
                          </a:cubicBezTo>
                          <a:cubicBezTo>
                            <a:pt x="658" y="5442"/>
                            <a:pt x="778" y="5622"/>
                            <a:pt x="897" y="5741"/>
                          </a:cubicBezTo>
                        </a:path>
                      </a:pathLst>
                    </a:custGeom>
                    <a:noFill/>
                    <a:ln w="6350" cap="flat">
                      <a:solidFill>
                        <a:schemeClr val="bg1">
                          <a:alpha val="80000"/>
                        </a:schemeClr>
                      </a:solidFill>
                      <a:prstDash val="solid"/>
                      <a:miter/>
                    </a:ln>
                  </p:spPr>
                  <p:txBody>
                    <a:bodyPr rtlCol="0" anchor="ctr"/>
                    <a:lstStyle/>
                    <a:p>
                      <a:endParaRPr lang="en-GB"/>
                    </a:p>
                  </p:txBody>
                </p:sp>
                <p:sp>
                  <p:nvSpPr>
                    <p:cNvPr id="7503" name="Vrije vorm: vorm 7502">
                      <a:extLst>
                        <a:ext uri="{FF2B5EF4-FFF2-40B4-BE49-F238E27FC236}">
                          <a16:creationId xmlns:a16="http://schemas.microsoft.com/office/drawing/2014/main" id="{59CA0FEA-8D09-492A-8A93-D5D6BB871BBE}"/>
                        </a:ext>
                      </a:extLst>
                    </p:cNvPr>
                    <p:cNvSpPr/>
                    <p:nvPr/>
                  </p:nvSpPr>
                  <p:spPr>
                    <a:xfrm>
                      <a:off x="5309884" y="5140650"/>
                      <a:ext cx="5562" cy="6279"/>
                    </a:xfrm>
                    <a:custGeom>
                      <a:avLst/>
                      <a:gdLst>
                        <a:gd name="connsiteX0" fmla="*/ 4187 w 5562"/>
                        <a:gd name="connsiteY0" fmla="*/ 1435 h 6279"/>
                        <a:gd name="connsiteX1" fmla="*/ 4306 w 5562"/>
                        <a:gd name="connsiteY1" fmla="*/ 1555 h 6279"/>
                        <a:gd name="connsiteX2" fmla="*/ 4426 w 5562"/>
                        <a:gd name="connsiteY2" fmla="*/ 1674 h 6279"/>
                        <a:gd name="connsiteX3" fmla="*/ 4545 w 5562"/>
                        <a:gd name="connsiteY3" fmla="*/ 1854 h 6279"/>
                        <a:gd name="connsiteX4" fmla="*/ 4605 w 5562"/>
                        <a:gd name="connsiteY4" fmla="*/ 2033 h 6279"/>
                        <a:gd name="connsiteX5" fmla="*/ 4665 w 5562"/>
                        <a:gd name="connsiteY5" fmla="*/ 2392 h 6279"/>
                        <a:gd name="connsiteX6" fmla="*/ 4665 w 5562"/>
                        <a:gd name="connsiteY6" fmla="*/ 2811 h 6279"/>
                        <a:gd name="connsiteX7" fmla="*/ 4605 w 5562"/>
                        <a:gd name="connsiteY7" fmla="*/ 3229 h 6279"/>
                        <a:gd name="connsiteX8" fmla="*/ 4486 w 5562"/>
                        <a:gd name="connsiteY8" fmla="*/ 3648 h 6279"/>
                        <a:gd name="connsiteX9" fmla="*/ 4306 w 5562"/>
                        <a:gd name="connsiteY9" fmla="*/ 4067 h 6279"/>
                        <a:gd name="connsiteX10" fmla="*/ 4067 w 5562"/>
                        <a:gd name="connsiteY10" fmla="*/ 4426 h 6279"/>
                        <a:gd name="connsiteX11" fmla="*/ 3768 w 5562"/>
                        <a:gd name="connsiteY11" fmla="*/ 4725 h 6279"/>
                        <a:gd name="connsiteX12" fmla="*/ 3409 w 5562"/>
                        <a:gd name="connsiteY12" fmla="*/ 4964 h 6279"/>
                        <a:gd name="connsiteX13" fmla="*/ 3050 w 5562"/>
                        <a:gd name="connsiteY13" fmla="*/ 5143 h 6279"/>
                        <a:gd name="connsiteX14" fmla="*/ 2691 w 5562"/>
                        <a:gd name="connsiteY14" fmla="*/ 5263 h 6279"/>
                        <a:gd name="connsiteX15" fmla="*/ 2333 w 5562"/>
                        <a:gd name="connsiteY15" fmla="*/ 5323 h 6279"/>
                        <a:gd name="connsiteX16" fmla="*/ 1974 w 5562"/>
                        <a:gd name="connsiteY16" fmla="*/ 5263 h 6279"/>
                        <a:gd name="connsiteX17" fmla="*/ 1435 w 5562"/>
                        <a:gd name="connsiteY17" fmla="*/ 4964 h 6279"/>
                        <a:gd name="connsiteX18" fmla="*/ 1076 w 5562"/>
                        <a:gd name="connsiteY18" fmla="*/ 4366 h 6279"/>
                        <a:gd name="connsiteX19" fmla="*/ 957 w 5562"/>
                        <a:gd name="connsiteY19" fmla="*/ 4007 h 6279"/>
                        <a:gd name="connsiteX20" fmla="*/ 957 w 5562"/>
                        <a:gd name="connsiteY20" fmla="*/ 3588 h 6279"/>
                        <a:gd name="connsiteX21" fmla="*/ 1017 w 5562"/>
                        <a:gd name="connsiteY21" fmla="*/ 3170 h 6279"/>
                        <a:gd name="connsiteX22" fmla="*/ 1136 w 5562"/>
                        <a:gd name="connsiteY22" fmla="*/ 2751 h 6279"/>
                        <a:gd name="connsiteX23" fmla="*/ 1316 w 5562"/>
                        <a:gd name="connsiteY23" fmla="*/ 2333 h 6279"/>
                        <a:gd name="connsiteX24" fmla="*/ 1555 w 5562"/>
                        <a:gd name="connsiteY24" fmla="*/ 1973 h 6279"/>
                        <a:gd name="connsiteX25" fmla="*/ 1854 w 5562"/>
                        <a:gd name="connsiteY25" fmla="*/ 1674 h 6279"/>
                        <a:gd name="connsiteX26" fmla="*/ 2213 w 5562"/>
                        <a:gd name="connsiteY26" fmla="*/ 1435 h 6279"/>
                        <a:gd name="connsiteX27" fmla="*/ 2572 w 5562"/>
                        <a:gd name="connsiteY27" fmla="*/ 1256 h 6279"/>
                        <a:gd name="connsiteX28" fmla="*/ 2930 w 5562"/>
                        <a:gd name="connsiteY28" fmla="*/ 1136 h 6279"/>
                        <a:gd name="connsiteX29" fmla="*/ 3289 w 5562"/>
                        <a:gd name="connsiteY29" fmla="*/ 1076 h 6279"/>
                        <a:gd name="connsiteX30" fmla="*/ 3648 w 5562"/>
                        <a:gd name="connsiteY30" fmla="*/ 1136 h 6279"/>
                        <a:gd name="connsiteX31" fmla="*/ 3828 w 5562"/>
                        <a:gd name="connsiteY31" fmla="*/ 1196 h 6279"/>
                        <a:gd name="connsiteX32" fmla="*/ 3947 w 5562"/>
                        <a:gd name="connsiteY32" fmla="*/ 1256 h 6279"/>
                        <a:gd name="connsiteX33" fmla="*/ 4067 w 5562"/>
                        <a:gd name="connsiteY33" fmla="*/ 1316 h 6279"/>
                        <a:gd name="connsiteX34" fmla="*/ 4187 w 5562"/>
                        <a:gd name="connsiteY34" fmla="*/ 1435 h 6279"/>
                        <a:gd name="connsiteX35" fmla="*/ 778 w 5562"/>
                        <a:gd name="connsiteY35" fmla="*/ 5801 h 6279"/>
                        <a:gd name="connsiteX36" fmla="*/ 957 w 5562"/>
                        <a:gd name="connsiteY36" fmla="*/ 5921 h 6279"/>
                        <a:gd name="connsiteX37" fmla="*/ 1136 w 5562"/>
                        <a:gd name="connsiteY37" fmla="*/ 6041 h 6279"/>
                        <a:gd name="connsiteX38" fmla="*/ 1375 w 5562"/>
                        <a:gd name="connsiteY38" fmla="*/ 6160 h 6279"/>
                        <a:gd name="connsiteX39" fmla="*/ 1615 w 5562"/>
                        <a:gd name="connsiteY39" fmla="*/ 6220 h 6279"/>
                        <a:gd name="connsiteX40" fmla="*/ 2153 w 5562"/>
                        <a:gd name="connsiteY40" fmla="*/ 6280 h 6279"/>
                        <a:gd name="connsiteX41" fmla="*/ 2691 w 5562"/>
                        <a:gd name="connsiteY41" fmla="*/ 6220 h 6279"/>
                        <a:gd name="connsiteX42" fmla="*/ 3229 w 5562"/>
                        <a:gd name="connsiteY42" fmla="*/ 6041 h 6279"/>
                        <a:gd name="connsiteX43" fmla="*/ 3768 w 5562"/>
                        <a:gd name="connsiteY43" fmla="*/ 5741 h 6279"/>
                        <a:gd name="connsiteX44" fmla="*/ 4246 w 5562"/>
                        <a:gd name="connsiteY44" fmla="*/ 5382 h 6279"/>
                        <a:gd name="connsiteX45" fmla="*/ 4665 w 5562"/>
                        <a:gd name="connsiteY45" fmla="*/ 4904 h 6279"/>
                        <a:gd name="connsiteX46" fmla="*/ 5024 w 5562"/>
                        <a:gd name="connsiteY46" fmla="*/ 4366 h 6279"/>
                        <a:gd name="connsiteX47" fmla="*/ 5323 w 5562"/>
                        <a:gd name="connsiteY47" fmla="*/ 3768 h 6279"/>
                        <a:gd name="connsiteX48" fmla="*/ 5502 w 5562"/>
                        <a:gd name="connsiteY48" fmla="*/ 3170 h 6279"/>
                        <a:gd name="connsiteX49" fmla="*/ 5562 w 5562"/>
                        <a:gd name="connsiteY49" fmla="*/ 2572 h 6279"/>
                        <a:gd name="connsiteX50" fmla="*/ 5562 w 5562"/>
                        <a:gd name="connsiteY50" fmla="*/ 1973 h 6279"/>
                        <a:gd name="connsiteX51" fmla="*/ 5442 w 5562"/>
                        <a:gd name="connsiteY51" fmla="*/ 1435 h 6279"/>
                        <a:gd name="connsiteX52" fmla="*/ 5323 w 5562"/>
                        <a:gd name="connsiteY52" fmla="*/ 1196 h 6279"/>
                        <a:gd name="connsiteX53" fmla="*/ 5203 w 5562"/>
                        <a:gd name="connsiteY53" fmla="*/ 957 h 6279"/>
                        <a:gd name="connsiteX54" fmla="*/ 5024 w 5562"/>
                        <a:gd name="connsiteY54" fmla="*/ 778 h 6279"/>
                        <a:gd name="connsiteX55" fmla="*/ 4844 w 5562"/>
                        <a:gd name="connsiteY55" fmla="*/ 598 h 6279"/>
                        <a:gd name="connsiteX56" fmla="*/ 4665 w 5562"/>
                        <a:gd name="connsiteY56" fmla="*/ 419 h 6279"/>
                        <a:gd name="connsiteX57" fmla="*/ 4486 w 5562"/>
                        <a:gd name="connsiteY57" fmla="*/ 299 h 6279"/>
                        <a:gd name="connsiteX58" fmla="*/ 4246 w 5562"/>
                        <a:gd name="connsiteY58" fmla="*/ 179 h 6279"/>
                        <a:gd name="connsiteX59" fmla="*/ 4007 w 5562"/>
                        <a:gd name="connsiteY59" fmla="*/ 60 h 6279"/>
                        <a:gd name="connsiteX60" fmla="*/ 3469 w 5562"/>
                        <a:gd name="connsiteY60" fmla="*/ 0 h 6279"/>
                        <a:gd name="connsiteX61" fmla="*/ 2930 w 5562"/>
                        <a:gd name="connsiteY61" fmla="*/ 60 h 6279"/>
                        <a:gd name="connsiteX62" fmla="*/ 2392 w 5562"/>
                        <a:gd name="connsiteY62" fmla="*/ 239 h 6279"/>
                        <a:gd name="connsiteX63" fmla="*/ 1854 w 5562"/>
                        <a:gd name="connsiteY63" fmla="*/ 538 h 6279"/>
                        <a:gd name="connsiteX64" fmla="*/ 1316 w 5562"/>
                        <a:gd name="connsiteY64" fmla="*/ 957 h 6279"/>
                        <a:gd name="connsiteX65" fmla="*/ 897 w 5562"/>
                        <a:gd name="connsiteY65" fmla="*/ 1435 h 6279"/>
                        <a:gd name="connsiteX66" fmla="*/ 538 w 5562"/>
                        <a:gd name="connsiteY66" fmla="*/ 1973 h 6279"/>
                        <a:gd name="connsiteX67" fmla="*/ 239 w 5562"/>
                        <a:gd name="connsiteY67" fmla="*/ 2572 h 6279"/>
                        <a:gd name="connsiteX68" fmla="*/ 60 w 5562"/>
                        <a:gd name="connsiteY68" fmla="*/ 3170 h 6279"/>
                        <a:gd name="connsiteX69" fmla="*/ 0 w 5562"/>
                        <a:gd name="connsiteY69" fmla="*/ 3768 h 6279"/>
                        <a:gd name="connsiteX70" fmla="*/ 0 w 5562"/>
                        <a:gd name="connsiteY70" fmla="*/ 4366 h 6279"/>
                        <a:gd name="connsiteX71" fmla="*/ 120 w 5562"/>
                        <a:gd name="connsiteY71" fmla="*/ 4904 h 6279"/>
                        <a:gd name="connsiteX72" fmla="*/ 239 w 5562"/>
                        <a:gd name="connsiteY72" fmla="*/ 5143 h 6279"/>
                        <a:gd name="connsiteX73" fmla="*/ 359 w 5562"/>
                        <a:gd name="connsiteY73" fmla="*/ 5382 h 6279"/>
                        <a:gd name="connsiteX74" fmla="*/ 538 w 5562"/>
                        <a:gd name="connsiteY74" fmla="*/ 5622 h 6279"/>
                        <a:gd name="connsiteX75" fmla="*/ 778 w 5562"/>
                        <a:gd name="connsiteY75" fmla="*/ 580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562" h="6279">
                          <a:moveTo>
                            <a:pt x="4187" y="1435"/>
                          </a:moveTo>
                          <a:cubicBezTo>
                            <a:pt x="4246" y="1495"/>
                            <a:pt x="4246" y="1495"/>
                            <a:pt x="4306" y="1555"/>
                          </a:cubicBezTo>
                          <a:cubicBezTo>
                            <a:pt x="4366" y="1615"/>
                            <a:pt x="4366" y="1674"/>
                            <a:pt x="4426" y="1674"/>
                          </a:cubicBezTo>
                          <a:cubicBezTo>
                            <a:pt x="4486" y="1734"/>
                            <a:pt x="4486" y="1794"/>
                            <a:pt x="4545" y="1854"/>
                          </a:cubicBezTo>
                          <a:cubicBezTo>
                            <a:pt x="4545" y="1914"/>
                            <a:pt x="4605" y="1973"/>
                            <a:pt x="4605" y="2033"/>
                          </a:cubicBezTo>
                          <a:cubicBezTo>
                            <a:pt x="4665" y="2153"/>
                            <a:pt x="4665" y="2273"/>
                            <a:pt x="4665" y="2392"/>
                          </a:cubicBezTo>
                          <a:cubicBezTo>
                            <a:pt x="4665" y="2512"/>
                            <a:pt x="4665" y="2632"/>
                            <a:pt x="4665" y="2811"/>
                          </a:cubicBezTo>
                          <a:cubicBezTo>
                            <a:pt x="4665" y="2930"/>
                            <a:pt x="4665" y="3050"/>
                            <a:pt x="4605" y="3229"/>
                          </a:cubicBezTo>
                          <a:cubicBezTo>
                            <a:pt x="4605" y="3349"/>
                            <a:pt x="4545" y="3469"/>
                            <a:pt x="4486" y="3648"/>
                          </a:cubicBezTo>
                          <a:cubicBezTo>
                            <a:pt x="4426" y="3768"/>
                            <a:pt x="4366" y="3947"/>
                            <a:pt x="4306" y="4067"/>
                          </a:cubicBezTo>
                          <a:cubicBezTo>
                            <a:pt x="4246" y="4187"/>
                            <a:pt x="4127" y="4306"/>
                            <a:pt x="4067" y="4426"/>
                          </a:cubicBezTo>
                          <a:cubicBezTo>
                            <a:pt x="4007" y="4545"/>
                            <a:pt x="3888" y="4665"/>
                            <a:pt x="3768" y="4725"/>
                          </a:cubicBezTo>
                          <a:cubicBezTo>
                            <a:pt x="3648" y="4844"/>
                            <a:pt x="3528" y="4904"/>
                            <a:pt x="3409" y="4964"/>
                          </a:cubicBezTo>
                          <a:cubicBezTo>
                            <a:pt x="3289" y="5024"/>
                            <a:pt x="3170" y="5083"/>
                            <a:pt x="3050" y="5143"/>
                          </a:cubicBezTo>
                          <a:cubicBezTo>
                            <a:pt x="2930" y="5203"/>
                            <a:pt x="2811" y="5203"/>
                            <a:pt x="2691" y="5263"/>
                          </a:cubicBezTo>
                          <a:cubicBezTo>
                            <a:pt x="2572" y="5263"/>
                            <a:pt x="2452" y="5323"/>
                            <a:pt x="2333" y="5323"/>
                          </a:cubicBezTo>
                          <a:cubicBezTo>
                            <a:pt x="2213" y="5323"/>
                            <a:pt x="2093" y="5323"/>
                            <a:pt x="1974" y="5263"/>
                          </a:cubicBezTo>
                          <a:lnTo>
                            <a:pt x="1435" y="4964"/>
                          </a:lnTo>
                          <a:lnTo>
                            <a:pt x="1076" y="4366"/>
                          </a:lnTo>
                          <a:cubicBezTo>
                            <a:pt x="1017" y="4246"/>
                            <a:pt x="1017" y="4127"/>
                            <a:pt x="957" y="4007"/>
                          </a:cubicBezTo>
                          <a:cubicBezTo>
                            <a:pt x="957" y="3887"/>
                            <a:pt x="957" y="3768"/>
                            <a:pt x="957" y="3588"/>
                          </a:cubicBezTo>
                          <a:cubicBezTo>
                            <a:pt x="957" y="3409"/>
                            <a:pt x="957" y="3349"/>
                            <a:pt x="1017" y="3170"/>
                          </a:cubicBezTo>
                          <a:cubicBezTo>
                            <a:pt x="1017" y="3050"/>
                            <a:pt x="1076" y="2871"/>
                            <a:pt x="1136" y="2751"/>
                          </a:cubicBezTo>
                          <a:cubicBezTo>
                            <a:pt x="1196" y="2632"/>
                            <a:pt x="1256" y="2452"/>
                            <a:pt x="1316" y="2333"/>
                          </a:cubicBezTo>
                          <a:cubicBezTo>
                            <a:pt x="1375" y="2213"/>
                            <a:pt x="1495" y="2093"/>
                            <a:pt x="1555" y="1973"/>
                          </a:cubicBezTo>
                          <a:cubicBezTo>
                            <a:pt x="1674" y="1854"/>
                            <a:pt x="1734" y="1734"/>
                            <a:pt x="1854" y="1674"/>
                          </a:cubicBezTo>
                          <a:cubicBezTo>
                            <a:pt x="1974" y="1555"/>
                            <a:pt x="2093" y="1495"/>
                            <a:pt x="2213" y="1435"/>
                          </a:cubicBezTo>
                          <a:cubicBezTo>
                            <a:pt x="2333" y="1375"/>
                            <a:pt x="2452" y="1316"/>
                            <a:pt x="2572" y="1256"/>
                          </a:cubicBezTo>
                          <a:cubicBezTo>
                            <a:pt x="2691" y="1196"/>
                            <a:pt x="2811" y="1136"/>
                            <a:pt x="2930" y="1136"/>
                          </a:cubicBezTo>
                          <a:cubicBezTo>
                            <a:pt x="3050" y="1136"/>
                            <a:pt x="3170" y="1076"/>
                            <a:pt x="3289" y="1076"/>
                          </a:cubicBezTo>
                          <a:cubicBezTo>
                            <a:pt x="3409" y="1076"/>
                            <a:pt x="3528" y="1076"/>
                            <a:pt x="3648" y="1136"/>
                          </a:cubicBezTo>
                          <a:cubicBezTo>
                            <a:pt x="3708" y="1136"/>
                            <a:pt x="3768" y="1196"/>
                            <a:pt x="3828" y="1196"/>
                          </a:cubicBezTo>
                          <a:cubicBezTo>
                            <a:pt x="3888" y="1196"/>
                            <a:pt x="3947" y="1256"/>
                            <a:pt x="3947" y="1256"/>
                          </a:cubicBezTo>
                          <a:cubicBezTo>
                            <a:pt x="4007" y="1256"/>
                            <a:pt x="4067" y="1316"/>
                            <a:pt x="4067" y="1316"/>
                          </a:cubicBezTo>
                          <a:cubicBezTo>
                            <a:pt x="4067" y="1316"/>
                            <a:pt x="4127" y="1375"/>
                            <a:pt x="4187" y="1435"/>
                          </a:cubicBezTo>
                          <a:moveTo>
                            <a:pt x="778" y="5801"/>
                          </a:moveTo>
                          <a:cubicBezTo>
                            <a:pt x="837" y="5861"/>
                            <a:pt x="897" y="5921"/>
                            <a:pt x="957" y="5921"/>
                          </a:cubicBezTo>
                          <a:cubicBezTo>
                            <a:pt x="1017" y="5921"/>
                            <a:pt x="1076" y="5981"/>
                            <a:pt x="1136" y="6041"/>
                          </a:cubicBezTo>
                          <a:cubicBezTo>
                            <a:pt x="1196" y="6100"/>
                            <a:pt x="1256" y="6100"/>
                            <a:pt x="1375" y="6160"/>
                          </a:cubicBezTo>
                          <a:cubicBezTo>
                            <a:pt x="1435" y="6160"/>
                            <a:pt x="1495" y="6220"/>
                            <a:pt x="1615" y="6220"/>
                          </a:cubicBezTo>
                          <a:cubicBezTo>
                            <a:pt x="1794" y="6280"/>
                            <a:pt x="1974" y="6280"/>
                            <a:pt x="2153" y="6280"/>
                          </a:cubicBezTo>
                          <a:cubicBezTo>
                            <a:pt x="2333" y="6280"/>
                            <a:pt x="2512" y="6280"/>
                            <a:pt x="2691" y="6220"/>
                          </a:cubicBezTo>
                          <a:cubicBezTo>
                            <a:pt x="2871" y="6160"/>
                            <a:pt x="3050" y="6100"/>
                            <a:pt x="3229" y="6041"/>
                          </a:cubicBezTo>
                          <a:cubicBezTo>
                            <a:pt x="3409" y="5981"/>
                            <a:pt x="3588" y="5861"/>
                            <a:pt x="3768" y="5741"/>
                          </a:cubicBezTo>
                          <a:cubicBezTo>
                            <a:pt x="3947" y="5622"/>
                            <a:pt x="4127" y="5502"/>
                            <a:pt x="4246" y="5382"/>
                          </a:cubicBezTo>
                          <a:cubicBezTo>
                            <a:pt x="4366" y="5263"/>
                            <a:pt x="4545" y="5083"/>
                            <a:pt x="4665" y="4904"/>
                          </a:cubicBezTo>
                          <a:cubicBezTo>
                            <a:pt x="4785" y="4725"/>
                            <a:pt x="4904" y="4545"/>
                            <a:pt x="5024" y="4366"/>
                          </a:cubicBezTo>
                          <a:cubicBezTo>
                            <a:pt x="5143" y="4187"/>
                            <a:pt x="5203" y="4007"/>
                            <a:pt x="5323" y="3768"/>
                          </a:cubicBezTo>
                          <a:cubicBezTo>
                            <a:pt x="5383" y="3588"/>
                            <a:pt x="5442" y="3349"/>
                            <a:pt x="5502" y="3170"/>
                          </a:cubicBezTo>
                          <a:cubicBezTo>
                            <a:pt x="5562" y="2990"/>
                            <a:pt x="5562" y="2751"/>
                            <a:pt x="5562" y="2572"/>
                          </a:cubicBezTo>
                          <a:cubicBezTo>
                            <a:pt x="5562" y="2392"/>
                            <a:pt x="5562" y="2153"/>
                            <a:pt x="5562" y="1973"/>
                          </a:cubicBezTo>
                          <a:cubicBezTo>
                            <a:pt x="5562" y="1794"/>
                            <a:pt x="5502" y="1615"/>
                            <a:pt x="5442" y="1435"/>
                          </a:cubicBezTo>
                          <a:cubicBezTo>
                            <a:pt x="5383" y="1375"/>
                            <a:pt x="5383" y="1256"/>
                            <a:pt x="5323" y="1196"/>
                          </a:cubicBezTo>
                          <a:cubicBezTo>
                            <a:pt x="5263" y="1136"/>
                            <a:pt x="5263" y="1017"/>
                            <a:pt x="5203" y="957"/>
                          </a:cubicBezTo>
                          <a:cubicBezTo>
                            <a:pt x="5143" y="897"/>
                            <a:pt x="5083" y="837"/>
                            <a:pt x="5024" y="778"/>
                          </a:cubicBezTo>
                          <a:cubicBezTo>
                            <a:pt x="4964" y="718"/>
                            <a:pt x="4904" y="658"/>
                            <a:pt x="4844" y="598"/>
                          </a:cubicBezTo>
                          <a:cubicBezTo>
                            <a:pt x="4785" y="538"/>
                            <a:pt x="4725" y="478"/>
                            <a:pt x="4665" y="419"/>
                          </a:cubicBezTo>
                          <a:cubicBezTo>
                            <a:pt x="4605" y="359"/>
                            <a:pt x="4545" y="299"/>
                            <a:pt x="4486" y="299"/>
                          </a:cubicBezTo>
                          <a:cubicBezTo>
                            <a:pt x="4426" y="239"/>
                            <a:pt x="4366" y="239"/>
                            <a:pt x="4246" y="179"/>
                          </a:cubicBezTo>
                          <a:cubicBezTo>
                            <a:pt x="4187" y="119"/>
                            <a:pt x="4127" y="119"/>
                            <a:pt x="4007" y="60"/>
                          </a:cubicBezTo>
                          <a:cubicBezTo>
                            <a:pt x="3828" y="0"/>
                            <a:pt x="3648" y="0"/>
                            <a:pt x="3469" y="0"/>
                          </a:cubicBezTo>
                          <a:cubicBezTo>
                            <a:pt x="3289" y="0"/>
                            <a:pt x="3110" y="0"/>
                            <a:pt x="2930" y="60"/>
                          </a:cubicBezTo>
                          <a:cubicBezTo>
                            <a:pt x="2751" y="119"/>
                            <a:pt x="2572" y="179"/>
                            <a:pt x="2392" y="239"/>
                          </a:cubicBezTo>
                          <a:cubicBezTo>
                            <a:pt x="2213" y="299"/>
                            <a:pt x="2033" y="419"/>
                            <a:pt x="1854" y="538"/>
                          </a:cubicBezTo>
                          <a:cubicBezTo>
                            <a:pt x="1674" y="658"/>
                            <a:pt x="1495" y="778"/>
                            <a:pt x="1316" y="957"/>
                          </a:cubicBezTo>
                          <a:cubicBezTo>
                            <a:pt x="1136" y="1076"/>
                            <a:pt x="1017" y="1256"/>
                            <a:pt x="897" y="1435"/>
                          </a:cubicBezTo>
                          <a:cubicBezTo>
                            <a:pt x="778" y="1615"/>
                            <a:pt x="658" y="1794"/>
                            <a:pt x="538" y="1973"/>
                          </a:cubicBezTo>
                          <a:cubicBezTo>
                            <a:pt x="419" y="2153"/>
                            <a:pt x="359" y="2392"/>
                            <a:pt x="239" y="2572"/>
                          </a:cubicBezTo>
                          <a:cubicBezTo>
                            <a:pt x="179" y="2751"/>
                            <a:pt x="120" y="2990"/>
                            <a:pt x="60" y="3170"/>
                          </a:cubicBezTo>
                          <a:cubicBezTo>
                            <a:pt x="0" y="3349"/>
                            <a:pt x="0" y="3588"/>
                            <a:pt x="0" y="3768"/>
                          </a:cubicBezTo>
                          <a:cubicBezTo>
                            <a:pt x="0" y="3947"/>
                            <a:pt x="0" y="4187"/>
                            <a:pt x="0" y="4366"/>
                          </a:cubicBezTo>
                          <a:cubicBezTo>
                            <a:pt x="0" y="4545"/>
                            <a:pt x="60" y="4725"/>
                            <a:pt x="120" y="4904"/>
                          </a:cubicBezTo>
                          <a:cubicBezTo>
                            <a:pt x="179" y="5024"/>
                            <a:pt x="179" y="5083"/>
                            <a:pt x="239" y="5143"/>
                          </a:cubicBezTo>
                          <a:cubicBezTo>
                            <a:pt x="299" y="5203"/>
                            <a:pt x="359" y="5323"/>
                            <a:pt x="359" y="5382"/>
                          </a:cubicBezTo>
                          <a:cubicBezTo>
                            <a:pt x="419" y="5442"/>
                            <a:pt x="479" y="5502"/>
                            <a:pt x="538" y="5622"/>
                          </a:cubicBezTo>
                          <a:cubicBezTo>
                            <a:pt x="598" y="5682"/>
                            <a:pt x="658" y="5741"/>
                            <a:pt x="778" y="5801"/>
                          </a:cubicBezTo>
                        </a:path>
                      </a:pathLst>
                    </a:custGeom>
                    <a:noFill/>
                    <a:ln w="6350" cap="flat">
                      <a:solidFill>
                        <a:schemeClr val="bg1">
                          <a:alpha val="80000"/>
                        </a:schemeClr>
                      </a:solidFill>
                      <a:prstDash val="solid"/>
                      <a:miter/>
                    </a:ln>
                  </p:spPr>
                  <p:txBody>
                    <a:bodyPr rtlCol="0" anchor="ctr"/>
                    <a:lstStyle/>
                    <a:p>
                      <a:endParaRPr lang="en-GB"/>
                    </a:p>
                  </p:txBody>
                </p:sp>
                <p:sp>
                  <p:nvSpPr>
                    <p:cNvPr id="7504" name="Vrije vorm: vorm 7503">
                      <a:extLst>
                        <a:ext uri="{FF2B5EF4-FFF2-40B4-BE49-F238E27FC236}">
                          <a16:creationId xmlns:a16="http://schemas.microsoft.com/office/drawing/2014/main" id="{AC532D1B-56CA-4B71-B881-C08692586F64}"/>
                        </a:ext>
                      </a:extLst>
                    </p:cNvPr>
                    <p:cNvSpPr/>
                    <p:nvPr/>
                  </p:nvSpPr>
                  <p:spPr>
                    <a:xfrm>
                      <a:off x="5315865" y="5146212"/>
                      <a:ext cx="5502" cy="6219"/>
                    </a:xfrm>
                    <a:custGeom>
                      <a:avLst/>
                      <a:gdLst>
                        <a:gd name="connsiteX0" fmla="*/ 4127 w 5502"/>
                        <a:gd name="connsiteY0" fmla="*/ 1435 h 6219"/>
                        <a:gd name="connsiteX1" fmla="*/ 4426 w 5502"/>
                        <a:gd name="connsiteY1" fmla="*/ 1854 h 6219"/>
                        <a:gd name="connsiteX2" fmla="*/ 4605 w 5502"/>
                        <a:gd name="connsiteY2" fmla="*/ 2392 h 6219"/>
                        <a:gd name="connsiteX3" fmla="*/ 4605 w 5502"/>
                        <a:gd name="connsiteY3" fmla="*/ 2990 h 6219"/>
                        <a:gd name="connsiteX4" fmla="*/ 4426 w 5502"/>
                        <a:gd name="connsiteY4" fmla="*/ 3648 h 6219"/>
                        <a:gd name="connsiteX5" fmla="*/ 3947 w 5502"/>
                        <a:gd name="connsiteY5" fmla="*/ 4426 h 6219"/>
                        <a:gd name="connsiteX6" fmla="*/ 3349 w 5502"/>
                        <a:gd name="connsiteY6" fmla="*/ 4964 h 6219"/>
                        <a:gd name="connsiteX7" fmla="*/ 2632 w 5502"/>
                        <a:gd name="connsiteY7" fmla="*/ 5263 h 6219"/>
                        <a:gd name="connsiteX8" fmla="*/ 1914 w 5502"/>
                        <a:gd name="connsiteY8" fmla="*/ 5263 h 6219"/>
                        <a:gd name="connsiteX9" fmla="*/ 1316 w 5502"/>
                        <a:gd name="connsiteY9" fmla="*/ 4964 h 6219"/>
                        <a:gd name="connsiteX10" fmla="*/ 897 w 5502"/>
                        <a:gd name="connsiteY10" fmla="*/ 4366 h 6219"/>
                        <a:gd name="connsiteX11" fmla="*/ 837 w 5502"/>
                        <a:gd name="connsiteY11" fmla="*/ 4007 h 6219"/>
                        <a:gd name="connsiteX12" fmla="*/ 837 w 5502"/>
                        <a:gd name="connsiteY12" fmla="*/ 3588 h 6219"/>
                        <a:gd name="connsiteX13" fmla="*/ 897 w 5502"/>
                        <a:gd name="connsiteY13" fmla="*/ 3170 h 6219"/>
                        <a:gd name="connsiteX14" fmla="*/ 1017 w 5502"/>
                        <a:gd name="connsiteY14" fmla="*/ 2751 h 6219"/>
                        <a:gd name="connsiteX15" fmla="*/ 1435 w 5502"/>
                        <a:gd name="connsiteY15" fmla="*/ 1974 h 6219"/>
                        <a:gd name="connsiteX16" fmla="*/ 2033 w 5502"/>
                        <a:gd name="connsiteY16" fmla="*/ 1435 h 6219"/>
                        <a:gd name="connsiteX17" fmla="*/ 2751 w 5502"/>
                        <a:gd name="connsiteY17" fmla="*/ 1136 h 6219"/>
                        <a:gd name="connsiteX18" fmla="*/ 3469 w 5502"/>
                        <a:gd name="connsiteY18" fmla="*/ 1136 h 6219"/>
                        <a:gd name="connsiteX19" fmla="*/ 3648 w 5502"/>
                        <a:gd name="connsiteY19" fmla="*/ 1196 h 6219"/>
                        <a:gd name="connsiteX20" fmla="*/ 3768 w 5502"/>
                        <a:gd name="connsiteY20" fmla="*/ 1256 h 6219"/>
                        <a:gd name="connsiteX21" fmla="*/ 3888 w 5502"/>
                        <a:gd name="connsiteY21" fmla="*/ 1316 h 6219"/>
                        <a:gd name="connsiteX22" fmla="*/ 4127 w 5502"/>
                        <a:gd name="connsiteY22" fmla="*/ 1435 h 6219"/>
                        <a:gd name="connsiteX23" fmla="*/ 718 w 5502"/>
                        <a:gd name="connsiteY23" fmla="*/ 5742 h 6219"/>
                        <a:gd name="connsiteX24" fmla="*/ 897 w 5502"/>
                        <a:gd name="connsiteY24" fmla="*/ 5861 h 6219"/>
                        <a:gd name="connsiteX25" fmla="*/ 1076 w 5502"/>
                        <a:gd name="connsiteY25" fmla="*/ 5981 h 6219"/>
                        <a:gd name="connsiteX26" fmla="*/ 1316 w 5502"/>
                        <a:gd name="connsiteY26" fmla="*/ 6100 h 6219"/>
                        <a:gd name="connsiteX27" fmla="*/ 1555 w 5502"/>
                        <a:gd name="connsiteY27" fmla="*/ 6160 h 6219"/>
                        <a:gd name="connsiteX28" fmla="*/ 2093 w 5502"/>
                        <a:gd name="connsiteY28" fmla="*/ 6220 h 6219"/>
                        <a:gd name="connsiteX29" fmla="*/ 2632 w 5502"/>
                        <a:gd name="connsiteY29" fmla="*/ 6160 h 6219"/>
                        <a:gd name="connsiteX30" fmla="*/ 3170 w 5502"/>
                        <a:gd name="connsiteY30" fmla="*/ 5981 h 6219"/>
                        <a:gd name="connsiteX31" fmla="*/ 3708 w 5502"/>
                        <a:gd name="connsiteY31" fmla="*/ 5682 h 6219"/>
                        <a:gd name="connsiteX32" fmla="*/ 4187 w 5502"/>
                        <a:gd name="connsiteY32" fmla="*/ 5323 h 6219"/>
                        <a:gd name="connsiteX33" fmla="*/ 4605 w 5502"/>
                        <a:gd name="connsiteY33" fmla="*/ 4844 h 6219"/>
                        <a:gd name="connsiteX34" fmla="*/ 4964 w 5502"/>
                        <a:gd name="connsiteY34" fmla="*/ 4306 h 6219"/>
                        <a:gd name="connsiteX35" fmla="*/ 5263 w 5502"/>
                        <a:gd name="connsiteY35" fmla="*/ 3708 h 6219"/>
                        <a:gd name="connsiteX36" fmla="*/ 5442 w 5502"/>
                        <a:gd name="connsiteY36" fmla="*/ 3110 h 6219"/>
                        <a:gd name="connsiteX37" fmla="*/ 5502 w 5502"/>
                        <a:gd name="connsiteY37" fmla="*/ 2512 h 6219"/>
                        <a:gd name="connsiteX38" fmla="*/ 5502 w 5502"/>
                        <a:gd name="connsiteY38" fmla="*/ 1914 h 6219"/>
                        <a:gd name="connsiteX39" fmla="*/ 5383 w 5502"/>
                        <a:gd name="connsiteY39" fmla="*/ 1375 h 6219"/>
                        <a:gd name="connsiteX40" fmla="*/ 5263 w 5502"/>
                        <a:gd name="connsiteY40" fmla="*/ 1136 h 6219"/>
                        <a:gd name="connsiteX41" fmla="*/ 5143 w 5502"/>
                        <a:gd name="connsiteY41" fmla="*/ 897 h 6219"/>
                        <a:gd name="connsiteX42" fmla="*/ 4964 w 5502"/>
                        <a:gd name="connsiteY42" fmla="*/ 658 h 6219"/>
                        <a:gd name="connsiteX43" fmla="*/ 4785 w 5502"/>
                        <a:gd name="connsiteY43" fmla="*/ 479 h 6219"/>
                        <a:gd name="connsiteX44" fmla="*/ 4605 w 5502"/>
                        <a:gd name="connsiteY44" fmla="*/ 359 h 6219"/>
                        <a:gd name="connsiteX45" fmla="*/ 4426 w 5502"/>
                        <a:gd name="connsiteY45" fmla="*/ 239 h 6219"/>
                        <a:gd name="connsiteX46" fmla="*/ 4187 w 5502"/>
                        <a:gd name="connsiteY46" fmla="*/ 120 h 6219"/>
                        <a:gd name="connsiteX47" fmla="*/ 3947 w 5502"/>
                        <a:gd name="connsiteY47" fmla="*/ 60 h 6219"/>
                        <a:gd name="connsiteX48" fmla="*/ 3409 w 5502"/>
                        <a:gd name="connsiteY48" fmla="*/ 0 h 6219"/>
                        <a:gd name="connsiteX49" fmla="*/ 2871 w 5502"/>
                        <a:gd name="connsiteY49" fmla="*/ 60 h 6219"/>
                        <a:gd name="connsiteX50" fmla="*/ 2333 w 5502"/>
                        <a:gd name="connsiteY50" fmla="*/ 239 h 6219"/>
                        <a:gd name="connsiteX51" fmla="*/ 1794 w 5502"/>
                        <a:gd name="connsiteY51" fmla="*/ 538 h 6219"/>
                        <a:gd name="connsiteX52" fmla="*/ 1316 w 5502"/>
                        <a:gd name="connsiteY52" fmla="*/ 957 h 6219"/>
                        <a:gd name="connsiteX53" fmla="*/ 897 w 5502"/>
                        <a:gd name="connsiteY53" fmla="*/ 1435 h 6219"/>
                        <a:gd name="connsiteX54" fmla="*/ 538 w 5502"/>
                        <a:gd name="connsiteY54" fmla="*/ 1974 h 6219"/>
                        <a:gd name="connsiteX55" fmla="*/ 239 w 5502"/>
                        <a:gd name="connsiteY55" fmla="*/ 2572 h 6219"/>
                        <a:gd name="connsiteX56" fmla="*/ 60 w 5502"/>
                        <a:gd name="connsiteY56" fmla="*/ 3170 h 6219"/>
                        <a:gd name="connsiteX57" fmla="*/ 0 w 5502"/>
                        <a:gd name="connsiteY57" fmla="*/ 3768 h 6219"/>
                        <a:gd name="connsiteX58" fmla="*/ 0 w 5502"/>
                        <a:gd name="connsiteY58" fmla="*/ 4366 h 6219"/>
                        <a:gd name="connsiteX59" fmla="*/ 120 w 5502"/>
                        <a:gd name="connsiteY59" fmla="*/ 4904 h 6219"/>
                        <a:gd name="connsiteX60" fmla="*/ 239 w 5502"/>
                        <a:gd name="connsiteY60" fmla="*/ 5143 h 6219"/>
                        <a:gd name="connsiteX61" fmla="*/ 359 w 5502"/>
                        <a:gd name="connsiteY61" fmla="*/ 5382 h 6219"/>
                        <a:gd name="connsiteX62" fmla="*/ 538 w 5502"/>
                        <a:gd name="connsiteY62" fmla="*/ 5562 h 6219"/>
                        <a:gd name="connsiteX63" fmla="*/ 718 w 5502"/>
                        <a:gd name="connsiteY63" fmla="*/ 5742 h 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502" h="6219">
                          <a:moveTo>
                            <a:pt x="4127" y="1435"/>
                          </a:moveTo>
                          <a:cubicBezTo>
                            <a:pt x="4246" y="1555"/>
                            <a:pt x="4366" y="1674"/>
                            <a:pt x="4426" y="1854"/>
                          </a:cubicBezTo>
                          <a:cubicBezTo>
                            <a:pt x="4486" y="2033"/>
                            <a:pt x="4545" y="2213"/>
                            <a:pt x="4605" y="2392"/>
                          </a:cubicBezTo>
                          <a:cubicBezTo>
                            <a:pt x="4605" y="2572"/>
                            <a:pt x="4665" y="2811"/>
                            <a:pt x="4605" y="2990"/>
                          </a:cubicBezTo>
                          <a:cubicBezTo>
                            <a:pt x="4545" y="3170"/>
                            <a:pt x="4545" y="3409"/>
                            <a:pt x="4426" y="3648"/>
                          </a:cubicBezTo>
                          <a:cubicBezTo>
                            <a:pt x="4306" y="3947"/>
                            <a:pt x="4127" y="4187"/>
                            <a:pt x="3947" y="4426"/>
                          </a:cubicBezTo>
                          <a:cubicBezTo>
                            <a:pt x="3768" y="4665"/>
                            <a:pt x="3528" y="4844"/>
                            <a:pt x="3349" y="4964"/>
                          </a:cubicBezTo>
                          <a:cubicBezTo>
                            <a:pt x="3110" y="5083"/>
                            <a:pt x="2871" y="5203"/>
                            <a:pt x="2632" y="5263"/>
                          </a:cubicBezTo>
                          <a:cubicBezTo>
                            <a:pt x="2392" y="5323"/>
                            <a:pt x="2153" y="5323"/>
                            <a:pt x="1914" y="5263"/>
                          </a:cubicBezTo>
                          <a:lnTo>
                            <a:pt x="1316" y="4964"/>
                          </a:lnTo>
                          <a:lnTo>
                            <a:pt x="897" y="4366"/>
                          </a:lnTo>
                          <a:cubicBezTo>
                            <a:pt x="837" y="4246"/>
                            <a:pt x="837" y="4127"/>
                            <a:pt x="837" y="4007"/>
                          </a:cubicBezTo>
                          <a:cubicBezTo>
                            <a:pt x="837" y="3887"/>
                            <a:pt x="837" y="3768"/>
                            <a:pt x="837" y="3588"/>
                          </a:cubicBezTo>
                          <a:cubicBezTo>
                            <a:pt x="837" y="3469"/>
                            <a:pt x="837" y="3289"/>
                            <a:pt x="897" y="3170"/>
                          </a:cubicBezTo>
                          <a:cubicBezTo>
                            <a:pt x="957" y="3050"/>
                            <a:pt x="957" y="2871"/>
                            <a:pt x="1017" y="2751"/>
                          </a:cubicBezTo>
                          <a:cubicBezTo>
                            <a:pt x="1136" y="2452"/>
                            <a:pt x="1256" y="2213"/>
                            <a:pt x="1435" y="1974"/>
                          </a:cubicBezTo>
                          <a:cubicBezTo>
                            <a:pt x="1615" y="1734"/>
                            <a:pt x="1854" y="1555"/>
                            <a:pt x="2033" y="1435"/>
                          </a:cubicBezTo>
                          <a:cubicBezTo>
                            <a:pt x="2213" y="1316"/>
                            <a:pt x="2512" y="1196"/>
                            <a:pt x="2751" y="1136"/>
                          </a:cubicBezTo>
                          <a:cubicBezTo>
                            <a:pt x="2990" y="1076"/>
                            <a:pt x="3229" y="1076"/>
                            <a:pt x="3469" y="1136"/>
                          </a:cubicBezTo>
                          <a:cubicBezTo>
                            <a:pt x="3528" y="1136"/>
                            <a:pt x="3588" y="1196"/>
                            <a:pt x="3648" y="1196"/>
                          </a:cubicBezTo>
                          <a:cubicBezTo>
                            <a:pt x="3708" y="1196"/>
                            <a:pt x="3768" y="1256"/>
                            <a:pt x="3768" y="1256"/>
                          </a:cubicBezTo>
                          <a:cubicBezTo>
                            <a:pt x="3768" y="1256"/>
                            <a:pt x="3828" y="1316"/>
                            <a:pt x="3888" y="1316"/>
                          </a:cubicBezTo>
                          <a:cubicBezTo>
                            <a:pt x="4007" y="1375"/>
                            <a:pt x="4067" y="1375"/>
                            <a:pt x="4127" y="1435"/>
                          </a:cubicBezTo>
                          <a:moveTo>
                            <a:pt x="718" y="5742"/>
                          </a:moveTo>
                          <a:cubicBezTo>
                            <a:pt x="778" y="5801"/>
                            <a:pt x="837" y="5861"/>
                            <a:pt x="897" y="5861"/>
                          </a:cubicBezTo>
                          <a:cubicBezTo>
                            <a:pt x="957" y="5861"/>
                            <a:pt x="1017" y="5921"/>
                            <a:pt x="1076" y="5981"/>
                          </a:cubicBezTo>
                          <a:cubicBezTo>
                            <a:pt x="1136" y="6041"/>
                            <a:pt x="1196" y="6041"/>
                            <a:pt x="1316" y="6100"/>
                          </a:cubicBezTo>
                          <a:cubicBezTo>
                            <a:pt x="1435" y="6160"/>
                            <a:pt x="1495" y="6160"/>
                            <a:pt x="1555" y="6160"/>
                          </a:cubicBezTo>
                          <a:cubicBezTo>
                            <a:pt x="1734" y="6220"/>
                            <a:pt x="1914" y="6220"/>
                            <a:pt x="2093" y="6220"/>
                          </a:cubicBezTo>
                          <a:cubicBezTo>
                            <a:pt x="2273" y="6220"/>
                            <a:pt x="2452" y="6220"/>
                            <a:pt x="2632" y="6160"/>
                          </a:cubicBezTo>
                          <a:cubicBezTo>
                            <a:pt x="2811" y="6100"/>
                            <a:pt x="2990" y="6041"/>
                            <a:pt x="3170" y="5981"/>
                          </a:cubicBezTo>
                          <a:cubicBezTo>
                            <a:pt x="3349" y="5921"/>
                            <a:pt x="3528" y="5801"/>
                            <a:pt x="3708" y="5682"/>
                          </a:cubicBezTo>
                          <a:cubicBezTo>
                            <a:pt x="3888" y="5562"/>
                            <a:pt x="4067" y="5442"/>
                            <a:pt x="4187" y="5323"/>
                          </a:cubicBezTo>
                          <a:cubicBezTo>
                            <a:pt x="4366" y="5203"/>
                            <a:pt x="4486" y="5024"/>
                            <a:pt x="4605" y="4844"/>
                          </a:cubicBezTo>
                          <a:cubicBezTo>
                            <a:pt x="4725" y="4665"/>
                            <a:pt x="4844" y="4486"/>
                            <a:pt x="4964" y="4306"/>
                          </a:cubicBezTo>
                          <a:cubicBezTo>
                            <a:pt x="5083" y="4127"/>
                            <a:pt x="5143" y="3947"/>
                            <a:pt x="5263" y="3708"/>
                          </a:cubicBezTo>
                          <a:cubicBezTo>
                            <a:pt x="5323" y="3528"/>
                            <a:pt x="5383" y="3289"/>
                            <a:pt x="5442" y="3110"/>
                          </a:cubicBezTo>
                          <a:cubicBezTo>
                            <a:pt x="5502" y="2930"/>
                            <a:pt x="5502" y="2691"/>
                            <a:pt x="5502" y="2512"/>
                          </a:cubicBezTo>
                          <a:cubicBezTo>
                            <a:pt x="5502" y="2333"/>
                            <a:pt x="5502" y="2093"/>
                            <a:pt x="5502" y="1914"/>
                          </a:cubicBezTo>
                          <a:cubicBezTo>
                            <a:pt x="5502" y="1734"/>
                            <a:pt x="5442" y="1555"/>
                            <a:pt x="5383" y="1375"/>
                          </a:cubicBezTo>
                          <a:cubicBezTo>
                            <a:pt x="5323" y="1316"/>
                            <a:pt x="5323" y="1196"/>
                            <a:pt x="5263" y="1136"/>
                          </a:cubicBezTo>
                          <a:cubicBezTo>
                            <a:pt x="5203" y="1076"/>
                            <a:pt x="5203" y="957"/>
                            <a:pt x="5143" y="897"/>
                          </a:cubicBezTo>
                          <a:cubicBezTo>
                            <a:pt x="5083" y="837"/>
                            <a:pt x="5024" y="778"/>
                            <a:pt x="4964" y="658"/>
                          </a:cubicBezTo>
                          <a:cubicBezTo>
                            <a:pt x="4904" y="598"/>
                            <a:pt x="4844" y="538"/>
                            <a:pt x="4785" y="479"/>
                          </a:cubicBezTo>
                          <a:cubicBezTo>
                            <a:pt x="4725" y="419"/>
                            <a:pt x="4665" y="359"/>
                            <a:pt x="4605" y="359"/>
                          </a:cubicBezTo>
                          <a:cubicBezTo>
                            <a:pt x="4545" y="359"/>
                            <a:pt x="4486" y="299"/>
                            <a:pt x="4426" y="239"/>
                          </a:cubicBezTo>
                          <a:cubicBezTo>
                            <a:pt x="4366" y="179"/>
                            <a:pt x="4306" y="179"/>
                            <a:pt x="4187" y="120"/>
                          </a:cubicBezTo>
                          <a:cubicBezTo>
                            <a:pt x="4127" y="120"/>
                            <a:pt x="4007" y="60"/>
                            <a:pt x="3947" y="60"/>
                          </a:cubicBezTo>
                          <a:cubicBezTo>
                            <a:pt x="3768" y="0"/>
                            <a:pt x="3588" y="0"/>
                            <a:pt x="3409" y="0"/>
                          </a:cubicBezTo>
                          <a:cubicBezTo>
                            <a:pt x="3229" y="0"/>
                            <a:pt x="3050" y="0"/>
                            <a:pt x="2871" y="60"/>
                          </a:cubicBezTo>
                          <a:cubicBezTo>
                            <a:pt x="2691" y="120"/>
                            <a:pt x="2512" y="179"/>
                            <a:pt x="2333" y="239"/>
                          </a:cubicBezTo>
                          <a:cubicBezTo>
                            <a:pt x="2153" y="299"/>
                            <a:pt x="1974" y="419"/>
                            <a:pt x="1794" y="538"/>
                          </a:cubicBezTo>
                          <a:cubicBezTo>
                            <a:pt x="1615" y="658"/>
                            <a:pt x="1435" y="778"/>
                            <a:pt x="1316" y="957"/>
                          </a:cubicBezTo>
                          <a:cubicBezTo>
                            <a:pt x="1196" y="1136"/>
                            <a:pt x="1017" y="1256"/>
                            <a:pt x="897" y="1435"/>
                          </a:cubicBezTo>
                          <a:cubicBezTo>
                            <a:pt x="778" y="1615"/>
                            <a:pt x="658" y="1794"/>
                            <a:pt x="538" y="1974"/>
                          </a:cubicBezTo>
                          <a:cubicBezTo>
                            <a:pt x="419" y="2153"/>
                            <a:pt x="359" y="2333"/>
                            <a:pt x="239" y="2572"/>
                          </a:cubicBezTo>
                          <a:cubicBezTo>
                            <a:pt x="179" y="2751"/>
                            <a:pt x="60" y="2990"/>
                            <a:pt x="60" y="3170"/>
                          </a:cubicBezTo>
                          <a:cubicBezTo>
                            <a:pt x="60" y="3349"/>
                            <a:pt x="0" y="3588"/>
                            <a:pt x="0" y="3768"/>
                          </a:cubicBezTo>
                          <a:cubicBezTo>
                            <a:pt x="0" y="3947"/>
                            <a:pt x="0" y="4187"/>
                            <a:pt x="0" y="4366"/>
                          </a:cubicBezTo>
                          <a:cubicBezTo>
                            <a:pt x="0" y="4545"/>
                            <a:pt x="60" y="4725"/>
                            <a:pt x="120" y="4904"/>
                          </a:cubicBezTo>
                          <a:cubicBezTo>
                            <a:pt x="179" y="5024"/>
                            <a:pt x="179" y="5083"/>
                            <a:pt x="239" y="5143"/>
                          </a:cubicBezTo>
                          <a:cubicBezTo>
                            <a:pt x="299" y="5203"/>
                            <a:pt x="299" y="5323"/>
                            <a:pt x="359" y="5382"/>
                          </a:cubicBezTo>
                          <a:cubicBezTo>
                            <a:pt x="419" y="5442"/>
                            <a:pt x="479" y="5502"/>
                            <a:pt x="538" y="5562"/>
                          </a:cubicBezTo>
                          <a:cubicBezTo>
                            <a:pt x="598" y="5622"/>
                            <a:pt x="658" y="5742"/>
                            <a:pt x="718" y="5742"/>
                          </a:cubicBezTo>
                        </a:path>
                      </a:pathLst>
                    </a:custGeom>
                    <a:noFill/>
                    <a:ln w="6350" cap="flat">
                      <a:solidFill>
                        <a:schemeClr val="bg1">
                          <a:alpha val="80000"/>
                        </a:schemeClr>
                      </a:solidFill>
                      <a:prstDash val="solid"/>
                      <a:miter/>
                    </a:ln>
                  </p:spPr>
                  <p:txBody>
                    <a:bodyPr rtlCol="0" anchor="ctr"/>
                    <a:lstStyle/>
                    <a:p>
                      <a:endParaRPr lang="en-GB"/>
                    </a:p>
                  </p:txBody>
                </p:sp>
                <p:sp>
                  <p:nvSpPr>
                    <p:cNvPr id="7505" name="Vrije vorm: vorm 7504">
                      <a:extLst>
                        <a:ext uri="{FF2B5EF4-FFF2-40B4-BE49-F238E27FC236}">
                          <a16:creationId xmlns:a16="http://schemas.microsoft.com/office/drawing/2014/main" id="{CA54FE39-CEE6-4EF8-AC60-359B4BFB3361}"/>
                        </a:ext>
                      </a:extLst>
                    </p:cNvPr>
                    <p:cNvSpPr/>
                    <p:nvPr/>
                  </p:nvSpPr>
                  <p:spPr>
                    <a:xfrm>
                      <a:off x="5315419" y="5127851"/>
                      <a:ext cx="16019" cy="17778"/>
                    </a:xfrm>
                    <a:custGeom>
                      <a:avLst/>
                      <a:gdLst>
                        <a:gd name="connsiteX0" fmla="*/ 3376 w 16019"/>
                        <a:gd name="connsiteY0" fmla="*/ 15370 h 17778"/>
                        <a:gd name="connsiteX1" fmla="*/ 3376 w 16019"/>
                        <a:gd name="connsiteY1" fmla="*/ 15370 h 17778"/>
                        <a:gd name="connsiteX2" fmla="*/ 3316 w 16019"/>
                        <a:gd name="connsiteY2" fmla="*/ 15311 h 17778"/>
                        <a:gd name="connsiteX3" fmla="*/ 3256 w 16019"/>
                        <a:gd name="connsiteY3" fmla="*/ 15251 h 17778"/>
                        <a:gd name="connsiteX4" fmla="*/ 3197 w 16019"/>
                        <a:gd name="connsiteY4" fmla="*/ 15191 h 17778"/>
                        <a:gd name="connsiteX5" fmla="*/ 2718 w 16019"/>
                        <a:gd name="connsiteY5" fmla="*/ 14713 h 17778"/>
                        <a:gd name="connsiteX6" fmla="*/ 2359 w 16019"/>
                        <a:gd name="connsiteY6" fmla="*/ 14174 h 17778"/>
                        <a:gd name="connsiteX7" fmla="*/ 2060 w 16019"/>
                        <a:gd name="connsiteY7" fmla="*/ 13576 h 17778"/>
                        <a:gd name="connsiteX8" fmla="*/ 1761 w 16019"/>
                        <a:gd name="connsiteY8" fmla="*/ 12918 h 17778"/>
                        <a:gd name="connsiteX9" fmla="*/ 1522 w 16019"/>
                        <a:gd name="connsiteY9" fmla="*/ 11902 h 17778"/>
                        <a:gd name="connsiteX10" fmla="*/ 1402 w 16019"/>
                        <a:gd name="connsiteY10" fmla="*/ 10825 h 17778"/>
                        <a:gd name="connsiteX11" fmla="*/ 1462 w 16019"/>
                        <a:gd name="connsiteY11" fmla="*/ 9689 h 17778"/>
                        <a:gd name="connsiteX12" fmla="*/ 1642 w 16019"/>
                        <a:gd name="connsiteY12" fmla="*/ 8552 h 17778"/>
                        <a:gd name="connsiteX13" fmla="*/ 1701 w 16019"/>
                        <a:gd name="connsiteY13" fmla="*/ 8194 h 17778"/>
                        <a:gd name="connsiteX14" fmla="*/ 1821 w 16019"/>
                        <a:gd name="connsiteY14" fmla="*/ 7835 h 17778"/>
                        <a:gd name="connsiteX15" fmla="*/ 1940 w 16019"/>
                        <a:gd name="connsiteY15" fmla="*/ 7476 h 17778"/>
                        <a:gd name="connsiteX16" fmla="*/ 2060 w 16019"/>
                        <a:gd name="connsiteY16" fmla="*/ 7117 h 17778"/>
                        <a:gd name="connsiteX17" fmla="*/ 2060 w 16019"/>
                        <a:gd name="connsiteY17" fmla="*/ 7117 h 17778"/>
                        <a:gd name="connsiteX18" fmla="*/ 2060 w 16019"/>
                        <a:gd name="connsiteY18" fmla="*/ 7117 h 17778"/>
                        <a:gd name="connsiteX19" fmla="*/ 2060 w 16019"/>
                        <a:gd name="connsiteY19" fmla="*/ 7117 h 17778"/>
                        <a:gd name="connsiteX20" fmla="*/ 2060 w 16019"/>
                        <a:gd name="connsiteY20" fmla="*/ 7117 h 17778"/>
                        <a:gd name="connsiteX21" fmla="*/ 2718 w 16019"/>
                        <a:gd name="connsiteY21" fmla="*/ 5801 h 17778"/>
                        <a:gd name="connsiteX22" fmla="*/ 3496 w 16019"/>
                        <a:gd name="connsiteY22" fmla="*/ 4605 h 17778"/>
                        <a:gd name="connsiteX23" fmla="*/ 4452 w 16019"/>
                        <a:gd name="connsiteY23" fmla="*/ 3529 h 17778"/>
                        <a:gd name="connsiteX24" fmla="*/ 5529 w 16019"/>
                        <a:gd name="connsiteY24" fmla="*/ 2632 h 17778"/>
                        <a:gd name="connsiteX25" fmla="*/ 5649 w 16019"/>
                        <a:gd name="connsiteY25" fmla="*/ 2572 h 17778"/>
                        <a:gd name="connsiteX26" fmla="*/ 5768 w 16019"/>
                        <a:gd name="connsiteY26" fmla="*/ 2512 h 17778"/>
                        <a:gd name="connsiteX27" fmla="*/ 5888 w 16019"/>
                        <a:gd name="connsiteY27" fmla="*/ 2452 h 17778"/>
                        <a:gd name="connsiteX28" fmla="*/ 6007 w 16019"/>
                        <a:gd name="connsiteY28" fmla="*/ 2392 h 17778"/>
                        <a:gd name="connsiteX29" fmla="*/ 6127 w 16019"/>
                        <a:gd name="connsiteY29" fmla="*/ 2333 h 17778"/>
                        <a:gd name="connsiteX30" fmla="*/ 6246 w 16019"/>
                        <a:gd name="connsiteY30" fmla="*/ 2273 h 17778"/>
                        <a:gd name="connsiteX31" fmla="*/ 6366 w 16019"/>
                        <a:gd name="connsiteY31" fmla="*/ 2213 h 17778"/>
                        <a:gd name="connsiteX32" fmla="*/ 6486 w 16019"/>
                        <a:gd name="connsiteY32" fmla="*/ 2153 h 17778"/>
                        <a:gd name="connsiteX33" fmla="*/ 8340 w 16019"/>
                        <a:gd name="connsiteY33" fmla="*/ 1375 h 17778"/>
                        <a:gd name="connsiteX34" fmla="*/ 10194 w 16019"/>
                        <a:gd name="connsiteY34" fmla="*/ 1196 h 17778"/>
                        <a:gd name="connsiteX35" fmla="*/ 11868 w 16019"/>
                        <a:gd name="connsiteY35" fmla="*/ 1555 h 17778"/>
                        <a:gd name="connsiteX36" fmla="*/ 13304 w 16019"/>
                        <a:gd name="connsiteY36" fmla="*/ 2452 h 17778"/>
                        <a:gd name="connsiteX37" fmla="*/ 13722 w 16019"/>
                        <a:gd name="connsiteY37" fmla="*/ 2930 h 17778"/>
                        <a:gd name="connsiteX38" fmla="*/ 14081 w 16019"/>
                        <a:gd name="connsiteY38" fmla="*/ 3469 h 17778"/>
                        <a:gd name="connsiteX39" fmla="*/ 14380 w 16019"/>
                        <a:gd name="connsiteY39" fmla="*/ 4067 h 17778"/>
                        <a:gd name="connsiteX40" fmla="*/ 14620 w 16019"/>
                        <a:gd name="connsiteY40" fmla="*/ 4665 h 17778"/>
                        <a:gd name="connsiteX41" fmla="*/ 14978 w 16019"/>
                        <a:gd name="connsiteY41" fmla="*/ 7057 h 17778"/>
                        <a:gd name="connsiteX42" fmla="*/ 14560 w 16019"/>
                        <a:gd name="connsiteY42" fmla="*/ 9569 h 17778"/>
                        <a:gd name="connsiteX43" fmla="*/ 13483 w 16019"/>
                        <a:gd name="connsiteY43" fmla="*/ 11961 h 17778"/>
                        <a:gd name="connsiteX44" fmla="*/ 11809 w 16019"/>
                        <a:gd name="connsiteY44" fmla="*/ 14055 h 17778"/>
                        <a:gd name="connsiteX45" fmla="*/ 11629 w 16019"/>
                        <a:gd name="connsiteY45" fmla="*/ 14234 h 17778"/>
                        <a:gd name="connsiteX46" fmla="*/ 11450 w 16019"/>
                        <a:gd name="connsiteY46" fmla="*/ 14413 h 17778"/>
                        <a:gd name="connsiteX47" fmla="*/ 11270 w 16019"/>
                        <a:gd name="connsiteY47" fmla="*/ 14593 h 17778"/>
                        <a:gd name="connsiteX48" fmla="*/ 11091 w 16019"/>
                        <a:gd name="connsiteY48" fmla="*/ 14772 h 17778"/>
                        <a:gd name="connsiteX49" fmla="*/ 10912 w 16019"/>
                        <a:gd name="connsiteY49" fmla="*/ 14892 h 17778"/>
                        <a:gd name="connsiteX50" fmla="*/ 10732 w 16019"/>
                        <a:gd name="connsiteY50" fmla="*/ 15012 h 17778"/>
                        <a:gd name="connsiteX51" fmla="*/ 10553 w 16019"/>
                        <a:gd name="connsiteY51" fmla="*/ 15131 h 17778"/>
                        <a:gd name="connsiteX52" fmla="*/ 10373 w 16019"/>
                        <a:gd name="connsiteY52" fmla="*/ 15251 h 17778"/>
                        <a:gd name="connsiteX53" fmla="*/ 8699 w 16019"/>
                        <a:gd name="connsiteY53" fmla="*/ 16088 h 17778"/>
                        <a:gd name="connsiteX54" fmla="*/ 7024 w 16019"/>
                        <a:gd name="connsiteY54" fmla="*/ 16447 h 17778"/>
                        <a:gd name="connsiteX55" fmla="*/ 5469 w 16019"/>
                        <a:gd name="connsiteY55" fmla="*/ 16387 h 17778"/>
                        <a:gd name="connsiteX56" fmla="*/ 4034 w 16019"/>
                        <a:gd name="connsiteY56" fmla="*/ 15849 h 17778"/>
                        <a:gd name="connsiteX57" fmla="*/ 3854 w 16019"/>
                        <a:gd name="connsiteY57" fmla="*/ 15729 h 17778"/>
                        <a:gd name="connsiteX58" fmla="*/ 3675 w 16019"/>
                        <a:gd name="connsiteY58" fmla="*/ 15610 h 17778"/>
                        <a:gd name="connsiteX59" fmla="*/ 3496 w 16019"/>
                        <a:gd name="connsiteY59" fmla="*/ 15490 h 17778"/>
                        <a:gd name="connsiteX60" fmla="*/ 3376 w 16019"/>
                        <a:gd name="connsiteY60" fmla="*/ 15370 h 17778"/>
                        <a:gd name="connsiteX61" fmla="*/ 3077 w 16019"/>
                        <a:gd name="connsiteY61" fmla="*/ 15370 h 17778"/>
                        <a:gd name="connsiteX62" fmla="*/ 3555 w 16019"/>
                        <a:gd name="connsiteY62" fmla="*/ 15729 h 17778"/>
                        <a:gd name="connsiteX63" fmla="*/ 4034 w 16019"/>
                        <a:gd name="connsiteY63" fmla="*/ 16028 h 17778"/>
                        <a:gd name="connsiteX64" fmla="*/ 4572 w 16019"/>
                        <a:gd name="connsiteY64" fmla="*/ 16267 h 17778"/>
                        <a:gd name="connsiteX65" fmla="*/ 5170 w 16019"/>
                        <a:gd name="connsiteY65" fmla="*/ 16447 h 17778"/>
                        <a:gd name="connsiteX66" fmla="*/ 6426 w 16019"/>
                        <a:gd name="connsiteY66" fmla="*/ 16627 h 17778"/>
                        <a:gd name="connsiteX67" fmla="*/ 7742 w 16019"/>
                        <a:gd name="connsiteY67" fmla="*/ 16507 h 17778"/>
                        <a:gd name="connsiteX68" fmla="*/ 9117 w 16019"/>
                        <a:gd name="connsiteY68" fmla="*/ 16088 h 17778"/>
                        <a:gd name="connsiteX69" fmla="*/ 10433 w 16019"/>
                        <a:gd name="connsiteY69" fmla="*/ 15370 h 17778"/>
                        <a:gd name="connsiteX70" fmla="*/ 11689 w 16019"/>
                        <a:gd name="connsiteY70" fmla="*/ 14413 h 17778"/>
                        <a:gd name="connsiteX71" fmla="*/ 12766 w 16019"/>
                        <a:gd name="connsiteY71" fmla="*/ 13277 h 17778"/>
                        <a:gd name="connsiteX72" fmla="*/ 13663 w 16019"/>
                        <a:gd name="connsiteY72" fmla="*/ 11961 h 17778"/>
                        <a:gd name="connsiteX73" fmla="*/ 14380 w 16019"/>
                        <a:gd name="connsiteY73" fmla="*/ 10526 h 17778"/>
                        <a:gd name="connsiteX74" fmla="*/ 14859 w 16019"/>
                        <a:gd name="connsiteY74" fmla="*/ 8971 h 17778"/>
                        <a:gd name="connsiteX75" fmla="*/ 15098 w 16019"/>
                        <a:gd name="connsiteY75" fmla="*/ 7476 h 17778"/>
                        <a:gd name="connsiteX76" fmla="*/ 15038 w 16019"/>
                        <a:gd name="connsiteY76" fmla="*/ 6041 h 17778"/>
                        <a:gd name="connsiteX77" fmla="*/ 14679 w 16019"/>
                        <a:gd name="connsiteY77" fmla="*/ 4665 h 17778"/>
                        <a:gd name="connsiteX78" fmla="*/ 14440 w 16019"/>
                        <a:gd name="connsiteY78" fmla="*/ 4007 h 17778"/>
                        <a:gd name="connsiteX79" fmla="*/ 14141 w 16019"/>
                        <a:gd name="connsiteY79" fmla="*/ 3409 h 17778"/>
                        <a:gd name="connsiteX80" fmla="*/ 13782 w 16019"/>
                        <a:gd name="connsiteY80" fmla="*/ 2871 h 17778"/>
                        <a:gd name="connsiteX81" fmla="*/ 13364 w 16019"/>
                        <a:gd name="connsiteY81" fmla="*/ 2392 h 17778"/>
                        <a:gd name="connsiteX82" fmla="*/ 12885 w 16019"/>
                        <a:gd name="connsiteY82" fmla="*/ 2034 h 17778"/>
                        <a:gd name="connsiteX83" fmla="*/ 12407 w 16019"/>
                        <a:gd name="connsiteY83" fmla="*/ 1734 h 17778"/>
                        <a:gd name="connsiteX84" fmla="*/ 11868 w 16019"/>
                        <a:gd name="connsiteY84" fmla="*/ 1495 h 17778"/>
                        <a:gd name="connsiteX85" fmla="*/ 11270 w 16019"/>
                        <a:gd name="connsiteY85" fmla="*/ 1316 h 17778"/>
                        <a:gd name="connsiteX86" fmla="*/ 9954 w 16019"/>
                        <a:gd name="connsiteY86" fmla="*/ 1136 h 17778"/>
                        <a:gd name="connsiteX87" fmla="*/ 8639 w 16019"/>
                        <a:gd name="connsiteY87" fmla="*/ 1256 h 17778"/>
                        <a:gd name="connsiteX88" fmla="*/ 7263 w 16019"/>
                        <a:gd name="connsiteY88" fmla="*/ 1675 h 17778"/>
                        <a:gd name="connsiteX89" fmla="*/ 5947 w 16019"/>
                        <a:gd name="connsiteY89" fmla="*/ 2392 h 17778"/>
                        <a:gd name="connsiteX90" fmla="*/ 4692 w 16019"/>
                        <a:gd name="connsiteY90" fmla="*/ 3349 h 17778"/>
                        <a:gd name="connsiteX91" fmla="*/ 3615 w 16019"/>
                        <a:gd name="connsiteY91" fmla="*/ 4486 h 17778"/>
                        <a:gd name="connsiteX92" fmla="*/ 2718 w 16019"/>
                        <a:gd name="connsiteY92" fmla="*/ 5801 h 17778"/>
                        <a:gd name="connsiteX93" fmla="*/ 2000 w 16019"/>
                        <a:gd name="connsiteY93" fmla="*/ 7296 h 17778"/>
                        <a:gd name="connsiteX94" fmla="*/ 1522 w 16019"/>
                        <a:gd name="connsiteY94" fmla="*/ 8851 h 17778"/>
                        <a:gd name="connsiteX95" fmla="*/ 1343 w 16019"/>
                        <a:gd name="connsiteY95" fmla="*/ 10347 h 17778"/>
                        <a:gd name="connsiteX96" fmla="*/ 1402 w 16019"/>
                        <a:gd name="connsiteY96" fmla="*/ 11782 h 17778"/>
                        <a:gd name="connsiteX97" fmla="*/ 1701 w 16019"/>
                        <a:gd name="connsiteY97" fmla="*/ 13158 h 17778"/>
                        <a:gd name="connsiteX98" fmla="*/ 2000 w 16019"/>
                        <a:gd name="connsiteY98" fmla="*/ 13815 h 17778"/>
                        <a:gd name="connsiteX99" fmla="*/ 2299 w 16019"/>
                        <a:gd name="connsiteY99" fmla="*/ 14413 h 17778"/>
                        <a:gd name="connsiteX100" fmla="*/ 2658 w 16019"/>
                        <a:gd name="connsiteY100" fmla="*/ 14952 h 17778"/>
                        <a:gd name="connsiteX101" fmla="*/ 3077 w 16019"/>
                        <a:gd name="connsiteY101" fmla="*/ 15370 h 17778"/>
                        <a:gd name="connsiteX102" fmla="*/ 13962 w 16019"/>
                        <a:gd name="connsiteY102" fmla="*/ 1615 h 17778"/>
                        <a:gd name="connsiteX103" fmla="*/ 14440 w 16019"/>
                        <a:gd name="connsiteY103" fmla="*/ 2153 h 17778"/>
                        <a:gd name="connsiteX104" fmla="*/ 14859 w 16019"/>
                        <a:gd name="connsiteY104" fmla="*/ 2751 h 17778"/>
                        <a:gd name="connsiteX105" fmla="*/ 15218 w 16019"/>
                        <a:gd name="connsiteY105" fmla="*/ 3409 h 17778"/>
                        <a:gd name="connsiteX106" fmla="*/ 15517 w 16019"/>
                        <a:gd name="connsiteY106" fmla="*/ 4127 h 17778"/>
                        <a:gd name="connsiteX107" fmla="*/ 15876 w 16019"/>
                        <a:gd name="connsiteY107" fmla="*/ 5682 h 17778"/>
                        <a:gd name="connsiteX108" fmla="*/ 15935 w 16019"/>
                        <a:gd name="connsiteY108" fmla="*/ 7296 h 17778"/>
                        <a:gd name="connsiteX109" fmla="*/ 15696 w 16019"/>
                        <a:gd name="connsiteY109" fmla="*/ 8971 h 17778"/>
                        <a:gd name="connsiteX110" fmla="*/ 15158 w 16019"/>
                        <a:gd name="connsiteY110" fmla="*/ 10705 h 17778"/>
                        <a:gd name="connsiteX111" fmla="*/ 14380 w 16019"/>
                        <a:gd name="connsiteY111" fmla="*/ 12320 h 17778"/>
                        <a:gd name="connsiteX112" fmla="*/ 13364 w 16019"/>
                        <a:gd name="connsiteY112" fmla="*/ 13815 h 17778"/>
                        <a:gd name="connsiteX113" fmla="*/ 12168 w 16019"/>
                        <a:gd name="connsiteY113" fmla="*/ 15131 h 17778"/>
                        <a:gd name="connsiteX114" fmla="*/ 10792 w 16019"/>
                        <a:gd name="connsiteY114" fmla="*/ 16208 h 17778"/>
                        <a:gd name="connsiteX115" fmla="*/ 9297 w 16019"/>
                        <a:gd name="connsiteY115" fmla="*/ 16985 h 17778"/>
                        <a:gd name="connsiteX116" fmla="*/ 7801 w 16019"/>
                        <a:gd name="connsiteY116" fmla="*/ 17464 h 17778"/>
                        <a:gd name="connsiteX117" fmla="*/ 6306 w 16019"/>
                        <a:gd name="connsiteY117" fmla="*/ 17643 h 17778"/>
                        <a:gd name="connsiteX118" fmla="*/ 4871 w 16019"/>
                        <a:gd name="connsiteY118" fmla="*/ 17464 h 17778"/>
                        <a:gd name="connsiteX119" fmla="*/ 4213 w 16019"/>
                        <a:gd name="connsiteY119" fmla="*/ 17284 h 17778"/>
                        <a:gd name="connsiteX120" fmla="*/ 3615 w 16019"/>
                        <a:gd name="connsiteY120" fmla="*/ 16985 h 17778"/>
                        <a:gd name="connsiteX121" fmla="*/ 3017 w 16019"/>
                        <a:gd name="connsiteY121" fmla="*/ 16627 h 17778"/>
                        <a:gd name="connsiteX122" fmla="*/ 2479 w 16019"/>
                        <a:gd name="connsiteY122" fmla="*/ 16208 h 17778"/>
                        <a:gd name="connsiteX123" fmla="*/ 2000 w 16019"/>
                        <a:gd name="connsiteY123" fmla="*/ 15669 h 17778"/>
                        <a:gd name="connsiteX124" fmla="*/ 1582 w 16019"/>
                        <a:gd name="connsiteY124" fmla="*/ 15072 h 17778"/>
                        <a:gd name="connsiteX125" fmla="*/ 1223 w 16019"/>
                        <a:gd name="connsiteY125" fmla="*/ 14413 h 17778"/>
                        <a:gd name="connsiteX126" fmla="*/ 924 w 16019"/>
                        <a:gd name="connsiteY126" fmla="*/ 13696 h 17778"/>
                        <a:gd name="connsiteX127" fmla="*/ 565 w 16019"/>
                        <a:gd name="connsiteY127" fmla="*/ 12141 h 17778"/>
                        <a:gd name="connsiteX128" fmla="*/ 505 w 16019"/>
                        <a:gd name="connsiteY128" fmla="*/ 10526 h 17778"/>
                        <a:gd name="connsiteX129" fmla="*/ 744 w 16019"/>
                        <a:gd name="connsiteY129" fmla="*/ 8851 h 17778"/>
                        <a:gd name="connsiteX130" fmla="*/ 1283 w 16019"/>
                        <a:gd name="connsiteY130" fmla="*/ 7117 h 17778"/>
                        <a:gd name="connsiteX131" fmla="*/ 2060 w 16019"/>
                        <a:gd name="connsiteY131" fmla="*/ 5442 h 17778"/>
                        <a:gd name="connsiteX132" fmla="*/ 3077 w 16019"/>
                        <a:gd name="connsiteY132" fmla="*/ 3947 h 17778"/>
                        <a:gd name="connsiteX133" fmla="*/ 4333 w 16019"/>
                        <a:gd name="connsiteY133" fmla="*/ 2632 h 17778"/>
                        <a:gd name="connsiteX134" fmla="*/ 5768 w 16019"/>
                        <a:gd name="connsiteY134" fmla="*/ 1555 h 17778"/>
                        <a:gd name="connsiteX135" fmla="*/ 7263 w 16019"/>
                        <a:gd name="connsiteY135" fmla="*/ 778 h 17778"/>
                        <a:gd name="connsiteX136" fmla="*/ 8818 w 16019"/>
                        <a:gd name="connsiteY136" fmla="*/ 299 h 17778"/>
                        <a:gd name="connsiteX137" fmla="*/ 10314 w 16019"/>
                        <a:gd name="connsiteY137" fmla="*/ 180 h 17778"/>
                        <a:gd name="connsiteX138" fmla="*/ 11749 w 16019"/>
                        <a:gd name="connsiteY138" fmla="*/ 359 h 17778"/>
                        <a:gd name="connsiteX139" fmla="*/ 12407 w 16019"/>
                        <a:gd name="connsiteY139" fmla="*/ 538 h 17778"/>
                        <a:gd name="connsiteX140" fmla="*/ 13005 w 16019"/>
                        <a:gd name="connsiteY140" fmla="*/ 837 h 17778"/>
                        <a:gd name="connsiteX141" fmla="*/ 13603 w 16019"/>
                        <a:gd name="connsiteY141" fmla="*/ 1196 h 17778"/>
                        <a:gd name="connsiteX142" fmla="*/ 13962 w 16019"/>
                        <a:gd name="connsiteY142" fmla="*/ 1615 h 17778"/>
                        <a:gd name="connsiteX143" fmla="*/ 2359 w 16019"/>
                        <a:gd name="connsiteY143" fmla="*/ 16327 h 17778"/>
                        <a:gd name="connsiteX144" fmla="*/ 2479 w 16019"/>
                        <a:gd name="connsiteY144" fmla="*/ 16447 h 17778"/>
                        <a:gd name="connsiteX145" fmla="*/ 2598 w 16019"/>
                        <a:gd name="connsiteY145" fmla="*/ 16567 h 17778"/>
                        <a:gd name="connsiteX146" fmla="*/ 2718 w 16019"/>
                        <a:gd name="connsiteY146" fmla="*/ 16686 h 17778"/>
                        <a:gd name="connsiteX147" fmla="*/ 2838 w 16019"/>
                        <a:gd name="connsiteY147" fmla="*/ 16806 h 17778"/>
                        <a:gd name="connsiteX148" fmla="*/ 4572 w 16019"/>
                        <a:gd name="connsiteY148" fmla="*/ 17583 h 17778"/>
                        <a:gd name="connsiteX149" fmla="*/ 6546 w 16019"/>
                        <a:gd name="connsiteY149" fmla="*/ 17763 h 17778"/>
                        <a:gd name="connsiteX150" fmla="*/ 8639 w 16019"/>
                        <a:gd name="connsiteY150" fmla="*/ 17344 h 17778"/>
                        <a:gd name="connsiteX151" fmla="*/ 10732 w 16019"/>
                        <a:gd name="connsiteY151" fmla="*/ 16327 h 17778"/>
                        <a:gd name="connsiteX152" fmla="*/ 10912 w 16019"/>
                        <a:gd name="connsiteY152" fmla="*/ 16208 h 17778"/>
                        <a:gd name="connsiteX153" fmla="*/ 11091 w 16019"/>
                        <a:gd name="connsiteY153" fmla="*/ 16088 h 17778"/>
                        <a:gd name="connsiteX154" fmla="*/ 11270 w 16019"/>
                        <a:gd name="connsiteY154" fmla="*/ 15968 h 17778"/>
                        <a:gd name="connsiteX155" fmla="*/ 11450 w 16019"/>
                        <a:gd name="connsiteY155" fmla="*/ 15849 h 17778"/>
                        <a:gd name="connsiteX156" fmla="*/ 11629 w 16019"/>
                        <a:gd name="connsiteY156" fmla="*/ 15669 h 17778"/>
                        <a:gd name="connsiteX157" fmla="*/ 11809 w 16019"/>
                        <a:gd name="connsiteY157" fmla="*/ 15490 h 17778"/>
                        <a:gd name="connsiteX158" fmla="*/ 11988 w 16019"/>
                        <a:gd name="connsiteY158" fmla="*/ 15311 h 17778"/>
                        <a:gd name="connsiteX159" fmla="*/ 12168 w 16019"/>
                        <a:gd name="connsiteY159" fmla="*/ 15131 h 17778"/>
                        <a:gd name="connsiteX160" fmla="*/ 13065 w 16019"/>
                        <a:gd name="connsiteY160" fmla="*/ 14174 h 17778"/>
                        <a:gd name="connsiteX161" fmla="*/ 13902 w 16019"/>
                        <a:gd name="connsiteY161" fmla="*/ 13098 h 17778"/>
                        <a:gd name="connsiteX162" fmla="*/ 14620 w 16019"/>
                        <a:gd name="connsiteY162" fmla="*/ 11961 h 17778"/>
                        <a:gd name="connsiteX163" fmla="*/ 15218 w 16019"/>
                        <a:gd name="connsiteY163" fmla="*/ 10705 h 17778"/>
                        <a:gd name="connsiteX164" fmla="*/ 15756 w 16019"/>
                        <a:gd name="connsiteY164" fmla="*/ 8971 h 17778"/>
                        <a:gd name="connsiteX165" fmla="*/ 15995 w 16019"/>
                        <a:gd name="connsiteY165" fmla="*/ 7237 h 17778"/>
                        <a:gd name="connsiteX166" fmla="*/ 15935 w 16019"/>
                        <a:gd name="connsiteY166" fmla="*/ 5562 h 17778"/>
                        <a:gd name="connsiteX167" fmla="*/ 15576 w 16019"/>
                        <a:gd name="connsiteY167" fmla="*/ 4007 h 17778"/>
                        <a:gd name="connsiteX168" fmla="*/ 15277 w 16019"/>
                        <a:gd name="connsiteY168" fmla="*/ 3289 h 17778"/>
                        <a:gd name="connsiteX169" fmla="*/ 14919 w 16019"/>
                        <a:gd name="connsiteY169" fmla="*/ 2632 h 17778"/>
                        <a:gd name="connsiteX170" fmla="*/ 14500 w 16019"/>
                        <a:gd name="connsiteY170" fmla="*/ 2034 h 17778"/>
                        <a:gd name="connsiteX171" fmla="*/ 13962 w 16019"/>
                        <a:gd name="connsiteY171" fmla="*/ 1495 h 17778"/>
                        <a:gd name="connsiteX172" fmla="*/ 12227 w 16019"/>
                        <a:gd name="connsiteY172" fmla="*/ 419 h 17778"/>
                        <a:gd name="connsiteX173" fmla="*/ 10194 w 16019"/>
                        <a:gd name="connsiteY173" fmla="*/ 0 h 17778"/>
                        <a:gd name="connsiteX174" fmla="*/ 8041 w 16019"/>
                        <a:gd name="connsiteY174" fmla="*/ 239 h 17778"/>
                        <a:gd name="connsiteX175" fmla="*/ 5828 w 16019"/>
                        <a:gd name="connsiteY175" fmla="*/ 1196 h 17778"/>
                        <a:gd name="connsiteX176" fmla="*/ 5708 w 16019"/>
                        <a:gd name="connsiteY176" fmla="*/ 1256 h 17778"/>
                        <a:gd name="connsiteX177" fmla="*/ 5589 w 16019"/>
                        <a:gd name="connsiteY177" fmla="*/ 1316 h 17778"/>
                        <a:gd name="connsiteX178" fmla="*/ 5469 w 16019"/>
                        <a:gd name="connsiteY178" fmla="*/ 1375 h 17778"/>
                        <a:gd name="connsiteX179" fmla="*/ 5350 w 16019"/>
                        <a:gd name="connsiteY179" fmla="*/ 1435 h 17778"/>
                        <a:gd name="connsiteX180" fmla="*/ 5230 w 16019"/>
                        <a:gd name="connsiteY180" fmla="*/ 1495 h 17778"/>
                        <a:gd name="connsiteX181" fmla="*/ 5110 w 16019"/>
                        <a:gd name="connsiteY181" fmla="*/ 1555 h 17778"/>
                        <a:gd name="connsiteX182" fmla="*/ 4991 w 16019"/>
                        <a:gd name="connsiteY182" fmla="*/ 1615 h 17778"/>
                        <a:gd name="connsiteX183" fmla="*/ 4871 w 16019"/>
                        <a:gd name="connsiteY183" fmla="*/ 1734 h 17778"/>
                        <a:gd name="connsiteX184" fmla="*/ 3615 w 16019"/>
                        <a:gd name="connsiteY184" fmla="*/ 2811 h 17778"/>
                        <a:gd name="connsiteX185" fmla="*/ 2538 w 16019"/>
                        <a:gd name="connsiteY185" fmla="*/ 4067 h 17778"/>
                        <a:gd name="connsiteX186" fmla="*/ 1582 w 16019"/>
                        <a:gd name="connsiteY186" fmla="*/ 5502 h 17778"/>
                        <a:gd name="connsiteX187" fmla="*/ 864 w 16019"/>
                        <a:gd name="connsiteY187" fmla="*/ 7057 h 17778"/>
                        <a:gd name="connsiteX188" fmla="*/ 744 w 16019"/>
                        <a:gd name="connsiteY188" fmla="*/ 7416 h 17778"/>
                        <a:gd name="connsiteX189" fmla="*/ 625 w 16019"/>
                        <a:gd name="connsiteY189" fmla="*/ 7775 h 17778"/>
                        <a:gd name="connsiteX190" fmla="*/ 505 w 16019"/>
                        <a:gd name="connsiteY190" fmla="*/ 8134 h 17778"/>
                        <a:gd name="connsiteX191" fmla="*/ 385 w 16019"/>
                        <a:gd name="connsiteY191" fmla="*/ 8493 h 17778"/>
                        <a:gd name="connsiteX192" fmla="*/ 326 w 16019"/>
                        <a:gd name="connsiteY192" fmla="*/ 8791 h 17778"/>
                        <a:gd name="connsiteX193" fmla="*/ 266 w 16019"/>
                        <a:gd name="connsiteY193" fmla="*/ 9091 h 17778"/>
                        <a:gd name="connsiteX194" fmla="*/ 206 w 16019"/>
                        <a:gd name="connsiteY194" fmla="*/ 9390 h 17778"/>
                        <a:gd name="connsiteX195" fmla="*/ 146 w 16019"/>
                        <a:gd name="connsiteY195" fmla="*/ 9689 h 17778"/>
                        <a:gd name="connsiteX196" fmla="*/ 27 w 16019"/>
                        <a:gd name="connsiteY196" fmla="*/ 10765 h 17778"/>
                        <a:gd name="connsiteX197" fmla="*/ 27 w 16019"/>
                        <a:gd name="connsiteY197" fmla="*/ 11842 h 17778"/>
                        <a:gd name="connsiteX198" fmla="*/ 146 w 16019"/>
                        <a:gd name="connsiteY198" fmla="*/ 12859 h 17778"/>
                        <a:gd name="connsiteX199" fmla="*/ 385 w 16019"/>
                        <a:gd name="connsiteY199" fmla="*/ 13815 h 17778"/>
                        <a:gd name="connsiteX200" fmla="*/ 684 w 16019"/>
                        <a:gd name="connsiteY200" fmla="*/ 14533 h 17778"/>
                        <a:gd name="connsiteX201" fmla="*/ 1043 w 16019"/>
                        <a:gd name="connsiteY201" fmla="*/ 15191 h 17778"/>
                        <a:gd name="connsiteX202" fmla="*/ 1462 w 16019"/>
                        <a:gd name="connsiteY202" fmla="*/ 15789 h 17778"/>
                        <a:gd name="connsiteX203" fmla="*/ 1940 w 16019"/>
                        <a:gd name="connsiteY203" fmla="*/ 16327 h 17778"/>
                        <a:gd name="connsiteX204" fmla="*/ 1940 w 16019"/>
                        <a:gd name="connsiteY204" fmla="*/ 16327 h 17778"/>
                        <a:gd name="connsiteX205" fmla="*/ 2359 w 16019"/>
                        <a:gd name="connsiteY205" fmla="*/ 16327 h 17778"/>
                        <a:gd name="connsiteX206" fmla="*/ 2359 w 16019"/>
                        <a:gd name="connsiteY206" fmla="*/ 16327 h 17778"/>
                        <a:gd name="connsiteX207" fmla="*/ 2359 w 16019"/>
                        <a:gd name="connsiteY207" fmla="*/ 16327 h 1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16019" h="17778">
                          <a:moveTo>
                            <a:pt x="3376" y="15370"/>
                          </a:moveTo>
                          <a:cubicBezTo>
                            <a:pt x="3316" y="15370"/>
                            <a:pt x="3316" y="15370"/>
                            <a:pt x="3376" y="15370"/>
                          </a:cubicBezTo>
                          <a:cubicBezTo>
                            <a:pt x="3316" y="15311"/>
                            <a:pt x="3316" y="15311"/>
                            <a:pt x="3316" y="15311"/>
                          </a:cubicBezTo>
                          <a:cubicBezTo>
                            <a:pt x="3316" y="15311"/>
                            <a:pt x="3316" y="15311"/>
                            <a:pt x="3256" y="15251"/>
                          </a:cubicBezTo>
                          <a:cubicBezTo>
                            <a:pt x="3256" y="15251"/>
                            <a:pt x="3256" y="15251"/>
                            <a:pt x="3197" y="15191"/>
                          </a:cubicBezTo>
                          <a:cubicBezTo>
                            <a:pt x="3017" y="15072"/>
                            <a:pt x="2897" y="14892"/>
                            <a:pt x="2718" y="14713"/>
                          </a:cubicBezTo>
                          <a:cubicBezTo>
                            <a:pt x="2598" y="14533"/>
                            <a:pt x="2479" y="14354"/>
                            <a:pt x="2359" y="14174"/>
                          </a:cubicBezTo>
                          <a:cubicBezTo>
                            <a:pt x="2239" y="13995"/>
                            <a:pt x="2120" y="13815"/>
                            <a:pt x="2060" y="13576"/>
                          </a:cubicBezTo>
                          <a:cubicBezTo>
                            <a:pt x="1940" y="13397"/>
                            <a:pt x="1881" y="13158"/>
                            <a:pt x="1761" y="12918"/>
                          </a:cubicBezTo>
                          <a:cubicBezTo>
                            <a:pt x="1642" y="12619"/>
                            <a:pt x="1582" y="12260"/>
                            <a:pt x="1522" y="11902"/>
                          </a:cubicBezTo>
                          <a:cubicBezTo>
                            <a:pt x="1462" y="11543"/>
                            <a:pt x="1402" y="11184"/>
                            <a:pt x="1402" y="10825"/>
                          </a:cubicBezTo>
                          <a:cubicBezTo>
                            <a:pt x="1402" y="10466"/>
                            <a:pt x="1402" y="10107"/>
                            <a:pt x="1462" y="9689"/>
                          </a:cubicBezTo>
                          <a:cubicBezTo>
                            <a:pt x="1522" y="9270"/>
                            <a:pt x="1582" y="8911"/>
                            <a:pt x="1642" y="8552"/>
                          </a:cubicBezTo>
                          <a:cubicBezTo>
                            <a:pt x="1642" y="8433"/>
                            <a:pt x="1701" y="8313"/>
                            <a:pt x="1701" y="8194"/>
                          </a:cubicBezTo>
                          <a:cubicBezTo>
                            <a:pt x="1701" y="8074"/>
                            <a:pt x="1761" y="7954"/>
                            <a:pt x="1821" y="7835"/>
                          </a:cubicBezTo>
                          <a:cubicBezTo>
                            <a:pt x="1881" y="7715"/>
                            <a:pt x="1881" y="7596"/>
                            <a:pt x="1940" y="7476"/>
                          </a:cubicBezTo>
                          <a:cubicBezTo>
                            <a:pt x="2000" y="7356"/>
                            <a:pt x="2000" y="7237"/>
                            <a:pt x="2060" y="7117"/>
                          </a:cubicBezTo>
                          <a:cubicBezTo>
                            <a:pt x="2060" y="7117"/>
                            <a:pt x="2060" y="7117"/>
                            <a:pt x="2060" y="7117"/>
                          </a:cubicBezTo>
                          <a:cubicBezTo>
                            <a:pt x="2060" y="7117"/>
                            <a:pt x="2060" y="7117"/>
                            <a:pt x="2060" y="7117"/>
                          </a:cubicBezTo>
                          <a:cubicBezTo>
                            <a:pt x="2060" y="7117"/>
                            <a:pt x="2060" y="7117"/>
                            <a:pt x="2060" y="7117"/>
                          </a:cubicBezTo>
                          <a:cubicBezTo>
                            <a:pt x="2060" y="7117"/>
                            <a:pt x="2060" y="7117"/>
                            <a:pt x="2060" y="7117"/>
                          </a:cubicBezTo>
                          <a:cubicBezTo>
                            <a:pt x="2239" y="6639"/>
                            <a:pt x="2479" y="6220"/>
                            <a:pt x="2718" y="5801"/>
                          </a:cubicBezTo>
                          <a:cubicBezTo>
                            <a:pt x="2957" y="5383"/>
                            <a:pt x="3256" y="4964"/>
                            <a:pt x="3496" y="4605"/>
                          </a:cubicBezTo>
                          <a:cubicBezTo>
                            <a:pt x="3794" y="4246"/>
                            <a:pt x="4093" y="3888"/>
                            <a:pt x="4452" y="3529"/>
                          </a:cubicBezTo>
                          <a:cubicBezTo>
                            <a:pt x="4811" y="3170"/>
                            <a:pt x="5170" y="2871"/>
                            <a:pt x="5529" y="2632"/>
                          </a:cubicBezTo>
                          <a:cubicBezTo>
                            <a:pt x="5589" y="2632"/>
                            <a:pt x="5589" y="2572"/>
                            <a:pt x="5649" y="2572"/>
                          </a:cubicBezTo>
                          <a:cubicBezTo>
                            <a:pt x="5708" y="2572"/>
                            <a:pt x="5708" y="2512"/>
                            <a:pt x="5768" y="2512"/>
                          </a:cubicBezTo>
                          <a:cubicBezTo>
                            <a:pt x="5828" y="2512"/>
                            <a:pt x="5828" y="2452"/>
                            <a:pt x="5888" y="2452"/>
                          </a:cubicBezTo>
                          <a:cubicBezTo>
                            <a:pt x="5947" y="2452"/>
                            <a:pt x="5947" y="2392"/>
                            <a:pt x="6007" y="2392"/>
                          </a:cubicBezTo>
                          <a:cubicBezTo>
                            <a:pt x="6067" y="2392"/>
                            <a:pt x="6067" y="2333"/>
                            <a:pt x="6127" y="2333"/>
                          </a:cubicBezTo>
                          <a:cubicBezTo>
                            <a:pt x="6187" y="2333"/>
                            <a:pt x="6187" y="2273"/>
                            <a:pt x="6246" y="2273"/>
                          </a:cubicBezTo>
                          <a:cubicBezTo>
                            <a:pt x="6306" y="2273"/>
                            <a:pt x="6306" y="2213"/>
                            <a:pt x="6366" y="2213"/>
                          </a:cubicBezTo>
                          <a:cubicBezTo>
                            <a:pt x="6426" y="2213"/>
                            <a:pt x="6426" y="2153"/>
                            <a:pt x="6486" y="2153"/>
                          </a:cubicBezTo>
                          <a:cubicBezTo>
                            <a:pt x="7084" y="1794"/>
                            <a:pt x="7742" y="1555"/>
                            <a:pt x="8340" y="1375"/>
                          </a:cubicBezTo>
                          <a:cubicBezTo>
                            <a:pt x="8938" y="1196"/>
                            <a:pt x="9596" y="1136"/>
                            <a:pt x="10194" y="1196"/>
                          </a:cubicBezTo>
                          <a:cubicBezTo>
                            <a:pt x="10792" y="1196"/>
                            <a:pt x="11330" y="1316"/>
                            <a:pt x="11868" y="1555"/>
                          </a:cubicBezTo>
                          <a:cubicBezTo>
                            <a:pt x="12407" y="1794"/>
                            <a:pt x="12885" y="2093"/>
                            <a:pt x="13304" y="2452"/>
                          </a:cubicBezTo>
                          <a:cubicBezTo>
                            <a:pt x="13483" y="2572"/>
                            <a:pt x="13603" y="2751"/>
                            <a:pt x="13722" y="2930"/>
                          </a:cubicBezTo>
                          <a:cubicBezTo>
                            <a:pt x="13842" y="3110"/>
                            <a:pt x="13962" y="3289"/>
                            <a:pt x="14081" y="3469"/>
                          </a:cubicBezTo>
                          <a:cubicBezTo>
                            <a:pt x="14201" y="3648"/>
                            <a:pt x="14321" y="3828"/>
                            <a:pt x="14380" y="4067"/>
                          </a:cubicBezTo>
                          <a:cubicBezTo>
                            <a:pt x="14500" y="4246"/>
                            <a:pt x="14560" y="4486"/>
                            <a:pt x="14620" y="4665"/>
                          </a:cubicBezTo>
                          <a:cubicBezTo>
                            <a:pt x="14859" y="5442"/>
                            <a:pt x="14978" y="6220"/>
                            <a:pt x="14978" y="7057"/>
                          </a:cubicBezTo>
                          <a:cubicBezTo>
                            <a:pt x="14978" y="7895"/>
                            <a:pt x="14859" y="8732"/>
                            <a:pt x="14560" y="9569"/>
                          </a:cubicBezTo>
                          <a:cubicBezTo>
                            <a:pt x="14321" y="10406"/>
                            <a:pt x="13962" y="11184"/>
                            <a:pt x="13483" y="11961"/>
                          </a:cubicBezTo>
                          <a:cubicBezTo>
                            <a:pt x="13005" y="12739"/>
                            <a:pt x="12467" y="13457"/>
                            <a:pt x="11809" y="14055"/>
                          </a:cubicBezTo>
                          <a:cubicBezTo>
                            <a:pt x="11749" y="14114"/>
                            <a:pt x="11689" y="14174"/>
                            <a:pt x="11629" y="14234"/>
                          </a:cubicBezTo>
                          <a:cubicBezTo>
                            <a:pt x="11569" y="14294"/>
                            <a:pt x="11509" y="14354"/>
                            <a:pt x="11450" y="14413"/>
                          </a:cubicBezTo>
                          <a:cubicBezTo>
                            <a:pt x="11390" y="14473"/>
                            <a:pt x="11330" y="14533"/>
                            <a:pt x="11270" y="14593"/>
                          </a:cubicBezTo>
                          <a:cubicBezTo>
                            <a:pt x="11211" y="14653"/>
                            <a:pt x="11151" y="14713"/>
                            <a:pt x="11091" y="14772"/>
                          </a:cubicBezTo>
                          <a:cubicBezTo>
                            <a:pt x="11031" y="14832"/>
                            <a:pt x="10971" y="14832"/>
                            <a:pt x="10912" y="14892"/>
                          </a:cubicBezTo>
                          <a:cubicBezTo>
                            <a:pt x="10852" y="14952"/>
                            <a:pt x="10792" y="14952"/>
                            <a:pt x="10732" y="15012"/>
                          </a:cubicBezTo>
                          <a:cubicBezTo>
                            <a:pt x="10672" y="15072"/>
                            <a:pt x="10613" y="15072"/>
                            <a:pt x="10553" y="15131"/>
                          </a:cubicBezTo>
                          <a:cubicBezTo>
                            <a:pt x="10493" y="15191"/>
                            <a:pt x="10433" y="15191"/>
                            <a:pt x="10373" y="15251"/>
                          </a:cubicBezTo>
                          <a:cubicBezTo>
                            <a:pt x="9835" y="15610"/>
                            <a:pt x="9297" y="15909"/>
                            <a:pt x="8699" y="16088"/>
                          </a:cubicBezTo>
                          <a:cubicBezTo>
                            <a:pt x="8160" y="16267"/>
                            <a:pt x="7562" y="16447"/>
                            <a:pt x="7024" y="16447"/>
                          </a:cubicBezTo>
                          <a:cubicBezTo>
                            <a:pt x="6486" y="16507"/>
                            <a:pt x="5947" y="16447"/>
                            <a:pt x="5469" y="16387"/>
                          </a:cubicBezTo>
                          <a:cubicBezTo>
                            <a:pt x="4991" y="16267"/>
                            <a:pt x="4452" y="16088"/>
                            <a:pt x="4034" y="15849"/>
                          </a:cubicBezTo>
                          <a:cubicBezTo>
                            <a:pt x="3974" y="15789"/>
                            <a:pt x="3914" y="15789"/>
                            <a:pt x="3854" y="15729"/>
                          </a:cubicBezTo>
                          <a:cubicBezTo>
                            <a:pt x="3794" y="15669"/>
                            <a:pt x="3735" y="15669"/>
                            <a:pt x="3675" y="15610"/>
                          </a:cubicBezTo>
                          <a:cubicBezTo>
                            <a:pt x="3615" y="15550"/>
                            <a:pt x="3555" y="15550"/>
                            <a:pt x="3496" y="15490"/>
                          </a:cubicBezTo>
                          <a:cubicBezTo>
                            <a:pt x="3436" y="15430"/>
                            <a:pt x="3436" y="15430"/>
                            <a:pt x="3376" y="15370"/>
                          </a:cubicBezTo>
                          <a:moveTo>
                            <a:pt x="3077" y="15370"/>
                          </a:moveTo>
                          <a:cubicBezTo>
                            <a:pt x="3197" y="15490"/>
                            <a:pt x="3376" y="15610"/>
                            <a:pt x="3555" y="15729"/>
                          </a:cubicBezTo>
                          <a:cubicBezTo>
                            <a:pt x="3735" y="15849"/>
                            <a:pt x="3854" y="15968"/>
                            <a:pt x="4034" y="16028"/>
                          </a:cubicBezTo>
                          <a:cubicBezTo>
                            <a:pt x="4213" y="16088"/>
                            <a:pt x="4392" y="16208"/>
                            <a:pt x="4572" y="16267"/>
                          </a:cubicBezTo>
                          <a:cubicBezTo>
                            <a:pt x="4751" y="16327"/>
                            <a:pt x="4931" y="16387"/>
                            <a:pt x="5170" y="16447"/>
                          </a:cubicBezTo>
                          <a:cubicBezTo>
                            <a:pt x="5589" y="16567"/>
                            <a:pt x="6007" y="16627"/>
                            <a:pt x="6426" y="16627"/>
                          </a:cubicBezTo>
                          <a:cubicBezTo>
                            <a:pt x="6845" y="16627"/>
                            <a:pt x="7323" y="16567"/>
                            <a:pt x="7742" y="16507"/>
                          </a:cubicBezTo>
                          <a:cubicBezTo>
                            <a:pt x="8160" y="16387"/>
                            <a:pt x="8639" y="16267"/>
                            <a:pt x="9117" y="16088"/>
                          </a:cubicBezTo>
                          <a:cubicBezTo>
                            <a:pt x="9536" y="15909"/>
                            <a:pt x="10014" y="15669"/>
                            <a:pt x="10433" y="15370"/>
                          </a:cubicBezTo>
                          <a:cubicBezTo>
                            <a:pt x="10852" y="15072"/>
                            <a:pt x="11270" y="14772"/>
                            <a:pt x="11689" y="14413"/>
                          </a:cubicBezTo>
                          <a:cubicBezTo>
                            <a:pt x="12048" y="14055"/>
                            <a:pt x="12467" y="13696"/>
                            <a:pt x="12766" y="13277"/>
                          </a:cubicBezTo>
                          <a:cubicBezTo>
                            <a:pt x="13124" y="12859"/>
                            <a:pt x="13423" y="12440"/>
                            <a:pt x="13663" y="11961"/>
                          </a:cubicBezTo>
                          <a:cubicBezTo>
                            <a:pt x="13962" y="11483"/>
                            <a:pt x="14141" y="11005"/>
                            <a:pt x="14380" y="10526"/>
                          </a:cubicBezTo>
                          <a:cubicBezTo>
                            <a:pt x="14560" y="9988"/>
                            <a:pt x="14739" y="9510"/>
                            <a:pt x="14859" y="8971"/>
                          </a:cubicBezTo>
                          <a:cubicBezTo>
                            <a:pt x="14978" y="8493"/>
                            <a:pt x="15038" y="7954"/>
                            <a:pt x="15098" y="7476"/>
                          </a:cubicBezTo>
                          <a:cubicBezTo>
                            <a:pt x="15098" y="6997"/>
                            <a:pt x="15098" y="6519"/>
                            <a:pt x="15038" y="6041"/>
                          </a:cubicBezTo>
                          <a:cubicBezTo>
                            <a:pt x="14978" y="5562"/>
                            <a:pt x="14859" y="5143"/>
                            <a:pt x="14679" y="4665"/>
                          </a:cubicBezTo>
                          <a:cubicBezTo>
                            <a:pt x="14620" y="4426"/>
                            <a:pt x="14500" y="4246"/>
                            <a:pt x="14440" y="4007"/>
                          </a:cubicBezTo>
                          <a:cubicBezTo>
                            <a:pt x="14321" y="3828"/>
                            <a:pt x="14261" y="3588"/>
                            <a:pt x="14141" y="3409"/>
                          </a:cubicBezTo>
                          <a:cubicBezTo>
                            <a:pt x="14022" y="3229"/>
                            <a:pt x="13902" y="3050"/>
                            <a:pt x="13782" y="2871"/>
                          </a:cubicBezTo>
                          <a:cubicBezTo>
                            <a:pt x="13663" y="2691"/>
                            <a:pt x="13483" y="2572"/>
                            <a:pt x="13364" y="2392"/>
                          </a:cubicBezTo>
                          <a:cubicBezTo>
                            <a:pt x="13244" y="2273"/>
                            <a:pt x="13065" y="2153"/>
                            <a:pt x="12885" y="2034"/>
                          </a:cubicBezTo>
                          <a:cubicBezTo>
                            <a:pt x="12706" y="1914"/>
                            <a:pt x="12586" y="1794"/>
                            <a:pt x="12407" y="1734"/>
                          </a:cubicBezTo>
                          <a:cubicBezTo>
                            <a:pt x="12227" y="1615"/>
                            <a:pt x="12048" y="1555"/>
                            <a:pt x="11868" y="1495"/>
                          </a:cubicBezTo>
                          <a:cubicBezTo>
                            <a:pt x="11689" y="1435"/>
                            <a:pt x="11509" y="1375"/>
                            <a:pt x="11270" y="1316"/>
                          </a:cubicBezTo>
                          <a:cubicBezTo>
                            <a:pt x="10852" y="1196"/>
                            <a:pt x="10433" y="1136"/>
                            <a:pt x="9954" y="1136"/>
                          </a:cubicBezTo>
                          <a:cubicBezTo>
                            <a:pt x="9476" y="1136"/>
                            <a:pt x="9058" y="1196"/>
                            <a:pt x="8639" y="1256"/>
                          </a:cubicBezTo>
                          <a:cubicBezTo>
                            <a:pt x="8160" y="1375"/>
                            <a:pt x="7742" y="1495"/>
                            <a:pt x="7263" y="1675"/>
                          </a:cubicBezTo>
                          <a:cubicBezTo>
                            <a:pt x="6785" y="1854"/>
                            <a:pt x="6366" y="2093"/>
                            <a:pt x="5947" y="2392"/>
                          </a:cubicBezTo>
                          <a:cubicBezTo>
                            <a:pt x="5529" y="2691"/>
                            <a:pt x="5110" y="2990"/>
                            <a:pt x="4692" y="3349"/>
                          </a:cubicBezTo>
                          <a:cubicBezTo>
                            <a:pt x="4273" y="3708"/>
                            <a:pt x="3914" y="4067"/>
                            <a:pt x="3615" y="4486"/>
                          </a:cubicBezTo>
                          <a:cubicBezTo>
                            <a:pt x="3256" y="4904"/>
                            <a:pt x="2957" y="5323"/>
                            <a:pt x="2718" y="5801"/>
                          </a:cubicBezTo>
                          <a:cubicBezTo>
                            <a:pt x="2419" y="6280"/>
                            <a:pt x="2180" y="6758"/>
                            <a:pt x="2000" y="7296"/>
                          </a:cubicBezTo>
                          <a:cubicBezTo>
                            <a:pt x="1821" y="7835"/>
                            <a:pt x="1642" y="8313"/>
                            <a:pt x="1522" y="8851"/>
                          </a:cubicBezTo>
                          <a:cubicBezTo>
                            <a:pt x="1402" y="9330"/>
                            <a:pt x="1343" y="9868"/>
                            <a:pt x="1343" y="10347"/>
                          </a:cubicBezTo>
                          <a:cubicBezTo>
                            <a:pt x="1343" y="10825"/>
                            <a:pt x="1343" y="11304"/>
                            <a:pt x="1402" y="11782"/>
                          </a:cubicBezTo>
                          <a:cubicBezTo>
                            <a:pt x="1462" y="12260"/>
                            <a:pt x="1582" y="12679"/>
                            <a:pt x="1701" y="13158"/>
                          </a:cubicBezTo>
                          <a:cubicBezTo>
                            <a:pt x="1761" y="13397"/>
                            <a:pt x="1881" y="13576"/>
                            <a:pt x="2000" y="13815"/>
                          </a:cubicBezTo>
                          <a:cubicBezTo>
                            <a:pt x="2120" y="14055"/>
                            <a:pt x="2180" y="14234"/>
                            <a:pt x="2299" y="14413"/>
                          </a:cubicBezTo>
                          <a:cubicBezTo>
                            <a:pt x="2419" y="14593"/>
                            <a:pt x="2538" y="14772"/>
                            <a:pt x="2658" y="14952"/>
                          </a:cubicBezTo>
                          <a:cubicBezTo>
                            <a:pt x="2778" y="15072"/>
                            <a:pt x="2957" y="15251"/>
                            <a:pt x="3077" y="15370"/>
                          </a:cubicBezTo>
                          <a:moveTo>
                            <a:pt x="13962" y="1615"/>
                          </a:moveTo>
                          <a:cubicBezTo>
                            <a:pt x="14141" y="1794"/>
                            <a:pt x="14321" y="1974"/>
                            <a:pt x="14440" y="2153"/>
                          </a:cubicBezTo>
                          <a:cubicBezTo>
                            <a:pt x="14620" y="2333"/>
                            <a:pt x="14739" y="2512"/>
                            <a:pt x="14859" y="2751"/>
                          </a:cubicBezTo>
                          <a:cubicBezTo>
                            <a:pt x="14978" y="2930"/>
                            <a:pt x="15098" y="3170"/>
                            <a:pt x="15218" y="3409"/>
                          </a:cubicBezTo>
                          <a:cubicBezTo>
                            <a:pt x="15337" y="3648"/>
                            <a:pt x="15397" y="3888"/>
                            <a:pt x="15517" y="4127"/>
                          </a:cubicBezTo>
                          <a:cubicBezTo>
                            <a:pt x="15696" y="4605"/>
                            <a:pt x="15816" y="5143"/>
                            <a:pt x="15876" y="5682"/>
                          </a:cubicBezTo>
                          <a:cubicBezTo>
                            <a:pt x="15935" y="6220"/>
                            <a:pt x="15995" y="6758"/>
                            <a:pt x="15935" y="7296"/>
                          </a:cubicBezTo>
                          <a:cubicBezTo>
                            <a:pt x="15876" y="7835"/>
                            <a:pt x="15816" y="8433"/>
                            <a:pt x="15696" y="8971"/>
                          </a:cubicBezTo>
                          <a:cubicBezTo>
                            <a:pt x="15576" y="9569"/>
                            <a:pt x="15397" y="10107"/>
                            <a:pt x="15158" y="10705"/>
                          </a:cubicBezTo>
                          <a:cubicBezTo>
                            <a:pt x="14919" y="11304"/>
                            <a:pt x="14679" y="11842"/>
                            <a:pt x="14380" y="12320"/>
                          </a:cubicBezTo>
                          <a:cubicBezTo>
                            <a:pt x="14081" y="12859"/>
                            <a:pt x="13722" y="13337"/>
                            <a:pt x="13364" y="13815"/>
                          </a:cubicBezTo>
                          <a:cubicBezTo>
                            <a:pt x="13005" y="14294"/>
                            <a:pt x="12586" y="14713"/>
                            <a:pt x="12168" y="15131"/>
                          </a:cubicBezTo>
                          <a:cubicBezTo>
                            <a:pt x="11749" y="15550"/>
                            <a:pt x="11270" y="15909"/>
                            <a:pt x="10792" y="16208"/>
                          </a:cubicBezTo>
                          <a:cubicBezTo>
                            <a:pt x="10314" y="16507"/>
                            <a:pt x="9835" y="16806"/>
                            <a:pt x="9297" y="16985"/>
                          </a:cubicBezTo>
                          <a:cubicBezTo>
                            <a:pt x="8818" y="17225"/>
                            <a:pt x="8280" y="17344"/>
                            <a:pt x="7801" y="17464"/>
                          </a:cubicBezTo>
                          <a:cubicBezTo>
                            <a:pt x="7323" y="17583"/>
                            <a:pt x="6785" y="17643"/>
                            <a:pt x="6306" y="17643"/>
                          </a:cubicBezTo>
                          <a:cubicBezTo>
                            <a:pt x="5828" y="17643"/>
                            <a:pt x="5350" y="17583"/>
                            <a:pt x="4871" y="17464"/>
                          </a:cubicBezTo>
                          <a:cubicBezTo>
                            <a:pt x="4632" y="17404"/>
                            <a:pt x="4452" y="17344"/>
                            <a:pt x="4213" y="17284"/>
                          </a:cubicBezTo>
                          <a:cubicBezTo>
                            <a:pt x="3974" y="17225"/>
                            <a:pt x="3794" y="17105"/>
                            <a:pt x="3615" y="16985"/>
                          </a:cubicBezTo>
                          <a:cubicBezTo>
                            <a:pt x="3436" y="16866"/>
                            <a:pt x="3197" y="16746"/>
                            <a:pt x="3017" y="16627"/>
                          </a:cubicBezTo>
                          <a:cubicBezTo>
                            <a:pt x="2838" y="16507"/>
                            <a:pt x="2658" y="16387"/>
                            <a:pt x="2479" y="16208"/>
                          </a:cubicBezTo>
                          <a:cubicBezTo>
                            <a:pt x="2299" y="16028"/>
                            <a:pt x="2120" y="15849"/>
                            <a:pt x="2000" y="15669"/>
                          </a:cubicBezTo>
                          <a:cubicBezTo>
                            <a:pt x="1821" y="15490"/>
                            <a:pt x="1701" y="15311"/>
                            <a:pt x="1582" y="15072"/>
                          </a:cubicBezTo>
                          <a:cubicBezTo>
                            <a:pt x="1462" y="14892"/>
                            <a:pt x="1343" y="14653"/>
                            <a:pt x="1223" y="14413"/>
                          </a:cubicBezTo>
                          <a:cubicBezTo>
                            <a:pt x="1103" y="14174"/>
                            <a:pt x="983" y="13935"/>
                            <a:pt x="924" y="13696"/>
                          </a:cubicBezTo>
                          <a:cubicBezTo>
                            <a:pt x="744" y="13218"/>
                            <a:pt x="625" y="12679"/>
                            <a:pt x="565" y="12141"/>
                          </a:cubicBezTo>
                          <a:cubicBezTo>
                            <a:pt x="505" y="11603"/>
                            <a:pt x="505" y="11064"/>
                            <a:pt x="505" y="10526"/>
                          </a:cubicBezTo>
                          <a:cubicBezTo>
                            <a:pt x="505" y="9988"/>
                            <a:pt x="625" y="9390"/>
                            <a:pt x="744" y="8851"/>
                          </a:cubicBezTo>
                          <a:cubicBezTo>
                            <a:pt x="864" y="8313"/>
                            <a:pt x="1043" y="7715"/>
                            <a:pt x="1283" y="7117"/>
                          </a:cubicBezTo>
                          <a:cubicBezTo>
                            <a:pt x="1522" y="6519"/>
                            <a:pt x="1761" y="5981"/>
                            <a:pt x="2060" y="5442"/>
                          </a:cubicBezTo>
                          <a:cubicBezTo>
                            <a:pt x="2359" y="4904"/>
                            <a:pt x="2718" y="4426"/>
                            <a:pt x="3077" y="3947"/>
                          </a:cubicBezTo>
                          <a:cubicBezTo>
                            <a:pt x="3436" y="3469"/>
                            <a:pt x="3854" y="3050"/>
                            <a:pt x="4333" y="2632"/>
                          </a:cubicBezTo>
                          <a:cubicBezTo>
                            <a:pt x="4751" y="2213"/>
                            <a:pt x="5230" y="1854"/>
                            <a:pt x="5768" y="1555"/>
                          </a:cubicBezTo>
                          <a:cubicBezTo>
                            <a:pt x="6246" y="1256"/>
                            <a:pt x="6785" y="957"/>
                            <a:pt x="7263" y="778"/>
                          </a:cubicBezTo>
                          <a:cubicBezTo>
                            <a:pt x="7801" y="538"/>
                            <a:pt x="8280" y="419"/>
                            <a:pt x="8818" y="299"/>
                          </a:cubicBezTo>
                          <a:cubicBezTo>
                            <a:pt x="9297" y="180"/>
                            <a:pt x="9835" y="120"/>
                            <a:pt x="10314" y="180"/>
                          </a:cubicBezTo>
                          <a:cubicBezTo>
                            <a:pt x="10792" y="180"/>
                            <a:pt x="11270" y="239"/>
                            <a:pt x="11749" y="359"/>
                          </a:cubicBezTo>
                          <a:cubicBezTo>
                            <a:pt x="11988" y="419"/>
                            <a:pt x="12227" y="479"/>
                            <a:pt x="12407" y="538"/>
                          </a:cubicBezTo>
                          <a:cubicBezTo>
                            <a:pt x="12646" y="598"/>
                            <a:pt x="12825" y="718"/>
                            <a:pt x="13005" y="837"/>
                          </a:cubicBezTo>
                          <a:cubicBezTo>
                            <a:pt x="13184" y="957"/>
                            <a:pt x="13364" y="1076"/>
                            <a:pt x="13603" y="1196"/>
                          </a:cubicBezTo>
                          <a:cubicBezTo>
                            <a:pt x="13842" y="1316"/>
                            <a:pt x="13782" y="1435"/>
                            <a:pt x="13962" y="1615"/>
                          </a:cubicBezTo>
                          <a:moveTo>
                            <a:pt x="2359" y="16327"/>
                          </a:moveTo>
                          <a:cubicBezTo>
                            <a:pt x="2419" y="16387"/>
                            <a:pt x="2479" y="16387"/>
                            <a:pt x="2479" y="16447"/>
                          </a:cubicBezTo>
                          <a:cubicBezTo>
                            <a:pt x="2479" y="16507"/>
                            <a:pt x="2598" y="16507"/>
                            <a:pt x="2598" y="16567"/>
                          </a:cubicBezTo>
                          <a:cubicBezTo>
                            <a:pt x="2598" y="16627"/>
                            <a:pt x="2718" y="16627"/>
                            <a:pt x="2718" y="16686"/>
                          </a:cubicBezTo>
                          <a:cubicBezTo>
                            <a:pt x="2778" y="16746"/>
                            <a:pt x="2838" y="16746"/>
                            <a:pt x="2838" y="16806"/>
                          </a:cubicBezTo>
                          <a:cubicBezTo>
                            <a:pt x="3376" y="17165"/>
                            <a:pt x="3974" y="17464"/>
                            <a:pt x="4572" y="17583"/>
                          </a:cubicBezTo>
                          <a:cubicBezTo>
                            <a:pt x="5170" y="17703"/>
                            <a:pt x="5888" y="17822"/>
                            <a:pt x="6546" y="17763"/>
                          </a:cubicBezTo>
                          <a:cubicBezTo>
                            <a:pt x="7204" y="17703"/>
                            <a:pt x="7921" y="17583"/>
                            <a:pt x="8639" y="17344"/>
                          </a:cubicBezTo>
                          <a:cubicBezTo>
                            <a:pt x="9357" y="17105"/>
                            <a:pt x="10014" y="16746"/>
                            <a:pt x="10732" y="16327"/>
                          </a:cubicBezTo>
                          <a:cubicBezTo>
                            <a:pt x="10792" y="16267"/>
                            <a:pt x="10852" y="16267"/>
                            <a:pt x="10912" y="16208"/>
                          </a:cubicBezTo>
                          <a:cubicBezTo>
                            <a:pt x="10971" y="16148"/>
                            <a:pt x="11031" y="16148"/>
                            <a:pt x="11091" y="16088"/>
                          </a:cubicBezTo>
                          <a:cubicBezTo>
                            <a:pt x="11151" y="16028"/>
                            <a:pt x="11211" y="16028"/>
                            <a:pt x="11270" y="15968"/>
                          </a:cubicBezTo>
                          <a:cubicBezTo>
                            <a:pt x="11330" y="15909"/>
                            <a:pt x="11390" y="15849"/>
                            <a:pt x="11450" y="15849"/>
                          </a:cubicBezTo>
                          <a:cubicBezTo>
                            <a:pt x="11509" y="15789"/>
                            <a:pt x="11569" y="15729"/>
                            <a:pt x="11629" y="15669"/>
                          </a:cubicBezTo>
                          <a:cubicBezTo>
                            <a:pt x="11689" y="15610"/>
                            <a:pt x="11749" y="15550"/>
                            <a:pt x="11809" y="15490"/>
                          </a:cubicBezTo>
                          <a:cubicBezTo>
                            <a:pt x="11868" y="15430"/>
                            <a:pt x="11928" y="15370"/>
                            <a:pt x="11988" y="15311"/>
                          </a:cubicBezTo>
                          <a:cubicBezTo>
                            <a:pt x="12048" y="15251"/>
                            <a:pt x="12108" y="15191"/>
                            <a:pt x="12168" y="15131"/>
                          </a:cubicBezTo>
                          <a:cubicBezTo>
                            <a:pt x="12467" y="14832"/>
                            <a:pt x="12766" y="14533"/>
                            <a:pt x="13065" y="14174"/>
                          </a:cubicBezTo>
                          <a:cubicBezTo>
                            <a:pt x="13364" y="13815"/>
                            <a:pt x="13603" y="13457"/>
                            <a:pt x="13902" y="13098"/>
                          </a:cubicBezTo>
                          <a:cubicBezTo>
                            <a:pt x="14141" y="12739"/>
                            <a:pt x="14380" y="12320"/>
                            <a:pt x="14620" y="11961"/>
                          </a:cubicBezTo>
                          <a:cubicBezTo>
                            <a:pt x="14859" y="11543"/>
                            <a:pt x="15038" y="11124"/>
                            <a:pt x="15218" y="10705"/>
                          </a:cubicBezTo>
                          <a:cubicBezTo>
                            <a:pt x="15457" y="10107"/>
                            <a:pt x="15636" y="9569"/>
                            <a:pt x="15756" y="8971"/>
                          </a:cubicBezTo>
                          <a:cubicBezTo>
                            <a:pt x="15876" y="8373"/>
                            <a:pt x="15995" y="7835"/>
                            <a:pt x="15995" y="7237"/>
                          </a:cubicBezTo>
                          <a:cubicBezTo>
                            <a:pt x="16055" y="6698"/>
                            <a:pt x="15995" y="6100"/>
                            <a:pt x="15935" y="5562"/>
                          </a:cubicBezTo>
                          <a:cubicBezTo>
                            <a:pt x="15876" y="5024"/>
                            <a:pt x="15756" y="4486"/>
                            <a:pt x="15576" y="4007"/>
                          </a:cubicBezTo>
                          <a:cubicBezTo>
                            <a:pt x="15517" y="3768"/>
                            <a:pt x="15397" y="3529"/>
                            <a:pt x="15277" y="3289"/>
                          </a:cubicBezTo>
                          <a:cubicBezTo>
                            <a:pt x="15158" y="3050"/>
                            <a:pt x="15038" y="2811"/>
                            <a:pt x="14919" y="2632"/>
                          </a:cubicBezTo>
                          <a:cubicBezTo>
                            <a:pt x="14799" y="2392"/>
                            <a:pt x="14620" y="2213"/>
                            <a:pt x="14500" y="2034"/>
                          </a:cubicBezTo>
                          <a:cubicBezTo>
                            <a:pt x="14321" y="1854"/>
                            <a:pt x="14141" y="1675"/>
                            <a:pt x="13962" y="1495"/>
                          </a:cubicBezTo>
                          <a:cubicBezTo>
                            <a:pt x="13423" y="1017"/>
                            <a:pt x="12885" y="658"/>
                            <a:pt x="12227" y="419"/>
                          </a:cubicBezTo>
                          <a:cubicBezTo>
                            <a:pt x="11569" y="180"/>
                            <a:pt x="10912" y="0"/>
                            <a:pt x="10194" y="0"/>
                          </a:cubicBezTo>
                          <a:cubicBezTo>
                            <a:pt x="9476" y="0"/>
                            <a:pt x="8759" y="60"/>
                            <a:pt x="8041" y="239"/>
                          </a:cubicBezTo>
                          <a:cubicBezTo>
                            <a:pt x="7323" y="419"/>
                            <a:pt x="6546" y="778"/>
                            <a:pt x="5828" y="1196"/>
                          </a:cubicBezTo>
                          <a:cubicBezTo>
                            <a:pt x="5768" y="1196"/>
                            <a:pt x="5768" y="1256"/>
                            <a:pt x="5708" y="1256"/>
                          </a:cubicBezTo>
                          <a:cubicBezTo>
                            <a:pt x="5649" y="1256"/>
                            <a:pt x="5649" y="1316"/>
                            <a:pt x="5589" y="1316"/>
                          </a:cubicBezTo>
                          <a:cubicBezTo>
                            <a:pt x="5529" y="1316"/>
                            <a:pt x="5529" y="1375"/>
                            <a:pt x="5469" y="1375"/>
                          </a:cubicBezTo>
                          <a:cubicBezTo>
                            <a:pt x="5409" y="1375"/>
                            <a:pt x="5409" y="1435"/>
                            <a:pt x="5350" y="1435"/>
                          </a:cubicBezTo>
                          <a:cubicBezTo>
                            <a:pt x="5290" y="1435"/>
                            <a:pt x="5290" y="1495"/>
                            <a:pt x="5230" y="1495"/>
                          </a:cubicBezTo>
                          <a:cubicBezTo>
                            <a:pt x="5170" y="1495"/>
                            <a:pt x="5170" y="1555"/>
                            <a:pt x="5110" y="1555"/>
                          </a:cubicBezTo>
                          <a:cubicBezTo>
                            <a:pt x="5051" y="1555"/>
                            <a:pt x="5051" y="1615"/>
                            <a:pt x="4991" y="1615"/>
                          </a:cubicBezTo>
                          <a:cubicBezTo>
                            <a:pt x="4931" y="1615"/>
                            <a:pt x="4931" y="1675"/>
                            <a:pt x="4871" y="1734"/>
                          </a:cubicBezTo>
                          <a:cubicBezTo>
                            <a:pt x="4452" y="2034"/>
                            <a:pt x="4034" y="2392"/>
                            <a:pt x="3615" y="2811"/>
                          </a:cubicBezTo>
                          <a:cubicBezTo>
                            <a:pt x="3197" y="3229"/>
                            <a:pt x="2838" y="3648"/>
                            <a:pt x="2538" y="4067"/>
                          </a:cubicBezTo>
                          <a:cubicBezTo>
                            <a:pt x="2180" y="4486"/>
                            <a:pt x="1881" y="4964"/>
                            <a:pt x="1582" y="5502"/>
                          </a:cubicBezTo>
                          <a:cubicBezTo>
                            <a:pt x="1283" y="5981"/>
                            <a:pt x="1043" y="6519"/>
                            <a:pt x="864" y="7057"/>
                          </a:cubicBezTo>
                          <a:cubicBezTo>
                            <a:pt x="804" y="7177"/>
                            <a:pt x="804" y="7296"/>
                            <a:pt x="744" y="7416"/>
                          </a:cubicBezTo>
                          <a:cubicBezTo>
                            <a:pt x="684" y="7536"/>
                            <a:pt x="684" y="7655"/>
                            <a:pt x="625" y="7775"/>
                          </a:cubicBezTo>
                          <a:cubicBezTo>
                            <a:pt x="565" y="7895"/>
                            <a:pt x="565" y="8014"/>
                            <a:pt x="505" y="8134"/>
                          </a:cubicBezTo>
                          <a:cubicBezTo>
                            <a:pt x="445" y="8253"/>
                            <a:pt x="445" y="8373"/>
                            <a:pt x="385" y="8493"/>
                          </a:cubicBezTo>
                          <a:cubicBezTo>
                            <a:pt x="385" y="8612"/>
                            <a:pt x="326" y="8732"/>
                            <a:pt x="326" y="8791"/>
                          </a:cubicBezTo>
                          <a:cubicBezTo>
                            <a:pt x="326" y="8851"/>
                            <a:pt x="266" y="9031"/>
                            <a:pt x="266" y="9091"/>
                          </a:cubicBezTo>
                          <a:cubicBezTo>
                            <a:pt x="266" y="9151"/>
                            <a:pt x="206" y="9330"/>
                            <a:pt x="206" y="9390"/>
                          </a:cubicBezTo>
                          <a:cubicBezTo>
                            <a:pt x="206" y="9450"/>
                            <a:pt x="146" y="9629"/>
                            <a:pt x="146" y="9689"/>
                          </a:cubicBezTo>
                          <a:cubicBezTo>
                            <a:pt x="86" y="10048"/>
                            <a:pt x="86" y="10406"/>
                            <a:pt x="27" y="10765"/>
                          </a:cubicBezTo>
                          <a:cubicBezTo>
                            <a:pt x="-33" y="11124"/>
                            <a:pt x="27" y="11483"/>
                            <a:pt x="27" y="11842"/>
                          </a:cubicBezTo>
                          <a:cubicBezTo>
                            <a:pt x="27" y="12201"/>
                            <a:pt x="86" y="12500"/>
                            <a:pt x="146" y="12859"/>
                          </a:cubicBezTo>
                          <a:cubicBezTo>
                            <a:pt x="206" y="13158"/>
                            <a:pt x="326" y="13516"/>
                            <a:pt x="385" y="13815"/>
                          </a:cubicBezTo>
                          <a:cubicBezTo>
                            <a:pt x="505" y="14055"/>
                            <a:pt x="565" y="14294"/>
                            <a:pt x="684" y="14533"/>
                          </a:cubicBezTo>
                          <a:cubicBezTo>
                            <a:pt x="804" y="14772"/>
                            <a:pt x="924" y="14952"/>
                            <a:pt x="1043" y="15191"/>
                          </a:cubicBezTo>
                          <a:cubicBezTo>
                            <a:pt x="1163" y="15370"/>
                            <a:pt x="1283" y="15610"/>
                            <a:pt x="1462" y="15789"/>
                          </a:cubicBezTo>
                          <a:cubicBezTo>
                            <a:pt x="1582" y="15968"/>
                            <a:pt x="1761" y="16148"/>
                            <a:pt x="1940" y="16327"/>
                          </a:cubicBezTo>
                          <a:cubicBezTo>
                            <a:pt x="1940" y="16327"/>
                            <a:pt x="1940" y="16327"/>
                            <a:pt x="1940" y="16327"/>
                          </a:cubicBezTo>
                          <a:cubicBezTo>
                            <a:pt x="2299" y="16267"/>
                            <a:pt x="2299" y="16267"/>
                            <a:pt x="2359" y="16327"/>
                          </a:cubicBezTo>
                          <a:cubicBezTo>
                            <a:pt x="2299" y="16267"/>
                            <a:pt x="2299" y="16267"/>
                            <a:pt x="2359" y="16327"/>
                          </a:cubicBezTo>
                          <a:cubicBezTo>
                            <a:pt x="2359" y="16327"/>
                            <a:pt x="2359" y="16327"/>
                            <a:pt x="2359" y="16327"/>
                          </a:cubicBezTo>
                        </a:path>
                      </a:pathLst>
                    </a:custGeom>
                    <a:noFill/>
                    <a:ln w="6350" cap="flat">
                      <a:solidFill>
                        <a:schemeClr val="bg1">
                          <a:alpha val="80000"/>
                        </a:schemeClr>
                      </a:solidFill>
                      <a:prstDash val="solid"/>
                      <a:miter/>
                    </a:ln>
                  </p:spPr>
                  <p:txBody>
                    <a:bodyPr rtlCol="0" anchor="ctr"/>
                    <a:lstStyle/>
                    <a:p>
                      <a:endParaRPr lang="en-GB"/>
                    </a:p>
                  </p:txBody>
                </p:sp>
                <p:sp>
                  <p:nvSpPr>
                    <p:cNvPr id="7506" name="Vrije vorm: vorm 7505">
                      <a:extLst>
                        <a:ext uri="{FF2B5EF4-FFF2-40B4-BE49-F238E27FC236}">
                          <a16:creationId xmlns:a16="http://schemas.microsoft.com/office/drawing/2014/main" id="{FB789DB0-3E29-483B-9ED8-1327BC96346C}"/>
                        </a:ext>
                      </a:extLst>
                    </p:cNvPr>
                    <p:cNvSpPr/>
                    <p:nvPr/>
                  </p:nvSpPr>
                  <p:spPr>
                    <a:xfrm>
                      <a:off x="5315685" y="5128030"/>
                      <a:ext cx="15609" cy="17463"/>
                    </a:xfrm>
                    <a:custGeom>
                      <a:avLst/>
                      <a:gdLst>
                        <a:gd name="connsiteX0" fmla="*/ 13038 w 15609"/>
                        <a:gd name="connsiteY0" fmla="*/ 2213 h 17463"/>
                        <a:gd name="connsiteX1" fmla="*/ 13457 w 15609"/>
                        <a:gd name="connsiteY1" fmla="*/ 2691 h 17463"/>
                        <a:gd name="connsiteX2" fmla="*/ 13815 w 15609"/>
                        <a:gd name="connsiteY2" fmla="*/ 3229 h 17463"/>
                        <a:gd name="connsiteX3" fmla="*/ 14115 w 15609"/>
                        <a:gd name="connsiteY3" fmla="*/ 3827 h 17463"/>
                        <a:gd name="connsiteX4" fmla="*/ 14354 w 15609"/>
                        <a:gd name="connsiteY4" fmla="*/ 4486 h 17463"/>
                        <a:gd name="connsiteX5" fmla="*/ 14713 w 15609"/>
                        <a:gd name="connsiteY5" fmla="*/ 5861 h 17463"/>
                        <a:gd name="connsiteX6" fmla="*/ 14773 w 15609"/>
                        <a:gd name="connsiteY6" fmla="*/ 7296 h 17463"/>
                        <a:gd name="connsiteX7" fmla="*/ 14533 w 15609"/>
                        <a:gd name="connsiteY7" fmla="*/ 8791 h 17463"/>
                        <a:gd name="connsiteX8" fmla="*/ 14055 w 15609"/>
                        <a:gd name="connsiteY8" fmla="*/ 10347 h 17463"/>
                        <a:gd name="connsiteX9" fmla="*/ 13337 w 15609"/>
                        <a:gd name="connsiteY9" fmla="*/ 11782 h 17463"/>
                        <a:gd name="connsiteX10" fmla="*/ 12440 w 15609"/>
                        <a:gd name="connsiteY10" fmla="*/ 13097 h 17463"/>
                        <a:gd name="connsiteX11" fmla="*/ 11364 w 15609"/>
                        <a:gd name="connsiteY11" fmla="*/ 14234 h 17463"/>
                        <a:gd name="connsiteX12" fmla="*/ 10107 w 15609"/>
                        <a:gd name="connsiteY12" fmla="*/ 15191 h 17463"/>
                        <a:gd name="connsiteX13" fmla="*/ 8792 w 15609"/>
                        <a:gd name="connsiteY13" fmla="*/ 15909 h 17463"/>
                        <a:gd name="connsiteX14" fmla="*/ 7416 w 15609"/>
                        <a:gd name="connsiteY14" fmla="*/ 16327 h 17463"/>
                        <a:gd name="connsiteX15" fmla="*/ 6100 w 15609"/>
                        <a:gd name="connsiteY15" fmla="*/ 16447 h 17463"/>
                        <a:gd name="connsiteX16" fmla="*/ 4844 w 15609"/>
                        <a:gd name="connsiteY16" fmla="*/ 16267 h 17463"/>
                        <a:gd name="connsiteX17" fmla="*/ 4246 w 15609"/>
                        <a:gd name="connsiteY17" fmla="*/ 16088 h 17463"/>
                        <a:gd name="connsiteX18" fmla="*/ 3708 w 15609"/>
                        <a:gd name="connsiteY18" fmla="*/ 15849 h 17463"/>
                        <a:gd name="connsiteX19" fmla="*/ 3230 w 15609"/>
                        <a:gd name="connsiteY19" fmla="*/ 15550 h 17463"/>
                        <a:gd name="connsiteX20" fmla="*/ 2751 w 15609"/>
                        <a:gd name="connsiteY20" fmla="*/ 15191 h 17463"/>
                        <a:gd name="connsiteX21" fmla="*/ 2273 w 15609"/>
                        <a:gd name="connsiteY21" fmla="*/ 14712 h 17463"/>
                        <a:gd name="connsiteX22" fmla="*/ 1914 w 15609"/>
                        <a:gd name="connsiteY22" fmla="*/ 14174 h 17463"/>
                        <a:gd name="connsiteX23" fmla="*/ 1615 w 15609"/>
                        <a:gd name="connsiteY23" fmla="*/ 13576 h 17463"/>
                        <a:gd name="connsiteX24" fmla="*/ 1316 w 15609"/>
                        <a:gd name="connsiteY24" fmla="*/ 12918 h 17463"/>
                        <a:gd name="connsiteX25" fmla="*/ 1017 w 15609"/>
                        <a:gd name="connsiteY25" fmla="*/ 11543 h 17463"/>
                        <a:gd name="connsiteX26" fmla="*/ 957 w 15609"/>
                        <a:gd name="connsiteY26" fmla="*/ 10107 h 17463"/>
                        <a:gd name="connsiteX27" fmla="*/ 1136 w 15609"/>
                        <a:gd name="connsiteY27" fmla="*/ 8612 h 17463"/>
                        <a:gd name="connsiteX28" fmla="*/ 1615 w 15609"/>
                        <a:gd name="connsiteY28" fmla="*/ 7057 h 17463"/>
                        <a:gd name="connsiteX29" fmla="*/ 2333 w 15609"/>
                        <a:gd name="connsiteY29" fmla="*/ 5562 h 17463"/>
                        <a:gd name="connsiteX30" fmla="*/ 3230 w 15609"/>
                        <a:gd name="connsiteY30" fmla="*/ 4246 h 17463"/>
                        <a:gd name="connsiteX31" fmla="*/ 4306 w 15609"/>
                        <a:gd name="connsiteY31" fmla="*/ 3110 h 17463"/>
                        <a:gd name="connsiteX32" fmla="*/ 5562 w 15609"/>
                        <a:gd name="connsiteY32" fmla="*/ 2153 h 17463"/>
                        <a:gd name="connsiteX33" fmla="*/ 6878 w 15609"/>
                        <a:gd name="connsiteY33" fmla="*/ 1435 h 17463"/>
                        <a:gd name="connsiteX34" fmla="*/ 8253 w 15609"/>
                        <a:gd name="connsiteY34" fmla="*/ 1017 h 17463"/>
                        <a:gd name="connsiteX35" fmla="*/ 9569 w 15609"/>
                        <a:gd name="connsiteY35" fmla="*/ 897 h 17463"/>
                        <a:gd name="connsiteX36" fmla="*/ 10885 w 15609"/>
                        <a:gd name="connsiteY36" fmla="*/ 1076 h 17463"/>
                        <a:gd name="connsiteX37" fmla="*/ 11483 w 15609"/>
                        <a:gd name="connsiteY37" fmla="*/ 1256 h 17463"/>
                        <a:gd name="connsiteX38" fmla="*/ 12021 w 15609"/>
                        <a:gd name="connsiteY38" fmla="*/ 1495 h 17463"/>
                        <a:gd name="connsiteX39" fmla="*/ 12500 w 15609"/>
                        <a:gd name="connsiteY39" fmla="*/ 1794 h 17463"/>
                        <a:gd name="connsiteX40" fmla="*/ 13038 w 15609"/>
                        <a:gd name="connsiteY40" fmla="*/ 2213 h 17463"/>
                        <a:gd name="connsiteX41" fmla="*/ 2153 w 15609"/>
                        <a:gd name="connsiteY41" fmla="*/ 16028 h 17463"/>
                        <a:gd name="connsiteX42" fmla="*/ 2691 w 15609"/>
                        <a:gd name="connsiteY42" fmla="*/ 16447 h 17463"/>
                        <a:gd name="connsiteX43" fmla="*/ 3290 w 15609"/>
                        <a:gd name="connsiteY43" fmla="*/ 16806 h 17463"/>
                        <a:gd name="connsiteX44" fmla="*/ 3888 w 15609"/>
                        <a:gd name="connsiteY44" fmla="*/ 17105 h 17463"/>
                        <a:gd name="connsiteX45" fmla="*/ 4545 w 15609"/>
                        <a:gd name="connsiteY45" fmla="*/ 17284 h 17463"/>
                        <a:gd name="connsiteX46" fmla="*/ 5981 w 15609"/>
                        <a:gd name="connsiteY46" fmla="*/ 17464 h 17463"/>
                        <a:gd name="connsiteX47" fmla="*/ 7476 w 15609"/>
                        <a:gd name="connsiteY47" fmla="*/ 17284 h 17463"/>
                        <a:gd name="connsiteX48" fmla="*/ 8971 w 15609"/>
                        <a:gd name="connsiteY48" fmla="*/ 16806 h 17463"/>
                        <a:gd name="connsiteX49" fmla="*/ 10466 w 15609"/>
                        <a:gd name="connsiteY49" fmla="*/ 16028 h 17463"/>
                        <a:gd name="connsiteX50" fmla="*/ 11842 w 15609"/>
                        <a:gd name="connsiteY50" fmla="*/ 14952 h 17463"/>
                        <a:gd name="connsiteX51" fmla="*/ 13038 w 15609"/>
                        <a:gd name="connsiteY51" fmla="*/ 13636 h 17463"/>
                        <a:gd name="connsiteX52" fmla="*/ 14055 w 15609"/>
                        <a:gd name="connsiteY52" fmla="*/ 12141 h 17463"/>
                        <a:gd name="connsiteX53" fmla="*/ 14832 w 15609"/>
                        <a:gd name="connsiteY53" fmla="*/ 10526 h 17463"/>
                        <a:gd name="connsiteX54" fmla="*/ 15371 w 15609"/>
                        <a:gd name="connsiteY54" fmla="*/ 8791 h 17463"/>
                        <a:gd name="connsiteX55" fmla="*/ 15610 w 15609"/>
                        <a:gd name="connsiteY55" fmla="*/ 7117 h 17463"/>
                        <a:gd name="connsiteX56" fmla="*/ 15550 w 15609"/>
                        <a:gd name="connsiteY56" fmla="*/ 5502 h 17463"/>
                        <a:gd name="connsiteX57" fmla="*/ 15191 w 15609"/>
                        <a:gd name="connsiteY57" fmla="*/ 3947 h 17463"/>
                        <a:gd name="connsiteX58" fmla="*/ 14892 w 15609"/>
                        <a:gd name="connsiteY58" fmla="*/ 3229 h 17463"/>
                        <a:gd name="connsiteX59" fmla="*/ 14533 w 15609"/>
                        <a:gd name="connsiteY59" fmla="*/ 2572 h 17463"/>
                        <a:gd name="connsiteX60" fmla="*/ 14115 w 15609"/>
                        <a:gd name="connsiteY60" fmla="*/ 1973 h 17463"/>
                        <a:gd name="connsiteX61" fmla="*/ 13636 w 15609"/>
                        <a:gd name="connsiteY61" fmla="*/ 1435 h 17463"/>
                        <a:gd name="connsiteX62" fmla="*/ 13098 w 15609"/>
                        <a:gd name="connsiteY62" fmla="*/ 1017 h 17463"/>
                        <a:gd name="connsiteX63" fmla="*/ 12500 w 15609"/>
                        <a:gd name="connsiteY63" fmla="*/ 658 h 17463"/>
                        <a:gd name="connsiteX64" fmla="*/ 11902 w 15609"/>
                        <a:gd name="connsiteY64" fmla="*/ 359 h 17463"/>
                        <a:gd name="connsiteX65" fmla="*/ 11244 w 15609"/>
                        <a:gd name="connsiteY65" fmla="*/ 179 h 17463"/>
                        <a:gd name="connsiteX66" fmla="*/ 9808 w 15609"/>
                        <a:gd name="connsiteY66" fmla="*/ 0 h 17463"/>
                        <a:gd name="connsiteX67" fmla="*/ 8313 w 15609"/>
                        <a:gd name="connsiteY67" fmla="*/ 119 h 17463"/>
                        <a:gd name="connsiteX68" fmla="*/ 6758 w 15609"/>
                        <a:gd name="connsiteY68" fmla="*/ 598 h 17463"/>
                        <a:gd name="connsiteX69" fmla="*/ 5263 w 15609"/>
                        <a:gd name="connsiteY69" fmla="*/ 1375 h 17463"/>
                        <a:gd name="connsiteX70" fmla="*/ 3828 w 15609"/>
                        <a:gd name="connsiteY70" fmla="*/ 2452 h 17463"/>
                        <a:gd name="connsiteX71" fmla="*/ 2572 w 15609"/>
                        <a:gd name="connsiteY71" fmla="*/ 3768 h 17463"/>
                        <a:gd name="connsiteX72" fmla="*/ 1555 w 15609"/>
                        <a:gd name="connsiteY72" fmla="*/ 5263 h 17463"/>
                        <a:gd name="connsiteX73" fmla="*/ 778 w 15609"/>
                        <a:gd name="connsiteY73" fmla="*/ 6937 h 17463"/>
                        <a:gd name="connsiteX74" fmla="*/ 239 w 15609"/>
                        <a:gd name="connsiteY74" fmla="*/ 8672 h 17463"/>
                        <a:gd name="connsiteX75" fmla="*/ 0 w 15609"/>
                        <a:gd name="connsiteY75" fmla="*/ 10347 h 17463"/>
                        <a:gd name="connsiteX76" fmla="*/ 60 w 15609"/>
                        <a:gd name="connsiteY76" fmla="*/ 11961 h 17463"/>
                        <a:gd name="connsiteX77" fmla="*/ 419 w 15609"/>
                        <a:gd name="connsiteY77" fmla="*/ 13516 h 17463"/>
                        <a:gd name="connsiteX78" fmla="*/ 718 w 15609"/>
                        <a:gd name="connsiteY78" fmla="*/ 14234 h 17463"/>
                        <a:gd name="connsiteX79" fmla="*/ 1077 w 15609"/>
                        <a:gd name="connsiteY79" fmla="*/ 14892 h 17463"/>
                        <a:gd name="connsiteX80" fmla="*/ 1495 w 15609"/>
                        <a:gd name="connsiteY80" fmla="*/ 15490 h 17463"/>
                        <a:gd name="connsiteX81" fmla="*/ 2153 w 15609"/>
                        <a:gd name="connsiteY81" fmla="*/ 16028 h 17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5609" h="17463">
                          <a:moveTo>
                            <a:pt x="13038" y="2213"/>
                          </a:moveTo>
                          <a:cubicBezTo>
                            <a:pt x="13218" y="2332"/>
                            <a:pt x="13337" y="2512"/>
                            <a:pt x="13457" y="2691"/>
                          </a:cubicBezTo>
                          <a:cubicBezTo>
                            <a:pt x="13576" y="2871"/>
                            <a:pt x="13696" y="3050"/>
                            <a:pt x="13815" y="3229"/>
                          </a:cubicBezTo>
                          <a:cubicBezTo>
                            <a:pt x="13935" y="3409"/>
                            <a:pt x="14055" y="3588"/>
                            <a:pt x="14115" y="3827"/>
                          </a:cubicBezTo>
                          <a:cubicBezTo>
                            <a:pt x="14234" y="4007"/>
                            <a:pt x="14294" y="4246"/>
                            <a:pt x="14354" y="4486"/>
                          </a:cubicBezTo>
                          <a:cubicBezTo>
                            <a:pt x="14533" y="4904"/>
                            <a:pt x="14593" y="5382"/>
                            <a:pt x="14713" y="5861"/>
                          </a:cubicBezTo>
                          <a:cubicBezTo>
                            <a:pt x="14773" y="6340"/>
                            <a:pt x="14773" y="6818"/>
                            <a:pt x="14773" y="7296"/>
                          </a:cubicBezTo>
                          <a:cubicBezTo>
                            <a:pt x="14773" y="7775"/>
                            <a:pt x="14653" y="8313"/>
                            <a:pt x="14533" y="8791"/>
                          </a:cubicBezTo>
                          <a:cubicBezTo>
                            <a:pt x="14414" y="9270"/>
                            <a:pt x="14234" y="9808"/>
                            <a:pt x="14055" y="10347"/>
                          </a:cubicBezTo>
                          <a:cubicBezTo>
                            <a:pt x="13875" y="10825"/>
                            <a:pt x="13636" y="11303"/>
                            <a:pt x="13337" y="11782"/>
                          </a:cubicBezTo>
                          <a:cubicBezTo>
                            <a:pt x="13038" y="12260"/>
                            <a:pt x="12739" y="12679"/>
                            <a:pt x="12440" y="13097"/>
                          </a:cubicBezTo>
                          <a:cubicBezTo>
                            <a:pt x="12081" y="13516"/>
                            <a:pt x="11722" y="13875"/>
                            <a:pt x="11364" y="14234"/>
                          </a:cubicBezTo>
                          <a:cubicBezTo>
                            <a:pt x="11005" y="14593"/>
                            <a:pt x="10586" y="14892"/>
                            <a:pt x="10107" y="15191"/>
                          </a:cubicBezTo>
                          <a:cubicBezTo>
                            <a:pt x="9689" y="15490"/>
                            <a:pt x="9211" y="15729"/>
                            <a:pt x="8792" y="15909"/>
                          </a:cubicBezTo>
                          <a:cubicBezTo>
                            <a:pt x="8373" y="16088"/>
                            <a:pt x="7895" y="16267"/>
                            <a:pt x="7416" y="16327"/>
                          </a:cubicBezTo>
                          <a:cubicBezTo>
                            <a:pt x="6998" y="16447"/>
                            <a:pt x="6519" y="16447"/>
                            <a:pt x="6100" y="16447"/>
                          </a:cubicBezTo>
                          <a:cubicBezTo>
                            <a:pt x="5682" y="16447"/>
                            <a:pt x="5203" y="16387"/>
                            <a:pt x="4844" y="16267"/>
                          </a:cubicBezTo>
                          <a:cubicBezTo>
                            <a:pt x="4665" y="16208"/>
                            <a:pt x="4426" y="16148"/>
                            <a:pt x="4246" y="16088"/>
                          </a:cubicBezTo>
                          <a:cubicBezTo>
                            <a:pt x="4067" y="16028"/>
                            <a:pt x="3888" y="15909"/>
                            <a:pt x="3708" y="15849"/>
                          </a:cubicBezTo>
                          <a:cubicBezTo>
                            <a:pt x="3529" y="15789"/>
                            <a:pt x="3349" y="15669"/>
                            <a:pt x="3230" y="15550"/>
                          </a:cubicBezTo>
                          <a:cubicBezTo>
                            <a:pt x="3050" y="15430"/>
                            <a:pt x="2931" y="15311"/>
                            <a:pt x="2751" y="15191"/>
                          </a:cubicBezTo>
                          <a:cubicBezTo>
                            <a:pt x="2572" y="15071"/>
                            <a:pt x="2452" y="14892"/>
                            <a:pt x="2273" y="14712"/>
                          </a:cubicBezTo>
                          <a:cubicBezTo>
                            <a:pt x="2153" y="14533"/>
                            <a:pt x="2034" y="14354"/>
                            <a:pt x="1914" y="14174"/>
                          </a:cubicBezTo>
                          <a:cubicBezTo>
                            <a:pt x="1795" y="13995"/>
                            <a:pt x="1675" y="13815"/>
                            <a:pt x="1615" y="13576"/>
                          </a:cubicBezTo>
                          <a:cubicBezTo>
                            <a:pt x="1555" y="13337"/>
                            <a:pt x="1436" y="13157"/>
                            <a:pt x="1316" y="12918"/>
                          </a:cubicBezTo>
                          <a:cubicBezTo>
                            <a:pt x="1136" y="12500"/>
                            <a:pt x="1077" y="12021"/>
                            <a:pt x="1017" y="11543"/>
                          </a:cubicBezTo>
                          <a:cubicBezTo>
                            <a:pt x="957" y="11064"/>
                            <a:pt x="957" y="10586"/>
                            <a:pt x="957" y="10107"/>
                          </a:cubicBezTo>
                          <a:cubicBezTo>
                            <a:pt x="957" y="9629"/>
                            <a:pt x="1077" y="9090"/>
                            <a:pt x="1136" y="8612"/>
                          </a:cubicBezTo>
                          <a:cubicBezTo>
                            <a:pt x="1256" y="8134"/>
                            <a:pt x="1436" y="7595"/>
                            <a:pt x="1615" y="7057"/>
                          </a:cubicBezTo>
                          <a:cubicBezTo>
                            <a:pt x="1795" y="6519"/>
                            <a:pt x="2034" y="6040"/>
                            <a:pt x="2333" y="5562"/>
                          </a:cubicBezTo>
                          <a:cubicBezTo>
                            <a:pt x="2632" y="5083"/>
                            <a:pt x="2931" y="4665"/>
                            <a:pt x="3230" y="4246"/>
                          </a:cubicBezTo>
                          <a:cubicBezTo>
                            <a:pt x="3589" y="3827"/>
                            <a:pt x="3947" y="3469"/>
                            <a:pt x="4306" y="3110"/>
                          </a:cubicBezTo>
                          <a:cubicBezTo>
                            <a:pt x="4665" y="2751"/>
                            <a:pt x="5084" y="2452"/>
                            <a:pt x="5562" y="2153"/>
                          </a:cubicBezTo>
                          <a:cubicBezTo>
                            <a:pt x="5981" y="1854"/>
                            <a:pt x="6459" y="1615"/>
                            <a:pt x="6878" y="1435"/>
                          </a:cubicBezTo>
                          <a:cubicBezTo>
                            <a:pt x="7297" y="1256"/>
                            <a:pt x="7775" y="1076"/>
                            <a:pt x="8253" y="1017"/>
                          </a:cubicBezTo>
                          <a:cubicBezTo>
                            <a:pt x="8672" y="897"/>
                            <a:pt x="9151" y="897"/>
                            <a:pt x="9569" y="897"/>
                          </a:cubicBezTo>
                          <a:cubicBezTo>
                            <a:pt x="9988" y="897"/>
                            <a:pt x="10466" y="957"/>
                            <a:pt x="10885" y="1076"/>
                          </a:cubicBezTo>
                          <a:cubicBezTo>
                            <a:pt x="11065" y="1136"/>
                            <a:pt x="11304" y="1196"/>
                            <a:pt x="11483" y="1256"/>
                          </a:cubicBezTo>
                          <a:cubicBezTo>
                            <a:pt x="11662" y="1316"/>
                            <a:pt x="11842" y="1435"/>
                            <a:pt x="12021" y="1495"/>
                          </a:cubicBezTo>
                          <a:cubicBezTo>
                            <a:pt x="12201" y="1615"/>
                            <a:pt x="12380" y="1674"/>
                            <a:pt x="12500" y="1794"/>
                          </a:cubicBezTo>
                          <a:cubicBezTo>
                            <a:pt x="12620" y="1914"/>
                            <a:pt x="12859" y="2093"/>
                            <a:pt x="13038" y="2213"/>
                          </a:cubicBezTo>
                          <a:moveTo>
                            <a:pt x="2153" y="16028"/>
                          </a:moveTo>
                          <a:cubicBezTo>
                            <a:pt x="2333" y="16208"/>
                            <a:pt x="2512" y="16327"/>
                            <a:pt x="2691" y="16447"/>
                          </a:cubicBezTo>
                          <a:cubicBezTo>
                            <a:pt x="2871" y="16566"/>
                            <a:pt x="3050" y="16686"/>
                            <a:pt x="3290" y="16806"/>
                          </a:cubicBezTo>
                          <a:cubicBezTo>
                            <a:pt x="3469" y="16925"/>
                            <a:pt x="3708" y="16985"/>
                            <a:pt x="3888" y="17105"/>
                          </a:cubicBezTo>
                          <a:cubicBezTo>
                            <a:pt x="4067" y="17224"/>
                            <a:pt x="4306" y="17224"/>
                            <a:pt x="4545" y="17284"/>
                          </a:cubicBezTo>
                          <a:cubicBezTo>
                            <a:pt x="5024" y="17404"/>
                            <a:pt x="5503" y="17464"/>
                            <a:pt x="5981" y="17464"/>
                          </a:cubicBezTo>
                          <a:cubicBezTo>
                            <a:pt x="6459" y="17464"/>
                            <a:pt x="6998" y="17404"/>
                            <a:pt x="7476" y="17284"/>
                          </a:cubicBezTo>
                          <a:cubicBezTo>
                            <a:pt x="7954" y="17165"/>
                            <a:pt x="8493" y="17045"/>
                            <a:pt x="8971" y="16806"/>
                          </a:cubicBezTo>
                          <a:cubicBezTo>
                            <a:pt x="9450" y="16566"/>
                            <a:pt x="9988" y="16327"/>
                            <a:pt x="10466" y="16028"/>
                          </a:cubicBezTo>
                          <a:cubicBezTo>
                            <a:pt x="10945" y="15729"/>
                            <a:pt x="11423" y="15370"/>
                            <a:pt x="11842" y="14952"/>
                          </a:cubicBezTo>
                          <a:cubicBezTo>
                            <a:pt x="12261" y="14533"/>
                            <a:pt x="12679" y="14114"/>
                            <a:pt x="13038" y="13636"/>
                          </a:cubicBezTo>
                          <a:cubicBezTo>
                            <a:pt x="13397" y="13157"/>
                            <a:pt x="13756" y="12679"/>
                            <a:pt x="14055" y="12141"/>
                          </a:cubicBezTo>
                          <a:cubicBezTo>
                            <a:pt x="14354" y="11602"/>
                            <a:pt x="14653" y="11064"/>
                            <a:pt x="14832" y="10526"/>
                          </a:cubicBezTo>
                          <a:cubicBezTo>
                            <a:pt x="15072" y="9928"/>
                            <a:pt x="15251" y="9389"/>
                            <a:pt x="15371" y="8791"/>
                          </a:cubicBezTo>
                          <a:cubicBezTo>
                            <a:pt x="15490" y="8194"/>
                            <a:pt x="15610" y="7655"/>
                            <a:pt x="15610" y="7117"/>
                          </a:cubicBezTo>
                          <a:cubicBezTo>
                            <a:pt x="15610" y="6579"/>
                            <a:pt x="15610" y="6040"/>
                            <a:pt x="15550" y="5502"/>
                          </a:cubicBezTo>
                          <a:cubicBezTo>
                            <a:pt x="15490" y="4964"/>
                            <a:pt x="15371" y="4486"/>
                            <a:pt x="15191" y="3947"/>
                          </a:cubicBezTo>
                          <a:cubicBezTo>
                            <a:pt x="15131" y="3708"/>
                            <a:pt x="15012" y="3469"/>
                            <a:pt x="14892" y="3229"/>
                          </a:cubicBezTo>
                          <a:cubicBezTo>
                            <a:pt x="14773" y="2990"/>
                            <a:pt x="14653" y="2751"/>
                            <a:pt x="14533" y="2572"/>
                          </a:cubicBezTo>
                          <a:cubicBezTo>
                            <a:pt x="14414" y="2332"/>
                            <a:pt x="14234" y="2153"/>
                            <a:pt x="14115" y="1973"/>
                          </a:cubicBezTo>
                          <a:cubicBezTo>
                            <a:pt x="13935" y="1794"/>
                            <a:pt x="13815" y="1615"/>
                            <a:pt x="13636" y="1435"/>
                          </a:cubicBezTo>
                          <a:cubicBezTo>
                            <a:pt x="13457" y="1256"/>
                            <a:pt x="13277" y="1136"/>
                            <a:pt x="13098" y="1017"/>
                          </a:cubicBezTo>
                          <a:cubicBezTo>
                            <a:pt x="12919" y="897"/>
                            <a:pt x="12739" y="777"/>
                            <a:pt x="12500" y="658"/>
                          </a:cubicBezTo>
                          <a:cubicBezTo>
                            <a:pt x="12320" y="538"/>
                            <a:pt x="12081" y="478"/>
                            <a:pt x="11902" y="359"/>
                          </a:cubicBezTo>
                          <a:cubicBezTo>
                            <a:pt x="11662" y="299"/>
                            <a:pt x="11483" y="239"/>
                            <a:pt x="11244" y="179"/>
                          </a:cubicBezTo>
                          <a:cubicBezTo>
                            <a:pt x="10766" y="60"/>
                            <a:pt x="10287" y="0"/>
                            <a:pt x="9808" y="0"/>
                          </a:cubicBezTo>
                          <a:cubicBezTo>
                            <a:pt x="9330" y="0"/>
                            <a:pt x="8792" y="60"/>
                            <a:pt x="8313" y="119"/>
                          </a:cubicBezTo>
                          <a:cubicBezTo>
                            <a:pt x="7835" y="239"/>
                            <a:pt x="7297" y="359"/>
                            <a:pt x="6758" y="598"/>
                          </a:cubicBezTo>
                          <a:cubicBezTo>
                            <a:pt x="6220" y="837"/>
                            <a:pt x="5742" y="1076"/>
                            <a:pt x="5263" y="1375"/>
                          </a:cubicBezTo>
                          <a:cubicBezTo>
                            <a:pt x="4785" y="1674"/>
                            <a:pt x="4306" y="2093"/>
                            <a:pt x="3828" y="2452"/>
                          </a:cubicBezTo>
                          <a:cubicBezTo>
                            <a:pt x="3409" y="2871"/>
                            <a:pt x="2990" y="3289"/>
                            <a:pt x="2572" y="3768"/>
                          </a:cubicBezTo>
                          <a:cubicBezTo>
                            <a:pt x="2153" y="4246"/>
                            <a:pt x="1854" y="4725"/>
                            <a:pt x="1555" y="5263"/>
                          </a:cubicBezTo>
                          <a:cubicBezTo>
                            <a:pt x="1256" y="5801"/>
                            <a:pt x="957" y="6340"/>
                            <a:pt x="778" y="6937"/>
                          </a:cubicBezTo>
                          <a:cubicBezTo>
                            <a:pt x="598" y="7535"/>
                            <a:pt x="359" y="8074"/>
                            <a:pt x="239" y="8672"/>
                          </a:cubicBezTo>
                          <a:cubicBezTo>
                            <a:pt x="120" y="9270"/>
                            <a:pt x="60" y="9808"/>
                            <a:pt x="0" y="10347"/>
                          </a:cubicBezTo>
                          <a:cubicBezTo>
                            <a:pt x="0" y="10885"/>
                            <a:pt x="0" y="11483"/>
                            <a:pt x="60" y="11961"/>
                          </a:cubicBezTo>
                          <a:cubicBezTo>
                            <a:pt x="120" y="12500"/>
                            <a:pt x="239" y="12978"/>
                            <a:pt x="419" y="13516"/>
                          </a:cubicBezTo>
                          <a:cubicBezTo>
                            <a:pt x="538" y="13756"/>
                            <a:pt x="598" y="13995"/>
                            <a:pt x="718" y="14234"/>
                          </a:cubicBezTo>
                          <a:cubicBezTo>
                            <a:pt x="837" y="14473"/>
                            <a:pt x="957" y="14712"/>
                            <a:pt x="1077" y="14892"/>
                          </a:cubicBezTo>
                          <a:cubicBezTo>
                            <a:pt x="1196" y="15071"/>
                            <a:pt x="1376" y="15311"/>
                            <a:pt x="1495" y="15490"/>
                          </a:cubicBezTo>
                          <a:cubicBezTo>
                            <a:pt x="1795" y="15669"/>
                            <a:pt x="1974" y="15849"/>
                            <a:pt x="2153" y="16028"/>
                          </a:cubicBezTo>
                        </a:path>
                      </a:pathLst>
                    </a:custGeom>
                    <a:noFill/>
                    <a:ln w="6350" cap="flat">
                      <a:solidFill>
                        <a:schemeClr val="bg1">
                          <a:alpha val="80000"/>
                        </a:schemeClr>
                      </a:solidFill>
                      <a:prstDash val="solid"/>
                      <a:miter/>
                    </a:ln>
                  </p:spPr>
                  <p:txBody>
                    <a:bodyPr rtlCol="0" anchor="ctr"/>
                    <a:lstStyle/>
                    <a:p>
                      <a:endParaRPr lang="en-GB"/>
                    </a:p>
                  </p:txBody>
                </p:sp>
                <p:sp>
                  <p:nvSpPr>
                    <p:cNvPr id="7507" name="Vrije vorm: vorm 7506">
                      <a:extLst>
                        <a:ext uri="{FF2B5EF4-FFF2-40B4-BE49-F238E27FC236}">
                          <a16:creationId xmlns:a16="http://schemas.microsoft.com/office/drawing/2014/main" id="{A629F626-4A8E-4F8B-85B6-B993E9755434}"/>
                        </a:ext>
                      </a:extLst>
                    </p:cNvPr>
                    <p:cNvSpPr/>
                    <p:nvPr/>
                  </p:nvSpPr>
                  <p:spPr>
                    <a:xfrm>
                      <a:off x="5318451" y="5130878"/>
                      <a:ext cx="10212" cy="11626"/>
                    </a:xfrm>
                    <a:custGeom>
                      <a:avLst/>
                      <a:gdLst>
                        <a:gd name="connsiteX0" fmla="*/ 3155 w 10212"/>
                        <a:gd name="connsiteY0" fmla="*/ 10191 h 11626"/>
                        <a:gd name="connsiteX1" fmla="*/ 2916 w 10212"/>
                        <a:gd name="connsiteY1" fmla="*/ 10071 h 11626"/>
                        <a:gd name="connsiteX2" fmla="*/ 2676 w 10212"/>
                        <a:gd name="connsiteY2" fmla="*/ 9951 h 11626"/>
                        <a:gd name="connsiteX3" fmla="*/ 2437 w 10212"/>
                        <a:gd name="connsiteY3" fmla="*/ 9772 h 11626"/>
                        <a:gd name="connsiteX4" fmla="*/ 2198 w 10212"/>
                        <a:gd name="connsiteY4" fmla="*/ 9592 h 11626"/>
                        <a:gd name="connsiteX5" fmla="*/ 1959 w 10212"/>
                        <a:gd name="connsiteY5" fmla="*/ 9353 h 11626"/>
                        <a:gd name="connsiteX6" fmla="*/ 1719 w 10212"/>
                        <a:gd name="connsiteY6" fmla="*/ 9054 h 11626"/>
                        <a:gd name="connsiteX7" fmla="*/ 1540 w 10212"/>
                        <a:gd name="connsiteY7" fmla="*/ 8696 h 11626"/>
                        <a:gd name="connsiteX8" fmla="*/ 1360 w 10212"/>
                        <a:gd name="connsiteY8" fmla="*/ 8337 h 11626"/>
                        <a:gd name="connsiteX9" fmla="*/ 1181 w 10212"/>
                        <a:gd name="connsiteY9" fmla="*/ 7559 h 11626"/>
                        <a:gd name="connsiteX10" fmla="*/ 1121 w 10212"/>
                        <a:gd name="connsiteY10" fmla="*/ 6722 h 11626"/>
                        <a:gd name="connsiteX11" fmla="*/ 1241 w 10212"/>
                        <a:gd name="connsiteY11" fmla="*/ 5825 h 11626"/>
                        <a:gd name="connsiteX12" fmla="*/ 1540 w 10212"/>
                        <a:gd name="connsiteY12" fmla="*/ 4928 h 11626"/>
                        <a:gd name="connsiteX13" fmla="*/ 1899 w 10212"/>
                        <a:gd name="connsiteY13" fmla="*/ 4150 h 11626"/>
                        <a:gd name="connsiteX14" fmla="*/ 2377 w 10212"/>
                        <a:gd name="connsiteY14" fmla="*/ 3433 h 11626"/>
                        <a:gd name="connsiteX15" fmla="*/ 2975 w 10212"/>
                        <a:gd name="connsiteY15" fmla="*/ 2774 h 11626"/>
                        <a:gd name="connsiteX16" fmla="*/ 3633 w 10212"/>
                        <a:gd name="connsiteY16" fmla="*/ 2236 h 11626"/>
                        <a:gd name="connsiteX17" fmla="*/ 3633 w 10212"/>
                        <a:gd name="connsiteY17" fmla="*/ 2236 h 11626"/>
                        <a:gd name="connsiteX18" fmla="*/ 3633 w 10212"/>
                        <a:gd name="connsiteY18" fmla="*/ 2236 h 11626"/>
                        <a:gd name="connsiteX19" fmla="*/ 3633 w 10212"/>
                        <a:gd name="connsiteY19" fmla="*/ 2236 h 11626"/>
                        <a:gd name="connsiteX20" fmla="*/ 3633 w 10212"/>
                        <a:gd name="connsiteY20" fmla="*/ 2236 h 11626"/>
                        <a:gd name="connsiteX21" fmla="*/ 3693 w 10212"/>
                        <a:gd name="connsiteY21" fmla="*/ 2176 h 11626"/>
                        <a:gd name="connsiteX22" fmla="*/ 3753 w 10212"/>
                        <a:gd name="connsiteY22" fmla="*/ 2117 h 11626"/>
                        <a:gd name="connsiteX23" fmla="*/ 3813 w 10212"/>
                        <a:gd name="connsiteY23" fmla="*/ 2057 h 11626"/>
                        <a:gd name="connsiteX24" fmla="*/ 3873 w 10212"/>
                        <a:gd name="connsiteY24" fmla="*/ 1997 h 11626"/>
                        <a:gd name="connsiteX25" fmla="*/ 4052 w 10212"/>
                        <a:gd name="connsiteY25" fmla="*/ 1877 h 11626"/>
                        <a:gd name="connsiteX26" fmla="*/ 4231 w 10212"/>
                        <a:gd name="connsiteY26" fmla="*/ 1758 h 11626"/>
                        <a:gd name="connsiteX27" fmla="*/ 4411 w 10212"/>
                        <a:gd name="connsiteY27" fmla="*/ 1698 h 11626"/>
                        <a:gd name="connsiteX28" fmla="*/ 4590 w 10212"/>
                        <a:gd name="connsiteY28" fmla="*/ 1638 h 11626"/>
                        <a:gd name="connsiteX29" fmla="*/ 4590 w 10212"/>
                        <a:gd name="connsiteY29" fmla="*/ 1638 h 11626"/>
                        <a:gd name="connsiteX30" fmla="*/ 4590 w 10212"/>
                        <a:gd name="connsiteY30" fmla="*/ 1638 h 11626"/>
                        <a:gd name="connsiteX31" fmla="*/ 4590 w 10212"/>
                        <a:gd name="connsiteY31" fmla="*/ 1638 h 11626"/>
                        <a:gd name="connsiteX32" fmla="*/ 4590 w 10212"/>
                        <a:gd name="connsiteY32" fmla="*/ 1638 h 11626"/>
                        <a:gd name="connsiteX33" fmla="*/ 5607 w 10212"/>
                        <a:gd name="connsiteY33" fmla="*/ 1339 h 11626"/>
                        <a:gd name="connsiteX34" fmla="*/ 6564 w 10212"/>
                        <a:gd name="connsiteY34" fmla="*/ 1279 h 11626"/>
                        <a:gd name="connsiteX35" fmla="*/ 7461 w 10212"/>
                        <a:gd name="connsiteY35" fmla="*/ 1519 h 11626"/>
                        <a:gd name="connsiteX36" fmla="*/ 8238 w 10212"/>
                        <a:gd name="connsiteY36" fmla="*/ 2057 h 11626"/>
                        <a:gd name="connsiteX37" fmla="*/ 8478 w 10212"/>
                        <a:gd name="connsiteY37" fmla="*/ 2296 h 11626"/>
                        <a:gd name="connsiteX38" fmla="*/ 8717 w 10212"/>
                        <a:gd name="connsiteY38" fmla="*/ 2595 h 11626"/>
                        <a:gd name="connsiteX39" fmla="*/ 8896 w 10212"/>
                        <a:gd name="connsiteY39" fmla="*/ 2954 h 11626"/>
                        <a:gd name="connsiteX40" fmla="*/ 9076 w 10212"/>
                        <a:gd name="connsiteY40" fmla="*/ 3313 h 11626"/>
                        <a:gd name="connsiteX41" fmla="*/ 9255 w 10212"/>
                        <a:gd name="connsiteY41" fmla="*/ 4090 h 11626"/>
                        <a:gd name="connsiteX42" fmla="*/ 9315 w 10212"/>
                        <a:gd name="connsiteY42" fmla="*/ 4928 h 11626"/>
                        <a:gd name="connsiteX43" fmla="*/ 9195 w 10212"/>
                        <a:gd name="connsiteY43" fmla="*/ 5825 h 11626"/>
                        <a:gd name="connsiteX44" fmla="*/ 8896 w 10212"/>
                        <a:gd name="connsiteY44" fmla="*/ 6722 h 11626"/>
                        <a:gd name="connsiteX45" fmla="*/ 8657 w 10212"/>
                        <a:gd name="connsiteY45" fmla="*/ 7200 h 11626"/>
                        <a:gd name="connsiteX46" fmla="*/ 8418 w 10212"/>
                        <a:gd name="connsiteY46" fmla="*/ 7679 h 11626"/>
                        <a:gd name="connsiteX47" fmla="*/ 8119 w 10212"/>
                        <a:gd name="connsiteY47" fmla="*/ 8097 h 11626"/>
                        <a:gd name="connsiteX48" fmla="*/ 7760 w 10212"/>
                        <a:gd name="connsiteY48" fmla="*/ 8516 h 11626"/>
                        <a:gd name="connsiteX49" fmla="*/ 7581 w 10212"/>
                        <a:gd name="connsiteY49" fmla="*/ 8696 h 11626"/>
                        <a:gd name="connsiteX50" fmla="*/ 7401 w 10212"/>
                        <a:gd name="connsiteY50" fmla="*/ 8875 h 11626"/>
                        <a:gd name="connsiteX51" fmla="*/ 7222 w 10212"/>
                        <a:gd name="connsiteY51" fmla="*/ 9054 h 11626"/>
                        <a:gd name="connsiteX52" fmla="*/ 7042 w 10212"/>
                        <a:gd name="connsiteY52" fmla="*/ 9234 h 11626"/>
                        <a:gd name="connsiteX53" fmla="*/ 6923 w 10212"/>
                        <a:gd name="connsiteY53" fmla="*/ 9294 h 11626"/>
                        <a:gd name="connsiteX54" fmla="*/ 6803 w 10212"/>
                        <a:gd name="connsiteY54" fmla="*/ 9353 h 11626"/>
                        <a:gd name="connsiteX55" fmla="*/ 6683 w 10212"/>
                        <a:gd name="connsiteY55" fmla="*/ 9413 h 11626"/>
                        <a:gd name="connsiteX56" fmla="*/ 6564 w 10212"/>
                        <a:gd name="connsiteY56" fmla="*/ 9473 h 11626"/>
                        <a:gd name="connsiteX57" fmla="*/ 6026 w 10212"/>
                        <a:gd name="connsiteY57" fmla="*/ 9772 h 11626"/>
                        <a:gd name="connsiteX58" fmla="*/ 5487 w 10212"/>
                        <a:gd name="connsiteY58" fmla="*/ 10011 h 11626"/>
                        <a:gd name="connsiteX59" fmla="*/ 4949 w 10212"/>
                        <a:gd name="connsiteY59" fmla="*/ 10131 h 11626"/>
                        <a:gd name="connsiteX60" fmla="*/ 4411 w 10212"/>
                        <a:gd name="connsiteY60" fmla="*/ 10191 h 11626"/>
                        <a:gd name="connsiteX61" fmla="*/ 4112 w 10212"/>
                        <a:gd name="connsiteY61" fmla="*/ 10191 h 11626"/>
                        <a:gd name="connsiteX62" fmla="*/ 3813 w 10212"/>
                        <a:gd name="connsiteY62" fmla="*/ 10131 h 11626"/>
                        <a:gd name="connsiteX63" fmla="*/ 3514 w 10212"/>
                        <a:gd name="connsiteY63" fmla="*/ 10071 h 11626"/>
                        <a:gd name="connsiteX64" fmla="*/ 3155 w 10212"/>
                        <a:gd name="connsiteY64" fmla="*/ 10191 h 11626"/>
                        <a:gd name="connsiteX65" fmla="*/ 2138 w 10212"/>
                        <a:gd name="connsiteY65" fmla="*/ 9772 h 11626"/>
                        <a:gd name="connsiteX66" fmla="*/ 3035 w 10212"/>
                        <a:gd name="connsiteY66" fmla="*/ 10310 h 11626"/>
                        <a:gd name="connsiteX67" fmla="*/ 4112 w 10212"/>
                        <a:gd name="connsiteY67" fmla="*/ 10490 h 11626"/>
                        <a:gd name="connsiteX68" fmla="*/ 5308 w 10212"/>
                        <a:gd name="connsiteY68" fmla="*/ 10310 h 11626"/>
                        <a:gd name="connsiteX69" fmla="*/ 6564 w 10212"/>
                        <a:gd name="connsiteY69" fmla="*/ 9712 h 11626"/>
                        <a:gd name="connsiteX70" fmla="*/ 7282 w 10212"/>
                        <a:gd name="connsiteY70" fmla="*/ 9114 h 11626"/>
                        <a:gd name="connsiteX71" fmla="*/ 7939 w 10212"/>
                        <a:gd name="connsiteY71" fmla="*/ 8396 h 11626"/>
                        <a:gd name="connsiteX72" fmla="*/ 8478 w 10212"/>
                        <a:gd name="connsiteY72" fmla="*/ 7619 h 11626"/>
                        <a:gd name="connsiteX73" fmla="*/ 8896 w 10212"/>
                        <a:gd name="connsiteY73" fmla="*/ 6722 h 11626"/>
                        <a:gd name="connsiteX74" fmla="*/ 9195 w 10212"/>
                        <a:gd name="connsiteY74" fmla="*/ 5825 h 11626"/>
                        <a:gd name="connsiteX75" fmla="*/ 9315 w 10212"/>
                        <a:gd name="connsiteY75" fmla="*/ 4928 h 11626"/>
                        <a:gd name="connsiteX76" fmla="*/ 9255 w 10212"/>
                        <a:gd name="connsiteY76" fmla="*/ 4030 h 11626"/>
                        <a:gd name="connsiteX77" fmla="*/ 9076 w 10212"/>
                        <a:gd name="connsiteY77" fmla="*/ 3193 h 11626"/>
                        <a:gd name="connsiteX78" fmla="*/ 8896 w 10212"/>
                        <a:gd name="connsiteY78" fmla="*/ 2834 h 11626"/>
                        <a:gd name="connsiteX79" fmla="*/ 8717 w 10212"/>
                        <a:gd name="connsiteY79" fmla="*/ 2475 h 11626"/>
                        <a:gd name="connsiteX80" fmla="*/ 8478 w 10212"/>
                        <a:gd name="connsiteY80" fmla="*/ 2176 h 11626"/>
                        <a:gd name="connsiteX81" fmla="*/ 8238 w 10212"/>
                        <a:gd name="connsiteY81" fmla="*/ 1877 h 11626"/>
                        <a:gd name="connsiteX82" fmla="*/ 7939 w 10212"/>
                        <a:gd name="connsiteY82" fmla="*/ 1638 h 11626"/>
                        <a:gd name="connsiteX83" fmla="*/ 7641 w 10212"/>
                        <a:gd name="connsiteY83" fmla="*/ 1459 h 11626"/>
                        <a:gd name="connsiteX84" fmla="*/ 7341 w 10212"/>
                        <a:gd name="connsiteY84" fmla="*/ 1279 h 11626"/>
                        <a:gd name="connsiteX85" fmla="*/ 6982 w 10212"/>
                        <a:gd name="connsiteY85" fmla="*/ 1160 h 11626"/>
                        <a:gd name="connsiteX86" fmla="*/ 6205 w 10212"/>
                        <a:gd name="connsiteY86" fmla="*/ 1040 h 11626"/>
                        <a:gd name="connsiteX87" fmla="*/ 5427 w 10212"/>
                        <a:gd name="connsiteY87" fmla="*/ 1100 h 11626"/>
                        <a:gd name="connsiteX88" fmla="*/ 4590 w 10212"/>
                        <a:gd name="connsiteY88" fmla="*/ 1339 h 11626"/>
                        <a:gd name="connsiteX89" fmla="*/ 3753 w 10212"/>
                        <a:gd name="connsiteY89" fmla="*/ 1758 h 11626"/>
                        <a:gd name="connsiteX90" fmla="*/ 3035 w 10212"/>
                        <a:gd name="connsiteY90" fmla="*/ 2356 h 11626"/>
                        <a:gd name="connsiteX91" fmla="*/ 2377 w 10212"/>
                        <a:gd name="connsiteY91" fmla="*/ 3074 h 11626"/>
                        <a:gd name="connsiteX92" fmla="*/ 1839 w 10212"/>
                        <a:gd name="connsiteY92" fmla="*/ 3851 h 11626"/>
                        <a:gd name="connsiteX93" fmla="*/ 1420 w 10212"/>
                        <a:gd name="connsiteY93" fmla="*/ 4748 h 11626"/>
                        <a:gd name="connsiteX94" fmla="*/ 1121 w 10212"/>
                        <a:gd name="connsiteY94" fmla="*/ 5645 h 11626"/>
                        <a:gd name="connsiteX95" fmla="*/ 1002 w 10212"/>
                        <a:gd name="connsiteY95" fmla="*/ 6542 h 11626"/>
                        <a:gd name="connsiteX96" fmla="*/ 1062 w 10212"/>
                        <a:gd name="connsiteY96" fmla="*/ 7440 h 11626"/>
                        <a:gd name="connsiteX97" fmla="*/ 1241 w 10212"/>
                        <a:gd name="connsiteY97" fmla="*/ 8277 h 11626"/>
                        <a:gd name="connsiteX98" fmla="*/ 1420 w 10212"/>
                        <a:gd name="connsiteY98" fmla="*/ 8636 h 11626"/>
                        <a:gd name="connsiteX99" fmla="*/ 1600 w 10212"/>
                        <a:gd name="connsiteY99" fmla="*/ 8995 h 11626"/>
                        <a:gd name="connsiteX100" fmla="*/ 1839 w 10212"/>
                        <a:gd name="connsiteY100" fmla="*/ 9294 h 11626"/>
                        <a:gd name="connsiteX101" fmla="*/ 2138 w 10212"/>
                        <a:gd name="connsiteY101" fmla="*/ 9772 h 11626"/>
                        <a:gd name="connsiteX102" fmla="*/ 8896 w 10212"/>
                        <a:gd name="connsiteY102" fmla="*/ 1100 h 11626"/>
                        <a:gd name="connsiteX103" fmla="*/ 9195 w 10212"/>
                        <a:gd name="connsiteY103" fmla="*/ 1459 h 11626"/>
                        <a:gd name="connsiteX104" fmla="*/ 9495 w 10212"/>
                        <a:gd name="connsiteY104" fmla="*/ 1818 h 11626"/>
                        <a:gd name="connsiteX105" fmla="*/ 9734 w 10212"/>
                        <a:gd name="connsiteY105" fmla="*/ 2236 h 11626"/>
                        <a:gd name="connsiteX106" fmla="*/ 9913 w 10212"/>
                        <a:gd name="connsiteY106" fmla="*/ 2715 h 11626"/>
                        <a:gd name="connsiteX107" fmla="*/ 10152 w 10212"/>
                        <a:gd name="connsiteY107" fmla="*/ 3672 h 11626"/>
                        <a:gd name="connsiteX108" fmla="*/ 10212 w 10212"/>
                        <a:gd name="connsiteY108" fmla="*/ 4748 h 11626"/>
                        <a:gd name="connsiteX109" fmla="*/ 10033 w 10212"/>
                        <a:gd name="connsiteY109" fmla="*/ 5825 h 11626"/>
                        <a:gd name="connsiteX110" fmla="*/ 9674 w 10212"/>
                        <a:gd name="connsiteY110" fmla="*/ 6961 h 11626"/>
                        <a:gd name="connsiteX111" fmla="*/ 9136 w 10212"/>
                        <a:gd name="connsiteY111" fmla="*/ 8037 h 11626"/>
                        <a:gd name="connsiteX112" fmla="*/ 8478 w 10212"/>
                        <a:gd name="connsiteY112" fmla="*/ 8995 h 11626"/>
                        <a:gd name="connsiteX113" fmla="*/ 7700 w 10212"/>
                        <a:gd name="connsiteY113" fmla="*/ 9832 h 11626"/>
                        <a:gd name="connsiteX114" fmla="*/ 6803 w 10212"/>
                        <a:gd name="connsiteY114" fmla="*/ 10550 h 11626"/>
                        <a:gd name="connsiteX115" fmla="*/ 5308 w 10212"/>
                        <a:gd name="connsiteY115" fmla="*/ 11267 h 11626"/>
                        <a:gd name="connsiteX116" fmla="*/ 3873 w 10212"/>
                        <a:gd name="connsiteY116" fmla="*/ 11506 h 11626"/>
                        <a:gd name="connsiteX117" fmla="*/ 2557 w 10212"/>
                        <a:gd name="connsiteY117" fmla="*/ 11267 h 11626"/>
                        <a:gd name="connsiteX118" fmla="*/ 1420 w 10212"/>
                        <a:gd name="connsiteY118" fmla="*/ 10609 h 11626"/>
                        <a:gd name="connsiteX119" fmla="*/ 1121 w 10212"/>
                        <a:gd name="connsiteY119" fmla="*/ 10250 h 11626"/>
                        <a:gd name="connsiteX120" fmla="*/ 822 w 10212"/>
                        <a:gd name="connsiteY120" fmla="*/ 9891 h 11626"/>
                        <a:gd name="connsiteX121" fmla="*/ 583 w 10212"/>
                        <a:gd name="connsiteY121" fmla="*/ 9473 h 11626"/>
                        <a:gd name="connsiteX122" fmla="*/ 404 w 10212"/>
                        <a:gd name="connsiteY122" fmla="*/ 8995 h 11626"/>
                        <a:gd name="connsiteX123" fmla="*/ 165 w 10212"/>
                        <a:gd name="connsiteY123" fmla="*/ 8037 h 11626"/>
                        <a:gd name="connsiteX124" fmla="*/ 105 w 10212"/>
                        <a:gd name="connsiteY124" fmla="*/ 6961 h 11626"/>
                        <a:gd name="connsiteX125" fmla="*/ 284 w 10212"/>
                        <a:gd name="connsiteY125" fmla="*/ 5884 h 11626"/>
                        <a:gd name="connsiteX126" fmla="*/ 643 w 10212"/>
                        <a:gd name="connsiteY126" fmla="*/ 4748 h 11626"/>
                        <a:gd name="connsiteX127" fmla="*/ 1181 w 10212"/>
                        <a:gd name="connsiteY127" fmla="*/ 3672 h 11626"/>
                        <a:gd name="connsiteX128" fmla="*/ 1839 w 10212"/>
                        <a:gd name="connsiteY128" fmla="*/ 2715 h 11626"/>
                        <a:gd name="connsiteX129" fmla="*/ 2617 w 10212"/>
                        <a:gd name="connsiteY129" fmla="*/ 1877 h 11626"/>
                        <a:gd name="connsiteX130" fmla="*/ 3514 w 10212"/>
                        <a:gd name="connsiteY130" fmla="*/ 1160 h 11626"/>
                        <a:gd name="connsiteX131" fmla="*/ 4471 w 10212"/>
                        <a:gd name="connsiteY131" fmla="*/ 621 h 11626"/>
                        <a:gd name="connsiteX132" fmla="*/ 5427 w 10212"/>
                        <a:gd name="connsiteY132" fmla="*/ 322 h 11626"/>
                        <a:gd name="connsiteX133" fmla="*/ 6384 w 10212"/>
                        <a:gd name="connsiteY133" fmla="*/ 203 h 11626"/>
                        <a:gd name="connsiteX134" fmla="*/ 7341 w 10212"/>
                        <a:gd name="connsiteY134" fmla="*/ 322 h 11626"/>
                        <a:gd name="connsiteX135" fmla="*/ 7760 w 10212"/>
                        <a:gd name="connsiteY135" fmla="*/ 442 h 11626"/>
                        <a:gd name="connsiteX136" fmla="*/ 8179 w 10212"/>
                        <a:gd name="connsiteY136" fmla="*/ 621 h 11626"/>
                        <a:gd name="connsiteX137" fmla="*/ 8537 w 10212"/>
                        <a:gd name="connsiteY137" fmla="*/ 861 h 11626"/>
                        <a:gd name="connsiteX138" fmla="*/ 8896 w 10212"/>
                        <a:gd name="connsiteY138" fmla="*/ 1100 h 11626"/>
                        <a:gd name="connsiteX139" fmla="*/ 1360 w 10212"/>
                        <a:gd name="connsiteY139" fmla="*/ 10669 h 11626"/>
                        <a:gd name="connsiteX140" fmla="*/ 1480 w 10212"/>
                        <a:gd name="connsiteY140" fmla="*/ 10789 h 11626"/>
                        <a:gd name="connsiteX141" fmla="*/ 1600 w 10212"/>
                        <a:gd name="connsiteY141" fmla="*/ 10908 h 11626"/>
                        <a:gd name="connsiteX142" fmla="*/ 1719 w 10212"/>
                        <a:gd name="connsiteY142" fmla="*/ 11028 h 11626"/>
                        <a:gd name="connsiteX143" fmla="*/ 1839 w 10212"/>
                        <a:gd name="connsiteY143" fmla="*/ 11148 h 11626"/>
                        <a:gd name="connsiteX144" fmla="*/ 2078 w 10212"/>
                        <a:gd name="connsiteY144" fmla="*/ 11267 h 11626"/>
                        <a:gd name="connsiteX145" fmla="*/ 2318 w 10212"/>
                        <a:gd name="connsiteY145" fmla="*/ 11387 h 11626"/>
                        <a:gd name="connsiteX146" fmla="*/ 2557 w 10212"/>
                        <a:gd name="connsiteY146" fmla="*/ 11447 h 11626"/>
                        <a:gd name="connsiteX147" fmla="*/ 2796 w 10212"/>
                        <a:gd name="connsiteY147" fmla="*/ 11506 h 11626"/>
                        <a:gd name="connsiteX148" fmla="*/ 3753 w 10212"/>
                        <a:gd name="connsiteY148" fmla="*/ 11626 h 11626"/>
                        <a:gd name="connsiteX149" fmla="*/ 4770 w 10212"/>
                        <a:gd name="connsiteY149" fmla="*/ 11506 h 11626"/>
                        <a:gd name="connsiteX150" fmla="*/ 5787 w 10212"/>
                        <a:gd name="connsiteY150" fmla="*/ 11207 h 11626"/>
                        <a:gd name="connsiteX151" fmla="*/ 6803 w 10212"/>
                        <a:gd name="connsiteY151" fmla="*/ 10669 h 11626"/>
                        <a:gd name="connsiteX152" fmla="*/ 6923 w 10212"/>
                        <a:gd name="connsiteY152" fmla="*/ 10609 h 11626"/>
                        <a:gd name="connsiteX153" fmla="*/ 7042 w 10212"/>
                        <a:gd name="connsiteY153" fmla="*/ 10550 h 11626"/>
                        <a:gd name="connsiteX154" fmla="*/ 7162 w 10212"/>
                        <a:gd name="connsiteY154" fmla="*/ 10430 h 11626"/>
                        <a:gd name="connsiteX155" fmla="*/ 7282 w 10212"/>
                        <a:gd name="connsiteY155" fmla="*/ 10310 h 11626"/>
                        <a:gd name="connsiteX156" fmla="*/ 7461 w 10212"/>
                        <a:gd name="connsiteY156" fmla="*/ 10131 h 11626"/>
                        <a:gd name="connsiteX157" fmla="*/ 7641 w 10212"/>
                        <a:gd name="connsiteY157" fmla="*/ 9951 h 11626"/>
                        <a:gd name="connsiteX158" fmla="*/ 7820 w 10212"/>
                        <a:gd name="connsiteY158" fmla="*/ 9772 h 11626"/>
                        <a:gd name="connsiteX159" fmla="*/ 7999 w 10212"/>
                        <a:gd name="connsiteY159" fmla="*/ 9592 h 11626"/>
                        <a:gd name="connsiteX160" fmla="*/ 8478 w 10212"/>
                        <a:gd name="connsiteY160" fmla="*/ 8995 h 11626"/>
                        <a:gd name="connsiteX161" fmla="*/ 8956 w 10212"/>
                        <a:gd name="connsiteY161" fmla="*/ 8396 h 11626"/>
                        <a:gd name="connsiteX162" fmla="*/ 9375 w 10212"/>
                        <a:gd name="connsiteY162" fmla="*/ 7738 h 11626"/>
                        <a:gd name="connsiteX163" fmla="*/ 9674 w 10212"/>
                        <a:gd name="connsiteY163" fmla="*/ 7021 h 11626"/>
                        <a:gd name="connsiteX164" fmla="*/ 10033 w 10212"/>
                        <a:gd name="connsiteY164" fmla="*/ 5884 h 11626"/>
                        <a:gd name="connsiteX165" fmla="*/ 10212 w 10212"/>
                        <a:gd name="connsiteY165" fmla="*/ 4748 h 11626"/>
                        <a:gd name="connsiteX166" fmla="*/ 10152 w 10212"/>
                        <a:gd name="connsiteY166" fmla="*/ 3672 h 11626"/>
                        <a:gd name="connsiteX167" fmla="*/ 9913 w 10212"/>
                        <a:gd name="connsiteY167" fmla="*/ 2655 h 11626"/>
                        <a:gd name="connsiteX168" fmla="*/ 9734 w 10212"/>
                        <a:gd name="connsiteY168" fmla="*/ 2176 h 11626"/>
                        <a:gd name="connsiteX169" fmla="*/ 9495 w 10212"/>
                        <a:gd name="connsiteY169" fmla="*/ 1758 h 11626"/>
                        <a:gd name="connsiteX170" fmla="*/ 9195 w 10212"/>
                        <a:gd name="connsiteY170" fmla="*/ 1339 h 11626"/>
                        <a:gd name="connsiteX171" fmla="*/ 8836 w 10212"/>
                        <a:gd name="connsiteY171" fmla="*/ 980 h 11626"/>
                        <a:gd name="connsiteX172" fmla="*/ 7760 w 10212"/>
                        <a:gd name="connsiteY172" fmla="*/ 322 h 11626"/>
                        <a:gd name="connsiteX173" fmla="*/ 6564 w 10212"/>
                        <a:gd name="connsiteY173" fmla="*/ 23 h 11626"/>
                        <a:gd name="connsiteX174" fmla="*/ 5248 w 10212"/>
                        <a:gd name="connsiteY174" fmla="*/ 143 h 11626"/>
                        <a:gd name="connsiteX175" fmla="*/ 3873 w 10212"/>
                        <a:gd name="connsiteY175" fmla="*/ 681 h 11626"/>
                        <a:gd name="connsiteX176" fmla="*/ 3873 w 10212"/>
                        <a:gd name="connsiteY176" fmla="*/ 681 h 11626"/>
                        <a:gd name="connsiteX177" fmla="*/ 3873 w 10212"/>
                        <a:gd name="connsiteY177" fmla="*/ 681 h 11626"/>
                        <a:gd name="connsiteX178" fmla="*/ 3873 w 10212"/>
                        <a:gd name="connsiteY178" fmla="*/ 681 h 11626"/>
                        <a:gd name="connsiteX179" fmla="*/ 3873 w 10212"/>
                        <a:gd name="connsiteY179" fmla="*/ 681 h 11626"/>
                        <a:gd name="connsiteX180" fmla="*/ 3753 w 10212"/>
                        <a:gd name="connsiteY180" fmla="*/ 741 h 11626"/>
                        <a:gd name="connsiteX181" fmla="*/ 3633 w 10212"/>
                        <a:gd name="connsiteY181" fmla="*/ 801 h 11626"/>
                        <a:gd name="connsiteX182" fmla="*/ 3514 w 10212"/>
                        <a:gd name="connsiteY182" fmla="*/ 861 h 11626"/>
                        <a:gd name="connsiteX183" fmla="*/ 3394 w 10212"/>
                        <a:gd name="connsiteY183" fmla="*/ 920 h 11626"/>
                        <a:gd name="connsiteX184" fmla="*/ 2557 w 10212"/>
                        <a:gd name="connsiteY184" fmla="*/ 1519 h 11626"/>
                        <a:gd name="connsiteX185" fmla="*/ 1839 w 10212"/>
                        <a:gd name="connsiteY185" fmla="*/ 2236 h 11626"/>
                        <a:gd name="connsiteX186" fmla="*/ 1241 w 10212"/>
                        <a:gd name="connsiteY186" fmla="*/ 3014 h 11626"/>
                        <a:gd name="connsiteX187" fmla="*/ 763 w 10212"/>
                        <a:gd name="connsiteY187" fmla="*/ 3851 h 11626"/>
                        <a:gd name="connsiteX188" fmla="*/ 284 w 10212"/>
                        <a:gd name="connsiteY188" fmla="*/ 5107 h 11626"/>
                        <a:gd name="connsiteX189" fmla="*/ 45 w 10212"/>
                        <a:gd name="connsiteY189" fmla="*/ 6423 h 11626"/>
                        <a:gd name="connsiteX190" fmla="*/ 45 w 10212"/>
                        <a:gd name="connsiteY190" fmla="*/ 7679 h 11626"/>
                        <a:gd name="connsiteX191" fmla="*/ 344 w 10212"/>
                        <a:gd name="connsiteY191" fmla="*/ 8875 h 11626"/>
                        <a:gd name="connsiteX192" fmla="*/ 523 w 10212"/>
                        <a:gd name="connsiteY192" fmla="*/ 9353 h 11626"/>
                        <a:gd name="connsiteX193" fmla="*/ 763 w 10212"/>
                        <a:gd name="connsiteY193" fmla="*/ 9772 h 11626"/>
                        <a:gd name="connsiteX194" fmla="*/ 1062 w 10212"/>
                        <a:gd name="connsiteY194" fmla="*/ 10191 h 11626"/>
                        <a:gd name="connsiteX195" fmla="*/ 1360 w 10212"/>
                        <a:gd name="connsiteY195" fmla="*/ 10669 h 11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0212" h="11626">
                          <a:moveTo>
                            <a:pt x="3155" y="10191"/>
                          </a:moveTo>
                          <a:cubicBezTo>
                            <a:pt x="3095" y="10131"/>
                            <a:pt x="2975" y="10131"/>
                            <a:pt x="2916" y="10071"/>
                          </a:cubicBezTo>
                          <a:cubicBezTo>
                            <a:pt x="2856" y="10011"/>
                            <a:pt x="2736" y="10011"/>
                            <a:pt x="2676" y="9951"/>
                          </a:cubicBezTo>
                          <a:cubicBezTo>
                            <a:pt x="2617" y="9891"/>
                            <a:pt x="2497" y="9832"/>
                            <a:pt x="2437" y="9772"/>
                          </a:cubicBezTo>
                          <a:cubicBezTo>
                            <a:pt x="2377" y="9712"/>
                            <a:pt x="2318" y="9652"/>
                            <a:pt x="2198" y="9592"/>
                          </a:cubicBezTo>
                          <a:cubicBezTo>
                            <a:pt x="2078" y="9533"/>
                            <a:pt x="2019" y="9413"/>
                            <a:pt x="1959" y="9353"/>
                          </a:cubicBezTo>
                          <a:cubicBezTo>
                            <a:pt x="1899" y="9234"/>
                            <a:pt x="1779" y="9174"/>
                            <a:pt x="1719" y="9054"/>
                          </a:cubicBezTo>
                          <a:cubicBezTo>
                            <a:pt x="1660" y="8935"/>
                            <a:pt x="1600" y="8815"/>
                            <a:pt x="1540" y="8696"/>
                          </a:cubicBezTo>
                          <a:cubicBezTo>
                            <a:pt x="1480" y="8576"/>
                            <a:pt x="1420" y="8456"/>
                            <a:pt x="1360" y="8337"/>
                          </a:cubicBezTo>
                          <a:cubicBezTo>
                            <a:pt x="1301" y="8097"/>
                            <a:pt x="1241" y="7798"/>
                            <a:pt x="1181" y="7559"/>
                          </a:cubicBezTo>
                          <a:cubicBezTo>
                            <a:pt x="1121" y="7260"/>
                            <a:pt x="1121" y="7021"/>
                            <a:pt x="1121" y="6722"/>
                          </a:cubicBezTo>
                          <a:cubicBezTo>
                            <a:pt x="1121" y="6423"/>
                            <a:pt x="1181" y="6124"/>
                            <a:pt x="1241" y="5825"/>
                          </a:cubicBezTo>
                          <a:cubicBezTo>
                            <a:pt x="1301" y="5526"/>
                            <a:pt x="1420" y="5227"/>
                            <a:pt x="1540" y="4928"/>
                          </a:cubicBezTo>
                          <a:cubicBezTo>
                            <a:pt x="1660" y="4629"/>
                            <a:pt x="1779" y="4389"/>
                            <a:pt x="1899" y="4150"/>
                          </a:cubicBezTo>
                          <a:cubicBezTo>
                            <a:pt x="2019" y="3911"/>
                            <a:pt x="2198" y="3672"/>
                            <a:pt x="2377" y="3433"/>
                          </a:cubicBezTo>
                          <a:cubicBezTo>
                            <a:pt x="2557" y="3193"/>
                            <a:pt x="2736" y="3014"/>
                            <a:pt x="2975" y="2774"/>
                          </a:cubicBezTo>
                          <a:cubicBezTo>
                            <a:pt x="3155" y="2595"/>
                            <a:pt x="3394" y="2416"/>
                            <a:pt x="3633" y="2236"/>
                          </a:cubicBezTo>
                          <a:cubicBezTo>
                            <a:pt x="3633" y="2236"/>
                            <a:pt x="3633" y="2236"/>
                            <a:pt x="3633" y="2236"/>
                          </a:cubicBezTo>
                          <a:cubicBezTo>
                            <a:pt x="3633" y="2236"/>
                            <a:pt x="3633" y="2236"/>
                            <a:pt x="3633" y="2236"/>
                          </a:cubicBezTo>
                          <a:cubicBezTo>
                            <a:pt x="3633" y="2236"/>
                            <a:pt x="3633" y="2236"/>
                            <a:pt x="3633" y="2236"/>
                          </a:cubicBezTo>
                          <a:cubicBezTo>
                            <a:pt x="3633" y="2236"/>
                            <a:pt x="3633" y="2236"/>
                            <a:pt x="3633" y="2236"/>
                          </a:cubicBezTo>
                          <a:cubicBezTo>
                            <a:pt x="3633" y="2236"/>
                            <a:pt x="3693" y="2236"/>
                            <a:pt x="3693" y="2176"/>
                          </a:cubicBezTo>
                          <a:cubicBezTo>
                            <a:pt x="3693" y="2176"/>
                            <a:pt x="3753" y="2176"/>
                            <a:pt x="3753" y="2117"/>
                          </a:cubicBezTo>
                          <a:cubicBezTo>
                            <a:pt x="3753" y="2117"/>
                            <a:pt x="3813" y="2117"/>
                            <a:pt x="3813" y="2057"/>
                          </a:cubicBezTo>
                          <a:cubicBezTo>
                            <a:pt x="3813" y="2057"/>
                            <a:pt x="3873" y="2057"/>
                            <a:pt x="3873" y="1997"/>
                          </a:cubicBezTo>
                          <a:cubicBezTo>
                            <a:pt x="3932" y="1937"/>
                            <a:pt x="3992" y="1937"/>
                            <a:pt x="4052" y="1877"/>
                          </a:cubicBezTo>
                          <a:cubicBezTo>
                            <a:pt x="4112" y="1818"/>
                            <a:pt x="4172" y="1818"/>
                            <a:pt x="4231" y="1758"/>
                          </a:cubicBezTo>
                          <a:cubicBezTo>
                            <a:pt x="4291" y="1698"/>
                            <a:pt x="4351" y="1698"/>
                            <a:pt x="4411" y="1698"/>
                          </a:cubicBezTo>
                          <a:cubicBezTo>
                            <a:pt x="4471" y="1698"/>
                            <a:pt x="4530" y="1638"/>
                            <a:pt x="4590" y="1638"/>
                          </a:cubicBezTo>
                          <a:cubicBezTo>
                            <a:pt x="4590" y="1638"/>
                            <a:pt x="4590" y="1638"/>
                            <a:pt x="4590" y="1638"/>
                          </a:cubicBezTo>
                          <a:cubicBezTo>
                            <a:pt x="4590" y="1638"/>
                            <a:pt x="4590" y="1638"/>
                            <a:pt x="4590" y="1638"/>
                          </a:cubicBezTo>
                          <a:cubicBezTo>
                            <a:pt x="4590" y="1638"/>
                            <a:pt x="4590" y="1638"/>
                            <a:pt x="4590" y="1638"/>
                          </a:cubicBezTo>
                          <a:cubicBezTo>
                            <a:pt x="4590" y="1638"/>
                            <a:pt x="4590" y="1638"/>
                            <a:pt x="4590" y="1638"/>
                          </a:cubicBezTo>
                          <a:cubicBezTo>
                            <a:pt x="4949" y="1459"/>
                            <a:pt x="5248" y="1399"/>
                            <a:pt x="5607" y="1339"/>
                          </a:cubicBezTo>
                          <a:cubicBezTo>
                            <a:pt x="5966" y="1279"/>
                            <a:pt x="6265" y="1279"/>
                            <a:pt x="6564" y="1279"/>
                          </a:cubicBezTo>
                          <a:cubicBezTo>
                            <a:pt x="6863" y="1339"/>
                            <a:pt x="7162" y="1399"/>
                            <a:pt x="7461" y="1519"/>
                          </a:cubicBezTo>
                          <a:cubicBezTo>
                            <a:pt x="7760" y="1638"/>
                            <a:pt x="7999" y="1818"/>
                            <a:pt x="8238" y="2057"/>
                          </a:cubicBezTo>
                          <a:cubicBezTo>
                            <a:pt x="8358" y="2117"/>
                            <a:pt x="8418" y="2236"/>
                            <a:pt x="8478" y="2296"/>
                          </a:cubicBezTo>
                          <a:cubicBezTo>
                            <a:pt x="8537" y="2416"/>
                            <a:pt x="8657" y="2475"/>
                            <a:pt x="8717" y="2595"/>
                          </a:cubicBezTo>
                          <a:cubicBezTo>
                            <a:pt x="8777" y="2715"/>
                            <a:pt x="8836" y="2834"/>
                            <a:pt x="8896" y="2954"/>
                          </a:cubicBezTo>
                          <a:cubicBezTo>
                            <a:pt x="8956" y="3074"/>
                            <a:pt x="9016" y="3193"/>
                            <a:pt x="9076" y="3313"/>
                          </a:cubicBezTo>
                          <a:cubicBezTo>
                            <a:pt x="9136" y="3552"/>
                            <a:pt x="9195" y="3851"/>
                            <a:pt x="9255" y="4090"/>
                          </a:cubicBezTo>
                          <a:cubicBezTo>
                            <a:pt x="9315" y="4389"/>
                            <a:pt x="9315" y="4629"/>
                            <a:pt x="9315" y="4928"/>
                          </a:cubicBezTo>
                          <a:cubicBezTo>
                            <a:pt x="9315" y="5227"/>
                            <a:pt x="9255" y="5526"/>
                            <a:pt x="9195" y="5825"/>
                          </a:cubicBezTo>
                          <a:cubicBezTo>
                            <a:pt x="9136" y="6124"/>
                            <a:pt x="9016" y="6423"/>
                            <a:pt x="8896" y="6722"/>
                          </a:cubicBezTo>
                          <a:cubicBezTo>
                            <a:pt x="8836" y="6901"/>
                            <a:pt x="8777" y="7081"/>
                            <a:pt x="8657" y="7200"/>
                          </a:cubicBezTo>
                          <a:cubicBezTo>
                            <a:pt x="8597" y="7380"/>
                            <a:pt x="8478" y="7499"/>
                            <a:pt x="8418" y="7679"/>
                          </a:cubicBezTo>
                          <a:cubicBezTo>
                            <a:pt x="8358" y="7858"/>
                            <a:pt x="8238" y="7978"/>
                            <a:pt x="8119" y="8097"/>
                          </a:cubicBezTo>
                          <a:cubicBezTo>
                            <a:pt x="7999" y="8217"/>
                            <a:pt x="7880" y="8396"/>
                            <a:pt x="7760" y="8516"/>
                          </a:cubicBezTo>
                          <a:cubicBezTo>
                            <a:pt x="7700" y="8576"/>
                            <a:pt x="7641" y="8636"/>
                            <a:pt x="7581" y="8696"/>
                          </a:cubicBezTo>
                          <a:cubicBezTo>
                            <a:pt x="7521" y="8755"/>
                            <a:pt x="7461" y="8815"/>
                            <a:pt x="7401" y="8875"/>
                          </a:cubicBezTo>
                          <a:cubicBezTo>
                            <a:pt x="7341" y="8935"/>
                            <a:pt x="7282" y="8995"/>
                            <a:pt x="7222" y="9054"/>
                          </a:cubicBezTo>
                          <a:cubicBezTo>
                            <a:pt x="7162" y="9114"/>
                            <a:pt x="7102" y="9174"/>
                            <a:pt x="7042" y="9234"/>
                          </a:cubicBezTo>
                          <a:cubicBezTo>
                            <a:pt x="6982" y="9234"/>
                            <a:pt x="6982" y="9294"/>
                            <a:pt x="6923" y="9294"/>
                          </a:cubicBezTo>
                          <a:cubicBezTo>
                            <a:pt x="6863" y="9294"/>
                            <a:pt x="6863" y="9353"/>
                            <a:pt x="6803" y="9353"/>
                          </a:cubicBezTo>
                          <a:cubicBezTo>
                            <a:pt x="6743" y="9353"/>
                            <a:pt x="6743" y="9413"/>
                            <a:pt x="6683" y="9413"/>
                          </a:cubicBezTo>
                          <a:cubicBezTo>
                            <a:pt x="6624" y="9413"/>
                            <a:pt x="6624" y="9473"/>
                            <a:pt x="6564" y="9473"/>
                          </a:cubicBezTo>
                          <a:cubicBezTo>
                            <a:pt x="6384" y="9592"/>
                            <a:pt x="6205" y="9712"/>
                            <a:pt x="6026" y="9772"/>
                          </a:cubicBezTo>
                          <a:cubicBezTo>
                            <a:pt x="5846" y="9832"/>
                            <a:pt x="5667" y="9951"/>
                            <a:pt x="5487" y="10011"/>
                          </a:cubicBezTo>
                          <a:cubicBezTo>
                            <a:pt x="5308" y="10071"/>
                            <a:pt x="5128" y="10131"/>
                            <a:pt x="4949" y="10131"/>
                          </a:cubicBezTo>
                          <a:cubicBezTo>
                            <a:pt x="4770" y="10191"/>
                            <a:pt x="4590" y="10191"/>
                            <a:pt x="4411" y="10191"/>
                          </a:cubicBezTo>
                          <a:cubicBezTo>
                            <a:pt x="4291" y="10191"/>
                            <a:pt x="4231" y="10191"/>
                            <a:pt x="4112" y="10191"/>
                          </a:cubicBezTo>
                          <a:cubicBezTo>
                            <a:pt x="3992" y="10191"/>
                            <a:pt x="3932" y="10191"/>
                            <a:pt x="3813" y="10131"/>
                          </a:cubicBezTo>
                          <a:cubicBezTo>
                            <a:pt x="3693" y="10071"/>
                            <a:pt x="3633" y="10071"/>
                            <a:pt x="3514" y="10071"/>
                          </a:cubicBezTo>
                          <a:cubicBezTo>
                            <a:pt x="3334" y="10250"/>
                            <a:pt x="3274" y="10250"/>
                            <a:pt x="3155" y="10191"/>
                          </a:cubicBezTo>
                          <a:moveTo>
                            <a:pt x="2138" y="9772"/>
                          </a:moveTo>
                          <a:cubicBezTo>
                            <a:pt x="2377" y="10011"/>
                            <a:pt x="2736" y="10191"/>
                            <a:pt x="3035" y="10310"/>
                          </a:cubicBezTo>
                          <a:cubicBezTo>
                            <a:pt x="3394" y="10430"/>
                            <a:pt x="3753" y="10490"/>
                            <a:pt x="4112" y="10490"/>
                          </a:cubicBezTo>
                          <a:cubicBezTo>
                            <a:pt x="4471" y="10490"/>
                            <a:pt x="4889" y="10430"/>
                            <a:pt x="5308" y="10310"/>
                          </a:cubicBezTo>
                          <a:cubicBezTo>
                            <a:pt x="5727" y="10191"/>
                            <a:pt x="6145" y="10011"/>
                            <a:pt x="6564" y="9712"/>
                          </a:cubicBezTo>
                          <a:cubicBezTo>
                            <a:pt x="6803" y="9533"/>
                            <a:pt x="7042" y="9353"/>
                            <a:pt x="7282" y="9114"/>
                          </a:cubicBezTo>
                          <a:cubicBezTo>
                            <a:pt x="7521" y="8875"/>
                            <a:pt x="7700" y="8696"/>
                            <a:pt x="7939" y="8396"/>
                          </a:cubicBezTo>
                          <a:cubicBezTo>
                            <a:pt x="8179" y="8097"/>
                            <a:pt x="8298" y="7858"/>
                            <a:pt x="8478" y="7619"/>
                          </a:cubicBezTo>
                          <a:cubicBezTo>
                            <a:pt x="8657" y="7320"/>
                            <a:pt x="8777" y="7021"/>
                            <a:pt x="8896" y="6722"/>
                          </a:cubicBezTo>
                          <a:cubicBezTo>
                            <a:pt x="9016" y="6423"/>
                            <a:pt x="9136" y="6124"/>
                            <a:pt x="9195" y="5825"/>
                          </a:cubicBezTo>
                          <a:cubicBezTo>
                            <a:pt x="9255" y="5526"/>
                            <a:pt x="9315" y="5227"/>
                            <a:pt x="9315" y="4928"/>
                          </a:cubicBezTo>
                          <a:cubicBezTo>
                            <a:pt x="9315" y="4629"/>
                            <a:pt x="9315" y="4329"/>
                            <a:pt x="9255" y="4030"/>
                          </a:cubicBezTo>
                          <a:cubicBezTo>
                            <a:pt x="9195" y="3732"/>
                            <a:pt x="9136" y="3492"/>
                            <a:pt x="9076" y="3193"/>
                          </a:cubicBezTo>
                          <a:cubicBezTo>
                            <a:pt x="9016" y="3074"/>
                            <a:pt x="8956" y="2954"/>
                            <a:pt x="8896" y="2834"/>
                          </a:cubicBezTo>
                          <a:cubicBezTo>
                            <a:pt x="8836" y="2715"/>
                            <a:pt x="8777" y="2595"/>
                            <a:pt x="8717" y="2475"/>
                          </a:cubicBezTo>
                          <a:cubicBezTo>
                            <a:pt x="8657" y="2356"/>
                            <a:pt x="8597" y="2236"/>
                            <a:pt x="8478" y="2176"/>
                          </a:cubicBezTo>
                          <a:cubicBezTo>
                            <a:pt x="8358" y="2117"/>
                            <a:pt x="8298" y="1997"/>
                            <a:pt x="8238" y="1877"/>
                          </a:cubicBezTo>
                          <a:cubicBezTo>
                            <a:pt x="8179" y="1818"/>
                            <a:pt x="8059" y="1698"/>
                            <a:pt x="7939" y="1638"/>
                          </a:cubicBezTo>
                          <a:cubicBezTo>
                            <a:pt x="7820" y="1579"/>
                            <a:pt x="7760" y="1519"/>
                            <a:pt x="7641" y="1459"/>
                          </a:cubicBezTo>
                          <a:cubicBezTo>
                            <a:pt x="7521" y="1399"/>
                            <a:pt x="7401" y="1339"/>
                            <a:pt x="7341" y="1279"/>
                          </a:cubicBezTo>
                          <a:cubicBezTo>
                            <a:pt x="7282" y="1220"/>
                            <a:pt x="7102" y="1220"/>
                            <a:pt x="6982" y="1160"/>
                          </a:cubicBezTo>
                          <a:cubicBezTo>
                            <a:pt x="6743" y="1100"/>
                            <a:pt x="6444" y="1040"/>
                            <a:pt x="6205" y="1040"/>
                          </a:cubicBezTo>
                          <a:cubicBezTo>
                            <a:pt x="5966" y="1040"/>
                            <a:pt x="5667" y="1040"/>
                            <a:pt x="5427" y="1100"/>
                          </a:cubicBezTo>
                          <a:cubicBezTo>
                            <a:pt x="5128" y="1160"/>
                            <a:pt x="4889" y="1220"/>
                            <a:pt x="4590" y="1339"/>
                          </a:cubicBezTo>
                          <a:cubicBezTo>
                            <a:pt x="4291" y="1459"/>
                            <a:pt x="4052" y="1579"/>
                            <a:pt x="3753" y="1758"/>
                          </a:cubicBezTo>
                          <a:cubicBezTo>
                            <a:pt x="3514" y="1937"/>
                            <a:pt x="3214" y="2117"/>
                            <a:pt x="3035" y="2356"/>
                          </a:cubicBezTo>
                          <a:cubicBezTo>
                            <a:pt x="2796" y="2595"/>
                            <a:pt x="2617" y="2774"/>
                            <a:pt x="2377" y="3074"/>
                          </a:cubicBezTo>
                          <a:cubicBezTo>
                            <a:pt x="2198" y="3313"/>
                            <a:pt x="2019" y="3612"/>
                            <a:pt x="1839" y="3851"/>
                          </a:cubicBezTo>
                          <a:cubicBezTo>
                            <a:pt x="1660" y="4150"/>
                            <a:pt x="1540" y="4389"/>
                            <a:pt x="1420" y="4748"/>
                          </a:cubicBezTo>
                          <a:cubicBezTo>
                            <a:pt x="1301" y="5047"/>
                            <a:pt x="1181" y="5346"/>
                            <a:pt x="1121" y="5645"/>
                          </a:cubicBezTo>
                          <a:cubicBezTo>
                            <a:pt x="1062" y="5944"/>
                            <a:pt x="1002" y="6243"/>
                            <a:pt x="1002" y="6542"/>
                          </a:cubicBezTo>
                          <a:cubicBezTo>
                            <a:pt x="1002" y="6842"/>
                            <a:pt x="1002" y="7141"/>
                            <a:pt x="1062" y="7440"/>
                          </a:cubicBezTo>
                          <a:cubicBezTo>
                            <a:pt x="1121" y="7738"/>
                            <a:pt x="1181" y="7978"/>
                            <a:pt x="1241" y="8277"/>
                          </a:cubicBezTo>
                          <a:cubicBezTo>
                            <a:pt x="1301" y="8396"/>
                            <a:pt x="1360" y="8516"/>
                            <a:pt x="1420" y="8636"/>
                          </a:cubicBezTo>
                          <a:cubicBezTo>
                            <a:pt x="1480" y="8755"/>
                            <a:pt x="1540" y="8875"/>
                            <a:pt x="1600" y="8995"/>
                          </a:cubicBezTo>
                          <a:cubicBezTo>
                            <a:pt x="1660" y="9114"/>
                            <a:pt x="1719" y="9234"/>
                            <a:pt x="1839" y="9294"/>
                          </a:cubicBezTo>
                          <a:cubicBezTo>
                            <a:pt x="1959" y="9592"/>
                            <a:pt x="2019" y="9652"/>
                            <a:pt x="2138" y="9772"/>
                          </a:cubicBezTo>
                          <a:moveTo>
                            <a:pt x="8896" y="1100"/>
                          </a:moveTo>
                          <a:cubicBezTo>
                            <a:pt x="9016" y="1220"/>
                            <a:pt x="9136" y="1339"/>
                            <a:pt x="9195" y="1459"/>
                          </a:cubicBezTo>
                          <a:cubicBezTo>
                            <a:pt x="9315" y="1579"/>
                            <a:pt x="9375" y="1698"/>
                            <a:pt x="9495" y="1818"/>
                          </a:cubicBezTo>
                          <a:cubicBezTo>
                            <a:pt x="9554" y="1937"/>
                            <a:pt x="9674" y="2117"/>
                            <a:pt x="9734" y="2236"/>
                          </a:cubicBezTo>
                          <a:cubicBezTo>
                            <a:pt x="9794" y="2416"/>
                            <a:pt x="9853" y="2535"/>
                            <a:pt x="9913" y="2715"/>
                          </a:cubicBezTo>
                          <a:cubicBezTo>
                            <a:pt x="10033" y="3014"/>
                            <a:pt x="10092" y="3373"/>
                            <a:pt x="10152" y="3672"/>
                          </a:cubicBezTo>
                          <a:cubicBezTo>
                            <a:pt x="10212" y="4030"/>
                            <a:pt x="10212" y="4389"/>
                            <a:pt x="10212" y="4748"/>
                          </a:cubicBezTo>
                          <a:cubicBezTo>
                            <a:pt x="10212" y="5107"/>
                            <a:pt x="10152" y="5466"/>
                            <a:pt x="10033" y="5825"/>
                          </a:cubicBezTo>
                          <a:cubicBezTo>
                            <a:pt x="9973" y="6183"/>
                            <a:pt x="9853" y="6602"/>
                            <a:pt x="9674" y="6961"/>
                          </a:cubicBezTo>
                          <a:cubicBezTo>
                            <a:pt x="9554" y="7320"/>
                            <a:pt x="9375" y="7679"/>
                            <a:pt x="9136" y="8037"/>
                          </a:cubicBezTo>
                          <a:cubicBezTo>
                            <a:pt x="8956" y="8396"/>
                            <a:pt x="8717" y="8696"/>
                            <a:pt x="8478" y="8995"/>
                          </a:cubicBezTo>
                          <a:cubicBezTo>
                            <a:pt x="8238" y="9294"/>
                            <a:pt x="7939" y="9592"/>
                            <a:pt x="7700" y="9832"/>
                          </a:cubicBezTo>
                          <a:cubicBezTo>
                            <a:pt x="7401" y="10071"/>
                            <a:pt x="7102" y="10310"/>
                            <a:pt x="6803" y="10550"/>
                          </a:cubicBezTo>
                          <a:cubicBezTo>
                            <a:pt x="6325" y="10849"/>
                            <a:pt x="5846" y="11088"/>
                            <a:pt x="5308" y="11267"/>
                          </a:cubicBezTo>
                          <a:cubicBezTo>
                            <a:pt x="4829" y="11447"/>
                            <a:pt x="4351" y="11506"/>
                            <a:pt x="3873" y="11506"/>
                          </a:cubicBezTo>
                          <a:cubicBezTo>
                            <a:pt x="3394" y="11506"/>
                            <a:pt x="2975" y="11447"/>
                            <a:pt x="2557" y="11267"/>
                          </a:cubicBezTo>
                          <a:cubicBezTo>
                            <a:pt x="2138" y="11088"/>
                            <a:pt x="1779" y="10908"/>
                            <a:pt x="1420" y="10609"/>
                          </a:cubicBezTo>
                          <a:cubicBezTo>
                            <a:pt x="1301" y="10490"/>
                            <a:pt x="1181" y="10370"/>
                            <a:pt x="1121" y="10250"/>
                          </a:cubicBezTo>
                          <a:cubicBezTo>
                            <a:pt x="1002" y="10131"/>
                            <a:pt x="942" y="10011"/>
                            <a:pt x="822" y="9891"/>
                          </a:cubicBezTo>
                          <a:cubicBezTo>
                            <a:pt x="763" y="9772"/>
                            <a:pt x="643" y="9592"/>
                            <a:pt x="583" y="9473"/>
                          </a:cubicBezTo>
                          <a:cubicBezTo>
                            <a:pt x="523" y="9294"/>
                            <a:pt x="464" y="9174"/>
                            <a:pt x="404" y="8995"/>
                          </a:cubicBezTo>
                          <a:cubicBezTo>
                            <a:pt x="284" y="8696"/>
                            <a:pt x="224" y="8337"/>
                            <a:pt x="165" y="8037"/>
                          </a:cubicBezTo>
                          <a:cubicBezTo>
                            <a:pt x="105" y="7679"/>
                            <a:pt x="105" y="7320"/>
                            <a:pt x="105" y="6961"/>
                          </a:cubicBezTo>
                          <a:cubicBezTo>
                            <a:pt x="105" y="6602"/>
                            <a:pt x="165" y="6243"/>
                            <a:pt x="284" y="5884"/>
                          </a:cubicBezTo>
                          <a:cubicBezTo>
                            <a:pt x="344" y="5526"/>
                            <a:pt x="464" y="5167"/>
                            <a:pt x="643" y="4748"/>
                          </a:cubicBezTo>
                          <a:cubicBezTo>
                            <a:pt x="763" y="4389"/>
                            <a:pt x="942" y="4030"/>
                            <a:pt x="1181" y="3672"/>
                          </a:cubicBezTo>
                          <a:cubicBezTo>
                            <a:pt x="1360" y="3313"/>
                            <a:pt x="1600" y="3014"/>
                            <a:pt x="1839" y="2715"/>
                          </a:cubicBezTo>
                          <a:cubicBezTo>
                            <a:pt x="2078" y="2416"/>
                            <a:pt x="2377" y="2117"/>
                            <a:pt x="2617" y="1877"/>
                          </a:cubicBezTo>
                          <a:cubicBezTo>
                            <a:pt x="2916" y="1638"/>
                            <a:pt x="3214" y="1399"/>
                            <a:pt x="3514" y="1160"/>
                          </a:cubicBezTo>
                          <a:cubicBezTo>
                            <a:pt x="3813" y="920"/>
                            <a:pt x="4172" y="741"/>
                            <a:pt x="4471" y="621"/>
                          </a:cubicBezTo>
                          <a:cubicBezTo>
                            <a:pt x="4770" y="502"/>
                            <a:pt x="5128" y="382"/>
                            <a:pt x="5427" y="322"/>
                          </a:cubicBezTo>
                          <a:cubicBezTo>
                            <a:pt x="5727" y="263"/>
                            <a:pt x="6085" y="203"/>
                            <a:pt x="6384" y="203"/>
                          </a:cubicBezTo>
                          <a:cubicBezTo>
                            <a:pt x="6683" y="203"/>
                            <a:pt x="7042" y="263"/>
                            <a:pt x="7341" y="322"/>
                          </a:cubicBezTo>
                          <a:cubicBezTo>
                            <a:pt x="7461" y="382"/>
                            <a:pt x="7641" y="382"/>
                            <a:pt x="7760" y="442"/>
                          </a:cubicBezTo>
                          <a:cubicBezTo>
                            <a:pt x="7880" y="502"/>
                            <a:pt x="7999" y="562"/>
                            <a:pt x="8179" y="621"/>
                          </a:cubicBezTo>
                          <a:cubicBezTo>
                            <a:pt x="8358" y="681"/>
                            <a:pt x="8418" y="741"/>
                            <a:pt x="8537" y="861"/>
                          </a:cubicBezTo>
                          <a:cubicBezTo>
                            <a:pt x="8717" y="920"/>
                            <a:pt x="8836" y="1040"/>
                            <a:pt x="8896" y="1100"/>
                          </a:cubicBezTo>
                          <a:moveTo>
                            <a:pt x="1360" y="10669"/>
                          </a:moveTo>
                          <a:cubicBezTo>
                            <a:pt x="1420" y="10729"/>
                            <a:pt x="1420" y="10729"/>
                            <a:pt x="1480" y="10789"/>
                          </a:cubicBezTo>
                          <a:cubicBezTo>
                            <a:pt x="1540" y="10849"/>
                            <a:pt x="1600" y="10849"/>
                            <a:pt x="1600" y="10908"/>
                          </a:cubicBezTo>
                          <a:cubicBezTo>
                            <a:pt x="1600" y="10968"/>
                            <a:pt x="1719" y="10968"/>
                            <a:pt x="1719" y="11028"/>
                          </a:cubicBezTo>
                          <a:cubicBezTo>
                            <a:pt x="1779" y="11088"/>
                            <a:pt x="1839" y="11088"/>
                            <a:pt x="1839" y="11148"/>
                          </a:cubicBezTo>
                          <a:cubicBezTo>
                            <a:pt x="1899" y="11207"/>
                            <a:pt x="1959" y="11207"/>
                            <a:pt x="2078" y="11267"/>
                          </a:cubicBezTo>
                          <a:cubicBezTo>
                            <a:pt x="2138" y="11327"/>
                            <a:pt x="2258" y="11327"/>
                            <a:pt x="2318" y="11387"/>
                          </a:cubicBezTo>
                          <a:cubicBezTo>
                            <a:pt x="2377" y="11447"/>
                            <a:pt x="2497" y="11447"/>
                            <a:pt x="2557" y="11447"/>
                          </a:cubicBezTo>
                          <a:cubicBezTo>
                            <a:pt x="2617" y="11447"/>
                            <a:pt x="2736" y="11506"/>
                            <a:pt x="2796" y="11506"/>
                          </a:cubicBezTo>
                          <a:cubicBezTo>
                            <a:pt x="3095" y="11566"/>
                            <a:pt x="3454" y="11626"/>
                            <a:pt x="3753" y="11626"/>
                          </a:cubicBezTo>
                          <a:cubicBezTo>
                            <a:pt x="4052" y="11626"/>
                            <a:pt x="4411" y="11626"/>
                            <a:pt x="4770" y="11506"/>
                          </a:cubicBezTo>
                          <a:cubicBezTo>
                            <a:pt x="5128" y="11447"/>
                            <a:pt x="5487" y="11327"/>
                            <a:pt x="5787" y="11207"/>
                          </a:cubicBezTo>
                          <a:cubicBezTo>
                            <a:pt x="6145" y="11088"/>
                            <a:pt x="6444" y="10908"/>
                            <a:pt x="6803" y="10669"/>
                          </a:cubicBezTo>
                          <a:cubicBezTo>
                            <a:pt x="6863" y="10669"/>
                            <a:pt x="6863" y="10609"/>
                            <a:pt x="6923" y="10609"/>
                          </a:cubicBezTo>
                          <a:cubicBezTo>
                            <a:pt x="6982" y="10609"/>
                            <a:pt x="6982" y="10550"/>
                            <a:pt x="7042" y="10550"/>
                          </a:cubicBezTo>
                          <a:cubicBezTo>
                            <a:pt x="7102" y="10550"/>
                            <a:pt x="7102" y="10490"/>
                            <a:pt x="7162" y="10430"/>
                          </a:cubicBezTo>
                          <a:cubicBezTo>
                            <a:pt x="7222" y="10370"/>
                            <a:pt x="7222" y="10370"/>
                            <a:pt x="7282" y="10310"/>
                          </a:cubicBezTo>
                          <a:cubicBezTo>
                            <a:pt x="7341" y="10250"/>
                            <a:pt x="7401" y="10191"/>
                            <a:pt x="7461" y="10131"/>
                          </a:cubicBezTo>
                          <a:cubicBezTo>
                            <a:pt x="7521" y="10071"/>
                            <a:pt x="7581" y="10011"/>
                            <a:pt x="7641" y="9951"/>
                          </a:cubicBezTo>
                          <a:cubicBezTo>
                            <a:pt x="7700" y="9891"/>
                            <a:pt x="7760" y="9832"/>
                            <a:pt x="7820" y="9772"/>
                          </a:cubicBezTo>
                          <a:cubicBezTo>
                            <a:pt x="7880" y="9712"/>
                            <a:pt x="7939" y="9652"/>
                            <a:pt x="7999" y="9592"/>
                          </a:cubicBezTo>
                          <a:cubicBezTo>
                            <a:pt x="8179" y="9413"/>
                            <a:pt x="8358" y="9234"/>
                            <a:pt x="8478" y="8995"/>
                          </a:cubicBezTo>
                          <a:cubicBezTo>
                            <a:pt x="8657" y="8815"/>
                            <a:pt x="8777" y="8576"/>
                            <a:pt x="8956" y="8396"/>
                          </a:cubicBezTo>
                          <a:cubicBezTo>
                            <a:pt x="9076" y="8157"/>
                            <a:pt x="9255" y="7978"/>
                            <a:pt x="9375" y="7738"/>
                          </a:cubicBezTo>
                          <a:cubicBezTo>
                            <a:pt x="9495" y="7499"/>
                            <a:pt x="9614" y="7260"/>
                            <a:pt x="9674" y="7021"/>
                          </a:cubicBezTo>
                          <a:cubicBezTo>
                            <a:pt x="9794" y="6662"/>
                            <a:pt x="9913" y="6303"/>
                            <a:pt x="10033" y="5884"/>
                          </a:cubicBezTo>
                          <a:cubicBezTo>
                            <a:pt x="10152" y="5466"/>
                            <a:pt x="10152" y="5167"/>
                            <a:pt x="10212" y="4748"/>
                          </a:cubicBezTo>
                          <a:cubicBezTo>
                            <a:pt x="10212" y="4389"/>
                            <a:pt x="10212" y="4030"/>
                            <a:pt x="10152" y="3672"/>
                          </a:cubicBezTo>
                          <a:cubicBezTo>
                            <a:pt x="10092" y="3313"/>
                            <a:pt x="10033" y="2954"/>
                            <a:pt x="9913" y="2655"/>
                          </a:cubicBezTo>
                          <a:cubicBezTo>
                            <a:pt x="9853" y="2475"/>
                            <a:pt x="9794" y="2296"/>
                            <a:pt x="9734" y="2176"/>
                          </a:cubicBezTo>
                          <a:cubicBezTo>
                            <a:pt x="9674" y="1997"/>
                            <a:pt x="9614" y="1877"/>
                            <a:pt x="9495" y="1758"/>
                          </a:cubicBezTo>
                          <a:cubicBezTo>
                            <a:pt x="9435" y="1638"/>
                            <a:pt x="9315" y="1459"/>
                            <a:pt x="9195" y="1339"/>
                          </a:cubicBezTo>
                          <a:cubicBezTo>
                            <a:pt x="9076" y="1220"/>
                            <a:pt x="8956" y="1100"/>
                            <a:pt x="8836" y="980"/>
                          </a:cubicBezTo>
                          <a:cubicBezTo>
                            <a:pt x="8537" y="681"/>
                            <a:pt x="8179" y="442"/>
                            <a:pt x="7760" y="322"/>
                          </a:cubicBezTo>
                          <a:cubicBezTo>
                            <a:pt x="7401" y="143"/>
                            <a:pt x="6982" y="83"/>
                            <a:pt x="6564" y="23"/>
                          </a:cubicBezTo>
                          <a:cubicBezTo>
                            <a:pt x="6145" y="-36"/>
                            <a:pt x="5667" y="23"/>
                            <a:pt x="5248" y="143"/>
                          </a:cubicBezTo>
                          <a:cubicBezTo>
                            <a:pt x="4829" y="263"/>
                            <a:pt x="4351" y="442"/>
                            <a:pt x="3873" y="681"/>
                          </a:cubicBezTo>
                          <a:cubicBezTo>
                            <a:pt x="3873" y="681"/>
                            <a:pt x="3873" y="681"/>
                            <a:pt x="3873" y="681"/>
                          </a:cubicBezTo>
                          <a:cubicBezTo>
                            <a:pt x="3873" y="681"/>
                            <a:pt x="3873" y="681"/>
                            <a:pt x="3873" y="681"/>
                          </a:cubicBezTo>
                          <a:cubicBezTo>
                            <a:pt x="3873" y="681"/>
                            <a:pt x="3873" y="681"/>
                            <a:pt x="3873" y="681"/>
                          </a:cubicBezTo>
                          <a:cubicBezTo>
                            <a:pt x="3873" y="681"/>
                            <a:pt x="3873" y="681"/>
                            <a:pt x="3873" y="681"/>
                          </a:cubicBezTo>
                          <a:cubicBezTo>
                            <a:pt x="3813" y="681"/>
                            <a:pt x="3753" y="741"/>
                            <a:pt x="3753" y="741"/>
                          </a:cubicBezTo>
                          <a:cubicBezTo>
                            <a:pt x="3693" y="741"/>
                            <a:pt x="3633" y="801"/>
                            <a:pt x="3633" y="801"/>
                          </a:cubicBezTo>
                          <a:cubicBezTo>
                            <a:pt x="3573" y="801"/>
                            <a:pt x="3514" y="861"/>
                            <a:pt x="3514" y="861"/>
                          </a:cubicBezTo>
                          <a:cubicBezTo>
                            <a:pt x="3454" y="861"/>
                            <a:pt x="3394" y="920"/>
                            <a:pt x="3394" y="920"/>
                          </a:cubicBezTo>
                          <a:cubicBezTo>
                            <a:pt x="3095" y="1100"/>
                            <a:pt x="2856" y="1279"/>
                            <a:pt x="2557" y="1519"/>
                          </a:cubicBezTo>
                          <a:cubicBezTo>
                            <a:pt x="2318" y="1758"/>
                            <a:pt x="2078" y="1997"/>
                            <a:pt x="1839" y="2236"/>
                          </a:cubicBezTo>
                          <a:cubicBezTo>
                            <a:pt x="1600" y="2475"/>
                            <a:pt x="1420" y="2774"/>
                            <a:pt x="1241" y="3014"/>
                          </a:cubicBezTo>
                          <a:cubicBezTo>
                            <a:pt x="1062" y="3253"/>
                            <a:pt x="882" y="3552"/>
                            <a:pt x="763" y="3851"/>
                          </a:cubicBezTo>
                          <a:cubicBezTo>
                            <a:pt x="583" y="4270"/>
                            <a:pt x="404" y="4688"/>
                            <a:pt x="284" y="5107"/>
                          </a:cubicBezTo>
                          <a:cubicBezTo>
                            <a:pt x="165" y="5526"/>
                            <a:pt x="45" y="5944"/>
                            <a:pt x="45" y="6423"/>
                          </a:cubicBezTo>
                          <a:cubicBezTo>
                            <a:pt x="-15" y="6842"/>
                            <a:pt x="-15" y="7260"/>
                            <a:pt x="45" y="7679"/>
                          </a:cubicBezTo>
                          <a:cubicBezTo>
                            <a:pt x="105" y="8097"/>
                            <a:pt x="165" y="8516"/>
                            <a:pt x="344" y="8875"/>
                          </a:cubicBezTo>
                          <a:cubicBezTo>
                            <a:pt x="404" y="9054"/>
                            <a:pt x="464" y="9174"/>
                            <a:pt x="523" y="9353"/>
                          </a:cubicBezTo>
                          <a:cubicBezTo>
                            <a:pt x="583" y="9533"/>
                            <a:pt x="703" y="9652"/>
                            <a:pt x="763" y="9772"/>
                          </a:cubicBezTo>
                          <a:cubicBezTo>
                            <a:pt x="822" y="9891"/>
                            <a:pt x="942" y="10071"/>
                            <a:pt x="1062" y="10191"/>
                          </a:cubicBezTo>
                          <a:cubicBezTo>
                            <a:pt x="1181" y="10310"/>
                            <a:pt x="1241" y="10609"/>
                            <a:pt x="1360" y="10669"/>
                          </a:cubicBezTo>
                        </a:path>
                      </a:pathLst>
                    </a:custGeom>
                    <a:noFill/>
                    <a:ln w="6350" cap="flat">
                      <a:solidFill>
                        <a:schemeClr val="bg1">
                          <a:alpha val="80000"/>
                        </a:schemeClr>
                      </a:solidFill>
                      <a:prstDash val="solid"/>
                      <a:miter/>
                    </a:ln>
                  </p:spPr>
                  <p:txBody>
                    <a:bodyPr rtlCol="0" anchor="ctr"/>
                    <a:lstStyle/>
                    <a:p>
                      <a:endParaRPr lang="en-GB"/>
                    </a:p>
                  </p:txBody>
                </p:sp>
                <p:sp>
                  <p:nvSpPr>
                    <p:cNvPr id="7508" name="Vrije vorm: vorm 7507">
                      <a:extLst>
                        <a:ext uri="{FF2B5EF4-FFF2-40B4-BE49-F238E27FC236}">
                          <a16:creationId xmlns:a16="http://schemas.microsoft.com/office/drawing/2014/main" id="{AD35A981-1EB5-4230-AD8E-8AE9EE917315}"/>
                        </a:ext>
                      </a:extLst>
                    </p:cNvPr>
                    <p:cNvSpPr/>
                    <p:nvPr/>
                  </p:nvSpPr>
                  <p:spPr>
                    <a:xfrm>
                      <a:off x="5318616" y="5131021"/>
                      <a:ext cx="10107" cy="11363"/>
                    </a:xfrm>
                    <a:custGeom>
                      <a:avLst/>
                      <a:gdLst>
                        <a:gd name="connsiteX0" fmla="*/ 8074 w 10107"/>
                        <a:gd name="connsiteY0" fmla="*/ 1854 h 11363"/>
                        <a:gd name="connsiteX1" fmla="*/ 8313 w 10107"/>
                        <a:gd name="connsiteY1" fmla="*/ 2153 h 11363"/>
                        <a:gd name="connsiteX2" fmla="*/ 8552 w 10107"/>
                        <a:gd name="connsiteY2" fmla="*/ 2452 h 11363"/>
                        <a:gd name="connsiteX3" fmla="*/ 8732 w 10107"/>
                        <a:gd name="connsiteY3" fmla="*/ 2811 h 11363"/>
                        <a:gd name="connsiteX4" fmla="*/ 8911 w 10107"/>
                        <a:gd name="connsiteY4" fmla="*/ 3170 h 11363"/>
                        <a:gd name="connsiteX5" fmla="*/ 9090 w 10107"/>
                        <a:gd name="connsiteY5" fmla="*/ 4007 h 11363"/>
                        <a:gd name="connsiteX6" fmla="*/ 9150 w 10107"/>
                        <a:gd name="connsiteY6" fmla="*/ 4904 h 11363"/>
                        <a:gd name="connsiteX7" fmla="*/ 9031 w 10107"/>
                        <a:gd name="connsiteY7" fmla="*/ 5801 h 11363"/>
                        <a:gd name="connsiteX8" fmla="*/ 8732 w 10107"/>
                        <a:gd name="connsiteY8" fmla="*/ 6698 h 11363"/>
                        <a:gd name="connsiteX9" fmla="*/ 8313 w 10107"/>
                        <a:gd name="connsiteY9" fmla="*/ 7595 h 11363"/>
                        <a:gd name="connsiteX10" fmla="*/ 7775 w 10107"/>
                        <a:gd name="connsiteY10" fmla="*/ 8373 h 11363"/>
                        <a:gd name="connsiteX11" fmla="*/ 7117 w 10107"/>
                        <a:gd name="connsiteY11" fmla="*/ 9090 h 11363"/>
                        <a:gd name="connsiteX12" fmla="*/ 6399 w 10107"/>
                        <a:gd name="connsiteY12" fmla="*/ 9689 h 11363"/>
                        <a:gd name="connsiteX13" fmla="*/ 5143 w 10107"/>
                        <a:gd name="connsiteY13" fmla="*/ 10287 h 11363"/>
                        <a:gd name="connsiteX14" fmla="*/ 3947 w 10107"/>
                        <a:gd name="connsiteY14" fmla="*/ 10466 h 11363"/>
                        <a:gd name="connsiteX15" fmla="*/ 2871 w 10107"/>
                        <a:gd name="connsiteY15" fmla="*/ 10287 h 11363"/>
                        <a:gd name="connsiteX16" fmla="*/ 1973 w 10107"/>
                        <a:gd name="connsiteY16" fmla="*/ 9748 h 11363"/>
                        <a:gd name="connsiteX17" fmla="*/ 1734 w 10107"/>
                        <a:gd name="connsiteY17" fmla="*/ 9449 h 11363"/>
                        <a:gd name="connsiteX18" fmla="*/ 1495 w 10107"/>
                        <a:gd name="connsiteY18" fmla="*/ 9150 h 11363"/>
                        <a:gd name="connsiteX19" fmla="*/ 1316 w 10107"/>
                        <a:gd name="connsiteY19" fmla="*/ 8791 h 11363"/>
                        <a:gd name="connsiteX20" fmla="*/ 1136 w 10107"/>
                        <a:gd name="connsiteY20" fmla="*/ 8433 h 11363"/>
                        <a:gd name="connsiteX21" fmla="*/ 957 w 10107"/>
                        <a:gd name="connsiteY21" fmla="*/ 7595 h 11363"/>
                        <a:gd name="connsiteX22" fmla="*/ 897 w 10107"/>
                        <a:gd name="connsiteY22" fmla="*/ 6698 h 11363"/>
                        <a:gd name="connsiteX23" fmla="*/ 1017 w 10107"/>
                        <a:gd name="connsiteY23" fmla="*/ 5801 h 11363"/>
                        <a:gd name="connsiteX24" fmla="*/ 1316 w 10107"/>
                        <a:gd name="connsiteY24" fmla="*/ 4904 h 11363"/>
                        <a:gd name="connsiteX25" fmla="*/ 1734 w 10107"/>
                        <a:gd name="connsiteY25" fmla="*/ 4007 h 11363"/>
                        <a:gd name="connsiteX26" fmla="*/ 2272 w 10107"/>
                        <a:gd name="connsiteY26" fmla="*/ 3229 h 11363"/>
                        <a:gd name="connsiteX27" fmla="*/ 2930 w 10107"/>
                        <a:gd name="connsiteY27" fmla="*/ 2512 h 11363"/>
                        <a:gd name="connsiteX28" fmla="*/ 3648 w 10107"/>
                        <a:gd name="connsiteY28" fmla="*/ 1914 h 11363"/>
                        <a:gd name="connsiteX29" fmla="*/ 4486 w 10107"/>
                        <a:gd name="connsiteY29" fmla="*/ 1495 h 11363"/>
                        <a:gd name="connsiteX30" fmla="*/ 5323 w 10107"/>
                        <a:gd name="connsiteY30" fmla="*/ 1256 h 11363"/>
                        <a:gd name="connsiteX31" fmla="*/ 6100 w 10107"/>
                        <a:gd name="connsiteY31" fmla="*/ 1196 h 11363"/>
                        <a:gd name="connsiteX32" fmla="*/ 6878 w 10107"/>
                        <a:gd name="connsiteY32" fmla="*/ 1316 h 11363"/>
                        <a:gd name="connsiteX33" fmla="*/ 7236 w 10107"/>
                        <a:gd name="connsiteY33" fmla="*/ 1435 h 11363"/>
                        <a:gd name="connsiteX34" fmla="*/ 7535 w 10107"/>
                        <a:gd name="connsiteY34" fmla="*/ 1615 h 11363"/>
                        <a:gd name="connsiteX35" fmla="*/ 7835 w 10107"/>
                        <a:gd name="connsiteY35" fmla="*/ 1794 h 11363"/>
                        <a:gd name="connsiteX36" fmla="*/ 8074 w 10107"/>
                        <a:gd name="connsiteY36" fmla="*/ 1854 h 11363"/>
                        <a:gd name="connsiteX37" fmla="*/ 1316 w 10107"/>
                        <a:gd name="connsiteY37" fmla="*/ 10466 h 11363"/>
                        <a:gd name="connsiteX38" fmla="*/ 2452 w 10107"/>
                        <a:gd name="connsiteY38" fmla="*/ 11124 h 11363"/>
                        <a:gd name="connsiteX39" fmla="*/ 3768 w 10107"/>
                        <a:gd name="connsiteY39" fmla="*/ 11363 h 11363"/>
                        <a:gd name="connsiteX40" fmla="*/ 5203 w 10107"/>
                        <a:gd name="connsiteY40" fmla="*/ 11124 h 11363"/>
                        <a:gd name="connsiteX41" fmla="*/ 6698 w 10107"/>
                        <a:gd name="connsiteY41" fmla="*/ 10406 h 11363"/>
                        <a:gd name="connsiteX42" fmla="*/ 7595 w 10107"/>
                        <a:gd name="connsiteY42" fmla="*/ 9689 h 11363"/>
                        <a:gd name="connsiteX43" fmla="*/ 8373 w 10107"/>
                        <a:gd name="connsiteY43" fmla="*/ 8851 h 11363"/>
                        <a:gd name="connsiteX44" fmla="*/ 9031 w 10107"/>
                        <a:gd name="connsiteY44" fmla="*/ 7894 h 11363"/>
                        <a:gd name="connsiteX45" fmla="*/ 9569 w 10107"/>
                        <a:gd name="connsiteY45" fmla="*/ 6818 h 11363"/>
                        <a:gd name="connsiteX46" fmla="*/ 9928 w 10107"/>
                        <a:gd name="connsiteY46" fmla="*/ 5681 h 11363"/>
                        <a:gd name="connsiteX47" fmla="*/ 10107 w 10107"/>
                        <a:gd name="connsiteY47" fmla="*/ 4605 h 11363"/>
                        <a:gd name="connsiteX48" fmla="*/ 10048 w 10107"/>
                        <a:gd name="connsiteY48" fmla="*/ 3528 h 11363"/>
                        <a:gd name="connsiteX49" fmla="*/ 9808 w 10107"/>
                        <a:gd name="connsiteY49" fmla="*/ 2572 h 11363"/>
                        <a:gd name="connsiteX50" fmla="*/ 9629 w 10107"/>
                        <a:gd name="connsiteY50" fmla="*/ 2093 h 11363"/>
                        <a:gd name="connsiteX51" fmla="*/ 9389 w 10107"/>
                        <a:gd name="connsiteY51" fmla="*/ 1674 h 11363"/>
                        <a:gd name="connsiteX52" fmla="*/ 9090 w 10107"/>
                        <a:gd name="connsiteY52" fmla="*/ 1316 h 11363"/>
                        <a:gd name="connsiteX53" fmla="*/ 8791 w 10107"/>
                        <a:gd name="connsiteY53" fmla="*/ 957 h 11363"/>
                        <a:gd name="connsiteX54" fmla="*/ 8433 w 10107"/>
                        <a:gd name="connsiteY54" fmla="*/ 658 h 11363"/>
                        <a:gd name="connsiteX55" fmla="*/ 8074 w 10107"/>
                        <a:gd name="connsiteY55" fmla="*/ 418 h 11363"/>
                        <a:gd name="connsiteX56" fmla="*/ 7655 w 10107"/>
                        <a:gd name="connsiteY56" fmla="*/ 239 h 11363"/>
                        <a:gd name="connsiteX57" fmla="*/ 7236 w 10107"/>
                        <a:gd name="connsiteY57" fmla="*/ 119 h 11363"/>
                        <a:gd name="connsiteX58" fmla="*/ 6280 w 10107"/>
                        <a:gd name="connsiteY58" fmla="*/ 0 h 11363"/>
                        <a:gd name="connsiteX59" fmla="*/ 5323 w 10107"/>
                        <a:gd name="connsiteY59" fmla="*/ 119 h 11363"/>
                        <a:gd name="connsiteX60" fmla="*/ 4366 w 10107"/>
                        <a:gd name="connsiteY60" fmla="*/ 418 h 11363"/>
                        <a:gd name="connsiteX61" fmla="*/ 3409 w 10107"/>
                        <a:gd name="connsiteY61" fmla="*/ 957 h 11363"/>
                        <a:gd name="connsiteX62" fmla="*/ 2512 w 10107"/>
                        <a:gd name="connsiteY62" fmla="*/ 1674 h 11363"/>
                        <a:gd name="connsiteX63" fmla="*/ 1734 w 10107"/>
                        <a:gd name="connsiteY63" fmla="*/ 2512 h 11363"/>
                        <a:gd name="connsiteX64" fmla="*/ 1076 w 10107"/>
                        <a:gd name="connsiteY64" fmla="*/ 3469 h 11363"/>
                        <a:gd name="connsiteX65" fmla="*/ 538 w 10107"/>
                        <a:gd name="connsiteY65" fmla="*/ 4545 h 11363"/>
                        <a:gd name="connsiteX66" fmla="*/ 179 w 10107"/>
                        <a:gd name="connsiteY66" fmla="*/ 5681 h 11363"/>
                        <a:gd name="connsiteX67" fmla="*/ 0 w 10107"/>
                        <a:gd name="connsiteY67" fmla="*/ 6758 h 11363"/>
                        <a:gd name="connsiteX68" fmla="*/ 60 w 10107"/>
                        <a:gd name="connsiteY68" fmla="*/ 7835 h 11363"/>
                        <a:gd name="connsiteX69" fmla="*/ 299 w 10107"/>
                        <a:gd name="connsiteY69" fmla="*/ 8791 h 11363"/>
                        <a:gd name="connsiteX70" fmla="*/ 478 w 10107"/>
                        <a:gd name="connsiteY70" fmla="*/ 9270 h 11363"/>
                        <a:gd name="connsiteX71" fmla="*/ 718 w 10107"/>
                        <a:gd name="connsiteY71" fmla="*/ 9689 h 11363"/>
                        <a:gd name="connsiteX72" fmla="*/ 1017 w 10107"/>
                        <a:gd name="connsiteY72" fmla="*/ 10048 h 11363"/>
                        <a:gd name="connsiteX73" fmla="*/ 1316 w 10107"/>
                        <a:gd name="connsiteY73" fmla="*/ 10466 h 1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107" h="11363">
                          <a:moveTo>
                            <a:pt x="8074" y="1854"/>
                          </a:moveTo>
                          <a:cubicBezTo>
                            <a:pt x="8194" y="1914"/>
                            <a:pt x="8253" y="2033"/>
                            <a:pt x="8313" y="2153"/>
                          </a:cubicBezTo>
                          <a:cubicBezTo>
                            <a:pt x="8373" y="2272"/>
                            <a:pt x="8493" y="2332"/>
                            <a:pt x="8552" y="2452"/>
                          </a:cubicBezTo>
                          <a:cubicBezTo>
                            <a:pt x="8612" y="2572"/>
                            <a:pt x="8672" y="2691"/>
                            <a:pt x="8732" y="2811"/>
                          </a:cubicBezTo>
                          <a:cubicBezTo>
                            <a:pt x="8791" y="2930"/>
                            <a:pt x="8851" y="3050"/>
                            <a:pt x="8911" y="3170"/>
                          </a:cubicBezTo>
                          <a:cubicBezTo>
                            <a:pt x="9031" y="3409"/>
                            <a:pt x="9090" y="3708"/>
                            <a:pt x="9090" y="4007"/>
                          </a:cubicBezTo>
                          <a:cubicBezTo>
                            <a:pt x="9150" y="4306"/>
                            <a:pt x="9150" y="4605"/>
                            <a:pt x="9150" y="4904"/>
                          </a:cubicBezTo>
                          <a:cubicBezTo>
                            <a:pt x="9150" y="5203"/>
                            <a:pt x="9090" y="5502"/>
                            <a:pt x="9031" y="5801"/>
                          </a:cubicBezTo>
                          <a:cubicBezTo>
                            <a:pt x="8971" y="6100"/>
                            <a:pt x="8851" y="6399"/>
                            <a:pt x="8732" y="6698"/>
                          </a:cubicBezTo>
                          <a:cubicBezTo>
                            <a:pt x="8612" y="6997"/>
                            <a:pt x="8433" y="7296"/>
                            <a:pt x="8313" y="7595"/>
                          </a:cubicBezTo>
                          <a:cubicBezTo>
                            <a:pt x="8134" y="7894"/>
                            <a:pt x="7954" y="8134"/>
                            <a:pt x="7775" y="8373"/>
                          </a:cubicBezTo>
                          <a:cubicBezTo>
                            <a:pt x="7595" y="8612"/>
                            <a:pt x="7356" y="8851"/>
                            <a:pt x="7117" y="9090"/>
                          </a:cubicBezTo>
                          <a:cubicBezTo>
                            <a:pt x="6878" y="9330"/>
                            <a:pt x="6639" y="9509"/>
                            <a:pt x="6399" y="9689"/>
                          </a:cubicBezTo>
                          <a:cubicBezTo>
                            <a:pt x="5981" y="9928"/>
                            <a:pt x="5562" y="10167"/>
                            <a:pt x="5143" y="10287"/>
                          </a:cubicBezTo>
                          <a:cubicBezTo>
                            <a:pt x="4725" y="10406"/>
                            <a:pt x="4306" y="10466"/>
                            <a:pt x="3947" y="10466"/>
                          </a:cubicBezTo>
                          <a:cubicBezTo>
                            <a:pt x="3588" y="10466"/>
                            <a:pt x="3170" y="10406"/>
                            <a:pt x="2871" y="10287"/>
                          </a:cubicBezTo>
                          <a:cubicBezTo>
                            <a:pt x="2512" y="10167"/>
                            <a:pt x="2213" y="9988"/>
                            <a:pt x="1973" y="9748"/>
                          </a:cubicBezTo>
                          <a:cubicBezTo>
                            <a:pt x="1854" y="9689"/>
                            <a:pt x="1794" y="9569"/>
                            <a:pt x="1734" y="9449"/>
                          </a:cubicBezTo>
                          <a:cubicBezTo>
                            <a:pt x="1674" y="9330"/>
                            <a:pt x="1555" y="9270"/>
                            <a:pt x="1495" y="9150"/>
                          </a:cubicBezTo>
                          <a:cubicBezTo>
                            <a:pt x="1435" y="9031"/>
                            <a:pt x="1375" y="8911"/>
                            <a:pt x="1316" y="8791"/>
                          </a:cubicBezTo>
                          <a:cubicBezTo>
                            <a:pt x="1256" y="8672"/>
                            <a:pt x="1196" y="8552"/>
                            <a:pt x="1136" y="8433"/>
                          </a:cubicBezTo>
                          <a:cubicBezTo>
                            <a:pt x="1017" y="8194"/>
                            <a:pt x="957" y="7894"/>
                            <a:pt x="957" y="7595"/>
                          </a:cubicBezTo>
                          <a:cubicBezTo>
                            <a:pt x="957" y="7296"/>
                            <a:pt x="897" y="6997"/>
                            <a:pt x="897" y="6698"/>
                          </a:cubicBezTo>
                          <a:cubicBezTo>
                            <a:pt x="897" y="6399"/>
                            <a:pt x="957" y="6100"/>
                            <a:pt x="1017" y="5801"/>
                          </a:cubicBezTo>
                          <a:cubicBezTo>
                            <a:pt x="1076" y="5502"/>
                            <a:pt x="1196" y="5203"/>
                            <a:pt x="1316" y="4904"/>
                          </a:cubicBezTo>
                          <a:cubicBezTo>
                            <a:pt x="1435" y="4605"/>
                            <a:pt x="1555" y="4306"/>
                            <a:pt x="1734" y="4007"/>
                          </a:cubicBezTo>
                          <a:cubicBezTo>
                            <a:pt x="1914" y="3708"/>
                            <a:pt x="2093" y="3469"/>
                            <a:pt x="2272" y="3229"/>
                          </a:cubicBezTo>
                          <a:cubicBezTo>
                            <a:pt x="2452" y="2990"/>
                            <a:pt x="2691" y="2751"/>
                            <a:pt x="2930" y="2512"/>
                          </a:cubicBezTo>
                          <a:cubicBezTo>
                            <a:pt x="3170" y="2272"/>
                            <a:pt x="3409" y="2093"/>
                            <a:pt x="3648" y="1914"/>
                          </a:cubicBezTo>
                          <a:cubicBezTo>
                            <a:pt x="3887" y="1734"/>
                            <a:pt x="4186" y="1615"/>
                            <a:pt x="4486" y="1495"/>
                          </a:cubicBezTo>
                          <a:cubicBezTo>
                            <a:pt x="4785" y="1375"/>
                            <a:pt x="5024" y="1316"/>
                            <a:pt x="5323" y="1256"/>
                          </a:cubicBezTo>
                          <a:cubicBezTo>
                            <a:pt x="5622" y="1196"/>
                            <a:pt x="5861" y="1196"/>
                            <a:pt x="6100" y="1196"/>
                          </a:cubicBezTo>
                          <a:cubicBezTo>
                            <a:pt x="6340" y="1196"/>
                            <a:pt x="6639" y="1256"/>
                            <a:pt x="6878" y="1316"/>
                          </a:cubicBezTo>
                          <a:cubicBezTo>
                            <a:pt x="6997" y="1375"/>
                            <a:pt x="7117" y="1375"/>
                            <a:pt x="7236" y="1435"/>
                          </a:cubicBezTo>
                          <a:cubicBezTo>
                            <a:pt x="7356" y="1495"/>
                            <a:pt x="7476" y="1555"/>
                            <a:pt x="7535" y="1615"/>
                          </a:cubicBezTo>
                          <a:cubicBezTo>
                            <a:pt x="7655" y="1674"/>
                            <a:pt x="7715" y="1734"/>
                            <a:pt x="7835" y="1794"/>
                          </a:cubicBezTo>
                          <a:cubicBezTo>
                            <a:pt x="7894" y="1674"/>
                            <a:pt x="8014" y="1794"/>
                            <a:pt x="8074" y="1854"/>
                          </a:cubicBezTo>
                          <a:moveTo>
                            <a:pt x="1316" y="10466"/>
                          </a:moveTo>
                          <a:cubicBezTo>
                            <a:pt x="1674" y="10765"/>
                            <a:pt x="2033" y="11004"/>
                            <a:pt x="2452" y="11124"/>
                          </a:cubicBezTo>
                          <a:cubicBezTo>
                            <a:pt x="2871" y="11303"/>
                            <a:pt x="3289" y="11363"/>
                            <a:pt x="3768" y="11363"/>
                          </a:cubicBezTo>
                          <a:cubicBezTo>
                            <a:pt x="4246" y="11363"/>
                            <a:pt x="4725" y="11303"/>
                            <a:pt x="5203" y="11124"/>
                          </a:cubicBezTo>
                          <a:cubicBezTo>
                            <a:pt x="5681" y="10944"/>
                            <a:pt x="6220" y="10705"/>
                            <a:pt x="6698" y="10406"/>
                          </a:cubicBezTo>
                          <a:cubicBezTo>
                            <a:pt x="6997" y="10227"/>
                            <a:pt x="7296" y="9988"/>
                            <a:pt x="7595" y="9689"/>
                          </a:cubicBezTo>
                          <a:cubicBezTo>
                            <a:pt x="7894" y="9449"/>
                            <a:pt x="8134" y="9150"/>
                            <a:pt x="8373" y="8851"/>
                          </a:cubicBezTo>
                          <a:cubicBezTo>
                            <a:pt x="8612" y="8552"/>
                            <a:pt x="8851" y="8253"/>
                            <a:pt x="9031" y="7894"/>
                          </a:cubicBezTo>
                          <a:cubicBezTo>
                            <a:pt x="9210" y="7535"/>
                            <a:pt x="9389" y="7177"/>
                            <a:pt x="9569" y="6818"/>
                          </a:cubicBezTo>
                          <a:cubicBezTo>
                            <a:pt x="9748" y="6459"/>
                            <a:pt x="9868" y="6040"/>
                            <a:pt x="9928" y="5681"/>
                          </a:cubicBezTo>
                          <a:cubicBezTo>
                            <a:pt x="9988" y="5323"/>
                            <a:pt x="10048" y="4964"/>
                            <a:pt x="10107" y="4605"/>
                          </a:cubicBezTo>
                          <a:cubicBezTo>
                            <a:pt x="10107" y="4246"/>
                            <a:pt x="10107" y="3887"/>
                            <a:pt x="10048" y="3528"/>
                          </a:cubicBezTo>
                          <a:cubicBezTo>
                            <a:pt x="9988" y="3170"/>
                            <a:pt x="9928" y="2871"/>
                            <a:pt x="9808" y="2572"/>
                          </a:cubicBezTo>
                          <a:cubicBezTo>
                            <a:pt x="9748" y="2392"/>
                            <a:pt x="9689" y="2213"/>
                            <a:pt x="9629" y="2093"/>
                          </a:cubicBezTo>
                          <a:cubicBezTo>
                            <a:pt x="9569" y="1914"/>
                            <a:pt x="9509" y="1794"/>
                            <a:pt x="9389" y="1674"/>
                          </a:cubicBezTo>
                          <a:cubicBezTo>
                            <a:pt x="9330" y="1555"/>
                            <a:pt x="9210" y="1435"/>
                            <a:pt x="9090" y="1316"/>
                          </a:cubicBezTo>
                          <a:cubicBezTo>
                            <a:pt x="8971" y="1196"/>
                            <a:pt x="8911" y="1076"/>
                            <a:pt x="8791" y="957"/>
                          </a:cubicBezTo>
                          <a:cubicBezTo>
                            <a:pt x="8672" y="837"/>
                            <a:pt x="8552" y="777"/>
                            <a:pt x="8433" y="658"/>
                          </a:cubicBezTo>
                          <a:cubicBezTo>
                            <a:pt x="8313" y="598"/>
                            <a:pt x="8194" y="478"/>
                            <a:pt x="8074" y="418"/>
                          </a:cubicBezTo>
                          <a:cubicBezTo>
                            <a:pt x="7954" y="359"/>
                            <a:pt x="7835" y="299"/>
                            <a:pt x="7655" y="239"/>
                          </a:cubicBezTo>
                          <a:cubicBezTo>
                            <a:pt x="7476" y="179"/>
                            <a:pt x="7356" y="119"/>
                            <a:pt x="7236" y="119"/>
                          </a:cubicBezTo>
                          <a:cubicBezTo>
                            <a:pt x="6937" y="60"/>
                            <a:pt x="6639" y="0"/>
                            <a:pt x="6280" y="0"/>
                          </a:cubicBezTo>
                          <a:cubicBezTo>
                            <a:pt x="5981" y="0"/>
                            <a:pt x="5622" y="0"/>
                            <a:pt x="5323" y="119"/>
                          </a:cubicBezTo>
                          <a:cubicBezTo>
                            <a:pt x="5024" y="239"/>
                            <a:pt x="4665" y="299"/>
                            <a:pt x="4366" y="418"/>
                          </a:cubicBezTo>
                          <a:cubicBezTo>
                            <a:pt x="4067" y="538"/>
                            <a:pt x="3708" y="718"/>
                            <a:pt x="3409" y="957"/>
                          </a:cubicBezTo>
                          <a:cubicBezTo>
                            <a:pt x="3110" y="1136"/>
                            <a:pt x="2751" y="1375"/>
                            <a:pt x="2512" y="1674"/>
                          </a:cubicBezTo>
                          <a:cubicBezTo>
                            <a:pt x="2213" y="1914"/>
                            <a:pt x="1973" y="2213"/>
                            <a:pt x="1734" y="2512"/>
                          </a:cubicBezTo>
                          <a:cubicBezTo>
                            <a:pt x="1495" y="2811"/>
                            <a:pt x="1256" y="3110"/>
                            <a:pt x="1076" y="3469"/>
                          </a:cubicBezTo>
                          <a:cubicBezTo>
                            <a:pt x="897" y="3827"/>
                            <a:pt x="718" y="4186"/>
                            <a:pt x="538" y="4545"/>
                          </a:cubicBezTo>
                          <a:cubicBezTo>
                            <a:pt x="418" y="4904"/>
                            <a:pt x="299" y="5263"/>
                            <a:pt x="179" y="5681"/>
                          </a:cubicBezTo>
                          <a:cubicBezTo>
                            <a:pt x="119" y="6040"/>
                            <a:pt x="60" y="6399"/>
                            <a:pt x="0" y="6758"/>
                          </a:cubicBezTo>
                          <a:cubicBezTo>
                            <a:pt x="0" y="7117"/>
                            <a:pt x="0" y="7476"/>
                            <a:pt x="60" y="7835"/>
                          </a:cubicBezTo>
                          <a:cubicBezTo>
                            <a:pt x="119" y="8194"/>
                            <a:pt x="179" y="8493"/>
                            <a:pt x="299" y="8791"/>
                          </a:cubicBezTo>
                          <a:cubicBezTo>
                            <a:pt x="359" y="8971"/>
                            <a:pt x="418" y="9090"/>
                            <a:pt x="478" y="9270"/>
                          </a:cubicBezTo>
                          <a:cubicBezTo>
                            <a:pt x="538" y="9449"/>
                            <a:pt x="658" y="9569"/>
                            <a:pt x="718" y="9689"/>
                          </a:cubicBezTo>
                          <a:cubicBezTo>
                            <a:pt x="777" y="9808"/>
                            <a:pt x="897" y="9928"/>
                            <a:pt x="1017" y="10048"/>
                          </a:cubicBezTo>
                          <a:cubicBezTo>
                            <a:pt x="1076" y="10227"/>
                            <a:pt x="1196" y="10347"/>
                            <a:pt x="1316" y="10466"/>
                          </a:cubicBezTo>
                        </a:path>
                      </a:pathLst>
                    </a:custGeom>
                    <a:noFill/>
                    <a:ln w="6350" cap="flat">
                      <a:solidFill>
                        <a:schemeClr val="bg1">
                          <a:alpha val="80000"/>
                        </a:schemeClr>
                      </a:solidFill>
                      <a:prstDash val="solid"/>
                      <a:miter/>
                    </a:ln>
                  </p:spPr>
                  <p:txBody>
                    <a:bodyPr rtlCol="0" anchor="ctr"/>
                    <a:lstStyle/>
                    <a:p>
                      <a:endParaRPr lang="en-GB"/>
                    </a:p>
                  </p:txBody>
                </p:sp>
                <p:sp>
                  <p:nvSpPr>
                    <p:cNvPr id="7509" name="Vrije vorm: vorm 7508">
                      <a:extLst>
                        <a:ext uri="{FF2B5EF4-FFF2-40B4-BE49-F238E27FC236}">
                          <a16:creationId xmlns:a16="http://schemas.microsoft.com/office/drawing/2014/main" id="{32715F90-B23C-4367-8B56-8FECAB5FE31C}"/>
                        </a:ext>
                      </a:extLst>
                    </p:cNvPr>
                    <p:cNvSpPr/>
                    <p:nvPr/>
                  </p:nvSpPr>
                  <p:spPr>
                    <a:xfrm>
                      <a:off x="5042844" y="5203531"/>
                      <a:ext cx="80859" cy="86038"/>
                    </a:xfrm>
                    <a:custGeom>
                      <a:avLst/>
                      <a:gdLst>
                        <a:gd name="connsiteX0" fmla="*/ 79125 w 80859"/>
                        <a:gd name="connsiteY0" fmla="*/ 14628 h 86038"/>
                        <a:gd name="connsiteX1" fmla="*/ 80202 w 80859"/>
                        <a:gd name="connsiteY1" fmla="*/ 14509 h 86038"/>
                        <a:gd name="connsiteX2" fmla="*/ 79603 w 80859"/>
                        <a:gd name="connsiteY2" fmla="*/ 12415 h 86038"/>
                        <a:gd name="connsiteX3" fmla="*/ 78766 w 80859"/>
                        <a:gd name="connsiteY3" fmla="*/ 10442 h 86038"/>
                        <a:gd name="connsiteX4" fmla="*/ 77690 w 80859"/>
                        <a:gd name="connsiteY4" fmla="*/ 8588 h 86038"/>
                        <a:gd name="connsiteX5" fmla="*/ 76434 w 80859"/>
                        <a:gd name="connsiteY5" fmla="*/ 6853 h 86038"/>
                        <a:gd name="connsiteX6" fmla="*/ 75058 w 80859"/>
                        <a:gd name="connsiteY6" fmla="*/ 6973 h 86038"/>
                        <a:gd name="connsiteX7" fmla="*/ 76434 w 80859"/>
                        <a:gd name="connsiteY7" fmla="*/ 8707 h 86038"/>
                        <a:gd name="connsiteX8" fmla="*/ 77570 w 80859"/>
                        <a:gd name="connsiteY8" fmla="*/ 10561 h 86038"/>
                        <a:gd name="connsiteX9" fmla="*/ 78467 w 80859"/>
                        <a:gd name="connsiteY9" fmla="*/ 12535 h 86038"/>
                        <a:gd name="connsiteX10" fmla="*/ 79125 w 80859"/>
                        <a:gd name="connsiteY10" fmla="*/ 14628 h 86038"/>
                        <a:gd name="connsiteX11" fmla="*/ 79125 w 80859"/>
                        <a:gd name="connsiteY11" fmla="*/ 26291 h 86038"/>
                        <a:gd name="connsiteX12" fmla="*/ 80142 w 80859"/>
                        <a:gd name="connsiteY12" fmla="*/ 26171 h 86038"/>
                        <a:gd name="connsiteX13" fmla="*/ 80620 w 80859"/>
                        <a:gd name="connsiteY13" fmla="*/ 23480 h 86038"/>
                        <a:gd name="connsiteX14" fmla="*/ 80859 w 80859"/>
                        <a:gd name="connsiteY14" fmla="*/ 20789 h 86038"/>
                        <a:gd name="connsiteX15" fmla="*/ 80800 w 80859"/>
                        <a:gd name="connsiteY15" fmla="*/ 18157 h 86038"/>
                        <a:gd name="connsiteX16" fmla="*/ 80441 w 80859"/>
                        <a:gd name="connsiteY16" fmla="*/ 15585 h 86038"/>
                        <a:gd name="connsiteX17" fmla="*/ 79364 w 80859"/>
                        <a:gd name="connsiteY17" fmla="*/ 15705 h 86038"/>
                        <a:gd name="connsiteX18" fmla="*/ 79723 w 80859"/>
                        <a:gd name="connsiteY18" fmla="*/ 18277 h 86038"/>
                        <a:gd name="connsiteX19" fmla="*/ 79783 w 80859"/>
                        <a:gd name="connsiteY19" fmla="*/ 20908 h 86038"/>
                        <a:gd name="connsiteX20" fmla="*/ 79544 w 80859"/>
                        <a:gd name="connsiteY20" fmla="*/ 23599 h 86038"/>
                        <a:gd name="connsiteX21" fmla="*/ 79125 w 80859"/>
                        <a:gd name="connsiteY21" fmla="*/ 26291 h 86038"/>
                        <a:gd name="connsiteX22" fmla="*/ 72187 w 80859"/>
                        <a:gd name="connsiteY22" fmla="*/ 39448 h 86038"/>
                        <a:gd name="connsiteX23" fmla="*/ 73443 w 80859"/>
                        <a:gd name="connsiteY23" fmla="*/ 39329 h 86038"/>
                        <a:gd name="connsiteX24" fmla="*/ 74101 w 80859"/>
                        <a:gd name="connsiteY24" fmla="*/ 38551 h 86038"/>
                        <a:gd name="connsiteX25" fmla="*/ 76015 w 80859"/>
                        <a:gd name="connsiteY25" fmla="*/ 35860 h 86038"/>
                        <a:gd name="connsiteX26" fmla="*/ 77630 w 80859"/>
                        <a:gd name="connsiteY26" fmla="*/ 33049 h 86038"/>
                        <a:gd name="connsiteX27" fmla="*/ 78886 w 80859"/>
                        <a:gd name="connsiteY27" fmla="*/ 30178 h 86038"/>
                        <a:gd name="connsiteX28" fmla="*/ 79843 w 80859"/>
                        <a:gd name="connsiteY28" fmla="*/ 27248 h 86038"/>
                        <a:gd name="connsiteX29" fmla="*/ 78826 w 80859"/>
                        <a:gd name="connsiteY29" fmla="*/ 27367 h 86038"/>
                        <a:gd name="connsiteX30" fmla="*/ 77929 w 80859"/>
                        <a:gd name="connsiteY30" fmla="*/ 30118 h 86038"/>
                        <a:gd name="connsiteX31" fmla="*/ 76733 w 80859"/>
                        <a:gd name="connsiteY31" fmla="*/ 32810 h 86038"/>
                        <a:gd name="connsiteX32" fmla="*/ 75238 w 80859"/>
                        <a:gd name="connsiteY32" fmla="*/ 35441 h 86038"/>
                        <a:gd name="connsiteX33" fmla="*/ 73384 w 80859"/>
                        <a:gd name="connsiteY33" fmla="*/ 38013 h 86038"/>
                        <a:gd name="connsiteX34" fmla="*/ 72187 w 80859"/>
                        <a:gd name="connsiteY34" fmla="*/ 39448 h 86038"/>
                        <a:gd name="connsiteX35" fmla="*/ 37439 w 80859"/>
                        <a:gd name="connsiteY35" fmla="*/ 83466 h 86038"/>
                        <a:gd name="connsiteX36" fmla="*/ 38217 w 80859"/>
                        <a:gd name="connsiteY36" fmla="*/ 84005 h 86038"/>
                        <a:gd name="connsiteX37" fmla="*/ 72606 w 80859"/>
                        <a:gd name="connsiteY37" fmla="*/ 40405 h 86038"/>
                        <a:gd name="connsiteX38" fmla="*/ 71350 w 80859"/>
                        <a:gd name="connsiteY38" fmla="*/ 40525 h 86038"/>
                        <a:gd name="connsiteX39" fmla="*/ 37439 w 80859"/>
                        <a:gd name="connsiteY39" fmla="*/ 83466 h 86038"/>
                        <a:gd name="connsiteX40" fmla="*/ 1675 w 80859"/>
                        <a:gd name="connsiteY40" fmla="*/ 58467 h 86038"/>
                        <a:gd name="connsiteX41" fmla="*/ 2452 w 80859"/>
                        <a:gd name="connsiteY41" fmla="*/ 59005 h 86038"/>
                        <a:gd name="connsiteX42" fmla="*/ 38994 w 80859"/>
                        <a:gd name="connsiteY42" fmla="*/ 12715 h 86038"/>
                        <a:gd name="connsiteX43" fmla="*/ 39114 w 80859"/>
                        <a:gd name="connsiteY43" fmla="*/ 12595 h 86038"/>
                        <a:gd name="connsiteX44" fmla="*/ 46889 w 80859"/>
                        <a:gd name="connsiteY44" fmla="*/ 5538 h 86038"/>
                        <a:gd name="connsiteX45" fmla="*/ 55800 w 80859"/>
                        <a:gd name="connsiteY45" fmla="*/ 1710 h 86038"/>
                        <a:gd name="connsiteX46" fmla="*/ 64771 w 80859"/>
                        <a:gd name="connsiteY46" fmla="*/ 1411 h 86038"/>
                        <a:gd name="connsiteX47" fmla="*/ 72726 w 80859"/>
                        <a:gd name="connsiteY47" fmla="*/ 4820 h 86038"/>
                        <a:gd name="connsiteX48" fmla="*/ 73085 w 80859"/>
                        <a:gd name="connsiteY48" fmla="*/ 5119 h 86038"/>
                        <a:gd name="connsiteX49" fmla="*/ 73443 w 80859"/>
                        <a:gd name="connsiteY49" fmla="*/ 5418 h 86038"/>
                        <a:gd name="connsiteX50" fmla="*/ 73802 w 80859"/>
                        <a:gd name="connsiteY50" fmla="*/ 5717 h 86038"/>
                        <a:gd name="connsiteX51" fmla="*/ 74161 w 80859"/>
                        <a:gd name="connsiteY51" fmla="*/ 6016 h 86038"/>
                        <a:gd name="connsiteX52" fmla="*/ 75656 w 80859"/>
                        <a:gd name="connsiteY52" fmla="*/ 5897 h 86038"/>
                        <a:gd name="connsiteX53" fmla="*/ 75118 w 80859"/>
                        <a:gd name="connsiteY53" fmla="*/ 5358 h 86038"/>
                        <a:gd name="connsiteX54" fmla="*/ 74580 w 80859"/>
                        <a:gd name="connsiteY54" fmla="*/ 4880 h 86038"/>
                        <a:gd name="connsiteX55" fmla="*/ 74041 w 80859"/>
                        <a:gd name="connsiteY55" fmla="*/ 4401 h 86038"/>
                        <a:gd name="connsiteX56" fmla="*/ 73443 w 80859"/>
                        <a:gd name="connsiteY56" fmla="*/ 3923 h 86038"/>
                        <a:gd name="connsiteX57" fmla="*/ 65190 w 80859"/>
                        <a:gd name="connsiteY57" fmla="*/ 335 h 86038"/>
                        <a:gd name="connsiteX58" fmla="*/ 55800 w 80859"/>
                        <a:gd name="connsiteY58" fmla="*/ 634 h 86038"/>
                        <a:gd name="connsiteX59" fmla="*/ 46470 w 80859"/>
                        <a:gd name="connsiteY59" fmla="*/ 4581 h 86038"/>
                        <a:gd name="connsiteX60" fmla="*/ 38337 w 80859"/>
                        <a:gd name="connsiteY60" fmla="*/ 11997 h 86038"/>
                        <a:gd name="connsiteX61" fmla="*/ 1675 w 80859"/>
                        <a:gd name="connsiteY61" fmla="*/ 58467 h 86038"/>
                        <a:gd name="connsiteX62" fmla="*/ 11662 w 80859"/>
                        <a:gd name="connsiteY62" fmla="*/ 68694 h 86038"/>
                        <a:gd name="connsiteX63" fmla="*/ 36602 w 80859"/>
                        <a:gd name="connsiteY63" fmla="*/ 86038 h 86038"/>
                        <a:gd name="connsiteX64" fmla="*/ 37559 w 80859"/>
                        <a:gd name="connsiteY64" fmla="*/ 84842 h 86038"/>
                        <a:gd name="connsiteX65" fmla="*/ 36782 w 80859"/>
                        <a:gd name="connsiteY65" fmla="*/ 84304 h 86038"/>
                        <a:gd name="connsiteX66" fmla="*/ 36542 w 80859"/>
                        <a:gd name="connsiteY66" fmla="*/ 84603 h 86038"/>
                        <a:gd name="connsiteX67" fmla="*/ 14474 w 80859"/>
                        <a:gd name="connsiteY67" fmla="*/ 69232 h 86038"/>
                        <a:gd name="connsiteX68" fmla="*/ 13756 w 80859"/>
                        <a:gd name="connsiteY68" fmla="*/ 68993 h 86038"/>
                        <a:gd name="connsiteX69" fmla="*/ 13038 w 80859"/>
                        <a:gd name="connsiteY69" fmla="*/ 68814 h 86038"/>
                        <a:gd name="connsiteX70" fmla="*/ 12320 w 80859"/>
                        <a:gd name="connsiteY70" fmla="*/ 68694 h 86038"/>
                        <a:gd name="connsiteX71" fmla="*/ 11662 w 80859"/>
                        <a:gd name="connsiteY71" fmla="*/ 68694 h 86038"/>
                        <a:gd name="connsiteX72" fmla="*/ 0 w 80859"/>
                        <a:gd name="connsiteY72" fmla="*/ 60620 h 86038"/>
                        <a:gd name="connsiteX73" fmla="*/ 10287 w 80859"/>
                        <a:gd name="connsiteY73" fmla="*/ 67797 h 86038"/>
                        <a:gd name="connsiteX74" fmla="*/ 10766 w 80859"/>
                        <a:gd name="connsiteY74" fmla="*/ 67737 h 86038"/>
                        <a:gd name="connsiteX75" fmla="*/ 11244 w 80859"/>
                        <a:gd name="connsiteY75" fmla="*/ 67677 h 86038"/>
                        <a:gd name="connsiteX76" fmla="*/ 11722 w 80859"/>
                        <a:gd name="connsiteY76" fmla="*/ 67677 h 86038"/>
                        <a:gd name="connsiteX77" fmla="*/ 12201 w 80859"/>
                        <a:gd name="connsiteY77" fmla="*/ 67677 h 86038"/>
                        <a:gd name="connsiteX78" fmla="*/ 1495 w 80859"/>
                        <a:gd name="connsiteY78" fmla="*/ 60201 h 86038"/>
                        <a:gd name="connsiteX79" fmla="*/ 1495 w 80859"/>
                        <a:gd name="connsiteY79" fmla="*/ 60142 h 86038"/>
                        <a:gd name="connsiteX80" fmla="*/ 1256 w 80859"/>
                        <a:gd name="connsiteY80" fmla="*/ 60082 h 86038"/>
                        <a:gd name="connsiteX81" fmla="*/ 1017 w 80859"/>
                        <a:gd name="connsiteY81" fmla="*/ 60022 h 86038"/>
                        <a:gd name="connsiteX82" fmla="*/ 778 w 80859"/>
                        <a:gd name="connsiteY82" fmla="*/ 59962 h 86038"/>
                        <a:gd name="connsiteX83" fmla="*/ 538 w 80859"/>
                        <a:gd name="connsiteY83" fmla="*/ 59902 h 86038"/>
                        <a:gd name="connsiteX84" fmla="*/ 0 w 80859"/>
                        <a:gd name="connsiteY84" fmla="*/ 60620 h 86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80859" h="86038">
                          <a:moveTo>
                            <a:pt x="79125" y="14628"/>
                          </a:moveTo>
                          <a:lnTo>
                            <a:pt x="80202" y="14509"/>
                          </a:lnTo>
                          <a:cubicBezTo>
                            <a:pt x="80022" y="13791"/>
                            <a:pt x="79843" y="13074"/>
                            <a:pt x="79603" y="12415"/>
                          </a:cubicBezTo>
                          <a:cubicBezTo>
                            <a:pt x="79364" y="11758"/>
                            <a:pt x="79065" y="11040"/>
                            <a:pt x="78766" y="10442"/>
                          </a:cubicBezTo>
                          <a:cubicBezTo>
                            <a:pt x="78467" y="9784"/>
                            <a:pt x="78108" y="9186"/>
                            <a:pt x="77690" y="8588"/>
                          </a:cubicBezTo>
                          <a:cubicBezTo>
                            <a:pt x="77331" y="7990"/>
                            <a:pt x="76912" y="7392"/>
                            <a:pt x="76434" y="6853"/>
                          </a:cubicBezTo>
                          <a:lnTo>
                            <a:pt x="75058" y="6973"/>
                          </a:lnTo>
                          <a:cubicBezTo>
                            <a:pt x="75537" y="7511"/>
                            <a:pt x="76015" y="8109"/>
                            <a:pt x="76434" y="8707"/>
                          </a:cubicBezTo>
                          <a:cubicBezTo>
                            <a:pt x="76853" y="9306"/>
                            <a:pt x="77211" y="9904"/>
                            <a:pt x="77570" y="10561"/>
                          </a:cubicBezTo>
                          <a:cubicBezTo>
                            <a:pt x="77929" y="11220"/>
                            <a:pt x="78228" y="11877"/>
                            <a:pt x="78467" y="12535"/>
                          </a:cubicBezTo>
                          <a:cubicBezTo>
                            <a:pt x="78707" y="13253"/>
                            <a:pt x="78946" y="13911"/>
                            <a:pt x="79125" y="14628"/>
                          </a:cubicBezTo>
                          <a:moveTo>
                            <a:pt x="79125" y="26291"/>
                          </a:moveTo>
                          <a:lnTo>
                            <a:pt x="80142" y="26171"/>
                          </a:lnTo>
                          <a:cubicBezTo>
                            <a:pt x="80381" y="25274"/>
                            <a:pt x="80501" y="24377"/>
                            <a:pt x="80620" y="23480"/>
                          </a:cubicBezTo>
                          <a:cubicBezTo>
                            <a:pt x="80740" y="22583"/>
                            <a:pt x="80800" y="21686"/>
                            <a:pt x="80859" y="20789"/>
                          </a:cubicBezTo>
                          <a:cubicBezTo>
                            <a:pt x="80859" y="19891"/>
                            <a:pt x="80859" y="18994"/>
                            <a:pt x="80800" y="18157"/>
                          </a:cubicBezTo>
                          <a:cubicBezTo>
                            <a:pt x="80740" y="17260"/>
                            <a:pt x="80620" y="16423"/>
                            <a:pt x="80441" y="15585"/>
                          </a:cubicBezTo>
                          <a:lnTo>
                            <a:pt x="79364" y="15705"/>
                          </a:lnTo>
                          <a:cubicBezTo>
                            <a:pt x="79544" y="16542"/>
                            <a:pt x="79663" y="17380"/>
                            <a:pt x="79723" y="18277"/>
                          </a:cubicBezTo>
                          <a:cubicBezTo>
                            <a:pt x="79783" y="19114"/>
                            <a:pt x="79843" y="20011"/>
                            <a:pt x="79783" y="20908"/>
                          </a:cubicBezTo>
                          <a:cubicBezTo>
                            <a:pt x="79783" y="21805"/>
                            <a:pt x="79663" y="22702"/>
                            <a:pt x="79544" y="23599"/>
                          </a:cubicBezTo>
                          <a:cubicBezTo>
                            <a:pt x="79544" y="24497"/>
                            <a:pt x="79364" y="25394"/>
                            <a:pt x="79125" y="26291"/>
                          </a:cubicBezTo>
                          <a:moveTo>
                            <a:pt x="72187" y="39448"/>
                          </a:moveTo>
                          <a:lnTo>
                            <a:pt x="73443" y="39329"/>
                          </a:lnTo>
                          <a:lnTo>
                            <a:pt x="74101" y="38551"/>
                          </a:lnTo>
                          <a:cubicBezTo>
                            <a:pt x="74819" y="37654"/>
                            <a:pt x="75417" y="36757"/>
                            <a:pt x="76015" y="35860"/>
                          </a:cubicBezTo>
                          <a:cubicBezTo>
                            <a:pt x="76613" y="34963"/>
                            <a:pt x="77151" y="34006"/>
                            <a:pt x="77630" y="33049"/>
                          </a:cubicBezTo>
                          <a:cubicBezTo>
                            <a:pt x="78108" y="32092"/>
                            <a:pt x="78527" y="31135"/>
                            <a:pt x="78886" y="30178"/>
                          </a:cubicBezTo>
                          <a:cubicBezTo>
                            <a:pt x="79245" y="29221"/>
                            <a:pt x="79603" y="28264"/>
                            <a:pt x="79843" y="27248"/>
                          </a:cubicBezTo>
                          <a:lnTo>
                            <a:pt x="78826" y="27367"/>
                          </a:lnTo>
                          <a:cubicBezTo>
                            <a:pt x="78587" y="28264"/>
                            <a:pt x="78288" y="29221"/>
                            <a:pt x="77929" y="30118"/>
                          </a:cubicBezTo>
                          <a:cubicBezTo>
                            <a:pt x="77570" y="31016"/>
                            <a:pt x="77151" y="31913"/>
                            <a:pt x="76733" y="32810"/>
                          </a:cubicBezTo>
                          <a:cubicBezTo>
                            <a:pt x="76254" y="33707"/>
                            <a:pt x="75776" y="34604"/>
                            <a:pt x="75238" y="35441"/>
                          </a:cubicBezTo>
                          <a:cubicBezTo>
                            <a:pt x="74699" y="36338"/>
                            <a:pt x="74041" y="37176"/>
                            <a:pt x="73384" y="38013"/>
                          </a:cubicBezTo>
                          <a:lnTo>
                            <a:pt x="72187" y="39448"/>
                          </a:lnTo>
                          <a:moveTo>
                            <a:pt x="37439" y="83466"/>
                          </a:moveTo>
                          <a:lnTo>
                            <a:pt x="38217" y="84005"/>
                          </a:lnTo>
                          <a:lnTo>
                            <a:pt x="72606" y="40405"/>
                          </a:lnTo>
                          <a:lnTo>
                            <a:pt x="71350" y="40525"/>
                          </a:lnTo>
                          <a:lnTo>
                            <a:pt x="37439" y="83466"/>
                          </a:lnTo>
                          <a:moveTo>
                            <a:pt x="1675" y="58467"/>
                          </a:moveTo>
                          <a:lnTo>
                            <a:pt x="2452" y="59005"/>
                          </a:lnTo>
                          <a:lnTo>
                            <a:pt x="38994" y="12715"/>
                          </a:lnTo>
                          <a:lnTo>
                            <a:pt x="39114" y="12595"/>
                          </a:lnTo>
                          <a:cubicBezTo>
                            <a:pt x="41387" y="9724"/>
                            <a:pt x="44018" y="7332"/>
                            <a:pt x="46889" y="5538"/>
                          </a:cubicBezTo>
                          <a:cubicBezTo>
                            <a:pt x="49760" y="3684"/>
                            <a:pt x="52750" y="2428"/>
                            <a:pt x="55800" y="1710"/>
                          </a:cubicBezTo>
                          <a:cubicBezTo>
                            <a:pt x="58850" y="992"/>
                            <a:pt x="61901" y="873"/>
                            <a:pt x="64771" y="1411"/>
                          </a:cubicBezTo>
                          <a:cubicBezTo>
                            <a:pt x="67642" y="1889"/>
                            <a:pt x="70333" y="3026"/>
                            <a:pt x="72726" y="4820"/>
                          </a:cubicBezTo>
                          <a:cubicBezTo>
                            <a:pt x="72845" y="4940"/>
                            <a:pt x="72965" y="4999"/>
                            <a:pt x="73085" y="5119"/>
                          </a:cubicBezTo>
                          <a:cubicBezTo>
                            <a:pt x="73204" y="5239"/>
                            <a:pt x="73324" y="5298"/>
                            <a:pt x="73443" y="5418"/>
                          </a:cubicBezTo>
                          <a:cubicBezTo>
                            <a:pt x="73563" y="5538"/>
                            <a:pt x="73683" y="5598"/>
                            <a:pt x="73802" y="5717"/>
                          </a:cubicBezTo>
                          <a:cubicBezTo>
                            <a:pt x="73922" y="5837"/>
                            <a:pt x="74041" y="5897"/>
                            <a:pt x="74161" y="6016"/>
                          </a:cubicBezTo>
                          <a:lnTo>
                            <a:pt x="75656" y="5897"/>
                          </a:lnTo>
                          <a:cubicBezTo>
                            <a:pt x="75477" y="5717"/>
                            <a:pt x="75297" y="5538"/>
                            <a:pt x="75118" y="5358"/>
                          </a:cubicBezTo>
                          <a:cubicBezTo>
                            <a:pt x="74939" y="5179"/>
                            <a:pt x="74759" y="4999"/>
                            <a:pt x="74580" y="4880"/>
                          </a:cubicBezTo>
                          <a:cubicBezTo>
                            <a:pt x="74400" y="4700"/>
                            <a:pt x="74221" y="4581"/>
                            <a:pt x="74041" y="4401"/>
                          </a:cubicBezTo>
                          <a:cubicBezTo>
                            <a:pt x="73862" y="4222"/>
                            <a:pt x="73683" y="4102"/>
                            <a:pt x="73443" y="3923"/>
                          </a:cubicBezTo>
                          <a:cubicBezTo>
                            <a:pt x="70991" y="2069"/>
                            <a:pt x="68180" y="873"/>
                            <a:pt x="65190" y="335"/>
                          </a:cubicBezTo>
                          <a:cubicBezTo>
                            <a:pt x="62200" y="-204"/>
                            <a:pt x="58970" y="-84"/>
                            <a:pt x="55800" y="634"/>
                          </a:cubicBezTo>
                          <a:cubicBezTo>
                            <a:pt x="52631" y="1351"/>
                            <a:pt x="49461" y="2727"/>
                            <a:pt x="46470" y="4581"/>
                          </a:cubicBezTo>
                          <a:cubicBezTo>
                            <a:pt x="43480" y="6495"/>
                            <a:pt x="40729" y="8947"/>
                            <a:pt x="38337" y="11997"/>
                          </a:cubicBezTo>
                          <a:lnTo>
                            <a:pt x="1675" y="58467"/>
                          </a:lnTo>
                          <a:moveTo>
                            <a:pt x="11662" y="68694"/>
                          </a:moveTo>
                          <a:lnTo>
                            <a:pt x="36602" y="86038"/>
                          </a:lnTo>
                          <a:lnTo>
                            <a:pt x="37559" y="84842"/>
                          </a:lnTo>
                          <a:lnTo>
                            <a:pt x="36782" y="84304"/>
                          </a:lnTo>
                          <a:lnTo>
                            <a:pt x="36542" y="84603"/>
                          </a:lnTo>
                          <a:lnTo>
                            <a:pt x="14474" y="69232"/>
                          </a:lnTo>
                          <a:cubicBezTo>
                            <a:pt x="14234" y="69172"/>
                            <a:pt x="13995" y="69053"/>
                            <a:pt x="13756" y="68993"/>
                          </a:cubicBezTo>
                          <a:cubicBezTo>
                            <a:pt x="13516" y="68933"/>
                            <a:pt x="13277" y="68873"/>
                            <a:pt x="13038" y="68814"/>
                          </a:cubicBezTo>
                          <a:cubicBezTo>
                            <a:pt x="12799" y="68754"/>
                            <a:pt x="12560" y="68754"/>
                            <a:pt x="12320" y="68694"/>
                          </a:cubicBezTo>
                          <a:cubicBezTo>
                            <a:pt x="12081" y="68634"/>
                            <a:pt x="11842" y="68754"/>
                            <a:pt x="11662" y="68694"/>
                          </a:cubicBezTo>
                          <a:moveTo>
                            <a:pt x="0" y="60620"/>
                          </a:moveTo>
                          <a:lnTo>
                            <a:pt x="10287" y="67797"/>
                          </a:lnTo>
                          <a:cubicBezTo>
                            <a:pt x="10466" y="67797"/>
                            <a:pt x="10586" y="67737"/>
                            <a:pt x="10766" y="67737"/>
                          </a:cubicBezTo>
                          <a:cubicBezTo>
                            <a:pt x="10945" y="67737"/>
                            <a:pt x="11065" y="67737"/>
                            <a:pt x="11244" y="67677"/>
                          </a:cubicBezTo>
                          <a:cubicBezTo>
                            <a:pt x="11423" y="67677"/>
                            <a:pt x="11543" y="67677"/>
                            <a:pt x="11722" y="67677"/>
                          </a:cubicBezTo>
                          <a:cubicBezTo>
                            <a:pt x="11902" y="67677"/>
                            <a:pt x="12021" y="67677"/>
                            <a:pt x="12201" y="67677"/>
                          </a:cubicBezTo>
                          <a:lnTo>
                            <a:pt x="1495" y="60201"/>
                          </a:lnTo>
                          <a:lnTo>
                            <a:pt x="1495" y="60142"/>
                          </a:lnTo>
                          <a:cubicBezTo>
                            <a:pt x="1435" y="60082"/>
                            <a:pt x="1316" y="60082"/>
                            <a:pt x="1256" y="60082"/>
                          </a:cubicBezTo>
                          <a:cubicBezTo>
                            <a:pt x="1196" y="60082"/>
                            <a:pt x="1076" y="60022"/>
                            <a:pt x="1017" y="60022"/>
                          </a:cubicBezTo>
                          <a:cubicBezTo>
                            <a:pt x="957" y="60022"/>
                            <a:pt x="837" y="59962"/>
                            <a:pt x="778" y="59962"/>
                          </a:cubicBezTo>
                          <a:cubicBezTo>
                            <a:pt x="718" y="59962"/>
                            <a:pt x="598" y="59902"/>
                            <a:pt x="538" y="59902"/>
                          </a:cubicBezTo>
                          <a:lnTo>
                            <a:pt x="0" y="60620"/>
                          </a:lnTo>
                        </a:path>
                      </a:pathLst>
                    </a:custGeom>
                    <a:noFill/>
                    <a:ln w="6350" cap="flat">
                      <a:solidFill>
                        <a:schemeClr val="bg1">
                          <a:alpha val="80000"/>
                        </a:schemeClr>
                      </a:solidFill>
                      <a:prstDash val="solid"/>
                      <a:miter/>
                    </a:ln>
                  </p:spPr>
                  <p:txBody>
                    <a:bodyPr rtlCol="0" anchor="ctr"/>
                    <a:lstStyle/>
                    <a:p>
                      <a:endParaRPr lang="en-GB"/>
                    </a:p>
                  </p:txBody>
                </p:sp>
                <p:sp>
                  <p:nvSpPr>
                    <p:cNvPr id="7510" name="Vrije vorm: vorm 7509">
                      <a:extLst>
                        <a:ext uri="{FF2B5EF4-FFF2-40B4-BE49-F238E27FC236}">
                          <a16:creationId xmlns:a16="http://schemas.microsoft.com/office/drawing/2014/main" id="{1072594E-BB84-4F7A-AE50-009AA3D08DB9}"/>
                        </a:ext>
                      </a:extLst>
                    </p:cNvPr>
                    <p:cNvSpPr/>
                    <p:nvPr/>
                  </p:nvSpPr>
                  <p:spPr>
                    <a:xfrm>
                      <a:off x="5078065" y="5207075"/>
                      <a:ext cx="42050" cy="43184"/>
                    </a:xfrm>
                    <a:custGeom>
                      <a:avLst/>
                      <a:gdLst>
                        <a:gd name="connsiteX0" fmla="*/ 40077 w 42050"/>
                        <a:gd name="connsiteY0" fmla="*/ 11444 h 43184"/>
                        <a:gd name="connsiteX1" fmla="*/ 41213 w 42050"/>
                        <a:gd name="connsiteY1" fmla="*/ 11324 h 43184"/>
                        <a:gd name="connsiteX2" fmla="*/ 40375 w 42050"/>
                        <a:gd name="connsiteY2" fmla="*/ 9171 h 43184"/>
                        <a:gd name="connsiteX3" fmla="*/ 39239 w 42050"/>
                        <a:gd name="connsiteY3" fmla="*/ 7138 h 43184"/>
                        <a:gd name="connsiteX4" fmla="*/ 37804 w 42050"/>
                        <a:gd name="connsiteY4" fmla="*/ 5344 h 43184"/>
                        <a:gd name="connsiteX5" fmla="*/ 36070 w 42050"/>
                        <a:gd name="connsiteY5" fmla="*/ 3729 h 43184"/>
                        <a:gd name="connsiteX6" fmla="*/ 34335 w 42050"/>
                        <a:gd name="connsiteY6" fmla="*/ 3908 h 43184"/>
                        <a:gd name="connsiteX7" fmla="*/ 34514 w 42050"/>
                        <a:gd name="connsiteY7" fmla="*/ 4028 h 43184"/>
                        <a:gd name="connsiteX8" fmla="*/ 34694 w 42050"/>
                        <a:gd name="connsiteY8" fmla="*/ 4147 h 43184"/>
                        <a:gd name="connsiteX9" fmla="*/ 34873 w 42050"/>
                        <a:gd name="connsiteY9" fmla="*/ 4267 h 43184"/>
                        <a:gd name="connsiteX10" fmla="*/ 35053 w 42050"/>
                        <a:gd name="connsiteY10" fmla="*/ 4386 h 43184"/>
                        <a:gd name="connsiteX11" fmla="*/ 36727 w 42050"/>
                        <a:gd name="connsiteY11" fmla="*/ 5882 h 43184"/>
                        <a:gd name="connsiteX12" fmla="*/ 38163 w 42050"/>
                        <a:gd name="connsiteY12" fmla="*/ 7556 h 43184"/>
                        <a:gd name="connsiteX13" fmla="*/ 39299 w 42050"/>
                        <a:gd name="connsiteY13" fmla="*/ 9410 h 43184"/>
                        <a:gd name="connsiteX14" fmla="*/ 40077 w 42050"/>
                        <a:gd name="connsiteY14" fmla="*/ 11444 h 43184"/>
                        <a:gd name="connsiteX15" fmla="*/ 40316 w 42050"/>
                        <a:gd name="connsiteY15" fmla="*/ 23106 h 43184"/>
                        <a:gd name="connsiteX16" fmla="*/ 41333 w 42050"/>
                        <a:gd name="connsiteY16" fmla="*/ 22987 h 43184"/>
                        <a:gd name="connsiteX17" fmla="*/ 41871 w 42050"/>
                        <a:gd name="connsiteY17" fmla="*/ 20235 h 43184"/>
                        <a:gd name="connsiteX18" fmla="*/ 42050 w 42050"/>
                        <a:gd name="connsiteY18" fmla="*/ 17544 h 43184"/>
                        <a:gd name="connsiteX19" fmla="*/ 41931 w 42050"/>
                        <a:gd name="connsiteY19" fmla="*/ 14913 h 43184"/>
                        <a:gd name="connsiteX20" fmla="*/ 41452 w 42050"/>
                        <a:gd name="connsiteY20" fmla="*/ 12401 h 43184"/>
                        <a:gd name="connsiteX21" fmla="*/ 40375 w 42050"/>
                        <a:gd name="connsiteY21" fmla="*/ 12520 h 43184"/>
                        <a:gd name="connsiteX22" fmla="*/ 40914 w 42050"/>
                        <a:gd name="connsiteY22" fmla="*/ 15032 h 43184"/>
                        <a:gd name="connsiteX23" fmla="*/ 41093 w 42050"/>
                        <a:gd name="connsiteY23" fmla="*/ 17664 h 43184"/>
                        <a:gd name="connsiteX24" fmla="*/ 40914 w 42050"/>
                        <a:gd name="connsiteY24" fmla="*/ 20355 h 43184"/>
                        <a:gd name="connsiteX25" fmla="*/ 40316 w 42050"/>
                        <a:gd name="connsiteY25" fmla="*/ 23106 h 43184"/>
                        <a:gd name="connsiteX26" fmla="*/ 31763 w 42050"/>
                        <a:gd name="connsiteY26" fmla="*/ 36383 h 43184"/>
                        <a:gd name="connsiteX27" fmla="*/ 33318 w 42050"/>
                        <a:gd name="connsiteY27" fmla="*/ 36204 h 43184"/>
                        <a:gd name="connsiteX28" fmla="*/ 34096 w 42050"/>
                        <a:gd name="connsiteY28" fmla="*/ 35426 h 43184"/>
                        <a:gd name="connsiteX29" fmla="*/ 34873 w 42050"/>
                        <a:gd name="connsiteY29" fmla="*/ 34649 h 43184"/>
                        <a:gd name="connsiteX30" fmla="*/ 35591 w 42050"/>
                        <a:gd name="connsiteY30" fmla="*/ 33812 h 43184"/>
                        <a:gd name="connsiteX31" fmla="*/ 36309 w 42050"/>
                        <a:gd name="connsiteY31" fmla="*/ 32974 h 43184"/>
                        <a:gd name="connsiteX32" fmla="*/ 37864 w 42050"/>
                        <a:gd name="connsiteY32" fmla="*/ 30821 h 43184"/>
                        <a:gd name="connsiteX33" fmla="*/ 39179 w 42050"/>
                        <a:gd name="connsiteY33" fmla="*/ 28609 h 43184"/>
                        <a:gd name="connsiteX34" fmla="*/ 40256 w 42050"/>
                        <a:gd name="connsiteY34" fmla="*/ 26336 h 43184"/>
                        <a:gd name="connsiteX35" fmla="*/ 41093 w 42050"/>
                        <a:gd name="connsiteY35" fmla="*/ 24003 h 43184"/>
                        <a:gd name="connsiteX36" fmla="*/ 40077 w 42050"/>
                        <a:gd name="connsiteY36" fmla="*/ 24123 h 43184"/>
                        <a:gd name="connsiteX37" fmla="*/ 39299 w 42050"/>
                        <a:gd name="connsiteY37" fmla="*/ 26276 h 43184"/>
                        <a:gd name="connsiteX38" fmla="*/ 38282 w 42050"/>
                        <a:gd name="connsiteY38" fmla="*/ 28369 h 43184"/>
                        <a:gd name="connsiteX39" fmla="*/ 37086 w 42050"/>
                        <a:gd name="connsiteY39" fmla="*/ 30463 h 43184"/>
                        <a:gd name="connsiteX40" fmla="*/ 35651 w 42050"/>
                        <a:gd name="connsiteY40" fmla="*/ 32496 h 43184"/>
                        <a:gd name="connsiteX41" fmla="*/ 34754 w 42050"/>
                        <a:gd name="connsiteY41" fmla="*/ 33572 h 43184"/>
                        <a:gd name="connsiteX42" fmla="*/ 33797 w 42050"/>
                        <a:gd name="connsiteY42" fmla="*/ 34589 h 43184"/>
                        <a:gd name="connsiteX43" fmla="*/ 32840 w 42050"/>
                        <a:gd name="connsiteY43" fmla="*/ 35546 h 43184"/>
                        <a:gd name="connsiteX44" fmla="*/ 31763 w 42050"/>
                        <a:gd name="connsiteY44" fmla="*/ 36383 h 43184"/>
                        <a:gd name="connsiteX45" fmla="*/ 6704 w 42050"/>
                        <a:gd name="connsiteY45" fmla="*/ 40092 h 43184"/>
                        <a:gd name="connsiteX46" fmla="*/ 12565 w 42050"/>
                        <a:gd name="connsiteY46" fmla="*/ 42723 h 43184"/>
                        <a:gd name="connsiteX47" fmla="*/ 19084 w 42050"/>
                        <a:gd name="connsiteY47" fmla="*/ 43022 h 43184"/>
                        <a:gd name="connsiteX48" fmla="*/ 25723 w 42050"/>
                        <a:gd name="connsiteY48" fmla="*/ 41168 h 43184"/>
                        <a:gd name="connsiteX49" fmla="*/ 32002 w 42050"/>
                        <a:gd name="connsiteY49" fmla="*/ 37340 h 43184"/>
                        <a:gd name="connsiteX50" fmla="*/ 30268 w 42050"/>
                        <a:gd name="connsiteY50" fmla="*/ 37520 h 43184"/>
                        <a:gd name="connsiteX51" fmla="*/ 24526 w 42050"/>
                        <a:gd name="connsiteY51" fmla="*/ 40630 h 43184"/>
                        <a:gd name="connsiteX52" fmla="*/ 18486 w 42050"/>
                        <a:gd name="connsiteY52" fmla="*/ 42005 h 43184"/>
                        <a:gd name="connsiteX53" fmla="*/ 12625 w 42050"/>
                        <a:gd name="connsiteY53" fmla="*/ 41527 h 43184"/>
                        <a:gd name="connsiteX54" fmla="*/ 7362 w 42050"/>
                        <a:gd name="connsiteY54" fmla="*/ 39075 h 43184"/>
                        <a:gd name="connsiteX55" fmla="*/ 2757 w 42050"/>
                        <a:gd name="connsiteY55" fmla="*/ 33572 h 43184"/>
                        <a:gd name="connsiteX56" fmla="*/ 1022 w 42050"/>
                        <a:gd name="connsiteY56" fmla="*/ 26395 h 43184"/>
                        <a:gd name="connsiteX57" fmla="*/ 2218 w 42050"/>
                        <a:gd name="connsiteY57" fmla="*/ 18501 h 43184"/>
                        <a:gd name="connsiteX58" fmla="*/ 6465 w 42050"/>
                        <a:gd name="connsiteY58" fmla="*/ 10786 h 43184"/>
                        <a:gd name="connsiteX59" fmla="*/ 12386 w 42050"/>
                        <a:gd name="connsiteY59" fmla="*/ 5224 h 43184"/>
                        <a:gd name="connsiteX60" fmla="*/ 19204 w 42050"/>
                        <a:gd name="connsiteY60" fmla="*/ 1934 h 43184"/>
                        <a:gd name="connsiteX61" fmla="*/ 26201 w 42050"/>
                        <a:gd name="connsiteY61" fmla="*/ 1097 h 43184"/>
                        <a:gd name="connsiteX62" fmla="*/ 32660 w 42050"/>
                        <a:gd name="connsiteY62" fmla="*/ 2831 h 43184"/>
                        <a:gd name="connsiteX63" fmla="*/ 34634 w 42050"/>
                        <a:gd name="connsiteY63" fmla="*/ 2652 h 43184"/>
                        <a:gd name="connsiteX64" fmla="*/ 27696 w 42050"/>
                        <a:gd name="connsiteY64" fmla="*/ 140 h 43184"/>
                        <a:gd name="connsiteX65" fmla="*/ 19981 w 42050"/>
                        <a:gd name="connsiteY65" fmla="*/ 678 h 43184"/>
                        <a:gd name="connsiteX66" fmla="*/ 12386 w 42050"/>
                        <a:gd name="connsiteY66" fmla="*/ 4087 h 43184"/>
                        <a:gd name="connsiteX67" fmla="*/ 5747 w 42050"/>
                        <a:gd name="connsiteY67" fmla="*/ 10188 h 43184"/>
                        <a:gd name="connsiteX68" fmla="*/ 1322 w 42050"/>
                        <a:gd name="connsiteY68" fmla="*/ 18262 h 43184"/>
                        <a:gd name="connsiteX69" fmla="*/ 6 w 42050"/>
                        <a:gd name="connsiteY69" fmla="*/ 26575 h 43184"/>
                        <a:gd name="connsiteX70" fmla="*/ 1800 w 42050"/>
                        <a:gd name="connsiteY70" fmla="*/ 34111 h 43184"/>
                        <a:gd name="connsiteX71" fmla="*/ 6704 w 42050"/>
                        <a:gd name="connsiteY71" fmla="*/ 40092 h 4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2050" h="43184">
                          <a:moveTo>
                            <a:pt x="40077" y="11444"/>
                          </a:moveTo>
                          <a:lnTo>
                            <a:pt x="41213" y="11324"/>
                          </a:lnTo>
                          <a:cubicBezTo>
                            <a:pt x="40973" y="10607"/>
                            <a:pt x="40674" y="9889"/>
                            <a:pt x="40375" y="9171"/>
                          </a:cubicBezTo>
                          <a:cubicBezTo>
                            <a:pt x="40017" y="8453"/>
                            <a:pt x="39658" y="7795"/>
                            <a:pt x="39239" y="7138"/>
                          </a:cubicBezTo>
                          <a:cubicBezTo>
                            <a:pt x="38820" y="6480"/>
                            <a:pt x="38342" y="5882"/>
                            <a:pt x="37804" y="5344"/>
                          </a:cubicBezTo>
                          <a:cubicBezTo>
                            <a:pt x="37265" y="4745"/>
                            <a:pt x="36727" y="4207"/>
                            <a:pt x="36070" y="3729"/>
                          </a:cubicBezTo>
                          <a:lnTo>
                            <a:pt x="34335" y="3908"/>
                          </a:lnTo>
                          <a:cubicBezTo>
                            <a:pt x="34395" y="3968"/>
                            <a:pt x="34455" y="3968"/>
                            <a:pt x="34514" y="4028"/>
                          </a:cubicBezTo>
                          <a:cubicBezTo>
                            <a:pt x="34574" y="4087"/>
                            <a:pt x="34634" y="4087"/>
                            <a:pt x="34694" y="4147"/>
                          </a:cubicBezTo>
                          <a:cubicBezTo>
                            <a:pt x="34754" y="4207"/>
                            <a:pt x="34813" y="4207"/>
                            <a:pt x="34873" y="4267"/>
                          </a:cubicBezTo>
                          <a:cubicBezTo>
                            <a:pt x="34933" y="4327"/>
                            <a:pt x="34993" y="4327"/>
                            <a:pt x="35053" y="4386"/>
                          </a:cubicBezTo>
                          <a:cubicBezTo>
                            <a:pt x="35651" y="4865"/>
                            <a:pt x="36249" y="5344"/>
                            <a:pt x="36727" y="5882"/>
                          </a:cubicBezTo>
                          <a:cubicBezTo>
                            <a:pt x="37265" y="6420"/>
                            <a:pt x="37744" y="6958"/>
                            <a:pt x="38163" y="7556"/>
                          </a:cubicBezTo>
                          <a:cubicBezTo>
                            <a:pt x="38581" y="8154"/>
                            <a:pt x="38940" y="8753"/>
                            <a:pt x="39299" y="9410"/>
                          </a:cubicBezTo>
                          <a:cubicBezTo>
                            <a:pt x="39538" y="10068"/>
                            <a:pt x="39837" y="10726"/>
                            <a:pt x="40077" y="11444"/>
                          </a:cubicBezTo>
                          <a:moveTo>
                            <a:pt x="40316" y="23106"/>
                          </a:moveTo>
                          <a:lnTo>
                            <a:pt x="41333" y="22987"/>
                          </a:lnTo>
                          <a:cubicBezTo>
                            <a:pt x="41572" y="22089"/>
                            <a:pt x="41751" y="21133"/>
                            <a:pt x="41871" y="20235"/>
                          </a:cubicBezTo>
                          <a:cubicBezTo>
                            <a:pt x="41990" y="19338"/>
                            <a:pt x="42050" y="18441"/>
                            <a:pt x="42050" y="17544"/>
                          </a:cubicBezTo>
                          <a:cubicBezTo>
                            <a:pt x="42050" y="16647"/>
                            <a:pt x="41990" y="15750"/>
                            <a:pt x="41931" y="14913"/>
                          </a:cubicBezTo>
                          <a:cubicBezTo>
                            <a:pt x="41811" y="14075"/>
                            <a:pt x="41691" y="13178"/>
                            <a:pt x="41452" y="12401"/>
                          </a:cubicBezTo>
                          <a:lnTo>
                            <a:pt x="40375" y="12520"/>
                          </a:lnTo>
                          <a:cubicBezTo>
                            <a:pt x="40615" y="13357"/>
                            <a:pt x="40794" y="14195"/>
                            <a:pt x="40914" y="15032"/>
                          </a:cubicBezTo>
                          <a:cubicBezTo>
                            <a:pt x="41033" y="15870"/>
                            <a:pt x="41093" y="16767"/>
                            <a:pt x="41093" y="17664"/>
                          </a:cubicBezTo>
                          <a:cubicBezTo>
                            <a:pt x="41093" y="18561"/>
                            <a:pt x="41033" y="19458"/>
                            <a:pt x="40914" y="20355"/>
                          </a:cubicBezTo>
                          <a:cubicBezTo>
                            <a:pt x="40734" y="21252"/>
                            <a:pt x="40555" y="22149"/>
                            <a:pt x="40316" y="23106"/>
                          </a:cubicBezTo>
                          <a:moveTo>
                            <a:pt x="31763" y="36383"/>
                          </a:moveTo>
                          <a:lnTo>
                            <a:pt x="33318" y="36204"/>
                          </a:lnTo>
                          <a:cubicBezTo>
                            <a:pt x="33557" y="35965"/>
                            <a:pt x="33857" y="35725"/>
                            <a:pt x="34096" y="35426"/>
                          </a:cubicBezTo>
                          <a:cubicBezTo>
                            <a:pt x="34335" y="35187"/>
                            <a:pt x="34634" y="34888"/>
                            <a:pt x="34873" y="34649"/>
                          </a:cubicBezTo>
                          <a:cubicBezTo>
                            <a:pt x="35112" y="34350"/>
                            <a:pt x="35352" y="34111"/>
                            <a:pt x="35591" y="33812"/>
                          </a:cubicBezTo>
                          <a:cubicBezTo>
                            <a:pt x="35830" y="33512"/>
                            <a:pt x="36070" y="33214"/>
                            <a:pt x="36309" y="32974"/>
                          </a:cubicBezTo>
                          <a:cubicBezTo>
                            <a:pt x="36847" y="32257"/>
                            <a:pt x="37385" y="31539"/>
                            <a:pt x="37864" y="30821"/>
                          </a:cubicBezTo>
                          <a:cubicBezTo>
                            <a:pt x="38342" y="30104"/>
                            <a:pt x="38761" y="29326"/>
                            <a:pt x="39179" y="28609"/>
                          </a:cubicBezTo>
                          <a:cubicBezTo>
                            <a:pt x="39598" y="27831"/>
                            <a:pt x="39957" y="27113"/>
                            <a:pt x="40256" y="26336"/>
                          </a:cubicBezTo>
                          <a:cubicBezTo>
                            <a:pt x="40555" y="25558"/>
                            <a:pt x="40854" y="24781"/>
                            <a:pt x="41093" y="24003"/>
                          </a:cubicBezTo>
                          <a:lnTo>
                            <a:pt x="40077" y="24123"/>
                          </a:lnTo>
                          <a:cubicBezTo>
                            <a:pt x="39837" y="24841"/>
                            <a:pt x="39598" y="25558"/>
                            <a:pt x="39299" y="26276"/>
                          </a:cubicBezTo>
                          <a:cubicBezTo>
                            <a:pt x="39000" y="26994"/>
                            <a:pt x="38641" y="27711"/>
                            <a:pt x="38282" y="28369"/>
                          </a:cubicBezTo>
                          <a:cubicBezTo>
                            <a:pt x="37924" y="29027"/>
                            <a:pt x="37505" y="29745"/>
                            <a:pt x="37086" y="30463"/>
                          </a:cubicBezTo>
                          <a:cubicBezTo>
                            <a:pt x="36667" y="31120"/>
                            <a:pt x="36189" y="31838"/>
                            <a:pt x="35651" y="32496"/>
                          </a:cubicBezTo>
                          <a:cubicBezTo>
                            <a:pt x="35352" y="32855"/>
                            <a:pt x="35053" y="33214"/>
                            <a:pt x="34754" y="33572"/>
                          </a:cubicBezTo>
                          <a:cubicBezTo>
                            <a:pt x="34455" y="33931"/>
                            <a:pt x="34156" y="34290"/>
                            <a:pt x="33797" y="34589"/>
                          </a:cubicBezTo>
                          <a:cubicBezTo>
                            <a:pt x="33498" y="34948"/>
                            <a:pt x="33139" y="35247"/>
                            <a:pt x="32840" y="35546"/>
                          </a:cubicBezTo>
                          <a:cubicBezTo>
                            <a:pt x="32421" y="35845"/>
                            <a:pt x="32122" y="36144"/>
                            <a:pt x="31763" y="36383"/>
                          </a:cubicBezTo>
                          <a:moveTo>
                            <a:pt x="6704" y="40092"/>
                          </a:moveTo>
                          <a:cubicBezTo>
                            <a:pt x="8498" y="41347"/>
                            <a:pt x="10472" y="42244"/>
                            <a:pt x="12565" y="42723"/>
                          </a:cubicBezTo>
                          <a:cubicBezTo>
                            <a:pt x="14658" y="43201"/>
                            <a:pt x="16871" y="43321"/>
                            <a:pt x="19084" y="43022"/>
                          </a:cubicBezTo>
                          <a:cubicBezTo>
                            <a:pt x="21297" y="42783"/>
                            <a:pt x="23570" y="42125"/>
                            <a:pt x="25723" y="41168"/>
                          </a:cubicBezTo>
                          <a:cubicBezTo>
                            <a:pt x="27876" y="40211"/>
                            <a:pt x="30029" y="38895"/>
                            <a:pt x="32002" y="37340"/>
                          </a:cubicBezTo>
                          <a:lnTo>
                            <a:pt x="30268" y="37520"/>
                          </a:lnTo>
                          <a:cubicBezTo>
                            <a:pt x="28474" y="38835"/>
                            <a:pt x="26500" y="39912"/>
                            <a:pt x="24526" y="40630"/>
                          </a:cubicBezTo>
                          <a:cubicBezTo>
                            <a:pt x="22553" y="41407"/>
                            <a:pt x="20519" y="41886"/>
                            <a:pt x="18486" y="42005"/>
                          </a:cubicBezTo>
                          <a:cubicBezTo>
                            <a:pt x="16453" y="42185"/>
                            <a:pt x="14479" y="42005"/>
                            <a:pt x="12625" y="41527"/>
                          </a:cubicBezTo>
                          <a:cubicBezTo>
                            <a:pt x="10771" y="41048"/>
                            <a:pt x="8977" y="40271"/>
                            <a:pt x="7362" y="39075"/>
                          </a:cubicBezTo>
                          <a:cubicBezTo>
                            <a:pt x="5329" y="37639"/>
                            <a:pt x="3773" y="35725"/>
                            <a:pt x="2757" y="33572"/>
                          </a:cubicBezTo>
                          <a:cubicBezTo>
                            <a:pt x="1680" y="31419"/>
                            <a:pt x="1142" y="28967"/>
                            <a:pt x="1022" y="26395"/>
                          </a:cubicBezTo>
                          <a:cubicBezTo>
                            <a:pt x="963" y="23824"/>
                            <a:pt x="1322" y="21133"/>
                            <a:pt x="2218" y="18501"/>
                          </a:cubicBezTo>
                          <a:cubicBezTo>
                            <a:pt x="3116" y="15870"/>
                            <a:pt x="4551" y="13238"/>
                            <a:pt x="6465" y="10786"/>
                          </a:cubicBezTo>
                          <a:cubicBezTo>
                            <a:pt x="8199" y="8573"/>
                            <a:pt x="10233" y="6719"/>
                            <a:pt x="12386" y="5224"/>
                          </a:cubicBezTo>
                          <a:cubicBezTo>
                            <a:pt x="14539" y="3729"/>
                            <a:pt x="16871" y="2652"/>
                            <a:pt x="19204" y="1934"/>
                          </a:cubicBezTo>
                          <a:cubicBezTo>
                            <a:pt x="21536" y="1217"/>
                            <a:pt x="23928" y="918"/>
                            <a:pt x="26201" y="1097"/>
                          </a:cubicBezTo>
                          <a:cubicBezTo>
                            <a:pt x="28474" y="1217"/>
                            <a:pt x="30687" y="1815"/>
                            <a:pt x="32660" y="2831"/>
                          </a:cubicBezTo>
                          <a:lnTo>
                            <a:pt x="34634" y="2652"/>
                          </a:lnTo>
                          <a:cubicBezTo>
                            <a:pt x="32541" y="1277"/>
                            <a:pt x="30148" y="439"/>
                            <a:pt x="27696" y="140"/>
                          </a:cubicBezTo>
                          <a:cubicBezTo>
                            <a:pt x="25185" y="-159"/>
                            <a:pt x="22553" y="21"/>
                            <a:pt x="19981" y="678"/>
                          </a:cubicBezTo>
                          <a:cubicBezTo>
                            <a:pt x="17350" y="1336"/>
                            <a:pt x="14778" y="2532"/>
                            <a:pt x="12386" y="4087"/>
                          </a:cubicBezTo>
                          <a:cubicBezTo>
                            <a:pt x="9934" y="5702"/>
                            <a:pt x="7721" y="7736"/>
                            <a:pt x="5747" y="10188"/>
                          </a:cubicBezTo>
                          <a:cubicBezTo>
                            <a:pt x="3714" y="12760"/>
                            <a:pt x="2278" y="15511"/>
                            <a:pt x="1322" y="18262"/>
                          </a:cubicBezTo>
                          <a:cubicBezTo>
                            <a:pt x="364" y="21073"/>
                            <a:pt x="-54" y="23884"/>
                            <a:pt x="6" y="26575"/>
                          </a:cubicBezTo>
                          <a:cubicBezTo>
                            <a:pt x="125" y="29266"/>
                            <a:pt x="723" y="31838"/>
                            <a:pt x="1800" y="34111"/>
                          </a:cubicBezTo>
                          <a:cubicBezTo>
                            <a:pt x="2996" y="36623"/>
                            <a:pt x="4611" y="38596"/>
                            <a:pt x="6704" y="40092"/>
                          </a:cubicBezTo>
                        </a:path>
                      </a:pathLst>
                    </a:custGeom>
                    <a:noFill/>
                    <a:ln w="6350" cap="flat">
                      <a:solidFill>
                        <a:schemeClr val="bg1">
                          <a:alpha val="80000"/>
                        </a:schemeClr>
                      </a:solidFill>
                      <a:prstDash val="solid"/>
                      <a:miter/>
                    </a:ln>
                  </p:spPr>
                  <p:txBody>
                    <a:bodyPr rtlCol="0" anchor="ctr"/>
                    <a:lstStyle/>
                    <a:p>
                      <a:endParaRPr lang="en-GB"/>
                    </a:p>
                  </p:txBody>
                </p:sp>
                <p:sp>
                  <p:nvSpPr>
                    <p:cNvPr id="7511" name="Vrije vorm: vorm 7510">
                      <a:extLst>
                        <a:ext uri="{FF2B5EF4-FFF2-40B4-BE49-F238E27FC236}">
                          <a16:creationId xmlns:a16="http://schemas.microsoft.com/office/drawing/2014/main" id="{710F2721-40EB-48B2-96E2-1394B72F1452}"/>
                        </a:ext>
                      </a:extLst>
                    </p:cNvPr>
                    <p:cNvSpPr/>
                    <p:nvPr/>
                  </p:nvSpPr>
                  <p:spPr>
                    <a:xfrm>
                      <a:off x="4994341" y="5255113"/>
                      <a:ext cx="97882" cy="84634"/>
                    </a:xfrm>
                    <a:custGeom>
                      <a:avLst/>
                      <a:gdLst>
                        <a:gd name="connsiteX0" fmla="*/ 0 w 97882"/>
                        <a:gd name="connsiteY0" fmla="*/ 38464 h 84634"/>
                        <a:gd name="connsiteX1" fmla="*/ 3529 w 97882"/>
                        <a:gd name="connsiteY1" fmla="*/ 40796 h 84634"/>
                        <a:gd name="connsiteX2" fmla="*/ 4306 w 97882"/>
                        <a:gd name="connsiteY2" fmla="*/ 41334 h 84634"/>
                        <a:gd name="connsiteX3" fmla="*/ 7835 w 97882"/>
                        <a:gd name="connsiteY3" fmla="*/ 43667 h 84634"/>
                        <a:gd name="connsiteX4" fmla="*/ 8612 w 97882"/>
                        <a:gd name="connsiteY4" fmla="*/ 44205 h 84634"/>
                        <a:gd name="connsiteX5" fmla="*/ 10406 w 97882"/>
                        <a:gd name="connsiteY5" fmla="*/ 45401 h 84634"/>
                        <a:gd name="connsiteX6" fmla="*/ 11124 w 97882"/>
                        <a:gd name="connsiteY6" fmla="*/ 44504 h 84634"/>
                        <a:gd name="connsiteX7" fmla="*/ 9330 w 97882"/>
                        <a:gd name="connsiteY7" fmla="*/ 43308 h 84634"/>
                        <a:gd name="connsiteX8" fmla="*/ 8552 w 97882"/>
                        <a:gd name="connsiteY8" fmla="*/ 42770 h 84634"/>
                        <a:gd name="connsiteX9" fmla="*/ 5024 w 97882"/>
                        <a:gd name="connsiteY9" fmla="*/ 40437 h 84634"/>
                        <a:gd name="connsiteX10" fmla="*/ 4246 w 97882"/>
                        <a:gd name="connsiteY10" fmla="*/ 39899 h 84634"/>
                        <a:gd name="connsiteX11" fmla="*/ 1495 w 97882"/>
                        <a:gd name="connsiteY11" fmla="*/ 38105 h 84634"/>
                        <a:gd name="connsiteX12" fmla="*/ 3529 w 97882"/>
                        <a:gd name="connsiteY12" fmla="*/ 35533 h 84634"/>
                        <a:gd name="connsiteX13" fmla="*/ 4246 w 97882"/>
                        <a:gd name="connsiteY13" fmla="*/ 34636 h 84634"/>
                        <a:gd name="connsiteX14" fmla="*/ 8014 w 97882"/>
                        <a:gd name="connsiteY14" fmla="*/ 29911 h 84634"/>
                        <a:gd name="connsiteX15" fmla="*/ 8732 w 97882"/>
                        <a:gd name="connsiteY15" fmla="*/ 29014 h 84634"/>
                        <a:gd name="connsiteX16" fmla="*/ 9749 w 97882"/>
                        <a:gd name="connsiteY16" fmla="*/ 27758 h 84634"/>
                        <a:gd name="connsiteX17" fmla="*/ 10466 w 97882"/>
                        <a:gd name="connsiteY17" fmla="*/ 26861 h 84634"/>
                        <a:gd name="connsiteX18" fmla="*/ 12619 w 97882"/>
                        <a:gd name="connsiteY18" fmla="*/ 24110 h 84634"/>
                        <a:gd name="connsiteX19" fmla="*/ 13337 w 97882"/>
                        <a:gd name="connsiteY19" fmla="*/ 23212 h 84634"/>
                        <a:gd name="connsiteX20" fmla="*/ 15311 w 97882"/>
                        <a:gd name="connsiteY20" fmla="*/ 20701 h 84634"/>
                        <a:gd name="connsiteX21" fmla="*/ 16028 w 97882"/>
                        <a:gd name="connsiteY21" fmla="*/ 19804 h 84634"/>
                        <a:gd name="connsiteX22" fmla="*/ 20335 w 97882"/>
                        <a:gd name="connsiteY22" fmla="*/ 14361 h 84634"/>
                        <a:gd name="connsiteX23" fmla="*/ 21052 w 97882"/>
                        <a:gd name="connsiteY23" fmla="*/ 13464 h 84634"/>
                        <a:gd name="connsiteX24" fmla="*/ 25358 w 97882"/>
                        <a:gd name="connsiteY24" fmla="*/ 8022 h 84634"/>
                        <a:gd name="connsiteX25" fmla="*/ 29724 w 97882"/>
                        <a:gd name="connsiteY25" fmla="*/ 3536 h 84634"/>
                        <a:gd name="connsiteX26" fmla="*/ 34030 w 97882"/>
                        <a:gd name="connsiteY26" fmla="*/ 1203 h 84634"/>
                        <a:gd name="connsiteX27" fmla="*/ 38337 w 97882"/>
                        <a:gd name="connsiteY27" fmla="*/ 1024 h 84634"/>
                        <a:gd name="connsiteX28" fmla="*/ 42643 w 97882"/>
                        <a:gd name="connsiteY28" fmla="*/ 2998 h 84634"/>
                        <a:gd name="connsiteX29" fmla="*/ 48384 w 97882"/>
                        <a:gd name="connsiteY29" fmla="*/ 7005 h 84634"/>
                        <a:gd name="connsiteX30" fmla="*/ 49700 w 97882"/>
                        <a:gd name="connsiteY30" fmla="*/ 7304 h 84634"/>
                        <a:gd name="connsiteX31" fmla="*/ 51016 w 97882"/>
                        <a:gd name="connsiteY31" fmla="*/ 7782 h 84634"/>
                        <a:gd name="connsiteX32" fmla="*/ 52271 w 97882"/>
                        <a:gd name="connsiteY32" fmla="*/ 8440 h 84634"/>
                        <a:gd name="connsiteX33" fmla="*/ 53528 w 97882"/>
                        <a:gd name="connsiteY33" fmla="*/ 9218 h 84634"/>
                        <a:gd name="connsiteX34" fmla="*/ 66565 w 97882"/>
                        <a:gd name="connsiteY34" fmla="*/ 18309 h 84634"/>
                        <a:gd name="connsiteX35" fmla="*/ 65848 w 97882"/>
                        <a:gd name="connsiteY35" fmla="*/ 19205 h 84634"/>
                        <a:gd name="connsiteX36" fmla="*/ 85345 w 97882"/>
                        <a:gd name="connsiteY36" fmla="*/ 32842 h 84634"/>
                        <a:gd name="connsiteX37" fmla="*/ 86123 w 97882"/>
                        <a:gd name="connsiteY37" fmla="*/ 33380 h 84634"/>
                        <a:gd name="connsiteX38" fmla="*/ 92821 w 97882"/>
                        <a:gd name="connsiteY38" fmla="*/ 38045 h 84634"/>
                        <a:gd name="connsiteX39" fmla="*/ 95452 w 97882"/>
                        <a:gd name="connsiteY39" fmla="*/ 40557 h 84634"/>
                        <a:gd name="connsiteX40" fmla="*/ 96708 w 97882"/>
                        <a:gd name="connsiteY40" fmla="*/ 43487 h 84634"/>
                        <a:gd name="connsiteX41" fmla="*/ 96589 w 97882"/>
                        <a:gd name="connsiteY41" fmla="*/ 46836 h 84634"/>
                        <a:gd name="connsiteX42" fmla="*/ 95034 w 97882"/>
                        <a:gd name="connsiteY42" fmla="*/ 50604 h 84634"/>
                        <a:gd name="connsiteX43" fmla="*/ 94914 w 97882"/>
                        <a:gd name="connsiteY43" fmla="*/ 50844 h 84634"/>
                        <a:gd name="connsiteX44" fmla="*/ 94794 w 97882"/>
                        <a:gd name="connsiteY44" fmla="*/ 51083 h 84634"/>
                        <a:gd name="connsiteX45" fmla="*/ 94675 w 97882"/>
                        <a:gd name="connsiteY45" fmla="*/ 51322 h 84634"/>
                        <a:gd name="connsiteX46" fmla="*/ 94495 w 97882"/>
                        <a:gd name="connsiteY46" fmla="*/ 51561 h 84634"/>
                        <a:gd name="connsiteX47" fmla="*/ 94316 w 97882"/>
                        <a:gd name="connsiteY47" fmla="*/ 51860 h 84634"/>
                        <a:gd name="connsiteX48" fmla="*/ 94137 w 97882"/>
                        <a:gd name="connsiteY48" fmla="*/ 52159 h 84634"/>
                        <a:gd name="connsiteX49" fmla="*/ 93897 w 97882"/>
                        <a:gd name="connsiteY49" fmla="*/ 52458 h 84634"/>
                        <a:gd name="connsiteX50" fmla="*/ 93658 w 97882"/>
                        <a:gd name="connsiteY50" fmla="*/ 52757 h 84634"/>
                        <a:gd name="connsiteX51" fmla="*/ 93479 w 97882"/>
                        <a:gd name="connsiteY51" fmla="*/ 52997 h 84634"/>
                        <a:gd name="connsiteX52" fmla="*/ 93299 w 97882"/>
                        <a:gd name="connsiteY52" fmla="*/ 53236 h 84634"/>
                        <a:gd name="connsiteX53" fmla="*/ 93120 w 97882"/>
                        <a:gd name="connsiteY53" fmla="*/ 53475 h 84634"/>
                        <a:gd name="connsiteX54" fmla="*/ 92940 w 97882"/>
                        <a:gd name="connsiteY54" fmla="*/ 53714 h 84634"/>
                        <a:gd name="connsiteX55" fmla="*/ 92821 w 97882"/>
                        <a:gd name="connsiteY55" fmla="*/ 53834 h 84634"/>
                        <a:gd name="connsiteX56" fmla="*/ 92701 w 97882"/>
                        <a:gd name="connsiteY56" fmla="*/ 53953 h 84634"/>
                        <a:gd name="connsiteX57" fmla="*/ 92581 w 97882"/>
                        <a:gd name="connsiteY57" fmla="*/ 54073 h 84634"/>
                        <a:gd name="connsiteX58" fmla="*/ 92462 w 97882"/>
                        <a:gd name="connsiteY58" fmla="*/ 54193 h 84634"/>
                        <a:gd name="connsiteX59" fmla="*/ 91386 w 97882"/>
                        <a:gd name="connsiteY59" fmla="*/ 55508 h 84634"/>
                        <a:gd name="connsiteX60" fmla="*/ 90668 w 97882"/>
                        <a:gd name="connsiteY60" fmla="*/ 56406 h 84634"/>
                        <a:gd name="connsiteX61" fmla="*/ 89771 w 97882"/>
                        <a:gd name="connsiteY61" fmla="*/ 57542 h 84634"/>
                        <a:gd name="connsiteX62" fmla="*/ 89053 w 97882"/>
                        <a:gd name="connsiteY62" fmla="*/ 58439 h 84634"/>
                        <a:gd name="connsiteX63" fmla="*/ 88276 w 97882"/>
                        <a:gd name="connsiteY63" fmla="*/ 59396 h 84634"/>
                        <a:gd name="connsiteX64" fmla="*/ 87917 w 97882"/>
                        <a:gd name="connsiteY64" fmla="*/ 59815 h 84634"/>
                        <a:gd name="connsiteX65" fmla="*/ 87199 w 97882"/>
                        <a:gd name="connsiteY65" fmla="*/ 60712 h 84634"/>
                        <a:gd name="connsiteX66" fmla="*/ 86302 w 97882"/>
                        <a:gd name="connsiteY66" fmla="*/ 61848 h 84634"/>
                        <a:gd name="connsiteX67" fmla="*/ 85584 w 97882"/>
                        <a:gd name="connsiteY67" fmla="*/ 62745 h 84634"/>
                        <a:gd name="connsiteX68" fmla="*/ 83431 w 97882"/>
                        <a:gd name="connsiteY68" fmla="*/ 65496 h 84634"/>
                        <a:gd name="connsiteX69" fmla="*/ 82713 w 97882"/>
                        <a:gd name="connsiteY69" fmla="*/ 66393 h 84634"/>
                        <a:gd name="connsiteX70" fmla="*/ 80800 w 97882"/>
                        <a:gd name="connsiteY70" fmla="*/ 68786 h 84634"/>
                        <a:gd name="connsiteX71" fmla="*/ 80142 w 97882"/>
                        <a:gd name="connsiteY71" fmla="*/ 69623 h 84634"/>
                        <a:gd name="connsiteX72" fmla="*/ 78048 w 97882"/>
                        <a:gd name="connsiteY72" fmla="*/ 72254 h 84634"/>
                        <a:gd name="connsiteX73" fmla="*/ 77331 w 97882"/>
                        <a:gd name="connsiteY73" fmla="*/ 73152 h 84634"/>
                        <a:gd name="connsiteX74" fmla="*/ 76374 w 97882"/>
                        <a:gd name="connsiteY74" fmla="*/ 74348 h 84634"/>
                        <a:gd name="connsiteX75" fmla="*/ 75656 w 97882"/>
                        <a:gd name="connsiteY75" fmla="*/ 75245 h 84634"/>
                        <a:gd name="connsiteX76" fmla="*/ 72068 w 97882"/>
                        <a:gd name="connsiteY76" fmla="*/ 79790 h 84634"/>
                        <a:gd name="connsiteX77" fmla="*/ 71410 w 97882"/>
                        <a:gd name="connsiteY77" fmla="*/ 80628 h 84634"/>
                        <a:gd name="connsiteX78" fmla="*/ 69436 w 97882"/>
                        <a:gd name="connsiteY78" fmla="*/ 83080 h 84634"/>
                        <a:gd name="connsiteX79" fmla="*/ 66207 w 97882"/>
                        <a:gd name="connsiteY79" fmla="*/ 80927 h 84634"/>
                        <a:gd name="connsiteX80" fmla="*/ 65429 w 97882"/>
                        <a:gd name="connsiteY80" fmla="*/ 80448 h 84634"/>
                        <a:gd name="connsiteX81" fmla="*/ 62200 w 97882"/>
                        <a:gd name="connsiteY81" fmla="*/ 78295 h 84634"/>
                        <a:gd name="connsiteX82" fmla="*/ 61422 w 97882"/>
                        <a:gd name="connsiteY82" fmla="*/ 77816 h 84634"/>
                        <a:gd name="connsiteX83" fmla="*/ 53468 w 97882"/>
                        <a:gd name="connsiteY83" fmla="*/ 72553 h 84634"/>
                        <a:gd name="connsiteX84" fmla="*/ 52690 w 97882"/>
                        <a:gd name="connsiteY84" fmla="*/ 72015 h 84634"/>
                        <a:gd name="connsiteX85" fmla="*/ 49341 w 97882"/>
                        <a:gd name="connsiteY85" fmla="*/ 69803 h 84634"/>
                        <a:gd name="connsiteX86" fmla="*/ 48623 w 97882"/>
                        <a:gd name="connsiteY86" fmla="*/ 69324 h 84634"/>
                        <a:gd name="connsiteX87" fmla="*/ 42942 w 97882"/>
                        <a:gd name="connsiteY87" fmla="*/ 65556 h 84634"/>
                        <a:gd name="connsiteX88" fmla="*/ 42164 w 97882"/>
                        <a:gd name="connsiteY88" fmla="*/ 65018 h 84634"/>
                        <a:gd name="connsiteX89" fmla="*/ 29545 w 97882"/>
                        <a:gd name="connsiteY89" fmla="*/ 56645 h 84634"/>
                        <a:gd name="connsiteX90" fmla="*/ 28767 w 97882"/>
                        <a:gd name="connsiteY90" fmla="*/ 56106 h 84634"/>
                        <a:gd name="connsiteX91" fmla="*/ 25239 w 97882"/>
                        <a:gd name="connsiteY91" fmla="*/ 53774 h 84634"/>
                        <a:gd name="connsiteX92" fmla="*/ 24700 w 97882"/>
                        <a:gd name="connsiteY92" fmla="*/ 54851 h 84634"/>
                        <a:gd name="connsiteX93" fmla="*/ 28229 w 97882"/>
                        <a:gd name="connsiteY93" fmla="*/ 57183 h 84634"/>
                        <a:gd name="connsiteX94" fmla="*/ 29006 w 97882"/>
                        <a:gd name="connsiteY94" fmla="*/ 57721 h 84634"/>
                        <a:gd name="connsiteX95" fmla="*/ 41626 w 97882"/>
                        <a:gd name="connsiteY95" fmla="*/ 66094 h 84634"/>
                        <a:gd name="connsiteX96" fmla="*/ 42403 w 97882"/>
                        <a:gd name="connsiteY96" fmla="*/ 66633 h 84634"/>
                        <a:gd name="connsiteX97" fmla="*/ 48085 w 97882"/>
                        <a:gd name="connsiteY97" fmla="*/ 70400 h 84634"/>
                        <a:gd name="connsiteX98" fmla="*/ 48803 w 97882"/>
                        <a:gd name="connsiteY98" fmla="*/ 70879 h 84634"/>
                        <a:gd name="connsiteX99" fmla="*/ 52152 w 97882"/>
                        <a:gd name="connsiteY99" fmla="*/ 73092 h 84634"/>
                        <a:gd name="connsiteX100" fmla="*/ 52929 w 97882"/>
                        <a:gd name="connsiteY100" fmla="*/ 73630 h 84634"/>
                        <a:gd name="connsiteX101" fmla="*/ 60884 w 97882"/>
                        <a:gd name="connsiteY101" fmla="*/ 78893 h 84634"/>
                        <a:gd name="connsiteX102" fmla="*/ 61661 w 97882"/>
                        <a:gd name="connsiteY102" fmla="*/ 79372 h 84634"/>
                        <a:gd name="connsiteX103" fmla="*/ 64891 w 97882"/>
                        <a:gd name="connsiteY103" fmla="*/ 81524 h 84634"/>
                        <a:gd name="connsiteX104" fmla="*/ 65668 w 97882"/>
                        <a:gd name="connsiteY104" fmla="*/ 82003 h 84634"/>
                        <a:gd name="connsiteX105" fmla="*/ 69616 w 97882"/>
                        <a:gd name="connsiteY105" fmla="*/ 84635 h 84634"/>
                        <a:gd name="connsiteX106" fmla="*/ 72247 w 97882"/>
                        <a:gd name="connsiteY106" fmla="*/ 81285 h 84634"/>
                        <a:gd name="connsiteX107" fmla="*/ 72905 w 97882"/>
                        <a:gd name="connsiteY107" fmla="*/ 80448 h 84634"/>
                        <a:gd name="connsiteX108" fmla="*/ 76493 w 97882"/>
                        <a:gd name="connsiteY108" fmla="*/ 75903 h 84634"/>
                        <a:gd name="connsiteX109" fmla="*/ 77211 w 97882"/>
                        <a:gd name="connsiteY109" fmla="*/ 75006 h 84634"/>
                        <a:gd name="connsiteX110" fmla="*/ 78168 w 97882"/>
                        <a:gd name="connsiteY110" fmla="*/ 73809 h 84634"/>
                        <a:gd name="connsiteX111" fmla="*/ 78886 w 97882"/>
                        <a:gd name="connsiteY111" fmla="*/ 72912 h 84634"/>
                        <a:gd name="connsiteX112" fmla="*/ 80979 w 97882"/>
                        <a:gd name="connsiteY112" fmla="*/ 70281 h 84634"/>
                        <a:gd name="connsiteX113" fmla="*/ 81637 w 97882"/>
                        <a:gd name="connsiteY113" fmla="*/ 69444 h 84634"/>
                        <a:gd name="connsiteX114" fmla="*/ 83551 w 97882"/>
                        <a:gd name="connsiteY114" fmla="*/ 67051 h 84634"/>
                        <a:gd name="connsiteX115" fmla="*/ 84269 w 97882"/>
                        <a:gd name="connsiteY115" fmla="*/ 66154 h 84634"/>
                        <a:gd name="connsiteX116" fmla="*/ 86422 w 97882"/>
                        <a:gd name="connsiteY116" fmla="*/ 63463 h 84634"/>
                        <a:gd name="connsiteX117" fmla="*/ 87139 w 97882"/>
                        <a:gd name="connsiteY117" fmla="*/ 62566 h 84634"/>
                        <a:gd name="connsiteX118" fmla="*/ 88036 w 97882"/>
                        <a:gd name="connsiteY118" fmla="*/ 61429 h 84634"/>
                        <a:gd name="connsiteX119" fmla="*/ 88754 w 97882"/>
                        <a:gd name="connsiteY119" fmla="*/ 60532 h 84634"/>
                        <a:gd name="connsiteX120" fmla="*/ 89173 w 97882"/>
                        <a:gd name="connsiteY120" fmla="*/ 60054 h 84634"/>
                        <a:gd name="connsiteX121" fmla="*/ 89831 w 97882"/>
                        <a:gd name="connsiteY121" fmla="*/ 59217 h 84634"/>
                        <a:gd name="connsiteX122" fmla="*/ 90548 w 97882"/>
                        <a:gd name="connsiteY122" fmla="*/ 58320 h 84634"/>
                        <a:gd name="connsiteX123" fmla="*/ 91445 w 97882"/>
                        <a:gd name="connsiteY123" fmla="*/ 57183 h 84634"/>
                        <a:gd name="connsiteX124" fmla="*/ 92163 w 97882"/>
                        <a:gd name="connsiteY124" fmla="*/ 56286 h 84634"/>
                        <a:gd name="connsiteX125" fmla="*/ 93299 w 97882"/>
                        <a:gd name="connsiteY125" fmla="*/ 54851 h 84634"/>
                        <a:gd name="connsiteX126" fmla="*/ 93359 w 97882"/>
                        <a:gd name="connsiteY126" fmla="*/ 54731 h 84634"/>
                        <a:gd name="connsiteX127" fmla="*/ 93419 w 97882"/>
                        <a:gd name="connsiteY127" fmla="*/ 54611 h 84634"/>
                        <a:gd name="connsiteX128" fmla="*/ 93479 w 97882"/>
                        <a:gd name="connsiteY128" fmla="*/ 54492 h 84634"/>
                        <a:gd name="connsiteX129" fmla="*/ 93539 w 97882"/>
                        <a:gd name="connsiteY129" fmla="*/ 54372 h 84634"/>
                        <a:gd name="connsiteX130" fmla="*/ 93718 w 97882"/>
                        <a:gd name="connsiteY130" fmla="*/ 54133 h 84634"/>
                        <a:gd name="connsiteX131" fmla="*/ 93897 w 97882"/>
                        <a:gd name="connsiteY131" fmla="*/ 53894 h 84634"/>
                        <a:gd name="connsiteX132" fmla="*/ 94077 w 97882"/>
                        <a:gd name="connsiteY132" fmla="*/ 53654 h 84634"/>
                        <a:gd name="connsiteX133" fmla="*/ 94256 w 97882"/>
                        <a:gd name="connsiteY133" fmla="*/ 53415 h 84634"/>
                        <a:gd name="connsiteX134" fmla="*/ 94495 w 97882"/>
                        <a:gd name="connsiteY134" fmla="*/ 53116 h 84634"/>
                        <a:gd name="connsiteX135" fmla="*/ 94735 w 97882"/>
                        <a:gd name="connsiteY135" fmla="*/ 52817 h 84634"/>
                        <a:gd name="connsiteX136" fmla="*/ 94974 w 97882"/>
                        <a:gd name="connsiteY136" fmla="*/ 52518 h 84634"/>
                        <a:gd name="connsiteX137" fmla="*/ 95154 w 97882"/>
                        <a:gd name="connsiteY137" fmla="*/ 52219 h 84634"/>
                        <a:gd name="connsiteX138" fmla="*/ 95333 w 97882"/>
                        <a:gd name="connsiteY138" fmla="*/ 51980 h 84634"/>
                        <a:gd name="connsiteX139" fmla="*/ 95512 w 97882"/>
                        <a:gd name="connsiteY139" fmla="*/ 51741 h 84634"/>
                        <a:gd name="connsiteX140" fmla="*/ 95632 w 97882"/>
                        <a:gd name="connsiteY140" fmla="*/ 51502 h 84634"/>
                        <a:gd name="connsiteX141" fmla="*/ 95751 w 97882"/>
                        <a:gd name="connsiteY141" fmla="*/ 51262 h 84634"/>
                        <a:gd name="connsiteX142" fmla="*/ 97546 w 97882"/>
                        <a:gd name="connsiteY142" fmla="*/ 47076 h 84634"/>
                        <a:gd name="connsiteX143" fmla="*/ 97785 w 97882"/>
                        <a:gd name="connsiteY143" fmla="*/ 43368 h 84634"/>
                        <a:gd name="connsiteX144" fmla="*/ 96469 w 97882"/>
                        <a:gd name="connsiteY144" fmla="*/ 40078 h 84634"/>
                        <a:gd name="connsiteX145" fmla="*/ 93598 w 97882"/>
                        <a:gd name="connsiteY145" fmla="*/ 37267 h 84634"/>
                        <a:gd name="connsiteX146" fmla="*/ 86900 w 97882"/>
                        <a:gd name="connsiteY146" fmla="*/ 32602 h 84634"/>
                        <a:gd name="connsiteX147" fmla="*/ 86123 w 97882"/>
                        <a:gd name="connsiteY147" fmla="*/ 32064 h 84634"/>
                        <a:gd name="connsiteX148" fmla="*/ 51075 w 97882"/>
                        <a:gd name="connsiteY148" fmla="*/ 7603 h 84634"/>
                        <a:gd name="connsiteX149" fmla="*/ 50298 w 97882"/>
                        <a:gd name="connsiteY149" fmla="*/ 7065 h 84634"/>
                        <a:gd name="connsiteX150" fmla="*/ 43420 w 97882"/>
                        <a:gd name="connsiteY150" fmla="*/ 2280 h 84634"/>
                        <a:gd name="connsiteX151" fmla="*/ 38755 w 97882"/>
                        <a:gd name="connsiteY151" fmla="*/ 187 h 84634"/>
                        <a:gd name="connsiteX152" fmla="*/ 34030 w 97882"/>
                        <a:gd name="connsiteY152" fmla="*/ 366 h 84634"/>
                        <a:gd name="connsiteX153" fmla="*/ 29306 w 97882"/>
                        <a:gd name="connsiteY153" fmla="*/ 2878 h 84634"/>
                        <a:gd name="connsiteX154" fmla="*/ 24581 w 97882"/>
                        <a:gd name="connsiteY154" fmla="*/ 7663 h 84634"/>
                        <a:gd name="connsiteX155" fmla="*/ 20275 w 97882"/>
                        <a:gd name="connsiteY155" fmla="*/ 13105 h 84634"/>
                        <a:gd name="connsiteX156" fmla="*/ 19557 w 97882"/>
                        <a:gd name="connsiteY156" fmla="*/ 14002 h 84634"/>
                        <a:gd name="connsiteX157" fmla="*/ 15251 w 97882"/>
                        <a:gd name="connsiteY157" fmla="*/ 19445 h 84634"/>
                        <a:gd name="connsiteX158" fmla="*/ 14533 w 97882"/>
                        <a:gd name="connsiteY158" fmla="*/ 20342 h 84634"/>
                        <a:gd name="connsiteX159" fmla="*/ 12559 w 97882"/>
                        <a:gd name="connsiteY159" fmla="*/ 22854 h 84634"/>
                        <a:gd name="connsiteX160" fmla="*/ 11842 w 97882"/>
                        <a:gd name="connsiteY160" fmla="*/ 23751 h 84634"/>
                        <a:gd name="connsiteX161" fmla="*/ 9689 w 97882"/>
                        <a:gd name="connsiteY161" fmla="*/ 26502 h 84634"/>
                        <a:gd name="connsiteX162" fmla="*/ 8971 w 97882"/>
                        <a:gd name="connsiteY162" fmla="*/ 27399 h 84634"/>
                        <a:gd name="connsiteX163" fmla="*/ 7954 w 97882"/>
                        <a:gd name="connsiteY163" fmla="*/ 28655 h 84634"/>
                        <a:gd name="connsiteX164" fmla="*/ 7237 w 97882"/>
                        <a:gd name="connsiteY164" fmla="*/ 29552 h 84634"/>
                        <a:gd name="connsiteX165" fmla="*/ 3469 w 97882"/>
                        <a:gd name="connsiteY165" fmla="*/ 34277 h 84634"/>
                        <a:gd name="connsiteX166" fmla="*/ 2751 w 97882"/>
                        <a:gd name="connsiteY166" fmla="*/ 35174 h 84634"/>
                        <a:gd name="connsiteX167" fmla="*/ 0 w 97882"/>
                        <a:gd name="connsiteY167" fmla="*/ 38464 h 8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97882" h="84634">
                          <a:moveTo>
                            <a:pt x="0" y="38464"/>
                          </a:moveTo>
                          <a:lnTo>
                            <a:pt x="3529" y="40796"/>
                          </a:lnTo>
                          <a:lnTo>
                            <a:pt x="4306" y="41334"/>
                          </a:lnTo>
                          <a:lnTo>
                            <a:pt x="7835" y="43667"/>
                          </a:lnTo>
                          <a:lnTo>
                            <a:pt x="8612" y="44205"/>
                          </a:lnTo>
                          <a:lnTo>
                            <a:pt x="10406" y="45401"/>
                          </a:lnTo>
                          <a:lnTo>
                            <a:pt x="11124" y="44504"/>
                          </a:lnTo>
                          <a:lnTo>
                            <a:pt x="9330" y="43308"/>
                          </a:lnTo>
                          <a:lnTo>
                            <a:pt x="8552" y="42770"/>
                          </a:lnTo>
                          <a:lnTo>
                            <a:pt x="5024" y="40437"/>
                          </a:lnTo>
                          <a:lnTo>
                            <a:pt x="4246" y="39899"/>
                          </a:lnTo>
                          <a:lnTo>
                            <a:pt x="1495" y="38105"/>
                          </a:lnTo>
                          <a:lnTo>
                            <a:pt x="3529" y="35533"/>
                          </a:lnTo>
                          <a:lnTo>
                            <a:pt x="4246" y="34636"/>
                          </a:lnTo>
                          <a:lnTo>
                            <a:pt x="8014" y="29911"/>
                          </a:lnTo>
                          <a:lnTo>
                            <a:pt x="8732" y="29014"/>
                          </a:lnTo>
                          <a:lnTo>
                            <a:pt x="9749" y="27758"/>
                          </a:lnTo>
                          <a:lnTo>
                            <a:pt x="10466" y="26861"/>
                          </a:lnTo>
                          <a:lnTo>
                            <a:pt x="12619" y="24110"/>
                          </a:lnTo>
                          <a:lnTo>
                            <a:pt x="13337" y="23212"/>
                          </a:lnTo>
                          <a:lnTo>
                            <a:pt x="15311" y="20701"/>
                          </a:lnTo>
                          <a:lnTo>
                            <a:pt x="16028" y="19804"/>
                          </a:lnTo>
                          <a:lnTo>
                            <a:pt x="20335" y="14361"/>
                          </a:lnTo>
                          <a:lnTo>
                            <a:pt x="21052" y="13464"/>
                          </a:lnTo>
                          <a:lnTo>
                            <a:pt x="25358" y="8022"/>
                          </a:lnTo>
                          <a:cubicBezTo>
                            <a:pt x="26794" y="6168"/>
                            <a:pt x="28289" y="4672"/>
                            <a:pt x="29724" y="3536"/>
                          </a:cubicBezTo>
                          <a:cubicBezTo>
                            <a:pt x="31160" y="2400"/>
                            <a:pt x="32595" y="1622"/>
                            <a:pt x="34030" y="1203"/>
                          </a:cubicBezTo>
                          <a:cubicBezTo>
                            <a:pt x="35466" y="785"/>
                            <a:pt x="36901" y="725"/>
                            <a:pt x="38337" y="1024"/>
                          </a:cubicBezTo>
                          <a:cubicBezTo>
                            <a:pt x="39772" y="1323"/>
                            <a:pt x="41207" y="1981"/>
                            <a:pt x="42643" y="2998"/>
                          </a:cubicBezTo>
                          <a:lnTo>
                            <a:pt x="48384" y="7005"/>
                          </a:lnTo>
                          <a:cubicBezTo>
                            <a:pt x="48803" y="7065"/>
                            <a:pt x="49221" y="7184"/>
                            <a:pt x="49700" y="7304"/>
                          </a:cubicBezTo>
                          <a:cubicBezTo>
                            <a:pt x="50178" y="7424"/>
                            <a:pt x="50537" y="7603"/>
                            <a:pt x="51016" y="7782"/>
                          </a:cubicBezTo>
                          <a:cubicBezTo>
                            <a:pt x="51434" y="7962"/>
                            <a:pt x="51853" y="8201"/>
                            <a:pt x="52271" y="8440"/>
                          </a:cubicBezTo>
                          <a:cubicBezTo>
                            <a:pt x="52690" y="8679"/>
                            <a:pt x="53109" y="8919"/>
                            <a:pt x="53528" y="9218"/>
                          </a:cubicBezTo>
                          <a:lnTo>
                            <a:pt x="66565" y="18309"/>
                          </a:lnTo>
                          <a:lnTo>
                            <a:pt x="65848" y="19205"/>
                          </a:lnTo>
                          <a:lnTo>
                            <a:pt x="85345" y="32842"/>
                          </a:lnTo>
                          <a:lnTo>
                            <a:pt x="86123" y="33380"/>
                          </a:lnTo>
                          <a:lnTo>
                            <a:pt x="92821" y="38045"/>
                          </a:lnTo>
                          <a:cubicBezTo>
                            <a:pt x="93957" y="38822"/>
                            <a:pt x="94794" y="39659"/>
                            <a:pt x="95452" y="40557"/>
                          </a:cubicBezTo>
                          <a:cubicBezTo>
                            <a:pt x="96110" y="41454"/>
                            <a:pt x="96529" y="42411"/>
                            <a:pt x="96708" y="43487"/>
                          </a:cubicBezTo>
                          <a:cubicBezTo>
                            <a:pt x="96888" y="44504"/>
                            <a:pt x="96828" y="45640"/>
                            <a:pt x="96589" y="46836"/>
                          </a:cubicBezTo>
                          <a:cubicBezTo>
                            <a:pt x="96289" y="48033"/>
                            <a:pt x="95811" y="49289"/>
                            <a:pt x="95034" y="50604"/>
                          </a:cubicBezTo>
                          <a:cubicBezTo>
                            <a:pt x="94974" y="50664"/>
                            <a:pt x="94914" y="50784"/>
                            <a:pt x="94914" y="50844"/>
                          </a:cubicBezTo>
                          <a:cubicBezTo>
                            <a:pt x="94854" y="50903"/>
                            <a:pt x="94794" y="51023"/>
                            <a:pt x="94794" y="51083"/>
                          </a:cubicBezTo>
                          <a:cubicBezTo>
                            <a:pt x="94735" y="51143"/>
                            <a:pt x="94675" y="51262"/>
                            <a:pt x="94675" y="51322"/>
                          </a:cubicBezTo>
                          <a:cubicBezTo>
                            <a:pt x="94675" y="51382"/>
                            <a:pt x="94555" y="51502"/>
                            <a:pt x="94495" y="51561"/>
                          </a:cubicBezTo>
                          <a:cubicBezTo>
                            <a:pt x="94435" y="51681"/>
                            <a:pt x="94376" y="51741"/>
                            <a:pt x="94316" y="51860"/>
                          </a:cubicBezTo>
                          <a:cubicBezTo>
                            <a:pt x="94256" y="51980"/>
                            <a:pt x="94196" y="52099"/>
                            <a:pt x="94137" y="52159"/>
                          </a:cubicBezTo>
                          <a:cubicBezTo>
                            <a:pt x="94077" y="52279"/>
                            <a:pt x="94017" y="52398"/>
                            <a:pt x="93897" y="52458"/>
                          </a:cubicBezTo>
                          <a:cubicBezTo>
                            <a:pt x="93838" y="52578"/>
                            <a:pt x="93778" y="52698"/>
                            <a:pt x="93658" y="52757"/>
                          </a:cubicBezTo>
                          <a:cubicBezTo>
                            <a:pt x="93598" y="52817"/>
                            <a:pt x="93539" y="52877"/>
                            <a:pt x="93479" y="52997"/>
                          </a:cubicBezTo>
                          <a:cubicBezTo>
                            <a:pt x="93419" y="53057"/>
                            <a:pt x="93359" y="53116"/>
                            <a:pt x="93299" y="53236"/>
                          </a:cubicBezTo>
                          <a:cubicBezTo>
                            <a:pt x="93240" y="53296"/>
                            <a:pt x="93180" y="53356"/>
                            <a:pt x="93120" y="53475"/>
                          </a:cubicBezTo>
                          <a:cubicBezTo>
                            <a:pt x="93060" y="53535"/>
                            <a:pt x="93000" y="53595"/>
                            <a:pt x="92940" y="53714"/>
                          </a:cubicBezTo>
                          <a:cubicBezTo>
                            <a:pt x="92881" y="53774"/>
                            <a:pt x="92881" y="53834"/>
                            <a:pt x="92821" y="53834"/>
                          </a:cubicBezTo>
                          <a:cubicBezTo>
                            <a:pt x="92761" y="53894"/>
                            <a:pt x="92761" y="53953"/>
                            <a:pt x="92701" y="53953"/>
                          </a:cubicBezTo>
                          <a:cubicBezTo>
                            <a:pt x="92641" y="54013"/>
                            <a:pt x="92641" y="54073"/>
                            <a:pt x="92581" y="54073"/>
                          </a:cubicBezTo>
                          <a:cubicBezTo>
                            <a:pt x="92522" y="54133"/>
                            <a:pt x="92522" y="54193"/>
                            <a:pt x="92462" y="54193"/>
                          </a:cubicBezTo>
                          <a:lnTo>
                            <a:pt x="91386" y="55508"/>
                          </a:lnTo>
                          <a:lnTo>
                            <a:pt x="90668" y="56406"/>
                          </a:lnTo>
                          <a:lnTo>
                            <a:pt x="89771" y="57542"/>
                          </a:lnTo>
                          <a:lnTo>
                            <a:pt x="89053" y="58439"/>
                          </a:lnTo>
                          <a:lnTo>
                            <a:pt x="88276" y="59396"/>
                          </a:lnTo>
                          <a:lnTo>
                            <a:pt x="87917" y="59815"/>
                          </a:lnTo>
                          <a:lnTo>
                            <a:pt x="87199" y="60712"/>
                          </a:lnTo>
                          <a:lnTo>
                            <a:pt x="86302" y="61848"/>
                          </a:lnTo>
                          <a:lnTo>
                            <a:pt x="85584" y="62745"/>
                          </a:lnTo>
                          <a:lnTo>
                            <a:pt x="83431" y="65496"/>
                          </a:lnTo>
                          <a:lnTo>
                            <a:pt x="82713" y="66393"/>
                          </a:lnTo>
                          <a:lnTo>
                            <a:pt x="80800" y="68786"/>
                          </a:lnTo>
                          <a:lnTo>
                            <a:pt x="80142" y="69623"/>
                          </a:lnTo>
                          <a:lnTo>
                            <a:pt x="78048" y="72254"/>
                          </a:lnTo>
                          <a:lnTo>
                            <a:pt x="77331" y="73152"/>
                          </a:lnTo>
                          <a:lnTo>
                            <a:pt x="76374" y="74348"/>
                          </a:lnTo>
                          <a:lnTo>
                            <a:pt x="75656" y="75245"/>
                          </a:lnTo>
                          <a:lnTo>
                            <a:pt x="72068" y="79790"/>
                          </a:lnTo>
                          <a:lnTo>
                            <a:pt x="71410" y="80628"/>
                          </a:lnTo>
                          <a:lnTo>
                            <a:pt x="69436" y="83080"/>
                          </a:lnTo>
                          <a:lnTo>
                            <a:pt x="66207" y="80927"/>
                          </a:lnTo>
                          <a:lnTo>
                            <a:pt x="65429" y="80448"/>
                          </a:lnTo>
                          <a:lnTo>
                            <a:pt x="62200" y="78295"/>
                          </a:lnTo>
                          <a:lnTo>
                            <a:pt x="61422" y="77816"/>
                          </a:lnTo>
                          <a:lnTo>
                            <a:pt x="53468" y="72553"/>
                          </a:lnTo>
                          <a:lnTo>
                            <a:pt x="52690" y="72015"/>
                          </a:lnTo>
                          <a:lnTo>
                            <a:pt x="49341" y="69803"/>
                          </a:lnTo>
                          <a:lnTo>
                            <a:pt x="48623" y="69324"/>
                          </a:lnTo>
                          <a:lnTo>
                            <a:pt x="42942" y="65556"/>
                          </a:lnTo>
                          <a:lnTo>
                            <a:pt x="42164" y="65018"/>
                          </a:lnTo>
                          <a:lnTo>
                            <a:pt x="29545" y="56645"/>
                          </a:lnTo>
                          <a:lnTo>
                            <a:pt x="28767" y="56106"/>
                          </a:lnTo>
                          <a:lnTo>
                            <a:pt x="25239" y="53774"/>
                          </a:lnTo>
                          <a:lnTo>
                            <a:pt x="24700" y="54851"/>
                          </a:lnTo>
                          <a:lnTo>
                            <a:pt x="28229" y="57183"/>
                          </a:lnTo>
                          <a:lnTo>
                            <a:pt x="29006" y="57721"/>
                          </a:lnTo>
                          <a:lnTo>
                            <a:pt x="41626" y="66094"/>
                          </a:lnTo>
                          <a:lnTo>
                            <a:pt x="42403" y="66633"/>
                          </a:lnTo>
                          <a:lnTo>
                            <a:pt x="48085" y="70400"/>
                          </a:lnTo>
                          <a:lnTo>
                            <a:pt x="48803" y="70879"/>
                          </a:lnTo>
                          <a:lnTo>
                            <a:pt x="52152" y="73092"/>
                          </a:lnTo>
                          <a:lnTo>
                            <a:pt x="52929" y="73630"/>
                          </a:lnTo>
                          <a:lnTo>
                            <a:pt x="60884" y="78893"/>
                          </a:lnTo>
                          <a:lnTo>
                            <a:pt x="61661" y="79372"/>
                          </a:lnTo>
                          <a:lnTo>
                            <a:pt x="64891" y="81524"/>
                          </a:lnTo>
                          <a:lnTo>
                            <a:pt x="65668" y="82003"/>
                          </a:lnTo>
                          <a:lnTo>
                            <a:pt x="69616" y="84635"/>
                          </a:lnTo>
                          <a:lnTo>
                            <a:pt x="72247" y="81285"/>
                          </a:lnTo>
                          <a:lnTo>
                            <a:pt x="72905" y="80448"/>
                          </a:lnTo>
                          <a:lnTo>
                            <a:pt x="76493" y="75903"/>
                          </a:lnTo>
                          <a:lnTo>
                            <a:pt x="77211" y="75006"/>
                          </a:lnTo>
                          <a:lnTo>
                            <a:pt x="78168" y="73809"/>
                          </a:lnTo>
                          <a:lnTo>
                            <a:pt x="78886" y="72912"/>
                          </a:lnTo>
                          <a:lnTo>
                            <a:pt x="80979" y="70281"/>
                          </a:lnTo>
                          <a:lnTo>
                            <a:pt x="81637" y="69444"/>
                          </a:lnTo>
                          <a:lnTo>
                            <a:pt x="83551" y="67051"/>
                          </a:lnTo>
                          <a:lnTo>
                            <a:pt x="84269" y="66154"/>
                          </a:lnTo>
                          <a:lnTo>
                            <a:pt x="86422" y="63463"/>
                          </a:lnTo>
                          <a:lnTo>
                            <a:pt x="87139" y="62566"/>
                          </a:lnTo>
                          <a:lnTo>
                            <a:pt x="88036" y="61429"/>
                          </a:lnTo>
                          <a:lnTo>
                            <a:pt x="88754" y="60532"/>
                          </a:lnTo>
                          <a:lnTo>
                            <a:pt x="89173" y="60054"/>
                          </a:lnTo>
                          <a:lnTo>
                            <a:pt x="89831" y="59217"/>
                          </a:lnTo>
                          <a:lnTo>
                            <a:pt x="90548" y="58320"/>
                          </a:lnTo>
                          <a:lnTo>
                            <a:pt x="91445" y="57183"/>
                          </a:lnTo>
                          <a:lnTo>
                            <a:pt x="92163" y="56286"/>
                          </a:lnTo>
                          <a:lnTo>
                            <a:pt x="93299" y="54851"/>
                          </a:lnTo>
                          <a:cubicBezTo>
                            <a:pt x="93359" y="54791"/>
                            <a:pt x="93359" y="54791"/>
                            <a:pt x="93359" y="54731"/>
                          </a:cubicBezTo>
                          <a:cubicBezTo>
                            <a:pt x="93359" y="54671"/>
                            <a:pt x="93419" y="54671"/>
                            <a:pt x="93419" y="54611"/>
                          </a:cubicBezTo>
                          <a:cubicBezTo>
                            <a:pt x="93419" y="54552"/>
                            <a:pt x="93479" y="54552"/>
                            <a:pt x="93479" y="54492"/>
                          </a:cubicBezTo>
                          <a:cubicBezTo>
                            <a:pt x="93479" y="54432"/>
                            <a:pt x="93539" y="54432"/>
                            <a:pt x="93539" y="54372"/>
                          </a:cubicBezTo>
                          <a:cubicBezTo>
                            <a:pt x="93598" y="54312"/>
                            <a:pt x="93658" y="54252"/>
                            <a:pt x="93718" y="54133"/>
                          </a:cubicBezTo>
                          <a:cubicBezTo>
                            <a:pt x="93778" y="54073"/>
                            <a:pt x="93838" y="54013"/>
                            <a:pt x="93897" y="53894"/>
                          </a:cubicBezTo>
                          <a:cubicBezTo>
                            <a:pt x="93957" y="53774"/>
                            <a:pt x="94017" y="53774"/>
                            <a:pt x="94077" y="53654"/>
                          </a:cubicBezTo>
                          <a:cubicBezTo>
                            <a:pt x="94137" y="53595"/>
                            <a:pt x="94196" y="53535"/>
                            <a:pt x="94256" y="53415"/>
                          </a:cubicBezTo>
                          <a:cubicBezTo>
                            <a:pt x="94316" y="53296"/>
                            <a:pt x="94435" y="53176"/>
                            <a:pt x="94495" y="53116"/>
                          </a:cubicBezTo>
                          <a:cubicBezTo>
                            <a:pt x="94555" y="52997"/>
                            <a:pt x="94615" y="52877"/>
                            <a:pt x="94735" y="52817"/>
                          </a:cubicBezTo>
                          <a:cubicBezTo>
                            <a:pt x="94854" y="52757"/>
                            <a:pt x="94854" y="52578"/>
                            <a:pt x="94974" y="52518"/>
                          </a:cubicBezTo>
                          <a:cubicBezTo>
                            <a:pt x="95034" y="52398"/>
                            <a:pt x="95094" y="52339"/>
                            <a:pt x="95154" y="52219"/>
                          </a:cubicBezTo>
                          <a:cubicBezTo>
                            <a:pt x="95213" y="52159"/>
                            <a:pt x="95273" y="52040"/>
                            <a:pt x="95333" y="51980"/>
                          </a:cubicBezTo>
                          <a:cubicBezTo>
                            <a:pt x="95393" y="51920"/>
                            <a:pt x="95452" y="51800"/>
                            <a:pt x="95512" y="51741"/>
                          </a:cubicBezTo>
                          <a:cubicBezTo>
                            <a:pt x="95572" y="51681"/>
                            <a:pt x="95632" y="51561"/>
                            <a:pt x="95632" y="51502"/>
                          </a:cubicBezTo>
                          <a:cubicBezTo>
                            <a:pt x="95632" y="51442"/>
                            <a:pt x="95751" y="51322"/>
                            <a:pt x="95751" y="51262"/>
                          </a:cubicBezTo>
                          <a:cubicBezTo>
                            <a:pt x="96589" y="49767"/>
                            <a:pt x="97187" y="48391"/>
                            <a:pt x="97546" y="47076"/>
                          </a:cubicBezTo>
                          <a:cubicBezTo>
                            <a:pt x="97904" y="45760"/>
                            <a:pt x="97964" y="44504"/>
                            <a:pt x="97785" y="43368"/>
                          </a:cubicBezTo>
                          <a:cubicBezTo>
                            <a:pt x="97605" y="42172"/>
                            <a:pt x="97187" y="41095"/>
                            <a:pt x="96469" y="40078"/>
                          </a:cubicBezTo>
                          <a:cubicBezTo>
                            <a:pt x="95751" y="39062"/>
                            <a:pt x="94794" y="38105"/>
                            <a:pt x="93598" y="37267"/>
                          </a:cubicBezTo>
                          <a:lnTo>
                            <a:pt x="86900" y="32602"/>
                          </a:lnTo>
                          <a:lnTo>
                            <a:pt x="86123" y="32064"/>
                          </a:lnTo>
                          <a:lnTo>
                            <a:pt x="51075" y="7603"/>
                          </a:lnTo>
                          <a:lnTo>
                            <a:pt x="50298" y="7065"/>
                          </a:lnTo>
                          <a:lnTo>
                            <a:pt x="43420" y="2280"/>
                          </a:lnTo>
                          <a:cubicBezTo>
                            <a:pt x="41865" y="1203"/>
                            <a:pt x="40310" y="486"/>
                            <a:pt x="38755" y="187"/>
                          </a:cubicBezTo>
                          <a:cubicBezTo>
                            <a:pt x="37200" y="-112"/>
                            <a:pt x="35645" y="-52"/>
                            <a:pt x="34030" y="366"/>
                          </a:cubicBezTo>
                          <a:cubicBezTo>
                            <a:pt x="32475" y="785"/>
                            <a:pt x="30861" y="1622"/>
                            <a:pt x="29306" y="2878"/>
                          </a:cubicBezTo>
                          <a:cubicBezTo>
                            <a:pt x="27751" y="4074"/>
                            <a:pt x="26196" y="5689"/>
                            <a:pt x="24581" y="7663"/>
                          </a:cubicBezTo>
                          <a:lnTo>
                            <a:pt x="20275" y="13105"/>
                          </a:lnTo>
                          <a:lnTo>
                            <a:pt x="19557" y="14002"/>
                          </a:lnTo>
                          <a:lnTo>
                            <a:pt x="15251" y="19445"/>
                          </a:lnTo>
                          <a:lnTo>
                            <a:pt x="14533" y="20342"/>
                          </a:lnTo>
                          <a:lnTo>
                            <a:pt x="12559" y="22854"/>
                          </a:lnTo>
                          <a:lnTo>
                            <a:pt x="11842" y="23751"/>
                          </a:lnTo>
                          <a:lnTo>
                            <a:pt x="9689" y="26502"/>
                          </a:lnTo>
                          <a:lnTo>
                            <a:pt x="8971" y="27399"/>
                          </a:lnTo>
                          <a:lnTo>
                            <a:pt x="7954" y="28655"/>
                          </a:lnTo>
                          <a:lnTo>
                            <a:pt x="7237" y="29552"/>
                          </a:lnTo>
                          <a:lnTo>
                            <a:pt x="3469" y="34277"/>
                          </a:lnTo>
                          <a:lnTo>
                            <a:pt x="2751" y="35174"/>
                          </a:lnTo>
                          <a:lnTo>
                            <a:pt x="0" y="38464"/>
                          </a:lnTo>
                        </a:path>
                      </a:pathLst>
                    </a:custGeom>
                    <a:noFill/>
                    <a:ln w="6350" cap="flat">
                      <a:solidFill>
                        <a:schemeClr val="bg1">
                          <a:alpha val="80000"/>
                        </a:schemeClr>
                      </a:solidFill>
                      <a:prstDash val="solid"/>
                      <a:miter/>
                    </a:ln>
                  </p:spPr>
                  <p:txBody>
                    <a:bodyPr rtlCol="0" anchor="ctr"/>
                    <a:lstStyle/>
                    <a:p>
                      <a:endParaRPr lang="en-GB"/>
                    </a:p>
                  </p:txBody>
                </p:sp>
                <p:sp>
                  <p:nvSpPr>
                    <p:cNvPr id="7512" name="Vrije vorm: vorm 7511">
                      <a:extLst>
                        <a:ext uri="{FF2B5EF4-FFF2-40B4-BE49-F238E27FC236}">
                          <a16:creationId xmlns:a16="http://schemas.microsoft.com/office/drawing/2014/main" id="{D946E824-6280-4691-923D-6C05E90A1F89}"/>
                        </a:ext>
                      </a:extLst>
                    </p:cNvPr>
                    <p:cNvSpPr/>
                    <p:nvPr/>
                  </p:nvSpPr>
                  <p:spPr>
                    <a:xfrm>
                      <a:off x="5004747" y="5262253"/>
                      <a:ext cx="56159" cy="47710"/>
                    </a:xfrm>
                    <a:custGeom>
                      <a:avLst/>
                      <a:gdLst>
                        <a:gd name="connsiteX0" fmla="*/ 16208 w 56159"/>
                        <a:gd name="connsiteY0" fmla="*/ 43763 h 47710"/>
                        <a:gd name="connsiteX1" fmla="*/ 14234 w 56159"/>
                        <a:gd name="connsiteY1" fmla="*/ 46276 h 47710"/>
                        <a:gd name="connsiteX2" fmla="*/ 1555 w 56159"/>
                        <a:gd name="connsiteY2" fmla="*/ 37843 h 47710"/>
                        <a:gd name="connsiteX3" fmla="*/ 3589 w 56159"/>
                        <a:gd name="connsiteY3" fmla="*/ 35271 h 47710"/>
                        <a:gd name="connsiteX4" fmla="*/ 4306 w 56159"/>
                        <a:gd name="connsiteY4" fmla="*/ 34374 h 47710"/>
                        <a:gd name="connsiteX5" fmla="*/ 4725 w 56159"/>
                        <a:gd name="connsiteY5" fmla="*/ 33836 h 47710"/>
                        <a:gd name="connsiteX6" fmla="*/ 5503 w 56159"/>
                        <a:gd name="connsiteY6" fmla="*/ 32879 h 47710"/>
                        <a:gd name="connsiteX7" fmla="*/ 8014 w 56159"/>
                        <a:gd name="connsiteY7" fmla="*/ 29709 h 47710"/>
                        <a:gd name="connsiteX8" fmla="*/ 8732 w 56159"/>
                        <a:gd name="connsiteY8" fmla="*/ 28812 h 47710"/>
                        <a:gd name="connsiteX9" fmla="*/ 9450 w 56159"/>
                        <a:gd name="connsiteY9" fmla="*/ 27855 h 47710"/>
                        <a:gd name="connsiteX10" fmla="*/ 9749 w 56159"/>
                        <a:gd name="connsiteY10" fmla="*/ 27496 h 47710"/>
                        <a:gd name="connsiteX11" fmla="*/ 10466 w 56159"/>
                        <a:gd name="connsiteY11" fmla="*/ 26599 h 47710"/>
                        <a:gd name="connsiteX12" fmla="*/ 12619 w 56159"/>
                        <a:gd name="connsiteY12" fmla="*/ 23907 h 47710"/>
                        <a:gd name="connsiteX13" fmla="*/ 13337 w 56159"/>
                        <a:gd name="connsiteY13" fmla="*/ 23011 h 47710"/>
                        <a:gd name="connsiteX14" fmla="*/ 15311 w 56159"/>
                        <a:gd name="connsiteY14" fmla="*/ 20558 h 47710"/>
                        <a:gd name="connsiteX15" fmla="*/ 16028 w 56159"/>
                        <a:gd name="connsiteY15" fmla="*/ 19661 h 47710"/>
                        <a:gd name="connsiteX16" fmla="*/ 20275 w 56159"/>
                        <a:gd name="connsiteY16" fmla="*/ 14279 h 47710"/>
                        <a:gd name="connsiteX17" fmla="*/ 20992 w 56159"/>
                        <a:gd name="connsiteY17" fmla="*/ 13382 h 47710"/>
                        <a:gd name="connsiteX18" fmla="*/ 25239 w 56159"/>
                        <a:gd name="connsiteY18" fmla="*/ 7999 h 47710"/>
                        <a:gd name="connsiteX19" fmla="*/ 28648 w 56159"/>
                        <a:gd name="connsiteY19" fmla="*/ 4291 h 47710"/>
                        <a:gd name="connsiteX20" fmla="*/ 31997 w 56159"/>
                        <a:gd name="connsiteY20" fmla="*/ 1958 h 47710"/>
                        <a:gd name="connsiteX21" fmla="*/ 35346 w 56159"/>
                        <a:gd name="connsiteY21" fmla="*/ 942 h 47710"/>
                        <a:gd name="connsiteX22" fmla="*/ 38695 w 56159"/>
                        <a:gd name="connsiteY22" fmla="*/ 1241 h 47710"/>
                        <a:gd name="connsiteX23" fmla="*/ 38935 w 56159"/>
                        <a:gd name="connsiteY23" fmla="*/ 1300 h 47710"/>
                        <a:gd name="connsiteX24" fmla="*/ 39174 w 56159"/>
                        <a:gd name="connsiteY24" fmla="*/ 1360 h 47710"/>
                        <a:gd name="connsiteX25" fmla="*/ 39413 w 56159"/>
                        <a:gd name="connsiteY25" fmla="*/ 1420 h 47710"/>
                        <a:gd name="connsiteX26" fmla="*/ 39652 w 56159"/>
                        <a:gd name="connsiteY26" fmla="*/ 1480 h 47710"/>
                        <a:gd name="connsiteX27" fmla="*/ 40310 w 56159"/>
                        <a:gd name="connsiteY27" fmla="*/ 1779 h 47710"/>
                        <a:gd name="connsiteX28" fmla="*/ 40968 w 56159"/>
                        <a:gd name="connsiteY28" fmla="*/ 2138 h 47710"/>
                        <a:gd name="connsiteX29" fmla="*/ 41626 w 56159"/>
                        <a:gd name="connsiteY29" fmla="*/ 2557 h 47710"/>
                        <a:gd name="connsiteX30" fmla="*/ 42284 w 56159"/>
                        <a:gd name="connsiteY30" fmla="*/ 2975 h 47710"/>
                        <a:gd name="connsiteX31" fmla="*/ 51076 w 56159"/>
                        <a:gd name="connsiteY31" fmla="*/ 9075 h 47710"/>
                        <a:gd name="connsiteX32" fmla="*/ 50896 w 56159"/>
                        <a:gd name="connsiteY32" fmla="*/ 9075 h 47710"/>
                        <a:gd name="connsiteX33" fmla="*/ 50717 w 56159"/>
                        <a:gd name="connsiteY33" fmla="*/ 9075 h 47710"/>
                        <a:gd name="connsiteX34" fmla="*/ 50537 w 56159"/>
                        <a:gd name="connsiteY34" fmla="*/ 9075 h 47710"/>
                        <a:gd name="connsiteX35" fmla="*/ 50358 w 56159"/>
                        <a:gd name="connsiteY35" fmla="*/ 9075 h 47710"/>
                        <a:gd name="connsiteX36" fmla="*/ 49879 w 56159"/>
                        <a:gd name="connsiteY36" fmla="*/ 9075 h 47710"/>
                        <a:gd name="connsiteX37" fmla="*/ 49401 w 56159"/>
                        <a:gd name="connsiteY37" fmla="*/ 9075 h 47710"/>
                        <a:gd name="connsiteX38" fmla="*/ 48922 w 56159"/>
                        <a:gd name="connsiteY38" fmla="*/ 9135 h 47710"/>
                        <a:gd name="connsiteX39" fmla="*/ 48444 w 56159"/>
                        <a:gd name="connsiteY39" fmla="*/ 9195 h 47710"/>
                        <a:gd name="connsiteX40" fmla="*/ 45813 w 56159"/>
                        <a:gd name="connsiteY40" fmla="*/ 9973 h 47710"/>
                        <a:gd name="connsiteX41" fmla="*/ 43181 w 56159"/>
                        <a:gd name="connsiteY41" fmla="*/ 11468 h 47710"/>
                        <a:gd name="connsiteX42" fmla="*/ 40490 w 56159"/>
                        <a:gd name="connsiteY42" fmla="*/ 13740 h 47710"/>
                        <a:gd name="connsiteX43" fmla="*/ 37798 w 56159"/>
                        <a:gd name="connsiteY43" fmla="*/ 16731 h 47710"/>
                        <a:gd name="connsiteX44" fmla="*/ 33552 w 56159"/>
                        <a:gd name="connsiteY44" fmla="*/ 22113 h 47710"/>
                        <a:gd name="connsiteX45" fmla="*/ 32834 w 56159"/>
                        <a:gd name="connsiteY45" fmla="*/ 23011 h 47710"/>
                        <a:gd name="connsiteX46" fmla="*/ 28588 w 56159"/>
                        <a:gd name="connsiteY46" fmla="*/ 28393 h 47710"/>
                        <a:gd name="connsiteX47" fmla="*/ 27870 w 56159"/>
                        <a:gd name="connsiteY47" fmla="*/ 29290 h 47710"/>
                        <a:gd name="connsiteX48" fmla="*/ 25956 w 56159"/>
                        <a:gd name="connsiteY48" fmla="*/ 31743 h 47710"/>
                        <a:gd name="connsiteX49" fmla="*/ 25239 w 56159"/>
                        <a:gd name="connsiteY49" fmla="*/ 32639 h 47710"/>
                        <a:gd name="connsiteX50" fmla="*/ 23086 w 56159"/>
                        <a:gd name="connsiteY50" fmla="*/ 35331 h 47710"/>
                        <a:gd name="connsiteX51" fmla="*/ 22368 w 56159"/>
                        <a:gd name="connsiteY51" fmla="*/ 36228 h 47710"/>
                        <a:gd name="connsiteX52" fmla="*/ 21411 w 56159"/>
                        <a:gd name="connsiteY52" fmla="*/ 37484 h 47710"/>
                        <a:gd name="connsiteX53" fmla="*/ 20693 w 56159"/>
                        <a:gd name="connsiteY53" fmla="*/ 38381 h 47710"/>
                        <a:gd name="connsiteX54" fmla="*/ 16985 w 56159"/>
                        <a:gd name="connsiteY54" fmla="*/ 43046 h 47710"/>
                        <a:gd name="connsiteX55" fmla="*/ 16208 w 56159"/>
                        <a:gd name="connsiteY55" fmla="*/ 43763 h 47710"/>
                        <a:gd name="connsiteX56" fmla="*/ 0 w 56159"/>
                        <a:gd name="connsiteY56" fmla="*/ 38261 h 47710"/>
                        <a:gd name="connsiteX57" fmla="*/ 6579 w 56159"/>
                        <a:gd name="connsiteY57" fmla="*/ 42627 h 47710"/>
                        <a:gd name="connsiteX58" fmla="*/ 7357 w 56159"/>
                        <a:gd name="connsiteY58" fmla="*/ 43166 h 47710"/>
                        <a:gd name="connsiteX59" fmla="*/ 10706 w 56159"/>
                        <a:gd name="connsiteY59" fmla="*/ 45378 h 47710"/>
                        <a:gd name="connsiteX60" fmla="*/ 11483 w 56159"/>
                        <a:gd name="connsiteY60" fmla="*/ 45917 h 47710"/>
                        <a:gd name="connsiteX61" fmla="*/ 14234 w 56159"/>
                        <a:gd name="connsiteY61" fmla="*/ 47711 h 47710"/>
                        <a:gd name="connsiteX62" fmla="*/ 14952 w 56159"/>
                        <a:gd name="connsiteY62" fmla="*/ 46814 h 47710"/>
                        <a:gd name="connsiteX63" fmla="*/ 16926 w 56159"/>
                        <a:gd name="connsiteY63" fmla="*/ 44302 h 47710"/>
                        <a:gd name="connsiteX64" fmla="*/ 17643 w 56159"/>
                        <a:gd name="connsiteY64" fmla="*/ 43405 h 47710"/>
                        <a:gd name="connsiteX65" fmla="*/ 21351 w 56159"/>
                        <a:gd name="connsiteY65" fmla="*/ 38740 h 47710"/>
                        <a:gd name="connsiteX66" fmla="*/ 22069 w 56159"/>
                        <a:gd name="connsiteY66" fmla="*/ 37843 h 47710"/>
                        <a:gd name="connsiteX67" fmla="*/ 23026 w 56159"/>
                        <a:gd name="connsiteY67" fmla="*/ 36587 h 47710"/>
                        <a:gd name="connsiteX68" fmla="*/ 23744 w 56159"/>
                        <a:gd name="connsiteY68" fmla="*/ 35690 h 47710"/>
                        <a:gd name="connsiteX69" fmla="*/ 25897 w 56159"/>
                        <a:gd name="connsiteY69" fmla="*/ 32998 h 47710"/>
                        <a:gd name="connsiteX70" fmla="*/ 26614 w 56159"/>
                        <a:gd name="connsiteY70" fmla="*/ 32101 h 47710"/>
                        <a:gd name="connsiteX71" fmla="*/ 28528 w 56159"/>
                        <a:gd name="connsiteY71" fmla="*/ 29649 h 47710"/>
                        <a:gd name="connsiteX72" fmla="*/ 29246 w 56159"/>
                        <a:gd name="connsiteY72" fmla="*/ 28752 h 47710"/>
                        <a:gd name="connsiteX73" fmla="*/ 33492 w 56159"/>
                        <a:gd name="connsiteY73" fmla="*/ 23429 h 47710"/>
                        <a:gd name="connsiteX74" fmla="*/ 34210 w 56159"/>
                        <a:gd name="connsiteY74" fmla="*/ 22532 h 47710"/>
                        <a:gd name="connsiteX75" fmla="*/ 38456 w 56159"/>
                        <a:gd name="connsiteY75" fmla="*/ 17209 h 47710"/>
                        <a:gd name="connsiteX76" fmla="*/ 41327 w 56159"/>
                        <a:gd name="connsiteY76" fmla="*/ 14039 h 47710"/>
                        <a:gd name="connsiteX77" fmla="*/ 44138 w 56159"/>
                        <a:gd name="connsiteY77" fmla="*/ 11827 h 47710"/>
                        <a:gd name="connsiteX78" fmla="*/ 46949 w 56159"/>
                        <a:gd name="connsiteY78" fmla="*/ 10511 h 47710"/>
                        <a:gd name="connsiteX79" fmla="*/ 49700 w 56159"/>
                        <a:gd name="connsiteY79" fmla="*/ 10152 h 47710"/>
                        <a:gd name="connsiteX80" fmla="*/ 50417 w 56159"/>
                        <a:gd name="connsiteY80" fmla="*/ 10212 h 47710"/>
                        <a:gd name="connsiteX81" fmla="*/ 51135 w 56159"/>
                        <a:gd name="connsiteY81" fmla="*/ 10331 h 47710"/>
                        <a:gd name="connsiteX82" fmla="*/ 51853 w 56159"/>
                        <a:gd name="connsiteY82" fmla="*/ 10511 h 47710"/>
                        <a:gd name="connsiteX83" fmla="*/ 52571 w 56159"/>
                        <a:gd name="connsiteY83" fmla="*/ 10750 h 47710"/>
                        <a:gd name="connsiteX84" fmla="*/ 53288 w 56159"/>
                        <a:gd name="connsiteY84" fmla="*/ 11049 h 47710"/>
                        <a:gd name="connsiteX85" fmla="*/ 54006 w 56159"/>
                        <a:gd name="connsiteY85" fmla="*/ 11408 h 47710"/>
                        <a:gd name="connsiteX86" fmla="*/ 54724 w 56159"/>
                        <a:gd name="connsiteY86" fmla="*/ 11827 h 47710"/>
                        <a:gd name="connsiteX87" fmla="*/ 55441 w 56159"/>
                        <a:gd name="connsiteY87" fmla="*/ 12305 h 47710"/>
                        <a:gd name="connsiteX88" fmla="*/ 56159 w 56159"/>
                        <a:gd name="connsiteY88" fmla="*/ 11408 h 47710"/>
                        <a:gd name="connsiteX89" fmla="*/ 43121 w 56159"/>
                        <a:gd name="connsiteY89" fmla="*/ 2317 h 47710"/>
                        <a:gd name="connsiteX90" fmla="*/ 41865 w 56159"/>
                        <a:gd name="connsiteY90" fmla="*/ 1540 h 47710"/>
                        <a:gd name="connsiteX91" fmla="*/ 40609 w 56159"/>
                        <a:gd name="connsiteY91" fmla="*/ 882 h 47710"/>
                        <a:gd name="connsiteX92" fmla="*/ 39293 w 56159"/>
                        <a:gd name="connsiteY92" fmla="*/ 403 h 47710"/>
                        <a:gd name="connsiteX93" fmla="*/ 37978 w 56159"/>
                        <a:gd name="connsiteY93" fmla="*/ 104 h 47710"/>
                        <a:gd name="connsiteX94" fmla="*/ 34629 w 56159"/>
                        <a:gd name="connsiteY94" fmla="*/ 224 h 47710"/>
                        <a:gd name="connsiteX95" fmla="*/ 31279 w 56159"/>
                        <a:gd name="connsiteY95" fmla="*/ 1480 h 47710"/>
                        <a:gd name="connsiteX96" fmla="*/ 27870 w 56159"/>
                        <a:gd name="connsiteY96" fmla="*/ 3932 h 47710"/>
                        <a:gd name="connsiteX97" fmla="*/ 24521 w 56159"/>
                        <a:gd name="connsiteY97" fmla="*/ 7580 h 47710"/>
                        <a:gd name="connsiteX98" fmla="*/ 20275 w 56159"/>
                        <a:gd name="connsiteY98" fmla="*/ 12963 h 47710"/>
                        <a:gd name="connsiteX99" fmla="*/ 19557 w 56159"/>
                        <a:gd name="connsiteY99" fmla="*/ 13860 h 47710"/>
                        <a:gd name="connsiteX100" fmla="*/ 15311 w 56159"/>
                        <a:gd name="connsiteY100" fmla="*/ 19243 h 47710"/>
                        <a:gd name="connsiteX101" fmla="*/ 14593 w 56159"/>
                        <a:gd name="connsiteY101" fmla="*/ 20140 h 47710"/>
                        <a:gd name="connsiteX102" fmla="*/ 12619 w 56159"/>
                        <a:gd name="connsiteY102" fmla="*/ 22592 h 47710"/>
                        <a:gd name="connsiteX103" fmla="*/ 11902 w 56159"/>
                        <a:gd name="connsiteY103" fmla="*/ 23489 h 47710"/>
                        <a:gd name="connsiteX104" fmla="*/ 9749 w 56159"/>
                        <a:gd name="connsiteY104" fmla="*/ 26180 h 47710"/>
                        <a:gd name="connsiteX105" fmla="*/ 9031 w 56159"/>
                        <a:gd name="connsiteY105" fmla="*/ 27077 h 47710"/>
                        <a:gd name="connsiteX106" fmla="*/ 8612 w 56159"/>
                        <a:gd name="connsiteY106" fmla="*/ 27616 h 47710"/>
                        <a:gd name="connsiteX107" fmla="*/ 7835 w 56159"/>
                        <a:gd name="connsiteY107" fmla="*/ 28573 h 47710"/>
                        <a:gd name="connsiteX108" fmla="*/ 7297 w 56159"/>
                        <a:gd name="connsiteY108" fmla="*/ 29230 h 47710"/>
                        <a:gd name="connsiteX109" fmla="*/ 4486 w 56159"/>
                        <a:gd name="connsiteY109" fmla="*/ 32819 h 47710"/>
                        <a:gd name="connsiteX110" fmla="*/ 3648 w 56159"/>
                        <a:gd name="connsiteY110" fmla="*/ 33895 h 47710"/>
                        <a:gd name="connsiteX111" fmla="*/ 3589 w 56159"/>
                        <a:gd name="connsiteY111" fmla="*/ 33955 h 47710"/>
                        <a:gd name="connsiteX112" fmla="*/ 2871 w 56159"/>
                        <a:gd name="connsiteY112" fmla="*/ 34852 h 47710"/>
                        <a:gd name="connsiteX113" fmla="*/ 837 w 56159"/>
                        <a:gd name="connsiteY113" fmla="*/ 37424 h 47710"/>
                        <a:gd name="connsiteX114" fmla="*/ 0 w 56159"/>
                        <a:gd name="connsiteY114" fmla="*/ 38261 h 47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6159" h="47710">
                          <a:moveTo>
                            <a:pt x="16208" y="43763"/>
                          </a:moveTo>
                          <a:lnTo>
                            <a:pt x="14234" y="46276"/>
                          </a:lnTo>
                          <a:lnTo>
                            <a:pt x="1555" y="37843"/>
                          </a:lnTo>
                          <a:lnTo>
                            <a:pt x="3589" y="35271"/>
                          </a:lnTo>
                          <a:lnTo>
                            <a:pt x="4306" y="34374"/>
                          </a:lnTo>
                          <a:lnTo>
                            <a:pt x="4725" y="33836"/>
                          </a:lnTo>
                          <a:lnTo>
                            <a:pt x="5503" y="32879"/>
                          </a:lnTo>
                          <a:lnTo>
                            <a:pt x="8014" y="29709"/>
                          </a:lnTo>
                          <a:lnTo>
                            <a:pt x="8732" y="28812"/>
                          </a:lnTo>
                          <a:lnTo>
                            <a:pt x="9450" y="27855"/>
                          </a:lnTo>
                          <a:lnTo>
                            <a:pt x="9749" y="27496"/>
                          </a:lnTo>
                          <a:lnTo>
                            <a:pt x="10466" y="26599"/>
                          </a:lnTo>
                          <a:lnTo>
                            <a:pt x="12619" y="23907"/>
                          </a:lnTo>
                          <a:lnTo>
                            <a:pt x="13337" y="23011"/>
                          </a:lnTo>
                          <a:lnTo>
                            <a:pt x="15311" y="20558"/>
                          </a:lnTo>
                          <a:lnTo>
                            <a:pt x="16028" y="19661"/>
                          </a:lnTo>
                          <a:lnTo>
                            <a:pt x="20275" y="14279"/>
                          </a:lnTo>
                          <a:lnTo>
                            <a:pt x="20992" y="13382"/>
                          </a:lnTo>
                          <a:lnTo>
                            <a:pt x="25239" y="7999"/>
                          </a:lnTo>
                          <a:cubicBezTo>
                            <a:pt x="26375" y="6564"/>
                            <a:pt x="27512" y="5307"/>
                            <a:pt x="28648" y="4291"/>
                          </a:cubicBezTo>
                          <a:cubicBezTo>
                            <a:pt x="29784" y="3274"/>
                            <a:pt x="30921" y="2497"/>
                            <a:pt x="31997" y="1958"/>
                          </a:cubicBezTo>
                          <a:cubicBezTo>
                            <a:pt x="33133" y="1420"/>
                            <a:pt x="34210" y="1061"/>
                            <a:pt x="35346" y="942"/>
                          </a:cubicBezTo>
                          <a:cubicBezTo>
                            <a:pt x="36483" y="822"/>
                            <a:pt x="37559" y="942"/>
                            <a:pt x="38695" y="1241"/>
                          </a:cubicBezTo>
                          <a:cubicBezTo>
                            <a:pt x="38755" y="1241"/>
                            <a:pt x="38875" y="1300"/>
                            <a:pt x="38935" y="1300"/>
                          </a:cubicBezTo>
                          <a:cubicBezTo>
                            <a:pt x="38994" y="1300"/>
                            <a:pt x="39114" y="1360"/>
                            <a:pt x="39174" y="1360"/>
                          </a:cubicBezTo>
                          <a:cubicBezTo>
                            <a:pt x="39234" y="1360"/>
                            <a:pt x="39353" y="1420"/>
                            <a:pt x="39413" y="1420"/>
                          </a:cubicBezTo>
                          <a:cubicBezTo>
                            <a:pt x="39473" y="1420"/>
                            <a:pt x="39592" y="1480"/>
                            <a:pt x="39652" y="1480"/>
                          </a:cubicBezTo>
                          <a:cubicBezTo>
                            <a:pt x="39892" y="1540"/>
                            <a:pt x="40131" y="1659"/>
                            <a:pt x="40310" y="1779"/>
                          </a:cubicBezTo>
                          <a:cubicBezTo>
                            <a:pt x="40549" y="1898"/>
                            <a:pt x="40789" y="2018"/>
                            <a:pt x="40968" y="2138"/>
                          </a:cubicBezTo>
                          <a:cubicBezTo>
                            <a:pt x="41207" y="2257"/>
                            <a:pt x="41446" y="2377"/>
                            <a:pt x="41626" y="2557"/>
                          </a:cubicBezTo>
                          <a:cubicBezTo>
                            <a:pt x="41805" y="2736"/>
                            <a:pt x="42105" y="2856"/>
                            <a:pt x="42284" y="2975"/>
                          </a:cubicBezTo>
                          <a:lnTo>
                            <a:pt x="51076" y="9075"/>
                          </a:lnTo>
                          <a:cubicBezTo>
                            <a:pt x="51016" y="9075"/>
                            <a:pt x="50956" y="9075"/>
                            <a:pt x="50896" y="9075"/>
                          </a:cubicBezTo>
                          <a:cubicBezTo>
                            <a:pt x="50836" y="9075"/>
                            <a:pt x="50776" y="9075"/>
                            <a:pt x="50717" y="9075"/>
                          </a:cubicBezTo>
                          <a:cubicBezTo>
                            <a:pt x="50657" y="9075"/>
                            <a:pt x="50597" y="9075"/>
                            <a:pt x="50537" y="9075"/>
                          </a:cubicBezTo>
                          <a:cubicBezTo>
                            <a:pt x="50477" y="9075"/>
                            <a:pt x="50417" y="9075"/>
                            <a:pt x="50358" y="9075"/>
                          </a:cubicBezTo>
                          <a:cubicBezTo>
                            <a:pt x="50178" y="9075"/>
                            <a:pt x="50059" y="9075"/>
                            <a:pt x="49879" y="9075"/>
                          </a:cubicBezTo>
                          <a:cubicBezTo>
                            <a:pt x="49700" y="9075"/>
                            <a:pt x="49580" y="9075"/>
                            <a:pt x="49401" y="9075"/>
                          </a:cubicBezTo>
                          <a:cubicBezTo>
                            <a:pt x="49222" y="9075"/>
                            <a:pt x="49102" y="9075"/>
                            <a:pt x="48922" y="9135"/>
                          </a:cubicBezTo>
                          <a:cubicBezTo>
                            <a:pt x="48743" y="9195"/>
                            <a:pt x="48623" y="9195"/>
                            <a:pt x="48444" y="9195"/>
                          </a:cubicBezTo>
                          <a:cubicBezTo>
                            <a:pt x="47547" y="9315"/>
                            <a:pt x="46650" y="9554"/>
                            <a:pt x="45813" y="9973"/>
                          </a:cubicBezTo>
                          <a:cubicBezTo>
                            <a:pt x="44915" y="10331"/>
                            <a:pt x="44018" y="10869"/>
                            <a:pt x="43181" y="11468"/>
                          </a:cubicBezTo>
                          <a:cubicBezTo>
                            <a:pt x="42284" y="12066"/>
                            <a:pt x="41387" y="12843"/>
                            <a:pt x="40490" y="13740"/>
                          </a:cubicBezTo>
                          <a:cubicBezTo>
                            <a:pt x="39592" y="14637"/>
                            <a:pt x="38695" y="15594"/>
                            <a:pt x="37798" y="16731"/>
                          </a:cubicBezTo>
                          <a:lnTo>
                            <a:pt x="33552" y="22113"/>
                          </a:lnTo>
                          <a:lnTo>
                            <a:pt x="32834" y="23011"/>
                          </a:lnTo>
                          <a:lnTo>
                            <a:pt x="28588" y="28393"/>
                          </a:lnTo>
                          <a:lnTo>
                            <a:pt x="27870" y="29290"/>
                          </a:lnTo>
                          <a:lnTo>
                            <a:pt x="25956" y="31743"/>
                          </a:lnTo>
                          <a:lnTo>
                            <a:pt x="25239" y="32639"/>
                          </a:lnTo>
                          <a:lnTo>
                            <a:pt x="23086" y="35331"/>
                          </a:lnTo>
                          <a:lnTo>
                            <a:pt x="22368" y="36228"/>
                          </a:lnTo>
                          <a:lnTo>
                            <a:pt x="21411" y="37484"/>
                          </a:lnTo>
                          <a:lnTo>
                            <a:pt x="20693" y="38381"/>
                          </a:lnTo>
                          <a:lnTo>
                            <a:pt x="16985" y="43046"/>
                          </a:lnTo>
                          <a:lnTo>
                            <a:pt x="16208" y="43763"/>
                          </a:lnTo>
                          <a:moveTo>
                            <a:pt x="0" y="38261"/>
                          </a:moveTo>
                          <a:lnTo>
                            <a:pt x="6579" y="42627"/>
                          </a:lnTo>
                          <a:lnTo>
                            <a:pt x="7357" y="43166"/>
                          </a:lnTo>
                          <a:lnTo>
                            <a:pt x="10706" y="45378"/>
                          </a:lnTo>
                          <a:lnTo>
                            <a:pt x="11483" y="45917"/>
                          </a:lnTo>
                          <a:lnTo>
                            <a:pt x="14234" y="47711"/>
                          </a:lnTo>
                          <a:lnTo>
                            <a:pt x="14952" y="46814"/>
                          </a:lnTo>
                          <a:lnTo>
                            <a:pt x="16926" y="44302"/>
                          </a:lnTo>
                          <a:lnTo>
                            <a:pt x="17643" y="43405"/>
                          </a:lnTo>
                          <a:lnTo>
                            <a:pt x="21351" y="38740"/>
                          </a:lnTo>
                          <a:lnTo>
                            <a:pt x="22069" y="37843"/>
                          </a:lnTo>
                          <a:lnTo>
                            <a:pt x="23026" y="36587"/>
                          </a:lnTo>
                          <a:lnTo>
                            <a:pt x="23744" y="35690"/>
                          </a:lnTo>
                          <a:lnTo>
                            <a:pt x="25897" y="32998"/>
                          </a:lnTo>
                          <a:lnTo>
                            <a:pt x="26614" y="32101"/>
                          </a:lnTo>
                          <a:lnTo>
                            <a:pt x="28528" y="29649"/>
                          </a:lnTo>
                          <a:lnTo>
                            <a:pt x="29246" y="28752"/>
                          </a:lnTo>
                          <a:lnTo>
                            <a:pt x="33492" y="23429"/>
                          </a:lnTo>
                          <a:lnTo>
                            <a:pt x="34210" y="22532"/>
                          </a:lnTo>
                          <a:lnTo>
                            <a:pt x="38456" y="17209"/>
                          </a:lnTo>
                          <a:cubicBezTo>
                            <a:pt x="39413" y="16013"/>
                            <a:pt x="40370" y="14936"/>
                            <a:pt x="41327" y="14039"/>
                          </a:cubicBezTo>
                          <a:cubicBezTo>
                            <a:pt x="42284" y="13142"/>
                            <a:pt x="43181" y="12365"/>
                            <a:pt x="44138" y="11827"/>
                          </a:cubicBezTo>
                          <a:cubicBezTo>
                            <a:pt x="45095" y="11228"/>
                            <a:pt x="45992" y="10810"/>
                            <a:pt x="46949" y="10511"/>
                          </a:cubicBezTo>
                          <a:cubicBezTo>
                            <a:pt x="47906" y="10212"/>
                            <a:pt x="48803" y="10092"/>
                            <a:pt x="49700" y="10152"/>
                          </a:cubicBezTo>
                          <a:cubicBezTo>
                            <a:pt x="49939" y="10152"/>
                            <a:pt x="50178" y="10152"/>
                            <a:pt x="50417" y="10212"/>
                          </a:cubicBezTo>
                          <a:cubicBezTo>
                            <a:pt x="50657" y="10272"/>
                            <a:pt x="50896" y="10272"/>
                            <a:pt x="51135" y="10331"/>
                          </a:cubicBezTo>
                          <a:cubicBezTo>
                            <a:pt x="51375" y="10391"/>
                            <a:pt x="51614" y="10451"/>
                            <a:pt x="51853" y="10511"/>
                          </a:cubicBezTo>
                          <a:cubicBezTo>
                            <a:pt x="52092" y="10571"/>
                            <a:pt x="52331" y="10630"/>
                            <a:pt x="52571" y="10750"/>
                          </a:cubicBezTo>
                          <a:cubicBezTo>
                            <a:pt x="52810" y="10810"/>
                            <a:pt x="53049" y="10929"/>
                            <a:pt x="53288" y="11049"/>
                          </a:cubicBezTo>
                          <a:cubicBezTo>
                            <a:pt x="53528" y="11169"/>
                            <a:pt x="53767" y="11288"/>
                            <a:pt x="54006" y="11408"/>
                          </a:cubicBezTo>
                          <a:cubicBezTo>
                            <a:pt x="54245" y="11528"/>
                            <a:pt x="54484" y="11647"/>
                            <a:pt x="54724" y="11827"/>
                          </a:cubicBezTo>
                          <a:cubicBezTo>
                            <a:pt x="54963" y="12006"/>
                            <a:pt x="55202" y="12126"/>
                            <a:pt x="55441" y="12305"/>
                          </a:cubicBezTo>
                          <a:lnTo>
                            <a:pt x="56159" y="11408"/>
                          </a:lnTo>
                          <a:lnTo>
                            <a:pt x="43121" y="2317"/>
                          </a:lnTo>
                          <a:cubicBezTo>
                            <a:pt x="42702" y="2018"/>
                            <a:pt x="42284" y="1779"/>
                            <a:pt x="41865" y="1540"/>
                          </a:cubicBezTo>
                          <a:cubicBezTo>
                            <a:pt x="41446" y="1300"/>
                            <a:pt x="41028" y="1061"/>
                            <a:pt x="40609" y="882"/>
                          </a:cubicBezTo>
                          <a:cubicBezTo>
                            <a:pt x="40191" y="703"/>
                            <a:pt x="39772" y="523"/>
                            <a:pt x="39293" y="403"/>
                          </a:cubicBezTo>
                          <a:cubicBezTo>
                            <a:pt x="38815" y="284"/>
                            <a:pt x="38456" y="164"/>
                            <a:pt x="37978" y="104"/>
                          </a:cubicBezTo>
                          <a:cubicBezTo>
                            <a:pt x="36841" y="-75"/>
                            <a:pt x="35705" y="-15"/>
                            <a:pt x="34629" y="224"/>
                          </a:cubicBezTo>
                          <a:cubicBezTo>
                            <a:pt x="33492" y="463"/>
                            <a:pt x="32356" y="882"/>
                            <a:pt x="31279" y="1480"/>
                          </a:cubicBezTo>
                          <a:cubicBezTo>
                            <a:pt x="30143" y="2078"/>
                            <a:pt x="29007" y="2915"/>
                            <a:pt x="27870" y="3932"/>
                          </a:cubicBezTo>
                          <a:cubicBezTo>
                            <a:pt x="26734" y="4949"/>
                            <a:pt x="25598" y="6205"/>
                            <a:pt x="24521" y="7580"/>
                          </a:cubicBezTo>
                          <a:lnTo>
                            <a:pt x="20275" y="12963"/>
                          </a:lnTo>
                          <a:lnTo>
                            <a:pt x="19557" y="13860"/>
                          </a:lnTo>
                          <a:lnTo>
                            <a:pt x="15311" y="19243"/>
                          </a:lnTo>
                          <a:lnTo>
                            <a:pt x="14593" y="20140"/>
                          </a:lnTo>
                          <a:lnTo>
                            <a:pt x="12619" y="22592"/>
                          </a:lnTo>
                          <a:lnTo>
                            <a:pt x="11902" y="23489"/>
                          </a:lnTo>
                          <a:lnTo>
                            <a:pt x="9749" y="26180"/>
                          </a:lnTo>
                          <a:lnTo>
                            <a:pt x="9031" y="27077"/>
                          </a:lnTo>
                          <a:lnTo>
                            <a:pt x="8612" y="27616"/>
                          </a:lnTo>
                          <a:lnTo>
                            <a:pt x="7835" y="28573"/>
                          </a:lnTo>
                          <a:lnTo>
                            <a:pt x="7297" y="29230"/>
                          </a:lnTo>
                          <a:lnTo>
                            <a:pt x="4486" y="32819"/>
                          </a:lnTo>
                          <a:lnTo>
                            <a:pt x="3648" y="33895"/>
                          </a:lnTo>
                          <a:lnTo>
                            <a:pt x="3589" y="33955"/>
                          </a:lnTo>
                          <a:lnTo>
                            <a:pt x="2871" y="34852"/>
                          </a:lnTo>
                          <a:lnTo>
                            <a:pt x="837" y="37424"/>
                          </a:lnTo>
                          <a:lnTo>
                            <a:pt x="0" y="38261"/>
                          </a:lnTo>
                        </a:path>
                      </a:pathLst>
                    </a:custGeom>
                    <a:noFill/>
                    <a:ln w="6350" cap="flat">
                      <a:solidFill>
                        <a:schemeClr val="bg1">
                          <a:alpha val="80000"/>
                        </a:schemeClr>
                      </a:solidFill>
                      <a:prstDash val="solid"/>
                      <a:miter/>
                    </a:ln>
                  </p:spPr>
                  <p:txBody>
                    <a:bodyPr rtlCol="0" anchor="ctr"/>
                    <a:lstStyle/>
                    <a:p>
                      <a:endParaRPr lang="en-GB"/>
                    </a:p>
                  </p:txBody>
                </p:sp>
                <p:sp>
                  <p:nvSpPr>
                    <p:cNvPr id="7513" name="Vrije vorm: vorm 7512">
                      <a:extLst>
                        <a:ext uri="{FF2B5EF4-FFF2-40B4-BE49-F238E27FC236}">
                          <a16:creationId xmlns:a16="http://schemas.microsoft.com/office/drawing/2014/main" id="{830279C1-A935-4F47-AA83-4E859ECD60D9}"/>
                        </a:ext>
                      </a:extLst>
                    </p:cNvPr>
                    <p:cNvSpPr/>
                    <p:nvPr/>
                  </p:nvSpPr>
                  <p:spPr>
                    <a:xfrm>
                      <a:off x="5081730" y="5201234"/>
                      <a:ext cx="130189" cy="44595"/>
                    </a:xfrm>
                    <a:custGeom>
                      <a:avLst/>
                      <a:gdLst>
                        <a:gd name="connsiteX0" fmla="*/ 128874 w 130189"/>
                        <a:gd name="connsiteY0" fmla="*/ 2512 h 44595"/>
                        <a:gd name="connsiteX1" fmla="*/ 129113 w 130189"/>
                        <a:gd name="connsiteY1" fmla="*/ 2273 h 44595"/>
                        <a:gd name="connsiteX2" fmla="*/ 129352 w 130189"/>
                        <a:gd name="connsiteY2" fmla="*/ 2093 h 44595"/>
                        <a:gd name="connsiteX3" fmla="*/ 129651 w 130189"/>
                        <a:gd name="connsiteY3" fmla="*/ 1914 h 44595"/>
                        <a:gd name="connsiteX4" fmla="*/ 129950 w 130189"/>
                        <a:gd name="connsiteY4" fmla="*/ 1734 h 44595"/>
                        <a:gd name="connsiteX5" fmla="*/ 130189 w 130189"/>
                        <a:gd name="connsiteY5" fmla="*/ 60 h 44595"/>
                        <a:gd name="connsiteX6" fmla="*/ 128814 w 130189"/>
                        <a:gd name="connsiteY6" fmla="*/ 179 h 44595"/>
                        <a:gd name="connsiteX7" fmla="*/ 128455 w 130189"/>
                        <a:gd name="connsiteY7" fmla="*/ 478 h 44595"/>
                        <a:gd name="connsiteX8" fmla="*/ 128096 w 130189"/>
                        <a:gd name="connsiteY8" fmla="*/ 778 h 44595"/>
                        <a:gd name="connsiteX9" fmla="*/ 127737 w 130189"/>
                        <a:gd name="connsiteY9" fmla="*/ 1076 h 44595"/>
                        <a:gd name="connsiteX10" fmla="*/ 127378 w 130189"/>
                        <a:gd name="connsiteY10" fmla="*/ 1375 h 44595"/>
                        <a:gd name="connsiteX11" fmla="*/ 129053 w 130189"/>
                        <a:gd name="connsiteY11" fmla="*/ 1256 h 44595"/>
                        <a:gd name="connsiteX12" fmla="*/ 128874 w 130189"/>
                        <a:gd name="connsiteY12" fmla="*/ 2512 h 44595"/>
                        <a:gd name="connsiteX13" fmla="*/ 128455 w 130189"/>
                        <a:gd name="connsiteY13" fmla="*/ 5263 h 44595"/>
                        <a:gd name="connsiteX14" fmla="*/ 128694 w 130189"/>
                        <a:gd name="connsiteY14" fmla="*/ 5083 h 44595"/>
                        <a:gd name="connsiteX15" fmla="*/ 128933 w 130189"/>
                        <a:gd name="connsiteY15" fmla="*/ 4964 h 44595"/>
                        <a:gd name="connsiteX16" fmla="*/ 129173 w 130189"/>
                        <a:gd name="connsiteY16" fmla="*/ 4844 h 44595"/>
                        <a:gd name="connsiteX17" fmla="*/ 129412 w 130189"/>
                        <a:gd name="connsiteY17" fmla="*/ 4725 h 44595"/>
                        <a:gd name="connsiteX18" fmla="*/ 129651 w 130189"/>
                        <a:gd name="connsiteY18" fmla="*/ 3229 h 44595"/>
                        <a:gd name="connsiteX19" fmla="*/ 129352 w 130189"/>
                        <a:gd name="connsiteY19" fmla="*/ 3469 h 44595"/>
                        <a:gd name="connsiteX20" fmla="*/ 129053 w 130189"/>
                        <a:gd name="connsiteY20" fmla="*/ 3708 h 44595"/>
                        <a:gd name="connsiteX21" fmla="*/ 128754 w 130189"/>
                        <a:gd name="connsiteY21" fmla="*/ 3947 h 44595"/>
                        <a:gd name="connsiteX22" fmla="*/ 128514 w 130189"/>
                        <a:gd name="connsiteY22" fmla="*/ 4186 h 44595"/>
                        <a:gd name="connsiteX23" fmla="*/ 128455 w 130189"/>
                        <a:gd name="connsiteY23" fmla="*/ 5263 h 44595"/>
                        <a:gd name="connsiteX24" fmla="*/ 128814 w 130189"/>
                        <a:gd name="connsiteY24" fmla="*/ 9808 h 44595"/>
                        <a:gd name="connsiteX25" fmla="*/ 128814 w 130189"/>
                        <a:gd name="connsiteY25" fmla="*/ 9808 h 44595"/>
                        <a:gd name="connsiteX26" fmla="*/ 128814 w 130189"/>
                        <a:gd name="connsiteY26" fmla="*/ 9808 h 44595"/>
                        <a:gd name="connsiteX27" fmla="*/ 128814 w 130189"/>
                        <a:gd name="connsiteY27" fmla="*/ 9808 h 44595"/>
                        <a:gd name="connsiteX28" fmla="*/ 128814 w 130189"/>
                        <a:gd name="connsiteY28" fmla="*/ 9808 h 44595"/>
                        <a:gd name="connsiteX29" fmla="*/ 129412 w 130189"/>
                        <a:gd name="connsiteY29" fmla="*/ 5801 h 44595"/>
                        <a:gd name="connsiteX30" fmla="*/ 129173 w 130189"/>
                        <a:gd name="connsiteY30" fmla="*/ 5921 h 44595"/>
                        <a:gd name="connsiteX31" fmla="*/ 128933 w 130189"/>
                        <a:gd name="connsiteY31" fmla="*/ 6041 h 44595"/>
                        <a:gd name="connsiteX32" fmla="*/ 128694 w 130189"/>
                        <a:gd name="connsiteY32" fmla="*/ 6220 h 44595"/>
                        <a:gd name="connsiteX33" fmla="*/ 128514 w 130189"/>
                        <a:gd name="connsiteY33" fmla="*/ 6399 h 44595"/>
                        <a:gd name="connsiteX34" fmla="*/ 128455 w 130189"/>
                        <a:gd name="connsiteY34" fmla="*/ 6459 h 44595"/>
                        <a:gd name="connsiteX35" fmla="*/ 128395 w 130189"/>
                        <a:gd name="connsiteY35" fmla="*/ 6519 h 44595"/>
                        <a:gd name="connsiteX36" fmla="*/ 128335 w 130189"/>
                        <a:gd name="connsiteY36" fmla="*/ 6579 h 44595"/>
                        <a:gd name="connsiteX37" fmla="*/ 128275 w 130189"/>
                        <a:gd name="connsiteY37" fmla="*/ 6639 h 44595"/>
                        <a:gd name="connsiteX38" fmla="*/ 127916 w 130189"/>
                        <a:gd name="connsiteY38" fmla="*/ 9090 h 44595"/>
                        <a:gd name="connsiteX39" fmla="*/ 128874 w 130189"/>
                        <a:gd name="connsiteY39" fmla="*/ 9031 h 44595"/>
                        <a:gd name="connsiteX40" fmla="*/ 128814 w 130189"/>
                        <a:gd name="connsiteY40" fmla="*/ 9808 h 44595"/>
                        <a:gd name="connsiteX41" fmla="*/ 128455 w 130189"/>
                        <a:gd name="connsiteY41" fmla="*/ 12141 h 44595"/>
                        <a:gd name="connsiteX42" fmla="*/ 128634 w 130189"/>
                        <a:gd name="connsiteY42" fmla="*/ 10885 h 44595"/>
                        <a:gd name="connsiteX43" fmla="*/ 128634 w 130189"/>
                        <a:gd name="connsiteY43" fmla="*/ 10885 h 44595"/>
                        <a:gd name="connsiteX44" fmla="*/ 128634 w 130189"/>
                        <a:gd name="connsiteY44" fmla="*/ 10885 h 44595"/>
                        <a:gd name="connsiteX45" fmla="*/ 128634 w 130189"/>
                        <a:gd name="connsiteY45" fmla="*/ 10885 h 44595"/>
                        <a:gd name="connsiteX46" fmla="*/ 128634 w 130189"/>
                        <a:gd name="connsiteY46" fmla="*/ 10885 h 44595"/>
                        <a:gd name="connsiteX47" fmla="*/ 128455 w 130189"/>
                        <a:gd name="connsiteY47" fmla="*/ 12141 h 44595"/>
                        <a:gd name="connsiteX48" fmla="*/ 125943 w 130189"/>
                        <a:gd name="connsiteY48" fmla="*/ 23624 h 44595"/>
                        <a:gd name="connsiteX49" fmla="*/ 126182 w 130189"/>
                        <a:gd name="connsiteY49" fmla="*/ 23444 h 44595"/>
                        <a:gd name="connsiteX50" fmla="*/ 126421 w 130189"/>
                        <a:gd name="connsiteY50" fmla="*/ 23325 h 44595"/>
                        <a:gd name="connsiteX51" fmla="*/ 126660 w 130189"/>
                        <a:gd name="connsiteY51" fmla="*/ 23205 h 44595"/>
                        <a:gd name="connsiteX52" fmla="*/ 126900 w 130189"/>
                        <a:gd name="connsiteY52" fmla="*/ 23085 h 44595"/>
                        <a:gd name="connsiteX53" fmla="*/ 127139 w 130189"/>
                        <a:gd name="connsiteY53" fmla="*/ 21411 h 44595"/>
                        <a:gd name="connsiteX54" fmla="*/ 126660 w 130189"/>
                        <a:gd name="connsiteY54" fmla="*/ 21471 h 44595"/>
                        <a:gd name="connsiteX55" fmla="*/ 126182 w 130189"/>
                        <a:gd name="connsiteY55" fmla="*/ 21530 h 44595"/>
                        <a:gd name="connsiteX56" fmla="*/ 125943 w 130189"/>
                        <a:gd name="connsiteY56" fmla="*/ 23624 h 44595"/>
                        <a:gd name="connsiteX57" fmla="*/ 125644 w 130189"/>
                        <a:gd name="connsiteY57" fmla="*/ 27870 h 44595"/>
                        <a:gd name="connsiteX58" fmla="*/ 125763 w 130189"/>
                        <a:gd name="connsiteY58" fmla="*/ 27930 h 44595"/>
                        <a:gd name="connsiteX59" fmla="*/ 125883 w 130189"/>
                        <a:gd name="connsiteY59" fmla="*/ 27990 h 44595"/>
                        <a:gd name="connsiteX60" fmla="*/ 126003 w 130189"/>
                        <a:gd name="connsiteY60" fmla="*/ 28050 h 44595"/>
                        <a:gd name="connsiteX61" fmla="*/ 126182 w 130189"/>
                        <a:gd name="connsiteY61" fmla="*/ 28109 h 44595"/>
                        <a:gd name="connsiteX62" fmla="*/ 126720 w 130189"/>
                        <a:gd name="connsiteY62" fmla="*/ 24102 h 44595"/>
                        <a:gd name="connsiteX63" fmla="*/ 126481 w 130189"/>
                        <a:gd name="connsiteY63" fmla="*/ 24222 h 44595"/>
                        <a:gd name="connsiteX64" fmla="*/ 126242 w 130189"/>
                        <a:gd name="connsiteY64" fmla="*/ 24342 h 44595"/>
                        <a:gd name="connsiteX65" fmla="*/ 126003 w 130189"/>
                        <a:gd name="connsiteY65" fmla="*/ 24521 h 44595"/>
                        <a:gd name="connsiteX66" fmla="*/ 125823 w 130189"/>
                        <a:gd name="connsiteY66" fmla="*/ 24700 h 44595"/>
                        <a:gd name="connsiteX67" fmla="*/ 125763 w 130189"/>
                        <a:gd name="connsiteY67" fmla="*/ 24760 h 44595"/>
                        <a:gd name="connsiteX68" fmla="*/ 125704 w 130189"/>
                        <a:gd name="connsiteY68" fmla="*/ 24820 h 44595"/>
                        <a:gd name="connsiteX69" fmla="*/ 125644 w 130189"/>
                        <a:gd name="connsiteY69" fmla="*/ 24880 h 44595"/>
                        <a:gd name="connsiteX70" fmla="*/ 125584 w 130189"/>
                        <a:gd name="connsiteY70" fmla="*/ 24940 h 44595"/>
                        <a:gd name="connsiteX71" fmla="*/ 125225 w 130189"/>
                        <a:gd name="connsiteY71" fmla="*/ 27571 h 44595"/>
                        <a:gd name="connsiteX72" fmla="*/ 125225 w 130189"/>
                        <a:gd name="connsiteY72" fmla="*/ 27631 h 44595"/>
                        <a:gd name="connsiteX73" fmla="*/ 125225 w 130189"/>
                        <a:gd name="connsiteY73" fmla="*/ 27691 h 44595"/>
                        <a:gd name="connsiteX74" fmla="*/ 125225 w 130189"/>
                        <a:gd name="connsiteY74" fmla="*/ 27750 h 44595"/>
                        <a:gd name="connsiteX75" fmla="*/ 125225 w 130189"/>
                        <a:gd name="connsiteY75" fmla="*/ 27810 h 44595"/>
                        <a:gd name="connsiteX76" fmla="*/ 125644 w 130189"/>
                        <a:gd name="connsiteY76" fmla="*/ 27870 h 44595"/>
                        <a:gd name="connsiteX77" fmla="*/ 125584 w 130189"/>
                        <a:gd name="connsiteY77" fmla="*/ 30502 h 44595"/>
                        <a:gd name="connsiteX78" fmla="*/ 125584 w 130189"/>
                        <a:gd name="connsiteY78" fmla="*/ 30502 h 44595"/>
                        <a:gd name="connsiteX79" fmla="*/ 125704 w 130189"/>
                        <a:gd name="connsiteY79" fmla="*/ 30561 h 44595"/>
                        <a:gd name="connsiteX80" fmla="*/ 125763 w 130189"/>
                        <a:gd name="connsiteY80" fmla="*/ 30621 h 44595"/>
                        <a:gd name="connsiteX81" fmla="*/ 125823 w 130189"/>
                        <a:gd name="connsiteY81" fmla="*/ 30681 h 44595"/>
                        <a:gd name="connsiteX82" fmla="*/ 126062 w 130189"/>
                        <a:gd name="connsiteY82" fmla="*/ 29186 h 44595"/>
                        <a:gd name="connsiteX83" fmla="*/ 125823 w 130189"/>
                        <a:gd name="connsiteY83" fmla="*/ 29126 h 44595"/>
                        <a:gd name="connsiteX84" fmla="*/ 125584 w 130189"/>
                        <a:gd name="connsiteY84" fmla="*/ 29066 h 44595"/>
                        <a:gd name="connsiteX85" fmla="*/ 125345 w 130189"/>
                        <a:gd name="connsiteY85" fmla="*/ 29006 h 44595"/>
                        <a:gd name="connsiteX86" fmla="*/ 125165 w 130189"/>
                        <a:gd name="connsiteY86" fmla="*/ 28887 h 44595"/>
                        <a:gd name="connsiteX87" fmla="*/ 124986 w 130189"/>
                        <a:gd name="connsiteY87" fmla="*/ 30023 h 44595"/>
                        <a:gd name="connsiteX88" fmla="*/ 125106 w 130189"/>
                        <a:gd name="connsiteY88" fmla="*/ 30143 h 44595"/>
                        <a:gd name="connsiteX89" fmla="*/ 125225 w 130189"/>
                        <a:gd name="connsiteY89" fmla="*/ 30262 h 44595"/>
                        <a:gd name="connsiteX90" fmla="*/ 125345 w 130189"/>
                        <a:gd name="connsiteY90" fmla="*/ 30382 h 44595"/>
                        <a:gd name="connsiteX91" fmla="*/ 125584 w 130189"/>
                        <a:gd name="connsiteY91" fmla="*/ 30502 h 44595"/>
                        <a:gd name="connsiteX92" fmla="*/ 123311 w 130189"/>
                        <a:gd name="connsiteY92" fmla="*/ 33432 h 44595"/>
                        <a:gd name="connsiteX93" fmla="*/ 123431 w 130189"/>
                        <a:gd name="connsiteY93" fmla="*/ 33552 h 44595"/>
                        <a:gd name="connsiteX94" fmla="*/ 123551 w 130189"/>
                        <a:gd name="connsiteY94" fmla="*/ 33671 h 44595"/>
                        <a:gd name="connsiteX95" fmla="*/ 123670 w 130189"/>
                        <a:gd name="connsiteY95" fmla="*/ 33791 h 44595"/>
                        <a:gd name="connsiteX96" fmla="*/ 123790 w 130189"/>
                        <a:gd name="connsiteY96" fmla="*/ 33911 h 44595"/>
                        <a:gd name="connsiteX97" fmla="*/ 124866 w 130189"/>
                        <a:gd name="connsiteY97" fmla="*/ 33791 h 44595"/>
                        <a:gd name="connsiteX98" fmla="*/ 125345 w 130189"/>
                        <a:gd name="connsiteY98" fmla="*/ 33731 h 44595"/>
                        <a:gd name="connsiteX99" fmla="*/ 125584 w 130189"/>
                        <a:gd name="connsiteY99" fmla="*/ 32236 h 44595"/>
                        <a:gd name="connsiteX100" fmla="*/ 125345 w 130189"/>
                        <a:gd name="connsiteY100" fmla="*/ 32116 h 44595"/>
                        <a:gd name="connsiteX101" fmla="*/ 125165 w 130189"/>
                        <a:gd name="connsiteY101" fmla="*/ 31997 h 44595"/>
                        <a:gd name="connsiteX102" fmla="*/ 124986 w 130189"/>
                        <a:gd name="connsiteY102" fmla="*/ 31877 h 44595"/>
                        <a:gd name="connsiteX103" fmla="*/ 124806 w 130189"/>
                        <a:gd name="connsiteY103" fmla="*/ 31698 h 44595"/>
                        <a:gd name="connsiteX104" fmla="*/ 124627 w 130189"/>
                        <a:gd name="connsiteY104" fmla="*/ 32894 h 44595"/>
                        <a:gd name="connsiteX105" fmla="*/ 122713 w 130189"/>
                        <a:gd name="connsiteY105" fmla="*/ 33073 h 44595"/>
                        <a:gd name="connsiteX106" fmla="*/ 122833 w 130189"/>
                        <a:gd name="connsiteY106" fmla="*/ 33193 h 44595"/>
                        <a:gd name="connsiteX107" fmla="*/ 122952 w 130189"/>
                        <a:gd name="connsiteY107" fmla="*/ 33313 h 44595"/>
                        <a:gd name="connsiteX108" fmla="*/ 123072 w 130189"/>
                        <a:gd name="connsiteY108" fmla="*/ 33432 h 44595"/>
                        <a:gd name="connsiteX109" fmla="*/ 123311 w 130189"/>
                        <a:gd name="connsiteY109" fmla="*/ 33432 h 44595"/>
                        <a:gd name="connsiteX110" fmla="*/ 5491 w 130189"/>
                        <a:gd name="connsiteY110" fmla="*/ 42044 h 44595"/>
                        <a:gd name="connsiteX111" fmla="*/ 7584 w 130189"/>
                        <a:gd name="connsiteY111" fmla="*/ 43300 h 44595"/>
                        <a:gd name="connsiteX112" fmla="*/ 9917 w 130189"/>
                        <a:gd name="connsiteY112" fmla="*/ 44138 h 44595"/>
                        <a:gd name="connsiteX113" fmla="*/ 12489 w 130189"/>
                        <a:gd name="connsiteY113" fmla="*/ 44556 h 44595"/>
                        <a:gd name="connsiteX114" fmla="*/ 15240 w 130189"/>
                        <a:gd name="connsiteY114" fmla="*/ 44497 h 44595"/>
                        <a:gd name="connsiteX115" fmla="*/ 26603 w 130189"/>
                        <a:gd name="connsiteY115" fmla="*/ 43360 h 44595"/>
                        <a:gd name="connsiteX116" fmla="*/ 28337 w 130189"/>
                        <a:gd name="connsiteY116" fmla="*/ 43181 h 44595"/>
                        <a:gd name="connsiteX117" fmla="*/ 32464 w 130189"/>
                        <a:gd name="connsiteY117" fmla="*/ 42762 h 44595"/>
                        <a:gd name="connsiteX118" fmla="*/ 33720 w 130189"/>
                        <a:gd name="connsiteY118" fmla="*/ 42643 h 44595"/>
                        <a:gd name="connsiteX119" fmla="*/ 122235 w 130189"/>
                        <a:gd name="connsiteY119" fmla="*/ 33911 h 44595"/>
                        <a:gd name="connsiteX120" fmla="*/ 121996 w 130189"/>
                        <a:gd name="connsiteY120" fmla="*/ 33671 h 44595"/>
                        <a:gd name="connsiteX121" fmla="*/ 121756 w 130189"/>
                        <a:gd name="connsiteY121" fmla="*/ 33432 h 44595"/>
                        <a:gd name="connsiteX122" fmla="*/ 121517 w 130189"/>
                        <a:gd name="connsiteY122" fmla="*/ 33193 h 44595"/>
                        <a:gd name="connsiteX123" fmla="*/ 121278 w 130189"/>
                        <a:gd name="connsiteY123" fmla="*/ 32954 h 44595"/>
                        <a:gd name="connsiteX124" fmla="*/ 34557 w 130189"/>
                        <a:gd name="connsiteY124" fmla="*/ 41446 h 44595"/>
                        <a:gd name="connsiteX125" fmla="*/ 33301 w 130189"/>
                        <a:gd name="connsiteY125" fmla="*/ 41566 h 44595"/>
                        <a:gd name="connsiteX126" fmla="*/ 29653 w 130189"/>
                        <a:gd name="connsiteY126" fmla="*/ 41925 h 44595"/>
                        <a:gd name="connsiteX127" fmla="*/ 28098 w 130189"/>
                        <a:gd name="connsiteY127" fmla="*/ 42104 h 44595"/>
                        <a:gd name="connsiteX128" fmla="*/ 15359 w 130189"/>
                        <a:gd name="connsiteY128" fmla="*/ 43360 h 44595"/>
                        <a:gd name="connsiteX129" fmla="*/ 12788 w 130189"/>
                        <a:gd name="connsiteY129" fmla="*/ 43420 h 44595"/>
                        <a:gd name="connsiteX130" fmla="*/ 10395 w 130189"/>
                        <a:gd name="connsiteY130" fmla="*/ 43001 h 44595"/>
                        <a:gd name="connsiteX131" fmla="*/ 8182 w 130189"/>
                        <a:gd name="connsiteY131" fmla="*/ 42224 h 44595"/>
                        <a:gd name="connsiteX132" fmla="*/ 6209 w 130189"/>
                        <a:gd name="connsiteY132" fmla="*/ 41088 h 44595"/>
                        <a:gd name="connsiteX133" fmla="*/ 3816 w 130189"/>
                        <a:gd name="connsiteY133" fmla="*/ 38815 h 44595"/>
                        <a:gd name="connsiteX134" fmla="*/ 2142 w 130189"/>
                        <a:gd name="connsiteY134" fmla="*/ 35884 h 44595"/>
                        <a:gd name="connsiteX135" fmla="*/ 1245 w 130189"/>
                        <a:gd name="connsiteY135" fmla="*/ 32415 h 44595"/>
                        <a:gd name="connsiteX136" fmla="*/ 1245 w 130189"/>
                        <a:gd name="connsiteY136" fmla="*/ 28528 h 44595"/>
                        <a:gd name="connsiteX137" fmla="*/ 1903 w 130189"/>
                        <a:gd name="connsiteY137" fmla="*/ 25238 h 44595"/>
                        <a:gd name="connsiteX138" fmla="*/ 3159 w 130189"/>
                        <a:gd name="connsiteY138" fmla="*/ 22069 h 44595"/>
                        <a:gd name="connsiteX139" fmla="*/ 4953 w 130189"/>
                        <a:gd name="connsiteY139" fmla="*/ 19079 h 44595"/>
                        <a:gd name="connsiteX140" fmla="*/ 7226 w 130189"/>
                        <a:gd name="connsiteY140" fmla="*/ 16387 h 44595"/>
                        <a:gd name="connsiteX141" fmla="*/ 9917 w 130189"/>
                        <a:gd name="connsiteY141" fmla="*/ 14114 h 44595"/>
                        <a:gd name="connsiteX142" fmla="*/ 12847 w 130189"/>
                        <a:gd name="connsiteY142" fmla="*/ 12380 h 44595"/>
                        <a:gd name="connsiteX143" fmla="*/ 15958 w 130189"/>
                        <a:gd name="connsiteY143" fmla="*/ 11184 h 44595"/>
                        <a:gd name="connsiteX144" fmla="*/ 19127 w 130189"/>
                        <a:gd name="connsiteY144" fmla="*/ 10586 h 44595"/>
                        <a:gd name="connsiteX145" fmla="*/ 30670 w 130189"/>
                        <a:gd name="connsiteY145" fmla="*/ 9569 h 44595"/>
                        <a:gd name="connsiteX146" fmla="*/ 32404 w 130189"/>
                        <a:gd name="connsiteY146" fmla="*/ 9390 h 44595"/>
                        <a:gd name="connsiteX147" fmla="*/ 36232 w 130189"/>
                        <a:gd name="connsiteY147" fmla="*/ 9031 h 44595"/>
                        <a:gd name="connsiteX148" fmla="*/ 37608 w 130189"/>
                        <a:gd name="connsiteY148" fmla="*/ 8911 h 44595"/>
                        <a:gd name="connsiteX149" fmla="*/ 125883 w 130189"/>
                        <a:gd name="connsiteY149" fmla="*/ 1196 h 44595"/>
                        <a:gd name="connsiteX150" fmla="*/ 126182 w 130189"/>
                        <a:gd name="connsiteY150" fmla="*/ 897 h 44595"/>
                        <a:gd name="connsiteX151" fmla="*/ 126481 w 130189"/>
                        <a:gd name="connsiteY151" fmla="*/ 598 h 44595"/>
                        <a:gd name="connsiteX152" fmla="*/ 126780 w 130189"/>
                        <a:gd name="connsiteY152" fmla="*/ 299 h 44595"/>
                        <a:gd name="connsiteX153" fmla="*/ 127079 w 130189"/>
                        <a:gd name="connsiteY153" fmla="*/ 0 h 44595"/>
                        <a:gd name="connsiteX154" fmla="*/ 36651 w 130189"/>
                        <a:gd name="connsiteY154" fmla="*/ 7835 h 44595"/>
                        <a:gd name="connsiteX155" fmla="*/ 35155 w 130189"/>
                        <a:gd name="connsiteY155" fmla="*/ 7954 h 44595"/>
                        <a:gd name="connsiteX156" fmla="*/ 31029 w 130189"/>
                        <a:gd name="connsiteY156" fmla="*/ 8313 h 44595"/>
                        <a:gd name="connsiteX157" fmla="*/ 29055 w 130189"/>
                        <a:gd name="connsiteY157" fmla="*/ 8493 h 44595"/>
                        <a:gd name="connsiteX158" fmla="*/ 19187 w 130189"/>
                        <a:gd name="connsiteY158" fmla="*/ 9330 h 44595"/>
                        <a:gd name="connsiteX159" fmla="*/ 15778 w 130189"/>
                        <a:gd name="connsiteY159" fmla="*/ 9928 h 44595"/>
                        <a:gd name="connsiteX160" fmla="*/ 12489 w 130189"/>
                        <a:gd name="connsiteY160" fmla="*/ 11184 h 44595"/>
                        <a:gd name="connsiteX161" fmla="*/ 9378 w 130189"/>
                        <a:gd name="connsiteY161" fmla="*/ 13038 h 44595"/>
                        <a:gd name="connsiteX162" fmla="*/ 6508 w 130189"/>
                        <a:gd name="connsiteY162" fmla="*/ 15490 h 44595"/>
                        <a:gd name="connsiteX163" fmla="*/ 4056 w 130189"/>
                        <a:gd name="connsiteY163" fmla="*/ 18361 h 44595"/>
                        <a:gd name="connsiteX164" fmla="*/ 2142 w 130189"/>
                        <a:gd name="connsiteY164" fmla="*/ 21530 h 44595"/>
                        <a:gd name="connsiteX165" fmla="*/ 826 w 130189"/>
                        <a:gd name="connsiteY165" fmla="*/ 24880 h 44595"/>
                        <a:gd name="connsiteX166" fmla="*/ 108 w 130189"/>
                        <a:gd name="connsiteY166" fmla="*/ 28349 h 44595"/>
                        <a:gd name="connsiteX167" fmla="*/ 168 w 130189"/>
                        <a:gd name="connsiteY167" fmla="*/ 32475 h 44595"/>
                        <a:gd name="connsiteX168" fmla="*/ 1125 w 130189"/>
                        <a:gd name="connsiteY168" fmla="*/ 36123 h 44595"/>
                        <a:gd name="connsiteX169" fmla="*/ 2919 w 130189"/>
                        <a:gd name="connsiteY169" fmla="*/ 39234 h 44595"/>
                        <a:gd name="connsiteX170" fmla="*/ 5491 w 130189"/>
                        <a:gd name="connsiteY170" fmla="*/ 42044 h 44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30189" h="44595">
                          <a:moveTo>
                            <a:pt x="128874" y="2512"/>
                          </a:moveTo>
                          <a:cubicBezTo>
                            <a:pt x="128933" y="2452"/>
                            <a:pt x="129053" y="2392"/>
                            <a:pt x="129113" y="2273"/>
                          </a:cubicBezTo>
                          <a:cubicBezTo>
                            <a:pt x="129173" y="2153"/>
                            <a:pt x="129292" y="2153"/>
                            <a:pt x="129352" y="2093"/>
                          </a:cubicBezTo>
                          <a:cubicBezTo>
                            <a:pt x="129471" y="2033"/>
                            <a:pt x="129531" y="1973"/>
                            <a:pt x="129651" y="1914"/>
                          </a:cubicBezTo>
                          <a:cubicBezTo>
                            <a:pt x="129770" y="1854"/>
                            <a:pt x="129830" y="1794"/>
                            <a:pt x="129950" y="1734"/>
                          </a:cubicBezTo>
                          <a:lnTo>
                            <a:pt x="130189" y="60"/>
                          </a:lnTo>
                          <a:lnTo>
                            <a:pt x="128814" y="179"/>
                          </a:lnTo>
                          <a:cubicBezTo>
                            <a:pt x="128694" y="299"/>
                            <a:pt x="128574" y="359"/>
                            <a:pt x="128455" y="478"/>
                          </a:cubicBezTo>
                          <a:cubicBezTo>
                            <a:pt x="128335" y="598"/>
                            <a:pt x="128215" y="658"/>
                            <a:pt x="128096" y="778"/>
                          </a:cubicBezTo>
                          <a:cubicBezTo>
                            <a:pt x="127976" y="897"/>
                            <a:pt x="127857" y="957"/>
                            <a:pt x="127737" y="1076"/>
                          </a:cubicBezTo>
                          <a:cubicBezTo>
                            <a:pt x="127617" y="1196"/>
                            <a:pt x="127498" y="1256"/>
                            <a:pt x="127378" y="1375"/>
                          </a:cubicBezTo>
                          <a:lnTo>
                            <a:pt x="129053" y="1256"/>
                          </a:lnTo>
                          <a:lnTo>
                            <a:pt x="128874" y="2512"/>
                          </a:lnTo>
                          <a:moveTo>
                            <a:pt x="128455" y="5263"/>
                          </a:moveTo>
                          <a:cubicBezTo>
                            <a:pt x="128514" y="5203"/>
                            <a:pt x="128634" y="5143"/>
                            <a:pt x="128694" y="5083"/>
                          </a:cubicBezTo>
                          <a:cubicBezTo>
                            <a:pt x="128754" y="5024"/>
                            <a:pt x="128874" y="4964"/>
                            <a:pt x="128933" y="4964"/>
                          </a:cubicBezTo>
                          <a:cubicBezTo>
                            <a:pt x="128993" y="4904"/>
                            <a:pt x="129113" y="4904"/>
                            <a:pt x="129173" y="4844"/>
                          </a:cubicBezTo>
                          <a:cubicBezTo>
                            <a:pt x="129232" y="4785"/>
                            <a:pt x="129352" y="4785"/>
                            <a:pt x="129412" y="4725"/>
                          </a:cubicBezTo>
                          <a:lnTo>
                            <a:pt x="129651" y="3229"/>
                          </a:lnTo>
                          <a:cubicBezTo>
                            <a:pt x="129531" y="3289"/>
                            <a:pt x="129471" y="3349"/>
                            <a:pt x="129352" y="3469"/>
                          </a:cubicBezTo>
                          <a:cubicBezTo>
                            <a:pt x="129232" y="3588"/>
                            <a:pt x="129173" y="3588"/>
                            <a:pt x="129053" y="3708"/>
                          </a:cubicBezTo>
                          <a:cubicBezTo>
                            <a:pt x="128933" y="3768"/>
                            <a:pt x="128874" y="3887"/>
                            <a:pt x="128754" y="3947"/>
                          </a:cubicBezTo>
                          <a:cubicBezTo>
                            <a:pt x="128694" y="4007"/>
                            <a:pt x="128574" y="4127"/>
                            <a:pt x="128514" y="4186"/>
                          </a:cubicBezTo>
                          <a:lnTo>
                            <a:pt x="128455" y="5263"/>
                          </a:lnTo>
                          <a:moveTo>
                            <a:pt x="128814" y="9808"/>
                          </a:moveTo>
                          <a:cubicBezTo>
                            <a:pt x="128814" y="9808"/>
                            <a:pt x="128814" y="9808"/>
                            <a:pt x="128814" y="9808"/>
                          </a:cubicBezTo>
                          <a:cubicBezTo>
                            <a:pt x="128814" y="9808"/>
                            <a:pt x="128814" y="9808"/>
                            <a:pt x="128814" y="9808"/>
                          </a:cubicBezTo>
                          <a:cubicBezTo>
                            <a:pt x="128814" y="9808"/>
                            <a:pt x="128814" y="9808"/>
                            <a:pt x="128814" y="9808"/>
                          </a:cubicBezTo>
                          <a:cubicBezTo>
                            <a:pt x="128814" y="9808"/>
                            <a:pt x="128814" y="9808"/>
                            <a:pt x="128814" y="9808"/>
                          </a:cubicBezTo>
                          <a:lnTo>
                            <a:pt x="129412" y="5801"/>
                          </a:lnTo>
                          <a:cubicBezTo>
                            <a:pt x="129352" y="5861"/>
                            <a:pt x="129232" y="5861"/>
                            <a:pt x="129173" y="5921"/>
                          </a:cubicBezTo>
                          <a:cubicBezTo>
                            <a:pt x="129113" y="5981"/>
                            <a:pt x="129053" y="5981"/>
                            <a:pt x="128933" y="6041"/>
                          </a:cubicBezTo>
                          <a:cubicBezTo>
                            <a:pt x="128814" y="6100"/>
                            <a:pt x="128814" y="6160"/>
                            <a:pt x="128694" y="6220"/>
                          </a:cubicBezTo>
                          <a:cubicBezTo>
                            <a:pt x="128634" y="6280"/>
                            <a:pt x="128574" y="6340"/>
                            <a:pt x="128514" y="6399"/>
                          </a:cubicBezTo>
                          <a:cubicBezTo>
                            <a:pt x="128514" y="6399"/>
                            <a:pt x="128455" y="6459"/>
                            <a:pt x="128455" y="6459"/>
                          </a:cubicBezTo>
                          <a:cubicBezTo>
                            <a:pt x="128455" y="6459"/>
                            <a:pt x="128395" y="6519"/>
                            <a:pt x="128395" y="6519"/>
                          </a:cubicBezTo>
                          <a:cubicBezTo>
                            <a:pt x="128395" y="6519"/>
                            <a:pt x="128335" y="6579"/>
                            <a:pt x="128335" y="6579"/>
                          </a:cubicBezTo>
                          <a:cubicBezTo>
                            <a:pt x="128335" y="6579"/>
                            <a:pt x="128275" y="6639"/>
                            <a:pt x="128275" y="6639"/>
                          </a:cubicBezTo>
                          <a:lnTo>
                            <a:pt x="127916" y="9090"/>
                          </a:lnTo>
                          <a:lnTo>
                            <a:pt x="128874" y="9031"/>
                          </a:lnTo>
                          <a:lnTo>
                            <a:pt x="128814" y="9808"/>
                          </a:lnTo>
                          <a:moveTo>
                            <a:pt x="128455" y="12141"/>
                          </a:moveTo>
                          <a:lnTo>
                            <a:pt x="128634" y="10885"/>
                          </a:lnTo>
                          <a:cubicBezTo>
                            <a:pt x="128634" y="10885"/>
                            <a:pt x="128634" y="10885"/>
                            <a:pt x="128634" y="10885"/>
                          </a:cubicBezTo>
                          <a:cubicBezTo>
                            <a:pt x="128634" y="10885"/>
                            <a:pt x="128634" y="10885"/>
                            <a:pt x="128634" y="10885"/>
                          </a:cubicBezTo>
                          <a:cubicBezTo>
                            <a:pt x="128634" y="10885"/>
                            <a:pt x="128634" y="10885"/>
                            <a:pt x="128634" y="10885"/>
                          </a:cubicBezTo>
                          <a:cubicBezTo>
                            <a:pt x="128634" y="10885"/>
                            <a:pt x="128634" y="10885"/>
                            <a:pt x="128634" y="10885"/>
                          </a:cubicBezTo>
                          <a:lnTo>
                            <a:pt x="128455" y="12141"/>
                          </a:lnTo>
                          <a:moveTo>
                            <a:pt x="125943" y="23624"/>
                          </a:moveTo>
                          <a:cubicBezTo>
                            <a:pt x="126003" y="23564"/>
                            <a:pt x="126122" y="23504"/>
                            <a:pt x="126182" y="23444"/>
                          </a:cubicBezTo>
                          <a:cubicBezTo>
                            <a:pt x="126242" y="23384"/>
                            <a:pt x="126361" y="23325"/>
                            <a:pt x="126421" y="23325"/>
                          </a:cubicBezTo>
                          <a:cubicBezTo>
                            <a:pt x="126481" y="23325"/>
                            <a:pt x="126601" y="23265"/>
                            <a:pt x="126660" y="23205"/>
                          </a:cubicBezTo>
                          <a:cubicBezTo>
                            <a:pt x="126720" y="23145"/>
                            <a:pt x="126840" y="23145"/>
                            <a:pt x="126900" y="23085"/>
                          </a:cubicBezTo>
                          <a:lnTo>
                            <a:pt x="127139" y="21411"/>
                          </a:lnTo>
                          <a:lnTo>
                            <a:pt x="126660" y="21471"/>
                          </a:lnTo>
                          <a:lnTo>
                            <a:pt x="126182" y="21530"/>
                          </a:lnTo>
                          <a:lnTo>
                            <a:pt x="125943" y="23624"/>
                          </a:lnTo>
                          <a:moveTo>
                            <a:pt x="125644" y="27870"/>
                          </a:moveTo>
                          <a:cubicBezTo>
                            <a:pt x="125704" y="27930"/>
                            <a:pt x="125704" y="27930"/>
                            <a:pt x="125763" y="27930"/>
                          </a:cubicBezTo>
                          <a:cubicBezTo>
                            <a:pt x="125823" y="27930"/>
                            <a:pt x="125823" y="27990"/>
                            <a:pt x="125883" y="27990"/>
                          </a:cubicBezTo>
                          <a:cubicBezTo>
                            <a:pt x="125943" y="27990"/>
                            <a:pt x="126003" y="28050"/>
                            <a:pt x="126003" y="28050"/>
                          </a:cubicBezTo>
                          <a:cubicBezTo>
                            <a:pt x="126062" y="28050"/>
                            <a:pt x="126122" y="28109"/>
                            <a:pt x="126182" y="28109"/>
                          </a:cubicBezTo>
                          <a:lnTo>
                            <a:pt x="126720" y="24102"/>
                          </a:lnTo>
                          <a:cubicBezTo>
                            <a:pt x="126660" y="24162"/>
                            <a:pt x="126541" y="24162"/>
                            <a:pt x="126481" y="24222"/>
                          </a:cubicBezTo>
                          <a:cubicBezTo>
                            <a:pt x="126421" y="24282"/>
                            <a:pt x="126302" y="24282"/>
                            <a:pt x="126242" y="24342"/>
                          </a:cubicBezTo>
                          <a:cubicBezTo>
                            <a:pt x="126182" y="24401"/>
                            <a:pt x="126122" y="24461"/>
                            <a:pt x="126003" y="24521"/>
                          </a:cubicBezTo>
                          <a:cubicBezTo>
                            <a:pt x="125883" y="24581"/>
                            <a:pt x="125883" y="24641"/>
                            <a:pt x="125823" y="24700"/>
                          </a:cubicBezTo>
                          <a:cubicBezTo>
                            <a:pt x="125823" y="24700"/>
                            <a:pt x="125823" y="24700"/>
                            <a:pt x="125763" y="24760"/>
                          </a:cubicBezTo>
                          <a:cubicBezTo>
                            <a:pt x="125763" y="24760"/>
                            <a:pt x="125763" y="24760"/>
                            <a:pt x="125704" y="24820"/>
                          </a:cubicBezTo>
                          <a:cubicBezTo>
                            <a:pt x="125704" y="24820"/>
                            <a:pt x="125704" y="24820"/>
                            <a:pt x="125644" y="24880"/>
                          </a:cubicBezTo>
                          <a:cubicBezTo>
                            <a:pt x="125644" y="24880"/>
                            <a:pt x="125644" y="24940"/>
                            <a:pt x="125584" y="24940"/>
                          </a:cubicBezTo>
                          <a:lnTo>
                            <a:pt x="125225" y="27571"/>
                          </a:lnTo>
                          <a:cubicBezTo>
                            <a:pt x="125225" y="27571"/>
                            <a:pt x="125225" y="27571"/>
                            <a:pt x="125225" y="27631"/>
                          </a:cubicBezTo>
                          <a:cubicBezTo>
                            <a:pt x="125225" y="27631"/>
                            <a:pt x="125225" y="27631"/>
                            <a:pt x="125225" y="27691"/>
                          </a:cubicBezTo>
                          <a:cubicBezTo>
                            <a:pt x="125225" y="27691"/>
                            <a:pt x="125225" y="27691"/>
                            <a:pt x="125225" y="27750"/>
                          </a:cubicBezTo>
                          <a:cubicBezTo>
                            <a:pt x="125225" y="27750"/>
                            <a:pt x="125225" y="27750"/>
                            <a:pt x="125225" y="27810"/>
                          </a:cubicBezTo>
                          <a:lnTo>
                            <a:pt x="125644" y="27870"/>
                          </a:lnTo>
                          <a:moveTo>
                            <a:pt x="125584" y="30502"/>
                          </a:moveTo>
                          <a:cubicBezTo>
                            <a:pt x="125644" y="30502"/>
                            <a:pt x="125644" y="30561"/>
                            <a:pt x="125584" y="30502"/>
                          </a:cubicBezTo>
                          <a:cubicBezTo>
                            <a:pt x="125644" y="30561"/>
                            <a:pt x="125704" y="30561"/>
                            <a:pt x="125704" y="30561"/>
                          </a:cubicBezTo>
                          <a:cubicBezTo>
                            <a:pt x="125704" y="30561"/>
                            <a:pt x="125763" y="30561"/>
                            <a:pt x="125763" y="30621"/>
                          </a:cubicBezTo>
                          <a:cubicBezTo>
                            <a:pt x="125763" y="30681"/>
                            <a:pt x="125823" y="30621"/>
                            <a:pt x="125823" y="30681"/>
                          </a:cubicBezTo>
                          <a:lnTo>
                            <a:pt x="126062" y="29186"/>
                          </a:lnTo>
                          <a:cubicBezTo>
                            <a:pt x="126003" y="29186"/>
                            <a:pt x="125883" y="29186"/>
                            <a:pt x="125823" y="29126"/>
                          </a:cubicBezTo>
                          <a:cubicBezTo>
                            <a:pt x="125763" y="29126"/>
                            <a:pt x="125644" y="29066"/>
                            <a:pt x="125584" y="29066"/>
                          </a:cubicBezTo>
                          <a:cubicBezTo>
                            <a:pt x="125524" y="29066"/>
                            <a:pt x="125465" y="29006"/>
                            <a:pt x="125345" y="29006"/>
                          </a:cubicBezTo>
                          <a:cubicBezTo>
                            <a:pt x="125225" y="29006"/>
                            <a:pt x="125225" y="28946"/>
                            <a:pt x="125165" y="28887"/>
                          </a:cubicBezTo>
                          <a:lnTo>
                            <a:pt x="124986" y="30023"/>
                          </a:lnTo>
                          <a:cubicBezTo>
                            <a:pt x="125046" y="30083"/>
                            <a:pt x="125106" y="30083"/>
                            <a:pt x="125106" y="30143"/>
                          </a:cubicBezTo>
                          <a:cubicBezTo>
                            <a:pt x="125165" y="30203"/>
                            <a:pt x="125225" y="30203"/>
                            <a:pt x="125225" y="30262"/>
                          </a:cubicBezTo>
                          <a:cubicBezTo>
                            <a:pt x="125285" y="30322"/>
                            <a:pt x="125345" y="30322"/>
                            <a:pt x="125345" y="30382"/>
                          </a:cubicBezTo>
                          <a:cubicBezTo>
                            <a:pt x="125345" y="30442"/>
                            <a:pt x="125584" y="30502"/>
                            <a:pt x="125584" y="30502"/>
                          </a:cubicBezTo>
                          <a:moveTo>
                            <a:pt x="123311" y="33432"/>
                          </a:moveTo>
                          <a:cubicBezTo>
                            <a:pt x="123371" y="33492"/>
                            <a:pt x="123371" y="33492"/>
                            <a:pt x="123431" y="33552"/>
                          </a:cubicBezTo>
                          <a:cubicBezTo>
                            <a:pt x="123491" y="33612"/>
                            <a:pt x="123491" y="33612"/>
                            <a:pt x="123551" y="33671"/>
                          </a:cubicBezTo>
                          <a:cubicBezTo>
                            <a:pt x="123611" y="33731"/>
                            <a:pt x="123670" y="33731"/>
                            <a:pt x="123670" y="33791"/>
                          </a:cubicBezTo>
                          <a:cubicBezTo>
                            <a:pt x="123730" y="33851"/>
                            <a:pt x="123790" y="33851"/>
                            <a:pt x="123790" y="33911"/>
                          </a:cubicBezTo>
                          <a:lnTo>
                            <a:pt x="124866" y="33791"/>
                          </a:lnTo>
                          <a:lnTo>
                            <a:pt x="125345" y="33731"/>
                          </a:lnTo>
                          <a:lnTo>
                            <a:pt x="125584" y="32236"/>
                          </a:lnTo>
                          <a:cubicBezTo>
                            <a:pt x="125524" y="32176"/>
                            <a:pt x="125465" y="32116"/>
                            <a:pt x="125345" y="32116"/>
                          </a:cubicBezTo>
                          <a:cubicBezTo>
                            <a:pt x="125285" y="32057"/>
                            <a:pt x="125225" y="31997"/>
                            <a:pt x="125165" y="31997"/>
                          </a:cubicBezTo>
                          <a:cubicBezTo>
                            <a:pt x="125106" y="31997"/>
                            <a:pt x="125046" y="31877"/>
                            <a:pt x="124986" y="31877"/>
                          </a:cubicBezTo>
                          <a:cubicBezTo>
                            <a:pt x="124926" y="31817"/>
                            <a:pt x="124866" y="31758"/>
                            <a:pt x="124806" y="31698"/>
                          </a:cubicBezTo>
                          <a:lnTo>
                            <a:pt x="124627" y="32894"/>
                          </a:lnTo>
                          <a:lnTo>
                            <a:pt x="122713" y="33073"/>
                          </a:lnTo>
                          <a:cubicBezTo>
                            <a:pt x="122773" y="33133"/>
                            <a:pt x="122833" y="33133"/>
                            <a:pt x="122833" y="33193"/>
                          </a:cubicBezTo>
                          <a:cubicBezTo>
                            <a:pt x="122833" y="33253"/>
                            <a:pt x="122952" y="33253"/>
                            <a:pt x="122952" y="33313"/>
                          </a:cubicBezTo>
                          <a:cubicBezTo>
                            <a:pt x="123012" y="33372"/>
                            <a:pt x="123072" y="33372"/>
                            <a:pt x="123072" y="33432"/>
                          </a:cubicBezTo>
                          <a:cubicBezTo>
                            <a:pt x="123192" y="33372"/>
                            <a:pt x="123252" y="33372"/>
                            <a:pt x="123311" y="33432"/>
                          </a:cubicBezTo>
                          <a:moveTo>
                            <a:pt x="5491" y="42044"/>
                          </a:moveTo>
                          <a:cubicBezTo>
                            <a:pt x="6149" y="42523"/>
                            <a:pt x="6867" y="42942"/>
                            <a:pt x="7584" y="43300"/>
                          </a:cubicBezTo>
                          <a:cubicBezTo>
                            <a:pt x="8302" y="43659"/>
                            <a:pt x="9139" y="43958"/>
                            <a:pt x="9917" y="44138"/>
                          </a:cubicBezTo>
                          <a:cubicBezTo>
                            <a:pt x="10754" y="44377"/>
                            <a:pt x="11591" y="44497"/>
                            <a:pt x="12489" y="44556"/>
                          </a:cubicBezTo>
                          <a:cubicBezTo>
                            <a:pt x="13385" y="44616"/>
                            <a:pt x="14283" y="44616"/>
                            <a:pt x="15240" y="44497"/>
                          </a:cubicBezTo>
                          <a:lnTo>
                            <a:pt x="26603" y="43360"/>
                          </a:lnTo>
                          <a:lnTo>
                            <a:pt x="28337" y="43181"/>
                          </a:lnTo>
                          <a:lnTo>
                            <a:pt x="32464" y="42762"/>
                          </a:lnTo>
                          <a:lnTo>
                            <a:pt x="33720" y="42643"/>
                          </a:lnTo>
                          <a:lnTo>
                            <a:pt x="122235" y="33911"/>
                          </a:lnTo>
                          <a:cubicBezTo>
                            <a:pt x="122175" y="33851"/>
                            <a:pt x="122055" y="33791"/>
                            <a:pt x="121996" y="33671"/>
                          </a:cubicBezTo>
                          <a:cubicBezTo>
                            <a:pt x="121936" y="33552"/>
                            <a:pt x="121816" y="33552"/>
                            <a:pt x="121756" y="33432"/>
                          </a:cubicBezTo>
                          <a:cubicBezTo>
                            <a:pt x="121697" y="33372"/>
                            <a:pt x="121577" y="33253"/>
                            <a:pt x="121517" y="33193"/>
                          </a:cubicBezTo>
                          <a:cubicBezTo>
                            <a:pt x="121457" y="33133"/>
                            <a:pt x="121338" y="33013"/>
                            <a:pt x="121278" y="32954"/>
                          </a:cubicBezTo>
                          <a:lnTo>
                            <a:pt x="34557" y="41446"/>
                          </a:lnTo>
                          <a:lnTo>
                            <a:pt x="33301" y="41566"/>
                          </a:lnTo>
                          <a:lnTo>
                            <a:pt x="29653" y="41925"/>
                          </a:lnTo>
                          <a:lnTo>
                            <a:pt x="28098" y="42104"/>
                          </a:lnTo>
                          <a:lnTo>
                            <a:pt x="15359" y="43360"/>
                          </a:lnTo>
                          <a:cubicBezTo>
                            <a:pt x="14462" y="43420"/>
                            <a:pt x="13625" y="43480"/>
                            <a:pt x="12788" y="43420"/>
                          </a:cubicBezTo>
                          <a:cubicBezTo>
                            <a:pt x="11950" y="43360"/>
                            <a:pt x="11173" y="43240"/>
                            <a:pt x="10395" y="43001"/>
                          </a:cubicBezTo>
                          <a:cubicBezTo>
                            <a:pt x="9618" y="42822"/>
                            <a:pt x="8900" y="42523"/>
                            <a:pt x="8182" y="42224"/>
                          </a:cubicBezTo>
                          <a:cubicBezTo>
                            <a:pt x="7465" y="41925"/>
                            <a:pt x="6807" y="41506"/>
                            <a:pt x="6209" y="41088"/>
                          </a:cubicBezTo>
                          <a:cubicBezTo>
                            <a:pt x="5312" y="40430"/>
                            <a:pt x="4534" y="39652"/>
                            <a:pt x="3816" y="38815"/>
                          </a:cubicBezTo>
                          <a:cubicBezTo>
                            <a:pt x="3159" y="37918"/>
                            <a:pt x="2560" y="36961"/>
                            <a:pt x="2142" y="35884"/>
                          </a:cubicBezTo>
                          <a:cubicBezTo>
                            <a:pt x="1723" y="34808"/>
                            <a:pt x="1365" y="33671"/>
                            <a:pt x="1245" y="32415"/>
                          </a:cubicBezTo>
                          <a:cubicBezTo>
                            <a:pt x="1065" y="31219"/>
                            <a:pt x="1065" y="29904"/>
                            <a:pt x="1245" y="28528"/>
                          </a:cubicBezTo>
                          <a:cubicBezTo>
                            <a:pt x="1365" y="27451"/>
                            <a:pt x="1604" y="26315"/>
                            <a:pt x="1903" y="25238"/>
                          </a:cubicBezTo>
                          <a:cubicBezTo>
                            <a:pt x="2202" y="24162"/>
                            <a:pt x="2620" y="23085"/>
                            <a:pt x="3159" y="22069"/>
                          </a:cubicBezTo>
                          <a:cubicBezTo>
                            <a:pt x="3697" y="21052"/>
                            <a:pt x="4295" y="20035"/>
                            <a:pt x="4953" y="19079"/>
                          </a:cubicBezTo>
                          <a:cubicBezTo>
                            <a:pt x="5611" y="18121"/>
                            <a:pt x="6388" y="17225"/>
                            <a:pt x="7226" y="16387"/>
                          </a:cubicBezTo>
                          <a:cubicBezTo>
                            <a:pt x="8063" y="15550"/>
                            <a:pt x="8960" y="14772"/>
                            <a:pt x="9917" y="14114"/>
                          </a:cubicBezTo>
                          <a:cubicBezTo>
                            <a:pt x="10874" y="13457"/>
                            <a:pt x="11831" y="12858"/>
                            <a:pt x="12847" y="12380"/>
                          </a:cubicBezTo>
                          <a:cubicBezTo>
                            <a:pt x="13864" y="11902"/>
                            <a:pt x="14881" y="11483"/>
                            <a:pt x="15958" y="11184"/>
                          </a:cubicBezTo>
                          <a:cubicBezTo>
                            <a:pt x="17034" y="10885"/>
                            <a:pt x="18051" y="10705"/>
                            <a:pt x="19127" y="10586"/>
                          </a:cubicBezTo>
                          <a:lnTo>
                            <a:pt x="30670" y="9569"/>
                          </a:lnTo>
                          <a:lnTo>
                            <a:pt x="32404" y="9390"/>
                          </a:lnTo>
                          <a:lnTo>
                            <a:pt x="36232" y="9031"/>
                          </a:lnTo>
                          <a:lnTo>
                            <a:pt x="37608" y="8911"/>
                          </a:lnTo>
                          <a:lnTo>
                            <a:pt x="125883" y="1196"/>
                          </a:lnTo>
                          <a:cubicBezTo>
                            <a:pt x="126003" y="1076"/>
                            <a:pt x="126122" y="1017"/>
                            <a:pt x="126182" y="897"/>
                          </a:cubicBezTo>
                          <a:cubicBezTo>
                            <a:pt x="126242" y="778"/>
                            <a:pt x="126421" y="718"/>
                            <a:pt x="126481" y="598"/>
                          </a:cubicBezTo>
                          <a:cubicBezTo>
                            <a:pt x="126601" y="478"/>
                            <a:pt x="126720" y="419"/>
                            <a:pt x="126780" y="299"/>
                          </a:cubicBezTo>
                          <a:cubicBezTo>
                            <a:pt x="126900" y="179"/>
                            <a:pt x="127019" y="119"/>
                            <a:pt x="127079" y="0"/>
                          </a:cubicBezTo>
                          <a:lnTo>
                            <a:pt x="36651" y="7835"/>
                          </a:lnTo>
                          <a:lnTo>
                            <a:pt x="35155" y="7954"/>
                          </a:lnTo>
                          <a:lnTo>
                            <a:pt x="31029" y="8313"/>
                          </a:lnTo>
                          <a:lnTo>
                            <a:pt x="29055" y="8493"/>
                          </a:lnTo>
                          <a:lnTo>
                            <a:pt x="19187" y="9330"/>
                          </a:lnTo>
                          <a:cubicBezTo>
                            <a:pt x="18051" y="9449"/>
                            <a:pt x="16914" y="9629"/>
                            <a:pt x="15778" y="9928"/>
                          </a:cubicBezTo>
                          <a:cubicBezTo>
                            <a:pt x="14642" y="10227"/>
                            <a:pt x="13565" y="10645"/>
                            <a:pt x="12489" y="11184"/>
                          </a:cubicBezTo>
                          <a:cubicBezTo>
                            <a:pt x="11412" y="11722"/>
                            <a:pt x="10395" y="12320"/>
                            <a:pt x="9378" y="13038"/>
                          </a:cubicBezTo>
                          <a:cubicBezTo>
                            <a:pt x="8362" y="13756"/>
                            <a:pt x="7405" y="14593"/>
                            <a:pt x="6508" y="15490"/>
                          </a:cubicBezTo>
                          <a:cubicBezTo>
                            <a:pt x="5611" y="16387"/>
                            <a:pt x="4774" y="17344"/>
                            <a:pt x="4056" y="18361"/>
                          </a:cubicBezTo>
                          <a:cubicBezTo>
                            <a:pt x="3338" y="19377"/>
                            <a:pt x="2680" y="20454"/>
                            <a:pt x="2142" y="21530"/>
                          </a:cubicBezTo>
                          <a:cubicBezTo>
                            <a:pt x="1604" y="22607"/>
                            <a:pt x="1185" y="23743"/>
                            <a:pt x="826" y="24880"/>
                          </a:cubicBezTo>
                          <a:cubicBezTo>
                            <a:pt x="467" y="26016"/>
                            <a:pt x="228" y="27212"/>
                            <a:pt x="108" y="28349"/>
                          </a:cubicBezTo>
                          <a:cubicBezTo>
                            <a:pt x="-71" y="29784"/>
                            <a:pt x="-11" y="31159"/>
                            <a:pt x="168" y="32475"/>
                          </a:cubicBezTo>
                          <a:cubicBezTo>
                            <a:pt x="348" y="33791"/>
                            <a:pt x="647" y="34987"/>
                            <a:pt x="1125" y="36123"/>
                          </a:cubicBezTo>
                          <a:cubicBezTo>
                            <a:pt x="1604" y="37260"/>
                            <a:pt x="2202" y="38276"/>
                            <a:pt x="2919" y="39234"/>
                          </a:cubicBezTo>
                          <a:cubicBezTo>
                            <a:pt x="3697" y="40549"/>
                            <a:pt x="4534" y="41386"/>
                            <a:pt x="5491" y="42044"/>
                          </a:cubicBezTo>
                        </a:path>
                      </a:pathLst>
                    </a:custGeom>
                    <a:noFill/>
                    <a:ln w="6350" cap="flat">
                      <a:solidFill>
                        <a:schemeClr val="bg1">
                          <a:alpha val="80000"/>
                        </a:schemeClr>
                      </a:solidFill>
                      <a:prstDash val="solid"/>
                      <a:miter/>
                    </a:ln>
                  </p:spPr>
                  <p:txBody>
                    <a:bodyPr rtlCol="0" anchor="ctr"/>
                    <a:lstStyle/>
                    <a:p>
                      <a:endParaRPr lang="en-GB"/>
                    </a:p>
                  </p:txBody>
                </p:sp>
                <p:sp>
                  <p:nvSpPr>
                    <p:cNvPr id="7514" name="Vrije vorm: vorm 7513">
                      <a:extLst>
                        <a:ext uri="{FF2B5EF4-FFF2-40B4-BE49-F238E27FC236}">
                          <a16:creationId xmlns:a16="http://schemas.microsoft.com/office/drawing/2014/main" id="{5C02D9C0-874B-4140-BE63-9D433E45C27F}"/>
                        </a:ext>
                      </a:extLst>
                    </p:cNvPr>
                    <p:cNvSpPr/>
                    <p:nvPr/>
                  </p:nvSpPr>
                  <p:spPr>
                    <a:xfrm>
                      <a:off x="5098226" y="5210265"/>
                      <a:ext cx="112378" cy="22786"/>
                    </a:xfrm>
                    <a:custGeom>
                      <a:avLst/>
                      <a:gdLst>
                        <a:gd name="connsiteX0" fmla="*/ 111780 w 112378"/>
                        <a:gd name="connsiteY0" fmla="*/ 538 h 22786"/>
                        <a:gd name="connsiteX1" fmla="*/ 111899 w 112378"/>
                        <a:gd name="connsiteY1" fmla="*/ 598 h 22786"/>
                        <a:gd name="connsiteX2" fmla="*/ 112019 w 112378"/>
                        <a:gd name="connsiteY2" fmla="*/ 658 h 22786"/>
                        <a:gd name="connsiteX3" fmla="*/ 112139 w 112378"/>
                        <a:gd name="connsiteY3" fmla="*/ 718 h 22786"/>
                        <a:gd name="connsiteX4" fmla="*/ 112258 w 112378"/>
                        <a:gd name="connsiteY4" fmla="*/ 777 h 22786"/>
                        <a:gd name="connsiteX5" fmla="*/ 112378 w 112378"/>
                        <a:gd name="connsiteY5" fmla="*/ 0 h 22786"/>
                        <a:gd name="connsiteX6" fmla="*/ 111421 w 112378"/>
                        <a:gd name="connsiteY6" fmla="*/ 60 h 22786"/>
                        <a:gd name="connsiteX7" fmla="*/ 111361 w 112378"/>
                        <a:gd name="connsiteY7" fmla="*/ 60 h 22786"/>
                        <a:gd name="connsiteX8" fmla="*/ 111421 w 112378"/>
                        <a:gd name="connsiteY8" fmla="*/ 119 h 22786"/>
                        <a:gd name="connsiteX9" fmla="*/ 111481 w 112378"/>
                        <a:gd name="connsiteY9" fmla="*/ 179 h 22786"/>
                        <a:gd name="connsiteX10" fmla="*/ 111541 w 112378"/>
                        <a:gd name="connsiteY10" fmla="*/ 239 h 22786"/>
                        <a:gd name="connsiteX11" fmla="*/ 111600 w 112378"/>
                        <a:gd name="connsiteY11" fmla="*/ 299 h 22786"/>
                        <a:gd name="connsiteX12" fmla="*/ 111780 w 112378"/>
                        <a:gd name="connsiteY12" fmla="*/ 538 h 22786"/>
                        <a:gd name="connsiteX13" fmla="*/ 107055 w 112378"/>
                        <a:gd name="connsiteY13" fmla="*/ 1435 h 22786"/>
                        <a:gd name="connsiteX14" fmla="*/ 110763 w 112378"/>
                        <a:gd name="connsiteY14" fmla="*/ 1076 h 22786"/>
                        <a:gd name="connsiteX15" fmla="*/ 110584 w 112378"/>
                        <a:gd name="connsiteY15" fmla="*/ 897 h 22786"/>
                        <a:gd name="connsiteX16" fmla="*/ 110464 w 112378"/>
                        <a:gd name="connsiteY16" fmla="*/ 658 h 22786"/>
                        <a:gd name="connsiteX17" fmla="*/ 110344 w 112378"/>
                        <a:gd name="connsiteY17" fmla="*/ 418 h 22786"/>
                        <a:gd name="connsiteX18" fmla="*/ 110285 w 112378"/>
                        <a:gd name="connsiteY18" fmla="*/ 179 h 22786"/>
                        <a:gd name="connsiteX19" fmla="*/ 107653 w 112378"/>
                        <a:gd name="connsiteY19" fmla="*/ 418 h 22786"/>
                        <a:gd name="connsiteX20" fmla="*/ 107474 w 112378"/>
                        <a:gd name="connsiteY20" fmla="*/ 658 h 22786"/>
                        <a:gd name="connsiteX21" fmla="*/ 107294 w 112378"/>
                        <a:gd name="connsiteY21" fmla="*/ 897 h 22786"/>
                        <a:gd name="connsiteX22" fmla="*/ 107174 w 112378"/>
                        <a:gd name="connsiteY22" fmla="*/ 1136 h 22786"/>
                        <a:gd name="connsiteX23" fmla="*/ 107055 w 112378"/>
                        <a:gd name="connsiteY23" fmla="*/ 1435 h 22786"/>
                        <a:gd name="connsiteX24" fmla="*/ 103586 w 112378"/>
                        <a:gd name="connsiteY24" fmla="*/ 1734 h 22786"/>
                        <a:gd name="connsiteX25" fmla="*/ 105799 w 112378"/>
                        <a:gd name="connsiteY25" fmla="*/ 1555 h 22786"/>
                        <a:gd name="connsiteX26" fmla="*/ 105919 w 112378"/>
                        <a:gd name="connsiteY26" fmla="*/ 1316 h 22786"/>
                        <a:gd name="connsiteX27" fmla="*/ 106038 w 112378"/>
                        <a:gd name="connsiteY27" fmla="*/ 1076 h 22786"/>
                        <a:gd name="connsiteX28" fmla="*/ 106158 w 112378"/>
                        <a:gd name="connsiteY28" fmla="*/ 837 h 22786"/>
                        <a:gd name="connsiteX29" fmla="*/ 106278 w 112378"/>
                        <a:gd name="connsiteY29" fmla="*/ 598 h 22786"/>
                        <a:gd name="connsiteX30" fmla="*/ 104005 w 112378"/>
                        <a:gd name="connsiteY30" fmla="*/ 777 h 22786"/>
                        <a:gd name="connsiteX31" fmla="*/ 103885 w 112378"/>
                        <a:gd name="connsiteY31" fmla="*/ 1017 h 22786"/>
                        <a:gd name="connsiteX32" fmla="*/ 103766 w 112378"/>
                        <a:gd name="connsiteY32" fmla="*/ 1256 h 22786"/>
                        <a:gd name="connsiteX33" fmla="*/ 103646 w 112378"/>
                        <a:gd name="connsiteY33" fmla="*/ 1495 h 22786"/>
                        <a:gd name="connsiteX34" fmla="*/ 103586 w 112378"/>
                        <a:gd name="connsiteY34" fmla="*/ 1734 h 22786"/>
                        <a:gd name="connsiteX35" fmla="*/ 104603 w 112378"/>
                        <a:gd name="connsiteY35" fmla="*/ 12918 h 22786"/>
                        <a:gd name="connsiteX36" fmla="*/ 109746 w 112378"/>
                        <a:gd name="connsiteY36" fmla="*/ 12440 h 22786"/>
                        <a:gd name="connsiteX37" fmla="*/ 110225 w 112378"/>
                        <a:gd name="connsiteY37" fmla="*/ 12380 h 22786"/>
                        <a:gd name="connsiteX38" fmla="*/ 110703 w 112378"/>
                        <a:gd name="connsiteY38" fmla="*/ 12320 h 22786"/>
                        <a:gd name="connsiteX39" fmla="*/ 110703 w 112378"/>
                        <a:gd name="connsiteY39" fmla="*/ 12320 h 22786"/>
                        <a:gd name="connsiteX40" fmla="*/ 112019 w 112378"/>
                        <a:gd name="connsiteY40" fmla="*/ 3050 h 22786"/>
                        <a:gd name="connsiteX41" fmla="*/ 112198 w 112378"/>
                        <a:gd name="connsiteY41" fmla="*/ 1794 h 22786"/>
                        <a:gd name="connsiteX42" fmla="*/ 111959 w 112378"/>
                        <a:gd name="connsiteY42" fmla="*/ 1734 h 22786"/>
                        <a:gd name="connsiteX43" fmla="*/ 111720 w 112378"/>
                        <a:gd name="connsiteY43" fmla="*/ 1674 h 22786"/>
                        <a:gd name="connsiteX44" fmla="*/ 111481 w 112378"/>
                        <a:gd name="connsiteY44" fmla="*/ 1555 h 22786"/>
                        <a:gd name="connsiteX45" fmla="*/ 111301 w 112378"/>
                        <a:gd name="connsiteY45" fmla="*/ 1435 h 22786"/>
                        <a:gd name="connsiteX46" fmla="*/ 110703 w 112378"/>
                        <a:gd name="connsiteY46" fmla="*/ 5681 h 22786"/>
                        <a:gd name="connsiteX47" fmla="*/ 111002 w 112378"/>
                        <a:gd name="connsiteY47" fmla="*/ 6100 h 22786"/>
                        <a:gd name="connsiteX48" fmla="*/ 111242 w 112378"/>
                        <a:gd name="connsiteY48" fmla="*/ 6639 h 22786"/>
                        <a:gd name="connsiteX49" fmla="*/ 111361 w 112378"/>
                        <a:gd name="connsiteY49" fmla="*/ 7236 h 22786"/>
                        <a:gd name="connsiteX50" fmla="*/ 111361 w 112378"/>
                        <a:gd name="connsiteY50" fmla="*/ 7894 h 22786"/>
                        <a:gd name="connsiteX51" fmla="*/ 111182 w 112378"/>
                        <a:gd name="connsiteY51" fmla="*/ 8552 h 22786"/>
                        <a:gd name="connsiteX52" fmla="*/ 110883 w 112378"/>
                        <a:gd name="connsiteY52" fmla="*/ 9150 h 22786"/>
                        <a:gd name="connsiteX53" fmla="*/ 110524 w 112378"/>
                        <a:gd name="connsiteY53" fmla="*/ 9689 h 22786"/>
                        <a:gd name="connsiteX54" fmla="*/ 110105 w 112378"/>
                        <a:gd name="connsiteY54" fmla="*/ 10167 h 22786"/>
                        <a:gd name="connsiteX55" fmla="*/ 109926 w 112378"/>
                        <a:gd name="connsiteY55" fmla="*/ 11303 h 22786"/>
                        <a:gd name="connsiteX56" fmla="*/ 104603 w 112378"/>
                        <a:gd name="connsiteY56" fmla="*/ 11782 h 22786"/>
                        <a:gd name="connsiteX57" fmla="*/ 104603 w 112378"/>
                        <a:gd name="connsiteY57" fmla="*/ 12021 h 22786"/>
                        <a:gd name="connsiteX58" fmla="*/ 104603 w 112378"/>
                        <a:gd name="connsiteY58" fmla="*/ 12260 h 22786"/>
                        <a:gd name="connsiteX59" fmla="*/ 104603 w 112378"/>
                        <a:gd name="connsiteY59" fmla="*/ 12500 h 22786"/>
                        <a:gd name="connsiteX60" fmla="*/ 104603 w 112378"/>
                        <a:gd name="connsiteY60" fmla="*/ 12918 h 22786"/>
                        <a:gd name="connsiteX61" fmla="*/ 101254 w 112378"/>
                        <a:gd name="connsiteY61" fmla="*/ 13277 h 22786"/>
                        <a:gd name="connsiteX62" fmla="*/ 103347 w 112378"/>
                        <a:gd name="connsiteY62" fmla="*/ 13097 h 22786"/>
                        <a:gd name="connsiteX63" fmla="*/ 103347 w 112378"/>
                        <a:gd name="connsiteY63" fmla="*/ 12858 h 22786"/>
                        <a:gd name="connsiteX64" fmla="*/ 103347 w 112378"/>
                        <a:gd name="connsiteY64" fmla="*/ 12619 h 22786"/>
                        <a:gd name="connsiteX65" fmla="*/ 103347 w 112378"/>
                        <a:gd name="connsiteY65" fmla="*/ 12380 h 22786"/>
                        <a:gd name="connsiteX66" fmla="*/ 103347 w 112378"/>
                        <a:gd name="connsiteY66" fmla="*/ 12141 h 22786"/>
                        <a:gd name="connsiteX67" fmla="*/ 101254 w 112378"/>
                        <a:gd name="connsiteY67" fmla="*/ 12320 h 22786"/>
                        <a:gd name="connsiteX68" fmla="*/ 101254 w 112378"/>
                        <a:gd name="connsiteY68" fmla="*/ 12559 h 22786"/>
                        <a:gd name="connsiteX69" fmla="*/ 101254 w 112378"/>
                        <a:gd name="connsiteY69" fmla="*/ 12798 h 22786"/>
                        <a:gd name="connsiteX70" fmla="*/ 101254 w 112378"/>
                        <a:gd name="connsiteY70" fmla="*/ 13038 h 22786"/>
                        <a:gd name="connsiteX71" fmla="*/ 101254 w 112378"/>
                        <a:gd name="connsiteY71" fmla="*/ 13277 h 22786"/>
                        <a:gd name="connsiteX72" fmla="*/ 6280 w 112378"/>
                        <a:gd name="connsiteY72" fmla="*/ 9509 h 22786"/>
                        <a:gd name="connsiteX73" fmla="*/ 6519 w 112378"/>
                        <a:gd name="connsiteY73" fmla="*/ 9629 h 22786"/>
                        <a:gd name="connsiteX74" fmla="*/ 6758 w 112378"/>
                        <a:gd name="connsiteY74" fmla="*/ 9748 h 22786"/>
                        <a:gd name="connsiteX75" fmla="*/ 6997 w 112378"/>
                        <a:gd name="connsiteY75" fmla="*/ 9868 h 22786"/>
                        <a:gd name="connsiteX76" fmla="*/ 7237 w 112378"/>
                        <a:gd name="connsiteY76" fmla="*/ 10048 h 22786"/>
                        <a:gd name="connsiteX77" fmla="*/ 7356 w 112378"/>
                        <a:gd name="connsiteY77" fmla="*/ 10167 h 22786"/>
                        <a:gd name="connsiteX78" fmla="*/ 7476 w 112378"/>
                        <a:gd name="connsiteY78" fmla="*/ 10287 h 22786"/>
                        <a:gd name="connsiteX79" fmla="*/ 7596 w 112378"/>
                        <a:gd name="connsiteY79" fmla="*/ 10406 h 22786"/>
                        <a:gd name="connsiteX80" fmla="*/ 7715 w 112378"/>
                        <a:gd name="connsiteY80" fmla="*/ 10526 h 22786"/>
                        <a:gd name="connsiteX81" fmla="*/ 20335 w 112378"/>
                        <a:gd name="connsiteY81" fmla="*/ 9389 h 22786"/>
                        <a:gd name="connsiteX82" fmla="*/ 21411 w 112378"/>
                        <a:gd name="connsiteY82" fmla="*/ 9270 h 22786"/>
                        <a:gd name="connsiteX83" fmla="*/ 24102 w 112378"/>
                        <a:gd name="connsiteY83" fmla="*/ 9031 h 22786"/>
                        <a:gd name="connsiteX84" fmla="*/ 25179 w 112378"/>
                        <a:gd name="connsiteY84" fmla="*/ 8911 h 22786"/>
                        <a:gd name="connsiteX85" fmla="*/ 102629 w 112378"/>
                        <a:gd name="connsiteY85" fmla="*/ 1914 h 22786"/>
                        <a:gd name="connsiteX86" fmla="*/ 102749 w 112378"/>
                        <a:gd name="connsiteY86" fmla="*/ 1674 h 22786"/>
                        <a:gd name="connsiteX87" fmla="*/ 102869 w 112378"/>
                        <a:gd name="connsiteY87" fmla="*/ 1435 h 22786"/>
                        <a:gd name="connsiteX88" fmla="*/ 102988 w 112378"/>
                        <a:gd name="connsiteY88" fmla="*/ 1196 h 22786"/>
                        <a:gd name="connsiteX89" fmla="*/ 103108 w 112378"/>
                        <a:gd name="connsiteY89" fmla="*/ 957 h 22786"/>
                        <a:gd name="connsiteX90" fmla="*/ 24940 w 112378"/>
                        <a:gd name="connsiteY90" fmla="*/ 7954 h 22786"/>
                        <a:gd name="connsiteX91" fmla="*/ 23863 w 112378"/>
                        <a:gd name="connsiteY91" fmla="*/ 8074 h 22786"/>
                        <a:gd name="connsiteX92" fmla="*/ 21112 w 112378"/>
                        <a:gd name="connsiteY92" fmla="*/ 8313 h 22786"/>
                        <a:gd name="connsiteX93" fmla="*/ 19976 w 112378"/>
                        <a:gd name="connsiteY93" fmla="*/ 8433 h 22786"/>
                        <a:gd name="connsiteX94" fmla="*/ 6280 w 112378"/>
                        <a:gd name="connsiteY94" fmla="*/ 9509 h 22786"/>
                        <a:gd name="connsiteX95" fmla="*/ 1375 w 112378"/>
                        <a:gd name="connsiteY95" fmla="*/ 11064 h 22786"/>
                        <a:gd name="connsiteX96" fmla="*/ 1375 w 112378"/>
                        <a:gd name="connsiteY96" fmla="*/ 11064 h 22786"/>
                        <a:gd name="connsiteX97" fmla="*/ 1495 w 112378"/>
                        <a:gd name="connsiteY97" fmla="*/ 11064 h 22786"/>
                        <a:gd name="connsiteX98" fmla="*/ 1555 w 112378"/>
                        <a:gd name="connsiteY98" fmla="*/ 11064 h 22786"/>
                        <a:gd name="connsiteX99" fmla="*/ 1615 w 112378"/>
                        <a:gd name="connsiteY99" fmla="*/ 11064 h 22786"/>
                        <a:gd name="connsiteX100" fmla="*/ 1794 w 112378"/>
                        <a:gd name="connsiteY100" fmla="*/ 11064 h 22786"/>
                        <a:gd name="connsiteX101" fmla="*/ 1974 w 112378"/>
                        <a:gd name="connsiteY101" fmla="*/ 11064 h 22786"/>
                        <a:gd name="connsiteX102" fmla="*/ 2153 w 112378"/>
                        <a:gd name="connsiteY102" fmla="*/ 11064 h 22786"/>
                        <a:gd name="connsiteX103" fmla="*/ 2333 w 112378"/>
                        <a:gd name="connsiteY103" fmla="*/ 11064 h 22786"/>
                        <a:gd name="connsiteX104" fmla="*/ 2333 w 112378"/>
                        <a:gd name="connsiteY104" fmla="*/ 10944 h 22786"/>
                        <a:gd name="connsiteX105" fmla="*/ 5861 w 112378"/>
                        <a:gd name="connsiteY105" fmla="*/ 10645 h 22786"/>
                        <a:gd name="connsiteX106" fmla="*/ 5263 w 112378"/>
                        <a:gd name="connsiteY106" fmla="*/ 10347 h 22786"/>
                        <a:gd name="connsiteX107" fmla="*/ 4665 w 112378"/>
                        <a:gd name="connsiteY107" fmla="*/ 10107 h 22786"/>
                        <a:gd name="connsiteX108" fmla="*/ 4007 w 112378"/>
                        <a:gd name="connsiteY108" fmla="*/ 9928 h 22786"/>
                        <a:gd name="connsiteX109" fmla="*/ 3349 w 112378"/>
                        <a:gd name="connsiteY109" fmla="*/ 9808 h 22786"/>
                        <a:gd name="connsiteX110" fmla="*/ 1974 w 112378"/>
                        <a:gd name="connsiteY110" fmla="*/ 9928 h 22786"/>
                        <a:gd name="connsiteX111" fmla="*/ 1495 w 112378"/>
                        <a:gd name="connsiteY111" fmla="*/ 9988 h 22786"/>
                        <a:gd name="connsiteX112" fmla="*/ 1375 w 112378"/>
                        <a:gd name="connsiteY112" fmla="*/ 11064 h 22786"/>
                        <a:gd name="connsiteX113" fmla="*/ 8373 w 112378"/>
                        <a:gd name="connsiteY113" fmla="*/ 22009 h 22786"/>
                        <a:gd name="connsiteX114" fmla="*/ 19916 w 112378"/>
                        <a:gd name="connsiteY114" fmla="*/ 20933 h 22786"/>
                        <a:gd name="connsiteX115" fmla="*/ 20933 w 112378"/>
                        <a:gd name="connsiteY115" fmla="*/ 20813 h 22786"/>
                        <a:gd name="connsiteX116" fmla="*/ 23504 w 112378"/>
                        <a:gd name="connsiteY116" fmla="*/ 20573 h 22786"/>
                        <a:gd name="connsiteX117" fmla="*/ 24521 w 112378"/>
                        <a:gd name="connsiteY117" fmla="*/ 20454 h 22786"/>
                        <a:gd name="connsiteX118" fmla="*/ 100297 w 112378"/>
                        <a:gd name="connsiteY118" fmla="*/ 13337 h 22786"/>
                        <a:gd name="connsiteX119" fmla="*/ 100297 w 112378"/>
                        <a:gd name="connsiteY119" fmla="*/ 13097 h 22786"/>
                        <a:gd name="connsiteX120" fmla="*/ 100297 w 112378"/>
                        <a:gd name="connsiteY120" fmla="*/ 12858 h 22786"/>
                        <a:gd name="connsiteX121" fmla="*/ 100297 w 112378"/>
                        <a:gd name="connsiteY121" fmla="*/ 12619 h 22786"/>
                        <a:gd name="connsiteX122" fmla="*/ 100297 w 112378"/>
                        <a:gd name="connsiteY122" fmla="*/ 12380 h 22786"/>
                        <a:gd name="connsiteX123" fmla="*/ 24820 w 112378"/>
                        <a:gd name="connsiteY123" fmla="*/ 19497 h 22786"/>
                        <a:gd name="connsiteX124" fmla="*/ 23803 w 112378"/>
                        <a:gd name="connsiteY124" fmla="*/ 19617 h 22786"/>
                        <a:gd name="connsiteX125" fmla="*/ 21231 w 112378"/>
                        <a:gd name="connsiteY125" fmla="*/ 19856 h 22786"/>
                        <a:gd name="connsiteX126" fmla="*/ 20215 w 112378"/>
                        <a:gd name="connsiteY126" fmla="*/ 19975 h 22786"/>
                        <a:gd name="connsiteX127" fmla="*/ 8971 w 112378"/>
                        <a:gd name="connsiteY127" fmla="*/ 21052 h 22786"/>
                        <a:gd name="connsiteX128" fmla="*/ 8851 w 112378"/>
                        <a:gd name="connsiteY128" fmla="*/ 21351 h 22786"/>
                        <a:gd name="connsiteX129" fmla="*/ 8732 w 112378"/>
                        <a:gd name="connsiteY129" fmla="*/ 21590 h 22786"/>
                        <a:gd name="connsiteX130" fmla="*/ 8612 w 112378"/>
                        <a:gd name="connsiteY130" fmla="*/ 21829 h 22786"/>
                        <a:gd name="connsiteX131" fmla="*/ 8373 w 112378"/>
                        <a:gd name="connsiteY131" fmla="*/ 22009 h 22786"/>
                        <a:gd name="connsiteX132" fmla="*/ 5682 w 112378"/>
                        <a:gd name="connsiteY132" fmla="*/ 22248 h 22786"/>
                        <a:gd name="connsiteX133" fmla="*/ 7177 w 112378"/>
                        <a:gd name="connsiteY133" fmla="*/ 22128 h 22786"/>
                        <a:gd name="connsiteX134" fmla="*/ 7356 w 112378"/>
                        <a:gd name="connsiteY134" fmla="*/ 21889 h 22786"/>
                        <a:gd name="connsiteX135" fmla="*/ 7536 w 112378"/>
                        <a:gd name="connsiteY135" fmla="*/ 21650 h 22786"/>
                        <a:gd name="connsiteX136" fmla="*/ 7715 w 112378"/>
                        <a:gd name="connsiteY136" fmla="*/ 21411 h 22786"/>
                        <a:gd name="connsiteX137" fmla="*/ 7895 w 112378"/>
                        <a:gd name="connsiteY137" fmla="*/ 21112 h 22786"/>
                        <a:gd name="connsiteX138" fmla="*/ 6519 w 112378"/>
                        <a:gd name="connsiteY138" fmla="*/ 21231 h 22786"/>
                        <a:gd name="connsiteX139" fmla="*/ 6340 w 112378"/>
                        <a:gd name="connsiteY139" fmla="*/ 21530 h 22786"/>
                        <a:gd name="connsiteX140" fmla="*/ 6160 w 112378"/>
                        <a:gd name="connsiteY140" fmla="*/ 21829 h 22786"/>
                        <a:gd name="connsiteX141" fmla="*/ 5981 w 112378"/>
                        <a:gd name="connsiteY141" fmla="*/ 22069 h 22786"/>
                        <a:gd name="connsiteX142" fmla="*/ 5682 w 112378"/>
                        <a:gd name="connsiteY142" fmla="*/ 22248 h 22786"/>
                        <a:gd name="connsiteX143" fmla="*/ 0 w 112378"/>
                        <a:gd name="connsiteY143" fmla="*/ 22787 h 22786"/>
                        <a:gd name="connsiteX144" fmla="*/ 4246 w 112378"/>
                        <a:gd name="connsiteY144" fmla="*/ 22368 h 22786"/>
                        <a:gd name="connsiteX145" fmla="*/ 4306 w 112378"/>
                        <a:gd name="connsiteY145" fmla="*/ 22308 h 22786"/>
                        <a:gd name="connsiteX146" fmla="*/ 4366 w 112378"/>
                        <a:gd name="connsiteY146" fmla="*/ 22248 h 22786"/>
                        <a:gd name="connsiteX147" fmla="*/ 4426 w 112378"/>
                        <a:gd name="connsiteY147" fmla="*/ 22188 h 22786"/>
                        <a:gd name="connsiteX148" fmla="*/ 4486 w 112378"/>
                        <a:gd name="connsiteY148" fmla="*/ 22128 h 22786"/>
                        <a:gd name="connsiteX149" fmla="*/ 4665 w 112378"/>
                        <a:gd name="connsiteY149" fmla="*/ 21889 h 22786"/>
                        <a:gd name="connsiteX150" fmla="*/ 4844 w 112378"/>
                        <a:gd name="connsiteY150" fmla="*/ 21650 h 22786"/>
                        <a:gd name="connsiteX151" fmla="*/ 5024 w 112378"/>
                        <a:gd name="connsiteY151" fmla="*/ 21411 h 22786"/>
                        <a:gd name="connsiteX152" fmla="*/ 5203 w 112378"/>
                        <a:gd name="connsiteY152" fmla="*/ 21172 h 22786"/>
                        <a:gd name="connsiteX153" fmla="*/ 1076 w 112378"/>
                        <a:gd name="connsiteY153" fmla="*/ 21530 h 22786"/>
                        <a:gd name="connsiteX154" fmla="*/ 2153 w 112378"/>
                        <a:gd name="connsiteY154" fmla="*/ 11902 h 22786"/>
                        <a:gd name="connsiteX155" fmla="*/ 1974 w 112378"/>
                        <a:gd name="connsiteY155" fmla="*/ 11902 h 22786"/>
                        <a:gd name="connsiteX156" fmla="*/ 1794 w 112378"/>
                        <a:gd name="connsiteY156" fmla="*/ 11902 h 22786"/>
                        <a:gd name="connsiteX157" fmla="*/ 1615 w 112378"/>
                        <a:gd name="connsiteY157" fmla="*/ 11902 h 22786"/>
                        <a:gd name="connsiteX158" fmla="*/ 1435 w 112378"/>
                        <a:gd name="connsiteY158" fmla="*/ 11902 h 22786"/>
                        <a:gd name="connsiteX159" fmla="*/ 1375 w 112378"/>
                        <a:gd name="connsiteY159" fmla="*/ 11902 h 22786"/>
                        <a:gd name="connsiteX160" fmla="*/ 1316 w 112378"/>
                        <a:gd name="connsiteY160" fmla="*/ 11902 h 22786"/>
                        <a:gd name="connsiteX161" fmla="*/ 1256 w 112378"/>
                        <a:gd name="connsiteY161" fmla="*/ 11902 h 22786"/>
                        <a:gd name="connsiteX162" fmla="*/ 1196 w 112378"/>
                        <a:gd name="connsiteY162" fmla="*/ 11902 h 22786"/>
                        <a:gd name="connsiteX163" fmla="*/ 0 w 112378"/>
                        <a:gd name="connsiteY163" fmla="*/ 22787 h 2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2378" h="22786">
                          <a:moveTo>
                            <a:pt x="111780" y="538"/>
                          </a:moveTo>
                          <a:cubicBezTo>
                            <a:pt x="111840" y="598"/>
                            <a:pt x="111840" y="598"/>
                            <a:pt x="111899" y="598"/>
                          </a:cubicBezTo>
                          <a:cubicBezTo>
                            <a:pt x="111959" y="598"/>
                            <a:pt x="111959" y="658"/>
                            <a:pt x="112019" y="658"/>
                          </a:cubicBezTo>
                          <a:cubicBezTo>
                            <a:pt x="112079" y="658"/>
                            <a:pt x="112079" y="718"/>
                            <a:pt x="112139" y="718"/>
                          </a:cubicBezTo>
                          <a:cubicBezTo>
                            <a:pt x="112198" y="718"/>
                            <a:pt x="112258" y="777"/>
                            <a:pt x="112258" y="777"/>
                          </a:cubicBezTo>
                          <a:lnTo>
                            <a:pt x="112378" y="0"/>
                          </a:lnTo>
                          <a:lnTo>
                            <a:pt x="111421" y="60"/>
                          </a:lnTo>
                          <a:lnTo>
                            <a:pt x="111361" y="60"/>
                          </a:lnTo>
                          <a:cubicBezTo>
                            <a:pt x="111361" y="60"/>
                            <a:pt x="111361" y="119"/>
                            <a:pt x="111421" y="119"/>
                          </a:cubicBezTo>
                          <a:cubicBezTo>
                            <a:pt x="111421" y="119"/>
                            <a:pt x="111421" y="179"/>
                            <a:pt x="111481" y="179"/>
                          </a:cubicBezTo>
                          <a:cubicBezTo>
                            <a:pt x="111541" y="179"/>
                            <a:pt x="111541" y="239"/>
                            <a:pt x="111541" y="239"/>
                          </a:cubicBezTo>
                          <a:cubicBezTo>
                            <a:pt x="111541" y="239"/>
                            <a:pt x="111600" y="299"/>
                            <a:pt x="111600" y="299"/>
                          </a:cubicBezTo>
                          <a:lnTo>
                            <a:pt x="111780" y="538"/>
                          </a:lnTo>
                          <a:moveTo>
                            <a:pt x="107055" y="1435"/>
                          </a:moveTo>
                          <a:lnTo>
                            <a:pt x="110763" y="1076"/>
                          </a:lnTo>
                          <a:cubicBezTo>
                            <a:pt x="110703" y="1017"/>
                            <a:pt x="110643" y="957"/>
                            <a:pt x="110584" y="897"/>
                          </a:cubicBezTo>
                          <a:cubicBezTo>
                            <a:pt x="110524" y="837"/>
                            <a:pt x="110464" y="777"/>
                            <a:pt x="110464" y="658"/>
                          </a:cubicBezTo>
                          <a:cubicBezTo>
                            <a:pt x="110404" y="598"/>
                            <a:pt x="110404" y="478"/>
                            <a:pt x="110344" y="418"/>
                          </a:cubicBezTo>
                          <a:cubicBezTo>
                            <a:pt x="110285" y="359"/>
                            <a:pt x="110285" y="239"/>
                            <a:pt x="110285" y="179"/>
                          </a:cubicBezTo>
                          <a:lnTo>
                            <a:pt x="107653" y="418"/>
                          </a:lnTo>
                          <a:cubicBezTo>
                            <a:pt x="107593" y="478"/>
                            <a:pt x="107533" y="598"/>
                            <a:pt x="107474" y="658"/>
                          </a:cubicBezTo>
                          <a:cubicBezTo>
                            <a:pt x="107414" y="718"/>
                            <a:pt x="107354" y="837"/>
                            <a:pt x="107294" y="897"/>
                          </a:cubicBezTo>
                          <a:cubicBezTo>
                            <a:pt x="107234" y="957"/>
                            <a:pt x="107174" y="1076"/>
                            <a:pt x="107174" y="1136"/>
                          </a:cubicBezTo>
                          <a:cubicBezTo>
                            <a:pt x="107174" y="1256"/>
                            <a:pt x="107115" y="1375"/>
                            <a:pt x="107055" y="1435"/>
                          </a:cubicBezTo>
                          <a:moveTo>
                            <a:pt x="103586" y="1734"/>
                          </a:moveTo>
                          <a:lnTo>
                            <a:pt x="105799" y="1555"/>
                          </a:lnTo>
                          <a:cubicBezTo>
                            <a:pt x="105859" y="1495"/>
                            <a:pt x="105859" y="1375"/>
                            <a:pt x="105919" y="1316"/>
                          </a:cubicBezTo>
                          <a:cubicBezTo>
                            <a:pt x="105979" y="1256"/>
                            <a:pt x="106038" y="1136"/>
                            <a:pt x="106038" y="1076"/>
                          </a:cubicBezTo>
                          <a:cubicBezTo>
                            <a:pt x="106038" y="1017"/>
                            <a:pt x="106158" y="897"/>
                            <a:pt x="106158" y="837"/>
                          </a:cubicBezTo>
                          <a:cubicBezTo>
                            <a:pt x="106158" y="777"/>
                            <a:pt x="106278" y="658"/>
                            <a:pt x="106278" y="598"/>
                          </a:cubicBezTo>
                          <a:lnTo>
                            <a:pt x="104005" y="777"/>
                          </a:lnTo>
                          <a:cubicBezTo>
                            <a:pt x="103945" y="837"/>
                            <a:pt x="103945" y="957"/>
                            <a:pt x="103885" y="1017"/>
                          </a:cubicBezTo>
                          <a:cubicBezTo>
                            <a:pt x="103825" y="1076"/>
                            <a:pt x="103825" y="1196"/>
                            <a:pt x="103766" y="1256"/>
                          </a:cubicBezTo>
                          <a:cubicBezTo>
                            <a:pt x="103706" y="1316"/>
                            <a:pt x="103706" y="1435"/>
                            <a:pt x="103646" y="1495"/>
                          </a:cubicBezTo>
                          <a:cubicBezTo>
                            <a:pt x="103586" y="1555"/>
                            <a:pt x="103646" y="1674"/>
                            <a:pt x="103586" y="1734"/>
                          </a:cubicBezTo>
                          <a:moveTo>
                            <a:pt x="104603" y="12918"/>
                          </a:moveTo>
                          <a:lnTo>
                            <a:pt x="109746" y="12440"/>
                          </a:lnTo>
                          <a:lnTo>
                            <a:pt x="110225" y="12380"/>
                          </a:lnTo>
                          <a:lnTo>
                            <a:pt x="110703" y="12320"/>
                          </a:lnTo>
                          <a:lnTo>
                            <a:pt x="110703" y="12320"/>
                          </a:lnTo>
                          <a:lnTo>
                            <a:pt x="112019" y="3050"/>
                          </a:lnTo>
                          <a:lnTo>
                            <a:pt x="112198" y="1794"/>
                          </a:lnTo>
                          <a:cubicBezTo>
                            <a:pt x="112139" y="1794"/>
                            <a:pt x="112019" y="1794"/>
                            <a:pt x="111959" y="1734"/>
                          </a:cubicBezTo>
                          <a:cubicBezTo>
                            <a:pt x="111899" y="1674"/>
                            <a:pt x="111780" y="1674"/>
                            <a:pt x="111720" y="1674"/>
                          </a:cubicBezTo>
                          <a:cubicBezTo>
                            <a:pt x="111660" y="1674"/>
                            <a:pt x="111600" y="1615"/>
                            <a:pt x="111481" y="1555"/>
                          </a:cubicBezTo>
                          <a:cubicBezTo>
                            <a:pt x="111361" y="1495"/>
                            <a:pt x="111361" y="1495"/>
                            <a:pt x="111301" y="1435"/>
                          </a:cubicBezTo>
                          <a:lnTo>
                            <a:pt x="110703" y="5681"/>
                          </a:lnTo>
                          <a:cubicBezTo>
                            <a:pt x="110823" y="5801"/>
                            <a:pt x="110942" y="5981"/>
                            <a:pt x="111002" y="6100"/>
                          </a:cubicBezTo>
                          <a:cubicBezTo>
                            <a:pt x="111122" y="6280"/>
                            <a:pt x="111182" y="6459"/>
                            <a:pt x="111242" y="6639"/>
                          </a:cubicBezTo>
                          <a:cubicBezTo>
                            <a:pt x="111301" y="6818"/>
                            <a:pt x="111301" y="6997"/>
                            <a:pt x="111361" y="7236"/>
                          </a:cubicBezTo>
                          <a:cubicBezTo>
                            <a:pt x="111361" y="7416"/>
                            <a:pt x="111361" y="7655"/>
                            <a:pt x="111361" y="7894"/>
                          </a:cubicBezTo>
                          <a:cubicBezTo>
                            <a:pt x="111301" y="8134"/>
                            <a:pt x="111301" y="8313"/>
                            <a:pt x="111182" y="8552"/>
                          </a:cubicBezTo>
                          <a:cubicBezTo>
                            <a:pt x="111122" y="8791"/>
                            <a:pt x="111002" y="8971"/>
                            <a:pt x="110883" y="9150"/>
                          </a:cubicBezTo>
                          <a:cubicBezTo>
                            <a:pt x="110763" y="9330"/>
                            <a:pt x="110643" y="9569"/>
                            <a:pt x="110524" y="9689"/>
                          </a:cubicBezTo>
                          <a:cubicBezTo>
                            <a:pt x="110404" y="9808"/>
                            <a:pt x="110225" y="10048"/>
                            <a:pt x="110105" y="10167"/>
                          </a:cubicBezTo>
                          <a:lnTo>
                            <a:pt x="109926" y="11303"/>
                          </a:lnTo>
                          <a:lnTo>
                            <a:pt x="104603" y="11782"/>
                          </a:lnTo>
                          <a:cubicBezTo>
                            <a:pt x="104603" y="11842"/>
                            <a:pt x="104603" y="11961"/>
                            <a:pt x="104603" y="12021"/>
                          </a:cubicBezTo>
                          <a:cubicBezTo>
                            <a:pt x="104603" y="12081"/>
                            <a:pt x="104603" y="12201"/>
                            <a:pt x="104603" y="12260"/>
                          </a:cubicBezTo>
                          <a:cubicBezTo>
                            <a:pt x="104603" y="12320"/>
                            <a:pt x="104603" y="12440"/>
                            <a:pt x="104603" y="12500"/>
                          </a:cubicBezTo>
                          <a:cubicBezTo>
                            <a:pt x="104603" y="12559"/>
                            <a:pt x="104603" y="12858"/>
                            <a:pt x="104603" y="12918"/>
                          </a:cubicBezTo>
                          <a:moveTo>
                            <a:pt x="101254" y="13277"/>
                          </a:moveTo>
                          <a:lnTo>
                            <a:pt x="103347" y="13097"/>
                          </a:lnTo>
                          <a:cubicBezTo>
                            <a:pt x="103347" y="13038"/>
                            <a:pt x="103347" y="12918"/>
                            <a:pt x="103347" y="12858"/>
                          </a:cubicBezTo>
                          <a:cubicBezTo>
                            <a:pt x="103347" y="12798"/>
                            <a:pt x="103347" y="12679"/>
                            <a:pt x="103347" y="12619"/>
                          </a:cubicBezTo>
                          <a:cubicBezTo>
                            <a:pt x="103347" y="12559"/>
                            <a:pt x="103347" y="12440"/>
                            <a:pt x="103347" y="12380"/>
                          </a:cubicBezTo>
                          <a:cubicBezTo>
                            <a:pt x="103347" y="12320"/>
                            <a:pt x="103347" y="12201"/>
                            <a:pt x="103347" y="12141"/>
                          </a:cubicBezTo>
                          <a:lnTo>
                            <a:pt x="101254" y="12320"/>
                          </a:lnTo>
                          <a:cubicBezTo>
                            <a:pt x="101254" y="12380"/>
                            <a:pt x="101254" y="12500"/>
                            <a:pt x="101254" y="12559"/>
                          </a:cubicBezTo>
                          <a:cubicBezTo>
                            <a:pt x="101254" y="12619"/>
                            <a:pt x="101254" y="12739"/>
                            <a:pt x="101254" y="12798"/>
                          </a:cubicBezTo>
                          <a:cubicBezTo>
                            <a:pt x="101254" y="12858"/>
                            <a:pt x="101254" y="12978"/>
                            <a:pt x="101254" y="13038"/>
                          </a:cubicBezTo>
                          <a:cubicBezTo>
                            <a:pt x="101254" y="13097"/>
                            <a:pt x="101254" y="13157"/>
                            <a:pt x="101254" y="13277"/>
                          </a:cubicBezTo>
                          <a:moveTo>
                            <a:pt x="6280" y="9509"/>
                          </a:moveTo>
                          <a:cubicBezTo>
                            <a:pt x="6340" y="9569"/>
                            <a:pt x="6459" y="9569"/>
                            <a:pt x="6519" y="9629"/>
                          </a:cubicBezTo>
                          <a:cubicBezTo>
                            <a:pt x="6579" y="9689"/>
                            <a:pt x="6698" y="9748"/>
                            <a:pt x="6758" y="9748"/>
                          </a:cubicBezTo>
                          <a:cubicBezTo>
                            <a:pt x="6818" y="9748"/>
                            <a:pt x="6878" y="9868"/>
                            <a:pt x="6997" y="9868"/>
                          </a:cubicBezTo>
                          <a:cubicBezTo>
                            <a:pt x="7057" y="9928"/>
                            <a:pt x="7117" y="9988"/>
                            <a:pt x="7237" y="10048"/>
                          </a:cubicBezTo>
                          <a:cubicBezTo>
                            <a:pt x="7297" y="10048"/>
                            <a:pt x="7297" y="10107"/>
                            <a:pt x="7356" y="10167"/>
                          </a:cubicBezTo>
                          <a:cubicBezTo>
                            <a:pt x="7416" y="10227"/>
                            <a:pt x="7416" y="10227"/>
                            <a:pt x="7476" y="10287"/>
                          </a:cubicBezTo>
                          <a:cubicBezTo>
                            <a:pt x="7536" y="10347"/>
                            <a:pt x="7536" y="10347"/>
                            <a:pt x="7596" y="10406"/>
                          </a:cubicBezTo>
                          <a:cubicBezTo>
                            <a:pt x="7656" y="10466"/>
                            <a:pt x="7656" y="10466"/>
                            <a:pt x="7715" y="10526"/>
                          </a:cubicBezTo>
                          <a:lnTo>
                            <a:pt x="20335" y="9389"/>
                          </a:lnTo>
                          <a:lnTo>
                            <a:pt x="21411" y="9270"/>
                          </a:lnTo>
                          <a:lnTo>
                            <a:pt x="24102" y="9031"/>
                          </a:lnTo>
                          <a:lnTo>
                            <a:pt x="25179" y="8911"/>
                          </a:lnTo>
                          <a:lnTo>
                            <a:pt x="102629" y="1914"/>
                          </a:lnTo>
                          <a:cubicBezTo>
                            <a:pt x="102689" y="1854"/>
                            <a:pt x="102689" y="1734"/>
                            <a:pt x="102749" y="1674"/>
                          </a:cubicBezTo>
                          <a:cubicBezTo>
                            <a:pt x="102809" y="1615"/>
                            <a:pt x="102809" y="1495"/>
                            <a:pt x="102869" y="1435"/>
                          </a:cubicBezTo>
                          <a:cubicBezTo>
                            <a:pt x="102928" y="1375"/>
                            <a:pt x="102928" y="1256"/>
                            <a:pt x="102988" y="1196"/>
                          </a:cubicBezTo>
                          <a:cubicBezTo>
                            <a:pt x="103048" y="1136"/>
                            <a:pt x="103048" y="1017"/>
                            <a:pt x="103108" y="957"/>
                          </a:cubicBezTo>
                          <a:lnTo>
                            <a:pt x="24940" y="7954"/>
                          </a:lnTo>
                          <a:lnTo>
                            <a:pt x="23863" y="8074"/>
                          </a:lnTo>
                          <a:lnTo>
                            <a:pt x="21112" y="8313"/>
                          </a:lnTo>
                          <a:lnTo>
                            <a:pt x="19976" y="8433"/>
                          </a:lnTo>
                          <a:lnTo>
                            <a:pt x="6280" y="9509"/>
                          </a:lnTo>
                          <a:moveTo>
                            <a:pt x="1375" y="11064"/>
                          </a:moveTo>
                          <a:cubicBezTo>
                            <a:pt x="1375" y="11064"/>
                            <a:pt x="1375" y="11064"/>
                            <a:pt x="1375" y="11064"/>
                          </a:cubicBezTo>
                          <a:cubicBezTo>
                            <a:pt x="1435" y="11064"/>
                            <a:pt x="1435" y="11064"/>
                            <a:pt x="1495" y="11064"/>
                          </a:cubicBezTo>
                          <a:cubicBezTo>
                            <a:pt x="1495" y="11064"/>
                            <a:pt x="1555" y="11064"/>
                            <a:pt x="1555" y="11064"/>
                          </a:cubicBezTo>
                          <a:cubicBezTo>
                            <a:pt x="1555" y="11064"/>
                            <a:pt x="1615" y="11064"/>
                            <a:pt x="1615" y="11064"/>
                          </a:cubicBezTo>
                          <a:cubicBezTo>
                            <a:pt x="1675" y="11064"/>
                            <a:pt x="1735" y="11064"/>
                            <a:pt x="1794" y="11064"/>
                          </a:cubicBezTo>
                          <a:cubicBezTo>
                            <a:pt x="1854" y="11064"/>
                            <a:pt x="1914" y="11064"/>
                            <a:pt x="1974" y="11064"/>
                          </a:cubicBezTo>
                          <a:cubicBezTo>
                            <a:pt x="2034" y="11064"/>
                            <a:pt x="2093" y="11064"/>
                            <a:pt x="2153" y="11064"/>
                          </a:cubicBezTo>
                          <a:cubicBezTo>
                            <a:pt x="2213" y="11064"/>
                            <a:pt x="2273" y="11064"/>
                            <a:pt x="2333" y="11064"/>
                          </a:cubicBezTo>
                          <a:lnTo>
                            <a:pt x="2333" y="10944"/>
                          </a:lnTo>
                          <a:lnTo>
                            <a:pt x="5861" y="10645"/>
                          </a:lnTo>
                          <a:cubicBezTo>
                            <a:pt x="5682" y="10526"/>
                            <a:pt x="5502" y="10466"/>
                            <a:pt x="5263" y="10347"/>
                          </a:cubicBezTo>
                          <a:cubicBezTo>
                            <a:pt x="5084" y="10227"/>
                            <a:pt x="4844" y="10167"/>
                            <a:pt x="4665" y="10107"/>
                          </a:cubicBezTo>
                          <a:cubicBezTo>
                            <a:pt x="4486" y="10048"/>
                            <a:pt x="4246" y="9988"/>
                            <a:pt x="4007" y="9928"/>
                          </a:cubicBezTo>
                          <a:cubicBezTo>
                            <a:pt x="3768" y="9868"/>
                            <a:pt x="3589" y="9808"/>
                            <a:pt x="3349" y="9808"/>
                          </a:cubicBezTo>
                          <a:lnTo>
                            <a:pt x="1974" y="9928"/>
                          </a:lnTo>
                          <a:lnTo>
                            <a:pt x="1495" y="9988"/>
                          </a:lnTo>
                          <a:lnTo>
                            <a:pt x="1375" y="11064"/>
                          </a:lnTo>
                          <a:moveTo>
                            <a:pt x="8373" y="22009"/>
                          </a:moveTo>
                          <a:lnTo>
                            <a:pt x="19916" y="20933"/>
                          </a:lnTo>
                          <a:lnTo>
                            <a:pt x="20933" y="20813"/>
                          </a:lnTo>
                          <a:lnTo>
                            <a:pt x="23504" y="20573"/>
                          </a:lnTo>
                          <a:lnTo>
                            <a:pt x="24521" y="20454"/>
                          </a:lnTo>
                          <a:lnTo>
                            <a:pt x="100297" y="13337"/>
                          </a:lnTo>
                          <a:cubicBezTo>
                            <a:pt x="100297" y="13277"/>
                            <a:pt x="100297" y="13157"/>
                            <a:pt x="100297" y="13097"/>
                          </a:cubicBezTo>
                          <a:cubicBezTo>
                            <a:pt x="100297" y="13038"/>
                            <a:pt x="100297" y="12918"/>
                            <a:pt x="100297" y="12858"/>
                          </a:cubicBezTo>
                          <a:cubicBezTo>
                            <a:pt x="100297" y="12798"/>
                            <a:pt x="100297" y="12679"/>
                            <a:pt x="100297" y="12619"/>
                          </a:cubicBezTo>
                          <a:cubicBezTo>
                            <a:pt x="100297" y="12559"/>
                            <a:pt x="100297" y="12440"/>
                            <a:pt x="100297" y="12380"/>
                          </a:cubicBezTo>
                          <a:lnTo>
                            <a:pt x="24820" y="19497"/>
                          </a:lnTo>
                          <a:lnTo>
                            <a:pt x="23803" y="19617"/>
                          </a:lnTo>
                          <a:lnTo>
                            <a:pt x="21231" y="19856"/>
                          </a:lnTo>
                          <a:lnTo>
                            <a:pt x="20215" y="19975"/>
                          </a:lnTo>
                          <a:lnTo>
                            <a:pt x="8971" y="21052"/>
                          </a:lnTo>
                          <a:cubicBezTo>
                            <a:pt x="8911" y="21172"/>
                            <a:pt x="8911" y="21231"/>
                            <a:pt x="8851" y="21351"/>
                          </a:cubicBezTo>
                          <a:cubicBezTo>
                            <a:pt x="8792" y="21411"/>
                            <a:pt x="8732" y="21530"/>
                            <a:pt x="8732" y="21590"/>
                          </a:cubicBezTo>
                          <a:cubicBezTo>
                            <a:pt x="8732" y="21650"/>
                            <a:pt x="8612" y="21770"/>
                            <a:pt x="8612" y="21829"/>
                          </a:cubicBezTo>
                          <a:cubicBezTo>
                            <a:pt x="8433" y="21829"/>
                            <a:pt x="8373" y="21949"/>
                            <a:pt x="8373" y="22009"/>
                          </a:cubicBezTo>
                          <a:moveTo>
                            <a:pt x="5682" y="22248"/>
                          </a:moveTo>
                          <a:lnTo>
                            <a:pt x="7177" y="22128"/>
                          </a:lnTo>
                          <a:cubicBezTo>
                            <a:pt x="7237" y="22069"/>
                            <a:pt x="7297" y="21949"/>
                            <a:pt x="7356" y="21889"/>
                          </a:cubicBezTo>
                          <a:cubicBezTo>
                            <a:pt x="7416" y="21829"/>
                            <a:pt x="7476" y="21710"/>
                            <a:pt x="7536" y="21650"/>
                          </a:cubicBezTo>
                          <a:cubicBezTo>
                            <a:pt x="7596" y="21590"/>
                            <a:pt x="7656" y="21471"/>
                            <a:pt x="7715" y="21411"/>
                          </a:cubicBezTo>
                          <a:cubicBezTo>
                            <a:pt x="7775" y="21291"/>
                            <a:pt x="7835" y="21231"/>
                            <a:pt x="7895" y="21112"/>
                          </a:cubicBezTo>
                          <a:lnTo>
                            <a:pt x="6519" y="21231"/>
                          </a:lnTo>
                          <a:cubicBezTo>
                            <a:pt x="6459" y="21351"/>
                            <a:pt x="6399" y="21411"/>
                            <a:pt x="6340" y="21530"/>
                          </a:cubicBezTo>
                          <a:cubicBezTo>
                            <a:pt x="6280" y="21650"/>
                            <a:pt x="6220" y="21710"/>
                            <a:pt x="6160" y="21829"/>
                          </a:cubicBezTo>
                          <a:cubicBezTo>
                            <a:pt x="6100" y="21949"/>
                            <a:pt x="6041" y="22009"/>
                            <a:pt x="5981" y="22069"/>
                          </a:cubicBezTo>
                          <a:cubicBezTo>
                            <a:pt x="5921" y="22128"/>
                            <a:pt x="5742" y="22188"/>
                            <a:pt x="5682" y="22248"/>
                          </a:cubicBezTo>
                          <a:moveTo>
                            <a:pt x="0" y="22787"/>
                          </a:moveTo>
                          <a:lnTo>
                            <a:pt x="4246" y="22368"/>
                          </a:lnTo>
                          <a:cubicBezTo>
                            <a:pt x="4246" y="22368"/>
                            <a:pt x="4306" y="22308"/>
                            <a:pt x="4306" y="22308"/>
                          </a:cubicBezTo>
                          <a:cubicBezTo>
                            <a:pt x="4306" y="22308"/>
                            <a:pt x="4366" y="22248"/>
                            <a:pt x="4366" y="22248"/>
                          </a:cubicBezTo>
                          <a:cubicBezTo>
                            <a:pt x="4366" y="22248"/>
                            <a:pt x="4426" y="22188"/>
                            <a:pt x="4426" y="22188"/>
                          </a:cubicBezTo>
                          <a:cubicBezTo>
                            <a:pt x="4426" y="22188"/>
                            <a:pt x="4486" y="22128"/>
                            <a:pt x="4486" y="22128"/>
                          </a:cubicBezTo>
                          <a:cubicBezTo>
                            <a:pt x="4545" y="22069"/>
                            <a:pt x="4605" y="22009"/>
                            <a:pt x="4665" y="21889"/>
                          </a:cubicBezTo>
                          <a:cubicBezTo>
                            <a:pt x="4725" y="21829"/>
                            <a:pt x="4785" y="21770"/>
                            <a:pt x="4844" y="21650"/>
                          </a:cubicBezTo>
                          <a:cubicBezTo>
                            <a:pt x="4904" y="21530"/>
                            <a:pt x="4964" y="21471"/>
                            <a:pt x="5024" y="21411"/>
                          </a:cubicBezTo>
                          <a:cubicBezTo>
                            <a:pt x="5084" y="21351"/>
                            <a:pt x="5143" y="21231"/>
                            <a:pt x="5203" y="21172"/>
                          </a:cubicBezTo>
                          <a:lnTo>
                            <a:pt x="1076" y="21530"/>
                          </a:lnTo>
                          <a:lnTo>
                            <a:pt x="2153" y="11902"/>
                          </a:lnTo>
                          <a:cubicBezTo>
                            <a:pt x="2093" y="11902"/>
                            <a:pt x="2034" y="11902"/>
                            <a:pt x="1974" y="11902"/>
                          </a:cubicBezTo>
                          <a:cubicBezTo>
                            <a:pt x="1914" y="11902"/>
                            <a:pt x="1854" y="11902"/>
                            <a:pt x="1794" y="11902"/>
                          </a:cubicBezTo>
                          <a:cubicBezTo>
                            <a:pt x="1735" y="11902"/>
                            <a:pt x="1675" y="11902"/>
                            <a:pt x="1615" y="11902"/>
                          </a:cubicBezTo>
                          <a:cubicBezTo>
                            <a:pt x="1555" y="11902"/>
                            <a:pt x="1495" y="11902"/>
                            <a:pt x="1435" y="11902"/>
                          </a:cubicBezTo>
                          <a:cubicBezTo>
                            <a:pt x="1435" y="11902"/>
                            <a:pt x="1375" y="11902"/>
                            <a:pt x="1375" y="11902"/>
                          </a:cubicBezTo>
                          <a:cubicBezTo>
                            <a:pt x="1375" y="11902"/>
                            <a:pt x="1316" y="11902"/>
                            <a:pt x="1316" y="11902"/>
                          </a:cubicBezTo>
                          <a:cubicBezTo>
                            <a:pt x="1316" y="11902"/>
                            <a:pt x="1256" y="11902"/>
                            <a:pt x="1256" y="11902"/>
                          </a:cubicBezTo>
                          <a:cubicBezTo>
                            <a:pt x="1256" y="11902"/>
                            <a:pt x="1196" y="11902"/>
                            <a:pt x="1196" y="11902"/>
                          </a:cubicBezTo>
                          <a:lnTo>
                            <a:pt x="0" y="22787"/>
                          </a:lnTo>
                        </a:path>
                      </a:pathLst>
                    </a:custGeom>
                    <a:noFill/>
                    <a:ln w="6350" cap="flat">
                      <a:solidFill>
                        <a:schemeClr val="bg1">
                          <a:alpha val="80000"/>
                        </a:schemeClr>
                      </a:solidFill>
                      <a:prstDash val="solid"/>
                      <a:miter/>
                    </a:ln>
                  </p:spPr>
                  <p:txBody>
                    <a:bodyPr rtlCol="0" anchor="ctr"/>
                    <a:lstStyle/>
                    <a:p>
                      <a:endParaRPr lang="en-GB"/>
                    </a:p>
                  </p:txBody>
                </p:sp>
                <p:sp>
                  <p:nvSpPr>
                    <p:cNvPr id="7515" name="Vrije vorm: vorm 7514">
                      <a:extLst>
                        <a:ext uri="{FF2B5EF4-FFF2-40B4-BE49-F238E27FC236}">
                          <a16:creationId xmlns:a16="http://schemas.microsoft.com/office/drawing/2014/main" id="{6D62F072-E605-4305-A1FF-E12F0382C99A}"/>
                        </a:ext>
                      </a:extLst>
                    </p:cNvPr>
                    <p:cNvSpPr/>
                    <p:nvPr/>
                  </p:nvSpPr>
                  <p:spPr>
                    <a:xfrm>
                      <a:off x="5089509" y="5218937"/>
                      <a:ext cx="18729" cy="19164"/>
                    </a:xfrm>
                    <a:custGeom>
                      <a:avLst/>
                      <a:gdLst>
                        <a:gd name="connsiteX0" fmla="*/ 15894 w 18729"/>
                        <a:gd name="connsiteY0" fmla="*/ 13457 h 19164"/>
                        <a:gd name="connsiteX1" fmla="*/ 15595 w 18729"/>
                        <a:gd name="connsiteY1" fmla="*/ 13875 h 19164"/>
                        <a:gd name="connsiteX2" fmla="*/ 15296 w 18729"/>
                        <a:gd name="connsiteY2" fmla="*/ 14234 h 19164"/>
                        <a:gd name="connsiteX3" fmla="*/ 14996 w 18729"/>
                        <a:gd name="connsiteY3" fmla="*/ 14593 h 19164"/>
                        <a:gd name="connsiteX4" fmla="*/ 14638 w 18729"/>
                        <a:gd name="connsiteY4" fmla="*/ 14952 h 19164"/>
                        <a:gd name="connsiteX5" fmla="*/ 13262 w 18729"/>
                        <a:gd name="connsiteY5" fmla="*/ 16148 h 19164"/>
                        <a:gd name="connsiteX6" fmla="*/ 11767 w 18729"/>
                        <a:gd name="connsiteY6" fmla="*/ 17045 h 19164"/>
                        <a:gd name="connsiteX7" fmla="*/ 10152 w 18729"/>
                        <a:gd name="connsiteY7" fmla="*/ 17643 h 19164"/>
                        <a:gd name="connsiteX8" fmla="*/ 8538 w 18729"/>
                        <a:gd name="connsiteY8" fmla="*/ 17942 h 19164"/>
                        <a:gd name="connsiteX9" fmla="*/ 7222 w 18729"/>
                        <a:gd name="connsiteY9" fmla="*/ 17942 h 19164"/>
                        <a:gd name="connsiteX10" fmla="*/ 5966 w 18729"/>
                        <a:gd name="connsiteY10" fmla="*/ 17763 h 19164"/>
                        <a:gd name="connsiteX11" fmla="*/ 4829 w 18729"/>
                        <a:gd name="connsiteY11" fmla="*/ 17344 h 19164"/>
                        <a:gd name="connsiteX12" fmla="*/ 3813 w 18729"/>
                        <a:gd name="connsiteY12" fmla="*/ 16746 h 19164"/>
                        <a:gd name="connsiteX13" fmla="*/ 2616 w 18729"/>
                        <a:gd name="connsiteY13" fmla="*/ 15550 h 19164"/>
                        <a:gd name="connsiteX14" fmla="*/ 1719 w 18729"/>
                        <a:gd name="connsiteY14" fmla="*/ 14055 h 19164"/>
                        <a:gd name="connsiteX15" fmla="*/ 1241 w 18729"/>
                        <a:gd name="connsiteY15" fmla="*/ 12261 h 19164"/>
                        <a:gd name="connsiteX16" fmla="*/ 1241 w 18729"/>
                        <a:gd name="connsiteY16" fmla="*/ 10287 h 19164"/>
                        <a:gd name="connsiteX17" fmla="*/ 2257 w 18729"/>
                        <a:gd name="connsiteY17" fmla="*/ 6938 h 19164"/>
                        <a:gd name="connsiteX18" fmla="*/ 4351 w 18729"/>
                        <a:gd name="connsiteY18" fmla="*/ 4067 h 19164"/>
                        <a:gd name="connsiteX19" fmla="*/ 7162 w 18729"/>
                        <a:gd name="connsiteY19" fmla="*/ 1974 h 19164"/>
                        <a:gd name="connsiteX20" fmla="*/ 10451 w 18729"/>
                        <a:gd name="connsiteY20" fmla="*/ 1017 h 19164"/>
                        <a:gd name="connsiteX21" fmla="*/ 10870 w 18729"/>
                        <a:gd name="connsiteY21" fmla="*/ 1017 h 19164"/>
                        <a:gd name="connsiteX22" fmla="*/ 11288 w 18729"/>
                        <a:gd name="connsiteY22" fmla="*/ 1017 h 19164"/>
                        <a:gd name="connsiteX23" fmla="*/ 11707 w 18729"/>
                        <a:gd name="connsiteY23" fmla="*/ 1017 h 19164"/>
                        <a:gd name="connsiteX24" fmla="*/ 12126 w 18729"/>
                        <a:gd name="connsiteY24" fmla="*/ 1076 h 19164"/>
                        <a:gd name="connsiteX25" fmla="*/ 12784 w 18729"/>
                        <a:gd name="connsiteY25" fmla="*/ 1196 h 19164"/>
                        <a:gd name="connsiteX26" fmla="*/ 13442 w 18729"/>
                        <a:gd name="connsiteY26" fmla="*/ 1376 h 19164"/>
                        <a:gd name="connsiteX27" fmla="*/ 14040 w 18729"/>
                        <a:gd name="connsiteY27" fmla="*/ 1615 h 19164"/>
                        <a:gd name="connsiteX28" fmla="*/ 14638 w 18729"/>
                        <a:gd name="connsiteY28" fmla="*/ 1914 h 19164"/>
                        <a:gd name="connsiteX29" fmla="*/ 14817 w 18729"/>
                        <a:gd name="connsiteY29" fmla="*/ 2034 h 19164"/>
                        <a:gd name="connsiteX30" fmla="*/ 14937 w 18729"/>
                        <a:gd name="connsiteY30" fmla="*/ 2153 h 19164"/>
                        <a:gd name="connsiteX31" fmla="*/ 15056 w 18729"/>
                        <a:gd name="connsiteY31" fmla="*/ 2273 h 19164"/>
                        <a:gd name="connsiteX32" fmla="*/ 15176 w 18729"/>
                        <a:gd name="connsiteY32" fmla="*/ 2392 h 19164"/>
                        <a:gd name="connsiteX33" fmla="*/ 15415 w 18729"/>
                        <a:gd name="connsiteY33" fmla="*/ 2572 h 19164"/>
                        <a:gd name="connsiteX34" fmla="*/ 15595 w 18729"/>
                        <a:gd name="connsiteY34" fmla="*/ 2751 h 19164"/>
                        <a:gd name="connsiteX35" fmla="*/ 15774 w 18729"/>
                        <a:gd name="connsiteY35" fmla="*/ 2930 h 19164"/>
                        <a:gd name="connsiteX36" fmla="*/ 15954 w 18729"/>
                        <a:gd name="connsiteY36" fmla="*/ 3110 h 19164"/>
                        <a:gd name="connsiteX37" fmla="*/ 16850 w 18729"/>
                        <a:gd name="connsiteY37" fmla="*/ 4306 h 19164"/>
                        <a:gd name="connsiteX38" fmla="*/ 17449 w 18729"/>
                        <a:gd name="connsiteY38" fmla="*/ 5682 h 19164"/>
                        <a:gd name="connsiteX39" fmla="*/ 17748 w 18729"/>
                        <a:gd name="connsiteY39" fmla="*/ 7237 h 19164"/>
                        <a:gd name="connsiteX40" fmla="*/ 17688 w 18729"/>
                        <a:gd name="connsiteY40" fmla="*/ 8911 h 19164"/>
                        <a:gd name="connsiteX41" fmla="*/ 17568 w 18729"/>
                        <a:gd name="connsiteY41" fmla="*/ 9808 h 19164"/>
                        <a:gd name="connsiteX42" fmla="*/ 17329 w 18729"/>
                        <a:gd name="connsiteY42" fmla="*/ 10706 h 19164"/>
                        <a:gd name="connsiteX43" fmla="*/ 16970 w 18729"/>
                        <a:gd name="connsiteY43" fmla="*/ 11603 h 19164"/>
                        <a:gd name="connsiteX44" fmla="*/ 16551 w 18729"/>
                        <a:gd name="connsiteY44" fmla="*/ 12440 h 19164"/>
                        <a:gd name="connsiteX45" fmla="*/ 16372 w 18729"/>
                        <a:gd name="connsiteY45" fmla="*/ 12739 h 19164"/>
                        <a:gd name="connsiteX46" fmla="*/ 16193 w 18729"/>
                        <a:gd name="connsiteY46" fmla="*/ 12978 h 19164"/>
                        <a:gd name="connsiteX47" fmla="*/ 16013 w 18729"/>
                        <a:gd name="connsiteY47" fmla="*/ 13218 h 19164"/>
                        <a:gd name="connsiteX48" fmla="*/ 15894 w 18729"/>
                        <a:gd name="connsiteY48" fmla="*/ 13457 h 19164"/>
                        <a:gd name="connsiteX49" fmla="*/ 3035 w 18729"/>
                        <a:gd name="connsiteY49" fmla="*/ 17703 h 19164"/>
                        <a:gd name="connsiteX50" fmla="*/ 4171 w 18729"/>
                        <a:gd name="connsiteY50" fmla="*/ 18421 h 19164"/>
                        <a:gd name="connsiteX51" fmla="*/ 5487 w 18729"/>
                        <a:gd name="connsiteY51" fmla="*/ 18899 h 19164"/>
                        <a:gd name="connsiteX52" fmla="*/ 6863 w 18729"/>
                        <a:gd name="connsiteY52" fmla="*/ 19138 h 19164"/>
                        <a:gd name="connsiteX53" fmla="*/ 8358 w 18729"/>
                        <a:gd name="connsiteY53" fmla="*/ 19138 h 19164"/>
                        <a:gd name="connsiteX54" fmla="*/ 10212 w 18729"/>
                        <a:gd name="connsiteY54" fmla="*/ 18780 h 19164"/>
                        <a:gd name="connsiteX55" fmla="*/ 12006 w 18729"/>
                        <a:gd name="connsiteY55" fmla="*/ 18062 h 19164"/>
                        <a:gd name="connsiteX56" fmla="*/ 13681 w 18729"/>
                        <a:gd name="connsiteY56" fmla="*/ 17045 h 19164"/>
                        <a:gd name="connsiteX57" fmla="*/ 15236 w 18729"/>
                        <a:gd name="connsiteY57" fmla="*/ 15729 h 19164"/>
                        <a:gd name="connsiteX58" fmla="*/ 15774 w 18729"/>
                        <a:gd name="connsiteY58" fmla="*/ 15191 h 19164"/>
                        <a:gd name="connsiteX59" fmla="*/ 16253 w 18729"/>
                        <a:gd name="connsiteY59" fmla="*/ 14653 h 19164"/>
                        <a:gd name="connsiteX60" fmla="*/ 16671 w 18729"/>
                        <a:gd name="connsiteY60" fmla="*/ 14055 h 19164"/>
                        <a:gd name="connsiteX61" fmla="*/ 17090 w 18729"/>
                        <a:gd name="connsiteY61" fmla="*/ 13457 h 19164"/>
                        <a:gd name="connsiteX62" fmla="*/ 17269 w 18729"/>
                        <a:gd name="connsiteY62" fmla="*/ 13218 h 19164"/>
                        <a:gd name="connsiteX63" fmla="*/ 17389 w 18729"/>
                        <a:gd name="connsiteY63" fmla="*/ 12978 h 19164"/>
                        <a:gd name="connsiteX64" fmla="*/ 17509 w 18729"/>
                        <a:gd name="connsiteY64" fmla="*/ 12739 h 19164"/>
                        <a:gd name="connsiteX65" fmla="*/ 17628 w 18729"/>
                        <a:gd name="connsiteY65" fmla="*/ 12440 h 19164"/>
                        <a:gd name="connsiteX66" fmla="*/ 17987 w 18729"/>
                        <a:gd name="connsiteY66" fmla="*/ 11543 h 19164"/>
                        <a:gd name="connsiteX67" fmla="*/ 18286 w 18729"/>
                        <a:gd name="connsiteY67" fmla="*/ 10646 h 19164"/>
                        <a:gd name="connsiteX68" fmla="*/ 18525 w 18729"/>
                        <a:gd name="connsiteY68" fmla="*/ 9749 h 19164"/>
                        <a:gd name="connsiteX69" fmla="*/ 18645 w 18729"/>
                        <a:gd name="connsiteY69" fmla="*/ 8852 h 19164"/>
                        <a:gd name="connsiteX70" fmla="*/ 18704 w 18729"/>
                        <a:gd name="connsiteY70" fmla="*/ 6998 h 19164"/>
                        <a:gd name="connsiteX71" fmla="*/ 18405 w 18729"/>
                        <a:gd name="connsiteY71" fmla="*/ 5263 h 19164"/>
                        <a:gd name="connsiteX72" fmla="*/ 17748 w 18729"/>
                        <a:gd name="connsiteY72" fmla="*/ 3708 h 19164"/>
                        <a:gd name="connsiteX73" fmla="*/ 16731 w 18729"/>
                        <a:gd name="connsiteY73" fmla="*/ 2333 h 19164"/>
                        <a:gd name="connsiteX74" fmla="*/ 16611 w 18729"/>
                        <a:gd name="connsiteY74" fmla="*/ 2213 h 19164"/>
                        <a:gd name="connsiteX75" fmla="*/ 16492 w 18729"/>
                        <a:gd name="connsiteY75" fmla="*/ 2093 h 19164"/>
                        <a:gd name="connsiteX76" fmla="*/ 16372 w 18729"/>
                        <a:gd name="connsiteY76" fmla="*/ 1974 h 19164"/>
                        <a:gd name="connsiteX77" fmla="*/ 16253 w 18729"/>
                        <a:gd name="connsiteY77" fmla="*/ 1854 h 19164"/>
                        <a:gd name="connsiteX78" fmla="*/ 16133 w 18729"/>
                        <a:gd name="connsiteY78" fmla="*/ 1735 h 19164"/>
                        <a:gd name="connsiteX79" fmla="*/ 16013 w 18729"/>
                        <a:gd name="connsiteY79" fmla="*/ 1615 h 19164"/>
                        <a:gd name="connsiteX80" fmla="*/ 15894 w 18729"/>
                        <a:gd name="connsiteY80" fmla="*/ 1495 h 19164"/>
                        <a:gd name="connsiteX81" fmla="*/ 15774 w 18729"/>
                        <a:gd name="connsiteY81" fmla="*/ 1376 h 19164"/>
                        <a:gd name="connsiteX82" fmla="*/ 15535 w 18729"/>
                        <a:gd name="connsiteY82" fmla="*/ 1196 h 19164"/>
                        <a:gd name="connsiteX83" fmla="*/ 15296 w 18729"/>
                        <a:gd name="connsiteY83" fmla="*/ 1076 h 19164"/>
                        <a:gd name="connsiteX84" fmla="*/ 15056 w 18729"/>
                        <a:gd name="connsiteY84" fmla="*/ 957 h 19164"/>
                        <a:gd name="connsiteX85" fmla="*/ 14817 w 18729"/>
                        <a:gd name="connsiteY85" fmla="*/ 837 h 19164"/>
                        <a:gd name="connsiteX86" fmla="*/ 13801 w 18729"/>
                        <a:gd name="connsiteY86" fmla="*/ 419 h 19164"/>
                        <a:gd name="connsiteX87" fmla="*/ 12724 w 18729"/>
                        <a:gd name="connsiteY87" fmla="*/ 120 h 19164"/>
                        <a:gd name="connsiteX88" fmla="*/ 11587 w 18729"/>
                        <a:gd name="connsiteY88" fmla="*/ 0 h 19164"/>
                        <a:gd name="connsiteX89" fmla="*/ 10392 w 18729"/>
                        <a:gd name="connsiteY89" fmla="*/ 0 h 19164"/>
                        <a:gd name="connsiteX90" fmla="*/ 6684 w 18729"/>
                        <a:gd name="connsiteY90" fmla="*/ 1076 h 19164"/>
                        <a:gd name="connsiteX91" fmla="*/ 3514 w 18729"/>
                        <a:gd name="connsiteY91" fmla="*/ 3409 h 19164"/>
                        <a:gd name="connsiteX92" fmla="*/ 1181 w 18729"/>
                        <a:gd name="connsiteY92" fmla="*/ 6639 h 19164"/>
                        <a:gd name="connsiteX93" fmla="*/ 45 w 18729"/>
                        <a:gd name="connsiteY93" fmla="*/ 10406 h 19164"/>
                        <a:gd name="connsiteX94" fmla="*/ 45 w 18729"/>
                        <a:gd name="connsiteY94" fmla="*/ 12261 h 19164"/>
                        <a:gd name="connsiteX95" fmla="*/ 403 w 18729"/>
                        <a:gd name="connsiteY95" fmla="*/ 13995 h 19164"/>
                        <a:gd name="connsiteX96" fmla="*/ 1062 w 18729"/>
                        <a:gd name="connsiteY96" fmla="*/ 15550 h 19164"/>
                        <a:gd name="connsiteX97" fmla="*/ 2078 w 18729"/>
                        <a:gd name="connsiteY97" fmla="*/ 16926 h 19164"/>
                        <a:gd name="connsiteX98" fmla="*/ 2317 w 18729"/>
                        <a:gd name="connsiteY98" fmla="*/ 17165 h 19164"/>
                        <a:gd name="connsiteX99" fmla="*/ 2557 w 18729"/>
                        <a:gd name="connsiteY99" fmla="*/ 17344 h 19164"/>
                        <a:gd name="connsiteX100" fmla="*/ 2796 w 18729"/>
                        <a:gd name="connsiteY100" fmla="*/ 17523 h 19164"/>
                        <a:gd name="connsiteX101" fmla="*/ 3035 w 18729"/>
                        <a:gd name="connsiteY101" fmla="*/ 17703 h 1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8729" h="19164">
                          <a:moveTo>
                            <a:pt x="15894" y="13457"/>
                          </a:moveTo>
                          <a:cubicBezTo>
                            <a:pt x="15774" y="13576"/>
                            <a:pt x="15714" y="13696"/>
                            <a:pt x="15595" y="13875"/>
                          </a:cubicBezTo>
                          <a:cubicBezTo>
                            <a:pt x="15475" y="13995"/>
                            <a:pt x="15415" y="14115"/>
                            <a:pt x="15296" y="14234"/>
                          </a:cubicBezTo>
                          <a:cubicBezTo>
                            <a:pt x="15176" y="14354"/>
                            <a:pt x="15056" y="14474"/>
                            <a:pt x="14996" y="14593"/>
                          </a:cubicBezTo>
                          <a:cubicBezTo>
                            <a:pt x="14877" y="14713"/>
                            <a:pt x="14757" y="14832"/>
                            <a:pt x="14638" y="14952"/>
                          </a:cubicBezTo>
                          <a:cubicBezTo>
                            <a:pt x="14219" y="15370"/>
                            <a:pt x="13741" y="15789"/>
                            <a:pt x="13262" y="16148"/>
                          </a:cubicBezTo>
                          <a:cubicBezTo>
                            <a:pt x="12784" y="16507"/>
                            <a:pt x="12305" y="16806"/>
                            <a:pt x="11767" y="17045"/>
                          </a:cubicBezTo>
                          <a:cubicBezTo>
                            <a:pt x="11229" y="17284"/>
                            <a:pt x="10690" y="17523"/>
                            <a:pt x="10152" y="17643"/>
                          </a:cubicBezTo>
                          <a:cubicBezTo>
                            <a:pt x="9614" y="17823"/>
                            <a:pt x="9076" y="17882"/>
                            <a:pt x="8538" y="17942"/>
                          </a:cubicBezTo>
                          <a:cubicBezTo>
                            <a:pt x="8059" y="18002"/>
                            <a:pt x="7640" y="18002"/>
                            <a:pt x="7222" y="17942"/>
                          </a:cubicBezTo>
                          <a:cubicBezTo>
                            <a:pt x="6803" y="17882"/>
                            <a:pt x="6384" y="17823"/>
                            <a:pt x="5966" y="17763"/>
                          </a:cubicBezTo>
                          <a:cubicBezTo>
                            <a:pt x="5547" y="17643"/>
                            <a:pt x="5188" y="17523"/>
                            <a:pt x="4829" y="17344"/>
                          </a:cubicBezTo>
                          <a:cubicBezTo>
                            <a:pt x="4471" y="17165"/>
                            <a:pt x="4111" y="16985"/>
                            <a:pt x="3813" y="16746"/>
                          </a:cubicBezTo>
                          <a:cubicBezTo>
                            <a:pt x="3334" y="16387"/>
                            <a:pt x="2916" y="16028"/>
                            <a:pt x="2616" y="15550"/>
                          </a:cubicBezTo>
                          <a:cubicBezTo>
                            <a:pt x="2257" y="15072"/>
                            <a:pt x="1959" y="14593"/>
                            <a:pt x="1719" y="14055"/>
                          </a:cubicBezTo>
                          <a:cubicBezTo>
                            <a:pt x="1480" y="13516"/>
                            <a:pt x="1361" y="12919"/>
                            <a:pt x="1241" y="12261"/>
                          </a:cubicBezTo>
                          <a:cubicBezTo>
                            <a:pt x="1121" y="11603"/>
                            <a:pt x="1121" y="10945"/>
                            <a:pt x="1241" y="10287"/>
                          </a:cubicBezTo>
                          <a:cubicBezTo>
                            <a:pt x="1361" y="9091"/>
                            <a:pt x="1719" y="7954"/>
                            <a:pt x="2257" y="6938"/>
                          </a:cubicBezTo>
                          <a:cubicBezTo>
                            <a:pt x="2796" y="5861"/>
                            <a:pt x="3514" y="4904"/>
                            <a:pt x="4351" y="4067"/>
                          </a:cubicBezTo>
                          <a:cubicBezTo>
                            <a:pt x="5188" y="3230"/>
                            <a:pt x="6145" y="2512"/>
                            <a:pt x="7162" y="1974"/>
                          </a:cubicBezTo>
                          <a:cubicBezTo>
                            <a:pt x="8179" y="1435"/>
                            <a:pt x="9315" y="1136"/>
                            <a:pt x="10451" y="1017"/>
                          </a:cubicBezTo>
                          <a:cubicBezTo>
                            <a:pt x="10571" y="1017"/>
                            <a:pt x="10750" y="1017"/>
                            <a:pt x="10870" y="1017"/>
                          </a:cubicBezTo>
                          <a:cubicBezTo>
                            <a:pt x="10989" y="1017"/>
                            <a:pt x="11169" y="1017"/>
                            <a:pt x="11288" y="1017"/>
                          </a:cubicBezTo>
                          <a:cubicBezTo>
                            <a:pt x="11408" y="1017"/>
                            <a:pt x="11587" y="1017"/>
                            <a:pt x="11707" y="1017"/>
                          </a:cubicBezTo>
                          <a:cubicBezTo>
                            <a:pt x="11827" y="1017"/>
                            <a:pt x="12006" y="1017"/>
                            <a:pt x="12126" y="1076"/>
                          </a:cubicBezTo>
                          <a:cubicBezTo>
                            <a:pt x="12365" y="1076"/>
                            <a:pt x="12604" y="1136"/>
                            <a:pt x="12784" y="1196"/>
                          </a:cubicBezTo>
                          <a:cubicBezTo>
                            <a:pt x="13023" y="1256"/>
                            <a:pt x="13202" y="1316"/>
                            <a:pt x="13442" y="1376"/>
                          </a:cubicBezTo>
                          <a:cubicBezTo>
                            <a:pt x="13621" y="1435"/>
                            <a:pt x="13860" y="1555"/>
                            <a:pt x="14040" y="1615"/>
                          </a:cubicBezTo>
                          <a:cubicBezTo>
                            <a:pt x="14219" y="1735"/>
                            <a:pt x="14458" y="1795"/>
                            <a:pt x="14638" y="1914"/>
                          </a:cubicBezTo>
                          <a:cubicBezTo>
                            <a:pt x="14697" y="1914"/>
                            <a:pt x="14757" y="1974"/>
                            <a:pt x="14817" y="2034"/>
                          </a:cubicBezTo>
                          <a:cubicBezTo>
                            <a:pt x="14877" y="2093"/>
                            <a:pt x="14937" y="2093"/>
                            <a:pt x="14937" y="2153"/>
                          </a:cubicBezTo>
                          <a:cubicBezTo>
                            <a:pt x="14996" y="2213"/>
                            <a:pt x="15056" y="2213"/>
                            <a:pt x="15056" y="2273"/>
                          </a:cubicBezTo>
                          <a:cubicBezTo>
                            <a:pt x="15116" y="2333"/>
                            <a:pt x="15176" y="2333"/>
                            <a:pt x="15176" y="2392"/>
                          </a:cubicBezTo>
                          <a:cubicBezTo>
                            <a:pt x="15236" y="2452"/>
                            <a:pt x="15296" y="2512"/>
                            <a:pt x="15415" y="2572"/>
                          </a:cubicBezTo>
                          <a:cubicBezTo>
                            <a:pt x="15535" y="2632"/>
                            <a:pt x="15535" y="2691"/>
                            <a:pt x="15595" y="2751"/>
                          </a:cubicBezTo>
                          <a:cubicBezTo>
                            <a:pt x="15655" y="2811"/>
                            <a:pt x="15714" y="2871"/>
                            <a:pt x="15774" y="2930"/>
                          </a:cubicBezTo>
                          <a:cubicBezTo>
                            <a:pt x="15834" y="2990"/>
                            <a:pt x="15894" y="3050"/>
                            <a:pt x="15954" y="3110"/>
                          </a:cubicBezTo>
                          <a:cubicBezTo>
                            <a:pt x="16312" y="3469"/>
                            <a:pt x="16611" y="3888"/>
                            <a:pt x="16850" y="4306"/>
                          </a:cubicBezTo>
                          <a:cubicBezTo>
                            <a:pt x="17090" y="4725"/>
                            <a:pt x="17269" y="5203"/>
                            <a:pt x="17449" y="5682"/>
                          </a:cubicBezTo>
                          <a:cubicBezTo>
                            <a:pt x="17568" y="6160"/>
                            <a:pt x="17688" y="6698"/>
                            <a:pt x="17748" y="7237"/>
                          </a:cubicBezTo>
                          <a:cubicBezTo>
                            <a:pt x="17808" y="7775"/>
                            <a:pt x="17748" y="8313"/>
                            <a:pt x="17688" y="8911"/>
                          </a:cubicBezTo>
                          <a:cubicBezTo>
                            <a:pt x="17628" y="9211"/>
                            <a:pt x="17628" y="9510"/>
                            <a:pt x="17568" y="9808"/>
                          </a:cubicBezTo>
                          <a:cubicBezTo>
                            <a:pt x="17509" y="10107"/>
                            <a:pt x="17449" y="10406"/>
                            <a:pt x="17329" y="10706"/>
                          </a:cubicBezTo>
                          <a:cubicBezTo>
                            <a:pt x="17209" y="11005"/>
                            <a:pt x="17150" y="11304"/>
                            <a:pt x="16970" y="11603"/>
                          </a:cubicBezTo>
                          <a:cubicBezTo>
                            <a:pt x="16850" y="11902"/>
                            <a:pt x="16731" y="12201"/>
                            <a:pt x="16551" y="12440"/>
                          </a:cubicBezTo>
                          <a:cubicBezTo>
                            <a:pt x="16492" y="12560"/>
                            <a:pt x="16432" y="12620"/>
                            <a:pt x="16372" y="12739"/>
                          </a:cubicBezTo>
                          <a:cubicBezTo>
                            <a:pt x="16312" y="12859"/>
                            <a:pt x="16253" y="12919"/>
                            <a:pt x="16193" y="12978"/>
                          </a:cubicBezTo>
                          <a:cubicBezTo>
                            <a:pt x="16133" y="13038"/>
                            <a:pt x="16073" y="13158"/>
                            <a:pt x="16013" y="13218"/>
                          </a:cubicBezTo>
                          <a:cubicBezTo>
                            <a:pt x="16013" y="13277"/>
                            <a:pt x="15954" y="13337"/>
                            <a:pt x="15894" y="13457"/>
                          </a:cubicBezTo>
                          <a:moveTo>
                            <a:pt x="3035" y="17703"/>
                          </a:moveTo>
                          <a:cubicBezTo>
                            <a:pt x="3394" y="17942"/>
                            <a:pt x="3813" y="18182"/>
                            <a:pt x="4171" y="18421"/>
                          </a:cubicBezTo>
                          <a:cubicBezTo>
                            <a:pt x="4530" y="18660"/>
                            <a:pt x="5009" y="18780"/>
                            <a:pt x="5487" y="18899"/>
                          </a:cubicBezTo>
                          <a:cubicBezTo>
                            <a:pt x="5966" y="19019"/>
                            <a:pt x="6384" y="19079"/>
                            <a:pt x="6863" y="19138"/>
                          </a:cubicBezTo>
                          <a:cubicBezTo>
                            <a:pt x="7341" y="19198"/>
                            <a:pt x="7820" y="19138"/>
                            <a:pt x="8358" y="19138"/>
                          </a:cubicBezTo>
                          <a:cubicBezTo>
                            <a:pt x="8956" y="19079"/>
                            <a:pt x="9614" y="18959"/>
                            <a:pt x="10212" y="18780"/>
                          </a:cubicBezTo>
                          <a:cubicBezTo>
                            <a:pt x="10810" y="18600"/>
                            <a:pt x="11408" y="18361"/>
                            <a:pt x="12006" y="18062"/>
                          </a:cubicBezTo>
                          <a:cubicBezTo>
                            <a:pt x="12604" y="17763"/>
                            <a:pt x="13142" y="17404"/>
                            <a:pt x="13681" y="17045"/>
                          </a:cubicBezTo>
                          <a:cubicBezTo>
                            <a:pt x="14219" y="16627"/>
                            <a:pt x="14757" y="16208"/>
                            <a:pt x="15236" y="15729"/>
                          </a:cubicBezTo>
                          <a:cubicBezTo>
                            <a:pt x="15415" y="15550"/>
                            <a:pt x="15595" y="15370"/>
                            <a:pt x="15774" y="15191"/>
                          </a:cubicBezTo>
                          <a:cubicBezTo>
                            <a:pt x="15954" y="15012"/>
                            <a:pt x="16073" y="14832"/>
                            <a:pt x="16253" y="14653"/>
                          </a:cubicBezTo>
                          <a:cubicBezTo>
                            <a:pt x="16432" y="14474"/>
                            <a:pt x="16551" y="14294"/>
                            <a:pt x="16671" y="14055"/>
                          </a:cubicBezTo>
                          <a:cubicBezTo>
                            <a:pt x="16791" y="13875"/>
                            <a:pt x="16970" y="13636"/>
                            <a:pt x="17090" y="13457"/>
                          </a:cubicBezTo>
                          <a:cubicBezTo>
                            <a:pt x="17150" y="13397"/>
                            <a:pt x="17209" y="13277"/>
                            <a:pt x="17269" y="13218"/>
                          </a:cubicBezTo>
                          <a:cubicBezTo>
                            <a:pt x="17329" y="13158"/>
                            <a:pt x="17389" y="13038"/>
                            <a:pt x="17389" y="12978"/>
                          </a:cubicBezTo>
                          <a:cubicBezTo>
                            <a:pt x="17389" y="12919"/>
                            <a:pt x="17509" y="12799"/>
                            <a:pt x="17509" y="12739"/>
                          </a:cubicBezTo>
                          <a:cubicBezTo>
                            <a:pt x="17568" y="12679"/>
                            <a:pt x="17628" y="12560"/>
                            <a:pt x="17628" y="12440"/>
                          </a:cubicBezTo>
                          <a:cubicBezTo>
                            <a:pt x="17748" y="12141"/>
                            <a:pt x="17867" y="11842"/>
                            <a:pt x="17987" y="11543"/>
                          </a:cubicBezTo>
                          <a:cubicBezTo>
                            <a:pt x="18107" y="11244"/>
                            <a:pt x="18226" y="10945"/>
                            <a:pt x="18286" y="10646"/>
                          </a:cubicBezTo>
                          <a:cubicBezTo>
                            <a:pt x="18346" y="10347"/>
                            <a:pt x="18465" y="10048"/>
                            <a:pt x="18525" y="9749"/>
                          </a:cubicBezTo>
                          <a:cubicBezTo>
                            <a:pt x="18585" y="9450"/>
                            <a:pt x="18645" y="9151"/>
                            <a:pt x="18645" y="8852"/>
                          </a:cubicBezTo>
                          <a:cubicBezTo>
                            <a:pt x="18704" y="8194"/>
                            <a:pt x="18764" y="7596"/>
                            <a:pt x="18704" y="6998"/>
                          </a:cubicBezTo>
                          <a:cubicBezTo>
                            <a:pt x="18645" y="6399"/>
                            <a:pt x="18585" y="5801"/>
                            <a:pt x="18405" y="5263"/>
                          </a:cubicBezTo>
                          <a:cubicBezTo>
                            <a:pt x="18226" y="4725"/>
                            <a:pt x="18047" y="4187"/>
                            <a:pt x="17748" y="3708"/>
                          </a:cubicBezTo>
                          <a:cubicBezTo>
                            <a:pt x="17449" y="3230"/>
                            <a:pt x="17150" y="2751"/>
                            <a:pt x="16731" y="2333"/>
                          </a:cubicBezTo>
                          <a:cubicBezTo>
                            <a:pt x="16671" y="2273"/>
                            <a:pt x="16671" y="2273"/>
                            <a:pt x="16611" y="2213"/>
                          </a:cubicBezTo>
                          <a:cubicBezTo>
                            <a:pt x="16551" y="2153"/>
                            <a:pt x="16551" y="2153"/>
                            <a:pt x="16492" y="2093"/>
                          </a:cubicBezTo>
                          <a:cubicBezTo>
                            <a:pt x="16432" y="2034"/>
                            <a:pt x="16432" y="2034"/>
                            <a:pt x="16372" y="1974"/>
                          </a:cubicBezTo>
                          <a:cubicBezTo>
                            <a:pt x="16312" y="1914"/>
                            <a:pt x="16312" y="1914"/>
                            <a:pt x="16253" y="1854"/>
                          </a:cubicBezTo>
                          <a:cubicBezTo>
                            <a:pt x="16193" y="1795"/>
                            <a:pt x="16193" y="1795"/>
                            <a:pt x="16133" y="1735"/>
                          </a:cubicBezTo>
                          <a:cubicBezTo>
                            <a:pt x="16073" y="1675"/>
                            <a:pt x="16073" y="1675"/>
                            <a:pt x="16013" y="1615"/>
                          </a:cubicBezTo>
                          <a:cubicBezTo>
                            <a:pt x="15954" y="1555"/>
                            <a:pt x="15954" y="1555"/>
                            <a:pt x="15894" y="1495"/>
                          </a:cubicBezTo>
                          <a:cubicBezTo>
                            <a:pt x="15834" y="1435"/>
                            <a:pt x="15834" y="1435"/>
                            <a:pt x="15774" y="1376"/>
                          </a:cubicBezTo>
                          <a:cubicBezTo>
                            <a:pt x="15714" y="1316"/>
                            <a:pt x="15655" y="1256"/>
                            <a:pt x="15535" y="1196"/>
                          </a:cubicBezTo>
                          <a:cubicBezTo>
                            <a:pt x="15475" y="1136"/>
                            <a:pt x="15415" y="1076"/>
                            <a:pt x="15296" y="1076"/>
                          </a:cubicBezTo>
                          <a:cubicBezTo>
                            <a:pt x="15176" y="1076"/>
                            <a:pt x="15116" y="957"/>
                            <a:pt x="15056" y="957"/>
                          </a:cubicBezTo>
                          <a:cubicBezTo>
                            <a:pt x="14996" y="957"/>
                            <a:pt x="14877" y="897"/>
                            <a:pt x="14817" y="837"/>
                          </a:cubicBezTo>
                          <a:cubicBezTo>
                            <a:pt x="14518" y="658"/>
                            <a:pt x="14159" y="538"/>
                            <a:pt x="13801" y="419"/>
                          </a:cubicBezTo>
                          <a:cubicBezTo>
                            <a:pt x="13442" y="299"/>
                            <a:pt x="13083" y="180"/>
                            <a:pt x="12724" y="120"/>
                          </a:cubicBezTo>
                          <a:cubicBezTo>
                            <a:pt x="12365" y="60"/>
                            <a:pt x="11947" y="0"/>
                            <a:pt x="11587" y="0"/>
                          </a:cubicBezTo>
                          <a:cubicBezTo>
                            <a:pt x="11169" y="0"/>
                            <a:pt x="10810" y="0"/>
                            <a:pt x="10392" y="0"/>
                          </a:cubicBezTo>
                          <a:cubicBezTo>
                            <a:pt x="9135" y="120"/>
                            <a:pt x="7879" y="479"/>
                            <a:pt x="6684" y="1076"/>
                          </a:cubicBezTo>
                          <a:cubicBezTo>
                            <a:pt x="5547" y="1675"/>
                            <a:pt x="4411" y="2452"/>
                            <a:pt x="3514" y="3409"/>
                          </a:cubicBezTo>
                          <a:cubicBezTo>
                            <a:pt x="2557" y="4366"/>
                            <a:pt x="1779" y="5443"/>
                            <a:pt x="1181" y="6639"/>
                          </a:cubicBezTo>
                          <a:cubicBezTo>
                            <a:pt x="583" y="7835"/>
                            <a:pt x="164" y="9091"/>
                            <a:pt x="45" y="10406"/>
                          </a:cubicBezTo>
                          <a:cubicBezTo>
                            <a:pt x="-15" y="11065"/>
                            <a:pt x="-15" y="11662"/>
                            <a:pt x="45" y="12261"/>
                          </a:cubicBezTo>
                          <a:cubicBezTo>
                            <a:pt x="104" y="12859"/>
                            <a:pt x="224" y="13457"/>
                            <a:pt x="403" y="13995"/>
                          </a:cubicBezTo>
                          <a:cubicBezTo>
                            <a:pt x="583" y="14533"/>
                            <a:pt x="822" y="15072"/>
                            <a:pt x="1062" y="15550"/>
                          </a:cubicBezTo>
                          <a:cubicBezTo>
                            <a:pt x="1361" y="16028"/>
                            <a:pt x="1660" y="16507"/>
                            <a:pt x="2078" y="16926"/>
                          </a:cubicBezTo>
                          <a:cubicBezTo>
                            <a:pt x="2138" y="16985"/>
                            <a:pt x="2198" y="17045"/>
                            <a:pt x="2317" y="17165"/>
                          </a:cubicBezTo>
                          <a:cubicBezTo>
                            <a:pt x="2377" y="17225"/>
                            <a:pt x="2437" y="17284"/>
                            <a:pt x="2557" y="17344"/>
                          </a:cubicBezTo>
                          <a:cubicBezTo>
                            <a:pt x="2616" y="17404"/>
                            <a:pt x="2736" y="17464"/>
                            <a:pt x="2796" y="17523"/>
                          </a:cubicBezTo>
                          <a:cubicBezTo>
                            <a:pt x="2856" y="17583"/>
                            <a:pt x="2975" y="17643"/>
                            <a:pt x="3035" y="17703"/>
                          </a:cubicBezTo>
                        </a:path>
                      </a:pathLst>
                    </a:custGeom>
                    <a:noFill/>
                    <a:ln w="6350" cap="flat">
                      <a:solidFill>
                        <a:schemeClr val="bg1">
                          <a:alpha val="80000"/>
                        </a:schemeClr>
                      </a:solidFill>
                      <a:prstDash val="solid"/>
                      <a:miter/>
                    </a:ln>
                  </p:spPr>
                  <p:txBody>
                    <a:bodyPr rtlCol="0" anchor="ctr"/>
                    <a:lstStyle/>
                    <a:p>
                      <a:endParaRPr lang="en-GB"/>
                    </a:p>
                  </p:txBody>
                </p:sp>
                <p:sp>
                  <p:nvSpPr>
                    <p:cNvPr id="7516" name="Vrije vorm: vorm 7515">
                      <a:extLst>
                        <a:ext uri="{FF2B5EF4-FFF2-40B4-BE49-F238E27FC236}">
                          <a16:creationId xmlns:a16="http://schemas.microsoft.com/office/drawing/2014/main" id="{1413E8D4-F955-4AD4-8772-A49F3A96FCB2}"/>
                        </a:ext>
                      </a:extLst>
                    </p:cNvPr>
                    <p:cNvSpPr/>
                    <p:nvPr/>
                  </p:nvSpPr>
                  <p:spPr>
                    <a:xfrm>
                      <a:off x="5091842" y="5221270"/>
                      <a:ext cx="13965" cy="14518"/>
                    </a:xfrm>
                    <a:custGeom>
                      <a:avLst/>
                      <a:gdLst>
                        <a:gd name="connsiteX0" fmla="*/ 10691 w 13965"/>
                        <a:gd name="connsiteY0" fmla="*/ 11364 h 14518"/>
                        <a:gd name="connsiteX1" fmla="*/ 9734 w 13965"/>
                        <a:gd name="connsiteY1" fmla="*/ 12141 h 14518"/>
                        <a:gd name="connsiteX2" fmla="*/ 8717 w 13965"/>
                        <a:gd name="connsiteY2" fmla="*/ 12739 h 14518"/>
                        <a:gd name="connsiteX3" fmla="*/ 7641 w 13965"/>
                        <a:gd name="connsiteY3" fmla="*/ 13158 h 14518"/>
                        <a:gd name="connsiteX4" fmla="*/ 6504 w 13965"/>
                        <a:gd name="connsiteY4" fmla="*/ 13337 h 14518"/>
                        <a:gd name="connsiteX5" fmla="*/ 5547 w 13965"/>
                        <a:gd name="connsiteY5" fmla="*/ 13337 h 14518"/>
                        <a:gd name="connsiteX6" fmla="*/ 4650 w 13965"/>
                        <a:gd name="connsiteY6" fmla="*/ 13218 h 14518"/>
                        <a:gd name="connsiteX7" fmla="*/ 3813 w 13965"/>
                        <a:gd name="connsiteY7" fmla="*/ 12919 h 14518"/>
                        <a:gd name="connsiteX8" fmla="*/ 3035 w 13965"/>
                        <a:gd name="connsiteY8" fmla="*/ 12500 h 14518"/>
                        <a:gd name="connsiteX9" fmla="*/ 2856 w 13965"/>
                        <a:gd name="connsiteY9" fmla="*/ 12380 h 14518"/>
                        <a:gd name="connsiteX10" fmla="*/ 2736 w 13965"/>
                        <a:gd name="connsiteY10" fmla="*/ 12260 h 14518"/>
                        <a:gd name="connsiteX11" fmla="*/ 2617 w 13965"/>
                        <a:gd name="connsiteY11" fmla="*/ 12141 h 14518"/>
                        <a:gd name="connsiteX12" fmla="*/ 2497 w 13965"/>
                        <a:gd name="connsiteY12" fmla="*/ 12021 h 14518"/>
                        <a:gd name="connsiteX13" fmla="*/ 1839 w 13965"/>
                        <a:gd name="connsiteY13" fmla="*/ 11184 h 14518"/>
                        <a:gd name="connsiteX14" fmla="*/ 1420 w 13965"/>
                        <a:gd name="connsiteY14" fmla="*/ 10167 h 14518"/>
                        <a:gd name="connsiteX15" fmla="*/ 1181 w 13965"/>
                        <a:gd name="connsiteY15" fmla="*/ 9031 h 14518"/>
                        <a:gd name="connsiteX16" fmla="*/ 1181 w 13965"/>
                        <a:gd name="connsiteY16" fmla="*/ 7835 h 14518"/>
                        <a:gd name="connsiteX17" fmla="*/ 1420 w 13965"/>
                        <a:gd name="connsiteY17" fmla="*/ 6579 h 14518"/>
                        <a:gd name="connsiteX18" fmla="*/ 1899 w 13965"/>
                        <a:gd name="connsiteY18" fmla="*/ 5383 h 14518"/>
                        <a:gd name="connsiteX19" fmla="*/ 2557 w 13965"/>
                        <a:gd name="connsiteY19" fmla="*/ 4246 h 14518"/>
                        <a:gd name="connsiteX20" fmla="*/ 3394 w 13965"/>
                        <a:gd name="connsiteY20" fmla="*/ 3229 h 14518"/>
                        <a:gd name="connsiteX21" fmla="*/ 4351 w 13965"/>
                        <a:gd name="connsiteY21" fmla="*/ 2392 h 14518"/>
                        <a:gd name="connsiteX22" fmla="*/ 5368 w 13965"/>
                        <a:gd name="connsiteY22" fmla="*/ 1734 h 14518"/>
                        <a:gd name="connsiteX23" fmla="*/ 6444 w 13965"/>
                        <a:gd name="connsiteY23" fmla="*/ 1256 h 14518"/>
                        <a:gd name="connsiteX24" fmla="*/ 7581 w 13965"/>
                        <a:gd name="connsiteY24" fmla="*/ 1017 h 14518"/>
                        <a:gd name="connsiteX25" fmla="*/ 7641 w 13965"/>
                        <a:gd name="connsiteY25" fmla="*/ 1017 h 14518"/>
                        <a:gd name="connsiteX26" fmla="*/ 7700 w 13965"/>
                        <a:gd name="connsiteY26" fmla="*/ 1017 h 14518"/>
                        <a:gd name="connsiteX27" fmla="*/ 7760 w 13965"/>
                        <a:gd name="connsiteY27" fmla="*/ 1017 h 14518"/>
                        <a:gd name="connsiteX28" fmla="*/ 7820 w 13965"/>
                        <a:gd name="connsiteY28" fmla="*/ 1017 h 14518"/>
                        <a:gd name="connsiteX29" fmla="*/ 7999 w 13965"/>
                        <a:gd name="connsiteY29" fmla="*/ 1017 h 14518"/>
                        <a:gd name="connsiteX30" fmla="*/ 8179 w 13965"/>
                        <a:gd name="connsiteY30" fmla="*/ 1017 h 14518"/>
                        <a:gd name="connsiteX31" fmla="*/ 8358 w 13965"/>
                        <a:gd name="connsiteY31" fmla="*/ 1017 h 14518"/>
                        <a:gd name="connsiteX32" fmla="*/ 8537 w 13965"/>
                        <a:gd name="connsiteY32" fmla="*/ 1017 h 14518"/>
                        <a:gd name="connsiteX33" fmla="*/ 9255 w 13965"/>
                        <a:gd name="connsiteY33" fmla="*/ 1076 h 14518"/>
                        <a:gd name="connsiteX34" fmla="*/ 9973 w 13965"/>
                        <a:gd name="connsiteY34" fmla="*/ 1256 h 14518"/>
                        <a:gd name="connsiteX35" fmla="*/ 10631 w 13965"/>
                        <a:gd name="connsiteY35" fmla="*/ 1555 h 14518"/>
                        <a:gd name="connsiteX36" fmla="*/ 11229 w 13965"/>
                        <a:gd name="connsiteY36" fmla="*/ 1914 h 14518"/>
                        <a:gd name="connsiteX37" fmla="*/ 11408 w 13965"/>
                        <a:gd name="connsiteY37" fmla="*/ 2034 h 14518"/>
                        <a:gd name="connsiteX38" fmla="*/ 11528 w 13965"/>
                        <a:gd name="connsiteY38" fmla="*/ 2153 h 14518"/>
                        <a:gd name="connsiteX39" fmla="*/ 11648 w 13965"/>
                        <a:gd name="connsiteY39" fmla="*/ 2273 h 14518"/>
                        <a:gd name="connsiteX40" fmla="*/ 11767 w 13965"/>
                        <a:gd name="connsiteY40" fmla="*/ 2392 h 14518"/>
                        <a:gd name="connsiteX41" fmla="*/ 12425 w 13965"/>
                        <a:gd name="connsiteY41" fmla="*/ 3289 h 14518"/>
                        <a:gd name="connsiteX42" fmla="*/ 12844 w 13965"/>
                        <a:gd name="connsiteY42" fmla="*/ 4306 h 14518"/>
                        <a:gd name="connsiteX43" fmla="*/ 13023 w 13965"/>
                        <a:gd name="connsiteY43" fmla="*/ 5443 h 14518"/>
                        <a:gd name="connsiteX44" fmla="*/ 12963 w 13965"/>
                        <a:gd name="connsiteY44" fmla="*/ 6639 h 14518"/>
                        <a:gd name="connsiteX45" fmla="*/ 12784 w 13965"/>
                        <a:gd name="connsiteY45" fmla="*/ 7596 h 14518"/>
                        <a:gd name="connsiteX46" fmla="*/ 12485 w 13965"/>
                        <a:gd name="connsiteY46" fmla="*/ 8493 h 14518"/>
                        <a:gd name="connsiteX47" fmla="*/ 12066 w 13965"/>
                        <a:gd name="connsiteY47" fmla="*/ 9390 h 14518"/>
                        <a:gd name="connsiteX48" fmla="*/ 11528 w 13965"/>
                        <a:gd name="connsiteY48" fmla="*/ 10227 h 14518"/>
                        <a:gd name="connsiteX49" fmla="*/ 11349 w 13965"/>
                        <a:gd name="connsiteY49" fmla="*/ 10466 h 14518"/>
                        <a:gd name="connsiteX50" fmla="*/ 11169 w 13965"/>
                        <a:gd name="connsiteY50" fmla="*/ 10705 h 14518"/>
                        <a:gd name="connsiteX51" fmla="*/ 10990 w 13965"/>
                        <a:gd name="connsiteY51" fmla="*/ 10945 h 14518"/>
                        <a:gd name="connsiteX52" fmla="*/ 10810 w 13965"/>
                        <a:gd name="connsiteY52" fmla="*/ 11184 h 14518"/>
                        <a:gd name="connsiteX53" fmla="*/ 10750 w 13965"/>
                        <a:gd name="connsiteY53" fmla="*/ 11244 h 14518"/>
                        <a:gd name="connsiteX54" fmla="*/ 10691 w 13965"/>
                        <a:gd name="connsiteY54" fmla="*/ 11304 h 14518"/>
                        <a:gd name="connsiteX55" fmla="*/ 10691 w 13965"/>
                        <a:gd name="connsiteY55" fmla="*/ 11364 h 14518"/>
                        <a:gd name="connsiteX56" fmla="*/ 10691 w 13965"/>
                        <a:gd name="connsiteY56" fmla="*/ 11364 h 14518"/>
                        <a:gd name="connsiteX57" fmla="*/ 2318 w 13965"/>
                        <a:gd name="connsiteY57" fmla="*/ 13397 h 14518"/>
                        <a:gd name="connsiteX58" fmla="*/ 3155 w 13965"/>
                        <a:gd name="connsiteY58" fmla="*/ 13935 h 14518"/>
                        <a:gd name="connsiteX59" fmla="*/ 4112 w 13965"/>
                        <a:gd name="connsiteY59" fmla="*/ 14294 h 14518"/>
                        <a:gd name="connsiteX60" fmla="*/ 5188 w 13965"/>
                        <a:gd name="connsiteY60" fmla="*/ 14473 h 14518"/>
                        <a:gd name="connsiteX61" fmla="*/ 6325 w 13965"/>
                        <a:gd name="connsiteY61" fmla="*/ 14473 h 14518"/>
                        <a:gd name="connsiteX62" fmla="*/ 7700 w 13965"/>
                        <a:gd name="connsiteY62" fmla="*/ 14174 h 14518"/>
                        <a:gd name="connsiteX63" fmla="*/ 9016 w 13965"/>
                        <a:gd name="connsiteY63" fmla="*/ 13636 h 14518"/>
                        <a:gd name="connsiteX64" fmla="*/ 10272 w 13965"/>
                        <a:gd name="connsiteY64" fmla="*/ 12859 h 14518"/>
                        <a:gd name="connsiteX65" fmla="*/ 11408 w 13965"/>
                        <a:gd name="connsiteY65" fmla="*/ 11842 h 14518"/>
                        <a:gd name="connsiteX66" fmla="*/ 11528 w 13965"/>
                        <a:gd name="connsiteY66" fmla="*/ 11722 h 14518"/>
                        <a:gd name="connsiteX67" fmla="*/ 11648 w 13965"/>
                        <a:gd name="connsiteY67" fmla="*/ 11603 h 14518"/>
                        <a:gd name="connsiteX68" fmla="*/ 11767 w 13965"/>
                        <a:gd name="connsiteY68" fmla="*/ 11423 h 14518"/>
                        <a:gd name="connsiteX69" fmla="*/ 11887 w 13965"/>
                        <a:gd name="connsiteY69" fmla="*/ 11244 h 14518"/>
                        <a:gd name="connsiteX70" fmla="*/ 12126 w 13965"/>
                        <a:gd name="connsiteY70" fmla="*/ 11005 h 14518"/>
                        <a:gd name="connsiteX71" fmla="*/ 12305 w 13965"/>
                        <a:gd name="connsiteY71" fmla="*/ 10765 h 14518"/>
                        <a:gd name="connsiteX72" fmla="*/ 12485 w 13965"/>
                        <a:gd name="connsiteY72" fmla="*/ 10466 h 14518"/>
                        <a:gd name="connsiteX73" fmla="*/ 12664 w 13965"/>
                        <a:gd name="connsiteY73" fmla="*/ 10167 h 14518"/>
                        <a:gd name="connsiteX74" fmla="*/ 13143 w 13965"/>
                        <a:gd name="connsiteY74" fmla="*/ 9330 h 14518"/>
                        <a:gd name="connsiteX75" fmla="*/ 13502 w 13965"/>
                        <a:gd name="connsiteY75" fmla="*/ 8433 h 14518"/>
                        <a:gd name="connsiteX76" fmla="*/ 13741 w 13965"/>
                        <a:gd name="connsiteY76" fmla="*/ 7536 h 14518"/>
                        <a:gd name="connsiteX77" fmla="*/ 13920 w 13965"/>
                        <a:gd name="connsiteY77" fmla="*/ 6579 h 14518"/>
                        <a:gd name="connsiteX78" fmla="*/ 13920 w 13965"/>
                        <a:gd name="connsiteY78" fmla="*/ 4904 h 14518"/>
                        <a:gd name="connsiteX79" fmla="*/ 13561 w 13965"/>
                        <a:gd name="connsiteY79" fmla="*/ 3409 h 14518"/>
                        <a:gd name="connsiteX80" fmla="*/ 12844 w 13965"/>
                        <a:gd name="connsiteY80" fmla="*/ 2093 h 14518"/>
                        <a:gd name="connsiteX81" fmla="*/ 11827 w 13965"/>
                        <a:gd name="connsiteY81" fmla="*/ 1076 h 14518"/>
                        <a:gd name="connsiteX82" fmla="*/ 11109 w 13965"/>
                        <a:gd name="connsiteY82" fmla="*/ 658 h 14518"/>
                        <a:gd name="connsiteX83" fmla="*/ 10332 w 13965"/>
                        <a:gd name="connsiteY83" fmla="*/ 299 h 14518"/>
                        <a:gd name="connsiteX84" fmla="*/ 9495 w 13965"/>
                        <a:gd name="connsiteY84" fmla="*/ 60 h 14518"/>
                        <a:gd name="connsiteX85" fmla="*/ 8597 w 13965"/>
                        <a:gd name="connsiteY85" fmla="*/ 0 h 14518"/>
                        <a:gd name="connsiteX86" fmla="*/ 8418 w 13965"/>
                        <a:gd name="connsiteY86" fmla="*/ 0 h 14518"/>
                        <a:gd name="connsiteX87" fmla="*/ 8238 w 13965"/>
                        <a:gd name="connsiteY87" fmla="*/ 0 h 14518"/>
                        <a:gd name="connsiteX88" fmla="*/ 8059 w 13965"/>
                        <a:gd name="connsiteY88" fmla="*/ 0 h 14518"/>
                        <a:gd name="connsiteX89" fmla="*/ 7880 w 13965"/>
                        <a:gd name="connsiteY89" fmla="*/ 0 h 14518"/>
                        <a:gd name="connsiteX90" fmla="*/ 7820 w 13965"/>
                        <a:gd name="connsiteY90" fmla="*/ 0 h 14518"/>
                        <a:gd name="connsiteX91" fmla="*/ 7760 w 13965"/>
                        <a:gd name="connsiteY91" fmla="*/ 0 h 14518"/>
                        <a:gd name="connsiteX92" fmla="*/ 7700 w 13965"/>
                        <a:gd name="connsiteY92" fmla="*/ 0 h 14518"/>
                        <a:gd name="connsiteX93" fmla="*/ 7641 w 13965"/>
                        <a:gd name="connsiteY93" fmla="*/ 0 h 14518"/>
                        <a:gd name="connsiteX94" fmla="*/ 6325 w 13965"/>
                        <a:gd name="connsiteY94" fmla="*/ 299 h 14518"/>
                        <a:gd name="connsiteX95" fmla="*/ 5009 w 13965"/>
                        <a:gd name="connsiteY95" fmla="*/ 837 h 14518"/>
                        <a:gd name="connsiteX96" fmla="*/ 3813 w 13965"/>
                        <a:gd name="connsiteY96" fmla="*/ 1615 h 14518"/>
                        <a:gd name="connsiteX97" fmla="*/ 2676 w 13965"/>
                        <a:gd name="connsiteY97" fmla="*/ 2572 h 14518"/>
                        <a:gd name="connsiteX98" fmla="*/ 1660 w 13965"/>
                        <a:gd name="connsiteY98" fmla="*/ 3768 h 14518"/>
                        <a:gd name="connsiteX99" fmla="*/ 882 w 13965"/>
                        <a:gd name="connsiteY99" fmla="*/ 5083 h 14518"/>
                        <a:gd name="connsiteX100" fmla="*/ 344 w 13965"/>
                        <a:gd name="connsiteY100" fmla="*/ 6459 h 14518"/>
                        <a:gd name="connsiteX101" fmla="*/ 45 w 13965"/>
                        <a:gd name="connsiteY101" fmla="*/ 7895 h 14518"/>
                        <a:gd name="connsiteX102" fmla="*/ 45 w 13965"/>
                        <a:gd name="connsiteY102" fmla="*/ 9569 h 14518"/>
                        <a:gd name="connsiteX103" fmla="*/ 464 w 13965"/>
                        <a:gd name="connsiteY103" fmla="*/ 11064 h 14518"/>
                        <a:gd name="connsiteX104" fmla="*/ 1181 w 13965"/>
                        <a:gd name="connsiteY104" fmla="*/ 12320 h 14518"/>
                        <a:gd name="connsiteX105" fmla="*/ 2318 w 13965"/>
                        <a:gd name="connsiteY105" fmla="*/ 13397 h 1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965" h="14518">
                          <a:moveTo>
                            <a:pt x="10691" y="11364"/>
                          </a:moveTo>
                          <a:cubicBezTo>
                            <a:pt x="10391" y="11662"/>
                            <a:pt x="10092" y="11902"/>
                            <a:pt x="9734" y="12141"/>
                          </a:cubicBezTo>
                          <a:cubicBezTo>
                            <a:pt x="9375" y="12380"/>
                            <a:pt x="9076" y="12559"/>
                            <a:pt x="8717" y="12739"/>
                          </a:cubicBezTo>
                          <a:cubicBezTo>
                            <a:pt x="8358" y="12919"/>
                            <a:pt x="7999" y="13038"/>
                            <a:pt x="7641" y="13158"/>
                          </a:cubicBezTo>
                          <a:cubicBezTo>
                            <a:pt x="7282" y="13277"/>
                            <a:pt x="6863" y="13337"/>
                            <a:pt x="6504" y="13337"/>
                          </a:cubicBezTo>
                          <a:cubicBezTo>
                            <a:pt x="6205" y="13397"/>
                            <a:pt x="5846" y="13397"/>
                            <a:pt x="5547" y="13337"/>
                          </a:cubicBezTo>
                          <a:cubicBezTo>
                            <a:pt x="5248" y="13337"/>
                            <a:pt x="4949" y="13277"/>
                            <a:pt x="4650" y="13218"/>
                          </a:cubicBezTo>
                          <a:cubicBezTo>
                            <a:pt x="4351" y="13158"/>
                            <a:pt x="4052" y="13038"/>
                            <a:pt x="3813" y="12919"/>
                          </a:cubicBezTo>
                          <a:cubicBezTo>
                            <a:pt x="3574" y="12799"/>
                            <a:pt x="3274" y="12619"/>
                            <a:pt x="3035" y="12500"/>
                          </a:cubicBezTo>
                          <a:cubicBezTo>
                            <a:pt x="2975" y="12440"/>
                            <a:pt x="2916" y="12440"/>
                            <a:pt x="2856" y="12380"/>
                          </a:cubicBezTo>
                          <a:cubicBezTo>
                            <a:pt x="2796" y="12320"/>
                            <a:pt x="2736" y="12320"/>
                            <a:pt x="2736" y="12260"/>
                          </a:cubicBezTo>
                          <a:cubicBezTo>
                            <a:pt x="2676" y="12201"/>
                            <a:pt x="2617" y="12201"/>
                            <a:pt x="2617" y="12141"/>
                          </a:cubicBezTo>
                          <a:cubicBezTo>
                            <a:pt x="2557" y="12081"/>
                            <a:pt x="2497" y="12021"/>
                            <a:pt x="2497" y="12021"/>
                          </a:cubicBezTo>
                          <a:cubicBezTo>
                            <a:pt x="2258" y="11782"/>
                            <a:pt x="2019" y="11483"/>
                            <a:pt x="1839" y="11184"/>
                          </a:cubicBezTo>
                          <a:cubicBezTo>
                            <a:pt x="1660" y="10885"/>
                            <a:pt x="1540" y="10526"/>
                            <a:pt x="1420" y="10167"/>
                          </a:cubicBezTo>
                          <a:cubicBezTo>
                            <a:pt x="1301" y="9808"/>
                            <a:pt x="1241" y="9450"/>
                            <a:pt x="1181" y="9031"/>
                          </a:cubicBezTo>
                          <a:cubicBezTo>
                            <a:pt x="1121" y="8672"/>
                            <a:pt x="1121" y="8253"/>
                            <a:pt x="1181" y="7835"/>
                          </a:cubicBezTo>
                          <a:cubicBezTo>
                            <a:pt x="1241" y="7416"/>
                            <a:pt x="1301" y="6997"/>
                            <a:pt x="1420" y="6579"/>
                          </a:cubicBezTo>
                          <a:cubicBezTo>
                            <a:pt x="1540" y="6160"/>
                            <a:pt x="1720" y="5801"/>
                            <a:pt x="1899" y="5383"/>
                          </a:cubicBezTo>
                          <a:cubicBezTo>
                            <a:pt x="2079" y="5024"/>
                            <a:pt x="2318" y="4605"/>
                            <a:pt x="2557" y="4246"/>
                          </a:cubicBezTo>
                          <a:cubicBezTo>
                            <a:pt x="2796" y="3888"/>
                            <a:pt x="3095" y="3529"/>
                            <a:pt x="3394" y="3229"/>
                          </a:cubicBezTo>
                          <a:cubicBezTo>
                            <a:pt x="3693" y="2930"/>
                            <a:pt x="3992" y="2632"/>
                            <a:pt x="4351" y="2392"/>
                          </a:cubicBezTo>
                          <a:cubicBezTo>
                            <a:pt x="4710" y="2153"/>
                            <a:pt x="5009" y="1914"/>
                            <a:pt x="5368" y="1734"/>
                          </a:cubicBezTo>
                          <a:cubicBezTo>
                            <a:pt x="5727" y="1555"/>
                            <a:pt x="6085" y="1375"/>
                            <a:pt x="6444" y="1256"/>
                          </a:cubicBezTo>
                          <a:cubicBezTo>
                            <a:pt x="6803" y="1136"/>
                            <a:pt x="7222" y="1076"/>
                            <a:pt x="7581" y="1017"/>
                          </a:cubicBezTo>
                          <a:cubicBezTo>
                            <a:pt x="7581" y="1017"/>
                            <a:pt x="7641" y="1017"/>
                            <a:pt x="7641" y="1017"/>
                          </a:cubicBezTo>
                          <a:cubicBezTo>
                            <a:pt x="7641" y="1017"/>
                            <a:pt x="7700" y="1017"/>
                            <a:pt x="7700" y="1017"/>
                          </a:cubicBezTo>
                          <a:cubicBezTo>
                            <a:pt x="7700" y="1017"/>
                            <a:pt x="7760" y="1017"/>
                            <a:pt x="7760" y="1017"/>
                          </a:cubicBezTo>
                          <a:cubicBezTo>
                            <a:pt x="7760" y="1017"/>
                            <a:pt x="7820" y="1017"/>
                            <a:pt x="7820" y="1017"/>
                          </a:cubicBezTo>
                          <a:cubicBezTo>
                            <a:pt x="7880" y="1017"/>
                            <a:pt x="7939" y="1017"/>
                            <a:pt x="7999" y="1017"/>
                          </a:cubicBezTo>
                          <a:cubicBezTo>
                            <a:pt x="8059" y="1017"/>
                            <a:pt x="8119" y="1017"/>
                            <a:pt x="8179" y="1017"/>
                          </a:cubicBezTo>
                          <a:cubicBezTo>
                            <a:pt x="8238" y="1017"/>
                            <a:pt x="8298" y="1017"/>
                            <a:pt x="8358" y="1017"/>
                          </a:cubicBezTo>
                          <a:cubicBezTo>
                            <a:pt x="8418" y="1017"/>
                            <a:pt x="8478" y="1017"/>
                            <a:pt x="8537" y="1017"/>
                          </a:cubicBezTo>
                          <a:cubicBezTo>
                            <a:pt x="8777" y="1017"/>
                            <a:pt x="9016" y="1076"/>
                            <a:pt x="9255" y="1076"/>
                          </a:cubicBezTo>
                          <a:cubicBezTo>
                            <a:pt x="9495" y="1076"/>
                            <a:pt x="9734" y="1196"/>
                            <a:pt x="9973" y="1256"/>
                          </a:cubicBezTo>
                          <a:cubicBezTo>
                            <a:pt x="10212" y="1316"/>
                            <a:pt x="10391" y="1435"/>
                            <a:pt x="10631" y="1555"/>
                          </a:cubicBezTo>
                          <a:cubicBezTo>
                            <a:pt x="10870" y="1675"/>
                            <a:pt x="11050" y="1794"/>
                            <a:pt x="11229" y="1914"/>
                          </a:cubicBezTo>
                          <a:cubicBezTo>
                            <a:pt x="11289" y="1974"/>
                            <a:pt x="11349" y="1974"/>
                            <a:pt x="11408" y="2034"/>
                          </a:cubicBezTo>
                          <a:cubicBezTo>
                            <a:pt x="11468" y="2093"/>
                            <a:pt x="11528" y="2093"/>
                            <a:pt x="11528" y="2153"/>
                          </a:cubicBezTo>
                          <a:cubicBezTo>
                            <a:pt x="11588" y="2213"/>
                            <a:pt x="11648" y="2213"/>
                            <a:pt x="11648" y="2273"/>
                          </a:cubicBezTo>
                          <a:cubicBezTo>
                            <a:pt x="11707" y="2333"/>
                            <a:pt x="11767" y="2392"/>
                            <a:pt x="11767" y="2392"/>
                          </a:cubicBezTo>
                          <a:cubicBezTo>
                            <a:pt x="12006" y="2632"/>
                            <a:pt x="12245" y="2930"/>
                            <a:pt x="12425" y="3289"/>
                          </a:cubicBezTo>
                          <a:cubicBezTo>
                            <a:pt x="12605" y="3588"/>
                            <a:pt x="12724" y="3947"/>
                            <a:pt x="12844" y="4306"/>
                          </a:cubicBezTo>
                          <a:cubicBezTo>
                            <a:pt x="12963" y="4665"/>
                            <a:pt x="13023" y="5024"/>
                            <a:pt x="13023" y="5443"/>
                          </a:cubicBezTo>
                          <a:cubicBezTo>
                            <a:pt x="13023" y="5861"/>
                            <a:pt x="13023" y="6220"/>
                            <a:pt x="12963" y="6639"/>
                          </a:cubicBezTo>
                          <a:cubicBezTo>
                            <a:pt x="12904" y="6938"/>
                            <a:pt x="12844" y="7237"/>
                            <a:pt x="12784" y="7596"/>
                          </a:cubicBezTo>
                          <a:cubicBezTo>
                            <a:pt x="12724" y="7954"/>
                            <a:pt x="12605" y="8194"/>
                            <a:pt x="12485" y="8493"/>
                          </a:cubicBezTo>
                          <a:cubicBezTo>
                            <a:pt x="12365" y="8792"/>
                            <a:pt x="12245" y="9091"/>
                            <a:pt x="12066" y="9390"/>
                          </a:cubicBezTo>
                          <a:cubicBezTo>
                            <a:pt x="11887" y="9689"/>
                            <a:pt x="11707" y="9988"/>
                            <a:pt x="11528" y="10227"/>
                          </a:cubicBezTo>
                          <a:cubicBezTo>
                            <a:pt x="11468" y="10287"/>
                            <a:pt x="11408" y="10406"/>
                            <a:pt x="11349" y="10466"/>
                          </a:cubicBezTo>
                          <a:cubicBezTo>
                            <a:pt x="11289" y="10526"/>
                            <a:pt x="11229" y="10646"/>
                            <a:pt x="11169" y="10705"/>
                          </a:cubicBezTo>
                          <a:cubicBezTo>
                            <a:pt x="11109" y="10765"/>
                            <a:pt x="11050" y="10825"/>
                            <a:pt x="10990" y="10945"/>
                          </a:cubicBezTo>
                          <a:cubicBezTo>
                            <a:pt x="10930" y="11005"/>
                            <a:pt x="10870" y="11064"/>
                            <a:pt x="10810" y="11184"/>
                          </a:cubicBezTo>
                          <a:cubicBezTo>
                            <a:pt x="10810" y="11184"/>
                            <a:pt x="10750" y="11244"/>
                            <a:pt x="10750" y="11244"/>
                          </a:cubicBezTo>
                          <a:cubicBezTo>
                            <a:pt x="10750" y="11244"/>
                            <a:pt x="10691" y="11304"/>
                            <a:pt x="10691" y="11304"/>
                          </a:cubicBezTo>
                          <a:cubicBezTo>
                            <a:pt x="10691" y="11304"/>
                            <a:pt x="10750" y="11304"/>
                            <a:pt x="10691" y="11364"/>
                          </a:cubicBezTo>
                          <a:cubicBezTo>
                            <a:pt x="10691" y="11364"/>
                            <a:pt x="10691" y="11364"/>
                            <a:pt x="10691" y="11364"/>
                          </a:cubicBezTo>
                          <a:moveTo>
                            <a:pt x="2318" y="13397"/>
                          </a:moveTo>
                          <a:cubicBezTo>
                            <a:pt x="2557" y="13576"/>
                            <a:pt x="2856" y="13756"/>
                            <a:pt x="3155" y="13935"/>
                          </a:cubicBezTo>
                          <a:cubicBezTo>
                            <a:pt x="3454" y="14055"/>
                            <a:pt x="3813" y="14174"/>
                            <a:pt x="4112" y="14294"/>
                          </a:cubicBezTo>
                          <a:cubicBezTo>
                            <a:pt x="4471" y="14414"/>
                            <a:pt x="4829" y="14473"/>
                            <a:pt x="5188" y="14473"/>
                          </a:cubicBezTo>
                          <a:cubicBezTo>
                            <a:pt x="5547" y="14533"/>
                            <a:pt x="5966" y="14533"/>
                            <a:pt x="6325" y="14473"/>
                          </a:cubicBezTo>
                          <a:cubicBezTo>
                            <a:pt x="6803" y="14414"/>
                            <a:pt x="7282" y="14354"/>
                            <a:pt x="7700" y="14174"/>
                          </a:cubicBezTo>
                          <a:cubicBezTo>
                            <a:pt x="8119" y="13995"/>
                            <a:pt x="8597" y="13875"/>
                            <a:pt x="9016" y="13636"/>
                          </a:cubicBezTo>
                          <a:cubicBezTo>
                            <a:pt x="9435" y="13397"/>
                            <a:pt x="9853" y="13158"/>
                            <a:pt x="10272" y="12859"/>
                          </a:cubicBezTo>
                          <a:cubicBezTo>
                            <a:pt x="10691" y="12559"/>
                            <a:pt x="11050" y="12260"/>
                            <a:pt x="11408" y="11842"/>
                          </a:cubicBezTo>
                          <a:cubicBezTo>
                            <a:pt x="11468" y="11782"/>
                            <a:pt x="11528" y="11722"/>
                            <a:pt x="11528" y="11722"/>
                          </a:cubicBezTo>
                          <a:cubicBezTo>
                            <a:pt x="11588" y="11662"/>
                            <a:pt x="11648" y="11603"/>
                            <a:pt x="11648" y="11603"/>
                          </a:cubicBezTo>
                          <a:cubicBezTo>
                            <a:pt x="11648" y="11603"/>
                            <a:pt x="11767" y="11483"/>
                            <a:pt x="11767" y="11423"/>
                          </a:cubicBezTo>
                          <a:cubicBezTo>
                            <a:pt x="11827" y="11364"/>
                            <a:pt x="11827" y="11304"/>
                            <a:pt x="11887" y="11244"/>
                          </a:cubicBezTo>
                          <a:cubicBezTo>
                            <a:pt x="11946" y="11184"/>
                            <a:pt x="12006" y="11064"/>
                            <a:pt x="12126" y="11005"/>
                          </a:cubicBezTo>
                          <a:cubicBezTo>
                            <a:pt x="12245" y="10945"/>
                            <a:pt x="12245" y="10825"/>
                            <a:pt x="12305" y="10765"/>
                          </a:cubicBezTo>
                          <a:cubicBezTo>
                            <a:pt x="12365" y="10705"/>
                            <a:pt x="12425" y="10586"/>
                            <a:pt x="12485" y="10466"/>
                          </a:cubicBezTo>
                          <a:cubicBezTo>
                            <a:pt x="12545" y="10347"/>
                            <a:pt x="12605" y="10287"/>
                            <a:pt x="12664" y="10167"/>
                          </a:cubicBezTo>
                          <a:cubicBezTo>
                            <a:pt x="12844" y="9868"/>
                            <a:pt x="13023" y="9629"/>
                            <a:pt x="13143" y="9330"/>
                          </a:cubicBezTo>
                          <a:cubicBezTo>
                            <a:pt x="13262" y="9031"/>
                            <a:pt x="13382" y="8732"/>
                            <a:pt x="13502" y="8433"/>
                          </a:cubicBezTo>
                          <a:cubicBezTo>
                            <a:pt x="13621" y="8134"/>
                            <a:pt x="13681" y="7835"/>
                            <a:pt x="13741" y="7536"/>
                          </a:cubicBezTo>
                          <a:cubicBezTo>
                            <a:pt x="13800" y="7237"/>
                            <a:pt x="13860" y="6938"/>
                            <a:pt x="13920" y="6579"/>
                          </a:cubicBezTo>
                          <a:cubicBezTo>
                            <a:pt x="13980" y="5981"/>
                            <a:pt x="13980" y="5443"/>
                            <a:pt x="13920" y="4904"/>
                          </a:cubicBezTo>
                          <a:cubicBezTo>
                            <a:pt x="13860" y="4366"/>
                            <a:pt x="13741" y="3888"/>
                            <a:pt x="13561" y="3409"/>
                          </a:cubicBezTo>
                          <a:cubicBezTo>
                            <a:pt x="13382" y="2930"/>
                            <a:pt x="13143" y="2512"/>
                            <a:pt x="12844" y="2093"/>
                          </a:cubicBezTo>
                          <a:cubicBezTo>
                            <a:pt x="12545" y="1675"/>
                            <a:pt x="12186" y="1375"/>
                            <a:pt x="11827" y="1076"/>
                          </a:cubicBezTo>
                          <a:cubicBezTo>
                            <a:pt x="11588" y="897"/>
                            <a:pt x="11349" y="778"/>
                            <a:pt x="11109" y="658"/>
                          </a:cubicBezTo>
                          <a:cubicBezTo>
                            <a:pt x="10870" y="538"/>
                            <a:pt x="10631" y="419"/>
                            <a:pt x="10332" y="299"/>
                          </a:cubicBezTo>
                          <a:cubicBezTo>
                            <a:pt x="10033" y="180"/>
                            <a:pt x="9794" y="120"/>
                            <a:pt x="9495" y="60"/>
                          </a:cubicBezTo>
                          <a:cubicBezTo>
                            <a:pt x="9196" y="0"/>
                            <a:pt x="8896" y="0"/>
                            <a:pt x="8597" y="0"/>
                          </a:cubicBezTo>
                          <a:cubicBezTo>
                            <a:pt x="8537" y="0"/>
                            <a:pt x="8478" y="0"/>
                            <a:pt x="8418" y="0"/>
                          </a:cubicBezTo>
                          <a:cubicBezTo>
                            <a:pt x="8358" y="0"/>
                            <a:pt x="8298" y="0"/>
                            <a:pt x="8238" y="0"/>
                          </a:cubicBezTo>
                          <a:cubicBezTo>
                            <a:pt x="8179" y="0"/>
                            <a:pt x="8119" y="0"/>
                            <a:pt x="8059" y="0"/>
                          </a:cubicBezTo>
                          <a:cubicBezTo>
                            <a:pt x="7999" y="0"/>
                            <a:pt x="7939" y="0"/>
                            <a:pt x="7880" y="0"/>
                          </a:cubicBezTo>
                          <a:cubicBezTo>
                            <a:pt x="7880" y="0"/>
                            <a:pt x="7820" y="0"/>
                            <a:pt x="7820" y="0"/>
                          </a:cubicBezTo>
                          <a:cubicBezTo>
                            <a:pt x="7820" y="0"/>
                            <a:pt x="7760" y="0"/>
                            <a:pt x="7760" y="0"/>
                          </a:cubicBezTo>
                          <a:cubicBezTo>
                            <a:pt x="7760" y="0"/>
                            <a:pt x="7700" y="0"/>
                            <a:pt x="7700" y="0"/>
                          </a:cubicBezTo>
                          <a:cubicBezTo>
                            <a:pt x="7700" y="0"/>
                            <a:pt x="7641" y="0"/>
                            <a:pt x="7641" y="0"/>
                          </a:cubicBezTo>
                          <a:cubicBezTo>
                            <a:pt x="7222" y="60"/>
                            <a:pt x="6743" y="120"/>
                            <a:pt x="6325" y="299"/>
                          </a:cubicBezTo>
                          <a:cubicBezTo>
                            <a:pt x="5906" y="479"/>
                            <a:pt x="5428" y="598"/>
                            <a:pt x="5009" y="837"/>
                          </a:cubicBezTo>
                          <a:cubicBezTo>
                            <a:pt x="4590" y="1076"/>
                            <a:pt x="4172" y="1316"/>
                            <a:pt x="3813" y="1615"/>
                          </a:cubicBezTo>
                          <a:cubicBezTo>
                            <a:pt x="3454" y="1914"/>
                            <a:pt x="3035" y="2213"/>
                            <a:pt x="2676" y="2572"/>
                          </a:cubicBezTo>
                          <a:cubicBezTo>
                            <a:pt x="2318" y="2930"/>
                            <a:pt x="1959" y="3349"/>
                            <a:pt x="1660" y="3768"/>
                          </a:cubicBezTo>
                          <a:cubicBezTo>
                            <a:pt x="1361" y="4187"/>
                            <a:pt x="1121" y="4605"/>
                            <a:pt x="882" y="5083"/>
                          </a:cubicBezTo>
                          <a:cubicBezTo>
                            <a:pt x="643" y="5502"/>
                            <a:pt x="464" y="5981"/>
                            <a:pt x="344" y="6459"/>
                          </a:cubicBezTo>
                          <a:cubicBezTo>
                            <a:pt x="224" y="6938"/>
                            <a:pt x="105" y="7416"/>
                            <a:pt x="45" y="7895"/>
                          </a:cubicBezTo>
                          <a:cubicBezTo>
                            <a:pt x="-15" y="8493"/>
                            <a:pt x="-15" y="9031"/>
                            <a:pt x="45" y="9569"/>
                          </a:cubicBezTo>
                          <a:cubicBezTo>
                            <a:pt x="105" y="10107"/>
                            <a:pt x="224" y="10586"/>
                            <a:pt x="464" y="11064"/>
                          </a:cubicBezTo>
                          <a:cubicBezTo>
                            <a:pt x="643" y="11543"/>
                            <a:pt x="882" y="11961"/>
                            <a:pt x="1181" y="12320"/>
                          </a:cubicBezTo>
                          <a:cubicBezTo>
                            <a:pt x="1540" y="12739"/>
                            <a:pt x="1899" y="13098"/>
                            <a:pt x="2318" y="13397"/>
                          </a:cubicBezTo>
                        </a:path>
                      </a:pathLst>
                    </a:custGeom>
                    <a:noFill/>
                    <a:ln w="6350" cap="flat">
                      <a:solidFill>
                        <a:schemeClr val="bg1">
                          <a:alpha val="80000"/>
                        </a:schemeClr>
                      </a:solidFill>
                      <a:prstDash val="solid"/>
                      <a:miter/>
                    </a:ln>
                  </p:spPr>
                  <p:txBody>
                    <a:bodyPr rtlCol="0" anchor="ctr"/>
                    <a:lstStyle/>
                    <a:p>
                      <a:endParaRPr lang="en-GB"/>
                    </a:p>
                  </p:txBody>
                </p:sp>
                <p:sp>
                  <p:nvSpPr>
                    <p:cNvPr id="7517" name="Vrije vorm: vorm 7516">
                      <a:extLst>
                        <a:ext uri="{FF2B5EF4-FFF2-40B4-BE49-F238E27FC236}">
                          <a16:creationId xmlns:a16="http://schemas.microsoft.com/office/drawing/2014/main" id="{F4FF7B1F-BBA1-4806-9314-9FB9A3081904}"/>
                        </a:ext>
                      </a:extLst>
                    </p:cNvPr>
                    <p:cNvSpPr/>
                    <p:nvPr/>
                  </p:nvSpPr>
                  <p:spPr>
                    <a:xfrm>
                      <a:off x="5198463" y="5195911"/>
                      <a:ext cx="40070" cy="42741"/>
                    </a:xfrm>
                    <a:custGeom>
                      <a:avLst/>
                      <a:gdLst>
                        <a:gd name="connsiteX0" fmla="*/ 7117 w 40070"/>
                        <a:gd name="connsiteY0" fmla="*/ 39174 h 42741"/>
                        <a:gd name="connsiteX1" fmla="*/ 6997 w 40070"/>
                        <a:gd name="connsiteY1" fmla="*/ 39054 h 42741"/>
                        <a:gd name="connsiteX2" fmla="*/ 6878 w 40070"/>
                        <a:gd name="connsiteY2" fmla="*/ 38935 h 42741"/>
                        <a:gd name="connsiteX3" fmla="*/ 6758 w 40070"/>
                        <a:gd name="connsiteY3" fmla="*/ 38815 h 42741"/>
                        <a:gd name="connsiteX4" fmla="*/ 6639 w 40070"/>
                        <a:gd name="connsiteY4" fmla="*/ 38695 h 42741"/>
                        <a:gd name="connsiteX5" fmla="*/ 6519 w 40070"/>
                        <a:gd name="connsiteY5" fmla="*/ 38576 h 42741"/>
                        <a:gd name="connsiteX6" fmla="*/ 6399 w 40070"/>
                        <a:gd name="connsiteY6" fmla="*/ 38456 h 42741"/>
                        <a:gd name="connsiteX7" fmla="*/ 6280 w 40070"/>
                        <a:gd name="connsiteY7" fmla="*/ 38336 h 42741"/>
                        <a:gd name="connsiteX8" fmla="*/ 6160 w 40070"/>
                        <a:gd name="connsiteY8" fmla="*/ 38217 h 42741"/>
                        <a:gd name="connsiteX9" fmla="*/ 4246 w 40070"/>
                        <a:gd name="connsiteY9" fmla="*/ 36123 h 42741"/>
                        <a:gd name="connsiteX10" fmla="*/ 2751 w 40070"/>
                        <a:gd name="connsiteY10" fmla="*/ 33612 h 42741"/>
                        <a:gd name="connsiteX11" fmla="*/ 1734 w 40070"/>
                        <a:gd name="connsiteY11" fmla="*/ 30741 h 42741"/>
                        <a:gd name="connsiteX12" fmla="*/ 1196 w 40070"/>
                        <a:gd name="connsiteY12" fmla="*/ 27571 h 42741"/>
                        <a:gd name="connsiteX13" fmla="*/ 1196 w 40070"/>
                        <a:gd name="connsiteY13" fmla="*/ 27332 h 42741"/>
                        <a:gd name="connsiteX14" fmla="*/ 1196 w 40070"/>
                        <a:gd name="connsiteY14" fmla="*/ 27092 h 42741"/>
                        <a:gd name="connsiteX15" fmla="*/ 1196 w 40070"/>
                        <a:gd name="connsiteY15" fmla="*/ 26853 h 42741"/>
                        <a:gd name="connsiteX16" fmla="*/ 1196 w 40070"/>
                        <a:gd name="connsiteY16" fmla="*/ 26614 h 42741"/>
                        <a:gd name="connsiteX17" fmla="*/ 1196 w 40070"/>
                        <a:gd name="connsiteY17" fmla="*/ 25777 h 42741"/>
                        <a:gd name="connsiteX18" fmla="*/ 1256 w 40070"/>
                        <a:gd name="connsiteY18" fmla="*/ 24940 h 42741"/>
                        <a:gd name="connsiteX19" fmla="*/ 1316 w 40070"/>
                        <a:gd name="connsiteY19" fmla="*/ 24102 h 42741"/>
                        <a:gd name="connsiteX20" fmla="*/ 1435 w 40070"/>
                        <a:gd name="connsiteY20" fmla="*/ 23265 h 42741"/>
                        <a:gd name="connsiteX21" fmla="*/ 1794 w 40070"/>
                        <a:gd name="connsiteY21" fmla="*/ 21411 h 42741"/>
                        <a:gd name="connsiteX22" fmla="*/ 2273 w 40070"/>
                        <a:gd name="connsiteY22" fmla="*/ 19617 h 42741"/>
                        <a:gd name="connsiteX23" fmla="*/ 2871 w 40070"/>
                        <a:gd name="connsiteY23" fmla="*/ 17822 h 42741"/>
                        <a:gd name="connsiteX24" fmla="*/ 3588 w 40070"/>
                        <a:gd name="connsiteY24" fmla="*/ 16088 h 42741"/>
                        <a:gd name="connsiteX25" fmla="*/ 3708 w 40070"/>
                        <a:gd name="connsiteY25" fmla="*/ 15849 h 42741"/>
                        <a:gd name="connsiteX26" fmla="*/ 3828 w 40070"/>
                        <a:gd name="connsiteY26" fmla="*/ 15610 h 42741"/>
                        <a:gd name="connsiteX27" fmla="*/ 3947 w 40070"/>
                        <a:gd name="connsiteY27" fmla="*/ 15370 h 42741"/>
                        <a:gd name="connsiteX28" fmla="*/ 4067 w 40070"/>
                        <a:gd name="connsiteY28" fmla="*/ 15131 h 42741"/>
                        <a:gd name="connsiteX29" fmla="*/ 5442 w 40070"/>
                        <a:gd name="connsiteY29" fmla="*/ 12739 h 42741"/>
                        <a:gd name="connsiteX30" fmla="*/ 7057 w 40070"/>
                        <a:gd name="connsiteY30" fmla="*/ 10526 h 42741"/>
                        <a:gd name="connsiteX31" fmla="*/ 8851 w 40070"/>
                        <a:gd name="connsiteY31" fmla="*/ 8493 h 42741"/>
                        <a:gd name="connsiteX32" fmla="*/ 10825 w 40070"/>
                        <a:gd name="connsiteY32" fmla="*/ 6639 h 42741"/>
                        <a:gd name="connsiteX33" fmla="*/ 11184 w 40070"/>
                        <a:gd name="connsiteY33" fmla="*/ 6340 h 42741"/>
                        <a:gd name="connsiteX34" fmla="*/ 11543 w 40070"/>
                        <a:gd name="connsiteY34" fmla="*/ 6041 h 42741"/>
                        <a:gd name="connsiteX35" fmla="*/ 11902 w 40070"/>
                        <a:gd name="connsiteY35" fmla="*/ 5742 h 42741"/>
                        <a:gd name="connsiteX36" fmla="*/ 12260 w 40070"/>
                        <a:gd name="connsiteY36" fmla="*/ 5442 h 42741"/>
                        <a:gd name="connsiteX37" fmla="*/ 14832 w 40070"/>
                        <a:gd name="connsiteY37" fmla="*/ 3768 h 42741"/>
                        <a:gd name="connsiteX38" fmla="*/ 17583 w 40070"/>
                        <a:gd name="connsiteY38" fmla="*/ 2452 h 42741"/>
                        <a:gd name="connsiteX39" fmla="*/ 20394 w 40070"/>
                        <a:gd name="connsiteY39" fmla="*/ 1555 h 42741"/>
                        <a:gd name="connsiteX40" fmla="*/ 23265 w 40070"/>
                        <a:gd name="connsiteY40" fmla="*/ 1076 h 42741"/>
                        <a:gd name="connsiteX41" fmla="*/ 24342 w 40070"/>
                        <a:gd name="connsiteY41" fmla="*/ 1017 h 42741"/>
                        <a:gd name="connsiteX42" fmla="*/ 25418 w 40070"/>
                        <a:gd name="connsiteY42" fmla="*/ 1017 h 42741"/>
                        <a:gd name="connsiteX43" fmla="*/ 26435 w 40070"/>
                        <a:gd name="connsiteY43" fmla="*/ 1076 h 42741"/>
                        <a:gd name="connsiteX44" fmla="*/ 27452 w 40070"/>
                        <a:gd name="connsiteY44" fmla="*/ 1196 h 42741"/>
                        <a:gd name="connsiteX45" fmla="*/ 27751 w 40070"/>
                        <a:gd name="connsiteY45" fmla="*/ 1256 h 42741"/>
                        <a:gd name="connsiteX46" fmla="*/ 28050 w 40070"/>
                        <a:gd name="connsiteY46" fmla="*/ 1316 h 42741"/>
                        <a:gd name="connsiteX47" fmla="*/ 28349 w 40070"/>
                        <a:gd name="connsiteY47" fmla="*/ 1375 h 42741"/>
                        <a:gd name="connsiteX48" fmla="*/ 28648 w 40070"/>
                        <a:gd name="connsiteY48" fmla="*/ 1435 h 42741"/>
                        <a:gd name="connsiteX49" fmla="*/ 29963 w 40070"/>
                        <a:gd name="connsiteY49" fmla="*/ 1854 h 42741"/>
                        <a:gd name="connsiteX50" fmla="*/ 31219 w 40070"/>
                        <a:gd name="connsiteY50" fmla="*/ 2392 h 42741"/>
                        <a:gd name="connsiteX51" fmla="*/ 32415 w 40070"/>
                        <a:gd name="connsiteY51" fmla="*/ 3050 h 42741"/>
                        <a:gd name="connsiteX52" fmla="*/ 33552 w 40070"/>
                        <a:gd name="connsiteY52" fmla="*/ 3828 h 42741"/>
                        <a:gd name="connsiteX53" fmla="*/ 33671 w 40070"/>
                        <a:gd name="connsiteY53" fmla="*/ 3888 h 42741"/>
                        <a:gd name="connsiteX54" fmla="*/ 33791 w 40070"/>
                        <a:gd name="connsiteY54" fmla="*/ 3947 h 42741"/>
                        <a:gd name="connsiteX55" fmla="*/ 33911 w 40070"/>
                        <a:gd name="connsiteY55" fmla="*/ 4007 h 42741"/>
                        <a:gd name="connsiteX56" fmla="*/ 34030 w 40070"/>
                        <a:gd name="connsiteY56" fmla="*/ 4067 h 42741"/>
                        <a:gd name="connsiteX57" fmla="*/ 34090 w 40070"/>
                        <a:gd name="connsiteY57" fmla="*/ 4127 h 42741"/>
                        <a:gd name="connsiteX58" fmla="*/ 34150 w 40070"/>
                        <a:gd name="connsiteY58" fmla="*/ 4187 h 42741"/>
                        <a:gd name="connsiteX59" fmla="*/ 34210 w 40070"/>
                        <a:gd name="connsiteY59" fmla="*/ 4246 h 42741"/>
                        <a:gd name="connsiteX60" fmla="*/ 34269 w 40070"/>
                        <a:gd name="connsiteY60" fmla="*/ 4306 h 42741"/>
                        <a:gd name="connsiteX61" fmla="*/ 35406 w 40070"/>
                        <a:gd name="connsiteY61" fmla="*/ 5442 h 42741"/>
                        <a:gd name="connsiteX62" fmla="*/ 36423 w 40070"/>
                        <a:gd name="connsiteY62" fmla="*/ 6698 h 42741"/>
                        <a:gd name="connsiteX63" fmla="*/ 37320 w 40070"/>
                        <a:gd name="connsiteY63" fmla="*/ 8074 h 42741"/>
                        <a:gd name="connsiteX64" fmla="*/ 38037 w 40070"/>
                        <a:gd name="connsiteY64" fmla="*/ 9569 h 42741"/>
                        <a:gd name="connsiteX65" fmla="*/ 38097 w 40070"/>
                        <a:gd name="connsiteY65" fmla="*/ 9749 h 42741"/>
                        <a:gd name="connsiteX66" fmla="*/ 38157 w 40070"/>
                        <a:gd name="connsiteY66" fmla="*/ 9988 h 42741"/>
                        <a:gd name="connsiteX67" fmla="*/ 38217 w 40070"/>
                        <a:gd name="connsiteY67" fmla="*/ 10227 h 42741"/>
                        <a:gd name="connsiteX68" fmla="*/ 38277 w 40070"/>
                        <a:gd name="connsiteY68" fmla="*/ 10466 h 42741"/>
                        <a:gd name="connsiteX69" fmla="*/ 38815 w 40070"/>
                        <a:gd name="connsiteY69" fmla="*/ 12320 h 42741"/>
                        <a:gd name="connsiteX70" fmla="*/ 39174 w 40070"/>
                        <a:gd name="connsiteY70" fmla="*/ 14294 h 42741"/>
                        <a:gd name="connsiteX71" fmla="*/ 39293 w 40070"/>
                        <a:gd name="connsiteY71" fmla="*/ 16387 h 42741"/>
                        <a:gd name="connsiteX72" fmla="*/ 39174 w 40070"/>
                        <a:gd name="connsiteY72" fmla="*/ 18540 h 42741"/>
                        <a:gd name="connsiteX73" fmla="*/ 39174 w 40070"/>
                        <a:gd name="connsiteY73" fmla="*/ 18780 h 42741"/>
                        <a:gd name="connsiteX74" fmla="*/ 39114 w 40070"/>
                        <a:gd name="connsiteY74" fmla="*/ 19019 h 42741"/>
                        <a:gd name="connsiteX75" fmla="*/ 39054 w 40070"/>
                        <a:gd name="connsiteY75" fmla="*/ 19258 h 42741"/>
                        <a:gd name="connsiteX76" fmla="*/ 38994 w 40070"/>
                        <a:gd name="connsiteY76" fmla="*/ 19497 h 42741"/>
                        <a:gd name="connsiteX77" fmla="*/ 38994 w 40070"/>
                        <a:gd name="connsiteY77" fmla="*/ 19557 h 42741"/>
                        <a:gd name="connsiteX78" fmla="*/ 38994 w 40070"/>
                        <a:gd name="connsiteY78" fmla="*/ 19617 h 42741"/>
                        <a:gd name="connsiteX79" fmla="*/ 38994 w 40070"/>
                        <a:gd name="connsiteY79" fmla="*/ 19676 h 42741"/>
                        <a:gd name="connsiteX80" fmla="*/ 38994 w 40070"/>
                        <a:gd name="connsiteY80" fmla="*/ 19736 h 42741"/>
                        <a:gd name="connsiteX81" fmla="*/ 38037 w 40070"/>
                        <a:gd name="connsiteY81" fmla="*/ 23684 h 42741"/>
                        <a:gd name="connsiteX82" fmla="*/ 36423 w 40070"/>
                        <a:gd name="connsiteY82" fmla="*/ 27511 h 42741"/>
                        <a:gd name="connsiteX83" fmla="*/ 34210 w 40070"/>
                        <a:gd name="connsiteY83" fmla="*/ 31100 h 42741"/>
                        <a:gd name="connsiteX84" fmla="*/ 31459 w 40070"/>
                        <a:gd name="connsiteY84" fmla="*/ 34329 h 42741"/>
                        <a:gd name="connsiteX85" fmla="*/ 28229 w 40070"/>
                        <a:gd name="connsiteY85" fmla="*/ 37140 h 42741"/>
                        <a:gd name="connsiteX86" fmla="*/ 24760 w 40070"/>
                        <a:gd name="connsiteY86" fmla="*/ 39293 h 42741"/>
                        <a:gd name="connsiteX87" fmla="*/ 21112 w 40070"/>
                        <a:gd name="connsiteY87" fmla="*/ 40789 h 42741"/>
                        <a:gd name="connsiteX88" fmla="*/ 17344 w 40070"/>
                        <a:gd name="connsiteY88" fmla="*/ 41566 h 42741"/>
                        <a:gd name="connsiteX89" fmla="*/ 14473 w 40070"/>
                        <a:gd name="connsiteY89" fmla="*/ 41626 h 42741"/>
                        <a:gd name="connsiteX90" fmla="*/ 11782 w 40070"/>
                        <a:gd name="connsiteY90" fmla="*/ 41207 h 42741"/>
                        <a:gd name="connsiteX91" fmla="*/ 9330 w 40070"/>
                        <a:gd name="connsiteY91" fmla="*/ 40370 h 42741"/>
                        <a:gd name="connsiteX92" fmla="*/ 7117 w 40070"/>
                        <a:gd name="connsiteY92" fmla="*/ 39174 h 42741"/>
                        <a:gd name="connsiteX93" fmla="*/ 5921 w 40070"/>
                        <a:gd name="connsiteY93" fmla="*/ 39652 h 42741"/>
                        <a:gd name="connsiteX94" fmla="*/ 8373 w 40070"/>
                        <a:gd name="connsiteY94" fmla="*/ 41207 h 42741"/>
                        <a:gd name="connsiteX95" fmla="*/ 11064 w 40070"/>
                        <a:gd name="connsiteY95" fmla="*/ 42224 h 42741"/>
                        <a:gd name="connsiteX96" fmla="*/ 13995 w 40070"/>
                        <a:gd name="connsiteY96" fmla="*/ 42702 h 42741"/>
                        <a:gd name="connsiteX97" fmla="*/ 17165 w 40070"/>
                        <a:gd name="connsiteY97" fmla="*/ 42643 h 42741"/>
                        <a:gd name="connsiteX98" fmla="*/ 21112 w 40070"/>
                        <a:gd name="connsiteY98" fmla="*/ 41865 h 42741"/>
                        <a:gd name="connsiteX99" fmla="*/ 24940 w 40070"/>
                        <a:gd name="connsiteY99" fmla="*/ 40310 h 42741"/>
                        <a:gd name="connsiteX100" fmla="*/ 28588 w 40070"/>
                        <a:gd name="connsiteY100" fmla="*/ 38037 h 42741"/>
                        <a:gd name="connsiteX101" fmla="*/ 31937 w 40070"/>
                        <a:gd name="connsiteY101" fmla="*/ 35107 h 42741"/>
                        <a:gd name="connsiteX102" fmla="*/ 34868 w 40070"/>
                        <a:gd name="connsiteY102" fmla="*/ 31698 h 42741"/>
                        <a:gd name="connsiteX103" fmla="*/ 37200 w 40070"/>
                        <a:gd name="connsiteY103" fmla="*/ 27930 h 42741"/>
                        <a:gd name="connsiteX104" fmla="*/ 38875 w 40070"/>
                        <a:gd name="connsiteY104" fmla="*/ 23923 h 42741"/>
                        <a:gd name="connsiteX105" fmla="*/ 39891 w 40070"/>
                        <a:gd name="connsiteY105" fmla="*/ 19736 h 42741"/>
                        <a:gd name="connsiteX106" fmla="*/ 39891 w 40070"/>
                        <a:gd name="connsiteY106" fmla="*/ 19617 h 42741"/>
                        <a:gd name="connsiteX107" fmla="*/ 39891 w 40070"/>
                        <a:gd name="connsiteY107" fmla="*/ 19497 h 42741"/>
                        <a:gd name="connsiteX108" fmla="*/ 39891 w 40070"/>
                        <a:gd name="connsiteY108" fmla="*/ 19377 h 42741"/>
                        <a:gd name="connsiteX109" fmla="*/ 39891 w 40070"/>
                        <a:gd name="connsiteY109" fmla="*/ 19258 h 42741"/>
                        <a:gd name="connsiteX110" fmla="*/ 39951 w 40070"/>
                        <a:gd name="connsiteY110" fmla="*/ 18959 h 42741"/>
                        <a:gd name="connsiteX111" fmla="*/ 40011 w 40070"/>
                        <a:gd name="connsiteY111" fmla="*/ 18660 h 42741"/>
                        <a:gd name="connsiteX112" fmla="*/ 40011 w 40070"/>
                        <a:gd name="connsiteY112" fmla="*/ 18361 h 42741"/>
                        <a:gd name="connsiteX113" fmla="*/ 40011 w 40070"/>
                        <a:gd name="connsiteY113" fmla="*/ 18062 h 42741"/>
                        <a:gd name="connsiteX114" fmla="*/ 40071 w 40070"/>
                        <a:gd name="connsiteY114" fmla="*/ 15909 h 42741"/>
                        <a:gd name="connsiteX115" fmla="*/ 39891 w 40070"/>
                        <a:gd name="connsiteY115" fmla="*/ 13875 h 42741"/>
                        <a:gd name="connsiteX116" fmla="*/ 39532 w 40070"/>
                        <a:gd name="connsiteY116" fmla="*/ 11902 h 42741"/>
                        <a:gd name="connsiteX117" fmla="*/ 38994 w 40070"/>
                        <a:gd name="connsiteY117" fmla="*/ 10048 h 42741"/>
                        <a:gd name="connsiteX118" fmla="*/ 38935 w 40070"/>
                        <a:gd name="connsiteY118" fmla="*/ 9808 h 42741"/>
                        <a:gd name="connsiteX119" fmla="*/ 38875 w 40070"/>
                        <a:gd name="connsiteY119" fmla="*/ 9569 h 42741"/>
                        <a:gd name="connsiteX120" fmla="*/ 38815 w 40070"/>
                        <a:gd name="connsiteY120" fmla="*/ 9330 h 42741"/>
                        <a:gd name="connsiteX121" fmla="*/ 38755 w 40070"/>
                        <a:gd name="connsiteY121" fmla="*/ 9150 h 42741"/>
                        <a:gd name="connsiteX122" fmla="*/ 38037 w 40070"/>
                        <a:gd name="connsiteY122" fmla="*/ 7655 h 42741"/>
                        <a:gd name="connsiteX123" fmla="*/ 37200 w 40070"/>
                        <a:gd name="connsiteY123" fmla="*/ 6280 h 42741"/>
                        <a:gd name="connsiteX124" fmla="*/ 36183 w 40070"/>
                        <a:gd name="connsiteY124" fmla="*/ 5024 h 42741"/>
                        <a:gd name="connsiteX125" fmla="*/ 35047 w 40070"/>
                        <a:gd name="connsiteY125" fmla="*/ 3888 h 42741"/>
                        <a:gd name="connsiteX126" fmla="*/ 34928 w 40070"/>
                        <a:gd name="connsiteY126" fmla="*/ 3768 h 42741"/>
                        <a:gd name="connsiteX127" fmla="*/ 34808 w 40070"/>
                        <a:gd name="connsiteY127" fmla="*/ 3648 h 42741"/>
                        <a:gd name="connsiteX128" fmla="*/ 34688 w 40070"/>
                        <a:gd name="connsiteY128" fmla="*/ 3528 h 42741"/>
                        <a:gd name="connsiteX129" fmla="*/ 34569 w 40070"/>
                        <a:gd name="connsiteY129" fmla="*/ 3409 h 42741"/>
                        <a:gd name="connsiteX130" fmla="*/ 34509 w 40070"/>
                        <a:gd name="connsiteY130" fmla="*/ 3349 h 42741"/>
                        <a:gd name="connsiteX131" fmla="*/ 34449 w 40070"/>
                        <a:gd name="connsiteY131" fmla="*/ 3289 h 42741"/>
                        <a:gd name="connsiteX132" fmla="*/ 34389 w 40070"/>
                        <a:gd name="connsiteY132" fmla="*/ 3229 h 42741"/>
                        <a:gd name="connsiteX133" fmla="*/ 34329 w 40070"/>
                        <a:gd name="connsiteY133" fmla="*/ 3170 h 42741"/>
                        <a:gd name="connsiteX134" fmla="*/ 33253 w 40070"/>
                        <a:gd name="connsiteY134" fmla="*/ 2392 h 42741"/>
                        <a:gd name="connsiteX135" fmla="*/ 32116 w 40070"/>
                        <a:gd name="connsiteY135" fmla="*/ 1734 h 42741"/>
                        <a:gd name="connsiteX136" fmla="*/ 30860 w 40070"/>
                        <a:gd name="connsiteY136" fmla="*/ 1136 h 42741"/>
                        <a:gd name="connsiteX137" fmla="*/ 29545 w 40070"/>
                        <a:gd name="connsiteY137" fmla="*/ 658 h 42741"/>
                        <a:gd name="connsiteX138" fmla="*/ 29306 w 40070"/>
                        <a:gd name="connsiteY138" fmla="*/ 598 h 42741"/>
                        <a:gd name="connsiteX139" fmla="*/ 29006 w 40070"/>
                        <a:gd name="connsiteY139" fmla="*/ 538 h 42741"/>
                        <a:gd name="connsiteX140" fmla="*/ 28707 w 40070"/>
                        <a:gd name="connsiteY140" fmla="*/ 479 h 42741"/>
                        <a:gd name="connsiteX141" fmla="*/ 28408 w 40070"/>
                        <a:gd name="connsiteY141" fmla="*/ 419 h 42741"/>
                        <a:gd name="connsiteX142" fmla="*/ 27152 w 40070"/>
                        <a:gd name="connsiteY142" fmla="*/ 179 h 42741"/>
                        <a:gd name="connsiteX143" fmla="*/ 25837 w 40070"/>
                        <a:gd name="connsiteY143" fmla="*/ 60 h 42741"/>
                        <a:gd name="connsiteX144" fmla="*/ 24521 w 40070"/>
                        <a:gd name="connsiteY144" fmla="*/ 0 h 42741"/>
                        <a:gd name="connsiteX145" fmla="*/ 23145 w 40070"/>
                        <a:gd name="connsiteY145" fmla="*/ 60 h 42741"/>
                        <a:gd name="connsiteX146" fmla="*/ 19736 w 40070"/>
                        <a:gd name="connsiteY146" fmla="*/ 658 h 42741"/>
                        <a:gd name="connsiteX147" fmla="*/ 16447 w 40070"/>
                        <a:gd name="connsiteY147" fmla="*/ 1794 h 42741"/>
                        <a:gd name="connsiteX148" fmla="*/ 13277 w 40070"/>
                        <a:gd name="connsiteY148" fmla="*/ 3469 h 42741"/>
                        <a:gd name="connsiteX149" fmla="*/ 10347 w 40070"/>
                        <a:gd name="connsiteY149" fmla="*/ 5562 h 42741"/>
                        <a:gd name="connsiteX150" fmla="*/ 10048 w 40070"/>
                        <a:gd name="connsiteY150" fmla="*/ 5861 h 42741"/>
                        <a:gd name="connsiteX151" fmla="*/ 9749 w 40070"/>
                        <a:gd name="connsiteY151" fmla="*/ 6160 h 42741"/>
                        <a:gd name="connsiteX152" fmla="*/ 9450 w 40070"/>
                        <a:gd name="connsiteY152" fmla="*/ 6459 h 42741"/>
                        <a:gd name="connsiteX153" fmla="*/ 9151 w 40070"/>
                        <a:gd name="connsiteY153" fmla="*/ 6758 h 42741"/>
                        <a:gd name="connsiteX154" fmla="*/ 7296 w 40070"/>
                        <a:gd name="connsiteY154" fmla="*/ 8612 h 42741"/>
                        <a:gd name="connsiteX155" fmla="*/ 5622 w 40070"/>
                        <a:gd name="connsiteY155" fmla="*/ 10645 h 42741"/>
                        <a:gd name="connsiteX156" fmla="*/ 4127 w 40070"/>
                        <a:gd name="connsiteY156" fmla="*/ 12859 h 42741"/>
                        <a:gd name="connsiteX157" fmla="*/ 2811 w 40070"/>
                        <a:gd name="connsiteY157" fmla="*/ 15191 h 42741"/>
                        <a:gd name="connsiteX158" fmla="*/ 2691 w 40070"/>
                        <a:gd name="connsiteY158" fmla="*/ 15430 h 42741"/>
                        <a:gd name="connsiteX159" fmla="*/ 2572 w 40070"/>
                        <a:gd name="connsiteY159" fmla="*/ 15669 h 42741"/>
                        <a:gd name="connsiteX160" fmla="*/ 2452 w 40070"/>
                        <a:gd name="connsiteY160" fmla="*/ 15909 h 42741"/>
                        <a:gd name="connsiteX161" fmla="*/ 2333 w 40070"/>
                        <a:gd name="connsiteY161" fmla="*/ 16148 h 42741"/>
                        <a:gd name="connsiteX162" fmla="*/ 1615 w 40070"/>
                        <a:gd name="connsiteY162" fmla="*/ 17882 h 42741"/>
                        <a:gd name="connsiteX163" fmla="*/ 1017 w 40070"/>
                        <a:gd name="connsiteY163" fmla="*/ 19676 h 42741"/>
                        <a:gd name="connsiteX164" fmla="*/ 538 w 40070"/>
                        <a:gd name="connsiteY164" fmla="*/ 21471 h 42741"/>
                        <a:gd name="connsiteX165" fmla="*/ 239 w 40070"/>
                        <a:gd name="connsiteY165" fmla="*/ 23325 h 42741"/>
                        <a:gd name="connsiteX166" fmla="*/ 120 w 40070"/>
                        <a:gd name="connsiteY166" fmla="*/ 24162 h 42741"/>
                        <a:gd name="connsiteX167" fmla="*/ 60 w 40070"/>
                        <a:gd name="connsiteY167" fmla="*/ 24999 h 42741"/>
                        <a:gd name="connsiteX168" fmla="*/ 0 w 40070"/>
                        <a:gd name="connsiteY168" fmla="*/ 25837 h 42741"/>
                        <a:gd name="connsiteX169" fmla="*/ 0 w 40070"/>
                        <a:gd name="connsiteY169" fmla="*/ 26674 h 42741"/>
                        <a:gd name="connsiteX170" fmla="*/ 0 w 40070"/>
                        <a:gd name="connsiteY170" fmla="*/ 26913 h 42741"/>
                        <a:gd name="connsiteX171" fmla="*/ 0 w 40070"/>
                        <a:gd name="connsiteY171" fmla="*/ 27152 h 42741"/>
                        <a:gd name="connsiteX172" fmla="*/ 0 w 40070"/>
                        <a:gd name="connsiteY172" fmla="*/ 27392 h 42741"/>
                        <a:gd name="connsiteX173" fmla="*/ 0 w 40070"/>
                        <a:gd name="connsiteY173" fmla="*/ 27631 h 42741"/>
                        <a:gd name="connsiteX174" fmla="*/ 359 w 40070"/>
                        <a:gd name="connsiteY174" fmla="*/ 30502 h 42741"/>
                        <a:gd name="connsiteX175" fmla="*/ 1136 w 40070"/>
                        <a:gd name="connsiteY175" fmla="*/ 33193 h 42741"/>
                        <a:gd name="connsiteX176" fmla="*/ 2333 w 40070"/>
                        <a:gd name="connsiteY176" fmla="*/ 35645 h 42741"/>
                        <a:gd name="connsiteX177" fmla="*/ 3888 w 40070"/>
                        <a:gd name="connsiteY177" fmla="*/ 37798 h 42741"/>
                        <a:gd name="connsiteX178" fmla="*/ 4007 w 40070"/>
                        <a:gd name="connsiteY178" fmla="*/ 37977 h 42741"/>
                        <a:gd name="connsiteX179" fmla="*/ 4127 w 40070"/>
                        <a:gd name="connsiteY179" fmla="*/ 38097 h 42741"/>
                        <a:gd name="connsiteX180" fmla="*/ 4246 w 40070"/>
                        <a:gd name="connsiteY180" fmla="*/ 38217 h 42741"/>
                        <a:gd name="connsiteX181" fmla="*/ 4366 w 40070"/>
                        <a:gd name="connsiteY181" fmla="*/ 38336 h 42741"/>
                        <a:gd name="connsiteX182" fmla="*/ 4605 w 40070"/>
                        <a:gd name="connsiteY182" fmla="*/ 38576 h 42741"/>
                        <a:gd name="connsiteX183" fmla="*/ 4844 w 40070"/>
                        <a:gd name="connsiteY183" fmla="*/ 38815 h 42741"/>
                        <a:gd name="connsiteX184" fmla="*/ 5083 w 40070"/>
                        <a:gd name="connsiteY184" fmla="*/ 39054 h 42741"/>
                        <a:gd name="connsiteX185" fmla="*/ 5323 w 40070"/>
                        <a:gd name="connsiteY185" fmla="*/ 39293 h 42741"/>
                        <a:gd name="connsiteX186" fmla="*/ 5442 w 40070"/>
                        <a:gd name="connsiteY186" fmla="*/ 39353 h 42741"/>
                        <a:gd name="connsiteX187" fmla="*/ 5562 w 40070"/>
                        <a:gd name="connsiteY187" fmla="*/ 39413 h 42741"/>
                        <a:gd name="connsiteX188" fmla="*/ 5682 w 40070"/>
                        <a:gd name="connsiteY188" fmla="*/ 39473 h 42741"/>
                        <a:gd name="connsiteX189" fmla="*/ 5921 w 40070"/>
                        <a:gd name="connsiteY189" fmla="*/ 39652 h 4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40070" h="42741">
                          <a:moveTo>
                            <a:pt x="7117" y="39174"/>
                          </a:moveTo>
                          <a:cubicBezTo>
                            <a:pt x="7057" y="39114"/>
                            <a:pt x="6997" y="39114"/>
                            <a:pt x="6997" y="39054"/>
                          </a:cubicBezTo>
                          <a:cubicBezTo>
                            <a:pt x="6937" y="38994"/>
                            <a:pt x="6878" y="38994"/>
                            <a:pt x="6878" y="38935"/>
                          </a:cubicBezTo>
                          <a:cubicBezTo>
                            <a:pt x="6878" y="38875"/>
                            <a:pt x="6758" y="38875"/>
                            <a:pt x="6758" y="38815"/>
                          </a:cubicBezTo>
                          <a:cubicBezTo>
                            <a:pt x="6698" y="38755"/>
                            <a:pt x="6698" y="38755"/>
                            <a:pt x="6639" y="38695"/>
                          </a:cubicBezTo>
                          <a:cubicBezTo>
                            <a:pt x="6579" y="38636"/>
                            <a:pt x="6519" y="38636"/>
                            <a:pt x="6519" y="38576"/>
                          </a:cubicBezTo>
                          <a:cubicBezTo>
                            <a:pt x="6459" y="38516"/>
                            <a:pt x="6399" y="38516"/>
                            <a:pt x="6399" y="38456"/>
                          </a:cubicBezTo>
                          <a:cubicBezTo>
                            <a:pt x="6340" y="38396"/>
                            <a:pt x="6280" y="38396"/>
                            <a:pt x="6280" y="38336"/>
                          </a:cubicBezTo>
                          <a:cubicBezTo>
                            <a:pt x="6280" y="38277"/>
                            <a:pt x="6160" y="38277"/>
                            <a:pt x="6160" y="38217"/>
                          </a:cubicBezTo>
                          <a:cubicBezTo>
                            <a:pt x="5442" y="37619"/>
                            <a:pt x="4785" y="36901"/>
                            <a:pt x="4246" y="36123"/>
                          </a:cubicBezTo>
                          <a:cubicBezTo>
                            <a:pt x="3648" y="35346"/>
                            <a:pt x="3170" y="34509"/>
                            <a:pt x="2751" y="33612"/>
                          </a:cubicBezTo>
                          <a:cubicBezTo>
                            <a:pt x="2333" y="32714"/>
                            <a:pt x="1974" y="31758"/>
                            <a:pt x="1734" y="30741"/>
                          </a:cubicBezTo>
                          <a:cubicBezTo>
                            <a:pt x="1495" y="29724"/>
                            <a:pt x="1316" y="28648"/>
                            <a:pt x="1196" y="27571"/>
                          </a:cubicBezTo>
                          <a:cubicBezTo>
                            <a:pt x="1196" y="27511"/>
                            <a:pt x="1196" y="27392"/>
                            <a:pt x="1196" y="27332"/>
                          </a:cubicBezTo>
                          <a:cubicBezTo>
                            <a:pt x="1196" y="27272"/>
                            <a:pt x="1196" y="27152"/>
                            <a:pt x="1196" y="27092"/>
                          </a:cubicBezTo>
                          <a:cubicBezTo>
                            <a:pt x="1196" y="27033"/>
                            <a:pt x="1196" y="26913"/>
                            <a:pt x="1196" y="26853"/>
                          </a:cubicBezTo>
                          <a:cubicBezTo>
                            <a:pt x="1196" y="26794"/>
                            <a:pt x="1196" y="26674"/>
                            <a:pt x="1196" y="26614"/>
                          </a:cubicBezTo>
                          <a:cubicBezTo>
                            <a:pt x="1196" y="26315"/>
                            <a:pt x="1196" y="26076"/>
                            <a:pt x="1196" y="25777"/>
                          </a:cubicBezTo>
                          <a:cubicBezTo>
                            <a:pt x="1196" y="25478"/>
                            <a:pt x="1196" y="25238"/>
                            <a:pt x="1256" y="24940"/>
                          </a:cubicBezTo>
                          <a:cubicBezTo>
                            <a:pt x="1316" y="24641"/>
                            <a:pt x="1316" y="24401"/>
                            <a:pt x="1316" y="24102"/>
                          </a:cubicBezTo>
                          <a:cubicBezTo>
                            <a:pt x="1316" y="23803"/>
                            <a:pt x="1375" y="23504"/>
                            <a:pt x="1435" y="23265"/>
                          </a:cubicBezTo>
                          <a:cubicBezTo>
                            <a:pt x="1495" y="22667"/>
                            <a:pt x="1615" y="22009"/>
                            <a:pt x="1794" y="21411"/>
                          </a:cubicBezTo>
                          <a:cubicBezTo>
                            <a:pt x="1974" y="20813"/>
                            <a:pt x="2093" y="20215"/>
                            <a:pt x="2273" y="19617"/>
                          </a:cubicBezTo>
                          <a:cubicBezTo>
                            <a:pt x="2452" y="19019"/>
                            <a:pt x="2632" y="18421"/>
                            <a:pt x="2871" y="17822"/>
                          </a:cubicBezTo>
                          <a:cubicBezTo>
                            <a:pt x="3110" y="17225"/>
                            <a:pt x="3349" y="16686"/>
                            <a:pt x="3588" y="16088"/>
                          </a:cubicBezTo>
                          <a:cubicBezTo>
                            <a:pt x="3648" y="16028"/>
                            <a:pt x="3648" y="15909"/>
                            <a:pt x="3708" y="15849"/>
                          </a:cubicBezTo>
                          <a:cubicBezTo>
                            <a:pt x="3768" y="15789"/>
                            <a:pt x="3768" y="15669"/>
                            <a:pt x="3828" y="15610"/>
                          </a:cubicBezTo>
                          <a:cubicBezTo>
                            <a:pt x="3888" y="15550"/>
                            <a:pt x="3888" y="15430"/>
                            <a:pt x="3947" y="15370"/>
                          </a:cubicBezTo>
                          <a:cubicBezTo>
                            <a:pt x="4007" y="15311"/>
                            <a:pt x="4007" y="15191"/>
                            <a:pt x="4067" y="15131"/>
                          </a:cubicBezTo>
                          <a:cubicBezTo>
                            <a:pt x="4486" y="14294"/>
                            <a:pt x="4964" y="13516"/>
                            <a:pt x="5442" y="12739"/>
                          </a:cubicBezTo>
                          <a:cubicBezTo>
                            <a:pt x="5921" y="11961"/>
                            <a:pt x="6459" y="11244"/>
                            <a:pt x="7057" y="10526"/>
                          </a:cubicBezTo>
                          <a:cubicBezTo>
                            <a:pt x="7656" y="9808"/>
                            <a:pt x="8253" y="9150"/>
                            <a:pt x="8851" y="8493"/>
                          </a:cubicBezTo>
                          <a:cubicBezTo>
                            <a:pt x="9450" y="7835"/>
                            <a:pt x="10167" y="7237"/>
                            <a:pt x="10825" y="6639"/>
                          </a:cubicBezTo>
                          <a:cubicBezTo>
                            <a:pt x="10945" y="6519"/>
                            <a:pt x="11064" y="6459"/>
                            <a:pt x="11184" y="6340"/>
                          </a:cubicBezTo>
                          <a:cubicBezTo>
                            <a:pt x="11304" y="6220"/>
                            <a:pt x="11423" y="6160"/>
                            <a:pt x="11543" y="6041"/>
                          </a:cubicBezTo>
                          <a:cubicBezTo>
                            <a:pt x="11662" y="5921"/>
                            <a:pt x="11782" y="5861"/>
                            <a:pt x="11902" y="5742"/>
                          </a:cubicBezTo>
                          <a:cubicBezTo>
                            <a:pt x="12021" y="5622"/>
                            <a:pt x="12141" y="5562"/>
                            <a:pt x="12260" y="5442"/>
                          </a:cubicBezTo>
                          <a:cubicBezTo>
                            <a:pt x="13098" y="4844"/>
                            <a:pt x="13935" y="4306"/>
                            <a:pt x="14832" y="3768"/>
                          </a:cubicBezTo>
                          <a:cubicBezTo>
                            <a:pt x="15729" y="3289"/>
                            <a:pt x="16627" y="2811"/>
                            <a:pt x="17583" y="2452"/>
                          </a:cubicBezTo>
                          <a:cubicBezTo>
                            <a:pt x="18540" y="2093"/>
                            <a:pt x="19437" y="1794"/>
                            <a:pt x="20394" y="1555"/>
                          </a:cubicBezTo>
                          <a:cubicBezTo>
                            <a:pt x="21351" y="1316"/>
                            <a:pt x="22308" y="1136"/>
                            <a:pt x="23265" y="1076"/>
                          </a:cubicBezTo>
                          <a:cubicBezTo>
                            <a:pt x="23624" y="1017"/>
                            <a:pt x="23983" y="1017"/>
                            <a:pt x="24342" y="1017"/>
                          </a:cubicBezTo>
                          <a:cubicBezTo>
                            <a:pt x="24700" y="1017"/>
                            <a:pt x="25059" y="1017"/>
                            <a:pt x="25418" y="1017"/>
                          </a:cubicBezTo>
                          <a:cubicBezTo>
                            <a:pt x="25777" y="1017"/>
                            <a:pt x="26136" y="1076"/>
                            <a:pt x="26435" y="1076"/>
                          </a:cubicBezTo>
                          <a:cubicBezTo>
                            <a:pt x="26794" y="1136"/>
                            <a:pt x="27093" y="1136"/>
                            <a:pt x="27452" y="1196"/>
                          </a:cubicBezTo>
                          <a:cubicBezTo>
                            <a:pt x="27571" y="1196"/>
                            <a:pt x="27631" y="1256"/>
                            <a:pt x="27751" y="1256"/>
                          </a:cubicBezTo>
                          <a:cubicBezTo>
                            <a:pt x="27870" y="1256"/>
                            <a:pt x="27930" y="1316"/>
                            <a:pt x="28050" y="1316"/>
                          </a:cubicBezTo>
                          <a:cubicBezTo>
                            <a:pt x="28169" y="1316"/>
                            <a:pt x="28229" y="1375"/>
                            <a:pt x="28349" y="1375"/>
                          </a:cubicBezTo>
                          <a:cubicBezTo>
                            <a:pt x="28468" y="1375"/>
                            <a:pt x="28528" y="1435"/>
                            <a:pt x="28648" y="1435"/>
                          </a:cubicBezTo>
                          <a:cubicBezTo>
                            <a:pt x="29126" y="1555"/>
                            <a:pt x="29545" y="1674"/>
                            <a:pt x="29963" y="1854"/>
                          </a:cubicBezTo>
                          <a:cubicBezTo>
                            <a:pt x="30382" y="2033"/>
                            <a:pt x="30801" y="2213"/>
                            <a:pt x="31219" y="2392"/>
                          </a:cubicBezTo>
                          <a:cubicBezTo>
                            <a:pt x="31638" y="2572"/>
                            <a:pt x="32057" y="2811"/>
                            <a:pt x="32415" y="3050"/>
                          </a:cubicBezTo>
                          <a:cubicBezTo>
                            <a:pt x="32774" y="3289"/>
                            <a:pt x="33193" y="3528"/>
                            <a:pt x="33552" y="3828"/>
                          </a:cubicBezTo>
                          <a:cubicBezTo>
                            <a:pt x="33612" y="3828"/>
                            <a:pt x="33612" y="3888"/>
                            <a:pt x="33671" y="3888"/>
                          </a:cubicBezTo>
                          <a:cubicBezTo>
                            <a:pt x="33731" y="3888"/>
                            <a:pt x="33731" y="3947"/>
                            <a:pt x="33791" y="3947"/>
                          </a:cubicBezTo>
                          <a:cubicBezTo>
                            <a:pt x="33851" y="3947"/>
                            <a:pt x="33851" y="4007"/>
                            <a:pt x="33911" y="4007"/>
                          </a:cubicBezTo>
                          <a:cubicBezTo>
                            <a:pt x="33970" y="4007"/>
                            <a:pt x="33970" y="4067"/>
                            <a:pt x="34030" y="4067"/>
                          </a:cubicBezTo>
                          <a:cubicBezTo>
                            <a:pt x="34030" y="4067"/>
                            <a:pt x="34090" y="4127"/>
                            <a:pt x="34090" y="4127"/>
                          </a:cubicBezTo>
                          <a:cubicBezTo>
                            <a:pt x="34090" y="4127"/>
                            <a:pt x="34150" y="4187"/>
                            <a:pt x="34150" y="4187"/>
                          </a:cubicBezTo>
                          <a:cubicBezTo>
                            <a:pt x="34150" y="4187"/>
                            <a:pt x="34210" y="4246"/>
                            <a:pt x="34210" y="4246"/>
                          </a:cubicBezTo>
                          <a:cubicBezTo>
                            <a:pt x="34210" y="4246"/>
                            <a:pt x="34269" y="4306"/>
                            <a:pt x="34269" y="4306"/>
                          </a:cubicBezTo>
                          <a:cubicBezTo>
                            <a:pt x="34688" y="4665"/>
                            <a:pt x="35047" y="5024"/>
                            <a:pt x="35406" y="5442"/>
                          </a:cubicBezTo>
                          <a:cubicBezTo>
                            <a:pt x="35765" y="5861"/>
                            <a:pt x="36123" y="6280"/>
                            <a:pt x="36423" y="6698"/>
                          </a:cubicBezTo>
                          <a:cubicBezTo>
                            <a:pt x="36722" y="7117"/>
                            <a:pt x="37021" y="7596"/>
                            <a:pt x="37320" y="8074"/>
                          </a:cubicBezTo>
                          <a:cubicBezTo>
                            <a:pt x="37559" y="8552"/>
                            <a:pt x="37798" y="9031"/>
                            <a:pt x="38037" y="9569"/>
                          </a:cubicBezTo>
                          <a:cubicBezTo>
                            <a:pt x="38037" y="9629"/>
                            <a:pt x="38097" y="9689"/>
                            <a:pt x="38097" y="9749"/>
                          </a:cubicBezTo>
                          <a:cubicBezTo>
                            <a:pt x="38097" y="9808"/>
                            <a:pt x="38157" y="9868"/>
                            <a:pt x="38157" y="9988"/>
                          </a:cubicBezTo>
                          <a:cubicBezTo>
                            <a:pt x="38157" y="10048"/>
                            <a:pt x="38217" y="10107"/>
                            <a:pt x="38217" y="10227"/>
                          </a:cubicBezTo>
                          <a:cubicBezTo>
                            <a:pt x="38217" y="10287"/>
                            <a:pt x="38277" y="10347"/>
                            <a:pt x="38277" y="10466"/>
                          </a:cubicBezTo>
                          <a:cubicBezTo>
                            <a:pt x="38516" y="11064"/>
                            <a:pt x="38695" y="11662"/>
                            <a:pt x="38815" y="12320"/>
                          </a:cubicBezTo>
                          <a:cubicBezTo>
                            <a:pt x="38935" y="12978"/>
                            <a:pt x="39054" y="13636"/>
                            <a:pt x="39174" y="14294"/>
                          </a:cubicBezTo>
                          <a:cubicBezTo>
                            <a:pt x="39234" y="14952"/>
                            <a:pt x="39293" y="15669"/>
                            <a:pt x="39293" y="16387"/>
                          </a:cubicBezTo>
                          <a:cubicBezTo>
                            <a:pt x="39293" y="17105"/>
                            <a:pt x="39234" y="17822"/>
                            <a:pt x="39174" y="18540"/>
                          </a:cubicBezTo>
                          <a:cubicBezTo>
                            <a:pt x="39174" y="18600"/>
                            <a:pt x="39174" y="18720"/>
                            <a:pt x="39174" y="18780"/>
                          </a:cubicBezTo>
                          <a:cubicBezTo>
                            <a:pt x="39174" y="18839"/>
                            <a:pt x="39174" y="18959"/>
                            <a:pt x="39114" y="19019"/>
                          </a:cubicBezTo>
                          <a:cubicBezTo>
                            <a:pt x="39114" y="19079"/>
                            <a:pt x="39114" y="19198"/>
                            <a:pt x="39054" y="19258"/>
                          </a:cubicBezTo>
                          <a:cubicBezTo>
                            <a:pt x="39054" y="19318"/>
                            <a:pt x="39054" y="19437"/>
                            <a:pt x="38994" y="19497"/>
                          </a:cubicBezTo>
                          <a:cubicBezTo>
                            <a:pt x="38994" y="19497"/>
                            <a:pt x="38994" y="19497"/>
                            <a:pt x="38994" y="19557"/>
                          </a:cubicBezTo>
                          <a:cubicBezTo>
                            <a:pt x="38994" y="19557"/>
                            <a:pt x="38994" y="19557"/>
                            <a:pt x="38994" y="19617"/>
                          </a:cubicBezTo>
                          <a:cubicBezTo>
                            <a:pt x="38994" y="19617"/>
                            <a:pt x="38994" y="19617"/>
                            <a:pt x="38994" y="19676"/>
                          </a:cubicBezTo>
                          <a:cubicBezTo>
                            <a:pt x="38994" y="19676"/>
                            <a:pt x="38994" y="19676"/>
                            <a:pt x="38994" y="19736"/>
                          </a:cubicBezTo>
                          <a:cubicBezTo>
                            <a:pt x="38815" y="21052"/>
                            <a:pt x="38456" y="22368"/>
                            <a:pt x="38037" y="23684"/>
                          </a:cubicBezTo>
                          <a:cubicBezTo>
                            <a:pt x="37619" y="24999"/>
                            <a:pt x="37081" y="26255"/>
                            <a:pt x="36423" y="27511"/>
                          </a:cubicBezTo>
                          <a:cubicBezTo>
                            <a:pt x="35765" y="28767"/>
                            <a:pt x="35047" y="29963"/>
                            <a:pt x="34210" y="31100"/>
                          </a:cubicBezTo>
                          <a:cubicBezTo>
                            <a:pt x="33373" y="32236"/>
                            <a:pt x="32475" y="33313"/>
                            <a:pt x="31459" y="34329"/>
                          </a:cubicBezTo>
                          <a:cubicBezTo>
                            <a:pt x="30442" y="35346"/>
                            <a:pt x="29365" y="36303"/>
                            <a:pt x="28229" y="37140"/>
                          </a:cubicBezTo>
                          <a:cubicBezTo>
                            <a:pt x="27093" y="37977"/>
                            <a:pt x="25956" y="38695"/>
                            <a:pt x="24760" y="39293"/>
                          </a:cubicBezTo>
                          <a:cubicBezTo>
                            <a:pt x="23564" y="39891"/>
                            <a:pt x="22368" y="40370"/>
                            <a:pt x="21112" y="40789"/>
                          </a:cubicBezTo>
                          <a:cubicBezTo>
                            <a:pt x="19856" y="41147"/>
                            <a:pt x="18600" y="41446"/>
                            <a:pt x="17344" y="41566"/>
                          </a:cubicBezTo>
                          <a:cubicBezTo>
                            <a:pt x="16327" y="41685"/>
                            <a:pt x="15371" y="41685"/>
                            <a:pt x="14473" y="41626"/>
                          </a:cubicBezTo>
                          <a:cubicBezTo>
                            <a:pt x="13516" y="41566"/>
                            <a:pt x="12679" y="41446"/>
                            <a:pt x="11782" y="41207"/>
                          </a:cubicBezTo>
                          <a:cubicBezTo>
                            <a:pt x="10945" y="40968"/>
                            <a:pt x="10107" y="40729"/>
                            <a:pt x="9330" y="40370"/>
                          </a:cubicBezTo>
                          <a:cubicBezTo>
                            <a:pt x="8552" y="40071"/>
                            <a:pt x="7775" y="39652"/>
                            <a:pt x="7117" y="39174"/>
                          </a:cubicBezTo>
                          <a:moveTo>
                            <a:pt x="5921" y="39652"/>
                          </a:moveTo>
                          <a:cubicBezTo>
                            <a:pt x="6698" y="40250"/>
                            <a:pt x="7476" y="40729"/>
                            <a:pt x="8373" y="41207"/>
                          </a:cubicBezTo>
                          <a:cubicBezTo>
                            <a:pt x="9210" y="41626"/>
                            <a:pt x="10107" y="41985"/>
                            <a:pt x="11064" y="42224"/>
                          </a:cubicBezTo>
                          <a:cubicBezTo>
                            <a:pt x="12021" y="42463"/>
                            <a:pt x="12978" y="42643"/>
                            <a:pt x="13995" y="42702"/>
                          </a:cubicBezTo>
                          <a:cubicBezTo>
                            <a:pt x="15012" y="42762"/>
                            <a:pt x="16088" y="42762"/>
                            <a:pt x="17165" y="42643"/>
                          </a:cubicBezTo>
                          <a:cubicBezTo>
                            <a:pt x="18481" y="42523"/>
                            <a:pt x="19796" y="42224"/>
                            <a:pt x="21112" y="41865"/>
                          </a:cubicBezTo>
                          <a:cubicBezTo>
                            <a:pt x="22428" y="41446"/>
                            <a:pt x="23684" y="40968"/>
                            <a:pt x="24940" y="40310"/>
                          </a:cubicBezTo>
                          <a:cubicBezTo>
                            <a:pt x="26196" y="39652"/>
                            <a:pt x="27392" y="38935"/>
                            <a:pt x="28588" y="38037"/>
                          </a:cubicBezTo>
                          <a:cubicBezTo>
                            <a:pt x="29784" y="37140"/>
                            <a:pt x="30860" y="36183"/>
                            <a:pt x="31937" y="35107"/>
                          </a:cubicBezTo>
                          <a:cubicBezTo>
                            <a:pt x="33014" y="34030"/>
                            <a:pt x="33970" y="32894"/>
                            <a:pt x="34868" y="31698"/>
                          </a:cubicBezTo>
                          <a:cubicBezTo>
                            <a:pt x="35765" y="30502"/>
                            <a:pt x="36542" y="29246"/>
                            <a:pt x="37200" y="27930"/>
                          </a:cubicBezTo>
                          <a:cubicBezTo>
                            <a:pt x="37858" y="26614"/>
                            <a:pt x="38456" y="25298"/>
                            <a:pt x="38875" y="23923"/>
                          </a:cubicBezTo>
                          <a:cubicBezTo>
                            <a:pt x="39353" y="22547"/>
                            <a:pt x="39652" y="21172"/>
                            <a:pt x="39891" y="19736"/>
                          </a:cubicBezTo>
                          <a:cubicBezTo>
                            <a:pt x="39891" y="19676"/>
                            <a:pt x="39891" y="19617"/>
                            <a:pt x="39891" y="19617"/>
                          </a:cubicBezTo>
                          <a:cubicBezTo>
                            <a:pt x="39891" y="19617"/>
                            <a:pt x="39891" y="19497"/>
                            <a:pt x="39891" y="19497"/>
                          </a:cubicBezTo>
                          <a:cubicBezTo>
                            <a:pt x="39891" y="19497"/>
                            <a:pt x="39891" y="19377"/>
                            <a:pt x="39891" y="19377"/>
                          </a:cubicBezTo>
                          <a:cubicBezTo>
                            <a:pt x="39891" y="19318"/>
                            <a:pt x="39891" y="19258"/>
                            <a:pt x="39891" y="19258"/>
                          </a:cubicBezTo>
                          <a:cubicBezTo>
                            <a:pt x="39891" y="19138"/>
                            <a:pt x="39891" y="19079"/>
                            <a:pt x="39951" y="18959"/>
                          </a:cubicBezTo>
                          <a:cubicBezTo>
                            <a:pt x="39951" y="18839"/>
                            <a:pt x="39951" y="18780"/>
                            <a:pt x="40011" y="18660"/>
                          </a:cubicBezTo>
                          <a:cubicBezTo>
                            <a:pt x="40071" y="18540"/>
                            <a:pt x="40011" y="18480"/>
                            <a:pt x="40011" y="18361"/>
                          </a:cubicBezTo>
                          <a:cubicBezTo>
                            <a:pt x="40011" y="18241"/>
                            <a:pt x="40011" y="18181"/>
                            <a:pt x="40011" y="18062"/>
                          </a:cubicBezTo>
                          <a:cubicBezTo>
                            <a:pt x="40071" y="17344"/>
                            <a:pt x="40071" y="16626"/>
                            <a:pt x="40071" y="15909"/>
                          </a:cubicBezTo>
                          <a:cubicBezTo>
                            <a:pt x="40071" y="15191"/>
                            <a:pt x="40011" y="14533"/>
                            <a:pt x="39891" y="13875"/>
                          </a:cubicBezTo>
                          <a:cubicBezTo>
                            <a:pt x="39831" y="13218"/>
                            <a:pt x="39712" y="12559"/>
                            <a:pt x="39532" y="11902"/>
                          </a:cubicBezTo>
                          <a:cubicBezTo>
                            <a:pt x="39353" y="11244"/>
                            <a:pt x="39174" y="10645"/>
                            <a:pt x="38994" y="10048"/>
                          </a:cubicBezTo>
                          <a:cubicBezTo>
                            <a:pt x="38994" y="9988"/>
                            <a:pt x="38935" y="9928"/>
                            <a:pt x="38935" y="9808"/>
                          </a:cubicBezTo>
                          <a:cubicBezTo>
                            <a:pt x="38935" y="9689"/>
                            <a:pt x="38875" y="9689"/>
                            <a:pt x="38875" y="9569"/>
                          </a:cubicBezTo>
                          <a:cubicBezTo>
                            <a:pt x="38875" y="9509"/>
                            <a:pt x="38815" y="9450"/>
                            <a:pt x="38815" y="9330"/>
                          </a:cubicBezTo>
                          <a:cubicBezTo>
                            <a:pt x="38815" y="9210"/>
                            <a:pt x="38755" y="9210"/>
                            <a:pt x="38755" y="9150"/>
                          </a:cubicBezTo>
                          <a:cubicBezTo>
                            <a:pt x="38516" y="8612"/>
                            <a:pt x="38277" y="8134"/>
                            <a:pt x="38037" y="7655"/>
                          </a:cubicBezTo>
                          <a:cubicBezTo>
                            <a:pt x="37798" y="7177"/>
                            <a:pt x="37499" y="6698"/>
                            <a:pt x="37200" y="6280"/>
                          </a:cubicBezTo>
                          <a:cubicBezTo>
                            <a:pt x="36901" y="5861"/>
                            <a:pt x="36542" y="5442"/>
                            <a:pt x="36183" y="5024"/>
                          </a:cubicBezTo>
                          <a:cubicBezTo>
                            <a:pt x="35824" y="4605"/>
                            <a:pt x="35466" y="4246"/>
                            <a:pt x="35047" y="3888"/>
                          </a:cubicBezTo>
                          <a:cubicBezTo>
                            <a:pt x="34987" y="3828"/>
                            <a:pt x="34987" y="3828"/>
                            <a:pt x="34928" y="3768"/>
                          </a:cubicBezTo>
                          <a:cubicBezTo>
                            <a:pt x="34868" y="3708"/>
                            <a:pt x="34868" y="3708"/>
                            <a:pt x="34808" y="3648"/>
                          </a:cubicBezTo>
                          <a:cubicBezTo>
                            <a:pt x="34748" y="3588"/>
                            <a:pt x="34748" y="3588"/>
                            <a:pt x="34688" y="3528"/>
                          </a:cubicBezTo>
                          <a:cubicBezTo>
                            <a:pt x="34628" y="3469"/>
                            <a:pt x="34628" y="3469"/>
                            <a:pt x="34569" y="3409"/>
                          </a:cubicBezTo>
                          <a:cubicBezTo>
                            <a:pt x="34569" y="3409"/>
                            <a:pt x="34569" y="3409"/>
                            <a:pt x="34509" y="3349"/>
                          </a:cubicBezTo>
                          <a:cubicBezTo>
                            <a:pt x="34449" y="3289"/>
                            <a:pt x="34509" y="3349"/>
                            <a:pt x="34449" y="3289"/>
                          </a:cubicBezTo>
                          <a:cubicBezTo>
                            <a:pt x="34449" y="3289"/>
                            <a:pt x="34449" y="3289"/>
                            <a:pt x="34389" y="3229"/>
                          </a:cubicBezTo>
                          <a:cubicBezTo>
                            <a:pt x="34329" y="3170"/>
                            <a:pt x="34389" y="3229"/>
                            <a:pt x="34329" y="3170"/>
                          </a:cubicBezTo>
                          <a:cubicBezTo>
                            <a:pt x="33970" y="2871"/>
                            <a:pt x="33612" y="2632"/>
                            <a:pt x="33253" y="2392"/>
                          </a:cubicBezTo>
                          <a:cubicBezTo>
                            <a:pt x="32894" y="2153"/>
                            <a:pt x="32475" y="1914"/>
                            <a:pt x="32116" y="1734"/>
                          </a:cubicBezTo>
                          <a:cubicBezTo>
                            <a:pt x="31698" y="1555"/>
                            <a:pt x="31339" y="1316"/>
                            <a:pt x="30860" y="1136"/>
                          </a:cubicBezTo>
                          <a:cubicBezTo>
                            <a:pt x="30442" y="957"/>
                            <a:pt x="30023" y="837"/>
                            <a:pt x="29545" y="658"/>
                          </a:cubicBezTo>
                          <a:cubicBezTo>
                            <a:pt x="29485" y="658"/>
                            <a:pt x="29365" y="598"/>
                            <a:pt x="29306" y="598"/>
                          </a:cubicBezTo>
                          <a:cubicBezTo>
                            <a:pt x="29186" y="598"/>
                            <a:pt x="29126" y="538"/>
                            <a:pt x="29006" y="538"/>
                          </a:cubicBezTo>
                          <a:cubicBezTo>
                            <a:pt x="28887" y="538"/>
                            <a:pt x="28827" y="479"/>
                            <a:pt x="28707" y="479"/>
                          </a:cubicBezTo>
                          <a:cubicBezTo>
                            <a:pt x="28588" y="479"/>
                            <a:pt x="28528" y="419"/>
                            <a:pt x="28408" y="419"/>
                          </a:cubicBezTo>
                          <a:cubicBezTo>
                            <a:pt x="27990" y="299"/>
                            <a:pt x="27571" y="239"/>
                            <a:pt x="27152" y="179"/>
                          </a:cubicBezTo>
                          <a:cubicBezTo>
                            <a:pt x="26734" y="120"/>
                            <a:pt x="26315" y="60"/>
                            <a:pt x="25837" y="60"/>
                          </a:cubicBezTo>
                          <a:cubicBezTo>
                            <a:pt x="25418" y="60"/>
                            <a:pt x="24940" y="0"/>
                            <a:pt x="24521" y="0"/>
                          </a:cubicBezTo>
                          <a:cubicBezTo>
                            <a:pt x="24102" y="0"/>
                            <a:pt x="23624" y="0"/>
                            <a:pt x="23145" y="60"/>
                          </a:cubicBezTo>
                          <a:cubicBezTo>
                            <a:pt x="22009" y="179"/>
                            <a:pt x="20873" y="359"/>
                            <a:pt x="19736" y="658"/>
                          </a:cubicBezTo>
                          <a:cubicBezTo>
                            <a:pt x="18600" y="957"/>
                            <a:pt x="17523" y="1316"/>
                            <a:pt x="16447" y="1794"/>
                          </a:cubicBezTo>
                          <a:cubicBezTo>
                            <a:pt x="15371" y="2273"/>
                            <a:pt x="14294" y="2811"/>
                            <a:pt x="13277" y="3469"/>
                          </a:cubicBezTo>
                          <a:cubicBezTo>
                            <a:pt x="12260" y="4127"/>
                            <a:pt x="11244" y="4785"/>
                            <a:pt x="10347" y="5562"/>
                          </a:cubicBezTo>
                          <a:cubicBezTo>
                            <a:pt x="10227" y="5682"/>
                            <a:pt x="10107" y="5742"/>
                            <a:pt x="10048" y="5861"/>
                          </a:cubicBezTo>
                          <a:cubicBezTo>
                            <a:pt x="9928" y="5981"/>
                            <a:pt x="9808" y="6041"/>
                            <a:pt x="9749" y="6160"/>
                          </a:cubicBezTo>
                          <a:cubicBezTo>
                            <a:pt x="9629" y="6280"/>
                            <a:pt x="9510" y="6340"/>
                            <a:pt x="9450" y="6459"/>
                          </a:cubicBezTo>
                          <a:cubicBezTo>
                            <a:pt x="9390" y="6579"/>
                            <a:pt x="9210" y="6639"/>
                            <a:pt x="9151" y="6758"/>
                          </a:cubicBezTo>
                          <a:cubicBezTo>
                            <a:pt x="8493" y="7356"/>
                            <a:pt x="7895" y="7954"/>
                            <a:pt x="7296" y="8612"/>
                          </a:cubicBezTo>
                          <a:cubicBezTo>
                            <a:pt x="6698" y="9270"/>
                            <a:pt x="6160" y="9928"/>
                            <a:pt x="5622" y="10645"/>
                          </a:cubicBezTo>
                          <a:cubicBezTo>
                            <a:pt x="5083" y="11364"/>
                            <a:pt x="4605" y="12081"/>
                            <a:pt x="4127" y="12859"/>
                          </a:cubicBezTo>
                          <a:cubicBezTo>
                            <a:pt x="3648" y="13636"/>
                            <a:pt x="3229" y="14413"/>
                            <a:pt x="2811" y="15191"/>
                          </a:cubicBezTo>
                          <a:cubicBezTo>
                            <a:pt x="2751" y="15251"/>
                            <a:pt x="2751" y="15370"/>
                            <a:pt x="2691" y="15430"/>
                          </a:cubicBezTo>
                          <a:cubicBezTo>
                            <a:pt x="2632" y="15490"/>
                            <a:pt x="2632" y="15610"/>
                            <a:pt x="2572" y="15669"/>
                          </a:cubicBezTo>
                          <a:cubicBezTo>
                            <a:pt x="2512" y="15729"/>
                            <a:pt x="2512" y="15849"/>
                            <a:pt x="2452" y="15909"/>
                          </a:cubicBezTo>
                          <a:cubicBezTo>
                            <a:pt x="2392" y="15968"/>
                            <a:pt x="2392" y="16088"/>
                            <a:pt x="2333" y="16148"/>
                          </a:cubicBezTo>
                          <a:cubicBezTo>
                            <a:pt x="2093" y="16746"/>
                            <a:pt x="1854" y="17284"/>
                            <a:pt x="1615" y="17882"/>
                          </a:cubicBezTo>
                          <a:cubicBezTo>
                            <a:pt x="1375" y="18480"/>
                            <a:pt x="1196" y="19079"/>
                            <a:pt x="1017" y="19676"/>
                          </a:cubicBezTo>
                          <a:cubicBezTo>
                            <a:pt x="837" y="20275"/>
                            <a:pt x="718" y="20873"/>
                            <a:pt x="538" y="21471"/>
                          </a:cubicBezTo>
                          <a:cubicBezTo>
                            <a:pt x="419" y="22069"/>
                            <a:pt x="299" y="22667"/>
                            <a:pt x="239" y="23325"/>
                          </a:cubicBezTo>
                          <a:cubicBezTo>
                            <a:pt x="180" y="23624"/>
                            <a:pt x="180" y="23923"/>
                            <a:pt x="120" y="24162"/>
                          </a:cubicBezTo>
                          <a:cubicBezTo>
                            <a:pt x="120" y="24461"/>
                            <a:pt x="60" y="24700"/>
                            <a:pt x="60" y="24999"/>
                          </a:cubicBezTo>
                          <a:cubicBezTo>
                            <a:pt x="60" y="25298"/>
                            <a:pt x="0" y="25538"/>
                            <a:pt x="0" y="25837"/>
                          </a:cubicBezTo>
                          <a:cubicBezTo>
                            <a:pt x="0" y="26136"/>
                            <a:pt x="0" y="26375"/>
                            <a:pt x="0" y="26674"/>
                          </a:cubicBezTo>
                          <a:cubicBezTo>
                            <a:pt x="0" y="26734"/>
                            <a:pt x="0" y="26853"/>
                            <a:pt x="0" y="26913"/>
                          </a:cubicBezTo>
                          <a:cubicBezTo>
                            <a:pt x="0" y="26973"/>
                            <a:pt x="0" y="27092"/>
                            <a:pt x="0" y="27152"/>
                          </a:cubicBezTo>
                          <a:cubicBezTo>
                            <a:pt x="0" y="27212"/>
                            <a:pt x="0" y="27332"/>
                            <a:pt x="0" y="27392"/>
                          </a:cubicBezTo>
                          <a:cubicBezTo>
                            <a:pt x="0" y="27451"/>
                            <a:pt x="0" y="27571"/>
                            <a:pt x="0" y="27631"/>
                          </a:cubicBezTo>
                          <a:cubicBezTo>
                            <a:pt x="60" y="28588"/>
                            <a:pt x="180" y="29605"/>
                            <a:pt x="359" y="30502"/>
                          </a:cubicBezTo>
                          <a:cubicBezTo>
                            <a:pt x="538" y="31399"/>
                            <a:pt x="837" y="32296"/>
                            <a:pt x="1136" y="33193"/>
                          </a:cubicBezTo>
                          <a:cubicBezTo>
                            <a:pt x="1495" y="34030"/>
                            <a:pt x="1854" y="34868"/>
                            <a:pt x="2333" y="35645"/>
                          </a:cubicBezTo>
                          <a:cubicBezTo>
                            <a:pt x="2811" y="36422"/>
                            <a:pt x="3349" y="37140"/>
                            <a:pt x="3888" y="37798"/>
                          </a:cubicBezTo>
                          <a:cubicBezTo>
                            <a:pt x="3947" y="37858"/>
                            <a:pt x="3947" y="37918"/>
                            <a:pt x="4007" y="37977"/>
                          </a:cubicBezTo>
                          <a:cubicBezTo>
                            <a:pt x="4067" y="38037"/>
                            <a:pt x="4127" y="38097"/>
                            <a:pt x="4127" y="38097"/>
                          </a:cubicBezTo>
                          <a:cubicBezTo>
                            <a:pt x="4127" y="38097"/>
                            <a:pt x="4246" y="38217"/>
                            <a:pt x="4246" y="38217"/>
                          </a:cubicBezTo>
                          <a:cubicBezTo>
                            <a:pt x="4306" y="38277"/>
                            <a:pt x="4366" y="38336"/>
                            <a:pt x="4366" y="38336"/>
                          </a:cubicBezTo>
                          <a:cubicBezTo>
                            <a:pt x="4426" y="38396"/>
                            <a:pt x="4545" y="38516"/>
                            <a:pt x="4605" y="38576"/>
                          </a:cubicBezTo>
                          <a:cubicBezTo>
                            <a:pt x="4665" y="38636"/>
                            <a:pt x="4785" y="38755"/>
                            <a:pt x="4844" y="38815"/>
                          </a:cubicBezTo>
                          <a:cubicBezTo>
                            <a:pt x="4904" y="38875"/>
                            <a:pt x="5024" y="38935"/>
                            <a:pt x="5083" y="39054"/>
                          </a:cubicBezTo>
                          <a:cubicBezTo>
                            <a:pt x="5143" y="39174"/>
                            <a:pt x="5263" y="39174"/>
                            <a:pt x="5323" y="39293"/>
                          </a:cubicBezTo>
                          <a:cubicBezTo>
                            <a:pt x="5383" y="39293"/>
                            <a:pt x="5383" y="39353"/>
                            <a:pt x="5442" y="39353"/>
                          </a:cubicBezTo>
                          <a:cubicBezTo>
                            <a:pt x="5502" y="39353"/>
                            <a:pt x="5502" y="39413"/>
                            <a:pt x="5562" y="39413"/>
                          </a:cubicBezTo>
                          <a:cubicBezTo>
                            <a:pt x="5622" y="39413"/>
                            <a:pt x="5622" y="39473"/>
                            <a:pt x="5682" y="39473"/>
                          </a:cubicBezTo>
                          <a:cubicBezTo>
                            <a:pt x="5861" y="39592"/>
                            <a:pt x="5921" y="39652"/>
                            <a:pt x="5921" y="39652"/>
                          </a:cubicBezTo>
                        </a:path>
                      </a:pathLst>
                    </a:custGeom>
                    <a:noFill/>
                    <a:ln w="6350" cap="flat">
                      <a:solidFill>
                        <a:schemeClr val="bg1">
                          <a:alpha val="80000"/>
                        </a:schemeClr>
                      </a:solidFill>
                      <a:prstDash val="solid"/>
                      <a:miter/>
                    </a:ln>
                  </p:spPr>
                  <p:txBody>
                    <a:bodyPr rtlCol="0" anchor="ctr"/>
                    <a:lstStyle/>
                    <a:p>
                      <a:endParaRPr lang="en-GB"/>
                    </a:p>
                  </p:txBody>
                </p:sp>
                <p:sp>
                  <p:nvSpPr>
                    <p:cNvPr id="7518" name="Vrije vorm: vorm 7517">
                      <a:extLst>
                        <a:ext uri="{FF2B5EF4-FFF2-40B4-BE49-F238E27FC236}">
                          <a16:creationId xmlns:a16="http://schemas.microsoft.com/office/drawing/2014/main" id="{738CA982-2711-459A-A9A9-9D139228B2F0}"/>
                        </a:ext>
                      </a:extLst>
                    </p:cNvPr>
                    <p:cNvSpPr/>
                    <p:nvPr/>
                  </p:nvSpPr>
                  <p:spPr>
                    <a:xfrm>
                      <a:off x="5201494" y="5198815"/>
                      <a:ext cx="33951" cy="36533"/>
                    </a:xfrm>
                    <a:custGeom>
                      <a:avLst/>
                      <a:gdLst>
                        <a:gd name="connsiteX0" fmla="*/ 6059 w 33951"/>
                        <a:gd name="connsiteY0" fmla="*/ 33100 h 36533"/>
                        <a:gd name="connsiteX1" fmla="*/ 6059 w 33951"/>
                        <a:gd name="connsiteY1" fmla="*/ 33100 h 36533"/>
                        <a:gd name="connsiteX2" fmla="*/ 5940 w 33951"/>
                        <a:gd name="connsiteY2" fmla="*/ 33040 h 36533"/>
                        <a:gd name="connsiteX3" fmla="*/ 5880 w 33951"/>
                        <a:gd name="connsiteY3" fmla="*/ 32980 h 36533"/>
                        <a:gd name="connsiteX4" fmla="*/ 5820 w 33951"/>
                        <a:gd name="connsiteY4" fmla="*/ 32921 h 36533"/>
                        <a:gd name="connsiteX5" fmla="*/ 5641 w 33951"/>
                        <a:gd name="connsiteY5" fmla="*/ 32801 h 36533"/>
                        <a:gd name="connsiteX6" fmla="*/ 5521 w 33951"/>
                        <a:gd name="connsiteY6" fmla="*/ 32681 h 36533"/>
                        <a:gd name="connsiteX7" fmla="*/ 5401 w 33951"/>
                        <a:gd name="connsiteY7" fmla="*/ 32562 h 36533"/>
                        <a:gd name="connsiteX8" fmla="*/ 5282 w 33951"/>
                        <a:gd name="connsiteY8" fmla="*/ 32442 h 36533"/>
                        <a:gd name="connsiteX9" fmla="*/ 3787 w 33951"/>
                        <a:gd name="connsiteY9" fmla="*/ 30827 h 36533"/>
                        <a:gd name="connsiteX10" fmla="*/ 2650 w 33951"/>
                        <a:gd name="connsiteY10" fmla="*/ 28914 h 36533"/>
                        <a:gd name="connsiteX11" fmla="*/ 1813 w 33951"/>
                        <a:gd name="connsiteY11" fmla="*/ 26761 h 36533"/>
                        <a:gd name="connsiteX12" fmla="*/ 1334 w 33951"/>
                        <a:gd name="connsiteY12" fmla="*/ 24428 h 36533"/>
                        <a:gd name="connsiteX13" fmla="*/ 1334 w 33951"/>
                        <a:gd name="connsiteY13" fmla="*/ 24189 h 36533"/>
                        <a:gd name="connsiteX14" fmla="*/ 1334 w 33951"/>
                        <a:gd name="connsiteY14" fmla="*/ 23949 h 36533"/>
                        <a:gd name="connsiteX15" fmla="*/ 1334 w 33951"/>
                        <a:gd name="connsiteY15" fmla="*/ 23710 h 36533"/>
                        <a:gd name="connsiteX16" fmla="*/ 1334 w 33951"/>
                        <a:gd name="connsiteY16" fmla="*/ 23471 h 36533"/>
                        <a:gd name="connsiteX17" fmla="*/ 1334 w 33951"/>
                        <a:gd name="connsiteY17" fmla="*/ 22634 h 36533"/>
                        <a:gd name="connsiteX18" fmla="*/ 1334 w 33951"/>
                        <a:gd name="connsiteY18" fmla="*/ 21797 h 36533"/>
                        <a:gd name="connsiteX19" fmla="*/ 1394 w 33951"/>
                        <a:gd name="connsiteY19" fmla="*/ 20959 h 36533"/>
                        <a:gd name="connsiteX20" fmla="*/ 1514 w 33951"/>
                        <a:gd name="connsiteY20" fmla="*/ 20122 h 36533"/>
                        <a:gd name="connsiteX21" fmla="*/ 1873 w 33951"/>
                        <a:gd name="connsiteY21" fmla="*/ 18268 h 36533"/>
                        <a:gd name="connsiteX22" fmla="*/ 2411 w 33951"/>
                        <a:gd name="connsiteY22" fmla="*/ 16474 h 36533"/>
                        <a:gd name="connsiteX23" fmla="*/ 3069 w 33951"/>
                        <a:gd name="connsiteY23" fmla="*/ 14679 h 36533"/>
                        <a:gd name="connsiteX24" fmla="*/ 3906 w 33951"/>
                        <a:gd name="connsiteY24" fmla="*/ 12945 h 36533"/>
                        <a:gd name="connsiteX25" fmla="*/ 4026 w 33951"/>
                        <a:gd name="connsiteY25" fmla="*/ 12706 h 36533"/>
                        <a:gd name="connsiteX26" fmla="*/ 4146 w 33951"/>
                        <a:gd name="connsiteY26" fmla="*/ 12467 h 36533"/>
                        <a:gd name="connsiteX27" fmla="*/ 4325 w 33951"/>
                        <a:gd name="connsiteY27" fmla="*/ 12227 h 36533"/>
                        <a:gd name="connsiteX28" fmla="*/ 4504 w 33951"/>
                        <a:gd name="connsiteY28" fmla="*/ 11988 h 36533"/>
                        <a:gd name="connsiteX29" fmla="*/ 5222 w 33951"/>
                        <a:gd name="connsiteY29" fmla="*/ 10852 h 36533"/>
                        <a:gd name="connsiteX30" fmla="*/ 6000 w 33951"/>
                        <a:gd name="connsiteY30" fmla="*/ 9775 h 36533"/>
                        <a:gd name="connsiteX31" fmla="*/ 6837 w 33951"/>
                        <a:gd name="connsiteY31" fmla="*/ 8759 h 36533"/>
                        <a:gd name="connsiteX32" fmla="*/ 7734 w 33951"/>
                        <a:gd name="connsiteY32" fmla="*/ 7742 h 36533"/>
                        <a:gd name="connsiteX33" fmla="*/ 8033 w 33951"/>
                        <a:gd name="connsiteY33" fmla="*/ 7443 h 36533"/>
                        <a:gd name="connsiteX34" fmla="*/ 8332 w 33951"/>
                        <a:gd name="connsiteY34" fmla="*/ 7144 h 36533"/>
                        <a:gd name="connsiteX35" fmla="*/ 8631 w 33951"/>
                        <a:gd name="connsiteY35" fmla="*/ 6905 h 36533"/>
                        <a:gd name="connsiteX36" fmla="*/ 8930 w 33951"/>
                        <a:gd name="connsiteY36" fmla="*/ 6665 h 36533"/>
                        <a:gd name="connsiteX37" fmla="*/ 9169 w 33951"/>
                        <a:gd name="connsiteY37" fmla="*/ 6426 h 36533"/>
                        <a:gd name="connsiteX38" fmla="*/ 9468 w 33951"/>
                        <a:gd name="connsiteY38" fmla="*/ 6187 h 36533"/>
                        <a:gd name="connsiteX39" fmla="*/ 9767 w 33951"/>
                        <a:gd name="connsiteY39" fmla="*/ 5947 h 36533"/>
                        <a:gd name="connsiteX40" fmla="*/ 10066 w 33951"/>
                        <a:gd name="connsiteY40" fmla="*/ 5708 h 36533"/>
                        <a:gd name="connsiteX41" fmla="*/ 12339 w 33951"/>
                        <a:gd name="connsiteY41" fmla="*/ 4153 h 36533"/>
                        <a:gd name="connsiteX42" fmla="*/ 14731 w 33951"/>
                        <a:gd name="connsiteY42" fmla="*/ 2957 h 36533"/>
                        <a:gd name="connsiteX43" fmla="*/ 17183 w 33951"/>
                        <a:gd name="connsiteY43" fmla="*/ 2120 h 36533"/>
                        <a:gd name="connsiteX44" fmla="*/ 19695 w 33951"/>
                        <a:gd name="connsiteY44" fmla="*/ 1701 h 36533"/>
                        <a:gd name="connsiteX45" fmla="*/ 21190 w 33951"/>
                        <a:gd name="connsiteY45" fmla="*/ 1642 h 36533"/>
                        <a:gd name="connsiteX46" fmla="*/ 22626 w 33951"/>
                        <a:gd name="connsiteY46" fmla="*/ 1761 h 36533"/>
                        <a:gd name="connsiteX47" fmla="*/ 24002 w 33951"/>
                        <a:gd name="connsiteY47" fmla="*/ 2000 h 36533"/>
                        <a:gd name="connsiteX48" fmla="*/ 25317 w 33951"/>
                        <a:gd name="connsiteY48" fmla="*/ 2419 h 36533"/>
                        <a:gd name="connsiteX49" fmla="*/ 25736 w 33951"/>
                        <a:gd name="connsiteY49" fmla="*/ 2598 h 36533"/>
                        <a:gd name="connsiteX50" fmla="*/ 26155 w 33951"/>
                        <a:gd name="connsiteY50" fmla="*/ 2778 h 36533"/>
                        <a:gd name="connsiteX51" fmla="*/ 26573 w 33951"/>
                        <a:gd name="connsiteY51" fmla="*/ 2957 h 36533"/>
                        <a:gd name="connsiteX52" fmla="*/ 26932 w 33951"/>
                        <a:gd name="connsiteY52" fmla="*/ 3137 h 36533"/>
                        <a:gd name="connsiteX53" fmla="*/ 27052 w 33951"/>
                        <a:gd name="connsiteY53" fmla="*/ 3197 h 36533"/>
                        <a:gd name="connsiteX54" fmla="*/ 27171 w 33951"/>
                        <a:gd name="connsiteY54" fmla="*/ 3256 h 36533"/>
                        <a:gd name="connsiteX55" fmla="*/ 27291 w 33951"/>
                        <a:gd name="connsiteY55" fmla="*/ 3316 h 36533"/>
                        <a:gd name="connsiteX56" fmla="*/ 27411 w 33951"/>
                        <a:gd name="connsiteY56" fmla="*/ 3376 h 36533"/>
                        <a:gd name="connsiteX57" fmla="*/ 27590 w 33951"/>
                        <a:gd name="connsiteY57" fmla="*/ 3496 h 36533"/>
                        <a:gd name="connsiteX58" fmla="*/ 27769 w 33951"/>
                        <a:gd name="connsiteY58" fmla="*/ 3615 h 36533"/>
                        <a:gd name="connsiteX59" fmla="*/ 27949 w 33951"/>
                        <a:gd name="connsiteY59" fmla="*/ 3735 h 36533"/>
                        <a:gd name="connsiteX60" fmla="*/ 28128 w 33951"/>
                        <a:gd name="connsiteY60" fmla="*/ 3854 h 36533"/>
                        <a:gd name="connsiteX61" fmla="*/ 28248 w 33951"/>
                        <a:gd name="connsiteY61" fmla="*/ 3914 h 36533"/>
                        <a:gd name="connsiteX62" fmla="*/ 28367 w 33951"/>
                        <a:gd name="connsiteY62" fmla="*/ 3974 h 36533"/>
                        <a:gd name="connsiteX63" fmla="*/ 28487 w 33951"/>
                        <a:gd name="connsiteY63" fmla="*/ 4034 h 36533"/>
                        <a:gd name="connsiteX64" fmla="*/ 28606 w 33951"/>
                        <a:gd name="connsiteY64" fmla="*/ 4093 h 36533"/>
                        <a:gd name="connsiteX65" fmla="*/ 29683 w 33951"/>
                        <a:gd name="connsiteY65" fmla="*/ 5110 h 36533"/>
                        <a:gd name="connsiteX66" fmla="*/ 30640 w 33951"/>
                        <a:gd name="connsiteY66" fmla="*/ 6246 h 36533"/>
                        <a:gd name="connsiteX67" fmla="*/ 31418 w 33951"/>
                        <a:gd name="connsiteY67" fmla="*/ 7503 h 36533"/>
                        <a:gd name="connsiteX68" fmla="*/ 32075 w 33951"/>
                        <a:gd name="connsiteY68" fmla="*/ 8878 h 36533"/>
                        <a:gd name="connsiteX69" fmla="*/ 32135 w 33951"/>
                        <a:gd name="connsiteY69" fmla="*/ 9117 h 36533"/>
                        <a:gd name="connsiteX70" fmla="*/ 32195 w 33951"/>
                        <a:gd name="connsiteY70" fmla="*/ 9357 h 36533"/>
                        <a:gd name="connsiteX71" fmla="*/ 32255 w 33951"/>
                        <a:gd name="connsiteY71" fmla="*/ 9596 h 36533"/>
                        <a:gd name="connsiteX72" fmla="*/ 32314 w 33951"/>
                        <a:gd name="connsiteY72" fmla="*/ 9835 h 36533"/>
                        <a:gd name="connsiteX73" fmla="*/ 32614 w 33951"/>
                        <a:gd name="connsiteY73" fmla="*/ 10971 h 36533"/>
                        <a:gd name="connsiteX74" fmla="*/ 32853 w 33951"/>
                        <a:gd name="connsiteY74" fmla="*/ 12168 h 36533"/>
                        <a:gd name="connsiteX75" fmla="*/ 32973 w 33951"/>
                        <a:gd name="connsiteY75" fmla="*/ 13423 h 36533"/>
                        <a:gd name="connsiteX76" fmla="*/ 32973 w 33951"/>
                        <a:gd name="connsiteY76" fmla="*/ 14679 h 36533"/>
                        <a:gd name="connsiteX77" fmla="*/ 32973 w 33951"/>
                        <a:gd name="connsiteY77" fmla="*/ 15158 h 36533"/>
                        <a:gd name="connsiteX78" fmla="*/ 32973 w 33951"/>
                        <a:gd name="connsiteY78" fmla="*/ 15636 h 36533"/>
                        <a:gd name="connsiteX79" fmla="*/ 32913 w 33951"/>
                        <a:gd name="connsiteY79" fmla="*/ 16115 h 36533"/>
                        <a:gd name="connsiteX80" fmla="*/ 32853 w 33951"/>
                        <a:gd name="connsiteY80" fmla="*/ 16593 h 36533"/>
                        <a:gd name="connsiteX81" fmla="*/ 32853 w 33951"/>
                        <a:gd name="connsiteY81" fmla="*/ 16713 h 36533"/>
                        <a:gd name="connsiteX82" fmla="*/ 32853 w 33951"/>
                        <a:gd name="connsiteY82" fmla="*/ 16832 h 36533"/>
                        <a:gd name="connsiteX83" fmla="*/ 32853 w 33951"/>
                        <a:gd name="connsiteY83" fmla="*/ 16952 h 36533"/>
                        <a:gd name="connsiteX84" fmla="*/ 32853 w 33951"/>
                        <a:gd name="connsiteY84" fmla="*/ 17072 h 36533"/>
                        <a:gd name="connsiteX85" fmla="*/ 30700 w 33951"/>
                        <a:gd name="connsiteY85" fmla="*/ 23651 h 36533"/>
                        <a:gd name="connsiteX86" fmla="*/ 26633 w 33951"/>
                        <a:gd name="connsiteY86" fmla="*/ 29272 h 36533"/>
                        <a:gd name="connsiteX87" fmla="*/ 21190 w 33951"/>
                        <a:gd name="connsiteY87" fmla="*/ 33339 h 36533"/>
                        <a:gd name="connsiteX88" fmla="*/ 14971 w 33951"/>
                        <a:gd name="connsiteY88" fmla="*/ 35253 h 36533"/>
                        <a:gd name="connsiteX89" fmla="*/ 12578 w 33951"/>
                        <a:gd name="connsiteY89" fmla="*/ 35313 h 36533"/>
                        <a:gd name="connsiteX90" fmla="*/ 10305 w 33951"/>
                        <a:gd name="connsiteY90" fmla="*/ 34954 h 36533"/>
                        <a:gd name="connsiteX91" fmla="*/ 8212 w 33951"/>
                        <a:gd name="connsiteY91" fmla="*/ 34177 h 36533"/>
                        <a:gd name="connsiteX92" fmla="*/ 6059 w 33951"/>
                        <a:gd name="connsiteY92" fmla="*/ 33100 h 36533"/>
                        <a:gd name="connsiteX93" fmla="*/ 5760 w 33951"/>
                        <a:gd name="connsiteY93" fmla="*/ 33040 h 36533"/>
                        <a:gd name="connsiteX94" fmla="*/ 7674 w 33951"/>
                        <a:gd name="connsiteY94" fmla="*/ 34237 h 36533"/>
                        <a:gd name="connsiteX95" fmla="*/ 9827 w 33951"/>
                        <a:gd name="connsiteY95" fmla="*/ 35074 h 36533"/>
                        <a:gd name="connsiteX96" fmla="*/ 12219 w 33951"/>
                        <a:gd name="connsiteY96" fmla="*/ 35492 h 36533"/>
                        <a:gd name="connsiteX97" fmla="*/ 14791 w 33951"/>
                        <a:gd name="connsiteY97" fmla="*/ 35432 h 36533"/>
                        <a:gd name="connsiteX98" fmla="*/ 17901 w 33951"/>
                        <a:gd name="connsiteY98" fmla="*/ 34834 h 36533"/>
                        <a:gd name="connsiteX99" fmla="*/ 20951 w 33951"/>
                        <a:gd name="connsiteY99" fmla="*/ 33578 h 36533"/>
                        <a:gd name="connsiteX100" fmla="*/ 23882 w 33951"/>
                        <a:gd name="connsiteY100" fmla="*/ 31784 h 36533"/>
                        <a:gd name="connsiteX101" fmla="*/ 26573 w 33951"/>
                        <a:gd name="connsiteY101" fmla="*/ 29452 h 36533"/>
                        <a:gd name="connsiteX102" fmla="*/ 28906 w 33951"/>
                        <a:gd name="connsiteY102" fmla="*/ 26701 h 36533"/>
                        <a:gd name="connsiteX103" fmla="*/ 30760 w 33951"/>
                        <a:gd name="connsiteY103" fmla="*/ 23651 h 36533"/>
                        <a:gd name="connsiteX104" fmla="*/ 32075 w 33951"/>
                        <a:gd name="connsiteY104" fmla="*/ 20421 h 36533"/>
                        <a:gd name="connsiteX105" fmla="*/ 32853 w 33951"/>
                        <a:gd name="connsiteY105" fmla="*/ 17072 h 36533"/>
                        <a:gd name="connsiteX106" fmla="*/ 33033 w 33951"/>
                        <a:gd name="connsiteY106" fmla="*/ 13782 h 36533"/>
                        <a:gd name="connsiteX107" fmla="*/ 32614 w 33951"/>
                        <a:gd name="connsiteY107" fmla="*/ 10732 h 36533"/>
                        <a:gd name="connsiteX108" fmla="*/ 31597 w 33951"/>
                        <a:gd name="connsiteY108" fmla="*/ 7981 h 36533"/>
                        <a:gd name="connsiteX109" fmla="*/ 29982 w 33951"/>
                        <a:gd name="connsiteY109" fmla="*/ 5589 h 36533"/>
                        <a:gd name="connsiteX110" fmla="*/ 29623 w 33951"/>
                        <a:gd name="connsiteY110" fmla="*/ 5170 h 36533"/>
                        <a:gd name="connsiteX111" fmla="*/ 29265 w 33951"/>
                        <a:gd name="connsiteY111" fmla="*/ 4811 h 36533"/>
                        <a:gd name="connsiteX112" fmla="*/ 28906 w 33951"/>
                        <a:gd name="connsiteY112" fmla="*/ 4452 h 36533"/>
                        <a:gd name="connsiteX113" fmla="*/ 28487 w 33951"/>
                        <a:gd name="connsiteY113" fmla="*/ 4093 h 36533"/>
                        <a:gd name="connsiteX114" fmla="*/ 26573 w 33951"/>
                        <a:gd name="connsiteY114" fmla="*/ 2838 h 36533"/>
                        <a:gd name="connsiteX115" fmla="*/ 24420 w 33951"/>
                        <a:gd name="connsiteY115" fmla="*/ 2000 h 36533"/>
                        <a:gd name="connsiteX116" fmla="*/ 22088 w 33951"/>
                        <a:gd name="connsiteY116" fmla="*/ 1582 h 36533"/>
                        <a:gd name="connsiteX117" fmla="*/ 19576 w 33951"/>
                        <a:gd name="connsiteY117" fmla="*/ 1582 h 36533"/>
                        <a:gd name="connsiteX118" fmla="*/ 16406 w 33951"/>
                        <a:gd name="connsiteY118" fmla="*/ 2180 h 36533"/>
                        <a:gd name="connsiteX119" fmla="*/ 13296 w 33951"/>
                        <a:gd name="connsiteY119" fmla="*/ 3376 h 36533"/>
                        <a:gd name="connsiteX120" fmla="*/ 10365 w 33951"/>
                        <a:gd name="connsiteY120" fmla="*/ 5170 h 36533"/>
                        <a:gd name="connsiteX121" fmla="*/ 7614 w 33951"/>
                        <a:gd name="connsiteY121" fmla="*/ 7562 h 36533"/>
                        <a:gd name="connsiteX122" fmla="*/ 5282 w 33951"/>
                        <a:gd name="connsiteY122" fmla="*/ 10314 h 36533"/>
                        <a:gd name="connsiteX123" fmla="*/ 3428 w 33951"/>
                        <a:gd name="connsiteY123" fmla="*/ 13363 h 36533"/>
                        <a:gd name="connsiteX124" fmla="*/ 2052 w 33951"/>
                        <a:gd name="connsiteY124" fmla="*/ 16653 h 36533"/>
                        <a:gd name="connsiteX125" fmla="*/ 1275 w 33951"/>
                        <a:gd name="connsiteY125" fmla="*/ 20002 h 36533"/>
                        <a:gd name="connsiteX126" fmla="*/ 1155 w 33951"/>
                        <a:gd name="connsiteY126" fmla="*/ 24009 h 36533"/>
                        <a:gd name="connsiteX127" fmla="*/ 1933 w 33951"/>
                        <a:gd name="connsiteY127" fmla="*/ 27598 h 36533"/>
                        <a:gd name="connsiteX128" fmla="*/ 3488 w 33951"/>
                        <a:gd name="connsiteY128" fmla="*/ 30648 h 36533"/>
                        <a:gd name="connsiteX129" fmla="*/ 5760 w 33951"/>
                        <a:gd name="connsiteY129" fmla="*/ 33040 h 36533"/>
                        <a:gd name="connsiteX130" fmla="*/ 29205 w 33951"/>
                        <a:gd name="connsiteY130" fmla="*/ 3256 h 36533"/>
                        <a:gd name="connsiteX131" fmla="*/ 29623 w 33951"/>
                        <a:gd name="connsiteY131" fmla="*/ 3615 h 36533"/>
                        <a:gd name="connsiteX132" fmla="*/ 30042 w 33951"/>
                        <a:gd name="connsiteY132" fmla="*/ 3974 h 36533"/>
                        <a:gd name="connsiteX133" fmla="*/ 30401 w 33951"/>
                        <a:gd name="connsiteY133" fmla="*/ 4392 h 36533"/>
                        <a:gd name="connsiteX134" fmla="*/ 30760 w 33951"/>
                        <a:gd name="connsiteY134" fmla="*/ 4811 h 36533"/>
                        <a:gd name="connsiteX135" fmla="*/ 32434 w 33951"/>
                        <a:gd name="connsiteY135" fmla="*/ 7383 h 36533"/>
                        <a:gd name="connsiteX136" fmla="*/ 33511 w 33951"/>
                        <a:gd name="connsiteY136" fmla="*/ 10314 h 36533"/>
                        <a:gd name="connsiteX137" fmla="*/ 33929 w 33951"/>
                        <a:gd name="connsiteY137" fmla="*/ 13543 h 36533"/>
                        <a:gd name="connsiteX138" fmla="*/ 33750 w 33951"/>
                        <a:gd name="connsiteY138" fmla="*/ 17012 h 36533"/>
                        <a:gd name="connsiteX139" fmla="*/ 32913 w 33951"/>
                        <a:gd name="connsiteY139" fmla="*/ 20540 h 36533"/>
                        <a:gd name="connsiteX140" fmla="*/ 31477 w 33951"/>
                        <a:gd name="connsiteY140" fmla="*/ 23949 h 36533"/>
                        <a:gd name="connsiteX141" fmla="*/ 29504 w 33951"/>
                        <a:gd name="connsiteY141" fmla="*/ 27119 h 36533"/>
                        <a:gd name="connsiteX142" fmla="*/ 27052 w 33951"/>
                        <a:gd name="connsiteY142" fmla="*/ 30050 h 36533"/>
                        <a:gd name="connsiteX143" fmla="*/ 24181 w 33951"/>
                        <a:gd name="connsiteY143" fmla="*/ 32502 h 36533"/>
                        <a:gd name="connsiteX144" fmla="*/ 21071 w 33951"/>
                        <a:gd name="connsiteY144" fmla="*/ 34416 h 36533"/>
                        <a:gd name="connsiteX145" fmla="*/ 17841 w 33951"/>
                        <a:gd name="connsiteY145" fmla="*/ 35732 h 36533"/>
                        <a:gd name="connsiteX146" fmla="*/ 14492 w 33951"/>
                        <a:gd name="connsiteY146" fmla="*/ 36389 h 36533"/>
                        <a:gd name="connsiteX147" fmla="*/ 11801 w 33951"/>
                        <a:gd name="connsiteY147" fmla="*/ 36389 h 36533"/>
                        <a:gd name="connsiteX148" fmla="*/ 9289 w 33951"/>
                        <a:gd name="connsiteY148" fmla="*/ 35971 h 36533"/>
                        <a:gd name="connsiteX149" fmla="*/ 7016 w 33951"/>
                        <a:gd name="connsiteY149" fmla="*/ 35074 h 36533"/>
                        <a:gd name="connsiteX150" fmla="*/ 4983 w 33951"/>
                        <a:gd name="connsiteY150" fmla="*/ 33818 h 36533"/>
                        <a:gd name="connsiteX151" fmla="*/ 2590 w 33951"/>
                        <a:gd name="connsiteY151" fmla="*/ 31306 h 36533"/>
                        <a:gd name="connsiteX152" fmla="*/ 916 w 33951"/>
                        <a:gd name="connsiteY152" fmla="*/ 28076 h 36533"/>
                        <a:gd name="connsiteX153" fmla="*/ 79 w 33951"/>
                        <a:gd name="connsiteY153" fmla="*/ 24308 h 36533"/>
                        <a:gd name="connsiteX154" fmla="*/ 198 w 33951"/>
                        <a:gd name="connsiteY154" fmla="*/ 20062 h 36533"/>
                        <a:gd name="connsiteX155" fmla="*/ 1035 w 33951"/>
                        <a:gd name="connsiteY155" fmla="*/ 16474 h 36533"/>
                        <a:gd name="connsiteX156" fmla="*/ 2471 w 33951"/>
                        <a:gd name="connsiteY156" fmla="*/ 13005 h 36533"/>
                        <a:gd name="connsiteX157" fmla="*/ 4444 w 33951"/>
                        <a:gd name="connsiteY157" fmla="*/ 9775 h 36533"/>
                        <a:gd name="connsiteX158" fmla="*/ 6956 w 33951"/>
                        <a:gd name="connsiteY158" fmla="*/ 6845 h 36533"/>
                        <a:gd name="connsiteX159" fmla="*/ 9827 w 33951"/>
                        <a:gd name="connsiteY159" fmla="*/ 4333 h 36533"/>
                        <a:gd name="connsiteX160" fmla="*/ 12937 w 33951"/>
                        <a:gd name="connsiteY160" fmla="*/ 2419 h 36533"/>
                        <a:gd name="connsiteX161" fmla="*/ 16226 w 33951"/>
                        <a:gd name="connsiteY161" fmla="*/ 1103 h 36533"/>
                        <a:gd name="connsiteX162" fmla="*/ 19576 w 33951"/>
                        <a:gd name="connsiteY162" fmla="*/ 445 h 36533"/>
                        <a:gd name="connsiteX163" fmla="*/ 22267 w 33951"/>
                        <a:gd name="connsiteY163" fmla="*/ 445 h 36533"/>
                        <a:gd name="connsiteX164" fmla="*/ 24779 w 33951"/>
                        <a:gd name="connsiteY164" fmla="*/ 924 h 36533"/>
                        <a:gd name="connsiteX165" fmla="*/ 27052 w 33951"/>
                        <a:gd name="connsiteY165" fmla="*/ 1821 h 36533"/>
                        <a:gd name="connsiteX166" fmla="*/ 29205 w 33951"/>
                        <a:gd name="connsiteY166" fmla="*/ 3256 h 36533"/>
                        <a:gd name="connsiteX167" fmla="*/ 4983 w 33951"/>
                        <a:gd name="connsiteY167" fmla="*/ 33997 h 36533"/>
                        <a:gd name="connsiteX168" fmla="*/ 4983 w 33951"/>
                        <a:gd name="connsiteY168" fmla="*/ 33997 h 36533"/>
                        <a:gd name="connsiteX169" fmla="*/ 4983 w 33951"/>
                        <a:gd name="connsiteY169" fmla="*/ 33997 h 36533"/>
                        <a:gd name="connsiteX170" fmla="*/ 4983 w 33951"/>
                        <a:gd name="connsiteY170" fmla="*/ 33997 h 36533"/>
                        <a:gd name="connsiteX171" fmla="*/ 4983 w 33951"/>
                        <a:gd name="connsiteY171" fmla="*/ 33997 h 36533"/>
                        <a:gd name="connsiteX172" fmla="*/ 5222 w 33951"/>
                        <a:gd name="connsiteY172" fmla="*/ 34177 h 36533"/>
                        <a:gd name="connsiteX173" fmla="*/ 5401 w 33951"/>
                        <a:gd name="connsiteY173" fmla="*/ 34296 h 36533"/>
                        <a:gd name="connsiteX174" fmla="*/ 5581 w 33951"/>
                        <a:gd name="connsiteY174" fmla="*/ 34416 h 36533"/>
                        <a:gd name="connsiteX175" fmla="*/ 5820 w 33951"/>
                        <a:gd name="connsiteY175" fmla="*/ 34535 h 36533"/>
                        <a:gd name="connsiteX176" fmla="*/ 7734 w 33951"/>
                        <a:gd name="connsiteY176" fmla="*/ 35552 h 36533"/>
                        <a:gd name="connsiteX177" fmla="*/ 9827 w 33951"/>
                        <a:gd name="connsiteY177" fmla="*/ 36210 h 36533"/>
                        <a:gd name="connsiteX178" fmla="*/ 12100 w 33951"/>
                        <a:gd name="connsiteY178" fmla="*/ 36509 h 36533"/>
                        <a:gd name="connsiteX179" fmla="*/ 14492 w 33951"/>
                        <a:gd name="connsiteY179" fmla="*/ 36449 h 36533"/>
                        <a:gd name="connsiteX180" fmla="*/ 20891 w 33951"/>
                        <a:gd name="connsiteY180" fmla="*/ 34535 h 36533"/>
                        <a:gd name="connsiteX181" fmla="*/ 26573 w 33951"/>
                        <a:gd name="connsiteY181" fmla="*/ 30528 h 36533"/>
                        <a:gd name="connsiteX182" fmla="*/ 30939 w 33951"/>
                        <a:gd name="connsiteY182" fmla="*/ 24907 h 36533"/>
                        <a:gd name="connsiteX183" fmla="*/ 33511 w 33951"/>
                        <a:gd name="connsiteY183" fmla="*/ 18268 h 36533"/>
                        <a:gd name="connsiteX184" fmla="*/ 33571 w 33951"/>
                        <a:gd name="connsiteY184" fmla="*/ 17909 h 36533"/>
                        <a:gd name="connsiteX185" fmla="*/ 33630 w 33951"/>
                        <a:gd name="connsiteY185" fmla="*/ 17550 h 36533"/>
                        <a:gd name="connsiteX186" fmla="*/ 33690 w 33951"/>
                        <a:gd name="connsiteY186" fmla="*/ 17191 h 36533"/>
                        <a:gd name="connsiteX187" fmla="*/ 33750 w 33951"/>
                        <a:gd name="connsiteY187" fmla="*/ 16832 h 36533"/>
                        <a:gd name="connsiteX188" fmla="*/ 33750 w 33951"/>
                        <a:gd name="connsiteY188" fmla="*/ 16773 h 36533"/>
                        <a:gd name="connsiteX189" fmla="*/ 33750 w 33951"/>
                        <a:gd name="connsiteY189" fmla="*/ 16713 h 36533"/>
                        <a:gd name="connsiteX190" fmla="*/ 33750 w 33951"/>
                        <a:gd name="connsiteY190" fmla="*/ 16653 h 36533"/>
                        <a:gd name="connsiteX191" fmla="*/ 33750 w 33951"/>
                        <a:gd name="connsiteY191" fmla="*/ 16593 h 36533"/>
                        <a:gd name="connsiteX192" fmla="*/ 33929 w 33951"/>
                        <a:gd name="connsiteY192" fmla="*/ 14560 h 36533"/>
                        <a:gd name="connsiteX193" fmla="*/ 33870 w 33951"/>
                        <a:gd name="connsiteY193" fmla="*/ 12586 h 36533"/>
                        <a:gd name="connsiteX194" fmla="*/ 33630 w 33951"/>
                        <a:gd name="connsiteY194" fmla="*/ 10732 h 36533"/>
                        <a:gd name="connsiteX195" fmla="*/ 33152 w 33951"/>
                        <a:gd name="connsiteY195" fmla="*/ 8938 h 36533"/>
                        <a:gd name="connsiteX196" fmla="*/ 33092 w 33951"/>
                        <a:gd name="connsiteY196" fmla="*/ 8699 h 36533"/>
                        <a:gd name="connsiteX197" fmla="*/ 33033 w 33951"/>
                        <a:gd name="connsiteY197" fmla="*/ 8460 h 36533"/>
                        <a:gd name="connsiteX198" fmla="*/ 32973 w 33951"/>
                        <a:gd name="connsiteY198" fmla="*/ 8220 h 36533"/>
                        <a:gd name="connsiteX199" fmla="*/ 32913 w 33951"/>
                        <a:gd name="connsiteY199" fmla="*/ 7981 h 36533"/>
                        <a:gd name="connsiteX200" fmla="*/ 32255 w 33951"/>
                        <a:gd name="connsiteY200" fmla="*/ 6546 h 36533"/>
                        <a:gd name="connsiteX201" fmla="*/ 31418 w 33951"/>
                        <a:gd name="connsiteY201" fmla="*/ 5230 h 36533"/>
                        <a:gd name="connsiteX202" fmla="*/ 30401 w 33951"/>
                        <a:gd name="connsiteY202" fmla="*/ 4034 h 36533"/>
                        <a:gd name="connsiteX203" fmla="*/ 29265 w 33951"/>
                        <a:gd name="connsiteY203" fmla="*/ 2957 h 36533"/>
                        <a:gd name="connsiteX204" fmla="*/ 29205 w 33951"/>
                        <a:gd name="connsiteY204" fmla="*/ 2897 h 36533"/>
                        <a:gd name="connsiteX205" fmla="*/ 29145 w 33951"/>
                        <a:gd name="connsiteY205" fmla="*/ 2838 h 36533"/>
                        <a:gd name="connsiteX206" fmla="*/ 29085 w 33951"/>
                        <a:gd name="connsiteY206" fmla="*/ 2778 h 36533"/>
                        <a:gd name="connsiteX207" fmla="*/ 29025 w 33951"/>
                        <a:gd name="connsiteY207" fmla="*/ 2718 h 36533"/>
                        <a:gd name="connsiteX208" fmla="*/ 28846 w 33951"/>
                        <a:gd name="connsiteY208" fmla="*/ 2598 h 36533"/>
                        <a:gd name="connsiteX209" fmla="*/ 28666 w 33951"/>
                        <a:gd name="connsiteY209" fmla="*/ 2479 h 36533"/>
                        <a:gd name="connsiteX210" fmla="*/ 28487 w 33951"/>
                        <a:gd name="connsiteY210" fmla="*/ 2359 h 36533"/>
                        <a:gd name="connsiteX211" fmla="*/ 28308 w 33951"/>
                        <a:gd name="connsiteY211" fmla="*/ 2239 h 36533"/>
                        <a:gd name="connsiteX212" fmla="*/ 27710 w 33951"/>
                        <a:gd name="connsiteY212" fmla="*/ 1821 h 36533"/>
                        <a:gd name="connsiteX213" fmla="*/ 27052 w 33951"/>
                        <a:gd name="connsiteY213" fmla="*/ 1462 h 36533"/>
                        <a:gd name="connsiteX214" fmla="*/ 26394 w 33951"/>
                        <a:gd name="connsiteY214" fmla="*/ 1163 h 36533"/>
                        <a:gd name="connsiteX215" fmla="*/ 25736 w 33951"/>
                        <a:gd name="connsiteY215" fmla="*/ 864 h 36533"/>
                        <a:gd name="connsiteX216" fmla="*/ 25377 w 33951"/>
                        <a:gd name="connsiteY216" fmla="*/ 744 h 36533"/>
                        <a:gd name="connsiteX217" fmla="*/ 25018 w 33951"/>
                        <a:gd name="connsiteY217" fmla="*/ 625 h 36533"/>
                        <a:gd name="connsiteX218" fmla="*/ 24659 w 33951"/>
                        <a:gd name="connsiteY218" fmla="*/ 505 h 36533"/>
                        <a:gd name="connsiteX219" fmla="*/ 24301 w 33951"/>
                        <a:gd name="connsiteY219" fmla="*/ 385 h 36533"/>
                        <a:gd name="connsiteX220" fmla="*/ 23224 w 33951"/>
                        <a:gd name="connsiteY220" fmla="*/ 146 h 36533"/>
                        <a:gd name="connsiteX221" fmla="*/ 22088 w 33951"/>
                        <a:gd name="connsiteY221" fmla="*/ 27 h 36533"/>
                        <a:gd name="connsiteX222" fmla="*/ 20891 w 33951"/>
                        <a:gd name="connsiteY222" fmla="*/ 27 h 36533"/>
                        <a:gd name="connsiteX223" fmla="*/ 19695 w 33951"/>
                        <a:gd name="connsiteY223" fmla="*/ 86 h 36533"/>
                        <a:gd name="connsiteX224" fmla="*/ 17243 w 33951"/>
                        <a:gd name="connsiteY224" fmla="*/ 445 h 36533"/>
                        <a:gd name="connsiteX225" fmla="*/ 14791 w 33951"/>
                        <a:gd name="connsiteY225" fmla="*/ 1223 h 36533"/>
                        <a:gd name="connsiteX226" fmla="*/ 12399 w 33951"/>
                        <a:gd name="connsiteY226" fmla="*/ 2299 h 36533"/>
                        <a:gd name="connsiteX227" fmla="*/ 10126 w 33951"/>
                        <a:gd name="connsiteY227" fmla="*/ 3735 h 36533"/>
                        <a:gd name="connsiteX228" fmla="*/ 9827 w 33951"/>
                        <a:gd name="connsiteY228" fmla="*/ 3914 h 36533"/>
                        <a:gd name="connsiteX229" fmla="*/ 9528 w 33951"/>
                        <a:gd name="connsiteY229" fmla="*/ 4093 h 36533"/>
                        <a:gd name="connsiteX230" fmla="*/ 9289 w 33951"/>
                        <a:gd name="connsiteY230" fmla="*/ 4273 h 36533"/>
                        <a:gd name="connsiteX231" fmla="*/ 9050 w 33951"/>
                        <a:gd name="connsiteY231" fmla="*/ 4512 h 36533"/>
                        <a:gd name="connsiteX232" fmla="*/ 8511 w 33951"/>
                        <a:gd name="connsiteY232" fmla="*/ 4931 h 36533"/>
                        <a:gd name="connsiteX233" fmla="*/ 7973 w 33951"/>
                        <a:gd name="connsiteY233" fmla="*/ 5409 h 36533"/>
                        <a:gd name="connsiteX234" fmla="*/ 7435 w 33951"/>
                        <a:gd name="connsiteY234" fmla="*/ 5888 h 36533"/>
                        <a:gd name="connsiteX235" fmla="*/ 6956 w 33951"/>
                        <a:gd name="connsiteY235" fmla="*/ 6366 h 36533"/>
                        <a:gd name="connsiteX236" fmla="*/ 5820 w 33951"/>
                        <a:gd name="connsiteY236" fmla="*/ 7562 h 36533"/>
                        <a:gd name="connsiteX237" fmla="*/ 4803 w 33951"/>
                        <a:gd name="connsiteY237" fmla="*/ 8818 h 36533"/>
                        <a:gd name="connsiteX238" fmla="*/ 3847 w 33951"/>
                        <a:gd name="connsiteY238" fmla="*/ 10134 h 36533"/>
                        <a:gd name="connsiteX239" fmla="*/ 3009 w 33951"/>
                        <a:gd name="connsiteY239" fmla="*/ 11509 h 36533"/>
                        <a:gd name="connsiteX240" fmla="*/ 2889 w 33951"/>
                        <a:gd name="connsiteY240" fmla="*/ 11749 h 36533"/>
                        <a:gd name="connsiteX241" fmla="*/ 2770 w 33951"/>
                        <a:gd name="connsiteY241" fmla="*/ 11988 h 36533"/>
                        <a:gd name="connsiteX242" fmla="*/ 2650 w 33951"/>
                        <a:gd name="connsiteY242" fmla="*/ 12227 h 36533"/>
                        <a:gd name="connsiteX243" fmla="*/ 2531 w 33951"/>
                        <a:gd name="connsiteY243" fmla="*/ 12467 h 36533"/>
                        <a:gd name="connsiteX244" fmla="*/ 1753 w 33951"/>
                        <a:gd name="connsiteY244" fmla="*/ 14201 h 36533"/>
                        <a:gd name="connsiteX245" fmla="*/ 1095 w 33951"/>
                        <a:gd name="connsiteY245" fmla="*/ 15995 h 36533"/>
                        <a:gd name="connsiteX246" fmla="*/ 617 w 33951"/>
                        <a:gd name="connsiteY246" fmla="*/ 17790 h 36533"/>
                        <a:gd name="connsiteX247" fmla="*/ 258 w 33951"/>
                        <a:gd name="connsiteY247" fmla="*/ 19644 h 36533"/>
                        <a:gd name="connsiteX248" fmla="*/ 139 w 33951"/>
                        <a:gd name="connsiteY248" fmla="*/ 20481 h 36533"/>
                        <a:gd name="connsiteX249" fmla="*/ 79 w 33951"/>
                        <a:gd name="connsiteY249" fmla="*/ 21318 h 36533"/>
                        <a:gd name="connsiteX250" fmla="*/ 79 w 33951"/>
                        <a:gd name="connsiteY250" fmla="*/ 22155 h 36533"/>
                        <a:gd name="connsiteX251" fmla="*/ 79 w 33951"/>
                        <a:gd name="connsiteY251" fmla="*/ 22993 h 36533"/>
                        <a:gd name="connsiteX252" fmla="*/ 79 w 33951"/>
                        <a:gd name="connsiteY252" fmla="*/ 23232 h 36533"/>
                        <a:gd name="connsiteX253" fmla="*/ 79 w 33951"/>
                        <a:gd name="connsiteY253" fmla="*/ 23471 h 36533"/>
                        <a:gd name="connsiteX254" fmla="*/ 79 w 33951"/>
                        <a:gd name="connsiteY254" fmla="*/ 23710 h 36533"/>
                        <a:gd name="connsiteX255" fmla="*/ 79 w 33951"/>
                        <a:gd name="connsiteY255" fmla="*/ 23949 h 36533"/>
                        <a:gd name="connsiteX256" fmla="*/ 617 w 33951"/>
                        <a:gd name="connsiteY256" fmla="*/ 26761 h 36533"/>
                        <a:gd name="connsiteX257" fmla="*/ 1634 w 33951"/>
                        <a:gd name="connsiteY257" fmla="*/ 29332 h 36533"/>
                        <a:gd name="connsiteX258" fmla="*/ 3069 w 33951"/>
                        <a:gd name="connsiteY258" fmla="*/ 31545 h 36533"/>
                        <a:gd name="connsiteX259" fmla="*/ 4983 w 33951"/>
                        <a:gd name="connsiteY259" fmla="*/ 33997 h 3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33951" h="36533">
                          <a:moveTo>
                            <a:pt x="6059" y="33100"/>
                          </a:moveTo>
                          <a:cubicBezTo>
                            <a:pt x="6059" y="33100"/>
                            <a:pt x="6059" y="33100"/>
                            <a:pt x="6059" y="33100"/>
                          </a:cubicBezTo>
                          <a:cubicBezTo>
                            <a:pt x="6000" y="33040"/>
                            <a:pt x="5940" y="33040"/>
                            <a:pt x="5940" y="33040"/>
                          </a:cubicBezTo>
                          <a:cubicBezTo>
                            <a:pt x="5940" y="33040"/>
                            <a:pt x="5880" y="33040"/>
                            <a:pt x="5880" y="32980"/>
                          </a:cubicBezTo>
                          <a:cubicBezTo>
                            <a:pt x="5880" y="32980"/>
                            <a:pt x="5820" y="32980"/>
                            <a:pt x="5820" y="32921"/>
                          </a:cubicBezTo>
                          <a:cubicBezTo>
                            <a:pt x="5760" y="32861"/>
                            <a:pt x="5701" y="32861"/>
                            <a:pt x="5641" y="32801"/>
                          </a:cubicBezTo>
                          <a:cubicBezTo>
                            <a:pt x="5581" y="32741"/>
                            <a:pt x="5521" y="32741"/>
                            <a:pt x="5521" y="32681"/>
                          </a:cubicBezTo>
                          <a:cubicBezTo>
                            <a:pt x="5461" y="32622"/>
                            <a:pt x="5401" y="32622"/>
                            <a:pt x="5401" y="32562"/>
                          </a:cubicBezTo>
                          <a:cubicBezTo>
                            <a:pt x="5342" y="32502"/>
                            <a:pt x="5282" y="32502"/>
                            <a:pt x="5282" y="32442"/>
                          </a:cubicBezTo>
                          <a:cubicBezTo>
                            <a:pt x="4743" y="31964"/>
                            <a:pt x="4205" y="31366"/>
                            <a:pt x="3787" y="30827"/>
                          </a:cubicBezTo>
                          <a:cubicBezTo>
                            <a:pt x="3368" y="30229"/>
                            <a:pt x="2949" y="29571"/>
                            <a:pt x="2650" y="28914"/>
                          </a:cubicBezTo>
                          <a:cubicBezTo>
                            <a:pt x="2292" y="28256"/>
                            <a:pt x="2052" y="27538"/>
                            <a:pt x="1813" y="26761"/>
                          </a:cubicBezTo>
                          <a:cubicBezTo>
                            <a:pt x="1574" y="25983"/>
                            <a:pt x="1454" y="25206"/>
                            <a:pt x="1334" y="24428"/>
                          </a:cubicBezTo>
                          <a:cubicBezTo>
                            <a:pt x="1334" y="24368"/>
                            <a:pt x="1334" y="24248"/>
                            <a:pt x="1334" y="24189"/>
                          </a:cubicBezTo>
                          <a:cubicBezTo>
                            <a:pt x="1334" y="24129"/>
                            <a:pt x="1334" y="24009"/>
                            <a:pt x="1334" y="23949"/>
                          </a:cubicBezTo>
                          <a:cubicBezTo>
                            <a:pt x="1334" y="23890"/>
                            <a:pt x="1334" y="23770"/>
                            <a:pt x="1334" y="23710"/>
                          </a:cubicBezTo>
                          <a:cubicBezTo>
                            <a:pt x="1334" y="23651"/>
                            <a:pt x="1334" y="23531"/>
                            <a:pt x="1334" y="23471"/>
                          </a:cubicBezTo>
                          <a:cubicBezTo>
                            <a:pt x="1334" y="23232"/>
                            <a:pt x="1334" y="22933"/>
                            <a:pt x="1334" y="22634"/>
                          </a:cubicBezTo>
                          <a:cubicBezTo>
                            <a:pt x="1334" y="22335"/>
                            <a:pt x="1334" y="22095"/>
                            <a:pt x="1334" y="21797"/>
                          </a:cubicBezTo>
                          <a:cubicBezTo>
                            <a:pt x="1334" y="21498"/>
                            <a:pt x="1394" y="21258"/>
                            <a:pt x="1394" y="20959"/>
                          </a:cubicBezTo>
                          <a:cubicBezTo>
                            <a:pt x="1394" y="20660"/>
                            <a:pt x="1454" y="20361"/>
                            <a:pt x="1514" y="20122"/>
                          </a:cubicBezTo>
                          <a:cubicBezTo>
                            <a:pt x="1574" y="19524"/>
                            <a:pt x="1693" y="18866"/>
                            <a:pt x="1873" y="18268"/>
                          </a:cubicBezTo>
                          <a:cubicBezTo>
                            <a:pt x="1993" y="17670"/>
                            <a:pt x="2172" y="17072"/>
                            <a:pt x="2411" y="16474"/>
                          </a:cubicBezTo>
                          <a:cubicBezTo>
                            <a:pt x="2650" y="15876"/>
                            <a:pt x="2830" y="15277"/>
                            <a:pt x="3069" y="14679"/>
                          </a:cubicBezTo>
                          <a:cubicBezTo>
                            <a:pt x="3308" y="14081"/>
                            <a:pt x="3607" y="13543"/>
                            <a:pt x="3906" y="12945"/>
                          </a:cubicBezTo>
                          <a:cubicBezTo>
                            <a:pt x="3966" y="12885"/>
                            <a:pt x="4026" y="12766"/>
                            <a:pt x="4026" y="12706"/>
                          </a:cubicBezTo>
                          <a:cubicBezTo>
                            <a:pt x="4086" y="12646"/>
                            <a:pt x="4146" y="12526"/>
                            <a:pt x="4146" y="12467"/>
                          </a:cubicBezTo>
                          <a:cubicBezTo>
                            <a:pt x="4205" y="12407"/>
                            <a:pt x="4265" y="12287"/>
                            <a:pt x="4325" y="12227"/>
                          </a:cubicBezTo>
                          <a:cubicBezTo>
                            <a:pt x="4385" y="12168"/>
                            <a:pt x="4444" y="12048"/>
                            <a:pt x="4504" y="11988"/>
                          </a:cubicBezTo>
                          <a:cubicBezTo>
                            <a:pt x="4743" y="11629"/>
                            <a:pt x="4983" y="11270"/>
                            <a:pt x="5222" y="10852"/>
                          </a:cubicBezTo>
                          <a:cubicBezTo>
                            <a:pt x="5461" y="10493"/>
                            <a:pt x="5760" y="10134"/>
                            <a:pt x="6000" y="9775"/>
                          </a:cubicBezTo>
                          <a:cubicBezTo>
                            <a:pt x="6298" y="9416"/>
                            <a:pt x="6538" y="9058"/>
                            <a:pt x="6837" y="8759"/>
                          </a:cubicBezTo>
                          <a:cubicBezTo>
                            <a:pt x="7136" y="8400"/>
                            <a:pt x="7435" y="8100"/>
                            <a:pt x="7734" y="7742"/>
                          </a:cubicBezTo>
                          <a:cubicBezTo>
                            <a:pt x="7854" y="7622"/>
                            <a:pt x="7913" y="7562"/>
                            <a:pt x="8033" y="7443"/>
                          </a:cubicBezTo>
                          <a:cubicBezTo>
                            <a:pt x="8153" y="7323"/>
                            <a:pt x="8212" y="7263"/>
                            <a:pt x="8332" y="7144"/>
                          </a:cubicBezTo>
                          <a:cubicBezTo>
                            <a:pt x="8451" y="7024"/>
                            <a:pt x="8511" y="6964"/>
                            <a:pt x="8631" y="6905"/>
                          </a:cubicBezTo>
                          <a:cubicBezTo>
                            <a:pt x="8750" y="6845"/>
                            <a:pt x="8810" y="6725"/>
                            <a:pt x="8930" y="6665"/>
                          </a:cubicBezTo>
                          <a:cubicBezTo>
                            <a:pt x="8990" y="6605"/>
                            <a:pt x="9110" y="6486"/>
                            <a:pt x="9169" y="6426"/>
                          </a:cubicBezTo>
                          <a:cubicBezTo>
                            <a:pt x="9289" y="6366"/>
                            <a:pt x="9349" y="6246"/>
                            <a:pt x="9468" y="6187"/>
                          </a:cubicBezTo>
                          <a:cubicBezTo>
                            <a:pt x="9588" y="6127"/>
                            <a:pt x="9648" y="6067"/>
                            <a:pt x="9767" y="5947"/>
                          </a:cubicBezTo>
                          <a:cubicBezTo>
                            <a:pt x="9887" y="5828"/>
                            <a:pt x="9947" y="5828"/>
                            <a:pt x="10066" y="5708"/>
                          </a:cubicBezTo>
                          <a:cubicBezTo>
                            <a:pt x="10784" y="5110"/>
                            <a:pt x="11562" y="4632"/>
                            <a:pt x="12339" y="4153"/>
                          </a:cubicBezTo>
                          <a:cubicBezTo>
                            <a:pt x="13117" y="3675"/>
                            <a:pt x="13894" y="3316"/>
                            <a:pt x="14731" y="2957"/>
                          </a:cubicBezTo>
                          <a:cubicBezTo>
                            <a:pt x="15569" y="2598"/>
                            <a:pt x="16346" y="2359"/>
                            <a:pt x="17183" y="2120"/>
                          </a:cubicBezTo>
                          <a:cubicBezTo>
                            <a:pt x="18021" y="1940"/>
                            <a:pt x="18858" y="1761"/>
                            <a:pt x="19695" y="1701"/>
                          </a:cubicBezTo>
                          <a:cubicBezTo>
                            <a:pt x="20174" y="1642"/>
                            <a:pt x="20712" y="1642"/>
                            <a:pt x="21190" y="1642"/>
                          </a:cubicBezTo>
                          <a:cubicBezTo>
                            <a:pt x="21669" y="1642"/>
                            <a:pt x="22148" y="1701"/>
                            <a:pt x="22626" y="1761"/>
                          </a:cubicBezTo>
                          <a:cubicBezTo>
                            <a:pt x="23104" y="1821"/>
                            <a:pt x="23583" y="1881"/>
                            <a:pt x="24002" y="2000"/>
                          </a:cubicBezTo>
                          <a:cubicBezTo>
                            <a:pt x="24480" y="2120"/>
                            <a:pt x="24898" y="2239"/>
                            <a:pt x="25317" y="2419"/>
                          </a:cubicBezTo>
                          <a:cubicBezTo>
                            <a:pt x="25437" y="2479"/>
                            <a:pt x="25616" y="2538"/>
                            <a:pt x="25736" y="2598"/>
                          </a:cubicBezTo>
                          <a:cubicBezTo>
                            <a:pt x="25856" y="2658"/>
                            <a:pt x="25975" y="2718"/>
                            <a:pt x="26155" y="2778"/>
                          </a:cubicBezTo>
                          <a:cubicBezTo>
                            <a:pt x="26274" y="2838"/>
                            <a:pt x="26394" y="2897"/>
                            <a:pt x="26573" y="2957"/>
                          </a:cubicBezTo>
                          <a:cubicBezTo>
                            <a:pt x="26752" y="3017"/>
                            <a:pt x="26812" y="3077"/>
                            <a:pt x="26932" y="3137"/>
                          </a:cubicBezTo>
                          <a:cubicBezTo>
                            <a:pt x="26992" y="3137"/>
                            <a:pt x="26992" y="3197"/>
                            <a:pt x="27052" y="3197"/>
                          </a:cubicBezTo>
                          <a:cubicBezTo>
                            <a:pt x="27111" y="3197"/>
                            <a:pt x="27111" y="3256"/>
                            <a:pt x="27171" y="3256"/>
                          </a:cubicBezTo>
                          <a:cubicBezTo>
                            <a:pt x="27231" y="3256"/>
                            <a:pt x="27231" y="3316"/>
                            <a:pt x="27291" y="3316"/>
                          </a:cubicBezTo>
                          <a:cubicBezTo>
                            <a:pt x="27351" y="3316"/>
                            <a:pt x="27351" y="3376"/>
                            <a:pt x="27411" y="3376"/>
                          </a:cubicBezTo>
                          <a:cubicBezTo>
                            <a:pt x="27470" y="3436"/>
                            <a:pt x="27530" y="3436"/>
                            <a:pt x="27590" y="3496"/>
                          </a:cubicBezTo>
                          <a:cubicBezTo>
                            <a:pt x="27650" y="3555"/>
                            <a:pt x="27710" y="3555"/>
                            <a:pt x="27769" y="3615"/>
                          </a:cubicBezTo>
                          <a:cubicBezTo>
                            <a:pt x="27829" y="3675"/>
                            <a:pt x="27889" y="3675"/>
                            <a:pt x="27949" y="3735"/>
                          </a:cubicBezTo>
                          <a:cubicBezTo>
                            <a:pt x="28009" y="3794"/>
                            <a:pt x="28068" y="3794"/>
                            <a:pt x="28128" y="3854"/>
                          </a:cubicBezTo>
                          <a:cubicBezTo>
                            <a:pt x="28188" y="3854"/>
                            <a:pt x="28188" y="3914"/>
                            <a:pt x="28248" y="3914"/>
                          </a:cubicBezTo>
                          <a:cubicBezTo>
                            <a:pt x="28308" y="3914"/>
                            <a:pt x="28308" y="3974"/>
                            <a:pt x="28367" y="3974"/>
                          </a:cubicBezTo>
                          <a:cubicBezTo>
                            <a:pt x="28427" y="3974"/>
                            <a:pt x="28427" y="4034"/>
                            <a:pt x="28487" y="4034"/>
                          </a:cubicBezTo>
                          <a:cubicBezTo>
                            <a:pt x="28547" y="4034"/>
                            <a:pt x="28547" y="4093"/>
                            <a:pt x="28606" y="4093"/>
                          </a:cubicBezTo>
                          <a:cubicBezTo>
                            <a:pt x="28965" y="4392"/>
                            <a:pt x="29384" y="4751"/>
                            <a:pt x="29683" y="5110"/>
                          </a:cubicBezTo>
                          <a:cubicBezTo>
                            <a:pt x="29982" y="5469"/>
                            <a:pt x="30341" y="5828"/>
                            <a:pt x="30640" y="6246"/>
                          </a:cubicBezTo>
                          <a:cubicBezTo>
                            <a:pt x="30939" y="6665"/>
                            <a:pt x="31178" y="7084"/>
                            <a:pt x="31418" y="7503"/>
                          </a:cubicBezTo>
                          <a:cubicBezTo>
                            <a:pt x="31657" y="7921"/>
                            <a:pt x="31896" y="8400"/>
                            <a:pt x="32075" y="8878"/>
                          </a:cubicBezTo>
                          <a:cubicBezTo>
                            <a:pt x="32075" y="8938"/>
                            <a:pt x="32135" y="8998"/>
                            <a:pt x="32135" y="9117"/>
                          </a:cubicBezTo>
                          <a:cubicBezTo>
                            <a:pt x="32135" y="9177"/>
                            <a:pt x="32195" y="9237"/>
                            <a:pt x="32195" y="9357"/>
                          </a:cubicBezTo>
                          <a:cubicBezTo>
                            <a:pt x="32195" y="9416"/>
                            <a:pt x="32255" y="9476"/>
                            <a:pt x="32255" y="9596"/>
                          </a:cubicBezTo>
                          <a:cubicBezTo>
                            <a:pt x="32255" y="9655"/>
                            <a:pt x="32314" y="9715"/>
                            <a:pt x="32314" y="9835"/>
                          </a:cubicBezTo>
                          <a:cubicBezTo>
                            <a:pt x="32434" y="10194"/>
                            <a:pt x="32554" y="10613"/>
                            <a:pt x="32614" y="10971"/>
                          </a:cubicBezTo>
                          <a:cubicBezTo>
                            <a:pt x="32673" y="11330"/>
                            <a:pt x="32793" y="11749"/>
                            <a:pt x="32853" y="12168"/>
                          </a:cubicBezTo>
                          <a:cubicBezTo>
                            <a:pt x="32913" y="12586"/>
                            <a:pt x="32973" y="13005"/>
                            <a:pt x="32973" y="13423"/>
                          </a:cubicBezTo>
                          <a:cubicBezTo>
                            <a:pt x="32973" y="13842"/>
                            <a:pt x="33033" y="14261"/>
                            <a:pt x="32973" y="14679"/>
                          </a:cubicBezTo>
                          <a:cubicBezTo>
                            <a:pt x="32973" y="14859"/>
                            <a:pt x="32973" y="14978"/>
                            <a:pt x="32973" y="15158"/>
                          </a:cubicBezTo>
                          <a:cubicBezTo>
                            <a:pt x="32973" y="15337"/>
                            <a:pt x="32973" y="15517"/>
                            <a:pt x="32973" y="15636"/>
                          </a:cubicBezTo>
                          <a:cubicBezTo>
                            <a:pt x="32973" y="15816"/>
                            <a:pt x="32973" y="15995"/>
                            <a:pt x="32913" y="16115"/>
                          </a:cubicBezTo>
                          <a:cubicBezTo>
                            <a:pt x="32853" y="16234"/>
                            <a:pt x="32853" y="16474"/>
                            <a:pt x="32853" y="16593"/>
                          </a:cubicBezTo>
                          <a:cubicBezTo>
                            <a:pt x="32853" y="16653"/>
                            <a:pt x="32853" y="16653"/>
                            <a:pt x="32853" y="16713"/>
                          </a:cubicBezTo>
                          <a:cubicBezTo>
                            <a:pt x="32853" y="16773"/>
                            <a:pt x="32853" y="16773"/>
                            <a:pt x="32853" y="16832"/>
                          </a:cubicBezTo>
                          <a:cubicBezTo>
                            <a:pt x="32853" y="16892"/>
                            <a:pt x="32853" y="16892"/>
                            <a:pt x="32853" y="16952"/>
                          </a:cubicBezTo>
                          <a:cubicBezTo>
                            <a:pt x="32853" y="17012"/>
                            <a:pt x="32853" y="17012"/>
                            <a:pt x="32853" y="17072"/>
                          </a:cubicBezTo>
                          <a:cubicBezTo>
                            <a:pt x="32494" y="19344"/>
                            <a:pt x="31776" y="21617"/>
                            <a:pt x="30700" y="23651"/>
                          </a:cubicBezTo>
                          <a:cubicBezTo>
                            <a:pt x="29623" y="25744"/>
                            <a:pt x="28248" y="27598"/>
                            <a:pt x="26633" y="29272"/>
                          </a:cubicBezTo>
                          <a:cubicBezTo>
                            <a:pt x="25018" y="30887"/>
                            <a:pt x="23164" y="32323"/>
                            <a:pt x="21190" y="33339"/>
                          </a:cubicBezTo>
                          <a:cubicBezTo>
                            <a:pt x="19217" y="34356"/>
                            <a:pt x="17124" y="35014"/>
                            <a:pt x="14971" y="35253"/>
                          </a:cubicBezTo>
                          <a:cubicBezTo>
                            <a:pt x="14133" y="35313"/>
                            <a:pt x="13356" y="35373"/>
                            <a:pt x="12578" y="35313"/>
                          </a:cubicBezTo>
                          <a:cubicBezTo>
                            <a:pt x="11801" y="35253"/>
                            <a:pt x="11023" y="35133"/>
                            <a:pt x="10305" y="34954"/>
                          </a:cubicBezTo>
                          <a:cubicBezTo>
                            <a:pt x="9588" y="34775"/>
                            <a:pt x="8870" y="34535"/>
                            <a:pt x="8212" y="34177"/>
                          </a:cubicBezTo>
                          <a:cubicBezTo>
                            <a:pt x="7315" y="33937"/>
                            <a:pt x="6657" y="33578"/>
                            <a:pt x="6059" y="33100"/>
                          </a:cubicBezTo>
                          <a:moveTo>
                            <a:pt x="5760" y="33040"/>
                          </a:moveTo>
                          <a:cubicBezTo>
                            <a:pt x="6358" y="33519"/>
                            <a:pt x="6956" y="33937"/>
                            <a:pt x="7674" y="34237"/>
                          </a:cubicBezTo>
                          <a:cubicBezTo>
                            <a:pt x="8332" y="34595"/>
                            <a:pt x="9050" y="34834"/>
                            <a:pt x="9827" y="35074"/>
                          </a:cubicBezTo>
                          <a:cubicBezTo>
                            <a:pt x="10605" y="35253"/>
                            <a:pt x="11382" y="35432"/>
                            <a:pt x="12219" y="35492"/>
                          </a:cubicBezTo>
                          <a:cubicBezTo>
                            <a:pt x="13057" y="35552"/>
                            <a:pt x="13894" y="35552"/>
                            <a:pt x="14791" y="35432"/>
                          </a:cubicBezTo>
                          <a:cubicBezTo>
                            <a:pt x="15868" y="35313"/>
                            <a:pt x="16884" y="35133"/>
                            <a:pt x="17901" y="34834"/>
                          </a:cubicBezTo>
                          <a:cubicBezTo>
                            <a:pt x="18918" y="34535"/>
                            <a:pt x="19935" y="34117"/>
                            <a:pt x="20951" y="33578"/>
                          </a:cubicBezTo>
                          <a:cubicBezTo>
                            <a:pt x="21968" y="33100"/>
                            <a:pt x="22925" y="32502"/>
                            <a:pt x="23882" y="31784"/>
                          </a:cubicBezTo>
                          <a:cubicBezTo>
                            <a:pt x="24839" y="31126"/>
                            <a:pt x="25736" y="30349"/>
                            <a:pt x="26573" y="29452"/>
                          </a:cubicBezTo>
                          <a:cubicBezTo>
                            <a:pt x="27411" y="28615"/>
                            <a:pt x="28188" y="27658"/>
                            <a:pt x="28906" y="26701"/>
                          </a:cubicBezTo>
                          <a:cubicBezTo>
                            <a:pt x="29623" y="25744"/>
                            <a:pt x="30221" y="24727"/>
                            <a:pt x="30760" y="23651"/>
                          </a:cubicBezTo>
                          <a:cubicBezTo>
                            <a:pt x="31298" y="22634"/>
                            <a:pt x="31717" y="21498"/>
                            <a:pt x="32075" y="20421"/>
                          </a:cubicBezTo>
                          <a:cubicBezTo>
                            <a:pt x="32434" y="19344"/>
                            <a:pt x="32673" y="18208"/>
                            <a:pt x="32853" y="17072"/>
                          </a:cubicBezTo>
                          <a:cubicBezTo>
                            <a:pt x="33033" y="15936"/>
                            <a:pt x="33092" y="14859"/>
                            <a:pt x="33033" y="13782"/>
                          </a:cubicBezTo>
                          <a:cubicBezTo>
                            <a:pt x="32973" y="12706"/>
                            <a:pt x="32853" y="11689"/>
                            <a:pt x="32614" y="10732"/>
                          </a:cubicBezTo>
                          <a:cubicBezTo>
                            <a:pt x="32374" y="9775"/>
                            <a:pt x="32016" y="8818"/>
                            <a:pt x="31597" y="7981"/>
                          </a:cubicBezTo>
                          <a:cubicBezTo>
                            <a:pt x="31178" y="7084"/>
                            <a:pt x="30640" y="6306"/>
                            <a:pt x="29982" y="5589"/>
                          </a:cubicBezTo>
                          <a:cubicBezTo>
                            <a:pt x="29863" y="5469"/>
                            <a:pt x="29743" y="5350"/>
                            <a:pt x="29623" y="5170"/>
                          </a:cubicBezTo>
                          <a:cubicBezTo>
                            <a:pt x="29504" y="5051"/>
                            <a:pt x="29384" y="4931"/>
                            <a:pt x="29265" y="4811"/>
                          </a:cubicBezTo>
                          <a:cubicBezTo>
                            <a:pt x="29145" y="4692"/>
                            <a:pt x="29025" y="4572"/>
                            <a:pt x="28906" y="4452"/>
                          </a:cubicBezTo>
                          <a:cubicBezTo>
                            <a:pt x="28786" y="4333"/>
                            <a:pt x="28666" y="4213"/>
                            <a:pt x="28487" y="4093"/>
                          </a:cubicBezTo>
                          <a:cubicBezTo>
                            <a:pt x="27889" y="3615"/>
                            <a:pt x="27231" y="3197"/>
                            <a:pt x="26573" y="2838"/>
                          </a:cubicBezTo>
                          <a:cubicBezTo>
                            <a:pt x="25915" y="2479"/>
                            <a:pt x="25197" y="2180"/>
                            <a:pt x="24420" y="2000"/>
                          </a:cubicBezTo>
                          <a:cubicBezTo>
                            <a:pt x="23643" y="1761"/>
                            <a:pt x="22865" y="1642"/>
                            <a:pt x="22088" y="1582"/>
                          </a:cubicBezTo>
                          <a:cubicBezTo>
                            <a:pt x="21250" y="1522"/>
                            <a:pt x="20413" y="1522"/>
                            <a:pt x="19576" y="1582"/>
                          </a:cubicBezTo>
                          <a:cubicBezTo>
                            <a:pt x="18499" y="1642"/>
                            <a:pt x="17423" y="1881"/>
                            <a:pt x="16406" y="2180"/>
                          </a:cubicBezTo>
                          <a:cubicBezTo>
                            <a:pt x="15329" y="2479"/>
                            <a:pt x="14313" y="2897"/>
                            <a:pt x="13296" y="3376"/>
                          </a:cubicBezTo>
                          <a:cubicBezTo>
                            <a:pt x="12279" y="3854"/>
                            <a:pt x="11322" y="4512"/>
                            <a:pt x="10365" y="5170"/>
                          </a:cubicBezTo>
                          <a:cubicBezTo>
                            <a:pt x="9409" y="5888"/>
                            <a:pt x="8511" y="6665"/>
                            <a:pt x="7614" y="7562"/>
                          </a:cubicBezTo>
                          <a:cubicBezTo>
                            <a:pt x="6777" y="8460"/>
                            <a:pt x="5940" y="9357"/>
                            <a:pt x="5282" y="10314"/>
                          </a:cubicBezTo>
                          <a:cubicBezTo>
                            <a:pt x="4624" y="11270"/>
                            <a:pt x="3966" y="12287"/>
                            <a:pt x="3428" y="13363"/>
                          </a:cubicBezTo>
                          <a:cubicBezTo>
                            <a:pt x="2889" y="14440"/>
                            <a:pt x="2411" y="15517"/>
                            <a:pt x="2052" y="16653"/>
                          </a:cubicBezTo>
                          <a:cubicBezTo>
                            <a:pt x="1693" y="17790"/>
                            <a:pt x="1454" y="18866"/>
                            <a:pt x="1275" y="20002"/>
                          </a:cubicBezTo>
                          <a:cubicBezTo>
                            <a:pt x="1095" y="21378"/>
                            <a:pt x="1035" y="22693"/>
                            <a:pt x="1155" y="24009"/>
                          </a:cubicBezTo>
                          <a:cubicBezTo>
                            <a:pt x="1275" y="25265"/>
                            <a:pt x="1514" y="26461"/>
                            <a:pt x="1933" y="27598"/>
                          </a:cubicBezTo>
                          <a:cubicBezTo>
                            <a:pt x="2351" y="28674"/>
                            <a:pt x="2830" y="29691"/>
                            <a:pt x="3488" y="30648"/>
                          </a:cubicBezTo>
                          <a:cubicBezTo>
                            <a:pt x="4146" y="31545"/>
                            <a:pt x="4923" y="32323"/>
                            <a:pt x="5760" y="33040"/>
                          </a:cubicBezTo>
                          <a:moveTo>
                            <a:pt x="29205" y="3256"/>
                          </a:moveTo>
                          <a:cubicBezTo>
                            <a:pt x="29324" y="3376"/>
                            <a:pt x="29504" y="3496"/>
                            <a:pt x="29623" y="3615"/>
                          </a:cubicBezTo>
                          <a:cubicBezTo>
                            <a:pt x="29743" y="3735"/>
                            <a:pt x="29863" y="3854"/>
                            <a:pt x="30042" y="3974"/>
                          </a:cubicBezTo>
                          <a:cubicBezTo>
                            <a:pt x="30162" y="4093"/>
                            <a:pt x="30281" y="4213"/>
                            <a:pt x="30401" y="4392"/>
                          </a:cubicBezTo>
                          <a:cubicBezTo>
                            <a:pt x="30520" y="4512"/>
                            <a:pt x="30640" y="4692"/>
                            <a:pt x="30760" y="4811"/>
                          </a:cubicBezTo>
                          <a:cubicBezTo>
                            <a:pt x="31418" y="5589"/>
                            <a:pt x="31956" y="6426"/>
                            <a:pt x="32434" y="7383"/>
                          </a:cubicBezTo>
                          <a:cubicBezTo>
                            <a:pt x="32913" y="8280"/>
                            <a:pt x="33272" y="9297"/>
                            <a:pt x="33511" y="10314"/>
                          </a:cubicBezTo>
                          <a:cubicBezTo>
                            <a:pt x="33750" y="11330"/>
                            <a:pt x="33929" y="12407"/>
                            <a:pt x="33929" y="13543"/>
                          </a:cubicBezTo>
                          <a:cubicBezTo>
                            <a:pt x="33989" y="14679"/>
                            <a:pt x="33929" y="15816"/>
                            <a:pt x="33750" y="17012"/>
                          </a:cubicBezTo>
                          <a:cubicBezTo>
                            <a:pt x="33571" y="18208"/>
                            <a:pt x="33272" y="19404"/>
                            <a:pt x="32913" y="20540"/>
                          </a:cubicBezTo>
                          <a:cubicBezTo>
                            <a:pt x="32554" y="21677"/>
                            <a:pt x="32075" y="22813"/>
                            <a:pt x="31477" y="23949"/>
                          </a:cubicBezTo>
                          <a:cubicBezTo>
                            <a:pt x="30939" y="25026"/>
                            <a:pt x="30281" y="26102"/>
                            <a:pt x="29504" y="27119"/>
                          </a:cubicBezTo>
                          <a:cubicBezTo>
                            <a:pt x="28786" y="28136"/>
                            <a:pt x="27949" y="29093"/>
                            <a:pt x="27052" y="30050"/>
                          </a:cubicBezTo>
                          <a:cubicBezTo>
                            <a:pt x="26155" y="30947"/>
                            <a:pt x="25197" y="31784"/>
                            <a:pt x="24181" y="32502"/>
                          </a:cubicBezTo>
                          <a:cubicBezTo>
                            <a:pt x="23164" y="33220"/>
                            <a:pt x="22148" y="33878"/>
                            <a:pt x="21071" y="34416"/>
                          </a:cubicBezTo>
                          <a:cubicBezTo>
                            <a:pt x="19994" y="34954"/>
                            <a:pt x="18918" y="35373"/>
                            <a:pt x="17841" y="35732"/>
                          </a:cubicBezTo>
                          <a:cubicBezTo>
                            <a:pt x="16765" y="36091"/>
                            <a:pt x="15628" y="36270"/>
                            <a:pt x="14492" y="36389"/>
                          </a:cubicBezTo>
                          <a:cubicBezTo>
                            <a:pt x="13535" y="36509"/>
                            <a:pt x="12638" y="36509"/>
                            <a:pt x="11801" y="36389"/>
                          </a:cubicBezTo>
                          <a:cubicBezTo>
                            <a:pt x="10904" y="36330"/>
                            <a:pt x="10126" y="36150"/>
                            <a:pt x="9289" y="35971"/>
                          </a:cubicBezTo>
                          <a:cubicBezTo>
                            <a:pt x="8511" y="35732"/>
                            <a:pt x="7734" y="35432"/>
                            <a:pt x="7016" y="35074"/>
                          </a:cubicBezTo>
                          <a:cubicBezTo>
                            <a:pt x="6298" y="34715"/>
                            <a:pt x="5641" y="34296"/>
                            <a:pt x="4983" y="33818"/>
                          </a:cubicBezTo>
                          <a:cubicBezTo>
                            <a:pt x="4086" y="33100"/>
                            <a:pt x="3248" y="32263"/>
                            <a:pt x="2590" y="31306"/>
                          </a:cubicBezTo>
                          <a:cubicBezTo>
                            <a:pt x="1933" y="30349"/>
                            <a:pt x="1334" y="29272"/>
                            <a:pt x="916" y="28076"/>
                          </a:cubicBezTo>
                          <a:cubicBezTo>
                            <a:pt x="497" y="26880"/>
                            <a:pt x="198" y="25624"/>
                            <a:pt x="79" y="24308"/>
                          </a:cubicBezTo>
                          <a:cubicBezTo>
                            <a:pt x="-41" y="22993"/>
                            <a:pt x="-41" y="21557"/>
                            <a:pt x="198" y="20062"/>
                          </a:cubicBezTo>
                          <a:cubicBezTo>
                            <a:pt x="378" y="18866"/>
                            <a:pt x="617" y="17670"/>
                            <a:pt x="1035" y="16474"/>
                          </a:cubicBezTo>
                          <a:cubicBezTo>
                            <a:pt x="1394" y="15277"/>
                            <a:pt x="1873" y="14141"/>
                            <a:pt x="2471" y="13005"/>
                          </a:cubicBezTo>
                          <a:cubicBezTo>
                            <a:pt x="3069" y="11868"/>
                            <a:pt x="3727" y="10792"/>
                            <a:pt x="4444" y="9775"/>
                          </a:cubicBezTo>
                          <a:cubicBezTo>
                            <a:pt x="5222" y="8759"/>
                            <a:pt x="6059" y="7742"/>
                            <a:pt x="6956" y="6845"/>
                          </a:cubicBezTo>
                          <a:cubicBezTo>
                            <a:pt x="7854" y="5888"/>
                            <a:pt x="8870" y="5110"/>
                            <a:pt x="9827" y="4333"/>
                          </a:cubicBezTo>
                          <a:cubicBezTo>
                            <a:pt x="10844" y="3615"/>
                            <a:pt x="11861" y="2957"/>
                            <a:pt x="12937" y="2419"/>
                          </a:cubicBezTo>
                          <a:cubicBezTo>
                            <a:pt x="14013" y="1881"/>
                            <a:pt x="15090" y="1462"/>
                            <a:pt x="16226" y="1103"/>
                          </a:cubicBezTo>
                          <a:cubicBezTo>
                            <a:pt x="17363" y="804"/>
                            <a:pt x="18440" y="565"/>
                            <a:pt x="19576" y="445"/>
                          </a:cubicBezTo>
                          <a:cubicBezTo>
                            <a:pt x="20473" y="385"/>
                            <a:pt x="21370" y="385"/>
                            <a:pt x="22267" y="445"/>
                          </a:cubicBezTo>
                          <a:cubicBezTo>
                            <a:pt x="23104" y="505"/>
                            <a:pt x="23942" y="684"/>
                            <a:pt x="24779" y="924"/>
                          </a:cubicBezTo>
                          <a:cubicBezTo>
                            <a:pt x="25557" y="1163"/>
                            <a:pt x="26334" y="1462"/>
                            <a:pt x="27052" y="1821"/>
                          </a:cubicBezTo>
                          <a:cubicBezTo>
                            <a:pt x="27889" y="2299"/>
                            <a:pt x="28606" y="2778"/>
                            <a:pt x="29205" y="3256"/>
                          </a:cubicBezTo>
                          <a:moveTo>
                            <a:pt x="4983" y="33997"/>
                          </a:moveTo>
                          <a:cubicBezTo>
                            <a:pt x="5042" y="33997"/>
                            <a:pt x="5042" y="33997"/>
                            <a:pt x="4983" y="33997"/>
                          </a:cubicBezTo>
                          <a:cubicBezTo>
                            <a:pt x="5042" y="33997"/>
                            <a:pt x="5042" y="33997"/>
                            <a:pt x="4983" y="33997"/>
                          </a:cubicBezTo>
                          <a:cubicBezTo>
                            <a:pt x="5042" y="33997"/>
                            <a:pt x="5042" y="33997"/>
                            <a:pt x="4983" y="33997"/>
                          </a:cubicBezTo>
                          <a:cubicBezTo>
                            <a:pt x="5042" y="33997"/>
                            <a:pt x="5042" y="33997"/>
                            <a:pt x="4983" y="33997"/>
                          </a:cubicBezTo>
                          <a:cubicBezTo>
                            <a:pt x="5102" y="34057"/>
                            <a:pt x="5162" y="34117"/>
                            <a:pt x="5222" y="34177"/>
                          </a:cubicBezTo>
                          <a:cubicBezTo>
                            <a:pt x="5282" y="34237"/>
                            <a:pt x="5342" y="34296"/>
                            <a:pt x="5401" y="34296"/>
                          </a:cubicBezTo>
                          <a:cubicBezTo>
                            <a:pt x="5461" y="34296"/>
                            <a:pt x="5521" y="34416"/>
                            <a:pt x="5581" y="34416"/>
                          </a:cubicBezTo>
                          <a:cubicBezTo>
                            <a:pt x="5641" y="34476"/>
                            <a:pt x="5701" y="34535"/>
                            <a:pt x="5820" y="34535"/>
                          </a:cubicBezTo>
                          <a:cubicBezTo>
                            <a:pt x="6418" y="34954"/>
                            <a:pt x="7076" y="35313"/>
                            <a:pt x="7734" y="35552"/>
                          </a:cubicBezTo>
                          <a:cubicBezTo>
                            <a:pt x="8392" y="35851"/>
                            <a:pt x="9110" y="36091"/>
                            <a:pt x="9827" y="36210"/>
                          </a:cubicBezTo>
                          <a:cubicBezTo>
                            <a:pt x="10545" y="36389"/>
                            <a:pt x="11322" y="36509"/>
                            <a:pt x="12100" y="36509"/>
                          </a:cubicBezTo>
                          <a:cubicBezTo>
                            <a:pt x="12877" y="36569"/>
                            <a:pt x="13655" y="36509"/>
                            <a:pt x="14492" y="36449"/>
                          </a:cubicBezTo>
                          <a:cubicBezTo>
                            <a:pt x="16705" y="36210"/>
                            <a:pt x="18858" y="35552"/>
                            <a:pt x="20891" y="34535"/>
                          </a:cubicBezTo>
                          <a:cubicBezTo>
                            <a:pt x="22925" y="33519"/>
                            <a:pt x="24839" y="32143"/>
                            <a:pt x="26573" y="30528"/>
                          </a:cubicBezTo>
                          <a:cubicBezTo>
                            <a:pt x="28248" y="28914"/>
                            <a:pt x="29743" y="27000"/>
                            <a:pt x="30939" y="24907"/>
                          </a:cubicBezTo>
                          <a:cubicBezTo>
                            <a:pt x="32135" y="22813"/>
                            <a:pt x="33033" y="20600"/>
                            <a:pt x="33511" y="18268"/>
                          </a:cubicBezTo>
                          <a:cubicBezTo>
                            <a:pt x="33511" y="18148"/>
                            <a:pt x="33571" y="18029"/>
                            <a:pt x="33571" y="17909"/>
                          </a:cubicBezTo>
                          <a:cubicBezTo>
                            <a:pt x="33571" y="17790"/>
                            <a:pt x="33630" y="17670"/>
                            <a:pt x="33630" y="17550"/>
                          </a:cubicBezTo>
                          <a:cubicBezTo>
                            <a:pt x="33630" y="17431"/>
                            <a:pt x="33690" y="17311"/>
                            <a:pt x="33690" y="17191"/>
                          </a:cubicBezTo>
                          <a:cubicBezTo>
                            <a:pt x="33690" y="17072"/>
                            <a:pt x="33750" y="16952"/>
                            <a:pt x="33750" y="16832"/>
                          </a:cubicBezTo>
                          <a:cubicBezTo>
                            <a:pt x="33750" y="16832"/>
                            <a:pt x="33750" y="16773"/>
                            <a:pt x="33750" y="16773"/>
                          </a:cubicBezTo>
                          <a:cubicBezTo>
                            <a:pt x="33750" y="16773"/>
                            <a:pt x="33750" y="16713"/>
                            <a:pt x="33750" y="16713"/>
                          </a:cubicBezTo>
                          <a:cubicBezTo>
                            <a:pt x="33750" y="16713"/>
                            <a:pt x="33750" y="16653"/>
                            <a:pt x="33750" y="16653"/>
                          </a:cubicBezTo>
                          <a:cubicBezTo>
                            <a:pt x="33750" y="16653"/>
                            <a:pt x="33750" y="16593"/>
                            <a:pt x="33750" y="16593"/>
                          </a:cubicBezTo>
                          <a:cubicBezTo>
                            <a:pt x="33810" y="15876"/>
                            <a:pt x="33870" y="15218"/>
                            <a:pt x="33929" y="14560"/>
                          </a:cubicBezTo>
                          <a:cubicBezTo>
                            <a:pt x="33929" y="13902"/>
                            <a:pt x="33929" y="13244"/>
                            <a:pt x="33870" y="12586"/>
                          </a:cubicBezTo>
                          <a:cubicBezTo>
                            <a:pt x="33810" y="11928"/>
                            <a:pt x="33750" y="11330"/>
                            <a:pt x="33630" y="10732"/>
                          </a:cubicBezTo>
                          <a:cubicBezTo>
                            <a:pt x="33511" y="10134"/>
                            <a:pt x="33331" y="9536"/>
                            <a:pt x="33152" y="8938"/>
                          </a:cubicBezTo>
                          <a:cubicBezTo>
                            <a:pt x="33152" y="8878"/>
                            <a:pt x="33092" y="8818"/>
                            <a:pt x="33092" y="8699"/>
                          </a:cubicBezTo>
                          <a:cubicBezTo>
                            <a:pt x="33092" y="8639"/>
                            <a:pt x="33033" y="8579"/>
                            <a:pt x="33033" y="8460"/>
                          </a:cubicBezTo>
                          <a:cubicBezTo>
                            <a:pt x="33033" y="8340"/>
                            <a:pt x="32973" y="8340"/>
                            <a:pt x="32973" y="8220"/>
                          </a:cubicBezTo>
                          <a:cubicBezTo>
                            <a:pt x="32973" y="8160"/>
                            <a:pt x="32913" y="8100"/>
                            <a:pt x="32913" y="7981"/>
                          </a:cubicBezTo>
                          <a:cubicBezTo>
                            <a:pt x="32733" y="7503"/>
                            <a:pt x="32494" y="7024"/>
                            <a:pt x="32255" y="6546"/>
                          </a:cubicBezTo>
                          <a:cubicBezTo>
                            <a:pt x="32016" y="6067"/>
                            <a:pt x="31717" y="5648"/>
                            <a:pt x="31418" y="5230"/>
                          </a:cubicBezTo>
                          <a:cubicBezTo>
                            <a:pt x="31119" y="4811"/>
                            <a:pt x="30760" y="4392"/>
                            <a:pt x="30401" y="4034"/>
                          </a:cubicBezTo>
                          <a:cubicBezTo>
                            <a:pt x="30042" y="3675"/>
                            <a:pt x="29683" y="3316"/>
                            <a:pt x="29265" y="2957"/>
                          </a:cubicBezTo>
                          <a:cubicBezTo>
                            <a:pt x="29265" y="2957"/>
                            <a:pt x="29265" y="2957"/>
                            <a:pt x="29205" y="2897"/>
                          </a:cubicBezTo>
                          <a:cubicBezTo>
                            <a:pt x="29205" y="2897"/>
                            <a:pt x="29205" y="2897"/>
                            <a:pt x="29145" y="2838"/>
                          </a:cubicBezTo>
                          <a:cubicBezTo>
                            <a:pt x="29085" y="2778"/>
                            <a:pt x="29145" y="2838"/>
                            <a:pt x="29085" y="2778"/>
                          </a:cubicBezTo>
                          <a:cubicBezTo>
                            <a:pt x="29025" y="2718"/>
                            <a:pt x="29085" y="2778"/>
                            <a:pt x="29025" y="2718"/>
                          </a:cubicBezTo>
                          <a:cubicBezTo>
                            <a:pt x="28965" y="2658"/>
                            <a:pt x="28906" y="2598"/>
                            <a:pt x="28846" y="2598"/>
                          </a:cubicBezTo>
                          <a:cubicBezTo>
                            <a:pt x="28786" y="2538"/>
                            <a:pt x="28726" y="2479"/>
                            <a:pt x="28666" y="2479"/>
                          </a:cubicBezTo>
                          <a:cubicBezTo>
                            <a:pt x="28606" y="2419"/>
                            <a:pt x="28547" y="2359"/>
                            <a:pt x="28487" y="2359"/>
                          </a:cubicBezTo>
                          <a:cubicBezTo>
                            <a:pt x="28427" y="2299"/>
                            <a:pt x="28367" y="2299"/>
                            <a:pt x="28308" y="2239"/>
                          </a:cubicBezTo>
                          <a:cubicBezTo>
                            <a:pt x="28128" y="2120"/>
                            <a:pt x="27889" y="2000"/>
                            <a:pt x="27710" y="1821"/>
                          </a:cubicBezTo>
                          <a:cubicBezTo>
                            <a:pt x="27530" y="1642"/>
                            <a:pt x="27291" y="1582"/>
                            <a:pt x="27052" y="1462"/>
                          </a:cubicBezTo>
                          <a:cubicBezTo>
                            <a:pt x="26812" y="1343"/>
                            <a:pt x="26633" y="1223"/>
                            <a:pt x="26394" y="1163"/>
                          </a:cubicBezTo>
                          <a:cubicBezTo>
                            <a:pt x="26155" y="1043"/>
                            <a:pt x="25915" y="984"/>
                            <a:pt x="25736" y="864"/>
                          </a:cubicBezTo>
                          <a:cubicBezTo>
                            <a:pt x="25616" y="804"/>
                            <a:pt x="25497" y="804"/>
                            <a:pt x="25377" y="744"/>
                          </a:cubicBezTo>
                          <a:cubicBezTo>
                            <a:pt x="25257" y="684"/>
                            <a:pt x="25138" y="684"/>
                            <a:pt x="25018" y="625"/>
                          </a:cubicBezTo>
                          <a:cubicBezTo>
                            <a:pt x="24898" y="565"/>
                            <a:pt x="24779" y="565"/>
                            <a:pt x="24659" y="505"/>
                          </a:cubicBezTo>
                          <a:cubicBezTo>
                            <a:pt x="24540" y="445"/>
                            <a:pt x="24420" y="445"/>
                            <a:pt x="24301" y="385"/>
                          </a:cubicBezTo>
                          <a:cubicBezTo>
                            <a:pt x="23942" y="326"/>
                            <a:pt x="23583" y="206"/>
                            <a:pt x="23224" y="146"/>
                          </a:cubicBezTo>
                          <a:cubicBezTo>
                            <a:pt x="22865" y="86"/>
                            <a:pt x="22447" y="27"/>
                            <a:pt x="22088" y="27"/>
                          </a:cubicBezTo>
                          <a:cubicBezTo>
                            <a:pt x="21729" y="27"/>
                            <a:pt x="21310" y="-33"/>
                            <a:pt x="20891" y="27"/>
                          </a:cubicBezTo>
                          <a:cubicBezTo>
                            <a:pt x="20473" y="27"/>
                            <a:pt x="20114" y="27"/>
                            <a:pt x="19695" y="86"/>
                          </a:cubicBezTo>
                          <a:cubicBezTo>
                            <a:pt x="18858" y="146"/>
                            <a:pt x="18021" y="266"/>
                            <a:pt x="17243" y="445"/>
                          </a:cubicBezTo>
                          <a:cubicBezTo>
                            <a:pt x="16406" y="625"/>
                            <a:pt x="15628" y="864"/>
                            <a:pt x="14791" y="1223"/>
                          </a:cubicBezTo>
                          <a:cubicBezTo>
                            <a:pt x="14013" y="1522"/>
                            <a:pt x="13176" y="1881"/>
                            <a:pt x="12399" y="2299"/>
                          </a:cubicBezTo>
                          <a:cubicBezTo>
                            <a:pt x="11621" y="2718"/>
                            <a:pt x="10844" y="3197"/>
                            <a:pt x="10126" y="3735"/>
                          </a:cubicBezTo>
                          <a:cubicBezTo>
                            <a:pt x="10007" y="3794"/>
                            <a:pt x="9947" y="3854"/>
                            <a:pt x="9827" y="3914"/>
                          </a:cubicBezTo>
                          <a:cubicBezTo>
                            <a:pt x="9708" y="3974"/>
                            <a:pt x="9648" y="4034"/>
                            <a:pt x="9528" y="4093"/>
                          </a:cubicBezTo>
                          <a:cubicBezTo>
                            <a:pt x="9468" y="4153"/>
                            <a:pt x="9349" y="4213"/>
                            <a:pt x="9289" y="4273"/>
                          </a:cubicBezTo>
                          <a:cubicBezTo>
                            <a:pt x="9229" y="4333"/>
                            <a:pt x="9110" y="4392"/>
                            <a:pt x="9050" y="4512"/>
                          </a:cubicBezTo>
                          <a:cubicBezTo>
                            <a:pt x="8870" y="4632"/>
                            <a:pt x="8691" y="4811"/>
                            <a:pt x="8511" y="4931"/>
                          </a:cubicBezTo>
                          <a:cubicBezTo>
                            <a:pt x="8332" y="5051"/>
                            <a:pt x="8153" y="5230"/>
                            <a:pt x="7973" y="5409"/>
                          </a:cubicBezTo>
                          <a:cubicBezTo>
                            <a:pt x="7794" y="5589"/>
                            <a:pt x="7614" y="5708"/>
                            <a:pt x="7435" y="5888"/>
                          </a:cubicBezTo>
                          <a:cubicBezTo>
                            <a:pt x="7255" y="6067"/>
                            <a:pt x="7076" y="6187"/>
                            <a:pt x="6956" y="6366"/>
                          </a:cubicBezTo>
                          <a:cubicBezTo>
                            <a:pt x="6597" y="6785"/>
                            <a:pt x="6179" y="7144"/>
                            <a:pt x="5820" y="7562"/>
                          </a:cubicBezTo>
                          <a:cubicBezTo>
                            <a:pt x="5461" y="7981"/>
                            <a:pt x="5102" y="8400"/>
                            <a:pt x="4803" y="8818"/>
                          </a:cubicBezTo>
                          <a:cubicBezTo>
                            <a:pt x="4504" y="9237"/>
                            <a:pt x="4146" y="9715"/>
                            <a:pt x="3847" y="10134"/>
                          </a:cubicBezTo>
                          <a:cubicBezTo>
                            <a:pt x="3547" y="10553"/>
                            <a:pt x="3248" y="11031"/>
                            <a:pt x="3009" y="11509"/>
                          </a:cubicBezTo>
                          <a:cubicBezTo>
                            <a:pt x="2949" y="11569"/>
                            <a:pt x="2889" y="11689"/>
                            <a:pt x="2889" y="11749"/>
                          </a:cubicBezTo>
                          <a:cubicBezTo>
                            <a:pt x="2889" y="11809"/>
                            <a:pt x="2770" y="11928"/>
                            <a:pt x="2770" y="11988"/>
                          </a:cubicBezTo>
                          <a:cubicBezTo>
                            <a:pt x="2770" y="12048"/>
                            <a:pt x="2650" y="12168"/>
                            <a:pt x="2650" y="12227"/>
                          </a:cubicBezTo>
                          <a:cubicBezTo>
                            <a:pt x="2590" y="12287"/>
                            <a:pt x="2531" y="12407"/>
                            <a:pt x="2531" y="12467"/>
                          </a:cubicBezTo>
                          <a:cubicBezTo>
                            <a:pt x="2232" y="13065"/>
                            <a:pt x="1993" y="13603"/>
                            <a:pt x="1753" y="14201"/>
                          </a:cubicBezTo>
                          <a:cubicBezTo>
                            <a:pt x="1514" y="14799"/>
                            <a:pt x="1275" y="15397"/>
                            <a:pt x="1095" y="15995"/>
                          </a:cubicBezTo>
                          <a:cubicBezTo>
                            <a:pt x="916" y="16593"/>
                            <a:pt x="736" y="17191"/>
                            <a:pt x="617" y="17790"/>
                          </a:cubicBezTo>
                          <a:cubicBezTo>
                            <a:pt x="497" y="18387"/>
                            <a:pt x="378" y="18985"/>
                            <a:pt x="258" y="19644"/>
                          </a:cubicBezTo>
                          <a:cubicBezTo>
                            <a:pt x="198" y="19943"/>
                            <a:pt x="198" y="20241"/>
                            <a:pt x="139" y="20481"/>
                          </a:cubicBezTo>
                          <a:cubicBezTo>
                            <a:pt x="139" y="20780"/>
                            <a:pt x="79" y="21019"/>
                            <a:pt x="79" y="21318"/>
                          </a:cubicBezTo>
                          <a:cubicBezTo>
                            <a:pt x="79" y="21617"/>
                            <a:pt x="79" y="21856"/>
                            <a:pt x="79" y="22155"/>
                          </a:cubicBezTo>
                          <a:cubicBezTo>
                            <a:pt x="79" y="22454"/>
                            <a:pt x="79" y="22693"/>
                            <a:pt x="79" y="22993"/>
                          </a:cubicBezTo>
                          <a:cubicBezTo>
                            <a:pt x="79" y="23052"/>
                            <a:pt x="79" y="23172"/>
                            <a:pt x="79" y="23232"/>
                          </a:cubicBezTo>
                          <a:cubicBezTo>
                            <a:pt x="79" y="23292"/>
                            <a:pt x="79" y="23411"/>
                            <a:pt x="79" y="23471"/>
                          </a:cubicBezTo>
                          <a:cubicBezTo>
                            <a:pt x="79" y="23531"/>
                            <a:pt x="79" y="23651"/>
                            <a:pt x="79" y="23710"/>
                          </a:cubicBezTo>
                          <a:cubicBezTo>
                            <a:pt x="79" y="23770"/>
                            <a:pt x="79" y="23890"/>
                            <a:pt x="79" y="23949"/>
                          </a:cubicBezTo>
                          <a:cubicBezTo>
                            <a:pt x="198" y="24907"/>
                            <a:pt x="318" y="25863"/>
                            <a:pt x="617" y="26761"/>
                          </a:cubicBezTo>
                          <a:cubicBezTo>
                            <a:pt x="856" y="27658"/>
                            <a:pt x="1215" y="28495"/>
                            <a:pt x="1634" y="29332"/>
                          </a:cubicBezTo>
                          <a:cubicBezTo>
                            <a:pt x="2052" y="30110"/>
                            <a:pt x="2531" y="30887"/>
                            <a:pt x="3069" y="31545"/>
                          </a:cubicBezTo>
                          <a:cubicBezTo>
                            <a:pt x="3667" y="32801"/>
                            <a:pt x="4325" y="33459"/>
                            <a:pt x="4983" y="33997"/>
                          </a:cubicBezTo>
                        </a:path>
                      </a:pathLst>
                    </a:custGeom>
                    <a:noFill/>
                    <a:ln w="6350" cap="flat">
                      <a:solidFill>
                        <a:schemeClr val="bg1">
                          <a:alpha val="80000"/>
                        </a:schemeClr>
                      </a:solidFill>
                      <a:prstDash val="solid"/>
                      <a:miter/>
                    </a:ln>
                  </p:spPr>
                  <p:txBody>
                    <a:bodyPr rtlCol="0" anchor="ctr"/>
                    <a:lstStyle/>
                    <a:p>
                      <a:endParaRPr lang="en-GB"/>
                    </a:p>
                  </p:txBody>
                </p:sp>
                <p:sp>
                  <p:nvSpPr>
                    <p:cNvPr id="7519" name="Vrije vorm: vorm 7518">
                      <a:extLst>
                        <a:ext uri="{FF2B5EF4-FFF2-40B4-BE49-F238E27FC236}">
                          <a16:creationId xmlns:a16="http://schemas.microsoft.com/office/drawing/2014/main" id="{24E7F173-2163-46BF-8B40-36EB2B50BACC}"/>
                        </a:ext>
                      </a:extLst>
                    </p:cNvPr>
                    <p:cNvSpPr/>
                    <p:nvPr/>
                  </p:nvSpPr>
                  <p:spPr>
                    <a:xfrm>
                      <a:off x="5201750" y="5199395"/>
                      <a:ext cx="33816" cy="35914"/>
                    </a:xfrm>
                    <a:custGeom>
                      <a:avLst/>
                      <a:gdLst>
                        <a:gd name="connsiteX0" fmla="*/ 28291 w 33816"/>
                        <a:gd name="connsiteY0" fmla="*/ 3573 h 35914"/>
                        <a:gd name="connsiteX1" fmla="*/ 28710 w 33816"/>
                        <a:gd name="connsiteY1" fmla="*/ 3932 h 35914"/>
                        <a:gd name="connsiteX2" fmla="*/ 29069 w 33816"/>
                        <a:gd name="connsiteY2" fmla="*/ 4291 h 35914"/>
                        <a:gd name="connsiteX3" fmla="*/ 29427 w 33816"/>
                        <a:gd name="connsiteY3" fmla="*/ 4650 h 35914"/>
                        <a:gd name="connsiteX4" fmla="*/ 29787 w 33816"/>
                        <a:gd name="connsiteY4" fmla="*/ 5069 h 35914"/>
                        <a:gd name="connsiteX5" fmla="*/ 31401 w 33816"/>
                        <a:gd name="connsiteY5" fmla="*/ 7461 h 35914"/>
                        <a:gd name="connsiteX6" fmla="*/ 32418 w 33816"/>
                        <a:gd name="connsiteY6" fmla="*/ 10212 h 35914"/>
                        <a:gd name="connsiteX7" fmla="*/ 32837 w 33816"/>
                        <a:gd name="connsiteY7" fmla="*/ 13262 h 35914"/>
                        <a:gd name="connsiteX8" fmla="*/ 32657 w 33816"/>
                        <a:gd name="connsiteY8" fmla="*/ 16551 h 35914"/>
                        <a:gd name="connsiteX9" fmla="*/ 31880 w 33816"/>
                        <a:gd name="connsiteY9" fmla="*/ 19901 h 35914"/>
                        <a:gd name="connsiteX10" fmla="*/ 30564 w 33816"/>
                        <a:gd name="connsiteY10" fmla="*/ 23130 h 35914"/>
                        <a:gd name="connsiteX11" fmla="*/ 28710 w 33816"/>
                        <a:gd name="connsiteY11" fmla="*/ 26181 h 35914"/>
                        <a:gd name="connsiteX12" fmla="*/ 26378 w 33816"/>
                        <a:gd name="connsiteY12" fmla="*/ 28932 h 35914"/>
                        <a:gd name="connsiteX13" fmla="*/ 23686 w 33816"/>
                        <a:gd name="connsiteY13" fmla="*/ 31264 h 35914"/>
                        <a:gd name="connsiteX14" fmla="*/ 20756 w 33816"/>
                        <a:gd name="connsiteY14" fmla="*/ 33058 h 35914"/>
                        <a:gd name="connsiteX15" fmla="*/ 17705 w 33816"/>
                        <a:gd name="connsiteY15" fmla="*/ 34314 h 35914"/>
                        <a:gd name="connsiteX16" fmla="*/ 14595 w 33816"/>
                        <a:gd name="connsiteY16" fmla="*/ 34912 h 35914"/>
                        <a:gd name="connsiteX17" fmla="*/ 12024 w 33816"/>
                        <a:gd name="connsiteY17" fmla="*/ 34972 h 35914"/>
                        <a:gd name="connsiteX18" fmla="*/ 9631 w 33816"/>
                        <a:gd name="connsiteY18" fmla="*/ 34554 h 35914"/>
                        <a:gd name="connsiteX19" fmla="*/ 7478 w 33816"/>
                        <a:gd name="connsiteY19" fmla="*/ 33716 h 35914"/>
                        <a:gd name="connsiteX20" fmla="*/ 5564 w 33816"/>
                        <a:gd name="connsiteY20" fmla="*/ 32520 h 35914"/>
                        <a:gd name="connsiteX21" fmla="*/ 3292 w 33816"/>
                        <a:gd name="connsiteY21" fmla="*/ 30128 h 35914"/>
                        <a:gd name="connsiteX22" fmla="*/ 1737 w 33816"/>
                        <a:gd name="connsiteY22" fmla="*/ 27078 h 35914"/>
                        <a:gd name="connsiteX23" fmla="*/ 960 w 33816"/>
                        <a:gd name="connsiteY23" fmla="*/ 23489 h 35914"/>
                        <a:gd name="connsiteX24" fmla="*/ 1079 w 33816"/>
                        <a:gd name="connsiteY24" fmla="*/ 19482 h 35914"/>
                        <a:gd name="connsiteX25" fmla="*/ 1856 w 33816"/>
                        <a:gd name="connsiteY25" fmla="*/ 16133 h 35914"/>
                        <a:gd name="connsiteX26" fmla="*/ 3232 w 33816"/>
                        <a:gd name="connsiteY26" fmla="*/ 12843 h 35914"/>
                        <a:gd name="connsiteX27" fmla="*/ 5086 w 33816"/>
                        <a:gd name="connsiteY27" fmla="*/ 9793 h 35914"/>
                        <a:gd name="connsiteX28" fmla="*/ 7418 w 33816"/>
                        <a:gd name="connsiteY28" fmla="*/ 7042 h 35914"/>
                        <a:gd name="connsiteX29" fmla="*/ 10170 w 33816"/>
                        <a:gd name="connsiteY29" fmla="*/ 4650 h 35914"/>
                        <a:gd name="connsiteX30" fmla="*/ 13100 w 33816"/>
                        <a:gd name="connsiteY30" fmla="*/ 2856 h 35914"/>
                        <a:gd name="connsiteX31" fmla="*/ 16210 w 33816"/>
                        <a:gd name="connsiteY31" fmla="*/ 1660 h 35914"/>
                        <a:gd name="connsiteX32" fmla="*/ 19380 w 33816"/>
                        <a:gd name="connsiteY32" fmla="*/ 1062 h 35914"/>
                        <a:gd name="connsiteX33" fmla="*/ 21892 w 33816"/>
                        <a:gd name="connsiteY33" fmla="*/ 1062 h 35914"/>
                        <a:gd name="connsiteX34" fmla="*/ 24224 w 33816"/>
                        <a:gd name="connsiteY34" fmla="*/ 1480 h 35914"/>
                        <a:gd name="connsiteX35" fmla="*/ 26378 w 33816"/>
                        <a:gd name="connsiteY35" fmla="*/ 2317 h 35914"/>
                        <a:gd name="connsiteX36" fmla="*/ 28291 w 33816"/>
                        <a:gd name="connsiteY36" fmla="*/ 3573 h 35914"/>
                        <a:gd name="connsiteX37" fmla="*/ 4847 w 33816"/>
                        <a:gd name="connsiteY37" fmla="*/ 33298 h 35914"/>
                        <a:gd name="connsiteX38" fmla="*/ 6880 w 33816"/>
                        <a:gd name="connsiteY38" fmla="*/ 34554 h 35914"/>
                        <a:gd name="connsiteX39" fmla="*/ 9153 w 33816"/>
                        <a:gd name="connsiteY39" fmla="*/ 35451 h 35914"/>
                        <a:gd name="connsiteX40" fmla="*/ 11665 w 33816"/>
                        <a:gd name="connsiteY40" fmla="*/ 35869 h 35914"/>
                        <a:gd name="connsiteX41" fmla="*/ 14356 w 33816"/>
                        <a:gd name="connsiteY41" fmla="*/ 35869 h 35914"/>
                        <a:gd name="connsiteX42" fmla="*/ 17705 w 33816"/>
                        <a:gd name="connsiteY42" fmla="*/ 35211 h 35914"/>
                        <a:gd name="connsiteX43" fmla="*/ 20935 w 33816"/>
                        <a:gd name="connsiteY43" fmla="*/ 33896 h 35914"/>
                        <a:gd name="connsiteX44" fmla="*/ 24045 w 33816"/>
                        <a:gd name="connsiteY44" fmla="*/ 31982 h 35914"/>
                        <a:gd name="connsiteX45" fmla="*/ 26916 w 33816"/>
                        <a:gd name="connsiteY45" fmla="*/ 29530 h 35914"/>
                        <a:gd name="connsiteX46" fmla="*/ 29368 w 33816"/>
                        <a:gd name="connsiteY46" fmla="*/ 26599 h 35914"/>
                        <a:gd name="connsiteX47" fmla="*/ 31341 w 33816"/>
                        <a:gd name="connsiteY47" fmla="*/ 23429 h 35914"/>
                        <a:gd name="connsiteX48" fmla="*/ 32777 w 33816"/>
                        <a:gd name="connsiteY48" fmla="*/ 20020 h 35914"/>
                        <a:gd name="connsiteX49" fmla="*/ 33614 w 33816"/>
                        <a:gd name="connsiteY49" fmla="*/ 16492 h 35914"/>
                        <a:gd name="connsiteX50" fmla="*/ 33794 w 33816"/>
                        <a:gd name="connsiteY50" fmla="*/ 13023 h 35914"/>
                        <a:gd name="connsiteX51" fmla="*/ 33375 w 33816"/>
                        <a:gd name="connsiteY51" fmla="*/ 9793 h 35914"/>
                        <a:gd name="connsiteX52" fmla="*/ 32298 w 33816"/>
                        <a:gd name="connsiteY52" fmla="*/ 6863 h 35914"/>
                        <a:gd name="connsiteX53" fmla="*/ 30624 w 33816"/>
                        <a:gd name="connsiteY53" fmla="*/ 4291 h 35914"/>
                        <a:gd name="connsiteX54" fmla="*/ 30265 w 33816"/>
                        <a:gd name="connsiteY54" fmla="*/ 3872 h 35914"/>
                        <a:gd name="connsiteX55" fmla="*/ 29906 w 33816"/>
                        <a:gd name="connsiteY55" fmla="*/ 3454 h 35914"/>
                        <a:gd name="connsiteX56" fmla="*/ 29487 w 33816"/>
                        <a:gd name="connsiteY56" fmla="*/ 3095 h 35914"/>
                        <a:gd name="connsiteX57" fmla="*/ 29069 w 33816"/>
                        <a:gd name="connsiteY57" fmla="*/ 2736 h 35914"/>
                        <a:gd name="connsiteX58" fmla="*/ 27035 w 33816"/>
                        <a:gd name="connsiteY58" fmla="*/ 1420 h 35914"/>
                        <a:gd name="connsiteX59" fmla="*/ 24763 w 33816"/>
                        <a:gd name="connsiteY59" fmla="*/ 523 h 35914"/>
                        <a:gd name="connsiteX60" fmla="*/ 22251 w 33816"/>
                        <a:gd name="connsiteY60" fmla="*/ 45 h 35914"/>
                        <a:gd name="connsiteX61" fmla="*/ 19560 w 33816"/>
                        <a:gd name="connsiteY61" fmla="*/ 45 h 35914"/>
                        <a:gd name="connsiteX62" fmla="*/ 16210 w 33816"/>
                        <a:gd name="connsiteY62" fmla="*/ 703 h 35914"/>
                        <a:gd name="connsiteX63" fmla="*/ 12921 w 33816"/>
                        <a:gd name="connsiteY63" fmla="*/ 2018 h 35914"/>
                        <a:gd name="connsiteX64" fmla="*/ 9811 w 33816"/>
                        <a:gd name="connsiteY64" fmla="*/ 3932 h 35914"/>
                        <a:gd name="connsiteX65" fmla="*/ 6940 w 33816"/>
                        <a:gd name="connsiteY65" fmla="*/ 6444 h 35914"/>
                        <a:gd name="connsiteX66" fmla="*/ 4428 w 33816"/>
                        <a:gd name="connsiteY66" fmla="*/ 9375 h 35914"/>
                        <a:gd name="connsiteX67" fmla="*/ 2455 w 33816"/>
                        <a:gd name="connsiteY67" fmla="*/ 12604 h 35914"/>
                        <a:gd name="connsiteX68" fmla="*/ 1019 w 33816"/>
                        <a:gd name="connsiteY68" fmla="*/ 16073 h 35914"/>
                        <a:gd name="connsiteX69" fmla="*/ 182 w 33816"/>
                        <a:gd name="connsiteY69" fmla="*/ 19662 h 35914"/>
                        <a:gd name="connsiteX70" fmla="*/ 62 w 33816"/>
                        <a:gd name="connsiteY70" fmla="*/ 23908 h 35914"/>
                        <a:gd name="connsiteX71" fmla="*/ 900 w 33816"/>
                        <a:gd name="connsiteY71" fmla="*/ 27676 h 35914"/>
                        <a:gd name="connsiteX72" fmla="*/ 2574 w 33816"/>
                        <a:gd name="connsiteY72" fmla="*/ 30905 h 35914"/>
                        <a:gd name="connsiteX73" fmla="*/ 4847 w 33816"/>
                        <a:gd name="connsiteY73" fmla="*/ 33298 h 3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3816" h="35914">
                          <a:moveTo>
                            <a:pt x="28291" y="3573"/>
                          </a:moveTo>
                          <a:cubicBezTo>
                            <a:pt x="28411" y="3693"/>
                            <a:pt x="28531" y="3813"/>
                            <a:pt x="28710" y="3932"/>
                          </a:cubicBezTo>
                          <a:cubicBezTo>
                            <a:pt x="28889" y="4052"/>
                            <a:pt x="28949" y="4171"/>
                            <a:pt x="29069" y="4291"/>
                          </a:cubicBezTo>
                          <a:cubicBezTo>
                            <a:pt x="29188" y="4411"/>
                            <a:pt x="29308" y="4530"/>
                            <a:pt x="29427" y="4650"/>
                          </a:cubicBezTo>
                          <a:cubicBezTo>
                            <a:pt x="29547" y="4770"/>
                            <a:pt x="29667" y="4889"/>
                            <a:pt x="29787" y="5069"/>
                          </a:cubicBezTo>
                          <a:cubicBezTo>
                            <a:pt x="30385" y="5786"/>
                            <a:pt x="30923" y="6624"/>
                            <a:pt x="31401" y="7461"/>
                          </a:cubicBezTo>
                          <a:cubicBezTo>
                            <a:pt x="31820" y="8298"/>
                            <a:pt x="32179" y="9255"/>
                            <a:pt x="32418" y="10212"/>
                          </a:cubicBezTo>
                          <a:cubicBezTo>
                            <a:pt x="32657" y="11169"/>
                            <a:pt x="32777" y="12186"/>
                            <a:pt x="32837" y="13262"/>
                          </a:cubicBezTo>
                          <a:cubicBezTo>
                            <a:pt x="32896" y="14339"/>
                            <a:pt x="32837" y="15415"/>
                            <a:pt x="32657" y="16551"/>
                          </a:cubicBezTo>
                          <a:cubicBezTo>
                            <a:pt x="32478" y="17688"/>
                            <a:pt x="32239" y="18764"/>
                            <a:pt x="31880" y="19901"/>
                          </a:cubicBezTo>
                          <a:cubicBezTo>
                            <a:pt x="31521" y="21037"/>
                            <a:pt x="31042" y="22054"/>
                            <a:pt x="30564" y="23130"/>
                          </a:cubicBezTo>
                          <a:cubicBezTo>
                            <a:pt x="30026" y="24147"/>
                            <a:pt x="29427" y="25164"/>
                            <a:pt x="28710" y="26181"/>
                          </a:cubicBezTo>
                          <a:cubicBezTo>
                            <a:pt x="27992" y="27197"/>
                            <a:pt x="27215" y="28094"/>
                            <a:pt x="26378" y="28932"/>
                          </a:cubicBezTo>
                          <a:cubicBezTo>
                            <a:pt x="25540" y="29769"/>
                            <a:pt x="24643" y="30547"/>
                            <a:pt x="23686" y="31264"/>
                          </a:cubicBezTo>
                          <a:cubicBezTo>
                            <a:pt x="22729" y="31922"/>
                            <a:pt x="21772" y="32520"/>
                            <a:pt x="20756" y="33058"/>
                          </a:cubicBezTo>
                          <a:cubicBezTo>
                            <a:pt x="19739" y="33537"/>
                            <a:pt x="18722" y="33956"/>
                            <a:pt x="17705" y="34314"/>
                          </a:cubicBezTo>
                          <a:cubicBezTo>
                            <a:pt x="16689" y="34613"/>
                            <a:pt x="15612" y="34852"/>
                            <a:pt x="14595" y="34912"/>
                          </a:cubicBezTo>
                          <a:cubicBezTo>
                            <a:pt x="13699" y="35032"/>
                            <a:pt x="12861" y="35032"/>
                            <a:pt x="12024" y="34972"/>
                          </a:cubicBezTo>
                          <a:cubicBezTo>
                            <a:pt x="11186" y="34912"/>
                            <a:pt x="10409" y="34793"/>
                            <a:pt x="9631" y="34554"/>
                          </a:cubicBezTo>
                          <a:cubicBezTo>
                            <a:pt x="8854" y="34374"/>
                            <a:pt x="8136" y="34075"/>
                            <a:pt x="7478" y="33716"/>
                          </a:cubicBezTo>
                          <a:cubicBezTo>
                            <a:pt x="6821" y="33357"/>
                            <a:pt x="6163" y="32998"/>
                            <a:pt x="5564" y="32520"/>
                          </a:cubicBezTo>
                          <a:cubicBezTo>
                            <a:pt x="4727" y="31862"/>
                            <a:pt x="3950" y="31025"/>
                            <a:pt x="3292" y="30128"/>
                          </a:cubicBezTo>
                          <a:cubicBezTo>
                            <a:pt x="2634" y="29231"/>
                            <a:pt x="2155" y="28214"/>
                            <a:pt x="1737" y="27078"/>
                          </a:cubicBezTo>
                          <a:cubicBezTo>
                            <a:pt x="1318" y="26001"/>
                            <a:pt x="1079" y="24805"/>
                            <a:pt x="960" y="23489"/>
                          </a:cubicBezTo>
                          <a:cubicBezTo>
                            <a:pt x="840" y="22233"/>
                            <a:pt x="900" y="20918"/>
                            <a:pt x="1079" y="19482"/>
                          </a:cubicBezTo>
                          <a:cubicBezTo>
                            <a:pt x="1259" y="18346"/>
                            <a:pt x="1498" y="17210"/>
                            <a:pt x="1856" y="16133"/>
                          </a:cubicBezTo>
                          <a:cubicBezTo>
                            <a:pt x="2215" y="14996"/>
                            <a:pt x="2634" y="13920"/>
                            <a:pt x="3232" y="12843"/>
                          </a:cubicBezTo>
                          <a:cubicBezTo>
                            <a:pt x="3770" y="11767"/>
                            <a:pt x="4428" y="10750"/>
                            <a:pt x="5086" y="9793"/>
                          </a:cubicBezTo>
                          <a:cubicBezTo>
                            <a:pt x="5744" y="8836"/>
                            <a:pt x="6581" y="7880"/>
                            <a:pt x="7418" y="7042"/>
                          </a:cubicBezTo>
                          <a:cubicBezTo>
                            <a:pt x="8256" y="6145"/>
                            <a:pt x="9213" y="5368"/>
                            <a:pt x="10170" y="4650"/>
                          </a:cubicBezTo>
                          <a:cubicBezTo>
                            <a:pt x="11126" y="3932"/>
                            <a:pt x="12084" y="3334"/>
                            <a:pt x="13100" y="2856"/>
                          </a:cubicBezTo>
                          <a:cubicBezTo>
                            <a:pt x="14117" y="2377"/>
                            <a:pt x="15134" y="1959"/>
                            <a:pt x="16210" y="1660"/>
                          </a:cubicBezTo>
                          <a:cubicBezTo>
                            <a:pt x="17287" y="1361"/>
                            <a:pt x="18303" y="1181"/>
                            <a:pt x="19380" y="1062"/>
                          </a:cubicBezTo>
                          <a:cubicBezTo>
                            <a:pt x="20217" y="1002"/>
                            <a:pt x="21055" y="1002"/>
                            <a:pt x="21892" y="1062"/>
                          </a:cubicBezTo>
                          <a:cubicBezTo>
                            <a:pt x="22729" y="1121"/>
                            <a:pt x="23507" y="1301"/>
                            <a:pt x="24224" y="1480"/>
                          </a:cubicBezTo>
                          <a:cubicBezTo>
                            <a:pt x="25002" y="1719"/>
                            <a:pt x="25719" y="1959"/>
                            <a:pt x="26378" y="2317"/>
                          </a:cubicBezTo>
                          <a:cubicBezTo>
                            <a:pt x="27035" y="2676"/>
                            <a:pt x="27693" y="3095"/>
                            <a:pt x="28291" y="3573"/>
                          </a:cubicBezTo>
                          <a:moveTo>
                            <a:pt x="4847" y="33298"/>
                          </a:moveTo>
                          <a:cubicBezTo>
                            <a:pt x="5445" y="33776"/>
                            <a:pt x="6163" y="34195"/>
                            <a:pt x="6880" y="34554"/>
                          </a:cubicBezTo>
                          <a:cubicBezTo>
                            <a:pt x="7598" y="34912"/>
                            <a:pt x="8376" y="35211"/>
                            <a:pt x="9153" y="35451"/>
                          </a:cubicBezTo>
                          <a:cubicBezTo>
                            <a:pt x="9931" y="35690"/>
                            <a:pt x="10768" y="35810"/>
                            <a:pt x="11665" y="35869"/>
                          </a:cubicBezTo>
                          <a:cubicBezTo>
                            <a:pt x="12562" y="35929"/>
                            <a:pt x="13459" y="35929"/>
                            <a:pt x="14356" y="35869"/>
                          </a:cubicBezTo>
                          <a:cubicBezTo>
                            <a:pt x="15493" y="35750"/>
                            <a:pt x="16569" y="35511"/>
                            <a:pt x="17705" y="35211"/>
                          </a:cubicBezTo>
                          <a:cubicBezTo>
                            <a:pt x="18782" y="34852"/>
                            <a:pt x="19858" y="34434"/>
                            <a:pt x="20935" y="33896"/>
                          </a:cubicBezTo>
                          <a:cubicBezTo>
                            <a:pt x="22011" y="33357"/>
                            <a:pt x="23028" y="32699"/>
                            <a:pt x="24045" y="31982"/>
                          </a:cubicBezTo>
                          <a:cubicBezTo>
                            <a:pt x="25062" y="31264"/>
                            <a:pt x="26019" y="30427"/>
                            <a:pt x="26916" y="29530"/>
                          </a:cubicBezTo>
                          <a:cubicBezTo>
                            <a:pt x="27813" y="28633"/>
                            <a:pt x="28650" y="27616"/>
                            <a:pt x="29368" y="26599"/>
                          </a:cubicBezTo>
                          <a:cubicBezTo>
                            <a:pt x="30086" y="25582"/>
                            <a:pt x="30743" y="24506"/>
                            <a:pt x="31341" y="23429"/>
                          </a:cubicBezTo>
                          <a:cubicBezTo>
                            <a:pt x="31880" y="22353"/>
                            <a:pt x="32358" y="21217"/>
                            <a:pt x="32777" y="20020"/>
                          </a:cubicBezTo>
                          <a:cubicBezTo>
                            <a:pt x="33136" y="18884"/>
                            <a:pt x="33435" y="17688"/>
                            <a:pt x="33614" y="16492"/>
                          </a:cubicBezTo>
                          <a:cubicBezTo>
                            <a:pt x="33794" y="15296"/>
                            <a:pt x="33854" y="14159"/>
                            <a:pt x="33794" y="13023"/>
                          </a:cubicBezTo>
                          <a:cubicBezTo>
                            <a:pt x="33734" y="11887"/>
                            <a:pt x="33614" y="10810"/>
                            <a:pt x="33375" y="9793"/>
                          </a:cubicBezTo>
                          <a:cubicBezTo>
                            <a:pt x="33136" y="8777"/>
                            <a:pt x="32777" y="7760"/>
                            <a:pt x="32298" y="6863"/>
                          </a:cubicBezTo>
                          <a:cubicBezTo>
                            <a:pt x="31820" y="5966"/>
                            <a:pt x="31282" y="5069"/>
                            <a:pt x="30624" y="4291"/>
                          </a:cubicBezTo>
                          <a:cubicBezTo>
                            <a:pt x="30504" y="4171"/>
                            <a:pt x="30385" y="3992"/>
                            <a:pt x="30265" y="3872"/>
                          </a:cubicBezTo>
                          <a:cubicBezTo>
                            <a:pt x="30146" y="3753"/>
                            <a:pt x="30026" y="3633"/>
                            <a:pt x="29906" y="3454"/>
                          </a:cubicBezTo>
                          <a:cubicBezTo>
                            <a:pt x="29787" y="3334"/>
                            <a:pt x="29667" y="3215"/>
                            <a:pt x="29487" y="3095"/>
                          </a:cubicBezTo>
                          <a:cubicBezTo>
                            <a:pt x="29308" y="2975"/>
                            <a:pt x="29188" y="2856"/>
                            <a:pt x="29069" y="2736"/>
                          </a:cubicBezTo>
                          <a:cubicBezTo>
                            <a:pt x="28411" y="2198"/>
                            <a:pt x="27753" y="1779"/>
                            <a:pt x="27035" y="1420"/>
                          </a:cubicBezTo>
                          <a:cubicBezTo>
                            <a:pt x="26318" y="1062"/>
                            <a:pt x="25540" y="763"/>
                            <a:pt x="24763" y="523"/>
                          </a:cubicBezTo>
                          <a:cubicBezTo>
                            <a:pt x="23985" y="284"/>
                            <a:pt x="23148" y="164"/>
                            <a:pt x="22251" y="45"/>
                          </a:cubicBezTo>
                          <a:cubicBezTo>
                            <a:pt x="21414" y="-15"/>
                            <a:pt x="20516" y="-15"/>
                            <a:pt x="19560" y="45"/>
                          </a:cubicBezTo>
                          <a:cubicBezTo>
                            <a:pt x="18423" y="164"/>
                            <a:pt x="17287" y="344"/>
                            <a:pt x="16210" y="703"/>
                          </a:cubicBezTo>
                          <a:cubicBezTo>
                            <a:pt x="15074" y="1002"/>
                            <a:pt x="13997" y="1480"/>
                            <a:pt x="12921" y="2018"/>
                          </a:cubicBezTo>
                          <a:cubicBezTo>
                            <a:pt x="11845" y="2557"/>
                            <a:pt x="10828" y="3215"/>
                            <a:pt x="9811" y="3932"/>
                          </a:cubicBezTo>
                          <a:cubicBezTo>
                            <a:pt x="8794" y="4650"/>
                            <a:pt x="7837" y="5487"/>
                            <a:pt x="6940" y="6444"/>
                          </a:cubicBezTo>
                          <a:cubicBezTo>
                            <a:pt x="6043" y="7341"/>
                            <a:pt x="5146" y="8358"/>
                            <a:pt x="4428" y="9375"/>
                          </a:cubicBezTo>
                          <a:cubicBezTo>
                            <a:pt x="3651" y="10392"/>
                            <a:pt x="2993" y="11468"/>
                            <a:pt x="2455" y="12604"/>
                          </a:cubicBezTo>
                          <a:cubicBezTo>
                            <a:pt x="1856" y="13741"/>
                            <a:pt x="1438" y="14877"/>
                            <a:pt x="1019" y="16073"/>
                          </a:cubicBezTo>
                          <a:cubicBezTo>
                            <a:pt x="660" y="17269"/>
                            <a:pt x="361" y="18465"/>
                            <a:pt x="182" y="19662"/>
                          </a:cubicBezTo>
                          <a:cubicBezTo>
                            <a:pt x="2" y="21157"/>
                            <a:pt x="-57" y="22532"/>
                            <a:pt x="62" y="23908"/>
                          </a:cubicBezTo>
                          <a:cubicBezTo>
                            <a:pt x="182" y="25224"/>
                            <a:pt x="481" y="26540"/>
                            <a:pt x="900" y="27676"/>
                          </a:cubicBezTo>
                          <a:cubicBezTo>
                            <a:pt x="1318" y="28872"/>
                            <a:pt x="1856" y="29889"/>
                            <a:pt x="2574" y="30905"/>
                          </a:cubicBezTo>
                          <a:cubicBezTo>
                            <a:pt x="3172" y="31743"/>
                            <a:pt x="3950" y="32580"/>
                            <a:pt x="4847" y="33298"/>
                          </a:cubicBezTo>
                        </a:path>
                      </a:pathLst>
                    </a:custGeom>
                    <a:noFill/>
                    <a:ln w="6350" cap="flat">
                      <a:solidFill>
                        <a:schemeClr val="bg1">
                          <a:alpha val="80000"/>
                        </a:schemeClr>
                      </a:solidFill>
                      <a:prstDash val="solid"/>
                      <a:miter/>
                    </a:ln>
                  </p:spPr>
                  <p:txBody>
                    <a:bodyPr rtlCol="0" anchor="ctr"/>
                    <a:lstStyle/>
                    <a:p>
                      <a:endParaRPr lang="en-GB"/>
                    </a:p>
                  </p:txBody>
                </p:sp>
                <p:sp>
                  <p:nvSpPr>
                    <p:cNvPr id="7520" name="Vrije vorm: vorm 7519">
                      <a:extLst>
                        <a:ext uri="{FF2B5EF4-FFF2-40B4-BE49-F238E27FC236}">
                          <a16:creationId xmlns:a16="http://schemas.microsoft.com/office/drawing/2014/main" id="{E1C1490D-C634-4426-83D9-2C3451E6F187}"/>
                        </a:ext>
                      </a:extLst>
                    </p:cNvPr>
                    <p:cNvSpPr/>
                    <p:nvPr/>
                  </p:nvSpPr>
                  <p:spPr>
                    <a:xfrm>
                      <a:off x="5210400" y="5208665"/>
                      <a:ext cx="16411" cy="17493"/>
                    </a:xfrm>
                    <a:custGeom>
                      <a:avLst/>
                      <a:gdLst>
                        <a:gd name="connsiteX0" fmla="*/ 13362 w 16411"/>
                        <a:gd name="connsiteY0" fmla="*/ 2138 h 17493"/>
                        <a:gd name="connsiteX1" fmla="*/ 13541 w 16411"/>
                        <a:gd name="connsiteY1" fmla="*/ 2318 h 17493"/>
                        <a:gd name="connsiteX2" fmla="*/ 13721 w 16411"/>
                        <a:gd name="connsiteY2" fmla="*/ 2497 h 17493"/>
                        <a:gd name="connsiteX3" fmla="*/ 13900 w 16411"/>
                        <a:gd name="connsiteY3" fmla="*/ 2676 h 17493"/>
                        <a:gd name="connsiteX4" fmla="*/ 14079 w 16411"/>
                        <a:gd name="connsiteY4" fmla="*/ 2856 h 17493"/>
                        <a:gd name="connsiteX5" fmla="*/ 14797 w 16411"/>
                        <a:gd name="connsiteY5" fmla="*/ 3932 h 17493"/>
                        <a:gd name="connsiteX6" fmla="*/ 15276 w 16411"/>
                        <a:gd name="connsiteY6" fmla="*/ 5188 h 17493"/>
                        <a:gd name="connsiteX7" fmla="*/ 15455 w 16411"/>
                        <a:gd name="connsiteY7" fmla="*/ 6564 h 17493"/>
                        <a:gd name="connsiteX8" fmla="*/ 15395 w 16411"/>
                        <a:gd name="connsiteY8" fmla="*/ 8059 h 17493"/>
                        <a:gd name="connsiteX9" fmla="*/ 15036 w 16411"/>
                        <a:gd name="connsiteY9" fmla="*/ 9614 h 17493"/>
                        <a:gd name="connsiteX10" fmla="*/ 14438 w 16411"/>
                        <a:gd name="connsiteY10" fmla="*/ 11049 h 17493"/>
                        <a:gd name="connsiteX11" fmla="*/ 13601 w 16411"/>
                        <a:gd name="connsiteY11" fmla="*/ 12425 h 17493"/>
                        <a:gd name="connsiteX12" fmla="*/ 12525 w 16411"/>
                        <a:gd name="connsiteY12" fmla="*/ 13681 h 17493"/>
                        <a:gd name="connsiteX13" fmla="*/ 11269 w 16411"/>
                        <a:gd name="connsiteY13" fmla="*/ 14757 h 17493"/>
                        <a:gd name="connsiteX14" fmla="*/ 9953 w 16411"/>
                        <a:gd name="connsiteY14" fmla="*/ 15595 h 17493"/>
                        <a:gd name="connsiteX15" fmla="*/ 8577 w 16411"/>
                        <a:gd name="connsiteY15" fmla="*/ 16133 h 17493"/>
                        <a:gd name="connsiteX16" fmla="*/ 7142 w 16411"/>
                        <a:gd name="connsiteY16" fmla="*/ 16432 h 17493"/>
                        <a:gd name="connsiteX17" fmla="*/ 6006 w 16411"/>
                        <a:gd name="connsiteY17" fmla="*/ 16432 h 17493"/>
                        <a:gd name="connsiteX18" fmla="*/ 4929 w 16411"/>
                        <a:gd name="connsiteY18" fmla="*/ 16252 h 17493"/>
                        <a:gd name="connsiteX19" fmla="*/ 3972 w 16411"/>
                        <a:gd name="connsiteY19" fmla="*/ 15894 h 17493"/>
                        <a:gd name="connsiteX20" fmla="*/ 3075 w 16411"/>
                        <a:gd name="connsiteY20" fmla="*/ 15356 h 17493"/>
                        <a:gd name="connsiteX21" fmla="*/ 2357 w 16411"/>
                        <a:gd name="connsiteY21" fmla="*/ 14697 h 17493"/>
                        <a:gd name="connsiteX22" fmla="*/ 1640 w 16411"/>
                        <a:gd name="connsiteY22" fmla="*/ 13621 h 17493"/>
                        <a:gd name="connsiteX23" fmla="*/ 1161 w 16411"/>
                        <a:gd name="connsiteY23" fmla="*/ 12365 h 17493"/>
                        <a:gd name="connsiteX24" fmla="*/ 982 w 16411"/>
                        <a:gd name="connsiteY24" fmla="*/ 10989 h 17493"/>
                        <a:gd name="connsiteX25" fmla="*/ 1041 w 16411"/>
                        <a:gd name="connsiteY25" fmla="*/ 9494 h 17493"/>
                        <a:gd name="connsiteX26" fmla="*/ 1400 w 16411"/>
                        <a:gd name="connsiteY26" fmla="*/ 7939 h 17493"/>
                        <a:gd name="connsiteX27" fmla="*/ 1999 w 16411"/>
                        <a:gd name="connsiteY27" fmla="*/ 6444 h 17493"/>
                        <a:gd name="connsiteX28" fmla="*/ 2836 w 16411"/>
                        <a:gd name="connsiteY28" fmla="*/ 5069 h 17493"/>
                        <a:gd name="connsiteX29" fmla="*/ 3912 w 16411"/>
                        <a:gd name="connsiteY29" fmla="*/ 3813 h 17493"/>
                        <a:gd name="connsiteX30" fmla="*/ 5168 w 16411"/>
                        <a:gd name="connsiteY30" fmla="*/ 2736 h 17493"/>
                        <a:gd name="connsiteX31" fmla="*/ 6484 w 16411"/>
                        <a:gd name="connsiteY31" fmla="*/ 1899 h 17493"/>
                        <a:gd name="connsiteX32" fmla="*/ 7860 w 16411"/>
                        <a:gd name="connsiteY32" fmla="*/ 1360 h 17493"/>
                        <a:gd name="connsiteX33" fmla="*/ 9295 w 16411"/>
                        <a:gd name="connsiteY33" fmla="*/ 1121 h 17493"/>
                        <a:gd name="connsiteX34" fmla="*/ 10431 w 16411"/>
                        <a:gd name="connsiteY34" fmla="*/ 1121 h 17493"/>
                        <a:gd name="connsiteX35" fmla="*/ 11508 w 16411"/>
                        <a:gd name="connsiteY35" fmla="*/ 1301 h 17493"/>
                        <a:gd name="connsiteX36" fmla="*/ 12465 w 16411"/>
                        <a:gd name="connsiteY36" fmla="*/ 1659 h 17493"/>
                        <a:gd name="connsiteX37" fmla="*/ 13362 w 16411"/>
                        <a:gd name="connsiteY37" fmla="*/ 2138 h 17493"/>
                        <a:gd name="connsiteX38" fmla="*/ 2357 w 16411"/>
                        <a:gd name="connsiteY38" fmla="*/ 16133 h 17493"/>
                        <a:gd name="connsiteX39" fmla="*/ 3374 w 16411"/>
                        <a:gd name="connsiteY39" fmla="*/ 16791 h 17493"/>
                        <a:gd name="connsiteX40" fmla="*/ 4510 w 16411"/>
                        <a:gd name="connsiteY40" fmla="*/ 17210 h 17493"/>
                        <a:gd name="connsiteX41" fmla="*/ 5707 w 16411"/>
                        <a:gd name="connsiteY41" fmla="*/ 17449 h 17493"/>
                        <a:gd name="connsiteX42" fmla="*/ 7022 w 16411"/>
                        <a:gd name="connsiteY42" fmla="*/ 17449 h 17493"/>
                        <a:gd name="connsiteX43" fmla="*/ 8637 w 16411"/>
                        <a:gd name="connsiteY43" fmla="*/ 17150 h 17493"/>
                        <a:gd name="connsiteX44" fmla="*/ 10192 w 16411"/>
                        <a:gd name="connsiteY44" fmla="*/ 16492 h 17493"/>
                        <a:gd name="connsiteX45" fmla="*/ 11687 w 16411"/>
                        <a:gd name="connsiteY45" fmla="*/ 15595 h 17493"/>
                        <a:gd name="connsiteX46" fmla="*/ 13063 w 16411"/>
                        <a:gd name="connsiteY46" fmla="*/ 14398 h 17493"/>
                        <a:gd name="connsiteX47" fmla="*/ 14259 w 16411"/>
                        <a:gd name="connsiteY47" fmla="*/ 12963 h 17493"/>
                        <a:gd name="connsiteX48" fmla="*/ 15216 w 16411"/>
                        <a:gd name="connsiteY48" fmla="*/ 11408 h 17493"/>
                        <a:gd name="connsiteX49" fmla="*/ 15874 w 16411"/>
                        <a:gd name="connsiteY49" fmla="*/ 9734 h 17493"/>
                        <a:gd name="connsiteX50" fmla="*/ 16292 w 16411"/>
                        <a:gd name="connsiteY50" fmla="*/ 7999 h 17493"/>
                        <a:gd name="connsiteX51" fmla="*/ 16412 w 16411"/>
                        <a:gd name="connsiteY51" fmla="*/ 6325 h 17493"/>
                        <a:gd name="connsiteX52" fmla="*/ 16173 w 16411"/>
                        <a:gd name="connsiteY52" fmla="*/ 4770 h 17493"/>
                        <a:gd name="connsiteX53" fmla="*/ 15634 w 16411"/>
                        <a:gd name="connsiteY53" fmla="*/ 3334 h 17493"/>
                        <a:gd name="connsiteX54" fmla="*/ 14797 w 16411"/>
                        <a:gd name="connsiteY54" fmla="*/ 2078 h 17493"/>
                        <a:gd name="connsiteX55" fmla="*/ 14618 w 16411"/>
                        <a:gd name="connsiteY55" fmla="*/ 1899 h 17493"/>
                        <a:gd name="connsiteX56" fmla="*/ 14438 w 16411"/>
                        <a:gd name="connsiteY56" fmla="*/ 1719 h 17493"/>
                        <a:gd name="connsiteX57" fmla="*/ 14259 w 16411"/>
                        <a:gd name="connsiteY57" fmla="*/ 1540 h 17493"/>
                        <a:gd name="connsiteX58" fmla="*/ 14079 w 16411"/>
                        <a:gd name="connsiteY58" fmla="*/ 1360 h 17493"/>
                        <a:gd name="connsiteX59" fmla="*/ 13063 w 16411"/>
                        <a:gd name="connsiteY59" fmla="*/ 703 h 17493"/>
                        <a:gd name="connsiteX60" fmla="*/ 11926 w 16411"/>
                        <a:gd name="connsiteY60" fmla="*/ 284 h 17493"/>
                        <a:gd name="connsiteX61" fmla="*/ 10730 w 16411"/>
                        <a:gd name="connsiteY61" fmla="*/ 45 h 17493"/>
                        <a:gd name="connsiteX62" fmla="*/ 9474 w 16411"/>
                        <a:gd name="connsiteY62" fmla="*/ 45 h 17493"/>
                        <a:gd name="connsiteX63" fmla="*/ 7860 w 16411"/>
                        <a:gd name="connsiteY63" fmla="*/ 344 h 17493"/>
                        <a:gd name="connsiteX64" fmla="*/ 6245 w 16411"/>
                        <a:gd name="connsiteY64" fmla="*/ 942 h 17493"/>
                        <a:gd name="connsiteX65" fmla="*/ 4749 w 16411"/>
                        <a:gd name="connsiteY65" fmla="*/ 1839 h 17493"/>
                        <a:gd name="connsiteX66" fmla="*/ 3374 w 16411"/>
                        <a:gd name="connsiteY66" fmla="*/ 3035 h 17493"/>
                        <a:gd name="connsiteX67" fmla="*/ 2178 w 16411"/>
                        <a:gd name="connsiteY67" fmla="*/ 4471 h 17493"/>
                        <a:gd name="connsiteX68" fmla="*/ 1221 w 16411"/>
                        <a:gd name="connsiteY68" fmla="*/ 6026 h 17493"/>
                        <a:gd name="connsiteX69" fmla="*/ 503 w 16411"/>
                        <a:gd name="connsiteY69" fmla="*/ 7700 h 17493"/>
                        <a:gd name="connsiteX70" fmla="*/ 85 w 16411"/>
                        <a:gd name="connsiteY70" fmla="*/ 9435 h 17493"/>
                        <a:gd name="connsiteX71" fmla="*/ 25 w 16411"/>
                        <a:gd name="connsiteY71" fmla="*/ 11109 h 17493"/>
                        <a:gd name="connsiteX72" fmla="*/ 264 w 16411"/>
                        <a:gd name="connsiteY72" fmla="*/ 12664 h 17493"/>
                        <a:gd name="connsiteX73" fmla="*/ 802 w 16411"/>
                        <a:gd name="connsiteY73" fmla="*/ 14099 h 17493"/>
                        <a:gd name="connsiteX74" fmla="*/ 1640 w 16411"/>
                        <a:gd name="connsiteY74" fmla="*/ 15356 h 17493"/>
                        <a:gd name="connsiteX75" fmla="*/ 1819 w 16411"/>
                        <a:gd name="connsiteY75" fmla="*/ 15535 h 17493"/>
                        <a:gd name="connsiteX76" fmla="*/ 1999 w 16411"/>
                        <a:gd name="connsiteY76" fmla="*/ 15714 h 17493"/>
                        <a:gd name="connsiteX77" fmla="*/ 2178 w 16411"/>
                        <a:gd name="connsiteY77" fmla="*/ 15894 h 17493"/>
                        <a:gd name="connsiteX78" fmla="*/ 2357 w 16411"/>
                        <a:gd name="connsiteY78" fmla="*/ 16133 h 1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6411" h="17493">
                          <a:moveTo>
                            <a:pt x="13362" y="2138"/>
                          </a:moveTo>
                          <a:cubicBezTo>
                            <a:pt x="13422" y="2198"/>
                            <a:pt x="13481" y="2258"/>
                            <a:pt x="13541" y="2318"/>
                          </a:cubicBezTo>
                          <a:cubicBezTo>
                            <a:pt x="13601" y="2377"/>
                            <a:pt x="13661" y="2437"/>
                            <a:pt x="13721" y="2497"/>
                          </a:cubicBezTo>
                          <a:cubicBezTo>
                            <a:pt x="13780" y="2557"/>
                            <a:pt x="13840" y="2617"/>
                            <a:pt x="13900" y="2676"/>
                          </a:cubicBezTo>
                          <a:cubicBezTo>
                            <a:pt x="13960" y="2736"/>
                            <a:pt x="14020" y="2796"/>
                            <a:pt x="14079" y="2856"/>
                          </a:cubicBezTo>
                          <a:cubicBezTo>
                            <a:pt x="14379" y="3214"/>
                            <a:pt x="14618" y="3573"/>
                            <a:pt x="14797" y="3932"/>
                          </a:cubicBezTo>
                          <a:cubicBezTo>
                            <a:pt x="14977" y="4351"/>
                            <a:pt x="15156" y="4770"/>
                            <a:pt x="15276" y="5188"/>
                          </a:cubicBezTo>
                          <a:cubicBezTo>
                            <a:pt x="15395" y="5607"/>
                            <a:pt x="15455" y="6085"/>
                            <a:pt x="15455" y="6564"/>
                          </a:cubicBezTo>
                          <a:cubicBezTo>
                            <a:pt x="15455" y="7042"/>
                            <a:pt x="15455" y="7581"/>
                            <a:pt x="15395" y="8059"/>
                          </a:cubicBezTo>
                          <a:cubicBezTo>
                            <a:pt x="15335" y="8597"/>
                            <a:pt x="15216" y="9076"/>
                            <a:pt x="15036" y="9614"/>
                          </a:cubicBezTo>
                          <a:cubicBezTo>
                            <a:pt x="14857" y="10152"/>
                            <a:pt x="14678" y="10571"/>
                            <a:pt x="14438" y="11049"/>
                          </a:cubicBezTo>
                          <a:cubicBezTo>
                            <a:pt x="14199" y="11528"/>
                            <a:pt x="13900" y="12006"/>
                            <a:pt x="13601" y="12425"/>
                          </a:cubicBezTo>
                          <a:cubicBezTo>
                            <a:pt x="13302" y="12843"/>
                            <a:pt x="12943" y="13262"/>
                            <a:pt x="12525" y="13681"/>
                          </a:cubicBezTo>
                          <a:cubicBezTo>
                            <a:pt x="12106" y="14099"/>
                            <a:pt x="11747" y="14398"/>
                            <a:pt x="11269" y="14757"/>
                          </a:cubicBezTo>
                          <a:cubicBezTo>
                            <a:pt x="10850" y="15057"/>
                            <a:pt x="10371" y="15356"/>
                            <a:pt x="9953" y="15595"/>
                          </a:cubicBezTo>
                          <a:cubicBezTo>
                            <a:pt x="9474" y="15834"/>
                            <a:pt x="9056" y="16013"/>
                            <a:pt x="8577" y="16133"/>
                          </a:cubicBezTo>
                          <a:cubicBezTo>
                            <a:pt x="8099" y="16252"/>
                            <a:pt x="7620" y="16372"/>
                            <a:pt x="7142" y="16432"/>
                          </a:cubicBezTo>
                          <a:cubicBezTo>
                            <a:pt x="6723" y="16492"/>
                            <a:pt x="6364" y="16492"/>
                            <a:pt x="6006" y="16432"/>
                          </a:cubicBezTo>
                          <a:cubicBezTo>
                            <a:pt x="5647" y="16432"/>
                            <a:pt x="5288" y="16372"/>
                            <a:pt x="4929" y="16252"/>
                          </a:cubicBezTo>
                          <a:cubicBezTo>
                            <a:pt x="4570" y="16133"/>
                            <a:pt x="4271" y="16013"/>
                            <a:pt x="3972" y="15894"/>
                          </a:cubicBezTo>
                          <a:cubicBezTo>
                            <a:pt x="3673" y="15714"/>
                            <a:pt x="3374" y="15535"/>
                            <a:pt x="3075" y="15356"/>
                          </a:cubicBezTo>
                          <a:lnTo>
                            <a:pt x="2357" y="14697"/>
                          </a:lnTo>
                          <a:cubicBezTo>
                            <a:pt x="2058" y="14339"/>
                            <a:pt x="1819" y="13980"/>
                            <a:pt x="1640" y="13621"/>
                          </a:cubicBezTo>
                          <a:cubicBezTo>
                            <a:pt x="1460" y="13262"/>
                            <a:pt x="1281" y="12784"/>
                            <a:pt x="1161" y="12365"/>
                          </a:cubicBezTo>
                          <a:cubicBezTo>
                            <a:pt x="1041" y="11946"/>
                            <a:pt x="982" y="11468"/>
                            <a:pt x="982" y="10989"/>
                          </a:cubicBezTo>
                          <a:cubicBezTo>
                            <a:pt x="982" y="10511"/>
                            <a:pt x="982" y="10033"/>
                            <a:pt x="1041" y="9494"/>
                          </a:cubicBezTo>
                          <a:cubicBezTo>
                            <a:pt x="1101" y="8956"/>
                            <a:pt x="1221" y="8478"/>
                            <a:pt x="1400" y="7939"/>
                          </a:cubicBezTo>
                          <a:cubicBezTo>
                            <a:pt x="1580" y="7461"/>
                            <a:pt x="1759" y="6923"/>
                            <a:pt x="1999" y="6444"/>
                          </a:cubicBezTo>
                          <a:cubicBezTo>
                            <a:pt x="2238" y="5966"/>
                            <a:pt x="2537" y="5487"/>
                            <a:pt x="2836" y="5069"/>
                          </a:cubicBezTo>
                          <a:cubicBezTo>
                            <a:pt x="3135" y="4650"/>
                            <a:pt x="3494" y="4231"/>
                            <a:pt x="3912" y="3813"/>
                          </a:cubicBezTo>
                          <a:cubicBezTo>
                            <a:pt x="4331" y="3394"/>
                            <a:pt x="4749" y="3035"/>
                            <a:pt x="5168" y="2736"/>
                          </a:cubicBezTo>
                          <a:cubicBezTo>
                            <a:pt x="5587" y="2437"/>
                            <a:pt x="6065" y="2138"/>
                            <a:pt x="6484" y="1899"/>
                          </a:cubicBezTo>
                          <a:cubicBezTo>
                            <a:pt x="6903" y="1659"/>
                            <a:pt x="7381" y="1480"/>
                            <a:pt x="7860" y="1360"/>
                          </a:cubicBezTo>
                          <a:cubicBezTo>
                            <a:pt x="8338" y="1241"/>
                            <a:pt x="8816" y="1121"/>
                            <a:pt x="9295" y="1121"/>
                          </a:cubicBezTo>
                          <a:cubicBezTo>
                            <a:pt x="9714" y="1062"/>
                            <a:pt x="10072" y="1062"/>
                            <a:pt x="10431" y="1121"/>
                          </a:cubicBezTo>
                          <a:cubicBezTo>
                            <a:pt x="10790" y="1121"/>
                            <a:pt x="11149" y="1241"/>
                            <a:pt x="11508" y="1301"/>
                          </a:cubicBezTo>
                          <a:cubicBezTo>
                            <a:pt x="11867" y="1420"/>
                            <a:pt x="12166" y="1540"/>
                            <a:pt x="12465" y="1659"/>
                          </a:cubicBezTo>
                          <a:cubicBezTo>
                            <a:pt x="12824" y="1719"/>
                            <a:pt x="13123" y="1899"/>
                            <a:pt x="13362" y="2138"/>
                          </a:cubicBezTo>
                          <a:moveTo>
                            <a:pt x="2357" y="16133"/>
                          </a:moveTo>
                          <a:cubicBezTo>
                            <a:pt x="2656" y="16372"/>
                            <a:pt x="3015" y="16611"/>
                            <a:pt x="3374" y="16791"/>
                          </a:cubicBezTo>
                          <a:cubicBezTo>
                            <a:pt x="3733" y="16970"/>
                            <a:pt x="4092" y="17090"/>
                            <a:pt x="4510" y="17210"/>
                          </a:cubicBezTo>
                          <a:cubicBezTo>
                            <a:pt x="4929" y="17329"/>
                            <a:pt x="5288" y="17389"/>
                            <a:pt x="5707" y="17449"/>
                          </a:cubicBezTo>
                          <a:cubicBezTo>
                            <a:pt x="6125" y="17509"/>
                            <a:pt x="6544" y="17509"/>
                            <a:pt x="7022" y="17449"/>
                          </a:cubicBezTo>
                          <a:cubicBezTo>
                            <a:pt x="7561" y="17389"/>
                            <a:pt x="8099" y="17269"/>
                            <a:pt x="8637" y="17150"/>
                          </a:cubicBezTo>
                          <a:cubicBezTo>
                            <a:pt x="9175" y="16970"/>
                            <a:pt x="9714" y="16791"/>
                            <a:pt x="10192" y="16492"/>
                          </a:cubicBezTo>
                          <a:cubicBezTo>
                            <a:pt x="10730" y="16252"/>
                            <a:pt x="11209" y="15894"/>
                            <a:pt x="11687" y="15595"/>
                          </a:cubicBezTo>
                          <a:cubicBezTo>
                            <a:pt x="12166" y="15236"/>
                            <a:pt x="12644" y="14817"/>
                            <a:pt x="13063" y="14398"/>
                          </a:cubicBezTo>
                          <a:cubicBezTo>
                            <a:pt x="13481" y="13980"/>
                            <a:pt x="13900" y="13502"/>
                            <a:pt x="14259" y="12963"/>
                          </a:cubicBezTo>
                          <a:cubicBezTo>
                            <a:pt x="14618" y="12425"/>
                            <a:pt x="14917" y="11946"/>
                            <a:pt x="15216" y="11408"/>
                          </a:cubicBezTo>
                          <a:cubicBezTo>
                            <a:pt x="15515" y="10870"/>
                            <a:pt x="15694" y="10332"/>
                            <a:pt x="15874" y="9734"/>
                          </a:cubicBezTo>
                          <a:cubicBezTo>
                            <a:pt x="16053" y="9135"/>
                            <a:pt x="16173" y="8597"/>
                            <a:pt x="16292" y="7999"/>
                          </a:cubicBezTo>
                          <a:cubicBezTo>
                            <a:pt x="16352" y="7401"/>
                            <a:pt x="16412" y="6863"/>
                            <a:pt x="16412" y="6325"/>
                          </a:cubicBezTo>
                          <a:cubicBezTo>
                            <a:pt x="16412" y="5786"/>
                            <a:pt x="16292" y="5248"/>
                            <a:pt x="16173" y="4770"/>
                          </a:cubicBezTo>
                          <a:cubicBezTo>
                            <a:pt x="16053" y="4291"/>
                            <a:pt x="15874" y="3813"/>
                            <a:pt x="15634" y="3334"/>
                          </a:cubicBezTo>
                          <a:cubicBezTo>
                            <a:pt x="15395" y="2916"/>
                            <a:pt x="15156" y="2497"/>
                            <a:pt x="14797" y="2078"/>
                          </a:cubicBezTo>
                          <a:cubicBezTo>
                            <a:pt x="14738" y="2018"/>
                            <a:pt x="14678" y="1959"/>
                            <a:pt x="14618" y="1899"/>
                          </a:cubicBezTo>
                          <a:cubicBezTo>
                            <a:pt x="14558" y="1839"/>
                            <a:pt x="14498" y="1779"/>
                            <a:pt x="14438" y="1719"/>
                          </a:cubicBezTo>
                          <a:cubicBezTo>
                            <a:pt x="14379" y="1659"/>
                            <a:pt x="14319" y="1600"/>
                            <a:pt x="14259" y="1540"/>
                          </a:cubicBezTo>
                          <a:cubicBezTo>
                            <a:pt x="14199" y="1480"/>
                            <a:pt x="14139" y="1420"/>
                            <a:pt x="14079" y="1360"/>
                          </a:cubicBezTo>
                          <a:cubicBezTo>
                            <a:pt x="13780" y="1121"/>
                            <a:pt x="13422" y="882"/>
                            <a:pt x="13063" y="703"/>
                          </a:cubicBezTo>
                          <a:cubicBezTo>
                            <a:pt x="12704" y="523"/>
                            <a:pt x="12345" y="404"/>
                            <a:pt x="11926" y="284"/>
                          </a:cubicBezTo>
                          <a:cubicBezTo>
                            <a:pt x="11568" y="164"/>
                            <a:pt x="11149" y="105"/>
                            <a:pt x="10730" y="45"/>
                          </a:cubicBezTo>
                          <a:cubicBezTo>
                            <a:pt x="10311" y="-15"/>
                            <a:pt x="9893" y="-15"/>
                            <a:pt x="9474" y="45"/>
                          </a:cubicBezTo>
                          <a:cubicBezTo>
                            <a:pt x="8936" y="105"/>
                            <a:pt x="8398" y="164"/>
                            <a:pt x="7860" y="344"/>
                          </a:cubicBezTo>
                          <a:cubicBezTo>
                            <a:pt x="7321" y="523"/>
                            <a:pt x="6783" y="703"/>
                            <a:pt x="6245" y="942"/>
                          </a:cubicBezTo>
                          <a:cubicBezTo>
                            <a:pt x="5707" y="1181"/>
                            <a:pt x="5228" y="1540"/>
                            <a:pt x="4749" y="1839"/>
                          </a:cubicBezTo>
                          <a:cubicBezTo>
                            <a:pt x="4271" y="2198"/>
                            <a:pt x="3793" y="2617"/>
                            <a:pt x="3374" y="3035"/>
                          </a:cubicBezTo>
                          <a:cubicBezTo>
                            <a:pt x="2955" y="3513"/>
                            <a:pt x="2537" y="3992"/>
                            <a:pt x="2178" y="4471"/>
                          </a:cubicBezTo>
                          <a:cubicBezTo>
                            <a:pt x="1819" y="4949"/>
                            <a:pt x="1520" y="5487"/>
                            <a:pt x="1221" y="6026"/>
                          </a:cubicBezTo>
                          <a:cubicBezTo>
                            <a:pt x="922" y="6564"/>
                            <a:pt x="742" y="7102"/>
                            <a:pt x="503" y="7700"/>
                          </a:cubicBezTo>
                          <a:cubicBezTo>
                            <a:pt x="264" y="8298"/>
                            <a:pt x="204" y="8836"/>
                            <a:pt x="85" y="9435"/>
                          </a:cubicBezTo>
                          <a:cubicBezTo>
                            <a:pt x="25" y="10033"/>
                            <a:pt x="-35" y="10571"/>
                            <a:pt x="25" y="11109"/>
                          </a:cubicBezTo>
                          <a:cubicBezTo>
                            <a:pt x="25" y="11648"/>
                            <a:pt x="145" y="12186"/>
                            <a:pt x="264" y="12664"/>
                          </a:cubicBezTo>
                          <a:cubicBezTo>
                            <a:pt x="384" y="13143"/>
                            <a:pt x="563" y="13621"/>
                            <a:pt x="802" y="14099"/>
                          </a:cubicBezTo>
                          <a:cubicBezTo>
                            <a:pt x="1041" y="14578"/>
                            <a:pt x="1281" y="14937"/>
                            <a:pt x="1640" y="15356"/>
                          </a:cubicBezTo>
                          <a:cubicBezTo>
                            <a:pt x="1700" y="15415"/>
                            <a:pt x="1759" y="15475"/>
                            <a:pt x="1819" y="15535"/>
                          </a:cubicBezTo>
                          <a:cubicBezTo>
                            <a:pt x="1879" y="15595"/>
                            <a:pt x="1939" y="15654"/>
                            <a:pt x="1999" y="15714"/>
                          </a:cubicBezTo>
                          <a:cubicBezTo>
                            <a:pt x="2058" y="15774"/>
                            <a:pt x="2118" y="15834"/>
                            <a:pt x="2178" y="15894"/>
                          </a:cubicBezTo>
                          <a:cubicBezTo>
                            <a:pt x="2238" y="16013"/>
                            <a:pt x="2298" y="16073"/>
                            <a:pt x="2357" y="16133"/>
                          </a:cubicBezTo>
                        </a:path>
                      </a:pathLst>
                    </a:custGeom>
                    <a:noFill/>
                    <a:ln w="6350" cap="flat">
                      <a:solidFill>
                        <a:schemeClr val="bg1">
                          <a:alpha val="80000"/>
                        </a:schemeClr>
                      </a:solidFill>
                      <a:prstDash val="solid"/>
                      <a:miter/>
                    </a:ln>
                  </p:spPr>
                  <p:txBody>
                    <a:bodyPr rtlCol="0" anchor="ctr"/>
                    <a:lstStyle/>
                    <a:p>
                      <a:endParaRPr lang="en-GB"/>
                    </a:p>
                  </p:txBody>
                </p:sp>
                <p:sp>
                  <p:nvSpPr>
                    <p:cNvPr id="7521" name="Vrije vorm: vorm 7520">
                      <a:extLst>
                        <a:ext uri="{FF2B5EF4-FFF2-40B4-BE49-F238E27FC236}">
                          <a16:creationId xmlns:a16="http://schemas.microsoft.com/office/drawing/2014/main" id="{28F9DACA-8219-424D-BE30-6E8D7E1DA2F1}"/>
                        </a:ext>
                      </a:extLst>
                    </p:cNvPr>
                    <p:cNvSpPr/>
                    <p:nvPr/>
                  </p:nvSpPr>
                  <p:spPr>
                    <a:xfrm>
                      <a:off x="5213295" y="5211820"/>
                      <a:ext cx="10526" cy="11183"/>
                    </a:xfrm>
                    <a:custGeom>
                      <a:avLst/>
                      <a:gdLst>
                        <a:gd name="connsiteX0" fmla="*/ 8433 w 10526"/>
                        <a:gd name="connsiteY0" fmla="*/ 1615 h 11183"/>
                        <a:gd name="connsiteX1" fmla="*/ 8552 w 10526"/>
                        <a:gd name="connsiteY1" fmla="*/ 1735 h 11183"/>
                        <a:gd name="connsiteX2" fmla="*/ 8672 w 10526"/>
                        <a:gd name="connsiteY2" fmla="*/ 1854 h 11183"/>
                        <a:gd name="connsiteX3" fmla="*/ 8792 w 10526"/>
                        <a:gd name="connsiteY3" fmla="*/ 1974 h 11183"/>
                        <a:gd name="connsiteX4" fmla="*/ 8911 w 10526"/>
                        <a:gd name="connsiteY4" fmla="*/ 2093 h 11183"/>
                        <a:gd name="connsiteX5" fmla="*/ 9330 w 10526"/>
                        <a:gd name="connsiteY5" fmla="*/ 2751 h 11183"/>
                        <a:gd name="connsiteX6" fmla="*/ 9629 w 10526"/>
                        <a:gd name="connsiteY6" fmla="*/ 3529 h 11183"/>
                        <a:gd name="connsiteX7" fmla="*/ 9749 w 10526"/>
                        <a:gd name="connsiteY7" fmla="*/ 4366 h 11183"/>
                        <a:gd name="connsiteX8" fmla="*/ 9689 w 10526"/>
                        <a:gd name="connsiteY8" fmla="*/ 5263 h 11183"/>
                        <a:gd name="connsiteX9" fmla="*/ 9450 w 10526"/>
                        <a:gd name="connsiteY9" fmla="*/ 6160 h 11183"/>
                        <a:gd name="connsiteX10" fmla="*/ 9091 w 10526"/>
                        <a:gd name="connsiteY10" fmla="*/ 7057 h 11183"/>
                        <a:gd name="connsiteX11" fmla="*/ 8612 w 10526"/>
                        <a:gd name="connsiteY11" fmla="*/ 7895 h 11183"/>
                        <a:gd name="connsiteX12" fmla="*/ 7954 w 10526"/>
                        <a:gd name="connsiteY12" fmla="*/ 8612 h 11183"/>
                        <a:gd name="connsiteX13" fmla="*/ 7177 w 10526"/>
                        <a:gd name="connsiteY13" fmla="*/ 9270 h 11183"/>
                        <a:gd name="connsiteX14" fmla="*/ 6399 w 10526"/>
                        <a:gd name="connsiteY14" fmla="*/ 9749 h 11183"/>
                        <a:gd name="connsiteX15" fmla="*/ 5562 w 10526"/>
                        <a:gd name="connsiteY15" fmla="*/ 10107 h 11183"/>
                        <a:gd name="connsiteX16" fmla="*/ 4725 w 10526"/>
                        <a:gd name="connsiteY16" fmla="*/ 10287 h 11183"/>
                        <a:gd name="connsiteX17" fmla="*/ 4067 w 10526"/>
                        <a:gd name="connsiteY17" fmla="*/ 10287 h 11183"/>
                        <a:gd name="connsiteX18" fmla="*/ 3409 w 10526"/>
                        <a:gd name="connsiteY18" fmla="*/ 10167 h 11183"/>
                        <a:gd name="connsiteX19" fmla="*/ 2811 w 10526"/>
                        <a:gd name="connsiteY19" fmla="*/ 9928 h 11183"/>
                        <a:gd name="connsiteX20" fmla="*/ 2273 w 10526"/>
                        <a:gd name="connsiteY20" fmla="*/ 9569 h 11183"/>
                        <a:gd name="connsiteX21" fmla="*/ 1854 w 10526"/>
                        <a:gd name="connsiteY21" fmla="*/ 9151 h 11183"/>
                        <a:gd name="connsiteX22" fmla="*/ 1435 w 10526"/>
                        <a:gd name="connsiteY22" fmla="*/ 8493 h 11183"/>
                        <a:gd name="connsiteX23" fmla="*/ 1136 w 10526"/>
                        <a:gd name="connsiteY23" fmla="*/ 7715 h 11183"/>
                        <a:gd name="connsiteX24" fmla="*/ 1017 w 10526"/>
                        <a:gd name="connsiteY24" fmla="*/ 6878 h 11183"/>
                        <a:gd name="connsiteX25" fmla="*/ 1076 w 10526"/>
                        <a:gd name="connsiteY25" fmla="*/ 5981 h 11183"/>
                        <a:gd name="connsiteX26" fmla="*/ 1316 w 10526"/>
                        <a:gd name="connsiteY26" fmla="*/ 5084 h 11183"/>
                        <a:gd name="connsiteX27" fmla="*/ 1675 w 10526"/>
                        <a:gd name="connsiteY27" fmla="*/ 4187 h 11183"/>
                        <a:gd name="connsiteX28" fmla="*/ 2153 w 10526"/>
                        <a:gd name="connsiteY28" fmla="*/ 3349 h 11183"/>
                        <a:gd name="connsiteX29" fmla="*/ 2811 w 10526"/>
                        <a:gd name="connsiteY29" fmla="*/ 2572 h 11183"/>
                        <a:gd name="connsiteX30" fmla="*/ 3529 w 10526"/>
                        <a:gd name="connsiteY30" fmla="*/ 1914 h 11183"/>
                        <a:gd name="connsiteX31" fmla="*/ 4306 w 10526"/>
                        <a:gd name="connsiteY31" fmla="*/ 1436 h 11183"/>
                        <a:gd name="connsiteX32" fmla="*/ 5144 w 10526"/>
                        <a:gd name="connsiteY32" fmla="*/ 1076 h 11183"/>
                        <a:gd name="connsiteX33" fmla="*/ 5981 w 10526"/>
                        <a:gd name="connsiteY33" fmla="*/ 897 h 11183"/>
                        <a:gd name="connsiteX34" fmla="*/ 6639 w 10526"/>
                        <a:gd name="connsiteY34" fmla="*/ 897 h 11183"/>
                        <a:gd name="connsiteX35" fmla="*/ 7297 w 10526"/>
                        <a:gd name="connsiteY35" fmla="*/ 1017 h 11183"/>
                        <a:gd name="connsiteX36" fmla="*/ 7895 w 10526"/>
                        <a:gd name="connsiteY36" fmla="*/ 1256 h 11183"/>
                        <a:gd name="connsiteX37" fmla="*/ 8433 w 10526"/>
                        <a:gd name="connsiteY37" fmla="*/ 1615 h 11183"/>
                        <a:gd name="connsiteX38" fmla="*/ 1495 w 10526"/>
                        <a:gd name="connsiteY38" fmla="*/ 10347 h 11183"/>
                        <a:gd name="connsiteX39" fmla="*/ 2153 w 10526"/>
                        <a:gd name="connsiteY39" fmla="*/ 10766 h 11183"/>
                        <a:gd name="connsiteX40" fmla="*/ 2871 w 10526"/>
                        <a:gd name="connsiteY40" fmla="*/ 11065 h 11183"/>
                        <a:gd name="connsiteX41" fmla="*/ 3649 w 10526"/>
                        <a:gd name="connsiteY41" fmla="*/ 11184 h 11183"/>
                        <a:gd name="connsiteX42" fmla="*/ 4486 w 10526"/>
                        <a:gd name="connsiteY42" fmla="*/ 11184 h 11183"/>
                        <a:gd name="connsiteX43" fmla="*/ 5562 w 10526"/>
                        <a:gd name="connsiteY43" fmla="*/ 11005 h 11183"/>
                        <a:gd name="connsiteX44" fmla="*/ 6579 w 10526"/>
                        <a:gd name="connsiteY44" fmla="*/ 10586 h 11183"/>
                        <a:gd name="connsiteX45" fmla="*/ 7536 w 10526"/>
                        <a:gd name="connsiteY45" fmla="*/ 9988 h 11183"/>
                        <a:gd name="connsiteX46" fmla="*/ 8433 w 10526"/>
                        <a:gd name="connsiteY46" fmla="*/ 9211 h 11183"/>
                        <a:gd name="connsiteX47" fmla="*/ 9211 w 10526"/>
                        <a:gd name="connsiteY47" fmla="*/ 8313 h 11183"/>
                        <a:gd name="connsiteX48" fmla="*/ 9808 w 10526"/>
                        <a:gd name="connsiteY48" fmla="*/ 7297 h 11183"/>
                        <a:gd name="connsiteX49" fmla="*/ 10227 w 10526"/>
                        <a:gd name="connsiteY49" fmla="*/ 6220 h 11183"/>
                        <a:gd name="connsiteX50" fmla="*/ 10466 w 10526"/>
                        <a:gd name="connsiteY50" fmla="*/ 5084 h 11183"/>
                        <a:gd name="connsiteX51" fmla="*/ 10526 w 10526"/>
                        <a:gd name="connsiteY51" fmla="*/ 4007 h 11183"/>
                        <a:gd name="connsiteX52" fmla="*/ 10406 w 10526"/>
                        <a:gd name="connsiteY52" fmla="*/ 2990 h 11183"/>
                        <a:gd name="connsiteX53" fmla="*/ 10048 w 10526"/>
                        <a:gd name="connsiteY53" fmla="*/ 2093 h 11183"/>
                        <a:gd name="connsiteX54" fmla="*/ 9510 w 10526"/>
                        <a:gd name="connsiteY54" fmla="*/ 1316 h 11183"/>
                        <a:gd name="connsiteX55" fmla="*/ 9031 w 10526"/>
                        <a:gd name="connsiteY55" fmla="*/ 837 h 11183"/>
                        <a:gd name="connsiteX56" fmla="*/ 8373 w 10526"/>
                        <a:gd name="connsiteY56" fmla="*/ 419 h 11183"/>
                        <a:gd name="connsiteX57" fmla="*/ 7656 w 10526"/>
                        <a:gd name="connsiteY57" fmla="*/ 120 h 11183"/>
                        <a:gd name="connsiteX58" fmla="*/ 6878 w 10526"/>
                        <a:gd name="connsiteY58" fmla="*/ 0 h 11183"/>
                        <a:gd name="connsiteX59" fmla="*/ 6041 w 10526"/>
                        <a:gd name="connsiteY59" fmla="*/ 0 h 11183"/>
                        <a:gd name="connsiteX60" fmla="*/ 4964 w 10526"/>
                        <a:gd name="connsiteY60" fmla="*/ 180 h 11183"/>
                        <a:gd name="connsiteX61" fmla="*/ 3947 w 10526"/>
                        <a:gd name="connsiteY61" fmla="*/ 598 h 11183"/>
                        <a:gd name="connsiteX62" fmla="*/ 2990 w 10526"/>
                        <a:gd name="connsiteY62" fmla="*/ 1196 h 11183"/>
                        <a:gd name="connsiteX63" fmla="*/ 2093 w 10526"/>
                        <a:gd name="connsiteY63" fmla="*/ 1974 h 11183"/>
                        <a:gd name="connsiteX64" fmla="*/ 1316 w 10526"/>
                        <a:gd name="connsiteY64" fmla="*/ 2871 h 11183"/>
                        <a:gd name="connsiteX65" fmla="*/ 718 w 10526"/>
                        <a:gd name="connsiteY65" fmla="*/ 3888 h 11183"/>
                        <a:gd name="connsiteX66" fmla="*/ 299 w 10526"/>
                        <a:gd name="connsiteY66" fmla="*/ 4964 h 11183"/>
                        <a:gd name="connsiteX67" fmla="*/ 60 w 10526"/>
                        <a:gd name="connsiteY67" fmla="*/ 6100 h 11183"/>
                        <a:gd name="connsiteX68" fmla="*/ 0 w 10526"/>
                        <a:gd name="connsiteY68" fmla="*/ 7177 h 11183"/>
                        <a:gd name="connsiteX69" fmla="*/ 120 w 10526"/>
                        <a:gd name="connsiteY69" fmla="*/ 8194 h 11183"/>
                        <a:gd name="connsiteX70" fmla="*/ 479 w 10526"/>
                        <a:gd name="connsiteY70" fmla="*/ 9091 h 11183"/>
                        <a:gd name="connsiteX71" fmla="*/ 1017 w 10526"/>
                        <a:gd name="connsiteY71" fmla="*/ 9868 h 11183"/>
                        <a:gd name="connsiteX72" fmla="*/ 1136 w 10526"/>
                        <a:gd name="connsiteY72" fmla="*/ 9988 h 11183"/>
                        <a:gd name="connsiteX73" fmla="*/ 1256 w 10526"/>
                        <a:gd name="connsiteY73" fmla="*/ 10107 h 11183"/>
                        <a:gd name="connsiteX74" fmla="*/ 1376 w 10526"/>
                        <a:gd name="connsiteY74" fmla="*/ 10227 h 11183"/>
                        <a:gd name="connsiteX75" fmla="*/ 1495 w 10526"/>
                        <a:gd name="connsiteY75" fmla="*/ 10347 h 1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526" h="11183">
                          <a:moveTo>
                            <a:pt x="8433" y="1615"/>
                          </a:moveTo>
                          <a:cubicBezTo>
                            <a:pt x="8493" y="1615"/>
                            <a:pt x="8493" y="1675"/>
                            <a:pt x="8552" y="1735"/>
                          </a:cubicBezTo>
                          <a:cubicBezTo>
                            <a:pt x="8612" y="1795"/>
                            <a:pt x="8612" y="1795"/>
                            <a:pt x="8672" y="1854"/>
                          </a:cubicBezTo>
                          <a:cubicBezTo>
                            <a:pt x="8732" y="1914"/>
                            <a:pt x="8732" y="1914"/>
                            <a:pt x="8792" y="1974"/>
                          </a:cubicBezTo>
                          <a:cubicBezTo>
                            <a:pt x="8852" y="2034"/>
                            <a:pt x="8852" y="2034"/>
                            <a:pt x="8911" y="2093"/>
                          </a:cubicBezTo>
                          <a:cubicBezTo>
                            <a:pt x="9091" y="2273"/>
                            <a:pt x="9211" y="2512"/>
                            <a:pt x="9330" y="2751"/>
                          </a:cubicBezTo>
                          <a:cubicBezTo>
                            <a:pt x="9450" y="2990"/>
                            <a:pt x="9569" y="3230"/>
                            <a:pt x="9629" y="3529"/>
                          </a:cubicBezTo>
                          <a:cubicBezTo>
                            <a:pt x="9689" y="3768"/>
                            <a:pt x="9749" y="4067"/>
                            <a:pt x="9749" y="4366"/>
                          </a:cubicBezTo>
                          <a:cubicBezTo>
                            <a:pt x="9749" y="4665"/>
                            <a:pt x="9749" y="4964"/>
                            <a:pt x="9689" y="5263"/>
                          </a:cubicBezTo>
                          <a:cubicBezTo>
                            <a:pt x="9629" y="5562"/>
                            <a:pt x="9569" y="5861"/>
                            <a:pt x="9450" y="6160"/>
                          </a:cubicBezTo>
                          <a:cubicBezTo>
                            <a:pt x="9330" y="6459"/>
                            <a:pt x="9211" y="6758"/>
                            <a:pt x="9091" y="7057"/>
                          </a:cubicBezTo>
                          <a:cubicBezTo>
                            <a:pt x="8971" y="7357"/>
                            <a:pt x="8792" y="7596"/>
                            <a:pt x="8612" y="7895"/>
                          </a:cubicBezTo>
                          <a:cubicBezTo>
                            <a:pt x="8433" y="8134"/>
                            <a:pt x="8194" y="8433"/>
                            <a:pt x="7954" y="8612"/>
                          </a:cubicBezTo>
                          <a:cubicBezTo>
                            <a:pt x="7715" y="8852"/>
                            <a:pt x="7476" y="9091"/>
                            <a:pt x="7177" y="9270"/>
                          </a:cubicBezTo>
                          <a:cubicBezTo>
                            <a:pt x="6938" y="9450"/>
                            <a:pt x="6639" y="9629"/>
                            <a:pt x="6399" y="9749"/>
                          </a:cubicBezTo>
                          <a:cubicBezTo>
                            <a:pt x="6160" y="9868"/>
                            <a:pt x="5861" y="9988"/>
                            <a:pt x="5562" y="10107"/>
                          </a:cubicBezTo>
                          <a:cubicBezTo>
                            <a:pt x="5263" y="10167"/>
                            <a:pt x="4964" y="10227"/>
                            <a:pt x="4725" y="10287"/>
                          </a:cubicBezTo>
                          <a:cubicBezTo>
                            <a:pt x="4486" y="10287"/>
                            <a:pt x="4246" y="10287"/>
                            <a:pt x="4067" y="10287"/>
                          </a:cubicBezTo>
                          <a:cubicBezTo>
                            <a:pt x="3828" y="10287"/>
                            <a:pt x="3649" y="10227"/>
                            <a:pt x="3409" y="10167"/>
                          </a:cubicBezTo>
                          <a:cubicBezTo>
                            <a:pt x="3230" y="10107"/>
                            <a:pt x="2990" y="10048"/>
                            <a:pt x="2811" y="9928"/>
                          </a:cubicBezTo>
                          <a:cubicBezTo>
                            <a:pt x="2632" y="9808"/>
                            <a:pt x="2452" y="9749"/>
                            <a:pt x="2273" y="9569"/>
                          </a:cubicBezTo>
                          <a:lnTo>
                            <a:pt x="1854" y="9151"/>
                          </a:lnTo>
                          <a:cubicBezTo>
                            <a:pt x="1675" y="8971"/>
                            <a:pt x="1555" y="8732"/>
                            <a:pt x="1435" y="8493"/>
                          </a:cubicBezTo>
                          <a:cubicBezTo>
                            <a:pt x="1316" y="8253"/>
                            <a:pt x="1196" y="8014"/>
                            <a:pt x="1136" y="7715"/>
                          </a:cubicBezTo>
                          <a:cubicBezTo>
                            <a:pt x="1076" y="7476"/>
                            <a:pt x="1017" y="7177"/>
                            <a:pt x="1017" y="6878"/>
                          </a:cubicBezTo>
                          <a:cubicBezTo>
                            <a:pt x="1017" y="6579"/>
                            <a:pt x="1017" y="6280"/>
                            <a:pt x="1076" y="5981"/>
                          </a:cubicBezTo>
                          <a:cubicBezTo>
                            <a:pt x="1136" y="5682"/>
                            <a:pt x="1196" y="5383"/>
                            <a:pt x="1316" y="5084"/>
                          </a:cubicBezTo>
                          <a:cubicBezTo>
                            <a:pt x="1435" y="4785"/>
                            <a:pt x="1555" y="4486"/>
                            <a:pt x="1675" y="4187"/>
                          </a:cubicBezTo>
                          <a:cubicBezTo>
                            <a:pt x="1795" y="3888"/>
                            <a:pt x="1974" y="3649"/>
                            <a:pt x="2153" y="3349"/>
                          </a:cubicBezTo>
                          <a:cubicBezTo>
                            <a:pt x="2333" y="3110"/>
                            <a:pt x="2572" y="2811"/>
                            <a:pt x="2811" y="2572"/>
                          </a:cubicBezTo>
                          <a:cubicBezTo>
                            <a:pt x="3050" y="2333"/>
                            <a:pt x="3290" y="2153"/>
                            <a:pt x="3529" y="1914"/>
                          </a:cubicBezTo>
                          <a:cubicBezTo>
                            <a:pt x="3768" y="1675"/>
                            <a:pt x="4067" y="1555"/>
                            <a:pt x="4306" y="1436"/>
                          </a:cubicBezTo>
                          <a:cubicBezTo>
                            <a:pt x="4605" y="1316"/>
                            <a:pt x="4844" y="1196"/>
                            <a:pt x="5144" y="1076"/>
                          </a:cubicBezTo>
                          <a:cubicBezTo>
                            <a:pt x="5443" y="1017"/>
                            <a:pt x="5742" y="957"/>
                            <a:pt x="5981" y="897"/>
                          </a:cubicBezTo>
                          <a:cubicBezTo>
                            <a:pt x="6220" y="897"/>
                            <a:pt x="6459" y="897"/>
                            <a:pt x="6639" y="897"/>
                          </a:cubicBezTo>
                          <a:cubicBezTo>
                            <a:pt x="6818" y="897"/>
                            <a:pt x="7057" y="957"/>
                            <a:pt x="7297" y="1017"/>
                          </a:cubicBezTo>
                          <a:cubicBezTo>
                            <a:pt x="7476" y="1076"/>
                            <a:pt x="7715" y="1136"/>
                            <a:pt x="7895" y="1256"/>
                          </a:cubicBezTo>
                          <a:cubicBezTo>
                            <a:pt x="8074" y="1376"/>
                            <a:pt x="8253" y="1495"/>
                            <a:pt x="8433" y="1615"/>
                          </a:cubicBezTo>
                          <a:moveTo>
                            <a:pt x="1495" y="10347"/>
                          </a:moveTo>
                          <a:cubicBezTo>
                            <a:pt x="1675" y="10526"/>
                            <a:pt x="1914" y="10646"/>
                            <a:pt x="2153" y="10766"/>
                          </a:cubicBezTo>
                          <a:cubicBezTo>
                            <a:pt x="2392" y="10885"/>
                            <a:pt x="2632" y="11005"/>
                            <a:pt x="2871" y="11065"/>
                          </a:cubicBezTo>
                          <a:cubicBezTo>
                            <a:pt x="3110" y="11124"/>
                            <a:pt x="3409" y="11184"/>
                            <a:pt x="3649" y="11184"/>
                          </a:cubicBezTo>
                          <a:cubicBezTo>
                            <a:pt x="3947" y="11184"/>
                            <a:pt x="4187" y="11184"/>
                            <a:pt x="4486" y="11184"/>
                          </a:cubicBezTo>
                          <a:cubicBezTo>
                            <a:pt x="4844" y="11124"/>
                            <a:pt x="5203" y="11065"/>
                            <a:pt x="5562" y="11005"/>
                          </a:cubicBezTo>
                          <a:cubicBezTo>
                            <a:pt x="5921" y="10885"/>
                            <a:pt x="6280" y="10766"/>
                            <a:pt x="6579" y="10586"/>
                          </a:cubicBezTo>
                          <a:cubicBezTo>
                            <a:pt x="6878" y="10407"/>
                            <a:pt x="7237" y="10227"/>
                            <a:pt x="7536" y="9988"/>
                          </a:cubicBezTo>
                          <a:cubicBezTo>
                            <a:pt x="7835" y="9749"/>
                            <a:pt x="8134" y="9510"/>
                            <a:pt x="8433" y="9211"/>
                          </a:cubicBezTo>
                          <a:cubicBezTo>
                            <a:pt x="8732" y="8912"/>
                            <a:pt x="8971" y="8612"/>
                            <a:pt x="9211" y="8313"/>
                          </a:cubicBezTo>
                          <a:cubicBezTo>
                            <a:pt x="9450" y="8014"/>
                            <a:pt x="9629" y="7655"/>
                            <a:pt x="9808" y="7297"/>
                          </a:cubicBezTo>
                          <a:cubicBezTo>
                            <a:pt x="9988" y="6938"/>
                            <a:pt x="10107" y="6579"/>
                            <a:pt x="10227" y="6220"/>
                          </a:cubicBezTo>
                          <a:cubicBezTo>
                            <a:pt x="10347" y="5861"/>
                            <a:pt x="10406" y="5503"/>
                            <a:pt x="10466" y="5084"/>
                          </a:cubicBezTo>
                          <a:cubicBezTo>
                            <a:pt x="10526" y="4725"/>
                            <a:pt x="10526" y="4366"/>
                            <a:pt x="10526" y="4007"/>
                          </a:cubicBezTo>
                          <a:cubicBezTo>
                            <a:pt x="10526" y="3649"/>
                            <a:pt x="10466" y="3290"/>
                            <a:pt x="10406" y="2990"/>
                          </a:cubicBezTo>
                          <a:cubicBezTo>
                            <a:pt x="10347" y="2691"/>
                            <a:pt x="10227" y="2333"/>
                            <a:pt x="10048" y="2093"/>
                          </a:cubicBezTo>
                          <a:cubicBezTo>
                            <a:pt x="9868" y="1854"/>
                            <a:pt x="9749" y="1555"/>
                            <a:pt x="9510" y="1316"/>
                          </a:cubicBezTo>
                          <a:lnTo>
                            <a:pt x="9031" y="837"/>
                          </a:lnTo>
                          <a:cubicBezTo>
                            <a:pt x="8852" y="658"/>
                            <a:pt x="8612" y="538"/>
                            <a:pt x="8373" y="419"/>
                          </a:cubicBezTo>
                          <a:cubicBezTo>
                            <a:pt x="8134" y="299"/>
                            <a:pt x="7895" y="180"/>
                            <a:pt x="7656" y="120"/>
                          </a:cubicBezTo>
                          <a:cubicBezTo>
                            <a:pt x="7416" y="60"/>
                            <a:pt x="7117" y="0"/>
                            <a:pt x="6878" y="0"/>
                          </a:cubicBezTo>
                          <a:cubicBezTo>
                            <a:pt x="6579" y="0"/>
                            <a:pt x="6340" y="0"/>
                            <a:pt x="6041" y="0"/>
                          </a:cubicBezTo>
                          <a:cubicBezTo>
                            <a:pt x="5682" y="60"/>
                            <a:pt x="5323" y="120"/>
                            <a:pt x="4964" y="180"/>
                          </a:cubicBezTo>
                          <a:cubicBezTo>
                            <a:pt x="4605" y="299"/>
                            <a:pt x="4246" y="419"/>
                            <a:pt x="3947" y="598"/>
                          </a:cubicBezTo>
                          <a:cubicBezTo>
                            <a:pt x="3589" y="778"/>
                            <a:pt x="3290" y="957"/>
                            <a:pt x="2990" y="1196"/>
                          </a:cubicBezTo>
                          <a:cubicBezTo>
                            <a:pt x="2691" y="1436"/>
                            <a:pt x="2392" y="1675"/>
                            <a:pt x="2093" y="1974"/>
                          </a:cubicBezTo>
                          <a:cubicBezTo>
                            <a:pt x="1795" y="2273"/>
                            <a:pt x="1555" y="2572"/>
                            <a:pt x="1316" y="2871"/>
                          </a:cubicBezTo>
                          <a:cubicBezTo>
                            <a:pt x="1076" y="3170"/>
                            <a:pt x="897" y="3529"/>
                            <a:pt x="718" y="3888"/>
                          </a:cubicBezTo>
                          <a:cubicBezTo>
                            <a:pt x="538" y="4246"/>
                            <a:pt x="419" y="4605"/>
                            <a:pt x="299" y="4964"/>
                          </a:cubicBezTo>
                          <a:cubicBezTo>
                            <a:pt x="180" y="5323"/>
                            <a:pt x="120" y="5682"/>
                            <a:pt x="60" y="6100"/>
                          </a:cubicBezTo>
                          <a:cubicBezTo>
                            <a:pt x="0" y="6459"/>
                            <a:pt x="0" y="6818"/>
                            <a:pt x="0" y="7177"/>
                          </a:cubicBezTo>
                          <a:cubicBezTo>
                            <a:pt x="0" y="7536"/>
                            <a:pt x="60" y="7895"/>
                            <a:pt x="120" y="8194"/>
                          </a:cubicBezTo>
                          <a:cubicBezTo>
                            <a:pt x="180" y="8493"/>
                            <a:pt x="299" y="8852"/>
                            <a:pt x="479" y="9091"/>
                          </a:cubicBezTo>
                          <a:cubicBezTo>
                            <a:pt x="598" y="9390"/>
                            <a:pt x="778" y="9629"/>
                            <a:pt x="1017" y="9868"/>
                          </a:cubicBezTo>
                          <a:cubicBezTo>
                            <a:pt x="1076" y="9928"/>
                            <a:pt x="1076" y="9928"/>
                            <a:pt x="1136" y="9988"/>
                          </a:cubicBezTo>
                          <a:cubicBezTo>
                            <a:pt x="1196" y="10048"/>
                            <a:pt x="1196" y="10048"/>
                            <a:pt x="1256" y="10107"/>
                          </a:cubicBezTo>
                          <a:cubicBezTo>
                            <a:pt x="1316" y="10167"/>
                            <a:pt x="1316" y="10167"/>
                            <a:pt x="1376" y="10227"/>
                          </a:cubicBezTo>
                          <a:cubicBezTo>
                            <a:pt x="1435" y="10287"/>
                            <a:pt x="1435" y="10287"/>
                            <a:pt x="1495" y="10347"/>
                          </a:cubicBezTo>
                        </a:path>
                      </a:pathLst>
                    </a:custGeom>
                    <a:noFill/>
                    <a:ln w="6350" cap="flat">
                      <a:solidFill>
                        <a:schemeClr val="bg1">
                          <a:alpha val="80000"/>
                        </a:schemeClr>
                      </a:solidFill>
                      <a:prstDash val="solid"/>
                      <a:miter/>
                    </a:ln>
                  </p:spPr>
                  <p:txBody>
                    <a:bodyPr rtlCol="0" anchor="ctr"/>
                    <a:lstStyle/>
                    <a:p>
                      <a:endParaRPr lang="en-GB"/>
                    </a:p>
                  </p:txBody>
                </p:sp>
                <p:sp>
                  <p:nvSpPr>
                    <p:cNvPr id="7522" name="Vrije vorm: vorm 7521">
                      <a:extLst>
                        <a:ext uri="{FF2B5EF4-FFF2-40B4-BE49-F238E27FC236}">
                          <a16:creationId xmlns:a16="http://schemas.microsoft.com/office/drawing/2014/main" id="{0660E193-D0B4-4CA5-8A36-D762072C787D}"/>
                        </a:ext>
                      </a:extLst>
                    </p:cNvPr>
                    <p:cNvSpPr/>
                    <p:nvPr/>
                  </p:nvSpPr>
                  <p:spPr>
                    <a:xfrm>
                      <a:off x="5203666" y="5215349"/>
                      <a:ext cx="5947" cy="6279"/>
                    </a:xfrm>
                    <a:custGeom>
                      <a:avLst/>
                      <a:gdLst>
                        <a:gd name="connsiteX0" fmla="*/ 4306 w 5947"/>
                        <a:gd name="connsiteY0" fmla="*/ 1375 h 6279"/>
                        <a:gd name="connsiteX1" fmla="*/ 4605 w 5947"/>
                        <a:gd name="connsiteY1" fmla="*/ 1674 h 6279"/>
                        <a:gd name="connsiteX2" fmla="*/ 4785 w 5947"/>
                        <a:gd name="connsiteY2" fmla="*/ 2033 h 6279"/>
                        <a:gd name="connsiteX3" fmla="*/ 4904 w 5947"/>
                        <a:gd name="connsiteY3" fmla="*/ 2452 h 6279"/>
                        <a:gd name="connsiteX4" fmla="*/ 4904 w 5947"/>
                        <a:gd name="connsiteY4" fmla="*/ 2930 h 6279"/>
                        <a:gd name="connsiteX5" fmla="*/ 4844 w 5947"/>
                        <a:gd name="connsiteY5" fmla="*/ 3349 h 6279"/>
                        <a:gd name="connsiteX6" fmla="*/ 4665 w 5947"/>
                        <a:gd name="connsiteY6" fmla="*/ 3768 h 6279"/>
                        <a:gd name="connsiteX7" fmla="*/ 4426 w 5947"/>
                        <a:gd name="connsiteY7" fmla="*/ 4127 h 6279"/>
                        <a:gd name="connsiteX8" fmla="*/ 4127 w 5947"/>
                        <a:gd name="connsiteY8" fmla="*/ 4486 h 6279"/>
                        <a:gd name="connsiteX9" fmla="*/ 3828 w 5947"/>
                        <a:gd name="connsiteY9" fmla="*/ 4785 h 6279"/>
                        <a:gd name="connsiteX10" fmla="*/ 3469 w 5947"/>
                        <a:gd name="connsiteY10" fmla="*/ 5024 h 6279"/>
                        <a:gd name="connsiteX11" fmla="*/ 3110 w 5947"/>
                        <a:gd name="connsiteY11" fmla="*/ 5143 h 6279"/>
                        <a:gd name="connsiteX12" fmla="*/ 2691 w 5947"/>
                        <a:gd name="connsiteY12" fmla="*/ 5203 h 6279"/>
                        <a:gd name="connsiteX13" fmla="*/ 2392 w 5947"/>
                        <a:gd name="connsiteY13" fmla="*/ 5203 h 6279"/>
                        <a:gd name="connsiteX14" fmla="*/ 2093 w 5947"/>
                        <a:gd name="connsiteY14" fmla="*/ 5143 h 6279"/>
                        <a:gd name="connsiteX15" fmla="*/ 1854 w 5947"/>
                        <a:gd name="connsiteY15" fmla="*/ 5024 h 6279"/>
                        <a:gd name="connsiteX16" fmla="*/ 1615 w 5947"/>
                        <a:gd name="connsiteY16" fmla="*/ 4844 h 6279"/>
                        <a:gd name="connsiteX17" fmla="*/ 1435 w 5947"/>
                        <a:gd name="connsiteY17" fmla="*/ 4665 h 6279"/>
                        <a:gd name="connsiteX18" fmla="*/ 1256 w 5947"/>
                        <a:gd name="connsiteY18" fmla="*/ 4366 h 6279"/>
                        <a:gd name="connsiteX19" fmla="*/ 1136 w 5947"/>
                        <a:gd name="connsiteY19" fmla="*/ 4007 h 6279"/>
                        <a:gd name="connsiteX20" fmla="*/ 1076 w 5947"/>
                        <a:gd name="connsiteY20" fmla="*/ 3648 h 6279"/>
                        <a:gd name="connsiteX21" fmla="*/ 1076 w 5947"/>
                        <a:gd name="connsiteY21" fmla="*/ 3229 h 6279"/>
                        <a:gd name="connsiteX22" fmla="*/ 1196 w 5947"/>
                        <a:gd name="connsiteY22" fmla="*/ 2811 h 6279"/>
                        <a:gd name="connsiteX23" fmla="*/ 1375 w 5947"/>
                        <a:gd name="connsiteY23" fmla="*/ 2392 h 6279"/>
                        <a:gd name="connsiteX24" fmla="*/ 1615 w 5947"/>
                        <a:gd name="connsiteY24" fmla="*/ 2033 h 6279"/>
                        <a:gd name="connsiteX25" fmla="*/ 1914 w 5947"/>
                        <a:gd name="connsiteY25" fmla="*/ 1674 h 6279"/>
                        <a:gd name="connsiteX26" fmla="*/ 2273 w 5947"/>
                        <a:gd name="connsiteY26" fmla="*/ 1375 h 6279"/>
                        <a:gd name="connsiteX27" fmla="*/ 2632 w 5947"/>
                        <a:gd name="connsiteY27" fmla="*/ 1136 h 6279"/>
                        <a:gd name="connsiteX28" fmla="*/ 2990 w 5947"/>
                        <a:gd name="connsiteY28" fmla="*/ 957 h 6279"/>
                        <a:gd name="connsiteX29" fmla="*/ 3349 w 5947"/>
                        <a:gd name="connsiteY29" fmla="*/ 897 h 6279"/>
                        <a:gd name="connsiteX30" fmla="*/ 3648 w 5947"/>
                        <a:gd name="connsiteY30" fmla="*/ 897 h 6279"/>
                        <a:gd name="connsiteX31" fmla="*/ 3947 w 5947"/>
                        <a:gd name="connsiteY31" fmla="*/ 957 h 6279"/>
                        <a:gd name="connsiteX32" fmla="*/ 4187 w 5947"/>
                        <a:gd name="connsiteY32" fmla="*/ 1076 h 6279"/>
                        <a:gd name="connsiteX33" fmla="*/ 4306 w 5947"/>
                        <a:gd name="connsiteY33" fmla="*/ 1375 h 6279"/>
                        <a:gd name="connsiteX34" fmla="*/ 837 w 5947"/>
                        <a:gd name="connsiteY34" fmla="*/ 5801 h 6279"/>
                        <a:gd name="connsiteX35" fmla="*/ 1196 w 5947"/>
                        <a:gd name="connsiteY35" fmla="*/ 6041 h 6279"/>
                        <a:gd name="connsiteX36" fmla="*/ 1615 w 5947"/>
                        <a:gd name="connsiteY36" fmla="*/ 6220 h 6279"/>
                        <a:gd name="connsiteX37" fmla="*/ 2034 w 5947"/>
                        <a:gd name="connsiteY37" fmla="*/ 6280 h 6279"/>
                        <a:gd name="connsiteX38" fmla="*/ 2512 w 5947"/>
                        <a:gd name="connsiteY38" fmla="*/ 6280 h 6279"/>
                        <a:gd name="connsiteX39" fmla="*/ 3110 w 5947"/>
                        <a:gd name="connsiteY39" fmla="*/ 6160 h 6279"/>
                        <a:gd name="connsiteX40" fmla="*/ 3648 w 5947"/>
                        <a:gd name="connsiteY40" fmla="*/ 5921 h 6279"/>
                        <a:gd name="connsiteX41" fmla="*/ 4187 w 5947"/>
                        <a:gd name="connsiteY41" fmla="*/ 5622 h 6279"/>
                        <a:gd name="connsiteX42" fmla="*/ 4665 w 5947"/>
                        <a:gd name="connsiteY42" fmla="*/ 5203 h 6279"/>
                        <a:gd name="connsiteX43" fmla="*/ 5083 w 5947"/>
                        <a:gd name="connsiteY43" fmla="*/ 4725 h 6279"/>
                        <a:gd name="connsiteX44" fmla="*/ 5443 w 5947"/>
                        <a:gd name="connsiteY44" fmla="*/ 4187 h 6279"/>
                        <a:gd name="connsiteX45" fmla="*/ 5742 w 5947"/>
                        <a:gd name="connsiteY45" fmla="*/ 3588 h 6279"/>
                        <a:gd name="connsiteX46" fmla="*/ 5921 w 5947"/>
                        <a:gd name="connsiteY46" fmla="*/ 2930 h 6279"/>
                        <a:gd name="connsiteX47" fmla="*/ 5921 w 5947"/>
                        <a:gd name="connsiteY47" fmla="*/ 2273 h 6279"/>
                        <a:gd name="connsiteX48" fmla="*/ 5801 w 5947"/>
                        <a:gd name="connsiteY48" fmla="*/ 1674 h 6279"/>
                        <a:gd name="connsiteX49" fmla="*/ 5562 w 5947"/>
                        <a:gd name="connsiteY49" fmla="*/ 1136 h 6279"/>
                        <a:gd name="connsiteX50" fmla="*/ 5263 w 5947"/>
                        <a:gd name="connsiteY50" fmla="*/ 718 h 6279"/>
                        <a:gd name="connsiteX51" fmla="*/ 5203 w 5947"/>
                        <a:gd name="connsiteY51" fmla="*/ 658 h 6279"/>
                        <a:gd name="connsiteX52" fmla="*/ 5143 w 5947"/>
                        <a:gd name="connsiteY52" fmla="*/ 598 h 6279"/>
                        <a:gd name="connsiteX53" fmla="*/ 5083 w 5947"/>
                        <a:gd name="connsiteY53" fmla="*/ 538 h 6279"/>
                        <a:gd name="connsiteX54" fmla="*/ 5024 w 5947"/>
                        <a:gd name="connsiteY54" fmla="*/ 479 h 6279"/>
                        <a:gd name="connsiteX55" fmla="*/ 4665 w 5947"/>
                        <a:gd name="connsiteY55" fmla="*/ 239 h 6279"/>
                        <a:gd name="connsiteX56" fmla="*/ 4246 w 5947"/>
                        <a:gd name="connsiteY56" fmla="*/ 60 h 6279"/>
                        <a:gd name="connsiteX57" fmla="*/ 3828 w 5947"/>
                        <a:gd name="connsiteY57" fmla="*/ 0 h 6279"/>
                        <a:gd name="connsiteX58" fmla="*/ 3349 w 5947"/>
                        <a:gd name="connsiteY58" fmla="*/ 0 h 6279"/>
                        <a:gd name="connsiteX59" fmla="*/ 2751 w 5947"/>
                        <a:gd name="connsiteY59" fmla="*/ 120 h 6279"/>
                        <a:gd name="connsiteX60" fmla="*/ 2213 w 5947"/>
                        <a:gd name="connsiteY60" fmla="*/ 359 h 6279"/>
                        <a:gd name="connsiteX61" fmla="*/ 1675 w 5947"/>
                        <a:gd name="connsiteY61" fmla="*/ 718 h 6279"/>
                        <a:gd name="connsiteX62" fmla="*/ 1196 w 5947"/>
                        <a:gd name="connsiteY62" fmla="*/ 1136 h 6279"/>
                        <a:gd name="connsiteX63" fmla="*/ 778 w 5947"/>
                        <a:gd name="connsiteY63" fmla="*/ 1674 h 6279"/>
                        <a:gd name="connsiteX64" fmla="*/ 419 w 5947"/>
                        <a:gd name="connsiteY64" fmla="*/ 2213 h 6279"/>
                        <a:gd name="connsiteX65" fmla="*/ 180 w 5947"/>
                        <a:gd name="connsiteY65" fmla="*/ 2811 h 6279"/>
                        <a:gd name="connsiteX66" fmla="*/ 60 w 5947"/>
                        <a:gd name="connsiteY66" fmla="*/ 3409 h 6279"/>
                        <a:gd name="connsiteX67" fmla="*/ 0 w 5947"/>
                        <a:gd name="connsiteY67" fmla="*/ 4007 h 6279"/>
                        <a:gd name="connsiteX68" fmla="*/ 60 w 5947"/>
                        <a:gd name="connsiteY68" fmla="*/ 4545 h 6279"/>
                        <a:gd name="connsiteX69" fmla="*/ 239 w 5947"/>
                        <a:gd name="connsiteY69" fmla="*/ 5024 h 6279"/>
                        <a:gd name="connsiteX70" fmla="*/ 538 w 5947"/>
                        <a:gd name="connsiteY70" fmla="*/ 5442 h 6279"/>
                        <a:gd name="connsiteX71" fmla="*/ 598 w 5947"/>
                        <a:gd name="connsiteY71" fmla="*/ 5502 h 6279"/>
                        <a:gd name="connsiteX72" fmla="*/ 658 w 5947"/>
                        <a:gd name="connsiteY72" fmla="*/ 5562 h 6279"/>
                        <a:gd name="connsiteX73" fmla="*/ 718 w 5947"/>
                        <a:gd name="connsiteY73" fmla="*/ 5622 h 6279"/>
                        <a:gd name="connsiteX74" fmla="*/ 837 w 5947"/>
                        <a:gd name="connsiteY74" fmla="*/ 580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947" h="6279">
                          <a:moveTo>
                            <a:pt x="4306" y="1375"/>
                          </a:moveTo>
                          <a:cubicBezTo>
                            <a:pt x="4426" y="1435"/>
                            <a:pt x="4486" y="1555"/>
                            <a:pt x="4605" y="1674"/>
                          </a:cubicBezTo>
                          <a:cubicBezTo>
                            <a:pt x="4725" y="1794"/>
                            <a:pt x="4725" y="1914"/>
                            <a:pt x="4785" y="2033"/>
                          </a:cubicBezTo>
                          <a:cubicBezTo>
                            <a:pt x="4844" y="2153"/>
                            <a:pt x="4844" y="2333"/>
                            <a:pt x="4904" y="2452"/>
                          </a:cubicBezTo>
                          <a:cubicBezTo>
                            <a:pt x="4904" y="2632"/>
                            <a:pt x="4904" y="2751"/>
                            <a:pt x="4904" y="2930"/>
                          </a:cubicBezTo>
                          <a:cubicBezTo>
                            <a:pt x="4904" y="3050"/>
                            <a:pt x="4844" y="3170"/>
                            <a:pt x="4844" y="3349"/>
                          </a:cubicBezTo>
                          <a:cubicBezTo>
                            <a:pt x="4844" y="3528"/>
                            <a:pt x="4725" y="3648"/>
                            <a:pt x="4665" y="3768"/>
                          </a:cubicBezTo>
                          <a:cubicBezTo>
                            <a:pt x="4605" y="3888"/>
                            <a:pt x="4545" y="4007"/>
                            <a:pt x="4426" y="4127"/>
                          </a:cubicBezTo>
                          <a:cubicBezTo>
                            <a:pt x="4366" y="4246"/>
                            <a:pt x="4246" y="4366"/>
                            <a:pt x="4127" y="4486"/>
                          </a:cubicBezTo>
                          <a:cubicBezTo>
                            <a:pt x="4007" y="4605"/>
                            <a:pt x="3888" y="4665"/>
                            <a:pt x="3828" y="4785"/>
                          </a:cubicBezTo>
                          <a:cubicBezTo>
                            <a:pt x="3708" y="4844"/>
                            <a:pt x="3588" y="4964"/>
                            <a:pt x="3469" y="5024"/>
                          </a:cubicBezTo>
                          <a:cubicBezTo>
                            <a:pt x="3349" y="5083"/>
                            <a:pt x="3229" y="5143"/>
                            <a:pt x="3110" y="5143"/>
                          </a:cubicBezTo>
                          <a:cubicBezTo>
                            <a:pt x="2990" y="5203"/>
                            <a:pt x="2871" y="5203"/>
                            <a:pt x="2691" y="5203"/>
                          </a:cubicBezTo>
                          <a:cubicBezTo>
                            <a:pt x="2572" y="5203"/>
                            <a:pt x="2452" y="5203"/>
                            <a:pt x="2392" y="5203"/>
                          </a:cubicBezTo>
                          <a:cubicBezTo>
                            <a:pt x="2273" y="5203"/>
                            <a:pt x="2213" y="5203"/>
                            <a:pt x="2093" y="5143"/>
                          </a:cubicBezTo>
                          <a:cubicBezTo>
                            <a:pt x="1974" y="5083"/>
                            <a:pt x="1914" y="5083"/>
                            <a:pt x="1854" y="5024"/>
                          </a:cubicBezTo>
                          <a:cubicBezTo>
                            <a:pt x="1794" y="4964"/>
                            <a:pt x="1675" y="4904"/>
                            <a:pt x="1615" y="4844"/>
                          </a:cubicBezTo>
                          <a:lnTo>
                            <a:pt x="1435" y="4665"/>
                          </a:lnTo>
                          <a:cubicBezTo>
                            <a:pt x="1375" y="4545"/>
                            <a:pt x="1256" y="4486"/>
                            <a:pt x="1256" y="4366"/>
                          </a:cubicBezTo>
                          <a:cubicBezTo>
                            <a:pt x="1196" y="4246"/>
                            <a:pt x="1136" y="4127"/>
                            <a:pt x="1136" y="4007"/>
                          </a:cubicBezTo>
                          <a:cubicBezTo>
                            <a:pt x="1136" y="3888"/>
                            <a:pt x="1076" y="3768"/>
                            <a:pt x="1076" y="3648"/>
                          </a:cubicBezTo>
                          <a:cubicBezTo>
                            <a:pt x="1076" y="3528"/>
                            <a:pt x="1076" y="3349"/>
                            <a:pt x="1076" y="3229"/>
                          </a:cubicBezTo>
                          <a:cubicBezTo>
                            <a:pt x="1076" y="3110"/>
                            <a:pt x="1136" y="2930"/>
                            <a:pt x="1196" y="2811"/>
                          </a:cubicBezTo>
                          <a:cubicBezTo>
                            <a:pt x="1256" y="2691"/>
                            <a:pt x="1316" y="2572"/>
                            <a:pt x="1375" y="2392"/>
                          </a:cubicBezTo>
                          <a:cubicBezTo>
                            <a:pt x="1435" y="2273"/>
                            <a:pt x="1495" y="2153"/>
                            <a:pt x="1615" y="2033"/>
                          </a:cubicBezTo>
                          <a:cubicBezTo>
                            <a:pt x="1734" y="1914"/>
                            <a:pt x="1794" y="1794"/>
                            <a:pt x="1914" y="1674"/>
                          </a:cubicBezTo>
                          <a:cubicBezTo>
                            <a:pt x="2034" y="1555"/>
                            <a:pt x="2153" y="1435"/>
                            <a:pt x="2273" y="1375"/>
                          </a:cubicBezTo>
                          <a:cubicBezTo>
                            <a:pt x="2392" y="1316"/>
                            <a:pt x="2512" y="1196"/>
                            <a:pt x="2632" y="1136"/>
                          </a:cubicBezTo>
                          <a:cubicBezTo>
                            <a:pt x="2751" y="1076"/>
                            <a:pt x="2871" y="1017"/>
                            <a:pt x="2990" y="957"/>
                          </a:cubicBezTo>
                          <a:cubicBezTo>
                            <a:pt x="3110" y="897"/>
                            <a:pt x="3229" y="897"/>
                            <a:pt x="3349" y="897"/>
                          </a:cubicBezTo>
                          <a:cubicBezTo>
                            <a:pt x="3469" y="897"/>
                            <a:pt x="3588" y="897"/>
                            <a:pt x="3648" y="897"/>
                          </a:cubicBezTo>
                          <a:cubicBezTo>
                            <a:pt x="3708" y="897"/>
                            <a:pt x="3828" y="957"/>
                            <a:pt x="3947" y="957"/>
                          </a:cubicBezTo>
                          <a:cubicBezTo>
                            <a:pt x="4067" y="957"/>
                            <a:pt x="4127" y="1017"/>
                            <a:pt x="4187" y="1076"/>
                          </a:cubicBezTo>
                          <a:cubicBezTo>
                            <a:pt x="4127" y="1256"/>
                            <a:pt x="4246" y="1316"/>
                            <a:pt x="4306" y="1375"/>
                          </a:cubicBezTo>
                          <a:moveTo>
                            <a:pt x="837" y="5801"/>
                          </a:moveTo>
                          <a:cubicBezTo>
                            <a:pt x="957" y="5861"/>
                            <a:pt x="1076" y="5981"/>
                            <a:pt x="1196" y="6041"/>
                          </a:cubicBezTo>
                          <a:cubicBezTo>
                            <a:pt x="1316" y="6100"/>
                            <a:pt x="1435" y="6160"/>
                            <a:pt x="1615" y="6220"/>
                          </a:cubicBezTo>
                          <a:cubicBezTo>
                            <a:pt x="1794" y="6280"/>
                            <a:pt x="1914" y="6280"/>
                            <a:pt x="2034" y="6280"/>
                          </a:cubicBezTo>
                          <a:cubicBezTo>
                            <a:pt x="2153" y="6280"/>
                            <a:pt x="2333" y="6280"/>
                            <a:pt x="2512" y="6280"/>
                          </a:cubicBezTo>
                          <a:cubicBezTo>
                            <a:pt x="2691" y="6280"/>
                            <a:pt x="2871" y="6220"/>
                            <a:pt x="3110" y="6160"/>
                          </a:cubicBezTo>
                          <a:cubicBezTo>
                            <a:pt x="3289" y="6100"/>
                            <a:pt x="3469" y="6041"/>
                            <a:pt x="3648" y="5921"/>
                          </a:cubicBezTo>
                          <a:cubicBezTo>
                            <a:pt x="3828" y="5801"/>
                            <a:pt x="4007" y="5742"/>
                            <a:pt x="4187" y="5622"/>
                          </a:cubicBezTo>
                          <a:cubicBezTo>
                            <a:pt x="4366" y="5502"/>
                            <a:pt x="4486" y="5383"/>
                            <a:pt x="4665" y="5203"/>
                          </a:cubicBezTo>
                          <a:cubicBezTo>
                            <a:pt x="4844" y="5024"/>
                            <a:pt x="4964" y="4904"/>
                            <a:pt x="5083" y="4725"/>
                          </a:cubicBezTo>
                          <a:cubicBezTo>
                            <a:pt x="5203" y="4545"/>
                            <a:pt x="5323" y="4366"/>
                            <a:pt x="5443" y="4187"/>
                          </a:cubicBezTo>
                          <a:cubicBezTo>
                            <a:pt x="5562" y="4007"/>
                            <a:pt x="5622" y="3768"/>
                            <a:pt x="5742" y="3588"/>
                          </a:cubicBezTo>
                          <a:cubicBezTo>
                            <a:pt x="5801" y="3349"/>
                            <a:pt x="5861" y="3170"/>
                            <a:pt x="5921" y="2930"/>
                          </a:cubicBezTo>
                          <a:cubicBezTo>
                            <a:pt x="5921" y="2691"/>
                            <a:pt x="5981" y="2512"/>
                            <a:pt x="5921" y="2273"/>
                          </a:cubicBezTo>
                          <a:cubicBezTo>
                            <a:pt x="5921" y="2093"/>
                            <a:pt x="5861" y="1854"/>
                            <a:pt x="5801" y="1674"/>
                          </a:cubicBezTo>
                          <a:cubicBezTo>
                            <a:pt x="5742" y="1495"/>
                            <a:pt x="5682" y="1316"/>
                            <a:pt x="5562" y="1136"/>
                          </a:cubicBezTo>
                          <a:cubicBezTo>
                            <a:pt x="5443" y="957"/>
                            <a:pt x="5383" y="837"/>
                            <a:pt x="5263" y="718"/>
                          </a:cubicBezTo>
                          <a:cubicBezTo>
                            <a:pt x="5263" y="718"/>
                            <a:pt x="5203" y="658"/>
                            <a:pt x="5203" y="658"/>
                          </a:cubicBezTo>
                          <a:cubicBezTo>
                            <a:pt x="5203" y="658"/>
                            <a:pt x="5143" y="598"/>
                            <a:pt x="5143" y="598"/>
                          </a:cubicBezTo>
                          <a:cubicBezTo>
                            <a:pt x="5143" y="598"/>
                            <a:pt x="5083" y="538"/>
                            <a:pt x="5083" y="538"/>
                          </a:cubicBezTo>
                          <a:cubicBezTo>
                            <a:pt x="5083" y="538"/>
                            <a:pt x="5024" y="479"/>
                            <a:pt x="5024" y="479"/>
                          </a:cubicBezTo>
                          <a:cubicBezTo>
                            <a:pt x="4904" y="359"/>
                            <a:pt x="4785" y="299"/>
                            <a:pt x="4665" y="239"/>
                          </a:cubicBezTo>
                          <a:cubicBezTo>
                            <a:pt x="4545" y="179"/>
                            <a:pt x="4426" y="120"/>
                            <a:pt x="4246" y="60"/>
                          </a:cubicBezTo>
                          <a:cubicBezTo>
                            <a:pt x="4127" y="0"/>
                            <a:pt x="3947" y="0"/>
                            <a:pt x="3828" y="0"/>
                          </a:cubicBezTo>
                          <a:cubicBezTo>
                            <a:pt x="3648" y="0"/>
                            <a:pt x="3529" y="0"/>
                            <a:pt x="3349" y="0"/>
                          </a:cubicBezTo>
                          <a:cubicBezTo>
                            <a:pt x="3170" y="0"/>
                            <a:pt x="2990" y="60"/>
                            <a:pt x="2751" y="120"/>
                          </a:cubicBezTo>
                          <a:cubicBezTo>
                            <a:pt x="2572" y="179"/>
                            <a:pt x="2392" y="239"/>
                            <a:pt x="2213" y="359"/>
                          </a:cubicBezTo>
                          <a:cubicBezTo>
                            <a:pt x="2034" y="479"/>
                            <a:pt x="1854" y="538"/>
                            <a:pt x="1675" y="718"/>
                          </a:cubicBezTo>
                          <a:cubicBezTo>
                            <a:pt x="1495" y="837"/>
                            <a:pt x="1316" y="1017"/>
                            <a:pt x="1196" y="1136"/>
                          </a:cubicBezTo>
                          <a:cubicBezTo>
                            <a:pt x="1017" y="1316"/>
                            <a:pt x="897" y="1495"/>
                            <a:pt x="778" y="1674"/>
                          </a:cubicBezTo>
                          <a:cubicBezTo>
                            <a:pt x="658" y="1854"/>
                            <a:pt x="538" y="2033"/>
                            <a:pt x="419" y="2213"/>
                          </a:cubicBezTo>
                          <a:cubicBezTo>
                            <a:pt x="299" y="2392"/>
                            <a:pt x="239" y="2632"/>
                            <a:pt x="180" y="2811"/>
                          </a:cubicBezTo>
                          <a:cubicBezTo>
                            <a:pt x="120" y="2990"/>
                            <a:pt x="60" y="3229"/>
                            <a:pt x="60" y="3409"/>
                          </a:cubicBezTo>
                          <a:cubicBezTo>
                            <a:pt x="0" y="3648"/>
                            <a:pt x="0" y="3828"/>
                            <a:pt x="0" y="4007"/>
                          </a:cubicBezTo>
                          <a:cubicBezTo>
                            <a:pt x="0" y="4187"/>
                            <a:pt x="60" y="4366"/>
                            <a:pt x="60" y="4545"/>
                          </a:cubicBezTo>
                          <a:cubicBezTo>
                            <a:pt x="120" y="4725"/>
                            <a:pt x="180" y="4904"/>
                            <a:pt x="239" y="5024"/>
                          </a:cubicBezTo>
                          <a:cubicBezTo>
                            <a:pt x="299" y="5203"/>
                            <a:pt x="419" y="5323"/>
                            <a:pt x="538" y="5442"/>
                          </a:cubicBezTo>
                          <a:cubicBezTo>
                            <a:pt x="538" y="5442"/>
                            <a:pt x="598" y="5502"/>
                            <a:pt x="598" y="5502"/>
                          </a:cubicBezTo>
                          <a:cubicBezTo>
                            <a:pt x="598" y="5502"/>
                            <a:pt x="658" y="5562"/>
                            <a:pt x="658" y="5562"/>
                          </a:cubicBezTo>
                          <a:cubicBezTo>
                            <a:pt x="658" y="5562"/>
                            <a:pt x="718" y="5622"/>
                            <a:pt x="718" y="5622"/>
                          </a:cubicBezTo>
                          <a:cubicBezTo>
                            <a:pt x="778" y="5801"/>
                            <a:pt x="778" y="5801"/>
                            <a:pt x="837" y="5801"/>
                          </a:cubicBezTo>
                        </a:path>
                      </a:pathLst>
                    </a:custGeom>
                    <a:noFill/>
                    <a:ln w="6350" cap="flat">
                      <a:solidFill>
                        <a:schemeClr val="bg1">
                          <a:alpha val="80000"/>
                        </a:schemeClr>
                      </a:solidFill>
                      <a:prstDash val="solid"/>
                      <a:miter/>
                    </a:ln>
                  </p:spPr>
                  <p:txBody>
                    <a:bodyPr rtlCol="0" anchor="ctr"/>
                    <a:lstStyle/>
                    <a:p>
                      <a:endParaRPr lang="en-GB"/>
                    </a:p>
                  </p:txBody>
                </p:sp>
                <p:sp>
                  <p:nvSpPr>
                    <p:cNvPr id="7523" name="Vrije vorm: vorm 7522">
                      <a:extLst>
                        <a:ext uri="{FF2B5EF4-FFF2-40B4-BE49-F238E27FC236}">
                          <a16:creationId xmlns:a16="http://schemas.microsoft.com/office/drawing/2014/main" id="{A45FD6C0-390E-49CB-8A81-F264C1FF2023}"/>
                        </a:ext>
                      </a:extLst>
                    </p:cNvPr>
                    <p:cNvSpPr/>
                    <p:nvPr/>
                  </p:nvSpPr>
                  <p:spPr>
                    <a:xfrm>
                      <a:off x="5205972" y="5224081"/>
                      <a:ext cx="5827" cy="6279"/>
                    </a:xfrm>
                    <a:custGeom>
                      <a:avLst/>
                      <a:gdLst>
                        <a:gd name="connsiteX0" fmla="*/ 1940 w 5827"/>
                        <a:gd name="connsiteY0" fmla="*/ 5323 h 6279"/>
                        <a:gd name="connsiteX1" fmla="*/ 1761 w 5827"/>
                        <a:gd name="connsiteY1" fmla="*/ 5263 h 6279"/>
                        <a:gd name="connsiteX2" fmla="*/ 1642 w 5827"/>
                        <a:gd name="connsiteY2" fmla="*/ 5203 h 6279"/>
                        <a:gd name="connsiteX3" fmla="*/ 1522 w 5827"/>
                        <a:gd name="connsiteY3" fmla="*/ 5143 h 6279"/>
                        <a:gd name="connsiteX4" fmla="*/ 1402 w 5827"/>
                        <a:gd name="connsiteY4" fmla="*/ 5083 h 6279"/>
                        <a:gd name="connsiteX5" fmla="*/ 1223 w 5827"/>
                        <a:gd name="connsiteY5" fmla="*/ 4904 h 6279"/>
                        <a:gd name="connsiteX6" fmla="*/ 1223 w 5827"/>
                        <a:gd name="connsiteY6" fmla="*/ 4844 h 6279"/>
                        <a:gd name="connsiteX7" fmla="*/ 1223 w 5827"/>
                        <a:gd name="connsiteY7" fmla="*/ 4785 h 6279"/>
                        <a:gd name="connsiteX8" fmla="*/ 1223 w 5827"/>
                        <a:gd name="connsiteY8" fmla="*/ 4725 h 6279"/>
                        <a:gd name="connsiteX9" fmla="*/ 1223 w 5827"/>
                        <a:gd name="connsiteY9" fmla="*/ 4665 h 6279"/>
                        <a:gd name="connsiteX10" fmla="*/ 1103 w 5827"/>
                        <a:gd name="connsiteY10" fmla="*/ 4366 h 6279"/>
                        <a:gd name="connsiteX11" fmla="*/ 1043 w 5827"/>
                        <a:gd name="connsiteY11" fmla="*/ 4067 h 6279"/>
                        <a:gd name="connsiteX12" fmla="*/ 983 w 5827"/>
                        <a:gd name="connsiteY12" fmla="*/ 3708 h 6279"/>
                        <a:gd name="connsiteX13" fmla="*/ 983 w 5827"/>
                        <a:gd name="connsiteY13" fmla="*/ 3349 h 6279"/>
                        <a:gd name="connsiteX14" fmla="*/ 1043 w 5827"/>
                        <a:gd name="connsiteY14" fmla="*/ 2990 h 6279"/>
                        <a:gd name="connsiteX15" fmla="*/ 1163 w 5827"/>
                        <a:gd name="connsiteY15" fmla="*/ 2632 h 6279"/>
                        <a:gd name="connsiteX16" fmla="*/ 1342 w 5827"/>
                        <a:gd name="connsiteY16" fmla="*/ 2272 h 6279"/>
                        <a:gd name="connsiteX17" fmla="*/ 1582 w 5827"/>
                        <a:gd name="connsiteY17" fmla="*/ 1973 h 6279"/>
                        <a:gd name="connsiteX18" fmla="*/ 1642 w 5827"/>
                        <a:gd name="connsiteY18" fmla="*/ 1914 h 6279"/>
                        <a:gd name="connsiteX19" fmla="*/ 1701 w 5827"/>
                        <a:gd name="connsiteY19" fmla="*/ 1854 h 6279"/>
                        <a:gd name="connsiteX20" fmla="*/ 1761 w 5827"/>
                        <a:gd name="connsiteY20" fmla="*/ 1794 h 6279"/>
                        <a:gd name="connsiteX21" fmla="*/ 1821 w 5827"/>
                        <a:gd name="connsiteY21" fmla="*/ 1734 h 6279"/>
                        <a:gd name="connsiteX22" fmla="*/ 2000 w 5827"/>
                        <a:gd name="connsiteY22" fmla="*/ 1555 h 6279"/>
                        <a:gd name="connsiteX23" fmla="*/ 2239 w 5827"/>
                        <a:gd name="connsiteY23" fmla="*/ 1375 h 6279"/>
                        <a:gd name="connsiteX24" fmla="*/ 2479 w 5827"/>
                        <a:gd name="connsiteY24" fmla="*/ 1256 h 6279"/>
                        <a:gd name="connsiteX25" fmla="*/ 2718 w 5827"/>
                        <a:gd name="connsiteY25" fmla="*/ 1136 h 6279"/>
                        <a:gd name="connsiteX26" fmla="*/ 2897 w 5827"/>
                        <a:gd name="connsiteY26" fmla="*/ 1076 h 6279"/>
                        <a:gd name="connsiteX27" fmla="*/ 3077 w 5827"/>
                        <a:gd name="connsiteY27" fmla="*/ 1017 h 6279"/>
                        <a:gd name="connsiteX28" fmla="*/ 3256 w 5827"/>
                        <a:gd name="connsiteY28" fmla="*/ 957 h 6279"/>
                        <a:gd name="connsiteX29" fmla="*/ 3436 w 5827"/>
                        <a:gd name="connsiteY29" fmla="*/ 957 h 6279"/>
                        <a:gd name="connsiteX30" fmla="*/ 3735 w 5827"/>
                        <a:gd name="connsiteY30" fmla="*/ 957 h 6279"/>
                        <a:gd name="connsiteX31" fmla="*/ 4034 w 5827"/>
                        <a:gd name="connsiteY31" fmla="*/ 1017 h 6279"/>
                        <a:gd name="connsiteX32" fmla="*/ 4273 w 5827"/>
                        <a:gd name="connsiteY32" fmla="*/ 1136 h 6279"/>
                        <a:gd name="connsiteX33" fmla="*/ 4512 w 5827"/>
                        <a:gd name="connsiteY33" fmla="*/ 1316 h 6279"/>
                        <a:gd name="connsiteX34" fmla="*/ 4572 w 5827"/>
                        <a:gd name="connsiteY34" fmla="*/ 1375 h 6279"/>
                        <a:gd name="connsiteX35" fmla="*/ 4632 w 5827"/>
                        <a:gd name="connsiteY35" fmla="*/ 1435 h 6279"/>
                        <a:gd name="connsiteX36" fmla="*/ 4691 w 5827"/>
                        <a:gd name="connsiteY36" fmla="*/ 1495 h 6279"/>
                        <a:gd name="connsiteX37" fmla="*/ 4751 w 5827"/>
                        <a:gd name="connsiteY37" fmla="*/ 1555 h 6279"/>
                        <a:gd name="connsiteX38" fmla="*/ 4931 w 5827"/>
                        <a:gd name="connsiteY38" fmla="*/ 1854 h 6279"/>
                        <a:gd name="connsiteX39" fmla="*/ 5050 w 5827"/>
                        <a:gd name="connsiteY39" fmla="*/ 2213 h 6279"/>
                        <a:gd name="connsiteX40" fmla="*/ 5110 w 5827"/>
                        <a:gd name="connsiteY40" fmla="*/ 2572 h 6279"/>
                        <a:gd name="connsiteX41" fmla="*/ 5110 w 5827"/>
                        <a:gd name="connsiteY41" fmla="*/ 2990 h 6279"/>
                        <a:gd name="connsiteX42" fmla="*/ 4991 w 5827"/>
                        <a:gd name="connsiteY42" fmla="*/ 3409 h 6279"/>
                        <a:gd name="connsiteX43" fmla="*/ 4811 w 5827"/>
                        <a:gd name="connsiteY43" fmla="*/ 3827 h 6279"/>
                        <a:gd name="connsiteX44" fmla="*/ 4572 w 5827"/>
                        <a:gd name="connsiteY44" fmla="*/ 4186 h 6279"/>
                        <a:gd name="connsiteX45" fmla="*/ 4273 w 5827"/>
                        <a:gd name="connsiteY45" fmla="*/ 4545 h 6279"/>
                        <a:gd name="connsiteX46" fmla="*/ 3914 w 5827"/>
                        <a:gd name="connsiteY46" fmla="*/ 4844 h 6279"/>
                        <a:gd name="connsiteX47" fmla="*/ 3555 w 5827"/>
                        <a:gd name="connsiteY47" fmla="*/ 5083 h 6279"/>
                        <a:gd name="connsiteX48" fmla="*/ 3196 w 5827"/>
                        <a:gd name="connsiteY48" fmla="*/ 5203 h 6279"/>
                        <a:gd name="connsiteX49" fmla="*/ 2837 w 5827"/>
                        <a:gd name="connsiteY49" fmla="*/ 5263 h 6279"/>
                        <a:gd name="connsiteX50" fmla="*/ 2658 w 5827"/>
                        <a:gd name="connsiteY50" fmla="*/ 5263 h 6279"/>
                        <a:gd name="connsiteX51" fmla="*/ 2479 w 5827"/>
                        <a:gd name="connsiteY51" fmla="*/ 5263 h 6279"/>
                        <a:gd name="connsiteX52" fmla="*/ 2359 w 5827"/>
                        <a:gd name="connsiteY52" fmla="*/ 5263 h 6279"/>
                        <a:gd name="connsiteX53" fmla="*/ 1940 w 5827"/>
                        <a:gd name="connsiteY53" fmla="*/ 5323 h 6279"/>
                        <a:gd name="connsiteX54" fmla="*/ 804 w 5827"/>
                        <a:gd name="connsiteY54" fmla="*/ 5921 h 6279"/>
                        <a:gd name="connsiteX55" fmla="*/ 804 w 5827"/>
                        <a:gd name="connsiteY55" fmla="*/ 5921 h 6279"/>
                        <a:gd name="connsiteX56" fmla="*/ 864 w 5827"/>
                        <a:gd name="connsiteY56" fmla="*/ 5981 h 6279"/>
                        <a:gd name="connsiteX57" fmla="*/ 923 w 5827"/>
                        <a:gd name="connsiteY57" fmla="*/ 5981 h 6279"/>
                        <a:gd name="connsiteX58" fmla="*/ 983 w 5827"/>
                        <a:gd name="connsiteY58" fmla="*/ 5981 h 6279"/>
                        <a:gd name="connsiteX59" fmla="*/ 1163 w 5827"/>
                        <a:gd name="connsiteY59" fmla="*/ 6100 h 6279"/>
                        <a:gd name="connsiteX60" fmla="*/ 1402 w 5827"/>
                        <a:gd name="connsiteY60" fmla="*/ 6160 h 6279"/>
                        <a:gd name="connsiteX61" fmla="*/ 1642 w 5827"/>
                        <a:gd name="connsiteY61" fmla="*/ 6220 h 6279"/>
                        <a:gd name="connsiteX62" fmla="*/ 1881 w 5827"/>
                        <a:gd name="connsiteY62" fmla="*/ 6280 h 6279"/>
                        <a:gd name="connsiteX63" fmla="*/ 2000 w 5827"/>
                        <a:gd name="connsiteY63" fmla="*/ 6280 h 6279"/>
                        <a:gd name="connsiteX64" fmla="*/ 2120 w 5827"/>
                        <a:gd name="connsiteY64" fmla="*/ 6280 h 6279"/>
                        <a:gd name="connsiteX65" fmla="*/ 2299 w 5827"/>
                        <a:gd name="connsiteY65" fmla="*/ 6280 h 6279"/>
                        <a:gd name="connsiteX66" fmla="*/ 2479 w 5827"/>
                        <a:gd name="connsiteY66" fmla="*/ 6280 h 6279"/>
                        <a:gd name="connsiteX67" fmla="*/ 3077 w 5827"/>
                        <a:gd name="connsiteY67" fmla="*/ 6160 h 6279"/>
                        <a:gd name="connsiteX68" fmla="*/ 3615 w 5827"/>
                        <a:gd name="connsiteY68" fmla="*/ 5921 h 6279"/>
                        <a:gd name="connsiteX69" fmla="*/ 4153 w 5827"/>
                        <a:gd name="connsiteY69" fmla="*/ 5562 h 6279"/>
                        <a:gd name="connsiteX70" fmla="*/ 4632 w 5827"/>
                        <a:gd name="connsiteY70" fmla="*/ 5143 h 6279"/>
                        <a:gd name="connsiteX71" fmla="*/ 5050 w 5827"/>
                        <a:gd name="connsiteY71" fmla="*/ 4605 h 6279"/>
                        <a:gd name="connsiteX72" fmla="*/ 5409 w 5827"/>
                        <a:gd name="connsiteY72" fmla="*/ 4067 h 6279"/>
                        <a:gd name="connsiteX73" fmla="*/ 5649 w 5827"/>
                        <a:gd name="connsiteY73" fmla="*/ 3469 h 6279"/>
                        <a:gd name="connsiteX74" fmla="*/ 5768 w 5827"/>
                        <a:gd name="connsiteY74" fmla="*/ 2871 h 6279"/>
                        <a:gd name="connsiteX75" fmla="*/ 5828 w 5827"/>
                        <a:gd name="connsiteY75" fmla="*/ 2272 h 6279"/>
                        <a:gd name="connsiteX76" fmla="*/ 5768 w 5827"/>
                        <a:gd name="connsiteY76" fmla="*/ 1734 h 6279"/>
                        <a:gd name="connsiteX77" fmla="*/ 5589 w 5827"/>
                        <a:gd name="connsiteY77" fmla="*/ 1196 h 6279"/>
                        <a:gd name="connsiteX78" fmla="*/ 5290 w 5827"/>
                        <a:gd name="connsiteY78" fmla="*/ 718 h 6279"/>
                        <a:gd name="connsiteX79" fmla="*/ 4991 w 5827"/>
                        <a:gd name="connsiteY79" fmla="*/ 478 h 6279"/>
                        <a:gd name="connsiteX80" fmla="*/ 4632 w 5827"/>
                        <a:gd name="connsiteY80" fmla="*/ 239 h 6279"/>
                        <a:gd name="connsiteX81" fmla="*/ 4213 w 5827"/>
                        <a:gd name="connsiteY81" fmla="*/ 60 h 6279"/>
                        <a:gd name="connsiteX82" fmla="*/ 3794 w 5827"/>
                        <a:gd name="connsiteY82" fmla="*/ 0 h 6279"/>
                        <a:gd name="connsiteX83" fmla="*/ 3316 w 5827"/>
                        <a:gd name="connsiteY83" fmla="*/ 0 h 6279"/>
                        <a:gd name="connsiteX84" fmla="*/ 3137 w 5827"/>
                        <a:gd name="connsiteY84" fmla="*/ 0 h 6279"/>
                        <a:gd name="connsiteX85" fmla="*/ 2957 w 5827"/>
                        <a:gd name="connsiteY85" fmla="*/ 0 h 6279"/>
                        <a:gd name="connsiteX86" fmla="*/ 2778 w 5827"/>
                        <a:gd name="connsiteY86" fmla="*/ 60 h 6279"/>
                        <a:gd name="connsiteX87" fmla="*/ 2598 w 5827"/>
                        <a:gd name="connsiteY87" fmla="*/ 119 h 6279"/>
                        <a:gd name="connsiteX88" fmla="*/ 2359 w 5827"/>
                        <a:gd name="connsiteY88" fmla="*/ 239 h 6279"/>
                        <a:gd name="connsiteX89" fmla="*/ 2120 w 5827"/>
                        <a:gd name="connsiteY89" fmla="*/ 359 h 6279"/>
                        <a:gd name="connsiteX90" fmla="*/ 1881 w 5827"/>
                        <a:gd name="connsiteY90" fmla="*/ 478 h 6279"/>
                        <a:gd name="connsiteX91" fmla="*/ 1642 w 5827"/>
                        <a:gd name="connsiteY91" fmla="*/ 658 h 6279"/>
                        <a:gd name="connsiteX92" fmla="*/ 1522 w 5827"/>
                        <a:gd name="connsiteY92" fmla="*/ 777 h 6279"/>
                        <a:gd name="connsiteX93" fmla="*/ 1402 w 5827"/>
                        <a:gd name="connsiteY93" fmla="*/ 897 h 6279"/>
                        <a:gd name="connsiteX94" fmla="*/ 1282 w 5827"/>
                        <a:gd name="connsiteY94" fmla="*/ 1017 h 6279"/>
                        <a:gd name="connsiteX95" fmla="*/ 1163 w 5827"/>
                        <a:gd name="connsiteY95" fmla="*/ 1136 h 6279"/>
                        <a:gd name="connsiteX96" fmla="*/ 744 w 5827"/>
                        <a:gd name="connsiteY96" fmla="*/ 1674 h 6279"/>
                        <a:gd name="connsiteX97" fmla="*/ 385 w 5827"/>
                        <a:gd name="connsiteY97" fmla="*/ 2213 h 6279"/>
                        <a:gd name="connsiteX98" fmla="*/ 146 w 5827"/>
                        <a:gd name="connsiteY98" fmla="*/ 2811 h 6279"/>
                        <a:gd name="connsiteX99" fmla="*/ 27 w 5827"/>
                        <a:gd name="connsiteY99" fmla="*/ 3409 h 6279"/>
                        <a:gd name="connsiteX100" fmla="*/ 27 w 5827"/>
                        <a:gd name="connsiteY100" fmla="*/ 4007 h 6279"/>
                        <a:gd name="connsiteX101" fmla="*/ 86 w 5827"/>
                        <a:gd name="connsiteY101" fmla="*/ 4545 h 6279"/>
                        <a:gd name="connsiteX102" fmla="*/ 266 w 5827"/>
                        <a:gd name="connsiteY102" fmla="*/ 5024 h 6279"/>
                        <a:gd name="connsiteX103" fmla="*/ 565 w 5827"/>
                        <a:gd name="connsiteY103" fmla="*/ 5442 h 6279"/>
                        <a:gd name="connsiteX104" fmla="*/ 625 w 5827"/>
                        <a:gd name="connsiteY104" fmla="*/ 5502 h 6279"/>
                        <a:gd name="connsiteX105" fmla="*/ 684 w 5827"/>
                        <a:gd name="connsiteY105" fmla="*/ 5562 h 6279"/>
                        <a:gd name="connsiteX106" fmla="*/ 744 w 5827"/>
                        <a:gd name="connsiteY106" fmla="*/ 5622 h 6279"/>
                        <a:gd name="connsiteX107" fmla="*/ 804 w 5827"/>
                        <a:gd name="connsiteY107" fmla="*/ 592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827" h="6279">
                          <a:moveTo>
                            <a:pt x="1940" y="5323"/>
                          </a:moveTo>
                          <a:cubicBezTo>
                            <a:pt x="1881" y="5323"/>
                            <a:pt x="1821" y="5323"/>
                            <a:pt x="1761" y="5263"/>
                          </a:cubicBezTo>
                          <a:cubicBezTo>
                            <a:pt x="1701" y="5263"/>
                            <a:pt x="1642" y="5203"/>
                            <a:pt x="1642" y="5203"/>
                          </a:cubicBezTo>
                          <a:cubicBezTo>
                            <a:pt x="1582" y="5203"/>
                            <a:pt x="1522" y="5143"/>
                            <a:pt x="1522" y="5143"/>
                          </a:cubicBezTo>
                          <a:cubicBezTo>
                            <a:pt x="1462" y="5143"/>
                            <a:pt x="1462" y="5083"/>
                            <a:pt x="1402" y="5083"/>
                          </a:cubicBezTo>
                          <a:lnTo>
                            <a:pt x="1223" y="4904"/>
                          </a:lnTo>
                          <a:cubicBezTo>
                            <a:pt x="1223" y="4904"/>
                            <a:pt x="1223" y="4904"/>
                            <a:pt x="1223" y="4844"/>
                          </a:cubicBezTo>
                          <a:cubicBezTo>
                            <a:pt x="1223" y="4844"/>
                            <a:pt x="1223" y="4844"/>
                            <a:pt x="1223" y="4785"/>
                          </a:cubicBezTo>
                          <a:cubicBezTo>
                            <a:pt x="1223" y="4785"/>
                            <a:pt x="1223" y="4785"/>
                            <a:pt x="1223" y="4725"/>
                          </a:cubicBezTo>
                          <a:cubicBezTo>
                            <a:pt x="1223" y="4725"/>
                            <a:pt x="1223" y="4725"/>
                            <a:pt x="1223" y="4665"/>
                          </a:cubicBezTo>
                          <a:cubicBezTo>
                            <a:pt x="1163" y="4605"/>
                            <a:pt x="1103" y="4486"/>
                            <a:pt x="1103" y="4366"/>
                          </a:cubicBezTo>
                          <a:cubicBezTo>
                            <a:pt x="1043" y="4246"/>
                            <a:pt x="1043" y="4186"/>
                            <a:pt x="1043" y="4067"/>
                          </a:cubicBezTo>
                          <a:cubicBezTo>
                            <a:pt x="1043" y="3947"/>
                            <a:pt x="983" y="3827"/>
                            <a:pt x="983" y="3708"/>
                          </a:cubicBezTo>
                          <a:cubicBezTo>
                            <a:pt x="983" y="3588"/>
                            <a:pt x="983" y="3469"/>
                            <a:pt x="983" y="3349"/>
                          </a:cubicBezTo>
                          <a:cubicBezTo>
                            <a:pt x="983" y="3229"/>
                            <a:pt x="1043" y="3110"/>
                            <a:pt x="1043" y="2990"/>
                          </a:cubicBezTo>
                          <a:cubicBezTo>
                            <a:pt x="1103" y="2871"/>
                            <a:pt x="1103" y="2751"/>
                            <a:pt x="1163" y="2632"/>
                          </a:cubicBezTo>
                          <a:cubicBezTo>
                            <a:pt x="1223" y="2512"/>
                            <a:pt x="1282" y="2392"/>
                            <a:pt x="1342" y="2272"/>
                          </a:cubicBezTo>
                          <a:cubicBezTo>
                            <a:pt x="1402" y="2153"/>
                            <a:pt x="1462" y="2033"/>
                            <a:pt x="1582" y="1973"/>
                          </a:cubicBezTo>
                          <a:cubicBezTo>
                            <a:pt x="1582" y="1973"/>
                            <a:pt x="1582" y="1914"/>
                            <a:pt x="1642" y="1914"/>
                          </a:cubicBezTo>
                          <a:cubicBezTo>
                            <a:pt x="1642" y="1914"/>
                            <a:pt x="1642" y="1854"/>
                            <a:pt x="1701" y="1854"/>
                          </a:cubicBezTo>
                          <a:cubicBezTo>
                            <a:pt x="1701" y="1854"/>
                            <a:pt x="1701" y="1854"/>
                            <a:pt x="1761" y="1794"/>
                          </a:cubicBezTo>
                          <a:cubicBezTo>
                            <a:pt x="1761" y="1794"/>
                            <a:pt x="1761" y="1794"/>
                            <a:pt x="1821" y="1734"/>
                          </a:cubicBezTo>
                          <a:cubicBezTo>
                            <a:pt x="1881" y="1674"/>
                            <a:pt x="1940" y="1615"/>
                            <a:pt x="2000" y="1555"/>
                          </a:cubicBezTo>
                          <a:cubicBezTo>
                            <a:pt x="2060" y="1495"/>
                            <a:pt x="2120" y="1435"/>
                            <a:pt x="2239" y="1375"/>
                          </a:cubicBezTo>
                          <a:cubicBezTo>
                            <a:pt x="2299" y="1316"/>
                            <a:pt x="2359" y="1256"/>
                            <a:pt x="2479" y="1256"/>
                          </a:cubicBezTo>
                          <a:cubicBezTo>
                            <a:pt x="2538" y="1196"/>
                            <a:pt x="2658" y="1196"/>
                            <a:pt x="2718" y="1136"/>
                          </a:cubicBezTo>
                          <a:cubicBezTo>
                            <a:pt x="2778" y="1136"/>
                            <a:pt x="2837" y="1076"/>
                            <a:pt x="2897" y="1076"/>
                          </a:cubicBezTo>
                          <a:cubicBezTo>
                            <a:pt x="2957" y="1076"/>
                            <a:pt x="3017" y="1017"/>
                            <a:pt x="3077" y="1017"/>
                          </a:cubicBezTo>
                          <a:cubicBezTo>
                            <a:pt x="3137" y="1017"/>
                            <a:pt x="3196" y="1017"/>
                            <a:pt x="3256" y="957"/>
                          </a:cubicBezTo>
                          <a:cubicBezTo>
                            <a:pt x="3316" y="957"/>
                            <a:pt x="3376" y="957"/>
                            <a:pt x="3436" y="957"/>
                          </a:cubicBezTo>
                          <a:cubicBezTo>
                            <a:pt x="3555" y="957"/>
                            <a:pt x="3615" y="957"/>
                            <a:pt x="3735" y="957"/>
                          </a:cubicBezTo>
                          <a:cubicBezTo>
                            <a:pt x="3854" y="957"/>
                            <a:pt x="3914" y="957"/>
                            <a:pt x="4034" y="1017"/>
                          </a:cubicBezTo>
                          <a:cubicBezTo>
                            <a:pt x="4153" y="1076"/>
                            <a:pt x="4213" y="1076"/>
                            <a:pt x="4273" y="1136"/>
                          </a:cubicBezTo>
                          <a:cubicBezTo>
                            <a:pt x="4333" y="1196"/>
                            <a:pt x="4452" y="1256"/>
                            <a:pt x="4512" y="1316"/>
                          </a:cubicBezTo>
                          <a:cubicBezTo>
                            <a:pt x="4512" y="1316"/>
                            <a:pt x="4572" y="1316"/>
                            <a:pt x="4572" y="1375"/>
                          </a:cubicBezTo>
                          <a:cubicBezTo>
                            <a:pt x="4572" y="1375"/>
                            <a:pt x="4632" y="1375"/>
                            <a:pt x="4632" y="1435"/>
                          </a:cubicBezTo>
                          <a:cubicBezTo>
                            <a:pt x="4632" y="1435"/>
                            <a:pt x="4632" y="1435"/>
                            <a:pt x="4691" y="1495"/>
                          </a:cubicBezTo>
                          <a:cubicBezTo>
                            <a:pt x="4691" y="1495"/>
                            <a:pt x="4691" y="1555"/>
                            <a:pt x="4751" y="1555"/>
                          </a:cubicBezTo>
                          <a:cubicBezTo>
                            <a:pt x="4811" y="1674"/>
                            <a:pt x="4931" y="1734"/>
                            <a:pt x="4931" y="1854"/>
                          </a:cubicBezTo>
                          <a:cubicBezTo>
                            <a:pt x="4991" y="1973"/>
                            <a:pt x="5050" y="2093"/>
                            <a:pt x="5050" y="2213"/>
                          </a:cubicBezTo>
                          <a:cubicBezTo>
                            <a:pt x="5110" y="2332"/>
                            <a:pt x="5110" y="2452"/>
                            <a:pt x="5110" y="2572"/>
                          </a:cubicBezTo>
                          <a:cubicBezTo>
                            <a:pt x="5110" y="2691"/>
                            <a:pt x="5110" y="2871"/>
                            <a:pt x="5110" y="2990"/>
                          </a:cubicBezTo>
                          <a:cubicBezTo>
                            <a:pt x="5110" y="3110"/>
                            <a:pt x="5050" y="3289"/>
                            <a:pt x="4991" y="3409"/>
                          </a:cubicBezTo>
                          <a:cubicBezTo>
                            <a:pt x="4931" y="3528"/>
                            <a:pt x="4871" y="3648"/>
                            <a:pt x="4811" y="3827"/>
                          </a:cubicBezTo>
                          <a:cubicBezTo>
                            <a:pt x="4751" y="3947"/>
                            <a:pt x="4691" y="4067"/>
                            <a:pt x="4572" y="4186"/>
                          </a:cubicBezTo>
                          <a:cubicBezTo>
                            <a:pt x="4452" y="4306"/>
                            <a:pt x="4392" y="4426"/>
                            <a:pt x="4273" y="4545"/>
                          </a:cubicBezTo>
                          <a:cubicBezTo>
                            <a:pt x="4153" y="4665"/>
                            <a:pt x="4034" y="4785"/>
                            <a:pt x="3914" y="4844"/>
                          </a:cubicBezTo>
                          <a:cubicBezTo>
                            <a:pt x="3794" y="4904"/>
                            <a:pt x="3675" y="5024"/>
                            <a:pt x="3555" y="5083"/>
                          </a:cubicBezTo>
                          <a:cubicBezTo>
                            <a:pt x="3436" y="5143"/>
                            <a:pt x="3316" y="5203"/>
                            <a:pt x="3196" y="5203"/>
                          </a:cubicBezTo>
                          <a:cubicBezTo>
                            <a:pt x="3077" y="5263"/>
                            <a:pt x="2957" y="5263"/>
                            <a:pt x="2837" y="5263"/>
                          </a:cubicBezTo>
                          <a:cubicBezTo>
                            <a:pt x="2778" y="5263"/>
                            <a:pt x="2718" y="5263"/>
                            <a:pt x="2658" y="5263"/>
                          </a:cubicBezTo>
                          <a:cubicBezTo>
                            <a:pt x="2598" y="5263"/>
                            <a:pt x="2538" y="5263"/>
                            <a:pt x="2479" y="5263"/>
                          </a:cubicBezTo>
                          <a:cubicBezTo>
                            <a:pt x="2419" y="5263"/>
                            <a:pt x="2359" y="5263"/>
                            <a:pt x="2359" y="5263"/>
                          </a:cubicBezTo>
                          <a:cubicBezTo>
                            <a:pt x="2060" y="5323"/>
                            <a:pt x="2000" y="5323"/>
                            <a:pt x="1940" y="5323"/>
                          </a:cubicBezTo>
                          <a:moveTo>
                            <a:pt x="804" y="5921"/>
                          </a:moveTo>
                          <a:cubicBezTo>
                            <a:pt x="804" y="5921"/>
                            <a:pt x="804" y="5921"/>
                            <a:pt x="804" y="5921"/>
                          </a:cubicBezTo>
                          <a:cubicBezTo>
                            <a:pt x="864" y="5981"/>
                            <a:pt x="864" y="5981"/>
                            <a:pt x="864" y="5981"/>
                          </a:cubicBezTo>
                          <a:cubicBezTo>
                            <a:pt x="864" y="5981"/>
                            <a:pt x="864" y="5981"/>
                            <a:pt x="923" y="5981"/>
                          </a:cubicBezTo>
                          <a:cubicBezTo>
                            <a:pt x="983" y="5981"/>
                            <a:pt x="923" y="5981"/>
                            <a:pt x="983" y="5981"/>
                          </a:cubicBezTo>
                          <a:cubicBezTo>
                            <a:pt x="1043" y="6040"/>
                            <a:pt x="1103" y="6040"/>
                            <a:pt x="1163" y="6100"/>
                          </a:cubicBezTo>
                          <a:cubicBezTo>
                            <a:pt x="1223" y="6160"/>
                            <a:pt x="1282" y="6160"/>
                            <a:pt x="1402" y="6160"/>
                          </a:cubicBezTo>
                          <a:cubicBezTo>
                            <a:pt x="1462" y="6160"/>
                            <a:pt x="1522" y="6220"/>
                            <a:pt x="1642" y="6220"/>
                          </a:cubicBezTo>
                          <a:cubicBezTo>
                            <a:pt x="1701" y="6220"/>
                            <a:pt x="1821" y="6280"/>
                            <a:pt x="1881" y="6280"/>
                          </a:cubicBezTo>
                          <a:cubicBezTo>
                            <a:pt x="1940" y="6280"/>
                            <a:pt x="2000" y="6280"/>
                            <a:pt x="2000" y="6280"/>
                          </a:cubicBezTo>
                          <a:cubicBezTo>
                            <a:pt x="2060" y="6280"/>
                            <a:pt x="2120" y="6280"/>
                            <a:pt x="2120" y="6280"/>
                          </a:cubicBezTo>
                          <a:cubicBezTo>
                            <a:pt x="2120" y="6280"/>
                            <a:pt x="2239" y="6280"/>
                            <a:pt x="2299" y="6280"/>
                          </a:cubicBezTo>
                          <a:cubicBezTo>
                            <a:pt x="2359" y="6280"/>
                            <a:pt x="2419" y="6280"/>
                            <a:pt x="2479" y="6280"/>
                          </a:cubicBezTo>
                          <a:cubicBezTo>
                            <a:pt x="2658" y="6280"/>
                            <a:pt x="2837" y="6220"/>
                            <a:pt x="3077" y="6160"/>
                          </a:cubicBezTo>
                          <a:cubicBezTo>
                            <a:pt x="3256" y="6100"/>
                            <a:pt x="3436" y="6040"/>
                            <a:pt x="3615" y="5921"/>
                          </a:cubicBezTo>
                          <a:cubicBezTo>
                            <a:pt x="3794" y="5801"/>
                            <a:pt x="3974" y="5741"/>
                            <a:pt x="4153" y="5562"/>
                          </a:cubicBezTo>
                          <a:cubicBezTo>
                            <a:pt x="4333" y="5382"/>
                            <a:pt x="4512" y="5323"/>
                            <a:pt x="4632" y="5143"/>
                          </a:cubicBezTo>
                          <a:cubicBezTo>
                            <a:pt x="4811" y="4964"/>
                            <a:pt x="4931" y="4785"/>
                            <a:pt x="5050" y="4605"/>
                          </a:cubicBezTo>
                          <a:cubicBezTo>
                            <a:pt x="5170" y="4426"/>
                            <a:pt x="5290" y="4246"/>
                            <a:pt x="5409" y="4067"/>
                          </a:cubicBezTo>
                          <a:cubicBezTo>
                            <a:pt x="5529" y="3887"/>
                            <a:pt x="5589" y="3648"/>
                            <a:pt x="5649" y="3469"/>
                          </a:cubicBezTo>
                          <a:cubicBezTo>
                            <a:pt x="5708" y="3289"/>
                            <a:pt x="5768" y="3050"/>
                            <a:pt x="5768" y="2871"/>
                          </a:cubicBezTo>
                          <a:cubicBezTo>
                            <a:pt x="5828" y="2691"/>
                            <a:pt x="5828" y="2452"/>
                            <a:pt x="5828" y="2272"/>
                          </a:cubicBezTo>
                          <a:cubicBezTo>
                            <a:pt x="5828" y="2093"/>
                            <a:pt x="5768" y="1914"/>
                            <a:pt x="5768" y="1734"/>
                          </a:cubicBezTo>
                          <a:cubicBezTo>
                            <a:pt x="5708" y="1555"/>
                            <a:pt x="5649" y="1375"/>
                            <a:pt x="5589" y="1196"/>
                          </a:cubicBezTo>
                          <a:cubicBezTo>
                            <a:pt x="5529" y="1017"/>
                            <a:pt x="5409" y="897"/>
                            <a:pt x="5290" y="718"/>
                          </a:cubicBezTo>
                          <a:lnTo>
                            <a:pt x="4991" y="478"/>
                          </a:lnTo>
                          <a:cubicBezTo>
                            <a:pt x="4871" y="418"/>
                            <a:pt x="4751" y="299"/>
                            <a:pt x="4632" y="239"/>
                          </a:cubicBezTo>
                          <a:cubicBezTo>
                            <a:pt x="4512" y="179"/>
                            <a:pt x="4392" y="119"/>
                            <a:pt x="4213" y="60"/>
                          </a:cubicBezTo>
                          <a:cubicBezTo>
                            <a:pt x="4034" y="0"/>
                            <a:pt x="3914" y="0"/>
                            <a:pt x="3794" y="0"/>
                          </a:cubicBezTo>
                          <a:cubicBezTo>
                            <a:pt x="3675" y="0"/>
                            <a:pt x="3496" y="0"/>
                            <a:pt x="3316" y="0"/>
                          </a:cubicBezTo>
                          <a:cubicBezTo>
                            <a:pt x="3256" y="0"/>
                            <a:pt x="3196" y="0"/>
                            <a:pt x="3137" y="0"/>
                          </a:cubicBezTo>
                          <a:cubicBezTo>
                            <a:pt x="3077" y="0"/>
                            <a:pt x="3017" y="0"/>
                            <a:pt x="2957" y="0"/>
                          </a:cubicBezTo>
                          <a:cubicBezTo>
                            <a:pt x="2897" y="0"/>
                            <a:pt x="2837" y="0"/>
                            <a:pt x="2778" y="60"/>
                          </a:cubicBezTo>
                          <a:cubicBezTo>
                            <a:pt x="2718" y="60"/>
                            <a:pt x="2658" y="60"/>
                            <a:pt x="2598" y="119"/>
                          </a:cubicBezTo>
                          <a:cubicBezTo>
                            <a:pt x="2538" y="119"/>
                            <a:pt x="2419" y="179"/>
                            <a:pt x="2359" y="239"/>
                          </a:cubicBezTo>
                          <a:cubicBezTo>
                            <a:pt x="2299" y="299"/>
                            <a:pt x="2180" y="299"/>
                            <a:pt x="2120" y="359"/>
                          </a:cubicBezTo>
                          <a:cubicBezTo>
                            <a:pt x="2060" y="418"/>
                            <a:pt x="1940" y="418"/>
                            <a:pt x="1881" y="478"/>
                          </a:cubicBezTo>
                          <a:cubicBezTo>
                            <a:pt x="1821" y="538"/>
                            <a:pt x="1701" y="598"/>
                            <a:pt x="1642" y="658"/>
                          </a:cubicBezTo>
                          <a:cubicBezTo>
                            <a:pt x="1582" y="718"/>
                            <a:pt x="1522" y="718"/>
                            <a:pt x="1522" y="777"/>
                          </a:cubicBezTo>
                          <a:cubicBezTo>
                            <a:pt x="1522" y="837"/>
                            <a:pt x="1402" y="837"/>
                            <a:pt x="1402" y="897"/>
                          </a:cubicBezTo>
                          <a:cubicBezTo>
                            <a:pt x="1342" y="957"/>
                            <a:pt x="1282" y="957"/>
                            <a:pt x="1282" y="1017"/>
                          </a:cubicBezTo>
                          <a:cubicBezTo>
                            <a:pt x="1223" y="1076"/>
                            <a:pt x="1163" y="1076"/>
                            <a:pt x="1163" y="1136"/>
                          </a:cubicBezTo>
                          <a:cubicBezTo>
                            <a:pt x="983" y="1316"/>
                            <a:pt x="864" y="1495"/>
                            <a:pt x="744" y="1674"/>
                          </a:cubicBezTo>
                          <a:cubicBezTo>
                            <a:pt x="625" y="1854"/>
                            <a:pt x="505" y="2033"/>
                            <a:pt x="385" y="2213"/>
                          </a:cubicBezTo>
                          <a:cubicBezTo>
                            <a:pt x="266" y="2392"/>
                            <a:pt x="206" y="2572"/>
                            <a:pt x="146" y="2811"/>
                          </a:cubicBezTo>
                          <a:cubicBezTo>
                            <a:pt x="86" y="3050"/>
                            <a:pt x="27" y="3229"/>
                            <a:pt x="27" y="3409"/>
                          </a:cubicBezTo>
                          <a:cubicBezTo>
                            <a:pt x="27" y="3648"/>
                            <a:pt x="-33" y="3827"/>
                            <a:pt x="27" y="4007"/>
                          </a:cubicBezTo>
                          <a:cubicBezTo>
                            <a:pt x="27" y="4186"/>
                            <a:pt x="86" y="4366"/>
                            <a:pt x="86" y="4545"/>
                          </a:cubicBezTo>
                          <a:cubicBezTo>
                            <a:pt x="146" y="4725"/>
                            <a:pt x="206" y="4904"/>
                            <a:pt x="266" y="5024"/>
                          </a:cubicBezTo>
                          <a:cubicBezTo>
                            <a:pt x="326" y="5203"/>
                            <a:pt x="445" y="5323"/>
                            <a:pt x="565" y="5442"/>
                          </a:cubicBezTo>
                          <a:cubicBezTo>
                            <a:pt x="565" y="5442"/>
                            <a:pt x="625" y="5502"/>
                            <a:pt x="625" y="5502"/>
                          </a:cubicBezTo>
                          <a:cubicBezTo>
                            <a:pt x="625" y="5502"/>
                            <a:pt x="684" y="5562"/>
                            <a:pt x="684" y="5562"/>
                          </a:cubicBezTo>
                          <a:cubicBezTo>
                            <a:pt x="684" y="5562"/>
                            <a:pt x="744" y="5622"/>
                            <a:pt x="744" y="5622"/>
                          </a:cubicBezTo>
                          <a:cubicBezTo>
                            <a:pt x="744" y="5861"/>
                            <a:pt x="744" y="5921"/>
                            <a:pt x="804" y="5921"/>
                          </a:cubicBezTo>
                        </a:path>
                      </a:pathLst>
                    </a:custGeom>
                    <a:noFill/>
                    <a:ln w="6350" cap="flat">
                      <a:solidFill>
                        <a:schemeClr val="bg1">
                          <a:alpha val="80000"/>
                        </a:schemeClr>
                      </a:solidFill>
                      <a:prstDash val="solid"/>
                      <a:miter/>
                    </a:ln>
                  </p:spPr>
                  <p:txBody>
                    <a:bodyPr rtlCol="0" anchor="ctr"/>
                    <a:lstStyle/>
                    <a:p>
                      <a:endParaRPr lang="en-GB"/>
                    </a:p>
                  </p:txBody>
                </p:sp>
                <p:sp>
                  <p:nvSpPr>
                    <p:cNvPr id="7524" name="Vrije vorm: vorm 7523">
                      <a:extLst>
                        <a:ext uri="{FF2B5EF4-FFF2-40B4-BE49-F238E27FC236}">
                          <a16:creationId xmlns:a16="http://schemas.microsoft.com/office/drawing/2014/main" id="{E9D701D5-D665-4C39-B9D4-8FA5D92A7A8A}"/>
                        </a:ext>
                      </a:extLst>
                    </p:cNvPr>
                    <p:cNvSpPr/>
                    <p:nvPr/>
                  </p:nvSpPr>
                  <p:spPr>
                    <a:xfrm>
                      <a:off x="5213848" y="5227190"/>
                      <a:ext cx="5890" cy="6160"/>
                    </a:xfrm>
                    <a:custGeom>
                      <a:avLst/>
                      <a:gdLst>
                        <a:gd name="connsiteX0" fmla="*/ 4351 w 5890"/>
                        <a:gd name="connsiteY0" fmla="*/ 1316 h 6160"/>
                        <a:gd name="connsiteX1" fmla="*/ 4650 w 5890"/>
                        <a:gd name="connsiteY1" fmla="*/ 1615 h 6160"/>
                        <a:gd name="connsiteX2" fmla="*/ 4829 w 5890"/>
                        <a:gd name="connsiteY2" fmla="*/ 1974 h 6160"/>
                        <a:gd name="connsiteX3" fmla="*/ 4889 w 5890"/>
                        <a:gd name="connsiteY3" fmla="*/ 2392 h 6160"/>
                        <a:gd name="connsiteX4" fmla="*/ 4889 w 5890"/>
                        <a:gd name="connsiteY4" fmla="*/ 2871 h 6160"/>
                        <a:gd name="connsiteX5" fmla="*/ 4770 w 5890"/>
                        <a:gd name="connsiteY5" fmla="*/ 3289 h 6160"/>
                        <a:gd name="connsiteX6" fmla="*/ 4590 w 5890"/>
                        <a:gd name="connsiteY6" fmla="*/ 3708 h 6160"/>
                        <a:gd name="connsiteX7" fmla="*/ 4351 w 5890"/>
                        <a:gd name="connsiteY7" fmla="*/ 4067 h 6160"/>
                        <a:gd name="connsiteX8" fmla="*/ 4052 w 5890"/>
                        <a:gd name="connsiteY8" fmla="*/ 4426 h 6160"/>
                        <a:gd name="connsiteX9" fmla="*/ 3693 w 5890"/>
                        <a:gd name="connsiteY9" fmla="*/ 4725 h 6160"/>
                        <a:gd name="connsiteX10" fmla="*/ 3334 w 5890"/>
                        <a:gd name="connsiteY10" fmla="*/ 4964 h 6160"/>
                        <a:gd name="connsiteX11" fmla="*/ 2975 w 5890"/>
                        <a:gd name="connsiteY11" fmla="*/ 5143 h 6160"/>
                        <a:gd name="connsiteX12" fmla="*/ 2557 w 5890"/>
                        <a:gd name="connsiteY12" fmla="*/ 5203 h 6160"/>
                        <a:gd name="connsiteX13" fmla="*/ 2258 w 5890"/>
                        <a:gd name="connsiteY13" fmla="*/ 5203 h 6160"/>
                        <a:gd name="connsiteX14" fmla="*/ 1959 w 5890"/>
                        <a:gd name="connsiteY14" fmla="*/ 5143 h 6160"/>
                        <a:gd name="connsiteX15" fmla="*/ 1719 w 5890"/>
                        <a:gd name="connsiteY15" fmla="*/ 5024 h 6160"/>
                        <a:gd name="connsiteX16" fmla="*/ 1480 w 5890"/>
                        <a:gd name="connsiteY16" fmla="*/ 4844 h 6160"/>
                        <a:gd name="connsiteX17" fmla="*/ 1181 w 5890"/>
                        <a:gd name="connsiteY17" fmla="*/ 4545 h 6160"/>
                        <a:gd name="connsiteX18" fmla="*/ 1002 w 5890"/>
                        <a:gd name="connsiteY18" fmla="*/ 4187 h 6160"/>
                        <a:gd name="connsiteX19" fmla="*/ 882 w 5890"/>
                        <a:gd name="connsiteY19" fmla="*/ 3768 h 6160"/>
                        <a:gd name="connsiteX20" fmla="*/ 882 w 5890"/>
                        <a:gd name="connsiteY20" fmla="*/ 3289 h 6160"/>
                        <a:gd name="connsiteX21" fmla="*/ 1002 w 5890"/>
                        <a:gd name="connsiteY21" fmla="*/ 2871 h 6160"/>
                        <a:gd name="connsiteX22" fmla="*/ 1181 w 5890"/>
                        <a:gd name="connsiteY22" fmla="*/ 2452 h 6160"/>
                        <a:gd name="connsiteX23" fmla="*/ 1420 w 5890"/>
                        <a:gd name="connsiteY23" fmla="*/ 2093 h 6160"/>
                        <a:gd name="connsiteX24" fmla="*/ 1719 w 5890"/>
                        <a:gd name="connsiteY24" fmla="*/ 1735 h 6160"/>
                        <a:gd name="connsiteX25" fmla="*/ 2018 w 5890"/>
                        <a:gd name="connsiteY25" fmla="*/ 1435 h 6160"/>
                        <a:gd name="connsiteX26" fmla="*/ 2377 w 5890"/>
                        <a:gd name="connsiteY26" fmla="*/ 1196 h 6160"/>
                        <a:gd name="connsiteX27" fmla="*/ 2736 w 5890"/>
                        <a:gd name="connsiteY27" fmla="*/ 1017 h 6160"/>
                        <a:gd name="connsiteX28" fmla="*/ 3095 w 5890"/>
                        <a:gd name="connsiteY28" fmla="*/ 957 h 6160"/>
                        <a:gd name="connsiteX29" fmla="*/ 3394 w 5890"/>
                        <a:gd name="connsiteY29" fmla="*/ 957 h 6160"/>
                        <a:gd name="connsiteX30" fmla="*/ 3693 w 5890"/>
                        <a:gd name="connsiteY30" fmla="*/ 1017 h 6160"/>
                        <a:gd name="connsiteX31" fmla="*/ 3992 w 5890"/>
                        <a:gd name="connsiteY31" fmla="*/ 1136 h 6160"/>
                        <a:gd name="connsiteX32" fmla="*/ 4351 w 5890"/>
                        <a:gd name="connsiteY32" fmla="*/ 1316 h 6160"/>
                        <a:gd name="connsiteX33" fmla="*/ 822 w 5890"/>
                        <a:gd name="connsiteY33" fmla="*/ 5682 h 6160"/>
                        <a:gd name="connsiteX34" fmla="*/ 1181 w 5890"/>
                        <a:gd name="connsiteY34" fmla="*/ 5921 h 6160"/>
                        <a:gd name="connsiteX35" fmla="*/ 1600 w 5890"/>
                        <a:gd name="connsiteY35" fmla="*/ 6100 h 6160"/>
                        <a:gd name="connsiteX36" fmla="*/ 2018 w 5890"/>
                        <a:gd name="connsiteY36" fmla="*/ 6160 h 6160"/>
                        <a:gd name="connsiteX37" fmla="*/ 2497 w 5890"/>
                        <a:gd name="connsiteY37" fmla="*/ 6160 h 6160"/>
                        <a:gd name="connsiteX38" fmla="*/ 3633 w 5890"/>
                        <a:gd name="connsiteY38" fmla="*/ 5801 h 6160"/>
                        <a:gd name="connsiteX39" fmla="*/ 4650 w 5890"/>
                        <a:gd name="connsiteY39" fmla="*/ 5024 h 6160"/>
                        <a:gd name="connsiteX40" fmla="*/ 5427 w 5890"/>
                        <a:gd name="connsiteY40" fmla="*/ 4007 h 6160"/>
                        <a:gd name="connsiteX41" fmla="*/ 5846 w 5890"/>
                        <a:gd name="connsiteY41" fmla="*/ 2811 h 6160"/>
                        <a:gd name="connsiteX42" fmla="*/ 5846 w 5890"/>
                        <a:gd name="connsiteY42" fmla="*/ 2093 h 6160"/>
                        <a:gd name="connsiteX43" fmla="*/ 5727 w 5890"/>
                        <a:gd name="connsiteY43" fmla="*/ 1435 h 6160"/>
                        <a:gd name="connsiteX44" fmla="*/ 5427 w 5890"/>
                        <a:gd name="connsiteY44" fmla="*/ 897 h 6160"/>
                        <a:gd name="connsiteX45" fmla="*/ 5009 w 5890"/>
                        <a:gd name="connsiteY45" fmla="*/ 479 h 6160"/>
                        <a:gd name="connsiteX46" fmla="*/ 4650 w 5890"/>
                        <a:gd name="connsiteY46" fmla="*/ 239 h 6160"/>
                        <a:gd name="connsiteX47" fmla="*/ 4231 w 5890"/>
                        <a:gd name="connsiteY47" fmla="*/ 60 h 6160"/>
                        <a:gd name="connsiteX48" fmla="*/ 3813 w 5890"/>
                        <a:gd name="connsiteY48" fmla="*/ 0 h 6160"/>
                        <a:gd name="connsiteX49" fmla="*/ 3334 w 5890"/>
                        <a:gd name="connsiteY49" fmla="*/ 0 h 6160"/>
                        <a:gd name="connsiteX50" fmla="*/ 2736 w 5890"/>
                        <a:gd name="connsiteY50" fmla="*/ 120 h 6160"/>
                        <a:gd name="connsiteX51" fmla="*/ 2198 w 5890"/>
                        <a:gd name="connsiteY51" fmla="*/ 359 h 6160"/>
                        <a:gd name="connsiteX52" fmla="*/ 1659 w 5890"/>
                        <a:gd name="connsiteY52" fmla="*/ 718 h 6160"/>
                        <a:gd name="connsiteX53" fmla="*/ 1181 w 5890"/>
                        <a:gd name="connsiteY53" fmla="*/ 1136 h 6160"/>
                        <a:gd name="connsiteX54" fmla="*/ 763 w 5890"/>
                        <a:gd name="connsiteY54" fmla="*/ 1615 h 6160"/>
                        <a:gd name="connsiteX55" fmla="*/ 404 w 5890"/>
                        <a:gd name="connsiteY55" fmla="*/ 2153 h 6160"/>
                        <a:gd name="connsiteX56" fmla="*/ 164 w 5890"/>
                        <a:gd name="connsiteY56" fmla="*/ 2751 h 6160"/>
                        <a:gd name="connsiteX57" fmla="*/ 45 w 5890"/>
                        <a:gd name="connsiteY57" fmla="*/ 3349 h 6160"/>
                        <a:gd name="connsiteX58" fmla="*/ 45 w 5890"/>
                        <a:gd name="connsiteY58" fmla="*/ 4067 h 6160"/>
                        <a:gd name="connsiteX59" fmla="*/ 164 w 5890"/>
                        <a:gd name="connsiteY59" fmla="*/ 4725 h 6160"/>
                        <a:gd name="connsiteX60" fmla="*/ 464 w 5890"/>
                        <a:gd name="connsiteY60" fmla="*/ 5263 h 6160"/>
                        <a:gd name="connsiteX61" fmla="*/ 822 w 5890"/>
                        <a:gd name="connsiteY61" fmla="*/ 5682 h 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890" h="6160">
                          <a:moveTo>
                            <a:pt x="4351" y="1316"/>
                          </a:moveTo>
                          <a:cubicBezTo>
                            <a:pt x="4471" y="1376"/>
                            <a:pt x="4530" y="1495"/>
                            <a:pt x="4650" y="1615"/>
                          </a:cubicBezTo>
                          <a:cubicBezTo>
                            <a:pt x="4710" y="1735"/>
                            <a:pt x="4770" y="1854"/>
                            <a:pt x="4829" y="1974"/>
                          </a:cubicBezTo>
                          <a:cubicBezTo>
                            <a:pt x="4889" y="2093"/>
                            <a:pt x="4889" y="2273"/>
                            <a:pt x="4889" y="2392"/>
                          </a:cubicBezTo>
                          <a:cubicBezTo>
                            <a:pt x="4889" y="2572"/>
                            <a:pt x="4889" y="2691"/>
                            <a:pt x="4889" y="2871"/>
                          </a:cubicBezTo>
                          <a:cubicBezTo>
                            <a:pt x="4889" y="2990"/>
                            <a:pt x="4829" y="3170"/>
                            <a:pt x="4770" y="3289"/>
                          </a:cubicBezTo>
                          <a:cubicBezTo>
                            <a:pt x="4710" y="3409"/>
                            <a:pt x="4650" y="3589"/>
                            <a:pt x="4590" y="3708"/>
                          </a:cubicBezTo>
                          <a:cubicBezTo>
                            <a:pt x="4530" y="3828"/>
                            <a:pt x="4471" y="3947"/>
                            <a:pt x="4351" y="4067"/>
                          </a:cubicBezTo>
                          <a:cubicBezTo>
                            <a:pt x="4231" y="4187"/>
                            <a:pt x="4172" y="4306"/>
                            <a:pt x="4052" y="4426"/>
                          </a:cubicBezTo>
                          <a:cubicBezTo>
                            <a:pt x="3932" y="4545"/>
                            <a:pt x="3813" y="4605"/>
                            <a:pt x="3693" y="4725"/>
                          </a:cubicBezTo>
                          <a:cubicBezTo>
                            <a:pt x="3573" y="4785"/>
                            <a:pt x="3454" y="4904"/>
                            <a:pt x="3334" y="4964"/>
                          </a:cubicBezTo>
                          <a:cubicBezTo>
                            <a:pt x="3214" y="5024"/>
                            <a:pt x="3095" y="5084"/>
                            <a:pt x="2975" y="5143"/>
                          </a:cubicBezTo>
                          <a:cubicBezTo>
                            <a:pt x="2856" y="5203"/>
                            <a:pt x="2736" y="5203"/>
                            <a:pt x="2557" y="5203"/>
                          </a:cubicBezTo>
                          <a:cubicBezTo>
                            <a:pt x="2437" y="5203"/>
                            <a:pt x="2318" y="5203"/>
                            <a:pt x="2258" y="5203"/>
                          </a:cubicBezTo>
                          <a:cubicBezTo>
                            <a:pt x="2138" y="5203"/>
                            <a:pt x="2078" y="5203"/>
                            <a:pt x="1959" y="5143"/>
                          </a:cubicBezTo>
                          <a:cubicBezTo>
                            <a:pt x="1839" y="5143"/>
                            <a:pt x="1779" y="5084"/>
                            <a:pt x="1719" y="5024"/>
                          </a:cubicBezTo>
                          <a:cubicBezTo>
                            <a:pt x="1659" y="4964"/>
                            <a:pt x="1540" y="4904"/>
                            <a:pt x="1480" y="4844"/>
                          </a:cubicBezTo>
                          <a:cubicBezTo>
                            <a:pt x="1360" y="4785"/>
                            <a:pt x="1301" y="4665"/>
                            <a:pt x="1181" y="4545"/>
                          </a:cubicBezTo>
                          <a:cubicBezTo>
                            <a:pt x="1121" y="4426"/>
                            <a:pt x="1062" y="4306"/>
                            <a:pt x="1002" y="4187"/>
                          </a:cubicBezTo>
                          <a:cubicBezTo>
                            <a:pt x="942" y="4067"/>
                            <a:pt x="942" y="3888"/>
                            <a:pt x="882" y="3768"/>
                          </a:cubicBezTo>
                          <a:cubicBezTo>
                            <a:pt x="882" y="3589"/>
                            <a:pt x="882" y="3469"/>
                            <a:pt x="882" y="3289"/>
                          </a:cubicBezTo>
                          <a:cubicBezTo>
                            <a:pt x="882" y="3170"/>
                            <a:pt x="942" y="2990"/>
                            <a:pt x="1002" y="2871"/>
                          </a:cubicBezTo>
                          <a:cubicBezTo>
                            <a:pt x="1062" y="2751"/>
                            <a:pt x="1121" y="2572"/>
                            <a:pt x="1181" y="2452"/>
                          </a:cubicBezTo>
                          <a:cubicBezTo>
                            <a:pt x="1241" y="2333"/>
                            <a:pt x="1360" y="2213"/>
                            <a:pt x="1420" y="2093"/>
                          </a:cubicBezTo>
                          <a:cubicBezTo>
                            <a:pt x="1540" y="1974"/>
                            <a:pt x="1600" y="1854"/>
                            <a:pt x="1719" y="1735"/>
                          </a:cubicBezTo>
                          <a:cubicBezTo>
                            <a:pt x="1839" y="1615"/>
                            <a:pt x="1959" y="1555"/>
                            <a:pt x="2018" y="1435"/>
                          </a:cubicBezTo>
                          <a:cubicBezTo>
                            <a:pt x="2138" y="1376"/>
                            <a:pt x="2258" y="1256"/>
                            <a:pt x="2377" y="1196"/>
                          </a:cubicBezTo>
                          <a:cubicBezTo>
                            <a:pt x="2497" y="1136"/>
                            <a:pt x="2617" y="1076"/>
                            <a:pt x="2736" y="1017"/>
                          </a:cubicBezTo>
                          <a:cubicBezTo>
                            <a:pt x="2856" y="957"/>
                            <a:pt x="2975" y="957"/>
                            <a:pt x="3095" y="957"/>
                          </a:cubicBezTo>
                          <a:cubicBezTo>
                            <a:pt x="3214" y="957"/>
                            <a:pt x="3334" y="957"/>
                            <a:pt x="3394" y="957"/>
                          </a:cubicBezTo>
                          <a:cubicBezTo>
                            <a:pt x="3513" y="957"/>
                            <a:pt x="3573" y="957"/>
                            <a:pt x="3693" y="1017"/>
                          </a:cubicBezTo>
                          <a:cubicBezTo>
                            <a:pt x="3813" y="1017"/>
                            <a:pt x="3872" y="1076"/>
                            <a:pt x="3992" y="1136"/>
                          </a:cubicBezTo>
                          <a:cubicBezTo>
                            <a:pt x="4112" y="1196"/>
                            <a:pt x="4291" y="1256"/>
                            <a:pt x="4351" y="1316"/>
                          </a:cubicBezTo>
                          <a:moveTo>
                            <a:pt x="822" y="5682"/>
                          </a:moveTo>
                          <a:cubicBezTo>
                            <a:pt x="942" y="5742"/>
                            <a:pt x="1062" y="5861"/>
                            <a:pt x="1181" y="5921"/>
                          </a:cubicBezTo>
                          <a:cubicBezTo>
                            <a:pt x="1301" y="5981"/>
                            <a:pt x="1420" y="6041"/>
                            <a:pt x="1600" y="6100"/>
                          </a:cubicBezTo>
                          <a:cubicBezTo>
                            <a:pt x="1719" y="6160"/>
                            <a:pt x="1899" y="6160"/>
                            <a:pt x="2018" y="6160"/>
                          </a:cubicBezTo>
                          <a:cubicBezTo>
                            <a:pt x="2138" y="6160"/>
                            <a:pt x="2318" y="6160"/>
                            <a:pt x="2497" y="6160"/>
                          </a:cubicBezTo>
                          <a:cubicBezTo>
                            <a:pt x="2916" y="6100"/>
                            <a:pt x="3274" y="5981"/>
                            <a:pt x="3633" y="5801"/>
                          </a:cubicBezTo>
                          <a:cubicBezTo>
                            <a:pt x="3992" y="5622"/>
                            <a:pt x="4351" y="5383"/>
                            <a:pt x="4650" y="5024"/>
                          </a:cubicBezTo>
                          <a:cubicBezTo>
                            <a:pt x="4949" y="4665"/>
                            <a:pt x="5188" y="4366"/>
                            <a:pt x="5427" y="4007"/>
                          </a:cubicBezTo>
                          <a:cubicBezTo>
                            <a:pt x="5607" y="3648"/>
                            <a:pt x="5786" y="3230"/>
                            <a:pt x="5846" y="2811"/>
                          </a:cubicBezTo>
                          <a:cubicBezTo>
                            <a:pt x="5906" y="2572"/>
                            <a:pt x="5906" y="2333"/>
                            <a:pt x="5846" y="2093"/>
                          </a:cubicBezTo>
                          <a:cubicBezTo>
                            <a:pt x="5786" y="1854"/>
                            <a:pt x="5786" y="1675"/>
                            <a:pt x="5727" y="1435"/>
                          </a:cubicBezTo>
                          <a:cubicBezTo>
                            <a:pt x="5667" y="1196"/>
                            <a:pt x="5547" y="1076"/>
                            <a:pt x="5427" y="897"/>
                          </a:cubicBezTo>
                          <a:cubicBezTo>
                            <a:pt x="5308" y="718"/>
                            <a:pt x="5188" y="598"/>
                            <a:pt x="5009" y="479"/>
                          </a:cubicBezTo>
                          <a:cubicBezTo>
                            <a:pt x="4889" y="419"/>
                            <a:pt x="4770" y="299"/>
                            <a:pt x="4650" y="239"/>
                          </a:cubicBezTo>
                          <a:cubicBezTo>
                            <a:pt x="4530" y="180"/>
                            <a:pt x="4411" y="120"/>
                            <a:pt x="4231" y="60"/>
                          </a:cubicBezTo>
                          <a:cubicBezTo>
                            <a:pt x="4112" y="0"/>
                            <a:pt x="3932" y="0"/>
                            <a:pt x="3813" y="0"/>
                          </a:cubicBezTo>
                          <a:cubicBezTo>
                            <a:pt x="3633" y="0"/>
                            <a:pt x="3513" y="0"/>
                            <a:pt x="3334" y="0"/>
                          </a:cubicBezTo>
                          <a:cubicBezTo>
                            <a:pt x="3155" y="0"/>
                            <a:pt x="2975" y="60"/>
                            <a:pt x="2736" y="120"/>
                          </a:cubicBezTo>
                          <a:cubicBezTo>
                            <a:pt x="2497" y="180"/>
                            <a:pt x="2377" y="239"/>
                            <a:pt x="2198" y="359"/>
                          </a:cubicBezTo>
                          <a:cubicBezTo>
                            <a:pt x="2018" y="479"/>
                            <a:pt x="1839" y="538"/>
                            <a:pt x="1659" y="718"/>
                          </a:cubicBezTo>
                          <a:cubicBezTo>
                            <a:pt x="1480" y="897"/>
                            <a:pt x="1301" y="1017"/>
                            <a:pt x="1181" y="1136"/>
                          </a:cubicBezTo>
                          <a:cubicBezTo>
                            <a:pt x="1002" y="1316"/>
                            <a:pt x="882" y="1435"/>
                            <a:pt x="763" y="1615"/>
                          </a:cubicBezTo>
                          <a:cubicBezTo>
                            <a:pt x="643" y="1794"/>
                            <a:pt x="523" y="1974"/>
                            <a:pt x="404" y="2153"/>
                          </a:cubicBezTo>
                          <a:cubicBezTo>
                            <a:pt x="284" y="2333"/>
                            <a:pt x="224" y="2572"/>
                            <a:pt x="164" y="2751"/>
                          </a:cubicBezTo>
                          <a:cubicBezTo>
                            <a:pt x="105" y="2930"/>
                            <a:pt x="45" y="3170"/>
                            <a:pt x="45" y="3349"/>
                          </a:cubicBezTo>
                          <a:cubicBezTo>
                            <a:pt x="-15" y="3589"/>
                            <a:pt x="-15" y="3828"/>
                            <a:pt x="45" y="4067"/>
                          </a:cubicBezTo>
                          <a:cubicBezTo>
                            <a:pt x="45" y="4306"/>
                            <a:pt x="105" y="4486"/>
                            <a:pt x="164" y="4725"/>
                          </a:cubicBezTo>
                          <a:cubicBezTo>
                            <a:pt x="224" y="4904"/>
                            <a:pt x="344" y="5084"/>
                            <a:pt x="464" y="5263"/>
                          </a:cubicBezTo>
                          <a:cubicBezTo>
                            <a:pt x="583" y="5443"/>
                            <a:pt x="703" y="5562"/>
                            <a:pt x="822" y="5682"/>
                          </a:cubicBezTo>
                        </a:path>
                      </a:pathLst>
                    </a:custGeom>
                    <a:noFill/>
                    <a:ln w="6350" cap="flat">
                      <a:solidFill>
                        <a:schemeClr val="bg1">
                          <a:alpha val="80000"/>
                        </a:schemeClr>
                      </a:solidFill>
                      <a:prstDash val="solid"/>
                      <a:miter/>
                    </a:ln>
                  </p:spPr>
                  <p:txBody>
                    <a:bodyPr rtlCol="0" anchor="ctr"/>
                    <a:lstStyle/>
                    <a:p>
                      <a:endParaRPr lang="en-GB"/>
                    </a:p>
                  </p:txBody>
                </p:sp>
                <p:sp>
                  <p:nvSpPr>
                    <p:cNvPr id="7525" name="Vrije vorm: vorm 7524">
                      <a:extLst>
                        <a:ext uri="{FF2B5EF4-FFF2-40B4-BE49-F238E27FC236}">
                          <a16:creationId xmlns:a16="http://schemas.microsoft.com/office/drawing/2014/main" id="{73396A78-0CEE-4A83-9C6B-A085C2F44CDE}"/>
                        </a:ext>
                      </a:extLst>
                    </p:cNvPr>
                    <p:cNvSpPr/>
                    <p:nvPr/>
                  </p:nvSpPr>
                  <p:spPr>
                    <a:xfrm>
                      <a:off x="5222864" y="5222660"/>
                      <a:ext cx="5827" cy="6130"/>
                    </a:xfrm>
                    <a:custGeom>
                      <a:avLst/>
                      <a:gdLst>
                        <a:gd name="connsiteX0" fmla="*/ 4366 w 5827"/>
                        <a:gd name="connsiteY0" fmla="*/ 1301 h 6130"/>
                        <a:gd name="connsiteX1" fmla="*/ 4366 w 5827"/>
                        <a:gd name="connsiteY1" fmla="*/ 1301 h 6130"/>
                        <a:gd name="connsiteX2" fmla="*/ 4426 w 5827"/>
                        <a:gd name="connsiteY2" fmla="*/ 1361 h 6130"/>
                        <a:gd name="connsiteX3" fmla="*/ 4486 w 5827"/>
                        <a:gd name="connsiteY3" fmla="*/ 1421 h 6130"/>
                        <a:gd name="connsiteX4" fmla="*/ 4545 w 5827"/>
                        <a:gd name="connsiteY4" fmla="*/ 1480 h 6130"/>
                        <a:gd name="connsiteX5" fmla="*/ 4725 w 5827"/>
                        <a:gd name="connsiteY5" fmla="*/ 1780 h 6130"/>
                        <a:gd name="connsiteX6" fmla="*/ 4844 w 5827"/>
                        <a:gd name="connsiteY6" fmla="*/ 2138 h 6130"/>
                        <a:gd name="connsiteX7" fmla="*/ 4904 w 5827"/>
                        <a:gd name="connsiteY7" fmla="*/ 2497 h 6130"/>
                        <a:gd name="connsiteX8" fmla="*/ 4904 w 5827"/>
                        <a:gd name="connsiteY8" fmla="*/ 2916 h 6130"/>
                        <a:gd name="connsiteX9" fmla="*/ 4785 w 5827"/>
                        <a:gd name="connsiteY9" fmla="*/ 3334 h 6130"/>
                        <a:gd name="connsiteX10" fmla="*/ 4605 w 5827"/>
                        <a:gd name="connsiteY10" fmla="*/ 3753 h 6130"/>
                        <a:gd name="connsiteX11" fmla="*/ 4366 w 5827"/>
                        <a:gd name="connsiteY11" fmla="*/ 4112 h 6130"/>
                        <a:gd name="connsiteX12" fmla="*/ 4067 w 5827"/>
                        <a:gd name="connsiteY12" fmla="*/ 4471 h 6130"/>
                        <a:gd name="connsiteX13" fmla="*/ 3409 w 5827"/>
                        <a:gd name="connsiteY13" fmla="*/ 4949 h 6130"/>
                        <a:gd name="connsiteX14" fmla="*/ 2751 w 5827"/>
                        <a:gd name="connsiteY14" fmla="*/ 5188 h 6130"/>
                        <a:gd name="connsiteX15" fmla="*/ 2093 w 5827"/>
                        <a:gd name="connsiteY15" fmla="*/ 5188 h 6130"/>
                        <a:gd name="connsiteX16" fmla="*/ 1555 w 5827"/>
                        <a:gd name="connsiteY16" fmla="*/ 4889 h 6130"/>
                        <a:gd name="connsiteX17" fmla="*/ 1375 w 5827"/>
                        <a:gd name="connsiteY17" fmla="*/ 4710 h 6130"/>
                        <a:gd name="connsiteX18" fmla="*/ 1196 w 5827"/>
                        <a:gd name="connsiteY18" fmla="*/ 4411 h 6130"/>
                        <a:gd name="connsiteX19" fmla="*/ 1076 w 5827"/>
                        <a:gd name="connsiteY19" fmla="*/ 4052 h 6130"/>
                        <a:gd name="connsiteX20" fmla="*/ 1017 w 5827"/>
                        <a:gd name="connsiteY20" fmla="*/ 3693 h 6130"/>
                        <a:gd name="connsiteX21" fmla="*/ 1017 w 5827"/>
                        <a:gd name="connsiteY21" fmla="*/ 3275 h 6130"/>
                        <a:gd name="connsiteX22" fmla="*/ 1136 w 5827"/>
                        <a:gd name="connsiteY22" fmla="*/ 2856 h 6130"/>
                        <a:gd name="connsiteX23" fmla="*/ 1316 w 5827"/>
                        <a:gd name="connsiteY23" fmla="*/ 2437 h 6130"/>
                        <a:gd name="connsiteX24" fmla="*/ 1555 w 5827"/>
                        <a:gd name="connsiteY24" fmla="*/ 2079 h 6130"/>
                        <a:gd name="connsiteX25" fmla="*/ 1854 w 5827"/>
                        <a:gd name="connsiteY25" fmla="*/ 1720 h 6130"/>
                        <a:gd name="connsiteX26" fmla="*/ 2512 w 5827"/>
                        <a:gd name="connsiteY26" fmla="*/ 1241 h 6130"/>
                        <a:gd name="connsiteX27" fmla="*/ 3229 w 5827"/>
                        <a:gd name="connsiteY27" fmla="*/ 1002 h 6130"/>
                        <a:gd name="connsiteX28" fmla="*/ 3887 w 5827"/>
                        <a:gd name="connsiteY28" fmla="*/ 1002 h 6130"/>
                        <a:gd name="connsiteX29" fmla="*/ 4366 w 5827"/>
                        <a:gd name="connsiteY29" fmla="*/ 1301 h 6130"/>
                        <a:gd name="connsiteX30" fmla="*/ 897 w 5827"/>
                        <a:gd name="connsiteY30" fmla="*/ 5667 h 6130"/>
                        <a:gd name="connsiteX31" fmla="*/ 1734 w 5827"/>
                        <a:gd name="connsiteY31" fmla="*/ 6085 h 6130"/>
                        <a:gd name="connsiteX32" fmla="*/ 2691 w 5827"/>
                        <a:gd name="connsiteY32" fmla="*/ 6085 h 6130"/>
                        <a:gd name="connsiteX33" fmla="*/ 3708 w 5827"/>
                        <a:gd name="connsiteY33" fmla="*/ 5727 h 6130"/>
                        <a:gd name="connsiteX34" fmla="*/ 4605 w 5827"/>
                        <a:gd name="connsiteY34" fmla="*/ 5009 h 6130"/>
                        <a:gd name="connsiteX35" fmla="*/ 5024 w 5827"/>
                        <a:gd name="connsiteY35" fmla="*/ 4471 h 6130"/>
                        <a:gd name="connsiteX36" fmla="*/ 5382 w 5827"/>
                        <a:gd name="connsiteY36" fmla="*/ 3933 h 6130"/>
                        <a:gd name="connsiteX37" fmla="*/ 5622 w 5827"/>
                        <a:gd name="connsiteY37" fmla="*/ 3334 h 6130"/>
                        <a:gd name="connsiteX38" fmla="*/ 5801 w 5827"/>
                        <a:gd name="connsiteY38" fmla="*/ 2736 h 6130"/>
                        <a:gd name="connsiteX39" fmla="*/ 5801 w 5827"/>
                        <a:gd name="connsiteY39" fmla="*/ 2138 h 6130"/>
                        <a:gd name="connsiteX40" fmla="*/ 5741 w 5827"/>
                        <a:gd name="connsiteY40" fmla="*/ 1600 h 6130"/>
                        <a:gd name="connsiteX41" fmla="*/ 5562 w 5827"/>
                        <a:gd name="connsiteY41" fmla="*/ 1121 h 6130"/>
                        <a:gd name="connsiteX42" fmla="*/ 5263 w 5827"/>
                        <a:gd name="connsiteY42" fmla="*/ 703 h 6130"/>
                        <a:gd name="connsiteX43" fmla="*/ 4964 w 5827"/>
                        <a:gd name="connsiteY43" fmla="*/ 464 h 6130"/>
                        <a:gd name="connsiteX44" fmla="*/ 4127 w 5827"/>
                        <a:gd name="connsiteY44" fmla="*/ 45 h 6130"/>
                        <a:gd name="connsiteX45" fmla="*/ 3170 w 5827"/>
                        <a:gd name="connsiteY45" fmla="*/ 45 h 6130"/>
                        <a:gd name="connsiteX46" fmla="*/ 2153 w 5827"/>
                        <a:gd name="connsiteY46" fmla="*/ 404 h 6130"/>
                        <a:gd name="connsiteX47" fmla="*/ 1196 w 5827"/>
                        <a:gd name="connsiteY47" fmla="*/ 1121 h 6130"/>
                        <a:gd name="connsiteX48" fmla="*/ 778 w 5827"/>
                        <a:gd name="connsiteY48" fmla="*/ 1660 h 6130"/>
                        <a:gd name="connsiteX49" fmla="*/ 419 w 5827"/>
                        <a:gd name="connsiteY49" fmla="*/ 2198 h 6130"/>
                        <a:gd name="connsiteX50" fmla="*/ 179 w 5827"/>
                        <a:gd name="connsiteY50" fmla="*/ 2796 h 6130"/>
                        <a:gd name="connsiteX51" fmla="*/ 60 w 5827"/>
                        <a:gd name="connsiteY51" fmla="*/ 3394 h 6130"/>
                        <a:gd name="connsiteX52" fmla="*/ 0 w 5827"/>
                        <a:gd name="connsiteY52" fmla="*/ 3992 h 6130"/>
                        <a:gd name="connsiteX53" fmla="*/ 60 w 5827"/>
                        <a:gd name="connsiteY53" fmla="*/ 4530 h 6130"/>
                        <a:gd name="connsiteX54" fmla="*/ 239 w 5827"/>
                        <a:gd name="connsiteY54" fmla="*/ 5009 h 6130"/>
                        <a:gd name="connsiteX55" fmla="*/ 538 w 5827"/>
                        <a:gd name="connsiteY55" fmla="*/ 5428 h 6130"/>
                        <a:gd name="connsiteX56" fmla="*/ 598 w 5827"/>
                        <a:gd name="connsiteY56" fmla="*/ 5488 h 6130"/>
                        <a:gd name="connsiteX57" fmla="*/ 658 w 5827"/>
                        <a:gd name="connsiteY57" fmla="*/ 5547 h 6130"/>
                        <a:gd name="connsiteX58" fmla="*/ 718 w 5827"/>
                        <a:gd name="connsiteY58" fmla="*/ 5607 h 6130"/>
                        <a:gd name="connsiteX59" fmla="*/ 897 w 5827"/>
                        <a:gd name="connsiteY59" fmla="*/ 5667 h 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827" h="6130">
                          <a:moveTo>
                            <a:pt x="4366" y="1301"/>
                          </a:moveTo>
                          <a:cubicBezTo>
                            <a:pt x="4366" y="1301"/>
                            <a:pt x="4366" y="1361"/>
                            <a:pt x="4366" y="1301"/>
                          </a:cubicBezTo>
                          <a:cubicBezTo>
                            <a:pt x="4426" y="1361"/>
                            <a:pt x="4426" y="1361"/>
                            <a:pt x="4426" y="1361"/>
                          </a:cubicBezTo>
                          <a:cubicBezTo>
                            <a:pt x="4426" y="1361"/>
                            <a:pt x="4426" y="1361"/>
                            <a:pt x="4486" y="1421"/>
                          </a:cubicBezTo>
                          <a:cubicBezTo>
                            <a:pt x="4486" y="1421"/>
                            <a:pt x="4486" y="1421"/>
                            <a:pt x="4545" y="1480"/>
                          </a:cubicBezTo>
                          <a:cubicBezTo>
                            <a:pt x="4605" y="1540"/>
                            <a:pt x="4665" y="1660"/>
                            <a:pt x="4725" y="1780"/>
                          </a:cubicBezTo>
                          <a:cubicBezTo>
                            <a:pt x="4785" y="1899"/>
                            <a:pt x="4844" y="2019"/>
                            <a:pt x="4844" y="2138"/>
                          </a:cubicBezTo>
                          <a:cubicBezTo>
                            <a:pt x="4844" y="2258"/>
                            <a:pt x="4904" y="2377"/>
                            <a:pt x="4904" y="2497"/>
                          </a:cubicBezTo>
                          <a:cubicBezTo>
                            <a:pt x="4904" y="2617"/>
                            <a:pt x="4904" y="2736"/>
                            <a:pt x="4904" y="2916"/>
                          </a:cubicBezTo>
                          <a:cubicBezTo>
                            <a:pt x="4904" y="3035"/>
                            <a:pt x="4844" y="3215"/>
                            <a:pt x="4785" y="3334"/>
                          </a:cubicBezTo>
                          <a:cubicBezTo>
                            <a:pt x="4725" y="3454"/>
                            <a:pt x="4665" y="3634"/>
                            <a:pt x="4605" y="3753"/>
                          </a:cubicBezTo>
                          <a:cubicBezTo>
                            <a:pt x="4545" y="3873"/>
                            <a:pt x="4486" y="3992"/>
                            <a:pt x="4366" y="4112"/>
                          </a:cubicBezTo>
                          <a:cubicBezTo>
                            <a:pt x="4306" y="4231"/>
                            <a:pt x="4187" y="4351"/>
                            <a:pt x="4067" y="4471"/>
                          </a:cubicBezTo>
                          <a:cubicBezTo>
                            <a:pt x="3887" y="4650"/>
                            <a:pt x="3648" y="4829"/>
                            <a:pt x="3409" y="4949"/>
                          </a:cubicBezTo>
                          <a:cubicBezTo>
                            <a:pt x="3170" y="5069"/>
                            <a:pt x="2930" y="5129"/>
                            <a:pt x="2751" y="5188"/>
                          </a:cubicBezTo>
                          <a:cubicBezTo>
                            <a:pt x="2512" y="5248"/>
                            <a:pt x="2273" y="5248"/>
                            <a:pt x="2093" y="5188"/>
                          </a:cubicBezTo>
                          <a:cubicBezTo>
                            <a:pt x="1914" y="5129"/>
                            <a:pt x="1674" y="5069"/>
                            <a:pt x="1555" y="4889"/>
                          </a:cubicBezTo>
                          <a:lnTo>
                            <a:pt x="1375" y="4710"/>
                          </a:lnTo>
                          <a:cubicBezTo>
                            <a:pt x="1316" y="4590"/>
                            <a:pt x="1256" y="4530"/>
                            <a:pt x="1196" y="4411"/>
                          </a:cubicBezTo>
                          <a:cubicBezTo>
                            <a:pt x="1136" y="4291"/>
                            <a:pt x="1076" y="4172"/>
                            <a:pt x="1076" y="4052"/>
                          </a:cubicBezTo>
                          <a:cubicBezTo>
                            <a:pt x="1017" y="3933"/>
                            <a:pt x="1017" y="3813"/>
                            <a:pt x="1017" y="3693"/>
                          </a:cubicBezTo>
                          <a:cubicBezTo>
                            <a:pt x="1017" y="3574"/>
                            <a:pt x="1017" y="3394"/>
                            <a:pt x="1017" y="3275"/>
                          </a:cubicBezTo>
                          <a:cubicBezTo>
                            <a:pt x="1017" y="3155"/>
                            <a:pt x="1076" y="2975"/>
                            <a:pt x="1136" y="2856"/>
                          </a:cubicBezTo>
                          <a:cubicBezTo>
                            <a:pt x="1196" y="2736"/>
                            <a:pt x="1256" y="2617"/>
                            <a:pt x="1316" y="2437"/>
                          </a:cubicBezTo>
                          <a:cubicBezTo>
                            <a:pt x="1375" y="2318"/>
                            <a:pt x="1435" y="2198"/>
                            <a:pt x="1555" y="2079"/>
                          </a:cubicBezTo>
                          <a:cubicBezTo>
                            <a:pt x="1615" y="1959"/>
                            <a:pt x="1734" y="1839"/>
                            <a:pt x="1854" y="1720"/>
                          </a:cubicBezTo>
                          <a:cubicBezTo>
                            <a:pt x="2033" y="1540"/>
                            <a:pt x="2273" y="1361"/>
                            <a:pt x="2512" y="1241"/>
                          </a:cubicBezTo>
                          <a:cubicBezTo>
                            <a:pt x="2751" y="1121"/>
                            <a:pt x="2990" y="1062"/>
                            <a:pt x="3229" y="1002"/>
                          </a:cubicBezTo>
                          <a:cubicBezTo>
                            <a:pt x="3469" y="942"/>
                            <a:pt x="3708" y="1002"/>
                            <a:pt x="3887" y="1002"/>
                          </a:cubicBezTo>
                          <a:cubicBezTo>
                            <a:pt x="4067" y="1002"/>
                            <a:pt x="4187" y="1181"/>
                            <a:pt x="4366" y="1301"/>
                          </a:cubicBezTo>
                          <a:moveTo>
                            <a:pt x="897" y="5667"/>
                          </a:moveTo>
                          <a:cubicBezTo>
                            <a:pt x="1136" y="5846"/>
                            <a:pt x="1435" y="5966"/>
                            <a:pt x="1734" y="6085"/>
                          </a:cubicBezTo>
                          <a:cubicBezTo>
                            <a:pt x="2033" y="6145"/>
                            <a:pt x="2392" y="6145"/>
                            <a:pt x="2691" y="6085"/>
                          </a:cubicBezTo>
                          <a:cubicBezTo>
                            <a:pt x="3050" y="6026"/>
                            <a:pt x="3349" y="5906"/>
                            <a:pt x="3708" y="5727"/>
                          </a:cubicBezTo>
                          <a:cubicBezTo>
                            <a:pt x="4007" y="5547"/>
                            <a:pt x="4366" y="5308"/>
                            <a:pt x="4605" y="5009"/>
                          </a:cubicBezTo>
                          <a:cubicBezTo>
                            <a:pt x="4785" y="4829"/>
                            <a:pt x="4904" y="4650"/>
                            <a:pt x="5024" y="4471"/>
                          </a:cubicBezTo>
                          <a:cubicBezTo>
                            <a:pt x="5143" y="4291"/>
                            <a:pt x="5263" y="4112"/>
                            <a:pt x="5382" y="3933"/>
                          </a:cubicBezTo>
                          <a:cubicBezTo>
                            <a:pt x="5502" y="3753"/>
                            <a:pt x="5562" y="3514"/>
                            <a:pt x="5622" y="3334"/>
                          </a:cubicBezTo>
                          <a:cubicBezTo>
                            <a:pt x="5682" y="3155"/>
                            <a:pt x="5741" y="2916"/>
                            <a:pt x="5801" y="2736"/>
                          </a:cubicBezTo>
                          <a:cubicBezTo>
                            <a:pt x="5801" y="2557"/>
                            <a:pt x="5861" y="2318"/>
                            <a:pt x="5801" y="2138"/>
                          </a:cubicBezTo>
                          <a:cubicBezTo>
                            <a:pt x="5801" y="1959"/>
                            <a:pt x="5741" y="1780"/>
                            <a:pt x="5741" y="1600"/>
                          </a:cubicBezTo>
                          <a:cubicBezTo>
                            <a:pt x="5682" y="1421"/>
                            <a:pt x="5622" y="1241"/>
                            <a:pt x="5562" y="1121"/>
                          </a:cubicBezTo>
                          <a:cubicBezTo>
                            <a:pt x="5502" y="942"/>
                            <a:pt x="5382" y="822"/>
                            <a:pt x="5263" y="703"/>
                          </a:cubicBezTo>
                          <a:lnTo>
                            <a:pt x="4964" y="464"/>
                          </a:lnTo>
                          <a:cubicBezTo>
                            <a:pt x="4725" y="284"/>
                            <a:pt x="4426" y="105"/>
                            <a:pt x="4127" y="45"/>
                          </a:cubicBezTo>
                          <a:cubicBezTo>
                            <a:pt x="3827" y="-15"/>
                            <a:pt x="3469" y="-15"/>
                            <a:pt x="3170" y="45"/>
                          </a:cubicBezTo>
                          <a:cubicBezTo>
                            <a:pt x="2811" y="105"/>
                            <a:pt x="2512" y="224"/>
                            <a:pt x="2153" y="404"/>
                          </a:cubicBezTo>
                          <a:cubicBezTo>
                            <a:pt x="1794" y="583"/>
                            <a:pt x="1495" y="822"/>
                            <a:pt x="1196" y="1121"/>
                          </a:cubicBezTo>
                          <a:cubicBezTo>
                            <a:pt x="1017" y="1301"/>
                            <a:pt x="897" y="1480"/>
                            <a:pt x="778" y="1660"/>
                          </a:cubicBezTo>
                          <a:cubicBezTo>
                            <a:pt x="658" y="1839"/>
                            <a:pt x="538" y="2019"/>
                            <a:pt x="419" y="2198"/>
                          </a:cubicBezTo>
                          <a:cubicBezTo>
                            <a:pt x="299" y="2377"/>
                            <a:pt x="239" y="2557"/>
                            <a:pt x="179" y="2796"/>
                          </a:cubicBezTo>
                          <a:cubicBezTo>
                            <a:pt x="119" y="2975"/>
                            <a:pt x="60" y="3215"/>
                            <a:pt x="60" y="3394"/>
                          </a:cubicBezTo>
                          <a:cubicBezTo>
                            <a:pt x="0" y="3574"/>
                            <a:pt x="0" y="3813"/>
                            <a:pt x="0" y="3992"/>
                          </a:cubicBezTo>
                          <a:cubicBezTo>
                            <a:pt x="0" y="4172"/>
                            <a:pt x="60" y="4351"/>
                            <a:pt x="60" y="4530"/>
                          </a:cubicBezTo>
                          <a:cubicBezTo>
                            <a:pt x="119" y="4710"/>
                            <a:pt x="179" y="4889"/>
                            <a:pt x="239" y="5009"/>
                          </a:cubicBezTo>
                          <a:cubicBezTo>
                            <a:pt x="299" y="5129"/>
                            <a:pt x="419" y="5308"/>
                            <a:pt x="538" y="5428"/>
                          </a:cubicBezTo>
                          <a:cubicBezTo>
                            <a:pt x="538" y="5428"/>
                            <a:pt x="598" y="5488"/>
                            <a:pt x="598" y="5488"/>
                          </a:cubicBezTo>
                          <a:cubicBezTo>
                            <a:pt x="598" y="5488"/>
                            <a:pt x="658" y="5547"/>
                            <a:pt x="658" y="5547"/>
                          </a:cubicBezTo>
                          <a:cubicBezTo>
                            <a:pt x="658" y="5547"/>
                            <a:pt x="718" y="5607"/>
                            <a:pt x="718" y="5607"/>
                          </a:cubicBezTo>
                          <a:cubicBezTo>
                            <a:pt x="837" y="5667"/>
                            <a:pt x="837" y="5667"/>
                            <a:pt x="897" y="5667"/>
                          </a:cubicBezTo>
                        </a:path>
                      </a:pathLst>
                    </a:custGeom>
                    <a:noFill/>
                    <a:ln w="6350" cap="flat">
                      <a:solidFill>
                        <a:schemeClr val="bg1">
                          <a:alpha val="80000"/>
                        </a:schemeClr>
                      </a:solidFill>
                      <a:prstDash val="solid"/>
                      <a:miter/>
                    </a:ln>
                  </p:spPr>
                  <p:txBody>
                    <a:bodyPr rtlCol="0" anchor="ctr"/>
                    <a:lstStyle/>
                    <a:p>
                      <a:endParaRPr lang="en-GB"/>
                    </a:p>
                  </p:txBody>
                </p:sp>
                <p:sp>
                  <p:nvSpPr>
                    <p:cNvPr id="7526" name="Vrije vorm: vorm 7525">
                      <a:extLst>
                        <a:ext uri="{FF2B5EF4-FFF2-40B4-BE49-F238E27FC236}">
                          <a16:creationId xmlns:a16="http://schemas.microsoft.com/office/drawing/2014/main" id="{098B0080-3304-4080-A3D6-A0DEFF539D0F}"/>
                        </a:ext>
                      </a:extLst>
                    </p:cNvPr>
                    <p:cNvSpPr/>
                    <p:nvPr/>
                  </p:nvSpPr>
                  <p:spPr>
                    <a:xfrm>
                      <a:off x="5227784" y="5213256"/>
                      <a:ext cx="5846" cy="6159"/>
                    </a:xfrm>
                    <a:custGeom>
                      <a:avLst/>
                      <a:gdLst>
                        <a:gd name="connsiteX0" fmla="*/ 4231 w 5846"/>
                        <a:gd name="connsiteY0" fmla="*/ 1256 h 6159"/>
                        <a:gd name="connsiteX1" fmla="*/ 4530 w 5846"/>
                        <a:gd name="connsiteY1" fmla="*/ 1555 h 6159"/>
                        <a:gd name="connsiteX2" fmla="*/ 4710 w 5846"/>
                        <a:gd name="connsiteY2" fmla="*/ 1914 h 6159"/>
                        <a:gd name="connsiteX3" fmla="*/ 4829 w 5846"/>
                        <a:gd name="connsiteY3" fmla="*/ 2332 h 6159"/>
                        <a:gd name="connsiteX4" fmla="*/ 4829 w 5846"/>
                        <a:gd name="connsiteY4" fmla="*/ 2811 h 6159"/>
                        <a:gd name="connsiteX5" fmla="*/ 4710 w 5846"/>
                        <a:gd name="connsiteY5" fmla="*/ 3229 h 6159"/>
                        <a:gd name="connsiteX6" fmla="*/ 4530 w 5846"/>
                        <a:gd name="connsiteY6" fmla="*/ 3648 h 6159"/>
                        <a:gd name="connsiteX7" fmla="*/ 4291 w 5846"/>
                        <a:gd name="connsiteY7" fmla="*/ 4007 h 6159"/>
                        <a:gd name="connsiteX8" fmla="*/ 3992 w 5846"/>
                        <a:gd name="connsiteY8" fmla="*/ 4306 h 6159"/>
                        <a:gd name="connsiteX9" fmla="*/ 3633 w 5846"/>
                        <a:gd name="connsiteY9" fmla="*/ 4605 h 6159"/>
                        <a:gd name="connsiteX10" fmla="*/ 3274 w 5846"/>
                        <a:gd name="connsiteY10" fmla="*/ 4844 h 6159"/>
                        <a:gd name="connsiteX11" fmla="*/ 2916 w 5846"/>
                        <a:gd name="connsiteY11" fmla="*/ 5024 h 6159"/>
                        <a:gd name="connsiteX12" fmla="*/ 2497 w 5846"/>
                        <a:gd name="connsiteY12" fmla="*/ 5083 h 6159"/>
                        <a:gd name="connsiteX13" fmla="*/ 2198 w 5846"/>
                        <a:gd name="connsiteY13" fmla="*/ 5083 h 6159"/>
                        <a:gd name="connsiteX14" fmla="*/ 1899 w 5846"/>
                        <a:gd name="connsiteY14" fmla="*/ 5024 h 6159"/>
                        <a:gd name="connsiteX15" fmla="*/ 1660 w 5846"/>
                        <a:gd name="connsiteY15" fmla="*/ 4904 h 6159"/>
                        <a:gd name="connsiteX16" fmla="*/ 1420 w 5846"/>
                        <a:gd name="connsiteY16" fmla="*/ 4725 h 6159"/>
                        <a:gd name="connsiteX17" fmla="*/ 1121 w 5846"/>
                        <a:gd name="connsiteY17" fmla="*/ 4426 h 6159"/>
                        <a:gd name="connsiteX18" fmla="*/ 942 w 5846"/>
                        <a:gd name="connsiteY18" fmla="*/ 4067 h 6159"/>
                        <a:gd name="connsiteX19" fmla="*/ 882 w 5846"/>
                        <a:gd name="connsiteY19" fmla="*/ 3648 h 6159"/>
                        <a:gd name="connsiteX20" fmla="*/ 882 w 5846"/>
                        <a:gd name="connsiteY20" fmla="*/ 3170 h 6159"/>
                        <a:gd name="connsiteX21" fmla="*/ 1002 w 5846"/>
                        <a:gd name="connsiteY21" fmla="*/ 2751 h 6159"/>
                        <a:gd name="connsiteX22" fmla="*/ 1181 w 5846"/>
                        <a:gd name="connsiteY22" fmla="*/ 2332 h 6159"/>
                        <a:gd name="connsiteX23" fmla="*/ 1420 w 5846"/>
                        <a:gd name="connsiteY23" fmla="*/ 1973 h 6159"/>
                        <a:gd name="connsiteX24" fmla="*/ 1719 w 5846"/>
                        <a:gd name="connsiteY24" fmla="*/ 1615 h 6159"/>
                        <a:gd name="connsiteX25" fmla="*/ 2078 w 5846"/>
                        <a:gd name="connsiteY25" fmla="*/ 1316 h 6159"/>
                        <a:gd name="connsiteX26" fmla="*/ 2437 w 5846"/>
                        <a:gd name="connsiteY26" fmla="*/ 1076 h 6159"/>
                        <a:gd name="connsiteX27" fmla="*/ 2796 w 5846"/>
                        <a:gd name="connsiteY27" fmla="*/ 897 h 6159"/>
                        <a:gd name="connsiteX28" fmla="*/ 3215 w 5846"/>
                        <a:gd name="connsiteY28" fmla="*/ 837 h 6159"/>
                        <a:gd name="connsiteX29" fmla="*/ 3514 w 5846"/>
                        <a:gd name="connsiteY29" fmla="*/ 837 h 6159"/>
                        <a:gd name="connsiteX30" fmla="*/ 3813 w 5846"/>
                        <a:gd name="connsiteY30" fmla="*/ 897 h 6159"/>
                        <a:gd name="connsiteX31" fmla="*/ 4052 w 5846"/>
                        <a:gd name="connsiteY31" fmla="*/ 1017 h 6159"/>
                        <a:gd name="connsiteX32" fmla="*/ 4231 w 5846"/>
                        <a:gd name="connsiteY32" fmla="*/ 1256 h 6159"/>
                        <a:gd name="connsiteX33" fmla="*/ 763 w 5846"/>
                        <a:gd name="connsiteY33" fmla="*/ 5681 h 6159"/>
                        <a:gd name="connsiteX34" fmla="*/ 1121 w 5846"/>
                        <a:gd name="connsiteY34" fmla="*/ 5921 h 6159"/>
                        <a:gd name="connsiteX35" fmla="*/ 1540 w 5846"/>
                        <a:gd name="connsiteY35" fmla="*/ 6100 h 6159"/>
                        <a:gd name="connsiteX36" fmla="*/ 1959 w 5846"/>
                        <a:gd name="connsiteY36" fmla="*/ 6160 h 6159"/>
                        <a:gd name="connsiteX37" fmla="*/ 2437 w 5846"/>
                        <a:gd name="connsiteY37" fmla="*/ 6160 h 6159"/>
                        <a:gd name="connsiteX38" fmla="*/ 3573 w 5846"/>
                        <a:gd name="connsiteY38" fmla="*/ 5801 h 6159"/>
                        <a:gd name="connsiteX39" fmla="*/ 4590 w 5846"/>
                        <a:gd name="connsiteY39" fmla="*/ 5024 h 6159"/>
                        <a:gd name="connsiteX40" fmla="*/ 5368 w 5846"/>
                        <a:gd name="connsiteY40" fmla="*/ 4007 h 6159"/>
                        <a:gd name="connsiteX41" fmla="*/ 5786 w 5846"/>
                        <a:gd name="connsiteY41" fmla="*/ 2811 h 6159"/>
                        <a:gd name="connsiteX42" fmla="*/ 5846 w 5846"/>
                        <a:gd name="connsiteY42" fmla="*/ 2093 h 6159"/>
                        <a:gd name="connsiteX43" fmla="*/ 5726 w 5846"/>
                        <a:gd name="connsiteY43" fmla="*/ 1435 h 6159"/>
                        <a:gd name="connsiteX44" fmla="*/ 5427 w 5846"/>
                        <a:gd name="connsiteY44" fmla="*/ 897 h 6159"/>
                        <a:gd name="connsiteX45" fmla="*/ 5009 w 5846"/>
                        <a:gd name="connsiteY45" fmla="*/ 478 h 6159"/>
                        <a:gd name="connsiteX46" fmla="*/ 4650 w 5846"/>
                        <a:gd name="connsiteY46" fmla="*/ 239 h 6159"/>
                        <a:gd name="connsiteX47" fmla="*/ 4291 w 5846"/>
                        <a:gd name="connsiteY47" fmla="*/ 60 h 6159"/>
                        <a:gd name="connsiteX48" fmla="*/ 3872 w 5846"/>
                        <a:gd name="connsiteY48" fmla="*/ 0 h 6159"/>
                        <a:gd name="connsiteX49" fmla="*/ 3394 w 5846"/>
                        <a:gd name="connsiteY49" fmla="*/ 0 h 6159"/>
                        <a:gd name="connsiteX50" fmla="*/ 2796 w 5846"/>
                        <a:gd name="connsiteY50" fmla="*/ 119 h 6159"/>
                        <a:gd name="connsiteX51" fmla="*/ 2258 w 5846"/>
                        <a:gd name="connsiteY51" fmla="*/ 359 h 6159"/>
                        <a:gd name="connsiteX52" fmla="*/ 1719 w 5846"/>
                        <a:gd name="connsiteY52" fmla="*/ 718 h 6159"/>
                        <a:gd name="connsiteX53" fmla="*/ 1241 w 5846"/>
                        <a:gd name="connsiteY53" fmla="*/ 1136 h 6159"/>
                        <a:gd name="connsiteX54" fmla="*/ 822 w 5846"/>
                        <a:gd name="connsiteY54" fmla="*/ 1615 h 6159"/>
                        <a:gd name="connsiteX55" fmla="*/ 463 w 5846"/>
                        <a:gd name="connsiteY55" fmla="*/ 2153 h 6159"/>
                        <a:gd name="connsiteX56" fmla="*/ 224 w 5846"/>
                        <a:gd name="connsiteY56" fmla="*/ 2751 h 6159"/>
                        <a:gd name="connsiteX57" fmla="*/ 45 w 5846"/>
                        <a:gd name="connsiteY57" fmla="*/ 3349 h 6159"/>
                        <a:gd name="connsiteX58" fmla="*/ 45 w 5846"/>
                        <a:gd name="connsiteY58" fmla="*/ 4067 h 6159"/>
                        <a:gd name="connsiteX59" fmla="*/ 164 w 5846"/>
                        <a:gd name="connsiteY59" fmla="*/ 4725 h 6159"/>
                        <a:gd name="connsiteX60" fmla="*/ 463 w 5846"/>
                        <a:gd name="connsiteY60" fmla="*/ 5263 h 6159"/>
                        <a:gd name="connsiteX61" fmla="*/ 763 w 5846"/>
                        <a:gd name="connsiteY61" fmla="*/ 5681 h 6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846" h="6159">
                          <a:moveTo>
                            <a:pt x="4231" y="1256"/>
                          </a:moveTo>
                          <a:cubicBezTo>
                            <a:pt x="4351" y="1316"/>
                            <a:pt x="4411" y="1435"/>
                            <a:pt x="4530" y="1555"/>
                          </a:cubicBezTo>
                          <a:cubicBezTo>
                            <a:pt x="4590" y="1674"/>
                            <a:pt x="4650" y="1794"/>
                            <a:pt x="4710" y="1914"/>
                          </a:cubicBezTo>
                          <a:cubicBezTo>
                            <a:pt x="4770" y="2033"/>
                            <a:pt x="4770" y="2213"/>
                            <a:pt x="4829" y="2332"/>
                          </a:cubicBezTo>
                          <a:cubicBezTo>
                            <a:pt x="4889" y="2452"/>
                            <a:pt x="4829" y="2631"/>
                            <a:pt x="4829" y="2811"/>
                          </a:cubicBezTo>
                          <a:cubicBezTo>
                            <a:pt x="4829" y="2930"/>
                            <a:pt x="4770" y="3110"/>
                            <a:pt x="4710" y="3229"/>
                          </a:cubicBezTo>
                          <a:cubicBezTo>
                            <a:pt x="4650" y="3349"/>
                            <a:pt x="4590" y="3469"/>
                            <a:pt x="4530" y="3648"/>
                          </a:cubicBezTo>
                          <a:cubicBezTo>
                            <a:pt x="4471" y="3768"/>
                            <a:pt x="4411" y="3887"/>
                            <a:pt x="4291" y="4007"/>
                          </a:cubicBezTo>
                          <a:cubicBezTo>
                            <a:pt x="4231" y="4126"/>
                            <a:pt x="4112" y="4246"/>
                            <a:pt x="3992" y="4306"/>
                          </a:cubicBezTo>
                          <a:cubicBezTo>
                            <a:pt x="3872" y="4426"/>
                            <a:pt x="3753" y="4486"/>
                            <a:pt x="3633" y="4605"/>
                          </a:cubicBezTo>
                          <a:cubicBezTo>
                            <a:pt x="3514" y="4665"/>
                            <a:pt x="3394" y="4785"/>
                            <a:pt x="3274" y="4844"/>
                          </a:cubicBezTo>
                          <a:cubicBezTo>
                            <a:pt x="3155" y="4904"/>
                            <a:pt x="3035" y="4964"/>
                            <a:pt x="2916" y="5024"/>
                          </a:cubicBezTo>
                          <a:cubicBezTo>
                            <a:pt x="2796" y="5083"/>
                            <a:pt x="2676" y="5083"/>
                            <a:pt x="2497" y="5083"/>
                          </a:cubicBezTo>
                          <a:cubicBezTo>
                            <a:pt x="2377" y="5083"/>
                            <a:pt x="2317" y="5083"/>
                            <a:pt x="2198" y="5083"/>
                          </a:cubicBezTo>
                          <a:cubicBezTo>
                            <a:pt x="2078" y="5083"/>
                            <a:pt x="2018" y="5083"/>
                            <a:pt x="1899" y="5024"/>
                          </a:cubicBezTo>
                          <a:cubicBezTo>
                            <a:pt x="1779" y="5024"/>
                            <a:pt x="1719" y="4964"/>
                            <a:pt x="1660" y="4904"/>
                          </a:cubicBezTo>
                          <a:cubicBezTo>
                            <a:pt x="1600" y="4844"/>
                            <a:pt x="1480" y="4785"/>
                            <a:pt x="1420" y="4725"/>
                          </a:cubicBezTo>
                          <a:cubicBezTo>
                            <a:pt x="1301" y="4665"/>
                            <a:pt x="1241" y="4545"/>
                            <a:pt x="1121" y="4426"/>
                          </a:cubicBezTo>
                          <a:cubicBezTo>
                            <a:pt x="1062" y="4306"/>
                            <a:pt x="1002" y="4186"/>
                            <a:pt x="942" y="4067"/>
                          </a:cubicBezTo>
                          <a:cubicBezTo>
                            <a:pt x="882" y="3947"/>
                            <a:pt x="882" y="3768"/>
                            <a:pt x="882" y="3648"/>
                          </a:cubicBezTo>
                          <a:cubicBezTo>
                            <a:pt x="882" y="3469"/>
                            <a:pt x="882" y="3349"/>
                            <a:pt x="882" y="3170"/>
                          </a:cubicBezTo>
                          <a:cubicBezTo>
                            <a:pt x="882" y="3050"/>
                            <a:pt x="942" y="2871"/>
                            <a:pt x="1002" y="2751"/>
                          </a:cubicBezTo>
                          <a:cubicBezTo>
                            <a:pt x="1062" y="2631"/>
                            <a:pt x="1121" y="2452"/>
                            <a:pt x="1181" y="2332"/>
                          </a:cubicBezTo>
                          <a:cubicBezTo>
                            <a:pt x="1241" y="2213"/>
                            <a:pt x="1301" y="2093"/>
                            <a:pt x="1420" y="1973"/>
                          </a:cubicBezTo>
                          <a:cubicBezTo>
                            <a:pt x="1540" y="1854"/>
                            <a:pt x="1600" y="1734"/>
                            <a:pt x="1719" y="1615"/>
                          </a:cubicBezTo>
                          <a:cubicBezTo>
                            <a:pt x="1839" y="1495"/>
                            <a:pt x="1959" y="1435"/>
                            <a:pt x="2078" y="1316"/>
                          </a:cubicBezTo>
                          <a:cubicBezTo>
                            <a:pt x="2198" y="1256"/>
                            <a:pt x="2317" y="1136"/>
                            <a:pt x="2437" y="1076"/>
                          </a:cubicBezTo>
                          <a:cubicBezTo>
                            <a:pt x="2557" y="1017"/>
                            <a:pt x="2676" y="957"/>
                            <a:pt x="2796" y="897"/>
                          </a:cubicBezTo>
                          <a:cubicBezTo>
                            <a:pt x="2916" y="837"/>
                            <a:pt x="3035" y="837"/>
                            <a:pt x="3215" y="837"/>
                          </a:cubicBezTo>
                          <a:cubicBezTo>
                            <a:pt x="3334" y="837"/>
                            <a:pt x="3394" y="837"/>
                            <a:pt x="3514" y="837"/>
                          </a:cubicBezTo>
                          <a:cubicBezTo>
                            <a:pt x="3633" y="837"/>
                            <a:pt x="3693" y="837"/>
                            <a:pt x="3813" y="897"/>
                          </a:cubicBezTo>
                          <a:cubicBezTo>
                            <a:pt x="3932" y="897"/>
                            <a:pt x="3992" y="957"/>
                            <a:pt x="4052" y="1017"/>
                          </a:cubicBezTo>
                          <a:cubicBezTo>
                            <a:pt x="4052" y="1196"/>
                            <a:pt x="4171" y="1196"/>
                            <a:pt x="4231" y="1256"/>
                          </a:cubicBezTo>
                          <a:moveTo>
                            <a:pt x="763" y="5681"/>
                          </a:moveTo>
                          <a:cubicBezTo>
                            <a:pt x="882" y="5741"/>
                            <a:pt x="1002" y="5861"/>
                            <a:pt x="1121" y="5921"/>
                          </a:cubicBezTo>
                          <a:cubicBezTo>
                            <a:pt x="1241" y="5981"/>
                            <a:pt x="1361" y="6040"/>
                            <a:pt x="1540" y="6100"/>
                          </a:cubicBezTo>
                          <a:cubicBezTo>
                            <a:pt x="1660" y="6160"/>
                            <a:pt x="1839" y="6160"/>
                            <a:pt x="1959" y="6160"/>
                          </a:cubicBezTo>
                          <a:cubicBezTo>
                            <a:pt x="2138" y="6160"/>
                            <a:pt x="2258" y="6160"/>
                            <a:pt x="2437" y="6160"/>
                          </a:cubicBezTo>
                          <a:cubicBezTo>
                            <a:pt x="2856" y="6100"/>
                            <a:pt x="3215" y="5981"/>
                            <a:pt x="3573" y="5801"/>
                          </a:cubicBezTo>
                          <a:cubicBezTo>
                            <a:pt x="3932" y="5622"/>
                            <a:pt x="4291" y="5382"/>
                            <a:pt x="4590" y="5024"/>
                          </a:cubicBezTo>
                          <a:cubicBezTo>
                            <a:pt x="4889" y="4665"/>
                            <a:pt x="5128" y="4366"/>
                            <a:pt x="5368" y="4007"/>
                          </a:cubicBezTo>
                          <a:cubicBezTo>
                            <a:pt x="5547" y="3648"/>
                            <a:pt x="5726" y="3229"/>
                            <a:pt x="5786" y="2811"/>
                          </a:cubicBezTo>
                          <a:cubicBezTo>
                            <a:pt x="5846" y="2572"/>
                            <a:pt x="5846" y="2332"/>
                            <a:pt x="5846" y="2093"/>
                          </a:cubicBezTo>
                          <a:cubicBezTo>
                            <a:pt x="5846" y="1854"/>
                            <a:pt x="5786" y="1615"/>
                            <a:pt x="5726" y="1435"/>
                          </a:cubicBezTo>
                          <a:cubicBezTo>
                            <a:pt x="5667" y="1256"/>
                            <a:pt x="5547" y="1076"/>
                            <a:pt x="5427" y="897"/>
                          </a:cubicBezTo>
                          <a:cubicBezTo>
                            <a:pt x="5308" y="718"/>
                            <a:pt x="5188" y="598"/>
                            <a:pt x="5009" y="478"/>
                          </a:cubicBezTo>
                          <a:cubicBezTo>
                            <a:pt x="4889" y="418"/>
                            <a:pt x="4770" y="299"/>
                            <a:pt x="4650" y="239"/>
                          </a:cubicBezTo>
                          <a:cubicBezTo>
                            <a:pt x="4530" y="179"/>
                            <a:pt x="4411" y="119"/>
                            <a:pt x="4291" y="60"/>
                          </a:cubicBezTo>
                          <a:cubicBezTo>
                            <a:pt x="4171" y="0"/>
                            <a:pt x="3992" y="0"/>
                            <a:pt x="3872" y="0"/>
                          </a:cubicBezTo>
                          <a:cubicBezTo>
                            <a:pt x="3753" y="0"/>
                            <a:pt x="3573" y="0"/>
                            <a:pt x="3394" y="0"/>
                          </a:cubicBezTo>
                          <a:cubicBezTo>
                            <a:pt x="3215" y="0"/>
                            <a:pt x="2975" y="60"/>
                            <a:pt x="2796" y="119"/>
                          </a:cubicBezTo>
                          <a:cubicBezTo>
                            <a:pt x="2617" y="179"/>
                            <a:pt x="2437" y="239"/>
                            <a:pt x="2258" y="359"/>
                          </a:cubicBezTo>
                          <a:cubicBezTo>
                            <a:pt x="2078" y="478"/>
                            <a:pt x="1899" y="538"/>
                            <a:pt x="1719" y="718"/>
                          </a:cubicBezTo>
                          <a:cubicBezTo>
                            <a:pt x="1540" y="897"/>
                            <a:pt x="1361" y="1017"/>
                            <a:pt x="1241" y="1136"/>
                          </a:cubicBezTo>
                          <a:cubicBezTo>
                            <a:pt x="1062" y="1316"/>
                            <a:pt x="942" y="1435"/>
                            <a:pt x="822" y="1615"/>
                          </a:cubicBezTo>
                          <a:cubicBezTo>
                            <a:pt x="703" y="1794"/>
                            <a:pt x="583" y="1973"/>
                            <a:pt x="463" y="2153"/>
                          </a:cubicBezTo>
                          <a:cubicBezTo>
                            <a:pt x="344" y="2332"/>
                            <a:pt x="284" y="2572"/>
                            <a:pt x="224" y="2751"/>
                          </a:cubicBezTo>
                          <a:cubicBezTo>
                            <a:pt x="164" y="2930"/>
                            <a:pt x="104" y="3170"/>
                            <a:pt x="45" y="3349"/>
                          </a:cubicBezTo>
                          <a:cubicBezTo>
                            <a:pt x="-15" y="3588"/>
                            <a:pt x="-15" y="3827"/>
                            <a:pt x="45" y="4067"/>
                          </a:cubicBezTo>
                          <a:cubicBezTo>
                            <a:pt x="45" y="4306"/>
                            <a:pt x="104" y="4486"/>
                            <a:pt x="164" y="4725"/>
                          </a:cubicBezTo>
                          <a:cubicBezTo>
                            <a:pt x="224" y="4904"/>
                            <a:pt x="344" y="5083"/>
                            <a:pt x="463" y="5263"/>
                          </a:cubicBezTo>
                          <a:cubicBezTo>
                            <a:pt x="463" y="5382"/>
                            <a:pt x="583" y="5562"/>
                            <a:pt x="763" y="5681"/>
                          </a:cubicBezTo>
                        </a:path>
                      </a:pathLst>
                    </a:custGeom>
                    <a:noFill/>
                    <a:ln w="6350" cap="flat">
                      <a:solidFill>
                        <a:schemeClr val="bg1">
                          <a:alpha val="80000"/>
                        </a:schemeClr>
                      </a:solidFill>
                      <a:prstDash val="solid"/>
                      <a:miter/>
                    </a:ln>
                  </p:spPr>
                  <p:txBody>
                    <a:bodyPr rtlCol="0" anchor="ctr"/>
                    <a:lstStyle/>
                    <a:p>
                      <a:endParaRPr lang="en-GB"/>
                    </a:p>
                  </p:txBody>
                </p:sp>
                <p:sp>
                  <p:nvSpPr>
                    <p:cNvPr id="7527" name="Vrije vorm: vorm 7526">
                      <a:extLst>
                        <a:ext uri="{FF2B5EF4-FFF2-40B4-BE49-F238E27FC236}">
                          <a16:creationId xmlns:a16="http://schemas.microsoft.com/office/drawing/2014/main" id="{7236F850-F7C7-4137-937E-C08731033E0D}"/>
                        </a:ext>
                      </a:extLst>
                    </p:cNvPr>
                    <p:cNvSpPr/>
                    <p:nvPr/>
                  </p:nvSpPr>
                  <p:spPr>
                    <a:xfrm>
                      <a:off x="5225516" y="5204524"/>
                      <a:ext cx="5807" cy="6100"/>
                    </a:xfrm>
                    <a:custGeom>
                      <a:avLst/>
                      <a:gdLst>
                        <a:gd name="connsiteX0" fmla="*/ 4704 w 5807"/>
                        <a:gd name="connsiteY0" fmla="*/ 3409 h 6100"/>
                        <a:gd name="connsiteX1" fmla="*/ 4584 w 5807"/>
                        <a:gd name="connsiteY1" fmla="*/ 3648 h 6100"/>
                        <a:gd name="connsiteX2" fmla="*/ 4465 w 5807"/>
                        <a:gd name="connsiteY2" fmla="*/ 3887 h 6100"/>
                        <a:gd name="connsiteX3" fmla="*/ 4285 w 5807"/>
                        <a:gd name="connsiteY3" fmla="*/ 4127 h 6100"/>
                        <a:gd name="connsiteX4" fmla="*/ 4106 w 5807"/>
                        <a:gd name="connsiteY4" fmla="*/ 4366 h 6100"/>
                        <a:gd name="connsiteX5" fmla="*/ 3747 w 5807"/>
                        <a:gd name="connsiteY5" fmla="*/ 4665 h 6100"/>
                        <a:gd name="connsiteX6" fmla="*/ 3389 w 5807"/>
                        <a:gd name="connsiteY6" fmla="*/ 4904 h 6100"/>
                        <a:gd name="connsiteX7" fmla="*/ 3030 w 5807"/>
                        <a:gd name="connsiteY7" fmla="*/ 5083 h 6100"/>
                        <a:gd name="connsiteX8" fmla="*/ 2671 w 5807"/>
                        <a:gd name="connsiteY8" fmla="*/ 5143 h 6100"/>
                        <a:gd name="connsiteX9" fmla="*/ 2372 w 5807"/>
                        <a:gd name="connsiteY9" fmla="*/ 5143 h 6100"/>
                        <a:gd name="connsiteX10" fmla="*/ 2073 w 5807"/>
                        <a:gd name="connsiteY10" fmla="*/ 5083 h 6100"/>
                        <a:gd name="connsiteX11" fmla="*/ 1833 w 5807"/>
                        <a:gd name="connsiteY11" fmla="*/ 4964 h 6100"/>
                        <a:gd name="connsiteX12" fmla="*/ 1594 w 5807"/>
                        <a:gd name="connsiteY12" fmla="*/ 4785 h 6100"/>
                        <a:gd name="connsiteX13" fmla="*/ 1415 w 5807"/>
                        <a:gd name="connsiteY13" fmla="*/ 4605 h 6100"/>
                        <a:gd name="connsiteX14" fmla="*/ 1056 w 5807"/>
                        <a:gd name="connsiteY14" fmla="*/ 3947 h 6100"/>
                        <a:gd name="connsiteX15" fmla="*/ 996 w 5807"/>
                        <a:gd name="connsiteY15" fmla="*/ 3170 h 6100"/>
                        <a:gd name="connsiteX16" fmla="*/ 1235 w 5807"/>
                        <a:gd name="connsiteY16" fmla="*/ 2392 h 6100"/>
                        <a:gd name="connsiteX17" fmla="*/ 1774 w 5807"/>
                        <a:gd name="connsiteY17" fmla="*/ 1674 h 6100"/>
                        <a:gd name="connsiteX18" fmla="*/ 2132 w 5807"/>
                        <a:gd name="connsiteY18" fmla="*/ 1375 h 6100"/>
                        <a:gd name="connsiteX19" fmla="*/ 2551 w 5807"/>
                        <a:gd name="connsiteY19" fmla="*/ 1136 h 6100"/>
                        <a:gd name="connsiteX20" fmla="*/ 2970 w 5807"/>
                        <a:gd name="connsiteY20" fmla="*/ 1017 h 6100"/>
                        <a:gd name="connsiteX21" fmla="*/ 3389 w 5807"/>
                        <a:gd name="connsiteY21" fmla="*/ 957 h 6100"/>
                        <a:gd name="connsiteX22" fmla="*/ 3389 w 5807"/>
                        <a:gd name="connsiteY22" fmla="*/ 957 h 6100"/>
                        <a:gd name="connsiteX23" fmla="*/ 3389 w 5807"/>
                        <a:gd name="connsiteY23" fmla="*/ 957 h 6100"/>
                        <a:gd name="connsiteX24" fmla="*/ 3389 w 5807"/>
                        <a:gd name="connsiteY24" fmla="*/ 957 h 6100"/>
                        <a:gd name="connsiteX25" fmla="*/ 3389 w 5807"/>
                        <a:gd name="connsiteY25" fmla="*/ 957 h 6100"/>
                        <a:gd name="connsiteX26" fmla="*/ 3628 w 5807"/>
                        <a:gd name="connsiteY26" fmla="*/ 957 h 6100"/>
                        <a:gd name="connsiteX27" fmla="*/ 3867 w 5807"/>
                        <a:gd name="connsiteY27" fmla="*/ 1017 h 6100"/>
                        <a:gd name="connsiteX28" fmla="*/ 4106 w 5807"/>
                        <a:gd name="connsiteY28" fmla="*/ 1136 h 6100"/>
                        <a:gd name="connsiteX29" fmla="*/ 4345 w 5807"/>
                        <a:gd name="connsiteY29" fmla="*/ 1256 h 6100"/>
                        <a:gd name="connsiteX30" fmla="*/ 4405 w 5807"/>
                        <a:gd name="connsiteY30" fmla="*/ 1316 h 6100"/>
                        <a:gd name="connsiteX31" fmla="*/ 4465 w 5807"/>
                        <a:gd name="connsiteY31" fmla="*/ 1375 h 6100"/>
                        <a:gd name="connsiteX32" fmla="*/ 4525 w 5807"/>
                        <a:gd name="connsiteY32" fmla="*/ 1435 h 6100"/>
                        <a:gd name="connsiteX33" fmla="*/ 4584 w 5807"/>
                        <a:gd name="connsiteY33" fmla="*/ 1495 h 6100"/>
                        <a:gd name="connsiteX34" fmla="*/ 4764 w 5807"/>
                        <a:gd name="connsiteY34" fmla="*/ 1794 h 6100"/>
                        <a:gd name="connsiteX35" fmla="*/ 4884 w 5807"/>
                        <a:gd name="connsiteY35" fmla="*/ 2153 h 6100"/>
                        <a:gd name="connsiteX36" fmla="*/ 4943 w 5807"/>
                        <a:gd name="connsiteY36" fmla="*/ 2512 h 6100"/>
                        <a:gd name="connsiteX37" fmla="*/ 4943 w 5807"/>
                        <a:gd name="connsiteY37" fmla="*/ 2930 h 6100"/>
                        <a:gd name="connsiteX38" fmla="*/ 4943 w 5807"/>
                        <a:gd name="connsiteY38" fmla="*/ 3050 h 6100"/>
                        <a:gd name="connsiteX39" fmla="*/ 4884 w 5807"/>
                        <a:gd name="connsiteY39" fmla="*/ 3170 h 6100"/>
                        <a:gd name="connsiteX40" fmla="*/ 4824 w 5807"/>
                        <a:gd name="connsiteY40" fmla="*/ 3289 h 6100"/>
                        <a:gd name="connsiteX41" fmla="*/ 4704 w 5807"/>
                        <a:gd name="connsiteY41" fmla="*/ 3409 h 6100"/>
                        <a:gd name="connsiteX42" fmla="*/ 4704 w 5807"/>
                        <a:gd name="connsiteY42" fmla="*/ 3409 h 6100"/>
                        <a:gd name="connsiteX43" fmla="*/ 4704 w 5807"/>
                        <a:gd name="connsiteY43" fmla="*/ 3409 h 6100"/>
                        <a:gd name="connsiteX44" fmla="*/ 4704 w 5807"/>
                        <a:gd name="connsiteY44" fmla="*/ 3409 h 6100"/>
                        <a:gd name="connsiteX45" fmla="*/ 4704 w 5807"/>
                        <a:gd name="connsiteY45" fmla="*/ 3409 h 6100"/>
                        <a:gd name="connsiteX46" fmla="*/ 817 w 5807"/>
                        <a:gd name="connsiteY46" fmla="*/ 5622 h 6100"/>
                        <a:gd name="connsiteX47" fmla="*/ 1175 w 5807"/>
                        <a:gd name="connsiteY47" fmla="*/ 5861 h 6100"/>
                        <a:gd name="connsiteX48" fmla="*/ 1594 w 5807"/>
                        <a:gd name="connsiteY48" fmla="*/ 6041 h 6100"/>
                        <a:gd name="connsiteX49" fmla="*/ 2013 w 5807"/>
                        <a:gd name="connsiteY49" fmla="*/ 6100 h 6100"/>
                        <a:gd name="connsiteX50" fmla="*/ 2491 w 5807"/>
                        <a:gd name="connsiteY50" fmla="*/ 6100 h 6100"/>
                        <a:gd name="connsiteX51" fmla="*/ 3089 w 5807"/>
                        <a:gd name="connsiteY51" fmla="*/ 5981 h 6100"/>
                        <a:gd name="connsiteX52" fmla="*/ 3628 w 5807"/>
                        <a:gd name="connsiteY52" fmla="*/ 5742 h 6100"/>
                        <a:gd name="connsiteX53" fmla="*/ 4166 w 5807"/>
                        <a:gd name="connsiteY53" fmla="*/ 5382 h 6100"/>
                        <a:gd name="connsiteX54" fmla="*/ 4644 w 5807"/>
                        <a:gd name="connsiteY54" fmla="*/ 4964 h 6100"/>
                        <a:gd name="connsiteX55" fmla="*/ 4824 w 5807"/>
                        <a:gd name="connsiteY55" fmla="*/ 4785 h 6100"/>
                        <a:gd name="connsiteX56" fmla="*/ 4943 w 5807"/>
                        <a:gd name="connsiteY56" fmla="*/ 4605 h 6100"/>
                        <a:gd name="connsiteX57" fmla="*/ 5063 w 5807"/>
                        <a:gd name="connsiteY57" fmla="*/ 4426 h 6100"/>
                        <a:gd name="connsiteX58" fmla="*/ 5183 w 5807"/>
                        <a:gd name="connsiteY58" fmla="*/ 4246 h 6100"/>
                        <a:gd name="connsiteX59" fmla="*/ 5362 w 5807"/>
                        <a:gd name="connsiteY59" fmla="*/ 3947 h 6100"/>
                        <a:gd name="connsiteX60" fmla="*/ 5542 w 5807"/>
                        <a:gd name="connsiteY60" fmla="*/ 3648 h 6100"/>
                        <a:gd name="connsiteX61" fmla="*/ 5661 w 5807"/>
                        <a:gd name="connsiteY61" fmla="*/ 3349 h 6100"/>
                        <a:gd name="connsiteX62" fmla="*/ 5781 w 5807"/>
                        <a:gd name="connsiteY62" fmla="*/ 3050 h 6100"/>
                        <a:gd name="connsiteX63" fmla="*/ 5781 w 5807"/>
                        <a:gd name="connsiteY63" fmla="*/ 3050 h 6100"/>
                        <a:gd name="connsiteX64" fmla="*/ 5781 w 5807"/>
                        <a:gd name="connsiteY64" fmla="*/ 3050 h 6100"/>
                        <a:gd name="connsiteX65" fmla="*/ 5781 w 5807"/>
                        <a:gd name="connsiteY65" fmla="*/ 3050 h 6100"/>
                        <a:gd name="connsiteX66" fmla="*/ 5781 w 5807"/>
                        <a:gd name="connsiteY66" fmla="*/ 3050 h 6100"/>
                        <a:gd name="connsiteX67" fmla="*/ 5781 w 5807"/>
                        <a:gd name="connsiteY67" fmla="*/ 2990 h 6100"/>
                        <a:gd name="connsiteX68" fmla="*/ 5781 w 5807"/>
                        <a:gd name="connsiteY68" fmla="*/ 2930 h 6100"/>
                        <a:gd name="connsiteX69" fmla="*/ 5781 w 5807"/>
                        <a:gd name="connsiteY69" fmla="*/ 2871 h 6100"/>
                        <a:gd name="connsiteX70" fmla="*/ 5781 w 5807"/>
                        <a:gd name="connsiteY70" fmla="*/ 2811 h 6100"/>
                        <a:gd name="connsiteX71" fmla="*/ 5781 w 5807"/>
                        <a:gd name="connsiteY71" fmla="*/ 2213 h 6100"/>
                        <a:gd name="connsiteX72" fmla="*/ 5721 w 5807"/>
                        <a:gd name="connsiteY72" fmla="*/ 1674 h 6100"/>
                        <a:gd name="connsiteX73" fmla="*/ 5542 w 5807"/>
                        <a:gd name="connsiteY73" fmla="*/ 1196 h 6100"/>
                        <a:gd name="connsiteX74" fmla="*/ 5243 w 5807"/>
                        <a:gd name="connsiteY74" fmla="*/ 778 h 6100"/>
                        <a:gd name="connsiteX75" fmla="*/ 5003 w 5807"/>
                        <a:gd name="connsiteY75" fmla="*/ 538 h 6100"/>
                        <a:gd name="connsiteX76" fmla="*/ 4764 w 5807"/>
                        <a:gd name="connsiteY76" fmla="*/ 359 h 6100"/>
                        <a:gd name="connsiteX77" fmla="*/ 4525 w 5807"/>
                        <a:gd name="connsiteY77" fmla="*/ 239 h 6100"/>
                        <a:gd name="connsiteX78" fmla="*/ 4285 w 5807"/>
                        <a:gd name="connsiteY78" fmla="*/ 120 h 6100"/>
                        <a:gd name="connsiteX79" fmla="*/ 4046 w 5807"/>
                        <a:gd name="connsiteY79" fmla="*/ 60 h 6100"/>
                        <a:gd name="connsiteX80" fmla="*/ 3747 w 5807"/>
                        <a:gd name="connsiteY80" fmla="*/ 0 h 6100"/>
                        <a:gd name="connsiteX81" fmla="*/ 3448 w 5807"/>
                        <a:gd name="connsiteY81" fmla="*/ 0 h 6100"/>
                        <a:gd name="connsiteX82" fmla="*/ 3149 w 5807"/>
                        <a:gd name="connsiteY82" fmla="*/ 0 h 6100"/>
                        <a:gd name="connsiteX83" fmla="*/ 2850 w 5807"/>
                        <a:gd name="connsiteY83" fmla="*/ 60 h 6100"/>
                        <a:gd name="connsiteX84" fmla="*/ 2850 w 5807"/>
                        <a:gd name="connsiteY84" fmla="*/ 60 h 6100"/>
                        <a:gd name="connsiteX85" fmla="*/ 2850 w 5807"/>
                        <a:gd name="connsiteY85" fmla="*/ 60 h 6100"/>
                        <a:gd name="connsiteX86" fmla="*/ 2850 w 5807"/>
                        <a:gd name="connsiteY86" fmla="*/ 60 h 6100"/>
                        <a:gd name="connsiteX87" fmla="*/ 2850 w 5807"/>
                        <a:gd name="connsiteY87" fmla="*/ 60 h 6100"/>
                        <a:gd name="connsiteX88" fmla="*/ 2431 w 5807"/>
                        <a:gd name="connsiteY88" fmla="*/ 179 h 6100"/>
                        <a:gd name="connsiteX89" fmla="*/ 2013 w 5807"/>
                        <a:gd name="connsiteY89" fmla="*/ 419 h 6100"/>
                        <a:gd name="connsiteX90" fmla="*/ 1594 w 5807"/>
                        <a:gd name="connsiteY90" fmla="*/ 718 h 6100"/>
                        <a:gd name="connsiteX91" fmla="*/ 1175 w 5807"/>
                        <a:gd name="connsiteY91" fmla="*/ 1076 h 6100"/>
                        <a:gd name="connsiteX92" fmla="*/ 398 w 5807"/>
                        <a:gd name="connsiteY92" fmla="*/ 2153 h 6100"/>
                        <a:gd name="connsiteX93" fmla="*/ 39 w 5807"/>
                        <a:gd name="connsiteY93" fmla="*/ 3349 h 6100"/>
                        <a:gd name="connsiteX94" fmla="*/ 99 w 5807"/>
                        <a:gd name="connsiteY94" fmla="*/ 4486 h 6100"/>
                        <a:gd name="connsiteX95" fmla="*/ 577 w 5807"/>
                        <a:gd name="connsiteY95" fmla="*/ 5442 h 6100"/>
                        <a:gd name="connsiteX96" fmla="*/ 637 w 5807"/>
                        <a:gd name="connsiteY96" fmla="*/ 5502 h 6100"/>
                        <a:gd name="connsiteX97" fmla="*/ 697 w 5807"/>
                        <a:gd name="connsiteY97" fmla="*/ 5562 h 6100"/>
                        <a:gd name="connsiteX98" fmla="*/ 757 w 5807"/>
                        <a:gd name="connsiteY98" fmla="*/ 5622 h 6100"/>
                        <a:gd name="connsiteX99" fmla="*/ 817 w 5807"/>
                        <a:gd name="connsiteY99" fmla="*/ 5622 h 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807" h="6100">
                          <a:moveTo>
                            <a:pt x="4704" y="3409"/>
                          </a:moveTo>
                          <a:cubicBezTo>
                            <a:pt x="4644" y="3469"/>
                            <a:pt x="4644" y="3588"/>
                            <a:pt x="4584" y="3648"/>
                          </a:cubicBezTo>
                          <a:cubicBezTo>
                            <a:pt x="4525" y="3708"/>
                            <a:pt x="4525" y="3828"/>
                            <a:pt x="4465" y="3887"/>
                          </a:cubicBezTo>
                          <a:cubicBezTo>
                            <a:pt x="4405" y="3947"/>
                            <a:pt x="4345" y="4067"/>
                            <a:pt x="4285" y="4127"/>
                          </a:cubicBezTo>
                          <a:cubicBezTo>
                            <a:pt x="4226" y="4187"/>
                            <a:pt x="4166" y="4306"/>
                            <a:pt x="4106" y="4366"/>
                          </a:cubicBezTo>
                          <a:cubicBezTo>
                            <a:pt x="3986" y="4486"/>
                            <a:pt x="3867" y="4545"/>
                            <a:pt x="3747" y="4665"/>
                          </a:cubicBezTo>
                          <a:cubicBezTo>
                            <a:pt x="3628" y="4725"/>
                            <a:pt x="3508" y="4844"/>
                            <a:pt x="3389" y="4904"/>
                          </a:cubicBezTo>
                          <a:cubicBezTo>
                            <a:pt x="3269" y="4964"/>
                            <a:pt x="3149" y="5024"/>
                            <a:pt x="3030" y="5083"/>
                          </a:cubicBezTo>
                          <a:cubicBezTo>
                            <a:pt x="2910" y="5143"/>
                            <a:pt x="2790" y="5143"/>
                            <a:pt x="2671" y="5143"/>
                          </a:cubicBezTo>
                          <a:cubicBezTo>
                            <a:pt x="2551" y="5143"/>
                            <a:pt x="2491" y="5143"/>
                            <a:pt x="2372" y="5143"/>
                          </a:cubicBezTo>
                          <a:cubicBezTo>
                            <a:pt x="2252" y="5143"/>
                            <a:pt x="2192" y="5143"/>
                            <a:pt x="2073" y="5083"/>
                          </a:cubicBezTo>
                          <a:cubicBezTo>
                            <a:pt x="1953" y="5083"/>
                            <a:pt x="1893" y="5024"/>
                            <a:pt x="1833" y="4964"/>
                          </a:cubicBezTo>
                          <a:cubicBezTo>
                            <a:pt x="1774" y="4904"/>
                            <a:pt x="1654" y="4844"/>
                            <a:pt x="1594" y="4785"/>
                          </a:cubicBezTo>
                          <a:lnTo>
                            <a:pt x="1415" y="4605"/>
                          </a:lnTo>
                          <a:cubicBezTo>
                            <a:pt x="1235" y="4426"/>
                            <a:pt x="1116" y="4187"/>
                            <a:pt x="1056" y="3947"/>
                          </a:cubicBezTo>
                          <a:cubicBezTo>
                            <a:pt x="996" y="3708"/>
                            <a:pt x="996" y="3469"/>
                            <a:pt x="996" y="3170"/>
                          </a:cubicBezTo>
                          <a:cubicBezTo>
                            <a:pt x="1056" y="2930"/>
                            <a:pt x="1116" y="2632"/>
                            <a:pt x="1235" y="2392"/>
                          </a:cubicBezTo>
                          <a:cubicBezTo>
                            <a:pt x="1355" y="2153"/>
                            <a:pt x="1535" y="1854"/>
                            <a:pt x="1774" y="1674"/>
                          </a:cubicBezTo>
                          <a:cubicBezTo>
                            <a:pt x="1893" y="1555"/>
                            <a:pt x="2013" y="1435"/>
                            <a:pt x="2132" y="1375"/>
                          </a:cubicBezTo>
                          <a:cubicBezTo>
                            <a:pt x="2252" y="1316"/>
                            <a:pt x="2372" y="1196"/>
                            <a:pt x="2551" y="1136"/>
                          </a:cubicBezTo>
                          <a:cubicBezTo>
                            <a:pt x="2671" y="1076"/>
                            <a:pt x="2850" y="1017"/>
                            <a:pt x="2970" y="1017"/>
                          </a:cubicBezTo>
                          <a:cubicBezTo>
                            <a:pt x="3089" y="1017"/>
                            <a:pt x="3269" y="957"/>
                            <a:pt x="3389" y="957"/>
                          </a:cubicBezTo>
                          <a:cubicBezTo>
                            <a:pt x="3389" y="957"/>
                            <a:pt x="3389" y="957"/>
                            <a:pt x="3389" y="957"/>
                          </a:cubicBezTo>
                          <a:cubicBezTo>
                            <a:pt x="3389" y="957"/>
                            <a:pt x="3389" y="957"/>
                            <a:pt x="3389" y="957"/>
                          </a:cubicBezTo>
                          <a:cubicBezTo>
                            <a:pt x="3389" y="957"/>
                            <a:pt x="3389" y="957"/>
                            <a:pt x="3389" y="957"/>
                          </a:cubicBezTo>
                          <a:cubicBezTo>
                            <a:pt x="3389" y="957"/>
                            <a:pt x="3389" y="957"/>
                            <a:pt x="3389" y="957"/>
                          </a:cubicBezTo>
                          <a:cubicBezTo>
                            <a:pt x="3508" y="957"/>
                            <a:pt x="3568" y="957"/>
                            <a:pt x="3628" y="957"/>
                          </a:cubicBezTo>
                          <a:cubicBezTo>
                            <a:pt x="3688" y="957"/>
                            <a:pt x="3807" y="1017"/>
                            <a:pt x="3867" y="1017"/>
                          </a:cubicBezTo>
                          <a:cubicBezTo>
                            <a:pt x="3927" y="1017"/>
                            <a:pt x="4046" y="1076"/>
                            <a:pt x="4106" y="1136"/>
                          </a:cubicBezTo>
                          <a:cubicBezTo>
                            <a:pt x="4166" y="1196"/>
                            <a:pt x="4226" y="1256"/>
                            <a:pt x="4345" y="1256"/>
                          </a:cubicBezTo>
                          <a:cubicBezTo>
                            <a:pt x="4345" y="1256"/>
                            <a:pt x="4345" y="1256"/>
                            <a:pt x="4405" y="1316"/>
                          </a:cubicBezTo>
                          <a:cubicBezTo>
                            <a:pt x="4405" y="1316"/>
                            <a:pt x="4405" y="1316"/>
                            <a:pt x="4465" y="1375"/>
                          </a:cubicBezTo>
                          <a:cubicBezTo>
                            <a:pt x="4465" y="1375"/>
                            <a:pt x="4465" y="1375"/>
                            <a:pt x="4525" y="1435"/>
                          </a:cubicBezTo>
                          <a:cubicBezTo>
                            <a:pt x="4525" y="1435"/>
                            <a:pt x="4525" y="1435"/>
                            <a:pt x="4584" y="1495"/>
                          </a:cubicBezTo>
                          <a:cubicBezTo>
                            <a:pt x="4644" y="1555"/>
                            <a:pt x="4704" y="1674"/>
                            <a:pt x="4764" y="1794"/>
                          </a:cubicBezTo>
                          <a:cubicBezTo>
                            <a:pt x="4824" y="1914"/>
                            <a:pt x="4884" y="2033"/>
                            <a:pt x="4884" y="2153"/>
                          </a:cubicBezTo>
                          <a:cubicBezTo>
                            <a:pt x="4884" y="2273"/>
                            <a:pt x="4943" y="2392"/>
                            <a:pt x="4943" y="2512"/>
                          </a:cubicBezTo>
                          <a:cubicBezTo>
                            <a:pt x="4943" y="2632"/>
                            <a:pt x="4943" y="2811"/>
                            <a:pt x="4943" y="2930"/>
                          </a:cubicBezTo>
                          <a:cubicBezTo>
                            <a:pt x="4943" y="2990"/>
                            <a:pt x="4943" y="3050"/>
                            <a:pt x="4943" y="3050"/>
                          </a:cubicBezTo>
                          <a:cubicBezTo>
                            <a:pt x="4943" y="3110"/>
                            <a:pt x="4943" y="3170"/>
                            <a:pt x="4884" y="3170"/>
                          </a:cubicBezTo>
                          <a:cubicBezTo>
                            <a:pt x="4884" y="3229"/>
                            <a:pt x="4884" y="3289"/>
                            <a:pt x="4824" y="3289"/>
                          </a:cubicBezTo>
                          <a:cubicBezTo>
                            <a:pt x="4764" y="3289"/>
                            <a:pt x="4764" y="3349"/>
                            <a:pt x="4704" y="3409"/>
                          </a:cubicBezTo>
                          <a:cubicBezTo>
                            <a:pt x="4704" y="3349"/>
                            <a:pt x="4704" y="3349"/>
                            <a:pt x="4704" y="3409"/>
                          </a:cubicBezTo>
                          <a:cubicBezTo>
                            <a:pt x="4704" y="3349"/>
                            <a:pt x="4704" y="3349"/>
                            <a:pt x="4704" y="3409"/>
                          </a:cubicBezTo>
                          <a:cubicBezTo>
                            <a:pt x="4704" y="3349"/>
                            <a:pt x="4704" y="3349"/>
                            <a:pt x="4704" y="3409"/>
                          </a:cubicBezTo>
                          <a:cubicBezTo>
                            <a:pt x="4704" y="3349"/>
                            <a:pt x="4704" y="3409"/>
                            <a:pt x="4704" y="3409"/>
                          </a:cubicBezTo>
                          <a:moveTo>
                            <a:pt x="817" y="5622"/>
                          </a:moveTo>
                          <a:cubicBezTo>
                            <a:pt x="936" y="5682"/>
                            <a:pt x="1056" y="5801"/>
                            <a:pt x="1175" y="5861"/>
                          </a:cubicBezTo>
                          <a:cubicBezTo>
                            <a:pt x="1295" y="5921"/>
                            <a:pt x="1415" y="5981"/>
                            <a:pt x="1594" y="6041"/>
                          </a:cubicBezTo>
                          <a:cubicBezTo>
                            <a:pt x="1714" y="6100"/>
                            <a:pt x="1893" y="6100"/>
                            <a:pt x="2013" y="6100"/>
                          </a:cubicBezTo>
                          <a:cubicBezTo>
                            <a:pt x="2192" y="6100"/>
                            <a:pt x="2312" y="6100"/>
                            <a:pt x="2491" y="6100"/>
                          </a:cubicBezTo>
                          <a:cubicBezTo>
                            <a:pt x="2671" y="6100"/>
                            <a:pt x="2850" y="6041"/>
                            <a:pt x="3089" y="5981"/>
                          </a:cubicBezTo>
                          <a:cubicBezTo>
                            <a:pt x="3269" y="5921"/>
                            <a:pt x="3448" y="5861"/>
                            <a:pt x="3628" y="5742"/>
                          </a:cubicBezTo>
                          <a:cubicBezTo>
                            <a:pt x="3807" y="5622"/>
                            <a:pt x="3986" y="5562"/>
                            <a:pt x="4166" y="5382"/>
                          </a:cubicBezTo>
                          <a:cubicBezTo>
                            <a:pt x="4345" y="5263"/>
                            <a:pt x="4525" y="5083"/>
                            <a:pt x="4644" y="4964"/>
                          </a:cubicBezTo>
                          <a:cubicBezTo>
                            <a:pt x="4704" y="4904"/>
                            <a:pt x="4764" y="4844"/>
                            <a:pt x="4824" y="4785"/>
                          </a:cubicBezTo>
                          <a:cubicBezTo>
                            <a:pt x="4884" y="4725"/>
                            <a:pt x="4943" y="4665"/>
                            <a:pt x="4943" y="4605"/>
                          </a:cubicBezTo>
                          <a:cubicBezTo>
                            <a:pt x="4943" y="4545"/>
                            <a:pt x="5063" y="4486"/>
                            <a:pt x="5063" y="4426"/>
                          </a:cubicBezTo>
                          <a:cubicBezTo>
                            <a:pt x="5123" y="4366"/>
                            <a:pt x="5123" y="4306"/>
                            <a:pt x="5183" y="4246"/>
                          </a:cubicBezTo>
                          <a:cubicBezTo>
                            <a:pt x="5243" y="4127"/>
                            <a:pt x="5302" y="4067"/>
                            <a:pt x="5362" y="3947"/>
                          </a:cubicBezTo>
                          <a:cubicBezTo>
                            <a:pt x="5422" y="3828"/>
                            <a:pt x="5482" y="3768"/>
                            <a:pt x="5542" y="3648"/>
                          </a:cubicBezTo>
                          <a:cubicBezTo>
                            <a:pt x="5601" y="3528"/>
                            <a:pt x="5601" y="3469"/>
                            <a:pt x="5661" y="3349"/>
                          </a:cubicBezTo>
                          <a:cubicBezTo>
                            <a:pt x="5721" y="3229"/>
                            <a:pt x="5721" y="3110"/>
                            <a:pt x="5781" y="3050"/>
                          </a:cubicBezTo>
                          <a:lnTo>
                            <a:pt x="5781" y="3050"/>
                          </a:lnTo>
                          <a:lnTo>
                            <a:pt x="5781" y="3050"/>
                          </a:lnTo>
                          <a:lnTo>
                            <a:pt x="5781" y="3050"/>
                          </a:lnTo>
                          <a:lnTo>
                            <a:pt x="5781" y="3050"/>
                          </a:lnTo>
                          <a:cubicBezTo>
                            <a:pt x="5781" y="3050"/>
                            <a:pt x="5781" y="2990"/>
                            <a:pt x="5781" y="2990"/>
                          </a:cubicBezTo>
                          <a:cubicBezTo>
                            <a:pt x="5781" y="2990"/>
                            <a:pt x="5781" y="2930"/>
                            <a:pt x="5781" y="2930"/>
                          </a:cubicBezTo>
                          <a:cubicBezTo>
                            <a:pt x="5781" y="2930"/>
                            <a:pt x="5781" y="2871"/>
                            <a:pt x="5781" y="2871"/>
                          </a:cubicBezTo>
                          <a:cubicBezTo>
                            <a:pt x="5781" y="2871"/>
                            <a:pt x="5781" y="2811"/>
                            <a:pt x="5781" y="2811"/>
                          </a:cubicBezTo>
                          <a:cubicBezTo>
                            <a:pt x="5781" y="2572"/>
                            <a:pt x="5840" y="2392"/>
                            <a:pt x="5781" y="2213"/>
                          </a:cubicBezTo>
                          <a:cubicBezTo>
                            <a:pt x="5781" y="2033"/>
                            <a:pt x="5721" y="1854"/>
                            <a:pt x="5721" y="1674"/>
                          </a:cubicBezTo>
                          <a:cubicBezTo>
                            <a:pt x="5661" y="1495"/>
                            <a:pt x="5601" y="1316"/>
                            <a:pt x="5542" y="1196"/>
                          </a:cubicBezTo>
                          <a:cubicBezTo>
                            <a:pt x="5482" y="1076"/>
                            <a:pt x="5362" y="897"/>
                            <a:pt x="5243" y="778"/>
                          </a:cubicBezTo>
                          <a:lnTo>
                            <a:pt x="5003" y="538"/>
                          </a:lnTo>
                          <a:cubicBezTo>
                            <a:pt x="4943" y="479"/>
                            <a:pt x="4884" y="419"/>
                            <a:pt x="4764" y="359"/>
                          </a:cubicBezTo>
                          <a:cubicBezTo>
                            <a:pt x="4704" y="299"/>
                            <a:pt x="4644" y="299"/>
                            <a:pt x="4525" y="239"/>
                          </a:cubicBezTo>
                          <a:cubicBezTo>
                            <a:pt x="4465" y="179"/>
                            <a:pt x="4345" y="179"/>
                            <a:pt x="4285" y="120"/>
                          </a:cubicBezTo>
                          <a:cubicBezTo>
                            <a:pt x="4226" y="120"/>
                            <a:pt x="4106" y="60"/>
                            <a:pt x="4046" y="60"/>
                          </a:cubicBezTo>
                          <a:cubicBezTo>
                            <a:pt x="3927" y="60"/>
                            <a:pt x="3867" y="0"/>
                            <a:pt x="3747" y="0"/>
                          </a:cubicBezTo>
                          <a:cubicBezTo>
                            <a:pt x="3628" y="0"/>
                            <a:pt x="3568" y="0"/>
                            <a:pt x="3448" y="0"/>
                          </a:cubicBezTo>
                          <a:cubicBezTo>
                            <a:pt x="3329" y="0"/>
                            <a:pt x="3269" y="0"/>
                            <a:pt x="3149" y="0"/>
                          </a:cubicBezTo>
                          <a:cubicBezTo>
                            <a:pt x="3030" y="0"/>
                            <a:pt x="2970" y="60"/>
                            <a:pt x="2850" y="60"/>
                          </a:cubicBezTo>
                          <a:cubicBezTo>
                            <a:pt x="2850" y="60"/>
                            <a:pt x="2850" y="60"/>
                            <a:pt x="2850" y="60"/>
                          </a:cubicBezTo>
                          <a:cubicBezTo>
                            <a:pt x="2850" y="60"/>
                            <a:pt x="2850" y="60"/>
                            <a:pt x="2850" y="60"/>
                          </a:cubicBezTo>
                          <a:cubicBezTo>
                            <a:pt x="2850" y="60"/>
                            <a:pt x="2850" y="60"/>
                            <a:pt x="2850" y="60"/>
                          </a:cubicBezTo>
                          <a:cubicBezTo>
                            <a:pt x="2850" y="60"/>
                            <a:pt x="2850" y="60"/>
                            <a:pt x="2850" y="60"/>
                          </a:cubicBezTo>
                          <a:cubicBezTo>
                            <a:pt x="2730" y="120"/>
                            <a:pt x="2551" y="120"/>
                            <a:pt x="2431" y="179"/>
                          </a:cubicBezTo>
                          <a:cubicBezTo>
                            <a:pt x="2312" y="239"/>
                            <a:pt x="2132" y="299"/>
                            <a:pt x="2013" y="419"/>
                          </a:cubicBezTo>
                          <a:cubicBezTo>
                            <a:pt x="1893" y="538"/>
                            <a:pt x="1714" y="598"/>
                            <a:pt x="1594" y="718"/>
                          </a:cubicBezTo>
                          <a:cubicBezTo>
                            <a:pt x="1475" y="837"/>
                            <a:pt x="1355" y="957"/>
                            <a:pt x="1175" y="1076"/>
                          </a:cubicBezTo>
                          <a:cubicBezTo>
                            <a:pt x="876" y="1435"/>
                            <a:pt x="577" y="1794"/>
                            <a:pt x="398" y="2153"/>
                          </a:cubicBezTo>
                          <a:cubicBezTo>
                            <a:pt x="219" y="2572"/>
                            <a:pt x="99" y="2930"/>
                            <a:pt x="39" y="3349"/>
                          </a:cubicBezTo>
                          <a:cubicBezTo>
                            <a:pt x="-21" y="3768"/>
                            <a:pt x="-21" y="4127"/>
                            <a:pt x="99" y="4486"/>
                          </a:cubicBezTo>
                          <a:cubicBezTo>
                            <a:pt x="219" y="4844"/>
                            <a:pt x="338" y="5203"/>
                            <a:pt x="577" y="5442"/>
                          </a:cubicBezTo>
                          <a:cubicBezTo>
                            <a:pt x="577" y="5442"/>
                            <a:pt x="637" y="5502"/>
                            <a:pt x="637" y="5502"/>
                          </a:cubicBezTo>
                          <a:cubicBezTo>
                            <a:pt x="637" y="5502"/>
                            <a:pt x="697" y="5562"/>
                            <a:pt x="697" y="5562"/>
                          </a:cubicBezTo>
                          <a:cubicBezTo>
                            <a:pt x="697" y="5562"/>
                            <a:pt x="757" y="5622"/>
                            <a:pt x="757" y="5622"/>
                          </a:cubicBezTo>
                          <a:cubicBezTo>
                            <a:pt x="757" y="5562"/>
                            <a:pt x="817" y="5562"/>
                            <a:pt x="817" y="5622"/>
                          </a:cubicBezTo>
                        </a:path>
                      </a:pathLst>
                    </a:custGeom>
                    <a:noFill/>
                    <a:ln w="6350" cap="flat">
                      <a:solidFill>
                        <a:schemeClr val="bg1">
                          <a:alpha val="80000"/>
                        </a:schemeClr>
                      </a:solidFill>
                      <a:prstDash val="solid"/>
                      <a:miter/>
                    </a:ln>
                  </p:spPr>
                  <p:txBody>
                    <a:bodyPr rtlCol="0" anchor="ctr"/>
                    <a:lstStyle/>
                    <a:p>
                      <a:endParaRPr lang="en-GB"/>
                    </a:p>
                  </p:txBody>
                </p:sp>
                <p:sp>
                  <p:nvSpPr>
                    <p:cNvPr id="7528" name="Vrije vorm: vorm 7527">
                      <a:extLst>
                        <a:ext uri="{FF2B5EF4-FFF2-40B4-BE49-F238E27FC236}">
                          <a16:creationId xmlns:a16="http://schemas.microsoft.com/office/drawing/2014/main" id="{EBE06C47-88A3-4DBB-B9B2-B9A02186D1F3}"/>
                        </a:ext>
                      </a:extLst>
                    </p:cNvPr>
                    <p:cNvSpPr/>
                    <p:nvPr/>
                  </p:nvSpPr>
                  <p:spPr>
                    <a:xfrm>
                      <a:off x="5217694" y="5201294"/>
                      <a:ext cx="5768" cy="6279"/>
                    </a:xfrm>
                    <a:custGeom>
                      <a:avLst/>
                      <a:gdLst>
                        <a:gd name="connsiteX0" fmla="*/ 4213 w 5768"/>
                        <a:gd name="connsiteY0" fmla="*/ 1375 h 6279"/>
                        <a:gd name="connsiteX1" fmla="*/ 4512 w 5768"/>
                        <a:gd name="connsiteY1" fmla="*/ 1674 h 6279"/>
                        <a:gd name="connsiteX2" fmla="*/ 4692 w 5768"/>
                        <a:gd name="connsiteY2" fmla="*/ 2033 h 6279"/>
                        <a:gd name="connsiteX3" fmla="*/ 4811 w 5768"/>
                        <a:gd name="connsiteY3" fmla="*/ 2512 h 6279"/>
                        <a:gd name="connsiteX4" fmla="*/ 4811 w 5768"/>
                        <a:gd name="connsiteY4" fmla="*/ 3050 h 6279"/>
                        <a:gd name="connsiteX5" fmla="*/ 4692 w 5768"/>
                        <a:gd name="connsiteY5" fmla="*/ 3469 h 6279"/>
                        <a:gd name="connsiteX6" fmla="*/ 4512 w 5768"/>
                        <a:gd name="connsiteY6" fmla="*/ 3887 h 6279"/>
                        <a:gd name="connsiteX7" fmla="*/ 4273 w 5768"/>
                        <a:gd name="connsiteY7" fmla="*/ 4246 h 6279"/>
                        <a:gd name="connsiteX8" fmla="*/ 3974 w 5768"/>
                        <a:gd name="connsiteY8" fmla="*/ 4605 h 6279"/>
                        <a:gd name="connsiteX9" fmla="*/ 3675 w 5768"/>
                        <a:gd name="connsiteY9" fmla="*/ 4904 h 6279"/>
                        <a:gd name="connsiteX10" fmla="*/ 3316 w 5768"/>
                        <a:gd name="connsiteY10" fmla="*/ 5143 h 6279"/>
                        <a:gd name="connsiteX11" fmla="*/ 2957 w 5768"/>
                        <a:gd name="connsiteY11" fmla="*/ 5323 h 6279"/>
                        <a:gd name="connsiteX12" fmla="*/ 2598 w 5768"/>
                        <a:gd name="connsiteY12" fmla="*/ 5382 h 6279"/>
                        <a:gd name="connsiteX13" fmla="*/ 2299 w 5768"/>
                        <a:gd name="connsiteY13" fmla="*/ 5382 h 6279"/>
                        <a:gd name="connsiteX14" fmla="*/ 2000 w 5768"/>
                        <a:gd name="connsiteY14" fmla="*/ 5323 h 6279"/>
                        <a:gd name="connsiteX15" fmla="*/ 1761 w 5768"/>
                        <a:gd name="connsiteY15" fmla="*/ 5203 h 6279"/>
                        <a:gd name="connsiteX16" fmla="*/ 1522 w 5768"/>
                        <a:gd name="connsiteY16" fmla="*/ 5024 h 6279"/>
                        <a:gd name="connsiteX17" fmla="*/ 1342 w 5768"/>
                        <a:gd name="connsiteY17" fmla="*/ 4844 h 6279"/>
                        <a:gd name="connsiteX18" fmla="*/ 1163 w 5768"/>
                        <a:gd name="connsiteY18" fmla="*/ 4545 h 6279"/>
                        <a:gd name="connsiteX19" fmla="*/ 1043 w 5768"/>
                        <a:gd name="connsiteY19" fmla="*/ 4186 h 6279"/>
                        <a:gd name="connsiteX20" fmla="*/ 984 w 5768"/>
                        <a:gd name="connsiteY20" fmla="*/ 3827 h 6279"/>
                        <a:gd name="connsiteX21" fmla="*/ 984 w 5768"/>
                        <a:gd name="connsiteY21" fmla="*/ 3409 h 6279"/>
                        <a:gd name="connsiteX22" fmla="*/ 1103 w 5768"/>
                        <a:gd name="connsiteY22" fmla="*/ 2990 h 6279"/>
                        <a:gd name="connsiteX23" fmla="*/ 1283 w 5768"/>
                        <a:gd name="connsiteY23" fmla="*/ 2572 h 6279"/>
                        <a:gd name="connsiteX24" fmla="*/ 1522 w 5768"/>
                        <a:gd name="connsiteY24" fmla="*/ 2213 h 6279"/>
                        <a:gd name="connsiteX25" fmla="*/ 1821 w 5768"/>
                        <a:gd name="connsiteY25" fmla="*/ 1854 h 6279"/>
                        <a:gd name="connsiteX26" fmla="*/ 2180 w 5768"/>
                        <a:gd name="connsiteY26" fmla="*/ 1555 h 6279"/>
                        <a:gd name="connsiteX27" fmla="*/ 2539 w 5768"/>
                        <a:gd name="connsiteY27" fmla="*/ 1316 h 6279"/>
                        <a:gd name="connsiteX28" fmla="*/ 2897 w 5768"/>
                        <a:gd name="connsiteY28" fmla="*/ 1136 h 6279"/>
                        <a:gd name="connsiteX29" fmla="*/ 3316 w 5768"/>
                        <a:gd name="connsiteY29" fmla="*/ 1076 h 6279"/>
                        <a:gd name="connsiteX30" fmla="*/ 3615 w 5768"/>
                        <a:gd name="connsiteY30" fmla="*/ 1076 h 6279"/>
                        <a:gd name="connsiteX31" fmla="*/ 3914 w 5768"/>
                        <a:gd name="connsiteY31" fmla="*/ 1136 h 6279"/>
                        <a:gd name="connsiteX32" fmla="*/ 4153 w 5768"/>
                        <a:gd name="connsiteY32" fmla="*/ 1256 h 6279"/>
                        <a:gd name="connsiteX33" fmla="*/ 4213 w 5768"/>
                        <a:gd name="connsiteY33" fmla="*/ 1375 h 6279"/>
                        <a:gd name="connsiteX34" fmla="*/ 744 w 5768"/>
                        <a:gd name="connsiteY34" fmla="*/ 5861 h 6279"/>
                        <a:gd name="connsiteX35" fmla="*/ 1103 w 5768"/>
                        <a:gd name="connsiteY35" fmla="*/ 6100 h 6279"/>
                        <a:gd name="connsiteX36" fmla="*/ 1462 w 5768"/>
                        <a:gd name="connsiteY36" fmla="*/ 6220 h 6279"/>
                        <a:gd name="connsiteX37" fmla="*/ 1881 w 5768"/>
                        <a:gd name="connsiteY37" fmla="*/ 6280 h 6279"/>
                        <a:gd name="connsiteX38" fmla="*/ 2359 w 5768"/>
                        <a:gd name="connsiteY38" fmla="*/ 6280 h 6279"/>
                        <a:gd name="connsiteX39" fmla="*/ 3495 w 5768"/>
                        <a:gd name="connsiteY39" fmla="*/ 5921 h 6279"/>
                        <a:gd name="connsiteX40" fmla="*/ 4512 w 5768"/>
                        <a:gd name="connsiteY40" fmla="*/ 5143 h 6279"/>
                        <a:gd name="connsiteX41" fmla="*/ 5290 w 5768"/>
                        <a:gd name="connsiteY41" fmla="*/ 4067 h 6279"/>
                        <a:gd name="connsiteX42" fmla="*/ 5708 w 5768"/>
                        <a:gd name="connsiteY42" fmla="*/ 2811 h 6279"/>
                        <a:gd name="connsiteX43" fmla="*/ 5768 w 5768"/>
                        <a:gd name="connsiteY43" fmla="*/ 2093 h 6279"/>
                        <a:gd name="connsiteX44" fmla="*/ 5648 w 5768"/>
                        <a:gd name="connsiteY44" fmla="*/ 1435 h 6279"/>
                        <a:gd name="connsiteX45" fmla="*/ 5349 w 5768"/>
                        <a:gd name="connsiteY45" fmla="*/ 897 h 6279"/>
                        <a:gd name="connsiteX46" fmla="*/ 4931 w 5768"/>
                        <a:gd name="connsiteY46" fmla="*/ 478 h 6279"/>
                        <a:gd name="connsiteX47" fmla="*/ 4572 w 5768"/>
                        <a:gd name="connsiteY47" fmla="*/ 239 h 6279"/>
                        <a:gd name="connsiteX48" fmla="*/ 4213 w 5768"/>
                        <a:gd name="connsiteY48" fmla="*/ 60 h 6279"/>
                        <a:gd name="connsiteX49" fmla="*/ 3794 w 5768"/>
                        <a:gd name="connsiteY49" fmla="*/ 0 h 6279"/>
                        <a:gd name="connsiteX50" fmla="*/ 3316 w 5768"/>
                        <a:gd name="connsiteY50" fmla="*/ 0 h 6279"/>
                        <a:gd name="connsiteX51" fmla="*/ 2718 w 5768"/>
                        <a:gd name="connsiteY51" fmla="*/ 119 h 6279"/>
                        <a:gd name="connsiteX52" fmla="*/ 2180 w 5768"/>
                        <a:gd name="connsiteY52" fmla="*/ 359 h 6279"/>
                        <a:gd name="connsiteX53" fmla="*/ 1641 w 5768"/>
                        <a:gd name="connsiteY53" fmla="*/ 718 h 6279"/>
                        <a:gd name="connsiteX54" fmla="*/ 1163 w 5768"/>
                        <a:gd name="connsiteY54" fmla="*/ 1136 h 6279"/>
                        <a:gd name="connsiteX55" fmla="*/ 744 w 5768"/>
                        <a:gd name="connsiteY55" fmla="*/ 1674 h 6279"/>
                        <a:gd name="connsiteX56" fmla="*/ 386 w 5768"/>
                        <a:gd name="connsiteY56" fmla="*/ 2213 h 6279"/>
                        <a:gd name="connsiteX57" fmla="*/ 146 w 5768"/>
                        <a:gd name="connsiteY57" fmla="*/ 2811 h 6279"/>
                        <a:gd name="connsiteX58" fmla="*/ 26 w 5768"/>
                        <a:gd name="connsiteY58" fmla="*/ 3409 h 6279"/>
                        <a:gd name="connsiteX59" fmla="*/ 26 w 5768"/>
                        <a:gd name="connsiteY59" fmla="*/ 4007 h 6279"/>
                        <a:gd name="connsiteX60" fmla="*/ 86 w 5768"/>
                        <a:gd name="connsiteY60" fmla="*/ 4605 h 6279"/>
                        <a:gd name="connsiteX61" fmla="*/ 266 w 5768"/>
                        <a:gd name="connsiteY61" fmla="*/ 5143 h 6279"/>
                        <a:gd name="connsiteX62" fmla="*/ 565 w 5768"/>
                        <a:gd name="connsiteY62" fmla="*/ 5562 h 6279"/>
                        <a:gd name="connsiteX63" fmla="*/ 625 w 5768"/>
                        <a:gd name="connsiteY63" fmla="*/ 5622 h 6279"/>
                        <a:gd name="connsiteX64" fmla="*/ 685 w 5768"/>
                        <a:gd name="connsiteY64" fmla="*/ 5681 h 6279"/>
                        <a:gd name="connsiteX65" fmla="*/ 744 w 5768"/>
                        <a:gd name="connsiteY65" fmla="*/ 5741 h 6279"/>
                        <a:gd name="connsiteX66" fmla="*/ 744 w 5768"/>
                        <a:gd name="connsiteY66" fmla="*/ 5861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768" h="6279">
                          <a:moveTo>
                            <a:pt x="4213" y="1375"/>
                          </a:moveTo>
                          <a:cubicBezTo>
                            <a:pt x="4333" y="1435"/>
                            <a:pt x="4393" y="1555"/>
                            <a:pt x="4512" y="1674"/>
                          </a:cubicBezTo>
                          <a:cubicBezTo>
                            <a:pt x="4572" y="1794"/>
                            <a:pt x="4632" y="1914"/>
                            <a:pt x="4692" y="2033"/>
                          </a:cubicBezTo>
                          <a:cubicBezTo>
                            <a:pt x="4751" y="2153"/>
                            <a:pt x="4751" y="2332"/>
                            <a:pt x="4811" y="2512"/>
                          </a:cubicBezTo>
                          <a:cubicBezTo>
                            <a:pt x="4811" y="2691"/>
                            <a:pt x="4811" y="2871"/>
                            <a:pt x="4811" y="3050"/>
                          </a:cubicBezTo>
                          <a:cubicBezTo>
                            <a:pt x="4811" y="3170"/>
                            <a:pt x="4751" y="3349"/>
                            <a:pt x="4692" y="3469"/>
                          </a:cubicBezTo>
                          <a:cubicBezTo>
                            <a:pt x="4632" y="3588"/>
                            <a:pt x="4572" y="3708"/>
                            <a:pt x="4512" y="3887"/>
                          </a:cubicBezTo>
                          <a:cubicBezTo>
                            <a:pt x="4452" y="4007"/>
                            <a:pt x="4393" y="4126"/>
                            <a:pt x="4273" y="4246"/>
                          </a:cubicBezTo>
                          <a:cubicBezTo>
                            <a:pt x="4213" y="4366"/>
                            <a:pt x="4094" y="4486"/>
                            <a:pt x="3974" y="4605"/>
                          </a:cubicBezTo>
                          <a:cubicBezTo>
                            <a:pt x="3854" y="4725"/>
                            <a:pt x="3735" y="4785"/>
                            <a:pt x="3675" y="4904"/>
                          </a:cubicBezTo>
                          <a:cubicBezTo>
                            <a:pt x="3555" y="4964"/>
                            <a:pt x="3436" y="5083"/>
                            <a:pt x="3316" y="5143"/>
                          </a:cubicBezTo>
                          <a:cubicBezTo>
                            <a:pt x="3196" y="5203"/>
                            <a:pt x="3077" y="5263"/>
                            <a:pt x="2957" y="5323"/>
                          </a:cubicBezTo>
                          <a:cubicBezTo>
                            <a:pt x="2838" y="5382"/>
                            <a:pt x="2718" y="5382"/>
                            <a:pt x="2598" y="5382"/>
                          </a:cubicBezTo>
                          <a:cubicBezTo>
                            <a:pt x="2479" y="5382"/>
                            <a:pt x="2359" y="5382"/>
                            <a:pt x="2299" y="5382"/>
                          </a:cubicBezTo>
                          <a:cubicBezTo>
                            <a:pt x="2180" y="5382"/>
                            <a:pt x="2120" y="5323"/>
                            <a:pt x="2000" y="5323"/>
                          </a:cubicBezTo>
                          <a:cubicBezTo>
                            <a:pt x="1881" y="5323"/>
                            <a:pt x="1821" y="5263"/>
                            <a:pt x="1761" y="5203"/>
                          </a:cubicBezTo>
                          <a:cubicBezTo>
                            <a:pt x="1701" y="5143"/>
                            <a:pt x="1581" y="5083"/>
                            <a:pt x="1522" y="5024"/>
                          </a:cubicBezTo>
                          <a:lnTo>
                            <a:pt x="1342" y="4844"/>
                          </a:lnTo>
                          <a:cubicBezTo>
                            <a:pt x="1283" y="4785"/>
                            <a:pt x="1223" y="4665"/>
                            <a:pt x="1163" y="4545"/>
                          </a:cubicBezTo>
                          <a:cubicBezTo>
                            <a:pt x="1103" y="4426"/>
                            <a:pt x="1043" y="4306"/>
                            <a:pt x="1043" y="4186"/>
                          </a:cubicBezTo>
                          <a:cubicBezTo>
                            <a:pt x="1043" y="4067"/>
                            <a:pt x="984" y="3947"/>
                            <a:pt x="984" y="3827"/>
                          </a:cubicBezTo>
                          <a:cubicBezTo>
                            <a:pt x="984" y="3708"/>
                            <a:pt x="984" y="3528"/>
                            <a:pt x="984" y="3409"/>
                          </a:cubicBezTo>
                          <a:cubicBezTo>
                            <a:pt x="984" y="3289"/>
                            <a:pt x="1043" y="3110"/>
                            <a:pt x="1103" y="2990"/>
                          </a:cubicBezTo>
                          <a:cubicBezTo>
                            <a:pt x="1163" y="2871"/>
                            <a:pt x="1223" y="2691"/>
                            <a:pt x="1283" y="2572"/>
                          </a:cubicBezTo>
                          <a:cubicBezTo>
                            <a:pt x="1342" y="2452"/>
                            <a:pt x="1402" y="2332"/>
                            <a:pt x="1522" y="2213"/>
                          </a:cubicBezTo>
                          <a:cubicBezTo>
                            <a:pt x="1581" y="2093"/>
                            <a:pt x="1701" y="1973"/>
                            <a:pt x="1821" y="1854"/>
                          </a:cubicBezTo>
                          <a:cubicBezTo>
                            <a:pt x="1940" y="1734"/>
                            <a:pt x="2060" y="1615"/>
                            <a:pt x="2180" y="1555"/>
                          </a:cubicBezTo>
                          <a:cubicBezTo>
                            <a:pt x="2299" y="1495"/>
                            <a:pt x="2419" y="1375"/>
                            <a:pt x="2539" y="1316"/>
                          </a:cubicBezTo>
                          <a:cubicBezTo>
                            <a:pt x="2658" y="1256"/>
                            <a:pt x="2778" y="1196"/>
                            <a:pt x="2897" y="1136"/>
                          </a:cubicBezTo>
                          <a:cubicBezTo>
                            <a:pt x="3017" y="1076"/>
                            <a:pt x="3137" y="1076"/>
                            <a:pt x="3316" y="1076"/>
                          </a:cubicBezTo>
                          <a:cubicBezTo>
                            <a:pt x="3436" y="1076"/>
                            <a:pt x="3555" y="1076"/>
                            <a:pt x="3615" y="1076"/>
                          </a:cubicBezTo>
                          <a:cubicBezTo>
                            <a:pt x="3735" y="1076"/>
                            <a:pt x="3794" y="1136"/>
                            <a:pt x="3914" y="1136"/>
                          </a:cubicBezTo>
                          <a:cubicBezTo>
                            <a:pt x="4034" y="1136"/>
                            <a:pt x="4094" y="1196"/>
                            <a:pt x="4153" y="1256"/>
                          </a:cubicBezTo>
                          <a:cubicBezTo>
                            <a:pt x="4094" y="1256"/>
                            <a:pt x="4153" y="1316"/>
                            <a:pt x="4213" y="1375"/>
                          </a:cubicBezTo>
                          <a:moveTo>
                            <a:pt x="744" y="5861"/>
                          </a:moveTo>
                          <a:cubicBezTo>
                            <a:pt x="864" y="5921"/>
                            <a:pt x="984" y="6040"/>
                            <a:pt x="1103" y="6100"/>
                          </a:cubicBezTo>
                          <a:cubicBezTo>
                            <a:pt x="1223" y="6160"/>
                            <a:pt x="1342" y="6220"/>
                            <a:pt x="1462" y="6220"/>
                          </a:cubicBezTo>
                          <a:cubicBezTo>
                            <a:pt x="1581" y="6280"/>
                            <a:pt x="1761" y="6280"/>
                            <a:pt x="1881" y="6280"/>
                          </a:cubicBezTo>
                          <a:cubicBezTo>
                            <a:pt x="2000" y="6280"/>
                            <a:pt x="2180" y="6280"/>
                            <a:pt x="2359" y="6280"/>
                          </a:cubicBezTo>
                          <a:cubicBezTo>
                            <a:pt x="2778" y="6220"/>
                            <a:pt x="3137" y="6100"/>
                            <a:pt x="3495" y="5921"/>
                          </a:cubicBezTo>
                          <a:cubicBezTo>
                            <a:pt x="3854" y="5741"/>
                            <a:pt x="4213" y="5502"/>
                            <a:pt x="4512" y="5143"/>
                          </a:cubicBezTo>
                          <a:cubicBezTo>
                            <a:pt x="4811" y="4844"/>
                            <a:pt x="5050" y="4486"/>
                            <a:pt x="5290" y="4067"/>
                          </a:cubicBezTo>
                          <a:cubicBezTo>
                            <a:pt x="5529" y="3648"/>
                            <a:pt x="5648" y="3289"/>
                            <a:pt x="5708" y="2811"/>
                          </a:cubicBezTo>
                          <a:cubicBezTo>
                            <a:pt x="5768" y="2572"/>
                            <a:pt x="5768" y="2332"/>
                            <a:pt x="5768" y="2093"/>
                          </a:cubicBezTo>
                          <a:cubicBezTo>
                            <a:pt x="5768" y="1854"/>
                            <a:pt x="5708" y="1615"/>
                            <a:pt x="5648" y="1435"/>
                          </a:cubicBezTo>
                          <a:cubicBezTo>
                            <a:pt x="5589" y="1256"/>
                            <a:pt x="5469" y="1017"/>
                            <a:pt x="5349" y="897"/>
                          </a:cubicBezTo>
                          <a:cubicBezTo>
                            <a:pt x="5230" y="718"/>
                            <a:pt x="5110" y="598"/>
                            <a:pt x="4931" y="478"/>
                          </a:cubicBezTo>
                          <a:cubicBezTo>
                            <a:pt x="4811" y="418"/>
                            <a:pt x="4692" y="299"/>
                            <a:pt x="4572" y="239"/>
                          </a:cubicBezTo>
                          <a:cubicBezTo>
                            <a:pt x="4452" y="179"/>
                            <a:pt x="4333" y="119"/>
                            <a:pt x="4213" y="60"/>
                          </a:cubicBezTo>
                          <a:cubicBezTo>
                            <a:pt x="4094" y="0"/>
                            <a:pt x="3914" y="0"/>
                            <a:pt x="3794" y="0"/>
                          </a:cubicBezTo>
                          <a:cubicBezTo>
                            <a:pt x="3675" y="0"/>
                            <a:pt x="3495" y="0"/>
                            <a:pt x="3316" y="0"/>
                          </a:cubicBezTo>
                          <a:cubicBezTo>
                            <a:pt x="3137" y="0"/>
                            <a:pt x="2957" y="60"/>
                            <a:pt x="2718" y="119"/>
                          </a:cubicBezTo>
                          <a:cubicBezTo>
                            <a:pt x="2479" y="179"/>
                            <a:pt x="2359" y="239"/>
                            <a:pt x="2180" y="359"/>
                          </a:cubicBezTo>
                          <a:cubicBezTo>
                            <a:pt x="2000" y="478"/>
                            <a:pt x="1821" y="538"/>
                            <a:pt x="1641" y="718"/>
                          </a:cubicBezTo>
                          <a:cubicBezTo>
                            <a:pt x="1462" y="837"/>
                            <a:pt x="1283" y="1017"/>
                            <a:pt x="1163" y="1136"/>
                          </a:cubicBezTo>
                          <a:cubicBezTo>
                            <a:pt x="984" y="1316"/>
                            <a:pt x="864" y="1495"/>
                            <a:pt x="744" y="1674"/>
                          </a:cubicBezTo>
                          <a:cubicBezTo>
                            <a:pt x="625" y="1854"/>
                            <a:pt x="505" y="2033"/>
                            <a:pt x="386" y="2213"/>
                          </a:cubicBezTo>
                          <a:cubicBezTo>
                            <a:pt x="266" y="2392"/>
                            <a:pt x="206" y="2631"/>
                            <a:pt x="146" y="2811"/>
                          </a:cubicBezTo>
                          <a:cubicBezTo>
                            <a:pt x="86" y="2990"/>
                            <a:pt x="26" y="3229"/>
                            <a:pt x="26" y="3409"/>
                          </a:cubicBezTo>
                          <a:cubicBezTo>
                            <a:pt x="26" y="3648"/>
                            <a:pt x="-33" y="3827"/>
                            <a:pt x="26" y="4007"/>
                          </a:cubicBezTo>
                          <a:cubicBezTo>
                            <a:pt x="26" y="4186"/>
                            <a:pt x="86" y="4426"/>
                            <a:pt x="86" y="4605"/>
                          </a:cubicBezTo>
                          <a:cubicBezTo>
                            <a:pt x="146" y="4785"/>
                            <a:pt x="206" y="4964"/>
                            <a:pt x="266" y="5143"/>
                          </a:cubicBezTo>
                          <a:cubicBezTo>
                            <a:pt x="326" y="5323"/>
                            <a:pt x="445" y="5442"/>
                            <a:pt x="565" y="5562"/>
                          </a:cubicBezTo>
                          <a:cubicBezTo>
                            <a:pt x="565" y="5562"/>
                            <a:pt x="625" y="5622"/>
                            <a:pt x="625" y="5622"/>
                          </a:cubicBezTo>
                          <a:cubicBezTo>
                            <a:pt x="625" y="5622"/>
                            <a:pt x="685" y="5681"/>
                            <a:pt x="685" y="5681"/>
                          </a:cubicBezTo>
                          <a:cubicBezTo>
                            <a:pt x="685" y="5681"/>
                            <a:pt x="744" y="5741"/>
                            <a:pt x="744" y="5741"/>
                          </a:cubicBezTo>
                          <a:cubicBezTo>
                            <a:pt x="744" y="5741"/>
                            <a:pt x="744" y="5801"/>
                            <a:pt x="744" y="5861"/>
                          </a:cubicBezTo>
                        </a:path>
                      </a:pathLst>
                    </a:custGeom>
                    <a:noFill/>
                    <a:ln w="6350" cap="flat">
                      <a:solidFill>
                        <a:schemeClr val="bg1">
                          <a:alpha val="80000"/>
                        </a:schemeClr>
                      </a:solidFill>
                      <a:prstDash val="solid"/>
                      <a:miter/>
                    </a:ln>
                  </p:spPr>
                  <p:txBody>
                    <a:bodyPr rtlCol="0" anchor="ctr"/>
                    <a:lstStyle/>
                    <a:p>
                      <a:endParaRPr lang="en-GB"/>
                    </a:p>
                  </p:txBody>
                </p:sp>
                <p:sp>
                  <p:nvSpPr>
                    <p:cNvPr id="7529" name="Vrije vorm: vorm 7528">
                      <a:extLst>
                        <a:ext uri="{FF2B5EF4-FFF2-40B4-BE49-F238E27FC236}">
                          <a16:creationId xmlns:a16="http://schemas.microsoft.com/office/drawing/2014/main" id="{F8E331FE-77DF-42FC-BA1D-B75F1E68F0AB}"/>
                        </a:ext>
                      </a:extLst>
                    </p:cNvPr>
                    <p:cNvSpPr/>
                    <p:nvPr/>
                  </p:nvSpPr>
                  <p:spPr>
                    <a:xfrm>
                      <a:off x="5208750" y="5205914"/>
                      <a:ext cx="5681" cy="6249"/>
                    </a:xfrm>
                    <a:custGeom>
                      <a:avLst/>
                      <a:gdLst>
                        <a:gd name="connsiteX0" fmla="*/ 1795 w 5681"/>
                        <a:gd name="connsiteY0" fmla="*/ 5128 h 6249"/>
                        <a:gd name="connsiteX1" fmla="*/ 1675 w 5681"/>
                        <a:gd name="connsiteY1" fmla="*/ 5069 h 6249"/>
                        <a:gd name="connsiteX2" fmla="*/ 1555 w 5681"/>
                        <a:gd name="connsiteY2" fmla="*/ 5009 h 6249"/>
                        <a:gd name="connsiteX3" fmla="*/ 1436 w 5681"/>
                        <a:gd name="connsiteY3" fmla="*/ 4949 h 6249"/>
                        <a:gd name="connsiteX4" fmla="*/ 1316 w 5681"/>
                        <a:gd name="connsiteY4" fmla="*/ 4889 h 6249"/>
                        <a:gd name="connsiteX5" fmla="*/ 1136 w 5681"/>
                        <a:gd name="connsiteY5" fmla="*/ 4710 h 6249"/>
                        <a:gd name="connsiteX6" fmla="*/ 1077 w 5681"/>
                        <a:gd name="connsiteY6" fmla="*/ 4650 h 6249"/>
                        <a:gd name="connsiteX7" fmla="*/ 1017 w 5681"/>
                        <a:gd name="connsiteY7" fmla="*/ 4590 h 6249"/>
                        <a:gd name="connsiteX8" fmla="*/ 957 w 5681"/>
                        <a:gd name="connsiteY8" fmla="*/ 4530 h 6249"/>
                        <a:gd name="connsiteX9" fmla="*/ 897 w 5681"/>
                        <a:gd name="connsiteY9" fmla="*/ 4471 h 6249"/>
                        <a:gd name="connsiteX10" fmla="*/ 778 w 5681"/>
                        <a:gd name="connsiteY10" fmla="*/ 4231 h 6249"/>
                        <a:gd name="connsiteX11" fmla="*/ 718 w 5681"/>
                        <a:gd name="connsiteY11" fmla="*/ 3933 h 6249"/>
                        <a:gd name="connsiteX12" fmla="*/ 718 w 5681"/>
                        <a:gd name="connsiteY12" fmla="*/ 3633 h 6249"/>
                        <a:gd name="connsiteX13" fmla="*/ 718 w 5681"/>
                        <a:gd name="connsiteY13" fmla="*/ 3334 h 6249"/>
                        <a:gd name="connsiteX14" fmla="*/ 778 w 5681"/>
                        <a:gd name="connsiteY14" fmla="*/ 2975 h 6249"/>
                        <a:gd name="connsiteX15" fmla="*/ 897 w 5681"/>
                        <a:gd name="connsiteY15" fmla="*/ 2617 h 6249"/>
                        <a:gd name="connsiteX16" fmla="*/ 1077 w 5681"/>
                        <a:gd name="connsiteY16" fmla="*/ 2318 h 6249"/>
                        <a:gd name="connsiteX17" fmla="*/ 1256 w 5681"/>
                        <a:gd name="connsiteY17" fmla="*/ 2019 h 6249"/>
                        <a:gd name="connsiteX18" fmla="*/ 1316 w 5681"/>
                        <a:gd name="connsiteY18" fmla="*/ 1959 h 6249"/>
                        <a:gd name="connsiteX19" fmla="*/ 1376 w 5681"/>
                        <a:gd name="connsiteY19" fmla="*/ 1899 h 6249"/>
                        <a:gd name="connsiteX20" fmla="*/ 1436 w 5681"/>
                        <a:gd name="connsiteY20" fmla="*/ 1839 h 6249"/>
                        <a:gd name="connsiteX21" fmla="*/ 1495 w 5681"/>
                        <a:gd name="connsiteY21" fmla="*/ 1779 h 6249"/>
                        <a:gd name="connsiteX22" fmla="*/ 1675 w 5681"/>
                        <a:gd name="connsiteY22" fmla="*/ 1600 h 6249"/>
                        <a:gd name="connsiteX23" fmla="*/ 1914 w 5681"/>
                        <a:gd name="connsiteY23" fmla="*/ 1420 h 6249"/>
                        <a:gd name="connsiteX24" fmla="*/ 2153 w 5681"/>
                        <a:gd name="connsiteY24" fmla="*/ 1301 h 6249"/>
                        <a:gd name="connsiteX25" fmla="*/ 2392 w 5681"/>
                        <a:gd name="connsiteY25" fmla="*/ 1181 h 6249"/>
                        <a:gd name="connsiteX26" fmla="*/ 2871 w 5681"/>
                        <a:gd name="connsiteY26" fmla="*/ 1062 h 6249"/>
                        <a:gd name="connsiteX27" fmla="*/ 3350 w 5681"/>
                        <a:gd name="connsiteY27" fmla="*/ 1062 h 6249"/>
                        <a:gd name="connsiteX28" fmla="*/ 3768 w 5681"/>
                        <a:gd name="connsiteY28" fmla="*/ 1181 h 6249"/>
                        <a:gd name="connsiteX29" fmla="*/ 4187 w 5681"/>
                        <a:gd name="connsiteY29" fmla="*/ 1420 h 6249"/>
                        <a:gd name="connsiteX30" fmla="*/ 4246 w 5681"/>
                        <a:gd name="connsiteY30" fmla="*/ 1480 h 6249"/>
                        <a:gd name="connsiteX31" fmla="*/ 4306 w 5681"/>
                        <a:gd name="connsiteY31" fmla="*/ 1540 h 6249"/>
                        <a:gd name="connsiteX32" fmla="*/ 4366 w 5681"/>
                        <a:gd name="connsiteY32" fmla="*/ 1600 h 6249"/>
                        <a:gd name="connsiteX33" fmla="*/ 4426 w 5681"/>
                        <a:gd name="connsiteY33" fmla="*/ 1660 h 6249"/>
                        <a:gd name="connsiteX34" fmla="*/ 4605 w 5681"/>
                        <a:gd name="connsiteY34" fmla="*/ 1959 h 6249"/>
                        <a:gd name="connsiteX35" fmla="*/ 4725 w 5681"/>
                        <a:gd name="connsiteY35" fmla="*/ 2318 h 6249"/>
                        <a:gd name="connsiteX36" fmla="*/ 4785 w 5681"/>
                        <a:gd name="connsiteY36" fmla="*/ 2676 h 6249"/>
                        <a:gd name="connsiteX37" fmla="*/ 4785 w 5681"/>
                        <a:gd name="connsiteY37" fmla="*/ 3095 h 6249"/>
                        <a:gd name="connsiteX38" fmla="*/ 4665 w 5681"/>
                        <a:gd name="connsiteY38" fmla="*/ 3514 h 6249"/>
                        <a:gd name="connsiteX39" fmla="*/ 4486 w 5681"/>
                        <a:gd name="connsiteY39" fmla="*/ 3933 h 6249"/>
                        <a:gd name="connsiteX40" fmla="*/ 4246 w 5681"/>
                        <a:gd name="connsiteY40" fmla="*/ 4291 h 6249"/>
                        <a:gd name="connsiteX41" fmla="*/ 3947 w 5681"/>
                        <a:gd name="connsiteY41" fmla="*/ 4650 h 6249"/>
                        <a:gd name="connsiteX42" fmla="*/ 3469 w 5681"/>
                        <a:gd name="connsiteY42" fmla="*/ 5069 h 6249"/>
                        <a:gd name="connsiteX43" fmla="*/ 2931 w 5681"/>
                        <a:gd name="connsiteY43" fmla="*/ 5308 h 6249"/>
                        <a:gd name="connsiteX44" fmla="*/ 2392 w 5681"/>
                        <a:gd name="connsiteY44" fmla="*/ 5428 h 6249"/>
                        <a:gd name="connsiteX45" fmla="*/ 1795 w 5681"/>
                        <a:gd name="connsiteY45" fmla="*/ 5128 h 6249"/>
                        <a:gd name="connsiteX46" fmla="*/ 1795 w 5681"/>
                        <a:gd name="connsiteY46" fmla="*/ 5128 h 6249"/>
                        <a:gd name="connsiteX47" fmla="*/ 1795 w 5681"/>
                        <a:gd name="connsiteY47" fmla="*/ 5128 h 6249"/>
                        <a:gd name="connsiteX48" fmla="*/ 1795 w 5681"/>
                        <a:gd name="connsiteY48" fmla="*/ 5128 h 6249"/>
                        <a:gd name="connsiteX49" fmla="*/ 1795 w 5681"/>
                        <a:gd name="connsiteY49" fmla="*/ 5128 h 6249"/>
                        <a:gd name="connsiteX50" fmla="*/ 598 w 5681"/>
                        <a:gd name="connsiteY50" fmla="*/ 5787 h 6249"/>
                        <a:gd name="connsiteX51" fmla="*/ 598 w 5681"/>
                        <a:gd name="connsiteY51" fmla="*/ 5787 h 6249"/>
                        <a:gd name="connsiteX52" fmla="*/ 658 w 5681"/>
                        <a:gd name="connsiteY52" fmla="*/ 5846 h 6249"/>
                        <a:gd name="connsiteX53" fmla="*/ 718 w 5681"/>
                        <a:gd name="connsiteY53" fmla="*/ 5846 h 6249"/>
                        <a:gd name="connsiteX54" fmla="*/ 778 w 5681"/>
                        <a:gd name="connsiteY54" fmla="*/ 5846 h 6249"/>
                        <a:gd name="connsiteX55" fmla="*/ 957 w 5681"/>
                        <a:gd name="connsiteY55" fmla="*/ 5966 h 6249"/>
                        <a:gd name="connsiteX56" fmla="*/ 1196 w 5681"/>
                        <a:gd name="connsiteY56" fmla="*/ 6085 h 6249"/>
                        <a:gd name="connsiteX57" fmla="*/ 1436 w 5681"/>
                        <a:gd name="connsiteY57" fmla="*/ 6145 h 6249"/>
                        <a:gd name="connsiteX58" fmla="*/ 1675 w 5681"/>
                        <a:gd name="connsiteY58" fmla="*/ 6205 h 6249"/>
                        <a:gd name="connsiteX59" fmla="*/ 1675 w 5681"/>
                        <a:gd name="connsiteY59" fmla="*/ 6205 h 6249"/>
                        <a:gd name="connsiteX60" fmla="*/ 1675 w 5681"/>
                        <a:gd name="connsiteY60" fmla="*/ 6205 h 6249"/>
                        <a:gd name="connsiteX61" fmla="*/ 1675 w 5681"/>
                        <a:gd name="connsiteY61" fmla="*/ 6205 h 6249"/>
                        <a:gd name="connsiteX62" fmla="*/ 1675 w 5681"/>
                        <a:gd name="connsiteY62" fmla="*/ 6205 h 6249"/>
                        <a:gd name="connsiteX63" fmla="*/ 2392 w 5681"/>
                        <a:gd name="connsiteY63" fmla="*/ 6205 h 6249"/>
                        <a:gd name="connsiteX64" fmla="*/ 3110 w 5681"/>
                        <a:gd name="connsiteY64" fmla="*/ 6026 h 6249"/>
                        <a:gd name="connsiteX65" fmla="*/ 3828 w 5681"/>
                        <a:gd name="connsiteY65" fmla="*/ 5667 h 6249"/>
                        <a:gd name="connsiteX66" fmla="*/ 4486 w 5681"/>
                        <a:gd name="connsiteY66" fmla="*/ 5128 h 6249"/>
                        <a:gd name="connsiteX67" fmla="*/ 4904 w 5681"/>
                        <a:gd name="connsiteY67" fmla="*/ 4590 h 6249"/>
                        <a:gd name="connsiteX68" fmla="*/ 5263 w 5681"/>
                        <a:gd name="connsiteY68" fmla="*/ 4052 h 6249"/>
                        <a:gd name="connsiteX69" fmla="*/ 5503 w 5681"/>
                        <a:gd name="connsiteY69" fmla="*/ 3454 h 6249"/>
                        <a:gd name="connsiteX70" fmla="*/ 5622 w 5681"/>
                        <a:gd name="connsiteY70" fmla="*/ 2856 h 6249"/>
                        <a:gd name="connsiteX71" fmla="*/ 5682 w 5681"/>
                        <a:gd name="connsiteY71" fmla="*/ 2258 h 6249"/>
                        <a:gd name="connsiteX72" fmla="*/ 5622 w 5681"/>
                        <a:gd name="connsiteY72" fmla="*/ 1720 h 6249"/>
                        <a:gd name="connsiteX73" fmla="*/ 5443 w 5681"/>
                        <a:gd name="connsiteY73" fmla="*/ 1241 h 6249"/>
                        <a:gd name="connsiteX74" fmla="*/ 5144 w 5681"/>
                        <a:gd name="connsiteY74" fmla="*/ 822 h 6249"/>
                        <a:gd name="connsiteX75" fmla="*/ 4845 w 5681"/>
                        <a:gd name="connsiteY75" fmla="*/ 523 h 6249"/>
                        <a:gd name="connsiteX76" fmla="*/ 4366 w 5681"/>
                        <a:gd name="connsiteY76" fmla="*/ 224 h 6249"/>
                        <a:gd name="connsiteX77" fmla="*/ 3828 w 5681"/>
                        <a:gd name="connsiteY77" fmla="*/ 45 h 6249"/>
                        <a:gd name="connsiteX78" fmla="*/ 3230 w 5681"/>
                        <a:gd name="connsiteY78" fmla="*/ 45 h 6249"/>
                        <a:gd name="connsiteX79" fmla="*/ 2632 w 5681"/>
                        <a:gd name="connsiteY79" fmla="*/ 165 h 6249"/>
                        <a:gd name="connsiteX80" fmla="*/ 2392 w 5681"/>
                        <a:gd name="connsiteY80" fmla="*/ 284 h 6249"/>
                        <a:gd name="connsiteX81" fmla="*/ 2153 w 5681"/>
                        <a:gd name="connsiteY81" fmla="*/ 404 h 6249"/>
                        <a:gd name="connsiteX82" fmla="*/ 1914 w 5681"/>
                        <a:gd name="connsiteY82" fmla="*/ 523 h 6249"/>
                        <a:gd name="connsiteX83" fmla="*/ 1675 w 5681"/>
                        <a:gd name="connsiteY83" fmla="*/ 703 h 6249"/>
                        <a:gd name="connsiteX84" fmla="*/ 1555 w 5681"/>
                        <a:gd name="connsiteY84" fmla="*/ 822 h 6249"/>
                        <a:gd name="connsiteX85" fmla="*/ 1436 w 5681"/>
                        <a:gd name="connsiteY85" fmla="*/ 942 h 6249"/>
                        <a:gd name="connsiteX86" fmla="*/ 1316 w 5681"/>
                        <a:gd name="connsiteY86" fmla="*/ 1062 h 6249"/>
                        <a:gd name="connsiteX87" fmla="*/ 1196 w 5681"/>
                        <a:gd name="connsiteY87" fmla="*/ 1181 h 6249"/>
                        <a:gd name="connsiteX88" fmla="*/ 778 w 5681"/>
                        <a:gd name="connsiteY88" fmla="*/ 1660 h 6249"/>
                        <a:gd name="connsiteX89" fmla="*/ 419 w 5681"/>
                        <a:gd name="connsiteY89" fmla="*/ 2198 h 6249"/>
                        <a:gd name="connsiteX90" fmla="*/ 180 w 5681"/>
                        <a:gd name="connsiteY90" fmla="*/ 2796 h 6249"/>
                        <a:gd name="connsiteX91" fmla="*/ 0 w 5681"/>
                        <a:gd name="connsiteY91" fmla="*/ 3394 h 6249"/>
                        <a:gd name="connsiteX92" fmla="*/ 0 w 5681"/>
                        <a:gd name="connsiteY92" fmla="*/ 3693 h 6249"/>
                        <a:gd name="connsiteX93" fmla="*/ 0 w 5681"/>
                        <a:gd name="connsiteY93" fmla="*/ 3992 h 6249"/>
                        <a:gd name="connsiteX94" fmla="*/ 0 w 5681"/>
                        <a:gd name="connsiteY94" fmla="*/ 4291 h 6249"/>
                        <a:gd name="connsiteX95" fmla="*/ 60 w 5681"/>
                        <a:gd name="connsiteY95" fmla="*/ 4590 h 6249"/>
                        <a:gd name="connsiteX96" fmla="*/ 120 w 5681"/>
                        <a:gd name="connsiteY96" fmla="*/ 4829 h 6249"/>
                        <a:gd name="connsiteX97" fmla="*/ 239 w 5681"/>
                        <a:gd name="connsiteY97" fmla="*/ 5069 h 6249"/>
                        <a:gd name="connsiteX98" fmla="*/ 359 w 5681"/>
                        <a:gd name="connsiteY98" fmla="*/ 5308 h 6249"/>
                        <a:gd name="connsiteX99" fmla="*/ 538 w 5681"/>
                        <a:gd name="connsiteY99" fmla="*/ 5487 h 6249"/>
                        <a:gd name="connsiteX100" fmla="*/ 538 w 5681"/>
                        <a:gd name="connsiteY100" fmla="*/ 5487 h 6249"/>
                        <a:gd name="connsiteX101" fmla="*/ 538 w 5681"/>
                        <a:gd name="connsiteY101" fmla="*/ 5487 h 6249"/>
                        <a:gd name="connsiteX102" fmla="*/ 538 w 5681"/>
                        <a:gd name="connsiteY102" fmla="*/ 5487 h 6249"/>
                        <a:gd name="connsiteX103" fmla="*/ 538 w 5681"/>
                        <a:gd name="connsiteY103" fmla="*/ 5487 h 6249"/>
                        <a:gd name="connsiteX104" fmla="*/ 598 w 5681"/>
                        <a:gd name="connsiteY104" fmla="*/ 5547 h 6249"/>
                        <a:gd name="connsiteX105" fmla="*/ 658 w 5681"/>
                        <a:gd name="connsiteY105" fmla="*/ 5607 h 6249"/>
                        <a:gd name="connsiteX106" fmla="*/ 718 w 5681"/>
                        <a:gd name="connsiteY106" fmla="*/ 5667 h 6249"/>
                        <a:gd name="connsiteX107" fmla="*/ 598 w 5681"/>
                        <a:gd name="connsiteY107" fmla="*/ 5787 h 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681" h="6249">
                          <a:moveTo>
                            <a:pt x="1795" y="5128"/>
                          </a:moveTo>
                          <a:cubicBezTo>
                            <a:pt x="1735" y="5128"/>
                            <a:pt x="1675" y="5128"/>
                            <a:pt x="1675" y="5069"/>
                          </a:cubicBezTo>
                          <a:cubicBezTo>
                            <a:pt x="1615" y="5069"/>
                            <a:pt x="1555" y="5009"/>
                            <a:pt x="1555" y="5009"/>
                          </a:cubicBezTo>
                          <a:cubicBezTo>
                            <a:pt x="1555" y="5009"/>
                            <a:pt x="1495" y="4949"/>
                            <a:pt x="1436" y="4949"/>
                          </a:cubicBezTo>
                          <a:cubicBezTo>
                            <a:pt x="1376" y="4949"/>
                            <a:pt x="1376" y="4889"/>
                            <a:pt x="1316" y="4889"/>
                          </a:cubicBezTo>
                          <a:lnTo>
                            <a:pt x="1136" y="4710"/>
                          </a:lnTo>
                          <a:cubicBezTo>
                            <a:pt x="1136" y="4710"/>
                            <a:pt x="1077" y="4650"/>
                            <a:pt x="1077" y="4650"/>
                          </a:cubicBezTo>
                          <a:cubicBezTo>
                            <a:pt x="1077" y="4650"/>
                            <a:pt x="1017" y="4590"/>
                            <a:pt x="1017" y="4590"/>
                          </a:cubicBezTo>
                          <a:cubicBezTo>
                            <a:pt x="1017" y="4590"/>
                            <a:pt x="957" y="4530"/>
                            <a:pt x="957" y="4530"/>
                          </a:cubicBezTo>
                          <a:cubicBezTo>
                            <a:pt x="957" y="4530"/>
                            <a:pt x="957" y="4471"/>
                            <a:pt x="897" y="4471"/>
                          </a:cubicBezTo>
                          <a:cubicBezTo>
                            <a:pt x="837" y="4411"/>
                            <a:pt x="837" y="4291"/>
                            <a:pt x="778" y="4231"/>
                          </a:cubicBezTo>
                          <a:cubicBezTo>
                            <a:pt x="718" y="4172"/>
                            <a:pt x="718" y="4052"/>
                            <a:pt x="718" y="3933"/>
                          </a:cubicBezTo>
                          <a:cubicBezTo>
                            <a:pt x="718" y="3813"/>
                            <a:pt x="718" y="3753"/>
                            <a:pt x="718" y="3633"/>
                          </a:cubicBezTo>
                          <a:cubicBezTo>
                            <a:pt x="718" y="3514"/>
                            <a:pt x="718" y="3394"/>
                            <a:pt x="718" y="3334"/>
                          </a:cubicBezTo>
                          <a:cubicBezTo>
                            <a:pt x="718" y="3215"/>
                            <a:pt x="778" y="3095"/>
                            <a:pt x="778" y="2975"/>
                          </a:cubicBezTo>
                          <a:cubicBezTo>
                            <a:pt x="837" y="2856"/>
                            <a:pt x="837" y="2736"/>
                            <a:pt x="897" y="2617"/>
                          </a:cubicBezTo>
                          <a:cubicBezTo>
                            <a:pt x="957" y="2497"/>
                            <a:pt x="1017" y="2377"/>
                            <a:pt x="1077" y="2318"/>
                          </a:cubicBezTo>
                          <a:cubicBezTo>
                            <a:pt x="1136" y="2198"/>
                            <a:pt x="1196" y="2138"/>
                            <a:pt x="1256" y="2019"/>
                          </a:cubicBezTo>
                          <a:cubicBezTo>
                            <a:pt x="1256" y="2019"/>
                            <a:pt x="1316" y="1959"/>
                            <a:pt x="1316" y="1959"/>
                          </a:cubicBezTo>
                          <a:cubicBezTo>
                            <a:pt x="1316" y="1959"/>
                            <a:pt x="1376" y="1899"/>
                            <a:pt x="1376" y="1899"/>
                          </a:cubicBezTo>
                          <a:cubicBezTo>
                            <a:pt x="1376" y="1899"/>
                            <a:pt x="1436" y="1839"/>
                            <a:pt x="1436" y="1839"/>
                          </a:cubicBezTo>
                          <a:cubicBezTo>
                            <a:pt x="1436" y="1839"/>
                            <a:pt x="1495" y="1779"/>
                            <a:pt x="1495" y="1779"/>
                          </a:cubicBezTo>
                          <a:cubicBezTo>
                            <a:pt x="1555" y="1720"/>
                            <a:pt x="1615" y="1660"/>
                            <a:pt x="1675" y="1600"/>
                          </a:cubicBezTo>
                          <a:cubicBezTo>
                            <a:pt x="1735" y="1540"/>
                            <a:pt x="1795" y="1480"/>
                            <a:pt x="1914" y="1420"/>
                          </a:cubicBezTo>
                          <a:cubicBezTo>
                            <a:pt x="2034" y="1361"/>
                            <a:pt x="2034" y="1301"/>
                            <a:pt x="2153" y="1301"/>
                          </a:cubicBezTo>
                          <a:cubicBezTo>
                            <a:pt x="2213" y="1241"/>
                            <a:pt x="2333" y="1241"/>
                            <a:pt x="2392" y="1181"/>
                          </a:cubicBezTo>
                          <a:cubicBezTo>
                            <a:pt x="2572" y="1121"/>
                            <a:pt x="2691" y="1062"/>
                            <a:pt x="2871" y="1062"/>
                          </a:cubicBezTo>
                          <a:cubicBezTo>
                            <a:pt x="3050" y="1062"/>
                            <a:pt x="3170" y="1002"/>
                            <a:pt x="3350" y="1062"/>
                          </a:cubicBezTo>
                          <a:cubicBezTo>
                            <a:pt x="3529" y="1062"/>
                            <a:pt x="3649" y="1121"/>
                            <a:pt x="3768" y="1181"/>
                          </a:cubicBezTo>
                          <a:cubicBezTo>
                            <a:pt x="3888" y="1241"/>
                            <a:pt x="4067" y="1301"/>
                            <a:pt x="4187" y="1420"/>
                          </a:cubicBezTo>
                          <a:cubicBezTo>
                            <a:pt x="4187" y="1420"/>
                            <a:pt x="4187" y="1420"/>
                            <a:pt x="4246" y="1480"/>
                          </a:cubicBezTo>
                          <a:cubicBezTo>
                            <a:pt x="4246" y="1480"/>
                            <a:pt x="4246" y="1480"/>
                            <a:pt x="4306" y="1540"/>
                          </a:cubicBezTo>
                          <a:cubicBezTo>
                            <a:pt x="4306" y="1540"/>
                            <a:pt x="4306" y="1540"/>
                            <a:pt x="4366" y="1600"/>
                          </a:cubicBezTo>
                          <a:cubicBezTo>
                            <a:pt x="4366" y="1600"/>
                            <a:pt x="4366" y="1600"/>
                            <a:pt x="4426" y="1660"/>
                          </a:cubicBezTo>
                          <a:cubicBezTo>
                            <a:pt x="4486" y="1779"/>
                            <a:pt x="4545" y="1839"/>
                            <a:pt x="4605" y="1959"/>
                          </a:cubicBezTo>
                          <a:cubicBezTo>
                            <a:pt x="4665" y="2079"/>
                            <a:pt x="4725" y="2198"/>
                            <a:pt x="4725" y="2318"/>
                          </a:cubicBezTo>
                          <a:cubicBezTo>
                            <a:pt x="4725" y="2437"/>
                            <a:pt x="4785" y="2557"/>
                            <a:pt x="4785" y="2676"/>
                          </a:cubicBezTo>
                          <a:cubicBezTo>
                            <a:pt x="4785" y="2796"/>
                            <a:pt x="4785" y="2975"/>
                            <a:pt x="4785" y="3095"/>
                          </a:cubicBezTo>
                          <a:cubicBezTo>
                            <a:pt x="4785" y="3215"/>
                            <a:pt x="4725" y="3394"/>
                            <a:pt x="4665" y="3514"/>
                          </a:cubicBezTo>
                          <a:cubicBezTo>
                            <a:pt x="4605" y="3633"/>
                            <a:pt x="4545" y="3813"/>
                            <a:pt x="4486" y="3933"/>
                          </a:cubicBezTo>
                          <a:cubicBezTo>
                            <a:pt x="4426" y="4052"/>
                            <a:pt x="4366" y="4172"/>
                            <a:pt x="4246" y="4291"/>
                          </a:cubicBezTo>
                          <a:cubicBezTo>
                            <a:pt x="4127" y="4411"/>
                            <a:pt x="4067" y="4530"/>
                            <a:pt x="3947" y="4650"/>
                          </a:cubicBezTo>
                          <a:cubicBezTo>
                            <a:pt x="3768" y="4829"/>
                            <a:pt x="3649" y="4949"/>
                            <a:pt x="3469" y="5069"/>
                          </a:cubicBezTo>
                          <a:cubicBezTo>
                            <a:pt x="3290" y="5188"/>
                            <a:pt x="3110" y="5248"/>
                            <a:pt x="2931" y="5308"/>
                          </a:cubicBezTo>
                          <a:cubicBezTo>
                            <a:pt x="2751" y="5368"/>
                            <a:pt x="2572" y="5428"/>
                            <a:pt x="2392" y="5428"/>
                          </a:cubicBezTo>
                          <a:cubicBezTo>
                            <a:pt x="2093" y="5188"/>
                            <a:pt x="1914" y="5188"/>
                            <a:pt x="1795" y="5128"/>
                          </a:cubicBezTo>
                          <a:cubicBezTo>
                            <a:pt x="1795" y="5128"/>
                            <a:pt x="1795" y="5128"/>
                            <a:pt x="1795" y="5128"/>
                          </a:cubicBezTo>
                          <a:cubicBezTo>
                            <a:pt x="1795" y="5128"/>
                            <a:pt x="1795" y="5128"/>
                            <a:pt x="1795" y="5128"/>
                          </a:cubicBezTo>
                          <a:cubicBezTo>
                            <a:pt x="1795" y="5128"/>
                            <a:pt x="1795" y="5128"/>
                            <a:pt x="1795" y="5128"/>
                          </a:cubicBezTo>
                          <a:cubicBezTo>
                            <a:pt x="1795" y="5128"/>
                            <a:pt x="1795" y="5128"/>
                            <a:pt x="1795" y="5128"/>
                          </a:cubicBezTo>
                          <a:moveTo>
                            <a:pt x="598" y="5787"/>
                          </a:moveTo>
                          <a:cubicBezTo>
                            <a:pt x="598" y="5787"/>
                            <a:pt x="598" y="5787"/>
                            <a:pt x="598" y="5787"/>
                          </a:cubicBezTo>
                          <a:cubicBezTo>
                            <a:pt x="658" y="5846"/>
                            <a:pt x="658" y="5846"/>
                            <a:pt x="658" y="5846"/>
                          </a:cubicBezTo>
                          <a:cubicBezTo>
                            <a:pt x="658" y="5846"/>
                            <a:pt x="658" y="5846"/>
                            <a:pt x="718" y="5846"/>
                          </a:cubicBezTo>
                          <a:cubicBezTo>
                            <a:pt x="778" y="5846"/>
                            <a:pt x="718" y="5846"/>
                            <a:pt x="778" y="5846"/>
                          </a:cubicBezTo>
                          <a:cubicBezTo>
                            <a:pt x="837" y="5906"/>
                            <a:pt x="897" y="5906"/>
                            <a:pt x="957" y="5966"/>
                          </a:cubicBezTo>
                          <a:cubicBezTo>
                            <a:pt x="1017" y="6026"/>
                            <a:pt x="1077" y="6026"/>
                            <a:pt x="1196" y="6085"/>
                          </a:cubicBezTo>
                          <a:cubicBezTo>
                            <a:pt x="1256" y="6085"/>
                            <a:pt x="1376" y="6145"/>
                            <a:pt x="1436" y="6145"/>
                          </a:cubicBezTo>
                          <a:cubicBezTo>
                            <a:pt x="1495" y="6145"/>
                            <a:pt x="1615" y="6205"/>
                            <a:pt x="1675" y="6205"/>
                          </a:cubicBezTo>
                          <a:cubicBezTo>
                            <a:pt x="1675" y="6205"/>
                            <a:pt x="1675" y="6205"/>
                            <a:pt x="1675" y="6205"/>
                          </a:cubicBezTo>
                          <a:cubicBezTo>
                            <a:pt x="1675" y="6205"/>
                            <a:pt x="1675" y="6205"/>
                            <a:pt x="1675" y="6205"/>
                          </a:cubicBezTo>
                          <a:cubicBezTo>
                            <a:pt x="1675" y="6205"/>
                            <a:pt x="1675" y="6205"/>
                            <a:pt x="1675" y="6205"/>
                          </a:cubicBezTo>
                          <a:cubicBezTo>
                            <a:pt x="1675" y="6205"/>
                            <a:pt x="1675" y="6205"/>
                            <a:pt x="1675" y="6205"/>
                          </a:cubicBezTo>
                          <a:cubicBezTo>
                            <a:pt x="1914" y="6265"/>
                            <a:pt x="2153" y="6265"/>
                            <a:pt x="2392" y="6205"/>
                          </a:cubicBezTo>
                          <a:cubicBezTo>
                            <a:pt x="2632" y="6145"/>
                            <a:pt x="2871" y="6085"/>
                            <a:pt x="3110" y="6026"/>
                          </a:cubicBezTo>
                          <a:cubicBezTo>
                            <a:pt x="3350" y="5906"/>
                            <a:pt x="3589" y="5787"/>
                            <a:pt x="3828" y="5667"/>
                          </a:cubicBezTo>
                          <a:cubicBezTo>
                            <a:pt x="4067" y="5487"/>
                            <a:pt x="4306" y="5308"/>
                            <a:pt x="4486" y="5128"/>
                          </a:cubicBezTo>
                          <a:cubicBezTo>
                            <a:pt x="4665" y="4949"/>
                            <a:pt x="4785" y="4770"/>
                            <a:pt x="4904" y="4590"/>
                          </a:cubicBezTo>
                          <a:cubicBezTo>
                            <a:pt x="5024" y="4411"/>
                            <a:pt x="5144" y="4231"/>
                            <a:pt x="5263" y="4052"/>
                          </a:cubicBezTo>
                          <a:cubicBezTo>
                            <a:pt x="5383" y="3873"/>
                            <a:pt x="5443" y="3633"/>
                            <a:pt x="5503" y="3454"/>
                          </a:cubicBezTo>
                          <a:cubicBezTo>
                            <a:pt x="5562" y="3274"/>
                            <a:pt x="5622" y="3035"/>
                            <a:pt x="5622" y="2856"/>
                          </a:cubicBezTo>
                          <a:cubicBezTo>
                            <a:pt x="5682" y="2617"/>
                            <a:pt x="5682" y="2437"/>
                            <a:pt x="5682" y="2258"/>
                          </a:cubicBezTo>
                          <a:cubicBezTo>
                            <a:pt x="5682" y="2079"/>
                            <a:pt x="5622" y="1899"/>
                            <a:pt x="5622" y="1720"/>
                          </a:cubicBezTo>
                          <a:cubicBezTo>
                            <a:pt x="5562" y="1540"/>
                            <a:pt x="5503" y="1361"/>
                            <a:pt x="5443" y="1241"/>
                          </a:cubicBezTo>
                          <a:cubicBezTo>
                            <a:pt x="5383" y="1062"/>
                            <a:pt x="5263" y="942"/>
                            <a:pt x="5144" y="822"/>
                          </a:cubicBezTo>
                          <a:lnTo>
                            <a:pt x="4845" y="523"/>
                          </a:lnTo>
                          <a:cubicBezTo>
                            <a:pt x="4665" y="404"/>
                            <a:pt x="4545" y="284"/>
                            <a:pt x="4366" y="224"/>
                          </a:cubicBezTo>
                          <a:cubicBezTo>
                            <a:pt x="4187" y="165"/>
                            <a:pt x="4007" y="105"/>
                            <a:pt x="3828" y="45"/>
                          </a:cubicBezTo>
                          <a:cubicBezTo>
                            <a:pt x="3649" y="-15"/>
                            <a:pt x="3409" y="-15"/>
                            <a:pt x="3230" y="45"/>
                          </a:cubicBezTo>
                          <a:cubicBezTo>
                            <a:pt x="3050" y="45"/>
                            <a:pt x="2811" y="105"/>
                            <a:pt x="2632" y="165"/>
                          </a:cubicBezTo>
                          <a:cubicBezTo>
                            <a:pt x="2572" y="165"/>
                            <a:pt x="2452" y="224"/>
                            <a:pt x="2392" y="284"/>
                          </a:cubicBezTo>
                          <a:cubicBezTo>
                            <a:pt x="2333" y="344"/>
                            <a:pt x="2213" y="344"/>
                            <a:pt x="2153" y="404"/>
                          </a:cubicBezTo>
                          <a:cubicBezTo>
                            <a:pt x="2093" y="464"/>
                            <a:pt x="1974" y="523"/>
                            <a:pt x="1914" y="523"/>
                          </a:cubicBezTo>
                          <a:cubicBezTo>
                            <a:pt x="1854" y="583"/>
                            <a:pt x="1735" y="643"/>
                            <a:pt x="1675" y="703"/>
                          </a:cubicBezTo>
                          <a:cubicBezTo>
                            <a:pt x="1615" y="763"/>
                            <a:pt x="1555" y="763"/>
                            <a:pt x="1555" y="822"/>
                          </a:cubicBezTo>
                          <a:cubicBezTo>
                            <a:pt x="1555" y="882"/>
                            <a:pt x="1436" y="882"/>
                            <a:pt x="1436" y="942"/>
                          </a:cubicBezTo>
                          <a:cubicBezTo>
                            <a:pt x="1436" y="1002"/>
                            <a:pt x="1316" y="1002"/>
                            <a:pt x="1316" y="1062"/>
                          </a:cubicBezTo>
                          <a:cubicBezTo>
                            <a:pt x="1256" y="1121"/>
                            <a:pt x="1256" y="1121"/>
                            <a:pt x="1196" y="1181"/>
                          </a:cubicBezTo>
                          <a:cubicBezTo>
                            <a:pt x="1017" y="1361"/>
                            <a:pt x="897" y="1480"/>
                            <a:pt x="778" y="1660"/>
                          </a:cubicBezTo>
                          <a:cubicBezTo>
                            <a:pt x="658" y="1839"/>
                            <a:pt x="538" y="2019"/>
                            <a:pt x="419" y="2198"/>
                          </a:cubicBezTo>
                          <a:cubicBezTo>
                            <a:pt x="299" y="2377"/>
                            <a:pt x="239" y="2617"/>
                            <a:pt x="180" y="2796"/>
                          </a:cubicBezTo>
                          <a:cubicBezTo>
                            <a:pt x="120" y="2975"/>
                            <a:pt x="60" y="3215"/>
                            <a:pt x="0" y="3394"/>
                          </a:cubicBezTo>
                          <a:cubicBezTo>
                            <a:pt x="0" y="3514"/>
                            <a:pt x="0" y="3574"/>
                            <a:pt x="0" y="3693"/>
                          </a:cubicBezTo>
                          <a:cubicBezTo>
                            <a:pt x="0" y="3813"/>
                            <a:pt x="0" y="3873"/>
                            <a:pt x="0" y="3992"/>
                          </a:cubicBezTo>
                          <a:cubicBezTo>
                            <a:pt x="0" y="4112"/>
                            <a:pt x="0" y="4172"/>
                            <a:pt x="0" y="4291"/>
                          </a:cubicBezTo>
                          <a:cubicBezTo>
                            <a:pt x="0" y="4411"/>
                            <a:pt x="60" y="4471"/>
                            <a:pt x="60" y="4590"/>
                          </a:cubicBezTo>
                          <a:cubicBezTo>
                            <a:pt x="60" y="4650"/>
                            <a:pt x="120" y="4770"/>
                            <a:pt x="120" y="4829"/>
                          </a:cubicBezTo>
                          <a:cubicBezTo>
                            <a:pt x="180" y="4889"/>
                            <a:pt x="180" y="5009"/>
                            <a:pt x="239" y="5069"/>
                          </a:cubicBezTo>
                          <a:cubicBezTo>
                            <a:pt x="299" y="5128"/>
                            <a:pt x="299" y="5248"/>
                            <a:pt x="359" y="5308"/>
                          </a:cubicBezTo>
                          <a:cubicBezTo>
                            <a:pt x="419" y="5368"/>
                            <a:pt x="479" y="5428"/>
                            <a:pt x="538" y="5487"/>
                          </a:cubicBezTo>
                          <a:cubicBezTo>
                            <a:pt x="538" y="5487"/>
                            <a:pt x="538" y="5487"/>
                            <a:pt x="538" y="5487"/>
                          </a:cubicBezTo>
                          <a:cubicBezTo>
                            <a:pt x="538" y="5487"/>
                            <a:pt x="538" y="5487"/>
                            <a:pt x="538" y="5487"/>
                          </a:cubicBezTo>
                          <a:cubicBezTo>
                            <a:pt x="538" y="5487"/>
                            <a:pt x="538" y="5487"/>
                            <a:pt x="538" y="5487"/>
                          </a:cubicBezTo>
                          <a:cubicBezTo>
                            <a:pt x="538" y="5487"/>
                            <a:pt x="538" y="5487"/>
                            <a:pt x="538" y="5487"/>
                          </a:cubicBezTo>
                          <a:cubicBezTo>
                            <a:pt x="538" y="5487"/>
                            <a:pt x="598" y="5547"/>
                            <a:pt x="598" y="5547"/>
                          </a:cubicBezTo>
                          <a:cubicBezTo>
                            <a:pt x="598" y="5547"/>
                            <a:pt x="658" y="5607"/>
                            <a:pt x="658" y="5607"/>
                          </a:cubicBezTo>
                          <a:cubicBezTo>
                            <a:pt x="658" y="5607"/>
                            <a:pt x="718" y="5667"/>
                            <a:pt x="718" y="5667"/>
                          </a:cubicBezTo>
                          <a:cubicBezTo>
                            <a:pt x="538" y="5727"/>
                            <a:pt x="538" y="5727"/>
                            <a:pt x="598" y="5787"/>
                          </a:cubicBezTo>
                        </a:path>
                      </a:pathLst>
                    </a:custGeom>
                    <a:noFill/>
                    <a:ln w="6350" cap="flat">
                      <a:solidFill>
                        <a:schemeClr val="bg1">
                          <a:alpha val="80000"/>
                        </a:schemeClr>
                      </a:solidFill>
                      <a:prstDash val="solid"/>
                      <a:miter/>
                    </a:ln>
                  </p:spPr>
                  <p:txBody>
                    <a:bodyPr rtlCol="0" anchor="ctr"/>
                    <a:lstStyle/>
                    <a:p>
                      <a:endParaRPr lang="en-GB"/>
                    </a:p>
                  </p:txBody>
                </p:sp>
                <p:sp>
                  <p:nvSpPr>
                    <p:cNvPr id="7530" name="Vrije vorm: vorm 7529">
                      <a:extLst>
                        <a:ext uri="{FF2B5EF4-FFF2-40B4-BE49-F238E27FC236}">
                          <a16:creationId xmlns:a16="http://schemas.microsoft.com/office/drawing/2014/main" id="{58EC4CBA-00E3-4784-AA62-9587776154BA}"/>
                        </a:ext>
                      </a:extLst>
                    </p:cNvPr>
                    <p:cNvSpPr/>
                    <p:nvPr/>
                  </p:nvSpPr>
                  <p:spPr>
                    <a:xfrm>
                      <a:off x="4719766" y="5132157"/>
                      <a:ext cx="674086" cy="446520"/>
                    </a:xfrm>
                    <a:custGeom>
                      <a:avLst/>
                      <a:gdLst>
                        <a:gd name="connsiteX0" fmla="*/ 0 w 674086"/>
                        <a:gd name="connsiteY0" fmla="*/ 21651 h 446520"/>
                        <a:gd name="connsiteX1" fmla="*/ 5203 w 674086"/>
                        <a:gd name="connsiteY1" fmla="*/ 25000 h 446520"/>
                        <a:gd name="connsiteX2" fmla="*/ 6280 w 674086"/>
                        <a:gd name="connsiteY2" fmla="*/ 25658 h 446520"/>
                        <a:gd name="connsiteX3" fmla="*/ 118657 w 674086"/>
                        <a:gd name="connsiteY3" fmla="*/ 97785 h 446520"/>
                        <a:gd name="connsiteX4" fmla="*/ 119076 w 674086"/>
                        <a:gd name="connsiteY4" fmla="*/ 98024 h 446520"/>
                        <a:gd name="connsiteX5" fmla="*/ 119973 w 674086"/>
                        <a:gd name="connsiteY5" fmla="*/ 98622 h 446520"/>
                        <a:gd name="connsiteX6" fmla="*/ 142162 w 674086"/>
                        <a:gd name="connsiteY6" fmla="*/ 112797 h 446520"/>
                        <a:gd name="connsiteX7" fmla="*/ 143059 w 674086"/>
                        <a:gd name="connsiteY7" fmla="*/ 113395 h 446520"/>
                        <a:gd name="connsiteX8" fmla="*/ 249755 w 674086"/>
                        <a:gd name="connsiteY8" fmla="*/ 181814 h 446520"/>
                        <a:gd name="connsiteX9" fmla="*/ 250592 w 674086"/>
                        <a:gd name="connsiteY9" fmla="*/ 182353 h 446520"/>
                        <a:gd name="connsiteX10" fmla="*/ 338628 w 674086"/>
                        <a:gd name="connsiteY10" fmla="*/ 238811 h 446520"/>
                        <a:gd name="connsiteX11" fmla="*/ 338868 w 674086"/>
                        <a:gd name="connsiteY11" fmla="*/ 238990 h 446520"/>
                        <a:gd name="connsiteX12" fmla="*/ 339645 w 674086"/>
                        <a:gd name="connsiteY12" fmla="*/ 239468 h 446520"/>
                        <a:gd name="connsiteX13" fmla="*/ 357109 w 674086"/>
                        <a:gd name="connsiteY13" fmla="*/ 250712 h 446520"/>
                        <a:gd name="connsiteX14" fmla="*/ 357826 w 674086"/>
                        <a:gd name="connsiteY14" fmla="*/ 251190 h 446520"/>
                        <a:gd name="connsiteX15" fmla="*/ 565238 w 674086"/>
                        <a:gd name="connsiteY15" fmla="*/ 384202 h 446520"/>
                        <a:gd name="connsiteX16" fmla="*/ 565776 w 674086"/>
                        <a:gd name="connsiteY16" fmla="*/ 384561 h 446520"/>
                        <a:gd name="connsiteX17" fmla="*/ 626600 w 674086"/>
                        <a:gd name="connsiteY17" fmla="*/ 423555 h 446520"/>
                        <a:gd name="connsiteX18" fmla="*/ 626840 w 674086"/>
                        <a:gd name="connsiteY18" fmla="*/ 423674 h 446520"/>
                        <a:gd name="connsiteX19" fmla="*/ 627318 w 674086"/>
                        <a:gd name="connsiteY19" fmla="*/ 424033 h 446520"/>
                        <a:gd name="connsiteX20" fmla="*/ 639519 w 674086"/>
                        <a:gd name="connsiteY20" fmla="*/ 431808 h 446520"/>
                        <a:gd name="connsiteX21" fmla="*/ 639997 w 674086"/>
                        <a:gd name="connsiteY21" fmla="*/ 432167 h 446520"/>
                        <a:gd name="connsiteX22" fmla="*/ 662425 w 674086"/>
                        <a:gd name="connsiteY22" fmla="*/ 446521 h 446520"/>
                        <a:gd name="connsiteX23" fmla="*/ 674087 w 674086"/>
                        <a:gd name="connsiteY23" fmla="*/ 431748 h 446520"/>
                        <a:gd name="connsiteX24" fmla="*/ 650703 w 674086"/>
                        <a:gd name="connsiteY24" fmla="*/ 416438 h 446520"/>
                        <a:gd name="connsiteX25" fmla="*/ 650164 w 674086"/>
                        <a:gd name="connsiteY25" fmla="*/ 416079 h 446520"/>
                        <a:gd name="connsiteX26" fmla="*/ 649506 w 674086"/>
                        <a:gd name="connsiteY26" fmla="*/ 415660 h 446520"/>
                        <a:gd name="connsiteX27" fmla="*/ 649028 w 674086"/>
                        <a:gd name="connsiteY27" fmla="*/ 415301 h 446520"/>
                        <a:gd name="connsiteX28" fmla="*/ 646995 w 674086"/>
                        <a:gd name="connsiteY28" fmla="*/ 413986 h 446520"/>
                        <a:gd name="connsiteX29" fmla="*/ 646516 w 674086"/>
                        <a:gd name="connsiteY29" fmla="*/ 413627 h 446520"/>
                        <a:gd name="connsiteX30" fmla="*/ 645798 w 674086"/>
                        <a:gd name="connsiteY30" fmla="*/ 413208 h 446520"/>
                        <a:gd name="connsiteX31" fmla="*/ 645320 w 674086"/>
                        <a:gd name="connsiteY31" fmla="*/ 412909 h 446520"/>
                        <a:gd name="connsiteX32" fmla="*/ 643047 w 674086"/>
                        <a:gd name="connsiteY32" fmla="*/ 411414 h 446520"/>
                        <a:gd name="connsiteX33" fmla="*/ 642509 w 674086"/>
                        <a:gd name="connsiteY33" fmla="*/ 411055 h 446520"/>
                        <a:gd name="connsiteX34" fmla="*/ 641851 w 674086"/>
                        <a:gd name="connsiteY34" fmla="*/ 410577 h 446520"/>
                        <a:gd name="connsiteX35" fmla="*/ 641313 w 674086"/>
                        <a:gd name="connsiteY35" fmla="*/ 410278 h 446520"/>
                        <a:gd name="connsiteX36" fmla="*/ 626959 w 674086"/>
                        <a:gd name="connsiteY36" fmla="*/ 400828 h 446520"/>
                        <a:gd name="connsiteX37" fmla="*/ 626361 w 674086"/>
                        <a:gd name="connsiteY37" fmla="*/ 400409 h 446520"/>
                        <a:gd name="connsiteX38" fmla="*/ 622533 w 674086"/>
                        <a:gd name="connsiteY38" fmla="*/ 397898 h 446520"/>
                        <a:gd name="connsiteX39" fmla="*/ 621098 w 674086"/>
                        <a:gd name="connsiteY39" fmla="*/ 397000 h 446520"/>
                        <a:gd name="connsiteX40" fmla="*/ 617270 w 674086"/>
                        <a:gd name="connsiteY40" fmla="*/ 394429 h 446520"/>
                        <a:gd name="connsiteX41" fmla="*/ 616612 w 674086"/>
                        <a:gd name="connsiteY41" fmla="*/ 394010 h 446520"/>
                        <a:gd name="connsiteX42" fmla="*/ 611768 w 674086"/>
                        <a:gd name="connsiteY42" fmla="*/ 390840 h 446520"/>
                        <a:gd name="connsiteX43" fmla="*/ 611230 w 674086"/>
                        <a:gd name="connsiteY43" fmla="*/ 390482 h 446520"/>
                        <a:gd name="connsiteX44" fmla="*/ 602498 w 674086"/>
                        <a:gd name="connsiteY44" fmla="*/ 384740 h 446520"/>
                        <a:gd name="connsiteX45" fmla="*/ 601960 w 674086"/>
                        <a:gd name="connsiteY45" fmla="*/ 384381 h 446520"/>
                        <a:gd name="connsiteX46" fmla="*/ 596696 w 674086"/>
                        <a:gd name="connsiteY46" fmla="*/ 380912 h 446520"/>
                        <a:gd name="connsiteX47" fmla="*/ 596039 w 674086"/>
                        <a:gd name="connsiteY47" fmla="*/ 380494 h 446520"/>
                        <a:gd name="connsiteX48" fmla="*/ 592092 w 674086"/>
                        <a:gd name="connsiteY48" fmla="*/ 377922 h 446520"/>
                        <a:gd name="connsiteX49" fmla="*/ 590596 w 674086"/>
                        <a:gd name="connsiteY49" fmla="*/ 376905 h 446520"/>
                        <a:gd name="connsiteX50" fmla="*/ 586589 w 674086"/>
                        <a:gd name="connsiteY50" fmla="*/ 374274 h 446520"/>
                        <a:gd name="connsiteX51" fmla="*/ 585931 w 674086"/>
                        <a:gd name="connsiteY51" fmla="*/ 373855 h 446520"/>
                        <a:gd name="connsiteX52" fmla="*/ 369010 w 674086"/>
                        <a:gd name="connsiteY52" fmla="*/ 231275 h 446520"/>
                        <a:gd name="connsiteX53" fmla="*/ 368233 w 674086"/>
                        <a:gd name="connsiteY53" fmla="*/ 230796 h 446520"/>
                        <a:gd name="connsiteX54" fmla="*/ 367336 w 674086"/>
                        <a:gd name="connsiteY54" fmla="*/ 230198 h 446520"/>
                        <a:gd name="connsiteX55" fmla="*/ 366558 w 674086"/>
                        <a:gd name="connsiteY55" fmla="*/ 229720 h 446520"/>
                        <a:gd name="connsiteX56" fmla="*/ 363748 w 674086"/>
                        <a:gd name="connsiteY56" fmla="*/ 227866 h 446520"/>
                        <a:gd name="connsiteX57" fmla="*/ 363030 w 674086"/>
                        <a:gd name="connsiteY57" fmla="*/ 227387 h 446520"/>
                        <a:gd name="connsiteX58" fmla="*/ 362073 w 674086"/>
                        <a:gd name="connsiteY58" fmla="*/ 226729 h 446520"/>
                        <a:gd name="connsiteX59" fmla="*/ 361355 w 674086"/>
                        <a:gd name="connsiteY59" fmla="*/ 226251 h 446520"/>
                        <a:gd name="connsiteX60" fmla="*/ 358185 w 674086"/>
                        <a:gd name="connsiteY60" fmla="*/ 224158 h 446520"/>
                        <a:gd name="connsiteX61" fmla="*/ 357408 w 674086"/>
                        <a:gd name="connsiteY61" fmla="*/ 223679 h 446520"/>
                        <a:gd name="connsiteX62" fmla="*/ 356451 w 674086"/>
                        <a:gd name="connsiteY62" fmla="*/ 223021 h 446520"/>
                        <a:gd name="connsiteX63" fmla="*/ 355673 w 674086"/>
                        <a:gd name="connsiteY63" fmla="*/ 222543 h 446520"/>
                        <a:gd name="connsiteX64" fmla="*/ 335040 w 674086"/>
                        <a:gd name="connsiteY64" fmla="*/ 208966 h 446520"/>
                        <a:gd name="connsiteX65" fmla="*/ 334143 w 674086"/>
                        <a:gd name="connsiteY65" fmla="*/ 208368 h 446520"/>
                        <a:gd name="connsiteX66" fmla="*/ 328700 w 674086"/>
                        <a:gd name="connsiteY66" fmla="*/ 204780 h 446520"/>
                        <a:gd name="connsiteX67" fmla="*/ 326607 w 674086"/>
                        <a:gd name="connsiteY67" fmla="*/ 203404 h 446520"/>
                        <a:gd name="connsiteX68" fmla="*/ 320985 w 674086"/>
                        <a:gd name="connsiteY68" fmla="*/ 199756 h 446520"/>
                        <a:gd name="connsiteX69" fmla="*/ 320088 w 674086"/>
                        <a:gd name="connsiteY69" fmla="*/ 199158 h 446520"/>
                        <a:gd name="connsiteX70" fmla="*/ 313031 w 674086"/>
                        <a:gd name="connsiteY70" fmla="*/ 194493 h 446520"/>
                        <a:gd name="connsiteX71" fmla="*/ 312253 w 674086"/>
                        <a:gd name="connsiteY71" fmla="*/ 194015 h 446520"/>
                        <a:gd name="connsiteX72" fmla="*/ 299634 w 674086"/>
                        <a:gd name="connsiteY72" fmla="*/ 185702 h 446520"/>
                        <a:gd name="connsiteX73" fmla="*/ 298797 w 674086"/>
                        <a:gd name="connsiteY73" fmla="*/ 185163 h 446520"/>
                        <a:gd name="connsiteX74" fmla="*/ 291142 w 674086"/>
                        <a:gd name="connsiteY74" fmla="*/ 180140 h 446520"/>
                        <a:gd name="connsiteX75" fmla="*/ 290184 w 674086"/>
                        <a:gd name="connsiteY75" fmla="*/ 179482 h 446520"/>
                        <a:gd name="connsiteX76" fmla="*/ 284503 w 674086"/>
                        <a:gd name="connsiteY76" fmla="*/ 175714 h 446520"/>
                        <a:gd name="connsiteX77" fmla="*/ 282290 w 674086"/>
                        <a:gd name="connsiteY77" fmla="*/ 174278 h 446520"/>
                        <a:gd name="connsiteX78" fmla="*/ 276429 w 674086"/>
                        <a:gd name="connsiteY78" fmla="*/ 170451 h 446520"/>
                        <a:gd name="connsiteX79" fmla="*/ 275472 w 674086"/>
                        <a:gd name="connsiteY79" fmla="*/ 169793 h 446520"/>
                        <a:gd name="connsiteX80" fmla="*/ 155858 w 674086"/>
                        <a:gd name="connsiteY80" fmla="*/ 91206 h 446520"/>
                        <a:gd name="connsiteX81" fmla="*/ 154900 w 674086"/>
                        <a:gd name="connsiteY81" fmla="*/ 90608 h 446520"/>
                        <a:gd name="connsiteX82" fmla="*/ 153704 w 674086"/>
                        <a:gd name="connsiteY82" fmla="*/ 89771 h 446520"/>
                        <a:gd name="connsiteX83" fmla="*/ 152807 w 674086"/>
                        <a:gd name="connsiteY83" fmla="*/ 89173 h 446520"/>
                        <a:gd name="connsiteX84" fmla="*/ 149518 w 674086"/>
                        <a:gd name="connsiteY84" fmla="*/ 87020 h 446520"/>
                        <a:gd name="connsiteX85" fmla="*/ 148561 w 674086"/>
                        <a:gd name="connsiteY85" fmla="*/ 86421 h 446520"/>
                        <a:gd name="connsiteX86" fmla="*/ 147365 w 674086"/>
                        <a:gd name="connsiteY86" fmla="*/ 85644 h 446520"/>
                        <a:gd name="connsiteX87" fmla="*/ 146468 w 674086"/>
                        <a:gd name="connsiteY87" fmla="*/ 84986 h 446520"/>
                        <a:gd name="connsiteX88" fmla="*/ 142820 w 674086"/>
                        <a:gd name="connsiteY88" fmla="*/ 82654 h 446520"/>
                        <a:gd name="connsiteX89" fmla="*/ 141863 w 674086"/>
                        <a:gd name="connsiteY89" fmla="*/ 81996 h 446520"/>
                        <a:gd name="connsiteX90" fmla="*/ 140666 w 674086"/>
                        <a:gd name="connsiteY90" fmla="*/ 81218 h 446520"/>
                        <a:gd name="connsiteX91" fmla="*/ 139710 w 674086"/>
                        <a:gd name="connsiteY91" fmla="*/ 80561 h 446520"/>
                        <a:gd name="connsiteX92" fmla="*/ 111062 w 674086"/>
                        <a:gd name="connsiteY92" fmla="*/ 61781 h 446520"/>
                        <a:gd name="connsiteX93" fmla="*/ 109866 w 674086"/>
                        <a:gd name="connsiteY93" fmla="*/ 61003 h 446520"/>
                        <a:gd name="connsiteX94" fmla="*/ 102928 w 674086"/>
                        <a:gd name="connsiteY94" fmla="*/ 56399 h 446520"/>
                        <a:gd name="connsiteX95" fmla="*/ 100296 w 674086"/>
                        <a:gd name="connsiteY95" fmla="*/ 54664 h 446520"/>
                        <a:gd name="connsiteX96" fmla="*/ 93179 w 674086"/>
                        <a:gd name="connsiteY96" fmla="*/ 49999 h 446520"/>
                        <a:gd name="connsiteX97" fmla="*/ 91984 w 674086"/>
                        <a:gd name="connsiteY97" fmla="*/ 49222 h 446520"/>
                        <a:gd name="connsiteX98" fmla="*/ 83012 w 674086"/>
                        <a:gd name="connsiteY98" fmla="*/ 43301 h 446520"/>
                        <a:gd name="connsiteX99" fmla="*/ 81995 w 674086"/>
                        <a:gd name="connsiteY99" fmla="*/ 42643 h 446520"/>
                        <a:gd name="connsiteX100" fmla="*/ 65847 w 674086"/>
                        <a:gd name="connsiteY100" fmla="*/ 32057 h 446520"/>
                        <a:gd name="connsiteX101" fmla="*/ 64831 w 674086"/>
                        <a:gd name="connsiteY101" fmla="*/ 31399 h 446520"/>
                        <a:gd name="connsiteX102" fmla="*/ 55022 w 674086"/>
                        <a:gd name="connsiteY102" fmla="*/ 24940 h 446520"/>
                        <a:gd name="connsiteX103" fmla="*/ 53767 w 674086"/>
                        <a:gd name="connsiteY103" fmla="*/ 24102 h 446520"/>
                        <a:gd name="connsiteX104" fmla="*/ 46410 w 674086"/>
                        <a:gd name="connsiteY104" fmla="*/ 19258 h 446520"/>
                        <a:gd name="connsiteX105" fmla="*/ 43659 w 674086"/>
                        <a:gd name="connsiteY105" fmla="*/ 17464 h 446520"/>
                        <a:gd name="connsiteX106" fmla="*/ 36123 w 674086"/>
                        <a:gd name="connsiteY106" fmla="*/ 12500 h 446520"/>
                        <a:gd name="connsiteX107" fmla="*/ 34867 w 674086"/>
                        <a:gd name="connsiteY107" fmla="*/ 11662 h 446520"/>
                        <a:gd name="connsiteX108" fmla="*/ 17105 w 674086"/>
                        <a:gd name="connsiteY108" fmla="*/ 0 h 446520"/>
                        <a:gd name="connsiteX109" fmla="*/ 14832 w 674086"/>
                        <a:gd name="connsiteY109" fmla="*/ 2871 h 446520"/>
                        <a:gd name="connsiteX110" fmla="*/ 15849 w 674086"/>
                        <a:gd name="connsiteY110" fmla="*/ 3589 h 446520"/>
                        <a:gd name="connsiteX111" fmla="*/ 17284 w 674086"/>
                        <a:gd name="connsiteY111" fmla="*/ 1735 h 446520"/>
                        <a:gd name="connsiteX112" fmla="*/ 34748 w 674086"/>
                        <a:gd name="connsiteY112" fmla="*/ 13218 h 446520"/>
                        <a:gd name="connsiteX113" fmla="*/ 36123 w 674086"/>
                        <a:gd name="connsiteY113" fmla="*/ 14115 h 446520"/>
                        <a:gd name="connsiteX114" fmla="*/ 52152 w 674086"/>
                        <a:gd name="connsiteY114" fmla="*/ 24581 h 446520"/>
                        <a:gd name="connsiteX115" fmla="*/ 53468 w 674086"/>
                        <a:gd name="connsiteY115" fmla="*/ 25478 h 446520"/>
                        <a:gd name="connsiteX116" fmla="*/ 63993 w 674086"/>
                        <a:gd name="connsiteY116" fmla="*/ 32416 h 446520"/>
                        <a:gd name="connsiteX117" fmla="*/ 65010 w 674086"/>
                        <a:gd name="connsiteY117" fmla="*/ 33074 h 446520"/>
                        <a:gd name="connsiteX118" fmla="*/ 81218 w 674086"/>
                        <a:gd name="connsiteY118" fmla="*/ 43660 h 446520"/>
                        <a:gd name="connsiteX119" fmla="*/ 82175 w 674086"/>
                        <a:gd name="connsiteY119" fmla="*/ 44317 h 446520"/>
                        <a:gd name="connsiteX120" fmla="*/ 91864 w 674086"/>
                        <a:gd name="connsiteY120" fmla="*/ 50717 h 446520"/>
                        <a:gd name="connsiteX121" fmla="*/ 93179 w 674086"/>
                        <a:gd name="connsiteY121" fmla="*/ 51554 h 446520"/>
                        <a:gd name="connsiteX122" fmla="*/ 108311 w 674086"/>
                        <a:gd name="connsiteY122" fmla="*/ 61482 h 446520"/>
                        <a:gd name="connsiteX123" fmla="*/ 109567 w 674086"/>
                        <a:gd name="connsiteY123" fmla="*/ 62319 h 446520"/>
                        <a:gd name="connsiteX124" fmla="*/ 138752 w 674086"/>
                        <a:gd name="connsiteY124" fmla="*/ 81458 h 446520"/>
                        <a:gd name="connsiteX125" fmla="*/ 139710 w 674086"/>
                        <a:gd name="connsiteY125" fmla="*/ 82116 h 446520"/>
                        <a:gd name="connsiteX126" fmla="*/ 140966 w 674086"/>
                        <a:gd name="connsiteY126" fmla="*/ 82893 h 446520"/>
                        <a:gd name="connsiteX127" fmla="*/ 141863 w 674086"/>
                        <a:gd name="connsiteY127" fmla="*/ 83551 h 446520"/>
                        <a:gd name="connsiteX128" fmla="*/ 145571 w 674086"/>
                        <a:gd name="connsiteY128" fmla="*/ 85943 h 446520"/>
                        <a:gd name="connsiteX129" fmla="*/ 146528 w 674086"/>
                        <a:gd name="connsiteY129" fmla="*/ 86541 h 446520"/>
                        <a:gd name="connsiteX130" fmla="*/ 147724 w 674086"/>
                        <a:gd name="connsiteY130" fmla="*/ 87379 h 446520"/>
                        <a:gd name="connsiteX131" fmla="*/ 148681 w 674086"/>
                        <a:gd name="connsiteY131" fmla="*/ 87977 h 446520"/>
                        <a:gd name="connsiteX132" fmla="*/ 151970 w 674086"/>
                        <a:gd name="connsiteY132" fmla="*/ 90130 h 446520"/>
                        <a:gd name="connsiteX133" fmla="*/ 152927 w 674086"/>
                        <a:gd name="connsiteY133" fmla="*/ 90728 h 446520"/>
                        <a:gd name="connsiteX134" fmla="*/ 154123 w 674086"/>
                        <a:gd name="connsiteY134" fmla="*/ 91565 h 446520"/>
                        <a:gd name="connsiteX135" fmla="*/ 155020 w 674086"/>
                        <a:gd name="connsiteY135" fmla="*/ 92163 h 446520"/>
                        <a:gd name="connsiteX136" fmla="*/ 275292 w 674086"/>
                        <a:gd name="connsiteY136" fmla="*/ 171109 h 446520"/>
                        <a:gd name="connsiteX137" fmla="*/ 276369 w 674086"/>
                        <a:gd name="connsiteY137" fmla="*/ 171767 h 446520"/>
                        <a:gd name="connsiteX138" fmla="*/ 288809 w 674086"/>
                        <a:gd name="connsiteY138" fmla="*/ 179960 h 446520"/>
                        <a:gd name="connsiteX139" fmla="*/ 289885 w 674086"/>
                        <a:gd name="connsiteY139" fmla="*/ 180678 h 446520"/>
                        <a:gd name="connsiteX140" fmla="*/ 298079 w 674086"/>
                        <a:gd name="connsiteY140" fmla="*/ 186061 h 446520"/>
                        <a:gd name="connsiteX141" fmla="*/ 298916 w 674086"/>
                        <a:gd name="connsiteY141" fmla="*/ 186599 h 446520"/>
                        <a:gd name="connsiteX142" fmla="*/ 311536 w 674086"/>
                        <a:gd name="connsiteY142" fmla="*/ 194912 h 446520"/>
                        <a:gd name="connsiteX143" fmla="*/ 312313 w 674086"/>
                        <a:gd name="connsiteY143" fmla="*/ 195390 h 446520"/>
                        <a:gd name="connsiteX144" fmla="*/ 319909 w 674086"/>
                        <a:gd name="connsiteY144" fmla="*/ 200414 h 446520"/>
                        <a:gd name="connsiteX145" fmla="*/ 320925 w 674086"/>
                        <a:gd name="connsiteY145" fmla="*/ 201012 h 446520"/>
                        <a:gd name="connsiteX146" fmla="*/ 332827 w 674086"/>
                        <a:gd name="connsiteY146" fmla="*/ 208847 h 446520"/>
                        <a:gd name="connsiteX147" fmla="*/ 333784 w 674086"/>
                        <a:gd name="connsiteY147" fmla="*/ 209505 h 446520"/>
                        <a:gd name="connsiteX148" fmla="*/ 354956 w 674086"/>
                        <a:gd name="connsiteY148" fmla="*/ 223380 h 446520"/>
                        <a:gd name="connsiteX149" fmla="*/ 355673 w 674086"/>
                        <a:gd name="connsiteY149" fmla="*/ 223859 h 446520"/>
                        <a:gd name="connsiteX150" fmla="*/ 356631 w 674086"/>
                        <a:gd name="connsiteY150" fmla="*/ 224517 h 446520"/>
                        <a:gd name="connsiteX151" fmla="*/ 357408 w 674086"/>
                        <a:gd name="connsiteY151" fmla="*/ 224995 h 446520"/>
                        <a:gd name="connsiteX152" fmla="*/ 360637 w 674086"/>
                        <a:gd name="connsiteY152" fmla="*/ 227088 h 446520"/>
                        <a:gd name="connsiteX153" fmla="*/ 361355 w 674086"/>
                        <a:gd name="connsiteY153" fmla="*/ 227627 h 446520"/>
                        <a:gd name="connsiteX154" fmla="*/ 362312 w 674086"/>
                        <a:gd name="connsiteY154" fmla="*/ 228225 h 446520"/>
                        <a:gd name="connsiteX155" fmla="*/ 363030 w 674086"/>
                        <a:gd name="connsiteY155" fmla="*/ 228703 h 446520"/>
                        <a:gd name="connsiteX156" fmla="*/ 365901 w 674086"/>
                        <a:gd name="connsiteY156" fmla="*/ 230557 h 446520"/>
                        <a:gd name="connsiteX157" fmla="*/ 366618 w 674086"/>
                        <a:gd name="connsiteY157" fmla="*/ 231035 h 446520"/>
                        <a:gd name="connsiteX158" fmla="*/ 367575 w 674086"/>
                        <a:gd name="connsiteY158" fmla="*/ 231693 h 446520"/>
                        <a:gd name="connsiteX159" fmla="*/ 368293 w 674086"/>
                        <a:gd name="connsiteY159" fmla="*/ 232172 h 446520"/>
                        <a:gd name="connsiteX160" fmla="*/ 585692 w 674086"/>
                        <a:gd name="connsiteY160" fmla="*/ 374872 h 446520"/>
                        <a:gd name="connsiteX161" fmla="*/ 586410 w 674086"/>
                        <a:gd name="connsiteY161" fmla="*/ 375350 h 446520"/>
                        <a:gd name="connsiteX162" fmla="*/ 595022 w 674086"/>
                        <a:gd name="connsiteY162" fmla="*/ 380972 h 446520"/>
                        <a:gd name="connsiteX163" fmla="*/ 595740 w 674086"/>
                        <a:gd name="connsiteY163" fmla="*/ 381451 h 446520"/>
                        <a:gd name="connsiteX164" fmla="*/ 601362 w 674086"/>
                        <a:gd name="connsiteY164" fmla="*/ 385159 h 446520"/>
                        <a:gd name="connsiteX165" fmla="*/ 601960 w 674086"/>
                        <a:gd name="connsiteY165" fmla="*/ 385517 h 446520"/>
                        <a:gd name="connsiteX166" fmla="*/ 610632 w 674086"/>
                        <a:gd name="connsiteY166" fmla="*/ 391199 h 446520"/>
                        <a:gd name="connsiteX167" fmla="*/ 611170 w 674086"/>
                        <a:gd name="connsiteY167" fmla="*/ 391558 h 446520"/>
                        <a:gd name="connsiteX168" fmla="*/ 616433 w 674086"/>
                        <a:gd name="connsiteY168" fmla="*/ 395027 h 446520"/>
                        <a:gd name="connsiteX169" fmla="*/ 617091 w 674086"/>
                        <a:gd name="connsiteY169" fmla="*/ 395446 h 446520"/>
                        <a:gd name="connsiteX170" fmla="*/ 625344 w 674086"/>
                        <a:gd name="connsiteY170" fmla="*/ 400888 h 446520"/>
                        <a:gd name="connsiteX171" fmla="*/ 626002 w 674086"/>
                        <a:gd name="connsiteY171" fmla="*/ 401307 h 446520"/>
                        <a:gd name="connsiteX172" fmla="*/ 640655 w 674086"/>
                        <a:gd name="connsiteY172" fmla="*/ 410936 h 446520"/>
                        <a:gd name="connsiteX173" fmla="*/ 641193 w 674086"/>
                        <a:gd name="connsiteY173" fmla="*/ 411234 h 446520"/>
                        <a:gd name="connsiteX174" fmla="*/ 641851 w 674086"/>
                        <a:gd name="connsiteY174" fmla="*/ 411713 h 446520"/>
                        <a:gd name="connsiteX175" fmla="*/ 642389 w 674086"/>
                        <a:gd name="connsiteY175" fmla="*/ 412072 h 446520"/>
                        <a:gd name="connsiteX176" fmla="*/ 644722 w 674086"/>
                        <a:gd name="connsiteY176" fmla="*/ 413567 h 446520"/>
                        <a:gd name="connsiteX177" fmla="*/ 645200 w 674086"/>
                        <a:gd name="connsiteY177" fmla="*/ 413926 h 446520"/>
                        <a:gd name="connsiteX178" fmla="*/ 645858 w 674086"/>
                        <a:gd name="connsiteY178" fmla="*/ 414345 h 446520"/>
                        <a:gd name="connsiteX179" fmla="*/ 646396 w 674086"/>
                        <a:gd name="connsiteY179" fmla="*/ 414703 h 446520"/>
                        <a:gd name="connsiteX180" fmla="*/ 648430 w 674086"/>
                        <a:gd name="connsiteY180" fmla="*/ 416019 h 446520"/>
                        <a:gd name="connsiteX181" fmla="*/ 648908 w 674086"/>
                        <a:gd name="connsiteY181" fmla="*/ 416378 h 446520"/>
                        <a:gd name="connsiteX182" fmla="*/ 649566 w 674086"/>
                        <a:gd name="connsiteY182" fmla="*/ 416796 h 446520"/>
                        <a:gd name="connsiteX183" fmla="*/ 650104 w 674086"/>
                        <a:gd name="connsiteY183" fmla="*/ 417155 h 446520"/>
                        <a:gd name="connsiteX184" fmla="*/ 673011 w 674086"/>
                        <a:gd name="connsiteY184" fmla="*/ 432167 h 446520"/>
                        <a:gd name="connsiteX185" fmla="*/ 672054 w 674086"/>
                        <a:gd name="connsiteY185" fmla="*/ 433423 h 446520"/>
                        <a:gd name="connsiteX186" fmla="*/ 672532 w 674086"/>
                        <a:gd name="connsiteY186" fmla="*/ 433722 h 446520"/>
                        <a:gd name="connsiteX187" fmla="*/ 670499 w 674086"/>
                        <a:gd name="connsiteY187" fmla="*/ 436234 h 446520"/>
                        <a:gd name="connsiteX188" fmla="*/ 670080 w 674086"/>
                        <a:gd name="connsiteY188" fmla="*/ 435935 h 446520"/>
                        <a:gd name="connsiteX189" fmla="*/ 662484 w 674086"/>
                        <a:gd name="connsiteY189" fmla="*/ 445504 h 446520"/>
                        <a:gd name="connsiteX190" fmla="*/ 640595 w 674086"/>
                        <a:gd name="connsiteY190" fmla="*/ 431449 h 446520"/>
                        <a:gd name="connsiteX191" fmla="*/ 640117 w 674086"/>
                        <a:gd name="connsiteY191" fmla="*/ 431091 h 446520"/>
                        <a:gd name="connsiteX192" fmla="*/ 638980 w 674086"/>
                        <a:gd name="connsiteY192" fmla="*/ 430373 h 446520"/>
                        <a:gd name="connsiteX193" fmla="*/ 637306 w 674086"/>
                        <a:gd name="connsiteY193" fmla="*/ 429296 h 446520"/>
                        <a:gd name="connsiteX194" fmla="*/ 627916 w 674086"/>
                        <a:gd name="connsiteY194" fmla="*/ 423256 h 446520"/>
                        <a:gd name="connsiteX195" fmla="*/ 627378 w 674086"/>
                        <a:gd name="connsiteY195" fmla="*/ 422957 h 446520"/>
                        <a:gd name="connsiteX196" fmla="*/ 627198 w 674086"/>
                        <a:gd name="connsiteY196" fmla="*/ 422837 h 446520"/>
                        <a:gd name="connsiteX197" fmla="*/ 600225 w 674086"/>
                        <a:gd name="connsiteY197" fmla="*/ 405493 h 446520"/>
                        <a:gd name="connsiteX198" fmla="*/ 590357 w 674086"/>
                        <a:gd name="connsiteY198" fmla="*/ 399154 h 446520"/>
                        <a:gd name="connsiteX199" fmla="*/ 566434 w 674086"/>
                        <a:gd name="connsiteY199" fmla="*/ 383783 h 446520"/>
                        <a:gd name="connsiteX200" fmla="*/ 565836 w 674086"/>
                        <a:gd name="connsiteY200" fmla="*/ 383424 h 446520"/>
                        <a:gd name="connsiteX201" fmla="*/ 358544 w 674086"/>
                        <a:gd name="connsiteY201" fmla="*/ 250293 h 446520"/>
                        <a:gd name="connsiteX202" fmla="*/ 357826 w 674086"/>
                        <a:gd name="connsiteY202" fmla="*/ 249815 h 446520"/>
                        <a:gd name="connsiteX203" fmla="*/ 355374 w 674086"/>
                        <a:gd name="connsiteY203" fmla="*/ 248260 h 446520"/>
                        <a:gd name="connsiteX204" fmla="*/ 352922 w 674086"/>
                        <a:gd name="connsiteY204" fmla="*/ 246705 h 446520"/>
                        <a:gd name="connsiteX205" fmla="*/ 340363 w 674086"/>
                        <a:gd name="connsiteY205" fmla="*/ 238631 h 446520"/>
                        <a:gd name="connsiteX206" fmla="*/ 339585 w 674086"/>
                        <a:gd name="connsiteY206" fmla="*/ 238152 h 446520"/>
                        <a:gd name="connsiteX207" fmla="*/ 339286 w 674086"/>
                        <a:gd name="connsiteY207" fmla="*/ 237973 h 446520"/>
                        <a:gd name="connsiteX208" fmla="*/ 299096 w 674086"/>
                        <a:gd name="connsiteY208" fmla="*/ 212136 h 446520"/>
                        <a:gd name="connsiteX209" fmla="*/ 284802 w 674086"/>
                        <a:gd name="connsiteY209" fmla="*/ 202926 h 446520"/>
                        <a:gd name="connsiteX210" fmla="*/ 251310 w 674086"/>
                        <a:gd name="connsiteY210" fmla="*/ 181455 h 446520"/>
                        <a:gd name="connsiteX211" fmla="*/ 250473 w 674086"/>
                        <a:gd name="connsiteY211" fmla="*/ 180917 h 446520"/>
                        <a:gd name="connsiteX212" fmla="*/ 143836 w 674086"/>
                        <a:gd name="connsiteY212" fmla="*/ 112438 h 446520"/>
                        <a:gd name="connsiteX213" fmla="*/ 142939 w 674086"/>
                        <a:gd name="connsiteY213" fmla="*/ 111840 h 446520"/>
                        <a:gd name="connsiteX214" fmla="*/ 140068 w 674086"/>
                        <a:gd name="connsiteY214" fmla="*/ 109986 h 446520"/>
                        <a:gd name="connsiteX215" fmla="*/ 137018 w 674086"/>
                        <a:gd name="connsiteY215" fmla="*/ 108072 h 446520"/>
                        <a:gd name="connsiteX216" fmla="*/ 120810 w 674086"/>
                        <a:gd name="connsiteY216" fmla="*/ 97605 h 446520"/>
                        <a:gd name="connsiteX217" fmla="*/ 119854 w 674086"/>
                        <a:gd name="connsiteY217" fmla="*/ 97007 h 446520"/>
                        <a:gd name="connsiteX218" fmla="*/ 119435 w 674086"/>
                        <a:gd name="connsiteY218" fmla="*/ 96768 h 446520"/>
                        <a:gd name="connsiteX219" fmla="*/ 67283 w 674086"/>
                        <a:gd name="connsiteY219" fmla="*/ 63276 h 446520"/>
                        <a:gd name="connsiteX220" fmla="*/ 48922 w 674086"/>
                        <a:gd name="connsiteY220" fmla="*/ 51494 h 446520"/>
                        <a:gd name="connsiteX221" fmla="*/ 7117 w 674086"/>
                        <a:gd name="connsiteY221" fmla="*/ 24641 h 446520"/>
                        <a:gd name="connsiteX222" fmla="*/ 6040 w 674086"/>
                        <a:gd name="connsiteY222" fmla="*/ 23923 h 446520"/>
                        <a:gd name="connsiteX223" fmla="*/ 1854 w 674086"/>
                        <a:gd name="connsiteY223" fmla="*/ 21292 h 446520"/>
                        <a:gd name="connsiteX224" fmla="*/ 12918 w 674086"/>
                        <a:gd name="connsiteY224" fmla="*/ 7237 h 446520"/>
                        <a:gd name="connsiteX225" fmla="*/ 11902 w 674086"/>
                        <a:gd name="connsiteY225" fmla="*/ 6579 h 446520"/>
                        <a:gd name="connsiteX226" fmla="*/ 0 w 674086"/>
                        <a:gd name="connsiteY226" fmla="*/ 21651 h 44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674086" h="446520">
                          <a:moveTo>
                            <a:pt x="0" y="21651"/>
                          </a:moveTo>
                          <a:lnTo>
                            <a:pt x="5203" y="25000"/>
                          </a:lnTo>
                          <a:lnTo>
                            <a:pt x="6280" y="25658"/>
                          </a:lnTo>
                          <a:lnTo>
                            <a:pt x="118657" y="97785"/>
                          </a:lnTo>
                          <a:lnTo>
                            <a:pt x="119076" y="98024"/>
                          </a:lnTo>
                          <a:lnTo>
                            <a:pt x="119973" y="98622"/>
                          </a:lnTo>
                          <a:lnTo>
                            <a:pt x="142162" y="112797"/>
                          </a:lnTo>
                          <a:lnTo>
                            <a:pt x="143059" y="113395"/>
                          </a:lnTo>
                          <a:lnTo>
                            <a:pt x="249755" y="181814"/>
                          </a:lnTo>
                          <a:lnTo>
                            <a:pt x="250592" y="182353"/>
                          </a:lnTo>
                          <a:lnTo>
                            <a:pt x="338628" y="238811"/>
                          </a:lnTo>
                          <a:lnTo>
                            <a:pt x="338868" y="238990"/>
                          </a:lnTo>
                          <a:lnTo>
                            <a:pt x="339645" y="239468"/>
                          </a:lnTo>
                          <a:lnTo>
                            <a:pt x="357109" y="250712"/>
                          </a:lnTo>
                          <a:lnTo>
                            <a:pt x="357826" y="251190"/>
                          </a:lnTo>
                          <a:lnTo>
                            <a:pt x="565238" y="384202"/>
                          </a:lnTo>
                          <a:lnTo>
                            <a:pt x="565776" y="384561"/>
                          </a:lnTo>
                          <a:lnTo>
                            <a:pt x="626600" y="423555"/>
                          </a:lnTo>
                          <a:lnTo>
                            <a:pt x="626840" y="423674"/>
                          </a:lnTo>
                          <a:lnTo>
                            <a:pt x="627318" y="424033"/>
                          </a:lnTo>
                          <a:lnTo>
                            <a:pt x="639519" y="431808"/>
                          </a:lnTo>
                          <a:lnTo>
                            <a:pt x="639997" y="432167"/>
                          </a:lnTo>
                          <a:lnTo>
                            <a:pt x="662425" y="446521"/>
                          </a:lnTo>
                          <a:lnTo>
                            <a:pt x="674087" y="431748"/>
                          </a:lnTo>
                          <a:lnTo>
                            <a:pt x="650703" y="416438"/>
                          </a:lnTo>
                          <a:lnTo>
                            <a:pt x="650164" y="416079"/>
                          </a:lnTo>
                          <a:lnTo>
                            <a:pt x="649506" y="415660"/>
                          </a:lnTo>
                          <a:lnTo>
                            <a:pt x="649028" y="415301"/>
                          </a:lnTo>
                          <a:lnTo>
                            <a:pt x="646995" y="413986"/>
                          </a:lnTo>
                          <a:lnTo>
                            <a:pt x="646516" y="413627"/>
                          </a:lnTo>
                          <a:lnTo>
                            <a:pt x="645798" y="413208"/>
                          </a:lnTo>
                          <a:lnTo>
                            <a:pt x="645320" y="412909"/>
                          </a:lnTo>
                          <a:lnTo>
                            <a:pt x="643047" y="411414"/>
                          </a:lnTo>
                          <a:lnTo>
                            <a:pt x="642509" y="411055"/>
                          </a:lnTo>
                          <a:lnTo>
                            <a:pt x="641851" y="410577"/>
                          </a:lnTo>
                          <a:lnTo>
                            <a:pt x="641313" y="410278"/>
                          </a:lnTo>
                          <a:lnTo>
                            <a:pt x="626959" y="400828"/>
                          </a:lnTo>
                          <a:lnTo>
                            <a:pt x="626361" y="400409"/>
                          </a:lnTo>
                          <a:lnTo>
                            <a:pt x="622533" y="397898"/>
                          </a:lnTo>
                          <a:lnTo>
                            <a:pt x="621098" y="397000"/>
                          </a:lnTo>
                          <a:lnTo>
                            <a:pt x="617270" y="394429"/>
                          </a:lnTo>
                          <a:lnTo>
                            <a:pt x="616612" y="394010"/>
                          </a:lnTo>
                          <a:lnTo>
                            <a:pt x="611768" y="390840"/>
                          </a:lnTo>
                          <a:lnTo>
                            <a:pt x="611230" y="390482"/>
                          </a:lnTo>
                          <a:lnTo>
                            <a:pt x="602498" y="384740"/>
                          </a:lnTo>
                          <a:lnTo>
                            <a:pt x="601960" y="384381"/>
                          </a:lnTo>
                          <a:lnTo>
                            <a:pt x="596696" y="380912"/>
                          </a:lnTo>
                          <a:lnTo>
                            <a:pt x="596039" y="380494"/>
                          </a:lnTo>
                          <a:lnTo>
                            <a:pt x="592092" y="377922"/>
                          </a:lnTo>
                          <a:lnTo>
                            <a:pt x="590596" y="376905"/>
                          </a:lnTo>
                          <a:lnTo>
                            <a:pt x="586589" y="374274"/>
                          </a:lnTo>
                          <a:lnTo>
                            <a:pt x="585931" y="373855"/>
                          </a:lnTo>
                          <a:lnTo>
                            <a:pt x="369010" y="231275"/>
                          </a:lnTo>
                          <a:lnTo>
                            <a:pt x="368233" y="230796"/>
                          </a:lnTo>
                          <a:lnTo>
                            <a:pt x="367336" y="230198"/>
                          </a:lnTo>
                          <a:lnTo>
                            <a:pt x="366558" y="229720"/>
                          </a:lnTo>
                          <a:lnTo>
                            <a:pt x="363748" y="227866"/>
                          </a:lnTo>
                          <a:lnTo>
                            <a:pt x="363030" y="227387"/>
                          </a:lnTo>
                          <a:lnTo>
                            <a:pt x="362073" y="226729"/>
                          </a:lnTo>
                          <a:lnTo>
                            <a:pt x="361355" y="226251"/>
                          </a:lnTo>
                          <a:lnTo>
                            <a:pt x="358185" y="224158"/>
                          </a:lnTo>
                          <a:lnTo>
                            <a:pt x="357408" y="223679"/>
                          </a:lnTo>
                          <a:lnTo>
                            <a:pt x="356451" y="223021"/>
                          </a:lnTo>
                          <a:lnTo>
                            <a:pt x="355673" y="222543"/>
                          </a:lnTo>
                          <a:lnTo>
                            <a:pt x="335040" y="208966"/>
                          </a:lnTo>
                          <a:lnTo>
                            <a:pt x="334143" y="208368"/>
                          </a:lnTo>
                          <a:lnTo>
                            <a:pt x="328700" y="204780"/>
                          </a:lnTo>
                          <a:lnTo>
                            <a:pt x="326607" y="203404"/>
                          </a:lnTo>
                          <a:lnTo>
                            <a:pt x="320985" y="199756"/>
                          </a:lnTo>
                          <a:lnTo>
                            <a:pt x="320088" y="199158"/>
                          </a:lnTo>
                          <a:lnTo>
                            <a:pt x="313031" y="194493"/>
                          </a:lnTo>
                          <a:lnTo>
                            <a:pt x="312253" y="194015"/>
                          </a:lnTo>
                          <a:lnTo>
                            <a:pt x="299634" y="185702"/>
                          </a:lnTo>
                          <a:lnTo>
                            <a:pt x="298797" y="185163"/>
                          </a:lnTo>
                          <a:lnTo>
                            <a:pt x="291142" y="180140"/>
                          </a:lnTo>
                          <a:lnTo>
                            <a:pt x="290184" y="179482"/>
                          </a:lnTo>
                          <a:lnTo>
                            <a:pt x="284503" y="175714"/>
                          </a:lnTo>
                          <a:lnTo>
                            <a:pt x="282290" y="174278"/>
                          </a:lnTo>
                          <a:lnTo>
                            <a:pt x="276429" y="170451"/>
                          </a:lnTo>
                          <a:lnTo>
                            <a:pt x="275472" y="169793"/>
                          </a:lnTo>
                          <a:lnTo>
                            <a:pt x="155858" y="91206"/>
                          </a:lnTo>
                          <a:lnTo>
                            <a:pt x="154900" y="90608"/>
                          </a:lnTo>
                          <a:lnTo>
                            <a:pt x="153704" y="89771"/>
                          </a:lnTo>
                          <a:lnTo>
                            <a:pt x="152807" y="89173"/>
                          </a:lnTo>
                          <a:lnTo>
                            <a:pt x="149518" y="87020"/>
                          </a:lnTo>
                          <a:lnTo>
                            <a:pt x="148561" y="86421"/>
                          </a:lnTo>
                          <a:lnTo>
                            <a:pt x="147365" y="85644"/>
                          </a:lnTo>
                          <a:lnTo>
                            <a:pt x="146468" y="84986"/>
                          </a:lnTo>
                          <a:lnTo>
                            <a:pt x="142820" y="82654"/>
                          </a:lnTo>
                          <a:lnTo>
                            <a:pt x="141863" y="81996"/>
                          </a:lnTo>
                          <a:lnTo>
                            <a:pt x="140666" y="81218"/>
                          </a:lnTo>
                          <a:lnTo>
                            <a:pt x="139710" y="80561"/>
                          </a:lnTo>
                          <a:lnTo>
                            <a:pt x="111062" y="61781"/>
                          </a:lnTo>
                          <a:lnTo>
                            <a:pt x="109866" y="61003"/>
                          </a:lnTo>
                          <a:lnTo>
                            <a:pt x="102928" y="56399"/>
                          </a:lnTo>
                          <a:lnTo>
                            <a:pt x="100296" y="54664"/>
                          </a:lnTo>
                          <a:lnTo>
                            <a:pt x="93179" y="49999"/>
                          </a:lnTo>
                          <a:lnTo>
                            <a:pt x="91984" y="49222"/>
                          </a:lnTo>
                          <a:lnTo>
                            <a:pt x="83012" y="43301"/>
                          </a:lnTo>
                          <a:lnTo>
                            <a:pt x="81995" y="42643"/>
                          </a:lnTo>
                          <a:lnTo>
                            <a:pt x="65847" y="32057"/>
                          </a:lnTo>
                          <a:lnTo>
                            <a:pt x="64831" y="31399"/>
                          </a:lnTo>
                          <a:lnTo>
                            <a:pt x="55022" y="24940"/>
                          </a:lnTo>
                          <a:lnTo>
                            <a:pt x="53767" y="24102"/>
                          </a:lnTo>
                          <a:lnTo>
                            <a:pt x="46410" y="19258"/>
                          </a:lnTo>
                          <a:lnTo>
                            <a:pt x="43659" y="17464"/>
                          </a:lnTo>
                          <a:lnTo>
                            <a:pt x="36123" y="12500"/>
                          </a:lnTo>
                          <a:lnTo>
                            <a:pt x="34867" y="11662"/>
                          </a:lnTo>
                          <a:lnTo>
                            <a:pt x="17105" y="0"/>
                          </a:lnTo>
                          <a:lnTo>
                            <a:pt x="14832" y="2871"/>
                          </a:lnTo>
                          <a:lnTo>
                            <a:pt x="15849" y="3589"/>
                          </a:lnTo>
                          <a:lnTo>
                            <a:pt x="17284" y="1735"/>
                          </a:lnTo>
                          <a:lnTo>
                            <a:pt x="34748" y="13218"/>
                          </a:lnTo>
                          <a:lnTo>
                            <a:pt x="36123" y="14115"/>
                          </a:lnTo>
                          <a:lnTo>
                            <a:pt x="52152" y="24581"/>
                          </a:lnTo>
                          <a:lnTo>
                            <a:pt x="53468" y="25478"/>
                          </a:lnTo>
                          <a:lnTo>
                            <a:pt x="63993" y="32416"/>
                          </a:lnTo>
                          <a:lnTo>
                            <a:pt x="65010" y="33074"/>
                          </a:lnTo>
                          <a:lnTo>
                            <a:pt x="81218" y="43660"/>
                          </a:lnTo>
                          <a:lnTo>
                            <a:pt x="82175" y="44317"/>
                          </a:lnTo>
                          <a:lnTo>
                            <a:pt x="91864" y="50717"/>
                          </a:lnTo>
                          <a:lnTo>
                            <a:pt x="93179" y="51554"/>
                          </a:lnTo>
                          <a:lnTo>
                            <a:pt x="108311" y="61482"/>
                          </a:lnTo>
                          <a:lnTo>
                            <a:pt x="109567" y="62319"/>
                          </a:lnTo>
                          <a:lnTo>
                            <a:pt x="138752" y="81458"/>
                          </a:lnTo>
                          <a:lnTo>
                            <a:pt x="139710" y="82116"/>
                          </a:lnTo>
                          <a:lnTo>
                            <a:pt x="140966" y="82893"/>
                          </a:lnTo>
                          <a:lnTo>
                            <a:pt x="141863" y="83551"/>
                          </a:lnTo>
                          <a:lnTo>
                            <a:pt x="145571" y="85943"/>
                          </a:lnTo>
                          <a:lnTo>
                            <a:pt x="146528" y="86541"/>
                          </a:lnTo>
                          <a:lnTo>
                            <a:pt x="147724" y="87379"/>
                          </a:lnTo>
                          <a:lnTo>
                            <a:pt x="148681" y="87977"/>
                          </a:lnTo>
                          <a:lnTo>
                            <a:pt x="151970" y="90130"/>
                          </a:lnTo>
                          <a:lnTo>
                            <a:pt x="152927" y="90728"/>
                          </a:lnTo>
                          <a:lnTo>
                            <a:pt x="154123" y="91565"/>
                          </a:lnTo>
                          <a:lnTo>
                            <a:pt x="155020" y="92163"/>
                          </a:lnTo>
                          <a:lnTo>
                            <a:pt x="275292" y="171109"/>
                          </a:lnTo>
                          <a:lnTo>
                            <a:pt x="276369" y="171767"/>
                          </a:lnTo>
                          <a:lnTo>
                            <a:pt x="288809" y="179960"/>
                          </a:lnTo>
                          <a:lnTo>
                            <a:pt x="289885" y="180678"/>
                          </a:lnTo>
                          <a:lnTo>
                            <a:pt x="298079" y="186061"/>
                          </a:lnTo>
                          <a:lnTo>
                            <a:pt x="298916" y="186599"/>
                          </a:lnTo>
                          <a:lnTo>
                            <a:pt x="311536" y="194912"/>
                          </a:lnTo>
                          <a:lnTo>
                            <a:pt x="312313" y="195390"/>
                          </a:lnTo>
                          <a:lnTo>
                            <a:pt x="319909" y="200414"/>
                          </a:lnTo>
                          <a:lnTo>
                            <a:pt x="320925" y="201012"/>
                          </a:lnTo>
                          <a:lnTo>
                            <a:pt x="332827" y="208847"/>
                          </a:lnTo>
                          <a:lnTo>
                            <a:pt x="333784" y="209505"/>
                          </a:lnTo>
                          <a:lnTo>
                            <a:pt x="354956" y="223380"/>
                          </a:lnTo>
                          <a:lnTo>
                            <a:pt x="355673" y="223859"/>
                          </a:lnTo>
                          <a:lnTo>
                            <a:pt x="356631" y="224517"/>
                          </a:lnTo>
                          <a:lnTo>
                            <a:pt x="357408" y="224995"/>
                          </a:lnTo>
                          <a:lnTo>
                            <a:pt x="360637" y="227088"/>
                          </a:lnTo>
                          <a:lnTo>
                            <a:pt x="361355" y="227627"/>
                          </a:lnTo>
                          <a:lnTo>
                            <a:pt x="362312" y="228225"/>
                          </a:lnTo>
                          <a:lnTo>
                            <a:pt x="363030" y="228703"/>
                          </a:lnTo>
                          <a:lnTo>
                            <a:pt x="365901" y="230557"/>
                          </a:lnTo>
                          <a:lnTo>
                            <a:pt x="366618" y="231035"/>
                          </a:lnTo>
                          <a:lnTo>
                            <a:pt x="367575" y="231693"/>
                          </a:lnTo>
                          <a:lnTo>
                            <a:pt x="368293" y="232172"/>
                          </a:lnTo>
                          <a:lnTo>
                            <a:pt x="585692" y="374872"/>
                          </a:lnTo>
                          <a:lnTo>
                            <a:pt x="586410" y="375350"/>
                          </a:lnTo>
                          <a:lnTo>
                            <a:pt x="595022" y="380972"/>
                          </a:lnTo>
                          <a:lnTo>
                            <a:pt x="595740" y="381451"/>
                          </a:lnTo>
                          <a:lnTo>
                            <a:pt x="601362" y="385159"/>
                          </a:lnTo>
                          <a:lnTo>
                            <a:pt x="601960" y="385517"/>
                          </a:lnTo>
                          <a:lnTo>
                            <a:pt x="610632" y="391199"/>
                          </a:lnTo>
                          <a:lnTo>
                            <a:pt x="611170" y="391558"/>
                          </a:lnTo>
                          <a:lnTo>
                            <a:pt x="616433" y="395027"/>
                          </a:lnTo>
                          <a:lnTo>
                            <a:pt x="617091" y="395446"/>
                          </a:lnTo>
                          <a:lnTo>
                            <a:pt x="625344" y="400888"/>
                          </a:lnTo>
                          <a:lnTo>
                            <a:pt x="626002" y="401307"/>
                          </a:lnTo>
                          <a:lnTo>
                            <a:pt x="640655" y="410936"/>
                          </a:lnTo>
                          <a:lnTo>
                            <a:pt x="641193" y="411234"/>
                          </a:lnTo>
                          <a:lnTo>
                            <a:pt x="641851" y="411713"/>
                          </a:lnTo>
                          <a:lnTo>
                            <a:pt x="642389" y="412072"/>
                          </a:lnTo>
                          <a:lnTo>
                            <a:pt x="644722" y="413567"/>
                          </a:lnTo>
                          <a:lnTo>
                            <a:pt x="645200" y="413926"/>
                          </a:lnTo>
                          <a:lnTo>
                            <a:pt x="645858" y="414345"/>
                          </a:lnTo>
                          <a:lnTo>
                            <a:pt x="646396" y="414703"/>
                          </a:lnTo>
                          <a:lnTo>
                            <a:pt x="648430" y="416019"/>
                          </a:lnTo>
                          <a:lnTo>
                            <a:pt x="648908" y="416378"/>
                          </a:lnTo>
                          <a:lnTo>
                            <a:pt x="649566" y="416796"/>
                          </a:lnTo>
                          <a:lnTo>
                            <a:pt x="650104" y="417155"/>
                          </a:lnTo>
                          <a:lnTo>
                            <a:pt x="673011" y="432167"/>
                          </a:lnTo>
                          <a:lnTo>
                            <a:pt x="672054" y="433423"/>
                          </a:lnTo>
                          <a:lnTo>
                            <a:pt x="672532" y="433722"/>
                          </a:lnTo>
                          <a:lnTo>
                            <a:pt x="670499" y="436234"/>
                          </a:lnTo>
                          <a:lnTo>
                            <a:pt x="670080" y="435935"/>
                          </a:lnTo>
                          <a:lnTo>
                            <a:pt x="662484" y="445504"/>
                          </a:lnTo>
                          <a:lnTo>
                            <a:pt x="640595" y="431449"/>
                          </a:lnTo>
                          <a:lnTo>
                            <a:pt x="640117" y="431091"/>
                          </a:lnTo>
                          <a:lnTo>
                            <a:pt x="638980" y="430373"/>
                          </a:lnTo>
                          <a:lnTo>
                            <a:pt x="637306" y="429296"/>
                          </a:lnTo>
                          <a:lnTo>
                            <a:pt x="627916" y="423256"/>
                          </a:lnTo>
                          <a:lnTo>
                            <a:pt x="627378" y="422957"/>
                          </a:lnTo>
                          <a:lnTo>
                            <a:pt x="627198" y="422837"/>
                          </a:lnTo>
                          <a:lnTo>
                            <a:pt x="600225" y="405493"/>
                          </a:lnTo>
                          <a:lnTo>
                            <a:pt x="590357" y="399154"/>
                          </a:lnTo>
                          <a:lnTo>
                            <a:pt x="566434" y="383783"/>
                          </a:lnTo>
                          <a:lnTo>
                            <a:pt x="565836" y="383424"/>
                          </a:lnTo>
                          <a:lnTo>
                            <a:pt x="358544" y="250293"/>
                          </a:lnTo>
                          <a:lnTo>
                            <a:pt x="357826" y="249815"/>
                          </a:lnTo>
                          <a:lnTo>
                            <a:pt x="355374" y="248260"/>
                          </a:lnTo>
                          <a:lnTo>
                            <a:pt x="352922" y="246705"/>
                          </a:lnTo>
                          <a:lnTo>
                            <a:pt x="340363" y="238631"/>
                          </a:lnTo>
                          <a:lnTo>
                            <a:pt x="339585" y="238152"/>
                          </a:lnTo>
                          <a:lnTo>
                            <a:pt x="339286" y="237973"/>
                          </a:lnTo>
                          <a:lnTo>
                            <a:pt x="299096" y="212136"/>
                          </a:lnTo>
                          <a:lnTo>
                            <a:pt x="284802" y="202926"/>
                          </a:lnTo>
                          <a:lnTo>
                            <a:pt x="251310" y="181455"/>
                          </a:lnTo>
                          <a:lnTo>
                            <a:pt x="250473" y="180917"/>
                          </a:lnTo>
                          <a:lnTo>
                            <a:pt x="143836" y="112438"/>
                          </a:lnTo>
                          <a:lnTo>
                            <a:pt x="142939" y="111840"/>
                          </a:lnTo>
                          <a:lnTo>
                            <a:pt x="140068" y="109986"/>
                          </a:lnTo>
                          <a:lnTo>
                            <a:pt x="137018" y="108072"/>
                          </a:lnTo>
                          <a:lnTo>
                            <a:pt x="120810" y="97605"/>
                          </a:lnTo>
                          <a:lnTo>
                            <a:pt x="119854" y="97007"/>
                          </a:lnTo>
                          <a:lnTo>
                            <a:pt x="119435" y="96768"/>
                          </a:lnTo>
                          <a:lnTo>
                            <a:pt x="67283" y="63276"/>
                          </a:lnTo>
                          <a:lnTo>
                            <a:pt x="48922" y="51494"/>
                          </a:lnTo>
                          <a:lnTo>
                            <a:pt x="7117" y="24641"/>
                          </a:lnTo>
                          <a:lnTo>
                            <a:pt x="6040" y="23923"/>
                          </a:lnTo>
                          <a:lnTo>
                            <a:pt x="1854" y="21292"/>
                          </a:lnTo>
                          <a:lnTo>
                            <a:pt x="12918" y="7237"/>
                          </a:lnTo>
                          <a:lnTo>
                            <a:pt x="11902" y="6579"/>
                          </a:lnTo>
                          <a:lnTo>
                            <a:pt x="0" y="21651"/>
                          </a:lnTo>
                        </a:path>
                      </a:pathLst>
                    </a:custGeom>
                    <a:noFill/>
                    <a:ln w="6350" cap="flat">
                      <a:solidFill>
                        <a:schemeClr val="bg1">
                          <a:alpha val="80000"/>
                        </a:schemeClr>
                      </a:solidFill>
                      <a:prstDash val="solid"/>
                      <a:miter/>
                    </a:ln>
                  </p:spPr>
                  <p:txBody>
                    <a:bodyPr rtlCol="0" anchor="ctr"/>
                    <a:lstStyle/>
                    <a:p>
                      <a:endParaRPr lang="en-GB"/>
                    </a:p>
                  </p:txBody>
                </p:sp>
                <p:sp>
                  <p:nvSpPr>
                    <p:cNvPr id="7531" name="Vrije vorm: vorm 7530">
                      <a:extLst>
                        <a:ext uri="{FF2B5EF4-FFF2-40B4-BE49-F238E27FC236}">
                          <a16:creationId xmlns:a16="http://schemas.microsoft.com/office/drawing/2014/main" id="{3219509D-53C0-4126-8CDC-35D00884A95D}"/>
                        </a:ext>
                      </a:extLst>
                    </p:cNvPr>
                    <p:cNvSpPr/>
                    <p:nvPr/>
                  </p:nvSpPr>
                  <p:spPr>
                    <a:xfrm>
                      <a:off x="4731668" y="5135207"/>
                      <a:ext cx="660809" cy="433243"/>
                    </a:xfrm>
                    <a:custGeom>
                      <a:avLst/>
                      <a:gdLst>
                        <a:gd name="connsiteX0" fmla="*/ 26853 w 660809"/>
                        <a:gd name="connsiteY0" fmla="*/ 19497 h 433243"/>
                        <a:gd name="connsiteX1" fmla="*/ 1854 w 660809"/>
                        <a:gd name="connsiteY1" fmla="*/ 3170 h 433243"/>
                        <a:gd name="connsiteX2" fmla="*/ 3110 w 660809"/>
                        <a:gd name="connsiteY2" fmla="*/ 1555 h 433243"/>
                        <a:gd name="connsiteX3" fmla="*/ 23803 w 660809"/>
                        <a:gd name="connsiteY3" fmla="*/ 15131 h 433243"/>
                        <a:gd name="connsiteX4" fmla="*/ 26196 w 660809"/>
                        <a:gd name="connsiteY4" fmla="*/ 16686 h 433243"/>
                        <a:gd name="connsiteX5" fmla="*/ 33851 w 660809"/>
                        <a:gd name="connsiteY5" fmla="*/ 21650 h 433243"/>
                        <a:gd name="connsiteX6" fmla="*/ 36183 w 660809"/>
                        <a:gd name="connsiteY6" fmla="*/ 23205 h 433243"/>
                        <a:gd name="connsiteX7" fmla="*/ 49879 w 660809"/>
                        <a:gd name="connsiteY7" fmla="*/ 32176 h 433243"/>
                        <a:gd name="connsiteX8" fmla="*/ 50896 w 660809"/>
                        <a:gd name="connsiteY8" fmla="*/ 32834 h 433243"/>
                        <a:gd name="connsiteX9" fmla="*/ 67104 w 660809"/>
                        <a:gd name="connsiteY9" fmla="*/ 43420 h 433243"/>
                        <a:gd name="connsiteX10" fmla="*/ 68121 w 660809"/>
                        <a:gd name="connsiteY10" fmla="*/ 44078 h 433243"/>
                        <a:gd name="connsiteX11" fmla="*/ 80859 w 660809"/>
                        <a:gd name="connsiteY11" fmla="*/ 52391 h 433243"/>
                        <a:gd name="connsiteX12" fmla="*/ 83072 w 660809"/>
                        <a:gd name="connsiteY12" fmla="*/ 53886 h 433243"/>
                        <a:gd name="connsiteX13" fmla="*/ 90309 w 660809"/>
                        <a:gd name="connsiteY13" fmla="*/ 58611 h 433243"/>
                        <a:gd name="connsiteX14" fmla="*/ 92522 w 660809"/>
                        <a:gd name="connsiteY14" fmla="*/ 60047 h 433243"/>
                        <a:gd name="connsiteX15" fmla="*/ 124339 w 660809"/>
                        <a:gd name="connsiteY15" fmla="*/ 80859 h 433243"/>
                        <a:gd name="connsiteX16" fmla="*/ 125296 w 660809"/>
                        <a:gd name="connsiteY16" fmla="*/ 81457 h 433243"/>
                        <a:gd name="connsiteX17" fmla="*/ 126552 w 660809"/>
                        <a:gd name="connsiteY17" fmla="*/ 82295 h 433243"/>
                        <a:gd name="connsiteX18" fmla="*/ 127509 w 660809"/>
                        <a:gd name="connsiteY18" fmla="*/ 82893 h 433243"/>
                        <a:gd name="connsiteX19" fmla="*/ 131396 w 660809"/>
                        <a:gd name="connsiteY19" fmla="*/ 85465 h 433243"/>
                        <a:gd name="connsiteX20" fmla="*/ 132353 w 660809"/>
                        <a:gd name="connsiteY20" fmla="*/ 86063 h 433243"/>
                        <a:gd name="connsiteX21" fmla="*/ 133550 w 660809"/>
                        <a:gd name="connsiteY21" fmla="*/ 86840 h 433243"/>
                        <a:gd name="connsiteX22" fmla="*/ 134506 w 660809"/>
                        <a:gd name="connsiteY22" fmla="*/ 87438 h 433243"/>
                        <a:gd name="connsiteX23" fmla="*/ 137915 w 660809"/>
                        <a:gd name="connsiteY23" fmla="*/ 89651 h 433243"/>
                        <a:gd name="connsiteX24" fmla="*/ 138872 w 660809"/>
                        <a:gd name="connsiteY24" fmla="*/ 90249 h 433243"/>
                        <a:gd name="connsiteX25" fmla="*/ 140068 w 660809"/>
                        <a:gd name="connsiteY25" fmla="*/ 91027 h 433243"/>
                        <a:gd name="connsiteX26" fmla="*/ 140966 w 660809"/>
                        <a:gd name="connsiteY26" fmla="*/ 91625 h 433243"/>
                        <a:gd name="connsiteX27" fmla="*/ 263989 w 660809"/>
                        <a:gd name="connsiteY27" fmla="*/ 172125 h 433243"/>
                        <a:gd name="connsiteX28" fmla="*/ 265843 w 660809"/>
                        <a:gd name="connsiteY28" fmla="*/ 173322 h 433243"/>
                        <a:gd name="connsiteX29" fmla="*/ 271764 w 660809"/>
                        <a:gd name="connsiteY29" fmla="*/ 177209 h 433243"/>
                        <a:gd name="connsiteX30" fmla="*/ 273618 w 660809"/>
                        <a:gd name="connsiteY30" fmla="*/ 178405 h 433243"/>
                        <a:gd name="connsiteX31" fmla="*/ 284323 w 660809"/>
                        <a:gd name="connsiteY31" fmla="*/ 185402 h 433243"/>
                        <a:gd name="connsiteX32" fmla="*/ 285101 w 660809"/>
                        <a:gd name="connsiteY32" fmla="*/ 185941 h 433243"/>
                        <a:gd name="connsiteX33" fmla="*/ 297780 w 660809"/>
                        <a:gd name="connsiteY33" fmla="*/ 194254 h 433243"/>
                        <a:gd name="connsiteX34" fmla="*/ 298558 w 660809"/>
                        <a:gd name="connsiteY34" fmla="*/ 194792 h 433243"/>
                        <a:gd name="connsiteX35" fmla="*/ 308545 w 660809"/>
                        <a:gd name="connsiteY35" fmla="*/ 201311 h 433243"/>
                        <a:gd name="connsiteX36" fmla="*/ 310280 w 660809"/>
                        <a:gd name="connsiteY36" fmla="*/ 202448 h 433243"/>
                        <a:gd name="connsiteX37" fmla="*/ 315962 w 660809"/>
                        <a:gd name="connsiteY37" fmla="*/ 206156 h 433243"/>
                        <a:gd name="connsiteX38" fmla="*/ 317696 w 660809"/>
                        <a:gd name="connsiteY38" fmla="*/ 207292 h 433243"/>
                        <a:gd name="connsiteX39" fmla="*/ 341021 w 660809"/>
                        <a:gd name="connsiteY39" fmla="*/ 222543 h 433243"/>
                        <a:gd name="connsiteX40" fmla="*/ 341798 w 660809"/>
                        <a:gd name="connsiteY40" fmla="*/ 223021 h 433243"/>
                        <a:gd name="connsiteX41" fmla="*/ 342755 w 660809"/>
                        <a:gd name="connsiteY41" fmla="*/ 223679 h 433243"/>
                        <a:gd name="connsiteX42" fmla="*/ 343533 w 660809"/>
                        <a:gd name="connsiteY42" fmla="*/ 224158 h 433243"/>
                        <a:gd name="connsiteX43" fmla="*/ 346942 w 660809"/>
                        <a:gd name="connsiteY43" fmla="*/ 226371 h 433243"/>
                        <a:gd name="connsiteX44" fmla="*/ 347659 w 660809"/>
                        <a:gd name="connsiteY44" fmla="*/ 226849 h 433243"/>
                        <a:gd name="connsiteX45" fmla="*/ 348616 w 660809"/>
                        <a:gd name="connsiteY45" fmla="*/ 227507 h 433243"/>
                        <a:gd name="connsiteX46" fmla="*/ 349334 w 660809"/>
                        <a:gd name="connsiteY46" fmla="*/ 227985 h 433243"/>
                        <a:gd name="connsiteX47" fmla="*/ 352264 w 660809"/>
                        <a:gd name="connsiteY47" fmla="*/ 229899 h 433243"/>
                        <a:gd name="connsiteX48" fmla="*/ 352982 w 660809"/>
                        <a:gd name="connsiteY48" fmla="*/ 230378 h 433243"/>
                        <a:gd name="connsiteX49" fmla="*/ 353939 w 660809"/>
                        <a:gd name="connsiteY49" fmla="*/ 230975 h 433243"/>
                        <a:gd name="connsiteX50" fmla="*/ 354657 w 660809"/>
                        <a:gd name="connsiteY50" fmla="*/ 231454 h 433243"/>
                        <a:gd name="connsiteX51" fmla="*/ 574030 w 660809"/>
                        <a:gd name="connsiteY51" fmla="*/ 374991 h 433243"/>
                        <a:gd name="connsiteX52" fmla="*/ 575286 w 660809"/>
                        <a:gd name="connsiteY52" fmla="*/ 375829 h 433243"/>
                        <a:gd name="connsiteX53" fmla="*/ 579353 w 660809"/>
                        <a:gd name="connsiteY53" fmla="*/ 378520 h 433243"/>
                        <a:gd name="connsiteX54" fmla="*/ 580609 w 660809"/>
                        <a:gd name="connsiteY54" fmla="*/ 379357 h 433243"/>
                        <a:gd name="connsiteX55" fmla="*/ 587965 w 660809"/>
                        <a:gd name="connsiteY55" fmla="*/ 384201 h 433243"/>
                        <a:gd name="connsiteX56" fmla="*/ 588503 w 660809"/>
                        <a:gd name="connsiteY56" fmla="*/ 384561 h 433243"/>
                        <a:gd name="connsiteX57" fmla="*/ 597235 w 660809"/>
                        <a:gd name="connsiteY57" fmla="*/ 390242 h 433243"/>
                        <a:gd name="connsiteX58" fmla="*/ 597773 w 660809"/>
                        <a:gd name="connsiteY58" fmla="*/ 390601 h 433243"/>
                        <a:gd name="connsiteX59" fmla="*/ 604651 w 660809"/>
                        <a:gd name="connsiteY59" fmla="*/ 395086 h 433243"/>
                        <a:gd name="connsiteX60" fmla="*/ 605847 w 660809"/>
                        <a:gd name="connsiteY60" fmla="*/ 395864 h 433243"/>
                        <a:gd name="connsiteX61" fmla="*/ 609735 w 660809"/>
                        <a:gd name="connsiteY61" fmla="*/ 398436 h 433243"/>
                        <a:gd name="connsiteX62" fmla="*/ 610931 w 660809"/>
                        <a:gd name="connsiteY62" fmla="*/ 399213 h 433243"/>
                        <a:gd name="connsiteX63" fmla="*/ 626959 w 660809"/>
                        <a:gd name="connsiteY63" fmla="*/ 409679 h 433243"/>
                        <a:gd name="connsiteX64" fmla="*/ 627497 w 660809"/>
                        <a:gd name="connsiteY64" fmla="*/ 410038 h 433243"/>
                        <a:gd name="connsiteX65" fmla="*/ 628215 w 660809"/>
                        <a:gd name="connsiteY65" fmla="*/ 410517 h 433243"/>
                        <a:gd name="connsiteX66" fmla="*/ 628753 w 660809"/>
                        <a:gd name="connsiteY66" fmla="*/ 410876 h 433243"/>
                        <a:gd name="connsiteX67" fmla="*/ 631205 w 660809"/>
                        <a:gd name="connsiteY67" fmla="*/ 412491 h 433243"/>
                        <a:gd name="connsiteX68" fmla="*/ 631684 w 660809"/>
                        <a:gd name="connsiteY68" fmla="*/ 412849 h 433243"/>
                        <a:gd name="connsiteX69" fmla="*/ 632342 w 660809"/>
                        <a:gd name="connsiteY69" fmla="*/ 413268 h 433243"/>
                        <a:gd name="connsiteX70" fmla="*/ 632880 w 660809"/>
                        <a:gd name="connsiteY70" fmla="*/ 413627 h 433243"/>
                        <a:gd name="connsiteX71" fmla="*/ 634973 w 660809"/>
                        <a:gd name="connsiteY71" fmla="*/ 415002 h 433243"/>
                        <a:gd name="connsiteX72" fmla="*/ 635512 w 660809"/>
                        <a:gd name="connsiteY72" fmla="*/ 415361 h 433243"/>
                        <a:gd name="connsiteX73" fmla="*/ 636169 w 660809"/>
                        <a:gd name="connsiteY73" fmla="*/ 415780 h 433243"/>
                        <a:gd name="connsiteX74" fmla="*/ 636707 w 660809"/>
                        <a:gd name="connsiteY74" fmla="*/ 416139 h 433243"/>
                        <a:gd name="connsiteX75" fmla="*/ 659733 w 660809"/>
                        <a:gd name="connsiteY75" fmla="*/ 431210 h 433243"/>
                        <a:gd name="connsiteX76" fmla="*/ 658896 w 660809"/>
                        <a:gd name="connsiteY76" fmla="*/ 432287 h 433243"/>
                        <a:gd name="connsiteX77" fmla="*/ 635811 w 660809"/>
                        <a:gd name="connsiteY77" fmla="*/ 417215 h 433243"/>
                        <a:gd name="connsiteX78" fmla="*/ 635272 w 660809"/>
                        <a:gd name="connsiteY78" fmla="*/ 416856 h 433243"/>
                        <a:gd name="connsiteX79" fmla="*/ 634614 w 660809"/>
                        <a:gd name="connsiteY79" fmla="*/ 416438 h 433243"/>
                        <a:gd name="connsiteX80" fmla="*/ 634076 w 660809"/>
                        <a:gd name="connsiteY80" fmla="*/ 416079 h 433243"/>
                        <a:gd name="connsiteX81" fmla="*/ 631983 w 660809"/>
                        <a:gd name="connsiteY81" fmla="*/ 414703 h 433243"/>
                        <a:gd name="connsiteX82" fmla="*/ 631445 w 660809"/>
                        <a:gd name="connsiteY82" fmla="*/ 414345 h 433243"/>
                        <a:gd name="connsiteX83" fmla="*/ 630787 w 660809"/>
                        <a:gd name="connsiteY83" fmla="*/ 413926 h 433243"/>
                        <a:gd name="connsiteX84" fmla="*/ 630249 w 660809"/>
                        <a:gd name="connsiteY84" fmla="*/ 413567 h 433243"/>
                        <a:gd name="connsiteX85" fmla="*/ 627736 w 660809"/>
                        <a:gd name="connsiteY85" fmla="*/ 411952 h 433243"/>
                        <a:gd name="connsiteX86" fmla="*/ 627198 w 660809"/>
                        <a:gd name="connsiteY86" fmla="*/ 411593 h 433243"/>
                        <a:gd name="connsiteX87" fmla="*/ 626481 w 660809"/>
                        <a:gd name="connsiteY87" fmla="*/ 411115 h 433243"/>
                        <a:gd name="connsiteX88" fmla="*/ 625942 w 660809"/>
                        <a:gd name="connsiteY88" fmla="*/ 410756 h 433243"/>
                        <a:gd name="connsiteX89" fmla="*/ 607881 w 660809"/>
                        <a:gd name="connsiteY89" fmla="*/ 398974 h 433243"/>
                        <a:gd name="connsiteX90" fmla="*/ 605907 w 660809"/>
                        <a:gd name="connsiteY90" fmla="*/ 397718 h 433243"/>
                        <a:gd name="connsiteX91" fmla="*/ 596816 w 660809"/>
                        <a:gd name="connsiteY91" fmla="*/ 391797 h 433243"/>
                        <a:gd name="connsiteX92" fmla="*/ 596278 w 660809"/>
                        <a:gd name="connsiteY92" fmla="*/ 391438 h 433243"/>
                        <a:gd name="connsiteX93" fmla="*/ 587546 w 660809"/>
                        <a:gd name="connsiteY93" fmla="*/ 385757 h 433243"/>
                        <a:gd name="connsiteX94" fmla="*/ 587008 w 660809"/>
                        <a:gd name="connsiteY94" fmla="*/ 385398 h 433243"/>
                        <a:gd name="connsiteX95" fmla="*/ 577379 w 660809"/>
                        <a:gd name="connsiteY95" fmla="*/ 379118 h 433243"/>
                        <a:gd name="connsiteX96" fmla="*/ 575346 w 660809"/>
                        <a:gd name="connsiteY96" fmla="*/ 377802 h 433243"/>
                        <a:gd name="connsiteX97" fmla="*/ 353580 w 660809"/>
                        <a:gd name="connsiteY97" fmla="*/ 232949 h 433243"/>
                        <a:gd name="connsiteX98" fmla="*/ 352863 w 660809"/>
                        <a:gd name="connsiteY98" fmla="*/ 232471 h 433243"/>
                        <a:gd name="connsiteX99" fmla="*/ 351906 w 660809"/>
                        <a:gd name="connsiteY99" fmla="*/ 231873 h 433243"/>
                        <a:gd name="connsiteX100" fmla="*/ 351188 w 660809"/>
                        <a:gd name="connsiteY100" fmla="*/ 231394 h 433243"/>
                        <a:gd name="connsiteX101" fmla="*/ 348197 w 660809"/>
                        <a:gd name="connsiteY101" fmla="*/ 229480 h 433243"/>
                        <a:gd name="connsiteX102" fmla="*/ 347480 w 660809"/>
                        <a:gd name="connsiteY102" fmla="*/ 229002 h 433243"/>
                        <a:gd name="connsiteX103" fmla="*/ 346523 w 660809"/>
                        <a:gd name="connsiteY103" fmla="*/ 228404 h 433243"/>
                        <a:gd name="connsiteX104" fmla="*/ 345805 w 660809"/>
                        <a:gd name="connsiteY104" fmla="*/ 227926 h 433243"/>
                        <a:gd name="connsiteX105" fmla="*/ 342337 w 660809"/>
                        <a:gd name="connsiteY105" fmla="*/ 225653 h 433243"/>
                        <a:gd name="connsiteX106" fmla="*/ 341559 w 660809"/>
                        <a:gd name="connsiteY106" fmla="*/ 225174 h 433243"/>
                        <a:gd name="connsiteX107" fmla="*/ 340602 w 660809"/>
                        <a:gd name="connsiteY107" fmla="*/ 224517 h 433243"/>
                        <a:gd name="connsiteX108" fmla="*/ 339825 w 660809"/>
                        <a:gd name="connsiteY108" fmla="*/ 224038 h 433243"/>
                        <a:gd name="connsiteX109" fmla="*/ 313450 w 660809"/>
                        <a:gd name="connsiteY109" fmla="*/ 206813 h 433243"/>
                        <a:gd name="connsiteX110" fmla="*/ 310639 w 660809"/>
                        <a:gd name="connsiteY110" fmla="*/ 204959 h 433243"/>
                        <a:gd name="connsiteX111" fmla="*/ 297481 w 660809"/>
                        <a:gd name="connsiteY111" fmla="*/ 196347 h 433243"/>
                        <a:gd name="connsiteX112" fmla="*/ 296704 w 660809"/>
                        <a:gd name="connsiteY112" fmla="*/ 195809 h 433243"/>
                        <a:gd name="connsiteX113" fmla="*/ 284024 w 660809"/>
                        <a:gd name="connsiteY113" fmla="*/ 187556 h 433243"/>
                        <a:gd name="connsiteX114" fmla="*/ 283247 w 660809"/>
                        <a:gd name="connsiteY114" fmla="*/ 187017 h 433243"/>
                        <a:gd name="connsiteX115" fmla="*/ 269192 w 660809"/>
                        <a:gd name="connsiteY115" fmla="*/ 177867 h 433243"/>
                        <a:gd name="connsiteX116" fmla="*/ 266202 w 660809"/>
                        <a:gd name="connsiteY116" fmla="*/ 175953 h 433243"/>
                        <a:gd name="connsiteX117" fmla="*/ 139710 w 660809"/>
                        <a:gd name="connsiteY117" fmla="*/ 93359 h 433243"/>
                        <a:gd name="connsiteX118" fmla="*/ 138812 w 660809"/>
                        <a:gd name="connsiteY118" fmla="*/ 92761 h 433243"/>
                        <a:gd name="connsiteX119" fmla="*/ 137616 w 660809"/>
                        <a:gd name="connsiteY119" fmla="*/ 91984 h 433243"/>
                        <a:gd name="connsiteX120" fmla="*/ 136659 w 660809"/>
                        <a:gd name="connsiteY120" fmla="*/ 91386 h 433243"/>
                        <a:gd name="connsiteX121" fmla="*/ 133190 w 660809"/>
                        <a:gd name="connsiteY121" fmla="*/ 89113 h 433243"/>
                        <a:gd name="connsiteX122" fmla="*/ 132234 w 660809"/>
                        <a:gd name="connsiteY122" fmla="*/ 88515 h 433243"/>
                        <a:gd name="connsiteX123" fmla="*/ 131037 w 660809"/>
                        <a:gd name="connsiteY123" fmla="*/ 87737 h 433243"/>
                        <a:gd name="connsiteX124" fmla="*/ 130081 w 660809"/>
                        <a:gd name="connsiteY124" fmla="*/ 87139 h 433243"/>
                        <a:gd name="connsiteX125" fmla="*/ 126074 w 660809"/>
                        <a:gd name="connsiteY125" fmla="*/ 84508 h 433243"/>
                        <a:gd name="connsiteX126" fmla="*/ 125117 w 660809"/>
                        <a:gd name="connsiteY126" fmla="*/ 83910 h 433243"/>
                        <a:gd name="connsiteX127" fmla="*/ 123861 w 660809"/>
                        <a:gd name="connsiteY127" fmla="*/ 83072 h 433243"/>
                        <a:gd name="connsiteX128" fmla="*/ 122904 w 660809"/>
                        <a:gd name="connsiteY128" fmla="*/ 82474 h 433243"/>
                        <a:gd name="connsiteX129" fmla="*/ 87199 w 660809"/>
                        <a:gd name="connsiteY129" fmla="*/ 59149 h 433243"/>
                        <a:gd name="connsiteX130" fmla="*/ 83610 w 660809"/>
                        <a:gd name="connsiteY130" fmla="*/ 56817 h 433243"/>
                        <a:gd name="connsiteX131" fmla="*/ 66805 w 660809"/>
                        <a:gd name="connsiteY131" fmla="*/ 45872 h 433243"/>
                        <a:gd name="connsiteX132" fmla="*/ 65788 w 660809"/>
                        <a:gd name="connsiteY132" fmla="*/ 45214 h 433243"/>
                        <a:gd name="connsiteX133" fmla="*/ 49580 w 660809"/>
                        <a:gd name="connsiteY133" fmla="*/ 34629 h 433243"/>
                        <a:gd name="connsiteX134" fmla="*/ 48563 w 660809"/>
                        <a:gd name="connsiteY134" fmla="*/ 33970 h 433243"/>
                        <a:gd name="connsiteX135" fmla="*/ 30621 w 660809"/>
                        <a:gd name="connsiteY135" fmla="*/ 22248 h 433243"/>
                        <a:gd name="connsiteX136" fmla="*/ 26853 w 660809"/>
                        <a:gd name="connsiteY136" fmla="*/ 19497 h 433243"/>
                        <a:gd name="connsiteX137" fmla="*/ 0 w 660809"/>
                        <a:gd name="connsiteY137" fmla="*/ 3529 h 433243"/>
                        <a:gd name="connsiteX138" fmla="*/ 1017 w 660809"/>
                        <a:gd name="connsiteY138" fmla="*/ 4187 h 433243"/>
                        <a:gd name="connsiteX139" fmla="*/ 47846 w 660809"/>
                        <a:gd name="connsiteY139" fmla="*/ 34748 h 433243"/>
                        <a:gd name="connsiteX140" fmla="*/ 48862 w 660809"/>
                        <a:gd name="connsiteY140" fmla="*/ 35406 h 433243"/>
                        <a:gd name="connsiteX141" fmla="*/ 65070 w 660809"/>
                        <a:gd name="connsiteY141" fmla="*/ 45992 h 433243"/>
                        <a:gd name="connsiteX142" fmla="*/ 66087 w 660809"/>
                        <a:gd name="connsiteY142" fmla="*/ 46650 h 433243"/>
                        <a:gd name="connsiteX143" fmla="*/ 122066 w 660809"/>
                        <a:gd name="connsiteY143" fmla="*/ 83192 h 433243"/>
                        <a:gd name="connsiteX144" fmla="*/ 123024 w 660809"/>
                        <a:gd name="connsiteY144" fmla="*/ 83790 h 433243"/>
                        <a:gd name="connsiteX145" fmla="*/ 124279 w 660809"/>
                        <a:gd name="connsiteY145" fmla="*/ 84627 h 433243"/>
                        <a:gd name="connsiteX146" fmla="*/ 125236 w 660809"/>
                        <a:gd name="connsiteY146" fmla="*/ 85225 h 433243"/>
                        <a:gd name="connsiteX147" fmla="*/ 129303 w 660809"/>
                        <a:gd name="connsiteY147" fmla="*/ 87857 h 433243"/>
                        <a:gd name="connsiteX148" fmla="*/ 130260 w 660809"/>
                        <a:gd name="connsiteY148" fmla="*/ 88455 h 433243"/>
                        <a:gd name="connsiteX149" fmla="*/ 131456 w 660809"/>
                        <a:gd name="connsiteY149" fmla="*/ 89233 h 433243"/>
                        <a:gd name="connsiteX150" fmla="*/ 132413 w 660809"/>
                        <a:gd name="connsiteY150" fmla="*/ 89831 h 433243"/>
                        <a:gd name="connsiteX151" fmla="*/ 135882 w 660809"/>
                        <a:gd name="connsiteY151" fmla="*/ 92103 h 433243"/>
                        <a:gd name="connsiteX152" fmla="*/ 136839 w 660809"/>
                        <a:gd name="connsiteY152" fmla="*/ 92701 h 433243"/>
                        <a:gd name="connsiteX153" fmla="*/ 138035 w 660809"/>
                        <a:gd name="connsiteY153" fmla="*/ 93479 h 433243"/>
                        <a:gd name="connsiteX154" fmla="*/ 138932 w 660809"/>
                        <a:gd name="connsiteY154" fmla="*/ 94077 h 433243"/>
                        <a:gd name="connsiteX155" fmla="*/ 282529 w 660809"/>
                        <a:gd name="connsiteY155" fmla="*/ 187735 h 433243"/>
                        <a:gd name="connsiteX156" fmla="*/ 283307 w 660809"/>
                        <a:gd name="connsiteY156" fmla="*/ 188273 h 433243"/>
                        <a:gd name="connsiteX157" fmla="*/ 295986 w 660809"/>
                        <a:gd name="connsiteY157" fmla="*/ 196527 h 433243"/>
                        <a:gd name="connsiteX158" fmla="*/ 296763 w 660809"/>
                        <a:gd name="connsiteY158" fmla="*/ 197065 h 433243"/>
                        <a:gd name="connsiteX159" fmla="*/ 339047 w 660809"/>
                        <a:gd name="connsiteY159" fmla="*/ 224636 h 433243"/>
                        <a:gd name="connsiteX160" fmla="*/ 339825 w 660809"/>
                        <a:gd name="connsiteY160" fmla="*/ 225114 h 433243"/>
                        <a:gd name="connsiteX161" fmla="*/ 340781 w 660809"/>
                        <a:gd name="connsiteY161" fmla="*/ 225772 h 433243"/>
                        <a:gd name="connsiteX162" fmla="*/ 341499 w 660809"/>
                        <a:gd name="connsiteY162" fmla="*/ 226251 h 433243"/>
                        <a:gd name="connsiteX163" fmla="*/ 345028 w 660809"/>
                        <a:gd name="connsiteY163" fmla="*/ 228523 h 433243"/>
                        <a:gd name="connsiteX164" fmla="*/ 345746 w 660809"/>
                        <a:gd name="connsiteY164" fmla="*/ 229002 h 433243"/>
                        <a:gd name="connsiteX165" fmla="*/ 346702 w 660809"/>
                        <a:gd name="connsiteY165" fmla="*/ 229600 h 433243"/>
                        <a:gd name="connsiteX166" fmla="*/ 347420 w 660809"/>
                        <a:gd name="connsiteY166" fmla="*/ 230079 h 433243"/>
                        <a:gd name="connsiteX167" fmla="*/ 350410 w 660809"/>
                        <a:gd name="connsiteY167" fmla="*/ 232052 h 433243"/>
                        <a:gd name="connsiteX168" fmla="*/ 351128 w 660809"/>
                        <a:gd name="connsiteY168" fmla="*/ 232530 h 433243"/>
                        <a:gd name="connsiteX169" fmla="*/ 352085 w 660809"/>
                        <a:gd name="connsiteY169" fmla="*/ 233129 h 433243"/>
                        <a:gd name="connsiteX170" fmla="*/ 352803 w 660809"/>
                        <a:gd name="connsiteY170" fmla="*/ 233607 h 433243"/>
                        <a:gd name="connsiteX171" fmla="*/ 586350 w 660809"/>
                        <a:gd name="connsiteY171" fmla="*/ 385996 h 433243"/>
                        <a:gd name="connsiteX172" fmla="*/ 586888 w 660809"/>
                        <a:gd name="connsiteY172" fmla="*/ 386355 h 433243"/>
                        <a:gd name="connsiteX173" fmla="*/ 595620 w 660809"/>
                        <a:gd name="connsiteY173" fmla="*/ 392037 h 433243"/>
                        <a:gd name="connsiteX174" fmla="*/ 596158 w 660809"/>
                        <a:gd name="connsiteY174" fmla="*/ 392395 h 433243"/>
                        <a:gd name="connsiteX175" fmla="*/ 625225 w 660809"/>
                        <a:gd name="connsiteY175" fmla="*/ 411354 h 433243"/>
                        <a:gd name="connsiteX176" fmla="*/ 625763 w 660809"/>
                        <a:gd name="connsiteY176" fmla="*/ 411713 h 433243"/>
                        <a:gd name="connsiteX177" fmla="*/ 626481 w 660809"/>
                        <a:gd name="connsiteY177" fmla="*/ 412192 h 433243"/>
                        <a:gd name="connsiteX178" fmla="*/ 627019 w 660809"/>
                        <a:gd name="connsiteY178" fmla="*/ 412550 h 433243"/>
                        <a:gd name="connsiteX179" fmla="*/ 629590 w 660809"/>
                        <a:gd name="connsiteY179" fmla="*/ 414225 h 433243"/>
                        <a:gd name="connsiteX180" fmla="*/ 630129 w 660809"/>
                        <a:gd name="connsiteY180" fmla="*/ 414584 h 433243"/>
                        <a:gd name="connsiteX181" fmla="*/ 630787 w 660809"/>
                        <a:gd name="connsiteY181" fmla="*/ 415002 h 433243"/>
                        <a:gd name="connsiteX182" fmla="*/ 631325 w 660809"/>
                        <a:gd name="connsiteY182" fmla="*/ 415361 h 433243"/>
                        <a:gd name="connsiteX183" fmla="*/ 633478 w 660809"/>
                        <a:gd name="connsiteY183" fmla="*/ 416737 h 433243"/>
                        <a:gd name="connsiteX184" fmla="*/ 634016 w 660809"/>
                        <a:gd name="connsiteY184" fmla="*/ 417095 h 433243"/>
                        <a:gd name="connsiteX185" fmla="*/ 634674 w 660809"/>
                        <a:gd name="connsiteY185" fmla="*/ 417514 h 433243"/>
                        <a:gd name="connsiteX186" fmla="*/ 635212 w 660809"/>
                        <a:gd name="connsiteY186" fmla="*/ 417873 h 433243"/>
                        <a:gd name="connsiteX187" fmla="*/ 658358 w 660809"/>
                        <a:gd name="connsiteY187" fmla="*/ 432945 h 433243"/>
                        <a:gd name="connsiteX188" fmla="*/ 658836 w 660809"/>
                        <a:gd name="connsiteY188" fmla="*/ 433243 h 433243"/>
                        <a:gd name="connsiteX189" fmla="*/ 660810 w 660809"/>
                        <a:gd name="connsiteY189" fmla="*/ 430732 h 433243"/>
                        <a:gd name="connsiteX190" fmla="*/ 660331 w 660809"/>
                        <a:gd name="connsiteY190" fmla="*/ 430433 h 433243"/>
                        <a:gd name="connsiteX191" fmla="*/ 637366 w 660809"/>
                        <a:gd name="connsiteY191" fmla="*/ 415361 h 433243"/>
                        <a:gd name="connsiteX192" fmla="*/ 636827 w 660809"/>
                        <a:gd name="connsiteY192" fmla="*/ 415002 h 433243"/>
                        <a:gd name="connsiteX193" fmla="*/ 636169 w 660809"/>
                        <a:gd name="connsiteY193" fmla="*/ 414584 h 433243"/>
                        <a:gd name="connsiteX194" fmla="*/ 635631 w 660809"/>
                        <a:gd name="connsiteY194" fmla="*/ 414225 h 433243"/>
                        <a:gd name="connsiteX195" fmla="*/ 633538 w 660809"/>
                        <a:gd name="connsiteY195" fmla="*/ 412849 h 433243"/>
                        <a:gd name="connsiteX196" fmla="*/ 632999 w 660809"/>
                        <a:gd name="connsiteY196" fmla="*/ 412491 h 433243"/>
                        <a:gd name="connsiteX197" fmla="*/ 632342 w 660809"/>
                        <a:gd name="connsiteY197" fmla="*/ 412072 h 433243"/>
                        <a:gd name="connsiteX198" fmla="*/ 631863 w 660809"/>
                        <a:gd name="connsiteY198" fmla="*/ 411773 h 433243"/>
                        <a:gd name="connsiteX199" fmla="*/ 629471 w 660809"/>
                        <a:gd name="connsiteY199" fmla="*/ 410218 h 433243"/>
                        <a:gd name="connsiteX200" fmla="*/ 628933 w 660809"/>
                        <a:gd name="connsiteY200" fmla="*/ 409859 h 433243"/>
                        <a:gd name="connsiteX201" fmla="*/ 628215 w 660809"/>
                        <a:gd name="connsiteY201" fmla="*/ 409380 h 433243"/>
                        <a:gd name="connsiteX202" fmla="*/ 627677 w 660809"/>
                        <a:gd name="connsiteY202" fmla="*/ 409022 h 433243"/>
                        <a:gd name="connsiteX203" fmla="*/ 612306 w 660809"/>
                        <a:gd name="connsiteY203" fmla="*/ 398974 h 433243"/>
                        <a:gd name="connsiteX204" fmla="*/ 611409 w 660809"/>
                        <a:gd name="connsiteY204" fmla="*/ 398376 h 433243"/>
                        <a:gd name="connsiteX205" fmla="*/ 605369 w 660809"/>
                        <a:gd name="connsiteY205" fmla="*/ 394429 h 433243"/>
                        <a:gd name="connsiteX206" fmla="*/ 604472 w 660809"/>
                        <a:gd name="connsiteY206" fmla="*/ 393831 h 433243"/>
                        <a:gd name="connsiteX207" fmla="*/ 598311 w 660809"/>
                        <a:gd name="connsiteY207" fmla="*/ 389823 h 433243"/>
                        <a:gd name="connsiteX208" fmla="*/ 597773 w 660809"/>
                        <a:gd name="connsiteY208" fmla="*/ 389465 h 433243"/>
                        <a:gd name="connsiteX209" fmla="*/ 589041 w 660809"/>
                        <a:gd name="connsiteY209" fmla="*/ 383783 h 433243"/>
                        <a:gd name="connsiteX210" fmla="*/ 588503 w 660809"/>
                        <a:gd name="connsiteY210" fmla="*/ 383424 h 433243"/>
                        <a:gd name="connsiteX211" fmla="*/ 581924 w 660809"/>
                        <a:gd name="connsiteY211" fmla="*/ 379118 h 433243"/>
                        <a:gd name="connsiteX212" fmla="*/ 581027 w 660809"/>
                        <a:gd name="connsiteY212" fmla="*/ 378520 h 433243"/>
                        <a:gd name="connsiteX213" fmla="*/ 574747 w 660809"/>
                        <a:gd name="connsiteY213" fmla="*/ 374393 h 433243"/>
                        <a:gd name="connsiteX214" fmla="*/ 573791 w 660809"/>
                        <a:gd name="connsiteY214" fmla="*/ 373795 h 433243"/>
                        <a:gd name="connsiteX215" fmla="*/ 355315 w 660809"/>
                        <a:gd name="connsiteY215" fmla="*/ 230676 h 433243"/>
                        <a:gd name="connsiteX216" fmla="*/ 354597 w 660809"/>
                        <a:gd name="connsiteY216" fmla="*/ 230198 h 433243"/>
                        <a:gd name="connsiteX217" fmla="*/ 353640 w 660809"/>
                        <a:gd name="connsiteY217" fmla="*/ 229600 h 433243"/>
                        <a:gd name="connsiteX218" fmla="*/ 352922 w 660809"/>
                        <a:gd name="connsiteY218" fmla="*/ 229121 h 433243"/>
                        <a:gd name="connsiteX219" fmla="*/ 349992 w 660809"/>
                        <a:gd name="connsiteY219" fmla="*/ 227208 h 433243"/>
                        <a:gd name="connsiteX220" fmla="*/ 349274 w 660809"/>
                        <a:gd name="connsiteY220" fmla="*/ 226729 h 433243"/>
                        <a:gd name="connsiteX221" fmla="*/ 348317 w 660809"/>
                        <a:gd name="connsiteY221" fmla="*/ 226072 h 433243"/>
                        <a:gd name="connsiteX222" fmla="*/ 347600 w 660809"/>
                        <a:gd name="connsiteY222" fmla="*/ 225593 h 433243"/>
                        <a:gd name="connsiteX223" fmla="*/ 344250 w 660809"/>
                        <a:gd name="connsiteY223" fmla="*/ 223380 h 433243"/>
                        <a:gd name="connsiteX224" fmla="*/ 343473 w 660809"/>
                        <a:gd name="connsiteY224" fmla="*/ 222902 h 433243"/>
                        <a:gd name="connsiteX225" fmla="*/ 342516 w 660809"/>
                        <a:gd name="connsiteY225" fmla="*/ 222244 h 433243"/>
                        <a:gd name="connsiteX226" fmla="*/ 341739 w 660809"/>
                        <a:gd name="connsiteY226" fmla="*/ 221765 h 433243"/>
                        <a:gd name="connsiteX227" fmla="*/ 319430 w 660809"/>
                        <a:gd name="connsiteY227" fmla="*/ 207172 h 433243"/>
                        <a:gd name="connsiteX228" fmla="*/ 318175 w 660809"/>
                        <a:gd name="connsiteY228" fmla="*/ 206335 h 433243"/>
                        <a:gd name="connsiteX229" fmla="*/ 309443 w 660809"/>
                        <a:gd name="connsiteY229" fmla="*/ 200653 h 433243"/>
                        <a:gd name="connsiteX230" fmla="*/ 308127 w 660809"/>
                        <a:gd name="connsiteY230" fmla="*/ 199816 h 433243"/>
                        <a:gd name="connsiteX231" fmla="*/ 299215 w 660809"/>
                        <a:gd name="connsiteY231" fmla="*/ 194015 h 433243"/>
                        <a:gd name="connsiteX232" fmla="*/ 298438 w 660809"/>
                        <a:gd name="connsiteY232" fmla="*/ 193477 h 433243"/>
                        <a:gd name="connsiteX233" fmla="*/ 285759 w 660809"/>
                        <a:gd name="connsiteY233" fmla="*/ 185163 h 433243"/>
                        <a:gd name="connsiteX234" fmla="*/ 284981 w 660809"/>
                        <a:gd name="connsiteY234" fmla="*/ 184625 h 433243"/>
                        <a:gd name="connsiteX235" fmla="*/ 275412 w 660809"/>
                        <a:gd name="connsiteY235" fmla="*/ 178345 h 433243"/>
                        <a:gd name="connsiteX236" fmla="*/ 274037 w 660809"/>
                        <a:gd name="connsiteY236" fmla="*/ 177448 h 433243"/>
                        <a:gd name="connsiteX237" fmla="*/ 264886 w 660809"/>
                        <a:gd name="connsiteY237" fmla="*/ 171468 h 433243"/>
                        <a:gd name="connsiteX238" fmla="*/ 263511 w 660809"/>
                        <a:gd name="connsiteY238" fmla="*/ 170570 h 433243"/>
                        <a:gd name="connsiteX239" fmla="*/ 141743 w 660809"/>
                        <a:gd name="connsiteY239" fmla="*/ 90787 h 433243"/>
                        <a:gd name="connsiteX240" fmla="*/ 140846 w 660809"/>
                        <a:gd name="connsiteY240" fmla="*/ 90189 h 433243"/>
                        <a:gd name="connsiteX241" fmla="*/ 139650 w 660809"/>
                        <a:gd name="connsiteY241" fmla="*/ 89412 h 433243"/>
                        <a:gd name="connsiteX242" fmla="*/ 138753 w 660809"/>
                        <a:gd name="connsiteY242" fmla="*/ 88814 h 433243"/>
                        <a:gd name="connsiteX243" fmla="*/ 135344 w 660809"/>
                        <a:gd name="connsiteY243" fmla="*/ 86601 h 433243"/>
                        <a:gd name="connsiteX244" fmla="*/ 134387 w 660809"/>
                        <a:gd name="connsiteY244" fmla="*/ 86003 h 433243"/>
                        <a:gd name="connsiteX245" fmla="*/ 133190 w 660809"/>
                        <a:gd name="connsiteY245" fmla="*/ 85225 h 433243"/>
                        <a:gd name="connsiteX246" fmla="*/ 132234 w 660809"/>
                        <a:gd name="connsiteY246" fmla="*/ 84627 h 433243"/>
                        <a:gd name="connsiteX247" fmla="*/ 128406 w 660809"/>
                        <a:gd name="connsiteY247" fmla="*/ 82116 h 433243"/>
                        <a:gd name="connsiteX248" fmla="*/ 127509 w 660809"/>
                        <a:gd name="connsiteY248" fmla="*/ 81517 h 433243"/>
                        <a:gd name="connsiteX249" fmla="*/ 126253 w 660809"/>
                        <a:gd name="connsiteY249" fmla="*/ 80680 h 433243"/>
                        <a:gd name="connsiteX250" fmla="*/ 125296 w 660809"/>
                        <a:gd name="connsiteY250" fmla="*/ 80082 h 433243"/>
                        <a:gd name="connsiteX251" fmla="*/ 94675 w 660809"/>
                        <a:gd name="connsiteY251" fmla="*/ 60047 h 433243"/>
                        <a:gd name="connsiteX252" fmla="*/ 93000 w 660809"/>
                        <a:gd name="connsiteY252" fmla="*/ 58970 h 433243"/>
                        <a:gd name="connsiteX253" fmla="*/ 81936 w 660809"/>
                        <a:gd name="connsiteY253" fmla="*/ 51674 h 433243"/>
                        <a:gd name="connsiteX254" fmla="*/ 80261 w 660809"/>
                        <a:gd name="connsiteY254" fmla="*/ 50597 h 433243"/>
                        <a:gd name="connsiteX255" fmla="*/ 68898 w 660809"/>
                        <a:gd name="connsiteY255" fmla="*/ 43181 h 433243"/>
                        <a:gd name="connsiteX256" fmla="*/ 67881 w 660809"/>
                        <a:gd name="connsiteY256" fmla="*/ 42523 h 433243"/>
                        <a:gd name="connsiteX257" fmla="*/ 51674 w 660809"/>
                        <a:gd name="connsiteY257" fmla="*/ 31937 h 433243"/>
                        <a:gd name="connsiteX258" fmla="*/ 50657 w 660809"/>
                        <a:gd name="connsiteY258" fmla="*/ 31279 h 433243"/>
                        <a:gd name="connsiteX259" fmla="*/ 38396 w 660809"/>
                        <a:gd name="connsiteY259" fmla="*/ 23265 h 433243"/>
                        <a:gd name="connsiteX260" fmla="*/ 36662 w 660809"/>
                        <a:gd name="connsiteY260" fmla="*/ 22129 h 433243"/>
                        <a:gd name="connsiteX261" fmla="*/ 24940 w 660809"/>
                        <a:gd name="connsiteY261" fmla="*/ 14414 h 433243"/>
                        <a:gd name="connsiteX262" fmla="*/ 23205 w 660809"/>
                        <a:gd name="connsiteY262" fmla="*/ 13277 h 433243"/>
                        <a:gd name="connsiteX263" fmla="*/ 3947 w 660809"/>
                        <a:gd name="connsiteY263" fmla="*/ 658 h 433243"/>
                        <a:gd name="connsiteX264" fmla="*/ 2930 w 660809"/>
                        <a:gd name="connsiteY264" fmla="*/ 0 h 433243"/>
                        <a:gd name="connsiteX265" fmla="*/ 0 w 660809"/>
                        <a:gd name="connsiteY265" fmla="*/ 3529 h 433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660809" h="433243">
                          <a:moveTo>
                            <a:pt x="26853" y="19497"/>
                          </a:moveTo>
                          <a:lnTo>
                            <a:pt x="1854" y="3170"/>
                          </a:lnTo>
                          <a:lnTo>
                            <a:pt x="3110" y="1555"/>
                          </a:lnTo>
                          <a:lnTo>
                            <a:pt x="23803" y="15131"/>
                          </a:lnTo>
                          <a:lnTo>
                            <a:pt x="26196" y="16686"/>
                          </a:lnTo>
                          <a:lnTo>
                            <a:pt x="33851" y="21650"/>
                          </a:lnTo>
                          <a:lnTo>
                            <a:pt x="36183" y="23205"/>
                          </a:lnTo>
                          <a:lnTo>
                            <a:pt x="49879" y="32176"/>
                          </a:lnTo>
                          <a:lnTo>
                            <a:pt x="50896" y="32834"/>
                          </a:lnTo>
                          <a:lnTo>
                            <a:pt x="67104" y="43420"/>
                          </a:lnTo>
                          <a:lnTo>
                            <a:pt x="68121" y="44078"/>
                          </a:lnTo>
                          <a:lnTo>
                            <a:pt x="80859" y="52391"/>
                          </a:lnTo>
                          <a:lnTo>
                            <a:pt x="83072" y="53886"/>
                          </a:lnTo>
                          <a:lnTo>
                            <a:pt x="90309" y="58611"/>
                          </a:lnTo>
                          <a:lnTo>
                            <a:pt x="92522" y="60047"/>
                          </a:lnTo>
                          <a:lnTo>
                            <a:pt x="124339" y="80859"/>
                          </a:lnTo>
                          <a:lnTo>
                            <a:pt x="125296" y="81457"/>
                          </a:lnTo>
                          <a:lnTo>
                            <a:pt x="126552" y="82295"/>
                          </a:lnTo>
                          <a:lnTo>
                            <a:pt x="127509" y="82893"/>
                          </a:lnTo>
                          <a:lnTo>
                            <a:pt x="131396" y="85465"/>
                          </a:lnTo>
                          <a:lnTo>
                            <a:pt x="132353" y="86063"/>
                          </a:lnTo>
                          <a:lnTo>
                            <a:pt x="133550" y="86840"/>
                          </a:lnTo>
                          <a:lnTo>
                            <a:pt x="134506" y="87438"/>
                          </a:lnTo>
                          <a:lnTo>
                            <a:pt x="137915" y="89651"/>
                          </a:lnTo>
                          <a:lnTo>
                            <a:pt x="138872" y="90249"/>
                          </a:lnTo>
                          <a:lnTo>
                            <a:pt x="140068" y="91027"/>
                          </a:lnTo>
                          <a:lnTo>
                            <a:pt x="140966" y="91625"/>
                          </a:lnTo>
                          <a:lnTo>
                            <a:pt x="263989" y="172125"/>
                          </a:lnTo>
                          <a:lnTo>
                            <a:pt x="265843" y="173322"/>
                          </a:lnTo>
                          <a:lnTo>
                            <a:pt x="271764" y="177209"/>
                          </a:lnTo>
                          <a:lnTo>
                            <a:pt x="273618" y="178405"/>
                          </a:lnTo>
                          <a:lnTo>
                            <a:pt x="284323" y="185402"/>
                          </a:lnTo>
                          <a:lnTo>
                            <a:pt x="285101" y="185941"/>
                          </a:lnTo>
                          <a:lnTo>
                            <a:pt x="297780" y="194254"/>
                          </a:lnTo>
                          <a:lnTo>
                            <a:pt x="298558" y="194792"/>
                          </a:lnTo>
                          <a:lnTo>
                            <a:pt x="308545" y="201311"/>
                          </a:lnTo>
                          <a:lnTo>
                            <a:pt x="310280" y="202448"/>
                          </a:lnTo>
                          <a:lnTo>
                            <a:pt x="315962" y="206156"/>
                          </a:lnTo>
                          <a:lnTo>
                            <a:pt x="317696" y="207292"/>
                          </a:lnTo>
                          <a:lnTo>
                            <a:pt x="341021" y="222543"/>
                          </a:lnTo>
                          <a:lnTo>
                            <a:pt x="341798" y="223021"/>
                          </a:lnTo>
                          <a:lnTo>
                            <a:pt x="342755" y="223679"/>
                          </a:lnTo>
                          <a:lnTo>
                            <a:pt x="343533" y="224158"/>
                          </a:lnTo>
                          <a:lnTo>
                            <a:pt x="346942" y="226371"/>
                          </a:lnTo>
                          <a:lnTo>
                            <a:pt x="347659" y="226849"/>
                          </a:lnTo>
                          <a:lnTo>
                            <a:pt x="348616" y="227507"/>
                          </a:lnTo>
                          <a:lnTo>
                            <a:pt x="349334" y="227985"/>
                          </a:lnTo>
                          <a:lnTo>
                            <a:pt x="352264" y="229899"/>
                          </a:lnTo>
                          <a:lnTo>
                            <a:pt x="352982" y="230378"/>
                          </a:lnTo>
                          <a:lnTo>
                            <a:pt x="353939" y="230975"/>
                          </a:lnTo>
                          <a:lnTo>
                            <a:pt x="354657" y="231454"/>
                          </a:lnTo>
                          <a:lnTo>
                            <a:pt x="574030" y="374991"/>
                          </a:lnTo>
                          <a:lnTo>
                            <a:pt x="575286" y="375829"/>
                          </a:lnTo>
                          <a:lnTo>
                            <a:pt x="579353" y="378520"/>
                          </a:lnTo>
                          <a:lnTo>
                            <a:pt x="580609" y="379357"/>
                          </a:lnTo>
                          <a:lnTo>
                            <a:pt x="587965" y="384201"/>
                          </a:lnTo>
                          <a:lnTo>
                            <a:pt x="588503" y="384561"/>
                          </a:lnTo>
                          <a:lnTo>
                            <a:pt x="597235" y="390242"/>
                          </a:lnTo>
                          <a:lnTo>
                            <a:pt x="597773" y="390601"/>
                          </a:lnTo>
                          <a:lnTo>
                            <a:pt x="604651" y="395086"/>
                          </a:lnTo>
                          <a:lnTo>
                            <a:pt x="605847" y="395864"/>
                          </a:lnTo>
                          <a:lnTo>
                            <a:pt x="609735" y="398436"/>
                          </a:lnTo>
                          <a:lnTo>
                            <a:pt x="610931" y="399213"/>
                          </a:lnTo>
                          <a:lnTo>
                            <a:pt x="626959" y="409679"/>
                          </a:lnTo>
                          <a:lnTo>
                            <a:pt x="627497" y="410038"/>
                          </a:lnTo>
                          <a:lnTo>
                            <a:pt x="628215" y="410517"/>
                          </a:lnTo>
                          <a:lnTo>
                            <a:pt x="628753" y="410876"/>
                          </a:lnTo>
                          <a:lnTo>
                            <a:pt x="631205" y="412491"/>
                          </a:lnTo>
                          <a:lnTo>
                            <a:pt x="631684" y="412849"/>
                          </a:lnTo>
                          <a:lnTo>
                            <a:pt x="632342" y="413268"/>
                          </a:lnTo>
                          <a:lnTo>
                            <a:pt x="632880" y="413627"/>
                          </a:lnTo>
                          <a:lnTo>
                            <a:pt x="634973" y="415002"/>
                          </a:lnTo>
                          <a:lnTo>
                            <a:pt x="635512" y="415361"/>
                          </a:lnTo>
                          <a:lnTo>
                            <a:pt x="636169" y="415780"/>
                          </a:lnTo>
                          <a:lnTo>
                            <a:pt x="636707" y="416139"/>
                          </a:lnTo>
                          <a:lnTo>
                            <a:pt x="659733" y="431210"/>
                          </a:lnTo>
                          <a:lnTo>
                            <a:pt x="658896" y="432287"/>
                          </a:lnTo>
                          <a:lnTo>
                            <a:pt x="635811" y="417215"/>
                          </a:lnTo>
                          <a:lnTo>
                            <a:pt x="635272" y="416856"/>
                          </a:lnTo>
                          <a:lnTo>
                            <a:pt x="634614" y="416438"/>
                          </a:lnTo>
                          <a:lnTo>
                            <a:pt x="634076" y="416079"/>
                          </a:lnTo>
                          <a:lnTo>
                            <a:pt x="631983" y="414703"/>
                          </a:lnTo>
                          <a:lnTo>
                            <a:pt x="631445" y="414345"/>
                          </a:lnTo>
                          <a:lnTo>
                            <a:pt x="630787" y="413926"/>
                          </a:lnTo>
                          <a:lnTo>
                            <a:pt x="630249" y="413567"/>
                          </a:lnTo>
                          <a:lnTo>
                            <a:pt x="627736" y="411952"/>
                          </a:lnTo>
                          <a:lnTo>
                            <a:pt x="627198" y="411593"/>
                          </a:lnTo>
                          <a:lnTo>
                            <a:pt x="626481" y="411115"/>
                          </a:lnTo>
                          <a:lnTo>
                            <a:pt x="625942" y="410756"/>
                          </a:lnTo>
                          <a:lnTo>
                            <a:pt x="607881" y="398974"/>
                          </a:lnTo>
                          <a:lnTo>
                            <a:pt x="605907" y="397718"/>
                          </a:lnTo>
                          <a:lnTo>
                            <a:pt x="596816" y="391797"/>
                          </a:lnTo>
                          <a:lnTo>
                            <a:pt x="596278" y="391438"/>
                          </a:lnTo>
                          <a:lnTo>
                            <a:pt x="587546" y="385757"/>
                          </a:lnTo>
                          <a:lnTo>
                            <a:pt x="587008" y="385398"/>
                          </a:lnTo>
                          <a:lnTo>
                            <a:pt x="577379" y="379118"/>
                          </a:lnTo>
                          <a:lnTo>
                            <a:pt x="575346" y="377802"/>
                          </a:lnTo>
                          <a:lnTo>
                            <a:pt x="353580" y="232949"/>
                          </a:lnTo>
                          <a:lnTo>
                            <a:pt x="352863" y="232471"/>
                          </a:lnTo>
                          <a:lnTo>
                            <a:pt x="351906" y="231873"/>
                          </a:lnTo>
                          <a:lnTo>
                            <a:pt x="351188" y="231394"/>
                          </a:lnTo>
                          <a:lnTo>
                            <a:pt x="348197" y="229480"/>
                          </a:lnTo>
                          <a:lnTo>
                            <a:pt x="347480" y="229002"/>
                          </a:lnTo>
                          <a:lnTo>
                            <a:pt x="346523" y="228404"/>
                          </a:lnTo>
                          <a:lnTo>
                            <a:pt x="345805" y="227926"/>
                          </a:lnTo>
                          <a:lnTo>
                            <a:pt x="342337" y="225653"/>
                          </a:lnTo>
                          <a:lnTo>
                            <a:pt x="341559" y="225174"/>
                          </a:lnTo>
                          <a:lnTo>
                            <a:pt x="340602" y="224517"/>
                          </a:lnTo>
                          <a:lnTo>
                            <a:pt x="339825" y="224038"/>
                          </a:lnTo>
                          <a:lnTo>
                            <a:pt x="313450" y="206813"/>
                          </a:lnTo>
                          <a:lnTo>
                            <a:pt x="310639" y="204959"/>
                          </a:lnTo>
                          <a:lnTo>
                            <a:pt x="297481" y="196347"/>
                          </a:lnTo>
                          <a:lnTo>
                            <a:pt x="296704" y="195809"/>
                          </a:lnTo>
                          <a:lnTo>
                            <a:pt x="284024" y="187556"/>
                          </a:lnTo>
                          <a:lnTo>
                            <a:pt x="283247" y="187017"/>
                          </a:lnTo>
                          <a:lnTo>
                            <a:pt x="269192" y="177867"/>
                          </a:lnTo>
                          <a:lnTo>
                            <a:pt x="266202" y="175953"/>
                          </a:lnTo>
                          <a:lnTo>
                            <a:pt x="139710" y="93359"/>
                          </a:lnTo>
                          <a:lnTo>
                            <a:pt x="138812" y="92761"/>
                          </a:lnTo>
                          <a:lnTo>
                            <a:pt x="137616" y="91984"/>
                          </a:lnTo>
                          <a:lnTo>
                            <a:pt x="136659" y="91386"/>
                          </a:lnTo>
                          <a:lnTo>
                            <a:pt x="133190" y="89113"/>
                          </a:lnTo>
                          <a:lnTo>
                            <a:pt x="132234" y="88515"/>
                          </a:lnTo>
                          <a:lnTo>
                            <a:pt x="131037" y="87737"/>
                          </a:lnTo>
                          <a:lnTo>
                            <a:pt x="130081" y="87139"/>
                          </a:lnTo>
                          <a:lnTo>
                            <a:pt x="126074" y="84508"/>
                          </a:lnTo>
                          <a:lnTo>
                            <a:pt x="125117" y="83910"/>
                          </a:lnTo>
                          <a:lnTo>
                            <a:pt x="123861" y="83072"/>
                          </a:lnTo>
                          <a:lnTo>
                            <a:pt x="122904" y="82474"/>
                          </a:lnTo>
                          <a:lnTo>
                            <a:pt x="87199" y="59149"/>
                          </a:lnTo>
                          <a:lnTo>
                            <a:pt x="83610" y="56817"/>
                          </a:lnTo>
                          <a:lnTo>
                            <a:pt x="66805" y="45872"/>
                          </a:lnTo>
                          <a:lnTo>
                            <a:pt x="65788" y="45214"/>
                          </a:lnTo>
                          <a:lnTo>
                            <a:pt x="49580" y="34629"/>
                          </a:lnTo>
                          <a:lnTo>
                            <a:pt x="48563" y="33970"/>
                          </a:lnTo>
                          <a:lnTo>
                            <a:pt x="30621" y="22248"/>
                          </a:lnTo>
                          <a:lnTo>
                            <a:pt x="26853" y="19497"/>
                          </a:lnTo>
                          <a:moveTo>
                            <a:pt x="0" y="3529"/>
                          </a:moveTo>
                          <a:lnTo>
                            <a:pt x="1017" y="4187"/>
                          </a:lnTo>
                          <a:lnTo>
                            <a:pt x="47846" y="34748"/>
                          </a:lnTo>
                          <a:lnTo>
                            <a:pt x="48862" y="35406"/>
                          </a:lnTo>
                          <a:lnTo>
                            <a:pt x="65070" y="45992"/>
                          </a:lnTo>
                          <a:lnTo>
                            <a:pt x="66087" y="46650"/>
                          </a:lnTo>
                          <a:lnTo>
                            <a:pt x="122066" y="83192"/>
                          </a:lnTo>
                          <a:lnTo>
                            <a:pt x="123024" y="83790"/>
                          </a:lnTo>
                          <a:lnTo>
                            <a:pt x="124279" y="84627"/>
                          </a:lnTo>
                          <a:lnTo>
                            <a:pt x="125236" y="85225"/>
                          </a:lnTo>
                          <a:lnTo>
                            <a:pt x="129303" y="87857"/>
                          </a:lnTo>
                          <a:lnTo>
                            <a:pt x="130260" y="88455"/>
                          </a:lnTo>
                          <a:lnTo>
                            <a:pt x="131456" y="89233"/>
                          </a:lnTo>
                          <a:lnTo>
                            <a:pt x="132413" y="89831"/>
                          </a:lnTo>
                          <a:lnTo>
                            <a:pt x="135882" y="92103"/>
                          </a:lnTo>
                          <a:lnTo>
                            <a:pt x="136839" y="92701"/>
                          </a:lnTo>
                          <a:lnTo>
                            <a:pt x="138035" y="93479"/>
                          </a:lnTo>
                          <a:lnTo>
                            <a:pt x="138932" y="94077"/>
                          </a:lnTo>
                          <a:lnTo>
                            <a:pt x="282529" y="187735"/>
                          </a:lnTo>
                          <a:lnTo>
                            <a:pt x="283307" y="188273"/>
                          </a:lnTo>
                          <a:lnTo>
                            <a:pt x="295986" y="196527"/>
                          </a:lnTo>
                          <a:lnTo>
                            <a:pt x="296763" y="197065"/>
                          </a:lnTo>
                          <a:lnTo>
                            <a:pt x="339047" y="224636"/>
                          </a:lnTo>
                          <a:lnTo>
                            <a:pt x="339825" y="225114"/>
                          </a:lnTo>
                          <a:lnTo>
                            <a:pt x="340781" y="225772"/>
                          </a:lnTo>
                          <a:lnTo>
                            <a:pt x="341499" y="226251"/>
                          </a:lnTo>
                          <a:lnTo>
                            <a:pt x="345028" y="228523"/>
                          </a:lnTo>
                          <a:lnTo>
                            <a:pt x="345746" y="229002"/>
                          </a:lnTo>
                          <a:lnTo>
                            <a:pt x="346702" y="229600"/>
                          </a:lnTo>
                          <a:lnTo>
                            <a:pt x="347420" y="230079"/>
                          </a:lnTo>
                          <a:lnTo>
                            <a:pt x="350410" y="232052"/>
                          </a:lnTo>
                          <a:lnTo>
                            <a:pt x="351128" y="232530"/>
                          </a:lnTo>
                          <a:lnTo>
                            <a:pt x="352085" y="233129"/>
                          </a:lnTo>
                          <a:lnTo>
                            <a:pt x="352803" y="233607"/>
                          </a:lnTo>
                          <a:lnTo>
                            <a:pt x="586350" y="385996"/>
                          </a:lnTo>
                          <a:lnTo>
                            <a:pt x="586888" y="386355"/>
                          </a:lnTo>
                          <a:lnTo>
                            <a:pt x="595620" y="392037"/>
                          </a:lnTo>
                          <a:lnTo>
                            <a:pt x="596158" y="392395"/>
                          </a:lnTo>
                          <a:lnTo>
                            <a:pt x="625225" y="411354"/>
                          </a:lnTo>
                          <a:lnTo>
                            <a:pt x="625763" y="411713"/>
                          </a:lnTo>
                          <a:lnTo>
                            <a:pt x="626481" y="412192"/>
                          </a:lnTo>
                          <a:lnTo>
                            <a:pt x="627019" y="412550"/>
                          </a:lnTo>
                          <a:lnTo>
                            <a:pt x="629590" y="414225"/>
                          </a:lnTo>
                          <a:lnTo>
                            <a:pt x="630129" y="414584"/>
                          </a:lnTo>
                          <a:lnTo>
                            <a:pt x="630787" y="415002"/>
                          </a:lnTo>
                          <a:lnTo>
                            <a:pt x="631325" y="415361"/>
                          </a:lnTo>
                          <a:lnTo>
                            <a:pt x="633478" y="416737"/>
                          </a:lnTo>
                          <a:lnTo>
                            <a:pt x="634016" y="417095"/>
                          </a:lnTo>
                          <a:lnTo>
                            <a:pt x="634674" y="417514"/>
                          </a:lnTo>
                          <a:lnTo>
                            <a:pt x="635212" y="417873"/>
                          </a:lnTo>
                          <a:lnTo>
                            <a:pt x="658358" y="432945"/>
                          </a:lnTo>
                          <a:lnTo>
                            <a:pt x="658836" y="433243"/>
                          </a:lnTo>
                          <a:lnTo>
                            <a:pt x="660810" y="430732"/>
                          </a:lnTo>
                          <a:lnTo>
                            <a:pt x="660331" y="430433"/>
                          </a:lnTo>
                          <a:lnTo>
                            <a:pt x="637366" y="415361"/>
                          </a:lnTo>
                          <a:lnTo>
                            <a:pt x="636827" y="415002"/>
                          </a:lnTo>
                          <a:lnTo>
                            <a:pt x="636169" y="414584"/>
                          </a:lnTo>
                          <a:lnTo>
                            <a:pt x="635631" y="414225"/>
                          </a:lnTo>
                          <a:lnTo>
                            <a:pt x="633538" y="412849"/>
                          </a:lnTo>
                          <a:lnTo>
                            <a:pt x="632999" y="412491"/>
                          </a:lnTo>
                          <a:lnTo>
                            <a:pt x="632342" y="412072"/>
                          </a:lnTo>
                          <a:lnTo>
                            <a:pt x="631863" y="411773"/>
                          </a:lnTo>
                          <a:lnTo>
                            <a:pt x="629471" y="410218"/>
                          </a:lnTo>
                          <a:lnTo>
                            <a:pt x="628933" y="409859"/>
                          </a:lnTo>
                          <a:lnTo>
                            <a:pt x="628215" y="409380"/>
                          </a:lnTo>
                          <a:lnTo>
                            <a:pt x="627677" y="409022"/>
                          </a:lnTo>
                          <a:lnTo>
                            <a:pt x="612306" y="398974"/>
                          </a:lnTo>
                          <a:lnTo>
                            <a:pt x="611409" y="398376"/>
                          </a:lnTo>
                          <a:lnTo>
                            <a:pt x="605369" y="394429"/>
                          </a:lnTo>
                          <a:lnTo>
                            <a:pt x="604472" y="393831"/>
                          </a:lnTo>
                          <a:lnTo>
                            <a:pt x="598311" y="389823"/>
                          </a:lnTo>
                          <a:lnTo>
                            <a:pt x="597773" y="389465"/>
                          </a:lnTo>
                          <a:lnTo>
                            <a:pt x="589041" y="383783"/>
                          </a:lnTo>
                          <a:lnTo>
                            <a:pt x="588503" y="383424"/>
                          </a:lnTo>
                          <a:lnTo>
                            <a:pt x="581924" y="379118"/>
                          </a:lnTo>
                          <a:lnTo>
                            <a:pt x="581027" y="378520"/>
                          </a:lnTo>
                          <a:lnTo>
                            <a:pt x="574747" y="374393"/>
                          </a:lnTo>
                          <a:lnTo>
                            <a:pt x="573791" y="373795"/>
                          </a:lnTo>
                          <a:lnTo>
                            <a:pt x="355315" y="230676"/>
                          </a:lnTo>
                          <a:lnTo>
                            <a:pt x="354597" y="230198"/>
                          </a:lnTo>
                          <a:lnTo>
                            <a:pt x="353640" y="229600"/>
                          </a:lnTo>
                          <a:lnTo>
                            <a:pt x="352922" y="229121"/>
                          </a:lnTo>
                          <a:lnTo>
                            <a:pt x="349992" y="227208"/>
                          </a:lnTo>
                          <a:lnTo>
                            <a:pt x="349274" y="226729"/>
                          </a:lnTo>
                          <a:lnTo>
                            <a:pt x="348317" y="226072"/>
                          </a:lnTo>
                          <a:lnTo>
                            <a:pt x="347600" y="225593"/>
                          </a:lnTo>
                          <a:lnTo>
                            <a:pt x="344250" y="223380"/>
                          </a:lnTo>
                          <a:lnTo>
                            <a:pt x="343473" y="222902"/>
                          </a:lnTo>
                          <a:lnTo>
                            <a:pt x="342516" y="222244"/>
                          </a:lnTo>
                          <a:lnTo>
                            <a:pt x="341739" y="221765"/>
                          </a:lnTo>
                          <a:lnTo>
                            <a:pt x="319430" y="207172"/>
                          </a:lnTo>
                          <a:lnTo>
                            <a:pt x="318175" y="206335"/>
                          </a:lnTo>
                          <a:lnTo>
                            <a:pt x="309443" y="200653"/>
                          </a:lnTo>
                          <a:lnTo>
                            <a:pt x="308127" y="199816"/>
                          </a:lnTo>
                          <a:lnTo>
                            <a:pt x="299215" y="194015"/>
                          </a:lnTo>
                          <a:lnTo>
                            <a:pt x="298438" y="193477"/>
                          </a:lnTo>
                          <a:lnTo>
                            <a:pt x="285759" y="185163"/>
                          </a:lnTo>
                          <a:lnTo>
                            <a:pt x="284981" y="184625"/>
                          </a:lnTo>
                          <a:lnTo>
                            <a:pt x="275412" y="178345"/>
                          </a:lnTo>
                          <a:lnTo>
                            <a:pt x="274037" y="177448"/>
                          </a:lnTo>
                          <a:lnTo>
                            <a:pt x="264886" y="171468"/>
                          </a:lnTo>
                          <a:lnTo>
                            <a:pt x="263511" y="170570"/>
                          </a:lnTo>
                          <a:lnTo>
                            <a:pt x="141743" y="90787"/>
                          </a:lnTo>
                          <a:lnTo>
                            <a:pt x="140846" y="90189"/>
                          </a:lnTo>
                          <a:lnTo>
                            <a:pt x="139650" y="89412"/>
                          </a:lnTo>
                          <a:lnTo>
                            <a:pt x="138753" y="88814"/>
                          </a:lnTo>
                          <a:lnTo>
                            <a:pt x="135344" y="86601"/>
                          </a:lnTo>
                          <a:lnTo>
                            <a:pt x="134387" y="86003"/>
                          </a:lnTo>
                          <a:lnTo>
                            <a:pt x="133190" y="85225"/>
                          </a:lnTo>
                          <a:lnTo>
                            <a:pt x="132234" y="84627"/>
                          </a:lnTo>
                          <a:lnTo>
                            <a:pt x="128406" y="82116"/>
                          </a:lnTo>
                          <a:lnTo>
                            <a:pt x="127509" y="81517"/>
                          </a:lnTo>
                          <a:lnTo>
                            <a:pt x="126253" y="80680"/>
                          </a:lnTo>
                          <a:lnTo>
                            <a:pt x="125296" y="80082"/>
                          </a:lnTo>
                          <a:lnTo>
                            <a:pt x="94675" y="60047"/>
                          </a:lnTo>
                          <a:lnTo>
                            <a:pt x="93000" y="58970"/>
                          </a:lnTo>
                          <a:lnTo>
                            <a:pt x="81936" y="51674"/>
                          </a:lnTo>
                          <a:lnTo>
                            <a:pt x="80261" y="50597"/>
                          </a:lnTo>
                          <a:lnTo>
                            <a:pt x="68898" y="43181"/>
                          </a:lnTo>
                          <a:lnTo>
                            <a:pt x="67881" y="42523"/>
                          </a:lnTo>
                          <a:lnTo>
                            <a:pt x="51674" y="31937"/>
                          </a:lnTo>
                          <a:lnTo>
                            <a:pt x="50657" y="31279"/>
                          </a:lnTo>
                          <a:lnTo>
                            <a:pt x="38396" y="23265"/>
                          </a:lnTo>
                          <a:lnTo>
                            <a:pt x="36662" y="22129"/>
                          </a:lnTo>
                          <a:lnTo>
                            <a:pt x="24940" y="14414"/>
                          </a:lnTo>
                          <a:lnTo>
                            <a:pt x="23205" y="13277"/>
                          </a:lnTo>
                          <a:lnTo>
                            <a:pt x="3947" y="658"/>
                          </a:lnTo>
                          <a:lnTo>
                            <a:pt x="2930" y="0"/>
                          </a:lnTo>
                          <a:lnTo>
                            <a:pt x="0" y="3529"/>
                          </a:lnTo>
                        </a:path>
                      </a:pathLst>
                    </a:custGeom>
                    <a:noFill/>
                    <a:ln w="6350" cap="flat">
                      <a:solidFill>
                        <a:schemeClr val="bg1">
                          <a:alpha val="80000"/>
                        </a:schemeClr>
                      </a:solidFill>
                      <a:prstDash val="solid"/>
                      <a:miter/>
                    </a:ln>
                  </p:spPr>
                  <p:txBody>
                    <a:bodyPr rtlCol="0" anchor="ctr"/>
                    <a:lstStyle/>
                    <a:p>
                      <a:endParaRPr lang="en-GB"/>
                    </a:p>
                  </p:txBody>
                </p:sp>
                <p:sp>
                  <p:nvSpPr>
                    <p:cNvPr id="7532" name="Vrije vorm: vorm 7531">
                      <a:extLst>
                        <a:ext uri="{FF2B5EF4-FFF2-40B4-BE49-F238E27FC236}">
                          <a16:creationId xmlns:a16="http://schemas.microsoft.com/office/drawing/2014/main" id="{ED609A0C-0781-43CC-878F-00BB441768C0}"/>
                        </a:ext>
                      </a:extLst>
                    </p:cNvPr>
                    <p:cNvSpPr/>
                    <p:nvPr/>
                  </p:nvSpPr>
                  <p:spPr>
                    <a:xfrm>
                      <a:off x="5375971" y="5251053"/>
                      <a:ext cx="21530" cy="24341"/>
                    </a:xfrm>
                    <a:custGeom>
                      <a:avLst/>
                      <a:gdLst>
                        <a:gd name="connsiteX0" fmla="*/ 13636 w 21530"/>
                        <a:gd name="connsiteY0" fmla="*/ 718 h 24341"/>
                        <a:gd name="connsiteX1" fmla="*/ 14114 w 21530"/>
                        <a:gd name="connsiteY1" fmla="*/ 120 h 24341"/>
                        <a:gd name="connsiteX2" fmla="*/ 13995 w 21530"/>
                        <a:gd name="connsiteY2" fmla="*/ 0 h 24341"/>
                        <a:gd name="connsiteX3" fmla="*/ 13516 w 21530"/>
                        <a:gd name="connsiteY3" fmla="*/ 598 h 24341"/>
                        <a:gd name="connsiteX4" fmla="*/ 13636 w 21530"/>
                        <a:gd name="connsiteY4" fmla="*/ 718 h 24341"/>
                        <a:gd name="connsiteX5" fmla="*/ 15371 w 21530"/>
                        <a:gd name="connsiteY5" fmla="*/ 2333 h 24341"/>
                        <a:gd name="connsiteX6" fmla="*/ 15849 w 21530"/>
                        <a:gd name="connsiteY6" fmla="*/ 1735 h 24341"/>
                        <a:gd name="connsiteX7" fmla="*/ 14593 w 21530"/>
                        <a:gd name="connsiteY7" fmla="*/ 658 h 24341"/>
                        <a:gd name="connsiteX8" fmla="*/ 14114 w 21530"/>
                        <a:gd name="connsiteY8" fmla="*/ 1256 h 24341"/>
                        <a:gd name="connsiteX9" fmla="*/ 15371 w 21530"/>
                        <a:gd name="connsiteY9" fmla="*/ 2333 h 24341"/>
                        <a:gd name="connsiteX10" fmla="*/ 21052 w 21530"/>
                        <a:gd name="connsiteY10" fmla="*/ 7416 h 24341"/>
                        <a:gd name="connsiteX11" fmla="*/ 21531 w 21530"/>
                        <a:gd name="connsiteY11" fmla="*/ 6878 h 24341"/>
                        <a:gd name="connsiteX12" fmla="*/ 18301 w 21530"/>
                        <a:gd name="connsiteY12" fmla="*/ 4007 h 24341"/>
                        <a:gd name="connsiteX13" fmla="*/ 17822 w 21530"/>
                        <a:gd name="connsiteY13" fmla="*/ 4605 h 24341"/>
                        <a:gd name="connsiteX14" fmla="*/ 21052 w 21530"/>
                        <a:gd name="connsiteY14" fmla="*/ 7416 h 24341"/>
                        <a:gd name="connsiteX15" fmla="*/ 15789 w 21530"/>
                        <a:gd name="connsiteY15" fmla="*/ 12799 h 24341"/>
                        <a:gd name="connsiteX16" fmla="*/ 16327 w 21530"/>
                        <a:gd name="connsiteY16" fmla="*/ 13277 h 24341"/>
                        <a:gd name="connsiteX17" fmla="*/ 20394 w 21530"/>
                        <a:gd name="connsiteY17" fmla="*/ 8194 h 24341"/>
                        <a:gd name="connsiteX18" fmla="*/ 19856 w 21530"/>
                        <a:gd name="connsiteY18" fmla="*/ 7715 h 24341"/>
                        <a:gd name="connsiteX19" fmla="*/ 15789 w 21530"/>
                        <a:gd name="connsiteY19" fmla="*/ 12799 h 24341"/>
                        <a:gd name="connsiteX20" fmla="*/ 8672 w 21530"/>
                        <a:gd name="connsiteY20" fmla="*/ 6639 h 24341"/>
                        <a:gd name="connsiteX21" fmla="*/ 9210 w 21530"/>
                        <a:gd name="connsiteY21" fmla="*/ 7117 h 24341"/>
                        <a:gd name="connsiteX22" fmla="*/ 13397 w 21530"/>
                        <a:gd name="connsiteY22" fmla="*/ 1914 h 24341"/>
                        <a:gd name="connsiteX23" fmla="*/ 12978 w 21530"/>
                        <a:gd name="connsiteY23" fmla="*/ 1555 h 24341"/>
                        <a:gd name="connsiteX24" fmla="*/ 12978 w 21530"/>
                        <a:gd name="connsiteY24" fmla="*/ 1555 h 24341"/>
                        <a:gd name="connsiteX25" fmla="*/ 12859 w 21530"/>
                        <a:gd name="connsiteY25" fmla="*/ 1436 h 24341"/>
                        <a:gd name="connsiteX26" fmla="*/ 8672 w 21530"/>
                        <a:gd name="connsiteY26" fmla="*/ 6639 h 24341"/>
                        <a:gd name="connsiteX27" fmla="*/ 13636 w 21530"/>
                        <a:gd name="connsiteY27" fmla="*/ 15550 h 24341"/>
                        <a:gd name="connsiteX28" fmla="*/ 14174 w 21530"/>
                        <a:gd name="connsiteY28" fmla="*/ 16029 h 24341"/>
                        <a:gd name="connsiteX29" fmla="*/ 15729 w 21530"/>
                        <a:gd name="connsiteY29" fmla="*/ 14115 h 24341"/>
                        <a:gd name="connsiteX30" fmla="*/ 15191 w 21530"/>
                        <a:gd name="connsiteY30" fmla="*/ 13636 h 24341"/>
                        <a:gd name="connsiteX31" fmla="*/ 13636 w 21530"/>
                        <a:gd name="connsiteY31" fmla="*/ 15550 h 24341"/>
                        <a:gd name="connsiteX32" fmla="*/ 6519 w 21530"/>
                        <a:gd name="connsiteY32" fmla="*/ 9390 h 24341"/>
                        <a:gd name="connsiteX33" fmla="*/ 7057 w 21530"/>
                        <a:gd name="connsiteY33" fmla="*/ 9868 h 24341"/>
                        <a:gd name="connsiteX34" fmla="*/ 8612 w 21530"/>
                        <a:gd name="connsiteY34" fmla="*/ 7895 h 24341"/>
                        <a:gd name="connsiteX35" fmla="*/ 8074 w 21530"/>
                        <a:gd name="connsiteY35" fmla="*/ 7416 h 24341"/>
                        <a:gd name="connsiteX36" fmla="*/ 6519 w 21530"/>
                        <a:gd name="connsiteY36" fmla="*/ 9390 h 24341"/>
                        <a:gd name="connsiteX37" fmla="*/ 8373 w 21530"/>
                        <a:gd name="connsiteY37" fmla="*/ 22069 h 24341"/>
                        <a:gd name="connsiteX38" fmla="*/ 8911 w 21530"/>
                        <a:gd name="connsiteY38" fmla="*/ 22547 h 24341"/>
                        <a:gd name="connsiteX39" fmla="*/ 13516 w 21530"/>
                        <a:gd name="connsiteY39" fmla="*/ 16806 h 24341"/>
                        <a:gd name="connsiteX40" fmla="*/ 12978 w 21530"/>
                        <a:gd name="connsiteY40" fmla="*/ 16328 h 24341"/>
                        <a:gd name="connsiteX41" fmla="*/ 8373 w 21530"/>
                        <a:gd name="connsiteY41" fmla="*/ 22069 h 24341"/>
                        <a:gd name="connsiteX42" fmla="*/ 1316 w 21530"/>
                        <a:gd name="connsiteY42" fmla="*/ 16029 h 24341"/>
                        <a:gd name="connsiteX43" fmla="*/ 1794 w 21530"/>
                        <a:gd name="connsiteY43" fmla="*/ 16447 h 24341"/>
                        <a:gd name="connsiteX44" fmla="*/ 6399 w 21530"/>
                        <a:gd name="connsiteY44" fmla="*/ 10646 h 24341"/>
                        <a:gd name="connsiteX45" fmla="*/ 5921 w 21530"/>
                        <a:gd name="connsiteY45" fmla="*/ 10227 h 24341"/>
                        <a:gd name="connsiteX46" fmla="*/ 1316 w 21530"/>
                        <a:gd name="connsiteY46" fmla="*/ 16029 h 24341"/>
                        <a:gd name="connsiteX47" fmla="*/ 2990 w 21530"/>
                        <a:gd name="connsiteY47" fmla="*/ 19019 h 24341"/>
                        <a:gd name="connsiteX48" fmla="*/ 3289 w 21530"/>
                        <a:gd name="connsiteY48" fmla="*/ 19258 h 24341"/>
                        <a:gd name="connsiteX49" fmla="*/ 2990 w 21530"/>
                        <a:gd name="connsiteY49" fmla="*/ 19019 h 24341"/>
                        <a:gd name="connsiteX50" fmla="*/ 2990 w 21530"/>
                        <a:gd name="connsiteY50" fmla="*/ 19019 h 24341"/>
                        <a:gd name="connsiteX51" fmla="*/ 1734 w 21530"/>
                        <a:gd name="connsiteY51" fmla="*/ 19198 h 24341"/>
                        <a:gd name="connsiteX52" fmla="*/ 2392 w 21530"/>
                        <a:gd name="connsiteY52" fmla="*/ 18421 h 24341"/>
                        <a:gd name="connsiteX53" fmla="*/ 1136 w 21530"/>
                        <a:gd name="connsiteY53" fmla="*/ 17344 h 24341"/>
                        <a:gd name="connsiteX54" fmla="*/ 1196 w 21530"/>
                        <a:gd name="connsiteY54" fmla="*/ 17284 h 24341"/>
                        <a:gd name="connsiteX55" fmla="*/ 718 w 21530"/>
                        <a:gd name="connsiteY55" fmla="*/ 16866 h 24341"/>
                        <a:gd name="connsiteX56" fmla="*/ 0 w 21530"/>
                        <a:gd name="connsiteY56" fmla="*/ 17763 h 24341"/>
                        <a:gd name="connsiteX57" fmla="*/ 1734 w 21530"/>
                        <a:gd name="connsiteY57" fmla="*/ 19198 h 24341"/>
                        <a:gd name="connsiteX58" fmla="*/ 4007 w 21530"/>
                        <a:gd name="connsiteY58" fmla="*/ 21232 h 24341"/>
                        <a:gd name="connsiteX59" fmla="*/ 4007 w 21530"/>
                        <a:gd name="connsiteY59" fmla="*/ 21232 h 24341"/>
                        <a:gd name="connsiteX60" fmla="*/ 2273 w 21530"/>
                        <a:gd name="connsiteY60" fmla="*/ 19677 h 24341"/>
                        <a:gd name="connsiteX61" fmla="*/ 2273 w 21530"/>
                        <a:gd name="connsiteY61" fmla="*/ 19677 h 24341"/>
                        <a:gd name="connsiteX62" fmla="*/ 4007 w 21530"/>
                        <a:gd name="connsiteY62" fmla="*/ 21232 h 24341"/>
                        <a:gd name="connsiteX63" fmla="*/ 7536 w 21530"/>
                        <a:gd name="connsiteY63" fmla="*/ 24342 h 24341"/>
                        <a:gd name="connsiteX64" fmla="*/ 8313 w 21530"/>
                        <a:gd name="connsiteY64" fmla="*/ 23385 h 24341"/>
                        <a:gd name="connsiteX65" fmla="*/ 7775 w 21530"/>
                        <a:gd name="connsiteY65" fmla="*/ 22906 h 24341"/>
                        <a:gd name="connsiteX66" fmla="*/ 7656 w 21530"/>
                        <a:gd name="connsiteY66" fmla="*/ 23086 h 24341"/>
                        <a:gd name="connsiteX67" fmla="*/ 5203 w 21530"/>
                        <a:gd name="connsiteY67" fmla="*/ 20933 h 24341"/>
                        <a:gd name="connsiteX68" fmla="*/ 4545 w 21530"/>
                        <a:gd name="connsiteY68" fmla="*/ 21710 h 24341"/>
                        <a:gd name="connsiteX69" fmla="*/ 7536 w 21530"/>
                        <a:gd name="connsiteY69" fmla="*/ 24342 h 2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1530" h="24341">
                          <a:moveTo>
                            <a:pt x="13636" y="718"/>
                          </a:moveTo>
                          <a:lnTo>
                            <a:pt x="14114" y="120"/>
                          </a:lnTo>
                          <a:lnTo>
                            <a:pt x="13995" y="0"/>
                          </a:lnTo>
                          <a:lnTo>
                            <a:pt x="13516" y="598"/>
                          </a:lnTo>
                          <a:lnTo>
                            <a:pt x="13636" y="718"/>
                          </a:lnTo>
                          <a:moveTo>
                            <a:pt x="15371" y="2333"/>
                          </a:moveTo>
                          <a:lnTo>
                            <a:pt x="15849" y="1735"/>
                          </a:lnTo>
                          <a:lnTo>
                            <a:pt x="14593" y="658"/>
                          </a:lnTo>
                          <a:lnTo>
                            <a:pt x="14114" y="1256"/>
                          </a:lnTo>
                          <a:lnTo>
                            <a:pt x="15371" y="2333"/>
                          </a:lnTo>
                          <a:moveTo>
                            <a:pt x="21052" y="7416"/>
                          </a:moveTo>
                          <a:lnTo>
                            <a:pt x="21531" y="6878"/>
                          </a:lnTo>
                          <a:lnTo>
                            <a:pt x="18301" y="4007"/>
                          </a:lnTo>
                          <a:lnTo>
                            <a:pt x="17822" y="4605"/>
                          </a:lnTo>
                          <a:lnTo>
                            <a:pt x="21052" y="7416"/>
                          </a:lnTo>
                          <a:moveTo>
                            <a:pt x="15789" y="12799"/>
                          </a:moveTo>
                          <a:lnTo>
                            <a:pt x="16327" y="13277"/>
                          </a:lnTo>
                          <a:lnTo>
                            <a:pt x="20394" y="8194"/>
                          </a:lnTo>
                          <a:lnTo>
                            <a:pt x="19856" y="7715"/>
                          </a:lnTo>
                          <a:lnTo>
                            <a:pt x="15789" y="12799"/>
                          </a:lnTo>
                          <a:moveTo>
                            <a:pt x="8672" y="6639"/>
                          </a:moveTo>
                          <a:lnTo>
                            <a:pt x="9210" y="7117"/>
                          </a:lnTo>
                          <a:lnTo>
                            <a:pt x="13397" y="1914"/>
                          </a:lnTo>
                          <a:lnTo>
                            <a:pt x="12978" y="1555"/>
                          </a:lnTo>
                          <a:lnTo>
                            <a:pt x="12978" y="1555"/>
                          </a:lnTo>
                          <a:lnTo>
                            <a:pt x="12859" y="1436"/>
                          </a:lnTo>
                          <a:lnTo>
                            <a:pt x="8672" y="6639"/>
                          </a:lnTo>
                          <a:moveTo>
                            <a:pt x="13636" y="15550"/>
                          </a:moveTo>
                          <a:lnTo>
                            <a:pt x="14174" y="16029"/>
                          </a:lnTo>
                          <a:lnTo>
                            <a:pt x="15729" y="14115"/>
                          </a:lnTo>
                          <a:lnTo>
                            <a:pt x="15191" y="13636"/>
                          </a:lnTo>
                          <a:lnTo>
                            <a:pt x="13636" y="15550"/>
                          </a:lnTo>
                          <a:moveTo>
                            <a:pt x="6519" y="9390"/>
                          </a:moveTo>
                          <a:lnTo>
                            <a:pt x="7057" y="9868"/>
                          </a:lnTo>
                          <a:lnTo>
                            <a:pt x="8612" y="7895"/>
                          </a:lnTo>
                          <a:lnTo>
                            <a:pt x="8074" y="7416"/>
                          </a:lnTo>
                          <a:lnTo>
                            <a:pt x="6519" y="9390"/>
                          </a:lnTo>
                          <a:moveTo>
                            <a:pt x="8373" y="22069"/>
                          </a:moveTo>
                          <a:lnTo>
                            <a:pt x="8911" y="22547"/>
                          </a:lnTo>
                          <a:lnTo>
                            <a:pt x="13516" y="16806"/>
                          </a:lnTo>
                          <a:lnTo>
                            <a:pt x="12978" y="16328"/>
                          </a:lnTo>
                          <a:lnTo>
                            <a:pt x="8373" y="22069"/>
                          </a:lnTo>
                          <a:moveTo>
                            <a:pt x="1316" y="16029"/>
                          </a:moveTo>
                          <a:lnTo>
                            <a:pt x="1794" y="16447"/>
                          </a:lnTo>
                          <a:lnTo>
                            <a:pt x="6399" y="10646"/>
                          </a:lnTo>
                          <a:lnTo>
                            <a:pt x="5921" y="10227"/>
                          </a:lnTo>
                          <a:lnTo>
                            <a:pt x="1316" y="16029"/>
                          </a:lnTo>
                          <a:moveTo>
                            <a:pt x="2990" y="19019"/>
                          </a:moveTo>
                          <a:lnTo>
                            <a:pt x="3289" y="19258"/>
                          </a:lnTo>
                          <a:lnTo>
                            <a:pt x="2990" y="19019"/>
                          </a:lnTo>
                          <a:lnTo>
                            <a:pt x="2990" y="19019"/>
                          </a:lnTo>
                          <a:moveTo>
                            <a:pt x="1734" y="19198"/>
                          </a:moveTo>
                          <a:lnTo>
                            <a:pt x="2392" y="18421"/>
                          </a:lnTo>
                          <a:lnTo>
                            <a:pt x="1136" y="17344"/>
                          </a:lnTo>
                          <a:lnTo>
                            <a:pt x="1196" y="17284"/>
                          </a:lnTo>
                          <a:lnTo>
                            <a:pt x="718" y="16866"/>
                          </a:lnTo>
                          <a:lnTo>
                            <a:pt x="0" y="17763"/>
                          </a:lnTo>
                          <a:lnTo>
                            <a:pt x="1734" y="19198"/>
                          </a:lnTo>
                          <a:moveTo>
                            <a:pt x="4007" y="21232"/>
                          </a:moveTo>
                          <a:lnTo>
                            <a:pt x="4007" y="21232"/>
                          </a:lnTo>
                          <a:lnTo>
                            <a:pt x="2273" y="19677"/>
                          </a:lnTo>
                          <a:lnTo>
                            <a:pt x="2273" y="19677"/>
                          </a:lnTo>
                          <a:lnTo>
                            <a:pt x="4007" y="21232"/>
                          </a:lnTo>
                          <a:moveTo>
                            <a:pt x="7536" y="24342"/>
                          </a:moveTo>
                          <a:lnTo>
                            <a:pt x="8313" y="23385"/>
                          </a:lnTo>
                          <a:lnTo>
                            <a:pt x="7775" y="22906"/>
                          </a:lnTo>
                          <a:lnTo>
                            <a:pt x="7656" y="23086"/>
                          </a:lnTo>
                          <a:lnTo>
                            <a:pt x="5203" y="20933"/>
                          </a:lnTo>
                          <a:lnTo>
                            <a:pt x="4545" y="21710"/>
                          </a:lnTo>
                          <a:lnTo>
                            <a:pt x="7536" y="24342"/>
                          </a:lnTo>
                        </a:path>
                      </a:pathLst>
                    </a:custGeom>
                    <a:noFill/>
                    <a:ln w="6350" cap="flat">
                      <a:solidFill>
                        <a:schemeClr val="bg1">
                          <a:alpha val="80000"/>
                        </a:schemeClr>
                      </a:solidFill>
                      <a:prstDash val="solid"/>
                      <a:miter/>
                    </a:ln>
                  </p:spPr>
                  <p:txBody>
                    <a:bodyPr rtlCol="0" anchor="ctr"/>
                    <a:lstStyle/>
                    <a:p>
                      <a:endParaRPr lang="en-GB"/>
                    </a:p>
                  </p:txBody>
                </p:sp>
                <p:sp>
                  <p:nvSpPr>
                    <p:cNvPr id="7533" name="Vrije vorm: vorm 7532">
                      <a:extLst>
                        <a:ext uri="{FF2B5EF4-FFF2-40B4-BE49-F238E27FC236}">
                          <a16:creationId xmlns:a16="http://schemas.microsoft.com/office/drawing/2014/main" id="{416D5EEE-5753-4862-AFF8-0F5D53EED65A}"/>
                        </a:ext>
                      </a:extLst>
                    </p:cNvPr>
                    <p:cNvSpPr/>
                    <p:nvPr/>
                  </p:nvSpPr>
                  <p:spPr>
                    <a:xfrm>
                      <a:off x="5378184" y="5252788"/>
                      <a:ext cx="16088" cy="19437"/>
                    </a:xfrm>
                    <a:custGeom>
                      <a:avLst/>
                      <a:gdLst>
                        <a:gd name="connsiteX0" fmla="*/ 14174 w 16088"/>
                        <a:gd name="connsiteY0" fmla="*/ 1495 h 19437"/>
                        <a:gd name="connsiteX1" fmla="*/ 14653 w 16088"/>
                        <a:gd name="connsiteY1" fmla="*/ 897 h 19437"/>
                        <a:gd name="connsiteX2" fmla="*/ 13696 w 16088"/>
                        <a:gd name="connsiteY2" fmla="*/ 0 h 19437"/>
                        <a:gd name="connsiteX3" fmla="*/ 13696 w 16088"/>
                        <a:gd name="connsiteY3" fmla="*/ 0 h 19437"/>
                        <a:gd name="connsiteX4" fmla="*/ 13218 w 16088"/>
                        <a:gd name="connsiteY4" fmla="*/ 598 h 19437"/>
                        <a:gd name="connsiteX5" fmla="*/ 14174 w 16088"/>
                        <a:gd name="connsiteY5" fmla="*/ 1495 h 19437"/>
                        <a:gd name="connsiteX6" fmla="*/ 15610 w 16088"/>
                        <a:gd name="connsiteY6" fmla="*/ 2811 h 19437"/>
                        <a:gd name="connsiteX7" fmla="*/ 16088 w 16088"/>
                        <a:gd name="connsiteY7" fmla="*/ 2213 h 19437"/>
                        <a:gd name="connsiteX8" fmla="*/ 16088 w 16088"/>
                        <a:gd name="connsiteY8" fmla="*/ 2213 h 19437"/>
                        <a:gd name="connsiteX9" fmla="*/ 15191 w 16088"/>
                        <a:gd name="connsiteY9" fmla="*/ 1375 h 19437"/>
                        <a:gd name="connsiteX10" fmla="*/ 14713 w 16088"/>
                        <a:gd name="connsiteY10" fmla="*/ 1973 h 19437"/>
                        <a:gd name="connsiteX11" fmla="*/ 15610 w 16088"/>
                        <a:gd name="connsiteY11" fmla="*/ 2811 h 19437"/>
                        <a:gd name="connsiteX12" fmla="*/ 10347 w 16088"/>
                        <a:gd name="connsiteY12" fmla="*/ 8253 h 19437"/>
                        <a:gd name="connsiteX13" fmla="*/ 10885 w 16088"/>
                        <a:gd name="connsiteY13" fmla="*/ 8732 h 19437"/>
                        <a:gd name="connsiteX14" fmla="*/ 15012 w 16088"/>
                        <a:gd name="connsiteY14" fmla="*/ 3588 h 19437"/>
                        <a:gd name="connsiteX15" fmla="*/ 14473 w 16088"/>
                        <a:gd name="connsiteY15" fmla="*/ 3110 h 19437"/>
                        <a:gd name="connsiteX16" fmla="*/ 10347 w 16088"/>
                        <a:gd name="connsiteY16" fmla="*/ 8253 h 19437"/>
                        <a:gd name="connsiteX17" fmla="*/ 8433 w 16088"/>
                        <a:gd name="connsiteY17" fmla="*/ 6579 h 19437"/>
                        <a:gd name="connsiteX18" fmla="*/ 8971 w 16088"/>
                        <a:gd name="connsiteY18" fmla="*/ 7057 h 19437"/>
                        <a:gd name="connsiteX19" fmla="*/ 13098 w 16088"/>
                        <a:gd name="connsiteY19" fmla="*/ 1914 h 19437"/>
                        <a:gd name="connsiteX20" fmla="*/ 12560 w 16088"/>
                        <a:gd name="connsiteY20" fmla="*/ 1435 h 19437"/>
                        <a:gd name="connsiteX21" fmla="*/ 8433 w 16088"/>
                        <a:gd name="connsiteY21" fmla="*/ 6579 h 19437"/>
                        <a:gd name="connsiteX22" fmla="*/ 8134 w 16088"/>
                        <a:gd name="connsiteY22" fmla="*/ 11004 h 19437"/>
                        <a:gd name="connsiteX23" fmla="*/ 8672 w 16088"/>
                        <a:gd name="connsiteY23" fmla="*/ 11483 h 19437"/>
                        <a:gd name="connsiteX24" fmla="*/ 10227 w 16088"/>
                        <a:gd name="connsiteY24" fmla="*/ 9569 h 19437"/>
                        <a:gd name="connsiteX25" fmla="*/ 9689 w 16088"/>
                        <a:gd name="connsiteY25" fmla="*/ 9090 h 19437"/>
                        <a:gd name="connsiteX26" fmla="*/ 8134 w 16088"/>
                        <a:gd name="connsiteY26" fmla="*/ 11004 h 19437"/>
                        <a:gd name="connsiteX27" fmla="*/ 6220 w 16088"/>
                        <a:gd name="connsiteY27" fmla="*/ 9330 h 19437"/>
                        <a:gd name="connsiteX28" fmla="*/ 6758 w 16088"/>
                        <a:gd name="connsiteY28" fmla="*/ 9808 h 19437"/>
                        <a:gd name="connsiteX29" fmla="*/ 8313 w 16088"/>
                        <a:gd name="connsiteY29" fmla="*/ 7895 h 19437"/>
                        <a:gd name="connsiteX30" fmla="*/ 7775 w 16088"/>
                        <a:gd name="connsiteY30" fmla="*/ 7416 h 19437"/>
                        <a:gd name="connsiteX31" fmla="*/ 6220 w 16088"/>
                        <a:gd name="connsiteY31" fmla="*/ 9330 h 19437"/>
                        <a:gd name="connsiteX32" fmla="*/ 2930 w 16088"/>
                        <a:gd name="connsiteY32" fmla="*/ 17523 h 19437"/>
                        <a:gd name="connsiteX33" fmla="*/ 3170 w 16088"/>
                        <a:gd name="connsiteY33" fmla="*/ 17703 h 19437"/>
                        <a:gd name="connsiteX34" fmla="*/ 7775 w 16088"/>
                        <a:gd name="connsiteY34" fmla="*/ 11902 h 19437"/>
                        <a:gd name="connsiteX35" fmla="*/ 7536 w 16088"/>
                        <a:gd name="connsiteY35" fmla="*/ 11722 h 19437"/>
                        <a:gd name="connsiteX36" fmla="*/ 2930 w 16088"/>
                        <a:gd name="connsiteY36" fmla="*/ 17523 h 19437"/>
                        <a:gd name="connsiteX37" fmla="*/ 1435 w 16088"/>
                        <a:gd name="connsiteY37" fmla="*/ 16267 h 19437"/>
                        <a:gd name="connsiteX38" fmla="*/ 1555 w 16088"/>
                        <a:gd name="connsiteY38" fmla="*/ 16387 h 19437"/>
                        <a:gd name="connsiteX39" fmla="*/ 6160 w 16088"/>
                        <a:gd name="connsiteY39" fmla="*/ 10645 h 19437"/>
                        <a:gd name="connsiteX40" fmla="*/ 6041 w 16088"/>
                        <a:gd name="connsiteY40" fmla="*/ 10526 h 19437"/>
                        <a:gd name="connsiteX41" fmla="*/ 1435 w 16088"/>
                        <a:gd name="connsiteY41" fmla="*/ 16267 h 19437"/>
                        <a:gd name="connsiteX42" fmla="*/ 1794 w 16088"/>
                        <a:gd name="connsiteY42" fmla="*/ 19437 h 19437"/>
                        <a:gd name="connsiteX43" fmla="*/ 2512 w 16088"/>
                        <a:gd name="connsiteY43" fmla="*/ 18540 h 19437"/>
                        <a:gd name="connsiteX44" fmla="*/ 2273 w 16088"/>
                        <a:gd name="connsiteY44" fmla="*/ 18361 h 19437"/>
                        <a:gd name="connsiteX45" fmla="*/ 2153 w 16088"/>
                        <a:gd name="connsiteY45" fmla="*/ 18480 h 19437"/>
                        <a:gd name="connsiteX46" fmla="*/ 1017 w 16088"/>
                        <a:gd name="connsiteY46" fmla="*/ 17523 h 19437"/>
                        <a:gd name="connsiteX47" fmla="*/ 718 w 16088"/>
                        <a:gd name="connsiteY47" fmla="*/ 17284 h 19437"/>
                        <a:gd name="connsiteX48" fmla="*/ 718 w 16088"/>
                        <a:gd name="connsiteY48" fmla="*/ 17284 h 19437"/>
                        <a:gd name="connsiteX49" fmla="*/ 837 w 16088"/>
                        <a:gd name="connsiteY49" fmla="*/ 17165 h 19437"/>
                        <a:gd name="connsiteX50" fmla="*/ 718 w 16088"/>
                        <a:gd name="connsiteY50" fmla="*/ 17105 h 19437"/>
                        <a:gd name="connsiteX51" fmla="*/ 0 w 16088"/>
                        <a:gd name="connsiteY51" fmla="*/ 18002 h 19437"/>
                        <a:gd name="connsiteX52" fmla="*/ 1794 w 16088"/>
                        <a:gd name="connsiteY52" fmla="*/ 19437 h 1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6088" h="19437">
                          <a:moveTo>
                            <a:pt x="14174" y="1495"/>
                          </a:moveTo>
                          <a:lnTo>
                            <a:pt x="14653" y="897"/>
                          </a:lnTo>
                          <a:lnTo>
                            <a:pt x="13696" y="0"/>
                          </a:lnTo>
                          <a:lnTo>
                            <a:pt x="13696" y="0"/>
                          </a:lnTo>
                          <a:lnTo>
                            <a:pt x="13218" y="598"/>
                          </a:lnTo>
                          <a:lnTo>
                            <a:pt x="14174" y="1495"/>
                          </a:lnTo>
                          <a:moveTo>
                            <a:pt x="15610" y="2811"/>
                          </a:moveTo>
                          <a:lnTo>
                            <a:pt x="16088" y="2213"/>
                          </a:lnTo>
                          <a:lnTo>
                            <a:pt x="16088" y="2213"/>
                          </a:lnTo>
                          <a:lnTo>
                            <a:pt x="15191" y="1375"/>
                          </a:lnTo>
                          <a:lnTo>
                            <a:pt x="14713" y="1973"/>
                          </a:lnTo>
                          <a:lnTo>
                            <a:pt x="15610" y="2811"/>
                          </a:lnTo>
                          <a:moveTo>
                            <a:pt x="10347" y="8253"/>
                          </a:moveTo>
                          <a:lnTo>
                            <a:pt x="10885" y="8732"/>
                          </a:lnTo>
                          <a:lnTo>
                            <a:pt x="15012" y="3588"/>
                          </a:lnTo>
                          <a:lnTo>
                            <a:pt x="14473" y="3110"/>
                          </a:lnTo>
                          <a:lnTo>
                            <a:pt x="10347" y="8253"/>
                          </a:lnTo>
                          <a:moveTo>
                            <a:pt x="8433" y="6579"/>
                          </a:moveTo>
                          <a:lnTo>
                            <a:pt x="8971" y="7057"/>
                          </a:lnTo>
                          <a:lnTo>
                            <a:pt x="13098" y="1914"/>
                          </a:lnTo>
                          <a:lnTo>
                            <a:pt x="12560" y="1435"/>
                          </a:lnTo>
                          <a:lnTo>
                            <a:pt x="8433" y="6579"/>
                          </a:lnTo>
                          <a:moveTo>
                            <a:pt x="8134" y="11004"/>
                          </a:moveTo>
                          <a:lnTo>
                            <a:pt x="8672" y="11483"/>
                          </a:lnTo>
                          <a:lnTo>
                            <a:pt x="10227" y="9569"/>
                          </a:lnTo>
                          <a:lnTo>
                            <a:pt x="9689" y="9090"/>
                          </a:lnTo>
                          <a:lnTo>
                            <a:pt x="8134" y="11004"/>
                          </a:lnTo>
                          <a:moveTo>
                            <a:pt x="6220" y="9330"/>
                          </a:moveTo>
                          <a:lnTo>
                            <a:pt x="6758" y="9808"/>
                          </a:lnTo>
                          <a:lnTo>
                            <a:pt x="8313" y="7895"/>
                          </a:lnTo>
                          <a:lnTo>
                            <a:pt x="7775" y="7416"/>
                          </a:lnTo>
                          <a:lnTo>
                            <a:pt x="6220" y="9330"/>
                          </a:lnTo>
                          <a:moveTo>
                            <a:pt x="2930" y="17523"/>
                          </a:moveTo>
                          <a:lnTo>
                            <a:pt x="3170" y="17703"/>
                          </a:lnTo>
                          <a:lnTo>
                            <a:pt x="7775" y="11902"/>
                          </a:lnTo>
                          <a:lnTo>
                            <a:pt x="7536" y="11722"/>
                          </a:lnTo>
                          <a:lnTo>
                            <a:pt x="2930" y="17523"/>
                          </a:lnTo>
                          <a:moveTo>
                            <a:pt x="1435" y="16267"/>
                          </a:moveTo>
                          <a:lnTo>
                            <a:pt x="1555" y="16387"/>
                          </a:lnTo>
                          <a:lnTo>
                            <a:pt x="6160" y="10645"/>
                          </a:lnTo>
                          <a:lnTo>
                            <a:pt x="6041" y="10526"/>
                          </a:lnTo>
                          <a:lnTo>
                            <a:pt x="1435" y="16267"/>
                          </a:lnTo>
                          <a:moveTo>
                            <a:pt x="1794" y="19437"/>
                          </a:moveTo>
                          <a:lnTo>
                            <a:pt x="2512" y="18540"/>
                          </a:lnTo>
                          <a:lnTo>
                            <a:pt x="2273" y="18361"/>
                          </a:lnTo>
                          <a:lnTo>
                            <a:pt x="2153" y="18480"/>
                          </a:lnTo>
                          <a:lnTo>
                            <a:pt x="1017" y="17523"/>
                          </a:lnTo>
                          <a:lnTo>
                            <a:pt x="718" y="17284"/>
                          </a:lnTo>
                          <a:lnTo>
                            <a:pt x="718" y="17284"/>
                          </a:lnTo>
                          <a:lnTo>
                            <a:pt x="837" y="17165"/>
                          </a:lnTo>
                          <a:lnTo>
                            <a:pt x="718" y="17105"/>
                          </a:lnTo>
                          <a:lnTo>
                            <a:pt x="0" y="18002"/>
                          </a:lnTo>
                          <a:lnTo>
                            <a:pt x="1794" y="19437"/>
                          </a:lnTo>
                        </a:path>
                      </a:pathLst>
                    </a:custGeom>
                    <a:noFill/>
                    <a:ln w="6350" cap="flat">
                      <a:solidFill>
                        <a:schemeClr val="bg1">
                          <a:alpha val="80000"/>
                        </a:schemeClr>
                      </a:solidFill>
                      <a:prstDash val="solid"/>
                      <a:miter/>
                    </a:ln>
                  </p:spPr>
                  <p:txBody>
                    <a:bodyPr rtlCol="0" anchor="ctr"/>
                    <a:lstStyle/>
                    <a:p>
                      <a:endParaRPr lang="en-GB"/>
                    </a:p>
                  </p:txBody>
                </p:sp>
                <p:sp>
                  <p:nvSpPr>
                    <p:cNvPr id="7534" name="Vrije vorm: vorm 7533">
                      <a:extLst>
                        <a:ext uri="{FF2B5EF4-FFF2-40B4-BE49-F238E27FC236}">
                          <a16:creationId xmlns:a16="http://schemas.microsoft.com/office/drawing/2014/main" id="{FF60F2FE-9BEA-463F-A592-AEF10782606E}"/>
                        </a:ext>
                      </a:extLst>
                    </p:cNvPr>
                    <p:cNvSpPr/>
                    <p:nvPr/>
                  </p:nvSpPr>
                  <p:spPr>
                    <a:xfrm>
                      <a:off x="5386377" y="5242382"/>
                      <a:ext cx="18360" cy="19257"/>
                    </a:xfrm>
                    <a:custGeom>
                      <a:avLst/>
                      <a:gdLst>
                        <a:gd name="connsiteX0" fmla="*/ 8971 w 18360"/>
                        <a:gd name="connsiteY0" fmla="*/ 2273 h 19257"/>
                        <a:gd name="connsiteX1" fmla="*/ 8971 w 18360"/>
                        <a:gd name="connsiteY1" fmla="*/ 2273 h 19257"/>
                        <a:gd name="connsiteX2" fmla="*/ 9091 w 18360"/>
                        <a:gd name="connsiteY2" fmla="*/ 2332 h 19257"/>
                        <a:gd name="connsiteX3" fmla="*/ 6519 w 18360"/>
                        <a:gd name="connsiteY3" fmla="*/ 0 h 19257"/>
                        <a:gd name="connsiteX4" fmla="*/ 6519 w 18360"/>
                        <a:gd name="connsiteY4" fmla="*/ 0 h 19257"/>
                        <a:gd name="connsiteX5" fmla="*/ 8971 w 18360"/>
                        <a:gd name="connsiteY5" fmla="*/ 2273 h 19257"/>
                        <a:gd name="connsiteX6" fmla="*/ 5921 w 18360"/>
                        <a:gd name="connsiteY6" fmla="*/ 11902 h 19257"/>
                        <a:gd name="connsiteX7" fmla="*/ 5921 w 18360"/>
                        <a:gd name="connsiteY7" fmla="*/ 11902 h 19257"/>
                        <a:gd name="connsiteX8" fmla="*/ 4964 w 18360"/>
                        <a:gd name="connsiteY8" fmla="*/ 11004 h 19257"/>
                        <a:gd name="connsiteX9" fmla="*/ 3708 w 18360"/>
                        <a:gd name="connsiteY9" fmla="*/ 9928 h 19257"/>
                        <a:gd name="connsiteX10" fmla="*/ 3708 w 18360"/>
                        <a:gd name="connsiteY10" fmla="*/ 9928 h 19257"/>
                        <a:gd name="connsiteX11" fmla="*/ 5921 w 18360"/>
                        <a:gd name="connsiteY11" fmla="*/ 11902 h 19257"/>
                        <a:gd name="connsiteX12" fmla="*/ 2572 w 18360"/>
                        <a:gd name="connsiteY12" fmla="*/ 10167 h 19257"/>
                        <a:gd name="connsiteX13" fmla="*/ 3170 w 18360"/>
                        <a:gd name="connsiteY13" fmla="*/ 9389 h 19257"/>
                        <a:gd name="connsiteX14" fmla="*/ 3050 w 18360"/>
                        <a:gd name="connsiteY14" fmla="*/ 9270 h 19257"/>
                        <a:gd name="connsiteX15" fmla="*/ 1196 w 18360"/>
                        <a:gd name="connsiteY15" fmla="*/ 7655 h 19257"/>
                        <a:gd name="connsiteX16" fmla="*/ 6280 w 18360"/>
                        <a:gd name="connsiteY16" fmla="*/ 1256 h 19257"/>
                        <a:gd name="connsiteX17" fmla="*/ 5742 w 18360"/>
                        <a:gd name="connsiteY17" fmla="*/ 778 h 19257"/>
                        <a:gd name="connsiteX18" fmla="*/ 0 w 18360"/>
                        <a:gd name="connsiteY18" fmla="*/ 7954 h 19257"/>
                        <a:gd name="connsiteX19" fmla="*/ 2392 w 18360"/>
                        <a:gd name="connsiteY19" fmla="*/ 10107 h 19257"/>
                        <a:gd name="connsiteX20" fmla="*/ 2572 w 18360"/>
                        <a:gd name="connsiteY20" fmla="*/ 10167 h 19257"/>
                        <a:gd name="connsiteX21" fmla="*/ 12679 w 18360"/>
                        <a:gd name="connsiteY21" fmla="*/ 19258 h 19257"/>
                        <a:gd name="connsiteX22" fmla="*/ 18361 w 18360"/>
                        <a:gd name="connsiteY22" fmla="*/ 12141 h 19257"/>
                        <a:gd name="connsiteX23" fmla="*/ 12320 w 18360"/>
                        <a:gd name="connsiteY23" fmla="*/ 6698 h 19257"/>
                        <a:gd name="connsiteX24" fmla="*/ 12320 w 18360"/>
                        <a:gd name="connsiteY24" fmla="*/ 6698 h 19257"/>
                        <a:gd name="connsiteX25" fmla="*/ 17823 w 18360"/>
                        <a:gd name="connsiteY25" fmla="*/ 11662 h 19257"/>
                        <a:gd name="connsiteX26" fmla="*/ 12799 w 18360"/>
                        <a:gd name="connsiteY26" fmla="*/ 18002 h 19257"/>
                        <a:gd name="connsiteX27" fmla="*/ 10646 w 18360"/>
                        <a:gd name="connsiteY27" fmla="*/ 16088 h 19257"/>
                        <a:gd name="connsiteX28" fmla="*/ 7416 w 18360"/>
                        <a:gd name="connsiteY28" fmla="*/ 13217 h 19257"/>
                        <a:gd name="connsiteX29" fmla="*/ 6519 w 18360"/>
                        <a:gd name="connsiteY29" fmla="*/ 12380 h 19257"/>
                        <a:gd name="connsiteX30" fmla="*/ 5921 w 18360"/>
                        <a:gd name="connsiteY30" fmla="*/ 13157 h 19257"/>
                        <a:gd name="connsiteX31" fmla="*/ 6280 w 18360"/>
                        <a:gd name="connsiteY31" fmla="*/ 13516 h 19257"/>
                        <a:gd name="connsiteX32" fmla="*/ 6818 w 18360"/>
                        <a:gd name="connsiteY32" fmla="*/ 13995 h 19257"/>
                        <a:gd name="connsiteX33" fmla="*/ 9510 w 18360"/>
                        <a:gd name="connsiteY33" fmla="*/ 16387 h 19257"/>
                        <a:gd name="connsiteX34" fmla="*/ 10048 w 18360"/>
                        <a:gd name="connsiteY34" fmla="*/ 16865 h 19257"/>
                        <a:gd name="connsiteX35" fmla="*/ 12679 w 18360"/>
                        <a:gd name="connsiteY35" fmla="*/ 19258 h 1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360" h="19257">
                          <a:moveTo>
                            <a:pt x="8971" y="2273"/>
                          </a:moveTo>
                          <a:lnTo>
                            <a:pt x="8971" y="2273"/>
                          </a:lnTo>
                          <a:lnTo>
                            <a:pt x="9091" y="2332"/>
                          </a:lnTo>
                          <a:lnTo>
                            <a:pt x="6519" y="0"/>
                          </a:lnTo>
                          <a:lnTo>
                            <a:pt x="6519" y="0"/>
                          </a:lnTo>
                          <a:lnTo>
                            <a:pt x="8971" y="2273"/>
                          </a:lnTo>
                          <a:moveTo>
                            <a:pt x="5921" y="11902"/>
                          </a:moveTo>
                          <a:lnTo>
                            <a:pt x="5921" y="11902"/>
                          </a:lnTo>
                          <a:lnTo>
                            <a:pt x="4964" y="11004"/>
                          </a:lnTo>
                          <a:lnTo>
                            <a:pt x="3708" y="9928"/>
                          </a:lnTo>
                          <a:lnTo>
                            <a:pt x="3708" y="9928"/>
                          </a:lnTo>
                          <a:lnTo>
                            <a:pt x="5921" y="11902"/>
                          </a:lnTo>
                          <a:moveTo>
                            <a:pt x="2572" y="10167"/>
                          </a:moveTo>
                          <a:lnTo>
                            <a:pt x="3170" y="9389"/>
                          </a:lnTo>
                          <a:lnTo>
                            <a:pt x="3050" y="9270"/>
                          </a:lnTo>
                          <a:lnTo>
                            <a:pt x="1196" y="7655"/>
                          </a:lnTo>
                          <a:lnTo>
                            <a:pt x="6280" y="1256"/>
                          </a:lnTo>
                          <a:lnTo>
                            <a:pt x="5742" y="778"/>
                          </a:lnTo>
                          <a:lnTo>
                            <a:pt x="0" y="7954"/>
                          </a:lnTo>
                          <a:lnTo>
                            <a:pt x="2392" y="10107"/>
                          </a:lnTo>
                          <a:lnTo>
                            <a:pt x="2572" y="10167"/>
                          </a:lnTo>
                          <a:moveTo>
                            <a:pt x="12679" y="19258"/>
                          </a:moveTo>
                          <a:lnTo>
                            <a:pt x="18361" y="12141"/>
                          </a:lnTo>
                          <a:lnTo>
                            <a:pt x="12320" y="6698"/>
                          </a:lnTo>
                          <a:lnTo>
                            <a:pt x="12320" y="6698"/>
                          </a:lnTo>
                          <a:lnTo>
                            <a:pt x="17823" y="11662"/>
                          </a:lnTo>
                          <a:lnTo>
                            <a:pt x="12799" y="18002"/>
                          </a:lnTo>
                          <a:lnTo>
                            <a:pt x="10646" y="16088"/>
                          </a:lnTo>
                          <a:lnTo>
                            <a:pt x="7416" y="13217"/>
                          </a:lnTo>
                          <a:lnTo>
                            <a:pt x="6519" y="12380"/>
                          </a:lnTo>
                          <a:lnTo>
                            <a:pt x="5921" y="13157"/>
                          </a:lnTo>
                          <a:lnTo>
                            <a:pt x="6280" y="13516"/>
                          </a:lnTo>
                          <a:lnTo>
                            <a:pt x="6818" y="13995"/>
                          </a:lnTo>
                          <a:lnTo>
                            <a:pt x="9510" y="16387"/>
                          </a:lnTo>
                          <a:lnTo>
                            <a:pt x="10048" y="16865"/>
                          </a:lnTo>
                          <a:lnTo>
                            <a:pt x="12679" y="19258"/>
                          </a:lnTo>
                        </a:path>
                      </a:pathLst>
                    </a:custGeom>
                    <a:noFill/>
                    <a:ln w="6350" cap="flat">
                      <a:solidFill>
                        <a:schemeClr val="bg1">
                          <a:alpha val="80000"/>
                        </a:schemeClr>
                      </a:solidFill>
                      <a:prstDash val="solid"/>
                      <a:miter/>
                    </a:ln>
                  </p:spPr>
                  <p:txBody>
                    <a:bodyPr rtlCol="0" anchor="ctr"/>
                    <a:lstStyle/>
                    <a:p>
                      <a:endParaRPr lang="en-GB"/>
                    </a:p>
                  </p:txBody>
                </p:sp>
                <p:sp>
                  <p:nvSpPr>
                    <p:cNvPr id="7535" name="Vrije vorm: vorm 7534">
                      <a:extLst>
                        <a:ext uri="{FF2B5EF4-FFF2-40B4-BE49-F238E27FC236}">
                          <a16:creationId xmlns:a16="http://schemas.microsoft.com/office/drawing/2014/main" id="{13D7F7AB-A89E-4841-8CB1-659D8271FA91}"/>
                        </a:ext>
                      </a:extLst>
                    </p:cNvPr>
                    <p:cNvSpPr/>
                    <p:nvPr/>
                  </p:nvSpPr>
                  <p:spPr>
                    <a:xfrm>
                      <a:off x="5388949" y="5244654"/>
                      <a:ext cx="9629" cy="10884"/>
                    </a:xfrm>
                    <a:custGeom>
                      <a:avLst/>
                      <a:gdLst>
                        <a:gd name="connsiteX0" fmla="*/ 9629 w 9629"/>
                        <a:gd name="connsiteY0" fmla="*/ 2930 h 10884"/>
                        <a:gd name="connsiteX1" fmla="*/ 9629 w 9629"/>
                        <a:gd name="connsiteY1" fmla="*/ 2930 h 10884"/>
                        <a:gd name="connsiteX2" fmla="*/ 6459 w 9629"/>
                        <a:gd name="connsiteY2" fmla="*/ 60 h 10884"/>
                        <a:gd name="connsiteX3" fmla="*/ 6399 w 9629"/>
                        <a:gd name="connsiteY3" fmla="*/ 0 h 10884"/>
                        <a:gd name="connsiteX4" fmla="*/ 6399 w 9629"/>
                        <a:gd name="connsiteY4" fmla="*/ 0 h 10884"/>
                        <a:gd name="connsiteX5" fmla="*/ 9629 w 9629"/>
                        <a:gd name="connsiteY5" fmla="*/ 2930 h 10884"/>
                        <a:gd name="connsiteX6" fmla="*/ 3290 w 9629"/>
                        <a:gd name="connsiteY6" fmla="*/ 10885 h 10884"/>
                        <a:gd name="connsiteX7" fmla="*/ 3290 w 9629"/>
                        <a:gd name="connsiteY7" fmla="*/ 10885 h 10884"/>
                        <a:gd name="connsiteX8" fmla="*/ 3947 w 9629"/>
                        <a:gd name="connsiteY8" fmla="*/ 10107 h 10884"/>
                        <a:gd name="connsiteX9" fmla="*/ 4426 w 9629"/>
                        <a:gd name="connsiteY9" fmla="*/ 9509 h 10884"/>
                        <a:gd name="connsiteX10" fmla="*/ 9031 w 9629"/>
                        <a:gd name="connsiteY10" fmla="*/ 3768 h 10884"/>
                        <a:gd name="connsiteX11" fmla="*/ 8493 w 9629"/>
                        <a:gd name="connsiteY11" fmla="*/ 3289 h 10884"/>
                        <a:gd name="connsiteX12" fmla="*/ 3888 w 9629"/>
                        <a:gd name="connsiteY12" fmla="*/ 9031 h 10884"/>
                        <a:gd name="connsiteX13" fmla="*/ 3409 w 9629"/>
                        <a:gd name="connsiteY13" fmla="*/ 9629 h 10884"/>
                        <a:gd name="connsiteX14" fmla="*/ 3409 w 9629"/>
                        <a:gd name="connsiteY14" fmla="*/ 9629 h 10884"/>
                        <a:gd name="connsiteX15" fmla="*/ 1196 w 9629"/>
                        <a:gd name="connsiteY15" fmla="*/ 7655 h 10884"/>
                        <a:gd name="connsiteX16" fmla="*/ 1196 w 9629"/>
                        <a:gd name="connsiteY16" fmla="*/ 7655 h 10884"/>
                        <a:gd name="connsiteX17" fmla="*/ 1675 w 9629"/>
                        <a:gd name="connsiteY17" fmla="*/ 7057 h 10884"/>
                        <a:gd name="connsiteX18" fmla="*/ 6280 w 9629"/>
                        <a:gd name="connsiteY18" fmla="*/ 1256 h 10884"/>
                        <a:gd name="connsiteX19" fmla="*/ 5742 w 9629"/>
                        <a:gd name="connsiteY19" fmla="*/ 777 h 10884"/>
                        <a:gd name="connsiteX20" fmla="*/ 1077 w 9629"/>
                        <a:gd name="connsiteY20" fmla="*/ 6579 h 10884"/>
                        <a:gd name="connsiteX21" fmla="*/ 598 w 9629"/>
                        <a:gd name="connsiteY21" fmla="*/ 7177 h 10884"/>
                        <a:gd name="connsiteX22" fmla="*/ 0 w 9629"/>
                        <a:gd name="connsiteY22" fmla="*/ 7954 h 10884"/>
                        <a:gd name="connsiteX23" fmla="*/ 0 w 9629"/>
                        <a:gd name="connsiteY23" fmla="*/ 7954 h 10884"/>
                        <a:gd name="connsiteX24" fmla="*/ 419 w 9629"/>
                        <a:gd name="connsiteY24" fmla="*/ 8313 h 10884"/>
                        <a:gd name="connsiteX25" fmla="*/ 1735 w 9629"/>
                        <a:gd name="connsiteY25" fmla="*/ 9509 h 10884"/>
                        <a:gd name="connsiteX26" fmla="*/ 2273 w 9629"/>
                        <a:gd name="connsiteY26" fmla="*/ 9988 h 10884"/>
                        <a:gd name="connsiteX27" fmla="*/ 3290 w 9629"/>
                        <a:gd name="connsiteY27" fmla="*/ 10885 h 1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629" h="10884">
                          <a:moveTo>
                            <a:pt x="9629" y="2930"/>
                          </a:moveTo>
                          <a:lnTo>
                            <a:pt x="9629" y="2930"/>
                          </a:lnTo>
                          <a:lnTo>
                            <a:pt x="6459" y="60"/>
                          </a:lnTo>
                          <a:lnTo>
                            <a:pt x="6399" y="0"/>
                          </a:lnTo>
                          <a:lnTo>
                            <a:pt x="6399" y="0"/>
                          </a:lnTo>
                          <a:lnTo>
                            <a:pt x="9629" y="2930"/>
                          </a:lnTo>
                          <a:moveTo>
                            <a:pt x="3290" y="10885"/>
                          </a:moveTo>
                          <a:lnTo>
                            <a:pt x="3290" y="10885"/>
                          </a:lnTo>
                          <a:lnTo>
                            <a:pt x="3947" y="10107"/>
                          </a:lnTo>
                          <a:lnTo>
                            <a:pt x="4426" y="9509"/>
                          </a:lnTo>
                          <a:lnTo>
                            <a:pt x="9031" y="3768"/>
                          </a:lnTo>
                          <a:lnTo>
                            <a:pt x="8493" y="3289"/>
                          </a:lnTo>
                          <a:lnTo>
                            <a:pt x="3888" y="9031"/>
                          </a:lnTo>
                          <a:lnTo>
                            <a:pt x="3409" y="9629"/>
                          </a:lnTo>
                          <a:lnTo>
                            <a:pt x="3409" y="9629"/>
                          </a:lnTo>
                          <a:lnTo>
                            <a:pt x="1196" y="7655"/>
                          </a:lnTo>
                          <a:lnTo>
                            <a:pt x="1196" y="7655"/>
                          </a:lnTo>
                          <a:lnTo>
                            <a:pt x="1675" y="7057"/>
                          </a:lnTo>
                          <a:lnTo>
                            <a:pt x="6280" y="1256"/>
                          </a:lnTo>
                          <a:lnTo>
                            <a:pt x="5742" y="777"/>
                          </a:lnTo>
                          <a:lnTo>
                            <a:pt x="1077" y="6579"/>
                          </a:lnTo>
                          <a:lnTo>
                            <a:pt x="598" y="7177"/>
                          </a:lnTo>
                          <a:lnTo>
                            <a:pt x="0" y="7954"/>
                          </a:lnTo>
                          <a:lnTo>
                            <a:pt x="0" y="7954"/>
                          </a:lnTo>
                          <a:lnTo>
                            <a:pt x="419" y="8313"/>
                          </a:lnTo>
                          <a:lnTo>
                            <a:pt x="1735" y="9509"/>
                          </a:lnTo>
                          <a:lnTo>
                            <a:pt x="2273" y="9988"/>
                          </a:lnTo>
                          <a:lnTo>
                            <a:pt x="3290" y="10885"/>
                          </a:lnTo>
                        </a:path>
                      </a:pathLst>
                    </a:custGeom>
                    <a:noFill/>
                    <a:ln w="6350" cap="flat">
                      <a:solidFill>
                        <a:schemeClr val="bg1">
                          <a:alpha val="80000"/>
                        </a:schemeClr>
                      </a:solidFill>
                      <a:prstDash val="solid"/>
                      <a:miter/>
                    </a:ln>
                  </p:spPr>
                  <p:txBody>
                    <a:bodyPr rtlCol="0" anchor="ctr"/>
                    <a:lstStyle/>
                    <a:p>
                      <a:endParaRPr lang="en-GB"/>
                    </a:p>
                  </p:txBody>
                </p:sp>
                <p:sp>
                  <p:nvSpPr>
                    <p:cNvPr id="7536" name="Vrije vorm: vorm 7535">
                      <a:extLst>
                        <a:ext uri="{FF2B5EF4-FFF2-40B4-BE49-F238E27FC236}">
                          <a16:creationId xmlns:a16="http://schemas.microsoft.com/office/drawing/2014/main" id="{F8ED6CBE-ABBA-4CA2-A929-ECE24A66FEEC}"/>
                        </a:ext>
                      </a:extLst>
                    </p:cNvPr>
                    <p:cNvSpPr/>
                    <p:nvPr/>
                  </p:nvSpPr>
                  <p:spPr>
                    <a:xfrm>
                      <a:off x="5388411" y="5215050"/>
                      <a:ext cx="41027" cy="44556"/>
                    </a:xfrm>
                    <a:custGeom>
                      <a:avLst/>
                      <a:gdLst>
                        <a:gd name="connsiteX0" fmla="*/ 17284 w 41027"/>
                        <a:gd name="connsiteY0" fmla="*/ 6160 h 44556"/>
                        <a:gd name="connsiteX1" fmla="*/ 24342 w 41027"/>
                        <a:gd name="connsiteY1" fmla="*/ 1435 h 44556"/>
                        <a:gd name="connsiteX2" fmla="*/ 24641 w 41027"/>
                        <a:gd name="connsiteY2" fmla="*/ 1136 h 44556"/>
                        <a:gd name="connsiteX3" fmla="*/ 24820 w 41027"/>
                        <a:gd name="connsiteY3" fmla="*/ 837 h 44556"/>
                        <a:gd name="connsiteX4" fmla="*/ 24880 w 41027"/>
                        <a:gd name="connsiteY4" fmla="*/ 538 h 44556"/>
                        <a:gd name="connsiteX5" fmla="*/ 24880 w 41027"/>
                        <a:gd name="connsiteY5" fmla="*/ 239 h 44556"/>
                        <a:gd name="connsiteX6" fmla="*/ 24760 w 41027"/>
                        <a:gd name="connsiteY6" fmla="*/ 0 h 44556"/>
                        <a:gd name="connsiteX7" fmla="*/ 24760 w 41027"/>
                        <a:gd name="connsiteY7" fmla="*/ 0 h 44556"/>
                        <a:gd name="connsiteX8" fmla="*/ 24760 w 41027"/>
                        <a:gd name="connsiteY8" fmla="*/ 0 h 44556"/>
                        <a:gd name="connsiteX9" fmla="*/ 24760 w 41027"/>
                        <a:gd name="connsiteY9" fmla="*/ 0 h 44556"/>
                        <a:gd name="connsiteX10" fmla="*/ 24760 w 41027"/>
                        <a:gd name="connsiteY10" fmla="*/ 0 h 44556"/>
                        <a:gd name="connsiteX11" fmla="*/ 24880 w 41027"/>
                        <a:gd name="connsiteY11" fmla="*/ 239 h 44556"/>
                        <a:gd name="connsiteX12" fmla="*/ 24940 w 41027"/>
                        <a:gd name="connsiteY12" fmla="*/ 538 h 44556"/>
                        <a:gd name="connsiteX13" fmla="*/ 24880 w 41027"/>
                        <a:gd name="connsiteY13" fmla="*/ 837 h 44556"/>
                        <a:gd name="connsiteX14" fmla="*/ 24700 w 41027"/>
                        <a:gd name="connsiteY14" fmla="*/ 1136 h 44556"/>
                        <a:gd name="connsiteX15" fmla="*/ 24401 w 41027"/>
                        <a:gd name="connsiteY15" fmla="*/ 1435 h 44556"/>
                        <a:gd name="connsiteX16" fmla="*/ 17284 w 41027"/>
                        <a:gd name="connsiteY16" fmla="*/ 6160 h 44556"/>
                        <a:gd name="connsiteX17" fmla="*/ 34927 w 41027"/>
                        <a:gd name="connsiteY17" fmla="*/ 22308 h 44556"/>
                        <a:gd name="connsiteX18" fmla="*/ 35167 w 41027"/>
                        <a:gd name="connsiteY18" fmla="*/ 22308 h 44556"/>
                        <a:gd name="connsiteX19" fmla="*/ 35406 w 41027"/>
                        <a:gd name="connsiteY19" fmla="*/ 22308 h 44556"/>
                        <a:gd name="connsiteX20" fmla="*/ 35645 w 41027"/>
                        <a:gd name="connsiteY20" fmla="*/ 22248 h 44556"/>
                        <a:gd name="connsiteX21" fmla="*/ 35884 w 41027"/>
                        <a:gd name="connsiteY21" fmla="*/ 22188 h 44556"/>
                        <a:gd name="connsiteX22" fmla="*/ 38875 w 41027"/>
                        <a:gd name="connsiteY22" fmla="*/ 14772 h 44556"/>
                        <a:gd name="connsiteX23" fmla="*/ 39054 w 41027"/>
                        <a:gd name="connsiteY23" fmla="*/ 14413 h 44556"/>
                        <a:gd name="connsiteX24" fmla="*/ 39592 w 41027"/>
                        <a:gd name="connsiteY24" fmla="*/ 14055 h 44556"/>
                        <a:gd name="connsiteX25" fmla="*/ 40071 w 41027"/>
                        <a:gd name="connsiteY25" fmla="*/ 14174 h 44556"/>
                        <a:gd name="connsiteX26" fmla="*/ 40250 w 41027"/>
                        <a:gd name="connsiteY26" fmla="*/ 14712 h 44556"/>
                        <a:gd name="connsiteX27" fmla="*/ 38516 w 41027"/>
                        <a:gd name="connsiteY27" fmla="*/ 21590 h 44556"/>
                        <a:gd name="connsiteX28" fmla="*/ 38695 w 41027"/>
                        <a:gd name="connsiteY28" fmla="*/ 21530 h 44556"/>
                        <a:gd name="connsiteX29" fmla="*/ 38875 w 41027"/>
                        <a:gd name="connsiteY29" fmla="*/ 21471 h 44556"/>
                        <a:gd name="connsiteX30" fmla="*/ 39054 w 41027"/>
                        <a:gd name="connsiteY30" fmla="*/ 21411 h 44556"/>
                        <a:gd name="connsiteX31" fmla="*/ 39234 w 41027"/>
                        <a:gd name="connsiteY31" fmla="*/ 21351 h 44556"/>
                        <a:gd name="connsiteX32" fmla="*/ 40968 w 41027"/>
                        <a:gd name="connsiteY32" fmla="*/ 14653 h 44556"/>
                        <a:gd name="connsiteX33" fmla="*/ 41028 w 41027"/>
                        <a:gd name="connsiteY33" fmla="*/ 14294 h 44556"/>
                        <a:gd name="connsiteX34" fmla="*/ 40968 w 41027"/>
                        <a:gd name="connsiteY34" fmla="*/ 13935 h 44556"/>
                        <a:gd name="connsiteX35" fmla="*/ 40848 w 41027"/>
                        <a:gd name="connsiteY35" fmla="*/ 13636 h 44556"/>
                        <a:gd name="connsiteX36" fmla="*/ 40669 w 41027"/>
                        <a:gd name="connsiteY36" fmla="*/ 13397 h 44556"/>
                        <a:gd name="connsiteX37" fmla="*/ 40430 w 41027"/>
                        <a:gd name="connsiteY37" fmla="*/ 13217 h 44556"/>
                        <a:gd name="connsiteX38" fmla="*/ 40190 w 41027"/>
                        <a:gd name="connsiteY38" fmla="*/ 13158 h 44556"/>
                        <a:gd name="connsiteX39" fmla="*/ 39891 w 41027"/>
                        <a:gd name="connsiteY39" fmla="*/ 13158 h 44556"/>
                        <a:gd name="connsiteX40" fmla="*/ 39592 w 41027"/>
                        <a:gd name="connsiteY40" fmla="*/ 13217 h 44556"/>
                        <a:gd name="connsiteX41" fmla="*/ 39293 w 41027"/>
                        <a:gd name="connsiteY41" fmla="*/ 13337 h 44556"/>
                        <a:gd name="connsiteX42" fmla="*/ 38994 w 41027"/>
                        <a:gd name="connsiteY42" fmla="*/ 13516 h 44556"/>
                        <a:gd name="connsiteX43" fmla="*/ 38695 w 41027"/>
                        <a:gd name="connsiteY43" fmla="*/ 13756 h 44556"/>
                        <a:gd name="connsiteX44" fmla="*/ 38456 w 41027"/>
                        <a:gd name="connsiteY44" fmla="*/ 14055 h 44556"/>
                        <a:gd name="connsiteX45" fmla="*/ 38037 w 41027"/>
                        <a:gd name="connsiteY45" fmla="*/ 14772 h 44556"/>
                        <a:gd name="connsiteX46" fmla="*/ 34927 w 41027"/>
                        <a:gd name="connsiteY46" fmla="*/ 22308 h 44556"/>
                        <a:gd name="connsiteX47" fmla="*/ 24342 w 41027"/>
                        <a:gd name="connsiteY47" fmla="*/ 36064 h 44556"/>
                        <a:gd name="connsiteX48" fmla="*/ 24461 w 41027"/>
                        <a:gd name="connsiteY48" fmla="*/ 36183 h 44556"/>
                        <a:gd name="connsiteX49" fmla="*/ 31219 w 41027"/>
                        <a:gd name="connsiteY49" fmla="*/ 33432 h 44556"/>
                        <a:gd name="connsiteX50" fmla="*/ 35346 w 41027"/>
                        <a:gd name="connsiteY50" fmla="*/ 23145 h 44556"/>
                        <a:gd name="connsiteX51" fmla="*/ 35107 w 41027"/>
                        <a:gd name="connsiteY51" fmla="*/ 23205 h 44556"/>
                        <a:gd name="connsiteX52" fmla="*/ 34868 w 41027"/>
                        <a:gd name="connsiteY52" fmla="*/ 23205 h 44556"/>
                        <a:gd name="connsiteX53" fmla="*/ 34628 w 41027"/>
                        <a:gd name="connsiteY53" fmla="*/ 23205 h 44556"/>
                        <a:gd name="connsiteX54" fmla="*/ 34389 w 41027"/>
                        <a:gd name="connsiteY54" fmla="*/ 23205 h 44556"/>
                        <a:gd name="connsiteX55" fmla="*/ 30561 w 41027"/>
                        <a:gd name="connsiteY55" fmla="*/ 32774 h 44556"/>
                        <a:gd name="connsiteX56" fmla="*/ 24760 w 41027"/>
                        <a:gd name="connsiteY56" fmla="*/ 35107 h 44556"/>
                        <a:gd name="connsiteX57" fmla="*/ 7416 w 41027"/>
                        <a:gd name="connsiteY57" fmla="*/ 19437 h 44556"/>
                        <a:gd name="connsiteX58" fmla="*/ 8732 w 41027"/>
                        <a:gd name="connsiteY58" fmla="*/ 12739 h 44556"/>
                        <a:gd name="connsiteX59" fmla="*/ 7416 w 41027"/>
                        <a:gd name="connsiteY59" fmla="*/ 19437 h 44556"/>
                        <a:gd name="connsiteX60" fmla="*/ 15789 w 41027"/>
                        <a:gd name="connsiteY60" fmla="*/ 27033 h 44556"/>
                        <a:gd name="connsiteX61" fmla="*/ 15191 w 41027"/>
                        <a:gd name="connsiteY61" fmla="*/ 27810 h 44556"/>
                        <a:gd name="connsiteX62" fmla="*/ 24342 w 41027"/>
                        <a:gd name="connsiteY62" fmla="*/ 36064 h 44556"/>
                        <a:gd name="connsiteX63" fmla="*/ 10406 w 41027"/>
                        <a:gd name="connsiteY63" fmla="*/ 32774 h 44556"/>
                        <a:gd name="connsiteX64" fmla="*/ 10406 w 41027"/>
                        <a:gd name="connsiteY64" fmla="*/ 32774 h 44556"/>
                        <a:gd name="connsiteX65" fmla="*/ 10167 w 41027"/>
                        <a:gd name="connsiteY65" fmla="*/ 32535 h 44556"/>
                        <a:gd name="connsiteX66" fmla="*/ 6878 w 41027"/>
                        <a:gd name="connsiteY66" fmla="*/ 29605 h 44556"/>
                        <a:gd name="connsiteX67" fmla="*/ 4366 w 41027"/>
                        <a:gd name="connsiteY67" fmla="*/ 27332 h 44556"/>
                        <a:gd name="connsiteX68" fmla="*/ 0 w 41027"/>
                        <a:gd name="connsiteY68" fmla="*/ 23444 h 44556"/>
                        <a:gd name="connsiteX69" fmla="*/ 3170 w 41027"/>
                        <a:gd name="connsiteY69" fmla="*/ 9808 h 44556"/>
                        <a:gd name="connsiteX70" fmla="*/ 0 w 41027"/>
                        <a:gd name="connsiteY70" fmla="*/ 23444 h 44556"/>
                        <a:gd name="connsiteX71" fmla="*/ 10406 w 41027"/>
                        <a:gd name="connsiteY71" fmla="*/ 32774 h 44556"/>
                        <a:gd name="connsiteX72" fmla="*/ 21889 w 41027"/>
                        <a:gd name="connsiteY72" fmla="*/ 44437 h 44556"/>
                        <a:gd name="connsiteX73" fmla="*/ 22009 w 41027"/>
                        <a:gd name="connsiteY73" fmla="*/ 44556 h 44556"/>
                        <a:gd name="connsiteX74" fmla="*/ 34748 w 41027"/>
                        <a:gd name="connsiteY74" fmla="*/ 38635 h 44556"/>
                        <a:gd name="connsiteX75" fmla="*/ 38935 w 41027"/>
                        <a:gd name="connsiteY75" fmla="*/ 22308 h 44556"/>
                        <a:gd name="connsiteX76" fmla="*/ 38755 w 41027"/>
                        <a:gd name="connsiteY76" fmla="*/ 22368 h 44556"/>
                        <a:gd name="connsiteX77" fmla="*/ 38576 w 41027"/>
                        <a:gd name="connsiteY77" fmla="*/ 22428 h 44556"/>
                        <a:gd name="connsiteX78" fmla="*/ 38396 w 41027"/>
                        <a:gd name="connsiteY78" fmla="*/ 22488 h 44556"/>
                        <a:gd name="connsiteX79" fmla="*/ 38217 w 41027"/>
                        <a:gd name="connsiteY79" fmla="*/ 22547 h 44556"/>
                        <a:gd name="connsiteX80" fmla="*/ 34269 w 41027"/>
                        <a:gd name="connsiteY80" fmla="*/ 38037 h 44556"/>
                        <a:gd name="connsiteX81" fmla="*/ 22488 w 41027"/>
                        <a:gd name="connsiteY81" fmla="*/ 43480 h 44556"/>
                        <a:gd name="connsiteX82" fmla="*/ 11064 w 41027"/>
                        <a:gd name="connsiteY82" fmla="*/ 33193 h 44556"/>
                        <a:gd name="connsiteX83" fmla="*/ 10406 w 41027"/>
                        <a:gd name="connsiteY83" fmla="*/ 33970 h 44556"/>
                        <a:gd name="connsiteX84" fmla="*/ 16447 w 41027"/>
                        <a:gd name="connsiteY84" fmla="*/ 39413 h 44556"/>
                        <a:gd name="connsiteX85" fmla="*/ 21889 w 41027"/>
                        <a:gd name="connsiteY85" fmla="*/ 44437 h 4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41027" h="44556">
                          <a:moveTo>
                            <a:pt x="17284" y="6160"/>
                          </a:moveTo>
                          <a:lnTo>
                            <a:pt x="24342" y="1435"/>
                          </a:lnTo>
                          <a:lnTo>
                            <a:pt x="24641" y="1136"/>
                          </a:lnTo>
                          <a:cubicBezTo>
                            <a:pt x="24700" y="1076"/>
                            <a:pt x="24760" y="957"/>
                            <a:pt x="24820" y="837"/>
                          </a:cubicBezTo>
                          <a:cubicBezTo>
                            <a:pt x="24880" y="718"/>
                            <a:pt x="24880" y="598"/>
                            <a:pt x="24880" y="538"/>
                          </a:cubicBezTo>
                          <a:cubicBezTo>
                            <a:pt x="24880" y="478"/>
                            <a:pt x="24880" y="359"/>
                            <a:pt x="24880" y="239"/>
                          </a:cubicBezTo>
                          <a:cubicBezTo>
                            <a:pt x="24880" y="179"/>
                            <a:pt x="24820" y="60"/>
                            <a:pt x="24760" y="0"/>
                          </a:cubicBezTo>
                          <a:cubicBezTo>
                            <a:pt x="24760" y="0"/>
                            <a:pt x="24760" y="0"/>
                            <a:pt x="24760" y="0"/>
                          </a:cubicBezTo>
                          <a:cubicBezTo>
                            <a:pt x="24760" y="0"/>
                            <a:pt x="24760" y="0"/>
                            <a:pt x="24760" y="0"/>
                          </a:cubicBezTo>
                          <a:cubicBezTo>
                            <a:pt x="24760" y="0"/>
                            <a:pt x="24760" y="0"/>
                            <a:pt x="24760" y="0"/>
                          </a:cubicBezTo>
                          <a:cubicBezTo>
                            <a:pt x="24760" y="0"/>
                            <a:pt x="24760" y="0"/>
                            <a:pt x="24760" y="0"/>
                          </a:cubicBezTo>
                          <a:cubicBezTo>
                            <a:pt x="24820" y="60"/>
                            <a:pt x="24880" y="119"/>
                            <a:pt x="24880" y="239"/>
                          </a:cubicBezTo>
                          <a:cubicBezTo>
                            <a:pt x="24880" y="299"/>
                            <a:pt x="24940" y="419"/>
                            <a:pt x="24940" y="538"/>
                          </a:cubicBezTo>
                          <a:cubicBezTo>
                            <a:pt x="24940" y="658"/>
                            <a:pt x="24880" y="778"/>
                            <a:pt x="24880" y="837"/>
                          </a:cubicBezTo>
                          <a:cubicBezTo>
                            <a:pt x="24820" y="957"/>
                            <a:pt x="24760" y="1017"/>
                            <a:pt x="24700" y="1136"/>
                          </a:cubicBezTo>
                          <a:lnTo>
                            <a:pt x="24401" y="1435"/>
                          </a:lnTo>
                          <a:lnTo>
                            <a:pt x="17284" y="6160"/>
                          </a:lnTo>
                          <a:moveTo>
                            <a:pt x="34927" y="22308"/>
                          </a:moveTo>
                          <a:cubicBezTo>
                            <a:pt x="34987" y="22308"/>
                            <a:pt x="35047" y="22308"/>
                            <a:pt x="35167" y="22308"/>
                          </a:cubicBezTo>
                          <a:cubicBezTo>
                            <a:pt x="35227" y="22308"/>
                            <a:pt x="35286" y="22308"/>
                            <a:pt x="35406" y="22308"/>
                          </a:cubicBezTo>
                          <a:cubicBezTo>
                            <a:pt x="35466" y="22308"/>
                            <a:pt x="35526" y="22308"/>
                            <a:pt x="35645" y="22248"/>
                          </a:cubicBezTo>
                          <a:cubicBezTo>
                            <a:pt x="35765" y="22188"/>
                            <a:pt x="35765" y="22248"/>
                            <a:pt x="35884" y="22188"/>
                          </a:cubicBezTo>
                          <a:lnTo>
                            <a:pt x="38875" y="14772"/>
                          </a:lnTo>
                          <a:lnTo>
                            <a:pt x="39054" y="14413"/>
                          </a:lnTo>
                          <a:lnTo>
                            <a:pt x="39592" y="14055"/>
                          </a:lnTo>
                          <a:lnTo>
                            <a:pt x="40071" y="14174"/>
                          </a:lnTo>
                          <a:lnTo>
                            <a:pt x="40250" y="14712"/>
                          </a:lnTo>
                          <a:lnTo>
                            <a:pt x="38516" y="21590"/>
                          </a:lnTo>
                          <a:cubicBezTo>
                            <a:pt x="38576" y="21590"/>
                            <a:pt x="38635" y="21530"/>
                            <a:pt x="38695" y="21530"/>
                          </a:cubicBezTo>
                          <a:cubicBezTo>
                            <a:pt x="38755" y="21530"/>
                            <a:pt x="38815" y="21471"/>
                            <a:pt x="38875" y="21471"/>
                          </a:cubicBezTo>
                          <a:cubicBezTo>
                            <a:pt x="38935" y="21471"/>
                            <a:pt x="38994" y="21411"/>
                            <a:pt x="39054" y="21411"/>
                          </a:cubicBezTo>
                          <a:cubicBezTo>
                            <a:pt x="39114" y="21411"/>
                            <a:pt x="39174" y="21351"/>
                            <a:pt x="39234" y="21351"/>
                          </a:cubicBezTo>
                          <a:lnTo>
                            <a:pt x="40968" y="14653"/>
                          </a:lnTo>
                          <a:cubicBezTo>
                            <a:pt x="40968" y="14533"/>
                            <a:pt x="41028" y="14413"/>
                            <a:pt x="41028" y="14294"/>
                          </a:cubicBezTo>
                          <a:cubicBezTo>
                            <a:pt x="41028" y="14174"/>
                            <a:pt x="41028" y="14055"/>
                            <a:pt x="40968" y="13935"/>
                          </a:cubicBezTo>
                          <a:cubicBezTo>
                            <a:pt x="40908" y="13815"/>
                            <a:pt x="40908" y="13696"/>
                            <a:pt x="40848" y="13636"/>
                          </a:cubicBezTo>
                          <a:cubicBezTo>
                            <a:pt x="40789" y="13516"/>
                            <a:pt x="40729" y="13457"/>
                            <a:pt x="40669" y="13397"/>
                          </a:cubicBezTo>
                          <a:cubicBezTo>
                            <a:pt x="40609" y="13337"/>
                            <a:pt x="40549" y="13277"/>
                            <a:pt x="40430" y="13217"/>
                          </a:cubicBezTo>
                          <a:cubicBezTo>
                            <a:pt x="40370" y="13158"/>
                            <a:pt x="40250" y="13158"/>
                            <a:pt x="40190" y="13158"/>
                          </a:cubicBezTo>
                          <a:cubicBezTo>
                            <a:pt x="40130" y="13158"/>
                            <a:pt x="40011" y="13158"/>
                            <a:pt x="39891" y="13158"/>
                          </a:cubicBezTo>
                          <a:cubicBezTo>
                            <a:pt x="39772" y="13158"/>
                            <a:pt x="39712" y="13158"/>
                            <a:pt x="39592" y="13217"/>
                          </a:cubicBezTo>
                          <a:cubicBezTo>
                            <a:pt x="39473" y="13217"/>
                            <a:pt x="39413" y="13277"/>
                            <a:pt x="39293" y="13337"/>
                          </a:cubicBezTo>
                          <a:cubicBezTo>
                            <a:pt x="39174" y="13397"/>
                            <a:pt x="39114" y="13457"/>
                            <a:pt x="38994" y="13516"/>
                          </a:cubicBezTo>
                          <a:cubicBezTo>
                            <a:pt x="38875" y="13576"/>
                            <a:pt x="38815" y="13636"/>
                            <a:pt x="38695" y="13756"/>
                          </a:cubicBezTo>
                          <a:cubicBezTo>
                            <a:pt x="38635" y="13815"/>
                            <a:pt x="38516" y="13935"/>
                            <a:pt x="38456" y="14055"/>
                          </a:cubicBezTo>
                          <a:lnTo>
                            <a:pt x="38037" y="14772"/>
                          </a:lnTo>
                          <a:lnTo>
                            <a:pt x="34927" y="22308"/>
                          </a:lnTo>
                          <a:moveTo>
                            <a:pt x="24342" y="36064"/>
                          </a:moveTo>
                          <a:lnTo>
                            <a:pt x="24461" y="36183"/>
                          </a:lnTo>
                          <a:lnTo>
                            <a:pt x="31219" y="33432"/>
                          </a:lnTo>
                          <a:lnTo>
                            <a:pt x="35346" y="23145"/>
                          </a:lnTo>
                          <a:cubicBezTo>
                            <a:pt x="35286" y="23145"/>
                            <a:pt x="35227" y="23145"/>
                            <a:pt x="35107" y="23205"/>
                          </a:cubicBezTo>
                          <a:cubicBezTo>
                            <a:pt x="35047" y="23205"/>
                            <a:pt x="34987" y="23205"/>
                            <a:pt x="34868" y="23205"/>
                          </a:cubicBezTo>
                          <a:cubicBezTo>
                            <a:pt x="34808" y="23205"/>
                            <a:pt x="34748" y="23205"/>
                            <a:pt x="34628" y="23205"/>
                          </a:cubicBezTo>
                          <a:cubicBezTo>
                            <a:pt x="34568" y="23205"/>
                            <a:pt x="34509" y="23205"/>
                            <a:pt x="34389" y="23205"/>
                          </a:cubicBezTo>
                          <a:lnTo>
                            <a:pt x="30561" y="32774"/>
                          </a:lnTo>
                          <a:lnTo>
                            <a:pt x="24760" y="35107"/>
                          </a:lnTo>
                          <a:lnTo>
                            <a:pt x="7416" y="19437"/>
                          </a:lnTo>
                          <a:lnTo>
                            <a:pt x="8732" y="12739"/>
                          </a:lnTo>
                          <a:lnTo>
                            <a:pt x="7416" y="19437"/>
                          </a:lnTo>
                          <a:lnTo>
                            <a:pt x="15789" y="27033"/>
                          </a:lnTo>
                          <a:lnTo>
                            <a:pt x="15191" y="27810"/>
                          </a:lnTo>
                          <a:lnTo>
                            <a:pt x="24342" y="36064"/>
                          </a:lnTo>
                          <a:moveTo>
                            <a:pt x="10406" y="32774"/>
                          </a:moveTo>
                          <a:lnTo>
                            <a:pt x="10406" y="32774"/>
                          </a:lnTo>
                          <a:lnTo>
                            <a:pt x="10167" y="32535"/>
                          </a:lnTo>
                          <a:lnTo>
                            <a:pt x="6878" y="29605"/>
                          </a:lnTo>
                          <a:lnTo>
                            <a:pt x="4366" y="27332"/>
                          </a:lnTo>
                          <a:lnTo>
                            <a:pt x="0" y="23444"/>
                          </a:lnTo>
                          <a:lnTo>
                            <a:pt x="3170" y="9808"/>
                          </a:lnTo>
                          <a:lnTo>
                            <a:pt x="0" y="23444"/>
                          </a:lnTo>
                          <a:lnTo>
                            <a:pt x="10406" y="32774"/>
                          </a:lnTo>
                          <a:moveTo>
                            <a:pt x="21889" y="44437"/>
                          </a:moveTo>
                          <a:lnTo>
                            <a:pt x="22009" y="44556"/>
                          </a:lnTo>
                          <a:lnTo>
                            <a:pt x="34748" y="38635"/>
                          </a:lnTo>
                          <a:lnTo>
                            <a:pt x="38935" y="22308"/>
                          </a:lnTo>
                          <a:cubicBezTo>
                            <a:pt x="38875" y="22308"/>
                            <a:pt x="38815" y="22368"/>
                            <a:pt x="38755" y="22368"/>
                          </a:cubicBezTo>
                          <a:cubicBezTo>
                            <a:pt x="38695" y="22368"/>
                            <a:pt x="38635" y="22428"/>
                            <a:pt x="38576" y="22428"/>
                          </a:cubicBezTo>
                          <a:cubicBezTo>
                            <a:pt x="38516" y="22428"/>
                            <a:pt x="38456" y="22488"/>
                            <a:pt x="38396" y="22488"/>
                          </a:cubicBezTo>
                          <a:cubicBezTo>
                            <a:pt x="38336" y="22488"/>
                            <a:pt x="38276" y="22547"/>
                            <a:pt x="38217" y="22547"/>
                          </a:cubicBezTo>
                          <a:lnTo>
                            <a:pt x="34269" y="38037"/>
                          </a:lnTo>
                          <a:lnTo>
                            <a:pt x="22488" y="43480"/>
                          </a:lnTo>
                          <a:lnTo>
                            <a:pt x="11064" y="33193"/>
                          </a:lnTo>
                          <a:lnTo>
                            <a:pt x="10406" y="33970"/>
                          </a:lnTo>
                          <a:lnTo>
                            <a:pt x="16447" y="39413"/>
                          </a:lnTo>
                          <a:lnTo>
                            <a:pt x="21889" y="44437"/>
                          </a:lnTo>
                        </a:path>
                      </a:pathLst>
                    </a:custGeom>
                    <a:noFill/>
                    <a:ln w="6350" cap="flat">
                      <a:solidFill>
                        <a:schemeClr val="bg1">
                          <a:alpha val="80000"/>
                        </a:schemeClr>
                      </a:solidFill>
                      <a:prstDash val="solid"/>
                      <a:miter/>
                    </a:ln>
                  </p:spPr>
                  <p:txBody>
                    <a:bodyPr rtlCol="0" anchor="ctr"/>
                    <a:lstStyle/>
                    <a:p>
                      <a:endParaRPr lang="en-GB"/>
                    </a:p>
                  </p:txBody>
                </p:sp>
                <p:sp>
                  <p:nvSpPr>
                    <p:cNvPr id="7537" name="Vrije vorm: vorm 7536">
                      <a:extLst>
                        <a:ext uri="{FF2B5EF4-FFF2-40B4-BE49-F238E27FC236}">
                          <a16:creationId xmlns:a16="http://schemas.microsoft.com/office/drawing/2014/main" id="{4067BC87-3433-4FC1-A56B-EFE036A2669E}"/>
                        </a:ext>
                      </a:extLst>
                    </p:cNvPr>
                    <p:cNvSpPr/>
                    <p:nvPr/>
                  </p:nvSpPr>
                  <p:spPr>
                    <a:xfrm>
                      <a:off x="5387573" y="5214033"/>
                      <a:ext cx="26674" cy="35047"/>
                    </a:xfrm>
                    <a:custGeom>
                      <a:avLst/>
                      <a:gdLst>
                        <a:gd name="connsiteX0" fmla="*/ 18241 w 26674"/>
                        <a:gd name="connsiteY0" fmla="*/ 8074 h 35047"/>
                        <a:gd name="connsiteX1" fmla="*/ 25478 w 26674"/>
                        <a:gd name="connsiteY1" fmla="*/ 3230 h 35047"/>
                        <a:gd name="connsiteX2" fmla="*/ 26076 w 26674"/>
                        <a:gd name="connsiteY2" fmla="*/ 2691 h 35047"/>
                        <a:gd name="connsiteX3" fmla="*/ 26495 w 26674"/>
                        <a:gd name="connsiteY3" fmla="*/ 2034 h 35047"/>
                        <a:gd name="connsiteX4" fmla="*/ 26674 w 26674"/>
                        <a:gd name="connsiteY4" fmla="*/ 1376 h 35047"/>
                        <a:gd name="connsiteX5" fmla="*/ 26614 w 26674"/>
                        <a:gd name="connsiteY5" fmla="*/ 718 h 35047"/>
                        <a:gd name="connsiteX6" fmla="*/ 26315 w 26674"/>
                        <a:gd name="connsiteY6" fmla="*/ 239 h 35047"/>
                        <a:gd name="connsiteX7" fmla="*/ 26315 w 26674"/>
                        <a:gd name="connsiteY7" fmla="*/ 239 h 35047"/>
                        <a:gd name="connsiteX8" fmla="*/ 26076 w 26674"/>
                        <a:gd name="connsiteY8" fmla="*/ 60 h 35047"/>
                        <a:gd name="connsiteX9" fmla="*/ 25777 w 26674"/>
                        <a:gd name="connsiteY9" fmla="*/ 0 h 35047"/>
                        <a:gd name="connsiteX10" fmla="*/ 25418 w 26674"/>
                        <a:gd name="connsiteY10" fmla="*/ 0 h 35047"/>
                        <a:gd name="connsiteX11" fmla="*/ 25059 w 26674"/>
                        <a:gd name="connsiteY11" fmla="*/ 120 h 35047"/>
                        <a:gd name="connsiteX12" fmla="*/ 18361 w 26674"/>
                        <a:gd name="connsiteY12" fmla="*/ 3290 h 35047"/>
                        <a:gd name="connsiteX13" fmla="*/ 18361 w 26674"/>
                        <a:gd name="connsiteY13" fmla="*/ 3529 h 35047"/>
                        <a:gd name="connsiteX14" fmla="*/ 18361 w 26674"/>
                        <a:gd name="connsiteY14" fmla="*/ 3768 h 35047"/>
                        <a:gd name="connsiteX15" fmla="*/ 18361 w 26674"/>
                        <a:gd name="connsiteY15" fmla="*/ 4007 h 35047"/>
                        <a:gd name="connsiteX16" fmla="*/ 18361 w 26674"/>
                        <a:gd name="connsiteY16" fmla="*/ 4246 h 35047"/>
                        <a:gd name="connsiteX17" fmla="*/ 18361 w 26674"/>
                        <a:gd name="connsiteY17" fmla="*/ 4246 h 35047"/>
                        <a:gd name="connsiteX18" fmla="*/ 18361 w 26674"/>
                        <a:gd name="connsiteY18" fmla="*/ 4246 h 35047"/>
                        <a:gd name="connsiteX19" fmla="*/ 18361 w 26674"/>
                        <a:gd name="connsiteY19" fmla="*/ 4246 h 35047"/>
                        <a:gd name="connsiteX20" fmla="*/ 18361 w 26674"/>
                        <a:gd name="connsiteY20" fmla="*/ 4246 h 35047"/>
                        <a:gd name="connsiteX21" fmla="*/ 25179 w 26674"/>
                        <a:gd name="connsiteY21" fmla="*/ 1017 h 35047"/>
                        <a:gd name="connsiteX22" fmla="*/ 25777 w 26674"/>
                        <a:gd name="connsiteY22" fmla="*/ 1077 h 35047"/>
                        <a:gd name="connsiteX23" fmla="*/ 25777 w 26674"/>
                        <a:gd name="connsiteY23" fmla="*/ 1077 h 35047"/>
                        <a:gd name="connsiteX24" fmla="*/ 25777 w 26674"/>
                        <a:gd name="connsiteY24" fmla="*/ 1077 h 35047"/>
                        <a:gd name="connsiteX25" fmla="*/ 25777 w 26674"/>
                        <a:gd name="connsiteY25" fmla="*/ 1077 h 35047"/>
                        <a:gd name="connsiteX26" fmla="*/ 25777 w 26674"/>
                        <a:gd name="connsiteY26" fmla="*/ 1077 h 35047"/>
                        <a:gd name="connsiteX27" fmla="*/ 25897 w 26674"/>
                        <a:gd name="connsiteY27" fmla="*/ 1316 h 35047"/>
                        <a:gd name="connsiteX28" fmla="*/ 25897 w 26674"/>
                        <a:gd name="connsiteY28" fmla="*/ 1615 h 35047"/>
                        <a:gd name="connsiteX29" fmla="*/ 25837 w 26674"/>
                        <a:gd name="connsiteY29" fmla="*/ 1914 h 35047"/>
                        <a:gd name="connsiteX30" fmla="*/ 25657 w 26674"/>
                        <a:gd name="connsiteY30" fmla="*/ 2213 h 35047"/>
                        <a:gd name="connsiteX31" fmla="*/ 25358 w 26674"/>
                        <a:gd name="connsiteY31" fmla="*/ 2512 h 35047"/>
                        <a:gd name="connsiteX32" fmla="*/ 18301 w 26674"/>
                        <a:gd name="connsiteY32" fmla="*/ 7237 h 35047"/>
                        <a:gd name="connsiteX33" fmla="*/ 18301 w 26674"/>
                        <a:gd name="connsiteY33" fmla="*/ 7476 h 35047"/>
                        <a:gd name="connsiteX34" fmla="*/ 18301 w 26674"/>
                        <a:gd name="connsiteY34" fmla="*/ 7715 h 35047"/>
                        <a:gd name="connsiteX35" fmla="*/ 18301 w 26674"/>
                        <a:gd name="connsiteY35" fmla="*/ 7954 h 35047"/>
                        <a:gd name="connsiteX36" fmla="*/ 18241 w 26674"/>
                        <a:gd name="connsiteY36" fmla="*/ 8074 h 35047"/>
                        <a:gd name="connsiteX37" fmla="*/ 10885 w 26674"/>
                        <a:gd name="connsiteY37" fmla="*/ 34808 h 35047"/>
                        <a:gd name="connsiteX38" fmla="*/ 11124 w 26674"/>
                        <a:gd name="connsiteY38" fmla="*/ 35047 h 35047"/>
                        <a:gd name="connsiteX39" fmla="*/ 11124 w 26674"/>
                        <a:gd name="connsiteY39" fmla="*/ 35047 h 35047"/>
                        <a:gd name="connsiteX40" fmla="*/ 11124 w 26674"/>
                        <a:gd name="connsiteY40" fmla="*/ 35047 h 35047"/>
                        <a:gd name="connsiteX41" fmla="*/ 11782 w 26674"/>
                        <a:gd name="connsiteY41" fmla="*/ 34270 h 35047"/>
                        <a:gd name="connsiteX42" fmla="*/ 16088 w 26674"/>
                        <a:gd name="connsiteY42" fmla="*/ 28887 h 35047"/>
                        <a:gd name="connsiteX43" fmla="*/ 16686 w 26674"/>
                        <a:gd name="connsiteY43" fmla="*/ 28109 h 35047"/>
                        <a:gd name="connsiteX44" fmla="*/ 8313 w 26674"/>
                        <a:gd name="connsiteY44" fmla="*/ 20514 h 35047"/>
                        <a:gd name="connsiteX45" fmla="*/ 9629 w 26674"/>
                        <a:gd name="connsiteY45" fmla="*/ 13815 h 35047"/>
                        <a:gd name="connsiteX46" fmla="*/ 17404 w 26674"/>
                        <a:gd name="connsiteY46" fmla="*/ 8612 h 35047"/>
                        <a:gd name="connsiteX47" fmla="*/ 17404 w 26674"/>
                        <a:gd name="connsiteY47" fmla="*/ 8373 h 35047"/>
                        <a:gd name="connsiteX48" fmla="*/ 17404 w 26674"/>
                        <a:gd name="connsiteY48" fmla="*/ 8134 h 35047"/>
                        <a:gd name="connsiteX49" fmla="*/ 17404 w 26674"/>
                        <a:gd name="connsiteY49" fmla="*/ 7895 h 35047"/>
                        <a:gd name="connsiteX50" fmla="*/ 17404 w 26674"/>
                        <a:gd name="connsiteY50" fmla="*/ 7655 h 35047"/>
                        <a:gd name="connsiteX51" fmla="*/ 9031 w 26674"/>
                        <a:gd name="connsiteY51" fmla="*/ 13277 h 35047"/>
                        <a:gd name="connsiteX52" fmla="*/ 7536 w 26674"/>
                        <a:gd name="connsiteY52" fmla="*/ 20933 h 35047"/>
                        <a:gd name="connsiteX53" fmla="*/ 15610 w 26674"/>
                        <a:gd name="connsiteY53" fmla="*/ 28289 h 35047"/>
                        <a:gd name="connsiteX54" fmla="*/ 11364 w 26674"/>
                        <a:gd name="connsiteY54" fmla="*/ 33671 h 35047"/>
                        <a:gd name="connsiteX55" fmla="*/ 11364 w 26674"/>
                        <a:gd name="connsiteY55" fmla="*/ 33671 h 35047"/>
                        <a:gd name="connsiteX56" fmla="*/ 1017 w 26674"/>
                        <a:gd name="connsiteY56" fmla="*/ 24282 h 35047"/>
                        <a:gd name="connsiteX57" fmla="*/ 4187 w 26674"/>
                        <a:gd name="connsiteY57" fmla="*/ 10646 h 35047"/>
                        <a:gd name="connsiteX58" fmla="*/ 17404 w 26674"/>
                        <a:gd name="connsiteY58" fmla="*/ 4426 h 35047"/>
                        <a:gd name="connsiteX59" fmla="*/ 17404 w 26674"/>
                        <a:gd name="connsiteY59" fmla="*/ 4366 h 35047"/>
                        <a:gd name="connsiteX60" fmla="*/ 17404 w 26674"/>
                        <a:gd name="connsiteY60" fmla="*/ 4306 h 35047"/>
                        <a:gd name="connsiteX61" fmla="*/ 17404 w 26674"/>
                        <a:gd name="connsiteY61" fmla="*/ 4246 h 35047"/>
                        <a:gd name="connsiteX62" fmla="*/ 17404 w 26674"/>
                        <a:gd name="connsiteY62" fmla="*/ 4187 h 35047"/>
                        <a:gd name="connsiteX63" fmla="*/ 17404 w 26674"/>
                        <a:gd name="connsiteY63" fmla="*/ 4007 h 35047"/>
                        <a:gd name="connsiteX64" fmla="*/ 17404 w 26674"/>
                        <a:gd name="connsiteY64" fmla="*/ 3828 h 35047"/>
                        <a:gd name="connsiteX65" fmla="*/ 17404 w 26674"/>
                        <a:gd name="connsiteY65" fmla="*/ 3649 h 35047"/>
                        <a:gd name="connsiteX66" fmla="*/ 17404 w 26674"/>
                        <a:gd name="connsiteY66" fmla="*/ 3469 h 35047"/>
                        <a:gd name="connsiteX67" fmla="*/ 3708 w 26674"/>
                        <a:gd name="connsiteY67" fmla="*/ 9868 h 35047"/>
                        <a:gd name="connsiteX68" fmla="*/ 3469 w 26674"/>
                        <a:gd name="connsiteY68" fmla="*/ 9988 h 35047"/>
                        <a:gd name="connsiteX69" fmla="*/ 0 w 26674"/>
                        <a:gd name="connsiteY69" fmla="*/ 24760 h 35047"/>
                        <a:gd name="connsiteX70" fmla="*/ 4665 w 26674"/>
                        <a:gd name="connsiteY70" fmla="*/ 28947 h 35047"/>
                        <a:gd name="connsiteX71" fmla="*/ 5203 w 26674"/>
                        <a:gd name="connsiteY71" fmla="*/ 29425 h 35047"/>
                        <a:gd name="connsiteX72" fmla="*/ 7177 w 26674"/>
                        <a:gd name="connsiteY72" fmla="*/ 31220 h 35047"/>
                        <a:gd name="connsiteX73" fmla="*/ 7715 w 26674"/>
                        <a:gd name="connsiteY73" fmla="*/ 31698 h 35047"/>
                        <a:gd name="connsiteX74" fmla="*/ 9928 w 26674"/>
                        <a:gd name="connsiteY74" fmla="*/ 33671 h 35047"/>
                        <a:gd name="connsiteX75" fmla="*/ 10466 w 26674"/>
                        <a:gd name="connsiteY75" fmla="*/ 34150 h 35047"/>
                        <a:gd name="connsiteX76" fmla="*/ 10885 w 26674"/>
                        <a:gd name="connsiteY76" fmla="*/ 34808 h 3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6674" h="35047">
                          <a:moveTo>
                            <a:pt x="18241" y="8074"/>
                          </a:moveTo>
                          <a:lnTo>
                            <a:pt x="25478" y="3230"/>
                          </a:lnTo>
                          <a:lnTo>
                            <a:pt x="26076" y="2691"/>
                          </a:lnTo>
                          <a:cubicBezTo>
                            <a:pt x="26255" y="2512"/>
                            <a:pt x="26375" y="2273"/>
                            <a:pt x="26495" y="2034"/>
                          </a:cubicBezTo>
                          <a:cubicBezTo>
                            <a:pt x="26614" y="1795"/>
                            <a:pt x="26674" y="1555"/>
                            <a:pt x="26674" y="1376"/>
                          </a:cubicBezTo>
                          <a:cubicBezTo>
                            <a:pt x="26674" y="1136"/>
                            <a:pt x="26674" y="957"/>
                            <a:pt x="26614" y="718"/>
                          </a:cubicBezTo>
                          <a:cubicBezTo>
                            <a:pt x="26554" y="479"/>
                            <a:pt x="26435" y="359"/>
                            <a:pt x="26315" y="239"/>
                          </a:cubicBezTo>
                          <a:lnTo>
                            <a:pt x="26315" y="239"/>
                          </a:lnTo>
                          <a:cubicBezTo>
                            <a:pt x="26255" y="180"/>
                            <a:pt x="26136" y="120"/>
                            <a:pt x="26076" y="60"/>
                          </a:cubicBezTo>
                          <a:cubicBezTo>
                            <a:pt x="25956" y="0"/>
                            <a:pt x="25897" y="0"/>
                            <a:pt x="25777" y="0"/>
                          </a:cubicBezTo>
                          <a:cubicBezTo>
                            <a:pt x="25657" y="0"/>
                            <a:pt x="25538" y="0"/>
                            <a:pt x="25418" y="0"/>
                          </a:cubicBezTo>
                          <a:cubicBezTo>
                            <a:pt x="25298" y="0"/>
                            <a:pt x="25179" y="60"/>
                            <a:pt x="25059" y="120"/>
                          </a:cubicBezTo>
                          <a:lnTo>
                            <a:pt x="18361" y="3290"/>
                          </a:lnTo>
                          <a:cubicBezTo>
                            <a:pt x="18361" y="3349"/>
                            <a:pt x="18361" y="3409"/>
                            <a:pt x="18361" y="3529"/>
                          </a:cubicBezTo>
                          <a:cubicBezTo>
                            <a:pt x="18361" y="3589"/>
                            <a:pt x="18361" y="3649"/>
                            <a:pt x="18361" y="3768"/>
                          </a:cubicBezTo>
                          <a:cubicBezTo>
                            <a:pt x="18361" y="3828"/>
                            <a:pt x="18361" y="3888"/>
                            <a:pt x="18361" y="4007"/>
                          </a:cubicBezTo>
                          <a:cubicBezTo>
                            <a:pt x="18361" y="4127"/>
                            <a:pt x="18361" y="4127"/>
                            <a:pt x="18361" y="4246"/>
                          </a:cubicBezTo>
                          <a:cubicBezTo>
                            <a:pt x="18361" y="4246"/>
                            <a:pt x="18361" y="4246"/>
                            <a:pt x="18361" y="4246"/>
                          </a:cubicBezTo>
                          <a:cubicBezTo>
                            <a:pt x="18361" y="4246"/>
                            <a:pt x="18361" y="4246"/>
                            <a:pt x="18361" y="4246"/>
                          </a:cubicBezTo>
                          <a:cubicBezTo>
                            <a:pt x="18361" y="4246"/>
                            <a:pt x="18361" y="4246"/>
                            <a:pt x="18361" y="4246"/>
                          </a:cubicBezTo>
                          <a:cubicBezTo>
                            <a:pt x="18361" y="4246"/>
                            <a:pt x="18361" y="4246"/>
                            <a:pt x="18361" y="4246"/>
                          </a:cubicBezTo>
                          <a:lnTo>
                            <a:pt x="25179" y="1017"/>
                          </a:lnTo>
                          <a:lnTo>
                            <a:pt x="25777" y="1077"/>
                          </a:lnTo>
                          <a:cubicBezTo>
                            <a:pt x="25777" y="1077"/>
                            <a:pt x="25777" y="1077"/>
                            <a:pt x="25777" y="1077"/>
                          </a:cubicBezTo>
                          <a:cubicBezTo>
                            <a:pt x="25777" y="1077"/>
                            <a:pt x="25777" y="1077"/>
                            <a:pt x="25777" y="1077"/>
                          </a:cubicBezTo>
                          <a:cubicBezTo>
                            <a:pt x="25777" y="1077"/>
                            <a:pt x="25777" y="1077"/>
                            <a:pt x="25777" y="1077"/>
                          </a:cubicBezTo>
                          <a:cubicBezTo>
                            <a:pt x="25777" y="1077"/>
                            <a:pt x="25777" y="1077"/>
                            <a:pt x="25777" y="1077"/>
                          </a:cubicBezTo>
                          <a:cubicBezTo>
                            <a:pt x="25837" y="1136"/>
                            <a:pt x="25897" y="1196"/>
                            <a:pt x="25897" y="1316"/>
                          </a:cubicBezTo>
                          <a:cubicBezTo>
                            <a:pt x="25897" y="1376"/>
                            <a:pt x="25897" y="1495"/>
                            <a:pt x="25897" y="1615"/>
                          </a:cubicBezTo>
                          <a:cubicBezTo>
                            <a:pt x="25897" y="1735"/>
                            <a:pt x="25837" y="1795"/>
                            <a:pt x="25837" y="1914"/>
                          </a:cubicBezTo>
                          <a:cubicBezTo>
                            <a:pt x="25777" y="2034"/>
                            <a:pt x="25717" y="2093"/>
                            <a:pt x="25657" y="2213"/>
                          </a:cubicBezTo>
                          <a:lnTo>
                            <a:pt x="25358" y="2512"/>
                          </a:lnTo>
                          <a:lnTo>
                            <a:pt x="18301" y="7237"/>
                          </a:lnTo>
                          <a:cubicBezTo>
                            <a:pt x="18301" y="7297"/>
                            <a:pt x="18301" y="7416"/>
                            <a:pt x="18301" y="7476"/>
                          </a:cubicBezTo>
                          <a:cubicBezTo>
                            <a:pt x="18301" y="7536"/>
                            <a:pt x="18301" y="7596"/>
                            <a:pt x="18301" y="7715"/>
                          </a:cubicBezTo>
                          <a:cubicBezTo>
                            <a:pt x="18301" y="7775"/>
                            <a:pt x="18301" y="7835"/>
                            <a:pt x="18301" y="7954"/>
                          </a:cubicBezTo>
                          <a:cubicBezTo>
                            <a:pt x="18181" y="7954"/>
                            <a:pt x="18181" y="8014"/>
                            <a:pt x="18241" y="8074"/>
                          </a:cubicBezTo>
                          <a:moveTo>
                            <a:pt x="10885" y="34808"/>
                          </a:moveTo>
                          <a:lnTo>
                            <a:pt x="11124" y="35047"/>
                          </a:lnTo>
                          <a:lnTo>
                            <a:pt x="11124" y="35047"/>
                          </a:lnTo>
                          <a:lnTo>
                            <a:pt x="11124" y="35047"/>
                          </a:lnTo>
                          <a:lnTo>
                            <a:pt x="11782" y="34270"/>
                          </a:lnTo>
                          <a:lnTo>
                            <a:pt x="16088" y="28887"/>
                          </a:lnTo>
                          <a:lnTo>
                            <a:pt x="16686" y="28109"/>
                          </a:lnTo>
                          <a:lnTo>
                            <a:pt x="8313" y="20514"/>
                          </a:lnTo>
                          <a:lnTo>
                            <a:pt x="9629" y="13815"/>
                          </a:lnTo>
                          <a:lnTo>
                            <a:pt x="17404" y="8612"/>
                          </a:lnTo>
                          <a:cubicBezTo>
                            <a:pt x="17404" y="8553"/>
                            <a:pt x="17404" y="8493"/>
                            <a:pt x="17404" y="8373"/>
                          </a:cubicBezTo>
                          <a:cubicBezTo>
                            <a:pt x="17404" y="8313"/>
                            <a:pt x="17404" y="8253"/>
                            <a:pt x="17404" y="8134"/>
                          </a:cubicBezTo>
                          <a:cubicBezTo>
                            <a:pt x="17404" y="8074"/>
                            <a:pt x="17404" y="8014"/>
                            <a:pt x="17404" y="7895"/>
                          </a:cubicBezTo>
                          <a:cubicBezTo>
                            <a:pt x="17404" y="7835"/>
                            <a:pt x="17404" y="7715"/>
                            <a:pt x="17404" y="7655"/>
                          </a:cubicBezTo>
                          <a:lnTo>
                            <a:pt x="9031" y="13277"/>
                          </a:lnTo>
                          <a:lnTo>
                            <a:pt x="7536" y="20933"/>
                          </a:lnTo>
                          <a:lnTo>
                            <a:pt x="15610" y="28289"/>
                          </a:lnTo>
                          <a:lnTo>
                            <a:pt x="11364" y="33671"/>
                          </a:lnTo>
                          <a:lnTo>
                            <a:pt x="11364" y="33671"/>
                          </a:lnTo>
                          <a:lnTo>
                            <a:pt x="1017" y="24282"/>
                          </a:lnTo>
                          <a:lnTo>
                            <a:pt x="4187" y="10646"/>
                          </a:lnTo>
                          <a:lnTo>
                            <a:pt x="17404" y="4426"/>
                          </a:lnTo>
                          <a:cubicBezTo>
                            <a:pt x="17404" y="4426"/>
                            <a:pt x="17404" y="4366"/>
                            <a:pt x="17404" y="4366"/>
                          </a:cubicBezTo>
                          <a:cubicBezTo>
                            <a:pt x="17404" y="4366"/>
                            <a:pt x="17404" y="4306"/>
                            <a:pt x="17404" y="4306"/>
                          </a:cubicBezTo>
                          <a:cubicBezTo>
                            <a:pt x="17404" y="4306"/>
                            <a:pt x="17404" y="4246"/>
                            <a:pt x="17404" y="4246"/>
                          </a:cubicBezTo>
                          <a:cubicBezTo>
                            <a:pt x="17404" y="4246"/>
                            <a:pt x="17404" y="4187"/>
                            <a:pt x="17404" y="4187"/>
                          </a:cubicBezTo>
                          <a:cubicBezTo>
                            <a:pt x="17404" y="4127"/>
                            <a:pt x="17404" y="4067"/>
                            <a:pt x="17404" y="4007"/>
                          </a:cubicBezTo>
                          <a:cubicBezTo>
                            <a:pt x="17404" y="3947"/>
                            <a:pt x="17404" y="3888"/>
                            <a:pt x="17404" y="3828"/>
                          </a:cubicBezTo>
                          <a:cubicBezTo>
                            <a:pt x="17404" y="3768"/>
                            <a:pt x="17404" y="3708"/>
                            <a:pt x="17404" y="3649"/>
                          </a:cubicBezTo>
                          <a:cubicBezTo>
                            <a:pt x="17404" y="3589"/>
                            <a:pt x="17404" y="3529"/>
                            <a:pt x="17404" y="3469"/>
                          </a:cubicBezTo>
                          <a:lnTo>
                            <a:pt x="3708" y="9868"/>
                          </a:lnTo>
                          <a:lnTo>
                            <a:pt x="3469" y="9988"/>
                          </a:lnTo>
                          <a:lnTo>
                            <a:pt x="0" y="24760"/>
                          </a:lnTo>
                          <a:lnTo>
                            <a:pt x="4665" y="28947"/>
                          </a:lnTo>
                          <a:lnTo>
                            <a:pt x="5203" y="29425"/>
                          </a:lnTo>
                          <a:lnTo>
                            <a:pt x="7177" y="31220"/>
                          </a:lnTo>
                          <a:lnTo>
                            <a:pt x="7715" y="31698"/>
                          </a:lnTo>
                          <a:lnTo>
                            <a:pt x="9928" y="33671"/>
                          </a:lnTo>
                          <a:lnTo>
                            <a:pt x="10466" y="34150"/>
                          </a:lnTo>
                          <a:lnTo>
                            <a:pt x="10885" y="34808"/>
                          </a:lnTo>
                        </a:path>
                      </a:pathLst>
                    </a:custGeom>
                    <a:noFill/>
                    <a:ln w="6350" cap="flat">
                      <a:solidFill>
                        <a:schemeClr val="bg1">
                          <a:alpha val="80000"/>
                        </a:schemeClr>
                      </a:solidFill>
                      <a:prstDash val="solid"/>
                      <a:miter/>
                    </a:ln>
                  </p:spPr>
                  <p:txBody>
                    <a:bodyPr rtlCol="0" anchor="ctr"/>
                    <a:lstStyle/>
                    <a:p>
                      <a:endParaRPr lang="en-GB"/>
                    </a:p>
                  </p:txBody>
                </p:sp>
                <p:sp>
                  <p:nvSpPr>
                    <p:cNvPr id="7538" name="Vrije vorm: vorm 7537">
                      <a:extLst>
                        <a:ext uri="{FF2B5EF4-FFF2-40B4-BE49-F238E27FC236}">
                          <a16:creationId xmlns:a16="http://schemas.microsoft.com/office/drawing/2014/main" id="{64DF8457-1602-4F14-B5E0-1ACC27E71500}"/>
                        </a:ext>
                      </a:extLst>
                    </p:cNvPr>
                    <p:cNvSpPr/>
                    <p:nvPr/>
                  </p:nvSpPr>
                  <p:spPr>
                    <a:xfrm>
                      <a:off x="5365504" y="5260025"/>
                      <a:ext cx="25418" cy="28408"/>
                    </a:xfrm>
                    <a:custGeom>
                      <a:avLst/>
                      <a:gdLst>
                        <a:gd name="connsiteX0" fmla="*/ 19676 w 25418"/>
                        <a:gd name="connsiteY0" fmla="*/ 13815 h 28408"/>
                        <a:gd name="connsiteX1" fmla="*/ 20215 w 25418"/>
                        <a:gd name="connsiteY1" fmla="*/ 14294 h 28408"/>
                        <a:gd name="connsiteX2" fmla="*/ 25418 w 25418"/>
                        <a:gd name="connsiteY2" fmla="*/ 7715 h 28408"/>
                        <a:gd name="connsiteX3" fmla="*/ 24641 w 25418"/>
                        <a:gd name="connsiteY3" fmla="*/ 6998 h 28408"/>
                        <a:gd name="connsiteX4" fmla="*/ 24102 w 25418"/>
                        <a:gd name="connsiteY4" fmla="*/ 6519 h 28408"/>
                        <a:gd name="connsiteX5" fmla="*/ 21411 w 25418"/>
                        <a:gd name="connsiteY5" fmla="*/ 4187 h 28408"/>
                        <a:gd name="connsiteX6" fmla="*/ 20873 w 25418"/>
                        <a:gd name="connsiteY6" fmla="*/ 3708 h 28408"/>
                        <a:gd name="connsiteX7" fmla="*/ 20335 w 25418"/>
                        <a:gd name="connsiteY7" fmla="*/ 3230 h 28408"/>
                        <a:gd name="connsiteX8" fmla="*/ 21650 w 25418"/>
                        <a:gd name="connsiteY8" fmla="*/ 4366 h 28408"/>
                        <a:gd name="connsiteX9" fmla="*/ 20992 w 25418"/>
                        <a:gd name="connsiteY9" fmla="*/ 5144 h 28408"/>
                        <a:gd name="connsiteX10" fmla="*/ 23504 w 25418"/>
                        <a:gd name="connsiteY10" fmla="*/ 7297 h 28408"/>
                        <a:gd name="connsiteX11" fmla="*/ 24043 w 25418"/>
                        <a:gd name="connsiteY11" fmla="*/ 7775 h 28408"/>
                        <a:gd name="connsiteX12" fmla="*/ 24282 w 25418"/>
                        <a:gd name="connsiteY12" fmla="*/ 8014 h 28408"/>
                        <a:gd name="connsiteX13" fmla="*/ 19676 w 25418"/>
                        <a:gd name="connsiteY13" fmla="*/ 13815 h 28408"/>
                        <a:gd name="connsiteX14" fmla="*/ 11304 w 25418"/>
                        <a:gd name="connsiteY14" fmla="*/ 6639 h 28408"/>
                        <a:gd name="connsiteX15" fmla="*/ 11782 w 25418"/>
                        <a:gd name="connsiteY15" fmla="*/ 7058 h 28408"/>
                        <a:gd name="connsiteX16" fmla="*/ 16387 w 25418"/>
                        <a:gd name="connsiteY16" fmla="*/ 1256 h 28408"/>
                        <a:gd name="connsiteX17" fmla="*/ 16866 w 25418"/>
                        <a:gd name="connsiteY17" fmla="*/ 1675 h 28408"/>
                        <a:gd name="connsiteX18" fmla="*/ 18062 w 25418"/>
                        <a:gd name="connsiteY18" fmla="*/ 2751 h 28408"/>
                        <a:gd name="connsiteX19" fmla="*/ 18720 w 25418"/>
                        <a:gd name="connsiteY19" fmla="*/ 1974 h 28408"/>
                        <a:gd name="connsiteX20" fmla="*/ 19676 w 25418"/>
                        <a:gd name="connsiteY20" fmla="*/ 2811 h 28408"/>
                        <a:gd name="connsiteX21" fmla="*/ 19377 w 25418"/>
                        <a:gd name="connsiteY21" fmla="*/ 2572 h 28408"/>
                        <a:gd name="connsiteX22" fmla="*/ 18839 w 25418"/>
                        <a:gd name="connsiteY22" fmla="*/ 2093 h 28408"/>
                        <a:gd name="connsiteX23" fmla="*/ 17464 w 25418"/>
                        <a:gd name="connsiteY23" fmla="*/ 897 h 28408"/>
                        <a:gd name="connsiteX24" fmla="*/ 16926 w 25418"/>
                        <a:gd name="connsiteY24" fmla="*/ 419 h 28408"/>
                        <a:gd name="connsiteX25" fmla="*/ 16447 w 25418"/>
                        <a:gd name="connsiteY25" fmla="*/ 0 h 28408"/>
                        <a:gd name="connsiteX26" fmla="*/ 11304 w 25418"/>
                        <a:gd name="connsiteY26" fmla="*/ 6639 h 28408"/>
                        <a:gd name="connsiteX27" fmla="*/ 5203 w 25418"/>
                        <a:gd name="connsiteY27" fmla="*/ 25179 h 28408"/>
                        <a:gd name="connsiteX28" fmla="*/ 7596 w 25418"/>
                        <a:gd name="connsiteY28" fmla="*/ 27153 h 28408"/>
                        <a:gd name="connsiteX29" fmla="*/ 7835 w 25418"/>
                        <a:gd name="connsiteY29" fmla="*/ 27332 h 28408"/>
                        <a:gd name="connsiteX30" fmla="*/ 9151 w 25418"/>
                        <a:gd name="connsiteY30" fmla="*/ 28408 h 28408"/>
                        <a:gd name="connsiteX31" fmla="*/ 9988 w 25418"/>
                        <a:gd name="connsiteY31" fmla="*/ 27332 h 28408"/>
                        <a:gd name="connsiteX32" fmla="*/ 10646 w 25418"/>
                        <a:gd name="connsiteY32" fmla="*/ 26435 h 28408"/>
                        <a:gd name="connsiteX33" fmla="*/ 19676 w 25418"/>
                        <a:gd name="connsiteY33" fmla="*/ 15072 h 28408"/>
                        <a:gd name="connsiteX34" fmla="*/ 19138 w 25418"/>
                        <a:gd name="connsiteY34" fmla="*/ 14593 h 28408"/>
                        <a:gd name="connsiteX35" fmla="*/ 10406 w 25418"/>
                        <a:gd name="connsiteY35" fmla="*/ 25717 h 28408"/>
                        <a:gd name="connsiteX36" fmla="*/ 9749 w 25418"/>
                        <a:gd name="connsiteY36" fmla="*/ 26554 h 28408"/>
                        <a:gd name="connsiteX37" fmla="*/ 9270 w 25418"/>
                        <a:gd name="connsiteY37" fmla="*/ 27153 h 28408"/>
                        <a:gd name="connsiteX38" fmla="*/ 5921 w 25418"/>
                        <a:gd name="connsiteY38" fmla="*/ 24342 h 28408"/>
                        <a:gd name="connsiteX39" fmla="*/ 5203 w 25418"/>
                        <a:gd name="connsiteY39" fmla="*/ 25179 h 28408"/>
                        <a:gd name="connsiteX40" fmla="*/ 0 w 25418"/>
                        <a:gd name="connsiteY40" fmla="*/ 20813 h 28408"/>
                        <a:gd name="connsiteX41" fmla="*/ 1256 w 25418"/>
                        <a:gd name="connsiteY41" fmla="*/ 21890 h 28408"/>
                        <a:gd name="connsiteX42" fmla="*/ 1435 w 25418"/>
                        <a:gd name="connsiteY42" fmla="*/ 22069 h 28408"/>
                        <a:gd name="connsiteX43" fmla="*/ 2333 w 25418"/>
                        <a:gd name="connsiteY43" fmla="*/ 22787 h 28408"/>
                        <a:gd name="connsiteX44" fmla="*/ 2990 w 25418"/>
                        <a:gd name="connsiteY44" fmla="*/ 22009 h 28408"/>
                        <a:gd name="connsiteX45" fmla="*/ 1196 w 25418"/>
                        <a:gd name="connsiteY45" fmla="*/ 20514 h 28408"/>
                        <a:gd name="connsiteX46" fmla="*/ 1734 w 25418"/>
                        <a:gd name="connsiteY46" fmla="*/ 19856 h 28408"/>
                        <a:gd name="connsiteX47" fmla="*/ 2392 w 25418"/>
                        <a:gd name="connsiteY47" fmla="*/ 19019 h 28408"/>
                        <a:gd name="connsiteX48" fmla="*/ 10466 w 25418"/>
                        <a:gd name="connsiteY48" fmla="*/ 8792 h 28408"/>
                        <a:gd name="connsiteX49" fmla="*/ 11184 w 25418"/>
                        <a:gd name="connsiteY49" fmla="*/ 7895 h 28408"/>
                        <a:gd name="connsiteX50" fmla="*/ 10646 w 25418"/>
                        <a:gd name="connsiteY50" fmla="*/ 7416 h 28408"/>
                        <a:gd name="connsiteX51" fmla="*/ 1615 w 25418"/>
                        <a:gd name="connsiteY51" fmla="*/ 18839 h 28408"/>
                        <a:gd name="connsiteX52" fmla="*/ 897 w 25418"/>
                        <a:gd name="connsiteY52" fmla="*/ 19737 h 28408"/>
                        <a:gd name="connsiteX53" fmla="*/ 0 w 25418"/>
                        <a:gd name="connsiteY53" fmla="*/ 20813 h 28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418" h="28408">
                          <a:moveTo>
                            <a:pt x="19676" y="13815"/>
                          </a:moveTo>
                          <a:lnTo>
                            <a:pt x="20215" y="14294"/>
                          </a:lnTo>
                          <a:lnTo>
                            <a:pt x="25418" y="7715"/>
                          </a:lnTo>
                          <a:lnTo>
                            <a:pt x="24641" y="6998"/>
                          </a:lnTo>
                          <a:lnTo>
                            <a:pt x="24102" y="6519"/>
                          </a:lnTo>
                          <a:lnTo>
                            <a:pt x="21411" y="4187"/>
                          </a:lnTo>
                          <a:lnTo>
                            <a:pt x="20873" y="3708"/>
                          </a:lnTo>
                          <a:lnTo>
                            <a:pt x="20335" y="3230"/>
                          </a:lnTo>
                          <a:lnTo>
                            <a:pt x="21650" y="4366"/>
                          </a:lnTo>
                          <a:lnTo>
                            <a:pt x="20992" y="5144"/>
                          </a:lnTo>
                          <a:lnTo>
                            <a:pt x="23504" y="7297"/>
                          </a:lnTo>
                          <a:lnTo>
                            <a:pt x="24043" y="7775"/>
                          </a:lnTo>
                          <a:lnTo>
                            <a:pt x="24282" y="8014"/>
                          </a:lnTo>
                          <a:lnTo>
                            <a:pt x="19676" y="13815"/>
                          </a:lnTo>
                          <a:moveTo>
                            <a:pt x="11304" y="6639"/>
                          </a:moveTo>
                          <a:lnTo>
                            <a:pt x="11782" y="7058"/>
                          </a:lnTo>
                          <a:lnTo>
                            <a:pt x="16387" y="1256"/>
                          </a:lnTo>
                          <a:lnTo>
                            <a:pt x="16866" y="1675"/>
                          </a:lnTo>
                          <a:lnTo>
                            <a:pt x="18062" y="2751"/>
                          </a:lnTo>
                          <a:lnTo>
                            <a:pt x="18720" y="1974"/>
                          </a:lnTo>
                          <a:lnTo>
                            <a:pt x="19676" y="2811"/>
                          </a:lnTo>
                          <a:lnTo>
                            <a:pt x="19377" y="2572"/>
                          </a:lnTo>
                          <a:lnTo>
                            <a:pt x="18839" y="2093"/>
                          </a:lnTo>
                          <a:lnTo>
                            <a:pt x="17464" y="897"/>
                          </a:lnTo>
                          <a:lnTo>
                            <a:pt x="16926" y="419"/>
                          </a:lnTo>
                          <a:lnTo>
                            <a:pt x="16447" y="0"/>
                          </a:lnTo>
                          <a:lnTo>
                            <a:pt x="11304" y="6639"/>
                          </a:lnTo>
                          <a:moveTo>
                            <a:pt x="5203" y="25179"/>
                          </a:moveTo>
                          <a:lnTo>
                            <a:pt x="7596" y="27153"/>
                          </a:lnTo>
                          <a:lnTo>
                            <a:pt x="7835" y="27332"/>
                          </a:lnTo>
                          <a:lnTo>
                            <a:pt x="9151" y="28408"/>
                          </a:lnTo>
                          <a:lnTo>
                            <a:pt x="9988" y="27332"/>
                          </a:lnTo>
                          <a:lnTo>
                            <a:pt x="10646" y="26435"/>
                          </a:lnTo>
                          <a:lnTo>
                            <a:pt x="19676" y="15072"/>
                          </a:lnTo>
                          <a:lnTo>
                            <a:pt x="19138" y="14593"/>
                          </a:lnTo>
                          <a:lnTo>
                            <a:pt x="10406" y="25717"/>
                          </a:lnTo>
                          <a:lnTo>
                            <a:pt x="9749" y="26554"/>
                          </a:lnTo>
                          <a:lnTo>
                            <a:pt x="9270" y="27153"/>
                          </a:lnTo>
                          <a:lnTo>
                            <a:pt x="5921" y="24342"/>
                          </a:lnTo>
                          <a:lnTo>
                            <a:pt x="5203" y="25179"/>
                          </a:lnTo>
                          <a:moveTo>
                            <a:pt x="0" y="20813"/>
                          </a:moveTo>
                          <a:lnTo>
                            <a:pt x="1256" y="21890"/>
                          </a:lnTo>
                          <a:lnTo>
                            <a:pt x="1435" y="22069"/>
                          </a:lnTo>
                          <a:lnTo>
                            <a:pt x="2333" y="22787"/>
                          </a:lnTo>
                          <a:lnTo>
                            <a:pt x="2990" y="22009"/>
                          </a:lnTo>
                          <a:lnTo>
                            <a:pt x="1196" y="20514"/>
                          </a:lnTo>
                          <a:lnTo>
                            <a:pt x="1734" y="19856"/>
                          </a:lnTo>
                          <a:lnTo>
                            <a:pt x="2392" y="19019"/>
                          </a:lnTo>
                          <a:lnTo>
                            <a:pt x="10466" y="8792"/>
                          </a:lnTo>
                          <a:lnTo>
                            <a:pt x="11184" y="7895"/>
                          </a:lnTo>
                          <a:lnTo>
                            <a:pt x="10646" y="7416"/>
                          </a:lnTo>
                          <a:lnTo>
                            <a:pt x="1615" y="18839"/>
                          </a:lnTo>
                          <a:lnTo>
                            <a:pt x="897" y="19737"/>
                          </a:lnTo>
                          <a:lnTo>
                            <a:pt x="0" y="20813"/>
                          </a:lnTo>
                        </a:path>
                      </a:pathLst>
                    </a:custGeom>
                    <a:noFill/>
                    <a:ln w="6350" cap="flat">
                      <a:solidFill>
                        <a:schemeClr val="bg1">
                          <a:alpha val="80000"/>
                        </a:schemeClr>
                      </a:solidFill>
                      <a:prstDash val="solid"/>
                      <a:miter/>
                    </a:ln>
                  </p:spPr>
                  <p:txBody>
                    <a:bodyPr rtlCol="0" anchor="ctr"/>
                    <a:lstStyle/>
                    <a:p>
                      <a:endParaRPr lang="en-GB"/>
                    </a:p>
                  </p:txBody>
                </p:sp>
                <p:sp>
                  <p:nvSpPr>
                    <p:cNvPr id="7539" name="Vrije vorm: vorm 7538">
                      <a:extLst>
                        <a:ext uri="{FF2B5EF4-FFF2-40B4-BE49-F238E27FC236}">
                          <a16:creationId xmlns:a16="http://schemas.microsoft.com/office/drawing/2014/main" id="{5DC2F8C8-3E9A-4C87-BC82-B75558E145EA}"/>
                        </a:ext>
                      </a:extLst>
                    </p:cNvPr>
                    <p:cNvSpPr/>
                    <p:nvPr/>
                  </p:nvSpPr>
                  <p:spPr>
                    <a:xfrm>
                      <a:off x="5367837" y="5261998"/>
                      <a:ext cx="19317" cy="23205"/>
                    </a:xfrm>
                    <a:custGeom>
                      <a:avLst/>
                      <a:gdLst>
                        <a:gd name="connsiteX0" fmla="*/ 13516 w 19317"/>
                        <a:gd name="connsiteY0" fmla="*/ 8552 h 23205"/>
                        <a:gd name="connsiteX1" fmla="*/ 14055 w 19317"/>
                        <a:gd name="connsiteY1" fmla="*/ 9031 h 23205"/>
                        <a:gd name="connsiteX2" fmla="*/ 18660 w 19317"/>
                        <a:gd name="connsiteY2" fmla="*/ 3229 h 23205"/>
                        <a:gd name="connsiteX3" fmla="*/ 19318 w 19317"/>
                        <a:gd name="connsiteY3" fmla="*/ 2452 h 23205"/>
                        <a:gd name="connsiteX4" fmla="*/ 18002 w 19317"/>
                        <a:gd name="connsiteY4" fmla="*/ 1316 h 23205"/>
                        <a:gd name="connsiteX5" fmla="*/ 17344 w 19317"/>
                        <a:gd name="connsiteY5" fmla="*/ 2093 h 23205"/>
                        <a:gd name="connsiteX6" fmla="*/ 17882 w 19317"/>
                        <a:gd name="connsiteY6" fmla="*/ 2572 h 23205"/>
                        <a:gd name="connsiteX7" fmla="*/ 18121 w 19317"/>
                        <a:gd name="connsiteY7" fmla="*/ 2751 h 23205"/>
                        <a:gd name="connsiteX8" fmla="*/ 13516 w 19317"/>
                        <a:gd name="connsiteY8" fmla="*/ 8552 h 23205"/>
                        <a:gd name="connsiteX9" fmla="*/ 11184 w 19317"/>
                        <a:gd name="connsiteY9" fmla="*/ 6579 h 23205"/>
                        <a:gd name="connsiteX10" fmla="*/ 11722 w 19317"/>
                        <a:gd name="connsiteY10" fmla="*/ 7057 h 23205"/>
                        <a:gd name="connsiteX11" fmla="*/ 16327 w 19317"/>
                        <a:gd name="connsiteY11" fmla="*/ 1256 h 23205"/>
                        <a:gd name="connsiteX12" fmla="*/ 16447 w 19317"/>
                        <a:gd name="connsiteY12" fmla="*/ 1375 h 23205"/>
                        <a:gd name="connsiteX13" fmla="*/ 16746 w 19317"/>
                        <a:gd name="connsiteY13" fmla="*/ 1615 h 23205"/>
                        <a:gd name="connsiteX14" fmla="*/ 17404 w 19317"/>
                        <a:gd name="connsiteY14" fmla="*/ 837 h 23205"/>
                        <a:gd name="connsiteX15" fmla="*/ 16447 w 19317"/>
                        <a:gd name="connsiteY15" fmla="*/ 0 h 23205"/>
                        <a:gd name="connsiteX16" fmla="*/ 15789 w 19317"/>
                        <a:gd name="connsiteY16" fmla="*/ 778 h 23205"/>
                        <a:gd name="connsiteX17" fmla="*/ 11184 w 19317"/>
                        <a:gd name="connsiteY17" fmla="*/ 6579 h 23205"/>
                        <a:gd name="connsiteX18" fmla="*/ 0 w 19317"/>
                        <a:gd name="connsiteY18" fmla="*/ 20813 h 23205"/>
                        <a:gd name="connsiteX19" fmla="*/ 2871 w 19317"/>
                        <a:gd name="connsiteY19" fmla="*/ 23205 h 23205"/>
                        <a:gd name="connsiteX20" fmla="*/ 3528 w 19317"/>
                        <a:gd name="connsiteY20" fmla="*/ 22428 h 23205"/>
                        <a:gd name="connsiteX21" fmla="*/ 4844 w 19317"/>
                        <a:gd name="connsiteY21" fmla="*/ 20753 h 23205"/>
                        <a:gd name="connsiteX22" fmla="*/ 5502 w 19317"/>
                        <a:gd name="connsiteY22" fmla="*/ 19916 h 23205"/>
                        <a:gd name="connsiteX23" fmla="*/ 12739 w 19317"/>
                        <a:gd name="connsiteY23" fmla="*/ 10765 h 23205"/>
                        <a:gd name="connsiteX24" fmla="*/ 13397 w 19317"/>
                        <a:gd name="connsiteY24" fmla="*/ 9988 h 23205"/>
                        <a:gd name="connsiteX25" fmla="*/ 13516 w 19317"/>
                        <a:gd name="connsiteY25" fmla="*/ 9868 h 23205"/>
                        <a:gd name="connsiteX26" fmla="*/ 12978 w 19317"/>
                        <a:gd name="connsiteY26" fmla="*/ 9390 h 23205"/>
                        <a:gd name="connsiteX27" fmla="*/ 12260 w 19317"/>
                        <a:gd name="connsiteY27" fmla="*/ 10287 h 23205"/>
                        <a:gd name="connsiteX28" fmla="*/ 12260 w 19317"/>
                        <a:gd name="connsiteY28" fmla="*/ 10287 h 23205"/>
                        <a:gd name="connsiteX29" fmla="*/ 5024 w 19317"/>
                        <a:gd name="connsiteY29" fmla="*/ 19437 h 23205"/>
                        <a:gd name="connsiteX30" fmla="*/ 4366 w 19317"/>
                        <a:gd name="connsiteY30" fmla="*/ 20275 h 23205"/>
                        <a:gd name="connsiteX31" fmla="*/ 3050 w 19317"/>
                        <a:gd name="connsiteY31" fmla="*/ 21949 h 23205"/>
                        <a:gd name="connsiteX32" fmla="*/ 1316 w 19317"/>
                        <a:gd name="connsiteY32" fmla="*/ 20454 h 23205"/>
                        <a:gd name="connsiteX33" fmla="*/ 2512 w 19317"/>
                        <a:gd name="connsiteY33" fmla="*/ 18899 h 23205"/>
                        <a:gd name="connsiteX34" fmla="*/ 3170 w 19317"/>
                        <a:gd name="connsiteY34" fmla="*/ 18062 h 23205"/>
                        <a:gd name="connsiteX35" fmla="*/ 10526 w 19317"/>
                        <a:gd name="connsiteY35" fmla="*/ 8732 h 23205"/>
                        <a:gd name="connsiteX36" fmla="*/ 10526 w 19317"/>
                        <a:gd name="connsiteY36" fmla="*/ 8732 h 23205"/>
                        <a:gd name="connsiteX37" fmla="*/ 11244 w 19317"/>
                        <a:gd name="connsiteY37" fmla="*/ 7835 h 23205"/>
                        <a:gd name="connsiteX38" fmla="*/ 10705 w 19317"/>
                        <a:gd name="connsiteY38" fmla="*/ 7356 h 23205"/>
                        <a:gd name="connsiteX39" fmla="*/ 10645 w 19317"/>
                        <a:gd name="connsiteY39" fmla="*/ 7476 h 23205"/>
                        <a:gd name="connsiteX40" fmla="*/ 9988 w 19317"/>
                        <a:gd name="connsiteY40" fmla="*/ 8253 h 23205"/>
                        <a:gd name="connsiteX41" fmla="*/ 2512 w 19317"/>
                        <a:gd name="connsiteY41" fmla="*/ 17763 h 23205"/>
                        <a:gd name="connsiteX42" fmla="*/ 1854 w 19317"/>
                        <a:gd name="connsiteY42" fmla="*/ 18600 h 23205"/>
                        <a:gd name="connsiteX43" fmla="*/ 778 w 19317"/>
                        <a:gd name="connsiteY43" fmla="*/ 19976 h 23205"/>
                        <a:gd name="connsiteX44" fmla="*/ 0 w 19317"/>
                        <a:gd name="connsiteY44" fmla="*/ 20813 h 2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317" h="23205">
                          <a:moveTo>
                            <a:pt x="13516" y="8552"/>
                          </a:moveTo>
                          <a:lnTo>
                            <a:pt x="14055" y="9031"/>
                          </a:lnTo>
                          <a:lnTo>
                            <a:pt x="18660" y="3229"/>
                          </a:lnTo>
                          <a:lnTo>
                            <a:pt x="19318" y="2452"/>
                          </a:lnTo>
                          <a:lnTo>
                            <a:pt x="18002" y="1316"/>
                          </a:lnTo>
                          <a:lnTo>
                            <a:pt x="17344" y="2093"/>
                          </a:lnTo>
                          <a:lnTo>
                            <a:pt x="17882" y="2572"/>
                          </a:lnTo>
                          <a:lnTo>
                            <a:pt x="18121" y="2751"/>
                          </a:lnTo>
                          <a:lnTo>
                            <a:pt x="13516" y="8552"/>
                          </a:lnTo>
                          <a:moveTo>
                            <a:pt x="11184" y="6579"/>
                          </a:moveTo>
                          <a:lnTo>
                            <a:pt x="11722" y="7057"/>
                          </a:lnTo>
                          <a:lnTo>
                            <a:pt x="16327" y="1256"/>
                          </a:lnTo>
                          <a:lnTo>
                            <a:pt x="16447" y="1375"/>
                          </a:lnTo>
                          <a:lnTo>
                            <a:pt x="16746" y="1615"/>
                          </a:lnTo>
                          <a:lnTo>
                            <a:pt x="17404" y="837"/>
                          </a:lnTo>
                          <a:lnTo>
                            <a:pt x="16447" y="0"/>
                          </a:lnTo>
                          <a:lnTo>
                            <a:pt x="15789" y="778"/>
                          </a:lnTo>
                          <a:lnTo>
                            <a:pt x="11184" y="6579"/>
                          </a:lnTo>
                          <a:moveTo>
                            <a:pt x="0" y="20813"/>
                          </a:moveTo>
                          <a:lnTo>
                            <a:pt x="2871" y="23205"/>
                          </a:lnTo>
                          <a:lnTo>
                            <a:pt x="3528" y="22428"/>
                          </a:lnTo>
                          <a:lnTo>
                            <a:pt x="4844" y="20753"/>
                          </a:lnTo>
                          <a:lnTo>
                            <a:pt x="5502" y="19916"/>
                          </a:lnTo>
                          <a:lnTo>
                            <a:pt x="12739" y="10765"/>
                          </a:lnTo>
                          <a:lnTo>
                            <a:pt x="13397" y="9988"/>
                          </a:lnTo>
                          <a:lnTo>
                            <a:pt x="13516" y="9868"/>
                          </a:lnTo>
                          <a:lnTo>
                            <a:pt x="12978" y="9390"/>
                          </a:lnTo>
                          <a:lnTo>
                            <a:pt x="12260" y="10287"/>
                          </a:lnTo>
                          <a:lnTo>
                            <a:pt x="12260" y="10287"/>
                          </a:lnTo>
                          <a:lnTo>
                            <a:pt x="5024" y="19437"/>
                          </a:lnTo>
                          <a:lnTo>
                            <a:pt x="4366" y="20275"/>
                          </a:lnTo>
                          <a:lnTo>
                            <a:pt x="3050" y="21949"/>
                          </a:lnTo>
                          <a:lnTo>
                            <a:pt x="1316" y="20454"/>
                          </a:lnTo>
                          <a:lnTo>
                            <a:pt x="2512" y="18899"/>
                          </a:lnTo>
                          <a:lnTo>
                            <a:pt x="3170" y="18062"/>
                          </a:lnTo>
                          <a:lnTo>
                            <a:pt x="10526" y="8732"/>
                          </a:lnTo>
                          <a:lnTo>
                            <a:pt x="10526" y="8732"/>
                          </a:lnTo>
                          <a:lnTo>
                            <a:pt x="11244" y="7835"/>
                          </a:lnTo>
                          <a:lnTo>
                            <a:pt x="10705" y="7356"/>
                          </a:lnTo>
                          <a:lnTo>
                            <a:pt x="10645" y="7476"/>
                          </a:lnTo>
                          <a:lnTo>
                            <a:pt x="9988" y="8253"/>
                          </a:lnTo>
                          <a:lnTo>
                            <a:pt x="2512" y="17763"/>
                          </a:lnTo>
                          <a:lnTo>
                            <a:pt x="1854" y="18600"/>
                          </a:lnTo>
                          <a:lnTo>
                            <a:pt x="778" y="19976"/>
                          </a:lnTo>
                          <a:lnTo>
                            <a:pt x="0" y="20813"/>
                          </a:lnTo>
                        </a:path>
                      </a:pathLst>
                    </a:custGeom>
                    <a:noFill/>
                    <a:ln w="6350" cap="flat">
                      <a:solidFill>
                        <a:schemeClr val="bg1">
                          <a:alpha val="80000"/>
                        </a:schemeClr>
                      </a:solidFill>
                      <a:prstDash val="solid"/>
                      <a:miter/>
                    </a:ln>
                  </p:spPr>
                  <p:txBody>
                    <a:bodyPr rtlCol="0" anchor="ctr"/>
                    <a:lstStyle/>
                    <a:p>
                      <a:endParaRPr lang="en-GB"/>
                    </a:p>
                  </p:txBody>
                </p:sp>
                <p:sp>
                  <p:nvSpPr>
                    <p:cNvPr id="7540" name="Vrije vorm: vorm 7539">
                      <a:extLst>
                        <a:ext uri="{FF2B5EF4-FFF2-40B4-BE49-F238E27FC236}">
                          <a16:creationId xmlns:a16="http://schemas.microsoft.com/office/drawing/2014/main" id="{5968EEC0-261F-4641-AB5F-81C1FD678D64}"/>
                        </a:ext>
                      </a:extLst>
                    </p:cNvPr>
                    <p:cNvSpPr/>
                    <p:nvPr/>
                  </p:nvSpPr>
                  <p:spPr>
                    <a:xfrm>
                      <a:off x="5373399" y="5254941"/>
                      <a:ext cx="22248" cy="22367"/>
                    </a:xfrm>
                    <a:custGeom>
                      <a:avLst/>
                      <a:gdLst>
                        <a:gd name="connsiteX0" fmla="*/ 0 w 22248"/>
                        <a:gd name="connsiteY0" fmla="*/ 10167 h 22367"/>
                        <a:gd name="connsiteX1" fmla="*/ 2213 w 22248"/>
                        <a:gd name="connsiteY1" fmla="*/ 12021 h 22367"/>
                        <a:gd name="connsiteX2" fmla="*/ 2871 w 22248"/>
                        <a:gd name="connsiteY2" fmla="*/ 11244 h 22367"/>
                        <a:gd name="connsiteX3" fmla="*/ 1196 w 22248"/>
                        <a:gd name="connsiteY3" fmla="*/ 9808 h 22367"/>
                        <a:gd name="connsiteX4" fmla="*/ 8014 w 22248"/>
                        <a:gd name="connsiteY4" fmla="*/ 1256 h 22367"/>
                        <a:gd name="connsiteX5" fmla="*/ 9629 w 22248"/>
                        <a:gd name="connsiteY5" fmla="*/ 2691 h 22367"/>
                        <a:gd name="connsiteX6" fmla="*/ 10227 w 22248"/>
                        <a:gd name="connsiteY6" fmla="*/ 1854 h 22367"/>
                        <a:gd name="connsiteX7" fmla="*/ 14533 w 22248"/>
                        <a:gd name="connsiteY7" fmla="*/ 5622 h 22367"/>
                        <a:gd name="connsiteX8" fmla="*/ 13935 w 22248"/>
                        <a:gd name="connsiteY8" fmla="*/ 6399 h 22367"/>
                        <a:gd name="connsiteX9" fmla="*/ 14473 w 22248"/>
                        <a:gd name="connsiteY9" fmla="*/ 6878 h 22367"/>
                        <a:gd name="connsiteX10" fmla="*/ 15012 w 22248"/>
                        <a:gd name="connsiteY10" fmla="*/ 7356 h 22367"/>
                        <a:gd name="connsiteX11" fmla="*/ 17763 w 22248"/>
                        <a:gd name="connsiteY11" fmla="*/ 9689 h 22367"/>
                        <a:gd name="connsiteX12" fmla="*/ 18301 w 22248"/>
                        <a:gd name="connsiteY12" fmla="*/ 10167 h 22367"/>
                        <a:gd name="connsiteX13" fmla="*/ 21112 w 22248"/>
                        <a:gd name="connsiteY13" fmla="*/ 12619 h 22367"/>
                        <a:gd name="connsiteX14" fmla="*/ 14354 w 22248"/>
                        <a:gd name="connsiteY14" fmla="*/ 21112 h 22367"/>
                        <a:gd name="connsiteX15" fmla="*/ 12380 w 22248"/>
                        <a:gd name="connsiteY15" fmla="*/ 19377 h 22367"/>
                        <a:gd name="connsiteX16" fmla="*/ 11782 w 22248"/>
                        <a:gd name="connsiteY16" fmla="*/ 18899 h 22367"/>
                        <a:gd name="connsiteX17" fmla="*/ 11543 w 22248"/>
                        <a:gd name="connsiteY17" fmla="*/ 18660 h 22367"/>
                        <a:gd name="connsiteX18" fmla="*/ 10945 w 22248"/>
                        <a:gd name="connsiteY18" fmla="*/ 18181 h 22367"/>
                        <a:gd name="connsiteX19" fmla="*/ 8493 w 22248"/>
                        <a:gd name="connsiteY19" fmla="*/ 16088 h 22367"/>
                        <a:gd name="connsiteX20" fmla="*/ 7954 w 22248"/>
                        <a:gd name="connsiteY20" fmla="*/ 15610 h 22367"/>
                        <a:gd name="connsiteX21" fmla="*/ 7715 w 22248"/>
                        <a:gd name="connsiteY21" fmla="*/ 15370 h 22367"/>
                        <a:gd name="connsiteX22" fmla="*/ 7177 w 22248"/>
                        <a:gd name="connsiteY22" fmla="*/ 14952 h 22367"/>
                        <a:gd name="connsiteX23" fmla="*/ 6579 w 22248"/>
                        <a:gd name="connsiteY23" fmla="*/ 15729 h 22367"/>
                        <a:gd name="connsiteX24" fmla="*/ 7057 w 22248"/>
                        <a:gd name="connsiteY24" fmla="*/ 16208 h 22367"/>
                        <a:gd name="connsiteX25" fmla="*/ 7296 w 22248"/>
                        <a:gd name="connsiteY25" fmla="*/ 16387 h 22367"/>
                        <a:gd name="connsiteX26" fmla="*/ 7835 w 22248"/>
                        <a:gd name="connsiteY26" fmla="*/ 16866 h 22367"/>
                        <a:gd name="connsiteX27" fmla="*/ 10347 w 22248"/>
                        <a:gd name="connsiteY27" fmla="*/ 19019 h 22367"/>
                        <a:gd name="connsiteX28" fmla="*/ 10885 w 22248"/>
                        <a:gd name="connsiteY28" fmla="*/ 19437 h 22367"/>
                        <a:gd name="connsiteX29" fmla="*/ 11184 w 22248"/>
                        <a:gd name="connsiteY29" fmla="*/ 19736 h 22367"/>
                        <a:gd name="connsiteX30" fmla="*/ 11722 w 22248"/>
                        <a:gd name="connsiteY30" fmla="*/ 20215 h 22367"/>
                        <a:gd name="connsiteX31" fmla="*/ 14294 w 22248"/>
                        <a:gd name="connsiteY31" fmla="*/ 22368 h 22367"/>
                        <a:gd name="connsiteX32" fmla="*/ 22248 w 22248"/>
                        <a:gd name="connsiteY32" fmla="*/ 12320 h 22367"/>
                        <a:gd name="connsiteX33" fmla="*/ 18899 w 22248"/>
                        <a:gd name="connsiteY33" fmla="*/ 9390 h 22367"/>
                        <a:gd name="connsiteX34" fmla="*/ 18361 w 22248"/>
                        <a:gd name="connsiteY34" fmla="*/ 8911 h 22367"/>
                        <a:gd name="connsiteX35" fmla="*/ 15669 w 22248"/>
                        <a:gd name="connsiteY35" fmla="*/ 6579 h 22367"/>
                        <a:gd name="connsiteX36" fmla="*/ 15131 w 22248"/>
                        <a:gd name="connsiteY36" fmla="*/ 6100 h 22367"/>
                        <a:gd name="connsiteX37" fmla="*/ 13756 w 22248"/>
                        <a:gd name="connsiteY37" fmla="*/ 4904 h 22367"/>
                        <a:gd name="connsiteX38" fmla="*/ 13218 w 22248"/>
                        <a:gd name="connsiteY38" fmla="*/ 4426 h 22367"/>
                        <a:gd name="connsiteX39" fmla="*/ 11842 w 22248"/>
                        <a:gd name="connsiteY39" fmla="*/ 3229 h 22367"/>
                        <a:gd name="connsiteX40" fmla="*/ 11244 w 22248"/>
                        <a:gd name="connsiteY40" fmla="*/ 2751 h 22367"/>
                        <a:gd name="connsiteX41" fmla="*/ 8074 w 22248"/>
                        <a:gd name="connsiteY41" fmla="*/ 0 h 22367"/>
                        <a:gd name="connsiteX42" fmla="*/ 0 w 22248"/>
                        <a:gd name="connsiteY42" fmla="*/ 10167 h 2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248" h="22367">
                          <a:moveTo>
                            <a:pt x="0" y="10167"/>
                          </a:moveTo>
                          <a:lnTo>
                            <a:pt x="2213" y="12021"/>
                          </a:lnTo>
                          <a:lnTo>
                            <a:pt x="2871" y="11244"/>
                          </a:lnTo>
                          <a:lnTo>
                            <a:pt x="1196" y="9808"/>
                          </a:lnTo>
                          <a:lnTo>
                            <a:pt x="8014" y="1256"/>
                          </a:lnTo>
                          <a:lnTo>
                            <a:pt x="9629" y="2691"/>
                          </a:lnTo>
                          <a:lnTo>
                            <a:pt x="10227" y="1854"/>
                          </a:lnTo>
                          <a:lnTo>
                            <a:pt x="14533" y="5622"/>
                          </a:lnTo>
                          <a:lnTo>
                            <a:pt x="13935" y="6399"/>
                          </a:lnTo>
                          <a:lnTo>
                            <a:pt x="14473" y="6878"/>
                          </a:lnTo>
                          <a:lnTo>
                            <a:pt x="15012" y="7356"/>
                          </a:lnTo>
                          <a:lnTo>
                            <a:pt x="17763" y="9689"/>
                          </a:lnTo>
                          <a:lnTo>
                            <a:pt x="18301" y="10167"/>
                          </a:lnTo>
                          <a:lnTo>
                            <a:pt x="21112" y="12619"/>
                          </a:lnTo>
                          <a:lnTo>
                            <a:pt x="14354" y="21112"/>
                          </a:lnTo>
                          <a:lnTo>
                            <a:pt x="12380" y="19377"/>
                          </a:lnTo>
                          <a:lnTo>
                            <a:pt x="11782" y="18899"/>
                          </a:lnTo>
                          <a:lnTo>
                            <a:pt x="11543" y="18660"/>
                          </a:lnTo>
                          <a:lnTo>
                            <a:pt x="10945" y="18181"/>
                          </a:lnTo>
                          <a:lnTo>
                            <a:pt x="8493" y="16088"/>
                          </a:lnTo>
                          <a:lnTo>
                            <a:pt x="7954" y="15610"/>
                          </a:lnTo>
                          <a:lnTo>
                            <a:pt x="7715" y="15370"/>
                          </a:lnTo>
                          <a:lnTo>
                            <a:pt x="7177" y="14952"/>
                          </a:lnTo>
                          <a:lnTo>
                            <a:pt x="6579" y="15729"/>
                          </a:lnTo>
                          <a:lnTo>
                            <a:pt x="7057" y="16208"/>
                          </a:lnTo>
                          <a:lnTo>
                            <a:pt x="7296" y="16387"/>
                          </a:lnTo>
                          <a:lnTo>
                            <a:pt x="7835" y="16866"/>
                          </a:lnTo>
                          <a:lnTo>
                            <a:pt x="10347" y="19019"/>
                          </a:lnTo>
                          <a:lnTo>
                            <a:pt x="10885" y="19437"/>
                          </a:lnTo>
                          <a:lnTo>
                            <a:pt x="11184" y="19736"/>
                          </a:lnTo>
                          <a:lnTo>
                            <a:pt x="11722" y="20215"/>
                          </a:lnTo>
                          <a:lnTo>
                            <a:pt x="14294" y="22368"/>
                          </a:lnTo>
                          <a:lnTo>
                            <a:pt x="22248" y="12320"/>
                          </a:lnTo>
                          <a:lnTo>
                            <a:pt x="18899" y="9390"/>
                          </a:lnTo>
                          <a:lnTo>
                            <a:pt x="18361" y="8911"/>
                          </a:lnTo>
                          <a:lnTo>
                            <a:pt x="15669" y="6579"/>
                          </a:lnTo>
                          <a:lnTo>
                            <a:pt x="15131" y="6100"/>
                          </a:lnTo>
                          <a:lnTo>
                            <a:pt x="13756" y="4904"/>
                          </a:lnTo>
                          <a:lnTo>
                            <a:pt x="13218" y="4426"/>
                          </a:lnTo>
                          <a:lnTo>
                            <a:pt x="11842" y="3229"/>
                          </a:lnTo>
                          <a:lnTo>
                            <a:pt x="11244" y="2751"/>
                          </a:lnTo>
                          <a:lnTo>
                            <a:pt x="8074" y="0"/>
                          </a:lnTo>
                          <a:lnTo>
                            <a:pt x="0" y="10167"/>
                          </a:lnTo>
                        </a:path>
                      </a:pathLst>
                    </a:custGeom>
                    <a:noFill/>
                    <a:ln w="6350" cap="flat">
                      <a:solidFill>
                        <a:schemeClr val="bg1">
                          <a:alpha val="80000"/>
                        </a:schemeClr>
                      </a:solidFill>
                      <a:prstDash val="solid"/>
                      <a:miter/>
                    </a:ln>
                  </p:spPr>
                  <p:txBody>
                    <a:bodyPr rtlCol="0" anchor="ctr"/>
                    <a:lstStyle/>
                    <a:p>
                      <a:endParaRPr lang="en-GB"/>
                    </a:p>
                  </p:txBody>
                </p:sp>
                <p:sp>
                  <p:nvSpPr>
                    <p:cNvPr id="7541" name="Vrije vorm: vorm 7540">
                      <a:extLst>
                        <a:ext uri="{FF2B5EF4-FFF2-40B4-BE49-F238E27FC236}">
                          <a16:creationId xmlns:a16="http://schemas.microsoft.com/office/drawing/2014/main" id="{681AEDD3-8E36-4E6C-B186-2D4442FA9688}"/>
                        </a:ext>
                      </a:extLst>
                    </p:cNvPr>
                    <p:cNvSpPr/>
                    <p:nvPr/>
                  </p:nvSpPr>
                  <p:spPr>
                    <a:xfrm>
                      <a:off x="5375612" y="5256795"/>
                      <a:ext cx="12380" cy="13875"/>
                    </a:xfrm>
                    <a:custGeom>
                      <a:avLst/>
                      <a:gdLst>
                        <a:gd name="connsiteX0" fmla="*/ 8971 w 12380"/>
                        <a:gd name="connsiteY0" fmla="*/ 6818 h 13875"/>
                        <a:gd name="connsiteX1" fmla="*/ 4366 w 12380"/>
                        <a:gd name="connsiteY1" fmla="*/ 12619 h 13875"/>
                        <a:gd name="connsiteX2" fmla="*/ 1136 w 12380"/>
                        <a:gd name="connsiteY2" fmla="*/ 9868 h 13875"/>
                        <a:gd name="connsiteX3" fmla="*/ 6340 w 12380"/>
                        <a:gd name="connsiteY3" fmla="*/ 3229 h 13875"/>
                        <a:gd name="connsiteX4" fmla="*/ 7895 w 12380"/>
                        <a:gd name="connsiteY4" fmla="*/ 1256 h 13875"/>
                        <a:gd name="connsiteX5" fmla="*/ 8373 w 12380"/>
                        <a:gd name="connsiteY5" fmla="*/ 1675 h 13875"/>
                        <a:gd name="connsiteX6" fmla="*/ 8911 w 12380"/>
                        <a:gd name="connsiteY6" fmla="*/ 2153 h 13875"/>
                        <a:gd name="connsiteX7" fmla="*/ 10287 w 12380"/>
                        <a:gd name="connsiteY7" fmla="*/ 3349 h 13875"/>
                        <a:gd name="connsiteX8" fmla="*/ 10825 w 12380"/>
                        <a:gd name="connsiteY8" fmla="*/ 3828 h 13875"/>
                        <a:gd name="connsiteX9" fmla="*/ 11064 w 12380"/>
                        <a:gd name="connsiteY9" fmla="*/ 4067 h 13875"/>
                        <a:gd name="connsiteX10" fmla="*/ 9510 w 12380"/>
                        <a:gd name="connsiteY10" fmla="*/ 6041 h 13875"/>
                        <a:gd name="connsiteX11" fmla="*/ 8971 w 12380"/>
                        <a:gd name="connsiteY11" fmla="*/ 6818 h 13875"/>
                        <a:gd name="connsiteX12" fmla="*/ 0 w 12380"/>
                        <a:gd name="connsiteY12" fmla="*/ 10167 h 13875"/>
                        <a:gd name="connsiteX13" fmla="*/ 479 w 12380"/>
                        <a:gd name="connsiteY13" fmla="*/ 10586 h 13875"/>
                        <a:gd name="connsiteX14" fmla="*/ 1017 w 12380"/>
                        <a:gd name="connsiteY14" fmla="*/ 11064 h 13875"/>
                        <a:gd name="connsiteX15" fmla="*/ 1495 w 12380"/>
                        <a:gd name="connsiteY15" fmla="*/ 11483 h 13875"/>
                        <a:gd name="connsiteX16" fmla="*/ 2751 w 12380"/>
                        <a:gd name="connsiteY16" fmla="*/ 12559 h 13875"/>
                        <a:gd name="connsiteX17" fmla="*/ 3289 w 12380"/>
                        <a:gd name="connsiteY17" fmla="*/ 13038 h 13875"/>
                        <a:gd name="connsiteX18" fmla="*/ 3409 w 12380"/>
                        <a:gd name="connsiteY18" fmla="*/ 13098 h 13875"/>
                        <a:gd name="connsiteX19" fmla="*/ 4306 w 12380"/>
                        <a:gd name="connsiteY19" fmla="*/ 13875 h 13875"/>
                        <a:gd name="connsiteX20" fmla="*/ 4964 w 12380"/>
                        <a:gd name="connsiteY20" fmla="*/ 13098 h 13875"/>
                        <a:gd name="connsiteX21" fmla="*/ 9510 w 12380"/>
                        <a:gd name="connsiteY21" fmla="*/ 7297 h 13875"/>
                        <a:gd name="connsiteX22" fmla="*/ 10167 w 12380"/>
                        <a:gd name="connsiteY22" fmla="*/ 6519 h 13875"/>
                        <a:gd name="connsiteX23" fmla="*/ 11722 w 12380"/>
                        <a:gd name="connsiteY23" fmla="*/ 4545 h 13875"/>
                        <a:gd name="connsiteX24" fmla="*/ 12380 w 12380"/>
                        <a:gd name="connsiteY24" fmla="*/ 3768 h 13875"/>
                        <a:gd name="connsiteX25" fmla="*/ 8074 w 12380"/>
                        <a:gd name="connsiteY25" fmla="*/ 0 h 13875"/>
                        <a:gd name="connsiteX26" fmla="*/ 7416 w 12380"/>
                        <a:gd name="connsiteY26" fmla="*/ 778 h 13875"/>
                        <a:gd name="connsiteX27" fmla="*/ 658 w 12380"/>
                        <a:gd name="connsiteY27" fmla="*/ 9330 h 13875"/>
                        <a:gd name="connsiteX28" fmla="*/ 0 w 12380"/>
                        <a:gd name="connsiteY28" fmla="*/ 10167 h 1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380" h="13875">
                          <a:moveTo>
                            <a:pt x="8971" y="6818"/>
                          </a:moveTo>
                          <a:lnTo>
                            <a:pt x="4366" y="12619"/>
                          </a:lnTo>
                          <a:lnTo>
                            <a:pt x="1136" y="9868"/>
                          </a:lnTo>
                          <a:lnTo>
                            <a:pt x="6340" y="3229"/>
                          </a:lnTo>
                          <a:lnTo>
                            <a:pt x="7895" y="1256"/>
                          </a:lnTo>
                          <a:lnTo>
                            <a:pt x="8373" y="1675"/>
                          </a:lnTo>
                          <a:lnTo>
                            <a:pt x="8911" y="2153"/>
                          </a:lnTo>
                          <a:lnTo>
                            <a:pt x="10287" y="3349"/>
                          </a:lnTo>
                          <a:lnTo>
                            <a:pt x="10825" y="3828"/>
                          </a:lnTo>
                          <a:lnTo>
                            <a:pt x="11064" y="4067"/>
                          </a:lnTo>
                          <a:lnTo>
                            <a:pt x="9510" y="6041"/>
                          </a:lnTo>
                          <a:lnTo>
                            <a:pt x="8971" y="6818"/>
                          </a:lnTo>
                          <a:moveTo>
                            <a:pt x="0" y="10167"/>
                          </a:moveTo>
                          <a:lnTo>
                            <a:pt x="479" y="10586"/>
                          </a:lnTo>
                          <a:lnTo>
                            <a:pt x="1017" y="11064"/>
                          </a:lnTo>
                          <a:lnTo>
                            <a:pt x="1495" y="11483"/>
                          </a:lnTo>
                          <a:lnTo>
                            <a:pt x="2751" y="12559"/>
                          </a:lnTo>
                          <a:lnTo>
                            <a:pt x="3289" y="13038"/>
                          </a:lnTo>
                          <a:lnTo>
                            <a:pt x="3409" y="13098"/>
                          </a:lnTo>
                          <a:lnTo>
                            <a:pt x="4306" y="13875"/>
                          </a:lnTo>
                          <a:lnTo>
                            <a:pt x="4964" y="13098"/>
                          </a:lnTo>
                          <a:lnTo>
                            <a:pt x="9510" y="7297"/>
                          </a:lnTo>
                          <a:lnTo>
                            <a:pt x="10167" y="6519"/>
                          </a:lnTo>
                          <a:lnTo>
                            <a:pt x="11722" y="4545"/>
                          </a:lnTo>
                          <a:lnTo>
                            <a:pt x="12380" y="3768"/>
                          </a:lnTo>
                          <a:lnTo>
                            <a:pt x="8074" y="0"/>
                          </a:lnTo>
                          <a:lnTo>
                            <a:pt x="7416" y="778"/>
                          </a:lnTo>
                          <a:lnTo>
                            <a:pt x="658" y="9330"/>
                          </a:lnTo>
                          <a:lnTo>
                            <a:pt x="0" y="10167"/>
                          </a:lnTo>
                        </a:path>
                      </a:pathLst>
                    </a:custGeom>
                    <a:noFill/>
                    <a:ln w="6350" cap="flat">
                      <a:solidFill>
                        <a:schemeClr val="bg1">
                          <a:alpha val="80000"/>
                        </a:schemeClr>
                      </a:solidFill>
                      <a:prstDash val="solid"/>
                      <a:miter/>
                    </a:ln>
                  </p:spPr>
                  <p:txBody>
                    <a:bodyPr rtlCol="0" anchor="ctr"/>
                    <a:lstStyle/>
                    <a:p>
                      <a:endParaRPr lang="en-GB"/>
                    </a:p>
                  </p:txBody>
                </p:sp>
              </p:grpSp>
              <p:sp>
                <p:nvSpPr>
                  <p:cNvPr id="7327" name="Vrije vorm: vorm 7326">
                    <a:extLst>
                      <a:ext uri="{FF2B5EF4-FFF2-40B4-BE49-F238E27FC236}">
                        <a16:creationId xmlns:a16="http://schemas.microsoft.com/office/drawing/2014/main" id="{DAD04FBB-D621-4687-AC68-AF6EC9823E38}"/>
                      </a:ext>
                    </a:extLst>
                  </p:cNvPr>
                  <p:cNvSpPr/>
                  <p:nvPr/>
                </p:nvSpPr>
                <p:spPr>
                  <a:xfrm>
                    <a:off x="4645844" y="5170015"/>
                    <a:ext cx="706263" cy="444726"/>
                  </a:xfrm>
                  <a:custGeom>
                    <a:avLst/>
                    <a:gdLst>
                      <a:gd name="connsiteX0" fmla="*/ 0 w 706263"/>
                      <a:gd name="connsiteY0" fmla="*/ 44736 h 444726"/>
                      <a:gd name="connsiteX1" fmla="*/ 682221 w 706263"/>
                      <a:gd name="connsiteY1" fmla="*/ 444726 h 444726"/>
                      <a:gd name="connsiteX2" fmla="*/ 706264 w 706263"/>
                      <a:gd name="connsiteY2" fmla="*/ 414225 h 444726"/>
                      <a:gd name="connsiteX3" fmla="*/ 35346 w 706263"/>
                      <a:gd name="connsiteY3" fmla="*/ 0 h 444726"/>
                      <a:gd name="connsiteX4" fmla="*/ 0 w 706263"/>
                      <a:gd name="connsiteY4" fmla="*/ 44736 h 44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263" h="444726">
                        <a:moveTo>
                          <a:pt x="0" y="44736"/>
                        </a:moveTo>
                        <a:lnTo>
                          <a:pt x="682221" y="444726"/>
                        </a:lnTo>
                        <a:lnTo>
                          <a:pt x="706264" y="414225"/>
                        </a:lnTo>
                        <a:lnTo>
                          <a:pt x="35346" y="0"/>
                        </a:lnTo>
                        <a:lnTo>
                          <a:pt x="0" y="44736"/>
                        </a:lnTo>
                      </a:path>
                    </a:pathLst>
                  </a:custGeom>
                  <a:noFill/>
                  <a:ln w="6350" cap="flat">
                    <a:solidFill>
                      <a:schemeClr val="bg1">
                        <a:alpha val="80000"/>
                      </a:schemeClr>
                    </a:solidFill>
                    <a:prstDash val="solid"/>
                    <a:miter/>
                  </a:ln>
                </p:spPr>
                <p:txBody>
                  <a:bodyPr rtlCol="0" anchor="ctr"/>
                  <a:lstStyle/>
                  <a:p>
                    <a:endParaRPr lang="en-GB"/>
                  </a:p>
                </p:txBody>
              </p:sp>
              <p:sp>
                <p:nvSpPr>
                  <p:cNvPr id="7328" name="Vrije vorm: vorm 7327">
                    <a:extLst>
                      <a:ext uri="{FF2B5EF4-FFF2-40B4-BE49-F238E27FC236}">
                        <a16:creationId xmlns:a16="http://schemas.microsoft.com/office/drawing/2014/main" id="{B2FCF0BF-9C17-41D0-A43F-35892D78EEB0}"/>
                      </a:ext>
                    </a:extLst>
                  </p:cNvPr>
                  <p:cNvSpPr/>
                  <p:nvPr/>
                </p:nvSpPr>
                <p:spPr>
                  <a:xfrm>
                    <a:off x="4651406" y="5178029"/>
                    <a:ext cx="706263" cy="444726"/>
                  </a:xfrm>
                  <a:custGeom>
                    <a:avLst/>
                    <a:gdLst>
                      <a:gd name="connsiteX0" fmla="*/ 0 w 706263"/>
                      <a:gd name="connsiteY0" fmla="*/ 44736 h 444726"/>
                      <a:gd name="connsiteX1" fmla="*/ 682221 w 706263"/>
                      <a:gd name="connsiteY1" fmla="*/ 444726 h 444726"/>
                      <a:gd name="connsiteX2" fmla="*/ 706263 w 706263"/>
                      <a:gd name="connsiteY2" fmla="*/ 414225 h 444726"/>
                      <a:gd name="connsiteX3" fmla="*/ 35286 w 706263"/>
                      <a:gd name="connsiteY3" fmla="*/ 0 h 444726"/>
                      <a:gd name="connsiteX4" fmla="*/ 0 w 706263"/>
                      <a:gd name="connsiteY4" fmla="*/ 44736 h 44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263" h="444726">
                        <a:moveTo>
                          <a:pt x="0" y="44736"/>
                        </a:moveTo>
                        <a:lnTo>
                          <a:pt x="682221" y="444726"/>
                        </a:lnTo>
                        <a:lnTo>
                          <a:pt x="706263" y="414225"/>
                        </a:lnTo>
                        <a:lnTo>
                          <a:pt x="35286" y="0"/>
                        </a:lnTo>
                        <a:lnTo>
                          <a:pt x="0" y="44736"/>
                        </a:lnTo>
                      </a:path>
                    </a:pathLst>
                  </a:custGeom>
                  <a:noFill/>
                  <a:ln w="6350" cap="flat">
                    <a:solidFill>
                      <a:schemeClr val="bg1">
                        <a:alpha val="80000"/>
                      </a:schemeClr>
                    </a:solidFill>
                    <a:prstDash val="solid"/>
                    <a:miter/>
                  </a:ln>
                </p:spPr>
                <p:txBody>
                  <a:bodyPr rtlCol="0" anchor="ctr"/>
                  <a:lstStyle/>
                  <a:p>
                    <a:endParaRPr lang="en-GB"/>
                  </a:p>
                </p:txBody>
              </p:sp>
            </p:grpSp>
            <p:sp>
              <p:nvSpPr>
                <p:cNvPr id="7317" name="Vrije vorm: vorm 7316">
                  <a:extLst>
                    <a:ext uri="{FF2B5EF4-FFF2-40B4-BE49-F238E27FC236}">
                      <a16:creationId xmlns:a16="http://schemas.microsoft.com/office/drawing/2014/main" id="{BD4973A7-FAB1-444B-9470-8F93A8F08078}"/>
                    </a:ext>
                  </a:extLst>
                </p:cNvPr>
                <p:cNvSpPr/>
                <p:nvPr/>
              </p:nvSpPr>
              <p:spPr>
                <a:xfrm>
                  <a:off x="4918481" y="4613971"/>
                  <a:ext cx="36148" cy="26271"/>
                </a:xfrm>
                <a:custGeom>
                  <a:avLst/>
                  <a:gdLst>
                    <a:gd name="connsiteX0" fmla="*/ 144 w 36148"/>
                    <a:gd name="connsiteY0" fmla="*/ 26272 h 26271"/>
                    <a:gd name="connsiteX1" fmla="*/ 6962 w 36148"/>
                    <a:gd name="connsiteY1" fmla="*/ 5818 h 26271"/>
                    <a:gd name="connsiteX2" fmla="*/ 36148 w 36148"/>
                    <a:gd name="connsiteY2" fmla="*/ 4681 h 26271"/>
                  </a:gdLst>
                  <a:ahLst/>
                  <a:cxnLst>
                    <a:cxn ang="0">
                      <a:pos x="connsiteX0" y="connsiteY0"/>
                    </a:cxn>
                    <a:cxn ang="0">
                      <a:pos x="connsiteX1" y="connsiteY1"/>
                    </a:cxn>
                    <a:cxn ang="0">
                      <a:pos x="connsiteX2" y="connsiteY2"/>
                    </a:cxn>
                  </a:cxnLst>
                  <a:rect l="l" t="t" r="r" b="b"/>
                  <a:pathLst>
                    <a:path w="36148" h="26271">
                      <a:moveTo>
                        <a:pt x="144" y="26272"/>
                      </a:moveTo>
                      <a:cubicBezTo>
                        <a:pt x="144" y="26272"/>
                        <a:pt x="-1590" y="13712"/>
                        <a:pt x="6962" y="5818"/>
                      </a:cubicBezTo>
                      <a:cubicBezTo>
                        <a:pt x="15515" y="-2077"/>
                        <a:pt x="25921" y="-1419"/>
                        <a:pt x="36148" y="4681"/>
                      </a:cubicBezTo>
                    </a:path>
                  </a:pathLst>
                </a:custGeom>
                <a:noFill/>
                <a:ln w="6350" cap="flat">
                  <a:solidFill>
                    <a:schemeClr val="bg1">
                      <a:alpha val="80000"/>
                    </a:schemeClr>
                  </a:solidFill>
                  <a:prstDash val="solid"/>
                  <a:miter/>
                </a:ln>
              </p:spPr>
              <p:txBody>
                <a:bodyPr rtlCol="0" anchor="ctr"/>
                <a:lstStyle/>
                <a:p>
                  <a:endParaRPr lang="en-GB"/>
                </a:p>
              </p:txBody>
            </p:sp>
            <p:grpSp>
              <p:nvGrpSpPr>
                <p:cNvPr id="7318" name="Graphic 3">
                  <a:extLst>
                    <a:ext uri="{FF2B5EF4-FFF2-40B4-BE49-F238E27FC236}">
                      <a16:creationId xmlns:a16="http://schemas.microsoft.com/office/drawing/2014/main" id="{854A00EA-0587-47D1-9458-439F5CB1C5B1}"/>
                    </a:ext>
                  </a:extLst>
                </p:cNvPr>
                <p:cNvGrpSpPr/>
                <p:nvPr/>
              </p:nvGrpSpPr>
              <p:grpSpPr>
                <a:xfrm>
                  <a:off x="5251301" y="4711795"/>
                  <a:ext cx="411262" cy="529187"/>
                  <a:chOff x="5251301" y="4711795"/>
                  <a:chExt cx="411262" cy="529187"/>
                </a:xfrm>
                <a:noFill/>
              </p:grpSpPr>
              <p:sp>
                <p:nvSpPr>
                  <p:cNvPr id="7319" name="Vrije vorm: vorm 7318">
                    <a:extLst>
                      <a:ext uri="{FF2B5EF4-FFF2-40B4-BE49-F238E27FC236}">
                        <a16:creationId xmlns:a16="http://schemas.microsoft.com/office/drawing/2014/main" id="{007B9FF8-EFC0-491A-96C1-940BB79D0591}"/>
                      </a:ext>
                    </a:extLst>
                  </p:cNvPr>
                  <p:cNvSpPr/>
                  <p:nvPr/>
                </p:nvSpPr>
                <p:spPr>
                  <a:xfrm>
                    <a:off x="5630112" y="5210576"/>
                    <a:ext cx="25676" cy="23429"/>
                  </a:xfrm>
                  <a:custGeom>
                    <a:avLst/>
                    <a:gdLst>
                      <a:gd name="connsiteX0" fmla="*/ 2910 w 25676"/>
                      <a:gd name="connsiteY0" fmla="*/ 16017 h 23429"/>
                      <a:gd name="connsiteX1" fmla="*/ 4705 w 25676"/>
                      <a:gd name="connsiteY1" fmla="*/ 826 h 23429"/>
                      <a:gd name="connsiteX2" fmla="*/ 22766 w 25676"/>
                      <a:gd name="connsiteY2" fmla="*/ 7405 h 23429"/>
                      <a:gd name="connsiteX3" fmla="*/ 20972 w 25676"/>
                      <a:gd name="connsiteY3" fmla="*/ 22596 h 23429"/>
                      <a:gd name="connsiteX4" fmla="*/ 2910 w 25676"/>
                      <a:gd name="connsiteY4" fmla="*/ 16017 h 2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76" h="23429">
                        <a:moveTo>
                          <a:pt x="2910" y="16017"/>
                        </a:moveTo>
                        <a:cubicBezTo>
                          <a:pt x="-1575" y="9976"/>
                          <a:pt x="-798" y="3218"/>
                          <a:pt x="4705" y="826"/>
                        </a:cubicBezTo>
                        <a:cubicBezTo>
                          <a:pt x="10207" y="-1566"/>
                          <a:pt x="18281" y="1424"/>
                          <a:pt x="22766" y="7405"/>
                        </a:cubicBezTo>
                        <a:cubicBezTo>
                          <a:pt x="27252" y="13385"/>
                          <a:pt x="26474" y="20204"/>
                          <a:pt x="20972" y="22596"/>
                        </a:cubicBezTo>
                        <a:cubicBezTo>
                          <a:pt x="15470" y="24988"/>
                          <a:pt x="7396" y="22058"/>
                          <a:pt x="2910" y="16017"/>
                        </a:cubicBezTo>
                        <a:close/>
                      </a:path>
                    </a:pathLst>
                  </a:custGeom>
                  <a:noFill/>
                  <a:ln w="6350" cap="flat">
                    <a:solidFill>
                      <a:schemeClr val="bg1">
                        <a:alpha val="80000"/>
                      </a:schemeClr>
                    </a:solidFill>
                    <a:prstDash val="solid"/>
                    <a:miter/>
                  </a:ln>
                </p:spPr>
                <p:txBody>
                  <a:bodyPr rtlCol="0" anchor="ctr"/>
                  <a:lstStyle/>
                  <a:p>
                    <a:endParaRPr lang="en-GB"/>
                  </a:p>
                </p:txBody>
              </p:sp>
              <p:sp>
                <p:nvSpPr>
                  <p:cNvPr id="7320" name="Vrije vorm: vorm 7319">
                    <a:extLst>
                      <a:ext uri="{FF2B5EF4-FFF2-40B4-BE49-F238E27FC236}">
                        <a16:creationId xmlns:a16="http://schemas.microsoft.com/office/drawing/2014/main" id="{E15CB362-C795-4415-BA7C-43DBC9C9CED2}"/>
                      </a:ext>
                    </a:extLst>
                  </p:cNvPr>
                  <p:cNvSpPr/>
                  <p:nvPr/>
                </p:nvSpPr>
                <p:spPr>
                  <a:xfrm>
                    <a:off x="5251301" y="4711795"/>
                    <a:ext cx="411262" cy="529187"/>
                  </a:xfrm>
                  <a:custGeom>
                    <a:avLst/>
                    <a:gdLst>
                      <a:gd name="connsiteX0" fmla="*/ 405883 w 411262"/>
                      <a:gd name="connsiteY0" fmla="*/ 499666 h 529187"/>
                      <a:gd name="connsiteX1" fmla="*/ 41956 w 411262"/>
                      <a:gd name="connsiteY1" fmla="*/ 13673 h 529187"/>
                      <a:gd name="connsiteX2" fmla="*/ 8644 w 411262"/>
                      <a:gd name="connsiteY2" fmla="*/ 1532 h 529187"/>
                      <a:gd name="connsiteX3" fmla="*/ 5354 w 411262"/>
                      <a:gd name="connsiteY3" fmla="*/ 29522 h 529187"/>
                      <a:gd name="connsiteX4" fmla="*/ 369281 w 411262"/>
                      <a:gd name="connsiteY4" fmla="*/ 515515 h 529187"/>
                      <a:gd name="connsiteX5" fmla="*/ 402594 w 411262"/>
                      <a:gd name="connsiteY5" fmla="*/ 527656 h 529187"/>
                      <a:gd name="connsiteX6" fmla="*/ 405883 w 411262"/>
                      <a:gd name="connsiteY6" fmla="*/ 499666 h 529187"/>
                      <a:gd name="connsiteX7" fmla="*/ 373886 w 411262"/>
                      <a:gd name="connsiteY7" fmla="*/ 513482 h 529187"/>
                      <a:gd name="connsiteX8" fmla="*/ 9959 w 411262"/>
                      <a:gd name="connsiteY8" fmla="*/ 27488 h 529187"/>
                      <a:gd name="connsiteX9" fmla="*/ 12411 w 411262"/>
                      <a:gd name="connsiteY9" fmla="*/ 6496 h 529187"/>
                      <a:gd name="connsiteX10" fmla="*/ 37411 w 411262"/>
                      <a:gd name="connsiteY10" fmla="*/ 15646 h 529187"/>
                      <a:gd name="connsiteX11" fmla="*/ 401338 w 411262"/>
                      <a:gd name="connsiteY11" fmla="*/ 501640 h 529187"/>
                      <a:gd name="connsiteX12" fmla="*/ 398886 w 411262"/>
                      <a:gd name="connsiteY12" fmla="*/ 522632 h 529187"/>
                      <a:gd name="connsiteX13" fmla="*/ 373886 w 411262"/>
                      <a:gd name="connsiteY13" fmla="*/ 513482 h 52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1262" h="529187">
                        <a:moveTo>
                          <a:pt x="405883" y="499666"/>
                        </a:moveTo>
                        <a:lnTo>
                          <a:pt x="41956" y="13673"/>
                        </a:lnTo>
                        <a:cubicBezTo>
                          <a:pt x="33703" y="2608"/>
                          <a:pt x="18751" y="-2894"/>
                          <a:pt x="8644" y="1532"/>
                        </a:cubicBezTo>
                        <a:cubicBezTo>
                          <a:pt x="-1464" y="5898"/>
                          <a:pt x="-2899" y="18458"/>
                          <a:pt x="5354" y="29522"/>
                        </a:cubicBezTo>
                        <a:lnTo>
                          <a:pt x="369281" y="515515"/>
                        </a:lnTo>
                        <a:cubicBezTo>
                          <a:pt x="377535" y="526579"/>
                          <a:pt x="392487" y="532082"/>
                          <a:pt x="402594" y="527656"/>
                        </a:cubicBezTo>
                        <a:cubicBezTo>
                          <a:pt x="412702" y="523290"/>
                          <a:pt x="414197" y="510731"/>
                          <a:pt x="405883" y="499666"/>
                        </a:cubicBezTo>
                        <a:close/>
                        <a:moveTo>
                          <a:pt x="373886" y="513482"/>
                        </a:moveTo>
                        <a:lnTo>
                          <a:pt x="9959" y="27488"/>
                        </a:lnTo>
                        <a:cubicBezTo>
                          <a:pt x="3740" y="19175"/>
                          <a:pt x="4816" y="9785"/>
                          <a:pt x="12411" y="6496"/>
                        </a:cubicBezTo>
                        <a:cubicBezTo>
                          <a:pt x="20007" y="3206"/>
                          <a:pt x="31191" y="7333"/>
                          <a:pt x="37411" y="15646"/>
                        </a:cubicBezTo>
                        <a:lnTo>
                          <a:pt x="401338" y="501640"/>
                        </a:lnTo>
                        <a:cubicBezTo>
                          <a:pt x="407558" y="509953"/>
                          <a:pt x="406481" y="519343"/>
                          <a:pt x="398886" y="522632"/>
                        </a:cubicBezTo>
                        <a:cubicBezTo>
                          <a:pt x="391290" y="525922"/>
                          <a:pt x="380106" y="521855"/>
                          <a:pt x="373886" y="513482"/>
                        </a:cubicBezTo>
                        <a:close/>
                      </a:path>
                    </a:pathLst>
                  </a:custGeom>
                  <a:noFill/>
                  <a:ln w="6350" cap="flat">
                    <a:solidFill>
                      <a:schemeClr val="bg1">
                        <a:alpha val="80000"/>
                      </a:schemeClr>
                    </a:solidFill>
                    <a:prstDash val="solid"/>
                    <a:miter/>
                  </a:ln>
                </p:spPr>
                <p:txBody>
                  <a:bodyPr rtlCol="0" anchor="ctr"/>
                  <a:lstStyle/>
                  <a:p>
                    <a:endParaRPr lang="en-GB"/>
                  </a:p>
                </p:txBody>
              </p:sp>
              <p:sp>
                <p:nvSpPr>
                  <p:cNvPr id="7321" name="Vrije vorm: vorm 7320">
                    <a:extLst>
                      <a:ext uri="{FF2B5EF4-FFF2-40B4-BE49-F238E27FC236}">
                        <a16:creationId xmlns:a16="http://schemas.microsoft.com/office/drawing/2014/main" id="{CC643180-7E70-4AE4-8F5E-040879C10224}"/>
                      </a:ext>
                    </a:extLst>
                  </p:cNvPr>
                  <p:cNvSpPr/>
                  <p:nvPr/>
                </p:nvSpPr>
                <p:spPr>
                  <a:xfrm>
                    <a:off x="5561692" y="5120319"/>
                    <a:ext cx="25676" cy="23429"/>
                  </a:xfrm>
                  <a:custGeom>
                    <a:avLst/>
                    <a:gdLst>
                      <a:gd name="connsiteX0" fmla="*/ 22766 w 25676"/>
                      <a:gd name="connsiteY0" fmla="*/ 7412 h 23429"/>
                      <a:gd name="connsiteX1" fmla="*/ 4705 w 25676"/>
                      <a:gd name="connsiteY1" fmla="*/ 834 h 23429"/>
                      <a:gd name="connsiteX2" fmla="*/ 2910 w 25676"/>
                      <a:gd name="connsiteY2" fmla="*/ 16024 h 23429"/>
                      <a:gd name="connsiteX3" fmla="*/ 20972 w 25676"/>
                      <a:gd name="connsiteY3" fmla="*/ 22603 h 23429"/>
                      <a:gd name="connsiteX4" fmla="*/ 22766 w 25676"/>
                      <a:gd name="connsiteY4" fmla="*/ 7412 h 2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76" h="23429">
                        <a:moveTo>
                          <a:pt x="22766" y="7412"/>
                        </a:moveTo>
                        <a:cubicBezTo>
                          <a:pt x="18281" y="1372"/>
                          <a:pt x="10207" y="-1559"/>
                          <a:pt x="4705" y="834"/>
                        </a:cubicBezTo>
                        <a:cubicBezTo>
                          <a:pt x="-798" y="3226"/>
                          <a:pt x="-1575" y="9984"/>
                          <a:pt x="2910" y="16024"/>
                        </a:cubicBezTo>
                        <a:cubicBezTo>
                          <a:pt x="7396" y="22005"/>
                          <a:pt x="15470" y="24996"/>
                          <a:pt x="20972" y="22603"/>
                        </a:cubicBezTo>
                        <a:cubicBezTo>
                          <a:pt x="26474" y="20211"/>
                          <a:pt x="27252" y="13393"/>
                          <a:pt x="22766" y="7412"/>
                        </a:cubicBezTo>
                        <a:close/>
                      </a:path>
                    </a:pathLst>
                  </a:custGeom>
                  <a:noFill/>
                  <a:ln w="6350" cap="flat">
                    <a:solidFill>
                      <a:schemeClr val="bg1">
                        <a:alpha val="80000"/>
                      </a:schemeClr>
                    </a:solidFill>
                    <a:prstDash val="solid"/>
                    <a:miter/>
                  </a:ln>
                </p:spPr>
                <p:txBody>
                  <a:bodyPr rtlCol="0" anchor="ctr"/>
                  <a:lstStyle/>
                  <a:p>
                    <a:endParaRPr lang="en-GB"/>
                  </a:p>
                </p:txBody>
              </p:sp>
              <p:sp>
                <p:nvSpPr>
                  <p:cNvPr id="7322" name="Vrije vorm: vorm 7321">
                    <a:extLst>
                      <a:ext uri="{FF2B5EF4-FFF2-40B4-BE49-F238E27FC236}">
                        <a16:creationId xmlns:a16="http://schemas.microsoft.com/office/drawing/2014/main" id="{5B2F1E7B-2B27-4EBD-8A0D-5BC3757FD34B}"/>
                      </a:ext>
                    </a:extLst>
                  </p:cNvPr>
                  <p:cNvSpPr/>
                  <p:nvPr/>
                </p:nvSpPr>
                <p:spPr>
                  <a:xfrm>
                    <a:off x="5489386" y="5023499"/>
                    <a:ext cx="25676" cy="23429"/>
                  </a:xfrm>
                  <a:custGeom>
                    <a:avLst/>
                    <a:gdLst>
                      <a:gd name="connsiteX0" fmla="*/ 22766 w 25676"/>
                      <a:gd name="connsiteY0" fmla="*/ 7405 h 23429"/>
                      <a:gd name="connsiteX1" fmla="*/ 4704 w 25676"/>
                      <a:gd name="connsiteY1" fmla="*/ 826 h 23429"/>
                      <a:gd name="connsiteX2" fmla="*/ 2910 w 25676"/>
                      <a:gd name="connsiteY2" fmla="*/ 16017 h 23429"/>
                      <a:gd name="connsiteX3" fmla="*/ 20972 w 25676"/>
                      <a:gd name="connsiteY3" fmla="*/ 22596 h 23429"/>
                      <a:gd name="connsiteX4" fmla="*/ 22766 w 25676"/>
                      <a:gd name="connsiteY4" fmla="*/ 7405 h 2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76" h="23429">
                        <a:moveTo>
                          <a:pt x="22766" y="7405"/>
                        </a:moveTo>
                        <a:cubicBezTo>
                          <a:pt x="18281" y="1424"/>
                          <a:pt x="10207" y="-1567"/>
                          <a:pt x="4704" y="826"/>
                        </a:cubicBezTo>
                        <a:cubicBezTo>
                          <a:pt x="-798" y="3218"/>
                          <a:pt x="-1575" y="9976"/>
                          <a:pt x="2910" y="16017"/>
                        </a:cubicBezTo>
                        <a:cubicBezTo>
                          <a:pt x="7396" y="22057"/>
                          <a:pt x="15470" y="24988"/>
                          <a:pt x="20972" y="22596"/>
                        </a:cubicBezTo>
                        <a:cubicBezTo>
                          <a:pt x="26474" y="20203"/>
                          <a:pt x="27252" y="13445"/>
                          <a:pt x="22766" y="7405"/>
                        </a:cubicBezTo>
                        <a:close/>
                      </a:path>
                    </a:pathLst>
                  </a:custGeom>
                  <a:noFill/>
                  <a:ln w="6350" cap="flat">
                    <a:solidFill>
                      <a:schemeClr val="bg1">
                        <a:alpha val="80000"/>
                      </a:schemeClr>
                    </a:solidFill>
                    <a:prstDash val="solid"/>
                    <a:miter/>
                  </a:ln>
                </p:spPr>
                <p:txBody>
                  <a:bodyPr rtlCol="0" anchor="ctr"/>
                  <a:lstStyle/>
                  <a:p>
                    <a:endParaRPr lang="en-GB"/>
                  </a:p>
                </p:txBody>
              </p:sp>
              <p:sp>
                <p:nvSpPr>
                  <p:cNvPr id="7323" name="Vrije vorm: vorm 7322">
                    <a:extLst>
                      <a:ext uri="{FF2B5EF4-FFF2-40B4-BE49-F238E27FC236}">
                        <a16:creationId xmlns:a16="http://schemas.microsoft.com/office/drawing/2014/main" id="{47C5D8A8-5604-4E77-A07F-CA252DAA2A48}"/>
                      </a:ext>
                    </a:extLst>
                  </p:cNvPr>
                  <p:cNvSpPr/>
                  <p:nvPr/>
                </p:nvSpPr>
                <p:spPr>
                  <a:xfrm>
                    <a:off x="5416241" y="4925594"/>
                    <a:ext cx="25676" cy="23421"/>
                  </a:xfrm>
                  <a:custGeom>
                    <a:avLst/>
                    <a:gdLst>
                      <a:gd name="connsiteX0" fmla="*/ 22766 w 25676"/>
                      <a:gd name="connsiteY0" fmla="*/ 7405 h 23421"/>
                      <a:gd name="connsiteX1" fmla="*/ 4704 w 25676"/>
                      <a:gd name="connsiteY1" fmla="*/ 826 h 23421"/>
                      <a:gd name="connsiteX2" fmla="*/ 2910 w 25676"/>
                      <a:gd name="connsiteY2" fmla="*/ 16017 h 23421"/>
                      <a:gd name="connsiteX3" fmla="*/ 20972 w 25676"/>
                      <a:gd name="connsiteY3" fmla="*/ 22596 h 23421"/>
                      <a:gd name="connsiteX4" fmla="*/ 22766 w 25676"/>
                      <a:gd name="connsiteY4" fmla="*/ 7405 h 23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76" h="23421">
                        <a:moveTo>
                          <a:pt x="22766" y="7405"/>
                        </a:moveTo>
                        <a:cubicBezTo>
                          <a:pt x="18280" y="1424"/>
                          <a:pt x="10207" y="-1567"/>
                          <a:pt x="4704" y="826"/>
                        </a:cubicBezTo>
                        <a:cubicBezTo>
                          <a:pt x="-798" y="3218"/>
                          <a:pt x="-1575" y="9976"/>
                          <a:pt x="2910" y="16017"/>
                        </a:cubicBezTo>
                        <a:cubicBezTo>
                          <a:pt x="7396" y="21998"/>
                          <a:pt x="15470" y="24988"/>
                          <a:pt x="20972" y="22596"/>
                        </a:cubicBezTo>
                        <a:cubicBezTo>
                          <a:pt x="26474" y="20203"/>
                          <a:pt x="27251" y="13385"/>
                          <a:pt x="22766" y="7405"/>
                        </a:cubicBezTo>
                        <a:close/>
                      </a:path>
                    </a:pathLst>
                  </a:custGeom>
                  <a:noFill/>
                  <a:ln w="6350" cap="flat">
                    <a:solidFill>
                      <a:schemeClr val="bg1">
                        <a:alpha val="80000"/>
                      </a:schemeClr>
                    </a:solidFill>
                    <a:prstDash val="solid"/>
                    <a:miter/>
                  </a:ln>
                </p:spPr>
                <p:txBody>
                  <a:bodyPr rtlCol="0" anchor="ctr"/>
                  <a:lstStyle/>
                  <a:p>
                    <a:endParaRPr lang="en-GB"/>
                  </a:p>
                </p:txBody>
              </p:sp>
              <p:sp>
                <p:nvSpPr>
                  <p:cNvPr id="7324" name="Vrije vorm: vorm 7323">
                    <a:extLst>
                      <a:ext uri="{FF2B5EF4-FFF2-40B4-BE49-F238E27FC236}">
                        <a16:creationId xmlns:a16="http://schemas.microsoft.com/office/drawing/2014/main" id="{873B42E0-0197-465C-86E3-50B648A2D4A0}"/>
                      </a:ext>
                    </a:extLst>
                  </p:cNvPr>
                  <p:cNvSpPr/>
                  <p:nvPr/>
                </p:nvSpPr>
                <p:spPr>
                  <a:xfrm>
                    <a:off x="5343097" y="4827630"/>
                    <a:ext cx="25676" cy="23421"/>
                  </a:xfrm>
                  <a:custGeom>
                    <a:avLst/>
                    <a:gdLst>
                      <a:gd name="connsiteX0" fmla="*/ 22766 w 25676"/>
                      <a:gd name="connsiteY0" fmla="*/ 7405 h 23421"/>
                      <a:gd name="connsiteX1" fmla="*/ 4704 w 25676"/>
                      <a:gd name="connsiteY1" fmla="*/ 826 h 23421"/>
                      <a:gd name="connsiteX2" fmla="*/ 2910 w 25676"/>
                      <a:gd name="connsiteY2" fmla="*/ 16017 h 23421"/>
                      <a:gd name="connsiteX3" fmla="*/ 20972 w 25676"/>
                      <a:gd name="connsiteY3" fmla="*/ 22596 h 23421"/>
                      <a:gd name="connsiteX4" fmla="*/ 22766 w 25676"/>
                      <a:gd name="connsiteY4" fmla="*/ 7405 h 23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76" h="23421">
                        <a:moveTo>
                          <a:pt x="22766" y="7405"/>
                        </a:moveTo>
                        <a:cubicBezTo>
                          <a:pt x="18281" y="1424"/>
                          <a:pt x="10207" y="-1567"/>
                          <a:pt x="4704" y="826"/>
                        </a:cubicBezTo>
                        <a:cubicBezTo>
                          <a:pt x="-798" y="3218"/>
                          <a:pt x="-1575" y="9976"/>
                          <a:pt x="2910" y="16017"/>
                        </a:cubicBezTo>
                        <a:cubicBezTo>
                          <a:pt x="7396" y="21998"/>
                          <a:pt x="15470" y="24988"/>
                          <a:pt x="20972" y="22596"/>
                        </a:cubicBezTo>
                        <a:cubicBezTo>
                          <a:pt x="26474" y="20203"/>
                          <a:pt x="27252" y="13445"/>
                          <a:pt x="22766" y="7405"/>
                        </a:cubicBezTo>
                        <a:close/>
                      </a:path>
                    </a:pathLst>
                  </a:custGeom>
                  <a:noFill/>
                  <a:ln w="6350" cap="flat">
                    <a:solidFill>
                      <a:schemeClr val="bg1">
                        <a:alpha val="80000"/>
                      </a:schemeClr>
                    </a:solidFill>
                    <a:prstDash val="solid"/>
                    <a:miter/>
                  </a:ln>
                </p:spPr>
                <p:txBody>
                  <a:bodyPr rtlCol="0" anchor="ctr"/>
                  <a:lstStyle/>
                  <a:p>
                    <a:endParaRPr lang="en-GB"/>
                  </a:p>
                </p:txBody>
              </p:sp>
              <p:sp>
                <p:nvSpPr>
                  <p:cNvPr id="7325" name="Vrije vorm: vorm 7324">
                    <a:extLst>
                      <a:ext uri="{FF2B5EF4-FFF2-40B4-BE49-F238E27FC236}">
                        <a16:creationId xmlns:a16="http://schemas.microsoft.com/office/drawing/2014/main" id="{E7D63619-7396-4FE9-8DB8-74D437ED94C9}"/>
                      </a:ext>
                    </a:extLst>
                  </p:cNvPr>
                  <p:cNvSpPr/>
                  <p:nvPr/>
                </p:nvSpPr>
                <p:spPr>
                  <a:xfrm>
                    <a:off x="5267919" y="4726975"/>
                    <a:ext cx="25657" cy="23429"/>
                  </a:xfrm>
                  <a:custGeom>
                    <a:avLst/>
                    <a:gdLst>
                      <a:gd name="connsiteX0" fmla="*/ 22766 w 25657"/>
                      <a:gd name="connsiteY0" fmla="*/ 7405 h 23429"/>
                      <a:gd name="connsiteX1" fmla="*/ 4705 w 25657"/>
                      <a:gd name="connsiteY1" fmla="*/ 826 h 23429"/>
                      <a:gd name="connsiteX2" fmla="*/ 2910 w 25657"/>
                      <a:gd name="connsiteY2" fmla="*/ 16017 h 23429"/>
                      <a:gd name="connsiteX3" fmla="*/ 20972 w 25657"/>
                      <a:gd name="connsiteY3" fmla="*/ 22596 h 23429"/>
                      <a:gd name="connsiteX4" fmla="*/ 22766 w 25657"/>
                      <a:gd name="connsiteY4" fmla="*/ 7405 h 2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7" h="23429">
                        <a:moveTo>
                          <a:pt x="22766" y="7405"/>
                        </a:moveTo>
                        <a:cubicBezTo>
                          <a:pt x="18281" y="1424"/>
                          <a:pt x="10207" y="-1566"/>
                          <a:pt x="4705" y="826"/>
                        </a:cubicBezTo>
                        <a:cubicBezTo>
                          <a:pt x="-798" y="3218"/>
                          <a:pt x="-1575" y="9976"/>
                          <a:pt x="2910" y="16017"/>
                        </a:cubicBezTo>
                        <a:cubicBezTo>
                          <a:pt x="7396" y="22057"/>
                          <a:pt x="15470" y="24988"/>
                          <a:pt x="20972" y="22596"/>
                        </a:cubicBezTo>
                        <a:cubicBezTo>
                          <a:pt x="26415" y="20203"/>
                          <a:pt x="27252" y="13445"/>
                          <a:pt x="22766" y="7405"/>
                        </a:cubicBezTo>
                        <a:close/>
                      </a:path>
                    </a:pathLst>
                  </a:custGeom>
                  <a:noFill/>
                  <a:ln w="6350" cap="flat">
                    <a:solidFill>
                      <a:schemeClr val="bg1">
                        <a:alpha val="80000"/>
                      </a:schemeClr>
                    </a:solidFill>
                    <a:prstDash val="solid"/>
                    <a:miter/>
                  </a:ln>
                </p:spPr>
                <p:txBody>
                  <a:bodyPr rtlCol="0" anchor="ctr"/>
                  <a:lstStyle/>
                  <a:p>
                    <a:endParaRPr lang="en-GB"/>
                  </a:p>
                </p:txBody>
              </p:sp>
            </p:grpSp>
          </p:grpSp>
        </p:grpSp>
      </p:grpSp>
      <p:grpSp>
        <p:nvGrpSpPr>
          <p:cNvPr id="8439" name="WERELD_4">
            <a:extLst>
              <a:ext uri="{FF2B5EF4-FFF2-40B4-BE49-F238E27FC236}">
                <a16:creationId xmlns:a16="http://schemas.microsoft.com/office/drawing/2014/main" id="{4C59D193-AB4A-4959-847A-00D0012A46FE}"/>
              </a:ext>
            </a:extLst>
          </p:cNvPr>
          <p:cNvGrpSpPr/>
          <p:nvPr userDrawn="1"/>
        </p:nvGrpSpPr>
        <p:grpSpPr>
          <a:xfrm>
            <a:off x="4012762" y="2624458"/>
            <a:ext cx="859640" cy="1362694"/>
            <a:chOff x="3980668" y="2440938"/>
            <a:chExt cx="859640" cy="1362694"/>
          </a:xfrm>
          <a:effectLst>
            <a:glow rad="127000">
              <a:srgbClr val="00B0F0">
                <a:alpha val="40000"/>
              </a:srgbClr>
            </a:glow>
          </a:effectLst>
        </p:grpSpPr>
        <p:sp>
          <p:nvSpPr>
            <p:cNvPr id="8440" name="Vrije vorm: vorm 8439">
              <a:extLst>
                <a:ext uri="{FF2B5EF4-FFF2-40B4-BE49-F238E27FC236}">
                  <a16:creationId xmlns:a16="http://schemas.microsoft.com/office/drawing/2014/main" id="{93F7CC6C-F322-4400-AB71-1D0605DC3AC6}"/>
                </a:ext>
              </a:extLst>
            </p:cNvPr>
            <p:cNvSpPr/>
            <p:nvPr/>
          </p:nvSpPr>
          <p:spPr>
            <a:xfrm>
              <a:off x="4274916" y="2459542"/>
              <a:ext cx="565392" cy="1344090"/>
            </a:xfrm>
            <a:custGeom>
              <a:avLst/>
              <a:gdLst>
                <a:gd name="connsiteX0" fmla="*/ 398342 w 565392"/>
                <a:gd name="connsiteY0" fmla="*/ 30093 h 1344090"/>
                <a:gd name="connsiteX1" fmla="*/ 449748 w 565392"/>
                <a:gd name="connsiteY1" fmla="*/ 702139 h 1344090"/>
                <a:gd name="connsiteX2" fmla="*/ 167051 w 565392"/>
                <a:gd name="connsiteY2" fmla="*/ 1313997 h 1344090"/>
                <a:gd name="connsiteX3" fmla="*/ 115645 w 565392"/>
                <a:gd name="connsiteY3" fmla="*/ 641952 h 1344090"/>
                <a:gd name="connsiteX4" fmla="*/ 398342 w 565392"/>
                <a:gd name="connsiteY4" fmla="*/ 30093 h 1344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392" h="1344090">
                  <a:moveTo>
                    <a:pt x="398342" y="30093"/>
                  </a:moveTo>
                  <a:cubicBezTo>
                    <a:pt x="490601" y="46714"/>
                    <a:pt x="513617" y="347599"/>
                    <a:pt x="449748" y="702139"/>
                  </a:cubicBezTo>
                  <a:cubicBezTo>
                    <a:pt x="385878" y="1056679"/>
                    <a:pt x="259311" y="1330617"/>
                    <a:pt x="167051" y="1313997"/>
                  </a:cubicBezTo>
                  <a:cubicBezTo>
                    <a:pt x="74791" y="1297377"/>
                    <a:pt x="51776" y="996492"/>
                    <a:pt x="115645" y="641952"/>
                  </a:cubicBezTo>
                  <a:cubicBezTo>
                    <a:pt x="179514" y="287411"/>
                    <a:pt x="306082" y="13473"/>
                    <a:pt x="398342" y="30093"/>
                  </a:cubicBezTo>
                  <a:close/>
                </a:path>
              </a:pathLst>
            </a:custGeom>
            <a:noFill/>
            <a:ln w="6350" cap="flat">
              <a:solidFill>
                <a:schemeClr val="bg1">
                  <a:alpha val="80000"/>
                </a:schemeClr>
              </a:solidFill>
              <a:prstDash val="solid"/>
              <a:miter/>
            </a:ln>
          </p:spPr>
          <p:txBody>
            <a:bodyPr rtlCol="0" anchor="ctr"/>
            <a:lstStyle/>
            <a:p>
              <a:endParaRPr lang="en-GB"/>
            </a:p>
          </p:txBody>
        </p:sp>
        <p:grpSp>
          <p:nvGrpSpPr>
            <p:cNvPr id="8441" name="Graphic 3">
              <a:extLst>
                <a:ext uri="{FF2B5EF4-FFF2-40B4-BE49-F238E27FC236}">
                  <a16:creationId xmlns:a16="http://schemas.microsoft.com/office/drawing/2014/main" id="{234B5F05-AE3C-46A6-B8CD-4263610DD426}"/>
                </a:ext>
              </a:extLst>
            </p:cNvPr>
            <p:cNvGrpSpPr/>
            <p:nvPr/>
          </p:nvGrpSpPr>
          <p:grpSpPr>
            <a:xfrm>
              <a:off x="3980668" y="2689064"/>
              <a:ext cx="570740" cy="309410"/>
              <a:chOff x="3980668" y="2689064"/>
              <a:chExt cx="570740" cy="309410"/>
            </a:xfrm>
            <a:noFill/>
          </p:grpSpPr>
          <p:sp>
            <p:nvSpPr>
              <p:cNvPr id="8911" name="Vrije vorm: vorm 8910">
                <a:extLst>
                  <a:ext uri="{FF2B5EF4-FFF2-40B4-BE49-F238E27FC236}">
                    <a16:creationId xmlns:a16="http://schemas.microsoft.com/office/drawing/2014/main" id="{9C009502-5B6A-4BB2-8968-57AF12BE02D4}"/>
                  </a:ext>
                </a:extLst>
              </p:cNvPr>
              <p:cNvSpPr/>
              <p:nvPr/>
            </p:nvSpPr>
            <p:spPr>
              <a:xfrm>
                <a:off x="4228572" y="2739283"/>
                <a:ext cx="57678" cy="45131"/>
              </a:xfrm>
              <a:custGeom>
                <a:avLst/>
                <a:gdLst>
                  <a:gd name="connsiteX0" fmla="*/ 32073 w 57678"/>
                  <a:gd name="connsiteY0" fmla="*/ 4613 h 45131"/>
                  <a:gd name="connsiteX1" fmla="*/ 54444 w 57678"/>
                  <a:gd name="connsiteY1" fmla="*/ 27178 h 45131"/>
                  <a:gd name="connsiteX2" fmla="*/ 25605 w 57678"/>
                  <a:gd name="connsiteY2" fmla="*/ 40518 h 45131"/>
                  <a:gd name="connsiteX3" fmla="*/ 3234 w 57678"/>
                  <a:gd name="connsiteY3" fmla="*/ 17953 h 45131"/>
                  <a:gd name="connsiteX4" fmla="*/ 32073 w 57678"/>
                  <a:gd name="connsiteY4" fmla="*/ 4613 h 4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78" h="45131">
                    <a:moveTo>
                      <a:pt x="32073" y="4613"/>
                    </a:moveTo>
                    <a:cubicBezTo>
                      <a:pt x="46215" y="7160"/>
                      <a:pt x="56231" y="17263"/>
                      <a:pt x="54444" y="27178"/>
                    </a:cubicBezTo>
                    <a:cubicBezTo>
                      <a:pt x="52658" y="37093"/>
                      <a:pt x="39746" y="43066"/>
                      <a:pt x="25605" y="40518"/>
                    </a:cubicBezTo>
                    <a:cubicBezTo>
                      <a:pt x="11464" y="37971"/>
                      <a:pt x="1448" y="27868"/>
                      <a:pt x="3234" y="17953"/>
                    </a:cubicBezTo>
                    <a:cubicBezTo>
                      <a:pt x="5020" y="8038"/>
                      <a:pt x="17932" y="2065"/>
                      <a:pt x="32073" y="461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12" name="Vrije vorm: vorm 8911">
                <a:extLst>
                  <a:ext uri="{FF2B5EF4-FFF2-40B4-BE49-F238E27FC236}">
                    <a16:creationId xmlns:a16="http://schemas.microsoft.com/office/drawing/2014/main" id="{C48D9499-52C4-4D2E-9FBC-2D2CD70596D4}"/>
                  </a:ext>
                </a:extLst>
              </p:cNvPr>
              <p:cNvSpPr/>
              <p:nvPr/>
            </p:nvSpPr>
            <p:spPr>
              <a:xfrm>
                <a:off x="4149494" y="2822792"/>
                <a:ext cx="54956" cy="40768"/>
              </a:xfrm>
              <a:custGeom>
                <a:avLst/>
                <a:gdLst>
                  <a:gd name="connsiteX0" fmla="*/ 30352 w 54956"/>
                  <a:gd name="connsiteY0" fmla="*/ 4433 h 40768"/>
                  <a:gd name="connsiteX1" fmla="*/ 52082 w 54956"/>
                  <a:gd name="connsiteY1" fmla="*/ 24817 h 40768"/>
                  <a:gd name="connsiteX2" fmla="*/ 24604 w 54956"/>
                  <a:gd name="connsiteY2" fmla="*/ 36336 h 40768"/>
                  <a:gd name="connsiteX3" fmla="*/ 2874 w 54956"/>
                  <a:gd name="connsiteY3" fmla="*/ 15952 h 40768"/>
                  <a:gd name="connsiteX4" fmla="*/ 30352 w 54956"/>
                  <a:gd name="connsiteY4" fmla="*/ 4433 h 4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6" h="40768">
                    <a:moveTo>
                      <a:pt x="30352" y="4433"/>
                    </a:moveTo>
                    <a:cubicBezTo>
                      <a:pt x="43940" y="6881"/>
                      <a:pt x="53669" y="16007"/>
                      <a:pt x="52082" y="24817"/>
                    </a:cubicBezTo>
                    <a:cubicBezTo>
                      <a:pt x="50495" y="33627"/>
                      <a:pt x="38193" y="38784"/>
                      <a:pt x="24604" y="36336"/>
                    </a:cubicBezTo>
                    <a:cubicBezTo>
                      <a:pt x="11016" y="33888"/>
                      <a:pt x="1287" y="24762"/>
                      <a:pt x="2874" y="15952"/>
                    </a:cubicBezTo>
                    <a:cubicBezTo>
                      <a:pt x="4461" y="7142"/>
                      <a:pt x="16763" y="1985"/>
                      <a:pt x="30352" y="443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13" name="Vrije vorm: vorm 8912">
                <a:extLst>
                  <a:ext uri="{FF2B5EF4-FFF2-40B4-BE49-F238E27FC236}">
                    <a16:creationId xmlns:a16="http://schemas.microsoft.com/office/drawing/2014/main" id="{6E0FD47A-6E4F-4F38-92E3-66D834A53410}"/>
                  </a:ext>
                </a:extLst>
              </p:cNvPr>
              <p:cNvSpPr/>
              <p:nvPr/>
            </p:nvSpPr>
            <p:spPr>
              <a:xfrm>
                <a:off x="4059375" y="2782451"/>
                <a:ext cx="30621" cy="30621"/>
              </a:xfrm>
              <a:custGeom>
                <a:avLst/>
                <a:gdLst>
                  <a:gd name="connsiteX0" fmla="*/ 30621 w 30621"/>
                  <a:gd name="connsiteY0" fmla="*/ 15311 h 30621"/>
                  <a:gd name="connsiteX1" fmla="*/ 15311 w 30621"/>
                  <a:gd name="connsiteY1" fmla="*/ 30621 h 30621"/>
                  <a:gd name="connsiteX2" fmla="*/ 0 w 30621"/>
                  <a:gd name="connsiteY2" fmla="*/ 15311 h 30621"/>
                  <a:gd name="connsiteX3" fmla="*/ 15311 w 30621"/>
                  <a:gd name="connsiteY3" fmla="*/ 0 h 30621"/>
                  <a:gd name="connsiteX4" fmla="*/ 30621 w 30621"/>
                  <a:gd name="connsiteY4" fmla="*/ 15311 h 30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21" h="30621">
                    <a:moveTo>
                      <a:pt x="30621" y="15311"/>
                    </a:moveTo>
                    <a:cubicBezTo>
                      <a:pt x="30621" y="23766"/>
                      <a:pt x="23766" y="30621"/>
                      <a:pt x="15311" y="30621"/>
                    </a:cubicBezTo>
                    <a:cubicBezTo>
                      <a:pt x="6854" y="30621"/>
                      <a:pt x="0" y="23766"/>
                      <a:pt x="0" y="15311"/>
                    </a:cubicBezTo>
                    <a:cubicBezTo>
                      <a:pt x="0" y="6855"/>
                      <a:pt x="6855" y="0"/>
                      <a:pt x="15311" y="0"/>
                    </a:cubicBezTo>
                    <a:cubicBezTo>
                      <a:pt x="23767" y="0"/>
                      <a:pt x="30621" y="6855"/>
                      <a:pt x="30621" y="1531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14" name="Vrije vorm: vorm 8913">
                <a:extLst>
                  <a:ext uri="{FF2B5EF4-FFF2-40B4-BE49-F238E27FC236}">
                    <a16:creationId xmlns:a16="http://schemas.microsoft.com/office/drawing/2014/main" id="{A7F62619-2F72-40DA-B072-9853BBB53831}"/>
                  </a:ext>
                </a:extLst>
              </p:cNvPr>
              <p:cNvSpPr/>
              <p:nvPr/>
            </p:nvSpPr>
            <p:spPr>
              <a:xfrm>
                <a:off x="4087245" y="2808228"/>
                <a:ext cx="64232" cy="28946"/>
              </a:xfrm>
              <a:custGeom>
                <a:avLst/>
                <a:gdLst>
                  <a:gd name="connsiteX0" fmla="*/ 0 w 64232"/>
                  <a:gd name="connsiteY0" fmla="*/ 0 h 28946"/>
                  <a:gd name="connsiteX1" fmla="*/ 64233 w 64232"/>
                  <a:gd name="connsiteY1" fmla="*/ 28947 h 28946"/>
                </a:gdLst>
                <a:ahLst/>
                <a:cxnLst>
                  <a:cxn ang="0">
                    <a:pos x="connsiteX0" y="connsiteY0"/>
                  </a:cxn>
                  <a:cxn ang="0">
                    <a:pos x="connsiteX1" y="connsiteY1"/>
                  </a:cxn>
                </a:cxnLst>
                <a:rect l="l" t="t" r="r" b="b"/>
                <a:pathLst>
                  <a:path w="64232" h="28946">
                    <a:moveTo>
                      <a:pt x="0" y="0"/>
                    </a:moveTo>
                    <a:lnTo>
                      <a:pt x="64233" y="28947"/>
                    </a:lnTo>
                  </a:path>
                </a:pathLst>
              </a:custGeom>
              <a:grpFill/>
              <a:ln w="6350" cap="flat">
                <a:solidFill>
                  <a:schemeClr val="bg1">
                    <a:alpha val="80000"/>
                  </a:schemeClr>
                </a:solidFill>
                <a:prstDash val="solid"/>
                <a:miter/>
              </a:ln>
            </p:spPr>
            <p:txBody>
              <a:bodyPr rtlCol="0" anchor="ctr"/>
              <a:lstStyle/>
              <a:p>
                <a:endParaRPr lang="en-GB"/>
              </a:p>
            </p:txBody>
          </p:sp>
          <p:sp>
            <p:nvSpPr>
              <p:cNvPr id="8915" name="Vrije vorm: vorm 8914">
                <a:extLst>
                  <a:ext uri="{FF2B5EF4-FFF2-40B4-BE49-F238E27FC236}">
                    <a16:creationId xmlns:a16="http://schemas.microsoft.com/office/drawing/2014/main" id="{2C80166C-362C-4690-A5EC-A2B01819C9A3}"/>
                  </a:ext>
                </a:extLst>
              </p:cNvPr>
              <p:cNvSpPr/>
              <p:nvPr/>
            </p:nvSpPr>
            <p:spPr>
              <a:xfrm>
                <a:off x="4089338" y="2781494"/>
                <a:ext cx="157771" cy="11064"/>
              </a:xfrm>
              <a:custGeom>
                <a:avLst/>
                <a:gdLst>
                  <a:gd name="connsiteX0" fmla="*/ 0 w 157771"/>
                  <a:gd name="connsiteY0" fmla="*/ 11064 h 11064"/>
                  <a:gd name="connsiteX1" fmla="*/ 157771 w 157771"/>
                  <a:gd name="connsiteY1" fmla="*/ 0 h 11064"/>
                </a:gdLst>
                <a:ahLst/>
                <a:cxnLst>
                  <a:cxn ang="0">
                    <a:pos x="connsiteX0" y="connsiteY0"/>
                  </a:cxn>
                  <a:cxn ang="0">
                    <a:pos x="connsiteX1" y="connsiteY1"/>
                  </a:cxn>
                </a:cxnLst>
                <a:rect l="l" t="t" r="r" b="b"/>
                <a:pathLst>
                  <a:path w="157771" h="11064">
                    <a:moveTo>
                      <a:pt x="0" y="11064"/>
                    </a:moveTo>
                    <a:lnTo>
                      <a:pt x="157771" y="0"/>
                    </a:lnTo>
                  </a:path>
                </a:pathLst>
              </a:custGeom>
              <a:grpFill/>
              <a:ln w="6350" cap="flat">
                <a:solidFill>
                  <a:schemeClr val="bg1">
                    <a:alpha val="80000"/>
                  </a:schemeClr>
                </a:solidFill>
                <a:prstDash val="solid"/>
                <a:miter/>
              </a:ln>
            </p:spPr>
            <p:txBody>
              <a:bodyPr rtlCol="0" anchor="ctr"/>
              <a:lstStyle/>
              <a:p>
                <a:endParaRPr lang="en-GB"/>
              </a:p>
            </p:txBody>
          </p:sp>
          <p:sp>
            <p:nvSpPr>
              <p:cNvPr id="8916" name="Vrije vorm: vorm 8915">
                <a:extLst>
                  <a:ext uri="{FF2B5EF4-FFF2-40B4-BE49-F238E27FC236}">
                    <a16:creationId xmlns:a16="http://schemas.microsoft.com/office/drawing/2014/main" id="{79576D12-0053-4A2F-ABA1-0E0C45BFE0F1}"/>
                  </a:ext>
                </a:extLst>
              </p:cNvPr>
              <p:cNvSpPr/>
              <p:nvPr/>
            </p:nvSpPr>
            <p:spPr>
              <a:xfrm>
                <a:off x="4232516" y="2765167"/>
                <a:ext cx="14592" cy="16327"/>
              </a:xfrm>
              <a:custGeom>
                <a:avLst/>
                <a:gdLst>
                  <a:gd name="connsiteX0" fmla="*/ 0 w 14592"/>
                  <a:gd name="connsiteY0" fmla="*/ 0 h 16327"/>
                  <a:gd name="connsiteX1" fmla="*/ 14593 w 14592"/>
                  <a:gd name="connsiteY1" fmla="*/ 16327 h 16327"/>
                </a:gdLst>
                <a:ahLst/>
                <a:cxnLst>
                  <a:cxn ang="0">
                    <a:pos x="connsiteX0" y="connsiteY0"/>
                  </a:cxn>
                  <a:cxn ang="0">
                    <a:pos x="connsiteX1" y="connsiteY1"/>
                  </a:cxn>
                </a:cxnLst>
                <a:rect l="l" t="t" r="r" b="b"/>
                <a:pathLst>
                  <a:path w="14592" h="16327">
                    <a:moveTo>
                      <a:pt x="0" y="0"/>
                    </a:moveTo>
                    <a:lnTo>
                      <a:pt x="14593" y="16327"/>
                    </a:lnTo>
                  </a:path>
                </a:pathLst>
              </a:custGeom>
              <a:grpFill/>
              <a:ln w="6350" cap="flat">
                <a:solidFill>
                  <a:schemeClr val="bg1">
                    <a:alpha val="80000"/>
                  </a:schemeClr>
                </a:solidFill>
                <a:prstDash val="solid"/>
                <a:miter/>
              </a:ln>
            </p:spPr>
            <p:txBody>
              <a:bodyPr rtlCol="0" anchor="ctr"/>
              <a:lstStyle/>
              <a:p>
                <a:endParaRPr lang="en-GB"/>
              </a:p>
            </p:txBody>
          </p:sp>
          <p:sp>
            <p:nvSpPr>
              <p:cNvPr id="8917" name="Vrije vorm: vorm 8916">
                <a:extLst>
                  <a:ext uri="{FF2B5EF4-FFF2-40B4-BE49-F238E27FC236}">
                    <a16:creationId xmlns:a16="http://schemas.microsoft.com/office/drawing/2014/main" id="{48ED223B-D642-483E-832A-82F16C51B553}"/>
                  </a:ext>
                </a:extLst>
              </p:cNvPr>
              <p:cNvSpPr/>
              <p:nvPr/>
            </p:nvSpPr>
            <p:spPr>
              <a:xfrm>
                <a:off x="4253688" y="2779879"/>
                <a:ext cx="15669" cy="3050"/>
              </a:xfrm>
              <a:custGeom>
                <a:avLst/>
                <a:gdLst>
                  <a:gd name="connsiteX0" fmla="*/ 15670 w 15669"/>
                  <a:gd name="connsiteY0" fmla="*/ 0 h 3050"/>
                  <a:gd name="connsiteX1" fmla="*/ 0 w 15669"/>
                  <a:gd name="connsiteY1" fmla="*/ 3050 h 3050"/>
                </a:gdLst>
                <a:ahLst/>
                <a:cxnLst>
                  <a:cxn ang="0">
                    <a:pos x="connsiteX0" y="connsiteY0"/>
                  </a:cxn>
                  <a:cxn ang="0">
                    <a:pos x="connsiteX1" y="connsiteY1"/>
                  </a:cxn>
                </a:cxnLst>
                <a:rect l="l" t="t" r="r" b="b"/>
                <a:pathLst>
                  <a:path w="15669" h="3050">
                    <a:moveTo>
                      <a:pt x="15670" y="0"/>
                    </a:moveTo>
                    <a:lnTo>
                      <a:pt x="0" y="3050"/>
                    </a:lnTo>
                  </a:path>
                </a:pathLst>
              </a:custGeom>
              <a:grpFill/>
              <a:ln w="6350" cap="flat">
                <a:solidFill>
                  <a:schemeClr val="bg1">
                    <a:alpha val="80000"/>
                  </a:schemeClr>
                </a:solidFill>
                <a:prstDash val="solid"/>
                <a:miter/>
              </a:ln>
            </p:spPr>
            <p:txBody>
              <a:bodyPr rtlCol="0" anchor="ctr"/>
              <a:lstStyle/>
              <a:p>
                <a:endParaRPr lang="en-GB"/>
              </a:p>
            </p:txBody>
          </p:sp>
          <p:sp>
            <p:nvSpPr>
              <p:cNvPr id="8918" name="Vrije vorm: vorm 8917">
                <a:extLst>
                  <a:ext uri="{FF2B5EF4-FFF2-40B4-BE49-F238E27FC236}">
                    <a16:creationId xmlns:a16="http://schemas.microsoft.com/office/drawing/2014/main" id="{3EAC2BED-44C8-40D6-8E25-01C83E12A842}"/>
                  </a:ext>
                </a:extLst>
              </p:cNvPr>
              <p:cNvSpPr/>
              <p:nvPr/>
            </p:nvSpPr>
            <p:spPr>
              <a:xfrm>
                <a:off x="4154647" y="2819950"/>
                <a:ext cx="23504" cy="12499"/>
              </a:xfrm>
              <a:custGeom>
                <a:avLst/>
                <a:gdLst>
                  <a:gd name="connsiteX0" fmla="*/ 0 w 23504"/>
                  <a:gd name="connsiteY0" fmla="*/ 12500 h 12499"/>
                  <a:gd name="connsiteX1" fmla="*/ 23504 w 23504"/>
                  <a:gd name="connsiteY1" fmla="*/ 0 h 12499"/>
                </a:gdLst>
                <a:ahLst/>
                <a:cxnLst>
                  <a:cxn ang="0">
                    <a:pos x="connsiteX0" y="connsiteY0"/>
                  </a:cxn>
                  <a:cxn ang="0">
                    <a:pos x="connsiteX1" y="connsiteY1"/>
                  </a:cxn>
                </a:cxnLst>
                <a:rect l="l" t="t" r="r" b="b"/>
                <a:pathLst>
                  <a:path w="23504" h="12499">
                    <a:moveTo>
                      <a:pt x="0" y="12500"/>
                    </a:moveTo>
                    <a:lnTo>
                      <a:pt x="23504" y="0"/>
                    </a:lnTo>
                  </a:path>
                </a:pathLst>
              </a:custGeom>
              <a:grpFill/>
              <a:ln w="6350" cap="flat">
                <a:solidFill>
                  <a:schemeClr val="bg1">
                    <a:alpha val="80000"/>
                  </a:schemeClr>
                </a:solidFill>
                <a:prstDash val="solid"/>
                <a:miter/>
              </a:ln>
            </p:spPr>
            <p:txBody>
              <a:bodyPr rtlCol="0" anchor="ctr"/>
              <a:lstStyle/>
              <a:p>
                <a:endParaRPr lang="en-GB"/>
              </a:p>
            </p:txBody>
          </p:sp>
          <p:sp>
            <p:nvSpPr>
              <p:cNvPr id="8919" name="Vrije vorm: vorm 8918">
                <a:extLst>
                  <a:ext uri="{FF2B5EF4-FFF2-40B4-BE49-F238E27FC236}">
                    <a16:creationId xmlns:a16="http://schemas.microsoft.com/office/drawing/2014/main" id="{A10B8C9E-AD12-401D-A3D6-4D3645A65415}"/>
                  </a:ext>
                </a:extLst>
              </p:cNvPr>
              <p:cNvSpPr/>
              <p:nvPr/>
            </p:nvSpPr>
            <p:spPr>
              <a:xfrm>
                <a:off x="4188439" y="2822761"/>
                <a:ext cx="12858" cy="16686"/>
              </a:xfrm>
              <a:custGeom>
                <a:avLst/>
                <a:gdLst>
                  <a:gd name="connsiteX0" fmla="*/ 0 w 12858"/>
                  <a:gd name="connsiteY0" fmla="*/ 0 h 16686"/>
                  <a:gd name="connsiteX1" fmla="*/ 12859 w 12858"/>
                  <a:gd name="connsiteY1" fmla="*/ 16686 h 16686"/>
                </a:gdLst>
                <a:ahLst/>
                <a:cxnLst>
                  <a:cxn ang="0">
                    <a:pos x="connsiteX0" y="connsiteY0"/>
                  </a:cxn>
                  <a:cxn ang="0">
                    <a:pos x="connsiteX1" y="connsiteY1"/>
                  </a:cxn>
                </a:cxnLst>
                <a:rect l="l" t="t" r="r" b="b"/>
                <a:pathLst>
                  <a:path w="12858" h="16686">
                    <a:moveTo>
                      <a:pt x="0" y="0"/>
                    </a:moveTo>
                    <a:lnTo>
                      <a:pt x="12859" y="16686"/>
                    </a:lnTo>
                  </a:path>
                </a:pathLst>
              </a:custGeom>
              <a:grpFill/>
              <a:ln w="6350" cap="flat">
                <a:solidFill>
                  <a:schemeClr val="bg1">
                    <a:alpha val="80000"/>
                  </a:schemeClr>
                </a:solidFill>
                <a:prstDash val="solid"/>
                <a:miter/>
              </a:ln>
            </p:spPr>
            <p:txBody>
              <a:bodyPr rtlCol="0" anchor="ctr"/>
              <a:lstStyle/>
              <a:p>
                <a:endParaRPr lang="en-GB"/>
              </a:p>
            </p:txBody>
          </p:sp>
          <p:sp>
            <p:nvSpPr>
              <p:cNvPr id="8920" name="Vrije vorm: vorm 8919">
                <a:extLst>
                  <a:ext uri="{FF2B5EF4-FFF2-40B4-BE49-F238E27FC236}">
                    <a16:creationId xmlns:a16="http://schemas.microsoft.com/office/drawing/2014/main" id="{638B71FB-4E9F-44DF-8607-D62F5955F050}"/>
                  </a:ext>
                </a:extLst>
              </p:cNvPr>
              <p:cNvSpPr/>
              <p:nvPr/>
            </p:nvSpPr>
            <p:spPr>
              <a:xfrm>
                <a:off x="4090295" y="2802487"/>
                <a:ext cx="461113" cy="91624"/>
              </a:xfrm>
              <a:custGeom>
                <a:avLst/>
                <a:gdLst>
                  <a:gd name="connsiteX0" fmla="*/ 0 w 461113"/>
                  <a:gd name="connsiteY0" fmla="*/ 0 h 91624"/>
                  <a:gd name="connsiteX1" fmla="*/ 461114 w 461113"/>
                  <a:gd name="connsiteY1" fmla="*/ 91625 h 91624"/>
                </a:gdLst>
                <a:ahLst/>
                <a:cxnLst>
                  <a:cxn ang="0">
                    <a:pos x="connsiteX0" y="connsiteY0"/>
                  </a:cxn>
                  <a:cxn ang="0">
                    <a:pos x="connsiteX1" y="connsiteY1"/>
                  </a:cxn>
                </a:cxnLst>
                <a:rect l="l" t="t" r="r" b="b"/>
                <a:pathLst>
                  <a:path w="461113" h="91624">
                    <a:moveTo>
                      <a:pt x="0" y="0"/>
                    </a:moveTo>
                    <a:lnTo>
                      <a:pt x="461114" y="91625"/>
                    </a:lnTo>
                  </a:path>
                </a:pathLst>
              </a:custGeom>
              <a:grpFill/>
              <a:ln w="6350" cap="flat">
                <a:solidFill>
                  <a:schemeClr val="bg1">
                    <a:alpha val="80000"/>
                  </a:schemeClr>
                </a:solidFill>
                <a:prstDash val="solid"/>
                <a:miter/>
              </a:ln>
            </p:spPr>
            <p:txBody>
              <a:bodyPr rtlCol="0" anchor="ctr"/>
              <a:lstStyle/>
              <a:p>
                <a:endParaRPr lang="en-GB"/>
              </a:p>
            </p:txBody>
          </p:sp>
          <p:sp>
            <p:nvSpPr>
              <p:cNvPr id="8921" name="Vrije vorm: vorm 8920">
                <a:extLst>
                  <a:ext uri="{FF2B5EF4-FFF2-40B4-BE49-F238E27FC236}">
                    <a16:creationId xmlns:a16="http://schemas.microsoft.com/office/drawing/2014/main" id="{8B3D8C1F-1930-496F-9851-B25EF532E683}"/>
                  </a:ext>
                </a:extLst>
              </p:cNvPr>
              <p:cNvSpPr/>
              <p:nvPr/>
            </p:nvSpPr>
            <p:spPr>
              <a:xfrm>
                <a:off x="4266308" y="2763074"/>
                <a:ext cx="275950" cy="17882"/>
              </a:xfrm>
              <a:custGeom>
                <a:avLst/>
                <a:gdLst>
                  <a:gd name="connsiteX0" fmla="*/ 275951 w 275950"/>
                  <a:gd name="connsiteY0" fmla="*/ 0 h 17882"/>
                  <a:gd name="connsiteX1" fmla="*/ 0 w 275950"/>
                  <a:gd name="connsiteY1" fmla="*/ 17882 h 17882"/>
                </a:gdLst>
                <a:ahLst/>
                <a:cxnLst>
                  <a:cxn ang="0">
                    <a:pos x="connsiteX0" y="connsiteY0"/>
                  </a:cxn>
                  <a:cxn ang="0">
                    <a:pos x="connsiteX1" y="connsiteY1"/>
                  </a:cxn>
                </a:cxnLst>
                <a:rect l="l" t="t" r="r" b="b"/>
                <a:pathLst>
                  <a:path w="275950" h="17882">
                    <a:moveTo>
                      <a:pt x="275951" y="0"/>
                    </a:moveTo>
                    <a:lnTo>
                      <a:pt x="0" y="17882"/>
                    </a:lnTo>
                  </a:path>
                </a:pathLst>
              </a:custGeom>
              <a:grpFill/>
              <a:ln w="6350" cap="flat">
                <a:solidFill>
                  <a:schemeClr val="bg1">
                    <a:alpha val="80000"/>
                  </a:schemeClr>
                </a:solidFill>
                <a:prstDash val="solid"/>
                <a:miter/>
              </a:ln>
            </p:spPr>
            <p:txBody>
              <a:bodyPr rtlCol="0" anchor="ctr"/>
              <a:lstStyle/>
              <a:p>
                <a:endParaRPr lang="en-GB"/>
              </a:p>
            </p:txBody>
          </p:sp>
          <p:sp>
            <p:nvSpPr>
              <p:cNvPr id="8922" name="Vrije vorm: vorm 8921">
                <a:extLst>
                  <a:ext uri="{FF2B5EF4-FFF2-40B4-BE49-F238E27FC236}">
                    <a16:creationId xmlns:a16="http://schemas.microsoft.com/office/drawing/2014/main" id="{BDDC954F-485A-47CD-885D-EB26BBC78263}"/>
                  </a:ext>
                </a:extLst>
              </p:cNvPr>
              <p:cNvSpPr/>
              <p:nvPr/>
            </p:nvSpPr>
            <p:spPr>
              <a:xfrm>
                <a:off x="4197529" y="2857390"/>
                <a:ext cx="295866" cy="136300"/>
              </a:xfrm>
              <a:custGeom>
                <a:avLst/>
                <a:gdLst>
                  <a:gd name="connsiteX0" fmla="*/ 0 w 295866"/>
                  <a:gd name="connsiteY0" fmla="*/ 0 h 136300"/>
                  <a:gd name="connsiteX1" fmla="*/ 295866 w 295866"/>
                  <a:gd name="connsiteY1" fmla="*/ 136301 h 136300"/>
                </a:gdLst>
                <a:ahLst/>
                <a:cxnLst>
                  <a:cxn ang="0">
                    <a:pos x="connsiteX0" y="connsiteY0"/>
                  </a:cxn>
                  <a:cxn ang="0">
                    <a:pos x="connsiteX1" y="connsiteY1"/>
                  </a:cxn>
                </a:cxnLst>
                <a:rect l="l" t="t" r="r" b="b"/>
                <a:pathLst>
                  <a:path w="295866" h="136300">
                    <a:moveTo>
                      <a:pt x="0" y="0"/>
                    </a:moveTo>
                    <a:lnTo>
                      <a:pt x="295866" y="136301"/>
                    </a:lnTo>
                  </a:path>
                </a:pathLst>
              </a:custGeom>
              <a:grpFill/>
              <a:ln w="6350" cap="flat">
                <a:solidFill>
                  <a:schemeClr val="bg1">
                    <a:alpha val="80000"/>
                  </a:schemeClr>
                </a:solidFill>
                <a:prstDash val="solid"/>
                <a:miter/>
              </a:ln>
            </p:spPr>
            <p:txBody>
              <a:bodyPr rtlCol="0" anchor="ctr"/>
              <a:lstStyle/>
              <a:p>
                <a:endParaRPr lang="en-GB"/>
              </a:p>
            </p:txBody>
          </p:sp>
          <p:sp>
            <p:nvSpPr>
              <p:cNvPr id="8923" name="Vrije vorm: vorm 8922">
                <a:extLst>
                  <a:ext uri="{FF2B5EF4-FFF2-40B4-BE49-F238E27FC236}">
                    <a16:creationId xmlns:a16="http://schemas.microsoft.com/office/drawing/2014/main" id="{E36E9FC6-CA17-424E-9419-D7F2494FE1F3}"/>
                  </a:ext>
                </a:extLst>
              </p:cNvPr>
              <p:cNvSpPr/>
              <p:nvPr/>
            </p:nvSpPr>
            <p:spPr>
              <a:xfrm>
                <a:off x="4092089" y="2802905"/>
                <a:ext cx="456388" cy="102808"/>
              </a:xfrm>
              <a:custGeom>
                <a:avLst/>
                <a:gdLst>
                  <a:gd name="connsiteX0" fmla="*/ 456389 w 456388"/>
                  <a:gd name="connsiteY0" fmla="*/ 102809 h 102808"/>
                  <a:gd name="connsiteX1" fmla="*/ 0 w 456388"/>
                  <a:gd name="connsiteY1" fmla="*/ 0 h 102808"/>
                </a:gdLst>
                <a:ahLst/>
                <a:cxnLst>
                  <a:cxn ang="0">
                    <a:pos x="connsiteX0" y="connsiteY0"/>
                  </a:cxn>
                  <a:cxn ang="0">
                    <a:pos x="connsiteX1" y="connsiteY1"/>
                  </a:cxn>
                </a:cxnLst>
                <a:rect l="l" t="t" r="r" b="b"/>
                <a:pathLst>
                  <a:path w="456388" h="102808">
                    <a:moveTo>
                      <a:pt x="456389" y="102809"/>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8924" name="Vrije vorm: vorm 8923">
                <a:extLst>
                  <a:ext uri="{FF2B5EF4-FFF2-40B4-BE49-F238E27FC236}">
                    <a16:creationId xmlns:a16="http://schemas.microsoft.com/office/drawing/2014/main" id="{23C9C6BF-9476-4706-99C0-B4DBE059024D}"/>
                  </a:ext>
                </a:extLst>
              </p:cNvPr>
              <p:cNvSpPr/>
              <p:nvPr/>
            </p:nvSpPr>
            <p:spPr>
              <a:xfrm>
                <a:off x="4086288" y="2755957"/>
                <a:ext cx="454475" cy="36123"/>
              </a:xfrm>
              <a:custGeom>
                <a:avLst/>
                <a:gdLst>
                  <a:gd name="connsiteX0" fmla="*/ 454475 w 454475"/>
                  <a:gd name="connsiteY0" fmla="*/ 0 h 36123"/>
                  <a:gd name="connsiteX1" fmla="*/ 0 w 454475"/>
                  <a:gd name="connsiteY1" fmla="*/ 36124 h 36123"/>
                </a:gdLst>
                <a:ahLst/>
                <a:cxnLst>
                  <a:cxn ang="0">
                    <a:pos x="connsiteX0" y="connsiteY0"/>
                  </a:cxn>
                  <a:cxn ang="0">
                    <a:pos x="connsiteX1" y="connsiteY1"/>
                  </a:cxn>
                </a:cxnLst>
                <a:rect l="l" t="t" r="r" b="b"/>
                <a:pathLst>
                  <a:path w="454475" h="36123">
                    <a:moveTo>
                      <a:pt x="454475" y="0"/>
                    </a:moveTo>
                    <a:lnTo>
                      <a:pt x="0" y="36124"/>
                    </a:lnTo>
                  </a:path>
                </a:pathLst>
              </a:custGeom>
              <a:grpFill/>
              <a:ln w="6350" cap="flat">
                <a:solidFill>
                  <a:schemeClr val="bg1">
                    <a:alpha val="80000"/>
                  </a:schemeClr>
                </a:solidFill>
                <a:prstDash val="solid"/>
                <a:miter/>
              </a:ln>
            </p:spPr>
            <p:txBody>
              <a:bodyPr rtlCol="0" anchor="ctr"/>
              <a:lstStyle/>
              <a:p>
                <a:endParaRPr lang="en-GB"/>
              </a:p>
            </p:txBody>
          </p:sp>
          <p:sp>
            <p:nvSpPr>
              <p:cNvPr id="8925" name="Vrije vorm: vorm 8924">
                <a:extLst>
                  <a:ext uri="{FF2B5EF4-FFF2-40B4-BE49-F238E27FC236}">
                    <a16:creationId xmlns:a16="http://schemas.microsoft.com/office/drawing/2014/main" id="{FFB24057-BF0F-459E-9593-D4E918009D25}"/>
                  </a:ext>
                </a:extLst>
              </p:cNvPr>
              <p:cNvSpPr/>
              <p:nvPr/>
            </p:nvSpPr>
            <p:spPr>
              <a:xfrm>
                <a:off x="4194060" y="2859124"/>
                <a:ext cx="295567" cy="139350"/>
              </a:xfrm>
              <a:custGeom>
                <a:avLst/>
                <a:gdLst>
                  <a:gd name="connsiteX0" fmla="*/ 295567 w 295567"/>
                  <a:gd name="connsiteY0" fmla="*/ 139351 h 139350"/>
                  <a:gd name="connsiteX1" fmla="*/ 0 w 295567"/>
                  <a:gd name="connsiteY1" fmla="*/ 0 h 139350"/>
                </a:gdLst>
                <a:ahLst/>
                <a:cxnLst>
                  <a:cxn ang="0">
                    <a:pos x="connsiteX0" y="connsiteY0"/>
                  </a:cxn>
                  <a:cxn ang="0">
                    <a:pos x="connsiteX1" y="connsiteY1"/>
                  </a:cxn>
                </a:cxnLst>
                <a:rect l="l" t="t" r="r" b="b"/>
                <a:pathLst>
                  <a:path w="295567" h="139350">
                    <a:moveTo>
                      <a:pt x="295567" y="139351"/>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8926" name="Vrije vorm: vorm 8925">
                <a:extLst>
                  <a:ext uri="{FF2B5EF4-FFF2-40B4-BE49-F238E27FC236}">
                    <a16:creationId xmlns:a16="http://schemas.microsoft.com/office/drawing/2014/main" id="{BA9EAC7D-0C90-44C9-8B00-6B747FEC3EB9}"/>
                  </a:ext>
                </a:extLst>
              </p:cNvPr>
              <p:cNvSpPr/>
              <p:nvPr/>
            </p:nvSpPr>
            <p:spPr>
              <a:xfrm>
                <a:off x="4087245" y="2808228"/>
                <a:ext cx="65070" cy="30740"/>
              </a:xfrm>
              <a:custGeom>
                <a:avLst/>
                <a:gdLst>
                  <a:gd name="connsiteX0" fmla="*/ 65070 w 65070"/>
                  <a:gd name="connsiteY0" fmla="*/ 30741 h 30740"/>
                  <a:gd name="connsiteX1" fmla="*/ 0 w 65070"/>
                  <a:gd name="connsiteY1" fmla="*/ 0 h 30740"/>
                </a:gdLst>
                <a:ahLst/>
                <a:cxnLst>
                  <a:cxn ang="0">
                    <a:pos x="connsiteX0" y="connsiteY0"/>
                  </a:cxn>
                  <a:cxn ang="0">
                    <a:pos x="connsiteX1" y="connsiteY1"/>
                  </a:cxn>
                </a:cxnLst>
                <a:rect l="l" t="t" r="r" b="b"/>
                <a:pathLst>
                  <a:path w="65070" h="30740">
                    <a:moveTo>
                      <a:pt x="65070" y="30741"/>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8927" name="Vrije vorm: vorm 8926">
                <a:extLst>
                  <a:ext uri="{FF2B5EF4-FFF2-40B4-BE49-F238E27FC236}">
                    <a16:creationId xmlns:a16="http://schemas.microsoft.com/office/drawing/2014/main" id="{E521D81E-70CA-43DB-96C6-56CA926CD8E4}"/>
                  </a:ext>
                </a:extLst>
              </p:cNvPr>
              <p:cNvSpPr/>
              <p:nvPr/>
            </p:nvSpPr>
            <p:spPr>
              <a:xfrm>
                <a:off x="4089697" y="2800453"/>
                <a:ext cx="362611" cy="43360"/>
              </a:xfrm>
              <a:custGeom>
                <a:avLst/>
                <a:gdLst>
                  <a:gd name="connsiteX0" fmla="*/ 362611 w 362611"/>
                  <a:gd name="connsiteY0" fmla="*/ 43360 h 43360"/>
                  <a:gd name="connsiteX1" fmla="*/ 0 w 362611"/>
                  <a:gd name="connsiteY1" fmla="*/ 0 h 43360"/>
                </a:gdLst>
                <a:ahLst/>
                <a:cxnLst>
                  <a:cxn ang="0">
                    <a:pos x="connsiteX0" y="connsiteY0"/>
                  </a:cxn>
                  <a:cxn ang="0">
                    <a:pos x="connsiteX1" y="connsiteY1"/>
                  </a:cxn>
                </a:cxnLst>
                <a:rect l="l" t="t" r="r" b="b"/>
                <a:pathLst>
                  <a:path w="362611" h="43360">
                    <a:moveTo>
                      <a:pt x="362611" y="43360"/>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8928" name="Vrije vorm: vorm 8927">
                <a:extLst>
                  <a:ext uri="{FF2B5EF4-FFF2-40B4-BE49-F238E27FC236}">
                    <a16:creationId xmlns:a16="http://schemas.microsoft.com/office/drawing/2014/main" id="{15D8FD19-F1D1-455C-BDEA-6E9C406B15A0}"/>
                  </a:ext>
                </a:extLst>
              </p:cNvPr>
              <p:cNvSpPr/>
              <p:nvPr/>
            </p:nvSpPr>
            <p:spPr>
              <a:xfrm>
                <a:off x="4089697" y="2800453"/>
                <a:ext cx="359261" cy="55381"/>
              </a:xfrm>
              <a:custGeom>
                <a:avLst/>
                <a:gdLst>
                  <a:gd name="connsiteX0" fmla="*/ 359262 w 359261"/>
                  <a:gd name="connsiteY0" fmla="*/ 55381 h 55381"/>
                  <a:gd name="connsiteX1" fmla="*/ 0 w 359261"/>
                  <a:gd name="connsiteY1" fmla="*/ 0 h 55381"/>
                </a:gdLst>
                <a:ahLst/>
                <a:cxnLst>
                  <a:cxn ang="0">
                    <a:pos x="connsiteX0" y="connsiteY0"/>
                  </a:cxn>
                  <a:cxn ang="0">
                    <a:pos x="connsiteX1" y="connsiteY1"/>
                  </a:cxn>
                </a:cxnLst>
                <a:rect l="l" t="t" r="r" b="b"/>
                <a:pathLst>
                  <a:path w="359261" h="55381">
                    <a:moveTo>
                      <a:pt x="359262" y="55381"/>
                    </a:moveTo>
                    <a:lnTo>
                      <a:pt x="0" y="0"/>
                    </a:lnTo>
                  </a:path>
                </a:pathLst>
              </a:custGeom>
              <a:grpFill/>
              <a:ln w="6350" cap="flat">
                <a:solidFill>
                  <a:schemeClr val="bg1">
                    <a:alpha val="80000"/>
                  </a:schemeClr>
                </a:solidFill>
                <a:prstDash val="solid"/>
                <a:miter/>
              </a:ln>
            </p:spPr>
            <p:txBody>
              <a:bodyPr rtlCol="0" anchor="ctr"/>
              <a:lstStyle/>
              <a:p>
                <a:endParaRPr lang="en-GB"/>
              </a:p>
            </p:txBody>
          </p:sp>
          <p:grpSp>
            <p:nvGrpSpPr>
              <p:cNvPr id="8929" name="Graphic 3">
                <a:extLst>
                  <a:ext uri="{FF2B5EF4-FFF2-40B4-BE49-F238E27FC236}">
                    <a16:creationId xmlns:a16="http://schemas.microsoft.com/office/drawing/2014/main" id="{7F54556A-1173-4285-81A3-2827772866B0}"/>
                  </a:ext>
                </a:extLst>
              </p:cNvPr>
              <p:cNvGrpSpPr/>
              <p:nvPr/>
            </p:nvGrpSpPr>
            <p:grpSpPr>
              <a:xfrm>
                <a:off x="4395730" y="2768337"/>
                <a:ext cx="78945" cy="190844"/>
                <a:chOff x="4395730" y="2768337"/>
                <a:chExt cx="78945" cy="190844"/>
              </a:xfrm>
              <a:grpFill/>
            </p:grpSpPr>
            <p:sp>
              <p:nvSpPr>
                <p:cNvPr id="8963" name="Vrije vorm: vorm 8962">
                  <a:extLst>
                    <a:ext uri="{FF2B5EF4-FFF2-40B4-BE49-F238E27FC236}">
                      <a16:creationId xmlns:a16="http://schemas.microsoft.com/office/drawing/2014/main" id="{163291FC-CB70-4249-989B-66E805E13A99}"/>
                    </a:ext>
                  </a:extLst>
                </p:cNvPr>
                <p:cNvSpPr/>
                <p:nvPr/>
              </p:nvSpPr>
              <p:spPr>
                <a:xfrm>
                  <a:off x="4418517" y="2887891"/>
                  <a:ext cx="50776" cy="71290"/>
                </a:xfrm>
                <a:custGeom>
                  <a:avLst/>
                  <a:gdLst>
                    <a:gd name="connsiteX0" fmla="*/ 0 w 50776"/>
                    <a:gd name="connsiteY0" fmla="*/ 71290 h 71290"/>
                    <a:gd name="connsiteX1" fmla="*/ 50776 w 50776"/>
                    <a:gd name="connsiteY1" fmla="*/ 0 h 71290"/>
                  </a:gdLst>
                  <a:ahLst/>
                  <a:cxnLst>
                    <a:cxn ang="0">
                      <a:pos x="connsiteX0" y="connsiteY0"/>
                    </a:cxn>
                    <a:cxn ang="0">
                      <a:pos x="connsiteX1" y="connsiteY1"/>
                    </a:cxn>
                  </a:cxnLst>
                  <a:rect l="l" t="t" r="r" b="b"/>
                  <a:pathLst>
                    <a:path w="50776" h="71290">
                      <a:moveTo>
                        <a:pt x="0" y="71290"/>
                      </a:moveTo>
                      <a:lnTo>
                        <a:pt x="50776" y="0"/>
                      </a:lnTo>
                    </a:path>
                  </a:pathLst>
                </a:custGeom>
                <a:grpFill/>
                <a:ln w="6350" cap="flat">
                  <a:solidFill>
                    <a:schemeClr val="bg1">
                      <a:alpha val="80000"/>
                    </a:schemeClr>
                  </a:solidFill>
                  <a:prstDash val="solid"/>
                  <a:miter/>
                </a:ln>
              </p:spPr>
              <p:txBody>
                <a:bodyPr rtlCol="0" anchor="ctr"/>
                <a:lstStyle/>
                <a:p>
                  <a:endParaRPr lang="en-GB"/>
                </a:p>
              </p:txBody>
            </p:sp>
            <p:sp>
              <p:nvSpPr>
                <p:cNvPr id="8964" name="Vrije vorm: vorm 8963">
                  <a:extLst>
                    <a:ext uri="{FF2B5EF4-FFF2-40B4-BE49-F238E27FC236}">
                      <a16:creationId xmlns:a16="http://schemas.microsoft.com/office/drawing/2014/main" id="{A1CB5B2F-2300-4E5E-8A52-712182085E2D}"/>
                    </a:ext>
                  </a:extLst>
                </p:cNvPr>
                <p:cNvSpPr/>
                <p:nvPr/>
              </p:nvSpPr>
              <p:spPr>
                <a:xfrm>
                  <a:off x="4416304" y="2887413"/>
                  <a:ext cx="45154" cy="66266"/>
                </a:xfrm>
                <a:custGeom>
                  <a:avLst/>
                  <a:gdLst>
                    <a:gd name="connsiteX0" fmla="*/ 0 w 45154"/>
                    <a:gd name="connsiteY0" fmla="*/ 66266 h 66266"/>
                    <a:gd name="connsiteX1" fmla="*/ 45155 w 45154"/>
                    <a:gd name="connsiteY1" fmla="*/ 0 h 66266"/>
                  </a:gdLst>
                  <a:ahLst/>
                  <a:cxnLst>
                    <a:cxn ang="0">
                      <a:pos x="connsiteX0" y="connsiteY0"/>
                    </a:cxn>
                    <a:cxn ang="0">
                      <a:pos x="connsiteX1" y="connsiteY1"/>
                    </a:cxn>
                  </a:cxnLst>
                  <a:rect l="l" t="t" r="r" b="b"/>
                  <a:pathLst>
                    <a:path w="45154" h="66266">
                      <a:moveTo>
                        <a:pt x="0" y="66266"/>
                      </a:moveTo>
                      <a:lnTo>
                        <a:pt x="45155" y="0"/>
                      </a:lnTo>
                    </a:path>
                  </a:pathLst>
                </a:custGeom>
                <a:grpFill/>
                <a:ln w="6350" cap="flat">
                  <a:solidFill>
                    <a:schemeClr val="bg1">
                      <a:alpha val="80000"/>
                    </a:schemeClr>
                  </a:solidFill>
                  <a:prstDash val="solid"/>
                  <a:miter/>
                </a:ln>
              </p:spPr>
              <p:txBody>
                <a:bodyPr rtlCol="0" anchor="ctr"/>
                <a:lstStyle/>
                <a:p>
                  <a:endParaRPr lang="en-GB"/>
                </a:p>
              </p:txBody>
            </p:sp>
            <p:sp>
              <p:nvSpPr>
                <p:cNvPr id="8965" name="Vrije vorm: vorm 8964">
                  <a:extLst>
                    <a:ext uri="{FF2B5EF4-FFF2-40B4-BE49-F238E27FC236}">
                      <a16:creationId xmlns:a16="http://schemas.microsoft.com/office/drawing/2014/main" id="{18D94B2A-FD03-4061-A193-D023D0492CD4}"/>
                    </a:ext>
                  </a:extLst>
                </p:cNvPr>
                <p:cNvSpPr/>
                <p:nvPr/>
              </p:nvSpPr>
              <p:spPr>
                <a:xfrm>
                  <a:off x="4460860" y="2768337"/>
                  <a:ext cx="13815" cy="109626"/>
                </a:xfrm>
                <a:custGeom>
                  <a:avLst/>
                  <a:gdLst>
                    <a:gd name="connsiteX0" fmla="*/ 13815 w 13815"/>
                    <a:gd name="connsiteY0" fmla="*/ 109627 h 109626"/>
                    <a:gd name="connsiteX1" fmla="*/ 0 w 13815"/>
                    <a:gd name="connsiteY1" fmla="*/ 0 h 109626"/>
                  </a:gdLst>
                  <a:ahLst/>
                  <a:cxnLst>
                    <a:cxn ang="0">
                      <a:pos x="connsiteX0" y="connsiteY0"/>
                    </a:cxn>
                    <a:cxn ang="0">
                      <a:pos x="connsiteX1" y="connsiteY1"/>
                    </a:cxn>
                  </a:cxnLst>
                  <a:rect l="l" t="t" r="r" b="b"/>
                  <a:pathLst>
                    <a:path w="13815" h="109626">
                      <a:moveTo>
                        <a:pt x="13815" y="109627"/>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8966" name="Vrije vorm: vorm 8965">
                  <a:extLst>
                    <a:ext uri="{FF2B5EF4-FFF2-40B4-BE49-F238E27FC236}">
                      <a16:creationId xmlns:a16="http://schemas.microsoft.com/office/drawing/2014/main" id="{FB831D45-41FE-436F-AC5F-7F07DD9A7DB4}"/>
                    </a:ext>
                  </a:extLst>
                </p:cNvPr>
                <p:cNvSpPr/>
                <p:nvPr/>
              </p:nvSpPr>
              <p:spPr>
                <a:xfrm>
                  <a:off x="4455717" y="2768695"/>
                  <a:ext cx="10944" cy="108490"/>
                </a:xfrm>
                <a:custGeom>
                  <a:avLst/>
                  <a:gdLst>
                    <a:gd name="connsiteX0" fmla="*/ 10945 w 10944"/>
                    <a:gd name="connsiteY0" fmla="*/ 108490 h 108490"/>
                    <a:gd name="connsiteX1" fmla="*/ 0 w 10944"/>
                    <a:gd name="connsiteY1" fmla="*/ 0 h 108490"/>
                  </a:gdLst>
                  <a:ahLst/>
                  <a:cxnLst>
                    <a:cxn ang="0">
                      <a:pos x="connsiteX0" y="connsiteY0"/>
                    </a:cxn>
                    <a:cxn ang="0">
                      <a:pos x="connsiteX1" y="connsiteY1"/>
                    </a:cxn>
                  </a:cxnLst>
                  <a:rect l="l" t="t" r="r" b="b"/>
                  <a:pathLst>
                    <a:path w="10944" h="108490">
                      <a:moveTo>
                        <a:pt x="10945" y="108490"/>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8967" name="Vrije vorm: vorm 8966">
                  <a:extLst>
                    <a:ext uri="{FF2B5EF4-FFF2-40B4-BE49-F238E27FC236}">
                      <a16:creationId xmlns:a16="http://schemas.microsoft.com/office/drawing/2014/main" id="{3F535352-D477-4419-971F-EF257AB42562}"/>
                    </a:ext>
                  </a:extLst>
                </p:cNvPr>
                <p:cNvSpPr/>
                <p:nvPr/>
              </p:nvSpPr>
              <p:spPr>
                <a:xfrm>
                  <a:off x="4404881" y="2769054"/>
                  <a:ext cx="44975" cy="69077"/>
                </a:xfrm>
                <a:custGeom>
                  <a:avLst/>
                  <a:gdLst>
                    <a:gd name="connsiteX0" fmla="*/ 44975 w 44975"/>
                    <a:gd name="connsiteY0" fmla="*/ 0 h 69077"/>
                    <a:gd name="connsiteX1" fmla="*/ 0 w 44975"/>
                    <a:gd name="connsiteY1" fmla="*/ 69077 h 69077"/>
                  </a:gdLst>
                  <a:ahLst/>
                  <a:cxnLst>
                    <a:cxn ang="0">
                      <a:pos x="connsiteX0" y="connsiteY0"/>
                    </a:cxn>
                    <a:cxn ang="0">
                      <a:pos x="connsiteX1" y="connsiteY1"/>
                    </a:cxn>
                  </a:cxnLst>
                  <a:rect l="l" t="t" r="r" b="b"/>
                  <a:pathLst>
                    <a:path w="44975" h="69077">
                      <a:moveTo>
                        <a:pt x="44975" y="0"/>
                      </a:moveTo>
                      <a:lnTo>
                        <a:pt x="0" y="69077"/>
                      </a:lnTo>
                    </a:path>
                  </a:pathLst>
                </a:custGeom>
                <a:grpFill/>
                <a:ln w="6350" cap="flat">
                  <a:solidFill>
                    <a:schemeClr val="bg1">
                      <a:alpha val="80000"/>
                    </a:schemeClr>
                  </a:solidFill>
                  <a:prstDash val="solid"/>
                  <a:miter/>
                </a:ln>
              </p:spPr>
              <p:txBody>
                <a:bodyPr rtlCol="0" anchor="ctr"/>
                <a:lstStyle/>
                <a:p>
                  <a:endParaRPr lang="en-GB"/>
                </a:p>
              </p:txBody>
            </p:sp>
            <p:sp>
              <p:nvSpPr>
                <p:cNvPr id="8968" name="Vrije vorm: vorm 8967">
                  <a:extLst>
                    <a:ext uri="{FF2B5EF4-FFF2-40B4-BE49-F238E27FC236}">
                      <a16:creationId xmlns:a16="http://schemas.microsoft.com/office/drawing/2014/main" id="{F5627631-1682-4C92-9469-5D359863BE9C}"/>
                    </a:ext>
                  </a:extLst>
                </p:cNvPr>
                <p:cNvSpPr/>
                <p:nvPr/>
              </p:nvSpPr>
              <p:spPr>
                <a:xfrm>
                  <a:off x="4397644" y="2769772"/>
                  <a:ext cx="41506" cy="67522"/>
                </a:xfrm>
                <a:custGeom>
                  <a:avLst/>
                  <a:gdLst>
                    <a:gd name="connsiteX0" fmla="*/ 41506 w 41506"/>
                    <a:gd name="connsiteY0" fmla="*/ 0 h 67522"/>
                    <a:gd name="connsiteX1" fmla="*/ 0 w 41506"/>
                    <a:gd name="connsiteY1" fmla="*/ 67522 h 67522"/>
                  </a:gdLst>
                  <a:ahLst/>
                  <a:cxnLst>
                    <a:cxn ang="0">
                      <a:pos x="connsiteX0" y="connsiteY0"/>
                    </a:cxn>
                    <a:cxn ang="0">
                      <a:pos x="connsiteX1" y="connsiteY1"/>
                    </a:cxn>
                  </a:cxnLst>
                  <a:rect l="l" t="t" r="r" b="b"/>
                  <a:pathLst>
                    <a:path w="41506" h="67522">
                      <a:moveTo>
                        <a:pt x="41506" y="0"/>
                      </a:moveTo>
                      <a:lnTo>
                        <a:pt x="0" y="67522"/>
                      </a:lnTo>
                    </a:path>
                  </a:pathLst>
                </a:custGeom>
                <a:grpFill/>
                <a:ln w="6350" cap="flat">
                  <a:solidFill>
                    <a:schemeClr val="bg1">
                      <a:alpha val="80000"/>
                    </a:schemeClr>
                  </a:solidFill>
                  <a:prstDash val="solid"/>
                  <a:miter/>
                </a:ln>
              </p:spPr>
              <p:txBody>
                <a:bodyPr rtlCol="0" anchor="ctr"/>
                <a:lstStyle/>
                <a:p>
                  <a:endParaRPr lang="en-GB"/>
                </a:p>
              </p:txBody>
            </p:sp>
            <p:sp>
              <p:nvSpPr>
                <p:cNvPr id="8969" name="Vrije vorm: vorm 8968">
                  <a:extLst>
                    <a:ext uri="{FF2B5EF4-FFF2-40B4-BE49-F238E27FC236}">
                      <a16:creationId xmlns:a16="http://schemas.microsoft.com/office/drawing/2014/main" id="{FCE92461-F2DA-4A4B-BD4B-05B926D9E6E4}"/>
                    </a:ext>
                  </a:extLst>
                </p:cNvPr>
                <p:cNvSpPr/>
                <p:nvPr/>
              </p:nvSpPr>
              <p:spPr>
                <a:xfrm>
                  <a:off x="4402907" y="2848777"/>
                  <a:ext cx="13396" cy="104901"/>
                </a:xfrm>
                <a:custGeom>
                  <a:avLst/>
                  <a:gdLst>
                    <a:gd name="connsiteX0" fmla="*/ 13397 w 13396"/>
                    <a:gd name="connsiteY0" fmla="*/ 104902 h 104901"/>
                    <a:gd name="connsiteX1" fmla="*/ 0 w 13396"/>
                    <a:gd name="connsiteY1" fmla="*/ 0 h 104901"/>
                  </a:gdLst>
                  <a:ahLst/>
                  <a:cxnLst>
                    <a:cxn ang="0">
                      <a:pos x="connsiteX0" y="connsiteY0"/>
                    </a:cxn>
                    <a:cxn ang="0">
                      <a:pos x="connsiteX1" y="connsiteY1"/>
                    </a:cxn>
                  </a:cxnLst>
                  <a:rect l="l" t="t" r="r" b="b"/>
                  <a:pathLst>
                    <a:path w="13396" h="104901">
                      <a:moveTo>
                        <a:pt x="13397" y="104902"/>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8970" name="Vrije vorm: vorm 8969">
                  <a:extLst>
                    <a:ext uri="{FF2B5EF4-FFF2-40B4-BE49-F238E27FC236}">
                      <a16:creationId xmlns:a16="http://schemas.microsoft.com/office/drawing/2014/main" id="{C71A127E-2462-42CF-B8AA-5E7FD1AA55C4}"/>
                    </a:ext>
                  </a:extLst>
                </p:cNvPr>
                <p:cNvSpPr/>
                <p:nvPr/>
              </p:nvSpPr>
              <p:spPr>
                <a:xfrm>
                  <a:off x="4395730" y="2847641"/>
                  <a:ext cx="11482" cy="106337"/>
                </a:xfrm>
                <a:custGeom>
                  <a:avLst/>
                  <a:gdLst>
                    <a:gd name="connsiteX0" fmla="*/ 11483 w 11482"/>
                    <a:gd name="connsiteY0" fmla="*/ 106337 h 106337"/>
                    <a:gd name="connsiteX1" fmla="*/ 0 w 11482"/>
                    <a:gd name="connsiteY1" fmla="*/ 0 h 106337"/>
                  </a:gdLst>
                  <a:ahLst/>
                  <a:cxnLst>
                    <a:cxn ang="0">
                      <a:pos x="connsiteX0" y="connsiteY0"/>
                    </a:cxn>
                    <a:cxn ang="0">
                      <a:pos x="connsiteX1" y="connsiteY1"/>
                    </a:cxn>
                  </a:cxnLst>
                  <a:rect l="l" t="t" r="r" b="b"/>
                  <a:pathLst>
                    <a:path w="11482" h="106337">
                      <a:moveTo>
                        <a:pt x="11483" y="106337"/>
                      </a:moveTo>
                      <a:lnTo>
                        <a:pt x="0" y="0"/>
                      </a:lnTo>
                    </a:path>
                  </a:pathLst>
                </a:custGeom>
                <a:grpFill/>
                <a:ln w="6350" cap="flat">
                  <a:solidFill>
                    <a:schemeClr val="bg1">
                      <a:alpha val="80000"/>
                    </a:schemeClr>
                  </a:solidFill>
                  <a:prstDash val="solid"/>
                  <a:miter/>
                </a:ln>
              </p:spPr>
              <p:txBody>
                <a:bodyPr rtlCol="0" anchor="ctr"/>
                <a:lstStyle/>
                <a:p>
                  <a:endParaRPr lang="en-GB"/>
                </a:p>
              </p:txBody>
            </p:sp>
          </p:grpSp>
          <p:grpSp>
            <p:nvGrpSpPr>
              <p:cNvPr id="8930" name="Graphic 3">
                <a:extLst>
                  <a:ext uri="{FF2B5EF4-FFF2-40B4-BE49-F238E27FC236}">
                    <a16:creationId xmlns:a16="http://schemas.microsoft.com/office/drawing/2014/main" id="{41CA0306-ACA7-4BB7-87C6-F63C1A84F02F}"/>
                  </a:ext>
                </a:extLst>
              </p:cNvPr>
              <p:cNvGrpSpPr/>
              <p:nvPr/>
            </p:nvGrpSpPr>
            <p:grpSpPr>
              <a:xfrm>
                <a:off x="4324620" y="2771686"/>
                <a:ext cx="49819" cy="152747"/>
                <a:chOff x="4324620" y="2771686"/>
                <a:chExt cx="49819" cy="152747"/>
              </a:xfrm>
              <a:grpFill/>
            </p:grpSpPr>
            <p:sp>
              <p:nvSpPr>
                <p:cNvPr id="8955" name="Vrije vorm: vorm 8954">
                  <a:extLst>
                    <a:ext uri="{FF2B5EF4-FFF2-40B4-BE49-F238E27FC236}">
                      <a16:creationId xmlns:a16="http://schemas.microsoft.com/office/drawing/2014/main" id="{9F1F4C73-E7E0-4BF9-BECF-7ED175ABE5EC}"/>
                    </a:ext>
                  </a:extLst>
                </p:cNvPr>
                <p:cNvSpPr/>
                <p:nvPr/>
              </p:nvSpPr>
              <p:spPr>
                <a:xfrm>
                  <a:off x="4336103" y="2866361"/>
                  <a:ext cx="34568" cy="58072"/>
                </a:xfrm>
                <a:custGeom>
                  <a:avLst/>
                  <a:gdLst>
                    <a:gd name="connsiteX0" fmla="*/ 0 w 34568"/>
                    <a:gd name="connsiteY0" fmla="*/ 58073 h 58072"/>
                    <a:gd name="connsiteX1" fmla="*/ 34569 w 34568"/>
                    <a:gd name="connsiteY1" fmla="*/ 0 h 58072"/>
                  </a:gdLst>
                  <a:ahLst/>
                  <a:cxnLst>
                    <a:cxn ang="0">
                      <a:pos x="connsiteX0" y="connsiteY0"/>
                    </a:cxn>
                    <a:cxn ang="0">
                      <a:pos x="connsiteX1" y="connsiteY1"/>
                    </a:cxn>
                  </a:cxnLst>
                  <a:rect l="l" t="t" r="r" b="b"/>
                  <a:pathLst>
                    <a:path w="34568" h="58072">
                      <a:moveTo>
                        <a:pt x="0" y="58073"/>
                      </a:moveTo>
                      <a:lnTo>
                        <a:pt x="34569" y="0"/>
                      </a:lnTo>
                    </a:path>
                  </a:pathLst>
                </a:custGeom>
                <a:grpFill/>
                <a:ln w="6350" cap="flat">
                  <a:solidFill>
                    <a:schemeClr val="bg1">
                      <a:alpha val="80000"/>
                    </a:schemeClr>
                  </a:solidFill>
                  <a:prstDash val="solid"/>
                  <a:miter/>
                </a:ln>
              </p:spPr>
              <p:txBody>
                <a:bodyPr rtlCol="0" anchor="ctr"/>
                <a:lstStyle/>
                <a:p>
                  <a:endParaRPr lang="en-GB"/>
                </a:p>
              </p:txBody>
            </p:sp>
            <p:sp>
              <p:nvSpPr>
                <p:cNvPr id="8956" name="Vrije vorm: vorm 8955">
                  <a:extLst>
                    <a:ext uri="{FF2B5EF4-FFF2-40B4-BE49-F238E27FC236}">
                      <a16:creationId xmlns:a16="http://schemas.microsoft.com/office/drawing/2014/main" id="{47A4F1DB-DE7A-4B7E-BC7F-7243C66E4306}"/>
                    </a:ext>
                  </a:extLst>
                </p:cNvPr>
                <p:cNvSpPr/>
                <p:nvPr/>
              </p:nvSpPr>
              <p:spPr>
                <a:xfrm>
                  <a:off x="4334787" y="2866181"/>
                  <a:ext cx="30920" cy="53886"/>
                </a:xfrm>
                <a:custGeom>
                  <a:avLst/>
                  <a:gdLst>
                    <a:gd name="connsiteX0" fmla="*/ 0 w 30920"/>
                    <a:gd name="connsiteY0" fmla="*/ 53886 h 53886"/>
                    <a:gd name="connsiteX1" fmla="*/ 30920 w 30920"/>
                    <a:gd name="connsiteY1" fmla="*/ 0 h 53886"/>
                  </a:gdLst>
                  <a:ahLst/>
                  <a:cxnLst>
                    <a:cxn ang="0">
                      <a:pos x="connsiteX0" y="connsiteY0"/>
                    </a:cxn>
                    <a:cxn ang="0">
                      <a:pos x="connsiteX1" y="connsiteY1"/>
                    </a:cxn>
                  </a:cxnLst>
                  <a:rect l="l" t="t" r="r" b="b"/>
                  <a:pathLst>
                    <a:path w="30920" h="53886">
                      <a:moveTo>
                        <a:pt x="0" y="53886"/>
                      </a:moveTo>
                      <a:lnTo>
                        <a:pt x="30920" y="0"/>
                      </a:lnTo>
                    </a:path>
                  </a:pathLst>
                </a:custGeom>
                <a:grpFill/>
                <a:ln w="6350" cap="flat">
                  <a:solidFill>
                    <a:schemeClr val="bg1">
                      <a:alpha val="80000"/>
                    </a:schemeClr>
                  </a:solidFill>
                  <a:prstDash val="solid"/>
                  <a:miter/>
                </a:ln>
              </p:spPr>
              <p:txBody>
                <a:bodyPr rtlCol="0" anchor="ctr"/>
                <a:lstStyle/>
                <a:p>
                  <a:endParaRPr lang="en-GB"/>
                </a:p>
              </p:txBody>
            </p:sp>
            <p:sp>
              <p:nvSpPr>
                <p:cNvPr id="8957" name="Vrije vorm: vorm 8956">
                  <a:extLst>
                    <a:ext uri="{FF2B5EF4-FFF2-40B4-BE49-F238E27FC236}">
                      <a16:creationId xmlns:a16="http://schemas.microsoft.com/office/drawing/2014/main" id="{6284F1AF-EA1C-4E69-8968-8C35A209B89A}"/>
                    </a:ext>
                  </a:extLst>
                </p:cNvPr>
                <p:cNvSpPr/>
                <p:nvPr/>
              </p:nvSpPr>
              <p:spPr>
                <a:xfrm>
                  <a:off x="4368638" y="2771686"/>
                  <a:ext cx="5801" cy="86600"/>
                </a:xfrm>
                <a:custGeom>
                  <a:avLst/>
                  <a:gdLst>
                    <a:gd name="connsiteX0" fmla="*/ 5801 w 5801"/>
                    <a:gd name="connsiteY0" fmla="*/ 86601 h 86600"/>
                    <a:gd name="connsiteX1" fmla="*/ 0 w 5801"/>
                    <a:gd name="connsiteY1" fmla="*/ 0 h 86600"/>
                  </a:gdLst>
                  <a:ahLst/>
                  <a:cxnLst>
                    <a:cxn ang="0">
                      <a:pos x="connsiteX0" y="connsiteY0"/>
                    </a:cxn>
                    <a:cxn ang="0">
                      <a:pos x="connsiteX1" y="connsiteY1"/>
                    </a:cxn>
                  </a:cxnLst>
                  <a:rect l="l" t="t" r="r" b="b"/>
                  <a:pathLst>
                    <a:path w="5801" h="86600">
                      <a:moveTo>
                        <a:pt x="5801" y="86601"/>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8958" name="Vrije vorm: vorm 8957">
                  <a:extLst>
                    <a:ext uri="{FF2B5EF4-FFF2-40B4-BE49-F238E27FC236}">
                      <a16:creationId xmlns:a16="http://schemas.microsoft.com/office/drawing/2014/main" id="{50DAC12A-D5ED-4445-BDF8-5E613132394E}"/>
                    </a:ext>
                  </a:extLst>
                </p:cNvPr>
                <p:cNvSpPr/>
                <p:nvPr/>
              </p:nvSpPr>
              <p:spPr>
                <a:xfrm>
                  <a:off x="4365348" y="2772104"/>
                  <a:ext cx="3947" cy="85823"/>
                </a:xfrm>
                <a:custGeom>
                  <a:avLst/>
                  <a:gdLst>
                    <a:gd name="connsiteX0" fmla="*/ 3947 w 3947"/>
                    <a:gd name="connsiteY0" fmla="*/ 85823 h 85823"/>
                    <a:gd name="connsiteX1" fmla="*/ 0 w 3947"/>
                    <a:gd name="connsiteY1" fmla="*/ 0 h 85823"/>
                  </a:gdLst>
                  <a:ahLst/>
                  <a:cxnLst>
                    <a:cxn ang="0">
                      <a:pos x="connsiteX0" y="connsiteY0"/>
                    </a:cxn>
                    <a:cxn ang="0">
                      <a:pos x="connsiteX1" y="connsiteY1"/>
                    </a:cxn>
                  </a:cxnLst>
                  <a:rect l="l" t="t" r="r" b="b"/>
                  <a:pathLst>
                    <a:path w="3947" h="85823">
                      <a:moveTo>
                        <a:pt x="3947" y="85823"/>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8959" name="Vrije vorm: vorm 8958">
                  <a:extLst>
                    <a:ext uri="{FF2B5EF4-FFF2-40B4-BE49-F238E27FC236}">
                      <a16:creationId xmlns:a16="http://schemas.microsoft.com/office/drawing/2014/main" id="{75B2FFC8-FE5B-4069-A3BE-A4FF5EC04E6A}"/>
                    </a:ext>
                  </a:extLst>
                </p:cNvPr>
                <p:cNvSpPr/>
                <p:nvPr/>
              </p:nvSpPr>
              <p:spPr>
                <a:xfrm>
                  <a:off x="4330720" y="2772523"/>
                  <a:ext cx="30860" cy="56158"/>
                </a:xfrm>
                <a:custGeom>
                  <a:avLst/>
                  <a:gdLst>
                    <a:gd name="connsiteX0" fmla="*/ 30861 w 30860"/>
                    <a:gd name="connsiteY0" fmla="*/ 0 h 56158"/>
                    <a:gd name="connsiteX1" fmla="*/ 0 w 30860"/>
                    <a:gd name="connsiteY1" fmla="*/ 56159 h 56158"/>
                  </a:gdLst>
                  <a:ahLst/>
                  <a:cxnLst>
                    <a:cxn ang="0">
                      <a:pos x="connsiteX0" y="connsiteY0"/>
                    </a:cxn>
                    <a:cxn ang="0">
                      <a:pos x="connsiteX1" y="connsiteY1"/>
                    </a:cxn>
                  </a:cxnLst>
                  <a:rect l="l" t="t" r="r" b="b"/>
                  <a:pathLst>
                    <a:path w="30860" h="56158">
                      <a:moveTo>
                        <a:pt x="30861" y="0"/>
                      </a:moveTo>
                      <a:lnTo>
                        <a:pt x="0" y="56159"/>
                      </a:lnTo>
                    </a:path>
                  </a:pathLst>
                </a:custGeom>
                <a:grpFill/>
                <a:ln w="6350" cap="flat">
                  <a:solidFill>
                    <a:schemeClr val="bg1">
                      <a:alpha val="80000"/>
                    </a:schemeClr>
                  </a:solidFill>
                  <a:prstDash val="solid"/>
                  <a:miter/>
                </a:ln>
              </p:spPr>
              <p:txBody>
                <a:bodyPr rtlCol="0" anchor="ctr"/>
                <a:lstStyle/>
                <a:p>
                  <a:endParaRPr lang="en-GB"/>
                </a:p>
              </p:txBody>
            </p:sp>
            <p:sp>
              <p:nvSpPr>
                <p:cNvPr id="8960" name="Vrije vorm: vorm 8959">
                  <a:extLst>
                    <a:ext uri="{FF2B5EF4-FFF2-40B4-BE49-F238E27FC236}">
                      <a16:creationId xmlns:a16="http://schemas.microsoft.com/office/drawing/2014/main" id="{0D5336D7-A1ED-4D44-930D-F5B424953A72}"/>
                    </a:ext>
                  </a:extLst>
                </p:cNvPr>
                <p:cNvSpPr/>
                <p:nvPr/>
              </p:nvSpPr>
              <p:spPr>
                <a:xfrm>
                  <a:off x="4326115" y="2773420"/>
                  <a:ext cx="28587" cy="54783"/>
                </a:xfrm>
                <a:custGeom>
                  <a:avLst/>
                  <a:gdLst>
                    <a:gd name="connsiteX0" fmla="*/ 28588 w 28587"/>
                    <a:gd name="connsiteY0" fmla="*/ 0 h 54783"/>
                    <a:gd name="connsiteX1" fmla="*/ 0 w 28587"/>
                    <a:gd name="connsiteY1" fmla="*/ 54783 h 54783"/>
                  </a:gdLst>
                  <a:ahLst/>
                  <a:cxnLst>
                    <a:cxn ang="0">
                      <a:pos x="connsiteX0" y="connsiteY0"/>
                    </a:cxn>
                    <a:cxn ang="0">
                      <a:pos x="connsiteX1" y="connsiteY1"/>
                    </a:cxn>
                  </a:cxnLst>
                  <a:rect l="l" t="t" r="r" b="b"/>
                  <a:pathLst>
                    <a:path w="28587" h="54783">
                      <a:moveTo>
                        <a:pt x="28588" y="0"/>
                      </a:moveTo>
                      <a:lnTo>
                        <a:pt x="0" y="54783"/>
                      </a:lnTo>
                    </a:path>
                  </a:pathLst>
                </a:custGeom>
                <a:grpFill/>
                <a:ln w="6350" cap="flat">
                  <a:solidFill>
                    <a:schemeClr val="bg1">
                      <a:alpha val="80000"/>
                    </a:schemeClr>
                  </a:solidFill>
                  <a:prstDash val="solid"/>
                  <a:miter/>
                </a:ln>
              </p:spPr>
              <p:txBody>
                <a:bodyPr rtlCol="0" anchor="ctr"/>
                <a:lstStyle/>
                <a:p>
                  <a:endParaRPr lang="en-GB"/>
                </a:p>
              </p:txBody>
            </p:sp>
            <p:sp>
              <p:nvSpPr>
                <p:cNvPr id="8961" name="Vrije vorm: vorm 8960">
                  <a:extLst>
                    <a:ext uri="{FF2B5EF4-FFF2-40B4-BE49-F238E27FC236}">
                      <a16:creationId xmlns:a16="http://schemas.microsoft.com/office/drawing/2014/main" id="{9B59BBA8-021C-446D-A3AB-70528E07F3F3}"/>
                    </a:ext>
                  </a:extLst>
                </p:cNvPr>
                <p:cNvSpPr/>
                <p:nvPr/>
              </p:nvSpPr>
              <p:spPr>
                <a:xfrm>
                  <a:off x="4329165" y="2837175"/>
                  <a:ext cx="5621" cy="82892"/>
                </a:xfrm>
                <a:custGeom>
                  <a:avLst/>
                  <a:gdLst>
                    <a:gd name="connsiteX0" fmla="*/ 5622 w 5621"/>
                    <a:gd name="connsiteY0" fmla="*/ 82893 h 82892"/>
                    <a:gd name="connsiteX1" fmla="*/ 0 w 5621"/>
                    <a:gd name="connsiteY1" fmla="*/ 0 h 82892"/>
                  </a:gdLst>
                  <a:ahLst/>
                  <a:cxnLst>
                    <a:cxn ang="0">
                      <a:pos x="connsiteX0" y="connsiteY0"/>
                    </a:cxn>
                    <a:cxn ang="0">
                      <a:pos x="connsiteX1" y="connsiteY1"/>
                    </a:cxn>
                  </a:cxnLst>
                  <a:rect l="l" t="t" r="r" b="b"/>
                  <a:pathLst>
                    <a:path w="5621" h="82892">
                      <a:moveTo>
                        <a:pt x="5622" y="82893"/>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8962" name="Vrije vorm: vorm 8961">
                  <a:extLst>
                    <a:ext uri="{FF2B5EF4-FFF2-40B4-BE49-F238E27FC236}">
                      <a16:creationId xmlns:a16="http://schemas.microsoft.com/office/drawing/2014/main" id="{D3E83B8B-D754-4C94-A12B-20E7D538339A}"/>
                    </a:ext>
                  </a:extLst>
                </p:cNvPr>
                <p:cNvSpPr/>
                <p:nvPr/>
              </p:nvSpPr>
              <p:spPr>
                <a:xfrm>
                  <a:off x="4324620" y="2836517"/>
                  <a:ext cx="4365" cy="84088"/>
                </a:xfrm>
                <a:custGeom>
                  <a:avLst/>
                  <a:gdLst>
                    <a:gd name="connsiteX0" fmla="*/ 4366 w 4365"/>
                    <a:gd name="connsiteY0" fmla="*/ 84089 h 84088"/>
                    <a:gd name="connsiteX1" fmla="*/ 0 w 4365"/>
                    <a:gd name="connsiteY1" fmla="*/ 0 h 84088"/>
                  </a:gdLst>
                  <a:ahLst/>
                  <a:cxnLst>
                    <a:cxn ang="0">
                      <a:pos x="connsiteX0" y="connsiteY0"/>
                    </a:cxn>
                    <a:cxn ang="0">
                      <a:pos x="connsiteX1" y="connsiteY1"/>
                    </a:cxn>
                  </a:cxnLst>
                  <a:rect l="l" t="t" r="r" b="b"/>
                  <a:pathLst>
                    <a:path w="4365" h="84088">
                      <a:moveTo>
                        <a:pt x="4366" y="84089"/>
                      </a:moveTo>
                      <a:lnTo>
                        <a:pt x="0" y="0"/>
                      </a:lnTo>
                    </a:path>
                  </a:pathLst>
                </a:custGeom>
                <a:grpFill/>
                <a:ln w="6350" cap="flat">
                  <a:solidFill>
                    <a:schemeClr val="bg1">
                      <a:alpha val="80000"/>
                    </a:schemeClr>
                  </a:solidFill>
                  <a:prstDash val="solid"/>
                  <a:miter/>
                </a:ln>
              </p:spPr>
              <p:txBody>
                <a:bodyPr rtlCol="0" anchor="ctr"/>
                <a:lstStyle/>
                <a:p>
                  <a:endParaRPr lang="en-GB"/>
                </a:p>
              </p:txBody>
            </p:sp>
          </p:grpSp>
          <p:grpSp>
            <p:nvGrpSpPr>
              <p:cNvPr id="8931" name="Graphic 3">
                <a:extLst>
                  <a:ext uri="{FF2B5EF4-FFF2-40B4-BE49-F238E27FC236}">
                    <a16:creationId xmlns:a16="http://schemas.microsoft.com/office/drawing/2014/main" id="{4ECB6A92-48F9-493A-89A0-C1A5A06A78FD}"/>
                  </a:ext>
                </a:extLst>
              </p:cNvPr>
              <p:cNvGrpSpPr/>
              <p:nvPr/>
            </p:nvGrpSpPr>
            <p:grpSpPr>
              <a:xfrm>
                <a:off x="4253389" y="2779102"/>
                <a:ext cx="22726" cy="106636"/>
                <a:chOff x="4253389" y="2779102"/>
                <a:chExt cx="22726" cy="106636"/>
              </a:xfrm>
              <a:grpFill/>
            </p:grpSpPr>
            <p:sp>
              <p:nvSpPr>
                <p:cNvPr id="8947" name="Vrije vorm: vorm 8946">
                  <a:extLst>
                    <a:ext uri="{FF2B5EF4-FFF2-40B4-BE49-F238E27FC236}">
                      <a16:creationId xmlns:a16="http://schemas.microsoft.com/office/drawing/2014/main" id="{9756954F-EC2D-4995-BB73-DBEACCBCB3CB}"/>
                    </a:ext>
                  </a:extLst>
                </p:cNvPr>
                <p:cNvSpPr/>
                <p:nvPr/>
              </p:nvSpPr>
              <p:spPr>
                <a:xfrm>
                  <a:off x="4255363" y="2843694"/>
                  <a:ext cx="14951" cy="42044"/>
                </a:xfrm>
                <a:custGeom>
                  <a:avLst/>
                  <a:gdLst>
                    <a:gd name="connsiteX0" fmla="*/ 0 w 14951"/>
                    <a:gd name="connsiteY0" fmla="*/ 42044 h 42044"/>
                    <a:gd name="connsiteX1" fmla="*/ 14952 w 14951"/>
                    <a:gd name="connsiteY1" fmla="*/ 0 h 42044"/>
                  </a:gdLst>
                  <a:ahLst/>
                  <a:cxnLst>
                    <a:cxn ang="0">
                      <a:pos x="connsiteX0" y="connsiteY0"/>
                    </a:cxn>
                    <a:cxn ang="0">
                      <a:pos x="connsiteX1" y="connsiteY1"/>
                    </a:cxn>
                  </a:cxnLst>
                  <a:rect l="l" t="t" r="r" b="b"/>
                  <a:pathLst>
                    <a:path w="14951" h="42044">
                      <a:moveTo>
                        <a:pt x="0" y="42044"/>
                      </a:moveTo>
                      <a:lnTo>
                        <a:pt x="14952" y="0"/>
                      </a:lnTo>
                    </a:path>
                  </a:pathLst>
                </a:custGeom>
                <a:grpFill/>
                <a:ln w="6350" cap="flat">
                  <a:solidFill>
                    <a:schemeClr val="bg1">
                      <a:alpha val="80000"/>
                    </a:schemeClr>
                  </a:solidFill>
                  <a:prstDash val="solid"/>
                  <a:miter/>
                </a:ln>
              </p:spPr>
              <p:txBody>
                <a:bodyPr rtlCol="0" anchor="ctr"/>
                <a:lstStyle/>
                <a:p>
                  <a:endParaRPr lang="en-GB"/>
                </a:p>
              </p:txBody>
            </p:sp>
            <p:sp>
              <p:nvSpPr>
                <p:cNvPr id="8948" name="Vrije vorm: vorm 8947">
                  <a:extLst>
                    <a:ext uri="{FF2B5EF4-FFF2-40B4-BE49-F238E27FC236}">
                      <a16:creationId xmlns:a16="http://schemas.microsoft.com/office/drawing/2014/main" id="{842FBFD1-7C71-48B2-B7A4-F0C0445BD79D}"/>
                    </a:ext>
                  </a:extLst>
                </p:cNvPr>
                <p:cNvSpPr/>
                <p:nvPr/>
              </p:nvSpPr>
              <p:spPr>
                <a:xfrm>
                  <a:off x="4255243" y="2843933"/>
                  <a:ext cx="13456" cy="38934"/>
                </a:xfrm>
                <a:custGeom>
                  <a:avLst/>
                  <a:gdLst>
                    <a:gd name="connsiteX0" fmla="*/ 0 w 13456"/>
                    <a:gd name="connsiteY0" fmla="*/ 38935 h 38934"/>
                    <a:gd name="connsiteX1" fmla="*/ 13456 w 13456"/>
                    <a:gd name="connsiteY1" fmla="*/ 0 h 38934"/>
                  </a:gdLst>
                  <a:ahLst/>
                  <a:cxnLst>
                    <a:cxn ang="0">
                      <a:pos x="connsiteX0" y="connsiteY0"/>
                    </a:cxn>
                    <a:cxn ang="0">
                      <a:pos x="connsiteX1" y="connsiteY1"/>
                    </a:cxn>
                  </a:cxnLst>
                  <a:rect l="l" t="t" r="r" b="b"/>
                  <a:pathLst>
                    <a:path w="13456" h="38934">
                      <a:moveTo>
                        <a:pt x="0" y="38935"/>
                      </a:moveTo>
                      <a:lnTo>
                        <a:pt x="13456" y="0"/>
                      </a:lnTo>
                    </a:path>
                  </a:pathLst>
                </a:custGeom>
                <a:grpFill/>
                <a:ln w="6350" cap="flat">
                  <a:solidFill>
                    <a:schemeClr val="bg1">
                      <a:alpha val="80000"/>
                    </a:schemeClr>
                  </a:solidFill>
                  <a:prstDash val="solid"/>
                  <a:miter/>
                </a:ln>
              </p:spPr>
              <p:txBody>
                <a:bodyPr rtlCol="0" anchor="ctr"/>
                <a:lstStyle/>
                <a:p>
                  <a:endParaRPr lang="en-GB"/>
                </a:p>
              </p:txBody>
            </p:sp>
            <p:sp>
              <p:nvSpPr>
                <p:cNvPr id="8949" name="Vrije vorm: vorm 8948">
                  <a:extLst>
                    <a:ext uri="{FF2B5EF4-FFF2-40B4-BE49-F238E27FC236}">
                      <a16:creationId xmlns:a16="http://schemas.microsoft.com/office/drawing/2014/main" id="{00C80BC7-BE53-43FF-9080-0A4711087547}"/>
                    </a:ext>
                  </a:extLst>
                </p:cNvPr>
                <p:cNvSpPr/>
                <p:nvPr/>
              </p:nvSpPr>
              <p:spPr>
                <a:xfrm>
                  <a:off x="4272049" y="2779102"/>
                  <a:ext cx="4066" cy="58850"/>
                </a:xfrm>
                <a:custGeom>
                  <a:avLst/>
                  <a:gdLst>
                    <a:gd name="connsiteX0" fmla="*/ 0 w 4066"/>
                    <a:gd name="connsiteY0" fmla="*/ 58850 h 58850"/>
                    <a:gd name="connsiteX1" fmla="*/ 4067 w 4066"/>
                    <a:gd name="connsiteY1" fmla="*/ 0 h 58850"/>
                  </a:gdLst>
                  <a:ahLst/>
                  <a:cxnLst>
                    <a:cxn ang="0">
                      <a:pos x="connsiteX0" y="connsiteY0"/>
                    </a:cxn>
                    <a:cxn ang="0">
                      <a:pos x="connsiteX1" y="connsiteY1"/>
                    </a:cxn>
                  </a:cxnLst>
                  <a:rect l="l" t="t" r="r" b="b"/>
                  <a:pathLst>
                    <a:path w="4066" h="58850">
                      <a:moveTo>
                        <a:pt x="0" y="58850"/>
                      </a:moveTo>
                      <a:lnTo>
                        <a:pt x="4067" y="0"/>
                      </a:lnTo>
                    </a:path>
                  </a:pathLst>
                </a:custGeom>
                <a:grpFill/>
                <a:ln w="6350" cap="flat">
                  <a:solidFill>
                    <a:schemeClr val="bg1">
                      <a:alpha val="80000"/>
                    </a:schemeClr>
                  </a:solidFill>
                  <a:prstDash val="solid"/>
                  <a:miter/>
                </a:ln>
              </p:spPr>
              <p:txBody>
                <a:bodyPr rtlCol="0" anchor="ctr"/>
                <a:lstStyle/>
                <a:p>
                  <a:endParaRPr lang="en-GB"/>
                </a:p>
              </p:txBody>
            </p:sp>
            <p:sp>
              <p:nvSpPr>
                <p:cNvPr id="8950" name="Vrije vorm: vorm 8949">
                  <a:extLst>
                    <a:ext uri="{FF2B5EF4-FFF2-40B4-BE49-F238E27FC236}">
                      <a16:creationId xmlns:a16="http://schemas.microsoft.com/office/drawing/2014/main" id="{3133F908-3813-4F1A-A41D-B89F9E928AE8}"/>
                    </a:ext>
                  </a:extLst>
                </p:cNvPr>
                <p:cNvSpPr/>
                <p:nvPr/>
              </p:nvSpPr>
              <p:spPr>
                <a:xfrm>
                  <a:off x="4270434" y="2779640"/>
                  <a:ext cx="4605" cy="58371"/>
                </a:xfrm>
                <a:custGeom>
                  <a:avLst/>
                  <a:gdLst>
                    <a:gd name="connsiteX0" fmla="*/ 0 w 4605"/>
                    <a:gd name="connsiteY0" fmla="*/ 58372 h 58371"/>
                    <a:gd name="connsiteX1" fmla="*/ 4605 w 4605"/>
                    <a:gd name="connsiteY1" fmla="*/ 0 h 58371"/>
                  </a:gdLst>
                  <a:ahLst/>
                  <a:cxnLst>
                    <a:cxn ang="0">
                      <a:pos x="connsiteX0" y="connsiteY0"/>
                    </a:cxn>
                    <a:cxn ang="0">
                      <a:pos x="connsiteX1" y="connsiteY1"/>
                    </a:cxn>
                  </a:cxnLst>
                  <a:rect l="l" t="t" r="r" b="b"/>
                  <a:pathLst>
                    <a:path w="4605" h="58371">
                      <a:moveTo>
                        <a:pt x="0" y="58372"/>
                      </a:moveTo>
                      <a:lnTo>
                        <a:pt x="4605" y="0"/>
                      </a:lnTo>
                    </a:path>
                  </a:pathLst>
                </a:custGeom>
                <a:grpFill/>
                <a:ln w="6350" cap="flat">
                  <a:solidFill>
                    <a:schemeClr val="bg1">
                      <a:alpha val="80000"/>
                    </a:schemeClr>
                  </a:solidFill>
                  <a:prstDash val="solid"/>
                  <a:miter/>
                </a:ln>
              </p:spPr>
              <p:txBody>
                <a:bodyPr rtlCol="0" anchor="ctr"/>
                <a:lstStyle/>
                <a:p>
                  <a:endParaRPr lang="en-GB"/>
                </a:p>
              </p:txBody>
            </p:sp>
            <p:sp>
              <p:nvSpPr>
                <p:cNvPr id="8951" name="Vrije vorm: vorm 8950">
                  <a:extLst>
                    <a:ext uri="{FF2B5EF4-FFF2-40B4-BE49-F238E27FC236}">
                      <a16:creationId xmlns:a16="http://schemas.microsoft.com/office/drawing/2014/main" id="{80D879BF-9543-439B-B98F-D316CCE40788}"/>
                    </a:ext>
                  </a:extLst>
                </p:cNvPr>
                <p:cNvSpPr/>
                <p:nvPr/>
              </p:nvSpPr>
              <p:spPr>
                <a:xfrm>
                  <a:off x="4260207" y="2780178"/>
                  <a:ext cx="13576" cy="40489"/>
                </a:xfrm>
                <a:custGeom>
                  <a:avLst/>
                  <a:gdLst>
                    <a:gd name="connsiteX0" fmla="*/ 13576 w 13576"/>
                    <a:gd name="connsiteY0" fmla="*/ 0 h 40489"/>
                    <a:gd name="connsiteX1" fmla="*/ 0 w 13576"/>
                    <a:gd name="connsiteY1" fmla="*/ 40490 h 40489"/>
                  </a:gdLst>
                  <a:ahLst/>
                  <a:cxnLst>
                    <a:cxn ang="0">
                      <a:pos x="connsiteX0" y="connsiteY0"/>
                    </a:cxn>
                    <a:cxn ang="0">
                      <a:pos x="connsiteX1" y="connsiteY1"/>
                    </a:cxn>
                  </a:cxnLst>
                  <a:rect l="l" t="t" r="r" b="b"/>
                  <a:pathLst>
                    <a:path w="13576" h="40489">
                      <a:moveTo>
                        <a:pt x="13576" y="0"/>
                      </a:moveTo>
                      <a:lnTo>
                        <a:pt x="0" y="40490"/>
                      </a:lnTo>
                    </a:path>
                  </a:pathLst>
                </a:custGeom>
                <a:grpFill/>
                <a:ln w="6350" cap="flat">
                  <a:solidFill>
                    <a:schemeClr val="bg1">
                      <a:alpha val="80000"/>
                    </a:schemeClr>
                  </a:solidFill>
                  <a:prstDash val="solid"/>
                  <a:miter/>
                </a:ln>
              </p:spPr>
              <p:txBody>
                <a:bodyPr rtlCol="0" anchor="ctr"/>
                <a:lstStyle/>
                <a:p>
                  <a:endParaRPr lang="en-GB"/>
                </a:p>
              </p:txBody>
            </p:sp>
            <p:sp>
              <p:nvSpPr>
                <p:cNvPr id="8952" name="Vrije vorm: vorm 8951">
                  <a:extLst>
                    <a:ext uri="{FF2B5EF4-FFF2-40B4-BE49-F238E27FC236}">
                      <a16:creationId xmlns:a16="http://schemas.microsoft.com/office/drawing/2014/main" id="{8D7D35AB-2EF5-4EA4-898D-49F916EA9F0C}"/>
                    </a:ext>
                  </a:extLst>
                </p:cNvPr>
                <p:cNvSpPr/>
                <p:nvPr/>
              </p:nvSpPr>
              <p:spPr>
                <a:xfrm>
                  <a:off x="4258772" y="2781255"/>
                  <a:ext cx="12798" cy="39412"/>
                </a:xfrm>
                <a:custGeom>
                  <a:avLst/>
                  <a:gdLst>
                    <a:gd name="connsiteX0" fmla="*/ 12799 w 12798"/>
                    <a:gd name="connsiteY0" fmla="*/ 0 h 39412"/>
                    <a:gd name="connsiteX1" fmla="*/ 0 w 12798"/>
                    <a:gd name="connsiteY1" fmla="*/ 39413 h 39412"/>
                  </a:gdLst>
                  <a:ahLst/>
                  <a:cxnLst>
                    <a:cxn ang="0">
                      <a:pos x="connsiteX0" y="connsiteY0"/>
                    </a:cxn>
                    <a:cxn ang="0">
                      <a:pos x="connsiteX1" y="connsiteY1"/>
                    </a:cxn>
                  </a:cxnLst>
                  <a:rect l="l" t="t" r="r" b="b"/>
                  <a:pathLst>
                    <a:path w="12798" h="39412">
                      <a:moveTo>
                        <a:pt x="12799" y="0"/>
                      </a:moveTo>
                      <a:lnTo>
                        <a:pt x="0" y="39413"/>
                      </a:lnTo>
                    </a:path>
                  </a:pathLst>
                </a:custGeom>
                <a:grpFill/>
                <a:ln w="6350" cap="flat">
                  <a:solidFill>
                    <a:schemeClr val="bg1">
                      <a:alpha val="80000"/>
                    </a:schemeClr>
                  </a:solidFill>
                  <a:prstDash val="solid"/>
                  <a:miter/>
                </a:ln>
              </p:spPr>
              <p:txBody>
                <a:bodyPr rtlCol="0" anchor="ctr"/>
                <a:lstStyle/>
                <a:p>
                  <a:endParaRPr lang="en-GB"/>
                </a:p>
              </p:txBody>
            </p:sp>
            <p:sp>
              <p:nvSpPr>
                <p:cNvPr id="8953" name="Vrije vorm: vorm 8952">
                  <a:extLst>
                    <a:ext uri="{FF2B5EF4-FFF2-40B4-BE49-F238E27FC236}">
                      <a16:creationId xmlns:a16="http://schemas.microsoft.com/office/drawing/2014/main" id="{EFFB37BA-2841-4716-9173-8099EE9BFFBA}"/>
                    </a:ext>
                  </a:extLst>
                </p:cNvPr>
                <p:cNvSpPr/>
                <p:nvPr/>
              </p:nvSpPr>
              <p:spPr>
                <a:xfrm>
                  <a:off x="4255243" y="2826589"/>
                  <a:ext cx="3887" cy="56278"/>
                </a:xfrm>
                <a:custGeom>
                  <a:avLst/>
                  <a:gdLst>
                    <a:gd name="connsiteX0" fmla="*/ 0 w 3887"/>
                    <a:gd name="connsiteY0" fmla="*/ 56279 h 56278"/>
                    <a:gd name="connsiteX1" fmla="*/ 3887 w 3887"/>
                    <a:gd name="connsiteY1" fmla="*/ 0 h 56278"/>
                  </a:gdLst>
                  <a:ahLst/>
                  <a:cxnLst>
                    <a:cxn ang="0">
                      <a:pos x="connsiteX0" y="connsiteY0"/>
                    </a:cxn>
                    <a:cxn ang="0">
                      <a:pos x="connsiteX1" y="connsiteY1"/>
                    </a:cxn>
                  </a:cxnLst>
                  <a:rect l="l" t="t" r="r" b="b"/>
                  <a:pathLst>
                    <a:path w="3887" h="56278">
                      <a:moveTo>
                        <a:pt x="0" y="56279"/>
                      </a:moveTo>
                      <a:lnTo>
                        <a:pt x="3887" y="0"/>
                      </a:lnTo>
                    </a:path>
                  </a:pathLst>
                </a:custGeom>
                <a:grpFill/>
                <a:ln w="6350" cap="flat">
                  <a:solidFill>
                    <a:schemeClr val="bg1">
                      <a:alpha val="80000"/>
                    </a:schemeClr>
                  </a:solidFill>
                  <a:prstDash val="solid"/>
                  <a:miter/>
                </a:ln>
              </p:spPr>
              <p:txBody>
                <a:bodyPr rtlCol="0" anchor="ctr"/>
                <a:lstStyle/>
                <a:p>
                  <a:endParaRPr lang="en-GB"/>
                </a:p>
              </p:txBody>
            </p:sp>
            <p:sp>
              <p:nvSpPr>
                <p:cNvPr id="8954" name="Vrije vorm: vorm 8953">
                  <a:extLst>
                    <a:ext uri="{FF2B5EF4-FFF2-40B4-BE49-F238E27FC236}">
                      <a16:creationId xmlns:a16="http://schemas.microsoft.com/office/drawing/2014/main" id="{E1EBC1D5-6321-4128-86B9-F0F8E46619C0}"/>
                    </a:ext>
                  </a:extLst>
                </p:cNvPr>
                <p:cNvSpPr/>
                <p:nvPr/>
              </p:nvSpPr>
              <p:spPr>
                <a:xfrm>
                  <a:off x="4253389" y="2826409"/>
                  <a:ext cx="4306" cy="57235"/>
                </a:xfrm>
                <a:custGeom>
                  <a:avLst/>
                  <a:gdLst>
                    <a:gd name="connsiteX0" fmla="*/ 0 w 4306"/>
                    <a:gd name="connsiteY0" fmla="*/ 57236 h 57235"/>
                    <a:gd name="connsiteX1" fmla="*/ 4306 w 4306"/>
                    <a:gd name="connsiteY1" fmla="*/ 0 h 57235"/>
                  </a:gdLst>
                  <a:ahLst/>
                  <a:cxnLst>
                    <a:cxn ang="0">
                      <a:pos x="connsiteX0" y="connsiteY0"/>
                    </a:cxn>
                    <a:cxn ang="0">
                      <a:pos x="connsiteX1" y="connsiteY1"/>
                    </a:cxn>
                  </a:cxnLst>
                  <a:rect l="l" t="t" r="r" b="b"/>
                  <a:pathLst>
                    <a:path w="4306" h="57235">
                      <a:moveTo>
                        <a:pt x="0" y="57236"/>
                      </a:moveTo>
                      <a:lnTo>
                        <a:pt x="4306" y="0"/>
                      </a:lnTo>
                    </a:path>
                  </a:pathLst>
                </a:custGeom>
                <a:grpFill/>
                <a:ln w="6350" cap="flat">
                  <a:solidFill>
                    <a:schemeClr val="bg1">
                      <a:alpha val="80000"/>
                    </a:schemeClr>
                  </a:solidFill>
                  <a:prstDash val="solid"/>
                  <a:miter/>
                </a:ln>
              </p:spPr>
              <p:txBody>
                <a:bodyPr rtlCol="0" anchor="ctr"/>
                <a:lstStyle/>
                <a:p>
                  <a:endParaRPr lang="en-GB"/>
                </a:p>
              </p:txBody>
            </p:sp>
          </p:grpSp>
          <p:grpSp>
            <p:nvGrpSpPr>
              <p:cNvPr id="8932" name="Graphic 3">
                <a:extLst>
                  <a:ext uri="{FF2B5EF4-FFF2-40B4-BE49-F238E27FC236}">
                    <a16:creationId xmlns:a16="http://schemas.microsoft.com/office/drawing/2014/main" id="{B3AF1001-261C-4C13-9568-2DB98609C134}"/>
                  </a:ext>
                </a:extLst>
              </p:cNvPr>
              <p:cNvGrpSpPr/>
              <p:nvPr/>
            </p:nvGrpSpPr>
            <p:grpSpPr>
              <a:xfrm>
                <a:off x="4161406" y="2785501"/>
                <a:ext cx="12380" cy="45573"/>
                <a:chOff x="4161406" y="2785501"/>
                <a:chExt cx="12380" cy="45573"/>
              </a:xfrm>
              <a:grpFill/>
            </p:grpSpPr>
            <p:sp>
              <p:nvSpPr>
                <p:cNvPr id="8944" name="Vrije vorm: vorm 8943">
                  <a:extLst>
                    <a:ext uri="{FF2B5EF4-FFF2-40B4-BE49-F238E27FC236}">
                      <a16:creationId xmlns:a16="http://schemas.microsoft.com/office/drawing/2014/main" id="{927BFE82-C23B-4810-A18B-D089FB9CD8FE}"/>
                    </a:ext>
                  </a:extLst>
                </p:cNvPr>
                <p:cNvSpPr/>
                <p:nvPr/>
              </p:nvSpPr>
              <p:spPr>
                <a:xfrm>
                  <a:off x="4171453" y="2785501"/>
                  <a:ext cx="2332" cy="38396"/>
                </a:xfrm>
                <a:custGeom>
                  <a:avLst/>
                  <a:gdLst>
                    <a:gd name="connsiteX0" fmla="*/ 0 w 2332"/>
                    <a:gd name="connsiteY0" fmla="*/ 38396 h 38396"/>
                    <a:gd name="connsiteX1" fmla="*/ 2332 w 2332"/>
                    <a:gd name="connsiteY1" fmla="*/ 0 h 38396"/>
                  </a:gdLst>
                  <a:ahLst/>
                  <a:cxnLst>
                    <a:cxn ang="0">
                      <a:pos x="connsiteX0" y="connsiteY0"/>
                    </a:cxn>
                    <a:cxn ang="0">
                      <a:pos x="connsiteX1" y="connsiteY1"/>
                    </a:cxn>
                  </a:cxnLst>
                  <a:rect l="l" t="t" r="r" b="b"/>
                  <a:pathLst>
                    <a:path w="2332" h="38396">
                      <a:moveTo>
                        <a:pt x="0" y="38396"/>
                      </a:moveTo>
                      <a:lnTo>
                        <a:pt x="2332" y="0"/>
                      </a:lnTo>
                    </a:path>
                  </a:pathLst>
                </a:custGeom>
                <a:grpFill/>
                <a:ln w="6350" cap="flat">
                  <a:solidFill>
                    <a:schemeClr val="bg1">
                      <a:alpha val="80000"/>
                    </a:schemeClr>
                  </a:solidFill>
                  <a:prstDash val="solid"/>
                  <a:miter/>
                </a:ln>
              </p:spPr>
              <p:txBody>
                <a:bodyPr rtlCol="0" anchor="ctr"/>
                <a:lstStyle/>
                <a:p>
                  <a:endParaRPr lang="en-GB"/>
                </a:p>
              </p:txBody>
            </p:sp>
            <p:sp>
              <p:nvSpPr>
                <p:cNvPr id="8945" name="Vrije vorm: vorm 8944">
                  <a:extLst>
                    <a:ext uri="{FF2B5EF4-FFF2-40B4-BE49-F238E27FC236}">
                      <a16:creationId xmlns:a16="http://schemas.microsoft.com/office/drawing/2014/main" id="{42B8427A-50A1-41AB-8695-2EFEF89359BA}"/>
                    </a:ext>
                  </a:extLst>
                </p:cNvPr>
                <p:cNvSpPr/>
                <p:nvPr/>
              </p:nvSpPr>
              <p:spPr>
                <a:xfrm>
                  <a:off x="4163020" y="2786219"/>
                  <a:ext cx="9150" cy="26315"/>
                </a:xfrm>
                <a:custGeom>
                  <a:avLst/>
                  <a:gdLst>
                    <a:gd name="connsiteX0" fmla="*/ 9151 w 9150"/>
                    <a:gd name="connsiteY0" fmla="*/ 0 h 26315"/>
                    <a:gd name="connsiteX1" fmla="*/ 0 w 9150"/>
                    <a:gd name="connsiteY1" fmla="*/ 26315 h 26315"/>
                  </a:gdLst>
                  <a:ahLst/>
                  <a:cxnLst>
                    <a:cxn ang="0">
                      <a:pos x="connsiteX0" y="connsiteY0"/>
                    </a:cxn>
                    <a:cxn ang="0">
                      <a:pos x="connsiteX1" y="connsiteY1"/>
                    </a:cxn>
                  </a:cxnLst>
                  <a:rect l="l" t="t" r="r" b="b"/>
                  <a:pathLst>
                    <a:path w="9150" h="26315">
                      <a:moveTo>
                        <a:pt x="9151" y="0"/>
                      </a:moveTo>
                      <a:lnTo>
                        <a:pt x="0" y="26315"/>
                      </a:lnTo>
                    </a:path>
                  </a:pathLst>
                </a:custGeom>
                <a:grpFill/>
                <a:ln w="6350" cap="flat">
                  <a:solidFill>
                    <a:schemeClr val="bg1">
                      <a:alpha val="80000"/>
                    </a:schemeClr>
                  </a:solidFill>
                  <a:prstDash val="solid"/>
                  <a:miter/>
                </a:ln>
              </p:spPr>
              <p:txBody>
                <a:bodyPr rtlCol="0" anchor="ctr"/>
                <a:lstStyle/>
                <a:p>
                  <a:endParaRPr lang="en-GB"/>
                </a:p>
              </p:txBody>
            </p:sp>
            <p:sp>
              <p:nvSpPr>
                <p:cNvPr id="8946" name="Vrije vorm: vorm 8945">
                  <a:extLst>
                    <a:ext uri="{FF2B5EF4-FFF2-40B4-BE49-F238E27FC236}">
                      <a16:creationId xmlns:a16="http://schemas.microsoft.com/office/drawing/2014/main" id="{DB70E5E7-1D3A-4755-99B5-8E4C165F5992}"/>
                    </a:ext>
                  </a:extLst>
                </p:cNvPr>
                <p:cNvSpPr/>
                <p:nvPr/>
              </p:nvSpPr>
              <p:spPr>
                <a:xfrm>
                  <a:off x="4161406" y="2816362"/>
                  <a:ext cx="897" cy="14712"/>
                </a:xfrm>
                <a:custGeom>
                  <a:avLst/>
                  <a:gdLst>
                    <a:gd name="connsiteX0" fmla="*/ 0 w 897"/>
                    <a:gd name="connsiteY0" fmla="*/ 14713 h 14712"/>
                    <a:gd name="connsiteX1" fmla="*/ 897 w 897"/>
                    <a:gd name="connsiteY1" fmla="*/ 0 h 14712"/>
                  </a:gdLst>
                  <a:ahLst/>
                  <a:cxnLst>
                    <a:cxn ang="0">
                      <a:pos x="connsiteX0" y="connsiteY0"/>
                    </a:cxn>
                    <a:cxn ang="0">
                      <a:pos x="connsiteX1" y="connsiteY1"/>
                    </a:cxn>
                  </a:cxnLst>
                  <a:rect l="l" t="t" r="r" b="b"/>
                  <a:pathLst>
                    <a:path w="897" h="14712">
                      <a:moveTo>
                        <a:pt x="0" y="14713"/>
                      </a:moveTo>
                      <a:lnTo>
                        <a:pt x="897" y="0"/>
                      </a:lnTo>
                    </a:path>
                  </a:pathLst>
                </a:custGeom>
                <a:grpFill/>
                <a:ln w="6350" cap="flat">
                  <a:solidFill>
                    <a:schemeClr val="bg1">
                      <a:alpha val="80000"/>
                    </a:schemeClr>
                  </a:solidFill>
                  <a:prstDash val="solid"/>
                  <a:miter/>
                </a:ln>
              </p:spPr>
              <p:txBody>
                <a:bodyPr rtlCol="0" anchor="ctr"/>
                <a:lstStyle/>
                <a:p>
                  <a:endParaRPr lang="en-GB"/>
                </a:p>
              </p:txBody>
            </p:sp>
          </p:grpSp>
          <p:grpSp>
            <p:nvGrpSpPr>
              <p:cNvPr id="8933" name="Graphic 3">
                <a:extLst>
                  <a:ext uri="{FF2B5EF4-FFF2-40B4-BE49-F238E27FC236}">
                    <a16:creationId xmlns:a16="http://schemas.microsoft.com/office/drawing/2014/main" id="{0E6342A6-5432-44F5-875A-886589724AFA}"/>
                  </a:ext>
                </a:extLst>
              </p:cNvPr>
              <p:cNvGrpSpPr/>
              <p:nvPr/>
            </p:nvGrpSpPr>
            <p:grpSpPr>
              <a:xfrm>
                <a:off x="4107400" y="2789269"/>
                <a:ext cx="12140" cy="30980"/>
                <a:chOff x="4107400" y="2789269"/>
                <a:chExt cx="12140" cy="30980"/>
              </a:xfrm>
              <a:grpFill/>
            </p:grpSpPr>
            <p:sp>
              <p:nvSpPr>
                <p:cNvPr id="8940" name="Vrije vorm: vorm 8939">
                  <a:extLst>
                    <a:ext uri="{FF2B5EF4-FFF2-40B4-BE49-F238E27FC236}">
                      <a16:creationId xmlns:a16="http://schemas.microsoft.com/office/drawing/2014/main" id="{0D109438-5087-4456-9F95-C3983972B878}"/>
                    </a:ext>
                  </a:extLst>
                </p:cNvPr>
                <p:cNvSpPr/>
                <p:nvPr/>
              </p:nvSpPr>
              <p:spPr>
                <a:xfrm>
                  <a:off x="4109672" y="2809185"/>
                  <a:ext cx="7595" cy="11064"/>
                </a:xfrm>
                <a:custGeom>
                  <a:avLst/>
                  <a:gdLst>
                    <a:gd name="connsiteX0" fmla="*/ 0 w 7595"/>
                    <a:gd name="connsiteY0" fmla="*/ 11064 h 11064"/>
                    <a:gd name="connsiteX1" fmla="*/ 7595 w 7595"/>
                    <a:gd name="connsiteY1" fmla="*/ 0 h 11064"/>
                  </a:gdLst>
                  <a:ahLst/>
                  <a:cxnLst>
                    <a:cxn ang="0">
                      <a:pos x="connsiteX0" y="connsiteY0"/>
                    </a:cxn>
                    <a:cxn ang="0">
                      <a:pos x="connsiteX1" y="connsiteY1"/>
                    </a:cxn>
                  </a:cxnLst>
                  <a:rect l="l" t="t" r="r" b="b"/>
                  <a:pathLst>
                    <a:path w="7595" h="11064">
                      <a:moveTo>
                        <a:pt x="0" y="11064"/>
                      </a:moveTo>
                      <a:lnTo>
                        <a:pt x="7595" y="0"/>
                      </a:lnTo>
                    </a:path>
                  </a:pathLst>
                </a:custGeom>
                <a:grpFill/>
                <a:ln w="6350" cap="flat">
                  <a:solidFill>
                    <a:schemeClr val="bg1">
                      <a:alpha val="80000"/>
                    </a:schemeClr>
                  </a:solidFill>
                  <a:prstDash val="solid"/>
                  <a:miter/>
                </a:ln>
              </p:spPr>
              <p:txBody>
                <a:bodyPr rtlCol="0" anchor="ctr"/>
                <a:lstStyle/>
                <a:p>
                  <a:endParaRPr lang="en-GB"/>
                </a:p>
              </p:txBody>
            </p:sp>
            <p:sp>
              <p:nvSpPr>
                <p:cNvPr id="8941" name="Vrije vorm: vorm 8940">
                  <a:extLst>
                    <a:ext uri="{FF2B5EF4-FFF2-40B4-BE49-F238E27FC236}">
                      <a16:creationId xmlns:a16="http://schemas.microsoft.com/office/drawing/2014/main" id="{DEC3DD2D-6865-4EF1-8A12-F71EA115D8E5}"/>
                    </a:ext>
                  </a:extLst>
                </p:cNvPr>
                <p:cNvSpPr/>
                <p:nvPr/>
              </p:nvSpPr>
              <p:spPr>
                <a:xfrm>
                  <a:off x="4117148" y="2789269"/>
                  <a:ext cx="2392" cy="18301"/>
                </a:xfrm>
                <a:custGeom>
                  <a:avLst/>
                  <a:gdLst>
                    <a:gd name="connsiteX0" fmla="*/ 2392 w 2392"/>
                    <a:gd name="connsiteY0" fmla="*/ 18301 h 18301"/>
                    <a:gd name="connsiteX1" fmla="*/ 0 w 2392"/>
                    <a:gd name="connsiteY1" fmla="*/ 0 h 18301"/>
                  </a:gdLst>
                  <a:ahLst/>
                  <a:cxnLst>
                    <a:cxn ang="0">
                      <a:pos x="connsiteX0" y="connsiteY0"/>
                    </a:cxn>
                    <a:cxn ang="0">
                      <a:pos x="connsiteX1" y="connsiteY1"/>
                    </a:cxn>
                  </a:cxnLst>
                  <a:rect l="l" t="t" r="r" b="b"/>
                  <a:pathLst>
                    <a:path w="2392" h="18301">
                      <a:moveTo>
                        <a:pt x="2392" y="18301"/>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8942" name="Vrije vorm: vorm 8941">
                  <a:extLst>
                    <a:ext uri="{FF2B5EF4-FFF2-40B4-BE49-F238E27FC236}">
                      <a16:creationId xmlns:a16="http://schemas.microsoft.com/office/drawing/2014/main" id="{ED6C67FB-2754-4990-B9BE-B9C5E3858DB7}"/>
                    </a:ext>
                  </a:extLst>
                </p:cNvPr>
                <p:cNvSpPr/>
                <p:nvPr/>
              </p:nvSpPr>
              <p:spPr>
                <a:xfrm>
                  <a:off x="4107699" y="2789389"/>
                  <a:ext cx="7595" cy="11542"/>
                </a:xfrm>
                <a:custGeom>
                  <a:avLst/>
                  <a:gdLst>
                    <a:gd name="connsiteX0" fmla="*/ 7596 w 7595"/>
                    <a:gd name="connsiteY0" fmla="*/ 0 h 11542"/>
                    <a:gd name="connsiteX1" fmla="*/ 0 w 7595"/>
                    <a:gd name="connsiteY1" fmla="*/ 11543 h 11542"/>
                  </a:gdLst>
                  <a:ahLst/>
                  <a:cxnLst>
                    <a:cxn ang="0">
                      <a:pos x="connsiteX0" y="connsiteY0"/>
                    </a:cxn>
                    <a:cxn ang="0">
                      <a:pos x="connsiteX1" y="connsiteY1"/>
                    </a:cxn>
                  </a:cxnLst>
                  <a:rect l="l" t="t" r="r" b="b"/>
                  <a:pathLst>
                    <a:path w="7595" h="11542">
                      <a:moveTo>
                        <a:pt x="7596" y="0"/>
                      </a:moveTo>
                      <a:lnTo>
                        <a:pt x="0" y="11543"/>
                      </a:lnTo>
                    </a:path>
                  </a:pathLst>
                </a:custGeom>
                <a:grpFill/>
                <a:ln w="6350" cap="flat">
                  <a:solidFill>
                    <a:schemeClr val="bg1">
                      <a:alpha val="80000"/>
                    </a:schemeClr>
                  </a:solidFill>
                  <a:prstDash val="solid"/>
                  <a:miter/>
                </a:ln>
              </p:spPr>
              <p:txBody>
                <a:bodyPr rtlCol="0" anchor="ctr"/>
                <a:lstStyle/>
                <a:p>
                  <a:endParaRPr lang="en-GB"/>
                </a:p>
              </p:txBody>
            </p:sp>
            <p:sp>
              <p:nvSpPr>
                <p:cNvPr id="8943" name="Vrije vorm: vorm 8942">
                  <a:extLst>
                    <a:ext uri="{FF2B5EF4-FFF2-40B4-BE49-F238E27FC236}">
                      <a16:creationId xmlns:a16="http://schemas.microsoft.com/office/drawing/2014/main" id="{550C39AB-8137-41DC-ABCA-78A13B9131DD}"/>
                    </a:ext>
                  </a:extLst>
                </p:cNvPr>
                <p:cNvSpPr/>
                <p:nvPr/>
              </p:nvSpPr>
              <p:spPr>
                <a:xfrm>
                  <a:off x="4107400" y="2802666"/>
                  <a:ext cx="2272" cy="17583"/>
                </a:xfrm>
                <a:custGeom>
                  <a:avLst/>
                  <a:gdLst>
                    <a:gd name="connsiteX0" fmla="*/ 2273 w 2272"/>
                    <a:gd name="connsiteY0" fmla="*/ 17583 h 17583"/>
                    <a:gd name="connsiteX1" fmla="*/ 0 w 2272"/>
                    <a:gd name="connsiteY1" fmla="*/ 0 h 17583"/>
                  </a:gdLst>
                  <a:ahLst/>
                  <a:cxnLst>
                    <a:cxn ang="0">
                      <a:pos x="connsiteX0" y="connsiteY0"/>
                    </a:cxn>
                    <a:cxn ang="0">
                      <a:pos x="connsiteX1" y="connsiteY1"/>
                    </a:cxn>
                  </a:cxnLst>
                  <a:rect l="l" t="t" r="r" b="b"/>
                  <a:pathLst>
                    <a:path w="2272" h="17583">
                      <a:moveTo>
                        <a:pt x="2273" y="17583"/>
                      </a:moveTo>
                      <a:lnTo>
                        <a:pt x="0" y="0"/>
                      </a:lnTo>
                    </a:path>
                  </a:pathLst>
                </a:custGeom>
                <a:grpFill/>
                <a:ln w="6350" cap="flat">
                  <a:solidFill>
                    <a:schemeClr val="bg1">
                      <a:alpha val="80000"/>
                    </a:schemeClr>
                  </a:solidFill>
                  <a:prstDash val="solid"/>
                  <a:miter/>
                </a:ln>
              </p:spPr>
              <p:txBody>
                <a:bodyPr rtlCol="0" anchor="ctr"/>
                <a:lstStyle/>
                <a:p>
                  <a:endParaRPr lang="en-GB"/>
                </a:p>
              </p:txBody>
            </p:sp>
          </p:grpSp>
          <p:sp>
            <p:nvSpPr>
              <p:cNvPr id="8934" name="Vrije vorm: vorm 8933">
                <a:extLst>
                  <a:ext uri="{FF2B5EF4-FFF2-40B4-BE49-F238E27FC236}">
                    <a16:creationId xmlns:a16="http://schemas.microsoft.com/office/drawing/2014/main" id="{A9DF8309-2358-4D0A-AA5B-50E0E44DD46F}"/>
                  </a:ext>
                </a:extLst>
              </p:cNvPr>
              <p:cNvSpPr/>
              <p:nvPr/>
            </p:nvSpPr>
            <p:spPr>
              <a:xfrm>
                <a:off x="4044542" y="2812594"/>
                <a:ext cx="48743" cy="18729"/>
              </a:xfrm>
              <a:custGeom>
                <a:avLst/>
                <a:gdLst>
                  <a:gd name="connsiteX0" fmla="*/ 48743 w 48743"/>
                  <a:gd name="connsiteY0" fmla="*/ 13098 h 18729"/>
                  <a:gd name="connsiteX1" fmla="*/ 24162 w 48743"/>
                  <a:gd name="connsiteY1" fmla="*/ 18181 h 18729"/>
                  <a:gd name="connsiteX2" fmla="*/ 0 w 48743"/>
                  <a:gd name="connsiteY2" fmla="*/ 0 h 18729"/>
                </a:gdLst>
                <a:ahLst/>
                <a:cxnLst>
                  <a:cxn ang="0">
                    <a:pos x="connsiteX0" y="connsiteY0"/>
                  </a:cxn>
                  <a:cxn ang="0">
                    <a:pos x="connsiteX1" y="connsiteY1"/>
                  </a:cxn>
                  <a:cxn ang="0">
                    <a:pos x="connsiteX2" y="connsiteY2"/>
                  </a:cxn>
                </a:cxnLst>
                <a:rect l="l" t="t" r="r" b="b"/>
                <a:pathLst>
                  <a:path w="48743" h="18729">
                    <a:moveTo>
                      <a:pt x="48743" y="13098"/>
                    </a:moveTo>
                    <a:cubicBezTo>
                      <a:pt x="41745" y="17763"/>
                      <a:pt x="33074" y="19796"/>
                      <a:pt x="24162" y="18181"/>
                    </a:cubicBezTo>
                    <a:cubicBezTo>
                      <a:pt x="13277" y="16208"/>
                      <a:pt x="4605" y="9210"/>
                      <a:pt x="0" y="0"/>
                    </a:cubicBezTo>
                  </a:path>
                </a:pathLst>
              </a:custGeom>
              <a:grpFill/>
              <a:ln w="6350" cap="flat">
                <a:solidFill>
                  <a:schemeClr val="bg1">
                    <a:alpha val="80000"/>
                  </a:schemeClr>
                </a:solidFill>
                <a:prstDash val="solid"/>
                <a:miter/>
              </a:ln>
            </p:spPr>
            <p:txBody>
              <a:bodyPr rtlCol="0" anchor="ctr"/>
              <a:lstStyle/>
              <a:p>
                <a:endParaRPr lang="en-GB"/>
              </a:p>
            </p:txBody>
          </p:sp>
          <p:sp>
            <p:nvSpPr>
              <p:cNvPr id="8935" name="Vrije vorm: vorm 8934">
                <a:extLst>
                  <a:ext uri="{FF2B5EF4-FFF2-40B4-BE49-F238E27FC236}">
                    <a16:creationId xmlns:a16="http://schemas.microsoft.com/office/drawing/2014/main" id="{F90E47C9-9E27-4401-A5F9-11FE696FC5E2}"/>
                  </a:ext>
                </a:extLst>
              </p:cNvPr>
              <p:cNvSpPr/>
              <p:nvPr/>
            </p:nvSpPr>
            <p:spPr>
              <a:xfrm>
                <a:off x="4052138" y="2764209"/>
                <a:ext cx="49699" cy="13876"/>
              </a:xfrm>
              <a:custGeom>
                <a:avLst/>
                <a:gdLst>
                  <a:gd name="connsiteX0" fmla="*/ 0 w 49699"/>
                  <a:gd name="connsiteY0" fmla="*/ 8673 h 13876"/>
                  <a:gd name="connsiteX1" fmla="*/ 28468 w 49699"/>
                  <a:gd name="connsiteY1" fmla="*/ 539 h 13876"/>
                  <a:gd name="connsiteX2" fmla="*/ 49700 w 49699"/>
                  <a:gd name="connsiteY2" fmla="*/ 13876 h 13876"/>
                </a:gdLst>
                <a:ahLst/>
                <a:cxnLst>
                  <a:cxn ang="0">
                    <a:pos x="connsiteX0" y="connsiteY0"/>
                  </a:cxn>
                  <a:cxn ang="0">
                    <a:pos x="connsiteX1" y="connsiteY1"/>
                  </a:cxn>
                  <a:cxn ang="0">
                    <a:pos x="connsiteX2" y="connsiteY2"/>
                  </a:cxn>
                </a:cxnLst>
                <a:rect l="l" t="t" r="r" b="b"/>
                <a:pathLst>
                  <a:path w="49699" h="13876">
                    <a:moveTo>
                      <a:pt x="0" y="8673"/>
                    </a:moveTo>
                    <a:cubicBezTo>
                      <a:pt x="7476" y="1915"/>
                      <a:pt x="17822" y="-1375"/>
                      <a:pt x="28468" y="539"/>
                    </a:cubicBezTo>
                    <a:cubicBezTo>
                      <a:pt x="37380" y="2154"/>
                      <a:pt x="44796" y="7118"/>
                      <a:pt x="49700" y="13876"/>
                    </a:cubicBezTo>
                  </a:path>
                </a:pathLst>
              </a:custGeom>
              <a:grpFill/>
              <a:ln w="6350" cap="flat">
                <a:solidFill>
                  <a:schemeClr val="bg1">
                    <a:alpha val="80000"/>
                  </a:schemeClr>
                </a:solidFill>
                <a:prstDash val="solid"/>
                <a:miter/>
              </a:ln>
            </p:spPr>
            <p:txBody>
              <a:bodyPr rtlCol="0" anchor="ctr"/>
              <a:lstStyle/>
              <a:p>
                <a:endParaRPr lang="en-GB"/>
              </a:p>
            </p:txBody>
          </p:sp>
          <p:sp>
            <p:nvSpPr>
              <p:cNvPr id="8936" name="Vrije vorm: vorm 8935">
                <a:extLst>
                  <a:ext uri="{FF2B5EF4-FFF2-40B4-BE49-F238E27FC236}">
                    <a16:creationId xmlns:a16="http://schemas.microsoft.com/office/drawing/2014/main" id="{2CC9626F-B89B-4E8A-80D3-B7F937BB810D}"/>
                  </a:ext>
                </a:extLst>
              </p:cNvPr>
              <p:cNvSpPr/>
              <p:nvPr/>
            </p:nvSpPr>
            <p:spPr>
              <a:xfrm>
                <a:off x="4016314" y="2827905"/>
                <a:ext cx="97425" cy="37358"/>
              </a:xfrm>
              <a:custGeom>
                <a:avLst/>
                <a:gdLst>
                  <a:gd name="connsiteX0" fmla="*/ 97426 w 97425"/>
                  <a:gd name="connsiteY0" fmla="*/ 26076 h 37358"/>
                  <a:gd name="connsiteX1" fmla="*/ 48264 w 97425"/>
                  <a:gd name="connsiteY1" fmla="*/ 36303 h 37358"/>
                  <a:gd name="connsiteX2" fmla="*/ 0 w 97425"/>
                  <a:gd name="connsiteY2" fmla="*/ 0 h 37358"/>
                </a:gdLst>
                <a:ahLst/>
                <a:cxnLst>
                  <a:cxn ang="0">
                    <a:pos x="connsiteX0" y="connsiteY0"/>
                  </a:cxn>
                  <a:cxn ang="0">
                    <a:pos x="connsiteX1" y="connsiteY1"/>
                  </a:cxn>
                  <a:cxn ang="0">
                    <a:pos x="connsiteX2" y="connsiteY2"/>
                  </a:cxn>
                </a:cxnLst>
                <a:rect l="l" t="t" r="r" b="b"/>
                <a:pathLst>
                  <a:path w="97425" h="37358">
                    <a:moveTo>
                      <a:pt x="97426" y="26076"/>
                    </a:moveTo>
                    <a:cubicBezTo>
                      <a:pt x="83491" y="35346"/>
                      <a:pt x="66087" y="39473"/>
                      <a:pt x="48264" y="36303"/>
                    </a:cubicBezTo>
                    <a:cubicBezTo>
                      <a:pt x="26495" y="32356"/>
                      <a:pt x="9090" y="18361"/>
                      <a:pt x="0" y="0"/>
                    </a:cubicBezTo>
                  </a:path>
                </a:pathLst>
              </a:custGeom>
              <a:grpFill/>
              <a:ln w="6350" cap="flat">
                <a:solidFill>
                  <a:schemeClr val="bg1">
                    <a:alpha val="80000"/>
                  </a:schemeClr>
                </a:solidFill>
                <a:prstDash val="solid"/>
                <a:miter/>
              </a:ln>
            </p:spPr>
            <p:txBody>
              <a:bodyPr rtlCol="0" anchor="ctr"/>
              <a:lstStyle/>
              <a:p>
                <a:endParaRPr lang="en-GB"/>
              </a:p>
            </p:txBody>
          </p:sp>
          <p:sp>
            <p:nvSpPr>
              <p:cNvPr id="8937" name="Vrije vorm: vorm 8936">
                <a:extLst>
                  <a:ext uri="{FF2B5EF4-FFF2-40B4-BE49-F238E27FC236}">
                    <a16:creationId xmlns:a16="http://schemas.microsoft.com/office/drawing/2014/main" id="{44002D08-D5A4-47DA-BE96-6AF67844552B}"/>
                  </a:ext>
                </a:extLst>
              </p:cNvPr>
              <p:cNvSpPr/>
              <p:nvPr/>
            </p:nvSpPr>
            <p:spPr>
              <a:xfrm>
                <a:off x="4031445" y="2730906"/>
                <a:ext cx="99399" cy="27741"/>
              </a:xfrm>
              <a:custGeom>
                <a:avLst/>
                <a:gdLst>
                  <a:gd name="connsiteX0" fmla="*/ 0 w 99399"/>
                  <a:gd name="connsiteY0" fmla="*/ 17395 h 27741"/>
                  <a:gd name="connsiteX1" fmla="*/ 56937 w 99399"/>
                  <a:gd name="connsiteY1" fmla="*/ 1068 h 27741"/>
                  <a:gd name="connsiteX2" fmla="*/ 99400 w 99399"/>
                  <a:gd name="connsiteY2" fmla="*/ 27742 h 27741"/>
                </a:gdLst>
                <a:ahLst/>
                <a:cxnLst>
                  <a:cxn ang="0">
                    <a:pos x="connsiteX0" y="connsiteY0"/>
                  </a:cxn>
                  <a:cxn ang="0">
                    <a:pos x="connsiteX1" y="connsiteY1"/>
                  </a:cxn>
                  <a:cxn ang="0">
                    <a:pos x="connsiteX2" y="connsiteY2"/>
                  </a:cxn>
                </a:cxnLst>
                <a:rect l="l" t="t" r="r" b="b"/>
                <a:pathLst>
                  <a:path w="99399" h="27741">
                    <a:moveTo>
                      <a:pt x="0" y="17395"/>
                    </a:moveTo>
                    <a:cubicBezTo>
                      <a:pt x="14892" y="3939"/>
                      <a:pt x="35645" y="-2760"/>
                      <a:pt x="56937" y="1068"/>
                    </a:cubicBezTo>
                    <a:cubicBezTo>
                      <a:pt x="74699" y="4297"/>
                      <a:pt x="89591" y="14165"/>
                      <a:pt x="99400" y="27742"/>
                    </a:cubicBezTo>
                  </a:path>
                </a:pathLst>
              </a:custGeom>
              <a:grpFill/>
              <a:ln w="6350" cap="flat">
                <a:solidFill>
                  <a:schemeClr val="bg1">
                    <a:alpha val="80000"/>
                  </a:schemeClr>
                </a:solidFill>
                <a:prstDash val="solid"/>
                <a:miter/>
              </a:ln>
            </p:spPr>
            <p:txBody>
              <a:bodyPr rtlCol="0" anchor="ctr"/>
              <a:lstStyle/>
              <a:p>
                <a:endParaRPr lang="en-GB"/>
              </a:p>
            </p:txBody>
          </p:sp>
          <p:sp>
            <p:nvSpPr>
              <p:cNvPr id="8938" name="Vrije vorm: vorm 8937">
                <a:extLst>
                  <a:ext uri="{FF2B5EF4-FFF2-40B4-BE49-F238E27FC236}">
                    <a16:creationId xmlns:a16="http://schemas.microsoft.com/office/drawing/2014/main" id="{F8E0A021-3BE3-46FF-BD82-41B2CFAC18BB}"/>
                  </a:ext>
                </a:extLst>
              </p:cNvPr>
              <p:cNvSpPr/>
              <p:nvPr/>
            </p:nvSpPr>
            <p:spPr>
              <a:xfrm>
                <a:off x="3980668" y="2846983"/>
                <a:ext cx="158788" cy="60953"/>
              </a:xfrm>
              <a:custGeom>
                <a:avLst/>
                <a:gdLst>
                  <a:gd name="connsiteX0" fmla="*/ 158788 w 158788"/>
                  <a:gd name="connsiteY0" fmla="*/ 42583 h 60953"/>
                  <a:gd name="connsiteX1" fmla="*/ 78706 w 158788"/>
                  <a:gd name="connsiteY1" fmla="*/ 59209 h 60953"/>
                  <a:gd name="connsiteX2" fmla="*/ 0 w 158788"/>
                  <a:gd name="connsiteY2" fmla="*/ 0 h 60953"/>
                </a:gdLst>
                <a:ahLst/>
                <a:cxnLst>
                  <a:cxn ang="0">
                    <a:pos x="connsiteX0" y="connsiteY0"/>
                  </a:cxn>
                  <a:cxn ang="0">
                    <a:pos x="connsiteX1" y="connsiteY1"/>
                  </a:cxn>
                  <a:cxn ang="0">
                    <a:pos x="connsiteX2" y="connsiteY2"/>
                  </a:cxn>
                </a:cxnLst>
                <a:rect l="l" t="t" r="r" b="b"/>
                <a:pathLst>
                  <a:path w="158788" h="60953">
                    <a:moveTo>
                      <a:pt x="158788" y="42583"/>
                    </a:moveTo>
                    <a:cubicBezTo>
                      <a:pt x="136061" y="57714"/>
                      <a:pt x="107713" y="64412"/>
                      <a:pt x="78706" y="59209"/>
                    </a:cubicBezTo>
                    <a:cubicBezTo>
                      <a:pt x="43241" y="52810"/>
                      <a:pt x="14832" y="30023"/>
                      <a:pt x="0" y="0"/>
                    </a:cubicBezTo>
                  </a:path>
                </a:pathLst>
              </a:custGeom>
              <a:grpFill/>
              <a:ln w="6350" cap="flat">
                <a:solidFill>
                  <a:schemeClr val="bg1">
                    <a:alpha val="80000"/>
                  </a:schemeClr>
                </a:solidFill>
                <a:prstDash val="solid"/>
                <a:miter/>
              </a:ln>
            </p:spPr>
            <p:txBody>
              <a:bodyPr rtlCol="0" anchor="ctr"/>
              <a:lstStyle/>
              <a:p>
                <a:endParaRPr lang="en-GB"/>
              </a:p>
            </p:txBody>
          </p:sp>
          <p:sp>
            <p:nvSpPr>
              <p:cNvPr id="8939" name="Vrije vorm: vorm 8938">
                <a:extLst>
                  <a:ext uri="{FF2B5EF4-FFF2-40B4-BE49-F238E27FC236}">
                    <a16:creationId xmlns:a16="http://schemas.microsoft.com/office/drawing/2014/main" id="{D7BEB058-3EB6-4FDD-BA7A-9739AC0DB2E4}"/>
                  </a:ext>
                </a:extLst>
              </p:cNvPr>
              <p:cNvSpPr/>
              <p:nvPr/>
            </p:nvSpPr>
            <p:spPr>
              <a:xfrm>
                <a:off x="4005309" y="2689064"/>
                <a:ext cx="162077" cy="45242"/>
              </a:xfrm>
              <a:custGeom>
                <a:avLst/>
                <a:gdLst>
                  <a:gd name="connsiteX0" fmla="*/ 0 w 162077"/>
                  <a:gd name="connsiteY0" fmla="*/ 28317 h 45242"/>
                  <a:gd name="connsiteX1" fmla="*/ 92881 w 162077"/>
                  <a:gd name="connsiteY1" fmla="*/ 1762 h 45242"/>
                  <a:gd name="connsiteX2" fmla="*/ 162077 w 162077"/>
                  <a:gd name="connsiteY2" fmla="*/ 45242 h 45242"/>
                </a:gdLst>
                <a:ahLst/>
                <a:cxnLst>
                  <a:cxn ang="0">
                    <a:pos x="connsiteX0" y="connsiteY0"/>
                  </a:cxn>
                  <a:cxn ang="0">
                    <a:pos x="connsiteX1" y="connsiteY1"/>
                  </a:cxn>
                  <a:cxn ang="0">
                    <a:pos x="connsiteX2" y="connsiteY2"/>
                  </a:cxn>
                </a:cxnLst>
                <a:rect l="l" t="t" r="r" b="b"/>
                <a:pathLst>
                  <a:path w="162077" h="45242">
                    <a:moveTo>
                      <a:pt x="0" y="28317"/>
                    </a:moveTo>
                    <a:cubicBezTo>
                      <a:pt x="24282" y="6368"/>
                      <a:pt x="58132" y="-4517"/>
                      <a:pt x="92881" y="1762"/>
                    </a:cubicBezTo>
                    <a:cubicBezTo>
                      <a:pt x="121827" y="6966"/>
                      <a:pt x="146109" y="23173"/>
                      <a:pt x="162077" y="45242"/>
                    </a:cubicBezTo>
                  </a:path>
                </a:pathLst>
              </a:custGeom>
              <a:grpFill/>
              <a:ln w="6350" cap="flat">
                <a:solidFill>
                  <a:schemeClr val="bg1">
                    <a:alpha val="80000"/>
                  </a:schemeClr>
                </a:solidFill>
                <a:prstDash val="solid"/>
                <a:miter/>
              </a:ln>
            </p:spPr>
            <p:txBody>
              <a:bodyPr rtlCol="0" anchor="ctr"/>
              <a:lstStyle/>
              <a:p>
                <a:endParaRPr lang="en-GB"/>
              </a:p>
            </p:txBody>
          </p:sp>
        </p:grpSp>
        <p:grpSp>
          <p:nvGrpSpPr>
            <p:cNvPr id="8442" name="Groep 8441">
              <a:extLst>
                <a:ext uri="{FF2B5EF4-FFF2-40B4-BE49-F238E27FC236}">
                  <a16:creationId xmlns:a16="http://schemas.microsoft.com/office/drawing/2014/main" id="{F71D4746-715B-4247-9504-BFCF272D05C0}"/>
                </a:ext>
              </a:extLst>
            </p:cNvPr>
            <p:cNvGrpSpPr/>
            <p:nvPr/>
          </p:nvGrpSpPr>
          <p:grpSpPr>
            <a:xfrm>
              <a:off x="4276931" y="2440938"/>
              <a:ext cx="427943" cy="310247"/>
              <a:chOff x="4276931" y="2440938"/>
              <a:chExt cx="427943" cy="310247"/>
            </a:xfrm>
            <a:noFill/>
          </p:grpSpPr>
          <p:sp>
            <p:nvSpPr>
              <p:cNvPr id="8589" name="Vrije vorm: vorm 8588">
                <a:extLst>
                  <a:ext uri="{FF2B5EF4-FFF2-40B4-BE49-F238E27FC236}">
                    <a16:creationId xmlns:a16="http://schemas.microsoft.com/office/drawing/2014/main" id="{DAEF3844-0CB8-46CC-AA22-78291511C290}"/>
                  </a:ext>
                </a:extLst>
              </p:cNvPr>
              <p:cNvSpPr/>
              <p:nvPr/>
            </p:nvSpPr>
            <p:spPr>
              <a:xfrm>
                <a:off x="4355697" y="2627980"/>
                <a:ext cx="2914" cy="2813"/>
              </a:xfrm>
              <a:custGeom>
                <a:avLst/>
                <a:gdLst>
                  <a:gd name="connsiteX0" fmla="*/ 2893 w 2914"/>
                  <a:gd name="connsiteY0" fmla="*/ 1664 h 2813"/>
                  <a:gd name="connsiteX1" fmla="*/ 22 w 2914"/>
                  <a:gd name="connsiteY1" fmla="*/ 1125 h 2813"/>
                  <a:gd name="connsiteX2" fmla="*/ 2893 w 2914"/>
                  <a:gd name="connsiteY2" fmla="*/ 1664 h 2813"/>
                  <a:gd name="connsiteX3" fmla="*/ 2893 w 291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590" name="Vrije vorm: vorm 8589">
                <a:extLst>
                  <a:ext uri="{FF2B5EF4-FFF2-40B4-BE49-F238E27FC236}">
                    <a16:creationId xmlns:a16="http://schemas.microsoft.com/office/drawing/2014/main" id="{385BABCD-2F80-4E24-8695-CA6B9FB5EF06}"/>
                  </a:ext>
                </a:extLst>
              </p:cNvPr>
              <p:cNvSpPr/>
              <p:nvPr/>
            </p:nvSpPr>
            <p:spPr>
              <a:xfrm>
                <a:off x="4346307" y="2473438"/>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591" name="Vrije vorm: vorm 8590">
                <a:extLst>
                  <a:ext uri="{FF2B5EF4-FFF2-40B4-BE49-F238E27FC236}">
                    <a16:creationId xmlns:a16="http://schemas.microsoft.com/office/drawing/2014/main" id="{E14173C3-14CD-45B5-9533-36265817E21E}"/>
                  </a:ext>
                </a:extLst>
              </p:cNvPr>
              <p:cNvSpPr/>
              <p:nvPr/>
            </p:nvSpPr>
            <p:spPr>
              <a:xfrm>
                <a:off x="4354381" y="2470867"/>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592" name="Vrije vorm: vorm 8591">
                <a:extLst>
                  <a:ext uri="{FF2B5EF4-FFF2-40B4-BE49-F238E27FC236}">
                    <a16:creationId xmlns:a16="http://schemas.microsoft.com/office/drawing/2014/main" id="{48430EBD-F187-413C-A38E-272D03102575}"/>
                  </a:ext>
                </a:extLst>
              </p:cNvPr>
              <p:cNvSpPr/>
              <p:nvPr/>
            </p:nvSpPr>
            <p:spPr>
              <a:xfrm>
                <a:off x="4420528" y="2590062"/>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593" name="Vrije vorm: vorm 8592">
                <a:extLst>
                  <a:ext uri="{FF2B5EF4-FFF2-40B4-BE49-F238E27FC236}">
                    <a16:creationId xmlns:a16="http://schemas.microsoft.com/office/drawing/2014/main" id="{8E4263A8-37FC-435C-B9FF-883798FE7A00}"/>
                  </a:ext>
                </a:extLst>
              </p:cNvPr>
              <p:cNvSpPr/>
              <p:nvPr/>
            </p:nvSpPr>
            <p:spPr>
              <a:xfrm>
                <a:off x="4426928" y="2585612"/>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594" name="Vrije vorm: vorm 8593">
                <a:extLst>
                  <a:ext uri="{FF2B5EF4-FFF2-40B4-BE49-F238E27FC236}">
                    <a16:creationId xmlns:a16="http://schemas.microsoft.com/office/drawing/2014/main" id="{CE1596DF-D013-4F55-8FE0-4BF5F5ADD2DE}"/>
                  </a:ext>
                </a:extLst>
              </p:cNvPr>
              <p:cNvSpPr/>
              <p:nvPr/>
            </p:nvSpPr>
            <p:spPr>
              <a:xfrm>
                <a:off x="4359943" y="2466680"/>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595" name="Vrije vorm: vorm 8594">
                <a:extLst>
                  <a:ext uri="{FF2B5EF4-FFF2-40B4-BE49-F238E27FC236}">
                    <a16:creationId xmlns:a16="http://schemas.microsoft.com/office/drawing/2014/main" id="{66A63D5E-9169-4FAF-B9DA-0D4C8E39FA74}"/>
                  </a:ext>
                </a:extLst>
              </p:cNvPr>
              <p:cNvSpPr/>
              <p:nvPr/>
            </p:nvSpPr>
            <p:spPr>
              <a:xfrm>
                <a:off x="4367300" y="2461213"/>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596" name="Vrije vorm: vorm 8595">
                <a:extLst>
                  <a:ext uri="{FF2B5EF4-FFF2-40B4-BE49-F238E27FC236}">
                    <a16:creationId xmlns:a16="http://schemas.microsoft.com/office/drawing/2014/main" id="{6CD0D14C-3C8F-469B-8573-B7B446C4A88E}"/>
                  </a:ext>
                </a:extLst>
              </p:cNvPr>
              <p:cNvSpPr/>
              <p:nvPr/>
            </p:nvSpPr>
            <p:spPr>
              <a:xfrm>
                <a:off x="4373041" y="2456233"/>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597" name="Vrije vorm: vorm 8596">
                <a:extLst>
                  <a:ext uri="{FF2B5EF4-FFF2-40B4-BE49-F238E27FC236}">
                    <a16:creationId xmlns:a16="http://schemas.microsoft.com/office/drawing/2014/main" id="{0E62B70C-8FEE-43E5-B94C-CF85973EDE85}"/>
                  </a:ext>
                </a:extLst>
              </p:cNvPr>
              <p:cNvSpPr/>
              <p:nvPr/>
            </p:nvSpPr>
            <p:spPr>
              <a:xfrm>
                <a:off x="4344453" y="2457086"/>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598" name="Vrije vorm: vorm 8597">
                <a:extLst>
                  <a:ext uri="{FF2B5EF4-FFF2-40B4-BE49-F238E27FC236}">
                    <a16:creationId xmlns:a16="http://schemas.microsoft.com/office/drawing/2014/main" id="{CD7CD92C-5C3F-46AC-BE70-DDDAB5D53456}"/>
                  </a:ext>
                </a:extLst>
              </p:cNvPr>
              <p:cNvSpPr/>
              <p:nvPr/>
            </p:nvSpPr>
            <p:spPr>
              <a:xfrm>
                <a:off x="4354800" y="2448534"/>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599" name="Vrije vorm: vorm 8598">
                <a:extLst>
                  <a:ext uri="{FF2B5EF4-FFF2-40B4-BE49-F238E27FC236}">
                    <a16:creationId xmlns:a16="http://schemas.microsoft.com/office/drawing/2014/main" id="{D1F21BB0-4A82-42E9-9CCE-3188770596F5}"/>
                  </a:ext>
                </a:extLst>
              </p:cNvPr>
              <p:cNvSpPr/>
              <p:nvPr/>
            </p:nvSpPr>
            <p:spPr>
              <a:xfrm>
                <a:off x="4520825" y="2505615"/>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8"/>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00" name="Vrije vorm: vorm 8599">
                <a:extLst>
                  <a:ext uri="{FF2B5EF4-FFF2-40B4-BE49-F238E27FC236}">
                    <a16:creationId xmlns:a16="http://schemas.microsoft.com/office/drawing/2014/main" id="{01F6E2EA-13DB-48DC-899D-CD7E046C6F28}"/>
                  </a:ext>
                </a:extLst>
              </p:cNvPr>
              <p:cNvSpPr/>
              <p:nvPr/>
            </p:nvSpPr>
            <p:spPr>
              <a:xfrm>
                <a:off x="4363592" y="2624212"/>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2"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01" name="Vrije vorm: vorm 8600">
                <a:extLst>
                  <a:ext uri="{FF2B5EF4-FFF2-40B4-BE49-F238E27FC236}">
                    <a16:creationId xmlns:a16="http://schemas.microsoft.com/office/drawing/2014/main" id="{DD6944BE-9D4C-4C2A-9FC6-F2886D1C275F}"/>
                  </a:ext>
                </a:extLst>
              </p:cNvPr>
              <p:cNvSpPr/>
              <p:nvPr/>
            </p:nvSpPr>
            <p:spPr>
              <a:xfrm>
                <a:off x="4356534" y="2490065"/>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2"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02" name="Vrije vorm: vorm 8601">
                <a:extLst>
                  <a:ext uri="{FF2B5EF4-FFF2-40B4-BE49-F238E27FC236}">
                    <a16:creationId xmlns:a16="http://schemas.microsoft.com/office/drawing/2014/main" id="{AE381151-F7B1-4EC0-B23C-D4453666E188}"/>
                  </a:ext>
                </a:extLst>
              </p:cNvPr>
              <p:cNvSpPr/>
              <p:nvPr/>
            </p:nvSpPr>
            <p:spPr>
              <a:xfrm>
                <a:off x="4362216" y="2485101"/>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03" name="Vrije vorm: vorm 8602">
                <a:extLst>
                  <a:ext uri="{FF2B5EF4-FFF2-40B4-BE49-F238E27FC236}">
                    <a16:creationId xmlns:a16="http://schemas.microsoft.com/office/drawing/2014/main" id="{11167DB4-A5C5-4309-BAB7-2CC5D9D51A1C}"/>
                  </a:ext>
                </a:extLst>
              </p:cNvPr>
              <p:cNvSpPr/>
              <p:nvPr/>
            </p:nvSpPr>
            <p:spPr>
              <a:xfrm>
                <a:off x="4367898" y="2480112"/>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04" name="Vrije vorm: vorm 8603">
                <a:extLst>
                  <a:ext uri="{FF2B5EF4-FFF2-40B4-BE49-F238E27FC236}">
                    <a16:creationId xmlns:a16="http://schemas.microsoft.com/office/drawing/2014/main" id="{1E066C1E-E42D-4ECB-AF7C-681E8706997D}"/>
                  </a:ext>
                </a:extLst>
              </p:cNvPr>
              <p:cNvSpPr/>
              <p:nvPr/>
            </p:nvSpPr>
            <p:spPr>
              <a:xfrm>
                <a:off x="4373221" y="2477480"/>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05" name="Vrije vorm: vorm 8604">
                <a:extLst>
                  <a:ext uri="{FF2B5EF4-FFF2-40B4-BE49-F238E27FC236}">
                    <a16:creationId xmlns:a16="http://schemas.microsoft.com/office/drawing/2014/main" id="{653720F7-25BA-4367-A385-B13FAA59AFCD}"/>
                  </a:ext>
                </a:extLst>
              </p:cNvPr>
              <p:cNvSpPr/>
              <p:nvPr/>
            </p:nvSpPr>
            <p:spPr>
              <a:xfrm>
                <a:off x="4378244" y="2473977"/>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06" name="Vrije vorm: vorm 8605">
                <a:extLst>
                  <a:ext uri="{FF2B5EF4-FFF2-40B4-BE49-F238E27FC236}">
                    <a16:creationId xmlns:a16="http://schemas.microsoft.com/office/drawing/2014/main" id="{209EDB00-0D11-48C8-8246-FAF35495EB25}"/>
                  </a:ext>
                </a:extLst>
              </p:cNvPr>
              <p:cNvSpPr/>
              <p:nvPr/>
            </p:nvSpPr>
            <p:spPr>
              <a:xfrm>
                <a:off x="4389668" y="2470448"/>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07" name="Vrije vorm: vorm 8606">
                <a:extLst>
                  <a:ext uri="{FF2B5EF4-FFF2-40B4-BE49-F238E27FC236}">
                    <a16:creationId xmlns:a16="http://schemas.microsoft.com/office/drawing/2014/main" id="{7839B45A-2CDA-4F38-A932-0276ED5E5190}"/>
                  </a:ext>
                </a:extLst>
              </p:cNvPr>
              <p:cNvSpPr/>
              <p:nvPr/>
            </p:nvSpPr>
            <p:spPr>
              <a:xfrm>
                <a:off x="4514306" y="2512631"/>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08" name="Vrije vorm: vorm 8607">
                <a:extLst>
                  <a:ext uri="{FF2B5EF4-FFF2-40B4-BE49-F238E27FC236}">
                    <a16:creationId xmlns:a16="http://schemas.microsoft.com/office/drawing/2014/main" id="{1F389C9F-444F-42F1-87D0-58F3F5EEF4B9}"/>
                  </a:ext>
                </a:extLst>
              </p:cNvPr>
              <p:cNvSpPr/>
              <p:nvPr/>
            </p:nvSpPr>
            <p:spPr>
              <a:xfrm>
                <a:off x="4339848" y="2633901"/>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09" name="Vrije vorm: vorm 8608">
                <a:extLst>
                  <a:ext uri="{FF2B5EF4-FFF2-40B4-BE49-F238E27FC236}">
                    <a16:creationId xmlns:a16="http://schemas.microsoft.com/office/drawing/2014/main" id="{A72B4B7B-C0BF-42FA-A1EA-397C772B1081}"/>
                  </a:ext>
                </a:extLst>
              </p:cNvPr>
              <p:cNvSpPr/>
              <p:nvPr/>
            </p:nvSpPr>
            <p:spPr>
              <a:xfrm>
                <a:off x="4318677" y="2639463"/>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10" name="Vrije vorm: vorm 8609">
                <a:extLst>
                  <a:ext uri="{FF2B5EF4-FFF2-40B4-BE49-F238E27FC236}">
                    <a16:creationId xmlns:a16="http://schemas.microsoft.com/office/drawing/2014/main" id="{45BE5934-9A97-464C-A8A0-C0C0A8D89D32}"/>
                  </a:ext>
                </a:extLst>
              </p:cNvPr>
              <p:cNvSpPr/>
              <p:nvPr/>
            </p:nvSpPr>
            <p:spPr>
              <a:xfrm>
                <a:off x="4304383" y="2642155"/>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11" name="Vrije vorm: vorm 8610">
                <a:extLst>
                  <a:ext uri="{FF2B5EF4-FFF2-40B4-BE49-F238E27FC236}">
                    <a16:creationId xmlns:a16="http://schemas.microsoft.com/office/drawing/2014/main" id="{2F723C8C-14FA-4AC6-96E2-40A6AA6BAEBC}"/>
                  </a:ext>
                </a:extLst>
              </p:cNvPr>
              <p:cNvSpPr/>
              <p:nvPr/>
            </p:nvSpPr>
            <p:spPr>
              <a:xfrm>
                <a:off x="4290328" y="2643744"/>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12" name="Vrije vorm: vorm 8611">
                <a:extLst>
                  <a:ext uri="{FF2B5EF4-FFF2-40B4-BE49-F238E27FC236}">
                    <a16:creationId xmlns:a16="http://schemas.microsoft.com/office/drawing/2014/main" id="{74A6AB29-F8BA-4A18-B2BE-E940E48035B4}"/>
                  </a:ext>
                </a:extLst>
              </p:cNvPr>
              <p:cNvSpPr/>
              <p:nvPr/>
            </p:nvSpPr>
            <p:spPr>
              <a:xfrm>
                <a:off x="4282314" y="2642035"/>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13" name="Vrije vorm: vorm 8612">
                <a:extLst>
                  <a:ext uri="{FF2B5EF4-FFF2-40B4-BE49-F238E27FC236}">
                    <a16:creationId xmlns:a16="http://schemas.microsoft.com/office/drawing/2014/main" id="{A844C688-AEF7-479C-A71A-75D4816DE79F}"/>
                  </a:ext>
                </a:extLst>
              </p:cNvPr>
              <p:cNvSpPr/>
              <p:nvPr/>
            </p:nvSpPr>
            <p:spPr>
              <a:xfrm>
                <a:off x="4276931" y="2638302"/>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14" name="Vrije vorm: vorm 8613">
                <a:extLst>
                  <a:ext uri="{FF2B5EF4-FFF2-40B4-BE49-F238E27FC236}">
                    <a16:creationId xmlns:a16="http://schemas.microsoft.com/office/drawing/2014/main" id="{D175BCCF-1A1D-4817-8AB4-BA74DDF2F2F9}"/>
                  </a:ext>
                </a:extLst>
              </p:cNvPr>
              <p:cNvSpPr/>
              <p:nvPr/>
            </p:nvSpPr>
            <p:spPr>
              <a:xfrm>
                <a:off x="4277649" y="2631245"/>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15" name="Vrije vorm: vorm 8614">
                <a:extLst>
                  <a:ext uri="{FF2B5EF4-FFF2-40B4-BE49-F238E27FC236}">
                    <a16:creationId xmlns:a16="http://schemas.microsoft.com/office/drawing/2014/main" id="{EA5608D5-C64F-4442-8EB5-F0C34785E252}"/>
                  </a:ext>
                </a:extLst>
              </p:cNvPr>
              <p:cNvSpPr/>
              <p:nvPr/>
            </p:nvSpPr>
            <p:spPr>
              <a:xfrm>
                <a:off x="4286261" y="2623410"/>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16" name="Vrije vorm: vorm 8615">
                <a:extLst>
                  <a:ext uri="{FF2B5EF4-FFF2-40B4-BE49-F238E27FC236}">
                    <a16:creationId xmlns:a16="http://schemas.microsoft.com/office/drawing/2014/main" id="{5814E19C-2DAE-441D-9437-56925CD2DFB6}"/>
                  </a:ext>
                </a:extLst>
              </p:cNvPr>
              <p:cNvSpPr/>
              <p:nvPr/>
            </p:nvSpPr>
            <p:spPr>
              <a:xfrm>
                <a:off x="4305040" y="2609399"/>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17" name="Vrije vorm: vorm 8616">
                <a:extLst>
                  <a:ext uri="{FF2B5EF4-FFF2-40B4-BE49-F238E27FC236}">
                    <a16:creationId xmlns:a16="http://schemas.microsoft.com/office/drawing/2014/main" id="{095EE576-2876-43A9-859B-BECB2B3C279B}"/>
                  </a:ext>
                </a:extLst>
              </p:cNvPr>
              <p:cNvSpPr/>
              <p:nvPr/>
            </p:nvSpPr>
            <p:spPr>
              <a:xfrm>
                <a:off x="4324358" y="2595744"/>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18" name="Vrije vorm: vorm 8617">
                <a:extLst>
                  <a:ext uri="{FF2B5EF4-FFF2-40B4-BE49-F238E27FC236}">
                    <a16:creationId xmlns:a16="http://schemas.microsoft.com/office/drawing/2014/main" id="{0BD55400-3355-4D76-81CD-977E65633200}"/>
                  </a:ext>
                </a:extLst>
              </p:cNvPr>
              <p:cNvSpPr/>
              <p:nvPr/>
            </p:nvSpPr>
            <p:spPr>
              <a:xfrm>
                <a:off x="4338772" y="2586194"/>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19" name="Vrije vorm: vorm 8618">
                <a:extLst>
                  <a:ext uri="{FF2B5EF4-FFF2-40B4-BE49-F238E27FC236}">
                    <a16:creationId xmlns:a16="http://schemas.microsoft.com/office/drawing/2014/main" id="{4798D933-B307-4F74-8D9C-0AC4DEF719DF}"/>
                  </a:ext>
                </a:extLst>
              </p:cNvPr>
              <p:cNvSpPr/>
              <p:nvPr/>
            </p:nvSpPr>
            <p:spPr>
              <a:xfrm>
                <a:off x="4372742" y="2563304"/>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20" name="Vrije vorm: vorm 8619">
                <a:extLst>
                  <a:ext uri="{FF2B5EF4-FFF2-40B4-BE49-F238E27FC236}">
                    <a16:creationId xmlns:a16="http://schemas.microsoft.com/office/drawing/2014/main" id="{7FF05A32-CA61-4C4F-AD5F-EC7E70E31B90}"/>
                  </a:ext>
                </a:extLst>
              </p:cNvPr>
              <p:cNvSpPr/>
              <p:nvPr/>
            </p:nvSpPr>
            <p:spPr>
              <a:xfrm>
                <a:off x="4387634" y="2552743"/>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21" name="Vrije vorm: vorm 8620">
                <a:extLst>
                  <a:ext uri="{FF2B5EF4-FFF2-40B4-BE49-F238E27FC236}">
                    <a16:creationId xmlns:a16="http://schemas.microsoft.com/office/drawing/2014/main" id="{4AEEAB83-1E9C-4F55-9AD7-12FA3EC061FE}"/>
                  </a:ext>
                </a:extLst>
              </p:cNvPr>
              <p:cNvSpPr/>
              <p:nvPr/>
            </p:nvSpPr>
            <p:spPr>
              <a:xfrm>
                <a:off x="4415385" y="2533444"/>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22" name="Vrije vorm: vorm 8621">
                <a:extLst>
                  <a:ext uri="{FF2B5EF4-FFF2-40B4-BE49-F238E27FC236}">
                    <a16:creationId xmlns:a16="http://schemas.microsoft.com/office/drawing/2014/main" id="{9163785A-FA6C-43A3-ACE4-6C6E65EE524D}"/>
                  </a:ext>
                </a:extLst>
              </p:cNvPr>
              <p:cNvSpPr/>
              <p:nvPr/>
            </p:nvSpPr>
            <p:spPr>
              <a:xfrm>
                <a:off x="4453123" y="2506546"/>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23" name="Vrije vorm: vorm 8622">
                <a:extLst>
                  <a:ext uri="{FF2B5EF4-FFF2-40B4-BE49-F238E27FC236}">
                    <a16:creationId xmlns:a16="http://schemas.microsoft.com/office/drawing/2014/main" id="{47BFC00E-B4D0-45EF-B113-83E41B42F8FC}"/>
                  </a:ext>
                </a:extLst>
              </p:cNvPr>
              <p:cNvSpPr/>
              <p:nvPr/>
            </p:nvSpPr>
            <p:spPr>
              <a:xfrm>
                <a:off x="4492476" y="2478283"/>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24" name="Vrije vorm: vorm 8623">
                <a:extLst>
                  <a:ext uri="{FF2B5EF4-FFF2-40B4-BE49-F238E27FC236}">
                    <a16:creationId xmlns:a16="http://schemas.microsoft.com/office/drawing/2014/main" id="{D8BCA4F3-63FA-4221-9292-ACEEC41F5347}"/>
                  </a:ext>
                </a:extLst>
              </p:cNvPr>
              <p:cNvSpPr/>
              <p:nvPr/>
            </p:nvSpPr>
            <p:spPr>
              <a:xfrm>
                <a:off x="4512871" y="2463170"/>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25" name="Vrije vorm: vorm 8624">
                <a:extLst>
                  <a:ext uri="{FF2B5EF4-FFF2-40B4-BE49-F238E27FC236}">
                    <a16:creationId xmlns:a16="http://schemas.microsoft.com/office/drawing/2014/main" id="{324B7C80-0E4D-465F-BFB8-0857F43DBB0D}"/>
                  </a:ext>
                </a:extLst>
              </p:cNvPr>
              <p:cNvSpPr/>
              <p:nvPr/>
            </p:nvSpPr>
            <p:spPr>
              <a:xfrm>
                <a:off x="4529317" y="2451489"/>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26" name="Vrije vorm: vorm 8625">
                <a:extLst>
                  <a:ext uri="{FF2B5EF4-FFF2-40B4-BE49-F238E27FC236}">
                    <a16:creationId xmlns:a16="http://schemas.microsoft.com/office/drawing/2014/main" id="{D4F3AD79-7AB7-4CCD-AE2F-B8D86D12432D}"/>
                  </a:ext>
                </a:extLst>
              </p:cNvPr>
              <p:cNvSpPr/>
              <p:nvPr/>
            </p:nvSpPr>
            <p:spPr>
              <a:xfrm>
                <a:off x="4542654" y="2443390"/>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27" name="Vrije vorm: vorm 8626">
                <a:extLst>
                  <a:ext uri="{FF2B5EF4-FFF2-40B4-BE49-F238E27FC236}">
                    <a16:creationId xmlns:a16="http://schemas.microsoft.com/office/drawing/2014/main" id="{2F5E52C4-04BC-4F76-BA15-50DC446182C0}"/>
                  </a:ext>
                </a:extLst>
              </p:cNvPr>
              <p:cNvSpPr/>
              <p:nvPr/>
            </p:nvSpPr>
            <p:spPr>
              <a:xfrm>
                <a:off x="4551925" y="2440938"/>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28" name="Vrije vorm: vorm 8627">
                <a:extLst>
                  <a:ext uri="{FF2B5EF4-FFF2-40B4-BE49-F238E27FC236}">
                    <a16:creationId xmlns:a16="http://schemas.microsoft.com/office/drawing/2014/main" id="{05547BF4-14AF-4798-A972-AC0924507446}"/>
                  </a:ext>
                </a:extLst>
              </p:cNvPr>
              <p:cNvSpPr/>
              <p:nvPr/>
            </p:nvSpPr>
            <p:spPr>
              <a:xfrm>
                <a:off x="4557307" y="2444929"/>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29" name="Vrije vorm: vorm 8628">
                <a:extLst>
                  <a:ext uri="{FF2B5EF4-FFF2-40B4-BE49-F238E27FC236}">
                    <a16:creationId xmlns:a16="http://schemas.microsoft.com/office/drawing/2014/main" id="{E186488B-FC2C-4D9B-BCC9-2E24AF8CF1A3}"/>
                  </a:ext>
                </a:extLst>
              </p:cNvPr>
              <p:cNvSpPr/>
              <p:nvPr/>
            </p:nvSpPr>
            <p:spPr>
              <a:xfrm>
                <a:off x="4553779" y="2458386"/>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30" name="Vrije vorm: vorm 8629">
                <a:extLst>
                  <a:ext uri="{FF2B5EF4-FFF2-40B4-BE49-F238E27FC236}">
                    <a16:creationId xmlns:a16="http://schemas.microsoft.com/office/drawing/2014/main" id="{4768A92F-E744-4658-8F36-EA4831B92F29}"/>
                  </a:ext>
                </a:extLst>
              </p:cNvPr>
              <p:cNvSpPr/>
              <p:nvPr/>
            </p:nvSpPr>
            <p:spPr>
              <a:xfrm>
                <a:off x="4543671" y="2477565"/>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31" name="Vrije vorm: vorm 8630">
                <a:extLst>
                  <a:ext uri="{FF2B5EF4-FFF2-40B4-BE49-F238E27FC236}">
                    <a16:creationId xmlns:a16="http://schemas.microsoft.com/office/drawing/2014/main" id="{EDC4C878-BA15-4F03-A08A-E7EEB8CFE73A}"/>
                  </a:ext>
                </a:extLst>
              </p:cNvPr>
              <p:cNvSpPr/>
              <p:nvPr/>
            </p:nvSpPr>
            <p:spPr>
              <a:xfrm>
                <a:off x="4532428" y="2492218"/>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32" name="Vrije vorm: vorm 8631">
                <a:extLst>
                  <a:ext uri="{FF2B5EF4-FFF2-40B4-BE49-F238E27FC236}">
                    <a16:creationId xmlns:a16="http://schemas.microsoft.com/office/drawing/2014/main" id="{6F4E73FE-140D-4EAF-A8AA-7504FFE82C47}"/>
                  </a:ext>
                </a:extLst>
              </p:cNvPr>
              <p:cNvSpPr/>
              <p:nvPr/>
            </p:nvSpPr>
            <p:spPr>
              <a:xfrm>
                <a:off x="4493493" y="2531332"/>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33" name="Vrije vorm: vorm 8632">
                <a:extLst>
                  <a:ext uri="{FF2B5EF4-FFF2-40B4-BE49-F238E27FC236}">
                    <a16:creationId xmlns:a16="http://schemas.microsoft.com/office/drawing/2014/main" id="{C69CBCC3-A9D5-42AD-9AF8-B8254F932C63}"/>
                  </a:ext>
                </a:extLst>
              </p:cNvPr>
              <p:cNvSpPr/>
              <p:nvPr/>
            </p:nvSpPr>
            <p:spPr>
              <a:xfrm>
                <a:off x="4471065" y="2551386"/>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34" name="Vrije vorm: vorm 8633">
                <a:extLst>
                  <a:ext uri="{FF2B5EF4-FFF2-40B4-BE49-F238E27FC236}">
                    <a16:creationId xmlns:a16="http://schemas.microsoft.com/office/drawing/2014/main" id="{84D4EA80-3123-48D0-8DCA-5AF6503F85BA}"/>
                  </a:ext>
                </a:extLst>
              </p:cNvPr>
              <p:cNvSpPr/>
              <p:nvPr/>
            </p:nvSpPr>
            <p:spPr>
              <a:xfrm>
                <a:off x="4464786" y="2556948"/>
                <a:ext cx="2915" cy="2794"/>
              </a:xfrm>
              <a:custGeom>
                <a:avLst/>
                <a:gdLst>
                  <a:gd name="connsiteX0" fmla="*/ 2893 w 2915"/>
                  <a:gd name="connsiteY0" fmla="*/ 1645 h 2794"/>
                  <a:gd name="connsiteX1" fmla="*/ 22 w 2915"/>
                  <a:gd name="connsiteY1" fmla="*/ 1106 h 2794"/>
                  <a:gd name="connsiteX2" fmla="*/ 2893 w 2915"/>
                  <a:gd name="connsiteY2" fmla="*/ 1645 h 2794"/>
                  <a:gd name="connsiteX3" fmla="*/ 2893 w 2915"/>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5" h="2794">
                    <a:moveTo>
                      <a:pt x="2893" y="1645"/>
                    </a:moveTo>
                    <a:cubicBezTo>
                      <a:pt x="2534" y="3499"/>
                      <a:pt x="-277" y="2960"/>
                      <a:pt x="22" y="1106"/>
                    </a:cubicBezTo>
                    <a:cubicBezTo>
                      <a:pt x="381" y="-688"/>
                      <a:pt x="319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35" name="Vrije vorm: vorm 8634">
                <a:extLst>
                  <a:ext uri="{FF2B5EF4-FFF2-40B4-BE49-F238E27FC236}">
                    <a16:creationId xmlns:a16="http://schemas.microsoft.com/office/drawing/2014/main" id="{B373EF31-4CC7-4CA9-9BC0-013286E76F6D}"/>
                  </a:ext>
                </a:extLst>
              </p:cNvPr>
              <p:cNvSpPr/>
              <p:nvPr/>
            </p:nvSpPr>
            <p:spPr>
              <a:xfrm>
                <a:off x="4446305" y="2570505"/>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36" name="Vrije vorm: vorm 8635">
                <a:extLst>
                  <a:ext uri="{FF2B5EF4-FFF2-40B4-BE49-F238E27FC236}">
                    <a16:creationId xmlns:a16="http://schemas.microsoft.com/office/drawing/2014/main" id="{57BE459B-3108-48D1-B0DF-5301197A3DF0}"/>
                  </a:ext>
                </a:extLst>
              </p:cNvPr>
              <p:cNvSpPr/>
              <p:nvPr/>
            </p:nvSpPr>
            <p:spPr>
              <a:xfrm>
                <a:off x="4404261" y="2600768"/>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37" name="Vrije vorm: vorm 8636">
                <a:extLst>
                  <a:ext uri="{FF2B5EF4-FFF2-40B4-BE49-F238E27FC236}">
                    <a16:creationId xmlns:a16="http://schemas.microsoft.com/office/drawing/2014/main" id="{7833374C-8492-422F-9CE6-DAA7D2F104E5}"/>
                  </a:ext>
                </a:extLst>
              </p:cNvPr>
              <p:cNvSpPr/>
              <p:nvPr/>
            </p:nvSpPr>
            <p:spPr>
              <a:xfrm>
                <a:off x="4383029" y="2614020"/>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38" name="Vrije vorm: vorm 8637">
                <a:extLst>
                  <a:ext uri="{FF2B5EF4-FFF2-40B4-BE49-F238E27FC236}">
                    <a16:creationId xmlns:a16="http://schemas.microsoft.com/office/drawing/2014/main" id="{3C9F3677-A5F3-4FCB-A67E-CEB8D3CB9CE9}"/>
                  </a:ext>
                </a:extLst>
              </p:cNvPr>
              <p:cNvSpPr/>
              <p:nvPr/>
            </p:nvSpPr>
            <p:spPr>
              <a:xfrm>
                <a:off x="4289610" y="2650169"/>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39" name="Vrije vorm: vorm 8638">
                <a:extLst>
                  <a:ext uri="{FF2B5EF4-FFF2-40B4-BE49-F238E27FC236}">
                    <a16:creationId xmlns:a16="http://schemas.microsoft.com/office/drawing/2014/main" id="{522D8871-193F-4879-A11A-6DDD2726B20D}"/>
                  </a:ext>
                </a:extLst>
              </p:cNvPr>
              <p:cNvSpPr/>
              <p:nvPr/>
            </p:nvSpPr>
            <p:spPr>
              <a:xfrm>
                <a:off x="4308150" y="2659039"/>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40" name="Vrije vorm: vorm 8639">
                <a:extLst>
                  <a:ext uri="{FF2B5EF4-FFF2-40B4-BE49-F238E27FC236}">
                    <a16:creationId xmlns:a16="http://schemas.microsoft.com/office/drawing/2014/main" id="{F4A348FF-1ECC-496E-99B2-1E04A46E4C91}"/>
                  </a:ext>
                </a:extLst>
              </p:cNvPr>
              <p:cNvSpPr/>
              <p:nvPr/>
            </p:nvSpPr>
            <p:spPr>
              <a:xfrm>
                <a:off x="4326631" y="2665933"/>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41" name="Vrije vorm: vorm 8640">
                <a:extLst>
                  <a:ext uri="{FF2B5EF4-FFF2-40B4-BE49-F238E27FC236}">
                    <a16:creationId xmlns:a16="http://schemas.microsoft.com/office/drawing/2014/main" id="{6EBD968D-C12C-4B23-A6E8-50F13D9B6C92}"/>
                  </a:ext>
                </a:extLst>
              </p:cNvPr>
              <p:cNvSpPr/>
              <p:nvPr/>
            </p:nvSpPr>
            <p:spPr>
              <a:xfrm>
                <a:off x="4350853" y="2671879"/>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42" name="Vrije vorm: vorm 8641">
                <a:extLst>
                  <a:ext uri="{FF2B5EF4-FFF2-40B4-BE49-F238E27FC236}">
                    <a16:creationId xmlns:a16="http://schemas.microsoft.com/office/drawing/2014/main" id="{688AA711-DFE0-44B2-B717-240E7D44D819}"/>
                  </a:ext>
                </a:extLst>
              </p:cNvPr>
              <p:cNvSpPr/>
              <p:nvPr/>
            </p:nvSpPr>
            <p:spPr>
              <a:xfrm>
                <a:off x="4380876" y="2676100"/>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43" name="Vrije vorm: vorm 8642">
                <a:extLst>
                  <a:ext uri="{FF2B5EF4-FFF2-40B4-BE49-F238E27FC236}">
                    <a16:creationId xmlns:a16="http://schemas.microsoft.com/office/drawing/2014/main" id="{E4EEF00D-C3B2-46C9-B520-729D5F791B99}"/>
                  </a:ext>
                </a:extLst>
              </p:cNvPr>
              <p:cNvSpPr/>
              <p:nvPr/>
            </p:nvSpPr>
            <p:spPr>
              <a:xfrm>
                <a:off x="4408148" y="2675886"/>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44" name="Vrije vorm: vorm 8643">
                <a:extLst>
                  <a:ext uri="{FF2B5EF4-FFF2-40B4-BE49-F238E27FC236}">
                    <a16:creationId xmlns:a16="http://schemas.microsoft.com/office/drawing/2014/main" id="{D851F09F-3738-4BE9-9F28-A1F1C582EB72}"/>
                  </a:ext>
                </a:extLst>
              </p:cNvPr>
              <p:cNvSpPr/>
              <p:nvPr/>
            </p:nvSpPr>
            <p:spPr>
              <a:xfrm>
                <a:off x="4436317" y="2675023"/>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45" name="Vrije vorm: vorm 8644">
                <a:extLst>
                  <a:ext uri="{FF2B5EF4-FFF2-40B4-BE49-F238E27FC236}">
                    <a16:creationId xmlns:a16="http://schemas.microsoft.com/office/drawing/2014/main" id="{2D25F08C-2C9F-4AE9-882B-23BC448BD6EC}"/>
                  </a:ext>
                </a:extLst>
              </p:cNvPr>
              <p:cNvSpPr/>
              <p:nvPr/>
            </p:nvSpPr>
            <p:spPr>
              <a:xfrm>
                <a:off x="4458147" y="2669880"/>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46" name="Vrije vorm: vorm 8645">
                <a:extLst>
                  <a:ext uri="{FF2B5EF4-FFF2-40B4-BE49-F238E27FC236}">
                    <a16:creationId xmlns:a16="http://schemas.microsoft.com/office/drawing/2014/main" id="{3702A9FE-1884-4E4B-837B-761899B0D056}"/>
                  </a:ext>
                </a:extLst>
              </p:cNvPr>
              <p:cNvSpPr/>
              <p:nvPr/>
            </p:nvSpPr>
            <p:spPr>
              <a:xfrm>
                <a:off x="4483266" y="2659798"/>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8"/>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47" name="Vrije vorm: vorm 8646">
                <a:extLst>
                  <a:ext uri="{FF2B5EF4-FFF2-40B4-BE49-F238E27FC236}">
                    <a16:creationId xmlns:a16="http://schemas.microsoft.com/office/drawing/2014/main" id="{71B32C34-6FD1-46A1-9277-F5D7E584A51E}"/>
                  </a:ext>
                </a:extLst>
              </p:cNvPr>
              <p:cNvSpPr/>
              <p:nvPr/>
            </p:nvSpPr>
            <p:spPr>
              <a:xfrm>
                <a:off x="4500431" y="2645538"/>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48" name="Vrije vorm: vorm 8647">
                <a:extLst>
                  <a:ext uri="{FF2B5EF4-FFF2-40B4-BE49-F238E27FC236}">
                    <a16:creationId xmlns:a16="http://schemas.microsoft.com/office/drawing/2014/main" id="{04A065AC-9269-4D98-BD57-8D4344DF1EAC}"/>
                  </a:ext>
                </a:extLst>
              </p:cNvPr>
              <p:cNvSpPr/>
              <p:nvPr/>
            </p:nvSpPr>
            <p:spPr>
              <a:xfrm>
                <a:off x="4517954" y="2625009"/>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49" name="Vrije vorm: vorm 8648">
                <a:extLst>
                  <a:ext uri="{FF2B5EF4-FFF2-40B4-BE49-F238E27FC236}">
                    <a16:creationId xmlns:a16="http://schemas.microsoft.com/office/drawing/2014/main" id="{B5697CF7-979A-4D91-9D41-EFD1197457D3}"/>
                  </a:ext>
                </a:extLst>
              </p:cNvPr>
              <p:cNvSpPr/>
              <p:nvPr/>
            </p:nvSpPr>
            <p:spPr>
              <a:xfrm>
                <a:off x="4532547" y="2603160"/>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50" name="Vrije vorm: vorm 8649">
                <a:extLst>
                  <a:ext uri="{FF2B5EF4-FFF2-40B4-BE49-F238E27FC236}">
                    <a16:creationId xmlns:a16="http://schemas.microsoft.com/office/drawing/2014/main" id="{E2F1A081-CC2A-4647-B33E-01F3A47220FB}"/>
                  </a:ext>
                </a:extLst>
              </p:cNvPr>
              <p:cNvSpPr/>
              <p:nvPr/>
            </p:nvSpPr>
            <p:spPr>
              <a:xfrm>
                <a:off x="4544628" y="2573376"/>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51" name="Vrije vorm: vorm 8650">
                <a:extLst>
                  <a:ext uri="{FF2B5EF4-FFF2-40B4-BE49-F238E27FC236}">
                    <a16:creationId xmlns:a16="http://schemas.microsoft.com/office/drawing/2014/main" id="{289DC561-97ED-4014-9143-BD253FB0BC0E}"/>
                  </a:ext>
                </a:extLst>
              </p:cNvPr>
              <p:cNvSpPr/>
              <p:nvPr/>
            </p:nvSpPr>
            <p:spPr>
              <a:xfrm>
                <a:off x="4556171" y="2539944"/>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52" name="Vrije vorm: vorm 8651">
                <a:extLst>
                  <a:ext uri="{FF2B5EF4-FFF2-40B4-BE49-F238E27FC236}">
                    <a16:creationId xmlns:a16="http://schemas.microsoft.com/office/drawing/2014/main" id="{DBF53D32-3E87-4841-B276-5A90EB3DE28F}"/>
                  </a:ext>
                </a:extLst>
              </p:cNvPr>
              <p:cNvSpPr/>
              <p:nvPr/>
            </p:nvSpPr>
            <p:spPr>
              <a:xfrm>
                <a:off x="4561853" y="2510554"/>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53" name="Vrije vorm: vorm 8652">
                <a:extLst>
                  <a:ext uri="{FF2B5EF4-FFF2-40B4-BE49-F238E27FC236}">
                    <a16:creationId xmlns:a16="http://schemas.microsoft.com/office/drawing/2014/main" id="{E684CF0A-29F5-4725-A49B-15639C146F2E}"/>
                  </a:ext>
                </a:extLst>
              </p:cNvPr>
              <p:cNvSpPr/>
              <p:nvPr/>
            </p:nvSpPr>
            <p:spPr>
              <a:xfrm>
                <a:off x="4562690" y="2481906"/>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54" name="Vrije vorm: vorm 8653">
                <a:extLst>
                  <a:ext uri="{FF2B5EF4-FFF2-40B4-BE49-F238E27FC236}">
                    <a16:creationId xmlns:a16="http://schemas.microsoft.com/office/drawing/2014/main" id="{9C9EFFE8-DA08-4A9F-8136-2EE94B80FFCA}"/>
                  </a:ext>
                </a:extLst>
              </p:cNvPr>
              <p:cNvSpPr/>
              <p:nvPr/>
            </p:nvSpPr>
            <p:spPr>
              <a:xfrm>
                <a:off x="4561673" y="2461197"/>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55" name="Vrije vorm: vorm 8654">
                <a:extLst>
                  <a:ext uri="{FF2B5EF4-FFF2-40B4-BE49-F238E27FC236}">
                    <a16:creationId xmlns:a16="http://schemas.microsoft.com/office/drawing/2014/main" id="{44F158AD-C51C-49C8-8A27-DD5F6C873AF5}"/>
                  </a:ext>
                </a:extLst>
              </p:cNvPr>
              <p:cNvSpPr/>
              <p:nvPr/>
            </p:nvSpPr>
            <p:spPr>
              <a:xfrm>
                <a:off x="4588706" y="2699544"/>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56" name="Vrije vorm: vorm 8655">
                <a:extLst>
                  <a:ext uri="{FF2B5EF4-FFF2-40B4-BE49-F238E27FC236}">
                    <a16:creationId xmlns:a16="http://schemas.microsoft.com/office/drawing/2014/main" id="{8EFB4F31-2D4F-4BC0-852F-7D36C50D2920}"/>
                  </a:ext>
                </a:extLst>
              </p:cNvPr>
              <p:cNvSpPr/>
              <p:nvPr/>
            </p:nvSpPr>
            <p:spPr>
              <a:xfrm>
                <a:off x="4518552" y="2668086"/>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57" name="Vrije vorm: vorm 8656">
                <a:extLst>
                  <a:ext uri="{FF2B5EF4-FFF2-40B4-BE49-F238E27FC236}">
                    <a16:creationId xmlns:a16="http://schemas.microsoft.com/office/drawing/2014/main" id="{BD2619A1-BF0F-48A3-B323-1865F93795AE}"/>
                  </a:ext>
                </a:extLst>
              </p:cNvPr>
              <p:cNvSpPr/>
              <p:nvPr/>
            </p:nvSpPr>
            <p:spPr>
              <a:xfrm>
                <a:off x="4511076" y="2662328"/>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58" name="Vrije vorm: vorm 8657">
                <a:extLst>
                  <a:ext uri="{FF2B5EF4-FFF2-40B4-BE49-F238E27FC236}">
                    <a16:creationId xmlns:a16="http://schemas.microsoft.com/office/drawing/2014/main" id="{5E271644-0E39-4D12-A8B5-7EAC667743D8}"/>
                  </a:ext>
                </a:extLst>
              </p:cNvPr>
              <p:cNvSpPr/>
              <p:nvPr/>
            </p:nvSpPr>
            <p:spPr>
              <a:xfrm>
                <a:off x="4507249" y="2655766"/>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59" name="Vrije vorm: vorm 8658">
                <a:extLst>
                  <a:ext uri="{FF2B5EF4-FFF2-40B4-BE49-F238E27FC236}">
                    <a16:creationId xmlns:a16="http://schemas.microsoft.com/office/drawing/2014/main" id="{F5A8AA0F-A3BD-432F-AEAF-8E81582546D9}"/>
                  </a:ext>
                </a:extLst>
              </p:cNvPr>
              <p:cNvSpPr/>
              <p:nvPr/>
            </p:nvSpPr>
            <p:spPr>
              <a:xfrm>
                <a:off x="4506531" y="2646520"/>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60" name="Vrije vorm: vorm 8659">
                <a:extLst>
                  <a:ext uri="{FF2B5EF4-FFF2-40B4-BE49-F238E27FC236}">
                    <a16:creationId xmlns:a16="http://schemas.microsoft.com/office/drawing/2014/main" id="{9B62502D-9FF6-4450-A9D0-C9CCD7747BA2}"/>
                  </a:ext>
                </a:extLst>
              </p:cNvPr>
              <p:cNvSpPr/>
              <p:nvPr/>
            </p:nvSpPr>
            <p:spPr>
              <a:xfrm>
                <a:off x="4509282" y="2637908"/>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61" name="Vrije vorm: vorm 8660">
                <a:extLst>
                  <a:ext uri="{FF2B5EF4-FFF2-40B4-BE49-F238E27FC236}">
                    <a16:creationId xmlns:a16="http://schemas.microsoft.com/office/drawing/2014/main" id="{2F533A7A-1E19-4018-A086-5B34A0473DD4}"/>
                  </a:ext>
                </a:extLst>
              </p:cNvPr>
              <p:cNvSpPr/>
              <p:nvPr/>
            </p:nvSpPr>
            <p:spPr>
              <a:xfrm>
                <a:off x="4521602" y="2631603"/>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62" name="Vrije vorm: vorm 8661">
                <a:extLst>
                  <a:ext uri="{FF2B5EF4-FFF2-40B4-BE49-F238E27FC236}">
                    <a16:creationId xmlns:a16="http://schemas.microsoft.com/office/drawing/2014/main" id="{02F9AC9A-66CD-4103-A80A-A9B4D5073347}"/>
                  </a:ext>
                </a:extLst>
              </p:cNvPr>
              <p:cNvSpPr/>
              <p:nvPr/>
            </p:nvSpPr>
            <p:spPr>
              <a:xfrm>
                <a:off x="4540382" y="2625289"/>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63" name="Vrije vorm: vorm 8662">
                <a:extLst>
                  <a:ext uri="{FF2B5EF4-FFF2-40B4-BE49-F238E27FC236}">
                    <a16:creationId xmlns:a16="http://schemas.microsoft.com/office/drawing/2014/main" id="{3BA198FD-03D6-4426-B172-6EF47124FD02}"/>
                  </a:ext>
                </a:extLst>
              </p:cNvPr>
              <p:cNvSpPr/>
              <p:nvPr/>
            </p:nvSpPr>
            <p:spPr>
              <a:xfrm>
                <a:off x="4558802" y="2620958"/>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64" name="Vrije vorm: vorm 8663">
                <a:extLst>
                  <a:ext uri="{FF2B5EF4-FFF2-40B4-BE49-F238E27FC236}">
                    <a16:creationId xmlns:a16="http://schemas.microsoft.com/office/drawing/2014/main" id="{3EE93C7E-9071-4F11-9220-8FCE192C3FB0}"/>
                  </a:ext>
                </a:extLst>
              </p:cNvPr>
              <p:cNvSpPr/>
              <p:nvPr/>
            </p:nvSpPr>
            <p:spPr>
              <a:xfrm>
                <a:off x="4575967" y="2615515"/>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65" name="Vrije vorm: vorm 8664">
                <a:extLst>
                  <a:ext uri="{FF2B5EF4-FFF2-40B4-BE49-F238E27FC236}">
                    <a16:creationId xmlns:a16="http://schemas.microsoft.com/office/drawing/2014/main" id="{9246C12A-6AEC-477B-AB0A-EA8064B5CEDC}"/>
                  </a:ext>
                </a:extLst>
              </p:cNvPr>
              <p:cNvSpPr/>
              <p:nvPr/>
            </p:nvSpPr>
            <p:spPr>
              <a:xfrm>
                <a:off x="4582905" y="2593251"/>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66" name="Vrije vorm: vorm 8665">
                <a:extLst>
                  <a:ext uri="{FF2B5EF4-FFF2-40B4-BE49-F238E27FC236}">
                    <a16:creationId xmlns:a16="http://schemas.microsoft.com/office/drawing/2014/main" id="{940925BB-847B-4909-AEA6-016FF1141406}"/>
                  </a:ext>
                </a:extLst>
              </p:cNvPr>
              <p:cNvSpPr/>
              <p:nvPr/>
            </p:nvSpPr>
            <p:spPr>
              <a:xfrm>
                <a:off x="4582008" y="2586628"/>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67" name="Vrije vorm: vorm 8666">
                <a:extLst>
                  <a:ext uri="{FF2B5EF4-FFF2-40B4-BE49-F238E27FC236}">
                    <a16:creationId xmlns:a16="http://schemas.microsoft.com/office/drawing/2014/main" id="{B8963226-04E4-4334-BDCA-E6EE942F3685}"/>
                  </a:ext>
                </a:extLst>
              </p:cNvPr>
              <p:cNvSpPr/>
              <p:nvPr/>
            </p:nvSpPr>
            <p:spPr>
              <a:xfrm>
                <a:off x="4572259" y="2583698"/>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68" name="Vrije vorm: vorm 8667">
                <a:extLst>
                  <a:ext uri="{FF2B5EF4-FFF2-40B4-BE49-F238E27FC236}">
                    <a16:creationId xmlns:a16="http://schemas.microsoft.com/office/drawing/2014/main" id="{38C57B03-4070-43B0-831C-E6F805775CC5}"/>
                  </a:ext>
                </a:extLst>
              </p:cNvPr>
              <p:cNvSpPr/>
              <p:nvPr/>
            </p:nvSpPr>
            <p:spPr>
              <a:xfrm>
                <a:off x="4543432" y="2580553"/>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8"/>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69" name="Vrije vorm: vorm 8668">
                <a:extLst>
                  <a:ext uri="{FF2B5EF4-FFF2-40B4-BE49-F238E27FC236}">
                    <a16:creationId xmlns:a16="http://schemas.microsoft.com/office/drawing/2014/main" id="{CFE2FBC3-1956-485D-BCF9-CB111AA9613D}"/>
                  </a:ext>
                </a:extLst>
              </p:cNvPr>
              <p:cNvSpPr/>
              <p:nvPr/>
            </p:nvSpPr>
            <p:spPr>
              <a:xfrm>
                <a:off x="4614902" y="2578734"/>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70" name="Vrije vorm: vorm 8669">
                <a:extLst>
                  <a:ext uri="{FF2B5EF4-FFF2-40B4-BE49-F238E27FC236}">
                    <a16:creationId xmlns:a16="http://schemas.microsoft.com/office/drawing/2014/main" id="{31434718-FED0-41E7-BF04-3B446971FE18}"/>
                  </a:ext>
                </a:extLst>
              </p:cNvPr>
              <p:cNvSpPr/>
              <p:nvPr/>
            </p:nvSpPr>
            <p:spPr>
              <a:xfrm>
                <a:off x="4602820" y="2614782"/>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71" name="Vrije vorm: vorm 8670">
                <a:extLst>
                  <a:ext uri="{FF2B5EF4-FFF2-40B4-BE49-F238E27FC236}">
                    <a16:creationId xmlns:a16="http://schemas.microsoft.com/office/drawing/2014/main" id="{BDDC9162-6F08-4387-A310-A13F52CAD037}"/>
                  </a:ext>
                </a:extLst>
              </p:cNvPr>
              <p:cNvSpPr/>
              <p:nvPr/>
            </p:nvSpPr>
            <p:spPr>
              <a:xfrm>
                <a:off x="4517356" y="2637310"/>
                <a:ext cx="2914" cy="2813"/>
              </a:xfrm>
              <a:custGeom>
                <a:avLst/>
                <a:gdLst>
                  <a:gd name="connsiteX0" fmla="*/ 2893 w 2914"/>
                  <a:gd name="connsiteY0" fmla="*/ 1664 h 2813"/>
                  <a:gd name="connsiteX1" fmla="*/ 22 w 2914"/>
                  <a:gd name="connsiteY1" fmla="*/ 1125 h 2813"/>
                  <a:gd name="connsiteX2" fmla="*/ 2893 w 2914"/>
                  <a:gd name="connsiteY2" fmla="*/ 1664 h 2813"/>
                  <a:gd name="connsiteX3" fmla="*/ 2893 w 291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72" name="Vrije vorm: vorm 8671">
                <a:extLst>
                  <a:ext uri="{FF2B5EF4-FFF2-40B4-BE49-F238E27FC236}">
                    <a16:creationId xmlns:a16="http://schemas.microsoft.com/office/drawing/2014/main" id="{5CB63FCA-48B8-4EFE-8526-D61DEFA87C93}"/>
                  </a:ext>
                </a:extLst>
              </p:cNvPr>
              <p:cNvSpPr/>
              <p:nvPr/>
            </p:nvSpPr>
            <p:spPr>
              <a:xfrm>
                <a:off x="4533384" y="2634619"/>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73" name="Vrije vorm: vorm 8672">
                <a:extLst>
                  <a:ext uri="{FF2B5EF4-FFF2-40B4-BE49-F238E27FC236}">
                    <a16:creationId xmlns:a16="http://schemas.microsoft.com/office/drawing/2014/main" id="{5E008156-DC52-454D-BD80-D2CF93BE9C43}"/>
                  </a:ext>
                </a:extLst>
              </p:cNvPr>
              <p:cNvSpPr/>
              <p:nvPr/>
            </p:nvSpPr>
            <p:spPr>
              <a:xfrm>
                <a:off x="4553360" y="2631449"/>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74" name="Vrije vorm: vorm 8673">
                <a:extLst>
                  <a:ext uri="{FF2B5EF4-FFF2-40B4-BE49-F238E27FC236}">
                    <a16:creationId xmlns:a16="http://schemas.microsoft.com/office/drawing/2014/main" id="{B5201D3D-46B8-41E9-98E6-16E10473873B}"/>
                  </a:ext>
                </a:extLst>
              </p:cNvPr>
              <p:cNvSpPr/>
              <p:nvPr/>
            </p:nvSpPr>
            <p:spPr>
              <a:xfrm>
                <a:off x="4575548" y="2627502"/>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75" name="Vrije vorm: vorm 8674">
                <a:extLst>
                  <a:ext uri="{FF2B5EF4-FFF2-40B4-BE49-F238E27FC236}">
                    <a16:creationId xmlns:a16="http://schemas.microsoft.com/office/drawing/2014/main" id="{CB6A9386-23F4-4A0D-A8CA-0123EE2872CD}"/>
                  </a:ext>
                </a:extLst>
              </p:cNvPr>
              <p:cNvSpPr/>
              <p:nvPr/>
            </p:nvSpPr>
            <p:spPr>
              <a:xfrm>
                <a:off x="4600847" y="2625588"/>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76" name="Vrije vorm: vorm 8675">
                <a:extLst>
                  <a:ext uri="{FF2B5EF4-FFF2-40B4-BE49-F238E27FC236}">
                    <a16:creationId xmlns:a16="http://schemas.microsoft.com/office/drawing/2014/main" id="{DF187AB2-B654-47A7-9F87-784AC2E10624}"/>
                  </a:ext>
                </a:extLst>
              </p:cNvPr>
              <p:cNvSpPr/>
              <p:nvPr/>
            </p:nvSpPr>
            <p:spPr>
              <a:xfrm>
                <a:off x="4531052" y="2608322"/>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77" name="Vrije vorm: vorm 8676">
                <a:extLst>
                  <a:ext uri="{FF2B5EF4-FFF2-40B4-BE49-F238E27FC236}">
                    <a16:creationId xmlns:a16="http://schemas.microsoft.com/office/drawing/2014/main" id="{801630EF-A2C6-454F-9FBE-32477933AB3E}"/>
                  </a:ext>
                </a:extLst>
              </p:cNvPr>
              <p:cNvSpPr/>
              <p:nvPr/>
            </p:nvSpPr>
            <p:spPr>
              <a:xfrm>
                <a:off x="4541877" y="2613781"/>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78" name="Vrije vorm: vorm 8677">
                <a:extLst>
                  <a:ext uri="{FF2B5EF4-FFF2-40B4-BE49-F238E27FC236}">
                    <a16:creationId xmlns:a16="http://schemas.microsoft.com/office/drawing/2014/main" id="{A477B28C-A5EE-4805-9580-019C799C83FA}"/>
                  </a:ext>
                </a:extLst>
              </p:cNvPr>
              <p:cNvSpPr/>
              <p:nvPr/>
            </p:nvSpPr>
            <p:spPr>
              <a:xfrm>
                <a:off x="4591338" y="2690035"/>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79" name="Vrije vorm: vorm 8678">
                <a:extLst>
                  <a:ext uri="{FF2B5EF4-FFF2-40B4-BE49-F238E27FC236}">
                    <a16:creationId xmlns:a16="http://schemas.microsoft.com/office/drawing/2014/main" id="{83E0F298-6335-4468-A4AD-2E4DC9ACFE5C}"/>
                  </a:ext>
                </a:extLst>
              </p:cNvPr>
              <p:cNvSpPr/>
              <p:nvPr/>
            </p:nvSpPr>
            <p:spPr>
              <a:xfrm>
                <a:off x="4617114" y="2693787"/>
                <a:ext cx="2915" cy="2794"/>
              </a:xfrm>
              <a:custGeom>
                <a:avLst/>
                <a:gdLst>
                  <a:gd name="connsiteX0" fmla="*/ 2893 w 2915"/>
                  <a:gd name="connsiteY0" fmla="*/ 1645 h 2794"/>
                  <a:gd name="connsiteX1" fmla="*/ 22 w 2915"/>
                  <a:gd name="connsiteY1" fmla="*/ 1106 h 2794"/>
                  <a:gd name="connsiteX2" fmla="*/ 2893 w 2915"/>
                  <a:gd name="connsiteY2" fmla="*/ 1645 h 2794"/>
                  <a:gd name="connsiteX3" fmla="*/ 2893 w 2915"/>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5" h="2794">
                    <a:moveTo>
                      <a:pt x="2893" y="1645"/>
                    </a:moveTo>
                    <a:cubicBezTo>
                      <a:pt x="2534" y="3499"/>
                      <a:pt x="-277" y="2960"/>
                      <a:pt x="22" y="1106"/>
                    </a:cubicBezTo>
                    <a:cubicBezTo>
                      <a:pt x="381" y="-688"/>
                      <a:pt x="319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80" name="Vrije vorm: vorm 8679">
                <a:extLst>
                  <a:ext uri="{FF2B5EF4-FFF2-40B4-BE49-F238E27FC236}">
                    <a16:creationId xmlns:a16="http://schemas.microsoft.com/office/drawing/2014/main" id="{120391BB-55A6-40FB-9B4D-D068F48E5C49}"/>
                  </a:ext>
                </a:extLst>
              </p:cNvPr>
              <p:cNvSpPr/>
              <p:nvPr/>
            </p:nvSpPr>
            <p:spPr>
              <a:xfrm>
                <a:off x="4635236" y="2593267"/>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81" name="Vrije vorm: vorm 8680">
                <a:extLst>
                  <a:ext uri="{FF2B5EF4-FFF2-40B4-BE49-F238E27FC236}">
                    <a16:creationId xmlns:a16="http://schemas.microsoft.com/office/drawing/2014/main" id="{C4E9D7A9-CFD8-4923-A030-DBD8B1F51B50}"/>
                  </a:ext>
                </a:extLst>
              </p:cNvPr>
              <p:cNvSpPr/>
              <p:nvPr/>
            </p:nvSpPr>
            <p:spPr>
              <a:xfrm>
                <a:off x="4611552" y="2589021"/>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82" name="Vrije vorm: vorm 8681">
                <a:extLst>
                  <a:ext uri="{FF2B5EF4-FFF2-40B4-BE49-F238E27FC236}">
                    <a16:creationId xmlns:a16="http://schemas.microsoft.com/office/drawing/2014/main" id="{53EAF8F0-72FD-48EC-A16F-79AB3B4565B1}"/>
                  </a:ext>
                </a:extLst>
              </p:cNvPr>
              <p:cNvSpPr/>
              <p:nvPr/>
            </p:nvSpPr>
            <p:spPr>
              <a:xfrm>
                <a:off x="4627700" y="2711566"/>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83" name="Vrije vorm: vorm 8682">
                <a:extLst>
                  <a:ext uri="{FF2B5EF4-FFF2-40B4-BE49-F238E27FC236}">
                    <a16:creationId xmlns:a16="http://schemas.microsoft.com/office/drawing/2014/main" id="{D2BB8F9C-7887-4C31-BAE9-4BC653C43A8A}"/>
                  </a:ext>
                </a:extLst>
              </p:cNvPr>
              <p:cNvSpPr/>
              <p:nvPr/>
            </p:nvSpPr>
            <p:spPr>
              <a:xfrm>
                <a:off x="4640140" y="2730849"/>
                <a:ext cx="2914" cy="2813"/>
              </a:xfrm>
              <a:custGeom>
                <a:avLst/>
                <a:gdLst>
                  <a:gd name="connsiteX0" fmla="*/ 2893 w 2914"/>
                  <a:gd name="connsiteY0" fmla="*/ 1663 h 2813"/>
                  <a:gd name="connsiteX1" fmla="*/ 22 w 2914"/>
                  <a:gd name="connsiteY1" fmla="*/ 1125 h 2813"/>
                  <a:gd name="connsiteX2" fmla="*/ 2893 w 2914"/>
                  <a:gd name="connsiteY2" fmla="*/ 1663 h 2813"/>
                  <a:gd name="connsiteX3" fmla="*/ 2893 w 291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3"/>
                    </a:moveTo>
                    <a:cubicBezTo>
                      <a:pt x="2534" y="3517"/>
                      <a:pt x="-277" y="2979"/>
                      <a:pt x="22" y="1125"/>
                    </a:cubicBezTo>
                    <a:cubicBezTo>
                      <a:pt x="32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84" name="Vrije vorm: vorm 8683">
                <a:extLst>
                  <a:ext uri="{FF2B5EF4-FFF2-40B4-BE49-F238E27FC236}">
                    <a16:creationId xmlns:a16="http://schemas.microsoft.com/office/drawing/2014/main" id="{CF13EDFA-3F44-4AC1-BC5D-0AF5BEB2FA91}"/>
                  </a:ext>
                </a:extLst>
              </p:cNvPr>
              <p:cNvSpPr/>
              <p:nvPr/>
            </p:nvSpPr>
            <p:spPr>
              <a:xfrm>
                <a:off x="4647317" y="2744604"/>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85" name="Vrije vorm: vorm 8684">
                <a:extLst>
                  <a:ext uri="{FF2B5EF4-FFF2-40B4-BE49-F238E27FC236}">
                    <a16:creationId xmlns:a16="http://schemas.microsoft.com/office/drawing/2014/main" id="{C65A6DF5-E0AD-4248-8C72-37B9F5FB4477}"/>
                  </a:ext>
                </a:extLst>
              </p:cNvPr>
              <p:cNvSpPr/>
              <p:nvPr/>
            </p:nvSpPr>
            <p:spPr>
              <a:xfrm>
                <a:off x="4660236" y="2748347"/>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86" name="Vrije vorm: vorm 8685">
                <a:extLst>
                  <a:ext uri="{FF2B5EF4-FFF2-40B4-BE49-F238E27FC236}">
                    <a16:creationId xmlns:a16="http://schemas.microsoft.com/office/drawing/2014/main" id="{8CB3CB02-86C4-4563-ACC0-58B0BA1E8063}"/>
                  </a:ext>
                </a:extLst>
              </p:cNvPr>
              <p:cNvSpPr/>
              <p:nvPr/>
            </p:nvSpPr>
            <p:spPr>
              <a:xfrm>
                <a:off x="4699828" y="2553854"/>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87" name="Vrije vorm: vorm 8686">
                <a:extLst>
                  <a:ext uri="{FF2B5EF4-FFF2-40B4-BE49-F238E27FC236}">
                    <a16:creationId xmlns:a16="http://schemas.microsoft.com/office/drawing/2014/main" id="{3BFFC991-D363-401F-954E-EC6D1E25CB4D}"/>
                  </a:ext>
                </a:extLst>
              </p:cNvPr>
              <p:cNvSpPr/>
              <p:nvPr/>
            </p:nvSpPr>
            <p:spPr>
              <a:xfrm>
                <a:off x="4686909" y="2552324"/>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2" y="-669"/>
                      <a:pt x="3192" y="-191"/>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88" name="Vrije vorm: vorm 8687">
                <a:extLst>
                  <a:ext uri="{FF2B5EF4-FFF2-40B4-BE49-F238E27FC236}">
                    <a16:creationId xmlns:a16="http://schemas.microsoft.com/office/drawing/2014/main" id="{B7281A90-9312-459C-B348-5503D89C7D28}"/>
                  </a:ext>
                </a:extLst>
              </p:cNvPr>
              <p:cNvSpPr/>
              <p:nvPr/>
            </p:nvSpPr>
            <p:spPr>
              <a:xfrm>
                <a:off x="4670582" y="2561135"/>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689" name="Vrije vorm: vorm 8688">
                <a:extLst>
                  <a:ext uri="{FF2B5EF4-FFF2-40B4-BE49-F238E27FC236}">
                    <a16:creationId xmlns:a16="http://schemas.microsoft.com/office/drawing/2014/main" id="{7BD47A0D-BEF0-454B-A47C-B52F302F88D5}"/>
                  </a:ext>
                </a:extLst>
              </p:cNvPr>
              <p:cNvSpPr/>
              <p:nvPr/>
            </p:nvSpPr>
            <p:spPr>
              <a:xfrm>
                <a:off x="4661192" y="2572958"/>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90" name="Vrije vorm: vorm 8689">
                <a:extLst>
                  <a:ext uri="{FF2B5EF4-FFF2-40B4-BE49-F238E27FC236}">
                    <a16:creationId xmlns:a16="http://schemas.microsoft.com/office/drawing/2014/main" id="{E4EED65A-7576-40CB-A146-A16971237A5A}"/>
                  </a:ext>
                </a:extLst>
              </p:cNvPr>
              <p:cNvSpPr/>
              <p:nvPr/>
            </p:nvSpPr>
            <p:spPr>
              <a:xfrm>
                <a:off x="4649111" y="2583125"/>
                <a:ext cx="2914" cy="2813"/>
              </a:xfrm>
              <a:custGeom>
                <a:avLst/>
                <a:gdLst>
                  <a:gd name="connsiteX0" fmla="*/ 2893 w 2914"/>
                  <a:gd name="connsiteY0" fmla="*/ 1664 h 2813"/>
                  <a:gd name="connsiteX1" fmla="*/ 22 w 2914"/>
                  <a:gd name="connsiteY1" fmla="*/ 1125 h 2813"/>
                  <a:gd name="connsiteX2" fmla="*/ 2893 w 2914"/>
                  <a:gd name="connsiteY2" fmla="*/ 1664 h 2813"/>
                  <a:gd name="connsiteX3" fmla="*/ 2893 w 291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91" name="Vrije vorm: vorm 8690">
                <a:extLst>
                  <a:ext uri="{FF2B5EF4-FFF2-40B4-BE49-F238E27FC236}">
                    <a16:creationId xmlns:a16="http://schemas.microsoft.com/office/drawing/2014/main" id="{5D48A9A3-73B3-4884-BD20-C61032549804}"/>
                  </a:ext>
                </a:extLst>
              </p:cNvPr>
              <p:cNvSpPr/>
              <p:nvPr/>
            </p:nvSpPr>
            <p:spPr>
              <a:xfrm>
                <a:off x="4689123" y="2607407"/>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92" name="Vrije vorm: vorm 8691">
                <a:extLst>
                  <a:ext uri="{FF2B5EF4-FFF2-40B4-BE49-F238E27FC236}">
                    <a16:creationId xmlns:a16="http://schemas.microsoft.com/office/drawing/2014/main" id="{978818AA-E9D8-450E-8AB1-367C3026EA11}"/>
                  </a:ext>
                </a:extLst>
              </p:cNvPr>
              <p:cNvSpPr/>
              <p:nvPr/>
            </p:nvSpPr>
            <p:spPr>
              <a:xfrm>
                <a:off x="4669685" y="2700621"/>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93" name="Vrije vorm: vorm 8692">
                <a:extLst>
                  <a:ext uri="{FF2B5EF4-FFF2-40B4-BE49-F238E27FC236}">
                    <a16:creationId xmlns:a16="http://schemas.microsoft.com/office/drawing/2014/main" id="{7BEDF405-1E60-4D5B-8DC5-74F6E39249B8}"/>
                  </a:ext>
                </a:extLst>
              </p:cNvPr>
              <p:cNvSpPr/>
              <p:nvPr/>
            </p:nvSpPr>
            <p:spPr>
              <a:xfrm>
                <a:off x="4631528" y="2700202"/>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694" name="Vrije vorm: vorm 8693">
                <a:extLst>
                  <a:ext uri="{FF2B5EF4-FFF2-40B4-BE49-F238E27FC236}">
                    <a16:creationId xmlns:a16="http://schemas.microsoft.com/office/drawing/2014/main" id="{FFE544BB-C197-4E8A-8EDD-84E135EFBFD4}"/>
                  </a:ext>
                </a:extLst>
              </p:cNvPr>
              <p:cNvSpPr/>
              <p:nvPr/>
            </p:nvSpPr>
            <p:spPr>
              <a:xfrm>
                <a:off x="4639602" y="2715777"/>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95" name="Vrije vorm: vorm 8694">
                <a:extLst>
                  <a:ext uri="{FF2B5EF4-FFF2-40B4-BE49-F238E27FC236}">
                    <a16:creationId xmlns:a16="http://schemas.microsoft.com/office/drawing/2014/main" id="{4A16CB7A-87B0-41BC-B9BB-4013B7DB44EF}"/>
                  </a:ext>
                </a:extLst>
              </p:cNvPr>
              <p:cNvSpPr/>
              <p:nvPr/>
            </p:nvSpPr>
            <p:spPr>
              <a:xfrm>
                <a:off x="4650846" y="2731626"/>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96" name="Vrije vorm: vorm 8695">
                <a:extLst>
                  <a:ext uri="{FF2B5EF4-FFF2-40B4-BE49-F238E27FC236}">
                    <a16:creationId xmlns:a16="http://schemas.microsoft.com/office/drawing/2014/main" id="{F749DB72-53D1-4C90-ABA1-35A385C26DC1}"/>
                  </a:ext>
                </a:extLst>
              </p:cNvPr>
              <p:cNvSpPr/>
              <p:nvPr/>
            </p:nvSpPr>
            <p:spPr>
              <a:xfrm>
                <a:off x="4655690" y="2740537"/>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8"/>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97" name="Vrije vorm: vorm 8696">
                <a:extLst>
                  <a:ext uri="{FF2B5EF4-FFF2-40B4-BE49-F238E27FC236}">
                    <a16:creationId xmlns:a16="http://schemas.microsoft.com/office/drawing/2014/main" id="{883FEC36-390C-4DB9-8193-C0730818B296}"/>
                  </a:ext>
                </a:extLst>
              </p:cNvPr>
              <p:cNvSpPr/>
              <p:nvPr/>
            </p:nvSpPr>
            <p:spPr>
              <a:xfrm>
                <a:off x="4648573" y="2592455"/>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698" name="Vrije vorm: vorm 8697">
                <a:extLst>
                  <a:ext uri="{FF2B5EF4-FFF2-40B4-BE49-F238E27FC236}">
                    <a16:creationId xmlns:a16="http://schemas.microsoft.com/office/drawing/2014/main" id="{52DC638E-3D7E-4E8B-B48F-9CF716D7A041}"/>
                  </a:ext>
                </a:extLst>
              </p:cNvPr>
              <p:cNvSpPr/>
              <p:nvPr/>
            </p:nvSpPr>
            <p:spPr>
              <a:xfrm>
                <a:off x="4661312" y="2582108"/>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699" name="Vrije vorm: vorm 8698">
                <a:extLst>
                  <a:ext uri="{FF2B5EF4-FFF2-40B4-BE49-F238E27FC236}">
                    <a16:creationId xmlns:a16="http://schemas.microsoft.com/office/drawing/2014/main" id="{81384678-DE29-4168-A522-89B9DB849121}"/>
                  </a:ext>
                </a:extLst>
              </p:cNvPr>
              <p:cNvSpPr/>
              <p:nvPr/>
            </p:nvSpPr>
            <p:spPr>
              <a:xfrm>
                <a:off x="4670462" y="2570225"/>
                <a:ext cx="2915" cy="2794"/>
              </a:xfrm>
              <a:custGeom>
                <a:avLst/>
                <a:gdLst>
                  <a:gd name="connsiteX0" fmla="*/ 2893 w 2915"/>
                  <a:gd name="connsiteY0" fmla="*/ 1645 h 2794"/>
                  <a:gd name="connsiteX1" fmla="*/ 22 w 2915"/>
                  <a:gd name="connsiteY1" fmla="*/ 1106 h 2794"/>
                  <a:gd name="connsiteX2" fmla="*/ 2893 w 2915"/>
                  <a:gd name="connsiteY2" fmla="*/ 1645 h 2794"/>
                  <a:gd name="connsiteX3" fmla="*/ 2893 w 2915"/>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5" h="2794">
                    <a:moveTo>
                      <a:pt x="2893" y="1645"/>
                    </a:moveTo>
                    <a:cubicBezTo>
                      <a:pt x="2534" y="3499"/>
                      <a:pt x="-277" y="2960"/>
                      <a:pt x="22" y="1106"/>
                    </a:cubicBezTo>
                    <a:cubicBezTo>
                      <a:pt x="322" y="-688"/>
                      <a:pt x="319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00" name="Vrije vorm: vorm 8699">
                <a:extLst>
                  <a:ext uri="{FF2B5EF4-FFF2-40B4-BE49-F238E27FC236}">
                    <a16:creationId xmlns:a16="http://schemas.microsoft.com/office/drawing/2014/main" id="{D65965AC-FBDA-4CC4-BB9A-860A646A30EC}"/>
                  </a:ext>
                </a:extLst>
              </p:cNvPr>
              <p:cNvSpPr/>
              <p:nvPr/>
            </p:nvSpPr>
            <p:spPr>
              <a:xfrm>
                <a:off x="4683321" y="2562252"/>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01" name="Vrije vorm: vorm 8700">
                <a:extLst>
                  <a:ext uri="{FF2B5EF4-FFF2-40B4-BE49-F238E27FC236}">
                    <a16:creationId xmlns:a16="http://schemas.microsoft.com/office/drawing/2014/main" id="{221D43D0-64C7-42D8-A772-E1F45AE3B7A6}"/>
                  </a:ext>
                </a:extLst>
              </p:cNvPr>
              <p:cNvSpPr/>
              <p:nvPr/>
            </p:nvSpPr>
            <p:spPr>
              <a:xfrm>
                <a:off x="4692449" y="2559685"/>
                <a:ext cx="2002" cy="6448"/>
              </a:xfrm>
              <a:custGeom>
                <a:avLst/>
                <a:gdLst>
                  <a:gd name="connsiteX0" fmla="*/ 1958 w 2002"/>
                  <a:gd name="connsiteY0" fmla="*/ 6084 h 6448"/>
                  <a:gd name="connsiteX1" fmla="*/ 45 w 2002"/>
                  <a:gd name="connsiteY1" fmla="*/ 343 h 6448"/>
                  <a:gd name="connsiteX2" fmla="*/ 1958 w 2002"/>
                  <a:gd name="connsiteY2" fmla="*/ 6084 h 6448"/>
                  <a:gd name="connsiteX3" fmla="*/ 1958 w 2002"/>
                  <a:gd name="connsiteY3" fmla="*/ 6084 h 6448"/>
                </a:gdLst>
                <a:ahLst/>
                <a:cxnLst>
                  <a:cxn ang="0">
                    <a:pos x="connsiteX0" y="connsiteY0"/>
                  </a:cxn>
                  <a:cxn ang="0">
                    <a:pos x="connsiteX1" y="connsiteY1"/>
                  </a:cxn>
                  <a:cxn ang="0">
                    <a:pos x="connsiteX2" y="connsiteY2"/>
                  </a:cxn>
                  <a:cxn ang="0">
                    <a:pos x="connsiteX3" y="connsiteY3"/>
                  </a:cxn>
                </a:cxnLst>
                <a:rect l="l" t="t" r="r" b="b"/>
                <a:pathLst>
                  <a:path w="2002" h="6448">
                    <a:moveTo>
                      <a:pt x="1958" y="6084"/>
                    </a:moveTo>
                    <a:cubicBezTo>
                      <a:pt x="1599" y="7939"/>
                      <a:pt x="-314" y="2197"/>
                      <a:pt x="45" y="343"/>
                    </a:cubicBezTo>
                    <a:cubicBezTo>
                      <a:pt x="403" y="-1451"/>
                      <a:pt x="2317" y="4290"/>
                      <a:pt x="1958" y="6084"/>
                    </a:cubicBezTo>
                    <a:lnTo>
                      <a:pt x="1958" y="6084"/>
                    </a:lnTo>
                    <a:close/>
                  </a:path>
                </a:pathLst>
              </a:custGeom>
              <a:grpFill/>
              <a:ln w="6350" cap="flat">
                <a:solidFill>
                  <a:schemeClr val="bg1">
                    <a:alpha val="80000"/>
                  </a:schemeClr>
                </a:solidFill>
                <a:prstDash val="solid"/>
                <a:miter/>
              </a:ln>
            </p:spPr>
            <p:txBody>
              <a:bodyPr rtlCol="0" anchor="ctr"/>
              <a:lstStyle/>
              <a:p>
                <a:endParaRPr lang="en-GB"/>
              </a:p>
            </p:txBody>
          </p:sp>
          <p:sp>
            <p:nvSpPr>
              <p:cNvPr id="8702" name="Vrije vorm: vorm 8701">
                <a:extLst>
                  <a:ext uri="{FF2B5EF4-FFF2-40B4-BE49-F238E27FC236}">
                    <a16:creationId xmlns:a16="http://schemas.microsoft.com/office/drawing/2014/main" id="{DF7ED0BA-E7B6-40A3-9997-CA93D771ABB3}"/>
                  </a:ext>
                </a:extLst>
              </p:cNvPr>
              <p:cNvSpPr/>
              <p:nvPr/>
            </p:nvSpPr>
            <p:spPr>
              <a:xfrm>
                <a:off x="4626983" y="2691155"/>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03" name="Vrije vorm: vorm 8702">
                <a:extLst>
                  <a:ext uri="{FF2B5EF4-FFF2-40B4-BE49-F238E27FC236}">
                    <a16:creationId xmlns:a16="http://schemas.microsoft.com/office/drawing/2014/main" id="{B2B19BD3-1489-4F14-9DBD-99173FC660B0}"/>
                  </a:ext>
                </a:extLst>
              </p:cNvPr>
              <p:cNvSpPr/>
              <p:nvPr/>
            </p:nvSpPr>
            <p:spPr>
              <a:xfrm>
                <a:off x="4620344" y="2677321"/>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04" name="Vrije vorm: vorm 8703">
                <a:extLst>
                  <a:ext uri="{FF2B5EF4-FFF2-40B4-BE49-F238E27FC236}">
                    <a16:creationId xmlns:a16="http://schemas.microsoft.com/office/drawing/2014/main" id="{497586CD-9517-4220-88B9-F854E28B71C5}"/>
                  </a:ext>
                </a:extLst>
              </p:cNvPr>
              <p:cNvSpPr/>
              <p:nvPr/>
            </p:nvSpPr>
            <p:spPr>
              <a:xfrm>
                <a:off x="4671659" y="2691555"/>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05" name="Vrije vorm: vorm 8704">
                <a:extLst>
                  <a:ext uri="{FF2B5EF4-FFF2-40B4-BE49-F238E27FC236}">
                    <a16:creationId xmlns:a16="http://schemas.microsoft.com/office/drawing/2014/main" id="{CC538A2F-1DB7-4715-A96A-7BFD39AFF4AA}"/>
                  </a:ext>
                </a:extLst>
              </p:cNvPr>
              <p:cNvSpPr/>
              <p:nvPr/>
            </p:nvSpPr>
            <p:spPr>
              <a:xfrm>
                <a:off x="4687149" y="2616437"/>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8"/>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06" name="Vrije vorm: vorm 8705">
                <a:extLst>
                  <a:ext uri="{FF2B5EF4-FFF2-40B4-BE49-F238E27FC236}">
                    <a16:creationId xmlns:a16="http://schemas.microsoft.com/office/drawing/2014/main" id="{1CBE6C44-C5F8-4A68-B618-4D4D713483C1}"/>
                  </a:ext>
                </a:extLst>
              </p:cNvPr>
              <p:cNvSpPr/>
              <p:nvPr/>
            </p:nvSpPr>
            <p:spPr>
              <a:xfrm>
                <a:off x="4681108" y="2661806"/>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07" name="Vrije vorm: vorm 8706">
                <a:extLst>
                  <a:ext uri="{FF2B5EF4-FFF2-40B4-BE49-F238E27FC236}">
                    <a16:creationId xmlns:a16="http://schemas.microsoft.com/office/drawing/2014/main" id="{A2CD4772-06D6-48A6-8D90-6D6D4DE5B26E}"/>
                  </a:ext>
                </a:extLst>
              </p:cNvPr>
              <p:cNvSpPr/>
              <p:nvPr/>
            </p:nvSpPr>
            <p:spPr>
              <a:xfrm>
                <a:off x="4683142" y="2652177"/>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08" name="Vrije vorm: vorm 8707">
                <a:extLst>
                  <a:ext uri="{FF2B5EF4-FFF2-40B4-BE49-F238E27FC236}">
                    <a16:creationId xmlns:a16="http://schemas.microsoft.com/office/drawing/2014/main" id="{593FB599-2579-4E3C-894F-FA2C5541CA6C}"/>
                  </a:ext>
                </a:extLst>
              </p:cNvPr>
              <p:cNvSpPr/>
              <p:nvPr/>
            </p:nvSpPr>
            <p:spPr>
              <a:xfrm>
                <a:off x="4632605" y="2653373"/>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09" name="Vrije vorm: vorm 8708">
                <a:extLst>
                  <a:ext uri="{FF2B5EF4-FFF2-40B4-BE49-F238E27FC236}">
                    <a16:creationId xmlns:a16="http://schemas.microsoft.com/office/drawing/2014/main" id="{3A35A55D-A107-4EC0-8F5B-AD3982729EDE}"/>
                  </a:ext>
                </a:extLst>
              </p:cNvPr>
              <p:cNvSpPr/>
              <p:nvPr/>
            </p:nvSpPr>
            <p:spPr>
              <a:xfrm>
                <a:off x="4634279" y="2642488"/>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10" name="Vrije vorm: vorm 8709">
                <a:extLst>
                  <a:ext uri="{FF2B5EF4-FFF2-40B4-BE49-F238E27FC236}">
                    <a16:creationId xmlns:a16="http://schemas.microsoft.com/office/drawing/2014/main" id="{B80C997C-0972-46FE-850A-F709983F7D17}"/>
                  </a:ext>
                </a:extLst>
              </p:cNvPr>
              <p:cNvSpPr/>
              <p:nvPr/>
            </p:nvSpPr>
            <p:spPr>
              <a:xfrm>
                <a:off x="4659278" y="2691395"/>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11" name="Vrije vorm: vorm 8710">
                <a:extLst>
                  <a:ext uri="{FF2B5EF4-FFF2-40B4-BE49-F238E27FC236}">
                    <a16:creationId xmlns:a16="http://schemas.microsoft.com/office/drawing/2014/main" id="{0BEAD6F0-0E74-4032-A2DE-3EB98BFE1811}"/>
                  </a:ext>
                </a:extLst>
              </p:cNvPr>
              <p:cNvSpPr/>
              <p:nvPr/>
            </p:nvSpPr>
            <p:spPr>
              <a:xfrm>
                <a:off x="4623335" y="2659055"/>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12" name="Vrije vorm: vorm 8711">
                <a:extLst>
                  <a:ext uri="{FF2B5EF4-FFF2-40B4-BE49-F238E27FC236}">
                    <a16:creationId xmlns:a16="http://schemas.microsoft.com/office/drawing/2014/main" id="{E30FC422-18B6-45A9-BB06-9BB4F3603407}"/>
                  </a:ext>
                </a:extLst>
              </p:cNvPr>
              <p:cNvSpPr/>
              <p:nvPr/>
            </p:nvSpPr>
            <p:spPr>
              <a:xfrm>
                <a:off x="4627282" y="2634175"/>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13" name="Vrije vorm: vorm 8712">
                <a:extLst>
                  <a:ext uri="{FF2B5EF4-FFF2-40B4-BE49-F238E27FC236}">
                    <a16:creationId xmlns:a16="http://schemas.microsoft.com/office/drawing/2014/main" id="{4FCECC5C-DC02-448E-8FA2-5B6D61A5A1EF}"/>
                  </a:ext>
                </a:extLst>
              </p:cNvPr>
              <p:cNvSpPr/>
              <p:nvPr/>
            </p:nvSpPr>
            <p:spPr>
              <a:xfrm>
                <a:off x="4676443" y="2612465"/>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14" name="Vrije vorm: vorm 8713">
                <a:extLst>
                  <a:ext uri="{FF2B5EF4-FFF2-40B4-BE49-F238E27FC236}">
                    <a16:creationId xmlns:a16="http://schemas.microsoft.com/office/drawing/2014/main" id="{D6A0D201-A096-4C66-90FA-B8B0C22ACCFB}"/>
                  </a:ext>
                </a:extLst>
              </p:cNvPr>
              <p:cNvSpPr/>
              <p:nvPr/>
            </p:nvSpPr>
            <p:spPr>
              <a:xfrm>
                <a:off x="4640679" y="2599008"/>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15" name="Vrije vorm: vorm 8714">
                <a:extLst>
                  <a:ext uri="{FF2B5EF4-FFF2-40B4-BE49-F238E27FC236}">
                    <a16:creationId xmlns:a16="http://schemas.microsoft.com/office/drawing/2014/main" id="{31D7B967-29F3-451B-B134-8873224B2182}"/>
                  </a:ext>
                </a:extLst>
              </p:cNvPr>
              <p:cNvSpPr/>
              <p:nvPr/>
            </p:nvSpPr>
            <p:spPr>
              <a:xfrm>
                <a:off x="4632485" y="2605134"/>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16" name="Vrije vorm: vorm 8715">
                <a:extLst>
                  <a:ext uri="{FF2B5EF4-FFF2-40B4-BE49-F238E27FC236}">
                    <a16:creationId xmlns:a16="http://schemas.microsoft.com/office/drawing/2014/main" id="{E1AFF59B-3FF5-4CB5-92A2-8674B7196788}"/>
                  </a:ext>
                </a:extLst>
              </p:cNvPr>
              <p:cNvSpPr/>
              <p:nvPr/>
            </p:nvSpPr>
            <p:spPr>
              <a:xfrm>
                <a:off x="4352408" y="2577223"/>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17" name="Vrije vorm: vorm 8716">
                <a:extLst>
                  <a:ext uri="{FF2B5EF4-FFF2-40B4-BE49-F238E27FC236}">
                    <a16:creationId xmlns:a16="http://schemas.microsoft.com/office/drawing/2014/main" id="{752226B5-2C00-4A7C-865D-4DF00B86F371}"/>
                  </a:ext>
                </a:extLst>
              </p:cNvPr>
              <p:cNvSpPr/>
              <p:nvPr/>
            </p:nvSpPr>
            <p:spPr>
              <a:xfrm>
                <a:off x="4361020" y="2571462"/>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22"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18" name="Vrije vorm: vorm 8717">
                <a:extLst>
                  <a:ext uri="{FF2B5EF4-FFF2-40B4-BE49-F238E27FC236}">
                    <a16:creationId xmlns:a16="http://schemas.microsoft.com/office/drawing/2014/main" id="{67D60FBC-4D8D-40B0-B1FD-2994F110CA32}"/>
                  </a:ext>
                </a:extLst>
              </p:cNvPr>
              <p:cNvSpPr/>
              <p:nvPr/>
            </p:nvSpPr>
            <p:spPr>
              <a:xfrm>
                <a:off x="4395888" y="2546438"/>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19" name="Vrije vorm: vorm 8718">
                <a:extLst>
                  <a:ext uri="{FF2B5EF4-FFF2-40B4-BE49-F238E27FC236}">
                    <a16:creationId xmlns:a16="http://schemas.microsoft.com/office/drawing/2014/main" id="{56EA1D32-3088-40D6-8213-E543F223BBAF}"/>
                  </a:ext>
                </a:extLst>
              </p:cNvPr>
              <p:cNvSpPr/>
              <p:nvPr/>
            </p:nvSpPr>
            <p:spPr>
              <a:xfrm>
                <a:off x="4402766" y="2542251"/>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20" name="Vrije vorm: vorm 8719">
                <a:extLst>
                  <a:ext uri="{FF2B5EF4-FFF2-40B4-BE49-F238E27FC236}">
                    <a16:creationId xmlns:a16="http://schemas.microsoft.com/office/drawing/2014/main" id="{41E29ED2-8B8D-4DD1-B70F-41257CE8F829}"/>
                  </a:ext>
                </a:extLst>
              </p:cNvPr>
              <p:cNvSpPr/>
              <p:nvPr/>
            </p:nvSpPr>
            <p:spPr>
              <a:xfrm>
                <a:off x="4427406" y="2524549"/>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21" name="Vrije vorm: vorm 8720">
                <a:extLst>
                  <a:ext uri="{FF2B5EF4-FFF2-40B4-BE49-F238E27FC236}">
                    <a16:creationId xmlns:a16="http://schemas.microsoft.com/office/drawing/2014/main" id="{82A84290-DEB5-4D09-9F27-70E12E11F294}"/>
                  </a:ext>
                </a:extLst>
              </p:cNvPr>
              <p:cNvSpPr/>
              <p:nvPr/>
            </p:nvSpPr>
            <p:spPr>
              <a:xfrm>
                <a:off x="4434045" y="2520107"/>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22" name="Vrije vorm: vorm 8721">
                <a:extLst>
                  <a:ext uri="{FF2B5EF4-FFF2-40B4-BE49-F238E27FC236}">
                    <a16:creationId xmlns:a16="http://schemas.microsoft.com/office/drawing/2014/main" id="{C864F152-AC30-4183-930F-00EF2BB8D50E}"/>
                  </a:ext>
                </a:extLst>
              </p:cNvPr>
              <p:cNvSpPr/>
              <p:nvPr/>
            </p:nvSpPr>
            <p:spPr>
              <a:xfrm>
                <a:off x="4467058" y="2496603"/>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23" name="Vrije vorm: vorm 8722">
                <a:extLst>
                  <a:ext uri="{FF2B5EF4-FFF2-40B4-BE49-F238E27FC236}">
                    <a16:creationId xmlns:a16="http://schemas.microsoft.com/office/drawing/2014/main" id="{283F83EB-585F-4B35-88F1-14C4D9B3E1C0}"/>
                  </a:ext>
                </a:extLst>
              </p:cNvPr>
              <p:cNvSpPr/>
              <p:nvPr/>
            </p:nvSpPr>
            <p:spPr>
              <a:xfrm>
                <a:off x="4475910" y="2490424"/>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24" name="Vrije vorm: vorm 8723">
                <a:extLst>
                  <a:ext uri="{FF2B5EF4-FFF2-40B4-BE49-F238E27FC236}">
                    <a16:creationId xmlns:a16="http://schemas.microsoft.com/office/drawing/2014/main" id="{D4824B22-5FC4-4162-9DB8-87CD7C9A5D77}"/>
                  </a:ext>
                </a:extLst>
              </p:cNvPr>
              <p:cNvSpPr/>
              <p:nvPr/>
            </p:nvSpPr>
            <p:spPr>
              <a:xfrm>
                <a:off x="4351092" y="2552025"/>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25" name="Vrije vorm: vorm 8724">
                <a:extLst>
                  <a:ext uri="{FF2B5EF4-FFF2-40B4-BE49-F238E27FC236}">
                    <a16:creationId xmlns:a16="http://schemas.microsoft.com/office/drawing/2014/main" id="{A8061E8B-5A30-48E2-9881-5D877E20A599}"/>
                  </a:ext>
                </a:extLst>
              </p:cNvPr>
              <p:cNvSpPr/>
              <p:nvPr/>
            </p:nvSpPr>
            <p:spPr>
              <a:xfrm>
                <a:off x="4349238" y="2522660"/>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26" name="Vrije vorm: vorm 8725">
                <a:extLst>
                  <a:ext uri="{FF2B5EF4-FFF2-40B4-BE49-F238E27FC236}">
                    <a16:creationId xmlns:a16="http://schemas.microsoft.com/office/drawing/2014/main" id="{1A1CC631-37C2-4D2F-9D16-7AA9ABA8ADBB}"/>
                  </a:ext>
                </a:extLst>
              </p:cNvPr>
              <p:cNvSpPr/>
              <p:nvPr/>
            </p:nvSpPr>
            <p:spPr>
              <a:xfrm>
                <a:off x="4347683" y="2495721"/>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27" name="Vrije vorm: vorm 8726">
                <a:extLst>
                  <a:ext uri="{FF2B5EF4-FFF2-40B4-BE49-F238E27FC236}">
                    <a16:creationId xmlns:a16="http://schemas.microsoft.com/office/drawing/2014/main" id="{6D8A5888-527C-42AB-ACA4-B14F18884D0F}"/>
                  </a:ext>
                </a:extLst>
              </p:cNvPr>
              <p:cNvSpPr/>
              <p:nvPr/>
            </p:nvSpPr>
            <p:spPr>
              <a:xfrm>
                <a:off x="4349776" y="2464203"/>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28" name="Vrije vorm: vorm 8727">
                <a:extLst>
                  <a:ext uri="{FF2B5EF4-FFF2-40B4-BE49-F238E27FC236}">
                    <a16:creationId xmlns:a16="http://schemas.microsoft.com/office/drawing/2014/main" id="{CB8BA842-7155-4555-A193-DBE500EB5737}"/>
                  </a:ext>
                </a:extLst>
              </p:cNvPr>
              <p:cNvSpPr/>
              <p:nvPr/>
            </p:nvSpPr>
            <p:spPr>
              <a:xfrm>
                <a:off x="4349657" y="2453003"/>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29" name="Vrije vorm: vorm 8728">
                <a:extLst>
                  <a:ext uri="{FF2B5EF4-FFF2-40B4-BE49-F238E27FC236}">
                    <a16:creationId xmlns:a16="http://schemas.microsoft.com/office/drawing/2014/main" id="{C987C9D4-8537-461D-81DC-AF0C4D3973BD}"/>
                  </a:ext>
                </a:extLst>
              </p:cNvPr>
              <p:cNvSpPr/>
              <p:nvPr/>
            </p:nvSpPr>
            <p:spPr>
              <a:xfrm>
                <a:off x="4360601" y="2454275"/>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30" name="Vrije vorm: vorm 8729">
                <a:extLst>
                  <a:ext uri="{FF2B5EF4-FFF2-40B4-BE49-F238E27FC236}">
                    <a16:creationId xmlns:a16="http://schemas.microsoft.com/office/drawing/2014/main" id="{D174876A-1807-4E15-8EF6-42C18CE6296B}"/>
                  </a:ext>
                </a:extLst>
              </p:cNvPr>
              <p:cNvSpPr/>
              <p:nvPr/>
            </p:nvSpPr>
            <p:spPr>
              <a:xfrm>
                <a:off x="4401808" y="2465962"/>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31" name="Vrije vorm: vorm 8730">
                <a:extLst>
                  <a:ext uri="{FF2B5EF4-FFF2-40B4-BE49-F238E27FC236}">
                    <a16:creationId xmlns:a16="http://schemas.microsoft.com/office/drawing/2014/main" id="{725948DE-B2AE-4C2C-95EE-6D7D49EA8457}"/>
                  </a:ext>
                </a:extLst>
              </p:cNvPr>
              <p:cNvSpPr/>
              <p:nvPr/>
            </p:nvSpPr>
            <p:spPr>
              <a:xfrm>
                <a:off x="4432370" y="2476010"/>
                <a:ext cx="2924" cy="2813"/>
              </a:xfrm>
              <a:custGeom>
                <a:avLst/>
                <a:gdLst>
                  <a:gd name="connsiteX0" fmla="*/ 2893 w 2924"/>
                  <a:gd name="connsiteY0" fmla="*/ 1664 h 2813"/>
                  <a:gd name="connsiteX1" fmla="*/ 22 w 2924"/>
                  <a:gd name="connsiteY1" fmla="*/ 1125 h 2813"/>
                  <a:gd name="connsiteX2" fmla="*/ 2893 w 2924"/>
                  <a:gd name="connsiteY2" fmla="*/ 1664 h 2813"/>
                  <a:gd name="connsiteX3" fmla="*/ 2893 w 292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32" name="Vrije vorm: vorm 8731">
                <a:extLst>
                  <a:ext uri="{FF2B5EF4-FFF2-40B4-BE49-F238E27FC236}">
                    <a16:creationId xmlns:a16="http://schemas.microsoft.com/office/drawing/2014/main" id="{31F9B9E1-4DDF-49A9-BB8D-8F6E42952875}"/>
                  </a:ext>
                </a:extLst>
              </p:cNvPr>
              <p:cNvSpPr/>
              <p:nvPr/>
            </p:nvSpPr>
            <p:spPr>
              <a:xfrm>
                <a:off x="4455934" y="2484059"/>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33" name="Vrije vorm: vorm 8732">
                <a:extLst>
                  <a:ext uri="{FF2B5EF4-FFF2-40B4-BE49-F238E27FC236}">
                    <a16:creationId xmlns:a16="http://schemas.microsoft.com/office/drawing/2014/main" id="{375BF8AF-5888-4FC7-99BD-FF3BC60C0927}"/>
                  </a:ext>
                </a:extLst>
              </p:cNvPr>
              <p:cNvSpPr/>
              <p:nvPr/>
            </p:nvSpPr>
            <p:spPr>
              <a:xfrm>
                <a:off x="4496782" y="2497600"/>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34" name="Vrije vorm: vorm 8733">
                <a:extLst>
                  <a:ext uri="{FF2B5EF4-FFF2-40B4-BE49-F238E27FC236}">
                    <a16:creationId xmlns:a16="http://schemas.microsoft.com/office/drawing/2014/main" id="{9CFE9A02-48C3-4FF1-9961-6A74F69E92AF}"/>
                  </a:ext>
                </a:extLst>
              </p:cNvPr>
              <p:cNvSpPr/>
              <p:nvPr/>
            </p:nvSpPr>
            <p:spPr>
              <a:xfrm>
                <a:off x="4484941" y="2502599"/>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35" name="Vrije vorm: vorm 8734">
                <a:extLst>
                  <a:ext uri="{FF2B5EF4-FFF2-40B4-BE49-F238E27FC236}">
                    <a16:creationId xmlns:a16="http://schemas.microsoft.com/office/drawing/2014/main" id="{25DE5875-A0BD-441B-BC0E-2A9C8EC4C8D0}"/>
                  </a:ext>
                </a:extLst>
              </p:cNvPr>
              <p:cNvSpPr/>
              <p:nvPr/>
            </p:nvSpPr>
            <p:spPr>
              <a:xfrm>
                <a:off x="4396725" y="2489083"/>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36" name="Vrije vorm: vorm 8735">
                <a:extLst>
                  <a:ext uri="{FF2B5EF4-FFF2-40B4-BE49-F238E27FC236}">
                    <a16:creationId xmlns:a16="http://schemas.microsoft.com/office/drawing/2014/main" id="{24967994-CE46-4460-A168-C23C9E227F2D}"/>
                  </a:ext>
                </a:extLst>
              </p:cNvPr>
              <p:cNvSpPr/>
              <p:nvPr/>
            </p:nvSpPr>
            <p:spPr>
              <a:xfrm>
                <a:off x="4415684" y="2505136"/>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37" name="Vrije vorm: vorm 8736">
                <a:extLst>
                  <a:ext uri="{FF2B5EF4-FFF2-40B4-BE49-F238E27FC236}">
                    <a16:creationId xmlns:a16="http://schemas.microsoft.com/office/drawing/2014/main" id="{B3E8D30D-C2D9-4BC4-AF18-19658D14F0EC}"/>
                  </a:ext>
                </a:extLst>
              </p:cNvPr>
              <p:cNvSpPr/>
              <p:nvPr/>
            </p:nvSpPr>
            <p:spPr>
              <a:xfrm>
                <a:off x="4453781" y="2536972"/>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38" name="Vrije vorm: vorm 8737">
                <a:extLst>
                  <a:ext uri="{FF2B5EF4-FFF2-40B4-BE49-F238E27FC236}">
                    <a16:creationId xmlns:a16="http://schemas.microsoft.com/office/drawing/2014/main" id="{35C62DA1-CD6E-4A92-89E8-97B740958EE5}"/>
                  </a:ext>
                </a:extLst>
              </p:cNvPr>
              <p:cNvSpPr/>
              <p:nvPr/>
            </p:nvSpPr>
            <p:spPr>
              <a:xfrm>
                <a:off x="4441042" y="2536331"/>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39" name="Vrije vorm: vorm 8738">
                <a:extLst>
                  <a:ext uri="{FF2B5EF4-FFF2-40B4-BE49-F238E27FC236}">
                    <a16:creationId xmlns:a16="http://schemas.microsoft.com/office/drawing/2014/main" id="{2093B78C-69C6-4BAB-BD5E-D9BB5EC06311}"/>
                  </a:ext>
                </a:extLst>
              </p:cNvPr>
              <p:cNvSpPr/>
              <p:nvPr/>
            </p:nvSpPr>
            <p:spPr>
              <a:xfrm>
                <a:off x="4414009" y="2513150"/>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40" name="Vrije vorm: vorm 8739">
                <a:extLst>
                  <a:ext uri="{FF2B5EF4-FFF2-40B4-BE49-F238E27FC236}">
                    <a16:creationId xmlns:a16="http://schemas.microsoft.com/office/drawing/2014/main" id="{BEFB2EB3-DC2E-412E-966B-5C8831004EF1}"/>
                  </a:ext>
                </a:extLst>
              </p:cNvPr>
              <p:cNvSpPr/>
              <p:nvPr/>
            </p:nvSpPr>
            <p:spPr>
              <a:xfrm>
                <a:off x="4388771" y="2490981"/>
                <a:ext cx="2914" cy="2794"/>
              </a:xfrm>
              <a:custGeom>
                <a:avLst/>
                <a:gdLst>
                  <a:gd name="connsiteX0" fmla="*/ 2893 w 2914"/>
                  <a:gd name="connsiteY0" fmla="*/ 1645 h 2794"/>
                  <a:gd name="connsiteX1" fmla="*/ 22 w 2914"/>
                  <a:gd name="connsiteY1" fmla="*/ 1106 h 2794"/>
                  <a:gd name="connsiteX2" fmla="*/ 2893 w 2914"/>
                  <a:gd name="connsiteY2" fmla="*/ 1645 h 2794"/>
                  <a:gd name="connsiteX3" fmla="*/ 2893 w 291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4" h="2794">
                    <a:moveTo>
                      <a:pt x="2893" y="1645"/>
                    </a:moveTo>
                    <a:cubicBezTo>
                      <a:pt x="2534" y="3499"/>
                      <a:pt x="-277" y="2960"/>
                      <a:pt x="22" y="1106"/>
                    </a:cubicBezTo>
                    <a:cubicBezTo>
                      <a:pt x="321" y="-688"/>
                      <a:pt x="319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41" name="Vrije vorm: vorm 8740">
                <a:extLst>
                  <a:ext uri="{FF2B5EF4-FFF2-40B4-BE49-F238E27FC236}">
                    <a16:creationId xmlns:a16="http://schemas.microsoft.com/office/drawing/2014/main" id="{C1DE6A08-2045-4970-A455-3A9A27AC24B0}"/>
                  </a:ext>
                </a:extLst>
              </p:cNvPr>
              <p:cNvSpPr/>
              <p:nvPr/>
            </p:nvSpPr>
            <p:spPr>
              <a:xfrm>
                <a:off x="4371666" y="2502420"/>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42" name="Vrije vorm: vorm 8741">
                <a:extLst>
                  <a:ext uri="{FF2B5EF4-FFF2-40B4-BE49-F238E27FC236}">
                    <a16:creationId xmlns:a16="http://schemas.microsoft.com/office/drawing/2014/main" id="{A7016EA3-A773-4651-9D04-CEF9B7229604}"/>
                  </a:ext>
                </a:extLst>
              </p:cNvPr>
              <p:cNvSpPr/>
              <p:nvPr/>
            </p:nvSpPr>
            <p:spPr>
              <a:xfrm>
                <a:off x="4382850" y="2522301"/>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43" name="Vrije vorm: vorm 8742">
                <a:extLst>
                  <a:ext uri="{FF2B5EF4-FFF2-40B4-BE49-F238E27FC236}">
                    <a16:creationId xmlns:a16="http://schemas.microsoft.com/office/drawing/2014/main" id="{435025E4-97D9-4C32-8F35-3D7DE4A7296F}"/>
                  </a:ext>
                </a:extLst>
              </p:cNvPr>
              <p:cNvSpPr/>
              <p:nvPr/>
            </p:nvSpPr>
            <p:spPr>
              <a:xfrm>
                <a:off x="4393017" y="2525310"/>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44" name="Vrije vorm: vorm 8743">
                <a:extLst>
                  <a:ext uri="{FF2B5EF4-FFF2-40B4-BE49-F238E27FC236}">
                    <a16:creationId xmlns:a16="http://schemas.microsoft.com/office/drawing/2014/main" id="{74DBCB76-E82D-4203-9FCE-6A5FFEF31626}"/>
                  </a:ext>
                </a:extLst>
              </p:cNvPr>
              <p:cNvSpPr/>
              <p:nvPr/>
            </p:nvSpPr>
            <p:spPr>
              <a:xfrm>
                <a:off x="4380936" y="2503855"/>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45" name="Vrije vorm: vorm 8744">
                <a:extLst>
                  <a:ext uri="{FF2B5EF4-FFF2-40B4-BE49-F238E27FC236}">
                    <a16:creationId xmlns:a16="http://schemas.microsoft.com/office/drawing/2014/main" id="{D30B4E7D-BC01-4D7D-99CF-2D2567AAF5FB}"/>
                  </a:ext>
                </a:extLst>
              </p:cNvPr>
              <p:cNvSpPr/>
              <p:nvPr/>
            </p:nvSpPr>
            <p:spPr>
              <a:xfrm>
                <a:off x="4405457" y="2563483"/>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46" name="Vrije vorm: vorm 8745">
                <a:extLst>
                  <a:ext uri="{FF2B5EF4-FFF2-40B4-BE49-F238E27FC236}">
                    <a16:creationId xmlns:a16="http://schemas.microsoft.com/office/drawing/2014/main" id="{A18871A8-4676-4B8D-961F-877CDF791015}"/>
                  </a:ext>
                </a:extLst>
              </p:cNvPr>
              <p:cNvSpPr/>
              <p:nvPr/>
            </p:nvSpPr>
            <p:spPr>
              <a:xfrm>
                <a:off x="4416641" y="2567396"/>
                <a:ext cx="2914" cy="2813"/>
              </a:xfrm>
              <a:custGeom>
                <a:avLst/>
                <a:gdLst>
                  <a:gd name="connsiteX0" fmla="*/ 2893 w 2914"/>
                  <a:gd name="connsiteY0" fmla="*/ 1664 h 2813"/>
                  <a:gd name="connsiteX1" fmla="*/ 22 w 2914"/>
                  <a:gd name="connsiteY1" fmla="*/ 1125 h 2813"/>
                  <a:gd name="connsiteX2" fmla="*/ 2893 w 2914"/>
                  <a:gd name="connsiteY2" fmla="*/ 1664 h 2813"/>
                  <a:gd name="connsiteX3" fmla="*/ 2893 w 291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47" name="Vrije vorm: vorm 8746">
                <a:extLst>
                  <a:ext uri="{FF2B5EF4-FFF2-40B4-BE49-F238E27FC236}">
                    <a16:creationId xmlns:a16="http://schemas.microsoft.com/office/drawing/2014/main" id="{9BA673CB-D7B4-44D0-95E0-441647B05FD6}"/>
                  </a:ext>
                </a:extLst>
              </p:cNvPr>
              <p:cNvSpPr/>
              <p:nvPr/>
            </p:nvSpPr>
            <p:spPr>
              <a:xfrm>
                <a:off x="4359345" y="2543054"/>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48" name="Vrije vorm: vorm 8747">
                <a:extLst>
                  <a:ext uri="{FF2B5EF4-FFF2-40B4-BE49-F238E27FC236}">
                    <a16:creationId xmlns:a16="http://schemas.microsoft.com/office/drawing/2014/main" id="{4042B002-AA19-4EA9-B5AD-EA7B7A791A2D}"/>
                  </a:ext>
                </a:extLst>
              </p:cNvPr>
              <p:cNvSpPr/>
              <p:nvPr/>
            </p:nvSpPr>
            <p:spPr>
              <a:xfrm>
                <a:off x="4357551" y="2513689"/>
                <a:ext cx="2914" cy="2813"/>
              </a:xfrm>
              <a:custGeom>
                <a:avLst/>
                <a:gdLst>
                  <a:gd name="connsiteX0" fmla="*/ 2893 w 2914"/>
                  <a:gd name="connsiteY0" fmla="*/ 1663 h 2813"/>
                  <a:gd name="connsiteX1" fmla="*/ 22 w 2914"/>
                  <a:gd name="connsiteY1" fmla="*/ 1125 h 2813"/>
                  <a:gd name="connsiteX2" fmla="*/ 2893 w 2914"/>
                  <a:gd name="connsiteY2" fmla="*/ 1663 h 2813"/>
                  <a:gd name="connsiteX3" fmla="*/ 2893 w 291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3"/>
                    </a:moveTo>
                    <a:cubicBezTo>
                      <a:pt x="2534" y="3517"/>
                      <a:pt x="-277" y="2979"/>
                      <a:pt x="22" y="1125"/>
                    </a:cubicBezTo>
                    <a:cubicBezTo>
                      <a:pt x="32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49" name="Vrije vorm: vorm 8748">
                <a:extLst>
                  <a:ext uri="{FF2B5EF4-FFF2-40B4-BE49-F238E27FC236}">
                    <a16:creationId xmlns:a16="http://schemas.microsoft.com/office/drawing/2014/main" id="{D3F0D417-0535-49F3-A78C-6D5589CC95C9}"/>
                  </a:ext>
                </a:extLst>
              </p:cNvPr>
              <p:cNvSpPr/>
              <p:nvPr/>
            </p:nvSpPr>
            <p:spPr>
              <a:xfrm>
                <a:off x="4353724" y="2597000"/>
                <a:ext cx="2914" cy="2813"/>
              </a:xfrm>
              <a:custGeom>
                <a:avLst/>
                <a:gdLst>
                  <a:gd name="connsiteX0" fmla="*/ 2893 w 2914"/>
                  <a:gd name="connsiteY0" fmla="*/ 1663 h 2813"/>
                  <a:gd name="connsiteX1" fmla="*/ 22 w 2914"/>
                  <a:gd name="connsiteY1" fmla="*/ 1125 h 2813"/>
                  <a:gd name="connsiteX2" fmla="*/ 2893 w 2914"/>
                  <a:gd name="connsiteY2" fmla="*/ 1663 h 2813"/>
                  <a:gd name="connsiteX3" fmla="*/ 2893 w 291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3"/>
                    </a:moveTo>
                    <a:cubicBezTo>
                      <a:pt x="2534" y="3518"/>
                      <a:pt x="-277" y="2979"/>
                      <a:pt x="22" y="1125"/>
                    </a:cubicBezTo>
                    <a:cubicBezTo>
                      <a:pt x="32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50" name="Vrije vorm: vorm 8749">
                <a:extLst>
                  <a:ext uri="{FF2B5EF4-FFF2-40B4-BE49-F238E27FC236}">
                    <a16:creationId xmlns:a16="http://schemas.microsoft.com/office/drawing/2014/main" id="{7C58A9B4-3A4D-4655-BE83-3A75A4E4A5A7}"/>
                  </a:ext>
                </a:extLst>
              </p:cNvPr>
              <p:cNvSpPr/>
              <p:nvPr/>
            </p:nvSpPr>
            <p:spPr>
              <a:xfrm>
                <a:off x="4362635" y="2604092"/>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51" name="Vrije vorm: vorm 8750">
                <a:extLst>
                  <a:ext uri="{FF2B5EF4-FFF2-40B4-BE49-F238E27FC236}">
                    <a16:creationId xmlns:a16="http://schemas.microsoft.com/office/drawing/2014/main" id="{B9144688-7167-4743-AFE3-2A8AECA77661}"/>
                  </a:ext>
                </a:extLst>
              </p:cNvPr>
              <p:cNvSpPr/>
              <p:nvPr/>
            </p:nvSpPr>
            <p:spPr>
              <a:xfrm>
                <a:off x="4540501" y="2677998"/>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52" name="Vrije vorm: vorm 8751">
                <a:extLst>
                  <a:ext uri="{FF2B5EF4-FFF2-40B4-BE49-F238E27FC236}">
                    <a16:creationId xmlns:a16="http://schemas.microsoft.com/office/drawing/2014/main" id="{66CD8898-C9A3-4F20-842E-82A0D2AB5BDF}"/>
                  </a:ext>
                </a:extLst>
              </p:cNvPr>
              <p:cNvSpPr/>
              <p:nvPr/>
            </p:nvSpPr>
            <p:spPr>
              <a:xfrm>
                <a:off x="4564245" y="2688540"/>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53" name="Vrije vorm: vorm 8752">
                <a:extLst>
                  <a:ext uri="{FF2B5EF4-FFF2-40B4-BE49-F238E27FC236}">
                    <a16:creationId xmlns:a16="http://schemas.microsoft.com/office/drawing/2014/main" id="{4ED02D43-AC3A-439B-A351-DF181CBECEE6}"/>
                  </a:ext>
                </a:extLst>
              </p:cNvPr>
              <p:cNvSpPr/>
              <p:nvPr/>
            </p:nvSpPr>
            <p:spPr>
              <a:xfrm>
                <a:off x="4567415" y="2574931"/>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1"/>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54" name="Vrije vorm: vorm 8753">
                <a:extLst>
                  <a:ext uri="{FF2B5EF4-FFF2-40B4-BE49-F238E27FC236}">
                    <a16:creationId xmlns:a16="http://schemas.microsoft.com/office/drawing/2014/main" id="{BF870539-3980-4DAD-AA06-9B523C91583E}"/>
                  </a:ext>
                </a:extLst>
              </p:cNvPr>
              <p:cNvSpPr/>
              <p:nvPr/>
            </p:nvSpPr>
            <p:spPr>
              <a:xfrm>
                <a:off x="4595345" y="2577283"/>
                <a:ext cx="2915" cy="2794"/>
              </a:xfrm>
              <a:custGeom>
                <a:avLst/>
                <a:gdLst>
                  <a:gd name="connsiteX0" fmla="*/ 2893 w 2915"/>
                  <a:gd name="connsiteY0" fmla="*/ 1645 h 2794"/>
                  <a:gd name="connsiteX1" fmla="*/ 22 w 2915"/>
                  <a:gd name="connsiteY1" fmla="*/ 1106 h 2794"/>
                  <a:gd name="connsiteX2" fmla="*/ 2893 w 2915"/>
                  <a:gd name="connsiteY2" fmla="*/ 1645 h 2794"/>
                  <a:gd name="connsiteX3" fmla="*/ 2893 w 2915"/>
                  <a:gd name="connsiteY3" fmla="*/ 1645 h 2794"/>
                </a:gdLst>
                <a:ahLst/>
                <a:cxnLst>
                  <a:cxn ang="0">
                    <a:pos x="connsiteX0" y="connsiteY0"/>
                  </a:cxn>
                  <a:cxn ang="0">
                    <a:pos x="connsiteX1" y="connsiteY1"/>
                  </a:cxn>
                  <a:cxn ang="0">
                    <a:pos x="connsiteX2" y="connsiteY2"/>
                  </a:cxn>
                  <a:cxn ang="0">
                    <a:pos x="connsiteX3" y="connsiteY3"/>
                  </a:cxn>
                </a:cxnLst>
                <a:rect l="l" t="t" r="r" b="b"/>
                <a:pathLst>
                  <a:path w="2915" h="2794">
                    <a:moveTo>
                      <a:pt x="2893" y="1645"/>
                    </a:moveTo>
                    <a:cubicBezTo>
                      <a:pt x="2534" y="3499"/>
                      <a:pt x="-277" y="2960"/>
                      <a:pt x="22" y="1106"/>
                    </a:cubicBezTo>
                    <a:cubicBezTo>
                      <a:pt x="322" y="-688"/>
                      <a:pt x="319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55" name="Vrije vorm: vorm 8754">
                <a:extLst>
                  <a:ext uri="{FF2B5EF4-FFF2-40B4-BE49-F238E27FC236}">
                    <a16:creationId xmlns:a16="http://schemas.microsoft.com/office/drawing/2014/main" id="{B7F32706-E341-4211-A56D-C04E03A4CA73}"/>
                  </a:ext>
                </a:extLst>
              </p:cNvPr>
              <p:cNvSpPr/>
              <p:nvPr/>
            </p:nvSpPr>
            <p:spPr>
              <a:xfrm>
                <a:off x="4594567" y="2667472"/>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56" name="Vrije vorm: vorm 8755">
                <a:extLst>
                  <a:ext uri="{FF2B5EF4-FFF2-40B4-BE49-F238E27FC236}">
                    <a16:creationId xmlns:a16="http://schemas.microsoft.com/office/drawing/2014/main" id="{AE8A9B71-055E-48CA-AD23-B8127E852EB9}"/>
                  </a:ext>
                </a:extLst>
              </p:cNvPr>
              <p:cNvSpPr/>
              <p:nvPr/>
            </p:nvSpPr>
            <p:spPr>
              <a:xfrm>
                <a:off x="4597737" y="2646580"/>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57" name="Vrije vorm: vorm 8756">
                <a:extLst>
                  <a:ext uri="{FF2B5EF4-FFF2-40B4-BE49-F238E27FC236}">
                    <a16:creationId xmlns:a16="http://schemas.microsoft.com/office/drawing/2014/main" id="{232FAE78-48AF-4EFD-BB2A-C4993C22442A}"/>
                  </a:ext>
                </a:extLst>
              </p:cNvPr>
              <p:cNvSpPr/>
              <p:nvPr/>
            </p:nvSpPr>
            <p:spPr>
              <a:xfrm>
                <a:off x="4635834" y="2670144"/>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8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58" name="Vrije vorm: vorm 8757">
                <a:extLst>
                  <a:ext uri="{FF2B5EF4-FFF2-40B4-BE49-F238E27FC236}">
                    <a16:creationId xmlns:a16="http://schemas.microsoft.com/office/drawing/2014/main" id="{46C984F9-E70F-43DA-BCDD-D45F8C3EB954}"/>
                  </a:ext>
                </a:extLst>
              </p:cNvPr>
              <p:cNvSpPr/>
              <p:nvPr/>
            </p:nvSpPr>
            <p:spPr>
              <a:xfrm>
                <a:off x="4647556" y="2681184"/>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59" name="Vrije vorm: vorm 8758">
                <a:extLst>
                  <a:ext uri="{FF2B5EF4-FFF2-40B4-BE49-F238E27FC236}">
                    <a16:creationId xmlns:a16="http://schemas.microsoft.com/office/drawing/2014/main" id="{371E32E3-D654-4FD0-8BE7-332E7419E5FB}"/>
                  </a:ext>
                </a:extLst>
              </p:cNvPr>
              <p:cNvSpPr/>
              <p:nvPr/>
            </p:nvSpPr>
            <p:spPr>
              <a:xfrm>
                <a:off x="4647257" y="2667727"/>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60" name="Vrije vorm: vorm 8759">
                <a:extLst>
                  <a:ext uri="{FF2B5EF4-FFF2-40B4-BE49-F238E27FC236}">
                    <a16:creationId xmlns:a16="http://schemas.microsoft.com/office/drawing/2014/main" id="{0DECD7F8-3313-4576-8AFE-199891FE8CAC}"/>
                  </a:ext>
                </a:extLst>
              </p:cNvPr>
              <p:cNvSpPr/>
              <p:nvPr/>
            </p:nvSpPr>
            <p:spPr>
              <a:xfrm>
                <a:off x="4660236" y="2680192"/>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61" name="Vrije vorm: vorm 8760">
                <a:extLst>
                  <a:ext uri="{FF2B5EF4-FFF2-40B4-BE49-F238E27FC236}">
                    <a16:creationId xmlns:a16="http://schemas.microsoft.com/office/drawing/2014/main" id="{BDA26428-3821-48BB-8C3E-DB4D3F99C8FF}"/>
                  </a:ext>
                </a:extLst>
              </p:cNvPr>
              <p:cNvSpPr/>
              <p:nvPr/>
            </p:nvSpPr>
            <p:spPr>
              <a:xfrm>
                <a:off x="4650307" y="2700766"/>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22"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62" name="Vrije vorm: vorm 8761">
                <a:extLst>
                  <a:ext uri="{FF2B5EF4-FFF2-40B4-BE49-F238E27FC236}">
                    <a16:creationId xmlns:a16="http://schemas.microsoft.com/office/drawing/2014/main" id="{4FEB7734-2C06-4693-9267-F8ECD6C9039F}"/>
                  </a:ext>
                </a:extLst>
              </p:cNvPr>
              <p:cNvSpPr/>
              <p:nvPr/>
            </p:nvSpPr>
            <p:spPr>
              <a:xfrm>
                <a:off x="4660236" y="2720263"/>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63" name="Vrije vorm: vorm 8762">
                <a:extLst>
                  <a:ext uri="{FF2B5EF4-FFF2-40B4-BE49-F238E27FC236}">
                    <a16:creationId xmlns:a16="http://schemas.microsoft.com/office/drawing/2014/main" id="{3D08926C-40ED-4AE9-8037-40323FE7FF92}"/>
                  </a:ext>
                </a:extLst>
              </p:cNvPr>
              <p:cNvSpPr/>
              <p:nvPr/>
            </p:nvSpPr>
            <p:spPr>
              <a:xfrm>
                <a:off x="4649351" y="2656184"/>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64" name="Vrije vorm: vorm 8763">
                <a:extLst>
                  <a:ext uri="{FF2B5EF4-FFF2-40B4-BE49-F238E27FC236}">
                    <a16:creationId xmlns:a16="http://schemas.microsoft.com/office/drawing/2014/main" id="{F5B5F76A-5FF6-4F72-AB7A-325813C6C4EA}"/>
                  </a:ext>
                </a:extLst>
              </p:cNvPr>
              <p:cNvSpPr/>
              <p:nvPr/>
            </p:nvSpPr>
            <p:spPr>
              <a:xfrm>
                <a:off x="4666037" y="2659499"/>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65" name="Vrije vorm: vorm 8764">
                <a:extLst>
                  <a:ext uri="{FF2B5EF4-FFF2-40B4-BE49-F238E27FC236}">
                    <a16:creationId xmlns:a16="http://schemas.microsoft.com/office/drawing/2014/main" id="{FE88E81D-75B1-4C2E-A011-15422BCFE854}"/>
                  </a:ext>
                </a:extLst>
              </p:cNvPr>
              <p:cNvSpPr/>
              <p:nvPr/>
            </p:nvSpPr>
            <p:spPr>
              <a:xfrm>
                <a:off x="4652042" y="2646221"/>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66" name="Vrije vorm: vorm 8765">
                <a:extLst>
                  <a:ext uri="{FF2B5EF4-FFF2-40B4-BE49-F238E27FC236}">
                    <a16:creationId xmlns:a16="http://schemas.microsoft.com/office/drawing/2014/main" id="{F56CD99A-DF8D-40F5-871E-8012B9E8D25E}"/>
                  </a:ext>
                </a:extLst>
              </p:cNvPr>
              <p:cNvSpPr/>
              <p:nvPr/>
            </p:nvSpPr>
            <p:spPr>
              <a:xfrm>
                <a:off x="4666994" y="2649231"/>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67" name="Vrije vorm: vorm 8766">
                <a:extLst>
                  <a:ext uri="{FF2B5EF4-FFF2-40B4-BE49-F238E27FC236}">
                    <a16:creationId xmlns:a16="http://schemas.microsoft.com/office/drawing/2014/main" id="{8C5A6D42-2E3C-4731-82C8-2E088F530DFC}"/>
                  </a:ext>
                </a:extLst>
              </p:cNvPr>
              <p:cNvSpPr/>
              <p:nvPr/>
            </p:nvSpPr>
            <p:spPr>
              <a:xfrm>
                <a:off x="4641037" y="2627861"/>
                <a:ext cx="2924" cy="2813"/>
              </a:xfrm>
              <a:custGeom>
                <a:avLst/>
                <a:gdLst>
                  <a:gd name="connsiteX0" fmla="*/ 2893 w 2924"/>
                  <a:gd name="connsiteY0" fmla="*/ 1663 h 2813"/>
                  <a:gd name="connsiteX1" fmla="*/ 22 w 2924"/>
                  <a:gd name="connsiteY1" fmla="*/ 1125 h 2813"/>
                  <a:gd name="connsiteX2" fmla="*/ 2893 w 2924"/>
                  <a:gd name="connsiteY2" fmla="*/ 1663 h 2813"/>
                  <a:gd name="connsiteX3" fmla="*/ 2893 w 292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4"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68" name="Vrije vorm: vorm 8767">
                <a:extLst>
                  <a:ext uri="{FF2B5EF4-FFF2-40B4-BE49-F238E27FC236}">
                    <a16:creationId xmlns:a16="http://schemas.microsoft.com/office/drawing/2014/main" id="{8BB0A129-A5FC-42BD-B98C-87A985461BE9}"/>
                  </a:ext>
                </a:extLst>
              </p:cNvPr>
              <p:cNvSpPr/>
              <p:nvPr/>
            </p:nvSpPr>
            <p:spPr>
              <a:xfrm>
                <a:off x="4658561" y="2619985"/>
                <a:ext cx="2924" cy="2795"/>
              </a:xfrm>
              <a:custGeom>
                <a:avLst/>
                <a:gdLst>
                  <a:gd name="connsiteX0" fmla="*/ 2893 w 2924"/>
                  <a:gd name="connsiteY0" fmla="*/ 1645 h 2795"/>
                  <a:gd name="connsiteX1" fmla="*/ 22 w 2924"/>
                  <a:gd name="connsiteY1" fmla="*/ 1106 h 2795"/>
                  <a:gd name="connsiteX2" fmla="*/ 2893 w 2924"/>
                  <a:gd name="connsiteY2" fmla="*/ 1645 h 2795"/>
                  <a:gd name="connsiteX3" fmla="*/ 2893 w 2924"/>
                  <a:gd name="connsiteY3" fmla="*/ 1645 h 2795"/>
                </a:gdLst>
                <a:ahLst/>
                <a:cxnLst>
                  <a:cxn ang="0">
                    <a:pos x="connsiteX0" y="connsiteY0"/>
                  </a:cxn>
                  <a:cxn ang="0">
                    <a:pos x="connsiteX1" y="connsiteY1"/>
                  </a:cxn>
                  <a:cxn ang="0">
                    <a:pos x="connsiteX2" y="connsiteY2"/>
                  </a:cxn>
                  <a:cxn ang="0">
                    <a:pos x="connsiteX3" y="connsiteY3"/>
                  </a:cxn>
                </a:cxnLst>
                <a:rect l="l" t="t" r="r" b="b"/>
                <a:pathLst>
                  <a:path w="2924" h="2795">
                    <a:moveTo>
                      <a:pt x="2893" y="1645"/>
                    </a:moveTo>
                    <a:cubicBezTo>
                      <a:pt x="2534" y="3499"/>
                      <a:pt x="-277" y="2961"/>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69" name="Vrije vorm: vorm 8768">
                <a:extLst>
                  <a:ext uri="{FF2B5EF4-FFF2-40B4-BE49-F238E27FC236}">
                    <a16:creationId xmlns:a16="http://schemas.microsoft.com/office/drawing/2014/main" id="{641920C3-8896-43CA-AC44-F94CDADC146B}"/>
                  </a:ext>
                </a:extLst>
              </p:cNvPr>
              <p:cNvSpPr/>
              <p:nvPr/>
            </p:nvSpPr>
            <p:spPr>
              <a:xfrm>
                <a:off x="4649889" y="2635097"/>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70" name="Vrije vorm: vorm 8769">
                <a:extLst>
                  <a:ext uri="{FF2B5EF4-FFF2-40B4-BE49-F238E27FC236}">
                    <a16:creationId xmlns:a16="http://schemas.microsoft.com/office/drawing/2014/main" id="{E6A6FD7B-B77D-4B0D-9C9B-8F345CAD96A6}"/>
                  </a:ext>
                </a:extLst>
              </p:cNvPr>
              <p:cNvSpPr/>
              <p:nvPr/>
            </p:nvSpPr>
            <p:spPr>
              <a:xfrm>
                <a:off x="4669566" y="2625229"/>
                <a:ext cx="2914" cy="2813"/>
              </a:xfrm>
              <a:custGeom>
                <a:avLst/>
                <a:gdLst>
                  <a:gd name="connsiteX0" fmla="*/ 2893 w 2914"/>
                  <a:gd name="connsiteY0" fmla="*/ 1663 h 2813"/>
                  <a:gd name="connsiteX1" fmla="*/ 22 w 2914"/>
                  <a:gd name="connsiteY1" fmla="*/ 1125 h 2813"/>
                  <a:gd name="connsiteX2" fmla="*/ 2893 w 2914"/>
                  <a:gd name="connsiteY2" fmla="*/ 1663 h 2813"/>
                  <a:gd name="connsiteX3" fmla="*/ 2893 w 2914"/>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3"/>
                    </a:moveTo>
                    <a:cubicBezTo>
                      <a:pt x="2534" y="3518"/>
                      <a:pt x="-277" y="2979"/>
                      <a:pt x="22" y="1125"/>
                    </a:cubicBezTo>
                    <a:cubicBezTo>
                      <a:pt x="321"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71" name="Vrije vorm: vorm 8770">
                <a:extLst>
                  <a:ext uri="{FF2B5EF4-FFF2-40B4-BE49-F238E27FC236}">
                    <a16:creationId xmlns:a16="http://schemas.microsoft.com/office/drawing/2014/main" id="{5EF9DFC2-7B66-401D-8E3B-97DF8011A2F0}"/>
                  </a:ext>
                </a:extLst>
              </p:cNvPr>
              <p:cNvSpPr/>
              <p:nvPr/>
            </p:nvSpPr>
            <p:spPr>
              <a:xfrm>
                <a:off x="4687029" y="2634056"/>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72" name="Vrije vorm: vorm 8771">
                <a:extLst>
                  <a:ext uri="{FF2B5EF4-FFF2-40B4-BE49-F238E27FC236}">
                    <a16:creationId xmlns:a16="http://schemas.microsoft.com/office/drawing/2014/main" id="{451F3C1E-6124-4B28-85C5-9C66C6227E92}"/>
                  </a:ext>
                </a:extLst>
              </p:cNvPr>
              <p:cNvSpPr/>
              <p:nvPr/>
            </p:nvSpPr>
            <p:spPr>
              <a:xfrm>
                <a:off x="4664183" y="2734456"/>
                <a:ext cx="2924" cy="2794"/>
              </a:xfrm>
              <a:custGeom>
                <a:avLst/>
                <a:gdLst>
                  <a:gd name="connsiteX0" fmla="*/ 2893 w 2924"/>
                  <a:gd name="connsiteY0" fmla="*/ 1645 h 2794"/>
                  <a:gd name="connsiteX1" fmla="*/ 22 w 2924"/>
                  <a:gd name="connsiteY1" fmla="*/ 1106 h 2794"/>
                  <a:gd name="connsiteX2" fmla="*/ 2893 w 2924"/>
                  <a:gd name="connsiteY2" fmla="*/ 1645 h 2794"/>
                  <a:gd name="connsiteX3" fmla="*/ 2893 w 2924"/>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4"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73" name="Vrije vorm: vorm 8772">
                <a:extLst>
                  <a:ext uri="{FF2B5EF4-FFF2-40B4-BE49-F238E27FC236}">
                    <a16:creationId xmlns:a16="http://schemas.microsoft.com/office/drawing/2014/main" id="{1D226C97-B818-4CA2-B0DA-D6570352673F}"/>
                  </a:ext>
                </a:extLst>
              </p:cNvPr>
              <p:cNvSpPr/>
              <p:nvPr/>
            </p:nvSpPr>
            <p:spPr>
              <a:xfrm>
                <a:off x="4674649" y="2709258"/>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74" name="Vrije vorm: vorm 8773">
                <a:extLst>
                  <a:ext uri="{FF2B5EF4-FFF2-40B4-BE49-F238E27FC236}">
                    <a16:creationId xmlns:a16="http://schemas.microsoft.com/office/drawing/2014/main" id="{61BF5135-08AC-404C-AD26-C4C98C7BDE39}"/>
                  </a:ext>
                </a:extLst>
              </p:cNvPr>
              <p:cNvSpPr/>
              <p:nvPr/>
            </p:nvSpPr>
            <p:spPr>
              <a:xfrm>
                <a:off x="4683979" y="2680107"/>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75" name="Vrije vorm: vorm 8774">
                <a:extLst>
                  <a:ext uri="{FF2B5EF4-FFF2-40B4-BE49-F238E27FC236}">
                    <a16:creationId xmlns:a16="http://schemas.microsoft.com/office/drawing/2014/main" id="{FCCBFA00-1567-4104-A5D9-849D4825AB1C}"/>
                  </a:ext>
                </a:extLst>
              </p:cNvPr>
              <p:cNvSpPr/>
              <p:nvPr/>
            </p:nvSpPr>
            <p:spPr>
              <a:xfrm>
                <a:off x="4690199" y="2647137"/>
                <a:ext cx="2923" cy="2794"/>
              </a:xfrm>
              <a:custGeom>
                <a:avLst/>
                <a:gdLst>
                  <a:gd name="connsiteX0" fmla="*/ 2893 w 2923"/>
                  <a:gd name="connsiteY0" fmla="*/ 1645 h 2794"/>
                  <a:gd name="connsiteX1" fmla="*/ 22 w 2923"/>
                  <a:gd name="connsiteY1" fmla="*/ 1106 h 2794"/>
                  <a:gd name="connsiteX2" fmla="*/ 2893 w 2923"/>
                  <a:gd name="connsiteY2" fmla="*/ 1645 h 2794"/>
                  <a:gd name="connsiteX3" fmla="*/ 2893 w 2923"/>
                  <a:gd name="connsiteY3" fmla="*/ 1645 h 2794"/>
                </a:gdLst>
                <a:ahLst/>
                <a:cxnLst>
                  <a:cxn ang="0">
                    <a:pos x="connsiteX0" y="connsiteY0"/>
                  </a:cxn>
                  <a:cxn ang="0">
                    <a:pos x="connsiteX1" y="connsiteY1"/>
                  </a:cxn>
                  <a:cxn ang="0">
                    <a:pos x="connsiteX2" y="connsiteY2"/>
                  </a:cxn>
                  <a:cxn ang="0">
                    <a:pos x="connsiteX3" y="connsiteY3"/>
                  </a:cxn>
                </a:cxnLst>
                <a:rect l="l" t="t" r="r" b="b"/>
                <a:pathLst>
                  <a:path w="2923" h="2794">
                    <a:moveTo>
                      <a:pt x="2893" y="1645"/>
                    </a:moveTo>
                    <a:cubicBezTo>
                      <a:pt x="2534" y="3499"/>
                      <a:pt x="-277" y="2960"/>
                      <a:pt x="22" y="1106"/>
                    </a:cubicBezTo>
                    <a:cubicBezTo>
                      <a:pt x="381" y="-688"/>
                      <a:pt x="3252" y="-150"/>
                      <a:pt x="2893" y="1645"/>
                    </a:cubicBezTo>
                    <a:lnTo>
                      <a:pt x="2893" y="1645"/>
                    </a:lnTo>
                    <a:close/>
                  </a:path>
                </a:pathLst>
              </a:custGeom>
              <a:grpFill/>
              <a:ln w="6350" cap="flat">
                <a:solidFill>
                  <a:schemeClr val="bg1">
                    <a:alpha val="80000"/>
                  </a:schemeClr>
                </a:solidFill>
                <a:prstDash val="solid"/>
                <a:miter/>
              </a:ln>
            </p:spPr>
            <p:txBody>
              <a:bodyPr rtlCol="0" anchor="ctr"/>
              <a:lstStyle/>
              <a:p>
                <a:endParaRPr lang="en-GB"/>
              </a:p>
            </p:txBody>
          </p:sp>
          <p:sp>
            <p:nvSpPr>
              <p:cNvPr id="8776" name="Vrije vorm: vorm 8775">
                <a:extLst>
                  <a:ext uri="{FF2B5EF4-FFF2-40B4-BE49-F238E27FC236}">
                    <a16:creationId xmlns:a16="http://schemas.microsoft.com/office/drawing/2014/main" id="{BEF7F776-35D8-41FA-BF34-B8EEC3908125}"/>
                  </a:ext>
                </a:extLst>
              </p:cNvPr>
              <p:cNvSpPr/>
              <p:nvPr/>
            </p:nvSpPr>
            <p:spPr>
              <a:xfrm>
                <a:off x="4691754" y="2623315"/>
                <a:ext cx="2914" cy="2813"/>
              </a:xfrm>
              <a:custGeom>
                <a:avLst/>
                <a:gdLst>
                  <a:gd name="connsiteX0" fmla="*/ 2893 w 2914"/>
                  <a:gd name="connsiteY0" fmla="*/ 1664 h 2813"/>
                  <a:gd name="connsiteX1" fmla="*/ 22 w 2914"/>
                  <a:gd name="connsiteY1" fmla="*/ 1125 h 2813"/>
                  <a:gd name="connsiteX2" fmla="*/ 2893 w 2914"/>
                  <a:gd name="connsiteY2" fmla="*/ 1664 h 2813"/>
                  <a:gd name="connsiteX3" fmla="*/ 2893 w 2914"/>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4"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77" name="Vrije vorm: vorm 8776">
                <a:extLst>
                  <a:ext uri="{FF2B5EF4-FFF2-40B4-BE49-F238E27FC236}">
                    <a16:creationId xmlns:a16="http://schemas.microsoft.com/office/drawing/2014/main" id="{EB32D601-6AD6-4907-A990-9A9FFB85C48B}"/>
                  </a:ext>
                </a:extLst>
              </p:cNvPr>
              <p:cNvSpPr/>
              <p:nvPr/>
            </p:nvSpPr>
            <p:spPr>
              <a:xfrm>
                <a:off x="4696957" y="2595864"/>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81" y="-669"/>
                      <a:pt x="3192" y="-191"/>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78" name="Vrije vorm: vorm 8777">
                <a:extLst>
                  <a:ext uri="{FF2B5EF4-FFF2-40B4-BE49-F238E27FC236}">
                    <a16:creationId xmlns:a16="http://schemas.microsoft.com/office/drawing/2014/main" id="{635265F4-BFAE-4E0D-A126-F76ED38C4E8D}"/>
                  </a:ext>
                </a:extLst>
              </p:cNvPr>
              <p:cNvSpPr/>
              <p:nvPr/>
            </p:nvSpPr>
            <p:spPr>
              <a:xfrm>
                <a:off x="4696718" y="2570386"/>
                <a:ext cx="2915" cy="2813"/>
              </a:xfrm>
              <a:custGeom>
                <a:avLst/>
                <a:gdLst>
                  <a:gd name="connsiteX0" fmla="*/ 2893 w 2915"/>
                  <a:gd name="connsiteY0" fmla="*/ 1664 h 2813"/>
                  <a:gd name="connsiteX1" fmla="*/ 22 w 2915"/>
                  <a:gd name="connsiteY1" fmla="*/ 1125 h 2813"/>
                  <a:gd name="connsiteX2" fmla="*/ 2893 w 2915"/>
                  <a:gd name="connsiteY2" fmla="*/ 1664 h 2813"/>
                  <a:gd name="connsiteX3" fmla="*/ 2893 w 2915"/>
                  <a:gd name="connsiteY3" fmla="*/ 1664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4"/>
                    </a:moveTo>
                    <a:cubicBezTo>
                      <a:pt x="2534" y="3518"/>
                      <a:pt x="-277" y="2979"/>
                      <a:pt x="22" y="1125"/>
                    </a:cubicBezTo>
                    <a:cubicBezTo>
                      <a:pt x="321" y="-669"/>
                      <a:pt x="319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79" name="Vrije vorm: vorm 8778">
                <a:extLst>
                  <a:ext uri="{FF2B5EF4-FFF2-40B4-BE49-F238E27FC236}">
                    <a16:creationId xmlns:a16="http://schemas.microsoft.com/office/drawing/2014/main" id="{773BE2E0-5FD6-4F80-86F9-CEF1909D5900}"/>
                  </a:ext>
                </a:extLst>
              </p:cNvPr>
              <p:cNvSpPr/>
              <p:nvPr/>
            </p:nvSpPr>
            <p:spPr>
              <a:xfrm>
                <a:off x="4658142" y="2605647"/>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22"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80" name="Vrije vorm: vorm 8779">
                <a:extLst>
                  <a:ext uri="{FF2B5EF4-FFF2-40B4-BE49-F238E27FC236}">
                    <a16:creationId xmlns:a16="http://schemas.microsoft.com/office/drawing/2014/main" id="{B3006299-89E6-4B84-8D7F-2414CE663C63}"/>
                  </a:ext>
                </a:extLst>
              </p:cNvPr>
              <p:cNvSpPr/>
              <p:nvPr/>
            </p:nvSpPr>
            <p:spPr>
              <a:xfrm>
                <a:off x="4664841" y="2598196"/>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81" name="Vrije vorm: vorm 8780">
                <a:extLst>
                  <a:ext uri="{FF2B5EF4-FFF2-40B4-BE49-F238E27FC236}">
                    <a16:creationId xmlns:a16="http://schemas.microsoft.com/office/drawing/2014/main" id="{282B81E3-141E-46B0-AD56-73AE893F8217}"/>
                  </a:ext>
                </a:extLst>
              </p:cNvPr>
              <p:cNvSpPr/>
              <p:nvPr/>
            </p:nvSpPr>
            <p:spPr>
              <a:xfrm>
                <a:off x="4677759" y="2603220"/>
                <a:ext cx="2923" cy="2813"/>
              </a:xfrm>
              <a:custGeom>
                <a:avLst/>
                <a:gdLst>
                  <a:gd name="connsiteX0" fmla="*/ 2893 w 2923"/>
                  <a:gd name="connsiteY0" fmla="*/ 1663 h 2813"/>
                  <a:gd name="connsiteX1" fmla="*/ 22 w 2923"/>
                  <a:gd name="connsiteY1" fmla="*/ 1125 h 2813"/>
                  <a:gd name="connsiteX2" fmla="*/ 2893 w 2923"/>
                  <a:gd name="connsiteY2" fmla="*/ 1663 h 2813"/>
                  <a:gd name="connsiteX3" fmla="*/ 2893 w 2923"/>
                  <a:gd name="connsiteY3" fmla="*/ 1663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3"/>
                    </a:moveTo>
                    <a:cubicBezTo>
                      <a:pt x="2534" y="3517"/>
                      <a:pt x="-277" y="2979"/>
                      <a:pt x="22" y="1125"/>
                    </a:cubicBezTo>
                    <a:cubicBezTo>
                      <a:pt x="381" y="-669"/>
                      <a:pt x="325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82" name="Vrije vorm: vorm 8781">
                <a:extLst>
                  <a:ext uri="{FF2B5EF4-FFF2-40B4-BE49-F238E27FC236}">
                    <a16:creationId xmlns:a16="http://schemas.microsoft.com/office/drawing/2014/main" id="{A04E89F0-2F73-4457-ADEF-06AB77D4B8E2}"/>
                  </a:ext>
                </a:extLst>
              </p:cNvPr>
              <p:cNvSpPr/>
              <p:nvPr/>
            </p:nvSpPr>
            <p:spPr>
              <a:xfrm>
                <a:off x="4686790" y="2590780"/>
                <a:ext cx="2923" cy="2813"/>
              </a:xfrm>
              <a:custGeom>
                <a:avLst/>
                <a:gdLst>
                  <a:gd name="connsiteX0" fmla="*/ 2893 w 2923"/>
                  <a:gd name="connsiteY0" fmla="*/ 1664 h 2813"/>
                  <a:gd name="connsiteX1" fmla="*/ 22 w 2923"/>
                  <a:gd name="connsiteY1" fmla="*/ 1125 h 2813"/>
                  <a:gd name="connsiteX2" fmla="*/ 2893 w 2923"/>
                  <a:gd name="connsiteY2" fmla="*/ 1664 h 2813"/>
                  <a:gd name="connsiteX3" fmla="*/ 2893 w 2923"/>
                  <a:gd name="connsiteY3" fmla="*/ 1664 h 2813"/>
                </a:gdLst>
                <a:ahLst/>
                <a:cxnLst>
                  <a:cxn ang="0">
                    <a:pos x="connsiteX0" y="connsiteY0"/>
                  </a:cxn>
                  <a:cxn ang="0">
                    <a:pos x="connsiteX1" y="connsiteY1"/>
                  </a:cxn>
                  <a:cxn ang="0">
                    <a:pos x="connsiteX2" y="connsiteY2"/>
                  </a:cxn>
                  <a:cxn ang="0">
                    <a:pos x="connsiteX3" y="connsiteY3"/>
                  </a:cxn>
                </a:cxnLst>
                <a:rect l="l" t="t" r="r" b="b"/>
                <a:pathLst>
                  <a:path w="2923" h="2813">
                    <a:moveTo>
                      <a:pt x="2893" y="1664"/>
                    </a:moveTo>
                    <a:cubicBezTo>
                      <a:pt x="2534" y="3518"/>
                      <a:pt x="-277" y="2979"/>
                      <a:pt x="22" y="1125"/>
                    </a:cubicBezTo>
                    <a:cubicBezTo>
                      <a:pt x="381" y="-669"/>
                      <a:pt x="3252" y="-190"/>
                      <a:pt x="2893" y="1664"/>
                    </a:cubicBezTo>
                    <a:lnTo>
                      <a:pt x="2893" y="1664"/>
                    </a:lnTo>
                    <a:close/>
                  </a:path>
                </a:pathLst>
              </a:custGeom>
              <a:grpFill/>
              <a:ln w="6350" cap="flat">
                <a:solidFill>
                  <a:schemeClr val="bg1">
                    <a:alpha val="80000"/>
                  </a:schemeClr>
                </a:solidFill>
                <a:prstDash val="solid"/>
                <a:miter/>
              </a:ln>
            </p:spPr>
            <p:txBody>
              <a:bodyPr rtlCol="0" anchor="ctr"/>
              <a:lstStyle/>
              <a:p>
                <a:endParaRPr lang="en-GB"/>
              </a:p>
            </p:txBody>
          </p:sp>
          <p:sp>
            <p:nvSpPr>
              <p:cNvPr id="8783" name="Vrije vorm: vorm 8782">
                <a:extLst>
                  <a:ext uri="{FF2B5EF4-FFF2-40B4-BE49-F238E27FC236}">
                    <a16:creationId xmlns:a16="http://schemas.microsoft.com/office/drawing/2014/main" id="{D9BB3FC0-EB3D-4EEA-9028-58E706563FFA}"/>
                  </a:ext>
                </a:extLst>
              </p:cNvPr>
              <p:cNvSpPr/>
              <p:nvPr/>
            </p:nvSpPr>
            <p:spPr>
              <a:xfrm>
                <a:off x="4689601" y="2573710"/>
                <a:ext cx="2924" cy="2838"/>
              </a:xfrm>
              <a:custGeom>
                <a:avLst/>
                <a:gdLst>
                  <a:gd name="connsiteX0" fmla="*/ 2893 w 2924"/>
                  <a:gd name="connsiteY0" fmla="*/ 1689 h 2838"/>
                  <a:gd name="connsiteX1" fmla="*/ 22 w 2924"/>
                  <a:gd name="connsiteY1" fmla="*/ 1150 h 2838"/>
                  <a:gd name="connsiteX2" fmla="*/ 2893 w 2924"/>
                  <a:gd name="connsiteY2" fmla="*/ 1689 h 2838"/>
                  <a:gd name="connsiteX3" fmla="*/ 2893 w 292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4"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84" name="Vrije vorm: vorm 8783">
                <a:extLst>
                  <a:ext uri="{FF2B5EF4-FFF2-40B4-BE49-F238E27FC236}">
                    <a16:creationId xmlns:a16="http://schemas.microsoft.com/office/drawing/2014/main" id="{789DF13A-F06B-4B28-8911-7C999B9538C9}"/>
                  </a:ext>
                </a:extLst>
              </p:cNvPr>
              <p:cNvSpPr/>
              <p:nvPr/>
            </p:nvSpPr>
            <p:spPr>
              <a:xfrm>
                <a:off x="4630093" y="2618710"/>
                <a:ext cx="2915" cy="2813"/>
              </a:xfrm>
              <a:custGeom>
                <a:avLst/>
                <a:gdLst>
                  <a:gd name="connsiteX0" fmla="*/ 2893 w 2915"/>
                  <a:gd name="connsiteY0" fmla="*/ 1663 h 2813"/>
                  <a:gd name="connsiteX1" fmla="*/ 22 w 2915"/>
                  <a:gd name="connsiteY1" fmla="*/ 1125 h 2813"/>
                  <a:gd name="connsiteX2" fmla="*/ 2893 w 2915"/>
                  <a:gd name="connsiteY2" fmla="*/ 1663 h 2813"/>
                  <a:gd name="connsiteX3" fmla="*/ 2893 w 2915"/>
                  <a:gd name="connsiteY3" fmla="*/ 1663 h 2813"/>
                </a:gdLst>
                <a:ahLst/>
                <a:cxnLst>
                  <a:cxn ang="0">
                    <a:pos x="connsiteX0" y="connsiteY0"/>
                  </a:cxn>
                  <a:cxn ang="0">
                    <a:pos x="connsiteX1" y="connsiteY1"/>
                  </a:cxn>
                  <a:cxn ang="0">
                    <a:pos x="connsiteX2" y="connsiteY2"/>
                  </a:cxn>
                  <a:cxn ang="0">
                    <a:pos x="connsiteX3" y="connsiteY3"/>
                  </a:cxn>
                </a:cxnLst>
                <a:rect l="l" t="t" r="r" b="b"/>
                <a:pathLst>
                  <a:path w="2915" h="2813">
                    <a:moveTo>
                      <a:pt x="2893" y="1663"/>
                    </a:moveTo>
                    <a:cubicBezTo>
                      <a:pt x="2534" y="3517"/>
                      <a:pt x="-277" y="2979"/>
                      <a:pt x="22" y="1125"/>
                    </a:cubicBezTo>
                    <a:cubicBezTo>
                      <a:pt x="322" y="-669"/>
                      <a:pt x="3192" y="-191"/>
                      <a:pt x="2893" y="1663"/>
                    </a:cubicBezTo>
                    <a:lnTo>
                      <a:pt x="2893" y="1663"/>
                    </a:lnTo>
                    <a:close/>
                  </a:path>
                </a:pathLst>
              </a:custGeom>
              <a:grpFill/>
              <a:ln w="6350" cap="flat">
                <a:solidFill>
                  <a:schemeClr val="bg1">
                    <a:alpha val="80000"/>
                  </a:schemeClr>
                </a:solidFill>
                <a:prstDash val="solid"/>
                <a:miter/>
              </a:ln>
            </p:spPr>
            <p:txBody>
              <a:bodyPr rtlCol="0" anchor="ctr"/>
              <a:lstStyle/>
              <a:p>
                <a:endParaRPr lang="en-GB"/>
              </a:p>
            </p:txBody>
          </p:sp>
          <p:sp>
            <p:nvSpPr>
              <p:cNvPr id="8785" name="Vrije vorm: vorm 8784">
                <a:extLst>
                  <a:ext uri="{FF2B5EF4-FFF2-40B4-BE49-F238E27FC236}">
                    <a16:creationId xmlns:a16="http://schemas.microsoft.com/office/drawing/2014/main" id="{F34B04CF-BC29-43E2-9AAA-7EFF95D23C62}"/>
                  </a:ext>
                </a:extLst>
              </p:cNvPr>
              <p:cNvSpPr/>
              <p:nvPr/>
            </p:nvSpPr>
            <p:spPr>
              <a:xfrm>
                <a:off x="4557606" y="2582023"/>
                <a:ext cx="2915" cy="2838"/>
              </a:xfrm>
              <a:custGeom>
                <a:avLst/>
                <a:gdLst>
                  <a:gd name="connsiteX0" fmla="*/ 2893 w 2915"/>
                  <a:gd name="connsiteY0" fmla="*/ 1689 h 2838"/>
                  <a:gd name="connsiteX1" fmla="*/ 22 w 2915"/>
                  <a:gd name="connsiteY1" fmla="*/ 1150 h 2838"/>
                  <a:gd name="connsiteX2" fmla="*/ 2893 w 2915"/>
                  <a:gd name="connsiteY2" fmla="*/ 1689 h 2838"/>
                  <a:gd name="connsiteX3" fmla="*/ 2893 w 2915"/>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5" h="2838">
                    <a:moveTo>
                      <a:pt x="2893" y="1689"/>
                    </a:moveTo>
                    <a:cubicBezTo>
                      <a:pt x="2534" y="3543"/>
                      <a:pt x="-277" y="3004"/>
                      <a:pt x="22" y="1150"/>
                    </a:cubicBezTo>
                    <a:cubicBezTo>
                      <a:pt x="38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86" name="Vrije vorm: vorm 8785">
                <a:extLst>
                  <a:ext uri="{FF2B5EF4-FFF2-40B4-BE49-F238E27FC236}">
                    <a16:creationId xmlns:a16="http://schemas.microsoft.com/office/drawing/2014/main" id="{1A22EC17-93B3-4ECB-A480-4D6539A521F6}"/>
                  </a:ext>
                </a:extLst>
              </p:cNvPr>
              <p:cNvSpPr/>
              <p:nvPr/>
            </p:nvSpPr>
            <p:spPr>
              <a:xfrm>
                <a:off x="4409763" y="2477361"/>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87" name="Vrije vorm: vorm 8786">
                <a:extLst>
                  <a:ext uri="{FF2B5EF4-FFF2-40B4-BE49-F238E27FC236}">
                    <a16:creationId xmlns:a16="http://schemas.microsoft.com/office/drawing/2014/main" id="{78241E77-22C3-4A9C-9D3E-15964981C648}"/>
                  </a:ext>
                </a:extLst>
              </p:cNvPr>
              <p:cNvSpPr/>
              <p:nvPr/>
            </p:nvSpPr>
            <p:spPr>
              <a:xfrm>
                <a:off x="4439308" y="2487408"/>
                <a:ext cx="2914" cy="2838"/>
              </a:xfrm>
              <a:custGeom>
                <a:avLst/>
                <a:gdLst>
                  <a:gd name="connsiteX0" fmla="*/ 2893 w 2914"/>
                  <a:gd name="connsiteY0" fmla="*/ 1689 h 2838"/>
                  <a:gd name="connsiteX1" fmla="*/ 22 w 2914"/>
                  <a:gd name="connsiteY1" fmla="*/ 1150 h 2838"/>
                  <a:gd name="connsiteX2" fmla="*/ 2893 w 2914"/>
                  <a:gd name="connsiteY2" fmla="*/ 1689 h 2838"/>
                  <a:gd name="connsiteX3" fmla="*/ 2893 w 2914"/>
                  <a:gd name="connsiteY3" fmla="*/ 1689 h 2838"/>
                </a:gdLst>
                <a:ahLst/>
                <a:cxnLst>
                  <a:cxn ang="0">
                    <a:pos x="connsiteX0" y="connsiteY0"/>
                  </a:cxn>
                  <a:cxn ang="0">
                    <a:pos x="connsiteX1" y="connsiteY1"/>
                  </a:cxn>
                  <a:cxn ang="0">
                    <a:pos x="connsiteX2" y="connsiteY2"/>
                  </a:cxn>
                  <a:cxn ang="0">
                    <a:pos x="connsiteX3" y="connsiteY3"/>
                  </a:cxn>
                </a:cxnLst>
                <a:rect l="l" t="t" r="r" b="b"/>
                <a:pathLst>
                  <a:path w="2914" h="2838">
                    <a:moveTo>
                      <a:pt x="2893" y="1689"/>
                    </a:moveTo>
                    <a:cubicBezTo>
                      <a:pt x="2534" y="3543"/>
                      <a:pt x="-277" y="3004"/>
                      <a:pt x="22" y="1150"/>
                    </a:cubicBezTo>
                    <a:cubicBezTo>
                      <a:pt x="321" y="-704"/>
                      <a:pt x="319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88" name="Vrije vorm: vorm 8787">
                <a:extLst>
                  <a:ext uri="{FF2B5EF4-FFF2-40B4-BE49-F238E27FC236}">
                    <a16:creationId xmlns:a16="http://schemas.microsoft.com/office/drawing/2014/main" id="{5A00AC85-E5CB-46F4-BE93-FC8FF74CB15F}"/>
                  </a:ext>
                </a:extLst>
              </p:cNvPr>
              <p:cNvSpPr/>
              <p:nvPr/>
            </p:nvSpPr>
            <p:spPr>
              <a:xfrm>
                <a:off x="4640140" y="2691231"/>
                <a:ext cx="2923" cy="2838"/>
              </a:xfrm>
              <a:custGeom>
                <a:avLst/>
                <a:gdLst>
                  <a:gd name="connsiteX0" fmla="*/ 2893 w 2923"/>
                  <a:gd name="connsiteY0" fmla="*/ 1689 h 2838"/>
                  <a:gd name="connsiteX1" fmla="*/ 22 w 2923"/>
                  <a:gd name="connsiteY1" fmla="*/ 1150 h 2838"/>
                  <a:gd name="connsiteX2" fmla="*/ 2893 w 2923"/>
                  <a:gd name="connsiteY2" fmla="*/ 1689 h 2838"/>
                  <a:gd name="connsiteX3" fmla="*/ 2893 w 2923"/>
                  <a:gd name="connsiteY3" fmla="*/ 1689 h 2838"/>
                </a:gdLst>
                <a:ahLst/>
                <a:cxnLst>
                  <a:cxn ang="0">
                    <a:pos x="connsiteX0" y="connsiteY0"/>
                  </a:cxn>
                  <a:cxn ang="0">
                    <a:pos x="connsiteX1" y="connsiteY1"/>
                  </a:cxn>
                  <a:cxn ang="0">
                    <a:pos x="connsiteX2" y="connsiteY2"/>
                  </a:cxn>
                  <a:cxn ang="0">
                    <a:pos x="connsiteX3" y="connsiteY3"/>
                  </a:cxn>
                </a:cxnLst>
                <a:rect l="l" t="t" r="r" b="b"/>
                <a:pathLst>
                  <a:path w="2923" h="2838">
                    <a:moveTo>
                      <a:pt x="2893" y="1689"/>
                    </a:moveTo>
                    <a:cubicBezTo>
                      <a:pt x="2534" y="3543"/>
                      <a:pt x="-277" y="3004"/>
                      <a:pt x="22" y="1150"/>
                    </a:cubicBezTo>
                    <a:cubicBezTo>
                      <a:pt x="381" y="-704"/>
                      <a:pt x="3252" y="-165"/>
                      <a:pt x="2893" y="1689"/>
                    </a:cubicBezTo>
                    <a:lnTo>
                      <a:pt x="2893" y="1689"/>
                    </a:lnTo>
                    <a:close/>
                  </a:path>
                </a:pathLst>
              </a:custGeom>
              <a:grpFill/>
              <a:ln w="6350" cap="flat">
                <a:solidFill>
                  <a:schemeClr val="bg1">
                    <a:alpha val="80000"/>
                  </a:schemeClr>
                </a:solidFill>
                <a:prstDash val="solid"/>
                <a:miter/>
              </a:ln>
            </p:spPr>
            <p:txBody>
              <a:bodyPr rtlCol="0" anchor="ctr"/>
              <a:lstStyle/>
              <a:p>
                <a:endParaRPr lang="en-GB"/>
              </a:p>
            </p:txBody>
          </p:sp>
          <p:sp>
            <p:nvSpPr>
              <p:cNvPr id="8789" name="Vrije vorm: vorm 8788">
                <a:extLst>
                  <a:ext uri="{FF2B5EF4-FFF2-40B4-BE49-F238E27FC236}">
                    <a16:creationId xmlns:a16="http://schemas.microsoft.com/office/drawing/2014/main" id="{1B1BB0D4-1D60-4C9C-A424-9F1D9AA61ACE}"/>
                  </a:ext>
                </a:extLst>
              </p:cNvPr>
              <p:cNvSpPr/>
              <p:nvPr/>
            </p:nvSpPr>
            <p:spPr>
              <a:xfrm>
                <a:off x="4649851" y="2563497"/>
                <a:ext cx="43240" cy="45453"/>
              </a:xfrm>
              <a:custGeom>
                <a:avLst/>
                <a:gdLst>
                  <a:gd name="connsiteX0" fmla="*/ 40789 w 43240"/>
                  <a:gd name="connsiteY0" fmla="*/ 45453 h 45453"/>
                  <a:gd name="connsiteX1" fmla="*/ 40669 w 43240"/>
                  <a:gd name="connsiteY1" fmla="*/ 45453 h 45453"/>
                  <a:gd name="connsiteX2" fmla="*/ 119 w 43240"/>
                  <a:gd name="connsiteY2" fmla="*/ 30502 h 45453"/>
                  <a:gd name="connsiteX3" fmla="*/ 0 w 43240"/>
                  <a:gd name="connsiteY3" fmla="*/ 30382 h 45453"/>
                  <a:gd name="connsiteX4" fmla="*/ 60 w 43240"/>
                  <a:gd name="connsiteY4" fmla="*/ 30203 h 45453"/>
                  <a:gd name="connsiteX5" fmla="*/ 12798 w 43240"/>
                  <a:gd name="connsiteY5" fmla="*/ 19856 h 45453"/>
                  <a:gd name="connsiteX6" fmla="*/ 21889 w 43240"/>
                  <a:gd name="connsiteY6" fmla="*/ 7954 h 45453"/>
                  <a:gd name="connsiteX7" fmla="*/ 34808 w 43240"/>
                  <a:gd name="connsiteY7" fmla="*/ 0 h 45453"/>
                  <a:gd name="connsiteX8" fmla="*/ 43001 w 43240"/>
                  <a:gd name="connsiteY8" fmla="*/ 1854 h 45453"/>
                  <a:gd name="connsiteX9" fmla="*/ 43181 w 43240"/>
                  <a:gd name="connsiteY9" fmla="*/ 1854 h 45453"/>
                  <a:gd name="connsiteX10" fmla="*/ 43241 w 43240"/>
                  <a:gd name="connsiteY10" fmla="*/ 2033 h 45453"/>
                  <a:gd name="connsiteX11" fmla="*/ 40848 w 43240"/>
                  <a:gd name="connsiteY11" fmla="*/ 45334 h 45453"/>
                  <a:gd name="connsiteX12" fmla="*/ 40789 w 43240"/>
                  <a:gd name="connsiteY12" fmla="*/ 45453 h 45453"/>
                  <a:gd name="connsiteX13" fmla="*/ 35047 w 43240"/>
                  <a:gd name="connsiteY13" fmla="*/ 299 h 45453"/>
                  <a:gd name="connsiteX14" fmla="*/ 22188 w 43240"/>
                  <a:gd name="connsiteY14" fmla="*/ 8253 h 45453"/>
                  <a:gd name="connsiteX15" fmla="*/ 13098 w 43240"/>
                  <a:gd name="connsiteY15" fmla="*/ 20155 h 45453"/>
                  <a:gd name="connsiteX16" fmla="*/ 598 w 43240"/>
                  <a:gd name="connsiteY16" fmla="*/ 30322 h 45453"/>
                  <a:gd name="connsiteX17" fmla="*/ 40669 w 43240"/>
                  <a:gd name="connsiteY17" fmla="*/ 45095 h 45453"/>
                  <a:gd name="connsiteX18" fmla="*/ 43001 w 43240"/>
                  <a:gd name="connsiteY18" fmla="*/ 2273 h 45453"/>
                  <a:gd name="connsiteX19" fmla="*/ 35047 w 43240"/>
                  <a:gd name="connsiteY19" fmla="*/ 299 h 4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240" h="45453">
                    <a:moveTo>
                      <a:pt x="40789" y="45453"/>
                    </a:moveTo>
                    <a:cubicBezTo>
                      <a:pt x="40729" y="45453"/>
                      <a:pt x="40669" y="45453"/>
                      <a:pt x="40669" y="45453"/>
                    </a:cubicBezTo>
                    <a:lnTo>
                      <a:pt x="119" y="30502"/>
                    </a:lnTo>
                    <a:cubicBezTo>
                      <a:pt x="60" y="30502"/>
                      <a:pt x="0" y="30442"/>
                      <a:pt x="0" y="30382"/>
                    </a:cubicBezTo>
                    <a:cubicBezTo>
                      <a:pt x="0" y="30322"/>
                      <a:pt x="0" y="30262"/>
                      <a:pt x="60" y="30203"/>
                    </a:cubicBezTo>
                    <a:lnTo>
                      <a:pt x="12798" y="19856"/>
                    </a:lnTo>
                    <a:lnTo>
                      <a:pt x="21889" y="7954"/>
                    </a:lnTo>
                    <a:lnTo>
                      <a:pt x="34808" y="0"/>
                    </a:lnTo>
                    <a:lnTo>
                      <a:pt x="43001" y="1854"/>
                    </a:lnTo>
                    <a:cubicBezTo>
                      <a:pt x="43061" y="1854"/>
                      <a:pt x="43121" y="1854"/>
                      <a:pt x="43181" y="1854"/>
                    </a:cubicBezTo>
                    <a:cubicBezTo>
                      <a:pt x="43241" y="1914"/>
                      <a:pt x="43241" y="1974"/>
                      <a:pt x="43241" y="2033"/>
                    </a:cubicBezTo>
                    <a:lnTo>
                      <a:pt x="40848" y="45334"/>
                    </a:lnTo>
                    <a:cubicBezTo>
                      <a:pt x="40908" y="45394"/>
                      <a:pt x="40848" y="45453"/>
                      <a:pt x="40789" y="45453"/>
                    </a:cubicBezTo>
                    <a:close/>
                    <a:moveTo>
                      <a:pt x="35047" y="299"/>
                    </a:moveTo>
                    <a:lnTo>
                      <a:pt x="22188" y="8253"/>
                    </a:lnTo>
                    <a:lnTo>
                      <a:pt x="13098" y="20155"/>
                    </a:lnTo>
                    <a:lnTo>
                      <a:pt x="598" y="30322"/>
                    </a:lnTo>
                    <a:lnTo>
                      <a:pt x="40669" y="45095"/>
                    </a:lnTo>
                    <a:lnTo>
                      <a:pt x="43001" y="2273"/>
                    </a:lnTo>
                    <a:lnTo>
                      <a:pt x="35047" y="299"/>
                    </a:lnTo>
                    <a:close/>
                  </a:path>
                </a:pathLst>
              </a:custGeom>
              <a:grpFill/>
              <a:ln w="6350" cap="flat">
                <a:solidFill>
                  <a:schemeClr val="bg1">
                    <a:alpha val="80000"/>
                  </a:schemeClr>
                </a:solidFill>
                <a:prstDash val="solid"/>
                <a:miter/>
              </a:ln>
            </p:spPr>
            <p:txBody>
              <a:bodyPr rtlCol="0" anchor="ctr"/>
              <a:lstStyle/>
              <a:p>
                <a:endParaRPr lang="en-GB"/>
              </a:p>
            </p:txBody>
          </p:sp>
          <p:sp>
            <p:nvSpPr>
              <p:cNvPr id="8790" name="Vrije vorm: vorm 8789">
                <a:extLst>
                  <a:ext uri="{FF2B5EF4-FFF2-40B4-BE49-F238E27FC236}">
                    <a16:creationId xmlns:a16="http://schemas.microsoft.com/office/drawing/2014/main" id="{6306D6A0-F2AE-496E-A540-4572EB658DDF}"/>
                  </a:ext>
                </a:extLst>
              </p:cNvPr>
              <p:cNvSpPr/>
              <p:nvPr/>
            </p:nvSpPr>
            <p:spPr>
              <a:xfrm>
                <a:off x="4632866" y="2701472"/>
                <a:ext cx="38456" cy="40609"/>
              </a:xfrm>
              <a:custGeom>
                <a:avLst/>
                <a:gdLst>
                  <a:gd name="connsiteX0" fmla="*/ 38456 w 38456"/>
                  <a:gd name="connsiteY0" fmla="*/ 598 h 40609"/>
                  <a:gd name="connsiteX1" fmla="*/ 24461 w 38456"/>
                  <a:gd name="connsiteY1" fmla="*/ 40490 h 40609"/>
                  <a:gd name="connsiteX2" fmla="*/ 24342 w 38456"/>
                  <a:gd name="connsiteY2" fmla="*/ 40609 h 40609"/>
                  <a:gd name="connsiteX3" fmla="*/ 24162 w 38456"/>
                  <a:gd name="connsiteY3" fmla="*/ 40549 h 40609"/>
                  <a:gd name="connsiteX4" fmla="*/ 19318 w 38456"/>
                  <a:gd name="connsiteY4" fmla="*/ 31638 h 40609"/>
                  <a:gd name="connsiteX5" fmla="*/ 8074 w 38456"/>
                  <a:gd name="connsiteY5" fmla="*/ 15789 h 40609"/>
                  <a:gd name="connsiteX6" fmla="*/ 0 w 38456"/>
                  <a:gd name="connsiteY6" fmla="*/ 239 h 40609"/>
                  <a:gd name="connsiteX7" fmla="*/ 0 w 38456"/>
                  <a:gd name="connsiteY7" fmla="*/ 60 h 40609"/>
                  <a:gd name="connsiteX8" fmla="*/ 120 w 38456"/>
                  <a:gd name="connsiteY8" fmla="*/ 0 h 40609"/>
                  <a:gd name="connsiteX9" fmla="*/ 38277 w 38456"/>
                  <a:gd name="connsiteY9" fmla="*/ 419 h 40609"/>
                  <a:gd name="connsiteX10" fmla="*/ 38396 w 38456"/>
                  <a:gd name="connsiteY10" fmla="*/ 479 h 40609"/>
                  <a:gd name="connsiteX11" fmla="*/ 38456 w 38456"/>
                  <a:gd name="connsiteY11" fmla="*/ 598 h 40609"/>
                  <a:gd name="connsiteX12" fmla="*/ 38456 w 38456"/>
                  <a:gd name="connsiteY12" fmla="*/ 598 h 40609"/>
                  <a:gd name="connsiteX13" fmla="*/ 8313 w 38456"/>
                  <a:gd name="connsiteY13" fmla="*/ 15610 h 40609"/>
                  <a:gd name="connsiteX14" fmla="*/ 19557 w 38456"/>
                  <a:gd name="connsiteY14" fmla="*/ 31459 h 40609"/>
                  <a:gd name="connsiteX15" fmla="*/ 24162 w 38456"/>
                  <a:gd name="connsiteY15" fmla="*/ 40131 h 40609"/>
                  <a:gd name="connsiteX16" fmla="*/ 38037 w 38456"/>
                  <a:gd name="connsiteY16" fmla="*/ 718 h 40609"/>
                  <a:gd name="connsiteX17" fmla="*/ 359 w 38456"/>
                  <a:gd name="connsiteY17" fmla="*/ 299 h 40609"/>
                  <a:gd name="connsiteX18" fmla="*/ 8313 w 38456"/>
                  <a:gd name="connsiteY18" fmla="*/ 15610 h 4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456" h="40609">
                    <a:moveTo>
                      <a:pt x="38456" y="598"/>
                    </a:moveTo>
                    <a:lnTo>
                      <a:pt x="24461" y="40490"/>
                    </a:lnTo>
                    <a:cubicBezTo>
                      <a:pt x="24461" y="40549"/>
                      <a:pt x="24401" y="40609"/>
                      <a:pt x="24342" y="40609"/>
                    </a:cubicBezTo>
                    <a:cubicBezTo>
                      <a:pt x="24282" y="40609"/>
                      <a:pt x="24222" y="40609"/>
                      <a:pt x="24162" y="40549"/>
                    </a:cubicBezTo>
                    <a:lnTo>
                      <a:pt x="19318" y="31638"/>
                    </a:lnTo>
                    <a:lnTo>
                      <a:pt x="8074" y="15789"/>
                    </a:lnTo>
                    <a:lnTo>
                      <a:pt x="0" y="239"/>
                    </a:lnTo>
                    <a:cubicBezTo>
                      <a:pt x="0" y="179"/>
                      <a:pt x="0" y="120"/>
                      <a:pt x="0" y="60"/>
                    </a:cubicBezTo>
                    <a:cubicBezTo>
                      <a:pt x="60" y="0"/>
                      <a:pt x="60" y="0"/>
                      <a:pt x="120" y="0"/>
                    </a:cubicBezTo>
                    <a:lnTo>
                      <a:pt x="38277" y="419"/>
                    </a:lnTo>
                    <a:cubicBezTo>
                      <a:pt x="38337" y="419"/>
                      <a:pt x="38396" y="419"/>
                      <a:pt x="38396" y="479"/>
                    </a:cubicBezTo>
                    <a:cubicBezTo>
                      <a:pt x="38456" y="479"/>
                      <a:pt x="38456" y="538"/>
                      <a:pt x="38456" y="598"/>
                    </a:cubicBezTo>
                    <a:lnTo>
                      <a:pt x="38456" y="598"/>
                    </a:lnTo>
                    <a:close/>
                    <a:moveTo>
                      <a:pt x="8313" y="15610"/>
                    </a:moveTo>
                    <a:lnTo>
                      <a:pt x="19557" y="31459"/>
                    </a:lnTo>
                    <a:lnTo>
                      <a:pt x="24162" y="40131"/>
                    </a:lnTo>
                    <a:lnTo>
                      <a:pt x="38037" y="718"/>
                    </a:lnTo>
                    <a:lnTo>
                      <a:pt x="359" y="299"/>
                    </a:lnTo>
                    <a:lnTo>
                      <a:pt x="8313" y="15610"/>
                    </a:lnTo>
                    <a:close/>
                  </a:path>
                </a:pathLst>
              </a:custGeom>
              <a:grpFill/>
              <a:ln w="6350" cap="flat">
                <a:solidFill>
                  <a:schemeClr val="bg1">
                    <a:alpha val="80000"/>
                  </a:schemeClr>
                </a:solidFill>
                <a:prstDash val="solid"/>
                <a:miter/>
              </a:ln>
            </p:spPr>
            <p:txBody>
              <a:bodyPr rtlCol="0" anchor="ctr"/>
              <a:lstStyle/>
              <a:p>
                <a:endParaRPr lang="en-GB"/>
              </a:p>
            </p:txBody>
          </p:sp>
          <p:sp>
            <p:nvSpPr>
              <p:cNvPr id="8791" name="Vrije vorm: vorm 8790">
                <a:extLst>
                  <a:ext uri="{FF2B5EF4-FFF2-40B4-BE49-F238E27FC236}">
                    <a16:creationId xmlns:a16="http://schemas.microsoft.com/office/drawing/2014/main" id="{E193A612-3B70-404F-8F33-93DF5CB1B2B2}"/>
                  </a:ext>
                </a:extLst>
              </p:cNvPr>
              <p:cNvSpPr/>
              <p:nvPr/>
            </p:nvSpPr>
            <p:spPr>
              <a:xfrm>
                <a:off x="4633883" y="2654559"/>
                <a:ext cx="48862" cy="38540"/>
              </a:xfrm>
              <a:custGeom>
                <a:avLst/>
                <a:gdLst>
                  <a:gd name="connsiteX0" fmla="*/ 48863 w 48862"/>
                  <a:gd name="connsiteY0" fmla="*/ 8697 h 38540"/>
                  <a:gd name="connsiteX1" fmla="*/ 39413 w 48862"/>
                  <a:gd name="connsiteY1" fmla="*/ 38421 h 38540"/>
                  <a:gd name="connsiteX2" fmla="*/ 39293 w 48862"/>
                  <a:gd name="connsiteY2" fmla="*/ 38541 h 38540"/>
                  <a:gd name="connsiteX3" fmla="*/ 39114 w 48862"/>
                  <a:gd name="connsiteY3" fmla="*/ 38481 h 38540"/>
                  <a:gd name="connsiteX4" fmla="*/ 60 w 48862"/>
                  <a:gd name="connsiteY4" fmla="*/ 264 h 38540"/>
                  <a:gd name="connsiteX5" fmla="*/ 0 w 48862"/>
                  <a:gd name="connsiteY5" fmla="*/ 85 h 38540"/>
                  <a:gd name="connsiteX6" fmla="*/ 180 w 48862"/>
                  <a:gd name="connsiteY6" fmla="*/ 25 h 38540"/>
                  <a:gd name="connsiteX7" fmla="*/ 48683 w 48862"/>
                  <a:gd name="connsiteY7" fmla="*/ 8458 h 38540"/>
                  <a:gd name="connsiteX8" fmla="*/ 48803 w 48862"/>
                  <a:gd name="connsiteY8" fmla="*/ 8517 h 38540"/>
                  <a:gd name="connsiteX9" fmla="*/ 48863 w 48862"/>
                  <a:gd name="connsiteY9" fmla="*/ 8697 h 38540"/>
                  <a:gd name="connsiteX10" fmla="*/ 48863 w 48862"/>
                  <a:gd name="connsiteY10" fmla="*/ 8697 h 38540"/>
                  <a:gd name="connsiteX11" fmla="*/ 39114 w 48862"/>
                  <a:gd name="connsiteY11" fmla="*/ 38062 h 38540"/>
                  <a:gd name="connsiteX12" fmla="*/ 48504 w 48862"/>
                  <a:gd name="connsiteY12" fmla="*/ 8757 h 38540"/>
                  <a:gd name="connsiteX13" fmla="*/ 658 w 48862"/>
                  <a:gd name="connsiteY13" fmla="*/ 443 h 38540"/>
                  <a:gd name="connsiteX14" fmla="*/ 39114 w 48862"/>
                  <a:gd name="connsiteY14" fmla="*/ 38062 h 3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862" h="38540">
                    <a:moveTo>
                      <a:pt x="48863" y="8697"/>
                    </a:moveTo>
                    <a:lnTo>
                      <a:pt x="39413" y="38421"/>
                    </a:lnTo>
                    <a:cubicBezTo>
                      <a:pt x="39413" y="38481"/>
                      <a:pt x="39353" y="38541"/>
                      <a:pt x="39293" y="38541"/>
                    </a:cubicBezTo>
                    <a:cubicBezTo>
                      <a:pt x="39234" y="38541"/>
                      <a:pt x="39174" y="38541"/>
                      <a:pt x="39114" y="38481"/>
                    </a:cubicBezTo>
                    <a:lnTo>
                      <a:pt x="60" y="264"/>
                    </a:lnTo>
                    <a:cubicBezTo>
                      <a:pt x="0" y="204"/>
                      <a:pt x="0" y="144"/>
                      <a:pt x="0" y="85"/>
                    </a:cubicBezTo>
                    <a:cubicBezTo>
                      <a:pt x="60" y="25"/>
                      <a:pt x="120" y="-35"/>
                      <a:pt x="180" y="25"/>
                    </a:cubicBezTo>
                    <a:lnTo>
                      <a:pt x="48683" y="8458"/>
                    </a:lnTo>
                    <a:cubicBezTo>
                      <a:pt x="48743" y="8458"/>
                      <a:pt x="48743" y="8517"/>
                      <a:pt x="48803" y="8517"/>
                    </a:cubicBezTo>
                    <a:cubicBezTo>
                      <a:pt x="48863" y="8637"/>
                      <a:pt x="48863" y="8637"/>
                      <a:pt x="48863" y="8697"/>
                    </a:cubicBezTo>
                    <a:lnTo>
                      <a:pt x="48863" y="8697"/>
                    </a:lnTo>
                    <a:close/>
                    <a:moveTo>
                      <a:pt x="39114" y="38062"/>
                    </a:moveTo>
                    <a:lnTo>
                      <a:pt x="48504" y="8757"/>
                    </a:lnTo>
                    <a:lnTo>
                      <a:pt x="658" y="443"/>
                    </a:lnTo>
                    <a:lnTo>
                      <a:pt x="39114" y="38062"/>
                    </a:lnTo>
                    <a:close/>
                  </a:path>
                </a:pathLst>
              </a:custGeom>
              <a:grpFill/>
              <a:ln w="6350" cap="flat">
                <a:solidFill>
                  <a:schemeClr val="bg1">
                    <a:alpha val="80000"/>
                  </a:schemeClr>
                </a:solidFill>
                <a:prstDash val="solid"/>
                <a:miter/>
              </a:ln>
            </p:spPr>
            <p:txBody>
              <a:bodyPr rtlCol="0" anchor="ctr"/>
              <a:lstStyle/>
              <a:p>
                <a:endParaRPr lang="en-GB"/>
              </a:p>
            </p:txBody>
          </p:sp>
          <p:sp>
            <p:nvSpPr>
              <p:cNvPr id="8792" name="Vrije vorm: vorm 8791">
                <a:extLst>
                  <a:ext uri="{FF2B5EF4-FFF2-40B4-BE49-F238E27FC236}">
                    <a16:creationId xmlns:a16="http://schemas.microsoft.com/office/drawing/2014/main" id="{6AF6A1A2-171F-446D-8458-CA4417AD456C}"/>
                  </a:ext>
                </a:extLst>
              </p:cNvPr>
              <p:cNvSpPr/>
              <p:nvPr/>
            </p:nvSpPr>
            <p:spPr>
              <a:xfrm>
                <a:off x="4635617" y="2617742"/>
                <a:ext cx="53168" cy="36063"/>
              </a:xfrm>
              <a:custGeom>
                <a:avLst/>
                <a:gdLst>
                  <a:gd name="connsiteX0" fmla="*/ 53169 w 53168"/>
                  <a:gd name="connsiteY0" fmla="*/ 179 h 36063"/>
                  <a:gd name="connsiteX1" fmla="*/ 49161 w 53168"/>
                  <a:gd name="connsiteY1" fmla="*/ 35944 h 36063"/>
                  <a:gd name="connsiteX2" fmla="*/ 48982 w 53168"/>
                  <a:gd name="connsiteY2" fmla="*/ 36064 h 36063"/>
                  <a:gd name="connsiteX3" fmla="*/ 119 w 53168"/>
                  <a:gd name="connsiteY3" fmla="*/ 26375 h 36063"/>
                  <a:gd name="connsiteX4" fmla="*/ 0 w 53168"/>
                  <a:gd name="connsiteY4" fmla="*/ 26255 h 36063"/>
                  <a:gd name="connsiteX5" fmla="*/ 119 w 53168"/>
                  <a:gd name="connsiteY5" fmla="*/ 26076 h 36063"/>
                  <a:gd name="connsiteX6" fmla="*/ 52989 w 53168"/>
                  <a:gd name="connsiteY6" fmla="*/ 0 h 36063"/>
                  <a:gd name="connsiteX7" fmla="*/ 53169 w 53168"/>
                  <a:gd name="connsiteY7" fmla="*/ 0 h 36063"/>
                  <a:gd name="connsiteX8" fmla="*/ 53169 w 53168"/>
                  <a:gd name="connsiteY8" fmla="*/ 179 h 36063"/>
                  <a:gd name="connsiteX9" fmla="*/ 53169 w 53168"/>
                  <a:gd name="connsiteY9" fmla="*/ 179 h 36063"/>
                  <a:gd name="connsiteX10" fmla="*/ 48862 w 53168"/>
                  <a:gd name="connsiteY10" fmla="*/ 35645 h 36063"/>
                  <a:gd name="connsiteX11" fmla="*/ 52750 w 53168"/>
                  <a:gd name="connsiteY11" fmla="*/ 419 h 36063"/>
                  <a:gd name="connsiteX12" fmla="*/ 598 w 53168"/>
                  <a:gd name="connsiteY12" fmla="*/ 26136 h 36063"/>
                  <a:gd name="connsiteX13" fmla="*/ 48862 w 53168"/>
                  <a:gd name="connsiteY13" fmla="*/ 35645 h 3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168" h="36063">
                    <a:moveTo>
                      <a:pt x="53169" y="179"/>
                    </a:moveTo>
                    <a:lnTo>
                      <a:pt x="49161" y="35944"/>
                    </a:lnTo>
                    <a:cubicBezTo>
                      <a:pt x="49161" y="36004"/>
                      <a:pt x="49042" y="36064"/>
                      <a:pt x="48982" y="36064"/>
                    </a:cubicBezTo>
                    <a:lnTo>
                      <a:pt x="119" y="26375"/>
                    </a:lnTo>
                    <a:cubicBezTo>
                      <a:pt x="60" y="26375"/>
                      <a:pt x="0" y="26315"/>
                      <a:pt x="0" y="26255"/>
                    </a:cubicBezTo>
                    <a:cubicBezTo>
                      <a:pt x="0" y="26196"/>
                      <a:pt x="0" y="26136"/>
                      <a:pt x="119" y="26076"/>
                    </a:cubicBezTo>
                    <a:lnTo>
                      <a:pt x="52989" y="0"/>
                    </a:lnTo>
                    <a:cubicBezTo>
                      <a:pt x="53049" y="0"/>
                      <a:pt x="53109" y="0"/>
                      <a:pt x="53169" y="0"/>
                    </a:cubicBezTo>
                    <a:cubicBezTo>
                      <a:pt x="53169" y="0"/>
                      <a:pt x="53169" y="60"/>
                      <a:pt x="53169" y="179"/>
                    </a:cubicBezTo>
                    <a:cubicBezTo>
                      <a:pt x="53169" y="120"/>
                      <a:pt x="53169" y="120"/>
                      <a:pt x="53169" y="179"/>
                    </a:cubicBezTo>
                    <a:close/>
                    <a:moveTo>
                      <a:pt x="48862" y="35645"/>
                    </a:moveTo>
                    <a:lnTo>
                      <a:pt x="52750" y="419"/>
                    </a:lnTo>
                    <a:lnTo>
                      <a:pt x="598" y="26136"/>
                    </a:lnTo>
                    <a:lnTo>
                      <a:pt x="48862" y="35645"/>
                    </a:lnTo>
                    <a:close/>
                  </a:path>
                </a:pathLst>
              </a:custGeom>
              <a:grpFill/>
              <a:ln w="6350" cap="flat">
                <a:solidFill>
                  <a:schemeClr val="bg1">
                    <a:alpha val="80000"/>
                  </a:schemeClr>
                </a:solidFill>
                <a:prstDash val="solid"/>
                <a:miter/>
              </a:ln>
            </p:spPr>
            <p:txBody>
              <a:bodyPr rtlCol="0" anchor="ctr"/>
              <a:lstStyle/>
              <a:p>
                <a:endParaRPr lang="en-GB"/>
              </a:p>
            </p:txBody>
          </p:sp>
          <p:sp>
            <p:nvSpPr>
              <p:cNvPr id="8793" name="Vrije vorm: vorm 8792">
                <a:extLst>
                  <a:ext uri="{FF2B5EF4-FFF2-40B4-BE49-F238E27FC236}">
                    <a16:creationId xmlns:a16="http://schemas.microsoft.com/office/drawing/2014/main" id="{B12E6C5D-5934-4F6F-9D29-F963541CC0D1}"/>
                  </a:ext>
                </a:extLst>
              </p:cNvPr>
              <p:cNvSpPr/>
              <p:nvPr/>
            </p:nvSpPr>
            <p:spPr>
              <a:xfrm>
                <a:off x="4621742" y="2660265"/>
                <a:ext cx="39233" cy="32714"/>
              </a:xfrm>
              <a:custGeom>
                <a:avLst/>
                <a:gdLst>
                  <a:gd name="connsiteX0" fmla="*/ 39174 w 39233"/>
                  <a:gd name="connsiteY0" fmla="*/ 32595 h 32714"/>
                  <a:gd name="connsiteX1" fmla="*/ 39054 w 39233"/>
                  <a:gd name="connsiteY1" fmla="*/ 32715 h 32714"/>
                  <a:gd name="connsiteX2" fmla="*/ 6758 w 39233"/>
                  <a:gd name="connsiteY2" fmla="*/ 32475 h 32714"/>
                  <a:gd name="connsiteX3" fmla="*/ 6639 w 39233"/>
                  <a:gd name="connsiteY3" fmla="*/ 32356 h 32714"/>
                  <a:gd name="connsiteX4" fmla="*/ 0 w 39233"/>
                  <a:gd name="connsiteY4" fmla="*/ 18540 h 32714"/>
                  <a:gd name="connsiteX5" fmla="*/ 0 w 39233"/>
                  <a:gd name="connsiteY5" fmla="*/ 18421 h 32714"/>
                  <a:gd name="connsiteX6" fmla="*/ 2990 w 39233"/>
                  <a:gd name="connsiteY6" fmla="*/ 120 h 32714"/>
                  <a:gd name="connsiteX7" fmla="*/ 2990 w 39233"/>
                  <a:gd name="connsiteY7" fmla="*/ 120 h 32714"/>
                  <a:gd name="connsiteX8" fmla="*/ 3110 w 39233"/>
                  <a:gd name="connsiteY8" fmla="*/ 0 h 32714"/>
                  <a:gd name="connsiteX9" fmla="*/ 3289 w 39233"/>
                  <a:gd name="connsiteY9" fmla="*/ 60 h 32714"/>
                  <a:gd name="connsiteX10" fmla="*/ 39234 w 39233"/>
                  <a:gd name="connsiteY10" fmla="*/ 32415 h 32714"/>
                  <a:gd name="connsiteX11" fmla="*/ 39174 w 39233"/>
                  <a:gd name="connsiteY11" fmla="*/ 32595 h 32714"/>
                  <a:gd name="connsiteX12" fmla="*/ 39174 w 39233"/>
                  <a:gd name="connsiteY12" fmla="*/ 32595 h 32714"/>
                  <a:gd name="connsiteX13" fmla="*/ 239 w 39233"/>
                  <a:gd name="connsiteY13" fmla="*/ 18421 h 32714"/>
                  <a:gd name="connsiteX14" fmla="*/ 6818 w 39233"/>
                  <a:gd name="connsiteY14" fmla="*/ 32116 h 32714"/>
                  <a:gd name="connsiteX15" fmla="*/ 38576 w 39233"/>
                  <a:gd name="connsiteY15" fmla="*/ 32356 h 32714"/>
                  <a:gd name="connsiteX16" fmla="*/ 3170 w 39233"/>
                  <a:gd name="connsiteY16" fmla="*/ 478 h 32714"/>
                  <a:gd name="connsiteX17" fmla="*/ 239 w 39233"/>
                  <a:gd name="connsiteY17" fmla="*/ 18421 h 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233" h="32714">
                    <a:moveTo>
                      <a:pt x="39174" y="32595"/>
                    </a:moveTo>
                    <a:cubicBezTo>
                      <a:pt x="39174" y="32655"/>
                      <a:pt x="39114" y="32715"/>
                      <a:pt x="39054" y="32715"/>
                    </a:cubicBezTo>
                    <a:lnTo>
                      <a:pt x="6758" y="32475"/>
                    </a:lnTo>
                    <a:cubicBezTo>
                      <a:pt x="6698" y="32475"/>
                      <a:pt x="6639" y="32415"/>
                      <a:pt x="6639" y="32356"/>
                    </a:cubicBezTo>
                    <a:lnTo>
                      <a:pt x="0" y="18540"/>
                    </a:lnTo>
                    <a:cubicBezTo>
                      <a:pt x="0" y="18480"/>
                      <a:pt x="0" y="18480"/>
                      <a:pt x="0" y="18421"/>
                    </a:cubicBezTo>
                    <a:lnTo>
                      <a:pt x="2990" y="120"/>
                    </a:lnTo>
                    <a:lnTo>
                      <a:pt x="2990" y="120"/>
                    </a:lnTo>
                    <a:cubicBezTo>
                      <a:pt x="2990" y="60"/>
                      <a:pt x="3050" y="0"/>
                      <a:pt x="3110" y="0"/>
                    </a:cubicBezTo>
                    <a:cubicBezTo>
                      <a:pt x="3170" y="0"/>
                      <a:pt x="3229" y="0"/>
                      <a:pt x="3289" y="60"/>
                    </a:cubicBezTo>
                    <a:lnTo>
                      <a:pt x="39234" y="32415"/>
                    </a:lnTo>
                    <a:cubicBezTo>
                      <a:pt x="39174" y="32475"/>
                      <a:pt x="39174" y="32535"/>
                      <a:pt x="39174" y="32595"/>
                    </a:cubicBezTo>
                    <a:cubicBezTo>
                      <a:pt x="39174" y="32595"/>
                      <a:pt x="39174" y="32595"/>
                      <a:pt x="39174" y="32595"/>
                    </a:cubicBezTo>
                    <a:close/>
                    <a:moveTo>
                      <a:pt x="239" y="18421"/>
                    </a:moveTo>
                    <a:lnTo>
                      <a:pt x="6818" y="32116"/>
                    </a:lnTo>
                    <a:lnTo>
                      <a:pt x="38576" y="32356"/>
                    </a:lnTo>
                    <a:lnTo>
                      <a:pt x="3170" y="478"/>
                    </a:lnTo>
                    <a:lnTo>
                      <a:pt x="239" y="18421"/>
                    </a:lnTo>
                    <a:close/>
                  </a:path>
                </a:pathLst>
              </a:custGeom>
              <a:grpFill/>
              <a:ln w="6350" cap="flat">
                <a:solidFill>
                  <a:schemeClr val="bg1">
                    <a:alpha val="80000"/>
                  </a:schemeClr>
                </a:solidFill>
                <a:prstDash val="solid"/>
                <a:miter/>
              </a:ln>
            </p:spPr>
            <p:txBody>
              <a:bodyPr rtlCol="0" anchor="ctr"/>
              <a:lstStyle/>
              <a:p>
                <a:endParaRPr lang="en-GB"/>
              </a:p>
            </p:txBody>
          </p:sp>
          <p:sp>
            <p:nvSpPr>
              <p:cNvPr id="8794" name="Vrije vorm: vorm 8793">
                <a:extLst>
                  <a:ext uri="{FF2B5EF4-FFF2-40B4-BE49-F238E27FC236}">
                    <a16:creationId xmlns:a16="http://schemas.microsoft.com/office/drawing/2014/main" id="{1E387DCB-924F-4DB8-96D5-DA72098C2267}"/>
                  </a:ext>
                </a:extLst>
              </p:cNvPr>
              <p:cNvSpPr/>
              <p:nvPr/>
            </p:nvSpPr>
            <p:spPr>
              <a:xfrm>
                <a:off x="4628560" y="2599875"/>
                <a:ext cx="49520" cy="35869"/>
              </a:xfrm>
              <a:custGeom>
                <a:avLst/>
                <a:gdLst>
                  <a:gd name="connsiteX0" fmla="*/ 49400 w 49520"/>
                  <a:gd name="connsiteY0" fmla="*/ 14159 h 35869"/>
                  <a:gd name="connsiteX1" fmla="*/ 239 w 49520"/>
                  <a:gd name="connsiteY1" fmla="*/ 35869 h 35869"/>
                  <a:gd name="connsiteX2" fmla="*/ 60 w 49520"/>
                  <a:gd name="connsiteY2" fmla="*/ 35869 h 35869"/>
                  <a:gd name="connsiteX3" fmla="*/ 0 w 49520"/>
                  <a:gd name="connsiteY3" fmla="*/ 35690 h 35869"/>
                  <a:gd name="connsiteX4" fmla="*/ 5323 w 49520"/>
                  <a:gd name="connsiteY4" fmla="*/ 6085 h 35869"/>
                  <a:gd name="connsiteX5" fmla="*/ 5382 w 49520"/>
                  <a:gd name="connsiteY5" fmla="*/ 5966 h 35869"/>
                  <a:gd name="connsiteX6" fmla="*/ 13217 w 49520"/>
                  <a:gd name="connsiteY6" fmla="*/ 45 h 35869"/>
                  <a:gd name="connsiteX7" fmla="*/ 13397 w 49520"/>
                  <a:gd name="connsiteY7" fmla="*/ 45 h 35869"/>
                  <a:gd name="connsiteX8" fmla="*/ 49400 w 49520"/>
                  <a:gd name="connsiteY8" fmla="*/ 13860 h 35869"/>
                  <a:gd name="connsiteX9" fmla="*/ 49520 w 49520"/>
                  <a:gd name="connsiteY9" fmla="*/ 13980 h 35869"/>
                  <a:gd name="connsiteX10" fmla="*/ 49520 w 49520"/>
                  <a:gd name="connsiteY10" fmla="*/ 14040 h 35869"/>
                  <a:gd name="connsiteX11" fmla="*/ 49400 w 49520"/>
                  <a:gd name="connsiteY11" fmla="*/ 14159 h 35869"/>
                  <a:gd name="connsiteX12" fmla="*/ 5622 w 49520"/>
                  <a:gd name="connsiteY12" fmla="*/ 6205 h 35869"/>
                  <a:gd name="connsiteX13" fmla="*/ 359 w 49520"/>
                  <a:gd name="connsiteY13" fmla="*/ 35451 h 35869"/>
                  <a:gd name="connsiteX14" fmla="*/ 48922 w 49520"/>
                  <a:gd name="connsiteY14" fmla="*/ 14040 h 35869"/>
                  <a:gd name="connsiteX15" fmla="*/ 13337 w 49520"/>
                  <a:gd name="connsiteY15" fmla="*/ 344 h 35869"/>
                  <a:gd name="connsiteX16" fmla="*/ 5622 w 49520"/>
                  <a:gd name="connsiteY16" fmla="*/ 6205 h 35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20" h="35869">
                    <a:moveTo>
                      <a:pt x="49400" y="14159"/>
                    </a:moveTo>
                    <a:lnTo>
                      <a:pt x="239" y="35869"/>
                    </a:lnTo>
                    <a:cubicBezTo>
                      <a:pt x="179" y="35869"/>
                      <a:pt x="119" y="35869"/>
                      <a:pt x="60" y="35869"/>
                    </a:cubicBezTo>
                    <a:cubicBezTo>
                      <a:pt x="0" y="35809"/>
                      <a:pt x="0" y="35750"/>
                      <a:pt x="0" y="35690"/>
                    </a:cubicBezTo>
                    <a:lnTo>
                      <a:pt x="5323" y="6085"/>
                    </a:lnTo>
                    <a:cubicBezTo>
                      <a:pt x="5323" y="6026"/>
                      <a:pt x="5323" y="6026"/>
                      <a:pt x="5382" y="5966"/>
                    </a:cubicBezTo>
                    <a:lnTo>
                      <a:pt x="13217" y="45"/>
                    </a:lnTo>
                    <a:cubicBezTo>
                      <a:pt x="13277" y="-15"/>
                      <a:pt x="13337" y="-15"/>
                      <a:pt x="13397" y="45"/>
                    </a:cubicBezTo>
                    <a:lnTo>
                      <a:pt x="49400" y="13860"/>
                    </a:lnTo>
                    <a:cubicBezTo>
                      <a:pt x="49460" y="13860"/>
                      <a:pt x="49520" y="13920"/>
                      <a:pt x="49520" y="13980"/>
                    </a:cubicBezTo>
                    <a:cubicBezTo>
                      <a:pt x="49520" y="13980"/>
                      <a:pt x="49520" y="13980"/>
                      <a:pt x="49520" y="14040"/>
                    </a:cubicBezTo>
                    <a:cubicBezTo>
                      <a:pt x="49520" y="14100"/>
                      <a:pt x="49460" y="14100"/>
                      <a:pt x="49400" y="14159"/>
                    </a:cubicBezTo>
                    <a:close/>
                    <a:moveTo>
                      <a:pt x="5622" y="6205"/>
                    </a:moveTo>
                    <a:lnTo>
                      <a:pt x="359" y="35451"/>
                    </a:lnTo>
                    <a:lnTo>
                      <a:pt x="48922" y="14040"/>
                    </a:lnTo>
                    <a:lnTo>
                      <a:pt x="13337" y="344"/>
                    </a:lnTo>
                    <a:lnTo>
                      <a:pt x="5622" y="6205"/>
                    </a:lnTo>
                    <a:close/>
                  </a:path>
                </a:pathLst>
              </a:custGeom>
              <a:grpFill/>
              <a:ln w="6350" cap="flat">
                <a:solidFill>
                  <a:schemeClr val="bg1">
                    <a:alpha val="80000"/>
                  </a:schemeClr>
                </a:solidFill>
                <a:prstDash val="solid"/>
                <a:miter/>
              </a:ln>
            </p:spPr>
            <p:txBody>
              <a:bodyPr rtlCol="0" anchor="ctr"/>
              <a:lstStyle/>
              <a:p>
                <a:endParaRPr lang="en-GB"/>
              </a:p>
            </p:txBody>
          </p:sp>
          <p:sp>
            <p:nvSpPr>
              <p:cNvPr id="8795" name="Vrije vorm: vorm 8794">
                <a:extLst>
                  <a:ext uri="{FF2B5EF4-FFF2-40B4-BE49-F238E27FC236}">
                    <a16:creationId xmlns:a16="http://schemas.microsoft.com/office/drawing/2014/main" id="{376FE9D7-189B-42F7-819A-000CDD488DA5}"/>
                  </a:ext>
                </a:extLst>
              </p:cNvPr>
              <p:cNvSpPr/>
              <p:nvPr/>
            </p:nvSpPr>
            <p:spPr>
              <a:xfrm>
                <a:off x="4507824" y="2626833"/>
                <a:ext cx="94659" cy="21276"/>
              </a:xfrm>
              <a:custGeom>
                <a:avLst/>
                <a:gdLst>
                  <a:gd name="connsiteX0" fmla="*/ 94660 w 94659"/>
                  <a:gd name="connsiteY0" fmla="*/ 179 h 21276"/>
                  <a:gd name="connsiteX1" fmla="*/ 94660 w 94659"/>
                  <a:gd name="connsiteY1" fmla="*/ 179 h 21276"/>
                  <a:gd name="connsiteX2" fmla="*/ 94480 w 94659"/>
                  <a:gd name="connsiteY2" fmla="*/ 0 h 21276"/>
                  <a:gd name="connsiteX3" fmla="*/ 69122 w 94659"/>
                  <a:gd name="connsiteY3" fmla="*/ 1914 h 21276"/>
                  <a:gd name="connsiteX4" fmla="*/ 46934 w 94659"/>
                  <a:gd name="connsiteY4" fmla="*/ 5861 h 21276"/>
                  <a:gd name="connsiteX5" fmla="*/ 26958 w 94659"/>
                  <a:gd name="connsiteY5" fmla="*/ 9031 h 21276"/>
                  <a:gd name="connsiteX6" fmla="*/ 10870 w 94659"/>
                  <a:gd name="connsiteY6" fmla="*/ 11722 h 21276"/>
                  <a:gd name="connsiteX7" fmla="*/ 10810 w 94659"/>
                  <a:gd name="connsiteY7" fmla="*/ 11782 h 21276"/>
                  <a:gd name="connsiteX8" fmla="*/ 45 w 94659"/>
                  <a:gd name="connsiteY8" fmla="*/ 20992 h 21276"/>
                  <a:gd name="connsiteX9" fmla="*/ 45 w 94659"/>
                  <a:gd name="connsiteY9" fmla="*/ 21231 h 21276"/>
                  <a:gd name="connsiteX10" fmla="*/ 284 w 94659"/>
                  <a:gd name="connsiteY10" fmla="*/ 21231 h 21276"/>
                  <a:gd name="connsiteX11" fmla="*/ 11049 w 94659"/>
                  <a:gd name="connsiteY11" fmla="*/ 12021 h 21276"/>
                  <a:gd name="connsiteX12" fmla="*/ 27078 w 94659"/>
                  <a:gd name="connsiteY12" fmla="*/ 9330 h 21276"/>
                  <a:gd name="connsiteX13" fmla="*/ 47053 w 94659"/>
                  <a:gd name="connsiteY13" fmla="*/ 6160 h 21276"/>
                  <a:gd name="connsiteX14" fmla="*/ 69242 w 94659"/>
                  <a:gd name="connsiteY14" fmla="*/ 2213 h 21276"/>
                  <a:gd name="connsiteX15" fmla="*/ 94540 w 94659"/>
                  <a:gd name="connsiteY15" fmla="*/ 299 h 21276"/>
                  <a:gd name="connsiteX16" fmla="*/ 94660 w 94659"/>
                  <a:gd name="connsiteY16" fmla="*/ 179 h 2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659" h="21276">
                    <a:moveTo>
                      <a:pt x="94660" y="179"/>
                    </a:moveTo>
                    <a:cubicBezTo>
                      <a:pt x="94660" y="179"/>
                      <a:pt x="94660" y="179"/>
                      <a:pt x="94660" y="179"/>
                    </a:cubicBezTo>
                    <a:cubicBezTo>
                      <a:pt x="94660" y="60"/>
                      <a:pt x="94600" y="0"/>
                      <a:pt x="94480" y="0"/>
                    </a:cubicBezTo>
                    <a:lnTo>
                      <a:pt x="69122" y="1914"/>
                    </a:lnTo>
                    <a:lnTo>
                      <a:pt x="46934" y="5861"/>
                    </a:lnTo>
                    <a:lnTo>
                      <a:pt x="26958" y="9031"/>
                    </a:lnTo>
                    <a:lnTo>
                      <a:pt x="10870" y="11722"/>
                    </a:lnTo>
                    <a:cubicBezTo>
                      <a:pt x="10810" y="11722"/>
                      <a:pt x="10810" y="11722"/>
                      <a:pt x="10810" y="11782"/>
                    </a:cubicBezTo>
                    <a:lnTo>
                      <a:pt x="45" y="20992"/>
                    </a:lnTo>
                    <a:cubicBezTo>
                      <a:pt x="-15" y="21052"/>
                      <a:pt x="-15" y="21172"/>
                      <a:pt x="45" y="21231"/>
                    </a:cubicBezTo>
                    <a:cubicBezTo>
                      <a:pt x="104" y="21291"/>
                      <a:pt x="224" y="21291"/>
                      <a:pt x="284" y="21231"/>
                    </a:cubicBezTo>
                    <a:lnTo>
                      <a:pt x="11049" y="12021"/>
                    </a:lnTo>
                    <a:lnTo>
                      <a:pt x="27078" y="9330"/>
                    </a:lnTo>
                    <a:lnTo>
                      <a:pt x="47053" y="6160"/>
                    </a:lnTo>
                    <a:lnTo>
                      <a:pt x="69242" y="2213"/>
                    </a:lnTo>
                    <a:lnTo>
                      <a:pt x="94540" y="299"/>
                    </a:lnTo>
                    <a:cubicBezTo>
                      <a:pt x="94600" y="359"/>
                      <a:pt x="94660" y="299"/>
                      <a:pt x="94660"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796" name="Vrije vorm: vorm 8795">
                <a:extLst>
                  <a:ext uri="{FF2B5EF4-FFF2-40B4-BE49-F238E27FC236}">
                    <a16:creationId xmlns:a16="http://schemas.microsoft.com/office/drawing/2014/main" id="{C359D2BA-A3D9-48BD-8684-C67628984A44}"/>
                  </a:ext>
                </a:extLst>
              </p:cNvPr>
              <p:cNvSpPr/>
              <p:nvPr/>
            </p:nvSpPr>
            <p:spPr>
              <a:xfrm>
                <a:off x="4598417" y="2635505"/>
                <a:ext cx="30501" cy="25119"/>
              </a:xfrm>
              <a:custGeom>
                <a:avLst/>
                <a:gdLst>
                  <a:gd name="connsiteX0" fmla="*/ 26495 w 30501"/>
                  <a:gd name="connsiteY0" fmla="*/ 25119 h 25119"/>
                  <a:gd name="connsiteX1" fmla="*/ 26375 w 30501"/>
                  <a:gd name="connsiteY1" fmla="*/ 25119 h 25119"/>
                  <a:gd name="connsiteX2" fmla="*/ 120 w 30501"/>
                  <a:gd name="connsiteY2" fmla="*/ 12560 h 25119"/>
                  <a:gd name="connsiteX3" fmla="*/ 0 w 30501"/>
                  <a:gd name="connsiteY3" fmla="*/ 12440 h 25119"/>
                  <a:gd name="connsiteX4" fmla="*/ 120 w 30501"/>
                  <a:gd name="connsiteY4" fmla="*/ 12320 h 25119"/>
                  <a:gd name="connsiteX5" fmla="*/ 30262 w 30501"/>
                  <a:gd name="connsiteY5" fmla="*/ 0 h 25119"/>
                  <a:gd name="connsiteX6" fmla="*/ 30442 w 30501"/>
                  <a:gd name="connsiteY6" fmla="*/ 0 h 25119"/>
                  <a:gd name="connsiteX7" fmla="*/ 30502 w 30501"/>
                  <a:gd name="connsiteY7" fmla="*/ 179 h 25119"/>
                  <a:gd name="connsiteX8" fmla="*/ 26614 w 30501"/>
                  <a:gd name="connsiteY8" fmla="*/ 25059 h 25119"/>
                  <a:gd name="connsiteX9" fmla="*/ 26614 w 30501"/>
                  <a:gd name="connsiteY9" fmla="*/ 25059 h 25119"/>
                  <a:gd name="connsiteX10" fmla="*/ 26495 w 30501"/>
                  <a:gd name="connsiteY10" fmla="*/ 25119 h 25119"/>
                  <a:gd name="connsiteX11" fmla="*/ 538 w 30501"/>
                  <a:gd name="connsiteY11" fmla="*/ 12380 h 25119"/>
                  <a:gd name="connsiteX12" fmla="*/ 26255 w 30501"/>
                  <a:gd name="connsiteY12" fmla="*/ 24700 h 25119"/>
                  <a:gd name="connsiteX13" fmla="*/ 30083 w 30501"/>
                  <a:gd name="connsiteY13" fmla="*/ 299 h 25119"/>
                  <a:gd name="connsiteX14" fmla="*/ 538 w 30501"/>
                  <a:gd name="connsiteY14" fmla="*/ 12380 h 2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501" h="25119">
                    <a:moveTo>
                      <a:pt x="26495" y="25119"/>
                    </a:moveTo>
                    <a:cubicBezTo>
                      <a:pt x="26435" y="25119"/>
                      <a:pt x="26375" y="25119"/>
                      <a:pt x="26375" y="25119"/>
                    </a:cubicBezTo>
                    <a:lnTo>
                      <a:pt x="120" y="12560"/>
                    </a:lnTo>
                    <a:cubicBezTo>
                      <a:pt x="60" y="12560"/>
                      <a:pt x="0" y="12500"/>
                      <a:pt x="0" y="12440"/>
                    </a:cubicBezTo>
                    <a:cubicBezTo>
                      <a:pt x="0" y="12380"/>
                      <a:pt x="60" y="12320"/>
                      <a:pt x="120" y="12320"/>
                    </a:cubicBezTo>
                    <a:lnTo>
                      <a:pt x="30262" y="0"/>
                    </a:lnTo>
                    <a:cubicBezTo>
                      <a:pt x="30322" y="0"/>
                      <a:pt x="30382" y="0"/>
                      <a:pt x="30442" y="0"/>
                    </a:cubicBezTo>
                    <a:cubicBezTo>
                      <a:pt x="30502" y="0"/>
                      <a:pt x="30502" y="120"/>
                      <a:pt x="30502" y="179"/>
                    </a:cubicBezTo>
                    <a:lnTo>
                      <a:pt x="26614" y="25059"/>
                    </a:lnTo>
                    <a:lnTo>
                      <a:pt x="26614" y="25059"/>
                    </a:lnTo>
                    <a:cubicBezTo>
                      <a:pt x="26554" y="25059"/>
                      <a:pt x="26554" y="25059"/>
                      <a:pt x="26495" y="25119"/>
                    </a:cubicBezTo>
                    <a:close/>
                    <a:moveTo>
                      <a:pt x="538" y="12380"/>
                    </a:moveTo>
                    <a:lnTo>
                      <a:pt x="26255" y="24700"/>
                    </a:lnTo>
                    <a:lnTo>
                      <a:pt x="30083" y="299"/>
                    </a:lnTo>
                    <a:lnTo>
                      <a:pt x="538" y="12380"/>
                    </a:lnTo>
                    <a:close/>
                  </a:path>
                </a:pathLst>
              </a:custGeom>
              <a:grpFill/>
              <a:ln w="6350" cap="flat">
                <a:solidFill>
                  <a:schemeClr val="bg1">
                    <a:alpha val="80000"/>
                  </a:schemeClr>
                </a:solidFill>
                <a:prstDash val="solid"/>
                <a:miter/>
              </a:ln>
            </p:spPr>
            <p:txBody>
              <a:bodyPr rtlCol="0" anchor="ctr"/>
              <a:lstStyle/>
              <a:p>
                <a:endParaRPr lang="en-GB"/>
              </a:p>
            </p:txBody>
          </p:sp>
          <p:sp>
            <p:nvSpPr>
              <p:cNvPr id="8797" name="Vrije vorm: vorm 8796">
                <a:extLst>
                  <a:ext uri="{FF2B5EF4-FFF2-40B4-BE49-F238E27FC236}">
                    <a16:creationId xmlns:a16="http://schemas.microsoft.com/office/drawing/2014/main" id="{D4809683-6D11-42D8-A9CD-641EB4C7FD79}"/>
                  </a:ext>
                </a:extLst>
              </p:cNvPr>
              <p:cNvSpPr/>
              <p:nvPr/>
            </p:nvSpPr>
            <p:spPr>
              <a:xfrm>
                <a:off x="4507869" y="2553569"/>
                <a:ext cx="197005" cy="196705"/>
              </a:xfrm>
              <a:custGeom>
                <a:avLst/>
                <a:gdLst>
                  <a:gd name="connsiteX0" fmla="*/ 193596 w 197005"/>
                  <a:gd name="connsiteY0" fmla="*/ 1734 h 196705"/>
                  <a:gd name="connsiteX1" fmla="*/ 193536 w 197005"/>
                  <a:gd name="connsiteY1" fmla="*/ 1615 h 196705"/>
                  <a:gd name="connsiteX2" fmla="*/ 193356 w 197005"/>
                  <a:gd name="connsiteY2" fmla="*/ 1555 h 196705"/>
                  <a:gd name="connsiteX3" fmla="*/ 180378 w 197005"/>
                  <a:gd name="connsiteY3" fmla="*/ 0 h 196705"/>
                  <a:gd name="connsiteX4" fmla="*/ 164051 w 197005"/>
                  <a:gd name="connsiteY4" fmla="*/ 8851 h 196705"/>
                  <a:gd name="connsiteX5" fmla="*/ 154661 w 197005"/>
                  <a:gd name="connsiteY5" fmla="*/ 20693 h 196705"/>
                  <a:gd name="connsiteX6" fmla="*/ 142520 w 197005"/>
                  <a:gd name="connsiteY6" fmla="*/ 30861 h 196705"/>
                  <a:gd name="connsiteX7" fmla="*/ 128645 w 197005"/>
                  <a:gd name="connsiteY7" fmla="*/ 40968 h 196705"/>
                  <a:gd name="connsiteX8" fmla="*/ 128586 w 197005"/>
                  <a:gd name="connsiteY8" fmla="*/ 41207 h 196705"/>
                  <a:gd name="connsiteX9" fmla="*/ 128825 w 197005"/>
                  <a:gd name="connsiteY9" fmla="*/ 41267 h 196705"/>
                  <a:gd name="connsiteX10" fmla="*/ 142700 w 197005"/>
                  <a:gd name="connsiteY10" fmla="*/ 31100 h 196705"/>
                  <a:gd name="connsiteX11" fmla="*/ 154841 w 197005"/>
                  <a:gd name="connsiteY11" fmla="*/ 20933 h 196705"/>
                  <a:gd name="connsiteX12" fmla="*/ 164230 w 197005"/>
                  <a:gd name="connsiteY12" fmla="*/ 9091 h 196705"/>
                  <a:gd name="connsiteX13" fmla="*/ 180498 w 197005"/>
                  <a:gd name="connsiteY13" fmla="*/ 299 h 196705"/>
                  <a:gd name="connsiteX14" fmla="*/ 196646 w 197005"/>
                  <a:gd name="connsiteY14" fmla="*/ 2572 h 196705"/>
                  <a:gd name="connsiteX15" fmla="*/ 157113 w 197005"/>
                  <a:gd name="connsiteY15" fmla="*/ 196526 h 196705"/>
                  <a:gd name="connsiteX16" fmla="*/ 140965 w 197005"/>
                  <a:gd name="connsiteY16" fmla="*/ 192340 h 196705"/>
                  <a:gd name="connsiteX17" fmla="*/ 133789 w 197005"/>
                  <a:gd name="connsiteY17" fmla="*/ 178644 h 196705"/>
                  <a:gd name="connsiteX18" fmla="*/ 121409 w 197005"/>
                  <a:gd name="connsiteY18" fmla="*/ 159386 h 196705"/>
                  <a:gd name="connsiteX19" fmla="*/ 110823 w 197005"/>
                  <a:gd name="connsiteY19" fmla="*/ 141623 h 196705"/>
                  <a:gd name="connsiteX20" fmla="*/ 110703 w 197005"/>
                  <a:gd name="connsiteY20" fmla="*/ 141564 h 196705"/>
                  <a:gd name="connsiteX21" fmla="*/ 84926 w 197005"/>
                  <a:gd name="connsiteY21" fmla="*/ 137796 h 196705"/>
                  <a:gd name="connsiteX22" fmla="*/ 84747 w 197005"/>
                  <a:gd name="connsiteY22" fmla="*/ 137915 h 196705"/>
                  <a:gd name="connsiteX23" fmla="*/ 82175 w 197005"/>
                  <a:gd name="connsiteY23" fmla="*/ 147245 h 196705"/>
                  <a:gd name="connsiteX24" fmla="*/ 12141 w 197005"/>
                  <a:gd name="connsiteY24" fmla="*/ 115847 h 196705"/>
                  <a:gd name="connsiteX25" fmla="*/ 4725 w 197005"/>
                  <a:gd name="connsiteY25" fmla="*/ 110105 h 196705"/>
                  <a:gd name="connsiteX26" fmla="*/ 957 w 197005"/>
                  <a:gd name="connsiteY26" fmla="*/ 103586 h 196705"/>
                  <a:gd name="connsiteX27" fmla="*/ 299 w 197005"/>
                  <a:gd name="connsiteY27" fmla="*/ 94435 h 196705"/>
                  <a:gd name="connsiteX28" fmla="*/ 2990 w 197005"/>
                  <a:gd name="connsiteY28" fmla="*/ 85883 h 196705"/>
                  <a:gd name="connsiteX29" fmla="*/ 15251 w 197005"/>
                  <a:gd name="connsiteY29" fmla="*/ 79603 h 196705"/>
                  <a:gd name="connsiteX30" fmla="*/ 34030 w 197005"/>
                  <a:gd name="connsiteY30" fmla="*/ 73264 h 196705"/>
                  <a:gd name="connsiteX31" fmla="*/ 52451 w 197005"/>
                  <a:gd name="connsiteY31" fmla="*/ 68958 h 196705"/>
                  <a:gd name="connsiteX32" fmla="*/ 69615 w 197005"/>
                  <a:gd name="connsiteY32" fmla="*/ 63515 h 196705"/>
                  <a:gd name="connsiteX33" fmla="*/ 69735 w 197005"/>
                  <a:gd name="connsiteY33" fmla="*/ 63396 h 196705"/>
                  <a:gd name="connsiteX34" fmla="*/ 76673 w 197005"/>
                  <a:gd name="connsiteY34" fmla="*/ 41147 h 196705"/>
                  <a:gd name="connsiteX35" fmla="*/ 76673 w 197005"/>
                  <a:gd name="connsiteY35" fmla="*/ 41088 h 196705"/>
                  <a:gd name="connsiteX36" fmla="*/ 75836 w 197005"/>
                  <a:gd name="connsiteY36" fmla="*/ 34449 h 196705"/>
                  <a:gd name="connsiteX37" fmla="*/ 75716 w 197005"/>
                  <a:gd name="connsiteY37" fmla="*/ 34329 h 196705"/>
                  <a:gd name="connsiteX38" fmla="*/ 65967 w 197005"/>
                  <a:gd name="connsiteY38" fmla="*/ 31399 h 196705"/>
                  <a:gd name="connsiteX39" fmla="*/ 37260 w 197005"/>
                  <a:gd name="connsiteY39" fmla="*/ 28289 h 196705"/>
                  <a:gd name="connsiteX40" fmla="*/ 38396 w 197005"/>
                  <a:gd name="connsiteY40" fmla="*/ 21411 h 196705"/>
                  <a:gd name="connsiteX41" fmla="*/ 108311 w 197005"/>
                  <a:gd name="connsiteY41" fmla="*/ 26734 h 196705"/>
                  <a:gd name="connsiteX42" fmla="*/ 105021 w 197005"/>
                  <a:gd name="connsiteY42" fmla="*/ 36841 h 196705"/>
                  <a:gd name="connsiteX43" fmla="*/ 105141 w 197005"/>
                  <a:gd name="connsiteY43" fmla="*/ 37021 h 196705"/>
                  <a:gd name="connsiteX44" fmla="*/ 105320 w 197005"/>
                  <a:gd name="connsiteY44" fmla="*/ 36901 h 196705"/>
                  <a:gd name="connsiteX45" fmla="*/ 108670 w 197005"/>
                  <a:gd name="connsiteY45" fmla="*/ 26614 h 196705"/>
                  <a:gd name="connsiteX46" fmla="*/ 108670 w 197005"/>
                  <a:gd name="connsiteY46" fmla="*/ 26495 h 196705"/>
                  <a:gd name="connsiteX47" fmla="*/ 108550 w 197005"/>
                  <a:gd name="connsiteY47" fmla="*/ 26435 h 196705"/>
                  <a:gd name="connsiteX48" fmla="*/ 38276 w 197005"/>
                  <a:gd name="connsiteY48" fmla="*/ 21052 h 196705"/>
                  <a:gd name="connsiteX49" fmla="*/ 38097 w 197005"/>
                  <a:gd name="connsiteY49" fmla="*/ 21172 h 196705"/>
                  <a:gd name="connsiteX50" fmla="*/ 38097 w 197005"/>
                  <a:gd name="connsiteY50" fmla="*/ 21172 h 196705"/>
                  <a:gd name="connsiteX51" fmla="*/ 36901 w 197005"/>
                  <a:gd name="connsiteY51" fmla="*/ 28349 h 196705"/>
                  <a:gd name="connsiteX52" fmla="*/ 36901 w 197005"/>
                  <a:gd name="connsiteY52" fmla="*/ 28468 h 196705"/>
                  <a:gd name="connsiteX53" fmla="*/ 37020 w 197005"/>
                  <a:gd name="connsiteY53" fmla="*/ 28528 h 196705"/>
                  <a:gd name="connsiteX54" fmla="*/ 65847 w 197005"/>
                  <a:gd name="connsiteY54" fmla="*/ 31638 h 196705"/>
                  <a:gd name="connsiteX55" fmla="*/ 75477 w 197005"/>
                  <a:gd name="connsiteY55" fmla="*/ 34569 h 196705"/>
                  <a:gd name="connsiteX56" fmla="*/ 76314 w 197005"/>
                  <a:gd name="connsiteY56" fmla="*/ 41028 h 196705"/>
                  <a:gd name="connsiteX57" fmla="*/ 69376 w 197005"/>
                  <a:gd name="connsiteY57" fmla="*/ 63156 h 196705"/>
                  <a:gd name="connsiteX58" fmla="*/ 52331 w 197005"/>
                  <a:gd name="connsiteY58" fmla="*/ 68539 h 196705"/>
                  <a:gd name="connsiteX59" fmla="*/ 33911 w 197005"/>
                  <a:gd name="connsiteY59" fmla="*/ 72845 h 196705"/>
                  <a:gd name="connsiteX60" fmla="*/ 15131 w 197005"/>
                  <a:gd name="connsiteY60" fmla="*/ 79185 h 196705"/>
                  <a:gd name="connsiteX61" fmla="*/ 2811 w 197005"/>
                  <a:gd name="connsiteY61" fmla="*/ 85524 h 196705"/>
                  <a:gd name="connsiteX62" fmla="*/ 2751 w 197005"/>
                  <a:gd name="connsiteY62" fmla="*/ 85644 h 196705"/>
                  <a:gd name="connsiteX63" fmla="*/ 0 w 197005"/>
                  <a:gd name="connsiteY63" fmla="*/ 94256 h 196705"/>
                  <a:gd name="connsiteX64" fmla="*/ 0 w 197005"/>
                  <a:gd name="connsiteY64" fmla="*/ 94316 h 196705"/>
                  <a:gd name="connsiteX65" fmla="*/ 658 w 197005"/>
                  <a:gd name="connsiteY65" fmla="*/ 103526 h 196705"/>
                  <a:gd name="connsiteX66" fmla="*/ 658 w 197005"/>
                  <a:gd name="connsiteY66" fmla="*/ 103586 h 196705"/>
                  <a:gd name="connsiteX67" fmla="*/ 4486 w 197005"/>
                  <a:gd name="connsiteY67" fmla="*/ 110165 h 196705"/>
                  <a:gd name="connsiteX68" fmla="*/ 4545 w 197005"/>
                  <a:gd name="connsiteY68" fmla="*/ 110225 h 196705"/>
                  <a:gd name="connsiteX69" fmla="*/ 12021 w 197005"/>
                  <a:gd name="connsiteY69" fmla="*/ 115966 h 196705"/>
                  <a:gd name="connsiteX70" fmla="*/ 82235 w 197005"/>
                  <a:gd name="connsiteY70" fmla="*/ 147425 h 196705"/>
                  <a:gd name="connsiteX71" fmla="*/ 82354 w 197005"/>
                  <a:gd name="connsiteY71" fmla="*/ 147425 h 196705"/>
                  <a:gd name="connsiteX72" fmla="*/ 82414 w 197005"/>
                  <a:gd name="connsiteY72" fmla="*/ 147305 h 196705"/>
                  <a:gd name="connsiteX73" fmla="*/ 84986 w 197005"/>
                  <a:gd name="connsiteY73" fmla="*/ 137915 h 196705"/>
                  <a:gd name="connsiteX74" fmla="*/ 110524 w 197005"/>
                  <a:gd name="connsiteY74" fmla="*/ 141623 h 196705"/>
                  <a:gd name="connsiteX75" fmla="*/ 121110 w 197005"/>
                  <a:gd name="connsiteY75" fmla="*/ 159326 h 196705"/>
                  <a:gd name="connsiteX76" fmla="*/ 133489 w 197005"/>
                  <a:gd name="connsiteY76" fmla="*/ 178644 h 196705"/>
                  <a:gd name="connsiteX77" fmla="*/ 140666 w 197005"/>
                  <a:gd name="connsiteY77" fmla="*/ 192400 h 196705"/>
                  <a:gd name="connsiteX78" fmla="*/ 153585 w 197005"/>
                  <a:gd name="connsiteY78" fmla="*/ 196168 h 196705"/>
                  <a:gd name="connsiteX79" fmla="*/ 153764 w 197005"/>
                  <a:gd name="connsiteY79" fmla="*/ 196227 h 196705"/>
                  <a:gd name="connsiteX80" fmla="*/ 157353 w 197005"/>
                  <a:gd name="connsiteY80" fmla="*/ 196706 h 196705"/>
                  <a:gd name="connsiteX81" fmla="*/ 197005 w 197005"/>
                  <a:gd name="connsiteY81" fmla="*/ 2213 h 196705"/>
                  <a:gd name="connsiteX82" fmla="*/ 193596 w 197005"/>
                  <a:gd name="connsiteY82" fmla="*/ 1734 h 19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97005" h="196705">
                    <a:moveTo>
                      <a:pt x="193596" y="1734"/>
                    </a:moveTo>
                    <a:cubicBezTo>
                      <a:pt x="193596" y="1675"/>
                      <a:pt x="193596" y="1615"/>
                      <a:pt x="193536" y="1615"/>
                    </a:cubicBezTo>
                    <a:cubicBezTo>
                      <a:pt x="193476" y="1555"/>
                      <a:pt x="193416" y="1555"/>
                      <a:pt x="193356" y="1555"/>
                    </a:cubicBezTo>
                    <a:lnTo>
                      <a:pt x="180378" y="0"/>
                    </a:lnTo>
                    <a:lnTo>
                      <a:pt x="164051" y="8851"/>
                    </a:lnTo>
                    <a:lnTo>
                      <a:pt x="154661" y="20693"/>
                    </a:lnTo>
                    <a:lnTo>
                      <a:pt x="142520" y="30861"/>
                    </a:lnTo>
                    <a:lnTo>
                      <a:pt x="128645" y="40968"/>
                    </a:lnTo>
                    <a:cubicBezTo>
                      <a:pt x="128586" y="41028"/>
                      <a:pt x="128586" y="41147"/>
                      <a:pt x="128586" y="41207"/>
                    </a:cubicBezTo>
                    <a:cubicBezTo>
                      <a:pt x="128645" y="41267"/>
                      <a:pt x="128765" y="41267"/>
                      <a:pt x="128825" y="41267"/>
                    </a:cubicBezTo>
                    <a:lnTo>
                      <a:pt x="142700" y="31100"/>
                    </a:lnTo>
                    <a:lnTo>
                      <a:pt x="154841" y="20933"/>
                    </a:lnTo>
                    <a:lnTo>
                      <a:pt x="164230" y="9091"/>
                    </a:lnTo>
                    <a:lnTo>
                      <a:pt x="180498" y="299"/>
                    </a:lnTo>
                    <a:lnTo>
                      <a:pt x="196646" y="2572"/>
                    </a:lnTo>
                    <a:lnTo>
                      <a:pt x="157113" y="196526"/>
                    </a:lnTo>
                    <a:lnTo>
                      <a:pt x="140965" y="192340"/>
                    </a:lnTo>
                    <a:lnTo>
                      <a:pt x="133789" y="178644"/>
                    </a:lnTo>
                    <a:lnTo>
                      <a:pt x="121409" y="159386"/>
                    </a:lnTo>
                    <a:lnTo>
                      <a:pt x="110823" y="141623"/>
                    </a:lnTo>
                    <a:cubicBezTo>
                      <a:pt x="110823" y="141564"/>
                      <a:pt x="110763" y="141564"/>
                      <a:pt x="110703" y="141564"/>
                    </a:cubicBezTo>
                    <a:lnTo>
                      <a:pt x="84926" y="137796"/>
                    </a:lnTo>
                    <a:cubicBezTo>
                      <a:pt x="84866" y="137796"/>
                      <a:pt x="84747" y="137856"/>
                      <a:pt x="84747" y="137915"/>
                    </a:cubicBezTo>
                    <a:lnTo>
                      <a:pt x="82175" y="147245"/>
                    </a:lnTo>
                    <a:lnTo>
                      <a:pt x="12141" y="115847"/>
                    </a:lnTo>
                    <a:lnTo>
                      <a:pt x="4725" y="110105"/>
                    </a:lnTo>
                    <a:lnTo>
                      <a:pt x="957" y="103586"/>
                    </a:lnTo>
                    <a:lnTo>
                      <a:pt x="299" y="94435"/>
                    </a:lnTo>
                    <a:lnTo>
                      <a:pt x="2990" y="85883"/>
                    </a:lnTo>
                    <a:lnTo>
                      <a:pt x="15251" y="79603"/>
                    </a:lnTo>
                    <a:lnTo>
                      <a:pt x="34030" y="73264"/>
                    </a:lnTo>
                    <a:lnTo>
                      <a:pt x="52451" y="68958"/>
                    </a:lnTo>
                    <a:lnTo>
                      <a:pt x="69615" y="63515"/>
                    </a:lnTo>
                    <a:cubicBezTo>
                      <a:pt x="69675" y="63515"/>
                      <a:pt x="69735" y="63455"/>
                      <a:pt x="69735" y="63396"/>
                    </a:cubicBezTo>
                    <a:lnTo>
                      <a:pt x="76673" y="41147"/>
                    </a:lnTo>
                    <a:cubicBezTo>
                      <a:pt x="76673" y="41147"/>
                      <a:pt x="76673" y="41088"/>
                      <a:pt x="76673" y="41088"/>
                    </a:cubicBezTo>
                    <a:lnTo>
                      <a:pt x="75836" y="34449"/>
                    </a:lnTo>
                    <a:cubicBezTo>
                      <a:pt x="75836" y="34389"/>
                      <a:pt x="75776" y="34329"/>
                      <a:pt x="75716" y="34329"/>
                    </a:cubicBezTo>
                    <a:lnTo>
                      <a:pt x="65967" y="31399"/>
                    </a:lnTo>
                    <a:lnTo>
                      <a:pt x="37260" y="28289"/>
                    </a:lnTo>
                    <a:lnTo>
                      <a:pt x="38396" y="21411"/>
                    </a:lnTo>
                    <a:lnTo>
                      <a:pt x="108311" y="26734"/>
                    </a:lnTo>
                    <a:lnTo>
                      <a:pt x="105021" y="36841"/>
                    </a:lnTo>
                    <a:cubicBezTo>
                      <a:pt x="105021" y="36901"/>
                      <a:pt x="105021" y="37021"/>
                      <a:pt x="105141" y="37021"/>
                    </a:cubicBezTo>
                    <a:cubicBezTo>
                      <a:pt x="105201" y="37021"/>
                      <a:pt x="105320" y="37021"/>
                      <a:pt x="105320" y="36901"/>
                    </a:cubicBezTo>
                    <a:lnTo>
                      <a:pt x="108670" y="26614"/>
                    </a:lnTo>
                    <a:cubicBezTo>
                      <a:pt x="108670" y="26554"/>
                      <a:pt x="108670" y="26495"/>
                      <a:pt x="108670" y="26495"/>
                    </a:cubicBezTo>
                    <a:cubicBezTo>
                      <a:pt x="108670" y="26435"/>
                      <a:pt x="108610" y="26435"/>
                      <a:pt x="108550" y="26435"/>
                    </a:cubicBezTo>
                    <a:lnTo>
                      <a:pt x="38276" y="21052"/>
                    </a:lnTo>
                    <a:cubicBezTo>
                      <a:pt x="38217" y="21052"/>
                      <a:pt x="38097" y="21112"/>
                      <a:pt x="38097" y="21172"/>
                    </a:cubicBezTo>
                    <a:cubicBezTo>
                      <a:pt x="38097" y="21172"/>
                      <a:pt x="38097" y="21172"/>
                      <a:pt x="38097" y="21172"/>
                    </a:cubicBezTo>
                    <a:lnTo>
                      <a:pt x="36901" y="28349"/>
                    </a:lnTo>
                    <a:cubicBezTo>
                      <a:pt x="36901" y="28408"/>
                      <a:pt x="36901" y="28408"/>
                      <a:pt x="36901" y="28468"/>
                    </a:cubicBezTo>
                    <a:cubicBezTo>
                      <a:pt x="36901" y="28528"/>
                      <a:pt x="36961" y="28528"/>
                      <a:pt x="37020" y="28528"/>
                    </a:cubicBezTo>
                    <a:lnTo>
                      <a:pt x="65847" y="31638"/>
                    </a:lnTo>
                    <a:lnTo>
                      <a:pt x="75477" y="34569"/>
                    </a:lnTo>
                    <a:lnTo>
                      <a:pt x="76314" y="41028"/>
                    </a:lnTo>
                    <a:lnTo>
                      <a:pt x="69376" y="63156"/>
                    </a:lnTo>
                    <a:lnTo>
                      <a:pt x="52331" y="68539"/>
                    </a:lnTo>
                    <a:lnTo>
                      <a:pt x="33911" y="72845"/>
                    </a:lnTo>
                    <a:lnTo>
                      <a:pt x="15131" y="79185"/>
                    </a:lnTo>
                    <a:lnTo>
                      <a:pt x="2811" y="85524"/>
                    </a:lnTo>
                    <a:cubicBezTo>
                      <a:pt x="2751" y="85524"/>
                      <a:pt x="2751" y="85584"/>
                      <a:pt x="2751" y="85644"/>
                    </a:cubicBezTo>
                    <a:lnTo>
                      <a:pt x="0" y="94256"/>
                    </a:lnTo>
                    <a:cubicBezTo>
                      <a:pt x="0" y="94256"/>
                      <a:pt x="0" y="94316"/>
                      <a:pt x="0" y="94316"/>
                    </a:cubicBezTo>
                    <a:lnTo>
                      <a:pt x="658" y="103526"/>
                    </a:lnTo>
                    <a:cubicBezTo>
                      <a:pt x="658" y="103526"/>
                      <a:pt x="658" y="103586"/>
                      <a:pt x="658" y="103586"/>
                    </a:cubicBezTo>
                    <a:lnTo>
                      <a:pt x="4486" y="110165"/>
                    </a:lnTo>
                    <a:cubicBezTo>
                      <a:pt x="4486" y="110165"/>
                      <a:pt x="4486" y="110225"/>
                      <a:pt x="4545" y="110225"/>
                    </a:cubicBezTo>
                    <a:lnTo>
                      <a:pt x="12021" y="115966"/>
                    </a:lnTo>
                    <a:lnTo>
                      <a:pt x="82235" y="147425"/>
                    </a:lnTo>
                    <a:cubicBezTo>
                      <a:pt x="82294" y="147425"/>
                      <a:pt x="82354" y="147425"/>
                      <a:pt x="82354" y="147425"/>
                    </a:cubicBezTo>
                    <a:cubicBezTo>
                      <a:pt x="82414" y="147425"/>
                      <a:pt x="82414" y="147365"/>
                      <a:pt x="82414" y="147305"/>
                    </a:cubicBezTo>
                    <a:lnTo>
                      <a:pt x="84986" y="137915"/>
                    </a:lnTo>
                    <a:lnTo>
                      <a:pt x="110524" y="141623"/>
                    </a:lnTo>
                    <a:lnTo>
                      <a:pt x="121110" y="159326"/>
                    </a:lnTo>
                    <a:lnTo>
                      <a:pt x="133489" y="178644"/>
                    </a:lnTo>
                    <a:lnTo>
                      <a:pt x="140666" y="192400"/>
                    </a:lnTo>
                    <a:lnTo>
                      <a:pt x="153585" y="196168"/>
                    </a:lnTo>
                    <a:cubicBezTo>
                      <a:pt x="153644" y="196227"/>
                      <a:pt x="153704" y="196227"/>
                      <a:pt x="153764" y="196227"/>
                    </a:cubicBezTo>
                    <a:cubicBezTo>
                      <a:pt x="153824" y="196227"/>
                      <a:pt x="153884" y="196168"/>
                      <a:pt x="157353" y="196706"/>
                    </a:cubicBezTo>
                    <a:lnTo>
                      <a:pt x="197005" y="2213"/>
                    </a:lnTo>
                    <a:cubicBezTo>
                      <a:pt x="197065" y="2332"/>
                      <a:pt x="193596" y="1734"/>
                      <a:pt x="193596" y="173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798" name="Vrije vorm: vorm 8797">
                <a:extLst>
                  <a:ext uri="{FF2B5EF4-FFF2-40B4-BE49-F238E27FC236}">
                    <a16:creationId xmlns:a16="http://schemas.microsoft.com/office/drawing/2014/main" id="{9094ADCF-2518-4892-AC85-3C525813D0A4}"/>
                  </a:ext>
                </a:extLst>
              </p:cNvPr>
              <p:cNvSpPr/>
              <p:nvPr/>
            </p:nvSpPr>
            <p:spPr>
              <a:xfrm>
                <a:off x="4357813" y="2486346"/>
                <a:ext cx="64319" cy="139410"/>
              </a:xfrm>
              <a:custGeom>
                <a:avLst/>
                <a:gdLst>
                  <a:gd name="connsiteX0" fmla="*/ 64293 w 64319"/>
                  <a:gd name="connsiteY0" fmla="*/ 105261 h 139410"/>
                  <a:gd name="connsiteX1" fmla="*/ 48025 w 64319"/>
                  <a:gd name="connsiteY1" fmla="*/ 115966 h 139410"/>
                  <a:gd name="connsiteX2" fmla="*/ 26794 w 64319"/>
                  <a:gd name="connsiteY2" fmla="*/ 129243 h 139410"/>
                  <a:gd name="connsiteX3" fmla="*/ 7296 w 64319"/>
                  <a:gd name="connsiteY3" fmla="*/ 139411 h 139410"/>
                  <a:gd name="connsiteX4" fmla="*/ 7117 w 64319"/>
                  <a:gd name="connsiteY4" fmla="*/ 139411 h 139410"/>
                  <a:gd name="connsiteX5" fmla="*/ 7057 w 64319"/>
                  <a:gd name="connsiteY5" fmla="*/ 139291 h 139410"/>
                  <a:gd name="connsiteX6" fmla="*/ 0 w 64319"/>
                  <a:gd name="connsiteY6" fmla="*/ 5144 h 139410"/>
                  <a:gd name="connsiteX7" fmla="*/ 60 w 64319"/>
                  <a:gd name="connsiteY7" fmla="*/ 5024 h 139410"/>
                  <a:gd name="connsiteX8" fmla="*/ 5742 w 64319"/>
                  <a:gd name="connsiteY8" fmla="*/ 60 h 139410"/>
                  <a:gd name="connsiteX9" fmla="*/ 5861 w 64319"/>
                  <a:gd name="connsiteY9" fmla="*/ 0 h 139410"/>
                  <a:gd name="connsiteX10" fmla="*/ 5981 w 64319"/>
                  <a:gd name="connsiteY10" fmla="*/ 60 h 139410"/>
                  <a:gd name="connsiteX11" fmla="*/ 64293 w 64319"/>
                  <a:gd name="connsiteY11" fmla="*/ 105022 h 139410"/>
                  <a:gd name="connsiteX12" fmla="*/ 64293 w 64319"/>
                  <a:gd name="connsiteY12" fmla="*/ 105141 h 139410"/>
                  <a:gd name="connsiteX13" fmla="*/ 64293 w 64319"/>
                  <a:gd name="connsiteY13" fmla="*/ 105261 h 139410"/>
                  <a:gd name="connsiteX14" fmla="*/ 359 w 64319"/>
                  <a:gd name="connsiteY14" fmla="*/ 5203 h 139410"/>
                  <a:gd name="connsiteX15" fmla="*/ 7416 w 64319"/>
                  <a:gd name="connsiteY15" fmla="*/ 138992 h 139410"/>
                  <a:gd name="connsiteX16" fmla="*/ 26674 w 64319"/>
                  <a:gd name="connsiteY16" fmla="*/ 128945 h 139410"/>
                  <a:gd name="connsiteX17" fmla="*/ 47906 w 64319"/>
                  <a:gd name="connsiteY17" fmla="*/ 115727 h 139410"/>
                  <a:gd name="connsiteX18" fmla="*/ 64054 w 64319"/>
                  <a:gd name="connsiteY18" fmla="*/ 105081 h 139410"/>
                  <a:gd name="connsiteX19" fmla="*/ 5921 w 64319"/>
                  <a:gd name="connsiteY19" fmla="*/ 419 h 139410"/>
                  <a:gd name="connsiteX20" fmla="*/ 359 w 64319"/>
                  <a:gd name="connsiteY20" fmla="*/ 5203 h 13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319" h="139410">
                    <a:moveTo>
                      <a:pt x="64293" y="105261"/>
                    </a:moveTo>
                    <a:lnTo>
                      <a:pt x="48025" y="115966"/>
                    </a:lnTo>
                    <a:lnTo>
                      <a:pt x="26794" y="129243"/>
                    </a:lnTo>
                    <a:lnTo>
                      <a:pt x="7296" y="139411"/>
                    </a:lnTo>
                    <a:cubicBezTo>
                      <a:pt x="7237" y="139411"/>
                      <a:pt x="7177" y="139411"/>
                      <a:pt x="7117" y="139411"/>
                    </a:cubicBezTo>
                    <a:cubicBezTo>
                      <a:pt x="7057" y="139411"/>
                      <a:pt x="7057" y="139351"/>
                      <a:pt x="7057" y="139291"/>
                    </a:cubicBezTo>
                    <a:lnTo>
                      <a:pt x="0" y="5144"/>
                    </a:lnTo>
                    <a:cubicBezTo>
                      <a:pt x="0" y="5084"/>
                      <a:pt x="0" y="5024"/>
                      <a:pt x="60" y="5024"/>
                    </a:cubicBezTo>
                    <a:lnTo>
                      <a:pt x="5742" y="60"/>
                    </a:lnTo>
                    <a:cubicBezTo>
                      <a:pt x="5801" y="0"/>
                      <a:pt x="5801" y="0"/>
                      <a:pt x="5861" y="0"/>
                    </a:cubicBezTo>
                    <a:cubicBezTo>
                      <a:pt x="5921" y="0"/>
                      <a:pt x="5981" y="60"/>
                      <a:pt x="5981" y="60"/>
                    </a:cubicBezTo>
                    <a:lnTo>
                      <a:pt x="64293" y="105022"/>
                    </a:lnTo>
                    <a:cubicBezTo>
                      <a:pt x="64293" y="105081"/>
                      <a:pt x="64293" y="105081"/>
                      <a:pt x="64293" y="105141"/>
                    </a:cubicBezTo>
                    <a:cubicBezTo>
                      <a:pt x="64353" y="105201"/>
                      <a:pt x="64293" y="105201"/>
                      <a:pt x="64293" y="105261"/>
                    </a:cubicBezTo>
                    <a:close/>
                    <a:moveTo>
                      <a:pt x="359" y="5203"/>
                    </a:moveTo>
                    <a:lnTo>
                      <a:pt x="7416" y="138992"/>
                    </a:lnTo>
                    <a:lnTo>
                      <a:pt x="26674" y="128945"/>
                    </a:lnTo>
                    <a:lnTo>
                      <a:pt x="47906" y="115727"/>
                    </a:lnTo>
                    <a:lnTo>
                      <a:pt x="64054" y="105081"/>
                    </a:lnTo>
                    <a:lnTo>
                      <a:pt x="5921" y="419"/>
                    </a:lnTo>
                    <a:lnTo>
                      <a:pt x="359" y="5203"/>
                    </a:lnTo>
                    <a:close/>
                  </a:path>
                </a:pathLst>
              </a:custGeom>
              <a:grpFill/>
              <a:ln w="6350" cap="flat">
                <a:solidFill>
                  <a:schemeClr val="bg1">
                    <a:alpha val="80000"/>
                  </a:schemeClr>
                </a:solidFill>
                <a:prstDash val="solid"/>
                <a:miter/>
              </a:ln>
            </p:spPr>
            <p:txBody>
              <a:bodyPr rtlCol="0" anchor="ctr"/>
              <a:lstStyle/>
              <a:p>
                <a:endParaRPr lang="en-GB"/>
              </a:p>
            </p:txBody>
          </p:sp>
          <p:sp>
            <p:nvSpPr>
              <p:cNvPr id="8799" name="Vrije vorm: vorm 8798">
                <a:extLst>
                  <a:ext uri="{FF2B5EF4-FFF2-40B4-BE49-F238E27FC236}">
                    <a16:creationId xmlns:a16="http://schemas.microsoft.com/office/drawing/2014/main" id="{99C4DAAB-13B8-4EA8-931B-C7D1FE8471DE}"/>
                  </a:ext>
                </a:extLst>
              </p:cNvPr>
              <p:cNvSpPr/>
              <p:nvPr/>
            </p:nvSpPr>
            <p:spPr>
              <a:xfrm>
                <a:off x="4374334" y="2457414"/>
                <a:ext cx="16970" cy="14563"/>
              </a:xfrm>
              <a:custGeom>
                <a:avLst/>
                <a:gdLst>
                  <a:gd name="connsiteX0" fmla="*/ 16970 w 16970"/>
                  <a:gd name="connsiteY0" fmla="*/ 14458 h 14563"/>
                  <a:gd name="connsiteX1" fmla="*/ 16911 w 16970"/>
                  <a:gd name="connsiteY1" fmla="*/ 14279 h 14563"/>
                  <a:gd name="connsiteX2" fmla="*/ 284 w 16970"/>
                  <a:gd name="connsiteY2" fmla="*/ 45 h 14563"/>
                  <a:gd name="connsiteX3" fmla="*/ 45 w 16970"/>
                  <a:gd name="connsiteY3" fmla="*/ 45 h 14563"/>
                  <a:gd name="connsiteX4" fmla="*/ 45 w 16970"/>
                  <a:gd name="connsiteY4" fmla="*/ 284 h 14563"/>
                  <a:gd name="connsiteX5" fmla="*/ 16671 w 16970"/>
                  <a:gd name="connsiteY5" fmla="*/ 14518 h 14563"/>
                  <a:gd name="connsiteX6" fmla="*/ 16911 w 16970"/>
                  <a:gd name="connsiteY6" fmla="*/ 14518 h 14563"/>
                  <a:gd name="connsiteX7" fmla="*/ 16970 w 16970"/>
                  <a:gd name="connsiteY7" fmla="*/ 14458 h 1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0" h="14563">
                    <a:moveTo>
                      <a:pt x="16970" y="14458"/>
                    </a:moveTo>
                    <a:cubicBezTo>
                      <a:pt x="16970" y="14399"/>
                      <a:pt x="16970" y="14339"/>
                      <a:pt x="16911" y="14279"/>
                    </a:cubicBezTo>
                    <a:lnTo>
                      <a:pt x="284" y="45"/>
                    </a:lnTo>
                    <a:cubicBezTo>
                      <a:pt x="224" y="-15"/>
                      <a:pt x="104" y="-15"/>
                      <a:pt x="45" y="45"/>
                    </a:cubicBezTo>
                    <a:cubicBezTo>
                      <a:pt x="-15" y="105"/>
                      <a:pt x="-15" y="224"/>
                      <a:pt x="45" y="284"/>
                    </a:cubicBezTo>
                    <a:lnTo>
                      <a:pt x="16671" y="14518"/>
                    </a:lnTo>
                    <a:cubicBezTo>
                      <a:pt x="16731" y="14578"/>
                      <a:pt x="16851" y="14578"/>
                      <a:pt x="16911" y="14518"/>
                    </a:cubicBezTo>
                    <a:cubicBezTo>
                      <a:pt x="16970" y="14518"/>
                      <a:pt x="16970" y="14518"/>
                      <a:pt x="16970" y="1445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00" name="Vrije vorm: vorm 8799">
                <a:extLst>
                  <a:ext uri="{FF2B5EF4-FFF2-40B4-BE49-F238E27FC236}">
                    <a16:creationId xmlns:a16="http://schemas.microsoft.com/office/drawing/2014/main" id="{7B5AE66B-364D-47F2-B0F6-C120EE979DC8}"/>
                  </a:ext>
                </a:extLst>
              </p:cNvPr>
              <p:cNvSpPr/>
              <p:nvPr/>
            </p:nvSpPr>
            <p:spPr>
              <a:xfrm>
                <a:off x="4345746" y="2449818"/>
                <a:ext cx="23250" cy="22711"/>
              </a:xfrm>
              <a:custGeom>
                <a:avLst/>
                <a:gdLst>
                  <a:gd name="connsiteX0" fmla="*/ 23190 w 23250"/>
                  <a:gd name="connsiteY0" fmla="*/ 12844 h 22711"/>
                  <a:gd name="connsiteX1" fmla="*/ 23130 w 23250"/>
                  <a:gd name="connsiteY1" fmla="*/ 12724 h 22711"/>
                  <a:gd name="connsiteX2" fmla="*/ 10631 w 23250"/>
                  <a:gd name="connsiteY2" fmla="*/ 45 h 22711"/>
                  <a:gd name="connsiteX3" fmla="*/ 10391 w 23250"/>
                  <a:gd name="connsiteY3" fmla="*/ 45 h 22711"/>
                  <a:gd name="connsiteX4" fmla="*/ 45 w 23250"/>
                  <a:gd name="connsiteY4" fmla="*/ 8597 h 22711"/>
                  <a:gd name="connsiteX5" fmla="*/ 45 w 23250"/>
                  <a:gd name="connsiteY5" fmla="*/ 8837 h 22711"/>
                  <a:gd name="connsiteX6" fmla="*/ 9973 w 23250"/>
                  <a:gd name="connsiteY6" fmla="*/ 22652 h 22711"/>
                  <a:gd name="connsiteX7" fmla="*/ 10212 w 23250"/>
                  <a:gd name="connsiteY7" fmla="*/ 22712 h 22711"/>
                  <a:gd name="connsiteX8" fmla="*/ 10272 w 23250"/>
                  <a:gd name="connsiteY8" fmla="*/ 22473 h 22711"/>
                  <a:gd name="connsiteX9" fmla="*/ 464 w 23250"/>
                  <a:gd name="connsiteY9" fmla="*/ 8777 h 22711"/>
                  <a:gd name="connsiteX10" fmla="*/ 10571 w 23250"/>
                  <a:gd name="connsiteY10" fmla="*/ 404 h 22711"/>
                  <a:gd name="connsiteX11" fmla="*/ 23011 w 23250"/>
                  <a:gd name="connsiteY11" fmla="*/ 12963 h 22711"/>
                  <a:gd name="connsiteX12" fmla="*/ 23250 w 23250"/>
                  <a:gd name="connsiteY12" fmla="*/ 12963 h 22711"/>
                  <a:gd name="connsiteX13" fmla="*/ 23190 w 23250"/>
                  <a:gd name="connsiteY13" fmla="*/ 12844 h 2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250" h="22711">
                    <a:moveTo>
                      <a:pt x="23190" y="12844"/>
                    </a:moveTo>
                    <a:cubicBezTo>
                      <a:pt x="23190" y="12784"/>
                      <a:pt x="23190" y="12724"/>
                      <a:pt x="23130" y="12724"/>
                    </a:cubicBezTo>
                    <a:lnTo>
                      <a:pt x="10631" y="45"/>
                    </a:lnTo>
                    <a:cubicBezTo>
                      <a:pt x="10571" y="-15"/>
                      <a:pt x="10451" y="-15"/>
                      <a:pt x="10391" y="45"/>
                    </a:cubicBezTo>
                    <a:lnTo>
                      <a:pt x="45" y="8597"/>
                    </a:lnTo>
                    <a:cubicBezTo>
                      <a:pt x="-15" y="8657"/>
                      <a:pt x="-15" y="8777"/>
                      <a:pt x="45" y="8837"/>
                    </a:cubicBezTo>
                    <a:lnTo>
                      <a:pt x="9973" y="22652"/>
                    </a:lnTo>
                    <a:cubicBezTo>
                      <a:pt x="10033" y="22712"/>
                      <a:pt x="10152" y="22712"/>
                      <a:pt x="10212" y="22712"/>
                    </a:cubicBezTo>
                    <a:cubicBezTo>
                      <a:pt x="10272" y="22652"/>
                      <a:pt x="10272" y="22532"/>
                      <a:pt x="10272" y="22473"/>
                    </a:cubicBezTo>
                    <a:lnTo>
                      <a:pt x="464" y="8777"/>
                    </a:lnTo>
                    <a:lnTo>
                      <a:pt x="10571" y="404"/>
                    </a:lnTo>
                    <a:lnTo>
                      <a:pt x="23011" y="12963"/>
                    </a:lnTo>
                    <a:cubicBezTo>
                      <a:pt x="23071" y="13023"/>
                      <a:pt x="23190" y="13023"/>
                      <a:pt x="23250" y="12963"/>
                    </a:cubicBezTo>
                    <a:cubicBezTo>
                      <a:pt x="23190" y="12903"/>
                      <a:pt x="23190" y="12844"/>
                      <a:pt x="23190" y="1284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01" name="Vrije vorm: vorm 8800">
                <a:extLst>
                  <a:ext uri="{FF2B5EF4-FFF2-40B4-BE49-F238E27FC236}">
                    <a16:creationId xmlns:a16="http://schemas.microsoft.com/office/drawing/2014/main" id="{C9B50D79-93FE-44E2-86BA-D7B174B7E62F}"/>
                  </a:ext>
                </a:extLst>
              </p:cNvPr>
              <p:cNvSpPr/>
              <p:nvPr/>
            </p:nvSpPr>
            <p:spPr>
              <a:xfrm>
                <a:off x="4404079" y="2525818"/>
                <a:ext cx="25024" cy="18086"/>
              </a:xfrm>
              <a:custGeom>
                <a:avLst/>
                <a:gdLst>
                  <a:gd name="connsiteX0" fmla="*/ 25024 w 25024"/>
                  <a:gd name="connsiteY0" fmla="*/ 179 h 18086"/>
                  <a:gd name="connsiteX1" fmla="*/ 25024 w 25024"/>
                  <a:gd name="connsiteY1" fmla="*/ 60 h 18086"/>
                  <a:gd name="connsiteX2" fmla="*/ 24785 w 25024"/>
                  <a:gd name="connsiteY2" fmla="*/ 0 h 18086"/>
                  <a:gd name="connsiteX3" fmla="*/ 12764 w 25024"/>
                  <a:gd name="connsiteY3" fmla="*/ 8852 h 18086"/>
                  <a:gd name="connsiteX4" fmla="*/ 85 w 25024"/>
                  <a:gd name="connsiteY4" fmla="*/ 17763 h 18086"/>
                  <a:gd name="connsiteX5" fmla="*/ 25 w 25024"/>
                  <a:gd name="connsiteY5" fmla="*/ 18002 h 18086"/>
                  <a:gd name="connsiteX6" fmla="*/ 264 w 25024"/>
                  <a:gd name="connsiteY6" fmla="*/ 18062 h 18086"/>
                  <a:gd name="connsiteX7" fmla="*/ 12943 w 25024"/>
                  <a:gd name="connsiteY7" fmla="*/ 9150 h 18086"/>
                  <a:gd name="connsiteX8" fmla="*/ 24964 w 25024"/>
                  <a:gd name="connsiteY8" fmla="*/ 299 h 18086"/>
                  <a:gd name="connsiteX9" fmla="*/ 25024 w 25024"/>
                  <a:gd name="connsiteY9" fmla="*/ 179 h 1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24" h="18086">
                    <a:moveTo>
                      <a:pt x="25024" y="179"/>
                    </a:moveTo>
                    <a:cubicBezTo>
                      <a:pt x="25024" y="120"/>
                      <a:pt x="25024" y="120"/>
                      <a:pt x="25024" y="60"/>
                    </a:cubicBezTo>
                    <a:cubicBezTo>
                      <a:pt x="24964" y="0"/>
                      <a:pt x="24845" y="0"/>
                      <a:pt x="24785" y="0"/>
                    </a:cubicBezTo>
                    <a:lnTo>
                      <a:pt x="12764" y="8852"/>
                    </a:lnTo>
                    <a:lnTo>
                      <a:pt x="85" y="17763"/>
                    </a:lnTo>
                    <a:cubicBezTo>
                      <a:pt x="25" y="17823"/>
                      <a:pt x="-35" y="17942"/>
                      <a:pt x="25" y="18002"/>
                    </a:cubicBezTo>
                    <a:cubicBezTo>
                      <a:pt x="85" y="18062"/>
                      <a:pt x="204" y="18122"/>
                      <a:pt x="264" y="18062"/>
                    </a:cubicBezTo>
                    <a:lnTo>
                      <a:pt x="12943" y="9150"/>
                    </a:lnTo>
                    <a:lnTo>
                      <a:pt x="24964" y="299"/>
                    </a:lnTo>
                    <a:cubicBezTo>
                      <a:pt x="24964" y="239"/>
                      <a:pt x="25024" y="239"/>
                      <a:pt x="25024"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02" name="Vrije vorm: vorm 8801">
                <a:extLst>
                  <a:ext uri="{FF2B5EF4-FFF2-40B4-BE49-F238E27FC236}">
                    <a16:creationId xmlns:a16="http://schemas.microsoft.com/office/drawing/2014/main" id="{13693095-4E65-44D0-862D-571EFA72056B}"/>
                  </a:ext>
                </a:extLst>
              </p:cNvPr>
              <p:cNvSpPr/>
              <p:nvPr/>
            </p:nvSpPr>
            <p:spPr>
              <a:xfrm>
                <a:off x="4435323" y="2497829"/>
                <a:ext cx="33192" cy="24221"/>
              </a:xfrm>
              <a:custGeom>
                <a:avLst/>
                <a:gdLst>
                  <a:gd name="connsiteX0" fmla="*/ 33193 w 33192"/>
                  <a:gd name="connsiteY0" fmla="*/ 179 h 24221"/>
                  <a:gd name="connsiteX1" fmla="*/ 33193 w 33192"/>
                  <a:gd name="connsiteY1" fmla="*/ 60 h 24221"/>
                  <a:gd name="connsiteX2" fmla="*/ 32953 w 33192"/>
                  <a:gd name="connsiteY2" fmla="*/ 0 h 24221"/>
                  <a:gd name="connsiteX3" fmla="*/ 19198 w 33192"/>
                  <a:gd name="connsiteY3" fmla="*/ 9988 h 24221"/>
                  <a:gd name="connsiteX4" fmla="*/ 60 w 33192"/>
                  <a:gd name="connsiteY4" fmla="*/ 23923 h 24221"/>
                  <a:gd name="connsiteX5" fmla="*/ 0 w 33192"/>
                  <a:gd name="connsiteY5" fmla="*/ 24162 h 24221"/>
                  <a:gd name="connsiteX6" fmla="*/ 239 w 33192"/>
                  <a:gd name="connsiteY6" fmla="*/ 24222 h 24221"/>
                  <a:gd name="connsiteX7" fmla="*/ 19377 w 33192"/>
                  <a:gd name="connsiteY7" fmla="*/ 10287 h 24221"/>
                  <a:gd name="connsiteX8" fmla="*/ 33133 w 33192"/>
                  <a:gd name="connsiteY8" fmla="*/ 299 h 24221"/>
                  <a:gd name="connsiteX9" fmla="*/ 33193 w 33192"/>
                  <a:gd name="connsiteY9" fmla="*/ 179 h 24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92" h="24221">
                    <a:moveTo>
                      <a:pt x="33193" y="179"/>
                    </a:moveTo>
                    <a:cubicBezTo>
                      <a:pt x="33193" y="120"/>
                      <a:pt x="33193" y="120"/>
                      <a:pt x="33193" y="60"/>
                    </a:cubicBezTo>
                    <a:cubicBezTo>
                      <a:pt x="33133" y="0"/>
                      <a:pt x="33013" y="0"/>
                      <a:pt x="32953" y="0"/>
                    </a:cubicBezTo>
                    <a:lnTo>
                      <a:pt x="19198" y="9988"/>
                    </a:lnTo>
                    <a:lnTo>
                      <a:pt x="60" y="23923"/>
                    </a:lnTo>
                    <a:cubicBezTo>
                      <a:pt x="0" y="23983"/>
                      <a:pt x="0" y="24102"/>
                      <a:pt x="0" y="24162"/>
                    </a:cubicBezTo>
                    <a:cubicBezTo>
                      <a:pt x="60" y="24222"/>
                      <a:pt x="179" y="24222"/>
                      <a:pt x="239" y="24222"/>
                    </a:cubicBezTo>
                    <a:lnTo>
                      <a:pt x="19377" y="10287"/>
                    </a:lnTo>
                    <a:lnTo>
                      <a:pt x="33133" y="299"/>
                    </a:lnTo>
                    <a:cubicBezTo>
                      <a:pt x="33133" y="239"/>
                      <a:pt x="33193" y="239"/>
                      <a:pt x="33193"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03" name="Vrije vorm: vorm 8802">
                <a:extLst>
                  <a:ext uri="{FF2B5EF4-FFF2-40B4-BE49-F238E27FC236}">
                    <a16:creationId xmlns:a16="http://schemas.microsoft.com/office/drawing/2014/main" id="{AB234F5A-D2E1-4827-8FD6-AE26655FDEA5}"/>
                  </a:ext>
                </a:extLst>
              </p:cNvPr>
              <p:cNvSpPr/>
              <p:nvPr/>
            </p:nvSpPr>
            <p:spPr>
              <a:xfrm>
                <a:off x="4347585" y="2474564"/>
                <a:ext cx="81005" cy="154900"/>
              </a:xfrm>
              <a:custGeom>
                <a:avLst/>
                <a:gdLst>
                  <a:gd name="connsiteX0" fmla="*/ 80919 w 81005"/>
                  <a:gd name="connsiteY0" fmla="*/ 112557 h 154900"/>
                  <a:gd name="connsiteX1" fmla="*/ 74520 w 81005"/>
                  <a:gd name="connsiteY1" fmla="*/ 116983 h 154900"/>
                  <a:gd name="connsiteX2" fmla="*/ 74340 w 81005"/>
                  <a:gd name="connsiteY2" fmla="*/ 116983 h 154900"/>
                  <a:gd name="connsiteX3" fmla="*/ 74221 w 81005"/>
                  <a:gd name="connsiteY3" fmla="*/ 116863 h 154900"/>
                  <a:gd name="connsiteX4" fmla="*/ 70333 w 81005"/>
                  <a:gd name="connsiteY4" fmla="*/ 94077 h 154900"/>
                  <a:gd name="connsiteX5" fmla="*/ 50178 w 81005"/>
                  <a:gd name="connsiteY5" fmla="*/ 73503 h 154900"/>
                  <a:gd name="connsiteX6" fmla="*/ 41566 w 81005"/>
                  <a:gd name="connsiteY6" fmla="*/ 79663 h 154900"/>
                  <a:gd name="connsiteX7" fmla="*/ 26674 w 81005"/>
                  <a:gd name="connsiteY7" fmla="*/ 90249 h 154900"/>
                  <a:gd name="connsiteX8" fmla="*/ 15012 w 81005"/>
                  <a:gd name="connsiteY8" fmla="*/ 98383 h 154900"/>
                  <a:gd name="connsiteX9" fmla="*/ 11603 w 81005"/>
                  <a:gd name="connsiteY9" fmla="*/ 134507 h 154900"/>
                  <a:gd name="connsiteX10" fmla="*/ 17583 w 81005"/>
                  <a:gd name="connsiteY10" fmla="*/ 150954 h 154900"/>
                  <a:gd name="connsiteX11" fmla="*/ 17523 w 81005"/>
                  <a:gd name="connsiteY11" fmla="*/ 151133 h 154900"/>
                  <a:gd name="connsiteX12" fmla="*/ 9629 w 81005"/>
                  <a:gd name="connsiteY12" fmla="*/ 154901 h 154900"/>
                  <a:gd name="connsiteX13" fmla="*/ 9450 w 81005"/>
                  <a:gd name="connsiteY13" fmla="*/ 154901 h 154900"/>
                  <a:gd name="connsiteX14" fmla="*/ 9390 w 81005"/>
                  <a:gd name="connsiteY14" fmla="*/ 154721 h 154900"/>
                  <a:gd name="connsiteX15" fmla="*/ 11304 w 81005"/>
                  <a:gd name="connsiteY15" fmla="*/ 134507 h 154900"/>
                  <a:gd name="connsiteX16" fmla="*/ 7416 w 81005"/>
                  <a:gd name="connsiteY16" fmla="*/ 123801 h 154900"/>
                  <a:gd name="connsiteX17" fmla="*/ 7416 w 81005"/>
                  <a:gd name="connsiteY17" fmla="*/ 123741 h 154900"/>
                  <a:gd name="connsiteX18" fmla="*/ 12320 w 81005"/>
                  <a:gd name="connsiteY18" fmla="*/ 69676 h 154900"/>
                  <a:gd name="connsiteX19" fmla="*/ 7954 w 81005"/>
                  <a:gd name="connsiteY19" fmla="*/ 45095 h 154900"/>
                  <a:gd name="connsiteX20" fmla="*/ 3828 w 81005"/>
                  <a:gd name="connsiteY20" fmla="*/ 49640 h 154900"/>
                  <a:gd name="connsiteX21" fmla="*/ 3649 w 81005"/>
                  <a:gd name="connsiteY21" fmla="*/ 49700 h 154900"/>
                  <a:gd name="connsiteX22" fmla="*/ 3529 w 81005"/>
                  <a:gd name="connsiteY22" fmla="*/ 49580 h 154900"/>
                  <a:gd name="connsiteX23" fmla="*/ 6100 w 81005"/>
                  <a:gd name="connsiteY23" fmla="*/ 34748 h 154900"/>
                  <a:gd name="connsiteX24" fmla="*/ 0 w 81005"/>
                  <a:gd name="connsiteY24" fmla="*/ 180 h 154900"/>
                  <a:gd name="connsiteX25" fmla="*/ 120 w 81005"/>
                  <a:gd name="connsiteY25" fmla="*/ 0 h 154900"/>
                  <a:gd name="connsiteX26" fmla="*/ 299 w 81005"/>
                  <a:gd name="connsiteY26" fmla="*/ 60 h 154900"/>
                  <a:gd name="connsiteX27" fmla="*/ 10526 w 81005"/>
                  <a:gd name="connsiteY27" fmla="*/ 16686 h 154900"/>
                  <a:gd name="connsiteX28" fmla="*/ 10526 w 81005"/>
                  <a:gd name="connsiteY28" fmla="*/ 16806 h 154900"/>
                  <a:gd name="connsiteX29" fmla="*/ 6459 w 81005"/>
                  <a:gd name="connsiteY29" fmla="*/ 34688 h 154900"/>
                  <a:gd name="connsiteX30" fmla="*/ 8134 w 81005"/>
                  <a:gd name="connsiteY30" fmla="*/ 44317 h 154900"/>
                  <a:gd name="connsiteX31" fmla="*/ 11722 w 81005"/>
                  <a:gd name="connsiteY31" fmla="*/ 40370 h 154900"/>
                  <a:gd name="connsiteX32" fmla="*/ 11961 w 81005"/>
                  <a:gd name="connsiteY32" fmla="*/ 40370 h 154900"/>
                  <a:gd name="connsiteX33" fmla="*/ 11961 w 81005"/>
                  <a:gd name="connsiteY33" fmla="*/ 40609 h 154900"/>
                  <a:gd name="connsiteX34" fmla="*/ 8194 w 81005"/>
                  <a:gd name="connsiteY34" fmla="*/ 44736 h 154900"/>
                  <a:gd name="connsiteX35" fmla="*/ 12620 w 81005"/>
                  <a:gd name="connsiteY35" fmla="*/ 69616 h 154900"/>
                  <a:gd name="connsiteX36" fmla="*/ 12620 w 81005"/>
                  <a:gd name="connsiteY36" fmla="*/ 69676 h 154900"/>
                  <a:gd name="connsiteX37" fmla="*/ 7715 w 81005"/>
                  <a:gd name="connsiteY37" fmla="*/ 123741 h 154900"/>
                  <a:gd name="connsiteX38" fmla="*/ 11364 w 81005"/>
                  <a:gd name="connsiteY38" fmla="*/ 133729 h 154900"/>
                  <a:gd name="connsiteX39" fmla="*/ 14713 w 81005"/>
                  <a:gd name="connsiteY39" fmla="*/ 98204 h 154900"/>
                  <a:gd name="connsiteX40" fmla="*/ 14773 w 81005"/>
                  <a:gd name="connsiteY40" fmla="*/ 98084 h 154900"/>
                  <a:gd name="connsiteX41" fmla="*/ 26495 w 81005"/>
                  <a:gd name="connsiteY41" fmla="*/ 89950 h 154900"/>
                  <a:gd name="connsiteX42" fmla="*/ 41387 w 81005"/>
                  <a:gd name="connsiteY42" fmla="*/ 79364 h 154900"/>
                  <a:gd name="connsiteX43" fmla="*/ 50118 w 81005"/>
                  <a:gd name="connsiteY43" fmla="*/ 73144 h 154900"/>
                  <a:gd name="connsiteX44" fmla="*/ 50298 w 81005"/>
                  <a:gd name="connsiteY44" fmla="*/ 73144 h 154900"/>
                  <a:gd name="connsiteX45" fmla="*/ 70632 w 81005"/>
                  <a:gd name="connsiteY45" fmla="*/ 93838 h 154900"/>
                  <a:gd name="connsiteX46" fmla="*/ 70692 w 81005"/>
                  <a:gd name="connsiteY46" fmla="*/ 93897 h 154900"/>
                  <a:gd name="connsiteX47" fmla="*/ 74520 w 81005"/>
                  <a:gd name="connsiteY47" fmla="*/ 116505 h 154900"/>
                  <a:gd name="connsiteX48" fmla="*/ 80740 w 81005"/>
                  <a:gd name="connsiteY48" fmla="*/ 112198 h 154900"/>
                  <a:gd name="connsiteX49" fmla="*/ 80979 w 81005"/>
                  <a:gd name="connsiteY49" fmla="*/ 112258 h 154900"/>
                  <a:gd name="connsiteX50" fmla="*/ 80979 w 81005"/>
                  <a:gd name="connsiteY50" fmla="*/ 112378 h 154900"/>
                  <a:gd name="connsiteX51" fmla="*/ 80919 w 81005"/>
                  <a:gd name="connsiteY51" fmla="*/ 112557 h 154900"/>
                  <a:gd name="connsiteX52" fmla="*/ 9749 w 81005"/>
                  <a:gd name="connsiteY52" fmla="*/ 154542 h 154900"/>
                  <a:gd name="connsiteX53" fmla="*/ 17225 w 81005"/>
                  <a:gd name="connsiteY53" fmla="*/ 150954 h 154900"/>
                  <a:gd name="connsiteX54" fmla="*/ 11543 w 81005"/>
                  <a:gd name="connsiteY54" fmla="*/ 135284 h 154900"/>
                  <a:gd name="connsiteX55" fmla="*/ 9749 w 81005"/>
                  <a:gd name="connsiteY55" fmla="*/ 154542 h 154900"/>
                  <a:gd name="connsiteX56" fmla="*/ 3828 w 81005"/>
                  <a:gd name="connsiteY56" fmla="*/ 49221 h 154900"/>
                  <a:gd name="connsiteX57" fmla="*/ 7895 w 81005"/>
                  <a:gd name="connsiteY57" fmla="*/ 44736 h 154900"/>
                  <a:gd name="connsiteX58" fmla="*/ 6280 w 81005"/>
                  <a:gd name="connsiteY58" fmla="*/ 35645 h 154900"/>
                  <a:gd name="connsiteX59" fmla="*/ 3828 w 81005"/>
                  <a:gd name="connsiteY59" fmla="*/ 49221 h 154900"/>
                  <a:gd name="connsiteX60" fmla="*/ 6340 w 81005"/>
                  <a:gd name="connsiteY60" fmla="*/ 34030 h 154900"/>
                  <a:gd name="connsiteX61" fmla="*/ 10227 w 81005"/>
                  <a:gd name="connsiteY61" fmla="*/ 16985 h 154900"/>
                  <a:gd name="connsiteX62" fmla="*/ 479 w 81005"/>
                  <a:gd name="connsiteY62" fmla="*/ 1136 h 154900"/>
                  <a:gd name="connsiteX63" fmla="*/ 6340 w 81005"/>
                  <a:gd name="connsiteY63" fmla="*/ 34030 h 15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1005" h="154900">
                    <a:moveTo>
                      <a:pt x="80919" y="112557"/>
                    </a:moveTo>
                    <a:lnTo>
                      <a:pt x="74520" y="116983"/>
                    </a:lnTo>
                    <a:cubicBezTo>
                      <a:pt x="74460" y="117043"/>
                      <a:pt x="74400" y="117043"/>
                      <a:pt x="74340" y="116983"/>
                    </a:cubicBezTo>
                    <a:cubicBezTo>
                      <a:pt x="74281" y="116983"/>
                      <a:pt x="74281" y="116923"/>
                      <a:pt x="74221" y="116863"/>
                    </a:cubicBezTo>
                    <a:lnTo>
                      <a:pt x="70333" y="94077"/>
                    </a:lnTo>
                    <a:lnTo>
                      <a:pt x="50178" y="73503"/>
                    </a:lnTo>
                    <a:lnTo>
                      <a:pt x="41566" y="79663"/>
                    </a:lnTo>
                    <a:lnTo>
                      <a:pt x="26674" y="90249"/>
                    </a:lnTo>
                    <a:lnTo>
                      <a:pt x="15012" y="98383"/>
                    </a:lnTo>
                    <a:lnTo>
                      <a:pt x="11603" y="134507"/>
                    </a:lnTo>
                    <a:lnTo>
                      <a:pt x="17583" y="150954"/>
                    </a:lnTo>
                    <a:cubicBezTo>
                      <a:pt x="17583" y="151013"/>
                      <a:pt x="17583" y="151133"/>
                      <a:pt x="17523" y="151133"/>
                    </a:cubicBezTo>
                    <a:lnTo>
                      <a:pt x="9629" y="154901"/>
                    </a:lnTo>
                    <a:cubicBezTo>
                      <a:pt x="9569" y="154901"/>
                      <a:pt x="9510" y="154901"/>
                      <a:pt x="9450" y="154901"/>
                    </a:cubicBezTo>
                    <a:cubicBezTo>
                      <a:pt x="9390" y="154841"/>
                      <a:pt x="9390" y="154781"/>
                      <a:pt x="9390" y="154721"/>
                    </a:cubicBezTo>
                    <a:lnTo>
                      <a:pt x="11304" y="134507"/>
                    </a:lnTo>
                    <a:lnTo>
                      <a:pt x="7416" y="123801"/>
                    </a:lnTo>
                    <a:cubicBezTo>
                      <a:pt x="7416" y="123801"/>
                      <a:pt x="7416" y="123741"/>
                      <a:pt x="7416" y="123741"/>
                    </a:cubicBezTo>
                    <a:lnTo>
                      <a:pt x="12320" y="69676"/>
                    </a:lnTo>
                    <a:lnTo>
                      <a:pt x="7954" y="45095"/>
                    </a:lnTo>
                    <a:lnTo>
                      <a:pt x="3828" y="49640"/>
                    </a:lnTo>
                    <a:cubicBezTo>
                      <a:pt x="3768" y="49700"/>
                      <a:pt x="3708" y="49700"/>
                      <a:pt x="3649" y="49700"/>
                    </a:cubicBezTo>
                    <a:cubicBezTo>
                      <a:pt x="3589" y="49700"/>
                      <a:pt x="3529" y="49640"/>
                      <a:pt x="3529" y="49580"/>
                    </a:cubicBezTo>
                    <a:cubicBezTo>
                      <a:pt x="3230" y="48683"/>
                      <a:pt x="4545" y="41925"/>
                      <a:pt x="6100" y="34748"/>
                    </a:cubicBezTo>
                    <a:lnTo>
                      <a:pt x="0" y="180"/>
                    </a:lnTo>
                    <a:cubicBezTo>
                      <a:pt x="0" y="120"/>
                      <a:pt x="0" y="0"/>
                      <a:pt x="120" y="0"/>
                    </a:cubicBezTo>
                    <a:cubicBezTo>
                      <a:pt x="180" y="0"/>
                      <a:pt x="299" y="0"/>
                      <a:pt x="299" y="60"/>
                    </a:cubicBezTo>
                    <a:lnTo>
                      <a:pt x="10526" y="16686"/>
                    </a:lnTo>
                    <a:cubicBezTo>
                      <a:pt x="10526" y="16746"/>
                      <a:pt x="10586" y="16746"/>
                      <a:pt x="10526" y="16806"/>
                    </a:cubicBezTo>
                    <a:cubicBezTo>
                      <a:pt x="9390" y="21650"/>
                      <a:pt x="7775" y="28528"/>
                      <a:pt x="6459" y="34688"/>
                    </a:cubicBezTo>
                    <a:lnTo>
                      <a:pt x="8134" y="44317"/>
                    </a:lnTo>
                    <a:lnTo>
                      <a:pt x="11722" y="40370"/>
                    </a:lnTo>
                    <a:cubicBezTo>
                      <a:pt x="11782" y="40310"/>
                      <a:pt x="11902" y="40310"/>
                      <a:pt x="11961" y="40370"/>
                    </a:cubicBezTo>
                    <a:cubicBezTo>
                      <a:pt x="12021" y="40430"/>
                      <a:pt x="12021" y="40549"/>
                      <a:pt x="11961" y="40609"/>
                    </a:cubicBezTo>
                    <a:lnTo>
                      <a:pt x="8194" y="44736"/>
                    </a:lnTo>
                    <a:lnTo>
                      <a:pt x="12620" y="69616"/>
                    </a:lnTo>
                    <a:cubicBezTo>
                      <a:pt x="12620" y="69616"/>
                      <a:pt x="12620" y="69616"/>
                      <a:pt x="12620" y="69676"/>
                    </a:cubicBezTo>
                    <a:lnTo>
                      <a:pt x="7715" y="123741"/>
                    </a:lnTo>
                    <a:lnTo>
                      <a:pt x="11364" y="133729"/>
                    </a:lnTo>
                    <a:lnTo>
                      <a:pt x="14713" y="98204"/>
                    </a:lnTo>
                    <a:cubicBezTo>
                      <a:pt x="14713" y="98144"/>
                      <a:pt x="14773" y="98084"/>
                      <a:pt x="14773" y="98084"/>
                    </a:cubicBezTo>
                    <a:lnTo>
                      <a:pt x="26495" y="89950"/>
                    </a:lnTo>
                    <a:lnTo>
                      <a:pt x="41387" y="79364"/>
                    </a:lnTo>
                    <a:lnTo>
                      <a:pt x="50118" y="73144"/>
                    </a:lnTo>
                    <a:cubicBezTo>
                      <a:pt x="50178" y="73084"/>
                      <a:pt x="50298" y="73084"/>
                      <a:pt x="50298" y="73144"/>
                    </a:cubicBezTo>
                    <a:lnTo>
                      <a:pt x="70632" y="93838"/>
                    </a:lnTo>
                    <a:cubicBezTo>
                      <a:pt x="70632" y="93838"/>
                      <a:pt x="70692" y="93897"/>
                      <a:pt x="70692" y="93897"/>
                    </a:cubicBezTo>
                    <a:lnTo>
                      <a:pt x="74520" y="116505"/>
                    </a:lnTo>
                    <a:lnTo>
                      <a:pt x="80740" y="112198"/>
                    </a:lnTo>
                    <a:cubicBezTo>
                      <a:pt x="80800" y="112139"/>
                      <a:pt x="80919" y="112139"/>
                      <a:pt x="80979" y="112258"/>
                    </a:cubicBezTo>
                    <a:cubicBezTo>
                      <a:pt x="80979" y="112318"/>
                      <a:pt x="81039" y="112318"/>
                      <a:pt x="80979" y="112378"/>
                    </a:cubicBezTo>
                    <a:cubicBezTo>
                      <a:pt x="80919" y="112438"/>
                      <a:pt x="80979" y="112557"/>
                      <a:pt x="80919" y="112557"/>
                    </a:cubicBezTo>
                    <a:close/>
                    <a:moveTo>
                      <a:pt x="9749" y="154542"/>
                    </a:moveTo>
                    <a:lnTo>
                      <a:pt x="17225" y="150954"/>
                    </a:lnTo>
                    <a:lnTo>
                      <a:pt x="11543" y="135284"/>
                    </a:lnTo>
                    <a:lnTo>
                      <a:pt x="9749" y="154542"/>
                    </a:lnTo>
                    <a:close/>
                    <a:moveTo>
                      <a:pt x="3828" y="49221"/>
                    </a:moveTo>
                    <a:lnTo>
                      <a:pt x="7895" y="44736"/>
                    </a:lnTo>
                    <a:lnTo>
                      <a:pt x="6280" y="35645"/>
                    </a:lnTo>
                    <a:cubicBezTo>
                      <a:pt x="4904" y="42164"/>
                      <a:pt x="3828" y="47726"/>
                      <a:pt x="3828" y="49221"/>
                    </a:cubicBezTo>
                    <a:close/>
                    <a:moveTo>
                      <a:pt x="6340" y="34030"/>
                    </a:moveTo>
                    <a:cubicBezTo>
                      <a:pt x="8074" y="26136"/>
                      <a:pt x="9988" y="18002"/>
                      <a:pt x="10227" y="16985"/>
                    </a:cubicBezTo>
                    <a:lnTo>
                      <a:pt x="479" y="1136"/>
                    </a:lnTo>
                    <a:lnTo>
                      <a:pt x="6340" y="34030"/>
                    </a:lnTo>
                    <a:close/>
                  </a:path>
                </a:pathLst>
              </a:custGeom>
              <a:grpFill/>
              <a:ln w="6350" cap="flat">
                <a:solidFill>
                  <a:schemeClr val="bg1">
                    <a:alpha val="80000"/>
                  </a:schemeClr>
                </a:solidFill>
                <a:prstDash val="solid"/>
                <a:miter/>
              </a:ln>
            </p:spPr>
            <p:txBody>
              <a:bodyPr rtlCol="0" anchor="ctr"/>
              <a:lstStyle/>
              <a:p>
                <a:endParaRPr lang="en-GB"/>
              </a:p>
            </p:txBody>
          </p:sp>
          <p:sp>
            <p:nvSpPr>
              <p:cNvPr id="8804" name="Vrije vorm: vorm 8803">
                <a:extLst>
                  <a:ext uri="{FF2B5EF4-FFF2-40B4-BE49-F238E27FC236}">
                    <a16:creationId xmlns:a16="http://schemas.microsoft.com/office/drawing/2014/main" id="{9A6F3DFA-1AB4-426B-B78F-0E57D76F9347}"/>
                  </a:ext>
                </a:extLst>
              </p:cNvPr>
              <p:cNvSpPr/>
              <p:nvPr/>
            </p:nvSpPr>
            <p:spPr>
              <a:xfrm>
                <a:off x="4466079" y="2552687"/>
                <a:ext cx="6623" cy="5890"/>
              </a:xfrm>
              <a:custGeom>
                <a:avLst/>
                <a:gdLst>
                  <a:gd name="connsiteX0" fmla="*/ 6624 w 6623"/>
                  <a:gd name="connsiteY0" fmla="*/ 164 h 5890"/>
                  <a:gd name="connsiteX1" fmla="*/ 6564 w 6623"/>
                  <a:gd name="connsiteY1" fmla="*/ 45 h 5890"/>
                  <a:gd name="connsiteX2" fmla="*/ 6325 w 6623"/>
                  <a:gd name="connsiteY2" fmla="*/ 45 h 5890"/>
                  <a:gd name="connsiteX3" fmla="*/ 45 w 6623"/>
                  <a:gd name="connsiteY3" fmla="*/ 5607 h 5890"/>
                  <a:gd name="connsiteX4" fmla="*/ 45 w 6623"/>
                  <a:gd name="connsiteY4" fmla="*/ 5846 h 5890"/>
                  <a:gd name="connsiteX5" fmla="*/ 284 w 6623"/>
                  <a:gd name="connsiteY5" fmla="*/ 5846 h 5890"/>
                  <a:gd name="connsiteX6" fmla="*/ 6564 w 6623"/>
                  <a:gd name="connsiteY6" fmla="*/ 284 h 5890"/>
                  <a:gd name="connsiteX7" fmla="*/ 6624 w 6623"/>
                  <a:gd name="connsiteY7" fmla="*/ 164 h 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3" h="5890">
                    <a:moveTo>
                      <a:pt x="6624" y="164"/>
                    </a:moveTo>
                    <a:cubicBezTo>
                      <a:pt x="6624" y="105"/>
                      <a:pt x="6624" y="45"/>
                      <a:pt x="6564" y="45"/>
                    </a:cubicBezTo>
                    <a:cubicBezTo>
                      <a:pt x="6504" y="-15"/>
                      <a:pt x="6384" y="-15"/>
                      <a:pt x="6325" y="45"/>
                    </a:cubicBezTo>
                    <a:lnTo>
                      <a:pt x="45" y="5607"/>
                    </a:lnTo>
                    <a:cubicBezTo>
                      <a:pt x="-15" y="5667"/>
                      <a:pt x="-15" y="5786"/>
                      <a:pt x="45" y="5846"/>
                    </a:cubicBezTo>
                    <a:cubicBezTo>
                      <a:pt x="105" y="5906"/>
                      <a:pt x="224" y="5906"/>
                      <a:pt x="284" y="5846"/>
                    </a:cubicBezTo>
                    <a:lnTo>
                      <a:pt x="6564" y="284"/>
                    </a:lnTo>
                    <a:cubicBezTo>
                      <a:pt x="6564" y="224"/>
                      <a:pt x="6624" y="164"/>
                      <a:pt x="6624" y="16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05" name="Vrije vorm: vorm 8804">
                <a:extLst>
                  <a:ext uri="{FF2B5EF4-FFF2-40B4-BE49-F238E27FC236}">
                    <a16:creationId xmlns:a16="http://schemas.microsoft.com/office/drawing/2014/main" id="{9F73FE11-802B-45EE-818B-0E5E298C8D0D}"/>
                  </a:ext>
                </a:extLst>
              </p:cNvPr>
              <p:cNvSpPr/>
              <p:nvPr/>
            </p:nvSpPr>
            <p:spPr>
              <a:xfrm>
                <a:off x="4515599" y="2506874"/>
                <a:ext cx="6862" cy="7326"/>
              </a:xfrm>
              <a:custGeom>
                <a:avLst/>
                <a:gdLst>
                  <a:gd name="connsiteX0" fmla="*/ 6863 w 6862"/>
                  <a:gd name="connsiteY0" fmla="*/ 164 h 7326"/>
                  <a:gd name="connsiteX1" fmla="*/ 6803 w 6862"/>
                  <a:gd name="connsiteY1" fmla="*/ 45 h 7326"/>
                  <a:gd name="connsiteX2" fmla="*/ 6564 w 6862"/>
                  <a:gd name="connsiteY2" fmla="*/ 45 h 7326"/>
                  <a:gd name="connsiteX3" fmla="*/ 45 w 6862"/>
                  <a:gd name="connsiteY3" fmla="*/ 7042 h 7326"/>
                  <a:gd name="connsiteX4" fmla="*/ 45 w 6862"/>
                  <a:gd name="connsiteY4" fmla="*/ 7282 h 7326"/>
                  <a:gd name="connsiteX5" fmla="*/ 284 w 6862"/>
                  <a:gd name="connsiteY5" fmla="*/ 7282 h 7326"/>
                  <a:gd name="connsiteX6" fmla="*/ 6803 w 6862"/>
                  <a:gd name="connsiteY6" fmla="*/ 284 h 7326"/>
                  <a:gd name="connsiteX7" fmla="*/ 6863 w 6862"/>
                  <a:gd name="connsiteY7" fmla="*/ 164 h 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2" h="7326">
                    <a:moveTo>
                      <a:pt x="6863" y="164"/>
                    </a:moveTo>
                    <a:cubicBezTo>
                      <a:pt x="6863" y="105"/>
                      <a:pt x="6863" y="45"/>
                      <a:pt x="6803" y="45"/>
                    </a:cubicBezTo>
                    <a:cubicBezTo>
                      <a:pt x="6743" y="-15"/>
                      <a:pt x="6624" y="-15"/>
                      <a:pt x="6564" y="45"/>
                    </a:cubicBezTo>
                    <a:lnTo>
                      <a:pt x="45" y="7042"/>
                    </a:lnTo>
                    <a:cubicBezTo>
                      <a:pt x="-15" y="7102"/>
                      <a:pt x="-15" y="7222"/>
                      <a:pt x="45" y="7282"/>
                    </a:cubicBezTo>
                    <a:cubicBezTo>
                      <a:pt x="105" y="7341"/>
                      <a:pt x="224" y="7341"/>
                      <a:pt x="284" y="7282"/>
                    </a:cubicBezTo>
                    <a:lnTo>
                      <a:pt x="6803" y="284"/>
                    </a:lnTo>
                    <a:cubicBezTo>
                      <a:pt x="6863" y="224"/>
                      <a:pt x="6863" y="224"/>
                      <a:pt x="6863" y="16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06" name="Vrije vorm: vorm 8805">
                <a:extLst>
                  <a:ext uri="{FF2B5EF4-FFF2-40B4-BE49-F238E27FC236}">
                    <a16:creationId xmlns:a16="http://schemas.microsoft.com/office/drawing/2014/main" id="{349503F8-FE92-42E8-80CB-5179C8C261D5}"/>
                  </a:ext>
                </a:extLst>
              </p:cNvPr>
              <p:cNvSpPr/>
              <p:nvPr/>
            </p:nvSpPr>
            <p:spPr>
              <a:xfrm>
                <a:off x="4351174" y="2524024"/>
                <a:ext cx="70991" cy="67605"/>
              </a:xfrm>
              <a:custGeom>
                <a:avLst/>
                <a:gdLst>
                  <a:gd name="connsiteX0" fmla="*/ 70991 w 70991"/>
                  <a:gd name="connsiteY0" fmla="*/ 67463 h 67605"/>
                  <a:gd name="connsiteX1" fmla="*/ 70871 w 70991"/>
                  <a:gd name="connsiteY1" fmla="*/ 67283 h 67605"/>
                  <a:gd name="connsiteX2" fmla="*/ 11423 w 70991"/>
                  <a:gd name="connsiteY2" fmla="*/ 48743 h 67605"/>
                  <a:gd name="connsiteX3" fmla="*/ 299 w 70991"/>
                  <a:gd name="connsiteY3" fmla="*/ 120 h 67605"/>
                  <a:gd name="connsiteX4" fmla="*/ 119 w 70991"/>
                  <a:gd name="connsiteY4" fmla="*/ 0 h 67605"/>
                  <a:gd name="connsiteX5" fmla="*/ 0 w 70991"/>
                  <a:gd name="connsiteY5" fmla="*/ 179 h 67605"/>
                  <a:gd name="connsiteX6" fmla="*/ 11184 w 70991"/>
                  <a:gd name="connsiteY6" fmla="*/ 48862 h 67605"/>
                  <a:gd name="connsiteX7" fmla="*/ 11303 w 70991"/>
                  <a:gd name="connsiteY7" fmla="*/ 48982 h 67605"/>
                  <a:gd name="connsiteX8" fmla="*/ 70871 w 70991"/>
                  <a:gd name="connsiteY8" fmla="*/ 67582 h 67605"/>
                  <a:gd name="connsiteX9" fmla="*/ 70991 w 70991"/>
                  <a:gd name="connsiteY9" fmla="*/ 67463 h 67605"/>
                  <a:gd name="connsiteX10" fmla="*/ 70991 w 70991"/>
                  <a:gd name="connsiteY10" fmla="*/ 67463 h 6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991" h="67605">
                    <a:moveTo>
                      <a:pt x="70991" y="67463"/>
                    </a:moveTo>
                    <a:cubicBezTo>
                      <a:pt x="70991" y="67403"/>
                      <a:pt x="70931" y="67283"/>
                      <a:pt x="70871" y="67283"/>
                    </a:cubicBezTo>
                    <a:lnTo>
                      <a:pt x="11423" y="48743"/>
                    </a:lnTo>
                    <a:lnTo>
                      <a:pt x="299" y="120"/>
                    </a:lnTo>
                    <a:cubicBezTo>
                      <a:pt x="299" y="60"/>
                      <a:pt x="179" y="0"/>
                      <a:pt x="119" y="0"/>
                    </a:cubicBezTo>
                    <a:cubicBezTo>
                      <a:pt x="60" y="0"/>
                      <a:pt x="0" y="120"/>
                      <a:pt x="0" y="179"/>
                    </a:cubicBezTo>
                    <a:lnTo>
                      <a:pt x="11184" y="48862"/>
                    </a:lnTo>
                    <a:cubicBezTo>
                      <a:pt x="11184" y="48922"/>
                      <a:pt x="11244" y="48982"/>
                      <a:pt x="11303" y="48982"/>
                    </a:cubicBezTo>
                    <a:lnTo>
                      <a:pt x="70871" y="67582"/>
                    </a:lnTo>
                    <a:cubicBezTo>
                      <a:pt x="70871" y="67642"/>
                      <a:pt x="70931" y="67582"/>
                      <a:pt x="70991" y="67463"/>
                    </a:cubicBezTo>
                    <a:cubicBezTo>
                      <a:pt x="70991" y="67463"/>
                      <a:pt x="70991" y="67463"/>
                      <a:pt x="70991" y="6746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07" name="Vrije vorm: vorm 8806">
                <a:extLst>
                  <a:ext uri="{FF2B5EF4-FFF2-40B4-BE49-F238E27FC236}">
                    <a16:creationId xmlns:a16="http://schemas.microsoft.com/office/drawing/2014/main" id="{FF77694D-8FEB-4E2B-BCAE-4E5B2E2C8CA0}"/>
                  </a:ext>
                </a:extLst>
              </p:cNvPr>
              <p:cNvSpPr/>
              <p:nvPr/>
            </p:nvSpPr>
            <p:spPr>
              <a:xfrm>
                <a:off x="4278269" y="2442328"/>
                <a:ext cx="280675" cy="202985"/>
              </a:xfrm>
              <a:custGeom>
                <a:avLst/>
                <a:gdLst>
                  <a:gd name="connsiteX0" fmla="*/ 280675 w 280675"/>
                  <a:gd name="connsiteY0" fmla="*/ 4067 h 202985"/>
                  <a:gd name="connsiteX1" fmla="*/ 277146 w 280675"/>
                  <a:gd name="connsiteY1" fmla="*/ 17523 h 202985"/>
                  <a:gd name="connsiteX2" fmla="*/ 267099 w 280675"/>
                  <a:gd name="connsiteY2" fmla="*/ 36662 h 202985"/>
                  <a:gd name="connsiteX3" fmla="*/ 267099 w 280675"/>
                  <a:gd name="connsiteY3" fmla="*/ 36722 h 202985"/>
                  <a:gd name="connsiteX4" fmla="*/ 255795 w 280675"/>
                  <a:gd name="connsiteY4" fmla="*/ 51374 h 202985"/>
                  <a:gd name="connsiteX5" fmla="*/ 244253 w 280675"/>
                  <a:gd name="connsiteY5" fmla="*/ 64771 h 202985"/>
                  <a:gd name="connsiteX6" fmla="*/ 244073 w 280675"/>
                  <a:gd name="connsiteY6" fmla="*/ 64831 h 202985"/>
                  <a:gd name="connsiteX7" fmla="*/ 96349 w 280675"/>
                  <a:gd name="connsiteY7" fmla="*/ 15490 h 202985"/>
                  <a:gd name="connsiteX8" fmla="*/ 90727 w 280675"/>
                  <a:gd name="connsiteY8" fmla="*/ 20394 h 202985"/>
                  <a:gd name="connsiteX9" fmla="*/ 83311 w 280675"/>
                  <a:gd name="connsiteY9" fmla="*/ 25837 h 202985"/>
                  <a:gd name="connsiteX10" fmla="*/ 77749 w 280675"/>
                  <a:gd name="connsiteY10" fmla="*/ 30023 h 202985"/>
                  <a:gd name="connsiteX11" fmla="*/ 77690 w 280675"/>
                  <a:gd name="connsiteY11" fmla="*/ 30023 h 202985"/>
                  <a:gd name="connsiteX12" fmla="*/ 69735 w 280675"/>
                  <a:gd name="connsiteY12" fmla="*/ 32535 h 202985"/>
                  <a:gd name="connsiteX13" fmla="*/ 71051 w 280675"/>
                  <a:gd name="connsiteY13" fmla="*/ 54425 h 202985"/>
                  <a:gd name="connsiteX14" fmla="*/ 79663 w 280675"/>
                  <a:gd name="connsiteY14" fmla="*/ 48922 h 202985"/>
                  <a:gd name="connsiteX15" fmla="*/ 79902 w 280675"/>
                  <a:gd name="connsiteY15" fmla="*/ 48982 h 202985"/>
                  <a:gd name="connsiteX16" fmla="*/ 79843 w 280675"/>
                  <a:gd name="connsiteY16" fmla="*/ 49221 h 202985"/>
                  <a:gd name="connsiteX17" fmla="*/ 71111 w 280675"/>
                  <a:gd name="connsiteY17" fmla="*/ 54783 h 202985"/>
                  <a:gd name="connsiteX18" fmla="*/ 81338 w 280675"/>
                  <a:gd name="connsiteY18" fmla="*/ 72666 h 202985"/>
                  <a:gd name="connsiteX19" fmla="*/ 81338 w 280675"/>
                  <a:gd name="connsiteY19" fmla="*/ 72785 h 202985"/>
                  <a:gd name="connsiteX20" fmla="*/ 75895 w 280675"/>
                  <a:gd name="connsiteY20" fmla="*/ 135045 h 202985"/>
                  <a:gd name="connsiteX21" fmla="*/ 79065 w 280675"/>
                  <a:gd name="connsiteY21" fmla="*/ 187017 h 202985"/>
                  <a:gd name="connsiteX22" fmla="*/ 78946 w 280675"/>
                  <a:gd name="connsiteY22" fmla="*/ 187197 h 202985"/>
                  <a:gd name="connsiteX23" fmla="*/ 63097 w 280675"/>
                  <a:gd name="connsiteY23" fmla="*/ 193118 h 202985"/>
                  <a:gd name="connsiteX24" fmla="*/ 41925 w 280675"/>
                  <a:gd name="connsiteY24" fmla="*/ 198680 h 202985"/>
                  <a:gd name="connsiteX25" fmla="*/ 27631 w 280675"/>
                  <a:gd name="connsiteY25" fmla="*/ 201371 h 202985"/>
                  <a:gd name="connsiteX26" fmla="*/ 13516 w 280675"/>
                  <a:gd name="connsiteY26" fmla="*/ 202986 h 202985"/>
                  <a:gd name="connsiteX27" fmla="*/ 13457 w 280675"/>
                  <a:gd name="connsiteY27" fmla="*/ 202986 h 202985"/>
                  <a:gd name="connsiteX28" fmla="*/ 5502 w 280675"/>
                  <a:gd name="connsiteY28" fmla="*/ 201251 h 202985"/>
                  <a:gd name="connsiteX29" fmla="*/ 5442 w 280675"/>
                  <a:gd name="connsiteY29" fmla="*/ 201251 h 202985"/>
                  <a:gd name="connsiteX30" fmla="*/ 60 w 280675"/>
                  <a:gd name="connsiteY30" fmla="*/ 197543 h 202985"/>
                  <a:gd name="connsiteX31" fmla="*/ 0 w 280675"/>
                  <a:gd name="connsiteY31" fmla="*/ 197364 h 202985"/>
                  <a:gd name="connsiteX32" fmla="*/ 718 w 280675"/>
                  <a:gd name="connsiteY32" fmla="*/ 190307 h 202985"/>
                  <a:gd name="connsiteX33" fmla="*/ 778 w 280675"/>
                  <a:gd name="connsiteY33" fmla="*/ 190187 h 202985"/>
                  <a:gd name="connsiteX34" fmla="*/ 9390 w 280675"/>
                  <a:gd name="connsiteY34" fmla="*/ 182352 h 202985"/>
                  <a:gd name="connsiteX35" fmla="*/ 28229 w 280675"/>
                  <a:gd name="connsiteY35" fmla="*/ 168357 h 202985"/>
                  <a:gd name="connsiteX36" fmla="*/ 47547 w 280675"/>
                  <a:gd name="connsiteY36" fmla="*/ 154721 h 202985"/>
                  <a:gd name="connsiteX37" fmla="*/ 61960 w 280675"/>
                  <a:gd name="connsiteY37" fmla="*/ 145152 h 202985"/>
                  <a:gd name="connsiteX38" fmla="*/ 75537 w 280675"/>
                  <a:gd name="connsiteY38" fmla="*/ 136241 h 202985"/>
                  <a:gd name="connsiteX39" fmla="*/ 75656 w 280675"/>
                  <a:gd name="connsiteY39" fmla="*/ 135104 h 202985"/>
                  <a:gd name="connsiteX40" fmla="*/ 70812 w 280675"/>
                  <a:gd name="connsiteY40" fmla="*/ 54843 h 202985"/>
                  <a:gd name="connsiteX41" fmla="*/ 70812 w 280675"/>
                  <a:gd name="connsiteY41" fmla="*/ 54843 h 202985"/>
                  <a:gd name="connsiteX42" fmla="*/ 69436 w 280675"/>
                  <a:gd name="connsiteY42" fmla="*/ 32535 h 202985"/>
                  <a:gd name="connsiteX43" fmla="*/ 69556 w 280675"/>
                  <a:gd name="connsiteY43" fmla="*/ 32356 h 202985"/>
                  <a:gd name="connsiteX44" fmla="*/ 77570 w 280675"/>
                  <a:gd name="connsiteY44" fmla="*/ 29844 h 202985"/>
                  <a:gd name="connsiteX45" fmla="*/ 83132 w 280675"/>
                  <a:gd name="connsiteY45" fmla="*/ 25657 h 202985"/>
                  <a:gd name="connsiteX46" fmla="*/ 90488 w 280675"/>
                  <a:gd name="connsiteY46" fmla="*/ 20215 h 202985"/>
                  <a:gd name="connsiteX47" fmla="*/ 96170 w 280675"/>
                  <a:gd name="connsiteY47" fmla="*/ 15251 h 202985"/>
                  <a:gd name="connsiteX48" fmla="*/ 96349 w 280675"/>
                  <a:gd name="connsiteY48" fmla="*/ 15191 h 202985"/>
                  <a:gd name="connsiteX49" fmla="*/ 199038 w 280675"/>
                  <a:gd name="connsiteY49" fmla="*/ 49520 h 202985"/>
                  <a:gd name="connsiteX50" fmla="*/ 199098 w 280675"/>
                  <a:gd name="connsiteY50" fmla="*/ 49461 h 202985"/>
                  <a:gd name="connsiteX51" fmla="*/ 215665 w 280675"/>
                  <a:gd name="connsiteY51" fmla="*/ 37320 h 202985"/>
                  <a:gd name="connsiteX52" fmla="*/ 236059 w 280675"/>
                  <a:gd name="connsiteY52" fmla="*/ 22188 h 202985"/>
                  <a:gd name="connsiteX53" fmla="*/ 252506 w 280675"/>
                  <a:gd name="connsiteY53" fmla="*/ 10526 h 202985"/>
                  <a:gd name="connsiteX54" fmla="*/ 265843 w 280675"/>
                  <a:gd name="connsiteY54" fmla="*/ 2452 h 202985"/>
                  <a:gd name="connsiteX55" fmla="*/ 265903 w 280675"/>
                  <a:gd name="connsiteY55" fmla="*/ 2452 h 202985"/>
                  <a:gd name="connsiteX56" fmla="*/ 275173 w 280675"/>
                  <a:gd name="connsiteY56" fmla="*/ 0 h 202985"/>
                  <a:gd name="connsiteX57" fmla="*/ 275292 w 280675"/>
                  <a:gd name="connsiteY57" fmla="*/ 0 h 202985"/>
                  <a:gd name="connsiteX58" fmla="*/ 280675 w 280675"/>
                  <a:gd name="connsiteY58" fmla="*/ 4007 h 202985"/>
                  <a:gd name="connsiteX59" fmla="*/ 280675 w 280675"/>
                  <a:gd name="connsiteY59" fmla="*/ 4067 h 202985"/>
                  <a:gd name="connsiteX60" fmla="*/ 280675 w 280675"/>
                  <a:gd name="connsiteY60" fmla="*/ 4067 h 202985"/>
                  <a:gd name="connsiteX61" fmla="*/ 265903 w 280675"/>
                  <a:gd name="connsiteY61" fmla="*/ 2632 h 202985"/>
                  <a:gd name="connsiteX62" fmla="*/ 252626 w 280675"/>
                  <a:gd name="connsiteY62" fmla="*/ 10706 h 202985"/>
                  <a:gd name="connsiteX63" fmla="*/ 236179 w 280675"/>
                  <a:gd name="connsiteY63" fmla="*/ 22368 h 202985"/>
                  <a:gd name="connsiteX64" fmla="*/ 215784 w 280675"/>
                  <a:gd name="connsiteY64" fmla="*/ 37499 h 202985"/>
                  <a:gd name="connsiteX65" fmla="*/ 199816 w 280675"/>
                  <a:gd name="connsiteY65" fmla="*/ 49221 h 202985"/>
                  <a:gd name="connsiteX66" fmla="*/ 266800 w 280675"/>
                  <a:gd name="connsiteY66" fmla="*/ 36482 h 202985"/>
                  <a:gd name="connsiteX67" fmla="*/ 276848 w 280675"/>
                  <a:gd name="connsiteY67" fmla="*/ 17404 h 202985"/>
                  <a:gd name="connsiteX68" fmla="*/ 280376 w 280675"/>
                  <a:gd name="connsiteY68" fmla="*/ 4067 h 202985"/>
                  <a:gd name="connsiteX69" fmla="*/ 275173 w 280675"/>
                  <a:gd name="connsiteY69" fmla="*/ 179 h 202985"/>
                  <a:gd name="connsiteX70" fmla="*/ 265903 w 280675"/>
                  <a:gd name="connsiteY70" fmla="*/ 2632 h 202985"/>
                  <a:gd name="connsiteX71" fmla="*/ 244013 w 280675"/>
                  <a:gd name="connsiteY71" fmla="*/ 64532 h 202985"/>
                  <a:gd name="connsiteX72" fmla="*/ 255496 w 280675"/>
                  <a:gd name="connsiteY72" fmla="*/ 51195 h 202985"/>
                  <a:gd name="connsiteX73" fmla="*/ 266501 w 280675"/>
                  <a:gd name="connsiteY73" fmla="*/ 36901 h 202985"/>
                  <a:gd name="connsiteX74" fmla="*/ 199397 w 280675"/>
                  <a:gd name="connsiteY74" fmla="*/ 49640 h 202985"/>
                  <a:gd name="connsiteX75" fmla="*/ 244013 w 280675"/>
                  <a:gd name="connsiteY75" fmla="*/ 64532 h 202985"/>
                  <a:gd name="connsiteX76" fmla="*/ 62080 w 280675"/>
                  <a:gd name="connsiteY76" fmla="*/ 145391 h 202985"/>
                  <a:gd name="connsiteX77" fmla="*/ 47666 w 280675"/>
                  <a:gd name="connsiteY77" fmla="*/ 154961 h 202985"/>
                  <a:gd name="connsiteX78" fmla="*/ 28349 w 280675"/>
                  <a:gd name="connsiteY78" fmla="*/ 168597 h 202985"/>
                  <a:gd name="connsiteX79" fmla="*/ 9569 w 280675"/>
                  <a:gd name="connsiteY79" fmla="*/ 182591 h 202985"/>
                  <a:gd name="connsiteX80" fmla="*/ 1017 w 280675"/>
                  <a:gd name="connsiteY80" fmla="*/ 190366 h 202985"/>
                  <a:gd name="connsiteX81" fmla="*/ 299 w 280675"/>
                  <a:gd name="connsiteY81" fmla="*/ 197244 h 202985"/>
                  <a:gd name="connsiteX82" fmla="*/ 5622 w 280675"/>
                  <a:gd name="connsiteY82" fmla="*/ 200892 h 202985"/>
                  <a:gd name="connsiteX83" fmla="*/ 13516 w 280675"/>
                  <a:gd name="connsiteY83" fmla="*/ 202567 h 202985"/>
                  <a:gd name="connsiteX84" fmla="*/ 27571 w 280675"/>
                  <a:gd name="connsiteY84" fmla="*/ 200952 h 202985"/>
                  <a:gd name="connsiteX85" fmla="*/ 41865 w 280675"/>
                  <a:gd name="connsiteY85" fmla="*/ 198261 h 202985"/>
                  <a:gd name="connsiteX86" fmla="*/ 63037 w 280675"/>
                  <a:gd name="connsiteY86" fmla="*/ 192699 h 202985"/>
                  <a:gd name="connsiteX87" fmla="*/ 78766 w 280675"/>
                  <a:gd name="connsiteY87" fmla="*/ 186838 h 202985"/>
                  <a:gd name="connsiteX88" fmla="*/ 75716 w 280675"/>
                  <a:gd name="connsiteY88" fmla="*/ 136360 h 202985"/>
                  <a:gd name="connsiteX89" fmla="*/ 62080 w 280675"/>
                  <a:gd name="connsiteY89" fmla="*/ 145391 h 202985"/>
                  <a:gd name="connsiteX90" fmla="*/ 71051 w 280675"/>
                  <a:gd name="connsiteY90" fmla="*/ 55501 h 202985"/>
                  <a:gd name="connsiteX91" fmla="*/ 75716 w 280675"/>
                  <a:gd name="connsiteY91" fmla="*/ 132952 h 202985"/>
                  <a:gd name="connsiteX92" fmla="*/ 80979 w 280675"/>
                  <a:gd name="connsiteY92" fmla="*/ 72905 h 202985"/>
                  <a:gd name="connsiteX93" fmla="*/ 71051 w 280675"/>
                  <a:gd name="connsiteY93" fmla="*/ 55501 h 20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0675" h="202985">
                    <a:moveTo>
                      <a:pt x="280675" y="4067"/>
                    </a:moveTo>
                    <a:lnTo>
                      <a:pt x="277146" y="17523"/>
                    </a:lnTo>
                    <a:lnTo>
                      <a:pt x="267099" y="36662"/>
                    </a:lnTo>
                    <a:cubicBezTo>
                      <a:pt x="267099" y="36662"/>
                      <a:pt x="267099" y="36722"/>
                      <a:pt x="267099" y="36722"/>
                    </a:cubicBezTo>
                    <a:lnTo>
                      <a:pt x="255795" y="51374"/>
                    </a:lnTo>
                    <a:lnTo>
                      <a:pt x="244253" y="64771"/>
                    </a:lnTo>
                    <a:cubicBezTo>
                      <a:pt x="244193" y="64831"/>
                      <a:pt x="244133" y="64831"/>
                      <a:pt x="244073" y="64831"/>
                    </a:cubicBezTo>
                    <a:lnTo>
                      <a:pt x="96349" y="15490"/>
                    </a:lnTo>
                    <a:lnTo>
                      <a:pt x="90727" y="20394"/>
                    </a:lnTo>
                    <a:lnTo>
                      <a:pt x="83311" y="25837"/>
                    </a:lnTo>
                    <a:lnTo>
                      <a:pt x="77749" y="30023"/>
                    </a:lnTo>
                    <a:cubicBezTo>
                      <a:pt x="77749" y="30023"/>
                      <a:pt x="77690" y="30023"/>
                      <a:pt x="77690" y="30023"/>
                    </a:cubicBezTo>
                    <a:lnTo>
                      <a:pt x="69735" y="32535"/>
                    </a:lnTo>
                    <a:lnTo>
                      <a:pt x="71051" y="54425"/>
                    </a:lnTo>
                    <a:lnTo>
                      <a:pt x="79663" y="48922"/>
                    </a:lnTo>
                    <a:cubicBezTo>
                      <a:pt x="79723" y="48863"/>
                      <a:pt x="79843" y="48922"/>
                      <a:pt x="79902" y="48982"/>
                    </a:cubicBezTo>
                    <a:cubicBezTo>
                      <a:pt x="79962" y="49042"/>
                      <a:pt x="79902" y="49162"/>
                      <a:pt x="79843" y="49221"/>
                    </a:cubicBezTo>
                    <a:lnTo>
                      <a:pt x="71111" y="54783"/>
                    </a:lnTo>
                    <a:lnTo>
                      <a:pt x="81338" y="72666"/>
                    </a:lnTo>
                    <a:cubicBezTo>
                      <a:pt x="81338" y="72666"/>
                      <a:pt x="81338" y="72726"/>
                      <a:pt x="81338" y="72785"/>
                    </a:cubicBezTo>
                    <a:lnTo>
                      <a:pt x="75895" y="135045"/>
                    </a:lnTo>
                    <a:lnTo>
                      <a:pt x="79065" y="187017"/>
                    </a:lnTo>
                    <a:cubicBezTo>
                      <a:pt x="79065" y="187077"/>
                      <a:pt x="79005" y="187137"/>
                      <a:pt x="78946" y="187197"/>
                    </a:cubicBezTo>
                    <a:lnTo>
                      <a:pt x="63097" y="193118"/>
                    </a:lnTo>
                    <a:lnTo>
                      <a:pt x="41925" y="198680"/>
                    </a:lnTo>
                    <a:lnTo>
                      <a:pt x="27631" y="201371"/>
                    </a:lnTo>
                    <a:lnTo>
                      <a:pt x="13516" y="202986"/>
                    </a:lnTo>
                    <a:cubicBezTo>
                      <a:pt x="13516" y="202986"/>
                      <a:pt x="13457" y="202986"/>
                      <a:pt x="13457" y="202986"/>
                    </a:cubicBezTo>
                    <a:lnTo>
                      <a:pt x="5502" y="201251"/>
                    </a:lnTo>
                    <a:cubicBezTo>
                      <a:pt x="5502" y="201251"/>
                      <a:pt x="5442" y="201251"/>
                      <a:pt x="5442" y="201251"/>
                    </a:cubicBezTo>
                    <a:lnTo>
                      <a:pt x="60" y="197543"/>
                    </a:lnTo>
                    <a:cubicBezTo>
                      <a:pt x="0" y="197483"/>
                      <a:pt x="0" y="197424"/>
                      <a:pt x="0" y="197364"/>
                    </a:cubicBezTo>
                    <a:lnTo>
                      <a:pt x="718" y="190307"/>
                    </a:lnTo>
                    <a:cubicBezTo>
                      <a:pt x="718" y="190247"/>
                      <a:pt x="718" y="190247"/>
                      <a:pt x="778" y="190187"/>
                    </a:cubicBezTo>
                    <a:lnTo>
                      <a:pt x="9390" y="182352"/>
                    </a:lnTo>
                    <a:lnTo>
                      <a:pt x="28229" y="168357"/>
                    </a:lnTo>
                    <a:lnTo>
                      <a:pt x="47547" y="154721"/>
                    </a:lnTo>
                    <a:lnTo>
                      <a:pt x="61960" y="145152"/>
                    </a:lnTo>
                    <a:lnTo>
                      <a:pt x="75537" y="136241"/>
                    </a:lnTo>
                    <a:lnTo>
                      <a:pt x="75656" y="135104"/>
                    </a:lnTo>
                    <a:lnTo>
                      <a:pt x="70812" y="54843"/>
                    </a:lnTo>
                    <a:cubicBezTo>
                      <a:pt x="70812" y="54843"/>
                      <a:pt x="70812" y="54843"/>
                      <a:pt x="70812" y="54843"/>
                    </a:cubicBezTo>
                    <a:lnTo>
                      <a:pt x="69436" y="32535"/>
                    </a:lnTo>
                    <a:cubicBezTo>
                      <a:pt x="69436" y="32475"/>
                      <a:pt x="69496" y="32416"/>
                      <a:pt x="69556" y="32356"/>
                    </a:cubicBezTo>
                    <a:lnTo>
                      <a:pt x="77570" y="29844"/>
                    </a:lnTo>
                    <a:lnTo>
                      <a:pt x="83132" y="25657"/>
                    </a:lnTo>
                    <a:lnTo>
                      <a:pt x="90488" y="20215"/>
                    </a:lnTo>
                    <a:lnTo>
                      <a:pt x="96170" y="15251"/>
                    </a:lnTo>
                    <a:cubicBezTo>
                      <a:pt x="96230" y="15191"/>
                      <a:pt x="96289" y="15191"/>
                      <a:pt x="96349" y="15191"/>
                    </a:cubicBezTo>
                    <a:lnTo>
                      <a:pt x="199038" y="49520"/>
                    </a:lnTo>
                    <a:cubicBezTo>
                      <a:pt x="199038" y="49461"/>
                      <a:pt x="199098" y="49461"/>
                      <a:pt x="199098" y="49461"/>
                    </a:cubicBezTo>
                    <a:lnTo>
                      <a:pt x="215665" y="37320"/>
                    </a:lnTo>
                    <a:lnTo>
                      <a:pt x="236059" y="22188"/>
                    </a:lnTo>
                    <a:lnTo>
                      <a:pt x="252506" y="10526"/>
                    </a:lnTo>
                    <a:lnTo>
                      <a:pt x="265843" y="2452"/>
                    </a:lnTo>
                    <a:cubicBezTo>
                      <a:pt x="265843" y="2452"/>
                      <a:pt x="265843" y="2452"/>
                      <a:pt x="265903" y="2452"/>
                    </a:cubicBezTo>
                    <a:lnTo>
                      <a:pt x="275173" y="0"/>
                    </a:lnTo>
                    <a:cubicBezTo>
                      <a:pt x="275233" y="0"/>
                      <a:pt x="275292" y="0"/>
                      <a:pt x="275292" y="0"/>
                    </a:cubicBezTo>
                    <a:lnTo>
                      <a:pt x="280675" y="4007"/>
                    </a:lnTo>
                    <a:cubicBezTo>
                      <a:pt x="280675" y="3947"/>
                      <a:pt x="280675" y="4007"/>
                      <a:pt x="280675" y="4067"/>
                    </a:cubicBezTo>
                    <a:cubicBezTo>
                      <a:pt x="280675" y="4067"/>
                      <a:pt x="280675" y="4067"/>
                      <a:pt x="280675" y="4067"/>
                    </a:cubicBezTo>
                    <a:close/>
                    <a:moveTo>
                      <a:pt x="265903" y="2632"/>
                    </a:moveTo>
                    <a:lnTo>
                      <a:pt x="252626" y="10706"/>
                    </a:lnTo>
                    <a:lnTo>
                      <a:pt x="236179" y="22368"/>
                    </a:lnTo>
                    <a:lnTo>
                      <a:pt x="215784" y="37499"/>
                    </a:lnTo>
                    <a:lnTo>
                      <a:pt x="199816" y="49221"/>
                    </a:lnTo>
                    <a:lnTo>
                      <a:pt x="266800" y="36482"/>
                    </a:lnTo>
                    <a:lnTo>
                      <a:pt x="276848" y="17404"/>
                    </a:lnTo>
                    <a:lnTo>
                      <a:pt x="280376" y="4067"/>
                    </a:lnTo>
                    <a:lnTo>
                      <a:pt x="275173" y="179"/>
                    </a:lnTo>
                    <a:lnTo>
                      <a:pt x="265903" y="2632"/>
                    </a:lnTo>
                    <a:close/>
                    <a:moveTo>
                      <a:pt x="244013" y="64532"/>
                    </a:moveTo>
                    <a:lnTo>
                      <a:pt x="255496" y="51195"/>
                    </a:lnTo>
                    <a:lnTo>
                      <a:pt x="266501" y="36901"/>
                    </a:lnTo>
                    <a:lnTo>
                      <a:pt x="199397" y="49640"/>
                    </a:lnTo>
                    <a:lnTo>
                      <a:pt x="244013" y="64532"/>
                    </a:lnTo>
                    <a:close/>
                    <a:moveTo>
                      <a:pt x="62080" y="145391"/>
                    </a:moveTo>
                    <a:lnTo>
                      <a:pt x="47666" y="154961"/>
                    </a:lnTo>
                    <a:lnTo>
                      <a:pt x="28349" y="168597"/>
                    </a:lnTo>
                    <a:lnTo>
                      <a:pt x="9569" y="182591"/>
                    </a:lnTo>
                    <a:lnTo>
                      <a:pt x="1017" y="190366"/>
                    </a:lnTo>
                    <a:lnTo>
                      <a:pt x="299" y="197244"/>
                    </a:lnTo>
                    <a:lnTo>
                      <a:pt x="5622" y="200892"/>
                    </a:lnTo>
                    <a:lnTo>
                      <a:pt x="13516" y="202567"/>
                    </a:lnTo>
                    <a:lnTo>
                      <a:pt x="27571" y="200952"/>
                    </a:lnTo>
                    <a:lnTo>
                      <a:pt x="41865" y="198261"/>
                    </a:lnTo>
                    <a:lnTo>
                      <a:pt x="63037" y="192699"/>
                    </a:lnTo>
                    <a:lnTo>
                      <a:pt x="78766" y="186838"/>
                    </a:lnTo>
                    <a:lnTo>
                      <a:pt x="75716" y="136360"/>
                    </a:lnTo>
                    <a:lnTo>
                      <a:pt x="62080" y="145391"/>
                    </a:lnTo>
                    <a:close/>
                    <a:moveTo>
                      <a:pt x="71051" y="55501"/>
                    </a:moveTo>
                    <a:lnTo>
                      <a:pt x="75716" y="132952"/>
                    </a:lnTo>
                    <a:lnTo>
                      <a:pt x="80979" y="72905"/>
                    </a:lnTo>
                    <a:lnTo>
                      <a:pt x="71051" y="55501"/>
                    </a:lnTo>
                    <a:close/>
                  </a:path>
                </a:pathLst>
              </a:custGeom>
              <a:grpFill/>
              <a:ln w="6350" cap="flat">
                <a:solidFill>
                  <a:schemeClr val="bg1">
                    <a:alpha val="80000"/>
                  </a:schemeClr>
                </a:solidFill>
                <a:prstDash val="solid"/>
                <a:miter/>
              </a:ln>
            </p:spPr>
            <p:txBody>
              <a:bodyPr rtlCol="0" anchor="ctr"/>
              <a:lstStyle/>
              <a:p>
                <a:endParaRPr lang="en-GB"/>
              </a:p>
            </p:txBody>
          </p:sp>
          <p:sp>
            <p:nvSpPr>
              <p:cNvPr id="8808" name="Vrije vorm: vorm 8807">
                <a:extLst>
                  <a:ext uri="{FF2B5EF4-FFF2-40B4-BE49-F238E27FC236}">
                    <a16:creationId xmlns:a16="http://schemas.microsoft.com/office/drawing/2014/main" id="{7161CFE3-A8F8-41EC-9153-6A39CF6625B2}"/>
                  </a:ext>
                </a:extLst>
              </p:cNvPr>
              <p:cNvSpPr/>
              <p:nvPr/>
            </p:nvSpPr>
            <p:spPr>
              <a:xfrm>
                <a:off x="4347585" y="2472067"/>
                <a:ext cx="80964" cy="115098"/>
              </a:xfrm>
              <a:custGeom>
                <a:avLst/>
                <a:gdLst>
                  <a:gd name="connsiteX0" fmla="*/ 80919 w 80964"/>
                  <a:gd name="connsiteY0" fmla="*/ 115054 h 115098"/>
                  <a:gd name="connsiteX1" fmla="*/ 80680 w 80964"/>
                  <a:gd name="connsiteY1" fmla="*/ 115054 h 115098"/>
                  <a:gd name="connsiteX2" fmla="*/ 59568 w 80964"/>
                  <a:gd name="connsiteY2" fmla="*/ 92985 h 115098"/>
                  <a:gd name="connsiteX3" fmla="*/ 59508 w 80964"/>
                  <a:gd name="connsiteY3" fmla="*/ 92925 h 115098"/>
                  <a:gd name="connsiteX4" fmla="*/ 46769 w 80964"/>
                  <a:gd name="connsiteY4" fmla="*/ 54469 h 115098"/>
                  <a:gd name="connsiteX5" fmla="*/ 15969 w 80964"/>
                  <a:gd name="connsiteY5" fmla="*/ 14518 h 115098"/>
                  <a:gd name="connsiteX6" fmla="*/ 60 w 80964"/>
                  <a:gd name="connsiteY6" fmla="*/ 2856 h 115098"/>
                  <a:gd name="connsiteX7" fmla="*/ 0 w 80964"/>
                  <a:gd name="connsiteY7" fmla="*/ 2617 h 115098"/>
                  <a:gd name="connsiteX8" fmla="*/ 239 w 80964"/>
                  <a:gd name="connsiteY8" fmla="*/ 2557 h 115098"/>
                  <a:gd name="connsiteX9" fmla="*/ 15550 w 80964"/>
                  <a:gd name="connsiteY9" fmla="*/ 13800 h 115098"/>
                  <a:gd name="connsiteX10" fmla="*/ 8074 w 80964"/>
                  <a:gd name="connsiteY10" fmla="*/ 224 h 115098"/>
                  <a:gd name="connsiteX11" fmla="*/ 8134 w 80964"/>
                  <a:gd name="connsiteY11" fmla="*/ 45 h 115098"/>
                  <a:gd name="connsiteX12" fmla="*/ 8313 w 80964"/>
                  <a:gd name="connsiteY12" fmla="*/ 45 h 115098"/>
                  <a:gd name="connsiteX13" fmla="*/ 21830 w 80964"/>
                  <a:gd name="connsiteY13" fmla="*/ 9315 h 115098"/>
                  <a:gd name="connsiteX14" fmla="*/ 21890 w 80964"/>
                  <a:gd name="connsiteY14" fmla="*/ 9434 h 115098"/>
                  <a:gd name="connsiteX15" fmla="*/ 21830 w 80964"/>
                  <a:gd name="connsiteY15" fmla="*/ 9554 h 115098"/>
                  <a:gd name="connsiteX16" fmla="*/ 16268 w 80964"/>
                  <a:gd name="connsiteY16" fmla="*/ 14458 h 115098"/>
                  <a:gd name="connsiteX17" fmla="*/ 47009 w 80964"/>
                  <a:gd name="connsiteY17" fmla="*/ 54290 h 115098"/>
                  <a:gd name="connsiteX18" fmla="*/ 47009 w 80964"/>
                  <a:gd name="connsiteY18" fmla="*/ 54350 h 115098"/>
                  <a:gd name="connsiteX19" fmla="*/ 59747 w 80964"/>
                  <a:gd name="connsiteY19" fmla="*/ 92806 h 115098"/>
                  <a:gd name="connsiteX20" fmla="*/ 80859 w 80964"/>
                  <a:gd name="connsiteY20" fmla="*/ 114815 h 115098"/>
                  <a:gd name="connsiteX21" fmla="*/ 80919 w 80964"/>
                  <a:gd name="connsiteY21" fmla="*/ 114935 h 115098"/>
                  <a:gd name="connsiteX22" fmla="*/ 80919 w 80964"/>
                  <a:gd name="connsiteY22" fmla="*/ 115054 h 115098"/>
                  <a:gd name="connsiteX23" fmla="*/ 16148 w 80964"/>
                  <a:gd name="connsiteY23" fmla="*/ 14219 h 115098"/>
                  <a:gd name="connsiteX24" fmla="*/ 21531 w 80964"/>
                  <a:gd name="connsiteY24" fmla="*/ 9494 h 115098"/>
                  <a:gd name="connsiteX25" fmla="*/ 8732 w 80964"/>
                  <a:gd name="connsiteY25" fmla="*/ 763 h 115098"/>
                  <a:gd name="connsiteX26" fmla="*/ 16148 w 80964"/>
                  <a:gd name="connsiteY26" fmla="*/ 14219 h 115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0964" h="115098">
                    <a:moveTo>
                      <a:pt x="80919" y="115054"/>
                    </a:moveTo>
                    <a:cubicBezTo>
                      <a:pt x="80859" y="115114"/>
                      <a:pt x="80740" y="115114"/>
                      <a:pt x="80680" y="115054"/>
                    </a:cubicBezTo>
                    <a:lnTo>
                      <a:pt x="59568" y="92985"/>
                    </a:lnTo>
                    <a:cubicBezTo>
                      <a:pt x="59568" y="92985"/>
                      <a:pt x="59508" y="92925"/>
                      <a:pt x="59508" y="92925"/>
                    </a:cubicBezTo>
                    <a:lnTo>
                      <a:pt x="46769" y="54469"/>
                    </a:lnTo>
                    <a:lnTo>
                      <a:pt x="15969" y="14518"/>
                    </a:lnTo>
                    <a:lnTo>
                      <a:pt x="60" y="2856"/>
                    </a:lnTo>
                    <a:cubicBezTo>
                      <a:pt x="0" y="2796"/>
                      <a:pt x="0" y="2676"/>
                      <a:pt x="0" y="2617"/>
                    </a:cubicBezTo>
                    <a:cubicBezTo>
                      <a:pt x="60" y="2557"/>
                      <a:pt x="180" y="2557"/>
                      <a:pt x="239" y="2557"/>
                    </a:cubicBezTo>
                    <a:lnTo>
                      <a:pt x="15550" y="13800"/>
                    </a:lnTo>
                    <a:lnTo>
                      <a:pt x="8074" y="224"/>
                    </a:lnTo>
                    <a:cubicBezTo>
                      <a:pt x="8014" y="164"/>
                      <a:pt x="8074" y="45"/>
                      <a:pt x="8134" y="45"/>
                    </a:cubicBezTo>
                    <a:cubicBezTo>
                      <a:pt x="8194" y="-15"/>
                      <a:pt x="8253" y="-15"/>
                      <a:pt x="8313" y="45"/>
                    </a:cubicBezTo>
                    <a:lnTo>
                      <a:pt x="21830" y="9315"/>
                    </a:lnTo>
                    <a:cubicBezTo>
                      <a:pt x="21890" y="9315"/>
                      <a:pt x="21890" y="9375"/>
                      <a:pt x="21890" y="9434"/>
                    </a:cubicBezTo>
                    <a:cubicBezTo>
                      <a:pt x="21890" y="9494"/>
                      <a:pt x="21890" y="9554"/>
                      <a:pt x="21830" y="9554"/>
                    </a:cubicBezTo>
                    <a:lnTo>
                      <a:pt x="16268" y="14458"/>
                    </a:lnTo>
                    <a:lnTo>
                      <a:pt x="47009" y="54290"/>
                    </a:lnTo>
                    <a:cubicBezTo>
                      <a:pt x="47009" y="54290"/>
                      <a:pt x="47009" y="54350"/>
                      <a:pt x="47009" y="54350"/>
                    </a:cubicBezTo>
                    <a:lnTo>
                      <a:pt x="59747" y="92806"/>
                    </a:lnTo>
                    <a:lnTo>
                      <a:pt x="80859" y="114815"/>
                    </a:lnTo>
                    <a:cubicBezTo>
                      <a:pt x="80919" y="114875"/>
                      <a:pt x="80919" y="114875"/>
                      <a:pt x="80919" y="114935"/>
                    </a:cubicBezTo>
                    <a:cubicBezTo>
                      <a:pt x="80979" y="114994"/>
                      <a:pt x="80979" y="115054"/>
                      <a:pt x="80919" y="115054"/>
                    </a:cubicBezTo>
                    <a:close/>
                    <a:moveTo>
                      <a:pt x="16148" y="14219"/>
                    </a:moveTo>
                    <a:lnTo>
                      <a:pt x="21531" y="9494"/>
                    </a:lnTo>
                    <a:lnTo>
                      <a:pt x="8732" y="763"/>
                    </a:lnTo>
                    <a:lnTo>
                      <a:pt x="16148" y="14219"/>
                    </a:lnTo>
                    <a:close/>
                  </a:path>
                </a:pathLst>
              </a:custGeom>
              <a:grpFill/>
              <a:ln w="6350" cap="flat">
                <a:solidFill>
                  <a:schemeClr val="bg1">
                    <a:alpha val="80000"/>
                  </a:schemeClr>
                </a:solidFill>
                <a:prstDash val="solid"/>
                <a:miter/>
              </a:ln>
            </p:spPr>
            <p:txBody>
              <a:bodyPr rtlCol="0" anchor="ctr"/>
              <a:lstStyle/>
              <a:p>
                <a:endParaRPr lang="en-GB"/>
              </a:p>
            </p:txBody>
          </p:sp>
          <p:sp>
            <p:nvSpPr>
              <p:cNvPr id="8809" name="Vrije vorm: vorm 8808">
                <a:extLst>
                  <a:ext uri="{FF2B5EF4-FFF2-40B4-BE49-F238E27FC236}">
                    <a16:creationId xmlns:a16="http://schemas.microsoft.com/office/drawing/2014/main" id="{EB20D31B-6F46-43BC-9A93-198BC20C50B2}"/>
                  </a:ext>
                </a:extLst>
              </p:cNvPr>
              <p:cNvSpPr/>
              <p:nvPr/>
            </p:nvSpPr>
            <p:spPr>
              <a:xfrm>
                <a:off x="4368673" y="2457552"/>
                <a:ext cx="147270" cy="56723"/>
              </a:xfrm>
              <a:custGeom>
                <a:avLst/>
                <a:gdLst>
                  <a:gd name="connsiteX0" fmla="*/ 147270 w 147270"/>
                  <a:gd name="connsiteY0" fmla="*/ 56544 h 56723"/>
                  <a:gd name="connsiteX1" fmla="*/ 147210 w 147270"/>
                  <a:gd name="connsiteY1" fmla="*/ 56365 h 56723"/>
                  <a:gd name="connsiteX2" fmla="*/ 89616 w 147270"/>
                  <a:gd name="connsiteY2" fmla="*/ 27957 h 56723"/>
                  <a:gd name="connsiteX3" fmla="*/ 89556 w 147270"/>
                  <a:gd name="connsiteY3" fmla="*/ 27957 h 56723"/>
                  <a:gd name="connsiteX4" fmla="*/ 43325 w 147270"/>
                  <a:gd name="connsiteY4" fmla="*/ 21258 h 56723"/>
                  <a:gd name="connsiteX5" fmla="*/ 5886 w 147270"/>
                  <a:gd name="connsiteY5" fmla="*/ 27 h 56723"/>
                  <a:gd name="connsiteX6" fmla="*/ 5707 w 147270"/>
                  <a:gd name="connsiteY6" fmla="*/ 27 h 56723"/>
                  <a:gd name="connsiteX7" fmla="*/ 5647 w 147270"/>
                  <a:gd name="connsiteY7" fmla="*/ 206 h 56723"/>
                  <a:gd name="connsiteX8" fmla="*/ 10670 w 147270"/>
                  <a:gd name="connsiteY8" fmla="*/ 17251 h 56723"/>
                  <a:gd name="connsiteX9" fmla="*/ 264 w 147270"/>
                  <a:gd name="connsiteY9" fmla="*/ 5050 h 56723"/>
                  <a:gd name="connsiteX10" fmla="*/ 85 w 147270"/>
                  <a:gd name="connsiteY10" fmla="*/ 4991 h 56723"/>
                  <a:gd name="connsiteX11" fmla="*/ 25 w 147270"/>
                  <a:gd name="connsiteY11" fmla="*/ 5170 h 56723"/>
                  <a:gd name="connsiteX12" fmla="*/ 5886 w 147270"/>
                  <a:gd name="connsiteY12" fmla="*/ 21438 h 56723"/>
                  <a:gd name="connsiteX13" fmla="*/ 6065 w 147270"/>
                  <a:gd name="connsiteY13" fmla="*/ 21557 h 56723"/>
                  <a:gd name="connsiteX14" fmla="*/ 6185 w 147270"/>
                  <a:gd name="connsiteY14" fmla="*/ 21378 h 56723"/>
                  <a:gd name="connsiteX15" fmla="*/ 623 w 147270"/>
                  <a:gd name="connsiteY15" fmla="*/ 5948 h 56723"/>
                  <a:gd name="connsiteX16" fmla="*/ 10970 w 147270"/>
                  <a:gd name="connsiteY16" fmla="*/ 18029 h 56723"/>
                  <a:gd name="connsiteX17" fmla="*/ 11149 w 147270"/>
                  <a:gd name="connsiteY17" fmla="*/ 18088 h 56723"/>
                  <a:gd name="connsiteX18" fmla="*/ 11209 w 147270"/>
                  <a:gd name="connsiteY18" fmla="*/ 17909 h 56723"/>
                  <a:gd name="connsiteX19" fmla="*/ 6125 w 147270"/>
                  <a:gd name="connsiteY19" fmla="*/ 565 h 56723"/>
                  <a:gd name="connsiteX20" fmla="*/ 43205 w 147270"/>
                  <a:gd name="connsiteY20" fmla="*/ 21617 h 56723"/>
                  <a:gd name="connsiteX21" fmla="*/ 43265 w 147270"/>
                  <a:gd name="connsiteY21" fmla="*/ 21617 h 56723"/>
                  <a:gd name="connsiteX22" fmla="*/ 89496 w 147270"/>
                  <a:gd name="connsiteY22" fmla="*/ 28315 h 56723"/>
                  <a:gd name="connsiteX23" fmla="*/ 147031 w 147270"/>
                  <a:gd name="connsiteY23" fmla="*/ 56724 h 56723"/>
                  <a:gd name="connsiteX24" fmla="*/ 147270 w 147270"/>
                  <a:gd name="connsiteY24" fmla="*/ 56544 h 56723"/>
                  <a:gd name="connsiteX25" fmla="*/ 147270 w 147270"/>
                  <a:gd name="connsiteY25" fmla="*/ 56544 h 5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7270" h="56723">
                    <a:moveTo>
                      <a:pt x="147270" y="56544"/>
                    </a:moveTo>
                    <a:cubicBezTo>
                      <a:pt x="147270" y="56485"/>
                      <a:pt x="147270" y="56425"/>
                      <a:pt x="147210" y="56365"/>
                    </a:cubicBezTo>
                    <a:lnTo>
                      <a:pt x="89616" y="27957"/>
                    </a:lnTo>
                    <a:cubicBezTo>
                      <a:pt x="89616" y="27957"/>
                      <a:pt x="89556" y="27957"/>
                      <a:pt x="89556" y="27957"/>
                    </a:cubicBezTo>
                    <a:lnTo>
                      <a:pt x="43325" y="21258"/>
                    </a:lnTo>
                    <a:lnTo>
                      <a:pt x="5886" y="27"/>
                    </a:lnTo>
                    <a:cubicBezTo>
                      <a:pt x="5826" y="-33"/>
                      <a:pt x="5766" y="27"/>
                      <a:pt x="5707" y="27"/>
                    </a:cubicBezTo>
                    <a:cubicBezTo>
                      <a:pt x="5647" y="86"/>
                      <a:pt x="5647" y="146"/>
                      <a:pt x="5647" y="206"/>
                    </a:cubicBezTo>
                    <a:lnTo>
                      <a:pt x="10670" y="17251"/>
                    </a:lnTo>
                    <a:lnTo>
                      <a:pt x="264" y="5050"/>
                    </a:lnTo>
                    <a:cubicBezTo>
                      <a:pt x="204" y="4991"/>
                      <a:pt x="145" y="4991"/>
                      <a:pt x="85" y="4991"/>
                    </a:cubicBezTo>
                    <a:cubicBezTo>
                      <a:pt x="25" y="5050"/>
                      <a:pt x="-35" y="5110"/>
                      <a:pt x="25" y="5170"/>
                    </a:cubicBezTo>
                    <a:lnTo>
                      <a:pt x="5886" y="21438"/>
                    </a:lnTo>
                    <a:cubicBezTo>
                      <a:pt x="5946" y="21497"/>
                      <a:pt x="6006" y="21557"/>
                      <a:pt x="6065" y="21557"/>
                    </a:cubicBezTo>
                    <a:cubicBezTo>
                      <a:pt x="6125" y="21557"/>
                      <a:pt x="6185" y="21438"/>
                      <a:pt x="6185" y="21378"/>
                    </a:cubicBezTo>
                    <a:lnTo>
                      <a:pt x="623" y="5948"/>
                    </a:lnTo>
                    <a:lnTo>
                      <a:pt x="10970" y="18029"/>
                    </a:lnTo>
                    <a:cubicBezTo>
                      <a:pt x="11029" y="18088"/>
                      <a:pt x="11089" y="18088"/>
                      <a:pt x="11149" y="18088"/>
                    </a:cubicBezTo>
                    <a:cubicBezTo>
                      <a:pt x="11209" y="18029"/>
                      <a:pt x="11269" y="17969"/>
                      <a:pt x="11209" y="17909"/>
                    </a:cubicBezTo>
                    <a:lnTo>
                      <a:pt x="6125" y="565"/>
                    </a:lnTo>
                    <a:lnTo>
                      <a:pt x="43205" y="21617"/>
                    </a:lnTo>
                    <a:cubicBezTo>
                      <a:pt x="43205" y="21617"/>
                      <a:pt x="43265" y="21617"/>
                      <a:pt x="43265" y="21617"/>
                    </a:cubicBezTo>
                    <a:lnTo>
                      <a:pt x="89496" y="28315"/>
                    </a:lnTo>
                    <a:lnTo>
                      <a:pt x="147031" y="56724"/>
                    </a:lnTo>
                    <a:cubicBezTo>
                      <a:pt x="147091" y="56664"/>
                      <a:pt x="147210" y="56664"/>
                      <a:pt x="147270" y="56544"/>
                    </a:cubicBezTo>
                    <a:cubicBezTo>
                      <a:pt x="147270" y="56544"/>
                      <a:pt x="147270" y="56544"/>
                      <a:pt x="147270" y="5654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10" name="Vrije vorm: vorm 8809">
                <a:extLst>
                  <a:ext uri="{FF2B5EF4-FFF2-40B4-BE49-F238E27FC236}">
                    <a16:creationId xmlns:a16="http://schemas.microsoft.com/office/drawing/2014/main" id="{A3A52885-9F7A-4448-99A8-0F5D74D12649}"/>
                  </a:ext>
                </a:extLst>
              </p:cNvPr>
              <p:cNvSpPr/>
              <p:nvPr/>
            </p:nvSpPr>
            <p:spPr>
              <a:xfrm>
                <a:off x="4350770" y="2454125"/>
                <a:ext cx="11707" cy="14064"/>
              </a:xfrm>
              <a:custGeom>
                <a:avLst/>
                <a:gdLst>
                  <a:gd name="connsiteX0" fmla="*/ 10810 w 11707"/>
                  <a:gd name="connsiteY0" fmla="*/ 13980 h 14064"/>
                  <a:gd name="connsiteX1" fmla="*/ 10810 w 11707"/>
                  <a:gd name="connsiteY1" fmla="*/ 13980 h 14064"/>
                  <a:gd name="connsiteX2" fmla="*/ 11707 w 11707"/>
                  <a:gd name="connsiteY2" fmla="*/ 1779 h 14064"/>
                  <a:gd name="connsiteX3" fmla="*/ 11528 w 11707"/>
                  <a:gd name="connsiteY3" fmla="*/ 1600 h 14064"/>
                  <a:gd name="connsiteX4" fmla="*/ 11348 w 11707"/>
                  <a:gd name="connsiteY4" fmla="*/ 1719 h 14064"/>
                  <a:gd name="connsiteX5" fmla="*/ 11348 w 11707"/>
                  <a:gd name="connsiteY5" fmla="*/ 1719 h 14064"/>
                  <a:gd name="connsiteX6" fmla="*/ 10511 w 11707"/>
                  <a:gd name="connsiteY6" fmla="*/ 13442 h 14064"/>
                  <a:gd name="connsiteX7" fmla="*/ 284 w 11707"/>
                  <a:gd name="connsiteY7" fmla="*/ 45 h 14064"/>
                  <a:gd name="connsiteX8" fmla="*/ 45 w 11707"/>
                  <a:gd name="connsiteY8" fmla="*/ 45 h 14064"/>
                  <a:gd name="connsiteX9" fmla="*/ 45 w 11707"/>
                  <a:gd name="connsiteY9" fmla="*/ 284 h 14064"/>
                  <a:gd name="connsiteX10" fmla="*/ 10511 w 11707"/>
                  <a:gd name="connsiteY10" fmla="*/ 13980 h 14064"/>
                  <a:gd name="connsiteX11" fmla="*/ 10690 w 11707"/>
                  <a:gd name="connsiteY11" fmla="*/ 14040 h 14064"/>
                  <a:gd name="connsiteX12" fmla="*/ 10810 w 11707"/>
                  <a:gd name="connsiteY12" fmla="*/ 13980 h 1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07" h="14064">
                    <a:moveTo>
                      <a:pt x="10810" y="13980"/>
                    </a:moveTo>
                    <a:cubicBezTo>
                      <a:pt x="10810" y="13980"/>
                      <a:pt x="10810" y="13980"/>
                      <a:pt x="10810" y="13980"/>
                    </a:cubicBezTo>
                    <a:lnTo>
                      <a:pt x="11707" y="1779"/>
                    </a:lnTo>
                    <a:cubicBezTo>
                      <a:pt x="11707" y="1719"/>
                      <a:pt x="11648" y="1600"/>
                      <a:pt x="11528" y="1600"/>
                    </a:cubicBezTo>
                    <a:cubicBezTo>
                      <a:pt x="11468" y="1600"/>
                      <a:pt x="11348" y="1660"/>
                      <a:pt x="11348" y="1719"/>
                    </a:cubicBezTo>
                    <a:cubicBezTo>
                      <a:pt x="11348" y="1719"/>
                      <a:pt x="11348" y="1719"/>
                      <a:pt x="11348" y="1719"/>
                    </a:cubicBezTo>
                    <a:lnTo>
                      <a:pt x="10511" y="13442"/>
                    </a:lnTo>
                    <a:lnTo>
                      <a:pt x="284" y="45"/>
                    </a:lnTo>
                    <a:cubicBezTo>
                      <a:pt x="224" y="-15"/>
                      <a:pt x="105" y="-15"/>
                      <a:pt x="45" y="45"/>
                    </a:cubicBezTo>
                    <a:cubicBezTo>
                      <a:pt x="-15" y="105"/>
                      <a:pt x="-15" y="224"/>
                      <a:pt x="45" y="284"/>
                    </a:cubicBezTo>
                    <a:lnTo>
                      <a:pt x="10511" y="13980"/>
                    </a:lnTo>
                    <a:cubicBezTo>
                      <a:pt x="10571" y="14040"/>
                      <a:pt x="10631" y="14040"/>
                      <a:pt x="10690" y="14040"/>
                    </a:cubicBezTo>
                    <a:cubicBezTo>
                      <a:pt x="10750" y="14099"/>
                      <a:pt x="10750" y="14040"/>
                      <a:pt x="10810" y="1398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11" name="Vrije vorm: vorm 8810">
                <a:extLst>
                  <a:ext uri="{FF2B5EF4-FFF2-40B4-BE49-F238E27FC236}">
                    <a16:creationId xmlns:a16="http://schemas.microsoft.com/office/drawing/2014/main" id="{E885F805-0369-49F4-BE21-E29F818A2ED8}"/>
                  </a:ext>
                </a:extLst>
              </p:cNvPr>
              <p:cNvSpPr/>
              <p:nvPr/>
            </p:nvSpPr>
            <p:spPr>
              <a:xfrm>
                <a:off x="4350950" y="2455739"/>
                <a:ext cx="11348" cy="10735"/>
              </a:xfrm>
              <a:custGeom>
                <a:avLst/>
                <a:gdLst>
                  <a:gd name="connsiteX0" fmla="*/ 11349 w 11348"/>
                  <a:gd name="connsiteY0" fmla="*/ 164 h 10735"/>
                  <a:gd name="connsiteX1" fmla="*/ 11289 w 11348"/>
                  <a:gd name="connsiteY1" fmla="*/ 45 h 10735"/>
                  <a:gd name="connsiteX2" fmla="*/ 11050 w 11348"/>
                  <a:gd name="connsiteY2" fmla="*/ 45 h 10735"/>
                  <a:gd name="connsiteX3" fmla="*/ 45 w 11348"/>
                  <a:gd name="connsiteY3" fmla="*/ 10451 h 10735"/>
                  <a:gd name="connsiteX4" fmla="*/ 45 w 11348"/>
                  <a:gd name="connsiteY4" fmla="*/ 10691 h 10735"/>
                  <a:gd name="connsiteX5" fmla="*/ 284 w 11348"/>
                  <a:gd name="connsiteY5" fmla="*/ 10691 h 10735"/>
                  <a:gd name="connsiteX6" fmla="*/ 11289 w 11348"/>
                  <a:gd name="connsiteY6" fmla="*/ 284 h 10735"/>
                  <a:gd name="connsiteX7" fmla="*/ 11349 w 11348"/>
                  <a:gd name="connsiteY7" fmla="*/ 164 h 1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8" h="10735">
                    <a:moveTo>
                      <a:pt x="11349" y="164"/>
                    </a:moveTo>
                    <a:cubicBezTo>
                      <a:pt x="11349" y="105"/>
                      <a:pt x="11349" y="45"/>
                      <a:pt x="11289" y="45"/>
                    </a:cubicBezTo>
                    <a:cubicBezTo>
                      <a:pt x="11229" y="-15"/>
                      <a:pt x="11109" y="-15"/>
                      <a:pt x="11050" y="45"/>
                    </a:cubicBezTo>
                    <a:lnTo>
                      <a:pt x="45" y="10451"/>
                    </a:lnTo>
                    <a:cubicBezTo>
                      <a:pt x="-15" y="10511"/>
                      <a:pt x="-15" y="10631"/>
                      <a:pt x="45" y="10691"/>
                    </a:cubicBezTo>
                    <a:cubicBezTo>
                      <a:pt x="105" y="10750"/>
                      <a:pt x="224" y="10750"/>
                      <a:pt x="284" y="10691"/>
                    </a:cubicBezTo>
                    <a:lnTo>
                      <a:pt x="11289" y="284"/>
                    </a:lnTo>
                    <a:cubicBezTo>
                      <a:pt x="11349" y="224"/>
                      <a:pt x="11349" y="224"/>
                      <a:pt x="11349" y="16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12" name="Vrije vorm: vorm 8811">
                <a:extLst>
                  <a:ext uri="{FF2B5EF4-FFF2-40B4-BE49-F238E27FC236}">
                    <a16:creationId xmlns:a16="http://schemas.microsoft.com/office/drawing/2014/main" id="{F8547D85-2522-4361-9034-85344609D6D7}"/>
                  </a:ext>
                </a:extLst>
              </p:cNvPr>
              <p:cNvSpPr/>
              <p:nvPr/>
            </p:nvSpPr>
            <p:spPr>
              <a:xfrm>
                <a:off x="4345767" y="2449803"/>
                <a:ext cx="23170" cy="22666"/>
              </a:xfrm>
              <a:custGeom>
                <a:avLst/>
                <a:gdLst>
                  <a:gd name="connsiteX0" fmla="*/ 23051 w 23170"/>
                  <a:gd name="connsiteY0" fmla="*/ 12978 h 22666"/>
                  <a:gd name="connsiteX1" fmla="*/ 13242 w 23170"/>
                  <a:gd name="connsiteY1" fmla="*/ 14713 h 22666"/>
                  <a:gd name="connsiteX2" fmla="*/ 12644 w 23170"/>
                  <a:gd name="connsiteY2" fmla="*/ 16208 h 22666"/>
                  <a:gd name="connsiteX3" fmla="*/ 15694 w 23170"/>
                  <a:gd name="connsiteY3" fmla="*/ 18122 h 22666"/>
                  <a:gd name="connsiteX4" fmla="*/ 15754 w 23170"/>
                  <a:gd name="connsiteY4" fmla="*/ 18361 h 22666"/>
                  <a:gd name="connsiteX5" fmla="*/ 15515 w 23170"/>
                  <a:gd name="connsiteY5" fmla="*/ 18421 h 22666"/>
                  <a:gd name="connsiteX6" fmla="*/ 12465 w 23170"/>
                  <a:gd name="connsiteY6" fmla="*/ 16567 h 22666"/>
                  <a:gd name="connsiteX7" fmla="*/ 10192 w 23170"/>
                  <a:gd name="connsiteY7" fmla="*/ 22547 h 22666"/>
                  <a:gd name="connsiteX8" fmla="*/ 10013 w 23170"/>
                  <a:gd name="connsiteY8" fmla="*/ 22667 h 22666"/>
                  <a:gd name="connsiteX9" fmla="*/ 9893 w 23170"/>
                  <a:gd name="connsiteY9" fmla="*/ 22488 h 22666"/>
                  <a:gd name="connsiteX10" fmla="*/ 10013 w 23170"/>
                  <a:gd name="connsiteY10" fmla="*/ 15311 h 22666"/>
                  <a:gd name="connsiteX11" fmla="*/ 5467 w 23170"/>
                  <a:gd name="connsiteY11" fmla="*/ 16148 h 22666"/>
                  <a:gd name="connsiteX12" fmla="*/ 5408 w 23170"/>
                  <a:gd name="connsiteY12" fmla="*/ 16148 h 22666"/>
                  <a:gd name="connsiteX13" fmla="*/ 5348 w 23170"/>
                  <a:gd name="connsiteY13" fmla="*/ 16088 h 22666"/>
                  <a:gd name="connsiteX14" fmla="*/ 5348 w 23170"/>
                  <a:gd name="connsiteY14" fmla="*/ 16088 h 22666"/>
                  <a:gd name="connsiteX15" fmla="*/ 5348 w 23170"/>
                  <a:gd name="connsiteY15" fmla="*/ 16088 h 22666"/>
                  <a:gd name="connsiteX16" fmla="*/ 5348 w 23170"/>
                  <a:gd name="connsiteY16" fmla="*/ 16028 h 22666"/>
                  <a:gd name="connsiteX17" fmla="*/ 5348 w 23170"/>
                  <a:gd name="connsiteY17" fmla="*/ 16028 h 22666"/>
                  <a:gd name="connsiteX18" fmla="*/ 5348 w 23170"/>
                  <a:gd name="connsiteY18" fmla="*/ 16028 h 22666"/>
                  <a:gd name="connsiteX19" fmla="*/ 5348 w 23170"/>
                  <a:gd name="connsiteY19" fmla="*/ 16028 h 22666"/>
                  <a:gd name="connsiteX20" fmla="*/ 5348 w 23170"/>
                  <a:gd name="connsiteY20" fmla="*/ 16028 h 22666"/>
                  <a:gd name="connsiteX21" fmla="*/ 5348 w 23170"/>
                  <a:gd name="connsiteY21" fmla="*/ 15969 h 22666"/>
                  <a:gd name="connsiteX22" fmla="*/ 5228 w 23170"/>
                  <a:gd name="connsiteY22" fmla="*/ 12021 h 22666"/>
                  <a:gd name="connsiteX23" fmla="*/ 85 w 23170"/>
                  <a:gd name="connsiteY23" fmla="*/ 8852 h 22666"/>
                  <a:gd name="connsiteX24" fmla="*/ 25 w 23170"/>
                  <a:gd name="connsiteY24" fmla="*/ 8672 h 22666"/>
                  <a:gd name="connsiteX25" fmla="*/ 204 w 23170"/>
                  <a:gd name="connsiteY25" fmla="*/ 8552 h 22666"/>
                  <a:gd name="connsiteX26" fmla="*/ 5109 w 23170"/>
                  <a:gd name="connsiteY26" fmla="*/ 9449 h 22666"/>
                  <a:gd name="connsiteX27" fmla="*/ 4989 w 23170"/>
                  <a:gd name="connsiteY27" fmla="*/ 4605 h 22666"/>
                  <a:gd name="connsiteX28" fmla="*/ 5049 w 23170"/>
                  <a:gd name="connsiteY28" fmla="*/ 4486 h 22666"/>
                  <a:gd name="connsiteX29" fmla="*/ 5168 w 23170"/>
                  <a:gd name="connsiteY29" fmla="*/ 4426 h 22666"/>
                  <a:gd name="connsiteX30" fmla="*/ 8817 w 23170"/>
                  <a:gd name="connsiteY30" fmla="*/ 4904 h 22666"/>
                  <a:gd name="connsiteX31" fmla="*/ 10371 w 23170"/>
                  <a:gd name="connsiteY31" fmla="*/ 120 h 22666"/>
                  <a:gd name="connsiteX32" fmla="*/ 10551 w 23170"/>
                  <a:gd name="connsiteY32" fmla="*/ 0 h 22666"/>
                  <a:gd name="connsiteX33" fmla="*/ 10671 w 23170"/>
                  <a:gd name="connsiteY33" fmla="*/ 179 h 22666"/>
                  <a:gd name="connsiteX34" fmla="*/ 10551 w 23170"/>
                  <a:gd name="connsiteY34" fmla="*/ 5143 h 22666"/>
                  <a:gd name="connsiteX35" fmla="*/ 16412 w 23170"/>
                  <a:gd name="connsiteY35" fmla="*/ 5921 h 22666"/>
                  <a:gd name="connsiteX36" fmla="*/ 16532 w 23170"/>
                  <a:gd name="connsiteY36" fmla="*/ 5981 h 22666"/>
                  <a:gd name="connsiteX37" fmla="*/ 16532 w 23170"/>
                  <a:gd name="connsiteY37" fmla="*/ 6100 h 22666"/>
                  <a:gd name="connsiteX38" fmla="*/ 14618 w 23170"/>
                  <a:gd name="connsiteY38" fmla="*/ 11064 h 22666"/>
                  <a:gd name="connsiteX39" fmla="*/ 23051 w 23170"/>
                  <a:gd name="connsiteY39" fmla="*/ 12560 h 22666"/>
                  <a:gd name="connsiteX40" fmla="*/ 23170 w 23170"/>
                  <a:gd name="connsiteY40" fmla="*/ 12739 h 22666"/>
                  <a:gd name="connsiteX41" fmla="*/ 23170 w 23170"/>
                  <a:gd name="connsiteY41" fmla="*/ 12739 h 22666"/>
                  <a:gd name="connsiteX42" fmla="*/ 23051 w 23170"/>
                  <a:gd name="connsiteY42" fmla="*/ 12978 h 22666"/>
                  <a:gd name="connsiteX43" fmla="*/ 13362 w 23170"/>
                  <a:gd name="connsiteY43" fmla="*/ 14354 h 22666"/>
                  <a:gd name="connsiteX44" fmla="*/ 22094 w 23170"/>
                  <a:gd name="connsiteY44" fmla="*/ 12799 h 22666"/>
                  <a:gd name="connsiteX45" fmla="*/ 14498 w 23170"/>
                  <a:gd name="connsiteY45" fmla="*/ 11423 h 22666"/>
                  <a:gd name="connsiteX46" fmla="*/ 13362 w 23170"/>
                  <a:gd name="connsiteY46" fmla="*/ 14354 h 22666"/>
                  <a:gd name="connsiteX47" fmla="*/ 10431 w 23170"/>
                  <a:gd name="connsiteY47" fmla="*/ 10406 h 22666"/>
                  <a:gd name="connsiteX48" fmla="*/ 14259 w 23170"/>
                  <a:gd name="connsiteY48" fmla="*/ 11124 h 22666"/>
                  <a:gd name="connsiteX49" fmla="*/ 16113 w 23170"/>
                  <a:gd name="connsiteY49" fmla="*/ 6280 h 22666"/>
                  <a:gd name="connsiteX50" fmla="*/ 10491 w 23170"/>
                  <a:gd name="connsiteY50" fmla="*/ 5502 h 22666"/>
                  <a:gd name="connsiteX51" fmla="*/ 10431 w 23170"/>
                  <a:gd name="connsiteY51" fmla="*/ 10406 h 22666"/>
                  <a:gd name="connsiteX52" fmla="*/ 10371 w 23170"/>
                  <a:gd name="connsiteY52" fmla="*/ 14832 h 22666"/>
                  <a:gd name="connsiteX53" fmla="*/ 10431 w 23170"/>
                  <a:gd name="connsiteY53" fmla="*/ 14892 h 22666"/>
                  <a:gd name="connsiteX54" fmla="*/ 12943 w 23170"/>
                  <a:gd name="connsiteY54" fmla="*/ 14414 h 22666"/>
                  <a:gd name="connsiteX55" fmla="*/ 14139 w 23170"/>
                  <a:gd name="connsiteY55" fmla="*/ 11363 h 22666"/>
                  <a:gd name="connsiteX56" fmla="*/ 10431 w 23170"/>
                  <a:gd name="connsiteY56" fmla="*/ 10706 h 22666"/>
                  <a:gd name="connsiteX57" fmla="*/ 10371 w 23170"/>
                  <a:gd name="connsiteY57" fmla="*/ 14832 h 22666"/>
                  <a:gd name="connsiteX58" fmla="*/ 12345 w 23170"/>
                  <a:gd name="connsiteY58" fmla="*/ 16088 h 22666"/>
                  <a:gd name="connsiteX59" fmla="*/ 12824 w 23170"/>
                  <a:gd name="connsiteY59" fmla="*/ 14832 h 22666"/>
                  <a:gd name="connsiteX60" fmla="*/ 10850 w 23170"/>
                  <a:gd name="connsiteY60" fmla="*/ 15191 h 22666"/>
                  <a:gd name="connsiteX61" fmla="*/ 12345 w 23170"/>
                  <a:gd name="connsiteY61" fmla="*/ 16088 h 22666"/>
                  <a:gd name="connsiteX62" fmla="*/ 10371 w 23170"/>
                  <a:gd name="connsiteY62" fmla="*/ 15251 h 22666"/>
                  <a:gd name="connsiteX63" fmla="*/ 10252 w 23170"/>
                  <a:gd name="connsiteY63" fmla="*/ 21590 h 22666"/>
                  <a:gd name="connsiteX64" fmla="*/ 12225 w 23170"/>
                  <a:gd name="connsiteY64" fmla="*/ 16387 h 22666"/>
                  <a:gd name="connsiteX65" fmla="*/ 10371 w 23170"/>
                  <a:gd name="connsiteY65" fmla="*/ 15251 h 22666"/>
                  <a:gd name="connsiteX66" fmla="*/ 10371 w 23170"/>
                  <a:gd name="connsiteY66" fmla="*/ 15251 h 22666"/>
                  <a:gd name="connsiteX67" fmla="*/ 7441 w 23170"/>
                  <a:gd name="connsiteY67" fmla="*/ 10167 h 22666"/>
                  <a:gd name="connsiteX68" fmla="*/ 6663 w 23170"/>
                  <a:gd name="connsiteY68" fmla="*/ 12560 h 22666"/>
                  <a:gd name="connsiteX69" fmla="*/ 10013 w 23170"/>
                  <a:gd name="connsiteY69" fmla="*/ 14653 h 22666"/>
                  <a:gd name="connsiteX70" fmla="*/ 10072 w 23170"/>
                  <a:gd name="connsiteY70" fmla="*/ 10646 h 22666"/>
                  <a:gd name="connsiteX71" fmla="*/ 7441 w 23170"/>
                  <a:gd name="connsiteY71" fmla="*/ 10167 h 22666"/>
                  <a:gd name="connsiteX72" fmla="*/ 5707 w 23170"/>
                  <a:gd name="connsiteY72" fmla="*/ 15729 h 22666"/>
                  <a:gd name="connsiteX73" fmla="*/ 10013 w 23170"/>
                  <a:gd name="connsiteY73" fmla="*/ 14952 h 22666"/>
                  <a:gd name="connsiteX74" fmla="*/ 6604 w 23170"/>
                  <a:gd name="connsiteY74" fmla="*/ 12859 h 22666"/>
                  <a:gd name="connsiteX75" fmla="*/ 5707 w 23170"/>
                  <a:gd name="connsiteY75" fmla="*/ 15729 h 22666"/>
                  <a:gd name="connsiteX76" fmla="*/ 9056 w 23170"/>
                  <a:gd name="connsiteY76" fmla="*/ 5263 h 22666"/>
                  <a:gd name="connsiteX77" fmla="*/ 7561 w 23170"/>
                  <a:gd name="connsiteY77" fmla="*/ 9868 h 22666"/>
                  <a:gd name="connsiteX78" fmla="*/ 10132 w 23170"/>
                  <a:gd name="connsiteY78" fmla="*/ 10347 h 22666"/>
                  <a:gd name="connsiteX79" fmla="*/ 10252 w 23170"/>
                  <a:gd name="connsiteY79" fmla="*/ 5442 h 22666"/>
                  <a:gd name="connsiteX80" fmla="*/ 9056 w 23170"/>
                  <a:gd name="connsiteY80" fmla="*/ 5263 h 22666"/>
                  <a:gd name="connsiteX81" fmla="*/ 9116 w 23170"/>
                  <a:gd name="connsiteY81" fmla="*/ 4964 h 22666"/>
                  <a:gd name="connsiteX82" fmla="*/ 10192 w 23170"/>
                  <a:gd name="connsiteY82" fmla="*/ 5084 h 22666"/>
                  <a:gd name="connsiteX83" fmla="*/ 10252 w 23170"/>
                  <a:gd name="connsiteY83" fmla="*/ 1256 h 22666"/>
                  <a:gd name="connsiteX84" fmla="*/ 9116 w 23170"/>
                  <a:gd name="connsiteY84" fmla="*/ 4964 h 22666"/>
                  <a:gd name="connsiteX85" fmla="*/ 5408 w 23170"/>
                  <a:gd name="connsiteY85" fmla="*/ 9509 h 22666"/>
                  <a:gd name="connsiteX86" fmla="*/ 7202 w 23170"/>
                  <a:gd name="connsiteY86" fmla="*/ 9808 h 22666"/>
                  <a:gd name="connsiteX87" fmla="*/ 8637 w 23170"/>
                  <a:gd name="connsiteY87" fmla="*/ 5203 h 22666"/>
                  <a:gd name="connsiteX88" fmla="*/ 5228 w 23170"/>
                  <a:gd name="connsiteY88" fmla="*/ 4725 h 22666"/>
                  <a:gd name="connsiteX89" fmla="*/ 5408 w 23170"/>
                  <a:gd name="connsiteY89" fmla="*/ 9509 h 22666"/>
                  <a:gd name="connsiteX90" fmla="*/ 5527 w 23170"/>
                  <a:gd name="connsiteY90" fmla="*/ 11842 h 22666"/>
                  <a:gd name="connsiteX91" fmla="*/ 6424 w 23170"/>
                  <a:gd name="connsiteY91" fmla="*/ 12440 h 22666"/>
                  <a:gd name="connsiteX92" fmla="*/ 7142 w 23170"/>
                  <a:gd name="connsiteY92" fmla="*/ 10167 h 22666"/>
                  <a:gd name="connsiteX93" fmla="*/ 5467 w 23170"/>
                  <a:gd name="connsiteY93" fmla="*/ 9868 h 22666"/>
                  <a:gd name="connsiteX94" fmla="*/ 5527 w 23170"/>
                  <a:gd name="connsiteY94" fmla="*/ 11842 h 22666"/>
                  <a:gd name="connsiteX95" fmla="*/ 5587 w 23170"/>
                  <a:gd name="connsiteY95" fmla="*/ 15012 h 22666"/>
                  <a:gd name="connsiteX96" fmla="*/ 6304 w 23170"/>
                  <a:gd name="connsiteY96" fmla="*/ 12739 h 22666"/>
                  <a:gd name="connsiteX97" fmla="*/ 5527 w 23170"/>
                  <a:gd name="connsiteY97" fmla="*/ 12260 h 22666"/>
                  <a:gd name="connsiteX98" fmla="*/ 5587 w 23170"/>
                  <a:gd name="connsiteY98" fmla="*/ 15012 h 22666"/>
                  <a:gd name="connsiteX99" fmla="*/ 982 w 23170"/>
                  <a:gd name="connsiteY99" fmla="*/ 9031 h 22666"/>
                  <a:gd name="connsiteX100" fmla="*/ 5228 w 23170"/>
                  <a:gd name="connsiteY100" fmla="*/ 11662 h 22666"/>
                  <a:gd name="connsiteX101" fmla="*/ 5168 w 23170"/>
                  <a:gd name="connsiteY101" fmla="*/ 9808 h 22666"/>
                  <a:gd name="connsiteX102" fmla="*/ 982 w 23170"/>
                  <a:gd name="connsiteY102" fmla="*/ 9031 h 2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3170" h="22666">
                    <a:moveTo>
                      <a:pt x="23051" y="12978"/>
                    </a:moveTo>
                    <a:lnTo>
                      <a:pt x="13242" y="14713"/>
                    </a:lnTo>
                    <a:lnTo>
                      <a:pt x="12644" y="16208"/>
                    </a:lnTo>
                    <a:lnTo>
                      <a:pt x="15694" y="18122"/>
                    </a:lnTo>
                    <a:cubicBezTo>
                      <a:pt x="15754" y="18181"/>
                      <a:pt x="15814" y="18241"/>
                      <a:pt x="15754" y="18361"/>
                    </a:cubicBezTo>
                    <a:cubicBezTo>
                      <a:pt x="15694" y="18421"/>
                      <a:pt x="15634" y="18480"/>
                      <a:pt x="15515" y="18421"/>
                    </a:cubicBezTo>
                    <a:lnTo>
                      <a:pt x="12465" y="16567"/>
                    </a:lnTo>
                    <a:lnTo>
                      <a:pt x="10192" y="22547"/>
                    </a:lnTo>
                    <a:cubicBezTo>
                      <a:pt x="10192" y="22607"/>
                      <a:pt x="10072" y="22667"/>
                      <a:pt x="10013" y="22667"/>
                    </a:cubicBezTo>
                    <a:cubicBezTo>
                      <a:pt x="9953" y="22667"/>
                      <a:pt x="9893" y="22607"/>
                      <a:pt x="9893" y="22488"/>
                    </a:cubicBezTo>
                    <a:lnTo>
                      <a:pt x="10013" y="15311"/>
                    </a:lnTo>
                    <a:lnTo>
                      <a:pt x="5467" y="16148"/>
                    </a:lnTo>
                    <a:cubicBezTo>
                      <a:pt x="5467" y="16148"/>
                      <a:pt x="5408" y="16148"/>
                      <a:pt x="5408" y="16148"/>
                    </a:cubicBezTo>
                    <a:cubicBezTo>
                      <a:pt x="5348" y="16148"/>
                      <a:pt x="5348" y="16148"/>
                      <a:pt x="5348" y="16088"/>
                    </a:cubicBezTo>
                    <a:lnTo>
                      <a:pt x="5348" y="16088"/>
                    </a:lnTo>
                    <a:lnTo>
                      <a:pt x="5348" y="16088"/>
                    </a:lnTo>
                    <a:cubicBezTo>
                      <a:pt x="5348" y="16088"/>
                      <a:pt x="5348" y="16088"/>
                      <a:pt x="5348" y="16028"/>
                    </a:cubicBezTo>
                    <a:lnTo>
                      <a:pt x="5348" y="16028"/>
                    </a:lnTo>
                    <a:cubicBezTo>
                      <a:pt x="5348" y="16028"/>
                      <a:pt x="5348" y="16028"/>
                      <a:pt x="5348" y="16028"/>
                    </a:cubicBezTo>
                    <a:lnTo>
                      <a:pt x="5348" y="16028"/>
                    </a:lnTo>
                    <a:lnTo>
                      <a:pt x="5348" y="16028"/>
                    </a:lnTo>
                    <a:cubicBezTo>
                      <a:pt x="5348" y="16028"/>
                      <a:pt x="5348" y="15969"/>
                      <a:pt x="5348" y="15969"/>
                    </a:cubicBezTo>
                    <a:lnTo>
                      <a:pt x="5228" y="12021"/>
                    </a:lnTo>
                    <a:lnTo>
                      <a:pt x="85" y="8852"/>
                    </a:lnTo>
                    <a:cubicBezTo>
                      <a:pt x="25" y="8792"/>
                      <a:pt x="-35" y="8732"/>
                      <a:pt x="25" y="8672"/>
                    </a:cubicBezTo>
                    <a:cubicBezTo>
                      <a:pt x="25" y="8612"/>
                      <a:pt x="145" y="8552"/>
                      <a:pt x="204" y="8552"/>
                    </a:cubicBezTo>
                    <a:lnTo>
                      <a:pt x="5109" y="9449"/>
                    </a:lnTo>
                    <a:lnTo>
                      <a:pt x="4989" y="4605"/>
                    </a:lnTo>
                    <a:cubicBezTo>
                      <a:pt x="4989" y="4545"/>
                      <a:pt x="4989" y="4486"/>
                      <a:pt x="5049" y="4486"/>
                    </a:cubicBezTo>
                    <a:cubicBezTo>
                      <a:pt x="5109" y="4426"/>
                      <a:pt x="5109" y="4426"/>
                      <a:pt x="5168" y="4426"/>
                    </a:cubicBezTo>
                    <a:lnTo>
                      <a:pt x="8817" y="4904"/>
                    </a:lnTo>
                    <a:lnTo>
                      <a:pt x="10371" y="120"/>
                    </a:lnTo>
                    <a:cubicBezTo>
                      <a:pt x="10371" y="60"/>
                      <a:pt x="10491" y="0"/>
                      <a:pt x="10551" y="0"/>
                    </a:cubicBezTo>
                    <a:cubicBezTo>
                      <a:pt x="10611" y="0"/>
                      <a:pt x="10671" y="60"/>
                      <a:pt x="10671" y="179"/>
                    </a:cubicBezTo>
                    <a:lnTo>
                      <a:pt x="10551" y="5143"/>
                    </a:lnTo>
                    <a:lnTo>
                      <a:pt x="16412" y="5921"/>
                    </a:lnTo>
                    <a:cubicBezTo>
                      <a:pt x="16472" y="5921"/>
                      <a:pt x="16532" y="5981"/>
                      <a:pt x="16532" y="5981"/>
                    </a:cubicBezTo>
                    <a:cubicBezTo>
                      <a:pt x="16532" y="6041"/>
                      <a:pt x="16532" y="6100"/>
                      <a:pt x="16532" y="6100"/>
                    </a:cubicBezTo>
                    <a:lnTo>
                      <a:pt x="14618" y="11064"/>
                    </a:lnTo>
                    <a:lnTo>
                      <a:pt x="23051" y="12560"/>
                    </a:lnTo>
                    <a:cubicBezTo>
                      <a:pt x="23110" y="12560"/>
                      <a:pt x="23170" y="12619"/>
                      <a:pt x="23170" y="12739"/>
                    </a:cubicBezTo>
                    <a:cubicBezTo>
                      <a:pt x="23170" y="12739"/>
                      <a:pt x="23170" y="12739"/>
                      <a:pt x="23170" y="12739"/>
                    </a:cubicBezTo>
                    <a:cubicBezTo>
                      <a:pt x="23170" y="12918"/>
                      <a:pt x="23110" y="12978"/>
                      <a:pt x="23051" y="12978"/>
                    </a:cubicBezTo>
                    <a:close/>
                    <a:moveTo>
                      <a:pt x="13362" y="14354"/>
                    </a:moveTo>
                    <a:lnTo>
                      <a:pt x="22094" y="12799"/>
                    </a:lnTo>
                    <a:lnTo>
                      <a:pt x="14498" y="11423"/>
                    </a:lnTo>
                    <a:lnTo>
                      <a:pt x="13362" y="14354"/>
                    </a:lnTo>
                    <a:close/>
                    <a:moveTo>
                      <a:pt x="10431" y="10406"/>
                    </a:moveTo>
                    <a:lnTo>
                      <a:pt x="14259" y="11124"/>
                    </a:lnTo>
                    <a:lnTo>
                      <a:pt x="16113" y="6280"/>
                    </a:lnTo>
                    <a:lnTo>
                      <a:pt x="10491" y="5502"/>
                    </a:lnTo>
                    <a:lnTo>
                      <a:pt x="10431" y="10406"/>
                    </a:lnTo>
                    <a:close/>
                    <a:moveTo>
                      <a:pt x="10371" y="14832"/>
                    </a:moveTo>
                    <a:lnTo>
                      <a:pt x="10431" y="14892"/>
                    </a:lnTo>
                    <a:lnTo>
                      <a:pt x="12943" y="14414"/>
                    </a:lnTo>
                    <a:lnTo>
                      <a:pt x="14139" y="11363"/>
                    </a:lnTo>
                    <a:lnTo>
                      <a:pt x="10431" y="10706"/>
                    </a:lnTo>
                    <a:lnTo>
                      <a:pt x="10371" y="14832"/>
                    </a:lnTo>
                    <a:close/>
                    <a:moveTo>
                      <a:pt x="12345" y="16088"/>
                    </a:moveTo>
                    <a:lnTo>
                      <a:pt x="12824" y="14832"/>
                    </a:lnTo>
                    <a:lnTo>
                      <a:pt x="10850" y="15191"/>
                    </a:lnTo>
                    <a:lnTo>
                      <a:pt x="12345" y="16088"/>
                    </a:lnTo>
                    <a:close/>
                    <a:moveTo>
                      <a:pt x="10371" y="15251"/>
                    </a:moveTo>
                    <a:lnTo>
                      <a:pt x="10252" y="21590"/>
                    </a:lnTo>
                    <a:lnTo>
                      <a:pt x="12225" y="16387"/>
                    </a:lnTo>
                    <a:lnTo>
                      <a:pt x="10371" y="15251"/>
                    </a:lnTo>
                    <a:lnTo>
                      <a:pt x="10371" y="15251"/>
                    </a:lnTo>
                    <a:close/>
                    <a:moveTo>
                      <a:pt x="7441" y="10167"/>
                    </a:moveTo>
                    <a:lnTo>
                      <a:pt x="6663" y="12560"/>
                    </a:lnTo>
                    <a:lnTo>
                      <a:pt x="10013" y="14653"/>
                    </a:lnTo>
                    <a:lnTo>
                      <a:pt x="10072" y="10646"/>
                    </a:lnTo>
                    <a:lnTo>
                      <a:pt x="7441" y="10167"/>
                    </a:lnTo>
                    <a:close/>
                    <a:moveTo>
                      <a:pt x="5707" y="15729"/>
                    </a:moveTo>
                    <a:lnTo>
                      <a:pt x="10013" y="14952"/>
                    </a:lnTo>
                    <a:lnTo>
                      <a:pt x="6604" y="12859"/>
                    </a:lnTo>
                    <a:lnTo>
                      <a:pt x="5707" y="15729"/>
                    </a:lnTo>
                    <a:close/>
                    <a:moveTo>
                      <a:pt x="9056" y="5263"/>
                    </a:moveTo>
                    <a:lnTo>
                      <a:pt x="7561" y="9868"/>
                    </a:lnTo>
                    <a:lnTo>
                      <a:pt x="10132" y="10347"/>
                    </a:lnTo>
                    <a:lnTo>
                      <a:pt x="10252" y="5442"/>
                    </a:lnTo>
                    <a:lnTo>
                      <a:pt x="9056" y="5263"/>
                    </a:lnTo>
                    <a:close/>
                    <a:moveTo>
                      <a:pt x="9116" y="4964"/>
                    </a:moveTo>
                    <a:lnTo>
                      <a:pt x="10192" y="5084"/>
                    </a:lnTo>
                    <a:lnTo>
                      <a:pt x="10252" y="1256"/>
                    </a:lnTo>
                    <a:lnTo>
                      <a:pt x="9116" y="4964"/>
                    </a:lnTo>
                    <a:close/>
                    <a:moveTo>
                      <a:pt x="5408" y="9509"/>
                    </a:moveTo>
                    <a:lnTo>
                      <a:pt x="7202" y="9808"/>
                    </a:lnTo>
                    <a:lnTo>
                      <a:pt x="8637" y="5203"/>
                    </a:lnTo>
                    <a:lnTo>
                      <a:pt x="5228" y="4725"/>
                    </a:lnTo>
                    <a:lnTo>
                      <a:pt x="5408" y="9509"/>
                    </a:lnTo>
                    <a:close/>
                    <a:moveTo>
                      <a:pt x="5527" y="11842"/>
                    </a:moveTo>
                    <a:lnTo>
                      <a:pt x="6424" y="12440"/>
                    </a:lnTo>
                    <a:lnTo>
                      <a:pt x="7142" y="10167"/>
                    </a:lnTo>
                    <a:lnTo>
                      <a:pt x="5467" y="9868"/>
                    </a:lnTo>
                    <a:lnTo>
                      <a:pt x="5527" y="11842"/>
                    </a:lnTo>
                    <a:close/>
                    <a:moveTo>
                      <a:pt x="5587" y="15012"/>
                    </a:moveTo>
                    <a:lnTo>
                      <a:pt x="6304" y="12739"/>
                    </a:lnTo>
                    <a:lnTo>
                      <a:pt x="5527" y="12260"/>
                    </a:lnTo>
                    <a:lnTo>
                      <a:pt x="5587" y="15012"/>
                    </a:lnTo>
                    <a:close/>
                    <a:moveTo>
                      <a:pt x="982" y="9031"/>
                    </a:moveTo>
                    <a:lnTo>
                      <a:pt x="5228" y="11662"/>
                    </a:lnTo>
                    <a:lnTo>
                      <a:pt x="5168" y="9808"/>
                    </a:lnTo>
                    <a:lnTo>
                      <a:pt x="982" y="9031"/>
                    </a:lnTo>
                    <a:close/>
                  </a:path>
                </a:pathLst>
              </a:custGeom>
              <a:grpFill/>
              <a:ln w="6350" cap="flat">
                <a:solidFill>
                  <a:schemeClr val="bg1">
                    <a:alpha val="80000"/>
                  </a:schemeClr>
                </a:solidFill>
                <a:prstDash val="solid"/>
                <a:miter/>
              </a:ln>
            </p:spPr>
            <p:txBody>
              <a:bodyPr rtlCol="0" anchor="ctr"/>
              <a:lstStyle/>
              <a:p>
                <a:endParaRPr lang="en-GB"/>
              </a:p>
            </p:txBody>
          </p:sp>
          <p:sp>
            <p:nvSpPr>
              <p:cNvPr id="8813" name="Vrije vorm: vorm 8812">
                <a:extLst>
                  <a:ext uri="{FF2B5EF4-FFF2-40B4-BE49-F238E27FC236}">
                    <a16:creationId xmlns:a16="http://schemas.microsoft.com/office/drawing/2014/main" id="{79DE8D21-BE33-40D8-AB58-EB62F2D49C76}"/>
                  </a:ext>
                </a:extLst>
              </p:cNvPr>
              <p:cNvSpPr/>
              <p:nvPr/>
            </p:nvSpPr>
            <p:spPr>
              <a:xfrm>
                <a:off x="4350995" y="2449803"/>
                <a:ext cx="10585" cy="18420"/>
              </a:xfrm>
              <a:custGeom>
                <a:avLst/>
                <a:gdLst>
                  <a:gd name="connsiteX0" fmla="*/ 10586 w 10585"/>
                  <a:gd name="connsiteY0" fmla="*/ 18301 h 18420"/>
                  <a:gd name="connsiteX1" fmla="*/ 10586 w 10585"/>
                  <a:gd name="connsiteY1" fmla="*/ 18241 h 18420"/>
                  <a:gd name="connsiteX2" fmla="*/ 5443 w 10585"/>
                  <a:gd name="connsiteY2" fmla="*/ 120 h 18420"/>
                  <a:gd name="connsiteX3" fmla="*/ 5263 w 10585"/>
                  <a:gd name="connsiteY3" fmla="*/ 0 h 18420"/>
                  <a:gd name="connsiteX4" fmla="*/ 5143 w 10585"/>
                  <a:gd name="connsiteY4" fmla="*/ 179 h 18420"/>
                  <a:gd name="connsiteX5" fmla="*/ 10227 w 10585"/>
                  <a:gd name="connsiteY5" fmla="*/ 18062 h 18420"/>
                  <a:gd name="connsiteX6" fmla="*/ 180 w 10585"/>
                  <a:gd name="connsiteY6" fmla="*/ 16327 h 18420"/>
                  <a:gd name="connsiteX7" fmla="*/ 0 w 10585"/>
                  <a:gd name="connsiteY7" fmla="*/ 16447 h 18420"/>
                  <a:gd name="connsiteX8" fmla="*/ 0 w 10585"/>
                  <a:gd name="connsiteY8" fmla="*/ 16447 h 18420"/>
                  <a:gd name="connsiteX9" fmla="*/ 120 w 10585"/>
                  <a:gd name="connsiteY9" fmla="*/ 16626 h 18420"/>
                  <a:gd name="connsiteX10" fmla="*/ 10406 w 10585"/>
                  <a:gd name="connsiteY10" fmla="*/ 18421 h 18420"/>
                  <a:gd name="connsiteX11" fmla="*/ 10526 w 10585"/>
                  <a:gd name="connsiteY11" fmla="*/ 18361 h 18420"/>
                  <a:gd name="connsiteX12" fmla="*/ 10586 w 10585"/>
                  <a:gd name="connsiteY12" fmla="*/ 18301 h 1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85" h="18420">
                    <a:moveTo>
                      <a:pt x="10586" y="18301"/>
                    </a:moveTo>
                    <a:cubicBezTo>
                      <a:pt x="10586" y="18301"/>
                      <a:pt x="10586" y="18241"/>
                      <a:pt x="10586" y="18241"/>
                    </a:cubicBezTo>
                    <a:lnTo>
                      <a:pt x="5443" y="120"/>
                    </a:lnTo>
                    <a:cubicBezTo>
                      <a:pt x="5443" y="60"/>
                      <a:pt x="5323" y="0"/>
                      <a:pt x="5263" y="0"/>
                    </a:cubicBezTo>
                    <a:cubicBezTo>
                      <a:pt x="5203" y="0"/>
                      <a:pt x="5143" y="120"/>
                      <a:pt x="5143" y="179"/>
                    </a:cubicBezTo>
                    <a:lnTo>
                      <a:pt x="10227" y="18062"/>
                    </a:lnTo>
                    <a:lnTo>
                      <a:pt x="180" y="16327"/>
                    </a:lnTo>
                    <a:cubicBezTo>
                      <a:pt x="120" y="16327"/>
                      <a:pt x="0" y="16387"/>
                      <a:pt x="0" y="16447"/>
                    </a:cubicBezTo>
                    <a:cubicBezTo>
                      <a:pt x="0" y="16447"/>
                      <a:pt x="0" y="16447"/>
                      <a:pt x="0" y="16447"/>
                    </a:cubicBezTo>
                    <a:cubicBezTo>
                      <a:pt x="0" y="16507"/>
                      <a:pt x="60" y="16626"/>
                      <a:pt x="120" y="16626"/>
                    </a:cubicBezTo>
                    <a:lnTo>
                      <a:pt x="10406" y="18421"/>
                    </a:lnTo>
                    <a:cubicBezTo>
                      <a:pt x="10466" y="18421"/>
                      <a:pt x="10526" y="18421"/>
                      <a:pt x="10526" y="18361"/>
                    </a:cubicBezTo>
                    <a:cubicBezTo>
                      <a:pt x="10526" y="18361"/>
                      <a:pt x="10526" y="18361"/>
                      <a:pt x="10586" y="1830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14" name="Vrije vorm: vorm 8813">
                <a:extLst>
                  <a:ext uri="{FF2B5EF4-FFF2-40B4-BE49-F238E27FC236}">
                    <a16:creationId xmlns:a16="http://schemas.microsoft.com/office/drawing/2014/main" id="{B821C67C-BB53-40D2-8BD1-E685401A9A96}"/>
                  </a:ext>
                </a:extLst>
              </p:cNvPr>
              <p:cNvSpPr/>
              <p:nvPr/>
            </p:nvSpPr>
            <p:spPr>
              <a:xfrm>
                <a:off x="4382513" y="2505185"/>
                <a:ext cx="15430" cy="42881"/>
              </a:xfrm>
              <a:custGeom>
                <a:avLst/>
                <a:gdLst>
                  <a:gd name="connsiteX0" fmla="*/ 15430 w 15430"/>
                  <a:gd name="connsiteY0" fmla="*/ 42762 h 42881"/>
                  <a:gd name="connsiteX1" fmla="*/ 15430 w 15430"/>
                  <a:gd name="connsiteY1" fmla="*/ 42702 h 42881"/>
                  <a:gd name="connsiteX2" fmla="*/ 299 w 15430"/>
                  <a:gd name="connsiteY2" fmla="*/ 120 h 42881"/>
                  <a:gd name="connsiteX3" fmla="*/ 120 w 15430"/>
                  <a:gd name="connsiteY3" fmla="*/ 0 h 42881"/>
                  <a:gd name="connsiteX4" fmla="*/ 0 w 15430"/>
                  <a:gd name="connsiteY4" fmla="*/ 179 h 42881"/>
                  <a:gd name="connsiteX5" fmla="*/ 15131 w 15430"/>
                  <a:gd name="connsiteY5" fmla="*/ 42762 h 42881"/>
                  <a:gd name="connsiteX6" fmla="*/ 15311 w 15430"/>
                  <a:gd name="connsiteY6" fmla="*/ 42882 h 42881"/>
                  <a:gd name="connsiteX7" fmla="*/ 15430 w 15430"/>
                  <a:gd name="connsiteY7" fmla="*/ 42762 h 4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30" h="42881">
                    <a:moveTo>
                      <a:pt x="15430" y="42762"/>
                    </a:moveTo>
                    <a:cubicBezTo>
                      <a:pt x="15430" y="42762"/>
                      <a:pt x="15430" y="42702"/>
                      <a:pt x="15430" y="42702"/>
                    </a:cubicBezTo>
                    <a:lnTo>
                      <a:pt x="299" y="120"/>
                    </a:lnTo>
                    <a:cubicBezTo>
                      <a:pt x="239" y="60"/>
                      <a:pt x="179" y="0"/>
                      <a:pt x="120" y="0"/>
                    </a:cubicBezTo>
                    <a:cubicBezTo>
                      <a:pt x="60" y="0"/>
                      <a:pt x="0" y="120"/>
                      <a:pt x="0" y="179"/>
                    </a:cubicBezTo>
                    <a:lnTo>
                      <a:pt x="15131" y="42762"/>
                    </a:lnTo>
                    <a:cubicBezTo>
                      <a:pt x="15131" y="42822"/>
                      <a:pt x="15251" y="42882"/>
                      <a:pt x="15311" y="42882"/>
                    </a:cubicBezTo>
                    <a:cubicBezTo>
                      <a:pt x="15430" y="42882"/>
                      <a:pt x="15430" y="42822"/>
                      <a:pt x="15430" y="4276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15" name="Vrije vorm: vorm 8814">
                <a:extLst>
                  <a:ext uri="{FF2B5EF4-FFF2-40B4-BE49-F238E27FC236}">
                    <a16:creationId xmlns:a16="http://schemas.microsoft.com/office/drawing/2014/main" id="{B0000AE3-4A49-4FB9-8C77-15F569B35934}"/>
                  </a:ext>
                </a:extLst>
              </p:cNvPr>
              <p:cNvSpPr/>
              <p:nvPr/>
            </p:nvSpPr>
            <p:spPr>
              <a:xfrm>
                <a:off x="4373063" y="2503451"/>
                <a:ext cx="9808" cy="2033"/>
              </a:xfrm>
              <a:custGeom>
                <a:avLst/>
                <a:gdLst>
                  <a:gd name="connsiteX0" fmla="*/ 9808 w 9808"/>
                  <a:gd name="connsiteY0" fmla="*/ 1914 h 2033"/>
                  <a:gd name="connsiteX1" fmla="*/ 9689 w 9808"/>
                  <a:gd name="connsiteY1" fmla="*/ 1734 h 2033"/>
                  <a:gd name="connsiteX2" fmla="*/ 180 w 9808"/>
                  <a:gd name="connsiteY2" fmla="*/ 0 h 2033"/>
                  <a:gd name="connsiteX3" fmla="*/ 0 w 9808"/>
                  <a:gd name="connsiteY3" fmla="*/ 120 h 2033"/>
                  <a:gd name="connsiteX4" fmla="*/ 120 w 9808"/>
                  <a:gd name="connsiteY4" fmla="*/ 299 h 2033"/>
                  <a:gd name="connsiteX5" fmla="*/ 9629 w 9808"/>
                  <a:gd name="connsiteY5" fmla="*/ 2033 h 2033"/>
                  <a:gd name="connsiteX6" fmla="*/ 9808 w 9808"/>
                  <a:gd name="connsiteY6" fmla="*/ 1914 h 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 h="2033">
                    <a:moveTo>
                      <a:pt x="9808" y="1914"/>
                    </a:moveTo>
                    <a:cubicBezTo>
                      <a:pt x="9808" y="1854"/>
                      <a:pt x="9749" y="1734"/>
                      <a:pt x="9689" y="1734"/>
                    </a:cubicBezTo>
                    <a:lnTo>
                      <a:pt x="180" y="0"/>
                    </a:lnTo>
                    <a:cubicBezTo>
                      <a:pt x="120" y="0"/>
                      <a:pt x="0" y="60"/>
                      <a:pt x="0" y="120"/>
                    </a:cubicBezTo>
                    <a:cubicBezTo>
                      <a:pt x="0" y="179"/>
                      <a:pt x="60" y="299"/>
                      <a:pt x="120" y="299"/>
                    </a:cubicBezTo>
                    <a:lnTo>
                      <a:pt x="9629" y="2033"/>
                    </a:lnTo>
                    <a:cubicBezTo>
                      <a:pt x="9689" y="2033"/>
                      <a:pt x="9749" y="1974"/>
                      <a:pt x="9808" y="191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16" name="Vrije vorm: vorm 8815">
                <a:extLst>
                  <a:ext uri="{FF2B5EF4-FFF2-40B4-BE49-F238E27FC236}">
                    <a16:creationId xmlns:a16="http://schemas.microsoft.com/office/drawing/2014/main" id="{3522B7CF-5600-46CA-A7A3-E09AD0D4EF6A}"/>
                  </a:ext>
                </a:extLst>
              </p:cNvPr>
              <p:cNvSpPr/>
              <p:nvPr/>
            </p:nvSpPr>
            <p:spPr>
              <a:xfrm>
                <a:off x="4384344" y="2523845"/>
                <a:ext cx="10190" cy="3671"/>
              </a:xfrm>
              <a:custGeom>
                <a:avLst/>
                <a:gdLst>
                  <a:gd name="connsiteX0" fmla="*/ 10191 w 10190"/>
                  <a:gd name="connsiteY0" fmla="*/ 3529 h 3671"/>
                  <a:gd name="connsiteX1" fmla="*/ 10071 w 10190"/>
                  <a:gd name="connsiteY1" fmla="*/ 3349 h 3671"/>
                  <a:gd name="connsiteX2" fmla="*/ 203 w 10190"/>
                  <a:gd name="connsiteY2" fmla="*/ 0 h 3671"/>
                  <a:gd name="connsiteX3" fmla="*/ 23 w 10190"/>
                  <a:gd name="connsiteY3" fmla="*/ 120 h 3671"/>
                  <a:gd name="connsiteX4" fmla="*/ 143 w 10190"/>
                  <a:gd name="connsiteY4" fmla="*/ 299 h 3671"/>
                  <a:gd name="connsiteX5" fmla="*/ 10011 w 10190"/>
                  <a:gd name="connsiteY5" fmla="*/ 3648 h 3671"/>
                  <a:gd name="connsiteX6" fmla="*/ 10191 w 10190"/>
                  <a:gd name="connsiteY6" fmla="*/ 3529 h 3671"/>
                  <a:gd name="connsiteX7" fmla="*/ 10191 w 10190"/>
                  <a:gd name="connsiteY7" fmla="*/ 3529 h 3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90" h="3671">
                    <a:moveTo>
                      <a:pt x="10191" y="3529"/>
                    </a:moveTo>
                    <a:cubicBezTo>
                      <a:pt x="10191" y="3469"/>
                      <a:pt x="10191" y="3349"/>
                      <a:pt x="10071" y="3349"/>
                    </a:cubicBezTo>
                    <a:lnTo>
                      <a:pt x="203" y="0"/>
                    </a:lnTo>
                    <a:cubicBezTo>
                      <a:pt x="143" y="0"/>
                      <a:pt x="23" y="0"/>
                      <a:pt x="23" y="120"/>
                    </a:cubicBezTo>
                    <a:cubicBezTo>
                      <a:pt x="-36" y="179"/>
                      <a:pt x="23" y="299"/>
                      <a:pt x="143" y="299"/>
                    </a:cubicBezTo>
                    <a:lnTo>
                      <a:pt x="10011" y="3648"/>
                    </a:lnTo>
                    <a:cubicBezTo>
                      <a:pt x="10071" y="3708"/>
                      <a:pt x="10131" y="3648"/>
                      <a:pt x="10191" y="3529"/>
                    </a:cubicBezTo>
                    <a:cubicBezTo>
                      <a:pt x="10191" y="3588"/>
                      <a:pt x="10191" y="3529"/>
                      <a:pt x="10191" y="352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17" name="Vrije vorm: vorm 8816">
                <a:extLst>
                  <a:ext uri="{FF2B5EF4-FFF2-40B4-BE49-F238E27FC236}">
                    <a16:creationId xmlns:a16="http://schemas.microsoft.com/office/drawing/2014/main" id="{718B0152-FD55-4DB9-93DF-4858574BDCAC}"/>
                  </a:ext>
                </a:extLst>
              </p:cNvPr>
              <p:cNvSpPr/>
              <p:nvPr/>
            </p:nvSpPr>
            <p:spPr>
              <a:xfrm>
                <a:off x="4374474" y="2478725"/>
                <a:ext cx="98228" cy="74245"/>
              </a:xfrm>
              <a:custGeom>
                <a:avLst/>
                <a:gdLst>
                  <a:gd name="connsiteX0" fmla="*/ 98229 w 98228"/>
                  <a:gd name="connsiteY0" fmla="*/ 74126 h 74245"/>
                  <a:gd name="connsiteX1" fmla="*/ 98169 w 98228"/>
                  <a:gd name="connsiteY1" fmla="*/ 73947 h 74245"/>
                  <a:gd name="connsiteX2" fmla="*/ 68026 w 98228"/>
                  <a:gd name="connsiteY2" fmla="*/ 59294 h 74245"/>
                  <a:gd name="connsiteX3" fmla="*/ 68026 w 98228"/>
                  <a:gd name="connsiteY3" fmla="*/ 59294 h 74245"/>
                  <a:gd name="connsiteX4" fmla="*/ 42847 w 98228"/>
                  <a:gd name="connsiteY4" fmla="*/ 27835 h 74245"/>
                  <a:gd name="connsiteX5" fmla="*/ 42787 w 98228"/>
                  <a:gd name="connsiteY5" fmla="*/ 27775 h 74245"/>
                  <a:gd name="connsiteX6" fmla="*/ 264 w 98228"/>
                  <a:gd name="connsiteY6" fmla="*/ 25 h 74245"/>
                  <a:gd name="connsiteX7" fmla="*/ 25 w 98228"/>
                  <a:gd name="connsiteY7" fmla="*/ 85 h 74245"/>
                  <a:gd name="connsiteX8" fmla="*/ 85 w 98228"/>
                  <a:gd name="connsiteY8" fmla="*/ 324 h 74245"/>
                  <a:gd name="connsiteX9" fmla="*/ 42548 w 98228"/>
                  <a:gd name="connsiteY9" fmla="*/ 28074 h 74245"/>
                  <a:gd name="connsiteX10" fmla="*/ 55048 w 98228"/>
                  <a:gd name="connsiteY10" fmla="*/ 43864 h 74245"/>
                  <a:gd name="connsiteX11" fmla="*/ 67906 w 98228"/>
                  <a:gd name="connsiteY11" fmla="*/ 59593 h 74245"/>
                  <a:gd name="connsiteX12" fmla="*/ 67906 w 98228"/>
                  <a:gd name="connsiteY12" fmla="*/ 59593 h 74245"/>
                  <a:gd name="connsiteX13" fmla="*/ 97929 w 98228"/>
                  <a:gd name="connsiteY13" fmla="*/ 74246 h 74245"/>
                  <a:gd name="connsiteX14" fmla="*/ 98229 w 98228"/>
                  <a:gd name="connsiteY14" fmla="*/ 74126 h 74245"/>
                  <a:gd name="connsiteX15" fmla="*/ 98229 w 98228"/>
                  <a:gd name="connsiteY15" fmla="*/ 74126 h 74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228" h="74245">
                    <a:moveTo>
                      <a:pt x="98229" y="74126"/>
                    </a:moveTo>
                    <a:cubicBezTo>
                      <a:pt x="98229" y="74066"/>
                      <a:pt x="98229" y="74006"/>
                      <a:pt x="98169" y="73947"/>
                    </a:cubicBezTo>
                    <a:cubicBezTo>
                      <a:pt x="79389" y="64617"/>
                      <a:pt x="69282" y="59653"/>
                      <a:pt x="68026" y="59294"/>
                    </a:cubicBezTo>
                    <a:lnTo>
                      <a:pt x="68026" y="59294"/>
                    </a:lnTo>
                    <a:cubicBezTo>
                      <a:pt x="67308" y="58815"/>
                      <a:pt x="51220" y="38481"/>
                      <a:pt x="42847" y="27835"/>
                    </a:cubicBezTo>
                    <a:cubicBezTo>
                      <a:pt x="42847" y="27835"/>
                      <a:pt x="42847" y="27835"/>
                      <a:pt x="42787" y="27775"/>
                    </a:cubicBezTo>
                    <a:lnTo>
                      <a:pt x="264" y="25"/>
                    </a:lnTo>
                    <a:cubicBezTo>
                      <a:pt x="204" y="-35"/>
                      <a:pt x="85" y="25"/>
                      <a:pt x="25" y="85"/>
                    </a:cubicBezTo>
                    <a:cubicBezTo>
                      <a:pt x="-35" y="144"/>
                      <a:pt x="25" y="264"/>
                      <a:pt x="85" y="324"/>
                    </a:cubicBezTo>
                    <a:lnTo>
                      <a:pt x="42548" y="28074"/>
                    </a:lnTo>
                    <a:cubicBezTo>
                      <a:pt x="42907" y="28553"/>
                      <a:pt x="49007" y="36268"/>
                      <a:pt x="55048" y="43864"/>
                    </a:cubicBezTo>
                    <a:cubicBezTo>
                      <a:pt x="66411" y="58098"/>
                      <a:pt x="67667" y="59533"/>
                      <a:pt x="67906" y="59593"/>
                    </a:cubicBezTo>
                    <a:lnTo>
                      <a:pt x="67906" y="59593"/>
                    </a:lnTo>
                    <a:cubicBezTo>
                      <a:pt x="68684" y="59712"/>
                      <a:pt x="89855" y="70238"/>
                      <a:pt x="97929" y="74246"/>
                    </a:cubicBezTo>
                    <a:cubicBezTo>
                      <a:pt x="98049" y="74246"/>
                      <a:pt x="98169" y="74246"/>
                      <a:pt x="98229" y="74126"/>
                    </a:cubicBezTo>
                    <a:cubicBezTo>
                      <a:pt x="98229" y="74126"/>
                      <a:pt x="98229" y="74126"/>
                      <a:pt x="98229" y="7412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18" name="Vrije vorm: vorm 8817">
                <a:extLst>
                  <a:ext uri="{FF2B5EF4-FFF2-40B4-BE49-F238E27FC236}">
                    <a16:creationId xmlns:a16="http://schemas.microsoft.com/office/drawing/2014/main" id="{CA07BD23-F152-48B8-B718-05B1A03FA580}"/>
                  </a:ext>
                </a:extLst>
              </p:cNvPr>
              <p:cNvSpPr/>
              <p:nvPr/>
            </p:nvSpPr>
            <p:spPr>
              <a:xfrm>
                <a:off x="4415407" y="2506501"/>
                <a:ext cx="1913" cy="8014"/>
              </a:xfrm>
              <a:custGeom>
                <a:avLst/>
                <a:gdLst>
                  <a:gd name="connsiteX0" fmla="*/ 1914 w 1913"/>
                  <a:gd name="connsiteY0" fmla="*/ 179 h 8014"/>
                  <a:gd name="connsiteX1" fmla="*/ 1794 w 1913"/>
                  <a:gd name="connsiteY1" fmla="*/ 0 h 8014"/>
                  <a:gd name="connsiteX2" fmla="*/ 1615 w 1913"/>
                  <a:gd name="connsiteY2" fmla="*/ 120 h 8014"/>
                  <a:gd name="connsiteX3" fmla="*/ 0 w 1913"/>
                  <a:gd name="connsiteY3" fmla="*/ 7835 h 8014"/>
                  <a:gd name="connsiteX4" fmla="*/ 0 w 1913"/>
                  <a:gd name="connsiteY4" fmla="*/ 7835 h 8014"/>
                  <a:gd name="connsiteX5" fmla="*/ 120 w 1913"/>
                  <a:gd name="connsiteY5" fmla="*/ 8014 h 8014"/>
                  <a:gd name="connsiteX6" fmla="*/ 299 w 1913"/>
                  <a:gd name="connsiteY6" fmla="*/ 7894 h 8014"/>
                  <a:gd name="connsiteX7" fmla="*/ 1914 w 1913"/>
                  <a:gd name="connsiteY7" fmla="*/ 179 h 8014"/>
                  <a:gd name="connsiteX8" fmla="*/ 1914 w 1913"/>
                  <a:gd name="connsiteY8" fmla="*/ 179 h 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 h="8014">
                    <a:moveTo>
                      <a:pt x="1914" y="179"/>
                    </a:moveTo>
                    <a:cubicBezTo>
                      <a:pt x="1914" y="120"/>
                      <a:pt x="1854" y="0"/>
                      <a:pt x="1794" y="0"/>
                    </a:cubicBezTo>
                    <a:cubicBezTo>
                      <a:pt x="1734" y="0"/>
                      <a:pt x="1615" y="60"/>
                      <a:pt x="1615" y="120"/>
                    </a:cubicBezTo>
                    <a:lnTo>
                      <a:pt x="0" y="7835"/>
                    </a:lnTo>
                    <a:cubicBezTo>
                      <a:pt x="0" y="7835"/>
                      <a:pt x="0" y="7835"/>
                      <a:pt x="0" y="7835"/>
                    </a:cubicBezTo>
                    <a:cubicBezTo>
                      <a:pt x="0" y="7894"/>
                      <a:pt x="60" y="8014"/>
                      <a:pt x="120" y="8014"/>
                    </a:cubicBezTo>
                    <a:cubicBezTo>
                      <a:pt x="179" y="8014"/>
                      <a:pt x="299" y="7954"/>
                      <a:pt x="299" y="7894"/>
                    </a:cubicBezTo>
                    <a:lnTo>
                      <a:pt x="1914" y="179"/>
                    </a:lnTo>
                    <a:cubicBezTo>
                      <a:pt x="1914" y="179"/>
                      <a:pt x="1914" y="179"/>
                      <a:pt x="1914"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19" name="Vrije vorm: vorm 8818">
                <a:extLst>
                  <a:ext uri="{FF2B5EF4-FFF2-40B4-BE49-F238E27FC236}">
                    <a16:creationId xmlns:a16="http://schemas.microsoft.com/office/drawing/2014/main" id="{88ACE422-F536-4751-89F3-F3B702E2BD8F}"/>
                  </a:ext>
                </a:extLst>
              </p:cNvPr>
              <p:cNvSpPr/>
              <p:nvPr/>
            </p:nvSpPr>
            <p:spPr>
              <a:xfrm>
                <a:off x="4390009" y="2492167"/>
                <a:ext cx="65288" cy="46330"/>
              </a:xfrm>
              <a:custGeom>
                <a:avLst/>
                <a:gdLst>
                  <a:gd name="connsiteX0" fmla="*/ 65289 w 65288"/>
                  <a:gd name="connsiteY0" fmla="*/ 46151 h 46330"/>
                  <a:gd name="connsiteX1" fmla="*/ 65229 w 65288"/>
                  <a:gd name="connsiteY1" fmla="*/ 45971 h 46330"/>
                  <a:gd name="connsiteX2" fmla="*/ 278 w 65288"/>
                  <a:gd name="connsiteY2" fmla="*/ 39 h 46330"/>
                  <a:gd name="connsiteX3" fmla="*/ 39 w 65288"/>
                  <a:gd name="connsiteY3" fmla="*/ 99 h 46330"/>
                  <a:gd name="connsiteX4" fmla="*/ 99 w 65288"/>
                  <a:gd name="connsiteY4" fmla="*/ 338 h 46330"/>
                  <a:gd name="connsiteX5" fmla="*/ 64631 w 65288"/>
                  <a:gd name="connsiteY5" fmla="*/ 45971 h 46330"/>
                  <a:gd name="connsiteX6" fmla="*/ 52431 w 65288"/>
                  <a:gd name="connsiteY6" fmla="*/ 45792 h 46330"/>
                  <a:gd name="connsiteX7" fmla="*/ 52251 w 65288"/>
                  <a:gd name="connsiteY7" fmla="*/ 45971 h 46330"/>
                  <a:gd name="connsiteX8" fmla="*/ 52431 w 65288"/>
                  <a:gd name="connsiteY8" fmla="*/ 46151 h 46330"/>
                  <a:gd name="connsiteX9" fmla="*/ 65169 w 65288"/>
                  <a:gd name="connsiteY9" fmla="*/ 46330 h 46330"/>
                  <a:gd name="connsiteX10" fmla="*/ 65289 w 65288"/>
                  <a:gd name="connsiteY10" fmla="*/ 46151 h 46330"/>
                  <a:gd name="connsiteX11" fmla="*/ 65289 w 65288"/>
                  <a:gd name="connsiteY11" fmla="*/ 46151 h 4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288" h="46330">
                    <a:moveTo>
                      <a:pt x="65289" y="46151"/>
                    </a:moveTo>
                    <a:cubicBezTo>
                      <a:pt x="65289" y="46091"/>
                      <a:pt x="65289" y="46031"/>
                      <a:pt x="65229" y="45971"/>
                    </a:cubicBezTo>
                    <a:lnTo>
                      <a:pt x="278" y="39"/>
                    </a:lnTo>
                    <a:cubicBezTo>
                      <a:pt x="219" y="-21"/>
                      <a:pt x="99" y="-21"/>
                      <a:pt x="39" y="99"/>
                    </a:cubicBezTo>
                    <a:cubicBezTo>
                      <a:pt x="-21" y="159"/>
                      <a:pt x="-21" y="279"/>
                      <a:pt x="99" y="338"/>
                    </a:cubicBezTo>
                    <a:lnTo>
                      <a:pt x="64631" y="45971"/>
                    </a:lnTo>
                    <a:lnTo>
                      <a:pt x="52431" y="45792"/>
                    </a:lnTo>
                    <a:cubicBezTo>
                      <a:pt x="52371" y="45792"/>
                      <a:pt x="52251" y="45852"/>
                      <a:pt x="52251" y="45971"/>
                    </a:cubicBezTo>
                    <a:cubicBezTo>
                      <a:pt x="52251" y="46031"/>
                      <a:pt x="52311" y="46151"/>
                      <a:pt x="52431" y="46151"/>
                    </a:cubicBezTo>
                    <a:lnTo>
                      <a:pt x="65169" y="46330"/>
                    </a:lnTo>
                    <a:cubicBezTo>
                      <a:pt x="65229" y="46330"/>
                      <a:pt x="65289" y="46270"/>
                      <a:pt x="65289" y="46151"/>
                    </a:cubicBezTo>
                    <a:cubicBezTo>
                      <a:pt x="65289" y="46210"/>
                      <a:pt x="65289" y="46210"/>
                      <a:pt x="65289" y="4615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20" name="Vrije vorm: vorm 8819">
                <a:extLst>
                  <a:ext uri="{FF2B5EF4-FFF2-40B4-BE49-F238E27FC236}">
                    <a16:creationId xmlns:a16="http://schemas.microsoft.com/office/drawing/2014/main" id="{9F467E52-FE66-4E9B-837D-20AA76516797}"/>
                  </a:ext>
                </a:extLst>
              </p:cNvPr>
              <p:cNvSpPr/>
              <p:nvPr/>
            </p:nvSpPr>
            <p:spPr>
              <a:xfrm>
                <a:off x="4435278" y="2521766"/>
                <a:ext cx="31144" cy="36811"/>
              </a:xfrm>
              <a:custGeom>
                <a:avLst/>
                <a:gdLst>
                  <a:gd name="connsiteX0" fmla="*/ 31144 w 31144"/>
                  <a:gd name="connsiteY0" fmla="*/ 36647 h 36811"/>
                  <a:gd name="connsiteX1" fmla="*/ 31085 w 31144"/>
                  <a:gd name="connsiteY1" fmla="*/ 36527 h 36811"/>
                  <a:gd name="connsiteX2" fmla="*/ 284 w 31144"/>
                  <a:gd name="connsiteY2" fmla="*/ 45 h 36811"/>
                  <a:gd name="connsiteX3" fmla="*/ 45 w 31144"/>
                  <a:gd name="connsiteY3" fmla="*/ 45 h 36811"/>
                  <a:gd name="connsiteX4" fmla="*/ 45 w 31144"/>
                  <a:gd name="connsiteY4" fmla="*/ 284 h 36811"/>
                  <a:gd name="connsiteX5" fmla="*/ 30845 w 31144"/>
                  <a:gd name="connsiteY5" fmla="*/ 36766 h 36811"/>
                  <a:gd name="connsiteX6" fmla="*/ 31085 w 31144"/>
                  <a:gd name="connsiteY6" fmla="*/ 36766 h 36811"/>
                  <a:gd name="connsiteX7" fmla="*/ 31144 w 31144"/>
                  <a:gd name="connsiteY7" fmla="*/ 36647 h 36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44" h="36811">
                    <a:moveTo>
                      <a:pt x="31144" y="36647"/>
                    </a:moveTo>
                    <a:cubicBezTo>
                      <a:pt x="31144" y="36587"/>
                      <a:pt x="31144" y="36527"/>
                      <a:pt x="31085" y="36527"/>
                    </a:cubicBezTo>
                    <a:lnTo>
                      <a:pt x="284" y="45"/>
                    </a:lnTo>
                    <a:cubicBezTo>
                      <a:pt x="224" y="-15"/>
                      <a:pt x="104" y="-15"/>
                      <a:pt x="45" y="45"/>
                    </a:cubicBezTo>
                    <a:cubicBezTo>
                      <a:pt x="-15" y="105"/>
                      <a:pt x="-15" y="224"/>
                      <a:pt x="45" y="284"/>
                    </a:cubicBezTo>
                    <a:lnTo>
                      <a:pt x="30845" y="36766"/>
                    </a:lnTo>
                    <a:cubicBezTo>
                      <a:pt x="30905" y="36826"/>
                      <a:pt x="31025" y="36826"/>
                      <a:pt x="31085" y="36766"/>
                    </a:cubicBezTo>
                    <a:cubicBezTo>
                      <a:pt x="31085" y="36707"/>
                      <a:pt x="31144" y="36647"/>
                      <a:pt x="31144" y="3664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21" name="Vrije vorm: vorm 8820">
                <a:extLst>
                  <a:ext uri="{FF2B5EF4-FFF2-40B4-BE49-F238E27FC236}">
                    <a16:creationId xmlns:a16="http://schemas.microsoft.com/office/drawing/2014/main" id="{F20C6861-DB2D-41E3-BB56-62567DFB8B33}"/>
                  </a:ext>
                </a:extLst>
              </p:cNvPr>
              <p:cNvSpPr/>
              <p:nvPr/>
            </p:nvSpPr>
            <p:spPr>
              <a:xfrm>
                <a:off x="4433265" y="2477170"/>
                <a:ext cx="25084" cy="11806"/>
              </a:xfrm>
              <a:custGeom>
                <a:avLst/>
                <a:gdLst>
                  <a:gd name="connsiteX0" fmla="*/ 25084 w 25084"/>
                  <a:gd name="connsiteY0" fmla="*/ 8458 h 11806"/>
                  <a:gd name="connsiteX1" fmla="*/ 25084 w 25084"/>
                  <a:gd name="connsiteY1" fmla="*/ 8458 h 11806"/>
                  <a:gd name="connsiteX2" fmla="*/ 24904 w 25084"/>
                  <a:gd name="connsiteY2" fmla="*/ 8278 h 11806"/>
                  <a:gd name="connsiteX3" fmla="*/ 7561 w 25084"/>
                  <a:gd name="connsiteY3" fmla="*/ 11448 h 11806"/>
                  <a:gd name="connsiteX4" fmla="*/ 324 w 25084"/>
                  <a:gd name="connsiteY4" fmla="*/ 85 h 11806"/>
                  <a:gd name="connsiteX5" fmla="*/ 85 w 25084"/>
                  <a:gd name="connsiteY5" fmla="*/ 25 h 11806"/>
                  <a:gd name="connsiteX6" fmla="*/ 25 w 25084"/>
                  <a:gd name="connsiteY6" fmla="*/ 264 h 11806"/>
                  <a:gd name="connsiteX7" fmla="*/ 7321 w 25084"/>
                  <a:gd name="connsiteY7" fmla="*/ 11747 h 11806"/>
                  <a:gd name="connsiteX8" fmla="*/ 7501 w 25084"/>
                  <a:gd name="connsiteY8" fmla="*/ 11807 h 11806"/>
                  <a:gd name="connsiteX9" fmla="*/ 24964 w 25084"/>
                  <a:gd name="connsiteY9" fmla="*/ 8577 h 11806"/>
                  <a:gd name="connsiteX10" fmla="*/ 25084 w 25084"/>
                  <a:gd name="connsiteY10" fmla="*/ 8458 h 1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84" h="11806">
                    <a:moveTo>
                      <a:pt x="25084" y="8458"/>
                    </a:moveTo>
                    <a:cubicBezTo>
                      <a:pt x="25084" y="8458"/>
                      <a:pt x="25084" y="8398"/>
                      <a:pt x="25084" y="8458"/>
                    </a:cubicBezTo>
                    <a:cubicBezTo>
                      <a:pt x="25084" y="8338"/>
                      <a:pt x="24964" y="8278"/>
                      <a:pt x="24904" y="8278"/>
                    </a:cubicBezTo>
                    <a:lnTo>
                      <a:pt x="7561" y="11448"/>
                    </a:lnTo>
                    <a:lnTo>
                      <a:pt x="324" y="85"/>
                    </a:lnTo>
                    <a:cubicBezTo>
                      <a:pt x="264" y="25"/>
                      <a:pt x="204" y="-35"/>
                      <a:pt x="85" y="25"/>
                    </a:cubicBezTo>
                    <a:cubicBezTo>
                      <a:pt x="25" y="85"/>
                      <a:pt x="-35" y="144"/>
                      <a:pt x="25" y="264"/>
                    </a:cubicBezTo>
                    <a:lnTo>
                      <a:pt x="7321" y="11747"/>
                    </a:lnTo>
                    <a:cubicBezTo>
                      <a:pt x="7381" y="11807"/>
                      <a:pt x="7441" y="11807"/>
                      <a:pt x="7501" y="11807"/>
                    </a:cubicBezTo>
                    <a:lnTo>
                      <a:pt x="24964" y="8577"/>
                    </a:lnTo>
                    <a:cubicBezTo>
                      <a:pt x="25024" y="8577"/>
                      <a:pt x="25084" y="8517"/>
                      <a:pt x="25084" y="845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22" name="Vrije vorm: vorm 8821">
                <a:extLst>
                  <a:ext uri="{FF2B5EF4-FFF2-40B4-BE49-F238E27FC236}">
                    <a16:creationId xmlns:a16="http://schemas.microsoft.com/office/drawing/2014/main" id="{92805C38-23ED-4C22-9BB8-FD8349DDE30C}"/>
                  </a:ext>
                </a:extLst>
              </p:cNvPr>
              <p:cNvSpPr/>
              <p:nvPr/>
            </p:nvSpPr>
            <p:spPr>
              <a:xfrm>
                <a:off x="4390946" y="2467327"/>
                <a:ext cx="131516" cy="39891"/>
              </a:xfrm>
              <a:custGeom>
                <a:avLst/>
                <a:gdLst>
                  <a:gd name="connsiteX0" fmla="*/ 131337 w 131516"/>
                  <a:gd name="connsiteY0" fmla="*/ 39891 h 39891"/>
                  <a:gd name="connsiteX1" fmla="*/ 95452 w 131516"/>
                  <a:gd name="connsiteY1" fmla="*/ 36901 h 39891"/>
                  <a:gd name="connsiteX2" fmla="*/ 95393 w 131516"/>
                  <a:gd name="connsiteY2" fmla="*/ 36901 h 39891"/>
                  <a:gd name="connsiteX3" fmla="*/ 77570 w 131516"/>
                  <a:gd name="connsiteY3" fmla="*/ 27930 h 39891"/>
                  <a:gd name="connsiteX4" fmla="*/ 49820 w 131516"/>
                  <a:gd name="connsiteY4" fmla="*/ 21710 h 39891"/>
                  <a:gd name="connsiteX5" fmla="*/ 49760 w 131516"/>
                  <a:gd name="connsiteY5" fmla="*/ 21710 h 39891"/>
                  <a:gd name="connsiteX6" fmla="*/ 25956 w 131516"/>
                  <a:gd name="connsiteY6" fmla="*/ 8134 h 39891"/>
                  <a:gd name="connsiteX7" fmla="*/ 17344 w 131516"/>
                  <a:gd name="connsiteY7" fmla="*/ 6998 h 39891"/>
                  <a:gd name="connsiteX8" fmla="*/ 20454 w 131516"/>
                  <a:gd name="connsiteY8" fmla="*/ 11423 h 39891"/>
                  <a:gd name="connsiteX9" fmla="*/ 20394 w 131516"/>
                  <a:gd name="connsiteY9" fmla="*/ 11662 h 39891"/>
                  <a:gd name="connsiteX10" fmla="*/ 20155 w 131516"/>
                  <a:gd name="connsiteY10" fmla="*/ 11603 h 39891"/>
                  <a:gd name="connsiteX11" fmla="*/ 16866 w 131516"/>
                  <a:gd name="connsiteY11" fmla="*/ 6938 h 39891"/>
                  <a:gd name="connsiteX12" fmla="*/ 120 w 131516"/>
                  <a:gd name="connsiteY12" fmla="*/ 4785 h 39891"/>
                  <a:gd name="connsiteX13" fmla="*/ 0 w 131516"/>
                  <a:gd name="connsiteY13" fmla="*/ 4665 h 39891"/>
                  <a:gd name="connsiteX14" fmla="*/ 120 w 131516"/>
                  <a:gd name="connsiteY14" fmla="*/ 4486 h 39891"/>
                  <a:gd name="connsiteX15" fmla="*/ 12261 w 131516"/>
                  <a:gd name="connsiteY15" fmla="*/ 0 h 39891"/>
                  <a:gd name="connsiteX16" fmla="*/ 12261 w 131516"/>
                  <a:gd name="connsiteY16" fmla="*/ 0 h 39891"/>
                  <a:gd name="connsiteX17" fmla="*/ 12261 w 131516"/>
                  <a:gd name="connsiteY17" fmla="*/ 0 h 39891"/>
                  <a:gd name="connsiteX18" fmla="*/ 12261 w 131516"/>
                  <a:gd name="connsiteY18" fmla="*/ 0 h 39891"/>
                  <a:gd name="connsiteX19" fmla="*/ 12380 w 131516"/>
                  <a:gd name="connsiteY19" fmla="*/ 0 h 39891"/>
                  <a:gd name="connsiteX20" fmla="*/ 12380 w 131516"/>
                  <a:gd name="connsiteY20" fmla="*/ 0 h 39891"/>
                  <a:gd name="connsiteX21" fmla="*/ 12380 w 131516"/>
                  <a:gd name="connsiteY21" fmla="*/ 0 h 39891"/>
                  <a:gd name="connsiteX22" fmla="*/ 12380 w 131516"/>
                  <a:gd name="connsiteY22" fmla="*/ 0 h 39891"/>
                  <a:gd name="connsiteX23" fmla="*/ 12380 w 131516"/>
                  <a:gd name="connsiteY23" fmla="*/ 0 h 39891"/>
                  <a:gd name="connsiteX24" fmla="*/ 12380 w 131516"/>
                  <a:gd name="connsiteY24" fmla="*/ 0 h 39891"/>
                  <a:gd name="connsiteX25" fmla="*/ 12380 w 131516"/>
                  <a:gd name="connsiteY25" fmla="*/ 0 h 39891"/>
                  <a:gd name="connsiteX26" fmla="*/ 12380 w 131516"/>
                  <a:gd name="connsiteY26" fmla="*/ 0 h 39891"/>
                  <a:gd name="connsiteX27" fmla="*/ 12380 w 131516"/>
                  <a:gd name="connsiteY27" fmla="*/ 0 h 39891"/>
                  <a:gd name="connsiteX28" fmla="*/ 12380 w 131516"/>
                  <a:gd name="connsiteY28" fmla="*/ 0 h 39891"/>
                  <a:gd name="connsiteX29" fmla="*/ 12380 w 131516"/>
                  <a:gd name="connsiteY29" fmla="*/ 0 h 39891"/>
                  <a:gd name="connsiteX30" fmla="*/ 12380 w 131516"/>
                  <a:gd name="connsiteY30" fmla="*/ 0 h 39891"/>
                  <a:gd name="connsiteX31" fmla="*/ 12380 w 131516"/>
                  <a:gd name="connsiteY31" fmla="*/ 0 h 39891"/>
                  <a:gd name="connsiteX32" fmla="*/ 12380 w 131516"/>
                  <a:gd name="connsiteY32" fmla="*/ 0 h 39891"/>
                  <a:gd name="connsiteX33" fmla="*/ 12380 w 131516"/>
                  <a:gd name="connsiteY33" fmla="*/ 0 h 39891"/>
                  <a:gd name="connsiteX34" fmla="*/ 12380 w 131516"/>
                  <a:gd name="connsiteY34" fmla="*/ 0 h 39891"/>
                  <a:gd name="connsiteX35" fmla="*/ 12380 w 131516"/>
                  <a:gd name="connsiteY35" fmla="*/ 0 h 39891"/>
                  <a:gd name="connsiteX36" fmla="*/ 26016 w 131516"/>
                  <a:gd name="connsiteY36" fmla="*/ 7775 h 39891"/>
                  <a:gd name="connsiteX37" fmla="*/ 42463 w 131516"/>
                  <a:gd name="connsiteY37" fmla="*/ 9928 h 39891"/>
                  <a:gd name="connsiteX38" fmla="*/ 42523 w 131516"/>
                  <a:gd name="connsiteY38" fmla="*/ 9928 h 39891"/>
                  <a:gd name="connsiteX39" fmla="*/ 77630 w 131516"/>
                  <a:gd name="connsiteY39" fmla="*/ 27631 h 39891"/>
                  <a:gd name="connsiteX40" fmla="*/ 131397 w 131516"/>
                  <a:gd name="connsiteY40" fmla="*/ 39652 h 39891"/>
                  <a:gd name="connsiteX41" fmla="*/ 131516 w 131516"/>
                  <a:gd name="connsiteY41" fmla="*/ 39832 h 39891"/>
                  <a:gd name="connsiteX42" fmla="*/ 131516 w 131516"/>
                  <a:gd name="connsiteY42" fmla="*/ 39832 h 39891"/>
                  <a:gd name="connsiteX43" fmla="*/ 131337 w 131516"/>
                  <a:gd name="connsiteY43" fmla="*/ 39891 h 39891"/>
                  <a:gd name="connsiteX44" fmla="*/ 95512 w 131516"/>
                  <a:gd name="connsiteY44" fmla="*/ 36542 h 39891"/>
                  <a:gd name="connsiteX45" fmla="*/ 129004 w 131516"/>
                  <a:gd name="connsiteY45" fmla="*/ 39353 h 39891"/>
                  <a:gd name="connsiteX46" fmla="*/ 78826 w 131516"/>
                  <a:gd name="connsiteY46" fmla="*/ 28169 h 39891"/>
                  <a:gd name="connsiteX47" fmla="*/ 95512 w 131516"/>
                  <a:gd name="connsiteY47" fmla="*/ 36542 h 39891"/>
                  <a:gd name="connsiteX48" fmla="*/ 26794 w 131516"/>
                  <a:gd name="connsiteY48" fmla="*/ 8134 h 39891"/>
                  <a:gd name="connsiteX49" fmla="*/ 49879 w 131516"/>
                  <a:gd name="connsiteY49" fmla="*/ 21351 h 39891"/>
                  <a:gd name="connsiteX50" fmla="*/ 76374 w 131516"/>
                  <a:gd name="connsiteY50" fmla="*/ 27272 h 39891"/>
                  <a:gd name="connsiteX51" fmla="*/ 42463 w 131516"/>
                  <a:gd name="connsiteY51" fmla="*/ 10167 h 39891"/>
                  <a:gd name="connsiteX52" fmla="*/ 26794 w 131516"/>
                  <a:gd name="connsiteY52" fmla="*/ 8134 h 39891"/>
                  <a:gd name="connsiteX53" fmla="*/ 17105 w 131516"/>
                  <a:gd name="connsiteY53" fmla="*/ 6579 h 39891"/>
                  <a:gd name="connsiteX54" fmla="*/ 25239 w 131516"/>
                  <a:gd name="connsiteY54" fmla="*/ 7655 h 39891"/>
                  <a:gd name="connsiteX55" fmla="*/ 12919 w 131516"/>
                  <a:gd name="connsiteY55" fmla="*/ 598 h 39891"/>
                  <a:gd name="connsiteX56" fmla="*/ 17105 w 131516"/>
                  <a:gd name="connsiteY56" fmla="*/ 6579 h 39891"/>
                  <a:gd name="connsiteX57" fmla="*/ 837 w 131516"/>
                  <a:gd name="connsiteY57" fmla="*/ 4426 h 39891"/>
                  <a:gd name="connsiteX58" fmla="*/ 16627 w 131516"/>
                  <a:gd name="connsiteY58" fmla="*/ 6459 h 39891"/>
                  <a:gd name="connsiteX59" fmla="*/ 12261 w 131516"/>
                  <a:gd name="connsiteY59" fmla="*/ 239 h 39891"/>
                  <a:gd name="connsiteX60" fmla="*/ 837 w 131516"/>
                  <a:gd name="connsiteY60" fmla="*/ 4426 h 3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516" h="39891">
                    <a:moveTo>
                      <a:pt x="131337" y="39891"/>
                    </a:moveTo>
                    <a:lnTo>
                      <a:pt x="95452" y="36901"/>
                    </a:lnTo>
                    <a:cubicBezTo>
                      <a:pt x="95452" y="36901"/>
                      <a:pt x="95393" y="36901"/>
                      <a:pt x="95393" y="36901"/>
                    </a:cubicBezTo>
                    <a:lnTo>
                      <a:pt x="77570" y="27930"/>
                    </a:lnTo>
                    <a:lnTo>
                      <a:pt x="49820" y="21710"/>
                    </a:lnTo>
                    <a:cubicBezTo>
                      <a:pt x="49820" y="21710"/>
                      <a:pt x="49760" y="21710"/>
                      <a:pt x="49760" y="21710"/>
                    </a:cubicBezTo>
                    <a:lnTo>
                      <a:pt x="25956" y="8134"/>
                    </a:lnTo>
                    <a:lnTo>
                      <a:pt x="17344" y="6998"/>
                    </a:lnTo>
                    <a:lnTo>
                      <a:pt x="20454" y="11423"/>
                    </a:lnTo>
                    <a:cubicBezTo>
                      <a:pt x="20514" y="11483"/>
                      <a:pt x="20514" y="11603"/>
                      <a:pt x="20394" y="11662"/>
                    </a:cubicBezTo>
                    <a:cubicBezTo>
                      <a:pt x="20335" y="11722"/>
                      <a:pt x="20215" y="11722"/>
                      <a:pt x="20155" y="11603"/>
                    </a:cubicBezTo>
                    <a:lnTo>
                      <a:pt x="16866" y="6938"/>
                    </a:lnTo>
                    <a:lnTo>
                      <a:pt x="120" y="4785"/>
                    </a:lnTo>
                    <a:cubicBezTo>
                      <a:pt x="60" y="4785"/>
                      <a:pt x="0" y="4725"/>
                      <a:pt x="0" y="4665"/>
                    </a:cubicBezTo>
                    <a:cubicBezTo>
                      <a:pt x="0" y="4605"/>
                      <a:pt x="60" y="4545"/>
                      <a:pt x="120" y="4486"/>
                    </a:cubicBezTo>
                    <a:lnTo>
                      <a:pt x="12261" y="0"/>
                    </a:lnTo>
                    <a:cubicBezTo>
                      <a:pt x="12261" y="0"/>
                      <a:pt x="12261" y="0"/>
                      <a:pt x="12261" y="0"/>
                    </a:cubicBezTo>
                    <a:lnTo>
                      <a:pt x="12261" y="0"/>
                    </a:lnTo>
                    <a:lnTo>
                      <a:pt x="12261" y="0"/>
                    </a:lnTo>
                    <a:cubicBezTo>
                      <a:pt x="12320" y="0"/>
                      <a:pt x="12320" y="0"/>
                      <a:pt x="12380" y="0"/>
                    </a:cubicBezTo>
                    <a:lnTo>
                      <a:pt x="12380" y="0"/>
                    </a:lnTo>
                    <a:lnTo>
                      <a:pt x="12380" y="0"/>
                    </a:lnTo>
                    <a:lnTo>
                      <a:pt x="12380" y="0"/>
                    </a:lnTo>
                    <a:lnTo>
                      <a:pt x="12380" y="0"/>
                    </a:lnTo>
                    <a:cubicBezTo>
                      <a:pt x="12380" y="0"/>
                      <a:pt x="12380" y="0"/>
                      <a:pt x="12380" y="0"/>
                    </a:cubicBezTo>
                    <a:lnTo>
                      <a:pt x="12380" y="0"/>
                    </a:lnTo>
                    <a:cubicBezTo>
                      <a:pt x="12380" y="0"/>
                      <a:pt x="12380" y="0"/>
                      <a:pt x="12380" y="0"/>
                    </a:cubicBezTo>
                    <a:lnTo>
                      <a:pt x="12380" y="0"/>
                    </a:lnTo>
                    <a:cubicBezTo>
                      <a:pt x="12380" y="0"/>
                      <a:pt x="12380" y="0"/>
                      <a:pt x="12380" y="0"/>
                    </a:cubicBezTo>
                    <a:lnTo>
                      <a:pt x="12380" y="0"/>
                    </a:lnTo>
                    <a:lnTo>
                      <a:pt x="12380" y="0"/>
                    </a:lnTo>
                    <a:lnTo>
                      <a:pt x="12380" y="0"/>
                    </a:lnTo>
                    <a:lnTo>
                      <a:pt x="12380" y="0"/>
                    </a:lnTo>
                    <a:lnTo>
                      <a:pt x="12380" y="0"/>
                    </a:lnTo>
                    <a:cubicBezTo>
                      <a:pt x="12380" y="0"/>
                      <a:pt x="12380" y="0"/>
                      <a:pt x="12380" y="0"/>
                    </a:cubicBezTo>
                    <a:cubicBezTo>
                      <a:pt x="12380" y="0"/>
                      <a:pt x="12380" y="0"/>
                      <a:pt x="12380" y="0"/>
                    </a:cubicBezTo>
                    <a:lnTo>
                      <a:pt x="26016" y="7775"/>
                    </a:lnTo>
                    <a:lnTo>
                      <a:pt x="42463" y="9928"/>
                    </a:lnTo>
                    <a:cubicBezTo>
                      <a:pt x="42463" y="9928"/>
                      <a:pt x="42523" y="9928"/>
                      <a:pt x="42523" y="9928"/>
                    </a:cubicBezTo>
                    <a:lnTo>
                      <a:pt x="77630" y="27631"/>
                    </a:lnTo>
                    <a:lnTo>
                      <a:pt x="131397" y="39652"/>
                    </a:lnTo>
                    <a:cubicBezTo>
                      <a:pt x="131457" y="39652"/>
                      <a:pt x="131516" y="39772"/>
                      <a:pt x="131516" y="39832"/>
                    </a:cubicBezTo>
                    <a:cubicBezTo>
                      <a:pt x="131516" y="39832"/>
                      <a:pt x="131516" y="39832"/>
                      <a:pt x="131516" y="39832"/>
                    </a:cubicBezTo>
                    <a:cubicBezTo>
                      <a:pt x="131516" y="39832"/>
                      <a:pt x="131457" y="39891"/>
                      <a:pt x="131337" y="39891"/>
                    </a:cubicBezTo>
                    <a:close/>
                    <a:moveTo>
                      <a:pt x="95512" y="36542"/>
                    </a:moveTo>
                    <a:lnTo>
                      <a:pt x="129004" y="39353"/>
                    </a:lnTo>
                    <a:lnTo>
                      <a:pt x="78826" y="28169"/>
                    </a:lnTo>
                    <a:lnTo>
                      <a:pt x="95512" y="36542"/>
                    </a:lnTo>
                    <a:close/>
                    <a:moveTo>
                      <a:pt x="26794" y="8134"/>
                    </a:moveTo>
                    <a:lnTo>
                      <a:pt x="49879" y="21351"/>
                    </a:lnTo>
                    <a:lnTo>
                      <a:pt x="76374" y="27272"/>
                    </a:lnTo>
                    <a:lnTo>
                      <a:pt x="42463" y="10167"/>
                    </a:lnTo>
                    <a:lnTo>
                      <a:pt x="26794" y="8134"/>
                    </a:lnTo>
                    <a:close/>
                    <a:moveTo>
                      <a:pt x="17105" y="6579"/>
                    </a:moveTo>
                    <a:lnTo>
                      <a:pt x="25239" y="7655"/>
                    </a:lnTo>
                    <a:lnTo>
                      <a:pt x="12919" y="598"/>
                    </a:lnTo>
                    <a:lnTo>
                      <a:pt x="17105" y="6579"/>
                    </a:lnTo>
                    <a:close/>
                    <a:moveTo>
                      <a:pt x="837" y="4426"/>
                    </a:moveTo>
                    <a:lnTo>
                      <a:pt x="16627" y="6459"/>
                    </a:lnTo>
                    <a:lnTo>
                      <a:pt x="12261" y="239"/>
                    </a:lnTo>
                    <a:lnTo>
                      <a:pt x="837" y="4426"/>
                    </a:lnTo>
                    <a:close/>
                  </a:path>
                </a:pathLst>
              </a:custGeom>
              <a:grpFill/>
              <a:ln w="6350" cap="flat">
                <a:solidFill>
                  <a:schemeClr val="bg1">
                    <a:alpha val="80000"/>
                  </a:schemeClr>
                </a:solidFill>
                <a:prstDash val="solid"/>
                <a:miter/>
              </a:ln>
            </p:spPr>
            <p:txBody>
              <a:bodyPr rtlCol="0" anchor="ctr"/>
              <a:lstStyle/>
              <a:p>
                <a:endParaRPr lang="en-GB"/>
              </a:p>
            </p:txBody>
          </p:sp>
          <p:sp>
            <p:nvSpPr>
              <p:cNvPr id="8823" name="Vrije vorm: vorm 8822">
                <a:extLst>
                  <a:ext uri="{FF2B5EF4-FFF2-40B4-BE49-F238E27FC236}">
                    <a16:creationId xmlns:a16="http://schemas.microsoft.com/office/drawing/2014/main" id="{6AE3DFC7-CE5B-46F1-B89E-A71E7FEA0EB3}"/>
                  </a:ext>
                </a:extLst>
              </p:cNvPr>
              <p:cNvSpPr/>
              <p:nvPr/>
            </p:nvSpPr>
            <p:spPr>
              <a:xfrm>
                <a:off x="4545906" y="2459672"/>
                <a:ext cx="18420" cy="115308"/>
              </a:xfrm>
              <a:custGeom>
                <a:avLst/>
                <a:gdLst>
                  <a:gd name="connsiteX0" fmla="*/ 18420 w 18420"/>
                  <a:gd name="connsiteY0" fmla="*/ 23684 h 115308"/>
                  <a:gd name="connsiteX1" fmla="*/ 18420 w 18420"/>
                  <a:gd name="connsiteY1" fmla="*/ 23624 h 115308"/>
                  <a:gd name="connsiteX2" fmla="*/ 9629 w 18420"/>
                  <a:gd name="connsiteY2" fmla="*/ 419 h 115308"/>
                  <a:gd name="connsiteX3" fmla="*/ 17225 w 18420"/>
                  <a:gd name="connsiteY3" fmla="*/ 3110 h 115308"/>
                  <a:gd name="connsiteX4" fmla="*/ 17404 w 18420"/>
                  <a:gd name="connsiteY4" fmla="*/ 2990 h 115308"/>
                  <a:gd name="connsiteX5" fmla="*/ 17284 w 18420"/>
                  <a:gd name="connsiteY5" fmla="*/ 2811 h 115308"/>
                  <a:gd name="connsiteX6" fmla="*/ 9390 w 18420"/>
                  <a:gd name="connsiteY6" fmla="*/ 0 h 115308"/>
                  <a:gd name="connsiteX7" fmla="*/ 9210 w 18420"/>
                  <a:gd name="connsiteY7" fmla="*/ 60 h 115308"/>
                  <a:gd name="connsiteX8" fmla="*/ 9150 w 18420"/>
                  <a:gd name="connsiteY8" fmla="*/ 239 h 115308"/>
                  <a:gd name="connsiteX9" fmla="*/ 18062 w 18420"/>
                  <a:gd name="connsiteY9" fmla="*/ 23684 h 115308"/>
                  <a:gd name="connsiteX10" fmla="*/ 0 w 18420"/>
                  <a:gd name="connsiteY10" fmla="*/ 115129 h 115308"/>
                  <a:gd name="connsiteX11" fmla="*/ 0 w 18420"/>
                  <a:gd name="connsiteY11" fmla="*/ 115129 h 115308"/>
                  <a:gd name="connsiteX12" fmla="*/ 119 w 18420"/>
                  <a:gd name="connsiteY12" fmla="*/ 115308 h 115308"/>
                  <a:gd name="connsiteX13" fmla="*/ 299 w 18420"/>
                  <a:gd name="connsiteY13" fmla="*/ 115189 h 115308"/>
                  <a:gd name="connsiteX14" fmla="*/ 18420 w 18420"/>
                  <a:gd name="connsiteY14" fmla="*/ 23684 h 115308"/>
                  <a:gd name="connsiteX15" fmla="*/ 18420 w 18420"/>
                  <a:gd name="connsiteY15" fmla="*/ 23684 h 11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420" h="115308">
                    <a:moveTo>
                      <a:pt x="18420" y="23684"/>
                    </a:moveTo>
                    <a:cubicBezTo>
                      <a:pt x="18420" y="23684"/>
                      <a:pt x="18420" y="23624"/>
                      <a:pt x="18420" y="23624"/>
                    </a:cubicBezTo>
                    <a:lnTo>
                      <a:pt x="9629" y="419"/>
                    </a:lnTo>
                    <a:lnTo>
                      <a:pt x="17225" y="3110"/>
                    </a:lnTo>
                    <a:cubicBezTo>
                      <a:pt x="17284" y="3110"/>
                      <a:pt x="17404" y="3110"/>
                      <a:pt x="17404" y="2990"/>
                    </a:cubicBezTo>
                    <a:cubicBezTo>
                      <a:pt x="17404" y="2871"/>
                      <a:pt x="17404" y="2811"/>
                      <a:pt x="17284" y="2811"/>
                    </a:cubicBezTo>
                    <a:lnTo>
                      <a:pt x="9390" y="0"/>
                    </a:lnTo>
                    <a:cubicBezTo>
                      <a:pt x="9330" y="0"/>
                      <a:pt x="9270" y="0"/>
                      <a:pt x="9210" y="60"/>
                    </a:cubicBezTo>
                    <a:cubicBezTo>
                      <a:pt x="9150" y="120"/>
                      <a:pt x="9150" y="179"/>
                      <a:pt x="9150" y="239"/>
                    </a:cubicBezTo>
                    <a:lnTo>
                      <a:pt x="18062" y="23684"/>
                    </a:lnTo>
                    <a:lnTo>
                      <a:pt x="0" y="115129"/>
                    </a:lnTo>
                    <a:lnTo>
                      <a:pt x="0" y="115129"/>
                    </a:lnTo>
                    <a:cubicBezTo>
                      <a:pt x="0" y="115189"/>
                      <a:pt x="60" y="115308"/>
                      <a:pt x="119" y="115308"/>
                    </a:cubicBezTo>
                    <a:cubicBezTo>
                      <a:pt x="179" y="115308"/>
                      <a:pt x="299" y="115249"/>
                      <a:pt x="299" y="115189"/>
                    </a:cubicBezTo>
                    <a:lnTo>
                      <a:pt x="18420" y="23684"/>
                    </a:lnTo>
                    <a:cubicBezTo>
                      <a:pt x="18420" y="23684"/>
                      <a:pt x="18420" y="23684"/>
                      <a:pt x="18420" y="2368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24" name="Vrije vorm: vorm 8823">
                <a:extLst>
                  <a:ext uri="{FF2B5EF4-FFF2-40B4-BE49-F238E27FC236}">
                    <a16:creationId xmlns:a16="http://schemas.microsoft.com/office/drawing/2014/main" id="{606E220A-EAF9-4214-B4D0-728ADA5A7A04}"/>
                  </a:ext>
                </a:extLst>
              </p:cNvPr>
              <p:cNvSpPr/>
              <p:nvPr/>
            </p:nvSpPr>
            <p:spPr>
              <a:xfrm>
                <a:off x="4305755" y="2511799"/>
                <a:ext cx="257734" cy="155643"/>
              </a:xfrm>
              <a:custGeom>
                <a:avLst/>
                <a:gdLst>
                  <a:gd name="connsiteX0" fmla="*/ 257734 w 257734"/>
                  <a:gd name="connsiteY0" fmla="*/ 204 h 155643"/>
                  <a:gd name="connsiteX1" fmla="*/ 257674 w 257734"/>
                  <a:gd name="connsiteY1" fmla="*/ 25 h 155643"/>
                  <a:gd name="connsiteX2" fmla="*/ 257435 w 257734"/>
                  <a:gd name="connsiteY2" fmla="*/ 85 h 155643"/>
                  <a:gd name="connsiteX3" fmla="*/ 178908 w 257734"/>
                  <a:gd name="connsiteY3" fmla="*/ 149244 h 155643"/>
                  <a:gd name="connsiteX4" fmla="*/ 22453 w 257734"/>
                  <a:gd name="connsiteY4" fmla="*/ 155344 h 155643"/>
                  <a:gd name="connsiteX5" fmla="*/ 264 w 257734"/>
                  <a:gd name="connsiteY5" fmla="*/ 131601 h 155643"/>
                  <a:gd name="connsiteX6" fmla="*/ 85 w 257734"/>
                  <a:gd name="connsiteY6" fmla="*/ 131541 h 155643"/>
                  <a:gd name="connsiteX7" fmla="*/ 25 w 257734"/>
                  <a:gd name="connsiteY7" fmla="*/ 131720 h 155643"/>
                  <a:gd name="connsiteX8" fmla="*/ 3793 w 257734"/>
                  <a:gd name="connsiteY8" fmla="*/ 148646 h 155643"/>
                  <a:gd name="connsiteX9" fmla="*/ 3972 w 257734"/>
                  <a:gd name="connsiteY9" fmla="*/ 148765 h 155643"/>
                  <a:gd name="connsiteX10" fmla="*/ 4092 w 257734"/>
                  <a:gd name="connsiteY10" fmla="*/ 148586 h 155643"/>
                  <a:gd name="connsiteX11" fmla="*/ 443 w 257734"/>
                  <a:gd name="connsiteY11" fmla="*/ 132259 h 155643"/>
                  <a:gd name="connsiteX12" fmla="*/ 22273 w 257734"/>
                  <a:gd name="connsiteY12" fmla="*/ 155583 h 155643"/>
                  <a:gd name="connsiteX13" fmla="*/ 22393 w 257734"/>
                  <a:gd name="connsiteY13" fmla="*/ 155643 h 155643"/>
                  <a:gd name="connsiteX14" fmla="*/ 179028 w 257734"/>
                  <a:gd name="connsiteY14" fmla="*/ 149543 h 155643"/>
                  <a:gd name="connsiteX15" fmla="*/ 179148 w 257734"/>
                  <a:gd name="connsiteY15" fmla="*/ 149483 h 155643"/>
                  <a:gd name="connsiteX16" fmla="*/ 257734 w 257734"/>
                  <a:gd name="connsiteY16" fmla="*/ 204 h 155643"/>
                  <a:gd name="connsiteX17" fmla="*/ 257734 w 257734"/>
                  <a:gd name="connsiteY17" fmla="*/ 204 h 15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734" h="155643">
                    <a:moveTo>
                      <a:pt x="257734" y="204"/>
                    </a:moveTo>
                    <a:cubicBezTo>
                      <a:pt x="257734" y="144"/>
                      <a:pt x="257734" y="85"/>
                      <a:pt x="257674" y="25"/>
                    </a:cubicBezTo>
                    <a:cubicBezTo>
                      <a:pt x="257615" y="-35"/>
                      <a:pt x="257495" y="25"/>
                      <a:pt x="257435" y="85"/>
                    </a:cubicBezTo>
                    <a:lnTo>
                      <a:pt x="178908" y="149244"/>
                    </a:lnTo>
                    <a:lnTo>
                      <a:pt x="22453" y="155344"/>
                    </a:lnTo>
                    <a:lnTo>
                      <a:pt x="264" y="131601"/>
                    </a:lnTo>
                    <a:cubicBezTo>
                      <a:pt x="204" y="131541"/>
                      <a:pt x="145" y="131541"/>
                      <a:pt x="85" y="131541"/>
                    </a:cubicBezTo>
                    <a:cubicBezTo>
                      <a:pt x="25" y="131601"/>
                      <a:pt x="-35" y="131661"/>
                      <a:pt x="25" y="131720"/>
                    </a:cubicBezTo>
                    <a:lnTo>
                      <a:pt x="3793" y="148646"/>
                    </a:lnTo>
                    <a:cubicBezTo>
                      <a:pt x="3793" y="148706"/>
                      <a:pt x="3912" y="148765"/>
                      <a:pt x="3972" y="148765"/>
                    </a:cubicBezTo>
                    <a:cubicBezTo>
                      <a:pt x="4032" y="148765"/>
                      <a:pt x="4092" y="148646"/>
                      <a:pt x="4092" y="148586"/>
                    </a:cubicBezTo>
                    <a:lnTo>
                      <a:pt x="443" y="132259"/>
                    </a:lnTo>
                    <a:lnTo>
                      <a:pt x="22273" y="155583"/>
                    </a:lnTo>
                    <a:cubicBezTo>
                      <a:pt x="22333" y="155643"/>
                      <a:pt x="22333" y="155643"/>
                      <a:pt x="22393" y="155643"/>
                    </a:cubicBezTo>
                    <a:lnTo>
                      <a:pt x="179028" y="149543"/>
                    </a:lnTo>
                    <a:cubicBezTo>
                      <a:pt x="179088" y="149543"/>
                      <a:pt x="179148" y="149483"/>
                      <a:pt x="179148" y="149483"/>
                    </a:cubicBezTo>
                    <a:lnTo>
                      <a:pt x="257734" y="204"/>
                    </a:lnTo>
                    <a:cubicBezTo>
                      <a:pt x="257734" y="264"/>
                      <a:pt x="257734" y="204"/>
                      <a:pt x="257734" y="20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25" name="Vrije vorm: vorm 8824">
                <a:extLst>
                  <a:ext uri="{FF2B5EF4-FFF2-40B4-BE49-F238E27FC236}">
                    <a16:creationId xmlns:a16="http://schemas.microsoft.com/office/drawing/2014/main" id="{5E404706-C0F2-4ECA-94F9-B6F353B4B6D8}"/>
                  </a:ext>
                </a:extLst>
              </p:cNvPr>
              <p:cNvSpPr/>
              <p:nvPr/>
            </p:nvSpPr>
            <p:spPr>
              <a:xfrm>
                <a:off x="4283627" y="2445976"/>
                <a:ext cx="280824" cy="230497"/>
              </a:xfrm>
              <a:custGeom>
                <a:avLst/>
                <a:gdLst>
                  <a:gd name="connsiteX0" fmla="*/ 274181 w 280824"/>
                  <a:gd name="connsiteY0" fmla="*/ 95393 h 230497"/>
                  <a:gd name="connsiteX1" fmla="*/ 274181 w 280824"/>
                  <a:gd name="connsiteY1" fmla="*/ 95393 h 230497"/>
                  <a:gd name="connsiteX2" fmla="*/ 262579 w 280824"/>
                  <a:gd name="connsiteY2" fmla="*/ 128885 h 230497"/>
                  <a:gd name="connsiteX3" fmla="*/ 218381 w 280824"/>
                  <a:gd name="connsiteY3" fmla="*/ 201072 h 230497"/>
                  <a:gd name="connsiteX4" fmla="*/ 218381 w 280824"/>
                  <a:gd name="connsiteY4" fmla="*/ 201072 h 230497"/>
                  <a:gd name="connsiteX5" fmla="*/ 218381 w 280824"/>
                  <a:gd name="connsiteY5" fmla="*/ 201072 h 230497"/>
                  <a:gd name="connsiteX6" fmla="*/ 218381 w 280824"/>
                  <a:gd name="connsiteY6" fmla="*/ 201072 h 230497"/>
                  <a:gd name="connsiteX7" fmla="*/ 218381 w 280824"/>
                  <a:gd name="connsiteY7" fmla="*/ 201072 h 230497"/>
                  <a:gd name="connsiteX8" fmla="*/ 218381 w 280824"/>
                  <a:gd name="connsiteY8" fmla="*/ 201072 h 230497"/>
                  <a:gd name="connsiteX9" fmla="*/ 218381 w 280824"/>
                  <a:gd name="connsiteY9" fmla="*/ 201072 h 230497"/>
                  <a:gd name="connsiteX10" fmla="*/ 218381 w 280824"/>
                  <a:gd name="connsiteY10" fmla="*/ 201072 h 230497"/>
                  <a:gd name="connsiteX11" fmla="*/ 218381 w 280824"/>
                  <a:gd name="connsiteY11" fmla="*/ 201072 h 230497"/>
                  <a:gd name="connsiteX12" fmla="*/ 218381 w 280824"/>
                  <a:gd name="connsiteY12" fmla="*/ 201072 h 230497"/>
                  <a:gd name="connsiteX13" fmla="*/ 218381 w 280824"/>
                  <a:gd name="connsiteY13" fmla="*/ 201072 h 230497"/>
                  <a:gd name="connsiteX14" fmla="*/ 218381 w 280824"/>
                  <a:gd name="connsiteY14" fmla="*/ 201072 h 230497"/>
                  <a:gd name="connsiteX15" fmla="*/ 218381 w 280824"/>
                  <a:gd name="connsiteY15" fmla="*/ 201072 h 230497"/>
                  <a:gd name="connsiteX16" fmla="*/ 218381 w 280824"/>
                  <a:gd name="connsiteY16" fmla="*/ 201072 h 230497"/>
                  <a:gd name="connsiteX17" fmla="*/ 218381 w 280824"/>
                  <a:gd name="connsiteY17" fmla="*/ 201072 h 230497"/>
                  <a:gd name="connsiteX18" fmla="*/ 218381 w 280824"/>
                  <a:gd name="connsiteY18" fmla="*/ 201072 h 230497"/>
                  <a:gd name="connsiteX19" fmla="*/ 218381 w 280824"/>
                  <a:gd name="connsiteY19" fmla="*/ 201072 h 230497"/>
                  <a:gd name="connsiteX20" fmla="*/ 218381 w 280824"/>
                  <a:gd name="connsiteY20" fmla="*/ 201072 h 230497"/>
                  <a:gd name="connsiteX21" fmla="*/ 218381 w 280824"/>
                  <a:gd name="connsiteY21" fmla="*/ 201072 h 230497"/>
                  <a:gd name="connsiteX22" fmla="*/ 218381 w 280824"/>
                  <a:gd name="connsiteY22" fmla="*/ 201072 h 230497"/>
                  <a:gd name="connsiteX23" fmla="*/ 218381 w 280824"/>
                  <a:gd name="connsiteY23" fmla="*/ 201072 h 230497"/>
                  <a:gd name="connsiteX24" fmla="*/ 218381 w 280824"/>
                  <a:gd name="connsiteY24" fmla="*/ 201072 h 230497"/>
                  <a:gd name="connsiteX25" fmla="*/ 218381 w 280824"/>
                  <a:gd name="connsiteY25" fmla="*/ 201072 h 230497"/>
                  <a:gd name="connsiteX26" fmla="*/ 218381 w 280824"/>
                  <a:gd name="connsiteY26" fmla="*/ 201072 h 230497"/>
                  <a:gd name="connsiteX27" fmla="*/ 218381 w 280824"/>
                  <a:gd name="connsiteY27" fmla="*/ 201072 h 230497"/>
                  <a:gd name="connsiteX28" fmla="*/ 218381 w 280824"/>
                  <a:gd name="connsiteY28" fmla="*/ 201072 h 230497"/>
                  <a:gd name="connsiteX29" fmla="*/ 218381 w 280824"/>
                  <a:gd name="connsiteY29" fmla="*/ 201072 h 230497"/>
                  <a:gd name="connsiteX30" fmla="*/ 218381 w 280824"/>
                  <a:gd name="connsiteY30" fmla="*/ 201072 h 230497"/>
                  <a:gd name="connsiteX31" fmla="*/ 218381 w 280824"/>
                  <a:gd name="connsiteY31" fmla="*/ 201072 h 230497"/>
                  <a:gd name="connsiteX32" fmla="*/ 218381 w 280824"/>
                  <a:gd name="connsiteY32" fmla="*/ 201072 h 230497"/>
                  <a:gd name="connsiteX33" fmla="*/ 218381 w 280824"/>
                  <a:gd name="connsiteY33" fmla="*/ 201072 h 230497"/>
                  <a:gd name="connsiteX34" fmla="*/ 218381 w 280824"/>
                  <a:gd name="connsiteY34" fmla="*/ 201072 h 230497"/>
                  <a:gd name="connsiteX35" fmla="*/ 218381 w 280824"/>
                  <a:gd name="connsiteY35" fmla="*/ 201072 h 230497"/>
                  <a:gd name="connsiteX36" fmla="*/ 218381 w 280824"/>
                  <a:gd name="connsiteY36" fmla="*/ 201072 h 230497"/>
                  <a:gd name="connsiteX37" fmla="*/ 218381 w 280824"/>
                  <a:gd name="connsiteY37" fmla="*/ 201072 h 230497"/>
                  <a:gd name="connsiteX38" fmla="*/ 218381 w 280824"/>
                  <a:gd name="connsiteY38" fmla="*/ 201072 h 230497"/>
                  <a:gd name="connsiteX39" fmla="*/ 218381 w 280824"/>
                  <a:gd name="connsiteY39" fmla="*/ 201072 h 230497"/>
                  <a:gd name="connsiteX40" fmla="*/ 218381 w 280824"/>
                  <a:gd name="connsiteY40" fmla="*/ 201072 h 230497"/>
                  <a:gd name="connsiteX41" fmla="*/ 218381 w 280824"/>
                  <a:gd name="connsiteY41" fmla="*/ 201072 h 230497"/>
                  <a:gd name="connsiteX42" fmla="*/ 218381 w 280824"/>
                  <a:gd name="connsiteY42" fmla="*/ 201072 h 230497"/>
                  <a:gd name="connsiteX43" fmla="*/ 218381 w 280824"/>
                  <a:gd name="connsiteY43" fmla="*/ 201072 h 230497"/>
                  <a:gd name="connsiteX44" fmla="*/ 218381 w 280824"/>
                  <a:gd name="connsiteY44" fmla="*/ 201072 h 230497"/>
                  <a:gd name="connsiteX45" fmla="*/ 218381 w 280824"/>
                  <a:gd name="connsiteY45" fmla="*/ 201072 h 230497"/>
                  <a:gd name="connsiteX46" fmla="*/ 218381 w 280824"/>
                  <a:gd name="connsiteY46" fmla="*/ 201072 h 230497"/>
                  <a:gd name="connsiteX47" fmla="*/ 218381 w 280824"/>
                  <a:gd name="connsiteY47" fmla="*/ 201072 h 230497"/>
                  <a:gd name="connsiteX48" fmla="*/ 218381 w 280824"/>
                  <a:gd name="connsiteY48" fmla="*/ 201072 h 230497"/>
                  <a:gd name="connsiteX49" fmla="*/ 218381 w 280824"/>
                  <a:gd name="connsiteY49" fmla="*/ 201072 h 230497"/>
                  <a:gd name="connsiteX50" fmla="*/ 218381 w 280824"/>
                  <a:gd name="connsiteY50" fmla="*/ 201072 h 230497"/>
                  <a:gd name="connsiteX51" fmla="*/ 218321 w 280824"/>
                  <a:gd name="connsiteY51" fmla="*/ 201072 h 230497"/>
                  <a:gd name="connsiteX52" fmla="*/ 176037 w 280824"/>
                  <a:gd name="connsiteY52" fmla="*/ 225413 h 230497"/>
                  <a:gd name="connsiteX53" fmla="*/ 175978 w 280824"/>
                  <a:gd name="connsiteY53" fmla="*/ 225413 h 230497"/>
                  <a:gd name="connsiteX54" fmla="*/ 164913 w 280824"/>
                  <a:gd name="connsiteY54" fmla="*/ 225593 h 230497"/>
                  <a:gd name="connsiteX55" fmla="*/ 154208 w 280824"/>
                  <a:gd name="connsiteY55" fmla="*/ 230497 h 230497"/>
                  <a:gd name="connsiteX56" fmla="*/ 154148 w 280824"/>
                  <a:gd name="connsiteY56" fmla="*/ 230497 h 230497"/>
                  <a:gd name="connsiteX57" fmla="*/ 107439 w 280824"/>
                  <a:gd name="connsiteY57" fmla="*/ 226610 h 230497"/>
                  <a:gd name="connsiteX58" fmla="*/ 68684 w 280824"/>
                  <a:gd name="connsiteY58" fmla="*/ 227327 h 230497"/>
                  <a:gd name="connsiteX59" fmla="*/ 68624 w 280824"/>
                  <a:gd name="connsiteY59" fmla="*/ 227327 h 230497"/>
                  <a:gd name="connsiteX60" fmla="*/ 58337 w 280824"/>
                  <a:gd name="connsiteY60" fmla="*/ 222543 h 230497"/>
                  <a:gd name="connsiteX61" fmla="*/ 44461 w 280824"/>
                  <a:gd name="connsiteY61" fmla="*/ 221406 h 230497"/>
                  <a:gd name="connsiteX62" fmla="*/ 44402 w 280824"/>
                  <a:gd name="connsiteY62" fmla="*/ 221406 h 230497"/>
                  <a:gd name="connsiteX63" fmla="*/ 85 w 280824"/>
                  <a:gd name="connsiteY63" fmla="*/ 197484 h 230497"/>
                  <a:gd name="connsiteX64" fmla="*/ 25 w 280824"/>
                  <a:gd name="connsiteY64" fmla="*/ 197244 h 230497"/>
                  <a:gd name="connsiteX65" fmla="*/ 264 w 280824"/>
                  <a:gd name="connsiteY65" fmla="*/ 197184 h 230497"/>
                  <a:gd name="connsiteX66" fmla="*/ 44581 w 280824"/>
                  <a:gd name="connsiteY66" fmla="*/ 221048 h 230497"/>
                  <a:gd name="connsiteX67" fmla="*/ 57559 w 280824"/>
                  <a:gd name="connsiteY67" fmla="*/ 222124 h 230497"/>
                  <a:gd name="connsiteX68" fmla="*/ 8159 w 280824"/>
                  <a:gd name="connsiteY68" fmla="*/ 199158 h 230497"/>
                  <a:gd name="connsiteX69" fmla="*/ 8099 w 280824"/>
                  <a:gd name="connsiteY69" fmla="*/ 198919 h 230497"/>
                  <a:gd name="connsiteX70" fmla="*/ 8338 w 280824"/>
                  <a:gd name="connsiteY70" fmla="*/ 198859 h 230497"/>
                  <a:gd name="connsiteX71" fmla="*/ 58576 w 280824"/>
                  <a:gd name="connsiteY71" fmla="*/ 222184 h 230497"/>
                  <a:gd name="connsiteX72" fmla="*/ 107558 w 280824"/>
                  <a:gd name="connsiteY72" fmla="*/ 226251 h 230497"/>
                  <a:gd name="connsiteX73" fmla="*/ 164973 w 280824"/>
                  <a:gd name="connsiteY73" fmla="*/ 225174 h 230497"/>
                  <a:gd name="connsiteX74" fmla="*/ 218262 w 280824"/>
                  <a:gd name="connsiteY74" fmla="*/ 200653 h 230497"/>
                  <a:gd name="connsiteX75" fmla="*/ 273942 w 280824"/>
                  <a:gd name="connsiteY75" fmla="*/ 95153 h 230497"/>
                  <a:gd name="connsiteX76" fmla="*/ 275078 w 280824"/>
                  <a:gd name="connsiteY76" fmla="*/ 179 h 230497"/>
                  <a:gd name="connsiteX77" fmla="*/ 275198 w 280824"/>
                  <a:gd name="connsiteY77" fmla="*/ 0 h 230497"/>
                  <a:gd name="connsiteX78" fmla="*/ 275377 w 280824"/>
                  <a:gd name="connsiteY78" fmla="*/ 120 h 230497"/>
                  <a:gd name="connsiteX79" fmla="*/ 279743 w 280824"/>
                  <a:gd name="connsiteY79" fmla="*/ 16387 h 230497"/>
                  <a:gd name="connsiteX80" fmla="*/ 280760 w 280824"/>
                  <a:gd name="connsiteY80" fmla="*/ 37021 h 230497"/>
                  <a:gd name="connsiteX81" fmla="*/ 280700 w 280824"/>
                  <a:gd name="connsiteY81" fmla="*/ 37140 h 230497"/>
                  <a:gd name="connsiteX82" fmla="*/ 280640 w 280824"/>
                  <a:gd name="connsiteY82" fmla="*/ 37260 h 230497"/>
                  <a:gd name="connsiteX83" fmla="*/ 279863 w 280824"/>
                  <a:gd name="connsiteY83" fmla="*/ 65788 h 230497"/>
                  <a:gd name="connsiteX84" fmla="*/ 274181 w 280824"/>
                  <a:gd name="connsiteY84" fmla="*/ 95393 h 230497"/>
                  <a:gd name="connsiteX85" fmla="*/ 280401 w 280824"/>
                  <a:gd name="connsiteY85" fmla="*/ 37260 h 230497"/>
                  <a:gd name="connsiteX86" fmla="*/ 280401 w 280824"/>
                  <a:gd name="connsiteY86" fmla="*/ 37140 h 230497"/>
                  <a:gd name="connsiteX87" fmla="*/ 279384 w 280824"/>
                  <a:gd name="connsiteY87" fmla="*/ 16626 h 230497"/>
                  <a:gd name="connsiteX88" fmla="*/ 275317 w 280824"/>
                  <a:gd name="connsiteY88" fmla="*/ 1495 h 230497"/>
                  <a:gd name="connsiteX89" fmla="*/ 274241 w 280824"/>
                  <a:gd name="connsiteY89" fmla="*/ 93539 h 230497"/>
                  <a:gd name="connsiteX90" fmla="*/ 279564 w 280824"/>
                  <a:gd name="connsiteY90" fmla="*/ 65967 h 230497"/>
                  <a:gd name="connsiteX91" fmla="*/ 280341 w 280824"/>
                  <a:gd name="connsiteY91" fmla="*/ 37380 h 230497"/>
                  <a:gd name="connsiteX92" fmla="*/ 280401 w 280824"/>
                  <a:gd name="connsiteY92" fmla="*/ 37260 h 230497"/>
                  <a:gd name="connsiteX93" fmla="*/ 262339 w 280824"/>
                  <a:gd name="connsiteY93" fmla="*/ 128765 h 230497"/>
                  <a:gd name="connsiteX94" fmla="*/ 273224 w 280824"/>
                  <a:gd name="connsiteY94" fmla="*/ 97306 h 230497"/>
                  <a:gd name="connsiteX95" fmla="*/ 220833 w 280824"/>
                  <a:gd name="connsiteY95" fmla="*/ 196586 h 230497"/>
                  <a:gd name="connsiteX96" fmla="*/ 262339 w 280824"/>
                  <a:gd name="connsiteY96" fmla="*/ 128765 h 230497"/>
                  <a:gd name="connsiteX97" fmla="*/ 175978 w 280824"/>
                  <a:gd name="connsiteY97" fmla="*/ 225174 h 230497"/>
                  <a:gd name="connsiteX98" fmla="*/ 215151 w 280824"/>
                  <a:gd name="connsiteY98" fmla="*/ 202627 h 230497"/>
                  <a:gd name="connsiteX99" fmla="*/ 165691 w 280824"/>
                  <a:gd name="connsiteY99" fmla="*/ 225413 h 230497"/>
                  <a:gd name="connsiteX100" fmla="*/ 175978 w 280824"/>
                  <a:gd name="connsiteY100" fmla="*/ 225174 h 230497"/>
                  <a:gd name="connsiteX101" fmla="*/ 154148 w 280824"/>
                  <a:gd name="connsiteY101" fmla="*/ 230318 h 230497"/>
                  <a:gd name="connsiteX102" fmla="*/ 164136 w 280824"/>
                  <a:gd name="connsiteY102" fmla="*/ 225713 h 230497"/>
                  <a:gd name="connsiteX103" fmla="*/ 110609 w 280824"/>
                  <a:gd name="connsiteY103" fmla="*/ 226669 h 230497"/>
                  <a:gd name="connsiteX104" fmla="*/ 154148 w 280824"/>
                  <a:gd name="connsiteY104" fmla="*/ 230318 h 230497"/>
                  <a:gd name="connsiteX105" fmla="*/ 68743 w 280824"/>
                  <a:gd name="connsiteY105" fmla="*/ 227148 h 230497"/>
                  <a:gd name="connsiteX106" fmla="*/ 104269 w 280824"/>
                  <a:gd name="connsiteY106" fmla="*/ 226490 h 230497"/>
                  <a:gd name="connsiteX107" fmla="*/ 59294 w 280824"/>
                  <a:gd name="connsiteY107" fmla="*/ 222782 h 230497"/>
                  <a:gd name="connsiteX108" fmla="*/ 68743 w 280824"/>
                  <a:gd name="connsiteY108" fmla="*/ 227148 h 23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80824" h="230497">
                    <a:moveTo>
                      <a:pt x="274181" y="95393"/>
                    </a:moveTo>
                    <a:cubicBezTo>
                      <a:pt x="274181" y="95393"/>
                      <a:pt x="274181" y="95393"/>
                      <a:pt x="274181" y="95393"/>
                    </a:cubicBezTo>
                    <a:lnTo>
                      <a:pt x="262579" y="128885"/>
                    </a:lnTo>
                    <a:lnTo>
                      <a:pt x="218381" y="201072"/>
                    </a:lnTo>
                    <a:lnTo>
                      <a:pt x="218381" y="201072"/>
                    </a:lnTo>
                    <a:lnTo>
                      <a:pt x="218381" y="201072"/>
                    </a:lnTo>
                    <a:lnTo>
                      <a:pt x="218381" y="201072"/>
                    </a:lnTo>
                    <a:lnTo>
                      <a:pt x="218381" y="201072"/>
                    </a:lnTo>
                    <a:lnTo>
                      <a:pt x="218381" y="201072"/>
                    </a:lnTo>
                    <a:lnTo>
                      <a:pt x="218381" y="201072"/>
                    </a:lnTo>
                    <a:lnTo>
                      <a:pt x="218381" y="201072"/>
                    </a:lnTo>
                    <a:lnTo>
                      <a:pt x="218381" y="201072"/>
                    </a:lnTo>
                    <a:lnTo>
                      <a:pt x="218381" y="201072"/>
                    </a:lnTo>
                    <a:cubicBezTo>
                      <a:pt x="218381" y="201072"/>
                      <a:pt x="218381" y="201072"/>
                      <a:pt x="218381" y="201072"/>
                    </a:cubicBezTo>
                    <a:lnTo>
                      <a:pt x="218381" y="201072"/>
                    </a:lnTo>
                    <a:lnTo>
                      <a:pt x="218381" y="201072"/>
                    </a:lnTo>
                    <a:lnTo>
                      <a:pt x="218381" y="201072"/>
                    </a:lnTo>
                    <a:cubicBezTo>
                      <a:pt x="218381" y="201072"/>
                      <a:pt x="218381" y="201072"/>
                      <a:pt x="218381" y="201072"/>
                    </a:cubicBezTo>
                    <a:lnTo>
                      <a:pt x="218381" y="201072"/>
                    </a:lnTo>
                    <a:lnTo>
                      <a:pt x="218381" y="201072"/>
                    </a:lnTo>
                    <a:lnTo>
                      <a:pt x="218381" y="201072"/>
                    </a:lnTo>
                    <a:cubicBezTo>
                      <a:pt x="218381" y="201072"/>
                      <a:pt x="218381" y="201072"/>
                      <a:pt x="218381" y="201072"/>
                    </a:cubicBezTo>
                    <a:lnTo>
                      <a:pt x="218381" y="201072"/>
                    </a:lnTo>
                    <a:lnTo>
                      <a:pt x="218381" y="201072"/>
                    </a:lnTo>
                    <a:lnTo>
                      <a:pt x="218381" y="201072"/>
                    </a:lnTo>
                    <a:lnTo>
                      <a:pt x="218381" y="201072"/>
                    </a:lnTo>
                    <a:cubicBezTo>
                      <a:pt x="218381" y="201072"/>
                      <a:pt x="218381" y="201072"/>
                      <a:pt x="218381" y="201072"/>
                    </a:cubicBezTo>
                    <a:lnTo>
                      <a:pt x="218381" y="201072"/>
                    </a:lnTo>
                    <a:lnTo>
                      <a:pt x="218381" y="201072"/>
                    </a:lnTo>
                    <a:cubicBezTo>
                      <a:pt x="218381" y="201072"/>
                      <a:pt x="218381" y="201072"/>
                      <a:pt x="218381" y="201072"/>
                    </a:cubicBezTo>
                    <a:lnTo>
                      <a:pt x="218381" y="201072"/>
                    </a:lnTo>
                    <a:lnTo>
                      <a:pt x="218381" y="201072"/>
                    </a:lnTo>
                    <a:lnTo>
                      <a:pt x="218381" y="201072"/>
                    </a:lnTo>
                    <a:lnTo>
                      <a:pt x="218381" y="201072"/>
                    </a:lnTo>
                    <a:lnTo>
                      <a:pt x="218381" y="201072"/>
                    </a:lnTo>
                    <a:lnTo>
                      <a:pt x="218381" y="201072"/>
                    </a:lnTo>
                    <a:lnTo>
                      <a:pt x="218381" y="201072"/>
                    </a:lnTo>
                    <a:cubicBezTo>
                      <a:pt x="218381" y="201072"/>
                      <a:pt x="218381" y="201072"/>
                      <a:pt x="218381" y="201072"/>
                    </a:cubicBezTo>
                    <a:lnTo>
                      <a:pt x="218381" y="201072"/>
                    </a:lnTo>
                    <a:cubicBezTo>
                      <a:pt x="218381" y="201072"/>
                      <a:pt x="218381" y="201072"/>
                      <a:pt x="218381" y="201072"/>
                    </a:cubicBezTo>
                    <a:lnTo>
                      <a:pt x="218381" y="201072"/>
                    </a:lnTo>
                    <a:lnTo>
                      <a:pt x="218381" y="201072"/>
                    </a:lnTo>
                    <a:lnTo>
                      <a:pt x="218381" y="201072"/>
                    </a:lnTo>
                    <a:lnTo>
                      <a:pt x="218381" y="201072"/>
                    </a:lnTo>
                    <a:lnTo>
                      <a:pt x="218381" y="201072"/>
                    </a:lnTo>
                    <a:lnTo>
                      <a:pt x="218381" y="201072"/>
                    </a:lnTo>
                    <a:lnTo>
                      <a:pt x="218381" y="201072"/>
                    </a:lnTo>
                    <a:lnTo>
                      <a:pt x="218381" y="201072"/>
                    </a:lnTo>
                    <a:lnTo>
                      <a:pt x="218381" y="201072"/>
                    </a:lnTo>
                    <a:cubicBezTo>
                      <a:pt x="218381" y="201072"/>
                      <a:pt x="218381" y="201072"/>
                      <a:pt x="218381" y="201072"/>
                    </a:cubicBezTo>
                    <a:lnTo>
                      <a:pt x="218381" y="201072"/>
                    </a:lnTo>
                    <a:cubicBezTo>
                      <a:pt x="218381" y="201072"/>
                      <a:pt x="218381" y="201072"/>
                      <a:pt x="218321" y="201072"/>
                    </a:cubicBezTo>
                    <a:lnTo>
                      <a:pt x="176037" y="225413"/>
                    </a:lnTo>
                    <a:cubicBezTo>
                      <a:pt x="176037" y="225413"/>
                      <a:pt x="175978" y="225413"/>
                      <a:pt x="175978" y="225413"/>
                    </a:cubicBezTo>
                    <a:lnTo>
                      <a:pt x="164913" y="225593"/>
                    </a:lnTo>
                    <a:lnTo>
                      <a:pt x="154208" y="230497"/>
                    </a:lnTo>
                    <a:cubicBezTo>
                      <a:pt x="154208" y="230497"/>
                      <a:pt x="154148" y="230497"/>
                      <a:pt x="154148" y="230497"/>
                    </a:cubicBezTo>
                    <a:lnTo>
                      <a:pt x="107439" y="226610"/>
                    </a:lnTo>
                    <a:lnTo>
                      <a:pt x="68684" y="227327"/>
                    </a:lnTo>
                    <a:cubicBezTo>
                      <a:pt x="68684" y="227327"/>
                      <a:pt x="68624" y="227327"/>
                      <a:pt x="68624" y="227327"/>
                    </a:cubicBezTo>
                    <a:lnTo>
                      <a:pt x="58337" y="222543"/>
                    </a:lnTo>
                    <a:lnTo>
                      <a:pt x="44461" y="221406"/>
                    </a:lnTo>
                    <a:cubicBezTo>
                      <a:pt x="44461" y="221406"/>
                      <a:pt x="44402" y="221406"/>
                      <a:pt x="44402" y="221406"/>
                    </a:cubicBezTo>
                    <a:lnTo>
                      <a:pt x="85" y="197484"/>
                    </a:lnTo>
                    <a:cubicBezTo>
                      <a:pt x="25" y="197424"/>
                      <a:pt x="-35" y="197364"/>
                      <a:pt x="25" y="197244"/>
                    </a:cubicBezTo>
                    <a:cubicBezTo>
                      <a:pt x="85" y="197184"/>
                      <a:pt x="144" y="197125"/>
                      <a:pt x="264" y="197184"/>
                    </a:cubicBezTo>
                    <a:lnTo>
                      <a:pt x="44581" y="221048"/>
                    </a:lnTo>
                    <a:lnTo>
                      <a:pt x="57559" y="222124"/>
                    </a:lnTo>
                    <a:lnTo>
                      <a:pt x="8159" y="199158"/>
                    </a:lnTo>
                    <a:cubicBezTo>
                      <a:pt x="8099" y="199098"/>
                      <a:pt x="8039" y="199038"/>
                      <a:pt x="8099" y="198919"/>
                    </a:cubicBezTo>
                    <a:cubicBezTo>
                      <a:pt x="8159" y="198859"/>
                      <a:pt x="8218" y="198799"/>
                      <a:pt x="8338" y="198859"/>
                    </a:cubicBezTo>
                    <a:lnTo>
                      <a:pt x="58576" y="222184"/>
                    </a:lnTo>
                    <a:lnTo>
                      <a:pt x="107558" y="226251"/>
                    </a:lnTo>
                    <a:lnTo>
                      <a:pt x="164973" y="225174"/>
                    </a:lnTo>
                    <a:lnTo>
                      <a:pt x="218262" y="200653"/>
                    </a:lnTo>
                    <a:lnTo>
                      <a:pt x="273942" y="95153"/>
                    </a:lnTo>
                    <a:lnTo>
                      <a:pt x="275078" y="179"/>
                    </a:lnTo>
                    <a:cubicBezTo>
                      <a:pt x="275078" y="120"/>
                      <a:pt x="275138" y="60"/>
                      <a:pt x="275198" y="0"/>
                    </a:cubicBezTo>
                    <a:cubicBezTo>
                      <a:pt x="275258" y="0"/>
                      <a:pt x="275377" y="60"/>
                      <a:pt x="275377" y="120"/>
                    </a:cubicBezTo>
                    <a:lnTo>
                      <a:pt x="279743" y="16387"/>
                    </a:lnTo>
                    <a:cubicBezTo>
                      <a:pt x="279863" y="18361"/>
                      <a:pt x="281119" y="35167"/>
                      <a:pt x="280760" y="37021"/>
                    </a:cubicBezTo>
                    <a:cubicBezTo>
                      <a:pt x="280760" y="37081"/>
                      <a:pt x="280760" y="37140"/>
                      <a:pt x="280700" y="37140"/>
                    </a:cubicBezTo>
                    <a:cubicBezTo>
                      <a:pt x="280700" y="37140"/>
                      <a:pt x="280700" y="37200"/>
                      <a:pt x="280640" y="37260"/>
                    </a:cubicBezTo>
                    <a:cubicBezTo>
                      <a:pt x="280341" y="38935"/>
                      <a:pt x="279982" y="54963"/>
                      <a:pt x="279863" y="65788"/>
                    </a:cubicBezTo>
                    <a:lnTo>
                      <a:pt x="274181" y="95393"/>
                    </a:lnTo>
                    <a:close/>
                    <a:moveTo>
                      <a:pt x="280401" y="37260"/>
                    </a:moveTo>
                    <a:cubicBezTo>
                      <a:pt x="280401" y="37260"/>
                      <a:pt x="280401" y="37200"/>
                      <a:pt x="280401" y="37140"/>
                    </a:cubicBezTo>
                    <a:cubicBezTo>
                      <a:pt x="280640" y="35825"/>
                      <a:pt x="279923" y="24282"/>
                      <a:pt x="279384" y="16626"/>
                    </a:cubicBezTo>
                    <a:lnTo>
                      <a:pt x="275317" y="1495"/>
                    </a:lnTo>
                    <a:lnTo>
                      <a:pt x="274241" y="93539"/>
                    </a:lnTo>
                    <a:lnTo>
                      <a:pt x="279564" y="65967"/>
                    </a:lnTo>
                    <a:cubicBezTo>
                      <a:pt x="279623" y="63216"/>
                      <a:pt x="279923" y="39712"/>
                      <a:pt x="280341" y="37380"/>
                    </a:cubicBezTo>
                    <a:cubicBezTo>
                      <a:pt x="280341" y="37380"/>
                      <a:pt x="280341" y="37320"/>
                      <a:pt x="280401" y="37260"/>
                    </a:cubicBezTo>
                    <a:close/>
                    <a:moveTo>
                      <a:pt x="262339" y="128765"/>
                    </a:moveTo>
                    <a:lnTo>
                      <a:pt x="273224" y="97306"/>
                    </a:lnTo>
                    <a:lnTo>
                      <a:pt x="220833" y="196586"/>
                    </a:lnTo>
                    <a:lnTo>
                      <a:pt x="262339" y="128765"/>
                    </a:lnTo>
                    <a:close/>
                    <a:moveTo>
                      <a:pt x="175978" y="225174"/>
                    </a:moveTo>
                    <a:lnTo>
                      <a:pt x="215151" y="202627"/>
                    </a:lnTo>
                    <a:lnTo>
                      <a:pt x="165691" y="225413"/>
                    </a:lnTo>
                    <a:lnTo>
                      <a:pt x="175978" y="225174"/>
                    </a:lnTo>
                    <a:close/>
                    <a:moveTo>
                      <a:pt x="154148" y="230318"/>
                    </a:moveTo>
                    <a:lnTo>
                      <a:pt x="164136" y="225713"/>
                    </a:lnTo>
                    <a:lnTo>
                      <a:pt x="110609" y="226669"/>
                    </a:lnTo>
                    <a:lnTo>
                      <a:pt x="154148" y="230318"/>
                    </a:lnTo>
                    <a:close/>
                    <a:moveTo>
                      <a:pt x="68743" y="227148"/>
                    </a:moveTo>
                    <a:lnTo>
                      <a:pt x="104269" y="226490"/>
                    </a:lnTo>
                    <a:lnTo>
                      <a:pt x="59294" y="222782"/>
                    </a:lnTo>
                    <a:lnTo>
                      <a:pt x="68743" y="227148"/>
                    </a:lnTo>
                    <a:close/>
                  </a:path>
                </a:pathLst>
              </a:custGeom>
              <a:grpFill/>
              <a:ln w="6350" cap="flat">
                <a:solidFill>
                  <a:schemeClr val="bg1">
                    <a:alpha val="80000"/>
                  </a:schemeClr>
                </a:solidFill>
                <a:prstDash val="solid"/>
                <a:miter/>
              </a:ln>
            </p:spPr>
            <p:txBody>
              <a:bodyPr rtlCol="0" anchor="ctr"/>
              <a:lstStyle/>
              <a:p>
                <a:endParaRPr lang="en-GB"/>
              </a:p>
            </p:txBody>
          </p:sp>
          <p:sp>
            <p:nvSpPr>
              <p:cNvPr id="8826" name="Vrije vorm: vorm 8825">
                <a:extLst>
                  <a:ext uri="{FF2B5EF4-FFF2-40B4-BE49-F238E27FC236}">
                    <a16:creationId xmlns:a16="http://schemas.microsoft.com/office/drawing/2014/main" id="{B6634A3A-AD87-451D-BA58-E3CCB5123C9A}"/>
                  </a:ext>
                </a:extLst>
              </p:cNvPr>
              <p:cNvSpPr/>
              <p:nvPr/>
            </p:nvSpPr>
            <p:spPr>
              <a:xfrm>
                <a:off x="4382214" y="2462557"/>
                <a:ext cx="182232" cy="215171"/>
              </a:xfrm>
              <a:custGeom>
                <a:avLst/>
                <a:gdLst>
                  <a:gd name="connsiteX0" fmla="*/ 181276 w 182232"/>
                  <a:gd name="connsiteY0" fmla="*/ 49505 h 215171"/>
                  <a:gd name="connsiteX1" fmla="*/ 181156 w 182232"/>
                  <a:gd name="connsiteY1" fmla="*/ 49565 h 215171"/>
                  <a:gd name="connsiteX2" fmla="*/ 170989 w 182232"/>
                  <a:gd name="connsiteY2" fmla="*/ 49984 h 215171"/>
                  <a:gd name="connsiteX3" fmla="*/ 146468 w 182232"/>
                  <a:gd name="connsiteY3" fmla="*/ 114516 h 215171"/>
                  <a:gd name="connsiteX4" fmla="*/ 151970 w 182232"/>
                  <a:gd name="connsiteY4" fmla="*/ 141967 h 215171"/>
                  <a:gd name="connsiteX5" fmla="*/ 151910 w 182232"/>
                  <a:gd name="connsiteY5" fmla="*/ 142147 h 215171"/>
                  <a:gd name="connsiteX6" fmla="*/ 151731 w 182232"/>
                  <a:gd name="connsiteY6" fmla="*/ 142147 h 215171"/>
                  <a:gd name="connsiteX7" fmla="*/ 137915 w 182232"/>
                  <a:gd name="connsiteY7" fmla="*/ 136944 h 215171"/>
                  <a:gd name="connsiteX8" fmla="*/ 119854 w 182232"/>
                  <a:gd name="connsiteY8" fmla="*/ 184431 h 215171"/>
                  <a:gd name="connsiteX9" fmla="*/ 119734 w 182232"/>
                  <a:gd name="connsiteY9" fmla="*/ 184550 h 215171"/>
                  <a:gd name="connsiteX10" fmla="*/ 76015 w 182232"/>
                  <a:gd name="connsiteY10" fmla="*/ 195734 h 215171"/>
                  <a:gd name="connsiteX11" fmla="*/ 77570 w 182232"/>
                  <a:gd name="connsiteY11" fmla="*/ 208772 h 215171"/>
                  <a:gd name="connsiteX12" fmla="*/ 77510 w 182232"/>
                  <a:gd name="connsiteY12" fmla="*/ 208952 h 215171"/>
                  <a:gd name="connsiteX13" fmla="*/ 77331 w 182232"/>
                  <a:gd name="connsiteY13" fmla="*/ 208952 h 215171"/>
                  <a:gd name="connsiteX14" fmla="*/ 63814 w 182232"/>
                  <a:gd name="connsiteY14" fmla="*/ 198904 h 215171"/>
                  <a:gd name="connsiteX15" fmla="*/ 179 w 182232"/>
                  <a:gd name="connsiteY15" fmla="*/ 215171 h 215171"/>
                  <a:gd name="connsiteX16" fmla="*/ 60 w 182232"/>
                  <a:gd name="connsiteY16" fmla="*/ 215112 h 215171"/>
                  <a:gd name="connsiteX17" fmla="*/ 0 w 182232"/>
                  <a:gd name="connsiteY17" fmla="*/ 214992 h 215171"/>
                  <a:gd name="connsiteX18" fmla="*/ 2153 w 182232"/>
                  <a:gd name="connsiteY18" fmla="*/ 152912 h 215171"/>
                  <a:gd name="connsiteX19" fmla="*/ 2273 w 182232"/>
                  <a:gd name="connsiteY19" fmla="*/ 152792 h 215171"/>
                  <a:gd name="connsiteX20" fmla="*/ 2452 w 182232"/>
                  <a:gd name="connsiteY20" fmla="*/ 152792 h 215171"/>
                  <a:gd name="connsiteX21" fmla="*/ 63934 w 182232"/>
                  <a:gd name="connsiteY21" fmla="*/ 198545 h 215171"/>
                  <a:gd name="connsiteX22" fmla="*/ 75716 w 182232"/>
                  <a:gd name="connsiteY22" fmla="*/ 195555 h 215171"/>
                  <a:gd name="connsiteX23" fmla="*/ 65429 w 182232"/>
                  <a:gd name="connsiteY23" fmla="*/ 109492 h 215171"/>
                  <a:gd name="connsiteX24" fmla="*/ 65489 w 182232"/>
                  <a:gd name="connsiteY24" fmla="*/ 109373 h 215171"/>
                  <a:gd name="connsiteX25" fmla="*/ 65668 w 182232"/>
                  <a:gd name="connsiteY25" fmla="*/ 109373 h 215171"/>
                  <a:gd name="connsiteX26" fmla="*/ 137796 w 182232"/>
                  <a:gd name="connsiteY26" fmla="*/ 136704 h 215171"/>
                  <a:gd name="connsiteX27" fmla="*/ 146169 w 182232"/>
                  <a:gd name="connsiteY27" fmla="*/ 114695 h 215171"/>
                  <a:gd name="connsiteX28" fmla="*/ 133490 w 182232"/>
                  <a:gd name="connsiteY28" fmla="*/ 51658 h 215171"/>
                  <a:gd name="connsiteX29" fmla="*/ 133549 w 182232"/>
                  <a:gd name="connsiteY29" fmla="*/ 51539 h 215171"/>
                  <a:gd name="connsiteX30" fmla="*/ 133669 w 182232"/>
                  <a:gd name="connsiteY30" fmla="*/ 51479 h 215171"/>
                  <a:gd name="connsiteX31" fmla="*/ 170869 w 182232"/>
                  <a:gd name="connsiteY31" fmla="*/ 49864 h 215171"/>
                  <a:gd name="connsiteX32" fmla="*/ 175115 w 182232"/>
                  <a:gd name="connsiteY32" fmla="*/ 38740 h 215171"/>
                  <a:gd name="connsiteX33" fmla="*/ 162915 w 182232"/>
                  <a:gd name="connsiteY33" fmla="*/ 16611 h 215171"/>
                  <a:gd name="connsiteX34" fmla="*/ 162975 w 182232"/>
                  <a:gd name="connsiteY34" fmla="*/ 16432 h 215171"/>
                  <a:gd name="connsiteX35" fmla="*/ 180977 w 182232"/>
                  <a:gd name="connsiteY35" fmla="*/ 45 h 215171"/>
                  <a:gd name="connsiteX36" fmla="*/ 181216 w 182232"/>
                  <a:gd name="connsiteY36" fmla="*/ 45 h 215171"/>
                  <a:gd name="connsiteX37" fmla="*/ 181216 w 182232"/>
                  <a:gd name="connsiteY37" fmla="*/ 284 h 215171"/>
                  <a:gd name="connsiteX38" fmla="*/ 163334 w 182232"/>
                  <a:gd name="connsiteY38" fmla="*/ 16552 h 215171"/>
                  <a:gd name="connsiteX39" fmla="*/ 175295 w 182232"/>
                  <a:gd name="connsiteY39" fmla="*/ 38322 h 215171"/>
                  <a:gd name="connsiteX40" fmla="*/ 181933 w 182232"/>
                  <a:gd name="connsiteY40" fmla="*/ 20798 h 215171"/>
                  <a:gd name="connsiteX41" fmla="*/ 182113 w 182232"/>
                  <a:gd name="connsiteY41" fmla="*/ 20678 h 215171"/>
                  <a:gd name="connsiteX42" fmla="*/ 182232 w 182232"/>
                  <a:gd name="connsiteY42" fmla="*/ 20858 h 215171"/>
                  <a:gd name="connsiteX43" fmla="*/ 175474 w 182232"/>
                  <a:gd name="connsiteY43" fmla="*/ 38620 h 215171"/>
                  <a:gd name="connsiteX44" fmla="*/ 181395 w 182232"/>
                  <a:gd name="connsiteY44" fmla="*/ 49386 h 215171"/>
                  <a:gd name="connsiteX45" fmla="*/ 181276 w 182232"/>
                  <a:gd name="connsiteY45" fmla="*/ 49505 h 215171"/>
                  <a:gd name="connsiteX46" fmla="*/ 181276 w 182232"/>
                  <a:gd name="connsiteY46" fmla="*/ 49505 h 215171"/>
                  <a:gd name="connsiteX47" fmla="*/ 171108 w 182232"/>
                  <a:gd name="connsiteY47" fmla="*/ 49685 h 215171"/>
                  <a:gd name="connsiteX48" fmla="*/ 180857 w 182232"/>
                  <a:gd name="connsiteY48" fmla="*/ 49266 h 215171"/>
                  <a:gd name="connsiteX49" fmla="*/ 175175 w 182232"/>
                  <a:gd name="connsiteY49" fmla="*/ 38979 h 215171"/>
                  <a:gd name="connsiteX50" fmla="*/ 171108 w 182232"/>
                  <a:gd name="connsiteY50" fmla="*/ 49685 h 215171"/>
                  <a:gd name="connsiteX51" fmla="*/ 146288 w 182232"/>
                  <a:gd name="connsiteY51" fmla="*/ 113978 h 215171"/>
                  <a:gd name="connsiteX52" fmla="*/ 170630 w 182232"/>
                  <a:gd name="connsiteY52" fmla="*/ 50044 h 215171"/>
                  <a:gd name="connsiteX53" fmla="*/ 133789 w 182232"/>
                  <a:gd name="connsiteY53" fmla="*/ 51658 h 215171"/>
                  <a:gd name="connsiteX54" fmla="*/ 146288 w 182232"/>
                  <a:gd name="connsiteY54" fmla="*/ 113978 h 215171"/>
                  <a:gd name="connsiteX55" fmla="*/ 138035 w 182232"/>
                  <a:gd name="connsiteY55" fmla="*/ 136645 h 215171"/>
                  <a:gd name="connsiteX56" fmla="*/ 151611 w 182232"/>
                  <a:gd name="connsiteY56" fmla="*/ 141788 h 215171"/>
                  <a:gd name="connsiteX57" fmla="*/ 146228 w 182232"/>
                  <a:gd name="connsiteY57" fmla="*/ 115114 h 215171"/>
                  <a:gd name="connsiteX58" fmla="*/ 138035 w 182232"/>
                  <a:gd name="connsiteY58" fmla="*/ 136645 h 215171"/>
                  <a:gd name="connsiteX59" fmla="*/ 76015 w 182232"/>
                  <a:gd name="connsiteY59" fmla="*/ 195375 h 215171"/>
                  <a:gd name="connsiteX60" fmla="*/ 119614 w 182232"/>
                  <a:gd name="connsiteY60" fmla="*/ 184251 h 215171"/>
                  <a:gd name="connsiteX61" fmla="*/ 137676 w 182232"/>
                  <a:gd name="connsiteY61" fmla="*/ 136824 h 215171"/>
                  <a:gd name="connsiteX62" fmla="*/ 65848 w 182232"/>
                  <a:gd name="connsiteY62" fmla="*/ 109612 h 215171"/>
                  <a:gd name="connsiteX63" fmla="*/ 76015 w 182232"/>
                  <a:gd name="connsiteY63" fmla="*/ 195375 h 215171"/>
                  <a:gd name="connsiteX64" fmla="*/ 64233 w 182232"/>
                  <a:gd name="connsiteY64" fmla="*/ 198724 h 215171"/>
                  <a:gd name="connsiteX65" fmla="*/ 77211 w 182232"/>
                  <a:gd name="connsiteY65" fmla="*/ 208353 h 215171"/>
                  <a:gd name="connsiteX66" fmla="*/ 75716 w 182232"/>
                  <a:gd name="connsiteY66" fmla="*/ 195734 h 215171"/>
                  <a:gd name="connsiteX67" fmla="*/ 64233 w 182232"/>
                  <a:gd name="connsiteY67" fmla="*/ 198724 h 215171"/>
                  <a:gd name="connsiteX68" fmla="*/ 299 w 182232"/>
                  <a:gd name="connsiteY68" fmla="*/ 214753 h 215171"/>
                  <a:gd name="connsiteX69" fmla="*/ 63515 w 182232"/>
                  <a:gd name="connsiteY69" fmla="*/ 198605 h 215171"/>
                  <a:gd name="connsiteX70" fmla="*/ 2452 w 182232"/>
                  <a:gd name="connsiteY70" fmla="*/ 153211 h 215171"/>
                  <a:gd name="connsiteX71" fmla="*/ 299 w 182232"/>
                  <a:gd name="connsiteY71" fmla="*/ 214753 h 21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2232" h="215171">
                    <a:moveTo>
                      <a:pt x="181276" y="49505"/>
                    </a:moveTo>
                    <a:cubicBezTo>
                      <a:pt x="181276" y="49565"/>
                      <a:pt x="181216" y="49565"/>
                      <a:pt x="181156" y="49565"/>
                    </a:cubicBezTo>
                    <a:lnTo>
                      <a:pt x="170989" y="49984"/>
                    </a:lnTo>
                    <a:lnTo>
                      <a:pt x="146468" y="114516"/>
                    </a:lnTo>
                    <a:lnTo>
                      <a:pt x="151970" y="141967"/>
                    </a:lnTo>
                    <a:cubicBezTo>
                      <a:pt x="151970" y="142027"/>
                      <a:pt x="151970" y="142087"/>
                      <a:pt x="151910" y="142147"/>
                    </a:cubicBezTo>
                    <a:cubicBezTo>
                      <a:pt x="151850" y="142207"/>
                      <a:pt x="151791" y="142207"/>
                      <a:pt x="151731" y="142147"/>
                    </a:cubicBezTo>
                    <a:lnTo>
                      <a:pt x="137915" y="136944"/>
                    </a:lnTo>
                    <a:lnTo>
                      <a:pt x="119854" y="184431"/>
                    </a:lnTo>
                    <a:cubicBezTo>
                      <a:pt x="119854" y="184490"/>
                      <a:pt x="119794" y="184490"/>
                      <a:pt x="119734" y="184550"/>
                    </a:cubicBezTo>
                    <a:lnTo>
                      <a:pt x="76015" y="195734"/>
                    </a:lnTo>
                    <a:lnTo>
                      <a:pt x="77570" y="208772"/>
                    </a:lnTo>
                    <a:cubicBezTo>
                      <a:pt x="77570" y="208832"/>
                      <a:pt x="77570" y="208892"/>
                      <a:pt x="77510" y="208952"/>
                    </a:cubicBezTo>
                    <a:cubicBezTo>
                      <a:pt x="77450" y="209011"/>
                      <a:pt x="77391" y="208952"/>
                      <a:pt x="77331" y="208952"/>
                    </a:cubicBezTo>
                    <a:lnTo>
                      <a:pt x="63814" y="198904"/>
                    </a:lnTo>
                    <a:lnTo>
                      <a:pt x="179" y="215171"/>
                    </a:lnTo>
                    <a:cubicBezTo>
                      <a:pt x="119" y="215171"/>
                      <a:pt x="60" y="215171"/>
                      <a:pt x="60" y="215112"/>
                    </a:cubicBezTo>
                    <a:cubicBezTo>
                      <a:pt x="60" y="215052"/>
                      <a:pt x="0" y="215052"/>
                      <a:pt x="0" y="214992"/>
                    </a:cubicBezTo>
                    <a:lnTo>
                      <a:pt x="2153" y="152912"/>
                    </a:lnTo>
                    <a:cubicBezTo>
                      <a:pt x="2153" y="152852"/>
                      <a:pt x="2213" y="152792"/>
                      <a:pt x="2273" y="152792"/>
                    </a:cubicBezTo>
                    <a:cubicBezTo>
                      <a:pt x="2332" y="152792"/>
                      <a:pt x="2392" y="152792"/>
                      <a:pt x="2452" y="152792"/>
                    </a:cubicBezTo>
                    <a:lnTo>
                      <a:pt x="63934" y="198545"/>
                    </a:lnTo>
                    <a:lnTo>
                      <a:pt x="75716" y="195555"/>
                    </a:lnTo>
                    <a:lnTo>
                      <a:pt x="65429" y="109492"/>
                    </a:lnTo>
                    <a:cubicBezTo>
                      <a:pt x="65429" y="109432"/>
                      <a:pt x="65429" y="109373"/>
                      <a:pt x="65489" y="109373"/>
                    </a:cubicBezTo>
                    <a:cubicBezTo>
                      <a:pt x="65548" y="109313"/>
                      <a:pt x="65608" y="109313"/>
                      <a:pt x="65668" y="109373"/>
                    </a:cubicBezTo>
                    <a:lnTo>
                      <a:pt x="137796" y="136704"/>
                    </a:lnTo>
                    <a:lnTo>
                      <a:pt x="146169" y="114695"/>
                    </a:lnTo>
                    <a:lnTo>
                      <a:pt x="133490" y="51658"/>
                    </a:lnTo>
                    <a:cubicBezTo>
                      <a:pt x="133490" y="51599"/>
                      <a:pt x="133490" y="51539"/>
                      <a:pt x="133549" y="51539"/>
                    </a:cubicBezTo>
                    <a:cubicBezTo>
                      <a:pt x="133549" y="51479"/>
                      <a:pt x="133609" y="51479"/>
                      <a:pt x="133669" y="51479"/>
                    </a:cubicBezTo>
                    <a:lnTo>
                      <a:pt x="170869" y="49864"/>
                    </a:lnTo>
                    <a:lnTo>
                      <a:pt x="175115" y="38740"/>
                    </a:lnTo>
                    <a:lnTo>
                      <a:pt x="162915" y="16611"/>
                    </a:lnTo>
                    <a:cubicBezTo>
                      <a:pt x="162855" y="16552"/>
                      <a:pt x="162915" y="16492"/>
                      <a:pt x="162975" y="16432"/>
                    </a:cubicBezTo>
                    <a:lnTo>
                      <a:pt x="180977" y="45"/>
                    </a:lnTo>
                    <a:cubicBezTo>
                      <a:pt x="181036" y="-15"/>
                      <a:pt x="181156" y="-15"/>
                      <a:pt x="181216" y="45"/>
                    </a:cubicBezTo>
                    <a:cubicBezTo>
                      <a:pt x="181276" y="105"/>
                      <a:pt x="181276" y="224"/>
                      <a:pt x="181216" y="284"/>
                    </a:cubicBezTo>
                    <a:lnTo>
                      <a:pt x="163334" y="16552"/>
                    </a:lnTo>
                    <a:lnTo>
                      <a:pt x="175295" y="38322"/>
                    </a:lnTo>
                    <a:lnTo>
                      <a:pt x="181933" y="20798"/>
                    </a:lnTo>
                    <a:cubicBezTo>
                      <a:pt x="181993" y="20738"/>
                      <a:pt x="182053" y="20678"/>
                      <a:pt x="182113" y="20678"/>
                    </a:cubicBezTo>
                    <a:cubicBezTo>
                      <a:pt x="182173" y="20738"/>
                      <a:pt x="182232" y="20798"/>
                      <a:pt x="182232" y="20858"/>
                    </a:cubicBezTo>
                    <a:lnTo>
                      <a:pt x="175474" y="38620"/>
                    </a:lnTo>
                    <a:lnTo>
                      <a:pt x="181395" y="49386"/>
                    </a:lnTo>
                    <a:cubicBezTo>
                      <a:pt x="181276" y="49386"/>
                      <a:pt x="181276" y="49386"/>
                      <a:pt x="181276" y="49505"/>
                    </a:cubicBezTo>
                    <a:cubicBezTo>
                      <a:pt x="181276" y="49446"/>
                      <a:pt x="181276" y="49505"/>
                      <a:pt x="181276" y="49505"/>
                    </a:cubicBezTo>
                    <a:close/>
                    <a:moveTo>
                      <a:pt x="171108" y="49685"/>
                    </a:moveTo>
                    <a:lnTo>
                      <a:pt x="180857" y="49266"/>
                    </a:lnTo>
                    <a:lnTo>
                      <a:pt x="175175" y="38979"/>
                    </a:lnTo>
                    <a:lnTo>
                      <a:pt x="171108" y="49685"/>
                    </a:lnTo>
                    <a:close/>
                    <a:moveTo>
                      <a:pt x="146288" y="113978"/>
                    </a:moveTo>
                    <a:lnTo>
                      <a:pt x="170630" y="50044"/>
                    </a:lnTo>
                    <a:lnTo>
                      <a:pt x="133789" y="51658"/>
                    </a:lnTo>
                    <a:lnTo>
                      <a:pt x="146288" y="113978"/>
                    </a:lnTo>
                    <a:close/>
                    <a:moveTo>
                      <a:pt x="138035" y="136645"/>
                    </a:moveTo>
                    <a:lnTo>
                      <a:pt x="151611" y="141788"/>
                    </a:lnTo>
                    <a:lnTo>
                      <a:pt x="146228" y="115114"/>
                    </a:lnTo>
                    <a:lnTo>
                      <a:pt x="138035" y="136645"/>
                    </a:lnTo>
                    <a:close/>
                    <a:moveTo>
                      <a:pt x="76015" y="195375"/>
                    </a:moveTo>
                    <a:lnTo>
                      <a:pt x="119614" y="184251"/>
                    </a:lnTo>
                    <a:lnTo>
                      <a:pt x="137676" y="136824"/>
                    </a:lnTo>
                    <a:lnTo>
                      <a:pt x="65848" y="109612"/>
                    </a:lnTo>
                    <a:lnTo>
                      <a:pt x="76015" y="195375"/>
                    </a:lnTo>
                    <a:close/>
                    <a:moveTo>
                      <a:pt x="64233" y="198724"/>
                    </a:moveTo>
                    <a:lnTo>
                      <a:pt x="77211" y="208353"/>
                    </a:lnTo>
                    <a:lnTo>
                      <a:pt x="75716" y="195734"/>
                    </a:lnTo>
                    <a:lnTo>
                      <a:pt x="64233" y="198724"/>
                    </a:lnTo>
                    <a:close/>
                    <a:moveTo>
                      <a:pt x="299" y="214753"/>
                    </a:moveTo>
                    <a:lnTo>
                      <a:pt x="63515" y="198605"/>
                    </a:lnTo>
                    <a:lnTo>
                      <a:pt x="2452" y="153211"/>
                    </a:lnTo>
                    <a:lnTo>
                      <a:pt x="299" y="214753"/>
                    </a:lnTo>
                    <a:close/>
                  </a:path>
                </a:pathLst>
              </a:custGeom>
              <a:grpFill/>
              <a:ln w="6350" cap="flat">
                <a:solidFill>
                  <a:schemeClr val="bg1">
                    <a:alpha val="80000"/>
                  </a:schemeClr>
                </a:solidFill>
                <a:prstDash val="solid"/>
                <a:miter/>
              </a:ln>
            </p:spPr>
            <p:txBody>
              <a:bodyPr rtlCol="0" anchor="ctr"/>
              <a:lstStyle/>
              <a:p>
                <a:endParaRPr lang="en-GB"/>
              </a:p>
            </p:txBody>
          </p:sp>
          <p:sp>
            <p:nvSpPr>
              <p:cNvPr id="8827" name="Vrije vorm: vorm 8826">
                <a:extLst>
                  <a:ext uri="{FF2B5EF4-FFF2-40B4-BE49-F238E27FC236}">
                    <a16:creationId xmlns:a16="http://schemas.microsoft.com/office/drawing/2014/main" id="{C94B12E6-2D6C-4A05-BA7F-1B2E6C55398F}"/>
                  </a:ext>
                </a:extLst>
              </p:cNvPr>
              <p:cNvSpPr/>
              <p:nvPr/>
            </p:nvSpPr>
            <p:spPr>
              <a:xfrm>
                <a:off x="4447618" y="2571810"/>
                <a:ext cx="54449" cy="75297"/>
              </a:xfrm>
              <a:custGeom>
                <a:avLst/>
                <a:gdLst>
                  <a:gd name="connsiteX0" fmla="*/ 54449 w 54449"/>
                  <a:gd name="connsiteY0" fmla="*/ 75178 h 75297"/>
                  <a:gd name="connsiteX1" fmla="*/ 54449 w 54449"/>
                  <a:gd name="connsiteY1" fmla="*/ 75058 h 75297"/>
                  <a:gd name="connsiteX2" fmla="*/ 324 w 54449"/>
                  <a:gd name="connsiteY2" fmla="*/ 60 h 75297"/>
                  <a:gd name="connsiteX3" fmla="*/ 84 w 54449"/>
                  <a:gd name="connsiteY3" fmla="*/ 0 h 75297"/>
                  <a:gd name="connsiteX4" fmla="*/ 25 w 54449"/>
                  <a:gd name="connsiteY4" fmla="*/ 239 h 75297"/>
                  <a:gd name="connsiteX5" fmla="*/ 54150 w 54449"/>
                  <a:gd name="connsiteY5" fmla="*/ 75238 h 75297"/>
                  <a:gd name="connsiteX6" fmla="*/ 54389 w 54449"/>
                  <a:gd name="connsiteY6" fmla="*/ 75297 h 75297"/>
                  <a:gd name="connsiteX7" fmla="*/ 54449 w 54449"/>
                  <a:gd name="connsiteY7" fmla="*/ 75178 h 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49" h="75297">
                    <a:moveTo>
                      <a:pt x="54449" y="75178"/>
                    </a:moveTo>
                    <a:cubicBezTo>
                      <a:pt x="54449" y="75118"/>
                      <a:pt x="54449" y="75118"/>
                      <a:pt x="54449" y="75058"/>
                    </a:cubicBezTo>
                    <a:lnTo>
                      <a:pt x="324" y="60"/>
                    </a:lnTo>
                    <a:cubicBezTo>
                      <a:pt x="264" y="0"/>
                      <a:pt x="144" y="0"/>
                      <a:pt x="84" y="0"/>
                    </a:cubicBezTo>
                    <a:cubicBezTo>
                      <a:pt x="25" y="60"/>
                      <a:pt x="-35" y="179"/>
                      <a:pt x="25" y="239"/>
                    </a:cubicBezTo>
                    <a:lnTo>
                      <a:pt x="54150" y="75238"/>
                    </a:lnTo>
                    <a:cubicBezTo>
                      <a:pt x="54210" y="75297"/>
                      <a:pt x="54330" y="75297"/>
                      <a:pt x="54389" y="75297"/>
                    </a:cubicBezTo>
                    <a:cubicBezTo>
                      <a:pt x="54389" y="75238"/>
                      <a:pt x="54449" y="75178"/>
                      <a:pt x="54449" y="7517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28" name="Vrije vorm: vorm 8827">
                <a:extLst>
                  <a:ext uri="{FF2B5EF4-FFF2-40B4-BE49-F238E27FC236}">
                    <a16:creationId xmlns:a16="http://schemas.microsoft.com/office/drawing/2014/main" id="{E203143D-E294-4974-A7B0-6FD9883EE24A}"/>
                  </a:ext>
                </a:extLst>
              </p:cNvPr>
              <p:cNvSpPr/>
              <p:nvPr/>
            </p:nvSpPr>
            <p:spPr>
              <a:xfrm>
                <a:off x="4361197" y="2468060"/>
                <a:ext cx="154731" cy="208652"/>
              </a:xfrm>
              <a:custGeom>
                <a:avLst/>
                <a:gdLst>
                  <a:gd name="connsiteX0" fmla="*/ 154686 w 154731"/>
                  <a:gd name="connsiteY0" fmla="*/ 46097 h 208652"/>
                  <a:gd name="connsiteX1" fmla="*/ 133873 w 154731"/>
                  <a:gd name="connsiteY1" fmla="*/ 64816 h 208652"/>
                  <a:gd name="connsiteX2" fmla="*/ 111446 w 154731"/>
                  <a:gd name="connsiteY2" fmla="*/ 84911 h 208652"/>
                  <a:gd name="connsiteX3" fmla="*/ 111206 w 154731"/>
                  <a:gd name="connsiteY3" fmla="*/ 84911 h 208652"/>
                  <a:gd name="connsiteX4" fmla="*/ 94520 w 154731"/>
                  <a:gd name="connsiteY4" fmla="*/ 70976 h 208652"/>
                  <a:gd name="connsiteX5" fmla="*/ 105166 w 154731"/>
                  <a:gd name="connsiteY5" fmla="*/ 90234 h 208652"/>
                  <a:gd name="connsiteX6" fmla="*/ 105166 w 154731"/>
                  <a:gd name="connsiteY6" fmla="*/ 90234 h 208652"/>
                  <a:gd name="connsiteX7" fmla="*/ 105166 w 154731"/>
                  <a:gd name="connsiteY7" fmla="*/ 90234 h 208652"/>
                  <a:gd name="connsiteX8" fmla="*/ 105166 w 154731"/>
                  <a:gd name="connsiteY8" fmla="*/ 90234 h 208652"/>
                  <a:gd name="connsiteX9" fmla="*/ 105166 w 154731"/>
                  <a:gd name="connsiteY9" fmla="*/ 90414 h 208652"/>
                  <a:gd name="connsiteX10" fmla="*/ 86685 w 154731"/>
                  <a:gd name="connsiteY10" fmla="*/ 104050 h 208652"/>
                  <a:gd name="connsiteX11" fmla="*/ 67308 w 154731"/>
                  <a:gd name="connsiteY11" fmla="*/ 119121 h 208652"/>
                  <a:gd name="connsiteX12" fmla="*/ 67188 w 154731"/>
                  <a:gd name="connsiteY12" fmla="*/ 119181 h 208652"/>
                  <a:gd name="connsiteX13" fmla="*/ 67068 w 154731"/>
                  <a:gd name="connsiteY13" fmla="*/ 119121 h 208652"/>
                  <a:gd name="connsiteX14" fmla="*/ 43864 w 154731"/>
                  <a:gd name="connsiteY14" fmla="*/ 77734 h 208652"/>
                  <a:gd name="connsiteX15" fmla="*/ 60909 w 154731"/>
                  <a:gd name="connsiteY15" fmla="*/ 123487 h 208652"/>
                  <a:gd name="connsiteX16" fmla="*/ 76698 w 154731"/>
                  <a:gd name="connsiteY16" fmla="*/ 208473 h 208652"/>
                  <a:gd name="connsiteX17" fmla="*/ 76578 w 154731"/>
                  <a:gd name="connsiteY17" fmla="*/ 208652 h 208652"/>
                  <a:gd name="connsiteX18" fmla="*/ 76399 w 154731"/>
                  <a:gd name="connsiteY18" fmla="*/ 208533 h 208652"/>
                  <a:gd name="connsiteX19" fmla="*/ 60610 w 154731"/>
                  <a:gd name="connsiteY19" fmla="*/ 123607 h 208652"/>
                  <a:gd name="connsiteX20" fmla="*/ 42847 w 154731"/>
                  <a:gd name="connsiteY20" fmla="*/ 75940 h 208652"/>
                  <a:gd name="connsiteX21" fmla="*/ 23170 w 154731"/>
                  <a:gd name="connsiteY21" fmla="*/ 56204 h 208652"/>
                  <a:gd name="connsiteX22" fmla="*/ 23110 w 154731"/>
                  <a:gd name="connsiteY22" fmla="*/ 56144 h 208652"/>
                  <a:gd name="connsiteX23" fmla="*/ 7979 w 154731"/>
                  <a:gd name="connsiteY23" fmla="*/ 13681 h 208652"/>
                  <a:gd name="connsiteX24" fmla="*/ 25 w 154731"/>
                  <a:gd name="connsiteY24" fmla="*/ 224 h 208652"/>
                  <a:gd name="connsiteX25" fmla="*/ 85 w 154731"/>
                  <a:gd name="connsiteY25" fmla="*/ 45 h 208652"/>
                  <a:gd name="connsiteX26" fmla="*/ 264 w 154731"/>
                  <a:gd name="connsiteY26" fmla="*/ 45 h 208652"/>
                  <a:gd name="connsiteX27" fmla="*/ 13422 w 154731"/>
                  <a:gd name="connsiteY27" fmla="*/ 10750 h 208652"/>
                  <a:gd name="connsiteX28" fmla="*/ 18326 w 154731"/>
                  <a:gd name="connsiteY28" fmla="*/ 7341 h 208652"/>
                  <a:gd name="connsiteX29" fmla="*/ 18386 w 154731"/>
                  <a:gd name="connsiteY29" fmla="*/ 7341 h 208652"/>
                  <a:gd name="connsiteX30" fmla="*/ 29809 w 154731"/>
                  <a:gd name="connsiteY30" fmla="*/ 3813 h 208652"/>
                  <a:gd name="connsiteX31" fmla="*/ 29928 w 154731"/>
                  <a:gd name="connsiteY31" fmla="*/ 3813 h 208652"/>
                  <a:gd name="connsiteX32" fmla="*/ 154566 w 154731"/>
                  <a:gd name="connsiteY32" fmla="*/ 45977 h 208652"/>
                  <a:gd name="connsiteX33" fmla="*/ 154686 w 154731"/>
                  <a:gd name="connsiteY33" fmla="*/ 46097 h 208652"/>
                  <a:gd name="connsiteX34" fmla="*/ 154686 w 154731"/>
                  <a:gd name="connsiteY34" fmla="*/ 46156 h 208652"/>
                  <a:gd name="connsiteX35" fmla="*/ 154686 w 154731"/>
                  <a:gd name="connsiteY35" fmla="*/ 46097 h 208652"/>
                  <a:gd name="connsiteX36" fmla="*/ 18804 w 154731"/>
                  <a:gd name="connsiteY36" fmla="*/ 7401 h 208652"/>
                  <a:gd name="connsiteX37" fmla="*/ 36627 w 154731"/>
                  <a:gd name="connsiteY37" fmla="*/ 22233 h 208652"/>
                  <a:gd name="connsiteX38" fmla="*/ 36627 w 154731"/>
                  <a:gd name="connsiteY38" fmla="*/ 22233 h 208652"/>
                  <a:gd name="connsiteX39" fmla="*/ 111326 w 154731"/>
                  <a:gd name="connsiteY39" fmla="*/ 84553 h 208652"/>
                  <a:gd name="connsiteX40" fmla="*/ 133694 w 154731"/>
                  <a:gd name="connsiteY40" fmla="*/ 64577 h 208652"/>
                  <a:gd name="connsiteX41" fmla="*/ 154327 w 154731"/>
                  <a:gd name="connsiteY41" fmla="*/ 46097 h 208652"/>
                  <a:gd name="connsiteX42" fmla="*/ 29988 w 154731"/>
                  <a:gd name="connsiteY42" fmla="*/ 3992 h 208652"/>
                  <a:gd name="connsiteX43" fmla="*/ 18804 w 154731"/>
                  <a:gd name="connsiteY43" fmla="*/ 7401 h 208652"/>
                  <a:gd name="connsiteX44" fmla="*/ 28912 w 154731"/>
                  <a:gd name="connsiteY44" fmla="*/ 24446 h 208652"/>
                  <a:gd name="connsiteX45" fmla="*/ 13422 w 154731"/>
                  <a:gd name="connsiteY45" fmla="*/ 11049 h 208652"/>
                  <a:gd name="connsiteX46" fmla="*/ 8398 w 154731"/>
                  <a:gd name="connsiteY46" fmla="*/ 13561 h 208652"/>
                  <a:gd name="connsiteX47" fmla="*/ 67248 w 154731"/>
                  <a:gd name="connsiteY47" fmla="*/ 118702 h 208652"/>
                  <a:gd name="connsiteX48" fmla="*/ 86506 w 154731"/>
                  <a:gd name="connsiteY48" fmla="*/ 103751 h 208652"/>
                  <a:gd name="connsiteX49" fmla="*/ 104867 w 154731"/>
                  <a:gd name="connsiteY49" fmla="*/ 90354 h 208652"/>
                  <a:gd name="connsiteX50" fmla="*/ 28912 w 154731"/>
                  <a:gd name="connsiteY50" fmla="*/ 24446 h 208652"/>
                  <a:gd name="connsiteX51" fmla="*/ 28912 w 154731"/>
                  <a:gd name="connsiteY51" fmla="*/ 24446 h 208652"/>
                  <a:gd name="connsiteX52" fmla="*/ 68683 w 154731"/>
                  <a:gd name="connsiteY52" fmla="*/ 58536 h 208652"/>
                  <a:gd name="connsiteX53" fmla="*/ 104448 w 154731"/>
                  <a:gd name="connsiteY53" fmla="*/ 89576 h 208652"/>
                  <a:gd name="connsiteX54" fmla="*/ 93802 w 154731"/>
                  <a:gd name="connsiteY54" fmla="*/ 70378 h 208652"/>
                  <a:gd name="connsiteX55" fmla="*/ 68683 w 154731"/>
                  <a:gd name="connsiteY55" fmla="*/ 58536 h 208652"/>
                  <a:gd name="connsiteX56" fmla="*/ 67846 w 154731"/>
                  <a:gd name="connsiteY56" fmla="*/ 57759 h 208652"/>
                  <a:gd name="connsiteX57" fmla="*/ 92905 w 154731"/>
                  <a:gd name="connsiteY57" fmla="*/ 69541 h 208652"/>
                  <a:gd name="connsiteX58" fmla="*/ 38002 w 154731"/>
                  <a:gd name="connsiteY58" fmla="*/ 23788 h 208652"/>
                  <a:gd name="connsiteX59" fmla="*/ 67846 w 154731"/>
                  <a:gd name="connsiteY59" fmla="*/ 57759 h 208652"/>
                  <a:gd name="connsiteX60" fmla="*/ 29330 w 154731"/>
                  <a:gd name="connsiteY60" fmla="*/ 24386 h 208652"/>
                  <a:gd name="connsiteX61" fmla="*/ 66052 w 154731"/>
                  <a:gd name="connsiteY61" fmla="*/ 56204 h 208652"/>
                  <a:gd name="connsiteX62" fmla="*/ 36447 w 154731"/>
                  <a:gd name="connsiteY62" fmla="*/ 22473 h 208652"/>
                  <a:gd name="connsiteX63" fmla="*/ 29330 w 154731"/>
                  <a:gd name="connsiteY63" fmla="*/ 24386 h 208652"/>
                  <a:gd name="connsiteX64" fmla="*/ 23469 w 154731"/>
                  <a:gd name="connsiteY64" fmla="*/ 55845 h 208652"/>
                  <a:gd name="connsiteX65" fmla="*/ 42309 w 154731"/>
                  <a:gd name="connsiteY65" fmla="*/ 74744 h 208652"/>
                  <a:gd name="connsiteX66" fmla="*/ 8996 w 154731"/>
                  <a:gd name="connsiteY66" fmla="*/ 15236 h 208652"/>
                  <a:gd name="connsiteX67" fmla="*/ 23469 w 154731"/>
                  <a:gd name="connsiteY67" fmla="*/ 55845 h 208652"/>
                  <a:gd name="connsiteX68" fmla="*/ 29091 w 154731"/>
                  <a:gd name="connsiteY68" fmla="*/ 24147 h 208652"/>
                  <a:gd name="connsiteX69" fmla="*/ 36148 w 154731"/>
                  <a:gd name="connsiteY69" fmla="*/ 22293 h 208652"/>
                  <a:gd name="connsiteX70" fmla="*/ 19103 w 154731"/>
                  <a:gd name="connsiteY70" fmla="*/ 8119 h 208652"/>
                  <a:gd name="connsiteX71" fmla="*/ 29091 w 154731"/>
                  <a:gd name="connsiteY71" fmla="*/ 24147 h 208652"/>
                  <a:gd name="connsiteX72" fmla="*/ 13721 w 154731"/>
                  <a:gd name="connsiteY72" fmla="*/ 10810 h 208652"/>
                  <a:gd name="connsiteX73" fmla="*/ 28313 w 154731"/>
                  <a:gd name="connsiteY73" fmla="*/ 23489 h 208652"/>
                  <a:gd name="connsiteX74" fmla="*/ 18446 w 154731"/>
                  <a:gd name="connsiteY74" fmla="*/ 7521 h 208652"/>
                  <a:gd name="connsiteX75" fmla="*/ 13721 w 154731"/>
                  <a:gd name="connsiteY75" fmla="*/ 10810 h 208652"/>
                  <a:gd name="connsiteX76" fmla="*/ 8218 w 154731"/>
                  <a:gd name="connsiteY76" fmla="*/ 13262 h 208652"/>
                  <a:gd name="connsiteX77" fmla="*/ 13123 w 154731"/>
                  <a:gd name="connsiteY77" fmla="*/ 10810 h 208652"/>
                  <a:gd name="connsiteX78" fmla="*/ 742 w 154731"/>
                  <a:gd name="connsiteY78" fmla="*/ 763 h 208652"/>
                  <a:gd name="connsiteX79" fmla="*/ 8218 w 154731"/>
                  <a:gd name="connsiteY79" fmla="*/ 13262 h 208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4731" h="208652">
                    <a:moveTo>
                      <a:pt x="154686" y="46097"/>
                    </a:moveTo>
                    <a:cubicBezTo>
                      <a:pt x="154088" y="46934"/>
                      <a:pt x="134711" y="64098"/>
                      <a:pt x="133873" y="64816"/>
                    </a:cubicBezTo>
                    <a:lnTo>
                      <a:pt x="111446" y="84911"/>
                    </a:lnTo>
                    <a:cubicBezTo>
                      <a:pt x="111386" y="84971"/>
                      <a:pt x="111326" y="84971"/>
                      <a:pt x="111206" y="84911"/>
                    </a:cubicBezTo>
                    <a:lnTo>
                      <a:pt x="94520" y="70976"/>
                    </a:lnTo>
                    <a:lnTo>
                      <a:pt x="105166" y="90234"/>
                    </a:lnTo>
                    <a:cubicBezTo>
                      <a:pt x="105166" y="90234"/>
                      <a:pt x="105166" y="90234"/>
                      <a:pt x="105166" y="90234"/>
                    </a:cubicBezTo>
                    <a:lnTo>
                      <a:pt x="105166" y="90234"/>
                    </a:lnTo>
                    <a:lnTo>
                      <a:pt x="105166" y="90234"/>
                    </a:lnTo>
                    <a:cubicBezTo>
                      <a:pt x="105166" y="90294"/>
                      <a:pt x="105166" y="90354"/>
                      <a:pt x="105166" y="90414"/>
                    </a:cubicBezTo>
                    <a:cubicBezTo>
                      <a:pt x="104448" y="91789"/>
                      <a:pt x="89676" y="101956"/>
                      <a:pt x="86685" y="104050"/>
                    </a:cubicBezTo>
                    <a:lnTo>
                      <a:pt x="67308" y="119121"/>
                    </a:lnTo>
                    <a:cubicBezTo>
                      <a:pt x="67248" y="119121"/>
                      <a:pt x="67248" y="119181"/>
                      <a:pt x="67188" y="119181"/>
                    </a:cubicBezTo>
                    <a:cubicBezTo>
                      <a:pt x="67128" y="119181"/>
                      <a:pt x="67128" y="119121"/>
                      <a:pt x="67068" y="119121"/>
                    </a:cubicBezTo>
                    <a:lnTo>
                      <a:pt x="43864" y="77734"/>
                    </a:lnTo>
                    <a:lnTo>
                      <a:pt x="60909" y="123487"/>
                    </a:lnTo>
                    <a:lnTo>
                      <a:pt x="76698" y="208473"/>
                    </a:lnTo>
                    <a:cubicBezTo>
                      <a:pt x="76698" y="208533"/>
                      <a:pt x="76638" y="208652"/>
                      <a:pt x="76578" y="208652"/>
                    </a:cubicBezTo>
                    <a:cubicBezTo>
                      <a:pt x="76518" y="208652"/>
                      <a:pt x="76399" y="208593"/>
                      <a:pt x="76399" y="208533"/>
                    </a:cubicBezTo>
                    <a:lnTo>
                      <a:pt x="60610" y="123607"/>
                    </a:lnTo>
                    <a:lnTo>
                      <a:pt x="42847" y="75940"/>
                    </a:lnTo>
                    <a:lnTo>
                      <a:pt x="23170" y="56204"/>
                    </a:lnTo>
                    <a:cubicBezTo>
                      <a:pt x="23170" y="56204"/>
                      <a:pt x="23170" y="56144"/>
                      <a:pt x="23110" y="56144"/>
                    </a:cubicBezTo>
                    <a:lnTo>
                      <a:pt x="7979" y="13681"/>
                    </a:lnTo>
                    <a:lnTo>
                      <a:pt x="25" y="224"/>
                    </a:lnTo>
                    <a:cubicBezTo>
                      <a:pt x="-35" y="164"/>
                      <a:pt x="25" y="45"/>
                      <a:pt x="85" y="45"/>
                    </a:cubicBezTo>
                    <a:cubicBezTo>
                      <a:pt x="145" y="-15"/>
                      <a:pt x="204" y="-15"/>
                      <a:pt x="264" y="45"/>
                    </a:cubicBezTo>
                    <a:lnTo>
                      <a:pt x="13422" y="10750"/>
                    </a:lnTo>
                    <a:lnTo>
                      <a:pt x="18326" y="7341"/>
                    </a:lnTo>
                    <a:cubicBezTo>
                      <a:pt x="18326" y="7341"/>
                      <a:pt x="18386" y="7341"/>
                      <a:pt x="18386" y="7341"/>
                    </a:cubicBezTo>
                    <a:lnTo>
                      <a:pt x="29809" y="3813"/>
                    </a:lnTo>
                    <a:cubicBezTo>
                      <a:pt x="29869" y="3813"/>
                      <a:pt x="29869" y="3813"/>
                      <a:pt x="29928" y="3813"/>
                    </a:cubicBezTo>
                    <a:lnTo>
                      <a:pt x="154566" y="45977"/>
                    </a:lnTo>
                    <a:cubicBezTo>
                      <a:pt x="154626" y="45977"/>
                      <a:pt x="154626" y="46037"/>
                      <a:pt x="154686" y="46097"/>
                    </a:cubicBezTo>
                    <a:cubicBezTo>
                      <a:pt x="154686" y="46097"/>
                      <a:pt x="154686" y="46156"/>
                      <a:pt x="154686" y="46156"/>
                    </a:cubicBezTo>
                    <a:cubicBezTo>
                      <a:pt x="154746" y="46037"/>
                      <a:pt x="154746" y="46037"/>
                      <a:pt x="154686" y="46097"/>
                    </a:cubicBezTo>
                    <a:close/>
                    <a:moveTo>
                      <a:pt x="18804" y="7401"/>
                    </a:moveTo>
                    <a:lnTo>
                      <a:pt x="36627" y="22233"/>
                    </a:lnTo>
                    <a:lnTo>
                      <a:pt x="36627" y="22233"/>
                    </a:lnTo>
                    <a:lnTo>
                      <a:pt x="111326" y="84553"/>
                    </a:lnTo>
                    <a:lnTo>
                      <a:pt x="133694" y="64577"/>
                    </a:lnTo>
                    <a:cubicBezTo>
                      <a:pt x="140332" y="58716"/>
                      <a:pt x="152712" y="47711"/>
                      <a:pt x="154327" y="46097"/>
                    </a:cubicBezTo>
                    <a:lnTo>
                      <a:pt x="29988" y="3992"/>
                    </a:lnTo>
                    <a:lnTo>
                      <a:pt x="18804" y="7401"/>
                    </a:lnTo>
                    <a:close/>
                    <a:moveTo>
                      <a:pt x="28912" y="24446"/>
                    </a:moveTo>
                    <a:lnTo>
                      <a:pt x="13422" y="11049"/>
                    </a:lnTo>
                    <a:lnTo>
                      <a:pt x="8398" y="13561"/>
                    </a:lnTo>
                    <a:lnTo>
                      <a:pt x="67248" y="118702"/>
                    </a:lnTo>
                    <a:lnTo>
                      <a:pt x="86506" y="103751"/>
                    </a:lnTo>
                    <a:cubicBezTo>
                      <a:pt x="93623" y="98906"/>
                      <a:pt x="104149" y="91430"/>
                      <a:pt x="104867" y="90354"/>
                    </a:cubicBezTo>
                    <a:lnTo>
                      <a:pt x="28912" y="24446"/>
                    </a:lnTo>
                    <a:cubicBezTo>
                      <a:pt x="28912" y="24446"/>
                      <a:pt x="28912" y="24446"/>
                      <a:pt x="28912" y="24446"/>
                    </a:cubicBezTo>
                    <a:close/>
                    <a:moveTo>
                      <a:pt x="68683" y="58536"/>
                    </a:moveTo>
                    <a:lnTo>
                      <a:pt x="104448" y="89576"/>
                    </a:lnTo>
                    <a:lnTo>
                      <a:pt x="93802" y="70378"/>
                    </a:lnTo>
                    <a:lnTo>
                      <a:pt x="68683" y="58536"/>
                    </a:lnTo>
                    <a:close/>
                    <a:moveTo>
                      <a:pt x="67846" y="57759"/>
                    </a:moveTo>
                    <a:lnTo>
                      <a:pt x="92905" y="69541"/>
                    </a:lnTo>
                    <a:lnTo>
                      <a:pt x="38002" y="23788"/>
                    </a:lnTo>
                    <a:lnTo>
                      <a:pt x="67846" y="57759"/>
                    </a:lnTo>
                    <a:close/>
                    <a:moveTo>
                      <a:pt x="29330" y="24386"/>
                    </a:moveTo>
                    <a:lnTo>
                      <a:pt x="66052" y="56204"/>
                    </a:lnTo>
                    <a:lnTo>
                      <a:pt x="36447" y="22473"/>
                    </a:lnTo>
                    <a:lnTo>
                      <a:pt x="29330" y="24386"/>
                    </a:lnTo>
                    <a:close/>
                    <a:moveTo>
                      <a:pt x="23469" y="55845"/>
                    </a:moveTo>
                    <a:lnTo>
                      <a:pt x="42309" y="74744"/>
                    </a:lnTo>
                    <a:lnTo>
                      <a:pt x="8996" y="15236"/>
                    </a:lnTo>
                    <a:lnTo>
                      <a:pt x="23469" y="55845"/>
                    </a:lnTo>
                    <a:close/>
                    <a:moveTo>
                      <a:pt x="29091" y="24147"/>
                    </a:moveTo>
                    <a:lnTo>
                      <a:pt x="36148" y="22293"/>
                    </a:lnTo>
                    <a:lnTo>
                      <a:pt x="19103" y="8119"/>
                    </a:lnTo>
                    <a:lnTo>
                      <a:pt x="29091" y="24147"/>
                    </a:lnTo>
                    <a:close/>
                    <a:moveTo>
                      <a:pt x="13721" y="10810"/>
                    </a:moveTo>
                    <a:lnTo>
                      <a:pt x="28313" y="23489"/>
                    </a:lnTo>
                    <a:lnTo>
                      <a:pt x="18446" y="7521"/>
                    </a:lnTo>
                    <a:lnTo>
                      <a:pt x="13721" y="10810"/>
                    </a:lnTo>
                    <a:close/>
                    <a:moveTo>
                      <a:pt x="8218" y="13262"/>
                    </a:moveTo>
                    <a:lnTo>
                      <a:pt x="13123" y="10810"/>
                    </a:lnTo>
                    <a:lnTo>
                      <a:pt x="742" y="763"/>
                    </a:lnTo>
                    <a:lnTo>
                      <a:pt x="8218" y="13262"/>
                    </a:lnTo>
                    <a:close/>
                  </a:path>
                </a:pathLst>
              </a:custGeom>
              <a:grpFill/>
              <a:ln w="6350" cap="flat">
                <a:solidFill>
                  <a:schemeClr val="bg1">
                    <a:alpha val="80000"/>
                  </a:schemeClr>
                </a:solidFill>
                <a:prstDash val="solid"/>
                <a:miter/>
              </a:ln>
            </p:spPr>
            <p:txBody>
              <a:bodyPr rtlCol="0" anchor="ctr"/>
              <a:lstStyle/>
              <a:p>
                <a:endParaRPr lang="en-GB"/>
              </a:p>
            </p:txBody>
          </p:sp>
          <p:sp>
            <p:nvSpPr>
              <p:cNvPr id="8829" name="Vrije vorm: vorm 8828">
                <a:extLst>
                  <a:ext uri="{FF2B5EF4-FFF2-40B4-BE49-F238E27FC236}">
                    <a16:creationId xmlns:a16="http://schemas.microsoft.com/office/drawing/2014/main" id="{4016C50F-CC2D-43D7-8911-11B06965CF33}"/>
                  </a:ext>
                </a:extLst>
              </p:cNvPr>
              <p:cNvSpPr/>
              <p:nvPr/>
            </p:nvSpPr>
            <p:spPr>
              <a:xfrm>
                <a:off x="4320014" y="2602073"/>
                <a:ext cx="90428" cy="75521"/>
              </a:xfrm>
              <a:custGeom>
                <a:avLst/>
                <a:gdLst>
                  <a:gd name="connsiteX0" fmla="*/ 90309 w 90428"/>
                  <a:gd name="connsiteY0" fmla="*/ 75477 h 75521"/>
                  <a:gd name="connsiteX1" fmla="*/ 90130 w 90428"/>
                  <a:gd name="connsiteY1" fmla="*/ 75477 h 75521"/>
                  <a:gd name="connsiteX2" fmla="*/ 16387 w 90428"/>
                  <a:gd name="connsiteY2" fmla="*/ 45573 h 75521"/>
                  <a:gd name="connsiteX3" fmla="*/ 8253 w 90428"/>
                  <a:gd name="connsiteY3" fmla="*/ 65310 h 75521"/>
                  <a:gd name="connsiteX4" fmla="*/ 8074 w 90428"/>
                  <a:gd name="connsiteY4" fmla="*/ 65429 h 75521"/>
                  <a:gd name="connsiteX5" fmla="*/ 7954 w 90428"/>
                  <a:gd name="connsiteY5" fmla="*/ 65310 h 75521"/>
                  <a:gd name="connsiteX6" fmla="*/ 0 w 90428"/>
                  <a:gd name="connsiteY6" fmla="*/ 38875 h 75521"/>
                  <a:gd name="connsiteX7" fmla="*/ 60 w 90428"/>
                  <a:gd name="connsiteY7" fmla="*/ 38695 h 75521"/>
                  <a:gd name="connsiteX8" fmla="*/ 239 w 90428"/>
                  <a:gd name="connsiteY8" fmla="*/ 38636 h 75521"/>
                  <a:gd name="connsiteX9" fmla="*/ 16268 w 90428"/>
                  <a:gd name="connsiteY9" fmla="*/ 45155 h 75521"/>
                  <a:gd name="connsiteX10" fmla="*/ 21231 w 90428"/>
                  <a:gd name="connsiteY10" fmla="*/ 33193 h 75521"/>
                  <a:gd name="connsiteX11" fmla="*/ 21471 w 90428"/>
                  <a:gd name="connsiteY11" fmla="*/ 33133 h 75521"/>
                  <a:gd name="connsiteX12" fmla="*/ 21530 w 90428"/>
                  <a:gd name="connsiteY12" fmla="*/ 33373 h 75521"/>
                  <a:gd name="connsiteX13" fmla="*/ 16567 w 90428"/>
                  <a:gd name="connsiteY13" fmla="*/ 45334 h 75521"/>
                  <a:gd name="connsiteX14" fmla="*/ 90070 w 90428"/>
                  <a:gd name="connsiteY14" fmla="*/ 75118 h 75521"/>
                  <a:gd name="connsiteX15" fmla="*/ 85584 w 90428"/>
                  <a:gd name="connsiteY15" fmla="*/ 179 h 75521"/>
                  <a:gd name="connsiteX16" fmla="*/ 85764 w 90428"/>
                  <a:gd name="connsiteY16" fmla="*/ 0 h 75521"/>
                  <a:gd name="connsiteX17" fmla="*/ 85943 w 90428"/>
                  <a:gd name="connsiteY17" fmla="*/ 179 h 75521"/>
                  <a:gd name="connsiteX18" fmla="*/ 90428 w 90428"/>
                  <a:gd name="connsiteY18" fmla="*/ 75357 h 75521"/>
                  <a:gd name="connsiteX19" fmla="*/ 90428 w 90428"/>
                  <a:gd name="connsiteY19" fmla="*/ 75417 h 75521"/>
                  <a:gd name="connsiteX20" fmla="*/ 90309 w 90428"/>
                  <a:gd name="connsiteY20" fmla="*/ 75477 h 75521"/>
                  <a:gd name="connsiteX21" fmla="*/ 8134 w 90428"/>
                  <a:gd name="connsiteY21" fmla="*/ 64771 h 75521"/>
                  <a:gd name="connsiteX22" fmla="*/ 16088 w 90428"/>
                  <a:gd name="connsiteY22" fmla="*/ 45454 h 75521"/>
                  <a:gd name="connsiteX23" fmla="*/ 359 w 90428"/>
                  <a:gd name="connsiteY23" fmla="*/ 39114 h 75521"/>
                  <a:gd name="connsiteX24" fmla="*/ 8134 w 90428"/>
                  <a:gd name="connsiteY24" fmla="*/ 64771 h 75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0428" h="75521">
                    <a:moveTo>
                      <a:pt x="90309" y="75477"/>
                    </a:moveTo>
                    <a:cubicBezTo>
                      <a:pt x="90249" y="75537"/>
                      <a:pt x="90189" y="75537"/>
                      <a:pt x="90130" y="75477"/>
                    </a:cubicBezTo>
                    <a:lnTo>
                      <a:pt x="16387" y="45573"/>
                    </a:lnTo>
                    <a:lnTo>
                      <a:pt x="8253" y="65310"/>
                    </a:lnTo>
                    <a:cubicBezTo>
                      <a:pt x="8253" y="65369"/>
                      <a:pt x="8194" y="65429"/>
                      <a:pt x="8074" y="65429"/>
                    </a:cubicBezTo>
                    <a:cubicBezTo>
                      <a:pt x="8014" y="65429"/>
                      <a:pt x="7954" y="65369"/>
                      <a:pt x="7954" y="65310"/>
                    </a:cubicBezTo>
                    <a:lnTo>
                      <a:pt x="0" y="38875"/>
                    </a:lnTo>
                    <a:cubicBezTo>
                      <a:pt x="0" y="38815"/>
                      <a:pt x="0" y="38755"/>
                      <a:pt x="60" y="38695"/>
                    </a:cubicBezTo>
                    <a:cubicBezTo>
                      <a:pt x="120" y="38636"/>
                      <a:pt x="180" y="38636"/>
                      <a:pt x="239" y="38636"/>
                    </a:cubicBezTo>
                    <a:lnTo>
                      <a:pt x="16268" y="45155"/>
                    </a:lnTo>
                    <a:lnTo>
                      <a:pt x="21231" y="33193"/>
                    </a:lnTo>
                    <a:cubicBezTo>
                      <a:pt x="21291" y="33133"/>
                      <a:pt x="21351" y="33073"/>
                      <a:pt x="21471" y="33133"/>
                    </a:cubicBezTo>
                    <a:cubicBezTo>
                      <a:pt x="21530" y="33193"/>
                      <a:pt x="21590" y="33253"/>
                      <a:pt x="21530" y="33373"/>
                    </a:cubicBezTo>
                    <a:lnTo>
                      <a:pt x="16567" y="45334"/>
                    </a:lnTo>
                    <a:lnTo>
                      <a:pt x="90070" y="75118"/>
                    </a:lnTo>
                    <a:lnTo>
                      <a:pt x="85584" y="179"/>
                    </a:lnTo>
                    <a:cubicBezTo>
                      <a:pt x="85584" y="120"/>
                      <a:pt x="85644" y="0"/>
                      <a:pt x="85764" y="0"/>
                    </a:cubicBezTo>
                    <a:cubicBezTo>
                      <a:pt x="85823" y="0"/>
                      <a:pt x="85943" y="60"/>
                      <a:pt x="85943" y="179"/>
                    </a:cubicBezTo>
                    <a:lnTo>
                      <a:pt x="90428" y="75357"/>
                    </a:lnTo>
                    <a:cubicBezTo>
                      <a:pt x="90428" y="75357"/>
                      <a:pt x="90428" y="75357"/>
                      <a:pt x="90428" y="75417"/>
                    </a:cubicBezTo>
                    <a:cubicBezTo>
                      <a:pt x="90369" y="75417"/>
                      <a:pt x="90309" y="75417"/>
                      <a:pt x="90309" y="75477"/>
                    </a:cubicBezTo>
                    <a:close/>
                    <a:moveTo>
                      <a:pt x="8134" y="64771"/>
                    </a:moveTo>
                    <a:lnTo>
                      <a:pt x="16088" y="45454"/>
                    </a:lnTo>
                    <a:lnTo>
                      <a:pt x="359" y="39114"/>
                    </a:lnTo>
                    <a:lnTo>
                      <a:pt x="8134" y="64771"/>
                    </a:lnTo>
                    <a:close/>
                  </a:path>
                </a:pathLst>
              </a:custGeom>
              <a:grpFill/>
              <a:ln w="6350" cap="flat">
                <a:solidFill>
                  <a:schemeClr val="bg1">
                    <a:alpha val="80000"/>
                  </a:schemeClr>
                </a:solidFill>
                <a:prstDash val="solid"/>
                <a:miter/>
              </a:ln>
            </p:spPr>
            <p:txBody>
              <a:bodyPr rtlCol="0" anchor="ctr"/>
              <a:lstStyle/>
              <a:p>
                <a:endParaRPr lang="en-GB"/>
              </a:p>
            </p:txBody>
          </p:sp>
          <p:sp>
            <p:nvSpPr>
              <p:cNvPr id="8830" name="Vrije vorm: vorm 8829">
                <a:extLst>
                  <a:ext uri="{FF2B5EF4-FFF2-40B4-BE49-F238E27FC236}">
                    <a16:creationId xmlns:a16="http://schemas.microsoft.com/office/drawing/2014/main" id="{38FCB7D6-1707-41FE-B2EB-553388A2D796}"/>
                  </a:ext>
                </a:extLst>
              </p:cNvPr>
              <p:cNvSpPr/>
              <p:nvPr/>
            </p:nvSpPr>
            <p:spPr>
              <a:xfrm>
                <a:off x="4494846" y="2493463"/>
                <a:ext cx="51419" cy="81442"/>
              </a:xfrm>
              <a:custGeom>
                <a:avLst/>
                <a:gdLst>
                  <a:gd name="connsiteX0" fmla="*/ 51419 w 51419"/>
                  <a:gd name="connsiteY0" fmla="*/ 81338 h 81442"/>
                  <a:gd name="connsiteX1" fmla="*/ 51419 w 51419"/>
                  <a:gd name="connsiteY1" fmla="*/ 81338 h 81442"/>
                  <a:gd name="connsiteX2" fmla="*/ 39219 w 51419"/>
                  <a:gd name="connsiteY2" fmla="*/ 120 h 81442"/>
                  <a:gd name="connsiteX3" fmla="*/ 39039 w 51419"/>
                  <a:gd name="connsiteY3" fmla="*/ 0 h 81442"/>
                  <a:gd name="connsiteX4" fmla="*/ 38920 w 51419"/>
                  <a:gd name="connsiteY4" fmla="*/ 179 h 81442"/>
                  <a:gd name="connsiteX5" fmla="*/ 51061 w 51419"/>
                  <a:gd name="connsiteY5" fmla="*/ 80919 h 81442"/>
                  <a:gd name="connsiteX6" fmla="*/ 284 w 51419"/>
                  <a:gd name="connsiteY6" fmla="*/ 39114 h 81442"/>
                  <a:gd name="connsiteX7" fmla="*/ 45 w 51419"/>
                  <a:gd name="connsiteY7" fmla="*/ 39114 h 81442"/>
                  <a:gd name="connsiteX8" fmla="*/ 45 w 51419"/>
                  <a:gd name="connsiteY8" fmla="*/ 39353 h 81442"/>
                  <a:gd name="connsiteX9" fmla="*/ 51180 w 51419"/>
                  <a:gd name="connsiteY9" fmla="*/ 81398 h 81442"/>
                  <a:gd name="connsiteX10" fmla="*/ 51360 w 51419"/>
                  <a:gd name="connsiteY10" fmla="*/ 81398 h 81442"/>
                  <a:gd name="connsiteX11" fmla="*/ 51419 w 51419"/>
                  <a:gd name="connsiteY11" fmla="*/ 81338 h 8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19" h="81442">
                    <a:moveTo>
                      <a:pt x="51419" y="81338"/>
                    </a:moveTo>
                    <a:cubicBezTo>
                      <a:pt x="51419" y="81338"/>
                      <a:pt x="51419" y="81338"/>
                      <a:pt x="51419" y="81338"/>
                    </a:cubicBezTo>
                    <a:lnTo>
                      <a:pt x="39219" y="120"/>
                    </a:lnTo>
                    <a:cubicBezTo>
                      <a:pt x="39219" y="60"/>
                      <a:pt x="39099" y="0"/>
                      <a:pt x="39039" y="0"/>
                    </a:cubicBezTo>
                    <a:cubicBezTo>
                      <a:pt x="38920" y="0"/>
                      <a:pt x="38920" y="120"/>
                      <a:pt x="38920" y="179"/>
                    </a:cubicBezTo>
                    <a:lnTo>
                      <a:pt x="51061" y="80919"/>
                    </a:lnTo>
                    <a:lnTo>
                      <a:pt x="284" y="39114"/>
                    </a:lnTo>
                    <a:cubicBezTo>
                      <a:pt x="224" y="39054"/>
                      <a:pt x="105" y="39054"/>
                      <a:pt x="45" y="39114"/>
                    </a:cubicBezTo>
                    <a:cubicBezTo>
                      <a:pt x="-15" y="39174"/>
                      <a:pt x="-15" y="39293"/>
                      <a:pt x="45" y="39353"/>
                    </a:cubicBezTo>
                    <a:lnTo>
                      <a:pt x="51180" y="81398"/>
                    </a:lnTo>
                    <a:cubicBezTo>
                      <a:pt x="51240" y="81458"/>
                      <a:pt x="51300" y="81458"/>
                      <a:pt x="51360" y="81398"/>
                    </a:cubicBezTo>
                    <a:cubicBezTo>
                      <a:pt x="51360" y="81458"/>
                      <a:pt x="51419" y="81398"/>
                      <a:pt x="51419" y="8133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31" name="Vrije vorm: vorm 8830">
                <a:extLst>
                  <a:ext uri="{FF2B5EF4-FFF2-40B4-BE49-F238E27FC236}">
                    <a16:creationId xmlns:a16="http://schemas.microsoft.com/office/drawing/2014/main" id="{734A4328-D560-4B01-AA65-684926BF8EF5}"/>
                  </a:ext>
                </a:extLst>
              </p:cNvPr>
              <p:cNvSpPr/>
              <p:nvPr/>
            </p:nvSpPr>
            <p:spPr>
              <a:xfrm>
                <a:off x="4309404" y="2497829"/>
                <a:ext cx="210166" cy="163572"/>
              </a:xfrm>
              <a:custGeom>
                <a:avLst/>
                <a:gdLst>
                  <a:gd name="connsiteX0" fmla="*/ 210127 w 210166"/>
                  <a:gd name="connsiteY0" fmla="*/ 128705 h 163572"/>
                  <a:gd name="connsiteX1" fmla="*/ 209948 w 210166"/>
                  <a:gd name="connsiteY1" fmla="*/ 128765 h 163572"/>
                  <a:gd name="connsiteX2" fmla="*/ 119520 w 210166"/>
                  <a:gd name="connsiteY2" fmla="*/ 89591 h 163572"/>
                  <a:gd name="connsiteX3" fmla="*/ 175439 w 210166"/>
                  <a:gd name="connsiteY3" fmla="*/ 163333 h 163572"/>
                  <a:gd name="connsiteX4" fmla="*/ 175439 w 210166"/>
                  <a:gd name="connsiteY4" fmla="*/ 163513 h 163572"/>
                  <a:gd name="connsiteX5" fmla="*/ 175260 w 210166"/>
                  <a:gd name="connsiteY5" fmla="*/ 163573 h 163572"/>
                  <a:gd name="connsiteX6" fmla="*/ 10790 w 210166"/>
                  <a:gd name="connsiteY6" fmla="*/ 143238 h 163572"/>
                  <a:gd name="connsiteX7" fmla="*/ 324 w 210166"/>
                  <a:gd name="connsiteY7" fmla="*/ 162735 h 163572"/>
                  <a:gd name="connsiteX8" fmla="*/ 85 w 210166"/>
                  <a:gd name="connsiteY8" fmla="*/ 162795 h 163572"/>
                  <a:gd name="connsiteX9" fmla="*/ 25 w 210166"/>
                  <a:gd name="connsiteY9" fmla="*/ 162556 h 163572"/>
                  <a:gd name="connsiteX10" fmla="*/ 10551 w 210166"/>
                  <a:gd name="connsiteY10" fmla="*/ 142999 h 163572"/>
                  <a:gd name="connsiteX11" fmla="*/ 10730 w 210166"/>
                  <a:gd name="connsiteY11" fmla="*/ 142939 h 163572"/>
                  <a:gd name="connsiteX12" fmla="*/ 174901 w 210166"/>
                  <a:gd name="connsiteY12" fmla="*/ 163214 h 163572"/>
                  <a:gd name="connsiteX13" fmla="*/ 118802 w 210166"/>
                  <a:gd name="connsiteY13" fmla="*/ 89292 h 163572"/>
                  <a:gd name="connsiteX14" fmla="*/ 118802 w 210166"/>
                  <a:gd name="connsiteY14" fmla="*/ 89113 h 163572"/>
                  <a:gd name="connsiteX15" fmla="*/ 118981 w 210166"/>
                  <a:gd name="connsiteY15" fmla="*/ 89053 h 163572"/>
                  <a:gd name="connsiteX16" fmla="*/ 209530 w 210166"/>
                  <a:gd name="connsiteY16" fmla="*/ 128227 h 163572"/>
                  <a:gd name="connsiteX17" fmla="*/ 162940 w 210166"/>
                  <a:gd name="connsiteY17" fmla="*/ 55023 h 163572"/>
                  <a:gd name="connsiteX18" fmla="*/ 162940 w 210166"/>
                  <a:gd name="connsiteY18" fmla="*/ 54963 h 163572"/>
                  <a:gd name="connsiteX19" fmla="*/ 161145 w 210166"/>
                  <a:gd name="connsiteY19" fmla="*/ 30621 h 163572"/>
                  <a:gd name="connsiteX20" fmla="*/ 125979 w 210166"/>
                  <a:gd name="connsiteY20" fmla="*/ 24222 h 163572"/>
                  <a:gd name="connsiteX21" fmla="*/ 125859 w 210166"/>
                  <a:gd name="connsiteY21" fmla="*/ 24042 h 163572"/>
                  <a:gd name="connsiteX22" fmla="*/ 125859 w 210166"/>
                  <a:gd name="connsiteY22" fmla="*/ 24042 h 163572"/>
                  <a:gd name="connsiteX23" fmla="*/ 126039 w 210166"/>
                  <a:gd name="connsiteY23" fmla="*/ 23923 h 163572"/>
                  <a:gd name="connsiteX24" fmla="*/ 161145 w 210166"/>
                  <a:gd name="connsiteY24" fmla="*/ 30322 h 163572"/>
                  <a:gd name="connsiteX25" fmla="*/ 158753 w 210166"/>
                  <a:gd name="connsiteY25" fmla="*/ 179 h 163572"/>
                  <a:gd name="connsiteX26" fmla="*/ 158873 w 210166"/>
                  <a:gd name="connsiteY26" fmla="*/ 0 h 163572"/>
                  <a:gd name="connsiteX27" fmla="*/ 159052 w 210166"/>
                  <a:gd name="connsiteY27" fmla="*/ 60 h 163572"/>
                  <a:gd name="connsiteX28" fmla="*/ 185666 w 210166"/>
                  <a:gd name="connsiteY28" fmla="*/ 34808 h 163572"/>
                  <a:gd name="connsiteX29" fmla="*/ 185666 w 210166"/>
                  <a:gd name="connsiteY29" fmla="*/ 34987 h 163572"/>
                  <a:gd name="connsiteX30" fmla="*/ 185487 w 210166"/>
                  <a:gd name="connsiteY30" fmla="*/ 35047 h 163572"/>
                  <a:gd name="connsiteX31" fmla="*/ 161445 w 210166"/>
                  <a:gd name="connsiteY31" fmla="*/ 30681 h 163572"/>
                  <a:gd name="connsiteX32" fmla="*/ 163179 w 210166"/>
                  <a:gd name="connsiteY32" fmla="*/ 54903 h 163572"/>
                  <a:gd name="connsiteX33" fmla="*/ 210068 w 210166"/>
                  <a:gd name="connsiteY33" fmla="*/ 128466 h 163572"/>
                  <a:gd name="connsiteX34" fmla="*/ 210068 w 210166"/>
                  <a:gd name="connsiteY34" fmla="*/ 128586 h 163572"/>
                  <a:gd name="connsiteX35" fmla="*/ 210127 w 210166"/>
                  <a:gd name="connsiteY35" fmla="*/ 128705 h 163572"/>
                  <a:gd name="connsiteX36" fmla="*/ 161504 w 210166"/>
                  <a:gd name="connsiteY36" fmla="*/ 30382 h 163572"/>
                  <a:gd name="connsiteX37" fmla="*/ 185188 w 210166"/>
                  <a:gd name="connsiteY37" fmla="*/ 34688 h 163572"/>
                  <a:gd name="connsiteX38" fmla="*/ 159172 w 210166"/>
                  <a:gd name="connsiteY38" fmla="*/ 718 h 163572"/>
                  <a:gd name="connsiteX39" fmla="*/ 161504 w 210166"/>
                  <a:gd name="connsiteY39" fmla="*/ 30382 h 16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166" h="163572">
                    <a:moveTo>
                      <a:pt x="210127" y="128705"/>
                    </a:moveTo>
                    <a:cubicBezTo>
                      <a:pt x="210068" y="128765"/>
                      <a:pt x="210008" y="128765"/>
                      <a:pt x="209948" y="128765"/>
                    </a:cubicBezTo>
                    <a:lnTo>
                      <a:pt x="119520" y="89591"/>
                    </a:lnTo>
                    <a:lnTo>
                      <a:pt x="175439" y="163333"/>
                    </a:lnTo>
                    <a:cubicBezTo>
                      <a:pt x="175499" y="163393"/>
                      <a:pt x="175499" y="163453"/>
                      <a:pt x="175439" y="163513"/>
                    </a:cubicBezTo>
                    <a:cubicBezTo>
                      <a:pt x="175379" y="163573"/>
                      <a:pt x="175320" y="163573"/>
                      <a:pt x="175260" y="163573"/>
                    </a:cubicBezTo>
                    <a:lnTo>
                      <a:pt x="10790" y="143238"/>
                    </a:lnTo>
                    <a:lnTo>
                      <a:pt x="324" y="162735"/>
                    </a:lnTo>
                    <a:cubicBezTo>
                      <a:pt x="264" y="162795"/>
                      <a:pt x="204" y="162855"/>
                      <a:pt x="85" y="162795"/>
                    </a:cubicBezTo>
                    <a:cubicBezTo>
                      <a:pt x="25" y="162735"/>
                      <a:pt x="-35" y="162676"/>
                      <a:pt x="25" y="162556"/>
                    </a:cubicBezTo>
                    <a:lnTo>
                      <a:pt x="10551" y="142999"/>
                    </a:lnTo>
                    <a:cubicBezTo>
                      <a:pt x="10611" y="142939"/>
                      <a:pt x="10670" y="142880"/>
                      <a:pt x="10730" y="142939"/>
                    </a:cubicBezTo>
                    <a:lnTo>
                      <a:pt x="174901" y="163214"/>
                    </a:lnTo>
                    <a:lnTo>
                      <a:pt x="118802" y="89292"/>
                    </a:lnTo>
                    <a:cubicBezTo>
                      <a:pt x="118742" y="89232"/>
                      <a:pt x="118742" y="89173"/>
                      <a:pt x="118802" y="89113"/>
                    </a:cubicBezTo>
                    <a:cubicBezTo>
                      <a:pt x="118862" y="89053"/>
                      <a:pt x="118921" y="89053"/>
                      <a:pt x="118981" y="89053"/>
                    </a:cubicBezTo>
                    <a:lnTo>
                      <a:pt x="209530" y="128227"/>
                    </a:lnTo>
                    <a:lnTo>
                      <a:pt x="162940" y="55023"/>
                    </a:lnTo>
                    <a:cubicBezTo>
                      <a:pt x="162940" y="55023"/>
                      <a:pt x="162940" y="54963"/>
                      <a:pt x="162940" y="54963"/>
                    </a:cubicBezTo>
                    <a:cubicBezTo>
                      <a:pt x="162940" y="53886"/>
                      <a:pt x="162102" y="42643"/>
                      <a:pt x="161145" y="30621"/>
                    </a:cubicBezTo>
                    <a:lnTo>
                      <a:pt x="125979" y="24222"/>
                    </a:lnTo>
                    <a:cubicBezTo>
                      <a:pt x="125919" y="24222"/>
                      <a:pt x="125859" y="24102"/>
                      <a:pt x="125859" y="24042"/>
                    </a:cubicBezTo>
                    <a:lnTo>
                      <a:pt x="125859" y="24042"/>
                    </a:lnTo>
                    <a:cubicBezTo>
                      <a:pt x="125859" y="23983"/>
                      <a:pt x="125979" y="23923"/>
                      <a:pt x="126039" y="23923"/>
                    </a:cubicBezTo>
                    <a:lnTo>
                      <a:pt x="161145" y="30322"/>
                    </a:lnTo>
                    <a:cubicBezTo>
                      <a:pt x="160009" y="15909"/>
                      <a:pt x="158753" y="478"/>
                      <a:pt x="158753" y="179"/>
                    </a:cubicBezTo>
                    <a:cubicBezTo>
                      <a:pt x="158753" y="120"/>
                      <a:pt x="158813" y="60"/>
                      <a:pt x="158873" y="0"/>
                    </a:cubicBezTo>
                    <a:cubicBezTo>
                      <a:pt x="158932" y="0"/>
                      <a:pt x="158992" y="0"/>
                      <a:pt x="159052" y="60"/>
                    </a:cubicBezTo>
                    <a:lnTo>
                      <a:pt x="185666" y="34808"/>
                    </a:lnTo>
                    <a:cubicBezTo>
                      <a:pt x="185726" y="34868"/>
                      <a:pt x="185726" y="34927"/>
                      <a:pt x="185666" y="34987"/>
                    </a:cubicBezTo>
                    <a:cubicBezTo>
                      <a:pt x="185607" y="35047"/>
                      <a:pt x="185547" y="35047"/>
                      <a:pt x="185487" y="35047"/>
                    </a:cubicBezTo>
                    <a:lnTo>
                      <a:pt x="161445" y="30681"/>
                    </a:lnTo>
                    <a:cubicBezTo>
                      <a:pt x="162342" y="42523"/>
                      <a:pt x="163179" y="53587"/>
                      <a:pt x="163179" y="54903"/>
                    </a:cubicBezTo>
                    <a:lnTo>
                      <a:pt x="210068" y="128466"/>
                    </a:lnTo>
                    <a:cubicBezTo>
                      <a:pt x="210068" y="128526"/>
                      <a:pt x="210068" y="128526"/>
                      <a:pt x="210068" y="128586"/>
                    </a:cubicBezTo>
                    <a:cubicBezTo>
                      <a:pt x="210187" y="128645"/>
                      <a:pt x="210187" y="128645"/>
                      <a:pt x="210127" y="128705"/>
                    </a:cubicBezTo>
                    <a:close/>
                    <a:moveTo>
                      <a:pt x="161504" y="30382"/>
                    </a:moveTo>
                    <a:lnTo>
                      <a:pt x="185188" y="34688"/>
                    </a:lnTo>
                    <a:lnTo>
                      <a:pt x="159172" y="718"/>
                    </a:lnTo>
                    <a:cubicBezTo>
                      <a:pt x="159411" y="3708"/>
                      <a:pt x="160488" y="17464"/>
                      <a:pt x="161504" y="3038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32" name="Vrije vorm: vorm 8831">
                <a:extLst>
                  <a:ext uri="{FF2B5EF4-FFF2-40B4-BE49-F238E27FC236}">
                    <a16:creationId xmlns:a16="http://schemas.microsoft.com/office/drawing/2014/main" id="{016D6485-029D-4AC4-B28E-8781DB0E9AC7}"/>
                  </a:ext>
                </a:extLst>
              </p:cNvPr>
              <p:cNvSpPr/>
              <p:nvPr/>
            </p:nvSpPr>
            <p:spPr>
              <a:xfrm>
                <a:off x="4364930" y="2554047"/>
                <a:ext cx="24341" cy="123681"/>
              </a:xfrm>
              <a:custGeom>
                <a:avLst/>
                <a:gdLst>
                  <a:gd name="connsiteX0" fmla="*/ 17583 w 24341"/>
                  <a:gd name="connsiteY0" fmla="*/ 123502 h 123681"/>
                  <a:gd name="connsiteX1" fmla="*/ 17583 w 24341"/>
                  <a:gd name="connsiteY1" fmla="*/ 123442 h 123681"/>
                  <a:gd name="connsiteX2" fmla="*/ 299 w 24341"/>
                  <a:gd name="connsiteY2" fmla="*/ 71589 h 123681"/>
                  <a:gd name="connsiteX3" fmla="*/ 24342 w 24341"/>
                  <a:gd name="connsiteY3" fmla="*/ 179 h 123681"/>
                  <a:gd name="connsiteX4" fmla="*/ 24342 w 24341"/>
                  <a:gd name="connsiteY4" fmla="*/ 179 h 123681"/>
                  <a:gd name="connsiteX5" fmla="*/ 24222 w 24341"/>
                  <a:gd name="connsiteY5" fmla="*/ 0 h 123681"/>
                  <a:gd name="connsiteX6" fmla="*/ 24043 w 24341"/>
                  <a:gd name="connsiteY6" fmla="*/ 120 h 123681"/>
                  <a:gd name="connsiteX7" fmla="*/ 0 w 24341"/>
                  <a:gd name="connsiteY7" fmla="*/ 71589 h 123681"/>
                  <a:gd name="connsiteX8" fmla="*/ 0 w 24341"/>
                  <a:gd name="connsiteY8" fmla="*/ 71709 h 123681"/>
                  <a:gd name="connsiteX9" fmla="*/ 17284 w 24341"/>
                  <a:gd name="connsiteY9" fmla="*/ 123562 h 123681"/>
                  <a:gd name="connsiteX10" fmla="*/ 17464 w 24341"/>
                  <a:gd name="connsiteY10" fmla="*/ 123681 h 123681"/>
                  <a:gd name="connsiteX11" fmla="*/ 17583 w 24341"/>
                  <a:gd name="connsiteY11" fmla="*/ 123502 h 123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41" h="123681">
                    <a:moveTo>
                      <a:pt x="17583" y="123502"/>
                    </a:moveTo>
                    <a:cubicBezTo>
                      <a:pt x="17583" y="123502"/>
                      <a:pt x="17583" y="123442"/>
                      <a:pt x="17583" y="123442"/>
                    </a:cubicBezTo>
                    <a:lnTo>
                      <a:pt x="299" y="71589"/>
                    </a:lnTo>
                    <a:lnTo>
                      <a:pt x="24342" y="179"/>
                    </a:lnTo>
                    <a:cubicBezTo>
                      <a:pt x="24342" y="179"/>
                      <a:pt x="24342" y="179"/>
                      <a:pt x="24342" y="179"/>
                    </a:cubicBezTo>
                    <a:cubicBezTo>
                      <a:pt x="24342" y="120"/>
                      <a:pt x="24342" y="0"/>
                      <a:pt x="24222" y="0"/>
                    </a:cubicBezTo>
                    <a:cubicBezTo>
                      <a:pt x="24162" y="0"/>
                      <a:pt x="24043" y="0"/>
                      <a:pt x="24043" y="120"/>
                    </a:cubicBezTo>
                    <a:lnTo>
                      <a:pt x="0" y="71589"/>
                    </a:lnTo>
                    <a:cubicBezTo>
                      <a:pt x="0" y="71649"/>
                      <a:pt x="0" y="71649"/>
                      <a:pt x="0" y="71709"/>
                    </a:cubicBezTo>
                    <a:lnTo>
                      <a:pt x="17284" y="123562"/>
                    </a:lnTo>
                    <a:cubicBezTo>
                      <a:pt x="17284" y="123622"/>
                      <a:pt x="17404" y="123681"/>
                      <a:pt x="17464" y="123681"/>
                    </a:cubicBezTo>
                    <a:cubicBezTo>
                      <a:pt x="17523" y="123562"/>
                      <a:pt x="17523" y="123562"/>
                      <a:pt x="17583" y="12350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33" name="Vrije vorm: vorm 8832">
                <a:extLst>
                  <a:ext uri="{FF2B5EF4-FFF2-40B4-BE49-F238E27FC236}">
                    <a16:creationId xmlns:a16="http://schemas.microsoft.com/office/drawing/2014/main" id="{77CF8403-2E1D-4681-9928-E1EB4D724E1B}"/>
                  </a:ext>
                </a:extLst>
              </p:cNvPr>
              <p:cNvSpPr/>
              <p:nvPr/>
            </p:nvSpPr>
            <p:spPr>
              <a:xfrm>
                <a:off x="4327969" y="2493463"/>
                <a:ext cx="206095" cy="173979"/>
              </a:xfrm>
              <a:custGeom>
                <a:avLst/>
                <a:gdLst>
                  <a:gd name="connsiteX0" fmla="*/ 191622 w 206095"/>
                  <a:gd name="connsiteY0" fmla="*/ 133011 h 173979"/>
                  <a:gd name="connsiteX1" fmla="*/ 191622 w 206095"/>
                  <a:gd name="connsiteY1" fmla="*/ 133011 h 173979"/>
                  <a:gd name="connsiteX2" fmla="*/ 206095 w 206095"/>
                  <a:gd name="connsiteY2" fmla="*/ 179 h 173979"/>
                  <a:gd name="connsiteX3" fmla="*/ 205976 w 206095"/>
                  <a:gd name="connsiteY3" fmla="*/ 0 h 173979"/>
                  <a:gd name="connsiteX4" fmla="*/ 205797 w 206095"/>
                  <a:gd name="connsiteY4" fmla="*/ 120 h 173979"/>
                  <a:gd name="connsiteX5" fmla="*/ 205797 w 206095"/>
                  <a:gd name="connsiteY5" fmla="*/ 120 h 173979"/>
                  <a:gd name="connsiteX6" fmla="*/ 191323 w 206095"/>
                  <a:gd name="connsiteY6" fmla="*/ 132772 h 173979"/>
                  <a:gd name="connsiteX7" fmla="*/ 119 w 206095"/>
                  <a:gd name="connsiteY7" fmla="*/ 173680 h 173979"/>
                  <a:gd name="connsiteX8" fmla="*/ 0 w 206095"/>
                  <a:gd name="connsiteY8" fmla="*/ 173860 h 173979"/>
                  <a:gd name="connsiteX9" fmla="*/ 179 w 206095"/>
                  <a:gd name="connsiteY9" fmla="*/ 173979 h 173979"/>
                  <a:gd name="connsiteX10" fmla="*/ 191502 w 206095"/>
                  <a:gd name="connsiteY10" fmla="*/ 133071 h 173979"/>
                  <a:gd name="connsiteX11" fmla="*/ 191622 w 206095"/>
                  <a:gd name="connsiteY11" fmla="*/ 133011 h 1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095" h="173979">
                    <a:moveTo>
                      <a:pt x="191622" y="133011"/>
                    </a:moveTo>
                    <a:cubicBezTo>
                      <a:pt x="191622" y="133011"/>
                      <a:pt x="191622" y="132952"/>
                      <a:pt x="191622" y="133011"/>
                    </a:cubicBezTo>
                    <a:lnTo>
                      <a:pt x="206095" y="179"/>
                    </a:lnTo>
                    <a:cubicBezTo>
                      <a:pt x="206095" y="60"/>
                      <a:pt x="206036" y="0"/>
                      <a:pt x="205976" y="0"/>
                    </a:cubicBezTo>
                    <a:cubicBezTo>
                      <a:pt x="205916" y="0"/>
                      <a:pt x="205797" y="60"/>
                      <a:pt x="205797" y="120"/>
                    </a:cubicBezTo>
                    <a:cubicBezTo>
                      <a:pt x="205797" y="120"/>
                      <a:pt x="205797" y="120"/>
                      <a:pt x="205797" y="120"/>
                    </a:cubicBezTo>
                    <a:lnTo>
                      <a:pt x="191323" y="132772"/>
                    </a:lnTo>
                    <a:lnTo>
                      <a:pt x="119" y="173680"/>
                    </a:lnTo>
                    <a:cubicBezTo>
                      <a:pt x="60" y="173680"/>
                      <a:pt x="0" y="173800"/>
                      <a:pt x="0" y="173860"/>
                    </a:cubicBezTo>
                    <a:cubicBezTo>
                      <a:pt x="0" y="173979"/>
                      <a:pt x="119" y="173979"/>
                      <a:pt x="179" y="173979"/>
                    </a:cubicBezTo>
                    <a:lnTo>
                      <a:pt x="191502" y="133071"/>
                    </a:lnTo>
                    <a:cubicBezTo>
                      <a:pt x="191562" y="133071"/>
                      <a:pt x="191622" y="133071"/>
                      <a:pt x="191622" y="13301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34" name="Vrije vorm: vorm 8833">
                <a:extLst>
                  <a:ext uri="{FF2B5EF4-FFF2-40B4-BE49-F238E27FC236}">
                    <a16:creationId xmlns:a16="http://schemas.microsoft.com/office/drawing/2014/main" id="{04E2E76F-94EC-4761-91E0-332B6C622601}"/>
                  </a:ext>
                </a:extLst>
              </p:cNvPr>
              <p:cNvSpPr/>
              <p:nvPr/>
            </p:nvSpPr>
            <p:spPr>
              <a:xfrm>
                <a:off x="4356915" y="2511799"/>
                <a:ext cx="206574" cy="135333"/>
              </a:xfrm>
              <a:custGeom>
                <a:avLst/>
                <a:gdLst>
                  <a:gd name="connsiteX0" fmla="*/ 206574 w 206574"/>
                  <a:gd name="connsiteY0" fmla="*/ 204 h 135333"/>
                  <a:gd name="connsiteX1" fmla="*/ 206455 w 206574"/>
                  <a:gd name="connsiteY1" fmla="*/ 25 h 135333"/>
                  <a:gd name="connsiteX2" fmla="*/ 206216 w 206574"/>
                  <a:gd name="connsiteY2" fmla="*/ 85 h 135333"/>
                  <a:gd name="connsiteX3" fmla="*/ 144853 w 206574"/>
                  <a:gd name="connsiteY3" fmla="*/ 134950 h 135333"/>
                  <a:gd name="connsiteX4" fmla="*/ 359 w 206574"/>
                  <a:gd name="connsiteY4" fmla="*/ 117486 h 135333"/>
                  <a:gd name="connsiteX5" fmla="*/ 7117 w 206574"/>
                  <a:gd name="connsiteY5" fmla="*/ 93743 h 135333"/>
                  <a:gd name="connsiteX6" fmla="*/ 6998 w 206574"/>
                  <a:gd name="connsiteY6" fmla="*/ 93563 h 135333"/>
                  <a:gd name="connsiteX7" fmla="*/ 6818 w 206574"/>
                  <a:gd name="connsiteY7" fmla="*/ 93683 h 135333"/>
                  <a:gd name="connsiteX8" fmla="*/ 0 w 206574"/>
                  <a:gd name="connsiteY8" fmla="*/ 117606 h 135333"/>
                  <a:gd name="connsiteX9" fmla="*/ 0 w 206574"/>
                  <a:gd name="connsiteY9" fmla="*/ 117725 h 135333"/>
                  <a:gd name="connsiteX10" fmla="*/ 120 w 206574"/>
                  <a:gd name="connsiteY10" fmla="*/ 117785 h 135333"/>
                  <a:gd name="connsiteX11" fmla="*/ 144853 w 206574"/>
                  <a:gd name="connsiteY11" fmla="*/ 135309 h 135333"/>
                  <a:gd name="connsiteX12" fmla="*/ 145092 w 206574"/>
                  <a:gd name="connsiteY12" fmla="*/ 135249 h 135333"/>
                  <a:gd name="connsiteX13" fmla="*/ 206574 w 206574"/>
                  <a:gd name="connsiteY13" fmla="*/ 204 h 135333"/>
                  <a:gd name="connsiteX14" fmla="*/ 206574 w 206574"/>
                  <a:gd name="connsiteY14" fmla="*/ 204 h 13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6574" h="135333">
                    <a:moveTo>
                      <a:pt x="206574" y="204"/>
                    </a:moveTo>
                    <a:cubicBezTo>
                      <a:pt x="206574" y="144"/>
                      <a:pt x="206574" y="85"/>
                      <a:pt x="206455" y="25"/>
                    </a:cubicBezTo>
                    <a:cubicBezTo>
                      <a:pt x="206395" y="-35"/>
                      <a:pt x="206275" y="25"/>
                      <a:pt x="206216" y="85"/>
                    </a:cubicBezTo>
                    <a:lnTo>
                      <a:pt x="144853" y="134950"/>
                    </a:lnTo>
                    <a:cubicBezTo>
                      <a:pt x="139411" y="133754"/>
                      <a:pt x="8373" y="118383"/>
                      <a:pt x="359" y="117486"/>
                    </a:cubicBezTo>
                    <a:lnTo>
                      <a:pt x="7117" y="93743"/>
                    </a:lnTo>
                    <a:cubicBezTo>
                      <a:pt x="7117" y="93683"/>
                      <a:pt x="7117" y="93563"/>
                      <a:pt x="6998" y="93563"/>
                    </a:cubicBezTo>
                    <a:cubicBezTo>
                      <a:pt x="6938" y="93563"/>
                      <a:pt x="6818" y="93563"/>
                      <a:pt x="6818" y="93683"/>
                    </a:cubicBezTo>
                    <a:lnTo>
                      <a:pt x="0" y="117606"/>
                    </a:lnTo>
                    <a:cubicBezTo>
                      <a:pt x="0" y="117666"/>
                      <a:pt x="0" y="117725"/>
                      <a:pt x="0" y="117725"/>
                    </a:cubicBezTo>
                    <a:cubicBezTo>
                      <a:pt x="0" y="117785"/>
                      <a:pt x="60" y="117785"/>
                      <a:pt x="120" y="117785"/>
                    </a:cubicBezTo>
                    <a:cubicBezTo>
                      <a:pt x="1555" y="117965"/>
                      <a:pt x="142999" y="134531"/>
                      <a:pt x="144853" y="135309"/>
                    </a:cubicBezTo>
                    <a:cubicBezTo>
                      <a:pt x="144913" y="135369"/>
                      <a:pt x="145033" y="135309"/>
                      <a:pt x="145092" y="135249"/>
                    </a:cubicBezTo>
                    <a:lnTo>
                      <a:pt x="206574" y="204"/>
                    </a:lnTo>
                    <a:cubicBezTo>
                      <a:pt x="206574" y="204"/>
                      <a:pt x="206574" y="204"/>
                      <a:pt x="206574" y="20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35" name="Vrije vorm: vorm 8834">
                <a:extLst>
                  <a:ext uri="{FF2B5EF4-FFF2-40B4-BE49-F238E27FC236}">
                    <a16:creationId xmlns:a16="http://schemas.microsoft.com/office/drawing/2014/main" id="{9D03E823-9654-4294-AE0F-B4A3FBBC46AB}"/>
                  </a:ext>
                </a:extLst>
              </p:cNvPr>
              <p:cNvSpPr/>
              <p:nvPr/>
            </p:nvSpPr>
            <p:spPr>
              <a:xfrm>
                <a:off x="4437611" y="2581813"/>
                <a:ext cx="107458" cy="94824"/>
              </a:xfrm>
              <a:custGeom>
                <a:avLst/>
                <a:gdLst>
                  <a:gd name="connsiteX0" fmla="*/ 107459 w 107458"/>
                  <a:gd name="connsiteY0" fmla="*/ 164 h 94824"/>
                  <a:gd name="connsiteX1" fmla="*/ 107399 w 107458"/>
                  <a:gd name="connsiteY1" fmla="*/ 45 h 94824"/>
                  <a:gd name="connsiteX2" fmla="*/ 107160 w 107458"/>
                  <a:gd name="connsiteY2" fmla="*/ 45 h 94824"/>
                  <a:gd name="connsiteX3" fmla="*/ 45 w 107458"/>
                  <a:gd name="connsiteY3" fmla="*/ 94540 h 94824"/>
                  <a:gd name="connsiteX4" fmla="*/ 45 w 107458"/>
                  <a:gd name="connsiteY4" fmla="*/ 94780 h 94824"/>
                  <a:gd name="connsiteX5" fmla="*/ 284 w 107458"/>
                  <a:gd name="connsiteY5" fmla="*/ 94780 h 94824"/>
                  <a:gd name="connsiteX6" fmla="*/ 107399 w 107458"/>
                  <a:gd name="connsiteY6" fmla="*/ 284 h 94824"/>
                  <a:gd name="connsiteX7" fmla="*/ 107459 w 107458"/>
                  <a:gd name="connsiteY7" fmla="*/ 164 h 9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458" h="94824">
                    <a:moveTo>
                      <a:pt x="107459" y="164"/>
                    </a:moveTo>
                    <a:cubicBezTo>
                      <a:pt x="107459" y="105"/>
                      <a:pt x="107459" y="45"/>
                      <a:pt x="107399" y="45"/>
                    </a:cubicBezTo>
                    <a:cubicBezTo>
                      <a:pt x="107339" y="-15"/>
                      <a:pt x="107219" y="-15"/>
                      <a:pt x="107160" y="45"/>
                    </a:cubicBezTo>
                    <a:lnTo>
                      <a:pt x="45" y="94540"/>
                    </a:lnTo>
                    <a:cubicBezTo>
                      <a:pt x="-15" y="94600"/>
                      <a:pt x="-15" y="94720"/>
                      <a:pt x="45" y="94780"/>
                    </a:cubicBezTo>
                    <a:cubicBezTo>
                      <a:pt x="104" y="94839"/>
                      <a:pt x="224" y="94839"/>
                      <a:pt x="284" y="94780"/>
                    </a:cubicBezTo>
                    <a:lnTo>
                      <a:pt x="107399" y="284"/>
                    </a:lnTo>
                    <a:cubicBezTo>
                      <a:pt x="107399" y="224"/>
                      <a:pt x="107459" y="224"/>
                      <a:pt x="107459" y="16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36" name="Vrije vorm: vorm 8835">
                <a:extLst>
                  <a:ext uri="{FF2B5EF4-FFF2-40B4-BE49-F238E27FC236}">
                    <a16:creationId xmlns:a16="http://schemas.microsoft.com/office/drawing/2014/main" id="{D16700C4-E5CB-43F2-8F54-C0263449D9BE}"/>
                  </a:ext>
                </a:extLst>
              </p:cNvPr>
              <p:cNvSpPr/>
              <p:nvPr/>
            </p:nvSpPr>
            <p:spPr>
              <a:xfrm>
                <a:off x="4291546" y="2604500"/>
                <a:ext cx="242593" cy="73049"/>
              </a:xfrm>
              <a:custGeom>
                <a:avLst/>
                <a:gdLst>
                  <a:gd name="connsiteX0" fmla="*/ 242578 w 242593"/>
                  <a:gd name="connsiteY0" fmla="*/ 204 h 73049"/>
                  <a:gd name="connsiteX1" fmla="*/ 187017 w 242593"/>
                  <a:gd name="connsiteY1" fmla="*/ 50024 h 73049"/>
                  <a:gd name="connsiteX2" fmla="*/ 210282 w 242593"/>
                  <a:gd name="connsiteY2" fmla="*/ 42309 h 73049"/>
                  <a:gd name="connsiteX3" fmla="*/ 210462 w 242593"/>
                  <a:gd name="connsiteY3" fmla="*/ 42428 h 73049"/>
                  <a:gd name="connsiteX4" fmla="*/ 210342 w 242593"/>
                  <a:gd name="connsiteY4" fmla="*/ 42608 h 73049"/>
                  <a:gd name="connsiteX5" fmla="*/ 186360 w 242593"/>
                  <a:gd name="connsiteY5" fmla="*/ 50562 h 73049"/>
                  <a:gd name="connsiteX6" fmla="*/ 168118 w 242593"/>
                  <a:gd name="connsiteY6" fmla="*/ 66889 h 73049"/>
                  <a:gd name="connsiteX7" fmla="*/ 167999 w 242593"/>
                  <a:gd name="connsiteY7" fmla="*/ 66949 h 73049"/>
                  <a:gd name="connsiteX8" fmla="*/ 146887 w 242593"/>
                  <a:gd name="connsiteY8" fmla="*/ 63660 h 73049"/>
                  <a:gd name="connsiteX9" fmla="*/ 118658 w 242593"/>
                  <a:gd name="connsiteY9" fmla="*/ 73049 h 73049"/>
                  <a:gd name="connsiteX10" fmla="*/ 118478 w 242593"/>
                  <a:gd name="connsiteY10" fmla="*/ 72990 h 73049"/>
                  <a:gd name="connsiteX11" fmla="*/ 118538 w 242593"/>
                  <a:gd name="connsiteY11" fmla="*/ 72810 h 73049"/>
                  <a:gd name="connsiteX12" fmla="*/ 136660 w 242593"/>
                  <a:gd name="connsiteY12" fmla="*/ 62165 h 73049"/>
                  <a:gd name="connsiteX13" fmla="*/ 120 w 242593"/>
                  <a:gd name="connsiteY13" fmla="*/ 40873 h 73049"/>
                  <a:gd name="connsiteX14" fmla="*/ 0 w 242593"/>
                  <a:gd name="connsiteY14" fmla="*/ 40694 h 73049"/>
                  <a:gd name="connsiteX15" fmla="*/ 0 w 242593"/>
                  <a:gd name="connsiteY15" fmla="*/ 40694 h 73049"/>
                  <a:gd name="connsiteX16" fmla="*/ 180 w 242593"/>
                  <a:gd name="connsiteY16" fmla="*/ 40574 h 73049"/>
                  <a:gd name="connsiteX17" fmla="*/ 137078 w 242593"/>
                  <a:gd name="connsiteY17" fmla="*/ 61925 h 73049"/>
                  <a:gd name="connsiteX18" fmla="*/ 242279 w 242593"/>
                  <a:gd name="connsiteY18" fmla="*/ 25 h 73049"/>
                  <a:gd name="connsiteX19" fmla="*/ 242518 w 242593"/>
                  <a:gd name="connsiteY19" fmla="*/ 85 h 73049"/>
                  <a:gd name="connsiteX20" fmla="*/ 242518 w 242593"/>
                  <a:gd name="connsiteY20" fmla="*/ 204 h 73049"/>
                  <a:gd name="connsiteX21" fmla="*/ 242578 w 242593"/>
                  <a:gd name="connsiteY21" fmla="*/ 204 h 73049"/>
                  <a:gd name="connsiteX22" fmla="*/ 146946 w 242593"/>
                  <a:gd name="connsiteY22" fmla="*/ 63361 h 73049"/>
                  <a:gd name="connsiteX23" fmla="*/ 186300 w 242593"/>
                  <a:gd name="connsiteY23" fmla="*/ 50323 h 73049"/>
                  <a:gd name="connsiteX24" fmla="*/ 241203 w 242593"/>
                  <a:gd name="connsiteY24" fmla="*/ 1101 h 73049"/>
                  <a:gd name="connsiteX25" fmla="*/ 137736 w 242593"/>
                  <a:gd name="connsiteY25" fmla="*/ 61985 h 73049"/>
                  <a:gd name="connsiteX26" fmla="*/ 146946 w 242593"/>
                  <a:gd name="connsiteY26" fmla="*/ 63361 h 73049"/>
                  <a:gd name="connsiteX27" fmla="*/ 168059 w 242593"/>
                  <a:gd name="connsiteY27" fmla="*/ 66650 h 73049"/>
                  <a:gd name="connsiteX28" fmla="*/ 185701 w 242593"/>
                  <a:gd name="connsiteY28" fmla="*/ 50861 h 73049"/>
                  <a:gd name="connsiteX29" fmla="*/ 147664 w 242593"/>
                  <a:gd name="connsiteY29" fmla="*/ 63480 h 73049"/>
                  <a:gd name="connsiteX30" fmla="*/ 168059 w 242593"/>
                  <a:gd name="connsiteY30" fmla="*/ 66650 h 73049"/>
                  <a:gd name="connsiteX31" fmla="*/ 120093 w 242593"/>
                  <a:gd name="connsiteY31" fmla="*/ 72272 h 73049"/>
                  <a:gd name="connsiteX32" fmla="*/ 146289 w 242593"/>
                  <a:gd name="connsiteY32" fmla="*/ 63600 h 73049"/>
                  <a:gd name="connsiteX33" fmla="*/ 137258 w 242593"/>
                  <a:gd name="connsiteY33" fmla="*/ 62165 h 73049"/>
                  <a:gd name="connsiteX34" fmla="*/ 120093 w 242593"/>
                  <a:gd name="connsiteY34" fmla="*/ 72272 h 7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2593" h="73049">
                    <a:moveTo>
                      <a:pt x="242578" y="204"/>
                    </a:moveTo>
                    <a:lnTo>
                      <a:pt x="187017" y="50024"/>
                    </a:lnTo>
                    <a:lnTo>
                      <a:pt x="210282" y="42309"/>
                    </a:lnTo>
                    <a:cubicBezTo>
                      <a:pt x="210342" y="42309"/>
                      <a:pt x="210462" y="42309"/>
                      <a:pt x="210462" y="42428"/>
                    </a:cubicBezTo>
                    <a:cubicBezTo>
                      <a:pt x="210462" y="42488"/>
                      <a:pt x="210462" y="42608"/>
                      <a:pt x="210342" y="42608"/>
                    </a:cubicBezTo>
                    <a:lnTo>
                      <a:pt x="186360" y="50562"/>
                    </a:lnTo>
                    <a:lnTo>
                      <a:pt x="168118" y="66889"/>
                    </a:lnTo>
                    <a:cubicBezTo>
                      <a:pt x="168059" y="66949"/>
                      <a:pt x="168059" y="66949"/>
                      <a:pt x="167999" y="66949"/>
                    </a:cubicBezTo>
                    <a:lnTo>
                      <a:pt x="146887" y="63660"/>
                    </a:lnTo>
                    <a:lnTo>
                      <a:pt x="118658" y="73049"/>
                    </a:lnTo>
                    <a:cubicBezTo>
                      <a:pt x="118598" y="73049"/>
                      <a:pt x="118478" y="73049"/>
                      <a:pt x="118478" y="72990"/>
                    </a:cubicBezTo>
                    <a:cubicBezTo>
                      <a:pt x="118418" y="72930"/>
                      <a:pt x="118478" y="72810"/>
                      <a:pt x="118538" y="72810"/>
                    </a:cubicBezTo>
                    <a:lnTo>
                      <a:pt x="136660" y="62165"/>
                    </a:lnTo>
                    <a:lnTo>
                      <a:pt x="120" y="40873"/>
                    </a:lnTo>
                    <a:cubicBezTo>
                      <a:pt x="60" y="40873"/>
                      <a:pt x="0" y="40753"/>
                      <a:pt x="0" y="40694"/>
                    </a:cubicBezTo>
                    <a:lnTo>
                      <a:pt x="0" y="40694"/>
                    </a:lnTo>
                    <a:cubicBezTo>
                      <a:pt x="0" y="40634"/>
                      <a:pt x="120" y="40574"/>
                      <a:pt x="180" y="40574"/>
                    </a:cubicBezTo>
                    <a:lnTo>
                      <a:pt x="137078" y="61925"/>
                    </a:lnTo>
                    <a:lnTo>
                      <a:pt x="242279" y="25"/>
                    </a:lnTo>
                    <a:cubicBezTo>
                      <a:pt x="242339" y="-35"/>
                      <a:pt x="242459" y="25"/>
                      <a:pt x="242518" y="85"/>
                    </a:cubicBezTo>
                    <a:cubicBezTo>
                      <a:pt x="242518" y="144"/>
                      <a:pt x="242578" y="144"/>
                      <a:pt x="242518" y="204"/>
                    </a:cubicBezTo>
                    <a:cubicBezTo>
                      <a:pt x="242638" y="144"/>
                      <a:pt x="242578" y="204"/>
                      <a:pt x="242578" y="204"/>
                    </a:cubicBezTo>
                    <a:close/>
                    <a:moveTo>
                      <a:pt x="146946" y="63361"/>
                    </a:moveTo>
                    <a:lnTo>
                      <a:pt x="186300" y="50323"/>
                    </a:lnTo>
                    <a:lnTo>
                      <a:pt x="241203" y="1101"/>
                    </a:lnTo>
                    <a:lnTo>
                      <a:pt x="137736" y="61985"/>
                    </a:lnTo>
                    <a:lnTo>
                      <a:pt x="146946" y="63361"/>
                    </a:lnTo>
                    <a:close/>
                    <a:moveTo>
                      <a:pt x="168059" y="66650"/>
                    </a:moveTo>
                    <a:lnTo>
                      <a:pt x="185701" y="50861"/>
                    </a:lnTo>
                    <a:lnTo>
                      <a:pt x="147664" y="63480"/>
                    </a:lnTo>
                    <a:lnTo>
                      <a:pt x="168059" y="66650"/>
                    </a:lnTo>
                    <a:close/>
                    <a:moveTo>
                      <a:pt x="120093" y="72272"/>
                    </a:moveTo>
                    <a:lnTo>
                      <a:pt x="146289" y="63600"/>
                    </a:lnTo>
                    <a:lnTo>
                      <a:pt x="137258" y="62165"/>
                    </a:lnTo>
                    <a:lnTo>
                      <a:pt x="120093" y="72272"/>
                    </a:lnTo>
                    <a:close/>
                  </a:path>
                </a:pathLst>
              </a:custGeom>
              <a:grpFill/>
              <a:ln w="6350" cap="flat">
                <a:solidFill>
                  <a:schemeClr val="bg1">
                    <a:alpha val="80000"/>
                  </a:schemeClr>
                </a:solidFill>
                <a:prstDash val="solid"/>
                <a:miter/>
              </a:ln>
            </p:spPr>
            <p:txBody>
              <a:bodyPr rtlCol="0" anchor="ctr"/>
              <a:lstStyle/>
              <a:p>
                <a:endParaRPr lang="en-GB"/>
              </a:p>
            </p:txBody>
          </p:sp>
          <p:sp>
            <p:nvSpPr>
              <p:cNvPr id="8837" name="Vrije vorm: vorm 8836">
                <a:extLst>
                  <a:ext uri="{FF2B5EF4-FFF2-40B4-BE49-F238E27FC236}">
                    <a16:creationId xmlns:a16="http://schemas.microsoft.com/office/drawing/2014/main" id="{13C509AC-AAA1-45AB-8021-A659AAF56D2A}"/>
                  </a:ext>
                </a:extLst>
              </p:cNvPr>
              <p:cNvSpPr/>
              <p:nvPr/>
            </p:nvSpPr>
            <p:spPr>
              <a:xfrm>
                <a:off x="4484581" y="2483236"/>
                <a:ext cx="79746" cy="178129"/>
              </a:xfrm>
              <a:custGeom>
                <a:avLst/>
                <a:gdLst>
                  <a:gd name="connsiteX0" fmla="*/ 79746 w 79746"/>
                  <a:gd name="connsiteY0" fmla="*/ 120 h 178129"/>
                  <a:gd name="connsiteX1" fmla="*/ 79447 w 79746"/>
                  <a:gd name="connsiteY1" fmla="*/ 0 h 178129"/>
                  <a:gd name="connsiteX2" fmla="*/ 23 w 79746"/>
                  <a:gd name="connsiteY2" fmla="*/ 177926 h 178129"/>
                  <a:gd name="connsiteX3" fmla="*/ 143 w 79746"/>
                  <a:gd name="connsiteY3" fmla="*/ 178106 h 178129"/>
                  <a:gd name="connsiteX4" fmla="*/ 322 w 79746"/>
                  <a:gd name="connsiteY4" fmla="*/ 177986 h 178129"/>
                  <a:gd name="connsiteX5" fmla="*/ 79746 w 79746"/>
                  <a:gd name="connsiteY5" fmla="*/ 120 h 178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746" h="178129">
                    <a:moveTo>
                      <a:pt x="79746" y="120"/>
                    </a:moveTo>
                    <a:lnTo>
                      <a:pt x="79447" y="0"/>
                    </a:lnTo>
                    <a:cubicBezTo>
                      <a:pt x="78670" y="1734"/>
                      <a:pt x="861" y="175833"/>
                      <a:pt x="23" y="177926"/>
                    </a:cubicBezTo>
                    <a:cubicBezTo>
                      <a:pt x="-36" y="177986"/>
                      <a:pt x="23" y="178106"/>
                      <a:pt x="143" y="178106"/>
                    </a:cubicBezTo>
                    <a:cubicBezTo>
                      <a:pt x="203" y="178166"/>
                      <a:pt x="322" y="178106"/>
                      <a:pt x="322" y="177986"/>
                    </a:cubicBezTo>
                    <a:cubicBezTo>
                      <a:pt x="1160" y="175953"/>
                      <a:pt x="78909" y="1914"/>
                      <a:pt x="79746" y="12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38" name="Vrije vorm: vorm 8837">
                <a:extLst>
                  <a:ext uri="{FF2B5EF4-FFF2-40B4-BE49-F238E27FC236}">
                    <a16:creationId xmlns:a16="http://schemas.microsoft.com/office/drawing/2014/main" id="{5C64EE92-104C-46D1-8C72-97C1F8A58F2B}"/>
                  </a:ext>
                </a:extLst>
              </p:cNvPr>
              <p:cNvSpPr/>
              <p:nvPr/>
            </p:nvSpPr>
            <p:spPr>
              <a:xfrm>
                <a:off x="4290948" y="2459432"/>
                <a:ext cx="273378" cy="218081"/>
              </a:xfrm>
              <a:custGeom>
                <a:avLst/>
                <a:gdLst>
                  <a:gd name="connsiteX0" fmla="*/ 272542 w 273378"/>
                  <a:gd name="connsiteY0" fmla="*/ 52571 h 218081"/>
                  <a:gd name="connsiteX1" fmla="*/ 265484 w 273378"/>
                  <a:gd name="connsiteY1" fmla="*/ 74938 h 218081"/>
                  <a:gd name="connsiteX2" fmla="*/ 266860 w 273378"/>
                  <a:gd name="connsiteY2" fmla="*/ 81876 h 218081"/>
                  <a:gd name="connsiteX3" fmla="*/ 266860 w 273378"/>
                  <a:gd name="connsiteY3" fmla="*/ 81996 h 218081"/>
                  <a:gd name="connsiteX4" fmla="*/ 266800 w 273378"/>
                  <a:gd name="connsiteY4" fmla="*/ 82056 h 218081"/>
                  <a:gd name="connsiteX5" fmla="*/ 266800 w 273378"/>
                  <a:gd name="connsiteY5" fmla="*/ 82056 h 218081"/>
                  <a:gd name="connsiteX6" fmla="*/ 266800 w 273378"/>
                  <a:gd name="connsiteY6" fmla="*/ 82056 h 218081"/>
                  <a:gd name="connsiteX7" fmla="*/ 266800 w 273378"/>
                  <a:gd name="connsiteY7" fmla="*/ 82056 h 218081"/>
                  <a:gd name="connsiteX8" fmla="*/ 266800 w 273378"/>
                  <a:gd name="connsiteY8" fmla="*/ 82056 h 218081"/>
                  <a:gd name="connsiteX9" fmla="*/ 266800 w 273378"/>
                  <a:gd name="connsiteY9" fmla="*/ 82056 h 218081"/>
                  <a:gd name="connsiteX10" fmla="*/ 266800 w 273378"/>
                  <a:gd name="connsiteY10" fmla="*/ 82056 h 218081"/>
                  <a:gd name="connsiteX11" fmla="*/ 266800 w 273378"/>
                  <a:gd name="connsiteY11" fmla="*/ 82056 h 218081"/>
                  <a:gd name="connsiteX12" fmla="*/ 266800 w 273378"/>
                  <a:gd name="connsiteY12" fmla="*/ 82056 h 218081"/>
                  <a:gd name="connsiteX13" fmla="*/ 266800 w 273378"/>
                  <a:gd name="connsiteY13" fmla="*/ 82056 h 218081"/>
                  <a:gd name="connsiteX14" fmla="*/ 266800 w 273378"/>
                  <a:gd name="connsiteY14" fmla="*/ 82056 h 218081"/>
                  <a:gd name="connsiteX15" fmla="*/ 266800 w 273378"/>
                  <a:gd name="connsiteY15" fmla="*/ 82056 h 218081"/>
                  <a:gd name="connsiteX16" fmla="*/ 266740 w 273378"/>
                  <a:gd name="connsiteY16" fmla="*/ 82056 h 218081"/>
                  <a:gd name="connsiteX17" fmla="*/ 263391 w 273378"/>
                  <a:gd name="connsiteY17" fmla="*/ 81577 h 218081"/>
                  <a:gd name="connsiteX18" fmla="*/ 243236 w 273378"/>
                  <a:gd name="connsiteY18" fmla="*/ 145152 h 218081"/>
                  <a:gd name="connsiteX19" fmla="*/ 243236 w 273378"/>
                  <a:gd name="connsiteY19" fmla="*/ 145152 h 218081"/>
                  <a:gd name="connsiteX20" fmla="*/ 243236 w 273378"/>
                  <a:gd name="connsiteY20" fmla="*/ 145152 h 218081"/>
                  <a:gd name="connsiteX21" fmla="*/ 243236 w 273378"/>
                  <a:gd name="connsiteY21" fmla="*/ 145152 h 218081"/>
                  <a:gd name="connsiteX22" fmla="*/ 243236 w 273378"/>
                  <a:gd name="connsiteY22" fmla="*/ 145152 h 218081"/>
                  <a:gd name="connsiteX23" fmla="*/ 243236 w 273378"/>
                  <a:gd name="connsiteY23" fmla="*/ 145152 h 218081"/>
                  <a:gd name="connsiteX24" fmla="*/ 243236 w 273378"/>
                  <a:gd name="connsiteY24" fmla="*/ 145212 h 218081"/>
                  <a:gd name="connsiteX25" fmla="*/ 210880 w 273378"/>
                  <a:gd name="connsiteY25" fmla="*/ 182412 h 218081"/>
                  <a:gd name="connsiteX26" fmla="*/ 211179 w 273378"/>
                  <a:gd name="connsiteY26" fmla="*/ 187436 h 218081"/>
                  <a:gd name="connsiteX27" fmla="*/ 211119 w 273378"/>
                  <a:gd name="connsiteY27" fmla="*/ 187556 h 218081"/>
                  <a:gd name="connsiteX28" fmla="*/ 210940 w 273378"/>
                  <a:gd name="connsiteY28" fmla="*/ 187556 h 218081"/>
                  <a:gd name="connsiteX29" fmla="*/ 207651 w 273378"/>
                  <a:gd name="connsiteY29" fmla="*/ 186000 h 218081"/>
                  <a:gd name="connsiteX30" fmla="*/ 193955 w 273378"/>
                  <a:gd name="connsiteY30" fmla="*/ 201730 h 218081"/>
                  <a:gd name="connsiteX31" fmla="*/ 193895 w 273378"/>
                  <a:gd name="connsiteY31" fmla="*/ 201790 h 218081"/>
                  <a:gd name="connsiteX32" fmla="*/ 156456 w 273378"/>
                  <a:gd name="connsiteY32" fmla="*/ 209923 h 218081"/>
                  <a:gd name="connsiteX33" fmla="*/ 147006 w 273378"/>
                  <a:gd name="connsiteY33" fmla="*/ 216981 h 218081"/>
                  <a:gd name="connsiteX34" fmla="*/ 146827 w 273378"/>
                  <a:gd name="connsiteY34" fmla="*/ 216981 h 218081"/>
                  <a:gd name="connsiteX35" fmla="*/ 139052 w 273378"/>
                  <a:gd name="connsiteY35" fmla="*/ 213691 h 218081"/>
                  <a:gd name="connsiteX36" fmla="*/ 119375 w 273378"/>
                  <a:gd name="connsiteY36" fmla="*/ 217938 h 218081"/>
                  <a:gd name="connsiteX37" fmla="*/ 119315 w 273378"/>
                  <a:gd name="connsiteY37" fmla="*/ 217938 h 218081"/>
                  <a:gd name="connsiteX38" fmla="*/ 75238 w 273378"/>
                  <a:gd name="connsiteY38" fmla="*/ 210521 h 218081"/>
                  <a:gd name="connsiteX39" fmla="*/ 91505 w 273378"/>
                  <a:gd name="connsiteY39" fmla="*/ 217758 h 218081"/>
                  <a:gd name="connsiteX40" fmla="*/ 91565 w 273378"/>
                  <a:gd name="connsiteY40" fmla="*/ 217997 h 218081"/>
                  <a:gd name="connsiteX41" fmla="*/ 91326 w 273378"/>
                  <a:gd name="connsiteY41" fmla="*/ 218057 h 218081"/>
                  <a:gd name="connsiteX42" fmla="*/ 73922 w 273378"/>
                  <a:gd name="connsiteY42" fmla="*/ 210342 h 218081"/>
                  <a:gd name="connsiteX43" fmla="*/ 65190 w 273378"/>
                  <a:gd name="connsiteY43" fmla="*/ 208847 h 218081"/>
                  <a:gd name="connsiteX44" fmla="*/ 61482 w 273378"/>
                  <a:gd name="connsiteY44" fmla="*/ 213751 h 218081"/>
                  <a:gd name="connsiteX45" fmla="*/ 61302 w 273378"/>
                  <a:gd name="connsiteY45" fmla="*/ 213811 h 218081"/>
                  <a:gd name="connsiteX46" fmla="*/ 61183 w 273378"/>
                  <a:gd name="connsiteY46" fmla="*/ 213691 h 218081"/>
                  <a:gd name="connsiteX47" fmla="*/ 59508 w 273378"/>
                  <a:gd name="connsiteY47" fmla="*/ 207890 h 218081"/>
                  <a:gd name="connsiteX48" fmla="*/ 18660 w 273378"/>
                  <a:gd name="connsiteY48" fmla="*/ 201012 h 218081"/>
                  <a:gd name="connsiteX49" fmla="*/ 18600 w 273378"/>
                  <a:gd name="connsiteY49" fmla="*/ 200952 h 218081"/>
                  <a:gd name="connsiteX50" fmla="*/ 5143 w 273378"/>
                  <a:gd name="connsiteY50" fmla="*/ 189410 h 218081"/>
                  <a:gd name="connsiteX51" fmla="*/ 239 w 273378"/>
                  <a:gd name="connsiteY51" fmla="*/ 192101 h 218081"/>
                  <a:gd name="connsiteX52" fmla="*/ 60 w 273378"/>
                  <a:gd name="connsiteY52" fmla="*/ 192101 h 218081"/>
                  <a:gd name="connsiteX53" fmla="*/ 0 w 273378"/>
                  <a:gd name="connsiteY53" fmla="*/ 191922 h 218081"/>
                  <a:gd name="connsiteX54" fmla="*/ 658 w 273378"/>
                  <a:gd name="connsiteY54" fmla="*/ 185462 h 218081"/>
                  <a:gd name="connsiteX55" fmla="*/ 658 w 273378"/>
                  <a:gd name="connsiteY55" fmla="*/ 185462 h 218081"/>
                  <a:gd name="connsiteX56" fmla="*/ 778 w 273378"/>
                  <a:gd name="connsiteY56" fmla="*/ 185343 h 218081"/>
                  <a:gd name="connsiteX57" fmla="*/ 957 w 273378"/>
                  <a:gd name="connsiteY57" fmla="*/ 185343 h 218081"/>
                  <a:gd name="connsiteX58" fmla="*/ 5203 w 273378"/>
                  <a:gd name="connsiteY58" fmla="*/ 188991 h 218081"/>
                  <a:gd name="connsiteX59" fmla="*/ 14892 w 273378"/>
                  <a:gd name="connsiteY59" fmla="*/ 183728 h 218081"/>
                  <a:gd name="connsiteX60" fmla="*/ 15012 w 273378"/>
                  <a:gd name="connsiteY60" fmla="*/ 183728 h 218081"/>
                  <a:gd name="connsiteX61" fmla="*/ 58132 w 273378"/>
                  <a:gd name="connsiteY61" fmla="*/ 202866 h 218081"/>
                  <a:gd name="connsiteX62" fmla="*/ 50298 w 273378"/>
                  <a:gd name="connsiteY62" fmla="*/ 175654 h 218081"/>
                  <a:gd name="connsiteX63" fmla="*/ 50358 w 273378"/>
                  <a:gd name="connsiteY63" fmla="*/ 175475 h 218081"/>
                  <a:gd name="connsiteX64" fmla="*/ 50537 w 273378"/>
                  <a:gd name="connsiteY64" fmla="*/ 175475 h 218081"/>
                  <a:gd name="connsiteX65" fmla="*/ 80321 w 273378"/>
                  <a:gd name="connsiteY65" fmla="*/ 188213 h 218081"/>
                  <a:gd name="connsiteX66" fmla="*/ 114710 w 273378"/>
                  <a:gd name="connsiteY66" fmla="*/ 142461 h 218081"/>
                  <a:gd name="connsiteX67" fmla="*/ 114889 w 273378"/>
                  <a:gd name="connsiteY67" fmla="*/ 142401 h 218081"/>
                  <a:gd name="connsiteX68" fmla="*/ 195809 w 273378"/>
                  <a:gd name="connsiteY68" fmla="*/ 180080 h 218081"/>
                  <a:gd name="connsiteX69" fmla="*/ 209744 w 273378"/>
                  <a:gd name="connsiteY69" fmla="*/ 169673 h 218081"/>
                  <a:gd name="connsiteX70" fmla="*/ 203883 w 273378"/>
                  <a:gd name="connsiteY70" fmla="*/ 73144 h 218081"/>
                  <a:gd name="connsiteX71" fmla="*/ 203942 w 273378"/>
                  <a:gd name="connsiteY71" fmla="*/ 73025 h 218081"/>
                  <a:gd name="connsiteX72" fmla="*/ 204062 w 273378"/>
                  <a:gd name="connsiteY72" fmla="*/ 72965 h 218081"/>
                  <a:gd name="connsiteX73" fmla="*/ 252626 w 273378"/>
                  <a:gd name="connsiteY73" fmla="*/ 79663 h 218081"/>
                  <a:gd name="connsiteX74" fmla="*/ 253523 w 273378"/>
                  <a:gd name="connsiteY74" fmla="*/ 73384 h 218081"/>
                  <a:gd name="connsiteX75" fmla="*/ 224756 w 273378"/>
                  <a:gd name="connsiteY75" fmla="*/ 54604 h 218081"/>
                  <a:gd name="connsiteX76" fmla="*/ 224696 w 273378"/>
                  <a:gd name="connsiteY76" fmla="*/ 54365 h 218081"/>
                  <a:gd name="connsiteX77" fmla="*/ 224935 w 273378"/>
                  <a:gd name="connsiteY77" fmla="*/ 54305 h 218081"/>
                  <a:gd name="connsiteX78" fmla="*/ 253582 w 273378"/>
                  <a:gd name="connsiteY78" fmla="*/ 72965 h 218081"/>
                  <a:gd name="connsiteX79" fmla="*/ 255556 w 273378"/>
                  <a:gd name="connsiteY79" fmla="*/ 59628 h 218081"/>
                  <a:gd name="connsiteX80" fmla="*/ 242817 w 273378"/>
                  <a:gd name="connsiteY80" fmla="*/ 34090 h 218081"/>
                  <a:gd name="connsiteX81" fmla="*/ 242817 w 273378"/>
                  <a:gd name="connsiteY81" fmla="*/ 33971 h 218081"/>
                  <a:gd name="connsiteX82" fmla="*/ 242937 w 273378"/>
                  <a:gd name="connsiteY82" fmla="*/ 33851 h 218081"/>
                  <a:gd name="connsiteX83" fmla="*/ 256095 w 273378"/>
                  <a:gd name="connsiteY83" fmla="*/ 29365 h 218081"/>
                  <a:gd name="connsiteX84" fmla="*/ 254121 w 273378"/>
                  <a:gd name="connsiteY84" fmla="*/ 19378 h 218081"/>
                  <a:gd name="connsiteX85" fmla="*/ 254181 w 273378"/>
                  <a:gd name="connsiteY85" fmla="*/ 19258 h 218081"/>
                  <a:gd name="connsiteX86" fmla="*/ 254300 w 273378"/>
                  <a:gd name="connsiteY86" fmla="*/ 19198 h 218081"/>
                  <a:gd name="connsiteX87" fmla="*/ 261178 w 273378"/>
                  <a:gd name="connsiteY87" fmla="*/ 20753 h 218081"/>
                  <a:gd name="connsiteX88" fmla="*/ 264168 w 273378"/>
                  <a:gd name="connsiteY88" fmla="*/ 120 h 218081"/>
                  <a:gd name="connsiteX89" fmla="*/ 264168 w 273378"/>
                  <a:gd name="connsiteY89" fmla="*/ 120 h 218081"/>
                  <a:gd name="connsiteX90" fmla="*/ 264348 w 273378"/>
                  <a:gd name="connsiteY90" fmla="*/ 0 h 218081"/>
                  <a:gd name="connsiteX91" fmla="*/ 264527 w 273378"/>
                  <a:gd name="connsiteY91" fmla="*/ 120 h 218081"/>
                  <a:gd name="connsiteX92" fmla="*/ 267936 w 273378"/>
                  <a:gd name="connsiteY92" fmla="*/ 22308 h 218081"/>
                  <a:gd name="connsiteX93" fmla="*/ 273259 w 273378"/>
                  <a:gd name="connsiteY93" fmla="*/ 23504 h 218081"/>
                  <a:gd name="connsiteX94" fmla="*/ 273379 w 273378"/>
                  <a:gd name="connsiteY94" fmla="*/ 23624 h 218081"/>
                  <a:gd name="connsiteX95" fmla="*/ 273259 w 273378"/>
                  <a:gd name="connsiteY95" fmla="*/ 23803 h 218081"/>
                  <a:gd name="connsiteX96" fmla="*/ 268415 w 273378"/>
                  <a:gd name="connsiteY96" fmla="*/ 25478 h 218081"/>
                  <a:gd name="connsiteX97" fmla="*/ 272542 w 273378"/>
                  <a:gd name="connsiteY97" fmla="*/ 52331 h 218081"/>
                  <a:gd name="connsiteX98" fmla="*/ 272542 w 273378"/>
                  <a:gd name="connsiteY98" fmla="*/ 52571 h 218081"/>
                  <a:gd name="connsiteX99" fmla="*/ 272542 w 273378"/>
                  <a:gd name="connsiteY99" fmla="*/ 52571 h 218081"/>
                  <a:gd name="connsiteX100" fmla="*/ 260401 w 273378"/>
                  <a:gd name="connsiteY100" fmla="*/ 28408 h 218081"/>
                  <a:gd name="connsiteX101" fmla="*/ 258606 w 273378"/>
                  <a:gd name="connsiteY101" fmla="*/ 40669 h 218081"/>
                  <a:gd name="connsiteX102" fmla="*/ 265305 w 273378"/>
                  <a:gd name="connsiteY102" fmla="*/ 74281 h 218081"/>
                  <a:gd name="connsiteX103" fmla="*/ 272183 w 273378"/>
                  <a:gd name="connsiteY103" fmla="*/ 52511 h 218081"/>
                  <a:gd name="connsiteX104" fmla="*/ 268056 w 273378"/>
                  <a:gd name="connsiteY104" fmla="*/ 25777 h 218081"/>
                  <a:gd name="connsiteX105" fmla="*/ 260401 w 273378"/>
                  <a:gd name="connsiteY105" fmla="*/ 28408 h 218081"/>
                  <a:gd name="connsiteX106" fmla="*/ 263869 w 273378"/>
                  <a:gd name="connsiteY106" fmla="*/ 79903 h 218081"/>
                  <a:gd name="connsiteX107" fmla="*/ 266262 w 273378"/>
                  <a:gd name="connsiteY107" fmla="*/ 81458 h 218081"/>
                  <a:gd name="connsiteX108" fmla="*/ 264527 w 273378"/>
                  <a:gd name="connsiteY108" fmla="*/ 77929 h 218081"/>
                  <a:gd name="connsiteX109" fmla="*/ 263869 w 273378"/>
                  <a:gd name="connsiteY109" fmla="*/ 79903 h 218081"/>
                  <a:gd name="connsiteX110" fmla="*/ 264647 w 273378"/>
                  <a:gd name="connsiteY110" fmla="*/ 77450 h 218081"/>
                  <a:gd name="connsiteX111" fmla="*/ 266262 w 273378"/>
                  <a:gd name="connsiteY111" fmla="*/ 80740 h 218081"/>
                  <a:gd name="connsiteX112" fmla="*/ 265245 w 273378"/>
                  <a:gd name="connsiteY112" fmla="*/ 75537 h 218081"/>
                  <a:gd name="connsiteX113" fmla="*/ 264647 w 273378"/>
                  <a:gd name="connsiteY113" fmla="*/ 77450 h 218081"/>
                  <a:gd name="connsiteX114" fmla="*/ 263451 w 273378"/>
                  <a:gd name="connsiteY114" fmla="*/ 81278 h 218081"/>
                  <a:gd name="connsiteX115" fmla="*/ 266022 w 273378"/>
                  <a:gd name="connsiteY115" fmla="*/ 81637 h 218081"/>
                  <a:gd name="connsiteX116" fmla="*/ 263810 w 273378"/>
                  <a:gd name="connsiteY116" fmla="*/ 80201 h 218081"/>
                  <a:gd name="connsiteX117" fmla="*/ 263451 w 273378"/>
                  <a:gd name="connsiteY117" fmla="*/ 81278 h 218081"/>
                  <a:gd name="connsiteX118" fmla="*/ 255855 w 273378"/>
                  <a:gd name="connsiteY118" fmla="*/ 59748 h 218081"/>
                  <a:gd name="connsiteX119" fmla="*/ 264467 w 273378"/>
                  <a:gd name="connsiteY119" fmla="*/ 77032 h 218081"/>
                  <a:gd name="connsiteX120" fmla="*/ 265126 w 273378"/>
                  <a:gd name="connsiteY120" fmla="*/ 74879 h 218081"/>
                  <a:gd name="connsiteX121" fmla="*/ 258487 w 273378"/>
                  <a:gd name="connsiteY121" fmla="*/ 41626 h 218081"/>
                  <a:gd name="connsiteX122" fmla="*/ 255855 w 273378"/>
                  <a:gd name="connsiteY122" fmla="*/ 59748 h 218081"/>
                  <a:gd name="connsiteX123" fmla="*/ 253822 w 273378"/>
                  <a:gd name="connsiteY123" fmla="*/ 73324 h 218081"/>
                  <a:gd name="connsiteX124" fmla="*/ 263570 w 273378"/>
                  <a:gd name="connsiteY124" fmla="*/ 79663 h 218081"/>
                  <a:gd name="connsiteX125" fmla="*/ 264288 w 273378"/>
                  <a:gd name="connsiteY125" fmla="*/ 77450 h 218081"/>
                  <a:gd name="connsiteX126" fmla="*/ 255736 w 273378"/>
                  <a:gd name="connsiteY126" fmla="*/ 60286 h 218081"/>
                  <a:gd name="connsiteX127" fmla="*/ 253822 w 273378"/>
                  <a:gd name="connsiteY127" fmla="*/ 73324 h 218081"/>
                  <a:gd name="connsiteX128" fmla="*/ 252925 w 273378"/>
                  <a:gd name="connsiteY128" fmla="*/ 79843 h 218081"/>
                  <a:gd name="connsiteX129" fmla="*/ 263152 w 273378"/>
                  <a:gd name="connsiteY129" fmla="*/ 81218 h 218081"/>
                  <a:gd name="connsiteX130" fmla="*/ 263511 w 273378"/>
                  <a:gd name="connsiteY130" fmla="*/ 79962 h 218081"/>
                  <a:gd name="connsiteX131" fmla="*/ 253822 w 273378"/>
                  <a:gd name="connsiteY131" fmla="*/ 73623 h 218081"/>
                  <a:gd name="connsiteX132" fmla="*/ 252925 w 273378"/>
                  <a:gd name="connsiteY132" fmla="*/ 79843 h 218081"/>
                  <a:gd name="connsiteX133" fmla="*/ 243595 w 273378"/>
                  <a:gd name="connsiteY133" fmla="*/ 142939 h 218081"/>
                  <a:gd name="connsiteX134" fmla="*/ 263032 w 273378"/>
                  <a:gd name="connsiteY134" fmla="*/ 81577 h 218081"/>
                  <a:gd name="connsiteX135" fmla="*/ 252865 w 273378"/>
                  <a:gd name="connsiteY135" fmla="*/ 80201 h 218081"/>
                  <a:gd name="connsiteX136" fmla="*/ 243595 w 273378"/>
                  <a:gd name="connsiteY136" fmla="*/ 142939 h 218081"/>
                  <a:gd name="connsiteX137" fmla="*/ 268355 w 273378"/>
                  <a:gd name="connsiteY137" fmla="*/ 25358 h 218081"/>
                  <a:gd name="connsiteX138" fmla="*/ 272661 w 273378"/>
                  <a:gd name="connsiteY138" fmla="*/ 23923 h 218081"/>
                  <a:gd name="connsiteX139" fmla="*/ 267996 w 273378"/>
                  <a:gd name="connsiteY139" fmla="*/ 22846 h 218081"/>
                  <a:gd name="connsiteX140" fmla="*/ 268355 w 273378"/>
                  <a:gd name="connsiteY140" fmla="*/ 25358 h 218081"/>
                  <a:gd name="connsiteX141" fmla="*/ 261417 w 273378"/>
                  <a:gd name="connsiteY141" fmla="*/ 21351 h 218081"/>
                  <a:gd name="connsiteX142" fmla="*/ 260460 w 273378"/>
                  <a:gd name="connsiteY142" fmla="*/ 28050 h 218081"/>
                  <a:gd name="connsiteX143" fmla="*/ 268056 w 273378"/>
                  <a:gd name="connsiteY143" fmla="*/ 25478 h 218081"/>
                  <a:gd name="connsiteX144" fmla="*/ 267637 w 273378"/>
                  <a:gd name="connsiteY144" fmla="*/ 22787 h 218081"/>
                  <a:gd name="connsiteX145" fmla="*/ 261417 w 273378"/>
                  <a:gd name="connsiteY145" fmla="*/ 21351 h 218081"/>
                  <a:gd name="connsiteX146" fmla="*/ 261477 w 273378"/>
                  <a:gd name="connsiteY146" fmla="*/ 21052 h 218081"/>
                  <a:gd name="connsiteX147" fmla="*/ 267577 w 273378"/>
                  <a:gd name="connsiteY147" fmla="*/ 22428 h 218081"/>
                  <a:gd name="connsiteX148" fmla="*/ 264348 w 273378"/>
                  <a:gd name="connsiteY148" fmla="*/ 1435 h 218081"/>
                  <a:gd name="connsiteX149" fmla="*/ 261477 w 273378"/>
                  <a:gd name="connsiteY149" fmla="*/ 21052 h 218081"/>
                  <a:gd name="connsiteX150" fmla="*/ 204182 w 273378"/>
                  <a:gd name="connsiteY150" fmla="*/ 73503 h 218081"/>
                  <a:gd name="connsiteX151" fmla="*/ 210043 w 273378"/>
                  <a:gd name="connsiteY151" fmla="*/ 169613 h 218081"/>
                  <a:gd name="connsiteX152" fmla="*/ 242937 w 273378"/>
                  <a:gd name="connsiteY152" fmla="*/ 145032 h 218081"/>
                  <a:gd name="connsiteX153" fmla="*/ 242997 w 273378"/>
                  <a:gd name="connsiteY153" fmla="*/ 144853 h 218081"/>
                  <a:gd name="connsiteX154" fmla="*/ 252566 w 273378"/>
                  <a:gd name="connsiteY154" fmla="*/ 80142 h 218081"/>
                  <a:gd name="connsiteX155" fmla="*/ 204182 w 273378"/>
                  <a:gd name="connsiteY155" fmla="*/ 73503 h 218081"/>
                  <a:gd name="connsiteX156" fmla="*/ 210761 w 273378"/>
                  <a:gd name="connsiteY156" fmla="*/ 181993 h 218081"/>
                  <a:gd name="connsiteX157" fmla="*/ 241920 w 273378"/>
                  <a:gd name="connsiteY157" fmla="*/ 146169 h 218081"/>
                  <a:gd name="connsiteX158" fmla="*/ 210043 w 273378"/>
                  <a:gd name="connsiteY158" fmla="*/ 169972 h 218081"/>
                  <a:gd name="connsiteX159" fmla="*/ 210761 w 273378"/>
                  <a:gd name="connsiteY159" fmla="*/ 181993 h 218081"/>
                  <a:gd name="connsiteX160" fmla="*/ 256095 w 273378"/>
                  <a:gd name="connsiteY160" fmla="*/ 29844 h 218081"/>
                  <a:gd name="connsiteX161" fmla="*/ 243116 w 273378"/>
                  <a:gd name="connsiteY161" fmla="*/ 34270 h 218081"/>
                  <a:gd name="connsiteX162" fmla="*/ 255556 w 273378"/>
                  <a:gd name="connsiteY162" fmla="*/ 59209 h 218081"/>
                  <a:gd name="connsiteX163" fmla="*/ 258248 w 273378"/>
                  <a:gd name="connsiteY163" fmla="*/ 40669 h 218081"/>
                  <a:gd name="connsiteX164" fmla="*/ 256095 w 273378"/>
                  <a:gd name="connsiteY164" fmla="*/ 29844 h 218081"/>
                  <a:gd name="connsiteX165" fmla="*/ 256394 w 273378"/>
                  <a:gd name="connsiteY165" fmla="*/ 29784 h 218081"/>
                  <a:gd name="connsiteX166" fmla="*/ 258367 w 273378"/>
                  <a:gd name="connsiteY166" fmla="*/ 39772 h 218081"/>
                  <a:gd name="connsiteX167" fmla="*/ 259982 w 273378"/>
                  <a:gd name="connsiteY167" fmla="*/ 28588 h 218081"/>
                  <a:gd name="connsiteX168" fmla="*/ 256394 w 273378"/>
                  <a:gd name="connsiteY168" fmla="*/ 29784 h 218081"/>
                  <a:gd name="connsiteX169" fmla="*/ 254420 w 273378"/>
                  <a:gd name="connsiteY169" fmla="*/ 19736 h 218081"/>
                  <a:gd name="connsiteX170" fmla="*/ 256334 w 273378"/>
                  <a:gd name="connsiteY170" fmla="*/ 29425 h 218081"/>
                  <a:gd name="connsiteX171" fmla="*/ 260102 w 273378"/>
                  <a:gd name="connsiteY171" fmla="*/ 28169 h 218081"/>
                  <a:gd name="connsiteX172" fmla="*/ 261118 w 273378"/>
                  <a:gd name="connsiteY172" fmla="*/ 21292 h 218081"/>
                  <a:gd name="connsiteX173" fmla="*/ 254420 w 273378"/>
                  <a:gd name="connsiteY173" fmla="*/ 19736 h 218081"/>
                  <a:gd name="connsiteX174" fmla="*/ 207830 w 273378"/>
                  <a:gd name="connsiteY174" fmla="*/ 185881 h 218081"/>
                  <a:gd name="connsiteX175" fmla="*/ 210761 w 273378"/>
                  <a:gd name="connsiteY175" fmla="*/ 187257 h 218081"/>
                  <a:gd name="connsiteX176" fmla="*/ 210522 w 273378"/>
                  <a:gd name="connsiteY176" fmla="*/ 182831 h 218081"/>
                  <a:gd name="connsiteX177" fmla="*/ 207830 w 273378"/>
                  <a:gd name="connsiteY177" fmla="*/ 185881 h 218081"/>
                  <a:gd name="connsiteX178" fmla="*/ 196108 w 273378"/>
                  <a:gd name="connsiteY178" fmla="*/ 180438 h 218081"/>
                  <a:gd name="connsiteX179" fmla="*/ 207531 w 273378"/>
                  <a:gd name="connsiteY179" fmla="*/ 185761 h 218081"/>
                  <a:gd name="connsiteX180" fmla="*/ 210462 w 273378"/>
                  <a:gd name="connsiteY180" fmla="*/ 182352 h 218081"/>
                  <a:gd name="connsiteX181" fmla="*/ 209744 w 273378"/>
                  <a:gd name="connsiteY181" fmla="*/ 170211 h 218081"/>
                  <a:gd name="connsiteX182" fmla="*/ 196108 w 273378"/>
                  <a:gd name="connsiteY182" fmla="*/ 180438 h 218081"/>
                  <a:gd name="connsiteX183" fmla="*/ 157054 w 273378"/>
                  <a:gd name="connsiteY183" fmla="*/ 209624 h 218081"/>
                  <a:gd name="connsiteX184" fmla="*/ 193716 w 273378"/>
                  <a:gd name="connsiteY184" fmla="*/ 201670 h 218081"/>
                  <a:gd name="connsiteX185" fmla="*/ 207352 w 273378"/>
                  <a:gd name="connsiteY185" fmla="*/ 186000 h 218081"/>
                  <a:gd name="connsiteX186" fmla="*/ 195869 w 273378"/>
                  <a:gd name="connsiteY186" fmla="*/ 180618 h 218081"/>
                  <a:gd name="connsiteX187" fmla="*/ 157054 w 273378"/>
                  <a:gd name="connsiteY187" fmla="*/ 209624 h 218081"/>
                  <a:gd name="connsiteX188" fmla="*/ 80560 w 273378"/>
                  <a:gd name="connsiteY188" fmla="*/ 188572 h 218081"/>
                  <a:gd name="connsiteX189" fmla="*/ 139052 w 273378"/>
                  <a:gd name="connsiteY189" fmla="*/ 213512 h 218081"/>
                  <a:gd name="connsiteX190" fmla="*/ 156276 w 273378"/>
                  <a:gd name="connsiteY190" fmla="*/ 209744 h 218081"/>
                  <a:gd name="connsiteX191" fmla="*/ 195510 w 273378"/>
                  <a:gd name="connsiteY191" fmla="*/ 180438 h 218081"/>
                  <a:gd name="connsiteX192" fmla="*/ 114830 w 273378"/>
                  <a:gd name="connsiteY192" fmla="*/ 142939 h 218081"/>
                  <a:gd name="connsiteX193" fmla="*/ 80560 w 273378"/>
                  <a:gd name="connsiteY193" fmla="*/ 188572 h 218081"/>
                  <a:gd name="connsiteX194" fmla="*/ 146827 w 273378"/>
                  <a:gd name="connsiteY194" fmla="*/ 216801 h 218081"/>
                  <a:gd name="connsiteX195" fmla="*/ 155678 w 273378"/>
                  <a:gd name="connsiteY195" fmla="*/ 210223 h 218081"/>
                  <a:gd name="connsiteX196" fmla="*/ 139590 w 273378"/>
                  <a:gd name="connsiteY196" fmla="*/ 213691 h 218081"/>
                  <a:gd name="connsiteX197" fmla="*/ 146827 w 273378"/>
                  <a:gd name="connsiteY197" fmla="*/ 216801 h 218081"/>
                  <a:gd name="connsiteX198" fmla="*/ 66745 w 273378"/>
                  <a:gd name="connsiteY198" fmla="*/ 206933 h 218081"/>
                  <a:gd name="connsiteX199" fmla="*/ 73982 w 273378"/>
                  <a:gd name="connsiteY199" fmla="*/ 210163 h 218081"/>
                  <a:gd name="connsiteX200" fmla="*/ 119256 w 273378"/>
                  <a:gd name="connsiteY200" fmla="*/ 217758 h 218081"/>
                  <a:gd name="connsiteX201" fmla="*/ 138454 w 273378"/>
                  <a:gd name="connsiteY201" fmla="*/ 213572 h 218081"/>
                  <a:gd name="connsiteX202" fmla="*/ 80321 w 273378"/>
                  <a:gd name="connsiteY202" fmla="*/ 188752 h 218081"/>
                  <a:gd name="connsiteX203" fmla="*/ 66745 w 273378"/>
                  <a:gd name="connsiteY203" fmla="*/ 206933 h 218081"/>
                  <a:gd name="connsiteX204" fmla="*/ 58491 w 273378"/>
                  <a:gd name="connsiteY204" fmla="*/ 203285 h 218081"/>
                  <a:gd name="connsiteX205" fmla="*/ 66446 w 273378"/>
                  <a:gd name="connsiteY205" fmla="*/ 206813 h 218081"/>
                  <a:gd name="connsiteX206" fmla="*/ 80082 w 273378"/>
                  <a:gd name="connsiteY206" fmla="*/ 188692 h 218081"/>
                  <a:gd name="connsiteX207" fmla="*/ 50657 w 273378"/>
                  <a:gd name="connsiteY207" fmla="*/ 176132 h 218081"/>
                  <a:gd name="connsiteX208" fmla="*/ 58491 w 273378"/>
                  <a:gd name="connsiteY208" fmla="*/ 203285 h 218081"/>
                  <a:gd name="connsiteX209" fmla="*/ 65429 w 273378"/>
                  <a:gd name="connsiteY209" fmla="*/ 208727 h 218081"/>
                  <a:gd name="connsiteX210" fmla="*/ 72725 w 273378"/>
                  <a:gd name="connsiteY210" fmla="*/ 209983 h 218081"/>
                  <a:gd name="connsiteX211" fmla="*/ 66565 w 273378"/>
                  <a:gd name="connsiteY211" fmla="*/ 207232 h 218081"/>
                  <a:gd name="connsiteX212" fmla="*/ 65429 w 273378"/>
                  <a:gd name="connsiteY212" fmla="*/ 208727 h 218081"/>
                  <a:gd name="connsiteX213" fmla="*/ 59747 w 273378"/>
                  <a:gd name="connsiteY213" fmla="*/ 207770 h 218081"/>
                  <a:gd name="connsiteX214" fmla="*/ 65010 w 273378"/>
                  <a:gd name="connsiteY214" fmla="*/ 208667 h 218081"/>
                  <a:gd name="connsiteX215" fmla="*/ 66207 w 273378"/>
                  <a:gd name="connsiteY215" fmla="*/ 207112 h 218081"/>
                  <a:gd name="connsiteX216" fmla="*/ 58551 w 273378"/>
                  <a:gd name="connsiteY216" fmla="*/ 203704 h 218081"/>
                  <a:gd name="connsiteX217" fmla="*/ 59747 w 273378"/>
                  <a:gd name="connsiteY217" fmla="*/ 207770 h 218081"/>
                  <a:gd name="connsiteX218" fmla="*/ 61422 w 273378"/>
                  <a:gd name="connsiteY218" fmla="*/ 213512 h 218081"/>
                  <a:gd name="connsiteX219" fmla="*/ 64831 w 273378"/>
                  <a:gd name="connsiteY219" fmla="*/ 208966 h 218081"/>
                  <a:gd name="connsiteX220" fmla="*/ 59867 w 273378"/>
                  <a:gd name="connsiteY220" fmla="*/ 208129 h 218081"/>
                  <a:gd name="connsiteX221" fmla="*/ 61422 w 273378"/>
                  <a:gd name="connsiteY221" fmla="*/ 213512 h 218081"/>
                  <a:gd name="connsiteX222" fmla="*/ 14952 w 273378"/>
                  <a:gd name="connsiteY222" fmla="*/ 184326 h 218081"/>
                  <a:gd name="connsiteX223" fmla="*/ 5442 w 273378"/>
                  <a:gd name="connsiteY223" fmla="*/ 189469 h 218081"/>
                  <a:gd name="connsiteX224" fmla="*/ 18780 w 273378"/>
                  <a:gd name="connsiteY224" fmla="*/ 200893 h 218081"/>
                  <a:gd name="connsiteX225" fmla="*/ 59448 w 273378"/>
                  <a:gd name="connsiteY225" fmla="*/ 207770 h 218081"/>
                  <a:gd name="connsiteX226" fmla="*/ 58252 w 273378"/>
                  <a:gd name="connsiteY226" fmla="*/ 203584 h 218081"/>
                  <a:gd name="connsiteX227" fmla="*/ 14952 w 273378"/>
                  <a:gd name="connsiteY227" fmla="*/ 184326 h 218081"/>
                  <a:gd name="connsiteX228" fmla="*/ 359 w 273378"/>
                  <a:gd name="connsiteY228" fmla="*/ 191862 h 218081"/>
                  <a:gd name="connsiteX229" fmla="*/ 4904 w 273378"/>
                  <a:gd name="connsiteY229" fmla="*/ 189410 h 218081"/>
                  <a:gd name="connsiteX230" fmla="*/ 957 w 273378"/>
                  <a:gd name="connsiteY230" fmla="*/ 186060 h 218081"/>
                  <a:gd name="connsiteX231" fmla="*/ 359 w 273378"/>
                  <a:gd name="connsiteY231" fmla="*/ 191862 h 21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273378" h="218081">
                    <a:moveTo>
                      <a:pt x="272542" y="52571"/>
                    </a:moveTo>
                    <a:lnTo>
                      <a:pt x="265484" y="74938"/>
                    </a:lnTo>
                    <a:lnTo>
                      <a:pt x="266860" y="81876"/>
                    </a:lnTo>
                    <a:cubicBezTo>
                      <a:pt x="266860" y="81936"/>
                      <a:pt x="266860" y="81996"/>
                      <a:pt x="266860" y="81996"/>
                    </a:cubicBezTo>
                    <a:cubicBezTo>
                      <a:pt x="266860" y="81996"/>
                      <a:pt x="266800" y="82056"/>
                      <a:pt x="266800" y="82056"/>
                    </a:cubicBezTo>
                    <a:cubicBezTo>
                      <a:pt x="266800" y="82056"/>
                      <a:pt x="266800" y="82056"/>
                      <a:pt x="266800" y="82056"/>
                    </a:cubicBezTo>
                    <a:lnTo>
                      <a:pt x="266800" y="82056"/>
                    </a:lnTo>
                    <a:cubicBezTo>
                      <a:pt x="266800" y="82056"/>
                      <a:pt x="266800" y="82056"/>
                      <a:pt x="266800" y="82056"/>
                    </a:cubicBezTo>
                    <a:cubicBezTo>
                      <a:pt x="266800" y="82056"/>
                      <a:pt x="266800" y="82056"/>
                      <a:pt x="266800" y="82056"/>
                    </a:cubicBezTo>
                    <a:lnTo>
                      <a:pt x="266800" y="82056"/>
                    </a:lnTo>
                    <a:lnTo>
                      <a:pt x="266800" y="82056"/>
                    </a:lnTo>
                    <a:lnTo>
                      <a:pt x="266800" y="82056"/>
                    </a:lnTo>
                    <a:lnTo>
                      <a:pt x="266800" y="82056"/>
                    </a:lnTo>
                    <a:lnTo>
                      <a:pt x="266800" y="82056"/>
                    </a:lnTo>
                    <a:cubicBezTo>
                      <a:pt x="266800" y="82056"/>
                      <a:pt x="266800" y="82056"/>
                      <a:pt x="266800" y="82056"/>
                    </a:cubicBezTo>
                    <a:lnTo>
                      <a:pt x="266800" y="82056"/>
                    </a:lnTo>
                    <a:cubicBezTo>
                      <a:pt x="266800" y="82056"/>
                      <a:pt x="266740" y="82056"/>
                      <a:pt x="266740" y="82056"/>
                    </a:cubicBezTo>
                    <a:lnTo>
                      <a:pt x="263391" y="81577"/>
                    </a:lnTo>
                    <a:lnTo>
                      <a:pt x="243236" y="145152"/>
                    </a:lnTo>
                    <a:cubicBezTo>
                      <a:pt x="243236" y="145152"/>
                      <a:pt x="243236" y="145152"/>
                      <a:pt x="243236" y="145152"/>
                    </a:cubicBezTo>
                    <a:lnTo>
                      <a:pt x="243236" y="145152"/>
                    </a:lnTo>
                    <a:lnTo>
                      <a:pt x="243236" y="145152"/>
                    </a:lnTo>
                    <a:cubicBezTo>
                      <a:pt x="243236" y="145152"/>
                      <a:pt x="243236" y="145152"/>
                      <a:pt x="243236" y="145152"/>
                    </a:cubicBezTo>
                    <a:lnTo>
                      <a:pt x="243236" y="145152"/>
                    </a:lnTo>
                    <a:cubicBezTo>
                      <a:pt x="243236" y="145152"/>
                      <a:pt x="243236" y="145152"/>
                      <a:pt x="243236" y="145212"/>
                    </a:cubicBezTo>
                    <a:lnTo>
                      <a:pt x="210880" y="182412"/>
                    </a:lnTo>
                    <a:lnTo>
                      <a:pt x="211179" y="187436"/>
                    </a:lnTo>
                    <a:cubicBezTo>
                      <a:pt x="211179" y="187496"/>
                      <a:pt x="211179" y="187556"/>
                      <a:pt x="211119" y="187556"/>
                    </a:cubicBezTo>
                    <a:cubicBezTo>
                      <a:pt x="211060" y="187556"/>
                      <a:pt x="211000" y="187615"/>
                      <a:pt x="210940" y="187556"/>
                    </a:cubicBezTo>
                    <a:lnTo>
                      <a:pt x="207651" y="186000"/>
                    </a:lnTo>
                    <a:lnTo>
                      <a:pt x="193955" y="201730"/>
                    </a:lnTo>
                    <a:cubicBezTo>
                      <a:pt x="193955" y="201730"/>
                      <a:pt x="193895" y="201790"/>
                      <a:pt x="193895" y="201790"/>
                    </a:cubicBezTo>
                    <a:lnTo>
                      <a:pt x="156456" y="209923"/>
                    </a:lnTo>
                    <a:lnTo>
                      <a:pt x="147006" y="216981"/>
                    </a:lnTo>
                    <a:cubicBezTo>
                      <a:pt x="146946" y="217040"/>
                      <a:pt x="146887" y="217040"/>
                      <a:pt x="146827" y="216981"/>
                    </a:cubicBezTo>
                    <a:lnTo>
                      <a:pt x="139052" y="213691"/>
                    </a:lnTo>
                    <a:lnTo>
                      <a:pt x="119375" y="217938"/>
                    </a:lnTo>
                    <a:cubicBezTo>
                      <a:pt x="119375" y="217938"/>
                      <a:pt x="119315" y="217938"/>
                      <a:pt x="119315" y="217938"/>
                    </a:cubicBezTo>
                    <a:lnTo>
                      <a:pt x="75238" y="210521"/>
                    </a:lnTo>
                    <a:lnTo>
                      <a:pt x="91505" y="217758"/>
                    </a:lnTo>
                    <a:cubicBezTo>
                      <a:pt x="91565" y="217818"/>
                      <a:pt x="91625" y="217878"/>
                      <a:pt x="91565" y="217997"/>
                    </a:cubicBezTo>
                    <a:cubicBezTo>
                      <a:pt x="91505" y="218057"/>
                      <a:pt x="91445" y="218117"/>
                      <a:pt x="91326" y="218057"/>
                    </a:cubicBezTo>
                    <a:lnTo>
                      <a:pt x="73922" y="210342"/>
                    </a:lnTo>
                    <a:lnTo>
                      <a:pt x="65190" y="208847"/>
                    </a:lnTo>
                    <a:lnTo>
                      <a:pt x="61482" y="213751"/>
                    </a:lnTo>
                    <a:cubicBezTo>
                      <a:pt x="61422" y="213811"/>
                      <a:pt x="61362" y="213811"/>
                      <a:pt x="61302" y="213811"/>
                    </a:cubicBezTo>
                    <a:cubicBezTo>
                      <a:pt x="61243" y="213811"/>
                      <a:pt x="61183" y="213751"/>
                      <a:pt x="61183" y="213691"/>
                    </a:cubicBezTo>
                    <a:lnTo>
                      <a:pt x="59508" y="207890"/>
                    </a:lnTo>
                    <a:lnTo>
                      <a:pt x="18660" y="201012"/>
                    </a:lnTo>
                    <a:cubicBezTo>
                      <a:pt x="18660" y="201012"/>
                      <a:pt x="18600" y="201012"/>
                      <a:pt x="18600" y="200952"/>
                    </a:cubicBezTo>
                    <a:lnTo>
                      <a:pt x="5143" y="189410"/>
                    </a:lnTo>
                    <a:lnTo>
                      <a:pt x="239" y="192101"/>
                    </a:lnTo>
                    <a:cubicBezTo>
                      <a:pt x="179" y="192101"/>
                      <a:pt x="120" y="192101"/>
                      <a:pt x="60" y="192101"/>
                    </a:cubicBezTo>
                    <a:cubicBezTo>
                      <a:pt x="0" y="192041"/>
                      <a:pt x="0" y="191981"/>
                      <a:pt x="0" y="191922"/>
                    </a:cubicBezTo>
                    <a:lnTo>
                      <a:pt x="658" y="185462"/>
                    </a:lnTo>
                    <a:cubicBezTo>
                      <a:pt x="658" y="185462"/>
                      <a:pt x="658" y="185462"/>
                      <a:pt x="658" y="185462"/>
                    </a:cubicBezTo>
                    <a:cubicBezTo>
                      <a:pt x="658" y="185402"/>
                      <a:pt x="718" y="185343"/>
                      <a:pt x="778" y="185343"/>
                    </a:cubicBezTo>
                    <a:cubicBezTo>
                      <a:pt x="837" y="185343"/>
                      <a:pt x="897" y="185343"/>
                      <a:pt x="957" y="185343"/>
                    </a:cubicBezTo>
                    <a:lnTo>
                      <a:pt x="5203" y="188991"/>
                    </a:lnTo>
                    <a:lnTo>
                      <a:pt x="14892" y="183728"/>
                    </a:lnTo>
                    <a:cubicBezTo>
                      <a:pt x="14952" y="183728"/>
                      <a:pt x="15012" y="183728"/>
                      <a:pt x="15012" y="183728"/>
                    </a:cubicBezTo>
                    <a:lnTo>
                      <a:pt x="58132" y="202866"/>
                    </a:lnTo>
                    <a:lnTo>
                      <a:pt x="50298" y="175654"/>
                    </a:lnTo>
                    <a:cubicBezTo>
                      <a:pt x="50298" y="175594"/>
                      <a:pt x="50298" y="175534"/>
                      <a:pt x="50358" y="175475"/>
                    </a:cubicBezTo>
                    <a:cubicBezTo>
                      <a:pt x="50417" y="175415"/>
                      <a:pt x="50477" y="175415"/>
                      <a:pt x="50537" y="175475"/>
                    </a:cubicBezTo>
                    <a:lnTo>
                      <a:pt x="80321" y="188213"/>
                    </a:lnTo>
                    <a:lnTo>
                      <a:pt x="114710" y="142461"/>
                    </a:lnTo>
                    <a:cubicBezTo>
                      <a:pt x="114770" y="142401"/>
                      <a:pt x="114830" y="142401"/>
                      <a:pt x="114889" y="142401"/>
                    </a:cubicBezTo>
                    <a:lnTo>
                      <a:pt x="195809" y="180080"/>
                    </a:lnTo>
                    <a:lnTo>
                      <a:pt x="209744" y="169673"/>
                    </a:lnTo>
                    <a:lnTo>
                      <a:pt x="203883" y="73144"/>
                    </a:lnTo>
                    <a:cubicBezTo>
                      <a:pt x="203883" y="73084"/>
                      <a:pt x="203883" y="73025"/>
                      <a:pt x="203942" y="73025"/>
                    </a:cubicBezTo>
                    <a:cubicBezTo>
                      <a:pt x="204002" y="72965"/>
                      <a:pt x="204002" y="72965"/>
                      <a:pt x="204062" y="72965"/>
                    </a:cubicBezTo>
                    <a:lnTo>
                      <a:pt x="252626" y="79663"/>
                    </a:lnTo>
                    <a:cubicBezTo>
                      <a:pt x="252925" y="77570"/>
                      <a:pt x="253224" y="75477"/>
                      <a:pt x="253523" y="73384"/>
                    </a:cubicBezTo>
                    <a:lnTo>
                      <a:pt x="224756" y="54604"/>
                    </a:lnTo>
                    <a:cubicBezTo>
                      <a:pt x="224696" y="54544"/>
                      <a:pt x="224636" y="54425"/>
                      <a:pt x="224696" y="54365"/>
                    </a:cubicBezTo>
                    <a:cubicBezTo>
                      <a:pt x="224756" y="54305"/>
                      <a:pt x="224815" y="54245"/>
                      <a:pt x="224935" y="54305"/>
                    </a:cubicBezTo>
                    <a:lnTo>
                      <a:pt x="253582" y="72965"/>
                    </a:lnTo>
                    <a:cubicBezTo>
                      <a:pt x="254241" y="68479"/>
                      <a:pt x="254898" y="63994"/>
                      <a:pt x="255556" y="59628"/>
                    </a:cubicBezTo>
                    <a:lnTo>
                      <a:pt x="242817" y="34090"/>
                    </a:lnTo>
                    <a:cubicBezTo>
                      <a:pt x="242817" y="34030"/>
                      <a:pt x="242817" y="34030"/>
                      <a:pt x="242817" y="33971"/>
                    </a:cubicBezTo>
                    <a:cubicBezTo>
                      <a:pt x="242817" y="33911"/>
                      <a:pt x="242877" y="33911"/>
                      <a:pt x="242937" y="33851"/>
                    </a:cubicBezTo>
                    <a:lnTo>
                      <a:pt x="256095" y="29365"/>
                    </a:lnTo>
                    <a:lnTo>
                      <a:pt x="254121" y="19378"/>
                    </a:lnTo>
                    <a:cubicBezTo>
                      <a:pt x="254121" y="19318"/>
                      <a:pt x="254121" y="19258"/>
                      <a:pt x="254181" y="19258"/>
                    </a:cubicBezTo>
                    <a:cubicBezTo>
                      <a:pt x="254241" y="19198"/>
                      <a:pt x="254300" y="19198"/>
                      <a:pt x="254300" y="19198"/>
                    </a:cubicBezTo>
                    <a:lnTo>
                      <a:pt x="261178" y="20753"/>
                    </a:lnTo>
                    <a:cubicBezTo>
                      <a:pt x="262972" y="8553"/>
                      <a:pt x="264109" y="479"/>
                      <a:pt x="264168" y="120"/>
                    </a:cubicBezTo>
                    <a:cubicBezTo>
                      <a:pt x="264168" y="120"/>
                      <a:pt x="264168" y="120"/>
                      <a:pt x="264168" y="120"/>
                    </a:cubicBezTo>
                    <a:cubicBezTo>
                      <a:pt x="264168" y="60"/>
                      <a:pt x="264228" y="0"/>
                      <a:pt x="264348" y="0"/>
                    </a:cubicBezTo>
                    <a:cubicBezTo>
                      <a:pt x="264408" y="0"/>
                      <a:pt x="264467" y="60"/>
                      <a:pt x="264527" y="120"/>
                    </a:cubicBezTo>
                    <a:lnTo>
                      <a:pt x="267936" y="22308"/>
                    </a:lnTo>
                    <a:lnTo>
                      <a:pt x="273259" y="23504"/>
                    </a:lnTo>
                    <a:cubicBezTo>
                      <a:pt x="273319" y="23504"/>
                      <a:pt x="273379" y="23564"/>
                      <a:pt x="273379" y="23624"/>
                    </a:cubicBezTo>
                    <a:cubicBezTo>
                      <a:pt x="273379" y="23684"/>
                      <a:pt x="273319" y="23743"/>
                      <a:pt x="273259" y="23803"/>
                    </a:cubicBezTo>
                    <a:lnTo>
                      <a:pt x="268415" y="25478"/>
                    </a:lnTo>
                    <a:lnTo>
                      <a:pt x="272542" y="52331"/>
                    </a:lnTo>
                    <a:cubicBezTo>
                      <a:pt x="272542" y="52511"/>
                      <a:pt x="272542" y="52571"/>
                      <a:pt x="272542" y="52571"/>
                    </a:cubicBezTo>
                    <a:cubicBezTo>
                      <a:pt x="272542" y="52571"/>
                      <a:pt x="272542" y="52571"/>
                      <a:pt x="272542" y="52571"/>
                    </a:cubicBezTo>
                    <a:close/>
                    <a:moveTo>
                      <a:pt x="260401" y="28408"/>
                    </a:moveTo>
                    <a:cubicBezTo>
                      <a:pt x="259862" y="32236"/>
                      <a:pt x="259264" y="36363"/>
                      <a:pt x="258606" y="40669"/>
                    </a:cubicBezTo>
                    <a:lnTo>
                      <a:pt x="265305" y="74281"/>
                    </a:lnTo>
                    <a:lnTo>
                      <a:pt x="272183" y="52511"/>
                    </a:lnTo>
                    <a:lnTo>
                      <a:pt x="268056" y="25777"/>
                    </a:lnTo>
                    <a:lnTo>
                      <a:pt x="260401" y="28408"/>
                    </a:lnTo>
                    <a:close/>
                    <a:moveTo>
                      <a:pt x="263869" y="79903"/>
                    </a:moveTo>
                    <a:lnTo>
                      <a:pt x="266262" y="81458"/>
                    </a:lnTo>
                    <a:lnTo>
                      <a:pt x="264527" y="77929"/>
                    </a:lnTo>
                    <a:lnTo>
                      <a:pt x="263869" y="79903"/>
                    </a:lnTo>
                    <a:close/>
                    <a:moveTo>
                      <a:pt x="264647" y="77450"/>
                    </a:moveTo>
                    <a:lnTo>
                      <a:pt x="266262" y="80740"/>
                    </a:lnTo>
                    <a:lnTo>
                      <a:pt x="265245" y="75537"/>
                    </a:lnTo>
                    <a:lnTo>
                      <a:pt x="264647" y="77450"/>
                    </a:lnTo>
                    <a:close/>
                    <a:moveTo>
                      <a:pt x="263451" y="81278"/>
                    </a:moveTo>
                    <a:lnTo>
                      <a:pt x="266022" y="81637"/>
                    </a:lnTo>
                    <a:lnTo>
                      <a:pt x="263810" y="80201"/>
                    </a:lnTo>
                    <a:lnTo>
                      <a:pt x="263451" y="81278"/>
                    </a:lnTo>
                    <a:close/>
                    <a:moveTo>
                      <a:pt x="255855" y="59748"/>
                    </a:moveTo>
                    <a:lnTo>
                      <a:pt x="264467" y="77032"/>
                    </a:lnTo>
                    <a:lnTo>
                      <a:pt x="265126" y="74879"/>
                    </a:lnTo>
                    <a:lnTo>
                      <a:pt x="258487" y="41626"/>
                    </a:lnTo>
                    <a:cubicBezTo>
                      <a:pt x="257650" y="47427"/>
                      <a:pt x="256752" y="53528"/>
                      <a:pt x="255855" y="59748"/>
                    </a:cubicBezTo>
                    <a:close/>
                    <a:moveTo>
                      <a:pt x="253822" y="73324"/>
                    </a:moveTo>
                    <a:lnTo>
                      <a:pt x="263570" y="79663"/>
                    </a:lnTo>
                    <a:lnTo>
                      <a:pt x="264288" y="77450"/>
                    </a:lnTo>
                    <a:lnTo>
                      <a:pt x="255736" y="60286"/>
                    </a:lnTo>
                    <a:cubicBezTo>
                      <a:pt x="255137" y="64592"/>
                      <a:pt x="254480" y="68958"/>
                      <a:pt x="253822" y="73324"/>
                    </a:cubicBezTo>
                    <a:close/>
                    <a:moveTo>
                      <a:pt x="252925" y="79843"/>
                    </a:moveTo>
                    <a:lnTo>
                      <a:pt x="263152" y="81218"/>
                    </a:lnTo>
                    <a:lnTo>
                      <a:pt x="263511" y="79962"/>
                    </a:lnTo>
                    <a:lnTo>
                      <a:pt x="253822" y="73623"/>
                    </a:lnTo>
                    <a:cubicBezTo>
                      <a:pt x="253523" y="75776"/>
                      <a:pt x="253224" y="77809"/>
                      <a:pt x="252925" y="79843"/>
                    </a:cubicBezTo>
                    <a:close/>
                    <a:moveTo>
                      <a:pt x="243595" y="142939"/>
                    </a:moveTo>
                    <a:lnTo>
                      <a:pt x="263032" y="81577"/>
                    </a:lnTo>
                    <a:lnTo>
                      <a:pt x="252865" y="80201"/>
                    </a:lnTo>
                    <a:cubicBezTo>
                      <a:pt x="248738" y="108431"/>
                      <a:pt x="244791" y="135105"/>
                      <a:pt x="243595" y="142939"/>
                    </a:cubicBezTo>
                    <a:close/>
                    <a:moveTo>
                      <a:pt x="268355" y="25358"/>
                    </a:moveTo>
                    <a:lnTo>
                      <a:pt x="272661" y="23923"/>
                    </a:lnTo>
                    <a:lnTo>
                      <a:pt x="267996" y="22846"/>
                    </a:lnTo>
                    <a:lnTo>
                      <a:pt x="268355" y="25358"/>
                    </a:lnTo>
                    <a:close/>
                    <a:moveTo>
                      <a:pt x="261417" y="21351"/>
                    </a:moveTo>
                    <a:cubicBezTo>
                      <a:pt x="261118" y="23445"/>
                      <a:pt x="260759" y="25717"/>
                      <a:pt x="260460" y="28050"/>
                    </a:cubicBezTo>
                    <a:lnTo>
                      <a:pt x="268056" y="25478"/>
                    </a:lnTo>
                    <a:lnTo>
                      <a:pt x="267637" y="22787"/>
                    </a:lnTo>
                    <a:lnTo>
                      <a:pt x="261417" y="21351"/>
                    </a:lnTo>
                    <a:close/>
                    <a:moveTo>
                      <a:pt x="261477" y="21052"/>
                    </a:moveTo>
                    <a:lnTo>
                      <a:pt x="267577" y="22428"/>
                    </a:lnTo>
                    <a:lnTo>
                      <a:pt x="264348" y="1435"/>
                    </a:lnTo>
                    <a:cubicBezTo>
                      <a:pt x="263869" y="4187"/>
                      <a:pt x="262853" y="11364"/>
                      <a:pt x="261477" y="21052"/>
                    </a:cubicBezTo>
                    <a:close/>
                    <a:moveTo>
                      <a:pt x="204182" y="73503"/>
                    </a:moveTo>
                    <a:lnTo>
                      <a:pt x="210043" y="169613"/>
                    </a:lnTo>
                    <a:lnTo>
                      <a:pt x="242937" y="145032"/>
                    </a:lnTo>
                    <a:cubicBezTo>
                      <a:pt x="242937" y="144973"/>
                      <a:pt x="242937" y="144913"/>
                      <a:pt x="242997" y="144853"/>
                    </a:cubicBezTo>
                    <a:cubicBezTo>
                      <a:pt x="243535" y="141803"/>
                      <a:pt x="247961" y="111899"/>
                      <a:pt x="252566" y="80142"/>
                    </a:cubicBezTo>
                    <a:lnTo>
                      <a:pt x="204182" y="73503"/>
                    </a:lnTo>
                    <a:close/>
                    <a:moveTo>
                      <a:pt x="210761" y="181993"/>
                    </a:moveTo>
                    <a:lnTo>
                      <a:pt x="241920" y="146169"/>
                    </a:lnTo>
                    <a:lnTo>
                      <a:pt x="210043" y="169972"/>
                    </a:lnTo>
                    <a:lnTo>
                      <a:pt x="210761" y="181993"/>
                    </a:lnTo>
                    <a:close/>
                    <a:moveTo>
                      <a:pt x="256095" y="29844"/>
                    </a:moveTo>
                    <a:lnTo>
                      <a:pt x="243116" y="34270"/>
                    </a:lnTo>
                    <a:lnTo>
                      <a:pt x="255556" y="59209"/>
                    </a:lnTo>
                    <a:cubicBezTo>
                      <a:pt x="256513" y="52810"/>
                      <a:pt x="257410" y="46590"/>
                      <a:pt x="258248" y="40669"/>
                    </a:cubicBezTo>
                    <a:lnTo>
                      <a:pt x="256095" y="29844"/>
                    </a:lnTo>
                    <a:close/>
                    <a:moveTo>
                      <a:pt x="256394" y="29784"/>
                    </a:moveTo>
                    <a:lnTo>
                      <a:pt x="258367" y="39772"/>
                    </a:lnTo>
                    <a:cubicBezTo>
                      <a:pt x="258965" y="35825"/>
                      <a:pt x="259504" y="32117"/>
                      <a:pt x="259982" y="28588"/>
                    </a:cubicBezTo>
                    <a:lnTo>
                      <a:pt x="256394" y="29784"/>
                    </a:lnTo>
                    <a:close/>
                    <a:moveTo>
                      <a:pt x="254420" y="19736"/>
                    </a:moveTo>
                    <a:lnTo>
                      <a:pt x="256334" y="29425"/>
                    </a:lnTo>
                    <a:lnTo>
                      <a:pt x="260102" y="28169"/>
                    </a:lnTo>
                    <a:cubicBezTo>
                      <a:pt x="260460" y="25777"/>
                      <a:pt x="260759" y="23445"/>
                      <a:pt x="261118" y="21292"/>
                    </a:cubicBezTo>
                    <a:lnTo>
                      <a:pt x="254420" y="19736"/>
                    </a:lnTo>
                    <a:close/>
                    <a:moveTo>
                      <a:pt x="207830" y="185881"/>
                    </a:moveTo>
                    <a:lnTo>
                      <a:pt x="210761" y="187257"/>
                    </a:lnTo>
                    <a:lnTo>
                      <a:pt x="210522" y="182831"/>
                    </a:lnTo>
                    <a:lnTo>
                      <a:pt x="207830" y="185881"/>
                    </a:lnTo>
                    <a:close/>
                    <a:moveTo>
                      <a:pt x="196108" y="180438"/>
                    </a:moveTo>
                    <a:lnTo>
                      <a:pt x="207531" y="185761"/>
                    </a:lnTo>
                    <a:lnTo>
                      <a:pt x="210462" y="182352"/>
                    </a:lnTo>
                    <a:lnTo>
                      <a:pt x="209744" y="170211"/>
                    </a:lnTo>
                    <a:lnTo>
                      <a:pt x="196108" y="180438"/>
                    </a:lnTo>
                    <a:close/>
                    <a:moveTo>
                      <a:pt x="157054" y="209624"/>
                    </a:moveTo>
                    <a:lnTo>
                      <a:pt x="193716" y="201670"/>
                    </a:lnTo>
                    <a:lnTo>
                      <a:pt x="207352" y="186000"/>
                    </a:lnTo>
                    <a:lnTo>
                      <a:pt x="195869" y="180618"/>
                    </a:lnTo>
                    <a:lnTo>
                      <a:pt x="157054" y="209624"/>
                    </a:lnTo>
                    <a:close/>
                    <a:moveTo>
                      <a:pt x="80560" y="188572"/>
                    </a:moveTo>
                    <a:lnTo>
                      <a:pt x="139052" y="213512"/>
                    </a:lnTo>
                    <a:lnTo>
                      <a:pt x="156276" y="209744"/>
                    </a:lnTo>
                    <a:lnTo>
                      <a:pt x="195510" y="180438"/>
                    </a:lnTo>
                    <a:lnTo>
                      <a:pt x="114830" y="142939"/>
                    </a:lnTo>
                    <a:lnTo>
                      <a:pt x="80560" y="188572"/>
                    </a:lnTo>
                    <a:close/>
                    <a:moveTo>
                      <a:pt x="146827" y="216801"/>
                    </a:moveTo>
                    <a:lnTo>
                      <a:pt x="155678" y="210223"/>
                    </a:lnTo>
                    <a:lnTo>
                      <a:pt x="139590" y="213691"/>
                    </a:lnTo>
                    <a:lnTo>
                      <a:pt x="146827" y="216801"/>
                    </a:lnTo>
                    <a:close/>
                    <a:moveTo>
                      <a:pt x="66745" y="206933"/>
                    </a:moveTo>
                    <a:lnTo>
                      <a:pt x="73982" y="210163"/>
                    </a:lnTo>
                    <a:lnTo>
                      <a:pt x="119256" y="217758"/>
                    </a:lnTo>
                    <a:lnTo>
                      <a:pt x="138454" y="213572"/>
                    </a:lnTo>
                    <a:lnTo>
                      <a:pt x="80321" y="188752"/>
                    </a:lnTo>
                    <a:lnTo>
                      <a:pt x="66745" y="206933"/>
                    </a:lnTo>
                    <a:close/>
                    <a:moveTo>
                      <a:pt x="58491" y="203285"/>
                    </a:moveTo>
                    <a:lnTo>
                      <a:pt x="66446" y="206813"/>
                    </a:lnTo>
                    <a:lnTo>
                      <a:pt x="80082" y="188692"/>
                    </a:lnTo>
                    <a:lnTo>
                      <a:pt x="50657" y="176132"/>
                    </a:lnTo>
                    <a:lnTo>
                      <a:pt x="58491" y="203285"/>
                    </a:lnTo>
                    <a:close/>
                    <a:moveTo>
                      <a:pt x="65429" y="208727"/>
                    </a:moveTo>
                    <a:lnTo>
                      <a:pt x="72725" y="209983"/>
                    </a:lnTo>
                    <a:lnTo>
                      <a:pt x="66565" y="207232"/>
                    </a:lnTo>
                    <a:lnTo>
                      <a:pt x="65429" y="208727"/>
                    </a:lnTo>
                    <a:close/>
                    <a:moveTo>
                      <a:pt x="59747" y="207770"/>
                    </a:moveTo>
                    <a:lnTo>
                      <a:pt x="65010" y="208667"/>
                    </a:lnTo>
                    <a:lnTo>
                      <a:pt x="66207" y="207112"/>
                    </a:lnTo>
                    <a:lnTo>
                      <a:pt x="58551" y="203704"/>
                    </a:lnTo>
                    <a:lnTo>
                      <a:pt x="59747" y="207770"/>
                    </a:lnTo>
                    <a:close/>
                    <a:moveTo>
                      <a:pt x="61422" y="213512"/>
                    </a:moveTo>
                    <a:lnTo>
                      <a:pt x="64831" y="208966"/>
                    </a:lnTo>
                    <a:lnTo>
                      <a:pt x="59867" y="208129"/>
                    </a:lnTo>
                    <a:lnTo>
                      <a:pt x="61422" y="213512"/>
                    </a:lnTo>
                    <a:close/>
                    <a:moveTo>
                      <a:pt x="14952" y="184326"/>
                    </a:moveTo>
                    <a:lnTo>
                      <a:pt x="5442" y="189469"/>
                    </a:lnTo>
                    <a:lnTo>
                      <a:pt x="18780" y="200893"/>
                    </a:lnTo>
                    <a:lnTo>
                      <a:pt x="59448" y="207770"/>
                    </a:lnTo>
                    <a:lnTo>
                      <a:pt x="58252" y="203584"/>
                    </a:lnTo>
                    <a:lnTo>
                      <a:pt x="14952" y="184326"/>
                    </a:lnTo>
                    <a:close/>
                    <a:moveTo>
                      <a:pt x="359" y="191862"/>
                    </a:moveTo>
                    <a:lnTo>
                      <a:pt x="4904" y="189410"/>
                    </a:lnTo>
                    <a:lnTo>
                      <a:pt x="957" y="186060"/>
                    </a:lnTo>
                    <a:lnTo>
                      <a:pt x="359" y="191862"/>
                    </a:lnTo>
                    <a:close/>
                  </a:path>
                </a:pathLst>
              </a:custGeom>
              <a:grpFill/>
              <a:ln w="6350" cap="flat">
                <a:solidFill>
                  <a:schemeClr val="bg1">
                    <a:alpha val="80000"/>
                  </a:schemeClr>
                </a:solidFill>
                <a:prstDash val="solid"/>
                <a:miter/>
              </a:ln>
            </p:spPr>
            <p:txBody>
              <a:bodyPr rtlCol="0" anchor="ctr"/>
              <a:lstStyle/>
              <a:p>
                <a:endParaRPr lang="en-GB"/>
              </a:p>
            </p:txBody>
          </p:sp>
          <p:sp>
            <p:nvSpPr>
              <p:cNvPr id="8839" name="Vrije vorm: vorm 8838">
                <a:extLst>
                  <a:ext uri="{FF2B5EF4-FFF2-40B4-BE49-F238E27FC236}">
                    <a16:creationId xmlns:a16="http://schemas.microsoft.com/office/drawing/2014/main" id="{A74019FA-C600-43A3-B2E0-87FBF84ADDDC}"/>
                  </a:ext>
                </a:extLst>
              </p:cNvPr>
              <p:cNvSpPr/>
              <p:nvPr/>
            </p:nvSpPr>
            <p:spPr>
              <a:xfrm>
                <a:off x="4352191" y="2626295"/>
                <a:ext cx="167400" cy="51279"/>
              </a:xfrm>
              <a:custGeom>
                <a:avLst/>
                <a:gdLst>
                  <a:gd name="connsiteX0" fmla="*/ 167400 w 167400"/>
                  <a:gd name="connsiteY0" fmla="*/ 179 h 51279"/>
                  <a:gd name="connsiteX1" fmla="*/ 167400 w 167400"/>
                  <a:gd name="connsiteY1" fmla="*/ 120 h 51279"/>
                  <a:gd name="connsiteX2" fmla="*/ 167221 w 167400"/>
                  <a:gd name="connsiteY2" fmla="*/ 0 h 51279"/>
                  <a:gd name="connsiteX3" fmla="*/ 120 w 167400"/>
                  <a:gd name="connsiteY3" fmla="*/ 46829 h 51279"/>
                  <a:gd name="connsiteX4" fmla="*/ 0 w 167400"/>
                  <a:gd name="connsiteY4" fmla="*/ 47008 h 51279"/>
                  <a:gd name="connsiteX5" fmla="*/ 180 w 167400"/>
                  <a:gd name="connsiteY5" fmla="*/ 47128 h 51279"/>
                  <a:gd name="connsiteX6" fmla="*/ 165486 w 167400"/>
                  <a:gd name="connsiteY6" fmla="*/ 777 h 51279"/>
                  <a:gd name="connsiteX7" fmla="*/ 58013 w 167400"/>
                  <a:gd name="connsiteY7" fmla="*/ 50956 h 51279"/>
                  <a:gd name="connsiteX8" fmla="*/ 57953 w 167400"/>
                  <a:gd name="connsiteY8" fmla="*/ 51195 h 51279"/>
                  <a:gd name="connsiteX9" fmla="*/ 58192 w 167400"/>
                  <a:gd name="connsiteY9" fmla="*/ 51255 h 51279"/>
                  <a:gd name="connsiteX10" fmla="*/ 167400 w 167400"/>
                  <a:gd name="connsiteY10" fmla="*/ 299 h 51279"/>
                  <a:gd name="connsiteX11" fmla="*/ 167400 w 167400"/>
                  <a:gd name="connsiteY11" fmla="*/ 179 h 5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400" h="51279">
                    <a:moveTo>
                      <a:pt x="167400" y="179"/>
                    </a:moveTo>
                    <a:cubicBezTo>
                      <a:pt x="167400" y="179"/>
                      <a:pt x="167400" y="120"/>
                      <a:pt x="167400" y="120"/>
                    </a:cubicBezTo>
                    <a:cubicBezTo>
                      <a:pt x="167400" y="60"/>
                      <a:pt x="167281" y="0"/>
                      <a:pt x="167221" y="0"/>
                    </a:cubicBezTo>
                    <a:cubicBezTo>
                      <a:pt x="165606" y="359"/>
                      <a:pt x="6878" y="44975"/>
                      <a:pt x="120" y="46829"/>
                    </a:cubicBezTo>
                    <a:cubicBezTo>
                      <a:pt x="60" y="46829"/>
                      <a:pt x="0" y="46949"/>
                      <a:pt x="0" y="47008"/>
                    </a:cubicBezTo>
                    <a:cubicBezTo>
                      <a:pt x="0" y="47068"/>
                      <a:pt x="120" y="47128"/>
                      <a:pt x="180" y="47128"/>
                    </a:cubicBezTo>
                    <a:cubicBezTo>
                      <a:pt x="1734" y="46709"/>
                      <a:pt x="147484" y="5741"/>
                      <a:pt x="165486" y="777"/>
                    </a:cubicBezTo>
                    <a:lnTo>
                      <a:pt x="58013" y="50956"/>
                    </a:lnTo>
                    <a:cubicBezTo>
                      <a:pt x="57953" y="51016"/>
                      <a:pt x="57893" y="51075"/>
                      <a:pt x="57953" y="51195"/>
                    </a:cubicBezTo>
                    <a:cubicBezTo>
                      <a:pt x="58013" y="51255"/>
                      <a:pt x="58073" y="51315"/>
                      <a:pt x="58192" y="51255"/>
                    </a:cubicBezTo>
                    <a:lnTo>
                      <a:pt x="167400" y="299"/>
                    </a:lnTo>
                    <a:cubicBezTo>
                      <a:pt x="167341" y="239"/>
                      <a:pt x="167400" y="179"/>
                      <a:pt x="167400"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40" name="Vrije vorm: vorm 8839">
                <a:extLst>
                  <a:ext uri="{FF2B5EF4-FFF2-40B4-BE49-F238E27FC236}">
                    <a16:creationId xmlns:a16="http://schemas.microsoft.com/office/drawing/2014/main" id="{C9878AEF-8B72-488A-B724-EA5C9E33394D}"/>
                  </a:ext>
                </a:extLst>
              </p:cNvPr>
              <p:cNvSpPr/>
              <p:nvPr/>
            </p:nvSpPr>
            <p:spPr>
              <a:xfrm>
                <a:off x="4278149" y="2558353"/>
                <a:ext cx="266919" cy="119375"/>
              </a:xfrm>
              <a:custGeom>
                <a:avLst/>
                <a:gdLst>
                  <a:gd name="connsiteX0" fmla="*/ 266860 w 266919"/>
                  <a:gd name="connsiteY0" fmla="*/ 23684 h 119375"/>
                  <a:gd name="connsiteX1" fmla="*/ 255975 w 266919"/>
                  <a:gd name="connsiteY1" fmla="*/ 46291 h 119375"/>
                  <a:gd name="connsiteX2" fmla="*/ 241382 w 266919"/>
                  <a:gd name="connsiteY2" fmla="*/ 68121 h 119375"/>
                  <a:gd name="connsiteX3" fmla="*/ 232710 w 266919"/>
                  <a:gd name="connsiteY3" fmla="*/ 81039 h 119375"/>
                  <a:gd name="connsiteX4" fmla="*/ 232710 w 266919"/>
                  <a:gd name="connsiteY4" fmla="*/ 81099 h 119375"/>
                  <a:gd name="connsiteX5" fmla="*/ 223858 w 266919"/>
                  <a:gd name="connsiteY5" fmla="*/ 88754 h 119375"/>
                  <a:gd name="connsiteX6" fmla="*/ 206694 w 266919"/>
                  <a:gd name="connsiteY6" fmla="*/ 103048 h 119375"/>
                  <a:gd name="connsiteX7" fmla="*/ 206694 w 266919"/>
                  <a:gd name="connsiteY7" fmla="*/ 103048 h 119375"/>
                  <a:gd name="connsiteX8" fmla="*/ 206694 w 266919"/>
                  <a:gd name="connsiteY8" fmla="*/ 103048 h 119375"/>
                  <a:gd name="connsiteX9" fmla="*/ 206694 w 266919"/>
                  <a:gd name="connsiteY9" fmla="*/ 103048 h 119375"/>
                  <a:gd name="connsiteX10" fmla="*/ 206694 w 266919"/>
                  <a:gd name="connsiteY10" fmla="*/ 103048 h 119375"/>
                  <a:gd name="connsiteX11" fmla="*/ 206694 w 266919"/>
                  <a:gd name="connsiteY11" fmla="*/ 103048 h 119375"/>
                  <a:gd name="connsiteX12" fmla="*/ 206634 w 266919"/>
                  <a:gd name="connsiteY12" fmla="*/ 103048 h 119375"/>
                  <a:gd name="connsiteX13" fmla="*/ 181515 w 266919"/>
                  <a:gd name="connsiteY13" fmla="*/ 113155 h 119375"/>
                  <a:gd name="connsiteX14" fmla="*/ 159626 w 266919"/>
                  <a:gd name="connsiteY14" fmla="*/ 118299 h 119375"/>
                  <a:gd name="connsiteX15" fmla="*/ 132054 w 266919"/>
                  <a:gd name="connsiteY15" fmla="*/ 119256 h 119375"/>
                  <a:gd name="connsiteX16" fmla="*/ 132054 w 266919"/>
                  <a:gd name="connsiteY16" fmla="*/ 119256 h 119375"/>
                  <a:gd name="connsiteX17" fmla="*/ 104125 w 266919"/>
                  <a:gd name="connsiteY17" fmla="*/ 119375 h 119375"/>
                  <a:gd name="connsiteX18" fmla="*/ 74101 w 266919"/>
                  <a:gd name="connsiteY18" fmla="*/ 115129 h 119375"/>
                  <a:gd name="connsiteX19" fmla="*/ 74041 w 266919"/>
                  <a:gd name="connsiteY19" fmla="*/ 115129 h 119375"/>
                  <a:gd name="connsiteX20" fmla="*/ 49820 w 266919"/>
                  <a:gd name="connsiteY20" fmla="*/ 109208 h 119375"/>
                  <a:gd name="connsiteX21" fmla="*/ 31339 w 266919"/>
                  <a:gd name="connsiteY21" fmla="*/ 102330 h 119375"/>
                  <a:gd name="connsiteX22" fmla="*/ 12799 w 266919"/>
                  <a:gd name="connsiteY22" fmla="*/ 93479 h 119375"/>
                  <a:gd name="connsiteX23" fmla="*/ 12739 w 266919"/>
                  <a:gd name="connsiteY23" fmla="*/ 93479 h 119375"/>
                  <a:gd name="connsiteX24" fmla="*/ 60 w 266919"/>
                  <a:gd name="connsiteY24" fmla="*/ 81577 h 119375"/>
                  <a:gd name="connsiteX25" fmla="*/ 0 w 266919"/>
                  <a:gd name="connsiteY25" fmla="*/ 81398 h 119375"/>
                  <a:gd name="connsiteX26" fmla="*/ 180 w 266919"/>
                  <a:gd name="connsiteY26" fmla="*/ 81278 h 119375"/>
                  <a:gd name="connsiteX27" fmla="*/ 41925 w 266919"/>
                  <a:gd name="connsiteY27" fmla="*/ 82474 h 119375"/>
                  <a:gd name="connsiteX28" fmla="*/ 42045 w 266919"/>
                  <a:gd name="connsiteY28" fmla="*/ 82534 h 119375"/>
                  <a:gd name="connsiteX29" fmla="*/ 73982 w 266919"/>
                  <a:gd name="connsiteY29" fmla="*/ 114710 h 119375"/>
                  <a:gd name="connsiteX30" fmla="*/ 78766 w 266919"/>
                  <a:gd name="connsiteY30" fmla="*/ 71171 h 119375"/>
                  <a:gd name="connsiteX31" fmla="*/ 78766 w 266919"/>
                  <a:gd name="connsiteY31" fmla="*/ 71171 h 119375"/>
                  <a:gd name="connsiteX32" fmla="*/ 78886 w 266919"/>
                  <a:gd name="connsiteY32" fmla="*/ 71051 h 119375"/>
                  <a:gd name="connsiteX33" fmla="*/ 79065 w 266919"/>
                  <a:gd name="connsiteY33" fmla="*/ 71111 h 119375"/>
                  <a:gd name="connsiteX34" fmla="*/ 122665 w 266919"/>
                  <a:gd name="connsiteY34" fmla="*/ 110524 h 119375"/>
                  <a:gd name="connsiteX35" fmla="*/ 206395 w 266919"/>
                  <a:gd name="connsiteY35" fmla="*/ 102928 h 119375"/>
                  <a:gd name="connsiteX36" fmla="*/ 187914 w 266919"/>
                  <a:gd name="connsiteY36" fmla="*/ 239 h 119375"/>
                  <a:gd name="connsiteX37" fmla="*/ 187974 w 266919"/>
                  <a:gd name="connsiteY37" fmla="*/ 60 h 119375"/>
                  <a:gd name="connsiteX38" fmla="*/ 188154 w 266919"/>
                  <a:gd name="connsiteY38" fmla="*/ 0 h 119375"/>
                  <a:gd name="connsiteX39" fmla="*/ 266800 w 266919"/>
                  <a:gd name="connsiteY39" fmla="*/ 23624 h 119375"/>
                  <a:gd name="connsiteX40" fmla="*/ 266920 w 266919"/>
                  <a:gd name="connsiteY40" fmla="*/ 23684 h 119375"/>
                  <a:gd name="connsiteX41" fmla="*/ 266860 w 266919"/>
                  <a:gd name="connsiteY41" fmla="*/ 23684 h 119375"/>
                  <a:gd name="connsiteX42" fmla="*/ 266860 w 266919"/>
                  <a:gd name="connsiteY42" fmla="*/ 23684 h 119375"/>
                  <a:gd name="connsiteX43" fmla="*/ 206694 w 266919"/>
                  <a:gd name="connsiteY43" fmla="*/ 102569 h 119375"/>
                  <a:gd name="connsiteX44" fmla="*/ 223679 w 266919"/>
                  <a:gd name="connsiteY44" fmla="*/ 88455 h 119375"/>
                  <a:gd name="connsiteX45" fmla="*/ 232531 w 266919"/>
                  <a:gd name="connsiteY45" fmla="*/ 80859 h 119375"/>
                  <a:gd name="connsiteX46" fmla="*/ 241203 w 266919"/>
                  <a:gd name="connsiteY46" fmla="*/ 68001 h 119375"/>
                  <a:gd name="connsiteX47" fmla="*/ 255796 w 266919"/>
                  <a:gd name="connsiteY47" fmla="*/ 46171 h 119375"/>
                  <a:gd name="connsiteX48" fmla="*/ 266621 w 266919"/>
                  <a:gd name="connsiteY48" fmla="*/ 23743 h 119375"/>
                  <a:gd name="connsiteX49" fmla="*/ 188393 w 266919"/>
                  <a:gd name="connsiteY49" fmla="*/ 239 h 119375"/>
                  <a:gd name="connsiteX50" fmla="*/ 206694 w 266919"/>
                  <a:gd name="connsiteY50" fmla="*/ 102569 h 119375"/>
                  <a:gd name="connsiteX51" fmla="*/ 132114 w 266919"/>
                  <a:gd name="connsiteY51" fmla="*/ 118897 h 119375"/>
                  <a:gd name="connsiteX52" fmla="*/ 159566 w 266919"/>
                  <a:gd name="connsiteY52" fmla="*/ 117940 h 119375"/>
                  <a:gd name="connsiteX53" fmla="*/ 181395 w 266919"/>
                  <a:gd name="connsiteY53" fmla="*/ 112797 h 119375"/>
                  <a:gd name="connsiteX54" fmla="*/ 205498 w 266919"/>
                  <a:gd name="connsiteY54" fmla="*/ 103108 h 119375"/>
                  <a:gd name="connsiteX55" fmla="*/ 123024 w 266919"/>
                  <a:gd name="connsiteY55" fmla="*/ 110643 h 119375"/>
                  <a:gd name="connsiteX56" fmla="*/ 132114 w 266919"/>
                  <a:gd name="connsiteY56" fmla="*/ 118897 h 119375"/>
                  <a:gd name="connsiteX57" fmla="*/ 75537 w 266919"/>
                  <a:gd name="connsiteY57" fmla="*/ 114949 h 119375"/>
                  <a:gd name="connsiteX58" fmla="*/ 104184 w 266919"/>
                  <a:gd name="connsiteY58" fmla="*/ 118957 h 119375"/>
                  <a:gd name="connsiteX59" fmla="*/ 131636 w 266919"/>
                  <a:gd name="connsiteY59" fmla="*/ 118837 h 119375"/>
                  <a:gd name="connsiteX60" fmla="*/ 122545 w 266919"/>
                  <a:gd name="connsiteY60" fmla="*/ 110643 h 119375"/>
                  <a:gd name="connsiteX61" fmla="*/ 75537 w 266919"/>
                  <a:gd name="connsiteY61" fmla="*/ 114949 h 119375"/>
                  <a:gd name="connsiteX62" fmla="*/ 74340 w 266919"/>
                  <a:gd name="connsiteY62" fmla="*/ 114770 h 119375"/>
                  <a:gd name="connsiteX63" fmla="*/ 122246 w 266919"/>
                  <a:gd name="connsiteY63" fmla="*/ 110404 h 119375"/>
                  <a:gd name="connsiteX64" fmla="*/ 79125 w 266919"/>
                  <a:gd name="connsiteY64" fmla="*/ 71410 h 119375"/>
                  <a:gd name="connsiteX65" fmla="*/ 74340 w 266919"/>
                  <a:gd name="connsiteY65" fmla="*/ 114770 h 119375"/>
                  <a:gd name="connsiteX66" fmla="*/ 658 w 266919"/>
                  <a:gd name="connsiteY66" fmla="*/ 81517 h 119375"/>
                  <a:gd name="connsiteX67" fmla="*/ 13038 w 266919"/>
                  <a:gd name="connsiteY67" fmla="*/ 93060 h 119375"/>
                  <a:gd name="connsiteX68" fmla="*/ 31519 w 266919"/>
                  <a:gd name="connsiteY68" fmla="*/ 101912 h 119375"/>
                  <a:gd name="connsiteX69" fmla="*/ 49999 w 266919"/>
                  <a:gd name="connsiteY69" fmla="*/ 108789 h 119375"/>
                  <a:gd name="connsiteX70" fmla="*/ 73623 w 266919"/>
                  <a:gd name="connsiteY70" fmla="*/ 114591 h 119375"/>
                  <a:gd name="connsiteX71" fmla="*/ 41925 w 266919"/>
                  <a:gd name="connsiteY71" fmla="*/ 82654 h 119375"/>
                  <a:gd name="connsiteX72" fmla="*/ 658 w 266919"/>
                  <a:gd name="connsiteY72" fmla="*/ 81517 h 11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6919" h="119375">
                    <a:moveTo>
                      <a:pt x="266860" y="23684"/>
                    </a:moveTo>
                    <a:lnTo>
                      <a:pt x="255975" y="46291"/>
                    </a:lnTo>
                    <a:lnTo>
                      <a:pt x="241382" y="68121"/>
                    </a:lnTo>
                    <a:lnTo>
                      <a:pt x="232710" y="81039"/>
                    </a:lnTo>
                    <a:cubicBezTo>
                      <a:pt x="232710" y="81039"/>
                      <a:pt x="232710" y="81039"/>
                      <a:pt x="232710" y="81099"/>
                    </a:cubicBezTo>
                    <a:lnTo>
                      <a:pt x="223858" y="88754"/>
                    </a:lnTo>
                    <a:lnTo>
                      <a:pt x="206694" y="103048"/>
                    </a:lnTo>
                    <a:cubicBezTo>
                      <a:pt x="206694" y="103048"/>
                      <a:pt x="206694" y="103048"/>
                      <a:pt x="206694" y="103048"/>
                    </a:cubicBezTo>
                    <a:lnTo>
                      <a:pt x="206694" y="103048"/>
                    </a:lnTo>
                    <a:lnTo>
                      <a:pt x="206694" y="103048"/>
                    </a:lnTo>
                    <a:lnTo>
                      <a:pt x="206694" y="103048"/>
                    </a:lnTo>
                    <a:lnTo>
                      <a:pt x="206694" y="103048"/>
                    </a:lnTo>
                    <a:cubicBezTo>
                      <a:pt x="206694" y="103048"/>
                      <a:pt x="206694" y="103048"/>
                      <a:pt x="206634" y="103048"/>
                    </a:cubicBezTo>
                    <a:lnTo>
                      <a:pt x="181515" y="113155"/>
                    </a:lnTo>
                    <a:lnTo>
                      <a:pt x="159626" y="118299"/>
                    </a:lnTo>
                    <a:lnTo>
                      <a:pt x="132054" y="119256"/>
                    </a:lnTo>
                    <a:cubicBezTo>
                      <a:pt x="132054" y="119256"/>
                      <a:pt x="132054" y="119256"/>
                      <a:pt x="132054" y="119256"/>
                    </a:cubicBezTo>
                    <a:lnTo>
                      <a:pt x="104125" y="119375"/>
                    </a:lnTo>
                    <a:lnTo>
                      <a:pt x="74101" y="115129"/>
                    </a:lnTo>
                    <a:cubicBezTo>
                      <a:pt x="74101" y="115129"/>
                      <a:pt x="74101" y="115129"/>
                      <a:pt x="74041" y="115129"/>
                    </a:cubicBezTo>
                    <a:lnTo>
                      <a:pt x="49820" y="109208"/>
                    </a:lnTo>
                    <a:lnTo>
                      <a:pt x="31339" y="102330"/>
                    </a:lnTo>
                    <a:lnTo>
                      <a:pt x="12799" y="93479"/>
                    </a:lnTo>
                    <a:cubicBezTo>
                      <a:pt x="12799" y="93479"/>
                      <a:pt x="12799" y="93479"/>
                      <a:pt x="12739" y="93479"/>
                    </a:cubicBezTo>
                    <a:lnTo>
                      <a:pt x="60" y="81577"/>
                    </a:lnTo>
                    <a:cubicBezTo>
                      <a:pt x="0" y="81517"/>
                      <a:pt x="0" y="81457"/>
                      <a:pt x="0" y="81398"/>
                    </a:cubicBezTo>
                    <a:cubicBezTo>
                      <a:pt x="0" y="81338"/>
                      <a:pt x="60" y="81278"/>
                      <a:pt x="180" y="81278"/>
                    </a:cubicBezTo>
                    <a:lnTo>
                      <a:pt x="41925" y="82474"/>
                    </a:lnTo>
                    <a:cubicBezTo>
                      <a:pt x="41985" y="82474"/>
                      <a:pt x="41985" y="82474"/>
                      <a:pt x="42045" y="82534"/>
                    </a:cubicBezTo>
                    <a:lnTo>
                      <a:pt x="73982" y="114710"/>
                    </a:lnTo>
                    <a:lnTo>
                      <a:pt x="78766" y="71171"/>
                    </a:lnTo>
                    <a:cubicBezTo>
                      <a:pt x="78766" y="71171"/>
                      <a:pt x="78766" y="71171"/>
                      <a:pt x="78766" y="71171"/>
                    </a:cubicBezTo>
                    <a:cubicBezTo>
                      <a:pt x="78766" y="71111"/>
                      <a:pt x="78826" y="71051"/>
                      <a:pt x="78886" y="71051"/>
                    </a:cubicBezTo>
                    <a:cubicBezTo>
                      <a:pt x="78946" y="71051"/>
                      <a:pt x="79005" y="71051"/>
                      <a:pt x="79065" y="71111"/>
                    </a:cubicBezTo>
                    <a:lnTo>
                      <a:pt x="122665" y="110524"/>
                    </a:lnTo>
                    <a:lnTo>
                      <a:pt x="206395" y="102928"/>
                    </a:lnTo>
                    <a:lnTo>
                      <a:pt x="187914" y="239"/>
                    </a:lnTo>
                    <a:cubicBezTo>
                      <a:pt x="187914" y="179"/>
                      <a:pt x="187914" y="120"/>
                      <a:pt x="187974" y="60"/>
                    </a:cubicBezTo>
                    <a:cubicBezTo>
                      <a:pt x="188034" y="0"/>
                      <a:pt x="188094" y="0"/>
                      <a:pt x="188154" y="0"/>
                    </a:cubicBezTo>
                    <a:lnTo>
                      <a:pt x="266800" y="23624"/>
                    </a:lnTo>
                    <a:cubicBezTo>
                      <a:pt x="266860" y="23624"/>
                      <a:pt x="266860" y="23684"/>
                      <a:pt x="266920" y="23684"/>
                    </a:cubicBezTo>
                    <a:cubicBezTo>
                      <a:pt x="266920" y="23564"/>
                      <a:pt x="266920" y="23624"/>
                      <a:pt x="266860" y="23684"/>
                    </a:cubicBezTo>
                    <a:cubicBezTo>
                      <a:pt x="266920" y="23684"/>
                      <a:pt x="266920" y="23684"/>
                      <a:pt x="266860" y="23684"/>
                    </a:cubicBezTo>
                    <a:close/>
                    <a:moveTo>
                      <a:pt x="206694" y="102569"/>
                    </a:moveTo>
                    <a:lnTo>
                      <a:pt x="223679" y="88455"/>
                    </a:lnTo>
                    <a:lnTo>
                      <a:pt x="232531" y="80859"/>
                    </a:lnTo>
                    <a:lnTo>
                      <a:pt x="241203" y="68001"/>
                    </a:lnTo>
                    <a:lnTo>
                      <a:pt x="255796" y="46171"/>
                    </a:lnTo>
                    <a:lnTo>
                      <a:pt x="266621" y="23743"/>
                    </a:lnTo>
                    <a:lnTo>
                      <a:pt x="188393" y="239"/>
                    </a:lnTo>
                    <a:lnTo>
                      <a:pt x="206694" y="102569"/>
                    </a:lnTo>
                    <a:close/>
                    <a:moveTo>
                      <a:pt x="132114" y="118897"/>
                    </a:moveTo>
                    <a:lnTo>
                      <a:pt x="159566" y="117940"/>
                    </a:lnTo>
                    <a:lnTo>
                      <a:pt x="181395" y="112797"/>
                    </a:lnTo>
                    <a:lnTo>
                      <a:pt x="205498" y="103108"/>
                    </a:lnTo>
                    <a:lnTo>
                      <a:pt x="123024" y="110643"/>
                    </a:lnTo>
                    <a:lnTo>
                      <a:pt x="132114" y="118897"/>
                    </a:lnTo>
                    <a:close/>
                    <a:moveTo>
                      <a:pt x="75537" y="114949"/>
                    </a:moveTo>
                    <a:lnTo>
                      <a:pt x="104184" y="118957"/>
                    </a:lnTo>
                    <a:lnTo>
                      <a:pt x="131636" y="118837"/>
                    </a:lnTo>
                    <a:lnTo>
                      <a:pt x="122545" y="110643"/>
                    </a:lnTo>
                    <a:lnTo>
                      <a:pt x="75537" y="114949"/>
                    </a:lnTo>
                    <a:close/>
                    <a:moveTo>
                      <a:pt x="74340" y="114770"/>
                    </a:moveTo>
                    <a:lnTo>
                      <a:pt x="122246" y="110404"/>
                    </a:lnTo>
                    <a:lnTo>
                      <a:pt x="79125" y="71410"/>
                    </a:lnTo>
                    <a:lnTo>
                      <a:pt x="74340" y="114770"/>
                    </a:lnTo>
                    <a:close/>
                    <a:moveTo>
                      <a:pt x="658" y="81517"/>
                    </a:moveTo>
                    <a:lnTo>
                      <a:pt x="13038" y="93060"/>
                    </a:lnTo>
                    <a:lnTo>
                      <a:pt x="31519" y="101912"/>
                    </a:lnTo>
                    <a:lnTo>
                      <a:pt x="49999" y="108789"/>
                    </a:lnTo>
                    <a:lnTo>
                      <a:pt x="73623" y="114591"/>
                    </a:lnTo>
                    <a:lnTo>
                      <a:pt x="41925" y="82654"/>
                    </a:lnTo>
                    <a:lnTo>
                      <a:pt x="658" y="81517"/>
                    </a:lnTo>
                    <a:close/>
                  </a:path>
                </a:pathLst>
              </a:custGeom>
              <a:grpFill/>
              <a:ln w="6350" cap="flat">
                <a:solidFill>
                  <a:schemeClr val="bg1">
                    <a:alpha val="80000"/>
                  </a:schemeClr>
                </a:solidFill>
                <a:prstDash val="solid"/>
                <a:miter/>
              </a:ln>
            </p:spPr>
            <p:txBody>
              <a:bodyPr rtlCol="0" anchor="ctr"/>
              <a:lstStyle/>
              <a:p>
                <a:endParaRPr lang="en-GB"/>
              </a:p>
            </p:txBody>
          </p:sp>
          <p:sp>
            <p:nvSpPr>
              <p:cNvPr id="8841" name="Vrije vorm: vorm 8840">
                <a:extLst>
                  <a:ext uri="{FF2B5EF4-FFF2-40B4-BE49-F238E27FC236}">
                    <a16:creationId xmlns:a16="http://schemas.microsoft.com/office/drawing/2014/main" id="{F1CD1F6B-72CB-4746-83FE-CC37D04C8B38}"/>
                  </a:ext>
                </a:extLst>
              </p:cNvPr>
              <p:cNvSpPr/>
              <p:nvPr/>
            </p:nvSpPr>
            <p:spPr>
              <a:xfrm>
                <a:off x="4341127" y="2544134"/>
                <a:ext cx="118657" cy="127320"/>
              </a:xfrm>
              <a:custGeom>
                <a:avLst/>
                <a:gdLst>
                  <a:gd name="connsiteX0" fmla="*/ 118657 w 118657"/>
                  <a:gd name="connsiteY0" fmla="*/ 127195 h 127320"/>
                  <a:gd name="connsiteX1" fmla="*/ 118538 w 118657"/>
                  <a:gd name="connsiteY1" fmla="*/ 127016 h 127320"/>
                  <a:gd name="connsiteX2" fmla="*/ 359 w 118657"/>
                  <a:gd name="connsiteY2" fmla="*/ 91071 h 127320"/>
                  <a:gd name="connsiteX3" fmla="*/ 12739 w 118657"/>
                  <a:gd name="connsiteY3" fmla="*/ 35092 h 127320"/>
                  <a:gd name="connsiteX4" fmla="*/ 17464 w 118657"/>
                  <a:gd name="connsiteY4" fmla="*/ 48070 h 127320"/>
                  <a:gd name="connsiteX5" fmla="*/ 22846 w 118657"/>
                  <a:gd name="connsiteY5" fmla="*/ 61587 h 127320"/>
                  <a:gd name="connsiteX6" fmla="*/ 22966 w 118657"/>
                  <a:gd name="connsiteY6" fmla="*/ 61347 h 127320"/>
                  <a:gd name="connsiteX7" fmla="*/ 11543 w 118657"/>
                  <a:gd name="connsiteY7" fmla="*/ 9435 h 127320"/>
                  <a:gd name="connsiteX8" fmla="*/ 19019 w 118657"/>
                  <a:gd name="connsiteY8" fmla="*/ 284 h 127320"/>
                  <a:gd name="connsiteX9" fmla="*/ 19019 w 118657"/>
                  <a:gd name="connsiteY9" fmla="*/ 45 h 127320"/>
                  <a:gd name="connsiteX10" fmla="*/ 18779 w 118657"/>
                  <a:gd name="connsiteY10" fmla="*/ 45 h 127320"/>
                  <a:gd name="connsiteX11" fmla="*/ 11244 w 118657"/>
                  <a:gd name="connsiteY11" fmla="*/ 9255 h 127320"/>
                  <a:gd name="connsiteX12" fmla="*/ 11184 w 118657"/>
                  <a:gd name="connsiteY12" fmla="*/ 9375 h 127320"/>
                  <a:gd name="connsiteX13" fmla="*/ 22368 w 118657"/>
                  <a:gd name="connsiteY13" fmla="*/ 60151 h 127320"/>
                  <a:gd name="connsiteX14" fmla="*/ 12858 w 118657"/>
                  <a:gd name="connsiteY14" fmla="*/ 34374 h 127320"/>
                  <a:gd name="connsiteX15" fmla="*/ 12679 w 118657"/>
                  <a:gd name="connsiteY15" fmla="*/ 34255 h 127320"/>
                  <a:gd name="connsiteX16" fmla="*/ 12559 w 118657"/>
                  <a:gd name="connsiteY16" fmla="*/ 34374 h 127320"/>
                  <a:gd name="connsiteX17" fmla="*/ 0 w 118657"/>
                  <a:gd name="connsiteY17" fmla="*/ 91071 h 127320"/>
                  <a:gd name="connsiteX18" fmla="*/ 0 w 118657"/>
                  <a:gd name="connsiteY18" fmla="*/ 91071 h 127320"/>
                  <a:gd name="connsiteX19" fmla="*/ 119 w 118657"/>
                  <a:gd name="connsiteY19" fmla="*/ 91251 h 127320"/>
                  <a:gd name="connsiteX20" fmla="*/ 118418 w 118657"/>
                  <a:gd name="connsiteY20" fmla="*/ 127255 h 127320"/>
                  <a:gd name="connsiteX21" fmla="*/ 118657 w 118657"/>
                  <a:gd name="connsiteY21" fmla="*/ 127195 h 127320"/>
                  <a:gd name="connsiteX22" fmla="*/ 118657 w 118657"/>
                  <a:gd name="connsiteY22" fmla="*/ 127195 h 127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657" h="127320">
                    <a:moveTo>
                      <a:pt x="118657" y="127195"/>
                    </a:moveTo>
                    <a:cubicBezTo>
                      <a:pt x="118657" y="127135"/>
                      <a:pt x="118597" y="127016"/>
                      <a:pt x="118538" y="127016"/>
                    </a:cubicBezTo>
                    <a:lnTo>
                      <a:pt x="359" y="91071"/>
                    </a:lnTo>
                    <a:lnTo>
                      <a:pt x="12739" y="35092"/>
                    </a:lnTo>
                    <a:cubicBezTo>
                      <a:pt x="13337" y="36826"/>
                      <a:pt x="15370" y="42448"/>
                      <a:pt x="17464" y="48070"/>
                    </a:cubicBezTo>
                    <a:cubicBezTo>
                      <a:pt x="22428" y="61646"/>
                      <a:pt x="22607" y="61646"/>
                      <a:pt x="22846" y="61587"/>
                    </a:cubicBezTo>
                    <a:cubicBezTo>
                      <a:pt x="22906" y="61587"/>
                      <a:pt x="22966" y="61527"/>
                      <a:pt x="22966" y="61347"/>
                    </a:cubicBezTo>
                    <a:lnTo>
                      <a:pt x="11543" y="9435"/>
                    </a:lnTo>
                    <a:lnTo>
                      <a:pt x="19019" y="284"/>
                    </a:lnTo>
                    <a:cubicBezTo>
                      <a:pt x="19079" y="224"/>
                      <a:pt x="19079" y="105"/>
                      <a:pt x="19019" y="45"/>
                    </a:cubicBezTo>
                    <a:cubicBezTo>
                      <a:pt x="18959" y="-15"/>
                      <a:pt x="18839" y="-15"/>
                      <a:pt x="18779" y="45"/>
                    </a:cubicBezTo>
                    <a:lnTo>
                      <a:pt x="11244" y="9255"/>
                    </a:lnTo>
                    <a:cubicBezTo>
                      <a:pt x="11184" y="9315"/>
                      <a:pt x="11184" y="9315"/>
                      <a:pt x="11184" y="9375"/>
                    </a:cubicBezTo>
                    <a:lnTo>
                      <a:pt x="22368" y="60151"/>
                    </a:lnTo>
                    <a:cubicBezTo>
                      <a:pt x="20813" y="56383"/>
                      <a:pt x="16088" y="43405"/>
                      <a:pt x="12858" y="34374"/>
                    </a:cubicBezTo>
                    <a:cubicBezTo>
                      <a:pt x="12858" y="34314"/>
                      <a:pt x="12739" y="34255"/>
                      <a:pt x="12679" y="34255"/>
                    </a:cubicBezTo>
                    <a:cubicBezTo>
                      <a:pt x="12619" y="34255"/>
                      <a:pt x="12559" y="34314"/>
                      <a:pt x="12559" y="34374"/>
                    </a:cubicBezTo>
                    <a:lnTo>
                      <a:pt x="0" y="91071"/>
                    </a:lnTo>
                    <a:cubicBezTo>
                      <a:pt x="0" y="91071"/>
                      <a:pt x="0" y="91071"/>
                      <a:pt x="0" y="91071"/>
                    </a:cubicBezTo>
                    <a:cubicBezTo>
                      <a:pt x="0" y="91131"/>
                      <a:pt x="60" y="91251"/>
                      <a:pt x="119" y="91251"/>
                    </a:cubicBezTo>
                    <a:lnTo>
                      <a:pt x="118418" y="127255"/>
                    </a:lnTo>
                    <a:cubicBezTo>
                      <a:pt x="118538" y="127375"/>
                      <a:pt x="118657" y="127315"/>
                      <a:pt x="118657" y="127195"/>
                    </a:cubicBezTo>
                    <a:cubicBezTo>
                      <a:pt x="118657" y="127195"/>
                      <a:pt x="118657" y="127195"/>
                      <a:pt x="118657" y="12719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42" name="Vrije vorm: vorm 8841">
                <a:extLst>
                  <a:ext uri="{FF2B5EF4-FFF2-40B4-BE49-F238E27FC236}">
                    <a16:creationId xmlns:a16="http://schemas.microsoft.com/office/drawing/2014/main" id="{623DC51C-B5C3-4FC4-9CE3-43C0F91B329B}"/>
                  </a:ext>
                </a:extLst>
              </p:cNvPr>
              <p:cNvSpPr/>
              <p:nvPr/>
            </p:nvSpPr>
            <p:spPr>
              <a:xfrm>
                <a:off x="4278149" y="2587480"/>
                <a:ext cx="79089" cy="57773"/>
              </a:xfrm>
              <a:custGeom>
                <a:avLst/>
                <a:gdLst>
                  <a:gd name="connsiteX0" fmla="*/ 79005 w 79089"/>
                  <a:gd name="connsiteY0" fmla="*/ 42104 h 57773"/>
                  <a:gd name="connsiteX1" fmla="*/ 63276 w 79089"/>
                  <a:gd name="connsiteY1" fmla="*/ 45872 h 57773"/>
                  <a:gd name="connsiteX2" fmla="*/ 63336 w 79089"/>
                  <a:gd name="connsiteY2" fmla="*/ 47846 h 57773"/>
                  <a:gd name="connsiteX3" fmla="*/ 63156 w 79089"/>
                  <a:gd name="connsiteY3" fmla="*/ 48025 h 57773"/>
                  <a:gd name="connsiteX4" fmla="*/ 50956 w 79089"/>
                  <a:gd name="connsiteY4" fmla="*/ 48863 h 57773"/>
                  <a:gd name="connsiteX5" fmla="*/ 29126 w 79089"/>
                  <a:gd name="connsiteY5" fmla="*/ 54126 h 57773"/>
                  <a:gd name="connsiteX6" fmla="*/ 27870 w 79089"/>
                  <a:gd name="connsiteY6" fmla="*/ 56159 h 57773"/>
                  <a:gd name="connsiteX7" fmla="*/ 27691 w 79089"/>
                  <a:gd name="connsiteY7" fmla="*/ 56219 h 57773"/>
                  <a:gd name="connsiteX8" fmla="*/ 24940 w 79089"/>
                  <a:gd name="connsiteY8" fmla="*/ 55083 h 57773"/>
                  <a:gd name="connsiteX9" fmla="*/ 13636 w 79089"/>
                  <a:gd name="connsiteY9" fmla="*/ 57774 h 57773"/>
                  <a:gd name="connsiteX10" fmla="*/ 13516 w 79089"/>
                  <a:gd name="connsiteY10" fmla="*/ 57774 h 57773"/>
                  <a:gd name="connsiteX11" fmla="*/ 13516 w 79089"/>
                  <a:gd name="connsiteY11" fmla="*/ 57774 h 57773"/>
                  <a:gd name="connsiteX12" fmla="*/ 13516 w 79089"/>
                  <a:gd name="connsiteY12" fmla="*/ 57774 h 57773"/>
                  <a:gd name="connsiteX13" fmla="*/ 13516 w 79089"/>
                  <a:gd name="connsiteY13" fmla="*/ 57774 h 57773"/>
                  <a:gd name="connsiteX14" fmla="*/ 13516 w 79089"/>
                  <a:gd name="connsiteY14" fmla="*/ 57774 h 57773"/>
                  <a:gd name="connsiteX15" fmla="*/ 13516 w 79089"/>
                  <a:gd name="connsiteY15" fmla="*/ 57774 h 57773"/>
                  <a:gd name="connsiteX16" fmla="*/ 13457 w 79089"/>
                  <a:gd name="connsiteY16" fmla="*/ 57774 h 57773"/>
                  <a:gd name="connsiteX17" fmla="*/ 7476 w 79089"/>
                  <a:gd name="connsiteY17" fmla="*/ 51853 h 57773"/>
                  <a:gd name="connsiteX18" fmla="*/ 180 w 79089"/>
                  <a:gd name="connsiteY18" fmla="*/ 52391 h 57773"/>
                  <a:gd name="connsiteX19" fmla="*/ 0 w 79089"/>
                  <a:gd name="connsiteY19" fmla="*/ 52272 h 57773"/>
                  <a:gd name="connsiteX20" fmla="*/ 60 w 79089"/>
                  <a:gd name="connsiteY20" fmla="*/ 52092 h 57773"/>
                  <a:gd name="connsiteX21" fmla="*/ 3828 w 79089"/>
                  <a:gd name="connsiteY21" fmla="*/ 48264 h 57773"/>
                  <a:gd name="connsiteX22" fmla="*/ 837 w 79089"/>
                  <a:gd name="connsiteY22" fmla="*/ 45274 h 57773"/>
                  <a:gd name="connsiteX23" fmla="*/ 837 w 79089"/>
                  <a:gd name="connsiteY23" fmla="*/ 45095 h 57773"/>
                  <a:gd name="connsiteX24" fmla="*/ 1017 w 79089"/>
                  <a:gd name="connsiteY24" fmla="*/ 45035 h 57773"/>
                  <a:gd name="connsiteX25" fmla="*/ 5323 w 79089"/>
                  <a:gd name="connsiteY25" fmla="*/ 46769 h 57773"/>
                  <a:gd name="connsiteX26" fmla="*/ 28229 w 79089"/>
                  <a:gd name="connsiteY26" fmla="*/ 23205 h 57773"/>
                  <a:gd name="connsiteX27" fmla="*/ 28289 w 79089"/>
                  <a:gd name="connsiteY27" fmla="*/ 23205 h 57773"/>
                  <a:gd name="connsiteX28" fmla="*/ 28289 w 79089"/>
                  <a:gd name="connsiteY28" fmla="*/ 23205 h 57773"/>
                  <a:gd name="connsiteX29" fmla="*/ 28289 w 79089"/>
                  <a:gd name="connsiteY29" fmla="*/ 23205 h 57773"/>
                  <a:gd name="connsiteX30" fmla="*/ 28289 w 79089"/>
                  <a:gd name="connsiteY30" fmla="*/ 23205 h 57773"/>
                  <a:gd name="connsiteX31" fmla="*/ 28289 w 79089"/>
                  <a:gd name="connsiteY31" fmla="*/ 23205 h 57773"/>
                  <a:gd name="connsiteX32" fmla="*/ 28289 w 79089"/>
                  <a:gd name="connsiteY32" fmla="*/ 23205 h 57773"/>
                  <a:gd name="connsiteX33" fmla="*/ 28349 w 79089"/>
                  <a:gd name="connsiteY33" fmla="*/ 23205 h 57773"/>
                  <a:gd name="connsiteX34" fmla="*/ 28349 w 79089"/>
                  <a:gd name="connsiteY34" fmla="*/ 23205 h 57773"/>
                  <a:gd name="connsiteX35" fmla="*/ 44138 w 79089"/>
                  <a:gd name="connsiteY35" fmla="*/ 29007 h 57773"/>
                  <a:gd name="connsiteX36" fmla="*/ 61900 w 79089"/>
                  <a:gd name="connsiteY36" fmla="*/ 60 h 57773"/>
                  <a:gd name="connsiteX37" fmla="*/ 62080 w 79089"/>
                  <a:gd name="connsiteY37" fmla="*/ 0 h 57773"/>
                  <a:gd name="connsiteX38" fmla="*/ 62200 w 79089"/>
                  <a:gd name="connsiteY38" fmla="*/ 179 h 57773"/>
                  <a:gd name="connsiteX39" fmla="*/ 62977 w 79089"/>
                  <a:gd name="connsiteY39" fmla="*/ 35944 h 57773"/>
                  <a:gd name="connsiteX40" fmla="*/ 78946 w 79089"/>
                  <a:gd name="connsiteY40" fmla="*/ 41805 h 57773"/>
                  <a:gd name="connsiteX41" fmla="*/ 79065 w 79089"/>
                  <a:gd name="connsiteY41" fmla="*/ 41985 h 57773"/>
                  <a:gd name="connsiteX42" fmla="*/ 79065 w 79089"/>
                  <a:gd name="connsiteY42" fmla="*/ 41985 h 57773"/>
                  <a:gd name="connsiteX43" fmla="*/ 79005 w 79089"/>
                  <a:gd name="connsiteY43" fmla="*/ 42104 h 57773"/>
                  <a:gd name="connsiteX44" fmla="*/ 63276 w 79089"/>
                  <a:gd name="connsiteY44" fmla="*/ 45573 h 57773"/>
                  <a:gd name="connsiteX45" fmla="*/ 78407 w 79089"/>
                  <a:gd name="connsiteY45" fmla="*/ 41925 h 57773"/>
                  <a:gd name="connsiteX46" fmla="*/ 63037 w 79089"/>
                  <a:gd name="connsiteY46" fmla="*/ 36303 h 57773"/>
                  <a:gd name="connsiteX47" fmla="*/ 63276 w 79089"/>
                  <a:gd name="connsiteY47" fmla="*/ 45573 h 57773"/>
                  <a:gd name="connsiteX48" fmla="*/ 52870 w 79089"/>
                  <a:gd name="connsiteY48" fmla="*/ 48384 h 57773"/>
                  <a:gd name="connsiteX49" fmla="*/ 63037 w 79089"/>
                  <a:gd name="connsiteY49" fmla="*/ 47666 h 57773"/>
                  <a:gd name="connsiteX50" fmla="*/ 62977 w 79089"/>
                  <a:gd name="connsiteY50" fmla="*/ 45932 h 57773"/>
                  <a:gd name="connsiteX51" fmla="*/ 52870 w 79089"/>
                  <a:gd name="connsiteY51" fmla="*/ 48384 h 57773"/>
                  <a:gd name="connsiteX52" fmla="*/ 44317 w 79089"/>
                  <a:gd name="connsiteY52" fmla="*/ 29365 h 57773"/>
                  <a:gd name="connsiteX53" fmla="*/ 31698 w 79089"/>
                  <a:gd name="connsiteY53" fmla="*/ 49879 h 57773"/>
                  <a:gd name="connsiteX54" fmla="*/ 50896 w 79089"/>
                  <a:gd name="connsiteY54" fmla="*/ 48563 h 57773"/>
                  <a:gd name="connsiteX55" fmla="*/ 62977 w 79089"/>
                  <a:gd name="connsiteY55" fmla="*/ 45633 h 57773"/>
                  <a:gd name="connsiteX56" fmla="*/ 62738 w 79089"/>
                  <a:gd name="connsiteY56" fmla="*/ 36124 h 57773"/>
                  <a:gd name="connsiteX57" fmla="*/ 44317 w 79089"/>
                  <a:gd name="connsiteY57" fmla="*/ 29365 h 57773"/>
                  <a:gd name="connsiteX58" fmla="*/ 44497 w 79089"/>
                  <a:gd name="connsiteY58" fmla="*/ 29066 h 57773"/>
                  <a:gd name="connsiteX59" fmla="*/ 62738 w 79089"/>
                  <a:gd name="connsiteY59" fmla="*/ 35765 h 57773"/>
                  <a:gd name="connsiteX60" fmla="*/ 61960 w 79089"/>
                  <a:gd name="connsiteY60" fmla="*/ 658 h 57773"/>
                  <a:gd name="connsiteX61" fmla="*/ 44497 w 79089"/>
                  <a:gd name="connsiteY61" fmla="*/ 29066 h 57773"/>
                  <a:gd name="connsiteX62" fmla="*/ 29366 w 79089"/>
                  <a:gd name="connsiteY62" fmla="*/ 53707 h 57773"/>
                  <a:gd name="connsiteX63" fmla="*/ 49042 w 79089"/>
                  <a:gd name="connsiteY63" fmla="*/ 48982 h 57773"/>
                  <a:gd name="connsiteX64" fmla="*/ 31519 w 79089"/>
                  <a:gd name="connsiteY64" fmla="*/ 50178 h 57773"/>
                  <a:gd name="connsiteX65" fmla="*/ 29366 w 79089"/>
                  <a:gd name="connsiteY65" fmla="*/ 53707 h 57773"/>
                  <a:gd name="connsiteX66" fmla="*/ 16686 w 79089"/>
                  <a:gd name="connsiteY66" fmla="*/ 50896 h 57773"/>
                  <a:gd name="connsiteX67" fmla="*/ 31339 w 79089"/>
                  <a:gd name="connsiteY67" fmla="*/ 49879 h 57773"/>
                  <a:gd name="connsiteX68" fmla="*/ 44018 w 79089"/>
                  <a:gd name="connsiteY68" fmla="*/ 29246 h 57773"/>
                  <a:gd name="connsiteX69" fmla="*/ 28468 w 79089"/>
                  <a:gd name="connsiteY69" fmla="*/ 23504 h 57773"/>
                  <a:gd name="connsiteX70" fmla="*/ 16686 w 79089"/>
                  <a:gd name="connsiteY70" fmla="*/ 50896 h 57773"/>
                  <a:gd name="connsiteX71" fmla="*/ 16507 w 79089"/>
                  <a:gd name="connsiteY71" fmla="*/ 51374 h 57773"/>
                  <a:gd name="connsiteX72" fmla="*/ 24940 w 79089"/>
                  <a:gd name="connsiteY72" fmla="*/ 54783 h 57773"/>
                  <a:gd name="connsiteX73" fmla="*/ 28887 w 79089"/>
                  <a:gd name="connsiteY73" fmla="*/ 53826 h 57773"/>
                  <a:gd name="connsiteX74" fmla="*/ 31100 w 79089"/>
                  <a:gd name="connsiteY74" fmla="*/ 50238 h 57773"/>
                  <a:gd name="connsiteX75" fmla="*/ 16507 w 79089"/>
                  <a:gd name="connsiteY75" fmla="*/ 51255 h 57773"/>
                  <a:gd name="connsiteX76" fmla="*/ 16507 w 79089"/>
                  <a:gd name="connsiteY76" fmla="*/ 51374 h 57773"/>
                  <a:gd name="connsiteX77" fmla="*/ 27631 w 79089"/>
                  <a:gd name="connsiteY77" fmla="*/ 55860 h 57773"/>
                  <a:gd name="connsiteX78" fmla="*/ 28648 w 79089"/>
                  <a:gd name="connsiteY78" fmla="*/ 54185 h 57773"/>
                  <a:gd name="connsiteX79" fmla="*/ 25478 w 79089"/>
                  <a:gd name="connsiteY79" fmla="*/ 54963 h 57773"/>
                  <a:gd name="connsiteX80" fmla="*/ 27631 w 79089"/>
                  <a:gd name="connsiteY80" fmla="*/ 55860 h 57773"/>
                  <a:gd name="connsiteX81" fmla="*/ 13875 w 79089"/>
                  <a:gd name="connsiteY81" fmla="*/ 57475 h 57773"/>
                  <a:gd name="connsiteX82" fmla="*/ 24401 w 79089"/>
                  <a:gd name="connsiteY82" fmla="*/ 54963 h 57773"/>
                  <a:gd name="connsiteX83" fmla="*/ 16387 w 79089"/>
                  <a:gd name="connsiteY83" fmla="*/ 51674 h 57773"/>
                  <a:gd name="connsiteX84" fmla="*/ 13875 w 79089"/>
                  <a:gd name="connsiteY84" fmla="*/ 57475 h 57773"/>
                  <a:gd name="connsiteX85" fmla="*/ 15669 w 79089"/>
                  <a:gd name="connsiteY85" fmla="*/ 51016 h 57773"/>
                  <a:gd name="connsiteX86" fmla="*/ 16327 w 79089"/>
                  <a:gd name="connsiteY86" fmla="*/ 50956 h 57773"/>
                  <a:gd name="connsiteX87" fmla="*/ 27870 w 79089"/>
                  <a:gd name="connsiteY87" fmla="*/ 24102 h 57773"/>
                  <a:gd name="connsiteX88" fmla="*/ 5622 w 79089"/>
                  <a:gd name="connsiteY88" fmla="*/ 46949 h 57773"/>
                  <a:gd name="connsiteX89" fmla="*/ 15669 w 79089"/>
                  <a:gd name="connsiteY89" fmla="*/ 51016 h 57773"/>
                  <a:gd name="connsiteX90" fmla="*/ 7954 w 79089"/>
                  <a:gd name="connsiteY90" fmla="*/ 51853 h 57773"/>
                  <a:gd name="connsiteX91" fmla="*/ 13576 w 79089"/>
                  <a:gd name="connsiteY91" fmla="*/ 57415 h 57773"/>
                  <a:gd name="connsiteX92" fmla="*/ 16088 w 79089"/>
                  <a:gd name="connsiteY92" fmla="*/ 51554 h 57773"/>
                  <a:gd name="connsiteX93" fmla="*/ 15610 w 79089"/>
                  <a:gd name="connsiteY93" fmla="*/ 51374 h 57773"/>
                  <a:gd name="connsiteX94" fmla="*/ 7954 w 79089"/>
                  <a:gd name="connsiteY94" fmla="*/ 51853 h 57773"/>
                  <a:gd name="connsiteX95" fmla="*/ 4306 w 79089"/>
                  <a:gd name="connsiteY95" fmla="*/ 48264 h 57773"/>
                  <a:gd name="connsiteX96" fmla="*/ 7656 w 79089"/>
                  <a:gd name="connsiteY96" fmla="*/ 51554 h 57773"/>
                  <a:gd name="connsiteX97" fmla="*/ 14952 w 79089"/>
                  <a:gd name="connsiteY97" fmla="*/ 51075 h 57773"/>
                  <a:gd name="connsiteX98" fmla="*/ 5443 w 79089"/>
                  <a:gd name="connsiteY98" fmla="*/ 47188 h 57773"/>
                  <a:gd name="connsiteX99" fmla="*/ 4306 w 79089"/>
                  <a:gd name="connsiteY99" fmla="*/ 48264 h 57773"/>
                  <a:gd name="connsiteX100" fmla="*/ 658 w 79089"/>
                  <a:gd name="connsiteY100" fmla="*/ 52032 h 57773"/>
                  <a:gd name="connsiteX101" fmla="*/ 7237 w 79089"/>
                  <a:gd name="connsiteY101" fmla="*/ 51554 h 57773"/>
                  <a:gd name="connsiteX102" fmla="*/ 4127 w 79089"/>
                  <a:gd name="connsiteY102" fmla="*/ 48504 h 57773"/>
                  <a:gd name="connsiteX103" fmla="*/ 658 w 79089"/>
                  <a:gd name="connsiteY103" fmla="*/ 52032 h 57773"/>
                  <a:gd name="connsiteX104" fmla="*/ 4067 w 79089"/>
                  <a:gd name="connsiteY104" fmla="*/ 48025 h 57773"/>
                  <a:gd name="connsiteX105" fmla="*/ 5024 w 79089"/>
                  <a:gd name="connsiteY105" fmla="*/ 47009 h 57773"/>
                  <a:gd name="connsiteX106" fmla="*/ 1615 w 79089"/>
                  <a:gd name="connsiteY106" fmla="*/ 45633 h 57773"/>
                  <a:gd name="connsiteX107" fmla="*/ 4067 w 79089"/>
                  <a:gd name="connsiteY107" fmla="*/ 48025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79089" h="57773">
                    <a:moveTo>
                      <a:pt x="79005" y="42104"/>
                    </a:moveTo>
                    <a:lnTo>
                      <a:pt x="63276" y="45872"/>
                    </a:lnTo>
                    <a:lnTo>
                      <a:pt x="63336" y="47846"/>
                    </a:lnTo>
                    <a:cubicBezTo>
                      <a:pt x="63336" y="47906"/>
                      <a:pt x="63276" y="48025"/>
                      <a:pt x="63156" y="48025"/>
                    </a:cubicBezTo>
                    <a:lnTo>
                      <a:pt x="50956" y="48863"/>
                    </a:lnTo>
                    <a:lnTo>
                      <a:pt x="29126" y="54126"/>
                    </a:lnTo>
                    <a:lnTo>
                      <a:pt x="27870" y="56159"/>
                    </a:lnTo>
                    <a:cubicBezTo>
                      <a:pt x="27811" y="56219"/>
                      <a:pt x="27751" y="56279"/>
                      <a:pt x="27691" y="56219"/>
                    </a:cubicBezTo>
                    <a:lnTo>
                      <a:pt x="24940" y="55083"/>
                    </a:lnTo>
                    <a:lnTo>
                      <a:pt x="13636" y="57774"/>
                    </a:lnTo>
                    <a:cubicBezTo>
                      <a:pt x="13576" y="57774"/>
                      <a:pt x="13576" y="57774"/>
                      <a:pt x="13516" y="57774"/>
                    </a:cubicBezTo>
                    <a:lnTo>
                      <a:pt x="13516" y="57774"/>
                    </a:lnTo>
                    <a:lnTo>
                      <a:pt x="13516" y="57774"/>
                    </a:lnTo>
                    <a:cubicBezTo>
                      <a:pt x="13516" y="57774"/>
                      <a:pt x="13516" y="57774"/>
                      <a:pt x="13516" y="57774"/>
                    </a:cubicBezTo>
                    <a:lnTo>
                      <a:pt x="13516" y="57774"/>
                    </a:lnTo>
                    <a:lnTo>
                      <a:pt x="13516" y="57774"/>
                    </a:lnTo>
                    <a:cubicBezTo>
                      <a:pt x="13516" y="57774"/>
                      <a:pt x="13516" y="57774"/>
                      <a:pt x="13457" y="57774"/>
                    </a:cubicBezTo>
                    <a:lnTo>
                      <a:pt x="7476" y="51853"/>
                    </a:lnTo>
                    <a:lnTo>
                      <a:pt x="180" y="52391"/>
                    </a:lnTo>
                    <a:cubicBezTo>
                      <a:pt x="120" y="52391"/>
                      <a:pt x="60" y="52331"/>
                      <a:pt x="0" y="52272"/>
                    </a:cubicBezTo>
                    <a:cubicBezTo>
                      <a:pt x="0" y="52212"/>
                      <a:pt x="0" y="52152"/>
                      <a:pt x="60" y="52092"/>
                    </a:cubicBezTo>
                    <a:lnTo>
                      <a:pt x="3828" y="48264"/>
                    </a:lnTo>
                    <a:lnTo>
                      <a:pt x="837" y="45274"/>
                    </a:lnTo>
                    <a:cubicBezTo>
                      <a:pt x="778" y="45214"/>
                      <a:pt x="778" y="45155"/>
                      <a:pt x="837" y="45095"/>
                    </a:cubicBezTo>
                    <a:cubicBezTo>
                      <a:pt x="897" y="45035"/>
                      <a:pt x="957" y="44975"/>
                      <a:pt x="1017" y="45035"/>
                    </a:cubicBezTo>
                    <a:lnTo>
                      <a:pt x="5323" y="46769"/>
                    </a:lnTo>
                    <a:lnTo>
                      <a:pt x="28229" y="23205"/>
                    </a:lnTo>
                    <a:cubicBezTo>
                      <a:pt x="28229" y="23205"/>
                      <a:pt x="28229" y="23205"/>
                      <a:pt x="28289" y="23205"/>
                    </a:cubicBezTo>
                    <a:cubicBezTo>
                      <a:pt x="28289" y="23205"/>
                      <a:pt x="28289" y="23205"/>
                      <a:pt x="28289" y="23205"/>
                    </a:cubicBezTo>
                    <a:lnTo>
                      <a:pt x="28289" y="23205"/>
                    </a:lnTo>
                    <a:cubicBezTo>
                      <a:pt x="28289" y="23205"/>
                      <a:pt x="28289" y="23205"/>
                      <a:pt x="28289" y="23205"/>
                    </a:cubicBezTo>
                    <a:cubicBezTo>
                      <a:pt x="28289" y="23205"/>
                      <a:pt x="28289" y="23205"/>
                      <a:pt x="28289" y="23205"/>
                    </a:cubicBezTo>
                    <a:lnTo>
                      <a:pt x="28289" y="23205"/>
                    </a:lnTo>
                    <a:cubicBezTo>
                      <a:pt x="28289" y="23205"/>
                      <a:pt x="28349" y="23205"/>
                      <a:pt x="28349" y="23205"/>
                    </a:cubicBezTo>
                    <a:cubicBezTo>
                      <a:pt x="28349" y="23205"/>
                      <a:pt x="28349" y="23205"/>
                      <a:pt x="28349" y="23205"/>
                    </a:cubicBezTo>
                    <a:lnTo>
                      <a:pt x="44138" y="29007"/>
                    </a:lnTo>
                    <a:lnTo>
                      <a:pt x="61900" y="60"/>
                    </a:lnTo>
                    <a:cubicBezTo>
                      <a:pt x="61960" y="0"/>
                      <a:pt x="62020" y="0"/>
                      <a:pt x="62080" y="0"/>
                    </a:cubicBezTo>
                    <a:cubicBezTo>
                      <a:pt x="62140" y="0"/>
                      <a:pt x="62200" y="60"/>
                      <a:pt x="62200" y="179"/>
                    </a:cubicBezTo>
                    <a:lnTo>
                      <a:pt x="62977" y="35944"/>
                    </a:lnTo>
                    <a:lnTo>
                      <a:pt x="78946" y="41805"/>
                    </a:lnTo>
                    <a:cubicBezTo>
                      <a:pt x="79005" y="41805"/>
                      <a:pt x="79065" y="41865"/>
                      <a:pt x="79065" y="41985"/>
                    </a:cubicBezTo>
                    <a:cubicBezTo>
                      <a:pt x="79065" y="41985"/>
                      <a:pt x="79065" y="41985"/>
                      <a:pt x="79065" y="41985"/>
                    </a:cubicBezTo>
                    <a:cubicBezTo>
                      <a:pt x="79125" y="42044"/>
                      <a:pt x="79065" y="42044"/>
                      <a:pt x="79005" y="42104"/>
                    </a:cubicBezTo>
                    <a:close/>
                    <a:moveTo>
                      <a:pt x="63276" y="45573"/>
                    </a:moveTo>
                    <a:lnTo>
                      <a:pt x="78407" y="41925"/>
                    </a:lnTo>
                    <a:lnTo>
                      <a:pt x="63037" y="36303"/>
                    </a:lnTo>
                    <a:lnTo>
                      <a:pt x="63276" y="45573"/>
                    </a:lnTo>
                    <a:close/>
                    <a:moveTo>
                      <a:pt x="52870" y="48384"/>
                    </a:moveTo>
                    <a:lnTo>
                      <a:pt x="63037" y="47666"/>
                    </a:lnTo>
                    <a:lnTo>
                      <a:pt x="62977" y="45932"/>
                    </a:lnTo>
                    <a:lnTo>
                      <a:pt x="52870" y="48384"/>
                    </a:lnTo>
                    <a:close/>
                    <a:moveTo>
                      <a:pt x="44317" y="29365"/>
                    </a:moveTo>
                    <a:lnTo>
                      <a:pt x="31698" y="49879"/>
                    </a:lnTo>
                    <a:lnTo>
                      <a:pt x="50896" y="48563"/>
                    </a:lnTo>
                    <a:lnTo>
                      <a:pt x="62977" y="45633"/>
                    </a:lnTo>
                    <a:lnTo>
                      <a:pt x="62738" y="36124"/>
                    </a:lnTo>
                    <a:lnTo>
                      <a:pt x="44317" y="29365"/>
                    </a:lnTo>
                    <a:close/>
                    <a:moveTo>
                      <a:pt x="44497" y="29066"/>
                    </a:moveTo>
                    <a:lnTo>
                      <a:pt x="62738" y="35765"/>
                    </a:lnTo>
                    <a:lnTo>
                      <a:pt x="61960" y="658"/>
                    </a:lnTo>
                    <a:lnTo>
                      <a:pt x="44497" y="29066"/>
                    </a:lnTo>
                    <a:close/>
                    <a:moveTo>
                      <a:pt x="29366" y="53707"/>
                    </a:moveTo>
                    <a:lnTo>
                      <a:pt x="49042" y="48982"/>
                    </a:lnTo>
                    <a:lnTo>
                      <a:pt x="31519" y="50178"/>
                    </a:lnTo>
                    <a:lnTo>
                      <a:pt x="29366" y="53707"/>
                    </a:lnTo>
                    <a:close/>
                    <a:moveTo>
                      <a:pt x="16686" y="50896"/>
                    </a:moveTo>
                    <a:lnTo>
                      <a:pt x="31339" y="49879"/>
                    </a:lnTo>
                    <a:lnTo>
                      <a:pt x="44018" y="29246"/>
                    </a:lnTo>
                    <a:lnTo>
                      <a:pt x="28468" y="23504"/>
                    </a:lnTo>
                    <a:lnTo>
                      <a:pt x="16686" y="50896"/>
                    </a:lnTo>
                    <a:close/>
                    <a:moveTo>
                      <a:pt x="16507" y="51374"/>
                    </a:moveTo>
                    <a:lnTo>
                      <a:pt x="24940" y="54783"/>
                    </a:lnTo>
                    <a:lnTo>
                      <a:pt x="28887" y="53826"/>
                    </a:lnTo>
                    <a:lnTo>
                      <a:pt x="31100" y="50238"/>
                    </a:lnTo>
                    <a:lnTo>
                      <a:pt x="16507" y="51255"/>
                    </a:lnTo>
                    <a:lnTo>
                      <a:pt x="16507" y="51374"/>
                    </a:lnTo>
                    <a:close/>
                    <a:moveTo>
                      <a:pt x="27631" y="55860"/>
                    </a:moveTo>
                    <a:lnTo>
                      <a:pt x="28648" y="54185"/>
                    </a:lnTo>
                    <a:lnTo>
                      <a:pt x="25478" y="54963"/>
                    </a:lnTo>
                    <a:lnTo>
                      <a:pt x="27631" y="55860"/>
                    </a:lnTo>
                    <a:close/>
                    <a:moveTo>
                      <a:pt x="13875" y="57475"/>
                    </a:moveTo>
                    <a:lnTo>
                      <a:pt x="24401" y="54963"/>
                    </a:lnTo>
                    <a:lnTo>
                      <a:pt x="16387" y="51674"/>
                    </a:lnTo>
                    <a:lnTo>
                      <a:pt x="13875" y="57475"/>
                    </a:lnTo>
                    <a:close/>
                    <a:moveTo>
                      <a:pt x="15669" y="51016"/>
                    </a:moveTo>
                    <a:lnTo>
                      <a:pt x="16327" y="50956"/>
                    </a:lnTo>
                    <a:lnTo>
                      <a:pt x="27870" y="24102"/>
                    </a:lnTo>
                    <a:lnTo>
                      <a:pt x="5622" y="46949"/>
                    </a:lnTo>
                    <a:lnTo>
                      <a:pt x="15669" y="51016"/>
                    </a:lnTo>
                    <a:close/>
                    <a:moveTo>
                      <a:pt x="7954" y="51853"/>
                    </a:moveTo>
                    <a:lnTo>
                      <a:pt x="13576" y="57415"/>
                    </a:lnTo>
                    <a:lnTo>
                      <a:pt x="16088" y="51554"/>
                    </a:lnTo>
                    <a:lnTo>
                      <a:pt x="15610" y="51374"/>
                    </a:lnTo>
                    <a:lnTo>
                      <a:pt x="7954" y="51853"/>
                    </a:lnTo>
                    <a:close/>
                    <a:moveTo>
                      <a:pt x="4306" y="48264"/>
                    </a:moveTo>
                    <a:lnTo>
                      <a:pt x="7656" y="51554"/>
                    </a:lnTo>
                    <a:lnTo>
                      <a:pt x="14952" y="51075"/>
                    </a:lnTo>
                    <a:lnTo>
                      <a:pt x="5443" y="47188"/>
                    </a:lnTo>
                    <a:lnTo>
                      <a:pt x="4306" y="48264"/>
                    </a:lnTo>
                    <a:close/>
                    <a:moveTo>
                      <a:pt x="658" y="52032"/>
                    </a:moveTo>
                    <a:lnTo>
                      <a:pt x="7237" y="51554"/>
                    </a:lnTo>
                    <a:lnTo>
                      <a:pt x="4127" y="48504"/>
                    </a:lnTo>
                    <a:lnTo>
                      <a:pt x="658" y="52032"/>
                    </a:lnTo>
                    <a:close/>
                    <a:moveTo>
                      <a:pt x="4067" y="48025"/>
                    </a:moveTo>
                    <a:lnTo>
                      <a:pt x="5024" y="47009"/>
                    </a:lnTo>
                    <a:lnTo>
                      <a:pt x="1615" y="45633"/>
                    </a:lnTo>
                    <a:lnTo>
                      <a:pt x="4067" y="48025"/>
                    </a:lnTo>
                    <a:close/>
                  </a:path>
                </a:pathLst>
              </a:custGeom>
              <a:grpFill/>
              <a:ln w="6350" cap="flat">
                <a:solidFill>
                  <a:schemeClr val="bg1">
                    <a:alpha val="80000"/>
                  </a:schemeClr>
                </a:solidFill>
                <a:prstDash val="solid"/>
                <a:miter/>
              </a:ln>
            </p:spPr>
            <p:txBody>
              <a:bodyPr rtlCol="0" anchor="ctr"/>
              <a:lstStyle/>
              <a:p>
                <a:endParaRPr lang="en-GB"/>
              </a:p>
            </p:txBody>
          </p:sp>
          <p:sp>
            <p:nvSpPr>
              <p:cNvPr id="8843" name="Vrije vorm: vorm 8842">
                <a:extLst>
                  <a:ext uri="{FF2B5EF4-FFF2-40B4-BE49-F238E27FC236}">
                    <a16:creationId xmlns:a16="http://schemas.microsoft.com/office/drawing/2014/main" id="{AC42842C-7C42-46B6-BE85-D3625716A6A8}"/>
                  </a:ext>
                </a:extLst>
              </p:cNvPr>
              <p:cNvSpPr/>
              <p:nvPr/>
            </p:nvSpPr>
            <p:spPr>
              <a:xfrm>
                <a:off x="4514149" y="2442208"/>
                <a:ext cx="41266" cy="22547"/>
              </a:xfrm>
              <a:custGeom>
                <a:avLst/>
                <a:gdLst>
                  <a:gd name="connsiteX0" fmla="*/ 41088 w 41266"/>
                  <a:gd name="connsiteY0" fmla="*/ 17763 h 22547"/>
                  <a:gd name="connsiteX1" fmla="*/ 179 w 41266"/>
                  <a:gd name="connsiteY1" fmla="*/ 22547 h 22547"/>
                  <a:gd name="connsiteX2" fmla="*/ 0 w 41266"/>
                  <a:gd name="connsiteY2" fmla="*/ 22428 h 22547"/>
                  <a:gd name="connsiteX3" fmla="*/ 60 w 41266"/>
                  <a:gd name="connsiteY3" fmla="*/ 22248 h 22547"/>
                  <a:gd name="connsiteX4" fmla="*/ 39174 w 41266"/>
                  <a:gd name="connsiteY4" fmla="*/ 0 h 22547"/>
                  <a:gd name="connsiteX5" fmla="*/ 39353 w 41266"/>
                  <a:gd name="connsiteY5" fmla="*/ 0 h 22547"/>
                  <a:gd name="connsiteX6" fmla="*/ 39413 w 41266"/>
                  <a:gd name="connsiteY6" fmla="*/ 120 h 22547"/>
                  <a:gd name="connsiteX7" fmla="*/ 41267 w 41266"/>
                  <a:gd name="connsiteY7" fmla="*/ 17583 h 22547"/>
                  <a:gd name="connsiteX8" fmla="*/ 41267 w 41266"/>
                  <a:gd name="connsiteY8" fmla="*/ 17643 h 22547"/>
                  <a:gd name="connsiteX9" fmla="*/ 41088 w 41266"/>
                  <a:gd name="connsiteY9" fmla="*/ 17763 h 22547"/>
                  <a:gd name="connsiteX10" fmla="*/ 957 w 41266"/>
                  <a:gd name="connsiteY10" fmla="*/ 22129 h 22547"/>
                  <a:gd name="connsiteX11" fmla="*/ 40908 w 41266"/>
                  <a:gd name="connsiteY11" fmla="*/ 17464 h 22547"/>
                  <a:gd name="connsiteX12" fmla="*/ 39114 w 41266"/>
                  <a:gd name="connsiteY12" fmla="*/ 419 h 22547"/>
                  <a:gd name="connsiteX13" fmla="*/ 957 w 41266"/>
                  <a:gd name="connsiteY13" fmla="*/ 22129 h 2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266" h="22547">
                    <a:moveTo>
                      <a:pt x="41088" y="17763"/>
                    </a:moveTo>
                    <a:lnTo>
                      <a:pt x="179" y="22547"/>
                    </a:lnTo>
                    <a:cubicBezTo>
                      <a:pt x="119" y="22547"/>
                      <a:pt x="60" y="22487"/>
                      <a:pt x="0" y="22428"/>
                    </a:cubicBezTo>
                    <a:cubicBezTo>
                      <a:pt x="0" y="22368"/>
                      <a:pt x="0" y="22248"/>
                      <a:pt x="60" y="22248"/>
                    </a:cubicBezTo>
                    <a:lnTo>
                      <a:pt x="39174" y="0"/>
                    </a:lnTo>
                    <a:cubicBezTo>
                      <a:pt x="39234" y="0"/>
                      <a:pt x="39293" y="0"/>
                      <a:pt x="39353" y="0"/>
                    </a:cubicBezTo>
                    <a:cubicBezTo>
                      <a:pt x="39413" y="0"/>
                      <a:pt x="39413" y="60"/>
                      <a:pt x="39413" y="120"/>
                    </a:cubicBezTo>
                    <a:lnTo>
                      <a:pt x="41267" y="17583"/>
                    </a:lnTo>
                    <a:cubicBezTo>
                      <a:pt x="41267" y="17583"/>
                      <a:pt x="41267" y="17643"/>
                      <a:pt x="41267" y="17643"/>
                    </a:cubicBezTo>
                    <a:cubicBezTo>
                      <a:pt x="41267" y="17703"/>
                      <a:pt x="41207" y="17763"/>
                      <a:pt x="41088" y="17763"/>
                    </a:cubicBezTo>
                    <a:close/>
                    <a:moveTo>
                      <a:pt x="957" y="22129"/>
                    </a:moveTo>
                    <a:lnTo>
                      <a:pt x="40908" y="17464"/>
                    </a:lnTo>
                    <a:lnTo>
                      <a:pt x="39114" y="419"/>
                    </a:lnTo>
                    <a:lnTo>
                      <a:pt x="957" y="22129"/>
                    </a:lnTo>
                    <a:close/>
                  </a:path>
                </a:pathLst>
              </a:custGeom>
              <a:grpFill/>
              <a:ln w="6350" cap="flat">
                <a:solidFill>
                  <a:schemeClr val="bg1">
                    <a:alpha val="80000"/>
                  </a:schemeClr>
                </a:solidFill>
                <a:prstDash val="solid"/>
                <a:miter/>
              </a:ln>
            </p:spPr>
            <p:txBody>
              <a:bodyPr rtlCol="0" anchor="ctr"/>
              <a:lstStyle/>
              <a:p>
                <a:endParaRPr lang="en-GB"/>
              </a:p>
            </p:txBody>
          </p:sp>
          <p:sp>
            <p:nvSpPr>
              <p:cNvPr id="8844" name="Vrije vorm: vorm 8843">
                <a:extLst>
                  <a:ext uri="{FF2B5EF4-FFF2-40B4-BE49-F238E27FC236}">
                    <a16:creationId xmlns:a16="http://schemas.microsoft.com/office/drawing/2014/main" id="{037D9466-CEB5-4B90-8FD6-403610676B51}"/>
                  </a:ext>
                </a:extLst>
              </p:cNvPr>
              <p:cNvSpPr/>
              <p:nvPr/>
            </p:nvSpPr>
            <p:spPr>
              <a:xfrm>
                <a:off x="4363828" y="2605277"/>
                <a:ext cx="20837" cy="10335"/>
              </a:xfrm>
              <a:custGeom>
                <a:avLst/>
                <a:gdLst>
                  <a:gd name="connsiteX0" fmla="*/ 20838 w 20837"/>
                  <a:gd name="connsiteY0" fmla="*/ 10192 h 10335"/>
                  <a:gd name="connsiteX1" fmla="*/ 20778 w 20837"/>
                  <a:gd name="connsiteY1" fmla="*/ 10013 h 10335"/>
                  <a:gd name="connsiteX2" fmla="*/ 264 w 20837"/>
                  <a:gd name="connsiteY2" fmla="*/ 25 h 10335"/>
                  <a:gd name="connsiteX3" fmla="*/ 25 w 20837"/>
                  <a:gd name="connsiteY3" fmla="*/ 85 h 10335"/>
                  <a:gd name="connsiteX4" fmla="*/ 85 w 20837"/>
                  <a:gd name="connsiteY4" fmla="*/ 324 h 10335"/>
                  <a:gd name="connsiteX5" fmla="*/ 20598 w 20837"/>
                  <a:gd name="connsiteY5" fmla="*/ 10312 h 10335"/>
                  <a:gd name="connsiteX6" fmla="*/ 20838 w 20837"/>
                  <a:gd name="connsiteY6" fmla="*/ 10192 h 10335"/>
                  <a:gd name="connsiteX7" fmla="*/ 20838 w 20837"/>
                  <a:gd name="connsiteY7" fmla="*/ 10192 h 1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37" h="10335">
                    <a:moveTo>
                      <a:pt x="20838" y="10192"/>
                    </a:moveTo>
                    <a:cubicBezTo>
                      <a:pt x="20838" y="10132"/>
                      <a:pt x="20838" y="10072"/>
                      <a:pt x="20778" y="10013"/>
                    </a:cubicBezTo>
                    <a:lnTo>
                      <a:pt x="264" y="25"/>
                    </a:lnTo>
                    <a:cubicBezTo>
                      <a:pt x="204" y="-35"/>
                      <a:pt x="85" y="25"/>
                      <a:pt x="25" y="85"/>
                    </a:cubicBezTo>
                    <a:cubicBezTo>
                      <a:pt x="-35" y="144"/>
                      <a:pt x="25" y="264"/>
                      <a:pt x="85" y="324"/>
                    </a:cubicBezTo>
                    <a:lnTo>
                      <a:pt x="20598" y="10312"/>
                    </a:lnTo>
                    <a:cubicBezTo>
                      <a:pt x="20658" y="10372"/>
                      <a:pt x="20778" y="10312"/>
                      <a:pt x="20838" y="10192"/>
                    </a:cubicBezTo>
                    <a:cubicBezTo>
                      <a:pt x="20838" y="10192"/>
                      <a:pt x="20838" y="10192"/>
                      <a:pt x="20838" y="1019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45" name="Vrije vorm: vorm 8844">
                <a:extLst>
                  <a:ext uri="{FF2B5EF4-FFF2-40B4-BE49-F238E27FC236}">
                    <a16:creationId xmlns:a16="http://schemas.microsoft.com/office/drawing/2014/main" id="{47C008B8-F827-42CD-B117-66A02699EAEB}"/>
                  </a:ext>
                </a:extLst>
              </p:cNvPr>
              <p:cNvSpPr/>
              <p:nvPr/>
            </p:nvSpPr>
            <p:spPr>
              <a:xfrm>
                <a:off x="4442260" y="2537959"/>
                <a:ext cx="5681" cy="34090"/>
              </a:xfrm>
              <a:custGeom>
                <a:avLst/>
                <a:gdLst>
                  <a:gd name="connsiteX0" fmla="*/ 5682 w 5681"/>
                  <a:gd name="connsiteY0" fmla="*/ 33971 h 34090"/>
                  <a:gd name="connsiteX1" fmla="*/ 5682 w 5681"/>
                  <a:gd name="connsiteY1" fmla="*/ 33971 h 34090"/>
                  <a:gd name="connsiteX2" fmla="*/ 299 w 5681"/>
                  <a:gd name="connsiteY2" fmla="*/ 120 h 34090"/>
                  <a:gd name="connsiteX3" fmla="*/ 120 w 5681"/>
                  <a:gd name="connsiteY3" fmla="*/ 0 h 34090"/>
                  <a:gd name="connsiteX4" fmla="*/ 0 w 5681"/>
                  <a:gd name="connsiteY4" fmla="*/ 179 h 34090"/>
                  <a:gd name="connsiteX5" fmla="*/ 5383 w 5681"/>
                  <a:gd name="connsiteY5" fmla="*/ 33971 h 34090"/>
                  <a:gd name="connsiteX6" fmla="*/ 5562 w 5681"/>
                  <a:gd name="connsiteY6" fmla="*/ 34090 h 34090"/>
                  <a:gd name="connsiteX7" fmla="*/ 5682 w 5681"/>
                  <a:gd name="connsiteY7" fmla="*/ 33971 h 3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81" h="34090">
                    <a:moveTo>
                      <a:pt x="5682" y="33971"/>
                    </a:moveTo>
                    <a:cubicBezTo>
                      <a:pt x="5682" y="33971"/>
                      <a:pt x="5682" y="33971"/>
                      <a:pt x="5682" y="33971"/>
                    </a:cubicBezTo>
                    <a:lnTo>
                      <a:pt x="299" y="120"/>
                    </a:lnTo>
                    <a:cubicBezTo>
                      <a:pt x="299" y="60"/>
                      <a:pt x="180" y="0"/>
                      <a:pt x="120" y="0"/>
                    </a:cubicBezTo>
                    <a:cubicBezTo>
                      <a:pt x="60" y="0"/>
                      <a:pt x="0" y="120"/>
                      <a:pt x="0" y="179"/>
                    </a:cubicBezTo>
                    <a:lnTo>
                      <a:pt x="5383" y="33971"/>
                    </a:lnTo>
                    <a:cubicBezTo>
                      <a:pt x="5383" y="34030"/>
                      <a:pt x="5502" y="34090"/>
                      <a:pt x="5562" y="34090"/>
                    </a:cubicBezTo>
                    <a:cubicBezTo>
                      <a:pt x="5622" y="34090"/>
                      <a:pt x="5682" y="34090"/>
                      <a:pt x="5682" y="3397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46" name="Vrije vorm: vorm 8845">
                <a:extLst>
                  <a:ext uri="{FF2B5EF4-FFF2-40B4-BE49-F238E27FC236}">
                    <a16:creationId xmlns:a16="http://schemas.microsoft.com/office/drawing/2014/main" id="{954736A5-C78F-45D1-9FF5-2578A8AD3F14}"/>
                  </a:ext>
                </a:extLst>
              </p:cNvPr>
              <p:cNvSpPr/>
              <p:nvPr/>
            </p:nvSpPr>
            <p:spPr>
              <a:xfrm>
                <a:off x="4363793" y="2564573"/>
                <a:ext cx="54484" cy="41027"/>
              </a:xfrm>
              <a:custGeom>
                <a:avLst/>
                <a:gdLst>
                  <a:gd name="connsiteX0" fmla="*/ 54484 w 54484"/>
                  <a:gd name="connsiteY0" fmla="*/ 4067 h 41027"/>
                  <a:gd name="connsiteX1" fmla="*/ 54365 w 54484"/>
                  <a:gd name="connsiteY1" fmla="*/ 3887 h 41027"/>
                  <a:gd name="connsiteX2" fmla="*/ 43539 w 54484"/>
                  <a:gd name="connsiteY2" fmla="*/ 239 h 41027"/>
                  <a:gd name="connsiteX3" fmla="*/ 43480 w 54484"/>
                  <a:gd name="connsiteY3" fmla="*/ 239 h 41027"/>
                  <a:gd name="connsiteX4" fmla="*/ 10406 w 54484"/>
                  <a:gd name="connsiteY4" fmla="*/ 0 h 41027"/>
                  <a:gd name="connsiteX5" fmla="*/ 10227 w 54484"/>
                  <a:gd name="connsiteY5" fmla="*/ 120 h 41027"/>
                  <a:gd name="connsiteX6" fmla="*/ 0 w 54484"/>
                  <a:gd name="connsiteY6" fmla="*/ 40848 h 41027"/>
                  <a:gd name="connsiteX7" fmla="*/ 0 w 54484"/>
                  <a:gd name="connsiteY7" fmla="*/ 40848 h 41027"/>
                  <a:gd name="connsiteX8" fmla="*/ 120 w 54484"/>
                  <a:gd name="connsiteY8" fmla="*/ 41028 h 41027"/>
                  <a:gd name="connsiteX9" fmla="*/ 299 w 54484"/>
                  <a:gd name="connsiteY9" fmla="*/ 40908 h 41027"/>
                  <a:gd name="connsiteX10" fmla="*/ 10526 w 54484"/>
                  <a:gd name="connsiteY10" fmla="*/ 299 h 41027"/>
                  <a:gd name="connsiteX11" fmla="*/ 43420 w 54484"/>
                  <a:gd name="connsiteY11" fmla="*/ 538 h 41027"/>
                  <a:gd name="connsiteX12" fmla="*/ 54245 w 54484"/>
                  <a:gd name="connsiteY12" fmla="*/ 4186 h 41027"/>
                  <a:gd name="connsiteX13" fmla="*/ 54484 w 54484"/>
                  <a:gd name="connsiteY13" fmla="*/ 4067 h 41027"/>
                  <a:gd name="connsiteX14" fmla="*/ 54484 w 54484"/>
                  <a:gd name="connsiteY14" fmla="*/ 4067 h 4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484" h="41027">
                    <a:moveTo>
                      <a:pt x="54484" y="4067"/>
                    </a:moveTo>
                    <a:cubicBezTo>
                      <a:pt x="54484" y="4007"/>
                      <a:pt x="54484" y="3887"/>
                      <a:pt x="54365" y="3887"/>
                    </a:cubicBezTo>
                    <a:lnTo>
                      <a:pt x="43539" y="239"/>
                    </a:lnTo>
                    <a:cubicBezTo>
                      <a:pt x="43539" y="239"/>
                      <a:pt x="43480" y="239"/>
                      <a:pt x="43480" y="239"/>
                    </a:cubicBezTo>
                    <a:lnTo>
                      <a:pt x="10406" y="0"/>
                    </a:lnTo>
                    <a:cubicBezTo>
                      <a:pt x="10347" y="0"/>
                      <a:pt x="10287" y="60"/>
                      <a:pt x="10227" y="120"/>
                    </a:cubicBezTo>
                    <a:lnTo>
                      <a:pt x="0" y="40848"/>
                    </a:lnTo>
                    <a:cubicBezTo>
                      <a:pt x="0" y="40848"/>
                      <a:pt x="0" y="40848"/>
                      <a:pt x="0" y="40848"/>
                    </a:cubicBezTo>
                    <a:cubicBezTo>
                      <a:pt x="0" y="40908"/>
                      <a:pt x="60" y="41028"/>
                      <a:pt x="120" y="41028"/>
                    </a:cubicBezTo>
                    <a:cubicBezTo>
                      <a:pt x="179" y="41028"/>
                      <a:pt x="299" y="41028"/>
                      <a:pt x="299" y="40908"/>
                    </a:cubicBezTo>
                    <a:lnTo>
                      <a:pt x="10526" y="299"/>
                    </a:lnTo>
                    <a:lnTo>
                      <a:pt x="43420" y="538"/>
                    </a:lnTo>
                    <a:lnTo>
                      <a:pt x="54245" y="4186"/>
                    </a:lnTo>
                    <a:cubicBezTo>
                      <a:pt x="54365" y="4246"/>
                      <a:pt x="54424" y="4186"/>
                      <a:pt x="54484" y="4067"/>
                    </a:cubicBezTo>
                    <a:cubicBezTo>
                      <a:pt x="54484" y="4067"/>
                      <a:pt x="54484" y="4067"/>
                      <a:pt x="54484" y="406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47" name="Vrije vorm: vorm 8846">
                <a:extLst>
                  <a:ext uri="{FF2B5EF4-FFF2-40B4-BE49-F238E27FC236}">
                    <a16:creationId xmlns:a16="http://schemas.microsoft.com/office/drawing/2014/main" id="{82C99812-3277-456F-8BD1-1A29F4807C72}"/>
                  </a:ext>
                </a:extLst>
              </p:cNvPr>
              <p:cNvSpPr/>
              <p:nvPr/>
            </p:nvSpPr>
            <p:spPr>
              <a:xfrm>
                <a:off x="4384367" y="2554047"/>
                <a:ext cx="23085" cy="61601"/>
              </a:xfrm>
              <a:custGeom>
                <a:avLst/>
                <a:gdLst>
                  <a:gd name="connsiteX0" fmla="*/ 23086 w 23085"/>
                  <a:gd name="connsiteY0" fmla="*/ 11005 h 61601"/>
                  <a:gd name="connsiteX1" fmla="*/ 299 w 23085"/>
                  <a:gd name="connsiteY1" fmla="*/ 61482 h 61601"/>
                  <a:gd name="connsiteX2" fmla="*/ 120 w 23085"/>
                  <a:gd name="connsiteY2" fmla="*/ 61602 h 61601"/>
                  <a:gd name="connsiteX3" fmla="*/ 0 w 23085"/>
                  <a:gd name="connsiteY3" fmla="*/ 61422 h 61601"/>
                  <a:gd name="connsiteX4" fmla="*/ 4605 w 23085"/>
                  <a:gd name="connsiteY4" fmla="*/ 120 h 61601"/>
                  <a:gd name="connsiteX5" fmla="*/ 4605 w 23085"/>
                  <a:gd name="connsiteY5" fmla="*/ 120 h 61601"/>
                  <a:gd name="connsiteX6" fmla="*/ 4665 w 23085"/>
                  <a:gd name="connsiteY6" fmla="*/ 0 h 61601"/>
                  <a:gd name="connsiteX7" fmla="*/ 4844 w 23085"/>
                  <a:gd name="connsiteY7" fmla="*/ 0 h 61601"/>
                  <a:gd name="connsiteX8" fmla="*/ 23026 w 23085"/>
                  <a:gd name="connsiteY8" fmla="*/ 10825 h 61601"/>
                  <a:gd name="connsiteX9" fmla="*/ 23086 w 23085"/>
                  <a:gd name="connsiteY9" fmla="*/ 11005 h 61601"/>
                  <a:gd name="connsiteX10" fmla="*/ 23086 w 23085"/>
                  <a:gd name="connsiteY10" fmla="*/ 11005 h 61601"/>
                  <a:gd name="connsiteX11" fmla="*/ 359 w 23085"/>
                  <a:gd name="connsiteY11" fmla="*/ 60465 h 61601"/>
                  <a:gd name="connsiteX12" fmla="*/ 22727 w 23085"/>
                  <a:gd name="connsiteY12" fmla="*/ 10945 h 61601"/>
                  <a:gd name="connsiteX13" fmla="*/ 4904 w 23085"/>
                  <a:gd name="connsiteY13" fmla="*/ 359 h 61601"/>
                  <a:gd name="connsiteX14" fmla="*/ 359 w 23085"/>
                  <a:gd name="connsiteY14" fmla="*/ 60465 h 6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085" h="61601">
                    <a:moveTo>
                      <a:pt x="23086" y="11005"/>
                    </a:moveTo>
                    <a:lnTo>
                      <a:pt x="299" y="61482"/>
                    </a:lnTo>
                    <a:cubicBezTo>
                      <a:pt x="239" y="61542"/>
                      <a:pt x="179" y="61602"/>
                      <a:pt x="120" y="61602"/>
                    </a:cubicBezTo>
                    <a:cubicBezTo>
                      <a:pt x="60" y="61602"/>
                      <a:pt x="0" y="61482"/>
                      <a:pt x="0" y="61422"/>
                    </a:cubicBezTo>
                    <a:lnTo>
                      <a:pt x="4605" y="120"/>
                    </a:lnTo>
                    <a:cubicBezTo>
                      <a:pt x="4605" y="120"/>
                      <a:pt x="4605" y="120"/>
                      <a:pt x="4605" y="120"/>
                    </a:cubicBezTo>
                    <a:cubicBezTo>
                      <a:pt x="4605" y="60"/>
                      <a:pt x="4665" y="0"/>
                      <a:pt x="4665" y="0"/>
                    </a:cubicBezTo>
                    <a:cubicBezTo>
                      <a:pt x="4725" y="0"/>
                      <a:pt x="4785" y="0"/>
                      <a:pt x="4844" y="0"/>
                    </a:cubicBezTo>
                    <a:lnTo>
                      <a:pt x="23026" y="10825"/>
                    </a:lnTo>
                    <a:cubicBezTo>
                      <a:pt x="23026" y="10825"/>
                      <a:pt x="23086" y="10885"/>
                      <a:pt x="23086" y="11005"/>
                    </a:cubicBezTo>
                    <a:cubicBezTo>
                      <a:pt x="23086" y="10945"/>
                      <a:pt x="23086" y="10945"/>
                      <a:pt x="23086" y="11005"/>
                    </a:cubicBezTo>
                    <a:close/>
                    <a:moveTo>
                      <a:pt x="359" y="60465"/>
                    </a:moveTo>
                    <a:lnTo>
                      <a:pt x="22727" y="10945"/>
                    </a:lnTo>
                    <a:lnTo>
                      <a:pt x="4904" y="359"/>
                    </a:lnTo>
                    <a:lnTo>
                      <a:pt x="359" y="60465"/>
                    </a:lnTo>
                    <a:close/>
                  </a:path>
                </a:pathLst>
              </a:custGeom>
              <a:grpFill/>
              <a:ln w="6350" cap="flat">
                <a:solidFill>
                  <a:schemeClr val="bg1">
                    <a:alpha val="80000"/>
                  </a:schemeClr>
                </a:solidFill>
                <a:prstDash val="solid"/>
                <a:miter/>
              </a:ln>
            </p:spPr>
            <p:txBody>
              <a:bodyPr rtlCol="0" anchor="ctr"/>
              <a:lstStyle/>
              <a:p>
                <a:endParaRPr lang="en-GB"/>
              </a:p>
            </p:txBody>
          </p:sp>
          <p:sp>
            <p:nvSpPr>
              <p:cNvPr id="8848" name="Vrije vorm: vorm 8847">
                <a:extLst>
                  <a:ext uri="{FF2B5EF4-FFF2-40B4-BE49-F238E27FC236}">
                    <a16:creationId xmlns:a16="http://schemas.microsoft.com/office/drawing/2014/main" id="{F4A0C72F-19A3-46A6-BD94-B22D80EF5CCE}"/>
                  </a:ext>
                </a:extLst>
              </p:cNvPr>
              <p:cNvSpPr/>
              <p:nvPr/>
            </p:nvSpPr>
            <p:spPr>
              <a:xfrm>
                <a:off x="4362259" y="2564753"/>
                <a:ext cx="45193" cy="37663"/>
              </a:xfrm>
              <a:custGeom>
                <a:avLst/>
                <a:gdLst>
                  <a:gd name="connsiteX0" fmla="*/ 43639 w 45193"/>
                  <a:gd name="connsiteY0" fmla="*/ 37439 h 37663"/>
                  <a:gd name="connsiteX1" fmla="*/ 43639 w 45193"/>
                  <a:gd name="connsiteY1" fmla="*/ 37439 h 37663"/>
                  <a:gd name="connsiteX2" fmla="*/ 45194 w 45193"/>
                  <a:gd name="connsiteY2" fmla="*/ 179 h 37663"/>
                  <a:gd name="connsiteX3" fmla="*/ 45014 w 45193"/>
                  <a:gd name="connsiteY3" fmla="*/ 0 h 37663"/>
                  <a:gd name="connsiteX4" fmla="*/ 44835 w 45193"/>
                  <a:gd name="connsiteY4" fmla="*/ 179 h 37663"/>
                  <a:gd name="connsiteX5" fmla="*/ 43280 w 45193"/>
                  <a:gd name="connsiteY5" fmla="*/ 37140 h 37663"/>
                  <a:gd name="connsiteX6" fmla="*/ 278 w 45193"/>
                  <a:gd name="connsiteY6" fmla="*/ 8014 h 37663"/>
                  <a:gd name="connsiteX7" fmla="*/ 39 w 45193"/>
                  <a:gd name="connsiteY7" fmla="*/ 8074 h 37663"/>
                  <a:gd name="connsiteX8" fmla="*/ 99 w 45193"/>
                  <a:gd name="connsiteY8" fmla="*/ 8313 h 37663"/>
                  <a:gd name="connsiteX9" fmla="*/ 43340 w 45193"/>
                  <a:gd name="connsiteY9" fmla="*/ 37619 h 37663"/>
                  <a:gd name="connsiteX10" fmla="*/ 43519 w 45193"/>
                  <a:gd name="connsiteY10" fmla="*/ 37619 h 37663"/>
                  <a:gd name="connsiteX11" fmla="*/ 43639 w 45193"/>
                  <a:gd name="connsiteY11" fmla="*/ 37439 h 37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93" h="37663">
                    <a:moveTo>
                      <a:pt x="43639" y="37439"/>
                    </a:moveTo>
                    <a:cubicBezTo>
                      <a:pt x="43639" y="37439"/>
                      <a:pt x="43639" y="37439"/>
                      <a:pt x="43639" y="37439"/>
                    </a:cubicBezTo>
                    <a:lnTo>
                      <a:pt x="45194" y="179"/>
                    </a:lnTo>
                    <a:cubicBezTo>
                      <a:pt x="45194" y="120"/>
                      <a:pt x="45134" y="0"/>
                      <a:pt x="45014" y="0"/>
                    </a:cubicBezTo>
                    <a:cubicBezTo>
                      <a:pt x="44955" y="0"/>
                      <a:pt x="44835" y="60"/>
                      <a:pt x="44835" y="179"/>
                    </a:cubicBezTo>
                    <a:lnTo>
                      <a:pt x="43280" y="37140"/>
                    </a:lnTo>
                    <a:lnTo>
                      <a:pt x="278" y="8014"/>
                    </a:lnTo>
                    <a:cubicBezTo>
                      <a:pt x="219" y="7954"/>
                      <a:pt x="99" y="7954"/>
                      <a:pt x="39" y="8074"/>
                    </a:cubicBezTo>
                    <a:cubicBezTo>
                      <a:pt x="-21" y="8134"/>
                      <a:pt x="-21" y="8253"/>
                      <a:pt x="99" y="8313"/>
                    </a:cubicBezTo>
                    <a:lnTo>
                      <a:pt x="43340" y="37619"/>
                    </a:lnTo>
                    <a:cubicBezTo>
                      <a:pt x="43400" y="37678"/>
                      <a:pt x="43459" y="37678"/>
                      <a:pt x="43519" y="37619"/>
                    </a:cubicBezTo>
                    <a:cubicBezTo>
                      <a:pt x="43579" y="37559"/>
                      <a:pt x="43579" y="37499"/>
                      <a:pt x="43639" y="3743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49" name="Vrije vorm: vorm 8848">
                <a:extLst>
                  <a:ext uri="{FF2B5EF4-FFF2-40B4-BE49-F238E27FC236}">
                    <a16:creationId xmlns:a16="http://schemas.microsoft.com/office/drawing/2014/main" id="{D1957F54-498A-46A0-8F21-F48DACC61A2F}"/>
                  </a:ext>
                </a:extLst>
              </p:cNvPr>
              <p:cNvSpPr/>
              <p:nvPr/>
            </p:nvSpPr>
            <p:spPr>
              <a:xfrm>
                <a:off x="4404103" y="2543641"/>
                <a:ext cx="62319" cy="14891"/>
              </a:xfrm>
              <a:custGeom>
                <a:avLst/>
                <a:gdLst>
                  <a:gd name="connsiteX0" fmla="*/ 62319 w 62319"/>
                  <a:gd name="connsiteY0" fmla="*/ 14772 h 14891"/>
                  <a:gd name="connsiteX1" fmla="*/ 62200 w 62319"/>
                  <a:gd name="connsiteY1" fmla="*/ 14593 h 14891"/>
                  <a:gd name="connsiteX2" fmla="*/ 180 w 62319"/>
                  <a:gd name="connsiteY2" fmla="*/ 0 h 14891"/>
                  <a:gd name="connsiteX3" fmla="*/ 0 w 62319"/>
                  <a:gd name="connsiteY3" fmla="*/ 120 h 14891"/>
                  <a:gd name="connsiteX4" fmla="*/ 0 w 62319"/>
                  <a:gd name="connsiteY4" fmla="*/ 120 h 14891"/>
                  <a:gd name="connsiteX5" fmla="*/ 120 w 62319"/>
                  <a:gd name="connsiteY5" fmla="*/ 299 h 14891"/>
                  <a:gd name="connsiteX6" fmla="*/ 62140 w 62319"/>
                  <a:gd name="connsiteY6" fmla="*/ 14892 h 14891"/>
                  <a:gd name="connsiteX7" fmla="*/ 62319 w 62319"/>
                  <a:gd name="connsiteY7" fmla="*/ 14772 h 14891"/>
                  <a:gd name="connsiteX8" fmla="*/ 62319 w 62319"/>
                  <a:gd name="connsiteY8" fmla="*/ 14772 h 1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319" h="14891">
                    <a:moveTo>
                      <a:pt x="62319" y="14772"/>
                    </a:moveTo>
                    <a:cubicBezTo>
                      <a:pt x="62319" y="14713"/>
                      <a:pt x="62260" y="14593"/>
                      <a:pt x="62200" y="14593"/>
                    </a:cubicBezTo>
                    <a:lnTo>
                      <a:pt x="180" y="0"/>
                    </a:lnTo>
                    <a:cubicBezTo>
                      <a:pt x="120" y="0"/>
                      <a:pt x="0" y="60"/>
                      <a:pt x="0" y="120"/>
                    </a:cubicBezTo>
                    <a:cubicBezTo>
                      <a:pt x="0" y="120"/>
                      <a:pt x="0" y="120"/>
                      <a:pt x="0" y="120"/>
                    </a:cubicBezTo>
                    <a:cubicBezTo>
                      <a:pt x="0" y="179"/>
                      <a:pt x="60" y="299"/>
                      <a:pt x="120" y="299"/>
                    </a:cubicBezTo>
                    <a:lnTo>
                      <a:pt x="62140" y="14892"/>
                    </a:lnTo>
                    <a:cubicBezTo>
                      <a:pt x="62200" y="14892"/>
                      <a:pt x="62260" y="14832"/>
                      <a:pt x="62319" y="14772"/>
                    </a:cubicBezTo>
                    <a:cubicBezTo>
                      <a:pt x="62319" y="14772"/>
                      <a:pt x="62319" y="14772"/>
                      <a:pt x="62319" y="1477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50" name="Vrije vorm: vorm 8849">
                <a:extLst>
                  <a:ext uri="{FF2B5EF4-FFF2-40B4-BE49-F238E27FC236}">
                    <a16:creationId xmlns:a16="http://schemas.microsoft.com/office/drawing/2014/main" id="{B76F86F1-54C0-483D-81DF-356E013F9977}"/>
                  </a:ext>
                </a:extLst>
              </p:cNvPr>
              <p:cNvSpPr/>
              <p:nvPr/>
            </p:nvSpPr>
            <p:spPr>
              <a:xfrm>
                <a:off x="4428206" y="2525818"/>
                <a:ext cx="896" cy="61422"/>
              </a:xfrm>
              <a:custGeom>
                <a:avLst/>
                <a:gdLst>
                  <a:gd name="connsiteX0" fmla="*/ 359 w 896"/>
                  <a:gd name="connsiteY0" fmla="*/ 61243 h 61422"/>
                  <a:gd name="connsiteX1" fmla="*/ 359 w 896"/>
                  <a:gd name="connsiteY1" fmla="*/ 61243 h 61422"/>
                  <a:gd name="connsiteX2" fmla="*/ 897 w 896"/>
                  <a:gd name="connsiteY2" fmla="*/ 179 h 61422"/>
                  <a:gd name="connsiteX3" fmla="*/ 718 w 896"/>
                  <a:gd name="connsiteY3" fmla="*/ 0 h 61422"/>
                  <a:gd name="connsiteX4" fmla="*/ 538 w 896"/>
                  <a:gd name="connsiteY4" fmla="*/ 179 h 61422"/>
                  <a:gd name="connsiteX5" fmla="*/ 0 w 896"/>
                  <a:gd name="connsiteY5" fmla="*/ 61243 h 61422"/>
                  <a:gd name="connsiteX6" fmla="*/ 179 w 896"/>
                  <a:gd name="connsiteY6" fmla="*/ 61422 h 61422"/>
                  <a:gd name="connsiteX7" fmla="*/ 359 w 896"/>
                  <a:gd name="connsiteY7" fmla="*/ 61243 h 61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 h="61422">
                    <a:moveTo>
                      <a:pt x="359" y="61243"/>
                    </a:moveTo>
                    <a:cubicBezTo>
                      <a:pt x="359" y="61243"/>
                      <a:pt x="359" y="61183"/>
                      <a:pt x="359" y="61243"/>
                    </a:cubicBezTo>
                    <a:lnTo>
                      <a:pt x="897" y="179"/>
                    </a:lnTo>
                    <a:cubicBezTo>
                      <a:pt x="897" y="120"/>
                      <a:pt x="837" y="0"/>
                      <a:pt x="718" y="0"/>
                    </a:cubicBezTo>
                    <a:cubicBezTo>
                      <a:pt x="598" y="0"/>
                      <a:pt x="538" y="60"/>
                      <a:pt x="538" y="179"/>
                    </a:cubicBezTo>
                    <a:lnTo>
                      <a:pt x="0" y="61243"/>
                    </a:lnTo>
                    <a:cubicBezTo>
                      <a:pt x="0" y="61302"/>
                      <a:pt x="60" y="61422"/>
                      <a:pt x="179" y="61422"/>
                    </a:cubicBezTo>
                    <a:cubicBezTo>
                      <a:pt x="299" y="61362"/>
                      <a:pt x="359" y="61302"/>
                      <a:pt x="359" y="6124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51" name="Vrije vorm: vorm 8850">
                <a:extLst>
                  <a:ext uri="{FF2B5EF4-FFF2-40B4-BE49-F238E27FC236}">
                    <a16:creationId xmlns:a16="http://schemas.microsoft.com/office/drawing/2014/main" id="{4E515D5E-9BDA-4C02-88FF-A04343C23B69}"/>
                  </a:ext>
                </a:extLst>
              </p:cNvPr>
              <p:cNvSpPr/>
              <p:nvPr/>
            </p:nvSpPr>
            <p:spPr>
              <a:xfrm>
                <a:off x="4416723" y="2534610"/>
                <a:ext cx="31219" cy="37464"/>
              </a:xfrm>
              <a:custGeom>
                <a:avLst/>
                <a:gdLst>
                  <a:gd name="connsiteX0" fmla="*/ 31220 w 31219"/>
                  <a:gd name="connsiteY0" fmla="*/ 37380 h 37464"/>
                  <a:gd name="connsiteX1" fmla="*/ 31040 w 31219"/>
                  <a:gd name="connsiteY1" fmla="*/ 37439 h 37464"/>
                  <a:gd name="connsiteX2" fmla="*/ 1376 w 31219"/>
                  <a:gd name="connsiteY2" fmla="*/ 34150 h 37464"/>
                  <a:gd name="connsiteX3" fmla="*/ 1256 w 31219"/>
                  <a:gd name="connsiteY3" fmla="*/ 33970 h 37464"/>
                  <a:gd name="connsiteX4" fmla="*/ 0 w 31219"/>
                  <a:gd name="connsiteY4" fmla="*/ 179 h 37464"/>
                  <a:gd name="connsiteX5" fmla="*/ 120 w 31219"/>
                  <a:gd name="connsiteY5" fmla="*/ 0 h 37464"/>
                  <a:gd name="connsiteX6" fmla="*/ 299 w 31219"/>
                  <a:gd name="connsiteY6" fmla="*/ 60 h 37464"/>
                  <a:gd name="connsiteX7" fmla="*/ 31220 w 31219"/>
                  <a:gd name="connsiteY7" fmla="*/ 37140 h 37464"/>
                  <a:gd name="connsiteX8" fmla="*/ 31220 w 31219"/>
                  <a:gd name="connsiteY8" fmla="*/ 37380 h 37464"/>
                  <a:gd name="connsiteX9" fmla="*/ 31220 w 31219"/>
                  <a:gd name="connsiteY9" fmla="*/ 37380 h 37464"/>
                  <a:gd name="connsiteX10" fmla="*/ 1555 w 31219"/>
                  <a:gd name="connsiteY10" fmla="*/ 33851 h 37464"/>
                  <a:gd name="connsiteX11" fmla="*/ 30681 w 31219"/>
                  <a:gd name="connsiteY11" fmla="*/ 37081 h 37464"/>
                  <a:gd name="connsiteX12" fmla="*/ 359 w 31219"/>
                  <a:gd name="connsiteY12" fmla="*/ 658 h 37464"/>
                  <a:gd name="connsiteX13" fmla="*/ 1555 w 31219"/>
                  <a:gd name="connsiteY13" fmla="*/ 33851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19" h="37464">
                    <a:moveTo>
                      <a:pt x="31220" y="37380"/>
                    </a:moveTo>
                    <a:cubicBezTo>
                      <a:pt x="31160" y="37439"/>
                      <a:pt x="31100" y="37499"/>
                      <a:pt x="31040" y="37439"/>
                    </a:cubicBezTo>
                    <a:lnTo>
                      <a:pt x="1376" y="34150"/>
                    </a:lnTo>
                    <a:cubicBezTo>
                      <a:pt x="1316" y="34150"/>
                      <a:pt x="1256" y="34090"/>
                      <a:pt x="1256" y="33970"/>
                    </a:cubicBezTo>
                    <a:lnTo>
                      <a:pt x="0" y="179"/>
                    </a:lnTo>
                    <a:cubicBezTo>
                      <a:pt x="0" y="120"/>
                      <a:pt x="60" y="60"/>
                      <a:pt x="120" y="0"/>
                    </a:cubicBezTo>
                    <a:cubicBezTo>
                      <a:pt x="180" y="0"/>
                      <a:pt x="239" y="0"/>
                      <a:pt x="299" y="60"/>
                    </a:cubicBezTo>
                    <a:lnTo>
                      <a:pt x="31220" y="37140"/>
                    </a:lnTo>
                    <a:cubicBezTo>
                      <a:pt x="31220" y="37260"/>
                      <a:pt x="31220" y="37320"/>
                      <a:pt x="31220" y="37380"/>
                    </a:cubicBezTo>
                    <a:cubicBezTo>
                      <a:pt x="31220" y="37380"/>
                      <a:pt x="31220" y="37380"/>
                      <a:pt x="31220" y="37380"/>
                    </a:cubicBezTo>
                    <a:close/>
                    <a:moveTo>
                      <a:pt x="1555" y="33851"/>
                    </a:moveTo>
                    <a:lnTo>
                      <a:pt x="30681" y="37081"/>
                    </a:lnTo>
                    <a:lnTo>
                      <a:pt x="359" y="658"/>
                    </a:lnTo>
                    <a:lnTo>
                      <a:pt x="1555" y="33851"/>
                    </a:lnTo>
                    <a:close/>
                  </a:path>
                </a:pathLst>
              </a:custGeom>
              <a:grpFill/>
              <a:ln w="6350" cap="flat">
                <a:solidFill>
                  <a:schemeClr val="bg1">
                    <a:alpha val="80000"/>
                  </a:schemeClr>
                </a:solidFill>
                <a:prstDash val="solid"/>
                <a:miter/>
              </a:ln>
            </p:spPr>
            <p:txBody>
              <a:bodyPr rtlCol="0" anchor="ctr"/>
              <a:lstStyle/>
              <a:p>
                <a:endParaRPr lang="en-GB"/>
              </a:p>
            </p:txBody>
          </p:sp>
          <p:sp>
            <p:nvSpPr>
              <p:cNvPr id="8852" name="Vrije vorm: vorm 8851">
                <a:extLst>
                  <a:ext uri="{FF2B5EF4-FFF2-40B4-BE49-F238E27FC236}">
                    <a16:creationId xmlns:a16="http://schemas.microsoft.com/office/drawing/2014/main" id="{1E59AC12-3C15-4561-9A2A-30DC18447C7C}"/>
                  </a:ext>
                </a:extLst>
              </p:cNvPr>
              <p:cNvSpPr/>
              <p:nvPr/>
            </p:nvSpPr>
            <p:spPr>
              <a:xfrm>
                <a:off x="4416723" y="2534670"/>
                <a:ext cx="25836" cy="3588"/>
              </a:xfrm>
              <a:custGeom>
                <a:avLst/>
                <a:gdLst>
                  <a:gd name="connsiteX0" fmla="*/ 25837 w 25836"/>
                  <a:gd name="connsiteY0" fmla="*/ 3469 h 3588"/>
                  <a:gd name="connsiteX1" fmla="*/ 25837 w 25836"/>
                  <a:gd name="connsiteY1" fmla="*/ 3469 h 3588"/>
                  <a:gd name="connsiteX2" fmla="*/ 25717 w 25836"/>
                  <a:gd name="connsiteY2" fmla="*/ 3289 h 3588"/>
                  <a:gd name="connsiteX3" fmla="*/ 180 w 25836"/>
                  <a:gd name="connsiteY3" fmla="*/ 0 h 3588"/>
                  <a:gd name="connsiteX4" fmla="*/ 0 w 25836"/>
                  <a:gd name="connsiteY4" fmla="*/ 120 h 3588"/>
                  <a:gd name="connsiteX5" fmla="*/ 0 w 25836"/>
                  <a:gd name="connsiteY5" fmla="*/ 120 h 3588"/>
                  <a:gd name="connsiteX6" fmla="*/ 120 w 25836"/>
                  <a:gd name="connsiteY6" fmla="*/ 299 h 3588"/>
                  <a:gd name="connsiteX7" fmla="*/ 25658 w 25836"/>
                  <a:gd name="connsiteY7" fmla="*/ 3588 h 3588"/>
                  <a:gd name="connsiteX8" fmla="*/ 25837 w 25836"/>
                  <a:gd name="connsiteY8" fmla="*/ 3469 h 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36" h="3588">
                    <a:moveTo>
                      <a:pt x="25837" y="3469"/>
                    </a:moveTo>
                    <a:cubicBezTo>
                      <a:pt x="25837" y="3469"/>
                      <a:pt x="25837" y="3469"/>
                      <a:pt x="25837" y="3469"/>
                    </a:cubicBezTo>
                    <a:cubicBezTo>
                      <a:pt x="25837" y="3349"/>
                      <a:pt x="25777" y="3289"/>
                      <a:pt x="25717" y="3289"/>
                    </a:cubicBezTo>
                    <a:lnTo>
                      <a:pt x="180" y="0"/>
                    </a:lnTo>
                    <a:cubicBezTo>
                      <a:pt x="120" y="0"/>
                      <a:pt x="0" y="60"/>
                      <a:pt x="0" y="120"/>
                    </a:cubicBezTo>
                    <a:cubicBezTo>
                      <a:pt x="0" y="120"/>
                      <a:pt x="0" y="120"/>
                      <a:pt x="0" y="120"/>
                    </a:cubicBezTo>
                    <a:cubicBezTo>
                      <a:pt x="0" y="179"/>
                      <a:pt x="60" y="299"/>
                      <a:pt x="120" y="299"/>
                    </a:cubicBezTo>
                    <a:lnTo>
                      <a:pt x="25658" y="3588"/>
                    </a:lnTo>
                    <a:cubicBezTo>
                      <a:pt x="25777" y="3588"/>
                      <a:pt x="25837" y="3529"/>
                      <a:pt x="25837" y="346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53" name="Vrije vorm: vorm 8852">
                <a:extLst>
                  <a:ext uri="{FF2B5EF4-FFF2-40B4-BE49-F238E27FC236}">
                    <a16:creationId xmlns:a16="http://schemas.microsoft.com/office/drawing/2014/main" id="{F7347355-AD89-46F4-850B-BF40D43C0572}"/>
                  </a:ext>
                </a:extLst>
              </p:cNvPr>
              <p:cNvSpPr/>
              <p:nvPr/>
            </p:nvSpPr>
            <p:spPr>
              <a:xfrm>
                <a:off x="4454461" y="2503749"/>
                <a:ext cx="40669" cy="34688"/>
              </a:xfrm>
              <a:custGeom>
                <a:avLst/>
                <a:gdLst>
                  <a:gd name="connsiteX0" fmla="*/ 40669 w 40669"/>
                  <a:gd name="connsiteY0" fmla="*/ 29066 h 34688"/>
                  <a:gd name="connsiteX1" fmla="*/ 40549 w 40669"/>
                  <a:gd name="connsiteY1" fmla="*/ 29126 h 34688"/>
                  <a:gd name="connsiteX2" fmla="*/ 718 w 40669"/>
                  <a:gd name="connsiteY2" fmla="*/ 34688 h 34688"/>
                  <a:gd name="connsiteX3" fmla="*/ 598 w 40669"/>
                  <a:gd name="connsiteY3" fmla="*/ 34628 h 34688"/>
                  <a:gd name="connsiteX4" fmla="*/ 538 w 40669"/>
                  <a:gd name="connsiteY4" fmla="*/ 34509 h 34688"/>
                  <a:gd name="connsiteX5" fmla="*/ 0 w 40669"/>
                  <a:gd name="connsiteY5" fmla="*/ 4127 h 34688"/>
                  <a:gd name="connsiteX6" fmla="*/ 120 w 40669"/>
                  <a:gd name="connsiteY6" fmla="*/ 3947 h 34688"/>
                  <a:gd name="connsiteX7" fmla="*/ 31937 w 40669"/>
                  <a:gd name="connsiteY7" fmla="*/ 0 h 34688"/>
                  <a:gd name="connsiteX8" fmla="*/ 32116 w 40669"/>
                  <a:gd name="connsiteY8" fmla="*/ 120 h 34688"/>
                  <a:gd name="connsiteX9" fmla="*/ 40669 w 40669"/>
                  <a:gd name="connsiteY9" fmla="*/ 28827 h 34688"/>
                  <a:gd name="connsiteX10" fmla="*/ 40669 w 40669"/>
                  <a:gd name="connsiteY10" fmla="*/ 29066 h 34688"/>
                  <a:gd name="connsiteX11" fmla="*/ 40669 w 40669"/>
                  <a:gd name="connsiteY11" fmla="*/ 29066 h 34688"/>
                  <a:gd name="connsiteX12" fmla="*/ 299 w 40669"/>
                  <a:gd name="connsiteY12" fmla="*/ 4366 h 34688"/>
                  <a:gd name="connsiteX13" fmla="*/ 837 w 40669"/>
                  <a:gd name="connsiteY13" fmla="*/ 34389 h 34688"/>
                  <a:gd name="connsiteX14" fmla="*/ 40310 w 40669"/>
                  <a:gd name="connsiteY14" fmla="*/ 28827 h 34688"/>
                  <a:gd name="connsiteX15" fmla="*/ 31817 w 40669"/>
                  <a:gd name="connsiteY15" fmla="*/ 419 h 34688"/>
                  <a:gd name="connsiteX16" fmla="*/ 299 w 40669"/>
                  <a:gd name="connsiteY16" fmla="*/ 4366 h 3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669" h="34688">
                    <a:moveTo>
                      <a:pt x="40669" y="29066"/>
                    </a:moveTo>
                    <a:cubicBezTo>
                      <a:pt x="40669" y="29126"/>
                      <a:pt x="40609" y="29126"/>
                      <a:pt x="40549" y="29126"/>
                    </a:cubicBezTo>
                    <a:lnTo>
                      <a:pt x="718" y="34688"/>
                    </a:lnTo>
                    <a:cubicBezTo>
                      <a:pt x="658" y="34688"/>
                      <a:pt x="598" y="34688"/>
                      <a:pt x="598" y="34628"/>
                    </a:cubicBezTo>
                    <a:cubicBezTo>
                      <a:pt x="538" y="34628"/>
                      <a:pt x="538" y="34569"/>
                      <a:pt x="538" y="34509"/>
                    </a:cubicBezTo>
                    <a:lnTo>
                      <a:pt x="0" y="4127"/>
                    </a:lnTo>
                    <a:cubicBezTo>
                      <a:pt x="0" y="4007"/>
                      <a:pt x="60" y="3947"/>
                      <a:pt x="120" y="3947"/>
                    </a:cubicBezTo>
                    <a:lnTo>
                      <a:pt x="31937" y="0"/>
                    </a:lnTo>
                    <a:cubicBezTo>
                      <a:pt x="31997" y="0"/>
                      <a:pt x="32116" y="60"/>
                      <a:pt x="32116" y="120"/>
                    </a:cubicBezTo>
                    <a:lnTo>
                      <a:pt x="40669" y="28827"/>
                    </a:lnTo>
                    <a:cubicBezTo>
                      <a:pt x="40669" y="28947"/>
                      <a:pt x="40669" y="29007"/>
                      <a:pt x="40669" y="29066"/>
                    </a:cubicBezTo>
                    <a:cubicBezTo>
                      <a:pt x="40669" y="29007"/>
                      <a:pt x="40669" y="29066"/>
                      <a:pt x="40669" y="29066"/>
                    </a:cubicBezTo>
                    <a:close/>
                    <a:moveTo>
                      <a:pt x="299" y="4366"/>
                    </a:moveTo>
                    <a:lnTo>
                      <a:pt x="837" y="34389"/>
                    </a:lnTo>
                    <a:lnTo>
                      <a:pt x="40310" y="28827"/>
                    </a:lnTo>
                    <a:lnTo>
                      <a:pt x="31817" y="419"/>
                    </a:lnTo>
                    <a:lnTo>
                      <a:pt x="299" y="4366"/>
                    </a:lnTo>
                    <a:close/>
                  </a:path>
                </a:pathLst>
              </a:custGeom>
              <a:grpFill/>
              <a:ln w="6350" cap="flat">
                <a:solidFill>
                  <a:schemeClr val="bg1">
                    <a:alpha val="80000"/>
                  </a:schemeClr>
                </a:solidFill>
                <a:prstDash val="solid"/>
                <a:miter/>
              </a:ln>
            </p:spPr>
            <p:txBody>
              <a:bodyPr rtlCol="0" anchor="ctr"/>
              <a:lstStyle/>
              <a:p>
                <a:endParaRPr lang="en-GB"/>
              </a:p>
            </p:txBody>
          </p:sp>
          <p:sp>
            <p:nvSpPr>
              <p:cNvPr id="8854" name="Vrije vorm: vorm 8853">
                <a:extLst>
                  <a:ext uri="{FF2B5EF4-FFF2-40B4-BE49-F238E27FC236}">
                    <a16:creationId xmlns:a16="http://schemas.microsoft.com/office/drawing/2014/main" id="{783BA4C7-80B5-4B50-A13C-A364078D35EC}"/>
                  </a:ext>
                </a:extLst>
              </p:cNvPr>
              <p:cNvSpPr/>
              <p:nvPr/>
            </p:nvSpPr>
            <p:spPr>
              <a:xfrm>
                <a:off x="4493789" y="2442103"/>
                <a:ext cx="59772" cy="65115"/>
              </a:xfrm>
              <a:custGeom>
                <a:avLst/>
                <a:gdLst>
                  <a:gd name="connsiteX0" fmla="*/ 59772 w 59772"/>
                  <a:gd name="connsiteY0" fmla="*/ 284 h 65115"/>
                  <a:gd name="connsiteX1" fmla="*/ 28672 w 59772"/>
                  <a:gd name="connsiteY1" fmla="*/ 64995 h 65115"/>
                  <a:gd name="connsiteX2" fmla="*/ 28493 w 59772"/>
                  <a:gd name="connsiteY2" fmla="*/ 65115 h 65115"/>
                  <a:gd name="connsiteX3" fmla="*/ 28373 w 59772"/>
                  <a:gd name="connsiteY3" fmla="*/ 64995 h 65115"/>
                  <a:gd name="connsiteX4" fmla="*/ 20838 w 59772"/>
                  <a:gd name="connsiteY4" fmla="*/ 24865 h 65115"/>
                  <a:gd name="connsiteX5" fmla="*/ 19163 w 59772"/>
                  <a:gd name="connsiteY5" fmla="*/ 25941 h 65115"/>
                  <a:gd name="connsiteX6" fmla="*/ 4630 w 59772"/>
                  <a:gd name="connsiteY6" fmla="*/ 57041 h 65115"/>
                  <a:gd name="connsiteX7" fmla="*/ 4391 w 59772"/>
                  <a:gd name="connsiteY7" fmla="*/ 57101 h 65115"/>
                  <a:gd name="connsiteX8" fmla="*/ 4331 w 59772"/>
                  <a:gd name="connsiteY8" fmla="*/ 56862 h 65115"/>
                  <a:gd name="connsiteX9" fmla="*/ 18685 w 59772"/>
                  <a:gd name="connsiteY9" fmla="*/ 26181 h 65115"/>
                  <a:gd name="connsiteX10" fmla="*/ 264 w 59772"/>
                  <a:gd name="connsiteY10" fmla="*/ 37723 h 65115"/>
                  <a:gd name="connsiteX11" fmla="*/ 25 w 59772"/>
                  <a:gd name="connsiteY11" fmla="*/ 37664 h 65115"/>
                  <a:gd name="connsiteX12" fmla="*/ 85 w 59772"/>
                  <a:gd name="connsiteY12" fmla="*/ 37424 h 65115"/>
                  <a:gd name="connsiteX13" fmla="*/ 18924 w 59772"/>
                  <a:gd name="connsiteY13" fmla="*/ 25583 h 65115"/>
                  <a:gd name="connsiteX14" fmla="*/ 20419 w 59772"/>
                  <a:gd name="connsiteY14" fmla="*/ 22353 h 65115"/>
                  <a:gd name="connsiteX15" fmla="*/ 20598 w 59772"/>
                  <a:gd name="connsiteY15" fmla="*/ 22233 h 65115"/>
                  <a:gd name="connsiteX16" fmla="*/ 20718 w 59772"/>
                  <a:gd name="connsiteY16" fmla="*/ 22353 h 65115"/>
                  <a:gd name="connsiteX17" fmla="*/ 21077 w 59772"/>
                  <a:gd name="connsiteY17" fmla="*/ 24207 h 65115"/>
                  <a:gd name="connsiteX18" fmla="*/ 59593 w 59772"/>
                  <a:gd name="connsiteY18" fmla="*/ 45 h 65115"/>
                  <a:gd name="connsiteX19" fmla="*/ 59772 w 59772"/>
                  <a:gd name="connsiteY19" fmla="*/ 45 h 65115"/>
                  <a:gd name="connsiteX20" fmla="*/ 59772 w 59772"/>
                  <a:gd name="connsiteY20" fmla="*/ 284 h 65115"/>
                  <a:gd name="connsiteX21" fmla="*/ 59772 w 59772"/>
                  <a:gd name="connsiteY21" fmla="*/ 284 h 65115"/>
                  <a:gd name="connsiteX22" fmla="*/ 28613 w 59772"/>
                  <a:gd name="connsiteY22" fmla="*/ 64398 h 65115"/>
                  <a:gd name="connsiteX23" fmla="*/ 59234 w 59772"/>
                  <a:gd name="connsiteY23" fmla="*/ 643 h 65115"/>
                  <a:gd name="connsiteX24" fmla="*/ 21077 w 59772"/>
                  <a:gd name="connsiteY24" fmla="*/ 24566 h 65115"/>
                  <a:gd name="connsiteX25" fmla="*/ 28613 w 59772"/>
                  <a:gd name="connsiteY25" fmla="*/ 64398 h 65115"/>
                  <a:gd name="connsiteX26" fmla="*/ 19402 w 59772"/>
                  <a:gd name="connsiteY26" fmla="*/ 25284 h 65115"/>
                  <a:gd name="connsiteX27" fmla="*/ 20778 w 59772"/>
                  <a:gd name="connsiteY27" fmla="*/ 24446 h 65115"/>
                  <a:gd name="connsiteX28" fmla="*/ 20479 w 59772"/>
                  <a:gd name="connsiteY28" fmla="*/ 23011 h 65115"/>
                  <a:gd name="connsiteX29" fmla="*/ 19402 w 59772"/>
                  <a:gd name="connsiteY29" fmla="*/ 25284 h 6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9772" h="65115">
                    <a:moveTo>
                      <a:pt x="59772" y="284"/>
                    </a:moveTo>
                    <a:lnTo>
                      <a:pt x="28672" y="64995"/>
                    </a:lnTo>
                    <a:cubicBezTo>
                      <a:pt x="28613" y="65055"/>
                      <a:pt x="28553" y="65115"/>
                      <a:pt x="28493" y="65115"/>
                    </a:cubicBezTo>
                    <a:cubicBezTo>
                      <a:pt x="28433" y="65115"/>
                      <a:pt x="28373" y="65055"/>
                      <a:pt x="28373" y="64995"/>
                    </a:cubicBezTo>
                    <a:lnTo>
                      <a:pt x="20838" y="24865"/>
                    </a:lnTo>
                    <a:lnTo>
                      <a:pt x="19163" y="25941"/>
                    </a:lnTo>
                    <a:lnTo>
                      <a:pt x="4630" y="57041"/>
                    </a:lnTo>
                    <a:cubicBezTo>
                      <a:pt x="4570" y="57101"/>
                      <a:pt x="4510" y="57161"/>
                      <a:pt x="4391" y="57101"/>
                    </a:cubicBezTo>
                    <a:cubicBezTo>
                      <a:pt x="4331" y="57041"/>
                      <a:pt x="4271" y="56981"/>
                      <a:pt x="4331" y="56862"/>
                    </a:cubicBezTo>
                    <a:lnTo>
                      <a:pt x="18685" y="26181"/>
                    </a:lnTo>
                    <a:lnTo>
                      <a:pt x="264" y="37723"/>
                    </a:lnTo>
                    <a:cubicBezTo>
                      <a:pt x="204" y="37783"/>
                      <a:pt x="85" y="37723"/>
                      <a:pt x="25" y="37664"/>
                    </a:cubicBezTo>
                    <a:cubicBezTo>
                      <a:pt x="-35" y="37604"/>
                      <a:pt x="25" y="37484"/>
                      <a:pt x="85" y="37424"/>
                    </a:cubicBezTo>
                    <a:lnTo>
                      <a:pt x="18924" y="25583"/>
                    </a:lnTo>
                    <a:lnTo>
                      <a:pt x="20419" y="22353"/>
                    </a:lnTo>
                    <a:cubicBezTo>
                      <a:pt x="20419" y="22293"/>
                      <a:pt x="20539" y="22233"/>
                      <a:pt x="20598" y="22233"/>
                    </a:cubicBezTo>
                    <a:cubicBezTo>
                      <a:pt x="20658" y="22233"/>
                      <a:pt x="20718" y="22293"/>
                      <a:pt x="20718" y="22353"/>
                    </a:cubicBezTo>
                    <a:lnTo>
                      <a:pt x="21077" y="24207"/>
                    </a:lnTo>
                    <a:lnTo>
                      <a:pt x="59593" y="45"/>
                    </a:lnTo>
                    <a:cubicBezTo>
                      <a:pt x="59653" y="-15"/>
                      <a:pt x="59712" y="-15"/>
                      <a:pt x="59772" y="45"/>
                    </a:cubicBezTo>
                    <a:cubicBezTo>
                      <a:pt x="59772" y="164"/>
                      <a:pt x="59772" y="224"/>
                      <a:pt x="59772" y="284"/>
                    </a:cubicBezTo>
                    <a:cubicBezTo>
                      <a:pt x="59772" y="284"/>
                      <a:pt x="59772" y="284"/>
                      <a:pt x="59772" y="284"/>
                    </a:cubicBezTo>
                    <a:close/>
                    <a:moveTo>
                      <a:pt x="28613" y="64398"/>
                    </a:moveTo>
                    <a:lnTo>
                      <a:pt x="59234" y="643"/>
                    </a:lnTo>
                    <a:lnTo>
                      <a:pt x="21077" y="24566"/>
                    </a:lnTo>
                    <a:lnTo>
                      <a:pt x="28613" y="64398"/>
                    </a:lnTo>
                    <a:close/>
                    <a:moveTo>
                      <a:pt x="19402" y="25284"/>
                    </a:moveTo>
                    <a:lnTo>
                      <a:pt x="20778" y="24446"/>
                    </a:lnTo>
                    <a:lnTo>
                      <a:pt x="20479" y="23011"/>
                    </a:lnTo>
                    <a:lnTo>
                      <a:pt x="19402" y="25284"/>
                    </a:lnTo>
                    <a:close/>
                  </a:path>
                </a:pathLst>
              </a:custGeom>
              <a:grpFill/>
              <a:ln w="6350" cap="flat">
                <a:solidFill>
                  <a:schemeClr val="bg1">
                    <a:alpha val="80000"/>
                  </a:schemeClr>
                </a:solidFill>
                <a:prstDash val="solid"/>
                <a:miter/>
              </a:ln>
            </p:spPr>
            <p:txBody>
              <a:bodyPr rtlCol="0" anchor="ctr"/>
              <a:lstStyle/>
              <a:p>
                <a:endParaRPr lang="en-GB"/>
              </a:p>
            </p:txBody>
          </p:sp>
          <p:sp>
            <p:nvSpPr>
              <p:cNvPr id="8855" name="Vrije vorm: vorm 8854">
                <a:extLst>
                  <a:ext uri="{FF2B5EF4-FFF2-40B4-BE49-F238E27FC236}">
                    <a16:creationId xmlns:a16="http://schemas.microsoft.com/office/drawing/2014/main" id="{D8733AED-5E0E-4F21-A4AE-F12F0D074B00}"/>
                  </a:ext>
                </a:extLst>
              </p:cNvPr>
              <p:cNvSpPr/>
              <p:nvPr/>
            </p:nvSpPr>
            <p:spPr>
              <a:xfrm>
                <a:off x="4486134" y="2442029"/>
                <a:ext cx="72795" cy="62104"/>
              </a:xfrm>
              <a:custGeom>
                <a:avLst/>
                <a:gdLst>
                  <a:gd name="connsiteX0" fmla="*/ 72750 w 72795"/>
                  <a:gd name="connsiteY0" fmla="*/ 4366 h 62104"/>
                  <a:gd name="connsiteX1" fmla="*/ 61805 w 72795"/>
                  <a:gd name="connsiteY1" fmla="*/ 25119 h 62104"/>
                  <a:gd name="connsiteX2" fmla="*/ 59114 w 72795"/>
                  <a:gd name="connsiteY2" fmla="*/ 36901 h 62104"/>
                  <a:gd name="connsiteX3" fmla="*/ 58995 w 72795"/>
                  <a:gd name="connsiteY3" fmla="*/ 37020 h 62104"/>
                  <a:gd name="connsiteX4" fmla="*/ 58815 w 72795"/>
                  <a:gd name="connsiteY4" fmla="*/ 36961 h 62104"/>
                  <a:gd name="connsiteX5" fmla="*/ 57141 w 72795"/>
                  <a:gd name="connsiteY5" fmla="*/ 33911 h 62104"/>
                  <a:gd name="connsiteX6" fmla="*/ 47811 w 72795"/>
                  <a:gd name="connsiteY6" fmla="*/ 51613 h 62104"/>
                  <a:gd name="connsiteX7" fmla="*/ 47811 w 72795"/>
                  <a:gd name="connsiteY7" fmla="*/ 51613 h 62104"/>
                  <a:gd name="connsiteX8" fmla="*/ 47691 w 72795"/>
                  <a:gd name="connsiteY8" fmla="*/ 51673 h 62104"/>
                  <a:gd name="connsiteX9" fmla="*/ 47691 w 72795"/>
                  <a:gd name="connsiteY9" fmla="*/ 51673 h 62104"/>
                  <a:gd name="connsiteX10" fmla="*/ 47691 w 72795"/>
                  <a:gd name="connsiteY10" fmla="*/ 51673 h 62104"/>
                  <a:gd name="connsiteX11" fmla="*/ 47691 w 72795"/>
                  <a:gd name="connsiteY11" fmla="*/ 51673 h 62104"/>
                  <a:gd name="connsiteX12" fmla="*/ 47691 w 72795"/>
                  <a:gd name="connsiteY12" fmla="*/ 51673 h 62104"/>
                  <a:gd name="connsiteX13" fmla="*/ 47691 w 72795"/>
                  <a:gd name="connsiteY13" fmla="*/ 51673 h 62104"/>
                  <a:gd name="connsiteX14" fmla="*/ 47691 w 72795"/>
                  <a:gd name="connsiteY14" fmla="*/ 51673 h 62104"/>
                  <a:gd name="connsiteX15" fmla="*/ 47691 w 72795"/>
                  <a:gd name="connsiteY15" fmla="*/ 51673 h 62104"/>
                  <a:gd name="connsiteX16" fmla="*/ 47691 w 72795"/>
                  <a:gd name="connsiteY16" fmla="*/ 51673 h 62104"/>
                  <a:gd name="connsiteX17" fmla="*/ 47691 w 72795"/>
                  <a:gd name="connsiteY17" fmla="*/ 51673 h 62104"/>
                  <a:gd name="connsiteX18" fmla="*/ 47631 w 72795"/>
                  <a:gd name="connsiteY18" fmla="*/ 51673 h 62104"/>
                  <a:gd name="connsiteX19" fmla="*/ 7979 w 72795"/>
                  <a:gd name="connsiteY19" fmla="*/ 37858 h 62104"/>
                  <a:gd name="connsiteX20" fmla="*/ 12225 w 72795"/>
                  <a:gd name="connsiteY20" fmla="*/ 56877 h 62104"/>
                  <a:gd name="connsiteX21" fmla="*/ 12106 w 72795"/>
                  <a:gd name="connsiteY21" fmla="*/ 57056 h 62104"/>
                  <a:gd name="connsiteX22" fmla="*/ 264 w 72795"/>
                  <a:gd name="connsiteY22" fmla="*/ 62080 h 62104"/>
                  <a:gd name="connsiteX23" fmla="*/ 25 w 72795"/>
                  <a:gd name="connsiteY23" fmla="*/ 62020 h 62104"/>
                  <a:gd name="connsiteX24" fmla="*/ 84 w 72795"/>
                  <a:gd name="connsiteY24" fmla="*/ 61781 h 62104"/>
                  <a:gd name="connsiteX25" fmla="*/ 11807 w 72795"/>
                  <a:gd name="connsiteY25" fmla="*/ 56817 h 62104"/>
                  <a:gd name="connsiteX26" fmla="*/ 7501 w 72795"/>
                  <a:gd name="connsiteY26" fmla="*/ 37619 h 62104"/>
                  <a:gd name="connsiteX27" fmla="*/ 7560 w 72795"/>
                  <a:gd name="connsiteY27" fmla="*/ 37439 h 62104"/>
                  <a:gd name="connsiteX28" fmla="*/ 7740 w 72795"/>
                  <a:gd name="connsiteY28" fmla="*/ 37380 h 62104"/>
                  <a:gd name="connsiteX29" fmla="*/ 47571 w 72795"/>
                  <a:gd name="connsiteY29" fmla="*/ 51255 h 62104"/>
                  <a:gd name="connsiteX30" fmla="*/ 55466 w 72795"/>
                  <a:gd name="connsiteY30" fmla="*/ 30801 h 62104"/>
                  <a:gd name="connsiteX31" fmla="*/ 44462 w 72795"/>
                  <a:gd name="connsiteY31" fmla="*/ 10825 h 62104"/>
                  <a:gd name="connsiteX32" fmla="*/ 44462 w 72795"/>
                  <a:gd name="connsiteY32" fmla="*/ 10705 h 62104"/>
                  <a:gd name="connsiteX33" fmla="*/ 44581 w 72795"/>
                  <a:gd name="connsiteY33" fmla="*/ 10586 h 62104"/>
                  <a:gd name="connsiteX34" fmla="*/ 64915 w 72795"/>
                  <a:gd name="connsiteY34" fmla="*/ 5801 h 62104"/>
                  <a:gd name="connsiteX35" fmla="*/ 67068 w 72795"/>
                  <a:gd name="connsiteY35" fmla="*/ 120 h 62104"/>
                  <a:gd name="connsiteX36" fmla="*/ 67248 w 72795"/>
                  <a:gd name="connsiteY36" fmla="*/ 0 h 62104"/>
                  <a:gd name="connsiteX37" fmla="*/ 67367 w 72795"/>
                  <a:gd name="connsiteY37" fmla="*/ 179 h 62104"/>
                  <a:gd name="connsiteX38" fmla="*/ 66172 w 72795"/>
                  <a:gd name="connsiteY38" fmla="*/ 5502 h 62104"/>
                  <a:gd name="connsiteX39" fmla="*/ 72511 w 72795"/>
                  <a:gd name="connsiteY39" fmla="*/ 4007 h 62104"/>
                  <a:gd name="connsiteX40" fmla="*/ 72690 w 72795"/>
                  <a:gd name="connsiteY40" fmla="*/ 4067 h 62104"/>
                  <a:gd name="connsiteX41" fmla="*/ 72750 w 72795"/>
                  <a:gd name="connsiteY41" fmla="*/ 4366 h 62104"/>
                  <a:gd name="connsiteX42" fmla="*/ 72750 w 72795"/>
                  <a:gd name="connsiteY42" fmla="*/ 4366 h 62104"/>
                  <a:gd name="connsiteX43" fmla="*/ 62105 w 72795"/>
                  <a:gd name="connsiteY43" fmla="*/ 23983 h 62104"/>
                  <a:gd name="connsiteX44" fmla="*/ 72332 w 72795"/>
                  <a:gd name="connsiteY44" fmla="*/ 4605 h 62104"/>
                  <a:gd name="connsiteX45" fmla="*/ 66172 w 72795"/>
                  <a:gd name="connsiteY45" fmla="*/ 6040 h 62104"/>
                  <a:gd name="connsiteX46" fmla="*/ 62105 w 72795"/>
                  <a:gd name="connsiteY46" fmla="*/ 23983 h 62104"/>
                  <a:gd name="connsiteX47" fmla="*/ 65872 w 72795"/>
                  <a:gd name="connsiteY47" fmla="*/ 5741 h 62104"/>
                  <a:gd name="connsiteX48" fmla="*/ 66590 w 72795"/>
                  <a:gd name="connsiteY48" fmla="*/ 2572 h 62104"/>
                  <a:gd name="connsiteX49" fmla="*/ 65334 w 72795"/>
                  <a:gd name="connsiteY49" fmla="*/ 5861 h 62104"/>
                  <a:gd name="connsiteX50" fmla="*/ 65872 w 72795"/>
                  <a:gd name="connsiteY50" fmla="*/ 5741 h 62104"/>
                  <a:gd name="connsiteX51" fmla="*/ 55885 w 72795"/>
                  <a:gd name="connsiteY51" fmla="*/ 30920 h 62104"/>
                  <a:gd name="connsiteX52" fmla="*/ 57200 w 72795"/>
                  <a:gd name="connsiteY52" fmla="*/ 33312 h 62104"/>
                  <a:gd name="connsiteX53" fmla="*/ 61566 w 72795"/>
                  <a:gd name="connsiteY53" fmla="*/ 25059 h 62104"/>
                  <a:gd name="connsiteX54" fmla="*/ 65872 w 72795"/>
                  <a:gd name="connsiteY54" fmla="*/ 6100 h 62104"/>
                  <a:gd name="connsiteX55" fmla="*/ 65274 w 72795"/>
                  <a:gd name="connsiteY55" fmla="*/ 6220 h 62104"/>
                  <a:gd name="connsiteX56" fmla="*/ 55885 w 72795"/>
                  <a:gd name="connsiteY56" fmla="*/ 30920 h 62104"/>
                  <a:gd name="connsiteX57" fmla="*/ 58935 w 72795"/>
                  <a:gd name="connsiteY57" fmla="*/ 36482 h 62104"/>
                  <a:gd name="connsiteX58" fmla="*/ 61267 w 72795"/>
                  <a:gd name="connsiteY58" fmla="*/ 26255 h 62104"/>
                  <a:gd name="connsiteX59" fmla="*/ 57380 w 72795"/>
                  <a:gd name="connsiteY59" fmla="*/ 33612 h 62104"/>
                  <a:gd name="connsiteX60" fmla="*/ 58935 w 72795"/>
                  <a:gd name="connsiteY60" fmla="*/ 36482 h 62104"/>
                  <a:gd name="connsiteX61" fmla="*/ 55705 w 72795"/>
                  <a:gd name="connsiteY61" fmla="*/ 30561 h 62104"/>
                  <a:gd name="connsiteX62" fmla="*/ 64856 w 72795"/>
                  <a:gd name="connsiteY62" fmla="*/ 6340 h 62104"/>
                  <a:gd name="connsiteX63" fmla="*/ 44940 w 72795"/>
                  <a:gd name="connsiteY63" fmla="*/ 11005 h 62104"/>
                  <a:gd name="connsiteX64" fmla="*/ 55705 w 72795"/>
                  <a:gd name="connsiteY64" fmla="*/ 30561 h 62104"/>
                  <a:gd name="connsiteX65" fmla="*/ 49066 w 72795"/>
                  <a:gd name="connsiteY65" fmla="*/ 48743 h 62104"/>
                  <a:gd name="connsiteX66" fmla="*/ 57021 w 72795"/>
                  <a:gd name="connsiteY66" fmla="*/ 33671 h 62104"/>
                  <a:gd name="connsiteX67" fmla="*/ 55765 w 72795"/>
                  <a:gd name="connsiteY67" fmla="*/ 31339 h 62104"/>
                  <a:gd name="connsiteX68" fmla="*/ 49066 w 72795"/>
                  <a:gd name="connsiteY68" fmla="*/ 48743 h 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2795" h="62104">
                    <a:moveTo>
                      <a:pt x="72750" y="4366"/>
                    </a:moveTo>
                    <a:lnTo>
                      <a:pt x="61805" y="25119"/>
                    </a:lnTo>
                    <a:lnTo>
                      <a:pt x="59114" y="36901"/>
                    </a:lnTo>
                    <a:cubicBezTo>
                      <a:pt x="59114" y="36961"/>
                      <a:pt x="59055" y="37020"/>
                      <a:pt x="58995" y="37020"/>
                    </a:cubicBezTo>
                    <a:cubicBezTo>
                      <a:pt x="58935" y="37020"/>
                      <a:pt x="58875" y="37020"/>
                      <a:pt x="58815" y="36961"/>
                    </a:cubicBezTo>
                    <a:lnTo>
                      <a:pt x="57141" y="33911"/>
                    </a:lnTo>
                    <a:lnTo>
                      <a:pt x="47811" y="51613"/>
                    </a:lnTo>
                    <a:cubicBezTo>
                      <a:pt x="47811" y="51613"/>
                      <a:pt x="47811" y="51613"/>
                      <a:pt x="47811" y="51613"/>
                    </a:cubicBezTo>
                    <a:cubicBezTo>
                      <a:pt x="47811" y="51673"/>
                      <a:pt x="47751" y="51673"/>
                      <a:pt x="47691" y="51673"/>
                    </a:cubicBezTo>
                    <a:lnTo>
                      <a:pt x="47691" y="51673"/>
                    </a:lnTo>
                    <a:cubicBezTo>
                      <a:pt x="47691" y="51673"/>
                      <a:pt x="47691" y="51673"/>
                      <a:pt x="47691" y="51673"/>
                    </a:cubicBezTo>
                    <a:lnTo>
                      <a:pt x="47691" y="51673"/>
                    </a:lnTo>
                    <a:lnTo>
                      <a:pt x="47691" y="51673"/>
                    </a:lnTo>
                    <a:lnTo>
                      <a:pt x="47691" y="51673"/>
                    </a:lnTo>
                    <a:cubicBezTo>
                      <a:pt x="47691" y="51673"/>
                      <a:pt x="47691" y="51673"/>
                      <a:pt x="47691" y="51673"/>
                    </a:cubicBezTo>
                    <a:lnTo>
                      <a:pt x="47691" y="51673"/>
                    </a:lnTo>
                    <a:lnTo>
                      <a:pt x="47691" y="51673"/>
                    </a:lnTo>
                    <a:lnTo>
                      <a:pt x="47691" y="51673"/>
                    </a:lnTo>
                    <a:cubicBezTo>
                      <a:pt x="47631" y="51673"/>
                      <a:pt x="47631" y="51673"/>
                      <a:pt x="47631" y="51673"/>
                    </a:cubicBezTo>
                    <a:lnTo>
                      <a:pt x="7979" y="37858"/>
                    </a:lnTo>
                    <a:lnTo>
                      <a:pt x="12225" y="56877"/>
                    </a:lnTo>
                    <a:cubicBezTo>
                      <a:pt x="12225" y="56936"/>
                      <a:pt x="12225" y="57056"/>
                      <a:pt x="12106" y="57056"/>
                    </a:cubicBezTo>
                    <a:lnTo>
                      <a:pt x="264" y="62080"/>
                    </a:lnTo>
                    <a:cubicBezTo>
                      <a:pt x="204" y="62140"/>
                      <a:pt x="84" y="62080"/>
                      <a:pt x="25" y="62020"/>
                    </a:cubicBezTo>
                    <a:cubicBezTo>
                      <a:pt x="-35" y="61960"/>
                      <a:pt x="25" y="61841"/>
                      <a:pt x="84" y="61781"/>
                    </a:cubicBezTo>
                    <a:lnTo>
                      <a:pt x="11807" y="56817"/>
                    </a:lnTo>
                    <a:lnTo>
                      <a:pt x="7501" y="37619"/>
                    </a:lnTo>
                    <a:cubicBezTo>
                      <a:pt x="7501" y="37559"/>
                      <a:pt x="7501" y="37499"/>
                      <a:pt x="7560" y="37439"/>
                    </a:cubicBezTo>
                    <a:cubicBezTo>
                      <a:pt x="7620" y="37380"/>
                      <a:pt x="7680" y="37380"/>
                      <a:pt x="7740" y="37380"/>
                    </a:cubicBezTo>
                    <a:lnTo>
                      <a:pt x="47571" y="51255"/>
                    </a:lnTo>
                    <a:cubicBezTo>
                      <a:pt x="48170" y="49999"/>
                      <a:pt x="51579" y="40908"/>
                      <a:pt x="55466" y="30801"/>
                    </a:cubicBezTo>
                    <a:lnTo>
                      <a:pt x="44462" y="10825"/>
                    </a:lnTo>
                    <a:cubicBezTo>
                      <a:pt x="44462" y="10765"/>
                      <a:pt x="44462" y="10705"/>
                      <a:pt x="44462" y="10705"/>
                    </a:cubicBezTo>
                    <a:cubicBezTo>
                      <a:pt x="44462" y="10646"/>
                      <a:pt x="44521" y="10646"/>
                      <a:pt x="44581" y="10586"/>
                    </a:cubicBezTo>
                    <a:lnTo>
                      <a:pt x="64915" y="5801"/>
                    </a:lnTo>
                    <a:cubicBezTo>
                      <a:pt x="66231" y="2392"/>
                      <a:pt x="67009" y="239"/>
                      <a:pt x="67068" y="120"/>
                    </a:cubicBezTo>
                    <a:cubicBezTo>
                      <a:pt x="67128" y="60"/>
                      <a:pt x="67188" y="0"/>
                      <a:pt x="67248" y="0"/>
                    </a:cubicBezTo>
                    <a:cubicBezTo>
                      <a:pt x="67308" y="0"/>
                      <a:pt x="67367" y="120"/>
                      <a:pt x="67367" y="179"/>
                    </a:cubicBezTo>
                    <a:lnTo>
                      <a:pt x="66172" y="5502"/>
                    </a:lnTo>
                    <a:lnTo>
                      <a:pt x="72511" y="4007"/>
                    </a:lnTo>
                    <a:cubicBezTo>
                      <a:pt x="72571" y="4007"/>
                      <a:pt x="72631" y="4007"/>
                      <a:pt x="72690" y="4067"/>
                    </a:cubicBezTo>
                    <a:cubicBezTo>
                      <a:pt x="72810" y="4246"/>
                      <a:pt x="72810" y="4306"/>
                      <a:pt x="72750" y="4366"/>
                    </a:cubicBezTo>
                    <a:cubicBezTo>
                      <a:pt x="72810" y="4366"/>
                      <a:pt x="72810" y="4366"/>
                      <a:pt x="72750" y="4366"/>
                    </a:cubicBezTo>
                    <a:close/>
                    <a:moveTo>
                      <a:pt x="62105" y="23983"/>
                    </a:moveTo>
                    <a:lnTo>
                      <a:pt x="72332" y="4605"/>
                    </a:lnTo>
                    <a:lnTo>
                      <a:pt x="66172" y="6040"/>
                    </a:lnTo>
                    <a:lnTo>
                      <a:pt x="62105" y="23983"/>
                    </a:lnTo>
                    <a:close/>
                    <a:moveTo>
                      <a:pt x="65872" y="5741"/>
                    </a:moveTo>
                    <a:lnTo>
                      <a:pt x="66590" y="2572"/>
                    </a:lnTo>
                    <a:cubicBezTo>
                      <a:pt x="66231" y="3469"/>
                      <a:pt x="65813" y="4605"/>
                      <a:pt x="65334" y="5861"/>
                    </a:cubicBezTo>
                    <a:lnTo>
                      <a:pt x="65872" y="5741"/>
                    </a:lnTo>
                    <a:close/>
                    <a:moveTo>
                      <a:pt x="55885" y="30920"/>
                    </a:moveTo>
                    <a:lnTo>
                      <a:pt x="57200" y="33312"/>
                    </a:lnTo>
                    <a:lnTo>
                      <a:pt x="61566" y="25059"/>
                    </a:lnTo>
                    <a:lnTo>
                      <a:pt x="65872" y="6100"/>
                    </a:lnTo>
                    <a:lnTo>
                      <a:pt x="65274" y="6220"/>
                    </a:lnTo>
                    <a:cubicBezTo>
                      <a:pt x="62942" y="12260"/>
                      <a:pt x="59294" y="22009"/>
                      <a:pt x="55885" y="30920"/>
                    </a:cubicBezTo>
                    <a:close/>
                    <a:moveTo>
                      <a:pt x="58935" y="36482"/>
                    </a:moveTo>
                    <a:lnTo>
                      <a:pt x="61267" y="26255"/>
                    </a:lnTo>
                    <a:lnTo>
                      <a:pt x="57380" y="33612"/>
                    </a:lnTo>
                    <a:lnTo>
                      <a:pt x="58935" y="36482"/>
                    </a:lnTo>
                    <a:close/>
                    <a:moveTo>
                      <a:pt x="55705" y="30561"/>
                    </a:moveTo>
                    <a:cubicBezTo>
                      <a:pt x="59055" y="21830"/>
                      <a:pt x="62643" y="12320"/>
                      <a:pt x="64856" y="6340"/>
                    </a:cubicBezTo>
                    <a:lnTo>
                      <a:pt x="44940" y="11005"/>
                    </a:lnTo>
                    <a:lnTo>
                      <a:pt x="55705" y="30561"/>
                    </a:lnTo>
                    <a:close/>
                    <a:moveTo>
                      <a:pt x="49066" y="48743"/>
                    </a:moveTo>
                    <a:lnTo>
                      <a:pt x="57021" y="33671"/>
                    </a:lnTo>
                    <a:lnTo>
                      <a:pt x="55765" y="31339"/>
                    </a:lnTo>
                    <a:cubicBezTo>
                      <a:pt x="53014" y="38456"/>
                      <a:pt x="50502" y="45035"/>
                      <a:pt x="49066" y="4874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56" name="Vrije vorm: vorm 8855">
                <a:extLst>
                  <a:ext uri="{FF2B5EF4-FFF2-40B4-BE49-F238E27FC236}">
                    <a16:creationId xmlns:a16="http://schemas.microsoft.com/office/drawing/2014/main" id="{98BE60DD-7247-4EA6-BB28-8801FB054D22}"/>
                  </a:ext>
                </a:extLst>
              </p:cNvPr>
              <p:cNvSpPr/>
              <p:nvPr/>
            </p:nvSpPr>
            <p:spPr>
              <a:xfrm>
                <a:off x="4278962" y="2596989"/>
                <a:ext cx="76338" cy="46589"/>
              </a:xfrm>
              <a:custGeom>
                <a:avLst/>
                <a:gdLst>
                  <a:gd name="connsiteX0" fmla="*/ 76339 w 76338"/>
                  <a:gd name="connsiteY0" fmla="*/ 1435 h 46589"/>
                  <a:gd name="connsiteX1" fmla="*/ 76339 w 76338"/>
                  <a:gd name="connsiteY1" fmla="*/ 1435 h 46589"/>
                  <a:gd name="connsiteX2" fmla="*/ 76159 w 76338"/>
                  <a:gd name="connsiteY2" fmla="*/ 1256 h 46589"/>
                  <a:gd name="connsiteX3" fmla="*/ 46854 w 76338"/>
                  <a:gd name="connsiteY3" fmla="*/ 0 h 46589"/>
                  <a:gd name="connsiteX4" fmla="*/ 46674 w 76338"/>
                  <a:gd name="connsiteY4" fmla="*/ 120 h 46589"/>
                  <a:gd name="connsiteX5" fmla="*/ 46674 w 76338"/>
                  <a:gd name="connsiteY5" fmla="*/ 120 h 46589"/>
                  <a:gd name="connsiteX6" fmla="*/ 41052 w 76338"/>
                  <a:gd name="connsiteY6" fmla="*/ 43600 h 46589"/>
                  <a:gd name="connsiteX7" fmla="*/ 8816 w 76338"/>
                  <a:gd name="connsiteY7" fmla="*/ 27631 h 46589"/>
                  <a:gd name="connsiteX8" fmla="*/ 8697 w 76338"/>
                  <a:gd name="connsiteY8" fmla="*/ 27631 h 46589"/>
                  <a:gd name="connsiteX9" fmla="*/ 8637 w 76338"/>
                  <a:gd name="connsiteY9" fmla="*/ 27751 h 46589"/>
                  <a:gd name="connsiteX10" fmla="*/ 4809 w 76338"/>
                  <a:gd name="connsiteY10" fmla="*/ 45872 h 46589"/>
                  <a:gd name="connsiteX11" fmla="*/ 324 w 76338"/>
                  <a:gd name="connsiteY11" fmla="*/ 35526 h 46589"/>
                  <a:gd name="connsiteX12" fmla="*/ 85 w 76338"/>
                  <a:gd name="connsiteY12" fmla="*/ 35466 h 46589"/>
                  <a:gd name="connsiteX13" fmla="*/ 25 w 76338"/>
                  <a:gd name="connsiteY13" fmla="*/ 35705 h 46589"/>
                  <a:gd name="connsiteX14" fmla="*/ 4690 w 76338"/>
                  <a:gd name="connsiteY14" fmla="*/ 46470 h 46589"/>
                  <a:gd name="connsiteX15" fmla="*/ 4869 w 76338"/>
                  <a:gd name="connsiteY15" fmla="*/ 46590 h 46589"/>
                  <a:gd name="connsiteX16" fmla="*/ 4989 w 76338"/>
                  <a:gd name="connsiteY16" fmla="*/ 46470 h 46589"/>
                  <a:gd name="connsiteX17" fmla="*/ 8876 w 76338"/>
                  <a:gd name="connsiteY17" fmla="*/ 28050 h 46589"/>
                  <a:gd name="connsiteX18" fmla="*/ 41172 w 76338"/>
                  <a:gd name="connsiteY18" fmla="*/ 44018 h 46589"/>
                  <a:gd name="connsiteX19" fmla="*/ 41292 w 76338"/>
                  <a:gd name="connsiteY19" fmla="*/ 44018 h 46589"/>
                  <a:gd name="connsiteX20" fmla="*/ 41351 w 76338"/>
                  <a:gd name="connsiteY20" fmla="*/ 43899 h 46589"/>
                  <a:gd name="connsiteX21" fmla="*/ 46973 w 76338"/>
                  <a:gd name="connsiteY21" fmla="*/ 299 h 46589"/>
                  <a:gd name="connsiteX22" fmla="*/ 76159 w 76338"/>
                  <a:gd name="connsiteY22" fmla="*/ 1555 h 46589"/>
                  <a:gd name="connsiteX23" fmla="*/ 76339 w 76338"/>
                  <a:gd name="connsiteY23" fmla="*/ 1435 h 4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338" h="46589">
                    <a:moveTo>
                      <a:pt x="76339" y="1435"/>
                    </a:moveTo>
                    <a:cubicBezTo>
                      <a:pt x="76339" y="1435"/>
                      <a:pt x="76339" y="1435"/>
                      <a:pt x="76339" y="1435"/>
                    </a:cubicBezTo>
                    <a:cubicBezTo>
                      <a:pt x="76339" y="1316"/>
                      <a:pt x="76279" y="1256"/>
                      <a:pt x="76159" y="1256"/>
                    </a:cubicBezTo>
                    <a:lnTo>
                      <a:pt x="46854" y="0"/>
                    </a:lnTo>
                    <a:cubicBezTo>
                      <a:pt x="46794" y="0"/>
                      <a:pt x="46674" y="60"/>
                      <a:pt x="46674" y="120"/>
                    </a:cubicBezTo>
                    <a:cubicBezTo>
                      <a:pt x="46674" y="120"/>
                      <a:pt x="46674" y="120"/>
                      <a:pt x="46674" y="120"/>
                    </a:cubicBezTo>
                    <a:lnTo>
                      <a:pt x="41052" y="43600"/>
                    </a:lnTo>
                    <a:lnTo>
                      <a:pt x="8816" y="27631"/>
                    </a:lnTo>
                    <a:cubicBezTo>
                      <a:pt x="8756" y="27631"/>
                      <a:pt x="8697" y="27631"/>
                      <a:pt x="8697" y="27631"/>
                    </a:cubicBezTo>
                    <a:cubicBezTo>
                      <a:pt x="8637" y="27631"/>
                      <a:pt x="8637" y="27691"/>
                      <a:pt x="8637" y="27751"/>
                    </a:cubicBezTo>
                    <a:lnTo>
                      <a:pt x="4809" y="45872"/>
                    </a:lnTo>
                    <a:lnTo>
                      <a:pt x="324" y="35526"/>
                    </a:lnTo>
                    <a:cubicBezTo>
                      <a:pt x="264" y="35466"/>
                      <a:pt x="204" y="35406"/>
                      <a:pt x="85" y="35466"/>
                    </a:cubicBezTo>
                    <a:cubicBezTo>
                      <a:pt x="25" y="35526"/>
                      <a:pt x="-35" y="35585"/>
                      <a:pt x="25" y="35705"/>
                    </a:cubicBezTo>
                    <a:lnTo>
                      <a:pt x="4690" y="46470"/>
                    </a:lnTo>
                    <a:cubicBezTo>
                      <a:pt x="4690" y="46530"/>
                      <a:pt x="4809" y="46590"/>
                      <a:pt x="4869" y="46590"/>
                    </a:cubicBezTo>
                    <a:cubicBezTo>
                      <a:pt x="4929" y="46590"/>
                      <a:pt x="4989" y="46530"/>
                      <a:pt x="4989" y="46470"/>
                    </a:cubicBezTo>
                    <a:lnTo>
                      <a:pt x="8876" y="28050"/>
                    </a:lnTo>
                    <a:lnTo>
                      <a:pt x="41172" y="44018"/>
                    </a:lnTo>
                    <a:cubicBezTo>
                      <a:pt x="41232" y="44018"/>
                      <a:pt x="41292" y="44018"/>
                      <a:pt x="41292" y="44018"/>
                    </a:cubicBezTo>
                    <a:cubicBezTo>
                      <a:pt x="41351" y="44018"/>
                      <a:pt x="41351" y="43958"/>
                      <a:pt x="41351" y="43899"/>
                    </a:cubicBezTo>
                    <a:lnTo>
                      <a:pt x="46973" y="299"/>
                    </a:lnTo>
                    <a:lnTo>
                      <a:pt x="76159" y="1555"/>
                    </a:lnTo>
                    <a:cubicBezTo>
                      <a:pt x="76279" y="1555"/>
                      <a:pt x="76339" y="1495"/>
                      <a:pt x="76339" y="143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57" name="Vrije vorm: vorm 8856">
                <a:extLst>
                  <a:ext uri="{FF2B5EF4-FFF2-40B4-BE49-F238E27FC236}">
                    <a16:creationId xmlns:a16="http://schemas.microsoft.com/office/drawing/2014/main" id="{2F9139E9-CB67-411F-824A-9877478CE010}"/>
                  </a:ext>
                </a:extLst>
              </p:cNvPr>
              <p:cNvSpPr/>
              <p:nvPr/>
            </p:nvSpPr>
            <p:spPr>
              <a:xfrm>
                <a:off x="4287539" y="2624680"/>
                <a:ext cx="4365" cy="20633"/>
              </a:xfrm>
              <a:custGeom>
                <a:avLst/>
                <a:gdLst>
                  <a:gd name="connsiteX0" fmla="*/ 4366 w 4365"/>
                  <a:gd name="connsiteY0" fmla="*/ 20514 h 20633"/>
                  <a:gd name="connsiteX1" fmla="*/ 4366 w 4365"/>
                  <a:gd name="connsiteY1" fmla="*/ 20454 h 20633"/>
                  <a:gd name="connsiteX2" fmla="*/ 299 w 4365"/>
                  <a:gd name="connsiteY2" fmla="*/ 120 h 20633"/>
                  <a:gd name="connsiteX3" fmla="*/ 120 w 4365"/>
                  <a:gd name="connsiteY3" fmla="*/ 0 h 20633"/>
                  <a:gd name="connsiteX4" fmla="*/ 0 w 4365"/>
                  <a:gd name="connsiteY4" fmla="*/ 179 h 20633"/>
                  <a:gd name="connsiteX5" fmla="*/ 4067 w 4365"/>
                  <a:gd name="connsiteY5" fmla="*/ 20514 h 20633"/>
                  <a:gd name="connsiteX6" fmla="*/ 4246 w 4365"/>
                  <a:gd name="connsiteY6" fmla="*/ 20634 h 20633"/>
                  <a:gd name="connsiteX7" fmla="*/ 4366 w 4365"/>
                  <a:gd name="connsiteY7" fmla="*/ 20514 h 2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5" h="20633">
                    <a:moveTo>
                      <a:pt x="4366" y="20514"/>
                    </a:moveTo>
                    <a:cubicBezTo>
                      <a:pt x="4366" y="20514"/>
                      <a:pt x="4366" y="20454"/>
                      <a:pt x="4366" y="20454"/>
                    </a:cubicBezTo>
                    <a:lnTo>
                      <a:pt x="299" y="120"/>
                    </a:lnTo>
                    <a:cubicBezTo>
                      <a:pt x="299" y="60"/>
                      <a:pt x="179" y="0"/>
                      <a:pt x="120" y="0"/>
                    </a:cubicBezTo>
                    <a:cubicBezTo>
                      <a:pt x="60" y="0"/>
                      <a:pt x="0" y="120"/>
                      <a:pt x="0" y="179"/>
                    </a:cubicBezTo>
                    <a:lnTo>
                      <a:pt x="4067" y="20514"/>
                    </a:lnTo>
                    <a:cubicBezTo>
                      <a:pt x="4067" y="20574"/>
                      <a:pt x="4187" y="20634"/>
                      <a:pt x="4246" y="20634"/>
                    </a:cubicBezTo>
                    <a:cubicBezTo>
                      <a:pt x="4306" y="20634"/>
                      <a:pt x="4366" y="20574"/>
                      <a:pt x="4366" y="2051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58" name="Vrije vorm: vorm 8857">
                <a:extLst>
                  <a:ext uri="{FF2B5EF4-FFF2-40B4-BE49-F238E27FC236}">
                    <a16:creationId xmlns:a16="http://schemas.microsoft.com/office/drawing/2014/main" id="{31994B93-A5C0-4302-A04F-6A613A757183}"/>
                  </a:ext>
                </a:extLst>
              </p:cNvPr>
              <p:cNvSpPr/>
              <p:nvPr/>
            </p:nvSpPr>
            <p:spPr>
              <a:xfrm>
                <a:off x="4543933" y="2444600"/>
                <a:ext cx="1375" cy="34508"/>
              </a:xfrm>
              <a:custGeom>
                <a:avLst/>
                <a:gdLst>
                  <a:gd name="connsiteX0" fmla="*/ 1375 w 1375"/>
                  <a:gd name="connsiteY0" fmla="*/ 34389 h 34508"/>
                  <a:gd name="connsiteX1" fmla="*/ 1375 w 1375"/>
                  <a:gd name="connsiteY1" fmla="*/ 34389 h 34508"/>
                  <a:gd name="connsiteX2" fmla="*/ 359 w 1375"/>
                  <a:gd name="connsiteY2" fmla="*/ 179 h 34508"/>
                  <a:gd name="connsiteX3" fmla="*/ 180 w 1375"/>
                  <a:gd name="connsiteY3" fmla="*/ 0 h 34508"/>
                  <a:gd name="connsiteX4" fmla="*/ 0 w 1375"/>
                  <a:gd name="connsiteY4" fmla="*/ 179 h 34508"/>
                  <a:gd name="connsiteX5" fmla="*/ 1017 w 1375"/>
                  <a:gd name="connsiteY5" fmla="*/ 34329 h 34508"/>
                  <a:gd name="connsiteX6" fmla="*/ 1196 w 1375"/>
                  <a:gd name="connsiteY6" fmla="*/ 34509 h 34508"/>
                  <a:gd name="connsiteX7" fmla="*/ 1375 w 1375"/>
                  <a:gd name="connsiteY7" fmla="*/ 34389 h 3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5" h="34508">
                    <a:moveTo>
                      <a:pt x="1375" y="34389"/>
                    </a:moveTo>
                    <a:cubicBezTo>
                      <a:pt x="1375" y="34389"/>
                      <a:pt x="1375" y="34389"/>
                      <a:pt x="1375" y="34389"/>
                    </a:cubicBezTo>
                    <a:lnTo>
                      <a:pt x="359" y="179"/>
                    </a:lnTo>
                    <a:cubicBezTo>
                      <a:pt x="359" y="60"/>
                      <a:pt x="299" y="0"/>
                      <a:pt x="180" y="0"/>
                    </a:cubicBezTo>
                    <a:cubicBezTo>
                      <a:pt x="60" y="0"/>
                      <a:pt x="0" y="60"/>
                      <a:pt x="0" y="179"/>
                    </a:cubicBezTo>
                    <a:lnTo>
                      <a:pt x="1017" y="34329"/>
                    </a:lnTo>
                    <a:cubicBezTo>
                      <a:pt x="1017" y="34449"/>
                      <a:pt x="1076" y="34509"/>
                      <a:pt x="1196" y="34509"/>
                    </a:cubicBezTo>
                    <a:cubicBezTo>
                      <a:pt x="1316" y="34509"/>
                      <a:pt x="1375" y="34449"/>
                      <a:pt x="1375" y="3438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59" name="Vrije vorm: vorm 8858">
                <a:extLst>
                  <a:ext uri="{FF2B5EF4-FFF2-40B4-BE49-F238E27FC236}">
                    <a16:creationId xmlns:a16="http://schemas.microsoft.com/office/drawing/2014/main" id="{2FDA3FBF-08D3-4D76-8FF8-1AA9DD19A539}"/>
                  </a:ext>
                </a:extLst>
              </p:cNvPr>
              <p:cNvSpPr/>
              <p:nvPr/>
            </p:nvSpPr>
            <p:spPr>
              <a:xfrm>
                <a:off x="4530656" y="2452794"/>
                <a:ext cx="24759" cy="7176"/>
              </a:xfrm>
              <a:custGeom>
                <a:avLst/>
                <a:gdLst>
                  <a:gd name="connsiteX0" fmla="*/ 24760 w 24759"/>
                  <a:gd name="connsiteY0" fmla="*/ 7057 h 7176"/>
                  <a:gd name="connsiteX1" fmla="*/ 24641 w 24759"/>
                  <a:gd name="connsiteY1" fmla="*/ 6878 h 7176"/>
                  <a:gd name="connsiteX2" fmla="*/ 179 w 24759"/>
                  <a:gd name="connsiteY2" fmla="*/ 0 h 7176"/>
                  <a:gd name="connsiteX3" fmla="*/ 0 w 24759"/>
                  <a:gd name="connsiteY3" fmla="*/ 120 h 7176"/>
                  <a:gd name="connsiteX4" fmla="*/ 119 w 24759"/>
                  <a:gd name="connsiteY4" fmla="*/ 299 h 7176"/>
                  <a:gd name="connsiteX5" fmla="*/ 24581 w 24759"/>
                  <a:gd name="connsiteY5" fmla="*/ 7177 h 7176"/>
                  <a:gd name="connsiteX6" fmla="*/ 24760 w 24759"/>
                  <a:gd name="connsiteY6" fmla="*/ 7057 h 7176"/>
                  <a:gd name="connsiteX7" fmla="*/ 24760 w 24759"/>
                  <a:gd name="connsiteY7" fmla="*/ 7057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59" h="7176">
                    <a:moveTo>
                      <a:pt x="24760" y="7057"/>
                    </a:moveTo>
                    <a:cubicBezTo>
                      <a:pt x="24760" y="6998"/>
                      <a:pt x="24700" y="6878"/>
                      <a:pt x="24641" y="6878"/>
                    </a:cubicBezTo>
                    <a:lnTo>
                      <a:pt x="179" y="0"/>
                    </a:lnTo>
                    <a:cubicBezTo>
                      <a:pt x="119" y="0"/>
                      <a:pt x="0" y="0"/>
                      <a:pt x="0" y="120"/>
                    </a:cubicBezTo>
                    <a:cubicBezTo>
                      <a:pt x="0" y="239"/>
                      <a:pt x="0" y="299"/>
                      <a:pt x="119" y="299"/>
                    </a:cubicBezTo>
                    <a:lnTo>
                      <a:pt x="24581" y="7177"/>
                    </a:lnTo>
                    <a:cubicBezTo>
                      <a:pt x="24641" y="7177"/>
                      <a:pt x="24700" y="7117"/>
                      <a:pt x="24760" y="7057"/>
                    </a:cubicBezTo>
                    <a:cubicBezTo>
                      <a:pt x="24760" y="7057"/>
                      <a:pt x="24760" y="7057"/>
                      <a:pt x="24760" y="705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60" name="Vrije vorm: vorm 8859">
                <a:extLst>
                  <a:ext uri="{FF2B5EF4-FFF2-40B4-BE49-F238E27FC236}">
                    <a16:creationId xmlns:a16="http://schemas.microsoft.com/office/drawing/2014/main" id="{478D64D6-5D39-4ADC-B123-9461383ABCC7}"/>
                  </a:ext>
                </a:extLst>
              </p:cNvPr>
              <p:cNvSpPr/>
              <p:nvPr/>
            </p:nvSpPr>
            <p:spPr>
              <a:xfrm>
                <a:off x="4328044" y="2541189"/>
                <a:ext cx="229764" cy="126238"/>
              </a:xfrm>
              <a:custGeom>
                <a:avLst/>
                <a:gdLst>
                  <a:gd name="connsiteX0" fmla="*/ 229764 w 229764"/>
                  <a:gd name="connsiteY0" fmla="*/ 179 h 126238"/>
                  <a:gd name="connsiteX1" fmla="*/ 229764 w 229764"/>
                  <a:gd name="connsiteY1" fmla="*/ 120 h 126238"/>
                  <a:gd name="connsiteX2" fmla="*/ 229585 w 229764"/>
                  <a:gd name="connsiteY2" fmla="*/ 0 h 126238"/>
                  <a:gd name="connsiteX3" fmla="*/ 77675 w 229764"/>
                  <a:gd name="connsiteY3" fmla="*/ 60824 h 126238"/>
                  <a:gd name="connsiteX4" fmla="*/ 77615 w 229764"/>
                  <a:gd name="connsiteY4" fmla="*/ 60824 h 126238"/>
                  <a:gd name="connsiteX5" fmla="*/ 45 w 229764"/>
                  <a:gd name="connsiteY5" fmla="*/ 125954 h 126238"/>
                  <a:gd name="connsiteX6" fmla="*/ 45 w 229764"/>
                  <a:gd name="connsiteY6" fmla="*/ 126193 h 126238"/>
                  <a:gd name="connsiteX7" fmla="*/ 284 w 229764"/>
                  <a:gd name="connsiteY7" fmla="*/ 126193 h 126238"/>
                  <a:gd name="connsiteX8" fmla="*/ 77854 w 229764"/>
                  <a:gd name="connsiteY8" fmla="*/ 61063 h 126238"/>
                  <a:gd name="connsiteX9" fmla="*/ 229764 w 229764"/>
                  <a:gd name="connsiteY9" fmla="*/ 239 h 126238"/>
                  <a:gd name="connsiteX10" fmla="*/ 229764 w 229764"/>
                  <a:gd name="connsiteY10" fmla="*/ 179 h 12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9764" h="126238">
                    <a:moveTo>
                      <a:pt x="229764" y="179"/>
                    </a:moveTo>
                    <a:cubicBezTo>
                      <a:pt x="229764" y="179"/>
                      <a:pt x="229764" y="120"/>
                      <a:pt x="229764" y="120"/>
                    </a:cubicBezTo>
                    <a:cubicBezTo>
                      <a:pt x="229705" y="60"/>
                      <a:pt x="229645" y="0"/>
                      <a:pt x="229585" y="0"/>
                    </a:cubicBezTo>
                    <a:lnTo>
                      <a:pt x="77675" y="60824"/>
                    </a:lnTo>
                    <a:cubicBezTo>
                      <a:pt x="77675" y="60824"/>
                      <a:pt x="77615" y="60824"/>
                      <a:pt x="77615" y="60824"/>
                    </a:cubicBezTo>
                    <a:lnTo>
                      <a:pt x="45" y="125954"/>
                    </a:lnTo>
                    <a:cubicBezTo>
                      <a:pt x="-15" y="126014"/>
                      <a:pt x="-15" y="126133"/>
                      <a:pt x="45" y="126193"/>
                    </a:cubicBezTo>
                    <a:cubicBezTo>
                      <a:pt x="104" y="126253"/>
                      <a:pt x="224" y="126253"/>
                      <a:pt x="284" y="126193"/>
                    </a:cubicBezTo>
                    <a:lnTo>
                      <a:pt x="77854" y="61063"/>
                    </a:lnTo>
                    <a:lnTo>
                      <a:pt x="229764" y="239"/>
                    </a:lnTo>
                    <a:cubicBezTo>
                      <a:pt x="229705" y="299"/>
                      <a:pt x="229764" y="239"/>
                      <a:pt x="229764"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61" name="Vrije vorm: vorm 8860">
                <a:extLst>
                  <a:ext uri="{FF2B5EF4-FFF2-40B4-BE49-F238E27FC236}">
                    <a16:creationId xmlns:a16="http://schemas.microsoft.com/office/drawing/2014/main" id="{9068A3DC-C817-43FF-98B3-F49136F16CD4}"/>
                  </a:ext>
                </a:extLst>
              </p:cNvPr>
              <p:cNvSpPr/>
              <p:nvPr/>
            </p:nvSpPr>
            <p:spPr>
              <a:xfrm>
                <a:off x="4494866" y="2444660"/>
                <a:ext cx="69460" cy="88240"/>
              </a:xfrm>
              <a:custGeom>
                <a:avLst/>
                <a:gdLst>
                  <a:gd name="connsiteX0" fmla="*/ 69461 w 69460"/>
                  <a:gd name="connsiteY0" fmla="*/ 38695 h 88240"/>
                  <a:gd name="connsiteX1" fmla="*/ 69461 w 69460"/>
                  <a:gd name="connsiteY1" fmla="*/ 38695 h 88240"/>
                  <a:gd name="connsiteX2" fmla="*/ 64078 w 69460"/>
                  <a:gd name="connsiteY2" fmla="*/ 1675 h 88240"/>
                  <a:gd name="connsiteX3" fmla="*/ 63959 w 69460"/>
                  <a:gd name="connsiteY3" fmla="*/ 1555 h 88240"/>
                  <a:gd name="connsiteX4" fmla="*/ 49306 w 69460"/>
                  <a:gd name="connsiteY4" fmla="*/ 0 h 88240"/>
                  <a:gd name="connsiteX5" fmla="*/ 49127 w 69460"/>
                  <a:gd name="connsiteY5" fmla="*/ 60 h 88240"/>
                  <a:gd name="connsiteX6" fmla="*/ 49127 w 69460"/>
                  <a:gd name="connsiteY6" fmla="*/ 239 h 88240"/>
                  <a:gd name="connsiteX7" fmla="*/ 60251 w 69460"/>
                  <a:gd name="connsiteY7" fmla="*/ 15251 h 88240"/>
                  <a:gd name="connsiteX8" fmla="*/ 60490 w 69460"/>
                  <a:gd name="connsiteY8" fmla="*/ 15311 h 88240"/>
                  <a:gd name="connsiteX9" fmla="*/ 60550 w 69460"/>
                  <a:gd name="connsiteY9" fmla="*/ 15072 h 88240"/>
                  <a:gd name="connsiteX10" fmla="*/ 49665 w 69460"/>
                  <a:gd name="connsiteY10" fmla="*/ 359 h 88240"/>
                  <a:gd name="connsiteX11" fmla="*/ 63839 w 69460"/>
                  <a:gd name="connsiteY11" fmla="*/ 1854 h 88240"/>
                  <a:gd name="connsiteX12" fmla="*/ 69162 w 69460"/>
                  <a:gd name="connsiteY12" fmla="*/ 38576 h 88240"/>
                  <a:gd name="connsiteX13" fmla="*/ 85 w 69460"/>
                  <a:gd name="connsiteY13" fmla="*/ 87917 h 88240"/>
                  <a:gd name="connsiteX14" fmla="*/ 25 w 69460"/>
                  <a:gd name="connsiteY14" fmla="*/ 88156 h 88240"/>
                  <a:gd name="connsiteX15" fmla="*/ 264 w 69460"/>
                  <a:gd name="connsiteY15" fmla="*/ 88216 h 88240"/>
                  <a:gd name="connsiteX16" fmla="*/ 69461 w 69460"/>
                  <a:gd name="connsiteY16" fmla="*/ 38815 h 88240"/>
                  <a:gd name="connsiteX17" fmla="*/ 69461 w 69460"/>
                  <a:gd name="connsiteY17" fmla="*/ 38695 h 8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460" h="88240">
                    <a:moveTo>
                      <a:pt x="69461" y="38695"/>
                    </a:moveTo>
                    <a:cubicBezTo>
                      <a:pt x="69461" y="38636"/>
                      <a:pt x="69461" y="38636"/>
                      <a:pt x="69461" y="38695"/>
                    </a:cubicBezTo>
                    <a:lnTo>
                      <a:pt x="64078" y="1675"/>
                    </a:lnTo>
                    <a:cubicBezTo>
                      <a:pt x="64078" y="1615"/>
                      <a:pt x="64019" y="1555"/>
                      <a:pt x="63959" y="1555"/>
                    </a:cubicBezTo>
                    <a:lnTo>
                      <a:pt x="49306" y="0"/>
                    </a:lnTo>
                    <a:cubicBezTo>
                      <a:pt x="49246" y="0"/>
                      <a:pt x="49187" y="0"/>
                      <a:pt x="49127" y="60"/>
                    </a:cubicBezTo>
                    <a:cubicBezTo>
                      <a:pt x="49067" y="120"/>
                      <a:pt x="49067" y="180"/>
                      <a:pt x="49127" y="239"/>
                    </a:cubicBezTo>
                    <a:lnTo>
                      <a:pt x="60251" y="15251"/>
                    </a:lnTo>
                    <a:cubicBezTo>
                      <a:pt x="60311" y="15311"/>
                      <a:pt x="60430" y="15311"/>
                      <a:pt x="60490" y="15311"/>
                    </a:cubicBezTo>
                    <a:cubicBezTo>
                      <a:pt x="60550" y="15251"/>
                      <a:pt x="60610" y="15131"/>
                      <a:pt x="60550" y="15072"/>
                    </a:cubicBezTo>
                    <a:lnTo>
                      <a:pt x="49665" y="359"/>
                    </a:lnTo>
                    <a:lnTo>
                      <a:pt x="63839" y="1854"/>
                    </a:lnTo>
                    <a:lnTo>
                      <a:pt x="69162" y="38576"/>
                    </a:lnTo>
                    <a:lnTo>
                      <a:pt x="85" y="87917"/>
                    </a:lnTo>
                    <a:cubicBezTo>
                      <a:pt x="25" y="87977"/>
                      <a:pt x="-35" y="88036"/>
                      <a:pt x="25" y="88156"/>
                    </a:cubicBezTo>
                    <a:cubicBezTo>
                      <a:pt x="85" y="88216"/>
                      <a:pt x="204" y="88276"/>
                      <a:pt x="264" y="88216"/>
                    </a:cubicBezTo>
                    <a:lnTo>
                      <a:pt x="69461" y="38815"/>
                    </a:lnTo>
                    <a:cubicBezTo>
                      <a:pt x="69401" y="38755"/>
                      <a:pt x="69461" y="38695"/>
                      <a:pt x="69461" y="3869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62" name="Vrije vorm: vorm 8861">
                <a:extLst>
                  <a:ext uri="{FF2B5EF4-FFF2-40B4-BE49-F238E27FC236}">
                    <a16:creationId xmlns:a16="http://schemas.microsoft.com/office/drawing/2014/main" id="{91C7E8C1-BAA6-4C4F-A7AE-5E18CD336F24}"/>
                  </a:ext>
                </a:extLst>
              </p:cNvPr>
              <p:cNvSpPr/>
              <p:nvPr/>
            </p:nvSpPr>
            <p:spPr>
              <a:xfrm>
                <a:off x="4472378" y="2511799"/>
                <a:ext cx="91111" cy="41196"/>
              </a:xfrm>
              <a:custGeom>
                <a:avLst/>
                <a:gdLst>
                  <a:gd name="connsiteX0" fmla="*/ 91111 w 91111"/>
                  <a:gd name="connsiteY0" fmla="*/ 204 h 41196"/>
                  <a:gd name="connsiteX1" fmla="*/ 91111 w 91111"/>
                  <a:gd name="connsiteY1" fmla="*/ 85 h 41196"/>
                  <a:gd name="connsiteX2" fmla="*/ 90872 w 91111"/>
                  <a:gd name="connsiteY2" fmla="*/ 25 h 41196"/>
                  <a:gd name="connsiteX3" fmla="*/ 85 w 91111"/>
                  <a:gd name="connsiteY3" fmla="*/ 40873 h 41196"/>
                  <a:gd name="connsiteX4" fmla="*/ 25 w 91111"/>
                  <a:gd name="connsiteY4" fmla="*/ 41112 h 41196"/>
                  <a:gd name="connsiteX5" fmla="*/ 264 w 91111"/>
                  <a:gd name="connsiteY5" fmla="*/ 41172 h 41196"/>
                  <a:gd name="connsiteX6" fmla="*/ 91051 w 91111"/>
                  <a:gd name="connsiteY6" fmla="*/ 324 h 41196"/>
                  <a:gd name="connsiteX7" fmla="*/ 91111 w 91111"/>
                  <a:gd name="connsiteY7" fmla="*/ 204 h 4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111" h="41196">
                    <a:moveTo>
                      <a:pt x="91111" y="204"/>
                    </a:moveTo>
                    <a:cubicBezTo>
                      <a:pt x="91111" y="144"/>
                      <a:pt x="91111" y="144"/>
                      <a:pt x="91111" y="85"/>
                    </a:cubicBezTo>
                    <a:cubicBezTo>
                      <a:pt x="91051" y="25"/>
                      <a:pt x="90992" y="-35"/>
                      <a:pt x="90872" y="25"/>
                    </a:cubicBezTo>
                    <a:lnTo>
                      <a:pt x="85" y="40873"/>
                    </a:lnTo>
                    <a:cubicBezTo>
                      <a:pt x="25" y="40933"/>
                      <a:pt x="-35" y="40993"/>
                      <a:pt x="25" y="41112"/>
                    </a:cubicBezTo>
                    <a:cubicBezTo>
                      <a:pt x="85" y="41172"/>
                      <a:pt x="144" y="41232"/>
                      <a:pt x="264" y="41172"/>
                    </a:cubicBezTo>
                    <a:lnTo>
                      <a:pt x="91051" y="324"/>
                    </a:lnTo>
                    <a:cubicBezTo>
                      <a:pt x="91051" y="324"/>
                      <a:pt x="91111" y="264"/>
                      <a:pt x="91111" y="20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63" name="Vrije vorm: vorm 8862">
                <a:extLst>
                  <a:ext uri="{FF2B5EF4-FFF2-40B4-BE49-F238E27FC236}">
                    <a16:creationId xmlns:a16="http://schemas.microsoft.com/office/drawing/2014/main" id="{AE5A236B-5D36-40FD-ADA9-B2529EE57ED0}"/>
                  </a:ext>
                </a:extLst>
              </p:cNvPr>
              <p:cNvSpPr/>
              <p:nvPr/>
            </p:nvSpPr>
            <p:spPr>
              <a:xfrm>
                <a:off x="4382189" y="2571726"/>
                <a:ext cx="65752" cy="105908"/>
              </a:xfrm>
              <a:custGeom>
                <a:avLst/>
                <a:gdLst>
                  <a:gd name="connsiteX0" fmla="*/ 65753 w 65752"/>
                  <a:gd name="connsiteY0" fmla="*/ 204 h 105908"/>
                  <a:gd name="connsiteX1" fmla="*/ 65693 w 65752"/>
                  <a:gd name="connsiteY1" fmla="*/ 25 h 105908"/>
                  <a:gd name="connsiteX2" fmla="*/ 65454 w 65752"/>
                  <a:gd name="connsiteY2" fmla="*/ 85 h 105908"/>
                  <a:gd name="connsiteX3" fmla="*/ 25 w 65752"/>
                  <a:gd name="connsiteY3" fmla="*/ 105644 h 105908"/>
                  <a:gd name="connsiteX4" fmla="*/ 85 w 65752"/>
                  <a:gd name="connsiteY4" fmla="*/ 105884 h 105908"/>
                  <a:gd name="connsiteX5" fmla="*/ 324 w 65752"/>
                  <a:gd name="connsiteY5" fmla="*/ 105824 h 105908"/>
                  <a:gd name="connsiteX6" fmla="*/ 65753 w 65752"/>
                  <a:gd name="connsiteY6" fmla="*/ 204 h 105908"/>
                  <a:gd name="connsiteX7" fmla="*/ 65753 w 65752"/>
                  <a:gd name="connsiteY7" fmla="*/ 204 h 105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52" h="105908">
                    <a:moveTo>
                      <a:pt x="65753" y="204"/>
                    </a:moveTo>
                    <a:cubicBezTo>
                      <a:pt x="65753" y="144"/>
                      <a:pt x="65753" y="85"/>
                      <a:pt x="65693" y="25"/>
                    </a:cubicBezTo>
                    <a:cubicBezTo>
                      <a:pt x="65633" y="-35"/>
                      <a:pt x="65513" y="25"/>
                      <a:pt x="65454" y="85"/>
                    </a:cubicBezTo>
                    <a:lnTo>
                      <a:pt x="25" y="105644"/>
                    </a:lnTo>
                    <a:cubicBezTo>
                      <a:pt x="-35" y="105704"/>
                      <a:pt x="25" y="105824"/>
                      <a:pt x="85" y="105884"/>
                    </a:cubicBezTo>
                    <a:cubicBezTo>
                      <a:pt x="144" y="105943"/>
                      <a:pt x="264" y="105884"/>
                      <a:pt x="324" y="105824"/>
                    </a:cubicBezTo>
                    <a:lnTo>
                      <a:pt x="65753" y="204"/>
                    </a:lnTo>
                    <a:cubicBezTo>
                      <a:pt x="65753" y="264"/>
                      <a:pt x="65753" y="264"/>
                      <a:pt x="65753" y="20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64" name="Vrije vorm: vorm 8863">
                <a:extLst>
                  <a:ext uri="{FF2B5EF4-FFF2-40B4-BE49-F238E27FC236}">
                    <a16:creationId xmlns:a16="http://schemas.microsoft.com/office/drawing/2014/main" id="{84F70BE9-8299-404F-99A0-274B4E94B854}"/>
                  </a:ext>
                </a:extLst>
              </p:cNvPr>
              <p:cNvSpPr/>
              <p:nvPr/>
            </p:nvSpPr>
            <p:spPr>
              <a:xfrm>
                <a:off x="4519831" y="2647705"/>
                <a:ext cx="78885" cy="21949"/>
              </a:xfrm>
              <a:custGeom>
                <a:avLst/>
                <a:gdLst>
                  <a:gd name="connsiteX0" fmla="*/ 78885 w 78885"/>
                  <a:gd name="connsiteY0" fmla="*/ 179 h 21949"/>
                  <a:gd name="connsiteX1" fmla="*/ 78885 w 78885"/>
                  <a:gd name="connsiteY1" fmla="*/ 120 h 21949"/>
                  <a:gd name="connsiteX2" fmla="*/ 78706 w 78885"/>
                  <a:gd name="connsiteY2" fmla="*/ 0 h 21949"/>
                  <a:gd name="connsiteX3" fmla="*/ 119 w 78885"/>
                  <a:gd name="connsiteY3" fmla="*/ 21650 h 21949"/>
                  <a:gd name="connsiteX4" fmla="*/ 0 w 78885"/>
                  <a:gd name="connsiteY4" fmla="*/ 21830 h 21949"/>
                  <a:gd name="connsiteX5" fmla="*/ 179 w 78885"/>
                  <a:gd name="connsiteY5" fmla="*/ 21949 h 21949"/>
                  <a:gd name="connsiteX6" fmla="*/ 78766 w 78885"/>
                  <a:gd name="connsiteY6" fmla="*/ 299 h 21949"/>
                  <a:gd name="connsiteX7" fmla="*/ 78885 w 78885"/>
                  <a:gd name="connsiteY7" fmla="*/ 179 h 2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85" h="21949">
                    <a:moveTo>
                      <a:pt x="78885" y="179"/>
                    </a:moveTo>
                    <a:cubicBezTo>
                      <a:pt x="78885" y="179"/>
                      <a:pt x="78885" y="120"/>
                      <a:pt x="78885" y="120"/>
                    </a:cubicBezTo>
                    <a:cubicBezTo>
                      <a:pt x="78885" y="60"/>
                      <a:pt x="78766" y="0"/>
                      <a:pt x="78706" y="0"/>
                    </a:cubicBezTo>
                    <a:lnTo>
                      <a:pt x="119" y="21650"/>
                    </a:lnTo>
                    <a:cubicBezTo>
                      <a:pt x="60" y="21650"/>
                      <a:pt x="0" y="21770"/>
                      <a:pt x="0" y="21830"/>
                    </a:cubicBezTo>
                    <a:cubicBezTo>
                      <a:pt x="0" y="21889"/>
                      <a:pt x="119" y="21949"/>
                      <a:pt x="179" y="21949"/>
                    </a:cubicBezTo>
                    <a:lnTo>
                      <a:pt x="78766" y="299"/>
                    </a:lnTo>
                    <a:cubicBezTo>
                      <a:pt x="78826" y="299"/>
                      <a:pt x="78885" y="239"/>
                      <a:pt x="78885"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65" name="Vrije vorm: vorm 8864">
                <a:extLst>
                  <a:ext uri="{FF2B5EF4-FFF2-40B4-BE49-F238E27FC236}">
                    <a16:creationId xmlns:a16="http://schemas.microsoft.com/office/drawing/2014/main" id="{70F25CD1-FE07-4CB4-B5EA-9163E9565C3B}"/>
                  </a:ext>
                </a:extLst>
              </p:cNvPr>
              <p:cNvSpPr/>
              <p:nvPr/>
            </p:nvSpPr>
            <p:spPr>
              <a:xfrm>
                <a:off x="4508542" y="2635879"/>
                <a:ext cx="26479" cy="21500"/>
              </a:xfrm>
              <a:custGeom>
                <a:avLst/>
                <a:gdLst>
                  <a:gd name="connsiteX0" fmla="*/ 26480 w 26479"/>
                  <a:gd name="connsiteY0" fmla="*/ 164 h 21500"/>
                  <a:gd name="connsiteX1" fmla="*/ 26420 w 26479"/>
                  <a:gd name="connsiteY1" fmla="*/ 45 h 21500"/>
                  <a:gd name="connsiteX2" fmla="*/ 26181 w 26479"/>
                  <a:gd name="connsiteY2" fmla="*/ 45 h 21500"/>
                  <a:gd name="connsiteX3" fmla="*/ 45 w 26479"/>
                  <a:gd name="connsiteY3" fmla="*/ 21217 h 21500"/>
                  <a:gd name="connsiteX4" fmla="*/ 45 w 26479"/>
                  <a:gd name="connsiteY4" fmla="*/ 21456 h 21500"/>
                  <a:gd name="connsiteX5" fmla="*/ 284 w 26479"/>
                  <a:gd name="connsiteY5" fmla="*/ 21456 h 21500"/>
                  <a:gd name="connsiteX6" fmla="*/ 26420 w 26479"/>
                  <a:gd name="connsiteY6" fmla="*/ 284 h 21500"/>
                  <a:gd name="connsiteX7" fmla="*/ 26480 w 26479"/>
                  <a:gd name="connsiteY7" fmla="*/ 164 h 2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79" h="21500">
                    <a:moveTo>
                      <a:pt x="26480" y="164"/>
                    </a:moveTo>
                    <a:cubicBezTo>
                      <a:pt x="26480" y="105"/>
                      <a:pt x="26480" y="45"/>
                      <a:pt x="26420" y="45"/>
                    </a:cubicBezTo>
                    <a:cubicBezTo>
                      <a:pt x="26360" y="-15"/>
                      <a:pt x="26240" y="-15"/>
                      <a:pt x="26181" y="45"/>
                    </a:cubicBezTo>
                    <a:lnTo>
                      <a:pt x="45" y="21217"/>
                    </a:lnTo>
                    <a:cubicBezTo>
                      <a:pt x="-15" y="21277"/>
                      <a:pt x="-15" y="21396"/>
                      <a:pt x="45" y="21456"/>
                    </a:cubicBezTo>
                    <a:cubicBezTo>
                      <a:pt x="104" y="21516"/>
                      <a:pt x="224" y="21516"/>
                      <a:pt x="284" y="21456"/>
                    </a:cubicBezTo>
                    <a:lnTo>
                      <a:pt x="26420" y="284"/>
                    </a:lnTo>
                    <a:cubicBezTo>
                      <a:pt x="26480" y="224"/>
                      <a:pt x="26480" y="224"/>
                      <a:pt x="26480" y="16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66" name="Vrije vorm: vorm 8865">
                <a:extLst>
                  <a:ext uri="{FF2B5EF4-FFF2-40B4-BE49-F238E27FC236}">
                    <a16:creationId xmlns:a16="http://schemas.microsoft.com/office/drawing/2014/main" id="{B0AC4E2C-D73F-4135-9F33-4839E7D69214}"/>
                  </a:ext>
                </a:extLst>
              </p:cNvPr>
              <p:cNvSpPr/>
              <p:nvPr/>
            </p:nvSpPr>
            <p:spPr>
              <a:xfrm>
                <a:off x="4507988" y="2628866"/>
                <a:ext cx="69209" cy="61242"/>
              </a:xfrm>
              <a:custGeom>
                <a:avLst/>
                <a:gdLst>
                  <a:gd name="connsiteX0" fmla="*/ 57893 w 69209"/>
                  <a:gd name="connsiteY0" fmla="*/ 61123 h 61242"/>
                  <a:gd name="connsiteX1" fmla="*/ 57714 w 69209"/>
                  <a:gd name="connsiteY1" fmla="*/ 61243 h 61242"/>
                  <a:gd name="connsiteX2" fmla="*/ 57535 w 69209"/>
                  <a:gd name="connsiteY2" fmla="*/ 61123 h 61242"/>
                  <a:gd name="connsiteX3" fmla="*/ 46709 w 69209"/>
                  <a:gd name="connsiteY3" fmla="*/ 4366 h 61242"/>
                  <a:gd name="connsiteX4" fmla="*/ 29425 w 69209"/>
                  <a:gd name="connsiteY4" fmla="*/ 22547 h 61242"/>
                  <a:gd name="connsiteX5" fmla="*/ 34389 w 69209"/>
                  <a:gd name="connsiteY5" fmla="*/ 50597 h 61242"/>
                  <a:gd name="connsiteX6" fmla="*/ 34329 w 69209"/>
                  <a:gd name="connsiteY6" fmla="*/ 50776 h 61242"/>
                  <a:gd name="connsiteX7" fmla="*/ 34150 w 69209"/>
                  <a:gd name="connsiteY7" fmla="*/ 50776 h 61242"/>
                  <a:gd name="connsiteX8" fmla="*/ 17404 w 69209"/>
                  <a:gd name="connsiteY8" fmla="*/ 35346 h 61242"/>
                  <a:gd name="connsiteX9" fmla="*/ 12201 w 69209"/>
                  <a:gd name="connsiteY9" fmla="*/ 40848 h 61242"/>
                  <a:gd name="connsiteX10" fmla="*/ 12021 w 69209"/>
                  <a:gd name="connsiteY10" fmla="*/ 40848 h 61242"/>
                  <a:gd name="connsiteX11" fmla="*/ 11961 w 69209"/>
                  <a:gd name="connsiteY11" fmla="*/ 40669 h 61242"/>
                  <a:gd name="connsiteX12" fmla="*/ 15251 w 69209"/>
                  <a:gd name="connsiteY12" fmla="*/ 33313 h 61242"/>
                  <a:gd name="connsiteX13" fmla="*/ 60 w 69209"/>
                  <a:gd name="connsiteY13" fmla="*/ 19318 h 61242"/>
                  <a:gd name="connsiteX14" fmla="*/ 0 w 69209"/>
                  <a:gd name="connsiteY14" fmla="*/ 19198 h 61242"/>
                  <a:gd name="connsiteX15" fmla="*/ 0 w 69209"/>
                  <a:gd name="connsiteY15" fmla="*/ 19198 h 61242"/>
                  <a:gd name="connsiteX16" fmla="*/ 120 w 69209"/>
                  <a:gd name="connsiteY16" fmla="*/ 19079 h 61242"/>
                  <a:gd name="connsiteX17" fmla="*/ 26973 w 69209"/>
                  <a:gd name="connsiteY17" fmla="*/ 7177 h 61242"/>
                  <a:gd name="connsiteX18" fmla="*/ 27033 w 69209"/>
                  <a:gd name="connsiteY18" fmla="*/ 7177 h 61242"/>
                  <a:gd name="connsiteX19" fmla="*/ 27033 w 69209"/>
                  <a:gd name="connsiteY19" fmla="*/ 7177 h 61242"/>
                  <a:gd name="connsiteX20" fmla="*/ 27033 w 69209"/>
                  <a:gd name="connsiteY20" fmla="*/ 7177 h 61242"/>
                  <a:gd name="connsiteX21" fmla="*/ 27033 w 69209"/>
                  <a:gd name="connsiteY21" fmla="*/ 7177 h 61242"/>
                  <a:gd name="connsiteX22" fmla="*/ 27033 w 69209"/>
                  <a:gd name="connsiteY22" fmla="*/ 7177 h 61242"/>
                  <a:gd name="connsiteX23" fmla="*/ 27033 w 69209"/>
                  <a:gd name="connsiteY23" fmla="*/ 7177 h 61242"/>
                  <a:gd name="connsiteX24" fmla="*/ 27033 w 69209"/>
                  <a:gd name="connsiteY24" fmla="*/ 7177 h 61242"/>
                  <a:gd name="connsiteX25" fmla="*/ 27033 w 69209"/>
                  <a:gd name="connsiteY25" fmla="*/ 7177 h 61242"/>
                  <a:gd name="connsiteX26" fmla="*/ 27033 w 69209"/>
                  <a:gd name="connsiteY26" fmla="*/ 7177 h 61242"/>
                  <a:gd name="connsiteX27" fmla="*/ 27033 w 69209"/>
                  <a:gd name="connsiteY27" fmla="*/ 7177 h 61242"/>
                  <a:gd name="connsiteX28" fmla="*/ 27033 w 69209"/>
                  <a:gd name="connsiteY28" fmla="*/ 7177 h 61242"/>
                  <a:gd name="connsiteX29" fmla="*/ 27033 w 69209"/>
                  <a:gd name="connsiteY29" fmla="*/ 7177 h 61242"/>
                  <a:gd name="connsiteX30" fmla="*/ 27093 w 69209"/>
                  <a:gd name="connsiteY30" fmla="*/ 7237 h 61242"/>
                  <a:gd name="connsiteX31" fmla="*/ 27093 w 69209"/>
                  <a:gd name="connsiteY31" fmla="*/ 7237 h 61242"/>
                  <a:gd name="connsiteX32" fmla="*/ 27093 w 69209"/>
                  <a:gd name="connsiteY32" fmla="*/ 7237 h 61242"/>
                  <a:gd name="connsiteX33" fmla="*/ 27093 w 69209"/>
                  <a:gd name="connsiteY33" fmla="*/ 7237 h 61242"/>
                  <a:gd name="connsiteX34" fmla="*/ 27093 w 69209"/>
                  <a:gd name="connsiteY34" fmla="*/ 7237 h 61242"/>
                  <a:gd name="connsiteX35" fmla="*/ 27093 w 69209"/>
                  <a:gd name="connsiteY35" fmla="*/ 7237 h 61242"/>
                  <a:gd name="connsiteX36" fmla="*/ 27093 w 69209"/>
                  <a:gd name="connsiteY36" fmla="*/ 7237 h 61242"/>
                  <a:gd name="connsiteX37" fmla="*/ 27093 w 69209"/>
                  <a:gd name="connsiteY37" fmla="*/ 7237 h 61242"/>
                  <a:gd name="connsiteX38" fmla="*/ 27093 w 69209"/>
                  <a:gd name="connsiteY38" fmla="*/ 7237 h 61242"/>
                  <a:gd name="connsiteX39" fmla="*/ 27093 w 69209"/>
                  <a:gd name="connsiteY39" fmla="*/ 7296 h 61242"/>
                  <a:gd name="connsiteX40" fmla="*/ 27093 w 69209"/>
                  <a:gd name="connsiteY40" fmla="*/ 7296 h 61242"/>
                  <a:gd name="connsiteX41" fmla="*/ 27093 w 69209"/>
                  <a:gd name="connsiteY41" fmla="*/ 7296 h 61242"/>
                  <a:gd name="connsiteX42" fmla="*/ 27093 w 69209"/>
                  <a:gd name="connsiteY42" fmla="*/ 7296 h 61242"/>
                  <a:gd name="connsiteX43" fmla="*/ 29425 w 69209"/>
                  <a:gd name="connsiteY43" fmla="*/ 22248 h 61242"/>
                  <a:gd name="connsiteX44" fmla="*/ 46769 w 69209"/>
                  <a:gd name="connsiteY44" fmla="*/ 4007 h 61242"/>
                  <a:gd name="connsiteX45" fmla="*/ 46949 w 69209"/>
                  <a:gd name="connsiteY45" fmla="*/ 3947 h 61242"/>
                  <a:gd name="connsiteX46" fmla="*/ 47068 w 69209"/>
                  <a:gd name="connsiteY46" fmla="*/ 4067 h 61242"/>
                  <a:gd name="connsiteX47" fmla="*/ 57774 w 69209"/>
                  <a:gd name="connsiteY47" fmla="*/ 60345 h 61242"/>
                  <a:gd name="connsiteX48" fmla="*/ 68898 w 69209"/>
                  <a:gd name="connsiteY48" fmla="*/ 179 h 61242"/>
                  <a:gd name="connsiteX49" fmla="*/ 69018 w 69209"/>
                  <a:gd name="connsiteY49" fmla="*/ 0 h 61242"/>
                  <a:gd name="connsiteX50" fmla="*/ 69197 w 69209"/>
                  <a:gd name="connsiteY50" fmla="*/ 120 h 61242"/>
                  <a:gd name="connsiteX51" fmla="*/ 67343 w 69209"/>
                  <a:gd name="connsiteY51" fmla="*/ 12141 h 61242"/>
                  <a:gd name="connsiteX52" fmla="*/ 57893 w 69209"/>
                  <a:gd name="connsiteY52" fmla="*/ 61123 h 61242"/>
                  <a:gd name="connsiteX53" fmla="*/ 17583 w 69209"/>
                  <a:gd name="connsiteY53" fmla="*/ 35047 h 61242"/>
                  <a:gd name="connsiteX54" fmla="*/ 33970 w 69209"/>
                  <a:gd name="connsiteY54" fmla="*/ 50178 h 61242"/>
                  <a:gd name="connsiteX55" fmla="*/ 29126 w 69209"/>
                  <a:gd name="connsiteY55" fmla="*/ 22846 h 61242"/>
                  <a:gd name="connsiteX56" fmla="*/ 17583 w 69209"/>
                  <a:gd name="connsiteY56" fmla="*/ 35047 h 61242"/>
                  <a:gd name="connsiteX57" fmla="*/ 15550 w 69209"/>
                  <a:gd name="connsiteY57" fmla="*/ 33133 h 61242"/>
                  <a:gd name="connsiteX58" fmla="*/ 17344 w 69209"/>
                  <a:gd name="connsiteY58" fmla="*/ 34808 h 61242"/>
                  <a:gd name="connsiteX59" fmla="*/ 29126 w 69209"/>
                  <a:gd name="connsiteY59" fmla="*/ 22428 h 61242"/>
                  <a:gd name="connsiteX60" fmla="*/ 26794 w 69209"/>
                  <a:gd name="connsiteY60" fmla="*/ 7835 h 61242"/>
                  <a:gd name="connsiteX61" fmla="*/ 15550 w 69209"/>
                  <a:gd name="connsiteY61" fmla="*/ 33133 h 61242"/>
                  <a:gd name="connsiteX62" fmla="*/ 15251 w 69209"/>
                  <a:gd name="connsiteY62" fmla="*/ 32894 h 61242"/>
                  <a:gd name="connsiteX63" fmla="*/ 26554 w 69209"/>
                  <a:gd name="connsiteY63" fmla="*/ 7476 h 61242"/>
                  <a:gd name="connsiteX64" fmla="*/ 299 w 69209"/>
                  <a:gd name="connsiteY64" fmla="*/ 19138 h 61242"/>
                  <a:gd name="connsiteX65" fmla="*/ 15251 w 69209"/>
                  <a:gd name="connsiteY65" fmla="*/ 32894 h 61242"/>
                  <a:gd name="connsiteX66" fmla="*/ 12560 w 69209"/>
                  <a:gd name="connsiteY66" fmla="*/ 39832 h 61242"/>
                  <a:gd name="connsiteX67" fmla="*/ 17105 w 69209"/>
                  <a:gd name="connsiteY67" fmla="*/ 35047 h 61242"/>
                  <a:gd name="connsiteX68" fmla="*/ 15371 w 69209"/>
                  <a:gd name="connsiteY68" fmla="*/ 33432 h 61242"/>
                  <a:gd name="connsiteX69" fmla="*/ 12560 w 69209"/>
                  <a:gd name="connsiteY69" fmla="*/ 39832 h 6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9209" h="61242">
                    <a:moveTo>
                      <a:pt x="57893" y="61123"/>
                    </a:moveTo>
                    <a:cubicBezTo>
                      <a:pt x="57893" y="61183"/>
                      <a:pt x="57833" y="61243"/>
                      <a:pt x="57714" y="61243"/>
                    </a:cubicBezTo>
                    <a:cubicBezTo>
                      <a:pt x="57654" y="61243"/>
                      <a:pt x="57594" y="61183"/>
                      <a:pt x="57535" y="61123"/>
                    </a:cubicBezTo>
                    <a:lnTo>
                      <a:pt x="46709" y="4366"/>
                    </a:lnTo>
                    <a:lnTo>
                      <a:pt x="29425" y="22547"/>
                    </a:lnTo>
                    <a:cubicBezTo>
                      <a:pt x="31578" y="34927"/>
                      <a:pt x="34329" y="50298"/>
                      <a:pt x="34389" y="50597"/>
                    </a:cubicBezTo>
                    <a:cubicBezTo>
                      <a:pt x="34389" y="50657"/>
                      <a:pt x="34389" y="50717"/>
                      <a:pt x="34329" y="50776"/>
                    </a:cubicBezTo>
                    <a:cubicBezTo>
                      <a:pt x="34270" y="50836"/>
                      <a:pt x="34210" y="50776"/>
                      <a:pt x="34150" y="50776"/>
                    </a:cubicBezTo>
                    <a:lnTo>
                      <a:pt x="17404" y="35346"/>
                    </a:lnTo>
                    <a:lnTo>
                      <a:pt x="12201" y="40848"/>
                    </a:lnTo>
                    <a:cubicBezTo>
                      <a:pt x="12141" y="40908"/>
                      <a:pt x="12081" y="40908"/>
                      <a:pt x="12021" y="40848"/>
                    </a:cubicBezTo>
                    <a:cubicBezTo>
                      <a:pt x="11961" y="40789"/>
                      <a:pt x="11961" y="40729"/>
                      <a:pt x="11961" y="40669"/>
                    </a:cubicBezTo>
                    <a:lnTo>
                      <a:pt x="15251" y="33313"/>
                    </a:lnTo>
                    <a:lnTo>
                      <a:pt x="60" y="19318"/>
                    </a:lnTo>
                    <a:cubicBezTo>
                      <a:pt x="0" y="19258"/>
                      <a:pt x="0" y="19198"/>
                      <a:pt x="0" y="19198"/>
                    </a:cubicBezTo>
                    <a:lnTo>
                      <a:pt x="0" y="19198"/>
                    </a:lnTo>
                    <a:cubicBezTo>
                      <a:pt x="0" y="19138"/>
                      <a:pt x="60" y="19079"/>
                      <a:pt x="120" y="19079"/>
                    </a:cubicBezTo>
                    <a:lnTo>
                      <a:pt x="26973" y="7177"/>
                    </a:lnTo>
                    <a:cubicBezTo>
                      <a:pt x="26973" y="7177"/>
                      <a:pt x="27033" y="7177"/>
                      <a:pt x="27033" y="7177"/>
                    </a:cubicBezTo>
                    <a:lnTo>
                      <a:pt x="27033" y="7177"/>
                    </a:lnTo>
                    <a:cubicBezTo>
                      <a:pt x="27033" y="7177"/>
                      <a:pt x="27033" y="7177"/>
                      <a:pt x="27033" y="7177"/>
                    </a:cubicBezTo>
                    <a:lnTo>
                      <a:pt x="27033" y="7177"/>
                    </a:lnTo>
                    <a:lnTo>
                      <a:pt x="27033" y="7177"/>
                    </a:lnTo>
                    <a:cubicBezTo>
                      <a:pt x="27033" y="7177"/>
                      <a:pt x="27033" y="7177"/>
                      <a:pt x="27033" y="7177"/>
                    </a:cubicBezTo>
                    <a:lnTo>
                      <a:pt x="27033" y="7177"/>
                    </a:lnTo>
                    <a:cubicBezTo>
                      <a:pt x="27033" y="7177"/>
                      <a:pt x="27033" y="7177"/>
                      <a:pt x="27033" y="7177"/>
                    </a:cubicBezTo>
                    <a:lnTo>
                      <a:pt x="27033" y="7177"/>
                    </a:lnTo>
                    <a:lnTo>
                      <a:pt x="27033" y="7177"/>
                    </a:lnTo>
                    <a:lnTo>
                      <a:pt x="27033" y="7177"/>
                    </a:lnTo>
                    <a:lnTo>
                      <a:pt x="27033" y="7177"/>
                    </a:lnTo>
                    <a:cubicBezTo>
                      <a:pt x="27093" y="7177"/>
                      <a:pt x="27093" y="7177"/>
                      <a:pt x="27093" y="7237"/>
                    </a:cubicBezTo>
                    <a:lnTo>
                      <a:pt x="27093" y="7237"/>
                    </a:lnTo>
                    <a:cubicBezTo>
                      <a:pt x="27093" y="7237"/>
                      <a:pt x="27093" y="7237"/>
                      <a:pt x="27093" y="7237"/>
                    </a:cubicBezTo>
                    <a:cubicBezTo>
                      <a:pt x="27093" y="7237"/>
                      <a:pt x="27093" y="7237"/>
                      <a:pt x="27093" y="7237"/>
                    </a:cubicBezTo>
                    <a:cubicBezTo>
                      <a:pt x="27093" y="7237"/>
                      <a:pt x="27093" y="7237"/>
                      <a:pt x="27093" y="7237"/>
                    </a:cubicBezTo>
                    <a:lnTo>
                      <a:pt x="27093" y="7237"/>
                    </a:lnTo>
                    <a:lnTo>
                      <a:pt x="27093" y="7237"/>
                    </a:lnTo>
                    <a:lnTo>
                      <a:pt x="27093" y="7237"/>
                    </a:lnTo>
                    <a:lnTo>
                      <a:pt x="27093" y="7237"/>
                    </a:lnTo>
                    <a:cubicBezTo>
                      <a:pt x="27093" y="7237"/>
                      <a:pt x="27093" y="7296"/>
                      <a:pt x="27093" y="7296"/>
                    </a:cubicBezTo>
                    <a:lnTo>
                      <a:pt x="27093" y="7296"/>
                    </a:lnTo>
                    <a:lnTo>
                      <a:pt x="27093" y="7296"/>
                    </a:lnTo>
                    <a:cubicBezTo>
                      <a:pt x="27093" y="7296"/>
                      <a:pt x="27093" y="7296"/>
                      <a:pt x="27093" y="7296"/>
                    </a:cubicBezTo>
                    <a:cubicBezTo>
                      <a:pt x="27033" y="8134"/>
                      <a:pt x="28109" y="14593"/>
                      <a:pt x="29425" y="22248"/>
                    </a:cubicBezTo>
                    <a:lnTo>
                      <a:pt x="46769" y="4007"/>
                    </a:lnTo>
                    <a:cubicBezTo>
                      <a:pt x="46829" y="3947"/>
                      <a:pt x="46889" y="3947"/>
                      <a:pt x="46949" y="3947"/>
                    </a:cubicBezTo>
                    <a:cubicBezTo>
                      <a:pt x="47008" y="3947"/>
                      <a:pt x="47068" y="4007"/>
                      <a:pt x="47068" y="4067"/>
                    </a:cubicBezTo>
                    <a:lnTo>
                      <a:pt x="57774" y="60345"/>
                    </a:lnTo>
                    <a:cubicBezTo>
                      <a:pt x="61901" y="39712"/>
                      <a:pt x="69257" y="1675"/>
                      <a:pt x="68898" y="179"/>
                    </a:cubicBezTo>
                    <a:cubicBezTo>
                      <a:pt x="68898" y="120"/>
                      <a:pt x="68958" y="0"/>
                      <a:pt x="69018" y="0"/>
                    </a:cubicBezTo>
                    <a:cubicBezTo>
                      <a:pt x="69077" y="0"/>
                      <a:pt x="69197" y="60"/>
                      <a:pt x="69197" y="120"/>
                    </a:cubicBezTo>
                    <a:cubicBezTo>
                      <a:pt x="69317" y="658"/>
                      <a:pt x="68539" y="5442"/>
                      <a:pt x="67343" y="12141"/>
                    </a:cubicBezTo>
                    <a:cubicBezTo>
                      <a:pt x="64233" y="29305"/>
                      <a:pt x="58252" y="59389"/>
                      <a:pt x="57893" y="61123"/>
                    </a:cubicBezTo>
                    <a:close/>
                    <a:moveTo>
                      <a:pt x="17583" y="35047"/>
                    </a:moveTo>
                    <a:lnTo>
                      <a:pt x="33970" y="50178"/>
                    </a:lnTo>
                    <a:cubicBezTo>
                      <a:pt x="33492" y="47367"/>
                      <a:pt x="31040" y="33970"/>
                      <a:pt x="29126" y="22846"/>
                    </a:cubicBezTo>
                    <a:lnTo>
                      <a:pt x="17583" y="35047"/>
                    </a:lnTo>
                    <a:close/>
                    <a:moveTo>
                      <a:pt x="15550" y="33133"/>
                    </a:moveTo>
                    <a:lnTo>
                      <a:pt x="17344" y="34808"/>
                    </a:lnTo>
                    <a:lnTo>
                      <a:pt x="29126" y="22428"/>
                    </a:lnTo>
                    <a:cubicBezTo>
                      <a:pt x="27990" y="15669"/>
                      <a:pt x="27033" y="9808"/>
                      <a:pt x="26794" y="7835"/>
                    </a:cubicBezTo>
                    <a:lnTo>
                      <a:pt x="15550" y="33133"/>
                    </a:lnTo>
                    <a:close/>
                    <a:moveTo>
                      <a:pt x="15251" y="32894"/>
                    </a:moveTo>
                    <a:lnTo>
                      <a:pt x="26554" y="7476"/>
                    </a:lnTo>
                    <a:lnTo>
                      <a:pt x="299" y="19138"/>
                    </a:lnTo>
                    <a:lnTo>
                      <a:pt x="15251" y="32894"/>
                    </a:lnTo>
                    <a:close/>
                    <a:moveTo>
                      <a:pt x="12560" y="39832"/>
                    </a:moveTo>
                    <a:lnTo>
                      <a:pt x="17105" y="35047"/>
                    </a:lnTo>
                    <a:lnTo>
                      <a:pt x="15371" y="33432"/>
                    </a:lnTo>
                    <a:lnTo>
                      <a:pt x="12560" y="39832"/>
                    </a:lnTo>
                    <a:close/>
                  </a:path>
                </a:pathLst>
              </a:custGeom>
              <a:grpFill/>
              <a:ln w="6350" cap="flat">
                <a:solidFill>
                  <a:schemeClr val="bg1">
                    <a:alpha val="80000"/>
                  </a:schemeClr>
                </a:solidFill>
                <a:prstDash val="solid"/>
                <a:miter/>
              </a:ln>
            </p:spPr>
            <p:txBody>
              <a:bodyPr rtlCol="0" anchor="ctr"/>
              <a:lstStyle/>
              <a:p>
                <a:endParaRPr lang="en-GB"/>
              </a:p>
            </p:txBody>
          </p:sp>
          <p:sp>
            <p:nvSpPr>
              <p:cNvPr id="8867" name="Vrije vorm: vorm 8866">
                <a:extLst>
                  <a:ext uri="{FF2B5EF4-FFF2-40B4-BE49-F238E27FC236}">
                    <a16:creationId xmlns:a16="http://schemas.microsoft.com/office/drawing/2014/main" id="{7C2A389A-E3ED-4009-AEBE-56DF1D8BD2E1}"/>
                  </a:ext>
                </a:extLst>
              </p:cNvPr>
              <p:cNvSpPr/>
              <p:nvPr/>
            </p:nvSpPr>
            <p:spPr>
              <a:xfrm>
                <a:off x="4565538" y="2647705"/>
                <a:ext cx="56445" cy="43898"/>
              </a:xfrm>
              <a:custGeom>
                <a:avLst/>
                <a:gdLst>
                  <a:gd name="connsiteX0" fmla="*/ 56443 w 56445"/>
                  <a:gd name="connsiteY0" fmla="*/ 31040 h 43898"/>
                  <a:gd name="connsiteX1" fmla="*/ 56443 w 56445"/>
                  <a:gd name="connsiteY1" fmla="*/ 31040 h 43898"/>
                  <a:gd name="connsiteX2" fmla="*/ 33178 w 56445"/>
                  <a:gd name="connsiteY2" fmla="*/ 60 h 43898"/>
                  <a:gd name="connsiteX3" fmla="*/ 33059 w 56445"/>
                  <a:gd name="connsiteY3" fmla="*/ 0 h 43898"/>
                  <a:gd name="connsiteX4" fmla="*/ 32939 w 56445"/>
                  <a:gd name="connsiteY4" fmla="*/ 60 h 43898"/>
                  <a:gd name="connsiteX5" fmla="*/ 45 w 56445"/>
                  <a:gd name="connsiteY5" fmla="*/ 42104 h 43898"/>
                  <a:gd name="connsiteX6" fmla="*/ 45 w 56445"/>
                  <a:gd name="connsiteY6" fmla="*/ 42284 h 43898"/>
                  <a:gd name="connsiteX7" fmla="*/ 165 w 56445"/>
                  <a:gd name="connsiteY7" fmla="*/ 42403 h 43898"/>
                  <a:gd name="connsiteX8" fmla="*/ 27257 w 56445"/>
                  <a:gd name="connsiteY8" fmla="*/ 43898 h 43898"/>
                  <a:gd name="connsiteX9" fmla="*/ 27437 w 56445"/>
                  <a:gd name="connsiteY9" fmla="*/ 43719 h 43898"/>
                  <a:gd name="connsiteX10" fmla="*/ 27257 w 56445"/>
                  <a:gd name="connsiteY10" fmla="*/ 43540 h 43898"/>
                  <a:gd name="connsiteX11" fmla="*/ 464 w 56445"/>
                  <a:gd name="connsiteY11" fmla="*/ 42044 h 43898"/>
                  <a:gd name="connsiteX12" fmla="*/ 32999 w 56445"/>
                  <a:gd name="connsiteY12" fmla="*/ 359 h 43898"/>
                  <a:gd name="connsiteX13" fmla="*/ 56084 w 56445"/>
                  <a:gd name="connsiteY13" fmla="*/ 30920 h 43898"/>
                  <a:gd name="connsiteX14" fmla="*/ 30427 w 56445"/>
                  <a:gd name="connsiteY14" fmla="*/ 20933 h 43898"/>
                  <a:gd name="connsiteX15" fmla="*/ 30188 w 56445"/>
                  <a:gd name="connsiteY15" fmla="*/ 20992 h 43898"/>
                  <a:gd name="connsiteX16" fmla="*/ 30247 w 56445"/>
                  <a:gd name="connsiteY16" fmla="*/ 21231 h 43898"/>
                  <a:gd name="connsiteX17" fmla="*/ 56144 w 56445"/>
                  <a:gd name="connsiteY17" fmla="*/ 31219 h 43898"/>
                  <a:gd name="connsiteX18" fmla="*/ 56443 w 56445"/>
                  <a:gd name="connsiteY18" fmla="*/ 31040 h 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445" h="43898">
                    <a:moveTo>
                      <a:pt x="56443" y="31040"/>
                    </a:moveTo>
                    <a:cubicBezTo>
                      <a:pt x="56443" y="31040"/>
                      <a:pt x="56443" y="31040"/>
                      <a:pt x="56443" y="31040"/>
                    </a:cubicBezTo>
                    <a:cubicBezTo>
                      <a:pt x="56683" y="29425"/>
                      <a:pt x="35570" y="3050"/>
                      <a:pt x="33178" y="60"/>
                    </a:cubicBezTo>
                    <a:cubicBezTo>
                      <a:pt x="33118" y="0"/>
                      <a:pt x="33118" y="0"/>
                      <a:pt x="33059" y="0"/>
                    </a:cubicBezTo>
                    <a:cubicBezTo>
                      <a:pt x="32999" y="0"/>
                      <a:pt x="32939" y="0"/>
                      <a:pt x="32939" y="60"/>
                    </a:cubicBezTo>
                    <a:lnTo>
                      <a:pt x="45" y="42104"/>
                    </a:lnTo>
                    <a:cubicBezTo>
                      <a:pt x="-15" y="42164"/>
                      <a:pt x="-15" y="42224"/>
                      <a:pt x="45" y="42284"/>
                    </a:cubicBezTo>
                    <a:cubicBezTo>
                      <a:pt x="45" y="42344"/>
                      <a:pt x="105" y="42403"/>
                      <a:pt x="165" y="42403"/>
                    </a:cubicBezTo>
                    <a:lnTo>
                      <a:pt x="27257" y="43898"/>
                    </a:lnTo>
                    <a:cubicBezTo>
                      <a:pt x="27317" y="43898"/>
                      <a:pt x="27437" y="43839"/>
                      <a:pt x="27437" y="43719"/>
                    </a:cubicBezTo>
                    <a:cubicBezTo>
                      <a:pt x="27437" y="43659"/>
                      <a:pt x="27377" y="43540"/>
                      <a:pt x="27257" y="43540"/>
                    </a:cubicBezTo>
                    <a:lnTo>
                      <a:pt x="464" y="42044"/>
                    </a:lnTo>
                    <a:lnTo>
                      <a:pt x="32999" y="359"/>
                    </a:lnTo>
                    <a:cubicBezTo>
                      <a:pt x="42389" y="12081"/>
                      <a:pt x="56204" y="29724"/>
                      <a:pt x="56084" y="30920"/>
                    </a:cubicBezTo>
                    <a:cubicBezTo>
                      <a:pt x="55247" y="31638"/>
                      <a:pt x="39936" y="25179"/>
                      <a:pt x="30427" y="20933"/>
                    </a:cubicBezTo>
                    <a:cubicBezTo>
                      <a:pt x="30367" y="20873"/>
                      <a:pt x="30247" y="20933"/>
                      <a:pt x="30188" y="20992"/>
                    </a:cubicBezTo>
                    <a:cubicBezTo>
                      <a:pt x="30128" y="21052"/>
                      <a:pt x="30188" y="21172"/>
                      <a:pt x="30247" y="21231"/>
                    </a:cubicBezTo>
                    <a:cubicBezTo>
                      <a:pt x="32700" y="22368"/>
                      <a:pt x="54529" y="32057"/>
                      <a:pt x="56144" y="31219"/>
                    </a:cubicBezTo>
                    <a:cubicBezTo>
                      <a:pt x="56383" y="31219"/>
                      <a:pt x="56443" y="31160"/>
                      <a:pt x="56443" y="3104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68" name="Vrije vorm: vorm 8867">
                <a:extLst>
                  <a:ext uri="{FF2B5EF4-FFF2-40B4-BE49-F238E27FC236}">
                    <a16:creationId xmlns:a16="http://schemas.microsoft.com/office/drawing/2014/main" id="{073A6E75-4FF0-41C5-89BB-317C8E0085F0}"/>
                  </a:ext>
                </a:extLst>
              </p:cNvPr>
              <p:cNvSpPr/>
              <p:nvPr/>
            </p:nvSpPr>
            <p:spPr>
              <a:xfrm>
                <a:off x="4592591" y="2590171"/>
                <a:ext cx="44248" cy="101418"/>
              </a:xfrm>
              <a:custGeom>
                <a:avLst/>
                <a:gdLst>
                  <a:gd name="connsiteX0" fmla="*/ 44222 w 44248"/>
                  <a:gd name="connsiteY0" fmla="*/ 4545 h 101418"/>
                  <a:gd name="connsiteX1" fmla="*/ 41591 w 44248"/>
                  <a:gd name="connsiteY1" fmla="*/ 15849 h 101418"/>
                  <a:gd name="connsiteX2" fmla="*/ 41471 w 44248"/>
                  <a:gd name="connsiteY2" fmla="*/ 15968 h 101418"/>
                  <a:gd name="connsiteX3" fmla="*/ 12345 w 44248"/>
                  <a:gd name="connsiteY3" fmla="*/ 25956 h 101418"/>
                  <a:gd name="connsiteX4" fmla="*/ 38899 w 44248"/>
                  <a:gd name="connsiteY4" fmla="*/ 29784 h 101418"/>
                  <a:gd name="connsiteX5" fmla="*/ 39019 w 44248"/>
                  <a:gd name="connsiteY5" fmla="*/ 29963 h 101418"/>
                  <a:gd name="connsiteX6" fmla="*/ 38899 w 44248"/>
                  <a:gd name="connsiteY6" fmla="*/ 30143 h 101418"/>
                  <a:gd name="connsiteX7" fmla="*/ 9953 w 44248"/>
                  <a:gd name="connsiteY7" fmla="*/ 36961 h 101418"/>
                  <a:gd name="connsiteX8" fmla="*/ 32320 w 44248"/>
                  <a:gd name="connsiteY8" fmla="*/ 70214 h 101418"/>
                  <a:gd name="connsiteX9" fmla="*/ 32320 w 44248"/>
                  <a:gd name="connsiteY9" fmla="*/ 70393 h 101418"/>
                  <a:gd name="connsiteX10" fmla="*/ 264 w 44248"/>
                  <a:gd name="connsiteY10" fmla="*/ 101373 h 101418"/>
                  <a:gd name="connsiteX11" fmla="*/ 85 w 44248"/>
                  <a:gd name="connsiteY11" fmla="*/ 101373 h 101418"/>
                  <a:gd name="connsiteX12" fmla="*/ 25 w 44248"/>
                  <a:gd name="connsiteY12" fmla="*/ 101194 h 101418"/>
                  <a:gd name="connsiteX13" fmla="*/ 9594 w 44248"/>
                  <a:gd name="connsiteY13" fmla="*/ 36781 h 101418"/>
                  <a:gd name="connsiteX14" fmla="*/ 9594 w 44248"/>
                  <a:gd name="connsiteY14" fmla="*/ 36781 h 101418"/>
                  <a:gd name="connsiteX15" fmla="*/ 11568 w 44248"/>
                  <a:gd name="connsiteY15" fmla="*/ 25956 h 101418"/>
                  <a:gd name="connsiteX16" fmla="*/ 11568 w 44248"/>
                  <a:gd name="connsiteY16" fmla="*/ 25896 h 101418"/>
                  <a:gd name="connsiteX17" fmla="*/ 20300 w 44248"/>
                  <a:gd name="connsiteY17" fmla="*/ 120 h 101418"/>
                  <a:gd name="connsiteX18" fmla="*/ 20479 w 44248"/>
                  <a:gd name="connsiteY18" fmla="*/ 0 h 101418"/>
                  <a:gd name="connsiteX19" fmla="*/ 44103 w 44248"/>
                  <a:gd name="connsiteY19" fmla="*/ 4246 h 101418"/>
                  <a:gd name="connsiteX20" fmla="*/ 44222 w 44248"/>
                  <a:gd name="connsiteY20" fmla="*/ 4306 h 101418"/>
                  <a:gd name="connsiteX21" fmla="*/ 44222 w 44248"/>
                  <a:gd name="connsiteY21" fmla="*/ 4545 h 101418"/>
                  <a:gd name="connsiteX22" fmla="*/ 44222 w 44248"/>
                  <a:gd name="connsiteY22" fmla="*/ 4545 h 101418"/>
                  <a:gd name="connsiteX23" fmla="*/ 11926 w 44248"/>
                  <a:gd name="connsiteY23" fmla="*/ 25777 h 101418"/>
                  <a:gd name="connsiteX24" fmla="*/ 41292 w 44248"/>
                  <a:gd name="connsiteY24" fmla="*/ 15669 h 101418"/>
                  <a:gd name="connsiteX25" fmla="*/ 43864 w 44248"/>
                  <a:gd name="connsiteY25" fmla="*/ 4665 h 101418"/>
                  <a:gd name="connsiteX26" fmla="*/ 20539 w 44248"/>
                  <a:gd name="connsiteY26" fmla="*/ 478 h 101418"/>
                  <a:gd name="connsiteX27" fmla="*/ 11926 w 44248"/>
                  <a:gd name="connsiteY27" fmla="*/ 25777 h 101418"/>
                  <a:gd name="connsiteX28" fmla="*/ 443 w 44248"/>
                  <a:gd name="connsiteY28" fmla="*/ 100835 h 101418"/>
                  <a:gd name="connsiteX29" fmla="*/ 32022 w 44248"/>
                  <a:gd name="connsiteY29" fmla="*/ 70273 h 101418"/>
                  <a:gd name="connsiteX30" fmla="*/ 9833 w 44248"/>
                  <a:gd name="connsiteY30" fmla="*/ 37260 h 101418"/>
                  <a:gd name="connsiteX31" fmla="*/ 443 w 44248"/>
                  <a:gd name="connsiteY31" fmla="*/ 100835 h 101418"/>
                  <a:gd name="connsiteX32" fmla="*/ 9953 w 44248"/>
                  <a:gd name="connsiteY32" fmla="*/ 36602 h 101418"/>
                  <a:gd name="connsiteX33" fmla="*/ 38062 w 44248"/>
                  <a:gd name="connsiteY33" fmla="*/ 29963 h 101418"/>
                  <a:gd name="connsiteX34" fmla="*/ 11807 w 44248"/>
                  <a:gd name="connsiteY34" fmla="*/ 26196 h 101418"/>
                  <a:gd name="connsiteX35" fmla="*/ 9953 w 44248"/>
                  <a:gd name="connsiteY35" fmla="*/ 36602 h 10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4248" h="101418">
                    <a:moveTo>
                      <a:pt x="44222" y="4545"/>
                    </a:moveTo>
                    <a:lnTo>
                      <a:pt x="41591" y="15849"/>
                    </a:lnTo>
                    <a:cubicBezTo>
                      <a:pt x="41591" y="15909"/>
                      <a:pt x="41531" y="15968"/>
                      <a:pt x="41471" y="15968"/>
                    </a:cubicBezTo>
                    <a:lnTo>
                      <a:pt x="12345" y="25956"/>
                    </a:lnTo>
                    <a:lnTo>
                      <a:pt x="38899" y="29784"/>
                    </a:lnTo>
                    <a:cubicBezTo>
                      <a:pt x="38959" y="29784"/>
                      <a:pt x="39019" y="29844"/>
                      <a:pt x="39019" y="29963"/>
                    </a:cubicBezTo>
                    <a:cubicBezTo>
                      <a:pt x="39019" y="30023"/>
                      <a:pt x="38959" y="30083"/>
                      <a:pt x="38899" y="30143"/>
                    </a:cubicBezTo>
                    <a:lnTo>
                      <a:pt x="9953" y="36961"/>
                    </a:lnTo>
                    <a:lnTo>
                      <a:pt x="32320" y="70214"/>
                    </a:lnTo>
                    <a:cubicBezTo>
                      <a:pt x="32380" y="70273"/>
                      <a:pt x="32380" y="70393"/>
                      <a:pt x="32320" y="70393"/>
                    </a:cubicBezTo>
                    <a:lnTo>
                      <a:pt x="264" y="101373"/>
                    </a:lnTo>
                    <a:cubicBezTo>
                      <a:pt x="204" y="101433"/>
                      <a:pt x="144" y="101433"/>
                      <a:pt x="85" y="101373"/>
                    </a:cubicBezTo>
                    <a:cubicBezTo>
                      <a:pt x="25" y="101313"/>
                      <a:pt x="-35" y="101254"/>
                      <a:pt x="25" y="101194"/>
                    </a:cubicBezTo>
                    <a:lnTo>
                      <a:pt x="9594" y="36781"/>
                    </a:lnTo>
                    <a:cubicBezTo>
                      <a:pt x="9594" y="36781"/>
                      <a:pt x="9594" y="36781"/>
                      <a:pt x="9594" y="36781"/>
                    </a:cubicBezTo>
                    <a:lnTo>
                      <a:pt x="11568" y="25956"/>
                    </a:lnTo>
                    <a:cubicBezTo>
                      <a:pt x="11568" y="25956"/>
                      <a:pt x="11568" y="25896"/>
                      <a:pt x="11568" y="25896"/>
                    </a:cubicBezTo>
                    <a:lnTo>
                      <a:pt x="20300" y="120"/>
                    </a:lnTo>
                    <a:cubicBezTo>
                      <a:pt x="20300" y="60"/>
                      <a:pt x="20419" y="0"/>
                      <a:pt x="20479" y="0"/>
                    </a:cubicBezTo>
                    <a:lnTo>
                      <a:pt x="44103" y="4246"/>
                    </a:lnTo>
                    <a:cubicBezTo>
                      <a:pt x="44163" y="4246"/>
                      <a:pt x="44163" y="4306"/>
                      <a:pt x="44222" y="4306"/>
                    </a:cubicBezTo>
                    <a:cubicBezTo>
                      <a:pt x="44222" y="4486"/>
                      <a:pt x="44282" y="4486"/>
                      <a:pt x="44222" y="4545"/>
                    </a:cubicBezTo>
                    <a:cubicBezTo>
                      <a:pt x="44222" y="4545"/>
                      <a:pt x="44222" y="4545"/>
                      <a:pt x="44222" y="4545"/>
                    </a:cubicBezTo>
                    <a:close/>
                    <a:moveTo>
                      <a:pt x="11926" y="25777"/>
                    </a:moveTo>
                    <a:lnTo>
                      <a:pt x="41292" y="15669"/>
                    </a:lnTo>
                    <a:lnTo>
                      <a:pt x="43864" y="4665"/>
                    </a:lnTo>
                    <a:lnTo>
                      <a:pt x="20539" y="478"/>
                    </a:lnTo>
                    <a:lnTo>
                      <a:pt x="11926" y="25777"/>
                    </a:lnTo>
                    <a:close/>
                    <a:moveTo>
                      <a:pt x="443" y="100835"/>
                    </a:moveTo>
                    <a:lnTo>
                      <a:pt x="32022" y="70273"/>
                    </a:lnTo>
                    <a:lnTo>
                      <a:pt x="9833" y="37260"/>
                    </a:lnTo>
                    <a:lnTo>
                      <a:pt x="443" y="100835"/>
                    </a:lnTo>
                    <a:close/>
                    <a:moveTo>
                      <a:pt x="9953" y="36602"/>
                    </a:moveTo>
                    <a:lnTo>
                      <a:pt x="38062" y="29963"/>
                    </a:lnTo>
                    <a:lnTo>
                      <a:pt x="11807" y="26196"/>
                    </a:lnTo>
                    <a:lnTo>
                      <a:pt x="9953" y="36602"/>
                    </a:lnTo>
                    <a:close/>
                  </a:path>
                </a:pathLst>
              </a:custGeom>
              <a:grpFill/>
              <a:ln w="6350" cap="flat">
                <a:solidFill>
                  <a:schemeClr val="bg1">
                    <a:alpha val="80000"/>
                  </a:schemeClr>
                </a:solidFill>
                <a:prstDash val="solid"/>
                <a:miter/>
              </a:ln>
            </p:spPr>
            <p:txBody>
              <a:bodyPr rtlCol="0" anchor="ctr"/>
              <a:lstStyle/>
              <a:p>
                <a:endParaRPr lang="en-GB"/>
              </a:p>
            </p:txBody>
          </p:sp>
          <p:sp>
            <p:nvSpPr>
              <p:cNvPr id="8869" name="Vrije vorm: vorm 8868">
                <a:extLst>
                  <a:ext uri="{FF2B5EF4-FFF2-40B4-BE49-F238E27FC236}">
                    <a16:creationId xmlns:a16="http://schemas.microsoft.com/office/drawing/2014/main" id="{12C7707A-2713-4E3B-ABAA-C35A6C5DD3C8}"/>
                  </a:ext>
                </a:extLst>
              </p:cNvPr>
              <p:cNvSpPr/>
              <p:nvPr/>
            </p:nvSpPr>
            <p:spPr>
              <a:xfrm>
                <a:off x="4612905" y="2590186"/>
                <a:ext cx="21315" cy="30032"/>
              </a:xfrm>
              <a:custGeom>
                <a:avLst/>
                <a:gdLst>
                  <a:gd name="connsiteX0" fmla="*/ 18764 w 21315"/>
                  <a:gd name="connsiteY0" fmla="*/ 29949 h 30032"/>
                  <a:gd name="connsiteX1" fmla="*/ 18764 w 21315"/>
                  <a:gd name="connsiteY1" fmla="*/ 29829 h 30032"/>
                  <a:gd name="connsiteX2" fmla="*/ 703 w 21315"/>
                  <a:gd name="connsiteY2" fmla="*/ 882 h 30032"/>
                  <a:gd name="connsiteX3" fmla="*/ 21037 w 21315"/>
                  <a:gd name="connsiteY3" fmla="*/ 15894 h 30032"/>
                  <a:gd name="connsiteX4" fmla="*/ 21276 w 21315"/>
                  <a:gd name="connsiteY4" fmla="*/ 15834 h 30032"/>
                  <a:gd name="connsiteX5" fmla="*/ 21217 w 21315"/>
                  <a:gd name="connsiteY5" fmla="*/ 15595 h 30032"/>
                  <a:gd name="connsiteX6" fmla="*/ 224 w 21315"/>
                  <a:gd name="connsiteY6" fmla="*/ 45 h 30032"/>
                  <a:gd name="connsiteX7" fmla="*/ 45 w 21315"/>
                  <a:gd name="connsiteY7" fmla="*/ 45 h 30032"/>
                  <a:gd name="connsiteX8" fmla="*/ 45 w 21315"/>
                  <a:gd name="connsiteY8" fmla="*/ 224 h 30032"/>
                  <a:gd name="connsiteX9" fmla="*/ 18525 w 21315"/>
                  <a:gd name="connsiteY9" fmla="*/ 29949 h 30032"/>
                  <a:gd name="connsiteX10" fmla="*/ 18764 w 21315"/>
                  <a:gd name="connsiteY10" fmla="*/ 30008 h 30032"/>
                  <a:gd name="connsiteX11" fmla="*/ 18764 w 21315"/>
                  <a:gd name="connsiteY11" fmla="*/ 29949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315" h="30032">
                    <a:moveTo>
                      <a:pt x="18764" y="29949"/>
                    </a:moveTo>
                    <a:cubicBezTo>
                      <a:pt x="18764" y="29889"/>
                      <a:pt x="18764" y="29889"/>
                      <a:pt x="18764" y="29829"/>
                    </a:cubicBezTo>
                    <a:lnTo>
                      <a:pt x="703" y="882"/>
                    </a:lnTo>
                    <a:lnTo>
                      <a:pt x="21037" y="15894"/>
                    </a:lnTo>
                    <a:cubicBezTo>
                      <a:pt x="21097" y="15953"/>
                      <a:pt x="21217" y="15953"/>
                      <a:pt x="21276" y="15834"/>
                    </a:cubicBezTo>
                    <a:cubicBezTo>
                      <a:pt x="21336" y="15774"/>
                      <a:pt x="21336" y="15654"/>
                      <a:pt x="21217" y="15595"/>
                    </a:cubicBezTo>
                    <a:lnTo>
                      <a:pt x="224" y="45"/>
                    </a:lnTo>
                    <a:cubicBezTo>
                      <a:pt x="164" y="-15"/>
                      <a:pt x="104" y="-15"/>
                      <a:pt x="45" y="45"/>
                    </a:cubicBezTo>
                    <a:cubicBezTo>
                      <a:pt x="-15" y="105"/>
                      <a:pt x="-15" y="164"/>
                      <a:pt x="45" y="224"/>
                    </a:cubicBezTo>
                    <a:lnTo>
                      <a:pt x="18525" y="29949"/>
                    </a:lnTo>
                    <a:cubicBezTo>
                      <a:pt x="18585" y="30008"/>
                      <a:pt x="18645" y="30068"/>
                      <a:pt x="18764" y="30008"/>
                    </a:cubicBezTo>
                    <a:cubicBezTo>
                      <a:pt x="18764" y="30068"/>
                      <a:pt x="18764" y="30008"/>
                      <a:pt x="18764" y="2994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70" name="Vrije vorm: vorm 8869">
                <a:extLst>
                  <a:ext uri="{FF2B5EF4-FFF2-40B4-BE49-F238E27FC236}">
                    <a16:creationId xmlns:a16="http://schemas.microsoft.com/office/drawing/2014/main" id="{6B6F26F6-21F5-4B56-8649-069735015576}"/>
                  </a:ext>
                </a:extLst>
              </p:cNvPr>
              <p:cNvSpPr/>
              <p:nvPr/>
            </p:nvSpPr>
            <p:spPr>
              <a:xfrm>
                <a:off x="4512310" y="2626773"/>
                <a:ext cx="116549" cy="68539"/>
              </a:xfrm>
              <a:custGeom>
                <a:avLst/>
                <a:gdLst>
                  <a:gd name="connsiteX0" fmla="*/ 109671 w 116549"/>
                  <a:gd name="connsiteY0" fmla="*/ 51972 h 68539"/>
                  <a:gd name="connsiteX1" fmla="*/ 106382 w 116549"/>
                  <a:gd name="connsiteY1" fmla="*/ 68419 h 68539"/>
                  <a:gd name="connsiteX2" fmla="*/ 106262 w 116549"/>
                  <a:gd name="connsiteY2" fmla="*/ 68539 h 68539"/>
                  <a:gd name="connsiteX3" fmla="*/ 106083 w 116549"/>
                  <a:gd name="connsiteY3" fmla="*/ 68479 h 68539"/>
                  <a:gd name="connsiteX4" fmla="*/ 96753 w 116549"/>
                  <a:gd name="connsiteY4" fmla="*/ 57654 h 68539"/>
                  <a:gd name="connsiteX5" fmla="*/ 80485 w 116549"/>
                  <a:gd name="connsiteY5" fmla="*/ 64771 h 68539"/>
                  <a:gd name="connsiteX6" fmla="*/ 80485 w 116549"/>
                  <a:gd name="connsiteY6" fmla="*/ 64771 h 68539"/>
                  <a:gd name="connsiteX7" fmla="*/ 80485 w 116549"/>
                  <a:gd name="connsiteY7" fmla="*/ 64771 h 68539"/>
                  <a:gd name="connsiteX8" fmla="*/ 80485 w 116549"/>
                  <a:gd name="connsiteY8" fmla="*/ 64771 h 68539"/>
                  <a:gd name="connsiteX9" fmla="*/ 80485 w 116549"/>
                  <a:gd name="connsiteY9" fmla="*/ 64771 h 68539"/>
                  <a:gd name="connsiteX10" fmla="*/ 80485 w 116549"/>
                  <a:gd name="connsiteY10" fmla="*/ 64771 h 68539"/>
                  <a:gd name="connsiteX11" fmla="*/ 80485 w 116549"/>
                  <a:gd name="connsiteY11" fmla="*/ 64771 h 68539"/>
                  <a:gd name="connsiteX12" fmla="*/ 80485 w 116549"/>
                  <a:gd name="connsiteY12" fmla="*/ 64771 h 68539"/>
                  <a:gd name="connsiteX13" fmla="*/ 80485 w 116549"/>
                  <a:gd name="connsiteY13" fmla="*/ 64771 h 68539"/>
                  <a:gd name="connsiteX14" fmla="*/ 80485 w 116549"/>
                  <a:gd name="connsiteY14" fmla="*/ 64771 h 68539"/>
                  <a:gd name="connsiteX15" fmla="*/ 80485 w 116549"/>
                  <a:gd name="connsiteY15" fmla="*/ 64771 h 68539"/>
                  <a:gd name="connsiteX16" fmla="*/ 80485 w 116549"/>
                  <a:gd name="connsiteY16" fmla="*/ 64771 h 68539"/>
                  <a:gd name="connsiteX17" fmla="*/ 80485 w 116549"/>
                  <a:gd name="connsiteY17" fmla="*/ 64771 h 68539"/>
                  <a:gd name="connsiteX18" fmla="*/ 80485 w 116549"/>
                  <a:gd name="connsiteY18" fmla="*/ 64771 h 68539"/>
                  <a:gd name="connsiteX19" fmla="*/ 80485 w 116549"/>
                  <a:gd name="connsiteY19" fmla="*/ 64771 h 68539"/>
                  <a:gd name="connsiteX20" fmla="*/ 80425 w 116549"/>
                  <a:gd name="connsiteY20" fmla="*/ 64771 h 68539"/>
                  <a:gd name="connsiteX21" fmla="*/ 80425 w 116549"/>
                  <a:gd name="connsiteY21" fmla="*/ 64771 h 68539"/>
                  <a:gd name="connsiteX22" fmla="*/ 80425 w 116549"/>
                  <a:gd name="connsiteY22" fmla="*/ 64771 h 68539"/>
                  <a:gd name="connsiteX23" fmla="*/ 80425 w 116549"/>
                  <a:gd name="connsiteY23" fmla="*/ 64771 h 68539"/>
                  <a:gd name="connsiteX24" fmla="*/ 29829 w 116549"/>
                  <a:gd name="connsiteY24" fmla="*/ 52810 h 68539"/>
                  <a:gd name="connsiteX25" fmla="*/ 29709 w 116549"/>
                  <a:gd name="connsiteY25" fmla="*/ 52630 h 68539"/>
                  <a:gd name="connsiteX26" fmla="*/ 29829 w 116549"/>
                  <a:gd name="connsiteY26" fmla="*/ 52451 h 68539"/>
                  <a:gd name="connsiteX27" fmla="*/ 61108 w 116549"/>
                  <a:gd name="connsiteY27" fmla="*/ 46291 h 68539"/>
                  <a:gd name="connsiteX28" fmla="*/ 36108 w 116549"/>
                  <a:gd name="connsiteY28" fmla="*/ 22368 h 68539"/>
                  <a:gd name="connsiteX29" fmla="*/ 224 w 116549"/>
                  <a:gd name="connsiteY29" fmla="*/ 37021 h 68539"/>
                  <a:gd name="connsiteX30" fmla="*/ 45 w 116549"/>
                  <a:gd name="connsiteY30" fmla="*/ 36961 h 68539"/>
                  <a:gd name="connsiteX31" fmla="*/ 45 w 116549"/>
                  <a:gd name="connsiteY31" fmla="*/ 36781 h 68539"/>
                  <a:gd name="connsiteX32" fmla="*/ 22413 w 116549"/>
                  <a:gd name="connsiteY32" fmla="*/ 9031 h 68539"/>
                  <a:gd name="connsiteX33" fmla="*/ 22532 w 116549"/>
                  <a:gd name="connsiteY33" fmla="*/ 8971 h 68539"/>
                  <a:gd name="connsiteX34" fmla="*/ 22652 w 116549"/>
                  <a:gd name="connsiteY34" fmla="*/ 9031 h 68539"/>
                  <a:gd name="connsiteX35" fmla="*/ 36168 w 116549"/>
                  <a:gd name="connsiteY35" fmla="*/ 22009 h 68539"/>
                  <a:gd name="connsiteX36" fmla="*/ 66431 w 116549"/>
                  <a:gd name="connsiteY36" fmla="*/ 9629 h 68539"/>
                  <a:gd name="connsiteX37" fmla="*/ 64517 w 116549"/>
                  <a:gd name="connsiteY37" fmla="*/ 2093 h 68539"/>
                  <a:gd name="connsiteX38" fmla="*/ 64637 w 116549"/>
                  <a:gd name="connsiteY38" fmla="*/ 1914 h 68539"/>
                  <a:gd name="connsiteX39" fmla="*/ 64816 w 116549"/>
                  <a:gd name="connsiteY39" fmla="*/ 1974 h 68539"/>
                  <a:gd name="connsiteX40" fmla="*/ 68105 w 116549"/>
                  <a:gd name="connsiteY40" fmla="*/ 8911 h 68539"/>
                  <a:gd name="connsiteX41" fmla="*/ 89935 w 116549"/>
                  <a:gd name="connsiteY41" fmla="*/ 0 h 68539"/>
                  <a:gd name="connsiteX42" fmla="*/ 90055 w 116549"/>
                  <a:gd name="connsiteY42" fmla="*/ 0 h 68539"/>
                  <a:gd name="connsiteX43" fmla="*/ 116430 w 116549"/>
                  <a:gd name="connsiteY43" fmla="*/ 8552 h 68539"/>
                  <a:gd name="connsiteX44" fmla="*/ 116549 w 116549"/>
                  <a:gd name="connsiteY44" fmla="*/ 8672 h 68539"/>
                  <a:gd name="connsiteX45" fmla="*/ 116489 w 116549"/>
                  <a:gd name="connsiteY45" fmla="*/ 8852 h 68539"/>
                  <a:gd name="connsiteX46" fmla="*/ 83835 w 116549"/>
                  <a:gd name="connsiteY46" fmla="*/ 42044 h 68539"/>
                  <a:gd name="connsiteX47" fmla="*/ 96872 w 116549"/>
                  <a:gd name="connsiteY47" fmla="*/ 57236 h 68539"/>
                  <a:gd name="connsiteX48" fmla="*/ 109432 w 116549"/>
                  <a:gd name="connsiteY48" fmla="*/ 51733 h 68539"/>
                  <a:gd name="connsiteX49" fmla="*/ 109611 w 116549"/>
                  <a:gd name="connsiteY49" fmla="*/ 51733 h 68539"/>
                  <a:gd name="connsiteX50" fmla="*/ 109671 w 116549"/>
                  <a:gd name="connsiteY50" fmla="*/ 51972 h 68539"/>
                  <a:gd name="connsiteX51" fmla="*/ 109671 w 116549"/>
                  <a:gd name="connsiteY51" fmla="*/ 51972 h 68539"/>
                  <a:gd name="connsiteX52" fmla="*/ 106143 w 116549"/>
                  <a:gd name="connsiteY52" fmla="*/ 68061 h 68539"/>
                  <a:gd name="connsiteX53" fmla="*/ 109253 w 116549"/>
                  <a:gd name="connsiteY53" fmla="*/ 52212 h 68539"/>
                  <a:gd name="connsiteX54" fmla="*/ 97112 w 116549"/>
                  <a:gd name="connsiteY54" fmla="*/ 57535 h 68539"/>
                  <a:gd name="connsiteX55" fmla="*/ 106143 w 116549"/>
                  <a:gd name="connsiteY55" fmla="*/ 68061 h 68539"/>
                  <a:gd name="connsiteX56" fmla="*/ 68285 w 116549"/>
                  <a:gd name="connsiteY56" fmla="*/ 9330 h 68539"/>
                  <a:gd name="connsiteX57" fmla="*/ 83715 w 116549"/>
                  <a:gd name="connsiteY57" fmla="*/ 41865 h 68539"/>
                  <a:gd name="connsiteX58" fmla="*/ 116131 w 116549"/>
                  <a:gd name="connsiteY58" fmla="*/ 8911 h 68539"/>
                  <a:gd name="connsiteX59" fmla="*/ 90055 w 116549"/>
                  <a:gd name="connsiteY59" fmla="*/ 419 h 68539"/>
                  <a:gd name="connsiteX60" fmla="*/ 68285 w 116549"/>
                  <a:gd name="connsiteY60" fmla="*/ 9330 h 68539"/>
                  <a:gd name="connsiteX61" fmla="*/ 75402 w 116549"/>
                  <a:gd name="connsiteY61" fmla="*/ 43898 h 68539"/>
                  <a:gd name="connsiteX62" fmla="*/ 80605 w 116549"/>
                  <a:gd name="connsiteY62" fmla="*/ 64472 h 68539"/>
                  <a:gd name="connsiteX63" fmla="*/ 96633 w 116549"/>
                  <a:gd name="connsiteY63" fmla="*/ 57475 h 68539"/>
                  <a:gd name="connsiteX64" fmla="*/ 83595 w 116549"/>
                  <a:gd name="connsiteY64" fmla="*/ 42344 h 68539"/>
                  <a:gd name="connsiteX65" fmla="*/ 75402 w 116549"/>
                  <a:gd name="connsiteY65" fmla="*/ 43898 h 68539"/>
                  <a:gd name="connsiteX66" fmla="*/ 61825 w 116549"/>
                  <a:gd name="connsiteY66" fmla="*/ 46590 h 68539"/>
                  <a:gd name="connsiteX67" fmla="*/ 80186 w 116549"/>
                  <a:gd name="connsiteY67" fmla="*/ 64173 h 68539"/>
                  <a:gd name="connsiteX68" fmla="*/ 75103 w 116549"/>
                  <a:gd name="connsiteY68" fmla="*/ 43958 h 68539"/>
                  <a:gd name="connsiteX69" fmla="*/ 61825 w 116549"/>
                  <a:gd name="connsiteY69" fmla="*/ 46590 h 68539"/>
                  <a:gd name="connsiteX70" fmla="*/ 30666 w 116549"/>
                  <a:gd name="connsiteY70" fmla="*/ 52690 h 68539"/>
                  <a:gd name="connsiteX71" fmla="*/ 79947 w 116549"/>
                  <a:gd name="connsiteY71" fmla="*/ 64353 h 68539"/>
                  <a:gd name="connsiteX72" fmla="*/ 61407 w 116549"/>
                  <a:gd name="connsiteY72" fmla="*/ 46650 h 68539"/>
                  <a:gd name="connsiteX73" fmla="*/ 30666 w 116549"/>
                  <a:gd name="connsiteY73" fmla="*/ 52690 h 68539"/>
                  <a:gd name="connsiteX74" fmla="*/ 66849 w 116549"/>
                  <a:gd name="connsiteY74" fmla="*/ 9928 h 68539"/>
                  <a:gd name="connsiteX75" fmla="*/ 75342 w 116549"/>
                  <a:gd name="connsiteY75" fmla="*/ 43600 h 68539"/>
                  <a:gd name="connsiteX76" fmla="*/ 83476 w 116549"/>
                  <a:gd name="connsiteY76" fmla="*/ 41985 h 68539"/>
                  <a:gd name="connsiteX77" fmla="*/ 68046 w 116549"/>
                  <a:gd name="connsiteY77" fmla="*/ 9450 h 68539"/>
                  <a:gd name="connsiteX78" fmla="*/ 66849 w 116549"/>
                  <a:gd name="connsiteY78" fmla="*/ 9928 h 68539"/>
                  <a:gd name="connsiteX79" fmla="*/ 36467 w 116549"/>
                  <a:gd name="connsiteY79" fmla="*/ 22308 h 68539"/>
                  <a:gd name="connsiteX80" fmla="*/ 61527 w 116549"/>
                  <a:gd name="connsiteY80" fmla="*/ 46291 h 68539"/>
                  <a:gd name="connsiteX81" fmla="*/ 75043 w 116549"/>
                  <a:gd name="connsiteY81" fmla="*/ 43659 h 68539"/>
                  <a:gd name="connsiteX82" fmla="*/ 66551 w 116549"/>
                  <a:gd name="connsiteY82" fmla="*/ 10048 h 68539"/>
                  <a:gd name="connsiteX83" fmla="*/ 36467 w 116549"/>
                  <a:gd name="connsiteY83" fmla="*/ 22308 h 68539"/>
                  <a:gd name="connsiteX84" fmla="*/ 66730 w 116549"/>
                  <a:gd name="connsiteY84" fmla="*/ 9569 h 68539"/>
                  <a:gd name="connsiteX85" fmla="*/ 67806 w 116549"/>
                  <a:gd name="connsiteY85" fmla="*/ 9091 h 68539"/>
                  <a:gd name="connsiteX86" fmla="*/ 65235 w 116549"/>
                  <a:gd name="connsiteY86" fmla="*/ 3648 h 68539"/>
                  <a:gd name="connsiteX87" fmla="*/ 66730 w 116549"/>
                  <a:gd name="connsiteY87" fmla="*/ 9569 h 68539"/>
                  <a:gd name="connsiteX88" fmla="*/ 703 w 116549"/>
                  <a:gd name="connsiteY88" fmla="*/ 36602 h 68539"/>
                  <a:gd name="connsiteX89" fmla="*/ 35869 w 116549"/>
                  <a:gd name="connsiteY89" fmla="*/ 22248 h 68539"/>
                  <a:gd name="connsiteX90" fmla="*/ 22592 w 116549"/>
                  <a:gd name="connsiteY90" fmla="*/ 9509 h 68539"/>
                  <a:gd name="connsiteX91" fmla="*/ 703 w 116549"/>
                  <a:gd name="connsiteY91" fmla="*/ 36602 h 6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16549" h="68539">
                    <a:moveTo>
                      <a:pt x="109671" y="51972"/>
                    </a:moveTo>
                    <a:lnTo>
                      <a:pt x="106382" y="68419"/>
                    </a:lnTo>
                    <a:cubicBezTo>
                      <a:pt x="106382" y="68479"/>
                      <a:pt x="106322" y="68539"/>
                      <a:pt x="106262" y="68539"/>
                    </a:cubicBezTo>
                    <a:cubicBezTo>
                      <a:pt x="106203" y="68539"/>
                      <a:pt x="106143" y="68539"/>
                      <a:pt x="106083" y="68479"/>
                    </a:cubicBezTo>
                    <a:lnTo>
                      <a:pt x="96753" y="57654"/>
                    </a:lnTo>
                    <a:lnTo>
                      <a:pt x="80485" y="64771"/>
                    </a:lnTo>
                    <a:cubicBezTo>
                      <a:pt x="80485" y="64771"/>
                      <a:pt x="80485" y="64771"/>
                      <a:pt x="80485" y="64771"/>
                    </a:cubicBezTo>
                    <a:lnTo>
                      <a:pt x="80485" y="64771"/>
                    </a:lnTo>
                    <a:cubicBezTo>
                      <a:pt x="80485" y="64771"/>
                      <a:pt x="80485" y="64771"/>
                      <a:pt x="80485" y="64771"/>
                    </a:cubicBezTo>
                    <a:lnTo>
                      <a:pt x="80485" y="64771"/>
                    </a:lnTo>
                    <a:cubicBezTo>
                      <a:pt x="80485" y="64771"/>
                      <a:pt x="80485" y="64771"/>
                      <a:pt x="80485" y="64771"/>
                    </a:cubicBezTo>
                    <a:lnTo>
                      <a:pt x="80485" y="64771"/>
                    </a:lnTo>
                    <a:lnTo>
                      <a:pt x="80485" y="64771"/>
                    </a:lnTo>
                    <a:lnTo>
                      <a:pt x="80485" y="64771"/>
                    </a:lnTo>
                    <a:cubicBezTo>
                      <a:pt x="80485" y="64771"/>
                      <a:pt x="80485" y="64771"/>
                      <a:pt x="80485" y="64771"/>
                    </a:cubicBezTo>
                    <a:lnTo>
                      <a:pt x="80485" y="64771"/>
                    </a:lnTo>
                    <a:cubicBezTo>
                      <a:pt x="80485" y="64771"/>
                      <a:pt x="80485" y="64771"/>
                      <a:pt x="80485" y="64771"/>
                    </a:cubicBezTo>
                    <a:lnTo>
                      <a:pt x="80485" y="64771"/>
                    </a:lnTo>
                    <a:lnTo>
                      <a:pt x="80485" y="64771"/>
                    </a:lnTo>
                    <a:lnTo>
                      <a:pt x="80485" y="64771"/>
                    </a:lnTo>
                    <a:cubicBezTo>
                      <a:pt x="80485" y="64771"/>
                      <a:pt x="80425" y="64771"/>
                      <a:pt x="80425" y="64771"/>
                    </a:cubicBezTo>
                    <a:lnTo>
                      <a:pt x="80425" y="64771"/>
                    </a:lnTo>
                    <a:cubicBezTo>
                      <a:pt x="80425" y="64771"/>
                      <a:pt x="80425" y="64771"/>
                      <a:pt x="80425" y="64771"/>
                    </a:cubicBezTo>
                    <a:cubicBezTo>
                      <a:pt x="80425" y="64771"/>
                      <a:pt x="80425" y="64771"/>
                      <a:pt x="80425" y="64771"/>
                    </a:cubicBezTo>
                    <a:lnTo>
                      <a:pt x="29829" y="52810"/>
                    </a:lnTo>
                    <a:cubicBezTo>
                      <a:pt x="29769" y="52810"/>
                      <a:pt x="29709" y="52750"/>
                      <a:pt x="29709" y="52630"/>
                    </a:cubicBezTo>
                    <a:cubicBezTo>
                      <a:pt x="29709" y="52571"/>
                      <a:pt x="29769" y="52511"/>
                      <a:pt x="29829" y="52451"/>
                    </a:cubicBezTo>
                    <a:lnTo>
                      <a:pt x="61108" y="46291"/>
                    </a:lnTo>
                    <a:lnTo>
                      <a:pt x="36108" y="22368"/>
                    </a:lnTo>
                    <a:lnTo>
                      <a:pt x="224" y="37021"/>
                    </a:lnTo>
                    <a:cubicBezTo>
                      <a:pt x="164" y="37021"/>
                      <a:pt x="104" y="37021"/>
                      <a:pt x="45" y="36961"/>
                    </a:cubicBezTo>
                    <a:cubicBezTo>
                      <a:pt x="-15" y="36901"/>
                      <a:pt x="-15" y="36841"/>
                      <a:pt x="45" y="36781"/>
                    </a:cubicBezTo>
                    <a:lnTo>
                      <a:pt x="22413" y="9031"/>
                    </a:lnTo>
                    <a:cubicBezTo>
                      <a:pt x="22413" y="8971"/>
                      <a:pt x="22473" y="8971"/>
                      <a:pt x="22532" y="8971"/>
                    </a:cubicBezTo>
                    <a:cubicBezTo>
                      <a:pt x="22592" y="8971"/>
                      <a:pt x="22592" y="8971"/>
                      <a:pt x="22652" y="9031"/>
                    </a:cubicBezTo>
                    <a:lnTo>
                      <a:pt x="36168" y="22009"/>
                    </a:lnTo>
                    <a:lnTo>
                      <a:pt x="66431" y="9629"/>
                    </a:lnTo>
                    <a:lnTo>
                      <a:pt x="64517" y="2093"/>
                    </a:lnTo>
                    <a:cubicBezTo>
                      <a:pt x="64517" y="1974"/>
                      <a:pt x="64517" y="1914"/>
                      <a:pt x="64637" y="1914"/>
                    </a:cubicBezTo>
                    <a:cubicBezTo>
                      <a:pt x="64696" y="1854"/>
                      <a:pt x="64816" y="1914"/>
                      <a:pt x="64816" y="1974"/>
                    </a:cubicBezTo>
                    <a:lnTo>
                      <a:pt x="68105" y="8911"/>
                    </a:lnTo>
                    <a:lnTo>
                      <a:pt x="89935" y="0"/>
                    </a:lnTo>
                    <a:cubicBezTo>
                      <a:pt x="89995" y="0"/>
                      <a:pt x="89995" y="0"/>
                      <a:pt x="90055" y="0"/>
                    </a:cubicBezTo>
                    <a:lnTo>
                      <a:pt x="116430" y="8552"/>
                    </a:lnTo>
                    <a:cubicBezTo>
                      <a:pt x="116489" y="8552"/>
                      <a:pt x="116549" y="8612"/>
                      <a:pt x="116549" y="8672"/>
                    </a:cubicBezTo>
                    <a:cubicBezTo>
                      <a:pt x="116549" y="8732"/>
                      <a:pt x="116549" y="8792"/>
                      <a:pt x="116489" y="8852"/>
                    </a:cubicBezTo>
                    <a:lnTo>
                      <a:pt x="83835" y="42044"/>
                    </a:lnTo>
                    <a:lnTo>
                      <a:pt x="96872" y="57236"/>
                    </a:lnTo>
                    <a:lnTo>
                      <a:pt x="109432" y="51733"/>
                    </a:lnTo>
                    <a:cubicBezTo>
                      <a:pt x="109492" y="51733"/>
                      <a:pt x="109552" y="51733"/>
                      <a:pt x="109611" y="51733"/>
                    </a:cubicBezTo>
                    <a:cubicBezTo>
                      <a:pt x="109671" y="51853"/>
                      <a:pt x="109671" y="51913"/>
                      <a:pt x="109671" y="51972"/>
                    </a:cubicBezTo>
                    <a:lnTo>
                      <a:pt x="109671" y="51972"/>
                    </a:lnTo>
                    <a:close/>
                    <a:moveTo>
                      <a:pt x="106143" y="68061"/>
                    </a:moveTo>
                    <a:lnTo>
                      <a:pt x="109253" y="52212"/>
                    </a:lnTo>
                    <a:lnTo>
                      <a:pt x="97112" y="57535"/>
                    </a:lnTo>
                    <a:lnTo>
                      <a:pt x="106143" y="68061"/>
                    </a:lnTo>
                    <a:close/>
                    <a:moveTo>
                      <a:pt x="68285" y="9330"/>
                    </a:moveTo>
                    <a:lnTo>
                      <a:pt x="83715" y="41865"/>
                    </a:lnTo>
                    <a:lnTo>
                      <a:pt x="116131" y="8911"/>
                    </a:lnTo>
                    <a:lnTo>
                      <a:pt x="90055" y="419"/>
                    </a:lnTo>
                    <a:lnTo>
                      <a:pt x="68285" y="9330"/>
                    </a:lnTo>
                    <a:close/>
                    <a:moveTo>
                      <a:pt x="75402" y="43898"/>
                    </a:moveTo>
                    <a:lnTo>
                      <a:pt x="80605" y="64472"/>
                    </a:lnTo>
                    <a:lnTo>
                      <a:pt x="96633" y="57475"/>
                    </a:lnTo>
                    <a:lnTo>
                      <a:pt x="83595" y="42344"/>
                    </a:lnTo>
                    <a:lnTo>
                      <a:pt x="75402" y="43898"/>
                    </a:lnTo>
                    <a:close/>
                    <a:moveTo>
                      <a:pt x="61825" y="46590"/>
                    </a:moveTo>
                    <a:lnTo>
                      <a:pt x="80186" y="64173"/>
                    </a:lnTo>
                    <a:lnTo>
                      <a:pt x="75103" y="43958"/>
                    </a:lnTo>
                    <a:lnTo>
                      <a:pt x="61825" y="46590"/>
                    </a:lnTo>
                    <a:close/>
                    <a:moveTo>
                      <a:pt x="30666" y="52690"/>
                    </a:moveTo>
                    <a:lnTo>
                      <a:pt x="79947" y="64353"/>
                    </a:lnTo>
                    <a:lnTo>
                      <a:pt x="61407" y="46650"/>
                    </a:lnTo>
                    <a:lnTo>
                      <a:pt x="30666" y="52690"/>
                    </a:lnTo>
                    <a:close/>
                    <a:moveTo>
                      <a:pt x="66849" y="9928"/>
                    </a:moveTo>
                    <a:lnTo>
                      <a:pt x="75342" y="43600"/>
                    </a:lnTo>
                    <a:lnTo>
                      <a:pt x="83476" y="41985"/>
                    </a:lnTo>
                    <a:lnTo>
                      <a:pt x="68046" y="9450"/>
                    </a:lnTo>
                    <a:lnTo>
                      <a:pt x="66849" y="9928"/>
                    </a:lnTo>
                    <a:close/>
                    <a:moveTo>
                      <a:pt x="36467" y="22308"/>
                    </a:moveTo>
                    <a:lnTo>
                      <a:pt x="61527" y="46291"/>
                    </a:lnTo>
                    <a:lnTo>
                      <a:pt x="75043" y="43659"/>
                    </a:lnTo>
                    <a:lnTo>
                      <a:pt x="66551" y="10048"/>
                    </a:lnTo>
                    <a:lnTo>
                      <a:pt x="36467" y="22308"/>
                    </a:lnTo>
                    <a:close/>
                    <a:moveTo>
                      <a:pt x="66730" y="9569"/>
                    </a:moveTo>
                    <a:lnTo>
                      <a:pt x="67806" y="9091"/>
                    </a:lnTo>
                    <a:lnTo>
                      <a:pt x="65235" y="3648"/>
                    </a:lnTo>
                    <a:lnTo>
                      <a:pt x="66730" y="9569"/>
                    </a:lnTo>
                    <a:close/>
                    <a:moveTo>
                      <a:pt x="703" y="36602"/>
                    </a:moveTo>
                    <a:lnTo>
                      <a:pt x="35869" y="22248"/>
                    </a:lnTo>
                    <a:lnTo>
                      <a:pt x="22592" y="9509"/>
                    </a:lnTo>
                    <a:lnTo>
                      <a:pt x="703" y="36602"/>
                    </a:lnTo>
                    <a:close/>
                  </a:path>
                </a:pathLst>
              </a:custGeom>
              <a:grpFill/>
              <a:ln w="6350" cap="flat">
                <a:solidFill>
                  <a:schemeClr val="bg1">
                    <a:alpha val="80000"/>
                  </a:schemeClr>
                </a:solidFill>
                <a:prstDash val="solid"/>
                <a:miter/>
              </a:ln>
            </p:spPr>
            <p:txBody>
              <a:bodyPr rtlCol="0" anchor="ctr"/>
              <a:lstStyle/>
              <a:p>
                <a:endParaRPr lang="en-GB"/>
              </a:p>
            </p:txBody>
          </p:sp>
          <p:sp>
            <p:nvSpPr>
              <p:cNvPr id="8871" name="Vrije vorm: vorm 8870">
                <a:extLst>
                  <a:ext uri="{FF2B5EF4-FFF2-40B4-BE49-F238E27FC236}">
                    <a16:creationId xmlns:a16="http://schemas.microsoft.com/office/drawing/2014/main" id="{5180AF45-2589-42F7-BF3F-E876EA628E17}"/>
                  </a:ext>
                </a:extLst>
              </p:cNvPr>
              <p:cNvSpPr/>
              <p:nvPr/>
            </p:nvSpPr>
            <p:spPr>
              <a:xfrm>
                <a:off x="4518655" y="2626270"/>
                <a:ext cx="4584" cy="12683"/>
              </a:xfrm>
              <a:custGeom>
                <a:avLst/>
                <a:gdLst>
                  <a:gd name="connsiteX0" fmla="*/ 4584 w 4584"/>
                  <a:gd name="connsiteY0" fmla="*/ 6783 h 12683"/>
                  <a:gd name="connsiteX1" fmla="*/ 4584 w 4584"/>
                  <a:gd name="connsiteY1" fmla="*/ 6663 h 12683"/>
                  <a:gd name="connsiteX2" fmla="*/ 936 w 4584"/>
                  <a:gd name="connsiteY2" fmla="*/ 84 h 12683"/>
                  <a:gd name="connsiteX3" fmla="*/ 697 w 4584"/>
                  <a:gd name="connsiteY3" fmla="*/ 25 h 12683"/>
                  <a:gd name="connsiteX4" fmla="*/ 637 w 4584"/>
                  <a:gd name="connsiteY4" fmla="*/ 264 h 12683"/>
                  <a:gd name="connsiteX5" fmla="*/ 4226 w 4584"/>
                  <a:gd name="connsiteY5" fmla="*/ 6783 h 12683"/>
                  <a:gd name="connsiteX6" fmla="*/ 39 w 4584"/>
                  <a:gd name="connsiteY6" fmla="*/ 12405 h 12683"/>
                  <a:gd name="connsiteX7" fmla="*/ 99 w 4584"/>
                  <a:gd name="connsiteY7" fmla="*/ 12644 h 12683"/>
                  <a:gd name="connsiteX8" fmla="*/ 338 w 4584"/>
                  <a:gd name="connsiteY8" fmla="*/ 12584 h 12683"/>
                  <a:gd name="connsiteX9" fmla="*/ 4584 w 4584"/>
                  <a:gd name="connsiteY9" fmla="*/ 6903 h 12683"/>
                  <a:gd name="connsiteX10" fmla="*/ 4584 w 4584"/>
                  <a:gd name="connsiteY10" fmla="*/ 6783 h 12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84" h="12683">
                    <a:moveTo>
                      <a:pt x="4584" y="6783"/>
                    </a:moveTo>
                    <a:cubicBezTo>
                      <a:pt x="4584" y="6723"/>
                      <a:pt x="4584" y="6723"/>
                      <a:pt x="4584" y="6663"/>
                    </a:cubicBezTo>
                    <a:lnTo>
                      <a:pt x="936" y="84"/>
                    </a:lnTo>
                    <a:cubicBezTo>
                      <a:pt x="876" y="25"/>
                      <a:pt x="817" y="-35"/>
                      <a:pt x="697" y="25"/>
                    </a:cubicBezTo>
                    <a:cubicBezTo>
                      <a:pt x="637" y="84"/>
                      <a:pt x="577" y="144"/>
                      <a:pt x="637" y="264"/>
                    </a:cubicBezTo>
                    <a:lnTo>
                      <a:pt x="4226" y="6783"/>
                    </a:lnTo>
                    <a:lnTo>
                      <a:pt x="39" y="12405"/>
                    </a:lnTo>
                    <a:cubicBezTo>
                      <a:pt x="-21" y="12465"/>
                      <a:pt x="-21" y="12584"/>
                      <a:pt x="99" y="12644"/>
                    </a:cubicBezTo>
                    <a:cubicBezTo>
                      <a:pt x="159" y="12704"/>
                      <a:pt x="278" y="12704"/>
                      <a:pt x="338" y="12584"/>
                    </a:cubicBezTo>
                    <a:lnTo>
                      <a:pt x="4584" y="6903"/>
                    </a:lnTo>
                    <a:cubicBezTo>
                      <a:pt x="4525" y="6843"/>
                      <a:pt x="4584" y="6783"/>
                      <a:pt x="4584" y="678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72" name="Vrije vorm: vorm 8871">
                <a:extLst>
                  <a:ext uri="{FF2B5EF4-FFF2-40B4-BE49-F238E27FC236}">
                    <a16:creationId xmlns:a16="http://schemas.microsoft.com/office/drawing/2014/main" id="{1658DAB0-5160-4FCA-A6AC-C0FBFE4DCA0F}"/>
                  </a:ext>
                </a:extLst>
              </p:cNvPr>
              <p:cNvSpPr/>
              <p:nvPr/>
            </p:nvSpPr>
            <p:spPr>
              <a:xfrm>
                <a:off x="4507809" y="2628747"/>
                <a:ext cx="90847" cy="72391"/>
              </a:xfrm>
              <a:custGeom>
                <a:avLst/>
                <a:gdLst>
                  <a:gd name="connsiteX0" fmla="*/ 82474 w 90847"/>
                  <a:gd name="connsiteY0" fmla="*/ 72367 h 72391"/>
                  <a:gd name="connsiteX1" fmla="*/ 82235 w 90847"/>
                  <a:gd name="connsiteY1" fmla="*/ 72307 h 72391"/>
                  <a:gd name="connsiteX2" fmla="*/ 65728 w 90847"/>
                  <a:gd name="connsiteY2" fmla="*/ 40489 h 72391"/>
                  <a:gd name="connsiteX3" fmla="*/ 41506 w 90847"/>
                  <a:gd name="connsiteY3" fmla="*/ 40669 h 72391"/>
                  <a:gd name="connsiteX4" fmla="*/ 40549 w 90847"/>
                  <a:gd name="connsiteY4" fmla="*/ 42044 h 72391"/>
                  <a:gd name="connsiteX5" fmla="*/ 58013 w 90847"/>
                  <a:gd name="connsiteY5" fmla="*/ 61123 h 72391"/>
                  <a:gd name="connsiteX6" fmla="*/ 58013 w 90847"/>
                  <a:gd name="connsiteY6" fmla="*/ 61362 h 72391"/>
                  <a:gd name="connsiteX7" fmla="*/ 57833 w 90847"/>
                  <a:gd name="connsiteY7" fmla="*/ 61422 h 72391"/>
                  <a:gd name="connsiteX8" fmla="*/ 35944 w 90847"/>
                  <a:gd name="connsiteY8" fmla="*/ 48862 h 72391"/>
                  <a:gd name="connsiteX9" fmla="*/ 34568 w 90847"/>
                  <a:gd name="connsiteY9" fmla="*/ 50896 h 72391"/>
                  <a:gd name="connsiteX10" fmla="*/ 34389 w 90847"/>
                  <a:gd name="connsiteY10" fmla="*/ 50956 h 72391"/>
                  <a:gd name="connsiteX11" fmla="*/ 34269 w 90847"/>
                  <a:gd name="connsiteY11" fmla="*/ 50776 h 72391"/>
                  <a:gd name="connsiteX12" fmla="*/ 34269 w 90847"/>
                  <a:gd name="connsiteY12" fmla="*/ 50776 h 72391"/>
                  <a:gd name="connsiteX13" fmla="*/ 34927 w 90847"/>
                  <a:gd name="connsiteY13" fmla="*/ 48264 h 72391"/>
                  <a:gd name="connsiteX14" fmla="*/ 22128 w 90847"/>
                  <a:gd name="connsiteY14" fmla="*/ 40908 h 72391"/>
                  <a:gd name="connsiteX15" fmla="*/ 12201 w 90847"/>
                  <a:gd name="connsiteY15" fmla="*/ 40968 h 72391"/>
                  <a:gd name="connsiteX16" fmla="*/ 12081 w 90847"/>
                  <a:gd name="connsiteY16" fmla="*/ 40908 h 72391"/>
                  <a:gd name="connsiteX17" fmla="*/ 7356 w 90847"/>
                  <a:gd name="connsiteY17" fmla="*/ 32356 h 72391"/>
                  <a:gd name="connsiteX18" fmla="*/ 5801 w 90847"/>
                  <a:gd name="connsiteY18" fmla="*/ 31458 h 72391"/>
                  <a:gd name="connsiteX19" fmla="*/ 4904 w 90847"/>
                  <a:gd name="connsiteY19" fmla="*/ 35047 h 72391"/>
                  <a:gd name="connsiteX20" fmla="*/ 4725 w 90847"/>
                  <a:gd name="connsiteY20" fmla="*/ 35166 h 72391"/>
                  <a:gd name="connsiteX21" fmla="*/ 4545 w 90847"/>
                  <a:gd name="connsiteY21" fmla="*/ 35047 h 72391"/>
                  <a:gd name="connsiteX22" fmla="*/ 3050 w 90847"/>
                  <a:gd name="connsiteY22" fmla="*/ 29904 h 72391"/>
                  <a:gd name="connsiteX23" fmla="*/ 778 w 90847"/>
                  <a:gd name="connsiteY23" fmla="*/ 28588 h 72391"/>
                  <a:gd name="connsiteX24" fmla="*/ 718 w 90847"/>
                  <a:gd name="connsiteY24" fmla="*/ 28349 h 72391"/>
                  <a:gd name="connsiteX25" fmla="*/ 1973 w 90847"/>
                  <a:gd name="connsiteY25" fmla="*/ 26076 h 72391"/>
                  <a:gd name="connsiteX26" fmla="*/ 0 w 90847"/>
                  <a:gd name="connsiteY26" fmla="*/ 19258 h 72391"/>
                  <a:gd name="connsiteX27" fmla="*/ 119 w 90847"/>
                  <a:gd name="connsiteY27" fmla="*/ 19078 h 72391"/>
                  <a:gd name="connsiteX28" fmla="*/ 299 w 90847"/>
                  <a:gd name="connsiteY28" fmla="*/ 19138 h 72391"/>
                  <a:gd name="connsiteX29" fmla="*/ 3050 w 90847"/>
                  <a:gd name="connsiteY29" fmla="*/ 24102 h 72391"/>
                  <a:gd name="connsiteX30" fmla="*/ 10645 w 90847"/>
                  <a:gd name="connsiteY30" fmla="*/ 10167 h 72391"/>
                  <a:gd name="connsiteX31" fmla="*/ 2871 w 90847"/>
                  <a:gd name="connsiteY31" fmla="*/ 10765 h 72391"/>
                  <a:gd name="connsiteX32" fmla="*/ 2691 w 90847"/>
                  <a:gd name="connsiteY32" fmla="*/ 10586 h 72391"/>
                  <a:gd name="connsiteX33" fmla="*/ 2871 w 90847"/>
                  <a:gd name="connsiteY33" fmla="*/ 10406 h 72391"/>
                  <a:gd name="connsiteX34" fmla="*/ 10944 w 90847"/>
                  <a:gd name="connsiteY34" fmla="*/ 9808 h 72391"/>
                  <a:gd name="connsiteX35" fmla="*/ 11004 w 90847"/>
                  <a:gd name="connsiteY35" fmla="*/ 9808 h 72391"/>
                  <a:gd name="connsiteX36" fmla="*/ 11064 w 90847"/>
                  <a:gd name="connsiteY36" fmla="*/ 9868 h 72391"/>
                  <a:gd name="connsiteX37" fmla="*/ 37439 w 90847"/>
                  <a:gd name="connsiteY37" fmla="*/ 38695 h 72391"/>
                  <a:gd name="connsiteX38" fmla="*/ 43480 w 90847"/>
                  <a:gd name="connsiteY38" fmla="*/ 16327 h 72391"/>
                  <a:gd name="connsiteX39" fmla="*/ 26913 w 90847"/>
                  <a:gd name="connsiteY39" fmla="*/ 7416 h 72391"/>
                  <a:gd name="connsiteX40" fmla="*/ 26853 w 90847"/>
                  <a:gd name="connsiteY40" fmla="*/ 7237 h 72391"/>
                  <a:gd name="connsiteX41" fmla="*/ 27033 w 90847"/>
                  <a:gd name="connsiteY41" fmla="*/ 7117 h 72391"/>
                  <a:gd name="connsiteX42" fmla="*/ 45095 w 90847"/>
                  <a:gd name="connsiteY42" fmla="*/ 10466 h 72391"/>
                  <a:gd name="connsiteX43" fmla="*/ 46829 w 90847"/>
                  <a:gd name="connsiteY43" fmla="*/ 4067 h 72391"/>
                  <a:gd name="connsiteX44" fmla="*/ 46949 w 90847"/>
                  <a:gd name="connsiteY44" fmla="*/ 3947 h 72391"/>
                  <a:gd name="connsiteX45" fmla="*/ 47128 w 90847"/>
                  <a:gd name="connsiteY45" fmla="*/ 4007 h 72391"/>
                  <a:gd name="connsiteX46" fmla="*/ 51015 w 90847"/>
                  <a:gd name="connsiteY46" fmla="*/ 11543 h 72391"/>
                  <a:gd name="connsiteX47" fmla="*/ 59927 w 90847"/>
                  <a:gd name="connsiteY47" fmla="*/ 13217 h 72391"/>
                  <a:gd name="connsiteX48" fmla="*/ 68958 w 90847"/>
                  <a:gd name="connsiteY48" fmla="*/ 60 h 72391"/>
                  <a:gd name="connsiteX49" fmla="*/ 69077 w 90847"/>
                  <a:gd name="connsiteY49" fmla="*/ 0 h 72391"/>
                  <a:gd name="connsiteX50" fmla="*/ 69197 w 90847"/>
                  <a:gd name="connsiteY50" fmla="*/ 60 h 72391"/>
                  <a:gd name="connsiteX51" fmla="*/ 90787 w 90847"/>
                  <a:gd name="connsiteY51" fmla="*/ 19019 h 72391"/>
                  <a:gd name="connsiteX52" fmla="*/ 90847 w 90847"/>
                  <a:gd name="connsiteY52" fmla="*/ 19198 h 72391"/>
                  <a:gd name="connsiteX53" fmla="*/ 90668 w 90847"/>
                  <a:gd name="connsiteY53" fmla="*/ 19258 h 72391"/>
                  <a:gd name="connsiteX54" fmla="*/ 60046 w 90847"/>
                  <a:gd name="connsiteY54" fmla="*/ 13576 h 72391"/>
                  <a:gd name="connsiteX55" fmla="*/ 55501 w 90847"/>
                  <a:gd name="connsiteY55" fmla="*/ 20215 h 72391"/>
                  <a:gd name="connsiteX56" fmla="*/ 57056 w 90847"/>
                  <a:gd name="connsiteY56" fmla="*/ 23265 h 72391"/>
                  <a:gd name="connsiteX57" fmla="*/ 88156 w 90847"/>
                  <a:gd name="connsiteY57" fmla="*/ 39951 h 72391"/>
                  <a:gd name="connsiteX58" fmla="*/ 88216 w 90847"/>
                  <a:gd name="connsiteY58" fmla="*/ 40131 h 72391"/>
                  <a:gd name="connsiteX59" fmla="*/ 88036 w 90847"/>
                  <a:gd name="connsiteY59" fmla="*/ 40250 h 72391"/>
                  <a:gd name="connsiteX60" fmla="*/ 65967 w 90847"/>
                  <a:gd name="connsiteY60" fmla="*/ 40430 h 72391"/>
                  <a:gd name="connsiteX61" fmla="*/ 82414 w 90847"/>
                  <a:gd name="connsiteY61" fmla="*/ 72127 h 72391"/>
                  <a:gd name="connsiteX62" fmla="*/ 82414 w 90847"/>
                  <a:gd name="connsiteY62" fmla="*/ 72247 h 72391"/>
                  <a:gd name="connsiteX63" fmla="*/ 82474 w 90847"/>
                  <a:gd name="connsiteY63" fmla="*/ 72367 h 72391"/>
                  <a:gd name="connsiteX64" fmla="*/ 65907 w 90847"/>
                  <a:gd name="connsiteY64" fmla="*/ 40131 h 72391"/>
                  <a:gd name="connsiteX65" fmla="*/ 87498 w 90847"/>
                  <a:gd name="connsiteY65" fmla="*/ 39951 h 72391"/>
                  <a:gd name="connsiteX66" fmla="*/ 57355 w 90847"/>
                  <a:gd name="connsiteY66" fmla="*/ 23743 h 72391"/>
                  <a:gd name="connsiteX67" fmla="*/ 65907 w 90847"/>
                  <a:gd name="connsiteY67" fmla="*/ 40131 h 72391"/>
                  <a:gd name="connsiteX68" fmla="*/ 60345 w 90847"/>
                  <a:gd name="connsiteY68" fmla="*/ 13277 h 72391"/>
                  <a:gd name="connsiteX69" fmla="*/ 90189 w 90847"/>
                  <a:gd name="connsiteY69" fmla="*/ 18839 h 72391"/>
                  <a:gd name="connsiteX70" fmla="*/ 69197 w 90847"/>
                  <a:gd name="connsiteY70" fmla="*/ 359 h 72391"/>
                  <a:gd name="connsiteX71" fmla="*/ 60345 w 90847"/>
                  <a:gd name="connsiteY71" fmla="*/ 13277 h 72391"/>
                  <a:gd name="connsiteX72" fmla="*/ 54305 w 90847"/>
                  <a:gd name="connsiteY72" fmla="*/ 22129 h 72391"/>
                  <a:gd name="connsiteX73" fmla="*/ 41745 w 90847"/>
                  <a:gd name="connsiteY73" fmla="*/ 40370 h 72391"/>
                  <a:gd name="connsiteX74" fmla="*/ 65548 w 90847"/>
                  <a:gd name="connsiteY74" fmla="*/ 40190 h 72391"/>
                  <a:gd name="connsiteX75" fmla="*/ 56936 w 90847"/>
                  <a:gd name="connsiteY75" fmla="*/ 23564 h 72391"/>
                  <a:gd name="connsiteX76" fmla="*/ 54305 w 90847"/>
                  <a:gd name="connsiteY76" fmla="*/ 22129 h 72391"/>
                  <a:gd name="connsiteX77" fmla="*/ 36123 w 90847"/>
                  <a:gd name="connsiteY77" fmla="*/ 48504 h 72391"/>
                  <a:gd name="connsiteX78" fmla="*/ 57056 w 90847"/>
                  <a:gd name="connsiteY78" fmla="*/ 60525 h 72391"/>
                  <a:gd name="connsiteX79" fmla="*/ 40370 w 90847"/>
                  <a:gd name="connsiteY79" fmla="*/ 42284 h 72391"/>
                  <a:gd name="connsiteX80" fmla="*/ 36123 w 90847"/>
                  <a:gd name="connsiteY80" fmla="*/ 48504 h 72391"/>
                  <a:gd name="connsiteX81" fmla="*/ 55382 w 90847"/>
                  <a:gd name="connsiteY81" fmla="*/ 19916 h 72391"/>
                  <a:gd name="connsiteX82" fmla="*/ 59747 w 90847"/>
                  <a:gd name="connsiteY82" fmla="*/ 13516 h 72391"/>
                  <a:gd name="connsiteX83" fmla="*/ 51195 w 90847"/>
                  <a:gd name="connsiteY83" fmla="*/ 11902 h 72391"/>
                  <a:gd name="connsiteX84" fmla="*/ 55382 w 90847"/>
                  <a:gd name="connsiteY84" fmla="*/ 19916 h 72391"/>
                  <a:gd name="connsiteX85" fmla="*/ 54484 w 90847"/>
                  <a:gd name="connsiteY85" fmla="*/ 21830 h 72391"/>
                  <a:gd name="connsiteX86" fmla="*/ 56637 w 90847"/>
                  <a:gd name="connsiteY86" fmla="*/ 23026 h 72391"/>
                  <a:gd name="connsiteX87" fmla="*/ 55382 w 90847"/>
                  <a:gd name="connsiteY87" fmla="*/ 20574 h 72391"/>
                  <a:gd name="connsiteX88" fmla="*/ 54484 w 90847"/>
                  <a:gd name="connsiteY88" fmla="*/ 21830 h 72391"/>
                  <a:gd name="connsiteX89" fmla="*/ 45393 w 90847"/>
                  <a:gd name="connsiteY89" fmla="*/ 10825 h 72391"/>
                  <a:gd name="connsiteX90" fmla="*/ 43958 w 90847"/>
                  <a:gd name="connsiteY90" fmla="*/ 16148 h 72391"/>
                  <a:gd name="connsiteX91" fmla="*/ 54245 w 90847"/>
                  <a:gd name="connsiteY91" fmla="*/ 21650 h 72391"/>
                  <a:gd name="connsiteX92" fmla="*/ 55262 w 90847"/>
                  <a:gd name="connsiteY92" fmla="*/ 20155 h 72391"/>
                  <a:gd name="connsiteX93" fmla="*/ 50956 w 90847"/>
                  <a:gd name="connsiteY93" fmla="*/ 11842 h 72391"/>
                  <a:gd name="connsiteX94" fmla="*/ 45393 w 90847"/>
                  <a:gd name="connsiteY94" fmla="*/ 10825 h 72391"/>
                  <a:gd name="connsiteX95" fmla="*/ 37738 w 90847"/>
                  <a:gd name="connsiteY95" fmla="*/ 38994 h 72391"/>
                  <a:gd name="connsiteX96" fmla="*/ 39054 w 90847"/>
                  <a:gd name="connsiteY96" fmla="*/ 40430 h 72391"/>
                  <a:gd name="connsiteX97" fmla="*/ 41327 w 90847"/>
                  <a:gd name="connsiteY97" fmla="*/ 40430 h 72391"/>
                  <a:gd name="connsiteX98" fmla="*/ 54006 w 90847"/>
                  <a:gd name="connsiteY98" fmla="*/ 22009 h 72391"/>
                  <a:gd name="connsiteX99" fmla="*/ 43838 w 90847"/>
                  <a:gd name="connsiteY99" fmla="*/ 16567 h 72391"/>
                  <a:gd name="connsiteX100" fmla="*/ 37738 w 90847"/>
                  <a:gd name="connsiteY100" fmla="*/ 38994 h 72391"/>
                  <a:gd name="connsiteX101" fmla="*/ 45453 w 90847"/>
                  <a:gd name="connsiteY101" fmla="*/ 10526 h 72391"/>
                  <a:gd name="connsiteX102" fmla="*/ 50657 w 90847"/>
                  <a:gd name="connsiteY102" fmla="*/ 11483 h 72391"/>
                  <a:gd name="connsiteX103" fmla="*/ 47068 w 90847"/>
                  <a:gd name="connsiteY103" fmla="*/ 4545 h 72391"/>
                  <a:gd name="connsiteX104" fmla="*/ 45453 w 90847"/>
                  <a:gd name="connsiteY104" fmla="*/ 10526 h 72391"/>
                  <a:gd name="connsiteX105" fmla="*/ 40370 w 90847"/>
                  <a:gd name="connsiteY105" fmla="*/ 41805 h 72391"/>
                  <a:gd name="connsiteX106" fmla="*/ 41147 w 90847"/>
                  <a:gd name="connsiteY106" fmla="*/ 40669 h 72391"/>
                  <a:gd name="connsiteX107" fmla="*/ 39353 w 90847"/>
                  <a:gd name="connsiteY107" fmla="*/ 40669 h 72391"/>
                  <a:gd name="connsiteX108" fmla="*/ 40370 w 90847"/>
                  <a:gd name="connsiteY108" fmla="*/ 41805 h 72391"/>
                  <a:gd name="connsiteX109" fmla="*/ 37260 w 90847"/>
                  <a:gd name="connsiteY109" fmla="*/ 40729 h 72391"/>
                  <a:gd name="connsiteX110" fmla="*/ 35286 w 90847"/>
                  <a:gd name="connsiteY110" fmla="*/ 48025 h 72391"/>
                  <a:gd name="connsiteX111" fmla="*/ 35824 w 90847"/>
                  <a:gd name="connsiteY111" fmla="*/ 48324 h 72391"/>
                  <a:gd name="connsiteX112" fmla="*/ 40130 w 90847"/>
                  <a:gd name="connsiteY112" fmla="*/ 42044 h 72391"/>
                  <a:gd name="connsiteX113" fmla="*/ 38875 w 90847"/>
                  <a:gd name="connsiteY113" fmla="*/ 40669 h 72391"/>
                  <a:gd name="connsiteX114" fmla="*/ 37260 w 90847"/>
                  <a:gd name="connsiteY114" fmla="*/ 40729 h 72391"/>
                  <a:gd name="connsiteX115" fmla="*/ 43659 w 90847"/>
                  <a:gd name="connsiteY115" fmla="*/ 16028 h 72391"/>
                  <a:gd name="connsiteX116" fmla="*/ 45095 w 90847"/>
                  <a:gd name="connsiteY116" fmla="*/ 10825 h 72391"/>
                  <a:gd name="connsiteX117" fmla="*/ 28109 w 90847"/>
                  <a:gd name="connsiteY117" fmla="*/ 7655 h 72391"/>
                  <a:gd name="connsiteX118" fmla="*/ 43659 w 90847"/>
                  <a:gd name="connsiteY118" fmla="*/ 16028 h 72391"/>
                  <a:gd name="connsiteX119" fmla="*/ 37380 w 90847"/>
                  <a:gd name="connsiteY119" fmla="*/ 40370 h 72391"/>
                  <a:gd name="connsiteX120" fmla="*/ 38635 w 90847"/>
                  <a:gd name="connsiteY120" fmla="*/ 40370 h 72391"/>
                  <a:gd name="connsiteX121" fmla="*/ 37678 w 90847"/>
                  <a:gd name="connsiteY121" fmla="*/ 39353 h 72391"/>
                  <a:gd name="connsiteX122" fmla="*/ 37380 w 90847"/>
                  <a:gd name="connsiteY122" fmla="*/ 40370 h 72391"/>
                  <a:gd name="connsiteX123" fmla="*/ 6220 w 90847"/>
                  <a:gd name="connsiteY123" fmla="*/ 29664 h 72391"/>
                  <a:gd name="connsiteX124" fmla="*/ 7536 w 90847"/>
                  <a:gd name="connsiteY124" fmla="*/ 32057 h 72391"/>
                  <a:gd name="connsiteX125" fmla="*/ 22188 w 90847"/>
                  <a:gd name="connsiteY125" fmla="*/ 40489 h 72391"/>
                  <a:gd name="connsiteX126" fmla="*/ 36961 w 90847"/>
                  <a:gd name="connsiteY126" fmla="*/ 40370 h 72391"/>
                  <a:gd name="connsiteX127" fmla="*/ 37320 w 90847"/>
                  <a:gd name="connsiteY127" fmla="*/ 39054 h 72391"/>
                  <a:gd name="connsiteX128" fmla="*/ 11004 w 90847"/>
                  <a:gd name="connsiteY128" fmla="*/ 10287 h 72391"/>
                  <a:gd name="connsiteX129" fmla="*/ 6220 w 90847"/>
                  <a:gd name="connsiteY129" fmla="*/ 29664 h 72391"/>
                  <a:gd name="connsiteX130" fmla="*/ 34808 w 90847"/>
                  <a:gd name="connsiteY130" fmla="*/ 49819 h 72391"/>
                  <a:gd name="connsiteX131" fmla="*/ 35645 w 90847"/>
                  <a:gd name="connsiteY131" fmla="*/ 48563 h 72391"/>
                  <a:gd name="connsiteX132" fmla="*/ 35226 w 90847"/>
                  <a:gd name="connsiteY132" fmla="*/ 48324 h 72391"/>
                  <a:gd name="connsiteX133" fmla="*/ 34808 w 90847"/>
                  <a:gd name="connsiteY133" fmla="*/ 49819 h 72391"/>
                  <a:gd name="connsiteX134" fmla="*/ 34987 w 90847"/>
                  <a:gd name="connsiteY134" fmla="*/ 47846 h 72391"/>
                  <a:gd name="connsiteX135" fmla="*/ 36901 w 90847"/>
                  <a:gd name="connsiteY135" fmla="*/ 40729 h 72391"/>
                  <a:gd name="connsiteX136" fmla="*/ 22727 w 90847"/>
                  <a:gd name="connsiteY136" fmla="*/ 40848 h 72391"/>
                  <a:gd name="connsiteX137" fmla="*/ 34987 w 90847"/>
                  <a:gd name="connsiteY137" fmla="*/ 47846 h 72391"/>
                  <a:gd name="connsiteX138" fmla="*/ 12320 w 90847"/>
                  <a:gd name="connsiteY138" fmla="*/ 40609 h 72391"/>
                  <a:gd name="connsiteX139" fmla="*/ 21650 w 90847"/>
                  <a:gd name="connsiteY139" fmla="*/ 40549 h 72391"/>
                  <a:gd name="connsiteX140" fmla="*/ 7895 w 90847"/>
                  <a:gd name="connsiteY140" fmla="*/ 32655 h 72391"/>
                  <a:gd name="connsiteX141" fmla="*/ 12320 w 90847"/>
                  <a:gd name="connsiteY141" fmla="*/ 40609 h 72391"/>
                  <a:gd name="connsiteX142" fmla="*/ 5861 w 90847"/>
                  <a:gd name="connsiteY142" fmla="*/ 31100 h 72391"/>
                  <a:gd name="connsiteX143" fmla="*/ 6997 w 90847"/>
                  <a:gd name="connsiteY143" fmla="*/ 31758 h 72391"/>
                  <a:gd name="connsiteX144" fmla="*/ 6100 w 90847"/>
                  <a:gd name="connsiteY144" fmla="*/ 30143 h 72391"/>
                  <a:gd name="connsiteX145" fmla="*/ 5861 w 90847"/>
                  <a:gd name="connsiteY145" fmla="*/ 31100 h 72391"/>
                  <a:gd name="connsiteX146" fmla="*/ 5981 w 90847"/>
                  <a:gd name="connsiteY146" fmla="*/ 29246 h 72391"/>
                  <a:gd name="connsiteX147" fmla="*/ 10526 w 90847"/>
                  <a:gd name="connsiteY147" fmla="*/ 11124 h 72391"/>
                  <a:gd name="connsiteX148" fmla="*/ 3289 w 90847"/>
                  <a:gd name="connsiteY148" fmla="*/ 24401 h 72391"/>
                  <a:gd name="connsiteX149" fmla="*/ 5981 w 90847"/>
                  <a:gd name="connsiteY149" fmla="*/ 29246 h 72391"/>
                  <a:gd name="connsiteX150" fmla="*/ 2332 w 90847"/>
                  <a:gd name="connsiteY150" fmla="*/ 26136 h 72391"/>
                  <a:gd name="connsiteX151" fmla="*/ 3349 w 90847"/>
                  <a:gd name="connsiteY151" fmla="*/ 29664 h 72391"/>
                  <a:gd name="connsiteX152" fmla="*/ 5562 w 90847"/>
                  <a:gd name="connsiteY152" fmla="*/ 30920 h 72391"/>
                  <a:gd name="connsiteX153" fmla="*/ 5861 w 90847"/>
                  <a:gd name="connsiteY153" fmla="*/ 29724 h 72391"/>
                  <a:gd name="connsiteX154" fmla="*/ 3110 w 90847"/>
                  <a:gd name="connsiteY154" fmla="*/ 24760 h 72391"/>
                  <a:gd name="connsiteX155" fmla="*/ 2332 w 90847"/>
                  <a:gd name="connsiteY155" fmla="*/ 26136 h 72391"/>
                  <a:gd name="connsiteX156" fmla="*/ 4725 w 90847"/>
                  <a:gd name="connsiteY156" fmla="*/ 34389 h 72391"/>
                  <a:gd name="connsiteX157" fmla="*/ 5502 w 90847"/>
                  <a:gd name="connsiteY157" fmla="*/ 31279 h 72391"/>
                  <a:gd name="connsiteX158" fmla="*/ 3528 w 90847"/>
                  <a:gd name="connsiteY158" fmla="*/ 30143 h 72391"/>
                  <a:gd name="connsiteX159" fmla="*/ 4725 w 90847"/>
                  <a:gd name="connsiteY159" fmla="*/ 34389 h 72391"/>
                  <a:gd name="connsiteX160" fmla="*/ 1136 w 90847"/>
                  <a:gd name="connsiteY160" fmla="*/ 28349 h 72391"/>
                  <a:gd name="connsiteX161" fmla="*/ 2990 w 90847"/>
                  <a:gd name="connsiteY161" fmla="*/ 29425 h 72391"/>
                  <a:gd name="connsiteX162" fmla="*/ 2153 w 90847"/>
                  <a:gd name="connsiteY162" fmla="*/ 26495 h 72391"/>
                  <a:gd name="connsiteX163" fmla="*/ 1136 w 90847"/>
                  <a:gd name="connsiteY163" fmla="*/ 28349 h 72391"/>
                  <a:gd name="connsiteX164" fmla="*/ 2213 w 90847"/>
                  <a:gd name="connsiteY164" fmla="*/ 25657 h 72391"/>
                  <a:gd name="connsiteX165" fmla="*/ 2930 w 90847"/>
                  <a:gd name="connsiteY165" fmla="*/ 24401 h 72391"/>
                  <a:gd name="connsiteX166" fmla="*/ 778 w 90847"/>
                  <a:gd name="connsiteY166" fmla="*/ 20514 h 72391"/>
                  <a:gd name="connsiteX167" fmla="*/ 2213 w 90847"/>
                  <a:gd name="connsiteY167" fmla="*/ 25657 h 72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90847" h="72391">
                    <a:moveTo>
                      <a:pt x="82474" y="72367"/>
                    </a:moveTo>
                    <a:cubicBezTo>
                      <a:pt x="82414" y="72426"/>
                      <a:pt x="82295" y="72367"/>
                      <a:pt x="82235" y="72307"/>
                    </a:cubicBezTo>
                    <a:lnTo>
                      <a:pt x="65728" y="40489"/>
                    </a:lnTo>
                    <a:lnTo>
                      <a:pt x="41506" y="40669"/>
                    </a:lnTo>
                    <a:lnTo>
                      <a:pt x="40549" y="42044"/>
                    </a:lnTo>
                    <a:lnTo>
                      <a:pt x="58013" y="61123"/>
                    </a:lnTo>
                    <a:cubicBezTo>
                      <a:pt x="58073" y="61183"/>
                      <a:pt x="58073" y="61243"/>
                      <a:pt x="58013" y="61362"/>
                    </a:cubicBezTo>
                    <a:cubicBezTo>
                      <a:pt x="57953" y="61422"/>
                      <a:pt x="57893" y="61422"/>
                      <a:pt x="57833" y="61422"/>
                    </a:cubicBezTo>
                    <a:lnTo>
                      <a:pt x="35944" y="48862"/>
                    </a:lnTo>
                    <a:lnTo>
                      <a:pt x="34568" y="50896"/>
                    </a:lnTo>
                    <a:cubicBezTo>
                      <a:pt x="34509" y="50956"/>
                      <a:pt x="34449" y="50956"/>
                      <a:pt x="34389" y="50956"/>
                    </a:cubicBezTo>
                    <a:cubicBezTo>
                      <a:pt x="34329" y="50896"/>
                      <a:pt x="34269" y="50836"/>
                      <a:pt x="34269" y="50776"/>
                    </a:cubicBezTo>
                    <a:cubicBezTo>
                      <a:pt x="34269" y="50776"/>
                      <a:pt x="34269" y="50776"/>
                      <a:pt x="34269" y="50776"/>
                    </a:cubicBezTo>
                    <a:lnTo>
                      <a:pt x="34927" y="48264"/>
                    </a:lnTo>
                    <a:lnTo>
                      <a:pt x="22128" y="40908"/>
                    </a:lnTo>
                    <a:lnTo>
                      <a:pt x="12201" y="40968"/>
                    </a:lnTo>
                    <a:cubicBezTo>
                      <a:pt x="12141" y="40968"/>
                      <a:pt x="12081" y="40908"/>
                      <a:pt x="12081" y="40908"/>
                    </a:cubicBezTo>
                    <a:lnTo>
                      <a:pt x="7356" y="32356"/>
                    </a:lnTo>
                    <a:lnTo>
                      <a:pt x="5801" y="31458"/>
                    </a:lnTo>
                    <a:lnTo>
                      <a:pt x="4904" y="35047"/>
                    </a:lnTo>
                    <a:cubicBezTo>
                      <a:pt x="4904" y="35107"/>
                      <a:pt x="4844" y="35166"/>
                      <a:pt x="4725" y="35166"/>
                    </a:cubicBezTo>
                    <a:cubicBezTo>
                      <a:pt x="4665" y="35166"/>
                      <a:pt x="4605" y="35107"/>
                      <a:pt x="4545" y="35047"/>
                    </a:cubicBezTo>
                    <a:lnTo>
                      <a:pt x="3050" y="29904"/>
                    </a:lnTo>
                    <a:lnTo>
                      <a:pt x="778" y="28588"/>
                    </a:lnTo>
                    <a:cubicBezTo>
                      <a:pt x="718" y="28528"/>
                      <a:pt x="658" y="28468"/>
                      <a:pt x="718" y="28349"/>
                    </a:cubicBezTo>
                    <a:lnTo>
                      <a:pt x="1973" y="26076"/>
                    </a:lnTo>
                    <a:lnTo>
                      <a:pt x="0" y="19258"/>
                    </a:lnTo>
                    <a:cubicBezTo>
                      <a:pt x="0" y="19198"/>
                      <a:pt x="0" y="19078"/>
                      <a:pt x="119" y="19078"/>
                    </a:cubicBezTo>
                    <a:cubicBezTo>
                      <a:pt x="179" y="19019"/>
                      <a:pt x="299" y="19078"/>
                      <a:pt x="299" y="19138"/>
                    </a:cubicBezTo>
                    <a:lnTo>
                      <a:pt x="3050" y="24102"/>
                    </a:lnTo>
                    <a:lnTo>
                      <a:pt x="10645" y="10167"/>
                    </a:lnTo>
                    <a:lnTo>
                      <a:pt x="2871" y="10765"/>
                    </a:lnTo>
                    <a:cubicBezTo>
                      <a:pt x="2751" y="10765"/>
                      <a:pt x="2691" y="10705"/>
                      <a:pt x="2691" y="10586"/>
                    </a:cubicBezTo>
                    <a:cubicBezTo>
                      <a:pt x="2691" y="10526"/>
                      <a:pt x="2751" y="10406"/>
                      <a:pt x="2871" y="10406"/>
                    </a:cubicBezTo>
                    <a:lnTo>
                      <a:pt x="10944" y="9808"/>
                    </a:lnTo>
                    <a:cubicBezTo>
                      <a:pt x="10944" y="9808"/>
                      <a:pt x="11004" y="9808"/>
                      <a:pt x="11004" y="9808"/>
                    </a:cubicBezTo>
                    <a:cubicBezTo>
                      <a:pt x="11004" y="9808"/>
                      <a:pt x="11064" y="9808"/>
                      <a:pt x="11064" y="9868"/>
                    </a:cubicBezTo>
                    <a:lnTo>
                      <a:pt x="37439" y="38695"/>
                    </a:lnTo>
                    <a:lnTo>
                      <a:pt x="43480" y="16327"/>
                    </a:lnTo>
                    <a:lnTo>
                      <a:pt x="26913" y="7416"/>
                    </a:lnTo>
                    <a:cubicBezTo>
                      <a:pt x="26853" y="7356"/>
                      <a:pt x="26794" y="7296"/>
                      <a:pt x="26853" y="7237"/>
                    </a:cubicBezTo>
                    <a:cubicBezTo>
                      <a:pt x="26853" y="7177"/>
                      <a:pt x="26973" y="7117"/>
                      <a:pt x="27033" y="7117"/>
                    </a:cubicBezTo>
                    <a:lnTo>
                      <a:pt x="45095" y="10466"/>
                    </a:lnTo>
                    <a:lnTo>
                      <a:pt x="46829" y="4067"/>
                    </a:lnTo>
                    <a:cubicBezTo>
                      <a:pt x="46829" y="4007"/>
                      <a:pt x="46889" y="3947"/>
                      <a:pt x="46949" y="3947"/>
                    </a:cubicBezTo>
                    <a:cubicBezTo>
                      <a:pt x="47008" y="3947"/>
                      <a:pt x="47068" y="3947"/>
                      <a:pt x="47128" y="4007"/>
                    </a:cubicBezTo>
                    <a:lnTo>
                      <a:pt x="51015" y="11543"/>
                    </a:lnTo>
                    <a:lnTo>
                      <a:pt x="59927" y="13217"/>
                    </a:lnTo>
                    <a:lnTo>
                      <a:pt x="68958" y="60"/>
                    </a:lnTo>
                    <a:cubicBezTo>
                      <a:pt x="68958" y="0"/>
                      <a:pt x="69017" y="0"/>
                      <a:pt x="69077" y="0"/>
                    </a:cubicBezTo>
                    <a:cubicBezTo>
                      <a:pt x="69137" y="0"/>
                      <a:pt x="69197" y="0"/>
                      <a:pt x="69197" y="60"/>
                    </a:cubicBezTo>
                    <a:lnTo>
                      <a:pt x="90787" y="19019"/>
                    </a:lnTo>
                    <a:cubicBezTo>
                      <a:pt x="90847" y="19078"/>
                      <a:pt x="90847" y="19138"/>
                      <a:pt x="90847" y="19198"/>
                    </a:cubicBezTo>
                    <a:cubicBezTo>
                      <a:pt x="90787" y="19258"/>
                      <a:pt x="90727" y="19318"/>
                      <a:pt x="90668" y="19258"/>
                    </a:cubicBezTo>
                    <a:lnTo>
                      <a:pt x="60046" y="13576"/>
                    </a:lnTo>
                    <a:lnTo>
                      <a:pt x="55501" y="20215"/>
                    </a:lnTo>
                    <a:lnTo>
                      <a:pt x="57056" y="23265"/>
                    </a:lnTo>
                    <a:lnTo>
                      <a:pt x="88156" y="39951"/>
                    </a:lnTo>
                    <a:cubicBezTo>
                      <a:pt x="88216" y="40011"/>
                      <a:pt x="88216" y="40071"/>
                      <a:pt x="88216" y="40131"/>
                    </a:cubicBezTo>
                    <a:cubicBezTo>
                      <a:pt x="88216" y="40190"/>
                      <a:pt x="88156" y="40250"/>
                      <a:pt x="88036" y="40250"/>
                    </a:cubicBezTo>
                    <a:lnTo>
                      <a:pt x="65967" y="40430"/>
                    </a:lnTo>
                    <a:lnTo>
                      <a:pt x="82414" y="72127"/>
                    </a:lnTo>
                    <a:cubicBezTo>
                      <a:pt x="82414" y="72187"/>
                      <a:pt x="82414" y="72187"/>
                      <a:pt x="82414" y="72247"/>
                    </a:cubicBezTo>
                    <a:cubicBezTo>
                      <a:pt x="82534" y="72307"/>
                      <a:pt x="82474" y="72307"/>
                      <a:pt x="82474" y="72367"/>
                    </a:cubicBezTo>
                    <a:close/>
                    <a:moveTo>
                      <a:pt x="65907" y="40131"/>
                    </a:moveTo>
                    <a:lnTo>
                      <a:pt x="87498" y="39951"/>
                    </a:lnTo>
                    <a:lnTo>
                      <a:pt x="57355" y="23743"/>
                    </a:lnTo>
                    <a:lnTo>
                      <a:pt x="65907" y="40131"/>
                    </a:lnTo>
                    <a:close/>
                    <a:moveTo>
                      <a:pt x="60345" y="13277"/>
                    </a:moveTo>
                    <a:lnTo>
                      <a:pt x="90189" y="18839"/>
                    </a:lnTo>
                    <a:lnTo>
                      <a:pt x="69197" y="359"/>
                    </a:lnTo>
                    <a:lnTo>
                      <a:pt x="60345" y="13277"/>
                    </a:lnTo>
                    <a:close/>
                    <a:moveTo>
                      <a:pt x="54305" y="22129"/>
                    </a:moveTo>
                    <a:lnTo>
                      <a:pt x="41745" y="40370"/>
                    </a:lnTo>
                    <a:lnTo>
                      <a:pt x="65548" y="40190"/>
                    </a:lnTo>
                    <a:lnTo>
                      <a:pt x="56936" y="23564"/>
                    </a:lnTo>
                    <a:lnTo>
                      <a:pt x="54305" y="22129"/>
                    </a:lnTo>
                    <a:close/>
                    <a:moveTo>
                      <a:pt x="36123" y="48504"/>
                    </a:moveTo>
                    <a:lnTo>
                      <a:pt x="57056" y="60525"/>
                    </a:lnTo>
                    <a:lnTo>
                      <a:pt x="40370" y="42284"/>
                    </a:lnTo>
                    <a:lnTo>
                      <a:pt x="36123" y="48504"/>
                    </a:lnTo>
                    <a:close/>
                    <a:moveTo>
                      <a:pt x="55382" y="19916"/>
                    </a:moveTo>
                    <a:lnTo>
                      <a:pt x="59747" y="13516"/>
                    </a:lnTo>
                    <a:lnTo>
                      <a:pt x="51195" y="11902"/>
                    </a:lnTo>
                    <a:lnTo>
                      <a:pt x="55382" y="19916"/>
                    </a:lnTo>
                    <a:close/>
                    <a:moveTo>
                      <a:pt x="54484" y="21830"/>
                    </a:moveTo>
                    <a:lnTo>
                      <a:pt x="56637" y="23026"/>
                    </a:lnTo>
                    <a:lnTo>
                      <a:pt x="55382" y="20574"/>
                    </a:lnTo>
                    <a:lnTo>
                      <a:pt x="54484" y="21830"/>
                    </a:lnTo>
                    <a:close/>
                    <a:moveTo>
                      <a:pt x="45393" y="10825"/>
                    </a:moveTo>
                    <a:lnTo>
                      <a:pt x="43958" y="16148"/>
                    </a:lnTo>
                    <a:lnTo>
                      <a:pt x="54245" y="21650"/>
                    </a:lnTo>
                    <a:lnTo>
                      <a:pt x="55262" y="20155"/>
                    </a:lnTo>
                    <a:lnTo>
                      <a:pt x="50956" y="11842"/>
                    </a:lnTo>
                    <a:lnTo>
                      <a:pt x="45393" y="10825"/>
                    </a:lnTo>
                    <a:close/>
                    <a:moveTo>
                      <a:pt x="37738" y="38994"/>
                    </a:moveTo>
                    <a:lnTo>
                      <a:pt x="39054" y="40430"/>
                    </a:lnTo>
                    <a:lnTo>
                      <a:pt x="41327" y="40430"/>
                    </a:lnTo>
                    <a:lnTo>
                      <a:pt x="54006" y="22009"/>
                    </a:lnTo>
                    <a:lnTo>
                      <a:pt x="43838" y="16567"/>
                    </a:lnTo>
                    <a:lnTo>
                      <a:pt x="37738" y="38994"/>
                    </a:lnTo>
                    <a:close/>
                    <a:moveTo>
                      <a:pt x="45453" y="10526"/>
                    </a:moveTo>
                    <a:lnTo>
                      <a:pt x="50657" y="11483"/>
                    </a:lnTo>
                    <a:lnTo>
                      <a:pt x="47068" y="4545"/>
                    </a:lnTo>
                    <a:lnTo>
                      <a:pt x="45453" y="10526"/>
                    </a:lnTo>
                    <a:close/>
                    <a:moveTo>
                      <a:pt x="40370" y="41805"/>
                    </a:moveTo>
                    <a:lnTo>
                      <a:pt x="41147" y="40669"/>
                    </a:lnTo>
                    <a:lnTo>
                      <a:pt x="39353" y="40669"/>
                    </a:lnTo>
                    <a:lnTo>
                      <a:pt x="40370" y="41805"/>
                    </a:lnTo>
                    <a:close/>
                    <a:moveTo>
                      <a:pt x="37260" y="40729"/>
                    </a:moveTo>
                    <a:lnTo>
                      <a:pt x="35286" y="48025"/>
                    </a:lnTo>
                    <a:lnTo>
                      <a:pt x="35824" y="48324"/>
                    </a:lnTo>
                    <a:lnTo>
                      <a:pt x="40130" y="42044"/>
                    </a:lnTo>
                    <a:lnTo>
                      <a:pt x="38875" y="40669"/>
                    </a:lnTo>
                    <a:lnTo>
                      <a:pt x="37260" y="40729"/>
                    </a:lnTo>
                    <a:close/>
                    <a:moveTo>
                      <a:pt x="43659" y="16028"/>
                    </a:moveTo>
                    <a:lnTo>
                      <a:pt x="45095" y="10825"/>
                    </a:lnTo>
                    <a:lnTo>
                      <a:pt x="28109" y="7655"/>
                    </a:lnTo>
                    <a:lnTo>
                      <a:pt x="43659" y="16028"/>
                    </a:lnTo>
                    <a:close/>
                    <a:moveTo>
                      <a:pt x="37380" y="40370"/>
                    </a:moveTo>
                    <a:lnTo>
                      <a:pt x="38635" y="40370"/>
                    </a:lnTo>
                    <a:lnTo>
                      <a:pt x="37678" y="39353"/>
                    </a:lnTo>
                    <a:lnTo>
                      <a:pt x="37380" y="40370"/>
                    </a:lnTo>
                    <a:close/>
                    <a:moveTo>
                      <a:pt x="6220" y="29664"/>
                    </a:moveTo>
                    <a:lnTo>
                      <a:pt x="7536" y="32057"/>
                    </a:lnTo>
                    <a:lnTo>
                      <a:pt x="22188" y="40489"/>
                    </a:lnTo>
                    <a:lnTo>
                      <a:pt x="36961" y="40370"/>
                    </a:lnTo>
                    <a:lnTo>
                      <a:pt x="37320" y="39054"/>
                    </a:lnTo>
                    <a:lnTo>
                      <a:pt x="11004" y="10287"/>
                    </a:lnTo>
                    <a:lnTo>
                      <a:pt x="6220" y="29664"/>
                    </a:lnTo>
                    <a:close/>
                    <a:moveTo>
                      <a:pt x="34808" y="49819"/>
                    </a:moveTo>
                    <a:lnTo>
                      <a:pt x="35645" y="48563"/>
                    </a:lnTo>
                    <a:lnTo>
                      <a:pt x="35226" y="48324"/>
                    </a:lnTo>
                    <a:lnTo>
                      <a:pt x="34808" y="49819"/>
                    </a:lnTo>
                    <a:close/>
                    <a:moveTo>
                      <a:pt x="34987" y="47846"/>
                    </a:moveTo>
                    <a:lnTo>
                      <a:pt x="36901" y="40729"/>
                    </a:lnTo>
                    <a:lnTo>
                      <a:pt x="22727" y="40848"/>
                    </a:lnTo>
                    <a:lnTo>
                      <a:pt x="34987" y="47846"/>
                    </a:lnTo>
                    <a:close/>
                    <a:moveTo>
                      <a:pt x="12320" y="40609"/>
                    </a:moveTo>
                    <a:lnTo>
                      <a:pt x="21650" y="40549"/>
                    </a:lnTo>
                    <a:lnTo>
                      <a:pt x="7895" y="32655"/>
                    </a:lnTo>
                    <a:lnTo>
                      <a:pt x="12320" y="40609"/>
                    </a:lnTo>
                    <a:close/>
                    <a:moveTo>
                      <a:pt x="5861" y="31100"/>
                    </a:moveTo>
                    <a:lnTo>
                      <a:pt x="6997" y="31758"/>
                    </a:lnTo>
                    <a:lnTo>
                      <a:pt x="6100" y="30143"/>
                    </a:lnTo>
                    <a:lnTo>
                      <a:pt x="5861" y="31100"/>
                    </a:lnTo>
                    <a:close/>
                    <a:moveTo>
                      <a:pt x="5981" y="29246"/>
                    </a:moveTo>
                    <a:lnTo>
                      <a:pt x="10526" y="11124"/>
                    </a:lnTo>
                    <a:lnTo>
                      <a:pt x="3289" y="24401"/>
                    </a:lnTo>
                    <a:lnTo>
                      <a:pt x="5981" y="29246"/>
                    </a:lnTo>
                    <a:close/>
                    <a:moveTo>
                      <a:pt x="2332" y="26136"/>
                    </a:moveTo>
                    <a:lnTo>
                      <a:pt x="3349" y="29664"/>
                    </a:lnTo>
                    <a:lnTo>
                      <a:pt x="5562" y="30920"/>
                    </a:lnTo>
                    <a:lnTo>
                      <a:pt x="5861" y="29724"/>
                    </a:lnTo>
                    <a:lnTo>
                      <a:pt x="3110" y="24760"/>
                    </a:lnTo>
                    <a:lnTo>
                      <a:pt x="2332" y="26136"/>
                    </a:lnTo>
                    <a:close/>
                    <a:moveTo>
                      <a:pt x="4725" y="34389"/>
                    </a:moveTo>
                    <a:lnTo>
                      <a:pt x="5502" y="31279"/>
                    </a:lnTo>
                    <a:lnTo>
                      <a:pt x="3528" y="30143"/>
                    </a:lnTo>
                    <a:lnTo>
                      <a:pt x="4725" y="34389"/>
                    </a:lnTo>
                    <a:close/>
                    <a:moveTo>
                      <a:pt x="1136" y="28349"/>
                    </a:moveTo>
                    <a:lnTo>
                      <a:pt x="2990" y="29425"/>
                    </a:lnTo>
                    <a:lnTo>
                      <a:pt x="2153" y="26495"/>
                    </a:lnTo>
                    <a:lnTo>
                      <a:pt x="1136" y="28349"/>
                    </a:lnTo>
                    <a:close/>
                    <a:moveTo>
                      <a:pt x="2213" y="25657"/>
                    </a:moveTo>
                    <a:lnTo>
                      <a:pt x="2930" y="24401"/>
                    </a:lnTo>
                    <a:lnTo>
                      <a:pt x="778" y="20514"/>
                    </a:lnTo>
                    <a:lnTo>
                      <a:pt x="2213" y="25657"/>
                    </a:lnTo>
                    <a:close/>
                  </a:path>
                </a:pathLst>
              </a:custGeom>
              <a:grpFill/>
              <a:ln w="6350" cap="flat">
                <a:solidFill>
                  <a:schemeClr val="bg1">
                    <a:alpha val="80000"/>
                  </a:schemeClr>
                </a:solidFill>
                <a:prstDash val="solid"/>
                <a:miter/>
              </a:ln>
            </p:spPr>
            <p:txBody>
              <a:bodyPr rtlCol="0" anchor="ctr"/>
              <a:lstStyle/>
              <a:p>
                <a:endParaRPr lang="en-GB"/>
              </a:p>
            </p:txBody>
          </p:sp>
          <p:sp>
            <p:nvSpPr>
              <p:cNvPr id="8873" name="Vrije vorm: vorm 8872">
                <a:extLst>
                  <a:ext uri="{FF2B5EF4-FFF2-40B4-BE49-F238E27FC236}">
                    <a16:creationId xmlns:a16="http://schemas.microsoft.com/office/drawing/2014/main" id="{0C692ACA-CB68-4CF4-92A7-30299874D81C}"/>
                  </a:ext>
                </a:extLst>
              </p:cNvPr>
              <p:cNvSpPr/>
              <p:nvPr/>
            </p:nvSpPr>
            <p:spPr>
              <a:xfrm>
                <a:off x="4519292" y="2626235"/>
                <a:ext cx="22726" cy="9808"/>
              </a:xfrm>
              <a:custGeom>
                <a:avLst/>
                <a:gdLst>
                  <a:gd name="connsiteX0" fmla="*/ 22727 w 22726"/>
                  <a:gd name="connsiteY0" fmla="*/ 478 h 9808"/>
                  <a:gd name="connsiteX1" fmla="*/ 22727 w 22726"/>
                  <a:gd name="connsiteY1" fmla="*/ 359 h 9808"/>
                  <a:gd name="connsiteX2" fmla="*/ 22607 w 22726"/>
                  <a:gd name="connsiteY2" fmla="*/ 299 h 9808"/>
                  <a:gd name="connsiteX3" fmla="*/ 179 w 22726"/>
                  <a:gd name="connsiteY3" fmla="*/ 0 h 9808"/>
                  <a:gd name="connsiteX4" fmla="*/ 0 w 22726"/>
                  <a:gd name="connsiteY4" fmla="*/ 120 h 9808"/>
                  <a:gd name="connsiteX5" fmla="*/ 0 w 22726"/>
                  <a:gd name="connsiteY5" fmla="*/ 120 h 9808"/>
                  <a:gd name="connsiteX6" fmla="*/ 179 w 22726"/>
                  <a:gd name="connsiteY6" fmla="*/ 299 h 9808"/>
                  <a:gd name="connsiteX7" fmla="*/ 22248 w 22726"/>
                  <a:gd name="connsiteY7" fmla="*/ 538 h 9808"/>
                  <a:gd name="connsiteX8" fmla="*/ 15550 w 22726"/>
                  <a:gd name="connsiteY8" fmla="*/ 9509 h 9808"/>
                  <a:gd name="connsiteX9" fmla="*/ 3828 w 22726"/>
                  <a:gd name="connsiteY9" fmla="*/ 6519 h 9808"/>
                  <a:gd name="connsiteX10" fmla="*/ 3648 w 22726"/>
                  <a:gd name="connsiteY10" fmla="*/ 6639 h 9808"/>
                  <a:gd name="connsiteX11" fmla="*/ 3648 w 22726"/>
                  <a:gd name="connsiteY11" fmla="*/ 6639 h 9808"/>
                  <a:gd name="connsiteX12" fmla="*/ 3768 w 22726"/>
                  <a:gd name="connsiteY12" fmla="*/ 6818 h 9808"/>
                  <a:gd name="connsiteX13" fmla="*/ 15550 w 22726"/>
                  <a:gd name="connsiteY13" fmla="*/ 9808 h 9808"/>
                  <a:gd name="connsiteX14" fmla="*/ 15729 w 22726"/>
                  <a:gd name="connsiteY14" fmla="*/ 9749 h 9808"/>
                  <a:gd name="connsiteX15" fmla="*/ 22727 w 22726"/>
                  <a:gd name="connsiteY15" fmla="*/ 419 h 9808"/>
                  <a:gd name="connsiteX16" fmla="*/ 22727 w 22726"/>
                  <a:gd name="connsiteY16" fmla="*/ 478 h 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26" h="9808">
                    <a:moveTo>
                      <a:pt x="22727" y="478"/>
                    </a:moveTo>
                    <a:cubicBezTo>
                      <a:pt x="22727" y="419"/>
                      <a:pt x="22727" y="419"/>
                      <a:pt x="22727" y="359"/>
                    </a:cubicBezTo>
                    <a:cubicBezTo>
                      <a:pt x="22727" y="299"/>
                      <a:pt x="22667" y="239"/>
                      <a:pt x="22607" y="299"/>
                    </a:cubicBezTo>
                    <a:lnTo>
                      <a:pt x="179" y="0"/>
                    </a:lnTo>
                    <a:cubicBezTo>
                      <a:pt x="120" y="0"/>
                      <a:pt x="60" y="60"/>
                      <a:pt x="0" y="120"/>
                    </a:cubicBezTo>
                    <a:cubicBezTo>
                      <a:pt x="0" y="120"/>
                      <a:pt x="0" y="120"/>
                      <a:pt x="0" y="120"/>
                    </a:cubicBezTo>
                    <a:cubicBezTo>
                      <a:pt x="0" y="179"/>
                      <a:pt x="60" y="299"/>
                      <a:pt x="179" y="299"/>
                    </a:cubicBezTo>
                    <a:lnTo>
                      <a:pt x="22248" y="538"/>
                    </a:lnTo>
                    <a:lnTo>
                      <a:pt x="15550" y="9509"/>
                    </a:lnTo>
                    <a:lnTo>
                      <a:pt x="3828" y="6519"/>
                    </a:lnTo>
                    <a:cubicBezTo>
                      <a:pt x="3768" y="6519"/>
                      <a:pt x="3648" y="6519"/>
                      <a:pt x="3648" y="6639"/>
                    </a:cubicBezTo>
                    <a:cubicBezTo>
                      <a:pt x="3648" y="6639"/>
                      <a:pt x="3648" y="6639"/>
                      <a:pt x="3648" y="6639"/>
                    </a:cubicBezTo>
                    <a:cubicBezTo>
                      <a:pt x="3648" y="6698"/>
                      <a:pt x="3708" y="6818"/>
                      <a:pt x="3768" y="6818"/>
                    </a:cubicBezTo>
                    <a:lnTo>
                      <a:pt x="15550" y="9808"/>
                    </a:lnTo>
                    <a:cubicBezTo>
                      <a:pt x="15610" y="9808"/>
                      <a:pt x="15669" y="9808"/>
                      <a:pt x="15729" y="9749"/>
                    </a:cubicBezTo>
                    <a:lnTo>
                      <a:pt x="22727" y="419"/>
                    </a:lnTo>
                    <a:cubicBezTo>
                      <a:pt x="22667" y="538"/>
                      <a:pt x="22667" y="538"/>
                      <a:pt x="22727" y="47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74" name="Vrije vorm: vorm 8873">
                <a:extLst>
                  <a:ext uri="{FF2B5EF4-FFF2-40B4-BE49-F238E27FC236}">
                    <a16:creationId xmlns:a16="http://schemas.microsoft.com/office/drawing/2014/main" id="{F6BAFB6F-0268-4336-AD5E-A9D8CC342220}"/>
                  </a:ext>
                </a:extLst>
              </p:cNvPr>
              <p:cNvSpPr/>
              <p:nvPr/>
            </p:nvSpPr>
            <p:spPr>
              <a:xfrm>
                <a:off x="4532390" y="2576236"/>
                <a:ext cx="80799" cy="56781"/>
              </a:xfrm>
              <a:custGeom>
                <a:avLst/>
                <a:gdLst>
                  <a:gd name="connsiteX0" fmla="*/ 80800 w 80799"/>
                  <a:gd name="connsiteY0" fmla="*/ 14234 h 56781"/>
                  <a:gd name="connsiteX1" fmla="*/ 80800 w 80799"/>
                  <a:gd name="connsiteY1" fmla="*/ 14234 h 56781"/>
                  <a:gd name="connsiteX2" fmla="*/ 80680 w 80799"/>
                  <a:gd name="connsiteY2" fmla="*/ 14055 h 56781"/>
                  <a:gd name="connsiteX3" fmla="*/ 36542 w 80799"/>
                  <a:gd name="connsiteY3" fmla="*/ 0 h 56781"/>
                  <a:gd name="connsiteX4" fmla="*/ 36363 w 80799"/>
                  <a:gd name="connsiteY4" fmla="*/ 120 h 56781"/>
                  <a:gd name="connsiteX5" fmla="*/ 36482 w 80799"/>
                  <a:gd name="connsiteY5" fmla="*/ 299 h 56781"/>
                  <a:gd name="connsiteX6" fmla="*/ 80321 w 80799"/>
                  <a:gd name="connsiteY6" fmla="*/ 14294 h 56781"/>
                  <a:gd name="connsiteX7" fmla="*/ 44975 w 80799"/>
                  <a:gd name="connsiteY7" fmla="*/ 40549 h 56781"/>
                  <a:gd name="connsiteX8" fmla="*/ 179 w 80799"/>
                  <a:gd name="connsiteY8" fmla="*/ 33373 h 56781"/>
                  <a:gd name="connsiteX9" fmla="*/ 0 w 80799"/>
                  <a:gd name="connsiteY9" fmla="*/ 33492 h 56781"/>
                  <a:gd name="connsiteX10" fmla="*/ 60 w 80799"/>
                  <a:gd name="connsiteY10" fmla="*/ 33671 h 56781"/>
                  <a:gd name="connsiteX11" fmla="*/ 10825 w 80799"/>
                  <a:gd name="connsiteY11" fmla="*/ 39114 h 56781"/>
                  <a:gd name="connsiteX12" fmla="*/ 27631 w 80799"/>
                  <a:gd name="connsiteY12" fmla="*/ 46231 h 56781"/>
                  <a:gd name="connsiteX13" fmla="*/ 22368 w 80799"/>
                  <a:gd name="connsiteY13" fmla="*/ 56398 h 56781"/>
                  <a:gd name="connsiteX14" fmla="*/ 9509 w 80799"/>
                  <a:gd name="connsiteY14" fmla="*/ 50298 h 56781"/>
                  <a:gd name="connsiteX15" fmla="*/ 9270 w 80799"/>
                  <a:gd name="connsiteY15" fmla="*/ 50358 h 56781"/>
                  <a:gd name="connsiteX16" fmla="*/ 9270 w 80799"/>
                  <a:gd name="connsiteY16" fmla="*/ 50418 h 56781"/>
                  <a:gd name="connsiteX17" fmla="*/ 9390 w 80799"/>
                  <a:gd name="connsiteY17" fmla="*/ 50597 h 56781"/>
                  <a:gd name="connsiteX18" fmla="*/ 22368 w 80799"/>
                  <a:gd name="connsiteY18" fmla="*/ 56757 h 56781"/>
                  <a:gd name="connsiteX19" fmla="*/ 22607 w 80799"/>
                  <a:gd name="connsiteY19" fmla="*/ 56697 h 56781"/>
                  <a:gd name="connsiteX20" fmla="*/ 28050 w 80799"/>
                  <a:gd name="connsiteY20" fmla="*/ 46231 h 56781"/>
                  <a:gd name="connsiteX21" fmla="*/ 28050 w 80799"/>
                  <a:gd name="connsiteY21" fmla="*/ 46111 h 56781"/>
                  <a:gd name="connsiteX22" fmla="*/ 27990 w 80799"/>
                  <a:gd name="connsiteY22" fmla="*/ 45992 h 56781"/>
                  <a:gd name="connsiteX23" fmla="*/ 11064 w 80799"/>
                  <a:gd name="connsiteY23" fmla="*/ 38815 h 56781"/>
                  <a:gd name="connsiteX24" fmla="*/ 1196 w 80799"/>
                  <a:gd name="connsiteY24" fmla="*/ 33791 h 56781"/>
                  <a:gd name="connsiteX25" fmla="*/ 45035 w 80799"/>
                  <a:gd name="connsiteY25" fmla="*/ 40848 h 56781"/>
                  <a:gd name="connsiteX26" fmla="*/ 45154 w 80799"/>
                  <a:gd name="connsiteY26" fmla="*/ 40848 h 56781"/>
                  <a:gd name="connsiteX27" fmla="*/ 80800 w 80799"/>
                  <a:gd name="connsiteY27" fmla="*/ 14354 h 56781"/>
                  <a:gd name="connsiteX28" fmla="*/ 80800 w 80799"/>
                  <a:gd name="connsiteY28" fmla="*/ 14234 h 5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0799" h="56781">
                    <a:moveTo>
                      <a:pt x="80800" y="14234"/>
                    </a:moveTo>
                    <a:cubicBezTo>
                      <a:pt x="80800" y="14174"/>
                      <a:pt x="80800" y="14174"/>
                      <a:pt x="80800" y="14234"/>
                    </a:cubicBezTo>
                    <a:cubicBezTo>
                      <a:pt x="80800" y="14115"/>
                      <a:pt x="80740" y="14055"/>
                      <a:pt x="80680" y="14055"/>
                    </a:cubicBezTo>
                    <a:lnTo>
                      <a:pt x="36542" y="0"/>
                    </a:lnTo>
                    <a:cubicBezTo>
                      <a:pt x="36482" y="0"/>
                      <a:pt x="36363" y="0"/>
                      <a:pt x="36363" y="120"/>
                    </a:cubicBezTo>
                    <a:cubicBezTo>
                      <a:pt x="36363" y="180"/>
                      <a:pt x="36363" y="299"/>
                      <a:pt x="36482" y="299"/>
                    </a:cubicBezTo>
                    <a:lnTo>
                      <a:pt x="80321" y="14294"/>
                    </a:lnTo>
                    <a:lnTo>
                      <a:pt x="44975" y="40549"/>
                    </a:lnTo>
                    <a:lnTo>
                      <a:pt x="179" y="33373"/>
                    </a:lnTo>
                    <a:cubicBezTo>
                      <a:pt x="120" y="33373"/>
                      <a:pt x="0" y="33432"/>
                      <a:pt x="0" y="33492"/>
                    </a:cubicBezTo>
                    <a:cubicBezTo>
                      <a:pt x="0" y="33552"/>
                      <a:pt x="0" y="33671"/>
                      <a:pt x="60" y="33671"/>
                    </a:cubicBezTo>
                    <a:lnTo>
                      <a:pt x="10825" y="39114"/>
                    </a:lnTo>
                    <a:lnTo>
                      <a:pt x="27631" y="46231"/>
                    </a:lnTo>
                    <a:lnTo>
                      <a:pt x="22368" y="56398"/>
                    </a:lnTo>
                    <a:lnTo>
                      <a:pt x="9509" y="50298"/>
                    </a:lnTo>
                    <a:cubicBezTo>
                      <a:pt x="9450" y="50238"/>
                      <a:pt x="9330" y="50298"/>
                      <a:pt x="9270" y="50358"/>
                    </a:cubicBezTo>
                    <a:cubicBezTo>
                      <a:pt x="9270" y="50358"/>
                      <a:pt x="9270" y="50358"/>
                      <a:pt x="9270" y="50418"/>
                    </a:cubicBezTo>
                    <a:cubicBezTo>
                      <a:pt x="9270" y="50477"/>
                      <a:pt x="9270" y="50537"/>
                      <a:pt x="9390" y="50597"/>
                    </a:cubicBezTo>
                    <a:lnTo>
                      <a:pt x="22368" y="56757"/>
                    </a:lnTo>
                    <a:cubicBezTo>
                      <a:pt x="22428" y="56817"/>
                      <a:pt x="22547" y="56757"/>
                      <a:pt x="22607" y="56697"/>
                    </a:cubicBezTo>
                    <a:lnTo>
                      <a:pt x="28050" y="46231"/>
                    </a:lnTo>
                    <a:cubicBezTo>
                      <a:pt x="28050" y="46171"/>
                      <a:pt x="28050" y="46171"/>
                      <a:pt x="28050" y="46111"/>
                    </a:cubicBezTo>
                    <a:cubicBezTo>
                      <a:pt x="28050" y="46052"/>
                      <a:pt x="27990" y="46052"/>
                      <a:pt x="27990" y="45992"/>
                    </a:cubicBezTo>
                    <a:lnTo>
                      <a:pt x="11064" y="38815"/>
                    </a:lnTo>
                    <a:lnTo>
                      <a:pt x="1196" y="33791"/>
                    </a:lnTo>
                    <a:lnTo>
                      <a:pt x="45035" y="40848"/>
                    </a:lnTo>
                    <a:cubicBezTo>
                      <a:pt x="45095" y="40848"/>
                      <a:pt x="45095" y="40848"/>
                      <a:pt x="45154" y="40848"/>
                    </a:cubicBezTo>
                    <a:lnTo>
                      <a:pt x="80800" y="14354"/>
                    </a:lnTo>
                    <a:cubicBezTo>
                      <a:pt x="80800" y="14294"/>
                      <a:pt x="80800" y="14234"/>
                      <a:pt x="80800" y="1423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75" name="Vrije vorm: vorm 8874">
                <a:extLst>
                  <a:ext uri="{FF2B5EF4-FFF2-40B4-BE49-F238E27FC236}">
                    <a16:creationId xmlns:a16="http://schemas.microsoft.com/office/drawing/2014/main" id="{23583AD8-0AA9-4AA7-9362-D24D277D88C4}"/>
                  </a:ext>
                </a:extLst>
              </p:cNvPr>
              <p:cNvSpPr/>
              <p:nvPr/>
            </p:nvSpPr>
            <p:spPr>
              <a:xfrm>
                <a:off x="4576862" y="2578568"/>
                <a:ext cx="27595" cy="50561"/>
              </a:xfrm>
              <a:custGeom>
                <a:avLst/>
                <a:gdLst>
                  <a:gd name="connsiteX0" fmla="*/ 27596 w 27595"/>
                  <a:gd name="connsiteY0" fmla="*/ 37678 h 50561"/>
                  <a:gd name="connsiteX1" fmla="*/ 27596 w 27595"/>
                  <a:gd name="connsiteY1" fmla="*/ 37619 h 50561"/>
                  <a:gd name="connsiteX2" fmla="*/ 20060 w 27595"/>
                  <a:gd name="connsiteY2" fmla="*/ 120 h 50561"/>
                  <a:gd name="connsiteX3" fmla="*/ 19881 w 27595"/>
                  <a:gd name="connsiteY3" fmla="*/ 0 h 50561"/>
                  <a:gd name="connsiteX4" fmla="*/ 19761 w 27595"/>
                  <a:gd name="connsiteY4" fmla="*/ 179 h 50561"/>
                  <a:gd name="connsiteX5" fmla="*/ 27237 w 27595"/>
                  <a:gd name="connsiteY5" fmla="*/ 37559 h 50561"/>
                  <a:gd name="connsiteX6" fmla="*/ 85 w 27595"/>
                  <a:gd name="connsiteY6" fmla="*/ 50238 h 50561"/>
                  <a:gd name="connsiteX7" fmla="*/ 25 w 27595"/>
                  <a:gd name="connsiteY7" fmla="*/ 50477 h 50561"/>
                  <a:gd name="connsiteX8" fmla="*/ 264 w 27595"/>
                  <a:gd name="connsiteY8" fmla="*/ 50537 h 50561"/>
                  <a:gd name="connsiteX9" fmla="*/ 27536 w 27595"/>
                  <a:gd name="connsiteY9" fmla="*/ 37798 h 50561"/>
                  <a:gd name="connsiteX10" fmla="*/ 27596 w 27595"/>
                  <a:gd name="connsiteY10" fmla="*/ 37678 h 5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95" h="50561">
                    <a:moveTo>
                      <a:pt x="27596" y="37678"/>
                    </a:moveTo>
                    <a:cubicBezTo>
                      <a:pt x="27596" y="37678"/>
                      <a:pt x="27596" y="37619"/>
                      <a:pt x="27596" y="37619"/>
                    </a:cubicBezTo>
                    <a:lnTo>
                      <a:pt x="20060" y="120"/>
                    </a:lnTo>
                    <a:cubicBezTo>
                      <a:pt x="20060" y="60"/>
                      <a:pt x="19941" y="0"/>
                      <a:pt x="19881" y="0"/>
                    </a:cubicBezTo>
                    <a:cubicBezTo>
                      <a:pt x="19821" y="0"/>
                      <a:pt x="19761" y="120"/>
                      <a:pt x="19761" y="179"/>
                    </a:cubicBezTo>
                    <a:lnTo>
                      <a:pt x="27237" y="37559"/>
                    </a:lnTo>
                    <a:lnTo>
                      <a:pt x="85" y="50238"/>
                    </a:lnTo>
                    <a:cubicBezTo>
                      <a:pt x="25" y="50298"/>
                      <a:pt x="-35" y="50358"/>
                      <a:pt x="25" y="50477"/>
                    </a:cubicBezTo>
                    <a:cubicBezTo>
                      <a:pt x="85" y="50537"/>
                      <a:pt x="145" y="50597"/>
                      <a:pt x="264" y="50537"/>
                    </a:cubicBezTo>
                    <a:lnTo>
                      <a:pt x="27536" y="37798"/>
                    </a:lnTo>
                    <a:cubicBezTo>
                      <a:pt x="27536" y="37738"/>
                      <a:pt x="27596" y="37678"/>
                      <a:pt x="27596" y="3767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76" name="Vrije vorm: vorm 8875">
                <a:extLst>
                  <a:ext uri="{FF2B5EF4-FFF2-40B4-BE49-F238E27FC236}">
                    <a16:creationId xmlns:a16="http://schemas.microsoft.com/office/drawing/2014/main" id="{848A194F-C626-4734-9E76-3CDED18EA0E6}"/>
                  </a:ext>
                </a:extLst>
              </p:cNvPr>
              <p:cNvSpPr/>
              <p:nvPr/>
            </p:nvSpPr>
            <p:spPr>
              <a:xfrm>
                <a:off x="4554613" y="2616725"/>
                <a:ext cx="47870" cy="16232"/>
              </a:xfrm>
              <a:custGeom>
                <a:avLst/>
                <a:gdLst>
                  <a:gd name="connsiteX0" fmla="*/ 47870 w 47870"/>
                  <a:gd name="connsiteY0" fmla="*/ 10287 h 16232"/>
                  <a:gd name="connsiteX1" fmla="*/ 47751 w 47870"/>
                  <a:gd name="connsiteY1" fmla="*/ 10107 h 16232"/>
                  <a:gd name="connsiteX2" fmla="*/ 22811 w 47870"/>
                  <a:gd name="connsiteY2" fmla="*/ 0 h 16232"/>
                  <a:gd name="connsiteX3" fmla="*/ 22632 w 47870"/>
                  <a:gd name="connsiteY3" fmla="*/ 0 h 16232"/>
                  <a:gd name="connsiteX4" fmla="*/ 25 w 47870"/>
                  <a:gd name="connsiteY4" fmla="*/ 15968 h 16232"/>
                  <a:gd name="connsiteX5" fmla="*/ 85 w 47870"/>
                  <a:gd name="connsiteY5" fmla="*/ 16208 h 16232"/>
                  <a:gd name="connsiteX6" fmla="*/ 324 w 47870"/>
                  <a:gd name="connsiteY6" fmla="*/ 16148 h 16232"/>
                  <a:gd name="connsiteX7" fmla="*/ 22752 w 47870"/>
                  <a:gd name="connsiteY7" fmla="*/ 359 h 16232"/>
                  <a:gd name="connsiteX8" fmla="*/ 47631 w 47870"/>
                  <a:gd name="connsiteY8" fmla="*/ 10406 h 16232"/>
                  <a:gd name="connsiteX9" fmla="*/ 47870 w 47870"/>
                  <a:gd name="connsiteY9" fmla="*/ 10287 h 16232"/>
                  <a:gd name="connsiteX10" fmla="*/ 47870 w 47870"/>
                  <a:gd name="connsiteY10" fmla="*/ 10287 h 1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870" h="16232">
                    <a:moveTo>
                      <a:pt x="47870" y="10287"/>
                    </a:moveTo>
                    <a:cubicBezTo>
                      <a:pt x="47870" y="10227"/>
                      <a:pt x="47870" y="10167"/>
                      <a:pt x="47751" y="10107"/>
                    </a:cubicBezTo>
                    <a:lnTo>
                      <a:pt x="22811" y="0"/>
                    </a:lnTo>
                    <a:cubicBezTo>
                      <a:pt x="22752" y="0"/>
                      <a:pt x="22692" y="0"/>
                      <a:pt x="22632" y="0"/>
                    </a:cubicBezTo>
                    <a:cubicBezTo>
                      <a:pt x="21735" y="598"/>
                      <a:pt x="742" y="14593"/>
                      <a:pt x="25" y="15968"/>
                    </a:cubicBezTo>
                    <a:cubicBezTo>
                      <a:pt x="-35" y="16028"/>
                      <a:pt x="25" y="16148"/>
                      <a:pt x="85" y="16208"/>
                    </a:cubicBezTo>
                    <a:cubicBezTo>
                      <a:pt x="144" y="16268"/>
                      <a:pt x="264" y="16208"/>
                      <a:pt x="324" y="16148"/>
                    </a:cubicBezTo>
                    <a:cubicBezTo>
                      <a:pt x="862" y="15071"/>
                      <a:pt x="16651" y="4426"/>
                      <a:pt x="22752" y="359"/>
                    </a:cubicBezTo>
                    <a:lnTo>
                      <a:pt x="47631" y="10406"/>
                    </a:lnTo>
                    <a:cubicBezTo>
                      <a:pt x="47751" y="10466"/>
                      <a:pt x="47811" y="10406"/>
                      <a:pt x="47870" y="10287"/>
                    </a:cubicBezTo>
                    <a:cubicBezTo>
                      <a:pt x="47870" y="10347"/>
                      <a:pt x="47870" y="10347"/>
                      <a:pt x="47870" y="1028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77" name="Vrije vorm: vorm 8876">
                <a:extLst>
                  <a:ext uri="{FF2B5EF4-FFF2-40B4-BE49-F238E27FC236}">
                    <a16:creationId xmlns:a16="http://schemas.microsoft.com/office/drawing/2014/main" id="{90C7D000-16B4-4465-904E-DCFB6A1EC2C3}"/>
                  </a:ext>
                </a:extLst>
              </p:cNvPr>
              <p:cNvSpPr/>
              <p:nvPr/>
            </p:nvSpPr>
            <p:spPr>
              <a:xfrm>
                <a:off x="4510595" y="2574654"/>
                <a:ext cx="102654" cy="64882"/>
              </a:xfrm>
              <a:custGeom>
                <a:avLst/>
                <a:gdLst>
                  <a:gd name="connsiteX0" fmla="*/ 102654 w 102654"/>
                  <a:gd name="connsiteY0" fmla="*/ 15875 h 64882"/>
                  <a:gd name="connsiteX1" fmla="*/ 102654 w 102654"/>
                  <a:gd name="connsiteY1" fmla="*/ 15875 h 64882"/>
                  <a:gd name="connsiteX2" fmla="*/ 102534 w 102654"/>
                  <a:gd name="connsiteY2" fmla="*/ 15636 h 64882"/>
                  <a:gd name="connsiteX3" fmla="*/ 72990 w 102654"/>
                  <a:gd name="connsiteY3" fmla="*/ 13244 h 64882"/>
                  <a:gd name="connsiteX4" fmla="*/ 58397 w 102654"/>
                  <a:gd name="connsiteY4" fmla="*/ 1581 h 64882"/>
                  <a:gd name="connsiteX5" fmla="*/ 58217 w 102654"/>
                  <a:gd name="connsiteY5" fmla="*/ 1581 h 64882"/>
                  <a:gd name="connsiteX6" fmla="*/ 48648 w 102654"/>
                  <a:gd name="connsiteY6" fmla="*/ 8818 h 64882"/>
                  <a:gd name="connsiteX7" fmla="*/ 35610 w 102654"/>
                  <a:gd name="connsiteY7" fmla="*/ 27 h 64882"/>
                  <a:gd name="connsiteX8" fmla="*/ 35490 w 102654"/>
                  <a:gd name="connsiteY8" fmla="*/ 27 h 64882"/>
                  <a:gd name="connsiteX9" fmla="*/ 35371 w 102654"/>
                  <a:gd name="connsiteY9" fmla="*/ 86 h 64882"/>
                  <a:gd name="connsiteX10" fmla="*/ 25 w 102654"/>
                  <a:gd name="connsiteY10" fmla="*/ 64618 h 64882"/>
                  <a:gd name="connsiteX11" fmla="*/ 85 w 102654"/>
                  <a:gd name="connsiteY11" fmla="*/ 64858 h 64882"/>
                  <a:gd name="connsiteX12" fmla="*/ 324 w 102654"/>
                  <a:gd name="connsiteY12" fmla="*/ 64798 h 64882"/>
                  <a:gd name="connsiteX13" fmla="*/ 35610 w 102654"/>
                  <a:gd name="connsiteY13" fmla="*/ 445 h 64882"/>
                  <a:gd name="connsiteX14" fmla="*/ 48588 w 102654"/>
                  <a:gd name="connsiteY14" fmla="*/ 9237 h 64882"/>
                  <a:gd name="connsiteX15" fmla="*/ 48768 w 102654"/>
                  <a:gd name="connsiteY15" fmla="*/ 9237 h 64882"/>
                  <a:gd name="connsiteX16" fmla="*/ 58337 w 102654"/>
                  <a:gd name="connsiteY16" fmla="*/ 2000 h 64882"/>
                  <a:gd name="connsiteX17" fmla="*/ 72870 w 102654"/>
                  <a:gd name="connsiteY17" fmla="*/ 13603 h 64882"/>
                  <a:gd name="connsiteX18" fmla="*/ 72990 w 102654"/>
                  <a:gd name="connsiteY18" fmla="*/ 13663 h 64882"/>
                  <a:gd name="connsiteX19" fmla="*/ 102176 w 102654"/>
                  <a:gd name="connsiteY19" fmla="*/ 15935 h 64882"/>
                  <a:gd name="connsiteX20" fmla="*/ 73827 w 102654"/>
                  <a:gd name="connsiteY20" fmla="*/ 19942 h 64882"/>
                  <a:gd name="connsiteX21" fmla="*/ 73707 w 102654"/>
                  <a:gd name="connsiteY21" fmla="*/ 20062 h 64882"/>
                  <a:gd name="connsiteX22" fmla="*/ 73767 w 102654"/>
                  <a:gd name="connsiteY22" fmla="*/ 20241 h 64882"/>
                  <a:gd name="connsiteX23" fmla="*/ 93444 w 102654"/>
                  <a:gd name="connsiteY23" fmla="*/ 41473 h 64882"/>
                  <a:gd name="connsiteX24" fmla="*/ 66889 w 102654"/>
                  <a:gd name="connsiteY24" fmla="*/ 42191 h 64882"/>
                  <a:gd name="connsiteX25" fmla="*/ 66710 w 102654"/>
                  <a:gd name="connsiteY25" fmla="*/ 42370 h 64882"/>
                  <a:gd name="connsiteX26" fmla="*/ 66351 w 102654"/>
                  <a:gd name="connsiteY26" fmla="*/ 54152 h 64882"/>
                  <a:gd name="connsiteX27" fmla="*/ 49784 w 102654"/>
                  <a:gd name="connsiteY27" fmla="*/ 47693 h 64882"/>
                  <a:gd name="connsiteX28" fmla="*/ 49665 w 102654"/>
                  <a:gd name="connsiteY28" fmla="*/ 47693 h 64882"/>
                  <a:gd name="connsiteX29" fmla="*/ 24247 w 102654"/>
                  <a:gd name="connsiteY29" fmla="*/ 61329 h 64882"/>
                  <a:gd name="connsiteX30" fmla="*/ 24187 w 102654"/>
                  <a:gd name="connsiteY30" fmla="*/ 61568 h 64882"/>
                  <a:gd name="connsiteX31" fmla="*/ 24426 w 102654"/>
                  <a:gd name="connsiteY31" fmla="*/ 61628 h 64882"/>
                  <a:gd name="connsiteX32" fmla="*/ 49725 w 102654"/>
                  <a:gd name="connsiteY32" fmla="*/ 47992 h 64882"/>
                  <a:gd name="connsiteX33" fmla="*/ 66411 w 102654"/>
                  <a:gd name="connsiteY33" fmla="*/ 54511 h 64882"/>
                  <a:gd name="connsiteX34" fmla="*/ 66530 w 102654"/>
                  <a:gd name="connsiteY34" fmla="*/ 54511 h 64882"/>
                  <a:gd name="connsiteX35" fmla="*/ 66590 w 102654"/>
                  <a:gd name="connsiteY35" fmla="*/ 54391 h 64882"/>
                  <a:gd name="connsiteX36" fmla="*/ 67009 w 102654"/>
                  <a:gd name="connsiteY36" fmla="*/ 42549 h 64882"/>
                  <a:gd name="connsiteX37" fmla="*/ 93743 w 102654"/>
                  <a:gd name="connsiteY37" fmla="*/ 41832 h 64882"/>
                  <a:gd name="connsiteX38" fmla="*/ 93862 w 102654"/>
                  <a:gd name="connsiteY38" fmla="*/ 41712 h 64882"/>
                  <a:gd name="connsiteX39" fmla="*/ 93862 w 102654"/>
                  <a:gd name="connsiteY39" fmla="*/ 41533 h 64882"/>
                  <a:gd name="connsiteX40" fmla="*/ 74126 w 102654"/>
                  <a:gd name="connsiteY40" fmla="*/ 20241 h 64882"/>
                  <a:gd name="connsiteX41" fmla="*/ 88121 w 102654"/>
                  <a:gd name="connsiteY41" fmla="*/ 18447 h 64882"/>
                  <a:gd name="connsiteX42" fmla="*/ 102654 w 102654"/>
                  <a:gd name="connsiteY42" fmla="*/ 15875 h 6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2654" h="64882">
                    <a:moveTo>
                      <a:pt x="102654" y="15875"/>
                    </a:moveTo>
                    <a:cubicBezTo>
                      <a:pt x="102654" y="15875"/>
                      <a:pt x="102654" y="15816"/>
                      <a:pt x="102654" y="15875"/>
                    </a:cubicBezTo>
                    <a:cubicBezTo>
                      <a:pt x="102654" y="15816"/>
                      <a:pt x="102654" y="15696"/>
                      <a:pt x="102534" y="15636"/>
                    </a:cubicBezTo>
                    <a:cubicBezTo>
                      <a:pt x="101278" y="15098"/>
                      <a:pt x="74724" y="13363"/>
                      <a:pt x="72990" y="13244"/>
                    </a:cubicBezTo>
                    <a:lnTo>
                      <a:pt x="58397" y="1581"/>
                    </a:lnTo>
                    <a:cubicBezTo>
                      <a:pt x="58337" y="1522"/>
                      <a:pt x="58277" y="1522"/>
                      <a:pt x="58217" y="1581"/>
                    </a:cubicBezTo>
                    <a:lnTo>
                      <a:pt x="48648" y="8818"/>
                    </a:lnTo>
                    <a:lnTo>
                      <a:pt x="35610" y="27"/>
                    </a:lnTo>
                    <a:cubicBezTo>
                      <a:pt x="35550" y="27"/>
                      <a:pt x="35550" y="-33"/>
                      <a:pt x="35490" y="27"/>
                    </a:cubicBezTo>
                    <a:cubicBezTo>
                      <a:pt x="35431" y="27"/>
                      <a:pt x="35431" y="86"/>
                      <a:pt x="35371" y="86"/>
                    </a:cubicBezTo>
                    <a:lnTo>
                      <a:pt x="25" y="64618"/>
                    </a:lnTo>
                    <a:cubicBezTo>
                      <a:pt x="-35" y="64678"/>
                      <a:pt x="25" y="64798"/>
                      <a:pt x="85" y="64858"/>
                    </a:cubicBezTo>
                    <a:cubicBezTo>
                      <a:pt x="145" y="64917"/>
                      <a:pt x="264" y="64858"/>
                      <a:pt x="324" y="64798"/>
                    </a:cubicBezTo>
                    <a:lnTo>
                      <a:pt x="35610" y="445"/>
                    </a:lnTo>
                    <a:lnTo>
                      <a:pt x="48588" y="9237"/>
                    </a:lnTo>
                    <a:cubicBezTo>
                      <a:pt x="48648" y="9297"/>
                      <a:pt x="48708" y="9297"/>
                      <a:pt x="48768" y="9237"/>
                    </a:cubicBezTo>
                    <a:lnTo>
                      <a:pt x="58337" y="2000"/>
                    </a:lnTo>
                    <a:lnTo>
                      <a:pt x="72870" y="13603"/>
                    </a:lnTo>
                    <a:cubicBezTo>
                      <a:pt x="72870" y="13603"/>
                      <a:pt x="72930" y="13663"/>
                      <a:pt x="72990" y="13663"/>
                    </a:cubicBezTo>
                    <a:cubicBezTo>
                      <a:pt x="82200" y="14261"/>
                      <a:pt x="99484" y="15457"/>
                      <a:pt x="102176" y="15935"/>
                    </a:cubicBezTo>
                    <a:cubicBezTo>
                      <a:pt x="99783" y="16653"/>
                      <a:pt x="84293" y="18686"/>
                      <a:pt x="73827" y="19942"/>
                    </a:cubicBezTo>
                    <a:cubicBezTo>
                      <a:pt x="73767" y="19942"/>
                      <a:pt x="73707" y="20002"/>
                      <a:pt x="73707" y="20062"/>
                    </a:cubicBezTo>
                    <a:cubicBezTo>
                      <a:pt x="73647" y="20122"/>
                      <a:pt x="73707" y="20182"/>
                      <a:pt x="73767" y="20241"/>
                    </a:cubicBezTo>
                    <a:lnTo>
                      <a:pt x="93444" y="41473"/>
                    </a:lnTo>
                    <a:lnTo>
                      <a:pt x="66889" y="42191"/>
                    </a:lnTo>
                    <a:cubicBezTo>
                      <a:pt x="66829" y="42191"/>
                      <a:pt x="66770" y="42250"/>
                      <a:pt x="66710" y="42370"/>
                    </a:cubicBezTo>
                    <a:lnTo>
                      <a:pt x="66351" y="54152"/>
                    </a:lnTo>
                    <a:lnTo>
                      <a:pt x="49784" y="47693"/>
                    </a:lnTo>
                    <a:cubicBezTo>
                      <a:pt x="49725" y="47693"/>
                      <a:pt x="49665" y="47693"/>
                      <a:pt x="49665" y="47693"/>
                    </a:cubicBezTo>
                    <a:lnTo>
                      <a:pt x="24247" y="61329"/>
                    </a:lnTo>
                    <a:cubicBezTo>
                      <a:pt x="24187" y="61389"/>
                      <a:pt x="24127" y="61449"/>
                      <a:pt x="24187" y="61568"/>
                    </a:cubicBezTo>
                    <a:cubicBezTo>
                      <a:pt x="24247" y="61628"/>
                      <a:pt x="24307" y="61688"/>
                      <a:pt x="24426" y="61628"/>
                    </a:cubicBezTo>
                    <a:lnTo>
                      <a:pt x="49725" y="47992"/>
                    </a:lnTo>
                    <a:lnTo>
                      <a:pt x="66411" y="54511"/>
                    </a:lnTo>
                    <a:cubicBezTo>
                      <a:pt x="66471" y="54511"/>
                      <a:pt x="66530" y="54511"/>
                      <a:pt x="66530" y="54511"/>
                    </a:cubicBezTo>
                    <a:cubicBezTo>
                      <a:pt x="66590" y="54511"/>
                      <a:pt x="66590" y="54451"/>
                      <a:pt x="66590" y="54391"/>
                    </a:cubicBezTo>
                    <a:lnTo>
                      <a:pt x="67009" y="42549"/>
                    </a:lnTo>
                    <a:lnTo>
                      <a:pt x="93743" y="41832"/>
                    </a:lnTo>
                    <a:cubicBezTo>
                      <a:pt x="93802" y="41832"/>
                      <a:pt x="93862" y="41772"/>
                      <a:pt x="93862" y="41712"/>
                    </a:cubicBezTo>
                    <a:cubicBezTo>
                      <a:pt x="93862" y="41652"/>
                      <a:pt x="93862" y="41593"/>
                      <a:pt x="93862" y="41533"/>
                    </a:cubicBezTo>
                    <a:lnTo>
                      <a:pt x="74126" y="20241"/>
                    </a:lnTo>
                    <a:cubicBezTo>
                      <a:pt x="75561" y="20062"/>
                      <a:pt x="81901" y="19285"/>
                      <a:pt x="88121" y="18447"/>
                    </a:cubicBezTo>
                    <a:cubicBezTo>
                      <a:pt x="102236" y="16414"/>
                      <a:pt x="102594" y="16055"/>
                      <a:pt x="102654" y="1587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78" name="Vrije vorm: vorm 8877">
                <a:extLst>
                  <a:ext uri="{FF2B5EF4-FFF2-40B4-BE49-F238E27FC236}">
                    <a16:creationId xmlns:a16="http://schemas.microsoft.com/office/drawing/2014/main" id="{F98BD5A6-C3B6-4F36-A289-A31E5BC89037}"/>
                  </a:ext>
                </a:extLst>
              </p:cNvPr>
              <p:cNvSpPr/>
              <p:nvPr/>
            </p:nvSpPr>
            <p:spPr>
              <a:xfrm>
                <a:off x="4543095" y="2581833"/>
                <a:ext cx="41371" cy="35311"/>
              </a:xfrm>
              <a:custGeom>
                <a:avLst/>
                <a:gdLst>
                  <a:gd name="connsiteX0" fmla="*/ 41327 w 41371"/>
                  <a:gd name="connsiteY0" fmla="*/ 13003 h 35311"/>
                  <a:gd name="connsiteX1" fmla="*/ 22667 w 41371"/>
                  <a:gd name="connsiteY1" fmla="*/ 22333 h 35311"/>
                  <a:gd name="connsiteX2" fmla="*/ 34449 w 41371"/>
                  <a:gd name="connsiteY2" fmla="*/ 35012 h 35311"/>
                  <a:gd name="connsiteX3" fmla="*/ 34449 w 41371"/>
                  <a:gd name="connsiteY3" fmla="*/ 35191 h 35311"/>
                  <a:gd name="connsiteX4" fmla="*/ 34270 w 41371"/>
                  <a:gd name="connsiteY4" fmla="*/ 35311 h 35311"/>
                  <a:gd name="connsiteX5" fmla="*/ 180 w 41371"/>
                  <a:gd name="connsiteY5" fmla="*/ 33577 h 35311"/>
                  <a:gd name="connsiteX6" fmla="*/ 0 w 41371"/>
                  <a:gd name="connsiteY6" fmla="*/ 33457 h 35311"/>
                  <a:gd name="connsiteX7" fmla="*/ 60 w 41371"/>
                  <a:gd name="connsiteY7" fmla="*/ 33278 h 35311"/>
                  <a:gd name="connsiteX8" fmla="*/ 22009 w 41371"/>
                  <a:gd name="connsiteY8" fmla="*/ 22273 h 35311"/>
                  <a:gd name="connsiteX9" fmla="*/ 1555 w 41371"/>
                  <a:gd name="connsiteY9" fmla="*/ 264 h 35311"/>
                  <a:gd name="connsiteX10" fmla="*/ 1555 w 41371"/>
                  <a:gd name="connsiteY10" fmla="*/ 85 h 35311"/>
                  <a:gd name="connsiteX11" fmla="*/ 1735 w 41371"/>
                  <a:gd name="connsiteY11" fmla="*/ 25 h 35311"/>
                  <a:gd name="connsiteX12" fmla="*/ 41207 w 41371"/>
                  <a:gd name="connsiteY12" fmla="*/ 12704 h 35311"/>
                  <a:gd name="connsiteX13" fmla="*/ 41327 w 41371"/>
                  <a:gd name="connsiteY13" fmla="*/ 12824 h 35311"/>
                  <a:gd name="connsiteX14" fmla="*/ 41327 w 41371"/>
                  <a:gd name="connsiteY14" fmla="*/ 12883 h 35311"/>
                  <a:gd name="connsiteX15" fmla="*/ 41327 w 41371"/>
                  <a:gd name="connsiteY15" fmla="*/ 13003 h 35311"/>
                  <a:gd name="connsiteX16" fmla="*/ 22428 w 41371"/>
                  <a:gd name="connsiteY16" fmla="*/ 22094 h 35311"/>
                  <a:gd name="connsiteX17" fmla="*/ 40848 w 41371"/>
                  <a:gd name="connsiteY17" fmla="*/ 12883 h 35311"/>
                  <a:gd name="connsiteX18" fmla="*/ 2333 w 41371"/>
                  <a:gd name="connsiteY18" fmla="*/ 503 h 35311"/>
                  <a:gd name="connsiteX19" fmla="*/ 22428 w 41371"/>
                  <a:gd name="connsiteY19" fmla="*/ 22094 h 35311"/>
                  <a:gd name="connsiteX20" fmla="*/ 837 w 41371"/>
                  <a:gd name="connsiteY20" fmla="*/ 33218 h 35311"/>
                  <a:gd name="connsiteX21" fmla="*/ 33911 w 41371"/>
                  <a:gd name="connsiteY21" fmla="*/ 34892 h 35311"/>
                  <a:gd name="connsiteX22" fmla="*/ 22368 w 41371"/>
                  <a:gd name="connsiteY22" fmla="*/ 22452 h 35311"/>
                  <a:gd name="connsiteX23" fmla="*/ 837 w 41371"/>
                  <a:gd name="connsiteY23" fmla="*/ 33218 h 35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371" h="35311">
                    <a:moveTo>
                      <a:pt x="41327" y="13003"/>
                    </a:moveTo>
                    <a:lnTo>
                      <a:pt x="22667" y="22333"/>
                    </a:lnTo>
                    <a:lnTo>
                      <a:pt x="34449" y="35012"/>
                    </a:lnTo>
                    <a:cubicBezTo>
                      <a:pt x="34509" y="35072"/>
                      <a:pt x="34509" y="35132"/>
                      <a:pt x="34449" y="35191"/>
                    </a:cubicBezTo>
                    <a:cubicBezTo>
                      <a:pt x="34389" y="35251"/>
                      <a:pt x="34329" y="35311"/>
                      <a:pt x="34270" y="35311"/>
                    </a:cubicBezTo>
                    <a:lnTo>
                      <a:pt x="180" y="33577"/>
                    </a:lnTo>
                    <a:cubicBezTo>
                      <a:pt x="120" y="33577"/>
                      <a:pt x="60" y="33517"/>
                      <a:pt x="0" y="33457"/>
                    </a:cubicBezTo>
                    <a:cubicBezTo>
                      <a:pt x="0" y="33397"/>
                      <a:pt x="0" y="33337"/>
                      <a:pt x="60" y="33278"/>
                    </a:cubicBezTo>
                    <a:lnTo>
                      <a:pt x="22009" y="22273"/>
                    </a:lnTo>
                    <a:lnTo>
                      <a:pt x="1555" y="264"/>
                    </a:lnTo>
                    <a:cubicBezTo>
                      <a:pt x="1495" y="204"/>
                      <a:pt x="1495" y="144"/>
                      <a:pt x="1555" y="85"/>
                    </a:cubicBezTo>
                    <a:cubicBezTo>
                      <a:pt x="1615" y="25"/>
                      <a:pt x="1675" y="-35"/>
                      <a:pt x="1735" y="25"/>
                    </a:cubicBezTo>
                    <a:lnTo>
                      <a:pt x="41207" y="12704"/>
                    </a:lnTo>
                    <a:cubicBezTo>
                      <a:pt x="41267" y="12704"/>
                      <a:pt x="41327" y="12764"/>
                      <a:pt x="41327" y="12824"/>
                    </a:cubicBezTo>
                    <a:cubicBezTo>
                      <a:pt x="41327" y="12824"/>
                      <a:pt x="41327" y="12824"/>
                      <a:pt x="41327" y="12883"/>
                    </a:cubicBezTo>
                    <a:cubicBezTo>
                      <a:pt x="41387" y="12883"/>
                      <a:pt x="41387" y="12943"/>
                      <a:pt x="41327" y="13003"/>
                    </a:cubicBezTo>
                    <a:close/>
                    <a:moveTo>
                      <a:pt x="22428" y="22094"/>
                    </a:moveTo>
                    <a:lnTo>
                      <a:pt x="40848" y="12883"/>
                    </a:lnTo>
                    <a:lnTo>
                      <a:pt x="2333" y="503"/>
                    </a:lnTo>
                    <a:lnTo>
                      <a:pt x="22428" y="22094"/>
                    </a:lnTo>
                    <a:close/>
                    <a:moveTo>
                      <a:pt x="837" y="33218"/>
                    </a:moveTo>
                    <a:lnTo>
                      <a:pt x="33911" y="34892"/>
                    </a:lnTo>
                    <a:lnTo>
                      <a:pt x="22368" y="22452"/>
                    </a:lnTo>
                    <a:lnTo>
                      <a:pt x="837" y="33218"/>
                    </a:lnTo>
                    <a:close/>
                  </a:path>
                </a:pathLst>
              </a:custGeom>
              <a:grpFill/>
              <a:ln w="6350" cap="flat">
                <a:solidFill>
                  <a:schemeClr val="bg1">
                    <a:alpha val="80000"/>
                  </a:schemeClr>
                </a:solidFill>
                <a:prstDash val="solid"/>
                <a:miter/>
              </a:ln>
            </p:spPr>
            <p:txBody>
              <a:bodyPr rtlCol="0" anchor="ctr"/>
              <a:lstStyle/>
              <a:p>
                <a:endParaRPr lang="en-GB"/>
              </a:p>
            </p:txBody>
          </p:sp>
          <p:sp>
            <p:nvSpPr>
              <p:cNvPr id="8879" name="Vrije vorm: vorm 8878">
                <a:extLst>
                  <a:ext uri="{FF2B5EF4-FFF2-40B4-BE49-F238E27FC236}">
                    <a16:creationId xmlns:a16="http://schemas.microsoft.com/office/drawing/2014/main" id="{2D86FBC2-DC36-484C-B904-F90BC4F038FA}"/>
                  </a:ext>
                </a:extLst>
              </p:cNvPr>
              <p:cNvSpPr/>
              <p:nvPr/>
            </p:nvSpPr>
            <p:spPr>
              <a:xfrm>
                <a:off x="4532390" y="2583508"/>
                <a:ext cx="45154" cy="33516"/>
              </a:xfrm>
              <a:custGeom>
                <a:avLst/>
                <a:gdLst>
                  <a:gd name="connsiteX0" fmla="*/ 45154 w 45154"/>
                  <a:gd name="connsiteY0" fmla="*/ 33457 h 33516"/>
                  <a:gd name="connsiteX1" fmla="*/ 45154 w 45154"/>
                  <a:gd name="connsiteY1" fmla="*/ 33337 h 33516"/>
                  <a:gd name="connsiteX2" fmla="*/ 26973 w 45154"/>
                  <a:gd name="connsiteY2" fmla="*/ 85 h 33516"/>
                  <a:gd name="connsiteX3" fmla="*/ 26734 w 45154"/>
                  <a:gd name="connsiteY3" fmla="*/ 25 h 33516"/>
                  <a:gd name="connsiteX4" fmla="*/ 26674 w 45154"/>
                  <a:gd name="connsiteY4" fmla="*/ 264 h 33516"/>
                  <a:gd name="connsiteX5" fmla="*/ 44676 w 45154"/>
                  <a:gd name="connsiteY5" fmla="*/ 33158 h 33516"/>
                  <a:gd name="connsiteX6" fmla="*/ 1674 w 45154"/>
                  <a:gd name="connsiteY6" fmla="*/ 20898 h 33516"/>
                  <a:gd name="connsiteX7" fmla="*/ 1495 w 45154"/>
                  <a:gd name="connsiteY7" fmla="*/ 21017 h 33516"/>
                  <a:gd name="connsiteX8" fmla="*/ 0 w 45154"/>
                  <a:gd name="connsiteY8" fmla="*/ 26161 h 33516"/>
                  <a:gd name="connsiteX9" fmla="*/ 0 w 45154"/>
                  <a:gd name="connsiteY9" fmla="*/ 26161 h 33516"/>
                  <a:gd name="connsiteX10" fmla="*/ 120 w 45154"/>
                  <a:gd name="connsiteY10" fmla="*/ 26340 h 33516"/>
                  <a:gd name="connsiteX11" fmla="*/ 299 w 45154"/>
                  <a:gd name="connsiteY11" fmla="*/ 26220 h 33516"/>
                  <a:gd name="connsiteX12" fmla="*/ 1734 w 45154"/>
                  <a:gd name="connsiteY12" fmla="*/ 21197 h 33516"/>
                  <a:gd name="connsiteX13" fmla="*/ 44975 w 45154"/>
                  <a:gd name="connsiteY13" fmla="*/ 33517 h 33516"/>
                  <a:gd name="connsiteX14" fmla="*/ 45154 w 45154"/>
                  <a:gd name="connsiteY14" fmla="*/ 33457 h 33516"/>
                  <a:gd name="connsiteX15" fmla="*/ 45154 w 45154"/>
                  <a:gd name="connsiteY15" fmla="*/ 33457 h 3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154" h="33516">
                    <a:moveTo>
                      <a:pt x="45154" y="33457"/>
                    </a:moveTo>
                    <a:cubicBezTo>
                      <a:pt x="45154" y="33397"/>
                      <a:pt x="45154" y="33397"/>
                      <a:pt x="45154" y="33337"/>
                    </a:cubicBezTo>
                    <a:lnTo>
                      <a:pt x="26973" y="85"/>
                    </a:lnTo>
                    <a:cubicBezTo>
                      <a:pt x="26913" y="25"/>
                      <a:pt x="26853" y="-35"/>
                      <a:pt x="26734" y="25"/>
                    </a:cubicBezTo>
                    <a:cubicBezTo>
                      <a:pt x="26674" y="85"/>
                      <a:pt x="26614" y="144"/>
                      <a:pt x="26674" y="264"/>
                    </a:cubicBezTo>
                    <a:lnTo>
                      <a:pt x="44676" y="33158"/>
                    </a:lnTo>
                    <a:lnTo>
                      <a:pt x="1674" y="20898"/>
                    </a:lnTo>
                    <a:cubicBezTo>
                      <a:pt x="1615" y="20898"/>
                      <a:pt x="1495" y="20898"/>
                      <a:pt x="1495" y="21017"/>
                    </a:cubicBezTo>
                    <a:lnTo>
                      <a:pt x="0" y="26161"/>
                    </a:lnTo>
                    <a:cubicBezTo>
                      <a:pt x="0" y="26161"/>
                      <a:pt x="0" y="26161"/>
                      <a:pt x="0" y="26161"/>
                    </a:cubicBezTo>
                    <a:cubicBezTo>
                      <a:pt x="0" y="26220"/>
                      <a:pt x="60" y="26340"/>
                      <a:pt x="120" y="26340"/>
                    </a:cubicBezTo>
                    <a:cubicBezTo>
                      <a:pt x="179" y="26340"/>
                      <a:pt x="299" y="26340"/>
                      <a:pt x="299" y="26220"/>
                    </a:cubicBezTo>
                    <a:lnTo>
                      <a:pt x="1734" y="21197"/>
                    </a:lnTo>
                    <a:lnTo>
                      <a:pt x="44975" y="33517"/>
                    </a:lnTo>
                    <a:cubicBezTo>
                      <a:pt x="45035" y="33517"/>
                      <a:pt x="45095" y="33517"/>
                      <a:pt x="45154" y="33457"/>
                    </a:cubicBezTo>
                    <a:cubicBezTo>
                      <a:pt x="45154" y="33517"/>
                      <a:pt x="45154" y="33457"/>
                      <a:pt x="45154" y="3345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80" name="Vrije vorm: vorm 8879">
                <a:extLst>
                  <a:ext uri="{FF2B5EF4-FFF2-40B4-BE49-F238E27FC236}">
                    <a16:creationId xmlns:a16="http://schemas.microsoft.com/office/drawing/2014/main" id="{E10986E8-4001-46DC-A755-40423F558BF2}"/>
                  </a:ext>
                </a:extLst>
              </p:cNvPr>
              <p:cNvSpPr/>
              <p:nvPr/>
            </p:nvSpPr>
            <p:spPr>
              <a:xfrm>
                <a:off x="4533900" y="2581715"/>
                <a:ext cx="50641" cy="40752"/>
              </a:xfrm>
              <a:custGeom>
                <a:avLst/>
                <a:gdLst>
                  <a:gd name="connsiteX0" fmla="*/ 50582 w 50641"/>
                  <a:gd name="connsiteY0" fmla="*/ 13061 h 40752"/>
                  <a:gd name="connsiteX1" fmla="*/ 26480 w 50641"/>
                  <a:gd name="connsiteY1" fmla="*/ 40752 h 40752"/>
                  <a:gd name="connsiteX2" fmla="*/ 26480 w 50641"/>
                  <a:gd name="connsiteY2" fmla="*/ 40752 h 40752"/>
                  <a:gd name="connsiteX3" fmla="*/ 26480 w 50641"/>
                  <a:gd name="connsiteY3" fmla="*/ 40752 h 40752"/>
                  <a:gd name="connsiteX4" fmla="*/ 26480 w 50641"/>
                  <a:gd name="connsiteY4" fmla="*/ 40752 h 40752"/>
                  <a:gd name="connsiteX5" fmla="*/ 26480 w 50641"/>
                  <a:gd name="connsiteY5" fmla="*/ 40752 h 40752"/>
                  <a:gd name="connsiteX6" fmla="*/ 26480 w 50641"/>
                  <a:gd name="connsiteY6" fmla="*/ 40752 h 40752"/>
                  <a:gd name="connsiteX7" fmla="*/ 26480 w 50641"/>
                  <a:gd name="connsiteY7" fmla="*/ 40752 h 40752"/>
                  <a:gd name="connsiteX8" fmla="*/ 26480 w 50641"/>
                  <a:gd name="connsiteY8" fmla="*/ 40752 h 40752"/>
                  <a:gd name="connsiteX9" fmla="*/ 26480 w 50641"/>
                  <a:gd name="connsiteY9" fmla="*/ 40752 h 40752"/>
                  <a:gd name="connsiteX10" fmla="*/ 26480 w 50641"/>
                  <a:gd name="connsiteY10" fmla="*/ 40752 h 40752"/>
                  <a:gd name="connsiteX11" fmla="*/ 26480 w 50641"/>
                  <a:gd name="connsiteY11" fmla="*/ 40752 h 40752"/>
                  <a:gd name="connsiteX12" fmla="*/ 26480 w 50641"/>
                  <a:gd name="connsiteY12" fmla="*/ 40752 h 40752"/>
                  <a:gd name="connsiteX13" fmla="*/ 26480 w 50641"/>
                  <a:gd name="connsiteY13" fmla="*/ 40752 h 40752"/>
                  <a:gd name="connsiteX14" fmla="*/ 26480 w 50641"/>
                  <a:gd name="connsiteY14" fmla="*/ 40752 h 40752"/>
                  <a:gd name="connsiteX15" fmla="*/ 26480 w 50641"/>
                  <a:gd name="connsiteY15" fmla="*/ 40752 h 40752"/>
                  <a:gd name="connsiteX16" fmla="*/ 26480 w 50641"/>
                  <a:gd name="connsiteY16" fmla="*/ 40752 h 40752"/>
                  <a:gd name="connsiteX17" fmla="*/ 26480 w 50641"/>
                  <a:gd name="connsiteY17" fmla="*/ 40752 h 40752"/>
                  <a:gd name="connsiteX18" fmla="*/ 26480 w 50641"/>
                  <a:gd name="connsiteY18" fmla="*/ 40752 h 40752"/>
                  <a:gd name="connsiteX19" fmla="*/ 26480 w 50641"/>
                  <a:gd name="connsiteY19" fmla="*/ 40752 h 40752"/>
                  <a:gd name="connsiteX20" fmla="*/ 26480 w 50641"/>
                  <a:gd name="connsiteY20" fmla="*/ 40752 h 40752"/>
                  <a:gd name="connsiteX21" fmla="*/ 26480 w 50641"/>
                  <a:gd name="connsiteY21" fmla="*/ 40752 h 40752"/>
                  <a:gd name="connsiteX22" fmla="*/ 26420 w 50641"/>
                  <a:gd name="connsiteY22" fmla="*/ 40752 h 40752"/>
                  <a:gd name="connsiteX23" fmla="*/ 26420 w 50641"/>
                  <a:gd name="connsiteY23" fmla="*/ 40752 h 40752"/>
                  <a:gd name="connsiteX24" fmla="*/ 26420 w 50641"/>
                  <a:gd name="connsiteY24" fmla="*/ 40752 h 40752"/>
                  <a:gd name="connsiteX25" fmla="*/ 26420 w 50641"/>
                  <a:gd name="connsiteY25" fmla="*/ 40752 h 40752"/>
                  <a:gd name="connsiteX26" fmla="*/ 26420 w 50641"/>
                  <a:gd name="connsiteY26" fmla="*/ 40752 h 40752"/>
                  <a:gd name="connsiteX27" fmla="*/ 26420 w 50641"/>
                  <a:gd name="connsiteY27" fmla="*/ 40752 h 40752"/>
                  <a:gd name="connsiteX28" fmla="*/ 26420 w 50641"/>
                  <a:gd name="connsiteY28" fmla="*/ 40752 h 40752"/>
                  <a:gd name="connsiteX29" fmla="*/ 26420 w 50641"/>
                  <a:gd name="connsiteY29" fmla="*/ 40752 h 40752"/>
                  <a:gd name="connsiteX30" fmla="*/ 26420 w 50641"/>
                  <a:gd name="connsiteY30" fmla="*/ 40752 h 40752"/>
                  <a:gd name="connsiteX31" fmla="*/ 26420 w 50641"/>
                  <a:gd name="connsiteY31" fmla="*/ 40752 h 40752"/>
                  <a:gd name="connsiteX32" fmla="*/ 26420 w 50641"/>
                  <a:gd name="connsiteY32" fmla="*/ 40752 h 40752"/>
                  <a:gd name="connsiteX33" fmla="*/ 26360 w 50641"/>
                  <a:gd name="connsiteY33" fmla="*/ 40752 h 40752"/>
                  <a:gd name="connsiteX34" fmla="*/ 26360 w 50641"/>
                  <a:gd name="connsiteY34" fmla="*/ 40752 h 40752"/>
                  <a:gd name="connsiteX35" fmla="*/ 26360 w 50641"/>
                  <a:gd name="connsiteY35" fmla="*/ 40752 h 40752"/>
                  <a:gd name="connsiteX36" fmla="*/ 26360 w 50641"/>
                  <a:gd name="connsiteY36" fmla="*/ 40752 h 40752"/>
                  <a:gd name="connsiteX37" fmla="*/ 26360 w 50641"/>
                  <a:gd name="connsiteY37" fmla="*/ 40752 h 40752"/>
                  <a:gd name="connsiteX38" fmla="*/ 26360 w 50641"/>
                  <a:gd name="connsiteY38" fmla="*/ 40752 h 40752"/>
                  <a:gd name="connsiteX39" fmla="*/ 26360 w 50641"/>
                  <a:gd name="connsiteY39" fmla="*/ 40752 h 40752"/>
                  <a:gd name="connsiteX40" fmla="*/ 26360 w 50641"/>
                  <a:gd name="connsiteY40" fmla="*/ 40752 h 40752"/>
                  <a:gd name="connsiteX41" fmla="*/ 26360 w 50641"/>
                  <a:gd name="connsiteY41" fmla="*/ 40752 h 40752"/>
                  <a:gd name="connsiteX42" fmla="*/ 26360 w 50641"/>
                  <a:gd name="connsiteY42" fmla="*/ 40752 h 40752"/>
                  <a:gd name="connsiteX43" fmla="*/ 26360 w 50641"/>
                  <a:gd name="connsiteY43" fmla="*/ 40752 h 40752"/>
                  <a:gd name="connsiteX44" fmla="*/ 26360 w 50641"/>
                  <a:gd name="connsiteY44" fmla="*/ 40752 h 40752"/>
                  <a:gd name="connsiteX45" fmla="*/ 26360 w 50641"/>
                  <a:gd name="connsiteY45" fmla="*/ 40752 h 40752"/>
                  <a:gd name="connsiteX46" fmla="*/ 26360 w 50641"/>
                  <a:gd name="connsiteY46" fmla="*/ 40752 h 40752"/>
                  <a:gd name="connsiteX47" fmla="*/ 26360 w 50641"/>
                  <a:gd name="connsiteY47" fmla="*/ 40752 h 40752"/>
                  <a:gd name="connsiteX48" fmla="*/ 26360 w 50641"/>
                  <a:gd name="connsiteY48" fmla="*/ 40752 h 40752"/>
                  <a:gd name="connsiteX49" fmla="*/ 26360 w 50641"/>
                  <a:gd name="connsiteY49" fmla="*/ 40752 h 40752"/>
                  <a:gd name="connsiteX50" fmla="*/ 26360 w 50641"/>
                  <a:gd name="connsiteY50" fmla="*/ 40752 h 40752"/>
                  <a:gd name="connsiteX51" fmla="*/ 26360 w 50641"/>
                  <a:gd name="connsiteY51" fmla="*/ 40752 h 40752"/>
                  <a:gd name="connsiteX52" fmla="*/ 26360 w 50641"/>
                  <a:gd name="connsiteY52" fmla="*/ 40752 h 40752"/>
                  <a:gd name="connsiteX53" fmla="*/ 26360 w 50641"/>
                  <a:gd name="connsiteY53" fmla="*/ 40752 h 40752"/>
                  <a:gd name="connsiteX54" fmla="*/ 26360 w 50641"/>
                  <a:gd name="connsiteY54" fmla="*/ 40752 h 40752"/>
                  <a:gd name="connsiteX55" fmla="*/ 11169 w 50641"/>
                  <a:gd name="connsiteY55" fmla="*/ 30465 h 40752"/>
                  <a:gd name="connsiteX56" fmla="*/ 9614 w 50641"/>
                  <a:gd name="connsiteY56" fmla="*/ 33516 h 40752"/>
                  <a:gd name="connsiteX57" fmla="*/ 9494 w 50641"/>
                  <a:gd name="connsiteY57" fmla="*/ 33575 h 40752"/>
                  <a:gd name="connsiteX58" fmla="*/ 9375 w 50641"/>
                  <a:gd name="connsiteY58" fmla="*/ 33516 h 40752"/>
                  <a:gd name="connsiteX59" fmla="*/ 45 w 50641"/>
                  <a:gd name="connsiteY59" fmla="*/ 22870 h 40752"/>
                  <a:gd name="connsiteX60" fmla="*/ 45 w 50641"/>
                  <a:gd name="connsiteY60" fmla="*/ 22631 h 40752"/>
                  <a:gd name="connsiteX61" fmla="*/ 284 w 50641"/>
                  <a:gd name="connsiteY61" fmla="*/ 22631 h 40752"/>
                  <a:gd name="connsiteX62" fmla="*/ 11049 w 50641"/>
                  <a:gd name="connsiteY62" fmla="*/ 29927 h 40752"/>
                  <a:gd name="connsiteX63" fmla="*/ 17389 w 50641"/>
                  <a:gd name="connsiteY63" fmla="*/ 17308 h 40752"/>
                  <a:gd name="connsiteX64" fmla="*/ 10870 w 50641"/>
                  <a:gd name="connsiteY64" fmla="*/ 203 h 40752"/>
                  <a:gd name="connsiteX65" fmla="*/ 10989 w 50641"/>
                  <a:gd name="connsiteY65" fmla="*/ 23 h 40752"/>
                  <a:gd name="connsiteX66" fmla="*/ 11169 w 50641"/>
                  <a:gd name="connsiteY66" fmla="*/ 143 h 40752"/>
                  <a:gd name="connsiteX67" fmla="*/ 17568 w 50641"/>
                  <a:gd name="connsiteY67" fmla="*/ 16949 h 40752"/>
                  <a:gd name="connsiteX68" fmla="*/ 25224 w 50641"/>
                  <a:gd name="connsiteY68" fmla="*/ 1818 h 40752"/>
                  <a:gd name="connsiteX69" fmla="*/ 25403 w 50641"/>
                  <a:gd name="connsiteY69" fmla="*/ 1758 h 40752"/>
                  <a:gd name="connsiteX70" fmla="*/ 46276 w 50641"/>
                  <a:gd name="connsiteY70" fmla="*/ 10908 h 40752"/>
                  <a:gd name="connsiteX71" fmla="*/ 49446 w 50641"/>
                  <a:gd name="connsiteY71" fmla="*/ 6184 h 40752"/>
                  <a:gd name="connsiteX72" fmla="*/ 49685 w 50641"/>
                  <a:gd name="connsiteY72" fmla="*/ 6124 h 40752"/>
                  <a:gd name="connsiteX73" fmla="*/ 49745 w 50641"/>
                  <a:gd name="connsiteY73" fmla="*/ 6363 h 40752"/>
                  <a:gd name="connsiteX74" fmla="*/ 46575 w 50641"/>
                  <a:gd name="connsiteY74" fmla="*/ 11028 h 40752"/>
                  <a:gd name="connsiteX75" fmla="*/ 50522 w 50641"/>
                  <a:gd name="connsiteY75" fmla="*/ 12762 h 40752"/>
                  <a:gd name="connsiteX76" fmla="*/ 50642 w 50641"/>
                  <a:gd name="connsiteY76" fmla="*/ 12882 h 40752"/>
                  <a:gd name="connsiteX77" fmla="*/ 50642 w 50641"/>
                  <a:gd name="connsiteY77" fmla="*/ 12942 h 40752"/>
                  <a:gd name="connsiteX78" fmla="*/ 50582 w 50641"/>
                  <a:gd name="connsiteY78" fmla="*/ 13061 h 40752"/>
                  <a:gd name="connsiteX79" fmla="*/ 27975 w 50641"/>
                  <a:gd name="connsiteY79" fmla="*/ 38539 h 40752"/>
                  <a:gd name="connsiteX80" fmla="*/ 50163 w 50641"/>
                  <a:gd name="connsiteY80" fmla="*/ 13002 h 40752"/>
                  <a:gd name="connsiteX81" fmla="*/ 46336 w 50641"/>
                  <a:gd name="connsiteY81" fmla="*/ 11327 h 40752"/>
                  <a:gd name="connsiteX82" fmla="*/ 27975 w 50641"/>
                  <a:gd name="connsiteY82" fmla="*/ 38539 h 40752"/>
                  <a:gd name="connsiteX83" fmla="*/ 17688 w 50641"/>
                  <a:gd name="connsiteY83" fmla="*/ 17427 h 40752"/>
                  <a:gd name="connsiteX84" fmla="*/ 26360 w 50641"/>
                  <a:gd name="connsiteY84" fmla="*/ 40333 h 40752"/>
                  <a:gd name="connsiteX85" fmla="*/ 46037 w 50641"/>
                  <a:gd name="connsiteY85" fmla="*/ 11267 h 40752"/>
                  <a:gd name="connsiteX86" fmla="*/ 25343 w 50641"/>
                  <a:gd name="connsiteY86" fmla="*/ 2236 h 40752"/>
                  <a:gd name="connsiteX87" fmla="*/ 17688 w 50641"/>
                  <a:gd name="connsiteY87" fmla="*/ 17427 h 40752"/>
                  <a:gd name="connsiteX88" fmla="*/ 11229 w 50641"/>
                  <a:gd name="connsiteY88" fmla="*/ 30226 h 40752"/>
                  <a:gd name="connsiteX89" fmla="*/ 26001 w 50641"/>
                  <a:gd name="connsiteY89" fmla="*/ 40214 h 40752"/>
                  <a:gd name="connsiteX90" fmla="*/ 17449 w 50641"/>
                  <a:gd name="connsiteY90" fmla="*/ 17786 h 40752"/>
                  <a:gd name="connsiteX91" fmla="*/ 11229 w 50641"/>
                  <a:gd name="connsiteY91" fmla="*/ 30226 h 40752"/>
                  <a:gd name="connsiteX92" fmla="*/ 9375 w 50641"/>
                  <a:gd name="connsiteY92" fmla="*/ 33216 h 40752"/>
                  <a:gd name="connsiteX93" fmla="*/ 10810 w 50641"/>
                  <a:gd name="connsiteY93" fmla="*/ 30346 h 40752"/>
                  <a:gd name="connsiteX94" fmla="*/ 1062 w 50641"/>
                  <a:gd name="connsiteY94" fmla="*/ 23707 h 40752"/>
                  <a:gd name="connsiteX95" fmla="*/ 9375 w 50641"/>
                  <a:gd name="connsiteY95" fmla="*/ 33216 h 40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0641" h="40752">
                    <a:moveTo>
                      <a:pt x="50582" y="13061"/>
                    </a:moveTo>
                    <a:lnTo>
                      <a:pt x="26480" y="40752"/>
                    </a:lnTo>
                    <a:cubicBezTo>
                      <a:pt x="26480" y="40752"/>
                      <a:pt x="26480" y="40752"/>
                      <a:pt x="26480" y="40752"/>
                    </a:cubicBezTo>
                    <a:lnTo>
                      <a:pt x="26480" y="40752"/>
                    </a:lnTo>
                    <a:cubicBezTo>
                      <a:pt x="26480" y="40752"/>
                      <a:pt x="26480" y="40752"/>
                      <a:pt x="26480" y="40752"/>
                    </a:cubicBezTo>
                    <a:cubicBezTo>
                      <a:pt x="26480" y="40752"/>
                      <a:pt x="26480" y="40752"/>
                      <a:pt x="26480" y="40752"/>
                    </a:cubicBezTo>
                    <a:cubicBezTo>
                      <a:pt x="26480" y="40752"/>
                      <a:pt x="26480" y="40752"/>
                      <a:pt x="26480" y="40752"/>
                    </a:cubicBezTo>
                    <a:lnTo>
                      <a:pt x="26480" y="40752"/>
                    </a:lnTo>
                    <a:cubicBezTo>
                      <a:pt x="26480" y="40752"/>
                      <a:pt x="26480" y="40752"/>
                      <a:pt x="26480" y="40752"/>
                    </a:cubicBezTo>
                    <a:lnTo>
                      <a:pt x="26480" y="40752"/>
                    </a:lnTo>
                    <a:cubicBezTo>
                      <a:pt x="26480" y="40752"/>
                      <a:pt x="26480" y="40752"/>
                      <a:pt x="26480" y="40752"/>
                    </a:cubicBezTo>
                    <a:lnTo>
                      <a:pt x="26480" y="40752"/>
                    </a:lnTo>
                    <a:lnTo>
                      <a:pt x="26480" y="40752"/>
                    </a:lnTo>
                    <a:lnTo>
                      <a:pt x="26480" y="40752"/>
                    </a:lnTo>
                    <a:cubicBezTo>
                      <a:pt x="26480" y="40752"/>
                      <a:pt x="26480" y="40752"/>
                      <a:pt x="26480" y="40752"/>
                    </a:cubicBezTo>
                    <a:lnTo>
                      <a:pt x="26480" y="40752"/>
                    </a:lnTo>
                    <a:cubicBezTo>
                      <a:pt x="26480" y="40752"/>
                      <a:pt x="26480" y="40752"/>
                      <a:pt x="26480" y="40752"/>
                    </a:cubicBezTo>
                    <a:lnTo>
                      <a:pt x="26480" y="40752"/>
                    </a:lnTo>
                    <a:cubicBezTo>
                      <a:pt x="26480" y="40752"/>
                      <a:pt x="26480" y="40752"/>
                      <a:pt x="26480" y="40752"/>
                    </a:cubicBezTo>
                    <a:lnTo>
                      <a:pt x="26480" y="40752"/>
                    </a:lnTo>
                    <a:cubicBezTo>
                      <a:pt x="26480" y="40752"/>
                      <a:pt x="26480" y="40752"/>
                      <a:pt x="26480" y="40752"/>
                    </a:cubicBezTo>
                    <a:lnTo>
                      <a:pt x="26480" y="40752"/>
                    </a:lnTo>
                    <a:cubicBezTo>
                      <a:pt x="26480" y="40752"/>
                      <a:pt x="26420" y="40752"/>
                      <a:pt x="26420" y="40752"/>
                    </a:cubicBezTo>
                    <a:lnTo>
                      <a:pt x="26420" y="40752"/>
                    </a:lnTo>
                    <a:cubicBezTo>
                      <a:pt x="26420" y="40752"/>
                      <a:pt x="26420" y="40752"/>
                      <a:pt x="26420" y="40752"/>
                    </a:cubicBezTo>
                    <a:lnTo>
                      <a:pt x="26420" y="40752"/>
                    </a:lnTo>
                    <a:lnTo>
                      <a:pt x="26420" y="40752"/>
                    </a:lnTo>
                    <a:cubicBezTo>
                      <a:pt x="26420" y="40752"/>
                      <a:pt x="26420" y="40752"/>
                      <a:pt x="26420" y="40752"/>
                    </a:cubicBezTo>
                    <a:lnTo>
                      <a:pt x="26420" y="40752"/>
                    </a:lnTo>
                    <a:lnTo>
                      <a:pt x="26420" y="40752"/>
                    </a:lnTo>
                    <a:cubicBezTo>
                      <a:pt x="26420" y="40752"/>
                      <a:pt x="26420" y="40752"/>
                      <a:pt x="26420" y="40752"/>
                    </a:cubicBezTo>
                    <a:lnTo>
                      <a:pt x="26420" y="40752"/>
                    </a:lnTo>
                    <a:lnTo>
                      <a:pt x="26420" y="40752"/>
                    </a:lnTo>
                    <a:cubicBezTo>
                      <a:pt x="26420" y="40752"/>
                      <a:pt x="26360" y="40752"/>
                      <a:pt x="26360" y="40752"/>
                    </a:cubicBezTo>
                    <a:lnTo>
                      <a:pt x="26360" y="40752"/>
                    </a:lnTo>
                    <a:cubicBezTo>
                      <a:pt x="26360" y="40752"/>
                      <a:pt x="26360" y="40752"/>
                      <a:pt x="26360" y="40752"/>
                    </a:cubicBezTo>
                    <a:lnTo>
                      <a:pt x="26360" y="40752"/>
                    </a:lnTo>
                    <a:lnTo>
                      <a:pt x="26360" y="40752"/>
                    </a:lnTo>
                    <a:lnTo>
                      <a:pt x="26360" y="40752"/>
                    </a:lnTo>
                    <a:cubicBezTo>
                      <a:pt x="26360" y="40752"/>
                      <a:pt x="26360" y="40752"/>
                      <a:pt x="26360" y="40752"/>
                    </a:cubicBezTo>
                    <a:lnTo>
                      <a:pt x="26360" y="40752"/>
                    </a:lnTo>
                    <a:lnTo>
                      <a:pt x="26360" y="40752"/>
                    </a:lnTo>
                    <a:cubicBezTo>
                      <a:pt x="26360" y="40752"/>
                      <a:pt x="26360" y="40752"/>
                      <a:pt x="26360" y="40752"/>
                    </a:cubicBezTo>
                    <a:lnTo>
                      <a:pt x="26360" y="40752"/>
                    </a:lnTo>
                    <a:lnTo>
                      <a:pt x="26360" y="40752"/>
                    </a:lnTo>
                    <a:lnTo>
                      <a:pt x="26360" y="40752"/>
                    </a:lnTo>
                    <a:lnTo>
                      <a:pt x="26360" y="40752"/>
                    </a:lnTo>
                    <a:lnTo>
                      <a:pt x="26360" y="40752"/>
                    </a:lnTo>
                    <a:lnTo>
                      <a:pt x="26360" y="40752"/>
                    </a:lnTo>
                    <a:lnTo>
                      <a:pt x="26360" y="40752"/>
                    </a:lnTo>
                    <a:cubicBezTo>
                      <a:pt x="26360" y="40752"/>
                      <a:pt x="26360" y="40752"/>
                      <a:pt x="26360" y="40752"/>
                    </a:cubicBezTo>
                    <a:lnTo>
                      <a:pt x="26360" y="40752"/>
                    </a:lnTo>
                    <a:cubicBezTo>
                      <a:pt x="26360" y="40752"/>
                      <a:pt x="26360" y="40752"/>
                      <a:pt x="26360" y="40752"/>
                    </a:cubicBezTo>
                    <a:lnTo>
                      <a:pt x="26360" y="40752"/>
                    </a:lnTo>
                    <a:lnTo>
                      <a:pt x="26360" y="40752"/>
                    </a:lnTo>
                    <a:lnTo>
                      <a:pt x="11169" y="30465"/>
                    </a:lnTo>
                    <a:lnTo>
                      <a:pt x="9614" y="33516"/>
                    </a:lnTo>
                    <a:cubicBezTo>
                      <a:pt x="9614" y="33575"/>
                      <a:pt x="9554" y="33575"/>
                      <a:pt x="9494" y="33575"/>
                    </a:cubicBezTo>
                    <a:cubicBezTo>
                      <a:pt x="9435" y="33575"/>
                      <a:pt x="9375" y="33575"/>
                      <a:pt x="9375" y="33516"/>
                    </a:cubicBezTo>
                    <a:lnTo>
                      <a:pt x="45" y="22870"/>
                    </a:lnTo>
                    <a:cubicBezTo>
                      <a:pt x="-15" y="22810"/>
                      <a:pt x="-15" y="22750"/>
                      <a:pt x="45" y="22631"/>
                    </a:cubicBezTo>
                    <a:cubicBezTo>
                      <a:pt x="105" y="22571"/>
                      <a:pt x="164" y="22571"/>
                      <a:pt x="284" y="22631"/>
                    </a:cubicBezTo>
                    <a:lnTo>
                      <a:pt x="11049" y="29927"/>
                    </a:lnTo>
                    <a:lnTo>
                      <a:pt x="17389" y="17308"/>
                    </a:lnTo>
                    <a:lnTo>
                      <a:pt x="10870" y="203"/>
                    </a:lnTo>
                    <a:cubicBezTo>
                      <a:pt x="10810" y="143"/>
                      <a:pt x="10870" y="23"/>
                      <a:pt x="10989" y="23"/>
                    </a:cubicBezTo>
                    <a:cubicBezTo>
                      <a:pt x="11049" y="-36"/>
                      <a:pt x="11169" y="23"/>
                      <a:pt x="11169" y="143"/>
                    </a:cubicBezTo>
                    <a:lnTo>
                      <a:pt x="17568" y="16949"/>
                    </a:lnTo>
                    <a:lnTo>
                      <a:pt x="25224" y="1818"/>
                    </a:lnTo>
                    <a:cubicBezTo>
                      <a:pt x="25283" y="1758"/>
                      <a:pt x="25343" y="1698"/>
                      <a:pt x="25403" y="1758"/>
                    </a:cubicBezTo>
                    <a:lnTo>
                      <a:pt x="46276" y="10908"/>
                    </a:lnTo>
                    <a:lnTo>
                      <a:pt x="49446" y="6184"/>
                    </a:lnTo>
                    <a:cubicBezTo>
                      <a:pt x="49505" y="6124"/>
                      <a:pt x="49625" y="6064"/>
                      <a:pt x="49685" y="6124"/>
                    </a:cubicBezTo>
                    <a:cubicBezTo>
                      <a:pt x="49745" y="6184"/>
                      <a:pt x="49805" y="6303"/>
                      <a:pt x="49745" y="6363"/>
                    </a:cubicBezTo>
                    <a:lnTo>
                      <a:pt x="46575" y="11028"/>
                    </a:lnTo>
                    <a:lnTo>
                      <a:pt x="50522" y="12762"/>
                    </a:lnTo>
                    <a:cubicBezTo>
                      <a:pt x="50582" y="12762"/>
                      <a:pt x="50582" y="12822"/>
                      <a:pt x="50642" y="12882"/>
                    </a:cubicBezTo>
                    <a:cubicBezTo>
                      <a:pt x="50642" y="12882"/>
                      <a:pt x="50642" y="12942"/>
                      <a:pt x="50642" y="12942"/>
                    </a:cubicBezTo>
                    <a:cubicBezTo>
                      <a:pt x="50582" y="13002"/>
                      <a:pt x="50582" y="13061"/>
                      <a:pt x="50582" y="13061"/>
                    </a:cubicBezTo>
                    <a:close/>
                    <a:moveTo>
                      <a:pt x="27975" y="38539"/>
                    </a:moveTo>
                    <a:lnTo>
                      <a:pt x="50163" y="13002"/>
                    </a:lnTo>
                    <a:lnTo>
                      <a:pt x="46336" y="11327"/>
                    </a:lnTo>
                    <a:lnTo>
                      <a:pt x="27975" y="38539"/>
                    </a:lnTo>
                    <a:close/>
                    <a:moveTo>
                      <a:pt x="17688" y="17427"/>
                    </a:moveTo>
                    <a:lnTo>
                      <a:pt x="26360" y="40333"/>
                    </a:lnTo>
                    <a:lnTo>
                      <a:pt x="46037" y="11267"/>
                    </a:lnTo>
                    <a:lnTo>
                      <a:pt x="25343" y="2236"/>
                    </a:lnTo>
                    <a:lnTo>
                      <a:pt x="17688" y="17427"/>
                    </a:lnTo>
                    <a:close/>
                    <a:moveTo>
                      <a:pt x="11229" y="30226"/>
                    </a:moveTo>
                    <a:lnTo>
                      <a:pt x="26001" y="40214"/>
                    </a:lnTo>
                    <a:lnTo>
                      <a:pt x="17449" y="17786"/>
                    </a:lnTo>
                    <a:lnTo>
                      <a:pt x="11229" y="30226"/>
                    </a:lnTo>
                    <a:close/>
                    <a:moveTo>
                      <a:pt x="9375" y="33216"/>
                    </a:moveTo>
                    <a:lnTo>
                      <a:pt x="10810" y="30346"/>
                    </a:lnTo>
                    <a:lnTo>
                      <a:pt x="1062" y="23707"/>
                    </a:lnTo>
                    <a:lnTo>
                      <a:pt x="9375" y="33216"/>
                    </a:lnTo>
                    <a:close/>
                  </a:path>
                </a:pathLst>
              </a:custGeom>
              <a:grpFill/>
              <a:ln w="6350" cap="flat">
                <a:solidFill>
                  <a:schemeClr val="bg1">
                    <a:alpha val="80000"/>
                  </a:schemeClr>
                </a:solidFill>
                <a:prstDash val="solid"/>
                <a:miter/>
              </a:ln>
            </p:spPr>
            <p:txBody>
              <a:bodyPr rtlCol="0" anchor="ctr"/>
              <a:lstStyle/>
              <a:p>
                <a:endParaRPr lang="en-GB"/>
              </a:p>
            </p:txBody>
          </p:sp>
          <p:sp>
            <p:nvSpPr>
              <p:cNvPr id="8881" name="Vrije vorm: vorm 8880">
                <a:extLst>
                  <a:ext uri="{FF2B5EF4-FFF2-40B4-BE49-F238E27FC236}">
                    <a16:creationId xmlns:a16="http://schemas.microsoft.com/office/drawing/2014/main" id="{71FADAC8-B3F2-4810-B9C1-96B9DC43D042}"/>
                  </a:ext>
                </a:extLst>
              </p:cNvPr>
              <p:cNvSpPr/>
              <p:nvPr/>
            </p:nvSpPr>
            <p:spPr>
              <a:xfrm>
                <a:off x="4633883" y="2647287"/>
                <a:ext cx="50896" cy="13621"/>
              </a:xfrm>
              <a:custGeom>
                <a:avLst/>
                <a:gdLst>
                  <a:gd name="connsiteX0" fmla="*/ 50896 w 50896"/>
                  <a:gd name="connsiteY0" fmla="*/ 6340 h 13621"/>
                  <a:gd name="connsiteX1" fmla="*/ 50896 w 50896"/>
                  <a:gd name="connsiteY1" fmla="*/ 6220 h 13621"/>
                  <a:gd name="connsiteX2" fmla="*/ 50657 w 50896"/>
                  <a:gd name="connsiteY2" fmla="*/ 6160 h 13621"/>
                  <a:gd name="connsiteX3" fmla="*/ 33671 w 50896"/>
                  <a:gd name="connsiteY3" fmla="*/ 13337 h 13621"/>
                  <a:gd name="connsiteX4" fmla="*/ 19856 w 50896"/>
                  <a:gd name="connsiteY4" fmla="*/ 60 h 13621"/>
                  <a:gd name="connsiteX5" fmla="*/ 19677 w 50896"/>
                  <a:gd name="connsiteY5" fmla="*/ 0 h 13621"/>
                  <a:gd name="connsiteX6" fmla="*/ 120 w 50896"/>
                  <a:gd name="connsiteY6" fmla="*/ 7296 h 13621"/>
                  <a:gd name="connsiteX7" fmla="*/ 0 w 50896"/>
                  <a:gd name="connsiteY7" fmla="*/ 7476 h 13621"/>
                  <a:gd name="connsiteX8" fmla="*/ 180 w 50896"/>
                  <a:gd name="connsiteY8" fmla="*/ 7596 h 13621"/>
                  <a:gd name="connsiteX9" fmla="*/ 19617 w 50896"/>
                  <a:gd name="connsiteY9" fmla="*/ 299 h 13621"/>
                  <a:gd name="connsiteX10" fmla="*/ 33432 w 50896"/>
                  <a:gd name="connsiteY10" fmla="*/ 13576 h 13621"/>
                  <a:gd name="connsiteX11" fmla="*/ 33612 w 50896"/>
                  <a:gd name="connsiteY11" fmla="*/ 13576 h 13621"/>
                  <a:gd name="connsiteX12" fmla="*/ 50717 w 50896"/>
                  <a:gd name="connsiteY12" fmla="*/ 6340 h 13621"/>
                  <a:gd name="connsiteX13" fmla="*/ 50896 w 50896"/>
                  <a:gd name="connsiteY13" fmla="*/ 6340 h 1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96" h="13621">
                    <a:moveTo>
                      <a:pt x="50896" y="6340"/>
                    </a:moveTo>
                    <a:cubicBezTo>
                      <a:pt x="50896" y="6280"/>
                      <a:pt x="50896" y="6280"/>
                      <a:pt x="50896" y="6220"/>
                    </a:cubicBezTo>
                    <a:cubicBezTo>
                      <a:pt x="50836" y="6160"/>
                      <a:pt x="50777" y="6100"/>
                      <a:pt x="50657" y="6160"/>
                    </a:cubicBezTo>
                    <a:lnTo>
                      <a:pt x="33671" y="13337"/>
                    </a:lnTo>
                    <a:lnTo>
                      <a:pt x="19856" y="60"/>
                    </a:lnTo>
                    <a:cubicBezTo>
                      <a:pt x="19796" y="0"/>
                      <a:pt x="19737" y="0"/>
                      <a:pt x="19677" y="0"/>
                    </a:cubicBezTo>
                    <a:lnTo>
                      <a:pt x="120" y="7296"/>
                    </a:lnTo>
                    <a:cubicBezTo>
                      <a:pt x="60" y="7356"/>
                      <a:pt x="0" y="7416"/>
                      <a:pt x="0" y="7476"/>
                    </a:cubicBezTo>
                    <a:cubicBezTo>
                      <a:pt x="60" y="7536"/>
                      <a:pt x="120" y="7596"/>
                      <a:pt x="180" y="7596"/>
                    </a:cubicBezTo>
                    <a:lnTo>
                      <a:pt x="19617" y="299"/>
                    </a:lnTo>
                    <a:lnTo>
                      <a:pt x="33432" y="13576"/>
                    </a:lnTo>
                    <a:cubicBezTo>
                      <a:pt x="33492" y="13636"/>
                      <a:pt x="33552" y="13636"/>
                      <a:pt x="33612" y="13576"/>
                    </a:cubicBezTo>
                    <a:lnTo>
                      <a:pt x="50717" y="6340"/>
                    </a:lnTo>
                    <a:cubicBezTo>
                      <a:pt x="50896" y="6399"/>
                      <a:pt x="50896" y="6399"/>
                      <a:pt x="50896" y="634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82" name="Vrije vorm: vorm 8881">
                <a:extLst>
                  <a:ext uri="{FF2B5EF4-FFF2-40B4-BE49-F238E27FC236}">
                    <a16:creationId xmlns:a16="http://schemas.microsoft.com/office/drawing/2014/main" id="{FA05364A-BDAE-4282-9187-7CB211DE5F3A}"/>
                  </a:ext>
                </a:extLst>
              </p:cNvPr>
              <p:cNvSpPr/>
              <p:nvPr/>
            </p:nvSpPr>
            <p:spPr>
              <a:xfrm>
                <a:off x="4677816" y="2608686"/>
                <a:ext cx="12942" cy="5372"/>
              </a:xfrm>
              <a:custGeom>
                <a:avLst/>
                <a:gdLst>
                  <a:gd name="connsiteX0" fmla="*/ 12943 w 12942"/>
                  <a:gd name="connsiteY0" fmla="*/ 144 h 5372"/>
                  <a:gd name="connsiteX1" fmla="*/ 12943 w 12942"/>
                  <a:gd name="connsiteY1" fmla="*/ 84 h 5372"/>
                  <a:gd name="connsiteX2" fmla="*/ 12764 w 12942"/>
                  <a:gd name="connsiteY2" fmla="*/ 25 h 5372"/>
                  <a:gd name="connsiteX3" fmla="*/ 85 w 12942"/>
                  <a:gd name="connsiteY3" fmla="*/ 5108 h 5372"/>
                  <a:gd name="connsiteX4" fmla="*/ 25 w 12942"/>
                  <a:gd name="connsiteY4" fmla="*/ 5288 h 5372"/>
                  <a:gd name="connsiteX5" fmla="*/ 204 w 12942"/>
                  <a:gd name="connsiteY5" fmla="*/ 5348 h 5372"/>
                  <a:gd name="connsiteX6" fmla="*/ 12883 w 12942"/>
                  <a:gd name="connsiteY6" fmla="*/ 264 h 5372"/>
                  <a:gd name="connsiteX7" fmla="*/ 12943 w 12942"/>
                  <a:gd name="connsiteY7" fmla="*/ 144 h 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42" h="5372">
                    <a:moveTo>
                      <a:pt x="12943" y="144"/>
                    </a:moveTo>
                    <a:cubicBezTo>
                      <a:pt x="12943" y="144"/>
                      <a:pt x="12943" y="84"/>
                      <a:pt x="12943" y="84"/>
                    </a:cubicBezTo>
                    <a:cubicBezTo>
                      <a:pt x="12883" y="25"/>
                      <a:pt x="12824" y="-35"/>
                      <a:pt x="12764" y="25"/>
                    </a:cubicBezTo>
                    <a:lnTo>
                      <a:pt x="85" y="5108"/>
                    </a:lnTo>
                    <a:cubicBezTo>
                      <a:pt x="25" y="5108"/>
                      <a:pt x="-35" y="5228"/>
                      <a:pt x="25" y="5288"/>
                    </a:cubicBezTo>
                    <a:cubicBezTo>
                      <a:pt x="85" y="5348"/>
                      <a:pt x="144" y="5407"/>
                      <a:pt x="204" y="5348"/>
                    </a:cubicBezTo>
                    <a:lnTo>
                      <a:pt x="12883" y="264"/>
                    </a:lnTo>
                    <a:cubicBezTo>
                      <a:pt x="12883" y="264"/>
                      <a:pt x="12883" y="204"/>
                      <a:pt x="12943" y="14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83" name="Vrije vorm: vorm 8882">
                <a:extLst>
                  <a:ext uri="{FF2B5EF4-FFF2-40B4-BE49-F238E27FC236}">
                    <a16:creationId xmlns:a16="http://schemas.microsoft.com/office/drawing/2014/main" id="{C43B892F-2940-48FD-8ECB-740FBEEDD826}"/>
                  </a:ext>
                </a:extLst>
              </p:cNvPr>
              <p:cNvSpPr/>
              <p:nvPr/>
            </p:nvSpPr>
            <p:spPr>
              <a:xfrm>
                <a:off x="4635617" y="2599501"/>
                <a:ext cx="58013" cy="63874"/>
              </a:xfrm>
              <a:custGeom>
                <a:avLst/>
                <a:gdLst>
                  <a:gd name="connsiteX0" fmla="*/ 58013 w 58013"/>
                  <a:gd name="connsiteY0" fmla="*/ 25299 h 63874"/>
                  <a:gd name="connsiteX1" fmla="*/ 58013 w 58013"/>
                  <a:gd name="connsiteY1" fmla="*/ 25179 h 63874"/>
                  <a:gd name="connsiteX2" fmla="*/ 53169 w 58013"/>
                  <a:gd name="connsiteY2" fmla="*/ 18241 h 63874"/>
                  <a:gd name="connsiteX3" fmla="*/ 52929 w 58013"/>
                  <a:gd name="connsiteY3" fmla="*/ 18181 h 63874"/>
                  <a:gd name="connsiteX4" fmla="*/ 52869 w 58013"/>
                  <a:gd name="connsiteY4" fmla="*/ 18421 h 63874"/>
                  <a:gd name="connsiteX5" fmla="*/ 57654 w 58013"/>
                  <a:gd name="connsiteY5" fmla="*/ 25239 h 63874"/>
                  <a:gd name="connsiteX6" fmla="*/ 52630 w 58013"/>
                  <a:gd name="connsiteY6" fmla="*/ 36423 h 63874"/>
                  <a:gd name="connsiteX7" fmla="*/ 52630 w 58013"/>
                  <a:gd name="connsiteY7" fmla="*/ 36542 h 63874"/>
                  <a:gd name="connsiteX8" fmla="*/ 56099 w 58013"/>
                  <a:gd name="connsiteY8" fmla="*/ 48982 h 63874"/>
                  <a:gd name="connsiteX9" fmla="*/ 47008 w 58013"/>
                  <a:gd name="connsiteY9" fmla="*/ 63396 h 63874"/>
                  <a:gd name="connsiteX10" fmla="*/ 33013 w 58013"/>
                  <a:gd name="connsiteY10" fmla="*/ 51016 h 63874"/>
                  <a:gd name="connsiteX11" fmla="*/ 32834 w 58013"/>
                  <a:gd name="connsiteY11" fmla="*/ 50956 h 63874"/>
                  <a:gd name="connsiteX12" fmla="*/ 14892 w 58013"/>
                  <a:gd name="connsiteY12" fmla="*/ 58073 h 63874"/>
                  <a:gd name="connsiteX13" fmla="*/ 359 w 58013"/>
                  <a:gd name="connsiteY13" fmla="*/ 44317 h 63874"/>
                  <a:gd name="connsiteX14" fmla="*/ 6997 w 58013"/>
                  <a:gd name="connsiteY14" fmla="*/ 29844 h 63874"/>
                  <a:gd name="connsiteX15" fmla="*/ 35286 w 58013"/>
                  <a:gd name="connsiteY15" fmla="*/ 27810 h 63874"/>
                  <a:gd name="connsiteX16" fmla="*/ 35406 w 58013"/>
                  <a:gd name="connsiteY16" fmla="*/ 27751 h 63874"/>
                  <a:gd name="connsiteX17" fmla="*/ 42403 w 58013"/>
                  <a:gd name="connsiteY17" fmla="*/ 14414 h 63874"/>
                  <a:gd name="connsiteX18" fmla="*/ 42403 w 58013"/>
                  <a:gd name="connsiteY18" fmla="*/ 14234 h 63874"/>
                  <a:gd name="connsiteX19" fmla="*/ 31459 w 58013"/>
                  <a:gd name="connsiteY19" fmla="*/ 60 h 63874"/>
                  <a:gd name="connsiteX20" fmla="*/ 31339 w 58013"/>
                  <a:gd name="connsiteY20" fmla="*/ 0 h 63874"/>
                  <a:gd name="connsiteX21" fmla="*/ 6280 w 58013"/>
                  <a:gd name="connsiteY21" fmla="*/ 299 h 63874"/>
                  <a:gd name="connsiteX22" fmla="*/ 6100 w 58013"/>
                  <a:gd name="connsiteY22" fmla="*/ 478 h 63874"/>
                  <a:gd name="connsiteX23" fmla="*/ 6280 w 58013"/>
                  <a:gd name="connsiteY23" fmla="*/ 658 h 63874"/>
                  <a:gd name="connsiteX24" fmla="*/ 31279 w 58013"/>
                  <a:gd name="connsiteY24" fmla="*/ 359 h 63874"/>
                  <a:gd name="connsiteX25" fmla="*/ 42104 w 58013"/>
                  <a:gd name="connsiteY25" fmla="*/ 14354 h 63874"/>
                  <a:gd name="connsiteX26" fmla="*/ 35227 w 58013"/>
                  <a:gd name="connsiteY26" fmla="*/ 27511 h 63874"/>
                  <a:gd name="connsiteX27" fmla="*/ 6878 w 58013"/>
                  <a:gd name="connsiteY27" fmla="*/ 29545 h 63874"/>
                  <a:gd name="connsiteX28" fmla="*/ 6758 w 58013"/>
                  <a:gd name="connsiteY28" fmla="*/ 29664 h 63874"/>
                  <a:gd name="connsiteX29" fmla="*/ 0 w 58013"/>
                  <a:gd name="connsiteY29" fmla="*/ 44317 h 63874"/>
                  <a:gd name="connsiteX30" fmla="*/ 60 w 58013"/>
                  <a:gd name="connsiteY30" fmla="*/ 44497 h 63874"/>
                  <a:gd name="connsiteX31" fmla="*/ 14772 w 58013"/>
                  <a:gd name="connsiteY31" fmla="*/ 58432 h 63874"/>
                  <a:gd name="connsiteX32" fmla="*/ 14952 w 58013"/>
                  <a:gd name="connsiteY32" fmla="*/ 58491 h 63874"/>
                  <a:gd name="connsiteX33" fmla="*/ 32894 w 58013"/>
                  <a:gd name="connsiteY33" fmla="*/ 51374 h 63874"/>
                  <a:gd name="connsiteX34" fmla="*/ 46949 w 58013"/>
                  <a:gd name="connsiteY34" fmla="*/ 63814 h 63874"/>
                  <a:gd name="connsiteX35" fmla="*/ 47068 w 58013"/>
                  <a:gd name="connsiteY35" fmla="*/ 63874 h 63874"/>
                  <a:gd name="connsiteX36" fmla="*/ 47188 w 58013"/>
                  <a:gd name="connsiteY36" fmla="*/ 63814 h 63874"/>
                  <a:gd name="connsiteX37" fmla="*/ 56398 w 58013"/>
                  <a:gd name="connsiteY37" fmla="*/ 49162 h 63874"/>
                  <a:gd name="connsiteX38" fmla="*/ 56398 w 58013"/>
                  <a:gd name="connsiteY38" fmla="*/ 49042 h 63874"/>
                  <a:gd name="connsiteX39" fmla="*/ 52929 w 58013"/>
                  <a:gd name="connsiteY39" fmla="*/ 36602 h 63874"/>
                  <a:gd name="connsiteX40" fmla="*/ 57953 w 58013"/>
                  <a:gd name="connsiteY40" fmla="*/ 25418 h 63874"/>
                  <a:gd name="connsiteX41" fmla="*/ 58013 w 58013"/>
                  <a:gd name="connsiteY41" fmla="*/ 25299 h 6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013" h="63874">
                    <a:moveTo>
                      <a:pt x="58013" y="25299"/>
                    </a:moveTo>
                    <a:cubicBezTo>
                      <a:pt x="58013" y="25239"/>
                      <a:pt x="58013" y="25239"/>
                      <a:pt x="58013" y="25179"/>
                    </a:cubicBezTo>
                    <a:lnTo>
                      <a:pt x="53169" y="18241"/>
                    </a:lnTo>
                    <a:cubicBezTo>
                      <a:pt x="53109" y="18181"/>
                      <a:pt x="52989" y="18122"/>
                      <a:pt x="52929" y="18181"/>
                    </a:cubicBezTo>
                    <a:cubicBezTo>
                      <a:pt x="52869" y="18241"/>
                      <a:pt x="52810" y="18361"/>
                      <a:pt x="52869" y="18421"/>
                    </a:cubicBezTo>
                    <a:lnTo>
                      <a:pt x="57654" y="25239"/>
                    </a:lnTo>
                    <a:lnTo>
                      <a:pt x="52630" y="36423"/>
                    </a:lnTo>
                    <a:cubicBezTo>
                      <a:pt x="52570" y="36482"/>
                      <a:pt x="52570" y="36542"/>
                      <a:pt x="52630" y="36542"/>
                    </a:cubicBezTo>
                    <a:lnTo>
                      <a:pt x="56099" y="48982"/>
                    </a:lnTo>
                    <a:lnTo>
                      <a:pt x="47008" y="63396"/>
                    </a:lnTo>
                    <a:lnTo>
                      <a:pt x="33013" y="51016"/>
                    </a:lnTo>
                    <a:cubicBezTo>
                      <a:pt x="32954" y="50956"/>
                      <a:pt x="32894" y="50956"/>
                      <a:pt x="32834" y="50956"/>
                    </a:cubicBezTo>
                    <a:lnTo>
                      <a:pt x="14892" y="58073"/>
                    </a:lnTo>
                    <a:lnTo>
                      <a:pt x="359" y="44317"/>
                    </a:lnTo>
                    <a:lnTo>
                      <a:pt x="6997" y="29844"/>
                    </a:lnTo>
                    <a:lnTo>
                      <a:pt x="35286" y="27810"/>
                    </a:lnTo>
                    <a:cubicBezTo>
                      <a:pt x="35346" y="27810"/>
                      <a:pt x="35406" y="27751"/>
                      <a:pt x="35406" y="27751"/>
                    </a:cubicBezTo>
                    <a:lnTo>
                      <a:pt x="42403" y="14414"/>
                    </a:lnTo>
                    <a:cubicBezTo>
                      <a:pt x="42403" y="14354"/>
                      <a:pt x="42403" y="14294"/>
                      <a:pt x="42403" y="14234"/>
                    </a:cubicBezTo>
                    <a:lnTo>
                      <a:pt x="31459" y="60"/>
                    </a:lnTo>
                    <a:cubicBezTo>
                      <a:pt x="31399" y="0"/>
                      <a:pt x="31399" y="0"/>
                      <a:pt x="31339" y="0"/>
                    </a:cubicBezTo>
                    <a:lnTo>
                      <a:pt x="6280" y="299"/>
                    </a:lnTo>
                    <a:cubicBezTo>
                      <a:pt x="6220" y="299"/>
                      <a:pt x="6100" y="359"/>
                      <a:pt x="6100" y="478"/>
                    </a:cubicBezTo>
                    <a:cubicBezTo>
                      <a:pt x="6100" y="538"/>
                      <a:pt x="6160" y="658"/>
                      <a:pt x="6280" y="658"/>
                    </a:cubicBezTo>
                    <a:lnTo>
                      <a:pt x="31279" y="359"/>
                    </a:lnTo>
                    <a:lnTo>
                      <a:pt x="42104" y="14354"/>
                    </a:lnTo>
                    <a:lnTo>
                      <a:pt x="35227" y="27511"/>
                    </a:lnTo>
                    <a:lnTo>
                      <a:pt x="6878" y="29545"/>
                    </a:lnTo>
                    <a:cubicBezTo>
                      <a:pt x="6818" y="29545"/>
                      <a:pt x="6758" y="29605"/>
                      <a:pt x="6758" y="29664"/>
                    </a:cubicBezTo>
                    <a:lnTo>
                      <a:pt x="0" y="44317"/>
                    </a:lnTo>
                    <a:cubicBezTo>
                      <a:pt x="0" y="44377"/>
                      <a:pt x="0" y="44437"/>
                      <a:pt x="60" y="44497"/>
                    </a:cubicBezTo>
                    <a:lnTo>
                      <a:pt x="14772" y="58432"/>
                    </a:lnTo>
                    <a:cubicBezTo>
                      <a:pt x="14832" y="58491"/>
                      <a:pt x="14892" y="58491"/>
                      <a:pt x="14952" y="58491"/>
                    </a:cubicBezTo>
                    <a:lnTo>
                      <a:pt x="32894" y="51374"/>
                    </a:lnTo>
                    <a:lnTo>
                      <a:pt x="46949" y="63814"/>
                    </a:lnTo>
                    <a:cubicBezTo>
                      <a:pt x="47008" y="63874"/>
                      <a:pt x="47008" y="63874"/>
                      <a:pt x="47068" y="63874"/>
                    </a:cubicBezTo>
                    <a:cubicBezTo>
                      <a:pt x="47128" y="63874"/>
                      <a:pt x="47188" y="63814"/>
                      <a:pt x="47188" y="63814"/>
                    </a:cubicBezTo>
                    <a:lnTo>
                      <a:pt x="56398" y="49162"/>
                    </a:lnTo>
                    <a:cubicBezTo>
                      <a:pt x="56398" y="49102"/>
                      <a:pt x="56458" y="49102"/>
                      <a:pt x="56398" y="49042"/>
                    </a:cubicBezTo>
                    <a:lnTo>
                      <a:pt x="52929" y="36602"/>
                    </a:lnTo>
                    <a:lnTo>
                      <a:pt x="57953" y="25418"/>
                    </a:lnTo>
                    <a:cubicBezTo>
                      <a:pt x="57953" y="25358"/>
                      <a:pt x="58013" y="25358"/>
                      <a:pt x="58013" y="2529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84" name="Vrije vorm: vorm 8883">
                <a:extLst>
                  <a:ext uri="{FF2B5EF4-FFF2-40B4-BE49-F238E27FC236}">
                    <a16:creationId xmlns:a16="http://schemas.microsoft.com/office/drawing/2014/main" id="{328DA367-F0BC-43AB-80D7-F7761C01D245}"/>
                  </a:ext>
                </a:extLst>
              </p:cNvPr>
              <p:cNvSpPr/>
              <p:nvPr/>
            </p:nvSpPr>
            <p:spPr>
              <a:xfrm>
                <a:off x="4628296" y="2654703"/>
                <a:ext cx="45059" cy="58431"/>
              </a:xfrm>
              <a:custGeom>
                <a:avLst/>
                <a:gdLst>
                  <a:gd name="connsiteX0" fmla="*/ 44880 w 45059"/>
                  <a:gd name="connsiteY0" fmla="*/ 38396 h 58431"/>
                  <a:gd name="connsiteX1" fmla="*/ 39857 w 45059"/>
                  <a:gd name="connsiteY1" fmla="*/ 40549 h 58431"/>
                  <a:gd name="connsiteX2" fmla="*/ 42966 w 45059"/>
                  <a:gd name="connsiteY2" fmla="*/ 47248 h 58431"/>
                  <a:gd name="connsiteX3" fmla="*/ 42907 w 45059"/>
                  <a:gd name="connsiteY3" fmla="*/ 47427 h 58431"/>
                  <a:gd name="connsiteX4" fmla="*/ 42727 w 45059"/>
                  <a:gd name="connsiteY4" fmla="*/ 47427 h 58431"/>
                  <a:gd name="connsiteX5" fmla="*/ 36567 w 45059"/>
                  <a:gd name="connsiteY5" fmla="*/ 41985 h 58431"/>
                  <a:gd name="connsiteX6" fmla="*/ 23469 w 45059"/>
                  <a:gd name="connsiteY6" fmla="*/ 47606 h 58431"/>
                  <a:gd name="connsiteX7" fmla="*/ 23350 w 45059"/>
                  <a:gd name="connsiteY7" fmla="*/ 47606 h 58431"/>
                  <a:gd name="connsiteX8" fmla="*/ 14498 w 45059"/>
                  <a:gd name="connsiteY8" fmla="*/ 43958 h 58431"/>
                  <a:gd name="connsiteX9" fmla="*/ 4809 w 45059"/>
                  <a:gd name="connsiteY9" fmla="*/ 47008 h 58431"/>
                  <a:gd name="connsiteX10" fmla="*/ 1042 w 45059"/>
                  <a:gd name="connsiteY10" fmla="*/ 58312 h 58431"/>
                  <a:gd name="connsiteX11" fmla="*/ 862 w 45059"/>
                  <a:gd name="connsiteY11" fmla="*/ 58432 h 58431"/>
                  <a:gd name="connsiteX12" fmla="*/ 742 w 45059"/>
                  <a:gd name="connsiteY12" fmla="*/ 58252 h 58431"/>
                  <a:gd name="connsiteX13" fmla="*/ 4570 w 45059"/>
                  <a:gd name="connsiteY13" fmla="*/ 46889 h 58431"/>
                  <a:gd name="connsiteX14" fmla="*/ 4690 w 45059"/>
                  <a:gd name="connsiteY14" fmla="*/ 46769 h 58431"/>
                  <a:gd name="connsiteX15" fmla="*/ 14080 w 45059"/>
                  <a:gd name="connsiteY15" fmla="*/ 43779 h 58431"/>
                  <a:gd name="connsiteX16" fmla="*/ 85 w 45059"/>
                  <a:gd name="connsiteY16" fmla="*/ 38037 h 58431"/>
                  <a:gd name="connsiteX17" fmla="*/ 25 w 45059"/>
                  <a:gd name="connsiteY17" fmla="*/ 37798 h 58431"/>
                  <a:gd name="connsiteX18" fmla="*/ 264 w 45059"/>
                  <a:gd name="connsiteY18" fmla="*/ 37738 h 58431"/>
                  <a:gd name="connsiteX19" fmla="*/ 14558 w 45059"/>
                  <a:gd name="connsiteY19" fmla="*/ 43659 h 58431"/>
                  <a:gd name="connsiteX20" fmla="*/ 32441 w 45059"/>
                  <a:gd name="connsiteY20" fmla="*/ 37977 h 58431"/>
                  <a:gd name="connsiteX21" fmla="*/ 32620 w 45059"/>
                  <a:gd name="connsiteY21" fmla="*/ 38037 h 58431"/>
                  <a:gd name="connsiteX22" fmla="*/ 36687 w 45059"/>
                  <a:gd name="connsiteY22" fmla="*/ 41686 h 58431"/>
                  <a:gd name="connsiteX23" fmla="*/ 39498 w 45059"/>
                  <a:gd name="connsiteY23" fmla="*/ 40489 h 58431"/>
                  <a:gd name="connsiteX24" fmla="*/ 37105 w 45059"/>
                  <a:gd name="connsiteY24" fmla="*/ 35346 h 58431"/>
                  <a:gd name="connsiteX25" fmla="*/ 20598 w 45059"/>
                  <a:gd name="connsiteY25" fmla="*/ 28050 h 58431"/>
                  <a:gd name="connsiteX26" fmla="*/ 16173 w 45059"/>
                  <a:gd name="connsiteY26" fmla="*/ 19856 h 58431"/>
                  <a:gd name="connsiteX27" fmla="*/ 8996 w 45059"/>
                  <a:gd name="connsiteY27" fmla="*/ 16746 h 58431"/>
                  <a:gd name="connsiteX28" fmla="*/ 8877 w 45059"/>
                  <a:gd name="connsiteY28" fmla="*/ 16626 h 58431"/>
                  <a:gd name="connsiteX29" fmla="*/ 5647 w 45059"/>
                  <a:gd name="connsiteY29" fmla="*/ 179 h 58431"/>
                  <a:gd name="connsiteX30" fmla="*/ 5766 w 45059"/>
                  <a:gd name="connsiteY30" fmla="*/ 0 h 58431"/>
                  <a:gd name="connsiteX31" fmla="*/ 5946 w 45059"/>
                  <a:gd name="connsiteY31" fmla="*/ 60 h 58431"/>
                  <a:gd name="connsiteX32" fmla="*/ 16412 w 45059"/>
                  <a:gd name="connsiteY32" fmla="*/ 19617 h 58431"/>
                  <a:gd name="connsiteX33" fmla="*/ 33577 w 45059"/>
                  <a:gd name="connsiteY33" fmla="*/ 27093 h 58431"/>
                  <a:gd name="connsiteX34" fmla="*/ 33636 w 45059"/>
                  <a:gd name="connsiteY34" fmla="*/ 27152 h 58431"/>
                  <a:gd name="connsiteX35" fmla="*/ 37344 w 45059"/>
                  <a:gd name="connsiteY35" fmla="*/ 35107 h 58431"/>
                  <a:gd name="connsiteX36" fmla="*/ 44940 w 45059"/>
                  <a:gd name="connsiteY36" fmla="*/ 38217 h 58431"/>
                  <a:gd name="connsiteX37" fmla="*/ 45060 w 45059"/>
                  <a:gd name="connsiteY37" fmla="*/ 38336 h 58431"/>
                  <a:gd name="connsiteX38" fmla="*/ 45060 w 45059"/>
                  <a:gd name="connsiteY38" fmla="*/ 38396 h 58431"/>
                  <a:gd name="connsiteX39" fmla="*/ 44880 w 45059"/>
                  <a:gd name="connsiteY39" fmla="*/ 38396 h 58431"/>
                  <a:gd name="connsiteX40" fmla="*/ 39737 w 45059"/>
                  <a:gd name="connsiteY40" fmla="*/ 40250 h 58431"/>
                  <a:gd name="connsiteX41" fmla="*/ 44402 w 45059"/>
                  <a:gd name="connsiteY41" fmla="*/ 38277 h 58431"/>
                  <a:gd name="connsiteX42" fmla="*/ 37524 w 45059"/>
                  <a:gd name="connsiteY42" fmla="*/ 35466 h 58431"/>
                  <a:gd name="connsiteX43" fmla="*/ 39737 w 45059"/>
                  <a:gd name="connsiteY43" fmla="*/ 40250 h 58431"/>
                  <a:gd name="connsiteX44" fmla="*/ 36926 w 45059"/>
                  <a:gd name="connsiteY44" fmla="*/ 41865 h 58431"/>
                  <a:gd name="connsiteX45" fmla="*/ 42368 w 45059"/>
                  <a:gd name="connsiteY45" fmla="*/ 46709 h 58431"/>
                  <a:gd name="connsiteX46" fmla="*/ 39617 w 45059"/>
                  <a:gd name="connsiteY46" fmla="*/ 40729 h 58431"/>
                  <a:gd name="connsiteX47" fmla="*/ 36926 w 45059"/>
                  <a:gd name="connsiteY47" fmla="*/ 41865 h 58431"/>
                  <a:gd name="connsiteX48" fmla="*/ 14977 w 45059"/>
                  <a:gd name="connsiteY48" fmla="*/ 43839 h 58431"/>
                  <a:gd name="connsiteX49" fmla="*/ 23410 w 45059"/>
                  <a:gd name="connsiteY49" fmla="*/ 47308 h 58431"/>
                  <a:gd name="connsiteX50" fmla="*/ 36268 w 45059"/>
                  <a:gd name="connsiteY50" fmla="*/ 41745 h 58431"/>
                  <a:gd name="connsiteX51" fmla="*/ 32381 w 45059"/>
                  <a:gd name="connsiteY51" fmla="*/ 38277 h 58431"/>
                  <a:gd name="connsiteX52" fmla="*/ 14977 w 45059"/>
                  <a:gd name="connsiteY52" fmla="*/ 43839 h 58431"/>
                  <a:gd name="connsiteX53" fmla="*/ 16651 w 45059"/>
                  <a:gd name="connsiteY53" fmla="*/ 20035 h 58431"/>
                  <a:gd name="connsiteX54" fmla="*/ 20838 w 45059"/>
                  <a:gd name="connsiteY54" fmla="*/ 27810 h 58431"/>
                  <a:gd name="connsiteX55" fmla="*/ 36866 w 45059"/>
                  <a:gd name="connsiteY55" fmla="*/ 34868 h 58431"/>
                  <a:gd name="connsiteX56" fmla="*/ 33337 w 45059"/>
                  <a:gd name="connsiteY56" fmla="*/ 27332 h 58431"/>
                  <a:gd name="connsiteX57" fmla="*/ 16651 w 45059"/>
                  <a:gd name="connsiteY57" fmla="*/ 20035 h 58431"/>
                  <a:gd name="connsiteX58" fmla="*/ 9175 w 45059"/>
                  <a:gd name="connsiteY58" fmla="*/ 16447 h 58431"/>
                  <a:gd name="connsiteX59" fmla="*/ 15874 w 45059"/>
                  <a:gd name="connsiteY59" fmla="*/ 19377 h 58431"/>
                  <a:gd name="connsiteX60" fmla="*/ 6125 w 45059"/>
                  <a:gd name="connsiteY60" fmla="*/ 1136 h 58431"/>
                  <a:gd name="connsiteX61" fmla="*/ 9175 w 45059"/>
                  <a:gd name="connsiteY61" fmla="*/ 16447 h 5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059" h="58431">
                    <a:moveTo>
                      <a:pt x="44880" y="38396"/>
                    </a:moveTo>
                    <a:lnTo>
                      <a:pt x="39857" y="40549"/>
                    </a:lnTo>
                    <a:lnTo>
                      <a:pt x="42966" y="47248"/>
                    </a:lnTo>
                    <a:cubicBezTo>
                      <a:pt x="43026" y="47308"/>
                      <a:pt x="42966" y="47427"/>
                      <a:pt x="42907" y="47427"/>
                    </a:cubicBezTo>
                    <a:cubicBezTo>
                      <a:pt x="42847" y="47487"/>
                      <a:pt x="42787" y="47487"/>
                      <a:pt x="42727" y="47427"/>
                    </a:cubicBezTo>
                    <a:lnTo>
                      <a:pt x="36567" y="41985"/>
                    </a:lnTo>
                    <a:lnTo>
                      <a:pt x="23469" y="47606"/>
                    </a:lnTo>
                    <a:cubicBezTo>
                      <a:pt x="23410" y="47606"/>
                      <a:pt x="23410" y="47606"/>
                      <a:pt x="23350" y="47606"/>
                    </a:cubicBezTo>
                    <a:lnTo>
                      <a:pt x="14498" y="43958"/>
                    </a:lnTo>
                    <a:lnTo>
                      <a:pt x="4809" y="47008"/>
                    </a:lnTo>
                    <a:lnTo>
                      <a:pt x="1042" y="58312"/>
                    </a:lnTo>
                    <a:cubicBezTo>
                      <a:pt x="1042" y="58372"/>
                      <a:pt x="922" y="58432"/>
                      <a:pt x="862" y="58432"/>
                    </a:cubicBezTo>
                    <a:cubicBezTo>
                      <a:pt x="802" y="58432"/>
                      <a:pt x="742" y="58312"/>
                      <a:pt x="742" y="58252"/>
                    </a:cubicBezTo>
                    <a:lnTo>
                      <a:pt x="4570" y="46889"/>
                    </a:lnTo>
                    <a:cubicBezTo>
                      <a:pt x="4570" y="46829"/>
                      <a:pt x="4630" y="46829"/>
                      <a:pt x="4690" y="46769"/>
                    </a:cubicBezTo>
                    <a:lnTo>
                      <a:pt x="14080" y="43779"/>
                    </a:lnTo>
                    <a:lnTo>
                      <a:pt x="85" y="38037"/>
                    </a:lnTo>
                    <a:cubicBezTo>
                      <a:pt x="25" y="37977"/>
                      <a:pt x="-35" y="37918"/>
                      <a:pt x="25" y="37798"/>
                    </a:cubicBezTo>
                    <a:cubicBezTo>
                      <a:pt x="85" y="37738"/>
                      <a:pt x="145" y="37678"/>
                      <a:pt x="264" y="37738"/>
                    </a:cubicBezTo>
                    <a:lnTo>
                      <a:pt x="14558" y="43659"/>
                    </a:lnTo>
                    <a:lnTo>
                      <a:pt x="32441" y="37977"/>
                    </a:lnTo>
                    <a:cubicBezTo>
                      <a:pt x="32500" y="37977"/>
                      <a:pt x="32560" y="37977"/>
                      <a:pt x="32620" y="38037"/>
                    </a:cubicBezTo>
                    <a:lnTo>
                      <a:pt x="36687" y="41686"/>
                    </a:lnTo>
                    <a:lnTo>
                      <a:pt x="39498" y="40489"/>
                    </a:lnTo>
                    <a:lnTo>
                      <a:pt x="37105" y="35346"/>
                    </a:lnTo>
                    <a:cubicBezTo>
                      <a:pt x="30108" y="32475"/>
                      <a:pt x="20957" y="28588"/>
                      <a:pt x="20598" y="28050"/>
                    </a:cubicBezTo>
                    <a:cubicBezTo>
                      <a:pt x="20419" y="27750"/>
                      <a:pt x="18565" y="24282"/>
                      <a:pt x="16173" y="19856"/>
                    </a:cubicBezTo>
                    <a:lnTo>
                      <a:pt x="8996" y="16746"/>
                    </a:lnTo>
                    <a:cubicBezTo>
                      <a:pt x="8936" y="16746"/>
                      <a:pt x="8936" y="16686"/>
                      <a:pt x="8877" y="16626"/>
                    </a:cubicBezTo>
                    <a:lnTo>
                      <a:pt x="5647" y="179"/>
                    </a:lnTo>
                    <a:cubicBezTo>
                      <a:pt x="5647" y="120"/>
                      <a:pt x="5647" y="0"/>
                      <a:pt x="5766" y="0"/>
                    </a:cubicBezTo>
                    <a:cubicBezTo>
                      <a:pt x="5826" y="0"/>
                      <a:pt x="5946" y="0"/>
                      <a:pt x="5946" y="60"/>
                    </a:cubicBezTo>
                    <a:cubicBezTo>
                      <a:pt x="6065" y="239"/>
                      <a:pt x="12046" y="11483"/>
                      <a:pt x="16412" y="19617"/>
                    </a:cubicBezTo>
                    <a:lnTo>
                      <a:pt x="33577" y="27093"/>
                    </a:lnTo>
                    <a:cubicBezTo>
                      <a:pt x="33636" y="27093"/>
                      <a:pt x="33636" y="27152"/>
                      <a:pt x="33636" y="27152"/>
                    </a:cubicBezTo>
                    <a:lnTo>
                      <a:pt x="37344" y="35107"/>
                    </a:lnTo>
                    <a:cubicBezTo>
                      <a:pt x="39976" y="36183"/>
                      <a:pt x="42608" y="37260"/>
                      <a:pt x="44940" y="38217"/>
                    </a:cubicBezTo>
                    <a:cubicBezTo>
                      <a:pt x="45000" y="38217"/>
                      <a:pt x="45060" y="38277"/>
                      <a:pt x="45060" y="38336"/>
                    </a:cubicBezTo>
                    <a:cubicBezTo>
                      <a:pt x="45060" y="38336"/>
                      <a:pt x="45060" y="38336"/>
                      <a:pt x="45060" y="38396"/>
                    </a:cubicBezTo>
                    <a:cubicBezTo>
                      <a:pt x="45000" y="38336"/>
                      <a:pt x="44940" y="38396"/>
                      <a:pt x="44880" y="38396"/>
                    </a:cubicBezTo>
                    <a:close/>
                    <a:moveTo>
                      <a:pt x="39737" y="40250"/>
                    </a:moveTo>
                    <a:lnTo>
                      <a:pt x="44402" y="38277"/>
                    </a:lnTo>
                    <a:cubicBezTo>
                      <a:pt x="43266" y="37798"/>
                      <a:pt x="40634" y="36722"/>
                      <a:pt x="37524" y="35466"/>
                    </a:cubicBezTo>
                    <a:lnTo>
                      <a:pt x="39737" y="40250"/>
                    </a:lnTo>
                    <a:close/>
                    <a:moveTo>
                      <a:pt x="36926" y="41865"/>
                    </a:moveTo>
                    <a:lnTo>
                      <a:pt x="42368" y="46709"/>
                    </a:lnTo>
                    <a:lnTo>
                      <a:pt x="39617" y="40729"/>
                    </a:lnTo>
                    <a:lnTo>
                      <a:pt x="36926" y="41865"/>
                    </a:lnTo>
                    <a:close/>
                    <a:moveTo>
                      <a:pt x="14977" y="43839"/>
                    </a:moveTo>
                    <a:lnTo>
                      <a:pt x="23410" y="47308"/>
                    </a:lnTo>
                    <a:lnTo>
                      <a:pt x="36268" y="41745"/>
                    </a:lnTo>
                    <a:lnTo>
                      <a:pt x="32381" y="38277"/>
                    </a:lnTo>
                    <a:lnTo>
                      <a:pt x="14977" y="43839"/>
                    </a:lnTo>
                    <a:close/>
                    <a:moveTo>
                      <a:pt x="16651" y="20035"/>
                    </a:moveTo>
                    <a:cubicBezTo>
                      <a:pt x="18924" y="24282"/>
                      <a:pt x="20658" y="27571"/>
                      <a:pt x="20838" y="27810"/>
                    </a:cubicBezTo>
                    <a:cubicBezTo>
                      <a:pt x="21197" y="28289"/>
                      <a:pt x="29032" y="31638"/>
                      <a:pt x="36866" y="34868"/>
                    </a:cubicBezTo>
                    <a:lnTo>
                      <a:pt x="33337" y="27332"/>
                    </a:lnTo>
                    <a:lnTo>
                      <a:pt x="16651" y="20035"/>
                    </a:lnTo>
                    <a:close/>
                    <a:moveTo>
                      <a:pt x="9175" y="16447"/>
                    </a:moveTo>
                    <a:lnTo>
                      <a:pt x="15874" y="19377"/>
                    </a:lnTo>
                    <a:cubicBezTo>
                      <a:pt x="12285" y="12679"/>
                      <a:pt x="7680" y="4007"/>
                      <a:pt x="6125" y="1136"/>
                    </a:cubicBezTo>
                    <a:lnTo>
                      <a:pt x="9175" y="16447"/>
                    </a:lnTo>
                    <a:close/>
                  </a:path>
                </a:pathLst>
              </a:custGeom>
              <a:grpFill/>
              <a:ln w="6350" cap="flat">
                <a:solidFill>
                  <a:schemeClr val="bg1">
                    <a:alpha val="80000"/>
                  </a:schemeClr>
                </a:solidFill>
                <a:prstDash val="solid"/>
                <a:miter/>
              </a:ln>
            </p:spPr>
            <p:txBody>
              <a:bodyPr rtlCol="0" anchor="ctr"/>
              <a:lstStyle/>
              <a:p>
                <a:endParaRPr lang="en-GB"/>
              </a:p>
            </p:txBody>
          </p:sp>
          <p:sp>
            <p:nvSpPr>
              <p:cNvPr id="8885" name="Vrije vorm: vorm 8884">
                <a:extLst>
                  <a:ext uri="{FF2B5EF4-FFF2-40B4-BE49-F238E27FC236}">
                    <a16:creationId xmlns:a16="http://schemas.microsoft.com/office/drawing/2014/main" id="{479D6157-34A1-4724-9A1B-9A2B76D41592}"/>
                  </a:ext>
                </a:extLst>
              </p:cNvPr>
              <p:cNvSpPr/>
              <p:nvPr/>
            </p:nvSpPr>
            <p:spPr>
              <a:xfrm>
                <a:off x="4624613" y="2635565"/>
                <a:ext cx="46649" cy="100535"/>
              </a:xfrm>
              <a:custGeom>
                <a:avLst/>
                <a:gdLst>
                  <a:gd name="connsiteX0" fmla="*/ 41327 w 46649"/>
                  <a:gd name="connsiteY0" fmla="*/ 100476 h 100535"/>
                  <a:gd name="connsiteX1" fmla="*/ 41147 w 46649"/>
                  <a:gd name="connsiteY1" fmla="*/ 100356 h 100535"/>
                  <a:gd name="connsiteX2" fmla="*/ 46351 w 46649"/>
                  <a:gd name="connsiteY2" fmla="*/ 66565 h 100535"/>
                  <a:gd name="connsiteX3" fmla="*/ 31817 w 46649"/>
                  <a:gd name="connsiteY3" fmla="*/ 61960 h 100535"/>
                  <a:gd name="connsiteX4" fmla="*/ 27212 w 46649"/>
                  <a:gd name="connsiteY4" fmla="*/ 66745 h 100535"/>
                  <a:gd name="connsiteX5" fmla="*/ 26973 w 46649"/>
                  <a:gd name="connsiteY5" fmla="*/ 66745 h 100535"/>
                  <a:gd name="connsiteX6" fmla="*/ 16985 w 46649"/>
                  <a:gd name="connsiteY6" fmla="*/ 57236 h 100535"/>
                  <a:gd name="connsiteX7" fmla="*/ 16985 w 46649"/>
                  <a:gd name="connsiteY7" fmla="*/ 57056 h 100535"/>
                  <a:gd name="connsiteX8" fmla="*/ 17165 w 46649"/>
                  <a:gd name="connsiteY8" fmla="*/ 56996 h 100535"/>
                  <a:gd name="connsiteX9" fmla="*/ 31698 w 46649"/>
                  <a:gd name="connsiteY9" fmla="*/ 61661 h 100535"/>
                  <a:gd name="connsiteX10" fmla="*/ 35884 w 46649"/>
                  <a:gd name="connsiteY10" fmla="*/ 57295 h 100535"/>
                  <a:gd name="connsiteX11" fmla="*/ 24820 w 46649"/>
                  <a:gd name="connsiteY11" fmla="*/ 33970 h 100535"/>
                  <a:gd name="connsiteX12" fmla="*/ 120 w 46649"/>
                  <a:gd name="connsiteY12" fmla="*/ 25179 h 100535"/>
                  <a:gd name="connsiteX13" fmla="*/ 0 w 46649"/>
                  <a:gd name="connsiteY13" fmla="*/ 25059 h 100535"/>
                  <a:gd name="connsiteX14" fmla="*/ 60 w 46649"/>
                  <a:gd name="connsiteY14" fmla="*/ 24880 h 100535"/>
                  <a:gd name="connsiteX15" fmla="*/ 9211 w 46649"/>
                  <a:gd name="connsiteY15" fmla="*/ 19258 h 100535"/>
                  <a:gd name="connsiteX16" fmla="*/ 3888 w 46649"/>
                  <a:gd name="connsiteY16" fmla="*/ 179 h 100535"/>
                  <a:gd name="connsiteX17" fmla="*/ 4007 w 46649"/>
                  <a:gd name="connsiteY17" fmla="*/ 0 h 100535"/>
                  <a:gd name="connsiteX18" fmla="*/ 4187 w 46649"/>
                  <a:gd name="connsiteY18" fmla="*/ 120 h 100535"/>
                  <a:gd name="connsiteX19" fmla="*/ 9569 w 46649"/>
                  <a:gd name="connsiteY19" fmla="*/ 19318 h 100535"/>
                  <a:gd name="connsiteX20" fmla="*/ 9510 w 46649"/>
                  <a:gd name="connsiteY20" fmla="*/ 19497 h 100535"/>
                  <a:gd name="connsiteX21" fmla="*/ 538 w 46649"/>
                  <a:gd name="connsiteY21" fmla="*/ 24999 h 100535"/>
                  <a:gd name="connsiteX22" fmla="*/ 24999 w 46649"/>
                  <a:gd name="connsiteY22" fmla="*/ 33731 h 100535"/>
                  <a:gd name="connsiteX23" fmla="*/ 25119 w 46649"/>
                  <a:gd name="connsiteY23" fmla="*/ 33791 h 100535"/>
                  <a:gd name="connsiteX24" fmla="*/ 36243 w 46649"/>
                  <a:gd name="connsiteY24" fmla="*/ 57295 h 100535"/>
                  <a:gd name="connsiteX25" fmla="*/ 36243 w 46649"/>
                  <a:gd name="connsiteY25" fmla="*/ 57475 h 100535"/>
                  <a:gd name="connsiteX26" fmla="*/ 32057 w 46649"/>
                  <a:gd name="connsiteY26" fmla="*/ 61841 h 100535"/>
                  <a:gd name="connsiteX27" fmla="*/ 46530 w 46649"/>
                  <a:gd name="connsiteY27" fmla="*/ 66446 h 100535"/>
                  <a:gd name="connsiteX28" fmla="*/ 46650 w 46649"/>
                  <a:gd name="connsiteY28" fmla="*/ 66625 h 100535"/>
                  <a:gd name="connsiteX29" fmla="*/ 41446 w 46649"/>
                  <a:gd name="connsiteY29" fmla="*/ 100476 h 100535"/>
                  <a:gd name="connsiteX30" fmla="*/ 41446 w 46649"/>
                  <a:gd name="connsiteY30" fmla="*/ 100536 h 100535"/>
                  <a:gd name="connsiteX31" fmla="*/ 41327 w 46649"/>
                  <a:gd name="connsiteY31" fmla="*/ 100476 h 100535"/>
                  <a:gd name="connsiteX32" fmla="*/ 27153 w 46649"/>
                  <a:gd name="connsiteY32" fmla="*/ 66386 h 100535"/>
                  <a:gd name="connsiteX33" fmla="*/ 31519 w 46649"/>
                  <a:gd name="connsiteY33" fmla="*/ 61841 h 100535"/>
                  <a:gd name="connsiteX34" fmla="*/ 17763 w 46649"/>
                  <a:gd name="connsiteY34" fmla="*/ 57475 h 100535"/>
                  <a:gd name="connsiteX35" fmla="*/ 27153 w 46649"/>
                  <a:gd name="connsiteY35" fmla="*/ 66386 h 100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6649" h="100535">
                    <a:moveTo>
                      <a:pt x="41327" y="100476"/>
                    </a:moveTo>
                    <a:cubicBezTo>
                      <a:pt x="41267" y="100476"/>
                      <a:pt x="41147" y="100476"/>
                      <a:pt x="41147" y="100356"/>
                    </a:cubicBezTo>
                    <a:cubicBezTo>
                      <a:pt x="40848" y="99280"/>
                      <a:pt x="46351" y="69137"/>
                      <a:pt x="46351" y="66565"/>
                    </a:cubicBezTo>
                    <a:lnTo>
                      <a:pt x="31817" y="61960"/>
                    </a:lnTo>
                    <a:lnTo>
                      <a:pt x="27212" y="66745"/>
                    </a:lnTo>
                    <a:cubicBezTo>
                      <a:pt x="27153" y="66805"/>
                      <a:pt x="27033" y="66805"/>
                      <a:pt x="26973" y="66745"/>
                    </a:cubicBezTo>
                    <a:lnTo>
                      <a:pt x="16985" y="57236"/>
                    </a:lnTo>
                    <a:cubicBezTo>
                      <a:pt x="16926" y="57176"/>
                      <a:pt x="16926" y="57116"/>
                      <a:pt x="16985" y="57056"/>
                    </a:cubicBezTo>
                    <a:cubicBezTo>
                      <a:pt x="17045" y="56996"/>
                      <a:pt x="17105" y="56936"/>
                      <a:pt x="17165" y="56996"/>
                    </a:cubicBezTo>
                    <a:lnTo>
                      <a:pt x="31698" y="61661"/>
                    </a:lnTo>
                    <a:lnTo>
                      <a:pt x="35884" y="57295"/>
                    </a:lnTo>
                    <a:lnTo>
                      <a:pt x="24820" y="33970"/>
                    </a:lnTo>
                    <a:lnTo>
                      <a:pt x="120" y="25179"/>
                    </a:lnTo>
                    <a:cubicBezTo>
                      <a:pt x="60" y="25179"/>
                      <a:pt x="0" y="25119"/>
                      <a:pt x="0" y="25059"/>
                    </a:cubicBezTo>
                    <a:cubicBezTo>
                      <a:pt x="0" y="24999"/>
                      <a:pt x="0" y="24940"/>
                      <a:pt x="60" y="24880"/>
                    </a:cubicBezTo>
                    <a:lnTo>
                      <a:pt x="9211" y="19258"/>
                    </a:lnTo>
                    <a:lnTo>
                      <a:pt x="3888" y="179"/>
                    </a:lnTo>
                    <a:cubicBezTo>
                      <a:pt x="3888" y="120"/>
                      <a:pt x="3888" y="0"/>
                      <a:pt x="4007" y="0"/>
                    </a:cubicBezTo>
                    <a:cubicBezTo>
                      <a:pt x="4067" y="0"/>
                      <a:pt x="4187" y="0"/>
                      <a:pt x="4187" y="120"/>
                    </a:cubicBezTo>
                    <a:lnTo>
                      <a:pt x="9569" y="19318"/>
                    </a:lnTo>
                    <a:cubicBezTo>
                      <a:pt x="9569" y="19377"/>
                      <a:pt x="9569" y="19437"/>
                      <a:pt x="9510" y="19497"/>
                    </a:cubicBezTo>
                    <a:lnTo>
                      <a:pt x="538" y="24999"/>
                    </a:lnTo>
                    <a:lnTo>
                      <a:pt x="24999" y="33731"/>
                    </a:lnTo>
                    <a:cubicBezTo>
                      <a:pt x="25059" y="33731"/>
                      <a:pt x="25059" y="33791"/>
                      <a:pt x="25119" y="33791"/>
                    </a:cubicBezTo>
                    <a:lnTo>
                      <a:pt x="36243" y="57295"/>
                    </a:lnTo>
                    <a:cubicBezTo>
                      <a:pt x="36243" y="57355"/>
                      <a:pt x="36243" y="57415"/>
                      <a:pt x="36243" y="57475"/>
                    </a:cubicBezTo>
                    <a:lnTo>
                      <a:pt x="32057" y="61841"/>
                    </a:lnTo>
                    <a:lnTo>
                      <a:pt x="46530" y="66446"/>
                    </a:lnTo>
                    <a:cubicBezTo>
                      <a:pt x="46590" y="66446"/>
                      <a:pt x="46650" y="66506"/>
                      <a:pt x="46650" y="66625"/>
                    </a:cubicBezTo>
                    <a:cubicBezTo>
                      <a:pt x="46590" y="78527"/>
                      <a:pt x="41147" y="99579"/>
                      <a:pt x="41446" y="100476"/>
                    </a:cubicBezTo>
                    <a:cubicBezTo>
                      <a:pt x="41446" y="100476"/>
                      <a:pt x="41446" y="100536"/>
                      <a:pt x="41446" y="100536"/>
                    </a:cubicBezTo>
                    <a:cubicBezTo>
                      <a:pt x="41446" y="100416"/>
                      <a:pt x="41386" y="100476"/>
                      <a:pt x="41327" y="100476"/>
                    </a:cubicBezTo>
                    <a:close/>
                    <a:moveTo>
                      <a:pt x="27153" y="66386"/>
                    </a:moveTo>
                    <a:lnTo>
                      <a:pt x="31519" y="61841"/>
                    </a:lnTo>
                    <a:lnTo>
                      <a:pt x="17763" y="57475"/>
                    </a:lnTo>
                    <a:lnTo>
                      <a:pt x="27153" y="66386"/>
                    </a:lnTo>
                    <a:close/>
                  </a:path>
                </a:pathLst>
              </a:custGeom>
              <a:grpFill/>
              <a:ln w="6350" cap="flat">
                <a:solidFill>
                  <a:schemeClr val="bg1">
                    <a:alpha val="80000"/>
                  </a:schemeClr>
                </a:solidFill>
                <a:prstDash val="solid"/>
                <a:miter/>
              </a:ln>
            </p:spPr>
            <p:txBody>
              <a:bodyPr rtlCol="0" anchor="ctr"/>
              <a:lstStyle/>
              <a:p>
                <a:endParaRPr lang="en-GB"/>
              </a:p>
            </p:txBody>
          </p:sp>
          <p:sp>
            <p:nvSpPr>
              <p:cNvPr id="8886" name="Vrije vorm: vorm 8885">
                <a:extLst>
                  <a:ext uri="{FF2B5EF4-FFF2-40B4-BE49-F238E27FC236}">
                    <a16:creationId xmlns:a16="http://schemas.microsoft.com/office/drawing/2014/main" id="{B059C6FA-0573-4D87-A23B-87D7D6CF77EC}"/>
                  </a:ext>
                </a:extLst>
              </p:cNvPr>
              <p:cNvSpPr/>
              <p:nvPr/>
            </p:nvSpPr>
            <p:spPr>
              <a:xfrm>
                <a:off x="4618393" y="2692441"/>
                <a:ext cx="57979" cy="57474"/>
              </a:xfrm>
              <a:custGeom>
                <a:avLst/>
                <a:gdLst>
                  <a:gd name="connsiteX0" fmla="*/ 47606 w 57979"/>
                  <a:gd name="connsiteY0" fmla="*/ 43599 h 57474"/>
                  <a:gd name="connsiteX1" fmla="*/ 43181 w 57979"/>
                  <a:gd name="connsiteY1" fmla="*/ 46650 h 57474"/>
                  <a:gd name="connsiteX2" fmla="*/ 43480 w 57979"/>
                  <a:gd name="connsiteY2" fmla="*/ 57295 h 57474"/>
                  <a:gd name="connsiteX3" fmla="*/ 43360 w 57979"/>
                  <a:gd name="connsiteY3" fmla="*/ 57475 h 57474"/>
                  <a:gd name="connsiteX4" fmla="*/ 43181 w 57979"/>
                  <a:gd name="connsiteY4" fmla="*/ 57355 h 57474"/>
                  <a:gd name="connsiteX5" fmla="*/ 38695 w 57979"/>
                  <a:gd name="connsiteY5" fmla="*/ 49700 h 57474"/>
                  <a:gd name="connsiteX6" fmla="*/ 30502 w 57979"/>
                  <a:gd name="connsiteY6" fmla="*/ 53707 h 57474"/>
                  <a:gd name="connsiteX7" fmla="*/ 30382 w 57979"/>
                  <a:gd name="connsiteY7" fmla="*/ 53707 h 57474"/>
                  <a:gd name="connsiteX8" fmla="*/ 30262 w 57979"/>
                  <a:gd name="connsiteY8" fmla="*/ 53647 h 57474"/>
                  <a:gd name="connsiteX9" fmla="*/ 30801 w 57979"/>
                  <a:gd name="connsiteY9" fmla="*/ 44138 h 57474"/>
                  <a:gd name="connsiteX10" fmla="*/ 23145 w 57979"/>
                  <a:gd name="connsiteY10" fmla="*/ 39951 h 57474"/>
                  <a:gd name="connsiteX11" fmla="*/ 23086 w 57979"/>
                  <a:gd name="connsiteY11" fmla="*/ 39832 h 57474"/>
                  <a:gd name="connsiteX12" fmla="*/ 18480 w 57979"/>
                  <a:gd name="connsiteY12" fmla="*/ 23385 h 57474"/>
                  <a:gd name="connsiteX13" fmla="*/ 10765 w 57979"/>
                  <a:gd name="connsiteY13" fmla="*/ 20693 h 57474"/>
                  <a:gd name="connsiteX14" fmla="*/ 10645 w 57979"/>
                  <a:gd name="connsiteY14" fmla="*/ 20574 h 57474"/>
                  <a:gd name="connsiteX15" fmla="*/ 10167 w 57979"/>
                  <a:gd name="connsiteY15" fmla="*/ 7416 h 57474"/>
                  <a:gd name="connsiteX16" fmla="*/ 120 w 57979"/>
                  <a:gd name="connsiteY16" fmla="*/ 2930 h 57474"/>
                  <a:gd name="connsiteX17" fmla="*/ 0 w 57979"/>
                  <a:gd name="connsiteY17" fmla="*/ 2751 h 57474"/>
                  <a:gd name="connsiteX18" fmla="*/ 120 w 57979"/>
                  <a:gd name="connsiteY18" fmla="*/ 2632 h 57474"/>
                  <a:gd name="connsiteX19" fmla="*/ 9988 w 57979"/>
                  <a:gd name="connsiteY19" fmla="*/ 0 h 57474"/>
                  <a:gd name="connsiteX20" fmla="*/ 10107 w 57979"/>
                  <a:gd name="connsiteY20" fmla="*/ 0 h 57474"/>
                  <a:gd name="connsiteX21" fmla="*/ 10167 w 57979"/>
                  <a:gd name="connsiteY21" fmla="*/ 120 h 57474"/>
                  <a:gd name="connsiteX22" fmla="*/ 10406 w 57979"/>
                  <a:gd name="connsiteY22" fmla="*/ 7177 h 57474"/>
                  <a:gd name="connsiteX23" fmla="*/ 14593 w 57979"/>
                  <a:gd name="connsiteY23" fmla="*/ 9031 h 57474"/>
                  <a:gd name="connsiteX24" fmla="*/ 14712 w 57979"/>
                  <a:gd name="connsiteY24" fmla="*/ 9150 h 57474"/>
                  <a:gd name="connsiteX25" fmla="*/ 18660 w 57979"/>
                  <a:gd name="connsiteY25" fmla="*/ 23205 h 57474"/>
                  <a:gd name="connsiteX26" fmla="*/ 22727 w 57979"/>
                  <a:gd name="connsiteY26" fmla="*/ 24641 h 57474"/>
                  <a:gd name="connsiteX27" fmla="*/ 22846 w 57979"/>
                  <a:gd name="connsiteY27" fmla="*/ 24760 h 57474"/>
                  <a:gd name="connsiteX28" fmla="*/ 31040 w 57979"/>
                  <a:gd name="connsiteY28" fmla="*/ 44018 h 57474"/>
                  <a:gd name="connsiteX29" fmla="*/ 38755 w 57979"/>
                  <a:gd name="connsiteY29" fmla="*/ 49401 h 57474"/>
                  <a:gd name="connsiteX30" fmla="*/ 42882 w 57979"/>
                  <a:gd name="connsiteY30" fmla="*/ 46590 h 57474"/>
                  <a:gd name="connsiteX31" fmla="*/ 43181 w 57979"/>
                  <a:gd name="connsiteY31" fmla="*/ 29305 h 57474"/>
                  <a:gd name="connsiteX32" fmla="*/ 43241 w 57979"/>
                  <a:gd name="connsiteY32" fmla="*/ 29186 h 57474"/>
                  <a:gd name="connsiteX33" fmla="*/ 57594 w 57979"/>
                  <a:gd name="connsiteY33" fmla="*/ 18301 h 57474"/>
                  <a:gd name="connsiteX34" fmla="*/ 52690 w 57979"/>
                  <a:gd name="connsiteY34" fmla="*/ 9749 h 57474"/>
                  <a:gd name="connsiteX35" fmla="*/ 52750 w 57979"/>
                  <a:gd name="connsiteY35" fmla="*/ 9509 h 57474"/>
                  <a:gd name="connsiteX36" fmla="*/ 52989 w 57979"/>
                  <a:gd name="connsiteY36" fmla="*/ 9569 h 57474"/>
                  <a:gd name="connsiteX37" fmla="*/ 57953 w 57979"/>
                  <a:gd name="connsiteY37" fmla="*/ 18181 h 57474"/>
                  <a:gd name="connsiteX38" fmla="*/ 57953 w 57979"/>
                  <a:gd name="connsiteY38" fmla="*/ 18361 h 57474"/>
                  <a:gd name="connsiteX39" fmla="*/ 43599 w 57979"/>
                  <a:gd name="connsiteY39" fmla="*/ 29305 h 57474"/>
                  <a:gd name="connsiteX40" fmla="*/ 47786 w 57979"/>
                  <a:gd name="connsiteY40" fmla="*/ 43480 h 57474"/>
                  <a:gd name="connsiteX41" fmla="*/ 47786 w 57979"/>
                  <a:gd name="connsiteY41" fmla="*/ 43540 h 57474"/>
                  <a:gd name="connsiteX42" fmla="*/ 47606 w 57979"/>
                  <a:gd name="connsiteY42" fmla="*/ 43599 h 57474"/>
                  <a:gd name="connsiteX43" fmla="*/ 43181 w 57979"/>
                  <a:gd name="connsiteY43" fmla="*/ 46291 h 57474"/>
                  <a:gd name="connsiteX44" fmla="*/ 47367 w 57979"/>
                  <a:gd name="connsiteY44" fmla="*/ 43420 h 57474"/>
                  <a:gd name="connsiteX45" fmla="*/ 43480 w 57979"/>
                  <a:gd name="connsiteY45" fmla="*/ 30262 h 57474"/>
                  <a:gd name="connsiteX46" fmla="*/ 43181 w 57979"/>
                  <a:gd name="connsiteY46" fmla="*/ 46291 h 57474"/>
                  <a:gd name="connsiteX47" fmla="*/ 38935 w 57979"/>
                  <a:gd name="connsiteY47" fmla="*/ 49580 h 57474"/>
                  <a:gd name="connsiteX48" fmla="*/ 43121 w 57979"/>
                  <a:gd name="connsiteY48" fmla="*/ 56099 h 57474"/>
                  <a:gd name="connsiteX49" fmla="*/ 42822 w 57979"/>
                  <a:gd name="connsiteY49" fmla="*/ 46889 h 57474"/>
                  <a:gd name="connsiteX50" fmla="*/ 38935 w 57979"/>
                  <a:gd name="connsiteY50" fmla="*/ 49580 h 57474"/>
                  <a:gd name="connsiteX51" fmla="*/ 30442 w 57979"/>
                  <a:gd name="connsiteY51" fmla="*/ 53348 h 57474"/>
                  <a:gd name="connsiteX52" fmla="*/ 38396 w 57979"/>
                  <a:gd name="connsiteY52" fmla="*/ 49461 h 57474"/>
                  <a:gd name="connsiteX53" fmla="*/ 31219 w 57979"/>
                  <a:gd name="connsiteY53" fmla="*/ 44377 h 57474"/>
                  <a:gd name="connsiteX54" fmla="*/ 30442 w 57979"/>
                  <a:gd name="connsiteY54" fmla="*/ 53348 h 57474"/>
                  <a:gd name="connsiteX55" fmla="*/ 18780 w 57979"/>
                  <a:gd name="connsiteY55" fmla="*/ 23564 h 57474"/>
                  <a:gd name="connsiteX56" fmla="*/ 23325 w 57979"/>
                  <a:gd name="connsiteY56" fmla="*/ 39712 h 57474"/>
                  <a:gd name="connsiteX57" fmla="*/ 30561 w 57979"/>
                  <a:gd name="connsiteY57" fmla="*/ 43659 h 57474"/>
                  <a:gd name="connsiteX58" fmla="*/ 22547 w 57979"/>
                  <a:gd name="connsiteY58" fmla="*/ 24880 h 57474"/>
                  <a:gd name="connsiteX59" fmla="*/ 18780 w 57979"/>
                  <a:gd name="connsiteY59" fmla="*/ 23564 h 57474"/>
                  <a:gd name="connsiteX60" fmla="*/ 10466 w 57979"/>
                  <a:gd name="connsiteY60" fmla="*/ 7536 h 57474"/>
                  <a:gd name="connsiteX61" fmla="*/ 10945 w 57979"/>
                  <a:gd name="connsiteY61" fmla="*/ 20454 h 57474"/>
                  <a:gd name="connsiteX62" fmla="*/ 18301 w 57979"/>
                  <a:gd name="connsiteY62" fmla="*/ 23085 h 57474"/>
                  <a:gd name="connsiteX63" fmla="*/ 14473 w 57979"/>
                  <a:gd name="connsiteY63" fmla="*/ 9330 h 57474"/>
                  <a:gd name="connsiteX64" fmla="*/ 10466 w 57979"/>
                  <a:gd name="connsiteY64" fmla="*/ 7536 h 57474"/>
                  <a:gd name="connsiteX65" fmla="*/ 658 w 57979"/>
                  <a:gd name="connsiteY65" fmla="*/ 2811 h 57474"/>
                  <a:gd name="connsiteX66" fmla="*/ 10167 w 57979"/>
                  <a:gd name="connsiteY66" fmla="*/ 7057 h 57474"/>
                  <a:gd name="connsiteX67" fmla="*/ 9928 w 57979"/>
                  <a:gd name="connsiteY67" fmla="*/ 359 h 57474"/>
                  <a:gd name="connsiteX68" fmla="*/ 658 w 57979"/>
                  <a:gd name="connsiteY68" fmla="*/ 2811 h 5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7979" h="57474">
                    <a:moveTo>
                      <a:pt x="47606" y="43599"/>
                    </a:moveTo>
                    <a:lnTo>
                      <a:pt x="43181" y="46650"/>
                    </a:lnTo>
                    <a:lnTo>
                      <a:pt x="43480" y="57295"/>
                    </a:lnTo>
                    <a:cubicBezTo>
                      <a:pt x="43480" y="57355"/>
                      <a:pt x="43420" y="57415"/>
                      <a:pt x="43360" y="57475"/>
                    </a:cubicBezTo>
                    <a:cubicBezTo>
                      <a:pt x="43300" y="57475"/>
                      <a:pt x="43181" y="57415"/>
                      <a:pt x="43181" y="57355"/>
                    </a:cubicBezTo>
                    <a:lnTo>
                      <a:pt x="38695" y="49700"/>
                    </a:lnTo>
                    <a:lnTo>
                      <a:pt x="30502" y="53707"/>
                    </a:lnTo>
                    <a:cubicBezTo>
                      <a:pt x="30442" y="53707"/>
                      <a:pt x="30442" y="53707"/>
                      <a:pt x="30382" y="53707"/>
                    </a:cubicBezTo>
                    <a:cubicBezTo>
                      <a:pt x="30322" y="53707"/>
                      <a:pt x="30322" y="53647"/>
                      <a:pt x="30262" y="53647"/>
                    </a:cubicBezTo>
                    <a:lnTo>
                      <a:pt x="30801" y="44138"/>
                    </a:lnTo>
                    <a:lnTo>
                      <a:pt x="23145" y="39951"/>
                    </a:lnTo>
                    <a:cubicBezTo>
                      <a:pt x="23086" y="39951"/>
                      <a:pt x="23086" y="39891"/>
                      <a:pt x="23086" y="39832"/>
                    </a:cubicBezTo>
                    <a:lnTo>
                      <a:pt x="18480" y="23385"/>
                    </a:lnTo>
                    <a:lnTo>
                      <a:pt x="10765" y="20693"/>
                    </a:lnTo>
                    <a:cubicBezTo>
                      <a:pt x="10705" y="20693"/>
                      <a:pt x="10645" y="20633"/>
                      <a:pt x="10645" y="20574"/>
                    </a:cubicBezTo>
                    <a:lnTo>
                      <a:pt x="10167" y="7416"/>
                    </a:lnTo>
                    <a:lnTo>
                      <a:pt x="120" y="2930"/>
                    </a:lnTo>
                    <a:cubicBezTo>
                      <a:pt x="60" y="2930"/>
                      <a:pt x="0" y="2811"/>
                      <a:pt x="0" y="2751"/>
                    </a:cubicBezTo>
                    <a:cubicBezTo>
                      <a:pt x="0" y="2691"/>
                      <a:pt x="60" y="2632"/>
                      <a:pt x="120" y="2632"/>
                    </a:cubicBezTo>
                    <a:lnTo>
                      <a:pt x="9988" y="0"/>
                    </a:lnTo>
                    <a:cubicBezTo>
                      <a:pt x="10048" y="0"/>
                      <a:pt x="10107" y="0"/>
                      <a:pt x="10107" y="0"/>
                    </a:cubicBezTo>
                    <a:cubicBezTo>
                      <a:pt x="10167" y="0"/>
                      <a:pt x="10167" y="60"/>
                      <a:pt x="10167" y="120"/>
                    </a:cubicBezTo>
                    <a:lnTo>
                      <a:pt x="10406" y="7177"/>
                    </a:lnTo>
                    <a:lnTo>
                      <a:pt x="14593" y="9031"/>
                    </a:lnTo>
                    <a:cubicBezTo>
                      <a:pt x="14653" y="9031"/>
                      <a:pt x="14653" y="9091"/>
                      <a:pt x="14712" y="9150"/>
                    </a:cubicBezTo>
                    <a:lnTo>
                      <a:pt x="18660" y="23205"/>
                    </a:lnTo>
                    <a:lnTo>
                      <a:pt x="22727" y="24641"/>
                    </a:lnTo>
                    <a:cubicBezTo>
                      <a:pt x="22787" y="24641"/>
                      <a:pt x="22787" y="24700"/>
                      <a:pt x="22846" y="24760"/>
                    </a:cubicBezTo>
                    <a:lnTo>
                      <a:pt x="31040" y="44018"/>
                    </a:lnTo>
                    <a:lnTo>
                      <a:pt x="38755" y="49401"/>
                    </a:lnTo>
                    <a:lnTo>
                      <a:pt x="42882" y="46590"/>
                    </a:lnTo>
                    <a:lnTo>
                      <a:pt x="43181" y="29305"/>
                    </a:lnTo>
                    <a:cubicBezTo>
                      <a:pt x="43181" y="29246"/>
                      <a:pt x="43181" y="29246"/>
                      <a:pt x="43241" y="29186"/>
                    </a:cubicBezTo>
                    <a:lnTo>
                      <a:pt x="57594" y="18301"/>
                    </a:lnTo>
                    <a:lnTo>
                      <a:pt x="52690" y="9749"/>
                    </a:lnTo>
                    <a:cubicBezTo>
                      <a:pt x="52630" y="9689"/>
                      <a:pt x="52690" y="9569"/>
                      <a:pt x="52750" y="9509"/>
                    </a:cubicBezTo>
                    <a:cubicBezTo>
                      <a:pt x="52810" y="9449"/>
                      <a:pt x="52929" y="9509"/>
                      <a:pt x="52989" y="9569"/>
                    </a:cubicBezTo>
                    <a:lnTo>
                      <a:pt x="57953" y="18181"/>
                    </a:lnTo>
                    <a:cubicBezTo>
                      <a:pt x="57953" y="18241"/>
                      <a:pt x="58013" y="18301"/>
                      <a:pt x="57953" y="18361"/>
                    </a:cubicBezTo>
                    <a:lnTo>
                      <a:pt x="43599" y="29305"/>
                    </a:lnTo>
                    <a:lnTo>
                      <a:pt x="47786" y="43480"/>
                    </a:lnTo>
                    <a:cubicBezTo>
                      <a:pt x="47786" y="43480"/>
                      <a:pt x="47786" y="43540"/>
                      <a:pt x="47786" y="43540"/>
                    </a:cubicBezTo>
                    <a:cubicBezTo>
                      <a:pt x="47666" y="43540"/>
                      <a:pt x="47666" y="43599"/>
                      <a:pt x="47606" y="43599"/>
                    </a:cubicBezTo>
                    <a:close/>
                    <a:moveTo>
                      <a:pt x="43181" y="46291"/>
                    </a:moveTo>
                    <a:lnTo>
                      <a:pt x="47367" y="43420"/>
                    </a:lnTo>
                    <a:lnTo>
                      <a:pt x="43480" y="30262"/>
                    </a:lnTo>
                    <a:lnTo>
                      <a:pt x="43181" y="46291"/>
                    </a:lnTo>
                    <a:close/>
                    <a:moveTo>
                      <a:pt x="38935" y="49580"/>
                    </a:moveTo>
                    <a:lnTo>
                      <a:pt x="43121" y="56099"/>
                    </a:lnTo>
                    <a:lnTo>
                      <a:pt x="42822" y="46889"/>
                    </a:lnTo>
                    <a:lnTo>
                      <a:pt x="38935" y="49580"/>
                    </a:lnTo>
                    <a:close/>
                    <a:moveTo>
                      <a:pt x="30442" y="53348"/>
                    </a:moveTo>
                    <a:lnTo>
                      <a:pt x="38396" y="49461"/>
                    </a:lnTo>
                    <a:lnTo>
                      <a:pt x="31219" y="44377"/>
                    </a:lnTo>
                    <a:lnTo>
                      <a:pt x="30442" y="53348"/>
                    </a:lnTo>
                    <a:close/>
                    <a:moveTo>
                      <a:pt x="18780" y="23564"/>
                    </a:moveTo>
                    <a:lnTo>
                      <a:pt x="23325" y="39712"/>
                    </a:lnTo>
                    <a:lnTo>
                      <a:pt x="30561" y="43659"/>
                    </a:lnTo>
                    <a:lnTo>
                      <a:pt x="22547" y="24880"/>
                    </a:lnTo>
                    <a:lnTo>
                      <a:pt x="18780" y="23564"/>
                    </a:lnTo>
                    <a:close/>
                    <a:moveTo>
                      <a:pt x="10466" y="7536"/>
                    </a:moveTo>
                    <a:lnTo>
                      <a:pt x="10945" y="20454"/>
                    </a:lnTo>
                    <a:lnTo>
                      <a:pt x="18301" y="23085"/>
                    </a:lnTo>
                    <a:lnTo>
                      <a:pt x="14473" y="9330"/>
                    </a:lnTo>
                    <a:lnTo>
                      <a:pt x="10466" y="7536"/>
                    </a:lnTo>
                    <a:close/>
                    <a:moveTo>
                      <a:pt x="658" y="2811"/>
                    </a:moveTo>
                    <a:lnTo>
                      <a:pt x="10167" y="7057"/>
                    </a:lnTo>
                    <a:lnTo>
                      <a:pt x="9928" y="359"/>
                    </a:lnTo>
                    <a:lnTo>
                      <a:pt x="658" y="2811"/>
                    </a:lnTo>
                    <a:close/>
                  </a:path>
                </a:pathLst>
              </a:custGeom>
              <a:grpFill/>
              <a:ln w="6350" cap="flat">
                <a:solidFill>
                  <a:schemeClr val="bg1">
                    <a:alpha val="80000"/>
                  </a:schemeClr>
                </a:solidFill>
                <a:prstDash val="solid"/>
                <a:miter/>
              </a:ln>
            </p:spPr>
            <p:txBody>
              <a:bodyPr rtlCol="0" anchor="ctr"/>
              <a:lstStyle/>
              <a:p>
                <a:endParaRPr lang="en-GB"/>
              </a:p>
            </p:txBody>
          </p:sp>
          <p:sp>
            <p:nvSpPr>
              <p:cNvPr id="8887" name="Vrije vorm: vorm 8886">
                <a:extLst>
                  <a:ext uri="{FF2B5EF4-FFF2-40B4-BE49-F238E27FC236}">
                    <a16:creationId xmlns:a16="http://schemas.microsoft.com/office/drawing/2014/main" id="{7F24C080-D6D7-4FEA-95FE-7CB00FD3591C}"/>
                  </a:ext>
                </a:extLst>
              </p:cNvPr>
              <p:cNvSpPr/>
              <p:nvPr/>
            </p:nvSpPr>
            <p:spPr>
              <a:xfrm>
                <a:off x="4661633" y="2648423"/>
                <a:ext cx="30382" cy="73383"/>
              </a:xfrm>
              <a:custGeom>
                <a:avLst/>
                <a:gdLst>
                  <a:gd name="connsiteX0" fmla="*/ 30382 w 30382"/>
                  <a:gd name="connsiteY0" fmla="*/ 179 h 73383"/>
                  <a:gd name="connsiteX1" fmla="*/ 30262 w 30382"/>
                  <a:gd name="connsiteY1" fmla="*/ 0 h 73383"/>
                  <a:gd name="connsiteX2" fmla="*/ 30083 w 30382"/>
                  <a:gd name="connsiteY2" fmla="*/ 120 h 73383"/>
                  <a:gd name="connsiteX3" fmla="*/ 11423 w 30382"/>
                  <a:gd name="connsiteY3" fmla="*/ 44497 h 73383"/>
                  <a:gd name="connsiteX4" fmla="*/ 11423 w 30382"/>
                  <a:gd name="connsiteY4" fmla="*/ 44497 h 73383"/>
                  <a:gd name="connsiteX5" fmla="*/ 11483 w 30382"/>
                  <a:gd name="connsiteY5" fmla="*/ 44736 h 73383"/>
                  <a:gd name="connsiteX6" fmla="*/ 11722 w 30382"/>
                  <a:gd name="connsiteY6" fmla="*/ 44676 h 73383"/>
                  <a:gd name="connsiteX7" fmla="*/ 11722 w 30382"/>
                  <a:gd name="connsiteY7" fmla="*/ 44676 h 73383"/>
                  <a:gd name="connsiteX8" fmla="*/ 20155 w 30382"/>
                  <a:gd name="connsiteY8" fmla="*/ 33492 h 73383"/>
                  <a:gd name="connsiteX9" fmla="*/ 0 w 30382"/>
                  <a:gd name="connsiteY9" fmla="*/ 73204 h 73383"/>
                  <a:gd name="connsiteX10" fmla="*/ 120 w 30382"/>
                  <a:gd name="connsiteY10" fmla="*/ 73384 h 73383"/>
                  <a:gd name="connsiteX11" fmla="*/ 299 w 30382"/>
                  <a:gd name="connsiteY11" fmla="*/ 73264 h 73383"/>
                  <a:gd name="connsiteX12" fmla="*/ 24342 w 30382"/>
                  <a:gd name="connsiteY12" fmla="*/ 33073 h 73383"/>
                  <a:gd name="connsiteX13" fmla="*/ 24282 w 30382"/>
                  <a:gd name="connsiteY13" fmla="*/ 32894 h 73383"/>
                  <a:gd name="connsiteX14" fmla="*/ 24043 w 30382"/>
                  <a:gd name="connsiteY14" fmla="*/ 32954 h 73383"/>
                  <a:gd name="connsiteX15" fmla="*/ 12201 w 30382"/>
                  <a:gd name="connsiteY15" fmla="*/ 43420 h 73383"/>
                  <a:gd name="connsiteX16" fmla="*/ 30382 w 30382"/>
                  <a:gd name="connsiteY16" fmla="*/ 179 h 73383"/>
                  <a:gd name="connsiteX17" fmla="*/ 30382 w 30382"/>
                  <a:gd name="connsiteY17" fmla="*/ 179 h 73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382" h="73383">
                    <a:moveTo>
                      <a:pt x="30382" y="179"/>
                    </a:moveTo>
                    <a:cubicBezTo>
                      <a:pt x="30382" y="120"/>
                      <a:pt x="30382" y="0"/>
                      <a:pt x="30262" y="0"/>
                    </a:cubicBezTo>
                    <a:cubicBezTo>
                      <a:pt x="30203" y="0"/>
                      <a:pt x="30083" y="0"/>
                      <a:pt x="30083" y="120"/>
                    </a:cubicBezTo>
                    <a:cubicBezTo>
                      <a:pt x="25059" y="15311"/>
                      <a:pt x="12021" y="43659"/>
                      <a:pt x="11423" y="44497"/>
                    </a:cubicBezTo>
                    <a:lnTo>
                      <a:pt x="11423" y="44497"/>
                    </a:lnTo>
                    <a:cubicBezTo>
                      <a:pt x="11364" y="44556"/>
                      <a:pt x="11364" y="44676"/>
                      <a:pt x="11483" y="44736"/>
                    </a:cubicBezTo>
                    <a:cubicBezTo>
                      <a:pt x="11543" y="44796"/>
                      <a:pt x="11662" y="44796"/>
                      <a:pt x="11722" y="44676"/>
                    </a:cubicBezTo>
                    <a:cubicBezTo>
                      <a:pt x="11722" y="44676"/>
                      <a:pt x="11722" y="44676"/>
                      <a:pt x="11722" y="44676"/>
                    </a:cubicBezTo>
                    <a:lnTo>
                      <a:pt x="20155" y="33492"/>
                    </a:lnTo>
                    <a:cubicBezTo>
                      <a:pt x="17643" y="40131"/>
                      <a:pt x="538" y="71649"/>
                      <a:pt x="0" y="73204"/>
                    </a:cubicBezTo>
                    <a:cubicBezTo>
                      <a:pt x="0" y="73264"/>
                      <a:pt x="0" y="73384"/>
                      <a:pt x="120" y="73384"/>
                    </a:cubicBezTo>
                    <a:cubicBezTo>
                      <a:pt x="180" y="73384"/>
                      <a:pt x="299" y="73384"/>
                      <a:pt x="299" y="73264"/>
                    </a:cubicBezTo>
                    <a:cubicBezTo>
                      <a:pt x="419" y="72845"/>
                      <a:pt x="23684" y="34270"/>
                      <a:pt x="24342" y="33073"/>
                    </a:cubicBezTo>
                    <a:cubicBezTo>
                      <a:pt x="24401" y="33014"/>
                      <a:pt x="24342" y="32894"/>
                      <a:pt x="24282" y="32894"/>
                    </a:cubicBezTo>
                    <a:cubicBezTo>
                      <a:pt x="24222" y="32834"/>
                      <a:pt x="24102" y="32894"/>
                      <a:pt x="24043" y="32954"/>
                    </a:cubicBezTo>
                    <a:lnTo>
                      <a:pt x="12201" y="43420"/>
                    </a:lnTo>
                    <a:cubicBezTo>
                      <a:pt x="14773" y="36423"/>
                      <a:pt x="29844" y="1854"/>
                      <a:pt x="30382" y="179"/>
                    </a:cubicBezTo>
                    <a:cubicBezTo>
                      <a:pt x="30382" y="179"/>
                      <a:pt x="30382" y="179"/>
                      <a:pt x="30382"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88" name="Vrije vorm: vorm 8887">
                <a:extLst>
                  <a:ext uri="{FF2B5EF4-FFF2-40B4-BE49-F238E27FC236}">
                    <a16:creationId xmlns:a16="http://schemas.microsoft.com/office/drawing/2014/main" id="{12E32363-7435-4F2B-A6C2-4F5CE2485A73}"/>
                  </a:ext>
                </a:extLst>
              </p:cNvPr>
              <p:cNvSpPr/>
              <p:nvPr/>
            </p:nvSpPr>
            <p:spPr>
              <a:xfrm>
                <a:off x="4533800" y="2574741"/>
                <a:ext cx="102091" cy="85883"/>
              </a:xfrm>
              <a:custGeom>
                <a:avLst/>
                <a:gdLst>
                  <a:gd name="connsiteX0" fmla="*/ 102056 w 102091"/>
                  <a:gd name="connsiteY0" fmla="*/ 69257 h 85883"/>
                  <a:gd name="connsiteX1" fmla="*/ 91111 w 102091"/>
                  <a:gd name="connsiteY1" fmla="*/ 85823 h 85883"/>
                  <a:gd name="connsiteX2" fmla="*/ 90932 w 102091"/>
                  <a:gd name="connsiteY2" fmla="*/ 85883 h 85883"/>
                  <a:gd name="connsiteX3" fmla="*/ 90812 w 102091"/>
                  <a:gd name="connsiteY3" fmla="*/ 85764 h 85883"/>
                  <a:gd name="connsiteX4" fmla="*/ 79030 w 102091"/>
                  <a:gd name="connsiteY4" fmla="*/ 15789 h 85883"/>
                  <a:gd name="connsiteX5" fmla="*/ 62882 w 102091"/>
                  <a:gd name="connsiteY5" fmla="*/ 4127 h 85883"/>
                  <a:gd name="connsiteX6" fmla="*/ 40036 w 102091"/>
                  <a:gd name="connsiteY6" fmla="*/ 10466 h 85883"/>
                  <a:gd name="connsiteX7" fmla="*/ 40694 w 102091"/>
                  <a:gd name="connsiteY7" fmla="*/ 16088 h 85883"/>
                  <a:gd name="connsiteX8" fmla="*/ 49545 w 102091"/>
                  <a:gd name="connsiteY8" fmla="*/ 13098 h 85883"/>
                  <a:gd name="connsiteX9" fmla="*/ 49725 w 102091"/>
                  <a:gd name="connsiteY9" fmla="*/ 13158 h 85883"/>
                  <a:gd name="connsiteX10" fmla="*/ 49784 w 102091"/>
                  <a:gd name="connsiteY10" fmla="*/ 13337 h 85883"/>
                  <a:gd name="connsiteX11" fmla="*/ 49784 w 102091"/>
                  <a:gd name="connsiteY11" fmla="*/ 13337 h 85883"/>
                  <a:gd name="connsiteX12" fmla="*/ 43684 w 102091"/>
                  <a:gd name="connsiteY12" fmla="*/ 42224 h 85883"/>
                  <a:gd name="connsiteX13" fmla="*/ 43505 w 102091"/>
                  <a:gd name="connsiteY13" fmla="*/ 42344 h 85883"/>
                  <a:gd name="connsiteX14" fmla="*/ 43325 w 102091"/>
                  <a:gd name="connsiteY14" fmla="*/ 42224 h 85883"/>
                  <a:gd name="connsiteX15" fmla="*/ 40335 w 102091"/>
                  <a:gd name="connsiteY15" fmla="*/ 16567 h 85883"/>
                  <a:gd name="connsiteX16" fmla="*/ 37584 w 102091"/>
                  <a:gd name="connsiteY16" fmla="*/ 17464 h 85883"/>
                  <a:gd name="connsiteX17" fmla="*/ 26400 w 102091"/>
                  <a:gd name="connsiteY17" fmla="*/ 47786 h 85883"/>
                  <a:gd name="connsiteX18" fmla="*/ 26280 w 102091"/>
                  <a:gd name="connsiteY18" fmla="*/ 47786 h 85883"/>
                  <a:gd name="connsiteX19" fmla="*/ 26220 w 102091"/>
                  <a:gd name="connsiteY19" fmla="*/ 47666 h 85883"/>
                  <a:gd name="connsiteX20" fmla="*/ 25622 w 102091"/>
                  <a:gd name="connsiteY20" fmla="*/ 24760 h 85883"/>
                  <a:gd name="connsiteX21" fmla="*/ 9594 w 102091"/>
                  <a:gd name="connsiteY21" fmla="*/ 40609 h 85883"/>
                  <a:gd name="connsiteX22" fmla="*/ 9415 w 102091"/>
                  <a:gd name="connsiteY22" fmla="*/ 40669 h 85883"/>
                  <a:gd name="connsiteX23" fmla="*/ 9295 w 102091"/>
                  <a:gd name="connsiteY23" fmla="*/ 40490 h 85883"/>
                  <a:gd name="connsiteX24" fmla="*/ 9953 w 102091"/>
                  <a:gd name="connsiteY24" fmla="*/ 26794 h 85883"/>
                  <a:gd name="connsiteX25" fmla="*/ 204 w 102091"/>
                  <a:gd name="connsiteY25" fmla="*/ 30023 h 85883"/>
                  <a:gd name="connsiteX26" fmla="*/ 25 w 102091"/>
                  <a:gd name="connsiteY26" fmla="*/ 29963 h 85883"/>
                  <a:gd name="connsiteX27" fmla="*/ 85 w 102091"/>
                  <a:gd name="connsiteY27" fmla="*/ 29784 h 85883"/>
                  <a:gd name="connsiteX28" fmla="*/ 10252 w 102091"/>
                  <a:gd name="connsiteY28" fmla="*/ 21351 h 85883"/>
                  <a:gd name="connsiteX29" fmla="*/ 10910 w 102091"/>
                  <a:gd name="connsiteY29" fmla="*/ 7296 h 85883"/>
                  <a:gd name="connsiteX30" fmla="*/ 10910 w 102091"/>
                  <a:gd name="connsiteY30" fmla="*/ 7296 h 85883"/>
                  <a:gd name="connsiteX31" fmla="*/ 11029 w 102091"/>
                  <a:gd name="connsiteY31" fmla="*/ 7177 h 85883"/>
                  <a:gd name="connsiteX32" fmla="*/ 23050 w 102091"/>
                  <a:gd name="connsiteY32" fmla="*/ 4366 h 85883"/>
                  <a:gd name="connsiteX33" fmla="*/ 12166 w 102091"/>
                  <a:gd name="connsiteY33" fmla="*/ 299 h 85883"/>
                  <a:gd name="connsiteX34" fmla="*/ 12046 w 102091"/>
                  <a:gd name="connsiteY34" fmla="*/ 120 h 85883"/>
                  <a:gd name="connsiteX35" fmla="*/ 12225 w 102091"/>
                  <a:gd name="connsiteY35" fmla="*/ 0 h 85883"/>
                  <a:gd name="connsiteX36" fmla="*/ 23529 w 102091"/>
                  <a:gd name="connsiteY36" fmla="*/ 4246 h 85883"/>
                  <a:gd name="connsiteX37" fmla="*/ 34893 w 102091"/>
                  <a:gd name="connsiteY37" fmla="*/ 1555 h 85883"/>
                  <a:gd name="connsiteX38" fmla="*/ 35072 w 102091"/>
                  <a:gd name="connsiteY38" fmla="*/ 1615 h 85883"/>
                  <a:gd name="connsiteX39" fmla="*/ 39857 w 102091"/>
                  <a:gd name="connsiteY39" fmla="*/ 10287 h 85883"/>
                  <a:gd name="connsiteX40" fmla="*/ 62763 w 102091"/>
                  <a:gd name="connsiteY40" fmla="*/ 3888 h 85883"/>
                  <a:gd name="connsiteX41" fmla="*/ 62882 w 102091"/>
                  <a:gd name="connsiteY41" fmla="*/ 3888 h 85883"/>
                  <a:gd name="connsiteX42" fmla="*/ 79150 w 102091"/>
                  <a:gd name="connsiteY42" fmla="*/ 15610 h 85883"/>
                  <a:gd name="connsiteX43" fmla="*/ 79210 w 102091"/>
                  <a:gd name="connsiteY43" fmla="*/ 15729 h 85883"/>
                  <a:gd name="connsiteX44" fmla="*/ 90932 w 102091"/>
                  <a:gd name="connsiteY44" fmla="*/ 85345 h 85883"/>
                  <a:gd name="connsiteX45" fmla="*/ 101577 w 102091"/>
                  <a:gd name="connsiteY45" fmla="*/ 69257 h 85883"/>
                  <a:gd name="connsiteX46" fmla="*/ 94640 w 102091"/>
                  <a:gd name="connsiteY46" fmla="*/ 61003 h 85883"/>
                  <a:gd name="connsiteX47" fmla="*/ 94640 w 102091"/>
                  <a:gd name="connsiteY47" fmla="*/ 60764 h 85883"/>
                  <a:gd name="connsiteX48" fmla="*/ 94879 w 102091"/>
                  <a:gd name="connsiteY48" fmla="*/ 60764 h 85883"/>
                  <a:gd name="connsiteX49" fmla="*/ 101877 w 102091"/>
                  <a:gd name="connsiteY49" fmla="*/ 69077 h 85883"/>
                  <a:gd name="connsiteX50" fmla="*/ 101936 w 102091"/>
                  <a:gd name="connsiteY50" fmla="*/ 69197 h 85883"/>
                  <a:gd name="connsiteX51" fmla="*/ 102056 w 102091"/>
                  <a:gd name="connsiteY51" fmla="*/ 69257 h 85883"/>
                  <a:gd name="connsiteX52" fmla="*/ 43624 w 102091"/>
                  <a:gd name="connsiteY52" fmla="*/ 41207 h 85883"/>
                  <a:gd name="connsiteX53" fmla="*/ 49426 w 102091"/>
                  <a:gd name="connsiteY53" fmla="*/ 13576 h 85883"/>
                  <a:gd name="connsiteX54" fmla="*/ 40754 w 102091"/>
                  <a:gd name="connsiteY54" fmla="*/ 16507 h 85883"/>
                  <a:gd name="connsiteX55" fmla="*/ 43624 w 102091"/>
                  <a:gd name="connsiteY55" fmla="*/ 41207 h 85883"/>
                  <a:gd name="connsiteX56" fmla="*/ 37823 w 102091"/>
                  <a:gd name="connsiteY56" fmla="*/ 17105 h 85883"/>
                  <a:gd name="connsiteX57" fmla="*/ 40395 w 102091"/>
                  <a:gd name="connsiteY57" fmla="*/ 16208 h 85883"/>
                  <a:gd name="connsiteX58" fmla="*/ 39797 w 102091"/>
                  <a:gd name="connsiteY58" fmla="*/ 11064 h 85883"/>
                  <a:gd name="connsiteX59" fmla="*/ 37823 w 102091"/>
                  <a:gd name="connsiteY59" fmla="*/ 17105 h 85883"/>
                  <a:gd name="connsiteX60" fmla="*/ 37464 w 102091"/>
                  <a:gd name="connsiteY60" fmla="*/ 17225 h 85883"/>
                  <a:gd name="connsiteX61" fmla="*/ 39557 w 102091"/>
                  <a:gd name="connsiteY61" fmla="*/ 10945 h 85883"/>
                  <a:gd name="connsiteX62" fmla="*/ 31065 w 102091"/>
                  <a:gd name="connsiteY62" fmla="*/ 19318 h 85883"/>
                  <a:gd name="connsiteX63" fmla="*/ 37464 w 102091"/>
                  <a:gd name="connsiteY63" fmla="*/ 17225 h 85883"/>
                  <a:gd name="connsiteX64" fmla="*/ 11269 w 102091"/>
                  <a:gd name="connsiteY64" fmla="*/ 7356 h 85883"/>
                  <a:gd name="connsiteX65" fmla="*/ 10611 w 102091"/>
                  <a:gd name="connsiteY65" fmla="*/ 20992 h 85883"/>
                  <a:gd name="connsiteX66" fmla="*/ 25323 w 102091"/>
                  <a:gd name="connsiteY66" fmla="*/ 8792 h 85883"/>
                  <a:gd name="connsiteX67" fmla="*/ 25503 w 102091"/>
                  <a:gd name="connsiteY67" fmla="*/ 8792 h 85883"/>
                  <a:gd name="connsiteX68" fmla="*/ 25622 w 102091"/>
                  <a:gd name="connsiteY68" fmla="*/ 8911 h 85883"/>
                  <a:gd name="connsiteX69" fmla="*/ 25921 w 102091"/>
                  <a:gd name="connsiteY69" fmla="*/ 21052 h 85883"/>
                  <a:gd name="connsiteX70" fmla="*/ 30407 w 102091"/>
                  <a:gd name="connsiteY70" fmla="*/ 19557 h 85883"/>
                  <a:gd name="connsiteX71" fmla="*/ 39677 w 102091"/>
                  <a:gd name="connsiteY71" fmla="*/ 10407 h 85883"/>
                  <a:gd name="connsiteX72" fmla="*/ 23709 w 102091"/>
                  <a:gd name="connsiteY72" fmla="*/ 4426 h 85883"/>
                  <a:gd name="connsiteX73" fmla="*/ 11269 w 102091"/>
                  <a:gd name="connsiteY73" fmla="*/ 7356 h 85883"/>
                  <a:gd name="connsiteX74" fmla="*/ 24187 w 102091"/>
                  <a:gd name="connsiteY74" fmla="*/ 4306 h 85883"/>
                  <a:gd name="connsiteX75" fmla="*/ 39557 w 102091"/>
                  <a:gd name="connsiteY75" fmla="*/ 10048 h 85883"/>
                  <a:gd name="connsiteX76" fmla="*/ 35012 w 102091"/>
                  <a:gd name="connsiteY76" fmla="*/ 1794 h 85883"/>
                  <a:gd name="connsiteX77" fmla="*/ 24187 w 102091"/>
                  <a:gd name="connsiteY77" fmla="*/ 4306 h 85883"/>
                  <a:gd name="connsiteX78" fmla="*/ 25981 w 102091"/>
                  <a:gd name="connsiteY78" fmla="*/ 24401 h 85883"/>
                  <a:gd name="connsiteX79" fmla="*/ 26579 w 102091"/>
                  <a:gd name="connsiteY79" fmla="*/ 47188 h 85883"/>
                  <a:gd name="connsiteX80" fmla="*/ 37285 w 102091"/>
                  <a:gd name="connsiteY80" fmla="*/ 17583 h 85883"/>
                  <a:gd name="connsiteX81" fmla="*/ 30526 w 102091"/>
                  <a:gd name="connsiteY81" fmla="*/ 19856 h 85883"/>
                  <a:gd name="connsiteX82" fmla="*/ 25981 w 102091"/>
                  <a:gd name="connsiteY82" fmla="*/ 24401 h 85883"/>
                  <a:gd name="connsiteX83" fmla="*/ 25981 w 102091"/>
                  <a:gd name="connsiteY83" fmla="*/ 23923 h 85883"/>
                  <a:gd name="connsiteX84" fmla="*/ 29869 w 102091"/>
                  <a:gd name="connsiteY84" fmla="*/ 20095 h 85883"/>
                  <a:gd name="connsiteX85" fmla="*/ 25921 w 102091"/>
                  <a:gd name="connsiteY85" fmla="*/ 21411 h 85883"/>
                  <a:gd name="connsiteX86" fmla="*/ 25981 w 102091"/>
                  <a:gd name="connsiteY86" fmla="*/ 23923 h 85883"/>
                  <a:gd name="connsiteX87" fmla="*/ 10312 w 102091"/>
                  <a:gd name="connsiteY87" fmla="*/ 26614 h 85883"/>
                  <a:gd name="connsiteX88" fmla="*/ 9654 w 102091"/>
                  <a:gd name="connsiteY88" fmla="*/ 40071 h 85883"/>
                  <a:gd name="connsiteX89" fmla="*/ 25622 w 102091"/>
                  <a:gd name="connsiteY89" fmla="*/ 24282 h 85883"/>
                  <a:gd name="connsiteX90" fmla="*/ 25563 w 102091"/>
                  <a:gd name="connsiteY90" fmla="*/ 21531 h 85883"/>
                  <a:gd name="connsiteX91" fmla="*/ 10312 w 102091"/>
                  <a:gd name="connsiteY91" fmla="*/ 26614 h 85883"/>
                  <a:gd name="connsiteX92" fmla="*/ 10551 w 102091"/>
                  <a:gd name="connsiteY92" fmla="*/ 21471 h 85883"/>
                  <a:gd name="connsiteX93" fmla="*/ 10312 w 102091"/>
                  <a:gd name="connsiteY93" fmla="*/ 26315 h 85883"/>
                  <a:gd name="connsiteX94" fmla="*/ 25563 w 102091"/>
                  <a:gd name="connsiteY94" fmla="*/ 21232 h 85883"/>
                  <a:gd name="connsiteX95" fmla="*/ 25264 w 102091"/>
                  <a:gd name="connsiteY95" fmla="*/ 9330 h 85883"/>
                  <a:gd name="connsiteX96" fmla="*/ 10551 w 102091"/>
                  <a:gd name="connsiteY96" fmla="*/ 21471 h 85883"/>
                  <a:gd name="connsiteX97" fmla="*/ 982 w 102091"/>
                  <a:gd name="connsiteY97" fmla="*/ 29425 h 85883"/>
                  <a:gd name="connsiteX98" fmla="*/ 10013 w 102091"/>
                  <a:gd name="connsiteY98" fmla="*/ 26375 h 85883"/>
                  <a:gd name="connsiteX99" fmla="*/ 10252 w 102091"/>
                  <a:gd name="connsiteY99" fmla="*/ 21710 h 85883"/>
                  <a:gd name="connsiteX100" fmla="*/ 982 w 102091"/>
                  <a:gd name="connsiteY100" fmla="*/ 29425 h 8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02091" h="85883">
                    <a:moveTo>
                      <a:pt x="102056" y="69257"/>
                    </a:moveTo>
                    <a:lnTo>
                      <a:pt x="91111" y="85823"/>
                    </a:lnTo>
                    <a:cubicBezTo>
                      <a:pt x="91052" y="85883"/>
                      <a:pt x="90992" y="85883"/>
                      <a:pt x="90932" y="85883"/>
                    </a:cubicBezTo>
                    <a:cubicBezTo>
                      <a:pt x="90872" y="85883"/>
                      <a:pt x="90812" y="85823"/>
                      <a:pt x="90812" y="85764"/>
                    </a:cubicBezTo>
                    <a:lnTo>
                      <a:pt x="79030" y="15789"/>
                    </a:lnTo>
                    <a:lnTo>
                      <a:pt x="62882" y="4127"/>
                    </a:lnTo>
                    <a:lnTo>
                      <a:pt x="40036" y="10466"/>
                    </a:lnTo>
                    <a:lnTo>
                      <a:pt x="40694" y="16088"/>
                    </a:lnTo>
                    <a:lnTo>
                      <a:pt x="49545" y="13098"/>
                    </a:lnTo>
                    <a:cubicBezTo>
                      <a:pt x="49605" y="13098"/>
                      <a:pt x="49665" y="13098"/>
                      <a:pt x="49725" y="13158"/>
                    </a:cubicBezTo>
                    <a:cubicBezTo>
                      <a:pt x="49784" y="13218"/>
                      <a:pt x="49784" y="13277"/>
                      <a:pt x="49784" y="13337"/>
                    </a:cubicBezTo>
                    <a:cubicBezTo>
                      <a:pt x="49784" y="13337"/>
                      <a:pt x="49784" y="13337"/>
                      <a:pt x="49784" y="13337"/>
                    </a:cubicBezTo>
                    <a:lnTo>
                      <a:pt x="43684" y="42224"/>
                    </a:lnTo>
                    <a:cubicBezTo>
                      <a:pt x="43684" y="42284"/>
                      <a:pt x="43624" y="42344"/>
                      <a:pt x="43505" y="42344"/>
                    </a:cubicBezTo>
                    <a:cubicBezTo>
                      <a:pt x="43445" y="42344"/>
                      <a:pt x="43385" y="42284"/>
                      <a:pt x="43325" y="42224"/>
                    </a:cubicBezTo>
                    <a:lnTo>
                      <a:pt x="40335" y="16567"/>
                    </a:lnTo>
                    <a:lnTo>
                      <a:pt x="37584" y="17464"/>
                    </a:lnTo>
                    <a:cubicBezTo>
                      <a:pt x="33816" y="28648"/>
                      <a:pt x="27357" y="47487"/>
                      <a:pt x="26400" y="47786"/>
                    </a:cubicBezTo>
                    <a:cubicBezTo>
                      <a:pt x="26340" y="47786"/>
                      <a:pt x="26280" y="47786"/>
                      <a:pt x="26280" y="47786"/>
                    </a:cubicBezTo>
                    <a:cubicBezTo>
                      <a:pt x="26220" y="47786"/>
                      <a:pt x="26220" y="47726"/>
                      <a:pt x="26220" y="47666"/>
                    </a:cubicBezTo>
                    <a:lnTo>
                      <a:pt x="25622" y="24760"/>
                    </a:lnTo>
                    <a:lnTo>
                      <a:pt x="9594" y="40609"/>
                    </a:lnTo>
                    <a:cubicBezTo>
                      <a:pt x="9534" y="40669"/>
                      <a:pt x="9474" y="40669"/>
                      <a:pt x="9415" y="40669"/>
                    </a:cubicBezTo>
                    <a:cubicBezTo>
                      <a:pt x="9355" y="40669"/>
                      <a:pt x="9295" y="40609"/>
                      <a:pt x="9295" y="40490"/>
                    </a:cubicBezTo>
                    <a:lnTo>
                      <a:pt x="9953" y="26794"/>
                    </a:lnTo>
                    <a:lnTo>
                      <a:pt x="204" y="30023"/>
                    </a:lnTo>
                    <a:cubicBezTo>
                      <a:pt x="145" y="30023"/>
                      <a:pt x="25" y="30023"/>
                      <a:pt x="25" y="29963"/>
                    </a:cubicBezTo>
                    <a:cubicBezTo>
                      <a:pt x="-35" y="29904"/>
                      <a:pt x="25" y="29784"/>
                      <a:pt x="85" y="29784"/>
                    </a:cubicBezTo>
                    <a:lnTo>
                      <a:pt x="10252" y="21351"/>
                    </a:lnTo>
                    <a:lnTo>
                      <a:pt x="10910" y="7296"/>
                    </a:lnTo>
                    <a:cubicBezTo>
                      <a:pt x="10910" y="7296"/>
                      <a:pt x="10910" y="7296"/>
                      <a:pt x="10910" y="7296"/>
                    </a:cubicBezTo>
                    <a:cubicBezTo>
                      <a:pt x="10910" y="7237"/>
                      <a:pt x="10970" y="7177"/>
                      <a:pt x="11029" y="7177"/>
                    </a:cubicBezTo>
                    <a:lnTo>
                      <a:pt x="23050" y="4366"/>
                    </a:lnTo>
                    <a:lnTo>
                      <a:pt x="12166" y="299"/>
                    </a:lnTo>
                    <a:cubicBezTo>
                      <a:pt x="12106" y="239"/>
                      <a:pt x="12046" y="180"/>
                      <a:pt x="12046" y="120"/>
                    </a:cubicBezTo>
                    <a:cubicBezTo>
                      <a:pt x="12106" y="60"/>
                      <a:pt x="12166" y="0"/>
                      <a:pt x="12225" y="0"/>
                    </a:cubicBezTo>
                    <a:lnTo>
                      <a:pt x="23529" y="4246"/>
                    </a:lnTo>
                    <a:lnTo>
                      <a:pt x="34893" y="1555"/>
                    </a:lnTo>
                    <a:cubicBezTo>
                      <a:pt x="34952" y="1555"/>
                      <a:pt x="35012" y="1555"/>
                      <a:pt x="35072" y="1615"/>
                    </a:cubicBezTo>
                    <a:lnTo>
                      <a:pt x="39857" y="10287"/>
                    </a:lnTo>
                    <a:lnTo>
                      <a:pt x="62763" y="3888"/>
                    </a:lnTo>
                    <a:cubicBezTo>
                      <a:pt x="62822" y="3888"/>
                      <a:pt x="62882" y="3888"/>
                      <a:pt x="62882" y="3888"/>
                    </a:cubicBezTo>
                    <a:lnTo>
                      <a:pt x="79150" y="15610"/>
                    </a:lnTo>
                    <a:cubicBezTo>
                      <a:pt x="79210" y="15610"/>
                      <a:pt x="79210" y="15670"/>
                      <a:pt x="79210" y="15729"/>
                    </a:cubicBezTo>
                    <a:lnTo>
                      <a:pt x="90932" y="85345"/>
                    </a:lnTo>
                    <a:lnTo>
                      <a:pt x="101577" y="69257"/>
                    </a:lnTo>
                    <a:lnTo>
                      <a:pt x="94640" y="61003"/>
                    </a:lnTo>
                    <a:cubicBezTo>
                      <a:pt x="94580" y="60944"/>
                      <a:pt x="94580" y="60824"/>
                      <a:pt x="94640" y="60764"/>
                    </a:cubicBezTo>
                    <a:cubicBezTo>
                      <a:pt x="94700" y="60704"/>
                      <a:pt x="94819" y="60704"/>
                      <a:pt x="94879" y="60764"/>
                    </a:cubicBezTo>
                    <a:lnTo>
                      <a:pt x="101877" y="69077"/>
                    </a:lnTo>
                    <a:cubicBezTo>
                      <a:pt x="101936" y="69137"/>
                      <a:pt x="101936" y="69137"/>
                      <a:pt x="101936" y="69197"/>
                    </a:cubicBezTo>
                    <a:cubicBezTo>
                      <a:pt x="102116" y="69197"/>
                      <a:pt x="102116" y="69257"/>
                      <a:pt x="102056" y="69257"/>
                    </a:cubicBezTo>
                    <a:close/>
                    <a:moveTo>
                      <a:pt x="43624" y="41207"/>
                    </a:moveTo>
                    <a:lnTo>
                      <a:pt x="49426" y="13576"/>
                    </a:lnTo>
                    <a:lnTo>
                      <a:pt x="40754" y="16507"/>
                    </a:lnTo>
                    <a:lnTo>
                      <a:pt x="43624" y="41207"/>
                    </a:lnTo>
                    <a:close/>
                    <a:moveTo>
                      <a:pt x="37823" y="17105"/>
                    </a:moveTo>
                    <a:lnTo>
                      <a:pt x="40395" y="16208"/>
                    </a:lnTo>
                    <a:lnTo>
                      <a:pt x="39797" y="11064"/>
                    </a:lnTo>
                    <a:cubicBezTo>
                      <a:pt x="39378" y="12500"/>
                      <a:pt x="38720" y="14593"/>
                      <a:pt x="37823" y="17105"/>
                    </a:cubicBezTo>
                    <a:close/>
                    <a:moveTo>
                      <a:pt x="37464" y="17225"/>
                    </a:moveTo>
                    <a:cubicBezTo>
                      <a:pt x="38182" y="15072"/>
                      <a:pt x="38899" y="12918"/>
                      <a:pt x="39557" y="10945"/>
                    </a:cubicBezTo>
                    <a:lnTo>
                      <a:pt x="31065" y="19318"/>
                    </a:lnTo>
                    <a:lnTo>
                      <a:pt x="37464" y="17225"/>
                    </a:lnTo>
                    <a:close/>
                    <a:moveTo>
                      <a:pt x="11269" y="7356"/>
                    </a:moveTo>
                    <a:lnTo>
                      <a:pt x="10611" y="20992"/>
                    </a:lnTo>
                    <a:lnTo>
                      <a:pt x="25323" y="8792"/>
                    </a:lnTo>
                    <a:cubicBezTo>
                      <a:pt x="25383" y="8732"/>
                      <a:pt x="25443" y="8732"/>
                      <a:pt x="25503" y="8792"/>
                    </a:cubicBezTo>
                    <a:cubicBezTo>
                      <a:pt x="25563" y="8792"/>
                      <a:pt x="25622" y="8852"/>
                      <a:pt x="25622" y="8911"/>
                    </a:cubicBezTo>
                    <a:lnTo>
                      <a:pt x="25921" y="21052"/>
                    </a:lnTo>
                    <a:lnTo>
                      <a:pt x="30407" y="19557"/>
                    </a:lnTo>
                    <a:lnTo>
                      <a:pt x="39677" y="10407"/>
                    </a:lnTo>
                    <a:lnTo>
                      <a:pt x="23709" y="4426"/>
                    </a:lnTo>
                    <a:lnTo>
                      <a:pt x="11269" y="7356"/>
                    </a:lnTo>
                    <a:close/>
                    <a:moveTo>
                      <a:pt x="24187" y="4306"/>
                    </a:moveTo>
                    <a:lnTo>
                      <a:pt x="39557" y="10048"/>
                    </a:lnTo>
                    <a:lnTo>
                      <a:pt x="35012" y="1794"/>
                    </a:lnTo>
                    <a:lnTo>
                      <a:pt x="24187" y="4306"/>
                    </a:lnTo>
                    <a:close/>
                    <a:moveTo>
                      <a:pt x="25981" y="24401"/>
                    </a:moveTo>
                    <a:lnTo>
                      <a:pt x="26579" y="47188"/>
                    </a:lnTo>
                    <a:cubicBezTo>
                      <a:pt x="27895" y="44975"/>
                      <a:pt x="32979" y="30382"/>
                      <a:pt x="37285" y="17583"/>
                    </a:cubicBezTo>
                    <a:lnTo>
                      <a:pt x="30526" y="19856"/>
                    </a:lnTo>
                    <a:lnTo>
                      <a:pt x="25981" y="24401"/>
                    </a:lnTo>
                    <a:close/>
                    <a:moveTo>
                      <a:pt x="25981" y="23923"/>
                    </a:moveTo>
                    <a:lnTo>
                      <a:pt x="29869" y="20095"/>
                    </a:lnTo>
                    <a:lnTo>
                      <a:pt x="25921" y="21411"/>
                    </a:lnTo>
                    <a:lnTo>
                      <a:pt x="25981" y="23923"/>
                    </a:lnTo>
                    <a:close/>
                    <a:moveTo>
                      <a:pt x="10312" y="26614"/>
                    </a:moveTo>
                    <a:lnTo>
                      <a:pt x="9654" y="40071"/>
                    </a:lnTo>
                    <a:lnTo>
                      <a:pt x="25622" y="24282"/>
                    </a:lnTo>
                    <a:lnTo>
                      <a:pt x="25563" y="21531"/>
                    </a:lnTo>
                    <a:lnTo>
                      <a:pt x="10312" y="26614"/>
                    </a:lnTo>
                    <a:close/>
                    <a:moveTo>
                      <a:pt x="10551" y="21471"/>
                    </a:moveTo>
                    <a:lnTo>
                      <a:pt x="10312" y="26315"/>
                    </a:lnTo>
                    <a:lnTo>
                      <a:pt x="25563" y="21232"/>
                    </a:lnTo>
                    <a:lnTo>
                      <a:pt x="25264" y="9330"/>
                    </a:lnTo>
                    <a:lnTo>
                      <a:pt x="10551" y="21471"/>
                    </a:lnTo>
                    <a:close/>
                    <a:moveTo>
                      <a:pt x="982" y="29425"/>
                    </a:moveTo>
                    <a:lnTo>
                      <a:pt x="10013" y="26375"/>
                    </a:lnTo>
                    <a:lnTo>
                      <a:pt x="10252" y="21710"/>
                    </a:lnTo>
                    <a:lnTo>
                      <a:pt x="982" y="29425"/>
                    </a:lnTo>
                    <a:close/>
                  </a:path>
                </a:pathLst>
              </a:custGeom>
              <a:grpFill/>
              <a:ln w="6350" cap="flat">
                <a:solidFill>
                  <a:schemeClr val="bg1">
                    <a:alpha val="80000"/>
                  </a:schemeClr>
                </a:solidFill>
                <a:prstDash val="solid"/>
                <a:miter/>
              </a:ln>
            </p:spPr>
            <p:txBody>
              <a:bodyPr rtlCol="0" anchor="ctr"/>
              <a:lstStyle/>
              <a:p>
                <a:endParaRPr lang="en-GB"/>
              </a:p>
            </p:txBody>
          </p:sp>
          <p:sp>
            <p:nvSpPr>
              <p:cNvPr id="8889" name="Vrije vorm: vorm 8888">
                <a:extLst>
                  <a:ext uri="{FF2B5EF4-FFF2-40B4-BE49-F238E27FC236}">
                    <a16:creationId xmlns:a16="http://schemas.microsoft.com/office/drawing/2014/main" id="{D2A91D3D-22AD-4A8A-B062-F34FF4C62379}"/>
                  </a:ext>
                </a:extLst>
              </p:cNvPr>
              <p:cNvSpPr/>
              <p:nvPr/>
            </p:nvSpPr>
            <p:spPr>
              <a:xfrm>
                <a:off x="4642276" y="2613675"/>
                <a:ext cx="46509" cy="22652"/>
              </a:xfrm>
              <a:custGeom>
                <a:avLst/>
                <a:gdLst>
                  <a:gd name="connsiteX0" fmla="*/ 46510 w 46509"/>
                  <a:gd name="connsiteY0" fmla="*/ 4187 h 22652"/>
                  <a:gd name="connsiteX1" fmla="*/ 46390 w 46509"/>
                  <a:gd name="connsiteY1" fmla="*/ 4007 h 22652"/>
                  <a:gd name="connsiteX2" fmla="*/ 35684 w 46509"/>
                  <a:gd name="connsiteY2" fmla="*/ 0 h 22652"/>
                  <a:gd name="connsiteX3" fmla="*/ 35505 w 46509"/>
                  <a:gd name="connsiteY3" fmla="*/ 0 h 22652"/>
                  <a:gd name="connsiteX4" fmla="*/ 9250 w 46509"/>
                  <a:gd name="connsiteY4" fmla="*/ 22188 h 22652"/>
                  <a:gd name="connsiteX5" fmla="*/ 278 w 46509"/>
                  <a:gd name="connsiteY5" fmla="*/ 15430 h 22652"/>
                  <a:gd name="connsiteX6" fmla="*/ 39 w 46509"/>
                  <a:gd name="connsiteY6" fmla="*/ 15490 h 22652"/>
                  <a:gd name="connsiteX7" fmla="*/ 99 w 46509"/>
                  <a:gd name="connsiteY7" fmla="*/ 15729 h 22652"/>
                  <a:gd name="connsiteX8" fmla="*/ 9130 w 46509"/>
                  <a:gd name="connsiteY8" fmla="*/ 22607 h 22652"/>
                  <a:gd name="connsiteX9" fmla="*/ 9309 w 46509"/>
                  <a:gd name="connsiteY9" fmla="*/ 22607 h 22652"/>
                  <a:gd name="connsiteX10" fmla="*/ 35565 w 46509"/>
                  <a:gd name="connsiteY10" fmla="*/ 419 h 22652"/>
                  <a:gd name="connsiteX11" fmla="*/ 46210 w 46509"/>
                  <a:gd name="connsiteY11" fmla="*/ 4366 h 22652"/>
                  <a:gd name="connsiteX12" fmla="*/ 46510 w 46509"/>
                  <a:gd name="connsiteY12" fmla="*/ 4187 h 22652"/>
                  <a:gd name="connsiteX13" fmla="*/ 46510 w 46509"/>
                  <a:gd name="connsiteY13" fmla="*/ 4187 h 2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509" h="22652">
                    <a:moveTo>
                      <a:pt x="46510" y="4187"/>
                    </a:moveTo>
                    <a:cubicBezTo>
                      <a:pt x="46510" y="4127"/>
                      <a:pt x="46510" y="4007"/>
                      <a:pt x="46390" y="4007"/>
                    </a:cubicBezTo>
                    <a:lnTo>
                      <a:pt x="35684" y="0"/>
                    </a:lnTo>
                    <a:cubicBezTo>
                      <a:pt x="35625" y="0"/>
                      <a:pt x="35565" y="0"/>
                      <a:pt x="35505" y="0"/>
                    </a:cubicBezTo>
                    <a:lnTo>
                      <a:pt x="9250" y="22188"/>
                    </a:lnTo>
                    <a:lnTo>
                      <a:pt x="278" y="15430"/>
                    </a:lnTo>
                    <a:cubicBezTo>
                      <a:pt x="219" y="15370"/>
                      <a:pt x="99" y="15370"/>
                      <a:pt x="39" y="15490"/>
                    </a:cubicBezTo>
                    <a:cubicBezTo>
                      <a:pt x="-21" y="15550"/>
                      <a:pt x="-21" y="15669"/>
                      <a:pt x="99" y="15729"/>
                    </a:cubicBezTo>
                    <a:lnTo>
                      <a:pt x="9130" y="22607"/>
                    </a:lnTo>
                    <a:cubicBezTo>
                      <a:pt x="9190" y="22667"/>
                      <a:pt x="9250" y="22667"/>
                      <a:pt x="9309" y="22607"/>
                    </a:cubicBezTo>
                    <a:lnTo>
                      <a:pt x="35565" y="419"/>
                    </a:lnTo>
                    <a:lnTo>
                      <a:pt x="46210" y="4366"/>
                    </a:lnTo>
                    <a:cubicBezTo>
                      <a:pt x="46390" y="4366"/>
                      <a:pt x="46450" y="4306"/>
                      <a:pt x="46510" y="4187"/>
                    </a:cubicBezTo>
                    <a:cubicBezTo>
                      <a:pt x="46510" y="4246"/>
                      <a:pt x="46510" y="4246"/>
                      <a:pt x="46510" y="418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90" name="Vrije vorm: vorm 8889">
                <a:extLst>
                  <a:ext uri="{FF2B5EF4-FFF2-40B4-BE49-F238E27FC236}">
                    <a16:creationId xmlns:a16="http://schemas.microsoft.com/office/drawing/2014/main" id="{C9E7BBFB-D670-4B10-9301-23B7A639F770}"/>
                  </a:ext>
                </a:extLst>
              </p:cNvPr>
              <p:cNvSpPr/>
              <p:nvPr/>
            </p:nvSpPr>
            <p:spPr>
              <a:xfrm>
                <a:off x="4649971" y="2553629"/>
                <a:ext cx="48503" cy="71529"/>
              </a:xfrm>
              <a:custGeom>
                <a:avLst/>
                <a:gdLst>
                  <a:gd name="connsiteX0" fmla="*/ 48504 w 48503"/>
                  <a:gd name="connsiteY0" fmla="*/ 18241 h 71529"/>
                  <a:gd name="connsiteX1" fmla="*/ 48504 w 48503"/>
                  <a:gd name="connsiteY1" fmla="*/ 18181 h 71529"/>
                  <a:gd name="connsiteX2" fmla="*/ 43181 w 48503"/>
                  <a:gd name="connsiteY2" fmla="*/ 11902 h 71529"/>
                  <a:gd name="connsiteX3" fmla="*/ 43181 w 48503"/>
                  <a:gd name="connsiteY3" fmla="*/ 11842 h 71529"/>
                  <a:gd name="connsiteX4" fmla="*/ 38576 w 48503"/>
                  <a:gd name="connsiteY4" fmla="*/ 60 h 71529"/>
                  <a:gd name="connsiteX5" fmla="*/ 38456 w 48503"/>
                  <a:gd name="connsiteY5" fmla="*/ 0 h 71529"/>
                  <a:gd name="connsiteX6" fmla="*/ 38337 w 48503"/>
                  <a:gd name="connsiteY6" fmla="*/ 60 h 71529"/>
                  <a:gd name="connsiteX7" fmla="*/ 21950 w 48503"/>
                  <a:gd name="connsiteY7" fmla="*/ 17942 h 71529"/>
                  <a:gd name="connsiteX8" fmla="*/ 12799 w 48503"/>
                  <a:gd name="connsiteY8" fmla="*/ 20693 h 71529"/>
                  <a:gd name="connsiteX9" fmla="*/ 12679 w 48503"/>
                  <a:gd name="connsiteY9" fmla="*/ 20753 h 71529"/>
                  <a:gd name="connsiteX10" fmla="*/ 359 w 48503"/>
                  <a:gd name="connsiteY10" fmla="*/ 39891 h 71529"/>
                  <a:gd name="connsiteX11" fmla="*/ 837 w 48503"/>
                  <a:gd name="connsiteY11" fmla="*/ 31040 h 71529"/>
                  <a:gd name="connsiteX12" fmla="*/ 658 w 48503"/>
                  <a:gd name="connsiteY12" fmla="*/ 30861 h 71529"/>
                  <a:gd name="connsiteX13" fmla="*/ 479 w 48503"/>
                  <a:gd name="connsiteY13" fmla="*/ 30980 h 71529"/>
                  <a:gd name="connsiteX14" fmla="*/ 479 w 48503"/>
                  <a:gd name="connsiteY14" fmla="*/ 30980 h 71529"/>
                  <a:gd name="connsiteX15" fmla="*/ 0 w 48503"/>
                  <a:gd name="connsiteY15" fmla="*/ 40310 h 71529"/>
                  <a:gd name="connsiteX16" fmla="*/ 60 w 48503"/>
                  <a:gd name="connsiteY16" fmla="*/ 40490 h 71529"/>
                  <a:gd name="connsiteX17" fmla="*/ 239 w 48503"/>
                  <a:gd name="connsiteY17" fmla="*/ 40490 h 71529"/>
                  <a:gd name="connsiteX18" fmla="*/ 12859 w 48503"/>
                  <a:gd name="connsiteY18" fmla="*/ 21052 h 71529"/>
                  <a:gd name="connsiteX19" fmla="*/ 22009 w 48503"/>
                  <a:gd name="connsiteY19" fmla="*/ 18301 h 71529"/>
                  <a:gd name="connsiteX20" fmla="*/ 22129 w 48503"/>
                  <a:gd name="connsiteY20" fmla="*/ 18241 h 71529"/>
                  <a:gd name="connsiteX21" fmla="*/ 38456 w 48503"/>
                  <a:gd name="connsiteY21" fmla="*/ 479 h 71529"/>
                  <a:gd name="connsiteX22" fmla="*/ 42942 w 48503"/>
                  <a:gd name="connsiteY22" fmla="*/ 12141 h 71529"/>
                  <a:gd name="connsiteX23" fmla="*/ 48264 w 48503"/>
                  <a:gd name="connsiteY23" fmla="*/ 18361 h 71529"/>
                  <a:gd name="connsiteX24" fmla="*/ 37978 w 48503"/>
                  <a:gd name="connsiteY24" fmla="*/ 38636 h 71529"/>
                  <a:gd name="connsiteX25" fmla="*/ 37978 w 48503"/>
                  <a:gd name="connsiteY25" fmla="*/ 38695 h 71529"/>
                  <a:gd name="connsiteX26" fmla="*/ 43420 w 48503"/>
                  <a:gd name="connsiteY26" fmla="*/ 71350 h 71529"/>
                  <a:gd name="connsiteX27" fmla="*/ 43600 w 48503"/>
                  <a:gd name="connsiteY27" fmla="*/ 71530 h 71529"/>
                  <a:gd name="connsiteX28" fmla="*/ 43779 w 48503"/>
                  <a:gd name="connsiteY28" fmla="*/ 71350 h 71529"/>
                  <a:gd name="connsiteX29" fmla="*/ 38337 w 48503"/>
                  <a:gd name="connsiteY29" fmla="*/ 38755 h 71529"/>
                  <a:gd name="connsiteX30" fmla="*/ 48504 w 48503"/>
                  <a:gd name="connsiteY30" fmla="*/ 18241 h 71529"/>
                  <a:gd name="connsiteX31" fmla="*/ 48504 w 48503"/>
                  <a:gd name="connsiteY31" fmla="*/ 18241 h 7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8503" h="71529">
                    <a:moveTo>
                      <a:pt x="48504" y="18241"/>
                    </a:moveTo>
                    <a:cubicBezTo>
                      <a:pt x="48504" y="18241"/>
                      <a:pt x="48504" y="18181"/>
                      <a:pt x="48504" y="18181"/>
                    </a:cubicBezTo>
                    <a:lnTo>
                      <a:pt x="43181" y="11902"/>
                    </a:lnTo>
                    <a:cubicBezTo>
                      <a:pt x="43181" y="11902"/>
                      <a:pt x="43181" y="11842"/>
                      <a:pt x="43181" y="11842"/>
                    </a:cubicBezTo>
                    <a:lnTo>
                      <a:pt x="38576" y="60"/>
                    </a:lnTo>
                    <a:cubicBezTo>
                      <a:pt x="38516" y="0"/>
                      <a:pt x="38516" y="0"/>
                      <a:pt x="38456" y="0"/>
                    </a:cubicBezTo>
                    <a:cubicBezTo>
                      <a:pt x="38397" y="0"/>
                      <a:pt x="38337" y="0"/>
                      <a:pt x="38337" y="60"/>
                    </a:cubicBezTo>
                    <a:lnTo>
                      <a:pt x="21950" y="17942"/>
                    </a:lnTo>
                    <a:lnTo>
                      <a:pt x="12799" y="20693"/>
                    </a:lnTo>
                    <a:cubicBezTo>
                      <a:pt x="12739" y="20693"/>
                      <a:pt x="12679" y="20753"/>
                      <a:pt x="12679" y="20753"/>
                    </a:cubicBezTo>
                    <a:cubicBezTo>
                      <a:pt x="12560" y="20933"/>
                      <a:pt x="2512" y="37260"/>
                      <a:pt x="359" y="39891"/>
                    </a:cubicBezTo>
                    <a:lnTo>
                      <a:pt x="837" y="31040"/>
                    </a:lnTo>
                    <a:cubicBezTo>
                      <a:pt x="837" y="30980"/>
                      <a:pt x="778" y="30861"/>
                      <a:pt x="658" y="30861"/>
                    </a:cubicBezTo>
                    <a:cubicBezTo>
                      <a:pt x="598" y="30861"/>
                      <a:pt x="479" y="30920"/>
                      <a:pt x="479" y="30980"/>
                    </a:cubicBezTo>
                    <a:cubicBezTo>
                      <a:pt x="479" y="30980"/>
                      <a:pt x="479" y="30980"/>
                      <a:pt x="479" y="30980"/>
                    </a:cubicBezTo>
                    <a:lnTo>
                      <a:pt x="0" y="40310"/>
                    </a:lnTo>
                    <a:cubicBezTo>
                      <a:pt x="0" y="40370"/>
                      <a:pt x="60" y="40430"/>
                      <a:pt x="60" y="40490"/>
                    </a:cubicBezTo>
                    <a:cubicBezTo>
                      <a:pt x="120" y="40490"/>
                      <a:pt x="180" y="40490"/>
                      <a:pt x="239" y="40490"/>
                    </a:cubicBezTo>
                    <a:cubicBezTo>
                      <a:pt x="1495" y="39473"/>
                      <a:pt x="12021" y="22428"/>
                      <a:pt x="12859" y="21052"/>
                    </a:cubicBezTo>
                    <a:lnTo>
                      <a:pt x="22009" y="18301"/>
                    </a:lnTo>
                    <a:cubicBezTo>
                      <a:pt x="22069" y="18301"/>
                      <a:pt x="22069" y="18301"/>
                      <a:pt x="22129" y="18241"/>
                    </a:cubicBezTo>
                    <a:lnTo>
                      <a:pt x="38456" y="479"/>
                    </a:lnTo>
                    <a:lnTo>
                      <a:pt x="42942" y="12141"/>
                    </a:lnTo>
                    <a:lnTo>
                      <a:pt x="48264" y="18361"/>
                    </a:lnTo>
                    <a:lnTo>
                      <a:pt x="37978" y="38636"/>
                    </a:lnTo>
                    <a:cubicBezTo>
                      <a:pt x="37978" y="38636"/>
                      <a:pt x="37978" y="38695"/>
                      <a:pt x="37978" y="38695"/>
                    </a:cubicBezTo>
                    <a:lnTo>
                      <a:pt x="43420" y="71350"/>
                    </a:lnTo>
                    <a:cubicBezTo>
                      <a:pt x="43420" y="71410"/>
                      <a:pt x="43480" y="71530"/>
                      <a:pt x="43600" y="71530"/>
                    </a:cubicBezTo>
                    <a:cubicBezTo>
                      <a:pt x="43719" y="71530"/>
                      <a:pt x="43779" y="71470"/>
                      <a:pt x="43779" y="71350"/>
                    </a:cubicBezTo>
                    <a:lnTo>
                      <a:pt x="38337" y="38755"/>
                    </a:lnTo>
                    <a:lnTo>
                      <a:pt x="48504" y="18241"/>
                    </a:lnTo>
                    <a:cubicBezTo>
                      <a:pt x="48504" y="18241"/>
                      <a:pt x="48504" y="18241"/>
                      <a:pt x="48504" y="1824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91" name="Vrije vorm: vorm 8890">
                <a:extLst>
                  <a:ext uri="{FF2B5EF4-FFF2-40B4-BE49-F238E27FC236}">
                    <a16:creationId xmlns:a16="http://schemas.microsoft.com/office/drawing/2014/main" id="{913F963E-9066-4719-B622-0C2A02967521}"/>
                  </a:ext>
                </a:extLst>
              </p:cNvPr>
              <p:cNvSpPr/>
              <p:nvPr/>
            </p:nvSpPr>
            <p:spPr>
              <a:xfrm>
                <a:off x="4690794" y="2571666"/>
                <a:ext cx="7680" cy="3578"/>
              </a:xfrm>
              <a:custGeom>
                <a:avLst/>
                <a:gdLst>
                  <a:gd name="connsiteX0" fmla="*/ 7680 w 7680"/>
                  <a:gd name="connsiteY0" fmla="*/ 204 h 3578"/>
                  <a:gd name="connsiteX1" fmla="*/ 7680 w 7680"/>
                  <a:gd name="connsiteY1" fmla="*/ 84 h 3578"/>
                  <a:gd name="connsiteX2" fmla="*/ 7441 w 7680"/>
                  <a:gd name="connsiteY2" fmla="*/ 25 h 3578"/>
                  <a:gd name="connsiteX3" fmla="*/ 85 w 7680"/>
                  <a:gd name="connsiteY3" fmla="*/ 3254 h 3578"/>
                  <a:gd name="connsiteX4" fmla="*/ 25 w 7680"/>
                  <a:gd name="connsiteY4" fmla="*/ 3494 h 3578"/>
                  <a:gd name="connsiteX5" fmla="*/ 264 w 7680"/>
                  <a:gd name="connsiteY5" fmla="*/ 3553 h 3578"/>
                  <a:gd name="connsiteX6" fmla="*/ 7620 w 7680"/>
                  <a:gd name="connsiteY6" fmla="*/ 324 h 3578"/>
                  <a:gd name="connsiteX7" fmla="*/ 7680 w 7680"/>
                  <a:gd name="connsiteY7" fmla="*/ 204 h 3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80" h="3578">
                    <a:moveTo>
                      <a:pt x="7680" y="204"/>
                    </a:moveTo>
                    <a:cubicBezTo>
                      <a:pt x="7680" y="144"/>
                      <a:pt x="7680" y="144"/>
                      <a:pt x="7680" y="84"/>
                    </a:cubicBezTo>
                    <a:cubicBezTo>
                      <a:pt x="7620" y="25"/>
                      <a:pt x="7561" y="-35"/>
                      <a:pt x="7441" y="25"/>
                    </a:cubicBezTo>
                    <a:lnTo>
                      <a:pt x="85" y="3254"/>
                    </a:lnTo>
                    <a:cubicBezTo>
                      <a:pt x="25" y="3314"/>
                      <a:pt x="-35" y="3374"/>
                      <a:pt x="25" y="3494"/>
                    </a:cubicBezTo>
                    <a:cubicBezTo>
                      <a:pt x="85" y="3553"/>
                      <a:pt x="145" y="3613"/>
                      <a:pt x="264" y="3553"/>
                    </a:cubicBezTo>
                    <a:lnTo>
                      <a:pt x="7620" y="324"/>
                    </a:lnTo>
                    <a:cubicBezTo>
                      <a:pt x="7620" y="264"/>
                      <a:pt x="7680" y="264"/>
                      <a:pt x="7680" y="20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92" name="Vrije vorm: vorm 8891">
                <a:extLst>
                  <a:ext uri="{FF2B5EF4-FFF2-40B4-BE49-F238E27FC236}">
                    <a16:creationId xmlns:a16="http://schemas.microsoft.com/office/drawing/2014/main" id="{0C34DCF9-DD0D-49C0-939F-1549900F4D8A}"/>
                  </a:ext>
                </a:extLst>
              </p:cNvPr>
              <p:cNvSpPr/>
              <p:nvPr/>
            </p:nvSpPr>
            <p:spPr>
              <a:xfrm>
                <a:off x="4671681" y="2562420"/>
                <a:ext cx="538" cy="9449"/>
              </a:xfrm>
              <a:custGeom>
                <a:avLst/>
                <a:gdLst>
                  <a:gd name="connsiteX0" fmla="*/ 359 w 538"/>
                  <a:gd name="connsiteY0" fmla="*/ 9270 h 9449"/>
                  <a:gd name="connsiteX1" fmla="*/ 359 w 538"/>
                  <a:gd name="connsiteY1" fmla="*/ 9270 h 9449"/>
                  <a:gd name="connsiteX2" fmla="*/ 538 w 538"/>
                  <a:gd name="connsiteY2" fmla="*/ 179 h 9449"/>
                  <a:gd name="connsiteX3" fmla="*/ 359 w 538"/>
                  <a:gd name="connsiteY3" fmla="*/ 0 h 9449"/>
                  <a:gd name="connsiteX4" fmla="*/ 180 w 538"/>
                  <a:gd name="connsiteY4" fmla="*/ 179 h 9449"/>
                  <a:gd name="connsiteX5" fmla="*/ 0 w 538"/>
                  <a:gd name="connsiteY5" fmla="*/ 9270 h 9449"/>
                  <a:gd name="connsiteX6" fmla="*/ 180 w 538"/>
                  <a:gd name="connsiteY6" fmla="*/ 9450 h 9449"/>
                  <a:gd name="connsiteX7" fmla="*/ 359 w 538"/>
                  <a:gd name="connsiteY7" fmla="*/ 9270 h 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 h="9449">
                    <a:moveTo>
                      <a:pt x="359" y="9270"/>
                    </a:moveTo>
                    <a:cubicBezTo>
                      <a:pt x="359" y="9210"/>
                      <a:pt x="359" y="9210"/>
                      <a:pt x="359" y="9270"/>
                    </a:cubicBezTo>
                    <a:lnTo>
                      <a:pt x="538" y="179"/>
                    </a:lnTo>
                    <a:cubicBezTo>
                      <a:pt x="538" y="120"/>
                      <a:pt x="479" y="0"/>
                      <a:pt x="359" y="0"/>
                    </a:cubicBezTo>
                    <a:cubicBezTo>
                      <a:pt x="299" y="0"/>
                      <a:pt x="180" y="60"/>
                      <a:pt x="180" y="179"/>
                    </a:cubicBezTo>
                    <a:lnTo>
                      <a:pt x="0" y="9270"/>
                    </a:lnTo>
                    <a:cubicBezTo>
                      <a:pt x="0" y="9330"/>
                      <a:pt x="60" y="9450"/>
                      <a:pt x="180" y="9450"/>
                    </a:cubicBezTo>
                    <a:cubicBezTo>
                      <a:pt x="299" y="9390"/>
                      <a:pt x="359" y="9330"/>
                      <a:pt x="359" y="927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93" name="Vrije vorm: vorm 8892">
                <a:extLst>
                  <a:ext uri="{FF2B5EF4-FFF2-40B4-BE49-F238E27FC236}">
                    <a16:creationId xmlns:a16="http://schemas.microsoft.com/office/drawing/2014/main" id="{194832CE-2DEA-4CFE-A992-542AC9E6A06D}"/>
                  </a:ext>
                </a:extLst>
              </p:cNvPr>
              <p:cNvSpPr/>
              <p:nvPr/>
            </p:nvSpPr>
            <p:spPr>
              <a:xfrm>
                <a:off x="4662471" y="2574202"/>
                <a:ext cx="478" cy="9509"/>
              </a:xfrm>
              <a:custGeom>
                <a:avLst/>
                <a:gdLst>
                  <a:gd name="connsiteX0" fmla="*/ 479 w 478"/>
                  <a:gd name="connsiteY0" fmla="*/ 9330 h 9509"/>
                  <a:gd name="connsiteX1" fmla="*/ 479 w 478"/>
                  <a:gd name="connsiteY1" fmla="*/ 9330 h 9509"/>
                  <a:gd name="connsiteX2" fmla="*/ 359 w 478"/>
                  <a:gd name="connsiteY2" fmla="*/ 179 h 9509"/>
                  <a:gd name="connsiteX3" fmla="*/ 179 w 478"/>
                  <a:gd name="connsiteY3" fmla="*/ 0 h 9509"/>
                  <a:gd name="connsiteX4" fmla="*/ 0 w 478"/>
                  <a:gd name="connsiteY4" fmla="*/ 179 h 9509"/>
                  <a:gd name="connsiteX5" fmla="*/ 120 w 478"/>
                  <a:gd name="connsiteY5" fmla="*/ 9330 h 9509"/>
                  <a:gd name="connsiteX6" fmla="*/ 299 w 478"/>
                  <a:gd name="connsiteY6" fmla="*/ 9509 h 9509"/>
                  <a:gd name="connsiteX7" fmla="*/ 479 w 478"/>
                  <a:gd name="connsiteY7" fmla="*/ 9330 h 9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8" h="9509">
                    <a:moveTo>
                      <a:pt x="479" y="9330"/>
                    </a:moveTo>
                    <a:cubicBezTo>
                      <a:pt x="479" y="9330"/>
                      <a:pt x="479" y="9330"/>
                      <a:pt x="479" y="9330"/>
                    </a:cubicBezTo>
                    <a:lnTo>
                      <a:pt x="359" y="179"/>
                    </a:lnTo>
                    <a:cubicBezTo>
                      <a:pt x="359" y="60"/>
                      <a:pt x="299" y="0"/>
                      <a:pt x="179" y="0"/>
                    </a:cubicBezTo>
                    <a:cubicBezTo>
                      <a:pt x="120" y="0"/>
                      <a:pt x="0" y="60"/>
                      <a:pt x="0" y="179"/>
                    </a:cubicBezTo>
                    <a:lnTo>
                      <a:pt x="120" y="9330"/>
                    </a:lnTo>
                    <a:cubicBezTo>
                      <a:pt x="120" y="9390"/>
                      <a:pt x="179" y="9509"/>
                      <a:pt x="299" y="9509"/>
                    </a:cubicBezTo>
                    <a:cubicBezTo>
                      <a:pt x="419" y="9450"/>
                      <a:pt x="479" y="9390"/>
                      <a:pt x="479" y="933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94" name="Vrije vorm: vorm 8893">
                <a:extLst>
                  <a:ext uri="{FF2B5EF4-FFF2-40B4-BE49-F238E27FC236}">
                    <a16:creationId xmlns:a16="http://schemas.microsoft.com/office/drawing/2014/main" id="{2D180DBE-238C-42EE-AE26-2232C319086F}"/>
                  </a:ext>
                </a:extLst>
              </p:cNvPr>
              <p:cNvSpPr/>
              <p:nvPr/>
            </p:nvSpPr>
            <p:spPr>
              <a:xfrm>
                <a:off x="4687790" y="2591986"/>
                <a:ext cx="10804" cy="44236"/>
              </a:xfrm>
              <a:custGeom>
                <a:avLst/>
                <a:gdLst>
                  <a:gd name="connsiteX0" fmla="*/ 10805 w 10804"/>
                  <a:gd name="connsiteY0" fmla="*/ 5063 h 44236"/>
                  <a:gd name="connsiteX1" fmla="*/ 10745 w 10804"/>
                  <a:gd name="connsiteY1" fmla="*/ 4884 h 44236"/>
                  <a:gd name="connsiteX2" fmla="*/ 278 w 10804"/>
                  <a:gd name="connsiteY2" fmla="*/ 39 h 44236"/>
                  <a:gd name="connsiteX3" fmla="*/ 39 w 10804"/>
                  <a:gd name="connsiteY3" fmla="*/ 99 h 44236"/>
                  <a:gd name="connsiteX4" fmla="*/ 99 w 10804"/>
                  <a:gd name="connsiteY4" fmla="*/ 338 h 44236"/>
                  <a:gd name="connsiteX5" fmla="*/ 10446 w 10804"/>
                  <a:gd name="connsiteY5" fmla="*/ 5123 h 44236"/>
                  <a:gd name="connsiteX6" fmla="*/ 398 w 10804"/>
                  <a:gd name="connsiteY6" fmla="*/ 44057 h 44236"/>
                  <a:gd name="connsiteX7" fmla="*/ 518 w 10804"/>
                  <a:gd name="connsiteY7" fmla="*/ 44237 h 44236"/>
                  <a:gd name="connsiteX8" fmla="*/ 697 w 10804"/>
                  <a:gd name="connsiteY8" fmla="*/ 44117 h 44236"/>
                  <a:gd name="connsiteX9" fmla="*/ 10805 w 10804"/>
                  <a:gd name="connsiteY9" fmla="*/ 5063 h 44236"/>
                  <a:gd name="connsiteX10" fmla="*/ 10805 w 10804"/>
                  <a:gd name="connsiteY10" fmla="*/ 5063 h 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04" h="44236">
                    <a:moveTo>
                      <a:pt x="10805" y="5063"/>
                    </a:moveTo>
                    <a:cubicBezTo>
                      <a:pt x="10805" y="5003"/>
                      <a:pt x="10805" y="4944"/>
                      <a:pt x="10745" y="4884"/>
                    </a:cubicBezTo>
                    <a:lnTo>
                      <a:pt x="278" y="39"/>
                    </a:lnTo>
                    <a:cubicBezTo>
                      <a:pt x="219" y="-21"/>
                      <a:pt x="99" y="-21"/>
                      <a:pt x="39" y="99"/>
                    </a:cubicBezTo>
                    <a:cubicBezTo>
                      <a:pt x="-21" y="159"/>
                      <a:pt x="-21" y="279"/>
                      <a:pt x="99" y="338"/>
                    </a:cubicBezTo>
                    <a:lnTo>
                      <a:pt x="10446" y="5123"/>
                    </a:lnTo>
                    <a:lnTo>
                      <a:pt x="398" y="44057"/>
                    </a:lnTo>
                    <a:cubicBezTo>
                      <a:pt x="398" y="44117"/>
                      <a:pt x="398" y="44237"/>
                      <a:pt x="518" y="44237"/>
                    </a:cubicBezTo>
                    <a:cubicBezTo>
                      <a:pt x="578" y="44237"/>
                      <a:pt x="697" y="44237"/>
                      <a:pt x="697" y="44117"/>
                    </a:cubicBezTo>
                    <a:lnTo>
                      <a:pt x="10805" y="5063"/>
                    </a:lnTo>
                    <a:cubicBezTo>
                      <a:pt x="10805" y="5063"/>
                      <a:pt x="10805" y="5063"/>
                      <a:pt x="10805" y="506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95" name="Vrije vorm: vorm 8894">
                <a:extLst>
                  <a:ext uri="{FF2B5EF4-FFF2-40B4-BE49-F238E27FC236}">
                    <a16:creationId xmlns:a16="http://schemas.microsoft.com/office/drawing/2014/main" id="{28681248-8A25-4034-BBC1-1C5E74983262}"/>
                  </a:ext>
                </a:extLst>
              </p:cNvPr>
              <p:cNvSpPr/>
              <p:nvPr/>
            </p:nvSpPr>
            <p:spPr>
              <a:xfrm>
                <a:off x="4692793" y="2555079"/>
                <a:ext cx="8672" cy="42089"/>
              </a:xfrm>
              <a:custGeom>
                <a:avLst/>
                <a:gdLst>
                  <a:gd name="connsiteX0" fmla="*/ 8672 w 8672"/>
                  <a:gd name="connsiteY0" fmla="*/ 224 h 42089"/>
                  <a:gd name="connsiteX1" fmla="*/ 8612 w 8672"/>
                  <a:gd name="connsiteY1" fmla="*/ 45 h 42089"/>
                  <a:gd name="connsiteX2" fmla="*/ 8373 w 8672"/>
                  <a:gd name="connsiteY2" fmla="*/ 45 h 42089"/>
                  <a:gd name="connsiteX3" fmla="*/ 60 w 8672"/>
                  <a:gd name="connsiteY3" fmla="*/ 10332 h 42089"/>
                  <a:gd name="connsiteX4" fmla="*/ 0 w 8672"/>
                  <a:gd name="connsiteY4" fmla="*/ 10451 h 42089"/>
                  <a:gd name="connsiteX5" fmla="*/ 5442 w 8672"/>
                  <a:gd name="connsiteY5" fmla="*/ 41910 h 42089"/>
                  <a:gd name="connsiteX6" fmla="*/ 5622 w 8672"/>
                  <a:gd name="connsiteY6" fmla="*/ 42089 h 42089"/>
                  <a:gd name="connsiteX7" fmla="*/ 5801 w 8672"/>
                  <a:gd name="connsiteY7" fmla="*/ 41970 h 42089"/>
                  <a:gd name="connsiteX8" fmla="*/ 5801 w 8672"/>
                  <a:gd name="connsiteY8" fmla="*/ 41970 h 42089"/>
                  <a:gd name="connsiteX9" fmla="*/ 359 w 8672"/>
                  <a:gd name="connsiteY9" fmla="*/ 10571 h 42089"/>
                  <a:gd name="connsiteX10" fmla="*/ 8612 w 8672"/>
                  <a:gd name="connsiteY10" fmla="*/ 344 h 42089"/>
                  <a:gd name="connsiteX11" fmla="*/ 8672 w 8672"/>
                  <a:gd name="connsiteY11" fmla="*/ 224 h 4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72" h="42089">
                    <a:moveTo>
                      <a:pt x="8672" y="224"/>
                    </a:moveTo>
                    <a:cubicBezTo>
                      <a:pt x="8672" y="164"/>
                      <a:pt x="8672" y="105"/>
                      <a:pt x="8612" y="45"/>
                    </a:cubicBezTo>
                    <a:cubicBezTo>
                      <a:pt x="8552" y="-15"/>
                      <a:pt x="8433" y="-15"/>
                      <a:pt x="8373" y="45"/>
                    </a:cubicBezTo>
                    <a:lnTo>
                      <a:pt x="60" y="10332"/>
                    </a:lnTo>
                    <a:cubicBezTo>
                      <a:pt x="60" y="10332"/>
                      <a:pt x="0" y="10391"/>
                      <a:pt x="0" y="10451"/>
                    </a:cubicBezTo>
                    <a:lnTo>
                      <a:pt x="5442" y="41910"/>
                    </a:lnTo>
                    <a:cubicBezTo>
                      <a:pt x="5442" y="41970"/>
                      <a:pt x="5502" y="42089"/>
                      <a:pt x="5622" y="42089"/>
                    </a:cubicBezTo>
                    <a:cubicBezTo>
                      <a:pt x="5682" y="42089"/>
                      <a:pt x="5741" y="42030"/>
                      <a:pt x="5801" y="41970"/>
                    </a:cubicBezTo>
                    <a:cubicBezTo>
                      <a:pt x="5801" y="41970"/>
                      <a:pt x="5801" y="41970"/>
                      <a:pt x="5801" y="41970"/>
                    </a:cubicBezTo>
                    <a:lnTo>
                      <a:pt x="359" y="10571"/>
                    </a:lnTo>
                    <a:lnTo>
                      <a:pt x="8612" y="344"/>
                    </a:lnTo>
                    <a:cubicBezTo>
                      <a:pt x="8672" y="284"/>
                      <a:pt x="8672" y="224"/>
                      <a:pt x="8672" y="22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96" name="Vrije vorm: vorm 8895">
                <a:extLst>
                  <a:ext uri="{FF2B5EF4-FFF2-40B4-BE49-F238E27FC236}">
                    <a16:creationId xmlns:a16="http://schemas.microsoft.com/office/drawing/2014/main" id="{22F531BB-6A7D-4327-83B9-6ACD992E143F}"/>
                  </a:ext>
                </a:extLst>
              </p:cNvPr>
              <p:cNvSpPr/>
              <p:nvPr/>
            </p:nvSpPr>
            <p:spPr>
              <a:xfrm>
                <a:off x="4652159" y="2732846"/>
                <a:ext cx="9653" cy="17094"/>
              </a:xfrm>
              <a:custGeom>
                <a:avLst/>
                <a:gdLst>
                  <a:gd name="connsiteX0" fmla="*/ 9654 w 9653"/>
                  <a:gd name="connsiteY0" fmla="*/ 16950 h 17094"/>
                  <a:gd name="connsiteX1" fmla="*/ 9654 w 9653"/>
                  <a:gd name="connsiteY1" fmla="*/ 16831 h 17094"/>
                  <a:gd name="connsiteX2" fmla="*/ 324 w 9653"/>
                  <a:gd name="connsiteY2" fmla="*/ 85 h 17094"/>
                  <a:gd name="connsiteX3" fmla="*/ 85 w 9653"/>
                  <a:gd name="connsiteY3" fmla="*/ 25 h 17094"/>
                  <a:gd name="connsiteX4" fmla="*/ 25 w 9653"/>
                  <a:gd name="connsiteY4" fmla="*/ 264 h 17094"/>
                  <a:gd name="connsiteX5" fmla="*/ 9355 w 9653"/>
                  <a:gd name="connsiteY5" fmla="*/ 17010 h 17094"/>
                  <a:gd name="connsiteX6" fmla="*/ 9594 w 9653"/>
                  <a:gd name="connsiteY6" fmla="*/ 17070 h 17094"/>
                  <a:gd name="connsiteX7" fmla="*/ 9654 w 9653"/>
                  <a:gd name="connsiteY7" fmla="*/ 16950 h 17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53" h="17094">
                    <a:moveTo>
                      <a:pt x="9654" y="16950"/>
                    </a:moveTo>
                    <a:cubicBezTo>
                      <a:pt x="9654" y="16890"/>
                      <a:pt x="9654" y="16890"/>
                      <a:pt x="9654" y="16831"/>
                    </a:cubicBezTo>
                    <a:lnTo>
                      <a:pt x="324" y="85"/>
                    </a:lnTo>
                    <a:cubicBezTo>
                      <a:pt x="264" y="25"/>
                      <a:pt x="204" y="-35"/>
                      <a:pt x="85" y="25"/>
                    </a:cubicBezTo>
                    <a:cubicBezTo>
                      <a:pt x="25" y="85"/>
                      <a:pt x="-35" y="144"/>
                      <a:pt x="25" y="264"/>
                    </a:cubicBezTo>
                    <a:lnTo>
                      <a:pt x="9355" y="17010"/>
                    </a:lnTo>
                    <a:cubicBezTo>
                      <a:pt x="9414" y="17070"/>
                      <a:pt x="9474" y="17130"/>
                      <a:pt x="9594" y="17070"/>
                    </a:cubicBezTo>
                    <a:cubicBezTo>
                      <a:pt x="9654" y="17010"/>
                      <a:pt x="9654" y="17010"/>
                      <a:pt x="9654" y="1695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97" name="Vrije vorm: vorm 8896">
                <a:extLst>
                  <a:ext uri="{FF2B5EF4-FFF2-40B4-BE49-F238E27FC236}">
                    <a16:creationId xmlns:a16="http://schemas.microsoft.com/office/drawing/2014/main" id="{62903785-A12A-49D4-A836-933B165413FF}"/>
                  </a:ext>
                </a:extLst>
              </p:cNvPr>
              <p:cNvSpPr/>
              <p:nvPr/>
            </p:nvSpPr>
            <p:spPr>
              <a:xfrm>
                <a:off x="4659435" y="2599336"/>
                <a:ext cx="6683" cy="7625"/>
              </a:xfrm>
              <a:custGeom>
                <a:avLst/>
                <a:gdLst>
                  <a:gd name="connsiteX0" fmla="*/ 6683 w 6683"/>
                  <a:gd name="connsiteY0" fmla="*/ 224 h 7625"/>
                  <a:gd name="connsiteX1" fmla="*/ 6624 w 6683"/>
                  <a:gd name="connsiteY1" fmla="*/ 45 h 7625"/>
                  <a:gd name="connsiteX2" fmla="*/ 6384 w 6683"/>
                  <a:gd name="connsiteY2" fmla="*/ 45 h 7625"/>
                  <a:gd name="connsiteX3" fmla="*/ 45 w 6683"/>
                  <a:gd name="connsiteY3" fmla="*/ 7341 h 7625"/>
                  <a:gd name="connsiteX4" fmla="*/ 45 w 6683"/>
                  <a:gd name="connsiteY4" fmla="*/ 7580 h 7625"/>
                  <a:gd name="connsiteX5" fmla="*/ 284 w 6683"/>
                  <a:gd name="connsiteY5" fmla="*/ 7580 h 7625"/>
                  <a:gd name="connsiteX6" fmla="*/ 6624 w 6683"/>
                  <a:gd name="connsiteY6" fmla="*/ 284 h 7625"/>
                  <a:gd name="connsiteX7" fmla="*/ 6683 w 6683"/>
                  <a:gd name="connsiteY7" fmla="*/ 224 h 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83" h="7625">
                    <a:moveTo>
                      <a:pt x="6683" y="224"/>
                    </a:moveTo>
                    <a:cubicBezTo>
                      <a:pt x="6683" y="164"/>
                      <a:pt x="6683" y="105"/>
                      <a:pt x="6624" y="45"/>
                    </a:cubicBezTo>
                    <a:cubicBezTo>
                      <a:pt x="6564" y="-15"/>
                      <a:pt x="6444" y="-15"/>
                      <a:pt x="6384" y="45"/>
                    </a:cubicBezTo>
                    <a:lnTo>
                      <a:pt x="45" y="7341"/>
                    </a:lnTo>
                    <a:cubicBezTo>
                      <a:pt x="-15" y="7401"/>
                      <a:pt x="-15" y="7521"/>
                      <a:pt x="45" y="7580"/>
                    </a:cubicBezTo>
                    <a:cubicBezTo>
                      <a:pt x="105" y="7640"/>
                      <a:pt x="224" y="7640"/>
                      <a:pt x="284" y="7580"/>
                    </a:cubicBezTo>
                    <a:lnTo>
                      <a:pt x="6624" y="284"/>
                    </a:lnTo>
                    <a:cubicBezTo>
                      <a:pt x="6683" y="284"/>
                      <a:pt x="6683" y="284"/>
                      <a:pt x="6683" y="22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98" name="Vrije vorm: vorm 8897">
                <a:extLst>
                  <a:ext uri="{FF2B5EF4-FFF2-40B4-BE49-F238E27FC236}">
                    <a16:creationId xmlns:a16="http://schemas.microsoft.com/office/drawing/2014/main" id="{039E5907-42ED-435E-92B4-2750AF93651D}"/>
                  </a:ext>
                </a:extLst>
              </p:cNvPr>
              <p:cNvSpPr/>
              <p:nvPr/>
            </p:nvSpPr>
            <p:spPr>
              <a:xfrm>
                <a:off x="4650330" y="2647347"/>
                <a:ext cx="3468" cy="10645"/>
              </a:xfrm>
              <a:custGeom>
                <a:avLst/>
                <a:gdLst>
                  <a:gd name="connsiteX0" fmla="*/ 3469 w 3468"/>
                  <a:gd name="connsiteY0" fmla="*/ 179 h 10645"/>
                  <a:gd name="connsiteX1" fmla="*/ 3349 w 3468"/>
                  <a:gd name="connsiteY1" fmla="*/ 0 h 10645"/>
                  <a:gd name="connsiteX2" fmla="*/ 3170 w 3468"/>
                  <a:gd name="connsiteY2" fmla="*/ 120 h 10645"/>
                  <a:gd name="connsiteX3" fmla="*/ 0 w 3468"/>
                  <a:gd name="connsiteY3" fmla="*/ 10466 h 10645"/>
                  <a:gd name="connsiteX4" fmla="*/ 0 w 3468"/>
                  <a:gd name="connsiteY4" fmla="*/ 10466 h 10645"/>
                  <a:gd name="connsiteX5" fmla="*/ 120 w 3468"/>
                  <a:gd name="connsiteY5" fmla="*/ 10646 h 10645"/>
                  <a:gd name="connsiteX6" fmla="*/ 299 w 3468"/>
                  <a:gd name="connsiteY6" fmla="*/ 10526 h 10645"/>
                  <a:gd name="connsiteX7" fmla="*/ 3469 w 3468"/>
                  <a:gd name="connsiteY7" fmla="*/ 179 h 10645"/>
                  <a:gd name="connsiteX8" fmla="*/ 3469 w 3468"/>
                  <a:gd name="connsiteY8" fmla="*/ 179 h 1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8" h="10645">
                    <a:moveTo>
                      <a:pt x="3469" y="179"/>
                    </a:moveTo>
                    <a:cubicBezTo>
                      <a:pt x="3469" y="120"/>
                      <a:pt x="3409" y="0"/>
                      <a:pt x="3349" y="0"/>
                    </a:cubicBezTo>
                    <a:cubicBezTo>
                      <a:pt x="3290" y="0"/>
                      <a:pt x="3170" y="0"/>
                      <a:pt x="3170" y="120"/>
                    </a:cubicBezTo>
                    <a:lnTo>
                      <a:pt x="0" y="10466"/>
                    </a:lnTo>
                    <a:cubicBezTo>
                      <a:pt x="0" y="10466"/>
                      <a:pt x="0" y="10466"/>
                      <a:pt x="0" y="10466"/>
                    </a:cubicBezTo>
                    <a:cubicBezTo>
                      <a:pt x="0" y="10526"/>
                      <a:pt x="60" y="10646"/>
                      <a:pt x="120" y="10646"/>
                    </a:cubicBezTo>
                    <a:cubicBezTo>
                      <a:pt x="180" y="10646"/>
                      <a:pt x="299" y="10646"/>
                      <a:pt x="299" y="10526"/>
                    </a:cubicBezTo>
                    <a:lnTo>
                      <a:pt x="3469" y="179"/>
                    </a:lnTo>
                    <a:cubicBezTo>
                      <a:pt x="3469" y="179"/>
                      <a:pt x="3469" y="179"/>
                      <a:pt x="3469"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899" name="Vrije vorm: vorm 8898">
                <a:extLst>
                  <a:ext uri="{FF2B5EF4-FFF2-40B4-BE49-F238E27FC236}">
                    <a16:creationId xmlns:a16="http://schemas.microsoft.com/office/drawing/2014/main" id="{AC3333B7-BE6B-47F9-B1BD-DC12B89C3FDF}"/>
                  </a:ext>
                </a:extLst>
              </p:cNvPr>
              <p:cNvSpPr/>
              <p:nvPr/>
            </p:nvSpPr>
            <p:spPr>
              <a:xfrm>
                <a:off x="4667375" y="2650576"/>
                <a:ext cx="1255" cy="10406"/>
              </a:xfrm>
              <a:custGeom>
                <a:avLst/>
                <a:gdLst>
                  <a:gd name="connsiteX0" fmla="*/ 299 w 1255"/>
                  <a:gd name="connsiteY0" fmla="*/ 10287 h 10406"/>
                  <a:gd name="connsiteX1" fmla="*/ 299 w 1255"/>
                  <a:gd name="connsiteY1" fmla="*/ 10287 h 10406"/>
                  <a:gd name="connsiteX2" fmla="*/ 1256 w 1255"/>
                  <a:gd name="connsiteY2" fmla="*/ 179 h 10406"/>
                  <a:gd name="connsiteX3" fmla="*/ 1136 w 1255"/>
                  <a:gd name="connsiteY3" fmla="*/ 0 h 10406"/>
                  <a:gd name="connsiteX4" fmla="*/ 957 w 1255"/>
                  <a:gd name="connsiteY4" fmla="*/ 120 h 10406"/>
                  <a:gd name="connsiteX5" fmla="*/ 957 w 1255"/>
                  <a:gd name="connsiteY5" fmla="*/ 120 h 10406"/>
                  <a:gd name="connsiteX6" fmla="*/ 0 w 1255"/>
                  <a:gd name="connsiteY6" fmla="*/ 10227 h 10406"/>
                  <a:gd name="connsiteX7" fmla="*/ 119 w 1255"/>
                  <a:gd name="connsiteY7" fmla="*/ 10406 h 10406"/>
                  <a:gd name="connsiteX8" fmla="*/ 299 w 1255"/>
                  <a:gd name="connsiteY8" fmla="*/ 10287 h 1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 h="10406">
                    <a:moveTo>
                      <a:pt x="299" y="10287"/>
                    </a:moveTo>
                    <a:cubicBezTo>
                      <a:pt x="299" y="10287"/>
                      <a:pt x="299" y="10227"/>
                      <a:pt x="299" y="10287"/>
                    </a:cubicBezTo>
                    <a:lnTo>
                      <a:pt x="1256" y="179"/>
                    </a:lnTo>
                    <a:cubicBezTo>
                      <a:pt x="1256" y="60"/>
                      <a:pt x="1196" y="0"/>
                      <a:pt x="1136" y="0"/>
                    </a:cubicBezTo>
                    <a:cubicBezTo>
                      <a:pt x="1076" y="0"/>
                      <a:pt x="957" y="60"/>
                      <a:pt x="957" y="120"/>
                    </a:cubicBezTo>
                    <a:cubicBezTo>
                      <a:pt x="957" y="120"/>
                      <a:pt x="957" y="120"/>
                      <a:pt x="957" y="120"/>
                    </a:cubicBezTo>
                    <a:lnTo>
                      <a:pt x="0" y="10227"/>
                    </a:lnTo>
                    <a:cubicBezTo>
                      <a:pt x="0" y="10347"/>
                      <a:pt x="60" y="10406"/>
                      <a:pt x="119" y="10406"/>
                    </a:cubicBezTo>
                    <a:cubicBezTo>
                      <a:pt x="239" y="10406"/>
                      <a:pt x="299" y="10347"/>
                      <a:pt x="299" y="1028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00" name="Vrije vorm: vorm 8899">
                <a:extLst>
                  <a:ext uri="{FF2B5EF4-FFF2-40B4-BE49-F238E27FC236}">
                    <a16:creationId xmlns:a16="http://schemas.microsoft.com/office/drawing/2014/main" id="{834E28DF-0BD1-46DD-A38A-7574528C07B6}"/>
                  </a:ext>
                </a:extLst>
              </p:cNvPr>
              <p:cNvSpPr/>
              <p:nvPr/>
            </p:nvSpPr>
            <p:spPr>
              <a:xfrm>
                <a:off x="4633883" y="2653447"/>
                <a:ext cx="50896" cy="1555"/>
              </a:xfrm>
              <a:custGeom>
                <a:avLst/>
                <a:gdLst>
                  <a:gd name="connsiteX0" fmla="*/ 50896 w 50896"/>
                  <a:gd name="connsiteY0" fmla="*/ 179 h 1555"/>
                  <a:gd name="connsiteX1" fmla="*/ 50896 w 50896"/>
                  <a:gd name="connsiteY1" fmla="*/ 179 h 1555"/>
                  <a:gd name="connsiteX2" fmla="*/ 50717 w 50896"/>
                  <a:gd name="connsiteY2" fmla="*/ 0 h 1555"/>
                  <a:gd name="connsiteX3" fmla="*/ 180 w 50896"/>
                  <a:gd name="connsiteY3" fmla="*/ 1196 h 1555"/>
                  <a:gd name="connsiteX4" fmla="*/ 0 w 50896"/>
                  <a:gd name="connsiteY4" fmla="*/ 1376 h 1555"/>
                  <a:gd name="connsiteX5" fmla="*/ 180 w 50896"/>
                  <a:gd name="connsiteY5" fmla="*/ 1555 h 1555"/>
                  <a:gd name="connsiteX6" fmla="*/ 50717 w 50896"/>
                  <a:gd name="connsiteY6" fmla="*/ 359 h 1555"/>
                  <a:gd name="connsiteX7" fmla="*/ 50896 w 50896"/>
                  <a:gd name="connsiteY7" fmla="*/ 179 h 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96" h="1555">
                    <a:moveTo>
                      <a:pt x="50896" y="179"/>
                    </a:moveTo>
                    <a:cubicBezTo>
                      <a:pt x="50896" y="179"/>
                      <a:pt x="50896" y="179"/>
                      <a:pt x="50896" y="179"/>
                    </a:cubicBezTo>
                    <a:cubicBezTo>
                      <a:pt x="50896" y="60"/>
                      <a:pt x="50836" y="0"/>
                      <a:pt x="50717" y="0"/>
                    </a:cubicBezTo>
                    <a:lnTo>
                      <a:pt x="180" y="1196"/>
                    </a:lnTo>
                    <a:cubicBezTo>
                      <a:pt x="60" y="1196"/>
                      <a:pt x="0" y="1256"/>
                      <a:pt x="0" y="1376"/>
                    </a:cubicBezTo>
                    <a:cubicBezTo>
                      <a:pt x="0" y="1495"/>
                      <a:pt x="60" y="1555"/>
                      <a:pt x="180" y="1555"/>
                    </a:cubicBezTo>
                    <a:lnTo>
                      <a:pt x="50717" y="359"/>
                    </a:lnTo>
                    <a:cubicBezTo>
                      <a:pt x="50836" y="299"/>
                      <a:pt x="50896" y="239"/>
                      <a:pt x="50896"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01" name="Vrije vorm: vorm 8900">
                <a:extLst>
                  <a:ext uri="{FF2B5EF4-FFF2-40B4-BE49-F238E27FC236}">
                    <a16:creationId xmlns:a16="http://schemas.microsoft.com/office/drawing/2014/main" id="{12CB8E75-406E-4AD7-8C9E-353CAFB94827}"/>
                  </a:ext>
                </a:extLst>
              </p:cNvPr>
              <p:cNvSpPr/>
              <p:nvPr/>
            </p:nvSpPr>
            <p:spPr>
              <a:xfrm>
                <a:off x="4635557" y="2620885"/>
                <a:ext cx="47187" cy="89881"/>
              </a:xfrm>
              <a:custGeom>
                <a:avLst/>
                <a:gdLst>
                  <a:gd name="connsiteX0" fmla="*/ 40669 w 47187"/>
                  <a:gd name="connsiteY0" fmla="*/ 89797 h 89881"/>
                  <a:gd name="connsiteX1" fmla="*/ 40669 w 47187"/>
                  <a:gd name="connsiteY1" fmla="*/ 89797 h 89881"/>
                  <a:gd name="connsiteX2" fmla="*/ 47188 w 47187"/>
                  <a:gd name="connsiteY2" fmla="*/ 42370 h 89881"/>
                  <a:gd name="connsiteX3" fmla="*/ 47068 w 47187"/>
                  <a:gd name="connsiteY3" fmla="*/ 42191 h 89881"/>
                  <a:gd name="connsiteX4" fmla="*/ 419 w 47187"/>
                  <a:gd name="connsiteY4" fmla="*/ 22993 h 89881"/>
                  <a:gd name="connsiteX5" fmla="*/ 24401 w 47187"/>
                  <a:gd name="connsiteY5" fmla="*/ 386 h 89881"/>
                  <a:gd name="connsiteX6" fmla="*/ 35227 w 47187"/>
                  <a:gd name="connsiteY6" fmla="*/ 6486 h 89881"/>
                  <a:gd name="connsiteX7" fmla="*/ 35466 w 47187"/>
                  <a:gd name="connsiteY7" fmla="*/ 6426 h 89881"/>
                  <a:gd name="connsiteX8" fmla="*/ 35406 w 47187"/>
                  <a:gd name="connsiteY8" fmla="*/ 6187 h 89881"/>
                  <a:gd name="connsiteX9" fmla="*/ 24461 w 47187"/>
                  <a:gd name="connsiteY9" fmla="*/ 27 h 89881"/>
                  <a:gd name="connsiteX10" fmla="*/ 24282 w 47187"/>
                  <a:gd name="connsiteY10" fmla="*/ 27 h 89881"/>
                  <a:gd name="connsiteX11" fmla="*/ 60 w 47187"/>
                  <a:gd name="connsiteY11" fmla="*/ 22873 h 89881"/>
                  <a:gd name="connsiteX12" fmla="*/ 0 w 47187"/>
                  <a:gd name="connsiteY12" fmla="*/ 22993 h 89881"/>
                  <a:gd name="connsiteX13" fmla="*/ 120 w 47187"/>
                  <a:gd name="connsiteY13" fmla="*/ 23112 h 89881"/>
                  <a:gd name="connsiteX14" fmla="*/ 46889 w 47187"/>
                  <a:gd name="connsiteY14" fmla="*/ 42370 h 89881"/>
                  <a:gd name="connsiteX15" fmla="*/ 40370 w 47187"/>
                  <a:gd name="connsiteY15" fmla="*/ 89678 h 89881"/>
                  <a:gd name="connsiteX16" fmla="*/ 40549 w 47187"/>
                  <a:gd name="connsiteY16" fmla="*/ 89857 h 89881"/>
                  <a:gd name="connsiteX17" fmla="*/ 40669 w 47187"/>
                  <a:gd name="connsiteY17" fmla="*/ 89797 h 89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187" h="89881">
                    <a:moveTo>
                      <a:pt x="40669" y="89797"/>
                    </a:moveTo>
                    <a:cubicBezTo>
                      <a:pt x="40669" y="89797"/>
                      <a:pt x="40669" y="89797"/>
                      <a:pt x="40669" y="89797"/>
                    </a:cubicBezTo>
                    <a:lnTo>
                      <a:pt x="47188" y="42370"/>
                    </a:lnTo>
                    <a:cubicBezTo>
                      <a:pt x="47188" y="42310"/>
                      <a:pt x="47128" y="42251"/>
                      <a:pt x="47068" y="42191"/>
                    </a:cubicBezTo>
                    <a:lnTo>
                      <a:pt x="419" y="22993"/>
                    </a:lnTo>
                    <a:lnTo>
                      <a:pt x="24401" y="386"/>
                    </a:lnTo>
                    <a:lnTo>
                      <a:pt x="35227" y="6486"/>
                    </a:lnTo>
                    <a:cubicBezTo>
                      <a:pt x="35286" y="6546"/>
                      <a:pt x="35406" y="6486"/>
                      <a:pt x="35466" y="6426"/>
                    </a:cubicBezTo>
                    <a:cubicBezTo>
                      <a:pt x="35526" y="6366"/>
                      <a:pt x="35466" y="6247"/>
                      <a:pt x="35406" y="6187"/>
                    </a:cubicBezTo>
                    <a:lnTo>
                      <a:pt x="24461" y="27"/>
                    </a:lnTo>
                    <a:cubicBezTo>
                      <a:pt x="24401" y="-33"/>
                      <a:pt x="24342" y="27"/>
                      <a:pt x="24282" y="27"/>
                    </a:cubicBezTo>
                    <a:lnTo>
                      <a:pt x="60" y="22873"/>
                    </a:lnTo>
                    <a:cubicBezTo>
                      <a:pt x="0" y="22933"/>
                      <a:pt x="0" y="22993"/>
                      <a:pt x="0" y="22993"/>
                    </a:cubicBezTo>
                    <a:cubicBezTo>
                      <a:pt x="0" y="23052"/>
                      <a:pt x="60" y="23112"/>
                      <a:pt x="120" y="23112"/>
                    </a:cubicBezTo>
                    <a:lnTo>
                      <a:pt x="46889" y="42370"/>
                    </a:lnTo>
                    <a:lnTo>
                      <a:pt x="40370" y="89678"/>
                    </a:lnTo>
                    <a:cubicBezTo>
                      <a:pt x="40370" y="89737"/>
                      <a:pt x="40430" y="89857"/>
                      <a:pt x="40549" y="89857"/>
                    </a:cubicBezTo>
                    <a:cubicBezTo>
                      <a:pt x="40609" y="89917"/>
                      <a:pt x="40669" y="89857"/>
                      <a:pt x="40669" y="8979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02" name="Vrije vorm: vorm 8901">
                <a:extLst>
                  <a:ext uri="{FF2B5EF4-FFF2-40B4-BE49-F238E27FC236}">
                    <a16:creationId xmlns:a16="http://schemas.microsoft.com/office/drawing/2014/main" id="{A1EA2B5E-A9D0-4050-8A16-3997C132E200}"/>
                  </a:ext>
                </a:extLst>
              </p:cNvPr>
              <p:cNvSpPr/>
              <p:nvPr/>
            </p:nvSpPr>
            <p:spPr>
              <a:xfrm>
                <a:off x="4637232" y="2669117"/>
                <a:ext cx="12559" cy="13600"/>
              </a:xfrm>
              <a:custGeom>
                <a:avLst/>
                <a:gdLst>
                  <a:gd name="connsiteX0" fmla="*/ 11961 w 12559"/>
                  <a:gd name="connsiteY0" fmla="*/ 13516 h 13600"/>
                  <a:gd name="connsiteX1" fmla="*/ 11961 w 12559"/>
                  <a:gd name="connsiteY1" fmla="*/ 13516 h 13600"/>
                  <a:gd name="connsiteX2" fmla="*/ 12560 w 12559"/>
                  <a:gd name="connsiteY2" fmla="*/ 179 h 13600"/>
                  <a:gd name="connsiteX3" fmla="*/ 12500 w 12559"/>
                  <a:gd name="connsiteY3" fmla="*/ 60 h 13600"/>
                  <a:gd name="connsiteX4" fmla="*/ 12380 w 12559"/>
                  <a:gd name="connsiteY4" fmla="*/ 0 h 13600"/>
                  <a:gd name="connsiteX5" fmla="*/ 120 w 12559"/>
                  <a:gd name="connsiteY5" fmla="*/ 1914 h 13600"/>
                  <a:gd name="connsiteX6" fmla="*/ 0 w 12559"/>
                  <a:gd name="connsiteY6" fmla="*/ 2093 h 13600"/>
                  <a:gd name="connsiteX7" fmla="*/ 180 w 12559"/>
                  <a:gd name="connsiteY7" fmla="*/ 2213 h 13600"/>
                  <a:gd name="connsiteX8" fmla="*/ 12261 w 12559"/>
                  <a:gd name="connsiteY8" fmla="*/ 299 h 13600"/>
                  <a:gd name="connsiteX9" fmla="*/ 11662 w 12559"/>
                  <a:gd name="connsiteY9" fmla="*/ 13397 h 13600"/>
                  <a:gd name="connsiteX10" fmla="*/ 11842 w 12559"/>
                  <a:gd name="connsiteY10" fmla="*/ 13576 h 13600"/>
                  <a:gd name="connsiteX11" fmla="*/ 11961 w 12559"/>
                  <a:gd name="connsiteY11" fmla="*/ 13516 h 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59" h="13600">
                    <a:moveTo>
                      <a:pt x="11961" y="13516"/>
                    </a:moveTo>
                    <a:cubicBezTo>
                      <a:pt x="11961" y="13516"/>
                      <a:pt x="11961" y="13516"/>
                      <a:pt x="11961" y="13516"/>
                    </a:cubicBezTo>
                    <a:lnTo>
                      <a:pt x="12560" y="179"/>
                    </a:lnTo>
                    <a:cubicBezTo>
                      <a:pt x="12560" y="120"/>
                      <a:pt x="12560" y="60"/>
                      <a:pt x="12500" y="60"/>
                    </a:cubicBezTo>
                    <a:cubicBezTo>
                      <a:pt x="12440" y="0"/>
                      <a:pt x="12440" y="0"/>
                      <a:pt x="12380" y="0"/>
                    </a:cubicBezTo>
                    <a:lnTo>
                      <a:pt x="120" y="1914"/>
                    </a:lnTo>
                    <a:cubicBezTo>
                      <a:pt x="60" y="1914"/>
                      <a:pt x="0" y="2033"/>
                      <a:pt x="0" y="2093"/>
                    </a:cubicBezTo>
                    <a:cubicBezTo>
                      <a:pt x="0" y="2153"/>
                      <a:pt x="120" y="2213"/>
                      <a:pt x="180" y="2213"/>
                    </a:cubicBezTo>
                    <a:lnTo>
                      <a:pt x="12261" y="299"/>
                    </a:lnTo>
                    <a:lnTo>
                      <a:pt x="11662" y="13397"/>
                    </a:lnTo>
                    <a:cubicBezTo>
                      <a:pt x="11662" y="13457"/>
                      <a:pt x="11722" y="13576"/>
                      <a:pt x="11842" y="13576"/>
                    </a:cubicBezTo>
                    <a:cubicBezTo>
                      <a:pt x="11842" y="13636"/>
                      <a:pt x="11902" y="13576"/>
                      <a:pt x="11961" y="1351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03" name="Vrije vorm: vorm 8902">
                <a:extLst>
                  <a:ext uri="{FF2B5EF4-FFF2-40B4-BE49-F238E27FC236}">
                    <a16:creationId xmlns:a16="http://schemas.microsoft.com/office/drawing/2014/main" id="{CFA84440-3993-4DDA-BE04-8C0DA7F282DB}"/>
                  </a:ext>
                </a:extLst>
              </p:cNvPr>
              <p:cNvSpPr/>
              <p:nvPr/>
            </p:nvSpPr>
            <p:spPr>
              <a:xfrm>
                <a:off x="4628261" y="2692441"/>
                <a:ext cx="6579" cy="8791"/>
              </a:xfrm>
              <a:custGeom>
                <a:avLst/>
                <a:gdLst>
                  <a:gd name="connsiteX0" fmla="*/ 6579 w 6579"/>
                  <a:gd name="connsiteY0" fmla="*/ 8672 h 8791"/>
                  <a:gd name="connsiteX1" fmla="*/ 6579 w 6579"/>
                  <a:gd name="connsiteY1" fmla="*/ 8552 h 8791"/>
                  <a:gd name="connsiteX2" fmla="*/ 299 w 6579"/>
                  <a:gd name="connsiteY2" fmla="*/ 60 h 8791"/>
                  <a:gd name="connsiteX3" fmla="*/ 60 w 6579"/>
                  <a:gd name="connsiteY3" fmla="*/ 0 h 8791"/>
                  <a:gd name="connsiteX4" fmla="*/ 0 w 6579"/>
                  <a:gd name="connsiteY4" fmla="*/ 239 h 8791"/>
                  <a:gd name="connsiteX5" fmla="*/ 6280 w 6579"/>
                  <a:gd name="connsiteY5" fmla="*/ 8732 h 8791"/>
                  <a:gd name="connsiteX6" fmla="*/ 6519 w 6579"/>
                  <a:gd name="connsiteY6" fmla="*/ 8792 h 8791"/>
                  <a:gd name="connsiteX7" fmla="*/ 6579 w 6579"/>
                  <a:gd name="connsiteY7" fmla="*/ 8672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9" h="8791">
                    <a:moveTo>
                      <a:pt x="6579" y="8672"/>
                    </a:moveTo>
                    <a:cubicBezTo>
                      <a:pt x="6579" y="8612"/>
                      <a:pt x="6579" y="8612"/>
                      <a:pt x="6579" y="8552"/>
                    </a:cubicBezTo>
                    <a:lnTo>
                      <a:pt x="299" y="60"/>
                    </a:lnTo>
                    <a:cubicBezTo>
                      <a:pt x="239" y="0"/>
                      <a:pt x="120" y="0"/>
                      <a:pt x="60" y="0"/>
                    </a:cubicBezTo>
                    <a:cubicBezTo>
                      <a:pt x="0" y="60"/>
                      <a:pt x="0" y="179"/>
                      <a:pt x="0" y="239"/>
                    </a:cubicBezTo>
                    <a:lnTo>
                      <a:pt x="6280" y="8732"/>
                    </a:lnTo>
                    <a:cubicBezTo>
                      <a:pt x="6340" y="8792"/>
                      <a:pt x="6459" y="8792"/>
                      <a:pt x="6519" y="8792"/>
                    </a:cubicBezTo>
                    <a:cubicBezTo>
                      <a:pt x="6579" y="8732"/>
                      <a:pt x="6579" y="8732"/>
                      <a:pt x="6579" y="867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04" name="Vrije vorm: vorm 8903">
                <a:extLst>
                  <a:ext uri="{FF2B5EF4-FFF2-40B4-BE49-F238E27FC236}">
                    <a16:creationId xmlns:a16="http://schemas.microsoft.com/office/drawing/2014/main" id="{A2E0911B-0C07-47DC-97BB-7BCD19B17C8F}"/>
                  </a:ext>
                </a:extLst>
              </p:cNvPr>
              <p:cNvSpPr/>
              <p:nvPr/>
            </p:nvSpPr>
            <p:spPr>
              <a:xfrm>
                <a:off x="4648775" y="2681736"/>
                <a:ext cx="13157" cy="11303"/>
              </a:xfrm>
              <a:custGeom>
                <a:avLst/>
                <a:gdLst>
                  <a:gd name="connsiteX0" fmla="*/ 12141 w 13157"/>
                  <a:gd name="connsiteY0" fmla="*/ 11124 h 11303"/>
                  <a:gd name="connsiteX1" fmla="*/ 12141 w 13157"/>
                  <a:gd name="connsiteY1" fmla="*/ 11124 h 11303"/>
                  <a:gd name="connsiteX2" fmla="*/ 13157 w 13157"/>
                  <a:gd name="connsiteY2" fmla="*/ 179 h 11303"/>
                  <a:gd name="connsiteX3" fmla="*/ 13098 w 13157"/>
                  <a:gd name="connsiteY3" fmla="*/ 60 h 11303"/>
                  <a:gd name="connsiteX4" fmla="*/ 12978 w 13157"/>
                  <a:gd name="connsiteY4" fmla="*/ 0 h 11303"/>
                  <a:gd name="connsiteX5" fmla="*/ 179 w 13157"/>
                  <a:gd name="connsiteY5" fmla="*/ 718 h 11303"/>
                  <a:gd name="connsiteX6" fmla="*/ 0 w 13157"/>
                  <a:gd name="connsiteY6" fmla="*/ 897 h 11303"/>
                  <a:gd name="connsiteX7" fmla="*/ 179 w 13157"/>
                  <a:gd name="connsiteY7" fmla="*/ 1076 h 11303"/>
                  <a:gd name="connsiteX8" fmla="*/ 12739 w 13157"/>
                  <a:gd name="connsiteY8" fmla="*/ 359 h 11303"/>
                  <a:gd name="connsiteX9" fmla="*/ 11722 w 13157"/>
                  <a:gd name="connsiteY9" fmla="*/ 11124 h 11303"/>
                  <a:gd name="connsiteX10" fmla="*/ 11842 w 13157"/>
                  <a:gd name="connsiteY10" fmla="*/ 11304 h 11303"/>
                  <a:gd name="connsiteX11" fmla="*/ 12141 w 13157"/>
                  <a:gd name="connsiteY11" fmla="*/ 11124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157" h="11303">
                    <a:moveTo>
                      <a:pt x="12141" y="11124"/>
                    </a:moveTo>
                    <a:cubicBezTo>
                      <a:pt x="12141" y="11064"/>
                      <a:pt x="12141" y="11064"/>
                      <a:pt x="12141" y="11124"/>
                    </a:cubicBezTo>
                    <a:lnTo>
                      <a:pt x="13157" y="179"/>
                    </a:lnTo>
                    <a:cubicBezTo>
                      <a:pt x="13157" y="120"/>
                      <a:pt x="13157" y="60"/>
                      <a:pt x="13098" y="60"/>
                    </a:cubicBezTo>
                    <a:cubicBezTo>
                      <a:pt x="13038" y="0"/>
                      <a:pt x="13038" y="0"/>
                      <a:pt x="12978" y="0"/>
                    </a:cubicBezTo>
                    <a:lnTo>
                      <a:pt x="179" y="718"/>
                    </a:lnTo>
                    <a:cubicBezTo>
                      <a:pt x="119" y="718"/>
                      <a:pt x="0" y="778"/>
                      <a:pt x="0" y="897"/>
                    </a:cubicBezTo>
                    <a:cubicBezTo>
                      <a:pt x="0" y="957"/>
                      <a:pt x="60" y="1076"/>
                      <a:pt x="179" y="1076"/>
                    </a:cubicBezTo>
                    <a:lnTo>
                      <a:pt x="12739" y="359"/>
                    </a:lnTo>
                    <a:lnTo>
                      <a:pt x="11722" y="11124"/>
                    </a:lnTo>
                    <a:cubicBezTo>
                      <a:pt x="11722" y="11184"/>
                      <a:pt x="11782" y="11304"/>
                      <a:pt x="11842" y="11304"/>
                    </a:cubicBezTo>
                    <a:cubicBezTo>
                      <a:pt x="12021" y="11244"/>
                      <a:pt x="12141" y="11184"/>
                      <a:pt x="12141" y="1112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05" name="Vrije vorm: vorm 8904">
                <a:extLst>
                  <a:ext uri="{FF2B5EF4-FFF2-40B4-BE49-F238E27FC236}">
                    <a16:creationId xmlns:a16="http://schemas.microsoft.com/office/drawing/2014/main" id="{52E4994F-26CA-4ECB-AB2E-C799A006A75D}"/>
                  </a:ext>
                </a:extLst>
              </p:cNvPr>
              <p:cNvSpPr/>
              <p:nvPr/>
            </p:nvSpPr>
            <p:spPr>
              <a:xfrm>
                <a:off x="4621682" y="2678626"/>
                <a:ext cx="30860" cy="54603"/>
              </a:xfrm>
              <a:custGeom>
                <a:avLst/>
                <a:gdLst>
                  <a:gd name="connsiteX0" fmla="*/ 30801 w 30860"/>
                  <a:gd name="connsiteY0" fmla="*/ 54484 h 54603"/>
                  <a:gd name="connsiteX1" fmla="*/ 30621 w 30860"/>
                  <a:gd name="connsiteY1" fmla="*/ 54604 h 54603"/>
                  <a:gd name="connsiteX2" fmla="*/ 19856 w 30860"/>
                  <a:gd name="connsiteY2" fmla="*/ 53826 h 54603"/>
                  <a:gd name="connsiteX3" fmla="*/ 19736 w 30860"/>
                  <a:gd name="connsiteY3" fmla="*/ 53647 h 54603"/>
                  <a:gd name="connsiteX4" fmla="*/ 19437 w 30860"/>
                  <a:gd name="connsiteY4" fmla="*/ 44915 h 54603"/>
                  <a:gd name="connsiteX5" fmla="*/ 7416 w 30860"/>
                  <a:gd name="connsiteY5" fmla="*/ 34509 h 54603"/>
                  <a:gd name="connsiteX6" fmla="*/ 7356 w 30860"/>
                  <a:gd name="connsiteY6" fmla="*/ 34449 h 54603"/>
                  <a:gd name="connsiteX7" fmla="*/ 0 w 30860"/>
                  <a:gd name="connsiteY7" fmla="*/ 179 h 54603"/>
                  <a:gd name="connsiteX8" fmla="*/ 120 w 30860"/>
                  <a:gd name="connsiteY8" fmla="*/ 0 h 54603"/>
                  <a:gd name="connsiteX9" fmla="*/ 299 w 30860"/>
                  <a:gd name="connsiteY9" fmla="*/ 120 h 54603"/>
                  <a:gd name="connsiteX10" fmla="*/ 7656 w 30860"/>
                  <a:gd name="connsiteY10" fmla="*/ 34329 h 54603"/>
                  <a:gd name="connsiteX11" fmla="*/ 19437 w 30860"/>
                  <a:gd name="connsiteY11" fmla="*/ 44556 h 54603"/>
                  <a:gd name="connsiteX12" fmla="*/ 19258 w 30860"/>
                  <a:gd name="connsiteY12" fmla="*/ 38635 h 54603"/>
                  <a:gd name="connsiteX13" fmla="*/ 19437 w 30860"/>
                  <a:gd name="connsiteY13" fmla="*/ 38456 h 54603"/>
                  <a:gd name="connsiteX14" fmla="*/ 19617 w 30860"/>
                  <a:gd name="connsiteY14" fmla="*/ 38635 h 54603"/>
                  <a:gd name="connsiteX15" fmla="*/ 19856 w 30860"/>
                  <a:gd name="connsiteY15" fmla="*/ 44855 h 54603"/>
                  <a:gd name="connsiteX16" fmla="*/ 30860 w 30860"/>
                  <a:gd name="connsiteY16" fmla="*/ 54365 h 54603"/>
                  <a:gd name="connsiteX17" fmla="*/ 30801 w 30860"/>
                  <a:gd name="connsiteY17" fmla="*/ 54484 h 54603"/>
                  <a:gd name="connsiteX18" fmla="*/ 30801 w 30860"/>
                  <a:gd name="connsiteY18" fmla="*/ 54484 h 54603"/>
                  <a:gd name="connsiteX19" fmla="*/ 20035 w 30860"/>
                  <a:gd name="connsiteY19" fmla="*/ 53468 h 54603"/>
                  <a:gd name="connsiteX20" fmla="*/ 30143 w 30860"/>
                  <a:gd name="connsiteY20" fmla="*/ 54185 h 54603"/>
                  <a:gd name="connsiteX21" fmla="*/ 19736 w 30860"/>
                  <a:gd name="connsiteY21" fmla="*/ 45154 h 54603"/>
                  <a:gd name="connsiteX22" fmla="*/ 20035 w 30860"/>
                  <a:gd name="connsiteY22" fmla="*/ 53468 h 5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860" h="54603">
                    <a:moveTo>
                      <a:pt x="30801" y="54484"/>
                    </a:moveTo>
                    <a:cubicBezTo>
                      <a:pt x="30801" y="54544"/>
                      <a:pt x="30681" y="54604"/>
                      <a:pt x="30621" y="54604"/>
                    </a:cubicBezTo>
                    <a:lnTo>
                      <a:pt x="19856" y="53826"/>
                    </a:lnTo>
                    <a:cubicBezTo>
                      <a:pt x="19796" y="53826"/>
                      <a:pt x="19736" y="53767"/>
                      <a:pt x="19736" y="53647"/>
                    </a:cubicBezTo>
                    <a:lnTo>
                      <a:pt x="19437" y="44915"/>
                    </a:lnTo>
                    <a:lnTo>
                      <a:pt x="7416" y="34509"/>
                    </a:lnTo>
                    <a:cubicBezTo>
                      <a:pt x="7416" y="34509"/>
                      <a:pt x="7356" y="34449"/>
                      <a:pt x="7356" y="34449"/>
                    </a:cubicBezTo>
                    <a:lnTo>
                      <a:pt x="0" y="179"/>
                    </a:lnTo>
                    <a:cubicBezTo>
                      <a:pt x="0" y="60"/>
                      <a:pt x="60" y="0"/>
                      <a:pt x="120" y="0"/>
                    </a:cubicBezTo>
                    <a:cubicBezTo>
                      <a:pt x="180" y="0"/>
                      <a:pt x="299" y="60"/>
                      <a:pt x="299" y="120"/>
                    </a:cubicBezTo>
                    <a:lnTo>
                      <a:pt x="7656" y="34329"/>
                    </a:lnTo>
                    <a:lnTo>
                      <a:pt x="19437" y="44556"/>
                    </a:lnTo>
                    <a:lnTo>
                      <a:pt x="19258" y="38635"/>
                    </a:lnTo>
                    <a:cubicBezTo>
                      <a:pt x="19258" y="38576"/>
                      <a:pt x="19318" y="38456"/>
                      <a:pt x="19437" y="38456"/>
                    </a:cubicBezTo>
                    <a:cubicBezTo>
                      <a:pt x="19557" y="38456"/>
                      <a:pt x="19617" y="38516"/>
                      <a:pt x="19617" y="38635"/>
                    </a:cubicBezTo>
                    <a:lnTo>
                      <a:pt x="19856" y="44855"/>
                    </a:lnTo>
                    <a:lnTo>
                      <a:pt x="30860" y="54365"/>
                    </a:lnTo>
                    <a:cubicBezTo>
                      <a:pt x="30801" y="54305"/>
                      <a:pt x="30801" y="54365"/>
                      <a:pt x="30801" y="54484"/>
                    </a:cubicBezTo>
                    <a:cubicBezTo>
                      <a:pt x="30801" y="54424"/>
                      <a:pt x="30801" y="54484"/>
                      <a:pt x="30801" y="54484"/>
                    </a:cubicBezTo>
                    <a:close/>
                    <a:moveTo>
                      <a:pt x="20035" y="53468"/>
                    </a:moveTo>
                    <a:lnTo>
                      <a:pt x="30143" y="54185"/>
                    </a:lnTo>
                    <a:lnTo>
                      <a:pt x="19736" y="45154"/>
                    </a:lnTo>
                    <a:lnTo>
                      <a:pt x="20035" y="53468"/>
                    </a:lnTo>
                    <a:close/>
                  </a:path>
                </a:pathLst>
              </a:custGeom>
              <a:grpFill/>
              <a:ln w="6350" cap="flat">
                <a:solidFill>
                  <a:schemeClr val="bg1">
                    <a:alpha val="80000"/>
                  </a:schemeClr>
                </a:solidFill>
                <a:prstDash val="solid"/>
                <a:miter/>
              </a:ln>
            </p:spPr>
            <p:txBody>
              <a:bodyPr rtlCol="0" anchor="ctr"/>
              <a:lstStyle/>
              <a:p>
                <a:endParaRPr lang="en-GB"/>
              </a:p>
            </p:txBody>
          </p:sp>
          <p:sp>
            <p:nvSpPr>
              <p:cNvPr id="8906" name="Vrije vorm: vorm 8905">
                <a:extLst>
                  <a:ext uri="{FF2B5EF4-FFF2-40B4-BE49-F238E27FC236}">
                    <a16:creationId xmlns:a16="http://schemas.microsoft.com/office/drawing/2014/main" id="{D3511502-8C24-4D83-8B87-C1199A131B3C}"/>
                  </a:ext>
                </a:extLst>
              </p:cNvPr>
              <p:cNvSpPr/>
              <p:nvPr/>
            </p:nvSpPr>
            <p:spPr>
              <a:xfrm>
                <a:off x="4649932" y="2593720"/>
                <a:ext cx="29583" cy="20418"/>
              </a:xfrm>
              <a:custGeom>
                <a:avLst/>
                <a:gdLst>
                  <a:gd name="connsiteX0" fmla="*/ 28149 w 29583"/>
                  <a:gd name="connsiteY0" fmla="*/ 20194 h 20418"/>
                  <a:gd name="connsiteX1" fmla="*/ 28149 w 29583"/>
                  <a:gd name="connsiteY1" fmla="*/ 20194 h 20418"/>
                  <a:gd name="connsiteX2" fmla="*/ 29584 w 29583"/>
                  <a:gd name="connsiteY2" fmla="*/ 10984 h 20418"/>
                  <a:gd name="connsiteX3" fmla="*/ 29464 w 29583"/>
                  <a:gd name="connsiteY3" fmla="*/ 10805 h 20418"/>
                  <a:gd name="connsiteX4" fmla="*/ 29285 w 29583"/>
                  <a:gd name="connsiteY4" fmla="*/ 10924 h 20418"/>
                  <a:gd name="connsiteX5" fmla="*/ 29285 w 29583"/>
                  <a:gd name="connsiteY5" fmla="*/ 10924 h 20418"/>
                  <a:gd name="connsiteX6" fmla="*/ 27909 w 29583"/>
                  <a:gd name="connsiteY6" fmla="*/ 19895 h 20418"/>
                  <a:gd name="connsiteX7" fmla="*/ 279 w 29583"/>
                  <a:gd name="connsiteY7" fmla="*/ 39 h 20418"/>
                  <a:gd name="connsiteX8" fmla="*/ 39 w 29583"/>
                  <a:gd name="connsiteY8" fmla="*/ 99 h 20418"/>
                  <a:gd name="connsiteX9" fmla="*/ 99 w 29583"/>
                  <a:gd name="connsiteY9" fmla="*/ 338 h 20418"/>
                  <a:gd name="connsiteX10" fmla="*/ 27969 w 29583"/>
                  <a:gd name="connsiteY10" fmla="*/ 20374 h 20418"/>
                  <a:gd name="connsiteX11" fmla="*/ 28149 w 29583"/>
                  <a:gd name="connsiteY11" fmla="*/ 20374 h 20418"/>
                  <a:gd name="connsiteX12" fmla="*/ 28149 w 29583"/>
                  <a:gd name="connsiteY12" fmla="*/ 20194 h 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583" h="20418">
                    <a:moveTo>
                      <a:pt x="28149" y="20194"/>
                    </a:moveTo>
                    <a:lnTo>
                      <a:pt x="28149" y="20194"/>
                    </a:lnTo>
                    <a:lnTo>
                      <a:pt x="29584" y="10984"/>
                    </a:lnTo>
                    <a:cubicBezTo>
                      <a:pt x="29584" y="10864"/>
                      <a:pt x="29524" y="10805"/>
                      <a:pt x="29464" y="10805"/>
                    </a:cubicBezTo>
                    <a:cubicBezTo>
                      <a:pt x="29405" y="10805"/>
                      <a:pt x="29285" y="10864"/>
                      <a:pt x="29285" y="10924"/>
                    </a:cubicBezTo>
                    <a:lnTo>
                      <a:pt x="29285" y="10924"/>
                    </a:lnTo>
                    <a:lnTo>
                      <a:pt x="27909" y="19895"/>
                    </a:lnTo>
                    <a:lnTo>
                      <a:pt x="279" y="39"/>
                    </a:lnTo>
                    <a:cubicBezTo>
                      <a:pt x="219" y="-21"/>
                      <a:pt x="99" y="-21"/>
                      <a:pt x="39" y="99"/>
                    </a:cubicBezTo>
                    <a:cubicBezTo>
                      <a:pt x="-20" y="159"/>
                      <a:pt x="-20" y="278"/>
                      <a:pt x="99" y="338"/>
                    </a:cubicBezTo>
                    <a:lnTo>
                      <a:pt x="27969" y="20374"/>
                    </a:lnTo>
                    <a:cubicBezTo>
                      <a:pt x="28029" y="20434"/>
                      <a:pt x="28089" y="20434"/>
                      <a:pt x="28149" y="20374"/>
                    </a:cubicBezTo>
                    <a:cubicBezTo>
                      <a:pt x="28089" y="20254"/>
                      <a:pt x="28149" y="20254"/>
                      <a:pt x="28149" y="2019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07" name="Vrije vorm: vorm 8906">
                <a:extLst>
                  <a:ext uri="{FF2B5EF4-FFF2-40B4-BE49-F238E27FC236}">
                    <a16:creationId xmlns:a16="http://schemas.microsoft.com/office/drawing/2014/main" id="{FC3F07A5-F204-414E-ABFA-B105140609DB}"/>
                  </a:ext>
                </a:extLst>
              </p:cNvPr>
              <p:cNvSpPr/>
              <p:nvPr/>
            </p:nvSpPr>
            <p:spPr>
              <a:xfrm>
                <a:off x="4684636" y="2553569"/>
                <a:ext cx="3850" cy="10226"/>
              </a:xfrm>
              <a:custGeom>
                <a:avLst/>
                <a:gdLst>
                  <a:gd name="connsiteX0" fmla="*/ 3851 w 3850"/>
                  <a:gd name="connsiteY0" fmla="*/ 179 h 10226"/>
                  <a:gd name="connsiteX1" fmla="*/ 3732 w 3850"/>
                  <a:gd name="connsiteY1" fmla="*/ 0 h 10226"/>
                  <a:gd name="connsiteX2" fmla="*/ 3552 w 3850"/>
                  <a:gd name="connsiteY2" fmla="*/ 120 h 10226"/>
                  <a:gd name="connsiteX3" fmla="*/ 23 w 3850"/>
                  <a:gd name="connsiteY3" fmla="*/ 10048 h 10226"/>
                  <a:gd name="connsiteX4" fmla="*/ 143 w 3850"/>
                  <a:gd name="connsiteY4" fmla="*/ 10227 h 10226"/>
                  <a:gd name="connsiteX5" fmla="*/ 322 w 3850"/>
                  <a:gd name="connsiteY5" fmla="*/ 10107 h 10226"/>
                  <a:gd name="connsiteX6" fmla="*/ 3851 w 3850"/>
                  <a:gd name="connsiteY6" fmla="*/ 179 h 10226"/>
                  <a:gd name="connsiteX7" fmla="*/ 3851 w 3850"/>
                  <a:gd name="connsiteY7" fmla="*/ 179 h 1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0" h="10226">
                    <a:moveTo>
                      <a:pt x="3851" y="179"/>
                    </a:moveTo>
                    <a:cubicBezTo>
                      <a:pt x="3851" y="120"/>
                      <a:pt x="3851" y="0"/>
                      <a:pt x="3732" y="0"/>
                    </a:cubicBezTo>
                    <a:cubicBezTo>
                      <a:pt x="3672" y="0"/>
                      <a:pt x="3552" y="0"/>
                      <a:pt x="3552" y="120"/>
                    </a:cubicBezTo>
                    <a:lnTo>
                      <a:pt x="23" y="10048"/>
                    </a:lnTo>
                    <a:cubicBezTo>
                      <a:pt x="-36" y="10167"/>
                      <a:pt x="23" y="10227"/>
                      <a:pt x="143" y="10227"/>
                    </a:cubicBezTo>
                    <a:cubicBezTo>
                      <a:pt x="203" y="10227"/>
                      <a:pt x="322" y="10227"/>
                      <a:pt x="322" y="10107"/>
                    </a:cubicBezTo>
                    <a:lnTo>
                      <a:pt x="3851" y="179"/>
                    </a:lnTo>
                    <a:cubicBezTo>
                      <a:pt x="3851" y="179"/>
                      <a:pt x="3851" y="179"/>
                      <a:pt x="3851"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08" name="Vrije vorm: vorm 8907">
                <a:extLst>
                  <a:ext uri="{FF2B5EF4-FFF2-40B4-BE49-F238E27FC236}">
                    <a16:creationId xmlns:a16="http://schemas.microsoft.com/office/drawing/2014/main" id="{750FDED2-5298-4C58-A7C5-6E064048C57A}"/>
                  </a:ext>
                </a:extLst>
              </p:cNvPr>
              <p:cNvSpPr/>
              <p:nvPr/>
            </p:nvSpPr>
            <p:spPr>
              <a:xfrm>
                <a:off x="4598537" y="2555199"/>
                <a:ext cx="102928" cy="147050"/>
              </a:xfrm>
              <a:custGeom>
                <a:avLst/>
                <a:gdLst>
                  <a:gd name="connsiteX0" fmla="*/ 102928 w 102928"/>
                  <a:gd name="connsiteY0" fmla="*/ 164 h 147050"/>
                  <a:gd name="connsiteX1" fmla="*/ 92581 w 102928"/>
                  <a:gd name="connsiteY1" fmla="*/ 19901 h 147050"/>
                  <a:gd name="connsiteX2" fmla="*/ 100117 w 102928"/>
                  <a:gd name="connsiteY2" fmla="*/ 41790 h 147050"/>
                  <a:gd name="connsiteX3" fmla="*/ 100117 w 102928"/>
                  <a:gd name="connsiteY3" fmla="*/ 41910 h 147050"/>
                  <a:gd name="connsiteX4" fmla="*/ 92283 w 102928"/>
                  <a:gd name="connsiteY4" fmla="*/ 53632 h 147050"/>
                  <a:gd name="connsiteX5" fmla="*/ 95153 w 102928"/>
                  <a:gd name="connsiteY5" fmla="*/ 69541 h 147050"/>
                  <a:gd name="connsiteX6" fmla="*/ 95153 w 102928"/>
                  <a:gd name="connsiteY6" fmla="*/ 69660 h 147050"/>
                  <a:gd name="connsiteX7" fmla="*/ 86362 w 102928"/>
                  <a:gd name="connsiteY7" fmla="*/ 98428 h 147050"/>
                  <a:gd name="connsiteX8" fmla="*/ 87498 w 102928"/>
                  <a:gd name="connsiteY8" fmla="*/ 126298 h 147050"/>
                  <a:gd name="connsiteX9" fmla="*/ 83850 w 102928"/>
                  <a:gd name="connsiteY9" fmla="*/ 125819 h 147050"/>
                  <a:gd name="connsiteX10" fmla="*/ 87139 w 102928"/>
                  <a:gd name="connsiteY10" fmla="*/ 126298 h 147050"/>
                  <a:gd name="connsiteX11" fmla="*/ 86003 w 102928"/>
                  <a:gd name="connsiteY11" fmla="*/ 98428 h 147050"/>
                  <a:gd name="connsiteX12" fmla="*/ 86003 w 102928"/>
                  <a:gd name="connsiteY12" fmla="*/ 98368 h 147050"/>
                  <a:gd name="connsiteX13" fmla="*/ 94794 w 102928"/>
                  <a:gd name="connsiteY13" fmla="*/ 69601 h 147050"/>
                  <a:gd name="connsiteX14" fmla="*/ 91924 w 102928"/>
                  <a:gd name="connsiteY14" fmla="*/ 53692 h 147050"/>
                  <a:gd name="connsiteX15" fmla="*/ 91924 w 102928"/>
                  <a:gd name="connsiteY15" fmla="*/ 53572 h 147050"/>
                  <a:gd name="connsiteX16" fmla="*/ 99758 w 102928"/>
                  <a:gd name="connsiteY16" fmla="*/ 41850 h 147050"/>
                  <a:gd name="connsiteX17" fmla="*/ 92283 w 102928"/>
                  <a:gd name="connsiteY17" fmla="*/ 19961 h 147050"/>
                  <a:gd name="connsiteX18" fmla="*/ 92283 w 102928"/>
                  <a:gd name="connsiteY18" fmla="*/ 19901 h 147050"/>
                  <a:gd name="connsiteX19" fmla="*/ 102390 w 102928"/>
                  <a:gd name="connsiteY19" fmla="*/ 703 h 147050"/>
                  <a:gd name="connsiteX20" fmla="*/ 86422 w 102928"/>
                  <a:gd name="connsiteY20" fmla="*/ 8717 h 147050"/>
                  <a:gd name="connsiteX21" fmla="*/ 86302 w 102928"/>
                  <a:gd name="connsiteY21" fmla="*/ 8777 h 147050"/>
                  <a:gd name="connsiteX22" fmla="*/ 73683 w 102928"/>
                  <a:gd name="connsiteY22" fmla="*/ 7640 h 147050"/>
                  <a:gd name="connsiteX23" fmla="*/ 64472 w 102928"/>
                  <a:gd name="connsiteY23" fmla="*/ 28513 h 147050"/>
                  <a:gd name="connsiteX24" fmla="*/ 64353 w 102928"/>
                  <a:gd name="connsiteY24" fmla="*/ 28573 h 147050"/>
                  <a:gd name="connsiteX25" fmla="*/ 52212 w 102928"/>
                  <a:gd name="connsiteY25" fmla="*/ 29590 h 147050"/>
                  <a:gd name="connsiteX26" fmla="*/ 47008 w 102928"/>
                  <a:gd name="connsiteY26" fmla="*/ 38860 h 147050"/>
                  <a:gd name="connsiteX27" fmla="*/ 51614 w 102928"/>
                  <a:gd name="connsiteY27" fmla="*/ 38561 h 147050"/>
                  <a:gd name="connsiteX28" fmla="*/ 51733 w 102928"/>
                  <a:gd name="connsiteY28" fmla="*/ 38620 h 147050"/>
                  <a:gd name="connsiteX29" fmla="*/ 61243 w 102928"/>
                  <a:gd name="connsiteY29" fmla="*/ 51539 h 147050"/>
                  <a:gd name="connsiteX30" fmla="*/ 80859 w 102928"/>
                  <a:gd name="connsiteY30" fmla="*/ 49386 h 147050"/>
                  <a:gd name="connsiteX31" fmla="*/ 81039 w 102928"/>
                  <a:gd name="connsiteY31" fmla="*/ 49446 h 147050"/>
                  <a:gd name="connsiteX32" fmla="*/ 90309 w 102928"/>
                  <a:gd name="connsiteY32" fmla="*/ 62663 h 147050"/>
                  <a:gd name="connsiteX33" fmla="*/ 90309 w 102928"/>
                  <a:gd name="connsiteY33" fmla="*/ 62842 h 147050"/>
                  <a:gd name="connsiteX34" fmla="*/ 90189 w 102928"/>
                  <a:gd name="connsiteY34" fmla="*/ 62962 h 147050"/>
                  <a:gd name="connsiteX35" fmla="*/ 61661 w 102928"/>
                  <a:gd name="connsiteY35" fmla="*/ 66192 h 147050"/>
                  <a:gd name="connsiteX36" fmla="*/ 53288 w 102928"/>
                  <a:gd name="connsiteY36" fmla="*/ 81143 h 147050"/>
                  <a:gd name="connsiteX37" fmla="*/ 53169 w 102928"/>
                  <a:gd name="connsiteY37" fmla="*/ 81203 h 147050"/>
                  <a:gd name="connsiteX38" fmla="*/ 30322 w 102928"/>
                  <a:gd name="connsiteY38" fmla="*/ 80665 h 147050"/>
                  <a:gd name="connsiteX39" fmla="*/ 30203 w 102928"/>
                  <a:gd name="connsiteY39" fmla="*/ 80605 h 147050"/>
                  <a:gd name="connsiteX40" fmla="*/ 16746 w 102928"/>
                  <a:gd name="connsiteY40" fmla="*/ 69900 h 147050"/>
                  <a:gd name="connsiteX41" fmla="*/ 359 w 102928"/>
                  <a:gd name="connsiteY41" fmla="*/ 92806 h 147050"/>
                  <a:gd name="connsiteX42" fmla="*/ 20275 w 102928"/>
                  <a:gd name="connsiteY42" fmla="*/ 139934 h 147050"/>
                  <a:gd name="connsiteX43" fmla="*/ 72725 w 102928"/>
                  <a:gd name="connsiteY43" fmla="*/ 146752 h 147050"/>
                  <a:gd name="connsiteX44" fmla="*/ 72845 w 102928"/>
                  <a:gd name="connsiteY44" fmla="*/ 146931 h 147050"/>
                  <a:gd name="connsiteX45" fmla="*/ 72666 w 102928"/>
                  <a:gd name="connsiteY45" fmla="*/ 147051 h 147050"/>
                  <a:gd name="connsiteX46" fmla="*/ 20095 w 102928"/>
                  <a:gd name="connsiteY46" fmla="*/ 140233 h 147050"/>
                  <a:gd name="connsiteX47" fmla="*/ 19976 w 102928"/>
                  <a:gd name="connsiteY47" fmla="*/ 140113 h 147050"/>
                  <a:gd name="connsiteX48" fmla="*/ 0 w 102928"/>
                  <a:gd name="connsiteY48" fmla="*/ 92806 h 147050"/>
                  <a:gd name="connsiteX49" fmla="*/ 0 w 102928"/>
                  <a:gd name="connsiteY49" fmla="*/ 92626 h 147050"/>
                  <a:gd name="connsiteX50" fmla="*/ 16447 w 102928"/>
                  <a:gd name="connsiteY50" fmla="*/ 69660 h 147050"/>
                  <a:gd name="connsiteX51" fmla="*/ 5742 w 102928"/>
                  <a:gd name="connsiteY51" fmla="*/ 61168 h 147050"/>
                  <a:gd name="connsiteX52" fmla="*/ 5682 w 102928"/>
                  <a:gd name="connsiteY52" fmla="*/ 61048 h 147050"/>
                  <a:gd name="connsiteX53" fmla="*/ 5742 w 102928"/>
                  <a:gd name="connsiteY53" fmla="*/ 60929 h 147050"/>
                  <a:gd name="connsiteX54" fmla="*/ 38157 w 102928"/>
                  <a:gd name="connsiteY54" fmla="*/ 39398 h 147050"/>
                  <a:gd name="connsiteX55" fmla="*/ 38217 w 102928"/>
                  <a:gd name="connsiteY55" fmla="*/ 39398 h 147050"/>
                  <a:gd name="connsiteX56" fmla="*/ 46650 w 102928"/>
                  <a:gd name="connsiteY56" fmla="*/ 38860 h 147050"/>
                  <a:gd name="connsiteX57" fmla="*/ 51972 w 102928"/>
                  <a:gd name="connsiteY57" fmla="*/ 29350 h 147050"/>
                  <a:gd name="connsiteX58" fmla="*/ 52092 w 102928"/>
                  <a:gd name="connsiteY58" fmla="*/ 29291 h 147050"/>
                  <a:gd name="connsiteX59" fmla="*/ 64233 w 102928"/>
                  <a:gd name="connsiteY59" fmla="*/ 28274 h 147050"/>
                  <a:gd name="connsiteX60" fmla="*/ 73443 w 102928"/>
                  <a:gd name="connsiteY60" fmla="*/ 7341 h 147050"/>
                  <a:gd name="connsiteX61" fmla="*/ 73563 w 102928"/>
                  <a:gd name="connsiteY61" fmla="*/ 7282 h 147050"/>
                  <a:gd name="connsiteX62" fmla="*/ 86242 w 102928"/>
                  <a:gd name="connsiteY62" fmla="*/ 8418 h 147050"/>
                  <a:gd name="connsiteX63" fmla="*/ 102689 w 102928"/>
                  <a:gd name="connsiteY63" fmla="*/ 45 h 147050"/>
                  <a:gd name="connsiteX64" fmla="*/ 102869 w 102928"/>
                  <a:gd name="connsiteY64" fmla="*/ 45 h 147050"/>
                  <a:gd name="connsiteX65" fmla="*/ 102928 w 102928"/>
                  <a:gd name="connsiteY65" fmla="*/ 164 h 147050"/>
                  <a:gd name="connsiteX66" fmla="*/ 102928 w 102928"/>
                  <a:gd name="connsiteY66" fmla="*/ 164 h 147050"/>
                  <a:gd name="connsiteX67" fmla="*/ 61123 w 102928"/>
                  <a:gd name="connsiteY67" fmla="*/ 51838 h 147050"/>
                  <a:gd name="connsiteX68" fmla="*/ 61003 w 102928"/>
                  <a:gd name="connsiteY68" fmla="*/ 51778 h 147050"/>
                  <a:gd name="connsiteX69" fmla="*/ 51494 w 102928"/>
                  <a:gd name="connsiteY69" fmla="*/ 38860 h 147050"/>
                  <a:gd name="connsiteX70" fmla="*/ 46769 w 102928"/>
                  <a:gd name="connsiteY70" fmla="*/ 39159 h 147050"/>
                  <a:gd name="connsiteX71" fmla="*/ 43539 w 102928"/>
                  <a:gd name="connsiteY71" fmla="*/ 44960 h 147050"/>
                  <a:gd name="connsiteX72" fmla="*/ 43420 w 102928"/>
                  <a:gd name="connsiteY72" fmla="*/ 45020 h 147050"/>
                  <a:gd name="connsiteX73" fmla="*/ 43300 w 102928"/>
                  <a:gd name="connsiteY73" fmla="*/ 44960 h 147050"/>
                  <a:gd name="connsiteX74" fmla="*/ 38217 w 102928"/>
                  <a:gd name="connsiteY74" fmla="*/ 39757 h 147050"/>
                  <a:gd name="connsiteX75" fmla="*/ 16866 w 102928"/>
                  <a:gd name="connsiteY75" fmla="*/ 69601 h 147050"/>
                  <a:gd name="connsiteX76" fmla="*/ 30322 w 102928"/>
                  <a:gd name="connsiteY76" fmla="*/ 80246 h 147050"/>
                  <a:gd name="connsiteX77" fmla="*/ 52989 w 102928"/>
                  <a:gd name="connsiteY77" fmla="*/ 80785 h 147050"/>
                  <a:gd name="connsiteX78" fmla="*/ 61362 w 102928"/>
                  <a:gd name="connsiteY78" fmla="*/ 65833 h 147050"/>
                  <a:gd name="connsiteX79" fmla="*/ 61482 w 102928"/>
                  <a:gd name="connsiteY79" fmla="*/ 65773 h 147050"/>
                  <a:gd name="connsiteX80" fmla="*/ 89831 w 102928"/>
                  <a:gd name="connsiteY80" fmla="*/ 62603 h 147050"/>
                  <a:gd name="connsiteX81" fmla="*/ 80740 w 102928"/>
                  <a:gd name="connsiteY81" fmla="*/ 49685 h 147050"/>
                  <a:gd name="connsiteX82" fmla="*/ 61123 w 102928"/>
                  <a:gd name="connsiteY82" fmla="*/ 51838 h 147050"/>
                  <a:gd name="connsiteX83" fmla="*/ 43300 w 102928"/>
                  <a:gd name="connsiteY83" fmla="*/ 44541 h 147050"/>
                  <a:gd name="connsiteX84" fmla="*/ 46351 w 102928"/>
                  <a:gd name="connsiteY84" fmla="*/ 39099 h 147050"/>
                  <a:gd name="connsiteX85" fmla="*/ 38516 w 102928"/>
                  <a:gd name="connsiteY85" fmla="*/ 39577 h 147050"/>
                  <a:gd name="connsiteX86" fmla="*/ 43300 w 102928"/>
                  <a:gd name="connsiteY86" fmla="*/ 44541 h 147050"/>
                  <a:gd name="connsiteX87" fmla="*/ 16567 w 102928"/>
                  <a:gd name="connsiteY87" fmla="*/ 69361 h 147050"/>
                  <a:gd name="connsiteX88" fmla="*/ 37499 w 102928"/>
                  <a:gd name="connsiteY88" fmla="*/ 40116 h 147050"/>
                  <a:gd name="connsiteX89" fmla="*/ 6041 w 102928"/>
                  <a:gd name="connsiteY89" fmla="*/ 60988 h 147050"/>
                  <a:gd name="connsiteX90" fmla="*/ 16567 w 102928"/>
                  <a:gd name="connsiteY90" fmla="*/ 69361 h 14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02928" h="147050">
                    <a:moveTo>
                      <a:pt x="102928" y="164"/>
                    </a:moveTo>
                    <a:lnTo>
                      <a:pt x="92581" y="19901"/>
                    </a:lnTo>
                    <a:lnTo>
                      <a:pt x="100117" y="41790"/>
                    </a:lnTo>
                    <a:cubicBezTo>
                      <a:pt x="100117" y="41850"/>
                      <a:pt x="100117" y="41850"/>
                      <a:pt x="100117" y="41910"/>
                    </a:cubicBezTo>
                    <a:lnTo>
                      <a:pt x="92283" y="53632"/>
                    </a:lnTo>
                    <a:lnTo>
                      <a:pt x="95153" y="69541"/>
                    </a:lnTo>
                    <a:cubicBezTo>
                      <a:pt x="95153" y="69541"/>
                      <a:pt x="95153" y="69601"/>
                      <a:pt x="95153" y="69660"/>
                    </a:cubicBezTo>
                    <a:lnTo>
                      <a:pt x="86362" y="98428"/>
                    </a:lnTo>
                    <a:lnTo>
                      <a:pt x="87498" y="126298"/>
                    </a:lnTo>
                    <a:cubicBezTo>
                      <a:pt x="87498" y="126418"/>
                      <a:pt x="83969" y="125819"/>
                      <a:pt x="83850" y="125819"/>
                    </a:cubicBezTo>
                    <a:cubicBezTo>
                      <a:pt x="83730" y="125819"/>
                      <a:pt x="87139" y="126358"/>
                      <a:pt x="87139" y="126298"/>
                    </a:cubicBezTo>
                    <a:lnTo>
                      <a:pt x="86003" y="98428"/>
                    </a:lnTo>
                    <a:cubicBezTo>
                      <a:pt x="86003" y="98428"/>
                      <a:pt x="86003" y="98368"/>
                      <a:pt x="86003" y="98368"/>
                    </a:cubicBezTo>
                    <a:lnTo>
                      <a:pt x="94794" y="69601"/>
                    </a:lnTo>
                    <a:lnTo>
                      <a:pt x="91924" y="53692"/>
                    </a:lnTo>
                    <a:cubicBezTo>
                      <a:pt x="91924" y="53632"/>
                      <a:pt x="91924" y="53572"/>
                      <a:pt x="91924" y="53572"/>
                    </a:cubicBezTo>
                    <a:lnTo>
                      <a:pt x="99758" y="41850"/>
                    </a:lnTo>
                    <a:lnTo>
                      <a:pt x="92283" y="19961"/>
                    </a:lnTo>
                    <a:cubicBezTo>
                      <a:pt x="92283" y="19901"/>
                      <a:pt x="92283" y="19901"/>
                      <a:pt x="92283" y="19901"/>
                    </a:cubicBezTo>
                    <a:lnTo>
                      <a:pt x="102390" y="703"/>
                    </a:lnTo>
                    <a:lnTo>
                      <a:pt x="86422" y="8717"/>
                    </a:lnTo>
                    <a:cubicBezTo>
                      <a:pt x="86362" y="8717"/>
                      <a:pt x="86362" y="8777"/>
                      <a:pt x="86302" y="8777"/>
                    </a:cubicBezTo>
                    <a:lnTo>
                      <a:pt x="73683" y="7640"/>
                    </a:lnTo>
                    <a:lnTo>
                      <a:pt x="64472" y="28513"/>
                    </a:lnTo>
                    <a:cubicBezTo>
                      <a:pt x="64472" y="28573"/>
                      <a:pt x="64412" y="28573"/>
                      <a:pt x="64353" y="28573"/>
                    </a:cubicBezTo>
                    <a:lnTo>
                      <a:pt x="52212" y="29590"/>
                    </a:lnTo>
                    <a:lnTo>
                      <a:pt x="47008" y="38860"/>
                    </a:lnTo>
                    <a:lnTo>
                      <a:pt x="51614" y="38561"/>
                    </a:lnTo>
                    <a:cubicBezTo>
                      <a:pt x="51674" y="38561"/>
                      <a:pt x="51733" y="38561"/>
                      <a:pt x="51733" y="38620"/>
                    </a:cubicBezTo>
                    <a:lnTo>
                      <a:pt x="61243" y="51539"/>
                    </a:lnTo>
                    <a:lnTo>
                      <a:pt x="80859" y="49386"/>
                    </a:lnTo>
                    <a:cubicBezTo>
                      <a:pt x="80919" y="49386"/>
                      <a:pt x="80979" y="49386"/>
                      <a:pt x="81039" y="49446"/>
                    </a:cubicBezTo>
                    <a:lnTo>
                      <a:pt x="90309" y="62663"/>
                    </a:lnTo>
                    <a:cubicBezTo>
                      <a:pt x="90369" y="62723"/>
                      <a:pt x="90369" y="62783"/>
                      <a:pt x="90309" y="62842"/>
                    </a:cubicBezTo>
                    <a:cubicBezTo>
                      <a:pt x="90309" y="62902"/>
                      <a:pt x="90249" y="62902"/>
                      <a:pt x="90189" y="62962"/>
                    </a:cubicBezTo>
                    <a:lnTo>
                      <a:pt x="61661" y="66192"/>
                    </a:lnTo>
                    <a:lnTo>
                      <a:pt x="53288" y="81143"/>
                    </a:lnTo>
                    <a:cubicBezTo>
                      <a:pt x="53288" y="81203"/>
                      <a:pt x="53229" y="81203"/>
                      <a:pt x="53169" y="81203"/>
                    </a:cubicBezTo>
                    <a:lnTo>
                      <a:pt x="30322" y="80665"/>
                    </a:lnTo>
                    <a:cubicBezTo>
                      <a:pt x="30262" y="80665"/>
                      <a:pt x="30262" y="80665"/>
                      <a:pt x="30203" y="80605"/>
                    </a:cubicBezTo>
                    <a:lnTo>
                      <a:pt x="16746" y="69900"/>
                    </a:lnTo>
                    <a:lnTo>
                      <a:pt x="359" y="92806"/>
                    </a:lnTo>
                    <a:lnTo>
                      <a:pt x="20275" y="139934"/>
                    </a:lnTo>
                    <a:lnTo>
                      <a:pt x="72725" y="146752"/>
                    </a:lnTo>
                    <a:cubicBezTo>
                      <a:pt x="72845" y="146752"/>
                      <a:pt x="72905" y="146812"/>
                      <a:pt x="72845" y="146931"/>
                    </a:cubicBezTo>
                    <a:cubicBezTo>
                      <a:pt x="72845" y="146991"/>
                      <a:pt x="72725" y="147051"/>
                      <a:pt x="72666" y="147051"/>
                    </a:cubicBezTo>
                    <a:lnTo>
                      <a:pt x="20095" y="140233"/>
                    </a:lnTo>
                    <a:cubicBezTo>
                      <a:pt x="20035" y="140233"/>
                      <a:pt x="19976" y="140173"/>
                      <a:pt x="19976" y="140113"/>
                    </a:cubicBezTo>
                    <a:lnTo>
                      <a:pt x="0" y="92806"/>
                    </a:lnTo>
                    <a:cubicBezTo>
                      <a:pt x="0" y="92746"/>
                      <a:pt x="0" y="92686"/>
                      <a:pt x="0" y="92626"/>
                    </a:cubicBezTo>
                    <a:lnTo>
                      <a:pt x="16447" y="69660"/>
                    </a:lnTo>
                    <a:lnTo>
                      <a:pt x="5742" y="61168"/>
                    </a:lnTo>
                    <a:cubicBezTo>
                      <a:pt x="5682" y="61108"/>
                      <a:pt x="5682" y="61108"/>
                      <a:pt x="5682" y="61048"/>
                    </a:cubicBezTo>
                    <a:cubicBezTo>
                      <a:pt x="5682" y="60988"/>
                      <a:pt x="5742" y="60929"/>
                      <a:pt x="5742" y="60929"/>
                    </a:cubicBezTo>
                    <a:lnTo>
                      <a:pt x="38157" y="39398"/>
                    </a:lnTo>
                    <a:cubicBezTo>
                      <a:pt x="38157" y="39398"/>
                      <a:pt x="38217" y="39398"/>
                      <a:pt x="38217" y="39398"/>
                    </a:cubicBezTo>
                    <a:lnTo>
                      <a:pt x="46650" y="38860"/>
                    </a:lnTo>
                    <a:lnTo>
                      <a:pt x="51972" y="29350"/>
                    </a:lnTo>
                    <a:cubicBezTo>
                      <a:pt x="51972" y="29291"/>
                      <a:pt x="52032" y="29291"/>
                      <a:pt x="52092" y="29291"/>
                    </a:cubicBezTo>
                    <a:lnTo>
                      <a:pt x="64233" y="28274"/>
                    </a:lnTo>
                    <a:lnTo>
                      <a:pt x="73443" y="7341"/>
                    </a:lnTo>
                    <a:cubicBezTo>
                      <a:pt x="73503" y="7282"/>
                      <a:pt x="73503" y="7282"/>
                      <a:pt x="73563" y="7282"/>
                    </a:cubicBezTo>
                    <a:lnTo>
                      <a:pt x="86242" y="8418"/>
                    </a:lnTo>
                    <a:lnTo>
                      <a:pt x="102689" y="45"/>
                    </a:lnTo>
                    <a:cubicBezTo>
                      <a:pt x="102749" y="-15"/>
                      <a:pt x="102809" y="-15"/>
                      <a:pt x="102869" y="45"/>
                    </a:cubicBezTo>
                    <a:cubicBezTo>
                      <a:pt x="102928" y="-15"/>
                      <a:pt x="102928" y="45"/>
                      <a:pt x="102928" y="164"/>
                    </a:cubicBezTo>
                    <a:cubicBezTo>
                      <a:pt x="102928" y="105"/>
                      <a:pt x="102928" y="105"/>
                      <a:pt x="102928" y="164"/>
                    </a:cubicBezTo>
                    <a:close/>
                    <a:moveTo>
                      <a:pt x="61123" y="51838"/>
                    </a:moveTo>
                    <a:cubicBezTo>
                      <a:pt x="61063" y="51838"/>
                      <a:pt x="61003" y="51838"/>
                      <a:pt x="61003" y="51778"/>
                    </a:cubicBezTo>
                    <a:lnTo>
                      <a:pt x="51494" y="38860"/>
                    </a:lnTo>
                    <a:lnTo>
                      <a:pt x="46769" y="39159"/>
                    </a:lnTo>
                    <a:lnTo>
                      <a:pt x="43539" y="44960"/>
                    </a:lnTo>
                    <a:cubicBezTo>
                      <a:pt x="43539" y="45020"/>
                      <a:pt x="43480" y="45020"/>
                      <a:pt x="43420" y="45020"/>
                    </a:cubicBezTo>
                    <a:cubicBezTo>
                      <a:pt x="43360" y="45020"/>
                      <a:pt x="43300" y="45020"/>
                      <a:pt x="43300" y="44960"/>
                    </a:cubicBezTo>
                    <a:lnTo>
                      <a:pt x="38217" y="39757"/>
                    </a:lnTo>
                    <a:lnTo>
                      <a:pt x="16866" y="69601"/>
                    </a:lnTo>
                    <a:lnTo>
                      <a:pt x="30322" y="80246"/>
                    </a:lnTo>
                    <a:lnTo>
                      <a:pt x="52989" y="80785"/>
                    </a:lnTo>
                    <a:lnTo>
                      <a:pt x="61362" y="65833"/>
                    </a:lnTo>
                    <a:cubicBezTo>
                      <a:pt x="61362" y="65773"/>
                      <a:pt x="61422" y="65773"/>
                      <a:pt x="61482" y="65773"/>
                    </a:cubicBezTo>
                    <a:lnTo>
                      <a:pt x="89831" y="62603"/>
                    </a:lnTo>
                    <a:lnTo>
                      <a:pt x="80740" y="49685"/>
                    </a:lnTo>
                    <a:lnTo>
                      <a:pt x="61123" y="51838"/>
                    </a:lnTo>
                    <a:close/>
                    <a:moveTo>
                      <a:pt x="43300" y="44541"/>
                    </a:moveTo>
                    <a:lnTo>
                      <a:pt x="46351" y="39099"/>
                    </a:lnTo>
                    <a:lnTo>
                      <a:pt x="38516" y="39577"/>
                    </a:lnTo>
                    <a:lnTo>
                      <a:pt x="43300" y="44541"/>
                    </a:lnTo>
                    <a:close/>
                    <a:moveTo>
                      <a:pt x="16567" y="69361"/>
                    </a:moveTo>
                    <a:lnTo>
                      <a:pt x="37499" y="40116"/>
                    </a:lnTo>
                    <a:lnTo>
                      <a:pt x="6041" y="60988"/>
                    </a:lnTo>
                    <a:lnTo>
                      <a:pt x="16567" y="69361"/>
                    </a:lnTo>
                    <a:close/>
                  </a:path>
                </a:pathLst>
              </a:custGeom>
              <a:grpFill/>
              <a:ln w="6350" cap="flat">
                <a:solidFill>
                  <a:schemeClr val="bg1">
                    <a:alpha val="80000"/>
                  </a:schemeClr>
                </a:solidFill>
                <a:prstDash val="solid"/>
                <a:miter/>
              </a:ln>
            </p:spPr>
            <p:txBody>
              <a:bodyPr rtlCol="0" anchor="ctr"/>
              <a:lstStyle/>
              <a:p>
                <a:endParaRPr lang="en-GB"/>
              </a:p>
            </p:txBody>
          </p:sp>
          <p:sp>
            <p:nvSpPr>
              <p:cNvPr id="8909" name="Vrije vorm: vorm 8908">
                <a:extLst>
                  <a:ext uri="{FF2B5EF4-FFF2-40B4-BE49-F238E27FC236}">
                    <a16:creationId xmlns:a16="http://schemas.microsoft.com/office/drawing/2014/main" id="{EC88D29B-FE25-4395-ABEF-364FB9887EAC}"/>
                  </a:ext>
                </a:extLst>
              </p:cNvPr>
              <p:cNvSpPr/>
              <p:nvPr/>
            </p:nvSpPr>
            <p:spPr>
              <a:xfrm>
                <a:off x="4573597" y="2580004"/>
                <a:ext cx="42941" cy="8133"/>
              </a:xfrm>
              <a:custGeom>
                <a:avLst/>
                <a:gdLst>
                  <a:gd name="connsiteX0" fmla="*/ 42942 w 42941"/>
                  <a:gd name="connsiteY0" fmla="*/ 179 h 8133"/>
                  <a:gd name="connsiteX1" fmla="*/ 42942 w 42941"/>
                  <a:gd name="connsiteY1" fmla="*/ 179 h 8133"/>
                  <a:gd name="connsiteX2" fmla="*/ 42762 w 42941"/>
                  <a:gd name="connsiteY2" fmla="*/ 0 h 8133"/>
                  <a:gd name="connsiteX3" fmla="*/ 119 w 42941"/>
                  <a:gd name="connsiteY3" fmla="*/ 4964 h 8133"/>
                  <a:gd name="connsiteX4" fmla="*/ 0 w 42941"/>
                  <a:gd name="connsiteY4" fmla="*/ 5144 h 8133"/>
                  <a:gd name="connsiteX5" fmla="*/ 179 w 42941"/>
                  <a:gd name="connsiteY5" fmla="*/ 5263 h 8133"/>
                  <a:gd name="connsiteX6" fmla="*/ 40130 w 42941"/>
                  <a:gd name="connsiteY6" fmla="*/ 598 h 8133"/>
                  <a:gd name="connsiteX7" fmla="*/ 9868 w 42941"/>
                  <a:gd name="connsiteY7" fmla="*/ 7835 h 8133"/>
                  <a:gd name="connsiteX8" fmla="*/ 9749 w 42941"/>
                  <a:gd name="connsiteY8" fmla="*/ 8014 h 8133"/>
                  <a:gd name="connsiteX9" fmla="*/ 9928 w 42941"/>
                  <a:gd name="connsiteY9" fmla="*/ 8134 h 8133"/>
                  <a:gd name="connsiteX10" fmla="*/ 42822 w 42941"/>
                  <a:gd name="connsiteY10" fmla="*/ 239 h 8133"/>
                  <a:gd name="connsiteX11" fmla="*/ 42942 w 42941"/>
                  <a:gd name="connsiteY11" fmla="*/ 179 h 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941" h="8133">
                    <a:moveTo>
                      <a:pt x="42942" y="179"/>
                    </a:moveTo>
                    <a:cubicBezTo>
                      <a:pt x="42942" y="179"/>
                      <a:pt x="42942" y="120"/>
                      <a:pt x="42942" y="179"/>
                    </a:cubicBezTo>
                    <a:cubicBezTo>
                      <a:pt x="42942" y="60"/>
                      <a:pt x="42822" y="0"/>
                      <a:pt x="42762" y="0"/>
                    </a:cubicBezTo>
                    <a:lnTo>
                      <a:pt x="119" y="4964"/>
                    </a:lnTo>
                    <a:cubicBezTo>
                      <a:pt x="60" y="4964"/>
                      <a:pt x="0" y="5084"/>
                      <a:pt x="0" y="5144"/>
                    </a:cubicBezTo>
                    <a:cubicBezTo>
                      <a:pt x="0" y="5203"/>
                      <a:pt x="119" y="5323"/>
                      <a:pt x="179" y="5263"/>
                    </a:cubicBezTo>
                    <a:lnTo>
                      <a:pt x="40130" y="598"/>
                    </a:lnTo>
                    <a:lnTo>
                      <a:pt x="9868" y="7835"/>
                    </a:lnTo>
                    <a:cubicBezTo>
                      <a:pt x="9808" y="7835"/>
                      <a:pt x="9749" y="7954"/>
                      <a:pt x="9749" y="8014"/>
                    </a:cubicBezTo>
                    <a:cubicBezTo>
                      <a:pt x="9749" y="8074"/>
                      <a:pt x="9868" y="8134"/>
                      <a:pt x="9928" y="8134"/>
                    </a:cubicBezTo>
                    <a:lnTo>
                      <a:pt x="42822" y="239"/>
                    </a:lnTo>
                    <a:cubicBezTo>
                      <a:pt x="42882" y="299"/>
                      <a:pt x="42942" y="239"/>
                      <a:pt x="42942" y="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10" name="Vrije vorm: vorm 8909">
                <a:extLst>
                  <a:ext uri="{FF2B5EF4-FFF2-40B4-BE49-F238E27FC236}">
                    <a16:creationId xmlns:a16="http://schemas.microsoft.com/office/drawing/2014/main" id="{2C515682-BC77-41E4-8347-7426462448B7}"/>
                  </a:ext>
                </a:extLst>
              </p:cNvPr>
              <p:cNvSpPr/>
              <p:nvPr/>
            </p:nvSpPr>
            <p:spPr>
              <a:xfrm>
                <a:off x="4559064" y="2578568"/>
                <a:ext cx="37857" cy="5263"/>
              </a:xfrm>
              <a:custGeom>
                <a:avLst/>
                <a:gdLst>
                  <a:gd name="connsiteX0" fmla="*/ 37858 w 37857"/>
                  <a:gd name="connsiteY0" fmla="*/ 179 h 5263"/>
                  <a:gd name="connsiteX1" fmla="*/ 37858 w 37857"/>
                  <a:gd name="connsiteY1" fmla="*/ 179 h 5263"/>
                  <a:gd name="connsiteX2" fmla="*/ 37678 w 37857"/>
                  <a:gd name="connsiteY2" fmla="*/ 0 h 5263"/>
                  <a:gd name="connsiteX3" fmla="*/ 119 w 37857"/>
                  <a:gd name="connsiteY3" fmla="*/ 4964 h 5263"/>
                  <a:gd name="connsiteX4" fmla="*/ 0 w 37857"/>
                  <a:gd name="connsiteY4" fmla="*/ 5143 h 5263"/>
                  <a:gd name="connsiteX5" fmla="*/ 179 w 37857"/>
                  <a:gd name="connsiteY5" fmla="*/ 5263 h 5263"/>
                  <a:gd name="connsiteX6" fmla="*/ 37738 w 37857"/>
                  <a:gd name="connsiteY6" fmla="*/ 299 h 5263"/>
                  <a:gd name="connsiteX7" fmla="*/ 37858 w 37857"/>
                  <a:gd name="connsiteY7" fmla="*/ 179 h 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57" h="5263">
                    <a:moveTo>
                      <a:pt x="37858" y="179"/>
                    </a:moveTo>
                    <a:cubicBezTo>
                      <a:pt x="37858" y="120"/>
                      <a:pt x="37858" y="120"/>
                      <a:pt x="37858" y="179"/>
                    </a:cubicBezTo>
                    <a:cubicBezTo>
                      <a:pt x="37858" y="60"/>
                      <a:pt x="37738" y="0"/>
                      <a:pt x="37678" y="0"/>
                    </a:cubicBezTo>
                    <a:lnTo>
                      <a:pt x="119" y="4964"/>
                    </a:lnTo>
                    <a:cubicBezTo>
                      <a:pt x="60" y="4964"/>
                      <a:pt x="0" y="5024"/>
                      <a:pt x="0" y="5143"/>
                    </a:cubicBezTo>
                    <a:cubicBezTo>
                      <a:pt x="0" y="5203"/>
                      <a:pt x="119" y="5263"/>
                      <a:pt x="179" y="5263"/>
                    </a:cubicBezTo>
                    <a:lnTo>
                      <a:pt x="37738" y="299"/>
                    </a:lnTo>
                    <a:cubicBezTo>
                      <a:pt x="37798" y="299"/>
                      <a:pt x="37858" y="239"/>
                      <a:pt x="37858" y="179"/>
                    </a:cubicBez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8443" name="Graphic 3">
              <a:extLst>
                <a:ext uri="{FF2B5EF4-FFF2-40B4-BE49-F238E27FC236}">
                  <a16:creationId xmlns:a16="http://schemas.microsoft.com/office/drawing/2014/main" id="{D24671D2-2C50-438A-917D-49E5266123A0}"/>
                </a:ext>
              </a:extLst>
            </p:cNvPr>
            <p:cNvGrpSpPr/>
            <p:nvPr/>
          </p:nvGrpSpPr>
          <p:grpSpPr>
            <a:xfrm>
              <a:off x="4010777" y="3115333"/>
              <a:ext cx="598248" cy="245155"/>
              <a:chOff x="4010777" y="3115333"/>
              <a:chExt cx="598248" cy="245155"/>
            </a:xfrm>
            <a:noFill/>
          </p:grpSpPr>
          <p:sp>
            <p:nvSpPr>
              <p:cNvPr id="8527" name="Vrije vorm: vorm 8526">
                <a:extLst>
                  <a:ext uri="{FF2B5EF4-FFF2-40B4-BE49-F238E27FC236}">
                    <a16:creationId xmlns:a16="http://schemas.microsoft.com/office/drawing/2014/main" id="{7D975501-D524-41FD-94AB-298DD0E8C575}"/>
                  </a:ext>
                </a:extLst>
              </p:cNvPr>
              <p:cNvSpPr/>
              <p:nvPr/>
            </p:nvSpPr>
            <p:spPr>
              <a:xfrm>
                <a:off x="4010777" y="3311567"/>
                <a:ext cx="55533" cy="28541"/>
              </a:xfrm>
              <a:custGeom>
                <a:avLst/>
                <a:gdLst>
                  <a:gd name="connsiteX0" fmla="*/ 7510 w 55533"/>
                  <a:gd name="connsiteY0" fmla="*/ 26613 h 28541"/>
                  <a:gd name="connsiteX1" fmla="*/ 11278 w 55533"/>
                  <a:gd name="connsiteY1" fmla="*/ 27809 h 28541"/>
                  <a:gd name="connsiteX2" fmla="*/ 44710 w 55533"/>
                  <a:gd name="connsiteY2" fmla="*/ 26434 h 28541"/>
                  <a:gd name="connsiteX3" fmla="*/ 55296 w 55533"/>
                  <a:gd name="connsiteY3" fmla="*/ 10824 h 28541"/>
                  <a:gd name="connsiteX4" fmla="*/ 39686 w 55533"/>
                  <a:gd name="connsiteY4" fmla="*/ 238 h 28541"/>
                  <a:gd name="connsiteX5" fmla="*/ 15344 w 55533"/>
                  <a:gd name="connsiteY5" fmla="*/ 1494 h 28541"/>
                  <a:gd name="connsiteX6" fmla="*/ 154 w 55533"/>
                  <a:gd name="connsiteY6" fmla="*/ 12618 h 28541"/>
                  <a:gd name="connsiteX7" fmla="*/ 7510 w 55533"/>
                  <a:gd name="connsiteY7" fmla="*/ 26613 h 2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33" h="28541">
                    <a:moveTo>
                      <a:pt x="7510" y="26613"/>
                    </a:moveTo>
                    <a:cubicBezTo>
                      <a:pt x="8706" y="27211"/>
                      <a:pt x="9962" y="27570"/>
                      <a:pt x="11278" y="27809"/>
                    </a:cubicBezTo>
                    <a:cubicBezTo>
                      <a:pt x="12773" y="28048"/>
                      <a:pt x="26170" y="29962"/>
                      <a:pt x="44710" y="26434"/>
                    </a:cubicBezTo>
                    <a:cubicBezTo>
                      <a:pt x="51946" y="25058"/>
                      <a:pt x="56671" y="18061"/>
                      <a:pt x="55296" y="10824"/>
                    </a:cubicBezTo>
                    <a:cubicBezTo>
                      <a:pt x="53920" y="3587"/>
                      <a:pt x="46923" y="-1138"/>
                      <a:pt x="39686" y="238"/>
                    </a:cubicBezTo>
                    <a:cubicBezTo>
                      <a:pt x="25691" y="2929"/>
                      <a:pt x="15464" y="1494"/>
                      <a:pt x="15344" y="1494"/>
                    </a:cubicBezTo>
                    <a:cubicBezTo>
                      <a:pt x="8048" y="358"/>
                      <a:pt x="1290" y="5322"/>
                      <a:pt x="154" y="12618"/>
                    </a:cubicBezTo>
                    <a:cubicBezTo>
                      <a:pt x="-744" y="18479"/>
                      <a:pt x="2366" y="24101"/>
                      <a:pt x="7510" y="26613"/>
                    </a:cubicBezTo>
                    <a:close/>
                  </a:path>
                </a:pathLst>
              </a:custGeom>
              <a:grpFill/>
              <a:ln w="6350" cap="flat">
                <a:solidFill>
                  <a:schemeClr val="bg1">
                    <a:alpha val="80000"/>
                  </a:schemeClr>
                </a:solidFill>
                <a:custDash>
                  <a:ds d="177578" sp="177578"/>
                </a:custDash>
                <a:miter/>
              </a:ln>
            </p:spPr>
            <p:txBody>
              <a:bodyPr rtlCol="0" anchor="ctr"/>
              <a:lstStyle/>
              <a:p>
                <a:endParaRPr lang="en-GB"/>
              </a:p>
            </p:txBody>
          </p:sp>
          <p:grpSp>
            <p:nvGrpSpPr>
              <p:cNvPr id="8528" name="Graphic 3">
                <a:extLst>
                  <a:ext uri="{FF2B5EF4-FFF2-40B4-BE49-F238E27FC236}">
                    <a16:creationId xmlns:a16="http://schemas.microsoft.com/office/drawing/2014/main" id="{BDCE297C-EF60-4E92-81A8-121304EDCDB3}"/>
                  </a:ext>
                </a:extLst>
              </p:cNvPr>
              <p:cNvGrpSpPr/>
              <p:nvPr/>
            </p:nvGrpSpPr>
            <p:grpSpPr>
              <a:xfrm>
                <a:off x="4541780" y="3233577"/>
                <a:ext cx="48291" cy="47746"/>
                <a:chOff x="4541780" y="3233577"/>
                <a:chExt cx="48291" cy="47746"/>
              </a:xfrm>
              <a:grpFill/>
            </p:grpSpPr>
            <p:sp>
              <p:nvSpPr>
                <p:cNvPr id="8585" name="Vrije vorm: vorm 8584">
                  <a:extLst>
                    <a:ext uri="{FF2B5EF4-FFF2-40B4-BE49-F238E27FC236}">
                      <a16:creationId xmlns:a16="http://schemas.microsoft.com/office/drawing/2014/main" id="{BB2B96A2-29D3-48F5-B599-F2DD2327B410}"/>
                    </a:ext>
                  </a:extLst>
                </p:cNvPr>
                <p:cNvSpPr/>
                <p:nvPr/>
              </p:nvSpPr>
              <p:spPr>
                <a:xfrm>
                  <a:off x="4567975" y="3233577"/>
                  <a:ext cx="8013" cy="9868"/>
                </a:xfrm>
                <a:custGeom>
                  <a:avLst/>
                  <a:gdLst>
                    <a:gd name="connsiteX0" fmla="*/ 8014 w 8013"/>
                    <a:gd name="connsiteY0" fmla="*/ 1256 h 9868"/>
                    <a:gd name="connsiteX1" fmla="*/ 778 w 8013"/>
                    <a:gd name="connsiteY1" fmla="*/ 0 h 9868"/>
                    <a:gd name="connsiteX2" fmla="*/ 60 w 8013"/>
                    <a:gd name="connsiteY2" fmla="*/ 3947 h 9868"/>
                    <a:gd name="connsiteX3" fmla="*/ 5382 w 8013"/>
                    <a:gd name="connsiteY3" fmla="*/ 4904 h 9868"/>
                    <a:gd name="connsiteX4" fmla="*/ 0 w 8013"/>
                    <a:gd name="connsiteY4" fmla="*/ 9868 h 9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13" h="9868">
                      <a:moveTo>
                        <a:pt x="8014" y="1256"/>
                      </a:moveTo>
                      <a:lnTo>
                        <a:pt x="778" y="0"/>
                      </a:lnTo>
                      <a:lnTo>
                        <a:pt x="60" y="3947"/>
                      </a:lnTo>
                      <a:lnTo>
                        <a:pt x="5382" y="4904"/>
                      </a:lnTo>
                      <a:cubicBezTo>
                        <a:pt x="4007" y="6160"/>
                        <a:pt x="2153" y="7895"/>
                        <a:pt x="0" y="9868"/>
                      </a:cubicBezTo>
                    </a:path>
                  </a:pathLst>
                </a:custGeom>
                <a:grpFill/>
                <a:ln w="6350" cap="flat">
                  <a:solidFill>
                    <a:schemeClr val="bg1">
                      <a:alpha val="80000"/>
                    </a:schemeClr>
                  </a:solidFill>
                  <a:prstDash val="solid"/>
                  <a:miter/>
                </a:ln>
              </p:spPr>
              <p:txBody>
                <a:bodyPr rtlCol="0" anchor="ctr"/>
                <a:lstStyle/>
                <a:p>
                  <a:endParaRPr lang="en-GB"/>
                </a:p>
              </p:txBody>
            </p:sp>
            <p:sp>
              <p:nvSpPr>
                <p:cNvPr id="8586" name="Vrije vorm: vorm 8585">
                  <a:extLst>
                    <a:ext uri="{FF2B5EF4-FFF2-40B4-BE49-F238E27FC236}">
                      <a16:creationId xmlns:a16="http://schemas.microsoft.com/office/drawing/2014/main" id="{F4834F0D-775D-42B2-A085-FF7644D263F0}"/>
                    </a:ext>
                  </a:extLst>
                </p:cNvPr>
                <p:cNvSpPr/>
                <p:nvPr/>
              </p:nvSpPr>
              <p:spPr>
                <a:xfrm>
                  <a:off x="4547760" y="3251399"/>
                  <a:ext cx="11721" cy="12858"/>
                </a:xfrm>
                <a:custGeom>
                  <a:avLst/>
                  <a:gdLst>
                    <a:gd name="connsiteX0" fmla="*/ 11722 w 11721"/>
                    <a:gd name="connsiteY0" fmla="*/ 0 h 12858"/>
                    <a:gd name="connsiteX1" fmla="*/ 4366 w 11721"/>
                    <a:gd name="connsiteY1" fmla="*/ 6878 h 12858"/>
                    <a:gd name="connsiteX2" fmla="*/ 0 w 11721"/>
                    <a:gd name="connsiteY2" fmla="*/ 12859 h 12858"/>
                  </a:gdLst>
                  <a:ahLst/>
                  <a:cxnLst>
                    <a:cxn ang="0">
                      <a:pos x="connsiteX0" y="connsiteY0"/>
                    </a:cxn>
                    <a:cxn ang="0">
                      <a:pos x="connsiteX1" y="connsiteY1"/>
                    </a:cxn>
                    <a:cxn ang="0">
                      <a:pos x="connsiteX2" y="connsiteY2"/>
                    </a:cxn>
                  </a:cxnLst>
                  <a:rect l="l" t="t" r="r" b="b"/>
                  <a:pathLst>
                    <a:path w="11721" h="12858">
                      <a:moveTo>
                        <a:pt x="11722" y="0"/>
                      </a:moveTo>
                      <a:cubicBezTo>
                        <a:pt x="8373" y="3170"/>
                        <a:pt x="5442" y="5861"/>
                        <a:pt x="4366" y="6878"/>
                      </a:cubicBezTo>
                      <a:cubicBezTo>
                        <a:pt x="2392" y="8792"/>
                        <a:pt x="957" y="10825"/>
                        <a:pt x="0" y="12859"/>
                      </a:cubicBezTo>
                    </a:path>
                  </a:pathLst>
                </a:custGeom>
                <a:grpFill/>
                <a:ln w="6350" cap="flat">
                  <a:solidFill>
                    <a:schemeClr val="bg1">
                      <a:alpha val="80000"/>
                    </a:schemeClr>
                  </a:solidFill>
                  <a:custDash>
                    <a:ds d="146362" sp="146362"/>
                  </a:custDash>
                  <a:miter/>
                </a:ln>
              </p:spPr>
              <p:txBody>
                <a:bodyPr rtlCol="0" anchor="ctr"/>
                <a:lstStyle/>
                <a:p>
                  <a:endParaRPr lang="en-GB"/>
                </a:p>
              </p:txBody>
            </p:sp>
            <p:sp>
              <p:nvSpPr>
                <p:cNvPr id="8587" name="Vrije vorm: vorm 8586">
                  <a:extLst>
                    <a:ext uri="{FF2B5EF4-FFF2-40B4-BE49-F238E27FC236}">
                      <a16:creationId xmlns:a16="http://schemas.microsoft.com/office/drawing/2014/main" id="{92159A33-0023-4212-B257-6536FF2F95E0}"/>
                    </a:ext>
                  </a:extLst>
                </p:cNvPr>
                <p:cNvSpPr/>
                <p:nvPr/>
              </p:nvSpPr>
              <p:spPr>
                <a:xfrm>
                  <a:off x="4541780" y="3269820"/>
                  <a:ext cx="18420" cy="11503"/>
                </a:xfrm>
                <a:custGeom>
                  <a:avLst/>
                  <a:gdLst>
                    <a:gd name="connsiteX0" fmla="*/ 4486 w 18420"/>
                    <a:gd name="connsiteY0" fmla="*/ 0 h 11503"/>
                    <a:gd name="connsiteX1" fmla="*/ 5861 w 18420"/>
                    <a:gd name="connsiteY1" fmla="*/ 7117 h 11503"/>
                    <a:gd name="connsiteX2" fmla="*/ 0 w 18420"/>
                    <a:gd name="connsiteY2" fmla="*/ 6100 h 11503"/>
                    <a:gd name="connsiteX3" fmla="*/ 897 w 18420"/>
                    <a:gd name="connsiteY3" fmla="*/ 9510 h 11503"/>
                    <a:gd name="connsiteX4" fmla="*/ 11423 w 18420"/>
                    <a:gd name="connsiteY4" fmla="*/ 11364 h 11503"/>
                    <a:gd name="connsiteX5" fmla="*/ 11423 w 18420"/>
                    <a:gd name="connsiteY5" fmla="*/ 11364 h 11503"/>
                    <a:gd name="connsiteX6" fmla="*/ 15191 w 18420"/>
                    <a:gd name="connsiteY6" fmla="*/ 11124 h 11503"/>
                    <a:gd name="connsiteX7" fmla="*/ 18421 w 18420"/>
                    <a:gd name="connsiteY7" fmla="*/ 9689 h 1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20" h="11503">
                      <a:moveTo>
                        <a:pt x="4486" y="0"/>
                      </a:moveTo>
                      <a:cubicBezTo>
                        <a:pt x="4246" y="2691"/>
                        <a:pt x="4785" y="5144"/>
                        <a:pt x="5861" y="7117"/>
                      </a:cubicBezTo>
                      <a:lnTo>
                        <a:pt x="0" y="6100"/>
                      </a:lnTo>
                      <a:lnTo>
                        <a:pt x="897" y="9510"/>
                      </a:lnTo>
                      <a:lnTo>
                        <a:pt x="11423" y="11364"/>
                      </a:lnTo>
                      <a:lnTo>
                        <a:pt x="11423" y="11364"/>
                      </a:lnTo>
                      <a:cubicBezTo>
                        <a:pt x="12619" y="11603"/>
                        <a:pt x="13875" y="11543"/>
                        <a:pt x="15191" y="11124"/>
                      </a:cubicBezTo>
                      <a:lnTo>
                        <a:pt x="18421" y="9689"/>
                      </a:lnTo>
                    </a:path>
                  </a:pathLst>
                </a:custGeom>
                <a:grpFill/>
                <a:ln w="6350" cap="flat">
                  <a:solidFill>
                    <a:schemeClr val="bg1">
                      <a:alpha val="80000"/>
                    </a:schemeClr>
                  </a:solidFill>
                  <a:prstDash val="solid"/>
                  <a:miter/>
                </a:ln>
              </p:spPr>
              <p:txBody>
                <a:bodyPr rtlCol="0" anchor="ctr"/>
                <a:lstStyle/>
                <a:p>
                  <a:endParaRPr lang="en-GB"/>
                </a:p>
              </p:txBody>
            </p:sp>
            <p:sp>
              <p:nvSpPr>
                <p:cNvPr id="8588" name="Vrije vorm: vorm 8587">
                  <a:extLst>
                    <a:ext uri="{FF2B5EF4-FFF2-40B4-BE49-F238E27FC236}">
                      <a16:creationId xmlns:a16="http://schemas.microsoft.com/office/drawing/2014/main" id="{1A6BAE89-5DC0-48EE-8694-D46A45B1CC2E}"/>
                    </a:ext>
                  </a:extLst>
                </p:cNvPr>
                <p:cNvSpPr/>
                <p:nvPr/>
              </p:nvSpPr>
              <p:spPr>
                <a:xfrm>
                  <a:off x="4572760" y="3236508"/>
                  <a:ext cx="17311" cy="37200"/>
                </a:xfrm>
                <a:custGeom>
                  <a:avLst/>
                  <a:gdLst>
                    <a:gd name="connsiteX0" fmla="*/ 0 w 17311"/>
                    <a:gd name="connsiteY0" fmla="*/ 37200 h 37200"/>
                    <a:gd name="connsiteX1" fmla="*/ 9928 w 17311"/>
                    <a:gd name="connsiteY1" fmla="*/ 32655 h 37200"/>
                    <a:gd name="connsiteX2" fmla="*/ 16746 w 17311"/>
                    <a:gd name="connsiteY2" fmla="*/ 11842 h 37200"/>
                    <a:gd name="connsiteX3" fmla="*/ 9868 w 17311"/>
                    <a:gd name="connsiteY3" fmla="*/ 0 h 37200"/>
                  </a:gdLst>
                  <a:ahLst/>
                  <a:cxnLst>
                    <a:cxn ang="0">
                      <a:pos x="connsiteX0" y="connsiteY0"/>
                    </a:cxn>
                    <a:cxn ang="0">
                      <a:pos x="connsiteX1" y="connsiteY1"/>
                    </a:cxn>
                    <a:cxn ang="0">
                      <a:pos x="connsiteX2" y="connsiteY2"/>
                    </a:cxn>
                    <a:cxn ang="0">
                      <a:pos x="connsiteX3" y="connsiteY3"/>
                    </a:cxn>
                  </a:cxnLst>
                  <a:rect l="l" t="t" r="r" b="b"/>
                  <a:pathLst>
                    <a:path w="17311" h="37200">
                      <a:moveTo>
                        <a:pt x="0" y="37200"/>
                      </a:moveTo>
                      <a:lnTo>
                        <a:pt x="9928" y="32655"/>
                      </a:lnTo>
                      <a:cubicBezTo>
                        <a:pt x="15550" y="31040"/>
                        <a:pt x="18660" y="21471"/>
                        <a:pt x="16746" y="11842"/>
                      </a:cubicBezTo>
                      <a:cubicBezTo>
                        <a:pt x="15610" y="6160"/>
                        <a:pt x="12978" y="1914"/>
                        <a:pt x="9868" y="0"/>
                      </a:cubicBezTo>
                    </a:path>
                  </a:pathLst>
                </a:custGeom>
                <a:grpFill/>
                <a:ln w="6350" cap="flat">
                  <a:solidFill>
                    <a:schemeClr val="bg1">
                      <a:alpha val="80000"/>
                    </a:schemeClr>
                  </a:solidFill>
                  <a:custDash>
                    <a:ds d="173925" sp="173925"/>
                  </a:custDash>
                  <a:miter/>
                </a:ln>
              </p:spPr>
              <p:txBody>
                <a:bodyPr rtlCol="0" anchor="ctr"/>
                <a:lstStyle/>
                <a:p>
                  <a:endParaRPr lang="en-GB"/>
                </a:p>
              </p:txBody>
            </p:sp>
          </p:grpSp>
          <p:grpSp>
            <p:nvGrpSpPr>
              <p:cNvPr id="8529" name="Graphic 3">
                <a:extLst>
                  <a:ext uri="{FF2B5EF4-FFF2-40B4-BE49-F238E27FC236}">
                    <a16:creationId xmlns:a16="http://schemas.microsoft.com/office/drawing/2014/main" id="{C26FDE39-0671-442E-BBE5-57E81C155769}"/>
                  </a:ext>
                </a:extLst>
              </p:cNvPr>
              <p:cNvGrpSpPr/>
              <p:nvPr/>
            </p:nvGrpSpPr>
            <p:grpSpPr>
              <a:xfrm>
                <a:off x="4533472" y="3231984"/>
                <a:ext cx="46133" cy="47225"/>
                <a:chOff x="4533472" y="3231984"/>
                <a:chExt cx="46133" cy="47225"/>
              </a:xfrm>
              <a:grpFill/>
            </p:grpSpPr>
            <p:sp>
              <p:nvSpPr>
                <p:cNvPr id="8583" name="Vrije vorm: vorm 8582">
                  <a:extLst>
                    <a:ext uri="{FF2B5EF4-FFF2-40B4-BE49-F238E27FC236}">
                      <a16:creationId xmlns:a16="http://schemas.microsoft.com/office/drawing/2014/main" id="{CF5F2E80-351F-4EFA-B8F5-63751F7AB62A}"/>
                    </a:ext>
                  </a:extLst>
                </p:cNvPr>
                <p:cNvSpPr/>
                <p:nvPr/>
              </p:nvSpPr>
              <p:spPr>
                <a:xfrm>
                  <a:off x="4533472" y="3257918"/>
                  <a:ext cx="2267" cy="14234"/>
                </a:xfrm>
                <a:custGeom>
                  <a:avLst/>
                  <a:gdLst>
                    <a:gd name="connsiteX0" fmla="*/ 2267 w 2267"/>
                    <a:gd name="connsiteY0" fmla="*/ 0 h 14234"/>
                    <a:gd name="connsiteX1" fmla="*/ 1071 w 2267"/>
                    <a:gd name="connsiteY1" fmla="*/ 3947 h 14234"/>
                    <a:gd name="connsiteX2" fmla="*/ 234 w 2267"/>
                    <a:gd name="connsiteY2" fmla="*/ 6878 h 14234"/>
                    <a:gd name="connsiteX3" fmla="*/ 174 w 2267"/>
                    <a:gd name="connsiteY3" fmla="*/ 6998 h 14234"/>
                    <a:gd name="connsiteX4" fmla="*/ 174 w 2267"/>
                    <a:gd name="connsiteY4" fmla="*/ 6998 h 14234"/>
                    <a:gd name="connsiteX5" fmla="*/ 1011 w 2267"/>
                    <a:gd name="connsiteY5" fmla="*/ 14234 h 1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7" h="14234">
                      <a:moveTo>
                        <a:pt x="2267" y="0"/>
                      </a:moveTo>
                      <a:cubicBezTo>
                        <a:pt x="1789" y="1495"/>
                        <a:pt x="1430" y="2871"/>
                        <a:pt x="1071" y="3947"/>
                      </a:cubicBezTo>
                      <a:cubicBezTo>
                        <a:pt x="712" y="4904"/>
                        <a:pt x="413" y="5921"/>
                        <a:pt x="234" y="6878"/>
                      </a:cubicBezTo>
                      <a:cubicBezTo>
                        <a:pt x="234" y="6938"/>
                        <a:pt x="174" y="6998"/>
                        <a:pt x="174" y="6998"/>
                      </a:cubicBezTo>
                      <a:cubicBezTo>
                        <a:pt x="174" y="6998"/>
                        <a:pt x="174" y="6998"/>
                        <a:pt x="174" y="6998"/>
                      </a:cubicBezTo>
                      <a:cubicBezTo>
                        <a:pt x="-245" y="9569"/>
                        <a:pt x="114" y="12021"/>
                        <a:pt x="1011" y="14234"/>
                      </a:cubicBezTo>
                    </a:path>
                  </a:pathLst>
                </a:custGeom>
                <a:grpFill/>
                <a:ln w="6350" cap="flat">
                  <a:solidFill>
                    <a:schemeClr val="bg1">
                      <a:alpha val="80000"/>
                    </a:schemeClr>
                  </a:solidFill>
                  <a:prstDash val="solid"/>
                  <a:miter/>
                </a:ln>
              </p:spPr>
              <p:txBody>
                <a:bodyPr rtlCol="0" anchor="ctr"/>
                <a:lstStyle/>
                <a:p>
                  <a:endParaRPr lang="en-GB"/>
                </a:p>
              </p:txBody>
            </p:sp>
            <p:sp>
              <p:nvSpPr>
                <p:cNvPr id="8584" name="Vrije vorm: vorm 8583">
                  <a:extLst>
                    <a:ext uri="{FF2B5EF4-FFF2-40B4-BE49-F238E27FC236}">
                      <a16:creationId xmlns:a16="http://schemas.microsoft.com/office/drawing/2014/main" id="{D010D43A-4AB7-4426-9C2D-4328CF751777}"/>
                    </a:ext>
                  </a:extLst>
                </p:cNvPr>
                <p:cNvSpPr/>
                <p:nvPr/>
              </p:nvSpPr>
              <p:spPr>
                <a:xfrm>
                  <a:off x="4538132" y="3231984"/>
                  <a:ext cx="41473" cy="47225"/>
                </a:xfrm>
                <a:custGeom>
                  <a:avLst/>
                  <a:gdLst>
                    <a:gd name="connsiteX0" fmla="*/ 8014 w 41473"/>
                    <a:gd name="connsiteY0" fmla="*/ 47226 h 47225"/>
                    <a:gd name="connsiteX1" fmla="*/ 8313 w 41473"/>
                    <a:gd name="connsiteY1" fmla="*/ 47166 h 47225"/>
                    <a:gd name="connsiteX2" fmla="*/ 34090 w 41473"/>
                    <a:gd name="connsiteY2" fmla="*/ 35444 h 47225"/>
                    <a:gd name="connsiteX3" fmla="*/ 40908 w 41473"/>
                    <a:gd name="connsiteY3" fmla="*/ 14631 h 47225"/>
                    <a:gd name="connsiteX4" fmla="*/ 30741 w 41473"/>
                    <a:gd name="connsiteY4" fmla="*/ 1653 h 47225"/>
                    <a:gd name="connsiteX5" fmla="*/ 30681 w 41473"/>
                    <a:gd name="connsiteY5" fmla="*/ 1653 h 47225"/>
                    <a:gd name="connsiteX6" fmla="*/ 8732 w 41473"/>
                    <a:gd name="connsiteY6" fmla="*/ 2909 h 47225"/>
                    <a:gd name="connsiteX7" fmla="*/ 0 w 41473"/>
                    <a:gd name="connsiteY7" fmla="*/ 18937 h 4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73" h="47225">
                      <a:moveTo>
                        <a:pt x="8014" y="47226"/>
                      </a:moveTo>
                      <a:cubicBezTo>
                        <a:pt x="8134" y="47226"/>
                        <a:pt x="8253" y="47166"/>
                        <a:pt x="8313" y="47166"/>
                      </a:cubicBezTo>
                      <a:lnTo>
                        <a:pt x="34090" y="35444"/>
                      </a:lnTo>
                      <a:cubicBezTo>
                        <a:pt x="39712" y="33829"/>
                        <a:pt x="42822" y="24260"/>
                        <a:pt x="40908" y="14631"/>
                      </a:cubicBezTo>
                      <a:cubicBezTo>
                        <a:pt x="39353" y="6976"/>
                        <a:pt x="35107" y="1892"/>
                        <a:pt x="30741" y="1653"/>
                      </a:cubicBezTo>
                      <a:cubicBezTo>
                        <a:pt x="30681" y="1653"/>
                        <a:pt x="30681" y="1653"/>
                        <a:pt x="30681" y="1653"/>
                      </a:cubicBezTo>
                      <a:cubicBezTo>
                        <a:pt x="14832" y="-859"/>
                        <a:pt x="13636" y="-560"/>
                        <a:pt x="8732" y="2909"/>
                      </a:cubicBezTo>
                      <a:cubicBezTo>
                        <a:pt x="5562" y="5122"/>
                        <a:pt x="2392" y="12179"/>
                        <a:pt x="0" y="18937"/>
                      </a:cubicBezTo>
                    </a:path>
                  </a:pathLst>
                </a:custGeom>
                <a:grpFill/>
                <a:ln w="6350" cap="flat">
                  <a:solidFill>
                    <a:schemeClr val="bg1">
                      <a:alpha val="80000"/>
                    </a:schemeClr>
                  </a:solidFill>
                  <a:custDash>
                    <a:ds d="185677" sp="185677"/>
                  </a:custDash>
                  <a:miter/>
                </a:ln>
              </p:spPr>
              <p:txBody>
                <a:bodyPr rtlCol="0" anchor="ctr"/>
                <a:lstStyle/>
                <a:p>
                  <a:endParaRPr lang="en-GB"/>
                </a:p>
              </p:txBody>
            </p:sp>
          </p:grpSp>
          <p:sp>
            <p:nvSpPr>
              <p:cNvPr id="8530" name="Vrije vorm: vorm 8529">
                <a:extLst>
                  <a:ext uri="{FF2B5EF4-FFF2-40B4-BE49-F238E27FC236}">
                    <a16:creationId xmlns:a16="http://schemas.microsoft.com/office/drawing/2014/main" id="{F27C2BB1-F6BC-4F50-BF88-8EC1E7CF9248}"/>
                  </a:ext>
                </a:extLst>
              </p:cNvPr>
              <p:cNvSpPr/>
              <p:nvPr/>
            </p:nvSpPr>
            <p:spPr>
              <a:xfrm>
                <a:off x="4542236" y="3234354"/>
                <a:ext cx="21355" cy="29910"/>
              </a:xfrm>
              <a:custGeom>
                <a:avLst/>
                <a:gdLst>
                  <a:gd name="connsiteX0" fmla="*/ 11745 w 21355"/>
                  <a:gd name="connsiteY0" fmla="*/ 29067 h 29910"/>
                  <a:gd name="connsiteX1" fmla="*/ 9592 w 21355"/>
                  <a:gd name="connsiteY1" fmla="*/ 598 h 29910"/>
                  <a:gd name="connsiteX2" fmla="*/ 11745 w 21355"/>
                  <a:gd name="connsiteY2" fmla="*/ 29067 h 29910"/>
                </a:gdLst>
                <a:ahLst/>
                <a:cxnLst>
                  <a:cxn ang="0">
                    <a:pos x="connsiteX0" y="connsiteY0"/>
                  </a:cxn>
                  <a:cxn ang="0">
                    <a:pos x="connsiteX1" y="connsiteY1"/>
                  </a:cxn>
                  <a:cxn ang="0">
                    <a:pos x="connsiteX2" y="connsiteY2"/>
                  </a:cxn>
                </a:cxnLst>
                <a:rect l="l" t="t" r="r" b="b"/>
                <a:pathLst>
                  <a:path w="21355" h="29910">
                    <a:moveTo>
                      <a:pt x="11745" y="29067"/>
                    </a:moveTo>
                    <a:cubicBezTo>
                      <a:pt x="27773" y="21052"/>
                      <a:pt x="21433" y="-4186"/>
                      <a:pt x="9592" y="598"/>
                    </a:cubicBezTo>
                    <a:cubicBezTo>
                      <a:pt x="-6257" y="6938"/>
                      <a:pt x="-277" y="35107"/>
                      <a:pt x="11745" y="29067"/>
                    </a:cubicBezTo>
                    <a:close/>
                  </a:path>
                </a:pathLst>
              </a:custGeom>
              <a:grpFill/>
              <a:ln w="6350" cap="flat">
                <a:solidFill>
                  <a:schemeClr val="bg1">
                    <a:alpha val="80000"/>
                  </a:schemeClr>
                </a:solidFill>
                <a:custDash>
                  <a:ds d="168450" sp="168450"/>
                </a:custDash>
                <a:miter/>
              </a:ln>
            </p:spPr>
            <p:txBody>
              <a:bodyPr rtlCol="0" anchor="ctr"/>
              <a:lstStyle/>
              <a:p>
                <a:endParaRPr lang="en-GB"/>
              </a:p>
            </p:txBody>
          </p:sp>
          <p:grpSp>
            <p:nvGrpSpPr>
              <p:cNvPr id="8531" name="Graphic 3">
                <a:extLst>
                  <a:ext uri="{FF2B5EF4-FFF2-40B4-BE49-F238E27FC236}">
                    <a16:creationId xmlns:a16="http://schemas.microsoft.com/office/drawing/2014/main" id="{7764D98E-9550-4096-998B-3B59097B58B4}"/>
                  </a:ext>
                </a:extLst>
              </p:cNvPr>
              <p:cNvGrpSpPr/>
              <p:nvPr/>
            </p:nvGrpSpPr>
            <p:grpSpPr>
              <a:xfrm>
                <a:off x="4573119" y="3294939"/>
                <a:ext cx="35907" cy="65548"/>
                <a:chOff x="4573119" y="3294939"/>
                <a:chExt cx="35907" cy="65548"/>
              </a:xfrm>
              <a:grpFill/>
            </p:grpSpPr>
            <p:sp>
              <p:nvSpPr>
                <p:cNvPr id="8579" name="Vrije vorm: vorm 8578">
                  <a:extLst>
                    <a:ext uri="{FF2B5EF4-FFF2-40B4-BE49-F238E27FC236}">
                      <a16:creationId xmlns:a16="http://schemas.microsoft.com/office/drawing/2014/main" id="{65230CD3-7D12-4C79-921F-4355999F36B7}"/>
                    </a:ext>
                  </a:extLst>
                </p:cNvPr>
                <p:cNvSpPr/>
                <p:nvPr/>
              </p:nvSpPr>
              <p:spPr>
                <a:xfrm>
                  <a:off x="4579099" y="3294939"/>
                  <a:ext cx="23444" cy="9688"/>
                </a:xfrm>
                <a:custGeom>
                  <a:avLst/>
                  <a:gdLst>
                    <a:gd name="connsiteX0" fmla="*/ 23444 w 23444"/>
                    <a:gd name="connsiteY0" fmla="*/ 4486 h 9688"/>
                    <a:gd name="connsiteX1" fmla="*/ 19916 w 23444"/>
                    <a:gd name="connsiteY1" fmla="*/ 2512 h 9688"/>
                    <a:gd name="connsiteX2" fmla="*/ 19916 w 23444"/>
                    <a:gd name="connsiteY2" fmla="*/ 2512 h 9688"/>
                    <a:gd name="connsiteX3" fmla="*/ 16746 w 23444"/>
                    <a:gd name="connsiteY3" fmla="*/ 1615 h 9688"/>
                    <a:gd name="connsiteX4" fmla="*/ 16746 w 23444"/>
                    <a:gd name="connsiteY4" fmla="*/ 1615 h 9688"/>
                    <a:gd name="connsiteX5" fmla="*/ 7655 w 23444"/>
                    <a:gd name="connsiteY5" fmla="*/ 0 h 9688"/>
                    <a:gd name="connsiteX6" fmla="*/ 4785 w 23444"/>
                    <a:gd name="connsiteY6" fmla="*/ 4246 h 9688"/>
                    <a:gd name="connsiteX7" fmla="*/ 4785 w 23444"/>
                    <a:gd name="connsiteY7" fmla="*/ 4246 h 9688"/>
                    <a:gd name="connsiteX8" fmla="*/ 0 w 23444"/>
                    <a:gd name="connsiteY8" fmla="*/ 9689 h 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44" h="9688">
                      <a:moveTo>
                        <a:pt x="23444" y="4486"/>
                      </a:moveTo>
                      <a:cubicBezTo>
                        <a:pt x="22368" y="3708"/>
                        <a:pt x="21231" y="3050"/>
                        <a:pt x="19916" y="2512"/>
                      </a:cubicBezTo>
                      <a:lnTo>
                        <a:pt x="19916" y="2512"/>
                      </a:lnTo>
                      <a:cubicBezTo>
                        <a:pt x="18839" y="2093"/>
                        <a:pt x="17822" y="1794"/>
                        <a:pt x="16746" y="1615"/>
                      </a:cubicBezTo>
                      <a:lnTo>
                        <a:pt x="16746" y="1615"/>
                      </a:lnTo>
                      <a:lnTo>
                        <a:pt x="7655" y="0"/>
                      </a:lnTo>
                      <a:lnTo>
                        <a:pt x="4785" y="4246"/>
                      </a:lnTo>
                      <a:lnTo>
                        <a:pt x="4785" y="4246"/>
                      </a:lnTo>
                      <a:cubicBezTo>
                        <a:pt x="2811" y="5622"/>
                        <a:pt x="1136" y="7476"/>
                        <a:pt x="0" y="9689"/>
                      </a:cubicBezTo>
                    </a:path>
                  </a:pathLst>
                </a:custGeom>
                <a:grpFill/>
                <a:ln w="6350" cap="flat">
                  <a:solidFill>
                    <a:schemeClr val="bg1">
                      <a:alpha val="80000"/>
                    </a:schemeClr>
                  </a:solidFill>
                  <a:prstDash val="solid"/>
                  <a:miter/>
                </a:ln>
              </p:spPr>
              <p:txBody>
                <a:bodyPr rtlCol="0" anchor="ctr"/>
                <a:lstStyle/>
                <a:p>
                  <a:endParaRPr lang="en-GB"/>
                </a:p>
              </p:txBody>
            </p:sp>
            <p:sp>
              <p:nvSpPr>
                <p:cNvPr id="8580" name="Vrije vorm: vorm 8579">
                  <a:extLst>
                    <a:ext uri="{FF2B5EF4-FFF2-40B4-BE49-F238E27FC236}">
                      <a16:creationId xmlns:a16="http://schemas.microsoft.com/office/drawing/2014/main" id="{7231259A-76A0-44EC-AC00-07D59BF8895E}"/>
                    </a:ext>
                  </a:extLst>
                </p:cNvPr>
                <p:cNvSpPr/>
                <p:nvPr/>
              </p:nvSpPr>
              <p:spPr>
                <a:xfrm>
                  <a:off x="4573836" y="3319221"/>
                  <a:ext cx="2451" cy="22308"/>
                </a:xfrm>
                <a:custGeom>
                  <a:avLst/>
                  <a:gdLst>
                    <a:gd name="connsiteX0" fmla="*/ 2452 w 2451"/>
                    <a:gd name="connsiteY0" fmla="*/ 0 h 22308"/>
                    <a:gd name="connsiteX1" fmla="*/ 0 w 2451"/>
                    <a:gd name="connsiteY1" fmla="*/ 22308 h 22308"/>
                  </a:gdLst>
                  <a:ahLst/>
                  <a:cxnLst>
                    <a:cxn ang="0">
                      <a:pos x="connsiteX0" y="connsiteY0"/>
                    </a:cxn>
                    <a:cxn ang="0">
                      <a:pos x="connsiteX1" y="connsiteY1"/>
                    </a:cxn>
                  </a:cxnLst>
                  <a:rect l="l" t="t" r="r" b="b"/>
                  <a:pathLst>
                    <a:path w="2451" h="22308">
                      <a:moveTo>
                        <a:pt x="2452" y="0"/>
                      </a:moveTo>
                      <a:cubicBezTo>
                        <a:pt x="1495" y="7476"/>
                        <a:pt x="359" y="16926"/>
                        <a:pt x="0" y="22308"/>
                      </a:cubicBezTo>
                    </a:path>
                  </a:pathLst>
                </a:custGeom>
                <a:grpFill/>
                <a:ln w="6350" cap="flat">
                  <a:solidFill>
                    <a:schemeClr val="bg1">
                      <a:alpha val="80000"/>
                    </a:schemeClr>
                  </a:solidFill>
                  <a:custDash>
                    <a:ds d="187568" sp="187568"/>
                  </a:custDash>
                  <a:miter/>
                </a:ln>
              </p:spPr>
              <p:txBody>
                <a:bodyPr rtlCol="0" anchor="ctr"/>
                <a:lstStyle/>
                <a:p>
                  <a:endParaRPr lang="en-GB"/>
                </a:p>
              </p:txBody>
            </p:sp>
            <p:sp>
              <p:nvSpPr>
                <p:cNvPr id="8581" name="Vrije vorm: vorm 8580">
                  <a:extLst>
                    <a:ext uri="{FF2B5EF4-FFF2-40B4-BE49-F238E27FC236}">
                      <a16:creationId xmlns:a16="http://schemas.microsoft.com/office/drawing/2014/main" id="{B73A90A8-F927-4C99-85A3-17C9F4F0D314}"/>
                    </a:ext>
                  </a:extLst>
                </p:cNvPr>
                <p:cNvSpPr/>
                <p:nvPr/>
              </p:nvSpPr>
              <p:spPr>
                <a:xfrm>
                  <a:off x="4573119" y="3349005"/>
                  <a:ext cx="7236" cy="11482"/>
                </a:xfrm>
                <a:custGeom>
                  <a:avLst/>
                  <a:gdLst>
                    <a:gd name="connsiteX0" fmla="*/ 1017 w 7236"/>
                    <a:gd name="connsiteY0" fmla="*/ 0 h 11482"/>
                    <a:gd name="connsiteX1" fmla="*/ 3349 w 7236"/>
                    <a:gd name="connsiteY1" fmla="*/ 6938 h 11482"/>
                    <a:gd name="connsiteX2" fmla="*/ 658 w 7236"/>
                    <a:gd name="connsiteY2" fmla="*/ 6459 h 11482"/>
                    <a:gd name="connsiteX3" fmla="*/ 0 w 7236"/>
                    <a:gd name="connsiteY3" fmla="*/ 10287 h 11482"/>
                    <a:gd name="connsiteX4" fmla="*/ 7237 w 7236"/>
                    <a:gd name="connsiteY4" fmla="*/ 11483 h 11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 h="11482">
                      <a:moveTo>
                        <a:pt x="1017" y="0"/>
                      </a:moveTo>
                      <a:cubicBezTo>
                        <a:pt x="1495" y="2751"/>
                        <a:pt x="2273" y="5084"/>
                        <a:pt x="3349" y="6938"/>
                      </a:cubicBezTo>
                      <a:lnTo>
                        <a:pt x="658" y="6459"/>
                      </a:lnTo>
                      <a:lnTo>
                        <a:pt x="0" y="10287"/>
                      </a:lnTo>
                      <a:lnTo>
                        <a:pt x="7237" y="11483"/>
                      </a:lnTo>
                    </a:path>
                  </a:pathLst>
                </a:custGeom>
                <a:grpFill/>
                <a:ln w="6350" cap="flat">
                  <a:solidFill>
                    <a:schemeClr val="bg1">
                      <a:alpha val="80000"/>
                    </a:schemeClr>
                  </a:solidFill>
                  <a:prstDash val="solid"/>
                  <a:miter/>
                </a:ln>
              </p:spPr>
              <p:txBody>
                <a:bodyPr rtlCol="0" anchor="ctr"/>
                <a:lstStyle/>
                <a:p>
                  <a:endParaRPr lang="en-GB"/>
                </a:p>
              </p:txBody>
            </p:sp>
            <p:sp>
              <p:nvSpPr>
                <p:cNvPr id="8582" name="Vrije vorm: vorm 8581">
                  <a:extLst>
                    <a:ext uri="{FF2B5EF4-FFF2-40B4-BE49-F238E27FC236}">
                      <a16:creationId xmlns:a16="http://schemas.microsoft.com/office/drawing/2014/main" id="{0F269D01-05F7-410D-A65E-5AC82CD5CC03}"/>
                    </a:ext>
                  </a:extLst>
                </p:cNvPr>
                <p:cNvSpPr/>
                <p:nvPr/>
              </p:nvSpPr>
              <p:spPr>
                <a:xfrm>
                  <a:off x="4592915" y="3305106"/>
                  <a:ext cx="16111" cy="49520"/>
                </a:xfrm>
                <a:custGeom>
                  <a:avLst/>
                  <a:gdLst>
                    <a:gd name="connsiteX0" fmla="*/ 0 w 16111"/>
                    <a:gd name="connsiteY0" fmla="*/ 49520 h 49520"/>
                    <a:gd name="connsiteX1" fmla="*/ 1136 w 16111"/>
                    <a:gd name="connsiteY1" fmla="*/ 47427 h 49520"/>
                    <a:gd name="connsiteX2" fmla="*/ 14473 w 16111"/>
                    <a:gd name="connsiteY2" fmla="*/ 13935 h 49520"/>
                    <a:gd name="connsiteX3" fmla="*/ 14473 w 16111"/>
                    <a:gd name="connsiteY3" fmla="*/ 0 h 49520"/>
                  </a:gdLst>
                  <a:ahLst/>
                  <a:cxnLst>
                    <a:cxn ang="0">
                      <a:pos x="connsiteX0" y="connsiteY0"/>
                    </a:cxn>
                    <a:cxn ang="0">
                      <a:pos x="connsiteX1" y="connsiteY1"/>
                    </a:cxn>
                    <a:cxn ang="0">
                      <a:pos x="connsiteX2" y="connsiteY2"/>
                    </a:cxn>
                    <a:cxn ang="0">
                      <a:pos x="connsiteX3" y="connsiteY3"/>
                    </a:cxn>
                  </a:cxnLst>
                  <a:rect l="l" t="t" r="r" b="b"/>
                  <a:pathLst>
                    <a:path w="16111" h="49520">
                      <a:moveTo>
                        <a:pt x="0" y="49520"/>
                      </a:moveTo>
                      <a:cubicBezTo>
                        <a:pt x="419" y="48862"/>
                        <a:pt x="778" y="48205"/>
                        <a:pt x="1136" y="47427"/>
                      </a:cubicBezTo>
                      <a:lnTo>
                        <a:pt x="14473" y="13935"/>
                      </a:lnTo>
                      <a:cubicBezTo>
                        <a:pt x="16746" y="9330"/>
                        <a:pt x="16567" y="4246"/>
                        <a:pt x="14473" y="0"/>
                      </a:cubicBezTo>
                    </a:path>
                  </a:pathLst>
                </a:custGeom>
                <a:grpFill/>
                <a:ln w="6350" cap="flat">
                  <a:solidFill>
                    <a:schemeClr val="bg1">
                      <a:alpha val="80000"/>
                    </a:schemeClr>
                  </a:solidFill>
                  <a:custDash>
                    <a:ds d="189195" sp="189195"/>
                  </a:custDash>
                  <a:miter/>
                </a:ln>
              </p:spPr>
              <p:txBody>
                <a:bodyPr rtlCol="0" anchor="ctr"/>
                <a:lstStyle/>
                <a:p>
                  <a:endParaRPr lang="en-GB"/>
                </a:p>
              </p:txBody>
            </p:sp>
          </p:grpSp>
          <p:sp>
            <p:nvSpPr>
              <p:cNvPr id="8532" name="Vrije vorm: vorm 8531">
                <a:extLst>
                  <a:ext uri="{FF2B5EF4-FFF2-40B4-BE49-F238E27FC236}">
                    <a16:creationId xmlns:a16="http://schemas.microsoft.com/office/drawing/2014/main" id="{169BFA9B-CC21-4590-A795-B4B219F033D3}"/>
                  </a:ext>
                </a:extLst>
              </p:cNvPr>
              <p:cNvSpPr/>
              <p:nvPr/>
            </p:nvSpPr>
            <p:spPr>
              <a:xfrm>
                <a:off x="4559181" y="3293473"/>
                <a:ext cx="40746" cy="66000"/>
              </a:xfrm>
              <a:custGeom>
                <a:avLst/>
                <a:gdLst>
                  <a:gd name="connsiteX0" fmla="*/ 25779 w 40746"/>
                  <a:gd name="connsiteY0" fmla="*/ 57505 h 66000"/>
                  <a:gd name="connsiteX1" fmla="*/ 39116 w 40746"/>
                  <a:gd name="connsiteY1" fmla="*/ 24013 h 66000"/>
                  <a:gd name="connsiteX2" fmla="*/ 30803 w 40746"/>
                  <a:gd name="connsiteY2" fmla="*/ 2363 h 66000"/>
                  <a:gd name="connsiteX3" fmla="*/ 30803 w 40746"/>
                  <a:gd name="connsiteY3" fmla="*/ 2363 h 66000"/>
                  <a:gd name="connsiteX4" fmla="*/ 1677 w 40746"/>
                  <a:gd name="connsiteY4" fmla="*/ 12590 h 66000"/>
                  <a:gd name="connsiteX5" fmla="*/ 2693 w 40746"/>
                  <a:gd name="connsiteY5" fmla="*/ 49072 h 66000"/>
                  <a:gd name="connsiteX6" fmla="*/ 13160 w 40746"/>
                  <a:gd name="connsiteY6" fmla="*/ 65519 h 66000"/>
                  <a:gd name="connsiteX7" fmla="*/ 25779 w 40746"/>
                  <a:gd name="connsiteY7" fmla="*/ 57505 h 6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46" h="66000">
                    <a:moveTo>
                      <a:pt x="25779" y="57505"/>
                    </a:moveTo>
                    <a:lnTo>
                      <a:pt x="39116" y="24013"/>
                    </a:lnTo>
                    <a:cubicBezTo>
                      <a:pt x="43183" y="15760"/>
                      <a:pt x="39355" y="5832"/>
                      <a:pt x="30803" y="2363"/>
                    </a:cubicBezTo>
                    <a:lnTo>
                      <a:pt x="30803" y="2363"/>
                    </a:lnTo>
                    <a:cubicBezTo>
                      <a:pt x="21952" y="-1226"/>
                      <a:pt x="5624" y="-2661"/>
                      <a:pt x="1677" y="12590"/>
                    </a:cubicBezTo>
                    <a:cubicBezTo>
                      <a:pt x="-2031" y="27063"/>
                      <a:pt x="1378" y="41895"/>
                      <a:pt x="2693" y="49072"/>
                    </a:cubicBezTo>
                    <a:cubicBezTo>
                      <a:pt x="4248" y="57684"/>
                      <a:pt x="9033" y="63904"/>
                      <a:pt x="13160" y="65519"/>
                    </a:cubicBezTo>
                    <a:cubicBezTo>
                      <a:pt x="17286" y="67134"/>
                      <a:pt x="22251" y="64742"/>
                      <a:pt x="25779" y="57505"/>
                    </a:cubicBezTo>
                    <a:close/>
                  </a:path>
                </a:pathLst>
              </a:custGeom>
              <a:grpFill/>
              <a:ln w="6350" cap="flat">
                <a:solidFill>
                  <a:schemeClr val="bg1">
                    <a:alpha val="80000"/>
                  </a:schemeClr>
                </a:solidFill>
                <a:custDash>
                  <a:ds d="178493" sp="178493"/>
                </a:custDash>
                <a:miter/>
              </a:ln>
            </p:spPr>
            <p:txBody>
              <a:bodyPr rtlCol="0" anchor="ctr"/>
              <a:lstStyle/>
              <a:p>
                <a:endParaRPr lang="en-GB"/>
              </a:p>
            </p:txBody>
          </p:sp>
          <p:sp>
            <p:nvSpPr>
              <p:cNvPr id="8533" name="Vrije vorm: vorm 8532">
                <a:extLst>
                  <a:ext uri="{FF2B5EF4-FFF2-40B4-BE49-F238E27FC236}">
                    <a16:creationId xmlns:a16="http://schemas.microsoft.com/office/drawing/2014/main" id="{BE1377D2-BFC2-496F-B461-4E04FF468A6D}"/>
                  </a:ext>
                </a:extLst>
              </p:cNvPr>
              <p:cNvSpPr/>
              <p:nvPr/>
            </p:nvSpPr>
            <p:spPr>
              <a:xfrm>
                <a:off x="4512414" y="3235610"/>
                <a:ext cx="48444" cy="24940"/>
              </a:xfrm>
              <a:custGeom>
                <a:avLst/>
                <a:gdLst>
                  <a:gd name="connsiteX0" fmla="*/ 48265 w 48444"/>
                  <a:gd name="connsiteY0" fmla="*/ 14593 h 24940"/>
                  <a:gd name="connsiteX1" fmla="*/ 48445 w 48444"/>
                  <a:gd name="connsiteY1" fmla="*/ 12381 h 24940"/>
                  <a:gd name="connsiteX2" fmla="*/ 35945 w 48444"/>
                  <a:gd name="connsiteY2" fmla="*/ 0 h 24940"/>
                  <a:gd name="connsiteX3" fmla="*/ 12381 w 48444"/>
                  <a:gd name="connsiteY3" fmla="*/ 60 h 24940"/>
                  <a:gd name="connsiteX4" fmla="*/ 0 w 48444"/>
                  <a:gd name="connsiteY4" fmla="*/ 12560 h 24940"/>
                  <a:gd name="connsiteX5" fmla="*/ 12500 w 48444"/>
                  <a:gd name="connsiteY5" fmla="*/ 24940 h 24940"/>
                  <a:gd name="connsiteX6" fmla="*/ 36064 w 48444"/>
                  <a:gd name="connsiteY6" fmla="*/ 24880 h 24940"/>
                  <a:gd name="connsiteX7" fmla="*/ 48265 w 48444"/>
                  <a:gd name="connsiteY7" fmla="*/ 14593 h 2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44" h="24940">
                    <a:moveTo>
                      <a:pt x="48265" y="14593"/>
                    </a:moveTo>
                    <a:cubicBezTo>
                      <a:pt x="48385" y="13876"/>
                      <a:pt x="48445" y="13158"/>
                      <a:pt x="48445" y="12381"/>
                    </a:cubicBezTo>
                    <a:cubicBezTo>
                      <a:pt x="48445" y="5503"/>
                      <a:pt x="42823" y="-59"/>
                      <a:pt x="35945" y="0"/>
                    </a:cubicBezTo>
                    <a:lnTo>
                      <a:pt x="12381" y="60"/>
                    </a:lnTo>
                    <a:cubicBezTo>
                      <a:pt x="5503" y="60"/>
                      <a:pt x="-59" y="5682"/>
                      <a:pt x="0" y="12560"/>
                    </a:cubicBezTo>
                    <a:cubicBezTo>
                      <a:pt x="0" y="19438"/>
                      <a:pt x="5622" y="25000"/>
                      <a:pt x="12500" y="24940"/>
                    </a:cubicBezTo>
                    <a:lnTo>
                      <a:pt x="36064" y="24880"/>
                    </a:lnTo>
                    <a:cubicBezTo>
                      <a:pt x="42165" y="24821"/>
                      <a:pt x="47248" y="20395"/>
                      <a:pt x="48265" y="14593"/>
                    </a:cubicBezTo>
                    <a:close/>
                  </a:path>
                </a:pathLst>
              </a:custGeom>
              <a:grpFill/>
              <a:ln w="6350" cap="flat">
                <a:solidFill>
                  <a:schemeClr val="bg1">
                    <a:alpha val="80000"/>
                  </a:schemeClr>
                </a:solidFill>
                <a:custDash>
                  <a:ds d="196133" sp="196133"/>
                </a:custDash>
                <a:miter/>
              </a:ln>
            </p:spPr>
            <p:txBody>
              <a:bodyPr rtlCol="0" anchor="ctr"/>
              <a:lstStyle/>
              <a:p>
                <a:endParaRPr lang="en-GB"/>
              </a:p>
            </p:txBody>
          </p:sp>
          <p:sp>
            <p:nvSpPr>
              <p:cNvPr id="8534" name="Vrije vorm: vorm 8533">
                <a:extLst>
                  <a:ext uri="{FF2B5EF4-FFF2-40B4-BE49-F238E27FC236}">
                    <a16:creationId xmlns:a16="http://schemas.microsoft.com/office/drawing/2014/main" id="{5D81EC61-5CE8-4E6C-9906-57AF39A7AC09}"/>
                  </a:ext>
                </a:extLst>
              </p:cNvPr>
              <p:cNvSpPr/>
              <p:nvPr/>
            </p:nvSpPr>
            <p:spPr>
              <a:xfrm>
                <a:off x="4561434" y="3296135"/>
                <a:ext cx="21355" cy="29910"/>
              </a:xfrm>
              <a:custGeom>
                <a:avLst/>
                <a:gdLst>
                  <a:gd name="connsiteX0" fmla="*/ 11745 w 21355"/>
                  <a:gd name="connsiteY0" fmla="*/ 29067 h 29910"/>
                  <a:gd name="connsiteX1" fmla="*/ 9592 w 21355"/>
                  <a:gd name="connsiteY1" fmla="*/ 598 h 29910"/>
                  <a:gd name="connsiteX2" fmla="*/ 11745 w 21355"/>
                  <a:gd name="connsiteY2" fmla="*/ 29067 h 29910"/>
                </a:gdLst>
                <a:ahLst/>
                <a:cxnLst>
                  <a:cxn ang="0">
                    <a:pos x="connsiteX0" y="connsiteY0"/>
                  </a:cxn>
                  <a:cxn ang="0">
                    <a:pos x="connsiteX1" y="connsiteY1"/>
                  </a:cxn>
                  <a:cxn ang="0">
                    <a:pos x="connsiteX2" y="connsiteY2"/>
                  </a:cxn>
                </a:cxnLst>
                <a:rect l="l" t="t" r="r" b="b"/>
                <a:pathLst>
                  <a:path w="21355" h="29910">
                    <a:moveTo>
                      <a:pt x="11745" y="29067"/>
                    </a:moveTo>
                    <a:cubicBezTo>
                      <a:pt x="27773" y="21052"/>
                      <a:pt x="21433" y="-4186"/>
                      <a:pt x="9592" y="598"/>
                    </a:cubicBezTo>
                    <a:cubicBezTo>
                      <a:pt x="-6257" y="6938"/>
                      <a:pt x="-277" y="35107"/>
                      <a:pt x="11745" y="29067"/>
                    </a:cubicBezTo>
                    <a:close/>
                  </a:path>
                </a:pathLst>
              </a:custGeom>
              <a:grpFill/>
              <a:ln w="6350" cap="flat">
                <a:solidFill>
                  <a:schemeClr val="bg1">
                    <a:alpha val="80000"/>
                  </a:schemeClr>
                </a:solidFill>
                <a:custDash>
                  <a:ds d="168450" sp="168450"/>
                </a:custDash>
                <a:miter/>
              </a:ln>
            </p:spPr>
            <p:txBody>
              <a:bodyPr rtlCol="0" anchor="ctr"/>
              <a:lstStyle/>
              <a:p>
                <a:endParaRPr lang="en-GB"/>
              </a:p>
            </p:txBody>
          </p:sp>
          <p:sp>
            <p:nvSpPr>
              <p:cNvPr id="8535" name="Vrije vorm: vorm 8534">
                <a:extLst>
                  <a:ext uri="{FF2B5EF4-FFF2-40B4-BE49-F238E27FC236}">
                    <a16:creationId xmlns:a16="http://schemas.microsoft.com/office/drawing/2014/main" id="{048B638A-E84B-45D1-B9E7-4ABA8CBEAB89}"/>
                  </a:ext>
                </a:extLst>
              </p:cNvPr>
              <p:cNvSpPr/>
              <p:nvPr/>
            </p:nvSpPr>
            <p:spPr>
              <a:xfrm>
                <a:off x="4534352" y="3293731"/>
                <a:ext cx="46792" cy="28730"/>
              </a:xfrm>
              <a:custGeom>
                <a:avLst/>
                <a:gdLst>
                  <a:gd name="connsiteX0" fmla="*/ 46602 w 46792"/>
                  <a:gd name="connsiteY0" fmla="*/ 18432 h 28730"/>
                  <a:gd name="connsiteX1" fmla="*/ 36494 w 46792"/>
                  <a:gd name="connsiteY1" fmla="*/ 4019 h 28730"/>
                  <a:gd name="connsiteX2" fmla="*/ 14605 w 46792"/>
                  <a:gd name="connsiteY2" fmla="*/ 191 h 28730"/>
                  <a:gd name="connsiteX3" fmla="*/ 191 w 46792"/>
                  <a:gd name="connsiteY3" fmla="*/ 10298 h 28730"/>
                  <a:gd name="connsiteX4" fmla="*/ 10299 w 46792"/>
                  <a:gd name="connsiteY4" fmla="*/ 24712 h 28730"/>
                  <a:gd name="connsiteX5" fmla="*/ 32188 w 46792"/>
                  <a:gd name="connsiteY5" fmla="*/ 28540 h 28730"/>
                  <a:gd name="connsiteX6" fmla="*/ 46602 w 46792"/>
                  <a:gd name="connsiteY6" fmla="*/ 18432 h 2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792" h="28730">
                    <a:moveTo>
                      <a:pt x="46602" y="18432"/>
                    </a:moveTo>
                    <a:cubicBezTo>
                      <a:pt x="47798" y="11674"/>
                      <a:pt x="43252" y="5215"/>
                      <a:pt x="36494" y="4019"/>
                    </a:cubicBezTo>
                    <a:lnTo>
                      <a:pt x="14605" y="191"/>
                    </a:lnTo>
                    <a:cubicBezTo>
                      <a:pt x="7847" y="-1005"/>
                      <a:pt x="1387" y="3540"/>
                      <a:pt x="191" y="10298"/>
                    </a:cubicBezTo>
                    <a:cubicBezTo>
                      <a:pt x="-1005" y="17057"/>
                      <a:pt x="3540" y="23516"/>
                      <a:pt x="10299" y="24712"/>
                    </a:cubicBezTo>
                    <a:lnTo>
                      <a:pt x="32188" y="28540"/>
                    </a:lnTo>
                    <a:cubicBezTo>
                      <a:pt x="38946" y="29736"/>
                      <a:pt x="45405" y="25191"/>
                      <a:pt x="46602" y="18432"/>
                    </a:cubicBezTo>
                    <a:close/>
                  </a:path>
                </a:pathLst>
              </a:custGeom>
              <a:grpFill/>
              <a:ln w="6350" cap="flat">
                <a:solidFill>
                  <a:schemeClr val="bg1">
                    <a:alpha val="80000"/>
                  </a:schemeClr>
                </a:solidFill>
                <a:custDash>
                  <a:ds d="191865" sp="191865"/>
                </a:custDash>
                <a:miter/>
              </a:ln>
            </p:spPr>
            <p:txBody>
              <a:bodyPr rtlCol="0" anchor="ctr"/>
              <a:lstStyle/>
              <a:p>
                <a:endParaRPr lang="en-GB"/>
              </a:p>
            </p:txBody>
          </p:sp>
          <p:grpSp>
            <p:nvGrpSpPr>
              <p:cNvPr id="8536" name="Graphic 3">
                <a:extLst>
                  <a:ext uri="{FF2B5EF4-FFF2-40B4-BE49-F238E27FC236}">
                    <a16:creationId xmlns:a16="http://schemas.microsoft.com/office/drawing/2014/main" id="{821F2575-C482-4BE7-8D53-DAE7F3057C24}"/>
                  </a:ext>
                </a:extLst>
              </p:cNvPr>
              <p:cNvGrpSpPr/>
              <p:nvPr/>
            </p:nvGrpSpPr>
            <p:grpSpPr>
              <a:xfrm>
                <a:off x="4435084" y="3273229"/>
                <a:ext cx="121789" cy="45154"/>
                <a:chOff x="4435084" y="3273229"/>
                <a:chExt cx="121789" cy="45154"/>
              </a:xfrm>
              <a:grpFill/>
            </p:grpSpPr>
            <p:sp>
              <p:nvSpPr>
                <p:cNvPr id="8576" name="Vrije vorm: vorm 8575">
                  <a:extLst>
                    <a:ext uri="{FF2B5EF4-FFF2-40B4-BE49-F238E27FC236}">
                      <a16:creationId xmlns:a16="http://schemas.microsoft.com/office/drawing/2014/main" id="{1EC7A440-0F33-4230-8521-34BBC985052B}"/>
                    </a:ext>
                  </a:extLst>
                </p:cNvPr>
                <p:cNvSpPr/>
                <p:nvPr/>
              </p:nvSpPr>
              <p:spPr>
                <a:xfrm>
                  <a:off x="4435084" y="3297152"/>
                  <a:ext cx="7236" cy="1375"/>
                </a:xfrm>
                <a:custGeom>
                  <a:avLst/>
                  <a:gdLst>
                    <a:gd name="connsiteX0" fmla="*/ 0 w 7236"/>
                    <a:gd name="connsiteY0" fmla="*/ 0 h 1375"/>
                    <a:gd name="connsiteX1" fmla="*/ 7237 w 7236"/>
                    <a:gd name="connsiteY1" fmla="*/ 1376 h 1375"/>
                  </a:gdLst>
                  <a:ahLst/>
                  <a:cxnLst>
                    <a:cxn ang="0">
                      <a:pos x="connsiteX0" y="connsiteY0"/>
                    </a:cxn>
                    <a:cxn ang="0">
                      <a:pos x="connsiteX1" y="connsiteY1"/>
                    </a:cxn>
                  </a:cxnLst>
                  <a:rect l="l" t="t" r="r" b="b"/>
                  <a:pathLst>
                    <a:path w="7236" h="1375">
                      <a:moveTo>
                        <a:pt x="0" y="0"/>
                      </a:moveTo>
                      <a:lnTo>
                        <a:pt x="7237" y="1376"/>
                      </a:lnTo>
                    </a:path>
                  </a:pathLst>
                </a:custGeom>
                <a:grpFill/>
                <a:ln w="6350" cap="flat">
                  <a:solidFill>
                    <a:schemeClr val="bg1">
                      <a:alpha val="80000"/>
                    </a:schemeClr>
                  </a:solidFill>
                  <a:prstDash val="solid"/>
                  <a:miter/>
                </a:ln>
              </p:spPr>
              <p:txBody>
                <a:bodyPr rtlCol="0" anchor="ctr"/>
                <a:lstStyle/>
                <a:p>
                  <a:endParaRPr lang="en-GB"/>
                </a:p>
              </p:txBody>
            </p:sp>
            <p:sp>
              <p:nvSpPr>
                <p:cNvPr id="8577" name="Vrije vorm: vorm 8576">
                  <a:extLst>
                    <a:ext uri="{FF2B5EF4-FFF2-40B4-BE49-F238E27FC236}">
                      <a16:creationId xmlns:a16="http://schemas.microsoft.com/office/drawing/2014/main" id="{B3ED7A81-C2CE-4698-9B02-0B00C74DD814}"/>
                    </a:ext>
                  </a:extLst>
                </p:cNvPr>
                <p:cNvSpPr/>
                <p:nvPr/>
              </p:nvSpPr>
              <p:spPr>
                <a:xfrm>
                  <a:off x="4454162" y="3275980"/>
                  <a:ext cx="102711" cy="42403"/>
                </a:xfrm>
                <a:custGeom>
                  <a:avLst/>
                  <a:gdLst>
                    <a:gd name="connsiteX0" fmla="*/ 2093 w 102711"/>
                    <a:gd name="connsiteY0" fmla="*/ 25299 h 42403"/>
                    <a:gd name="connsiteX1" fmla="*/ 88096 w 102711"/>
                    <a:gd name="connsiteY1" fmla="*/ 42164 h 42403"/>
                    <a:gd name="connsiteX2" fmla="*/ 102450 w 102711"/>
                    <a:gd name="connsiteY2" fmla="*/ 32595 h 42403"/>
                    <a:gd name="connsiteX3" fmla="*/ 102510 w 102711"/>
                    <a:gd name="connsiteY3" fmla="*/ 32356 h 42403"/>
                    <a:gd name="connsiteX4" fmla="*/ 92941 w 102711"/>
                    <a:gd name="connsiteY4" fmla="*/ 18241 h 42403"/>
                    <a:gd name="connsiteX5" fmla="*/ 0 w 102711"/>
                    <a:gd name="connsiteY5" fmla="*/ 0 h 4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711" h="42403">
                      <a:moveTo>
                        <a:pt x="2093" y="25299"/>
                      </a:moveTo>
                      <a:lnTo>
                        <a:pt x="88096" y="42164"/>
                      </a:lnTo>
                      <a:cubicBezTo>
                        <a:pt x="94675" y="43480"/>
                        <a:pt x="101134" y="39234"/>
                        <a:pt x="102450" y="32595"/>
                      </a:cubicBezTo>
                      <a:cubicBezTo>
                        <a:pt x="102450" y="32535"/>
                        <a:pt x="102510" y="32416"/>
                        <a:pt x="102510" y="32356"/>
                      </a:cubicBezTo>
                      <a:cubicBezTo>
                        <a:pt x="103706" y="25837"/>
                        <a:pt x="99459" y="19557"/>
                        <a:pt x="92941" y="18241"/>
                      </a:cubicBezTo>
                      <a:lnTo>
                        <a:pt x="0" y="0"/>
                      </a:lnTo>
                    </a:path>
                  </a:pathLst>
                </a:custGeom>
                <a:grpFill/>
                <a:ln w="6350" cap="flat">
                  <a:solidFill>
                    <a:schemeClr val="bg1">
                      <a:alpha val="80000"/>
                    </a:schemeClr>
                  </a:solidFill>
                  <a:custDash>
                    <a:ds d="178463" sp="178463"/>
                  </a:custDash>
                  <a:miter/>
                </a:ln>
              </p:spPr>
              <p:txBody>
                <a:bodyPr rtlCol="0" anchor="ctr"/>
                <a:lstStyle/>
                <a:p>
                  <a:endParaRPr lang="en-GB"/>
                </a:p>
              </p:txBody>
            </p:sp>
            <p:sp>
              <p:nvSpPr>
                <p:cNvPr id="8578" name="Vrije vorm: vorm 8577">
                  <a:extLst>
                    <a:ext uri="{FF2B5EF4-FFF2-40B4-BE49-F238E27FC236}">
                      <a16:creationId xmlns:a16="http://schemas.microsoft.com/office/drawing/2014/main" id="{623D05B7-0815-4FD1-BC5C-7D3B656B397D}"/>
                    </a:ext>
                  </a:extLst>
                </p:cNvPr>
                <p:cNvSpPr/>
                <p:nvPr/>
              </p:nvSpPr>
              <p:spPr>
                <a:xfrm>
                  <a:off x="4439928" y="3273229"/>
                  <a:ext cx="7176" cy="1435"/>
                </a:xfrm>
                <a:custGeom>
                  <a:avLst/>
                  <a:gdLst>
                    <a:gd name="connsiteX0" fmla="*/ 7177 w 7176"/>
                    <a:gd name="connsiteY0" fmla="*/ 1435 h 1435"/>
                    <a:gd name="connsiteX1" fmla="*/ 0 w 7176"/>
                    <a:gd name="connsiteY1" fmla="*/ 0 h 1435"/>
                  </a:gdLst>
                  <a:ahLst/>
                  <a:cxnLst>
                    <a:cxn ang="0">
                      <a:pos x="connsiteX0" y="connsiteY0"/>
                    </a:cxn>
                    <a:cxn ang="0">
                      <a:pos x="connsiteX1" y="connsiteY1"/>
                    </a:cxn>
                  </a:cxnLst>
                  <a:rect l="l" t="t" r="r" b="b"/>
                  <a:pathLst>
                    <a:path w="7176" h="1435">
                      <a:moveTo>
                        <a:pt x="7177" y="1435"/>
                      </a:moveTo>
                      <a:lnTo>
                        <a:pt x="0" y="0"/>
                      </a:lnTo>
                    </a:path>
                  </a:pathLst>
                </a:custGeom>
                <a:grpFill/>
                <a:ln w="6350" cap="flat">
                  <a:solidFill>
                    <a:schemeClr val="bg1">
                      <a:alpha val="80000"/>
                    </a:schemeClr>
                  </a:solidFill>
                  <a:prstDash val="solid"/>
                  <a:miter/>
                </a:ln>
              </p:spPr>
              <p:txBody>
                <a:bodyPr rtlCol="0" anchor="ctr"/>
                <a:lstStyle/>
                <a:p>
                  <a:endParaRPr lang="en-GB"/>
                </a:p>
              </p:txBody>
            </p:sp>
          </p:grpSp>
          <p:grpSp>
            <p:nvGrpSpPr>
              <p:cNvPr id="8537" name="Graphic 3">
                <a:extLst>
                  <a:ext uri="{FF2B5EF4-FFF2-40B4-BE49-F238E27FC236}">
                    <a16:creationId xmlns:a16="http://schemas.microsoft.com/office/drawing/2014/main" id="{D10B8BC5-0AC6-4554-B171-AF708F13088B}"/>
                  </a:ext>
                </a:extLst>
              </p:cNvPr>
              <p:cNvGrpSpPr/>
              <p:nvPr/>
            </p:nvGrpSpPr>
            <p:grpSpPr>
              <a:xfrm>
                <a:off x="4436100" y="3227058"/>
                <a:ext cx="99596" cy="33844"/>
                <a:chOff x="4436100" y="3227058"/>
                <a:chExt cx="99596" cy="33844"/>
              </a:xfrm>
              <a:grpFill/>
            </p:grpSpPr>
            <p:sp>
              <p:nvSpPr>
                <p:cNvPr id="8573" name="Vrije vorm: vorm 8572">
                  <a:extLst>
                    <a:ext uri="{FF2B5EF4-FFF2-40B4-BE49-F238E27FC236}">
                      <a16:creationId xmlns:a16="http://schemas.microsoft.com/office/drawing/2014/main" id="{A931842E-528B-482F-A247-942EFFF772FC}"/>
                    </a:ext>
                  </a:extLst>
                </p:cNvPr>
                <p:cNvSpPr/>
                <p:nvPr/>
              </p:nvSpPr>
              <p:spPr>
                <a:xfrm>
                  <a:off x="4437476" y="3252297"/>
                  <a:ext cx="7176" cy="1495"/>
                </a:xfrm>
                <a:custGeom>
                  <a:avLst/>
                  <a:gdLst>
                    <a:gd name="connsiteX0" fmla="*/ 0 w 7176"/>
                    <a:gd name="connsiteY0" fmla="*/ 0 h 1495"/>
                    <a:gd name="connsiteX1" fmla="*/ 7177 w 7176"/>
                    <a:gd name="connsiteY1" fmla="*/ 1495 h 1495"/>
                  </a:gdLst>
                  <a:ahLst/>
                  <a:cxnLst>
                    <a:cxn ang="0">
                      <a:pos x="connsiteX0" y="connsiteY0"/>
                    </a:cxn>
                    <a:cxn ang="0">
                      <a:pos x="connsiteX1" y="connsiteY1"/>
                    </a:cxn>
                  </a:cxnLst>
                  <a:rect l="l" t="t" r="r" b="b"/>
                  <a:pathLst>
                    <a:path w="7176" h="1495">
                      <a:moveTo>
                        <a:pt x="0" y="0"/>
                      </a:moveTo>
                      <a:cubicBezTo>
                        <a:pt x="2452" y="538"/>
                        <a:pt x="4844" y="1017"/>
                        <a:pt x="7177" y="1495"/>
                      </a:cubicBezTo>
                    </a:path>
                  </a:pathLst>
                </a:custGeom>
                <a:grpFill/>
                <a:ln w="6350" cap="flat">
                  <a:solidFill>
                    <a:schemeClr val="bg1">
                      <a:alpha val="80000"/>
                    </a:schemeClr>
                  </a:solidFill>
                  <a:prstDash val="solid"/>
                  <a:miter/>
                </a:ln>
              </p:spPr>
              <p:txBody>
                <a:bodyPr rtlCol="0" anchor="ctr"/>
                <a:lstStyle/>
                <a:p>
                  <a:endParaRPr lang="en-GB"/>
                </a:p>
              </p:txBody>
            </p:sp>
            <p:sp>
              <p:nvSpPr>
                <p:cNvPr id="8574" name="Vrije vorm: vorm 8573">
                  <a:extLst>
                    <a:ext uri="{FF2B5EF4-FFF2-40B4-BE49-F238E27FC236}">
                      <a16:creationId xmlns:a16="http://schemas.microsoft.com/office/drawing/2014/main" id="{26BC0597-4F84-4C91-B9B5-C4B5E2E0F9A6}"/>
                    </a:ext>
                  </a:extLst>
                </p:cNvPr>
                <p:cNvSpPr/>
                <p:nvPr/>
              </p:nvSpPr>
              <p:spPr>
                <a:xfrm>
                  <a:off x="4450753" y="3230048"/>
                  <a:ext cx="84944" cy="30854"/>
                </a:xfrm>
                <a:custGeom>
                  <a:avLst/>
                  <a:gdLst>
                    <a:gd name="connsiteX0" fmla="*/ 8911 w 84944"/>
                    <a:gd name="connsiteY0" fmla="*/ 26614 h 30854"/>
                    <a:gd name="connsiteX1" fmla="*/ 72068 w 84944"/>
                    <a:gd name="connsiteY1" fmla="*/ 29605 h 30854"/>
                    <a:gd name="connsiteX2" fmla="*/ 84747 w 84944"/>
                    <a:gd name="connsiteY2" fmla="*/ 19617 h 30854"/>
                    <a:gd name="connsiteX3" fmla="*/ 84926 w 84944"/>
                    <a:gd name="connsiteY3" fmla="*/ 18122 h 30854"/>
                    <a:gd name="connsiteX4" fmla="*/ 73443 w 84944"/>
                    <a:gd name="connsiteY4" fmla="*/ 5263 h 30854"/>
                    <a:gd name="connsiteX5" fmla="*/ 0 w 84944"/>
                    <a:gd name="connsiteY5" fmla="*/ 0 h 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944" h="30854">
                      <a:moveTo>
                        <a:pt x="8911" y="26614"/>
                      </a:moveTo>
                      <a:cubicBezTo>
                        <a:pt x="52631" y="34030"/>
                        <a:pt x="68718" y="29425"/>
                        <a:pt x="72068" y="29605"/>
                      </a:cubicBezTo>
                      <a:cubicBezTo>
                        <a:pt x="78288" y="29963"/>
                        <a:pt x="83670" y="25597"/>
                        <a:pt x="84747" y="19617"/>
                      </a:cubicBezTo>
                      <a:cubicBezTo>
                        <a:pt x="84807" y="19138"/>
                        <a:pt x="84866" y="18660"/>
                        <a:pt x="84926" y="18122"/>
                      </a:cubicBezTo>
                      <a:cubicBezTo>
                        <a:pt x="85285" y="11423"/>
                        <a:pt x="80142" y="5622"/>
                        <a:pt x="73443" y="5263"/>
                      </a:cubicBezTo>
                      <a:cubicBezTo>
                        <a:pt x="72606" y="5203"/>
                        <a:pt x="48863" y="9091"/>
                        <a:pt x="0" y="0"/>
                      </a:cubicBezTo>
                    </a:path>
                  </a:pathLst>
                </a:custGeom>
                <a:grpFill/>
                <a:ln w="6350" cap="flat">
                  <a:solidFill>
                    <a:schemeClr val="bg1">
                      <a:alpha val="80000"/>
                    </a:schemeClr>
                  </a:solidFill>
                  <a:custDash>
                    <a:ds d="191392" sp="191392"/>
                  </a:custDash>
                  <a:miter/>
                </a:ln>
              </p:spPr>
              <p:txBody>
                <a:bodyPr rtlCol="0" anchor="ctr"/>
                <a:lstStyle/>
                <a:p>
                  <a:endParaRPr lang="en-GB"/>
                </a:p>
              </p:txBody>
            </p:sp>
            <p:sp>
              <p:nvSpPr>
                <p:cNvPr id="8575" name="Vrije vorm: vorm 8574">
                  <a:extLst>
                    <a:ext uri="{FF2B5EF4-FFF2-40B4-BE49-F238E27FC236}">
                      <a16:creationId xmlns:a16="http://schemas.microsoft.com/office/drawing/2014/main" id="{7CC4FC08-EE4D-4AAC-A609-138B281E12CD}"/>
                    </a:ext>
                  </a:extLst>
                </p:cNvPr>
                <p:cNvSpPr/>
                <p:nvPr/>
              </p:nvSpPr>
              <p:spPr>
                <a:xfrm>
                  <a:off x="4436100" y="3227058"/>
                  <a:ext cx="7176" cy="1495"/>
                </a:xfrm>
                <a:custGeom>
                  <a:avLst/>
                  <a:gdLst>
                    <a:gd name="connsiteX0" fmla="*/ 7177 w 7176"/>
                    <a:gd name="connsiteY0" fmla="*/ 1495 h 1495"/>
                    <a:gd name="connsiteX1" fmla="*/ 0 w 7176"/>
                    <a:gd name="connsiteY1" fmla="*/ 0 h 1495"/>
                  </a:gdLst>
                  <a:ahLst/>
                  <a:cxnLst>
                    <a:cxn ang="0">
                      <a:pos x="connsiteX0" y="connsiteY0"/>
                    </a:cxn>
                    <a:cxn ang="0">
                      <a:pos x="connsiteX1" y="connsiteY1"/>
                    </a:cxn>
                  </a:cxnLst>
                  <a:rect l="l" t="t" r="r" b="b"/>
                  <a:pathLst>
                    <a:path w="7176" h="1495">
                      <a:moveTo>
                        <a:pt x="7177" y="1495"/>
                      </a:moveTo>
                      <a:cubicBezTo>
                        <a:pt x="4844" y="1017"/>
                        <a:pt x="2452" y="538"/>
                        <a:pt x="0" y="0"/>
                      </a:cubicBezTo>
                    </a:path>
                  </a:pathLst>
                </a:custGeom>
                <a:grpFill/>
                <a:ln w="6350" cap="flat">
                  <a:solidFill>
                    <a:schemeClr val="bg1">
                      <a:alpha val="80000"/>
                    </a:schemeClr>
                  </a:solidFill>
                  <a:prstDash val="solid"/>
                  <a:miter/>
                </a:ln>
              </p:spPr>
              <p:txBody>
                <a:bodyPr rtlCol="0" anchor="ctr"/>
                <a:lstStyle/>
                <a:p>
                  <a:endParaRPr lang="en-GB"/>
                </a:p>
              </p:txBody>
            </p:sp>
          </p:grpSp>
          <p:grpSp>
            <p:nvGrpSpPr>
              <p:cNvPr id="8538" name="Graphic 3">
                <a:extLst>
                  <a:ext uri="{FF2B5EF4-FFF2-40B4-BE49-F238E27FC236}">
                    <a16:creationId xmlns:a16="http://schemas.microsoft.com/office/drawing/2014/main" id="{CF671306-6124-4D77-BCD6-2903A0A3B725}"/>
                  </a:ext>
                </a:extLst>
              </p:cNvPr>
              <p:cNvGrpSpPr/>
              <p:nvPr/>
            </p:nvGrpSpPr>
            <p:grpSpPr>
              <a:xfrm>
                <a:off x="4157402" y="3139856"/>
                <a:ext cx="195901" cy="60288"/>
                <a:chOff x="4157402" y="3139856"/>
                <a:chExt cx="195901" cy="60288"/>
              </a:xfrm>
              <a:grpFill/>
            </p:grpSpPr>
            <p:grpSp>
              <p:nvGrpSpPr>
                <p:cNvPr id="8568" name="Graphic 3">
                  <a:extLst>
                    <a:ext uri="{FF2B5EF4-FFF2-40B4-BE49-F238E27FC236}">
                      <a16:creationId xmlns:a16="http://schemas.microsoft.com/office/drawing/2014/main" id="{8CC2ABFC-CE6E-4CED-955B-95C4C2D8366D}"/>
                    </a:ext>
                  </a:extLst>
                </p:cNvPr>
                <p:cNvGrpSpPr/>
                <p:nvPr/>
              </p:nvGrpSpPr>
              <p:grpSpPr>
                <a:xfrm>
                  <a:off x="4299620" y="3166138"/>
                  <a:ext cx="53683" cy="34006"/>
                  <a:chOff x="4299620" y="3166138"/>
                  <a:chExt cx="53683" cy="34006"/>
                </a:xfrm>
                <a:grpFill/>
              </p:grpSpPr>
              <p:sp>
                <p:nvSpPr>
                  <p:cNvPr id="8570" name="Vrije vorm: vorm 8569">
                    <a:extLst>
                      <a:ext uri="{FF2B5EF4-FFF2-40B4-BE49-F238E27FC236}">
                        <a16:creationId xmlns:a16="http://schemas.microsoft.com/office/drawing/2014/main" id="{AC9F0852-93E1-48D5-956E-510A6DA4FC2E}"/>
                      </a:ext>
                    </a:extLst>
                  </p:cNvPr>
                  <p:cNvSpPr/>
                  <p:nvPr/>
                </p:nvSpPr>
                <p:spPr>
                  <a:xfrm>
                    <a:off x="4301175" y="3187047"/>
                    <a:ext cx="5621" cy="4605"/>
                  </a:xfrm>
                  <a:custGeom>
                    <a:avLst/>
                    <a:gdLst>
                      <a:gd name="connsiteX0" fmla="*/ 5622 w 5621"/>
                      <a:gd name="connsiteY0" fmla="*/ 4605 h 4605"/>
                      <a:gd name="connsiteX1" fmla="*/ 0 w 5621"/>
                      <a:gd name="connsiteY1" fmla="*/ 0 h 4605"/>
                    </a:gdLst>
                    <a:ahLst/>
                    <a:cxnLst>
                      <a:cxn ang="0">
                        <a:pos x="connsiteX0" y="connsiteY0"/>
                      </a:cxn>
                      <a:cxn ang="0">
                        <a:pos x="connsiteX1" y="connsiteY1"/>
                      </a:cxn>
                    </a:cxnLst>
                    <a:rect l="l" t="t" r="r" b="b"/>
                    <a:pathLst>
                      <a:path w="5621" h="4605">
                        <a:moveTo>
                          <a:pt x="5622" y="4605"/>
                        </a:moveTo>
                        <a:cubicBezTo>
                          <a:pt x="3290" y="3588"/>
                          <a:pt x="1376" y="1974"/>
                          <a:pt x="0" y="0"/>
                        </a:cubicBezTo>
                      </a:path>
                    </a:pathLst>
                  </a:custGeom>
                  <a:grpFill/>
                  <a:ln w="6350" cap="flat">
                    <a:solidFill>
                      <a:schemeClr val="bg1">
                        <a:alpha val="80000"/>
                      </a:schemeClr>
                    </a:solidFill>
                    <a:prstDash val="solid"/>
                    <a:miter/>
                  </a:ln>
                </p:spPr>
                <p:txBody>
                  <a:bodyPr rtlCol="0" anchor="ctr"/>
                  <a:lstStyle/>
                  <a:p>
                    <a:endParaRPr lang="en-GB"/>
                  </a:p>
                </p:txBody>
              </p:sp>
              <p:sp>
                <p:nvSpPr>
                  <p:cNvPr id="8571" name="Vrije vorm: vorm 8570">
                    <a:extLst>
                      <a:ext uri="{FF2B5EF4-FFF2-40B4-BE49-F238E27FC236}">
                        <a16:creationId xmlns:a16="http://schemas.microsoft.com/office/drawing/2014/main" id="{1544E76E-378A-430A-BC05-A8D21292FBF7}"/>
                      </a:ext>
                    </a:extLst>
                  </p:cNvPr>
                  <p:cNvSpPr/>
                  <p:nvPr/>
                </p:nvSpPr>
                <p:spPr>
                  <a:xfrm>
                    <a:off x="4299620" y="3166138"/>
                    <a:ext cx="53683" cy="25155"/>
                  </a:xfrm>
                  <a:custGeom>
                    <a:avLst/>
                    <a:gdLst>
                      <a:gd name="connsiteX0" fmla="*/ 0 w 53683"/>
                      <a:gd name="connsiteY0" fmla="*/ 8709 h 25155"/>
                      <a:gd name="connsiteX1" fmla="*/ 299 w 53683"/>
                      <a:gd name="connsiteY1" fmla="*/ 7991 h 25155"/>
                      <a:gd name="connsiteX2" fmla="*/ 17882 w 53683"/>
                      <a:gd name="connsiteY2" fmla="*/ 1113 h 25155"/>
                      <a:gd name="connsiteX3" fmla="*/ 41327 w 53683"/>
                      <a:gd name="connsiteY3" fmla="*/ 7752 h 25155"/>
                      <a:gd name="connsiteX4" fmla="*/ 53647 w 53683"/>
                      <a:gd name="connsiteY4" fmla="*/ 21986 h 25155"/>
                      <a:gd name="connsiteX5" fmla="*/ 53049 w 53683"/>
                      <a:gd name="connsiteY5" fmla="*/ 25156 h 2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83" h="25155">
                        <a:moveTo>
                          <a:pt x="0" y="8709"/>
                        </a:moveTo>
                        <a:cubicBezTo>
                          <a:pt x="60" y="8469"/>
                          <a:pt x="179" y="8230"/>
                          <a:pt x="299" y="7991"/>
                        </a:cubicBezTo>
                        <a:cubicBezTo>
                          <a:pt x="3229" y="1233"/>
                          <a:pt x="11124" y="-1818"/>
                          <a:pt x="17882" y="1113"/>
                        </a:cubicBezTo>
                        <a:cubicBezTo>
                          <a:pt x="30980" y="6855"/>
                          <a:pt x="41207" y="7692"/>
                          <a:pt x="41327" y="7752"/>
                        </a:cubicBezTo>
                        <a:cubicBezTo>
                          <a:pt x="48683" y="8230"/>
                          <a:pt x="54185" y="14629"/>
                          <a:pt x="53647" y="21986"/>
                        </a:cubicBezTo>
                        <a:cubicBezTo>
                          <a:pt x="53587" y="23122"/>
                          <a:pt x="53348" y="24139"/>
                          <a:pt x="53049" y="25156"/>
                        </a:cubicBezTo>
                      </a:path>
                    </a:pathLst>
                  </a:custGeom>
                  <a:grpFill/>
                  <a:ln w="6350" cap="flat">
                    <a:solidFill>
                      <a:schemeClr val="bg1">
                        <a:alpha val="80000"/>
                      </a:schemeClr>
                    </a:solidFill>
                    <a:custDash>
                      <a:ds d="160170" sp="160170"/>
                    </a:custDash>
                    <a:miter/>
                  </a:ln>
                </p:spPr>
                <p:txBody>
                  <a:bodyPr rtlCol="0" anchor="ctr"/>
                  <a:lstStyle/>
                  <a:p>
                    <a:endParaRPr lang="en-GB"/>
                  </a:p>
                </p:txBody>
              </p:sp>
              <p:sp>
                <p:nvSpPr>
                  <p:cNvPr id="8572" name="Vrije vorm: vorm 8571">
                    <a:extLst>
                      <a:ext uri="{FF2B5EF4-FFF2-40B4-BE49-F238E27FC236}">
                        <a16:creationId xmlns:a16="http://schemas.microsoft.com/office/drawing/2014/main" id="{1BA63198-96AB-49D4-8AC0-84B0079744C1}"/>
                      </a:ext>
                    </a:extLst>
                  </p:cNvPr>
                  <p:cNvSpPr/>
                  <p:nvPr/>
                </p:nvSpPr>
                <p:spPr>
                  <a:xfrm>
                    <a:off x="4342981" y="3196616"/>
                    <a:ext cx="6339" cy="3528"/>
                  </a:xfrm>
                  <a:custGeom>
                    <a:avLst/>
                    <a:gdLst>
                      <a:gd name="connsiteX0" fmla="*/ 6340 w 6339"/>
                      <a:gd name="connsiteY0" fmla="*/ 0 h 3528"/>
                      <a:gd name="connsiteX1" fmla="*/ 0 w 6339"/>
                      <a:gd name="connsiteY1" fmla="*/ 3529 h 3528"/>
                    </a:gdLst>
                    <a:ahLst/>
                    <a:cxnLst>
                      <a:cxn ang="0">
                        <a:pos x="connsiteX0" y="connsiteY0"/>
                      </a:cxn>
                      <a:cxn ang="0">
                        <a:pos x="connsiteX1" y="connsiteY1"/>
                      </a:cxn>
                    </a:cxnLst>
                    <a:rect l="l" t="t" r="r" b="b"/>
                    <a:pathLst>
                      <a:path w="6339" h="3528">
                        <a:moveTo>
                          <a:pt x="6340" y="0"/>
                        </a:moveTo>
                        <a:cubicBezTo>
                          <a:pt x="4605" y="1734"/>
                          <a:pt x="2392" y="2930"/>
                          <a:pt x="0" y="3529"/>
                        </a:cubicBezTo>
                      </a:path>
                    </a:pathLst>
                  </a:custGeom>
                  <a:grpFill/>
                  <a:ln w="6350" cap="flat">
                    <a:solidFill>
                      <a:schemeClr val="bg1">
                        <a:alpha val="80000"/>
                      </a:schemeClr>
                    </a:solidFill>
                    <a:prstDash val="solid"/>
                    <a:miter/>
                  </a:ln>
                </p:spPr>
                <p:txBody>
                  <a:bodyPr rtlCol="0" anchor="ctr"/>
                  <a:lstStyle/>
                  <a:p>
                    <a:endParaRPr lang="en-GB"/>
                  </a:p>
                </p:txBody>
              </p:sp>
            </p:grpSp>
            <p:sp>
              <p:nvSpPr>
                <p:cNvPr id="8569" name="Vrije vorm: vorm 8568">
                  <a:extLst>
                    <a:ext uri="{FF2B5EF4-FFF2-40B4-BE49-F238E27FC236}">
                      <a16:creationId xmlns:a16="http://schemas.microsoft.com/office/drawing/2014/main" id="{183069BD-2C6D-49ED-86D4-4B6BE9993ED5}"/>
                    </a:ext>
                  </a:extLst>
                </p:cNvPr>
                <p:cNvSpPr/>
                <p:nvPr/>
              </p:nvSpPr>
              <p:spPr>
                <a:xfrm>
                  <a:off x="4157402" y="3139856"/>
                  <a:ext cx="146853" cy="57345"/>
                </a:xfrm>
                <a:custGeom>
                  <a:avLst/>
                  <a:gdLst>
                    <a:gd name="connsiteX0" fmla="*/ 3166 w 146853"/>
                    <a:gd name="connsiteY0" fmla="*/ 32119 h 57345"/>
                    <a:gd name="connsiteX1" fmla="*/ 4422 w 146853"/>
                    <a:gd name="connsiteY1" fmla="*/ 52514 h 57345"/>
                    <a:gd name="connsiteX2" fmla="*/ 26730 w 146853"/>
                    <a:gd name="connsiteY2" fmla="*/ 52932 h 57345"/>
                    <a:gd name="connsiteX3" fmla="*/ 122601 w 146853"/>
                    <a:gd name="connsiteY3" fmla="*/ 44141 h 57345"/>
                    <a:gd name="connsiteX4" fmla="*/ 144371 w 146853"/>
                    <a:gd name="connsiteY4" fmla="*/ 39296 h 57345"/>
                    <a:gd name="connsiteX5" fmla="*/ 139646 w 146853"/>
                    <a:gd name="connsiteY5" fmla="*/ 17586 h 57345"/>
                    <a:gd name="connsiteX6" fmla="*/ 95867 w 146853"/>
                    <a:gd name="connsiteY6" fmla="*/ 1558 h 57345"/>
                    <a:gd name="connsiteX7" fmla="*/ 4900 w 146853"/>
                    <a:gd name="connsiteY7" fmla="*/ 30206 h 57345"/>
                    <a:gd name="connsiteX8" fmla="*/ 3166 w 146853"/>
                    <a:gd name="connsiteY8" fmla="*/ 32119 h 5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853" h="57345">
                      <a:moveTo>
                        <a:pt x="3166" y="32119"/>
                      </a:moveTo>
                      <a:cubicBezTo>
                        <a:pt x="-1439" y="38220"/>
                        <a:pt x="-1020" y="46892"/>
                        <a:pt x="4422" y="52514"/>
                      </a:cubicBezTo>
                      <a:cubicBezTo>
                        <a:pt x="10462" y="58793"/>
                        <a:pt x="20450" y="58973"/>
                        <a:pt x="26730" y="52932"/>
                      </a:cubicBezTo>
                      <a:cubicBezTo>
                        <a:pt x="69672" y="11546"/>
                        <a:pt x="120508" y="42765"/>
                        <a:pt x="122601" y="44141"/>
                      </a:cubicBezTo>
                      <a:cubicBezTo>
                        <a:pt x="129957" y="48746"/>
                        <a:pt x="139706" y="46593"/>
                        <a:pt x="144371" y="39296"/>
                      </a:cubicBezTo>
                      <a:cubicBezTo>
                        <a:pt x="149036" y="32000"/>
                        <a:pt x="146943" y="22251"/>
                        <a:pt x="139646" y="17586"/>
                      </a:cubicBezTo>
                      <a:cubicBezTo>
                        <a:pt x="138869" y="17108"/>
                        <a:pt x="120986" y="5744"/>
                        <a:pt x="95867" y="1558"/>
                      </a:cubicBezTo>
                      <a:cubicBezTo>
                        <a:pt x="61657" y="-4124"/>
                        <a:pt x="30199" y="5804"/>
                        <a:pt x="4900" y="30206"/>
                      </a:cubicBezTo>
                      <a:cubicBezTo>
                        <a:pt x="4243" y="30804"/>
                        <a:pt x="3644" y="31462"/>
                        <a:pt x="3166" y="32119"/>
                      </a:cubicBezTo>
                      <a:close/>
                    </a:path>
                  </a:pathLst>
                </a:custGeom>
                <a:grpFill/>
                <a:ln w="6350" cap="flat">
                  <a:solidFill>
                    <a:schemeClr val="bg1">
                      <a:alpha val="80000"/>
                    </a:schemeClr>
                  </a:solidFill>
                  <a:custDash>
                    <a:ds d="182190" sp="182190"/>
                  </a:custDash>
                  <a:miter/>
                </a:ln>
              </p:spPr>
              <p:txBody>
                <a:bodyPr rtlCol="0" anchor="ctr"/>
                <a:lstStyle/>
                <a:p>
                  <a:endParaRPr lang="en-GB"/>
                </a:p>
              </p:txBody>
            </p:sp>
          </p:grpSp>
          <p:sp>
            <p:nvSpPr>
              <p:cNvPr id="8539" name="Vrije vorm: vorm 8538">
                <a:extLst>
                  <a:ext uri="{FF2B5EF4-FFF2-40B4-BE49-F238E27FC236}">
                    <a16:creationId xmlns:a16="http://schemas.microsoft.com/office/drawing/2014/main" id="{9FDD4D84-1DD2-4C8B-A22D-84DB9F37FB37}"/>
                  </a:ext>
                </a:extLst>
              </p:cNvPr>
              <p:cNvSpPr/>
              <p:nvPr/>
            </p:nvSpPr>
            <p:spPr>
              <a:xfrm>
                <a:off x="4032122" y="3303212"/>
                <a:ext cx="21371" cy="18292"/>
              </a:xfrm>
              <a:custGeom>
                <a:avLst/>
                <a:gdLst>
                  <a:gd name="connsiteX0" fmla="*/ 13676 w 21371"/>
                  <a:gd name="connsiteY0" fmla="*/ 17743 h 18292"/>
                  <a:gd name="connsiteX1" fmla="*/ 20374 w 21371"/>
                  <a:gd name="connsiteY1" fmla="*/ 16068 h 18292"/>
                  <a:gd name="connsiteX2" fmla="*/ 19118 w 21371"/>
                  <a:gd name="connsiteY2" fmla="*/ 8652 h 18292"/>
                  <a:gd name="connsiteX3" fmla="*/ 8413 w 21371"/>
                  <a:gd name="connsiteY3" fmla="*/ 997 h 18292"/>
                  <a:gd name="connsiteX4" fmla="*/ 997 w 21371"/>
                  <a:gd name="connsiteY4" fmla="*/ 2253 h 18292"/>
                  <a:gd name="connsiteX5" fmla="*/ 2253 w 21371"/>
                  <a:gd name="connsiteY5" fmla="*/ 9669 h 18292"/>
                  <a:gd name="connsiteX6" fmla="*/ 12958 w 21371"/>
                  <a:gd name="connsiteY6" fmla="*/ 17324 h 18292"/>
                  <a:gd name="connsiteX7" fmla="*/ 13676 w 21371"/>
                  <a:gd name="connsiteY7" fmla="*/ 17743 h 1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71" h="18292">
                    <a:moveTo>
                      <a:pt x="13676" y="17743"/>
                    </a:moveTo>
                    <a:cubicBezTo>
                      <a:pt x="15949" y="18879"/>
                      <a:pt x="18819" y="18221"/>
                      <a:pt x="20374" y="16068"/>
                    </a:cubicBezTo>
                    <a:cubicBezTo>
                      <a:pt x="22109" y="13676"/>
                      <a:pt x="21511" y="10327"/>
                      <a:pt x="19118" y="8652"/>
                    </a:cubicBezTo>
                    <a:lnTo>
                      <a:pt x="8413" y="997"/>
                    </a:lnTo>
                    <a:cubicBezTo>
                      <a:pt x="6021" y="-738"/>
                      <a:pt x="2671" y="-139"/>
                      <a:pt x="997" y="2253"/>
                    </a:cubicBezTo>
                    <a:cubicBezTo>
                      <a:pt x="-738" y="4645"/>
                      <a:pt x="-139" y="7994"/>
                      <a:pt x="2253" y="9669"/>
                    </a:cubicBezTo>
                    <a:lnTo>
                      <a:pt x="12958" y="17324"/>
                    </a:lnTo>
                    <a:cubicBezTo>
                      <a:pt x="13138" y="17504"/>
                      <a:pt x="13377" y="17623"/>
                      <a:pt x="13676" y="17743"/>
                    </a:cubicBezTo>
                    <a:close/>
                  </a:path>
                </a:pathLst>
              </a:custGeom>
              <a:grpFill/>
              <a:ln w="6350" cap="flat">
                <a:solidFill>
                  <a:schemeClr val="bg1">
                    <a:alpha val="80000"/>
                  </a:schemeClr>
                </a:solidFill>
                <a:custDash>
                  <a:ds d="186833" sp="186833"/>
                </a:custDash>
                <a:miter/>
              </a:ln>
            </p:spPr>
            <p:txBody>
              <a:bodyPr rtlCol="0" anchor="ctr"/>
              <a:lstStyle/>
              <a:p>
                <a:endParaRPr lang="en-GB"/>
              </a:p>
            </p:txBody>
          </p:sp>
          <p:sp>
            <p:nvSpPr>
              <p:cNvPr id="8540" name="Vrije vorm: vorm 8539">
                <a:extLst>
                  <a:ext uri="{FF2B5EF4-FFF2-40B4-BE49-F238E27FC236}">
                    <a16:creationId xmlns:a16="http://schemas.microsoft.com/office/drawing/2014/main" id="{BA5D6215-93BE-4617-897B-196AB1F5CD2C}"/>
                  </a:ext>
                </a:extLst>
              </p:cNvPr>
              <p:cNvSpPr/>
              <p:nvPr/>
            </p:nvSpPr>
            <p:spPr>
              <a:xfrm>
                <a:off x="4144704" y="3164495"/>
                <a:ext cx="294478" cy="148072"/>
              </a:xfrm>
              <a:custGeom>
                <a:avLst/>
                <a:gdLst>
                  <a:gd name="connsiteX0" fmla="*/ 275249 w 294478"/>
                  <a:gd name="connsiteY0" fmla="*/ 45458 h 148072"/>
                  <a:gd name="connsiteX1" fmla="*/ 272797 w 294478"/>
                  <a:gd name="connsiteY1" fmla="*/ 147848 h 148072"/>
                  <a:gd name="connsiteX2" fmla="*/ 120228 w 294478"/>
                  <a:gd name="connsiteY2" fmla="*/ 113997 h 148072"/>
                  <a:gd name="connsiteX3" fmla="*/ 16642 w 294478"/>
                  <a:gd name="connsiteY3" fmla="*/ 83256 h 148072"/>
                  <a:gd name="connsiteX4" fmla="*/ 24776 w 294478"/>
                  <a:gd name="connsiteY4" fmla="*/ 304 h 148072"/>
                  <a:gd name="connsiteX5" fmla="*/ 110540 w 294478"/>
                  <a:gd name="connsiteY5" fmla="*/ 37265 h 148072"/>
                  <a:gd name="connsiteX6" fmla="*/ 202942 w 294478"/>
                  <a:gd name="connsiteY6" fmla="*/ 32360 h 148072"/>
                  <a:gd name="connsiteX7" fmla="*/ 275249 w 294478"/>
                  <a:gd name="connsiteY7" fmla="*/ 45458 h 14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478" h="148072">
                    <a:moveTo>
                      <a:pt x="275249" y="45458"/>
                    </a:moveTo>
                    <a:cubicBezTo>
                      <a:pt x="298155" y="49585"/>
                      <a:pt x="304375" y="153530"/>
                      <a:pt x="272797" y="147848"/>
                    </a:cubicBezTo>
                    <a:cubicBezTo>
                      <a:pt x="241278" y="142166"/>
                      <a:pt x="188469" y="138398"/>
                      <a:pt x="120228" y="113997"/>
                    </a:cubicBezTo>
                    <a:cubicBezTo>
                      <a:pt x="51988" y="89596"/>
                      <a:pt x="41881" y="106880"/>
                      <a:pt x="16642" y="83256"/>
                    </a:cubicBezTo>
                    <a:cubicBezTo>
                      <a:pt x="-8596" y="59632"/>
                      <a:pt x="-4530" y="-4959"/>
                      <a:pt x="24776" y="304"/>
                    </a:cubicBezTo>
                    <a:cubicBezTo>
                      <a:pt x="66880" y="7899"/>
                      <a:pt x="68674" y="29729"/>
                      <a:pt x="110540" y="37265"/>
                    </a:cubicBezTo>
                    <a:cubicBezTo>
                      <a:pt x="152405" y="44800"/>
                      <a:pt x="146843" y="22253"/>
                      <a:pt x="202942" y="32360"/>
                    </a:cubicBezTo>
                    <a:cubicBezTo>
                      <a:pt x="259101" y="42587"/>
                      <a:pt x="275249" y="45458"/>
                      <a:pt x="275249" y="45458"/>
                    </a:cubicBezTo>
                    <a:close/>
                  </a:path>
                </a:pathLst>
              </a:custGeom>
              <a:grpFill/>
              <a:ln w="6350" cap="flat">
                <a:solidFill>
                  <a:schemeClr val="bg1">
                    <a:alpha val="80000"/>
                  </a:schemeClr>
                </a:solidFill>
                <a:custDash>
                  <a:ds d="187478" sp="187478"/>
                </a:custDash>
                <a:miter/>
              </a:ln>
            </p:spPr>
            <p:txBody>
              <a:bodyPr rtlCol="0" anchor="ctr"/>
              <a:lstStyle/>
              <a:p>
                <a:endParaRPr lang="en-GB"/>
              </a:p>
            </p:txBody>
          </p:sp>
          <p:grpSp>
            <p:nvGrpSpPr>
              <p:cNvPr id="8541" name="Graphic 3">
                <a:extLst>
                  <a:ext uri="{FF2B5EF4-FFF2-40B4-BE49-F238E27FC236}">
                    <a16:creationId xmlns:a16="http://schemas.microsoft.com/office/drawing/2014/main" id="{A73ED29D-4724-4950-B0D6-F999DBFACDB7}"/>
                  </a:ext>
                </a:extLst>
              </p:cNvPr>
              <p:cNvGrpSpPr/>
              <p:nvPr/>
            </p:nvGrpSpPr>
            <p:grpSpPr>
              <a:xfrm>
                <a:off x="4047620" y="3311147"/>
                <a:ext cx="21323" cy="22747"/>
                <a:chOff x="4047620" y="3311147"/>
                <a:chExt cx="21323" cy="22747"/>
              </a:xfrm>
              <a:grpFill/>
            </p:grpSpPr>
            <p:sp>
              <p:nvSpPr>
                <p:cNvPr id="8565" name="Vrije vorm: vorm 8564">
                  <a:extLst>
                    <a:ext uri="{FF2B5EF4-FFF2-40B4-BE49-F238E27FC236}">
                      <a16:creationId xmlns:a16="http://schemas.microsoft.com/office/drawing/2014/main" id="{F60ADB29-8494-444A-9225-BDABE9BB5B98}"/>
                    </a:ext>
                  </a:extLst>
                </p:cNvPr>
                <p:cNvSpPr/>
                <p:nvPr/>
              </p:nvSpPr>
              <p:spPr>
                <a:xfrm>
                  <a:off x="4056803" y="3311147"/>
                  <a:ext cx="7236" cy="1435"/>
                </a:xfrm>
                <a:custGeom>
                  <a:avLst/>
                  <a:gdLst>
                    <a:gd name="connsiteX0" fmla="*/ 7237 w 7236"/>
                    <a:gd name="connsiteY0" fmla="*/ 0 h 1435"/>
                    <a:gd name="connsiteX1" fmla="*/ 0 w 7236"/>
                    <a:gd name="connsiteY1" fmla="*/ 1435 h 1435"/>
                  </a:gdLst>
                  <a:ahLst/>
                  <a:cxnLst>
                    <a:cxn ang="0">
                      <a:pos x="connsiteX0" y="connsiteY0"/>
                    </a:cxn>
                    <a:cxn ang="0">
                      <a:pos x="connsiteX1" y="connsiteY1"/>
                    </a:cxn>
                  </a:cxnLst>
                  <a:rect l="l" t="t" r="r" b="b"/>
                  <a:pathLst>
                    <a:path w="7236" h="1435">
                      <a:moveTo>
                        <a:pt x="7237" y="0"/>
                      </a:moveTo>
                      <a:cubicBezTo>
                        <a:pt x="3947" y="598"/>
                        <a:pt x="1675" y="1077"/>
                        <a:pt x="0" y="1435"/>
                      </a:cubicBezTo>
                    </a:path>
                  </a:pathLst>
                </a:custGeom>
                <a:grpFill/>
                <a:ln w="6350" cap="flat">
                  <a:solidFill>
                    <a:schemeClr val="bg1">
                      <a:alpha val="80000"/>
                    </a:schemeClr>
                  </a:solidFill>
                  <a:prstDash val="solid"/>
                  <a:miter/>
                </a:ln>
              </p:spPr>
              <p:txBody>
                <a:bodyPr rtlCol="0" anchor="ctr"/>
                <a:lstStyle/>
                <a:p>
                  <a:endParaRPr lang="en-GB"/>
                </a:p>
              </p:txBody>
            </p:sp>
            <p:sp>
              <p:nvSpPr>
                <p:cNvPr id="8566" name="Vrije vorm: vorm 8565">
                  <a:extLst>
                    <a:ext uri="{FF2B5EF4-FFF2-40B4-BE49-F238E27FC236}">
                      <a16:creationId xmlns:a16="http://schemas.microsoft.com/office/drawing/2014/main" id="{B09916EE-0557-46F0-81F9-D5995D73E3DD}"/>
                    </a:ext>
                  </a:extLst>
                </p:cNvPr>
                <p:cNvSpPr/>
                <p:nvPr/>
              </p:nvSpPr>
              <p:spPr>
                <a:xfrm>
                  <a:off x="4047620" y="3319041"/>
                  <a:ext cx="10857" cy="14852"/>
                </a:xfrm>
                <a:custGeom>
                  <a:avLst/>
                  <a:gdLst>
                    <a:gd name="connsiteX0" fmla="*/ 1049 w 10857"/>
                    <a:gd name="connsiteY0" fmla="*/ 0 h 14852"/>
                    <a:gd name="connsiteX1" fmla="*/ 391 w 10857"/>
                    <a:gd name="connsiteY1" fmla="*/ 7296 h 14852"/>
                    <a:gd name="connsiteX2" fmla="*/ 5833 w 10857"/>
                    <a:gd name="connsiteY2" fmla="*/ 13815 h 14852"/>
                    <a:gd name="connsiteX3" fmla="*/ 10857 w 10857"/>
                    <a:gd name="connsiteY3" fmla="*/ 14832 h 14852"/>
                  </a:gdLst>
                  <a:ahLst/>
                  <a:cxnLst>
                    <a:cxn ang="0">
                      <a:pos x="connsiteX0" y="connsiteY0"/>
                    </a:cxn>
                    <a:cxn ang="0">
                      <a:pos x="connsiteX1" y="connsiteY1"/>
                    </a:cxn>
                    <a:cxn ang="0">
                      <a:pos x="connsiteX2" y="connsiteY2"/>
                    </a:cxn>
                    <a:cxn ang="0">
                      <a:pos x="connsiteX3" y="connsiteY3"/>
                    </a:cxn>
                  </a:cxnLst>
                  <a:rect l="l" t="t" r="r" b="b"/>
                  <a:pathLst>
                    <a:path w="10857" h="14852">
                      <a:moveTo>
                        <a:pt x="1049" y="0"/>
                      </a:moveTo>
                      <a:cubicBezTo>
                        <a:pt x="-28" y="2213"/>
                        <a:pt x="-326" y="4725"/>
                        <a:pt x="391" y="7296"/>
                      </a:cubicBezTo>
                      <a:cubicBezTo>
                        <a:pt x="1229" y="10287"/>
                        <a:pt x="3262" y="12560"/>
                        <a:pt x="5833" y="13815"/>
                      </a:cubicBezTo>
                      <a:cubicBezTo>
                        <a:pt x="7389" y="14533"/>
                        <a:pt x="9063" y="14952"/>
                        <a:pt x="10857" y="14832"/>
                      </a:cubicBezTo>
                    </a:path>
                  </a:pathLst>
                </a:custGeom>
                <a:grpFill/>
                <a:ln w="6350" cap="flat">
                  <a:solidFill>
                    <a:schemeClr val="bg1">
                      <a:alpha val="80000"/>
                    </a:schemeClr>
                  </a:solidFill>
                  <a:custDash>
                    <a:ds d="178830" sp="178830"/>
                  </a:custDash>
                  <a:miter/>
                </a:ln>
              </p:spPr>
              <p:txBody>
                <a:bodyPr rtlCol="0" anchor="ctr"/>
                <a:lstStyle/>
                <a:p>
                  <a:endParaRPr lang="en-GB"/>
                </a:p>
              </p:txBody>
            </p:sp>
            <p:sp>
              <p:nvSpPr>
                <p:cNvPr id="8567" name="Vrije vorm: vorm 8566">
                  <a:extLst>
                    <a:ext uri="{FF2B5EF4-FFF2-40B4-BE49-F238E27FC236}">
                      <a16:creationId xmlns:a16="http://schemas.microsoft.com/office/drawing/2014/main" id="{3D8BC20C-7868-49F1-847E-A332F267E1F8}"/>
                    </a:ext>
                  </a:extLst>
                </p:cNvPr>
                <p:cNvSpPr/>
                <p:nvPr/>
              </p:nvSpPr>
              <p:spPr>
                <a:xfrm>
                  <a:off x="4061767" y="3331302"/>
                  <a:ext cx="7176" cy="1435"/>
                </a:xfrm>
                <a:custGeom>
                  <a:avLst/>
                  <a:gdLst>
                    <a:gd name="connsiteX0" fmla="*/ 0 w 7176"/>
                    <a:gd name="connsiteY0" fmla="*/ 1435 h 1435"/>
                    <a:gd name="connsiteX1" fmla="*/ 7177 w 7176"/>
                    <a:gd name="connsiteY1" fmla="*/ 0 h 1435"/>
                  </a:gdLst>
                  <a:ahLst/>
                  <a:cxnLst>
                    <a:cxn ang="0">
                      <a:pos x="connsiteX0" y="connsiteY0"/>
                    </a:cxn>
                    <a:cxn ang="0">
                      <a:pos x="connsiteX1" y="connsiteY1"/>
                    </a:cxn>
                  </a:cxnLst>
                  <a:rect l="l" t="t" r="r" b="b"/>
                  <a:pathLst>
                    <a:path w="7176" h="1435">
                      <a:moveTo>
                        <a:pt x="0" y="1435"/>
                      </a:moveTo>
                      <a:cubicBezTo>
                        <a:pt x="1555" y="1077"/>
                        <a:pt x="3828" y="598"/>
                        <a:pt x="7177" y="0"/>
                      </a:cubicBezTo>
                    </a:path>
                  </a:pathLst>
                </a:custGeom>
                <a:grpFill/>
                <a:ln w="6350" cap="flat">
                  <a:solidFill>
                    <a:schemeClr val="bg1">
                      <a:alpha val="80000"/>
                    </a:schemeClr>
                  </a:solidFill>
                  <a:prstDash val="solid"/>
                  <a:miter/>
                </a:ln>
              </p:spPr>
              <p:txBody>
                <a:bodyPr rtlCol="0" anchor="ctr"/>
                <a:lstStyle/>
                <a:p>
                  <a:endParaRPr lang="en-GB"/>
                </a:p>
              </p:txBody>
            </p:sp>
          </p:grpSp>
          <p:sp>
            <p:nvSpPr>
              <p:cNvPr id="8542" name="Vrije vorm: vorm 8541">
                <a:extLst>
                  <a:ext uri="{FF2B5EF4-FFF2-40B4-BE49-F238E27FC236}">
                    <a16:creationId xmlns:a16="http://schemas.microsoft.com/office/drawing/2014/main" id="{AFE9416A-FEFF-460B-A805-6D9399349F7E}"/>
                  </a:ext>
                </a:extLst>
              </p:cNvPr>
              <p:cNvSpPr/>
              <p:nvPr/>
            </p:nvSpPr>
            <p:spPr>
              <a:xfrm>
                <a:off x="4061667" y="3217138"/>
                <a:ext cx="126849" cy="115260"/>
              </a:xfrm>
              <a:custGeom>
                <a:avLst/>
                <a:gdLst>
                  <a:gd name="connsiteX0" fmla="*/ 126593 w 126849"/>
                  <a:gd name="connsiteY0" fmla="*/ 18532 h 115260"/>
                  <a:gd name="connsiteX1" fmla="*/ 116306 w 126849"/>
                  <a:gd name="connsiteY1" fmla="*/ 889 h 115260"/>
                  <a:gd name="connsiteX2" fmla="*/ 96211 w 126849"/>
                  <a:gd name="connsiteY2" fmla="*/ 10578 h 115260"/>
                  <a:gd name="connsiteX3" fmla="*/ 12540 w 126849"/>
                  <a:gd name="connsiteY3" fmla="*/ 84021 h 115260"/>
                  <a:gd name="connsiteX4" fmla="*/ 339 w 126849"/>
                  <a:gd name="connsiteY4" fmla="*/ 102681 h 115260"/>
                  <a:gd name="connsiteX5" fmla="*/ 18880 w 126849"/>
                  <a:gd name="connsiteY5" fmla="*/ 114941 h 115260"/>
                  <a:gd name="connsiteX6" fmla="*/ 125994 w 126849"/>
                  <a:gd name="connsiteY6" fmla="*/ 21044 h 115260"/>
                  <a:gd name="connsiteX7" fmla="*/ 126593 w 126849"/>
                  <a:gd name="connsiteY7" fmla="*/ 18532 h 11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49" h="115260">
                    <a:moveTo>
                      <a:pt x="126593" y="18532"/>
                    </a:moveTo>
                    <a:cubicBezTo>
                      <a:pt x="127968" y="11056"/>
                      <a:pt x="123722" y="3461"/>
                      <a:pt x="116306" y="889"/>
                    </a:cubicBezTo>
                    <a:cubicBezTo>
                      <a:pt x="108112" y="-1982"/>
                      <a:pt x="99081" y="2324"/>
                      <a:pt x="96211" y="10578"/>
                    </a:cubicBezTo>
                    <a:cubicBezTo>
                      <a:pt x="75338" y="70146"/>
                      <a:pt x="15112" y="83483"/>
                      <a:pt x="12540" y="84021"/>
                    </a:cubicBezTo>
                    <a:cubicBezTo>
                      <a:pt x="4047" y="85815"/>
                      <a:pt x="-1455" y="94128"/>
                      <a:pt x="339" y="102681"/>
                    </a:cubicBezTo>
                    <a:cubicBezTo>
                      <a:pt x="2074" y="111173"/>
                      <a:pt x="10387" y="116676"/>
                      <a:pt x="18880" y="114941"/>
                    </a:cubicBezTo>
                    <a:cubicBezTo>
                      <a:pt x="22169" y="114283"/>
                      <a:pt x="99021" y="97836"/>
                      <a:pt x="125994" y="21044"/>
                    </a:cubicBezTo>
                    <a:cubicBezTo>
                      <a:pt x="126234" y="20207"/>
                      <a:pt x="126413" y="19369"/>
                      <a:pt x="126593" y="18532"/>
                    </a:cubicBezTo>
                    <a:close/>
                  </a:path>
                </a:pathLst>
              </a:custGeom>
              <a:grpFill/>
              <a:ln w="6350" cap="flat">
                <a:solidFill>
                  <a:schemeClr val="bg1">
                    <a:alpha val="80000"/>
                  </a:schemeClr>
                </a:solidFill>
                <a:custDash>
                  <a:ds d="189825" sp="189825"/>
                </a:custDash>
                <a:miter/>
              </a:ln>
            </p:spPr>
            <p:txBody>
              <a:bodyPr rtlCol="0" anchor="ctr"/>
              <a:lstStyle/>
              <a:p>
                <a:endParaRPr lang="en-GB"/>
              </a:p>
            </p:txBody>
          </p:sp>
          <p:grpSp>
            <p:nvGrpSpPr>
              <p:cNvPr id="8543" name="Graphic 3">
                <a:extLst>
                  <a:ext uri="{FF2B5EF4-FFF2-40B4-BE49-F238E27FC236}">
                    <a16:creationId xmlns:a16="http://schemas.microsoft.com/office/drawing/2014/main" id="{1C22A862-AF08-40D1-BC6C-0E3FF0DA1637}"/>
                  </a:ext>
                </a:extLst>
              </p:cNvPr>
              <p:cNvGrpSpPr/>
              <p:nvPr/>
            </p:nvGrpSpPr>
            <p:grpSpPr>
              <a:xfrm>
                <a:off x="4138679" y="3174128"/>
                <a:ext cx="20992" cy="24163"/>
                <a:chOff x="4138679" y="3174128"/>
                <a:chExt cx="20992" cy="24163"/>
              </a:xfrm>
              <a:grpFill/>
            </p:grpSpPr>
            <p:sp>
              <p:nvSpPr>
                <p:cNvPr id="8562" name="Vrije vorm: vorm 8561">
                  <a:extLst>
                    <a:ext uri="{FF2B5EF4-FFF2-40B4-BE49-F238E27FC236}">
                      <a16:creationId xmlns:a16="http://schemas.microsoft.com/office/drawing/2014/main" id="{5F953C80-5295-42E5-BAF9-244FB5FB789F}"/>
                    </a:ext>
                  </a:extLst>
                </p:cNvPr>
                <p:cNvSpPr/>
                <p:nvPr/>
              </p:nvSpPr>
              <p:spPr>
                <a:xfrm>
                  <a:off x="4158236" y="3191114"/>
                  <a:ext cx="1435" cy="7176"/>
                </a:xfrm>
                <a:custGeom>
                  <a:avLst/>
                  <a:gdLst>
                    <a:gd name="connsiteX0" fmla="*/ 0 w 1435"/>
                    <a:gd name="connsiteY0" fmla="*/ 7177 h 7176"/>
                    <a:gd name="connsiteX1" fmla="*/ 1435 w 1435"/>
                    <a:gd name="connsiteY1" fmla="*/ 0 h 7176"/>
                  </a:gdLst>
                  <a:ahLst/>
                  <a:cxnLst>
                    <a:cxn ang="0">
                      <a:pos x="connsiteX0" y="connsiteY0"/>
                    </a:cxn>
                    <a:cxn ang="0">
                      <a:pos x="connsiteX1" y="connsiteY1"/>
                    </a:cxn>
                  </a:cxnLst>
                  <a:rect l="l" t="t" r="r" b="b"/>
                  <a:pathLst>
                    <a:path w="1435" h="7176">
                      <a:moveTo>
                        <a:pt x="0" y="7177"/>
                      </a:moveTo>
                      <a:cubicBezTo>
                        <a:pt x="718" y="4725"/>
                        <a:pt x="1196" y="2273"/>
                        <a:pt x="1435" y="0"/>
                      </a:cubicBezTo>
                    </a:path>
                  </a:pathLst>
                </a:custGeom>
                <a:grpFill/>
                <a:ln w="6350" cap="flat">
                  <a:solidFill>
                    <a:schemeClr val="bg1">
                      <a:alpha val="80000"/>
                    </a:schemeClr>
                  </a:solidFill>
                  <a:prstDash val="solid"/>
                  <a:miter/>
                </a:ln>
              </p:spPr>
              <p:txBody>
                <a:bodyPr rtlCol="0" anchor="ctr"/>
                <a:lstStyle/>
                <a:p>
                  <a:endParaRPr lang="en-GB"/>
                </a:p>
              </p:txBody>
            </p:sp>
            <p:sp>
              <p:nvSpPr>
                <p:cNvPr id="8563" name="Vrije vorm: vorm 8562">
                  <a:extLst>
                    <a:ext uri="{FF2B5EF4-FFF2-40B4-BE49-F238E27FC236}">
                      <a16:creationId xmlns:a16="http://schemas.microsoft.com/office/drawing/2014/main" id="{A6286E21-A30D-4A70-8F8A-B432344B05C5}"/>
                    </a:ext>
                  </a:extLst>
                </p:cNvPr>
                <p:cNvSpPr/>
                <p:nvPr/>
              </p:nvSpPr>
              <p:spPr>
                <a:xfrm>
                  <a:off x="4144361" y="3174128"/>
                  <a:ext cx="14234" cy="6340"/>
                </a:xfrm>
                <a:custGeom>
                  <a:avLst/>
                  <a:gdLst>
                    <a:gd name="connsiteX0" fmla="*/ 14234 w 14234"/>
                    <a:gd name="connsiteY0" fmla="*/ 4546 h 6340"/>
                    <a:gd name="connsiteX1" fmla="*/ 10107 w 14234"/>
                    <a:gd name="connsiteY1" fmla="*/ 180 h 6340"/>
                    <a:gd name="connsiteX2" fmla="*/ 0 w 14234"/>
                    <a:gd name="connsiteY2" fmla="*/ 6341 h 6340"/>
                  </a:gdLst>
                  <a:ahLst/>
                  <a:cxnLst>
                    <a:cxn ang="0">
                      <a:pos x="connsiteX0" y="connsiteY0"/>
                    </a:cxn>
                    <a:cxn ang="0">
                      <a:pos x="connsiteX1" y="connsiteY1"/>
                    </a:cxn>
                    <a:cxn ang="0">
                      <a:pos x="connsiteX2" y="connsiteY2"/>
                    </a:cxn>
                  </a:cxnLst>
                  <a:rect l="l" t="t" r="r" b="b"/>
                  <a:pathLst>
                    <a:path w="14234" h="6340">
                      <a:moveTo>
                        <a:pt x="14234" y="4546"/>
                      </a:moveTo>
                      <a:cubicBezTo>
                        <a:pt x="13277" y="2214"/>
                        <a:pt x="11902" y="659"/>
                        <a:pt x="10107" y="180"/>
                      </a:cubicBezTo>
                      <a:cubicBezTo>
                        <a:pt x="6937" y="-717"/>
                        <a:pt x="3170" y="1795"/>
                        <a:pt x="0" y="6341"/>
                      </a:cubicBezTo>
                    </a:path>
                  </a:pathLst>
                </a:custGeom>
                <a:grpFill/>
                <a:ln w="6350" cap="flat">
                  <a:solidFill>
                    <a:schemeClr val="bg1">
                      <a:alpha val="80000"/>
                    </a:schemeClr>
                  </a:solidFill>
                  <a:custDash>
                    <a:ds d="157410" sp="157410"/>
                  </a:custDash>
                  <a:miter/>
                </a:ln>
              </p:spPr>
              <p:txBody>
                <a:bodyPr rtlCol="0" anchor="ctr"/>
                <a:lstStyle/>
                <a:p>
                  <a:endParaRPr lang="en-GB"/>
                </a:p>
              </p:txBody>
            </p:sp>
            <p:sp>
              <p:nvSpPr>
                <p:cNvPr id="8564" name="Vrije vorm: vorm 8563">
                  <a:extLst>
                    <a:ext uri="{FF2B5EF4-FFF2-40B4-BE49-F238E27FC236}">
                      <a16:creationId xmlns:a16="http://schemas.microsoft.com/office/drawing/2014/main" id="{C95BB6DE-BB3F-4509-87FC-337899C0A63A}"/>
                    </a:ext>
                  </a:extLst>
                </p:cNvPr>
                <p:cNvSpPr/>
                <p:nvPr/>
              </p:nvSpPr>
              <p:spPr>
                <a:xfrm>
                  <a:off x="4138679" y="3185911"/>
                  <a:ext cx="2511" cy="6877"/>
                </a:xfrm>
                <a:custGeom>
                  <a:avLst/>
                  <a:gdLst>
                    <a:gd name="connsiteX0" fmla="*/ 2512 w 2511"/>
                    <a:gd name="connsiteY0" fmla="*/ 0 h 6877"/>
                    <a:gd name="connsiteX1" fmla="*/ 0 w 2511"/>
                    <a:gd name="connsiteY1" fmla="*/ 6878 h 6877"/>
                  </a:gdLst>
                  <a:ahLst/>
                  <a:cxnLst>
                    <a:cxn ang="0">
                      <a:pos x="connsiteX0" y="connsiteY0"/>
                    </a:cxn>
                    <a:cxn ang="0">
                      <a:pos x="connsiteX1" y="connsiteY1"/>
                    </a:cxn>
                  </a:cxnLst>
                  <a:rect l="l" t="t" r="r" b="b"/>
                  <a:pathLst>
                    <a:path w="2511" h="6877">
                      <a:moveTo>
                        <a:pt x="2512" y="0"/>
                      </a:moveTo>
                      <a:cubicBezTo>
                        <a:pt x="1555" y="2093"/>
                        <a:pt x="658" y="4426"/>
                        <a:pt x="0" y="6878"/>
                      </a:cubicBezTo>
                    </a:path>
                  </a:pathLst>
                </a:custGeom>
                <a:grpFill/>
                <a:ln w="6350" cap="flat">
                  <a:solidFill>
                    <a:schemeClr val="bg1">
                      <a:alpha val="80000"/>
                    </a:schemeClr>
                  </a:solidFill>
                  <a:prstDash val="solid"/>
                  <a:miter/>
                </a:ln>
              </p:spPr>
              <p:txBody>
                <a:bodyPr rtlCol="0" anchor="ctr"/>
                <a:lstStyle/>
                <a:p>
                  <a:endParaRPr lang="en-GB"/>
                </a:p>
              </p:txBody>
            </p:sp>
          </p:grpSp>
          <p:grpSp>
            <p:nvGrpSpPr>
              <p:cNvPr id="8544" name="Graphic 3">
                <a:extLst>
                  <a:ext uri="{FF2B5EF4-FFF2-40B4-BE49-F238E27FC236}">
                    <a16:creationId xmlns:a16="http://schemas.microsoft.com/office/drawing/2014/main" id="{8A3AE8CF-9070-4A60-BE3D-631B4C27F961}"/>
                  </a:ext>
                </a:extLst>
              </p:cNvPr>
              <p:cNvGrpSpPr/>
              <p:nvPr/>
            </p:nvGrpSpPr>
            <p:grpSpPr>
              <a:xfrm>
                <a:off x="4125521" y="3177179"/>
                <a:ext cx="30694" cy="31355"/>
                <a:chOff x="4125521" y="3177179"/>
                <a:chExt cx="30694" cy="31355"/>
              </a:xfrm>
              <a:grpFill/>
            </p:grpSpPr>
            <p:sp>
              <p:nvSpPr>
                <p:cNvPr id="8559" name="Vrije vorm: vorm 8558">
                  <a:extLst>
                    <a:ext uri="{FF2B5EF4-FFF2-40B4-BE49-F238E27FC236}">
                      <a16:creationId xmlns:a16="http://schemas.microsoft.com/office/drawing/2014/main" id="{C0840CB8-F59E-4C21-B182-B450C9ABBB40}"/>
                    </a:ext>
                  </a:extLst>
                </p:cNvPr>
                <p:cNvSpPr/>
                <p:nvPr/>
              </p:nvSpPr>
              <p:spPr>
                <a:xfrm>
                  <a:off x="4130784" y="3177179"/>
                  <a:ext cx="9030" cy="7057"/>
                </a:xfrm>
                <a:custGeom>
                  <a:avLst/>
                  <a:gdLst>
                    <a:gd name="connsiteX0" fmla="*/ 9031 w 9030"/>
                    <a:gd name="connsiteY0" fmla="*/ 1974 h 7057"/>
                    <a:gd name="connsiteX1" fmla="*/ 1974 w 9030"/>
                    <a:gd name="connsiteY1" fmla="*/ 0 h 7057"/>
                    <a:gd name="connsiteX2" fmla="*/ 0 w 9030"/>
                    <a:gd name="connsiteY2" fmla="*/ 7057 h 7057"/>
                  </a:gdLst>
                  <a:ahLst/>
                  <a:cxnLst>
                    <a:cxn ang="0">
                      <a:pos x="connsiteX0" y="connsiteY0"/>
                    </a:cxn>
                    <a:cxn ang="0">
                      <a:pos x="connsiteX1" y="connsiteY1"/>
                    </a:cxn>
                    <a:cxn ang="0">
                      <a:pos x="connsiteX2" y="connsiteY2"/>
                    </a:cxn>
                  </a:cxnLst>
                  <a:rect l="l" t="t" r="r" b="b"/>
                  <a:pathLst>
                    <a:path w="9030" h="7057">
                      <a:moveTo>
                        <a:pt x="9031" y="1974"/>
                      </a:moveTo>
                      <a:lnTo>
                        <a:pt x="1974" y="0"/>
                      </a:lnTo>
                      <a:lnTo>
                        <a:pt x="0" y="7057"/>
                      </a:lnTo>
                    </a:path>
                  </a:pathLst>
                </a:custGeom>
                <a:grpFill/>
                <a:ln w="6350" cap="flat">
                  <a:solidFill>
                    <a:schemeClr val="bg1">
                      <a:alpha val="80000"/>
                    </a:schemeClr>
                  </a:solidFill>
                  <a:prstDash val="solid"/>
                  <a:miter/>
                </a:ln>
              </p:spPr>
              <p:txBody>
                <a:bodyPr rtlCol="0" anchor="ctr"/>
                <a:lstStyle/>
                <a:p>
                  <a:endParaRPr lang="en-GB"/>
                </a:p>
              </p:txBody>
            </p:sp>
            <p:sp>
              <p:nvSpPr>
                <p:cNvPr id="8560" name="Vrije vorm: vorm 8559">
                  <a:extLst>
                    <a:ext uri="{FF2B5EF4-FFF2-40B4-BE49-F238E27FC236}">
                      <a16:creationId xmlns:a16="http://schemas.microsoft.com/office/drawing/2014/main" id="{C0B326E5-0AA9-4FC0-9DC0-AC4A97861675}"/>
                    </a:ext>
                  </a:extLst>
                </p:cNvPr>
                <p:cNvSpPr/>
                <p:nvPr/>
              </p:nvSpPr>
              <p:spPr>
                <a:xfrm>
                  <a:off x="4125521" y="3195958"/>
                  <a:ext cx="7057" cy="9030"/>
                </a:xfrm>
                <a:custGeom>
                  <a:avLst/>
                  <a:gdLst>
                    <a:gd name="connsiteX0" fmla="*/ 1974 w 7057"/>
                    <a:gd name="connsiteY0" fmla="*/ 0 h 9030"/>
                    <a:gd name="connsiteX1" fmla="*/ 0 w 7057"/>
                    <a:gd name="connsiteY1" fmla="*/ 7057 h 9030"/>
                    <a:gd name="connsiteX2" fmla="*/ 7058 w 7057"/>
                    <a:gd name="connsiteY2" fmla="*/ 9031 h 9030"/>
                  </a:gdLst>
                  <a:ahLst/>
                  <a:cxnLst>
                    <a:cxn ang="0">
                      <a:pos x="connsiteX0" y="connsiteY0"/>
                    </a:cxn>
                    <a:cxn ang="0">
                      <a:pos x="connsiteX1" y="connsiteY1"/>
                    </a:cxn>
                    <a:cxn ang="0">
                      <a:pos x="connsiteX2" y="connsiteY2"/>
                    </a:cxn>
                  </a:cxnLst>
                  <a:rect l="l" t="t" r="r" b="b"/>
                  <a:pathLst>
                    <a:path w="7057" h="9030">
                      <a:moveTo>
                        <a:pt x="1974" y="0"/>
                      </a:moveTo>
                      <a:lnTo>
                        <a:pt x="0" y="7057"/>
                      </a:lnTo>
                      <a:lnTo>
                        <a:pt x="7058" y="9031"/>
                      </a:lnTo>
                    </a:path>
                  </a:pathLst>
                </a:custGeom>
                <a:grpFill/>
                <a:ln w="6350" cap="flat">
                  <a:solidFill>
                    <a:schemeClr val="bg1">
                      <a:alpha val="80000"/>
                    </a:schemeClr>
                  </a:solidFill>
                  <a:prstDash val="solid"/>
                  <a:miter/>
                </a:ln>
              </p:spPr>
              <p:txBody>
                <a:bodyPr rtlCol="0" anchor="ctr"/>
                <a:lstStyle/>
                <a:p>
                  <a:endParaRPr lang="en-GB"/>
                </a:p>
              </p:txBody>
            </p:sp>
            <p:sp>
              <p:nvSpPr>
                <p:cNvPr id="8561" name="Vrije vorm: vorm 8560">
                  <a:extLst>
                    <a:ext uri="{FF2B5EF4-FFF2-40B4-BE49-F238E27FC236}">
                      <a16:creationId xmlns:a16="http://schemas.microsoft.com/office/drawing/2014/main" id="{3A6A1A56-0AE0-4AD0-A0F0-DD821F42ECA4}"/>
                    </a:ext>
                  </a:extLst>
                </p:cNvPr>
                <p:cNvSpPr/>
                <p:nvPr/>
              </p:nvSpPr>
              <p:spPr>
                <a:xfrm>
                  <a:off x="4143763" y="3180767"/>
                  <a:ext cx="12453" cy="27766"/>
                </a:xfrm>
                <a:custGeom>
                  <a:avLst/>
                  <a:gdLst>
                    <a:gd name="connsiteX0" fmla="*/ 0 w 12453"/>
                    <a:gd name="connsiteY0" fmla="*/ 27392 h 27766"/>
                    <a:gd name="connsiteX1" fmla="*/ 778 w 12453"/>
                    <a:gd name="connsiteY1" fmla="*/ 27631 h 27766"/>
                    <a:gd name="connsiteX2" fmla="*/ 11423 w 12453"/>
                    <a:gd name="connsiteY2" fmla="*/ 16686 h 27766"/>
                    <a:gd name="connsiteX3" fmla="*/ 8014 w 12453"/>
                    <a:gd name="connsiteY3" fmla="*/ 1794 h 27766"/>
                    <a:gd name="connsiteX4" fmla="*/ 1615 w 12453"/>
                    <a:gd name="connsiteY4" fmla="*/ 0 h 2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3" h="27766">
                      <a:moveTo>
                        <a:pt x="0" y="27392"/>
                      </a:moveTo>
                      <a:lnTo>
                        <a:pt x="778" y="27631"/>
                      </a:lnTo>
                      <a:cubicBezTo>
                        <a:pt x="4426" y="28648"/>
                        <a:pt x="9449" y="23863"/>
                        <a:pt x="11423" y="16686"/>
                      </a:cubicBezTo>
                      <a:cubicBezTo>
                        <a:pt x="13457" y="9569"/>
                        <a:pt x="12559" y="3050"/>
                        <a:pt x="8014" y="1794"/>
                      </a:cubicBezTo>
                      <a:lnTo>
                        <a:pt x="1615" y="0"/>
                      </a:lnTo>
                    </a:path>
                  </a:pathLst>
                </a:custGeom>
                <a:grpFill/>
                <a:ln w="6350" cap="flat">
                  <a:solidFill>
                    <a:schemeClr val="bg1">
                      <a:alpha val="80000"/>
                    </a:schemeClr>
                  </a:solidFill>
                  <a:custDash>
                    <a:ds d="145905" sp="145905"/>
                  </a:custDash>
                  <a:miter/>
                </a:ln>
              </p:spPr>
              <p:txBody>
                <a:bodyPr rtlCol="0" anchor="ctr"/>
                <a:lstStyle/>
                <a:p>
                  <a:endParaRPr lang="en-GB"/>
                </a:p>
              </p:txBody>
            </p:sp>
          </p:grpSp>
          <p:sp>
            <p:nvSpPr>
              <p:cNvPr id="8545" name="Vrije vorm: vorm 8544">
                <a:extLst>
                  <a:ext uri="{FF2B5EF4-FFF2-40B4-BE49-F238E27FC236}">
                    <a16:creationId xmlns:a16="http://schemas.microsoft.com/office/drawing/2014/main" id="{8C84A25B-33A8-4DB0-91D5-8354319745EE}"/>
                  </a:ext>
                </a:extLst>
              </p:cNvPr>
              <p:cNvSpPr/>
              <p:nvPr/>
            </p:nvSpPr>
            <p:spPr>
              <a:xfrm>
                <a:off x="4068988" y="3146554"/>
                <a:ext cx="77703" cy="77703"/>
              </a:xfrm>
              <a:custGeom>
                <a:avLst/>
                <a:gdLst>
                  <a:gd name="connsiteX0" fmla="*/ 43442 w 77703"/>
                  <a:gd name="connsiteY0" fmla="*/ 4591 h 77703"/>
                  <a:gd name="connsiteX1" fmla="*/ 73113 w 77703"/>
                  <a:gd name="connsiteY1" fmla="*/ 43443 h 77703"/>
                  <a:gd name="connsiteX2" fmla="*/ 34261 w 77703"/>
                  <a:gd name="connsiteY2" fmla="*/ 73113 h 77703"/>
                  <a:gd name="connsiteX3" fmla="*/ 4591 w 77703"/>
                  <a:gd name="connsiteY3" fmla="*/ 34261 h 77703"/>
                  <a:gd name="connsiteX4" fmla="*/ 43442 w 77703"/>
                  <a:gd name="connsiteY4" fmla="*/ 4591 h 77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03" h="77703">
                    <a:moveTo>
                      <a:pt x="43442" y="4591"/>
                    </a:moveTo>
                    <a:cubicBezTo>
                      <a:pt x="62364" y="7126"/>
                      <a:pt x="75648" y="24520"/>
                      <a:pt x="73113" y="43443"/>
                    </a:cubicBezTo>
                    <a:cubicBezTo>
                      <a:pt x="70577" y="62364"/>
                      <a:pt x="53183" y="75648"/>
                      <a:pt x="34261" y="73113"/>
                    </a:cubicBezTo>
                    <a:cubicBezTo>
                      <a:pt x="15339" y="70578"/>
                      <a:pt x="2055" y="53183"/>
                      <a:pt x="4591" y="34261"/>
                    </a:cubicBezTo>
                    <a:cubicBezTo>
                      <a:pt x="7126" y="15339"/>
                      <a:pt x="24521" y="2055"/>
                      <a:pt x="43442" y="4591"/>
                    </a:cubicBezTo>
                    <a:close/>
                  </a:path>
                </a:pathLst>
              </a:custGeom>
              <a:grpFill/>
              <a:ln w="6350" cap="flat">
                <a:solidFill>
                  <a:schemeClr val="bg1">
                    <a:alpha val="80000"/>
                  </a:schemeClr>
                </a:solidFill>
                <a:custDash>
                  <a:ds d="194318" sp="194318"/>
                </a:custDash>
                <a:miter/>
              </a:ln>
            </p:spPr>
            <p:txBody>
              <a:bodyPr rtlCol="0" anchor="ctr"/>
              <a:lstStyle/>
              <a:p>
                <a:endParaRPr lang="en-GB"/>
              </a:p>
            </p:txBody>
          </p:sp>
          <p:sp>
            <p:nvSpPr>
              <p:cNvPr id="8546" name="Vrije vorm: vorm 8545">
                <a:extLst>
                  <a:ext uri="{FF2B5EF4-FFF2-40B4-BE49-F238E27FC236}">
                    <a16:creationId xmlns:a16="http://schemas.microsoft.com/office/drawing/2014/main" id="{266AB69C-AA15-4583-A3B7-6AC6ED75E244}"/>
                  </a:ext>
                </a:extLst>
              </p:cNvPr>
              <p:cNvSpPr/>
              <p:nvPr/>
            </p:nvSpPr>
            <p:spPr>
              <a:xfrm>
                <a:off x="4105425" y="3202073"/>
                <a:ext cx="16806" cy="11872"/>
              </a:xfrm>
              <a:custGeom>
                <a:avLst/>
                <a:gdLst>
                  <a:gd name="connsiteX0" fmla="*/ 6999 w 16806"/>
                  <a:gd name="connsiteY0" fmla="*/ 404 h 11872"/>
                  <a:gd name="connsiteX1" fmla="*/ 16688 w 16806"/>
                  <a:gd name="connsiteY1" fmla="*/ 3813 h 11872"/>
                  <a:gd name="connsiteX2" fmla="*/ 9810 w 16806"/>
                  <a:gd name="connsiteY2" fmla="*/ 11468 h 11872"/>
                  <a:gd name="connsiteX3" fmla="*/ 121 w 16806"/>
                  <a:gd name="connsiteY3" fmla="*/ 8059 h 11872"/>
                  <a:gd name="connsiteX4" fmla="*/ 6999 w 16806"/>
                  <a:gd name="connsiteY4" fmla="*/ 404 h 1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6" h="11872">
                    <a:moveTo>
                      <a:pt x="6999" y="404"/>
                    </a:moveTo>
                    <a:cubicBezTo>
                      <a:pt x="11604" y="-792"/>
                      <a:pt x="15910" y="763"/>
                      <a:pt x="16688" y="3813"/>
                    </a:cubicBezTo>
                    <a:cubicBezTo>
                      <a:pt x="17465" y="6863"/>
                      <a:pt x="14355" y="10272"/>
                      <a:pt x="9810" y="11468"/>
                    </a:cubicBezTo>
                    <a:cubicBezTo>
                      <a:pt x="5204" y="12664"/>
                      <a:pt x="898" y="11109"/>
                      <a:pt x="121" y="8059"/>
                    </a:cubicBezTo>
                    <a:cubicBezTo>
                      <a:pt x="-657" y="5009"/>
                      <a:pt x="2394" y="1540"/>
                      <a:pt x="6999" y="404"/>
                    </a:cubicBezTo>
                    <a:close/>
                  </a:path>
                </a:pathLst>
              </a:custGeom>
              <a:grpFill/>
              <a:ln w="6350" cap="flat">
                <a:solidFill>
                  <a:schemeClr val="bg1">
                    <a:alpha val="80000"/>
                  </a:schemeClr>
                </a:solidFill>
                <a:custDash>
                  <a:ds d="141480" sp="141480"/>
                </a:custDash>
                <a:miter/>
              </a:ln>
            </p:spPr>
            <p:txBody>
              <a:bodyPr rtlCol="0" anchor="ctr"/>
              <a:lstStyle/>
              <a:p>
                <a:endParaRPr lang="en-GB"/>
              </a:p>
            </p:txBody>
          </p:sp>
          <p:sp>
            <p:nvSpPr>
              <p:cNvPr id="8547" name="Vrije vorm: vorm 8546">
                <a:extLst>
                  <a:ext uri="{FF2B5EF4-FFF2-40B4-BE49-F238E27FC236}">
                    <a16:creationId xmlns:a16="http://schemas.microsoft.com/office/drawing/2014/main" id="{A0E55276-F9C8-4A6B-8D89-B8F65713DC57}"/>
                  </a:ext>
                </a:extLst>
              </p:cNvPr>
              <p:cNvSpPr/>
              <p:nvPr/>
            </p:nvSpPr>
            <p:spPr>
              <a:xfrm>
                <a:off x="4108405" y="3204309"/>
                <a:ext cx="10908" cy="7640"/>
              </a:xfrm>
              <a:custGeom>
                <a:avLst/>
                <a:gdLst>
                  <a:gd name="connsiteX0" fmla="*/ 4557 w 10908"/>
                  <a:gd name="connsiteY0" fmla="*/ 262 h 7640"/>
                  <a:gd name="connsiteX1" fmla="*/ 10837 w 10908"/>
                  <a:gd name="connsiteY1" fmla="*/ 2475 h 7640"/>
                  <a:gd name="connsiteX2" fmla="*/ 6351 w 10908"/>
                  <a:gd name="connsiteY2" fmla="*/ 7379 h 7640"/>
                  <a:gd name="connsiteX3" fmla="*/ 71 w 10908"/>
                  <a:gd name="connsiteY3" fmla="*/ 5166 h 7640"/>
                  <a:gd name="connsiteX4" fmla="*/ 4557 w 10908"/>
                  <a:gd name="connsiteY4" fmla="*/ 262 h 7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 h="7640">
                    <a:moveTo>
                      <a:pt x="4557" y="262"/>
                    </a:moveTo>
                    <a:cubicBezTo>
                      <a:pt x="7547" y="-516"/>
                      <a:pt x="10358" y="501"/>
                      <a:pt x="10837" y="2475"/>
                    </a:cubicBezTo>
                    <a:cubicBezTo>
                      <a:pt x="11315" y="4448"/>
                      <a:pt x="9341" y="6661"/>
                      <a:pt x="6351" y="7379"/>
                    </a:cubicBezTo>
                    <a:cubicBezTo>
                      <a:pt x="3361" y="8156"/>
                      <a:pt x="550" y="7140"/>
                      <a:pt x="71" y="5166"/>
                    </a:cubicBezTo>
                    <a:cubicBezTo>
                      <a:pt x="-407" y="3192"/>
                      <a:pt x="1567" y="1039"/>
                      <a:pt x="4557" y="262"/>
                    </a:cubicBezTo>
                    <a:close/>
                  </a:path>
                </a:pathLst>
              </a:custGeom>
              <a:grpFill/>
              <a:ln w="6350" cap="flat">
                <a:solidFill>
                  <a:schemeClr val="bg1">
                    <a:alpha val="80000"/>
                  </a:schemeClr>
                </a:solidFill>
                <a:custDash>
                  <a:ds d="182685" sp="182685"/>
                </a:custDash>
                <a:miter/>
              </a:ln>
            </p:spPr>
            <p:txBody>
              <a:bodyPr rtlCol="0" anchor="ctr"/>
              <a:lstStyle/>
              <a:p>
                <a:endParaRPr lang="en-GB"/>
              </a:p>
            </p:txBody>
          </p:sp>
          <p:sp>
            <p:nvSpPr>
              <p:cNvPr id="8548" name="Vrije vorm: vorm 8547">
                <a:extLst>
                  <a:ext uri="{FF2B5EF4-FFF2-40B4-BE49-F238E27FC236}">
                    <a16:creationId xmlns:a16="http://schemas.microsoft.com/office/drawing/2014/main" id="{E0A1C38B-291C-46DE-B9E7-7D5EEECFE6BE}"/>
                  </a:ext>
                </a:extLst>
              </p:cNvPr>
              <p:cNvSpPr/>
              <p:nvPr/>
            </p:nvSpPr>
            <p:spPr>
              <a:xfrm>
                <a:off x="4066492" y="3143806"/>
                <a:ext cx="76300" cy="69739"/>
              </a:xfrm>
              <a:custGeom>
                <a:avLst/>
                <a:gdLst>
                  <a:gd name="connsiteX0" fmla="*/ 11961 w 76300"/>
                  <a:gd name="connsiteY0" fmla="*/ 67164 h 69739"/>
                  <a:gd name="connsiteX1" fmla="*/ 39173 w 76300"/>
                  <a:gd name="connsiteY1" fmla="*/ 63814 h 69739"/>
                  <a:gd name="connsiteX2" fmla="*/ 75356 w 76300"/>
                  <a:gd name="connsiteY2" fmla="*/ 47547 h 69739"/>
                  <a:gd name="connsiteX3" fmla="*/ 52749 w 76300"/>
                  <a:gd name="connsiteY3" fmla="*/ 2213 h 69739"/>
                  <a:gd name="connsiteX4" fmla="*/ 5322 w 76300"/>
                  <a:gd name="connsiteY4" fmla="*/ 22846 h 69739"/>
                  <a:gd name="connsiteX5" fmla="*/ 11961 w 76300"/>
                  <a:gd name="connsiteY5" fmla="*/ 67164 h 69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300" h="69739">
                    <a:moveTo>
                      <a:pt x="11961" y="67164"/>
                    </a:moveTo>
                    <a:cubicBezTo>
                      <a:pt x="18300" y="71350"/>
                      <a:pt x="30860" y="70573"/>
                      <a:pt x="39173" y="63814"/>
                    </a:cubicBezTo>
                    <a:cubicBezTo>
                      <a:pt x="47486" y="57056"/>
                      <a:pt x="71110" y="66805"/>
                      <a:pt x="75356" y="47547"/>
                    </a:cubicBezTo>
                    <a:cubicBezTo>
                      <a:pt x="79603" y="28289"/>
                      <a:pt x="69077" y="6818"/>
                      <a:pt x="52749" y="2213"/>
                    </a:cubicBezTo>
                    <a:cubicBezTo>
                      <a:pt x="36422" y="-2392"/>
                      <a:pt x="15968" y="-1674"/>
                      <a:pt x="5322" y="22846"/>
                    </a:cubicBezTo>
                    <a:cubicBezTo>
                      <a:pt x="-4606" y="45812"/>
                      <a:pt x="358" y="59568"/>
                      <a:pt x="11961" y="67164"/>
                    </a:cubicBezTo>
                    <a:close/>
                  </a:path>
                </a:pathLst>
              </a:custGeom>
              <a:grpFill/>
              <a:ln w="6350" cap="flat">
                <a:solidFill>
                  <a:schemeClr val="bg1">
                    <a:alpha val="80000"/>
                  </a:schemeClr>
                </a:solidFill>
                <a:custDash>
                  <a:ds d="183188" sp="183188"/>
                </a:custDash>
                <a:miter/>
              </a:ln>
            </p:spPr>
            <p:txBody>
              <a:bodyPr rtlCol="0" anchor="ctr"/>
              <a:lstStyle/>
              <a:p>
                <a:endParaRPr lang="en-GB"/>
              </a:p>
            </p:txBody>
          </p:sp>
          <p:sp>
            <p:nvSpPr>
              <p:cNvPr id="8549" name="Vrije vorm: vorm 8548">
                <a:extLst>
                  <a:ext uri="{FF2B5EF4-FFF2-40B4-BE49-F238E27FC236}">
                    <a16:creationId xmlns:a16="http://schemas.microsoft.com/office/drawing/2014/main" id="{8297504B-2797-49A9-9F06-07D34DDDF21E}"/>
                  </a:ext>
                </a:extLst>
              </p:cNvPr>
              <p:cNvSpPr/>
              <p:nvPr/>
            </p:nvSpPr>
            <p:spPr>
              <a:xfrm>
                <a:off x="4093298" y="3142128"/>
                <a:ext cx="37079" cy="37079"/>
              </a:xfrm>
              <a:custGeom>
                <a:avLst/>
                <a:gdLst>
                  <a:gd name="connsiteX0" fmla="*/ 29546 w 37079"/>
                  <a:gd name="connsiteY0" fmla="*/ 11006 h 37079"/>
                  <a:gd name="connsiteX1" fmla="*/ 26074 w 37079"/>
                  <a:gd name="connsiteY1" fmla="*/ 29545 h 37079"/>
                  <a:gd name="connsiteX2" fmla="*/ 7534 w 37079"/>
                  <a:gd name="connsiteY2" fmla="*/ 26074 h 37079"/>
                  <a:gd name="connsiteX3" fmla="*/ 11006 w 37079"/>
                  <a:gd name="connsiteY3" fmla="*/ 7534 h 37079"/>
                  <a:gd name="connsiteX4" fmla="*/ 29546 w 37079"/>
                  <a:gd name="connsiteY4" fmla="*/ 11006 h 37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 h="37079">
                    <a:moveTo>
                      <a:pt x="29546" y="11006"/>
                    </a:moveTo>
                    <a:cubicBezTo>
                      <a:pt x="33707" y="17084"/>
                      <a:pt x="32152" y="25385"/>
                      <a:pt x="26074" y="29545"/>
                    </a:cubicBezTo>
                    <a:cubicBezTo>
                      <a:pt x="19996" y="33706"/>
                      <a:pt x="11695" y="32152"/>
                      <a:pt x="7534" y="26074"/>
                    </a:cubicBezTo>
                    <a:cubicBezTo>
                      <a:pt x="3373" y="19995"/>
                      <a:pt x="4928" y="11695"/>
                      <a:pt x="11006" y="7534"/>
                    </a:cubicBezTo>
                    <a:cubicBezTo>
                      <a:pt x="17084" y="3373"/>
                      <a:pt x="25385" y="4927"/>
                      <a:pt x="29546" y="11006"/>
                    </a:cubicBezTo>
                    <a:close/>
                  </a:path>
                </a:pathLst>
              </a:custGeom>
              <a:grpFill/>
              <a:ln w="6350" cap="flat">
                <a:solidFill>
                  <a:schemeClr val="bg1">
                    <a:alpha val="80000"/>
                  </a:schemeClr>
                </a:solidFill>
                <a:custDash>
                  <a:ds d="174885" sp="174885"/>
                </a:custDash>
                <a:miter/>
              </a:ln>
            </p:spPr>
            <p:txBody>
              <a:bodyPr rtlCol="0" anchor="ctr"/>
              <a:lstStyle/>
              <a:p>
                <a:endParaRPr lang="en-GB"/>
              </a:p>
            </p:txBody>
          </p:sp>
          <p:grpSp>
            <p:nvGrpSpPr>
              <p:cNvPr id="8550" name="Graphic 3">
                <a:extLst>
                  <a:ext uri="{FF2B5EF4-FFF2-40B4-BE49-F238E27FC236}">
                    <a16:creationId xmlns:a16="http://schemas.microsoft.com/office/drawing/2014/main" id="{E8B99DA4-4DD9-4B90-96DB-FE1A8CFB992B}"/>
                  </a:ext>
                </a:extLst>
              </p:cNvPr>
              <p:cNvGrpSpPr/>
              <p:nvPr/>
            </p:nvGrpSpPr>
            <p:grpSpPr>
              <a:xfrm>
                <a:off x="4104329" y="3115333"/>
                <a:ext cx="115010" cy="53353"/>
                <a:chOff x="4104329" y="3115333"/>
                <a:chExt cx="115010" cy="53353"/>
              </a:xfrm>
              <a:grpFill/>
            </p:grpSpPr>
            <p:sp>
              <p:nvSpPr>
                <p:cNvPr id="8556" name="Vrije vorm: vorm 8555">
                  <a:extLst>
                    <a:ext uri="{FF2B5EF4-FFF2-40B4-BE49-F238E27FC236}">
                      <a16:creationId xmlns:a16="http://schemas.microsoft.com/office/drawing/2014/main" id="{088BB8F7-1B58-4499-BD5C-40C19449EC32}"/>
                    </a:ext>
                  </a:extLst>
                </p:cNvPr>
                <p:cNvSpPr/>
                <p:nvPr/>
              </p:nvSpPr>
              <p:spPr>
                <a:xfrm>
                  <a:off x="4157339" y="3164141"/>
                  <a:ext cx="5741" cy="4545"/>
                </a:xfrm>
                <a:custGeom>
                  <a:avLst/>
                  <a:gdLst>
                    <a:gd name="connsiteX0" fmla="*/ 5742 w 5741"/>
                    <a:gd name="connsiteY0" fmla="*/ 4545 h 4545"/>
                    <a:gd name="connsiteX1" fmla="*/ 0 w 5741"/>
                    <a:gd name="connsiteY1" fmla="*/ 0 h 4545"/>
                  </a:gdLst>
                  <a:ahLst/>
                  <a:cxnLst>
                    <a:cxn ang="0">
                      <a:pos x="connsiteX0" y="connsiteY0"/>
                    </a:cxn>
                    <a:cxn ang="0">
                      <a:pos x="connsiteX1" y="connsiteY1"/>
                    </a:cxn>
                  </a:cxnLst>
                  <a:rect l="l" t="t" r="r" b="b"/>
                  <a:pathLst>
                    <a:path w="5741" h="4545">
                      <a:moveTo>
                        <a:pt x="5742" y="4545"/>
                      </a:moveTo>
                      <a:cubicBezTo>
                        <a:pt x="3349" y="2811"/>
                        <a:pt x="1495" y="1316"/>
                        <a:pt x="0" y="0"/>
                      </a:cubicBezTo>
                    </a:path>
                  </a:pathLst>
                </a:custGeom>
                <a:grpFill/>
                <a:ln w="6350" cap="flat">
                  <a:solidFill>
                    <a:schemeClr val="bg1">
                      <a:alpha val="80000"/>
                    </a:schemeClr>
                  </a:solidFill>
                  <a:prstDash val="solid"/>
                  <a:miter/>
                </a:ln>
              </p:spPr>
              <p:txBody>
                <a:bodyPr rtlCol="0" anchor="ctr"/>
                <a:lstStyle/>
                <a:p>
                  <a:endParaRPr lang="en-GB"/>
                </a:p>
              </p:txBody>
            </p:sp>
            <p:sp>
              <p:nvSpPr>
                <p:cNvPr id="8557" name="Vrije vorm: vorm 8556">
                  <a:extLst>
                    <a:ext uri="{FF2B5EF4-FFF2-40B4-BE49-F238E27FC236}">
                      <a16:creationId xmlns:a16="http://schemas.microsoft.com/office/drawing/2014/main" id="{E33E499B-CD27-43B4-89AF-FC6B63D79BCF}"/>
                    </a:ext>
                  </a:extLst>
                </p:cNvPr>
                <p:cNvSpPr/>
                <p:nvPr/>
              </p:nvSpPr>
              <p:spPr>
                <a:xfrm>
                  <a:off x="4104329" y="3115333"/>
                  <a:ext cx="109407" cy="47832"/>
                </a:xfrm>
                <a:custGeom>
                  <a:avLst/>
                  <a:gdLst>
                    <a:gd name="connsiteX0" fmla="*/ 40151 w 109407"/>
                    <a:gd name="connsiteY0" fmla="*/ 40734 h 47832"/>
                    <a:gd name="connsiteX1" fmla="*/ 36563 w 109407"/>
                    <a:gd name="connsiteY1" fmla="*/ 39598 h 47832"/>
                    <a:gd name="connsiteX2" fmla="*/ 5762 w 109407"/>
                    <a:gd name="connsiteY2" fmla="*/ 47552 h 47832"/>
                    <a:gd name="connsiteX3" fmla="*/ 798 w 109407"/>
                    <a:gd name="connsiteY3" fmla="*/ 35531 h 47832"/>
                    <a:gd name="connsiteX4" fmla="*/ 52830 w 109407"/>
                    <a:gd name="connsiteY4" fmla="*/ 484 h 47832"/>
                    <a:gd name="connsiteX5" fmla="*/ 109408 w 109407"/>
                    <a:gd name="connsiteY5" fmla="*/ 11728 h 4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407" h="47832">
                      <a:moveTo>
                        <a:pt x="40151" y="40734"/>
                      </a:moveTo>
                      <a:cubicBezTo>
                        <a:pt x="39075" y="40375"/>
                        <a:pt x="37879" y="40016"/>
                        <a:pt x="36563" y="39598"/>
                      </a:cubicBezTo>
                      <a:cubicBezTo>
                        <a:pt x="24123" y="36129"/>
                        <a:pt x="14135" y="49944"/>
                        <a:pt x="5762" y="47552"/>
                      </a:cubicBezTo>
                      <a:cubicBezTo>
                        <a:pt x="1396" y="46296"/>
                        <a:pt x="-1475" y="43665"/>
                        <a:pt x="798" y="35531"/>
                      </a:cubicBezTo>
                      <a:cubicBezTo>
                        <a:pt x="3071" y="27397"/>
                        <a:pt x="19279" y="3115"/>
                        <a:pt x="52830" y="484"/>
                      </a:cubicBezTo>
                      <a:cubicBezTo>
                        <a:pt x="76992" y="-1430"/>
                        <a:pt x="99300" y="2338"/>
                        <a:pt x="109408" y="11728"/>
                      </a:cubicBezTo>
                    </a:path>
                  </a:pathLst>
                </a:custGeom>
                <a:grpFill/>
                <a:ln w="6350" cap="flat">
                  <a:solidFill>
                    <a:schemeClr val="bg1">
                      <a:alpha val="80000"/>
                    </a:schemeClr>
                  </a:solidFill>
                  <a:custDash>
                    <a:ds d="192188" sp="192188"/>
                  </a:custDash>
                  <a:miter/>
                </a:ln>
              </p:spPr>
              <p:txBody>
                <a:bodyPr rtlCol="0" anchor="ctr"/>
                <a:lstStyle/>
                <a:p>
                  <a:endParaRPr lang="en-GB"/>
                </a:p>
              </p:txBody>
            </p:sp>
            <p:sp>
              <p:nvSpPr>
                <p:cNvPr id="8558" name="Vrije vorm: vorm 8557">
                  <a:extLst>
                    <a:ext uri="{FF2B5EF4-FFF2-40B4-BE49-F238E27FC236}">
                      <a16:creationId xmlns:a16="http://schemas.microsoft.com/office/drawing/2014/main" id="{E5B09B42-566D-4A58-9CA5-C74B13EC098C}"/>
                    </a:ext>
                  </a:extLst>
                </p:cNvPr>
                <p:cNvSpPr/>
                <p:nvPr/>
              </p:nvSpPr>
              <p:spPr>
                <a:xfrm>
                  <a:off x="4218163" y="3133220"/>
                  <a:ext cx="1177" cy="7176"/>
                </a:xfrm>
                <a:custGeom>
                  <a:avLst/>
                  <a:gdLst>
                    <a:gd name="connsiteX0" fmla="*/ 0 w 1177"/>
                    <a:gd name="connsiteY0" fmla="*/ 0 h 7176"/>
                    <a:gd name="connsiteX1" fmla="*/ 1136 w 1177"/>
                    <a:gd name="connsiteY1" fmla="*/ 7177 h 7176"/>
                  </a:gdLst>
                  <a:ahLst/>
                  <a:cxnLst>
                    <a:cxn ang="0">
                      <a:pos x="connsiteX0" y="connsiteY0"/>
                    </a:cxn>
                    <a:cxn ang="0">
                      <a:pos x="connsiteX1" y="connsiteY1"/>
                    </a:cxn>
                  </a:cxnLst>
                  <a:rect l="l" t="t" r="r" b="b"/>
                  <a:pathLst>
                    <a:path w="1177" h="7176">
                      <a:moveTo>
                        <a:pt x="0" y="0"/>
                      </a:moveTo>
                      <a:cubicBezTo>
                        <a:pt x="897" y="2213"/>
                        <a:pt x="1316" y="4605"/>
                        <a:pt x="1136" y="7177"/>
                      </a:cubicBezTo>
                    </a:path>
                  </a:pathLst>
                </a:custGeom>
                <a:grpFill/>
                <a:ln w="6350" cap="flat">
                  <a:solidFill>
                    <a:schemeClr val="bg1">
                      <a:alpha val="80000"/>
                    </a:schemeClr>
                  </a:solidFill>
                  <a:prstDash val="solid"/>
                  <a:miter/>
                </a:ln>
              </p:spPr>
              <p:txBody>
                <a:bodyPr rtlCol="0" anchor="ctr"/>
                <a:lstStyle/>
                <a:p>
                  <a:endParaRPr lang="en-GB"/>
                </a:p>
              </p:txBody>
            </p:sp>
          </p:grpSp>
          <p:grpSp>
            <p:nvGrpSpPr>
              <p:cNvPr id="8551" name="Graphic 3">
                <a:extLst>
                  <a:ext uri="{FF2B5EF4-FFF2-40B4-BE49-F238E27FC236}">
                    <a16:creationId xmlns:a16="http://schemas.microsoft.com/office/drawing/2014/main" id="{8DC29C97-8824-4578-BC4A-CF672BE83A99}"/>
                  </a:ext>
                </a:extLst>
              </p:cNvPr>
              <p:cNvGrpSpPr/>
              <p:nvPr/>
            </p:nvGrpSpPr>
            <p:grpSpPr>
              <a:xfrm>
                <a:off x="4246751" y="3200743"/>
                <a:ext cx="35264" cy="78048"/>
                <a:chOff x="4246751" y="3200743"/>
                <a:chExt cx="35264" cy="78048"/>
              </a:xfrm>
              <a:grpFill/>
            </p:grpSpPr>
            <p:sp>
              <p:nvSpPr>
                <p:cNvPr id="8552" name="Vrije vorm: vorm 8551">
                  <a:extLst>
                    <a:ext uri="{FF2B5EF4-FFF2-40B4-BE49-F238E27FC236}">
                      <a16:creationId xmlns:a16="http://schemas.microsoft.com/office/drawing/2014/main" id="{A6A27DCB-1D83-42EC-8B53-A2408964E4B7}"/>
                    </a:ext>
                  </a:extLst>
                </p:cNvPr>
                <p:cNvSpPr/>
                <p:nvPr/>
              </p:nvSpPr>
              <p:spPr>
                <a:xfrm>
                  <a:off x="4249442" y="3200743"/>
                  <a:ext cx="7296" cy="4784"/>
                </a:xfrm>
                <a:custGeom>
                  <a:avLst/>
                  <a:gdLst>
                    <a:gd name="connsiteX0" fmla="*/ 7296 w 7296"/>
                    <a:gd name="connsiteY0" fmla="*/ 718 h 4784"/>
                    <a:gd name="connsiteX1" fmla="*/ 0 w 7296"/>
                    <a:gd name="connsiteY1" fmla="*/ 0 h 4784"/>
                    <a:gd name="connsiteX2" fmla="*/ 5323 w 7296"/>
                    <a:gd name="connsiteY2" fmla="*/ 4785 h 4784"/>
                  </a:gdLst>
                  <a:ahLst/>
                  <a:cxnLst>
                    <a:cxn ang="0">
                      <a:pos x="connsiteX0" y="connsiteY0"/>
                    </a:cxn>
                    <a:cxn ang="0">
                      <a:pos x="connsiteX1" y="connsiteY1"/>
                    </a:cxn>
                    <a:cxn ang="0">
                      <a:pos x="connsiteX2" y="connsiteY2"/>
                    </a:cxn>
                  </a:cxnLst>
                  <a:rect l="l" t="t" r="r" b="b"/>
                  <a:pathLst>
                    <a:path w="7296" h="4784">
                      <a:moveTo>
                        <a:pt x="7296" y="718"/>
                      </a:moveTo>
                      <a:cubicBezTo>
                        <a:pt x="2572" y="299"/>
                        <a:pt x="0" y="0"/>
                        <a:pt x="0" y="0"/>
                      </a:cubicBezTo>
                      <a:cubicBezTo>
                        <a:pt x="1854" y="359"/>
                        <a:pt x="3648" y="2033"/>
                        <a:pt x="5323" y="4785"/>
                      </a:cubicBezTo>
                    </a:path>
                  </a:pathLst>
                </a:custGeom>
                <a:grpFill/>
                <a:ln w="6350" cap="flat">
                  <a:solidFill>
                    <a:schemeClr val="bg1">
                      <a:alpha val="80000"/>
                    </a:schemeClr>
                  </a:solidFill>
                  <a:prstDash val="solid"/>
                  <a:miter/>
                </a:ln>
              </p:spPr>
              <p:txBody>
                <a:bodyPr rtlCol="0" anchor="ctr"/>
                <a:lstStyle/>
                <a:p>
                  <a:endParaRPr lang="en-GB"/>
                </a:p>
              </p:txBody>
            </p:sp>
            <p:sp>
              <p:nvSpPr>
                <p:cNvPr id="8553" name="Vrije vorm: vorm 8552">
                  <a:extLst>
                    <a:ext uri="{FF2B5EF4-FFF2-40B4-BE49-F238E27FC236}">
                      <a16:creationId xmlns:a16="http://schemas.microsoft.com/office/drawing/2014/main" id="{854D26D3-9386-4002-BC69-6185AC2A1880}"/>
                    </a:ext>
                  </a:extLst>
                </p:cNvPr>
                <p:cNvSpPr/>
                <p:nvPr/>
              </p:nvSpPr>
              <p:spPr>
                <a:xfrm>
                  <a:off x="4258772" y="3218506"/>
                  <a:ext cx="4485" cy="47965"/>
                </a:xfrm>
                <a:custGeom>
                  <a:avLst/>
                  <a:gdLst>
                    <a:gd name="connsiteX0" fmla="*/ 1076 w 4485"/>
                    <a:gd name="connsiteY0" fmla="*/ 0 h 47965"/>
                    <a:gd name="connsiteX1" fmla="*/ 0 w 4485"/>
                    <a:gd name="connsiteY1" fmla="*/ 47965 h 47965"/>
                  </a:gdLst>
                  <a:ahLst/>
                  <a:cxnLst>
                    <a:cxn ang="0">
                      <a:pos x="connsiteX0" y="connsiteY0"/>
                    </a:cxn>
                    <a:cxn ang="0">
                      <a:pos x="connsiteX1" y="connsiteY1"/>
                    </a:cxn>
                  </a:cxnLst>
                  <a:rect l="l" t="t" r="r" b="b"/>
                  <a:pathLst>
                    <a:path w="4485" h="47965">
                      <a:moveTo>
                        <a:pt x="1076" y="0"/>
                      </a:moveTo>
                      <a:cubicBezTo>
                        <a:pt x="5263" y="15610"/>
                        <a:pt x="6340" y="37380"/>
                        <a:pt x="0" y="47965"/>
                      </a:cubicBezTo>
                    </a:path>
                  </a:pathLst>
                </a:custGeom>
                <a:grpFill/>
                <a:ln w="6350" cap="flat">
                  <a:solidFill>
                    <a:schemeClr val="bg1">
                      <a:alpha val="80000"/>
                    </a:schemeClr>
                  </a:solidFill>
                  <a:custDash>
                    <a:ds d="175215" sp="175215"/>
                  </a:custDash>
                  <a:miter/>
                </a:ln>
              </p:spPr>
              <p:txBody>
                <a:bodyPr rtlCol="0" anchor="ctr"/>
                <a:lstStyle/>
                <a:p>
                  <a:endParaRPr lang="en-GB"/>
                </a:p>
              </p:txBody>
            </p:sp>
            <p:sp>
              <p:nvSpPr>
                <p:cNvPr id="8554" name="Vrije vorm: vorm 8553">
                  <a:extLst>
                    <a:ext uri="{FF2B5EF4-FFF2-40B4-BE49-F238E27FC236}">
                      <a16:creationId xmlns:a16="http://schemas.microsoft.com/office/drawing/2014/main" id="{51C2A4E3-15F9-404F-A445-E8FF52F05B2B}"/>
                    </a:ext>
                  </a:extLst>
                </p:cNvPr>
                <p:cNvSpPr/>
                <p:nvPr/>
              </p:nvSpPr>
              <p:spPr>
                <a:xfrm>
                  <a:off x="4246751" y="3271375"/>
                  <a:ext cx="7117" cy="3468"/>
                </a:xfrm>
                <a:custGeom>
                  <a:avLst/>
                  <a:gdLst>
                    <a:gd name="connsiteX0" fmla="*/ 7117 w 7117"/>
                    <a:gd name="connsiteY0" fmla="*/ 0 h 3468"/>
                    <a:gd name="connsiteX1" fmla="*/ 0 w 7117"/>
                    <a:gd name="connsiteY1" fmla="*/ 1196 h 3468"/>
                    <a:gd name="connsiteX2" fmla="*/ 6938 w 7117"/>
                    <a:gd name="connsiteY2" fmla="*/ 3469 h 3468"/>
                  </a:gdLst>
                  <a:ahLst/>
                  <a:cxnLst>
                    <a:cxn ang="0">
                      <a:pos x="connsiteX0" y="connsiteY0"/>
                    </a:cxn>
                    <a:cxn ang="0">
                      <a:pos x="connsiteX1" y="connsiteY1"/>
                    </a:cxn>
                    <a:cxn ang="0">
                      <a:pos x="connsiteX2" y="connsiteY2"/>
                    </a:cxn>
                  </a:cxnLst>
                  <a:rect l="l" t="t" r="r" b="b"/>
                  <a:pathLst>
                    <a:path w="7117" h="3468">
                      <a:moveTo>
                        <a:pt x="7117" y="0"/>
                      </a:moveTo>
                      <a:cubicBezTo>
                        <a:pt x="5143" y="1076"/>
                        <a:pt x="2751" y="1555"/>
                        <a:pt x="0" y="1196"/>
                      </a:cubicBezTo>
                      <a:lnTo>
                        <a:pt x="6938" y="3469"/>
                      </a:lnTo>
                    </a:path>
                  </a:pathLst>
                </a:custGeom>
                <a:grpFill/>
                <a:ln w="6350" cap="flat">
                  <a:solidFill>
                    <a:schemeClr val="bg1">
                      <a:alpha val="80000"/>
                    </a:schemeClr>
                  </a:solidFill>
                  <a:prstDash val="solid"/>
                  <a:miter/>
                </a:ln>
              </p:spPr>
              <p:txBody>
                <a:bodyPr rtlCol="0" anchor="ctr"/>
                <a:lstStyle/>
                <a:p>
                  <a:endParaRPr lang="en-GB"/>
                </a:p>
              </p:txBody>
            </p:sp>
            <p:sp>
              <p:nvSpPr>
                <p:cNvPr id="8555" name="Vrije vorm: vorm 8554">
                  <a:extLst>
                    <a:ext uri="{FF2B5EF4-FFF2-40B4-BE49-F238E27FC236}">
                      <a16:creationId xmlns:a16="http://schemas.microsoft.com/office/drawing/2014/main" id="{8F600E16-E807-4701-A556-BE47C276326D}"/>
                    </a:ext>
                  </a:extLst>
                </p:cNvPr>
                <p:cNvSpPr/>
                <p:nvPr/>
              </p:nvSpPr>
              <p:spPr>
                <a:xfrm>
                  <a:off x="4264693" y="3202178"/>
                  <a:ext cx="17321" cy="76613"/>
                </a:xfrm>
                <a:custGeom>
                  <a:avLst/>
                  <a:gdLst>
                    <a:gd name="connsiteX0" fmla="*/ 4426 w 17321"/>
                    <a:gd name="connsiteY0" fmla="*/ 76613 h 76613"/>
                    <a:gd name="connsiteX1" fmla="*/ 2034 w 17321"/>
                    <a:gd name="connsiteY1" fmla="*/ 179 h 76613"/>
                    <a:gd name="connsiteX2" fmla="*/ 0 w 17321"/>
                    <a:gd name="connsiteY2" fmla="*/ 0 h 76613"/>
                  </a:gdLst>
                  <a:ahLst/>
                  <a:cxnLst>
                    <a:cxn ang="0">
                      <a:pos x="connsiteX0" y="connsiteY0"/>
                    </a:cxn>
                    <a:cxn ang="0">
                      <a:pos x="connsiteX1" y="connsiteY1"/>
                    </a:cxn>
                    <a:cxn ang="0">
                      <a:pos x="connsiteX2" y="connsiteY2"/>
                    </a:cxn>
                  </a:cxnLst>
                  <a:rect l="l" t="t" r="r" b="b"/>
                  <a:pathLst>
                    <a:path w="17321" h="76613">
                      <a:moveTo>
                        <a:pt x="4426" y="76613"/>
                      </a:moveTo>
                      <a:cubicBezTo>
                        <a:pt x="27033" y="73204"/>
                        <a:pt x="15789" y="1376"/>
                        <a:pt x="2034" y="179"/>
                      </a:cubicBezTo>
                      <a:cubicBezTo>
                        <a:pt x="1316" y="120"/>
                        <a:pt x="658" y="60"/>
                        <a:pt x="0" y="0"/>
                      </a:cubicBezTo>
                    </a:path>
                  </a:pathLst>
                </a:custGeom>
                <a:grpFill/>
                <a:ln w="6350" cap="flat">
                  <a:solidFill>
                    <a:schemeClr val="bg1">
                      <a:alpha val="80000"/>
                    </a:schemeClr>
                  </a:solidFill>
                  <a:custDash>
                    <a:ds d="200895" sp="200895"/>
                  </a:custDash>
                  <a:miter/>
                </a:ln>
              </p:spPr>
              <p:txBody>
                <a:bodyPr rtlCol="0" anchor="ctr"/>
                <a:lstStyle/>
                <a:p>
                  <a:endParaRPr lang="en-GB"/>
                </a:p>
              </p:txBody>
            </p:sp>
          </p:grpSp>
        </p:grpSp>
        <p:grpSp>
          <p:nvGrpSpPr>
            <p:cNvPr id="8444" name="Groep 8443">
              <a:extLst>
                <a:ext uri="{FF2B5EF4-FFF2-40B4-BE49-F238E27FC236}">
                  <a16:creationId xmlns:a16="http://schemas.microsoft.com/office/drawing/2014/main" id="{EAC07264-7372-4DA6-8BF4-0A927EA0432D}"/>
                </a:ext>
              </a:extLst>
            </p:cNvPr>
            <p:cNvGrpSpPr/>
            <p:nvPr/>
          </p:nvGrpSpPr>
          <p:grpSpPr>
            <a:xfrm>
              <a:off x="4139255" y="3403549"/>
              <a:ext cx="386395" cy="286716"/>
              <a:chOff x="4139255" y="3403549"/>
              <a:chExt cx="386395" cy="286716"/>
            </a:xfrm>
            <a:noFill/>
          </p:grpSpPr>
          <p:sp>
            <p:nvSpPr>
              <p:cNvPr id="8445" name="Vrije vorm: vorm 8444">
                <a:extLst>
                  <a:ext uri="{FF2B5EF4-FFF2-40B4-BE49-F238E27FC236}">
                    <a16:creationId xmlns:a16="http://schemas.microsoft.com/office/drawing/2014/main" id="{9955D685-536A-4565-8F79-72462C7DD39D}"/>
                  </a:ext>
                </a:extLst>
              </p:cNvPr>
              <p:cNvSpPr/>
              <p:nvPr/>
            </p:nvSpPr>
            <p:spPr>
              <a:xfrm>
                <a:off x="4247648" y="3419352"/>
                <a:ext cx="103511" cy="109552"/>
              </a:xfrm>
              <a:custGeom>
                <a:avLst/>
                <a:gdLst>
                  <a:gd name="connsiteX0" fmla="*/ 60285 w 103511"/>
                  <a:gd name="connsiteY0" fmla="*/ 109552 h 109552"/>
                  <a:gd name="connsiteX1" fmla="*/ 101672 w 103511"/>
                  <a:gd name="connsiteY1" fmla="*/ 30069 h 109552"/>
                  <a:gd name="connsiteX2" fmla="*/ 103407 w 103511"/>
                  <a:gd name="connsiteY2" fmla="*/ 18287 h 109552"/>
                  <a:gd name="connsiteX3" fmla="*/ 88993 w 103511"/>
                  <a:gd name="connsiteY3" fmla="*/ 105 h 109552"/>
                  <a:gd name="connsiteX4" fmla="*/ 70812 w 103511"/>
                  <a:gd name="connsiteY4" fmla="*/ 14519 h 109552"/>
                  <a:gd name="connsiteX5" fmla="*/ 0 w 103511"/>
                  <a:gd name="connsiteY5" fmla="*/ 108655 h 10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511" h="109552">
                    <a:moveTo>
                      <a:pt x="60285" y="109552"/>
                    </a:moveTo>
                    <a:cubicBezTo>
                      <a:pt x="61542" y="105904"/>
                      <a:pt x="86541" y="95318"/>
                      <a:pt x="101672" y="30069"/>
                    </a:cubicBezTo>
                    <a:cubicBezTo>
                      <a:pt x="102330" y="26241"/>
                      <a:pt x="102928" y="22354"/>
                      <a:pt x="103407" y="18287"/>
                    </a:cubicBezTo>
                    <a:cubicBezTo>
                      <a:pt x="104423" y="9316"/>
                      <a:pt x="97964" y="1182"/>
                      <a:pt x="88993" y="105"/>
                    </a:cubicBezTo>
                    <a:cubicBezTo>
                      <a:pt x="79962" y="-911"/>
                      <a:pt x="71829" y="5548"/>
                      <a:pt x="70812" y="14519"/>
                    </a:cubicBezTo>
                    <a:cubicBezTo>
                      <a:pt x="62139" y="90474"/>
                      <a:pt x="2512" y="107938"/>
                      <a:pt x="0" y="108655"/>
                    </a:cubicBezTo>
                  </a:path>
                </a:pathLst>
              </a:custGeom>
              <a:grpFill/>
              <a:ln w="6350" cap="flat">
                <a:solidFill>
                  <a:schemeClr val="bg1">
                    <a:alpha val="80000"/>
                  </a:schemeClr>
                </a:solidFill>
                <a:prstDash val="solid"/>
                <a:miter/>
              </a:ln>
            </p:spPr>
            <p:txBody>
              <a:bodyPr rtlCol="0" anchor="ctr"/>
              <a:lstStyle/>
              <a:p>
                <a:endParaRPr lang="en-GB"/>
              </a:p>
            </p:txBody>
          </p:sp>
          <p:sp>
            <p:nvSpPr>
              <p:cNvPr id="8446" name="Vrije vorm: vorm 8445">
                <a:extLst>
                  <a:ext uri="{FF2B5EF4-FFF2-40B4-BE49-F238E27FC236}">
                    <a16:creationId xmlns:a16="http://schemas.microsoft.com/office/drawing/2014/main" id="{16CBDC60-9059-4E00-88F5-BE054A3F5DF7}"/>
                  </a:ext>
                </a:extLst>
              </p:cNvPr>
              <p:cNvSpPr/>
              <p:nvPr/>
            </p:nvSpPr>
            <p:spPr>
              <a:xfrm>
                <a:off x="4370791" y="3433509"/>
                <a:ext cx="106311" cy="147975"/>
              </a:xfrm>
              <a:custGeom>
                <a:avLst/>
                <a:gdLst>
                  <a:gd name="connsiteX0" fmla="*/ 44676 w 106311"/>
                  <a:gd name="connsiteY0" fmla="*/ 134330 h 147975"/>
                  <a:gd name="connsiteX1" fmla="*/ 32834 w 106311"/>
                  <a:gd name="connsiteY1" fmla="*/ 58674 h 147975"/>
                  <a:gd name="connsiteX2" fmla="*/ 71888 w 106311"/>
                  <a:gd name="connsiteY2" fmla="*/ 137381 h 147975"/>
                  <a:gd name="connsiteX3" fmla="*/ 95751 w 106311"/>
                  <a:gd name="connsiteY3" fmla="*/ 146352 h 147975"/>
                  <a:gd name="connsiteX4" fmla="*/ 106038 w 106311"/>
                  <a:gd name="connsiteY4" fmla="*/ 133075 h 147975"/>
                  <a:gd name="connsiteX5" fmla="*/ 104723 w 106311"/>
                  <a:gd name="connsiteY5" fmla="*/ 122429 h 147975"/>
                  <a:gd name="connsiteX6" fmla="*/ 57535 w 106311"/>
                  <a:gd name="connsiteY6" fmla="*/ 29787 h 147975"/>
                  <a:gd name="connsiteX7" fmla="*/ 0 w 106311"/>
                  <a:gd name="connsiteY7" fmla="*/ 8675 h 14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311" h="147975">
                    <a:moveTo>
                      <a:pt x="44676" y="134330"/>
                    </a:moveTo>
                    <a:cubicBezTo>
                      <a:pt x="39413" y="109092"/>
                      <a:pt x="34868" y="80205"/>
                      <a:pt x="32834" y="58674"/>
                    </a:cubicBezTo>
                    <a:cubicBezTo>
                      <a:pt x="41566" y="73865"/>
                      <a:pt x="54185" y="98267"/>
                      <a:pt x="71888" y="137381"/>
                    </a:cubicBezTo>
                    <a:cubicBezTo>
                      <a:pt x="76015" y="146471"/>
                      <a:pt x="86661" y="150478"/>
                      <a:pt x="95751" y="146352"/>
                    </a:cubicBezTo>
                    <a:cubicBezTo>
                      <a:pt x="101373" y="143780"/>
                      <a:pt x="105021" y="138756"/>
                      <a:pt x="106038" y="133075"/>
                    </a:cubicBezTo>
                    <a:cubicBezTo>
                      <a:pt x="106636" y="129606"/>
                      <a:pt x="106278" y="125898"/>
                      <a:pt x="104723" y="122429"/>
                    </a:cubicBezTo>
                    <a:cubicBezTo>
                      <a:pt x="85584" y="80205"/>
                      <a:pt x="69735" y="49045"/>
                      <a:pt x="57535" y="29787"/>
                    </a:cubicBezTo>
                    <a:cubicBezTo>
                      <a:pt x="49521" y="17168"/>
                      <a:pt x="27811" y="-15487"/>
                      <a:pt x="0" y="8675"/>
                    </a:cubicBezTo>
                  </a:path>
                </a:pathLst>
              </a:custGeom>
              <a:grpFill/>
              <a:ln w="6350" cap="flat">
                <a:solidFill>
                  <a:schemeClr val="bg1">
                    <a:alpha val="80000"/>
                  </a:schemeClr>
                </a:solidFill>
                <a:prstDash val="solid"/>
                <a:miter/>
              </a:ln>
            </p:spPr>
            <p:txBody>
              <a:bodyPr rtlCol="0" anchor="ctr"/>
              <a:lstStyle/>
              <a:p>
                <a:endParaRPr lang="en-GB"/>
              </a:p>
            </p:txBody>
          </p:sp>
          <p:sp>
            <p:nvSpPr>
              <p:cNvPr id="8447" name="Vrije vorm: vorm 8446">
                <a:extLst>
                  <a:ext uri="{FF2B5EF4-FFF2-40B4-BE49-F238E27FC236}">
                    <a16:creationId xmlns:a16="http://schemas.microsoft.com/office/drawing/2014/main" id="{32DA859F-AE4D-4FBB-9C4A-C5D04025E367}"/>
                  </a:ext>
                </a:extLst>
              </p:cNvPr>
              <p:cNvSpPr/>
              <p:nvPr/>
            </p:nvSpPr>
            <p:spPr>
              <a:xfrm>
                <a:off x="4451694" y="3560108"/>
                <a:ext cx="30541" cy="37591"/>
              </a:xfrm>
              <a:custGeom>
                <a:avLst/>
                <a:gdLst>
                  <a:gd name="connsiteX0" fmla="*/ 30398 w 30541"/>
                  <a:gd name="connsiteY0" fmla="*/ 27647 h 37591"/>
                  <a:gd name="connsiteX1" fmla="*/ 23879 w 30541"/>
                  <a:gd name="connsiteY1" fmla="*/ 36379 h 37591"/>
                  <a:gd name="connsiteX2" fmla="*/ 7970 w 30541"/>
                  <a:gd name="connsiteY2" fmla="*/ 30936 h 37591"/>
                  <a:gd name="connsiteX3" fmla="*/ 1212 w 30541"/>
                  <a:gd name="connsiteY3" fmla="*/ 17121 h 37591"/>
                  <a:gd name="connsiteX4" fmla="*/ 6655 w 30541"/>
                  <a:gd name="connsiteY4" fmla="*/ 1212 h 37591"/>
                  <a:gd name="connsiteX5" fmla="*/ 22563 w 30541"/>
                  <a:gd name="connsiteY5" fmla="*/ 6655 h 37591"/>
                  <a:gd name="connsiteX6" fmla="*/ 29321 w 30541"/>
                  <a:gd name="connsiteY6" fmla="*/ 20470 h 37591"/>
                  <a:gd name="connsiteX7" fmla="*/ 30398 w 30541"/>
                  <a:gd name="connsiteY7" fmla="*/ 27647 h 3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41" h="37591">
                    <a:moveTo>
                      <a:pt x="30398" y="27647"/>
                    </a:moveTo>
                    <a:cubicBezTo>
                      <a:pt x="29800" y="31295"/>
                      <a:pt x="27467" y="34585"/>
                      <a:pt x="23879" y="36379"/>
                    </a:cubicBezTo>
                    <a:cubicBezTo>
                      <a:pt x="17958" y="39250"/>
                      <a:pt x="10841" y="36857"/>
                      <a:pt x="7970" y="30936"/>
                    </a:cubicBezTo>
                    <a:lnTo>
                      <a:pt x="1212" y="17121"/>
                    </a:lnTo>
                    <a:cubicBezTo>
                      <a:pt x="-1659" y="11200"/>
                      <a:pt x="734" y="4083"/>
                      <a:pt x="6655" y="1212"/>
                    </a:cubicBezTo>
                    <a:cubicBezTo>
                      <a:pt x="12575" y="-1659"/>
                      <a:pt x="19693" y="734"/>
                      <a:pt x="22563" y="6655"/>
                    </a:cubicBezTo>
                    <a:lnTo>
                      <a:pt x="29321" y="20470"/>
                    </a:lnTo>
                    <a:cubicBezTo>
                      <a:pt x="30458" y="22803"/>
                      <a:pt x="30757" y="25315"/>
                      <a:pt x="30398" y="2764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48" name="Vrije vorm: vorm 8447">
                <a:extLst>
                  <a:ext uri="{FF2B5EF4-FFF2-40B4-BE49-F238E27FC236}">
                    <a16:creationId xmlns:a16="http://schemas.microsoft.com/office/drawing/2014/main" id="{C51D5903-EE24-4F19-A522-BB6B4CA7082A}"/>
                  </a:ext>
                </a:extLst>
              </p:cNvPr>
              <p:cNvSpPr/>
              <p:nvPr/>
            </p:nvSpPr>
            <p:spPr>
              <a:xfrm>
                <a:off x="4452995" y="3564334"/>
                <a:ext cx="69058" cy="58329"/>
              </a:xfrm>
              <a:custGeom>
                <a:avLst/>
                <a:gdLst>
                  <a:gd name="connsiteX0" fmla="*/ 64921 w 69058"/>
                  <a:gd name="connsiteY0" fmla="*/ 24797 h 58329"/>
                  <a:gd name="connsiteX1" fmla="*/ 43510 w 69058"/>
                  <a:gd name="connsiteY1" fmla="*/ 44294 h 58329"/>
                  <a:gd name="connsiteX2" fmla="*/ 8941 w 69058"/>
                  <a:gd name="connsiteY2" fmla="*/ 55358 h 58329"/>
                  <a:gd name="connsiteX3" fmla="*/ 8941 w 69058"/>
                  <a:gd name="connsiteY3" fmla="*/ 55358 h 58329"/>
                  <a:gd name="connsiteX4" fmla="*/ 5712 w 69058"/>
                  <a:gd name="connsiteY4" fmla="*/ 21926 h 58329"/>
                  <a:gd name="connsiteX5" fmla="*/ 38845 w 69058"/>
                  <a:gd name="connsiteY5" fmla="*/ 1173 h 58329"/>
                  <a:gd name="connsiteX6" fmla="*/ 64921 w 69058"/>
                  <a:gd name="connsiteY6" fmla="*/ 24797 h 5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58" h="58329">
                    <a:moveTo>
                      <a:pt x="64921" y="24797"/>
                    </a:moveTo>
                    <a:lnTo>
                      <a:pt x="43510" y="44294"/>
                    </a:lnTo>
                    <a:cubicBezTo>
                      <a:pt x="36273" y="53983"/>
                      <a:pt x="18152" y="63253"/>
                      <a:pt x="8941" y="55358"/>
                    </a:cubicBezTo>
                    <a:lnTo>
                      <a:pt x="8941" y="55358"/>
                    </a:lnTo>
                    <a:cubicBezTo>
                      <a:pt x="-628" y="47105"/>
                      <a:pt x="-3738" y="30299"/>
                      <a:pt x="5712" y="21926"/>
                    </a:cubicBezTo>
                    <a:lnTo>
                      <a:pt x="38845" y="1173"/>
                    </a:lnTo>
                    <a:cubicBezTo>
                      <a:pt x="59120" y="-3851"/>
                      <a:pt x="77541" y="7871"/>
                      <a:pt x="64921" y="2479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49" name="Vrije vorm: vorm 8448">
                <a:extLst>
                  <a:ext uri="{FF2B5EF4-FFF2-40B4-BE49-F238E27FC236}">
                    <a16:creationId xmlns:a16="http://schemas.microsoft.com/office/drawing/2014/main" id="{B6E4320C-F446-4D0C-8944-FE535435DEB6}"/>
                  </a:ext>
                </a:extLst>
              </p:cNvPr>
              <p:cNvSpPr/>
              <p:nvPr/>
            </p:nvSpPr>
            <p:spPr>
              <a:xfrm>
                <a:off x="4459203" y="3570364"/>
                <a:ext cx="63337" cy="55274"/>
              </a:xfrm>
              <a:custGeom>
                <a:avLst/>
                <a:gdLst>
                  <a:gd name="connsiteX0" fmla="*/ 59611 w 63337"/>
                  <a:gd name="connsiteY0" fmla="*/ 19485 h 55274"/>
                  <a:gd name="connsiteX1" fmla="*/ 39576 w 63337"/>
                  <a:gd name="connsiteY1" fmla="*/ 46338 h 55274"/>
                  <a:gd name="connsiteX2" fmla="*/ 4888 w 63337"/>
                  <a:gd name="connsiteY2" fmla="*/ 55250 h 55274"/>
                  <a:gd name="connsiteX3" fmla="*/ 7937 w 63337"/>
                  <a:gd name="connsiteY3" fmla="*/ 29293 h 55274"/>
                  <a:gd name="connsiteX4" fmla="*/ 33057 w 63337"/>
                  <a:gd name="connsiteY4" fmla="*/ 6925 h 55274"/>
                  <a:gd name="connsiteX5" fmla="*/ 59611 w 63337"/>
                  <a:gd name="connsiteY5" fmla="*/ 19485 h 5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37" h="55274">
                    <a:moveTo>
                      <a:pt x="59611" y="19485"/>
                    </a:moveTo>
                    <a:lnTo>
                      <a:pt x="39576" y="46338"/>
                    </a:lnTo>
                    <a:cubicBezTo>
                      <a:pt x="32220" y="56207"/>
                      <a:pt x="4888" y="55250"/>
                      <a:pt x="4888" y="55250"/>
                    </a:cubicBezTo>
                    <a:cubicBezTo>
                      <a:pt x="3751" y="53515"/>
                      <a:pt x="-7194" y="41673"/>
                      <a:pt x="7937" y="29293"/>
                    </a:cubicBezTo>
                    <a:lnTo>
                      <a:pt x="33057" y="6925"/>
                    </a:lnTo>
                    <a:cubicBezTo>
                      <a:pt x="49205" y="-7368"/>
                      <a:pt x="72470" y="2260"/>
                      <a:pt x="59611" y="1948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50" name="Vrije vorm: vorm 8449">
                <a:extLst>
                  <a:ext uri="{FF2B5EF4-FFF2-40B4-BE49-F238E27FC236}">
                    <a16:creationId xmlns:a16="http://schemas.microsoft.com/office/drawing/2014/main" id="{3EFD671E-15ED-4E1B-A98E-3B8FBD8A8A89}"/>
                  </a:ext>
                </a:extLst>
              </p:cNvPr>
              <p:cNvSpPr/>
              <p:nvPr/>
            </p:nvSpPr>
            <p:spPr>
              <a:xfrm>
                <a:off x="4462450" y="3574789"/>
                <a:ext cx="63200" cy="56852"/>
              </a:xfrm>
              <a:custGeom>
                <a:avLst/>
                <a:gdLst>
                  <a:gd name="connsiteX0" fmla="*/ 59474 w 63200"/>
                  <a:gd name="connsiteY0" fmla="*/ 19485 h 56852"/>
                  <a:gd name="connsiteX1" fmla="*/ 39439 w 63200"/>
                  <a:gd name="connsiteY1" fmla="*/ 46338 h 56852"/>
                  <a:gd name="connsiteX2" fmla="*/ 6305 w 63200"/>
                  <a:gd name="connsiteY2" fmla="*/ 54472 h 56852"/>
                  <a:gd name="connsiteX3" fmla="*/ 7800 w 63200"/>
                  <a:gd name="connsiteY3" fmla="*/ 29293 h 56852"/>
                  <a:gd name="connsiteX4" fmla="*/ 32919 w 63200"/>
                  <a:gd name="connsiteY4" fmla="*/ 6925 h 56852"/>
                  <a:gd name="connsiteX5" fmla="*/ 59474 w 63200"/>
                  <a:gd name="connsiteY5" fmla="*/ 19485 h 56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00" h="56852">
                    <a:moveTo>
                      <a:pt x="59474" y="19485"/>
                    </a:moveTo>
                    <a:lnTo>
                      <a:pt x="39439" y="46338"/>
                    </a:lnTo>
                    <a:cubicBezTo>
                      <a:pt x="32082" y="56207"/>
                      <a:pt x="20420" y="59616"/>
                      <a:pt x="6305" y="54472"/>
                    </a:cubicBezTo>
                    <a:cubicBezTo>
                      <a:pt x="-2845" y="51123"/>
                      <a:pt x="-1769" y="37846"/>
                      <a:pt x="7800" y="29293"/>
                    </a:cubicBezTo>
                    <a:lnTo>
                      <a:pt x="32919" y="6925"/>
                    </a:lnTo>
                    <a:cubicBezTo>
                      <a:pt x="49068" y="-7369"/>
                      <a:pt x="72333" y="2260"/>
                      <a:pt x="59474" y="1948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51" name="Vrije vorm: vorm 8450">
                <a:extLst>
                  <a:ext uri="{FF2B5EF4-FFF2-40B4-BE49-F238E27FC236}">
                    <a16:creationId xmlns:a16="http://schemas.microsoft.com/office/drawing/2014/main" id="{2257517B-3661-45ED-B4A5-F2D1AA7956B0}"/>
                  </a:ext>
                </a:extLst>
              </p:cNvPr>
              <p:cNvSpPr/>
              <p:nvPr/>
            </p:nvSpPr>
            <p:spPr>
              <a:xfrm>
                <a:off x="4429036" y="3426619"/>
                <a:ext cx="59314" cy="63483"/>
              </a:xfrm>
              <a:custGeom>
                <a:avLst/>
                <a:gdLst>
                  <a:gd name="connsiteX0" fmla="*/ 55448 w 59314"/>
                  <a:gd name="connsiteY0" fmla="*/ 25194 h 63483"/>
                  <a:gd name="connsiteX1" fmla="*/ 42470 w 59314"/>
                  <a:gd name="connsiteY1" fmla="*/ 45768 h 63483"/>
                  <a:gd name="connsiteX2" fmla="*/ 3595 w 59314"/>
                  <a:gd name="connsiteY2" fmla="*/ 52885 h 63483"/>
                  <a:gd name="connsiteX3" fmla="*/ 10533 w 59314"/>
                  <a:gd name="connsiteY3" fmla="*/ 22922 h 63483"/>
                  <a:gd name="connsiteX4" fmla="*/ 30269 w 59314"/>
                  <a:gd name="connsiteY4" fmla="*/ 5398 h 63483"/>
                  <a:gd name="connsiteX5" fmla="*/ 55448 w 59314"/>
                  <a:gd name="connsiteY5" fmla="*/ 25194 h 6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14" h="63483">
                    <a:moveTo>
                      <a:pt x="55448" y="25194"/>
                    </a:moveTo>
                    <a:lnTo>
                      <a:pt x="42470" y="45768"/>
                    </a:lnTo>
                    <a:cubicBezTo>
                      <a:pt x="28236" y="68973"/>
                      <a:pt x="9935" y="67239"/>
                      <a:pt x="3595" y="52885"/>
                    </a:cubicBezTo>
                    <a:cubicBezTo>
                      <a:pt x="-292" y="43974"/>
                      <a:pt x="-4299" y="37634"/>
                      <a:pt x="10533" y="22922"/>
                    </a:cubicBezTo>
                    <a:lnTo>
                      <a:pt x="30269" y="5398"/>
                    </a:lnTo>
                    <a:cubicBezTo>
                      <a:pt x="46298" y="-8956"/>
                      <a:pt x="68307" y="7970"/>
                      <a:pt x="55448" y="2519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52" name="Vrije vorm: vorm 8451">
                <a:extLst>
                  <a:ext uri="{FF2B5EF4-FFF2-40B4-BE49-F238E27FC236}">
                    <a16:creationId xmlns:a16="http://schemas.microsoft.com/office/drawing/2014/main" id="{75FB726B-B4F0-46AF-A5C5-0A926959A6CD}"/>
                  </a:ext>
                </a:extLst>
              </p:cNvPr>
              <p:cNvSpPr/>
              <p:nvPr/>
            </p:nvSpPr>
            <p:spPr>
              <a:xfrm>
                <a:off x="4430412" y="3433676"/>
                <a:ext cx="59320" cy="63483"/>
              </a:xfrm>
              <a:custGeom>
                <a:avLst/>
                <a:gdLst>
                  <a:gd name="connsiteX0" fmla="*/ 55448 w 59320"/>
                  <a:gd name="connsiteY0" fmla="*/ 25194 h 63483"/>
                  <a:gd name="connsiteX1" fmla="*/ 42470 w 59320"/>
                  <a:gd name="connsiteY1" fmla="*/ 45768 h 63483"/>
                  <a:gd name="connsiteX2" fmla="*/ 3595 w 59320"/>
                  <a:gd name="connsiteY2" fmla="*/ 52885 h 63483"/>
                  <a:gd name="connsiteX3" fmla="*/ 10533 w 59320"/>
                  <a:gd name="connsiteY3" fmla="*/ 22922 h 63483"/>
                  <a:gd name="connsiteX4" fmla="*/ 30269 w 59320"/>
                  <a:gd name="connsiteY4" fmla="*/ 5398 h 63483"/>
                  <a:gd name="connsiteX5" fmla="*/ 55448 w 59320"/>
                  <a:gd name="connsiteY5" fmla="*/ 25194 h 6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20" h="63483">
                    <a:moveTo>
                      <a:pt x="55448" y="25194"/>
                    </a:moveTo>
                    <a:lnTo>
                      <a:pt x="42470" y="45768"/>
                    </a:lnTo>
                    <a:cubicBezTo>
                      <a:pt x="28236" y="68973"/>
                      <a:pt x="9935" y="67239"/>
                      <a:pt x="3595" y="52885"/>
                    </a:cubicBezTo>
                    <a:cubicBezTo>
                      <a:pt x="-292" y="43974"/>
                      <a:pt x="-4299" y="37634"/>
                      <a:pt x="10533" y="22922"/>
                    </a:cubicBezTo>
                    <a:lnTo>
                      <a:pt x="30269" y="5398"/>
                    </a:lnTo>
                    <a:cubicBezTo>
                      <a:pt x="46357" y="-8956"/>
                      <a:pt x="68307" y="7970"/>
                      <a:pt x="55448" y="2519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53" name="Vrije vorm: vorm 8452">
                <a:extLst>
                  <a:ext uri="{FF2B5EF4-FFF2-40B4-BE49-F238E27FC236}">
                    <a16:creationId xmlns:a16="http://schemas.microsoft.com/office/drawing/2014/main" id="{FE4B3799-329F-4067-AE65-F8FA721A12B0}"/>
                  </a:ext>
                </a:extLst>
              </p:cNvPr>
              <p:cNvSpPr/>
              <p:nvPr/>
            </p:nvSpPr>
            <p:spPr>
              <a:xfrm>
                <a:off x="4228868" y="3522016"/>
                <a:ext cx="197241" cy="118209"/>
              </a:xfrm>
              <a:custGeom>
                <a:avLst/>
                <a:gdLst>
                  <a:gd name="connsiteX0" fmla="*/ 0 w 197241"/>
                  <a:gd name="connsiteY0" fmla="*/ 48754 h 118209"/>
                  <a:gd name="connsiteX1" fmla="*/ 43121 w 197241"/>
                  <a:gd name="connsiteY1" fmla="*/ 95104 h 118209"/>
                  <a:gd name="connsiteX2" fmla="*/ 169972 w 197241"/>
                  <a:gd name="connsiteY2" fmla="*/ 117652 h 118209"/>
                  <a:gd name="connsiteX3" fmla="*/ 168118 w 197241"/>
                  <a:gd name="connsiteY3" fmla="*/ 23276 h 118209"/>
                  <a:gd name="connsiteX4" fmla="*/ 44138 w 197241"/>
                  <a:gd name="connsiteY4" fmla="*/ 549 h 118209"/>
                  <a:gd name="connsiteX5" fmla="*/ 10287 w 197241"/>
                  <a:gd name="connsiteY5" fmla="*/ 14783 h 118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241" h="118209">
                    <a:moveTo>
                      <a:pt x="0" y="48754"/>
                    </a:moveTo>
                    <a:cubicBezTo>
                      <a:pt x="778" y="69327"/>
                      <a:pt x="13337" y="89782"/>
                      <a:pt x="43121" y="95104"/>
                    </a:cubicBezTo>
                    <a:cubicBezTo>
                      <a:pt x="43121" y="95104"/>
                      <a:pt x="120093" y="108800"/>
                      <a:pt x="169972" y="117652"/>
                    </a:cubicBezTo>
                    <a:cubicBezTo>
                      <a:pt x="219851" y="126503"/>
                      <a:pt x="190247" y="27223"/>
                      <a:pt x="168118" y="23276"/>
                    </a:cubicBezTo>
                    <a:cubicBezTo>
                      <a:pt x="145989" y="19329"/>
                      <a:pt x="77151" y="6410"/>
                      <a:pt x="44138" y="549"/>
                    </a:cubicBezTo>
                    <a:cubicBezTo>
                      <a:pt x="29963" y="-1963"/>
                      <a:pt x="18121" y="4377"/>
                      <a:pt x="10287" y="14783"/>
                    </a:cubicBezTo>
                  </a:path>
                </a:pathLst>
              </a:custGeom>
              <a:grpFill/>
              <a:ln w="6350" cap="flat">
                <a:solidFill>
                  <a:schemeClr val="bg1">
                    <a:alpha val="80000"/>
                  </a:schemeClr>
                </a:solidFill>
                <a:prstDash val="solid"/>
                <a:miter/>
              </a:ln>
            </p:spPr>
            <p:txBody>
              <a:bodyPr rtlCol="0" anchor="ctr"/>
              <a:lstStyle/>
              <a:p>
                <a:endParaRPr lang="en-GB"/>
              </a:p>
            </p:txBody>
          </p:sp>
          <p:sp>
            <p:nvSpPr>
              <p:cNvPr id="8454" name="Vrije vorm: vorm 8453">
                <a:extLst>
                  <a:ext uri="{FF2B5EF4-FFF2-40B4-BE49-F238E27FC236}">
                    <a16:creationId xmlns:a16="http://schemas.microsoft.com/office/drawing/2014/main" id="{148B03FC-8ADB-402C-AB88-D43AF3B36D74}"/>
                  </a:ext>
                </a:extLst>
              </p:cNvPr>
              <p:cNvSpPr/>
              <p:nvPr/>
            </p:nvSpPr>
            <p:spPr>
              <a:xfrm>
                <a:off x="4309847" y="3403549"/>
                <a:ext cx="59867" cy="65070"/>
              </a:xfrm>
              <a:custGeom>
                <a:avLst/>
                <a:gdLst>
                  <a:gd name="connsiteX0" fmla="*/ 0 w 59867"/>
                  <a:gd name="connsiteY0" fmla="*/ 0 h 65070"/>
                  <a:gd name="connsiteX1" fmla="*/ 44796 w 59867"/>
                  <a:gd name="connsiteY1" fmla="*/ 23026 h 65070"/>
                  <a:gd name="connsiteX2" fmla="*/ 59867 w 59867"/>
                  <a:gd name="connsiteY2" fmla="*/ 65070 h 65070"/>
                  <a:gd name="connsiteX3" fmla="*/ 14773 w 59867"/>
                  <a:gd name="connsiteY3" fmla="*/ 41088 h 65070"/>
                </a:gdLst>
                <a:ahLst/>
                <a:cxnLst>
                  <a:cxn ang="0">
                    <a:pos x="connsiteX0" y="connsiteY0"/>
                  </a:cxn>
                  <a:cxn ang="0">
                    <a:pos x="connsiteX1" y="connsiteY1"/>
                  </a:cxn>
                  <a:cxn ang="0">
                    <a:pos x="connsiteX2" y="connsiteY2"/>
                  </a:cxn>
                  <a:cxn ang="0">
                    <a:pos x="connsiteX3" y="connsiteY3"/>
                  </a:cxn>
                </a:cxnLst>
                <a:rect l="l" t="t" r="r" b="b"/>
                <a:pathLst>
                  <a:path w="59867" h="65070">
                    <a:moveTo>
                      <a:pt x="0" y="0"/>
                    </a:moveTo>
                    <a:lnTo>
                      <a:pt x="44796" y="23026"/>
                    </a:lnTo>
                    <a:lnTo>
                      <a:pt x="59867" y="65070"/>
                    </a:lnTo>
                    <a:lnTo>
                      <a:pt x="14773" y="41088"/>
                    </a:lnTo>
                    <a:close/>
                  </a:path>
                </a:pathLst>
              </a:custGeom>
              <a:grpFill/>
              <a:ln w="6350" cap="flat">
                <a:solidFill>
                  <a:schemeClr val="bg1">
                    <a:alpha val="80000"/>
                  </a:schemeClr>
                </a:solidFill>
                <a:prstDash val="solid"/>
                <a:miter/>
              </a:ln>
            </p:spPr>
            <p:txBody>
              <a:bodyPr rtlCol="0" anchor="ctr"/>
              <a:lstStyle/>
              <a:p>
                <a:endParaRPr lang="en-GB"/>
              </a:p>
            </p:txBody>
          </p:sp>
          <p:sp>
            <p:nvSpPr>
              <p:cNvPr id="8455" name="Vrije vorm: vorm 8454">
                <a:extLst>
                  <a:ext uri="{FF2B5EF4-FFF2-40B4-BE49-F238E27FC236}">
                    <a16:creationId xmlns:a16="http://schemas.microsoft.com/office/drawing/2014/main" id="{2983DE02-EBA9-476C-B9C8-A5632F4E388D}"/>
                  </a:ext>
                </a:extLst>
              </p:cNvPr>
              <p:cNvSpPr/>
              <p:nvPr/>
            </p:nvSpPr>
            <p:spPr>
              <a:xfrm>
                <a:off x="4301116" y="3403549"/>
                <a:ext cx="23504" cy="51434"/>
              </a:xfrm>
              <a:custGeom>
                <a:avLst/>
                <a:gdLst>
                  <a:gd name="connsiteX0" fmla="*/ 0 w 23504"/>
                  <a:gd name="connsiteY0" fmla="*/ 10347 h 51434"/>
                  <a:gd name="connsiteX1" fmla="*/ 8732 w 23504"/>
                  <a:gd name="connsiteY1" fmla="*/ 0 h 51434"/>
                  <a:gd name="connsiteX2" fmla="*/ 23504 w 23504"/>
                  <a:gd name="connsiteY2" fmla="*/ 41088 h 51434"/>
                  <a:gd name="connsiteX3" fmla="*/ 14772 w 23504"/>
                  <a:gd name="connsiteY3" fmla="*/ 51434 h 51434"/>
                </a:gdLst>
                <a:ahLst/>
                <a:cxnLst>
                  <a:cxn ang="0">
                    <a:pos x="connsiteX0" y="connsiteY0"/>
                  </a:cxn>
                  <a:cxn ang="0">
                    <a:pos x="connsiteX1" y="connsiteY1"/>
                  </a:cxn>
                  <a:cxn ang="0">
                    <a:pos x="connsiteX2" y="connsiteY2"/>
                  </a:cxn>
                  <a:cxn ang="0">
                    <a:pos x="connsiteX3" y="connsiteY3"/>
                  </a:cxn>
                </a:cxnLst>
                <a:rect l="l" t="t" r="r" b="b"/>
                <a:pathLst>
                  <a:path w="23504" h="51434">
                    <a:moveTo>
                      <a:pt x="0" y="10347"/>
                    </a:moveTo>
                    <a:lnTo>
                      <a:pt x="8732" y="0"/>
                    </a:lnTo>
                    <a:lnTo>
                      <a:pt x="23504" y="41088"/>
                    </a:lnTo>
                    <a:lnTo>
                      <a:pt x="14772" y="51434"/>
                    </a:lnTo>
                    <a:close/>
                  </a:path>
                </a:pathLst>
              </a:custGeom>
              <a:grpFill/>
              <a:ln w="6350" cap="flat">
                <a:solidFill>
                  <a:schemeClr val="bg1">
                    <a:alpha val="80000"/>
                  </a:schemeClr>
                </a:solidFill>
                <a:prstDash val="solid"/>
                <a:miter/>
              </a:ln>
            </p:spPr>
            <p:txBody>
              <a:bodyPr rtlCol="0" anchor="ctr"/>
              <a:lstStyle/>
              <a:p>
                <a:endParaRPr lang="en-GB"/>
              </a:p>
            </p:txBody>
          </p:sp>
          <p:sp>
            <p:nvSpPr>
              <p:cNvPr id="8456" name="Vrije vorm: vorm 8455">
                <a:extLst>
                  <a:ext uri="{FF2B5EF4-FFF2-40B4-BE49-F238E27FC236}">
                    <a16:creationId xmlns:a16="http://schemas.microsoft.com/office/drawing/2014/main" id="{B87FBAFD-E57D-49F9-A7A2-94D8ED82BC54}"/>
                  </a:ext>
                </a:extLst>
              </p:cNvPr>
              <p:cNvSpPr/>
              <p:nvPr/>
            </p:nvSpPr>
            <p:spPr>
              <a:xfrm>
                <a:off x="4315888" y="3444637"/>
                <a:ext cx="53826" cy="34329"/>
              </a:xfrm>
              <a:custGeom>
                <a:avLst/>
                <a:gdLst>
                  <a:gd name="connsiteX0" fmla="*/ 0 w 53826"/>
                  <a:gd name="connsiteY0" fmla="*/ 10347 h 34329"/>
                  <a:gd name="connsiteX1" fmla="*/ 8732 w 53826"/>
                  <a:gd name="connsiteY1" fmla="*/ 0 h 34329"/>
                  <a:gd name="connsiteX2" fmla="*/ 53827 w 53826"/>
                  <a:gd name="connsiteY2" fmla="*/ 23983 h 34329"/>
                  <a:gd name="connsiteX3" fmla="*/ 45095 w 53826"/>
                  <a:gd name="connsiteY3" fmla="*/ 34329 h 34329"/>
                </a:gdLst>
                <a:ahLst/>
                <a:cxnLst>
                  <a:cxn ang="0">
                    <a:pos x="connsiteX0" y="connsiteY0"/>
                  </a:cxn>
                  <a:cxn ang="0">
                    <a:pos x="connsiteX1" y="connsiteY1"/>
                  </a:cxn>
                  <a:cxn ang="0">
                    <a:pos x="connsiteX2" y="connsiteY2"/>
                  </a:cxn>
                  <a:cxn ang="0">
                    <a:pos x="connsiteX3" y="connsiteY3"/>
                  </a:cxn>
                </a:cxnLst>
                <a:rect l="l" t="t" r="r" b="b"/>
                <a:pathLst>
                  <a:path w="53826" h="34329">
                    <a:moveTo>
                      <a:pt x="0" y="10347"/>
                    </a:moveTo>
                    <a:lnTo>
                      <a:pt x="8732" y="0"/>
                    </a:lnTo>
                    <a:lnTo>
                      <a:pt x="53827" y="23983"/>
                    </a:lnTo>
                    <a:lnTo>
                      <a:pt x="45095" y="34329"/>
                    </a:lnTo>
                    <a:close/>
                  </a:path>
                </a:pathLst>
              </a:custGeom>
              <a:grpFill/>
              <a:ln w="6350" cap="flat">
                <a:solidFill>
                  <a:schemeClr val="bg1">
                    <a:alpha val="80000"/>
                  </a:schemeClr>
                </a:solidFill>
                <a:prstDash val="solid"/>
                <a:miter/>
              </a:ln>
            </p:spPr>
            <p:txBody>
              <a:bodyPr rtlCol="0" anchor="ctr"/>
              <a:lstStyle/>
              <a:p>
                <a:endParaRPr lang="en-GB"/>
              </a:p>
            </p:txBody>
          </p:sp>
          <p:sp>
            <p:nvSpPr>
              <p:cNvPr id="8457" name="Vrije vorm: vorm 8456">
                <a:extLst>
                  <a:ext uri="{FF2B5EF4-FFF2-40B4-BE49-F238E27FC236}">
                    <a16:creationId xmlns:a16="http://schemas.microsoft.com/office/drawing/2014/main" id="{B31B342A-B439-4E4C-9469-A1FF71BD9C61}"/>
                  </a:ext>
                </a:extLst>
              </p:cNvPr>
              <p:cNvSpPr/>
              <p:nvPr/>
            </p:nvSpPr>
            <p:spPr>
              <a:xfrm>
                <a:off x="4325931" y="3406485"/>
                <a:ext cx="33680" cy="22449"/>
              </a:xfrm>
              <a:custGeom>
                <a:avLst/>
                <a:gdLst>
                  <a:gd name="connsiteX0" fmla="*/ 9813 w 33680"/>
                  <a:gd name="connsiteY0" fmla="*/ 294 h 22449"/>
                  <a:gd name="connsiteX1" fmla="*/ 363 w 33680"/>
                  <a:gd name="connsiteY1" fmla="*/ 4540 h 22449"/>
                  <a:gd name="connsiteX2" fmla="*/ 5686 w 33680"/>
                  <a:gd name="connsiteY2" fmla="*/ 15724 h 22449"/>
                  <a:gd name="connsiteX3" fmla="*/ 23509 w 33680"/>
                  <a:gd name="connsiteY3" fmla="*/ 22003 h 22449"/>
                  <a:gd name="connsiteX4" fmla="*/ 33257 w 33680"/>
                  <a:gd name="connsiteY4" fmla="*/ 17338 h 22449"/>
                  <a:gd name="connsiteX5" fmla="*/ 28593 w 33680"/>
                  <a:gd name="connsiteY5" fmla="*/ 7590 h 22449"/>
                  <a:gd name="connsiteX6" fmla="*/ 9813 w 33680"/>
                  <a:gd name="connsiteY6" fmla="*/ 294 h 2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80" h="22449">
                    <a:moveTo>
                      <a:pt x="9813" y="294"/>
                    </a:moveTo>
                    <a:cubicBezTo>
                      <a:pt x="3593" y="-723"/>
                      <a:pt x="1620" y="951"/>
                      <a:pt x="363" y="4540"/>
                    </a:cubicBezTo>
                    <a:cubicBezTo>
                      <a:pt x="-1012" y="8547"/>
                      <a:pt x="1679" y="14288"/>
                      <a:pt x="5686" y="15724"/>
                    </a:cubicBezTo>
                    <a:lnTo>
                      <a:pt x="23509" y="22003"/>
                    </a:lnTo>
                    <a:cubicBezTo>
                      <a:pt x="27516" y="23439"/>
                      <a:pt x="31882" y="21286"/>
                      <a:pt x="33257" y="17338"/>
                    </a:cubicBezTo>
                    <a:cubicBezTo>
                      <a:pt x="34633" y="13332"/>
                      <a:pt x="32540" y="8966"/>
                      <a:pt x="28593" y="7590"/>
                    </a:cubicBezTo>
                    <a:cubicBezTo>
                      <a:pt x="28533" y="7530"/>
                      <a:pt x="18664" y="1789"/>
                      <a:pt x="9813" y="29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58" name="Vrije vorm: vorm 8457">
                <a:extLst>
                  <a:ext uri="{FF2B5EF4-FFF2-40B4-BE49-F238E27FC236}">
                    <a16:creationId xmlns:a16="http://schemas.microsoft.com/office/drawing/2014/main" id="{76B8AB6E-022F-4EF0-8DAD-6B32A5FA73B7}"/>
                  </a:ext>
                </a:extLst>
              </p:cNvPr>
              <p:cNvSpPr/>
              <p:nvPr/>
            </p:nvSpPr>
            <p:spPr>
              <a:xfrm>
                <a:off x="4325677" y="3461892"/>
                <a:ext cx="23184" cy="21938"/>
              </a:xfrm>
              <a:custGeom>
                <a:avLst/>
                <a:gdLst>
                  <a:gd name="connsiteX0" fmla="*/ 9230 w 23184"/>
                  <a:gd name="connsiteY0" fmla="*/ 926 h 21938"/>
                  <a:gd name="connsiteX1" fmla="*/ 1515 w 23184"/>
                  <a:gd name="connsiteY1" fmla="*/ 2063 h 21938"/>
                  <a:gd name="connsiteX2" fmla="*/ 2053 w 23184"/>
                  <a:gd name="connsiteY2" fmla="*/ 10555 h 21938"/>
                  <a:gd name="connsiteX3" fmla="*/ 13177 w 23184"/>
                  <a:gd name="connsiteY3" fmla="*/ 20423 h 21938"/>
                  <a:gd name="connsiteX4" fmla="*/ 21670 w 23184"/>
                  <a:gd name="connsiteY4" fmla="*/ 19885 h 21938"/>
                  <a:gd name="connsiteX5" fmla="*/ 21131 w 23184"/>
                  <a:gd name="connsiteY5" fmla="*/ 11393 h 21938"/>
                  <a:gd name="connsiteX6" fmla="*/ 10007 w 23184"/>
                  <a:gd name="connsiteY6" fmla="*/ 1524 h 21938"/>
                  <a:gd name="connsiteX7" fmla="*/ 9230 w 23184"/>
                  <a:gd name="connsiteY7" fmla="*/ 926 h 2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84" h="21938">
                    <a:moveTo>
                      <a:pt x="9230" y="926"/>
                    </a:moveTo>
                    <a:cubicBezTo>
                      <a:pt x="6778" y="-629"/>
                      <a:pt x="3488" y="-210"/>
                      <a:pt x="1515" y="2063"/>
                    </a:cubicBezTo>
                    <a:cubicBezTo>
                      <a:pt x="-698" y="4574"/>
                      <a:pt x="-459" y="8342"/>
                      <a:pt x="2053" y="10555"/>
                    </a:cubicBezTo>
                    <a:lnTo>
                      <a:pt x="13177" y="20423"/>
                    </a:lnTo>
                    <a:cubicBezTo>
                      <a:pt x="15689" y="22636"/>
                      <a:pt x="19457" y="22397"/>
                      <a:pt x="21670" y="19885"/>
                    </a:cubicBezTo>
                    <a:cubicBezTo>
                      <a:pt x="23883" y="17373"/>
                      <a:pt x="23643" y="13605"/>
                      <a:pt x="21131" y="11393"/>
                    </a:cubicBezTo>
                    <a:lnTo>
                      <a:pt x="10007" y="1524"/>
                    </a:lnTo>
                    <a:cubicBezTo>
                      <a:pt x="9768" y="1285"/>
                      <a:pt x="9529" y="1106"/>
                      <a:pt x="9230" y="92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59" name="Vrije vorm: vorm 8458">
                <a:extLst>
                  <a:ext uri="{FF2B5EF4-FFF2-40B4-BE49-F238E27FC236}">
                    <a16:creationId xmlns:a16="http://schemas.microsoft.com/office/drawing/2014/main" id="{F2290D3D-5A3B-4BE5-8ECF-6C0991B159C9}"/>
                  </a:ext>
                </a:extLst>
              </p:cNvPr>
              <p:cNvSpPr/>
              <p:nvPr/>
            </p:nvSpPr>
            <p:spPr>
              <a:xfrm>
                <a:off x="4336554" y="3435592"/>
                <a:ext cx="34243" cy="55977"/>
              </a:xfrm>
              <a:custGeom>
                <a:avLst/>
                <a:gdLst>
                  <a:gd name="connsiteX0" fmla="*/ 34237 w 34243"/>
                  <a:gd name="connsiteY0" fmla="*/ 40742 h 55977"/>
                  <a:gd name="connsiteX1" fmla="*/ 32084 w 34243"/>
                  <a:gd name="connsiteY1" fmla="*/ 12633 h 55977"/>
                  <a:gd name="connsiteX2" fmla="*/ 12467 w 34243"/>
                  <a:gd name="connsiteY2" fmla="*/ 432 h 55977"/>
                  <a:gd name="connsiteX3" fmla="*/ 266 w 34243"/>
                  <a:gd name="connsiteY3" fmla="*/ 20049 h 55977"/>
                  <a:gd name="connsiteX4" fmla="*/ 3496 w 34243"/>
                  <a:gd name="connsiteY4" fmla="*/ 42596 h 55977"/>
                  <a:gd name="connsiteX5" fmla="*/ 34237 w 34243"/>
                  <a:gd name="connsiteY5" fmla="*/ 40742 h 5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43" h="55977">
                    <a:moveTo>
                      <a:pt x="34237" y="40742"/>
                    </a:moveTo>
                    <a:cubicBezTo>
                      <a:pt x="33758" y="26688"/>
                      <a:pt x="32084" y="12633"/>
                      <a:pt x="32084" y="12633"/>
                    </a:cubicBezTo>
                    <a:cubicBezTo>
                      <a:pt x="30648" y="3722"/>
                      <a:pt x="21259" y="-1601"/>
                      <a:pt x="12467" y="432"/>
                    </a:cubicBezTo>
                    <a:cubicBezTo>
                      <a:pt x="3675" y="2465"/>
                      <a:pt x="-1229" y="11197"/>
                      <a:pt x="266" y="20049"/>
                    </a:cubicBezTo>
                    <a:cubicBezTo>
                      <a:pt x="3077" y="36077"/>
                      <a:pt x="2360" y="28601"/>
                      <a:pt x="3496" y="42596"/>
                    </a:cubicBezTo>
                    <a:cubicBezTo>
                      <a:pt x="5170" y="63050"/>
                      <a:pt x="34775" y="58146"/>
                      <a:pt x="34237" y="4074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60" name="Vrije vorm: vorm 8459">
                <a:extLst>
                  <a:ext uri="{FF2B5EF4-FFF2-40B4-BE49-F238E27FC236}">
                    <a16:creationId xmlns:a16="http://schemas.microsoft.com/office/drawing/2014/main" id="{084BC0D8-4685-4567-9923-A131EC6D7FF0}"/>
                  </a:ext>
                </a:extLst>
              </p:cNvPr>
              <p:cNvSpPr/>
              <p:nvPr/>
            </p:nvSpPr>
            <p:spPr>
              <a:xfrm>
                <a:off x="4241925" y="3490241"/>
                <a:ext cx="143212" cy="124853"/>
              </a:xfrm>
              <a:custGeom>
                <a:avLst/>
                <a:gdLst>
                  <a:gd name="connsiteX0" fmla="*/ 142501 w 143212"/>
                  <a:gd name="connsiteY0" fmla="*/ 62886 h 124853"/>
                  <a:gd name="connsiteX1" fmla="*/ 127550 w 143212"/>
                  <a:gd name="connsiteY1" fmla="*/ 95600 h 124853"/>
                  <a:gd name="connsiteX2" fmla="*/ 16607 w 143212"/>
                  <a:gd name="connsiteY2" fmla="*/ 123889 h 124853"/>
                  <a:gd name="connsiteX3" fmla="*/ 41 w 143212"/>
                  <a:gd name="connsiteY3" fmla="*/ 104810 h 124853"/>
                  <a:gd name="connsiteX4" fmla="*/ 19119 w 143212"/>
                  <a:gd name="connsiteY4" fmla="*/ 88244 h 124853"/>
                  <a:gd name="connsiteX5" fmla="*/ 100517 w 143212"/>
                  <a:gd name="connsiteY5" fmla="*/ 72275 h 124853"/>
                  <a:gd name="connsiteX6" fmla="*/ 103447 w 143212"/>
                  <a:gd name="connsiteY6" fmla="*/ 19226 h 124853"/>
                  <a:gd name="connsiteX7" fmla="*/ 117322 w 143212"/>
                  <a:gd name="connsiteY7" fmla="*/ 626 h 124853"/>
                  <a:gd name="connsiteX8" fmla="*/ 138315 w 143212"/>
                  <a:gd name="connsiteY8" fmla="*/ 11451 h 124853"/>
                  <a:gd name="connsiteX9" fmla="*/ 142501 w 143212"/>
                  <a:gd name="connsiteY9" fmla="*/ 62886 h 12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212" h="124853">
                    <a:moveTo>
                      <a:pt x="142501" y="62886"/>
                    </a:moveTo>
                    <a:cubicBezTo>
                      <a:pt x="140408" y="75505"/>
                      <a:pt x="135384" y="86450"/>
                      <a:pt x="127550" y="95600"/>
                    </a:cubicBezTo>
                    <a:cubicBezTo>
                      <a:pt x="101234" y="126162"/>
                      <a:pt x="51654" y="126401"/>
                      <a:pt x="16607" y="123889"/>
                    </a:cubicBezTo>
                    <a:cubicBezTo>
                      <a:pt x="6799" y="123171"/>
                      <a:pt x="-617" y="114678"/>
                      <a:pt x="41" y="104810"/>
                    </a:cubicBezTo>
                    <a:cubicBezTo>
                      <a:pt x="758" y="94942"/>
                      <a:pt x="9251" y="87586"/>
                      <a:pt x="19119" y="88244"/>
                    </a:cubicBezTo>
                    <a:cubicBezTo>
                      <a:pt x="61403" y="91234"/>
                      <a:pt x="88794" y="85851"/>
                      <a:pt x="100517" y="72275"/>
                    </a:cubicBezTo>
                    <a:cubicBezTo>
                      <a:pt x="108292" y="63185"/>
                      <a:pt x="107873" y="38963"/>
                      <a:pt x="103447" y="19226"/>
                    </a:cubicBezTo>
                    <a:cubicBezTo>
                      <a:pt x="101294" y="9597"/>
                      <a:pt x="107694" y="2779"/>
                      <a:pt x="117322" y="626"/>
                    </a:cubicBezTo>
                    <a:cubicBezTo>
                      <a:pt x="126951" y="-1527"/>
                      <a:pt x="136162" y="1822"/>
                      <a:pt x="138315" y="11451"/>
                    </a:cubicBezTo>
                    <a:cubicBezTo>
                      <a:pt x="141724" y="26941"/>
                      <a:pt x="144595" y="50505"/>
                      <a:pt x="142501" y="6288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61" name="Vrije vorm: vorm 8460">
                <a:extLst>
                  <a:ext uri="{FF2B5EF4-FFF2-40B4-BE49-F238E27FC236}">
                    <a16:creationId xmlns:a16="http://schemas.microsoft.com/office/drawing/2014/main" id="{A1EEFA3C-440B-4D65-B791-107D40937E6B}"/>
                  </a:ext>
                </a:extLst>
              </p:cNvPr>
              <p:cNvSpPr/>
              <p:nvPr/>
            </p:nvSpPr>
            <p:spPr>
              <a:xfrm>
                <a:off x="4193463" y="3506537"/>
                <a:ext cx="7655" cy="9090"/>
              </a:xfrm>
              <a:custGeom>
                <a:avLst/>
                <a:gdLst>
                  <a:gd name="connsiteX0" fmla="*/ 0 w 7655"/>
                  <a:gd name="connsiteY0" fmla="*/ 0 h 9090"/>
                  <a:gd name="connsiteX1" fmla="*/ 4366 w 7655"/>
                  <a:gd name="connsiteY1" fmla="*/ 3828 h 9090"/>
                  <a:gd name="connsiteX2" fmla="*/ 7655 w 7655"/>
                  <a:gd name="connsiteY2" fmla="*/ 9091 h 9090"/>
                </a:gdLst>
                <a:ahLst/>
                <a:cxnLst>
                  <a:cxn ang="0">
                    <a:pos x="connsiteX0" y="connsiteY0"/>
                  </a:cxn>
                  <a:cxn ang="0">
                    <a:pos x="connsiteX1" y="connsiteY1"/>
                  </a:cxn>
                  <a:cxn ang="0">
                    <a:pos x="connsiteX2" y="connsiteY2"/>
                  </a:cxn>
                </a:cxnLst>
                <a:rect l="l" t="t" r="r" b="b"/>
                <a:pathLst>
                  <a:path w="7655" h="9090">
                    <a:moveTo>
                      <a:pt x="0" y="0"/>
                    </a:moveTo>
                    <a:lnTo>
                      <a:pt x="4366" y="3828"/>
                    </a:lnTo>
                    <a:lnTo>
                      <a:pt x="7655" y="9091"/>
                    </a:lnTo>
                  </a:path>
                </a:pathLst>
              </a:custGeom>
              <a:grpFill/>
              <a:ln w="6350" cap="flat">
                <a:solidFill>
                  <a:schemeClr val="bg1">
                    <a:alpha val="80000"/>
                  </a:schemeClr>
                </a:solidFill>
                <a:prstDash val="solid"/>
                <a:miter/>
              </a:ln>
            </p:spPr>
            <p:txBody>
              <a:bodyPr rtlCol="0" anchor="ctr"/>
              <a:lstStyle/>
              <a:p>
                <a:endParaRPr lang="en-GB"/>
              </a:p>
            </p:txBody>
          </p:sp>
          <p:sp>
            <p:nvSpPr>
              <p:cNvPr id="8462" name="Vrije vorm: vorm 8461">
                <a:extLst>
                  <a:ext uri="{FF2B5EF4-FFF2-40B4-BE49-F238E27FC236}">
                    <a16:creationId xmlns:a16="http://schemas.microsoft.com/office/drawing/2014/main" id="{27BB861E-F68A-48CD-B997-64E87E283EA0}"/>
                  </a:ext>
                </a:extLst>
              </p:cNvPr>
              <p:cNvSpPr/>
              <p:nvPr/>
            </p:nvSpPr>
            <p:spPr>
              <a:xfrm>
                <a:off x="4195795" y="3512996"/>
                <a:ext cx="45592" cy="71079"/>
              </a:xfrm>
              <a:custGeom>
                <a:avLst/>
                <a:gdLst>
                  <a:gd name="connsiteX0" fmla="*/ 7656 w 45592"/>
                  <a:gd name="connsiteY0" fmla="*/ 69077 h 71079"/>
                  <a:gd name="connsiteX1" fmla="*/ 0 w 45592"/>
                  <a:gd name="connsiteY1" fmla="*/ 70692 h 71079"/>
                  <a:gd name="connsiteX2" fmla="*/ 45035 w 45592"/>
                  <a:gd name="connsiteY2" fmla="*/ 37559 h 71079"/>
                  <a:gd name="connsiteX3" fmla="*/ 30980 w 45592"/>
                  <a:gd name="connsiteY3" fmla="*/ 0 h 71079"/>
                  <a:gd name="connsiteX4" fmla="*/ 26674 w 45592"/>
                  <a:gd name="connsiteY4" fmla="*/ 598 h 71079"/>
                  <a:gd name="connsiteX5" fmla="*/ 30681 w 45592"/>
                  <a:gd name="connsiteY5" fmla="*/ 10885 h 71079"/>
                  <a:gd name="connsiteX6" fmla="*/ 34090 w 45592"/>
                  <a:gd name="connsiteY6" fmla="*/ 16447 h 7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92" h="71079">
                    <a:moveTo>
                      <a:pt x="7656" y="69077"/>
                    </a:moveTo>
                    <a:lnTo>
                      <a:pt x="0" y="70692"/>
                    </a:lnTo>
                    <a:cubicBezTo>
                      <a:pt x="21411" y="73683"/>
                      <a:pt x="41447" y="59030"/>
                      <a:pt x="45035" y="37559"/>
                    </a:cubicBezTo>
                    <a:cubicBezTo>
                      <a:pt x="47487" y="22906"/>
                      <a:pt x="41686" y="8852"/>
                      <a:pt x="30980" y="0"/>
                    </a:cubicBezTo>
                    <a:lnTo>
                      <a:pt x="26674" y="598"/>
                    </a:lnTo>
                    <a:lnTo>
                      <a:pt x="30681" y="10885"/>
                    </a:lnTo>
                    <a:lnTo>
                      <a:pt x="34090" y="16447"/>
                    </a:lnTo>
                  </a:path>
                </a:pathLst>
              </a:custGeom>
              <a:grpFill/>
              <a:ln w="6350" cap="flat">
                <a:solidFill>
                  <a:schemeClr val="bg1">
                    <a:alpha val="80000"/>
                  </a:schemeClr>
                </a:solidFill>
                <a:prstDash val="solid"/>
                <a:miter/>
              </a:ln>
            </p:spPr>
            <p:txBody>
              <a:bodyPr rtlCol="0" anchor="ctr"/>
              <a:lstStyle/>
              <a:p>
                <a:endParaRPr lang="en-GB"/>
              </a:p>
            </p:txBody>
          </p:sp>
          <p:sp>
            <p:nvSpPr>
              <p:cNvPr id="8463" name="Vrije vorm: vorm 8462">
                <a:extLst>
                  <a:ext uri="{FF2B5EF4-FFF2-40B4-BE49-F238E27FC236}">
                    <a16:creationId xmlns:a16="http://schemas.microsoft.com/office/drawing/2014/main" id="{BC9B81DC-B07D-45A8-9CBF-5E870F9A3DA9}"/>
                  </a:ext>
                </a:extLst>
              </p:cNvPr>
              <p:cNvSpPr/>
              <p:nvPr/>
            </p:nvSpPr>
            <p:spPr>
              <a:xfrm>
                <a:off x="4170616" y="3505161"/>
                <a:ext cx="4963" cy="1076"/>
              </a:xfrm>
              <a:custGeom>
                <a:avLst/>
                <a:gdLst>
                  <a:gd name="connsiteX0" fmla="*/ 0 w 4963"/>
                  <a:gd name="connsiteY0" fmla="*/ 1076 h 1076"/>
                  <a:gd name="connsiteX1" fmla="*/ 4964 w 4963"/>
                  <a:gd name="connsiteY1" fmla="*/ 0 h 1076"/>
                  <a:gd name="connsiteX2" fmla="*/ 0 w 4963"/>
                  <a:gd name="connsiteY2" fmla="*/ 1076 h 1076"/>
                </a:gdLst>
                <a:ahLst/>
                <a:cxnLst>
                  <a:cxn ang="0">
                    <a:pos x="connsiteX0" y="connsiteY0"/>
                  </a:cxn>
                  <a:cxn ang="0">
                    <a:pos x="connsiteX1" y="connsiteY1"/>
                  </a:cxn>
                  <a:cxn ang="0">
                    <a:pos x="connsiteX2" y="connsiteY2"/>
                  </a:cxn>
                </a:cxnLst>
                <a:rect l="l" t="t" r="r" b="b"/>
                <a:pathLst>
                  <a:path w="4963" h="1076">
                    <a:moveTo>
                      <a:pt x="0" y="1076"/>
                    </a:moveTo>
                    <a:cubicBezTo>
                      <a:pt x="1615" y="598"/>
                      <a:pt x="3289" y="239"/>
                      <a:pt x="4964" y="0"/>
                    </a:cubicBezTo>
                    <a:cubicBezTo>
                      <a:pt x="3289" y="120"/>
                      <a:pt x="1615" y="479"/>
                      <a:pt x="0" y="107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64" name="Vrije vorm: vorm 8463">
                <a:extLst>
                  <a:ext uri="{FF2B5EF4-FFF2-40B4-BE49-F238E27FC236}">
                    <a16:creationId xmlns:a16="http://schemas.microsoft.com/office/drawing/2014/main" id="{C55E3768-EC1E-4D70-A0C2-EA2AD69E2643}"/>
                  </a:ext>
                </a:extLst>
              </p:cNvPr>
              <p:cNvSpPr/>
              <p:nvPr/>
            </p:nvSpPr>
            <p:spPr>
              <a:xfrm>
                <a:off x="4161107" y="3579322"/>
                <a:ext cx="5980" cy="5980"/>
              </a:xfrm>
              <a:custGeom>
                <a:avLst/>
                <a:gdLst>
                  <a:gd name="connsiteX0" fmla="*/ 0 w 5980"/>
                  <a:gd name="connsiteY0" fmla="*/ 0 h 5980"/>
                  <a:gd name="connsiteX1" fmla="*/ 0 w 5980"/>
                  <a:gd name="connsiteY1" fmla="*/ 0 h 5980"/>
                  <a:gd name="connsiteX2" fmla="*/ 0 w 5980"/>
                  <a:gd name="connsiteY2" fmla="*/ 0 h 5980"/>
                </a:gdLst>
                <a:ahLst/>
                <a:cxnLst>
                  <a:cxn ang="0">
                    <a:pos x="connsiteX0" y="connsiteY0"/>
                  </a:cxn>
                  <a:cxn ang="0">
                    <a:pos x="connsiteX1" y="connsiteY1"/>
                  </a:cxn>
                  <a:cxn ang="0">
                    <a:pos x="connsiteX2" y="connsiteY2"/>
                  </a:cxn>
                </a:cxnLst>
                <a:rect l="l" t="t" r="r" b="b"/>
                <a:pathLst>
                  <a:path w="5980" h="5980">
                    <a:moveTo>
                      <a:pt x="0" y="0"/>
                    </a:moveTo>
                    <a:lnTo>
                      <a:pt x="0" y="0"/>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8465" name="Vrije vorm: vorm 8464">
                <a:extLst>
                  <a:ext uri="{FF2B5EF4-FFF2-40B4-BE49-F238E27FC236}">
                    <a16:creationId xmlns:a16="http://schemas.microsoft.com/office/drawing/2014/main" id="{00F074A9-8F34-489F-97AB-6F86EC1D66DD}"/>
                  </a:ext>
                </a:extLst>
              </p:cNvPr>
              <p:cNvSpPr/>
              <p:nvPr/>
            </p:nvSpPr>
            <p:spPr>
              <a:xfrm>
                <a:off x="4184372" y="3579741"/>
                <a:ext cx="119" cy="119"/>
              </a:xfrm>
              <a:custGeom>
                <a:avLst/>
                <a:gdLst>
                  <a:gd name="connsiteX0" fmla="*/ 120 w 119"/>
                  <a:gd name="connsiteY0" fmla="*/ 0 h 119"/>
                  <a:gd name="connsiteX1" fmla="*/ 0 w 119"/>
                  <a:gd name="connsiteY1" fmla="*/ 120 h 119"/>
                  <a:gd name="connsiteX2" fmla="*/ 120 w 119"/>
                  <a:gd name="connsiteY2" fmla="*/ 0 h 119"/>
                </a:gdLst>
                <a:ahLst/>
                <a:cxnLst>
                  <a:cxn ang="0">
                    <a:pos x="connsiteX0" y="connsiteY0"/>
                  </a:cxn>
                  <a:cxn ang="0">
                    <a:pos x="connsiteX1" y="connsiteY1"/>
                  </a:cxn>
                  <a:cxn ang="0">
                    <a:pos x="connsiteX2" y="connsiteY2"/>
                  </a:cxn>
                </a:cxnLst>
                <a:rect l="l" t="t" r="r" b="b"/>
                <a:pathLst>
                  <a:path w="119" h="119">
                    <a:moveTo>
                      <a:pt x="120" y="0"/>
                    </a:moveTo>
                    <a:cubicBezTo>
                      <a:pt x="60" y="60"/>
                      <a:pt x="0" y="60"/>
                      <a:pt x="0" y="120"/>
                    </a:cubicBezTo>
                    <a:cubicBezTo>
                      <a:pt x="0" y="120"/>
                      <a:pt x="60" y="60"/>
                      <a:pt x="120"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66" name="Vrije vorm: vorm 8465">
                <a:extLst>
                  <a:ext uri="{FF2B5EF4-FFF2-40B4-BE49-F238E27FC236}">
                    <a16:creationId xmlns:a16="http://schemas.microsoft.com/office/drawing/2014/main" id="{D831F1A8-EDB8-4213-BF0D-306E94834DF9}"/>
                  </a:ext>
                </a:extLst>
              </p:cNvPr>
              <p:cNvSpPr/>
              <p:nvPr/>
            </p:nvSpPr>
            <p:spPr>
              <a:xfrm>
                <a:off x="4192147" y="3571488"/>
                <a:ext cx="358" cy="538"/>
              </a:xfrm>
              <a:custGeom>
                <a:avLst/>
                <a:gdLst>
                  <a:gd name="connsiteX0" fmla="*/ 359 w 358"/>
                  <a:gd name="connsiteY0" fmla="*/ 0 h 538"/>
                  <a:gd name="connsiteX1" fmla="*/ 0 w 358"/>
                  <a:gd name="connsiteY1" fmla="*/ 538 h 538"/>
                  <a:gd name="connsiteX2" fmla="*/ 359 w 358"/>
                  <a:gd name="connsiteY2" fmla="*/ 0 h 538"/>
                </a:gdLst>
                <a:ahLst/>
                <a:cxnLst>
                  <a:cxn ang="0">
                    <a:pos x="connsiteX0" y="connsiteY0"/>
                  </a:cxn>
                  <a:cxn ang="0">
                    <a:pos x="connsiteX1" y="connsiteY1"/>
                  </a:cxn>
                  <a:cxn ang="0">
                    <a:pos x="connsiteX2" y="connsiteY2"/>
                  </a:cxn>
                </a:cxnLst>
                <a:rect l="l" t="t" r="r" b="b"/>
                <a:pathLst>
                  <a:path w="358" h="538">
                    <a:moveTo>
                      <a:pt x="359" y="0"/>
                    </a:moveTo>
                    <a:cubicBezTo>
                      <a:pt x="239" y="179"/>
                      <a:pt x="120" y="359"/>
                      <a:pt x="0" y="538"/>
                    </a:cubicBezTo>
                    <a:cubicBezTo>
                      <a:pt x="120" y="359"/>
                      <a:pt x="239" y="179"/>
                      <a:pt x="35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67" name="Vrije vorm: vorm 8466">
                <a:extLst>
                  <a:ext uri="{FF2B5EF4-FFF2-40B4-BE49-F238E27FC236}">
                    <a16:creationId xmlns:a16="http://schemas.microsoft.com/office/drawing/2014/main" id="{AB1D5DC4-203B-44BC-A156-9D340720157F}"/>
                  </a:ext>
                </a:extLst>
              </p:cNvPr>
              <p:cNvSpPr/>
              <p:nvPr/>
            </p:nvSpPr>
            <p:spPr>
              <a:xfrm>
                <a:off x="4195436" y="3565627"/>
                <a:ext cx="717" cy="1315"/>
              </a:xfrm>
              <a:custGeom>
                <a:avLst/>
                <a:gdLst>
                  <a:gd name="connsiteX0" fmla="*/ 718 w 717"/>
                  <a:gd name="connsiteY0" fmla="*/ 0 h 1315"/>
                  <a:gd name="connsiteX1" fmla="*/ 0 w 717"/>
                  <a:gd name="connsiteY1" fmla="*/ 1316 h 1315"/>
                  <a:gd name="connsiteX2" fmla="*/ 718 w 717"/>
                  <a:gd name="connsiteY2" fmla="*/ 0 h 1315"/>
                </a:gdLst>
                <a:ahLst/>
                <a:cxnLst>
                  <a:cxn ang="0">
                    <a:pos x="connsiteX0" y="connsiteY0"/>
                  </a:cxn>
                  <a:cxn ang="0">
                    <a:pos x="connsiteX1" y="connsiteY1"/>
                  </a:cxn>
                  <a:cxn ang="0">
                    <a:pos x="connsiteX2" y="connsiteY2"/>
                  </a:cxn>
                </a:cxnLst>
                <a:rect l="l" t="t" r="r" b="b"/>
                <a:pathLst>
                  <a:path w="717" h="1315">
                    <a:moveTo>
                      <a:pt x="718" y="0"/>
                    </a:moveTo>
                    <a:cubicBezTo>
                      <a:pt x="479" y="419"/>
                      <a:pt x="239" y="897"/>
                      <a:pt x="0" y="1316"/>
                    </a:cubicBezTo>
                    <a:cubicBezTo>
                      <a:pt x="239" y="897"/>
                      <a:pt x="479" y="419"/>
                      <a:pt x="71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68" name="Vrije vorm: vorm 8467">
                <a:extLst>
                  <a:ext uri="{FF2B5EF4-FFF2-40B4-BE49-F238E27FC236}">
                    <a16:creationId xmlns:a16="http://schemas.microsoft.com/office/drawing/2014/main" id="{111174D0-3BF4-4BF0-99D3-DFFCCF4C122A}"/>
                  </a:ext>
                </a:extLst>
              </p:cNvPr>
              <p:cNvSpPr/>
              <p:nvPr/>
            </p:nvSpPr>
            <p:spPr>
              <a:xfrm>
                <a:off x="4194658" y="3567540"/>
                <a:ext cx="418" cy="717"/>
              </a:xfrm>
              <a:custGeom>
                <a:avLst/>
                <a:gdLst>
                  <a:gd name="connsiteX0" fmla="*/ 419 w 418"/>
                  <a:gd name="connsiteY0" fmla="*/ 0 h 717"/>
                  <a:gd name="connsiteX1" fmla="*/ 0 w 418"/>
                  <a:gd name="connsiteY1" fmla="*/ 718 h 717"/>
                  <a:gd name="connsiteX2" fmla="*/ 419 w 418"/>
                  <a:gd name="connsiteY2" fmla="*/ 0 h 717"/>
                </a:gdLst>
                <a:ahLst/>
                <a:cxnLst>
                  <a:cxn ang="0">
                    <a:pos x="connsiteX0" y="connsiteY0"/>
                  </a:cxn>
                  <a:cxn ang="0">
                    <a:pos x="connsiteX1" y="connsiteY1"/>
                  </a:cxn>
                  <a:cxn ang="0">
                    <a:pos x="connsiteX2" y="connsiteY2"/>
                  </a:cxn>
                </a:cxnLst>
                <a:rect l="l" t="t" r="r" b="b"/>
                <a:pathLst>
                  <a:path w="418" h="717">
                    <a:moveTo>
                      <a:pt x="419" y="0"/>
                    </a:moveTo>
                    <a:cubicBezTo>
                      <a:pt x="299" y="239"/>
                      <a:pt x="120" y="479"/>
                      <a:pt x="0" y="718"/>
                    </a:cubicBezTo>
                    <a:cubicBezTo>
                      <a:pt x="120" y="479"/>
                      <a:pt x="239" y="239"/>
                      <a:pt x="41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69" name="Vrije vorm: vorm 8468">
                <a:extLst>
                  <a:ext uri="{FF2B5EF4-FFF2-40B4-BE49-F238E27FC236}">
                    <a16:creationId xmlns:a16="http://schemas.microsoft.com/office/drawing/2014/main" id="{40600691-1F06-4A6C-96CD-2A24E8A1AECD}"/>
                  </a:ext>
                </a:extLst>
              </p:cNvPr>
              <p:cNvSpPr/>
              <p:nvPr/>
            </p:nvSpPr>
            <p:spPr>
              <a:xfrm>
                <a:off x="4192924" y="3570232"/>
                <a:ext cx="418" cy="598"/>
              </a:xfrm>
              <a:custGeom>
                <a:avLst/>
                <a:gdLst>
                  <a:gd name="connsiteX0" fmla="*/ 419 w 418"/>
                  <a:gd name="connsiteY0" fmla="*/ 0 h 598"/>
                  <a:gd name="connsiteX1" fmla="*/ 0 w 418"/>
                  <a:gd name="connsiteY1" fmla="*/ 598 h 598"/>
                  <a:gd name="connsiteX2" fmla="*/ 419 w 418"/>
                  <a:gd name="connsiteY2" fmla="*/ 0 h 598"/>
                </a:gdLst>
                <a:ahLst/>
                <a:cxnLst>
                  <a:cxn ang="0">
                    <a:pos x="connsiteX0" y="connsiteY0"/>
                  </a:cxn>
                  <a:cxn ang="0">
                    <a:pos x="connsiteX1" y="connsiteY1"/>
                  </a:cxn>
                  <a:cxn ang="0">
                    <a:pos x="connsiteX2" y="connsiteY2"/>
                  </a:cxn>
                </a:cxnLst>
                <a:rect l="l" t="t" r="r" b="b"/>
                <a:pathLst>
                  <a:path w="418" h="598">
                    <a:moveTo>
                      <a:pt x="419" y="0"/>
                    </a:moveTo>
                    <a:cubicBezTo>
                      <a:pt x="299" y="179"/>
                      <a:pt x="180" y="359"/>
                      <a:pt x="0" y="598"/>
                    </a:cubicBezTo>
                    <a:cubicBezTo>
                      <a:pt x="180" y="419"/>
                      <a:pt x="299" y="179"/>
                      <a:pt x="41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70" name="Vrije vorm: vorm 8469">
                <a:extLst>
                  <a:ext uri="{FF2B5EF4-FFF2-40B4-BE49-F238E27FC236}">
                    <a16:creationId xmlns:a16="http://schemas.microsoft.com/office/drawing/2014/main" id="{72BBE555-A443-44F4-BAA0-7420FFE4A151}"/>
                  </a:ext>
                </a:extLst>
              </p:cNvPr>
              <p:cNvSpPr/>
              <p:nvPr/>
            </p:nvSpPr>
            <p:spPr>
              <a:xfrm>
                <a:off x="4183295" y="3580459"/>
                <a:ext cx="239" cy="179"/>
              </a:xfrm>
              <a:custGeom>
                <a:avLst/>
                <a:gdLst>
                  <a:gd name="connsiteX0" fmla="*/ 239 w 239"/>
                  <a:gd name="connsiteY0" fmla="*/ 0 h 179"/>
                  <a:gd name="connsiteX1" fmla="*/ 0 w 239"/>
                  <a:gd name="connsiteY1" fmla="*/ 179 h 179"/>
                  <a:gd name="connsiteX2" fmla="*/ 239 w 239"/>
                  <a:gd name="connsiteY2" fmla="*/ 0 h 179"/>
                </a:gdLst>
                <a:ahLst/>
                <a:cxnLst>
                  <a:cxn ang="0">
                    <a:pos x="connsiteX0" y="connsiteY0"/>
                  </a:cxn>
                  <a:cxn ang="0">
                    <a:pos x="connsiteX1" y="connsiteY1"/>
                  </a:cxn>
                  <a:cxn ang="0">
                    <a:pos x="connsiteX2" y="connsiteY2"/>
                  </a:cxn>
                </a:cxnLst>
                <a:rect l="l" t="t" r="r" b="b"/>
                <a:pathLst>
                  <a:path w="239" h="179">
                    <a:moveTo>
                      <a:pt x="239" y="0"/>
                    </a:moveTo>
                    <a:cubicBezTo>
                      <a:pt x="179" y="60"/>
                      <a:pt x="60" y="120"/>
                      <a:pt x="0" y="179"/>
                    </a:cubicBezTo>
                    <a:cubicBezTo>
                      <a:pt x="60" y="120"/>
                      <a:pt x="179" y="60"/>
                      <a:pt x="23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71" name="Vrije vorm: vorm 8470">
                <a:extLst>
                  <a:ext uri="{FF2B5EF4-FFF2-40B4-BE49-F238E27FC236}">
                    <a16:creationId xmlns:a16="http://schemas.microsoft.com/office/drawing/2014/main" id="{8F8E09CE-E812-4AB4-9A24-73E5B8DC7292}"/>
                  </a:ext>
                </a:extLst>
              </p:cNvPr>
              <p:cNvSpPr/>
              <p:nvPr/>
            </p:nvSpPr>
            <p:spPr>
              <a:xfrm>
                <a:off x="4187063" y="3577409"/>
                <a:ext cx="239" cy="239"/>
              </a:xfrm>
              <a:custGeom>
                <a:avLst/>
                <a:gdLst>
                  <a:gd name="connsiteX0" fmla="*/ 239 w 239"/>
                  <a:gd name="connsiteY0" fmla="*/ 0 h 239"/>
                  <a:gd name="connsiteX1" fmla="*/ 0 w 239"/>
                  <a:gd name="connsiteY1" fmla="*/ 239 h 239"/>
                  <a:gd name="connsiteX2" fmla="*/ 239 w 239"/>
                  <a:gd name="connsiteY2" fmla="*/ 0 h 239"/>
                </a:gdLst>
                <a:ahLst/>
                <a:cxnLst>
                  <a:cxn ang="0">
                    <a:pos x="connsiteX0" y="connsiteY0"/>
                  </a:cxn>
                  <a:cxn ang="0">
                    <a:pos x="connsiteX1" y="connsiteY1"/>
                  </a:cxn>
                  <a:cxn ang="0">
                    <a:pos x="connsiteX2" y="connsiteY2"/>
                  </a:cxn>
                </a:cxnLst>
                <a:rect l="l" t="t" r="r" b="b"/>
                <a:pathLst>
                  <a:path w="239" h="239">
                    <a:moveTo>
                      <a:pt x="239" y="0"/>
                    </a:moveTo>
                    <a:cubicBezTo>
                      <a:pt x="179" y="60"/>
                      <a:pt x="60" y="179"/>
                      <a:pt x="0" y="239"/>
                    </a:cubicBezTo>
                    <a:cubicBezTo>
                      <a:pt x="60" y="179"/>
                      <a:pt x="119" y="120"/>
                      <a:pt x="23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72" name="Vrije vorm: vorm 8471">
                <a:extLst>
                  <a:ext uri="{FF2B5EF4-FFF2-40B4-BE49-F238E27FC236}">
                    <a16:creationId xmlns:a16="http://schemas.microsoft.com/office/drawing/2014/main" id="{5A1A1A92-71F6-4B09-9D06-DDCE02C151F4}"/>
                  </a:ext>
                </a:extLst>
              </p:cNvPr>
              <p:cNvSpPr/>
              <p:nvPr/>
            </p:nvSpPr>
            <p:spPr>
              <a:xfrm>
                <a:off x="4187900" y="3576452"/>
                <a:ext cx="358" cy="298"/>
              </a:xfrm>
              <a:custGeom>
                <a:avLst/>
                <a:gdLst>
                  <a:gd name="connsiteX0" fmla="*/ 359 w 358"/>
                  <a:gd name="connsiteY0" fmla="*/ 0 h 298"/>
                  <a:gd name="connsiteX1" fmla="*/ 0 w 358"/>
                  <a:gd name="connsiteY1" fmla="*/ 299 h 298"/>
                  <a:gd name="connsiteX2" fmla="*/ 359 w 358"/>
                  <a:gd name="connsiteY2" fmla="*/ 0 h 298"/>
                </a:gdLst>
                <a:ahLst/>
                <a:cxnLst>
                  <a:cxn ang="0">
                    <a:pos x="connsiteX0" y="connsiteY0"/>
                  </a:cxn>
                  <a:cxn ang="0">
                    <a:pos x="connsiteX1" y="connsiteY1"/>
                  </a:cxn>
                  <a:cxn ang="0">
                    <a:pos x="connsiteX2" y="connsiteY2"/>
                  </a:cxn>
                </a:cxnLst>
                <a:rect l="l" t="t" r="r" b="b"/>
                <a:pathLst>
                  <a:path w="358" h="298">
                    <a:moveTo>
                      <a:pt x="359" y="0"/>
                    </a:moveTo>
                    <a:cubicBezTo>
                      <a:pt x="239" y="120"/>
                      <a:pt x="119" y="239"/>
                      <a:pt x="0" y="299"/>
                    </a:cubicBezTo>
                    <a:cubicBezTo>
                      <a:pt x="179" y="239"/>
                      <a:pt x="239" y="120"/>
                      <a:pt x="35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73" name="Vrije vorm: vorm 8472">
                <a:extLst>
                  <a:ext uri="{FF2B5EF4-FFF2-40B4-BE49-F238E27FC236}">
                    <a16:creationId xmlns:a16="http://schemas.microsoft.com/office/drawing/2014/main" id="{4E6ADD3C-EB91-439A-B833-FB1211A07F38}"/>
                  </a:ext>
                </a:extLst>
              </p:cNvPr>
              <p:cNvSpPr/>
              <p:nvPr/>
            </p:nvSpPr>
            <p:spPr>
              <a:xfrm>
                <a:off x="4188857" y="3575435"/>
                <a:ext cx="358" cy="358"/>
              </a:xfrm>
              <a:custGeom>
                <a:avLst/>
                <a:gdLst>
                  <a:gd name="connsiteX0" fmla="*/ 359 w 358"/>
                  <a:gd name="connsiteY0" fmla="*/ 0 h 358"/>
                  <a:gd name="connsiteX1" fmla="*/ 0 w 358"/>
                  <a:gd name="connsiteY1" fmla="*/ 359 h 358"/>
                  <a:gd name="connsiteX2" fmla="*/ 359 w 358"/>
                  <a:gd name="connsiteY2" fmla="*/ 0 h 358"/>
                </a:gdLst>
                <a:ahLst/>
                <a:cxnLst>
                  <a:cxn ang="0">
                    <a:pos x="connsiteX0" y="connsiteY0"/>
                  </a:cxn>
                  <a:cxn ang="0">
                    <a:pos x="connsiteX1" y="connsiteY1"/>
                  </a:cxn>
                  <a:cxn ang="0">
                    <a:pos x="connsiteX2" y="connsiteY2"/>
                  </a:cxn>
                </a:cxnLst>
                <a:rect l="l" t="t" r="r" b="b"/>
                <a:pathLst>
                  <a:path w="358" h="358">
                    <a:moveTo>
                      <a:pt x="359" y="0"/>
                    </a:moveTo>
                    <a:cubicBezTo>
                      <a:pt x="239" y="120"/>
                      <a:pt x="120" y="239"/>
                      <a:pt x="0" y="359"/>
                    </a:cubicBezTo>
                    <a:cubicBezTo>
                      <a:pt x="179" y="239"/>
                      <a:pt x="299" y="120"/>
                      <a:pt x="35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74" name="Vrije vorm: vorm 8473">
                <a:extLst>
                  <a:ext uri="{FF2B5EF4-FFF2-40B4-BE49-F238E27FC236}">
                    <a16:creationId xmlns:a16="http://schemas.microsoft.com/office/drawing/2014/main" id="{81805976-648E-47C8-82A5-43619DC52A11}"/>
                  </a:ext>
                </a:extLst>
              </p:cNvPr>
              <p:cNvSpPr/>
              <p:nvPr/>
            </p:nvSpPr>
            <p:spPr>
              <a:xfrm>
                <a:off x="4189874" y="3574418"/>
                <a:ext cx="298" cy="358"/>
              </a:xfrm>
              <a:custGeom>
                <a:avLst/>
                <a:gdLst>
                  <a:gd name="connsiteX0" fmla="*/ 299 w 298"/>
                  <a:gd name="connsiteY0" fmla="*/ 0 h 358"/>
                  <a:gd name="connsiteX1" fmla="*/ 0 w 298"/>
                  <a:gd name="connsiteY1" fmla="*/ 359 h 358"/>
                  <a:gd name="connsiteX2" fmla="*/ 299 w 298"/>
                  <a:gd name="connsiteY2" fmla="*/ 0 h 358"/>
                </a:gdLst>
                <a:ahLst/>
                <a:cxnLst>
                  <a:cxn ang="0">
                    <a:pos x="connsiteX0" y="connsiteY0"/>
                  </a:cxn>
                  <a:cxn ang="0">
                    <a:pos x="connsiteX1" y="connsiteY1"/>
                  </a:cxn>
                  <a:cxn ang="0">
                    <a:pos x="connsiteX2" y="connsiteY2"/>
                  </a:cxn>
                </a:cxnLst>
                <a:rect l="l" t="t" r="r" b="b"/>
                <a:pathLst>
                  <a:path w="298" h="358">
                    <a:moveTo>
                      <a:pt x="299" y="0"/>
                    </a:moveTo>
                    <a:cubicBezTo>
                      <a:pt x="180" y="120"/>
                      <a:pt x="60" y="239"/>
                      <a:pt x="0" y="359"/>
                    </a:cubicBezTo>
                    <a:cubicBezTo>
                      <a:pt x="60" y="239"/>
                      <a:pt x="180" y="120"/>
                      <a:pt x="29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75" name="Vrije vorm: vorm 8474">
                <a:extLst>
                  <a:ext uri="{FF2B5EF4-FFF2-40B4-BE49-F238E27FC236}">
                    <a16:creationId xmlns:a16="http://schemas.microsoft.com/office/drawing/2014/main" id="{1AEADAB1-C69B-41ED-BE5A-06A47851B49F}"/>
                  </a:ext>
                </a:extLst>
              </p:cNvPr>
              <p:cNvSpPr/>
              <p:nvPr/>
            </p:nvSpPr>
            <p:spPr>
              <a:xfrm>
                <a:off x="4200759" y="3552290"/>
                <a:ext cx="298" cy="1076"/>
              </a:xfrm>
              <a:custGeom>
                <a:avLst/>
                <a:gdLst>
                  <a:gd name="connsiteX0" fmla="*/ 299 w 298"/>
                  <a:gd name="connsiteY0" fmla="*/ 0 h 1076"/>
                  <a:gd name="connsiteX1" fmla="*/ 0 w 298"/>
                  <a:gd name="connsiteY1" fmla="*/ 1076 h 1076"/>
                  <a:gd name="connsiteX2" fmla="*/ 299 w 298"/>
                  <a:gd name="connsiteY2" fmla="*/ 0 h 1076"/>
                </a:gdLst>
                <a:ahLst/>
                <a:cxnLst>
                  <a:cxn ang="0">
                    <a:pos x="connsiteX0" y="connsiteY0"/>
                  </a:cxn>
                  <a:cxn ang="0">
                    <a:pos x="connsiteX1" y="connsiteY1"/>
                  </a:cxn>
                  <a:cxn ang="0">
                    <a:pos x="connsiteX2" y="connsiteY2"/>
                  </a:cxn>
                </a:cxnLst>
                <a:rect l="l" t="t" r="r" b="b"/>
                <a:pathLst>
                  <a:path w="298" h="1076">
                    <a:moveTo>
                      <a:pt x="299" y="0"/>
                    </a:moveTo>
                    <a:cubicBezTo>
                      <a:pt x="239" y="359"/>
                      <a:pt x="120" y="718"/>
                      <a:pt x="0" y="1076"/>
                    </a:cubicBezTo>
                    <a:cubicBezTo>
                      <a:pt x="120" y="778"/>
                      <a:pt x="239" y="359"/>
                      <a:pt x="29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76" name="Vrije vorm: vorm 8475">
                <a:extLst>
                  <a:ext uri="{FF2B5EF4-FFF2-40B4-BE49-F238E27FC236}">
                    <a16:creationId xmlns:a16="http://schemas.microsoft.com/office/drawing/2014/main" id="{392E367C-6C5A-497E-804F-9224CD2295A7}"/>
                  </a:ext>
                </a:extLst>
              </p:cNvPr>
              <p:cNvSpPr/>
              <p:nvPr/>
            </p:nvSpPr>
            <p:spPr>
              <a:xfrm>
                <a:off x="4200340" y="3554024"/>
                <a:ext cx="298" cy="1076"/>
              </a:xfrm>
              <a:custGeom>
                <a:avLst/>
                <a:gdLst>
                  <a:gd name="connsiteX0" fmla="*/ 299 w 298"/>
                  <a:gd name="connsiteY0" fmla="*/ 0 h 1076"/>
                  <a:gd name="connsiteX1" fmla="*/ 0 w 298"/>
                  <a:gd name="connsiteY1" fmla="*/ 1076 h 1076"/>
                  <a:gd name="connsiteX2" fmla="*/ 299 w 298"/>
                  <a:gd name="connsiteY2" fmla="*/ 0 h 1076"/>
                </a:gdLst>
                <a:ahLst/>
                <a:cxnLst>
                  <a:cxn ang="0">
                    <a:pos x="connsiteX0" y="connsiteY0"/>
                  </a:cxn>
                  <a:cxn ang="0">
                    <a:pos x="connsiteX1" y="connsiteY1"/>
                  </a:cxn>
                  <a:cxn ang="0">
                    <a:pos x="connsiteX2" y="connsiteY2"/>
                  </a:cxn>
                </a:cxnLst>
                <a:rect l="l" t="t" r="r" b="b"/>
                <a:pathLst>
                  <a:path w="298" h="1076">
                    <a:moveTo>
                      <a:pt x="299" y="0"/>
                    </a:moveTo>
                    <a:cubicBezTo>
                      <a:pt x="180" y="359"/>
                      <a:pt x="120" y="718"/>
                      <a:pt x="0" y="1076"/>
                    </a:cubicBezTo>
                    <a:cubicBezTo>
                      <a:pt x="60" y="778"/>
                      <a:pt x="180" y="419"/>
                      <a:pt x="29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77" name="Vrije vorm: vorm 8476">
                <a:extLst>
                  <a:ext uri="{FF2B5EF4-FFF2-40B4-BE49-F238E27FC236}">
                    <a16:creationId xmlns:a16="http://schemas.microsoft.com/office/drawing/2014/main" id="{A562DF25-2172-419F-B5A6-2F5CBDAAF698}"/>
                  </a:ext>
                </a:extLst>
              </p:cNvPr>
              <p:cNvSpPr/>
              <p:nvPr/>
            </p:nvSpPr>
            <p:spPr>
              <a:xfrm>
                <a:off x="4196393" y="3564191"/>
                <a:ext cx="478" cy="897"/>
              </a:xfrm>
              <a:custGeom>
                <a:avLst/>
                <a:gdLst>
                  <a:gd name="connsiteX0" fmla="*/ 479 w 478"/>
                  <a:gd name="connsiteY0" fmla="*/ 0 h 897"/>
                  <a:gd name="connsiteX1" fmla="*/ 0 w 478"/>
                  <a:gd name="connsiteY1" fmla="*/ 897 h 897"/>
                  <a:gd name="connsiteX2" fmla="*/ 479 w 478"/>
                  <a:gd name="connsiteY2" fmla="*/ 0 h 897"/>
                </a:gdLst>
                <a:ahLst/>
                <a:cxnLst>
                  <a:cxn ang="0">
                    <a:pos x="connsiteX0" y="connsiteY0"/>
                  </a:cxn>
                  <a:cxn ang="0">
                    <a:pos x="connsiteX1" y="connsiteY1"/>
                  </a:cxn>
                  <a:cxn ang="0">
                    <a:pos x="connsiteX2" y="connsiteY2"/>
                  </a:cxn>
                </a:cxnLst>
                <a:rect l="l" t="t" r="r" b="b"/>
                <a:pathLst>
                  <a:path w="478" h="897">
                    <a:moveTo>
                      <a:pt x="479" y="0"/>
                    </a:moveTo>
                    <a:cubicBezTo>
                      <a:pt x="299" y="299"/>
                      <a:pt x="179" y="598"/>
                      <a:pt x="0" y="897"/>
                    </a:cubicBezTo>
                    <a:cubicBezTo>
                      <a:pt x="179" y="598"/>
                      <a:pt x="299" y="299"/>
                      <a:pt x="47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78" name="Vrije vorm: vorm 8477">
                <a:extLst>
                  <a:ext uri="{FF2B5EF4-FFF2-40B4-BE49-F238E27FC236}">
                    <a16:creationId xmlns:a16="http://schemas.microsoft.com/office/drawing/2014/main" id="{CB26571E-40EB-4999-AA35-4E1144C800D4}"/>
                  </a:ext>
                </a:extLst>
              </p:cNvPr>
              <p:cNvSpPr/>
              <p:nvPr/>
            </p:nvSpPr>
            <p:spPr>
              <a:xfrm>
                <a:off x="4201237" y="3550495"/>
                <a:ext cx="239" cy="1196"/>
              </a:xfrm>
              <a:custGeom>
                <a:avLst/>
                <a:gdLst>
                  <a:gd name="connsiteX0" fmla="*/ 239 w 239"/>
                  <a:gd name="connsiteY0" fmla="*/ 0 h 1196"/>
                  <a:gd name="connsiteX1" fmla="*/ 0 w 239"/>
                  <a:gd name="connsiteY1" fmla="*/ 1196 h 1196"/>
                  <a:gd name="connsiteX2" fmla="*/ 239 w 239"/>
                  <a:gd name="connsiteY2" fmla="*/ 0 h 1196"/>
                </a:gdLst>
                <a:ahLst/>
                <a:cxnLst>
                  <a:cxn ang="0">
                    <a:pos x="connsiteX0" y="connsiteY0"/>
                  </a:cxn>
                  <a:cxn ang="0">
                    <a:pos x="connsiteX1" y="connsiteY1"/>
                  </a:cxn>
                  <a:cxn ang="0">
                    <a:pos x="connsiteX2" y="connsiteY2"/>
                  </a:cxn>
                </a:cxnLst>
                <a:rect l="l" t="t" r="r" b="b"/>
                <a:pathLst>
                  <a:path w="239" h="1196">
                    <a:moveTo>
                      <a:pt x="239" y="0"/>
                    </a:moveTo>
                    <a:cubicBezTo>
                      <a:pt x="179" y="419"/>
                      <a:pt x="60" y="778"/>
                      <a:pt x="0" y="1196"/>
                    </a:cubicBezTo>
                    <a:cubicBezTo>
                      <a:pt x="60" y="778"/>
                      <a:pt x="179" y="359"/>
                      <a:pt x="23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79" name="Vrije vorm: vorm 8478">
                <a:extLst>
                  <a:ext uri="{FF2B5EF4-FFF2-40B4-BE49-F238E27FC236}">
                    <a16:creationId xmlns:a16="http://schemas.microsoft.com/office/drawing/2014/main" id="{FCF0DD4D-13C5-4DDE-B87A-7596B35907E3}"/>
                  </a:ext>
                </a:extLst>
              </p:cNvPr>
              <p:cNvSpPr/>
              <p:nvPr/>
            </p:nvSpPr>
            <p:spPr>
              <a:xfrm>
                <a:off x="4199742" y="3555699"/>
                <a:ext cx="418" cy="1375"/>
              </a:xfrm>
              <a:custGeom>
                <a:avLst/>
                <a:gdLst>
                  <a:gd name="connsiteX0" fmla="*/ 419 w 418"/>
                  <a:gd name="connsiteY0" fmla="*/ 0 h 1375"/>
                  <a:gd name="connsiteX1" fmla="*/ 0 w 418"/>
                  <a:gd name="connsiteY1" fmla="*/ 1375 h 1375"/>
                  <a:gd name="connsiteX2" fmla="*/ 419 w 418"/>
                  <a:gd name="connsiteY2" fmla="*/ 0 h 1375"/>
                </a:gdLst>
                <a:ahLst/>
                <a:cxnLst>
                  <a:cxn ang="0">
                    <a:pos x="connsiteX0" y="connsiteY0"/>
                  </a:cxn>
                  <a:cxn ang="0">
                    <a:pos x="connsiteX1" y="connsiteY1"/>
                  </a:cxn>
                  <a:cxn ang="0">
                    <a:pos x="connsiteX2" y="connsiteY2"/>
                  </a:cxn>
                </a:cxnLst>
                <a:rect l="l" t="t" r="r" b="b"/>
                <a:pathLst>
                  <a:path w="418" h="1375">
                    <a:moveTo>
                      <a:pt x="419" y="0"/>
                    </a:moveTo>
                    <a:cubicBezTo>
                      <a:pt x="299" y="478"/>
                      <a:pt x="120" y="897"/>
                      <a:pt x="0" y="1375"/>
                    </a:cubicBezTo>
                    <a:cubicBezTo>
                      <a:pt x="120" y="957"/>
                      <a:pt x="299" y="478"/>
                      <a:pt x="41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80" name="Vrije vorm: vorm 8479">
                <a:extLst>
                  <a:ext uri="{FF2B5EF4-FFF2-40B4-BE49-F238E27FC236}">
                    <a16:creationId xmlns:a16="http://schemas.microsoft.com/office/drawing/2014/main" id="{D8F8B05F-0819-4621-9680-A191485EAC86}"/>
                  </a:ext>
                </a:extLst>
              </p:cNvPr>
              <p:cNvSpPr/>
              <p:nvPr/>
            </p:nvSpPr>
            <p:spPr>
              <a:xfrm>
                <a:off x="4201596" y="3548163"/>
                <a:ext cx="298" cy="1794"/>
              </a:xfrm>
              <a:custGeom>
                <a:avLst/>
                <a:gdLst>
                  <a:gd name="connsiteX0" fmla="*/ 299 w 298"/>
                  <a:gd name="connsiteY0" fmla="*/ 0 h 1794"/>
                  <a:gd name="connsiteX1" fmla="*/ 0 w 298"/>
                  <a:gd name="connsiteY1" fmla="*/ 1794 h 1794"/>
                  <a:gd name="connsiteX2" fmla="*/ 299 w 298"/>
                  <a:gd name="connsiteY2" fmla="*/ 0 h 1794"/>
                </a:gdLst>
                <a:ahLst/>
                <a:cxnLst>
                  <a:cxn ang="0">
                    <a:pos x="connsiteX0" y="connsiteY0"/>
                  </a:cxn>
                  <a:cxn ang="0">
                    <a:pos x="connsiteX1" y="connsiteY1"/>
                  </a:cxn>
                  <a:cxn ang="0">
                    <a:pos x="connsiteX2" y="connsiteY2"/>
                  </a:cxn>
                </a:cxnLst>
                <a:rect l="l" t="t" r="r" b="b"/>
                <a:pathLst>
                  <a:path w="298" h="1794">
                    <a:moveTo>
                      <a:pt x="299" y="0"/>
                    </a:moveTo>
                    <a:cubicBezTo>
                      <a:pt x="179" y="598"/>
                      <a:pt x="120" y="1196"/>
                      <a:pt x="0" y="1794"/>
                    </a:cubicBezTo>
                    <a:cubicBezTo>
                      <a:pt x="120" y="1196"/>
                      <a:pt x="239" y="598"/>
                      <a:pt x="29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81" name="Vrije vorm: vorm 8480">
                <a:extLst>
                  <a:ext uri="{FF2B5EF4-FFF2-40B4-BE49-F238E27FC236}">
                    <a16:creationId xmlns:a16="http://schemas.microsoft.com/office/drawing/2014/main" id="{30DC7387-81A2-4D10-A907-35F714D51242}"/>
                  </a:ext>
                </a:extLst>
              </p:cNvPr>
              <p:cNvSpPr/>
              <p:nvPr/>
            </p:nvSpPr>
            <p:spPr>
              <a:xfrm>
                <a:off x="4197888" y="3561141"/>
                <a:ext cx="358" cy="897"/>
              </a:xfrm>
              <a:custGeom>
                <a:avLst/>
                <a:gdLst>
                  <a:gd name="connsiteX0" fmla="*/ 359 w 358"/>
                  <a:gd name="connsiteY0" fmla="*/ 0 h 897"/>
                  <a:gd name="connsiteX1" fmla="*/ 0 w 358"/>
                  <a:gd name="connsiteY1" fmla="*/ 897 h 897"/>
                  <a:gd name="connsiteX2" fmla="*/ 359 w 358"/>
                  <a:gd name="connsiteY2" fmla="*/ 0 h 897"/>
                </a:gdLst>
                <a:ahLst/>
                <a:cxnLst>
                  <a:cxn ang="0">
                    <a:pos x="connsiteX0" y="connsiteY0"/>
                  </a:cxn>
                  <a:cxn ang="0">
                    <a:pos x="connsiteX1" y="connsiteY1"/>
                  </a:cxn>
                  <a:cxn ang="0">
                    <a:pos x="connsiteX2" y="connsiteY2"/>
                  </a:cxn>
                </a:cxnLst>
                <a:rect l="l" t="t" r="r" b="b"/>
                <a:pathLst>
                  <a:path w="358" h="897">
                    <a:moveTo>
                      <a:pt x="359" y="0"/>
                    </a:moveTo>
                    <a:cubicBezTo>
                      <a:pt x="239" y="299"/>
                      <a:pt x="119" y="598"/>
                      <a:pt x="0" y="897"/>
                    </a:cubicBezTo>
                    <a:cubicBezTo>
                      <a:pt x="60" y="598"/>
                      <a:pt x="179" y="299"/>
                      <a:pt x="35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82" name="Vrije vorm: vorm 8481">
                <a:extLst>
                  <a:ext uri="{FF2B5EF4-FFF2-40B4-BE49-F238E27FC236}">
                    <a16:creationId xmlns:a16="http://schemas.microsoft.com/office/drawing/2014/main" id="{A522CBD8-103D-418F-AB78-F408BB9E1711}"/>
                  </a:ext>
                </a:extLst>
              </p:cNvPr>
              <p:cNvSpPr/>
              <p:nvPr/>
            </p:nvSpPr>
            <p:spPr>
              <a:xfrm>
                <a:off x="4197111" y="3562696"/>
                <a:ext cx="418" cy="837"/>
              </a:xfrm>
              <a:custGeom>
                <a:avLst/>
                <a:gdLst>
                  <a:gd name="connsiteX0" fmla="*/ 419 w 418"/>
                  <a:gd name="connsiteY0" fmla="*/ 0 h 837"/>
                  <a:gd name="connsiteX1" fmla="*/ 0 w 418"/>
                  <a:gd name="connsiteY1" fmla="*/ 837 h 837"/>
                  <a:gd name="connsiteX2" fmla="*/ 419 w 418"/>
                  <a:gd name="connsiteY2" fmla="*/ 0 h 837"/>
                </a:gdLst>
                <a:ahLst/>
                <a:cxnLst>
                  <a:cxn ang="0">
                    <a:pos x="connsiteX0" y="connsiteY0"/>
                  </a:cxn>
                  <a:cxn ang="0">
                    <a:pos x="connsiteX1" y="connsiteY1"/>
                  </a:cxn>
                  <a:cxn ang="0">
                    <a:pos x="connsiteX2" y="connsiteY2"/>
                  </a:cxn>
                </a:cxnLst>
                <a:rect l="l" t="t" r="r" b="b"/>
                <a:pathLst>
                  <a:path w="418" h="837">
                    <a:moveTo>
                      <a:pt x="419" y="0"/>
                    </a:moveTo>
                    <a:cubicBezTo>
                      <a:pt x="299" y="299"/>
                      <a:pt x="179" y="598"/>
                      <a:pt x="0" y="837"/>
                    </a:cubicBezTo>
                    <a:cubicBezTo>
                      <a:pt x="179" y="538"/>
                      <a:pt x="299" y="299"/>
                      <a:pt x="41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83" name="Vrije vorm: vorm 8482">
                <a:extLst>
                  <a:ext uri="{FF2B5EF4-FFF2-40B4-BE49-F238E27FC236}">
                    <a16:creationId xmlns:a16="http://schemas.microsoft.com/office/drawing/2014/main" id="{8A9ADAF2-FF92-4CEF-819A-EC1BA94C7646}"/>
                  </a:ext>
                </a:extLst>
              </p:cNvPr>
              <p:cNvSpPr/>
              <p:nvPr/>
            </p:nvSpPr>
            <p:spPr>
              <a:xfrm>
                <a:off x="4199084" y="3557373"/>
                <a:ext cx="538" cy="1555"/>
              </a:xfrm>
              <a:custGeom>
                <a:avLst/>
                <a:gdLst>
                  <a:gd name="connsiteX0" fmla="*/ 538 w 538"/>
                  <a:gd name="connsiteY0" fmla="*/ 0 h 1555"/>
                  <a:gd name="connsiteX1" fmla="*/ 0 w 538"/>
                  <a:gd name="connsiteY1" fmla="*/ 1555 h 1555"/>
                  <a:gd name="connsiteX2" fmla="*/ 538 w 538"/>
                  <a:gd name="connsiteY2" fmla="*/ 0 h 1555"/>
                </a:gdLst>
                <a:ahLst/>
                <a:cxnLst>
                  <a:cxn ang="0">
                    <a:pos x="connsiteX0" y="connsiteY0"/>
                  </a:cxn>
                  <a:cxn ang="0">
                    <a:pos x="connsiteX1" y="connsiteY1"/>
                  </a:cxn>
                  <a:cxn ang="0">
                    <a:pos x="connsiteX2" y="connsiteY2"/>
                  </a:cxn>
                </a:cxnLst>
                <a:rect l="l" t="t" r="r" b="b"/>
                <a:pathLst>
                  <a:path w="538" h="1555">
                    <a:moveTo>
                      <a:pt x="538" y="0"/>
                    </a:moveTo>
                    <a:cubicBezTo>
                      <a:pt x="359" y="538"/>
                      <a:pt x="179" y="1076"/>
                      <a:pt x="0" y="1555"/>
                    </a:cubicBezTo>
                    <a:cubicBezTo>
                      <a:pt x="179" y="1017"/>
                      <a:pt x="359" y="538"/>
                      <a:pt x="53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84" name="Vrije vorm: vorm 8483">
                <a:extLst>
                  <a:ext uri="{FF2B5EF4-FFF2-40B4-BE49-F238E27FC236}">
                    <a16:creationId xmlns:a16="http://schemas.microsoft.com/office/drawing/2014/main" id="{13E7F969-7A73-4F5A-A695-039753EA35FD}"/>
                  </a:ext>
                </a:extLst>
              </p:cNvPr>
              <p:cNvSpPr/>
              <p:nvPr/>
            </p:nvSpPr>
            <p:spPr>
              <a:xfrm>
                <a:off x="4198426" y="3559466"/>
                <a:ext cx="418" cy="1016"/>
              </a:xfrm>
              <a:custGeom>
                <a:avLst/>
                <a:gdLst>
                  <a:gd name="connsiteX0" fmla="*/ 419 w 418"/>
                  <a:gd name="connsiteY0" fmla="*/ 0 h 1016"/>
                  <a:gd name="connsiteX1" fmla="*/ 0 w 418"/>
                  <a:gd name="connsiteY1" fmla="*/ 1017 h 1016"/>
                  <a:gd name="connsiteX2" fmla="*/ 419 w 418"/>
                  <a:gd name="connsiteY2" fmla="*/ 0 h 1016"/>
                </a:gdLst>
                <a:ahLst/>
                <a:cxnLst>
                  <a:cxn ang="0">
                    <a:pos x="connsiteX0" y="connsiteY0"/>
                  </a:cxn>
                  <a:cxn ang="0">
                    <a:pos x="connsiteX1" y="connsiteY1"/>
                  </a:cxn>
                  <a:cxn ang="0">
                    <a:pos x="connsiteX2" y="connsiteY2"/>
                  </a:cxn>
                </a:cxnLst>
                <a:rect l="l" t="t" r="r" b="b"/>
                <a:pathLst>
                  <a:path w="418" h="1016">
                    <a:moveTo>
                      <a:pt x="419" y="0"/>
                    </a:moveTo>
                    <a:cubicBezTo>
                      <a:pt x="299" y="359"/>
                      <a:pt x="180" y="658"/>
                      <a:pt x="0" y="1017"/>
                    </a:cubicBezTo>
                    <a:cubicBezTo>
                      <a:pt x="180" y="718"/>
                      <a:pt x="299" y="359"/>
                      <a:pt x="41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85" name="Vrije vorm: vorm 8484">
                <a:extLst>
                  <a:ext uri="{FF2B5EF4-FFF2-40B4-BE49-F238E27FC236}">
                    <a16:creationId xmlns:a16="http://schemas.microsoft.com/office/drawing/2014/main" id="{68199F45-6777-4DA2-814D-850AF22D82E5}"/>
                  </a:ext>
                </a:extLst>
              </p:cNvPr>
              <p:cNvSpPr/>
              <p:nvPr/>
            </p:nvSpPr>
            <p:spPr>
              <a:xfrm>
                <a:off x="4193821" y="3568916"/>
                <a:ext cx="418" cy="657"/>
              </a:xfrm>
              <a:custGeom>
                <a:avLst/>
                <a:gdLst>
                  <a:gd name="connsiteX0" fmla="*/ 419 w 418"/>
                  <a:gd name="connsiteY0" fmla="*/ 0 h 657"/>
                  <a:gd name="connsiteX1" fmla="*/ 0 w 418"/>
                  <a:gd name="connsiteY1" fmla="*/ 658 h 657"/>
                  <a:gd name="connsiteX2" fmla="*/ 419 w 418"/>
                  <a:gd name="connsiteY2" fmla="*/ 0 h 657"/>
                </a:gdLst>
                <a:ahLst/>
                <a:cxnLst>
                  <a:cxn ang="0">
                    <a:pos x="connsiteX0" y="connsiteY0"/>
                  </a:cxn>
                  <a:cxn ang="0">
                    <a:pos x="connsiteX1" y="connsiteY1"/>
                  </a:cxn>
                  <a:cxn ang="0">
                    <a:pos x="connsiteX2" y="connsiteY2"/>
                  </a:cxn>
                </a:cxnLst>
                <a:rect l="l" t="t" r="r" b="b"/>
                <a:pathLst>
                  <a:path w="418" h="657">
                    <a:moveTo>
                      <a:pt x="419" y="0"/>
                    </a:moveTo>
                    <a:cubicBezTo>
                      <a:pt x="299" y="239"/>
                      <a:pt x="179" y="419"/>
                      <a:pt x="0" y="658"/>
                    </a:cubicBezTo>
                    <a:cubicBezTo>
                      <a:pt x="119" y="419"/>
                      <a:pt x="239" y="239"/>
                      <a:pt x="41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86" name="Vrije vorm: vorm 8485">
                <a:extLst>
                  <a:ext uri="{FF2B5EF4-FFF2-40B4-BE49-F238E27FC236}">
                    <a16:creationId xmlns:a16="http://schemas.microsoft.com/office/drawing/2014/main" id="{65649018-B860-494E-A975-06C3C3383021}"/>
                  </a:ext>
                </a:extLst>
              </p:cNvPr>
              <p:cNvSpPr/>
              <p:nvPr/>
            </p:nvSpPr>
            <p:spPr>
              <a:xfrm>
                <a:off x="4181262" y="3581774"/>
                <a:ext cx="179" cy="119"/>
              </a:xfrm>
              <a:custGeom>
                <a:avLst/>
                <a:gdLst>
                  <a:gd name="connsiteX0" fmla="*/ 180 w 179"/>
                  <a:gd name="connsiteY0" fmla="*/ 0 h 119"/>
                  <a:gd name="connsiteX1" fmla="*/ 0 w 179"/>
                  <a:gd name="connsiteY1" fmla="*/ 120 h 119"/>
                  <a:gd name="connsiteX2" fmla="*/ 180 w 179"/>
                  <a:gd name="connsiteY2" fmla="*/ 0 h 119"/>
                </a:gdLst>
                <a:ahLst/>
                <a:cxnLst>
                  <a:cxn ang="0">
                    <a:pos x="connsiteX0" y="connsiteY0"/>
                  </a:cxn>
                  <a:cxn ang="0">
                    <a:pos x="connsiteX1" y="connsiteY1"/>
                  </a:cxn>
                  <a:cxn ang="0">
                    <a:pos x="connsiteX2" y="connsiteY2"/>
                  </a:cxn>
                </a:cxnLst>
                <a:rect l="l" t="t" r="r" b="b"/>
                <a:pathLst>
                  <a:path w="179" h="119">
                    <a:moveTo>
                      <a:pt x="180" y="0"/>
                    </a:moveTo>
                    <a:cubicBezTo>
                      <a:pt x="120" y="60"/>
                      <a:pt x="60" y="60"/>
                      <a:pt x="0" y="120"/>
                    </a:cubicBezTo>
                    <a:cubicBezTo>
                      <a:pt x="0" y="60"/>
                      <a:pt x="120" y="60"/>
                      <a:pt x="180"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87" name="Vrije vorm: vorm 8486">
                <a:extLst>
                  <a:ext uri="{FF2B5EF4-FFF2-40B4-BE49-F238E27FC236}">
                    <a16:creationId xmlns:a16="http://schemas.microsoft.com/office/drawing/2014/main" id="{21AE848B-5D27-4733-9598-6797AF1884D1}"/>
                  </a:ext>
                </a:extLst>
              </p:cNvPr>
              <p:cNvSpPr/>
              <p:nvPr/>
            </p:nvSpPr>
            <p:spPr>
              <a:xfrm>
                <a:off x="4178271" y="3583330"/>
                <a:ext cx="5980" cy="5980"/>
              </a:xfrm>
              <a:custGeom>
                <a:avLst/>
                <a:gdLst>
                  <a:gd name="connsiteX0" fmla="*/ 0 w 5980"/>
                  <a:gd name="connsiteY0" fmla="*/ 0 h 5980"/>
                  <a:gd name="connsiteX1" fmla="*/ 0 w 5980"/>
                  <a:gd name="connsiteY1" fmla="*/ 0 h 5980"/>
                  <a:gd name="connsiteX2" fmla="*/ 0 w 5980"/>
                  <a:gd name="connsiteY2" fmla="*/ 0 h 5980"/>
                </a:gdLst>
                <a:ahLst/>
                <a:cxnLst>
                  <a:cxn ang="0">
                    <a:pos x="connsiteX0" y="connsiteY0"/>
                  </a:cxn>
                  <a:cxn ang="0">
                    <a:pos x="connsiteX1" y="connsiteY1"/>
                  </a:cxn>
                  <a:cxn ang="0">
                    <a:pos x="connsiteX2" y="connsiteY2"/>
                  </a:cxn>
                </a:cxnLst>
                <a:rect l="l" t="t" r="r" b="b"/>
                <a:pathLst>
                  <a:path w="5980" h="5980">
                    <a:moveTo>
                      <a:pt x="0" y="0"/>
                    </a:moveTo>
                    <a:lnTo>
                      <a:pt x="0" y="0"/>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8488" name="Vrije vorm: vorm 8487">
                <a:extLst>
                  <a:ext uri="{FF2B5EF4-FFF2-40B4-BE49-F238E27FC236}">
                    <a16:creationId xmlns:a16="http://schemas.microsoft.com/office/drawing/2014/main" id="{3172E918-8A91-42F3-B9F8-2AA9E585ABB1}"/>
                  </a:ext>
                </a:extLst>
              </p:cNvPr>
              <p:cNvSpPr/>
              <p:nvPr/>
            </p:nvSpPr>
            <p:spPr>
              <a:xfrm>
                <a:off x="4182219" y="3581117"/>
                <a:ext cx="298" cy="179"/>
              </a:xfrm>
              <a:custGeom>
                <a:avLst/>
                <a:gdLst>
                  <a:gd name="connsiteX0" fmla="*/ 299 w 298"/>
                  <a:gd name="connsiteY0" fmla="*/ 0 h 179"/>
                  <a:gd name="connsiteX1" fmla="*/ 0 w 298"/>
                  <a:gd name="connsiteY1" fmla="*/ 179 h 179"/>
                  <a:gd name="connsiteX2" fmla="*/ 299 w 298"/>
                  <a:gd name="connsiteY2" fmla="*/ 0 h 179"/>
                </a:gdLst>
                <a:ahLst/>
                <a:cxnLst>
                  <a:cxn ang="0">
                    <a:pos x="connsiteX0" y="connsiteY0"/>
                  </a:cxn>
                  <a:cxn ang="0">
                    <a:pos x="connsiteX1" y="connsiteY1"/>
                  </a:cxn>
                  <a:cxn ang="0">
                    <a:pos x="connsiteX2" y="connsiteY2"/>
                  </a:cxn>
                </a:cxnLst>
                <a:rect l="l" t="t" r="r" b="b"/>
                <a:pathLst>
                  <a:path w="298" h="179">
                    <a:moveTo>
                      <a:pt x="299" y="0"/>
                    </a:moveTo>
                    <a:cubicBezTo>
                      <a:pt x="179" y="60"/>
                      <a:pt x="119" y="120"/>
                      <a:pt x="0" y="179"/>
                    </a:cubicBezTo>
                    <a:cubicBezTo>
                      <a:pt x="119" y="120"/>
                      <a:pt x="179" y="60"/>
                      <a:pt x="29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89" name="Vrije vorm: vorm 8488">
                <a:extLst>
                  <a:ext uri="{FF2B5EF4-FFF2-40B4-BE49-F238E27FC236}">
                    <a16:creationId xmlns:a16="http://schemas.microsoft.com/office/drawing/2014/main" id="{BC9CD733-E2F0-4CDB-B67D-E2F9496BC1FB}"/>
                  </a:ext>
                </a:extLst>
              </p:cNvPr>
              <p:cNvSpPr/>
              <p:nvPr/>
            </p:nvSpPr>
            <p:spPr>
              <a:xfrm>
                <a:off x="4188439" y="3505341"/>
                <a:ext cx="12679" cy="11183"/>
              </a:xfrm>
              <a:custGeom>
                <a:avLst/>
                <a:gdLst>
                  <a:gd name="connsiteX0" fmla="*/ 9569 w 12679"/>
                  <a:gd name="connsiteY0" fmla="*/ 11184 h 11183"/>
                  <a:gd name="connsiteX1" fmla="*/ 12679 w 12679"/>
                  <a:gd name="connsiteY1" fmla="*/ 10287 h 11183"/>
                  <a:gd name="connsiteX2" fmla="*/ 9390 w 12679"/>
                  <a:gd name="connsiteY2" fmla="*/ 5024 h 11183"/>
                  <a:gd name="connsiteX3" fmla="*/ 5024 w 12679"/>
                  <a:gd name="connsiteY3" fmla="*/ 1196 h 11183"/>
                  <a:gd name="connsiteX4" fmla="*/ 0 w 12679"/>
                  <a:gd name="connsiteY4" fmla="*/ 0 h 11183"/>
                  <a:gd name="connsiteX5" fmla="*/ 9569 w 12679"/>
                  <a:gd name="connsiteY5" fmla="*/ 11184 h 1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79" h="11183">
                    <a:moveTo>
                      <a:pt x="9569" y="11184"/>
                    </a:moveTo>
                    <a:lnTo>
                      <a:pt x="12679" y="10287"/>
                    </a:lnTo>
                    <a:lnTo>
                      <a:pt x="9390" y="5024"/>
                    </a:lnTo>
                    <a:lnTo>
                      <a:pt x="5024" y="1196"/>
                    </a:lnTo>
                    <a:cubicBezTo>
                      <a:pt x="3409" y="718"/>
                      <a:pt x="1734" y="299"/>
                      <a:pt x="0" y="0"/>
                    </a:cubicBezTo>
                    <a:cubicBezTo>
                      <a:pt x="3888" y="2512"/>
                      <a:pt x="7177" y="6399"/>
                      <a:pt x="9569" y="1118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90" name="Vrije vorm: vorm 8489">
                <a:extLst>
                  <a:ext uri="{FF2B5EF4-FFF2-40B4-BE49-F238E27FC236}">
                    <a16:creationId xmlns:a16="http://schemas.microsoft.com/office/drawing/2014/main" id="{ABDFDCCE-C0F6-4DB8-9206-4099F2AF8C81}"/>
                  </a:ext>
                </a:extLst>
              </p:cNvPr>
              <p:cNvSpPr/>
              <p:nvPr/>
            </p:nvSpPr>
            <p:spPr>
              <a:xfrm>
                <a:off x="4175580" y="3504705"/>
                <a:ext cx="22487" cy="12597"/>
              </a:xfrm>
              <a:custGeom>
                <a:avLst/>
                <a:gdLst>
                  <a:gd name="connsiteX0" fmla="*/ 0 w 22487"/>
                  <a:gd name="connsiteY0" fmla="*/ 456 h 12597"/>
                  <a:gd name="connsiteX1" fmla="*/ 4605 w 22487"/>
                  <a:gd name="connsiteY1" fmla="*/ 636 h 12597"/>
                  <a:gd name="connsiteX2" fmla="*/ 8792 w 22487"/>
                  <a:gd name="connsiteY2" fmla="*/ 1892 h 12597"/>
                  <a:gd name="connsiteX3" fmla="*/ 19976 w 22487"/>
                  <a:gd name="connsiteY3" fmla="*/ 12597 h 12597"/>
                  <a:gd name="connsiteX4" fmla="*/ 22488 w 22487"/>
                  <a:gd name="connsiteY4" fmla="*/ 11879 h 12597"/>
                  <a:gd name="connsiteX5" fmla="*/ 12919 w 22487"/>
                  <a:gd name="connsiteY5" fmla="*/ 636 h 12597"/>
                  <a:gd name="connsiteX6" fmla="*/ 12679 w 22487"/>
                  <a:gd name="connsiteY6" fmla="*/ 576 h 12597"/>
                  <a:gd name="connsiteX7" fmla="*/ 0 w 22487"/>
                  <a:gd name="connsiteY7" fmla="*/ 456 h 12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87" h="12597">
                    <a:moveTo>
                      <a:pt x="0" y="456"/>
                    </a:moveTo>
                    <a:cubicBezTo>
                      <a:pt x="1495" y="337"/>
                      <a:pt x="3050" y="397"/>
                      <a:pt x="4605" y="636"/>
                    </a:cubicBezTo>
                    <a:cubicBezTo>
                      <a:pt x="6041" y="875"/>
                      <a:pt x="7476" y="1294"/>
                      <a:pt x="8792" y="1892"/>
                    </a:cubicBezTo>
                    <a:cubicBezTo>
                      <a:pt x="13337" y="3865"/>
                      <a:pt x="17165" y="7633"/>
                      <a:pt x="19976" y="12597"/>
                    </a:cubicBezTo>
                    <a:lnTo>
                      <a:pt x="22488" y="11879"/>
                    </a:lnTo>
                    <a:cubicBezTo>
                      <a:pt x="20096" y="7095"/>
                      <a:pt x="16806" y="3208"/>
                      <a:pt x="12919" y="636"/>
                    </a:cubicBezTo>
                    <a:cubicBezTo>
                      <a:pt x="12859" y="636"/>
                      <a:pt x="12739" y="576"/>
                      <a:pt x="12679" y="576"/>
                    </a:cubicBezTo>
                    <a:cubicBezTo>
                      <a:pt x="8313" y="-202"/>
                      <a:pt x="4067" y="-142"/>
                      <a:pt x="0" y="45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91" name="Vrije vorm: vorm 8490">
                <a:extLst>
                  <a:ext uri="{FF2B5EF4-FFF2-40B4-BE49-F238E27FC236}">
                    <a16:creationId xmlns:a16="http://schemas.microsoft.com/office/drawing/2014/main" id="{F893565F-7F6C-4A9F-8209-61425030CEAF}"/>
                  </a:ext>
                </a:extLst>
              </p:cNvPr>
              <p:cNvSpPr/>
              <p:nvPr/>
            </p:nvSpPr>
            <p:spPr>
              <a:xfrm>
                <a:off x="4200639" y="3553426"/>
                <a:ext cx="179" cy="657"/>
              </a:xfrm>
              <a:custGeom>
                <a:avLst/>
                <a:gdLst>
                  <a:gd name="connsiteX0" fmla="*/ 180 w 179"/>
                  <a:gd name="connsiteY0" fmla="*/ 0 h 657"/>
                  <a:gd name="connsiteX1" fmla="*/ 0 w 179"/>
                  <a:gd name="connsiteY1" fmla="*/ 658 h 657"/>
                  <a:gd name="connsiteX2" fmla="*/ 180 w 179"/>
                  <a:gd name="connsiteY2" fmla="*/ 0 h 657"/>
                </a:gdLst>
                <a:ahLst/>
                <a:cxnLst>
                  <a:cxn ang="0">
                    <a:pos x="connsiteX0" y="connsiteY0"/>
                  </a:cxn>
                  <a:cxn ang="0">
                    <a:pos x="connsiteX1" y="connsiteY1"/>
                  </a:cxn>
                  <a:cxn ang="0">
                    <a:pos x="connsiteX2" y="connsiteY2"/>
                  </a:cxn>
                </a:cxnLst>
                <a:rect l="l" t="t" r="r" b="b"/>
                <a:pathLst>
                  <a:path w="179" h="657">
                    <a:moveTo>
                      <a:pt x="180" y="0"/>
                    </a:moveTo>
                    <a:cubicBezTo>
                      <a:pt x="120" y="239"/>
                      <a:pt x="60" y="419"/>
                      <a:pt x="0" y="658"/>
                    </a:cubicBezTo>
                    <a:cubicBezTo>
                      <a:pt x="60" y="419"/>
                      <a:pt x="120" y="179"/>
                      <a:pt x="180"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92" name="Vrije vorm: vorm 8491">
                <a:extLst>
                  <a:ext uri="{FF2B5EF4-FFF2-40B4-BE49-F238E27FC236}">
                    <a16:creationId xmlns:a16="http://schemas.microsoft.com/office/drawing/2014/main" id="{D6BB07B4-AD14-406E-A838-34BB784E9516}"/>
                  </a:ext>
                </a:extLst>
              </p:cNvPr>
              <p:cNvSpPr/>
              <p:nvPr/>
            </p:nvSpPr>
            <p:spPr>
              <a:xfrm>
                <a:off x="4187302" y="3576811"/>
                <a:ext cx="657" cy="657"/>
              </a:xfrm>
              <a:custGeom>
                <a:avLst/>
                <a:gdLst>
                  <a:gd name="connsiteX0" fmla="*/ 658 w 657"/>
                  <a:gd name="connsiteY0" fmla="*/ 0 h 657"/>
                  <a:gd name="connsiteX1" fmla="*/ 0 w 657"/>
                  <a:gd name="connsiteY1" fmla="*/ 658 h 657"/>
                  <a:gd name="connsiteX2" fmla="*/ 658 w 657"/>
                  <a:gd name="connsiteY2" fmla="*/ 0 h 657"/>
                </a:gdLst>
                <a:ahLst/>
                <a:cxnLst>
                  <a:cxn ang="0">
                    <a:pos x="connsiteX0" y="connsiteY0"/>
                  </a:cxn>
                  <a:cxn ang="0">
                    <a:pos x="connsiteX1" y="connsiteY1"/>
                  </a:cxn>
                  <a:cxn ang="0">
                    <a:pos x="connsiteX2" y="connsiteY2"/>
                  </a:cxn>
                </a:cxnLst>
                <a:rect l="l" t="t" r="r" b="b"/>
                <a:pathLst>
                  <a:path w="657" h="657">
                    <a:moveTo>
                      <a:pt x="658" y="0"/>
                    </a:moveTo>
                    <a:cubicBezTo>
                      <a:pt x="419" y="239"/>
                      <a:pt x="239" y="419"/>
                      <a:pt x="0" y="658"/>
                    </a:cubicBezTo>
                    <a:cubicBezTo>
                      <a:pt x="180" y="419"/>
                      <a:pt x="419" y="179"/>
                      <a:pt x="65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93" name="Vrije vorm: vorm 8492">
                <a:extLst>
                  <a:ext uri="{FF2B5EF4-FFF2-40B4-BE49-F238E27FC236}">
                    <a16:creationId xmlns:a16="http://schemas.microsoft.com/office/drawing/2014/main" id="{E5AFE0E1-BAFE-451C-979B-D86644893272}"/>
                  </a:ext>
                </a:extLst>
              </p:cNvPr>
              <p:cNvSpPr/>
              <p:nvPr/>
            </p:nvSpPr>
            <p:spPr>
              <a:xfrm>
                <a:off x="4199682" y="3557074"/>
                <a:ext cx="59" cy="299"/>
              </a:xfrm>
              <a:custGeom>
                <a:avLst/>
                <a:gdLst>
                  <a:gd name="connsiteX0" fmla="*/ 60 w 59"/>
                  <a:gd name="connsiteY0" fmla="*/ 0 h 299"/>
                  <a:gd name="connsiteX1" fmla="*/ 0 w 59"/>
                  <a:gd name="connsiteY1" fmla="*/ 299 h 299"/>
                  <a:gd name="connsiteX2" fmla="*/ 60 w 59"/>
                  <a:gd name="connsiteY2" fmla="*/ 0 h 299"/>
                </a:gdLst>
                <a:ahLst/>
                <a:cxnLst>
                  <a:cxn ang="0">
                    <a:pos x="connsiteX0" y="connsiteY0"/>
                  </a:cxn>
                  <a:cxn ang="0">
                    <a:pos x="connsiteX1" y="connsiteY1"/>
                  </a:cxn>
                  <a:cxn ang="0">
                    <a:pos x="connsiteX2" y="connsiteY2"/>
                  </a:cxn>
                </a:cxnLst>
                <a:rect l="l" t="t" r="r" b="b"/>
                <a:pathLst>
                  <a:path w="59" h="299">
                    <a:moveTo>
                      <a:pt x="60" y="0"/>
                    </a:moveTo>
                    <a:cubicBezTo>
                      <a:pt x="60" y="120"/>
                      <a:pt x="0" y="180"/>
                      <a:pt x="0" y="299"/>
                    </a:cubicBezTo>
                    <a:cubicBezTo>
                      <a:pt x="0" y="180"/>
                      <a:pt x="0" y="120"/>
                      <a:pt x="60"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94" name="Vrije vorm: vorm 8493">
                <a:extLst>
                  <a:ext uri="{FF2B5EF4-FFF2-40B4-BE49-F238E27FC236}">
                    <a16:creationId xmlns:a16="http://schemas.microsoft.com/office/drawing/2014/main" id="{7A068164-83C7-4D26-81A9-39E7314A6FAF}"/>
                  </a:ext>
                </a:extLst>
              </p:cNvPr>
              <p:cNvSpPr/>
              <p:nvPr/>
            </p:nvSpPr>
            <p:spPr>
              <a:xfrm>
                <a:off x="4200161" y="3555160"/>
                <a:ext cx="179" cy="598"/>
              </a:xfrm>
              <a:custGeom>
                <a:avLst/>
                <a:gdLst>
                  <a:gd name="connsiteX0" fmla="*/ 179 w 179"/>
                  <a:gd name="connsiteY0" fmla="*/ 0 h 598"/>
                  <a:gd name="connsiteX1" fmla="*/ 0 w 179"/>
                  <a:gd name="connsiteY1" fmla="*/ 598 h 598"/>
                  <a:gd name="connsiteX2" fmla="*/ 179 w 179"/>
                  <a:gd name="connsiteY2" fmla="*/ 0 h 598"/>
                </a:gdLst>
                <a:ahLst/>
                <a:cxnLst>
                  <a:cxn ang="0">
                    <a:pos x="connsiteX0" y="connsiteY0"/>
                  </a:cxn>
                  <a:cxn ang="0">
                    <a:pos x="connsiteX1" y="connsiteY1"/>
                  </a:cxn>
                  <a:cxn ang="0">
                    <a:pos x="connsiteX2" y="connsiteY2"/>
                  </a:cxn>
                </a:cxnLst>
                <a:rect l="l" t="t" r="r" b="b"/>
                <a:pathLst>
                  <a:path w="179" h="598">
                    <a:moveTo>
                      <a:pt x="179" y="0"/>
                    </a:moveTo>
                    <a:cubicBezTo>
                      <a:pt x="119" y="179"/>
                      <a:pt x="60" y="359"/>
                      <a:pt x="0" y="598"/>
                    </a:cubicBezTo>
                    <a:cubicBezTo>
                      <a:pt x="60" y="359"/>
                      <a:pt x="119" y="179"/>
                      <a:pt x="17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95" name="Vrije vorm: vorm 8494">
                <a:extLst>
                  <a:ext uri="{FF2B5EF4-FFF2-40B4-BE49-F238E27FC236}">
                    <a16:creationId xmlns:a16="http://schemas.microsoft.com/office/drawing/2014/main" id="{0DCF24E5-29CD-4235-945E-DB9875015566}"/>
                  </a:ext>
                </a:extLst>
              </p:cNvPr>
              <p:cNvSpPr/>
              <p:nvPr/>
            </p:nvSpPr>
            <p:spPr>
              <a:xfrm>
                <a:off x="4181441" y="3581296"/>
                <a:ext cx="777" cy="478"/>
              </a:xfrm>
              <a:custGeom>
                <a:avLst/>
                <a:gdLst>
                  <a:gd name="connsiteX0" fmla="*/ 778 w 777"/>
                  <a:gd name="connsiteY0" fmla="*/ 0 h 478"/>
                  <a:gd name="connsiteX1" fmla="*/ 0 w 777"/>
                  <a:gd name="connsiteY1" fmla="*/ 478 h 478"/>
                  <a:gd name="connsiteX2" fmla="*/ 778 w 777"/>
                  <a:gd name="connsiteY2" fmla="*/ 0 h 478"/>
                </a:gdLst>
                <a:ahLst/>
                <a:cxnLst>
                  <a:cxn ang="0">
                    <a:pos x="connsiteX0" y="connsiteY0"/>
                  </a:cxn>
                  <a:cxn ang="0">
                    <a:pos x="connsiteX1" y="connsiteY1"/>
                  </a:cxn>
                  <a:cxn ang="0">
                    <a:pos x="connsiteX2" y="connsiteY2"/>
                  </a:cxn>
                </a:cxnLst>
                <a:rect l="l" t="t" r="r" b="b"/>
                <a:pathLst>
                  <a:path w="777" h="478">
                    <a:moveTo>
                      <a:pt x="778" y="0"/>
                    </a:moveTo>
                    <a:cubicBezTo>
                      <a:pt x="538" y="179"/>
                      <a:pt x="239" y="299"/>
                      <a:pt x="0" y="478"/>
                    </a:cubicBezTo>
                    <a:cubicBezTo>
                      <a:pt x="239" y="299"/>
                      <a:pt x="538" y="179"/>
                      <a:pt x="77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96" name="Vrije vorm: vorm 8495">
                <a:extLst>
                  <a:ext uri="{FF2B5EF4-FFF2-40B4-BE49-F238E27FC236}">
                    <a16:creationId xmlns:a16="http://schemas.microsoft.com/office/drawing/2014/main" id="{8CE026FD-B0C8-4EBA-8E16-82439BCABCDF}"/>
                  </a:ext>
                </a:extLst>
              </p:cNvPr>
              <p:cNvSpPr/>
              <p:nvPr/>
            </p:nvSpPr>
            <p:spPr>
              <a:xfrm>
                <a:off x="4192505" y="3570830"/>
                <a:ext cx="478" cy="657"/>
              </a:xfrm>
              <a:custGeom>
                <a:avLst/>
                <a:gdLst>
                  <a:gd name="connsiteX0" fmla="*/ 479 w 478"/>
                  <a:gd name="connsiteY0" fmla="*/ 0 h 657"/>
                  <a:gd name="connsiteX1" fmla="*/ 0 w 478"/>
                  <a:gd name="connsiteY1" fmla="*/ 658 h 657"/>
                  <a:gd name="connsiteX2" fmla="*/ 479 w 478"/>
                  <a:gd name="connsiteY2" fmla="*/ 0 h 657"/>
                </a:gdLst>
                <a:ahLst/>
                <a:cxnLst>
                  <a:cxn ang="0">
                    <a:pos x="connsiteX0" y="connsiteY0"/>
                  </a:cxn>
                  <a:cxn ang="0">
                    <a:pos x="connsiteX1" y="connsiteY1"/>
                  </a:cxn>
                  <a:cxn ang="0">
                    <a:pos x="connsiteX2" y="connsiteY2"/>
                  </a:cxn>
                </a:cxnLst>
                <a:rect l="l" t="t" r="r" b="b"/>
                <a:pathLst>
                  <a:path w="478" h="657">
                    <a:moveTo>
                      <a:pt x="479" y="0"/>
                    </a:moveTo>
                    <a:cubicBezTo>
                      <a:pt x="299" y="239"/>
                      <a:pt x="180" y="478"/>
                      <a:pt x="0" y="658"/>
                    </a:cubicBezTo>
                    <a:cubicBezTo>
                      <a:pt x="180" y="419"/>
                      <a:pt x="299" y="179"/>
                      <a:pt x="47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97" name="Vrije vorm: vorm 8496">
                <a:extLst>
                  <a:ext uri="{FF2B5EF4-FFF2-40B4-BE49-F238E27FC236}">
                    <a16:creationId xmlns:a16="http://schemas.microsoft.com/office/drawing/2014/main" id="{BDE86532-188C-4EBD-82D5-ACF58D74EE83}"/>
                  </a:ext>
                </a:extLst>
              </p:cNvPr>
              <p:cNvSpPr/>
              <p:nvPr/>
            </p:nvSpPr>
            <p:spPr>
              <a:xfrm>
                <a:off x="4184491" y="3577648"/>
                <a:ext cx="2511" cy="2093"/>
              </a:xfrm>
              <a:custGeom>
                <a:avLst/>
                <a:gdLst>
                  <a:gd name="connsiteX0" fmla="*/ 2512 w 2511"/>
                  <a:gd name="connsiteY0" fmla="*/ 0 h 2093"/>
                  <a:gd name="connsiteX1" fmla="*/ 0 w 2511"/>
                  <a:gd name="connsiteY1" fmla="*/ 2093 h 2093"/>
                  <a:gd name="connsiteX2" fmla="*/ 2512 w 2511"/>
                  <a:gd name="connsiteY2" fmla="*/ 0 h 2093"/>
                </a:gdLst>
                <a:ahLst/>
                <a:cxnLst>
                  <a:cxn ang="0">
                    <a:pos x="connsiteX0" y="connsiteY0"/>
                  </a:cxn>
                  <a:cxn ang="0">
                    <a:pos x="connsiteX1" y="connsiteY1"/>
                  </a:cxn>
                  <a:cxn ang="0">
                    <a:pos x="connsiteX2" y="connsiteY2"/>
                  </a:cxn>
                </a:cxnLst>
                <a:rect l="l" t="t" r="r" b="b"/>
                <a:pathLst>
                  <a:path w="2511" h="2093">
                    <a:moveTo>
                      <a:pt x="2512" y="0"/>
                    </a:moveTo>
                    <a:cubicBezTo>
                      <a:pt x="1674" y="778"/>
                      <a:pt x="837" y="1435"/>
                      <a:pt x="0" y="2093"/>
                    </a:cubicBezTo>
                    <a:cubicBezTo>
                      <a:pt x="837" y="1495"/>
                      <a:pt x="1674" y="778"/>
                      <a:pt x="2512"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98" name="Vrije vorm: vorm 8497">
                <a:extLst>
                  <a:ext uri="{FF2B5EF4-FFF2-40B4-BE49-F238E27FC236}">
                    <a16:creationId xmlns:a16="http://schemas.microsoft.com/office/drawing/2014/main" id="{1D70B0D4-F7A5-45C0-8CF4-CF5D6BCDEF54}"/>
                  </a:ext>
                </a:extLst>
              </p:cNvPr>
              <p:cNvSpPr/>
              <p:nvPr/>
            </p:nvSpPr>
            <p:spPr>
              <a:xfrm>
                <a:off x="4183534" y="3579861"/>
                <a:ext cx="777" cy="538"/>
              </a:xfrm>
              <a:custGeom>
                <a:avLst/>
                <a:gdLst>
                  <a:gd name="connsiteX0" fmla="*/ 778 w 777"/>
                  <a:gd name="connsiteY0" fmla="*/ 0 h 538"/>
                  <a:gd name="connsiteX1" fmla="*/ 0 w 777"/>
                  <a:gd name="connsiteY1" fmla="*/ 538 h 538"/>
                  <a:gd name="connsiteX2" fmla="*/ 778 w 777"/>
                  <a:gd name="connsiteY2" fmla="*/ 0 h 538"/>
                </a:gdLst>
                <a:ahLst/>
                <a:cxnLst>
                  <a:cxn ang="0">
                    <a:pos x="connsiteX0" y="connsiteY0"/>
                  </a:cxn>
                  <a:cxn ang="0">
                    <a:pos x="connsiteX1" y="connsiteY1"/>
                  </a:cxn>
                  <a:cxn ang="0">
                    <a:pos x="connsiteX2" y="connsiteY2"/>
                  </a:cxn>
                </a:cxnLst>
                <a:rect l="l" t="t" r="r" b="b"/>
                <a:pathLst>
                  <a:path w="777" h="538">
                    <a:moveTo>
                      <a:pt x="778" y="0"/>
                    </a:moveTo>
                    <a:cubicBezTo>
                      <a:pt x="538" y="179"/>
                      <a:pt x="239" y="359"/>
                      <a:pt x="0" y="538"/>
                    </a:cubicBezTo>
                    <a:cubicBezTo>
                      <a:pt x="299" y="419"/>
                      <a:pt x="538" y="179"/>
                      <a:pt x="77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499" name="Vrije vorm: vorm 8498">
                <a:extLst>
                  <a:ext uri="{FF2B5EF4-FFF2-40B4-BE49-F238E27FC236}">
                    <a16:creationId xmlns:a16="http://schemas.microsoft.com/office/drawing/2014/main" id="{07821223-F521-4323-8707-B927277E5495}"/>
                  </a:ext>
                </a:extLst>
              </p:cNvPr>
              <p:cNvSpPr/>
              <p:nvPr/>
            </p:nvSpPr>
            <p:spPr>
              <a:xfrm>
                <a:off x="4201058" y="3551691"/>
                <a:ext cx="179" cy="657"/>
              </a:xfrm>
              <a:custGeom>
                <a:avLst/>
                <a:gdLst>
                  <a:gd name="connsiteX0" fmla="*/ 180 w 179"/>
                  <a:gd name="connsiteY0" fmla="*/ 0 h 657"/>
                  <a:gd name="connsiteX1" fmla="*/ 0 w 179"/>
                  <a:gd name="connsiteY1" fmla="*/ 658 h 657"/>
                  <a:gd name="connsiteX2" fmla="*/ 180 w 179"/>
                  <a:gd name="connsiteY2" fmla="*/ 0 h 657"/>
                </a:gdLst>
                <a:ahLst/>
                <a:cxnLst>
                  <a:cxn ang="0">
                    <a:pos x="connsiteX0" y="connsiteY0"/>
                  </a:cxn>
                  <a:cxn ang="0">
                    <a:pos x="connsiteX1" y="connsiteY1"/>
                  </a:cxn>
                  <a:cxn ang="0">
                    <a:pos x="connsiteX2" y="connsiteY2"/>
                  </a:cxn>
                </a:cxnLst>
                <a:rect l="l" t="t" r="r" b="b"/>
                <a:pathLst>
                  <a:path w="179" h="657">
                    <a:moveTo>
                      <a:pt x="180" y="0"/>
                    </a:moveTo>
                    <a:cubicBezTo>
                      <a:pt x="120" y="239"/>
                      <a:pt x="60" y="419"/>
                      <a:pt x="0" y="658"/>
                    </a:cubicBezTo>
                    <a:cubicBezTo>
                      <a:pt x="60" y="419"/>
                      <a:pt x="120" y="179"/>
                      <a:pt x="180"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00" name="Vrije vorm: vorm 8499">
                <a:extLst>
                  <a:ext uri="{FF2B5EF4-FFF2-40B4-BE49-F238E27FC236}">
                    <a16:creationId xmlns:a16="http://schemas.microsoft.com/office/drawing/2014/main" id="{151F819D-50BA-4A6D-9827-4BE7CC3D38CC}"/>
                  </a:ext>
                </a:extLst>
              </p:cNvPr>
              <p:cNvSpPr/>
              <p:nvPr/>
            </p:nvSpPr>
            <p:spPr>
              <a:xfrm>
                <a:off x="4193403" y="3569574"/>
                <a:ext cx="418" cy="657"/>
              </a:xfrm>
              <a:custGeom>
                <a:avLst/>
                <a:gdLst>
                  <a:gd name="connsiteX0" fmla="*/ 419 w 418"/>
                  <a:gd name="connsiteY0" fmla="*/ 0 h 657"/>
                  <a:gd name="connsiteX1" fmla="*/ 0 w 418"/>
                  <a:gd name="connsiteY1" fmla="*/ 658 h 657"/>
                  <a:gd name="connsiteX2" fmla="*/ 419 w 418"/>
                  <a:gd name="connsiteY2" fmla="*/ 0 h 657"/>
                </a:gdLst>
                <a:ahLst/>
                <a:cxnLst>
                  <a:cxn ang="0">
                    <a:pos x="connsiteX0" y="connsiteY0"/>
                  </a:cxn>
                  <a:cxn ang="0">
                    <a:pos x="connsiteX1" y="connsiteY1"/>
                  </a:cxn>
                  <a:cxn ang="0">
                    <a:pos x="connsiteX2" y="connsiteY2"/>
                  </a:cxn>
                </a:cxnLst>
                <a:rect l="l" t="t" r="r" b="b"/>
                <a:pathLst>
                  <a:path w="418" h="657">
                    <a:moveTo>
                      <a:pt x="419" y="0"/>
                    </a:moveTo>
                    <a:cubicBezTo>
                      <a:pt x="299" y="239"/>
                      <a:pt x="119" y="478"/>
                      <a:pt x="0" y="658"/>
                    </a:cubicBezTo>
                    <a:cubicBezTo>
                      <a:pt x="119" y="419"/>
                      <a:pt x="239" y="239"/>
                      <a:pt x="41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01" name="Vrije vorm: vorm 8500">
                <a:extLst>
                  <a:ext uri="{FF2B5EF4-FFF2-40B4-BE49-F238E27FC236}">
                    <a16:creationId xmlns:a16="http://schemas.microsoft.com/office/drawing/2014/main" id="{97229BE1-8B17-4FE8-A0E4-45AD6F828106}"/>
                  </a:ext>
                </a:extLst>
              </p:cNvPr>
              <p:cNvSpPr/>
              <p:nvPr/>
            </p:nvSpPr>
            <p:spPr>
              <a:xfrm>
                <a:off x="4201476" y="3549897"/>
                <a:ext cx="119" cy="538"/>
              </a:xfrm>
              <a:custGeom>
                <a:avLst/>
                <a:gdLst>
                  <a:gd name="connsiteX0" fmla="*/ 120 w 119"/>
                  <a:gd name="connsiteY0" fmla="*/ 0 h 538"/>
                  <a:gd name="connsiteX1" fmla="*/ 0 w 119"/>
                  <a:gd name="connsiteY1" fmla="*/ 538 h 538"/>
                  <a:gd name="connsiteX2" fmla="*/ 120 w 119"/>
                  <a:gd name="connsiteY2" fmla="*/ 0 h 538"/>
                </a:gdLst>
                <a:ahLst/>
                <a:cxnLst>
                  <a:cxn ang="0">
                    <a:pos x="connsiteX0" y="connsiteY0"/>
                  </a:cxn>
                  <a:cxn ang="0">
                    <a:pos x="connsiteX1" y="connsiteY1"/>
                  </a:cxn>
                  <a:cxn ang="0">
                    <a:pos x="connsiteX2" y="connsiteY2"/>
                  </a:cxn>
                </a:cxnLst>
                <a:rect l="l" t="t" r="r" b="b"/>
                <a:pathLst>
                  <a:path w="119" h="538">
                    <a:moveTo>
                      <a:pt x="120" y="0"/>
                    </a:moveTo>
                    <a:cubicBezTo>
                      <a:pt x="60" y="179"/>
                      <a:pt x="60" y="359"/>
                      <a:pt x="0" y="538"/>
                    </a:cubicBezTo>
                    <a:cubicBezTo>
                      <a:pt x="60" y="419"/>
                      <a:pt x="60" y="239"/>
                      <a:pt x="120"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02" name="Vrije vorm: vorm 8501">
                <a:extLst>
                  <a:ext uri="{FF2B5EF4-FFF2-40B4-BE49-F238E27FC236}">
                    <a16:creationId xmlns:a16="http://schemas.microsoft.com/office/drawing/2014/main" id="{3B30F50A-3CBC-4B31-A7FB-8B8EA13C16EE}"/>
                  </a:ext>
                </a:extLst>
              </p:cNvPr>
              <p:cNvSpPr/>
              <p:nvPr/>
            </p:nvSpPr>
            <p:spPr>
              <a:xfrm>
                <a:off x="4190233" y="3571966"/>
                <a:ext cx="1913" cy="2392"/>
              </a:xfrm>
              <a:custGeom>
                <a:avLst/>
                <a:gdLst>
                  <a:gd name="connsiteX0" fmla="*/ 1914 w 1913"/>
                  <a:gd name="connsiteY0" fmla="*/ 0 h 2392"/>
                  <a:gd name="connsiteX1" fmla="*/ 0 w 1913"/>
                  <a:gd name="connsiteY1" fmla="*/ 2392 h 2392"/>
                  <a:gd name="connsiteX2" fmla="*/ 1914 w 1913"/>
                  <a:gd name="connsiteY2" fmla="*/ 0 h 2392"/>
                </a:gdLst>
                <a:ahLst/>
                <a:cxnLst>
                  <a:cxn ang="0">
                    <a:pos x="connsiteX0" y="connsiteY0"/>
                  </a:cxn>
                  <a:cxn ang="0">
                    <a:pos x="connsiteX1" y="connsiteY1"/>
                  </a:cxn>
                  <a:cxn ang="0">
                    <a:pos x="connsiteX2" y="connsiteY2"/>
                  </a:cxn>
                </a:cxnLst>
                <a:rect l="l" t="t" r="r" b="b"/>
                <a:pathLst>
                  <a:path w="1913" h="2392">
                    <a:moveTo>
                      <a:pt x="1914" y="0"/>
                    </a:moveTo>
                    <a:cubicBezTo>
                      <a:pt x="1316" y="837"/>
                      <a:pt x="658" y="1675"/>
                      <a:pt x="0" y="2392"/>
                    </a:cubicBezTo>
                    <a:cubicBezTo>
                      <a:pt x="598" y="1675"/>
                      <a:pt x="1256" y="897"/>
                      <a:pt x="1914"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03" name="Vrije vorm: vorm 8502">
                <a:extLst>
                  <a:ext uri="{FF2B5EF4-FFF2-40B4-BE49-F238E27FC236}">
                    <a16:creationId xmlns:a16="http://schemas.microsoft.com/office/drawing/2014/main" id="{6AF99946-F791-41D8-88C1-433B5264D342}"/>
                  </a:ext>
                </a:extLst>
              </p:cNvPr>
              <p:cNvSpPr/>
              <p:nvPr/>
            </p:nvSpPr>
            <p:spPr>
              <a:xfrm>
                <a:off x="4182518" y="3580638"/>
                <a:ext cx="777" cy="478"/>
              </a:xfrm>
              <a:custGeom>
                <a:avLst/>
                <a:gdLst>
                  <a:gd name="connsiteX0" fmla="*/ 778 w 777"/>
                  <a:gd name="connsiteY0" fmla="*/ 0 h 478"/>
                  <a:gd name="connsiteX1" fmla="*/ 0 w 777"/>
                  <a:gd name="connsiteY1" fmla="*/ 479 h 478"/>
                  <a:gd name="connsiteX2" fmla="*/ 778 w 777"/>
                  <a:gd name="connsiteY2" fmla="*/ 0 h 478"/>
                </a:gdLst>
                <a:ahLst/>
                <a:cxnLst>
                  <a:cxn ang="0">
                    <a:pos x="connsiteX0" y="connsiteY0"/>
                  </a:cxn>
                  <a:cxn ang="0">
                    <a:pos x="connsiteX1" y="connsiteY1"/>
                  </a:cxn>
                  <a:cxn ang="0">
                    <a:pos x="connsiteX2" y="connsiteY2"/>
                  </a:cxn>
                </a:cxnLst>
                <a:rect l="l" t="t" r="r" b="b"/>
                <a:pathLst>
                  <a:path w="777" h="478">
                    <a:moveTo>
                      <a:pt x="778" y="0"/>
                    </a:moveTo>
                    <a:cubicBezTo>
                      <a:pt x="538" y="179"/>
                      <a:pt x="239" y="359"/>
                      <a:pt x="0" y="479"/>
                    </a:cubicBezTo>
                    <a:cubicBezTo>
                      <a:pt x="239" y="299"/>
                      <a:pt x="479" y="179"/>
                      <a:pt x="77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04" name="Vrije vorm: vorm 8503">
                <a:extLst>
                  <a:ext uri="{FF2B5EF4-FFF2-40B4-BE49-F238E27FC236}">
                    <a16:creationId xmlns:a16="http://schemas.microsoft.com/office/drawing/2014/main" id="{2512A848-9A16-45A9-ADB6-DD3C6F3EF0FD}"/>
                  </a:ext>
                </a:extLst>
              </p:cNvPr>
              <p:cNvSpPr/>
              <p:nvPr/>
            </p:nvSpPr>
            <p:spPr>
              <a:xfrm>
                <a:off x="4196872" y="3563533"/>
                <a:ext cx="298" cy="598"/>
              </a:xfrm>
              <a:custGeom>
                <a:avLst/>
                <a:gdLst>
                  <a:gd name="connsiteX0" fmla="*/ 299 w 298"/>
                  <a:gd name="connsiteY0" fmla="*/ 0 h 598"/>
                  <a:gd name="connsiteX1" fmla="*/ 0 w 298"/>
                  <a:gd name="connsiteY1" fmla="*/ 598 h 598"/>
                  <a:gd name="connsiteX2" fmla="*/ 299 w 298"/>
                  <a:gd name="connsiteY2" fmla="*/ 0 h 598"/>
                </a:gdLst>
                <a:ahLst/>
                <a:cxnLst>
                  <a:cxn ang="0">
                    <a:pos x="connsiteX0" y="connsiteY0"/>
                  </a:cxn>
                  <a:cxn ang="0">
                    <a:pos x="connsiteX1" y="connsiteY1"/>
                  </a:cxn>
                  <a:cxn ang="0">
                    <a:pos x="connsiteX2" y="connsiteY2"/>
                  </a:cxn>
                </a:cxnLst>
                <a:rect l="l" t="t" r="r" b="b"/>
                <a:pathLst>
                  <a:path w="298" h="598">
                    <a:moveTo>
                      <a:pt x="299" y="0"/>
                    </a:moveTo>
                    <a:cubicBezTo>
                      <a:pt x="179" y="179"/>
                      <a:pt x="119" y="419"/>
                      <a:pt x="0" y="598"/>
                    </a:cubicBezTo>
                    <a:cubicBezTo>
                      <a:pt x="60" y="419"/>
                      <a:pt x="179" y="239"/>
                      <a:pt x="29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05" name="Vrije vorm: vorm 8504">
                <a:extLst>
                  <a:ext uri="{FF2B5EF4-FFF2-40B4-BE49-F238E27FC236}">
                    <a16:creationId xmlns:a16="http://schemas.microsoft.com/office/drawing/2014/main" id="{2DA8094F-7C14-4683-A092-53EA6A972A7F}"/>
                  </a:ext>
                </a:extLst>
              </p:cNvPr>
              <p:cNvSpPr/>
              <p:nvPr/>
            </p:nvSpPr>
            <p:spPr>
              <a:xfrm>
                <a:off x="4196154" y="3565088"/>
                <a:ext cx="239" cy="538"/>
              </a:xfrm>
              <a:custGeom>
                <a:avLst/>
                <a:gdLst>
                  <a:gd name="connsiteX0" fmla="*/ 239 w 239"/>
                  <a:gd name="connsiteY0" fmla="*/ 0 h 538"/>
                  <a:gd name="connsiteX1" fmla="*/ 0 w 239"/>
                  <a:gd name="connsiteY1" fmla="*/ 538 h 538"/>
                  <a:gd name="connsiteX2" fmla="*/ 239 w 239"/>
                  <a:gd name="connsiteY2" fmla="*/ 0 h 538"/>
                </a:gdLst>
                <a:ahLst/>
                <a:cxnLst>
                  <a:cxn ang="0">
                    <a:pos x="connsiteX0" y="connsiteY0"/>
                  </a:cxn>
                  <a:cxn ang="0">
                    <a:pos x="connsiteX1" y="connsiteY1"/>
                  </a:cxn>
                  <a:cxn ang="0">
                    <a:pos x="connsiteX2" y="connsiteY2"/>
                  </a:cxn>
                </a:cxnLst>
                <a:rect l="l" t="t" r="r" b="b"/>
                <a:pathLst>
                  <a:path w="239" h="538">
                    <a:moveTo>
                      <a:pt x="239" y="0"/>
                    </a:moveTo>
                    <a:cubicBezTo>
                      <a:pt x="120" y="179"/>
                      <a:pt x="60" y="359"/>
                      <a:pt x="0" y="538"/>
                    </a:cubicBezTo>
                    <a:cubicBezTo>
                      <a:pt x="60" y="359"/>
                      <a:pt x="180" y="179"/>
                      <a:pt x="23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06" name="Vrije vorm: vorm 8505">
                <a:extLst>
                  <a:ext uri="{FF2B5EF4-FFF2-40B4-BE49-F238E27FC236}">
                    <a16:creationId xmlns:a16="http://schemas.microsoft.com/office/drawing/2014/main" id="{30FB5896-7B14-47A7-B30D-044B7C9EE264}"/>
                  </a:ext>
                </a:extLst>
              </p:cNvPr>
              <p:cNvSpPr/>
              <p:nvPr/>
            </p:nvSpPr>
            <p:spPr>
              <a:xfrm>
                <a:off x="4178271" y="3581894"/>
                <a:ext cx="2930" cy="1435"/>
              </a:xfrm>
              <a:custGeom>
                <a:avLst/>
                <a:gdLst>
                  <a:gd name="connsiteX0" fmla="*/ 2930 w 2930"/>
                  <a:gd name="connsiteY0" fmla="*/ 0 h 1435"/>
                  <a:gd name="connsiteX1" fmla="*/ 0 w 2930"/>
                  <a:gd name="connsiteY1" fmla="*/ 1435 h 1435"/>
                  <a:gd name="connsiteX2" fmla="*/ 2930 w 2930"/>
                  <a:gd name="connsiteY2" fmla="*/ 0 h 1435"/>
                </a:gdLst>
                <a:ahLst/>
                <a:cxnLst>
                  <a:cxn ang="0">
                    <a:pos x="connsiteX0" y="connsiteY0"/>
                  </a:cxn>
                  <a:cxn ang="0">
                    <a:pos x="connsiteX1" y="connsiteY1"/>
                  </a:cxn>
                  <a:cxn ang="0">
                    <a:pos x="connsiteX2" y="connsiteY2"/>
                  </a:cxn>
                </a:cxnLst>
                <a:rect l="l" t="t" r="r" b="b"/>
                <a:pathLst>
                  <a:path w="2930" h="1435">
                    <a:moveTo>
                      <a:pt x="2930" y="0"/>
                    </a:moveTo>
                    <a:cubicBezTo>
                      <a:pt x="1974" y="538"/>
                      <a:pt x="957" y="1017"/>
                      <a:pt x="0" y="1435"/>
                    </a:cubicBezTo>
                    <a:cubicBezTo>
                      <a:pt x="1017" y="1017"/>
                      <a:pt x="1974" y="538"/>
                      <a:pt x="2930"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07" name="Vrije vorm: vorm 8506">
                <a:extLst>
                  <a:ext uri="{FF2B5EF4-FFF2-40B4-BE49-F238E27FC236}">
                    <a16:creationId xmlns:a16="http://schemas.microsoft.com/office/drawing/2014/main" id="{6A46346F-1E9C-460F-81DF-7A585B869108}"/>
                  </a:ext>
                </a:extLst>
              </p:cNvPr>
              <p:cNvSpPr/>
              <p:nvPr/>
            </p:nvSpPr>
            <p:spPr>
              <a:xfrm>
                <a:off x="4194180" y="3568258"/>
                <a:ext cx="418" cy="657"/>
              </a:xfrm>
              <a:custGeom>
                <a:avLst/>
                <a:gdLst>
                  <a:gd name="connsiteX0" fmla="*/ 419 w 418"/>
                  <a:gd name="connsiteY0" fmla="*/ 0 h 657"/>
                  <a:gd name="connsiteX1" fmla="*/ 0 w 418"/>
                  <a:gd name="connsiteY1" fmla="*/ 658 h 657"/>
                  <a:gd name="connsiteX2" fmla="*/ 419 w 418"/>
                  <a:gd name="connsiteY2" fmla="*/ 0 h 657"/>
                </a:gdLst>
                <a:ahLst/>
                <a:cxnLst>
                  <a:cxn ang="0">
                    <a:pos x="connsiteX0" y="connsiteY0"/>
                  </a:cxn>
                  <a:cxn ang="0">
                    <a:pos x="connsiteX1" y="connsiteY1"/>
                  </a:cxn>
                  <a:cxn ang="0">
                    <a:pos x="connsiteX2" y="connsiteY2"/>
                  </a:cxn>
                </a:cxnLst>
                <a:rect l="l" t="t" r="r" b="b"/>
                <a:pathLst>
                  <a:path w="418" h="657">
                    <a:moveTo>
                      <a:pt x="419" y="0"/>
                    </a:moveTo>
                    <a:cubicBezTo>
                      <a:pt x="299" y="239"/>
                      <a:pt x="119" y="419"/>
                      <a:pt x="0" y="658"/>
                    </a:cubicBezTo>
                    <a:cubicBezTo>
                      <a:pt x="179" y="478"/>
                      <a:pt x="299" y="239"/>
                      <a:pt x="41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08" name="Vrije vorm: vorm 8507">
                <a:extLst>
                  <a:ext uri="{FF2B5EF4-FFF2-40B4-BE49-F238E27FC236}">
                    <a16:creationId xmlns:a16="http://schemas.microsoft.com/office/drawing/2014/main" id="{A96EA283-CBD4-4872-A1BE-3CB6692FC44A}"/>
                  </a:ext>
                </a:extLst>
              </p:cNvPr>
              <p:cNvSpPr/>
              <p:nvPr/>
            </p:nvSpPr>
            <p:spPr>
              <a:xfrm>
                <a:off x="4195077" y="3566942"/>
                <a:ext cx="358" cy="597"/>
              </a:xfrm>
              <a:custGeom>
                <a:avLst/>
                <a:gdLst>
                  <a:gd name="connsiteX0" fmla="*/ 359 w 358"/>
                  <a:gd name="connsiteY0" fmla="*/ 0 h 597"/>
                  <a:gd name="connsiteX1" fmla="*/ 0 w 358"/>
                  <a:gd name="connsiteY1" fmla="*/ 598 h 597"/>
                  <a:gd name="connsiteX2" fmla="*/ 359 w 358"/>
                  <a:gd name="connsiteY2" fmla="*/ 0 h 597"/>
                </a:gdLst>
                <a:ahLst/>
                <a:cxnLst>
                  <a:cxn ang="0">
                    <a:pos x="connsiteX0" y="connsiteY0"/>
                  </a:cxn>
                  <a:cxn ang="0">
                    <a:pos x="connsiteX1" y="connsiteY1"/>
                  </a:cxn>
                  <a:cxn ang="0">
                    <a:pos x="connsiteX2" y="connsiteY2"/>
                  </a:cxn>
                </a:cxnLst>
                <a:rect l="l" t="t" r="r" b="b"/>
                <a:pathLst>
                  <a:path w="358" h="597">
                    <a:moveTo>
                      <a:pt x="359" y="0"/>
                    </a:moveTo>
                    <a:cubicBezTo>
                      <a:pt x="239" y="179"/>
                      <a:pt x="120" y="419"/>
                      <a:pt x="0" y="598"/>
                    </a:cubicBezTo>
                    <a:cubicBezTo>
                      <a:pt x="120" y="419"/>
                      <a:pt x="239" y="179"/>
                      <a:pt x="35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09" name="Vrije vorm: vorm 8508">
                <a:extLst>
                  <a:ext uri="{FF2B5EF4-FFF2-40B4-BE49-F238E27FC236}">
                    <a16:creationId xmlns:a16="http://schemas.microsoft.com/office/drawing/2014/main" id="{9B080041-3AA4-4FF8-B7FC-3D6258075247}"/>
                  </a:ext>
                </a:extLst>
              </p:cNvPr>
              <p:cNvSpPr/>
              <p:nvPr/>
            </p:nvSpPr>
            <p:spPr>
              <a:xfrm>
                <a:off x="4197529" y="3562038"/>
                <a:ext cx="298" cy="657"/>
              </a:xfrm>
              <a:custGeom>
                <a:avLst/>
                <a:gdLst>
                  <a:gd name="connsiteX0" fmla="*/ 299 w 298"/>
                  <a:gd name="connsiteY0" fmla="*/ 0 h 657"/>
                  <a:gd name="connsiteX1" fmla="*/ 0 w 298"/>
                  <a:gd name="connsiteY1" fmla="*/ 658 h 657"/>
                  <a:gd name="connsiteX2" fmla="*/ 299 w 298"/>
                  <a:gd name="connsiteY2" fmla="*/ 0 h 657"/>
                </a:gdLst>
                <a:ahLst/>
                <a:cxnLst>
                  <a:cxn ang="0">
                    <a:pos x="connsiteX0" y="connsiteY0"/>
                  </a:cxn>
                  <a:cxn ang="0">
                    <a:pos x="connsiteX1" y="connsiteY1"/>
                  </a:cxn>
                  <a:cxn ang="0">
                    <a:pos x="connsiteX2" y="connsiteY2"/>
                  </a:cxn>
                </a:cxnLst>
                <a:rect l="l" t="t" r="r" b="b"/>
                <a:pathLst>
                  <a:path w="298" h="657">
                    <a:moveTo>
                      <a:pt x="299" y="0"/>
                    </a:moveTo>
                    <a:cubicBezTo>
                      <a:pt x="179" y="239"/>
                      <a:pt x="119" y="419"/>
                      <a:pt x="0" y="658"/>
                    </a:cubicBezTo>
                    <a:cubicBezTo>
                      <a:pt x="119" y="419"/>
                      <a:pt x="239" y="239"/>
                      <a:pt x="29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10" name="Vrije vorm: vorm 8509">
                <a:extLst>
                  <a:ext uri="{FF2B5EF4-FFF2-40B4-BE49-F238E27FC236}">
                    <a16:creationId xmlns:a16="http://schemas.microsoft.com/office/drawing/2014/main" id="{975DAD08-3A52-4F0D-B9D6-80499F84FAEE}"/>
                  </a:ext>
                </a:extLst>
              </p:cNvPr>
              <p:cNvSpPr/>
              <p:nvPr/>
            </p:nvSpPr>
            <p:spPr>
              <a:xfrm>
                <a:off x="4189276" y="3574777"/>
                <a:ext cx="597" cy="657"/>
              </a:xfrm>
              <a:custGeom>
                <a:avLst/>
                <a:gdLst>
                  <a:gd name="connsiteX0" fmla="*/ 598 w 597"/>
                  <a:gd name="connsiteY0" fmla="*/ 0 h 657"/>
                  <a:gd name="connsiteX1" fmla="*/ 0 w 597"/>
                  <a:gd name="connsiteY1" fmla="*/ 658 h 657"/>
                  <a:gd name="connsiteX2" fmla="*/ 598 w 597"/>
                  <a:gd name="connsiteY2" fmla="*/ 0 h 657"/>
                </a:gdLst>
                <a:ahLst/>
                <a:cxnLst>
                  <a:cxn ang="0">
                    <a:pos x="connsiteX0" y="connsiteY0"/>
                  </a:cxn>
                  <a:cxn ang="0">
                    <a:pos x="connsiteX1" y="connsiteY1"/>
                  </a:cxn>
                  <a:cxn ang="0">
                    <a:pos x="connsiteX2" y="connsiteY2"/>
                  </a:cxn>
                </a:cxnLst>
                <a:rect l="l" t="t" r="r" b="b"/>
                <a:pathLst>
                  <a:path w="597" h="657">
                    <a:moveTo>
                      <a:pt x="598" y="0"/>
                    </a:moveTo>
                    <a:cubicBezTo>
                      <a:pt x="419" y="239"/>
                      <a:pt x="179" y="419"/>
                      <a:pt x="0" y="658"/>
                    </a:cubicBezTo>
                    <a:cubicBezTo>
                      <a:pt x="179" y="478"/>
                      <a:pt x="359" y="239"/>
                      <a:pt x="59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11" name="Vrije vorm: vorm 8510">
                <a:extLst>
                  <a:ext uri="{FF2B5EF4-FFF2-40B4-BE49-F238E27FC236}">
                    <a16:creationId xmlns:a16="http://schemas.microsoft.com/office/drawing/2014/main" id="{4BD929EB-986E-4470-84BB-807BE02631AF}"/>
                  </a:ext>
                </a:extLst>
              </p:cNvPr>
              <p:cNvSpPr/>
              <p:nvPr/>
            </p:nvSpPr>
            <p:spPr>
              <a:xfrm>
                <a:off x="4198905" y="3558928"/>
                <a:ext cx="179" cy="538"/>
              </a:xfrm>
              <a:custGeom>
                <a:avLst/>
                <a:gdLst>
                  <a:gd name="connsiteX0" fmla="*/ 180 w 179"/>
                  <a:gd name="connsiteY0" fmla="*/ 0 h 538"/>
                  <a:gd name="connsiteX1" fmla="*/ 0 w 179"/>
                  <a:gd name="connsiteY1" fmla="*/ 538 h 538"/>
                  <a:gd name="connsiteX2" fmla="*/ 180 w 179"/>
                  <a:gd name="connsiteY2" fmla="*/ 0 h 538"/>
                </a:gdLst>
                <a:ahLst/>
                <a:cxnLst>
                  <a:cxn ang="0">
                    <a:pos x="connsiteX0" y="connsiteY0"/>
                  </a:cxn>
                  <a:cxn ang="0">
                    <a:pos x="connsiteX1" y="connsiteY1"/>
                  </a:cxn>
                  <a:cxn ang="0">
                    <a:pos x="connsiteX2" y="connsiteY2"/>
                  </a:cxn>
                </a:cxnLst>
                <a:rect l="l" t="t" r="r" b="b"/>
                <a:pathLst>
                  <a:path w="179" h="538">
                    <a:moveTo>
                      <a:pt x="180" y="0"/>
                    </a:moveTo>
                    <a:cubicBezTo>
                      <a:pt x="120" y="179"/>
                      <a:pt x="60" y="359"/>
                      <a:pt x="0" y="538"/>
                    </a:cubicBezTo>
                    <a:cubicBezTo>
                      <a:pt x="60" y="359"/>
                      <a:pt x="120" y="179"/>
                      <a:pt x="180"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12" name="Vrije vorm: vorm 8511">
                <a:extLst>
                  <a:ext uri="{FF2B5EF4-FFF2-40B4-BE49-F238E27FC236}">
                    <a16:creationId xmlns:a16="http://schemas.microsoft.com/office/drawing/2014/main" id="{2E21960A-2D99-422C-B51A-57770031067C}"/>
                  </a:ext>
                </a:extLst>
              </p:cNvPr>
              <p:cNvSpPr/>
              <p:nvPr/>
            </p:nvSpPr>
            <p:spPr>
              <a:xfrm>
                <a:off x="4198247" y="3560483"/>
                <a:ext cx="239" cy="657"/>
              </a:xfrm>
              <a:custGeom>
                <a:avLst/>
                <a:gdLst>
                  <a:gd name="connsiteX0" fmla="*/ 239 w 239"/>
                  <a:gd name="connsiteY0" fmla="*/ 0 h 657"/>
                  <a:gd name="connsiteX1" fmla="*/ 0 w 239"/>
                  <a:gd name="connsiteY1" fmla="*/ 658 h 657"/>
                  <a:gd name="connsiteX2" fmla="*/ 239 w 239"/>
                  <a:gd name="connsiteY2" fmla="*/ 0 h 657"/>
                </a:gdLst>
                <a:ahLst/>
                <a:cxnLst>
                  <a:cxn ang="0">
                    <a:pos x="connsiteX0" y="connsiteY0"/>
                  </a:cxn>
                  <a:cxn ang="0">
                    <a:pos x="connsiteX1" y="connsiteY1"/>
                  </a:cxn>
                  <a:cxn ang="0">
                    <a:pos x="connsiteX2" y="connsiteY2"/>
                  </a:cxn>
                </a:cxnLst>
                <a:rect l="l" t="t" r="r" b="b"/>
                <a:pathLst>
                  <a:path w="239" h="657">
                    <a:moveTo>
                      <a:pt x="239" y="0"/>
                    </a:moveTo>
                    <a:cubicBezTo>
                      <a:pt x="179" y="239"/>
                      <a:pt x="60" y="419"/>
                      <a:pt x="0" y="658"/>
                    </a:cubicBezTo>
                    <a:cubicBezTo>
                      <a:pt x="60" y="419"/>
                      <a:pt x="120" y="239"/>
                      <a:pt x="23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13" name="Vrije vorm: vorm 8512">
                <a:extLst>
                  <a:ext uri="{FF2B5EF4-FFF2-40B4-BE49-F238E27FC236}">
                    <a16:creationId xmlns:a16="http://schemas.microsoft.com/office/drawing/2014/main" id="{17B86B27-E249-421D-83C1-1D4FB86FE53E}"/>
                  </a:ext>
                </a:extLst>
              </p:cNvPr>
              <p:cNvSpPr/>
              <p:nvPr/>
            </p:nvSpPr>
            <p:spPr>
              <a:xfrm>
                <a:off x="4188319" y="3575794"/>
                <a:ext cx="598" cy="657"/>
              </a:xfrm>
              <a:custGeom>
                <a:avLst/>
                <a:gdLst>
                  <a:gd name="connsiteX0" fmla="*/ 598 w 598"/>
                  <a:gd name="connsiteY0" fmla="*/ 0 h 657"/>
                  <a:gd name="connsiteX1" fmla="*/ 0 w 598"/>
                  <a:gd name="connsiteY1" fmla="*/ 658 h 657"/>
                  <a:gd name="connsiteX2" fmla="*/ 598 w 598"/>
                  <a:gd name="connsiteY2" fmla="*/ 0 h 657"/>
                </a:gdLst>
                <a:ahLst/>
                <a:cxnLst>
                  <a:cxn ang="0">
                    <a:pos x="connsiteX0" y="connsiteY0"/>
                  </a:cxn>
                  <a:cxn ang="0">
                    <a:pos x="connsiteX1" y="connsiteY1"/>
                  </a:cxn>
                  <a:cxn ang="0">
                    <a:pos x="connsiteX2" y="connsiteY2"/>
                  </a:cxn>
                </a:cxnLst>
                <a:rect l="l" t="t" r="r" b="b"/>
                <a:pathLst>
                  <a:path w="598" h="657">
                    <a:moveTo>
                      <a:pt x="598" y="0"/>
                    </a:moveTo>
                    <a:cubicBezTo>
                      <a:pt x="419" y="239"/>
                      <a:pt x="180" y="419"/>
                      <a:pt x="0" y="658"/>
                    </a:cubicBezTo>
                    <a:cubicBezTo>
                      <a:pt x="180" y="479"/>
                      <a:pt x="359" y="239"/>
                      <a:pt x="59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14" name="Vrije vorm: vorm 8513">
                <a:extLst>
                  <a:ext uri="{FF2B5EF4-FFF2-40B4-BE49-F238E27FC236}">
                    <a16:creationId xmlns:a16="http://schemas.microsoft.com/office/drawing/2014/main" id="{1DD61462-9C7F-467D-89BA-903CD2037C78}"/>
                  </a:ext>
                </a:extLst>
              </p:cNvPr>
              <p:cNvSpPr/>
              <p:nvPr/>
            </p:nvSpPr>
            <p:spPr>
              <a:xfrm>
                <a:off x="4141354" y="3505461"/>
                <a:ext cx="32491" cy="50357"/>
              </a:xfrm>
              <a:custGeom>
                <a:avLst/>
                <a:gdLst>
                  <a:gd name="connsiteX0" fmla="*/ 32491 w 32491"/>
                  <a:gd name="connsiteY0" fmla="*/ 0 h 50357"/>
                  <a:gd name="connsiteX1" fmla="*/ 29202 w 32491"/>
                  <a:gd name="connsiteY1" fmla="*/ 777 h 50357"/>
                  <a:gd name="connsiteX2" fmla="*/ 15207 w 32491"/>
                  <a:gd name="connsiteY2" fmla="*/ 7954 h 50357"/>
                  <a:gd name="connsiteX3" fmla="*/ 554 w 32491"/>
                  <a:gd name="connsiteY3" fmla="*/ 32774 h 50357"/>
                  <a:gd name="connsiteX4" fmla="*/ 1511 w 32491"/>
                  <a:gd name="connsiteY4" fmla="*/ 50358 h 50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91" h="50357">
                    <a:moveTo>
                      <a:pt x="32491" y="0"/>
                    </a:moveTo>
                    <a:cubicBezTo>
                      <a:pt x="31415" y="239"/>
                      <a:pt x="30278" y="478"/>
                      <a:pt x="29202" y="777"/>
                    </a:cubicBezTo>
                    <a:cubicBezTo>
                      <a:pt x="24118" y="2213"/>
                      <a:pt x="19334" y="4665"/>
                      <a:pt x="15207" y="7954"/>
                    </a:cubicBezTo>
                    <a:cubicBezTo>
                      <a:pt x="7671" y="13935"/>
                      <a:pt x="2289" y="22547"/>
                      <a:pt x="554" y="32774"/>
                    </a:cubicBezTo>
                    <a:cubicBezTo>
                      <a:pt x="-463" y="38875"/>
                      <a:pt x="-44" y="44855"/>
                      <a:pt x="1511" y="50358"/>
                    </a:cubicBezTo>
                  </a:path>
                </a:pathLst>
              </a:custGeom>
              <a:grpFill/>
              <a:ln w="6350" cap="flat">
                <a:solidFill>
                  <a:schemeClr val="bg1">
                    <a:alpha val="80000"/>
                  </a:schemeClr>
                </a:solidFill>
                <a:prstDash val="solid"/>
                <a:miter/>
              </a:ln>
            </p:spPr>
            <p:txBody>
              <a:bodyPr rtlCol="0" anchor="ctr"/>
              <a:lstStyle/>
              <a:p>
                <a:endParaRPr lang="en-GB"/>
              </a:p>
            </p:txBody>
          </p:sp>
          <p:sp>
            <p:nvSpPr>
              <p:cNvPr id="8515" name="Vrije vorm: vorm 8514">
                <a:extLst>
                  <a:ext uri="{FF2B5EF4-FFF2-40B4-BE49-F238E27FC236}">
                    <a16:creationId xmlns:a16="http://schemas.microsoft.com/office/drawing/2014/main" id="{39632946-C76B-42E9-98F2-C5EF2CDE2732}"/>
                  </a:ext>
                </a:extLst>
              </p:cNvPr>
              <p:cNvSpPr/>
              <p:nvPr/>
            </p:nvSpPr>
            <p:spPr>
              <a:xfrm>
                <a:off x="4142028" y="3527171"/>
                <a:ext cx="11602" cy="11004"/>
              </a:xfrm>
              <a:custGeom>
                <a:avLst/>
                <a:gdLst>
                  <a:gd name="connsiteX0" fmla="*/ 0 w 11602"/>
                  <a:gd name="connsiteY0" fmla="*/ 11005 h 11004"/>
                  <a:gd name="connsiteX1" fmla="*/ 11603 w 11602"/>
                  <a:gd name="connsiteY1" fmla="*/ 0 h 11004"/>
                </a:gdLst>
                <a:ahLst/>
                <a:cxnLst>
                  <a:cxn ang="0">
                    <a:pos x="connsiteX0" y="connsiteY0"/>
                  </a:cxn>
                  <a:cxn ang="0">
                    <a:pos x="connsiteX1" y="connsiteY1"/>
                  </a:cxn>
                </a:cxnLst>
                <a:rect l="l" t="t" r="r" b="b"/>
                <a:pathLst>
                  <a:path w="11602" h="11004">
                    <a:moveTo>
                      <a:pt x="0" y="11005"/>
                    </a:moveTo>
                    <a:lnTo>
                      <a:pt x="11603" y="0"/>
                    </a:lnTo>
                  </a:path>
                </a:pathLst>
              </a:custGeom>
              <a:grpFill/>
              <a:ln w="6350" cap="flat">
                <a:solidFill>
                  <a:schemeClr val="bg1">
                    <a:alpha val="80000"/>
                  </a:schemeClr>
                </a:solidFill>
                <a:prstDash val="solid"/>
                <a:miter/>
              </a:ln>
            </p:spPr>
            <p:txBody>
              <a:bodyPr rtlCol="0" anchor="ctr"/>
              <a:lstStyle/>
              <a:p>
                <a:endParaRPr lang="en-GB"/>
              </a:p>
            </p:txBody>
          </p:sp>
          <p:sp>
            <p:nvSpPr>
              <p:cNvPr id="8516" name="Vrije vorm: vorm 8515">
                <a:extLst>
                  <a:ext uri="{FF2B5EF4-FFF2-40B4-BE49-F238E27FC236}">
                    <a16:creationId xmlns:a16="http://schemas.microsoft.com/office/drawing/2014/main" id="{558512A7-1FB6-4872-8639-F13287281621}"/>
                  </a:ext>
                </a:extLst>
              </p:cNvPr>
              <p:cNvSpPr/>
              <p:nvPr/>
            </p:nvSpPr>
            <p:spPr>
              <a:xfrm>
                <a:off x="4167147" y="3503497"/>
                <a:ext cx="45104" cy="82909"/>
              </a:xfrm>
              <a:custGeom>
                <a:avLst/>
                <a:gdLst>
                  <a:gd name="connsiteX0" fmla="*/ 18062 w 45104"/>
                  <a:gd name="connsiteY0" fmla="*/ 50 h 82909"/>
                  <a:gd name="connsiteX1" fmla="*/ 21291 w 45104"/>
                  <a:gd name="connsiteY1" fmla="*/ 1784 h 82909"/>
                  <a:gd name="connsiteX2" fmla="*/ 26315 w 45104"/>
                  <a:gd name="connsiteY2" fmla="*/ 2980 h 82909"/>
                  <a:gd name="connsiteX3" fmla="*/ 30681 w 45104"/>
                  <a:gd name="connsiteY3" fmla="*/ 6808 h 82909"/>
                  <a:gd name="connsiteX4" fmla="*/ 33970 w 45104"/>
                  <a:gd name="connsiteY4" fmla="*/ 12071 h 82909"/>
                  <a:gd name="connsiteX5" fmla="*/ 30860 w 45104"/>
                  <a:gd name="connsiteY5" fmla="*/ 12968 h 82909"/>
                  <a:gd name="connsiteX6" fmla="*/ 34748 w 45104"/>
                  <a:gd name="connsiteY6" fmla="*/ 44606 h 82909"/>
                  <a:gd name="connsiteX7" fmla="*/ 34449 w 45104"/>
                  <a:gd name="connsiteY7" fmla="*/ 46400 h 82909"/>
                  <a:gd name="connsiteX8" fmla="*/ 34329 w 45104"/>
                  <a:gd name="connsiteY8" fmla="*/ 46938 h 82909"/>
                  <a:gd name="connsiteX9" fmla="*/ 34090 w 45104"/>
                  <a:gd name="connsiteY9" fmla="*/ 48135 h 82909"/>
                  <a:gd name="connsiteX10" fmla="*/ 33911 w 45104"/>
                  <a:gd name="connsiteY10" fmla="*/ 48792 h 82909"/>
                  <a:gd name="connsiteX11" fmla="*/ 33612 w 45104"/>
                  <a:gd name="connsiteY11" fmla="*/ 49869 h 82909"/>
                  <a:gd name="connsiteX12" fmla="*/ 33432 w 45104"/>
                  <a:gd name="connsiteY12" fmla="*/ 50527 h 82909"/>
                  <a:gd name="connsiteX13" fmla="*/ 33133 w 45104"/>
                  <a:gd name="connsiteY13" fmla="*/ 51603 h 82909"/>
                  <a:gd name="connsiteX14" fmla="*/ 32954 w 45104"/>
                  <a:gd name="connsiteY14" fmla="*/ 52201 h 82909"/>
                  <a:gd name="connsiteX15" fmla="*/ 32535 w 45104"/>
                  <a:gd name="connsiteY15" fmla="*/ 53577 h 82909"/>
                  <a:gd name="connsiteX16" fmla="*/ 32475 w 45104"/>
                  <a:gd name="connsiteY16" fmla="*/ 53876 h 82909"/>
                  <a:gd name="connsiteX17" fmla="*/ 31937 w 45104"/>
                  <a:gd name="connsiteY17" fmla="*/ 55431 h 82909"/>
                  <a:gd name="connsiteX18" fmla="*/ 31758 w 45104"/>
                  <a:gd name="connsiteY18" fmla="*/ 55969 h 82909"/>
                  <a:gd name="connsiteX19" fmla="*/ 31339 w 45104"/>
                  <a:gd name="connsiteY19" fmla="*/ 56986 h 82909"/>
                  <a:gd name="connsiteX20" fmla="*/ 31100 w 45104"/>
                  <a:gd name="connsiteY20" fmla="*/ 57644 h 82909"/>
                  <a:gd name="connsiteX21" fmla="*/ 30741 w 45104"/>
                  <a:gd name="connsiteY21" fmla="*/ 58541 h 82909"/>
                  <a:gd name="connsiteX22" fmla="*/ 30442 w 45104"/>
                  <a:gd name="connsiteY22" fmla="*/ 59199 h 82909"/>
                  <a:gd name="connsiteX23" fmla="*/ 30023 w 45104"/>
                  <a:gd name="connsiteY23" fmla="*/ 60036 h 82909"/>
                  <a:gd name="connsiteX24" fmla="*/ 29724 w 45104"/>
                  <a:gd name="connsiteY24" fmla="*/ 60634 h 82909"/>
                  <a:gd name="connsiteX25" fmla="*/ 29246 w 45104"/>
                  <a:gd name="connsiteY25" fmla="*/ 61531 h 82909"/>
                  <a:gd name="connsiteX26" fmla="*/ 29006 w 45104"/>
                  <a:gd name="connsiteY26" fmla="*/ 62070 h 82909"/>
                  <a:gd name="connsiteX27" fmla="*/ 28289 w 45104"/>
                  <a:gd name="connsiteY27" fmla="*/ 63385 h 82909"/>
                  <a:gd name="connsiteX28" fmla="*/ 27930 w 45104"/>
                  <a:gd name="connsiteY28" fmla="*/ 63983 h 82909"/>
                  <a:gd name="connsiteX29" fmla="*/ 27511 w 45104"/>
                  <a:gd name="connsiteY29" fmla="*/ 64701 h 82909"/>
                  <a:gd name="connsiteX30" fmla="*/ 27093 w 45104"/>
                  <a:gd name="connsiteY30" fmla="*/ 65359 h 82909"/>
                  <a:gd name="connsiteX31" fmla="*/ 26674 w 45104"/>
                  <a:gd name="connsiteY31" fmla="*/ 66017 h 82909"/>
                  <a:gd name="connsiteX32" fmla="*/ 26255 w 45104"/>
                  <a:gd name="connsiteY32" fmla="*/ 66675 h 82909"/>
                  <a:gd name="connsiteX33" fmla="*/ 25837 w 45104"/>
                  <a:gd name="connsiteY33" fmla="*/ 67273 h 82909"/>
                  <a:gd name="connsiteX34" fmla="*/ 25358 w 45104"/>
                  <a:gd name="connsiteY34" fmla="*/ 67931 h 82909"/>
                  <a:gd name="connsiteX35" fmla="*/ 24999 w 45104"/>
                  <a:gd name="connsiteY35" fmla="*/ 68469 h 82909"/>
                  <a:gd name="connsiteX36" fmla="*/ 23086 w 45104"/>
                  <a:gd name="connsiteY36" fmla="*/ 70861 h 82909"/>
                  <a:gd name="connsiteX37" fmla="*/ 22787 w 45104"/>
                  <a:gd name="connsiteY37" fmla="*/ 71220 h 82909"/>
                  <a:gd name="connsiteX38" fmla="*/ 22189 w 45104"/>
                  <a:gd name="connsiteY38" fmla="*/ 71878 h 82909"/>
                  <a:gd name="connsiteX39" fmla="*/ 21830 w 45104"/>
                  <a:gd name="connsiteY39" fmla="*/ 72237 h 82909"/>
                  <a:gd name="connsiteX40" fmla="*/ 21231 w 45104"/>
                  <a:gd name="connsiteY40" fmla="*/ 72895 h 82909"/>
                  <a:gd name="connsiteX41" fmla="*/ 20873 w 45104"/>
                  <a:gd name="connsiteY41" fmla="*/ 73194 h 82909"/>
                  <a:gd name="connsiteX42" fmla="*/ 20215 w 45104"/>
                  <a:gd name="connsiteY42" fmla="*/ 73852 h 82909"/>
                  <a:gd name="connsiteX43" fmla="*/ 19976 w 45104"/>
                  <a:gd name="connsiteY43" fmla="*/ 74091 h 82909"/>
                  <a:gd name="connsiteX44" fmla="*/ 17464 w 45104"/>
                  <a:gd name="connsiteY44" fmla="*/ 76184 h 82909"/>
                  <a:gd name="connsiteX45" fmla="*/ 17344 w 45104"/>
                  <a:gd name="connsiteY45" fmla="*/ 76304 h 82909"/>
                  <a:gd name="connsiteX46" fmla="*/ 16567 w 45104"/>
                  <a:gd name="connsiteY46" fmla="*/ 76842 h 82909"/>
                  <a:gd name="connsiteX47" fmla="*/ 16327 w 45104"/>
                  <a:gd name="connsiteY47" fmla="*/ 77021 h 82909"/>
                  <a:gd name="connsiteX48" fmla="*/ 15550 w 45104"/>
                  <a:gd name="connsiteY48" fmla="*/ 77500 h 82909"/>
                  <a:gd name="connsiteX49" fmla="*/ 15251 w 45104"/>
                  <a:gd name="connsiteY49" fmla="*/ 77679 h 82909"/>
                  <a:gd name="connsiteX50" fmla="*/ 14473 w 45104"/>
                  <a:gd name="connsiteY50" fmla="*/ 78158 h 82909"/>
                  <a:gd name="connsiteX51" fmla="*/ 14294 w 45104"/>
                  <a:gd name="connsiteY51" fmla="*/ 78277 h 82909"/>
                  <a:gd name="connsiteX52" fmla="*/ 11364 w 45104"/>
                  <a:gd name="connsiteY52" fmla="*/ 79713 h 82909"/>
                  <a:gd name="connsiteX53" fmla="*/ 11364 w 45104"/>
                  <a:gd name="connsiteY53" fmla="*/ 79713 h 82909"/>
                  <a:gd name="connsiteX54" fmla="*/ 8074 w 45104"/>
                  <a:gd name="connsiteY54" fmla="*/ 80789 h 82909"/>
                  <a:gd name="connsiteX55" fmla="*/ 4725 w 45104"/>
                  <a:gd name="connsiteY55" fmla="*/ 81328 h 82909"/>
                  <a:gd name="connsiteX56" fmla="*/ 0 w 45104"/>
                  <a:gd name="connsiteY56" fmla="*/ 81088 h 82909"/>
                  <a:gd name="connsiteX57" fmla="*/ 9270 w 45104"/>
                  <a:gd name="connsiteY57" fmla="*/ 82643 h 82909"/>
                  <a:gd name="connsiteX58" fmla="*/ 44257 w 45104"/>
                  <a:gd name="connsiteY58" fmla="*/ 46101 h 82909"/>
                  <a:gd name="connsiteX59" fmla="*/ 23026 w 45104"/>
                  <a:gd name="connsiteY59" fmla="*/ 169 h 82909"/>
                  <a:gd name="connsiteX60" fmla="*/ 18062 w 45104"/>
                  <a:gd name="connsiteY60" fmla="*/ 50 h 8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5104" h="82909">
                    <a:moveTo>
                      <a:pt x="18062" y="50"/>
                    </a:moveTo>
                    <a:cubicBezTo>
                      <a:pt x="19198" y="528"/>
                      <a:pt x="20275" y="1126"/>
                      <a:pt x="21291" y="1784"/>
                    </a:cubicBezTo>
                    <a:cubicBezTo>
                      <a:pt x="23026" y="2083"/>
                      <a:pt x="24700" y="2502"/>
                      <a:pt x="26315" y="2980"/>
                    </a:cubicBezTo>
                    <a:lnTo>
                      <a:pt x="30681" y="6808"/>
                    </a:lnTo>
                    <a:lnTo>
                      <a:pt x="33970" y="12071"/>
                    </a:lnTo>
                    <a:lnTo>
                      <a:pt x="30860" y="12968"/>
                    </a:lnTo>
                    <a:cubicBezTo>
                      <a:pt x="35107" y="21401"/>
                      <a:pt x="36782" y="32704"/>
                      <a:pt x="34748" y="44606"/>
                    </a:cubicBezTo>
                    <a:cubicBezTo>
                      <a:pt x="34628" y="45204"/>
                      <a:pt x="34569" y="45802"/>
                      <a:pt x="34449" y="46400"/>
                    </a:cubicBezTo>
                    <a:cubicBezTo>
                      <a:pt x="34389" y="46580"/>
                      <a:pt x="34389" y="46759"/>
                      <a:pt x="34329" y="46938"/>
                    </a:cubicBezTo>
                    <a:cubicBezTo>
                      <a:pt x="34269" y="47357"/>
                      <a:pt x="34150" y="47716"/>
                      <a:pt x="34090" y="48135"/>
                    </a:cubicBezTo>
                    <a:cubicBezTo>
                      <a:pt x="34030" y="48374"/>
                      <a:pt x="33970" y="48553"/>
                      <a:pt x="33911" y="48792"/>
                    </a:cubicBezTo>
                    <a:cubicBezTo>
                      <a:pt x="33851" y="49151"/>
                      <a:pt x="33731" y="49510"/>
                      <a:pt x="33612" y="49869"/>
                    </a:cubicBezTo>
                    <a:cubicBezTo>
                      <a:pt x="33552" y="50108"/>
                      <a:pt x="33492" y="50288"/>
                      <a:pt x="33432" y="50527"/>
                    </a:cubicBezTo>
                    <a:cubicBezTo>
                      <a:pt x="33313" y="50886"/>
                      <a:pt x="33253" y="51244"/>
                      <a:pt x="33133" y="51603"/>
                    </a:cubicBezTo>
                    <a:cubicBezTo>
                      <a:pt x="33074" y="51783"/>
                      <a:pt x="33014" y="51962"/>
                      <a:pt x="32954" y="52201"/>
                    </a:cubicBezTo>
                    <a:cubicBezTo>
                      <a:pt x="32834" y="52680"/>
                      <a:pt x="32655" y="53098"/>
                      <a:pt x="32535" y="53577"/>
                    </a:cubicBezTo>
                    <a:cubicBezTo>
                      <a:pt x="32535" y="53697"/>
                      <a:pt x="32475" y="53756"/>
                      <a:pt x="32475" y="53876"/>
                    </a:cubicBezTo>
                    <a:cubicBezTo>
                      <a:pt x="32296" y="54414"/>
                      <a:pt x="32116" y="54952"/>
                      <a:pt x="31937" y="55431"/>
                    </a:cubicBezTo>
                    <a:cubicBezTo>
                      <a:pt x="31877" y="55610"/>
                      <a:pt x="31817" y="55790"/>
                      <a:pt x="31758" y="55969"/>
                    </a:cubicBezTo>
                    <a:cubicBezTo>
                      <a:pt x="31638" y="56328"/>
                      <a:pt x="31519" y="56627"/>
                      <a:pt x="31339" y="56986"/>
                    </a:cubicBezTo>
                    <a:cubicBezTo>
                      <a:pt x="31279" y="57225"/>
                      <a:pt x="31160" y="57405"/>
                      <a:pt x="31100" y="57644"/>
                    </a:cubicBezTo>
                    <a:cubicBezTo>
                      <a:pt x="30980" y="57943"/>
                      <a:pt x="30860" y="58242"/>
                      <a:pt x="30741" y="58541"/>
                    </a:cubicBezTo>
                    <a:cubicBezTo>
                      <a:pt x="30621" y="58780"/>
                      <a:pt x="30561" y="58960"/>
                      <a:pt x="30442" y="59199"/>
                    </a:cubicBezTo>
                    <a:cubicBezTo>
                      <a:pt x="30322" y="59498"/>
                      <a:pt x="30203" y="59797"/>
                      <a:pt x="30023" y="60036"/>
                    </a:cubicBezTo>
                    <a:cubicBezTo>
                      <a:pt x="29904" y="60275"/>
                      <a:pt x="29844" y="60455"/>
                      <a:pt x="29724" y="60634"/>
                    </a:cubicBezTo>
                    <a:cubicBezTo>
                      <a:pt x="29545" y="60933"/>
                      <a:pt x="29425" y="61232"/>
                      <a:pt x="29246" y="61531"/>
                    </a:cubicBezTo>
                    <a:cubicBezTo>
                      <a:pt x="29126" y="61711"/>
                      <a:pt x="29066" y="61890"/>
                      <a:pt x="29006" y="62070"/>
                    </a:cubicBezTo>
                    <a:cubicBezTo>
                      <a:pt x="28767" y="62488"/>
                      <a:pt x="28528" y="62967"/>
                      <a:pt x="28289" y="63385"/>
                    </a:cubicBezTo>
                    <a:cubicBezTo>
                      <a:pt x="28169" y="63565"/>
                      <a:pt x="28050" y="63804"/>
                      <a:pt x="27930" y="63983"/>
                    </a:cubicBezTo>
                    <a:cubicBezTo>
                      <a:pt x="27811" y="64223"/>
                      <a:pt x="27631" y="64462"/>
                      <a:pt x="27511" y="64701"/>
                    </a:cubicBezTo>
                    <a:cubicBezTo>
                      <a:pt x="27392" y="64940"/>
                      <a:pt x="27212" y="65120"/>
                      <a:pt x="27093" y="65359"/>
                    </a:cubicBezTo>
                    <a:cubicBezTo>
                      <a:pt x="26973" y="65598"/>
                      <a:pt x="26853" y="65778"/>
                      <a:pt x="26674" y="66017"/>
                    </a:cubicBezTo>
                    <a:cubicBezTo>
                      <a:pt x="26554" y="66256"/>
                      <a:pt x="26375" y="66495"/>
                      <a:pt x="26255" y="66675"/>
                    </a:cubicBezTo>
                    <a:cubicBezTo>
                      <a:pt x="26136" y="66854"/>
                      <a:pt x="26016" y="67033"/>
                      <a:pt x="25837" y="67273"/>
                    </a:cubicBezTo>
                    <a:cubicBezTo>
                      <a:pt x="25657" y="67512"/>
                      <a:pt x="25538" y="67751"/>
                      <a:pt x="25358" y="67931"/>
                    </a:cubicBezTo>
                    <a:cubicBezTo>
                      <a:pt x="25239" y="68110"/>
                      <a:pt x="25119" y="68290"/>
                      <a:pt x="24999" y="68469"/>
                    </a:cubicBezTo>
                    <a:cubicBezTo>
                      <a:pt x="24401" y="69306"/>
                      <a:pt x="23744" y="70144"/>
                      <a:pt x="23086" y="70861"/>
                    </a:cubicBezTo>
                    <a:cubicBezTo>
                      <a:pt x="22966" y="70981"/>
                      <a:pt x="22846" y="71101"/>
                      <a:pt x="22787" y="71220"/>
                    </a:cubicBezTo>
                    <a:cubicBezTo>
                      <a:pt x="22607" y="71459"/>
                      <a:pt x="22368" y="71639"/>
                      <a:pt x="22189" y="71878"/>
                    </a:cubicBezTo>
                    <a:cubicBezTo>
                      <a:pt x="22069" y="71998"/>
                      <a:pt x="21949" y="72117"/>
                      <a:pt x="21830" y="72237"/>
                    </a:cubicBezTo>
                    <a:cubicBezTo>
                      <a:pt x="21650" y="72476"/>
                      <a:pt x="21411" y="72655"/>
                      <a:pt x="21231" y="72895"/>
                    </a:cubicBezTo>
                    <a:cubicBezTo>
                      <a:pt x="21112" y="73014"/>
                      <a:pt x="20992" y="73134"/>
                      <a:pt x="20873" y="73194"/>
                    </a:cubicBezTo>
                    <a:cubicBezTo>
                      <a:pt x="20634" y="73433"/>
                      <a:pt x="20454" y="73612"/>
                      <a:pt x="20215" y="73852"/>
                    </a:cubicBezTo>
                    <a:cubicBezTo>
                      <a:pt x="20155" y="73911"/>
                      <a:pt x="20035" y="74031"/>
                      <a:pt x="19976" y="74091"/>
                    </a:cubicBezTo>
                    <a:cubicBezTo>
                      <a:pt x="19138" y="74868"/>
                      <a:pt x="18301" y="75526"/>
                      <a:pt x="17464" y="76184"/>
                    </a:cubicBezTo>
                    <a:cubicBezTo>
                      <a:pt x="17404" y="76244"/>
                      <a:pt x="17344" y="76244"/>
                      <a:pt x="17344" y="76304"/>
                    </a:cubicBezTo>
                    <a:cubicBezTo>
                      <a:pt x="17105" y="76483"/>
                      <a:pt x="16806" y="76663"/>
                      <a:pt x="16567" y="76842"/>
                    </a:cubicBezTo>
                    <a:cubicBezTo>
                      <a:pt x="16507" y="76902"/>
                      <a:pt x="16387" y="76962"/>
                      <a:pt x="16327" y="77021"/>
                    </a:cubicBezTo>
                    <a:cubicBezTo>
                      <a:pt x="16088" y="77201"/>
                      <a:pt x="15789" y="77380"/>
                      <a:pt x="15550" y="77500"/>
                    </a:cubicBezTo>
                    <a:cubicBezTo>
                      <a:pt x="15430" y="77560"/>
                      <a:pt x="15371" y="77619"/>
                      <a:pt x="15251" y="77679"/>
                    </a:cubicBezTo>
                    <a:cubicBezTo>
                      <a:pt x="15012" y="77859"/>
                      <a:pt x="14713" y="77978"/>
                      <a:pt x="14473" y="78158"/>
                    </a:cubicBezTo>
                    <a:cubicBezTo>
                      <a:pt x="14413" y="78218"/>
                      <a:pt x="14354" y="78218"/>
                      <a:pt x="14294" y="78277"/>
                    </a:cubicBezTo>
                    <a:cubicBezTo>
                      <a:pt x="13337" y="78816"/>
                      <a:pt x="12320" y="79294"/>
                      <a:pt x="11364" y="79713"/>
                    </a:cubicBezTo>
                    <a:cubicBezTo>
                      <a:pt x="11364" y="79713"/>
                      <a:pt x="11364" y="79713"/>
                      <a:pt x="11364" y="79713"/>
                    </a:cubicBezTo>
                    <a:cubicBezTo>
                      <a:pt x="10287" y="80131"/>
                      <a:pt x="9210" y="80490"/>
                      <a:pt x="8074" y="80789"/>
                    </a:cubicBezTo>
                    <a:cubicBezTo>
                      <a:pt x="6937" y="81029"/>
                      <a:pt x="5861" y="81268"/>
                      <a:pt x="4725" y="81328"/>
                    </a:cubicBezTo>
                    <a:cubicBezTo>
                      <a:pt x="3170" y="81447"/>
                      <a:pt x="1555" y="81387"/>
                      <a:pt x="0" y="81088"/>
                    </a:cubicBezTo>
                    <a:lnTo>
                      <a:pt x="9270" y="82643"/>
                    </a:lnTo>
                    <a:cubicBezTo>
                      <a:pt x="24820" y="85215"/>
                      <a:pt x="40490" y="68888"/>
                      <a:pt x="44257" y="46101"/>
                    </a:cubicBezTo>
                    <a:cubicBezTo>
                      <a:pt x="48085" y="23314"/>
                      <a:pt x="38576" y="2801"/>
                      <a:pt x="23026" y="169"/>
                    </a:cubicBezTo>
                    <a:cubicBezTo>
                      <a:pt x="21231" y="50"/>
                      <a:pt x="19617" y="-70"/>
                      <a:pt x="18062" y="5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17" name="Vrije vorm: vorm 8516">
                <a:extLst>
                  <a:ext uri="{FF2B5EF4-FFF2-40B4-BE49-F238E27FC236}">
                    <a16:creationId xmlns:a16="http://schemas.microsoft.com/office/drawing/2014/main" id="{89D3C645-EADF-4008-848C-51E5FBD51591}"/>
                  </a:ext>
                </a:extLst>
              </p:cNvPr>
              <p:cNvSpPr/>
              <p:nvPr/>
            </p:nvSpPr>
            <p:spPr>
              <a:xfrm>
                <a:off x="4147830" y="3516585"/>
                <a:ext cx="54601" cy="68381"/>
              </a:xfrm>
              <a:custGeom>
                <a:avLst/>
                <a:gdLst>
                  <a:gd name="connsiteX0" fmla="*/ 47666 w 54601"/>
                  <a:gd name="connsiteY0" fmla="*/ 658 h 68381"/>
                  <a:gd name="connsiteX1" fmla="*/ 51972 w 54601"/>
                  <a:gd name="connsiteY1" fmla="*/ 31219 h 68381"/>
                  <a:gd name="connsiteX2" fmla="*/ 23923 w 54601"/>
                  <a:gd name="connsiteY2" fmla="*/ 65190 h 68381"/>
                  <a:gd name="connsiteX3" fmla="*/ 21291 w 54601"/>
                  <a:gd name="connsiteY3" fmla="*/ 65190 h 68381"/>
                  <a:gd name="connsiteX4" fmla="*/ 19497 w 54601"/>
                  <a:gd name="connsiteY4" fmla="*/ 65010 h 68381"/>
                  <a:gd name="connsiteX5" fmla="*/ 13217 w 54601"/>
                  <a:gd name="connsiteY5" fmla="*/ 62738 h 68381"/>
                  <a:gd name="connsiteX6" fmla="*/ 13217 w 54601"/>
                  <a:gd name="connsiteY6" fmla="*/ 62738 h 68381"/>
                  <a:gd name="connsiteX7" fmla="*/ 0 w 54601"/>
                  <a:gd name="connsiteY7" fmla="*/ 49999 h 68381"/>
                  <a:gd name="connsiteX8" fmla="*/ 19019 w 54601"/>
                  <a:gd name="connsiteY8" fmla="*/ 68121 h 68381"/>
                  <a:gd name="connsiteX9" fmla="*/ 23743 w 54601"/>
                  <a:gd name="connsiteY9" fmla="*/ 68360 h 68381"/>
                  <a:gd name="connsiteX10" fmla="*/ 27092 w 54601"/>
                  <a:gd name="connsiteY10" fmla="*/ 67821 h 68381"/>
                  <a:gd name="connsiteX11" fmla="*/ 30382 w 54601"/>
                  <a:gd name="connsiteY11" fmla="*/ 66745 h 68381"/>
                  <a:gd name="connsiteX12" fmla="*/ 30382 w 54601"/>
                  <a:gd name="connsiteY12" fmla="*/ 66745 h 68381"/>
                  <a:gd name="connsiteX13" fmla="*/ 33313 w 54601"/>
                  <a:gd name="connsiteY13" fmla="*/ 65310 h 68381"/>
                  <a:gd name="connsiteX14" fmla="*/ 33492 w 54601"/>
                  <a:gd name="connsiteY14" fmla="*/ 65190 h 68381"/>
                  <a:gd name="connsiteX15" fmla="*/ 34269 w 54601"/>
                  <a:gd name="connsiteY15" fmla="*/ 64711 h 68381"/>
                  <a:gd name="connsiteX16" fmla="*/ 34568 w 54601"/>
                  <a:gd name="connsiteY16" fmla="*/ 64532 h 68381"/>
                  <a:gd name="connsiteX17" fmla="*/ 35346 w 54601"/>
                  <a:gd name="connsiteY17" fmla="*/ 64053 h 68381"/>
                  <a:gd name="connsiteX18" fmla="*/ 35585 w 54601"/>
                  <a:gd name="connsiteY18" fmla="*/ 63874 h 68381"/>
                  <a:gd name="connsiteX19" fmla="*/ 36363 w 54601"/>
                  <a:gd name="connsiteY19" fmla="*/ 63336 h 68381"/>
                  <a:gd name="connsiteX20" fmla="*/ 36482 w 54601"/>
                  <a:gd name="connsiteY20" fmla="*/ 63216 h 68381"/>
                  <a:gd name="connsiteX21" fmla="*/ 38994 w 54601"/>
                  <a:gd name="connsiteY21" fmla="*/ 61123 h 68381"/>
                  <a:gd name="connsiteX22" fmla="*/ 39234 w 54601"/>
                  <a:gd name="connsiteY22" fmla="*/ 60884 h 68381"/>
                  <a:gd name="connsiteX23" fmla="*/ 39891 w 54601"/>
                  <a:gd name="connsiteY23" fmla="*/ 60226 h 68381"/>
                  <a:gd name="connsiteX24" fmla="*/ 40250 w 54601"/>
                  <a:gd name="connsiteY24" fmla="*/ 59927 h 68381"/>
                  <a:gd name="connsiteX25" fmla="*/ 40848 w 54601"/>
                  <a:gd name="connsiteY25" fmla="*/ 59269 h 68381"/>
                  <a:gd name="connsiteX26" fmla="*/ 41207 w 54601"/>
                  <a:gd name="connsiteY26" fmla="*/ 58910 h 68381"/>
                  <a:gd name="connsiteX27" fmla="*/ 41805 w 54601"/>
                  <a:gd name="connsiteY27" fmla="*/ 58252 h 68381"/>
                  <a:gd name="connsiteX28" fmla="*/ 42104 w 54601"/>
                  <a:gd name="connsiteY28" fmla="*/ 57893 h 68381"/>
                  <a:gd name="connsiteX29" fmla="*/ 44018 w 54601"/>
                  <a:gd name="connsiteY29" fmla="*/ 55501 h 68381"/>
                  <a:gd name="connsiteX30" fmla="*/ 44377 w 54601"/>
                  <a:gd name="connsiteY30" fmla="*/ 54963 h 68381"/>
                  <a:gd name="connsiteX31" fmla="*/ 44855 w 54601"/>
                  <a:gd name="connsiteY31" fmla="*/ 54305 h 68381"/>
                  <a:gd name="connsiteX32" fmla="*/ 45274 w 54601"/>
                  <a:gd name="connsiteY32" fmla="*/ 53707 h 68381"/>
                  <a:gd name="connsiteX33" fmla="*/ 45692 w 54601"/>
                  <a:gd name="connsiteY33" fmla="*/ 53049 h 68381"/>
                  <a:gd name="connsiteX34" fmla="*/ 46111 w 54601"/>
                  <a:gd name="connsiteY34" fmla="*/ 52391 h 68381"/>
                  <a:gd name="connsiteX35" fmla="*/ 46530 w 54601"/>
                  <a:gd name="connsiteY35" fmla="*/ 51733 h 68381"/>
                  <a:gd name="connsiteX36" fmla="*/ 46949 w 54601"/>
                  <a:gd name="connsiteY36" fmla="*/ 51016 h 68381"/>
                  <a:gd name="connsiteX37" fmla="*/ 47307 w 54601"/>
                  <a:gd name="connsiteY37" fmla="*/ 50417 h 68381"/>
                  <a:gd name="connsiteX38" fmla="*/ 48025 w 54601"/>
                  <a:gd name="connsiteY38" fmla="*/ 49102 h 68381"/>
                  <a:gd name="connsiteX39" fmla="*/ 48264 w 54601"/>
                  <a:gd name="connsiteY39" fmla="*/ 48563 h 68381"/>
                  <a:gd name="connsiteX40" fmla="*/ 48743 w 54601"/>
                  <a:gd name="connsiteY40" fmla="*/ 47666 h 68381"/>
                  <a:gd name="connsiteX41" fmla="*/ 49042 w 54601"/>
                  <a:gd name="connsiteY41" fmla="*/ 47068 h 68381"/>
                  <a:gd name="connsiteX42" fmla="*/ 49460 w 54601"/>
                  <a:gd name="connsiteY42" fmla="*/ 46231 h 68381"/>
                  <a:gd name="connsiteX43" fmla="*/ 49760 w 54601"/>
                  <a:gd name="connsiteY43" fmla="*/ 45573 h 68381"/>
                  <a:gd name="connsiteX44" fmla="*/ 50118 w 54601"/>
                  <a:gd name="connsiteY44" fmla="*/ 44676 h 68381"/>
                  <a:gd name="connsiteX45" fmla="*/ 50358 w 54601"/>
                  <a:gd name="connsiteY45" fmla="*/ 44018 h 68381"/>
                  <a:gd name="connsiteX46" fmla="*/ 50776 w 54601"/>
                  <a:gd name="connsiteY46" fmla="*/ 43001 h 68381"/>
                  <a:gd name="connsiteX47" fmla="*/ 50956 w 54601"/>
                  <a:gd name="connsiteY47" fmla="*/ 42463 h 68381"/>
                  <a:gd name="connsiteX48" fmla="*/ 51494 w 54601"/>
                  <a:gd name="connsiteY48" fmla="*/ 40908 h 68381"/>
                  <a:gd name="connsiteX49" fmla="*/ 51554 w 54601"/>
                  <a:gd name="connsiteY49" fmla="*/ 40609 h 68381"/>
                  <a:gd name="connsiteX50" fmla="*/ 51972 w 54601"/>
                  <a:gd name="connsiteY50" fmla="*/ 39234 h 68381"/>
                  <a:gd name="connsiteX51" fmla="*/ 52152 w 54601"/>
                  <a:gd name="connsiteY51" fmla="*/ 38635 h 68381"/>
                  <a:gd name="connsiteX52" fmla="*/ 52451 w 54601"/>
                  <a:gd name="connsiteY52" fmla="*/ 37559 h 68381"/>
                  <a:gd name="connsiteX53" fmla="*/ 52630 w 54601"/>
                  <a:gd name="connsiteY53" fmla="*/ 36901 h 68381"/>
                  <a:gd name="connsiteX54" fmla="*/ 52929 w 54601"/>
                  <a:gd name="connsiteY54" fmla="*/ 35824 h 68381"/>
                  <a:gd name="connsiteX55" fmla="*/ 53109 w 54601"/>
                  <a:gd name="connsiteY55" fmla="*/ 35167 h 68381"/>
                  <a:gd name="connsiteX56" fmla="*/ 53348 w 54601"/>
                  <a:gd name="connsiteY56" fmla="*/ 33970 h 68381"/>
                  <a:gd name="connsiteX57" fmla="*/ 53468 w 54601"/>
                  <a:gd name="connsiteY57" fmla="*/ 33432 h 68381"/>
                  <a:gd name="connsiteX58" fmla="*/ 53767 w 54601"/>
                  <a:gd name="connsiteY58" fmla="*/ 31638 h 68381"/>
                  <a:gd name="connsiteX59" fmla="*/ 49879 w 54601"/>
                  <a:gd name="connsiteY59" fmla="*/ 0 h 68381"/>
                  <a:gd name="connsiteX60" fmla="*/ 47666 w 54601"/>
                  <a:gd name="connsiteY60" fmla="*/ 658 h 6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4601" h="68381">
                    <a:moveTo>
                      <a:pt x="47666" y="658"/>
                    </a:moveTo>
                    <a:cubicBezTo>
                      <a:pt x="52092" y="8612"/>
                      <a:pt x="53886" y="19557"/>
                      <a:pt x="51972" y="31219"/>
                    </a:cubicBezTo>
                    <a:cubicBezTo>
                      <a:pt x="48803" y="50118"/>
                      <a:pt x="36781" y="64293"/>
                      <a:pt x="23923" y="65190"/>
                    </a:cubicBezTo>
                    <a:cubicBezTo>
                      <a:pt x="23086" y="65250"/>
                      <a:pt x="22188" y="65250"/>
                      <a:pt x="21291" y="65190"/>
                    </a:cubicBezTo>
                    <a:cubicBezTo>
                      <a:pt x="20693" y="65130"/>
                      <a:pt x="20095" y="65070"/>
                      <a:pt x="19497" y="65010"/>
                    </a:cubicBezTo>
                    <a:cubicBezTo>
                      <a:pt x="17225" y="64652"/>
                      <a:pt x="15131" y="63874"/>
                      <a:pt x="13217" y="62738"/>
                    </a:cubicBezTo>
                    <a:lnTo>
                      <a:pt x="13217" y="62738"/>
                    </a:lnTo>
                    <a:cubicBezTo>
                      <a:pt x="7835" y="59568"/>
                      <a:pt x="3349" y="55142"/>
                      <a:pt x="0" y="49999"/>
                    </a:cubicBezTo>
                    <a:cubicBezTo>
                      <a:pt x="3648" y="59747"/>
                      <a:pt x="10406" y="66685"/>
                      <a:pt x="19019" y="68121"/>
                    </a:cubicBezTo>
                    <a:cubicBezTo>
                      <a:pt x="20574" y="68360"/>
                      <a:pt x="22188" y="68419"/>
                      <a:pt x="23743" y="68360"/>
                    </a:cubicBezTo>
                    <a:cubicBezTo>
                      <a:pt x="24880" y="68300"/>
                      <a:pt x="26016" y="68121"/>
                      <a:pt x="27092" y="67821"/>
                    </a:cubicBezTo>
                    <a:cubicBezTo>
                      <a:pt x="28229" y="67582"/>
                      <a:pt x="29305" y="67223"/>
                      <a:pt x="30382" y="66745"/>
                    </a:cubicBezTo>
                    <a:cubicBezTo>
                      <a:pt x="30382" y="66745"/>
                      <a:pt x="30382" y="66745"/>
                      <a:pt x="30382" y="66745"/>
                    </a:cubicBezTo>
                    <a:cubicBezTo>
                      <a:pt x="31399" y="66326"/>
                      <a:pt x="32356" y="65848"/>
                      <a:pt x="33313" y="65310"/>
                    </a:cubicBezTo>
                    <a:cubicBezTo>
                      <a:pt x="33372" y="65250"/>
                      <a:pt x="33432" y="65250"/>
                      <a:pt x="33492" y="65190"/>
                    </a:cubicBezTo>
                    <a:cubicBezTo>
                      <a:pt x="33791" y="65010"/>
                      <a:pt x="34030" y="64891"/>
                      <a:pt x="34269" y="64711"/>
                    </a:cubicBezTo>
                    <a:cubicBezTo>
                      <a:pt x="34389" y="64652"/>
                      <a:pt x="34449" y="64592"/>
                      <a:pt x="34568" y="64532"/>
                    </a:cubicBezTo>
                    <a:cubicBezTo>
                      <a:pt x="34808" y="64353"/>
                      <a:pt x="35107" y="64173"/>
                      <a:pt x="35346" y="64053"/>
                    </a:cubicBezTo>
                    <a:cubicBezTo>
                      <a:pt x="35406" y="63994"/>
                      <a:pt x="35526" y="63934"/>
                      <a:pt x="35585" y="63874"/>
                    </a:cubicBezTo>
                    <a:cubicBezTo>
                      <a:pt x="35824" y="63695"/>
                      <a:pt x="36123" y="63515"/>
                      <a:pt x="36363" y="63336"/>
                    </a:cubicBezTo>
                    <a:cubicBezTo>
                      <a:pt x="36422" y="63276"/>
                      <a:pt x="36482" y="63276"/>
                      <a:pt x="36482" y="63216"/>
                    </a:cubicBezTo>
                    <a:cubicBezTo>
                      <a:pt x="37320" y="62558"/>
                      <a:pt x="38217" y="61841"/>
                      <a:pt x="38994" y="61123"/>
                    </a:cubicBezTo>
                    <a:cubicBezTo>
                      <a:pt x="39054" y="61063"/>
                      <a:pt x="39174" y="60944"/>
                      <a:pt x="39234" y="60884"/>
                    </a:cubicBezTo>
                    <a:cubicBezTo>
                      <a:pt x="39473" y="60704"/>
                      <a:pt x="39652" y="60465"/>
                      <a:pt x="39891" y="60226"/>
                    </a:cubicBezTo>
                    <a:cubicBezTo>
                      <a:pt x="40011" y="60106"/>
                      <a:pt x="40130" y="59987"/>
                      <a:pt x="40250" y="59927"/>
                    </a:cubicBezTo>
                    <a:cubicBezTo>
                      <a:pt x="40489" y="59688"/>
                      <a:pt x="40669" y="59508"/>
                      <a:pt x="40848" y="59269"/>
                    </a:cubicBezTo>
                    <a:cubicBezTo>
                      <a:pt x="40968" y="59149"/>
                      <a:pt x="41088" y="59030"/>
                      <a:pt x="41207" y="58910"/>
                    </a:cubicBezTo>
                    <a:cubicBezTo>
                      <a:pt x="41386" y="58671"/>
                      <a:pt x="41626" y="58491"/>
                      <a:pt x="41805" y="58252"/>
                    </a:cubicBezTo>
                    <a:cubicBezTo>
                      <a:pt x="41925" y="58133"/>
                      <a:pt x="42044" y="58013"/>
                      <a:pt x="42104" y="57893"/>
                    </a:cubicBezTo>
                    <a:cubicBezTo>
                      <a:pt x="42762" y="57116"/>
                      <a:pt x="43420" y="56338"/>
                      <a:pt x="44018" y="55501"/>
                    </a:cubicBezTo>
                    <a:cubicBezTo>
                      <a:pt x="44138" y="55322"/>
                      <a:pt x="44257" y="55142"/>
                      <a:pt x="44377" y="54963"/>
                    </a:cubicBezTo>
                    <a:cubicBezTo>
                      <a:pt x="44556" y="54724"/>
                      <a:pt x="44676" y="54544"/>
                      <a:pt x="44855" y="54305"/>
                    </a:cubicBezTo>
                    <a:cubicBezTo>
                      <a:pt x="44975" y="54126"/>
                      <a:pt x="45095" y="53946"/>
                      <a:pt x="45274" y="53707"/>
                    </a:cubicBezTo>
                    <a:cubicBezTo>
                      <a:pt x="45393" y="53468"/>
                      <a:pt x="45573" y="53288"/>
                      <a:pt x="45692" y="53049"/>
                    </a:cubicBezTo>
                    <a:cubicBezTo>
                      <a:pt x="45812" y="52870"/>
                      <a:pt x="45992" y="52630"/>
                      <a:pt x="46111" y="52391"/>
                    </a:cubicBezTo>
                    <a:cubicBezTo>
                      <a:pt x="46231" y="52152"/>
                      <a:pt x="46410" y="51972"/>
                      <a:pt x="46530" y="51733"/>
                    </a:cubicBezTo>
                    <a:cubicBezTo>
                      <a:pt x="46650" y="51494"/>
                      <a:pt x="46829" y="51255"/>
                      <a:pt x="46949" y="51016"/>
                    </a:cubicBezTo>
                    <a:cubicBezTo>
                      <a:pt x="47068" y="50836"/>
                      <a:pt x="47188" y="50597"/>
                      <a:pt x="47307" y="50417"/>
                    </a:cubicBezTo>
                    <a:cubicBezTo>
                      <a:pt x="47547" y="49999"/>
                      <a:pt x="47786" y="49520"/>
                      <a:pt x="48025" y="49102"/>
                    </a:cubicBezTo>
                    <a:cubicBezTo>
                      <a:pt x="48145" y="48922"/>
                      <a:pt x="48205" y="48743"/>
                      <a:pt x="48264" y="48563"/>
                    </a:cubicBezTo>
                    <a:cubicBezTo>
                      <a:pt x="48444" y="48264"/>
                      <a:pt x="48563" y="47965"/>
                      <a:pt x="48743" y="47666"/>
                    </a:cubicBezTo>
                    <a:cubicBezTo>
                      <a:pt x="48862" y="47487"/>
                      <a:pt x="48922" y="47248"/>
                      <a:pt x="49042" y="47068"/>
                    </a:cubicBezTo>
                    <a:cubicBezTo>
                      <a:pt x="49161" y="46769"/>
                      <a:pt x="49281" y="46470"/>
                      <a:pt x="49460" y="46231"/>
                    </a:cubicBezTo>
                    <a:cubicBezTo>
                      <a:pt x="49580" y="45992"/>
                      <a:pt x="49640" y="45812"/>
                      <a:pt x="49760" y="45573"/>
                    </a:cubicBezTo>
                    <a:cubicBezTo>
                      <a:pt x="49879" y="45274"/>
                      <a:pt x="49999" y="44975"/>
                      <a:pt x="50118" y="44676"/>
                    </a:cubicBezTo>
                    <a:cubicBezTo>
                      <a:pt x="50178" y="44437"/>
                      <a:pt x="50298" y="44257"/>
                      <a:pt x="50358" y="44018"/>
                    </a:cubicBezTo>
                    <a:cubicBezTo>
                      <a:pt x="50477" y="43659"/>
                      <a:pt x="50597" y="43360"/>
                      <a:pt x="50776" y="43001"/>
                    </a:cubicBezTo>
                    <a:cubicBezTo>
                      <a:pt x="50836" y="42822"/>
                      <a:pt x="50896" y="42643"/>
                      <a:pt x="50956" y="42463"/>
                    </a:cubicBezTo>
                    <a:cubicBezTo>
                      <a:pt x="51135" y="41925"/>
                      <a:pt x="51314" y="41446"/>
                      <a:pt x="51494" y="40908"/>
                    </a:cubicBezTo>
                    <a:cubicBezTo>
                      <a:pt x="51554" y="40848"/>
                      <a:pt x="51554" y="40729"/>
                      <a:pt x="51554" y="40609"/>
                    </a:cubicBezTo>
                    <a:cubicBezTo>
                      <a:pt x="51673" y="40131"/>
                      <a:pt x="51853" y="39712"/>
                      <a:pt x="51972" y="39234"/>
                    </a:cubicBezTo>
                    <a:cubicBezTo>
                      <a:pt x="52032" y="39054"/>
                      <a:pt x="52092" y="38875"/>
                      <a:pt x="52152" y="38635"/>
                    </a:cubicBezTo>
                    <a:cubicBezTo>
                      <a:pt x="52271" y="38277"/>
                      <a:pt x="52391" y="37918"/>
                      <a:pt x="52451" y="37559"/>
                    </a:cubicBezTo>
                    <a:cubicBezTo>
                      <a:pt x="52511" y="37320"/>
                      <a:pt x="52570" y="37140"/>
                      <a:pt x="52630" y="36901"/>
                    </a:cubicBezTo>
                    <a:cubicBezTo>
                      <a:pt x="52750" y="36542"/>
                      <a:pt x="52810" y="36183"/>
                      <a:pt x="52929" y="35824"/>
                    </a:cubicBezTo>
                    <a:cubicBezTo>
                      <a:pt x="52989" y="35585"/>
                      <a:pt x="53049" y="35406"/>
                      <a:pt x="53109" y="35167"/>
                    </a:cubicBezTo>
                    <a:cubicBezTo>
                      <a:pt x="53168" y="34748"/>
                      <a:pt x="53288" y="34389"/>
                      <a:pt x="53348" y="33970"/>
                    </a:cubicBezTo>
                    <a:cubicBezTo>
                      <a:pt x="53408" y="33791"/>
                      <a:pt x="53408" y="33612"/>
                      <a:pt x="53468" y="33432"/>
                    </a:cubicBezTo>
                    <a:cubicBezTo>
                      <a:pt x="53587" y="32834"/>
                      <a:pt x="53707" y="32236"/>
                      <a:pt x="53767" y="31638"/>
                    </a:cubicBezTo>
                    <a:cubicBezTo>
                      <a:pt x="55740" y="19736"/>
                      <a:pt x="54125" y="8433"/>
                      <a:pt x="49879" y="0"/>
                    </a:cubicBezTo>
                    <a:lnTo>
                      <a:pt x="47666" y="658"/>
                    </a:lnTo>
                    <a:close/>
                  </a:path>
                </a:pathLst>
              </a:custGeom>
              <a:grpFill/>
              <a:ln w="6350" cap="flat">
                <a:solidFill>
                  <a:schemeClr val="bg1">
                    <a:alpha val="80000"/>
                  </a:schemeClr>
                </a:solidFill>
                <a:prstDash val="solid"/>
                <a:miter/>
              </a:ln>
            </p:spPr>
            <p:txBody>
              <a:bodyPr rtlCol="0" anchor="ctr"/>
              <a:lstStyle/>
              <a:p>
                <a:endParaRPr lang="en-GB"/>
              </a:p>
            </p:txBody>
          </p:sp>
          <p:sp>
            <p:nvSpPr>
              <p:cNvPr id="8518" name="Vrije vorm: vorm 8517">
                <a:extLst>
                  <a:ext uri="{FF2B5EF4-FFF2-40B4-BE49-F238E27FC236}">
                    <a16:creationId xmlns:a16="http://schemas.microsoft.com/office/drawing/2014/main" id="{F4A508BB-A2D8-4DB1-822B-4A286CD40D32}"/>
                  </a:ext>
                </a:extLst>
              </p:cNvPr>
              <p:cNvSpPr/>
              <p:nvPr/>
            </p:nvSpPr>
            <p:spPr>
              <a:xfrm>
                <a:off x="4139255" y="3513942"/>
                <a:ext cx="65151" cy="47916"/>
              </a:xfrm>
              <a:custGeom>
                <a:avLst/>
                <a:gdLst>
                  <a:gd name="connsiteX0" fmla="*/ 6661 w 65151"/>
                  <a:gd name="connsiteY0" fmla="*/ 20106 h 47916"/>
                  <a:gd name="connsiteX1" fmla="*/ 919 w 65151"/>
                  <a:gd name="connsiteY1" fmla="*/ 39663 h 47916"/>
                  <a:gd name="connsiteX2" fmla="*/ 919 w 65151"/>
                  <a:gd name="connsiteY2" fmla="*/ 39663 h 47916"/>
                  <a:gd name="connsiteX3" fmla="*/ 4089 w 65151"/>
                  <a:gd name="connsiteY3" fmla="*/ 47916 h 47916"/>
                  <a:gd name="connsiteX4" fmla="*/ 4627 w 65151"/>
                  <a:gd name="connsiteY4" fmla="*/ 43730 h 47916"/>
                  <a:gd name="connsiteX5" fmla="*/ 3311 w 65151"/>
                  <a:gd name="connsiteY5" fmla="*/ 40680 h 47916"/>
                  <a:gd name="connsiteX6" fmla="*/ 9771 w 65151"/>
                  <a:gd name="connsiteY6" fmla="*/ 28300 h 47916"/>
                  <a:gd name="connsiteX7" fmla="*/ 65152 w 65151"/>
                  <a:gd name="connsiteY7" fmla="*/ 8623 h 47916"/>
                  <a:gd name="connsiteX8" fmla="*/ 62042 w 65151"/>
                  <a:gd name="connsiteY8" fmla="*/ 489 h 47916"/>
                  <a:gd name="connsiteX9" fmla="*/ 6661 w 65151"/>
                  <a:gd name="connsiteY9" fmla="*/ 20106 h 4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51" h="47916">
                    <a:moveTo>
                      <a:pt x="6661" y="20106"/>
                    </a:moveTo>
                    <a:cubicBezTo>
                      <a:pt x="440" y="27103"/>
                      <a:pt x="-1294" y="34041"/>
                      <a:pt x="919" y="39663"/>
                    </a:cubicBezTo>
                    <a:lnTo>
                      <a:pt x="919" y="39663"/>
                    </a:lnTo>
                    <a:lnTo>
                      <a:pt x="4089" y="47916"/>
                    </a:lnTo>
                    <a:lnTo>
                      <a:pt x="4627" y="43730"/>
                    </a:lnTo>
                    <a:lnTo>
                      <a:pt x="3311" y="40680"/>
                    </a:lnTo>
                    <a:cubicBezTo>
                      <a:pt x="3909" y="36732"/>
                      <a:pt x="6003" y="32546"/>
                      <a:pt x="9771" y="28300"/>
                    </a:cubicBezTo>
                    <a:cubicBezTo>
                      <a:pt x="21851" y="14664"/>
                      <a:pt x="46432" y="5991"/>
                      <a:pt x="65152" y="8623"/>
                    </a:cubicBezTo>
                    <a:lnTo>
                      <a:pt x="62042" y="489"/>
                    </a:lnTo>
                    <a:cubicBezTo>
                      <a:pt x="43322" y="-2202"/>
                      <a:pt x="18742" y="6470"/>
                      <a:pt x="6661" y="2010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19" name="Vrije vorm: vorm 8518">
                <a:extLst>
                  <a:ext uri="{FF2B5EF4-FFF2-40B4-BE49-F238E27FC236}">
                    <a16:creationId xmlns:a16="http://schemas.microsoft.com/office/drawing/2014/main" id="{D0E785F4-2A45-418E-9DBA-D1DE082B3BD9}"/>
                  </a:ext>
                </a:extLst>
              </p:cNvPr>
              <p:cNvSpPr/>
              <p:nvPr/>
            </p:nvSpPr>
            <p:spPr>
              <a:xfrm>
                <a:off x="4142322" y="3522095"/>
                <a:ext cx="62025" cy="46222"/>
              </a:xfrm>
              <a:custGeom>
                <a:avLst/>
                <a:gdLst>
                  <a:gd name="connsiteX0" fmla="*/ 6524 w 62025"/>
                  <a:gd name="connsiteY0" fmla="*/ 45983 h 46222"/>
                  <a:gd name="connsiteX1" fmla="*/ 2218 w 62025"/>
                  <a:gd name="connsiteY1" fmla="*/ 34440 h 46222"/>
                  <a:gd name="connsiteX2" fmla="*/ 8378 w 62025"/>
                  <a:gd name="connsiteY2" fmla="*/ 20386 h 46222"/>
                  <a:gd name="connsiteX3" fmla="*/ 60590 w 62025"/>
                  <a:gd name="connsiteY3" fmla="*/ 2204 h 46222"/>
                  <a:gd name="connsiteX4" fmla="*/ 62025 w 62025"/>
                  <a:gd name="connsiteY4" fmla="*/ 470 h 46222"/>
                  <a:gd name="connsiteX5" fmla="*/ 6644 w 62025"/>
                  <a:gd name="connsiteY5" fmla="*/ 20147 h 46222"/>
                  <a:gd name="connsiteX6" fmla="*/ 5 w 62025"/>
                  <a:gd name="connsiteY6" fmla="*/ 35278 h 46222"/>
                  <a:gd name="connsiteX7" fmla="*/ 6165 w 62025"/>
                  <a:gd name="connsiteY7" fmla="*/ 46222 h 46222"/>
                  <a:gd name="connsiteX8" fmla="*/ 6524 w 62025"/>
                  <a:gd name="connsiteY8" fmla="*/ 45983 h 4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25" h="46222">
                    <a:moveTo>
                      <a:pt x="6524" y="45983"/>
                    </a:moveTo>
                    <a:cubicBezTo>
                      <a:pt x="3534" y="41677"/>
                      <a:pt x="1979" y="37909"/>
                      <a:pt x="2218" y="34440"/>
                    </a:cubicBezTo>
                    <a:cubicBezTo>
                      <a:pt x="2517" y="30134"/>
                      <a:pt x="4072" y="25230"/>
                      <a:pt x="8378" y="20386"/>
                    </a:cubicBezTo>
                    <a:cubicBezTo>
                      <a:pt x="19622" y="7707"/>
                      <a:pt x="43186" y="-248"/>
                      <a:pt x="60590" y="2204"/>
                    </a:cubicBezTo>
                    <a:lnTo>
                      <a:pt x="62025" y="470"/>
                    </a:lnTo>
                    <a:cubicBezTo>
                      <a:pt x="43306" y="-2162"/>
                      <a:pt x="18725" y="6511"/>
                      <a:pt x="6644" y="20147"/>
                    </a:cubicBezTo>
                    <a:cubicBezTo>
                      <a:pt x="1979" y="25410"/>
                      <a:pt x="-115" y="30613"/>
                      <a:pt x="5" y="35278"/>
                    </a:cubicBezTo>
                    <a:cubicBezTo>
                      <a:pt x="125" y="39584"/>
                      <a:pt x="2278" y="43352"/>
                      <a:pt x="6165" y="46222"/>
                    </a:cubicBezTo>
                    <a:lnTo>
                      <a:pt x="6524" y="45983"/>
                    </a:lnTo>
                    <a:close/>
                  </a:path>
                </a:pathLst>
              </a:custGeom>
              <a:grpFill/>
              <a:ln w="6350" cap="flat">
                <a:solidFill>
                  <a:schemeClr val="bg1">
                    <a:alpha val="80000"/>
                  </a:schemeClr>
                </a:solidFill>
                <a:prstDash val="solid"/>
                <a:miter/>
              </a:ln>
            </p:spPr>
            <p:txBody>
              <a:bodyPr rtlCol="0" anchor="ctr"/>
              <a:lstStyle/>
              <a:p>
                <a:endParaRPr lang="en-GB"/>
              </a:p>
            </p:txBody>
          </p:sp>
          <p:sp>
            <p:nvSpPr>
              <p:cNvPr id="8520" name="Vrije vorm: vorm 8519">
                <a:extLst>
                  <a:ext uri="{FF2B5EF4-FFF2-40B4-BE49-F238E27FC236}">
                    <a16:creationId xmlns:a16="http://schemas.microsoft.com/office/drawing/2014/main" id="{61620E83-EB11-4104-9AED-FC2C3E44F8A4}"/>
                  </a:ext>
                </a:extLst>
              </p:cNvPr>
              <p:cNvSpPr/>
              <p:nvPr/>
            </p:nvSpPr>
            <p:spPr>
              <a:xfrm>
                <a:off x="4174865" y="3485305"/>
                <a:ext cx="53285" cy="62875"/>
              </a:xfrm>
              <a:custGeom>
                <a:avLst/>
                <a:gdLst>
                  <a:gd name="connsiteX0" fmla="*/ 14471 w 53285"/>
                  <a:gd name="connsiteY0" fmla="*/ 0 h 62875"/>
                  <a:gd name="connsiteX1" fmla="*/ 775 w 53285"/>
                  <a:gd name="connsiteY1" fmla="*/ 16627 h 62875"/>
                  <a:gd name="connsiteX2" fmla="*/ 775 w 53285"/>
                  <a:gd name="connsiteY2" fmla="*/ 16627 h 62875"/>
                  <a:gd name="connsiteX3" fmla="*/ 715 w 53285"/>
                  <a:gd name="connsiteY3" fmla="*/ 16686 h 62875"/>
                  <a:gd name="connsiteX4" fmla="*/ 715 w 53285"/>
                  <a:gd name="connsiteY4" fmla="*/ 16686 h 62875"/>
                  <a:gd name="connsiteX5" fmla="*/ 595 w 53285"/>
                  <a:gd name="connsiteY5" fmla="*/ 19736 h 62875"/>
                  <a:gd name="connsiteX6" fmla="*/ 16444 w 53285"/>
                  <a:gd name="connsiteY6" fmla="*/ 54604 h 62875"/>
                  <a:gd name="connsiteX7" fmla="*/ 25236 w 53285"/>
                  <a:gd name="connsiteY7" fmla="*/ 60944 h 62875"/>
                  <a:gd name="connsiteX8" fmla="*/ 36300 w 53285"/>
                  <a:gd name="connsiteY8" fmla="*/ 62798 h 62875"/>
                  <a:gd name="connsiteX9" fmla="*/ 40547 w 53285"/>
                  <a:gd name="connsiteY9" fmla="*/ 61542 h 62875"/>
                  <a:gd name="connsiteX10" fmla="*/ 40547 w 53285"/>
                  <a:gd name="connsiteY10" fmla="*/ 61542 h 62875"/>
                  <a:gd name="connsiteX11" fmla="*/ 40547 w 53285"/>
                  <a:gd name="connsiteY11" fmla="*/ 61542 h 62875"/>
                  <a:gd name="connsiteX12" fmla="*/ 40905 w 53285"/>
                  <a:gd name="connsiteY12" fmla="*/ 61123 h 62875"/>
                  <a:gd name="connsiteX13" fmla="*/ 53286 w 53285"/>
                  <a:gd name="connsiteY13" fmla="*/ 46111 h 62875"/>
                  <a:gd name="connsiteX14" fmla="*/ 47843 w 53285"/>
                  <a:gd name="connsiteY14" fmla="*/ 31638 h 62875"/>
                  <a:gd name="connsiteX15" fmla="*/ 34147 w 53285"/>
                  <a:gd name="connsiteY15" fmla="*/ 42164 h 62875"/>
                  <a:gd name="connsiteX16" fmla="*/ 25356 w 53285"/>
                  <a:gd name="connsiteY16" fmla="*/ 22787 h 62875"/>
                  <a:gd name="connsiteX17" fmla="*/ 19734 w 53285"/>
                  <a:gd name="connsiteY17" fmla="*/ 17404 h 62875"/>
                  <a:gd name="connsiteX18" fmla="*/ 14471 w 53285"/>
                  <a:gd name="connsiteY18" fmla="*/ 0 h 6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285" h="62875">
                    <a:moveTo>
                      <a:pt x="14471" y="0"/>
                    </a:moveTo>
                    <a:lnTo>
                      <a:pt x="775" y="16627"/>
                    </a:lnTo>
                    <a:cubicBezTo>
                      <a:pt x="775" y="16627"/>
                      <a:pt x="775" y="16627"/>
                      <a:pt x="775" y="16627"/>
                    </a:cubicBezTo>
                    <a:lnTo>
                      <a:pt x="715" y="16686"/>
                    </a:lnTo>
                    <a:lnTo>
                      <a:pt x="715" y="16686"/>
                    </a:lnTo>
                    <a:cubicBezTo>
                      <a:pt x="-122" y="17823"/>
                      <a:pt x="-302" y="19138"/>
                      <a:pt x="595" y="19736"/>
                    </a:cubicBezTo>
                    <a:cubicBezTo>
                      <a:pt x="11600" y="27392"/>
                      <a:pt x="16145" y="33731"/>
                      <a:pt x="16444" y="54604"/>
                    </a:cubicBezTo>
                    <a:cubicBezTo>
                      <a:pt x="16504" y="60166"/>
                      <a:pt x="21289" y="60286"/>
                      <a:pt x="25236" y="60944"/>
                    </a:cubicBezTo>
                    <a:lnTo>
                      <a:pt x="36300" y="62798"/>
                    </a:lnTo>
                    <a:cubicBezTo>
                      <a:pt x="38035" y="63097"/>
                      <a:pt x="39590" y="62499"/>
                      <a:pt x="40547" y="61542"/>
                    </a:cubicBezTo>
                    <a:lnTo>
                      <a:pt x="40547" y="61542"/>
                    </a:lnTo>
                    <a:lnTo>
                      <a:pt x="40547" y="61542"/>
                    </a:lnTo>
                    <a:cubicBezTo>
                      <a:pt x="40666" y="61422"/>
                      <a:pt x="40786" y="61243"/>
                      <a:pt x="40905" y="61123"/>
                    </a:cubicBezTo>
                    <a:lnTo>
                      <a:pt x="53286" y="46111"/>
                    </a:lnTo>
                    <a:lnTo>
                      <a:pt x="47843" y="31638"/>
                    </a:lnTo>
                    <a:lnTo>
                      <a:pt x="34147" y="42164"/>
                    </a:lnTo>
                    <a:lnTo>
                      <a:pt x="25356" y="22787"/>
                    </a:lnTo>
                    <a:cubicBezTo>
                      <a:pt x="24279" y="20454"/>
                      <a:pt x="22246" y="18540"/>
                      <a:pt x="19734" y="17404"/>
                    </a:cubicBezTo>
                    <a:lnTo>
                      <a:pt x="14471" y="0"/>
                    </a:lnTo>
                    <a:close/>
                  </a:path>
                </a:pathLst>
              </a:custGeom>
              <a:grpFill/>
              <a:ln w="6350" cap="flat">
                <a:solidFill>
                  <a:schemeClr val="bg1">
                    <a:alpha val="80000"/>
                  </a:schemeClr>
                </a:solidFill>
                <a:prstDash val="solid"/>
                <a:miter/>
              </a:ln>
            </p:spPr>
            <p:txBody>
              <a:bodyPr rtlCol="0" anchor="ctr"/>
              <a:lstStyle/>
              <a:p>
                <a:endParaRPr lang="en-GB"/>
              </a:p>
            </p:txBody>
          </p:sp>
          <p:sp>
            <p:nvSpPr>
              <p:cNvPr id="8521" name="Vrije vorm: vorm 8520">
                <a:extLst>
                  <a:ext uri="{FF2B5EF4-FFF2-40B4-BE49-F238E27FC236}">
                    <a16:creationId xmlns:a16="http://schemas.microsoft.com/office/drawing/2014/main" id="{20F080C6-1173-44EB-96B2-B3FF246A9FEA}"/>
                  </a:ext>
                </a:extLst>
              </p:cNvPr>
              <p:cNvSpPr/>
              <p:nvPr/>
            </p:nvSpPr>
            <p:spPr>
              <a:xfrm>
                <a:off x="4187864" y="3484403"/>
                <a:ext cx="41279" cy="48395"/>
              </a:xfrm>
              <a:custGeom>
                <a:avLst/>
                <a:gdLst>
                  <a:gd name="connsiteX0" fmla="*/ 25095 w 41279"/>
                  <a:gd name="connsiteY0" fmla="*/ 8259 h 48395"/>
                  <a:gd name="connsiteX1" fmla="*/ 40944 w 41279"/>
                  <a:gd name="connsiteY1" fmla="*/ 43127 h 48395"/>
                  <a:gd name="connsiteX2" fmla="*/ 36040 w 41279"/>
                  <a:gd name="connsiteY2" fmla="*/ 48330 h 48395"/>
                  <a:gd name="connsiteX3" fmla="*/ 24976 w 41279"/>
                  <a:gd name="connsiteY3" fmla="*/ 46476 h 48395"/>
                  <a:gd name="connsiteX4" fmla="*/ 16184 w 41279"/>
                  <a:gd name="connsiteY4" fmla="*/ 40136 h 48395"/>
                  <a:gd name="connsiteX5" fmla="*/ 335 w 41279"/>
                  <a:gd name="connsiteY5" fmla="*/ 5269 h 48395"/>
                  <a:gd name="connsiteX6" fmla="*/ 5239 w 41279"/>
                  <a:gd name="connsiteY6" fmla="*/ 66 h 48395"/>
                  <a:gd name="connsiteX7" fmla="*/ 16304 w 41279"/>
                  <a:gd name="connsiteY7" fmla="*/ 1920 h 48395"/>
                  <a:gd name="connsiteX8" fmla="*/ 25095 w 41279"/>
                  <a:gd name="connsiteY8" fmla="*/ 8259 h 48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279" h="48395">
                    <a:moveTo>
                      <a:pt x="25095" y="8259"/>
                    </a:moveTo>
                    <a:lnTo>
                      <a:pt x="40944" y="43127"/>
                    </a:lnTo>
                    <a:cubicBezTo>
                      <a:pt x="42260" y="45997"/>
                      <a:pt x="39509" y="48868"/>
                      <a:pt x="36040" y="48330"/>
                    </a:cubicBezTo>
                    <a:lnTo>
                      <a:pt x="24976" y="46476"/>
                    </a:lnTo>
                    <a:cubicBezTo>
                      <a:pt x="21028" y="45818"/>
                      <a:pt x="17679" y="43366"/>
                      <a:pt x="16184" y="40136"/>
                    </a:cubicBezTo>
                    <a:lnTo>
                      <a:pt x="335" y="5269"/>
                    </a:lnTo>
                    <a:cubicBezTo>
                      <a:pt x="-981" y="2398"/>
                      <a:pt x="1770" y="-473"/>
                      <a:pt x="5239" y="66"/>
                    </a:cubicBezTo>
                    <a:lnTo>
                      <a:pt x="16304" y="1920"/>
                    </a:lnTo>
                    <a:cubicBezTo>
                      <a:pt x="20251" y="2518"/>
                      <a:pt x="23600" y="4970"/>
                      <a:pt x="25095" y="825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22" name="Vrije vorm: vorm 8521">
                <a:extLst>
                  <a:ext uri="{FF2B5EF4-FFF2-40B4-BE49-F238E27FC236}">
                    <a16:creationId xmlns:a16="http://schemas.microsoft.com/office/drawing/2014/main" id="{E4D4CD40-9707-4629-97E8-390597C150D1}"/>
                  </a:ext>
                </a:extLst>
              </p:cNvPr>
              <p:cNvSpPr/>
              <p:nvPr/>
            </p:nvSpPr>
            <p:spPr>
              <a:xfrm>
                <a:off x="4190354" y="3486187"/>
                <a:ext cx="36553" cy="44067"/>
              </a:xfrm>
              <a:custGeom>
                <a:avLst/>
                <a:gdLst>
                  <a:gd name="connsiteX0" fmla="*/ 21290 w 36553"/>
                  <a:gd name="connsiteY0" fmla="*/ 7013 h 44067"/>
                  <a:gd name="connsiteX1" fmla="*/ 36062 w 36553"/>
                  <a:gd name="connsiteY1" fmla="*/ 39608 h 44067"/>
                  <a:gd name="connsiteX2" fmla="*/ 31996 w 36553"/>
                  <a:gd name="connsiteY2" fmla="*/ 43914 h 44067"/>
                  <a:gd name="connsiteX3" fmla="*/ 22726 w 36553"/>
                  <a:gd name="connsiteY3" fmla="*/ 42359 h 44067"/>
                  <a:gd name="connsiteX4" fmla="*/ 15369 w 36553"/>
                  <a:gd name="connsiteY4" fmla="*/ 37036 h 44067"/>
                  <a:gd name="connsiteX5" fmla="*/ 597 w 36553"/>
                  <a:gd name="connsiteY5" fmla="*/ 4441 h 44067"/>
                  <a:gd name="connsiteX6" fmla="*/ 4664 w 36553"/>
                  <a:gd name="connsiteY6" fmla="*/ 135 h 44067"/>
                  <a:gd name="connsiteX7" fmla="*/ 13934 w 36553"/>
                  <a:gd name="connsiteY7" fmla="*/ 1690 h 44067"/>
                  <a:gd name="connsiteX8" fmla="*/ 21290 w 36553"/>
                  <a:gd name="connsiteY8" fmla="*/ 7013 h 4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53" h="44067">
                    <a:moveTo>
                      <a:pt x="21290" y="7013"/>
                    </a:moveTo>
                    <a:lnTo>
                      <a:pt x="36062" y="39608"/>
                    </a:lnTo>
                    <a:cubicBezTo>
                      <a:pt x="37139" y="42000"/>
                      <a:pt x="36721" y="44751"/>
                      <a:pt x="31996" y="43914"/>
                    </a:cubicBezTo>
                    <a:lnTo>
                      <a:pt x="22726" y="42359"/>
                    </a:lnTo>
                    <a:cubicBezTo>
                      <a:pt x="19436" y="41821"/>
                      <a:pt x="16625" y="39788"/>
                      <a:pt x="15369" y="37036"/>
                    </a:cubicBezTo>
                    <a:lnTo>
                      <a:pt x="597" y="4441"/>
                    </a:lnTo>
                    <a:cubicBezTo>
                      <a:pt x="-1197" y="913"/>
                      <a:pt x="1314" y="-463"/>
                      <a:pt x="4664" y="135"/>
                    </a:cubicBezTo>
                    <a:lnTo>
                      <a:pt x="13934" y="1690"/>
                    </a:lnTo>
                    <a:cubicBezTo>
                      <a:pt x="17223" y="2288"/>
                      <a:pt x="20034" y="4262"/>
                      <a:pt x="21290" y="701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23" name="Vrije vorm: vorm 8522">
                <a:extLst>
                  <a:ext uri="{FF2B5EF4-FFF2-40B4-BE49-F238E27FC236}">
                    <a16:creationId xmlns:a16="http://schemas.microsoft.com/office/drawing/2014/main" id="{7A6CC8CB-9CA7-4E76-98D8-B349F753786E}"/>
                  </a:ext>
                </a:extLst>
              </p:cNvPr>
              <p:cNvSpPr/>
              <p:nvPr/>
            </p:nvSpPr>
            <p:spPr>
              <a:xfrm>
                <a:off x="4190015" y="3573523"/>
                <a:ext cx="16305" cy="10464"/>
              </a:xfrm>
              <a:custGeom>
                <a:avLst/>
                <a:gdLst>
                  <a:gd name="connsiteX0" fmla="*/ 11880 w 16305"/>
                  <a:gd name="connsiteY0" fmla="*/ 118 h 10464"/>
                  <a:gd name="connsiteX1" fmla="*/ 1234 w 16305"/>
                  <a:gd name="connsiteY1" fmla="*/ 3946 h 10464"/>
                  <a:gd name="connsiteX2" fmla="*/ 217 w 16305"/>
                  <a:gd name="connsiteY2" fmla="*/ 7833 h 10464"/>
                  <a:gd name="connsiteX3" fmla="*/ 1174 w 16305"/>
                  <a:gd name="connsiteY3" fmla="*/ 10465 h 10464"/>
                  <a:gd name="connsiteX4" fmla="*/ 1952 w 16305"/>
                  <a:gd name="connsiteY4" fmla="*/ 9448 h 10464"/>
                  <a:gd name="connsiteX5" fmla="*/ 3447 w 16305"/>
                  <a:gd name="connsiteY5" fmla="*/ 9867 h 10464"/>
                  <a:gd name="connsiteX6" fmla="*/ 14093 w 16305"/>
                  <a:gd name="connsiteY6" fmla="*/ 6039 h 10464"/>
                  <a:gd name="connsiteX7" fmla="*/ 15229 w 16305"/>
                  <a:gd name="connsiteY7" fmla="*/ 4125 h 10464"/>
                  <a:gd name="connsiteX8" fmla="*/ 16305 w 16305"/>
                  <a:gd name="connsiteY8" fmla="*/ 5202 h 10464"/>
                  <a:gd name="connsiteX9" fmla="*/ 15229 w 16305"/>
                  <a:gd name="connsiteY9" fmla="*/ 2391 h 10464"/>
                  <a:gd name="connsiteX10" fmla="*/ 11880 w 16305"/>
                  <a:gd name="connsiteY10" fmla="*/ 118 h 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05" h="10464">
                    <a:moveTo>
                      <a:pt x="11880" y="118"/>
                    </a:moveTo>
                    <a:cubicBezTo>
                      <a:pt x="8351" y="-480"/>
                      <a:pt x="3566" y="1254"/>
                      <a:pt x="1234" y="3946"/>
                    </a:cubicBezTo>
                    <a:cubicBezTo>
                      <a:pt x="38" y="5381"/>
                      <a:pt x="-261" y="6757"/>
                      <a:pt x="217" y="7833"/>
                    </a:cubicBezTo>
                    <a:lnTo>
                      <a:pt x="1174" y="10465"/>
                    </a:lnTo>
                    <a:lnTo>
                      <a:pt x="1952" y="9448"/>
                    </a:lnTo>
                    <a:cubicBezTo>
                      <a:pt x="2371" y="9627"/>
                      <a:pt x="2849" y="9807"/>
                      <a:pt x="3447" y="9867"/>
                    </a:cubicBezTo>
                    <a:cubicBezTo>
                      <a:pt x="6976" y="10465"/>
                      <a:pt x="11760" y="8730"/>
                      <a:pt x="14093" y="6039"/>
                    </a:cubicBezTo>
                    <a:cubicBezTo>
                      <a:pt x="14631" y="5381"/>
                      <a:pt x="15050" y="4723"/>
                      <a:pt x="15229" y="4125"/>
                    </a:cubicBezTo>
                    <a:lnTo>
                      <a:pt x="16305" y="5202"/>
                    </a:lnTo>
                    <a:lnTo>
                      <a:pt x="15229" y="2391"/>
                    </a:lnTo>
                    <a:cubicBezTo>
                      <a:pt x="14810" y="1254"/>
                      <a:pt x="13674" y="417"/>
                      <a:pt x="11880" y="11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24" name="Vrije vorm: vorm 8523">
                <a:extLst>
                  <a:ext uri="{FF2B5EF4-FFF2-40B4-BE49-F238E27FC236}">
                    <a16:creationId xmlns:a16="http://schemas.microsoft.com/office/drawing/2014/main" id="{FFC962A4-0060-4D6F-BA83-C38B187FDFDA}"/>
                  </a:ext>
                </a:extLst>
              </p:cNvPr>
              <p:cNvSpPr/>
              <p:nvPr/>
            </p:nvSpPr>
            <p:spPr>
              <a:xfrm>
                <a:off x="4191070" y="3576334"/>
                <a:ext cx="15370" cy="9984"/>
              </a:xfrm>
              <a:custGeom>
                <a:avLst/>
                <a:gdLst>
                  <a:gd name="connsiteX0" fmla="*/ 1256 w 15370"/>
                  <a:gd name="connsiteY0" fmla="*/ 3946 h 9984"/>
                  <a:gd name="connsiteX1" fmla="*/ 3469 w 15370"/>
                  <a:gd name="connsiteY1" fmla="*/ 9867 h 9984"/>
                  <a:gd name="connsiteX2" fmla="*/ 14115 w 15370"/>
                  <a:gd name="connsiteY2" fmla="*/ 6039 h 9984"/>
                  <a:gd name="connsiteX3" fmla="*/ 11902 w 15370"/>
                  <a:gd name="connsiteY3" fmla="*/ 118 h 9984"/>
                  <a:gd name="connsiteX4" fmla="*/ 1256 w 15370"/>
                  <a:gd name="connsiteY4" fmla="*/ 3946 h 9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0" h="9984">
                    <a:moveTo>
                      <a:pt x="1256" y="3946"/>
                    </a:moveTo>
                    <a:cubicBezTo>
                      <a:pt x="-1076" y="6637"/>
                      <a:pt x="-60" y="9269"/>
                      <a:pt x="3469" y="9867"/>
                    </a:cubicBezTo>
                    <a:cubicBezTo>
                      <a:pt x="6998" y="10465"/>
                      <a:pt x="11782" y="8730"/>
                      <a:pt x="14115" y="6039"/>
                    </a:cubicBezTo>
                    <a:cubicBezTo>
                      <a:pt x="16447" y="3348"/>
                      <a:pt x="15431" y="716"/>
                      <a:pt x="11902" y="118"/>
                    </a:cubicBezTo>
                    <a:cubicBezTo>
                      <a:pt x="8313" y="-480"/>
                      <a:pt x="3588" y="1254"/>
                      <a:pt x="1256" y="394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25" name="Vrije vorm: vorm 8524">
                <a:extLst>
                  <a:ext uri="{FF2B5EF4-FFF2-40B4-BE49-F238E27FC236}">
                    <a16:creationId xmlns:a16="http://schemas.microsoft.com/office/drawing/2014/main" id="{41A2CE89-0774-4628-B5A4-F998EDC38F4A}"/>
                  </a:ext>
                </a:extLst>
              </p:cNvPr>
              <p:cNvSpPr/>
              <p:nvPr/>
            </p:nvSpPr>
            <p:spPr>
              <a:xfrm>
                <a:off x="4436994" y="3484648"/>
                <a:ext cx="28412" cy="38338"/>
              </a:xfrm>
              <a:custGeom>
                <a:avLst/>
                <a:gdLst>
                  <a:gd name="connsiteX0" fmla="*/ 27635 w 28412"/>
                  <a:gd name="connsiteY0" fmla="*/ 26853 h 38338"/>
                  <a:gd name="connsiteX1" fmla="*/ 27874 w 28412"/>
                  <a:gd name="connsiteY1" fmla="*/ 24641 h 38338"/>
                  <a:gd name="connsiteX2" fmla="*/ 27874 w 28412"/>
                  <a:gd name="connsiteY2" fmla="*/ 24641 h 38338"/>
                  <a:gd name="connsiteX3" fmla="*/ 28412 w 28412"/>
                  <a:gd name="connsiteY3" fmla="*/ 598 h 38338"/>
                  <a:gd name="connsiteX4" fmla="*/ 542 w 28412"/>
                  <a:gd name="connsiteY4" fmla="*/ 0 h 38338"/>
                  <a:gd name="connsiteX5" fmla="*/ 4 w 28412"/>
                  <a:gd name="connsiteY5" fmla="*/ 24102 h 38338"/>
                  <a:gd name="connsiteX6" fmla="*/ 13640 w 28412"/>
                  <a:gd name="connsiteY6" fmla="*/ 38336 h 38338"/>
                  <a:gd name="connsiteX7" fmla="*/ 27635 w 28412"/>
                  <a:gd name="connsiteY7" fmla="*/ 26853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12" h="38338">
                    <a:moveTo>
                      <a:pt x="27635" y="26853"/>
                    </a:moveTo>
                    <a:cubicBezTo>
                      <a:pt x="27754" y="26136"/>
                      <a:pt x="27814" y="25418"/>
                      <a:pt x="27874" y="24641"/>
                    </a:cubicBezTo>
                    <a:lnTo>
                      <a:pt x="27874" y="24641"/>
                    </a:lnTo>
                    <a:cubicBezTo>
                      <a:pt x="27874" y="24102"/>
                      <a:pt x="28412" y="598"/>
                      <a:pt x="28412" y="598"/>
                    </a:cubicBezTo>
                    <a:lnTo>
                      <a:pt x="542" y="0"/>
                    </a:lnTo>
                    <a:cubicBezTo>
                      <a:pt x="542" y="0"/>
                      <a:pt x="4" y="23684"/>
                      <a:pt x="4" y="24102"/>
                    </a:cubicBezTo>
                    <a:cubicBezTo>
                      <a:pt x="-175" y="31817"/>
                      <a:pt x="5985" y="38157"/>
                      <a:pt x="13640" y="38336"/>
                    </a:cubicBezTo>
                    <a:cubicBezTo>
                      <a:pt x="20578" y="38456"/>
                      <a:pt x="26439" y="33492"/>
                      <a:pt x="27635" y="2685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526" name="Vrije vorm: vorm 8525">
                <a:extLst>
                  <a:ext uri="{FF2B5EF4-FFF2-40B4-BE49-F238E27FC236}">
                    <a16:creationId xmlns:a16="http://schemas.microsoft.com/office/drawing/2014/main" id="{661B7430-0978-4F4E-8792-DF013CBBB214}"/>
                  </a:ext>
                </a:extLst>
              </p:cNvPr>
              <p:cNvSpPr/>
              <p:nvPr/>
            </p:nvSpPr>
            <p:spPr>
              <a:xfrm>
                <a:off x="4398900" y="3486975"/>
                <a:ext cx="70159" cy="203290"/>
              </a:xfrm>
              <a:custGeom>
                <a:avLst/>
                <a:gdLst>
                  <a:gd name="connsiteX0" fmla="*/ 29006 w 70159"/>
                  <a:gd name="connsiteY0" fmla="*/ 126139 h 203290"/>
                  <a:gd name="connsiteX1" fmla="*/ 34090 w 70159"/>
                  <a:gd name="connsiteY1" fmla="*/ 17648 h 203290"/>
                  <a:gd name="connsiteX2" fmla="*/ 52511 w 70159"/>
                  <a:gd name="connsiteY2" fmla="*/ 5 h 203290"/>
                  <a:gd name="connsiteX3" fmla="*/ 70154 w 70159"/>
                  <a:gd name="connsiteY3" fmla="*/ 18426 h 203290"/>
                  <a:gd name="connsiteX4" fmla="*/ 62439 w 70159"/>
                  <a:gd name="connsiteY4" fmla="*/ 152633 h 203290"/>
                  <a:gd name="connsiteX5" fmla="*/ 60405 w 70159"/>
                  <a:gd name="connsiteY5" fmla="*/ 165970 h 203290"/>
                  <a:gd name="connsiteX6" fmla="*/ 34389 w 70159"/>
                  <a:gd name="connsiteY6" fmla="*/ 203230 h 203290"/>
                  <a:gd name="connsiteX7" fmla="*/ 0 w 70159"/>
                  <a:gd name="connsiteY7" fmla="*/ 152633 h 203290"/>
                  <a:gd name="connsiteX8" fmla="*/ 42583 w 70159"/>
                  <a:gd name="connsiteY8" fmla="*/ 171413 h 203290"/>
                  <a:gd name="connsiteX9" fmla="*/ 42583 w 70159"/>
                  <a:gd name="connsiteY9" fmla="*/ 171413 h 203290"/>
                  <a:gd name="connsiteX10" fmla="*/ 42583 w 70159"/>
                  <a:gd name="connsiteY10" fmla="*/ 171413 h 20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159" h="203290">
                    <a:moveTo>
                      <a:pt x="29006" y="126139"/>
                    </a:moveTo>
                    <a:cubicBezTo>
                      <a:pt x="31040" y="102993"/>
                      <a:pt x="33014" y="68664"/>
                      <a:pt x="34090" y="17648"/>
                    </a:cubicBezTo>
                    <a:cubicBezTo>
                      <a:pt x="34269" y="7661"/>
                      <a:pt x="42523" y="-234"/>
                      <a:pt x="52511" y="5"/>
                    </a:cubicBezTo>
                    <a:cubicBezTo>
                      <a:pt x="62499" y="244"/>
                      <a:pt x="70393" y="8438"/>
                      <a:pt x="70154" y="18426"/>
                    </a:cubicBezTo>
                    <a:cubicBezTo>
                      <a:pt x="68898" y="79011"/>
                      <a:pt x="66267" y="124165"/>
                      <a:pt x="62439" y="152633"/>
                    </a:cubicBezTo>
                    <a:cubicBezTo>
                      <a:pt x="61841" y="157179"/>
                      <a:pt x="61183" y="161664"/>
                      <a:pt x="60405" y="165970"/>
                    </a:cubicBezTo>
                    <a:cubicBezTo>
                      <a:pt x="56817" y="185886"/>
                      <a:pt x="50716" y="201855"/>
                      <a:pt x="34389" y="203230"/>
                    </a:cubicBezTo>
                    <a:cubicBezTo>
                      <a:pt x="13397" y="205024"/>
                      <a:pt x="4067" y="166628"/>
                      <a:pt x="0" y="152633"/>
                    </a:cubicBezTo>
                    <a:moveTo>
                      <a:pt x="42583" y="171413"/>
                    </a:moveTo>
                    <a:lnTo>
                      <a:pt x="42583" y="171413"/>
                    </a:lnTo>
                    <a:lnTo>
                      <a:pt x="42583" y="171413"/>
                    </a:lnTo>
                    <a:close/>
                  </a:path>
                </a:pathLst>
              </a:custGeom>
              <a:grpFill/>
              <a:ln w="6350" cap="flat">
                <a:solidFill>
                  <a:schemeClr val="bg1">
                    <a:alpha val="80000"/>
                  </a:schemeClr>
                </a:solidFill>
                <a:prstDash val="solid"/>
                <a:miter/>
              </a:ln>
            </p:spPr>
            <p:txBody>
              <a:bodyPr rtlCol="0" anchor="ctr"/>
              <a:lstStyle/>
              <a:p>
                <a:endParaRPr lang="en-GB"/>
              </a:p>
            </p:txBody>
          </p:sp>
        </p:grpSp>
      </p:grpSp>
      <p:grpSp>
        <p:nvGrpSpPr>
          <p:cNvPr id="8971" name="WERELD_5">
            <a:extLst>
              <a:ext uri="{FF2B5EF4-FFF2-40B4-BE49-F238E27FC236}">
                <a16:creationId xmlns:a16="http://schemas.microsoft.com/office/drawing/2014/main" id="{D1C3823A-E557-43F2-B40C-32F12FC55E4A}"/>
              </a:ext>
            </a:extLst>
          </p:cNvPr>
          <p:cNvGrpSpPr/>
          <p:nvPr userDrawn="1"/>
        </p:nvGrpSpPr>
        <p:grpSpPr>
          <a:xfrm>
            <a:off x="4511794" y="1039999"/>
            <a:ext cx="1740896" cy="1560490"/>
            <a:chOff x="4479700" y="856479"/>
            <a:chExt cx="1740896" cy="1560490"/>
          </a:xfrm>
          <a:noFill/>
          <a:effectLst>
            <a:glow rad="127000">
              <a:srgbClr val="00B0F0">
                <a:alpha val="40000"/>
              </a:srgbClr>
            </a:glow>
          </a:effectLst>
        </p:grpSpPr>
        <p:grpSp>
          <p:nvGrpSpPr>
            <p:cNvPr id="8972" name="Graphic 3">
              <a:extLst>
                <a:ext uri="{FF2B5EF4-FFF2-40B4-BE49-F238E27FC236}">
                  <a16:creationId xmlns:a16="http://schemas.microsoft.com/office/drawing/2014/main" id="{97272A86-5B3D-45F8-872E-15A8B95CBBBD}"/>
                </a:ext>
              </a:extLst>
            </p:cNvPr>
            <p:cNvGrpSpPr/>
            <p:nvPr/>
          </p:nvGrpSpPr>
          <p:grpSpPr>
            <a:xfrm>
              <a:off x="4577006" y="1021129"/>
              <a:ext cx="1068635" cy="1395840"/>
              <a:chOff x="4577006" y="1021129"/>
              <a:chExt cx="1068635" cy="1395840"/>
            </a:xfrm>
            <a:grpFill/>
          </p:grpSpPr>
          <p:sp>
            <p:nvSpPr>
              <p:cNvPr id="9253" name="Vrije vorm: vorm 9252">
                <a:extLst>
                  <a:ext uri="{FF2B5EF4-FFF2-40B4-BE49-F238E27FC236}">
                    <a16:creationId xmlns:a16="http://schemas.microsoft.com/office/drawing/2014/main" id="{77B3A989-CF30-4FD7-B433-B4CB932C1191}"/>
                  </a:ext>
                </a:extLst>
              </p:cNvPr>
              <p:cNvSpPr/>
              <p:nvPr/>
            </p:nvSpPr>
            <p:spPr>
              <a:xfrm>
                <a:off x="4715460" y="1021129"/>
                <a:ext cx="825219" cy="1157845"/>
              </a:xfrm>
              <a:custGeom>
                <a:avLst/>
                <a:gdLst>
                  <a:gd name="connsiteX0" fmla="*/ 326607 w 825219"/>
                  <a:gd name="connsiteY0" fmla="*/ 706263 h 1157845"/>
                  <a:gd name="connsiteX1" fmla="*/ 307529 w 825219"/>
                  <a:gd name="connsiteY1" fmla="*/ 714038 h 1157845"/>
                  <a:gd name="connsiteX2" fmla="*/ 182472 w 825219"/>
                  <a:gd name="connsiteY2" fmla="*/ 771513 h 1157845"/>
                  <a:gd name="connsiteX3" fmla="*/ 106038 w 825219"/>
                  <a:gd name="connsiteY3" fmla="*/ 806680 h 1157845"/>
                  <a:gd name="connsiteX4" fmla="*/ 80561 w 825219"/>
                  <a:gd name="connsiteY4" fmla="*/ 812541 h 1157845"/>
                  <a:gd name="connsiteX5" fmla="*/ 2930 w 825219"/>
                  <a:gd name="connsiteY5" fmla="*/ 828569 h 1157845"/>
                  <a:gd name="connsiteX6" fmla="*/ 0 w 825219"/>
                  <a:gd name="connsiteY6" fmla="*/ 827971 h 1157845"/>
                  <a:gd name="connsiteX7" fmla="*/ 157831 w 825219"/>
                  <a:gd name="connsiteY7" fmla="*/ 756382 h 1157845"/>
                  <a:gd name="connsiteX8" fmla="*/ 67044 w 825219"/>
                  <a:gd name="connsiteY8" fmla="*/ 533241 h 1157845"/>
                  <a:gd name="connsiteX9" fmla="*/ 180678 w 825219"/>
                  <a:gd name="connsiteY9" fmla="*/ 467812 h 1157845"/>
                  <a:gd name="connsiteX10" fmla="*/ 181455 w 825219"/>
                  <a:gd name="connsiteY10" fmla="*/ 469247 h 1157845"/>
                  <a:gd name="connsiteX11" fmla="*/ 69496 w 825219"/>
                  <a:gd name="connsiteY11" fmla="*/ 533899 h 1157845"/>
                  <a:gd name="connsiteX12" fmla="*/ 159685 w 825219"/>
                  <a:gd name="connsiteY12" fmla="*/ 755664 h 1157845"/>
                  <a:gd name="connsiteX13" fmla="*/ 274455 w 825219"/>
                  <a:gd name="connsiteY13" fmla="*/ 703871 h 1157845"/>
                  <a:gd name="connsiteX14" fmla="*/ 275113 w 825219"/>
                  <a:gd name="connsiteY14" fmla="*/ 705426 h 1157845"/>
                  <a:gd name="connsiteX15" fmla="*/ 12141 w 825219"/>
                  <a:gd name="connsiteY15" fmla="*/ 824084 h 1157845"/>
                  <a:gd name="connsiteX16" fmla="*/ 12380 w 825219"/>
                  <a:gd name="connsiteY16" fmla="*/ 825100 h 1157845"/>
                  <a:gd name="connsiteX17" fmla="*/ 28050 w 825219"/>
                  <a:gd name="connsiteY17" fmla="*/ 822110 h 1157845"/>
                  <a:gd name="connsiteX18" fmla="*/ 100835 w 825219"/>
                  <a:gd name="connsiteY18" fmla="*/ 806859 h 1157845"/>
                  <a:gd name="connsiteX19" fmla="*/ 119076 w 825219"/>
                  <a:gd name="connsiteY19" fmla="*/ 799622 h 1157845"/>
                  <a:gd name="connsiteX20" fmla="*/ 243176 w 825219"/>
                  <a:gd name="connsiteY20" fmla="*/ 742626 h 1157845"/>
                  <a:gd name="connsiteX21" fmla="*/ 327026 w 825219"/>
                  <a:gd name="connsiteY21" fmla="*/ 703751 h 1157845"/>
                  <a:gd name="connsiteX22" fmla="*/ 363269 w 825219"/>
                  <a:gd name="connsiteY22" fmla="*/ 792804 h 1157845"/>
                  <a:gd name="connsiteX23" fmla="*/ 503098 w 825219"/>
                  <a:gd name="connsiteY23" fmla="*/ 1136098 h 1157845"/>
                  <a:gd name="connsiteX24" fmla="*/ 512907 w 825219"/>
                  <a:gd name="connsiteY24" fmla="*/ 1144172 h 1157845"/>
                  <a:gd name="connsiteX25" fmla="*/ 588862 w 825219"/>
                  <a:gd name="connsiteY25" fmla="*/ 1154877 h 1157845"/>
                  <a:gd name="connsiteX26" fmla="*/ 595321 w 825219"/>
                  <a:gd name="connsiteY26" fmla="*/ 1155655 h 1157845"/>
                  <a:gd name="connsiteX27" fmla="*/ 154602 w 825219"/>
                  <a:gd name="connsiteY27" fmla="*/ 72247 h 1157845"/>
                  <a:gd name="connsiteX28" fmla="*/ 62260 w 825219"/>
                  <a:gd name="connsiteY28" fmla="*/ 170391 h 1157845"/>
                  <a:gd name="connsiteX29" fmla="*/ 61302 w 825219"/>
                  <a:gd name="connsiteY29" fmla="*/ 169314 h 1157845"/>
                  <a:gd name="connsiteX30" fmla="*/ 65190 w 825219"/>
                  <a:gd name="connsiteY30" fmla="*/ 164948 h 1157845"/>
                  <a:gd name="connsiteX31" fmla="*/ 151013 w 825219"/>
                  <a:gd name="connsiteY31" fmla="*/ 73503 h 1157845"/>
                  <a:gd name="connsiteX32" fmla="*/ 160403 w 825219"/>
                  <a:gd name="connsiteY32" fmla="*/ 68180 h 1157845"/>
                  <a:gd name="connsiteX33" fmla="*/ 366858 w 825219"/>
                  <a:gd name="connsiteY33" fmla="*/ 23504 h 1157845"/>
                  <a:gd name="connsiteX34" fmla="*/ 465241 w 825219"/>
                  <a:gd name="connsiteY34" fmla="*/ 2093 h 1157845"/>
                  <a:gd name="connsiteX35" fmla="*/ 472477 w 825219"/>
                  <a:gd name="connsiteY35" fmla="*/ 0 h 1157845"/>
                  <a:gd name="connsiteX36" fmla="*/ 594005 w 825219"/>
                  <a:gd name="connsiteY36" fmla="*/ 305854 h 1157845"/>
                  <a:gd name="connsiteX37" fmla="*/ 706563 w 825219"/>
                  <a:gd name="connsiteY37" fmla="*/ 266501 h 1157845"/>
                  <a:gd name="connsiteX38" fmla="*/ 707101 w 825219"/>
                  <a:gd name="connsiteY38" fmla="*/ 267996 h 1157845"/>
                  <a:gd name="connsiteX39" fmla="*/ 594603 w 825219"/>
                  <a:gd name="connsiteY39" fmla="*/ 307469 h 1157845"/>
                  <a:gd name="connsiteX40" fmla="*/ 729768 w 825219"/>
                  <a:gd name="connsiteY40" fmla="*/ 647473 h 1157845"/>
                  <a:gd name="connsiteX41" fmla="*/ 734134 w 825219"/>
                  <a:gd name="connsiteY41" fmla="*/ 646456 h 1157845"/>
                  <a:gd name="connsiteX42" fmla="*/ 732340 w 825219"/>
                  <a:gd name="connsiteY42" fmla="*/ 653812 h 1157845"/>
                  <a:gd name="connsiteX43" fmla="*/ 822768 w 825219"/>
                  <a:gd name="connsiteY43" fmla="*/ 881499 h 1157845"/>
                  <a:gd name="connsiteX44" fmla="*/ 825220 w 825219"/>
                  <a:gd name="connsiteY44" fmla="*/ 887539 h 1157845"/>
                  <a:gd name="connsiteX45" fmla="*/ 823725 w 825219"/>
                  <a:gd name="connsiteY45" fmla="*/ 888137 h 1157845"/>
                  <a:gd name="connsiteX46" fmla="*/ 471700 w 825219"/>
                  <a:gd name="connsiteY46" fmla="*/ 2392 h 1157845"/>
                  <a:gd name="connsiteX47" fmla="*/ 156276 w 825219"/>
                  <a:gd name="connsiteY47" fmla="*/ 70931 h 1157845"/>
                  <a:gd name="connsiteX48" fmla="*/ 597355 w 825219"/>
                  <a:gd name="connsiteY48" fmla="*/ 1155236 h 1157845"/>
                  <a:gd name="connsiteX49" fmla="*/ 639578 w 825219"/>
                  <a:gd name="connsiteY49" fmla="*/ 1126230 h 1157845"/>
                  <a:gd name="connsiteX50" fmla="*/ 640416 w 825219"/>
                  <a:gd name="connsiteY50" fmla="*/ 1127486 h 1157845"/>
                  <a:gd name="connsiteX51" fmla="*/ 622175 w 825219"/>
                  <a:gd name="connsiteY51" fmla="*/ 1140225 h 1157845"/>
                  <a:gd name="connsiteX52" fmla="*/ 598431 w 825219"/>
                  <a:gd name="connsiteY52" fmla="*/ 1156911 h 1157845"/>
                  <a:gd name="connsiteX53" fmla="*/ 595202 w 825219"/>
                  <a:gd name="connsiteY53" fmla="*/ 1157808 h 1157845"/>
                  <a:gd name="connsiteX54" fmla="*/ 504833 w 825219"/>
                  <a:gd name="connsiteY54" fmla="*/ 1144471 h 1157845"/>
                  <a:gd name="connsiteX55" fmla="*/ 326607 w 825219"/>
                  <a:gd name="connsiteY55" fmla="*/ 706263 h 115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25219" h="1157845">
                    <a:moveTo>
                      <a:pt x="326607" y="706263"/>
                    </a:moveTo>
                    <a:cubicBezTo>
                      <a:pt x="319909" y="708955"/>
                      <a:pt x="313629" y="711287"/>
                      <a:pt x="307529" y="714038"/>
                    </a:cubicBezTo>
                    <a:cubicBezTo>
                      <a:pt x="265783" y="733117"/>
                      <a:pt x="224098" y="752315"/>
                      <a:pt x="182472" y="771513"/>
                    </a:cubicBezTo>
                    <a:cubicBezTo>
                      <a:pt x="156994" y="783235"/>
                      <a:pt x="131755" y="795496"/>
                      <a:pt x="106038" y="806680"/>
                    </a:cubicBezTo>
                    <a:cubicBezTo>
                      <a:pt x="98144" y="810089"/>
                      <a:pt x="89113" y="810747"/>
                      <a:pt x="80561" y="812541"/>
                    </a:cubicBezTo>
                    <a:cubicBezTo>
                      <a:pt x="54664" y="817923"/>
                      <a:pt x="28827" y="823246"/>
                      <a:pt x="2930" y="828569"/>
                    </a:cubicBezTo>
                    <a:cubicBezTo>
                      <a:pt x="2093" y="828749"/>
                      <a:pt x="1256" y="828868"/>
                      <a:pt x="0" y="827971"/>
                    </a:cubicBezTo>
                    <a:cubicBezTo>
                      <a:pt x="52571" y="804108"/>
                      <a:pt x="105141" y="780305"/>
                      <a:pt x="157831" y="756382"/>
                    </a:cubicBezTo>
                    <a:cubicBezTo>
                      <a:pt x="127569" y="682042"/>
                      <a:pt x="97426" y="607821"/>
                      <a:pt x="67044" y="533241"/>
                    </a:cubicBezTo>
                    <a:cubicBezTo>
                      <a:pt x="104543" y="511651"/>
                      <a:pt x="142581" y="489701"/>
                      <a:pt x="180678" y="467812"/>
                    </a:cubicBezTo>
                    <a:cubicBezTo>
                      <a:pt x="180917" y="468290"/>
                      <a:pt x="181216" y="468769"/>
                      <a:pt x="181455" y="469247"/>
                    </a:cubicBezTo>
                    <a:cubicBezTo>
                      <a:pt x="144016" y="490898"/>
                      <a:pt x="106517" y="512488"/>
                      <a:pt x="69496" y="533899"/>
                    </a:cubicBezTo>
                    <a:cubicBezTo>
                      <a:pt x="99639" y="608060"/>
                      <a:pt x="129543" y="681563"/>
                      <a:pt x="159685" y="755664"/>
                    </a:cubicBezTo>
                    <a:cubicBezTo>
                      <a:pt x="198560" y="738141"/>
                      <a:pt x="236478" y="721036"/>
                      <a:pt x="274455" y="703871"/>
                    </a:cubicBezTo>
                    <a:cubicBezTo>
                      <a:pt x="274695" y="704409"/>
                      <a:pt x="274934" y="704888"/>
                      <a:pt x="275113" y="705426"/>
                    </a:cubicBezTo>
                    <a:cubicBezTo>
                      <a:pt x="187436" y="744959"/>
                      <a:pt x="99818" y="784551"/>
                      <a:pt x="12141" y="824084"/>
                    </a:cubicBezTo>
                    <a:cubicBezTo>
                      <a:pt x="12201" y="824442"/>
                      <a:pt x="12320" y="824742"/>
                      <a:pt x="12380" y="825100"/>
                    </a:cubicBezTo>
                    <a:cubicBezTo>
                      <a:pt x="17583" y="824084"/>
                      <a:pt x="22846" y="823186"/>
                      <a:pt x="28050" y="822110"/>
                    </a:cubicBezTo>
                    <a:cubicBezTo>
                      <a:pt x="52331" y="817086"/>
                      <a:pt x="76673" y="812242"/>
                      <a:pt x="100835" y="806859"/>
                    </a:cubicBezTo>
                    <a:cubicBezTo>
                      <a:pt x="107174" y="805424"/>
                      <a:pt x="113096" y="802314"/>
                      <a:pt x="119076" y="799622"/>
                    </a:cubicBezTo>
                    <a:cubicBezTo>
                      <a:pt x="160463" y="780664"/>
                      <a:pt x="201849" y="761645"/>
                      <a:pt x="243176" y="742626"/>
                    </a:cubicBezTo>
                    <a:cubicBezTo>
                      <a:pt x="271106" y="729768"/>
                      <a:pt x="298916" y="716789"/>
                      <a:pt x="327026" y="703751"/>
                    </a:cubicBezTo>
                    <a:cubicBezTo>
                      <a:pt x="339107" y="733416"/>
                      <a:pt x="351128" y="763140"/>
                      <a:pt x="363269" y="792804"/>
                    </a:cubicBezTo>
                    <a:cubicBezTo>
                      <a:pt x="409919" y="907216"/>
                      <a:pt x="456569" y="1021627"/>
                      <a:pt x="503098" y="1136098"/>
                    </a:cubicBezTo>
                    <a:cubicBezTo>
                      <a:pt x="505192" y="1141301"/>
                      <a:pt x="507763" y="1143514"/>
                      <a:pt x="512907" y="1144172"/>
                    </a:cubicBezTo>
                    <a:cubicBezTo>
                      <a:pt x="538205" y="1147461"/>
                      <a:pt x="563504" y="1151289"/>
                      <a:pt x="588862" y="1154877"/>
                    </a:cubicBezTo>
                    <a:cubicBezTo>
                      <a:pt x="590656" y="1155117"/>
                      <a:pt x="592510" y="1155296"/>
                      <a:pt x="595321" y="1155655"/>
                    </a:cubicBezTo>
                    <a:cubicBezTo>
                      <a:pt x="448315" y="794240"/>
                      <a:pt x="301548" y="433543"/>
                      <a:pt x="154602" y="72247"/>
                    </a:cubicBezTo>
                    <a:cubicBezTo>
                      <a:pt x="123861" y="104902"/>
                      <a:pt x="93060" y="137616"/>
                      <a:pt x="62260" y="170391"/>
                    </a:cubicBezTo>
                    <a:cubicBezTo>
                      <a:pt x="61960" y="170032"/>
                      <a:pt x="61601" y="169673"/>
                      <a:pt x="61302" y="169314"/>
                    </a:cubicBezTo>
                    <a:cubicBezTo>
                      <a:pt x="62618" y="167819"/>
                      <a:pt x="63874" y="166324"/>
                      <a:pt x="65190" y="164948"/>
                    </a:cubicBezTo>
                    <a:cubicBezTo>
                      <a:pt x="93838" y="134447"/>
                      <a:pt x="122485" y="104065"/>
                      <a:pt x="151013" y="73503"/>
                    </a:cubicBezTo>
                    <a:cubicBezTo>
                      <a:pt x="153705" y="70632"/>
                      <a:pt x="156515" y="69018"/>
                      <a:pt x="160403" y="68180"/>
                    </a:cubicBezTo>
                    <a:cubicBezTo>
                      <a:pt x="229241" y="53408"/>
                      <a:pt x="298079" y="38456"/>
                      <a:pt x="366858" y="23504"/>
                    </a:cubicBezTo>
                    <a:cubicBezTo>
                      <a:pt x="399632" y="16387"/>
                      <a:pt x="432466" y="9270"/>
                      <a:pt x="465241" y="2093"/>
                    </a:cubicBezTo>
                    <a:cubicBezTo>
                      <a:pt x="467693" y="1555"/>
                      <a:pt x="470085" y="718"/>
                      <a:pt x="472477" y="0"/>
                    </a:cubicBezTo>
                    <a:cubicBezTo>
                      <a:pt x="512967" y="101852"/>
                      <a:pt x="553337" y="203524"/>
                      <a:pt x="594005" y="305854"/>
                    </a:cubicBezTo>
                    <a:cubicBezTo>
                      <a:pt x="631863" y="292637"/>
                      <a:pt x="669183" y="279539"/>
                      <a:pt x="706563" y="266501"/>
                    </a:cubicBezTo>
                    <a:cubicBezTo>
                      <a:pt x="706742" y="266979"/>
                      <a:pt x="706921" y="267518"/>
                      <a:pt x="707101" y="267996"/>
                    </a:cubicBezTo>
                    <a:cubicBezTo>
                      <a:pt x="669781" y="281094"/>
                      <a:pt x="632461" y="294192"/>
                      <a:pt x="594603" y="307469"/>
                    </a:cubicBezTo>
                    <a:cubicBezTo>
                      <a:pt x="639818" y="421162"/>
                      <a:pt x="684733" y="534198"/>
                      <a:pt x="729768" y="647473"/>
                    </a:cubicBezTo>
                    <a:cubicBezTo>
                      <a:pt x="731502" y="647054"/>
                      <a:pt x="732818" y="646755"/>
                      <a:pt x="734134" y="646456"/>
                    </a:cubicBezTo>
                    <a:cubicBezTo>
                      <a:pt x="729409" y="647473"/>
                      <a:pt x="731083" y="650583"/>
                      <a:pt x="732340" y="653812"/>
                    </a:cubicBezTo>
                    <a:cubicBezTo>
                      <a:pt x="762482" y="729708"/>
                      <a:pt x="792625" y="805603"/>
                      <a:pt x="822768" y="881499"/>
                    </a:cubicBezTo>
                    <a:cubicBezTo>
                      <a:pt x="823546" y="883532"/>
                      <a:pt x="824383" y="885565"/>
                      <a:pt x="825220" y="887539"/>
                    </a:cubicBezTo>
                    <a:cubicBezTo>
                      <a:pt x="824742" y="887719"/>
                      <a:pt x="824203" y="887898"/>
                      <a:pt x="823725" y="888137"/>
                    </a:cubicBezTo>
                    <a:cubicBezTo>
                      <a:pt x="706443" y="593108"/>
                      <a:pt x="589221" y="298019"/>
                      <a:pt x="471700" y="2392"/>
                    </a:cubicBezTo>
                    <a:cubicBezTo>
                      <a:pt x="366559" y="25239"/>
                      <a:pt x="261836" y="48025"/>
                      <a:pt x="156276" y="70931"/>
                    </a:cubicBezTo>
                    <a:cubicBezTo>
                      <a:pt x="303462" y="432705"/>
                      <a:pt x="450348" y="793821"/>
                      <a:pt x="597355" y="1155236"/>
                    </a:cubicBezTo>
                    <a:cubicBezTo>
                      <a:pt x="611409" y="1145607"/>
                      <a:pt x="625464" y="1135918"/>
                      <a:pt x="639578" y="1126230"/>
                    </a:cubicBezTo>
                    <a:cubicBezTo>
                      <a:pt x="639877" y="1126648"/>
                      <a:pt x="640117" y="1127067"/>
                      <a:pt x="640416" y="1127486"/>
                    </a:cubicBezTo>
                    <a:cubicBezTo>
                      <a:pt x="634315" y="1131732"/>
                      <a:pt x="628275" y="1135918"/>
                      <a:pt x="622175" y="1140225"/>
                    </a:cubicBezTo>
                    <a:cubicBezTo>
                      <a:pt x="614280" y="1145787"/>
                      <a:pt x="606386" y="1151409"/>
                      <a:pt x="598431" y="1156911"/>
                    </a:cubicBezTo>
                    <a:cubicBezTo>
                      <a:pt x="597534" y="1157509"/>
                      <a:pt x="596278" y="1157987"/>
                      <a:pt x="595202" y="1157808"/>
                    </a:cubicBezTo>
                    <a:cubicBezTo>
                      <a:pt x="565298" y="1153442"/>
                      <a:pt x="535394" y="1149016"/>
                      <a:pt x="504833" y="1144471"/>
                    </a:cubicBezTo>
                    <a:cubicBezTo>
                      <a:pt x="445564" y="998661"/>
                      <a:pt x="386115" y="852492"/>
                      <a:pt x="326607" y="70626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54" name="Vrije vorm: vorm 9253">
                <a:extLst>
                  <a:ext uri="{FF2B5EF4-FFF2-40B4-BE49-F238E27FC236}">
                    <a16:creationId xmlns:a16="http://schemas.microsoft.com/office/drawing/2014/main" id="{AB641EF2-E68F-43E7-9C70-8840A3979FFA}"/>
                  </a:ext>
                </a:extLst>
              </p:cNvPr>
              <p:cNvSpPr/>
              <p:nvPr/>
            </p:nvSpPr>
            <p:spPr>
              <a:xfrm>
                <a:off x="4812945" y="2191735"/>
                <a:ext cx="185402" cy="209983"/>
              </a:xfrm>
              <a:custGeom>
                <a:avLst/>
                <a:gdLst>
                  <a:gd name="connsiteX0" fmla="*/ 185163 w 185402"/>
                  <a:gd name="connsiteY0" fmla="*/ 121947 h 209983"/>
                  <a:gd name="connsiteX1" fmla="*/ 181037 w 185402"/>
                  <a:gd name="connsiteY1" fmla="*/ 113394 h 209983"/>
                  <a:gd name="connsiteX2" fmla="*/ 153645 w 185402"/>
                  <a:gd name="connsiteY2" fmla="*/ 131516 h 209983"/>
                  <a:gd name="connsiteX3" fmla="*/ 156516 w 185402"/>
                  <a:gd name="connsiteY3" fmla="*/ 138514 h 209983"/>
                  <a:gd name="connsiteX4" fmla="*/ 182532 w 185402"/>
                  <a:gd name="connsiteY4" fmla="*/ 121588 h 209983"/>
                  <a:gd name="connsiteX5" fmla="*/ 183309 w 185402"/>
                  <a:gd name="connsiteY5" fmla="*/ 122904 h 209983"/>
                  <a:gd name="connsiteX6" fmla="*/ 51853 w 185402"/>
                  <a:gd name="connsiteY6" fmla="*/ 209983 h 209983"/>
                  <a:gd name="connsiteX7" fmla="*/ 0 w 185402"/>
                  <a:gd name="connsiteY7" fmla="*/ 82594 h 209983"/>
                  <a:gd name="connsiteX8" fmla="*/ 135882 w 185402"/>
                  <a:gd name="connsiteY8" fmla="*/ 0 h 209983"/>
                  <a:gd name="connsiteX9" fmla="*/ 185402 w 185402"/>
                  <a:gd name="connsiteY9" fmla="*/ 121767 h 209983"/>
                  <a:gd name="connsiteX10" fmla="*/ 185163 w 185402"/>
                  <a:gd name="connsiteY10" fmla="*/ 121947 h 209983"/>
                  <a:gd name="connsiteX11" fmla="*/ 135583 w 185402"/>
                  <a:gd name="connsiteY11" fmla="*/ 95811 h 209983"/>
                  <a:gd name="connsiteX12" fmla="*/ 133550 w 185402"/>
                  <a:gd name="connsiteY12" fmla="*/ 88395 h 209983"/>
                  <a:gd name="connsiteX13" fmla="*/ 115189 w 185402"/>
                  <a:gd name="connsiteY13" fmla="*/ 43181 h 209983"/>
                  <a:gd name="connsiteX14" fmla="*/ 114351 w 185402"/>
                  <a:gd name="connsiteY14" fmla="*/ 43540 h 209983"/>
                  <a:gd name="connsiteX15" fmla="*/ 135583 w 185402"/>
                  <a:gd name="connsiteY15" fmla="*/ 95811 h 209983"/>
                  <a:gd name="connsiteX16" fmla="*/ 150834 w 185402"/>
                  <a:gd name="connsiteY16" fmla="*/ 133310 h 209983"/>
                  <a:gd name="connsiteX17" fmla="*/ 150714 w 185402"/>
                  <a:gd name="connsiteY17" fmla="*/ 133370 h 209983"/>
                  <a:gd name="connsiteX18" fmla="*/ 111062 w 185402"/>
                  <a:gd name="connsiteY18" fmla="*/ 43420 h 209983"/>
                  <a:gd name="connsiteX19" fmla="*/ 82355 w 185402"/>
                  <a:gd name="connsiteY19" fmla="*/ 61243 h 209983"/>
                  <a:gd name="connsiteX20" fmla="*/ 79603 w 185402"/>
                  <a:gd name="connsiteY20" fmla="*/ 64711 h 209983"/>
                  <a:gd name="connsiteX21" fmla="*/ 83072 w 185402"/>
                  <a:gd name="connsiteY21" fmla="*/ 70752 h 209983"/>
                  <a:gd name="connsiteX22" fmla="*/ 87259 w 185402"/>
                  <a:gd name="connsiteY22" fmla="*/ 72426 h 209983"/>
                  <a:gd name="connsiteX23" fmla="*/ 87678 w 185402"/>
                  <a:gd name="connsiteY23" fmla="*/ 73204 h 209983"/>
                  <a:gd name="connsiteX24" fmla="*/ 83611 w 185402"/>
                  <a:gd name="connsiteY24" fmla="*/ 73264 h 209983"/>
                  <a:gd name="connsiteX25" fmla="*/ 116205 w 185402"/>
                  <a:gd name="connsiteY25" fmla="*/ 153405 h 209983"/>
                  <a:gd name="connsiteX26" fmla="*/ 147963 w 185402"/>
                  <a:gd name="connsiteY26" fmla="*/ 135164 h 209983"/>
                  <a:gd name="connsiteX27" fmla="*/ 148442 w 185402"/>
                  <a:gd name="connsiteY27" fmla="*/ 135942 h 209983"/>
                  <a:gd name="connsiteX28" fmla="*/ 78288 w 185402"/>
                  <a:gd name="connsiteY28" fmla="*/ 182233 h 209983"/>
                  <a:gd name="connsiteX29" fmla="*/ 81338 w 185402"/>
                  <a:gd name="connsiteY29" fmla="*/ 188512 h 209983"/>
                  <a:gd name="connsiteX30" fmla="*/ 155200 w 185402"/>
                  <a:gd name="connsiteY30" fmla="*/ 139710 h 209983"/>
                  <a:gd name="connsiteX31" fmla="*/ 138215 w 185402"/>
                  <a:gd name="connsiteY31" fmla="*/ 98144 h 209983"/>
                  <a:gd name="connsiteX32" fmla="*/ 135583 w 185402"/>
                  <a:gd name="connsiteY32" fmla="*/ 95811 h 209983"/>
                  <a:gd name="connsiteX33" fmla="*/ 97247 w 185402"/>
                  <a:gd name="connsiteY33" fmla="*/ 44138 h 209983"/>
                  <a:gd name="connsiteX34" fmla="*/ 75596 w 185402"/>
                  <a:gd name="connsiteY34" fmla="*/ 58551 h 209983"/>
                  <a:gd name="connsiteX35" fmla="*/ 39353 w 185402"/>
                  <a:gd name="connsiteY35" fmla="*/ 81099 h 209983"/>
                  <a:gd name="connsiteX36" fmla="*/ 37081 w 185402"/>
                  <a:gd name="connsiteY36" fmla="*/ 84567 h 209983"/>
                  <a:gd name="connsiteX37" fmla="*/ 38695 w 185402"/>
                  <a:gd name="connsiteY37" fmla="*/ 85883 h 209983"/>
                  <a:gd name="connsiteX38" fmla="*/ 72546 w 185402"/>
                  <a:gd name="connsiteY38" fmla="*/ 65190 h 209983"/>
                  <a:gd name="connsiteX39" fmla="*/ 73264 w 185402"/>
                  <a:gd name="connsiteY39" fmla="*/ 66506 h 209983"/>
                  <a:gd name="connsiteX40" fmla="*/ 39533 w 185402"/>
                  <a:gd name="connsiteY40" fmla="*/ 87498 h 209983"/>
                  <a:gd name="connsiteX41" fmla="*/ 76135 w 185402"/>
                  <a:gd name="connsiteY41" fmla="*/ 177508 h 209983"/>
                  <a:gd name="connsiteX42" fmla="*/ 76733 w 185402"/>
                  <a:gd name="connsiteY42" fmla="*/ 177268 h 209983"/>
                  <a:gd name="connsiteX43" fmla="*/ 41028 w 185402"/>
                  <a:gd name="connsiteY43" fmla="*/ 89531 h 209983"/>
                  <a:gd name="connsiteX44" fmla="*/ 42344 w 185402"/>
                  <a:gd name="connsiteY44" fmla="*/ 88993 h 209983"/>
                  <a:gd name="connsiteX45" fmla="*/ 78527 w 185402"/>
                  <a:gd name="connsiteY45" fmla="*/ 177926 h 209983"/>
                  <a:gd name="connsiteX46" fmla="*/ 112737 w 185402"/>
                  <a:gd name="connsiteY46" fmla="*/ 157652 h 209983"/>
                  <a:gd name="connsiteX47" fmla="*/ 74640 w 185402"/>
                  <a:gd name="connsiteY47" fmla="*/ 63994 h 209983"/>
                  <a:gd name="connsiteX48" fmla="*/ 76613 w 185402"/>
                  <a:gd name="connsiteY48" fmla="*/ 62020 h 209983"/>
                  <a:gd name="connsiteX49" fmla="*/ 109268 w 185402"/>
                  <a:gd name="connsiteY49" fmla="*/ 42284 h 209983"/>
                  <a:gd name="connsiteX50" fmla="*/ 113215 w 185402"/>
                  <a:gd name="connsiteY50" fmla="*/ 38217 h 209983"/>
                  <a:gd name="connsiteX51" fmla="*/ 111899 w 185402"/>
                  <a:gd name="connsiteY51" fmla="*/ 36781 h 209983"/>
                  <a:gd name="connsiteX52" fmla="*/ 97067 w 185402"/>
                  <a:gd name="connsiteY52" fmla="*/ 44198 h 209983"/>
                  <a:gd name="connsiteX53" fmla="*/ 111660 w 185402"/>
                  <a:gd name="connsiteY53" fmla="*/ 34389 h 209983"/>
                  <a:gd name="connsiteX54" fmla="*/ 107115 w 185402"/>
                  <a:gd name="connsiteY54" fmla="*/ 23205 h 209983"/>
                  <a:gd name="connsiteX55" fmla="*/ 108670 w 185402"/>
                  <a:gd name="connsiteY55" fmla="*/ 22607 h 209983"/>
                  <a:gd name="connsiteX56" fmla="*/ 151671 w 185402"/>
                  <a:gd name="connsiteY56" fmla="*/ 128286 h 209983"/>
                  <a:gd name="connsiteX57" fmla="*/ 152150 w 185402"/>
                  <a:gd name="connsiteY57" fmla="*/ 128047 h 209983"/>
                  <a:gd name="connsiteX58" fmla="*/ 107773 w 185402"/>
                  <a:gd name="connsiteY58" fmla="*/ 18899 h 209983"/>
                  <a:gd name="connsiteX59" fmla="*/ 2093 w 185402"/>
                  <a:gd name="connsiteY59" fmla="*/ 83192 h 209983"/>
                  <a:gd name="connsiteX60" fmla="*/ 48982 w 185402"/>
                  <a:gd name="connsiteY60" fmla="*/ 198440 h 209983"/>
                  <a:gd name="connsiteX61" fmla="*/ 71530 w 185402"/>
                  <a:gd name="connsiteY61" fmla="*/ 183488 h 209983"/>
                  <a:gd name="connsiteX62" fmla="*/ 26315 w 185402"/>
                  <a:gd name="connsiteY62" fmla="*/ 72367 h 209983"/>
                  <a:gd name="connsiteX63" fmla="*/ 27571 w 185402"/>
                  <a:gd name="connsiteY63" fmla="*/ 71828 h 209983"/>
                  <a:gd name="connsiteX64" fmla="*/ 73264 w 185402"/>
                  <a:gd name="connsiteY64" fmla="*/ 184087 h 209983"/>
                  <a:gd name="connsiteX65" fmla="*/ 50118 w 185402"/>
                  <a:gd name="connsiteY65" fmla="*/ 199278 h 209983"/>
                  <a:gd name="connsiteX66" fmla="*/ 53169 w 185402"/>
                  <a:gd name="connsiteY66" fmla="*/ 206813 h 209983"/>
                  <a:gd name="connsiteX67" fmla="*/ 78826 w 185402"/>
                  <a:gd name="connsiteY67" fmla="*/ 189768 h 209983"/>
                  <a:gd name="connsiteX68" fmla="*/ 30382 w 185402"/>
                  <a:gd name="connsiteY68" fmla="*/ 70632 h 209983"/>
                  <a:gd name="connsiteX69" fmla="*/ 31040 w 185402"/>
                  <a:gd name="connsiteY69" fmla="*/ 70273 h 209983"/>
                  <a:gd name="connsiteX70" fmla="*/ 36124 w 185402"/>
                  <a:gd name="connsiteY70" fmla="*/ 80919 h 209983"/>
                  <a:gd name="connsiteX71" fmla="*/ 97247 w 185402"/>
                  <a:gd name="connsiteY71" fmla="*/ 44138 h 209983"/>
                  <a:gd name="connsiteX72" fmla="*/ 134746 w 185402"/>
                  <a:gd name="connsiteY72" fmla="*/ 7655 h 209983"/>
                  <a:gd name="connsiteX73" fmla="*/ 135762 w 185402"/>
                  <a:gd name="connsiteY73" fmla="*/ 6938 h 209983"/>
                  <a:gd name="connsiteX74" fmla="*/ 178704 w 185402"/>
                  <a:gd name="connsiteY74" fmla="*/ 112437 h 209983"/>
                  <a:gd name="connsiteX75" fmla="*/ 179960 w 185402"/>
                  <a:gd name="connsiteY75" fmla="*/ 111899 h 209983"/>
                  <a:gd name="connsiteX76" fmla="*/ 135404 w 185402"/>
                  <a:gd name="connsiteY76" fmla="*/ 2332 h 209983"/>
                  <a:gd name="connsiteX77" fmla="*/ 113156 w 185402"/>
                  <a:gd name="connsiteY77" fmla="*/ 15669 h 209983"/>
                  <a:gd name="connsiteX78" fmla="*/ 111182 w 185402"/>
                  <a:gd name="connsiteY78" fmla="*/ 22667 h 209983"/>
                  <a:gd name="connsiteX79" fmla="*/ 136540 w 185402"/>
                  <a:gd name="connsiteY79" fmla="*/ 83371 h 209983"/>
                  <a:gd name="connsiteX80" fmla="*/ 142341 w 185402"/>
                  <a:gd name="connsiteY80" fmla="*/ 89173 h 209983"/>
                  <a:gd name="connsiteX81" fmla="*/ 143059 w 185402"/>
                  <a:gd name="connsiteY81" fmla="*/ 90010 h 209983"/>
                  <a:gd name="connsiteX82" fmla="*/ 140069 w 185402"/>
                  <a:gd name="connsiteY82" fmla="*/ 90369 h 209983"/>
                  <a:gd name="connsiteX83" fmla="*/ 155559 w 185402"/>
                  <a:gd name="connsiteY83" fmla="*/ 128406 h 209983"/>
                  <a:gd name="connsiteX84" fmla="*/ 175295 w 185402"/>
                  <a:gd name="connsiteY84" fmla="*/ 115308 h 209983"/>
                  <a:gd name="connsiteX85" fmla="*/ 176312 w 185402"/>
                  <a:gd name="connsiteY85" fmla="*/ 109627 h 209983"/>
                  <a:gd name="connsiteX86" fmla="*/ 167161 w 185402"/>
                  <a:gd name="connsiteY86" fmla="*/ 87019 h 209983"/>
                  <a:gd name="connsiteX87" fmla="*/ 134746 w 185402"/>
                  <a:gd name="connsiteY87" fmla="*/ 7655 h 209983"/>
                  <a:gd name="connsiteX88" fmla="*/ 113335 w 185402"/>
                  <a:gd name="connsiteY88" fmla="*/ 153166 h 209983"/>
                  <a:gd name="connsiteX89" fmla="*/ 113933 w 185402"/>
                  <a:gd name="connsiteY89" fmla="*/ 152987 h 209983"/>
                  <a:gd name="connsiteX90" fmla="*/ 78408 w 185402"/>
                  <a:gd name="connsiteY90" fmla="*/ 65728 h 209983"/>
                  <a:gd name="connsiteX91" fmla="*/ 77869 w 185402"/>
                  <a:gd name="connsiteY91" fmla="*/ 65967 h 209983"/>
                  <a:gd name="connsiteX92" fmla="*/ 113335 w 185402"/>
                  <a:gd name="connsiteY92" fmla="*/ 153166 h 209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85402" h="209983">
                    <a:moveTo>
                      <a:pt x="185163" y="121947"/>
                    </a:moveTo>
                    <a:cubicBezTo>
                      <a:pt x="183907" y="119315"/>
                      <a:pt x="182652" y="116684"/>
                      <a:pt x="181037" y="113394"/>
                    </a:cubicBezTo>
                    <a:cubicBezTo>
                      <a:pt x="171707" y="119555"/>
                      <a:pt x="162736" y="125535"/>
                      <a:pt x="153645" y="131516"/>
                    </a:cubicBezTo>
                    <a:cubicBezTo>
                      <a:pt x="154662" y="133968"/>
                      <a:pt x="155379" y="135822"/>
                      <a:pt x="156516" y="138514"/>
                    </a:cubicBezTo>
                    <a:cubicBezTo>
                      <a:pt x="165307" y="132772"/>
                      <a:pt x="173920" y="127210"/>
                      <a:pt x="182532" y="121588"/>
                    </a:cubicBezTo>
                    <a:cubicBezTo>
                      <a:pt x="182771" y="122007"/>
                      <a:pt x="183070" y="122425"/>
                      <a:pt x="183309" y="122904"/>
                    </a:cubicBezTo>
                    <a:cubicBezTo>
                      <a:pt x="139829" y="151671"/>
                      <a:pt x="96350" y="180498"/>
                      <a:pt x="51853" y="209983"/>
                    </a:cubicBezTo>
                    <a:cubicBezTo>
                      <a:pt x="34808" y="168058"/>
                      <a:pt x="17464" y="125475"/>
                      <a:pt x="0" y="82594"/>
                    </a:cubicBezTo>
                    <a:cubicBezTo>
                      <a:pt x="44437" y="55621"/>
                      <a:pt x="89950" y="27930"/>
                      <a:pt x="135882" y="0"/>
                    </a:cubicBezTo>
                    <a:cubicBezTo>
                      <a:pt x="152329" y="40489"/>
                      <a:pt x="168896" y="81158"/>
                      <a:pt x="185402" y="121767"/>
                    </a:cubicBezTo>
                    <a:cubicBezTo>
                      <a:pt x="185283" y="121827"/>
                      <a:pt x="185223" y="121887"/>
                      <a:pt x="185163" y="121947"/>
                    </a:cubicBezTo>
                    <a:close/>
                    <a:moveTo>
                      <a:pt x="135583" y="95811"/>
                    </a:moveTo>
                    <a:cubicBezTo>
                      <a:pt x="134925" y="93359"/>
                      <a:pt x="134447" y="90727"/>
                      <a:pt x="133550" y="88395"/>
                    </a:cubicBezTo>
                    <a:cubicBezTo>
                      <a:pt x="127509" y="73324"/>
                      <a:pt x="121349" y="58252"/>
                      <a:pt x="115189" y="43181"/>
                    </a:cubicBezTo>
                    <a:cubicBezTo>
                      <a:pt x="114890" y="43300"/>
                      <a:pt x="114651" y="43420"/>
                      <a:pt x="114351" y="43540"/>
                    </a:cubicBezTo>
                    <a:cubicBezTo>
                      <a:pt x="121409" y="60943"/>
                      <a:pt x="128466" y="78347"/>
                      <a:pt x="135583" y="95811"/>
                    </a:cubicBezTo>
                    <a:cubicBezTo>
                      <a:pt x="140667" y="108311"/>
                      <a:pt x="145750" y="120810"/>
                      <a:pt x="150834" y="133310"/>
                    </a:cubicBezTo>
                    <a:cubicBezTo>
                      <a:pt x="150774" y="133310"/>
                      <a:pt x="150774" y="133370"/>
                      <a:pt x="150714" y="133370"/>
                    </a:cubicBezTo>
                    <a:cubicBezTo>
                      <a:pt x="137497" y="103466"/>
                      <a:pt x="124339" y="73503"/>
                      <a:pt x="111062" y="43420"/>
                    </a:cubicBezTo>
                    <a:cubicBezTo>
                      <a:pt x="101493" y="49341"/>
                      <a:pt x="91864" y="55202"/>
                      <a:pt x="82355" y="61243"/>
                    </a:cubicBezTo>
                    <a:cubicBezTo>
                      <a:pt x="81158" y="62020"/>
                      <a:pt x="79364" y="63754"/>
                      <a:pt x="79603" y="64711"/>
                    </a:cubicBezTo>
                    <a:cubicBezTo>
                      <a:pt x="80142" y="66864"/>
                      <a:pt x="81517" y="69077"/>
                      <a:pt x="83072" y="70752"/>
                    </a:cubicBezTo>
                    <a:cubicBezTo>
                      <a:pt x="84029" y="71769"/>
                      <a:pt x="85824" y="71888"/>
                      <a:pt x="87259" y="72426"/>
                    </a:cubicBezTo>
                    <a:cubicBezTo>
                      <a:pt x="87438" y="72486"/>
                      <a:pt x="87498" y="72905"/>
                      <a:pt x="87678" y="73204"/>
                    </a:cubicBezTo>
                    <a:cubicBezTo>
                      <a:pt x="86123" y="73204"/>
                      <a:pt x="84687" y="73264"/>
                      <a:pt x="83611" y="73264"/>
                    </a:cubicBezTo>
                    <a:cubicBezTo>
                      <a:pt x="94555" y="100117"/>
                      <a:pt x="105321" y="126612"/>
                      <a:pt x="116205" y="153405"/>
                    </a:cubicBezTo>
                    <a:cubicBezTo>
                      <a:pt x="127150" y="147126"/>
                      <a:pt x="137557" y="141145"/>
                      <a:pt x="147963" y="135164"/>
                    </a:cubicBezTo>
                    <a:cubicBezTo>
                      <a:pt x="148143" y="135403"/>
                      <a:pt x="148262" y="135703"/>
                      <a:pt x="148442" y="135942"/>
                    </a:cubicBezTo>
                    <a:cubicBezTo>
                      <a:pt x="125117" y="151312"/>
                      <a:pt x="101852" y="166683"/>
                      <a:pt x="78288" y="182233"/>
                    </a:cubicBezTo>
                    <a:cubicBezTo>
                      <a:pt x="79424" y="184625"/>
                      <a:pt x="80262" y="186359"/>
                      <a:pt x="81338" y="188512"/>
                    </a:cubicBezTo>
                    <a:cubicBezTo>
                      <a:pt x="106218" y="172065"/>
                      <a:pt x="130679" y="155858"/>
                      <a:pt x="155200" y="139710"/>
                    </a:cubicBezTo>
                    <a:cubicBezTo>
                      <a:pt x="149459" y="125535"/>
                      <a:pt x="143896" y="111839"/>
                      <a:pt x="138215" y="98144"/>
                    </a:cubicBezTo>
                    <a:cubicBezTo>
                      <a:pt x="137676" y="97187"/>
                      <a:pt x="136420" y="96589"/>
                      <a:pt x="135583" y="95811"/>
                    </a:cubicBezTo>
                    <a:close/>
                    <a:moveTo>
                      <a:pt x="97247" y="44138"/>
                    </a:moveTo>
                    <a:cubicBezTo>
                      <a:pt x="90070" y="48982"/>
                      <a:pt x="82953" y="53946"/>
                      <a:pt x="75596" y="58551"/>
                    </a:cubicBezTo>
                    <a:cubicBezTo>
                      <a:pt x="63575" y="66147"/>
                      <a:pt x="51434" y="73503"/>
                      <a:pt x="39353" y="81099"/>
                    </a:cubicBezTo>
                    <a:cubicBezTo>
                      <a:pt x="38337" y="81756"/>
                      <a:pt x="37858" y="83431"/>
                      <a:pt x="37081" y="84567"/>
                    </a:cubicBezTo>
                    <a:cubicBezTo>
                      <a:pt x="37619" y="84986"/>
                      <a:pt x="38157" y="85464"/>
                      <a:pt x="38695" y="85883"/>
                    </a:cubicBezTo>
                    <a:cubicBezTo>
                      <a:pt x="49999" y="79005"/>
                      <a:pt x="61243" y="72127"/>
                      <a:pt x="72546" y="65190"/>
                    </a:cubicBezTo>
                    <a:cubicBezTo>
                      <a:pt x="72786" y="65608"/>
                      <a:pt x="73025" y="66087"/>
                      <a:pt x="73264" y="66506"/>
                    </a:cubicBezTo>
                    <a:cubicBezTo>
                      <a:pt x="61901" y="73623"/>
                      <a:pt x="50477" y="80680"/>
                      <a:pt x="39533" y="87498"/>
                    </a:cubicBezTo>
                    <a:cubicBezTo>
                      <a:pt x="51853" y="117760"/>
                      <a:pt x="63994" y="147664"/>
                      <a:pt x="76135" y="177508"/>
                    </a:cubicBezTo>
                    <a:cubicBezTo>
                      <a:pt x="76314" y="177448"/>
                      <a:pt x="76554" y="177328"/>
                      <a:pt x="76733" y="177268"/>
                    </a:cubicBezTo>
                    <a:cubicBezTo>
                      <a:pt x="64831" y="148023"/>
                      <a:pt x="52930" y="118777"/>
                      <a:pt x="41028" y="89531"/>
                    </a:cubicBezTo>
                    <a:cubicBezTo>
                      <a:pt x="41446" y="89352"/>
                      <a:pt x="41865" y="89173"/>
                      <a:pt x="42344" y="88993"/>
                    </a:cubicBezTo>
                    <a:cubicBezTo>
                      <a:pt x="54365" y="118598"/>
                      <a:pt x="66446" y="148202"/>
                      <a:pt x="78527" y="177926"/>
                    </a:cubicBezTo>
                    <a:cubicBezTo>
                      <a:pt x="90428" y="170869"/>
                      <a:pt x="101313" y="164410"/>
                      <a:pt x="112737" y="157652"/>
                    </a:cubicBezTo>
                    <a:cubicBezTo>
                      <a:pt x="99938" y="126193"/>
                      <a:pt x="87259" y="95034"/>
                      <a:pt x="74640" y="63994"/>
                    </a:cubicBezTo>
                    <a:cubicBezTo>
                      <a:pt x="75596" y="63037"/>
                      <a:pt x="76015" y="62379"/>
                      <a:pt x="76613" y="62020"/>
                    </a:cubicBezTo>
                    <a:cubicBezTo>
                      <a:pt x="87498" y="55441"/>
                      <a:pt x="98443" y="48982"/>
                      <a:pt x="109268" y="42284"/>
                    </a:cubicBezTo>
                    <a:cubicBezTo>
                      <a:pt x="110823" y="41327"/>
                      <a:pt x="111899" y="39592"/>
                      <a:pt x="113215" y="38217"/>
                    </a:cubicBezTo>
                    <a:cubicBezTo>
                      <a:pt x="112797" y="37738"/>
                      <a:pt x="112378" y="37260"/>
                      <a:pt x="111899" y="36781"/>
                    </a:cubicBezTo>
                    <a:cubicBezTo>
                      <a:pt x="106935" y="39234"/>
                      <a:pt x="102031" y="41745"/>
                      <a:pt x="97067" y="44198"/>
                    </a:cubicBezTo>
                    <a:cubicBezTo>
                      <a:pt x="101792" y="40968"/>
                      <a:pt x="106577" y="37798"/>
                      <a:pt x="111660" y="34389"/>
                    </a:cubicBezTo>
                    <a:cubicBezTo>
                      <a:pt x="109986" y="30322"/>
                      <a:pt x="108550" y="26794"/>
                      <a:pt x="107115" y="23205"/>
                    </a:cubicBezTo>
                    <a:cubicBezTo>
                      <a:pt x="107653" y="23026"/>
                      <a:pt x="108132" y="22787"/>
                      <a:pt x="108670" y="22607"/>
                    </a:cubicBezTo>
                    <a:cubicBezTo>
                      <a:pt x="123024" y="57834"/>
                      <a:pt x="137318" y="93060"/>
                      <a:pt x="151671" y="128286"/>
                    </a:cubicBezTo>
                    <a:cubicBezTo>
                      <a:pt x="151851" y="128227"/>
                      <a:pt x="152030" y="128107"/>
                      <a:pt x="152150" y="128047"/>
                    </a:cubicBezTo>
                    <a:cubicBezTo>
                      <a:pt x="137437" y="91804"/>
                      <a:pt x="122665" y="55621"/>
                      <a:pt x="107773" y="18899"/>
                    </a:cubicBezTo>
                    <a:cubicBezTo>
                      <a:pt x="71769" y="40848"/>
                      <a:pt x="36483" y="62259"/>
                      <a:pt x="2093" y="83192"/>
                    </a:cubicBezTo>
                    <a:cubicBezTo>
                      <a:pt x="17942" y="122126"/>
                      <a:pt x="33373" y="160044"/>
                      <a:pt x="48982" y="198440"/>
                    </a:cubicBezTo>
                    <a:cubicBezTo>
                      <a:pt x="57236" y="192998"/>
                      <a:pt x="64472" y="188213"/>
                      <a:pt x="71530" y="183488"/>
                    </a:cubicBezTo>
                    <a:cubicBezTo>
                      <a:pt x="56279" y="145989"/>
                      <a:pt x="41327" y="109148"/>
                      <a:pt x="26315" y="72367"/>
                    </a:cubicBezTo>
                    <a:cubicBezTo>
                      <a:pt x="26734" y="72187"/>
                      <a:pt x="27153" y="72008"/>
                      <a:pt x="27571" y="71828"/>
                    </a:cubicBezTo>
                    <a:cubicBezTo>
                      <a:pt x="42822" y="109328"/>
                      <a:pt x="58073" y="146827"/>
                      <a:pt x="73264" y="184087"/>
                    </a:cubicBezTo>
                    <a:cubicBezTo>
                      <a:pt x="65848" y="188931"/>
                      <a:pt x="58013" y="194134"/>
                      <a:pt x="50118" y="199278"/>
                    </a:cubicBezTo>
                    <a:cubicBezTo>
                      <a:pt x="51255" y="202029"/>
                      <a:pt x="52152" y="204242"/>
                      <a:pt x="53169" y="206813"/>
                    </a:cubicBezTo>
                    <a:cubicBezTo>
                      <a:pt x="61901" y="201012"/>
                      <a:pt x="70333" y="195390"/>
                      <a:pt x="78826" y="189768"/>
                    </a:cubicBezTo>
                    <a:cubicBezTo>
                      <a:pt x="62499" y="149638"/>
                      <a:pt x="46410" y="110165"/>
                      <a:pt x="30382" y="70632"/>
                    </a:cubicBezTo>
                    <a:cubicBezTo>
                      <a:pt x="30621" y="70513"/>
                      <a:pt x="30801" y="70393"/>
                      <a:pt x="31040" y="70273"/>
                    </a:cubicBezTo>
                    <a:cubicBezTo>
                      <a:pt x="32715" y="73802"/>
                      <a:pt x="34389" y="77331"/>
                      <a:pt x="36124" y="80919"/>
                    </a:cubicBezTo>
                    <a:cubicBezTo>
                      <a:pt x="56817" y="68599"/>
                      <a:pt x="77032" y="56338"/>
                      <a:pt x="97247" y="44138"/>
                    </a:cubicBezTo>
                    <a:close/>
                    <a:moveTo>
                      <a:pt x="134746" y="7655"/>
                    </a:moveTo>
                    <a:cubicBezTo>
                      <a:pt x="135105" y="7416"/>
                      <a:pt x="135404" y="7177"/>
                      <a:pt x="135762" y="6938"/>
                    </a:cubicBezTo>
                    <a:cubicBezTo>
                      <a:pt x="150056" y="42104"/>
                      <a:pt x="164351" y="77271"/>
                      <a:pt x="178704" y="112437"/>
                    </a:cubicBezTo>
                    <a:cubicBezTo>
                      <a:pt x="179123" y="112258"/>
                      <a:pt x="179541" y="112079"/>
                      <a:pt x="179960" y="111899"/>
                    </a:cubicBezTo>
                    <a:cubicBezTo>
                      <a:pt x="165188" y="75537"/>
                      <a:pt x="150415" y="39174"/>
                      <a:pt x="135404" y="2332"/>
                    </a:cubicBezTo>
                    <a:cubicBezTo>
                      <a:pt x="127509" y="7117"/>
                      <a:pt x="120452" y="11603"/>
                      <a:pt x="113156" y="15669"/>
                    </a:cubicBezTo>
                    <a:cubicBezTo>
                      <a:pt x="110045" y="17404"/>
                      <a:pt x="109687" y="19138"/>
                      <a:pt x="111182" y="22667"/>
                    </a:cubicBezTo>
                    <a:cubicBezTo>
                      <a:pt x="119674" y="42882"/>
                      <a:pt x="127928" y="63216"/>
                      <a:pt x="136540" y="83371"/>
                    </a:cubicBezTo>
                    <a:cubicBezTo>
                      <a:pt x="137557" y="85704"/>
                      <a:pt x="140368" y="87259"/>
                      <a:pt x="142341" y="89173"/>
                    </a:cubicBezTo>
                    <a:cubicBezTo>
                      <a:pt x="142581" y="89412"/>
                      <a:pt x="142760" y="89651"/>
                      <a:pt x="143059" y="90010"/>
                    </a:cubicBezTo>
                    <a:cubicBezTo>
                      <a:pt x="141863" y="90130"/>
                      <a:pt x="140786" y="90249"/>
                      <a:pt x="140069" y="90369"/>
                    </a:cubicBezTo>
                    <a:cubicBezTo>
                      <a:pt x="145272" y="103108"/>
                      <a:pt x="150296" y="115607"/>
                      <a:pt x="155559" y="128406"/>
                    </a:cubicBezTo>
                    <a:cubicBezTo>
                      <a:pt x="162616" y="123801"/>
                      <a:pt x="169135" y="119854"/>
                      <a:pt x="175295" y="115308"/>
                    </a:cubicBezTo>
                    <a:cubicBezTo>
                      <a:pt x="176431" y="114471"/>
                      <a:pt x="176910" y="111301"/>
                      <a:pt x="176312" y="109627"/>
                    </a:cubicBezTo>
                    <a:cubicBezTo>
                      <a:pt x="173501" y="102031"/>
                      <a:pt x="170271" y="94555"/>
                      <a:pt x="167161" y="87019"/>
                    </a:cubicBezTo>
                    <a:cubicBezTo>
                      <a:pt x="156276" y="60645"/>
                      <a:pt x="145511" y="34150"/>
                      <a:pt x="134746" y="7655"/>
                    </a:cubicBezTo>
                    <a:close/>
                    <a:moveTo>
                      <a:pt x="113335" y="153166"/>
                    </a:moveTo>
                    <a:cubicBezTo>
                      <a:pt x="113514" y="153107"/>
                      <a:pt x="113694" y="153047"/>
                      <a:pt x="113933" y="152987"/>
                    </a:cubicBezTo>
                    <a:cubicBezTo>
                      <a:pt x="102091" y="123921"/>
                      <a:pt x="90249" y="94794"/>
                      <a:pt x="78408" y="65728"/>
                    </a:cubicBezTo>
                    <a:cubicBezTo>
                      <a:pt x="78228" y="65788"/>
                      <a:pt x="78049" y="65907"/>
                      <a:pt x="77869" y="65967"/>
                    </a:cubicBezTo>
                    <a:cubicBezTo>
                      <a:pt x="89711" y="94974"/>
                      <a:pt x="101493" y="124100"/>
                      <a:pt x="113335" y="15316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55" name="Vrije vorm: vorm 9254">
                <a:extLst>
                  <a:ext uri="{FF2B5EF4-FFF2-40B4-BE49-F238E27FC236}">
                    <a16:creationId xmlns:a16="http://schemas.microsoft.com/office/drawing/2014/main" id="{B05160ED-BDAC-44E2-9222-8F22581BE847}"/>
                  </a:ext>
                </a:extLst>
              </p:cNvPr>
              <p:cNvSpPr/>
              <p:nvPr/>
            </p:nvSpPr>
            <p:spPr>
              <a:xfrm>
                <a:off x="4596204" y="2199331"/>
                <a:ext cx="131755" cy="150893"/>
              </a:xfrm>
              <a:custGeom>
                <a:avLst/>
                <a:gdLst>
                  <a:gd name="connsiteX0" fmla="*/ 44018 w 131755"/>
                  <a:gd name="connsiteY0" fmla="*/ 16925 h 150893"/>
                  <a:gd name="connsiteX1" fmla="*/ 67582 w 131755"/>
                  <a:gd name="connsiteY1" fmla="*/ 74938 h 150893"/>
                  <a:gd name="connsiteX2" fmla="*/ 69077 w 131755"/>
                  <a:gd name="connsiteY2" fmla="*/ 74281 h 150893"/>
                  <a:gd name="connsiteX3" fmla="*/ 48264 w 131755"/>
                  <a:gd name="connsiteY3" fmla="*/ 23086 h 150893"/>
                  <a:gd name="connsiteX4" fmla="*/ 49640 w 131755"/>
                  <a:gd name="connsiteY4" fmla="*/ 22547 h 150893"/>
                  <a:gd name="connsiteX5" fmla="*/ 70393 w 131755"/>
                  <a:gd name="connsiteY5" fmla="*/ 73503 h 150893"/>
                  <a:gd name="connsiteX6" fmla="*/ 74161 w 131755"/>
                  <a:gd name="connsiteY6" fmla="*/ 66207 h 150893"/>
                  <a:gd name="connsiteX7" fmla="*/ 57475 w 131755"/>
                  <a:gd name="connsiteY7" fmla="*/ 27631 h 150893"/>
                  <a:gd name="connsiteX8" fmla="*/ 55023 w 131755"/>
                  <a:gd name="connsiteY8" fmla="*/ 21650 h 150893"/>
                  <a:gd name="connsiteX9" fmla="*/ 56398 w 131755"/>
                  <a:gd name="connsiteY9" fmla="*/ 21112 h 150893"/>
                  <a:gd name="connsiteX10" fmla="*/ 75836 w 131755"/>
                  <a:gd name="connsiteY10" fmla="*/ 68898 h 150893"/>
                  <a:gd name="connsiteX11" fmla="*/ 76793 w 131755"/>
                  <a:gd name="connsiteY11" fmla="*/ 68479 h 150893"/>
                  <a:gd name="connsiteX12" fmla="*/ 59329 w 131755"/>
                  <a:gd name="connsiteY12" fmla="*/ 25538 h 150893"/>
                  <a:gd name="connsiteX13" fmla="*/ 60166 w 131755"/>
                  <a:gd name="connsiteY13" fmla="*/ 25119 h 150893"/>
                  <a:gd name="connsiteX14" fmla="*/ 78288 w 131755"/>
                  <a:gd name="connsiteY14" fmla="*/ 69675 h 150893"/>
                  <a:gd name="connsiteX15" fmla="*/ 83910 w 131755"/>
                  <a:gd name="connsiteY15" fmla="*/ 66386 h 150893"/>
                  <a:gd name="connsiteX16" fmla="*/ 72008 w 131755"/>
                  <a:gd name="connsiteY16" fmla="*/ 30561 h 150893"/>
                  <a:gd name="connsiteX17" fmla="*/ 72785 w 131755"/>
                  <a:gd name="connsiteY17" fmla="*/ 30203 h 150893"/>
                  <a:gd name="connsiteX18" fmla="*/ 86780 w 131755"/>
                  <a:gd name="connsiteY18" fmla="*/ 64592 h 150893"/>
                  <a:gd name="connsiteX19" fmla="*/ 92402 w 131755"/>
                  <a:gd name="connsiteY19" fmla="*/ 61482 h 150893"/>
                  <a:gd name="connsiteX20" fmla="*/ 82953 w 131755"/>
                  <a:gd name="connsiteY20" fmla="*/ 38277 h 150893"/>
                  <a:gd name="connsiteX21" fmla="*/ 84089 w 131755"/>
                  <a:gd name="connsiteY21" fmla="*/ 37798 h 150893"/>
                  <a:gd name="connsiteX22" fmla="*/ 131755 w 131755"/>
                  <a:gd name="connsiteY22" fmla="*/ 150236 h 150893"/>
                  <a:gd name="connsiteX23" fmla="*/ 130200 w 131755"/>
                  <a:gd name="connsiteY23" fmla="*/ 150894 h 150893"/>
                  <a:gd name="connsiteX24" fmla="*/ 94316 w 131755"/>
                  <a:gd name="connsiteY24" fmla="*/ 62678 h 150893"/>
                  <a:gd name="connsiteX25" fmla="*/ 88096 w 131755"/>
                  <a:gd name="connsiteY25" fmla="*/ 65788 h 150893"/>
                  <a:gd name="connsiteX26" fmla="*/ 92701 w 131755"/>
                  <a:gd name="connsiteY26" fmla="*/ 72187 h 150893"/>
                  <a:gd name="connsiteX27" fmla="*/ 93598 w 131755"/>
                  <a:gd name="connsiteY27" fmla="*/ 79424 h 150893"/>
                  <a:gd name="connsiteX28" fmla="*/ 119196 w 131755"/>
                  <a:gd name="connsiteY28" fmla="*/ 140069 h 150893"/>
                  <a:gd name="connsiteX29" fmla="*/ 120452 w 131755"/>
                  <a:gd name="connsiteY29" fmla="*/ 146169 h 150893"/>
                  <a:gd name="connsiteX30" fmla="*/ 115309 w 131755"/>
                  <a:gd name="connsiteY30" fmla="*/ 138753 h 150893"/>
                  <a:gd name="connsiteX31" fmla="*/ 91864 w 131755"/>
                  <a:gd name="connsiteY31" fmla="*/ 83790 h 150893"/>
                  <a:gd name="connsiteX32" fmla="*/ 88933 w 131755"/>
                  <a:gd name="connsiteY32" fmla="*/ 76553 h 150893"/>
                  <a:gd name="connsiteX33" fmla="*/ 84866 w 131755"/>
                  <a:gd name="connsiteY33" fmla="*/ 84029 h 150893"/>
                  <a:gd name="connsiteX34" fmla="*/ 105979 w 131755"/>
                  <a:gd name="connsiteY34" fmla="*/ 133310 h 150893"/>
                  <a:gd name="connsiteX35" fmla="*/ 107294 w 131755"/>
                  <a:gd name="connsiteY35" fmla="*/ 139112 h 150893"/>
                  <a:gd name="connsiteX36" fmla="*/ 96589 w 131755"/>
                  <a:gd name="connsiteY36" fmla="*/ 112737 h 150893"/>
                  <a:gd name="connsiteX37" fmla="*/ 95692 w 131755"/>
                  <a:gd name="connsiteY37" fmla="*/ 113095 h 150893"/>
                  <a:gd name="connsiteX38" fmla="*/ 104125 w 131755"/>
                  <a:gd name="connsiteY38" fmla="*/ 133789 h 150893"/>
                  <a:gd name="connsiteX39" fmla="*/ 102570 w 131755"/>
                  <a:gd name="connsiteY39" fmla="*/ 134447 h 150893"/>
                  <a:gd name="connsiteX40" fmla="*/ 80919 w 131755"/>
                  <a:gd name="connsiteY40" fmla="*/ 81218 h 150893"/>
                  <a:gd name="connsiteX41" fmla="*/ 76912 w 131755"/>
                  <a:gd name="connsiteY41" fmla="*/ 88216 h 150893"/>
                  <a:gd name="connsiteX42" fmla="*/ 91505 w 131755"/>
                  <a:gd name="connsiteY42" fmla="*/ 123083 h 150893"/>
                  <a:gd name="connsiteX43" fmla="*/ 93897 w 131755"/>
                  <a:gd name="connsiteY43" fmla="*/ 128944 h 150893"/>
                  <a:gd name="connsiteX44" fmla="*/ 92223 w 131755"/>
                  <a:gd name="connsiteY44" fmla="*/ 129602 h 150893"/>
                  <a:gd name="connsiteX45" fmla="*/ 74161 w 131755"/>
                  <a:gd name="connsiteY45" fmla="*/ 85165 h 150893"/>
                  <a:gd name="connsiteX46" fmla="*/ 72726 w 131755"/>
                  <a:gd name="connsiteY46" fmla="*/ 85823 h 150893"/>
                  <a:gd name="connsiteX47" fmla="*/ 89771 w 131755"/>
                  <a:gd name="connsiteY47" fmla="*/ 127748 h 150893"/>
                  <a:gd name="connsiteX48" fmla="*/ 88515 w 131755"/>
                  <a:gd name="connsiteY48" fmla="*/ 128287 h 150893"/>
                  <a:gd name="connsiteX49" fmla="*/ 71410 w 131755"/>
                  <a:gd name="connsiteY49" fmla="*/ 86242 h 150893"/>
                  <a:gd name="connsiteX50" fmla="*/ 66565 w 131755"/>
                  <a:gd name="connsiteY50" fmla="*/ 89173 h 150893"/>
                  <a:gd name="connsiteX51" fmla="*/ 80202 w 131755"/>
                  <a:gd name="connsiteY51" fmla="*/ 122665 h 150893"/>
                  <a:gd name="connsiteX52" fmla="*/ 79065 w 131755"/>
                  <a:gd name="connsiteY52" fmla="*/ 123143 h 150893"/>
                  <a:gd name="connsiteX53" fmla="*/ 65728 w 131755"/>
                  <a:gd name="connsiteY53" fmla="*/ 90309 h 150893"/>
                  <a:gd name="connsiteX54" fmla="*/ 64353 w 131755"/>
                  <a:gd name="connsiteY54" fmla="*/ 90907 h 150893"/>
                  <a:gd name="connsiteX55" fmla="*/ 77092 w 131755"/>
                  <a:gd name="connsiteY55" fmla="*/ 122246 h 150893"/>
                  <a:gd name="connsiteX56" fmla="*/ 75836 w 131755"/>
                  <a:gd name="connsiteY56" fmla="*/ 122784 h 150893"/>
                  <a:gd name="connsiteX57" fmla="*/ 64891 w 131755"/>
                  <a:gd name="connsiteY57" fmla="*/ 95871 h 150893"/>
                  <a:gd name="connsiteX58" fmla="*/ 58432 w 131755"/>
                  <a:gd name="connsiteY58" fmla="*/ 94017 h 150893"/>
                  <a:gd name="connsiteX59" fmla="*/ 68300 w 131755"/>
                  <a:gd name="connsiteY59" fmla="*/ 118179 h 150893"/>
                  <a:gd name="connsiteX60" fmla="*/ 67523 w 131755"/>
                  <a:gd name="connsiteY60" fmla="*/ 118538 h 150893"/>
                  <a:gd name="connsiteX61" fmla="*/ 55142 w 131755"/>
                  <a:gd name="connsiteY61" fmla="*/ 96170 h 150893"/>
                  <a:gd name="connsiteX62" fmla="*/ 53288 w 131755"/>
                  <a:gd name="connsiteY62" fmla="*/ 102749 h 150893"/>
                  <a:gd name="connsiteX63" fmla="*/ 56219 w 131755"/>
                  <a:gd name="connsiteY63" fmla="*/ 112139 h 150893"/>
                  <a:gd name="connsiteX64" fmla="*/ 49521 w 131755"/>
                  <a:gd name="connsiteY64" fmla="*/ 98263 h 150893"/>
                  <a:gd name="connsiteX65" fmla="*/ 43540 w 131755"/>
                  <a:gd name="connsiteY65" fmla="*/ 103347 h 150893"/>
                  <a:gd name="connsiteX66" fmla="*/ 0 w 131755"/>
                  <a:gd name="connsiteY66" fmla="*/ 718 h 150893"/>
                  <a:gd name="connsiteX67" fmla="*/ 1615 w 131755"/>
                  <a:gd name="connsiteY67" fmla="*/ 0 h 150893"/>
                  <a:gd name="connsiteX68" fmla="*/ 39293 w 131755"/>
                  <a:gd name="connsiteY68" fmla="*/ 92582 h 150893"/>
                  <a:gd name="connsiteX69" fmla="*/ 45095 w 131755"/>
                  <a:gd name="connsiteY69" fmla="*/ 89531 h 150893"/>
                  <a:gd name="connsiteX70" fmla="*/ 8732 w 131755"/>
                  <a:gd name="connsiteY70" fmla="*/ 6818 h 150893"/>
                  <a:gd name="connsiteX71" fmla="*/ 10406 w 131755"/>
                  <a:gd name="connsiteY71" fmla="*/ 5682 h 150893"/>
                  <a:gd name="connsiteX72" fmla="*/ 13935 w 131755"/>
                  <a:gd name="connsiteY72" fmla="*/ 10765 h 150893"/>
                  <a:gd name="connsiteX73" fmla="*/ 44018 w 131755"/>
                  <a:gd name="connsiteY73" fmla="*/ 81457 h 150893"/>
                  <a:gd name="connsiteX74" fmla="*/ 46709 w 131755"/>
                  <a:gd name="connsiteY74" fmla="*/ 88096 h 150893"/>
                  <a:gd name="connsiteX75" fmla="*/ 51135 w 131755"/>
                  <a:gd name="connsiteY75" fmla="*/ 86003 h 150893"/>
                  <a:gd name="connsiteX76" fmla="*/ 20215 w 131755"/>
                  <a:gd name="connsiteY76" fmla="*/ 9988 h 150893"/>
                  <a:gd name="connsiteX77" fmla="*/ 20634 w 131755"/>
                  <a:gd name="connsiteY77" fmla="*/ 9330 h 150893"/>
                  <a:gd name="connsiteX78" fmla="*/ 24700 w 131755"/>
                  <a:gd name="connsiteY78" fmla="*/ 14892 h 150893"/>
                  <a:gd name="connsiteX79" fmla="*/ 52212 w 131755"/>
                  <a:gd name="connsiteY79" fmla="*/ 79364 h 150893"/>
                  <a:gd name="connsiteX80" fmla="*/ 55860 w 131755"/>
                  <a:gd name="connsiteY80" fmla="*/ 84388 h 150893"/>
                  <a:gd name="connsiteX81" fmla="*/ 57056 w 131755"/>
                  <a:gd name="connsiteY81" fmla="*/ 92103 h 150893"/>
                  <a:gd name="connsiteX82" fmla="*/ 60106 w 131755"/>
                  <a:gd name="connsiteY82" fmla="*/ 84926 h 150893"/>
                  <a:gd name="connsiteX83" fmla="*/ 30801 w 131755"/>
                  <a:gd name="connsiteY83" fmla="*/ 15909 h 150893"/>
                  <a:gd name="connsiteX84" fmla="*/ 30621 w 131755"/>
                  <a:gd name="connsiteY84" fmla="*/ 14354 h 150893"/>
                  <a:gd name="connsiteX85" fmla="*/ 31937 w 131755"/>
                  <a:gd name="connsiteY85" fmla="*/ 13815 h 150893"/>
                  <a:gd name="connsiteX86" fmla="*/ 62260 w 131755"/>
                  <a:gd name="connsiteY86" fmla="*/ 88276 h 150893"/>
                  <a:gd name="connsiteX87" fmla="*/ 63755 w 131755"/>
                  <a:gd name="connsiteY87" fmla="*/ 87677 h 150893"/>
                  <a:gd name="connsiteX88" fmla="*/ 33970 w 131755"/>
                  <a:gd name="connsiteY88" fmla="*/ 14414 h 150893"/>
                  <a:gd name="connsiteX89" fmla="*/ 34868 w 131755"/>
                  <a:gd name="connsiteY89" fmla="*/ 13995 h 150893"/>
                  <a:gd name="connsiteX90" fmla="*/ 64592 w 131755"/>
                  <a:gd name="connsiteY90" fmla="*/ 87079 h 150893"/>
                  <a:gd name="connsiteX91" fmla="*/ 68778 w 131755"/>
                  <a:gd name="connsiteY91" fmla="*/ 80680 h 150893"/>
                  <a:gd name="connsiteX92" fmla="*/ 44556 w 131755"/>
                  <a:gd name="connsiteY92" fmla="*/ 23385 h 150893"/>
                  <a:gd name="connsiteX93" fmla="*/ 42164 w 131755"/>
                  <a:gd name="connsiteY93" fmla="*/ 17464 h 150893"/>
                  <a:gd name="connsiteX94" fmla="*/ 44018 w 131755"/>
                  <a:gd name="connsiteY94" fmla="*/ 16925 h 150893"/>
                  <a:gd name="connsiteX95" fmla="*/ 91445 w 131755"/>
                  <a:gd name="connsiteY95" fmla="*/ 77749 h 150893"/>
                  <a:gd name="connsiteX96" fmla="*/ 91087 w 131755"/>
                  <a:gd name="connsiteY96" fmla="*/ 77809 h 150893"/>
                  <a:gd name="connsiteX97" fmla="*/ 108251 w 131755"/>
                  <a:gd name="connsiteY97" fmla="*/ 119973 h 150893"/>
                  <a:gd name="connsiteX98" fmla="*/ 108610 w 131755"/>
                  <a:gd name="connsiteY98" fmla="*/ 119854 h 150893"/>
                  <a:gd name="connsiteX99" fmla="*/ 91445 w 131755"/>
                  <a:gd name="connsiteY99" fmla="*/ 77749 h 150893"/>
                  <a:gd name="connsiteX100" fmla="*/ 82474 w 131755"/>
                  <a:gd name="connsiteY100" fmla="*/ 77271 h 150893"/>
                  <a:gd name="connsiteX101" fmla="*/ 84388 w 131755"/>
                  <a:gd name="connsiteY101" fmla="*/ 68121 h 150893"/>
                  <a:gd name="connsiteX102" fmla="*/ 79723 w 131755"/>
                  <a:gd name="connsiteY102" fmla="*/ 70573 h 150893"/>
                  <a:gd name="connsiteX103" fmla="*/ 82474 w 131755"/>
                  <a:gd name="connsiteY103" fmla="*/ 77271 h 150893"/>
                  <a:gd name="connsiteX104" fmla="*/ 43540 w 131755"/>
                  <a:gd name="connsiteY104" fmla="*/ 100536 h 150893"/>
                  <a:gd name="connsiteX105" fmla="*/ 48922 w 131755"/>
                  <a:gd name="connsiteY105" fmla="*/ 97306 h 150893"/>
                  <a:gd name="connsiteX106" fmla="*/ 46171 w 131755"/>
                  <a:gd name="connsiteY106" fmla="*/ 90488 h 150893"/>
                  <a:gd name="connsiteX107" fmla="*/ 40968 w 131755"/>
                  <a:gd name="connsiteY107" fmla="*/ 94196 h 150893"/>
                  <a:gd name="connsiteX108" fmla="*/ 43540 w 131755"/>
                  <a:gd name="connsiteY108" fmla="*/ 100536 h 150893"/>
                  <a:gd name="connsiteX109" fmla="*/ 74759 w 131755"/>
                  <a:gd name="connsiteY109" fmla="*/ 82474 h 150893"/>
                  <a:gd name="connsiteX110" fmla="*/ 79245 w 131755"/>
                  <a:gd name="connsiteY110" fmla="*/ 79544 h 150893"/>
                  <a:gd name="connsiteX111" fmla="*/ 76553 w 131755"/>
                  <a:gd name="connsiteY111" fmla="*/ 72845 h 150893"/>
                  <a:gd name="connsiteX112" fmla="*/ 71829 w 131755"/>
                  <a:gd name="connsiteY112" fmla="*/ 75238 h 150893"/>
                  <a:gd name="connsiteX113" fmla="*/ 74759 w 131755"/>
                  <a:gd name="connsiteY113" fmla="*/ 82474 h 150893"/>
                  <a:gd name="connsiteX114" fmla="*/ 52271 w 131755"/>
                  <a:gd name="connsiteY114" fmla="*/ 88156 h 150893"/>
                  <a:gd name="connsiteX115" fmla="*/ 51195 w 131755"/>
                  <a:gd name="connsiteY115" fmla="*/ 95991 h 150893"/>
                  <a:gd name="connsiteX116" fmla="*/ 52271 w 131755"/>
                  <a:gd name="connsiteY116" fmla="*/ 88156 h 150893"/>
                  <a:gd name="connsiteX117" fmla="*/ 82713 w 131755"/>
                  <a:gd name="connsiteY117" fmla="*/ 82056 h 150893"/>
                  <a:gd name="connsiteX118" fmla="*/ 82056 w 131755"/>
                  <a:gd name="connsiteY118" fmla="*/ 81757 h 150893"/>
                  <a:gd name="connsiteX119" fmla="*/ 92043 w 131755"/>
                  <a:gd name="connsiteY119" fmla="*/ 106218 h 150893"/>
                  <a:gd name="connsiteX120" fmla="*/ 92522 w 131755"/>
                  <a:gd name="connsiteY120" fmla="*/ 106038 h 150893"/>
                  <a:gd name="connsiteX121" fmla="*/ 82713 w 131755"/>
                  <a:gd name="connsiteY121" fmla="*/ 82056 h 15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31755" h="150893">
                    <a:moveTo>
                      <a:pt x="44018" y="16925"/>
                    </a:moveTo>
                    <a:cubicBezTo>
                      <a:pt x="51853" y="36243"/>
                      <a:pt x="59747" y="55561"/>
                      <a:pt x="67582" y="74938"/>
                    </a:cubicBezTo>
                    <a:cubicBezTo>
                      <a:pt x="68061" y="74699"/>
                      <a:pt x="68539" y="74520"/>
                      <a:pt x="69077" y="74281"/>
                    </a:cubicBezTo>
                    <a:cubicBezTo>
                      <a:pt x="62140" y="57236"/>
                      <a:pt x="55202" y="40131"/>
                      <a:pt x="48264" y="23086"/>
                    </a:cubicBezTo>
                    <a:cubicBezTo>
                      <a:pt x="48743" y="22906"/>
                      <a:pt x="49162" y="22727"/>
                      <a:pt x="49640" y="22547"/>
                    </a:cubicBezTo>
                    <a:cubicBezTo>
                      <a:pt x="56578" y="39592"/>
                      <a:pt x="63515" y="56578"/>
                      <a:pt x="70393" y="73503"/>
                    </a:cubicBezTo>
                    <a:cubicBezTo>
                      <a:pt x="75477" y="72606"/>
                      <a:pt x="76015" y="70333"/>
                      <a:pt x="74161" y="66207"/>
                    </a:cubicBezTo>
                    <a:cubicBezTo>
                      <a:pt x="68479" y="53408"/>
                      <a:pt x="62977" y="40490"/>
                      <a:pt x="57475" y="27631"/>
                    </a:cubicBezTo>
                    <a:cubicBezTo>
                      <a:pt x="56638" y="25657"/>
                      <a:pt x="55860" y="23624"/>
                      <a:pt x="55023" y="21650"/>
                    </a:cubicBezTo>
                    <a:cubicBezTo>
                      <a:pt x="55501" y="21471"/>
                      <a:pt x="55920" y="21291"/>
                      <a:pt x="56398" y="21112"/>
                    </a:cubicBezTo>
                    <a:cubicBezTo>
                      <a:pt x="62857" y="37021"/>
                      <a:pt x="69377" y="52929"/>
                      <a:pt x="75836" y="68898"/>
                    </a:cubicBezTo>
                    <a:cubicBezTo>
                      <a:pt x="76135" y="68778"/>
                      <a:pt x="76494" y="68599"/>
                      <a:pt x="76793" y="68479"/>
                    </a:cubicBezTo>
                    <a:cubicBezTo>
                      <a:pt x="70991" y="54185"/>
                      <a:pt x="65130" y="39832"/>
                      <a:pt x="59329" y="25538"/>
                    </a:cubicBezTo>
                    <a:cubicBezTo>
                      <a:pt x="59628" y="25418"/>
                      <a:pt x="59927" y="25299"/>
                      <a:pt x="60166" y="25119"/>
                    </a:cubicBezTo>
                    <a:cubicBezTo>
                      <a:pt x="66087" y="39712"/>
                      <a:pt x="72068" y="54365"/>
                      <a:pt x="78288" y="69675"/>
                    </a:cubicBezTo>
                    <a:cubicBezTo>
                      <a:pt x="80740" y="68240"/>
                      <a:pt x="82235" y="67403"/>
                      <a:pt x="83910" y="66386"/>
                    </a:cubicBezTo>
                    <a:cubicBezTo>
                      <a:pt x="79902" y="54245"/>
                      <a:pt x="75955" y="42403"/>
                      <a:pt x="72008" y="30561"/>
                    </a:cubicBezTo>
                    <a:cubicBezTo>
                      <a:pt x="72247" y="30442"/>
                      <a:pt x="72486" y="30322"/>
                      <a:pt x="72785" y="30203"/>
                    </a:cubicBezTo>
                    <a:cubicBezTo>
                      <a:pt x="77391" y="41446"/>
                      <a:pt x="81936" y="52750"/>
                      <a:pt x="86780" y="64592"/>
                    </a:cubicBezTo>
                    <a:cubicBezTo>
                      <a:pt x="89173" y="63276"/>
                      <a:pt x="90668" y="62439"/>
                      <a:pt x="92402" y="61482"/>
                    </a:cubicBezTo>
                    <a:cubicBezTo>
                      <a:pt x="89173" y="53587"/>
                      <a:pt x="86063" y="45932"/>
                      <a:pt x="82953" y="38277"/>
                    </a:cubicBezTo>
                    <a:cubicBezTo>
                      <a:pt x="83311" y="38097"/>
                      <a:pt x="83730" y="37978"/>
                      <a:pt x="84089" y="37798"/>
                    </a:cubicBezTo>
                    <a:cubicBezTo>
                      <a:pt x="99998" y="75297"/>
                      <a:pt x="115847" y="112737"/>
                      <a:pt x="131755" y="150236"/>
                    </a:cubicBezTo>
                    <a:cubicBezTo>
                      <a:pt x="131217" y="150475"/>
                      <a:pt x="130739" y="150654"/>
                      <a:pt x="130200" y="150894"/>
                    </a:cubicBezTo>
                    <a:cubicBezTo>
                      <a:pt x="118299" y="121648"/>
                      <a:pt x="106397" y="92462"/>
                      <a:pt x="94316" y="62678"/>
                    </a:cubicBezTo>
                    <a:cubicBezTo>
                      <a:pt x="91505" y="64113"/>
                      <a:pt x="89950" y="64891"/>
                      <a:pt x="88096" y="65788"/>
                    </a:cubicBezTo>
                    <a:cubicBezTo>
                      <a:pt x="89591" y="68659"/>
                      <a:pt x="88694" y="73443"/>
                      <a:pt x="92701" y="72187"/>
                    </a:cubicBezTo>
                    <a:cubicBezTo>
                      <a:pt x="92941" y="74460"/>
                      <a:pt x="92701" y="77211"/>
                      <a:pt x="93598" y="79424"/>
                    </a:cubicBezTo>
                    <a:cubicBezTo>
                      <a:pt x="102031" y="99699"/>
                      <a:pt x="110643" y="119854"/>
                      <a:pt x="119196" y="140069"/>
                    </a:cubicBezTo>
                    <a:cubicBezTo>
                      <a:pt x="119973" y="141863"/>
                      <a:pt x="120691" y="143717"/>
                      <a:pt x="120452" y="146169"/>
                    </a:cubicBezTo>
                    <a:cubicBezTo>
                      <a:pt x="118718" y="143717"/>
                      <a:pt x="116505" y="141444"/>
                      <a:pt x="115309" y="138753"/>
                    </a:cubicBezTo>
                    <a:cubicBezTo>
                      <a:pt x="107354" y="120511"/>
                      <a:pt x="99639" y="102151"/>
                      <a:pt x="91864" y="83790"/>
                    </a:cubicBezTo>
                    <a:cubicBezTo>
                      <a:pt x="90847" y="81398"/>
                      <a:pt x="89890" y="79005"/>
                      <a:pt x="88933" y="76553"/>
                    </a:cubicBezTo>
                    <a:cubicBezTo>
                      <a:pt x="84089" y="77391"/>
                      <a:pt x="82833" y="79364"/>
                      <a:pt x="84866" y="84029"/>
                    </a:cubicBezTo>
                    <a:cubicBezTo>
                      <a:pt x="92043" y="100416"/>
                      <a:pt x="98981" y="116863"/>
                      <a:pt x="105979" y="133310"/>
                    </a:cubicBezTo>
                    <a:cubicBezTo>
                      <a:pt x="106756" y="135104"/>
                      <a:pt x="107474" y="136958"/>
                      <a:pt x="107294" y="139112"/>
                    </a:cubicBezTo>
                    <a:cubicBezTo>
                      <a:pt x="103706" y="130320"/>
                      <a:pt x="100117" y="121528"/>
                      <a:pt x="96589" y="112737"/>
                    </a:cubicBezTo>
                    <a:cubicBezTo>
                      <a:pt x="96290" y="112856"/>
                      <a:pt x="95991" y="112976"/>
                      <a:pt x="95692" y="113095"/>
                    </a:cubicBezTo>
                    <a:cubicBezTo>
                      <a:pt x="98503" y="119973"/>
                      <a:pt x="101313" y="126911"/>
                      <a:pt x="104125" y="133789"/>
                    </a:cubicBezTo>
                    <a:cubicBezTo>
                      <a:pt x="103586" y="134028"/>
                      <a:pt x="103108" y="134207"/>
                      <a:pt x="102570" y="134447"/>
                    </a:cubicBezTo>
                    <a:cubicBezTo>
                      <a:pt x="95333" y="116684"/>
                      <a:pt x="88096" y="98861"/>
                      <a:pt x="80919" y="81218"/>
                    </a:cubicBezTo>
                    <a:cubicBezTo>
                      <a:pt x="76135" y="82235"/>
                      <a:pt x="75118" y="84089"/>
                      <a:pt x="76912" y="88216"/>
                    </a:cubicBezTo>
                    <a:cubicBezTo>
                      <a:pt x="81936" y="99758"/>
                      <a:pt x="86661" y="111421"/>
                      <a:pt x="91505" y="123083"/>
                    </a:cubicBezTo>
                    <a:cubicBezTo>
                      <a:pt x="92342" y="125057"/>
                      <a:pt x="93120" y="127030"/>
                      <a:pt x="93897" y="128944"/>
                    </a:cubicBezTo>
                    <a:cubicBezTo>
                      <a:pt x="93359" y="129184"/>
                      <a:pt x="92821" y="129363"/>
                      <a:pt x="92223" y="129602"/>
                    </a:cubicBezTo>
                    <a:cubicBezTo>
                      <a:pt x="86182" y="114770"/>
                      <a:pt x="80202" y="99998"/>
                      <a:pt x="74161" y="85165"/>
                    </a:cubicBezTo>
                    <a:cubicBezTo>
                      <a:pt x="73683" y="85405"/>
                      <a:pt x="73204" y="85584"/>
                      <a:pt x="72726" y="85823"/>
                    </a:cubicBezTo>
                    <a:cubicBezTo>
                      <a:pt x="78407" y="99818"/>
                      <a:pt x="84089" y="113753"/>
                      <a:pt x="89771" y="127748"/>
                    </a:cubicBezTo>
                    <a:cubicBezTo>
                      <a:pt x="89352" y="127928"/>
                      <a:pt x="88933" y="128107"/>
                      <a:pt x="88515" y="128287"/>
                    </a:cubicBezTo>
                    <a:cubicBezTo>
                      <a:pt x="82893" y="114411"/>
                      <a:pt x="77271" y="100596"/>
                      <a:pt x="71410" y="86242"/>
                    </a:cubicBezTo>
                    <a:cubicBezTo>
                      <a:pt x="69197" y="87618"/>
                      <a:pt x="67881" y="88395"/>
                      <a:pt x="66565" y="89173"/>
                    </a:cubicBezTo>
                    <a:cubicBezTo>
                      <a:pt x="71231" y="100596"/>
                      <a:pt x="75716" y="111660"/>
                      <a:pt x="80202" y="122665"/>
                    </a:cubicBezTo>
                    <a:cubicBezTo>
                      <a:pt x="79843" y="122844"/>
                      <a:pt x="79424" y="123023"/>
                      <a:pt x="79065" y="123143"/>
                    </a:cubicBezTo>
                    <a:cubicBezTo>
                      <a:pt x="74640" y="112198"/>
                      <a:pt x="70154" y="101254"/>
                      <a:pt x="65728" y="90309"/>
                    </a:cubicBezTo>
                    <a:cubicBezTo>
                      <a:pt x="65250" y="90488"/>
                      <a:pt x="64831" y="90728"/>
                      <a:pt x="64353" y="90907"/>
                    </a:cubicBezTo>
                    <a:cubicBezTo>
                      <a:pt x="68599" y="101373"/>
                      <a:pt x="72845" y="111840"/>
                      <a:pt x="77092" y="122246"/>
                    </a:cubicBezTo>
                    <a:cubicBezTo>
                      <a:pt x="76673" y="122425"/>
                      <a:pt x="76254" y="122605"/>
                      <a:pt x="75836" y="122784"/>
                    </a:cubicBezTo>
                    <a:cubicBezTo>
                      <a:pt x="72187" y="113813"/>
                      <a:pt x="68479" y="104842"/>
                      <a:pt x="64891" y="95871"/>
                    </a:cubicBezTo>
                    <a:cubicBezTo>
                      <a:pt x="63455" y="92282"/>
                      <a:pt x="61781" y="90668"/>
                      <a:pt x="58432" y="94017"/>
                    </a:cubicBezTo>
                    <a:cubicBezTo>
                      <a:pt x="61661" y="101912"/>
                      <a:pt x="64951" y="110045"/>
                      <a:pt x="68300" y="118179"/>
                    </a:cubicBezTo>
                    <a:cubicBezTo>
                      <a:pt x="68061" y="118299"/>
                      <a:pt x="67762" y="118418"/>
                      <a:pt x="67523" y="118538"/>
                    </a:cubicBezTo>
                    <a:cubicBezTo>
                      <a:pt x="63396" y="111122"/>
                      <a:pt x="59329" y="103766"/>
                      <a:pt x="55142" y="96170"/>
                    </a:cubicBezTo>
                    <a:cubicBezTo>
                      <a:pt x="50417" y="96529"/>
                      <a:pt x="51913" y="99579"/>
                      <a:pt x="53288" y="102749"/>
                    </a:cubicBezTo>
                    <a:cubicBezTo>
                      <a:pt x="54604" y="105739"/>
                      <a:pt x="55740" y="108729"/>
                      <a:pt x="56219" y="112139"/>
                    </a:cubicBezTo>
                    <a:cubicBezTo>
                      <a:pt x="54125" y="107773"/>
                      <a:pt x="51972" y="103467"/>
                      <a:pt x="49521" y="98263"/>
                    </a:cubicBezTo>
                    <a:cubicBezTo>
                      <a:pt x="47308" y="100117"/>
                      <a:pt x="45454" y="101732"/>
                      <a:pt x="43540" y="103347"/>
                    </a:cubicBezTo>
                    <a:cubicBezTo>
                      <a:pt x="29246" y="69675"/>
                      <a:pt x="14593" y="35167"/>
                      <a:pt x="0" y="718"/>
                    </a:cubicBezTo>
                    <a:cubicBezTo>
                      <a:pt x="538" y="478"/>
                      <a:pt x="1076" y="239"/>
                      <a:pt x="1615" y="0"/>
                    </a:cubicBezTo>
                    <a:cubicBezTo>
                      <a:pt x="14055" y="30681"/>
                      <a:pt x="26554" y="61302"/>
                      <a:pt x="39293" y="92582"/>
                    </a:cubicBezTo>
                    <a:cubicBezTo>
                      <a:pt x="42164" y="91086"/>
                      <a:pt x="43839" y="90189"/>
                      <a:pt x="45095" y="89531"/>
                    </a:cubicBezTo>
                    <a:cubicBezTo>
                      <a:pt x="32834" y="61661"/>
                      <a:pt x="20813" y="34270"/>
                      <a:pt x="8732" y="6818"/>
                    </a:cubicBezTo>
                    <a:cubicBezTo>
                      <a:pt x="9270" y="6459"/>
                      <a:pt x="9808" y="6041"/>
                      <a:pt x="10406" y="5682"/>
                    </a:cubicBezTo>
                    <a:cubicBezTo>
                      <a:pt x="11603" y="7356"/>
                      <a:pt x="13098" y="8911"/>
                      <a:pt x="13935" y="10765"/>
                    </a:cubicBezTo>
                    <a:cubicBezTo>
                      <a:pt x="24043" y="34270"/>
                      <a:pt x="33970" y="57893"/>
                      <a:pt x="44018" y="81457"/>
                    </a:cubicBezTo>
                    <a:cubicBezTo>
                      <a:pt x="44855" y="83491"/>
                      <a:pt x="45693" y="85524"/>
                      <a:pt x="46709" y="88096"/>
                    </a:cubicBezTo>
                    <a:cubicBezTo>
                      <a:pt x="48563" y="87199"/>
                      <a:pt x="49939" y="86541"/>
                      <a:pt x="51135" y="86003"/>
                    </a:cubicBezTo>
                    <a:cubicBezTo>
                      <a:pt x="40669" y="60345"/>
                      <a:pt x="30442" y="35167"/>
                      <a:pt x="20215" y="9988"/>
                    </a:cubicBezTo>
                    <a:cubicBezTo>
                      <a:pt x="20335" y="9749"/>
                      <a:pt x="20514" y="9569"/>
                      <a:pt x="20634" y="9330"/>
                    </a:cubicBezTo>
                    <a:cubicBezTo>
                      <a:pt x="22009" y="11184"/>
                      <a:pt x="23804" y="12799"/>
                      <a:pt x="24700" y="14892"/>
                    </a:cubicBezTo>
                    <a:cubicBezTo>
                      <a:pt x="33970" y="36363"/>
                      <a:pt x="43001" y="57893"/>
                      <a:pt x="52212" y="79364"/>
                    </a:cubicBezTo>
                    <a:cubicBezTo>
                      <a:pt x="53049" y="81278"/>
                      <a:pt x="54664" y="82773"/>
                      <a:pt x="55860" y="84388"/>
                    </a:cubicBezTo>
                    <a:cubicBezTo>
                      <a:pt x="56219" y="86601"/>
                      <a:pt x="56638" y="89232"/>
                      <a:pt x="57056" y="92103"/>
                    </a:cubicBezTo>
                    <a:cubicBezTo>
                      <a:pt x="62260" y="91027"/>
                      <a:pt x="61661" y="88515"/>
                      <a:pt x="60106" y="84926"/>
                    </a:cubicBezTo>
                    <a:cubicBezTo>
                      <a:pt x="50238" y="61960"/>
                      <a:pt x="40549" y="38935"/>
                      <a:pt x="30801" y="15909"/>
                    </a:cubicBezTo>
                    <a:cubicBezTo>
                      <a:pt x="30621" y="15430"/>
                      <a:pt x="30681" y="14892"/>
                      <a:pt x="30621" y="14354"/>
                    </a:cubicBezTo>
                    <a:cubicBezTo>
                      <a:pt x="31040" y="14174"/>
                      <a:pt x="31519" y="13995"/>
                      <a:pt x="31937" y="13815"/>
                    </a:cubicBezTo>
                    <a:cubicBezTo>
                      <a:pt x="42045" y="38636"/>
                      <a:pt x="52152" y="63456"/>
                      <a:pt x="62260" y="88276"/>
                    </a:cubicBezTo>
                    <a:cubicBezTo>
                      <a:pt x="62738" y="88096"/>
                      <a:pt x="63216" y="87857"/>
                      <a:pt x="63755" y="87677"/>
                    </a:cubicBezTo>
                    <a:cubicBezTo>
                      <a:pt x="53827" y="63276"/>
                      <a:pt x="43899" y="38815"/>
                      <a:pt x="33970" y="14414"/>
                    </a:cubicBezTo>
                    <a:cubicBezTo>
                      <a:pt x="34270" y="14294"/>
                      <a:pt x="34569" y="14174"/>
                      <a:pt x="34868" y="13995"/>
                    </a:cubicBezTo>
                    <a:cubicBezTo>
                      <a:pt x="44796" y="38336"/>
                      <a:pt x="54664" y="62738"/>
                      <a:pt x="64592" y="87079"/>
                    </a:cubicBezTo>
                    <a:cubicBezTo>
                      <a:pt x="69556" y="86481"/>
                      <a:pt x="70572" y="84807"/>
                      <a:pt x="68778" y="80680"/>
                    </a:cubicBezTo>
                    <a:cubicBezTo>
                      <a:pt x="60645" y="61661"/>
                      <a:pt x="52630" y="42523"/>
                      <a:pt x="44556" y="23385"/>
                    </a:cubicBezTo>
                    <a:cubicBezTo>
                      <a:pt x="43719" y="21411"/>
                      <a:pt x="42942" y="19437"/>
                      <a:pt x="42164" y="17464"/>
                    </a:cubicBezTo>
                    <a:cubicBezTo>
                      <a:pt x="42702" y="17404"/>
                      <a:pt x="43360" y="17165"/>
                      <a:pt x="44018" y="16925"/>
                    </a:cubicBezTo>
                    <a:close/>
                    <a:moveTo>
                      <a:pt x="91445" y="77749"/>
                    </a:moveTo>
                    <a:cubicBezTo>
                      <a:pt x="91326" y="77749"/>
                      <a:pt x="91206" y="77809"/>
                      <a:pt x="91087" y="77809"/>
                    </a:cubicBezTo>
                    <a:cubicBezTo>
                      <a:pt x="96828" y="91864"/>
                      <a:pt x="102510" y="105919"/>
                      <a:pt x="108251" y="119973"/>
                    </a:cubicBezTo>
                    <a:cubicBezTo>
                      <a:pt x="108371" y="119914"/>
                      <a:pt x="108490" y="119854"/>
                      <a:pt x="108610" y="119854"/>
                    </a:cubicBezTo>
                    <a:cubicBezTo>
                      <a:pt x="102869" y="105799"/>
                      <a:pt x="97187" y="91744"/>
                      <a:pt x="91445" y="77749"/>
                    </a:cubicBezTo>
                    <a:close/>
                    <a:moveTo>
                      <a:pt x="82474" y="77271"/>
                    </a:moveTo>
                    <a:cubicBezTo>
                      <a:pt x="88574" y="74639"/>
                      <a:pt x="88694" y="74281"/>
                      <a:pt x="84388" y="68121"/>
                    </a:cubicBezTo>
                    <a:cubicBezTo>
                      <a:pt x="82893" y="68898"/>
                      <a:pt x="81398" y="69675"/>
                      <a:pt x="79723" y="70573"/>
                    </a:cubicBezTo>
                    <a:cubicBezTo>
                      <a:pt x="80680" y="72965"/>
                      <a:pt x="81517" y="74938"/>
                      <a:pt x="82474" y="77271"/>
                    </a:cubicBezTo>
                    <a:close/>
                    <a:moveTo>
                      <a:pt x="43540" y="100536"/>
                    </a:moveTo>
                    <a:cubicBezTo>
                      <a:pt x="45693" y="99280"/>
                      <a:pt x="47308" y="98323"/>
                      <a:pt x="48922" y="97306"/>
                    </a:cubicBezTo>
                    <a:cubicBezTo>
                      <a:pt x="47966" y="94974"/>
                      <a:pt x="47188" y="93060"/>
                      <a:pt x="46171" y="90488"/>
                    </a:cubicBezTo>
                    <a:cubicBezTo>
                      <a:pt x="44198" y="91924"/>
                      <a:pt x="42523" y="93060"/>
                      <a:pt x="40968" y="94196"/>
                    </a:cubicBezTo>
                    <a:cubicBezTo>
                      <a:pt x="41865" y="96409"/>
                      <a:pt x="42523" y="98024"/>
                      <a:pt x="43540" y="100536"/>
                    </a:cubicBezTo>
                    <a:close/>
                    <a:moveTo>
                      <a:pt x="74759" y="82474"/>
                    </a:moveTo>
                    <a:cubicBezTo>
                      <a:pt x="76613" y="81218"/>
                      <a:pt x="77929" y="80381"/>
                      <a:pt x="79245" y="79544"/>
                    </a:cubicBezTo>
                    <a:cubicBezTo>
                      <a:pt x="78348" y="77271"/>
                      <a:pt x="77510" y="75297"/>
                      <a:pt x="76553" y="72845"/>
                    </a:cubicBezTo>
                    <a:cubicBezTo>
                      <a:pt x="74819" y="73742"/>
                      <a:pt x="73324" y="74460"/>
                      <a:pt x="71829" y="75238"/>
                    </a:cubicBezTo>
                    <a:cubicBezTo>
                      <a:pt x="72845" y="77749"/>
                      <a:pt x="73683" y="79723"/>
                      <a:pt x="74759" y="82474"/>
                    </a:cubicBezTo>
                    <a:close/>
                    <a:moveTo>
                      <a:pt x="52271" y="88156"/>
                    </a:moveTo>
                    <a:cubicBezTo>
                      <a:pt x="46949" y="90189"/>
                      <a:pt x="46889" y="90787"/>
                      <a:pt x="51195" y="95991"/>
                    </a:cubicBezTo>
                    <a:cubicBezTo>
                      <a:pt x="56338" y="94376"/>
                      <a:pt x="53767" y="91206"/>
                      <a:pt x="52271" y="88156"/>
                    </a:cubicBezTo>
                    <a:close/>
                    <a:moveTo>
                      <a:pt x="82713" y="82056"/>
                    </a:moveTo>
                    <a:cubicBezTo>
                      <a:pt x="82474" y="81936"/>
                      <a:pt x="82295" y="81816"/>
                      <a:pt x="82056" y="81757"/>
                    </a:cubicBezTo>
                    <a:cubicBezTo>
                      <a:pt x="85405" y="89890"/>
                      <a:pt x="88694" y="98084"/>
                      <a:pt x="92043" y="106218"/>
                    </a:cubicBezTo>
                    <a:cubicBezTo>
                      <a:pt x="92223" y="106158"/>
                      <a:pt x="92342" y="106098"/>
                      <a:pt x="92522" y="106038"/>
                    </a:cubicBezTo>
                    <a:cubicBezTo>
                      <a:pt x="89232" y="98024"/>
                      <a:pt x="85943" y="90070"/>
                      <a:pt x="82713" y="8205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56" name="Vrije vorm: vorm 9255">
                <a:extLst>
                  <a:ext uri="{FF2B5EF4-FFF2-40B4-BE49-F238E27FC236}">
                    <a16:creationId xmlns:a16="http://schemas.microsoft.com/office/drawing/2014/main" id="{E0D7E329-7C23-4EF6-AAE7-6AA8FB646A9B}"/>
                  </a:ext>
                </a:extLst>
              </p:cNvPr>
              <p:cNvSpPr/>
              <p:nvPr/>
            </p:nvSpPr>
            <p:spPr>
              <a:xfrm>
                <a:off x="4577006" y="1852628"/>
                <a:ext cx="254539" cy="465659"/>
              </a:xfrm>
              <a:custGeom>
                <a:avLst/>
                <a:gdLst>
                  <a:gd name="connsiteX0" fmla="*/ 185163 w 254539"/>
                  <a:gd name="connsiteY0" fmla="*/ 131217 h 465659"/>
                  <a:gd name="connsiteX1" fmla="*/ 193655 w 254539"/>
                  <a:gd name="connsiteY1" fmla="*/ 131038 h 465659"/>
                  <a:gd name="connsiteX2" fmla="*/ 177926 w 254539"/>
                  <a:gd name="connsiteY2" fmla="*/ 92402 h 465659"/>
                  <a:gd name="connsiteX3" fmla="*/ 98921 w 254539"/>
                  <a:gd name="connsiteY3" fmla="*/ 130918 h 465659"/>
                  <a:gd name="connsiteX4" fmla="*/ 99220 w 254539"/>
                  <a:gd name="connsiteY4" fmla="*/ 131935 h 465659"/>
                  <a:gd name="connsiteX5" fmla="*/ 115248 w 254539"/>
                  <a:gd name="connsiteY5" fmla="*/ 132832 h 465659"/>
                  <a:gd name="connsiteX6" fmla="*/ 93778 w 254539"/>
                  <a:gd name="connsiteY6" fmla="*/ 134088 h 465659"/>
                  <a:gd name="connsiteX7" fmla="*/ 99938 w 254539"/>
                  <a:gd name="connsiteY7" fmla="*/ 144375 h 465659"/>
                  <a:gd name="connsiteX8" fmla="*/ 102749 w 254539"/>
                  <a:gd name="connsiteY8" fmla="*/ 149578 h 465659"/>
                  <a:gd name="connsiteX9" fmla="*/ 118837 w 254539"/>
                  <a:gd name="connsiteY9" fmla="*/ 188273 h 465659"/>
                  <a:gd name="connsiteX10" fmla="*/ 122365 w 254539"/>
                  <a:gd name="connsiteY10" fmla="*/ 194433 h 465659"/>
                  <a:gd name="connsiteX11" fmla="*/ 122425 w 254539"/>
                  <a:gd name="connsiteY11" fmla="*/ 194314 h 465659"/>
                  <a:gd name="connsiteX12" fmla="*/ 126971 w 254539"/>
                  <a:gd name="connsiteY12" fmla="*/ 203644 h 465659"/>
                  <a:gd name="connsiteX13" fmla="*/ 133430 w 254539"/>
                  <a:gd name="connsiteY13" fmla="*/ 204720 h 465659"/>
                  <a:gd name="connsiteX14" fmla="*/ 124818 w 254539"/>
                  <a:gd name="connsiteY14" fmla="*/ 205199 h 465659"/>
                  <a:gd name="connsiteX15" fmla="*/ 143537 w 254539"/>
                  <a:gd name="connsiteY15" fmla="*/ 251250 h 465659"/>
                  <a:gd name="connsiteX16" fmla="*/ 144494 w 254539"/>
                  <a:gd name="connsiteY16" fmla="*/ 250891 h 465659"/>
                  <a:gd name="connsiteX17" fmla="*/ 127449 w 254539"/>
                  <a:gd name="connsiteY17" fmla="*/ 208907 h 465659"/>
                  <a:gd name="connsiteX18" fmla="*/ 141145 w 254539"/>
                  <a:gd name="connsiteY18" fmla="*/ 240066 h 465659"/>
                  <a:gd name="connsiteX19" fmla="*/ 156037 w 254539"/>
                  <a:gd name="connsiteY19" fmla="*/ 254719 h 465659"/>
                  <a:gd name="connsiteX20" fmla="*/ 123741 w 254539"/>
                  <a:gd name="connsiteY20" fmla="*/ 265305 h 465659"/>
                  <a:gd name="connsiteX21" fmla="*/ 11902 w 254539"/>
                  <a:gd name="connsiteY21" fmla="*/ 325052 h 465659"/>
                  <a:gd name="connsiteX22" fmla="*/ 4067 w 254539"/>
                  <a:gd name="connsiteY22" fmla="*/ 329598 h 465659"/>
                  <a:gd name="connsiteX23" fmla="*/ 7177 w 254539"/>
                  <a:gd name="connsiteY23" fmla="*/ 331930 h 465659"/>
                  <a:gd name="connsiteX24" fmla="*/ 2691 w 254539"/>
                  <a:gd name="connsiteY24" fmla="*/ 331930 h 465659"/>
                  <a:gd name="connsiteX25" fmla="*/ 7416 w 254539"/>
                  <a:gd name="connsiteY25" fmla="*/ 342217 h 465659"/>
                  <a:gd name="connsiteX26" fmla="*/ 11423 w 254539"/>
                  <a:gd name="connsiteY26" fmla="*/ 348736 h 465659"/>
                  <a:gd name="connsiteX27" fmla="*/ 48743 w 254539"/>
                  <a:gd name="connsiteY27" fmla="*/ 436832 h 465659"/>
                  <a:gd name="connsiteX28" fmla="*/ 52690 w 254539"/>
                  <a:gd name="connsiteY28" fmla="*/ 448793 h 465659"/>
                  <a:gd name="connsiteX29" fmla="*/ 57355 w 254539"/>
                  <a:gd name="connsiteY29" fmla="*/ 454415 h 465659"/>
                  <a:gd name="connsiteX30" fmla="*/ 75477 w 254539"/>
                  <a:gd name="connsiteY30" fmla="*/ 463925 h 465659"/>
                  <a:gd name="connsiteX31" fmla="*/ 74819 w 254539"/>
                  <a:gd name="connsiteY31" fmla="*/ 465659 h 465659"/>
                  <a:gd name="connsiteX32" fmla="*/ 53587 w 254539"/>
                  <a:gd name="connsiteY32" fmla="*/ 454655 h 465659"/>
                  <a:gd name="connsiteX33" fmla="*/ 52032 w 254539"/>
                  <a:gd name="connsiteY33" fmla="*/ 452262 h 465659"/>
                  <a:gd name="connsiteX34" fmla="*/ 33312 w 254539"/>
                  <a:gd name="connsiteY34" fmla="*/ 407287 h 465659"/>
                  <a:gd name="connsiteX35" fmla="*/ 29425 w 254539"/>
                  <a:gd name="connsiteY35" fmla="*/ 394728 h 465659"/>
                  <a:gd name="connsiteX36" fmla="*/ 0 w 254539"/>
                  <a:gd name="connsiteY36" fmla="*/ 329538 h 465659"/>
                  <a:gd name="connsiteX37" fmla="*/ 141743 w 254539"/>
                  <a:gd name="connsiteY37" fmla="*/ 253702 h 465659"/>
                  <a:gd name="connsiteX38" fmla="*/ 92402 w 254539"/>
                  <a:gd name="connsiteY38" fmla="*/ 132413 h 465659"/>
                  <a:gd name="connsiteX39" fmla="*/ 176910 w 254539"/>
                  <a:gd name="connsiteY39" fmla="*/ 91266 h 465659"/>
                  <a:gd name="connsiteX40" fmla="*/ 139949 w 254539"/>
                  <a:gd name="connsiteY40" fmla="*/ 419 h 465659"/>
                  <a:gd name="connsiteX41" fmla="*/ 141025 w 254539"/>
                  <a:gd name="connsiteY41" fmla="*/ 0 h 465659"/>
                  <a:gd name="connsiteX42" fmla="*/ 254540 w 254539"/>
                  <a:gd name="connsiteY42" fmla="*/ 272362 h 465659"/>
                  <a:gd name="connsiteX43" fmla="*/ 251190 w 254539"/>
                  <a:gd name="connsiteY43" fmla="*/ 270867 h 465659"/>
                  <a:gd name="connsiteX44" fmla="*/ 250113 w 254539"/>
                  <a:gd name="connsiteY44" fmla="*/ 264826 h 465659"/>
                  <a:gd name="connsiteX45" fmla="*/ 231514 w 254539"/>
                  <a:gd name="connsiteY45" fmla="*/ 223918 h 465659"/>
                  <a:gd name="connsiteX46" fmla="*/ 221885 w 254539"/>
                  <a:gd name="connsiteY46" fmla="*/ 213691 h 465659"/>
                  <a:gd name="connsiteX47" fmla="*/ 227267 w 254539"/>
                  <a:gd name="connsiteY47" fmla="*/ 213512 h 465659"/>
                  <a:gd name="connsiteX48" fmla="*/ 217279 w 254539"/>
                  <a:gd name="connsiteY48" fmla="*/ 202388 h 465659"/>
                  <a:gd name="connsiteX49" fmla="*/ 220748 w 254539"/>
                  <a:gd name="connsiteY49" fmla="*/ 201849 h 465659"/>
                  <a:gd name="connsiteX50" fmla="*/ 218834 w 254539"/>
                  <a:gd name="connsiteY50" fmla="*/ 196527 h 465659"/>
                  <a:gd name="connsiteX51" fmla="*/ 202806 w 254539"/>
                  <a:gd name="connsiteY51" fmla="*/ 157831 h 465659"/>
                  <a:gd name="connsiteX52" fmla="*/ 191323 w 254539"/>
                  <a:gd name="connsiteY52" fmla="*/ 146588 h 465659"/>
                  <a:gd name="connsiteX53" fmla="*/ 190486 w 254539"/>
                  <a:gd name="connsiteY53" fmla="*/ 145810 h 465659"/>
                  <a:gd name="connsiteX54" fmla="*/ 200055 w 254539"/>
                  <a:gd name="connsiteY54" fmla="*/ 145571 h 465659"/>
                  <a:gd name="connsiteX55" fmla="*/ 198679 w 254539"/>
                  <a:gd name="connsiteY55" fmla="*/ 141324 h 465659"/>
                  <a:gd name="connsiteX56" fmla="*/ 187436 w 254539"/>
                  <a:gd name="connsiteY56" fmla="*/ 132413 h 465659"/>
                  <a:gd name="connsiteX57" fmla="*/ 185163 w 254539"/>
                  <a:gd name="connsiteY57" fmla="*/ 131217 h 465659"/>
                  <a:gd name="connsiteX58" fmla="*/ 222243 w 254539"/>
                  <a:gd name="connsiteY58" fmla="*/ 201311 h 465659"/>
                  <a:gd name="connsiteX59" fmla="*/ 222841 w 254539"/>
                  <a:gd name="connsiteY59" fmla="*/ 201072 h 465659"/>
                  <a:gd name="connsiteX60" fmla="*/ 201251 w 254539"/>
                  <a:gd name="connsiteY60" fmla="*/ 147963 h 465659"/>
                  <a:gd name="connsiteX61" fmla="*/ 200653 w 254539"/>
                  <a:gd name="connsiteY61" fmla="*/ 148202 h 465659"/>
                  <a:gd name="connsiteX62" fmla="*/ 222243 w 254539"/>
                  <a:gd name="connsiteY62" fmla="*/ 201311 h 46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4539" h="465659">
                    <a:moveTo>
                      <a:pt x="185163" y="131217"/>
                    </a:moveTo>
                    <a:cubicBezTo>
                      <a:pt x="187854" y="131157"/>
                      <a:pt x="190546" y="131097"/>
                      <a:pt x="193655" y="131038"/>
                    </a:cubicBezTo>
                    <a:cubicBezTo>
                      <a:pt x="188393" y="118059"/>
                      <a:pt x="183309" y="105620"/>
                      <a:pt x="177926" y="92402"/>
                    </a:cubicBezTo>
                    <a:cubicBezTo>
                      <a:pt x="151252" y="105440"/>
                      <a:pt x="125117" y="118179"/>
                      <a:pt x="98921" y="130918"/>
                    </a:cubicBezTo>
                    <a:cubicBezTo>
                      <a:pt x="99041" y="131277"/>
                      <a:pt x="99160" y="131576"/>
                      <a:pt x="99220" y="131935"/>
                    </a:cubicBezTo>
                    <a:cubicBezTo>
                      <a:pt x="104543" y="132234"/>
                      <a:pt x="109866" y="132533"/>
                      <a:pt x="115248" y="132832"/>
                    </a:cubicBezTo>
                    <a:cubicBezTo>
                      <a:pt x="108550" y="133250"/>
                      <a:pt x="101852" y="133609"/>
                      <a:pt x="93778" y="134088"/>
                    </a:cubicBezTo>
                    <a:cubicBezTo>
                      <a:pt x="96050" y="137915"/>
                      <a:pt x="98024" y="141145"/>
                      <a:pt x="99938" y="144375"/>
                    </a:cubicBezTo>
                    <a:cubicBezTo>
                      <a:pt x="100954" y="146109"/>
                      <a:pt x="102031" y="147784"/>
                      <a:pt x="102749" y="149578"/>
                    </a:cubicBezTo>
                    <a:cubicBezTo>
                      <a:pt x="108131" y="162436"/>
                      <a:pt x="113394" y="175415"/>
                      <a:pt x="118837" y="188273"/>
                    </a:cubicBezTo>
                    <a:cubicBezTo>
                      <a:pt x="119734" y="190426"/>
                      <a:pt x="121169" y="192400"/>
                      <a:pt x="122365" y="194433"/>
                    </a:cubicBezTo>
                    <a:cubicBezTo>
                      <a:pt x="122365" y="194433"/>
                      <a:pt x="122425" y="194314"/>
                      <a:pt x="122425" y="194314"/>
                    </a:cubicBezTo>
                    <a:cubicBezTo>
                      <a:pt x="120153" y="199098"/>
                      <a:pt x="122066" y="202986"/>
                      <a:pt x="126971" y="203644"/>
                    </a:cubicBezTo>
                    <a:cubicBezTo>
                      <a:pt x="129124" y="203943"/>
                      <a:pt x="131277" y="204361"/>
                      <a:pt x="133430" y="204720"/>
                    </a:cubicBezTo>
                    <a:cubicBezTo>
                      <a:pt x="130559" y="204900"/>
                      <a:pt x="127748" y="205019"/>
                      <a:pt x="124818" y="205199"/>
                    </a:cubicBezTo>
                    <a:cubicBezTo>
                      <a:pt x="131157" y="220808"/>
                      <a:pt x="137377" y="235999"/>
                      <a:pt x="143537" y="251250"/>
                    </a:cubicBezTo>
                    <a:cubicBezTo>
                      <a:pt x="143836" y="251131"/>
                      <a:pt x="144195" y="251011"/>
                      <a:pt x="144494" y="250891"/>
                    </a:cubicBezTo>
                    <a:cubicBezTo>
                      <a:pt x="138812" y="236896"/>
                      <a:pt x="133131" y="222902"/>
                      <a:pt x="127449" y="208907"/>
                    </a:cubicBezTo>
                    <a:cubicBezTo>
                      <a:pt x="132712" y="219014"/>
                      <a:pt x="137257" y="229420"/>
                      <a:pt x="141145" y="240066"/>
                    </a:cubicBezTo>
                    <a:cubicBezTo>
                      <a:pt x="144016" y="247841"/>
                      <a:pt x="147185" y="254480"/>
                      <a:pt x="156037" y="254719"/>
                    </a:cubicBezTo>
                    <a:cubicBezTo>
                      <a:pt x="143059" y="251788"/>
                      <a:pt x="133789" y="259982"/>
                      <a:pt x="123741" y="265305"/>
                    </a:cubicBezTo>
                    <a:cubicBezTo>
                      <a:pt x="86362" y="284981"/>
                      <a:pt x="49161" y="305077"/>
                      <a:pt x="11902" y="325052"/>
                    </a:cubicBezTo>
                    <a:cubicBezTo>
                      <a:pt x="9389" y="326428"/>
                      <a:pt x="6937" y="327923"/>
                      <a:pt x="4067" y="329598"/>
                    </a:cubicBezTo>
                    <a:cubicBezTo>
                      <a:pt x="5143" y="330435"/>
                      <a:pt x="5861" y="330913"/>
                      <a:pt x="7177" y="331930"/>
                    </a:cubicBezTo>
                    <a:cubicBezTo>
                      <a:pt x="5562" y="331930"/>
                      <a:pt x="4426" y="331930"/>
                      <a:pt x="2691" y="331930"/>
                    </a:cubicBezTo>
                    <a:cubicBezTo>
                      <a:pt x="4426" y="335698"/>
                      <a:pt x="5801" y="339047"/>
                      <a:pt x="7416" y="342217"/>
                    </a:cubicBezTo>
                    <a:cubicBezTo>
                      <a:pt x="8612" y="344490"/>
                      <a:pt x="10466" y="346403"/>
                      <a:pt x="11423" y="348736"/>
                    </a:cubicBezTo>
                    <a:cubicBezTo>
                      <a:pt x="23923" y="378101"/>
                      <a:pt x="36363" y="407467"/>
                      <a:pt x="48743" y="436832"/>
                    </a:cubicBezTo>
                    <a:cubicBezTo>
                      <a:pt x="50358" y="440660"/>
                      <a:pt x="51015" y="444966"/>
                      <a:pt x="52690" y="448793"/>
                    </a:cubicBezTo>
                    <a:cubicBezTo>
                      <a:pt x="53647" y="450946"/>
                      <a:pt x="55441" y="453279"/>
                      <a:pt x="57355" y="454415"/>
                    </a:cubicBezTo>
                    <a:cubicBezTo>
                      <a:pt x="63276" y="457884"/>
                      <a:pt x="69376" y="460815"/>
                      <a:pt x="75477" y="463925"/>
                    </a:cubicBezTo>
                    <a:cubicBezTo>
                      <a:pt x="75237" y="464523"/>
                      <a:pt x="75058" y="465061"/>
                      <a:pt x="74819" y="465659"/>
                    </a:cubicBezTo>
                    <a:cubicBezTo>
                      <a:pt x="67701" y="462011"/>
                      <a:pt x="60644" y="458422"/>
                      <a:pt x="53587" y="454655"/>
                    </a:cubicBezTo>
                    <a:cubicBezTo>
                      <a:pt x="52869" y="454296"/>
                      <a:pt x="52391" y="453159"/>
                      <a:pt x="52032" y="452262"/>
                    </a:cubicBezTo>
                    <a:cubicBezTo>
                      <a:pt x="45752" y="437310"/>
                      <a:pt x="39413" y="422299"/>
                      <a:pt x="33312" y="407287"/>
                    </a:cubicBezTo>
                    <a:cubicBezTo>
                      <a:pt x="31698" y="403220"/>
                      <a:pt x="31219" y="398735"/>
                      <a:pt x="29425" y="394728"/>
                    </a:cubicBezTo>
                    <a:cubicBezTo>
                      <a:pt x="19676" y="372838"/>
                      <a:pt x="9748" y="351128"/>
                      <a:pt x="0" y="329538"/>
                    </a:cubicBezTo>
                    <a:cubicBezTo>
                      <a:pt x="47367" y="304179"/>
                      <a:pt x="94794" y="278821"/>
                      <a:pt x="141743" y="253702"/>
                    </a:cubicBezTo>
                    <a:cubicBezTo>
                      <a:pt x="125117" y="212854"/>
                      <a:pt x="108789" y="172663"/>
                      <a:pt x="92402" y="132413"/>
                    </a:cubicBezTo>
                    <a:cubicBezTo>
                      <a:pt x="119973" y="118957"/>
                      <a:pt x="148322" y="105201"/>
                      <a:pt x="176910" y="91266"/>
                    </a:cubicBezTo>
                    <a:cubicBezTo>
                      <a:pt x="164470" y="60645"/>
                      <a:pt x="152209" y="30502"/>
                      <a:pt x="139949" y="419"/>
                    </a:cubicBezTo>
                    <a:cubicBezTo>
                      <a:pt x="140308" y="299"/>
                      <a:pt x="140666" y="120"/>
                      <a:pt x="141025" y="0"/>
                    </a:cubicBezTo>
                    <a:cubicBezTo>
                      <a:pt x="178704" y="90429"/>
                      <a:pt x="216442" y="180917"/>
                      <a:pt x="254540" y="272362"/>
                    </a:cubicBezTo>
                    <a:cubicBezTo>
                      <a:pt x="252865" y="271644"/>
                      <a:pt x="252027" y="271226"/>
                      <a:pt x="251190" y="270867"/>
                    </a:cubicBezTo>
                    <a:cubicBezTo>
                      <a:pt x="250832" y="268834"/>
                      <a:pt x="250891" y="266621"/>
                      <a:pt x="250113" y="264826"/>
                    </a:cubicBezTo>
                    <a:cubicBezTo>
                      <a:pt x="243954" y="251190"/>
                      <a:pt x="237494" y="237674"/>
                      <a:pt x="231514" y="223918"/>
                    </a:cubicBezTo>
                    <a:cubicBezTo>
                      <a:pt x="229361" y="218954"/>
                      <a:pt x="227566" y="214409"/>
                      <a:pt x="221885" y="213691"/>
                    </a:cubicBezTo>
                    <a:cubicBezTo>
                      <a:pt x="223679" y="213631"/>
                      <a:pt x="225413" y="213572"/>
                      <a:pt x="227267" y="213512"/>
                    </a:cubicBezTo>
                    <a:cubicBezTo>
                      <a:pt x="228164" y="205019"/>
                      <a:pt x="221945" y="204541"/>
                      <a:pt x="217279" y="202388"/>
                    </a:cubicBezTo>
                    <a:cubicBezTo>
                      <a:pt x="218296" y="202208"/>
                      <a:pt x="219373" y="202089"/>
                      <a:pt x="220748" y="201849"/>
                    </a:cubicBezTo>
                    <a:cubicBezTo>
                      <a:pt x="220031" y="199876"/>
                      <a:pt x="219552" y="198141"/>
                      <a:pt x="218834" y="196527"/>
                    </a:cubicBezTo>
                    <a:cubicBezTo>
                      <a:pt x="213512" y="183608"/>
                      <a:pt x="208189" y="170750"/>
                      <a:pt x="202806" y="157831"/>
                    </a:cubicBezTo>
                    <a:cubicBezTo>
                      <a:pt x="200474" y="152269"/>
                      <a:pt x="199277" y="145391"/>
                      <a:pt x="191323" y="146588"/>
                    </a:cubicBezTo>
                    <a:cubicBezTo>
                      <a:pt x="191084" y="146647"/>
                      <a:pt x="190785" y="146049"/>
                      <a:pt x="190486" y="145810"/>
                    </a:cubicBezTo>
                    <a:cubicBezTo>
                      <a:pt x="193536" y="145750"/>
                      <a:pt x="196586" y="145690"/>
                      <a:pt x="200055" y="145571"/>
                    </a:cubicBezTo>
                    <a:cubicBezTo>
                      <a:pt x="199457" y="143836"/>
                      <a:pt x="198978" y="142580"/>
                      <a:pt x="198679" y="141324"/>
                    </a:cubicBezTo>
                    <a:cubicBezTo>
                      <a:pt x="197005" y="135105"/>
                      <a:pt x="194134" y="130798"/>
                      <a:pt x="187436" y="132413"/>
                    </a:cubicBezTo>
                    <a:cubicBezTo>
                      <a:pt x="186838" y="132533"/>
                      <a:pt x="185940" y="131636"/>
                      <a:pt x="185163" y="131217"/>
                    </a:cubicBezTo>
                    <a:close/>
                    <a:moveTo>
                      <a:pt x="222243" y="201311"/>
                    </a:moveTo>
                    <a:cubicBezTo>
                      <a:pt x="222423" y="201251"/>
                      <a:pt x="222662" y="201132"/>
                      <a:pt x="222841" y="201072"/>
                    </a:cubicBezTo>
                    <a:cubicBezTo>
                      <a:pt x="215665" y="183369"/>
                      <a:pt x="208428" y="165666"/>
                      <a:pt x="201251" y="147963"/>
                    </a:cubicBezTo>
                    <a:cubicBezTo>
                      <a:pt x="201072" y="148023"/>
                      <a:pt x="200832" y="148142"/>
                      <a:pt x="200653" y="148202"/>
                    </a:cubicBezTo>
                    <a:cubicBezTo>
                      <a:pt x="207830" y="165905"/>
                      <a:pt x="215007" y="183608"/>
                      <a:pt x="222243" y="20131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57" name="Vrije vorm: vorm 9256">
                <a:extLst>
                  <a:ext uri="{FF2B5EF4-FFF2-40B4-BE49-F238E27FC236}">
                    <a16:creationId xmlns:a16="http://schemas.microsoft.com/office/drawing/2014/main" id="{438D64D9-7AC0-4B6A-AF6A-34DF50FDAC3F}"/>
                  </a:ext>
                </a:extLst>
              </p:cNvPr>
              <p:cNvSpPr/>
              <p:nvPr/>
            </p:nvSpPr>
            <p:spPr>
              <a:xfrm>
                <a:off x="4821976" y="1832593"/>
                <a:ext cx="397359" cy="469247"/>
              </a:xfrm>
              <a:custGeom>
                <a:avLst/>
                <a:gdLst>
                  <a:gd name="connsiteX0" fmla="*/ 46709 w 397359"/>
                  <a:gd name="connsiteY0" fmla="*/ 153824 h 469247"/>
                  <a:gd name="connsiteX1" fmla="*/ 35884 w 397359"/>
                  <a:gd name="connsiteY1" fmla="*/ 154661 h 469247"/>
                  <a:gd name="connsiteX2" fmla="*/ 9390 w 397359"/>
                  <a:gd name="connsiteY2" fmla="*/ 89591 h 469247"/>
                  <a:gd name="connsiteX3" fmla="*/ 35406 w 397359"/>
                  <a:gd name="connsiteY3" fmla="*/ 87378 h 469247"/>
                  <a:gd name="connsiteX4" fmla="*/ 0 w 397359"/>
                  <a:gd name="connsiteY4" fmla="*/ 359 h 469247"/>
                  <a:gd name="connsiteX5" fmla="*/ 897 w 397359"/>
                  <a:gd name="connsiteY5" fmla="*/ 0 h 469247"/>
                  <a:gd name="connsiteX6" fmla="*/ 194613 w 397359"/>
                  <a:gd name="connsiteY6" fmla="*/ 466676 h 469247"/>
                  <a:gd name="connsiteX7" fmla="*/ 396522 w 397359"/>
                  <a:gd name="connsiteY7" fmla="*/ 333246 h 469247"/>
                  <a:gd name="connsiteX8" fmla="*/ 397359 w 397359"/>
                  <a:gd name="connsiteY8" fmla="*/ 334621 h 469247"/>
                  <a:gd name="connsiteX9" fmla="*/ 193776 w 397359"/>
                  <a:gd name="connsiteY9" fmla="*/ 469247 h 469247"/>
                  <a:gd name="connsiteX10" fmla="*/ 122605 w 397359"/>
                  <a:gd name="connsiteY10" fmla="*/ 294311 h 469247"/>
                  <a:gd name="connsiteX11" fmla="*/ 121468 w 397359"/>
                  <a:gd name="connsiteY11" fmla="*/ 294730 h 469247"/>
                  <a:gd name="connsiteX12" fmla="*/ 126193 w 397359"/>
                  <a:gd name="connsiteY12" fmla="*/ 306392 h 469247"/>
                  <a:gd name="connsiteX13" fmla="*/ 124339 w 397359"/>
                  <a:gd name="connsiteY13" fmla="*/ 307170 h 469247"/>
                  <a:gd name="connsiteX14" fmla="*/ 97306 w 397359"/>
                  <a:gd name="connsiteY14" fmla="*/ 240724 h 469247"/>
                  <a:gd name="connsiteX15" fmla="*/ 98024 w 397359"/>
                  <a:gd name="connsiteY15" fmla="*/ 237554 h 469247"/>
                  <a:gd name="connsiteX16" fmla="*/ 64891 w 397359"/>
                  <a:gd name="connsiteY16" fmla="*/ 157592 h 469247"/>
                  <a:gd name="connsiteX17" fmla="*/ 59030 w 397359"/>
                  <a:gd name="connsiteY17" fmla="*/ 154243 h 469247"/>
                  <a:gd name="connsiteX18" fmla="*/ 46410 w 397359"/>
                  <a:gd name="connsiteY18" fmla="*/ 153705 h 469247"/>
                  <a:gd name="connsiteX19" fmla="*/ 59867 w 397359"/>
                  <a:gd name="connsiteY19" fmla="*/ 152209 h 469247"/>
                  <a:gd name="connsiteX20" fmla="*/ 41207 w 397359"/>
                  <a:gd name="connsiteY20" fmla="*/ 106397 h 469247"/>
                  <a:gd name="connsiteX21" fmla="*/ 21710 w 397359"/>
                  <a:gd name="connsiteY21" fmla="*/ 116325 h 469247"/>
                  <a:gd name="connsiteX22" fmla="*/ 32057 w 397359"/>
                  <a:gd name="connsiteY22" fmla="*/ 141982 h 469247"/>
                  <a:gd name="connsiteX23" fmla="*/ 45753 w 397359"/>
                  <a:gd name="connsiteY23" fmla="*/ 153047 h 469247"/>
                  <a:gd name="connsiteX24" fmla="*/ 46709 w 397359"/>
                  <a:gd name="connsiteY24" fmla="*/ 153824 h 469247"/>
                  <a:gd name="connsiteX25" fmla="*/ 11603 w 397359"/>
                  <a:gd name="connsiteY25" fmla="*/ 90847 h 469247"/>
                  <a:gd name="connsiteX26" fmla="*/ 21411 w 397359"/>
                  <a:gd name="connsiteY26" fmla="*/ 114949 h 469247"/>
                  <a:gd name="connsiteX27" fmla="*/ 40609 w 397359"/>
                  <a:gd name="connsiteY27" fmla="*/ 105201 h 469247"/>
                  <a:gd name="connsiteX28" fmla="*/ 36901 w 397359"/>
                  <a:gd name="connsiteY28" fmla="*/ 94794 h 469247"/>
                  <a:gd name="connsiteX29" fmla="*/ 37678 w 397359"/>
                  <a:gd name="connsiteY29" fmla="*/ 94495 h 469247"/>
                  <a:gd name="connsiteX30" fmla="*/ 43241 w 397359"/>
                  <a:gd name="connsiteY30" fmla="*/ 108131 h 469247"/>
                  <a:gd name="connsiteX31" fmla="*/ 37439 w 397359"/>
                  <a:gd name="connsiteY31" fmla="*/ 91505 h 469247"/>
                  <a:gd name="connsiteX32" fmla="*/ 33791 w 397359"/>
                  <a:gd name="connsiteY32" fmla="*/ 88933 h 469247"/>
                  <a:gd name="connsiteX33" fmla="*/ 11603 w 397359"/>
                  <a:gd name="connsiteY33" fmla="*/ 90847 h 469247"/>
                  <a:gd name="connsiteX34" fmla="*/ 113395 w 397359"/>
                  <a:gd name="connsiteY34" fmla="*/ 277206 h 469247"/>
                  <a:gd name="connsiteX35" fmla="*/ 113753 w 397359"/>
                  <a:gd name="connsiteY35" fmla="*/ 277087 h 469247"/>
                  <a:gd name="connsiteX36" fmla="*/ 100775 w 397359"/>
                  <a:gd name="connsiteY36" fmla="*/ 245210 h 469247"/>
                  <a:gd name="connsiteX37" fmla="*/ 100417 w 397359"/>
                  <a:gd name="connsiteY37" fmla="*/ 245329 h 469247"/>
                  <a:gd name="connsiteX38" fmla="*/ 113395 w 397359"/>
                  <a:gd name="connsiteY38" fmla="*/ 277206 h 46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7359" h="469247">
                    <a:moveTo>
                      <a:pt x="46709" y="153824"/>
                    </a:moveTo>
                    <a:cubicBezTo>
                      <a:pt x="43241" y="154123"/>
                      <a:pt x="39832" y="154362"/>
                      <a:pt x="35884" y="154661"/>
                    </a:cubicBezTo>
                    <a:cubicBezTo>
                      <a:pt x="27093" y="133011"/>
                      <a:pt x="18241" y="111301"/>
                      <a:pt x="9390" y="89591"/>
                    </a:cubicBezTo>
                    <a:cubicBezTo>
                      <a:pt x="17823" y="88874"/>
                      <a:pt x="26315" y="88156"/>
                      <a:pt x="35406" y="87378"/>
                    </a:cubicBezTo>
                    <a:cubicBezTo>
                      <a:pt x="23444" y="58013"/>
                      <a:pt x="11722" y="29186"/>
                      <a:pt x="0" y="359"/>
                    </a:cubicBezTo>
                    <a:cubicBezTo>
                      <a:pt x="299" y="239"/>
                      <a:pt x="598" y="120"/>
                      <a:pt x="897" y="0"/>
                    </a:cubicBezTo>
                    <a:cubicBezTo>
                      <a:pt x="65309" y="155200"/>
                      <a:pt x="129722" y="310399"/>
                      <a:pt x="194613" y="466676"/>
                    </a:cubicBezTo>
                    <a:cubicBezTo>
                      <a:pt x="262195" y="422000"/>
                      <a:pt x="329358" y="377623"/>
                      <a:pt x="396522" y="333246"/>
                    </a:cubicBezTo>
                    <a:cubicBezTo>
                      <a:pt x="396821" y="333724"/>
                      <a:pt x="397120" y="334203"/>
                      <a:pt x="397359" y="334621"/>
                    </a:cubicBezTo>
                    <a:cubicBezTo>
                      <a:pt x="329598" y="379477"/>
                      <a:pt x="261776" y="424272"/>
                      <a:pt x="193776" y="469247"/>
                    </a:cubicBezTo>
                    <a:cubicBezTo>
                      <a:pt x="170092" y="410995"/>
                      <a:pt x="146348" y="352683"/>
                      <a:pt x="122605" y="294311"/>
                    </a:cubicBezTo>
                    <a:cubicBezTo>
                      <a:pt x="122246" y="294431"/>
                      <a:pt x="121827" y="294610"/>
                      <a:pt x="121468" y="294730"/>
                    </a:cubicBezTo>
                    <a:cubicBezTo>
                      <a:pt x="123024" y="298617"/>
                      <a:pt x="124638" y="302505"/>
                      <a:pt x="126193" y="306392"/>
                    </a:cubicBezTo>
                    <a:cubicBezTo>
                      <a:pt x="125595" y="306632"/>
                      <a:pt x="124997" y="306871"/>
                      <a:pt x="124339" y="307170"/>
                    </a:cubicBezTo>
                    <a:cubicBezTo>
                      <a:pt x="115428" y="285280"/>
                      <a:pt x="106517" y="263331"/>
                      <a:pt x="97306" y="240724"/>
                    </a:cubicBezTo>
                    <a:cubicBezTo>
                      <a:pt x="97306" y="240664"/>
                      <a:pt x="98503" y="238750"/>
                      <a:pt x="98024" y="237554"/>
                    </a:cubicBezTo>
                    <a:cubicBezTo>
                      <a:pt x="87139" y="210820"/>
                      <a:pt x="76194" y="184146"/>
                      <a:pt x="64891" y="157592"/>
                    </a:cubicBezTo>
                    <a:cubicBezTo>
                      <a:pt x="64173" y="155917"/>
                      <a:pt x="61123" y="154542"/>
                      <a:pt x="59030" y="154243"/>
                    </a:cubicBezTo>
                    <a:cubicBezTo>
                      <a:pt x="54843" y="153645"/>
                      <a:pt x="50657" y="153824"/>
                      <a:pt x="46410" y="153705"/>
                    </a:cubicBezTo>
                    <a:cubicBezTo>
                      <a:pt x="50956" y="153226"/>
                      <a:pt x="55501" y="152688"/>
                      <a:pt x="59867" y="152209"/>
                    </a:cubicBezTo>
                    <a:cubicBezTo>
                      <a:pt x="53528" y="136659"/>
                      <a:pt x="47487" y="121767"/>
                      <a:pt x="41207" y="106397"/>
                    </a:cubicBezTo>
                    <a:cubicBezTo>
                      <a:pt x="34389" y="109866"/>
                      <a:pt x="28229" y="112976"/>
                      <a:pt x="21710" y="116325"/>
                    </a:cubicBezTo>
                    <a:cubicBezTo>
                      <a:pt x="25299" y="125176"/>
                      <a:pt x="29007" y="133490"/>
                      <a:pt x="32057" y="141982"/>
                    </a:cubicBezTo>
                    <a:cubicBezTo>
                      <a:pt x="34629" y="149099"/>
                      <a:pt x="37380" y="155140"/>
                      <a:pt x="45753" y="153047"/>
                    </a:cubicBezTo>
                    <a:cubicBezTo>
                      <a:pt x="46052" y="153047"/>
                      <a:pt x="46410" y="153585"/>
                      <a:pt x="46709" y="153824"/>
                    </a:cubicBezTo>
                    <a:close/>
                    <a:moveTo>
                      <a:pt x="11603" y="90847"/>
                    </a:moveTo>
                    <a:cubicBezTo>
                      <a:pt x="15072" y="99340"/>
                      <a:pt x="18122" y="106935"/>
                      <a:pt x="21411" y="114949"/>
                    </a:cubicBezTo>
                    <a:cubicBezTo>
                      <a:pt x="28050" y="111600"/>
                      <a:pt x="34270" y="108430"/>
                      <a:pt x="40609" y="105201"/>
                    </a:cubicBezTo>
                    <a:cubicBezTo>
                      <a:pt x="39234" y="101313"/>
                      <a:pt x="38037" y="98084"/>
                      <a:pt x="36901" y="94794"/>
                    </a:cubicBezTo>
                    <a:cubicBezTo>
                      <a:pt x="37140" y="94675"/>
                      <a:pt x="37439" y="94615"/>
                      <a:pt x="37678" y="94495"/>
                    </a:cubicBezTo>
                    <a:cubicBezTo>
                      <a:pt x="39532" y="99041"/>
                      <a:pt x="41386" y="103586"/>
                      <a:pt x="43241" y="108131"/>
                    </a:cubicBezTo>
                    <a:cubicBezTo>
                      <a:pt x="41925" y="102330"/>
                      <a:pt x="39891" y="96828"/>
                      <a:pt x="37439" y="91505"/>
                    </a:cubicBezTo>
                    <a:cubicBezTo>
                      <a:pt x="36901" y="90309"/>
                      <a:pt x="34928" y="88874"/>
                      <a:pt x="33791" y="88933"/>
                    </a:cubicBezTo>
                    <a:cubicBezTo>
                      <a:pt x="26495" y="89412"/>
                      <a:pt x="19258" y="90189"/>
                      <a:pt x="11603" y="90847"/>
                    </a:cubicBezTo>
                    <a:close/>
                    <a:moveTo>
                      <a:pt x="113395" y="277206"/>
                    </a:moveTo>
                    <a:cubicBezTo>
                      <a:pt x="113514" y="277147"/>
                      <a:pt x="113634" y="277087"/>
                      <a:pt x="113753" y="277087"/>
                    </a:cubicBezTo>
                    <a:cubicBezTo>
                      <a:pt x="109447" y="266441"/>
                      <a:pt x="105081" y="255855"/>
                      <a:pt x="100775" y="245210"/>
                    </a:cubicBezTo>
                    <a:cubicBezTo>
                      <a:pt x="100656" y="245269"/>
                      <a:pt x="100536" y="245329"/>
                      <a:pt x="100417" y="245329"/>
                    </a:cubicBezTo>
                    <a:cubicBezTo>
                      <a:pt x="104782" y="255975"/>
                      <a:pt x="109088" y="266561"/>
                      <a:pt x="113395" y="27720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58" name="Vrije vorm: vorm 9257">
                <a:extLst>
                  <a:ext uri="{FF2B5EF4-FFF2-40B4-BE49-F238E27FC236}">
                    <a16:creationId xmlns:a16="http://schemas.microsoft.com/office/drawing/2014/main" id="{BCCD8AE7-1A84-4BB4-A6F0-064E76436EF6}"/>
                  </a:ext>
                </a:extLst>
              </p:cNvPr>
              <p:cNvSpPr/>
              <p:nvPr/>
            </p:nvSpPr>
            <p:spPr>
              <a:xfrm>
                <a:off x="5422381" y="1291517"/>
                <a:ext cx="223260" cy="720916"/>
              </a:xfrm>
              <a:custGeom>
                <a:avLst/>
                <a:gdLst>
                  <a:gd name="connsiteX0" fmla="*/ 223260 w 223260"/>
                  <a:gd name="connsiteY0" fmla="*/ 562427 h 720916"/>
                  <a:gd name="connsiteX1" fmla="*/ 126612 w 223260"/>
                  <a:gd name="connsiteY1" fmla="*/ 624686 h 720916"/>
                  <a:gd name="connsiteX2" fmla="*/ 125296 w 223260"/>
                  <a:gd name="connsiteY2" fmla="*/ 632102 h 720916"/>
                  <a:gd name="connsiteX3" fmla="*/ 157652 w 223260"/>
                  <a:gd name="connsiteY3" fmla="*/ 713680 h 720916"/>
                  <a:gd name="connsiteX4" fmla="*/ 159626 w 223260"/>
                  <a:gd name="connsiteY4" fmla="*/ 720916 h 720916"/>
                  <a:gd name="connsiteX5" fmla="*/ 158489 w 223260"/>
                  <a:gd name="connsiteY5" fmla="*/ 719660 h 720916"/>
                  <a:gd name="connsiteX6" fmla="*/ 134805 w 223260"/>
                  <a:gd name="connsiteY6" fmla="*/ 664279 h 720916"/>
                  <a:gd name="connsiteX7" fmla="*/ 123143 w 223260"/>
                  <a:gd name="connsiteY7" fmla="*/ 634794 h 720916"/>
                  <a:gd name="connsiteX8" fmla="*/ 126134 w 223260"/>
                  <a:gd name="connsiteY8" fmla="*/ 623131 h 720916"/>
                  <a:gd name="connsiteX9" fmla="*/ 216801 w 223260"/>
                  <a:gd name="connsiteY9" fmla="*/ 564759 h 720916"/>
                  <a:gd name="connsiteX10" fmla="*/ 219014 w 223260"/>
                  <a:gd name="connsiteY10" fmla="*/ 555848 h 720916"/>
                  <a:gd name="connsiteX11" fmla="*/ 144973 w 223260"/>
                  <a:gd name="connsiteY11" fmla="*/ 368113 h 720916"/>
                  <a:gd name="connsiteX12" fmla="*/ 2333 w 223260"/>
                  <a:gd name="connsiteY12" fmla="*/ 6280 h 720916"/>
                  <a:gd name="connsiteX13" fmla="*/ 0 w 223260"/>
                  <a:gd name="connsiteY13" fmla="*/ 538 h 720916"/>
                  <a:gd name="connsiteX14" fmla="*/ 1615 w 223260"/>
                  <a:gd name="connsiteY14" fmla="*/ 0 h 720916"/>
                  <a:gd name="connsiteX15" fmla="*/ 223260 w 223260"/>
                  <a:gd name="connsiteY15" fmla="*/ 562427 h 72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3260" h="720916">
                    <a:moveTo>
                      <a:pt x="223260" y="562427"/>
                    </a:moveTo>
                    <a:cubicBezTo>
                      <a:pt x="191024" y="583240"/>
                      <a:pt x="158848" y="603993"/>
                      <a:pt x="126612" y="624686"/>
                    </a:cubicBezTo>
                    <a:cubicBezTo>
                      <a:pt x="123442" y="626720"/>
                      <a:pt x="124100" y="628992"/>
                      <a:pt x="125296" y="632102"/>
                    </a:cubicBezTo>
                    <a:cubicBezTo>
                      <a:pt x="136121" y="659255"/>
                      <a:pt x="146887" y="686467"/>
                      <a:pt x="157652" y="713680"/>
                    </a:cubicBezTo>
                    <a:cubicBezTo>
                      <a:pt x="158549" y="715892"/>
                      <a:pt x="159446" y="718105"/>
                      <a:pt x="159626" y="720916"/>
                    </a:cubicBezTo>
                    <a:cubicBezTo>
                      <a:pt x="159267" y="720498"/>
                      <a:pt x="158788" y="720139"/>
                      <a:pt x="158489" y="719660"/>
                    </a:cubicBezTo>
                    <a:cubicBezTo>
                      <a:pt x="147126" y="702675"/>
                      <a:pt x="142221" y="682939"/>
                      <a:pt x="134805" y="664279"/>
                    </a:cubicBezTo>
                    <a:cubicBezTo>
                      <a:pt x="130918" y="654470"/>
                      <a:pt x="127150" y="644542"/>
                      <a:pt x="123143" y="634794"/>
                    </a:cubicBezTo>
                    <a:cubicBezTo>
                      <a:pt x="120990" y="629531"/>
                      <a:pt x="121229" y="626241"/>
                      <a:pt x="126134" y="623131"/>
                    </a:cubicBezTo>
                    <a:cubicBezTo>
                      <a:pt x="156456" y="603873"/>
                      <a:pt x="186479" y="584077"/>
                      <a:pt x="216801" y="564759"/>
                    </a:cubicBezTo>
                    <a:cubicBezTo>
                      <a:pt x="220689" y="562307"/>
                      <a:pt x="220748" y="560154"/>
                      <a:pt x="219014" y="555848"/>
                    </a:cubicBezTo>
                    <a:cubicBezTo>
                      <a:pt x="194254" y="493290"/>
                      <a:pt x="169613" y="430732"/>
                      <a:pt x="144973" y="368113"/>
                    </a:cubicBezTo>
                    <a:cubicBezTo>
                      <a:pt x="97426" y="247482"/>
                      <a:pt x="49879" y="126911"/>
                      <a:pt x="2333" y="6280"/>
                    </a:cubicBezTo>
                    <a:cubicBezTo>
                      <a:pt x="1555" y="4366"/>
                      <a:pt x="778" y="2452"/>
                      <a:pt x="0" y="538"/>
                    </a:cubicBezTo>
                    <a:cubicBezTo>
                      <a:pt x="538" y="359"/>
                      <a:pt x="1076" y="179"/>
                      <a:pt x="1615" y="0"/>
                    </a:cubicBezTo>
                    <a:cubicBezTo>
                      <a:pt x="75417" y="187316"/>
                      <a:pt x="149279" y="374632"/>
                      <a:pt x="223260" y="56242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59" name="Vrije vorm: vorm 9258">
                <a:extLst>
                  <a:ext uri="{FF2B5EF4-FFF2-40B4-BE49-F238E27FC236}">
                    <a16:creationId xmlns:a16="http://schemas.microsoft.com/office/drawing/2014/main" id="{2BF893E4-B17F-4E11-874D-58612014165A}"/>
                  </a:ext>
                </a:extLst>
              </p:cNvPr>
              <p:cNvSpPr/>
              <p:nvPr/>
            </p:nvSpPr>
            <p:spPr>
              <a:xfrm>
                <a:off x="4778856" y="1192895"/>
                <a:ext cx="247960" cy="544724"/>
              </a:xfrm>
              <a:custGeom>
                <a:avLst/>
                <a:gdLst>
                  <a:gd name="connsiteX0" fmla="*/ 221406 w 247960"/>
                  <a:gd name="connsiteY0" fmla="*/ 544724 h 544724"/>
                  <a:gd name="connsiteX1" fmla="*/ 0 w 247960"/>
                  <a:gd name="connsiteY1" fmla="*/ 478 h 544724"/>
                  <a:gd name="connsiteX2" fmla="*/ 1196 w 247960"/>
                  <a:gd name="connsiteY2" fmla="*/ 0 h 544724"/>
                  <a:gd name="connsiteX3" fmla="*/ 222064 w 247960"/>
                  <a:gd name="connsiteY3" fmla="*/ 542870 h 544724"/>
                  <a:gd name="connsiteX4" fmla="*/ 247662 w 247960"/>
                  <a:gd name="connsiteY4" fmla="*/ 536471 h 544724"/>
                  <a:gd name="connsiteX5" fmla="*/ 247961 w 247960"/>
                  <a:gd name="connsiteY5" fmla="*/ 537487 h 544724"/>
                  <a:gd name="connsiteX6" fmla="*/ 221406 w 247960"/>
                  <a:gd name="connsiteY6" fmla="*/ 544724 h 54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960" h="544724">
                    <a:moveTo>
                      <a:pt x="221406" y="544724"/>
                    </a:moveTo>
                    <a:cubicBezTo>
                      <a:pt x="147544" y="363209"/>
                      <a:pt x="73802" y="181814"/>
                      <a:pt x="0" y="478"/>
                    </a:cubicBezTo>
                    <a:cubicBezTo>
                      <a:pt x="418" y="299"/>
                      <a:pt x="837" y="120"/>
                      <a:pt x="1196" y="0"/>
                    </a:cubicBezTo>
                    <a:cubicBezTo>
                      <a:pt x="74759" y="180917"/>
                      <a:pt x="148382" y="361774"/>
                      <a:pt x="222064" y="542870"/>
                    </a:cubicBezTo>
                    <a:cubicBezTo>
                      <a:pt x="231573" y="540478"/>
                      <a:pt x="239647" y="538504"/>
                      <a:pt x="247662" y="536471"/>
                    </a:cubicBezTo>
                    <a:cubicBezTo>
                      <a:pt x="247781" y="536830"/>
                      <a:pt x="247841" y="537129"/>
                      <a:pt x="247961" y="537487"/>
                    </a:cubicBezTo>
                    <a:cubicBezTo>
                      <a:pt x="239408" y="539820"/>
                      <a:pt x="230856" y="542152"/>
                      <a:pt x="221406" y="54472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60" name="Vrije vorm: vorm 9259">
                <a:extLst>
                  <a:ext uri="{FF2B5EF4-FFF2-40B4-BE49-F238E27FC236}">
                    <a16:creationId xmlns:a16="http://schemas.microsoft.com/office/drawing/2014/main" id="{CAB10B0D-4C50-40B9-86F5-FAD52F43C1C7}"/>
                  </a:ext>
                </a:extLst>
              </p:cNvPr>
              <p:cNvSpPr/>
              <p:nvPr/>
            </p:nvSpPr>
            <p:spPr>
              <a:xfrm>
                <a:off x="5359584" y="2029179"/>
                <a:ext cx="58371" cy="86241"/>
              </a:xfrm>
              <a:custGeom>
                <a:avLst/>
                <a:gdLst>
                  <a:gd name="connsiteX0" fmla="*/ 4904 w 58371"/>
                  <a:gd name="connsiteY0" fmla="*/ 2033 h 86241"/>
                  <a:gd name="connsiteX1" fmla="*/ 17284 w 58371"/>
                  <a:gd name="connsiteY1" fmla="*/ 32176 h 86241"/>
                  <a:gd name="connsiteX2" fmla="*/ 21231 w 58371"/>
                  <a:gd name="connsiteY2" fmla="*/ 35884 h 86241"/>
                  <a:gd name="connsiteX3" fmla="*/ 37200 w 58371"/>
                  <a:gd name="connsiteY3" fmla="*/ 37380 h 86241"/>
                  <a:gd name="connsiteX4" fmla="*/ 22129 w 58371"/>
                  <a:gd name="connsiteY4" fmla="*/ 419 h 86241"/>
                  <a:gd name="connsiteX5" fmla="*/ 23265 w 58371"/>
                  <a:gd name="connsiteY5" fmla="*/ 0 h 86241"/>
                  <a:gd name="connsiteX6" fmla="*/ 58372 w 58371"/>
                  <a:gd name="connsiteY6" fmla="*/ 86242 h 86241"/>
                  <a:gd name="connsiteX7" fmla="*/ 31279 w 58371"/>
                  <a:gd name="connsiteY7" fmla="*/ 84029 h 86241"/>
                  <a:gd name="connsiteX8" fmla="*/ 15311 w 58371"/>
                  <a:gd name="connsiteY8" fmla="*/ 44796 h 86241"/>
                  <a:gd name="connsiteX9" fmla="*/ 12679 w 58371"/>
                  <a:gd name="connsiteY9" fmla="*/ 44198 h 86241"/>
                  <a:gd name="connsiteX10" fmla="*/ 10645 w 58371"/>
                  <a:gd name="connsiteY10" fmla="*/ 40609 h 86241"/>
                  <a:gd name="connsiteX11" fmla="*/ 10466 w 58371"/>
                  <a:gd name="connsiteY11" fmla="*/ 33791 h 86241"/>
                  <a:gd name="connsiteX12" fmla="*/ 0 w 58371"/>
                  <a:gd name="connsiteY12" fmla="*/ 4725 h 86241"/>
                  <a:gd name="connsiteX13" fmla="*/ 10347 w 58371"/>
                  <a:gd name="connsiteY13" fmla="*/ 30143 h 86241"/>
                  <a:gd name="connsiteX14" fmla="*/ 10945 w 58371"/>
                  <a:gd name="connsiteY14" fmla="*/ 29904 h 86241"/>
                  <a:gd name="connsiteX15" fmla="*/ 1974 w 58371"/>
                  <a:gd name="connsiteY15" fmla="*/ 7895 h 86241"/>
                  <a:gd name="connsiteX16" fmla="*/ 4904 w 58371"/>
                  <a:gd name="connsiteY16" fmla="*/ 2033 h 86241"/>
                  <a:gd name="connsiteX17" fmla="*/ 33791 w 58371"/>
                  <a:gd name="connsiteY17" fmla="*/ 76792 h 86241"/>
                  <a:gd name="connsiteX18" fmla="*/ 38037 w 58371"/>
                  <a:gd name="connsiteY18" fmla="*/ 74101 h 86241"/>
                  <a:gd name="connsiteX19" fmla="*/ 43181 w 58371"/>
                  <a:gd name="connsiteY19" fmla="*/ 53049 h 86241"/>
                  <a:gd name="connsiteX20" fmla="*/ 32475 w 58371"/>
                  <a:gd name="connsiteY20" fmla="*/ 45274 h 86241"/>
                  <a:gd name="connsiteX21" fmla="*/ 25358 w 58371"/>
                  <a:gd name="connsiteY21" fmla="*/ 45095 h 86241"/>
                  <a:gd name="connsiteX22" fmla="*/ 20933 w 58371"/>
                  <a:gd name="connsiteY22" fmla="*/ 45274 h 86241"/>
                  <a:gd name="connsiteX23" fmla="*/ 33791 w 58371"/>
                  <a:gd name="connsiteY23" fmla="*/ 76792 h 86241"/>
                  <a:gd name="connsiteX24" fmla="*/ 54724 w 58371"/>
                  <a:gd name="connsiteY24" fmla="*/ 82295 h 86241"/>
                  <a:gd name="connsiteX25" fmla="*/ 48982 w 58371"/>
                  <a:gd name="connsiteY25" fmla="*/ 68240 h 86241"/>
                  <a:gd name="connsiteX26" fmla="*/ 34150 w 58371"/>
                  <a:gd name="connsiteY26" fmla="*/ 78407 h 86241"/>
                  <a:gd name="connsiteX27" fmla="*/ 34628 w 58371"/>
                  <a:gd name="connsiteY27" fmla="*/ 79962 h 86241"/>
                  <a:gd name="connsiteX28" fmla="*/ 54724 w 58371"/>
                  <a:gd name="connsiteY28" fmla="*/ 82295 h 8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371" h="86241">
                    <a:moveTo>
                      <a:pt x="4904" y="2033"/>
                    </a:moveTo>
                    <a:cubicBezTo>
                      <a:pt x="8971" y="12021"/>
                      <a:pt x="12978" y="22189"/>
                      <a:pt x="17284" y="32176"/>
                    </a:cubicBezTo>
                    <a:cubicBezTo>
                      <a:pt x="17942" y="33731"/>
                      <a:pt x="19796" y="35645"/>
                      <a:pt x="21231" y="35884"/>
                    </a:cubicBezTo>
                    <a:cubicBezTo>
                      <a:pt x="26136" y="36722"/>
                      <a:pt x="31100" y="36901"/>
                      <a:pt x="37200" y="37380"/>
                    </a:cubicBezTo>
                    <a:cubicBezTo>
                      <a:pt x="31877" y="24342"/>
                      <a:pt x="27033" y="12380"/>
                      <a:pt x="22129" y="419"/>
                    </a:cubicBezTo>
                    <a:cubicBezTo>
                      <a:pt x="22488" y="299"/>
                      <a:pt x="22906" y="120"/>
                      <a:pt x="23265" y="0"/>
                    </a:cubicBezTo>
                    <a:cubicBezTo>
                      <a:pt x="34928" y="28707"/>
                      <a:pt x="46650" y="57475"/>
                      <a:pt x="58372" y="86242"/>
                    </a:cubicBezTo>
                    <a:cubicBezTo>
                      <a:pt x="49221" y="85464"/>
                      <a:pt x="39951" y="84687"/>
                      <a:pt x="31279" y="84029"/>
                    </a:cubicBezTo>
                    <a:cubicBezTo>
                      <a:pt x="26076" y="71290"/>
                      <a:pt x="20933" y="58551"/>
                      <a:pt x="15311" y="44796"/>
                    </a:cubicBezTo>
                    <a:cubicBezTo>
                      <a:pt x="15430" y="44796"/>
                      <a:pt x="13815" y="44915"/>
                      <a:pt x="12679" y="44198"/>
                    </a:cubicBezTo>
                    <a:cubicBezTo>
                      <a:pt x="11662" y="43540"/>
                      <a:pt x="10825" y="41925"/>
                      <a:pt x="10645" y="40609"/>
                    </a:cubicBezTo>
                    <a:cubicBezTo>
                      <a:pt x="10347" y="38336"/>
                      <a:pt x="11184" y="35825"/>
                      <a:pt x="10466" y="33791"/>
                    </a:cubicBezTo>
                    <a:cubicBezTo>
                      <a:pt x="6818" y="24162"/>
                      <a:pt x="2811" y="14713"/>
                      <a:pt x="0" y="4725"/>
                    </a:cubicBezTo>
                    <a:cubicBezTo>
                      <a:pt x="3469" y="13217"/>
                      <a:pt x="6878" y="21650"/>
                      <a:pt x="10347" y="30143"/>
                    </a:cubicBezTo>
                    <a:cubicBezTo>
                      <a:pt x="10526" y="30083"/>
                      <a:pt x="10765" y="29963"/>
                      <a:pt x="10945" y="29904"/>
                    </a:cubicBezTo>
                    <a:cubicBezTo>
                      <a:pt x="7954" y="22547"/>
                      <a:pt x="5024" y="15251"/>
                      <a:pt x="1974" y="7895"/>
                    </a:cubicBezTo>
                    <a:cubicBezTo>
                      <a:pt x="598" y="4785"/>
                      <a:pt x="479" y="2512"/>
                      <a:pt x="4904" y="2033"/>
                    </a:cubicBezTo>
                    <a:close/>
                    <a:moveTo>
                      <a:pt x="33791" y="76792"/>
                    </a:moveTo>
                    <a:cubicBezTo>
                      <a:pt x="35645" y="75656"/>
                      <a:pt x="36901" y="74938"/>
                      <a:pt x="38037" y="74101"/>
                    </a:cubicBezTo>
                    <a:cubicBezTo>
                      <a:pt x="48683" y="66565"/>
                      <a:pt x="48683" y="66565"/>
                      <a:pt x="43181" y="53049"/>
                    </a:cubicBezTo>
                    <a:cubicBezTo>
                      <a:pt x="41147" y="48025"/>
                      <a:pt x="40490" y="40729"/>
                      <a:pt x="32475" y="45274"/>
                    </a:cubicBezTo>
                    <a:cubicBezTo>
                      <a:pt x="30681" y="46291"/>
                      <a:pt x="27751" y="45154"/>
                      <a:pt x="25358" y="45095"/>
                    </a:cubicBezTo>
                    <a:cubicBezTo>
                      <a:pt x="23983" y="45035"/>
                      <a:pt x="22607" y="45214"/>
                      <a:pt x="20933" y="45274"/>
                    </a:cubicBezTo>
                    <a:cubicBezTo>
                      <a:pt x="25238" y="55920"/>
                      <a:pt x="29365" y="66027"/>
                      <a:pt x="33791" y="76792"/>
                    </a:cubicBezTo>
                    <a:close/>
                    <a:moveTo>
                      <a:pt x="54724" y="82295"/>
                    </a:moveTo>
                    <a:cubicBezTo>
                      <a:pt x="52929" y="77929"/>
                      <a:pt x="51075" y="73383"/>
                      <a:pt x="48982" y="68240"/>
                    </a:cubicBezTo>
                    <a:cubicBezTo>
                      <a:pt x="43839" y="71769"/>
                      <a:pt x="38994" y="75118"/>
                      <a:pt x="34150" y="78407"/>
                    </a:cubicBezTo>
                    <a:cubicBezTo>
                      <a:pt x="34329" y="78946"/>
                      <a:pt x="34449" y="79424"/>
                      <a:pt x="34628" y="79962"/>
                    </a:cubicBezTo>
                    <a:cubicBezTo>
                      <a:pt x="41267" y="80800"/>
                      <a:pt x="47906" y="81517"/>
                      <a:pt x="54724" y="8229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61" name="Vrije vorm: vorm 9260">
                <a:extLst>
                  <a:ext uri="{FF2B5EF4-FFF2-40B4-BE49-F238E27FC236}">
                    <a16:creationId xmlns:a16="http://schemas.microsoft.com/office/drawing/2014/main" id="{AE0ED867-0FFA-4DA3-A9AD-FA2EDE680314}"/>
                  </a:ext>
                </a:extLst>
              </p:cNvPr>
              <p:cNvSpPr/>
              <p:nvPr/>
            </p:nvSpPr>
            <p:spPr>
              <a:xfrm>
                <a:off x="4843208" y="1523390"/>
                <a:ext cx="90309" cy="85703"/>
              </a:xfrm>
              <a:custGeom>
                <a:avLst/>
                <a:gdLst>
                  <a:gd name="connsiteX0" fmla="*/ 43839 w 90309"/>
                  <a:gd name="connsiteY0" fmla="*/ 75955 h 85703"/>
                  <a:gd name="connsiteX1" fmla="*/ 26674 w 90309"/>
                  <a:gd name="connsiteY1" fmla="*/ 33791 h 85703"/>
                  <a:gd name="connsiteX2" fmla="*/ 41506 w 90309"/>
                  <a:gd name="connsiteY2" fmla="*/ 75716 h 85703"/>
                  <a:gd name="connsiteX3" fmla="*/ 31459 w 90309"/>
                  <a:gd name="connsiteY3" fmla="*/ 80500 h 85703"/>
                  <a:gd name="connsiteX4" fmla="*/ 20574 w 90309"/>
                  <a:gd name="connsiteY4" fmla="*/ 85704 h 85703"/>
                  <a:gd name="connsiteX5" fmla="*/ 0 w 90309"/>
                  <a:gd name="connsiteY5" fmla="*/ 35047 h 85703"/>
                  <a:gd name="connsiteX6" fmla="*/ 20096 w 90309"/>
                  <a:gd name="connsiteY6" fmla="*/ 24461 h 85703"/>
                  <a:gd name="connsiteX7" fmla="*/ 24521 w 90309"/>
                  <a:gd name="connsiteY7" fmla="*/ 33851 h 85703"/>
                  <a:gd name="connsiteX8" fmla="*/ 26315 w 90309"/>
                  <a:gd name="connsiteY8" fmla="*/ 33014 h 85703"/>
                  <a:gd name="connsiteX9" fmla="*/ 22667 w 90309"/>
                  <a:gd name="connsiteY9" fmla="*/ 24042 h 85703"/>
                  <a:gd name="connsiteX10" fmla="*/ 68180 w 90309"/>
                  <a:gd name="connsiteY10" fmla="*/ 0 h 85703"/>
                  <a:gd name="connsiteX11" fmla="*/ 90309 w 90309"/>
                  <a:gd name="connsiteY11" fmla="*/ 54425 h 85703"/>
                  <a:gd name="connsiteX12" fmla="*/ 43839 w 90309"/>
                  <a:gd name="connsiteY12" fmla="*/ 75955 h 85703"/>
                  <a:gd name="connsiteX13" fmla="*/ 88335 w 90309"/>
                  <a:gd name="connsiteY13" fmla="*/ 54305 h 85703"/>
                  <a:gd name="connsiteX14" fmla="*/ 67164 w 90309"/>
                  <a:gd name="connsiteY14" fmla="*/ 2213 h 85703"/>
                  <a:gd name="connsiteX15" fmla="*/ 48085 w 90309"/>
                  <a:gd name="connsiteY15" fmla="*/ 12440 h 85703"/>
                  <a:gd name="connsiteX16" fmla="*/ 52750 w 90309"/>
                  <a:gd name="connsiteY16" fmla="*/ 23923 h 85703"/>
                  <a:gd name="connsiteX17" fmla="*/ 70632 w 90309"/>
                  <a:gd name="connsiteY17" fmla="*/ 16626 h 85703"/>
                  <a:gd name="connsiteX18" fmla="*/ 71111 w 90309"/>
                  <a:gd name="connsiteY18" fmla="*/ 17823 h 85703"/>
                  <a:gd name="connsiteX19" fmla="*/ 53348 w 90309"/>
                  <a:gd name="connsiteY19" fmla="*/ 25059 h 85703"/>
                  <a:gd name="connsiteX20" fmla="*/ 68539 w 90309"/>
                  <a:gd name="connsiteY20" fmla="*/ 62379 h 85703"/>
                  <a:gd name="connsiteX21" fmla="*/ 88335 w 90309"/>
                  <a:gd name="connsiteY21" fmla="*/ 54305 h 85703"/>
                  <a:gd name="connsiteX22" fmla="*/ 54903 w 90309"/>
                  <a:gd name="connsiteY22" fmla="*/ 68958 h 85703"/>
                  <a:gd name="connsiteX23" fmla="*/ 38935 w 90309"/>
                  <a:gd name="connsiteY23" fmla="*/ 29664 h 85703"/>
                  <a:gd name="connsiteX24" fmla="*/ 40191 w 90309"/>
                  <a:gd name="connsiteY24" fmla="*/ 29186 h 85703"/>
                  <a:gd name="connsiteX25" fmla="*/ 54664 w 90309"/>
                  <a:gd name="connsiteY25" fmla="*/ 64592 h 85703"/>
                  <a:gd name="connsiteX26" fmla="*/ 58013 w 90309"/>
                  <a:gd name="connsiteY26" fmla="*/ 67642 h 85703"/>
                  <a:gd name="connsiteX27" fmla="*/ 58372 w 90309"/>
                  <a:gd name="connsiteY27" fmla="*/ 63216 h 85703"/>
                  <a:gd name="connsiteX28" fmla="*/ 44257 w 90309"/>
                  <a:gd name="connsiteY28" fmla="*/ 28887 h 85703"/>
                  <a:gd name="connsiteX29" fmla="*/ 43360 w 90309"/>
                  <a:gd name="connsiteY29" fmla="*/ 26674 h 85703"/>
                  <a:gd name="connsiteX30" fmla="*/ 47128 w 90309"/>
                  <a:gd name="connsiteY30" fmla="*/ 24940 h 85703"/>
                  <a:gd name="connsiteX31" fmla="*/ 43061 w 90309"/>
                  <a:gd name="connsiteY31" fmla="*/ 15012 h 85703"/>
                  <a:gd name="connsiteX32" fmla="*/ 25119 w 90309"/>
                  <a:gd name="connsiteY32" fmla="*/ 24581 h 85703"/>
                  <a:gd name="connsiteX33" fmla="*/ 28229 w 90309"/>
                  <a:gd name="connsiteY33" fmla="*/ 32296 h 85703"/>
                  <a:gd name="connsiteX34" fmla="*/ 36004 w 90309"/>
                  <a:gd name="connsiteY34" fmla="*/ 29844 h 85703"/>
                  <a:gd name="connsiteX35" fmla="*/ 36363 w 90309"/>
                  <a:gd name="connsiteY35" fmla="*/ 30801 h 85703"/>
                  <a:gd name="connsiteX36" fmla="*/ 28767 w 90309"/>
                  <a:gd name="connsiteY36" fmla="*/ 33851 h 85703"/>
                  <a:gd name="connsiteX37" fmla="*/ 44736 w 90309"/>
                  <a:gd name="connsiteY37" fmla="*/ 73084 h 85703"/>
                  <a:gd name="connsiteX38" fmla="*/ 54903 w 90309"/>
                  <a:gd name="connsiteY38" fmla="*/ 68958 h 85703"/>
                  <a:gd name="connsiteX39" fmla="*/ 39174 w 90309"/>
                  <a:gd name="connsiteY39" fmla="*/ 75237 h 85703"/>
                  <a:gd name="connsiteX40" fmla="*/ 23205 w 90309"/>
                  <a:gd name="connsiteY40" fmla="*/ 36004 h 85703"/>
                  <a:gd name="connsiteX41" fmla="*/ 5443 w 90309"/>
                  <a:gd name="connsiteY41" fmla="*/ 43241 h 85703"/>
                  <a:gd name="connsiteX42" fmla="*/ 21770 w 90309"/>
                  <a:gd name="connsiteY42" fmla="*/ 83431 h 85703"/>
                  <a:gd name="connsiteX43" fmla="*/ 39174 w 90309"/>
                  <a:gd name="connsiteY43" fmla="*/ 75237 h 85703"/>
                  <a:gd name="connsiteX44" fmla="*/ 19497 w 90309"/>
                  <a:gd name="connsiteY44" fmla="*/ 26495 h 85703"/>
                  <a:gd name="connsiteX45" fmla="*/ 4426 w 90309"/>
                  <a:gd name="connsiteY45" fmla="*/ 34389 h 85703"/>
                  <a:gd name="connsiteX46" fmla="*/ 3409 w 90309"/>
                  <a:gd name="connsiteY46" fmla="*/ 38456 h 85703"/>
                  <a:gd name="connsiteX47" fmla="*/ 6998 w 90309"/>
                  <a:gd name="connsiteY47" fmla="*/ 40549 h 85703"/>
                  <a:gd name="connsiteX48" fmla="*/ 22667 w 90309"/>
                  <a:gd name="connsiteY48" fmla="*/ 34329 h 85703"/>
                  <a:gd name="connsiteX49" fmla="*/ 19497 w 90309"/>
                  <a:gd name="connsiteY49" fmla="*/ 26495 h 85703"/>
                  <a:gd name="connsiteX50" fmla="*/ 63336 w 90309"/>
                  <a:gd name="connsiteY50" fmla="*/ 65130 h 85703"/>
                  <a:gd name="connsiteX51" fmla="*/ 47487 w 90309"/>
                  <a:gd name="connsiteY51" fmla="*/ 26136 h 85703"/>
                  <a:gd name="connsiteX52" fmla="*/ 63336 w 90309"/>
                  <a:gd name="connsiteY52" fmla="*/ 65130 h 85703"/>
                  <a:gd name="connsiteX53" fmla="*/ 65310 w 90309"/>
                  <a:gd name="connsiteY53" fmla="*/ 63455 h 85703"/>
                  <a:gd name="connsiteX54" fmla="*/ 66267 w 90309"/>
                  <a:gd name="connsiteY54" fmla="*/ 63276 h 85703"/>
                  <a:gd name="connsiteX55" fmla="*/ 51255 w 90309"/>
                  <a:gd name="connsiteY55" fmla="*/ 26375 h 85703"/>
                  <a:gd name="connsiteX56" fmla="*/ 50418 w 90309"/>
                  <a:gd name="connsiteY56" fmla="*/ 26734 h 85703"/>
                  <a:gd name="connsiteX57" fmla="*/ 65310 w 90309"/>
                  <a:gd name="connsiteY57" fmla="*/ 63455 h 8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0309" h="85703">
                    <a:moveTo>
                      <a:pt x="43839" y="75955"/>
                    </a:moveTo>
                    <a:cubicBezTo>
                      <a:pt x="38157" y="61960"/>
                      <a:pt x="32595" y="48264"/>
                      <a:pt x="26674" y="33791"/>
                    </a:cubicBezTo>
                    <a:cubicBezTo>
                      <a:pt x="25359" y="38157"/>
                      <a:pt x="33911" y="61302"/>
                      <a:pt x="41506" y="75716"/>
                    </a:cubicBezTo>
                    <a:cubicBezTo>
                      <a:pt x="38157" y="77331"/>
                      <a:pt x="34808" y="78886"/>
                      <a:pt x="31459" y="80500"/>
                    </a:cubicBezTo>
                    <a:cubicBezTo>
                      <a:pt x="28050" y="82115"/>
                      <a:pt x="24641" y="83790"/>
                      <a:pt x="20574" y="85704"/>
                    </a:cubicBezTo>
                    <a:cubicBezTo>
                      <a:pt x="13696" y="68838"/>
                      <a:pt x="6878" y="51972"/>
                      <a:pt x="0" y="35047"/>
                    </a:cubicBezTo>
                    <a:cubicBezTo>
                      <a:pt x="6758" y="31518"/>
                      <a:pt x="13397" y="27990"/>
                      <a:pt x="20096" y="24461"/>
                    </a:cubicBezTo>
                    <a:cubicBezTo>
                      <a:pt x="21471" y="27392"/>
                      <a:pt x="22966" y="30621"/>
                      <a:pt x="24521" y="33851"/>
                    </a:cubicBezTo>
                    <a:cubicBezTo>
                      <a:pt x="25119" y="33552"/>
                      <a:pt x="25717" y="33313"/>
                      <a:pt x="26315" y="33014"/>
                    </a:cubicBezTo>
                    <a:cubicBezTo>
                      <a:pt x="25119" y="30083"/>
                      <a:pt x="23923" y="27152"/>
                      <a:pt x="22667" y="24042"/>
                    </a:cubicBezTo>
                    <a:cubicBezTo>
                      <a:pt x="37858" y="16028"/>
                      <a:pt x="52930" y="8074"/>
                      <a:pt x="68180" y="0"/>
                    </a:cubicBezTo>
                    <a:cubicBezTo>
                      <a:pt x="75537" y="18122"/>
                      <a:pt x="82953" y="36243"/>
                      <a:pt x="90309" y="54425"/>
                    </a:cubicBezTo>
                    <a:cubicBezTo>
                      <a:pt x="75178" y="61482"/>
                      <a:pt x="59867" y="68599"/>
                      <a:pt x="43839" y="75955"/>
                    </a:cubicBezTo>
                    <a:close/>
                    <a:moveTo>
                      <a:pt x="88335" y="54305"/>
                    </a:moveTo>
                    <a:cubicBezTo>
                      <a:pt x="81039" y="36423"/>
                      <a:pt x="74161" y="19437"/>
                      <a:pt x="67164" y="2213"/>
                    </a:cubicBezTo>
                    <a:cubicBezTo>
                      <a:pt x="60465" y="5801"/>
                      <a:pt x="54305" y="9150"/>
                      <a:pt x="48085" y="12440"/>
                    </a:cubicBezTo>
                    <a:cubicBezTo>
                      <a:pt x="49700" y="16327"/>
                      <a:pt x="51076" y="19796"/>
                      <a:pt x="52750" y="23923"/>
                    </a:cubicBezTo>
                    <a:cubicBezTo>
                      <a:pt x="59030" y="21351"/>
                      <a:pt x="64831" y="19019"/>
                      <a:pt x="70632" y="16626"/>
                    </a:cubicBezTo>
                    <a:cubicBezTo>
                      <a:pt x="70812" y="17045"/>
                      <a:pt x="70932" y="17404"/>
                      <a:pt x="71111" y="17823"/>
                    </a:cubicBezTo>
                    <a:cubicBezTo>
                      <a:pt x="65130" y="20275"/>
                      <a:pt x="59149" y="22667"/>
                      <a:pt x="53348" y="25059"/>
                    </a:cubicBezTo>
                    <a:cubicBezTo>
                      <a:pt x="58552" y="37858"/>
                      <a:pt x="63575" y="50178"/>
                      <a:pt x="68539" y="62379"/>
                    </a:cubicBezTo>
                    <a:cubicBezTo>
                      <a:pt x="75297" y="59568"/>
                      <a:pt x="81637" y="56996"/>
                      <a:pt x="88335" y="54305"/>
                    </a:cubicBezTo>
                    <a:close/>
                    <a:moveTo>
                      <a:pt x="54903" y="68958"/>
                    </a:moveTo>
                    <a:cubicBezTo>
                      <a:pt x="49461" y="55561"/>
                      <a:pt x="44198" y="42642"/>
                      <a:pt x="38935" y="29664"/>
                    </a:cubicBezTo>
                    <a:cubicBezTo>
                      <a:pt x="39353" y="29485"/>
                      <a:pt x="39772" y="29305"/>
                      <a:pt x="40191" y="29186"/>
                    </a:cubicBezTo>
                    <a:cubicBezTo>
                      <a:pt x="44975" y="40968"/>
                      <a:pt x="49760" y="52810"/>
                      <a:pt x="54664" y="64592"/>
                    </a:cubicBezTo>
                    <a:cubicBezTo>
                      <a:pt x="55202" y="65848"/>
                      <a:pt x="56877" y="66625"/>
                      <a:pt x="58013" y="67642"/>
                    </a:cubicBezTo>
                    <a:cubicBezTo>
                      <a:pt x="58133" y="66147"/>
                      <a:pt x="58850" y="64472"/>
                      <a:pt x="58372" y="63216"/>
                    </a:cubicBezTo>
                    <a:cubicBezTo>
                      <a:pt x="53767" y="51733"/>
                      <a:pt x="48982" y="40310"/>
                      <a:pt x="44257" y="28887"/>
                    </a:cubicBezTo>
                    <a:cubicBezTo>
                      <a:pt x="43959" y="28169"/>
                      <a:pt x="43660" y="27451"/>
                      <a:pt x="43360" y="26674"/>
                    </a:cubicBezTo>
                    <a:cubicBezTo>
                      <a:pt x="44736" y="26016"/>
                      <a:pt x="45992" y="25478"/>
                      <a:pt x="47128" y="24940"/>
                    </a:cubicBezTo>
                    <a:cubicBezTo>
                      <a:pt x="45693" y="21471"/>
                      <a:pt x="44437" y="18421"/>
                      <a:pt x="43061" y="15012"/>
                    </a:cubicBezTo>
                    <a:cubicBezTo>
                      <a:pt x="36782" y="18361"/>
                      <a:pt x="30861" y="21471"/>
                      <a:pt x="25119" y="24581"/>
                    </a:cubicBezTo>
                    <a:cubicBezTo>
                      <a:pt x="26315" y="27571"/>
                      <a:pt x="27272" y="29904"/>
                      <a:pt x="28229" y="32296"/>
                    </a:cubicBezTo>
                    <a:cubicBezTo>
                      <a:pt x="31100" y="31399"/>
                      <a:pt x="33552" y="30621"/>
                      <a:pt x="36004" y="29844"/>
                    </a:cubicBezTo>
                    <a:cubicBezTo>
                      <a:pt x="36124" y="30143"/>
                      <a:pt x="36243" y="30502"/>
                      <a:pt x="36363" y="30801"/>
                    </a:cubicBezTo>
                    <a:cubicBezTo>
                      <a:pt x="33911" y="31817"/>
                      <a:pt x="31459" y="32774"/>
                      <a:pt x="28767" y="33851"/>
                    </a:cubicBezTo>
                    <a:cubicBezTo>
                      <a:pt x="34210" y="47188"/>
                      <a:pt x="39413" y="60046"/>
                      <a:pt x="44736" y="73084"/>
                    </a:cubicBezTo>
                    <a:cubicBezTo>
                      <a:pt x="48205" y="71709"/>
                      <a:pt x="51315" y="70453"/>
                      <a:pt x="54903" y="68958"/>
                    </a:cubicBezTo>
                    <a:close/>
                    <a:moveTo>
                      <a:pt x="39174" y="75237"/>
                    </a:moveTo>
                    <a:cubicBezTo>
                      <a:pt x="33731" y="61900"/>
                      <a:pt x="28528" y="49042"/>
                      <a:pt x="23205" y="36004"/>
                    </a:cubicBezTo>
                    <a:cubicBezTo>
                      <a:pt x="16985" y="38516"/>
                      <a:pt x="11184" y="40908"/>
                      <a:pt x="5443" y="43241"/>
                    </a:cubicBezTo>
                    <a:cubicBezTo>
                      <a:pt x="10945" y="56757"/>
                      <a:pt x="16268" y="69855"/>
                      <a:pt x="21770" y="83431"/>
                    </a:cubicBezTo>
                    <a:cubicBezTo>
                      <a:pt x="27691" y="80620"/>
                      <a:pt x="33253" y="78048"/>
                      <a:pt x="39174" y="75237"/>
                    </a:cubicBezTo>
                    <a:close/>
                    <a:moveTo>
                      <a:pt x="19497" y="26495"/>
                    </a:moveTo>
                    <a:cubicBezTo>
                      <a:pt x="14234" y="29186"/>
                      <a:pt x="9211" y="31578"/>
                      <a:pt x="4426" y="34389"/>
                    </a:cubicBezTo>
                    <a:cubicBezTo>
                      <a:pt x="3529" y="34927"/>
                      <a:pt x="2931" y="37380"/>
                      <a:pt x="3409" y="38456"/>
                    </a:cubicBezTo>
                    <a:cubicBezTo>
                      <a:pt x="3888" y="39532"/>
                      <a:pt x="6100" y="40848"/>
                      <a:pt x="6998" y="40549"/>
                    </a:cubicBezTo>
                    <a:cubicBezTo>
                      <a:pt x="12261" y="38755"/>
                      <a:pt x="17284" y="36542"/>
                      <a:pt x="22667" y="34329"/>
                    </a:cubicBezTo>
                    <a:cubicBezTo>
                      <a:pt x="21650" y="31817"/>
                      <a:pt x="20753" y="29664"/>
                      <a:pt x="19497" y="26495"/>
                    </a:cubicBezTo>
                    <a:close/>
                    <a:moveTo>
                      <a:pt x="63336" y="65130"/>
                    </a:moveTo>
                    <a:cubicBezTo>
                      <a:pt x="58193" y="52451"/>
                      <a:pt x="52989" y="39712"/>
                      <a:pt x="47487" y="26136"/>
                    </a:cubicBezTo>
                    <a:cubicBezTo>
                      <a:pt x="46112" y="31219"/>
                      <a:pt x="58073" y="61123"/>
                      <a:pt x="63336" y="65130"/>
                    </a:cubicBezTo>
                    <a:close/>
                    <a:moveTo>
                      <a:pt x="65310" y="63455"/>
                    </a:moveTo>
                    <a:cubicBezTo>
                      <a:pt x="65609" y="63396"/>
                      <a:pt x="65908" y="63336"/>
                      <a:pt x="66267" y="63276"/>
                    </a:cubicBezTo>
                    <a:cubicBezTo>
                      <a:pt x="61243" y="50956"/>
                      <a:pt x="56279" y="38635"/>
                      <a:pt x="51255" y="26375"/>
                    </a:cubicBezTo>
                    <a:cubicBezTo>
                      <a:pt x="50956" y="26495"/>
                      <a:pt x="50657" y="26614"/>
                      <a:pt x="50418" y="26734"/>
                    </a:cubicBezTo>
                    <a:cubicBezTo>
                      <a:pt x="55382" y="38994"/>
                      <a:pt x="60346" y="51255"/>
                      <a:pt x="65310" y="6345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62" name="Vrije vorm: vorm 9261">
                <a:extLst>
                  <a:ext uri="{FF2B5EF4-FFF2-40B4-BE49-F238E27FC236}">
                    <a16:creationId xmlns:a16="http://schemas.microsoft.com/office/drawing/2014/main" id="{5414BFBA-90FF-49B5-BA35-C5F73533343E}"/>
                  </a:ext>
                </a:extLst>
              </p:cNvPr>
              <p:cNvSpPr/>
              <p:nvPr/>
            </p:nvSpPr>
            <p:spPr>
              <a:xfrm>
                <a:off x="4725986" y="1849518"/>
                <a:ext cx="94316" cy="72306"/>
              </a:xfrm>
              <a:custGeom>
                <a:avLst/>
                <a:gdLst>
                  <a:gd name="connsiteX0" fmla="*/ 52391 w 94316"/>
                  <a:gd name="connsiteY0" fmla="*/ 68419 h 72306"/>
                  <a:gd name="connsiteX1" fmla="*/ 46889 w 94316"/>
                  <a:gd name="connsiteY1" fmla="*/ 69735 h 72306"/>
                  <a:gd name="connsiteX2" fmla="*/ 23086 w 94316"/>
                  <a:gd name="connsiteY2" fmla="*/ 11244 h 72306"/>
                  <a:gd name="connsiteX3" fmla="*/ 22009 w 94316"/>
                  <a:gd name="connsiteY3" fmla="*/ 11662 h 72306"/>
                  <a:gd name="connsiteX4" fmla="*/ 45214 w 94316"/>
                  <a:gd name="connsiteY4" fmla="*/ 68778 h 72306"/>
                  <a:gd name="connsiteX5" fmla="*/ 44018 w 94316"/>
                  <a:gd name="connsiteY5" fmla="*/ 69257 h 72306"/>
                  <a:gd name="connsiteX6" fmla="*/ 38695 w 94316"/>
                  <a:gd name="connsiteY6" fmla="*/ 56219 h 72306"/>
                  <a:gd name="connsiteX7" fmla="*/ 22009 w 94316"/>
                  <a:gd name="connsiteY7" fmla="*/ 15610 h 72306"/>
                  <a:gd name="connsiteX8" fmla="*/ 14832 w 94316"/>
                  <a:gd name="connsiteY8" fmla="*/ 11304 h 72306"/>
                  <a:gd name="connsiteX9" fmla="*/ 2213 w 94316"/>
                  <a:gd name="connsiteY9" fmla="*/ 13935 h 72306"/>
                  <a:gd name="connsiteX10" fmla="*/ 22547 w 94316"/>
                  <a:gd name="connsiteY10" fmla="*/ 63994 h 72306"/>
                  <a:gd name="connsiteX11" fmla="*/ 34987 w 94316"/>
                  <a:gd name="connsiteY11" fmla="*/ 58910 h 72306"/>
                  <a:gd name="connsiteX12" fmla="*/ 35346 w 94316"/>
                  <a:gd name="connsiteY12" fmla="*/ 59628 h 72306"/>
                  <a:gd name="connsiteX13" fmla="*/ 22547 w 94316"/>
                  <a:gd name="connsiteY13" fmla="*/ 65788 h 72306"/>
                  <a:gd name="connsiteX14" fmla="*/ 27870 w 94316"/>
                  <a:gd name="connsiteY14" fmla="*/ 70812 h 72306"/>
                  <a:gd name="connsiteX15" fmla="*/ 24222 w 94316"/>
                  <a:gd name="connsiteY15" fmla="*/ 72307 h 72306"/>
                  <a:gd name="connsiteX16" fmla="*/ 0 w 94316"/>
                  <a:gd name="connsiteY16" fmla="*/ 12679 h 72306"/>
                  <a:gd name="connsiteX17" fmla="*/ 68419 w 94316"/>
                  <a:gd name="connsiteY17" fmla="*/ 0 h 72306"/>
                  <a:gd name="connsiteX18" fmla="*/ 94316 w 94316"/>
                  <a:gd name="connsiteY18" fmla="*/ 63695 h 72306"/>
                  <a:gd name="connsiteX19" fmla="*/ 93299 w 94316"/>
                  <a:gd name="connsiteY19" fmla="*/ 64113 h 72306"/>
                  <a:gd name="connsiteX20" fmla="*/ 67881 w 94316"/>
                  <a:gd name="connsiteY20" fmla="*/ 1555 h 72306"/>
                  <a:gd name="connsiteX21" fmla="*/ 47547 w 94316"/>
                  <a:gd name="connsiteY21" fmla="*/ 5263 h 72306"/>
                  <a:gd name="connsiteX22" fmla="*/ 63396 w 94316"/>
                  <a:gd name="connsiteY22" fmla="*/ 44198 h 72306"/>
                  <a:gd name="connsiteX23" fmla="*/ 67223 w 94316"/>
                  <a:gd name="connsiteY23" fmla="*/ 37140 h 72306"/>
                  <a:gd name="connsiteX24" fmla="*/ 55860 w 94316"/>
                  <a:gd name="connsiteY24" fmla="*/ 7296 h 72306"/>
                  <a:gd name="connsiteX25" fmla="*/ 70513 w 94316"/>
                  <a:gd name="connsiteY25" fmla="*/ 43360 h 72306"/>
                  <a:gd name="connsiteX26" fmla="*/ 63276 w 94316"/>
                  <a:gd name="connsiteY26" fmla="*/ 46291 h 72306"/>
                  <a:gd name="connsiteX27" fmla="*/ 69017 w 94316"/>
                  <a:gd name="connsiteY27" fmla="*/ 54484 h 72306"/>
                  <a:gd name="connsiteX28" fmla="*/ 68958 w 94316"/>
                  <a:gd name="connsiteY28" fmla="*/ 56099 h 72306"/>
                  <a:gd name="connsiteX29" fmla="*/ 76434 w 94316"/>
                  <a:gd name="connsiteY29" fmla="*/ 64891 h 72306"/>
                  <a:gd name="connsiteX30" fmla="*/ 88933 w 94316"/>
                  <a:gd name="connsiteY30" fmla="*/ 63814 h 72306"/>
                  <a:gd name="connsiteX31" fmla="*/ 89172 w 94316"/>
                  <a:gd name="connsiteY31" fmla="*/ 65250 h 72306"/>
                  <a:gd name="connsiteX32" fmla="*/ 52032 w 94316"/>
                  <a:gd name="connsiteY32" fmla="*/ 68240 h 72306"/>
                  <a:gd name="connsiteX33" fmla="*/ 66924 w 94316"/>
                  <a:gd name="connsiteY33" fmla="*/ 65489 h 72306"/>
                  <a:gd name="connsiteX34" fmla="*/ 64353 w 94316"/>
                  <a:gd name="connsiteY34" fmla="*/ 59149 h 72306"/>
                  <a:gd name="connsiteX35" fmla="*/ 46291 w 94316"/>
                  <a:gd name="connsiteY35" fmla="*/ 66506 h 72306"/>
                  <a:gd name="connsiteX36" fmla="*/ 52391 w 94316"/>
                  <a:gd name="connsiteY36" fmla="*/ 68419 h 72306"/>
                  <a:gd name="connsiteX37" fmla="*/ 42643 w 94316"/>
                  <a:gd name="connsiteY37" fmla="*/ 55082 h 72306"/>
                  <a:gd name="connsiteX38" fmla="*/ 59209 w 94316"/>
                  <a:gd name="connsiteY38" fmla="*/ 46590 h 72306"/>
                  <a:gd name="connsiteX39" fmla="*/ 42822 w 94316"/>
                  <a:gd name="connsiteY39" fmla="*/ 6280 h 72306"/>
                  <a:gd name="connsiteX40" fmla="*/ 24162 w 94316"/>
                  <a:gd name="connsiteY40" fmla="*/ 9689 h 72306"/>
                  <a:gd name="connsiteX41" fmla="*/ 42643 w 94316"/>
                  <a:gd name="connsiteY41" fmla="*/ 55082 h 72306"/>
                  <a:gd name="connsiteX42" fmla="*/ 59987 w 94316"/>
                  <a:gd name="connsiteY42" fmla="*/ 48025 h 72306"/>
                  <a:gd name="connsiteX43" fmla="*/ 43540 w 94316"/>
                  <a:gd name="connsiteY43" fmla="*/ 55980 h 72306"/>
                  <a:gd name="connsiteX44" fmla="*/ 47248 w 94316"/>
                  <a:gd name="connsiteY44" fmla="*/ 65070 h 72306"/>
                  <a:gd name="connsiteX45" fmla="*/ 63575 w 94316"/>
                  <a:gd name="connsiteY45" fmla="*/ 56877 h 72306"/>
                  <a:gd name="connsiteX46" fmla="*/ 59987 w 94316"/>
                  <a:gd name="connsiteY46" fmla="*/ 48025 h 72306"/>
                  <a:gd name="connsiteX47" fmla="*/ 45932 w 94316"/>
                  <a:gd name="connsiteY47" fmla="*/ 6579 h 72306"/>
                  <a:gd name="connsiteX48" fmla="*/ 45274 w 94316"/>
                  <a:gd name="connsiteY48" fmla="*/ 6878 h 72306"/>
                  <a:gd name="connsiteX49" fmla="*/ 60944 w 94316"/>
                  <a:gd name="connsiteY49" fmla="*/ 45394 h 72306"/>
                  <a:gd name="connsiteX50" fmla="*/ 61601 w 94316"/>
                  <a:gd name="connsiteY50" fmla="*/ 45095 h 72306"/>
                  <a:gd name="connsiteX51" fmla="*/ 45932 w 94316"/>
                  <a:gd name="connsiteY51" fmla="*/ 6579 h 7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4316" h="72306">
                    <a:moveTo>
                      <a:pt x="52391" y="68419"/>
                    </a:moveTo>
                    <a:cubicBezTo>
                      <a:pt x="50657" y="68838"/>
                      <a:pt x="48922" y="69257"/>
                      <a:pt x="46889" y="69735"/>
                    </a:cubicBezTo>
                    <a:cubicBezTo>
                      <a:pt x="38875" y="50118"/>
                      <a:pt x="30980" y="30681"/>
                      <a:pt x="23086" y="11244"/>
                    </a:cubicBezTo>
                    <a:cubicBezTo>
                      <a:pt x="22727" y="11363"/>
                      <a:pt x="22368" y="11543"/>
                      <a:pt x="22009" y="11662"/>
                    </a:cubicBezTo>
                    <a:cubicBezTo>
                      <a:pt x="29724" y="30681"/>
                      <a:pt x="37499" y="49700"/>
                      <a:pt x="45214" y="68778"/>
                    </a:cubicBezTo>
                    <a:cubicBezTo>
                      <a:pt x="44796" y="68958"/>
                      <a:pt x="44437" y="69137"/>
                      <a:pt x="44018" y="69257"/>
                    </a:cubicBezTo>
                    <a:cubicBezTo>
                      <a:pt x="42224" y="64891"/>
                      <a:pt x="40490" y="60525"/>
                      <a:pt x="38695" y="56219"/>
                    </a:cubicBezTo>
                    <a:cubicBezTo>
                      <a:pt x="33133" y="42702"/>
                      <a:pt x="27452" y="29246"/>
                      <a:pt x="22009" y="15610"/>
                    </a:cubicBezTo>
                    <a:cubicBezTo>
                      <a:pt x="20454" y="11662"/>
                      <a:pt x="18540" y="10287"/>
                      <a:pt x="14832" y="11304"/>
                    </a:cubicBezTo>
                    <a:cubicBezTo>
                      <a:pt x="10825" y="12380"/>
                      <a:pt x="6698" y="13038"/>
                      <a:pt x="2213" y="13935"/>
                    </a:cubicBezTo>
                    <a:cubicBezTo>
                      <a:pt x="9091" y="30860"/>
                      <a:pt x="15789" y="47248"/>
                      <a:pt x="22547" y="63994"/>
                    </a:cubicBezTo>
                    <a:cubicBezTo>
                      <a:pt x="27033" y="62140"/>
                      <a:pt x="31040" y="60525"/>
                      <a:pt x="34987" y="58910"/>
                    </a:cubicBezTo>
                    <a:cubicBezTo>
                      <a:pt x="35107" y="59149"/>
                      <a:pt x="35227" y="59389"/>
                      <a:pt x="35346" y="59628"/>
                    </a:cubicBezTo>
                    <a:cubicBezTo>
                      <a:pt x="31519" y="61482"/>
                      <a:pt x="27631" y="63336"/>
                      <a:pt x="22547" y="65788"/>
                    </a:cubicBezTo>
                    <a:cubicBezTo>
                      <a:pt x="24880" y="67941"/>
                      <a:pt x="26495" y="69496"/>
                      <a:pt x="27870" y="70812"/>
                    </a:cubicBezTo>
                    <a:cubicBezTo>
                      <a:pt x="27332" y="71051"/>
                      <a:pt x="26016" y="71589"/>
                      <a:pt x="24222" y="72307"/>
                    </a:cubicBezTo>
                    <a:cubicBezTo>
                      <a:pt x="16088" y="52331"/>
                      <a:pt x="8074" y="32655"/>
                      <a:pt x="0" y="12679"/>
                    </a:cubicBezTo>
                    <a:cubicBezTo>
                      <a:pt x="22428" y="8493"/>
                      <a:pt x="45274" y="4306"/>
                      <a:pt x="68419" y="0"/>
                    </a:cubicBezTo>
                    <a:cubicBezTo>
                      <a:pt x="76972" y="21052"/>
                      <a:pt x="85644" y="42403"/>
                      <a:pt x="94316" y="63695"/>
                    </a:cubicBezTo>
                    <a:cubicBezTo>
                      <a:pt x="93957" y="63814"/>
                      <a:pt x="93658" y="63994"/>
                      <a:pt x="93299" y="64113"/>
                    </a:cubicBezTo>
                    <a:cubicBezTo>
                      <a:pt x="84866" y="43360"/>
                      <a:pt x="76434" y="22607"/>
                      <a:pt x="67881" y="1555"/>
                    </a:cubicBezTo>
                    <a:cubicBezTo>
                      <a:pt x="60645" y="2871"/>
                      <a:pt x="54245" y="4067"/>
                      <a:pt x="47547" y="5263"/>
                    </a:cubicBezTo>
                    <a:cubicBezTo>
                      <a:pt x="52929" y="18480"/>
                      <a:pt x="58192" y="31399"/>
                      <a:pt x="63396" y="44198"/>
                    </a:cubicBezTo>
                    <a:cubicBezTo>
                      <a:pt x="68300" y="43898"/>
                      <a:pt x="69197" y="41745"/>
                      <a:pt x="67223" y="37140"/>
                    </a:cubicBezTo>
                    <a:cubicBezTo>
                      <a:pt x="63037" y="27392"/>
                      <a:pt x="59149" y="17464"/>
                      <a:pt x="55860" y="7296"/>
                    </a:cubicBezTo>
                    <a:cubicBezTo>
                      <a:pt x="60704" y="19138"/>
                      <a:pt x="65489" y="31040"/>
                      <a:pt x="70513" y="43360"/>
                    </a:cubicBezTo>
                    <a:cubicBezTo>
                      <a:pt x="68898" y="44018"/>
                      <a:pt x="66685" y="44915"/>
                      <a:pt x="63276" y="46291"/>
                    </a:cubicBezTo>
                    <a:cubicBezTo>
                      <a:pt x="65489" y="49461"/>
                      <a:pt x="67343" y="51913"/>
                      <a:pt x="69017" y="54484"/>
                    </a:cubicBezTo>
                    <a:cubicBezTo>
                      <a:pt x="69257" y="54843"/>
                      <a:pt x="69077" y="55561"/>
                      <a:pt x="68958" y="56099"/>
                    </a:cubicBezTo>
                    <a:cubicBezTo>
                      <a:pt x="68300" y="61063"/>
                      <a:pt x="71829" y="65250"/>
                      <a:pt x="76434" y="64891"/>
                    </a:cubicBezTo>
                    <a:cubicBezTo>
                      <a:pt x="80620" y="64532"/>
                      <a:pt x="84747" y="64173"/>
                      <a:pt x="88933" y="63814"/>
                    </a:cubicBezTo>
                    <a:cubicBezTo>
                      <a:pt x="88993" y="64293"/>
                      <a:pt x="89053" y="64771"/>
                      <a:pt x="89172" y="65250"/>
                    </a:cubicBezTo>
                    <a:cubicBezTo>
                      <a:pt x="76793" y="66266"/>
                      <a:pt x="64412" y="67223"/>
                      <a:pt x="52032" y="68240"/>
                    </a:cubicBezTo>
                    <a:cubicBezTo>
                      <a:pt x="56937" y="67343"/>
                      <a:pt x="61841" y="66446"/>
                      <a:pt x="66924" y="65489"/>
                    </a:cubicBezTo>
                    <a:cubicBezTo>
                      <a:pt x="65968" y="63156"/>
                      <a:pt x="65070" y="61003"/>
                      <a:pt x="64353" y="59149"/>
                    </a:cubicBezTo>
                    <a:cubicBezTo>
                      <a:pt x="58611" y="61482"/>
                      <a:pt x="53169" y="63695"/>
                      <a:pt x="46291" y="66506"/>
                    </a:cubicBezTo>
                    <a:cubicBezTo>
                      <a:pt x="49521" y="67522"/>
                      <a:pt x="50956" y="67941"/>
                      <a:pt x="52391" y="68419"/>
                    </a:cubicBezTo>
                    <a:close/>
                    <a:moveTo>
                      <a:pt x="42643" y="55082"/>
                    </a:moveTo>
                    <a:cubicBezTo>
                      <a:pt x="48803" y="51913"/>
                      <a:pt x="54066" y="49221"/>
                      <a:pt x="59209" y="46590"/>
                    </a:cubicBezTo>
                    <a:cubicBezTo>
                      <a:pt x="53587" y="32834"/>
                      <a:pt x="48264" y="19736"/>
                      <a:pt x="42822" y="6280"/>
                    </a:cubicBezTo>
                    <a:cubicBezTo>
                      <a:pt x="36542" y="7416"/>
                      <a:pt x="30502" y="8493"/>
                      <a:pt x="24162" y="9689"/>
                    </a:cubicBezTo>
                    <a:cubicBezTo>
                      <a:pt x="30322" y="24820"/>
                      <a:pt x="36303" y="39533"/>
                      <a:pt x="42643" y="55082"/>
                    </a:cubicBezTo>
                    <a:close/>
                    <a:moveTo>
                      <a:pt x="59987" y="48025"/>
                    </a:moveTo>
                    <a:cubicBezTo>
                      <a:pt x="54125" y="50836"/>
                      <a:pt x="48862" y="53408"/>
                      <a:pt x="43540" y="55980"/>
                    </a:cubicBezTo>
                    <a:cubicBezTo>
                      <a:pt x="44855" y="59149"/>
                      <a:pt x="45932" y="61841"/>
                      <a:pt x="47248" y="65070"/>
                    </a:cubicBezTo>
                    <a:cubicBezTo>
                      <a:pt x="52929" y="62259"/>
                      <a:pt x="58132" y="59628"/>
                      <a:pt x="63575" y="56877"/>
                    </a:cubicBezTo>
                    <a:cubicBezTo>
                      <a:pt x="62319" y="53826"/>
                      <a:pt x="61302" y="51315"/>
                      <a:pt x="59987" y="48025"/>
                    </a:cubicBezTo>
                    <a:close/>
                    <a:moveTo>
                      <a:pt x="45932" y="6579"/>
                    </a:moveTo>
                    <a:cubicBezTo>
                      <a:pt x="45693" y="6698"/>
                      <a:pt x="45513" y="6758"/>
                      <a:pt x="45274" y="6878"/>
                    </a:cubicBezTo>
                    <a:cubicBezTo>
                      <a:pt x="50477" y="19736"/>
                      <a:pt x="55740" y="32535"/>
                      <a:pt x="60944" y="45394"/>
                    </a:cubicBezTo>
                    <a:cubicBezTo>
                      <a:pt x="61183" y="45274"/>
                      <a:pt x="61362" y="45154"/>
                      <a:pt x="61601" y="45095"/>
                    </a:cubicBezTo>
                    <a:cubicBezTo>
                      <a:pt x="56398" y="32236"/>
                      <a:pt x="51135" y="19437"/>
                      <a:pt x="45932" y="65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63" name="Vrije vorm: vorm 9262">
                <a:extLst>
                  <a:ext uri="{FF2B5EF4-FFF2-40B4-BE49-F238E27FC236}">
                    <a16:creationId xmlns:a16="http://schemas.microsoft.com/office/drawing/2014/main" id="{5FA56107-ADE6-49B7-8EB8-A833DF302B8B}"/>
                  </a:ext>
                </a:extLst>
              </p:cNvPr>
              <p:cNvSpPr/>
              <p:nvPr/>
            </p:nvSpPr>
            <p:spPr>
              <a:xfrm>
                <a:off x="4685377" y="1997481"/>
                <a:ext cx="80500" cy="55979"/>
              </a:xfrm>
              <a:custGeom>
                <a:avLst/>
                <a:gdLst>
                  <a:gd name="connsiteX0" fmla="*/ 56398 w 80500"/>
                  <a:gd name="connsiteY0" fmla="*/ 54185 h 55979"/>
                  <a:gd name="connsiteX1" fmla="*/ 45154 w 80500"/>
                  <a:gd name="connsiteY1" fmla="*/ 52929 h 55979"/>
                  <a:gd name="connsiteX2" fmla="*/ 42643 w 80500"/>
                  <a:gd name="connsiteY2" fmla="*/ 39353 h 55979"/>
                  <a:gd name="connsiteX3" fmla="*/ 30442 w 80500"/>
                  <a:gd name="connsiteY3" fmla="*/ 45693 h 55979"/>
                  <a:gd name="connsiteX4" fmla="*/ 35765 w 80500"/>
                  <a:gd name="connsiteY4" fmla="*/ 51434 h 55979"/>
                  <a:gd name="connsiteX5" fmla="*/ 45393 w 80500"/>
                  <a:gd name="connsiteY5" fmla="*/ 52989 h 55979"/>
                  <a:gd name="connsiteX6" fmla="*/ 13935 w 80500"/>
                  <a:gd name="connsiteY6" fmla="*/ 49461 h 55979"/>
                  <a:gd name="connsiteX7" fmla="*/ 13875 w 80500"/>
                  <a:gd name="connsiteY7" fmla="*/ 49580 h 55979"/>
                  <a:gd name="connsiteX8" fmla="*/ 25717 w 80500"/>
                  <a:gd name="connsiteY8" fmla="*/ 47308 h 55979"/>
                  <a:gd name="connsiteX9" fmla="*/ 17105 w 80500"/>
                  <a:gd name="connsiteY9" fmla="*/ 44915 h 55979"/>
                  <a:gd name="connsiteX10" fmla="*/ 0 w 80500"/>
                  <a:gd name="connsiteY10" fmla="*/ 2811 h 55979"/>
                  <a:gd name="connsiteX11" fmla="*/ 897 w 80500"/>
                  <a:gd name="connsiteY11" fmla="*/ 2392 h 55979"/>
                  <a:gd name="connsiteX12" fmla="*/ 16985 w 80500"/>
                  <a:gd name="connsiteY12" fmla="*/ 41925 h 55979"/>
                  <a:gd name="connsiteX13" fmla="*/ 21411 w 80500"/>
                  <a:gd name="connsiteY13" fmla="*/ 35884 h 55979"/>
                  <a:gd name="connsiteX14" fmla="*/ 6758 w 80500"/>
                  <a:gd name="connsiteY14" fmla="*/ 0 h 55979"/>
                  <a:gd name="connsiteX15" fmla="*/ 22487 w 80500"/>
                  <a:gd name="connsiteY15" fmla="*/ 1077 h 55979"/>
                  <a:gd name="connsiteX16" fmla="*/ 12081 w 80500"/>
                  <a:gd name="connsiteY16" fmla="*/ 2153 h 55979"/>
                  <a:gd name="connsiteX17" fmla="*/ 26734 w 80500"/>
                  <a:gd name="connsiteY17" fmla="*/ 38157 h 55979"/>
                  <a:gd name="connsiteX18" fmla="*/ 34269 w 80500"/>
                  <a:gd name="connsiteY18" fmla="*/ 34688 h 55979"/>
                  <a:gd name="connsiteX19" fmla="*/ 36841 w 80500"/>
                  <a:gd name="connsiteY19" fmla="*/ 27153 h 55979"/>
                  <a:gd name="connsiteX20" fmla="*/ 28887 w 80500"/>
                  <a:gd name="connsiteY20" fmla="*/ 8074 h 55979"/>
                  <a:gd name="connsiteX21" fmla="*/ 28289 w 80500"/>
                  <a:gd name="connsiteY21" fmla="*/ 1974 h 55979"/>
                  <a:gd name="connsiteX22" fmla="*/ 39413 w 80500"/>
                  <a:gd name="connsiteY22" fmla="*/ 29365 h 55979"/>
                  <a:gd name="connsiteX23" fmla="*/ 28289 w 80500"/>
                  <a:gd name="connsiteY23" fmla="*/ 2093 h 55979"/>
                  <a:gd name="connsiteX24" fmla="*/ 22248 w 80500"/>
                  <a:gd name="connsiteY24" fmla="*/ 1017 h 55979"/>
                  <a:gd name="connsiteX25" fmla="*/ 33133 w 80500"/>
                  <a:gd name="connsiteY25" fmla="*/ 1316 h 55979"/>
                  <a:gd name="connsiteX26" fmla="*/ 30920 w 80500"/>
                  <a:gd name="connsiteY26" fmla="*/ 4127 h 55979"/>
                  <a:gd name="connsiteX27" fmla="*/ 41626 w 80500"/>
                  <a:gd name="connsiteY27" fmla="*/ 30861 h 55979"/>
                  <a:gd name="connsiteX28" fmla="*/ 54664 w 80500"/>
                  <a:gd name="connsiteY28" fmla="*/ 24043 h 55979"/>
                  <a:gd name="connsiteX29" fmla="*/ 46889 w 80500"/>
                  <a:gd name="connsiteY29" fmla="*/ 4964 h 55979"/>
                  <a:gd name="connsiteX30" fmla="*/ 47726 w 80500"/>
                  <a:gd name="connsiteY30" fmla="*/ 4665 h 55979"/>
                  <a:gd name="connsiteX31" fmla="*/ 54723 w 80500"/>
                  <a:gd name="connsiteY31" fmla="*/ 21949 h 55979"/>
                  <a:gd name="connsiteX32" fmla="*/ 49042 w 80500"/>
                  <a:gd name="connsiteY32" fmla="*/ 5622 h 55979"/>
                  <a:gd name="connsiteX33" fmla="*/ 44855 w 80500"/>
                  <a:gd name="connsiteY33" fmla="*/ 1256 h 55979"/>
                  <a:gd name="connsiteX34" fmla="*/ 51793 w 80500"/>
                  <a:gd name="connsiteY34" fmla="*/ 1316 h 55979"/>
                  <a:gd name="connsiteX35" fmla="*/ 50358 w 80500"/>
                  <a:gd name="connsiteY35" fmla="*/ 5263 h 55979"/>
                  <a:gd name="connsiteX36" fmla="*/ 56577 w 80500"/>
                  <a:gd name="connsiteY36" fmla="*/ 20933 h 55979"/>
                  <a:gd name="connsiteX37" fmla="*/ 57654 w 80500"/>
                  <a:gd name="connsiteY37" fmla="*/ 20514 h 55979"/>
                  <a:gd name="connsiteX38" fmla="*/ 51614 w 80500"/>
                  <a:gd name="connsiteY38" fmla="*/ 5742 h 55979"/>
                  <a:gd name="connsiteX39" fmla="*/ 59628 w 80500"/>
                  <a:gd name="connsiteY39" fmla="*/ 26435 h 55979"/>
                  <a:gd name="connsiteX40" fmla="*/ 69855 w 80500"/>
                  <a:gd name="connsiteY40" fmla="*/ 53169 h 55979"/>
                  <a:gd name="connsiteX41" fmla="*/ 71649 w 80500"/>
                  <a:gd name="connsiteY41" fmla="*/ 52391 h 55979"/>
                  <a:gd name="connsiteX42" fmla="*/ 62199 w 80500"/>
                  <a:gd name="connsiteY42" fmla="*/ 29126 h 55979"/>
                  <a:gd name="connsiteX43" fmla="*/ 68958 w 80500"/>
                  <a:gd name="connsiteY43" fmla="*/ 43360 h 55979"/>
                  <a:gd name="connsiteX44" fmla="*/ 80500 w 80500"/>
                  <a:gd name="connsiteY44" fmla="*/ 55980 h 55979"/>
                  <a:gd name="connsiteX45" fmla="*/ 57415 w 80500"/>
                  <a:gd name="connsiteY45" fmla="*/ 53228 h 55979"/>
                  <a:gd name="connsiteX46" fmla="*/ 66027 w 80500"/>
                  <a:gd name="connsiteY46" fmla="*/ 53408 h 55979"/>
                  <a:gd name="connsiteX47" fmla="*/ 55022 w 80500"/>
                  <a:gd name="connsiteY47" fmla="*/ 26375 h 55979"/>
                  <a:gd name="connsiteX48" fmla="*/ 44915 w 80500"/>
                  <a:gd name="connsiteY48" fmla="*/ 36363 h 55979"/>
                  <a:gd name="connsiteX49" fmla="*/ 54604 w 80500"/>
                  <a:gd name="connsiteY49" fmla="*/ 31638 h 55979"/>
                  <a:gd name="connsiteX50" fmla="*/ 54963 w 80500"/>
                  <a:gd name="connsiteY50" fmla="*/ 32415 h 55979"/>
                  <a:gd name="connsiteX51" fmla="*/ 45035 w 80500"/>
                  <a:gd name="connsiteY51" fmla="*/ 38336 h 55979"/>
                  <a:gd name="connsiteX52" fmla="*/ 56398 w 80500"/>
                  <a:gd name="connsiteY52" fmla="*/ 54185 h 55979"/>
                  <a:gd name="connsiteX53" fmla="*/ 40669 w 80500"/>
                  <a:gd name="connsiteY53" fmla="*/ 35286 h 55979"/>
                  <a:gd name="connsiteX54" fmla="*/ 38635 w 80500"/>
                  <a:gd name="connsiteY54" fmla="*/ 34030 h 55979"/>
                  <a:gd name="connsiteX55" fmla="*/ 30083 w 80500"/>
                  <a:gd name="connsiteY55" fmla="*/ 38576 h 55979"/>
                  <a:gd name="connsiteX56" fmla="*/ 28528 w 80500"/>
                  <a:gd name="connsiteY56" fmla="*/ 42583 h 55979"/>
                  <a:gd name="connsiteX57" fmla="*/ 32714 w 80500"/>
                  <a:gd name="connsiteY57" fmla="*/ 43061 h 55979"/>
                  <a:gd name="connsiteX58" fmla="*/ 38815 w 80500"/>
                  <a:gd name="connsiteY58" fmla="*/ 39592 h 55979"/>
                  <a:gd name="connsiteX59" fmla="*/ 40669 w 80500"/>
                  <a:gd name="connsiteY59" fmla="*/ 35286 h 55979"/>
                  <a:gd name="connsiteX60" fmla="*/ 23743 w 80500"/>
                  <a:gd name="connsiteY60" fmla="*/ 38695 h 55979"/>
                  <a:gd name="connsiteX61" fmla="*/ 24581 w 80500"/>
                  <a:gd name="connsiteY61" fmla="*/ 38456 h 55979"/>
                  <a:gd name="connsiteX62" fmla="*/ 9928 w 80500"/>
                  <a:gd name="connsiteY62" fmla="*/ 2392 h 55979"/>
                  <a:gd name="connsiteX63" fmla="*/ 9090 w 80500"/>
                  <a:gd name="connsiteY63" fmla="*/ 2751 h 55979"/>
                  <a:gd name="connsiteX64" fmla="*/ 23743 w 80500"/>
                  <a:gd name="connsiteY64" fmla="*/ 38695 h 55979"/>
                  <a:gd name="connsiteX65" fmla="*/ 67402 w 80500"/>
                  <a:gd name="connsiteY65" fmla="*/ 52032 h 55979"/>
                  <a:gd name="connsiteX66" fmla="*/ 68120 w 80500"/>
                  <a:gd name="connsiteY66" fmla="*/ 51972 h 55979"/>
                  <a:gd name="connsiteX67" fmla="*/ 58013 w 80500"/>
                  <a:gd name="connsiteY67" fmla="*/ 27093 h 55979"/>
                  <a:gd name="connsiteX68" fmla="*/ 57415 w 80500"/>
                  <a:gd name="connsiteY68" fmla="*/ 27392 h 55979"/>
                  <a:gd name="connsiteX69" fmla="*/ 67402 w 80500"/>
                  <a:gd name="connsiteY69" fmla="*/ 52032 h 5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0500" h="55979">
                    <a:moveTo>
                      <a:pt x="56398" y="54185"/>
                    </a:moveTo>
                    <a:cubicBezTo>
                      <a:pt x="52690" y="53767"/>
                      <a:pt x="48922" y="53348"/>
                      <a:pt x="45154" y="52929"/>
                    </a:cubicBezTo>
                    <a:cubicBezTo>
                      <a:pt x="44377" y="48683"/>
                      <a:pt x="43599" y="44437"/>
                      <a:pt x="42643" y="39353"/>
                    </a:cubicBezTo>
                    <a:cubicBezTo>
                      <a:pt x="37559" y="41985"/>
                      <a:pt x="33970" y="43898"/>
                      <a:pt x="30442" y="45693"/>
                    </a:cubicBezTo>
                    <a:cubicBezTo>
                      <a:pt x="30561" y="49760"/>
                      <a:pt x="32356" y="51255"/>
                      <a:pt x="35765" y="51434"/>
                    </a:cubicBezTo>
                    <a:cubicBezTo>
                      <a:pt x="38994" y="51614"/>
                      <a:pt x="42164" y="52451"/>
                      <a:pt x="45393" y="52989"/>
                    </a:cubicBezTo>
                    <a:cubicBezTo>
                      <a:pt x="34927" y="51793"/>
                      <a:pt x="24461" y="50657"/>
                      <a:pt x="13935" y="49461"/>
                    </a:cubicBezTo>
                    <a:cubicBezTo>
                      <a:pt x="13935" y="49461"/>
                      <a:pt x="13875" y="49580"/>
                      <a:pt x="13875" y="49580"/>
                    </a:cubicBezTo>
                    <a:cubicBezTo>
                      <a:pt x="17643" y="48862"/>
                      <a:pt x="21411" y="48085"/>
                      <a:pt x="25717" y="47308"/>
                    </a:cubicBezTo>
                    <a:cubicBezTo>
                      <a:pt x="22966" y="38516"/>
                      <a:pt x="19856" y="44915"/>
                      <a:pt x="17105" y="44915"/>
                    </a:cubicBezTo>
                    <a:cubicBezTo>
                      <a:pt x="11423" y="30920"/>
                      <a:pt x="5681" y="16866"/>
                      <a:pt x="0" y="2811"/>
                    </a:cubicBezTo>
                    <a:cubicBezTo>
                      <a:pt x="299" y="2691"/>
                      <a:pt x="598" y="2572"/>
                      <a:pt x="897" y="2392"/>
                    </a:cubicBezTo>
                    <a:cubicBezTo>
                      <a:pt x="6280" y="15550"/>
                      <a:pt x="11603" y="28767"/>
                      <a:pt x="16985" y="41925"/>
                    </a:cubicBezTo>
                    <a:cubicBezTo>
                      <a:pt x="21770" y="41985"/>
                      <a:pt x="23384" y="40669"/>
                      <a:pt x="21411" y="35884"/>
                    </a:cubicBezTo>
                    <a:cubicBezTo>
                      <a:pt x="16447" y="24102"/>
                      <a:pt x="11722" y="12201"/>
                      <a:pt x="6758" y="0"/>
                    </a:cubicBezTo>
                    <a:cubicBezTo>
                      <a:pt x="11782" y="359"/>
                      <a:pt x="17105" y="718"/>
                      <a:pt x="22487" y="1077"/>
                    </a:cubicBezTo>
                    <a:cubicBezTo>
                      <a:pt x="18959" y="1435"/>
                      <a:pt x="15371" y="1854"/>
                      <a:pt x="12081" y="2153"/>
                    </a:cubicBezTo>
                    <a:cubicBezTo>
                      <a:pt x="16985" y="14174"/>
                      <a:pt x="21770" y="26016"/>
                      <a:pt x="26734" y="38157"/>
                    </a:cubicBezTo>
                    <a:cubicBezTo>
                      <a:pt x="29664" y="36781"/>
                      <a:pt x="31877" y="35466"/>
                      <a:pt x="34269" y="34688"/>
                    </a:cubicBezTo>
                    <a:cubicBezTo>
                      <a:pt x="38037" y="33432"/>
                      <a:pt x="38815" y="31339"/>
                      <a:pt x="36841" y="27153"/>
                    </a:cubicBezTo>
                    <a:cubicBezTo>
                      <a:pt x="33911" y="20933"/>
                      <a:pt x="31339" y="14533"/>
                      <a:pt x="28887" y="8074"/>
                    </a:cubicBezTo>
                    <a:cubicBezTo>
                      <a:pt x="28169" y="6220"/>
                      <a:pt x="28468" y="3947"/>
                      <a:pt x="28289" y="1974"/>
                    </a:cubicBezTo>
                    <a:cubicBezTo>
                      <a:pt x="31997" y="11124"/>
                      <a:pt x="35705" y="20215"/>
                      <a:pt x="39413" y="29365"/>
                    </a:cubicBezTo>
                    <a:cubicBezTo>
                      <a:pt x="35705" y="20275"/>
                      <a:pt x="31997" y="11184"/>
                      <a:pt x="28289" y="2093"/>
                    </a:cubicBezTo>
                    <a:cubicBezTo>
                      <a:pt x="26255" y="1734"/>
                      <a:pt x="24282" y="1376"/>
                      <a:pt x="22248" y="1017"/>
                    </a:cubicBezTo>
                    <a:cubicBezTo>
                      <a:pt x="25896" y="1136"/>
                      <a:pt x="29545" y="1196"/>
                      <a:pt x="33133" y="1316"/>
                    </a:cubicBezTo>
                    <a:cubicBezTo>
                      <a:pt x="32356" y="2273"/>
                      <a:pt x="30681" y="3588"/>
                      <a:pt x="30920" y="4127"/>
                    </a:cubicBezTo>
                    <a:cubicBezTo>
                      <a:pt x="34269" y="12918"/>
                      <a:pt x="37918" y="21650"/>
                      <a:pt x="41626" y="30861"/>
                    </a:cubicBezTo>
                    <a:cubicBezTo>
                      <a:pt x="46410" y="28349"/>
                      <a:pt x="50358" y="26315"/>
                      <a:pt x="54664" y="24043"/>
                    </a:cubicBezTo>
                    <a:cubicBezTo>
                      <a:pt x="51853" y="17165"/>
                      <a:pt x="49400" y="11064"/>
                      <a:pt x="46889" y="4964"/>
                    </a:cubicBezTo>
                    <a:cubicBezTo>
                      <a:pt x="47188" y="4844"/>
                      <a:pt x="47487" y="4725"/>
                      <a:pt x="47726" y="4665"/>
                    </a:cubicBezTo>
                    <a:cubicBezTo>
                      <a:pt x="50059" y="10406"/>
                      <a:pt x="52391" y="16208"/>
                      <a:pt x="54723" y="21949"/>
                    </a:cubicBezTo>
                    <a:cubicBezTo>
                      <a:pt x="53468" y="16268"/>
                      <a:pt x="51434" y="10825"/>
                      <a:pt x="49042" y="5622"/>
                    </a:cubicBezTo>
                    <a:cubicBezTo>
                      <a:pt x="48205" y="3888"/>
                      <a:pt x="46291" y="2691"/>
                      <a:pt x="44855" y="1256"/>
                    </a:cubicBezTo>
                    <a:cubicBezTo>
                      <a:pt x="47188" y="1256"/>
                      <a:pt x="49460" y="1256"/>
                      <a:pt x="51793" y="1316"/>
                    </a:cubicBezTo>
                    <a:cubicBezTo>
                      <a:pt x="51255" y="2632"/>
                      <a:pt x="49999" y="4246"/>
                      <a:pt x="50358" y="5263"/>
                    </a:cubicBezTo>
                    <a:cubicBezTo>
                      <a:pt x="52212" y="10586"/>
                      <a:pt x="54484" y="15729"/>
                      <a:pt x="56577" y="20933"/>
                    </a:cubicBezTo>
                    <a:cubicBezTo>
                      <a:pt x="56936" y="20813"/>
                      <a:pt x="57295" y="20633"/>
                      <a:pt x="57654" y="20514"/>
                    </a:cubicBezTo>
                    <a:cubicBezTo>
                      <a:pt x="55621" y="15610"/>
                      <a:pt x="53647" y="10646"/>
                      <a:pt x="51614" y="5742"/>
                    </a:cubicBezTo>
                    <a:cubicBezTo>
                      <a:pt x="54006" y="12679"/>
                      <a:pt x="58850" y="18181"/>
                      <a:pt x="59628" y="26435"/>
                    </a:cubicBezTo>
                    <a:cubicBezTo>
                      <a:pt x="60465" y="35406"/>
                      <a:pt x="66266" y="44257"/>
                      <a:pt x="69855" y="53169"/>
                    </a:cubicBezTo>
                    <a:cubicBezTo>
                      <a:pt x="70453" y="52929"/>
                      <a:pt x="71051" y="52690"/>
                      <a:pt x="71649" y="52391"/>
                    </a:cubicBezTo>
                    <a:cubicBezTo>
                      <a:pt x="68479" y="44616"/>
                      <a:pt x="65309" y="36841"/>
                      <a:pt x="62199" y="29126"/>
                    </a:cubicBezTo>
                    <a:cubicBezTo>
                      <a:pt x="65070" y="33671"/>
                      <a:pt x="67283" y="38396"/>
                      <a:pt x="68958" y="43360"/>
                    </a:cubicBezTo>
                    <a:cubicBezTo>
                      <a:pt x="71051" y="49580"/>
                      <a:pt x="73383" y="55262"/>
                      <a:pt x="80500" y="55980"/>
                    </a:cubicBezTo>
                    <a:cubicBezTo>
                      <a:pt x="72785" y="55082"/>
                      <a:pt x="65130" y="54126"/>
                      <a:pt x="57415" y="53228"/>
                    </a:cubicBezTo>
                    <a:cubicBezTo>
                      <a:pt x="60166" y="53288"/>
                      <a:pt x="62857" y="53348"/>
                      <a:pt x="66027" y="53408"/>
                    </a:cubicBezTo>
                    <a:cubicBezTo>
                      <a:pt x="62199" y="44018"/>
                      <a:pt x="58611" y="35167"/>
                      <a:pt x="55022" y="26375"/>
                    </a:cubicBezTo>
                    <a:cubicBezTo>
                      <a:pt x="43300" y="29605"/>
                      <a:pt x="41446" y="31518"/>
                      <a:pt x="44915" y="36363"/>
                    </a:cubicBezTo>
                    <a:cubicBezTo>
                      <a:pt x="48145" y="34808"/>
                      <a:pt x="51374" y="33193"/>
                      <a:pt x="54604" y="31638"/>
                    </a:cubicBezTo>
                    <a:cubicBezTo>
                      <a:pt x="54723" y="31877"/>
                      <a:pt x="54843" y="32176"/>
                      <a:pt x="54963" y="32415"/>
                    </a:cubicBezTo>
                    <a:cubicBezTo>
                      <a:pt x="51733" y="34329"/>
                      <a:pt x="48504" y="36243"/>
                      <a:pt x="45035" y="38336"/>
                    </a:cubicBezTo>
                    <a:cubicBezTo>
                      <a:pt x="47726" y="44855"/>
                      <a:pt x="48264" y="52451"/>
                      <a:pt x="56398" y="54185"/>
                    </a:cubicBezTo>
                    <a:close/>
                    <a:moveTo>
                      <a:pt x="40669" y="35286"/>
                    </a:moveTo>
                    <a:cubicBezTo>
                      <a:pt x="40011" y="34868"/>
                      <a:pt x="39353" y="34449"/>
                      <a:pt x="38635" y="34030"/>
                    </a:cubicBezTo>
                    <a:cubicBezTo>
                      <a:pt x="35765" y="35526"/>
                      <a:pt x="32774" y="36722"/>
                      <a:pt x="30083" y="38576"/>
                    </a:cubicBezTo>
                    <a:cubicBezTo>
                      <a:pt x="29126" y="39234"/>
                      <a:pt x="29006" y="41207"/>
                      <a:pt x="28528" y="42583"/>
                    </a:cubicBezTo>
                    <a:cubicBezTo>
                      <a:pt x="29963" y="42762"/>
                      <a:pt x="31518" y="43480"/>
                      <a:pt x="32714" y="43061"/>
                    </a:cubicBezTo>
                    <a:cubicBezTo>
                      <a:pt x="34927" y="42284"/>
                      <a:pt x="37021" y="41088"/>
                      <a:pt x="38815" y="39592"/>
                    </a:cubicBezTo>
                    <a:cubicBezTo>
                      <a:pt x="39831" y="38636"/>
                      <a:pt x="40071" y="36722"/>
                      <a:pt x="40669" y="35286"/>
                    </a:cubicBezTo>
                    <a:close/>
                    <a:moveTo>
                      <a:pt x="23743" y="38695"/>
                    </a:moveTo>
                    <a:cubicBezTo>
                      <a:pt x="24042" y="38636"/>
                      <a:pt x="24342" y="38516"/>
                      <a:pt x="24581" y="38456"/>
                    </a:cubicBezTo>
                    <a:cubicBezTo>
                      <a:pt x="19676" y="26435"/>
                      <a:pt x="14772" y="14414"/>
                      <a:pt x="9928" y="2392"/>
                    </a:cubicBezTo>
                    <a:cubicBezTo>
                      <a:pt x="9629" y="2512"/>
                      <a:pt x="9390" y="2632"/>
                      <a:pt x="9090" y="2751"/>
                    </a:cubicBezTo>
                    <a:cubicBezTo>
                      <a:pt x="13995" y="14713"/>
                      <a:pt x="18899" y="26674"/>
                      <a:pt x="23743" y="38695"/>
                    </a:cubicBezTo>
                    <a:close/>
                    <a:moveTo>
                      <a:pt x="67402" y="52032"/>
                    </a:moveTo>
                    <a:cubicBezTo>
                      <a:pt x="67642" y="52032"/>
                      <a:pt x="67881" y="51972"/>
                      <a:pt x="68120" y="51972"/>
                    </a:cubicBezTo>
                    <a:cubicBezTo>
                      <a:pt x="64771" y="43659"/>
                      <a:pt x="61362" y="35406"/>
                      <a:pt x="58013" y="27093"/>
                    </a:cubicBezTo>
                    <a:cubicBezTo>
                      <a:pt x="57833" y="27212"/>
                      <a:pt x="57594" y="27272"/>
                      <a:pt x="57415" y="27392"/>
                    </a:cubicBezTo>
                    <a:cubicBezTo>
                      <a:pt x="60704" y="35585"/>
                      <a:pt x="64053" y="43779"/>
                      <a:pt x="67402" y="5203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64" name="Vrije vorm: vorm 9263">
                <a:extLst>
                  <a:ext uri="{FF2B5EF4-FFF2-40B4-BE49-F238E27FC236}">
                    <a16:creationId xmlns:a16="http://schemas.microsoft.com/office/drawing/2014/main" id="{2275BF44-1D46-450B-9B55-43E983E2DC01}"/>
                  </a:ext>
                </a:extLst>
              </p:cNvPr>
              <p:cNvSpPr/>
              <p:nvPr/>
            </p:nvSpPr>
            <p:spPr>
              <a:xfrm>
                <a:off x="5502046" y="1938571"/>
                <a:ext cx="55304" cy="85643"/>
              </a:xfrm>
              <a:custGeom>
                <a:avLst/>
                <a:gdLst>
                  <a:gd name="connsiteX0" fmla="*/ 16206 w 55304"/>
                  <a:gd name="connsiteY0" fmla="*/ 47547 h 85643"/>
                  <a:gd name="connsiteX1" fmla="*/ 28467 w 55304"/>
                  <a:gd name="connsiteY1" fmla="*/ 77690 h 85643"/>
                  <a:gd name="connsiteX2" fmla="*/ 29185 w 55304"/>
                  <a:gd name="connsiteY2" fmla="*/ 77450 h 85643"/>
                  <a:gd name="connsiteX3" fmla="*/ 18300 w 55304"/>
                  <a:gd name="connsiteY3" fmla="*/ 50716 h 85643"/>
                  <a:gd name="connsiteX4" fmla="*/ 19675 w 55304"/>
                  <a:gd name="connsiteY4" fmla="*/ 50118 h 85643"/>
                  <a:gd name="connsiteX5" fmla="*/ 30979 w 55304"/>
                  <a:gd name="connsiteY5" fmla="*/ 77929 h 85643"/>
                  <a:gd name="connsiteX6" fmla="*/ 45333 w 55304"/>
                  <a:gd name="connsiteY6" fmla="*/ 68659 h 85643"/>
                  <a:gd name="connsiteX7" fmla="*/ 45751 w 55304"/>
                  <a:gd name="connsiteY7" fmla="*/ 69376 h 85643"/>
                  <a:gd name="connsiteX8" fmla="*/ 29962 w 55304"/>
                  <a:gd name="connsiteY8" fmla="*/ 81039 h 85643"/>
                  <a:gd name="connsiteX9" fmla="*/ 30081 w 55304"/>
                  <a:gd name="connsiteY9" fmla="*/ 82295 h 85643"/>
                  <a:gd name="connsiteX10" fmla="*/ 52928 w 55304"/>
                  <a:gd name="connsiteY10" fmla="*/ 83192 h 85643"/>
                  <a:gd name="connsiteX11" fmla="*/ 53048 w 55304"/>
                  <a:gd name="connsiteY11" fmla="*/ 85106 h 85643"/>
                  <a:gd name="connsiteX12" fmla="*/ 28168 w 55304"/>
                  <a:gd name="connsiteY12" fmla="*/ 84986 h 85643"/>
                  <a:gd name="connsiteX13" fmla="*/ 16386 w 55304"/>
                  <a:gd name="connsiteY13" fmla="*/ 56279 h 85643"/>
                  <a:gd name="connsiteX14" fmla="*/ 9568 w 55304"/>
                  <a:gd name="connsiteY14" fmla="*/ 44257 h 85643"/>
                  <a:gd name="connsiteX15" fmla="*/ 8671 w 55304"/>
                  <a:gd name="connsiteY15" fmla="*/ 36542 h 85643"/>
                  <a:gd name="connsiteX16" fmla="*/ 178 w 55304"/>
                  <a:gd name="connsiteY16" fmla="*/ 14354 h 85643"/>
                  <a:gd name="connsiteX17" fmla="*/ 656 w 55304"/>
                  <a:gd name="connsiteY17" fmla="*/ 8911 h 85643"/>
                  <a:gd name="connsiteX18" fmla="*/ 3647 w 55304"/>
                  <a:gd name="connsiteY18" fmla="*/ 8911 h 85643"/>
                  <a:gd name="connsiteX19" fmla="*/ 9807 w 55304"/>
                  <a:gd name="connsiteY19" fmla="*/ 31638 h 85643"/>
                  <a:gd name="connsiteX20" fmla="*/ 21649 w 55304"/>
                  <a:gd name="connsiteY20" fmla="*/ 42762 h 85643"/>
                  <a:gd name="connsiteX21" fmla="*/ 38036 w 55304"/>
                  <a:gd name="connsiteY21" fmla="*/ 42523 h 85643"/>
                  <a:gd name="connsiteX22" fmla="*/ 21110 w 55304"/>
                  <a:gd name="connsiteY22" fmla="*/ 897 h 85643"/>
                  <a:gd name="connsiteX23" fmla="*/ 23264 w 55304"/>
                  <a:gd name="connsiteY23" fmla="*/ 0 h 85643"/>
                  <a:gd name="connsiteX24" fmla="*/ 34508 w 55304"/>
                  <a:gd name="connsiteY24" fmla="*/ 26794 h 85643"/>
                  <a:gd name="connsiteX25" fmla="*/ 36541 w 55304"/>
                  <a:gd name="connsiteY25" fmla="*/ 34270 h 85643"/>
                  <a:gd name="connsiteX26" fmla="*/ 53765 w 55304"/>
                  <a:gd name="connsiteY26" fmla="*/ 77929 h 85643"/>
                  <a:gd name="connsiteX27" fmla="*/ 55260 w 55304"/>
                  <a:gd name="connsiteY27" fmla="*/ 85644 h 85643"/>
                  <a:gd name="connsiteX28" fmla="*/ 49818 w 55304"/>
                  <a:gd name="connsiteY28" fmla="*/ 72247 h 85643"/>
                  <a:gd name="connsiteX29" fmla="*/ 40488 w 55304"/>
                  <a:gd name="connsiteY29" fmla="*/ 49042 h 85643"/>
                  <a:gd name="connsiteX30" fmla="*/ 34687 w 55304"/>
                  <a:gd name="connsiteY30" fmla="*/ 46291 h 85643"/>
                  <a:gd name="connsiteX31" fmla="*/ 24460 w 55304"/>
                  <a:gd name="connsiteY31" fmla="*/ 47068 h 85643"/>
                  <a:gd name="connsiteX32" fmla="*/ 16206 w 55304"/>
                  <a:gd name="connsiteY32" fmla="*/ 47547 h 8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5304" h="85643">
                    <a:moveTo>
                      <a:pt x="16206" y="47547"/>
                    </a:moveTo>
                    <a:cubicBezTo>
                      <a:pt x="20572" y="58252"/>
                      <a:pt x="24519" y="68001"/>
                      <a:pt x="28467" y="77690"/>
                    </a:cubicBezTo>
                    <a:cubicBezTo>
                      <a:pt x="28706" y="77630"/>
                      <a:pt x="28945" y="77510"/>
                      <a:pt x="29185" y="77450"/>
                    </a:cubicBezTo>
                    <a:cubicBezTo>
                      <a:pt x="25536" y="68539"/>
                      <a:pt x="21948" y="59628"/>
                      <a:pt x="18300" y="50716"/>
                    </a:cubicBezTo>
                    <a:cubicBezTo>
                      <a:pt x="18778" y="50537"/>
                      <a:pt x="19197" y="50298"/>
                      <a:pt x="19675" y="50118"/>
                    </a:cubicBezTo>
                    <a:cubicBezTo>
                      <a:pt x="23383" y="59149"/>
                      <a:pt x="27032" y="68240"/>
                      <a:pt x="30979" y="77929"/>
                    </a:cubicBezTo>
                    <a:cubicBezTo>
                      <a:pt x="36302" y="74520"/>
                      <a:pt x="40847" y="71589"/>
                      <a:pt x="45333" y="68659"/>
                    </a:cubicBezTo>
                    <a:cubicBezTo>
                      <a:pt x="45452" y="68898"/>
                      <a:pt x="45632" y="69137"/>
                      <a:pt x="45751" y="69376"/>
                    </a:cubicBezTo>
                    <a:cubicBezTo>
                      <a:pt x="40488" y="73264"/>
                      <a:pt x="35225" y="77151"/>
                      <a:pt x="29962" y="81039"/>
                    </a:cubicBezTo>
                    <a:cubicBezTo>
                      <a:pt x="30022" y="81457"/>
                      <a:pt x="30022" y="81876"/>
                      <a:pt x="30081" y="82295"/>
                    </a:cubicBezTo>
                    <a:cubicBezTo>
                      <a:pt x="37677" y="82594"/>
                      <a:pt x="45333" y="82893"/>
                      <a:pt x="52928" y="83192"/>
                    </a:cubicBezTo>
                    <a:cubicBezTo>
                      <a:pt x="52988" y="83850"/>
                      <a:pt x="52988" y="84448"/>
                      <a:pt x="53048" y="85106"/>
                    </a:cubicBezTo>
                    <a:cubicBezTo>
                      <a:pt x="44674" y="85046"/>
                      <a:pt x="36362" y="85046"/>
                      <a:pt x="28168" y="84986"/>
                    </a:cubicBezTo>
                    <a:cubicBezTo>
                      <a:pt x="24280" y="75357"/>
                      <a:pt x="20512" y="65728"/>
                      <a:pt x="16386" y="56279"/>
                    </a:cubicBezTo>
                    <a:cubicBezTo>
                      <a:pt x="14651" y="52271"/>
                      <a:pt x="12139" y="48683"/>
                      <a:pt x="9568" y="44257"/>
                    </a:cubicBezTo>
                    <a:cubicBezTo>
                      <a:pt x="9388" y="42403"/>
                      <a:pt x="9628" y="39234"/>
                      <a:pt x="8671" y="36542"/>
                    </a:cubicBezTo>
                    <a:cubicBezTo>
                      <a:pt x="6039" y="29066"/>
                      <a:pt x="2809" y="21830"/>
                      <a:pt x="178" y="14354"/>
                    </a:cubicBezTo>
                    <a:cubicBezTo>
                      <a:pt x="-360" y="12799"/>
                      <a:pt x="477" y="10765"/>
                      <a:pt x="656" y="8911"/>
                    </a:cubicBezTo>
                    <a:cubicBezTo>
                      <a:pt x="1673" y="8911"/>
                      <a:pt x="2630" y="8911"/>
                      <a:pt x="3647" y="8911"/>
                    </a:cubicBezTo>
                    <a:cubicBezTo>
                      <a:pt x="5740" y="16507"/>
                      <a:pt x="8312" y="23983"/>
                      <a:pt x="9807" y="31638"/>
                    </a:cubicBezTo>
                    <a:cubicBezTo>
                      <a:pt x="11242" y="39054"/>
                      <a:pt x="14651" y="42822"/>
                      <a:pt x="21649" y="42762"/>
                    </a:cubicBezTo>
                    <a:cubicBezTo>
                      <a:pt x="26792" y="42702"/>
                      <a:pt x="31876" y="42642"/>
                      <a:pt x="38036" y="42523"/>
                    </a:cubicBezTo>
                    <a:cubicBezTo>
                      <a:pt x="32175" y="28109"/>
                      <a:pt x="26613" y="14533"/>
                      <a:pt x="21110" y="897"/>
                    </a:cubicBezTo>
                    <a:cubicBezTo>
                      <a:pt x="21828" y="598"/>
                      <a:pt x="22546" y="299"/>
                      <a:pt x="23264" y="0"/>
                    </a:cubicBezTo>
                    <a:cubicBezTo>
                      <a:pt x="27032" y="8911"/>
                      <a:pt x="30859" y="17823"/>
                      <a:pt x="34508" y="26794"/>
                    </a:cubicBezTo>
                    <a:cubicBezTo>
                      <a:pt x="35464" y="29186"/>
                      <a:pt x="35584" y="31877"/>
                      <a:pt x="36541" y="34270"/>
                    </a:cubicBezTo>
                    <a:cubicBezTo>
                      <a:pt x="42223" y="48862"/>
                      <a:pt x="48024" y="63336"/>
                      <a:pt x="53765" y="77929"/>
                    </a:cubicBezTo>
                    <a:cubicBezTo>
                      <a:pt x="54722" y="80321"/>
                      <a:pt x="55500" y="82773"/>
                      <a:pt x="55260" y="85644"/>
                    </a:cubicBezTo>
                    <a:cubicBezTo>
                      <a:pt x="53466" y="81158"/>
                      <a:pt x="51612" y="76733"/>
                      <a:pt x="49818" y="72247"/>
                    </a:cubicBezTo>
                    <a:cubicBezTo>
                      <a:pt x="46708" y="64532"/>
                      <a:pt x="43598" y="56757"/>
                      <a:pt x="40488" y="49042"/>
                    </a:cubicBezTo>
                    <a:cubicBezTo>
                      <a:pt x="39292" y="46111"/>
                      <a:pt x="38694" y="43420"/>
                      <a:pt x="34687" y="46291"/>
                    </a:cubicBezTo>
                    <a:cubicBezTo>
                      <a:pt x="32235" y="48025"/>
                      <a:pt x="27928" y="46949"/>
                      <a:pt x="24460" y="47068"/>
                    </a:cubicBezTo>
                    <a:cubicBezTo>
                      <a:pt x="22008" y="47367"/>
                      <a:pt x="19496" y="47427"/>
                      <a:pt x="16206" y="4754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65" name="Vrije vorm: vorm 9264">
                <a:extLst>
                  <a:ext uri="{FF2B5EF4-FFF2-40B4-BE49-F238E27FC236}">
                    <a16:creationId xmlns:a16="http://schemas.microsoft.com/office/drawing/2014/main" id="{1531B56B-FEE2-4AD8-8447-3579F1CFC409}"/>
                  </a:ext>
                </a:extLst>
              </p:cNvPr>
              <p:cNvSpPr/>
              <p:nvPr/>
            </p:nvSpPr>
            <p:spPr>
              <a:xfrm>
                <a:off x="5463110" y="1960461"/>
                <a:ext cx="55560" cy="84268"/>
              </a:xfrm>
              <a:custGeom>
                <a:avLst/>
                <a:gdLst>
                  <a:gd name="connsiteX0" fmla="*/ 54843 w 55560"/>
                  <a:gd name="connsiteY0" fmla="*/ 79843 h 84268"/>
                  <a:gd name="connsiteX1" fmla="*/ 50716 w 55560"/>
                  <a:gd name="connsiteY1" fmla="*/ 71230 h 84268"/>
                  <a:gd name="connsiteX2" fmla="*/ 32296 w 55560"/>
                  <a:gd name="connsiteY2" fmla="*/ 84268 h 84268"/>
                  <a:gd name="connsiteX3" fmla="*/ 0 w 55560"/>
                  <a:gd name="connsiteY3" fmla="*/ 4964 h 84268"/>
                  <a:gd name="connsiteX4" fmla="*/ 1316 w 55560"/>
                  <a:gd name="connsiteY4" fmla="*/ 4306 h 84268"/>
                  <a:gd name="connsiteX5" fmla="*/ 10048 w 55560"/>
                  <a:gd name="connsiteY5" fmla="*/ 21710 h 84268"/>
                  <a:gd name="connsiteX6" fmla="*/ 11423 w 55560"/>
                  <a:gd name="connsiteY6" fmla="*/ 21112 h 84268"/>
                  <a:gd name="connsiteX7" fmla="*/ 6100 w 55560"/>
                  <a:gd name="connsiteY7" fmla="*/ 7954 h 84268"/>
                  <a:gd name="connsiteX8" fmla="*/ 7596 w 55560"/>
                  <a:gd name="connsiteY8" fmla="*/ 7356 h 84268"/>
                  <a:gd name="connsiteX9" fmla="*/ 11543 w 55560"/>
                  <a:gd name="connsiteY9" fmla="*/ 17284 h 84268"/>
                  <a:gd name="connsiteX10" fmla="*/ 17404 w 55560"/>
                  <a:gd name="connsiteY10" fmla="*/ 21471 h 84268"/>
                  <a:gd name="connsiteX11" fmla="*/ 31100 w 55560"/>
                  <a:gd name="connsiteY11" fmla="*/ 21650 h 84268"/>
                  <a:gd name="connsiteX12" fmla="*/ 22428 w 55560"/>
                  <a:gd name="connsiteY12" fmla="*/ 299 h 84268"/>
                  <a:gd name="connsiteX13" fmla="*/ 23205 w 55560"/>
                  <a:gd name="connsiteY13" fmla="*/ 0 h 84268"/>
                  <a:gd name="connsiteX14" fmla="*/ 55561 w 55560"/>
                  <a:gd name="connsiteY14" fmla="*/ 79484 h 84268"/>
                  <a:gd name="connsiteX15" fmla="*/ 54843 w 55560"/>
                  <a:gd name="connsiteY15" fmla="*/ 79843 h 84268"/>
                  <a:gd name="connsiteX16" fmla="*/ 35047 w 55560"/>
                  <a:gd name="connsiteY16" fmla="*/ 32475 h 84268"/>
                  <a:gd name="connsiteX17" fmla="*/ 21830 w 55560"/>
                  <a:gd name="connsiteY17" fmla="*/ 41686 h 84268"/>
                  <a:gd name="connsiteX18" fmla="*/ 19916 w 55560"/>
                  <a:gd name="connsiteY18" fmla="*/ 48264 h 84268"/>
                  <a:gd name="connsiteX19" fmla="*/ 25717 w 55560"/>
                  <a:gd name="connsiteY19" fmla="*/ 62977 h 84268"/>
                  <a:gd name="connsiteX20" fmla="*/ 31937 w 55560"/>
                  <a:gd name="connsiteY20" fmla="*/ 67702 h 84268"/>
                  <a:gd name="connsiteX21" fmla="*/ 43001 w 55560"/>
                  <a:gd name="connsiteY21" fmla="*/ 68001 h 84268"/>
                  <a:gd name="connsiteX22" fmla="*/ 43061 w 55560"/>
                  <a:gd name="connsiteY22" fmla="*/ 69018 h 84268"/>
                  <a:gd name="connsiteX23" fmla="*/ 28648 w 55560"/>
                  <a:gd name="connsiteY23" fmla="*/ 69077 h 84268"/>
                  <a:gd name="connsiteX24" fmla="*/ 33612 w 55560"/>
                  <a:gd name="connsiteY24" fmla="*/ 81338 h 84268"/>
                  <a:gd name="connsiteX25" fmla="*/ 49820 w 55560"/>
                  <a:gd name="connsiteY25" fmla="*/ 70034 h 84268"/>
                  <a:gd name="connsiteX26" fmla="*/ 41745 w 55560"/>
                  <a:gd name="connsiteY26" fmla="*/ 62439 h 84268"/>
                  <a:gd name="connsiteX27" fmla="*/ 28648 w 55560"/>
                  <a:gd name="connsiteY27" fmla="*/ 62259 h 84268"/>
                  <a:gd name="connsiteX28" fmla="*/ 22368 w 55560"/>
                  <a:gd name="connsiteY28" fmla="*/ 46829 h 84268"/>
                  <a:gd name="connsiteX29" fmla="*/ 23684 w 55560"/>
                  <a:gd name="connsiteY29" fmla="*/ 46351 h 84268"/>
                  <a:gd name="connsiteX30" fmla="*/ 29545 w 55560"/>
                  <a:gd name="connsiteY30" fmla="*/ 60824 h 84268"/>
                  <a:gd name="connsiteX31" fmla="*/ 31100 w 55560"/>
                  <a:gd name="connsiteY31" fmla="*/ 60226 h 84268"/>
                  <a:gd name="connsiteX32" fmla="*/ 25418 w 55560"/>
                  <a:gd name="connsiteY32" fmla="*/ 46231 h 84268"/>
                  <a:gd name="connsiteX33" fmla="*/ 46410 w 55560"/>
                  <a:gd name="connsiteY33" fmla="*/ 60286 h 84268"/>
                  <a:gd name="connsiteX34" fmla="*/ 35047 w 55560"/>
                  <a:gd name="connsiteY34" fmla="*/ 32475 h 84268"/>
                  <a:gd name="connsiteX35" fmla="*/ 32714 w 55560"/>
                  <a:gd name="connsiteY35" fmla="*/ 26913 h 84268"/>
                  <a:gd name="connsiteX36" fmla="*/ 32236 w 55560"/>
                  <a:gd name="connsiteY36" fmla="*/ 25597 h 84268"/>
                  <a:gd name="connsiteX37" fmla="*/ 15371 w 55560"/>
                  <a:gd name="connsiteY37" fmla="*/ 25837 h 84268"/>
                  <a:gd name="connsiteX38" fmla="*/ 19318 w 55560"/>
                  <a:gd name="connsiteY38" fmla="*/ 35585 h 84268"/>
                  <a:gd name="connsiteX39" fmla="*/ 32714 w 55560"/>
                  <a:gd name="connsiteY39" fmla="*/ 26913 h 84268"/>
                  <a:gd name="connsiteX40" fmla="*/ 34210 w 55560"/>
                  <a:gd name="connsiteY40" fmla="*/ 30023 h 84268"/>
                  <a:gd name="connsiteX41" fmla="*/ 33133 w 55560"/>
                  <a:gd name="connsiteY41" fmla="*/ 28229 h 84268"/>
                  <a:gd name="connsiteX42" fmla="*/ 16806 w 55560"/>
                  <a:gd name="connsiteY42" fmla="*/ 39174 h 84268"/>
                  <a:gd name="connsiteX43" fmla="*/ 17882 w 55560"/>
                  <a:gd name="connsiteY43" fmla="*/ 40908 h 84268"/>
                  <a:gd name="connsiteX44" fmla="*/ 34210 w 55560"/>
                  <a:gd name="connsiteY44" fmla="*/ 30023 h 84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5560" h="84268">
                    <a:moveTo>
                      <a:pt x="54843" y="79843"/>
                    </a:moveTo>
                    <a:cubicBezTo>
                      <a:pt x="53587" y="77211"/>
                      <a:pt x="52331" y="74580"/>
                      <a:pt x="50716" y="71230"/>
                    </a:cubicBezTo>
                    <a:cubicBezTo>
                      <a:pt x="44437" y="75656"/>
                      <a:pt x="38456" y="79902"/>
                      <a:pt x="32296" y="84268"/>
                    </a:cubicBezTo>
                    <a:cubicBezTo>
                      <a:pt x="21650" y="58133"/>
                      <a:pt x="10825" y="31518"/>
                      <a:pt x="0" y="4964"/>
                    </a:cubicBezTo>
                    <a:cubicBezTo>
                      <a:pt x="419" y="4725"/>
                      <a:pt x="897" y="4545"/>
                      <a:pt x="1316" y="4306"/>
                    </a:cubicBezTo>
                    <a:cubicBezTo>
                      <a:pt x="4246" y="10107"/>
                      <a:pt x="7117" y="15909"/>
                      <a:pt x="10048" y="21710"/>
                    </a:cubicBezTo>
                    <a:cubicBezTo>
                      <a:pt x="10526" y="21531"/>
                      <a:pt x="11005" y="21351"/>
                      <a:pt x="11423" y="21112"/>
                    </a:cubicBezTo>
                    <a:cubicBezTo>
                      <a:pt x="9629" y="16746"/>
                      <a:pt x="7835" y="12320"/>
                      <a:pt x="6100" y="7954"/>
                    </a:cubicBezTo>
                    <a:cubicBezTo>
                      <a:pt x="6579" y="7775"/>
                      <a:pt x="7057" y="7536"/>
                      <a:pt x="7596" y="7356"/>
                    </a:cubicBezTo>
                    <a:cubicBezTo>
                      <a:pt x="8911" y="10646"/>
                      <a:pt x="10526" y="13875"/>
                      <a:pt x="11543" y="17284"/>
                    </a:cubicBezTo>
                    <a:cubicBezTo>
                      <a:pt x="12559" y="20634"/>
                      <a:pt x="14354" y="21650"/>
                      <a:pt x="17404" y="21471"/>
                    </a:cubicBezTo>
                    <a:cubicBezTo>
                      <a:pt x="21710" y="21291"/>
                      <a:pt x="26136" y="21531"/>
                      <a:pt x="31100" y="21650"/>
                    </a:cubicBezTo>
                    <a:cubicBezTo>
                      <a:pt x="28109" y="14294"/>
                      <a:pt x="25238" y="7296"/>
                      <a:pt x="22428" y="299"/>
                    </a:cubicBezTo>
                    <a:cubicBezTo>
                      <a:pt x="22667" y="179"/>
                      <a:pt x="22966" y="120"/>
                      <a:pt x="23205" y="0"/>
                    </a:cubicBezTo>
                    <a:cubicBezTo>
                      <a:pt x="33970" y="26495"/>
                      <a:pt x="44796" y="52989"/>
                      <a:pt x="55561" y="79484"/>
                    </a:cubicBezTo>
                    <a:cubicBezTo>
                      <a:pt x="55322" y="79603"/>
                      <a:pt x="55083" y="79723"/>
                      <a:pt x="54843" y="79843"/>
                    </a:cubicBezTo>
                    <a:close/>
                    <a:moveTo>
                      <a:pt x="35047" y="32475"/>
                    </a:moveTo>
                    <a:cubicBezTo>
                      <a:pt x="30561" y="35645"/>
                      <a:pt x="26375" y="38994"/>
                      <a:pt x="21830" y="41686"/>
                    </a:cubicBezTo>
                    <a:cubicBezTo>
                      <a:pt x="19019" y="43360"/>
                      <a:pt x="18481" y="45035"/>
                      <a:pt x="19916" y="48264"/>
                    </a:cubicBezTo>
                    <a:cubicBezTo>
                      <a:pt x="22069" y="53109"/>
                      <a:pt x="23983" y="58013"/>
                      <a:pt x="25717" y="62977"/>
                    </a:cubicBezTo>
                    <a:cubicBezTo>
                      <a:pt x="26913" y="66326"/>
                      <a:pt x="28468" y="67941"/>
                      <a:pt x="31937" y="67702"/>
                    </a:cubicBezTo>
                    <a:cubicBezTo>
                      <a:pt x="35585" y="67463"/>
                      <a:pt x="39293" y="67881"/>
                      <a:pt x="43001" y="68001"/>
                    </a:cubicBezTo>
                    <a:cubicBezTo>
                      <a:pt x="43001" y="68360"/>
                      <a:pt x="43061" y="68719"/>
                      <a:pt x="43061" y="69018"/>
                    </a:cubicBezTo>
                    <a:cubicBezTo>
                      <a:pt x="38396" y="69018"/>
                      <a:pt x="33791" y="69077"/>
                      <a:pt x="28648" y="69077"/>
                    </a:cubicBezTo>
                    <a:cubicBezTo>
                      <a:pt x="30442" y="73443"/>
                      <a:pt x="31877" y="77032"/>
                      <a:pt x="33612" y="81338"/>
                    </a:cubicBezTo>
                    <a:cubicBezTo>
                      <a:pt x="39473" y="77271"/>
                      <a:pt x="44915" y="73443"/>
                      <a:pt x="49820" y="70034"/>
                    </a:cubicBezTo>
                    <a:cubicBezTo>
                      <a:pt x="49401" y="63455"/>
                      <a:pt x="46410" y="62080"/>
                      <a:pt x="41745" y="62439"/>
                    </a:cubicBezTo>
                    <a:cubicBezTo>
                      <a:pt x="37260" y="62798"/>
                      <a:pt x="32655" y="62379"/>
                      <a:pt x="28648" y="62259"/>
                    </a:cubicBezTo>
                    <a:cubicBezTo>
                      <a:pt x="26435" y="56877"/>
                      <a:pt x="24401" y="51853"/>
                      <a:pt x="22368" y="46829"/>
                    </a:cubicBezTo>
                    <a:cubicBezTo>
                      <a:pt x="22787" y="46650"/>
                      <a:pt x="23205" y="46470"/>
                      <a:pt x="23684" y="46351"/>
                    </a:cubicBezTo>
                    <a:cubicBezTo>
                      <a:pt x="25657" y="51195"/>
                      <a:pt x="27631" y="55980"/>
                      <a:pt x="29545" y="60824"/>
                    </a:cubicBezTo>
                    <a:cubicBezTo>
                      <a:pt x="30083" y="60645"/>
                      <a:pt x="30561" y="60405"/>
                      <a:pt x="31100" y="60226"/>
                    </a:cubicBezTo>
                    <a:cubicBezTo>
                      <a:pt x="29186" y="55561"/>
                      <a:pt x="27272" y="50896"/>
                      <a:pt x="25418" y="46231"/>
                    </a:cubicBezTo>
                    <a:cubicBezTo>
                      <a:pt x="33671" y="62618"/>
                      <a:pt x="34748" y="63455"/>
                      <a:pt x="46410" y="60286"/>
                    </a:cubicBezTo>
                    <a:cubicBezTo>
                      <a:pt x="42463" y="50717"/>
                      <a:pt x="38636" y="41207"/>
                      <a:pt x="35047" y="32475"/>
                    </a:cubicBezTo>
                    <a:close/>
                    <a:moveTo>
                      <a:pt x="32714" y="26913"/>
                    </a:moveTo>
                    <a:cubicBezTo>
                      <a:pt x="32535" y="26495"/>
                      <a:pt x="32415" y="26016"/>
                      <a:pt x="32236" y="25597"/>
                    </a:cubicBezTo>
                    <a:cubicBezTo>
                      <a:pt x="26734" y="25657"/>
                      <a:pt x="21231" y="25777"/>
                      <a:pt x="15371" y="25837"/>
                    </a:cubicBezTo>
                    <a:cubicBezTo>
                      <a:pt x="16866" y="29545"/>
                      <a:pt x="18002" y="32236"/>
                      <a:pt x="19318" y="35585"/>
                    </a:cubicBezTo>
                    <a:cubicBezTo>
                      <a:pt x="24043" y="32535"/>
                      <a:pt x="28349" y="29724"/>
                      <a:pt x="32714" y="26913"/>
                    </a:cubicBezTo>
                    <a:close/>
                    <a:moveTo>
                      <a:pt x="34210" y="30023"/>
                    </a:moveTo>
                    <a:cubicBezTo>
                      <a:pt x="33851" y="29425"/>
                      <a:pt x="33492" y="28827"/>
                      <a:pt x="33133" y="28229"/>
                    </a:cubicBezTo>
                    <a:cubicBezTo>
                      <a:pt x="27691" y="31877"/>
                      <a:pt x="22248" y="35526"/>
                      <a:pt x="16806" y="39174"/>
                    </a:cubicBezTo>
                    <a:cubicBezTo>
                      <a:pt x="17165" y="39772"/>
                      <a:pt x="17523" y="40310"/>
                      <a:pt x="17882" y="40908"/>
                    </a:cubicBezTo>
                    <a:cubicBezTo>
                      <a:pt x="23265" y="37260"/>
                      <a:pt x="28707" y="33612"/>
                      <a:pt x="34210" y="3002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66" name="Vrije vorm: vorm 9265">
                <a:extLst>
                  <a:ext uri="{FF2B5EF4-FFF2-40B4-BE49-F238E27FC236}">
                    <a16:creationId xmlns:a16="http://schemas.microsoft.com/office/drawing/2014/main" id="{2AB52461-06FD-4E82-AD25-EA129D47905F}"/>
                  </a:ext>
                </a:extLst>
              </p:cNvPr>
              <p:cNvSpPr/>
              <p:nvPr/>
            </p:nvSpPr>
            <p:spPr>
              <a:xfrm>
                <a:off x="4917728" y="1775597"/>
                <a:ext cx="77749" cy="89411"/>
              </a:xfrm>
              <a:custGeom>
                <a:avLst/>
                <a:gdLst>
                  <a:gd name="connsiteX0" fmla="*/ 76912 w 77749"/>
                  <a:gd name="connsiteY0" fmla="*/ 63994 h 89411"/>
                  <a:gd name="connsiteX1" fmla="*/ 51793 w 77749"/>
                  <a:gd name="connsiteY1" fmla="*/ 2332 h 89411"/>
                  <a:gd name="connsiteX2" fmla="*/ 41865 w 77749"/>
                  <a:gd name="connsiteY2" fmla="*/ 6340 h 89411"/>
                  <a:gd name="connsiteX3" fmla="*/ 52810 w 77749"/>
                  <a:gd name="connsiteY3" fmla="*/ 33253 h 89411"/>
                  <a:gd name="connsiteX4" fmla="*/ 51554 w 77749"/>
                  <a:gd name="connsiteY4" fmla="*/ 33791 h 89411"/>
                  <a:gd name="connsiteX5" fmla="*/ 40549 w 77749"/>
                  <a:gd name="connsiteY5" fmla="*/ 6758 h 89411"/>
                  <a:gd name="connsiteX6" fmla="*/ 2572 w 77749"/>
                  <a:gd name="connsiteY6" fmla="*/ 24521 h 89411"/>
                  <a:gd name="connsiteX7" fmla="*/ 10825 w 77749"/>
                  <a:gd name="connsiteY7" fmla="*/ 31040 h 89411"/>
                  <a:gd name="connsiteX8" fmla="*/ 23265 w 77749"/>
                  <a:gd name="connsiteY8" fmla="*/ 29664 h 89411"/>
                  <a:gd name="connsiteX9" fmla="*/ 5861 w 77749"/>
                  <a:gd name="connsiteY9" fmla="*/ 33612 h 89411"/>
                  <a:gd name="connsiteX10" fmla="*/ 13098 w 77749"/>
                  <a:gd name="connsiteY10" fmla="*/ 51374 h 89411"/>
                  <a:gd name="connsiteX11" fmla="*/ 38636 w 77749"/>
                  <a:gd name="connsiteY11" fmla="*/ 39413 h 89411"/>
                  <a:gd name="connsiteX12" fmla="*/ 29246 w 77749"/>
                  <a:gd name="connsiteY12" fmla="*/ 16268 h 89411"/>
                  <a:gd name="connsiteX13" fmla="*/ 30442 w 77749"/>
                  <a:gd name="connsiteY13" fmla="*/ 15729 h 89411"/>
                  <a:gd name="connsiteX14" fmla="*/ 40370 w 77749"/>
                  <a:gd name="connsiteY14" fmla="*/ 40131 h 89411"/>
                  <a:gd name="connsiteX15" fmla="*/ 13696 w 77749"/>
                  <a:gd name="connsiteY15" fmla="*/ 52690 h 89411"/>
                  <a:gd name="connsiteX16" fmla="*/ 17165 w 77749"/>
                  <a:gd name="connsiteY16" fmla="*/ 61243 h 89411"/>
                  <a:gd name="connsiteX17" fmla="*/ 43420 w 77749"/>
                  <a:gd name="connsiteY17" fmla="*/ 48504 h 89411"/>
                  <a:gd name="connsiteX18" fmla="*/ 53528 w 77749"/>
                  <a:gd name="connsiteY18" fmla="*/ 73383 h 89411"/>
                  <a:gd name="connsiteX19" fmla="*/ 55441 w 77749"/>
                  <a:gd name="connsiteY19" fmla="*/ 73383 h 89411"/>
                  <a:gd name="connsiteX20" fmla="*/ 60645 w 77749"/>
                  <a:gd name="connsiteY20" fmla="*/ 58611 h 89411"/>
                  <a:gd name="connsiteX21" fmla="*/ 55441 w 77749"/>
                  <a:gd name="connsiteY21" fmla="*/ 43121 h 89411"/>
                  <a:gd name="connsiteX22" fmla="*/ 65190 w 77749"/>
                  <a:gd name="connsiteY22" fmla="*/ 67104 h 89411"/>
                  <a:gd name="connsiteX23" fmla="*/ 66267 w 77749"/>
                  <a:gd name="connsiteY23" fmla="*/ 66745 h 89411"/>
                  <a:gd name="connsiteX24" fmla="*/ 57893 w 77749"/>
                  <a:gd name="connsiteY24" fmla="*/ 46111 h 89411"/>
                  <a:gd name="connsiteX25" fmla="*/ 59209 w 77749"/>
                  <a:gd name="connsiteY25" fmla="*/ 45573 h 89411"/>
                  <a:gd name="connsiteX26" fmla="*/ 67941 w 77749"/>
                  <a:gd name="connsiteY26" fmla="*/ 66984 h 89411"/>
                  <a:gd name="connsiteX27" fmla="*/ 70154 w 77749"/>
                  <a:gd name="connsiteY27" fmla="*/ 66386 h 89411"/>
                  <a:gd name="connsiteX28" fmla="*/ 68180 w 77749"/>
                  <a:gd name="connsiteY28" fmla="*/ 59688 h 89411"/>
                  <a:gd name="connsiteX29" fmla="*/ 65190 w 77749"/>
                  <a:gd name="connsiteY29" fmla="*/ 52331 h 89411"/>
                  <a:gd name="connsiteX30" fmla="*/ 62379 w 77749"/>
                  <a:gd name="connsiteY30" fmla="*/ 44377 h 89411"/>
                  <a:gd name="connsiteX31" fmla="*/ 73085 w 77749"/>
                  <a:gd name="connsiteY31" fmla="*/ 66326 h 89411"/>
                  <a:gd name="connsiteX32" fmla="*/ 26554 w 77749"/>
                  <a:gd name="connsiteY32" fmla="*/ 89412 h 89411"/>
                  <a:gd name="connsiteX33" fmla="*/ 0 w 77749"/>
                  <a:gd name="connsiteY33" fmla="*/ 24042 h 89411"/>
                  <a:gd name="connsiteX34" fmla="*/ 51913 w 77749"/>
                  <a:gd name="connsiteY34" fmla="*/ 0 h 89411"/>
                  <a:gd name="connsiteX35" fmla="*/ 77749 w 77749"/>
                  <a:gd name="connsiteY35" fmla="*/ 63515 h 89411"/>
                  <a:gd name="connsiteX36" fmla="*/ 76912 w 77749"/>
                  <a:gd name="connsiteY36" fmla="*/ 63994 h 89411"/>
                  <a:gd name="connsiteX37" fmla="*/ 39054 w 77749"/>
                  <a:gd name="connsiteY37" fmla="*/ 77630 h 89411"/>
                  <a:gd name="connsiteX38" fmla="*/ 39114 w 77749"/>
                  <a:gd name="connsiteY38" fmla="*/ 78467 h 89411"/>
                  <a:gd name="connsiteX39" fmla="*/ 25418 w 77749"/>
                  <a:gd name="connsiteY39" fmla="*/ 80979 h 89411"/>
                  <a:gd name="connsiteX40" fmla="*/ 27990 w 77749"/>
                  <a:gd name="connsiteY40" fmla="*/ 87318 h 89411"/>
                  <a:gd name="connsiteX41" fmla="*/ 48085 w 77749"/>
                  <a:gd name="connsiteY41" fmla="*/ 77151 h 89411"/>
                  <a:gd name="connsiteX42" fmla="*/ 39772 w 77749"/>
                  <a:gd name="connsiteY42" fmla="*/ 56697 h 89411"/>
                  <a:gd name="connsiteX43" fmla="*/ 41088 w 77749"/>
                  <a:gd name="connsiteY43" fmla="*/ 56159 h 89411"/>
                  <a:gd name="connsiteX44" fmla="*/ 49461 w 77749"/>
                  <a:gd name="connsiteY44" fmla="*/ 76792 h 89411"/>
                  <a:gd name="connsiteX45" fmla="*/ 41985 w 77749"/>
                  <a:gd name="connsiteY45" fmla="*/ 50896 h 89411"/>
                  <a:gd name="connsiteX46" fmla="*/ 17942 w 77749"/>
                  <a:gd name="connsiteY46" fmla="*/ 62618 h 89411"/>
                  <a:gd name="connsiteX47" fmla="*/ 37439 w 77749"/>
                  <a:gd name="connsiteY47" fmla="*/ 77690 h 89411"/>
                  <a:gd name="connsiteX48" fmla="*/ 39054 w 77749"/>
                  <a:gd name="connsiteY48" fmla="*/ 77630 h 89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77749" h="89411">
                    <a:moveTo>
                      <a:pt x="76912" y="63994"/>
                    </a:moveTo>
                    <a:cubicBezTo>
                      <a:pt x="68599" y="43540"/>
                      <a:pt x="60286" y="23086"/>
                      <a:pt x="51793" y="2332"/>
                    </a:cubicBezTo>
                    <a:cubicBezTo>
                      <a:pt x="48264" y="3768"/>
                      <a:pt x="45334" y="4964"/>
                      <a:pt x="41865" y="6340"/>
                    </a:cubicBezTo>
                    <a:cubicBezTo>
                      <a:pt x="45573" y="15430"/>
                      <a:pt x="49221" y="24341"/>
                      <a:pt x="52810" y="33253"/>
                    </a:cubicBezTo>
                    <a:cubicBezTo>
                      <a:pt x="52391" y="33432"/>
                      <a:pt x="51972" y="33612"/>
                      <a:pt x="51554" y="33791"/>
                    </a:cubicBezTo>
                    <a:cubicBezTo>
                      <a:pt x="48025" y="25059"/>
                      <a:pt x="44437" y="16327"/>
                      <a:pt x="40549" y="6758"/>
                    </a:cubicBezTo>
                    <a:cubicBezTo>
                      <a:pt x="27332" y="12918"/>
                      <a:pt x="14952" y="18720"/>
                      <a:pt x="2572" y="24521"/>
                    </a:cubicBezTo>
                    <a:cubicBezTo>
                      <a:pt x="3349" y="30621"/>
                      <a:pt x="5502" y="32954"/>
                      <a:pt x="10825" y="31040"/>
                    </a:cubicBezTo>
                    <a:cubicBezTo>
                      <a:pt x="14653" y="29664"/>
                      <a:pt x="18959" y="29365"/>
                      <a:pt x="23265" y="29664"/>
                    </a:cubicBezTo>
                    <a:cubicBezTo>
                      <a:pt x="17583" y="30920"/>
                      <a:pt x="11902" y="32236"/>
                      <a:pt x="5861" y="33612"/>
                    </a:cubicBezTo>
                    <a:cubicBezTo>
                      <a:pt x="8313" y="39592"/>
                      <a:pt x="10526" y="45035"/>
                      <a:pt x="13098" y="51374"/>
                    </a:cubicBezTo>
                    <a:cubicBezTo>
                      <a:pt x="21530" y="47427"/>
                      <a:pt x="29844" y="43540"/>
                      <a:pt x="38636" y="39413"/>
                    </a:cubicBezTo>
                    <a:cubicBezTo>
                      <a:pt x="35406" y="31518"/>
                      <a:pt x="32356" y="23923"/>
                      <a:pt x="29246" y="16268"/>
                    </a:cubicBezTo>
                    <a:cubicBezTo>
                      <a:pt x="29665" y="16088"/>
                      <a:pt x="30083" y="15909"/>
                      <a:pt x="30442" y="15729"/>
                    </a:cubicBezTo>
                    <a:cubicBezTo>
                      <a:pt x="33731" y="23863"/>
                      <a:pt x="37021" y="31937"/>
                      <a:pt x="40370" y="40131"/>
                    </a:cubicBezTo>
                    <a:cubicBezTo>
                      <a:pt x="31758" y="44198"/>
                      <a:pt x="22846" y="48384"/>
                      <a:pt x="13696" y="52690"/>
                    </a:cubicBezTo>
                    <a:cubicBezTo>
                      <a:pt x="14892" y="55681"/>
                      <a:pt x="15849" y="58013"/>
                      <a:pt x="17165" y="61243"/>
                    </a:cubicBezTo>
                    <a:cubicBezTo>
                      <a:pt x="25956" y="56996"/>
                      <a:pt x="34509" y="52810"/>
                      <a:pt x="43420" y="48504"/>
                    </a:cubicBezTo>
                    <a:cubicBezTo>
                      <a:pt x="46709" y="56578"/>
                      <a:pt x="50118" y="64951"/>
                      <a:pt x="53528" y="73383"/>
                    </a:cubicBezTo>
                    <a:cubicBezTo>
                      <a:pt x="54424" y="73383"/>
                      <a:pt x="54963" y="73563"/>
                      <a:pt x="55441" y="73383"/>
                    </a:cubicBezTo>
                    <a:cubicBezTo>
                      <a:pt x="65130" y="69556"/>
                      <a:pt x="65130" y="69496"/>
                      <a:pt x="60645" y="58611"/>
                    </a:cubicBezTo>
                    <a:cubicBezTo>
                      <a:pt x="58611" y="53587"/>
                      <a:pt x="56518" y="48563"/>
                      <a:pt x="55441" y="43121"/>
                    </a:cubicBezTo>
                    <a:cubicBezTo>
                      <a:pt x="58671" y="51135"/>
                      <a:pt x="61960" y="59089"/>
                      <a:pt x="65190" y="67104"/>
                    </a:cubicBezTo>
                    <a:cubicBezTo>
                      <a:pt x="65549" y="66984"/>
                      <a:pt x="65908" y="66864"/>
                      <a:pt x="66267" y="66745"/>
                    </a:cubicBezTo>
                    <a:cubicBezTo>
                      <a:pt x="63455" y="59867"/>
                      <a:pt x="60704" y="52989"/>
                      <a:pt x="57893" y="46111"/>
                    </a:cubicBezTo>
                    <a:cubicBezTo>
                      <a:pt x="58312" y="45932"/>
                      <a:pt x="58731" y="45752"/>
                      <a:pt x="59209" y="45573"/>
                    </a:cubicBezTo>
                    <a:cubicBezTo>
                      <a:pt x="62140" y="52690"/>
                      <a:pt x="65010" y="59867"/>
                      <a:pt x="67941" y="66984"/>
                    </a:cubicBezTo>
                    <a:cubicBezTo>
                      <a:pt x="68659" y="66805"/>
                      <a:pt x="69436" y="66565"/>
                      <a:pt x="70154" y="66386"/>
                    </a:cubicBezTo>
                    <a:cubicBezTo>
                      <a:pt x="69496" y="64173"/>
                      <a:pt x="68958" y="61900"/>
                      <a:pt x="68180" y="59688"/>
                    </a:cubicBezTo>
                    <a:cubicBezTo>
                      <a:pt x="67283" y="57176"/>
                      <a:pt x="66207" y="54783"/>
                      <a:pt x="65190" y="52331"/>
                    </a:cubicBezTo>
                    <a:cubicBezTo>
                      <a:pt x="64114" y="49760"/>
                      <a:pt x="63097" y="47128"/>
                      <a:pt x="62379" y="44377"/>
                    </a:cubicBezTo>
                    <a:cubicBezTo>
                      <a:pt x="66565" y="51016"/>
                      <a:pt x="68061" y="59149"/>
                      <a:pt x="73085" y="66326"/>
                    </a:cubicBezTo>
                    <a:cubicBezTo>
                      <a:pt x="58611" y="73503"/>
                      <a:pt x="42942" y="81278"/>
                      <a:pt x="26554" y="89412"/>
                    </a:cubicBezTo>
                    <a:cubicBezTo>
                      <a:pt x="17763" y="67762"/>
                      <a:pt x="8911" y="45992"/>
                      <a:pt x="0" y="24042"/>
                    </a:cubicBezTo>
                    <a:cubicBezTo>
                      <a:pt x="17284" y="16028"/>
                      <a:pt x="34509" y="8074"/>
                      <a:pt x="51913" y="0"/>
                    </a:cubicBezTo>
                    <a:cubicBezTo>
                      <a:pt x="60465" y="20933"/>
                      <a:pt x="69077" y="42224"/>
                      <a:pt x="77749" y="63515"/>
                    </a:cubicBezTo>
                    <a:cubicBezTo>
                      <a:pt x="77510" y="63754"/>
                      <a:pt x="77211" y="63874"/>
                      <a:pt x="76912" y="63994"/>
                    </a:cubicBezTo>
                    <a:close/>
                    <a:moveTo>
                      <a:pt x="39054" y="77630"/>
                    </a:moveTo>
                    <a:cubicBezTo>
                      <a:pt x="39054" y="77929"/>
                      <a:pt x="39114" y="78168"/>
                      <a:pt x="39114" y="78467"/>
                    </a:cubicBezTo>
                    <a:cubicBezTo>
                      <a:pt x="34569" y="79304"/>
                      <a:pt x="30083" y="80142"/>
                      <a:pt x="25418" y="80979"/>
                    </a:cubicBezTo>
                    <a:cubicBezTo>
                      <a:pt x="26435" y="83431"/>
                      <a:pt x="27033" y="84986"/>
                      <a:pt x="27990" y="87318"/>
                    </a:cubicBezTo>
                    <a:cubicBezTo>
                      <a:pt x="34688" y="83910"/>
                      <a:pt x="41088" y="80680"/>
                      <a:pt x="48085" y="77151"/>
                    </a:cubicBezTo>
                    <a:cubicBezTo>
                      <a:pt x="45214" y="70154"/>
                      <a:pt x="42523" y="63396"/>
                      <a:pt x="39772" y="56697"/>
                    </a:cubicBezTo>
                    <a:cubicBezTo>
                      <a:pt x="40191" y="56518"/>
                      <a:pt x="40609" y="56338"/>
                      <a:pt x="41088" y="56159"/>
                    </a:cubicBezTo>
                    <a:cubicBezTo>
                      <a:pt x="43839" y="62977"/>
                      <a:pt x="46650" y="69735"/>
                      <a:pt x="49461" y="76792"/>
                    </a:cubicBezTo>
                    <a:cubicBezTo>
                      <a:pt x="52690" y="73443"/>
                      <a:pt x="49162" y="62140"/>
                      <a:pt x="41985" y="50896"/>
                    </a:cubicBezTo>
                    <a:cubicBezTo>
                      <a:pt x="33970" y="54783"/>
                      <a:pt x="25897" y="58731"/>
                      <a:pt x="17942" y="62618"/>
                    </a:cubicBezTo>
                    <a:cubicBezTo>
                      <a:pt x="23026" y="79005"/>
                      <a:pt x="23026" y="79005"/>
                      <a:pt x="37439" y="77690"/>
                    </a:cubicBezTo>
                    <a:cubicBezTo>
                      <a:pt x="37977" y="77570"/>
                      <a:pt x="38516" y="77630"/>
                      <a:pt x="39054" y="7763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67" name="Vrije vorm: vorm 9266">
                <a:extLst>
                  <a:ext uri="{FF2B5EF4-FFF2-40B4-BE49-F238E27FC236}">
                    <a16:creationId xmlns:a16="http://schemas.microsoft.com/office/drawing/2014/main" id="{0D16F204-E641-44DE-96AC-91B4D1E1DE98}"/>
                  </a:ext>
                </a:extLst>
              </p:cNvPr>
              <p:cNvSpPr/>
              <p:nvPr/>
            </p:nvSpPr>
            <p:spPr>
              <a:xfrm>
                <a:off x="5292779" y="1416275"/>
                <a:ext cx="67522" cy="78945"/>
              </a:xfrm>
              <a:custGeom>
                <a:avLst/>
                <a:gdLst>
                  <a:gd name="connsiteX0" fmla="*/ 67522 w 67522"/>
                  <a:gd name="connsiteY0" fmla="*/ 61721 h 78945"/>
                  <a:gd name="connsiteX1" fmla="*/ 25119 w 67522"/>
                  <a:gd name="connsiteY1" fmla="*/ 78946 h 78945"/>
                  <a:gd name="connsiteX2" fmla="*/ 0 w 67522"/>
                  <a:gd name="connsiteY2" fmla="*/ 17224 h 78945"/>
                  <a:gd name="connsiteX3" fmla="*/ 42403 w 67522"/>
                  <a:gd name="connsiteY3" fmla="*/ 0 h 78945"/>
                  <a:gd name="connsiteX4" fmla="*/ 67522 w 67522"/>
                  <a:gd name="connsiteY4" fmla="*/ 61721 h 78945"/>
                  <a:gd name="connsiteX5" fmla="*/ 29784 w 67522"/>
                  <a:gd name="connsiteY5" fmla="*/ 17643 h 78945"/>
                  <a:gd name="connsiteX6" fmla="*/ 30980 w 67522"/>
                  <a:gd name="connsiteY6" fmla="*/ 17165 h 78945"/>
                  <a:gd name="connsiteX7" fmla="*/ 51015 w 67522"/>
                  <a:gd name="connsiteY7" fmla="*/ 66386 h 78945"/>
                  <a:gd name="connsiteX8" fmla="*/ 60405 w 67522"/>
                  <a:gd name="connsiteY8" fmla="*/ 62618 h 78945"/>
                  <a:gd name="connsiteX9" fmla="*/ 62379 w 67522"/>
                  <a:gd name="connsiteY9" fmla="*/ 56697 h 78945"/>
                  <a:gd name="connsiteX10" fmla="*/ 57116 w 67522"/>
                  <a:gd name="connsiteY10" fmla="*/ 43061 h 78945"/>
                  <a:gd name="connsiteX11" fmla="*/ 43181 w 67522"/>
                  <a:gd name="connsiteY11" fmla="*/ 3529 h 78945"/>
                  <a:gd name="connsiteX12" fmla="*/ 9988 w 67522"/>
                  <a:gd name="connsiteY12" fmla="*/ 17045 h 78945"/>
                  <a:gd name="connsiteX13" fmla="*/ 33013 w 67522"/>
                  <a:gd name="connsiteY13" fmla="*/ 73623 h 78945"/>
                  <a:gd name="connsiteX14" fmla="*/ 36482 w 67522"/>
                  <a:gd name="connsiteY14" fmla="*/ 68120 h 78945"/>
                  <a:gd name="connsiteX15" fmla="*/ 21172 w 67522"/>
                  <a:gd name="connsiteY15" fmla="*/ 24521 h 78945"/>
                  <a:gd name="connsiteX16" fmla="*/ 20095 w 67522"/>
                  <a:gd name="connsiteY16" fmla="*/ 20873 h 78945"/>
                  <a:gd name="connsiteX17" fmla="*/ 20693 w 67522"/>
                  <a:gd name="connsiteY17" fmla="*/ 20633 h 78945"/>
                  <a:gd name="connsiteX18" fmla="*/ 40968 w 67522"/>
                  <a:gd name="connsiteY18" fmla="*/ 70393 h 78945"/>
                  <a:gd name="connsiteX19" fmla="*/ 49879 w 67522"/>
                  <a:gd name="connsiteY19" fmla="*/ 66745 h 78945"/>
                  <a:gd name="connsiteX20" fmla="*/ 29784 w 67522"/>
                  <a:gd name="connsiteY20" fmla="*/ 17643 h 78945"/>
                  <a:gd name="connsiteX21" fmla="*/ 2033 w 67522"/>
                  <a:gd name="connsiteY21" fmla="*/ 18062 h 78945"/>
                  <a:gd name="connsiteX22" fmla="*/ 25777 w 67522"/>
                  <a:gd name="connsiteY22" fmla="*/ 76434 h 78945"/>
                  <a:gd name="connsiteX23" fmla="*/ 27451 w 67522"/>
                  <a:gd name="connsiteY23" fmla="*/ 77391 h 78945"/>
                  <a:gd name="connsiteX24" fmla="*/ 30023 w 67522"/>
                  <a:gd name="connsiteY24" fmla="*/ 72008 h 78945"/>
                  <a:gd name="connsiteX25" fmla="*/ 9449 w 67522"/>
                  <a:gd name="connsiteY25" fmla="*/ 19378 h 78945"/>
                  <a:gd name="connsiteX26" fmla="*/ 6519 w 67522"/>
                  <a:gd name="connsiteY26" fmla="*/ 15729 h 78945"/>
                  <a:gd name="connsiteX27" fmla="*/ 2033 w 67522"/>
                  <a:gd name="connsiteY27" fmla="*/ 18062 h 7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522" h="78945">
                    <a:moveTo>
                      <a:pt x="67522" y="61721"/>
                    </a:moveTo>
                    <a:cubicBezTo>
                      <a:pt x="52810" y="67702"/>
                      <a:pt x="38994" y="73324"/>
                      <a:pt x="25119" y="78946"/>
                    </a:cubicBezTo>
                    <a:cubicBezTo>
                      <a:pt x="16686" y="58252"/>
                      <a:pt x="8313" y="37679"/>
                      <a:pt x="0" y="17224"/>
                    </a:cubicBezTo>
                    <a:cubicBezTo>
                      <a:pt x="14234" y="11423"/>
                      <a:pt x="28468" y="5622"/>
                      <a:pt x="42403" y="0"/>
                    </a:cubicBezTo>
                    <a:cubicBezTo>
                      <a:pt x="50716" y="20334"/>
                      <a:pt x="58850" y="40430"/>
                      <a:pt x="67522" y="61721"/>
                    </a:cubicBezTo>
                    <a:close/>
                    <a:moveTo>
                      <a:pt x="29784" y="17643"/>
                    </a:moveTo>
                    <a:cubicBezTo>
                      <a:pt x="30203" y="17464"/>
                      <a:pt x="30621" y="17344"/>
                      <a:pt x="30980" y="17165"/>
                    </a:cubicBezTo>
                    <a:cubicBezTo>
                      <a:pt x="37619" y="33432"/>
                      <a:pt x="44197" y="49640"/>
                      <a:pt x="51015" y="66386"/>
                    </a:cubicBezTo>
                    <a:cubicBezTo>
                      <a:pt x="54424" y="65010"/>
                      <a:pt x="57355" y="63635"/>
                      <a:pt x="60405" y="62618"/>
                    </a:cubicBezTo>
                    <a:cubicBezTo>
                      <a:pt x="63455" y="61601"/>
                      <a:pt x="63635" y="59628"/>
                      <a:pt x="62379" y="56697"/>
                    </a:cubicBezTo>
                    <a:cubicBezTo>
                      <a:pt x="60525" y="52212"/>
                      <a:pt x="58731" y="47666"/>
                      <a:pt x="57116" y="43061"/>
                    </a:cubicBezTo>
                    <a:cubicBezTo>
                      <a:pt x="52331" y="29605"/>
                      <a:pt x="47606" y="16148"/>
                      <a:pt x="43181" y="3529"/>
                    </a:cubicBezTo>
                    <a:cubicBezTo>
                      <a:pt x="31638" y="8253"/>
                      <a:pt x="20992" y="12560"/>
                      <a:pt x="9988" y="17045"/>
                    </a:cubicBezTo>
                    <a:cubicBezTo>
                      <a:pt x="18002" y="36662"/>
                      <a:pt x="25537" y="55202"/>
                      <a:pt x="33013" y="73623"/>
                    </a:cubicBezTo>
                    <a:cubicBezTo>
                      <a:pt x="36721" y="73383"/>
                      <a:pt x="37798" y="71888"/>
                      <a:pt x="36482" y="68120"/>
                    </a:cubicBezTo>
                    <a:cubicBezTo>
                      <a:pt x="31279" y="53647"/>
                      <a:pt x="26255" y="39054"/>
                      <a:pt x="21172" y="24521"/>
                    </a:cubicBezTo>
                    <a:cubicBezTo>
                      <a:pt x="20753" y="23325"/>
                      <a:pt x="20454" y="22069"/>
                      <a:pt x="20095" y="20873"/>
                    </a:cubicBezTo>
                    <a:cubicBezTo>
                      <a:pt x="20274" y="20813"/>
                      <a:pt x="20514" y="20753"/>
                      <a:pt x="20693" y="20633"/>
                    </a:cubicBezTo>
                    <a:cubicBezTo>
                      <a:pt x="27391" y="37080"/>
                      <a:pt x="34090" y="53587"/>
                      <a:pt x="40968" y="70393"/>
                    </a:cubicBezTo>
                    <a:cubicBezTo>
                      <a:pt x="43898" y="69197"/>
                      <a:pt x="46470" y="68180"/>
                      <a:pt x="49879" y="66745"/>
                    </a:cubicBezTo>
                    <a:cubicBezTo>
                      <a:pt x="43001" y="50178"/>
                      <a:pt x="36363" y="33911"/>
                      <a:pt x="29784" y="17643"/>
                    </a:cubicBezTo>
                    <a:close/>
                    <a:moveTo>
                      <a:pt x="2033" y="18062"/>
                    </a:moveTo>
                    <a:cubicBezTo>
                      <a:pt x="10107" y="37918"/>
                      <a:pt x="17942" y="57176"/>
                      <a:pt x="25777" y="76434"/>
                    </a:cubicBezTo>
                    <a:cubicBezTo>
                      <a:pt x="26315" y="76733"/>
                      <a:pt x="26913" y="77091"/>
                      <a:pt x="27451" y="77391"/>
                    </a:cubicBezTo>
                    <a:cubicBezTo>
                      <a:pt x="28349" y="75596"/>
                      <a:pt x="30502" y="73324"/>
                      <a:pt x="30023" y="72008"/>
                    </a:cubicBezTo>
                    <a:cubicBezTo>
                      <a:pt x="23384" y="54365"/>
                      <a:pt x="16447" y="36901"/>
                      <a:pt x="9449" y="19378"/>
                    </a:cubicBezTo>
                    <a:cubicBezTo>
                      <a:pt x="8911" y="18002"/>
                      <a:pt x="7595" y="16985"/>
                      <a:pt x="6519" y="15729"/>
                    </a:cubicBezTo>
                    <a:cubicBezTo>
                      <a:pt x="5083" y="16507"/>
                      <a:pt x="3827" y="17165"/>
                      <a:pt x="2033" y="1806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68" name="Vrije vorm: vorm 9267">
                <a:extLst>
                  <a:ext uri="{FF2B5EF4-FFF2-40B4-BE49-F238E27FC236}">
                    <a16:creationId xmlns:a16="http://schemas.microsoft.com/office/drawing/2014/main" id="{4E91E674-6945-496F-991D-971D9554D10F}"/>
                  </a:ext>
                </a:extLst>
              </p:cNvPr>
              <p:cNvSpPr/>
              <p:nvPr/>
            </p:nvSpPr>
            <p:spPr>
              <a:xfrm>
                <a:off x="5241046" y="1434696"/>
                <a:ext cx="69197" cy="81218"/>
              </a:xfrm>
              <a:custGeom>
                <a:avLst/>
                <a:gdLst>
                  <a:gd name="connsiteX0" fmla="*/ 42224 w 69197"/>
                  <a:gd name="connsiteY0" fmla="*/ 71888 h 81218"/>
                  <a:gd name="connsiteX1" fmla="*/ 47966 w 69197"/>
                  <a:gd name="connsiteY1" fmla="*/ 69556 h 81218"/>
                  <a:gd name="connsiteX2" fmla="*/ 30083 w 69197"/>
                  <a:gd name="connsiteY2" fmla="*/ 25657 h 81218"/>
                  <a:gd name="connsiteX3" fmla="*/ 31220 w 69197"/>
                  <a:gd name="connsiteY3" fmla="*/ 25179 h 81218"/>
                  <a:gd name="connsiteX4" fmla="*/ 49042 w 69197"/>
                  <a:gd name="connsiteY4" fmla="*/ 69018 h 81218"/>
                  <a:gd name="connsiteX5" fmla="*/ 55023 w 69197"/>
                  <a:gd name="connsiteY5" fmla="*/ 66565 h 81218"/>
                  <a:gd name="connsiteX6" fmla="*/ 35047 w 69197"/>
                  <a:gd name="connsiteY6" fmla="*/ 17464 h 81218"/>
                  <a:gd name="connsiteX7" fmla="*/ 36123 w 69197"/>
                  <a:gd name="connsiteY7" fmla="*/ 17045 h 81218"/>
                  <a:gd name="connsiteX8" fmla="*/ 55561 w 69197"/>
                  <a:gd name="connsiteY8" fmla="*/ 64831 h 81218"/>
                  <a:gd name="connsiteX9" fmla="*/ 56578 w 69197"/>
                  <a:gd name="connsiteY9" fmla="*/ 64412 h 81218"/>
                  <a:gd name="connsiteX10" fmla="*/ 39532 w 69197"/>
                  <a:gd name="connsiteY10" fmla="*/ 22488 h 81218"/>
                  <a:gd name="connsiteX11" fmla="*/ 40549 w 69197"/>
                  <a:gd name="connsiteY11" fmla="*/ 22069 h 81218"/>
                  <a:gd name="connsiteX12" fmla="*/ 58073 w 69197"/>
                  <a:gd name="connsiteY12" fmla="*/ 65130 h 81218"/>
                  <a:gd name="connsiteX13" fmla="*/ 67582 w 69197"/>
                  <a:gd name="connsiteY13" fmla="*/ 61243 h 81218"/>
                  <a:gd name="connsiteX14" fmla="*/ 44915 w 69197"/>
                  <a:gd name="connsiteY14" fmla="*/ 5562 h 81218"/>
                  <a:gd name="connsiteX15" fmla="*/ 46052 w 69197"/>
                  <a:gd name="connsiteY15" fmla="*/ 5084 h 81218"/>
                  <a:gd name="connsiteX16" fmla="*/ 69197 w 69197"/>
                  <a:gd name="connsiteY16" fmla="*/ 61960 h 81218"/>
                  <a:gd name="connsiteX17" fmla="*/ 48743 w 69197"/>
                  <a:gd name="connsiteY17" fmla="*/ 71828 h 81218"/>
                  <a:gd name="connsiteX18" fmla="*/ 25837 w 69197"/>
                  <a:gd name="connsiteY18" fmla="*/ 81218 h 81218"/>
                  <a:gd name="connsiteX19" fmla="*/ 0 w 69197"/>
                  <a:gd name="connsiteY19" fmla="*/ 17763 h 81218"/>
                  <a:gd name="connsiteX20" fmla="*/ 43659 w 69197"/>
                  <a:gd name="connsiteY20" fmla="*/ 0 h 81218"/>
                  <a:gd name="connsiteX21" fmla="*/ 44078 w 69197"/>
                  <a:gd name="connsiteY21" fmla="*/ 1077 h 81218"/>
                  <a:gd name="connsiteX22" fmla="*/ 2093 w 69197"/>
                  <a:gd name="connsiteY22" fmla="*/ 18122 h 81218"/>
                  <a:gd name="connsiteX23" fmla="*/ 26495 w 69197"/>
                  <a:gd name="connsiteY23" fmla="*/ 78108 h 81218"/>
                  <a:gd name="connsiteX24" fmla="*/ 31519 w 69197"/>
                  <a:gd name="connsiteY24" fmla="*/ 76075 h 81218"/>
                  <a:gd name="connsiteX25" fmla="*/ 9629 w 69197"/>
                  <a:gd name="connsiteY25" fmla="*/ 22188 h 81218"/>
                  <a:gd name="connsiteX26" fmla="*/ 10705 w 69197"/>
                  <a:gd name="connsiteY26" fmla="*/ 21770 h 81218"/>
                  <a:gd name="connsiteX27" fmla="*/ 32595 w 69197"/>
                  <a:gd name="connsiteY27" fmla="*/ 75536 h 81218"/>
                  <a:gd name="connsiteX28" fmla="*/ 40310 w 69197"/>
                  <a:gd name="connsiteY28" fmla="*/ 72427 h 81218"/>
                  <a:gd name="connsiteX29" fmla="*/ 18062 w 69197"/>
                  <a:gd name="connsiteY29" fmla="*/ 17703 h 81218"/>
                  <a:gd name="connsiteX30" fmla="*/ 43121 w 69197"/>
                  <a:gd name="connsiteY30" fmla="*/ 7536 h 81218"/>
                  <a:gd name="connsiteX31" fmla="*/ 43360 w 69197"/>
                  <a:gd name="connsiteY31" fmla="*/ 7954 h 81218"/>
                  <a:gd name="connsiteX32" fmla="*/ 20514 w 69197"/>
                  <a:gd name="connsiteY32" fmla="*/ 18600 h 81218"/>
                  <a:gd name="connsiteX33" fmla="*/ 42224 w 69197"/>
                  <a:gd name="connsiteY33" fmla="*/ 71888 h 8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9197" h="81218">
                    <a:moveTo>
                      <a:pt x="42224" y="71888"/>
                    </a:moveTo>
                    <a:cubicBezTo>
                      <a:pt x="44138" y="71111"/>
                      <a:pt x="45753" y="70453"/>
                      <a:pt x="47966" y="69556"/>
                    </a:cubicBezTo>
                    <a:cubicBezTo>
                      <a:pt x="41985" y="54783"/>
                      <a:pt x="36064" y="40250"/>
                      <a:pt x="30083" y="25657"/>
                    </a:cubicBezTo>
                    <a:cubicBezTo>
                      <a:pt x="30442" y="25478"/>
                      <a:pt x="30861" y="25298"/>
                      <a:pt x="31220" y="25179"/>
                    </a:cubicBezTo>
                    <a:cubicBezTo>
                      <a:pt x="37140" y="39712"/>
                      <a:pt x="43061" y="54245"/>
                      <a:pt x="49042" y="69018"/>
                    </a:cubicBezTo>
                    <a:cubicBezTo>
                      <a:pt x="51255" y="68120"/>
                      <a:pt x="52870" y="67463"/>
                      <a:pt x="55023" y="66565"/>
                    </a:cubicBezTo>
                    <a:cubicBezTo>
                      <a:pt x="48324" y="50059"/>
                      <a:pt x="41686" y="33791"/>
                      <a:pt x="35047" y="17464"/>
                    </a:cubicBezTo>
                    <a:cubicBezTo>
                      <a:pt x="35406" y="17344"/>
                      <a:pt x="35765" y="17165"/>
                      <a:pt x="36123" y="17045"/>
                    </a:cubicBezTo>
                    <a:cubicBezTo>
                      <a:pt x="42583" y="32954"/>
                      <a:pt x="49102" y="48922"/>
                      <a:pt x="55561" y="64831"/>
                    </a:cubicBezTo>
                    <a:cubicBezTo>
                      <a:pt x="55920" y="64711"/>
                      <a:pt x="56279" y="64532"/>
                      <a:pt x="56578" y="64412"/>
                    </a:cubicBezTo>
                    <a:cubicBezTo>
                      <a:pt x="50896" y="50417"/>
                      <a:pt x="45214" y="36482"/>
                      <a:pt x="39532" y="22488"/>
                    </a:cubicBezTo>
                    <a:cubicBezTo>
                      <a:pt x="39891" y="22368"/>
                      <a:pt x="40250" y="22188"/>
                      <a:pt x="40549" y="22069"/>
                    </a:cubicBezTo>
                    <a:cubicBezTo>
                      <a:pt x="46351" y="36303"/>
                      <a:pt x="52152" y="50537"/>
                      <a:pt x="58073" y="65130"/>
                    </a:cubicBezTo>
                    <a:cubicBezTo>
                      <a:pt x="61302" y="63814"/>
                      <a:pt x="64054" y="62678"/>
                      <a:pt x="67582" y="61243"/>
                    </a:cubicBezTo>
                    <a:cubicBezTo>
                      <a:pt x="59987" y="42643"/>
                      <a:pt x="52451" y="24102"/>
                      <a:pt x="44915" y="5562"/>
                    </a:cubicBezTo>
                    <a:cubicBezTo>
                      <a:pt x="45274" y="5383"/>
                      <a:pt x="45693" y="5263"/>
                      <a:pt x="46052" y="5084"/>
                    </a:cubicBezTo>
                    <a:cubicBezTo>
                      <a:pt x="53827" y="24162"/>
                      <a:pt x="61601" y="43241"/>
                      <a:pt x="69197" y="61960"/>
                    </a:cubicBezTo>
                    <a:cubicBezTo>
                      <a:pt x="62379" y="65250"/>
                      <a:pt x="55681" y="68778"/>
                      <a:pt x="48743" y="71828"/>
                    </a:cubicBezTo>
                    <a:cubicBezTo>
                      <a:pt x="41207" y="75178"/>
                      <a:pt x="33432" y="78108"/>
                      <a:pt x="25837" y="81218"/>
                    </a:cubicBezTo>
                    <a:cubicBezTo>
                      <a:pt x="17105" y="59688"/>
                      <a:pt x="8552" y="38695"/>
                      <a:pt x="0" y="17763"/>
                    </a:cubicBezTo>
                    <a:cubicBezTo>
                      <a:pt x="14593" y="11842"/>
                      <a:pt x="29126" y="5921"/>
                      <a:pt x="43659" y="0"/>
                    </a:cubicBezTo>
                    <a:cubicBezTo>
                      <a:pt x="43779" y="359"/>
                      <a:pt x="43958" y="718"/>
                      <a:pt x="44078" y="1077"/>
                    </a:cubicBezTo>
                    <a:cubicBezTo>
                      <a:pt x="30322" y="6698"/>
                      <a:pt x="16567" y="12260"/>
                      <a:pt x="2093" y="18122"/>
                    </a:cubicBezTo>
                    <a:cubicBezTo>
                      <a:pt x="10287" y="38277"/>
                      <a:pt x="18361" y="58073"/>
                      <a:pt x="26495" y="78108"/>
                    </a:cubicBezTo>
                    <a:cubicBezTo>
                      <a:pt x="27870" y="77570"/>
                      <a:pt x="29306" y="76972"/>
                      <a:pt x="31519" y="76075"/>
                    </a:cubicBezTo>
                    <a:cubicBezTo>
                      <a:pt x="24162" y="58013"/>
                      <a:pt x="16866" y="40131"/>
                      <a:pt x="9629" y="22188"/>
                    </a:cubicBezTo>
                    <a:cubicBezTo>
                      <a:pt x="9988" y="22069"/>
                      <a:pt x="10347" y="21889"/>
                      <a:pt x="10705" y="21770"/>
                    </a:cubicBezTo>
                    <a:cubicBezTo>
                      <a:pt x="17942" y="39592"/>
                      <a:pt x="25179" y="57355"/>
                      <a:pt x="32595" y="75536"/>
                    </a:cubicBezTo>
                    <a:cubicBezTo>
                      <a:pt x="35227" y="74460"/>
                      <a:pt x="37499" y="73563"/>
                      <a:pt x="40310" y="72427"/>
                    </a:cubicBezTo>
                    <a:cubicBezTo>
                      <a:pt x="32954" y="54305"/>
                      <a:pt x="25538" y="36183"/>
                      <a:pt x="18062" y="17703"/>
                    </a:cubicBezTo>
                    <a:cubicBezTo>
                      <a:pt x="26734" y="14174"/>
                      <a:pt x="34928" y="10825"/>
                      <a:pt x="43121" y="7536"/>
                    </a:cubicBezTo>
                    <a:cubicBezTo>
                      <a:pt x="43181" y="7655"/>
                      <a:pt x="43300" y="7835"/>
                      <a:pt x="43360" y="7954"/>
                    </a:cubicBezTo>
                    <a:cubicBezTo>
                      <a:pt x="35884" y="11423"/>
                      <a:pt x="28349" y="14952"/>
                      <a:pt x="20514" y="18600"/>
                    </a:cubicBezTo>
                    <a:cubicBezTo>
                      <a:pt x="27811" y="36482"/>
                      <a:pt x="34928" y="53886"/>
                      <a:pt x="42224" y="7188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69" name="Vrije vorm: vorm 9268">
                <a:extLst>
                  <a:ext uri="{FF2B5EF4-FFF2-40B4-BE49-F238E27FC236}">
                    <a16:creationId xmlns:a16="http://schemas.microsoft.com/office/drawing/2014/main" id="{F12A6ECF-782C-4107-B4CC-F153C6759F1C}"/>
                  </a:ext>
                </a:extLst>
              </p:cNvPr>
              <p:cNvSpPr/>
              <p:nvPr/>
            </p:nvSpPr>
            <p:spPr>
              <a:xfrm>
                <a:off x="4894283" y="1593544"/>
                <a:ext cx="67582" cy="72067"/>
              </a:xfrm>
              <a:custGeom>
                <a:avLst/>
                <a:gdLst>
                  <a:gd name="connsiteX0" fmla="*/ 20992 w 67582"/>
                  <a:gd name="connsiteY0" fmla="*/ 69436 h 72067"/>
                  <a:gd name="connsiteX1" fmla="*/ 40370 w 67582"/>
                  <a:gd name="connsiteY1" fmla="*/ 61542 h 72067"/>
                  <a:gd name="connsiteX2" fmla="*/ 20394 w 67582"/>
                  <a:gd name="connsiteY2" fmla="*/ 12440 h 72067"/>
                  <a:gd name="connsiteX3" fmla="*/ 19138 w 67582"/>
                  <a:gd name="connsiteY3" fmla="*/ 12918 h 72067"/>
                  <a:gd name="connsiteX4" fmla="*/ 38037 w 67582"/>
                  <a:gd name="connsiteY4" fmla="*/ 59329 h 72067"/>
                  <a:gd name="connsiteX5" fmla="*/ 36841 w 67582"/>
                  <a:gd name="connsiteY5" fmla="*/ 59807 h 72067"/>
                  <a:gd name="connsiteX6" fmla="*/ 18121 w 67582"/>
                  <a:gd name="connsiteY6" fmla="*/ 13815 h 72067"/>
                  <a:gd name="connsiteX7" fmla="*/ 15430 w 67582"/>
                  <a:gd name="connsiteY7" fmla="*/ 19079 h 72067"/>
                  <a:gd name="connsiteX8" fmla="*/ 30442 w 67582"/>
                  <a:gd name="connsiteY8" fmla="*/ 55740 h 72067"/>
                  <a:gd name="connsiteX9" fmla="*/ 31698 w 67582"/>
                  <a:gd name="connsiteY9" fmla="*/ 61721 h 72067"/>
                  <a:gd name="connsiteX10" fmla="*/ 12799 w 67582"/>
                  <a:gd name="connsiteY10" fmla="*/ 15251 h 72067"/>
                  <a:gd name="connsiteX11" fmla="*/ 598 w 67582"/>
                  <a:gd name="connsiteY11" fmla="*/ 20215 h 72067"/>
                  <a:gd name="connsiteX12" fmla="*/ 0 w 67582"/>
                  <a:gd name="connsiteY12" fmla="*/ 18720 h 72067"/>
                  <a:gd name="connsiteX13" fmla="*/ 46052 w 67582"/>
                  <a:gd name="connsiteY13" fmla="*/ 0 h 72067"/>
                  <a:gd name="connsiteX14" fmla="*/ 67582 w 67582"/>
                  <a:gd name="connsiteY14" fmla="*/ 52989 h 72067"/>
                  <a:gd name="connsiteX15" fmla="*/ 20753 w 67582"/>
                  <a:gd name="connsiteY15" fmla="*/ 72068 h 72067"/>
                  <a:gd name="connsiteX16" fmla="*/ 1555 w 67582"/>
                  <a:gd name="connsiteY16" fmla="*/ 24880 h 72067"/>
                  <a:gd name="connsiteX17" fmla="*/ 2572 w 67582"/>
                  <a:gd name="connsiteY17" fmla="*/ 24401 h 72067"/>
                  <a:gd name="connsiteX18" fmla="*/ 20992 w 67582"/>
                  <a:gd name="connsiteY18" fmla="*/ 69436 h 72067"/>
                  <a:gd name="connsiteX19" fmla="*/ 43779 w 67582"/>
                  <a:gd name="connsiteY19" fmla="*/ 56398 h 72067"/>
                  <a:gd name="connsiteX20" fmla="*/ 61362 w 67582"/>
                  <a:gd name="connsiteY20" fmla="*/ 49221 h 72067"/>
                  <a:gd name="connsiteX21" fmla="*/ 61900 w 67582"/>
                  <a:gd name="connsiteY21" fmla="*/ 50657 h 72067"/>
                  <a:gd name="connsiteX22" fmla="*/ 44317 w 67582"/>
                  <a:gd name="connsiteY22" fmla="*/ 57834 h 72067"/>
                  <a:gd name="connsiteX23" fmla="*/ 45095 w 67582"/>
                  <a:gd name="connsiteY23" fmla="*/ 59807 h 72067"/>
                  <a:gd name="connsiteX24" fmla="*/ 65250 w 67582"/>
                  <a:gd name="connsiteY24" fmla="*/ 51614 h 72067"/>
                  <a:gd name="connsiteX25" fmla="*/ 45095 w 67582"/>
                  <a:gd name="connsiteY25" fmla="*/ 2093 h 72067"/>
                  <a:gd name="connsiteX26" fmla="*/ 25418 w 67582"/>
                  <a:gd name="connsiteY26" fmla="*/ 10107 h 72067"/>
                  <a:gd name="connsiteX27" fmla="*/ 26016 w 67582"/>
                  <a:gd name="connsiteY27" fmla="*/ 11543 h 72067"/>
                  <a:gd name="connsiteX28" fmla="*/ 43300 w 67582"/>
                  <a:gd name="connsiteY28" fmla="*/ 4486 h 72067"/>
                  <a:gd name="connsiteX29" fmla="*/ 43898 w 67582"/>
                  <a:gd name="connsiteY29" fmla="*/ 6040 h 72067"/>
                  <a:gd name="connsiteX30" fmla="*/ 26196 w 67582"/>
                  <a:gd name="connsiteY30" fmla="*/ 13217 h 72067"/>
                  <a:gd name="connsiteX31" fmla="*/ 43779 w 67582"/>
                  <a:gd name="connsiteY31" fmla="*/ 56398 h 72067"/>
                  <a:gd name="connsiteX32" fmla="*/ 42343 w 67582"/>
                  <a:gd name="connsiteY32" fmla="*/ 60704 h 72067"/>
                  <a:gd name="connsiteX33" fmla="*/ 43121 w 67582"/>
                  <a:gd name="connsiteY33" fmla="*/ 60345 h 72067"/>
                  <a:gd name="connsiteX34" fmla="*/ 23086 w 67582"/>
                  <a:gd name="connsiteY34" fmla="*/ 11124 h 72067"/>
                  <a:gd name="connsiteX35" fmla="*/ 22308 w 67582"/>
                  <a:gd name="connsiteY35" fmla="*/ 11483 h 72067"/>
                  <a:gd name="connsiteX36" fmla="*/ 42343 w 67582"/>
                  <a:gd name="connsiteY36" fmla="*/ 60704 h 7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7582" h="72067">
                    <a:moveTo>
                      <a:pt x="20992" y="69436"/>
                    </a:moveTo>
                    <a:cubicBezTo>
                      <a:pt x="28169" y="66506"/>
                      <a:pt x="34210" y="64053"/>
                      <a:pt x="40370" y="61542"/>
                    </a:cubicBezTo>
                    <a:cubicBezTo>
                      <a:pt x="33671" y="45095"/>
                      <a:pt x="27033" y="28767"/>
                      <a:pt x="20394" y="12440"/>
                    </a:cubicBezTo>
                    <a:cubicBezTo>
                      <a:pt x="19975" y="12619"/>
                      <a:pt x="19557" y="12739"/>
                      <a:pt x="19138" y="12918"/>
                    </a:cubicBezTo>
                    <a:cubicBezTo>
                      <a:pt x="25418" y="28408"/>
                      <a:pt x="31698" y="43839"/>
                      <a:pt x="38037" y="59329"/>
                    </a:cubicBezTo>
                    <a:cubicBezTo>
                      <a:pt x="37619" y="59508"/>
                      <a:pt x="37260" y="59628"/>
                      <a:pt x="36841" y="59807"/>
                    </a:cubicBezTo>
                    <a:cubicBezTo>
                      <a:pt x="30561" y="44437"/>
                      <a:pt x="24342" y="29066"/>
                      <a:pt x="18121" y="13815"/>
                    </a:cubicBezTo>
                    <a:cubicBezTo>
                      <a:pt x="13217" y="13516"/>
                      <a:pt x="14294" y="16268"/>
                      <a:pt x="15430" y="19079"/>
                    </a:cubicBezTo>
                    <a:cubicBezTo>
                      <a:pt x="20454" y="31279"/>
                      <a:pt x="25478" y="43480"/>
                      <a:pt x="30442" y="55740"/>
                    </a:cubicBezTo>
                    <a:cubicBezTo>
                      <a:pt x="31219" y="57594"/>
                      <a:pt x="31937" y="59448"/>
                      <a:pt x="31698" y="61721"/>
                    </a:cubicBezTo>
                    <a:cubicBezTo>
                      <a:pt x="25478" y="46410"/>
                      <a:pt x="19258" y="31100"/>
                      <a:pt x="12799" y="15251"/>
                    </a:cubicBezTo>
                    <a:cubicBezTo>
                      <a:pt x="8313" y="17105"/>
                      <a:pt x="4426" y="18660"/>
                      <a:pt x="598" y="20215"/>
                    </a:cubicBezTo>
                    <a:cubicBezTo>
                      <a:pt x="419" y="19736"/>
                      <a:pt x="239" y="19258"/>
                      <a:pt x="0" y="18720"/>
                    </a:cubicBezTo>
                    <a:cubicBezTo>
                      <a:pt x="15251" y="12500"/>
                      <a:pt x="30502" y="6280"/>
                      <a:pt x="46052" y="0"/>
                    </a:cubicBezTo>
                    <a:cubicBezTo>
                      <a:pt x="53169" y="17464"/>
                      <a:pt x="60525" y="35645"/>
                      <a:pt x="67582" y="52989"/>
                    </a:cubicBezTo>
                    <a:cubicBezTo>
                      <a:pt x="51972" y="59329"/>
                      <a:pt x="36482" y="65668"/>
                      <a:pt x="20753" y="72068"/>
                    </a:cubicBezTo>
                    <a:cubicBezTo>
                      <a:pt x="14174" y="55860"/>
                      <a:pt x="7835" y="40370"/>
                      <a:pt x="1555" y="24880"/>
                    </a:cubicBezTo>
                    <a:cubicBezTo>
                      <a:pt x="1914" y="24700"/>
                      <a:pt x="2213" y="24581"/>
                      <a:pt x="2572" y="24401"/>
                    </a:cubicBezTo>
                    <a:cubicBezTo>
                      <a:pt x="8672" y="39114"/>
                      <a:pt x="14712" y="53946"/>
                      <a:pt x="20992" y="69436"/>
                    </a:cubicBezTo>
                    <a:close/>
                    <a:moveTo>
                      <a:pt x="43779" y="56398"/>
                    </a:moveTo>
                    <a:cubicBezTo>
                      <a:pt x="50059" y="53826"/>
                      <a:pt x="55681" y="51554"/>
                      <a:pt x="61362" y="49221"/>
                    </a:cubicBezTo>
                    <a:cubicBezTo>
                      <a:pt x="61542" y="49700"/>
                      <a:pt x="61721" y="50178"/>
                      <a:pt x="61900" y="50657"/>
                    </a:cubicBezTo>
                    <a:cubicBezTo>
                      <a:pt x="56039" y="53049"/>
                      <a:pt x="50178" y="55441"/>
                      <a:pt x="44317" y="57834"/>
                    </a:cubicBezTo>
                    <a:cubicBezTo>
                      <a:pt x="44556" y="58491"/>
                      <a:pt x="44855" y="59149"/>
                      <a:pt x="45095" y="59807"/>
                    </a:cubicBezTo>
                    <a:cubicBezTo>
                      <a:pt x="51793" y="57056"/>
                      <a:pt x="58491" y="54365"/>
                      <a:pt x="65250" y="51614"/>
                    </a:cubicBezTo>
                    <a:cubicBezTo>
                      <a:pt x="58611" y="35346"/>
                      <a:pt x="51853" y="18720"/>
                      <a:pt x="45095" y="2093"/>
                    </a:cubicBezTo>
                    <a:cubicBezTo>
                      <a:pt x="38276" y="4844"/>
                      <a:pt x="31817" y="7476"/>
                      <a:pt x="25418" y="10107"/>
                    </a:cubicBezTo>
                    <a:cubicBezTo>
                      <a:pt x="25597" y="10586"/>
                      <a:pt x="25837" y="11064"/>
                      <a:pt x="26016" y="11543"/>
                    </a:cubicBezTo>
                    <a:cubicBezTo>
                      <a:pt x="31758" y="9210"/>
                      <a:pt x="37559" y="6878"/>
                      <a:pt x="43300" y="4486"/>
                    </a:cubicBezTo>
                    <a:cubicBezTo>
                      <a:pt x="43480" y="5024"/>
                      <a:pt x="43719" y="5502"/>
                      <a:pt x="43898" y="6040"/>
                    </a:cubicBezTo>
                    <a:cubicBezTo>
                      <a:pt x="37977" y="8433"/>
                      <a:pt x="32116" y="10825"/>
                      <a:pt x="26196" y="13217"/>
                    </a:cubicBezTo>
                    <a:cubicBezTo>
                      <a:pt x="32116" y="27810"/>
                      <a:pt x="37798" y="41626"/>
                      <a:pt x="43779" y="56398"/>
                    </a:cubicBezTo>
                    <a:close/>
                    <a:moveTo>
                      <a:pt x="42343" y="60704"/>
                    </a:moveTo>
                    <a:cubicBezTo>
                      <a:pt x="42583" y="60585"/>
                      <a:pt x="42822" y="60465"/>
                      <a:pt x="43121" y="60345"/>
                    </a:cubicBezTo>
                    <a:cubicBezTo>
                      <a:pt x="36422" y="43958"/>
                      <a:pt x="29784" y="27511"/>
                      <a:pt x="23086" y="11124"/>
                    </a:cubicBezTo>
                    <a:cubicBezTo>
                      <a:pt x="22846" y="11244"/>
                      <a:pt x="22607" y="11363"/>
                      <a:pt x="22308" y="11483"/>
                    </a:cubicBezTo>
                    <a:cubicBezTo>
                      <a:pt x="29006" y="27930"/>
                      <a:pt x="35705" y="44317"/>
                      <a:pt x="42343" y="6070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70" name="Vrije vorm: vorm 9269">
                <a:extLst>
                  <a:ext uri="{FF2B5EF4-FFF2-40B4-BE49-F238E27FC236}">
                    <a16:creationId xmlns:a16="http://schemas.microsoft.com/office/drawing/2014/main" id="{5794FEF5-4219-49F7-8AAF-511F9C7E2C7C}"/>
                  </a:ext>
                </a:extLst>
              </p:cNvPr>
              <p:cNvSpPr/>
              <p:nvPr/>
            </p:nvSpPr>
            <p:spPr>
              <a:xfrm>
                <a:off x="4852000" y="1806158"/>
                <a:ext cx="80739" cy="91923"/>
              </a:xfrm>
              <a:custGeom>
                <a:avLst/>
                <a:gdLst>
                  <a:gd name="connsiteX0" fmla="*/ 0 w 80739"/>
                  <a:gd name="connsiteY0" fmla="*/ 25239 h 91923"/>
                  <a:gd name="connsiteX1" fmla="*/ 54066 w 80739"/>
                  <a:gd name="connsiteY1" fmla="*/ 0 h 91923"/>
                  <a:gd name="connsiteX2" fmla="*/ 80740 w 80739"/>
                  <a:gd name="connsiteY2" fmla="*/ 65609 h 91923"/>
                  <a:gd name="connsiteX3" fmla="*/ 27092 w 80739"/>
                  <a:gd name="connsiteY3" fmla="*/ 91924 h 91923"/>
                  <a:gd name="connsiteX4" fmla="*/ 0 w 80739"/>
                  <a:gd name="connsiteY4" fmla="*/ 25239 h 91923"/>
                  <a:gd name="connsiteX5" fmla="*/ 52630 w 80739"/>
                  <a:gd name="connsiteY5" fmla="*/ 44018 h 91923"/>
                  <a:gd name="connsiteX6" fmla="*/ 53109 w 80739"/>
                  <a:gd name="connsiteY6" fmla="*/ 45035 h 91923"/>
                  <a:gd name="connsiteX7" fmla="*/ 17105 w 80739"/>
                  <a:gd name="connsiteY7" fmla="*/ 62678 h 91923"/>
                  <a:gd name="connsiteX8" fmla="*/ 23384 w 80739"/>
                  <a:gd name="connsiteY8" fmla="*/ 78168 h 91923"/>
                  <a:gd name="connsiteX9" fmla="*/ 56697 w 80739"/>
                  <a:gd name="connsiteY9" fmla="*/ 62020 h 91923"/>
                  <a:gd name="connsiteX10" fmla="*/ 57355 w 80739"/>
                  <a:gd name="connsiteY10" fmla="*/ 63396 h 91923"/>
                  <a:gd name="connsiteX11" fmla="*/ 24282 w 80739"/>
                  <a:gd name="connsiteY11" fmla="*/ 79843 h 91923"/>
                  <a:gd name="connsiteX12" fmla="*/ 28349 w 80739"/>
                  <a:gd name="connsiteY12" fmla="*/ 89771 h 91923"/>
                  <a:gd name="connsiteX13" fmla="*/ 63694 w 80739"/>
                  <a:gd name="connsiteY13" fmla="*/ 72187 h 91923"/>
                  <a:gd name="connsiteX14" fmla="*/ 54305 w 80739"/>
                  <a:gd name="connsiteY14" fmla="*/ 49042 h 91923"/>
                  <a:gd name="connsiteX15" fmla="*/ 55561 w 80739"/>
                  <a:gd name="connsiteY15" fmla="*/ 48504 h 91923"/>
                  <a:gd name="connsiteX16" fmla="*/ 64951 w 80739"/>
                  <a:gd name="connsiteY16" fmla="*/ 71649 h 91923"/>
                  <a:gd name="connsiteX17" fmla="*/ 76075 w 80739"/>
                  <a:gd name="connsiteY17" fmla="*/ 65907 h 91923"/>
                  <a:gd name="connsiteX18" fmla="*/ 65250 w 80739"/>
                  <a:gd name="connsiteY18" fmla="*/ 39293 h 91923"/>
                  <a:gd name="connsiteX19" fmla="*/ 66625 w 80739"/>
                  <a:gd name="connsiteY19" fmla="*/ 38695 h 91923"/>
                  <a:gd name="connsiteX20" fmla="*/ 77331 w 80739"/>
                  <a:gd name="connsiteY20" fmla="*/ 64951 h 91923"/>
                  <a:gd name="connsiteX21" fmla="*/ 78587 w 80739"/>
                  <a:gd name="connsiteY21" fmla="*/ 64353 h 91923"/>
                  <a:gd name="connsiteX22" fmla="*/ 53109 w 80739"/>
                  <a:gd name="connsiteY22" fmla="*/ 1734 h 91923"/>
                  <a:gd name="connsiteX23" fmla="*/ 40011 w 80739"/>
                  <a:gd name="connsiteY23" fmla="*/ 8313 h 91923"/>
                  <a:gd name="connsiteX24" fmla="*/ 50716 w 80739"/>
                  <a:gd name="connsiteY24" fmla="*/ 34569 h 91923"/>
                  <a:gd name="connsiteX25" fmla="*/ 13098 w 80739"/>
                  <a:gd name="connsiteY25" fmla="*/ 52511 h 91923"/>
                  <a:gd name="connsiteX26" fmla="*/ 16626 w 80739"/>
                  <a:gd name="connsiteY26" fmla="*/ 61243 h 91923"/>
                  <a:gd name="connsiteX27" fmla="*/ 52630 w 80739"/>
                  <a:gd name="connsiteY27" fmla="*/ 44018 h 91923"/>
                  <a:gd name="connsiteX28" fmla="*/ 12320 w 80739"/>
                  <a:gd name="connsiteY28" fmla="*/ 51494 h 91923"/>
                  <a:gd name="connsiteX29" fmla="*/ 48444 w 80739"/>
                  <a:gd name="connsiteY29" fmla="*/ 34030 h 91923"/>
                  <a:gd name="connsiteX30" fmla="*/ 38217 w 80739"/>
                  <a:gd name="connsiteY30" fmla="*/ 8911 h 91923"/>
                  <a:gd name="connsiteX31" fmla="*/ 1914 w 80739"/>
                  <a:gd name="connsiteY31" fmla="*/ 25837 h 91923"/>
                  <a:gd name="connsiteX32" fmla="*/ 12320 w 80739"/>
                  <a:gd name="connsiteY32" fmla="*/ 51494 h 9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0739" h="91923">
                    <a:moveTo>
                      <a:pt x="0" y="25239"/>
                    </a:moveTo>
                    <a:cubicBezTo>
                      <a:pt x="17703" y="16985"/>
                      <a:pt x="35645" y="8612"/>
                      <a:pt x="54066" y="0"/>
                    </a:cubicBezTo>
                    <a:cubicBezTo>
                      <a:pt x="62857" y="21590"/>
                      <a:pt x="71709" y="43420"/>
                      <a:pt x="80740" y="65609"/>
                    </a:cubicBezTo>
                    <a:cubicBezTo>
                      <a:pt x="63336" y="74161"/>
                      <a:pt x="45393" y="82953"/>
                      <a:pt x="27092" y="91924"/>
                    </a:cubicBezTo>
                    <a:cubicBezTo>
                      <a:pt x="18121" y="69795"/>
                      <a:pt x="9031" y="47547"/>
                      <a:pt x="0" y="25239"/>
                    </a:cubicBezTo>
                    <a:close/>
                    <a:moveTo>
                      <a:pt x="52630" y="44018"/>
                    </a:moveTo>
                    <a:cubicBezTo>
                      <a:pt x="52810" y="44377"/>
                      <a:pt x="52929" y="44676"/>
                      <a:pt x="53109" y="45035"/>
                    </a:cubicBezTo>
                    <a:cubicBezTo>
                      <a:pt x="41147" y="50896"/>
                      <a:pt x="29186" y="56757"/>
                      <a:pt x="17105" y="62678"/>
                    </a:cubicBezTo>
                    <a:cubicBezTo>
                      <a:pt x="19258" y="68061"/>
                      <a:pt x="21231" y="72845"/>
                      <a:pt x="23384" y="78168"/>
                    </a:cubicBezTo>
                    <a:cubicBezTo>
                      <a:pt x="34688" y="72726"/>
                      <a:pt x="45693" y="67403"/>
                      <a:pt x="56697" y="62020"/>
                    </a:cubicBezTo>
                    <a:cubicBezTo>
                      <a:pt x="56937" y="62499"/>
                      <a:pt x="57116" y="62917"/>
                      <a:pt x="57355" y="63396"/>
                    </a:cubicBezTo>
                    <a:cubicBezTo>
                      <a:pt x="46291" y="68898"/>
                      <a:pt x="35167" y="74400"/>
                      <a:pt x="24282" y="79843"/>
                    </a:cubicBezTo>
                    <a:cubicBezTo>
                      <a:pt x="25777" y="83491"/>
                      <a:pt x="26973" y="86421"/>
                      <a:pt x="28349" y="89771"/>
                    </a:cubicBezTo>
                    <a:cubicBezTo>
                      <a:pt x="40250" y="83850"/>
                      <a:pt x="51733" y="78168"/>
                      <a:pt x="63694" y="72187"/>
                    </a:cubicBezTo>
                    <a:cubicBezTo>
                      <a:pt x="60405" y="64113"/>
                      <a:pt x="57355" y="56578"/>
                      <a:pt x="54305" y="49042"/>
                    </a:cubicBezTo>
                    <a:cubicBezTo>
                      <a:pt x="54723" y="48862"/>
                      <a:pt x="55142" y="48683"/>
                      <a:pt x="55561" y="48504"/>
                    </a:cubicBezTo>
                    <a:cubicBezTo>
                      <a:pt x="58671" y="56099"/>
                      <a:pt x="61721" y="63695"/>
                      <a:pt x="64951" y="71649"/>
                    </a:cubicBezTo>
                    <a:cubicBezTo>
                      <a:pt x="69017" y="69556"/>
                      <a:pt x="72367" y="67821"/>
                      <a:pt x="76075" y="65907"/>
                    </a:cubicBezTo>
                    <a:cubicBezTo>
                      <a:pt x="72367" y="56817"/>
                      <a:pt x="68838" y="48025"/>
                      <a:pt x="65250" y="39293"/>
                    </a:cubicBezTo>
                    <a:cubicBezTo>
                      <a:pt x="65728" y="39114"/>
                      <a:pt x="66147" y="38934"/>
                      <a:pt x="66625" y="38695"/>
                    </a:cubicBezTo>
                    <a:cubicBezTo>
                      <a:pt x="70214" y="47427"/>
                      <a:pt x="73742" y="56219"/>
                      <a:pt x="77331" y="64951"/>
                    </a:cubicBezTo>
                    <a:cubicBezTo>
                      <a:pt x="77749" y="64771"/>
                      <a:pt x="78168" y="64532"/>
                      <a:pt x="78587" y="64353"/>
                    </a:cubicBezTo>
                    <a:cubicBezTo>
                      <a:pt x="70214" y="43719"/>
                      <a:pt x="61781" y="23026"/>
                      <a:pt x="53109" y="1734"/>
                    </a:cubicBezTo>
                    <a:cubicBezTo>
                      <a:pt x="48444" y="4067"/>
                      <a:pt x="44198" y="6220"/>
                      <a:pt x="40011" y="8313"/>
                    </a:cubicBezTo>
                    <a:cubicBezTo>
                      <a:pt x="43839" y="17643"/>
                      <a:pt x="47307" y="26195"/>
                      <a:pt x="50716" y="34569"/>
                    </a:cubicBezTo>
                    <a:cubicBezTo>
                      <a:pt x="38097" y="40609"/>
                      <a:pt x="25538" y="46590"/>
                      <a:pt x="13098" y="52511"/>
                    </a:cubicBezTo>
                    <a:cubicBezTo>
                      <a:pt x="14413" y="55740"/>
                      <a:pt x="15430" y="58312"/>
                      <a:pt x="16626" y="61243"/>
                    </a:cubicBezTo>
                    <a:cubicBezTo>
                      <a:pt x="28827" y="55441"/>
                      <a:pt x="40729" y="49760"/>
                      <a:pt x="52630" y="44018"/>
                    </a:cubicBezTo>
                    <a:close/>
                    <a:moveTo>
                      <a:pt x="12320" y="51494"/>
                    </a:moveTo>
                    <a:cubicBezTo>
                      <a:pt x="24760" y="45453"/>
                      <a:pt x="36662" y="39712"/>
                      <a:pt x="48444" y="34030"/>
                    </a:cubicBezTo>
                    <a:cubicBezTo>
                      <a:pt x="44915" y="25298"/>
                      <a:pt x="41626" y="17344"/>
                      <a:pt x="38217" y="8911"/>
                    </a:cubicBezTo>
                    <a:cubicBezTo>
                      <a:pt x="25897" y="14653"/>
                      <a:pt x="13935" y="20215"/>
                      <a:pt x="1914" y="25837"/>
                    </a:cubicBezTo>
                    <a:cubicBezTo>
                      <a:pt x="5442" y="34628"/>
                      <a:pt x="8732" y="42642"/>
                      <a:pt x="12320" y="5149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71" name="Vrije vorm: vorm 9270">
                <a:extLst>
                  <a:ext uri="{FF2B5EF4-FFF2-40B4-BE49-F238E27FC236}">
                    <a16:creationId xmlns:a16="http://schemas.microsoft.com/office/drawing/2014/main" id="{95B4F2A9-1A86-42F3-AA6F-518AF1685336}"/>
                  </a:ext>
                </a:extLst>
              </p:cNvPr>
              <p:cNvSpPr/>
              <p:nvPr/>
            </p:nvSpPr>
            <p:spPr>
              <a:xfrm>
                <a:off x="5092903" y="1227284"/>
                <a:ext cx="73802" cy="79244"/>
              </a:xfrm>
              <a:custGeom>
                <a:avLst/>
                <a:gdLst>
                  <a:gd name="connsiteX0" fmla="*/ 26495 w 73802"/>
                  <a:gd name="connsiteY0" fmla="*/ 79245 h 79244"/>
                  <a:gd name="connsiteX1" fmla="*/ 0 w 73802"/>
                  <a:gd name="connsiteY1" fmla="*/ 14055 h 79244"/>
                  <a:gd name="connsiteX2" fmla="*/ 48205 w 73802"/>
                  <a:gd name="connsiteY2" fmla="*/ 0 h 79244"/>
                  <a:gd name="connsiteX3" fmla="*/ 73802 w 73802"/>
                  <a:gd name="connsiteY3" fmla="*/ 62917 h 79244"/>
                  <a:gd name="connsiteX4" fmla="*/ 72786 w 73802"/>
                  <a:gd name="connsiteY4" fmla="*/ 63336 h 79244"/>
                  <a:gd name="connsiteX5" fmla="*/ 56638 w 73802"/>
                  <a:gd name="connsiteY5" fmla="*/ 23624 h 79244"/>
                  <a:gd name="connsiteX6" fmla="*/ 41147 w 73802"/>
                  <a:gd name="connsiteY6" fmla="*/ 33731 h 79244"/>
                  <a:gd name="connsiteX7" fmla="*/ 35107 w 73802"/>
                  <a:gd name="connsiteY7" fmla="*/ 18899 h 79244"/>
                  <a:gd name="connsiteX8" fmla="*/ 28947 w 73802"/>
                  <a:gd name="connsiteY8" fmla="*/ 6639 h 79244"/>
                  <a:gd name="connsiteX9" fmla="*/ 26854 w 73802"/>
                  <a:gd name="connsiteY9" fmla="*/ 8074 h 79244"/>
                  <a:gd name="connsiteX10" fmla="*/ 51614 w 73802"/>
                  <a:gd name="connsiteY10" fmla="*/ 68659 h 79244"/>
                  <a:gd name="connsiteX11" fmla="*/ 55382 w 73802"/>
                  <a:gd name="connsiteY11" fmla="*/ 69376 h 79244"/>
                  <a:gd name="connsiteX12" fmla="*/ 45753 w 73802"/>
                  <a:gd name="connsiteY12" fmla="*/ 45753 h 79244"/>
                  <a:gd name="connsiteX13" fmla="*/ 47009 w 73802"/>
                  <a:gd name="connsiteY13" fmla="*/ 45274 h 79244"/>
                  <a:gd name="connsiteX14" fmla="*/ 56219 w 73802"/>
                  <a:gd name="connsiteY14" fmla="*/ 67881 h 79244"/>
                  <a:gd name="connsiteX15" fmla="*/ 69436 w 73802"/>
                  <a:gd name="connsiteY15" fmla="*/ 64532 h 79244"/>
                  <a:gd name="connsiteX16" fmla="*/ 69676 w 73802"/>
                  <a:gd name="connsiteY16" fmla="*/ 65310 h 79244"/>
                  <a:gd name="connsiteX17" fmla="*/ 26495 w 73802"/>
                  <a:gd name="connsiteY17" fmla="*/ 79245 h 79244"/>
                  <a:gd name="connsiteX18" fmla="*/ 50358 w 73802"/>
                  <a:gd name="connsiteY18" fmla="*/ 70034 h 79244"/>
                  <a:gd name="connsiteX19" fmla="*/ 25179 w 73802"/>
                  <a:gd name="connsiteY19" fmla="*/ 8194 h 79244"/>
                  <a:gd name="connsiteX20" fmla="*/ 2333 w 73802"/>
                  <a:gd name="connsiteY20" fmla="*/ 14713 h 79244"/>
                  <a:gd name="connsiteX21" fmla="*/ 14234 w 73802"/>
                  <a:gd name="connsiteY21" fmla="*/ 43958 h 79244"/>
                  <a:gd name="connsiteX22" fmla="*/ 28229 w 73802"/>
                  <a:gd name="connsiteY22" fmla="*/ 39592 h 79244"/>
                  <a:gd name="connsiteX23" fmla="*/ 17823 w 73802"/>
                  <a:gd name="connsiteY23" fmla="*/ 14055 h 79244"/>
                  <a:gd name="connsiteX24" fmla="*/ 18959 w 73802"/>
                  <a:gd name="connsiteY24" fmla="*/ 13636 h 79244"/>
                  <a:gd name="connsiteX25" fmla="*/ 30023 w 73802"/>
                  <a:gd name="connsiteY25" fmla="*/ 40789 h 79244"/>
                  <a:gd name="connsiteX26" fmla="*/ 14653 w 73802"/>
                  <a:gd name="connsiteY26" fmla="*/ 45214 h 79244"/>
                  <a:gd name="connsiteX27" fmla="*/ 19617 w 73802"/>
                  <a:gd name="connsiteY27" fmla="*/ 57475 h 79244"/>
                  <a:gd name="connsiteX28" fmla="*/ 35466 w 73802"/>
                  <a:gd name="connsiteY28" fmla="*/ 52989 h 79244"/>
                  <a:gd name="connsiteX29" fmla="*/ 35765 w 73802"/>
                  <a:gd name="connsiteY29" fmla="*/ 53946 h 79244"/>
                  <a:gd name="connsiteX30" fmla="*/ 19916 w 73802"/>
                  <a:gd name="connsiteY30" fmla="*/ 59149 h 79244"/>
                  <a:gd name="connsiteX31" fmla="*/ 27332 w 73802"/>
                  <a:gd name="connsiteY31" fmla="*/ 77331 h 79244"/>
                  <a:gd name="connsiteX32" fmla="*/ 50358 w 73802"/>
                  <a:gd name="connsiteY32" fmla="*/ 70034 h 79244"/>
                  <a:gd name="connsiteX33" fmla="*/ 31817 w 73802"/>
                  <a:gd name="connsiteY33" fmla="*/ 6399 h 79244"/>
                  <a:gd name="connsiteX34" fmla="*/ 41985 w 73802"/>
                  <a:gd name="connsiteY34" fmla="*/ 31459 h 79244"/>
                  <a:gd name="connsiteX35" fmla="*/ 55681 w 73802"/>
                  <a:gd name="connsiteY35" fmla="*/ 22368 h 79244"/>
                  <a:gd name="connsiteX36" fmla="*/ 47308 w 73802"/>
                  <a:gd name="connsiteY36" fmla="*/ 1794 h 79244"/>
                  <a:gd name="connsiteX37" fmla="*/ 31817 w 73802"/>
                  <a:gd name="connsiteY37" fmla="*/ 6399 h 7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3802" h="79244">
                    <a:moveTo>
                      <a:pt x="26495" y="79245"/>
                    </a:moveTo>
                    <a:cubicBezTo>
                      <a:pt x="17583" y="57295"/>
                      <a:pt x="8792" y="35765"/>
                      <a:pt x="0" y="14055"/>
                    </a:cubicBezTo>
                    <a:cubicBezTo>
                      <a:pt x="16208" y="9330"/>
                      <a:pt x="32296" y="4665"/>
                      <a:pt x="48205" y="0"/>
                    </a:cubicBezTo>
                    <a:cubicBezTo>
                      <a:pt x="56757" y="20992"/>
                      <a:pt x="65250" y="41925"/>
                      <a:pt x="73802" y="62917"/>
                    </a:cubicBezTo>
                    <a:cubicBezTo>
                      <a:pt x="73443" y="63037"/>
                      <a:pt x="73144" y="63216"/>
                      <a:pt x="72786" y="63336"/>
                    </a:cubicBezTo>
                    <a:cubicBezTo>
                      <a:pt x="67523" y="50417"/>
                      <a:pt x="62260" y="37499"/>
                      <a:pt x="56638" y="23624"/>
                    </a:cubicBezTo>
                    <a:cubicBezTo>
                      <a:pt x="51135" y="27212"/>
                      <a:pt x="46171" y="30442"/>
                      <a:pt x="41147" y="33731"/>
                    </a:cubicBezTo>
                    <a:cubicBezTo>
                      <a:pt x="39174" y="28887"/>
                      <a:pt x="37260" y="23863"/>
                      <a:pt x="35107" y="18899"/>
                    </a:cubicBezTo>
                    <a:cubicBezTo>
                      <a:pt x="33253" y="14713"/>
                      <a:pt x="32595" y="9509"/>
                      <a:pt x="28947" y="6639"/>
                    </a:cubicBezTo>
                    <a:cubicBezTo>
                      <a:pt x="28229" y="7117"/>
                      <a:pt x="27512" y="7596"/>
                      <a:pt x="26854" y="8074"/>
                    </a:cubicBezTo>
                    <a:cubicBezTo>
                      <a:pt x="35047" y="28289"/>
                      <a:pt x="43301" y="48504"/>
                      <a:pt x="51614" y="68659"/>
                    </a:cubicBezTo>
                    <a:cubicBezTo>
                      <a:pt x="51793" y="69077"/>
                      <a:pt x="53229" y="68958"/>
                      <a:pt x="55382" y="69376"/>
                    </a:cubicBezTo>
                    <a:cubicBezTo>
                      <a:pt x="51913" y="60944"/>
                      <a:pt x="48863" y="53348"/>
                      <a:pt x="45753" y="45753"/>
                    </a:cubicBezTo>
                    <a:cubicBezTo>
                      <a:pt x="46171" y="45573"/>
                      <a:pt x="46590" y="45454"/>
                      <a:pt x="47009" y="45274"/>
                    </a:cubicBezTo>
                    <a:cubicBezTo>
                      <a:pt x="49999" y="52630"/>
                      <a:pt x="52989" y="59987"/>
                      <a:pt x="56219" y="67881"/>
                    </a:cubicBezTo>
                    <a:cubicBezTo>
                      <a:pt x="60764" y="66745"/>
                      <a:pt x="65070" y="65668"/>
                      <a:pt x="69436" y="64532"/>
                    </a:cubicBezTo>
                    <a:cubicBezTo>
                      <a:pt x="69496" y="64771"/>
                      <a:pt x="69616" y="65070"/>
                      <a:pt x="69676" y="65310"/>
                    </a:cubicBezTo>
                    <a:cubicBezTo>
                      <a:pt x="55142" y="69974"/>
                      <a:pt x="40789" y="74639"/>
                      <a:pt x="26495" y="79245"/>
                    </a:cubicBezTo>
                    <a:close/>
                    <a:moveTo>
                      <a:pt x="50358" y="70034"/>
                    </a:moveTo>
                    <a:cubicBezTo>
                      <a:pt x="41746" y="48922"/>
                      <a:pt x="33552" y="28648"/>
                      <a:pt x="25179" y="8194"/>
                    </a:cubicBezTo>
                    <a:cubicBezTo>
                      <a:pt x="17464" y="10406"/>
                      <a:pt x="10048" y="12500"/>
                      <a:pt x="2333" y="14713"/>
                    </a:cubicBezTo>
                    <a:cubicBezTo>
                      <a:pt x="6459" y="24760"/>
                      <a:pt x="10287" y="34270"/>
                      <a:pt x="14234" y="43958"/>
                    </a:cubicBezTo>
                    <a:cubicBezTo>
                      <a:pt x="18899" y="42523"/>
                      <a:pt x="23205" y="41207"/>
                      <a:pt x="28229" y="39592"/>
                    </a:cubicBezTo>
                    <a:cubicBezTo>
                      <a:pt x="24641" y="30801"/>
                      <a:pt x="21232" y="22428"/>
                      <a:pt x="17823" y="14055"/>
                    </a:cubicBezTo>
                    <a:cubicBezTo>
                      <a:pt x="18182" y="13935"/>
                      <a:pt x="18540" y="13756"/>
                      <a:pt x="18959" y="13636"/>
                    </a:cubicBezTo>
                    <a:cubicBezTo>
                      <a:pt x="22667" y="22727"/>
                      <a:pt x="26315" y="31817"/>
                      <a:pt x="30023" y="40789"/>
                    </a:cubicBezTo>
                    <a:cubicBezTo>
                      <a:pt x="24880" y="42284"/>
                      <a:pt x="19856" y="43719"/>
                      <a:pt x="14653" y="45214"/>
                    </a:cubicBezTo>
                    <a:cubicBezTo>
                      <a:pt x="16507" y="49700"/>
                      <a:pt x="18062" y="53527"/>
                      <a:pt x="19617" y="57475"/>
                    </a:cubicBezTo>
                    <a:cubicBezTo>
                      <a:pt x="25119" y="55920"/>
                      <a:pt x="30322" y="54425"/>
                      <a:pt x="35466" y="52989"/>
                    </a:cubicBezTo>
                    <a:cubicBezTo>
                      <a:pt x="35585" y="53288"/>
                      <a:pt x="35705" y="53647"/>
                      <a:pt x="35765" y="53946"/>
                    </a:cubicBezTo>
                    <a:cubicBezTo>
                      <a:pt x="30562" y="55681"/>
                      <a:pt x="25299" y="57355"/>
                      <a:pt x="19916" y="59149"/>
                    </a:cubicBezTo>
                    <a:cubicBezTo>
                      <a:pt x="22547" y="65549"/>
                      <a:pt x="24820" y="71171"/>
                      <a:pt x="27332" y="77331"/>
                    </a:cubicBezTo>
                    <a:cubicBezTo>
                      <a:pt x="34928" y="74938"/>
                      <a:pt x="42344" y="72606"/>
                      <a:pt x="50358" y="70034"/>
                    </a:cubicBezTo>
                    <a:close/>
                    <a:moveTo>
                      <a:pt x="31817" y="6399"/>
                    </a:moveTo>
                    <a:cubicBezTo>
                      <a:pt x="35346" y="15012"/>
                      <a:pt x="38576" y="22966"/>
                      <a:pt x="41985" y="31459"/>
                    </a:cubicBezTo>
                    <a:cubicBezTo>
                      <a:pt x="46769" y="28289"/>
                      <a:pt x="51195" y="25298"/>
                      <a:pt x="55681" y="22368"/>
                    </a:cubicBezTo>
                    <a:cubicBezTo>
                      <a:pt x="52750" y="15251"/>
                      <a:pt x="50118" y="8732"/>
                      <a:pt x="47308" y="1794"/>
                    </a:cubicBezTo>
                    <a:cubicBezTo>
                      <a:pt x="42164" y="3289"/>
                      <a:pt x="37200" y="4785"/>
                      <a:pt x="31817" y="639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72" name="Vrije vorm: vorm 9271">
                <a:extLst>
                  <a:ext uri="{FF2B5EF4-FFF2-40B4-BE49-F238E27FC236}">
                    <a16:creationId xmlns:a16="http://schemas.microsoft.com/office/drawing/2014/main" id="{90CD4067-0709-4B94-ADD6-61F779786F22}"/>
                  </a:ext>
                </a:extLst>
              </p:cNvPr>
              <p:cNvSpPr/>
              <p:nvPr/>
            </p:nvSpPr>
            <p:spPr>
              <a:xfrm>
                <a:off x="4723952" y="2059801"/>
                <a:ext cx="66804" cy="58192"/>
              </a:xfrm>
              <a:custGeom>
                <a:avLst/>
                <a:gdLst>
                  <a:gd name="connsiteX0" fmla="*/ 30861 w 66804"/>
                  <a:gd name="connsiteY0" fmla="*/ 2452 h 58192"/>
                  <a:gd name="connsiteX1" fmla="*/ 40191 w 66804"/>
                  <a:gd name="connsiteY1" fmla="*/ 7954 h 58192"/>
                  <a:gd name="connsiteX2" fmla="*/ 57355 w 66804"/>
                  <a:gd name="connsiteY2" fmla="*/ 49640 h 58192"/>
                  <a:gd name="connsiteX3" fmla="*/ 60944 w 66804"/>
                  <a:gd name="connsiteY3" fmla="*/ 55262 h 58192"/>
                  <a:gd name="connsiteX4" fmla="*/ 46769 w 66804"/>
                  <a:gd name="connsiteY4" fmla="*/ 20394 h 58192"/>
                  <a:gd name="connsiteX5" fmla="*/ 48504 w 66804"/>
                  <a:gd name="connsiteY5" fmla="*/ 19677 h 58192"/>
                  <a:gd name="connsiteX6" fmla="*/ 61422 w 66804"/>
                  <a:gd name="connsiteY6" fmla="*/ 51075 h 58192"/>
                  <a:gd name="connsiteX7" fmla="*/ 66805 w 66804"/>
                  <a:gd name="connsiteY7" fmla="*/ 58192 h 58192"/>
                  <a:gd name="connsiteX8" fmla="*/ 57475 w 66804"/>
                  <a:gd name="connsiteY8" fmla="*/ 57355 h 58192"/>
                  <a:gd name="connsiteX9" fmla="*/ 55142 w 66804"/>
                  <a:gd name="connsiteY9" fmla="*/ 54903 h 58192"/>
                  <a:gd name="connsiteX10" fmla="*/ 42702 w 66804"/>
                  <a:gd name="connsiteY10" fmla="*/ 24461 h 58192"/>
                  <a:gd name="connsiteX11" fmla="*/ 41447 w 66804"/>
                  <a:gd name="connsiteY11" fmla="*/ 24282 h 58192"/>
                  <a:gd name="connsiteX12" fmla="*/ 35825 w 66804"/>
                  <a:gd name="connsiteY12" fmla="*/ 44616 h 58192"/>
                  <a:gd name="connsiteX13" fmla="*/ 39892 w 66804"/>
                  <a:gd name="connsiteY13" fmla="*/ 53528 h 58192"/>
                  <a:gd name="connsiteX14" fmla="*/ 32356 w 66804"/>
                  <a:gd name="connsiteY14" fmla="*/ 45095 h 58192"/>
                  <a:gd name="connsiteX15" fmla="*/ 26973 w 66804"/>
                  <a:gd name="connsiteY15" fmla="*/ 31877 h 58192"/>
                  <a:gd name="connsiteX16" fmla="*/ 15251 w 66804"/>
                  <a:gd name="connsiteY16" fmla="*/ 38277 h 58192"/>
                  <a:gd name="connsiteX17" fmla="*/ 19737 w 66804"/>
                  <a:gd name="connsiteY17" fmla="*/ 49281 h 58192"/>
                  <a:gd name="connsiteX18" fmla="*/ 18540 w 66804"/>
                  <a:gd name="connsiteY18" fmla="*/ 49760 h 58192"/>
                  <a:gd name="connsiteX19" fmla="*/ 0 w 66804"/>
                  <a:gd name="connsiteY19" fmla="*/ 4246 h 58192"/>
                  <a:gd name="connsiteX20" fmla="*/ 419 w 66804"/>
                  <a:gd name="connsiteY20" fmla="*/ 4007 h 58192"/>
                  <a:gd name="connsiteX21" fmla="*/ 11364 w 66804"/>
                  <a:gd name="connsiteY21" fmla="*/ 30920 h 58192"/>
                  <a:gd name="connsiteX22" fmla="*/ 23385 w 66804"/>
                  <a:gd name="connsiteY22" fmla="*/ 24401 h 58192"/>
                  <a:gd name="connsiteX23" fmla="*/ 13457 w 66804"/>
                  <a:gd name="connsiteY23" fmla="*/ 0 h 58192"/>
                  <a:gd name="connsiteX24" fmla="*/ 31160 w 66804"/>
                  <a:gd name="connsiteY24" fmla="*/ 2632 h 58192"/>
                  <a:gd name="connsiteX25" fmla="*/ 18361 w 66804"/>
                  <a:gd name="connsiteY25" fmla="*/ 2691 h 58192"/>
                  <a:gd name="connsiteX26" fmla="*/ 22368 w 66804"/>
                  <a:gd name="connsiteY26" fmla="*/ 12560 h 58192"/>
                  <a:gd name="connsiteX27" fmla="*/ 26495 w 66804"/>
                  <a:gd name="connsiteY27" fmla="*/ 22727 h 58192"/>
                  <a:gd name="connsiteX28" fmla="*/ 40609 w 66804"/>
                  <a:gd name="connsiteY28" fmla="*/ 15311 h 58192"/>
                  <a:gd name="connsiteX29" fmla="*/ 30861 w 66804"/>
                  <a:gd name="connsiteY29" fmla="*/ 2452 h 58192"/>
                  <a:gd name="connsiteX30" fmla="*/ 39473 w 66804"/>
                  <a:gd name="connsiteY30" fmla="*/ 17763 h 58192"/>
                  <a:gd name="connsiteX31" fmla="*/ 29724 w 66804"/>
                  <a:gd name="connsiteY31" fmla="*/ 28050 h 58192"/>
                  <a:gd name="connsiteX32" fmla="*/ 39473 w 66804"/>
                  <a:gd name="connsiteY32" fmla="*/ 17763 h 58192"/>
                  <a:gd name="connsiteX33" fmla="*/ 23684 w 66804"/>
                  <a:gd name="connsiteY33" fmla="*/ 26255 h 58192"/>
                  <a:gd name="connsiteX34" fmla="*/ 14952 w 66804"/>
                  <a:gd name="connsiteY34" fmla="*/ 36303 h 58192"/>
                  <a:gd name="connsiteX35" fmla="*/ 23684 w 66804"/>
                  <a:gd name="connsiteY35" fmla="*/ 26255 h 58192"/>
                  <a:gd name="connsiteX36" fmla="*/ 37918 w 66804"/>
                  <a:gd name="connsiteY36" fmla="*/ 6280 h 58192"/>
                  <a:gd name="connsiteX37" fmla="*/ 37320 w 66804"/>
                  <a:gd name="connsiteY37" fmla="*/ 6340 h 58192"/>
                  <a:gd name="connsiteX38" fmla="*/ 56638 w 66804"/>
                  <a:gd name="connsiteY38" fmla="*/ 53886 h 58192"/>
                  <a:gd name="connsiteX39" fmla="*/ 57176 w 66804"/>
                  <a:gd name="connsiteY39" fmla="*/ 53647 h 58192"/>
                  <a:gd name="connsiteX40" fmla="*/ 37918 w 66804"/>
                  <a:gd name="connsiteY40" fmla="*/ 6280 h 5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804" h="58192">
                    <a:moveTo>
                      <a:pt x="30861" y="2452"/>
                    </a:moveTo>
                    <a:cubicBezTo>
                      <a:pt x="35585" y="658"/>
                      <a:pt x="38157" y="2811"/>
                      <a:pt x="40191" y="7954"/>
                    </a:cubicBezTo>
                    <a:cubicBezTo>
                      <a:pt x="45693" y="21949"/>
                      <a:pt x="51614" y="35765"/>
                      <a:pt x="57355" y="49640"/>
                    </a:cubicBezTo>
                    <a:cubicBezTo>
                      <a:pt x="58193" y="51673"/>
                      <a:pt x="58970" y="53647"/>
                      <a:pt x="60944" y="55262"/>
                    </a:cubicBezTo>
                    <a:cubicBezTo>
                      <a:pt x="56219" y="43659"/>
                      <a:pt x="51494" y="31997"/>
                      <a:pt x="46769" y="20394"/>
                    </a:cubicBezTo>
                    <a:cubicBezTo>
                      <a:pt x="47368" y="20155"/>
                      <a:pt x="47966" y="19916"/>
                      <a:pt x="48504" y="19677"/>
                    </a:cubicBezTo>
                    <a:cubicBezTo>
                      <a:pt x="52750" y="30143"/>
                      <a:pt x="56877" y="40729"/>
                      <a:pt x="61422" y="51075"/>
                    </a:cubicBezTo>
                    <a:cubicBezTo>
                      <a:pt x="62678" y="53886"/>
                      <a:pt x="65250" y="56159"/>
                      <a:pt x="66805" y="58192"/>
                    </a:cubicBezTo>
                    <a:cubicBezTo>
                      <a:pt x="64831" y="58013"/>
                      <a:pt x="61123" y="57893"/>
                      <a:pt x="57475" y="57355"/>
                    </a:cubicBezTo>
                    <a:cubicBezTo>
                      <a:pt x="56638" y="57236"/>
                      <a:pt x="55561" y="55920"/>
                      <a:pt x="55142" y="54903"/>
                    </a:cubicBezTo>
                    <a:cubicBezTo>
                      <a:pt x="50896" y="44736"/>
                      <a:pt x="46769" y="34509"/>
                      <a:pt x="42702" y="24461"/>
                    </a:cubicBezTo>
                    <a:cubicBezTo>
                      <a:pt x="42105" y="24342"/>
                      <a:pt x="41686" y="24102"/>
                      <a:pt x="41447" y="24282"/>
                    </a:cubicBezTo>
                    <a:cubicBezTo>
                      <a:pt x="29007" y="30502"/>
                      <a:pt x="29067" y="30502"/>
                      <a:pt x="35825" y="44616"/>
                    </a:cubicBezTo>
                    <a:cubicBezTo>
                      <a:pt x="37260" y="47547"/>
                      <a:pt x="38516" y="50537"/>
                      <a:pt x="39892" y="53528"/>
                    </a:cubicBezTo>
                    <a:cubicBezTo>
                      <a:pt x="35944" y="53767"/>
                      <a:pt x="35944" y="53767"/>
                      <a:pt x="32356" y="45095"/>
                    </a:cubicBezTo>
                    <a:cubicBezTo>
                      <a:pt x="30681" y="40968"/>
                      <a:pt x="29007" y="36901"/>
                      <a:pt x="26973" y="31877"/>
                    </a:cubicBezTo>
                    <a:cubicBezTo>
                      <a:pt x="22906" y="34090"/>
                      <a:pt x="19318" y="36064"/>
                      <a:pt x="15251" y="38277"/>
                    </a:cubicBezTo>
                    <a:cubicBezTo>
                      <a:pt x="16746" y="41985"/>
                      <a:pt x="18241" y="45633"/>
                      <a:pt x="19737" y="49281"/>
                    </a:cubicBezTo>
                    <a:cubicBezTo>
                      <a:pt x="19318" y="49461"/>
                      <a:pt x="18959" y="49640"/>
                      <a:pt x="18540" y="49760"/>
                    </a:cubicBezTo>
                    <a:cubicBezTo>
                      <a:pt x="12380" y="34569"/>
                      <a:pt x="6220" y="19378"/>
                      <a:pt x="0" y="4246"/>
                    </a:cubicBezTo>
                    <a:cubicBezTo>
                      <a:pt x="120" y="4187"/>
                      <a:pt x="299" y="4067"/>
                      <a:pt x="419" y="4007"/>
                    </a:cubicBezTo>
                    <a:cubicBezTo>
                      <a:pt x="3947" y="12739"/>
                      <a:pt x="7536" y="21471"/>
                      <a:pt x="11364" y="30920"/>
                    </a:cubicBezTo>
                    <a:cubicBezTo>
                      <a:pt x="15909" y="28468"/>
                      <a:pt x="19497" y="26495"/>
                      <a:pt x="23385" y="24401"/>
                    </a:cubicBezTo>
                    <a:cubicBezTo>
                      <a:pt x="20215" y="16507"/>
                      <a:pt x="17045" y="8852"/>
                      <a:pt x="13457" y="0"/>
                    </a:cubicBezTo>
                    <a:cubicBezTo>
                      <a:pt x="19916" y="957"/>
                      <a:pt x="25538" y="1794"/>
                      <a:pt x="31160" y="2632"/>
                    </a:cubicBezTo>
                    <a:cubicBezTo>
                      <a:pt x="27093" y="2632"/>
                      <a:pt x="22966" y="2691"/>
                      <a:pt x="18361" y="2691"/>
                    </a:cubicBezTo>
                    <a:cubicBezTo>
                      <a:pt x="19796" y="6280"/>
                      <a:pt x="21112" y="9390"/>
                      <a:pt x="22368" y="12560"/>
                    </a:cubicBezTo>
                    <a:cubicBezTo>
                      <a:pt x="23684" y="15849"/>
                      <a:pt x="25059" y="19138"/>
                      <a:pt x="26495" y="22727"/>
                    </a:cubicBezTo>
                    <a:cubicBezTo>
                      <a:pt x="31220" y="20215"/>
                      <a:pt x="35167" y="18181"/>
                      <a:pt x="40609" y="15311"/>
                    </a:cubicBezTo>
                    <a:cubicBezTo>
                      <a:pt x="36901" y="10406"/>
                      <a:pt x="33851" y="6459"/>
                      <a:pt x="30861" y="2452"/>
                    </a:cubicBezTo>
                    <a:close/>
                    <a:moveTo>
                      <a:pt x="39473" y="17763"/>
                    </a:moveTo>
                    <a:cubicBezTo>
                      <a:pt x="28109" y="22189"/>
                      <a:pt x="26854" y="23564"/>
                      <a:pt x="29724" y="28050"/>
                    </a:cubicBezTo>
                    <a:cubicBezTo>
                      <a:pt x="39892" y="24760"/>
                      <a:pt x="41925" y="22667"/>
                      <a:pt x="39473" y="17763"/>
                    </a:cubicBezTo>
                    <a:close/>
                    <a:moveTo>
                      <a:pt x="23684" y="26255"/>
                    </a:moveTo>
                    <a:cubicBezTo>
                      <a:pt x="11842" y="31160"/>
                      <a:pt x="11842" y="31160"/>
                      <a:pt x="14952" y="36303"/>
                    </a:cubicBezTo>
                    <a:cubicBezTo>
                      <a:pt x="26674" y="31100"/>
                      <a:pt x="26674" y="31100"/>
                      <a:pt x="23684" y="26255"/>
                    </a:cubicBezTo>
                    <a:close/>
                    <a:moveTo>
                      <a:pt x="37918" y="6280"/>
                    </a:moveTo>
                    <a:cubicBezTo>
                      <a:pt x="37738" y="6280"/>
                      <a:pt x="37499" y="6340"/>
                      <a:pt x="37320" y="6340"/>
                    </a:cubicBezTo>
                    <a:cubicBezTo>
                      <a:pt x="43779" y="22189"/>
                      <a:pt x="50238" y="38037"/>
                      <a:pt x="56638" y="53886"/>
                    </a:cubicBezTo>
                    <a:cubicBezTo>
                      <a:pt x="56817" y="53826"/>
                      <a:pt x="56996" y="53707"/>
                      <a:pt x="57176" y="53647"/>
                    </a:cubicBezTo>
                    <a:cubicBezTo>
                      <a:pt x="50777" y="37858"/>
                      <a:pt x="44317" y="22069"/>
                      <a:pt x="37918" y="628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73" name="Vrije vorm: vorm 9272">
                <a:extLst>
                  <a:ext uri="{FF2B5EF4-FFF2-40B4-BE49-F238E27FC236}">
                    <a16:creationId xmlns:a16="http://schemas.microsoft.com/office/drawing/2014/main" id="{D4E424EE-CEA4-4EFD-9F31-71BA9BD3680D}"/>
                  </a:ext>
                </a:extLst>
              </p:cNvPr>
              <p:cNvSpPr/>
              <p:nvPr/>
            </p:nvSpPr>
            <p:spPr>
              <a:xfrm>
                <a:off x="5212577" y="1360056"/>
                <a:ext cx="69795" cy="79663"/>
              </a:xfrm>
              <a:custGeom>
                <a:avLst/>
                <a:gdLst>
                  <a:gd name="connsiteX0" fmla="*/ 26016 w 69795"/>
                  <a:gd name="connsiteY0" fmla="*/ 79663 h 79663"/>
                  <a:gd name="connsiteX1" fmla="*/ 0 w 69795"/>
                  <a:gd name="connsiteY1" fmla="*/ 15729 h 79663"/>
                  <a:gd name="connsiteX2" fmla="*/ 44556 w 69795"/>
                  <a:gd name="connsiteY2" fmla="*/ 0 h 79663"/>
                  <a:gd name="connsiteX3" fmla="*/ 44796 w 69795"/>
                  <a:gd name="connsiteY3" fmla="*/ 598 h 79663"/>
                  <a:gd name="connsiteX4" fmla="*/ 16806 w 69795"/>
                  <a:gd name="connsiteY4" fmla="*/ 16268 h 79663"/>
                  <a:gd name="connsiteX5" fmla="*/ 16208 w 69795"/>
                  <a:gd name="connsiteY5" fmla="*/ 15131 h 79663"/>
                  <a:gd name="connsiteX6" fmla="*/ 31220 w 69795"/>
                  <a:gd name="connsiteY6" fmla="*/ 6997 h 79663"/>
                  <a:gd name="connsiteX7" fmla="*/ 30980 w 69795"/>
                  <a:gd name="connsiteY7" fmla="*/ 6340 h 79663"/>
                  <a:gd name="connsiteX8" fmla="*/ 2213 w 69795"/>
                  <a:gd name="connsiteY8" fmla="*/ 16327 h 79663"/>
                  <a:gd name="connsiteX9" fmla="*/ 26794 w 69795"/>
                  <a:gd name="connsiteY9" fmla="*/ 76733 h 79663"/>
                  <a:gd name="connsiteX10" fmla="*/ 28707 w 69795"/>
                  <a:gd name="connsiteY10" fmla="*/ 76493 h 79663"/>
                  <a:gd name="connsiteX11" fmla="*/ 27870 w 69795"/>
                  <a:gd name="connsiteY11" fmla="*/ 71051 h 79663"/>
                  <a:gd name="connsiteX12" fmla="*/ 14234 w 69795"/>
                  <a:gd name="connsiteY12" fmla="*/ 37140 h 79663"/>
                  <a:gd name="connsiteX13" fmla="*/ 12859 w 69795"/>
                  <a:gd name="connsiteY13" fmla="*/ 31279 h 79663"/>
                  <a:gd name="connsiteX14" fmla="*/ 30801 w 69795"/>
                  <a:gd name="connsiteY14" fmla="*/ 75417 h 79663"/>
                  <a:gd name="connsiteX15" fmla="*/ 38695 w 69795"/>
                  <a:gd name="connsiteY15" fmla="*/ 72666 h 79663"/>
                  <a:gd name="connsiteX16" fmla="*/ 20095 w 69795"/>
                  <a:gd name="connsiteY16" fmla="*/ 26973 h 79663"/>
                  <a:gd name="connsiteX17" fmla="*/ 45573 w 69795"/>
                  <a:gd name="connsiteY17" fmla="*/ 14473 h 79663"/>
                  <a:gd name="connsiteX18" fmla="*/ 46112 w 69795"/>
                  <a:gd name="connsiteY18" fmla="*/ 15550 h 79663"/>
                  <a:gd name="connsiteX19" fmla="*/ 26674 w 69795"/>
                  <a:gd name="connsiteY19" fmla="*/ 25119 h 79663"/>
                  <a:gd name="connsiteX20" fmla="*/ 24102 w 69795"/>
                  <a:gd name="connsiteY20" fmla="*/ 32834 h 79663"/>
                  <a:gd name="connsiteX21" fmla="*/ 40071 w 69795"/>
                  <a:gd name="connsiteY21" fmla="*/ 71888 h 79663"/>
                  <a:gd name="connsiteX22" fmla="*/ 47068 w 69795"/>
                  <a:gd name="connsiteY22" fmla="*/ 69077 h 79663"/>
                  <a:gd name="connsiteX23" fmla="*/ 30861 w 69795"/>
                  <a:gd name="connsiteY23" fmla="*/ 29306 h 79663"/>
                  <a:gd name="connsiteX24" fmla="*/ 31877 w 69795"/>
                  <a:gd name="connsiteY24" fmla="*/ 28887 h 79663"/>
                  <a:gd name="connsiteX25" fmla="*/ 48085 w 69795"/>
                  <a:gd name="connsiteY25" fmla="*/ 68718 h 79663"/>
                  <a:gd name="connsiteX26" fmla="*/ 54245 w 69795"/>
                  <a:gd name="connsiteY26" fmla="*/ 66625 h 79663"/>
                  <a:gd name="connsiteX27" fmla="*/ 37858 w 69795"/>
                  <a:gd name="connsiteY27" fmla="*/ 26315 h 79663"/>
                  <a:gd name="connsiteX28" fmla="*/ 39054 w 69795"/>
                  <a:gd name="connsiteY28" fmla="*/ 25777 h 79663"/>
                  <a:gd name="connsiteX29" fmla="*/ 55322 w 69795"/>
                  <a:gd name="connsiteY29" fmla="*/ 65788 h 79663"/>
                  <a:gd name="connsiteX30" fmla="*/ 56937 w 69795"/>
                  <a:gd name="connsiteY30" fmla="*/ 65190 h 79663"/>
                  <a:gd name="connsiteX31" fmla="*/ 48803 w 69795"/>
                  <a:gd name="connsiteY31" fmla="*/ 45214 h 79663"/>
                  <a:gd name="connsiteX32" fmla="*/ 50178 w 69795"/>
                  <a:gd name="connsiteY32" fmla="*/ 44676 h 79663"/>
                  <a:gd name="connsiteX33" fmla="*/ 58252 w 69795"/>
                  <a:gd name="connsiteY33" fmla="*/ 64532 h 79663"/>
                  <a:gd name="connsiteX34" fmla="*/ 68121 w 69795"/>
                  <a:gd name="connsiteY34" fmla="*/ 60525 h 79663"/>
                  <a:gd name="connsiteX35" fmla="*/ 45454 w 69795"/>
                  <a:gd name="connsiteY35" fmla="*/ 4844 h 79663"/>
                  <a:gd name="connsiteX36" fmla="*/ 46470 w 69795"/>
                  <a:gd name="connsiteY36" fmla="*/ 4426 h 79663"/>
                  <a:gd name="connsiteX37" fmla="*/ 69795 w 69795"/>
                  <a:gd name="connsiteY37" fmla="*/ 61781 h 79663"/>
                  <a:gd name="connsiteX38" fmla="*/ 26016 w 69795"/>
                  <a:gd name="connsiteY38" fmla="*/ 79663 h 7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9795" h="79663">
                    <a:moveTo>
                      <a:pt x="26016" y="79663"/>
                    </a:moveTo>
                    <a:cubicBezTo>
                      <a:pt x="17045" y="57654"/>
                      <a:pt x="8552" y="36722"/>
                      <a:pt x="0" y="15729"/>
                    </a:cubicBezTo>
                    <a:cubicBezTo>
                      <a:pt x="15012" y="10466"/>
                      <a:pt x="29784" y="5203"/>
                      <a:pt x="44556" y="0"/>
                    </a:cubicBezTo>
                    <a:cubicBezTo>
                      <a:pt x="44616" y="179"/>
                      <a:pt x="44736" y="419"/>
                      <a:pt x="44796" y="598"/>
                    </a:cubicBezTo>
                    <a:cubicBezTo>
                      <a:pt x="35466" y="5801"/>
                      <a:pt x="26136" y="11005"/>
                      <a:pt x="16806" y="16268"/>
                    </a:cubicBezTo>
                    <a:cubicBezTo>
                      <a:pt x="16627" y="15909"/>
                      <a:pt x="16387" y="15490"/>
                      <a:pt x="16208" y="15131"/>
                    </a:cubicBezTo>
                    <a:cubicBezTo>
                      <a:pt x="21231" y="12440"/>
                      <a:pt x="26196" y="9749"/>
                      <a:pt x="31220" y="6997"/>
                    </a:cubicBezTo>
                    <a:cubicBezTo>
                      <a:pt x="31160" y="6758"/>
                      <a:pt x="31040" y="6579"/>
                      <a:pt x="30980" y="6340"/>
                    </a:cubicBezTo>
                    <a:cubicBezTo>
                      <a:pt x="21531" y="9629"/>
                      <a:pt x="12141" y="12918"/>
                      <a:pt x="2213" y="16327"/>
                    </a:cubicBezTo>
                    <a:cubicBezTo>
                      <a:pt x="10526" y="36841"/>
                      <a:pt x="18660" y="56817"/>
                      <a:pt x="26794" y="76733"/>
                    </a:cubicBezTo>
                    <a:cubicBezTo>
                      <a:pt x="27452" y="76673"/>
                      <a:pt x="28050" y="76553"/>
                      <a:pt x="28707" y="76493"/>
                    </a:cubicBezTo>
                    <a:cubicBezTo>
                      <a:pt x="28468" y="74639"/>
                      <a:pt x="28528" y="72726"/>
                      <a:pt x="27870" y="71051"/>
                    </a:cubicBezTo>
                    <a:cubicBezTo>
                      <a:pt x="23445" y="59688"/>
                      <a:pt x="18839" y="48444"/>
                      <a:pt x="14234" y="37140"/>
                    </a:cubicBezTo>
                    <a:cubicBezTo>
                      <a:pt x="13516" y="35286"/>
                      <a:pt x="12739" y="33432"/>
                      <a:pt x="12859" y="31279"/>
                    </a:cubicBezTo>
                    <a:cubicBezTo>
                      <a:pt x="18780" y="45812"/>
                      <a:pt x="24700" y="60345"/>
                      <a:pt x="30801" y="75417"/>
                    </a:cubicBezTo>
                    <a:cubicBezTo>
                      <a:pt x="33552" y="74460"/>
                      <a:pt x="35884" y="73623"/>
                      <a:pt x="38695" y="72666"/>
                    </a:cubicBezTo>
                    <a:cubicBezTo>
                      <a:pt x="32475" y="57295"/>
                      <a:pt x="26375" y="42343"/>
                      <a:pt x="20095" y="26973"/>
                    </a:cubicBezTo>
                    <a:cubicBezTo>
                      <a:pt x="28827" y="22667"/>
                      <a:pt x="37200" y="18540"/>
                      <a:pt x="45573" y="14473"/>
                    </a:cubicBezTo>
                    <a:cubicBezTo>
                      <a:pt x="45753" y="14832"/>
                      <a:pt x="45932" y="15191"/>
                      <a:pt x="46112" y="15550"/>
                    </a:cubicBezTo>
                    <a:cubicBezTo>
                      <a:pt x="39652" y="18779"/>
                      <a:pt x="33253" y="22069"/>
                      <a:pt x="26674" y="25119"/>
                    </a:cubicBezTo>
                    <a:cubicBezTo>
                      <a:pt x="23205" y="26734"/>
                      <a:pt x="22248" y="28588"/>
                      <a:pt x="24102" y="32834"/>
                    </a:cubicBezTo>
                    <a:cubicBezTo>
                      <a:pt x="29605" y="45633"/>
                      <a:pt x="34688" y="58671"/>
                      <a:pt x="40071" y="71888"/>
                    </a:cubicBezTo>
                    <a:cubicBezTo>
                      <a:pt x="42523" y="70931"/>
                      <a:pt x="44437" y="70094"/>
                      <a:pt x="47068" y="69077"/>
                    </a:cubicBezTo>
                    <a:cubicBezTo>
                      <a:pt x="41686" y="55800"/>
                      <a:pt x="36243" y="42523"/>
                      <a:pt x="30861" y="29306"/>
                    </a:cubicBezTo>
                    <a:cubicBezTo>
                      <a:pt x="31220" y="29186"/>
                      <a:pt x="31519" y="29006"/>
                      <a:pt x="31877" y="28887"/>
                    </a:cubicBezTo>
                    <a:cubicBezTo>
                      <a:pt x="37200" y="41925"/>
                      <a:pt x="42523" y="55023"/>
                      <a:pt x="48085" y="68718"/>
                    </a:cubicBezTo>
                    <a:cubicBezTo>
                      <a:pt x="50178" y="68001"/>
                      <a:pt x="51972" y="67403"/>
                      <a:pt x="54245" y="66625"/>
                    </a:cubicBezTo>
                    <a:cubicBezTo>
                      <a:pt x="48683" y="52929"/>
                      <a:pt x="43241" y="39592"/>
                      <a:pt x="37858" y="26315"/>
                    </a:cubicBezTo>
                    <a:cubicBezTo>
                      <a:pt x="38277" y="26136"/>
                      <a:pt x="38636" y="25956"/>
                      <a:pt x="39054" y="25777"/>
                    </a:cubicBezTo>
                    <a:cubicBezTo>
                      <a:pt x="44497" y="39114"/>
                      <a:pt x="49879" y="52451"/>
                      <a:pt x="55322" y="65788"/>
                    </a:cubicBezTo>
                    <a:cubicBezTo>
                      <a:pt x="55860" y="65609"/>
                      <a:pt x="56398" y="65429"/>
                      <a:pt x="56937" y="65190"/>
                    </a:cubicBezTo>
                    <a:cubicBezTo>
                      <a:pt x="54245" y="58551"/>
                      <a:pt x="51494" y="51913"/>
                      <a:pt x="48803" y="45214"/>
                    </a:cubicBezTo>
                    <a:cubicBezTo>
                      <a:pt x="49281" y="45035"/>
                      <a:pt x="49700" y="44855"/>
                      <a:pt x="50178" y="44676"/>
                    </a:cubicBezTo>
                    <a:cubicBezTo>
                      <a:pt x="52810" y="51135"/>
                      <a:pt x="55441" y="57594"/>
                      <a:pt x="58252" y="64532"/>
                    </a:cubicBezTo>
                    <a:cubicBezTo>
                      <a:pt x="61601" y="63156"/>
                      <a:pt x="64532" y="61960"/>
                      <a:pt x="68121" y="60525"/>
                    </a:cubicBezTo>
                    <a:cubicBezTo>
                      <a:pt x="60585" y="41925"/>
                      <a:pt x="53049" y="23385"/>
                      <a:pt x="45454" y="4844"/>
                    </a:cubicBezTo>
                    <a:cubicBezTo>
                      <a:pt x="45813" y="4725"/>
                      <a:pt x="46112" y="4605"/>
                      <a:pt x="46470" y="4426"/>
                    </a:cubicBezTo>
                    <a:cubicBezTo>
                      <a:pt x="54245" y="23624"/>
                      <a:pt x="62080" y="42762"/>
                      <a:pt x="69795" y="61781"/>
                    </a:cubicBezTo>
                    <a:cubicBezTo>
                      <a:pt x="55382" y="67762"/>
                      <a:pt x="40729" y="73682"/>
                      <a:pt x="26016" y="7966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74" name="Vrije vorm: vorm 9273">
                <a:extLst>
                  <a:ext uri="{FF2B5EF4-FFF2-40B4-BE49-F238E27FC236}">
                    <a16:creationId xmlns:a16="http://schemas.microsoft.com/office/drawing/2014/main" id="{18F9682E-2081-43BA-847C-3426E7981850}"/>
                  </a:ext>
                </a:extLst>
              </p:cNvPr>
              <p:cNvSpPr/>
              <p:nvPr/>
            </p:nvSpPr>
            <p:spPr>
              <a:xfrm>
                <a:off x="5264849" y="1343011"/>
                <a:ext cx="68000" cy="78108"/>
              </a:xfrm>
              <a:custGeom>
                <a:avLst/>
                <a:gdLst>
                  <a:gd name="connsiteX0" fmla="*/ 43241 w 68000"/>
                  <a:gd name="connsiteY0" fmla="*/ 0 h 78108"/>
                  <a:gd name="connsiteX1" fmla="*/ 68001 w 68000"/>
                  <a:gd name="connsiteY1" fmla="*/ 60824 h 78108"/>
                  <a:gd name="connsiteX2" fmla="*/ 25478 w 68000"/>
                  <a:gd name="connsiteY2" fmla="*/ 78108 h 78108"/>
                  <a:gd name="connsiteX3" fmla="*/ 0 w 68000"/>
                  <a:gd name="connsiteY3" fmla="*/ 15430 h 78108"/>
                  <a:gd name="connsiteX4" fmla="*/ 43241 w 68000"/>
                  <a:gd name="connsiteY4" fmla="*/ 0 h 78108"/>
                  <a:gd name="connsiteX5" fmla="*/ 48923 w 68000"/>
                  <a:gd name="connsiteY5" fmla="*/ 66207 h 78108"/>
                  <a:gd name="connsiteX6" fmla="*/ 32535 w 68000"/>
                  <a:gd name="connsiteY6" fmla="*/ 25837 h 78108"/>
                  <a:gd name="connsiteX7" fmla="*/ 33851 w 68000"/>
                  <a:gd name="connsiteY7" fmla="*/ 25298 h 78108"/>
                  <a:gd name="connsiteX8" fmla="*/ 39772 w 68000"/>
                  <a:gd name="connsiteY8" fmla="*/ 39891 h 78108"/>
                  <a:gd name="connsiteX9" fmla="*/ 54963 w 68000"/>
                  <a:gd name="connsiteY9" fmla="*/ 32655 h 78108"/>
                  <a:gd name="connsiteX10" fmla="*/ 44138 w 68000"/>
                  <a:gd name="connsiteY10" fmla="*/ 5981 h 78108"/>
                  <a:gd name="connsiteX11" fmla="*/ 11184 w 68000"/>
                  <a:gd name="connsiteY11" fmla="*/ 22487 h 78108"/>
                  <a:gd name="connsiteX12" fmla="*/ 31817 w 68000"/>
                  <a:gd name="connsiteY12" fmla="*/ 73144 h 78108"/>
                  <a:gd name="connsiteX13" fmla="*/ 38815 w 68000"/>
                  <a:gd name="connsiteY13" fmla="*/ 70273 h 78108"/>
                  <a:gd name="connsiteX14" fmla="*/ 22308 w 68000"/>
                  <a:gd name="connsiteY14" fmla="*/ 29664 h 78108"/>
                  <a:gd name="connsiteX15" fmla="*/ 36841 w 68000"/>
                  <a:gd name="connsiteY15" fmla="*/ 62499 h 78108"/>
                  <a:gd name="connsiteX16" fmla="*/ 48923 w 68000"/>
                  <a:gd name="connsiteY16" fmla="*/ 66207 h 78108"/>
                  <a:gd name="connsiteX17" fmla="*/ 1914 w 68000"/>
                  <a:gd name="connsiteY17" fmla="*/ 16088 h 78108"/>
                  <a:gd name="connsiteX18" fmla="*/ 25897 w 68000"/>
                  <a:gd name="connsiteY18" fmla="*/ 75058 h 78108"/>
                  <a:gd name="connsiteX19" fmla="*/ 27811 w 68000"/>
                  <a:gd name="connsiteY19" fmla="*/ 69137 h 78108"/>
                  <a:gd name="connsiteX20" fmla="*/ 8792 w 68000"/>
                  <a:gd name="connsiteY20" fmla="*/ 22308 h 78108"/>
                  <a:gd name="connsiteX21" fmla="*/ 43899 w 68000"/>
                  <a:gd name="connsiteY21" fmla="*/ 4486 h 78108"/>
                  <a:gd name="connsiteX22" fmla="*/ 42702 w 68000"/>
                  <a:gd name="connsiteY22" fmla="*/ 1794 h 78108"/>
                  <a:gd name="connsiteX23" fmla="*/ 1914 w 68000"/>
                  <a:gd name="connsiteY23" fmla="*/ 16088 h 78108"/>
                  <a:gd name="connsiteX24" fmla="*/ 40430 w 68000"/>
                  <a:gd name="connsiteY24" fmla="*/ 41387 h 78108"/>
                  <a:gd name="connsiteX25" fmla="*/ 50477 w 68000"/>
                  <a:gd name="connsiteY25" fmla="*/ 66027 h 78108"/>
                  <a:gd name="connsiteX26" fmla="*/ 65549 w 68000"/>
                  <a:gd name="connsiteY26" fmla="*/ 59867 h 78108"/>
                  <a:gd name="connsiteX27" fmla="*/ 55023 w 68000"/>
                  <a:gd name="connsiteY27" fmla="*/ 33970 h 78108"/>
                  <a:gd name="connsiteX28" fmla="*/ 40430 w 68000"/>
                  <a:gd name="connsiteY28" fmla="*/ 41387 h 7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8000" h="78108">
                    <a:moveTo>
                      <a:pt x="43241" y="0"/>
                    </a:moveTo>
                    <a:cubicBezTo>
                      <a:pt x="51494" y="20334"/>
                      <a:pt x="59807" y="40729"/>
                      <a:pt x="68001" y="60824"/>
                    </a:cubicBezTo>
                    <a:cubicBezTo>
                      <a:pt x="53587" y="66685"/>
                      <a:pt x="39473" y="72426"/>
                      <a:pt x="25478" y="78108"/>
                    </a:cubicBezTo>
                    <a:cubicBezTo>
                      <a:pt x="16806" y="56817"/>
                      <a:pt x="8373" y="36064"/>
                      <a:pt x="0" y="15430"/>
                    </a:cubicBezTo>
                    <a:cubicBezTo>
                      <a:pt x="14533" y="10227"/>
                      <a:pt x="28827" y="5143"/>
                      <a:pt x="43241" y="0"/>
                    </a:cubicBezTo>
                    <a:close/>
                    <a:moveTo>
                      <a:pt x="48923" y="66207"/>
                    </a:moveTo>
                    <a:cubicBezTo>
                      <a:pt x="43420" y="52630"/>
                      <a:pt x="37978" y="39234"/>
                      <a:pt x="32535" y="25837"/>
                    </a:cubicBezTo>
                    <a:cubicBezTo>
                      <a:pt x="32954" y="25657"/>
                      <a:pt x="33373" y="25478"/>
                      <a:pt x="33851" y="25298"/>
                    </a:cubicBezTo>
                    <a:cubicBezTo>
                      <a:pt x="35765" y="30023"/>
                      <a:pt x="37679" y="34748"/>
                      <a:pt x="39772" y="39891"/>
                    </a:cubicBezTo>
                    <a:cubicBezTo>
                      <a:pt x="45035" y="37380"/>
                      <a:pt x="49820" y="35107"/>
                      <a:pt x="54963" y="32655"/>
                    </a:cubicBezTo>
                    <a:cubicBezTo>
                      <a:pt x="51255" y="23504"/>
                      <a:pt x="47786" y="14952"/>
                      <a:pt x="44138" y="5981"/>
                    </a:cubicBezTo>
                    <a:cubicBezTo>
                      <a:pt x="32775" y="11662"/>
                      <a:pt x="21830" y="17165"/>
                      <a:pt x="11184" y="22487"/>
                    </a:cubicBezTo>
                    <a:cubicBezTo>
                      <a:pt x="18182" y="39712"/>
                      <a:pt x="24940" y="56279"/>
                      <a:pt x="31817" y="73144"/>
                    </a:cubicBezTo>
                    <a:cubicBezTo>
                      <a:pt x="34449" y="72068"/>
                      <a:pt x="36184" y="71350"/>
                      <a:pt x="38815" y="70273"/>
                    </a:cubicBezTo>
                    <a:cubicBezTo>
                      <a:pt x="33193" y="56518"/>
                      <a:pt x="27751" y="43121"/>
                      <a:pt x="22308" y="29664"/>
                    </a:cubicBezTo>
                    <a:cubicBezTo>
                      <a:pt x="27811" y="40370"/>
                      <a:pt x="32356" y="51434"/>
                      <a:pt x="36841" y="62499"/>
                    </a:cubicBezTo>
                    <a:cubicBezTo>
                      <a:pt x="40191" y="71171"/>
                      <a:pt x="40191" y="71171"/>
                      <a:pt x="48923" y="66207"/>
                    </a:cubicBezTo>
                    <a:close/>
                    <a:moveTo>
                      <a:pt x="1914" y="16088"/>
                    </a:moveTo>
                    <a:cubicBezTo>
                      <a:pt x="10167" y="36363"/>
                      <a:pt x="18002" y="55621"/>
                      <a:pt x="25897" y="75058"/>
                    </a:cubicBezTo>
                    <a:cubicBezTo>
                      <a:pt x="30442" y="74639"/>
                      <a:pt x="28827" y="71709"/>
                      <a:pt x="27811" y="69137"/>
                    </a:cubicBezTo>
                    <a:cubicBezTo>
                      <a:pt x="21471" y="53408"/>
                      <a:pt x="15072" y="37738"/>
                      <a:pt x="8792" y="22308"/>
                    </a:cubicBezTo>
                    <a:cubicBezTo>
                      <a:pt x="20753" y="16208"/>
                      <a:pt x="32356" y="10347"/>
                      <a:pt x="43899" y="4486"/>
                    </a:cubicBezTo>
                    <a:cubicBezTo>
                      <a:pt x="43480" y="3588"/>
                      <a:pt x="43121" y="2691"/>
                      <a:pt x="42702" y="1794"/>
                    </a:cubicBezTo>
                    <a:cubicBezTo>
                      <a:pt x="29306" y="6459"/>
                      <a:pt x="15969" y="11124"/>
                      <a:pt x="1914" y="16088"/>
                    </a:cubicBezTo>
                    <a:close/>
                    <a:moveTo>
                      <a:pt x="40430" y="41387"/>
                    </a:moveTo>
                    <a:cubicBezTo>
                      <a:pt x="43779" y="49700"/>
                      <a:pt x="47068" y="57654"/>
                      <a:pt x="50477" y="66027"/>
                    </a:cubicBezTo>
                    <a:cubicBezTo>
                      <a:pt x="55561" y="63934"/>
                      <a:pt x="60465" y="61960"/>
                      <a:pt x="65549" y="59867"/>
                    </a:cubicBezTo>
                    <a:cubicBezTo>
                      <a:pt x="62020" y="51255"/>
                      <a:pt x="58671" y="42882"/>
                      <a:pt x="55023" y="33970"/>
                    </a:cubicBezTo>
                    <a:cubicBezTo>
                      <a:pt x="49999" y="36542"/>
                      <a:pt x="45334" y="38934"/>
                      <a:pt x="40430" y="4138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75" name="Vrije vorm: vorm 9274">
                <a:extLst>
                  <a:ext uri="{FF2B5EF4-FFF2-40B4-BE49-F238E27FC236}">
                    <a16:creationId xmlns:a16="http://schemas.microsoft.com/office/drawing/2014/main" id="{D691F1E6-5C3C-4E17-96C7-7DA8A3945B2E}"/>
                  </a:ext>
                </a:extLst>
              </p:cNvPr>
              <p:cNvSpPr/>
              <p:nvPr/>
            </p:nvSpPr>
            <p:spPr>
              <a:xfrm>
                <a:off x="4982559" y="1747009"/>
                <a:ext cx="75117" cy="86421"/>
              </a:xfrm>
              <a:custGeom>
                <a:avLst/>
                <a:gdLst>
                  <a:gd name="connsiteX0" fmla="*/ 26016 w 75117"/>
                  <a:gd name="connsiteY0" fmla="*/ 86421 h 86421"/>
                  <a:gd name="connsiteX1" fmla="*/ 0 w 75117"/>
                  <a:gd name="connsiteY1" fmla="*/ 22547 h 86421"/>
                  <a:gd name="connsiteX2" fmla="*/ 48862 w 75117"/>
                  <a:gd name="connsiteY2" fmla="*/ 0 h 86421"/>
                  <a:gd name="connsiteX3" fmla="*/ 49341 w 75117"/>
                  <a:gd name="connsiteY3" fmla="*/ 957 h 86421"/>
                  <a:gd name="connsiteX4" fmla="*/ 28707 w 75117"/>
                  <a:gd name="connsiteY4" fmla="*/ 10885 h 86421"/>
                  <a:gd name="connsiteX5" fmla="*/ 53288 w 75117"/>
                  <a:gd name="connsiteY5" fmla="*/ 71350 h 86421"/>
                  <a:gd name="connsiteX6" fmla="*/ 73443 w 75117"/>
                  <a:gd name="connsiteY6" fmla="*/ 61422 h 86421"/>
                  <a:gd name="connsiteX7" fmla="*/ 50178 w 75117"/>
                  <a:gd name="connsiteY7" fmla="*/ 4246 h 86421"/>
                  <a:gd name="connsiteX8" fmla="*/ 51314 w 75117"/>
                  <a:gd name="connsiteY8" fmla="*/ 3828 h 86421"/>
                  <a:gd name="connsiteX9" fmla="*/ 75118 w 75117"/>
                  <a:gd name="connsiteY9" fmla="*/ 62259 h 86421"/>
                  <a:gd name="connsiteX10" fmla="*/ 26016 w 75117"/>
                  <a:gd name="connsiteY10" fmla="*/ 86421 h 86421"/>
                  <a:gd name="connsiteX11" fmla="*/ 2273 w 75117"/>
                  <a:gd name="connsiteY11" fmla="*/ 23205 h 86421"/>
                  <a:gd name="connsiteX12" fmla="*/ 12978 w 75117"/>
                  <a:gd name="connsiteY12" fmla="*/ 49461 h 86421"/>
                  <a:gd name="connsiteX13" fmla="*/ 27691 w 75117"/>
                  <a:gd name="connsiteY13" fmla="*/ 41985 h 86421"/>
                  <a:gd name="connsiteX14" fmla="*/ 18779 w 75117"/>
                  <a:gd name="connsiteY14" fmla="*/ 20095 h 86421"/>
                  <a:gd name="connsiteX15" fmla="*/ 19796 w 75117"/>
                  <a:gd name="connsiteY15" fmla="*/ 19736 h 86421"/>
                  <a:gd name="connsiteX16" fmla="*/ 29604 w 75117"/>
                  <a:gd name="connsiteY16" fmla="*/ 43898 h 86421"/>
                  <a:gd name="connsiteX17" fmla="*/ 13397 w 75117"/>
                  <a:gd name="connsiteY17" fmla="*/ 50477 h 86421"/>
                  <a:gd name="connsiteX18" fmla="*/ 27212 w 75117"/>
                  <a:gd name="connsiteY18" fmla="*/ 84388 h 86421"/>
                  <a:gd name="connsiteX19" fmla="*/ 41267 w 75117"/>
                  <a:gd name="connsiteY19" fmla="*/ 77032 h 86421"/>
                  <a:gd name="connsiteX20" fmla="*/ 31399 w 75117"/>
                  <a:gd name="connsiteY20" fmla="*/ 52750 h 86421"/>
                  <a:gd name="connsiteX21" fmla="*/ 32475 w 75117"/>
                  <a:gd name="connsiteY21" fmla="*/ 52331 h 86421"/>
                  <a:gd name="connsiteX22" fmla="*/ 42224 w 75117"/>
                  <a:gd name="connsiteY22" fmla="*/ 76254 h 86421"/>
                  <a:gd name="connsiteX23" fmla="*/ 44317 w 75117"/>
                  <a:gd name="connsiteY23" fmla="*/ 76314 h 86421"/>
                  <a:gd name="connsiteX24" fmla="*/ 44556 w 75117"/>
                  <a:gd name="connsiteY24" fmla="*/ 70752 h 86421"/>
                  <a:gd name="connsiteX25" fmla="*/ 23384 w 75117"/>
                  <a:gd name="connsiteY25" fmla="*/ 18899 h 86421"/>
                  <a:gd name="connsiteX26" fmla="*/ 20933 w 75117"/>
                  <a:gd name="connsiteY26" fmla="*/ 14174 h 86421"/>
                  <a:gd name="connsiteX27" fmla="*/ 2273 w 75117"/>
                  <a:gd name="connsiteY27" fmla="*/ 23205 h 86421"/>
                  <a:gd name="connsiteX28" fmla="*/ 27511 w 75117"/>
                  <a:gd name="connsiteY28" fmla="*/ 12201 h 86421"/>
                  <a:gd name="connsiteX29" fmla="*/ 24042 w 75117"/>
                  <a:gd name="connsiteY29" fmla="*/ 17703 h 86421"/>
                  <a:gd name="connsiteX30" fmla="*/ 36542 w 75117"/>
                  <a:gd name="connsiteY30" fmla="*/ 48145 h 86421"/>
                  <a:gd name="connsiteX31" fmla="*/ 47008 w 75117"/>
                  <a:gd name="connsiteY31" fmla="*/ 73922 h 86421"/>
                  <a:gd name="connsiteX32" fmla="*/ 50298 w 75117"/>
                  <a:gd name="connsiteY32" fmla="*/ 68120 h 86421"/>
                  <a:gd name="connsiteX33" fmla="*/ 27511 w 75117"/>
                  <a:gd name="connsiteY33" fmla="*/ 12201 h 8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5117" h="86421">
                    <a:moveTo>
                      <a:pt x="26016" y="86421"/>
                    </a:moveTo>
                    <a:cubicBezTo>
                      <a:pt x="17344" y="65070"/>
                      <a:pt x="8732" y="44018"/>
                      <a:pt x="0" y="22547"/>
                    </a:cubicBezTo>
                    <a:cubicBezTo>
                      <a:pt x="16148" y="15131"/>
                      <a:pt x="32475" y="7595"/>
                      <a:pt x="48862" y="0"/>
                    </a:cubicBezTo>
                    <a:cubicBezTo>
                      <a:pt x="49042" y="299"/>
                      <a:pt x="49161" y="598"/>
                      <a:pt x="49341" y="957"/>
                    </a:cubicBezTo>
                    <a:cubicBezTo>
                      <a:pt x="42523" y="4246"/>
                      <a:pt x="35705" y="7536"/>
                      <a:pt x="28707" y="10885"/>
                    </a:cubicBezTo>
                    <a:cubicBezTo>
                      <a:pt x="36961" y="31100"/>
                      <a:pt x="44915" y="50776"/>
                      <a:pt x="53288" y="71350"/>
                    </a:cubicBezTo>
                    <a:cubicBezTo>
                      <a:pt x="59986" y="68061"/>
                      <a:pt x="66446" y="64891"/>
                      <a:pt x="73443" y="61422"/>
                    </a:cubicBezTo>
                    <a:cubicBezTo>
                      <a:pt x="65608" y="42164"/>
                      <a:pt x="57893" y="23205"/>
                      <a:pt x="50178" y="4246"/>
                    </a:cubicBezTo>
                    <a:cubicBezTo>
                      <a:pt x="50537" y="4127"/>
                      <a:pt x="50896" y="3947"/>
                      <a:pt x="51314" y="3828"/>
                    </a:cubicBezTo>
                    <a:cubicBezTo>
                      <a:pt x="59209" y="23265"/>
                      <a:pt x="67104" y="42702"/>
                      <a:pt x="75118" y="62259"/>
                    </a:cubicBezTo>
                    <a:cubicBezTo>
                      <a:pt x="59149" y="70094"/>
                      <a:pt x="42762" y="78168"/>
                      <a:pt x="26016" y="86421"/>
                    </a:cubicBezTo>
                    <a:close/>
                    <a:moveTo>
                      <a:pt x="2273" y="23205"/>
                    </a:moveTo>
                    <a:cubicBezTo>
                      <a:pt x="5981" y="32236"/>
                      <a:pt x="9330" y="40609"/>
                      <a:pt x="12978" y="49461"/>
                    </a:cubicBezTo>
                    <a:cubicBezTo>
                      <a:pt x="18002" y="46889"/>
                      <a:pt x="22607" y="44556"/>
                      <a:pt x="27691" y="41985"/>
                    </a:cubicBezTo>
                    <a:cubicBezTo>
                      <a:pt x="24521" y="34210"/>
                      <a:pt x="21650" y="27152"/>
                      <a:pt x="18779" y="20095"/>
                    </a:cubicBezTo>
                    <a:cubicBezTo>
                      <a:pt x="19138" y="19976"/>
                      <a:pt x="19437" y="19856"/>
                      <a:pt x="19796" y="19736"/>
                    </a:cubicBezTo>
                    <a:cubicBezTo>
                      <a:pt x="22966" y="27511"/>
                      <a:pt x="26136" y="35346"/>
                      <a:pt x="29604" y="43898"/>
                    </a:cubicBezTo>
                    <a:cubicBezTo>
                      <a:pt x="24282" y="46052"/>
                      <a:pt x="18839" y="48264"/>
                      <a:pt x="13397" y="50477"/>
                    </a:cubicBezTo>
                    <a:cubicBezTo>
                      <a:pt x="18121" y="62080"/>
                      <a:pt x="22487" y="72905"/>
                      <a:pt x="27212" y="84388"/>
                    </a:cubicBezTo>
                    <a:cubicBezTo>
                      <a:pt x="31997" y="81876"/>
                      <a:pt x="36422" y="79603"/>
                      <a:pt x="41267" y="77032"/>
                    </a:cubicBezTo>
                    <a:cubicBezTo>
                      <a:pt x="37798" y="68479"/>
                      <a:pt x="34568" y="60645"/>
                      <a:pt x="31399" y="52750"/>
                    </a:cubicBezTo>
                    <a:cubicBezTo>
                      <a:pt x="31758" y="52630"/>
                      <a:pt x="32116" y="52451"/>
                      <a:pt x="32475" y="52331"/>
                    </a:cubicBezTo>
                    <a:cubicBezTo>
                      <a:pt x="35705" y="60286"/>
                      <a:pt x="38994" y="68300"/>
                      <a:pt x="42224" y="76254"/>
                    </a:cubicBezTo>
                    <a:cubicBezTo>
                      <a:pt x="42942" y="76254"/>
                      <a:pt x="43599" y="76314"/>
                      <a:pt x="44317" y="76314"/>
                    </a:cubicBezTo>
                    <a:cubicBezTo>
                      <a:pt x="44437" y="74460"/>
                      <a:pt x="45214" y="72307"/>
                      <a:pt x="44556" y="70752"/>
                    </a:cubicBezTo>
                    <a:cubicBezTo>
                      <a:pt x="37619" y="53408"/>
                      <a:pt x="30502" y="36124"/>
                      <a:pt x="23384" y="18899"/>
                    </a:cubicBezTo>
                    <a:cubicBezTo>
                      <a:pt x="22787" y="17464"/>
                      <a:pt x="21949" y="16088"/>
                      <a:pt x="20933" y="14174"/>
                    </a:cubicBezTo>
                    <a:cubicBezTo>
                      <a:pt x="14593" y="17284"/>
                      <a:pt x="8552" y="20215"/>
                      <a:pt x="2273" y="23205"/>
                    </a:cubicBezTo>
                    <a:close/>
                    <a:moveTo>
                      <a:pt x="27511" y="12201"/>
                    </a:moveTo>
                    <a:cubicBezTo>
                      <a:pt x="23026" y="12440"/>
                      <a:pt x="22547" y="14174"/>
                      <a:pt x="24042" y="17703"/>
                    </a:cubicBezTo>
                    <a:cubicBezTo>
                      <a:pt x="28349" y="27810"/>
                      <a:pt x="32415" y="37978"/>
                      <a:pt x="36542" y="48145"/>
                    </a:cubicBezTo>
                    <a:cubicBezTo>
                      <a:pt x="40071" y="56757"/>
                      <a:pt x="43539" y="65369"/>
                      <a:pt x="47008" y="73922"/>
                    </a:cubicBezTo>
                    <a:cubicBezTo>
                      <a:pt x="50776" y="73324"/>
                      <a:pt x="51793" y="71828"/>
                      <a:pt x="50298" y="68120"/>
                    </a:cubicBezTo>
                    <a:cubicBezTo>
                      <a:pt x="42643" y="49580"/>
                      <a:pt x="35107" y="30920"/>
                      <a:pt x="27511" y="1220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76" name="Vrije vorm: vorm 9275">
                <a:extLst>
                  <a:ext uri="{FF2B5EF4-FFF2-40B4-BE49-F238E27FC236}">
                    <a16:creationId xmlns:a16="http://schemas.microsoft.com/office/drawing/2014/main" id="{F263A177-7B20-471E-A023-C23E1770802A}"/>
                  </a:ext>
                </a:extLst>
              </p:cNvPr>
              <p:cNvSpPr/>
              <p:nvPr/>
            </p:nvSpPr>
            <p:spPr>
              <a:xfrm>
                <a:off x="5269155" y="1508737"/>
                <a:ext cx="69256" cy="80081"/>
              </a:xfrm>
              <a:custGeom>
                <a:avLst/>
                <a:gdLst>
                  <a:gd name="connsiteX0" fmla="*/ 25358 w 69256"/>
                  <a:gd name="connsiteY0" fmla="*/ 80082 h 80081"/>
                  <a:gd name="connsiteX1" fmla="*/ 0 w 69256"/>
                  <a:gd name="connsiteY1" fmla="*/ 17703 h 80081"/>
                  <a:gd name="connsiteX2" fmla="*/ 43599 w 69256"/>
                  <a:gd name="connsiteY2" fmla="*/ 0 h 80081"/>
                  <a:gd name="connsiteX3" fmla="*/ 43779 w 69256"/>
                  <a:gd name="connsiteY3" fmla="*/ 299 h 80081"/>
                  <a:gd name="connsiteX4" fmla="*/ 36482 w 69256"/>
                  <a:gd name="connsiteY4" fmla="*/ 4306 h 80081"/>
                  <a:gd name="connsiteX5" fmla="*/ 59030 w 69256"/>
                  <a:gd name="connsiteY5" fmla="*/ 59688 h 80081"/>
                  <a:gd name="connsiteX6" fmla="*/ 63635 w 69256"/>
                  <a:gd name="connsiteY6" fmla="*/ 59508 h 80081"/>
                  <a:gd name="connsiteX7" fmla="*/ 63754 w 69256"/>
                  <a:gd name="connsiteY7" fmla="*/ 60166 h 80081"/>
                  <a:gd name="connsiteX8" fmla="*/ 40430 w 69256"/>
                  <a:gd name="connsiteY8" fmla="*/ 68120 h 80081"/>
                  <a:gd name="connsiteX9" fmla="*/ 17822 w 69256"/>
                  <a:gd name="connsiteY9" fmla="*/ 12560 h 80081"/>
                  <a:gd name="connsiteX10" fmla="*/ 2333 w 69256"/>
                  <a:gd name="connsiteY10" fmla="*/ 18839 h 80081"/>
                  <a:gd name="connsiteX11" fmla="*/ 26495 w 69256"/>
                  <a:gd name="connsiteY11" fmla="*/ 78288 h 80081"/>
                  <a:gd name="connsiteX12" fmla="*/ 41865 w 69256"/>
                  <a:gd name="connsiteY12" fmla="*/ 72008 h 80081"/>
                  <a:gd name="connsiteX13" fmla="*/ 61781 w 69256"/>
                  <a:gd name="connsiteY13" fmla="*/ 63097 h 80081"/>
                  <a:gd name="connsiteX14" fmla="*/ 65010 w 69256"/>
                  <a:gd name="connsiteY14" fmla="*/ 54484 h 80081"/>
                  <a:gd name="connsiteX15" fmla="*/ 46949 w 69256"/>
                  <a:gd name="connsiteY15" fmla="*/ 9868 h 80081"/>
                  <a:gd name="connsiteX16" fmla="*/ 45573 w 69256"/>
                  <a:gd name="connsiteY16" fmla="*/ 4067 h 80081"/>
                  <a:gd name="connsiteX17" fmla="*/ 69257 w 69256"/>
                  <a:gd name="connsiteY17" fmla="*/ 62319 h 80081"/>
                  <a:gd name="connsiteX18" fmla="*/ 25358 w 69256"/>
                  <a:gd name="connsiteY18" fmla="*/ 80082 h 80081"/>
                  <a:gd name="connsiteX19" fmla="*/ 29305 w 69256"/>
                  <a:gd name="connsiteY19" fmla="*/ 10586 h 80081"/>
                  <a:gd name="connsiteX20" fmla="*/ 30561 w 69256"/>
                  <a:gd name="connsiteY20" fmla="*/ 10107 h 80081"/>
                  <a:gd name="connsiteX21" fmla="*/ 51853 w 69256"/>
                  <a:gd name="connsiteY21" fmla="*/ 62499 h 80081"/>
                  <a:gd name="connsiteX22" fmla="*/ 57475 w 69256"/>
                  <a:gd name="connsiteY22" fmla="*/ 60226 h 80081"/>
                  <a:gd name="connsiteX23" fmla="*/ 35047 w 69256"/>
                  <a:gd name="connsiteY23" fmla="*/ 5024 h 80081"/>
                  <a:gd name="connsiteX24" fmla="*/ 19318 w 69256"/>
                  <a:gd name="connsiteY24" fmla="*/ 11423 h 80081"/>
                  <a:gd name="connsiteX25" fmla="*/ 41446 w 69256"/>
                  <a:gd name="connsiteY25" fmla="*/ 65848 h 80081"/>
                  <a:gd name="connsiteX26" fmla="*/ 50597 w 69256"/>
                  <a:gd name="connsiteY26" fmla="*/ 63037 h 80081"/>
                  <a:gd name="connsiteX27" fmla="*/ 29305 w 69256"/>
                  <a:gd name="connsiteY27" fmla="*/ 10586 h 8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9256" h="80081">
                    <a:moveTo>
                      <a:pt x="25358" y="80082"/>
                    </a:moveTo>
                    <a:cubicBezTo>
                      <a:pt x="17105" y="59807"/>
                      <a:pt x="8672" y="38994"/>
                      <a:pt x="0" y="17703"/>
                    </a:cubicBezTo>
                    <a:cubicBezTo>
                      <a:pt x="14533" y="11782"/>
                      <a:pt x="29066" y="5861"/>
                      <a:pt x="43599" y="0"/>
                    </a:cubicBezTo>
                    <a:cubicBezTo>
                      <a:pt x="43659" y="120"/>
                      <a:pt x="43719" y="179"/>
                      <a:pt x="43779" y="299"/>
                    </a:cubicBezTo>
                    <a:cubicBezTo>
                      <a:pt x="41446" y="1555"/>
                      <a:pt x="39114" y="2871"/>
                      <a:pt x="36482" y="4306"/>
                    </a:cubicBezTo>
                    <a:cubicBezTo>
                      <a:pt x="43958" y="22727"/>
                      <a:pt x="51374" y="40908"/>
                      <a:pt x="59030" y="59688"/>
                    </a:cubicBezTo>
                    <a:cubicBezTo>
                      <a:pt x="60345" y="59628"/>
                      <a:pt x="62020" y="59568"/>
                      <a:pt x="63635" y="59508"/>
                    </a:cubicBezTo>
                    <a:cubicBezTo>
                      <a:pt x="63694" y="59747"/>
                      <a:pt x="63694" y="59927"/>
                      <a:pt x="63754" y="60166"/>
                    </a:cubicBezTo>
                    <a:cubicBezTo>
                      <a:pt x="55920" y="62857"/>
                      <a:pt x="48085" y="65489"/>
                      <a:pt x="40430" y="68120"/>
                    </a:cubicBezTo>
                    <a:cubicBezTo>
                      <a:pt x="32954" y="49700"/>
                      <a:pt x="25478" y="31339"/>
                      <a:pt x="17822" y="12560"/>
                    </a:cubicBezTo>
                    <a:cubicBezTo>
                      <a:pt x="12739" y="14653"/>
                      <a:pt x="7775" y="16626"/>
                      <a:pt x="2333" y="18839"/>
                    </a:cubicBezTo>
                    <a:cubicBezTo>
                      <a:pt x="10347" y="38576"/>
                      <a:pt x="18361" y="58192"/>
                      <a:pt x="26495" y="78288"/>
                    </a:cubicBezTo>
                    <a:cubicBezTo>
                      <a:pt x="31578" y="76254"/>
                      <a:pt x="36781" y="74221"/>
                      <a:pt x="41865" y="72008"/>
                    </a:cubicBezTo>
                    <a:cubicBezTo>
                      <a:pt x="48504" y="69077"/>
                      <a:pt x="55023" y="65668"/>
                      <a:pt x="61781" y="63097"/>
                    </a:cubicBezTo>
                    <a:cubicBezTo>
                      <a:pt x="66087" y="61422"/>
                      <a:pt x="67163" y="59568"/>
                      <a:pt x="65010" y="54484"/>
                    </a:cubicBezTo>
                    <a:cubicBezTo>
                      <a:pt x="58671" y="39712"/>
                      <a:pt x="52929" y="24760"/>
                      <a:pt x="46949" y="9868"/>
                    </a:cubicBezTo>
                    <a:cubicBezTo>
                      <a:pt x="46231" y="8014"/>
                      <a:pt x="45453" y="6220"/>
                      <a:pt x="45573" y="4067"/>
                    </a:cubicBezTo>
                    <a:cubicBezTo>
                      <a:pt x="53348" y="23145"/>
                      <a:pt x="61123" y="42224"/>
                      <a:pt x="69257" y="62319"/>
                    </a:cubicBezTo>
                    <a:cubicBezTo>
                      <a:pt x="54723" y="68120"/>
                      <a:pt x="40131" y="74041"/>
                      <a:pt x="25358" y="80082"/>
                    </a:cubicBezTo>
                    <a:close/>
                    <a:moveTo>
                      <a:pt x="29305" y="10586"/>
                    </a:moveTo>
                    <a:cubicBezTo>
                      <a:pt x="29724" y="10406"/>
                      <a:pt x="30143" y="10227"/>
                      <a:pt x="30561" y="10107"/>
                    </a:cubicBezTo>
                    <a:cubicBezTo>
                      <a:pt x="37619" y="27511"/>
                      <a:pt x="44736" y="44915"/>
                      <a:pt x="51853" y="62499"/>
                    </a:cubicBezTo>
                    <a:cubicBezTo>
                      <a:pt x="53886" y="61661"/>
                      <a:pt x="55441" y="61063"/>
                      <a:pt x="57475" y="60226"/>
                    </a:cubicBezTo>
                    <a:cubicBezTo>
                      <a:pt x="49939" y="41686"/>
                      <a:pt x="42523" y="23504"/>
                      <a:pt x="35047" y="5024"/>
                    </a:cubicBezTo>
                    <a:cubicBezTo>
                      <a:pt x="30023" y="7057"/>
                      <a:pt x="24880" y="9150"/>
                      <a:pt x="19318" y="11423"/>
                    </a:cubicBezTo>
                    <a:cubicBezTo>
                      <a:pt x="26734" y="29724"/>
                      <a:pt x="34030" y="47666"/>
                      <a:pt x="41446" y="65848"/>
                    </a:cubicBezTo>
                    <a:cubicBezTo>
                      <a:pt x="44317" y="64951"/>
                      <a:pt x="47008" y="64113"/>
                      <a:pt x="50597" y="63037"/>
                    </a:cubicBezTo>
                    <a:cubicBezTo>
                      <a:pt x="43360" y="45214"/>
                      <a:pt x="36303" y="27930"/>
                      <a:pt x="29305" y="1058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77" name="Vrije vorm: vorm 9276">
                <a:extLst>
                  <a:ext uri="{FF2B5EF4-FFF2-40B4-BE49-F238E27FC236}">
                    <a16:creationId xmlns:a16="http://schemas.microsoft.com/office/drawing/2014/main" id="{185F48E5-AE67-43D9-B650-4E237A1B0777}"/>
                  </a:ext>
                </a:extLst>
              </p:cNvPr>
              <p:cNvSpPr/>
              <p:nvPr/>
            </p:nvSpPr>
            <p:spPr>
              <a:xfrm>
                <a:off x="4770184" y="2141138"/>
                <a:ext cx="178943" cy="275830"/>
              </a:xfrm>
              <a:custGeom>
                <a:avLst/>
                <a:gdLst>
                  <a:gd name="connsiteX0" fmla="*/ 72666 w 178943"/>
                  <a:gd name="connsiteY0" fmla="*/ 272781 h 275830"/>
                  <a:gd name="connsiteX1" fmla="*/ 85883 w 178943"/>
                  <a:gd name="connsiteY1" fmla="*/ 264408 h 275830"/>
                  <a:gd name="connsiteX2" fmla="*/ 86541 w 178943"/>
                  <a:gd name="connsiteY2" fmla="*/ 265484 h 275830"/>
                  <a:gd name="connsiteX3" fmla="*/ 71709 w 178943"/>
                  <a:gd name="connsiteY3" fmla="*/ 275831 h 275830"/>
                  <a:gd name="connsiteX4" fmla="*/ 38635 w 178943"/>
                  <a:gd name="connsiteY4" fmla="*/ 194553 h 275830"/>
                  <a:gd name="connsiteX5" fmla="*/ 4306 w 178943"/>
                  <a:gd name="connsiteY5" fmla="*/ 113095 h 275830"/>
                  <a:gd name="connsiteX6" fmla="*/ 0 w 178943"/>
                  <a:gd name="connsiteY6" fmla="*/ 107055 h 275830"/>
                  <a:gd name="connsiteX7" fmla="*/ 14952 w 178943"/>
                  <a:gd name="connsiteY7" fmla="*/ 99639 h 275830"/>
                  <a:gd name="connsiteX8" fmla="*/ 98682 w 178943"/>
                  <a:gd name="connsiteY8" fmla="*/ 50178 h 275830"/>
                  <a:gd name="connsiteX9" fmla="*/ 176670 w 178943"/>
                  <a:gd name="connsiteY9" fmla="*/ 3887 h 275830"/>
                  <a:gd name="connsiteX10" fmla="*/ 177328 w 178943"/>
                  <a:gd name="connsiteY10" fmla="*/ 2691 h 275830"/>
                  <a:gd name="connsiteX11" fmla="*/ 172604 w 178943"/>
                  <a:gd name="connsiteY11" fmla="*/ 1136 h 275830"/>
                  <a:gd name="connsiteX12" fmla="*/ 172962 w 178943"/>
                  <a:gd name="connsiteY12" fmla="*/ 0 h 275830"/>
                  <a:gd name="connsiteX13" fmla="*/ 178943 w 178943"/>
                  <a:gd name="connsiteY13" fmla="*/ 2452 h 275830"/>
                  <a:gd name="connsiteX14" fmla="*/ 178764 w 178943"/>
                  <a:gd name="connsiteY14" fmla="*/ 4186 h 275830"/>
                  <a:gd name="connsiteX15" fmla="*/ 129004 w 178943"/>
                  <a:gd name="connsiteY15" fmla="*/ 33671 h 275830"/>
                  <a:gd name="connsiteX16" fmla="*/ 45812 w 178943"/>
                  <a:gd name="connsiteY16" fmla="*/ 82953 h 275830"/>
                  <a:gd name="connsiteX17" fmla="*/ 8134 w 178943"/>
                  <a:gd name="connsiteY17" fmla="*/ 105081 h 275830"/>
                  <a:gd name="connsiteX18" fmla="*/ 5682 w 178943"/>
                  <a:gd name="connsiteY18" fmla="*/ 112976 h 275830"/>
                  <a:gd name="connsiteX19" fmla="*/ 43121 w 178943"/>
                  <a:gd name="connsiteY19" fmla="*/ 201730 h 275830"/>
                  <a:gd name="connsiteX20" fmla="*/ 69316 w 178943"/>
                  <a:gd name="connsiteY20" fmla="*/ 264109 h 275830"/>
                  <a:gd name="connsiteX21" fmla="*/ 72666 w 178943"/>
                  <a:gd name="connsiteY21" fmla="*/ 272781 h 27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8943" h="275830">
                    <a:moveTo>
                      <a:pt x="72666" y="272781"/>
                    </a:moveTo>
                    <a:cubicBezTo>
                      <a:pt x="77690" y="269611"/>
                      <a:pt x="81756" y="267039"/>
                      <a:pt x="85883" y="264408"/>
                    </a:cubicBezTo>
                    <a:cubicBezTo>
                      <a:pt x="86122" y="264767"/>
                      <a:pt x="86302" y="265125"/>
                      <a:pt x="86541" y="265484"/>
                    </a:cubicBezTo>
                    <a:cubicBezTo>
                      <a:pt x="81995" y="268654"/>
                      <a:pt x="77391" y="271884"/>
                      <a:pt x="71709" y="275831"/>
                    </a:cubicBezTo>
                    <a:cubicBezTo>
                      <a:pt x="60585" y="248499"/>
                      <a:pt x="49760" y="221466"/>
                      <a:pt x="38635" y="194553"/>
                    </a:cubicBezTo>
                    <a:cubicBezTo>
                      <a:pt x="27391" y="167341"/>
                      <a:pt x="15849" y="140188"/>
                      <a:pt x="4306" y="113095"/>
                    </a:cubicBezTo>
                    <a:cubicBezTo>
                      <a:pt x="3170" y="110404"/>
                      <a:pt x="837" y="108131"/>
                      <a:pt x="0" y="107055"/>
                    </a:cubicBezTo>
                    <a:cubicBezTo>
                      <a:pt x="4306" y="104962"/>
                      <a:pt x="9808" y="102629"/>
                      <a:pt x="14952" y="99639"/>
                    </a:cubicBezTo>
                    <a:cubicBezTo>
                      <a:pt x="42882" y="83252"/>
                      <a:pt x="70752" y="66685"/>
                      <a:pt x="98682" y="50178"/>
                    </a:cubicBezTo>
                    <a:cubicBezTo>
                      <a:pt x="124698" y="34748"/>
                      <a:pt x="150714" y="19378"/>
                      <a:pt x="176670" y="3887"/>
                    </a:cubicBezTo>
                    <a:cubicBezTo>
                      <a:pt x="176910" y="3768"/>
                      <a:pt x="176969" y="3349"/>
                      <a:pt x="177328" y="2691"/>
                    </a:cubicBezTo>
                    <a:cubicBezTo>
                      <a:pt x="175714" y="2153"/>
                      <a:pt x="174159" y="1675"/>
                      <a:pt x="172604" y="1136"/>
                    </a:cubicBezTo>
                    <a:cubicBezTo>
                      <a:pt x="172723" y="778"/>
                      <a:pt x="172843" y="419"/>
                      <a:pt x="172962" y="0"/>
                    </a:cubicBezTo>
                    <a:cubicBezTo>
                      <a:pt x="174936" y="837"/>
                      <a:pt x="176910" y="1615"/>
                      <a:pt x="178943" y="2452"/>
                    </a:cubicBezTo>
                    <a:cubicBezTo>
                      <a:pt x="178883" y="3050"/>
                      <a:pt x="178823" y="3648"/>
                      <a:pt x="178764" y="4186"/>
                    </a:cubicBezTo>
                    <a:cubicBezTo>
                      <a:pt x="162197" y="13995"/>
                      <a:pt x="145571" y="23863"/>
                      <a:pt x="129004" y="33671"/>
                    </a:cubicBezTo>
                    <a:cubicBezTo>
                      <a:pt x="101254" y="50118"/>
                      <a:pt x="73503" y="66506"/>
                      <a:pt x="45812" y="82953"/>
                    </a:cubicBezTo>
                    <a:cubicBezTo>
                      <a:pt x="33253" y="90369"/>
                      <a:pt x="20813" y="97964"/>
                      <a:pt x="8134" y="105081"/>
                    </a:cubicBezTo>
                    <a:cubicBezTo>
                      <a:pt x="4665" y="107055"/>
                      <a:pt x="3947" y="108909"/>
                      <a:pt x="5682" y="112976"/>
                    </a:cubicBezTo>
                    <a:cubicBezTo>
                      <a:pt x="18241" y="142521"/>
                      <a:pt x="30681" y="172125"/>
                      <a:pt x="43121" y="201730"/>
                    </a:cubicBezTo>
                    <a:cubicBezTo>
                      <a:pt x="51853" y="222543"/>
                      <a:pt x="60585" y="243296"/>
                      <a:pt x="69316" y="264109"/>
                    </a:cubicBezTo>
                    <a:cubicBezTo>
                      <a:pt x="70214" y="266800"/>
                      <a:pt x="71290" y="269372"/>
                      <a:pt x="72666" y="27278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78" name="Vrije vorm: vorm 9277">
                <a:extLst>
                  <a:ext uri="{FF2B5EF4-FFF2-40B4-BE49-F238E27FC236}">
                    <a16:creationId xmlns:a16="http://schemas.microsoft.com/office/drawing/2014/main" id="{AAB250F8-5839-4380-91C5-18C1187D9512}"/>
                  </a:ext>
                </a:extLst>
              </p:cNvPr>
              <p:cNvSpPr/>
              <p:nvPr/>
            </p:nvSpPr>
            <p:spPr>
              <a:xfrm>
                <a:off x="5183990" y="1287331"/>
                <a:ext cx="70931" cy="77928"/>
              </a:xfrm>
              <a:custGeom>
                <a:avLst/>
                <a:gdLst>
                  <a:gd name="connsiteX0" fmla="*/ 25837 w 70931"/>
                  <a:gd name="connsiteY0" fmla="*/ 77929 h 77928"/>
                  <a:gd name="connsiteX1" fmla="*/ 0 w 70931"/>
                  <a:gd name="connsiteY1" fmla="*/ 14473 h 77928"/>
                  <a:gd name="connsiteX2" fmla="*/ 45214 w 70931"/>
                  <a:gd name="connsiteY2" fmla="*/ 0 h 77928"/>
                  <a:gd name="connsiteX3" fmla="*/ 45393 w 70931"/>
                  <a:gd name="connsiteY3" fmla="*/ 658 h 77928"/>
                  <a:gd name="connsiteX4" fmla="*/ 14593 w 70931"/>
                  <a:gd name="connsiteY4" fmla="*/ 19677 h 77928"/>
                  <a:gd name="connsiteX5" fmla="*/ 13875 w 70931"/>
                  <a:gd name="connsiteY5" fmla="*/ 18480 h 77928"/>
                  <a:gd name="connsiteX6" fmla="*/ 35705 w 70931"/>
                  <a:gd name="connsiteY6" fmla="*/ 5442 h 77928"/>
                  <a:gd name="connsiteX7" fmla="*/ 35346 w 70931"/>
                  <a:gd name="connsiteY7" fmla="*/ 4605 h 77928"/>
                  <a:gd name="connsiteX8" fmla="*/ 2213 w 70931"/>
                  <a:gd name="connsiteY8" fmla="*/ 15191 h 77928"/>
                  <a:gd name="connsiteX9" fmla="*/ 26913 w 70931"/>
                  <a:gd name="connsiteY9" fmla="*/ 75895 h 77928"/>
                  <a:gd name="connsiteX10" fmla="*/ 28528 w 70931"/>
                  <a:gd name="connsiteY10" fmla="*/ 75297 h 77928"/>
                  <a:gd name="connsiteX11" fmla="*/ 13098 w 70931"/>
                  <a:gd name="connsiteY11" fmla="*/ 37380 h 77928"/>
                  <a:gd name="connsiteX12" fmla="*/ 14653 w 70931"/>
                  <a:gd name="connsiteY12" fmla="*/ 36781 h 77928"/>
                  <a:gd name="connsiteX13" fmla="*/ 30143 w 70931"/>
                  <a:gd name="connsiteY13" fmla="*/ 74819 h 77928"/>
                  <a:gd name="connsiteX14" fmla="*/ 37798 w 70931"/>
                  <a:gd name="connsiteY14" fmla="*/ 71709 h 77928"/>
                  <a:gd name="connsiteX15" fmla="*/ 21650 w 70931"/>
                  <a:gd name="connsiteY15" fmla="*/ 31937 h 77928"/>
                  <a:gd name="connsiteX16" fmla="*/ 48504 w 70931"/>
                  <a:gd name="connsiteY16" fmla="*/ 16985 h 77928"/>
                  <a:gd name="connsiteX17" fmla="*/ 49042 w 70931"/>
                  <a:gd name="connsiteY17" fmla="*/ 17942 h 77928"/>
                  <a:gd name="connsiteX18" fmla="*/ 29605 w 70931"/>
                  <a:gd name="connsiteY18" fmla="*/ 28947 h 77928"/>
                  <a:gd name="connsiteX19" fmla="*/ 26495 w 70931"/>
                  <a:gd name="connsiteY19" fmla="*/ 39293 h 77928"/>
                  <a:gd name="connsiteX20" fmla="*/ 39831 w 70931"/>
                  <a:gd name="connsiteY20" fmla="*/ 71828 h 77928"/>
                  <a:gd name="connsiteX21" fmla="*/ 68718 w 70931"/>
                  <a:gd name="connsiteY21" fmla="*/ 60046 h 77928"/>
                  <a:gd name="connsiteX22" fmla="*/ 46530 w 70931"/>
                  <a:gd name="connsiteY22" fmla="*/ 5502 h 77928"/>
                  <a:gd name="connsiteX23" fmla="*/ 47666 w 70931"/>
                  <a:gd name="connsiteY23" fmla="*/ 5084 h 77928"/>
                  <a:gd name="connsiteX24" fmla="*/ 70931 w 70931"/>
                  <a:gd name="connsiteY24" fmla="*/ 62200 h 77928"/>
                  <a:gd name="connsiteX25" fmla="*/ 25837 w 70931"/>
                  <a:gd name="connsiteY25" fmla="*/ 77929 h 7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931" h="77928">
                    <a:moveTo>
                      <a:pt x="25837" y="77929"/>
                    </a:moveTo>
                    <a:cubicBezTo>
                      <a:pt x="17225" y="56757"/>
                      <a:pt x="8612" y="35585"/>
                      <a:pt x="0" y="14473"/>
                    </a:cubicBezTo>
                    <a:cubicBezTo>
                      <a:pt x="15311" y="9569"/>
                      <a:pt x="30262" y="4785"/>
                      <a:pt x="45214" y="0"/>
                    </a:cubicBezTo>
                    <a:cubicBezTo>
                      <a:pt x="45274" y="239"/>
                      <a:pt x="45334" y="419"/>
                      <a:pt x="45393" y="658"/>
                    </a:cubicBezTo>
                    <a:cubicBezTo>
                      <a:pt x="35107" y="6997"/>
                      <a:pt x="24820" y="13337"/>
                      <a:pt x="14593" y="19677"/>
                    </a:cubicBezTo>
                    <a:cubicBezTo>
                      <a:pt x="14354" y="19258"/>
                      <a:pt x="14114" y="18899"/>
                      <a:pt x="13875" y="18480"/>
                    </a:cubicBezTo>
                    <a:cubicBezTo>
                      <a:pt x="21172" y="14115"/>
                      <a:pt x="28408" y="9808"/>
                      <a:pt x="35705" y="5442"/>
                    </a:cubicBezTo>
                    <a:cubicBezTo>
                      <a:pt x="35585" y="5143"/>
                      <a:pt x="35466" y="4904"/>
                      <a:pt x="35346" y="4605"/>
                    </a:cubicBezTo>
                    <a:cubicBezTo>
                      <a:pt x="24461" y="8074"/>
                      <a:pt x="13576" y="11543"/>
                      <a:pt x="2213" y="15191"/>
                    </a:cubicBezTo>
                    <a:cubicBezTo>
                      <a:pt x="10586" y="35765"/>
                      <a:pt x="18720" y="55800"/>
                      <a:pt x="26913" y="75895"/>
                    </a:cubicBezTo>
                    <a:cubicBezTo>
                      <a:pt x="27451" y="75716"/>
                      <a:pt x="27990" y="75537"/>
                      <a:pt x="28528" y="75297"/>
                    </a:cubicBezTo>
                    <a:cubicBezTo>
                      <a:pt x="23384" y="62678"/>
                      <a:pt x="18241" y="49999"/>
                      <a:pt x="13098" y="37380"/>
                    </a:cubicBezTo>
                    <a:cubicBezTo>
                      <a:pt x="13636" y="37200"/>
                      <a:pt x="14114" y="36961"/>
                      <a:pt x="14653" y="36781"/>
                    </a:cubicBezTo>
                    <a:cubicBezTo>
                      <a:pt x="19736" y="49341"/>
                      <a:pt x="24880" y="61841"/>
                      <a:pt x="30143" y="74819"/>
                    </a:cubicBezTo>
                    <a:cubicBezTo>
                      <a:pt x="32834" y="73742"/>
                      <a:pt x="35107" y="72785"/>
                      <a:pt x="37798" y="71709"/>
                    </a:cubicBezTo>
                    <a:cubicBezTo>
                      <a:pt x="32415" y="58491"/>
                      <a:pt x="27033" y="45214"/>
                      <a:pt x="21650" y="31937"/>
                    </a:cubicBezTo>
                    <a:cubicBezTo>
                      <a:pt x="30860" y="26794"/>
                      <a:pt x="39652" y="21889"/>
                      <a:pt x="48504" y="16985"/>
                    </a:cubicBezTo>
                    <a:cubicBezTo>
                      <a:pt x="48683" y="17284"/>
                      <a:pt x="48862" y="17643"/>
                      <a:pt x="49042" y="17942"/>
                    </a:cubicBezTo>
                    <a:cubicBezTo>
                      <a:pt x="42583" y="21650"/>
                      <a:pt x="36363" y="25897"/>
                      <a:pt x="29605" y="28947"/>
                    </a:cubicBezTo>
                    <a:cubicBezTo>
                      <a:pt x="24461" y="31279"/>
                      <a:pt x="24102" y="33971"/>
                      <a:pt x="26495" y="39293"/>
                    </a:cubicBezTo>
                    <a:cubicBezTo>
                      <a:pt x="31100" y="49640"/>
                      <a:pt x="35167" y="60226"/>
                      <a:pt x="39831" y="71828"/>
                    </a:cubicBezTo>
                    <a:cubicBezTo>
                      <a:pt x="49221" y="68001"/>
                      <a:pt x="58551" y="64233"/>
                      <a:pt x="68718" y="60046"/>
                    </a:cubicBezTo>
                    <a:cubicBezTo>
                      <a:pt x="61542" y="42403"/>
                      <a:pt x="54006" y="23923"/>
                      <a:pt x="46530" y="5502"/>
                    </a:cubicBezTo>
                    <a:cubicBezTo>
                      <a:pt x="46889" y="5383"/>
                      <a:pt x="47307" y="5203"/>
                      <a:pt x="47666" y="5084"/>
                    </a:cubicBezTo>
                    <a:cubicBezTo>
                      <a:pt x="55382" y="24102"/>
                      <a:pt x="63097" y="43061"/>
                      <a:pt x="70931" y="62200"/>
                    </a:cubicBezTo>
                    <a:cubicBezTo>
                      <a:pt x="56039" y="67403"/>
                      <a:pt x="41028" y="72606"/>
                      <a:pt x="25837" y="7792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79" name="Vrije vorm: vorm 9278">
                <a:extLst>
                  <a:ext uri="{FF2B5EF4-FFF2-40B4-BE49-F238E27FC236}">
                    <a16:creationId xmlns:a16="http://schemas.microsoft.com/office/drawing/2014/main" id="{F07F2A13-83AD-46FB-B8E6-57509FD11461}"/>
                  </a:ext>
                </a:extLst>
              </p:cNvPr>
              <p:cNvSpPr/>
              <p:nvPr/>
            </p:nvSpPr>
            <p:spPr>
              <a:xfrm>
                <a:off x="5236799" y="1271900"/>
                <a:ext cx="68539" cy="76134"/>
              </a:xfrm>
              <a:custGeom>
                <a:avLst/>
                <a:gdLst>
                  <a:gd name="connsiteX0" fmla="*/ 68539 w 68539"/>
                  <a:gd name="connsiteY0" fmla="*/ 61063 h 76134"/>
                  <a:gd name="connsiteX1" fmla="*/ 25299 w 68539"/>
                  <a:gd name="connsiteY1" fmla="*/ 76135 h 76134"/>
                  <a:gd name="connsiteX2" fmla="*/ 0 w 68539"/>
                  <a:gd name="connsiteY2" fmla="*/ 13935 h 76134"/>
                  <a:gd name="connsiteX3" fmla="*/ 43660 w 68539"/>
                  <a:gd name="connsiteY3" fmla="*/ 0 h 76134"/>
                  <a:gd name="connsiteX4" fmla="*/ 44078 w 68539"/>
                  <a:gd name="connsiteY4" fmla="*/ 1136 h 76134"/>
                  <a:gd name="connsiteX5" fmla="*/ 2572 w 68539"/>
                  <a:gd name="connsiteY5" fmla="*/ 14653 h 76134"/>
                  <a:gd name="connsiteX6" fmla="*/ 26016 w 68539"/>
                  <a:gd name="connsiteY6" fmla="*/ 74400 h 76134"/>
                  <a:gd name="connsiteX7" fmla="*/ 28588 w 68539"/>
                  <a:gd name="connsiteY7" fmla="*/ 73324 h 76134"/>
                  <a:gd name="connsiteX8" fmla="*/ 8373 w 68539"/>
                  <a:gd name="connsiteY8" fmla="*/ 23624 h 76134"/>
                  <a:gd name="connsiteX9" fmla="*/ 42583 w 68539"/>
                  <a:gd name="connsiteY9" fmla="*/ 3588 h 76134"/>
                  <a:gd name="connsiteX10" fmla="*/ 46650 w 68539"/>
                  <a:gd name="connsiteY10" fmla="*/ 6938 h 76134"/>
                  <a:gd name="connsiteX11" fmla="*/ 64532 w 68539"/>
                  <a:gd name="connsiteY11" fmla="*/ 51016 h 76134"/>
                  <a:gd name="connsiteX12" fmla="*/ 68539 w 68539"/>
                  <a:gd name="connsiteY12" fmla="*/ 61063 h 76134"/>
                  <a:gd name="connsiteX13" fmla="*/ 42164 w 68539"/>
                  <a:gd name="connsiteY13" fmla="*/ 5801 h 76134"/>
                  <a:gd name="connsiteX14" fmla="*/ 13457 w 68539"/>
                  <a:gd name="connsiteY14" fmla="*/ 22129 h 76134"/>
                  <a:gd name="connsiteX15" fmla="*/ 12081 w 68539"/>
                  <a:gd name="connsiteY15" fmla="*/ 26734 h 76134"/>
                  <a:gd name="connsiteX16" fmla="*/ 27631 w 68539"/>
                  <a:gd name="connsiteY16" fmla="*/ 66446 h 76134"/>
                  <a:gd name="connsiteX17" fmla="*/ 32176 w 68539"/>
                  <a:gd name="connsiteY17" fmla="*/ 68958 h 76134"/>
                  <a:gd name="connsiteX18" fmla="*/ 62917 w 68539"/>
                  <a:gd name="connsiteY18" fmla="*/ 56637 h 76134"/>
                  <a:gd name="connsiteX19" fmla="*/ 42164 w 68539"/>
                  <a:gd name="connsiteY19" fmla="*/ 5801 h 76134"/>
                  <a:gd name="connsiteX20" fmla="*/ 65310 w 68539"/>
                  <a:gd name="connsiteY20" fmla="*/ 57893 h 76134"/>
                  <a:gd name="connsiteX21" fmla="*/ 65968 w 68539"/>
                  <a:gd name="connsiteY21" fmla="*/ 58192 h 76134"/>
                  <a:gd name="connsiteX22" fmla="*/ 44616 w 68539"/>
                  <a:gd name="connsiteY22" fmla="*/ 5742 h 76134"/>
                  <a:gd name="connsiteX23" fmla="*/ 44138 w 68539"/>
                  <a:gd name="connsiteY23" fmla="*/ 5921 h 76134"/>
                  <a:gd name="connsiteX24" fmla="*/ 65310 w 68539"/>
                  <a:gd name="connsiteY24" fmla="*/ 57893 h 76134"/>
                  <a:gd name="connsiteX25" fmla="*/ 31160 w 68539"/>
                  <a:gd name="connsiteY25" fmla="*/ 72187 h 76134"/>
                  <a:gd name="connsiteX26" fmla="*/ 31459 w 68539"/>
                  <a:gd name="connsiteY26" fmla="*/ 73025 h 76134"/>
                  <a:gd name="connsiteX27" fmla="*/ 63396 w 68539"/>
                  <a:gd name="connsiteY27" fmla="*/ 60046 h 76134"/>
                  <a:gd name="connsiteX28" fmla="*/ 63097 w 68539"/>
                  <a:gd name="connsiteY28" fmla="*/ 59209 h 76134"/>
                  <a:gd name="connsiteX29" fmla="*/ 31160 w 68539"/>
                  <a:gd name="connsiteY29" fmla="*/ 72187 h 7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8539" h="76134">
                    <a:moveTo>
                      <a:pt x="68539" y="61063"/>
                    </a:moveTo>
                    <a:cubicBezTo>
                      <a:pt x="54185" y="66087"/>
                      <a:pt x="39832" y="71111"/>
                      <a:pt x="25299" y="76135"/>
                    </a:cubicBezTo>
                    <a:cubicBezTo>
                      <a:pt x="16985" y="55681"/>
                      <a:pt x="8553" y="34927"/>
                      <a:pt x="0" y="13935"/>
                    </a:cubicBezTo>
                    <a:cubicBezTo>
                      <a:pt x="14773" y="9210"/>
                      <a:pt x="29186" y="4605"/>
                      <a:pt x="43660" y="0"/>
                    </a:cubicBezTo>
                    <a:cubicBezTo>
                      <a:pt x="43779" y="359"/>
                      <a:pt x="43899" y="778"/>
                      <a:pt x="44078" y="1136"/>
                    </a:cubicBezTo>
                    <a:cubicBezTo>
                      <a:pt x="30442" y="5562"/>
                      <a:pt x="16806" y="10048"/>
                      <a:pt x="2572" y="14653"/>
                    </a:cubicBezTo>
                    <a:cubicBezTo>
                      <a:pt x="10048" y="34987"/>
                      <a:pt x="17763" y="54783"/>
                      <a:pt x="26016" y="74400"/>
                    </a:cubicBezTo>
                    <a:cubicBezTo>
                      <a:pt x="26854" y="74041"/>
                      <a:pt x="27751" y="73682"/>
                      <a:pt x="28588" y="73324"/>
                    </a:cubicBezTo>
                    <a:cubicBezTo>
                      <a:pt x="21830" y="56757"/>
                      <a:pt x="15131" y="40190"/>
                      <a:pt x="8373" y="23624"/>
                    </a:cubicBezTo>
                    <a:cubicBezTo>
                      <a:pt x="20096" y="16686"/>
                      <a:pt x="31279" y="9988"/>
                      <a:pt x="42583" y="3588"/>
                    </a:cubicBezTo>
                    <a:cubicBezTo>
                      <a:pt x="43181" y="3230"/>
                      <a:pt x="45992" y="5442"/>
                      <a:pt x="46650" y="6938"/>
                    </a:cubicBezTo>
                    <a:cubicBezTo>
                      <a:pt x="52750" y="21590"/>
                      <a:pt x="58611" y="36303"/>
                      <a:pt x="64532" y="51016"/>
                    </a:cubicBezTo>
                    <a:cubicBezTo>
                      <a:pt x="65848" y="54365"/>
                      <a:pt x="67224" y="57654"/>
                      <a:pt x="68539" y="61063"/>
                    </a:cubicBezTo>
                    <a:close/>
                    <a:moveTo>
                      <a:pt x="42164" y="5801"/>
                    </a:moveTo>
                    <a:cubicBezTo>
                      <a:pt x="32356" y="11304"/>
                      <a:pt x="22787" y="16567"/>
                      <a:pt x="13457" y="22129"/>
                    </a:cubicBezTo>
                    <a:cubicBezTo>
                      <a:pt x="12440" y="22727"/>
                      <a:pt x="11603" y="25478"/>
                      <a:pt x="12081" y="26734"/>
                    </a:cubicBezTo>
                    <a:cubicBezTo>
                      <a:pt x="17045" y="40011"/>
                      <a:pt x="22248" y="53288"/>
                      <a:pt x="27631" y="66446"/>
                    </a:cubicBezTo>
                    <a:cubicBezTo>
                      <a:pt x="28169" y="67762"/>
                      <a:pt x="31040" y="69376"/>
                      <a:pt x="32176" y="68958"/>
                    </a:cubicBezTo>
                    <a:cubicBezTo>
                      <a:pt x="42344" y="65130"/>
                      <a:pt x="52391" y="60944"/>
                      <a:pt x="62917" y="56637"/>
                    </a:cubicBezTo>
                    <a:cubicBezTo>
                      <a:pt x="56339" y="40669"/>
                      <a:pt x="49401" y="23624"/>
                      <a:pt x="42164" y="5801"/>
                    </a:cubicBezTo>
                    <a:close/>
                    <a:moveTo>
                      <a:pt x="65310" y="57893"/>
                    </a:moveTo>
                    <a:cubicBezTo>
                      <a:pt x="65549" y="58013"/>
                      <a:pt x="65788" y="58073"/>
                      <a:pt x="65968" y="58192"/>
                    </a:cubicBezTo>
                    <a:cubicBezTo>
                      <a:pt x="58850" y="40729"/>
                      <a:pt x="51733" y="23205"/>
                      <a:pt x="44616" y="5742"/>
                    </a:cubicBezTo>
                    <a:cubicBezTo>
                      <a:pt x="44437" y="5801"/>
                      <a:pt x="44317" y="5861"/>
                      <a:pt x="44138" y="5921"/>
                    </a:cubicBezTo>
                    <a:cubicBezTo>
                      <a:pt x="51195" y="23205"/>
                      <a:pt x="58253" y="40549"/>
                      <a:pt x="65310" y="57893"/>
                    </a:cubicBezTo>
                    <a:close/>
                    <a:moveTo>
                      <a:pt x="31160" y="72187"/>
                    </a:moveTo>
                    <a:cubicBezTo>
                      <a:pt x="31279" y="72486"/>
                      <a:pt x="31339" y="72785"/>
                      <a:pt x="31459" y="73025"/>
                    </a:cubicBezTo>
                    <a:cubicBezTo>
                      <a:pt x="42105" y="68719"/>
                      <a:pt x="52750" y="64353"/>
                      <a:pt x="63396" y="60046"/>
                    </a:cubicBezTo>
                    <a:cubicBezTo>
                      <a:pt x="63276" y="59747"/>
                      <a:pt x="63216" y="59508"/>
                      <a:pt x="63097" y="59209"/>
                    </a:cubicBezTo>
                    <a:cubicBezTo>
                      <a:pt x="52391" y="63575"/>
                      <a:pt x="41746" y="67881"/>
                      <a:pt x="31160" y="7218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80" name="Vrije vorm: vorm 9279">
                <a:extLst>
                  <a:ext uri="{FF2B5EF4-FFF2-40B4-BE49-F238E27FC236}">
                    <a16:creationId xmlns:a16="http://schemas.microsoft.com/office/drawing/2014/main" id="{E1D33301-5524-406C-A3AE-B164F6ABF38A}"/>
                  </a:ext>
                </a:extLst>
              </p:cNvPr>
              <p:cNvSpPr/>
              <p:nvPr/>
            </p:nvSpPr>
            <p:spPr>
              <a:xfrm>
                <a:off x="4931424" y="1182010"/>
                <a:ext cx="80321" cy="81935"/>
              </a:xfrm>
              <a:custGeom>
                <a:avLst/>
                <a:gdLst>
                  <a:gd name="connsiteX0" fmla="*/ 53348 w 80321"/>
                  <a:gd name="connsiteY0" fmla="*/ 957 h 81935"/>
                  <a:gd name="connsiteX1" fmla="*/ 44377 w 80321"/>
                  <a:gd name="connsiteY1" fmla="*/ 3588 h 81935"/>
                  <a:gd name="connsiteX2" fmla="*/ 60645 w 80321"/>
                  <a:gd name="connsiteY2" fmla="*/ 43599 h 81935"/>
                  <a:gd name="connsiteX3" fmla="*/ 18899 w 80321"/>
                  <a:gd name="connsiteY3" fmla="*/ 55023 h 81935"/>
                  <a:gd name="connsiteX4" fmla="*/ 25239 w 80321"/>
                  <a:gd name="connsiteY4" fmla="*/ 70692 h 81935"/>
                  <a:gd name="connsiteX5" fmla="*/ 64293 w 80321"/>
                  <a:gd name="connsiteY5" fmla="*/ 59987 h 81935"/>
                  <a:gd name="connsiteX6" fmla="*/ 64652 w 80321"/>
                  <a:gd name="connsiteY6" fmla="*/ 61063 h 81935"/>
                  <a:gd name="connsiteX7" fmla="*/ 26196 w 80321"/>
                  <a:gd name="connsiteY7" fmla="*/ 72128 h 81935"/>
                  <a:gd name="connsiteX8" fmla="*/ 34569 w 80321"/>
                  <a:gd name="connsiteY8" fmla="*/ 78706 h 81935"/>
                  <a:gd name="connsiteX9" fmla="*/ 78647 w 80321"/>
                  <a:gd name="connsiteY9" fmla="*/ 66027 h 81935"/>
                  <a:gd name="connsiteX10" fmla="*/ 53647 w 80321"/>
                  <a:gd name="connsiteY10" fmla="*/ 4545 h 81935"/>
                  <a:gd name="connsiteX11" fmla="*/ 54724 w 80321"/>
                  <a:gd name="connsiteY11" fmla="*/ 4127 h 81935"/>
                  <a:gd name="connsiteX12" fmla="*/ 80321 w 80321"/>
                  <a:gd name="connsiteY12" fmla="*/ 66984 h 81935"/>
                  <a:gd name="connsiteX13" fmla="*/ 27811 w 80321"/>
                  <a:gd name="connsiteY13" fmla="*/ 81936 h 81935"/>
                  <a:gd name="connsiteX14" fmla="*/ 0 w 80321"/>
                  <a:gd name="connsiteY14" fmla="*/ 13516 h 81935"/>
                  <a:gd name="connsiteX15" fmla="*/ 52930 w 80321"/>
                  <a:gd name="connsiteY15" fmla="*/ 0 h 81935"/>
                  <a:gd name="connsiteX16" fmla="*/ 53348 w 80321"/>
                  <a:gd name="connsiteY16" fmla="*/ 957 h 81935"/>
                  <a:gd name="connsiteX17" fmla="*/ 18361 w 80321"/>
                  <a:gd name="connsiteY17" fmla="*/ 53767 h 81935"/>
                  <a:gd name="connsiteX18" fmla="*/ 58552 w 80321"/>
                  <a:gd name="connsiteY18" fmla="*/ 42702 h 81935"/>
                  <a:gd name="connsiteX19" fmla="*/ 42762 w 80321"/>
                  <a:gd name="connsiteY19" fmla="*/ 3828 h 81935"/>
                  <a:gd name="connsiteX20" fmla="*/ 2333 w 80321"/>
                  <a:gd name="connsiteY20" fmla="*/ 14294 h 81935"/>
                  <a:gd name="connsiteX21" fmla="*/ 18361 w 80321"/>
                  <a:gd name="connsiteY21" fmla="*/ 53767 h 8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0321" h="81935">
                    <a:moveTo>
                      <a:pt x="53348" y="957"/>
                    </a:moveTo>
                    <a:cubicBezTo>
                      <a:pt x="50477" y="1794"/>
                      <a:pt x="47547" y="2632"/>
                      <a:pt x="44377" y="3588"/>
                    </a:cubicBezTo>
                    <a:cubicBezTo>
                      <a:pt x="49879" y="17165"/>
                      <a:pt x="55262" y="30382"/>
                      <a:pt x="60645" y="43599"/>
                    </a:cubicBezTo>
                    <a:cubicBezTo>
                      <a:pt x="46829" y="47367"/>
                      <a:pt x="33074" y="51135"/>
                      <a:pt x="18899" y="55023"/>
                    </a:cubicBezTo>
                    <a:cubicBezTo>
                      <a:pt x="20992" y="60226"/>
                      <a:pt x="22966" y="65010"/>
                      <a:pt x="25239" y="70692"/>
                    </a:cubicBezTo>
                    <a:cubicBezTo>
                      <a:pt x="38157" y="67164"/>
                      <a:pt x="51195" y="63575"/>
                      <a:pt x="64293" y="59987"/>
                    </a:cubicBezTo>
                    <a:cubicBezTo>
                      <a:pt x="64412" y="60346"/>
                      <a:pt x="64532" y="60704"/>
                      <a:pt x="64652" y="61063"/>
                    </a:cubicBezTo>
                    <a:cubicBezTo>
                      <a:pt x="51793" y="64771"/>
                      <a:pt x="38994" y="68419"/>
                      <a:pt x="26196" y="72128"/>
                    </a:cubicBezTo>
                    <a:cubicBezTo>
                      <a:pt x="28169" y="80620"/>
                      <a:pt x="28229" y="80560"/>
                      <a:pt x="34569" y="78706"/>
                    </a:cubicBezTo>
                    <a:cubicBezTo>
                      <a:pt x="49042" y="74460"/>
                      <a:pt x="63575" y="70393"/>
                      <a:pt x="78647" y="66027"/>
                    </a:cubicBezTo>
                    <a:cubicBezTo>
                      <a:pt x="70214" y="45334"/>
                      <a:pt x="61961" y="24940"/>
                      <a:pt x="53647" y="4545"/>
                    </a:cubicBezTo>
                    <a:cubicBezTo>
                      <a:pt x="54006" y="4426"/>
                      <a:pt x="54365" y="4246"/>
                      <a:pt x="54724" y="4127"/>
                    </a:cubicBezTo>
                    <a:cubicBezTo>
                      <a:pt x="63216" y="25059"/>
                      <a:pt x="71769" y="45992"/>
                      <a:pt x="80321" y="66984"/>
                    </a:cubicBezTo>
                    <a:cubicBezTo>
                      <a:pt x="63097" y="71888"/>
                      <a:pt x="45573" y="76852"/>
                      <a:pt x="27811" y="81936"/>
                    </a:cubicBezTo>
                    <a:cubicBezTo>
                      <a:pt x="18540" y="59209"/>
                      <a:pt x="9330" y="36542"/>
                      <a:pt x="0" y="13516"/>
                    </a:cubicBezTo>
                    <a:cubicBezTo>
                      <a:pt x="17643" y="9031"/>
                      <a:pt x="35286" y="4486"/>
                      <a:pt x="52930" y="0"/>
                    </a:cubicBezTo>
                    <a:cubicBezTo>
                      <a:pt x="53049" y="299"/>
                      <a:pt x="53169" y="658"/>
                      <a:pt x="53348" y="957"/>
                    </a:cubicBezTo>
                    <a:close/>
                    <a:moveTo>
                      <a:pt x="18361" y="53767"/>
                    </a:moveTo>
                    <a:cubicBezTo>
                      <a:pt x="31817" y="50059"/>
                      <a:pt x="45035" y="46410"/>
                      <a:pt x="58552" y="42702"/>
                    </a:cubicBezTo>
                    <a:cubicBezTo>
                      <a:pt x="53109" y="29365"/>
                      <a:pt x="48025" y="16806"/>
                      <a:pt x="42762" y="3828"/>
                    </a:cubicBezTo>
                    <a:cubicBezTo>
                      <a:pt x="29306" y="7296"/>
                      <a:pt x="16029" y="10765"/>
                      <a:pt x="2333" y="14294"/>
                    </a:cubicBezTo>
                    <a:cubicBezTo>
                      <a:pt x="7715" y="27452"/>
                      <a:pt x="12859" y="40190"/>
                      <a:pt x="18361" y="5376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81" name="Vrije vorm: vorm 9280">
                <a:extLst>
                  <a:ext uri="{FF2B5EF4-FFF2-40B4-BE49-F238E27FC236}">
                    <a16:creationId xmlns:a16="http://schemas.microsoft.com/office/drawing/2014/main" id="{D6086F89-DC73-4F6D-BB36-89E975209C59}"/>
                  </a:ext>
                </a:extLst>
              </p:cNvPr>
              <p:cNvSpPr/>
              <p:nvPr/>
            </p:nvSpPr>
            <p:spPr>
              <a:xfrm>
                <a:off x="5125498" y="1307007"/>
                <a:ext cx="72725" cy="80201"/>
              </a:xfrm>
              <a:custGeom>
                <a:avLst/>
                <a:gdLst>
                  <a:gd name="connsiteX0" fmla="*/ 68898 w 72725"/>
                  <a:gd name="connsiteY0" fmla="*/ 65070 h 80201"/>
                  <a:gd name="connsiteX1" fmla="*/ 26435 w 72725"/>
                  <a:gd name="connsiteY1" fmla="*/ 80201 h 80201"/>
                  <a:gd name="connsiteX2" fmla="*/ 0 w 72725"/>
                  <a:gd name="connsiteY2" fmla="*/ 15251 h 80201"/>
                  <a:gd name="connsiteX3" fmla="*/ 47188 w 72725"/>
                  <a:gd name="connsiteY3" fmla="*/ 0 h 80201"/>
                  <a:gd name="connsiteX4" fmla="*/ 72726 w 72725"/>
                  <a:gd name="connsiteY4" fmla="*/ 62798 h 80201"/>
                  <a:gd name="connsiteX5" fmla="*/ 72008 w 72725"/>
                  <a:gd name="connsiteY5" fmla="*/ 63037 h 80201"/>
                  <a:gd name="connsiteX6" fmla="*/ 51195 w 72725"/>
                  <a:gd name="connsiteY6" fmla="*/ 11782 h 80201"/>
                  <a:gd name="connsiteX7" fmla="*/ 38097 w 72725"/>
                  <a:gd name="connsiteY7" fmla="*/ 4486 h 80201"/>
                  <a:gd name="connsiteX8" fmla="*/ 2273 w 72725"/>
                  <a:gd name="connsiteY8" fmla="*/ 15909 h 80201"/>
                  <a:gd name="connsiteX9" fmla="*/ 8911 w 72725"/>
                  <a:gd name="connsiteY9" fmla="*/ 32176 h 80201"/>
                  <a:gd name="connsiteX10" fmla="*/ 24820 w 72725"/>
                  <a:gd name="connsiteY10" fmla="*/ 27571 h 80201"/>
                  <a:gd name="connsiteX11" fmla="*/ 25179 w 72725"/>
                  <a:gd name="connsiteY11" fmla="*/ 28588 h 80201"/>
                  <a:gd name="connsiteX12" fmla="*/ 9390 w 72725"/>
                  <a:gd name="connsiteY12" fmla="*/ 33791 h 80201"/>
                  <a:gd name="connsiteX13" fmla="*/ 26196 w 72725"/>
                  <a:gd name="connsiteY13" fmla="*/ 75178 h 80201"/>
                  <a:gd name="connsiteX14" fmla="*/ 48145 w 72725"/>
                  <a:gd name="connsiteY14" fmla="*/ 66266 h 80201"/>
                  <a:gd name="connsiteX15" fmla="*/ 26375 w 72725"/>
                  <a:gd name="connsiteY15" fmla="*/ 12799 h 80201"/>
                  <a:gd name="connsiteX16" fmla="*/ 27930 w 72725"/>
                  <a:gd name="connsiteY16" fmla="*/ 12141 h 80201"/>
                  <a:gd name="connsiteX17" fmla="*/ 30143 w 72725"/>
                  <a:gd name="connsiteY17" fmla="*/ 17583 h 80201"/>
                  <a:gd name="connsiteX18" fmla="*/ 49162 w 72725"/>
                  <a:gd name="connsiteY18" fmla="*/ 65070 h 80201"/>
                  <a:gd name="connsiteX19" fmla="*/ 56518 w 72725"/>
                  <a:gd name="connsiteY19" fmla="*/ 67463 h 80201"/>
                  <a:gd name="connsiteX20" fmla="*/ 43121 w 72725"/>
                  <a:gd name="connsiteY20" fmla="*/ 34509 h 80201"/>
                  <a:gd name="connsiteX21" fmla="*/ 44138 w 72725"/>
                  <a:gd name="connsiteY21" fmla="*/ 34030 h 80201"/>
                  <a:gd name="connsiteX22" fmla="*/ 57774 w 72725"/>
                  <a:gd name="connsiteY22" fmla="*/ 67522 h 80201"/>
                  <a:gd name="connsiteX23" fmla="*/ 68360 w 72725"/>
                  <a:gd name="connsiteY23" fmla="*/ 63994 h 80201"/>
                  <a:gd name="connsiteX24" fmla="*/ 68898 w 72725"/>
                  <a:gd name="connsiteY24" fmla="*/ 65070 h 80201"/>
                  <a:gd name="connsiteX25" fmla="*/ 48623 w 72725"/>
                  <a:gd name="connsiteY25" fmla="*/ 69855 h 80201"/>
                  <a:gd name="connsiteX26" fmla="*/ 48145 w 72725"/>
                  <a:gd name="connsiteY26" fmla="*/ 69197 h 80201"/>
                  <a:gd name="connsiteX27" fmla="*/ 27212 w 72725"/>
                  <a:gd name="connsiteY27" fmla="*/ 76374 h 80201"/>
                  <a:gd name="connsiteX28" fmla="*/ 27930 w 72725"/>
                  <a:gd name="connsiteY28" fmla="*/ 78288 h 80201"/>
                  <a:gd name="connsiteX29" fmla="*/ 48623 w 72725"/>
                  <a:gd name="connsiteY29" fmla="*/ 69855 h 80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725" h="80201">
                    <a:moveTo>
                      <a:pt x="68898" y="65070"/>
                    </a:moveTo>
                    <a:cubicBezTo>
                      <a:pt x="54784" y="70094"/>
                      <a:pt x="40669" y="75178"/>
                      <a:pt x="26435" y="80201"/>
                    </a:cubicBezTo>
                    <a:cubicBezTo>
                      <a:pt x="17643" y="58551"/>
                      <a:pt x="8852" y="36961"/>
                      <a:pt x="0" y="15251"/>
                    </a:cubicBezTo>
                    <a:cubicBezTo>
                      <a:pt x="16088" y="10048"/>
                      <a:pt x="31877" y="4904"/>
                      <a:pt x="47188" y="0"/>
                    </a:cubicBezTo>
                    <a:cubicBezTo>
                      <a:pt x="55681" y="20933"/>
                      <a:pt x="64233" y="41865"/>
                      <a:pt x="72726" y="62798"/>
                    </a:cubicBezTo>
                    <a:cubicBezTo>
                      <a:pt x="72486" y="62857"/>
                      <a:pt x="72247" y="62977"/>
                      <a:pt x="72008" y="63037"/>
                    </a:cubicBezTo>
                    <a:cubicBezTo>
                      <a:pt x="65070" y="45932"/>
                      <a:pt x="58013" y="28887"/>
                      <a:pt x="51195" y="11782"/>
                    </a:cubicBezTo>
                    <a:cubicBezTo>
                      <a:pt x="47128" y="1615"/>
                      <a:pt x="47248" y="1555"/>
                      <a:pt x="38097" y="4486"/>
                    </a:cubicBezTo>
                    <a:cubicBezTo>
                      <a:pt x="26315" y="8253"/>
                      <a:pt x="14533" y="12021"/>
                      <a:pt x="2273" y="15909"/>
                    </a:cubicBezTo>
                    <a:cubicBezTo>
                      <a:pt x="4545" y="21471"/>
                      <a:pt x="6639" y="26614"/>
                      <a:pt x="8911" y="32176"/>
                    </a:cubicBezTo>
                    <a:cubicBezTo>
                      <a:pt x="14174" y="30621"/>
                      <a:pt x="19497" y="29066"/>
                      <a:pt x="24820" y="27571"/>
                    </a:cubicBezTo>
                    <a:cubicBezTo>
                      <a:pt x="24940" y="27930"/>
                      <a:pt x="25059" y="28229"/>
                      <a:pt x="25179" y="28588"/>
                    </a:cubicBezTo>
                    <a:cubicBezTo>
                      <a:pt x="20095" y="30262"/>
                      <a:pt x="15012" y="31937"/>
                      <a:pt x="9390" y="33791"/>
                    </a:cubicBezTo>
                    <a:cubicBezTo>
                      <a:pt x="15012" y="47547"/>
                      <a:pt x="20454" y="60944"/>
                      <a:pt x="26196" y="75178"/>
                    </a:cubicBezTo>
                    <a:cubicBezTo>
                      <a:pt x="33193" y="72307"/>
                      <a:pt x="40251" y="69496"/>
                      <a:pt x="48145" y="66266"/>
                    </a:cubicBezTo>
                    <a:cubicBezTo>
                      <a:pt x="41088" y="48982"/>
                      <a:pt x="33731" y="30861"/>
                      <a:pt x="26375" y="12799"/>
                    </a:cubicBezTo>
                    <a:cubicBezTo>
                      <a:pt x="26913" y="12560"/>
                      <a:pt x="27392" y="12380"/>
                      <a:pt x="27930" y="12141"/>
                    </a:cubicBezTo>
                    <a:cubicBezTo>
                      <a:pt x="28648" y="13935"/>
                      <a:pt x="29425" y="15729"/>
                      <a:pt x="30143" y="17583"/>
                    </a:cubicBezTo>
                    <a:cubicBezTo>
                      <a:pt x="36483" y="33432"/>
                      <a:pt x="42942" y="49221"/>
                      <a:pt x="49162" y="65070"/>
                    </a:cubicBezTo>
                    <a:cubicBezTo>
                      <a:pt x="50836" y="69376"/>
                      <a:pt x="52810" y="70453"/>
                      <a:pt x="56518" y="67463"/>
                    </a:cubicBezTo>
                    <a:cubicBezTo>
                      <a:pt x="52092" y="56518"/>
                      <a:pt x="47607" y="45513"/>
                      <a:pt x="43121" y="34509"/>
                    </a:cubicBezTo>
                    <a:cubicBezTo>
                      <a:pt x="43480" y="34329"/>
                      <a:pt x="43839" y="34210"/>
                      <a:pt x="44138" y="34030"/>
                    </a:cubicBezTo>
                    <a:cubicBezTo>
                      <a:pt x="48623" y="44975"/>
                      <a:pt x="53049" y="55980"/>
                      <a:pt x="57774" y="67522"/>
                    </a:cubicBezTo>
                    <a:cubicBezTo>
                      <a:pt x="61661" y="66207"/>
                      <a:pt x="65010" y="65130"/>
                      <a:pt x="68360" y="63994"/>
                    </a:cubicBezTo>
                    <a:cubicBezTo>
                      <a:pt x="68539" y="64353"/>
                      <a:pt x="68718" y="64711"/>
                      <a:pt x="68898" y="65070"/>
                    </a:cubicBezTo>
                    <a:close/>
                    <a:moveTo>
                      <a:pt x="48623" y="69855"/>
                    </a:moveTo>
                    <a:cubicBezTo>
                      <a:pt x="48444" y="69616"/>
                      <a:pt x="48324" y="69436"/>
                      <a:pt x="48145" y="69197"/>
                    </a:cubicBezTo>
                    <a:cubicBezTo>
                      <a:pt x="41147" y="71589"/>
                      <a:pt x="34210" y="73982"/>
                      <a:pt x="27212" y="76374"/>
                    </a:cubicBezTo>
                    <a:cubicBezTo>
                      <a:pt x="27452" y="77032"/>
                      <a:pt x="27691" y="77630"/>
                      <a:pt x="27930" y="78288"/>
                    </a:cubicBezTo>
                    <a:cubicBezTo>
                      <a:pt x="34808" y="75477"/>
                      <a:pt x="41686" y="72666"/>
                      <a:pt x="48623" y="6985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82" name="Vrije vorm: vorm 9281">
                <a:extLst>
                  <a:ext uri="{FF2B5EF4-FFF2-40B4-BE49-F238E27FC236}">
                    <a16:creationId xmlns:a16="http://schemas.microsoft.com/office/drawing/2014/main" id="{F4114DE0-D848-455A-BA9A-9C927D86A287}"/>
                  </a:ext>
                </a:extLst>
              </p:cNvPr>
              <p:cNvSpPr/>
              <p:nvPr/>
            </p:nvSpPr>
            <p:spPr>
              <a:xfrm>
                <a:off x="5060189" y="1148757"/>
                <a:ext cx="75177" cy="77928"/>
              </a:xfrm>
              <a:custGeom>
                <a:avLst/>
                <a:gdLst>
                  <a:gd name="connsiteX0" fmla="*/ 49042 w 75177"/>
                  <a:gd name="connsiteY0" fmla="*/ 0 h 77928"/>
                  <a:gd name="connsiteX1" fmla="*/ 75178 w 75177"/>
                  <a:gd name="connsiteY1" fmla="*/ 64233 h 77928"/>
                  <a:gd name="connsiteX2" fmla="*/ 26614 w 75177"/>
                  <a:gd name="connsiteY2" fmla="*/ 77929 h 77928"/>
                  <a:gd name="connsiteX3" fmla="*/ 0 w 75177"/>
                  <a:gd name="connsiteY3" fmla="*/ 12560 h 77928"/>
                  <a:gd name="connsiteX4" fmla="*/ 49042 w 75177"/>
                  <a:gd name="connsiteY4" fmla="*/ 0 h 77928"/>
                  <a:gd name="connsiteX5" fmla="*/ 20693 w 75177"/>
                  <a:gd name="connsiteY5" fmla="*/ 12799 h 77928"/>
                  <a:gd name="connsiteX6" fmla="*/ 21650 w 75177"/>
                  <a:gd name="connsiteY6" fmla="*/ 12440 h 77928"/>
                  <a:gd name="connsiteX7" fmla="*/ 36123 w 75177"/>
                  <a:gd name="connsiteY7" fmla="*/ 48085 h 77928"/>
                  <a:gd name="connsiteX8" fmla="*/ 17763 w 75177"/>
                  <a:gd name="connsiteY8" fmla="*/ 53109 h 77928"/>
                  <a:gd name="connsiteX9" fmla="*/ 21650 w 75177"/>
                  <a:gd name="connsiteY9" fmla="*/ 62798 h 77928"/>
                  <a:gd name="connsiteX10" fmla="*/ 28767 w 75177"/>
                  <a:gd name="connsiteY10" fmla="*/ 66924 h 77928"/>
                  <a:gd name="connsiteX11" fmla="*/ 40310 w 75177"/>
                  <a:gd name="connsiteY11" fmla="*/ 63695 h 77928"/>
                  <a:gd name="connsiteX12" fmla="*/ 40609 w 75177"/>
                  <a:gd name="connsiteY12" fmla="*/ 64711 h 77928"/>
                  <a:gd name="connsiteX13" fmla="*/ 24282 w 75177"/>
                  <a:gd name="connsiteY13" fmla="*/ 69675 h 77928"/>
                  <a:gd name="connsiteX14" fmla="*/ 30382 w 75177"/>
                  <a:gd name="connsiteY14" fmla="*/ 75716 h 77928"/>
                  <a:gd name="connsiteX15" fmla="*/ 51733 w 75177"/>
                  <a:gd name="connsiteY15" fmla="*/ 69436 h 77928"/>
                  <a:gd name="connsiteX16" fmla="*/ 27511 w 75177"/>
                  <a:gd name="connsiteY16" fmla="*/ 9868 h 77928"/>
                  <a:gd name="connsiteX17" fmla="*/ 28648 w 75177"/>
                  <a:gd name="connsiteY17" fmla="*/ 9450 h 77928"/>
                  <a:gd name="connsiteX18" fmla="*/ 52929 w 75177"/>
                  <a:gd name="connsiteY18" fmla="*/ 69137 h 77928"/>
                  <a:gd name="connsiteX19" fmla="*/ 73084 w 75177"/>
                  <a:gd name="connsiteY19" fmla="*/ 63455 h 77928"/>
                  <a:gd name="connsiteX20" fmla="*/ 48025 w 75177"/>
                  <a:gd name="connsiteY20" fmla="*/ 1794 h 77928"/>
                  <a:gd name="connsiteX21" fmla="*/ 2093 w 75177"/>
                  <a:gd name="connsiteY21" fmla="*/ 13636 h 77928"/>
                  <a:gd name="connsiteX22" fmla="*/ 16626 w 75177"/>
                  <a:gd name="connsiteY22" fmla="*/ 49102 h 77928"/>
                  <a:gd name="connsiteX23" fmla="*/ 19497 w 75177"/>
                  <a:gd name="connsiteY23" fmla="*/ 51135 h 77928"/>
                  <a:gd name="connsiteX24" fmla="*/ 34628 w 75177"/>
                  <a:gd name="connsiteY24" fmla="*/ 46949 h 77928"/>
                  <a:gd name="connsiteX25" fmla="*/ 20693 w 75177"/>
                  <a:gd name="connsiteY25" fmla="*/ 12799 h 7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177" h="77928">
                    <a:moveTo>
                      <a:pt x="49042" y="0"/>
                    </a:moveTo>
                    <a:cubicBezTo>
                      <a:pt x="57833" y="21531"/>
                      <a:pt x="66506" y="42882"/>
                      <a:pt x="75178" y="64233"/>
                    </a:cubicBezTo>
                    <a:cubicBezTo>
                      <a:pt x="58910" y="68838"/>
                      <a:pt x="42942" y="73324"/>
                      <a:pt x="26614" y="77929"/>
                    </a:cubicBezTo>
                    <a:cubicBezTo>
                      <a:pt x="17882" y="56398"/>
                      <a:pt x="8971" y="34569"/>
                      <a:pt x="0" y="12560"/>
                    </a:cubicBezTo>
                    <a:cubicBezTo>
                      <a:pt x="16387" y="8373"/>
                      <a:pt x="32595" y="4246"/>
                      <a:pt x="49042" y="0"/>
                    </a:cubicBezTo>
                    <a:close/>
                    <a:moveTo>
                      <a:pt x="20693" y="12799"/>
                    </a:moveTo>
                    <a:cubicBezTo>
                      <a:pt x="20992" y="12679"/>
                      <a:pt x="21291" y="12560"/>
                      <a:pt x="21650" y="12440"/>
                    </a:cubicBezTo>
                    <a:cubicBezTo>
                      <a:pt x="26495" y="24342"/>
                      <a:pt x="31339" y="36243"/>
                      <a:pt x="36123" y="48085"/>
                    </a:cubicBezTo>
                    <a:cubicBezTo>
                      <a:pt x="30143" y="49700"/>
                      <a:pt x="24282" y="51315"/>
                      <a:pt x="17763" y="53109"/>
                    </a:cubicBezTo>
                    <a:cubicBezTo>
                      <a:pt x="19258" y="56817"/>
                      <a:pt x="20753" y="59747"/>
                      <a:pt x="21650" y="62798"/>
                    </a:cubicBezTo>
                    <a:cubicBezTo>
                      <a:pt x="22906" y="67104"/>
                      <a:pt x="25059" y="68180"/>
                      <a:pt x="28767" y="66924"/>
                    </a:cubicBezTo>
                    <a:cubicBezTo>
                      <a:pt x="32535" y="65668"/>
                      <a:pt x="36422" y="64771"/>
                      <a:pt x="40310" y="63695"/>
                    </a:cubicBezTo>
                    <a:cubicBezTo>
                      <a:pt x="40430" y="64054"/>
                      <a:pt x="40490" y="64353"/>
                      <a:pt x="40609" y="64711"/>
                    </a:cubicBezTo>
                    <a:cubicBezTo>
                      <a:pt x="35466" y="66266"/>
                      <a:pt x="30322" y="67821"/>
                      <a:pt x="24282" y="69675"/>
                    </a:cubicBezTo>
                    <a:cubicBezTo>
                      <a:pt x="26375" y="72486"/>
                      <a:pt x="25418" y="77091"/>
                      <a:pt x="30382" y="75716"/>
                    </a:cubicBezTo>
                    <a:cubicBezTo>
                      <a:pt x="37140" y="73742"/>
                      <a:pt x="43958" y="71769"/>
                      <a:pt x="51733" y="69436"/>
                    </a:cubicBezTo>
                    <a:cubicBezTo>
                      <a:pt x="43539" y="49341"/>
                      <a:pt x="35526" y="29605"/>
                      <a:pt x="27511" y="9868"/>
                    </a:cubicBezTo>
                    <a:cubicBezTo>
                      <a:pt x="27870" y="9749"/>
                      <a:pt x="28289" y="9569"/>
                      <a:pt x="28648" y="9450"/>
                    </a:cubicBezTo>
                    <a:cubicBezTo>
                      <a:pt x="36722" y="29246"/>
                      <a:pt x="44796" y="49102"/>
                      <a:pt x="52929" y="69137"/>
                    </a:cubicBezTo>
                    <a:cubicBezTo>
                      <a:pt x="59747" y="67223"/>
                      <a:pt x="66147" y="65369"/>
                      <a:pt x="73084" y="63455"/>
                    </a:cubicBezTo>
                    <a:cubicBezTo>
                      <a:pt x="64592" y="42643"/>
                      <a:pt x="56398" y="22428"/>
                      <a:pt x="48025" y="1794"/>
                    </a:cubicBezTo>
                    <a:cubicBezTo>
                      <a:pt x="32894" y="5682"/>
                      <a:pt x="17882" y="9569"/>
                      <a:pt x="2093" y="13636"/>
                    </a:cubicBezTo>
                    <a:cubicBezTo>
                      <a:pt x="7057" y="25897"/>
                      <a:pt x="11782" y="37559"/>
                      <a:pt x="16626" y="49102"/>
                    </a:cubicBezTo>
                    <a:cubicBezTo>
                      <a:pt x="17045" y="50059"/>
                      <a:pt x="18720" y="51315"/>
                      <a:pt x="19497" y="51135"/>
                    </a:cubicBezTo>
                    <a:cubicBezTo>
                      <a:pt x="24342" y="49999"/>
                      <a:pt x="29126" y="48504"/>
                      <a:pt x="34628" y="46949"/>
                    </a:cubicBezTo>
                    <a:cubicBezTo>
                      <a:pt x="29665" y="34868"/>
                      <a:pt x="25179" y="23803"/>
                      <a:pt x="20693" y="1279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83" name="Vrije vorm: vorm 9282">
                <a:extLst>
                  <a:ext uri="{FF2B5EF4-FFF2-40B4-BE49-F238E27FC236}">
                    <a16:creationId xmlns:a16="http://schemas.microsoft.com/office/drawing/2014/main" id="{EBB68411-0556-4741-B644-367D0D2C9E32}"/>
                  </a:ext>
                </a:extLst>
              </p:cNvPr>
              <p:cNvSpPr/>
              <p:nvPr/>
            </p:nvSpPr>
            <p:spPr>
              <a:xfrm>
                <a:off x="4696202" y="2237368"/>
                <a:ext cx="68359" cy="132173"/>
              </a:xfrm>
              <a:custGeom>
                <a:avLst/>
                <a:gdLst>
                  <a:gd name="connsiteX0" fmla="*/ 19916 w 68359"/>
                  <a:gd name="connsiteY0" fmla="*/ 20992 h 132173"/>
                  <a:gd name="connsiteX1" fmla="*/ 63097 w 68359"/>
                  <a:gd name="connsiteY1" fmla="*/ 127090 h 132173"/>
                  <a:gd name="connsiteX2" fmla="*/ 61900 w 68359"/>
                  <a:gd name="connsiteY2" fmla="*/ 127569 h 132173"/>
                  <a:gd name="connsiteX3" fmla="*/ 18361 w 68359"/>
                  <a:gd name="connsiteY3" fmla="*/ 20574 h 132173"/>
                  <a:gd name="connsiteX4" fmla="*/ 12141 w 68359"/>
                  <a:gd name="connsiteY4" fmla="*/ 24401 h 132173"/>
                  <a:gd name="connsiteX5" fmla="*/ 51554 w 68359"/>
                  <a:gd name="connsiteY5" fmla="*/ 121289 h 132173"/>
                  <a:gd name="connsiteX6" fmla="*/ 51195 w 68359"/>
                  <a:gd name="connsiteY6" fmla="*/ 121469 h 132173"/>
                  <a:gd name="connsiteX7" fmla="*/ 0 w 68359"/>
                  <a:gd name="connsiteY7" fmla="*/ 538 h 132173"/>
                  <a:gd name="connsiteX8" fmla="*/ 1076 w 68359"/>
                  <a:gd name="connsiteY8" fmla="*/ 0 h 132173"/>
                  <a:gd name="connsiteX9" fmla="*/ 10586 w 68359"/>
                  <a:gd name="connsiteY9" fmla="*/ 23385 h 132173"/>
                  <a:gd name="connsiteX10" fmla="*/ 16866 w 68359"/>
                  <a:gd name="connsiteY10" fmla="*/ 19856 h 132173"/>
                  <a:gd name="connsiteX11" fmla="*/ 10705 w 68359"/>
                  <a:gd name="connsiteY11" fmla="*/ 4665 h 132173"/>
                  <a:gd name="connsiteX12" fmla="*/ 11543 w 68359"/>
                  <a:gd name="connsiteY12" fmla="*/ 4246 h 132173"/>
                  <a:gd name="connsiteX13" fmla="*/ 17942 w 68359"/>
                  <a:gd name="connsiteY13" fmla="*/ 18002 h 132173"/>
                  <a:gd name="connsiteX14" fmla="*/ 19198 w 68359"/>
                  <a:gd name="connsiteY14" fmla="*/ 17464 h 132173"/>
                  <a:gd name="connsiteX15" fmla="*/ 15371 w 68359"/>
                  <a:gd name="connsiteY15" fmla="*/ 8014 h 132173"/>
                  <a:gd name="connsiteX16" fmla="*/ 16387 w 68359"/>
                  <a:gd name="connsiteY16" fmla="*/ 7596 h 132173"/>
                  <a:gd name="connsiteX17" fmla="*/ 20215 w 68359"/>
                  <a:gd name="connsiteY17" fmla="*/ 17045 h 132173"/>
                  <a:gd name="connsiteX18" fmla="*/ 23026 w 68359"/>
                  <a:gd name="connsiteY18" fmla="*/ 16327 h 132173"/>
                  <a:gd name="connsiteX19" fmla="*/ 23325 w 68359"/>
                  <a:gd name="connsiteY19" fmla="*/ 23923 h 132173"/>
                  <a:gd name="connsiteX20" fmla="*/ 66207 w 68359"/>
                  <a:gd name="connsiteY20" fmla="*/ 126193 h 132173"/>
                  <a:gd name="connsiteX21" fmla="*/ 68360 w 68359"/>
                  <a:gd name="connsiteY21" fmla="*/ 131456 h 132173"/>
                  <a:gd name="connsiteX22" fmla="*/ 66625 w 68359"/>
                  <a:gd name="connsiteY22" fmla="*/ 132174 h 132173"/>
                  <a:gd name="connsiteX23" fmla="*/ 21172 w 68359"/>
                  <a:gd name="connsiteY23" fmla="*/ 20454 h 132173"/>
                  <a:gd name="connsiteX24" fmla="*/ 19916 w 68359"/>
                  <a:gd name="connsiteY24" fmla="*/ 20992 h 13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359" h="132173">
                    <a:moveTo>
                      <a:pt x="19916" y="20992"/>
                    </a:moveTo>
                    <a:cubicBezTo>
                      <a:pt x="34329" y="56338"/>
                      <a:pt x="48683" y="91684"/>
                      <a:pt x="63097" y="127090"/>
                    </a:cubicBezTo>
                    <a:cubicBezTo>
                      <a:pt x="62678" y="127270"/>
                      <a:pt x="62319" y="127449"/>
                      <a:pt x="61900" y="127569"/>
                    </a:cubicBezTo>
                    <a:cubicBezTo>
                      <a:pt x="47487" y="92103"/>
                      <a:pt x="33073" y="56697"/>
                      <a:pt x="18361" y="20574"/>
                    </a:cubicBezTo>
                    <a:cubicBezTo>
                      <a:pt x="15430" y="22368"/>
                      <a:pt x="13756" y="23385"/>
                      <a:pt x="12141" y="24401"/>
                    </a:cubicBezTo>
                    <a:cubicBezTo>
                      <a:pt x="25358" y="56877"/>
                      <a:pt x="38456" y="89113"/>
                      <a:pt x="51554" y="121289"/>
                    </a:cubicBezTo>
                    <a:cubicBezTo>
                      <a:pt x="51434" y="121349"/>
                      <a:pt x="51314" y="121409"/>
                      <a:pt x="51195" y="121469"/>
                    </a:cubicBezTo>
                    <a:cubicBezTo>
                      <a:pt x="34150" y="81158"/>
                      <a:pt x="17045" y="40848"/>
                      <a:pt x="0" y="538"/>
                    </a:cubicBezTo>
                    <a:cubicBezTo>
                      <a:pt x="359" y="359"/>
                      <a:pt x="718" y="179"/>
                      <a:pt x="1076" y="0"/>
                    </a:cubicBezTo>
                    <a:cubicBezTo>
                      <a:pt x="4186" y="7655"/>
                      <a:pt x="7296" y="15311"/>
                      <a:pt x="10586" y="23385"/>
                    </a:cubicBezTo>
                    <a:cubicBezTo>
                      <a:pt x="13098" y="21949"/>
                      <a:pt x="14832" y="20992"/>
                      <a:pt x="16866" y="19856"/>
                    </a:cubicBezTo>
                    <a:cubicBezTo>
                      <a:pt x="14772" y="14713"/>
                      <a:pt x="12739" y="9689"/>
                      <a:pt x="10705" y="4665"/>
                    </a:cubicBezTo>
                    <a:cubicBezTo>
                      <a:pt x="11004" y="4545"/>
                      <a:pt x="11244" y="4366"/>
                      <a:pt x="11543" y="4246"/>
                    </a:cubicBezTo>
                    <a:cubicBezTo>
                      <a:pt x="13696" y="8851"/>
                      <a:pt x="15789" y="13457"/>
                      <a:pt x="17942" y="18002"/>
                    </a:cubicBezTo>
                    <a:cubicBezTo>
                      <a:pt x="18361" y="17823"/>
                      <a:pt x="18779" y="17643"/>
                      <a:pt x="19198" y="17464"/>
                    </a:cubicBezTo>
                    <a:cubicBezTo>
                      <a:pt x="17942" y="14294"/>
                      <a:pt x="16626" y="11124"/>
                      <a:pt x="15371" y="8014"/>
                    </a:cubicBezTo>
                    <a:cubicBezTo>
                      <a:pt x="15729" y="7895"/>
                      <a:pt x="16028" y="7775"/>
                      <a:pt x="16387" y="7596"/>
                    </a:cubicBezTo>
                    <a:cubicBezTo>
                      <a:pt x="17643" y="10646"/>
                      <a:pt x="18899" y="13756"/>
                      <a:pt x="20215" y="17045"/>
                    </a:cubicBezTo>
                    <a:cubicBezTo>
                      <a:pt x="21889" y="16626"/>
                      <a:pt x="23205" y="16327"/>
                      <a:pt x="23026" y="16327"/>
                    </a:cubicBezTo>
                    <a:cubicBezTo>
                      <a:pt x="23086" y="18779"/>
                      <a:pt x="22428" y="21650"/>
                      <a:pt x="23325" y="23923"/>
                    </a:cubicBezTo>
                    <a:cubicBezTo>
                      <a:pt x="37499" y="58073"/>
                      <a:pt x="51913" y="92103"/>
                      <a:pt x="66207" y="126193"/>
                    </a:cubicBezTo>
                    <a:cubicBezTo>
                      <a:pt x="66924" y="127928"/>
                      <a:pt x="67642" y="129722"/>
                      <a:pt x="68360" y="131456"/>
                    </a:cubicBezTo>
                    <a:cubicBezTo>
                      <a:pt x="67761" y="131696"/>
                      <a:pt x="67223" y="131935"/>
                      <a:pt x="66625" y="132174"/>
                    </a:cubicBezTo>
                    <a:cubicBezTo>
                      <a:pt x="51494" y="94914"/>
                      <a:pt x="36303" y="57714"/>
                      <a:pt x="21172" y="20454"/>
                    </a:cubicBezTo>
                    <a:cubicBezTo>
                      <a:pt x="20753" y="20633"/>
                      <a:pt x="20334" y="20813"/>
                      <a:pt x="19916" y="2099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84" name="Vrije vorm: vorm 9283">
                <a:extLst>
                  <a:ext uri="{FF2B5EF4-FFF2-40B4-BE49-F238E27FC236}">
                    <a16:creationId xmlns:a16="http://schemas.microsoft.com/office/drawing/2014/main" id="{AC829E4D-5ADC-412F-889A-2E6FC994C385}"/>
                  </a:ext>
                </a:extLst>
              </p:cNvPr>
              <p:cNvSpPr/>
              <p:nvPr/>
            </p:nvSpPr>
            <p:spPr>
              <a:xfrm>
                <a:off x="5048885" y="1906395"/>
                <a:ext cx="73622" cy="89232"/>
              </a:xfrm>
              <a:custGeom>
                <a:avLst/>
                <a:gdLst>
                  <a:gd name="connsiteX0" fmla="*/ 0 w 73622"/>
                  <a:gd name="connsiteY0" fmla="*/ 25897 h 89232"/>
                  <a:gd name="connsiteX1" fmla="*/ 48324 w 73622"/>
                  <a:gd name="connsiteY1" fmla="*/ 0 h 89232"/>
                  <a:gd name="connsiteX2" fmla="*/ 73623 w 73622"/>
                  <a:gd name="connsiteY2" fmla="*/ 62259 h 89232"/>
                  <a:gd name="connsiteX3" fmla="*/ 25777 w 73622"/>
                  <a:gd name="connsiteY3" fmla="*/ 89232 h 89232"/>
                  <a:gd name="connsiteX4" fmla="*/ 0 w 73622"/>
                  <a:gd name="connsiteY4" fmla="*/ 25897 h 89232"/>
                  <a:gd name="connsiteX5" fmla="*/ 71470 w 73622"/>
                  <a:gd name="connsiteY5" fmla="*/ 61841 h 89232"/>
                  <a:gd name="connsiteX6" fmla="*/ 47188 w 73622"/>
                  <a:gd name="connsiteY6" fmla="*/ 2153 h 89232"/>
                  <a:gd name="connsiteX7" fmla="*/ 2034 w 73622"/>
                  <a:gd name="connsiteY7" fmla="*/ 26375 h 89232"/>
                  <a:gd name="connsiteX8" fmla="*/ 26674 w 73622"/>
                  <a:gd name="connsiteY8" fmla="*/ 86960 h 89232"/>
                  <a:gd name="connsiteX9" fmla="*/ 45753 w 73622"/>
                  <a:gd name="connsiteY9" fmla="*/ 76314 h 89232"/>
                  <a:gd name="connsiteX10" fmla="*/ 22368 w 73622"/>
                  <a:gd name="connsiteY10" fmla="*/ 18779 h 89232"/>
                  <a:gd name="connsiteX11" fmla="*/ 23325 w 73622"/>
                  <a:gd name="connsiteY11" fmla="*/ 18361 h 89232"/>
                  <a:gd name="connsiteX12" fmla="*/ 46351 w 73622"/>
                  <a:gd name="connsiteY12" fmla="*/ 74998 h 89232"/>
                  <a:gd name="connsiteX13" fmla="*/ 49580 w 73622"/>
                  <a:gd name="connsiteY13" fmla="*/ 68958 h 89232"/>
                  <a:gd name="connsiteX14" fmla="*/ 29963 w 73622"/>
                  <a:gd name="connsiteY14" fmla="*/ 20992 h 89232"/>
                  <a:gd name="connsiteX15" fmla="*/ 27930 w 73622"/>
                  <a:gd name="connsiteY15" fmla="*/ 15969 h 89232"/>
                  <a:gd name="connsiteX16" fmla="*/ 29306 w 73622"/>
                  <a:gd name="connsiteY16" fmla="*/ 15430 h 89232"/>
                  <a:gd name="connsiteX17" fmla="*/ 52451 w 73622"/>
                  <a:gd name="connsiteY17" fmla="*/ 72367 h 89232"/>
                  <a:gd name="connsiteX18" fmla="*/ 71470 w 73622"/>
                  <a:gd name="connsiteY18" fmla="*/ 61841 h 8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622" h="89232">
                    <a:moveTo>
                      <a:pt x="0" y="25897"/>
                    </a:moveTo>
                    <a:cubicBezTo>
                      <a:pt x="16148" y="17225"/>
                      <a:pt x="32116" y="8672"/>
                      <a:pt x="48324" y="0"/>
                    </a:cubicBezTo>
                    <a:cubicBezTo>
                      <a:pt x="56697" y="20514"/>
                      <a:pt x="65130" y="41267"/>
                      <a:pt x="73623" y="62259"/>
                    </a:cubicBezTo>
                    <a:cubicBezTo>
                      <a:pt x="57833" y="71171"/>
                      <a:pt x="41925" y="80082"/>
                      <a:pt x="25777" y="89232"/>
                    </a:cubicBezTo>
                    <a:cubicBezTo>
                      <a:pt x="17225" y="68240"/>
                      <a:pt x="8612" y="47128"/>
                      <a:pt x="0" y="25897"/>
                    </a:cubicBezTo>
                    <a:close/>
                    <a:moveTo>
                      <a:pt x="71470" y="61841"/>
                    </a:moveTo>
                    <a:cubicBezTo>
                      <a:pt x="63276" y="41686"/>
                      <a:pt x="55382" y="22248"/>
                      <a:pt x="47188" y="2153"/>
                    </a:cubicBezTo>
                    <a:cubicBezTo>
                      <a:pt x="31817" y="10406"/>
                      <a:pt x="16866" y="18421"/>
                      <a:pt x="2034" y="26375"/>
                    </a:cubicBezTo>
                    <a:cubicBezTo>
                      <a:pt x="10406" y="46889"/>
                      <a:pt x="18361" y="66565"/>
                      <a:pt x="26674" y="86960"/>
                    </a:cubicBezTo>
                    <a:cubicBezTo>
                      <a:pt x="33193" y="83311"/>
                      <a:pt x="39293" y="79902"/>
                      <a:pt x="45753" y="76314"/>
                    </a:cubicBezTo>
                    <a:cubicBezTo>
                      <a:pt x="37738" y="56697"/>
                      <a:pt x="30083" y="37738"/>
                      <a:pt x="22368" y="18779"/>
                    </a:cubicBezTo>
                    <a:cubicBezTo>
                      <a:pt x="22667" y="18660"/>
                      <a:pt x="23026" y="18540"/>
                      <a:pt x="23325" y="18361"/>
                    </a:cubicBezTo>
                    <a:cubicBezTo>
                      <a:pt x="31040" y="37320"/>
                      <a:pt x="38755" y="56219"/>
                      <a:pt x="46351" y="74998"/>
                    </a:cubicBezTo>
                    <a:cubicBezTo>
                      <a:pt x="50896" y="74699"/>
                      <a:pt x="51076" y="72606"/>
                      <a:pt x="49580" y="68958"/>
                    </a:cubicBezTo>
                    <a:cubicBezTo>
                      <a:pt x="42942" y="52989"/>
                      <a:pt x="36483" y="37021"/>
                      <a:pt x="29963" y="20992"/>
                    </a:cubicBezTo>
                    <a:cubicBezTo>
                      <a:pt x="29306" y="19318"/>
                      <a:pt x="28588" y="17643"/>
                      <a:pt x="27930" y="15969"/>
                    </a:cubicBezTo>
                    <a:cubicBezTo>
                      <a:pt x="28408" y="15789"/>
                      <a:pt x="28827" y="15610"/>
                      <a:pt x="29306" y="15430"/>
                    </a:cubicBezTo>
                    <a:cubicBezTo>
                      <a:pt x="36901" y="34150"/>
                      <a:pt x="44556" y="52870"/>
                      <a:pt x="52451" y="72367"/>
                    </a:cubicBezTo>
                    <a:cubicBezTo>
                      <a:pt x="59209" y="68719"/>
                      <a:pt x="65309" y="65309"/>
                      <a:pt x="71470" y="6184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85" name="Vrije vorm: vorm 9284">
                <a:extLst>
                  <a:ext uri="{FF2B5EF4-FFF2-40B4-BE49-F238E27FC236}">
                    <a16:creationId xmlns:a16="http://schemas.microsoft.com/office/drawing/2014/main" id="{95EE46E7-3C47-4227-BDF0-9EE4E6A12D80}"/>
                  </a:ext>
                </a:extLst>
              </p:cNvPr>
              <p:cNvSpPr/>
              <p:nvPr/>
            </p:nvSpPr>
            <p:spPr>
              <a:xfrm>
                <a:off x="4965873" y="1263946"/>
                <a:ext cx="79304" cy="83431"/>
              </a:xfrm>
              <a:custGeom>
                <a:avLst/>
                <a:gdLst>
                  <a:gd name="connsiteX0" fmla="*/ 27751 w 79304"/>
                  <a:gd name="connsiteY0" fmla="*/ 83431 h 83431"/>
                  <a:gd name="connsiteX1" fmla="*/ 0 w 79304"/>
                  <a:gd name="connsiteY1" fmla="*/ 15251 h 83431"/>
                  <a:gd name="connsiteX2" fmla="*/ 52331 w 79304"/>
                  <a:gd name="connsiteY2" fmla="*/ 0 h 83431"/>
                  <a:gd name="connsiteX3" fmla="*/ 79304 w 79304"/>
                  <a:gd name="connsiteY3" fmla="*/ 66266 h 83431"/>
                  <a:gd name="connsiteX4" fmla="*/ 78288 w 79304"/>
                  <a:gd name="connsiteY4" fmla="*/ 66685 h 83431"/>
                  <a:gd name="connsiteX5" fmla="*/ 51793 w 79304"/>
                  <a:gd name="connsiteY5" fmla="*/ 1615 h 83431"/>
                  <a:gd name="connsiteX6" fmla="*/ 2153 w 79304"/>
                  <a:gd name="connsiteY6" fmla="*/ 16028 h 83431"/>
                  <a:gd name="connsiteX7" fmla="*/ 14354 w 79304"/>
                  <a:gd name="connsiteY7" fmla="*/ 46052 h 83431"/>
                  <a:gd name="connsiteX8" fmla="*/ 51853 w 79304"/>
                  <a:gd name="connsiteY8" fmla="*/ 34748 h 83431"/>
                  <a:gd name="connsiteX9" fmla="*/ 41446 w 79304"/>
                  <a:gd name="connsiteY9" fmla="*/ 9210 h 83431"/>
                  <a:gd name="connsiteX10" fmla="*/ 42523 w 79304"/>
                  <a:gd name="connsiteY10" fmla="*/ 8732 h 83431"/>
                  <a:gd name="connsiteX11" fmla="*/ 53468 w 79304"/>
                  <a:gd name="connsiteY11" fmla="*/ 35645 h 83431"/>
                  <a:gd name="connsiteX12" fmla="*/ 14832 w 79304"/>
                  <a:gd name="connsiteY12" fmla="*/ 47307 h 83431"/>
                  <a:gd name="connsiteX13" fmla="*/ 20155 w 79304"/>
                  <a:gd name="connsiteY13" fmla="*/ 60345 h 83431"/>
                  <a:gd name="connsiteX14" fmla="*/ 59030 w 79304"/>
                  <a:gd name="connsiteY14" fmla="*/ 48384 h 83431"/>
                  <a:gd name="connsiteX15" fmla="*/ 59448 w 79304"/>
                  <a:gd name="connsiteY15" fmla="*/ 49520 h 83431"/>
                  <a:gd name="connsiteX16" fmla="*/ 20634 w 79304"/>
                  <a:gd name="connsiteY16" fmla="*/ 61781 h 83431"/>
                  <a:gd name="connsiteX17" fmla="*/ 28707 w 79304"/>
                  <a:gd name="connsiteY17" fmla="*/ 81577 h 83431"/>
                  <a:gd name="connsiteX18" fmla="*/ 75297 w 79304"/>
                  <a:gd name="connsiteY18" fmla="*/ 66864 h 83431"/>
                  <a:gd name="connsiteX19" fmla="*/ 75656 w 79304"/>
                  <a:gd name="connsiteY19" fmla="*/ 68001 h 83431"/>
                  <a:gd name="connsiteX20" fmla="*/ 27751 w 79304"/>
                  <a:gd name="connsiteY20" fmla="*/ 83431 h 8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304" h="83431">
                    <a:moveTo>
                      <a:pt x="27751" y="83431"/>
                    </a:moveTo>
                    <a:cubicBezTo>
                      <a:pt x="18481" y="60585"/>
                      <a:pt x="9330" y="38097"/>
                      <a:pt x="0" y="15251"/>
                    </a:cubicBezTo>
                    <a:cubicBezTo>
                      <a:pt x="17344" y="10227"/>
                      <a:pt x="34808" y="5084"/>
                      <a:pt x="52331" y="0"/>
                    </a:cubicBezTo>
                    <a:cubicBezTo>
                      <a:pt x="61243" y="21949"/>
                      <a:pt x="70273" y="44138"/>
                      <a:pt x="79304" y="66266"/>
                    </a:cubicBezTo>
                    <a:cubicBezTo>
                      <a:pt x="78946" y="66386"/>
                      <a:pt x="78647" y="66506"/>
                      <a:pt x="78288" y="66685"/>
                    </a:cubicBezTo>
                    <a:cubicBezTo>
                      <a:pt x="69616" y="45334"/>
                      <a:pt x="60884" y="23923"/>
                      <a:pt x="51793" y="1615"/>
                    </a:cubicBezTo>
                    <a:cubicBezTo>
                      <a:pt x="35227" y="6459"/>
                      <a:pt x="18899" y="11184"/>
                      <a:pt x="2153" y="16028"/>
                    </a:cubicBezTo>
                    <a:cubicBezTo>
                      <a:pt x="6280" y="26076"/>
                      <a:pt x="10167" y="35765"/>
                      <a:pt x="14354" y="46052"/>
                    </a:cubicBezTo>
                    <a:cubicBezTo>
                      <a:pt x="26734" y="42343"/>
                      <a:pt x="38994" y="38635"/>
                      <a:pt x="51853" y="34748"/>
                    </a:cubicBezTo>
                    <a:cubicBezTo>
                      <a:pt x="48264" y="25956"/>
                      <a:pt x="44855" y="17583"/>
                      <a:pt x="41446" y="9210"/>
                    </a:cubicBezTo>
                    <a:cubicBezTo>
                      <a:pt x="41805" y="9031"/>
                      <a:pt x="42164" y="8911"/>
                      <a:pt x="42523" y="8732"/>
                    </a:cubicBezTo>
                    <a:cubicBezTo>
                      <a:pt x="46171" y="17703"/>
                      <a:pt x="49820" y="26614"/>
                      <a:pt x="53468" y="35645"/>
                    </a:cubicBezTo>
                    <a:cubicBezTo>
                      <a:pt x="40848" y="39413"/>
                      <a:pt x="28050" y="43300"/>
                      <a:pt x="14832" y="47307"/>
                    </a:cubicBezTo>
                    <a:cubicBezTo>
                      <a:pt x="16627" y="51673"/>
                      <a:pt x="18241" y="55740"/>
                      <a:pt x="20155" y="60345"/>
                    </a:cubicBezTo>
                    <a:cubicBezTo>
                      <a:pt x="33133" y="56338"/>
                      <a:pt x="46052" y="52331"/>
                      <a:pt x="59030" y="48384"/>
                    </a:cubicBezTo>
                    <a:cubicBezTo>
                      <a:pt x="59149" y="48743"/>
                      <a:pt x="59269" y="49162"/>
                      <a:pt x="59448" y="49520"/>
                    </a:cubicBezTo>
                    <a:cubicBezTo>
                      <a:pt x="46590" y="53587"/>
                      <a:pt x="33791" y="57654"/>
                      <a:pt x="20634" y="61781"/>
                    </a:cubicBezTo>
                    <a:cubicBezTo>
                      <a:pt x="23385" y="68599"/>
                      <a:pt x="25897" y="74699"/>
                      <a:pt x="28707" y="81577"/>
                    </a:cubicBezTo>
                    <a:cubicBezTo>
                      <a:pt x="44257" y="76673"/>
                      <a:pt x="59807" y="71769"/>
                      <a:pt x="75297" y="66864"/>
                    </a:cubicBezTo>
                    <a:cubicBezTo>
                      <a:pt x="75417" y="67223"/>
                      <a:pt x="75537" y="67642"/>
                      <a:pt x="75656" y="68001"/>
                    </a:cubicBezTo>
                    <a:cubicBezTo>
                      <a:pt x="59747" y="73084"/>
                      <a:pt x="43779" y="78228"/>
                      <a:pt x="27751" y="8343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86" name="Vrije vorm: vorm 9285">
                <a:extLst>
                  <a:ext uri="{FF2B5EF4-FFF2-40B4-BE49-F238E27FC236}">
                    <a16:creationId xmlns:a16="http://schemas.microsoft.com/office/drawing/2014/main" id="{6579E5C3-7AC8-4462-8746-E123D3317A34}"/>
                  </a:ext>
                </a:extLst>
              </p:cNvPr>
              <p:cNvSpPr/>
              <p:nvPr/>
            </p:nvSpPr>
            <p:spPr>
              <a:xfrm>
                <a:off x="5360540" y="1730263"/>
                <a:ext cx="66804" cy="83969"/>
              </a:xfrm>
              <a:custGeom>
                <a:avLst/>
                <a:gdLst>
                  <a:gd name="connsiteX0" fmla="*/ 34629 w 66804"/>
                  <a:gd name="connsiteY0" fmla="*/ 59209 h 83969"/>
                  <a:gd name="connsiteX1" fmla="*/ 62798 w 66804"/>
                  <a:gd name="connsiteY1" fmla="*/ 54903 h 83969"/>
                  <a:gd name="connsiteX2" fmla="*/ 58372 w 66804"/>
                  <a:gd name="connsiteY2" fmla="*/ 44018 h 83969"/>
                  <a:gd name="connsiteX3" fmla="*/ 29724 w 66804"/>
                  <a:gd name="connsiteY3" fmla="*/ 48683 h 83969"/>
                  <a:gd name="connsiteX4" fmla="*/ 17165 w 66804"/>
                  <a:gd name="connsiteY4" fmla="*/ 17882 h 83969"/>
                  <a:gd name="connsiteX5" fmla="*/ 18122 w 66804"/>
                  <a:gd name="connsiteY5" fmla="*/ 17464 h 83969"/>
                  <a:gd name="connsiteX6" fmla="*/ 30203 w 66804"/>
                  <a:gd name="connsiteY6" fmla="*/ 47068 h 83969"/>
                  <a:gd name="connsiteX7" fmla="*/ 58312 w 66804"/>
                  <a:gd name="connsiteY7" fmla="*/ 42702 h 83969"/>
                  <a:gd name="connsiteX8" fmla="*/ 42822 w 66804"/>
                  <a:gd name="connsiteY8" fmla="*/ 4545 h 83969"/>
                  <a:gd name="connsiteX9" fmla="*/ 43839 w 66804"/>
                  <a:gd name="connsiteY9" fmla="*/ 4127 h 83969"/>
                  <a:gd name="connsiteX10" fmla="*/ 66805 w 66804"/>
                  <a:gd name="connsiteY10" fmla="*/ 60645 h 83969"/>
                  <a:gd name="connsiteX11" fmla="*/ 25299 w 66804"/>
                  <a:gd name="connsiteY11" fmla="*/ 83969 h 83969"/>
                  <a:gd name="connsiteX12" fmla="*/ 0 w 66804"/>
                  <a:gd name="connsiteY12" fmla="*/ 21830 h 83969"/>
                  <a:gd name="connsiteX13" fmla="*/ 41506 w 66804"/>
                  <a:gd name="connsiteY13" fmla="*/ 0 h 83969"/>
                  <a:gd name="connsiteX14" fmla="*/ 42045 w 66804"/>
                  <a:gd name="connsiteY14" fmla="*/ 1017 h 83969"/>
                  <a:gd name="connsiteX15" fmla="*/ 8612 w 66804"/>
                  <a:gd name="connsiteY15" fmla="*/ 18899 h 83969"/>
                  <a:gd name="connsiteX16" fmla="*/ 20933 w 66804"/>
                  <a:gd name="connsiteY16" fmla="*/ 49221 h 83969"/>
                  <a:gd name="connsiteX17" fmla="*/ 19677 w 66804"/>
                  <a:gd name="connsiteY17" fmla="*/ 49700 h 83969"/>
                  <a:gd name="connsiteX18" fmla="*/ 7536 w 66804"/>
                  <a:gd name="connsiteY18" fmla="*/ 19796 h 83969"/>
                  <a:gd name="connsiteX19" fmla="*/ 3409 w 66804"/>
                  <a:gd name="connsiteY19" fmla="*/ 25597 h 83969"/>
                  <a:gd name="connsiteX20" fmla="*/ 24461 w 66804"/>
                  <a:gd name="connsiteY20" fmla="*/ 78886 h 83969"/>
                  <a:gd name="connsiteX21" fmla="*/ 26255 w 66804"/>
                  <a:gd name="connsiteY21" fmla="*/ 81637 h 83969"/>
                  <a:gd name="connsiteX22" fmla="*/ 55740 w 66804"/>
                  <a:gd name="connsiteY22" fmla="*/ 65369 h 83969"/>
                  <a:gd name="connsiteX23" fmla="*/ 62379 w 66804"/>
                  <a:gd name="connsiteY23" fmla="*/ 61542 h 83969"/>
                  <a:gd name="connsiteX24" fmla="*/ 64173 w 66804"/>
                  <a:gd name="connsiteY24" fmla="*/ 58013 h 83969"/>
                  <a:gd name="connsiteX25" fmla="*/ 60465 w 66804"/>
                  <a:gd name="connsiteY25" fmla="*/ 56637 h 83969"/>
                  <a:gd name="connsiteX26" fmla="*/ 36662 w 66804"/>
                  <a:gd name="connsiteY26" fmla="*/ 60286 h 83969"/>
                  <a:gd name="connsiteX27" fmla="*/ 34688 w 66804"/>
                  <a:gd name="connsiteY27" fmla="*/ 60345 h 83969"/>
                  <a:gd name="connsiteX28" fmla="*/ 34629 w 66804"/>
                  <a:gd name="connsiteY28" fmla="*/ 59209 h 83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6804" h="83969">
                    <a:moveTo>
                      <a:pt x="34629" y="59209"/>
                    </a:moveTo>
                    <a:cubicBezTo>
                      <a:pt x="43899" y="57774"/>
                      <a:pt x="53169" y="56398"/>
                      <a:pt x="62798" y="54903"/>
                    </a:cubicBezTo>
                    <a:cubicBezTo>
                      <a:pt x="61243" y="51135"/>
                      <a:pt x="59927" y="47786"/>
                      <a:pt x="58372" y="44018"/>
                    </a:cubicBezTo>
                    <a:cubicBezTo>
                      <a:pt x="48863" y="45573"/>
                      <a:pt x="39413" y="47128"/>
                      <a:pt x="29724" y="48683"/>
                    </a:cubicBezTo>
                    <a:cubicBezTo>
                      <a:pt x="25658" y="38695"/>
                      <a:pt x="21411" y="28289"/>
                      <a:pt x="17165" y="17882"/>
                    </a:cubicBezTo>
                    <a:cubicBezTo>
                      <a:pt x="17464" y="17763"/>
                      <a:pt x="17763" y="17583"/>
                      <a:pt x="18122" y="17464"/>
                    </a:cubicBezTo>
                    <a:cubicBezTo>
                      <a:pt x="22069" y="27212"/>
                      <a:pt x="26076" y="36961"/>
                      <a:pt x="30203" y="47068"/>
                    </a:cubicBezTo>
                    <a:cubicBezTo>
                      <a:pt x="39592" y="45633"/>
                      <a:pt x="48563" y="44198"/>
                      <a:pt x="58312" y="42702"/>
                    </a:cubicBezTo>
                    <a:cubicBezTo>
                      <a:pt x="52989" y="29605"/>
                      <a:pt x="47906" y="17105"/>
                      <a:pt x="42822" y="4545"/>
                    </a:cubicBezTo>
                    <a:cubicBezTo>
                      <a:pt x="43181" y="4426"/>
                      <a:pt x="43540" y="4246"/>
                      <a:pt x="43839" y="4127"/>
                    </a:cubicBezTo>
                    <a:cubicBezTo>
                      <a:pt x="51434" y="22846"/>
                      <a:pt x="59090" y="41566"/>
                      <a:pt x="66805" y="60645"/>
                    </a:cubicBezTo>
                    <a:cubicBezTo>
                      <a:pt x="53229" y="68300"/>
                      <a:pt x="39353" y="76075"/>
                      <a:pt x="25299" y="83969"/>
                    </a:cubicBezTo>
                    <a:cubicBezTo>
                      <a:pt x="16926" y="63455"/>
                      <a:pt x="8493" y="42702"/>
                      <a:pt x="0" y="21830"/>
                    </a:cubicBezTo>
                    <a:cubicBezTo>
                      <a:pt x="13995" y="14473"/>
                      <a:pt x="27751" y="7237"/>
                      <a:pt x="41506" y="0"/>
                    </a:cubicBezTo>
                    <a:cubicBezTo>
                      <a:pt x="41686" y="359"/>
                      <a:pt x="41865" y="658"/>
                      <a:pt x="42045" y="1017"/>
                    </a:cubicBezTo>
                    <a:cubicBezTo>
                      <a:pt x="31100" y="6878"/>
                      <a:pt x="20215" y="12679"/>
                      <a:pt x="8612" y="18899"/>
                    </a:cubicBezTo>
                    <a:cubicBezTo>
                      <a:pt x="12799" y="29126"/>
                      <a:pt x="16866" y="39174"/>
                      <a:pt x="20933" y="49221"/>
                    </a:cubicBezTo>
                    <a:cubicBezTo>
                      <a:pt x="20514" y="49401"/>
                      <a:pt x="20096" y="49520"/>
                      <a:pt x="19677" y="49700"/>
                    </a:cubicBezTo>
                    <a:cubicBezTo>
                      <a:pt x="15669" y="39891"/>
                      <a:pt x="11662" y="30023"/>
                      <a:pt x="7536" y="19796"/>
                    </a:cubicBezTo>
                    <a:cubicBezTo>
                      <a:pt x="4605" y="20873"/>
                      <a:pt x="1555" y="20933"/>
                      <a:pt x="3409" y="25597"/>
                    </a:cubicBezTo>
                    <a:cubicBezTo>
                      <a:pt x="10466" y="43360"/>
                      <a:pt x="17464" y="61123"/>
                      <a:pt x="24461" y="78886"/>
                    </a:cubicBezTo>
                    <a:cubicBezTo>
                      <a:pt x="24820" y="79783"/>
                      <a:pt x="25538" y="80560"/>
                      <a:pt x="26255" y="81637"/>
                    </a:cubicBezTo>
                    <a:cubicBezTo>
                      <a:pt x="36184" y="76135"/>
                      <a:pt x="45992" y="70752"/>
                      <a:pt x="55740" y="65369"/>
                    </a:cubicBezTo>
                    <a:cubicBezTo>
                      <a:pt x="57953" y="64113"/>
                      <a:pt x="60346" y="63097"/>
                      <a:pt x="62379" y="61542"/>
                    </a:cubicBezTo>
                    <a:cubicBezTo>
                      <a:pt x="63276" y="60824"/>
                      <a:pt x="63575" y="59209"/>
                      <a:pt x="64173" y="58013"/>
                    </a:cubicBezTo>
                    <a:cubicBezTo>
                      <a:pt x="62917" y="57535"/>
                      <a:pt x="61602" y="56458"/>
                      <a:pt x="60465" y="56637"/>
                    </a:cubicBezTo>
                    <a:cubicBezTo>
                      <a:pt x="52511" y="57714"/>
                      <a:pt x="44616" y="59030"/>
                      <a:pt x="36662" y="60286"/>
                    </a:cubicBezTo>
                    <a:cubicBezTo>
                      <a:pt x="36004" y="60405"/>
                      <a:pt x="35346" y="60345"/>
                      <a:pt x="34688" y="60345"/>
                    </a:cubicBezTo>
                    <a:cubicBezTo>
                      <a:pt x="34748" y="59987"/>
                      <a:pt x="34688" y="59628"/>
                      <a:pt x="34629" y="5920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87" name="Vrije vorm: vorm 9286">
                <a:extLst>
                  <a:ext uri="{FF2B5EF4-FFF2-40B4-BE49-F238E27FC236}">
                    <a16:creationId xmlns:a16="http://schemas.microsoft.com/office/drawing/2014/main" id="{12B09912-A985-49D4-98C5-8B5BC73CD387}"/>
                  </a:ext>
                </a:extLst>
              </p:cNvPr>
              <p:cNvSpPr/>
              <p:nvPr/>
            </p:nvSpPr>
            <p:spPr>
              <a:xfrm>
                <a:off x="5154684" y="1381168"/>
                <a:ext cx="72785" cy="82115"/>
              </a:xfrm>
              <a:custGeom>
                <a:avLst/>
                <a:gdLst>
                  <a:gd name="connsiteX0" fmla="*/ 0 w 72785"/>
                  <a:gd name="connsiteY0" fmla="*/ 16866 h 82115"/>
                  <a:gd name="connsiteX1" fmla="*/ 47008 w 72785"/>
                  <a:gd name="connsiteY1" fmla="*/ 0 h 82115"/>
                  <a:gd name="connsiteX2" fmla="*/ 72785 w 72785"/>
                  <a:gd name="connsiteY2" fmla="*/ 63336 h 82115"/>
                  <a:gd name="connsiteX3" fmla="*/ 26554 w 72785"/>
                  <a:gd name="connsiteY3" fmla="*/ 82115 h 82115"/>
                  <a:gd name="connsiteX4" fmla="*/ 0 w 72785"/>
                  <a:gd name="connsiteY4" fmla="*/ 16866 h 82115"/>
                  <a:gd name="connsiteX5" fmla="*/ 51554 w 72785"/>
                  <a:gd name="connsiteY5" fmla="*/ 21949 h 82115"/>
                  <a:gd name="connsiteX6" fmla="*/ 52810 w 72785"/>
                  <a:gd name="connsiteY6" fmla="*/ 21471 h 82115"/>
                  <a:gd name="connsiteX7" fmla="*/ 69496 w 72785"/>
                  <a:gd name="connsiteY7" fmla="*/ 62499 h 82115"/>
                  <a:gd name="connsiteX8" fmla="*/ 70393 w 72785"/>
                  <a:gd name="connsiteY8" fmla="*/ 62140 h 82115"/>
                  <a:gd name="connsiteX9" fmla="*/ 45872 w 72785"/>
                  <a:gd name="connsiteY9" fmla="*/ 1914 h 82115"/>
                  <a:gd name="connsiteX10" fmla="*/ 2093 w 72785"/>
                  <a:gd name="connsiteY10" fmla="*/ 17583 h 82115"/>
                  <a:gd name="connsiteX11" fmla="*/ 27272 w 72785"/>
                  <a:gd name="connsiteY11" fmla="*/ 79544 h 82115"/>
                  <a:gd name="connsiteX12" fmla="*/ 50537 w 72785"/>
                  <a:gd name="connsiteY12" fmla="*/ 70094 h 82115"/>
                  <a:gd name="connsiteX13" fmla="*/ 27152 w 72785"/>
                  <a:gd name="connsiteY13" fmla="*/ 12560 h 82115"/>
                  <a:gd name="connsiteX14" fmla="*/ 28169 w 72785"/>
                  <a:gd name="connsiteY14" fmla="*/ 12141 h 82115"/>
                  <a:gd name="connsiteX15" fmla="*/ 51793 w 72785"/>
                  <a:gd name="connsiteY15" fmla="*/ 70214 h 82115"/>
                  <a:gd name="connsiteX16" fmla="*/ 57535 w 72785"/>
                  <a:gd name="connsiteY16" fmla="*/ 67463 h 82115"/>
                  <a:gd name="connsiteX17" fmla="*/ 40729 w 72785"/>
                  <a:gd name="connsiteY17" fmla="*/ 26196 h 82115"/>
                  <a:gd name="connsiteX18" fmla="*/ 41865 w 72785"/>
                  <a:gd name="connsiteY18" fmla="*/ 25777 h 82115"/>
                  <a:gd name="connsiteX19" fmla="*/ 58671 w 72785"/>
                  <a:gd name="connsiteY19" fmla="*/ 67104 h 82115"/>
                  <a:gd name="connsiteX20" fmla="*/ 68240 w 72785"/>
                  <a:gd name="connsiteY20" fmla="*/ 63216 h 82115"/>
                  <a:gd name="connsiteX21" fmla="*/ 51554 w 72785"/>
                  <a:gd name="connsiteY21" fmla="*/ 21949 h 8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785" h="82115">
                    <a:moveTo>
                      <a:pt x="0" y="16866"/>
                    </a:moveTo>
                    <a:cubicBezTo>
                      <a:pt x="16148" y="11064"/>
                      <a:pt x="31638" y="5562"/>
                      <a:pt x="47008" y="0"/>
                    </a:cubicBezTo>
                    <a:cubicBezTo>
                      <a:pt x="55621" y="21172"/>
                      <a:pt x="64233" y="42284"/>
                      <a:pt x="72785" y="63336"/>
                    </a:cubicBezTo>
                    <a:cubicBezTo>
                      <a:pt x="57355" y="69616"/>
                      <a:pt x="42045" y="75836"/>
                      <a:pt x="26554" y="82115"/>
                    </a:cubicBezTo>
                    <a:cubicBezTo>
                      <a:pt x="17583" y="60046"/>
                      <a:pt x="8792" y="38456"/>
                      <a:pt x="0" y="16866"/>
                    </a:cubicBezTo>
                    <a:close/>
                    <a:moveTo>
                      <a:pt x="51554" y="21949"/>
                    </a:moveTo>
                    <a:cubicBezTo>
                      <a:pt x="51972" y="21770"/>
                      <a:pt x="52391" y="21650"/>
                      <a:pt x="52810" y="21471"/>
                    </a:cubicBezTo>
                    <a:cubicBezTo>
                      <a:pt x="58372" y="35167"/>
                      <a:pt x="63934" y="48803"/>
                      <a:pt x="69496" y="62499"/>
                    </a:cubicBezTo>
                    <a:cubicBezTo>
                      <a:pt x="69795" y="62379"/>
                      <a:pt x="70094" y="62259"/>
                      <a:pt x="70393" y="62140"/>
                    </a:cubicBezTo>
                    <a:cubicBezTo>
                      <a:pt x="62319" y="42344"/>
                      <a:pt x="54305" y="22547"/>
                      <a:pt x="45872" y="1914"/>
                    </a:cubicBezTo>
                    <a:cubicBezTo>
                      <a:pt x="31339" y="7117"/>
                      <a:pt x="16746" y="12320"/>
                      <a:pt x="2093" y="17583"/>
                    </a:cubicBezTo>
                    <a:cubicBezTo>
                      <a:pt x="10705" y="38815"/>
                      <a:pt x="18959" y="59030"/>
                      <a:pt x="27272" y="79544"/>
                    </a:cubicBezTo>
                    <a:cubicBezTo>
                      <a:pt x="35107" y="76374"/>
                      <a:pt x="42583" y="73324"/>
                      <a:pt x="50537" y="70094"/>
                    </a:cubicBezTo>
                    <a:cubicBezTo>
                      <a:pt x="42643" y="50657"/>
                      <a:pt x="34868" y="31578"/>
                      <a:pt x="27152" y="12560"/>
                    </a:cubicBezTo>
                    <a:cubicBezTo>
                      <a:pt x="27512" y="12440"/>
                      <a:pt x="27870" y="12260"/>
                      <a:pt x="28169" y="12141"/>
                    </a:cubicBezTo>
                    <a:cubicBezTo>
                      <a:pt x="36004" y="31399"/>
                      <a:pt x="43839" y="50597"/>
                      <a:pt x="51793" y="70214"/>
                    </a:cubicBezTo>
                    <a:cubicBezTo>
                      <a:pt x="53886" y="69197"/>
                      <a:pt x="55441" y="68479"/>
                      <a:pt x="57535" y="67463"/>
                    </a:cubicBezTo>
                    <a:cubicBezTo>
                      <a:pt x="51793" y="53408"/>
                      <a:pt x="46291" y="39832"/>
                      <a:pt x="40729" y="26196"/>
                    </a:cubicBezTo>
                    <a:cubicBezTo>
                      <a:pt x="41088" y="26076"/>
                      <a:pt x="41506" y="25897"/>
                      <a:pt x="41865" y="25777"/>
                    </a:cubicBezTo>
                    <a:cubicBezTo>
                      <a:pt x="47487" y="39592"/>
                      <a:pt x="53109" y="53408"/>
                      <a:pt x="58671" y="67104"/>
                    </a:cubicBezTo>
                    <a:cubicBezTo>
                      <a:pt x="61960" y="65788"/>
                      <a:pt x="64711" y="64652"/>
                      <a:pt x="68240" y="63216"/>
                    </a:cubicBezTo>
                    <a:cubicBezTo>
                      <a:pt x="62618" y="49102"/>
                      <a:pt x="57056" y="35526"/>
                      <a:pt x="51554" y="2194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88" name="Vrije vorm: vorm 9287">
                <a:extLst>
                  <a:ext uri="{FF2B5EF4-FFF2-40B4-BE49-F238E27FC236}">
                    <a16:creationId xmlns:a16="http://schemas.microsoft.com/office/drawing/2014/main" id="{5F1C6D7A-9166-400F-B6E4-15176B6559FB}"/>
                  </a:ext>
                </a:extLst>
              </p:cNvPr>
              <p:cNvSpPr/>
              <p:nvPr/>
            </p:nvSpPr>
            <p:spPr>
              <a:xfrm>
                <a:off x="5030105" y="1244987"/>
                <a:ext cx="76971" cy="81158"/>
              </a:xfrm>
              <a:custGeom>
                <a:avLst/>
                <a:gdLst>
                  <a:gd name="connsiteX0" fmla="*/ 76972 w 76971"/>
                  <a:gd name="connsiteY0" fmla="*/ 65429 h 81158"/>
                  <a:gd name="connsiteX1" fmla="*/ 27093 w 76971"/>
                  <a:gd name="connsiteY1" fmla="*/ 81158 h 81158"/>
                  <a:gd name="connsiteX2" fmla="*/ 0 w 76971"/>
                  <a:gd name="connsiteY2" fmla="*/ 14593 h 81158"/>
                  <a:gd name="connsiteX3" fmla="*/ 50358 w 76971"/>
                  <a:gd name="connsiteY3" fmla="*/ 0 h 81158"/>
                  <a:gd name="connsiteX4" fmla="*/ 76972 w 76971"/>
                  <a:gd name="connsiteY4" fmla="*/ 65429 h 81158"/>
                  <a:gd name="connsiteX5" fmla="*/ 31997 w 76971"/>
                  <a:gd name="connsiteY5" fmla="*/ 11005 h 81158"/>
                  <a:gd name="connsiteX6" fmla="*/ 32954 w 76971"/>
                  <a:gd name="connsiteY6" fmla="*/ 10646 h 81158"/>
                  <a:gd name="connsiteX7" fmla="*/ 43600 w 76971"/>
                  <a:gd name="connsiteY7" fmla="*/ 36901 h 81158"/>
                  <a:gd name="connsiteX8" fmla="*/ 14354 w 76971"/>
                  <a:gd name="connsiteY8" fmla="*/ 45693 h 81158"/>
                  <a:gd name="connsiteX9" fmla="*/ 19497 w 76971"/>
                  <a:gd name="connsiteY9" fmla="*/ 58312 h 81158"/>
                  <a:gd name="connsiteX10" fmla="*/ 49162 w 76971"/>
                  <a:gd name="connsiteY10" fmla="*/ 49341 h 81158"/>
                  <a:gd name="connsiteX11" fmla="*/ 49521 w 76971"/>
                  <a:gd name="connsiteY11" fmla="*/ 50417 h 81158"/>
                  <a:gd name="connsiteX12" fmla="*/ 20036 w 76971"/>
                  <a:gd name="connsiteY12" fmla="*/ 59867 h 81158"/>
                  <a:gd name="connsiteX13" fmla="*/ 28050 w 76971"/>
                  <a:gd name="connsiteY13" fmla="*/ 79544 h 81158"/>
                  <a:gd name="connsiteX14" fmla="*/ 64472 w 76971"/>
                  <a:gd name="connsiteY14" fmla="*/ 67881 h 81158"/>
                  <a:gd name="connsiteX15" fmla="*/ 56697 w 76971"/>
                  <a:gd name="connsiteY15" fmla="*/ 48803 h 81158"/>
                  <a:gd name="connsiteX16" fmla="*/ 57654 w 76971"/>
                  <a:gd name="connsiteY16" fmla="*/ 48444 h 81158"/>
                  <a:gd name="connsiteX17" fmla="*/ 65489 w 76971"/>
                  <a:gd name="connsiteY17" fmla="*/ 67642 h 81158"/>
                  <a:gd name="connsiteX18" fmla="*/ 75238 w 76971"/>
                  <a:gd name="connsiteY18" fmla="*/ 64353 h 81158"/>
                  <a:gd name="connsiteX19" fmla="*/ 50896 w 76971"/>
                  <a:gd name="connsiteY19" fmla="*/ 4964 h 81158"/>
                  <a:gd name="connsiteX20" fmla="*/ 45753 w 76971"/>
                  <a:gd name="connsiteY20" fmla="*/ 2811 h 81158"/>
                  <a:gd name="connsiteX21" fmla="*/ 24222 w 76971"/>
                  <a:gd name="connsiteY21" fmla="*/ 8911 h 81158"/>
                  <a:gd name="connsiteX22" fmla="*/ 2273 w 76971"/>
                  <a:gd name="connsiteY22" fmla="*/ 15670 h 81158"/>
                  <a:gd name="connsiteX23" fmla="*/ 13995 w 76971"/>
                  <a:gd name="connsiteY23" fmla="*/ 44437 h 81158"/>
                  <a:gd name="connsiteX24" fmla="*/ 42224 w 76971"/>
                  <a:gd name="connsiteY24" fmla="*/ 35944 h 81158"/>
                  <a:gd name="connsiteX25" fmla="*/ 31997 w 76971"/>
                  <a:gd name="connsiteY25" fmla="*/ 11005 h 8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6971" h="81158">
                    <a:moveTo>
                      <a:pt x="76972" y="65429"/>
                    </a:moveTo>
                    <a:cubicBezTo>
                      <a:pt x="60166" y="70752"/>
                      <a:pt x="43779" y="75895"/>
                      <a:pt x="27093" y="81158"/>
                    </a:cubicBezTo>
                    <a:cubicBezTo>
                      <a:pt x="18182" y="59209"/>
                      <a:pt x="9091" y="36961"/>
                      <a:pt x="0" y="14593"/>
                    </a:cubicBezTo>
                    <a:cubicBezTo>
                      <a:pt x="16627" y="9808"/>
                      <a:pt x="33313" y="4964"/>
                      <a:pt x="50358" y="0"/>
                    </a:cubicBezTo>
                    <a:cubicBezTo>
                      <a:pt x="59149" y="21590"/>
                      <a:pt x="68001" y="43420"/>
                      <a:pt x="76972" y="65429"/>
                    </a:cubicBezTo>
                    <a:close/>
                    <a:moveTo>
                      <a:pt x="31997" y="11005"/>
                    </a:moveTo>
                    <a:cubicBezTo>
                      <a:pt x="32296" y="10885"/>
                      <a:pt x="32595" y="10765"/>
                      <a:pt x="32954" y="10646"/>
                    </a:cubicBezTo>
                    <a:cubicBezTo>
                      <a:pt x="36542" y="19497"/>
                      <a:pt x="40131" y="28349"/>
                      <a:pt x="43600" y="36901"/>
                    </a:cubicBezTo>
                    <a:cubicBezTo>
                      <a:pt x="33851" y="39832"/>
                      <a:pt x="24222" y="42762"/>
                      <a:pt x="14354" y="45693"/>
                    </a:cubicBezTo>
                    <a:cubicBezTo>
                      <a:pt x="16208" y="50238"/>
                      <a:pt x="17763" y="54066"/>
                      <a:pt x="19497" y="58312"/>
                    </a:cubicBezTo>
                    <a:cubicBezTo>
                      <a:pt x="29605" y="55262"/>
                      <a:pt x="39353" y="52272"/>
                      <a:pt x="49162" y="49341"/>
                    </a:cubicBezTo>
                    <a:cubicBezTo>
                      <a:pt x="49281" y="49700"/>
                      <a:pt x="49401" y="50059"/>
                      <a:pt x="49521" y="50417"/>
                    </a:cubicBezTo>
                    <a:cubicBezTo>
                      <a:pt x="39772" y="53527"/>
                      <a:pt x="30083" y="56637"/>
                      <a:pt x="20036" y="59867"/>
                    </a:cubicBezTo>
                    <a:cubicBezTo>
                      <a:pt x="22846" y="66745"/>
                      <a:pt x="25359" y="72905"/>
                      <a:pt x="28050" y="79544"/>
                    </a:cubicBezTo>
                    <a:cubicBezTo>
                      <a:pt x="40131" y="75656"/>
                      <a:pt x="51972" y="71888"/>
                      <a:pt x="64472" y="67881"/>
                    </a:cubicBezTo>
                    <a:cubicBezTo>
                      <a:pt x="61661" y="61003"/>
                      <a:pt x="59209" y="54903"/>
                      <a:pt x="56697" y="48803"/>
                    </a:cubicBezTo>
                    <a:cubicBezTo>
                      <a:pt x="56996" y="48683"/>
                      <a:pt x="57355" y="48563"/>
                      <a:pt x="57654" y="48444"/>
                    </a:cubicBezTo>
                    <a:cubicBezTo>
                      <a:pt x="60166" y="54604"/>
                      <a:pt x="62678" y="60764"/>
                      <a:pt x="65489" y="67642"/>
                    </a:cubicBezTo>
                    <a:cubicBezTo>
                      <a:pt x="68719" y="66565"/>
                      <a:pt x="71649" y="65549"/>
                      <a:pt x="75238" y="64353"/>
                    </a:cubicBezTo>
                    <a:cubicBezTo>
                      <a:pt x="66924" y="43958"/>
                      <a:pt x="59090" y="24401"/>
                      <a:pt x="50896" y="4964"/>
                    </a:cubicBezTo>
                    <a:cubicBezTo>
                      <a:pt x="50358" y="3708"/>
                      <a:pt x="47248" y="2452"/>
                      <a:pt x="45753" y="2811"/>
                    </a:cubicBezTo>
                    <a:cubicBezTo>
                      <a:pt x="38516" y="4545"/>
                      <a:pt x="31339" y="6758"/>
                      <a:pt x="24222" y="8911"/>
                    </a:cubicBezTo>
                    <a:cubicBezTo>
                      <a:pt x="16985" y="11064"/>
                      <a:pt x="9749" y="13337"/>
                      <a:pt x="2273" y="15670"/>
                    </a:cubicBezTo>
                    <a:cubicBezTo>
                      <a:pt x="6340" y="25598"/>
                      <a:pt x="10107" y="34868"/>
                      <a:pt x="13995" y="44437"/>
                    </a:cubicBezTo>
                    <a:cubicBezTo>
                      <a:pt x="23445" y="41566"/>
                      <a:pt x="32595" y="38815"/>
                      <a:pt x="42224" y="35944"/>
                    </a:cubicBezTo>
                    <a:cubicBezTo>
                      <a:pt x="38516" y="26913"/>
                      <a:pt x="35227" y="18959"/>
                      <a:pt x="31997" y="1100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89" name="Vrije vorm: vorm 9288">
                <a:extLst>
                  <a:ext uri="{FF2B5EF4-FFF2-40B4-BE49-F238E27FC236}">
                    <a16:creationId xmlns:a16="http://schemas.microsoft.com/office/drawing/2014/main" id="{0369C7AC-83DE-4281-A4C0-1CFA4B1D06B0}"/>
                  </a:ext>
                </a:extLst>
              </p:cNvPr>
              <p:cNvSpPr/>
              <p:nvPr/>
            </p:nvSpPr>
            <p:spPr>
              <a:xfrm>
                <a:off x="5152232" y="1209103"/>
                <a:ext cx="71947" cy="77211"/>
              </a:xfrm>
              <a:custGeom>
                <a:avLst/>
                <a:gdLst>
                  <a:gd name="connsiteX0" fmla="*/ 71948 w 71947"/>
                  <a:gd name="connsiteY0" fmla="*/ 62678 h 77211"/>
                  <a:gd name="connsiteX1" fmla="*/ 25896 w 71947"/>
                  <a:gd name="connsiteY1" fmla="*/ 77211 h 77211"/>
                  <a:gd name="connsiteX2" fmla="*/ 0 w 71947"/>
                  <a:gd name="connsiteY2" fmla="*/ 13516 h 77211"/>
                  <a:gd name="connsiteX3" fmla="*/ 46470 w 71947"/>
                  <a:gd name="connsiteY3" fmla="*/ 0 h 77211"/>
                  <a:gd name="connsiteX4" fmla="*/ 71948 w 71947"/>
                  <a:gd name="connsiteY4" fmla="*/ 62678 h 77211"/>
                  <a:gd name="connsiteX5" fmla="*/ 48085 w 71947"/>
                  <a:gd name="connsiteY5" fmla="*/ 8194 h 77211"/>
                  <a:gd name="connsiteX6" fmla="*/ 18540 w 71947"/>
                  <a:gd name="connsiteY6" fmla="*/ 27452 h 77211"/>
                  <a:gd name="connsiteX7" fmla="*/ 44317 w 71947"/>
                  <a:gd name="connsiteY7" fmla="*/ 9031 h 77211"/>
                  <a:gd name="connsiteX8" fmla="*/ 44975 w 71947"/>
                  <a:gd name="connsiteY8" fmla="*/ 1854 h 77211"/>
                  <a:gd name="connsiteX9" fmla="*/ 2153 w 71947"/>
                  <a:gd name="connsiteY9" fmla="*/ 14234 h 77211"/>
                  <a:gd name="connsiteX10" fmla="*/ 26973 w 71947"/>
                  <a:gd name="connsiteY10" fmla="*/ 75178 h 77211"/>
                  <a:gd name="connsiteX11" fmla="*/ 35705 w 71947"/>
                  <a:gd name="connsiteY11" fmla="*/ 72606 h 77211"/>
                  <a:gd name="connsiteX12" fmla="*/ 22727 w 71947"/>
                  <a:gd name="connsiteY12" fmla="*/ 40669 h 77211"/>
                  <a:gd name="connsiteX13" fmla="*/ 53288 w 71947"/>
                  <a:gd name="connsiteY13" fmla="*/ 20873 h 77211"/>
                  <a:gd name="connsiteX14" fmla="*/ 48085 w 71947"/>
                  <a:gd name="connsiteY14" fmla="*/ 8194 h 77211"/>
                  <a:gd name="connsiteX15" fmla="*/ 25478 w 71947"/>
                  <a:gd name="connsiteY15" fmla="*/ 40549 h 77211"/>
                  <a:gd name="connsiteX16" fmla="*/ 25597 w 71947"/>
                  <a:gd name="connsiteY16" fmla="*/ 42463 h 77211"/>
                  <a:gd name="connsiteX17" fmla="*/ 32236 w 71947"/>
                  <a:gd name="connsiteY17" fmla="*/ 59508 h 77211"/>
                  <a:gd name="connsiteX18" fmla="*/ 48264 w 71947"/>
                  <a:gd name="connsiteY18" fmla="*/ 68778 h 77211"/>
                  <a:gd name="connsiteX19" fmla="*/ 69735 w 71947"/>
                  <a:gd name="connsiteY19" fmla="*/ 61901 h 77211"/>
                  <a:gd name="connsiteX20" fmla="*/ 53707 w 71947"/>
                  <a:gd name="connsiteY20" fmla="*/ 22488 h 77211"/>
                  <a:gd name="connsiteX21" fmla="*/ 25478 w 71947"/>
                  <a:gd name="connsiteY21" fmla="*/ 40549 h 7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947" h="77211">
                    <a:moveTo>
                      <a:pt x="71948" y="62678"/>
                    </a:moveTo>
                    <a:cubicBezTo>
                      <a:pt x="56278" y="67642"/>
                      <a:pt x="41267" y="72367"/>
                      <a:pt x="25896" y="77211"/>
                    </a:cubicBezTo>
                    <a:cubicBezTo>
                      <a:pt x="17404" y="56279"/>
                      <a:pt x="8732" y="34987"/>
                      <a:pt x="0" y="13516"/>
                    </a:cubicBezTo>
                    <a:cubicBezTo>
                      <a:pt x="15669" y="8971"/>
                      <a:pt x="31040" y="4486"/>
                      <a:pt x="46470" y="0"/>
                    </a:cubicBezTo>
                    <a:cubicBezTo>
                      <a:pt x="54903" y="20813"/>
                      <a:pt x="63396" y="41626"/>
                      <a:pt x="71948" y="62678"/>
                    </a:cubicBezTo>
                    <a:close/>
                    <a:moveTo>
                      <a:pt x="48085" y="8194"/>
                    </a:moveTo>
                    <a:cubicBezTo>
                      <a:pt x="37858" y="14892"/>
                      <a:pt x="28169" y="21172"/>
                      <a:pt x="18540" y="27452"/>
                    </a:cubicBezTo>
                    <a:cubicBezTo>
                      <a:pt x="26734" y="20634"/>
                      <a:pt x="35466" y="14772"/>
                      <a:pt x="44317" y="9031"/>
                    </a:cubicBezTo>
                    <a:cubicBezTo>
                      <a:pt x="47128" y="7237"/>
                      <a:pt x="48324" y="5383"/>
                      <a:pt x="44975" y="1854"/>
                    </a:cubicBezTo>
                    <a:cubicBezTo>
                      <a:pt x="30980" y="5921"/>
                      <a:pt x="16925" y="9988"/>
                      <a:pt x="2153" y="14234"/>
                    </a:cubicBezTo>
                    <a:cubicBezTo>
                      <a:pt x="10526" y="34808"/>
                      <a:pt x="18660" y="54843"/>
                      <a:pt x="26973" y="75178"/>
                    </a:cubicBezTo>
                    <a:cubicBezTo>
                      <a:pt x="29664" y="74400"/>
                      <a:pt x="32415" y="73563"/>
                      <a:pt x="35705" y="72606"/>
                    </a:cubicBezTo>
                    <a:cubicBezTo>
                      <a:pt x="31219" y="61601"/>
                      <a:pt x="26913" y="51016"/>
                      <a:pt x="22727" y="40669"/>
                    </a:cubicBezTo>
                    <a:cubicBezTo>
                      <a:pt x="33253" y="33851"/>
                      <a:pt x="43241" y="27392"/>
                      <a:pt x="53288" y="20873"/>
                    </a:cubicBezTo>
                    <a:cubicBezTo>
                      <a:pt x="51494" y="16507"/>
                      <a:pt x="49999" y="12799"/>
                      <a:pt x="48085" y="8194"/>
                    </a:cubicBezTo>
                    <a:close/>
                    <a:moveTo>
                      <a:pt x="25478" y="40549"/>
                    </a:moveTo>
                    <a:cubicBezTo>
                      <a:pt x="25537" y="41686"/>
                      <a:pt x="25478" y="42104"/>
                      <a:pt x="25597" y="42463"/>
                    </a:cubicBezTo>
                    <a:cubicBezTo>
                      <a:pt x="27810" y="48145"/>
                      <a:pt x="29963" y="53826"/>
                      <a:pt x="32236" y="59508"/>
                    </a:cubicBezTo>
                    <a:cubicBezTo>
                      <a:pt x="37021" y="71709"/>
                      <a:pt x="37080" y="71828"/>
                      <a:pt x="48264" y="68778"/>
                    </a:cubicBezTo>
                    <a:cubicBezTo>
                      <a:pt x="55382" y="66805"/>
                      <a:pt x="62319" y="64293"/>
                      <a:pt x="69735" y="61901"/>
                    </a:cubicBezTo>
                    <a:cubicBezTo>
                      <a:pt x="64233" y="48444"/>
                      <a:pt x="59090" y="35705"/>
                      <a:pt x="53707" y="22488"/>
                    </a:cubicBezTo>
                    <a:cubicBezTo>
                      <a:pt x="44138" y="28588"/>
                      <a:pt x="34867" y="34569"/>
                      <a:pt x="25478" y="4054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90" name="Vrije vorm: vorm 9289">
                <a:extLst>
                  <a:ext uri="{FF2B5EF4-FFF2-40B4-BE49-F238E27FC236}">
                    <a16:creationId xmlns:a16="http://schemas.microsoft.com/office/drawing/2014/main" id="{E29016D6-9F16-47EF-9823-9AA89ACE1E90}"/>
                  </a:ext>
                </a:extLst>
              </p:cNvPr>
              <p:cNvSpPr/>
              <p:nvPr/>
            </p:nvSpPr>
            <p:spPr>
              <a:xfrm>
                <a:off x="4782564" y="1925713"/>
                <a:ext cx="71230" cy="65249"/>
              </a:xfrm>
              <a:custGeom>
                <a:avLst/>
                <a:gdLst>
                  <a:gd name="connsiteX0" fmla="*/ 7356 w 71230"/>
                  <a:gd name="connsiteY0" fmla="*/ 3947 h 65249"/>
                  <a:gd name="connsiteX1" fmla="*/ 45393 w 71230"/>
                  <a:gd name="connsiteY1" fmla="*/ 0 h 65249"/>
                  <a:gd name="connsiteX2" fmla="*/ 71230 w 71230"/>
                  <a:gd name="connsiteY2" fmla="*/ 63515 h 65249"/>
                  <a:gd name="connsiteX3" fmla="*/ 70393 w 71230"/>
                  <a:gd name="connsiteY3" fmla="*/ 63874 h 65249"/>
                  <a:gd name="connsiteX4" fmla="*/ 62439 w 71230"/>
                  <a:gd name="connsiteY4" fmla="*/ 44377 h 65249"/>
                  <a:gd name="connsiteX5" fmla="*/ 47427 w 71230"/>
                  <a:gd name="connsiteY5" fmla="*/ 8433 h 65249"/>
                  <a:gd name="connsiteX6" fmla="*/ 36363 w 71230"/>
                  <a:gd name="connsiteY6" fmla="*/ 3050 h 65249"/>
                  <a:gd name="connsiteX7" fmla="*/ 47188 w 71230"/>
                  <a:gd name="connsiteY7" fmla="*/ 29724 h 65249"/>
                  <a:gd name="connsiteX8" fmla="*/ 46231 w 71230"/>
                  <a:gd name="connsiteY8" fmla="*/ 30143 h 65249"/>
                  <a:gd name="connsiteX9" fmla="*/ 35047 w 71230"/>
                  <a:gd name="connsiteY9" fmla="*/ 2632 h 65249"/>
                  <a:gd name="connsiteX10" fmla="*/ 28528 w 71230"/>
                  <a:gd name="connsiteY10" fmla="*/ 3110 h 65249"/>
                  <a:gd name="connsiteX11" fmla="*/ 40908 w 71230"/>
                  <a:gd name="connsiteY11" fmla="*/ 33612 h 65249"/>
                  <a:gd name="connsiteX12" fmla="*/ 36662 w 71230"/>
                  <a:gd name="connsiteY12" fmla="*/ 35825 h 65249"/>
                  <a:gd name="connsiteX13" fmla="*/ 46949 w 71230"/>
                  <a:gd name="connsiteY13" fmla="*/ 60704 h 65249"/>
                  <a:gd name="connsiteX14" fmla="*/ 52152 w 71230"/>
                  <a:gd name="connsiteY14" fmla="*/ 64353 h 65249"/>
                  <a:gd name="connsiteX15" fmla="*/ 47188 w 71230"/>
                  <a:gd name="connsiteY15" fmla="*/ 65250 h 65249"/>
                  <a:gd name="connsiteX16" fmla="*/ 35526 w 71230"/>
                  <a:gd name="connsiteY16" fmla="*/ 36662 h 65249"/>
                  <a:gd name="connsiteX17" fmla="*/ 34329 w 71230"/>
                  <a:gd name="connsiteY17" fmla="*/ 37080 h 65249"/>
                  <a:gd name="connsiteX18" fmla="*/ 44915 w 71230"/>
                  <a:gd name="connsiteY18" fmla="*/ 63097 h 65249"/>
                  <a:gd name="connsiteX19" fmla="*/ 43480 w 71230"/>
                  <a:gd name="connsiteY19" fmla="*/ 63695 h 65249"/>
                  <a:gd name="connsiteX20" fmla="*/ 32834 w 71230"/>
                  <a:gd name="connsiteY20" fmla="*/ 37499 h 65249"/>
                  <a:gd name="connsiteX21" fmla="*/ 16028 w 71230"/>
                  <a:gd name="connsiteY21" fmla="*/ 45753 h 65249"/>
                  <a:gd name="connsiteX22" fmla="*/ 23743 w 71230"/>
                  <a:gd name="connsiteY22" fmla="*/ 64652 h 65249"/>
                  <a:gd name="connsiteX23" fmla="*/ 22787 w 71230"/>
                  <a:gd name="connsiteY23" fmla="*/ 65130 h 65249"/>
                  <a:gd name="connsiteX24" fmla="*/ 0 w 71230"/>
                  <a:gd name="connsiteY24" fmla="*/ 9150 h 65249"/>
                  <a:gd name="connsiteX25" fmla="*/ 119 w 71230"/>
                  <a:gd name="connsiteY25" fmla="*/ 9031 h 65249"/>
                  <a:gd name="connsiteX26" fmla="*/ 14712 w 71230"/>
                  <a:gd name="connsiteY26" fmla="*/ 44915 h 65249"/>
                  <a:gd name="connsiteX27" fmla="*/ 31997 w 71230"/>
                  <a:gd name="connsiteY27" fmla="*/ 36243 h 65249"/>
                  <a:gd name="connsiteX28" fmla="*/ 19676 w 71230"/>
                  <a:gd name="connsiteY28" fmla="*/ 6340 h 65249"/>
                  <a:gd name="connsiteX29" fmla="*/ 15669 w 71230"/>
                  <a:gd name="connsiteY29" fmla="*/ 4306 h 65249"/>
                  <a:gd name="connsiteX30" fmla="*/ 7356 w 71230"/>
                  <a:gd name="connsiteY30" fmla="*/ 3768 h 65249"/>
                  <a:gd name="connsiteX31" fmla="*/ 7356 w 71230"/>
                  <a:gd name="connsiteY31" fmla="*/ 3947 h 65249"/>
                  <a:gd name="connsiteX32" fmla="*/ 36064 w 71230"/>
                  <a:gd name="connsiteY32" fmla="*/ 33851 h 65249"/>
                  <a:gd name="connsiteX33" fmla="*/ 38456 w 71230"/>
                  <a:gd name="connsiteY33" fmla="*/ 33193 h 65249"/>
                  <a:gd name="connsiteX34" fmla="*/ 27631 w 71230"/>
                  <a:gd name="connsiteY34" fmla="*/ 5143 h 65249"/>
                  <a:gd name="connsiteX35" fmla="*/ 23384 w 71230"/>
                  <a:gd name="connsiteY35" fmla="*/ 2632 h 65249"/>
                  <a:gd name="connsiteX36" fmla="*/ 36064 w 71230"/>
                  <a:gd name="connsiteY36" fmla="*/ 33851 h 65249"/>
                  <a:gd name="connsiteX37" fmla="*/ 21770 w 71230"/>
                  <a:gd name="connsiteY37" fmla="*/ 4186 h 65249"/>
                  <a:gd name="connsiteX38" fmla="*/ 21052 w 71230"/>
                  <a:gd name="connsiteY38" fmla="*/ 4545 h 65249"/>
                  <a:gd name="connsiteX39" fmla="*/ 33432 w 71230"/>
                  <a:gd name="connsiteY39" fmla="*/ 34987 h 65249"/>
                  <a:gd name="connsiteX40" fmla="*/ 34150 w 71230"/>
                  <a:gd name="connsiteY40" fmla="*/ 34628 h 65249"/>
                  <a:gd name="connsiteX41" fmla="*/ 21770 w 71230"/>
                  <a:gd name="connsiteY41" fmla="*/ 4186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230" h="65249">
                    <a:moveTo>
                      <a:pt x="7356" y="3947"/>
                    </a:moveTo>
                    <a:cubicBezTo>
                      <a:pt x="19975" y="2632"/>
                      <a:pt x="32535" y="1316"/>
                      <a:pt x="45393" y="0"/>
                    </a:cubicBezTo>
                    <a:cubicBezTo>
                      <a:pt x="54006" y="21232"/>
                      <a:pt x="62618" y="42403"/>
                      <a:pt x="71230" y="63515"/>
                    </a:cubicBezTo>
                    <a:cubicBezTo>
                      <a:pt x="70931" y="63635"/>
                      <a:pt x="70692" y="63755"/>
                      <a:pt x="70393" y="63874"/>
                    </a:cubicBezTo>
                    <a:cubicBezTo>
                      <a:pt x="67761" y="57355"/>
                      <a:pt x="65190" y="50896"/>
                      <a:pt x="62439" y="44377"/>
                    </a:cubicBezTo>
                    <a:cubicBezTo>
                      <a:pt x="57415" y="32415"/>
                      <a:pt x="51972" y="20574"/>
                      <a:pt x="47427" y="8433"/>
                    </a:cubicBezTo>
                    <a:cubicBezTo>
                      <a:pt x="45095" y="2153"/>
                      <a:pt x="42044" y="538"/>
                      <a:pt x="36363" y="3050"/>
                    </a:cubicBezTo>
                    <a:cubicBezTo>
                      <a:pt x="39951" y="11902"/>
                      <a:pt x="43599" y="20813"/>
                      <a:pt x="47188" y="29724"/>
                    </a:cubicBezTo>
                    <a:cubicBezTo>
                      <a:pt x="46889" y="29844"/>
                      <a:pt x="46530" y="29963"/>
                      <a:pt x="46231" y="30143"/>
                    </a:cubicBezTo>
                    <a:cubicBezTo>
                      <a:pt x="42523" y="21052"/>
                      <a:pt x="38815" y="11902"/>
                      <a:pt x="35047" y="2632"/>
                    </a:cubicBezTo>
                    <a:cubicBezTo>
                      <a:pt x="32714" y="2811"/>
                      <a:pt x="30741" y="2990"/>
                      <a:pt x="28528" y="3110"/>
                    </a:cubicBezTo>
                    <a:cubicBezTo>
                      <a:pt x="32774" y="13576"/>
                      <a:pt x="36781" y="23444"/>
                      <a:pt x="40908" y="33612"/>
                    </a:cubicBezTo>
                    <a:cubicBezTo>
                      <a:pt x="39712" y="34210"/>
                      <a:pt x="38396" y="34927"/>
                      <a:pt x="36662" y="35825"/>
                    </a:cubicBezTo>
                    <a:cubicBezTo>
                      <a:pt x="40130" y="44317"/>
                      <a:pt x="43241" y="52630"/>
                      <a:pt x="46949" y="60704"/>
                    </a:cubicBezTo>
                    <a:cubicBezTo>
                      <a:pt x="47786" y="62499"/>
                      <a:pt x="50597" y="63276"/>
                      <a:pt x="52152" y="64353"/>
                    </a:cubicBezTo>
                    <a:cubicBezTo>
                      <a:pt x="51195" y="64532"/>
                      <a:pt x="49341" y="64891"/>
                      <a:pt x="47188" y="65250"/>
                    </a:cubicBezTo>
                    <a:cubicBezTo>
                      <a:pt x="43300" y="55621"/>
                      <a:pt x="39413" y="46171"/>
                      <a:pt x="35526" y="36662"/>
                    </a:cubicBezTo>
                    <a:cubicBezTo>
                      <a:pt x="35107" y="36781"/>
                      <a:pt x="34688" y="36901"/>
                      <a:pt x="34329" y="37080"/>
                    </a:cubicBezTo>
                    <a:cubicBezTo>
                      <a:pt x="37858" y="45753"/>
                      <a:pt x="41386" y="54425"/>
                      <a:pt x="44915" y="63097"/>
                    </a:cubicBezTo>
                    <a:cubicBezTo>
                      <a:pt x="44437" y="63276"/>
                      <a:pt x="43958" y="63515"/>
                      <a:pt x="43480" y="63695"/>
                    </a:cubicBezTo>
                    <a:cubicBezTo>
                      <a:pt x="40011" y="55142"/>
                      <a:pt x="36542" y="46650"/>
                      <a:pt x="32834" y="37499"/>
                    </a:cubicBezTo>
                    <a:cubicBezTo>
                      <a:pt x="26913" y="40370"/>
                      <a:pt x="21650" y="43001"/>
                      <a:pt x="16028" y="45753"/>
                    </a:cubicBezTo>
                    <a:cubicBezTo>
                      <a:pt x="18660" y="52272"/>
                      <a:pt x="21231" y="58491"/>
                      <a:pt x="23743" y="64652"/>
                    </a:cubicBezTo>
                    <a:cubicBezTo>
                      <a:pt x="23444" y="64831"/>
                      <a:pt x="23086" y="64951"/>
                      <a:pt x="22787" y="65130"/>
                    </a:cubicBezTo>
                    <a:cubicBezTo>
                      <a:pt x="15191" y="46470"/>
                      <a:pt x="7595" y="27810"/>
                      <a:pt x="0" y="9150"/>
                    </a:cubicBezTo>
                    <a:cubicBezTo>
                      <a:pt x="60" y="9091"/>
                      <a:pt x="60" y="9091"/>
                      <a:pt x="119" y="9031"/>
                    </a:cubicBezTo>
                    <a:cubicBezTo>
                      <a:pt x="4904" y="20753"/>
                      <a:pt x="9629" y="32415"/>
                      <a:pt x="14712" y="44915"/>
                    </a:cubicBezTo>
                    <a:cubicBezTo>
                      <a:pt x="20933" y="41805"/>
                      <a:pt x="26196" y="39174"/>
                      <a:pt x="31997" y="36243"/>
                    </a:cubicBezTo>
                    <a:cubicBezTo>
                      <a:pt x="27870" y="26136"/>
                      <a:pt x="23923" y="16148"/>
                      <a:pt x="19676" y="6340"/>
                    </a:cubicBezTo>
                    <a:cubicBezTo>
                      <a:pt x="19198" y="5263"/>
                      <a:pt x="17105" y="4545"/>
                      <a:pt x="15669" y="4306"/>
                    </a:cubicBezTo>
                    <a:cubicBezTo>
                      <a:pt x="12918" y="3888"/>
                      <a:pt x="10107" y="3888"/>
                      <a:pt x="7356" y="3768"/>
                    </a:cubicBezTo>
                    <a:cubicBezTo>
                      <a:pt x="7356" y="3828"/>
                      <a:pt x="7356" y="3947"/>
                      <a:pt x="7356" y="3947"/>
                    </a:cubicBezTo>
                    <a:close/>
                    <a:moveTo>
                      <a:pt x="36064" y="33851"/>
                    </a:moveTo>
                    <a:cubicBezTo>
                      <a:pt x="36841" y="33612"/>
                      <a:pt x="37678" y="33432"/>
                      <a:pt x="38456" y="33193"/>
                    </a:cubicBezTo>
                    <a:cubicBezTo>
                      <a:pt x="36303" y="23385"/>
                      <a:pt x="31219" y="14473"/>
                      <a:pt x="27631" y="5143"/>
                    </a:cubicBezTo>
                    <a:cubicBezTo>
                      <a:pt x="27272" y="4246"/>
                      <a:pt x="25597" y="3888"/>
                      <a:pt x="23384" y="2632"/>
                    </a:cubicBezTo>
                    <a:cubicBezTo>
                      <a:pt x="27990" y="14115"/>
                      <a:pt x="32057" y="23983"/>
                      <a:pt x="36064" y="33851"/>
                    </a:cubicBezTo>
                    <a:close/>
                    <a:moveTo>
                      <a:pt x="21770" y="4186"/>
                    </a:moveTo>
                    <a:cubicBezTo>
                      <a:pt x="21530" y="4306"/>
                      <a:pt x="21291" y="4426"/>
                      <a:pt x="21052" y="4545"/>
                    </a:cubicBezTo>
                    <a:cubicBezTo>
                      <a:pt x="25179" y="14713"/>
                      <a:pt x="29305" y="24820"/>
                      <a:pt x="33432" y="34987"/>
                    </a:cubicBezTo>
                    <a:cubicBezTo>
                      <a:pt x="33671" y="34868"/>
                      <a:pt x="33911" y="34748"/>
                      <a:pt x="34150" y="34628"/>
                    </a:cubicBezTo>
                    <a:cubicBezTo>
                      <a:pt x="30023" y="24461"/>
                      <a:pt x="25896" y="14354"/>
                      <a:pt x="21770" y="418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91" name="Vrije vorm: vorm 9290">
                <a:extLst>
                  <a:ext uri="{FF2B5EF4-FFF2-40B4-BE49-F238E27FC236}">
                    <a16:creationId xmlns:a16="http://schemas.microsoft.com/office/drawing/2014/main" id="{1E1CD748-0A2F-4D18-9F97-735553C5B1D9}"/>
                  </a:ext>
                </a:extLst>
              </p:cNvPr>
              <p:cNvSpPr/>
              <p:nvPr/>
            </p:nvSpPr>
            <p:spPr>
              <a:xfrm>
                <a:off x="4996494" y="1164666"/>
                <a:ext cx="77809" cy="80022"/>
              </a:xfrm>
              <a:custGeom>
                <a:avLst/>
                <a:gdLst>
                  <a:gd name="connsiteX0" fmla="*/ 0 w 77809"/>
                  <a:gd name="connsiteY0" fmla="*/ 13158 h 80022"/>
                  <a:gd name="connsiteX1" fmla="*/ 51135 w 77809"/>
                  <a:gd name="connsiteY1" fmla="*/ 0 h 80022"/>
                  <a:gd name="connsiteX2" fmla="*/ 77809 w 77809"/>
                  <a:gd name="connsiteY2" fmla="*/ 65668 h 80022"/>
                  <a:gd name="connsiteX3" fmla="*/ 27153 w 77809"/>
                  <a:gd name="connsiteY3" fmla="*/ 80022 h 80022"/>
                  <a:gd name="connsiteX4" fmla="*/ 0 w 77809"/>
                  <a:gd name="connsiteY4" fmla="*/ 13158 h 80022"/>
                  <a:gd name="connsiteX5" fmla="*/ 42702 w 77809"/>
                  <a:gd name="connsiteY5" fmla="*/ 3947 h 80022"/>
                  <a:gd name="connsiteX6" fmla="*/ 58372 w 77809"/>
                  <a:gd name="connsiteY6" fmla="*/ 42463 h 80022"/>
                  <a:gd name="connsiteX7" fmla="*/ 57176 w 77809"/>
                  <a:gd name="connsiteY7" fmla="*/ 42942 h 80022"/>
                  <a:gd name="connsiteX8" fmla="*/ 41267 w 77809"/>
                  <a:gd name="connsiteY8" fmla="*/ 3887 h 80022"/>
                  <a:gd name="connsiteX9" fmla="*/ 2333 w 77809"/>
                  <a:gd name="connsiteY9" fmla="*/ 13935 h 80022"/>
                  <a:gd name="connsiteX10" fmla="*/ 17882 w 77809"/>
                  <a:gd name="connsiteY10" fmla="*/ 52152 h 80022"/>
                  <a:gd name="connsiteX11" fmla="*/ 48444 w 77809"/>
                  <a:gd name="connsiteY11" fmla="*/ 43599 h 80022"/>
                  <a:gd name="connsiteX12" fmla="*/ 34449 w 77809"/>
                  <a:gd name="connsiteY12" fmla="*/ 9210 h 80022"/>
                  <a:gd name="connsiteX13" fmla="*/ 35406 w 77809"/>
                  <a:gd name="connsiteY13" fmla="*/ 8792 h 80022"/>
                  <a:gd name="connsiteX14" fmla="*/ 50059 w 77809"/>
                  <a:gd name="connsiteY14" fmla="*/ 44736 h 80022"/>
                  <a:gd name="connsiteX15" fmla="*/ 18182 w 77809"/>
                  <a:gd name="connsiteY15" fmla="*/ 53348 h 80022"/>
                  <a:gd name="connsiteX16" fmla="*/ 24401 w 77809"/>
                  <a:gd name="connsiteY16" fmla="*/ 68659 h 80022"/>
                  <a:gd name="connsiteX17" fmla="*/ 54126 w 77809"/>
                  <a:gd name="connsiteY17" fmla="*/ 60585 h 80022"/>
                  <a:gd name="connsiteX18" fmla="*/ 54425 w 77809"/>
                  <a:gd name="connsiteY18" fmla="*/ 61601 h 80022"/>
                  <a:gd name="connsiteX19" fmla="*/ 24999 w 77809"/>
                  <a:gd name="connsiteY19" fmla="*/ 70154 h 80022"/>
                  <a:gd name="connsiteX20" fmla="*/ 28289 w 77809"/>
                  <a:gd name="connsiteY20" fmla="*/ 78228 h 80022"/>
                  <a:gd name="connsiteX21" fmla="*/ 75477 w 77809"/>
                  <a:gd name="connsiteY21" fmla="*/ 64831 h 80022"/>
                  <a:gd name="connsiteX22" fmla="*/ 49760 w 77809"/>
                  <a:gd name="connsiteY22" fmla="*/ 1555 h 80022"/>
                  <a:gd name="connsiteX23" fmla="*/ 42702 w 77809"/>
                  <a:gd name="connsiteY23" fmla="*/ 3947 h 8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7809" h="80022">
                    <a:moveTo>
                      <a:pt x="0" y="13158"/>
                    </a:moveTo>
                    <a:cubicBezTo>
                      <a:pt x="17404" y="8672"/>
                      <a:pt x="34210" y="4366"/>
                      <a:pt x="51135" y="0"/>
                    </a:cubicBezTo>
                    <a:cubicBezTo>
                      <a:pt x="59987" y="21710"/>
                      <a:pt x="68838" y="43599"/>
                      <a:pt x="77809" y="65668"/>
                    </a:cubicBezTo>
                    <a:cubicBezTo>
                      <a:pt x="60824" y="70513"/>
                      <a:pt x="44018" y="75237"/>
                      <a:pt x="27153" y="80022"/>
                    </a:cubicBezTo>
                    <a:cubicBezTo>
                      <a:pt x="18182" y="57774"/>
                      <a:pt x="9091" y="35466"/>
                      <a:pt x="0" y="13158"/>
                    </a:cubicBezTo>
                    <a:close/>
                    <a:moveTo>
                      <a:pt x="42702" y="3947"/>
                    </a:moveTo>
                    <a:cubicBezTo>
                      <a:pt x="48025" y="17045"/>
                      <a:pt x="53229" y="29784"/>
                      <a:pt x="58372" y="42463"/>
                    </a:cubicBezTo>
                    <a:cubicBezTo>
                      <a:pt x="57953" y="42643"/>
                      <a:pt x="57594" y="42822"/>
                      <a:pt x="57176" y="42942"/>
                    </a:cubicBezTo>
                    <a:cubicBezTo>
                      <a:pt x="51853" y="29904"/>
                      <a:pt x="46590" y="16925"/>
                      <a:pt x="41267" y="3887"/>
                    </a:cubicBezTo>
                    <a:cubicBezTo>
                      <a:pt x="27930" y="7296"/>
                      <a:pt x="15311" y="10586"/>
                      <a:pt x="2333" y="13935"/>
                    </a:cubicBezTo>
                    <a:cubicBezTo>
                      <a:pt x="7596" y="26913"/>
                      <a:pt x="12679" y="39353"/>
                      <a:pt x="17882" y="52152"/>
                    </a:cubicBezTo>
                    <a:cubicBezTo>
                      <a:pt x="28109" y="49281"/>
                      <a:pt x="38038" y="46530"/>
                      <a:pt x="48444" y="43599"/>
                    </a:cubicBezTo>
                    <a:cubicBezTo>
                      <a:pt x="43600" y="31638"/>
                      <a:pt x="38994" y="20454"/>
                      <a:pt x="34449" y="9210"/>
                    </a:cubicBezTo>
                    <a:cubicBezTo>
                      <a:pt x="34748" y="9091"/>
                      <a:pt x="35107" y="8911"/>
                      <a:pt x="35406" y="8792"/>
                    </a:cubicBezTo>
                    <a:cubicBezTo>
                      <a:pt x="40310" y="20813"/>
                      <a:pt x="45155" y="32834"/>
                      <a:pt x="50059" y="44736"/>
                    </a:cubicBezTo>
                    <a:cubicBezTo>
                      <a:pt x="39652" y="47547"/>
                      <a:pt x="29067" y="50417"/>
                      <a:pt x="18182" y="53348"/>
                    </a:cubicBezTo>
                    <a:cubicBezTo>
                      <a:pt x="20394" y="58791"/>
                      <a:pt x="22248" y="63396"/>
                      <a:pt x="24401" y="68659"/>
                    </a:cubicBezTo>
                    <a:cubicBezTo>
                      <a:pt x="34389" y="65967"/>
                      <a:pt x="44257" y="63276"/>
                      <a:pt x="54126" y="60585"/>
                    </a:cubicBezTo>
                    <a:cubicBezTo>
                      <a:pt x="54245" y="60944"/>
                      <a:pt x="54305" y="61243"/>
                      <a:pt x="54425" y="61601"/>
                    </a:cubicBezTo>
                    <a:cubicBezTo>
                      <a:pt x="44736" y="64412"/>
                      <a:pt x="35047" y="67223"/>
                      <a:pt x="24999" y="70154"/>
                    </a:cubicBezTo>
                    <a:cubicBezTo>
                      <a:pt x="26196" y="73144"/>
                      <a:pt x="27153" y="75477"/>
                      <a:pt x="28289" y="78228"/>
                    </a:cubicBezTo>
                    <a:cubicBezTo>
                      <a:pt x="44138" y="73742"/>
                      <a:pt x="59747" y="69317"/>
                      <a:pt x="75477" y="64831"/>
                    </a:cubicBezTo>
                    <a:cubicBezTo>
                      <a:pt x="66685" y="43241"/>
                      <a:pt x="58252" y="22488"/>
                      <a:pt x="49760" y="1555"/>
                    </a:cubicBezTo>
                    <a:cubicBezTo>
                      <a:pt x="47308" y="2392"/>
                      <a:pt x="45334" y="3110"/>
                      <a:pt x="42702" y="394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92" name="Vrije vorm: vorm 9291">
                <a:extLst>
                  <a:ext uri="{FF2B5EF4-FFF2-40B4-BE49-F238E27FC236}">
                    <a16:creationId xmlns:a16="http://schemas.microsoft.com/office/drawing/2014/main" id="{CC7479AF-416B-4942-B1CD-69DAE53E729D}"/>
                  </a:ext>
                </a:extLst>
              </p:cNvPr>
              <p:cNvSpPr/>
              <p:nvPr/>
            </p:nvSpPr>
            <p:spPr>
              <a:xfrm>
                <a:off x="5205879" y="1195287"/>
                <a:ext cx="69376" cy="75357"/>
              </a:xfrm>
              <a:custGeom>
                <a:avLst/>
                <a:gdLst>
                  <a:gd name="connsiteX0" fmla="*/ 69377 w 69376"/>
                  <a:gd name="connsiteY0" fmla="*/ 61422 h 75357"/>
                  <a:gd name="connsiteX1" fmla="*/ 25418 w 69376"/>
                  <a:gd name="connsiteY1" fmla="*/ 75357 h 75357"/>
                  <a:gd name="connsiteX2" fmla="*/ 0 w 69376"/>
                  <a:gd name="connsiteY2" fmla="*/ 12918 h 75357"/>
                  <a:gd name="connsiteX3" fmla="*/ 44377 w 69376"/>
                  <a:gd name="connsiteY3" fmla="*/ 0 h 75357"/>
                  <a:gd name="connsiteX4" fmla="*/ 69377 w 69376"/>
                  <a:gd name="connsiteY4" fmla="*/ 61422 h 75357"/>
                  <a:gd name="connsiteX5" fmla="*/ 9330 w 69376"/>
                  <a:gd name="connsiteY5" fmla="*/ 28707 h 75357"/>
                  <a:gd name="connsiteX6" fmla="*/ 26315 w 69376"/>
                  <a:gd name="connsiteY6" fmla="*/ 70094 h 75357"/>
                  <a:gd name="connsiteX7" fmla="*/ 30023 w 69376"/>
                  <a:gd name="connsiteY7" fmla="*/ 72427 h 75357"/>
                  <a:gd name="connsiteX8" fmla="*/ 62260 w 69376"/>
                  <a:gd name="connsiteY8" fmla="*/ 62259 h 75357"/>
                  <a:gd name="connsiteX9" fmla="*/ 40430 w 69376"/>
                  <a:gd name="connsiteY9" fmla="*/ 8672 h 75357"/>
                  <a:gd name="connsiteX10" fmla="*/ 9330 w 69376"/>
                  <a:gd name="connsiteY10" fmla="*/ 28707 h 75357"/>
                  <a:gd name="connsiteX11" fmla="*/ 41147 w 69376"/>
                  <a:gd name="connsiteY11" fmla="*/ 6519 h 75357"/>
                  <a:gd name="connsiteX12" fmla="*/ 62200 w 69376"/>
                  <a:gd name="connsiteY12" fmla="*/ 58073 h 75357"/>
                  <a:gd name="connsiteX13" fmla="*/ 65609 w 69376"/>
                  <a:gd name="connsiteY13" fmla="*/ 60884 h 75357"/>
                  <a:gd name="connsiteX14" fmla="*/ 65668 w 69376"/>
                  <a:gd name="connsiteY14" fmla="*/ 56817 h 75357"/>
                  <a:gd name="connsiteX15" fmla="*/ 45813 w 69376"/>
                  <a:gd name="connsiteY15" fmla="*/ 5801 h 75357"/>
                  <a:gd name="connsiteX16" fmla="*/ 39891 w 69376"/>
                  <a:gd name="connsiteY16" fmla="*/ 2632 h 75357"/>
                  <a:gd name="connsiteX17" fmla="*/ 21052 w 69376"/>
                  <a:gd name="connsiteY17" fmla="*/ 8074 h 75357"/>
                  <a:gd name="connsiteX18" fmla="*/ 2034 w 69376"/>
                  <a:gd name="connsiteY18" fmla="*/ 13995 h 75357"/>
                  <a:gd name="connsiteX19" fmla="*/ 5502 w 69376"/>
                  <a:gd name="connsiteY19" fmla="*/ 22547 h 75357"/>
                  <a:gd name="connsiteX20" fmla="*/ 12440 w 69376"/>
                  <a:gd name="connsiteY20" fmla="*/ 25119 h 75357"/>
                  <a:gd name="connsiteX21" fmla="*/ 41147 w 69376"/>
                  <a:gd name="connsiteY21" fmla="*/ 6519 h 7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376" h="75357">
                    <a:moveTo>
                      <a:pt x="69377" y="61422"/>
                    </a:moveTo>
                    <a:cubicBezTo>
                      <a:pt x="54365" y="66207"/>
                      <a:pt x="39891" y="70812"/>
                      <a:pt x="25418" y="75357"/>
                    </a:cubicBezTo>
                    <a:cubicBezTo>
                      <a:pt x="16985" y="54664"/>
                      <a:pt x="8552" y="33911"/>
                      <a:pt x="0" y="12918"/>
                    </a:cubicBezTo>
                    <a:cubicBezTo>
                      <a:pt x="14892" y="8552"/>
                      <a:pt x="29605" y="4306"/>
                      <a:pt x="44377" y="0"/>
                    </a:cubicBezTo>
                    <a:cubicBezTo>
                      <a:pt x="52630" y="20394"/>
                      <a:pt x="61063" y="41028"/>
                      <a:pt x="69377" y="61422"/>
                    </a:cubicBezTo>
                    <a:close/>
                    <a:moveTo>
                      <a:pt x="9330" y="28707"/>
                    </a:moveTo>
                    <a:cubicBezTo>
                      <a:pt x="15072" y="42762"/>
                      <a:pt x="20574" y="56518"/>
                      <a:pt x="26315" y="70094"/>
                    </a:cubicBezTo>
                    <a:cubicBezTo>
                      <a:pt x="26794" y="71230"/>
                      <a:pt x="29066" y="72666"/>
                      <a:pt x="30023" y="72427"/>
                    </a:cubicBezTo>
                    <a:cubicBezTo>
                      <a:pt x="40609" y="69257"/>
                      <a:pt x="51076" y="65848"/>
                      <a:pt x="62260" y="62259"/>
                    </a:cubicBezTo>
                    <a:cubicBezTo>
                      <a:pt x="54903" y="44257"/>
                      <a:pt x="47786" y="26734"/>
                      <a:pt x="40430" y="8672"/>
                    </a:cubicBezTo>
                    <a:cubicBezTo>
                      <a:pt x="30262" y="15191"/>
                      <a:pt x="20335" y="21590"/>
                      <a:pt x="9330" y="28707"/>
                    </a:cubicBezTo>
                    <a:close/>
                    <a:moveTo>
                      <a:pt x="41147" y="6519"/>
                    </a:moveTo>
                    <a:cubicBezTo>
                      <a:pt x="48145" y="23684"/>
                      <a:pt x="55083" y="40908"/>
                      <a:pt x="62200" y="58073"/>
                    </a:cubicBezTo>
                    <a:cubicBezTo>
                      <a:pt x="62678" y="59269"/>
                      <a:pt x="64412" y="59927"/>
                      <a:pt x="65609" y="60884"/>
                    </a:cubicBezTo>
                    <a:cubicBezTo>
                      <a:pt x="65668" y="59508"/>
                      <a:pt x="66147" y="57953"/>
                      <a:pt x="65668" y="56817"/>
                    </a:cubicBezTo>
                    <a:cubicBezTo>
                      <a:pt x="59090" y="39772"/>
                      <a:pt x="52331" y="22846"/>
                      <a:pt x="45813" y="5801"/>
                    </a:cubicBezTo>
                    <a:cubicBezTo>
                      <a:pt x="44497" y="2392"/>
                      <a:pt x="43001" y="1555"/>
                      <a:pt x="39891" y="2632"/>
                    </a:cubicBezTo>
                    <a:cubicBezTo>
                      <a:pt x="33671" y="4665"/>
                      <a:pt x="27332" y="6220"/>
                      <a:pt x="21052" y="8074"/>
                    </a:cubicBezTo>
                    <a:cubicBezTo>
                      <a:pt x="14832" y="9928"/>
                      <a:pt x="8732" y="11902"/>
                      <a:pt x="2034" y="13995"/>
                    </a:cubicBezTo>
                    <a:cubicBezTo>
                      <a:pt x="3409" y="17344"/>
                      <a:pt x="4605" y="19916"/>
                      <a:pt x="5502" y="22547"/>
                    </a:cubicBezTo>
                    <a:cubicBezTo>
                      <a:pt x="6997" y="27033"/>
                      <a:pt x="8851" y="27571"/>
                      <a:pt x="12440" y="25119"/>
                    </a:cubicBezTo>
                    <a:cubicBezTo>
                      <a:pt x="22009" y="18600"/>
                      <a:pt x="31817" y="12560"/>
                      <a:pt x="41147" y="651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93" name="Vrije vorm: vorm 9292">
                <a:extLst>
                  <a:ext uri="{FF2B5EF4-FFF2-40B4-BE49-F238E27FC236}">
                    <a16:creationId xmlns:a16="http://schemas.microsoft.com/office/drawing/2014/main" id="{C2CF6DF6-D34A-46CA-ABC4-5B345B646D04}"/>
                  </a:ext>
                </a:extLst>
              </p:cNvPr>
              <p:cNvSpPr/>
              <p:nvPr/>
            </p:nvSpPr>
            <p:spPr>
              <a:xfrm>
                <a:off x="5225077" y="1897245"/>
                <a:ext cx="73562" cy="92880"/>
              </a:xfrm>
              <a:custGeom>
                <a:avLst/>
                <a:gdLst>
                  <a:gd name="connsiteX0" fmla="*/ 73563 w 73562"/>
                  <a:gd name="connsiteY0" fmla="*/ 64831 h 92880"/>
                  <a:gd name="connsiteX1" fmla="*/ 26794 w 73562"/>
                  <a:gd name="connsiteY1" fmla="*/ 92881 h 92880"/>
                  <a:gd name="connsiteX2" fmla="*/ 0 w 73562"/>
                  <a:gd name="connsiteY2" fmla="*/ 26913 h 92880"/>
                  <a:gd name="connsiteX3" fmla="*/ 47188 w 73562"/>
                  <a:gd name="connsiteY3" fmla="*/ 0 h 92880"/>
                  <a:gd name="connsiteX4" fmla="*/ 73563 w 73562"/>
                  <a:gd name="connsiteY4" fmla="*/ 64831 h 92880"/>
                  <a:gd name="connsiteX5" fmla="*/ 46530 w 73562"/>
                  <a:gd name="connsiteY5" fmla="*/ 1974 h 92880"/>
                  <a:gd name="connsiteX6" fmla="*/ 1914 w 73562"/>
                  <a:gd name="connsiteY6" fmla="*/ 27332 h 92880"/>
                  <a:gd name="connsiteX7" fmla="*/ 23384 w 73562"/>
                  <a:gd name="connsiteY7" fmla="*/ 80082 h 92880"/>
                  <a:gd name="connsiteX8" fmla="*/ 66147 w 73562"/>
                  <a:gd name="connsiteY8" fmla="*/ 56159 h 92880"/>
                  <a:gd name="connsiteX9" fmla="*/ 66864 w 73562"/>
                  <a:gd name="connsiteY9" fmla="*/ 52272 h 92880"/>
                  <a:gd name="connsiteX10" fmla="*/ 46530 w 73562"/>
                  <a:gd name="connsiteY10" fmla="*/ 1974 h 92880"/>
                  <a:gd name="connsiteX11" fmla="*/ 69556 w 73562"/>
                  <a:gd name="connsiteY11" fmla="*/ 57834 h 92880"/>
                  <a:gd name="connsiteX12" fmla="*/ 67762 w 73562"/>
                  <a:gd name="connsiteY12" fmla="*/ 56936 h 92880"/>
                  <a:gd name="connsiteX13" fmla="*/ 26554 w 73562"/>
                  <a:gd name="connsiteY13" fmla="*/ 81697 h 92880"/>
                  <a:gd name="connsiteX14" fmla="*/ 24940 w 73562"/>
                  <a:gd name="connsiteY14" fmla="*/ 85943 h 92880"/>
                  <a:gd name="connsiteX15" fmla="*/ 26554 w 73562"/>
                  <a:gd name="connsiteY15" fmla="*/ 86960 h 92880"/>
                  <a:gd name="connsiteX16" fmla="*/ 68180 w 73562"/>
                  <a:gd name="connsiteY16" fmla="*/ 61960 h 92880"/>
                  <a:gd name="connsiteX17" fmla="*/ 69556 w 73562"/>
                  <a:gd name="connsiteY17" fmla="*/ 57834 h 92880"/>
                  <a:gd name="connsiteX18" fmla="*/ 26853 w 73562"/>
                  <a:gd name="connsiteY18" fmla="*/ 88874 h 92880"/>
                  <a:gd name="connsiteX19" fmla="*/ 27870 w 73562"/>
                  <a:gd name="connsiteY19" fmla="*/ 90668 h 92880"/>
                  <a:gd name="connsiteX20" fmla="*/ 71529 w 73562"/>
                  <a:gd name="connsiteY20" fmla="*/ 64412 h 92880"/>
                  <a:gd name="connsiteX21" fmla="*/ 70513 w 73562"/>
                  <a:gd name="connsiteY21" fmla="*/ 62678 h 92880"/>
                  <a:gd name="connsiteX22" fmla="*/ 26853 w 73562"/>
                  <a:gd name="connsiteY22" fmla="*/ 88874 h 9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3562" h="92880">
                    <a:moveTo>
                      <a:pt x="73563" y="64831"/>
                    </a:moveTo>
                    <a:cubicBezTo>
                      <a:pt x="57953" y="74221"/>
                      <a:pt x="42403" y="83491"/>
                      <a:pt x="26794" y="92881"/>
                    </a:cubicBezTo>
                    <a:cubicBezTo>
                      <a:pt x="17882" y="70991"/>
                      <a:pt x="8911" y="48922"/>
                      <a:pt x="0" y="26913"/>
                    </a:cubicBezTo>
                    <a:cubicBezTo>
                      <a:pt x="15789" y="17882"/>
                      <a:pt x="31518" y="8971"/>
                      <a:pt x="47188" y="0"/>
                    </a:cubicBezTo>
                    <a:cubicBezTo>
                      <a:pt x="55979" y="21650"/>
                      <a:pt x="64831" y="43300"/>
                      <a:pt x="73563" y="64831"/>
                    </a:cubicBezTo>
                    <a:close/>
                    <a:moveTo>
                      <a:pt x="46530" y="1974"/>
                    </a:moveTo>
                    <a:cubicBezTo>
                      <a:pt x="31399" y="10586"/>
                      <a:pt x="16806" y="18899"/>
                      <a:pt x="1914" y="27332"/>
                    </a:cubicBezTo>
                    <a:cubicBezTo>
                      <a:pt x="9090" y="44915"/>
                      <a:pt x="16028" y="62080"/>
                      <a:pt x="23384" y="80082"/>
                    </a:cubicBezTo>
                    <a:cubicBezTo>
                      <a:pt x="37798" y="72068"/>
                      <a:pt x="52032" y="64233"/>
                      <a:pt x="66147" y="56159"/>
                    </a:cubicBezTo>
                    <a:cubicBezTo>
                      <a:pt x="66924" y="55740"/>
                      <a:pt x="67343" y="53348"/>
                      <a:pt x="66864" y="52272"/>
                    </a:cubicBezTo>
                    <a:cubicBezTo>
                      <a:pt x="60286" y="35765"/>
                      <a:pt x="53587" y="19258"/>
                      <a:pt x="46530" y="1974"/>
                    </a:cubicBezTo>
                    <a:close/>
                    <a:moveTo>
                      <a:pt x="69556" y="57834"/>
                    </a:moveTo>
                    <a:cubicBezTo>
                      <a:pt x="68958" y="57535"/>
                      <a:pt x="68360" y="57235"/>
                      <a:pt x="67762" y="56936"/>
                    </a:cubicBezTo>
                    <a:cubicBezTo>
                      <a:pt x="54006" y="65130"/>
                      <a:pt x="40250" y="73324"/>
                      <a:pt x="26554" y="81697"/>
                    </a:cubicBezTo>
                    <a:cubicBezTo>
                      <a:pt x="25537" y="82295"/>
                      <a:pt x="25478" y="84508"/>
                      <a:pt x="24940" y="85943"/>
                    </a:cubicBezTo>
                    <a:cubicBezTo>
                      <a:pt x="25478" y="86302"/>
                      <a:pt x="26016" y="86601"/>
                      <a:pt x="26554" y="86960"/>
                    </a:cubicBezTo>
                    <a:cubicBezTo>
                      <a:pt x="40430" y="78646"/>
                      <a:pt x="54365" y="70453"/>
                      <a:pt x="68180" y="61960"/>
                    </a:cubicBezTo>
                    <a:cubicBezTo>
                      <a:pt x="69137" y="61362"/>
                      <a:pt x="69137" y="59209"/>
                      <a:pt x="69556" y="57834"/>
                    </a:cubicBezTo>
                    <a:close/>
                    <a:moveTo>
                      <a:pt x="26853" y="88874"/>
                    </a:moveTo>
                    <a:cubicBezTo>
                      <a:pt x="27212" y="89472"/>
                      <a:pt x="27511" y="90070"/>
                      <a:pt x="27870" y="90668"/>
                    </a:cubicBezTo>
                    <a:cubicBezTo>
                      <a:pt x="42403" y="81936"/>
                      <a:pt x="56936" y="73144"/>
                      <a:pt x="71529" y="64412"/>
                    </a:cubicBezTo>
                    <a:cubicBezTo>
                      <a:pt x="71170" y="63814"/>
                      <a:pt x="70871" y="63216"/>
                      <a:pt x="70513" y="62678"/>
                    </a:cubicBezTo>
                    <a:cubicBezTo>
                      <a:pt x="55979" y="71350"/>
                      <a:pt x="41446" y="80142"/>
                      <a:pt x="26853" y="8887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94" name="Vrije vorm: vorm 9293">
                <a:extLst>
                  <a:ext uri="{FF2B5EF4-FFF2-40B4-BE49-F238E27FC236}">
                    <a16:creationId xmlns:a16="http://schemas.microsoft.com/office/drawing/2014/main" id="{01C5DF7F-F460-450E-B9B7-8539E78D93CA}"/>
                  </a:ext>
                </a:extLst>
              </p:cNvPr>
              <p:cNvSpPr/>
              <p:nvPr/>
            </p:nvSpPr>
            <p:spPr>
              <a:xfrm>
                <a:off x="4921137" y="1661963"/>
                <a:ext cx="65010" cy="67881"/>
              </a:xfrm>
              <a:custGeom>
                <a:avLst/>
                <a:gdLst>
                  <a:gd name="connsiteX0" fmla="*/ 20275 w 65010"/>
                  <a:gd name="connsiteY0" fmla="*/ 67881 h 67881"/>
                  <a:gd name="connsiteX1" fmla="*/ 1256 w 65010"/>
                  <a:gd name="connsiteY1" fmla="*/ 21172 h 67881"/>
                  <a:gd name="connsiteX2" fmla="*/ 2273 w 65010"/>
                  <a:gd name="connsiteY2" fmla="*/ 20753 h 67881"/>
                  <a:gd name="connsiteX3" fmla="*/ 20933 w 65010"/>
                  <a:gd name="connsiteY3" fmla="*/ 66625 h 67881"/>
                  <a:gd name="connsiteX4" fmla="*/ 40310 w 65010"/>
                  <a:gd name="connsiteY4" fmla="*/ 58731 h 67881"/>
                  <a:gd name="connsiteX5" fmla="*/ 35645 w 65010"/>
                  <a:gd name="connsiteY5" fmla="*/ 47188 h 67881"/>
                  <a:gd name="connsiteX6" fmla="*/ 31877 w 65010"/>
                  <a:gd name="connsiteY6" fmla="*/ 48683 h 67881"/>
                  <a:gd name="connsiteX7" fmla="*/ 17942 w 65010"/>
                  <a:gd name="connsiteY7" fmla="*/ 14354 h 67881"/>
                  <a:gd name="connsiteX8" fmla="*/ 18959 w 65010"/>
                  <a:gd name="connsiteY8" fmla="*/ 13875 h 67881"/>
                  <a:gd name="connsiteX9" fmla="*/ 25777 w 65010"/>
                  <a:gd name="connsiteY9" fmla="*/ 30561 h 67881"/>
                  <a:gd name="connsiteX10" fmla="*/ 32774 w 65010"/>
                  <a:gd name="connsiteY10" fmla="*/ 45932 h 67881"/>
                  <a:gd name="connsiteX11" fmla="*/ 34509 w 65010"/>
                  <a:gd name="connsiteY11" fmla="*/ 45035 h 67881"/>
                  <a:gd name="connsiteX12" fmla="*/ 20454 w 65010"/>
                  <a:gd name="connsiteY12" fmla="*/ 10466 h 67881"/>
                  <a:gd name="connsiteX13" fmla="*/ 419 w 65010"/>
                  <a:gd name="connsiteY13" fmla="*/ 17464 h 67881"/>
                  <a:gd name="connsiteX14" fmla="*/ 0 w 65010"/>
                  <a:gd name="connsiteY14" fmla="*/ 16268 h 67881"/>
                  <a:gd name="connsiteX15" fmla="*/ 45992 w 65010"/>
                  <a:gd name="connsiteY15" fmla="*/ 0 h 67881"/>
                  <a:gd name="connsiteX16" fmla="*/ 46291 w 65010"/>
                  <a:gd name="connsiteY16" fmla="*/ 718 h 67881"/>
                  <a:gd name="connsiteX17" fmla="*/ 25597 w 65010"/>
                  <a:gd name="connsiteY17" fmla="*/ 9150 h 67881"/>
                  <a:gd name="connsiteX18" fmla="*/ 39293 w 65010"/>
                  <a:gd name="connsiteY18" fmla="*/ 42762 h 67881"/>
                  <a:gd name="connsiteX19" fmla="*/ 56697 w 65010"/>
                  <a:gd name="connsiteY19" fmla="*/ 35705 h 67881"/>
                  <a:gd name="connsiteX20" fmla="*/ 57236 w 65010"/>
                  <a:gd name="connsiteY20" fmla="*/ 36961 h 67881"/>
                  <a:gd name="connsiteX21" fmla="*/ 39951 w 65010"/>
                  <a:gd name="connsiteY21" fmla="*/ 43958 h 67881"/>
                  <a:gd name="connsiteX22" fmla="*/ 44915 w 65010"/>
                  <a:gd name="connsiteY22" fmla="*/ 56159 h 67881"/>
                  <a:gd name="connsiteX23" fmla="*/ 62618 w 65010"/>
                  <a:gd name="connsiteY23" fmla="*/ 48982 h 67881"/>
                  <a:gd name="connsiteX24" fmla="*/ 63097 w 65010"/>
                  <a:gd name="connsiteY24" fmla="*/ 50178 h 67881"/>
                  <a:gd name="connsiteX25" fmla="*/ 46291 w 65010"/>
                  <a:gd name="connsiteY25" fmla="*/ 56996 h 67881"/>
                  <a:gd name="connsiteX26" fmla="*/ 46769 w 65010"/>
                  <a:gd name="connsiteY26" fmla="*/ 58432 h 67881"/>
                  <a:gd name="connsiteX27" fmla="*/ 64711 w 65010"/>
                  <a:gd name="connsiteY27" fmla="*/ 53767 h 67881"/>
                  <a:gd name="connsiteX28" fmla="*/ 65010 w 65010"/>
                  <a:gd name="connsiteY28" fmla="*/ 54843 h 67881"/>
                  <a:gd name="connsiteX29" fmla="*/ 20275 w 65010"/>
                  <a:gd name="connsiteY29" fmla="*/ 67881 h 67881"/>
                  <a:gd name="connsiteX30" fmla="*/ 36422 w 65010"/>
                  <a:gd name="connsiteY30" fmla="*/ 44078 h 67881"/>
                  <a:gd name="connsiteX31" fmla="*/ 37260 w 65010"/>
                  <a:gd name="connsiteY31" fmla="*/ 43719 h 67881"/>
                  <a:gd name="connsiteX32" fmla="*/ 23624 w 65010"/>
                  <a:gd name="connsiteY32" fmla="*/ 10167 h 67881"/>
                  <a:gd name="connsiteX33" fmla="*/ 22787 w 65010"/>
                  <a:gd name="connsiteY33" fmla="*/ 10586 h 67881"/>
                  <a:gd name="connsiteX34" fmla="*/ 36422 w 65010"/>
                  <a:gd name="connsiteY34" fmla="*/ 44078 h 6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5010" h="67881">
                    <a:moveTo>
                      <a:pt x="20275" y="67881"/>
                    </a:moveTo>
                    <a:cubicBezTo>
                      <a:pt x="13875" y="52212"/>
                      <a:pt x="7596" y="36662"/>
                      <a:pt x="1256" y="21172"/>
                    </a:cubicBezTo>
                    <a:cubicBezTo>
                      <a:pt x="1615" y="21052"/>
                      <a:pt x="1914" y="20873"/>
                      <a:pt x="2273" y="20753"/>
                    </a:cubicBezTo>
                    <a:cubicBezTo>
                      <a:pt x="8373" y="35765"/>
                      <a:pt x="14473" y="50716"/>
                      <a:pt x="20933" y="66625"/>
                    </a:cubicBezTo>
                    <a:cubicBezTo>
                      <a:pt x="27751" y="63874"/>
                      <a:pt x="33851" y="61362"/>
                      <a:pt x="40310" y="58731"/>
                    </a:cubicBezTo>
                    <a:cubicBezTo>
                      <a:pt x="38755" y="54903"/>
                      <a:pt x="37260" y="51255"/>
                      <a:pt x="35645" y="47188"/>
                    </a:cubicBezTo>
                    <a:cubicBezTo>
                      <a:pt x="34509" y="47666"/>
                      <a:pt x="33253" y="48145"/>
                      <a:pt x="31877" y="48683"/>
                    </a:cubicBezTo>
                    <a:cubicBezTo>
                      <a:pt x="27152" y="37080"/>
                      <a:pt x="22547" y="25717"/>
                      <a:pt x="17942" y="14354"/>
                    </a:cubicBezTo>
                    <a:cubicBezTo>
                      <a:pt x="18301" y="14174"/>
                      <a:pt x="18600" y="14055"/>
                      <a:pt x="18959" y="13875"/>
                    </a:cubicBezTo>
                    <a:cubicBezTo>
                      <a:pt x="21231" y="19437"/>
                      <a:pt x="23325" y="25059"/>
                      <a:pt x="25777" y="30561"/>
                    </a:cubicBezTo>
                    <a:cubicBezTo>
                      <a:pt x="28050" y="35705"/>
                      <a:pt x="29306" y="41506"/>
                      <a:pt x="32774" y="45932"/>
                    </a:cubicBezTo>
                    <a:cubicBezTo>
                      <a:pt x="33373" y="45633"/>
                      <a:pt x="33911" y="45334"/>
                      <a:pt x="34509" y="45035"/>
                    </a:cubicBezTo>
                    <a:cubicBezTo>
                      <a:pt x="29904" y="33791"/>
                      <a:pt x="25358" y="22547"/>
                      <a:pt x="20454" y="10466"/>
                    </a:cubicBezTo>
                    <a:cubicBezTo>
                      <a:pt x="13935" y="12739"/>
                      <a:pt x="7177" y="15131"/>
                      <a:pt x="419" y="17464"/>
                    </a:cubicBezTo>
                    <a:cubicBezTo>
                      <a:pt x="299" y="17045"/>
                      <a:pt x="120" y="16686"/>
                      <a:pt x="0" y="16268"/>
                    </a:cubicBezTo>
                    <a:cubicBezTo>
                      <a:pt x="15311" y="10825"/>
                      <a:pt x="30681" y="5383"/>
                      <a:pt x="45992" y="0"/>
                    </a:cubicBezTo>
                    <a:cubicBezTo>
                      <a:pt x="46112" y="239"/>
                      <a:pt x="46171" y="478"/>
                      <a:pt x="46291" y="718"/>
                    </a:cubicBezTo>
                    <a:cubicBezTo>
                      <a:pt x="39473" y="3469"/>
                      <a:pt x="32714" y="6220"/>
                      <a:pt x="25597" y="9150"/>
                    </a:cubicBezTo>
                    <a:cubicBezTo>
                      <a:pt x="30143" y="20275"/>
                      <a:pt x="34568" y="31279"/>
                      <a:pt x="39293" y="42762"/>
                    </a:cubicBezTo>
                    <a:cubicBezTo>
                      <a:pt x="45095" y="40430"/>
                      <a:pt x="50896" y="38037"/>
                      <a:pt x="56697" y="35705"/>
                    </a:cubicBezTo>
                    <a:cubicBezTo>
                      <a:pt x="56877" y="36124"/>
                      <a:pt x="57056" y="36542"/>
                      <a:pt x="57236" y="36961"/>
                    </a:cubicBezTo>
                    <a:cubicBezTo>
                      <a:pt x="51614" y="39234"/>
                      <a:pt x="45992" y="41506"/>
                      <a:pt x="39951" y="43958"/>
                    </a:cubicBezTo>
                    <a:cubicBezTo>
                      <a:pt x="41745" y="48324"/>
                      <a:pt x="43241" y="51972"/>
                      <a:pt x="44915" y="56159"/>
                    </a:cubicBezTo>
                    <a:cubicBezTo>
                      <a:pt x="50657" y="53826"/>
                      <a:pt x="56637" y="51374"/>
                      <a:pt x="62618" y="48982"/>
                    </a:cubicBezTo>
                    <a:cubicBezTo>
                      <a:pt x="62798" y="49401"/>
                      <a:pt x="62977" y="49760"/>
                      <a:pt x="63097" y="50178"/>
                    </a:cubicBezTo>
                    <a:cubicBezTo>
                      <a:pt x="57475" y="52451"/>
                      <a:pt x="51913" y="54724"/>
                      <a:pt x="46291" y="56996"/>
                    </a:cubicBezTo>
                    <a:cubicBezTo>
                      <a:pt x="46470" y="57475"/>
                      <a:pt x="46590" y="57953"/>
                      <a:pt x="46769" y="58432"/>
                    </a:cubicBezTo>
                    <a:cubicBezTo>
                      <a:pt x="52750" y="56877"/>
                      <a:pt x="58731" y="55322"/>
                      <a:pt x="64711" y="53767"/>
                    </a:cubicBezTo>
                    <a:cubicBezTo>
                      <a:pt x="64831" y="54125"/>
                      <a:pt x="64891" y="54484"/>
                      <a:pt x="65010" y="54843"/>
                    </a:cubicBezTo>
                    <a:cubicBezTo>
                      <a:pt x="50238" y="59209"/>
                      <a:pt x="35346" y="63515"/>
                      <a:pt x="20275" y="67881"/>
                    </a:cubicBezTo>
                    <a:close/>
                    <a:moveTo>
                      <a:pt x="36422" y="44078"/>
                    </a:moveTo>
                    <a:cubicBezTo>
                      <a:pt x="36722" y="43958"/>
                      <a:pt x="37021" y="43839"/>
                      <a:pt x="37260" y="43719"/>
                    </a:cubicBezTo>
                    <a:cubicBezTo>
                      <a:pt x="32714" y="32535"/>
                      <a:pt x="28169" y="21351"/>
                      <a:pt x="23624" y="10167"/>
                    </a:cubicBezTo>
                    <a:cubicBezTo>
                      <a:pt x="23325" y="10287"/>
                      <a:pt x="23086" y="10466"/>
                      <a:pt x="22787" y="10586"/>
                    </a:cubicBezTo>
                    <a:cubicBezTo>
                      <a:pt x="27332" y="21710"/>
                      <a:pt x="31877" y="32894"/>
                      <a:pt x="36422" y="4407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95" name="Vrije vorm: vorm 9294">
                <a:extLst>
                  <a:ext uri="{FF2B5EF4-FFF2-40B4-BE49-F238E27FC236}">
                    <a16:creationId xmlns:a16="http://schemas.microsoft.com/office/drawing/2014/main" id="{E309C23E-A6D3-4CFD-96AC-137C2ED9DC16}"/>
                  </a:ext>
                </a:extLst>
              </p:cNvPr>
              <p:cNvSpPr/>
              <p:nvPr/>
            </p:nvSpPr>
            <p:spPr>
              <a:xfrm>
                <a:off x="5184050" y="1457542"/>
                <a:ext cx="72186" cy="82773"/>
              </a:xfrm>
              <a:custGeom>
                <a:avLst/>
                <a:gdLst>
                  <a:gd name="connsiteX0" fmla="*/ 0 w 72186"/>
                  <a:gd name="connsiteY0" fmla="*/ 18779 h 82773"/>
                  <a:gd name="connsiteX1" fmla="*/ 46171 w 72186"/>
                  <a:gd name="connsiteY1" fmla="*/ 0 h 82773"/>
                  <a:gd name="connsiteX2" fmla="*/ 72187 w 72186"/>
                  <a:gd name="connsiteY2" fmla="*/ 63994 h 82773"/>
                  <a:gd name="connsiteX3" fmla="*/ 26016 w 72186"/>
                  <a:gd name="connsiteY3" fmla="*/ 82773 h 82773"/>
                  <a:gd name="connsiteX4" fmla="*/ 0 w 72186"/>
                  <a:gd name="connsiteY4" fmla="*/ 18779 h 82773"/>
                  <a:gd name="connsiteX5" fmla="*/ 59927 w 72186"/>
                  <a:gd name="connsiteY5" fmla="*/ 66745 h 82773"/>
                  <a:gd name="connsiteX6" fmla="*/ 69436 w 72186"/>
                  <a:gd name="connsiteY6" fmla="*/ 62857 h 82773"/>
                  <a:gd name="connsiteX7" fmla="*/ 44796 w 72186"/>
                  <a:gd name="connsiteY7" fmla="*/ 2332 h 82773"/>
                  <a:gd name="connsiteX8" fmla="*/ 2213 w 72186"/>
                  <a:gd name="connsiteY8" fmla="*/ 19677 h 82773"/>
                  <a:gd name="connsiteX9" fmla="*/ 27152 w 72186"/>
                  <a:gd name="connsiteY9" fmla="*/ 80979 h 82773"/>
                  <a:gd name="connsiteX10" fmla="*/ 44616 w 72186"/>
                  <a:gd name="connsiteY10" fmla="*/ 73862 h 82773"/>
                  <a:gd name="connsiteX11" fmla="*/ 48803 w 72186"/>
                  <a:gd name="connsiteY11" fmla="*/ 62678 h 82773"/>
                  <a:gd name="connsiteX12" fmla="*/ 28408 w 72186"/>
                  <a:gd name="connsiteY12" fmla="*/ 12619 h 82773"/>
                  <a:gd name="connsiteX13" fmla="*/ 29545 w 72186"/>
                  <a:gd name="connsiteY13" fmla="*/ 12141 h 82773"/>
                  <a:gd name="connsiteX14" fmla="*/ 52929 w 72186"/>
                  <a:gd name="connsiteY14" fmla="*/ 69616 h 82773"/>
                  <a:gd name="connsiteX15" fmla="*/ 57176 w 72186"/>
                  <a:gd name="connsiteY15" fmla="*/ 62678 h 82773"/>
                  <a:gd name="connsiteX16" fmla="*/ 50716 w 72186"/>
                  <a:gd name="connsiteY16" fmla="*/ 46889 h 82773"/>
                  <a:gd name="connsiteX17" fmla="*/ 36901 w 72186"/>
                  <a:gd name="connsiteY17" fmla="*/ 12859 h 82773"/>
                  <a:gd name="connsiteX18" fmla="*/ 37858 w 72186"/>
                  <a:gd name="connsiteY18" fmla="*/ 12440 h 82773"/>
                  <a:gd name="connsiteX19" fmla="*/ 59927 w 72186"/>
                  <a:gd name="connsiteY19" fmla="*/ 66745 h 8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186" h="82773">
                    <a:moveTo>
                      <a:pt x="0" y="18779"/>
                    </a:moveTo>
                    <a:cubicBezTo>
                      <a:pt x="15490" y="12500"/>
                      <a:pt x="30741" y="6280"/>
                      <a:pt x="46171" y="0"/>
                    </a:cubicBezTo>
                    <a:cubicBezTo>
                      <a:pt x="54783" y="21232"/>
                      <a:pt x="63396" y="42344"/>
                      <a:pt x="72187" y="63994"/>
                    </a:cubicBezTo>
                    <a:cubicBezTo>
                      <a:pt x="56697" y="70273"/>
                      <a:pt x="41327" y="76553"/>
                      <a:pt x="26016" y="82773"/>
                    </a:cubicBezTo>
                    <a:cubicBezTo>
                      <a:pt x="17404" y="61482"/>
                      <a:pt x="8612" y="40011"/>
                      <a:pt x="0" y="18779"/>
                    </a:cubicBezTo>
                    <a:close/>
                    <a:moveTo>
                      <a:pt x="59927" y="66745"/>
                    </a:moveTo>
                    <a:cubicBezTo>
                      <a:pt x="63754" y="65190"/>
                      <a:pt x="66805" y="63934"/>
                      <a:pt x="69436" y="62857"/>
                    </a:cubicBezTo>
                    <a:cubicBezTo>
                      <a:pt x="61123" y="42463"/>
                      <a:pt x="53108" y="22727"/>
                      <a:pt x="44796" y="2332"/>
                    </a:cubicBezTo>
                    <a:cubicBezTo>
                      <a:pt x="30681" y="8074"/>
                      <a:pt x="16447" y="13875"/>
                      <a:pt x="2213" y="19677"/>
                    </a:cubicBezTo>
                    <a:cubicBezTo>
                      <a:pt x="10586" y="40190"/>
                      <a:pt x="18779" y="60405"/>
                      <a:pt x="27152" y="80979"/>
                    </a:cubicBezTo>
                    <a:cubicBezTo>
                      <a:pt x="33253" y="78527"/>
                      <a:pt x="38934" y="76194"/>
                      <a:pt x="44616" y="73862"/>
                    </a:cubicBezTo>
                    <a:cubicBezTo>
                      <a:pt x="52032" y="70812"/>
                      <a:pt x="52092" y="70812"/>
                      <a:pt x="48803" y="62678"/>
                    </a:cubicBezTo>
                    <a:cubicBezTo>
                      <a:pt x="42044" y="45992"/>
                      <a:pt x="35226" y="29306"/>
                      <a:pt x="28408" y="12619"/>
                    </a:cubicBezTo>
                    <a:cubicBezTo>
                      <a:pt x="28767" y="12440"/>
                      <a:pt x="29126" y="12320"/>
                      <a:pt x="29545" y="12141"/>
                    </a:cubicBezTo>
                    <a:cubicBezTo>
                      <a:pt x="37380" y="31339"/>
                      <a:pt x="45154" y="50537"/>
                      <a:pt x="52929" y="69616"/>
                    </a:cubicBezTo>
                    <a:cubicBezTo>
                      <a:pt x="57774" y="69317"/>
                      <a:pt x="59389" y="67522"/>
                      <a:pt x="57176" y="62678"/>
                    </a:cubicBezTo>
                    <a:cubicBezTo>
                      <a:pt x="54843" y="57535"/>
                      <a:pt x="52869" y="52152"/>
                      <a:pt x="50716" y="46889"/>
                    </a:cubicBezTo>
                    <a:cubicBezTo>
                      <a:pt x="46111" y="35526"/>
                      <a:pt x="41506" y="24222"/>
                      <a:pt x="36901" y="12859"/>
                    </a:cubicBezTo>
                    <a:cubicBezTo>
                      <a:pt x="37200" y="12739"/>
                      <a:pt x="37559" y="12619"/>
                      <a:pt x="37858" y="12440"/>
                    </a:cubicBezTo>
                    <a:cubicBezTo>
                      <a:pt x="45214" y="30442"/>
                      <a:pt x="52511" y="48444"/>
                      <a:pt x="59927" y="6674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96" name="Vrije vorm: vorm 9295">
                <a:extLst>
                  <a:ext uri="{FF2B5EF4-FFF2-40B4-BE49-F238E27FC236}">
                    <a16:creationId xmlns:a16="http://schemas.microsoft.com/office/drawing/2014/main" id="{022931F5-FD2D-4370-98AD-E051D299B0C2}"/>
                  </a:ext>
                </a:extLst>
              </p:cNvPr>
              <p:cNvSpPr/>
              <p:nvPr/>
            </p:nvSpPr>
            <p:spPr>
              <a:xfrm>
                <a:off x="5409463" y="1705862"/>
                <a:ext cx="65069" cy="82474"/>
              </a:xfrm>
              <a:custGeom>
                <a:avLst/>
                <a:gdLst>
                  <a:gd name="connsiteX0" fmla="*/ 65070 w 65069"/>
                  <a:gd name="connsiteY0" fmla="*/ 59867 h 82474"/>
                  <a:gd name="connsiteX1" fmla="*/ 24760 w 65069"/>
                  <a:gd name="connsiteY1" fmla="*/ 82474 h 82474"/>
                  <a:gd name="connsiteX2" fmla="*/ 0 w 65069"/>
                  <a:gd name="connsiteY2" fmla="*/ 21650 h 82474"/>
                  <a:gd name="connsiteX3" fmla="*/ 40729 w 65069"/>
                  <a:gd name="connsiteY3" fmla="*/ 0 h 82474"/>
                  <a:gd name="connsiteX4" fmla="*/ 65070 w 65069"/>
                  <a:gd name="connsiteY4" fmla="*/ 59867 h 82474"/>
                  <a:gd name="connsiteX5" fmla="*/ 25657 w 65069"/>
                  <a:gd name="connsiteY5" fmla="*/ 80441 h 82474"/>
                  <a:gd name="connsiteX6" fmla="*/ 61840 w 65069"/>
                  <a:gd name="connsiteY6" fmla="*/ 60106 h 82474"/>
                  <a:gd name="connsiteX7" fmla="*/ 61482 w 65069"/>
                  <a:gd name="connsiteY7" fmla="*/ 59090 h 82474"/>
                  <a:gd name="connsiteX8" fmla="*/ 26614 w 65069"/>
                  <a:gd name="connsiteY8" fmla="*/ 64592 h 82474"/>
                  <a:gd name="connsiteX9" fmla="*/ 9629 w 65069"/>
                  <a:gd name="connsiteY9" fmla="*/ 22787 h 82474"/>
                  <a:gd name="connsiteX10" fmla="*/ 23803 w 65069"/>
                  <a:gd name="connsiteY10" fmla="*/ 55142 h 82474"/>
                  <a:gd name="connsiteX11" fmla="*/ 37020 w 65069"/>
                  <a:gd name="connsiteY11" fmla="*/ 60704 h 82474"/>
                  <a:gd name="connsiteX12" fmla="*/ 29006 w 65069"/>
                  <a:gd name="connsiteY12" fmla="*/ 40968 h 82474"/>
                  <a:gd name="connsiteX13" fmla="*/ 30083 w 65069"/>
                  <a:gd name="connsiteY13" fmla="*/ 40549 h 82474"/>
                  <a:gd name="connsiteX14" fmla="*/ 38575 w 65069"/>
                  <a:gd name="connsiteY14" fmla="*/ 61422 h 82474"/>
                  <a:gd name="connsiteX15" fmla="*/ 48264 w 65069"/>
                  <a:gd name="connsiteY15" fmla="*/ 59389 h 82474"/>
                  <a:gd name="connsiteX16" fmla="*/ 38994 w 65069"/>
                  <a:gd name="connsiteY16" fmla="*/ 36662 h 82474"/>
                  <a:gd name="connsiteX17" fmla="*/ 40011 w 65069"/>
                  <a:gd name="connsiteY17" fmla="*/ 36243 h 82474"/>
                  <a:gd name="connsiteX18" fmla="*/ 49520 w 65069"/>
                  <a:gd name="connsiteY18" fmla="*/ 59568 h 82474"/>
                  <a:gd name="connsiteX19" fmla="*/ 62139 w 65069"/>
                  <a:gd name="connsiteY19" fmla="*/ 57654 h 82474"/>
                  <a:gd name="connsiteX20" fmla="*/ 39592 w 65069"/>
                  <a:gd name="connsiteY20" fmla="*/ 2273 h 82474"/>
                  <a:gd name="connsiteX21" fmla="*/ 1973 w 65069"/>
                  <a:gd name="connsiteY21" fmla="*/ 22308 h 82474"/>
                  <a:gd name="connsiteX22" fmla="*/ 25657 w 65069"/>
                  <a:gd name="connsiteY22" fmla="*/ 80441 h 82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069" h="82474">
                    <a:moveTo>
                      <a:pt x="65070" y="59867"/>
                    </a:moveTo>
                    <a:cubicBezTo>
                      <a:pt x="51195" y="67642"/>
                      <a:pt x="37977" y="75058"/>
                      <a:pt x="24760" y="82474"/>
                    </a:cubicBezTo>
                    <a:cubicBezTo>
                      <a:pt x="16566" y="62319"/>
                      <a:pt x="8313" y="42104"/>
                      <a:pt x="0" y="21650"/>
                    </a:cubicBezTo>
                    <a:cubicBezTo>
                      <a:pt x="13696" y="14354"/>
                      <a:pt x="27212" y="7177"/>
                      <a:pt x="40729" y="0"/>
                    </a:cubicBezTo>
                    <a:cubicBezTo>
                      <a:pt x="48803" y="19916"/>
                      <a:pt x="56936" y="39891"/>
                      <a:pt x="65070" y="59867"/>
                    </a:cubicBezTo>
                    <a:close/>
                    <a:moveTo>
                      <a:pt x="25657" y="80441"/>
                    </a:moveTo>
                    <a:cubicBezTo>
                      <a:pt x="37858" y="73563"/>
                      <a:pt x="49819" y="66864"/>
                      <a:pt x="61840" y="60106"/>
                    </a:cubicBezTo>
                    <a:cubicBezTo>
                      <a:pt x="61721" y="59747"/>
                      <a:pt x="61601" y="59448"/>
                      <a:pt x="61482" y="59090"/>
                    </a:cubicBezTo>
                    <a:cubicBezTo>
                      <a:pt x="49580" y="60944"/>
                      <a:pt x="37678" y="62857"/>
                      <a:pt x="26614" y="64592"/>
                    </a:cubicBezTo>
                    <a:cubicBezTo>
                      <a:pt x="20813" y="50358"/>
                      <a:pt x="15251" y="36602"/>
                      <a:pt x="9629" y="22787"/>
                    </a:cubicBezTo>
                    <a:cubicBezTo>
                      <a:pt x="14952" y="33372"/>
                      <a:pt x="19437" y="44198"/>
                      <a:pt x="23803" y="55142"/>
                    </a:cubicBezTo>
                    <a:cubicBezTo>
                      <a:pt x="27511" y="64353"/>
                      <a:pt x="27810" y="64532"/>
                      <a:pt x="37020" y="60704"/>
                    </a:cubicBezTo>
                    <a:cubicBezTo>
                      <a:pt x="34329" y="54126"/>
                      <a:pt x="31698" y="47547"/>
                      <a:pt x="29006" y="40968"/>
                    </a:cubicBezTo>
                    <a:cubicBezTo>
                      <a:pt x="29365" y="40848"/>
                      <a:pt x="29724" y="40669"/>
                      <a:pt x="30083" y="40549"/>
                    </a:cubicBezTo>
                    <a:cubicBezTo>
                      <a:pt x="32894" y="47427"/>
                      <a:pt x="35705" y="54305"/>
                      <a:pt x="38575" y="61422"/>
                    </a:cubicBezTo>
                    <a:cubicBezTo>
                      <a:pt x="41925" y="60704"/>
                      <a:pt x="44796" y="60106"/>
                      <a:pt x="48264" y="59389"/>
                    </a:cubicBezTo>
                    <a:cubicBezTo>
                      <a:pt x="44915" y="51195"/>
                      <a:pt x="41984" y="43958"/>
                      <a:pt x="38994" y="36662"/>
                    </a:cubicBezTo>
                    <a:cubicBezTo>
                      <a:pt x="39353" y="36542"/>
                      <a:pt x="39652" y="36363"/>
                      <a:pt x="40011" y="36243"/>
                    </a:cubicBezTo>
                    <a:cubicBezTo>
                      <a:pt x="43181" y="44018"/>
                      <a:pt x="46351" y="51793"/>
                      <a:pt x="49520" y="59568"/>
                    </a:cubicBezTo>
                    <a:cubicBezTo>
                      <a:pt x="53827" y="58910"/>
                      <a:pt x="57594" y="58312"/>
                      <a:pt x="62139" y="57654"/>
                    </a:cubicBezTo>
                    <a:cubicBezTo>
                      <a:pt x="54604" y="39054"/>
                      <a:pt x="47188" y="20933"/>
                      <a:pt x="39592" y="2273"/>
                    </a:cubicBezTo>
                    <a:cubicBezTo>
                      <a:pt x="27152" y="8851"/>
                      <a:pt x="14772" y="15490"/>
                      <a:pt x="1973" y="22308"/>
                    </a:cubicBezTo>
                    <a:cubicBezTo>
                      <a:pt x="9988" y="41925"/>
                      <a:pt x="17703" y="60824"/>
                      <a:pt x="25657" y="8044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97" name="Vrije vorm: vorm 9296">
                <a:extLst>
                  <a:ext uri="{FF2B5EF4-FFF2-40B4-BE49-F238E27FC236}">
                    <a16:creationId xmlns:a16="http://schemas.microsoft.com/office/drawing/2014/main" id="{CE6B6C4A-6DBD-4064-8D3F-E1AB4A50F611}"/>
                  </a:ext>
                </a:extLst>
              </p:cNvPr>
              <p:cNvSpPr/>
              <p:nvPr/>
            </p:nvSpPr>
            <p:spPr>
              <a:xfrm>
                <a:off x="5027893" y="1073520"/>
                <a:ext cx="75476" cy="76792"/>
              </a:xfrm>
              <a:custGeom>
                <a:avLst/>
                <a:gdLst>
                  <a:gd name="connsiteX0" fmla="*/ 0 w 75476"/>
                  <a:gd name="connsiteY0" fmla="*/ 11005 h 76792"/>
                  <a:gd name="connsiteX1" fmla="*/ 49222 w 75476"/>
                  <a:gd name="connsiteY1" fmla="*/ 0 h 76792"/>
                  <a:gd name="connsiteX2" fmla="*/ 49521 w 75476"/>
                  <a:gd name="connsiteY2" fmla="*/ 1136 h 76792"/>
                  <a:gd name="connsiteX3" fmla="*/ 2452 w 75476"/>
                  <a:gd name="connsiteY3" fmla="*/ 11961 h 76792"/>
                  <a:gd name="connsiteX4" fmla="*/ 18122 w 75476"/>
                  <a:gd name="connsiteY4" fmla="*/ 50537 h 76792"/>
                  <a:gd name="connsiteX5" fmla="*/ 40490 w 75476"/>
                  <a:gd name="connsiteY5" fmla="*/ 45453 h 76792"/>
                  <a:gd name="connsiteX6" fmla="*/ 40789 w 75476"/>
                  <a:gd name="connsiteY6" fmla="*/ 46470 h 76792"/>
                  <a:gd name="connsiteX7" fmla="*/ 18720 w 75476"/>
                  <a:gd name="connsiteY7" fmla="*/ 52092 h 76792"/>
                  <a:gd name="connsiteX8" fmla="*/ 26853 w 75476"/>
                  <a:gd name="connsiteY8" fmla="*/ 72068 h 76792"/>
                  <a:gd name="connsiteX9" fmla="*/ 44915 w 75476"/>
                  <a:gd name="connsiteY9" fmla="*/ 67881 h 76792"/>
                  <a:gd name="connsiteX10" fmla="*/ 45155 w 75476"/>
                  <a:gd name="connsiteY10" fmla="*/ 68778 h 76792"/>
                  <a:gd name="connsiteX11" fmla="*/ 28050 w 75476"/>
                  <a:gd name="connsiteY11" fmla="*/ 73443 h 76792"/>
                  <a:gd name="connsiteX12" fmla="*/ 28468 w 75476"/>
                  <a:gd name="connsiteY12" fmla="*/ 74879 h 76792"/>
                  <a:gd name="connsiteX13" fmla="*/ 52870 w 75476"/>
                  <a:gd name="connsiteY13" fmla="*/ 68778 h 76792"/>
                  <a:gd name="connsiteX14" fmla="*/ 43181 w 75476"/>
                  <a:gd name="connsiteY14" fmla="*/ 45035 h 76792"/>
                  <a:gd name="connsiteX15" fmla="*/ 57774 w 75476"/>
                  <a:gd name="connsiteY15" fmla="*/ 33073 h 76792"/>
                  <a:gd name="connsiteX16" fmla="*/ 58432 w 75476"/>
                  <a:gd name="connsiteY16" fmla="*/ 33911 h 76792"/>
                  <a:gd name="connsiteX17" fmla="*/ 48145 w 75476"/>
                  <a:gd name="connsiteY17" fmla="*/ 42523 h 76792"/>
                  <a:gd name="connsiteX18" fmla="*/ 46709 w 75476"/>
                  <a:gd name="connsiteY18" fmla="*/ 49520 h 76792"/>
                  <a:gd name="connsiteX19" fmla="*/ 54425 w 75476"/>
                  <a:gd name="connsiteY19" fmla="*/ 68300 h 76792"/>
                  <a:gd name="connsiteX20" fmla="*/ 73862 w 75476"/>
                  <a:gd name="connsiteY20" fmla="*/ 63396 h 76792"/>
                  <a:gd name="connsiteX21" fmla="*/ 50059 w 75476"/>
                  <a:gd name="connsiteY21" fmla="*/ 4904 h 76792"/>
                  <a:gd name="connsiteX22" fmla="*/ 51076 w 75476"/>
                  <a:gd name="connsiteY22" fmla="*/ 4486 h 76792"/>
                  <a:gd name="connsiteX23" fmla="*/ 75477 w 75476"/>
                  <a:gd name="connsiteY23" fmla="*/ 64472 h 76792"/>
                  <a:gd name="connsiteX24" fmla="*/ 26734 w 75476"/>
                  <a:gd name="connsiteY24" fmla="*/ 76792 h 76792"/>
                  <a:gd name="connsiteX25" fmla="*/ 0 w 75476"/>
                  <a:gd name="connsiteY25" fmla="*/ 11005 h 76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476" h="76792">
                    <a:moveTo>
                      <a:pt x="0" y="11005"/>
                    </a:moveTo>
                    <a:cubicBezTo>
                      <a:pt x="16686" y="7296"/>
                      <a:pt x="32954" y="3648"/>
                      <a:pt x="49222" y="0"/>
                    </a:cubicBezTo>
                    <a:cubicBezTo>
                      <a:pt x="49341" y="359"/>
                      <a:pt x="49401" y="778"/>
                      <a:pt x="49521" y="1136"/>
                    </a:cubicBezTo>
                    <a:cubicBezTo>
                      <a:pt x="34030" y="4725"/>
                      <a:pt x="18481" y="8253"/>
                      <a:pt x="2452" y="11961"/>
                    </a:cubicBezTo>
                    <a:cubicBezTo>
                      <a:pt x="7656" y="24760"/>
                      <a:pt x="12739" y="37260"/>
                      <a:pt x="18122" y="50537"/>
                    </a:cubicBezTo>
                    <a:cubicBezTo>
                      <a:pt x="25418" y="48862"/>
                      <a:pt x="32954" y="47188"/>
                      <a:pt x="40490" y="45453"/>
                    </a:cubicBezTo>
                    <a:cubicBezTo>
                      <a:pt x="40609" y="45812"/>
                      <a:pt x="40669" y="46111"/>
                      <a:pt x="40789" y="46470"/>
                    </a:cubicBezTo>
                    <a:cubicBezTo>
                      <a:pt x="33612" y="48324"/>
                      <a:pt x="26435" y="50118"/>
                      <a:pt x="18720" y="52092"/>
                    </a:cubicBezTo>
                    <a:cubicBezTo>
                      <a:pt x="21411" y="58671"/>
                      <a:pt x="23983" y="65130"/>
                      <a:pt x="26853" y="72068"/>
                    </a:cubicBezTo>
                    <a:cubicBezTo>
                      <a:pt x="32715" y="70692"/>
                      <a:pt x="38815" y="69317"/>
                      <a:pt x="44915" y="67881"/>
                    </a:cubicBezTo>
                    <a:cubicBezTo>
                      <a:pt x="44975" y="68180"/>
                      <a:pt x="45095" y="68479"/>
                      <a:pt x="45155" y="68778"/>
                    </a:cubicBezTo>
                    <a:cubicBezTo>
                      <a:pt x="39473" y="70333"/>
                      <a:pt x="33791" y="71888"/>
                      <a:pt x="28050" y="73443"/>
                    </a:cubicBezTo>
                    <a:cubicBezTo>
                      <a:pt x="28169" y="73922"/>
                      <a:pt x="28289" y="74400"/>
                      <a:pt x="28468" y="74879"/>
                    </a:cubicBezTo>
                    <a:cubicBezTo>
                      <a:pt x="36423" y="72905"/>
                      <a:pt x="44317" y="70931"/>
                      <a:pt x="52870" y="68778"/>
                    </a:cubicBezTo>
                    <a:cubicBezTo>
                      <a:pt x="49521" y="60585"/>
                      <a:pt x="46410" y="52989"/>
                      <a:pt x="43181" y="45035"/>
                    </a:cubicBezTo>
                    <a:cubicBezTo>
                      <a:pt x="48025" y="41088"/>
                      <a:pt x="52870" y="37080"/>
                      <a:pt x="57774" y="33073"/>
                    </a:cubicBezTo>
                    <a:cubicBezTo>
                      <a:pt x="58013" y="33372"/>
                      <a:pt x="58252" y="33671"/>
                      <a:pt x="58432" y="33911"/>
                    </a:cubicBezTo>
                    <a:cubicBezTo>
                      <a:pt x="55023" y="36781"/>
                      <a:pt x="51733" y="39832"/>
                      <a:pt x="48145" y="42523"/>
                    </a:cubicBezTo>
                    <a:cubicBezTo>
                      <a:pt x="45693" y="44377"/>
                      <a:pt x="45274" y="46291"/>
                      <a:pt x="46709" y="49520"/>
                    </a:cubicBezTo>
                    <a:cubicBezTo>
                      <a:pt x="49461" y="55561"/>
                      <a:pt x="51793" y="61781"/>
                      <a:pt x="54425" y="68300"/>
                    </a:cubicBezTo>
                    <a:cubicBezTo>
                      <a:pt x="61063" y="66625"/>
                      <a:pt x="67104" y="65130"/>
                      <a:pt x="73862" y="63396"/>
                    </a:cubicBezTo>
                    <a:cubicBezTo>
                      <a:pt x="65788" y="43480"/>
                      <a:pt x="57893" y="24222"/>
                      <a:pt x="50059" y="4904"/>
                    </a:cubicBezTo>
                    <a:cubicBezTo>
                      <a:pt x="50417" y="4785"/>
                      <a:pt x="50717" y="4605"/>
                      <a:pt x="51076" y="4486"/>
                    </a:cubicBezTo>
                    <a:cubicBezTo>
                      <a:pt x="59209" y="24401"/>
                      <a:pt x="67283" y="44317"/>
                      <a:pt x="75477" y="64472"/>
                    </a:cubicBezTo>
                    <a:cubicBezTo>
                      <a:pt x="59448" y="68539"/>
                      <a:pt x="43181" y="72606"/>
                      <a:pt x="26734" y="76792"/>
                    </a:cubicBezTo>
                    <a:cubicBezTo>
                      <a:pt x="17942" y="55082"/>
                      <a:pt x="9031" y="33193"/>
                      <a:pt x="0" y="1100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98" name="Vrije vorm: vorm 9297">
                <a:extLst>
                  <a:ext uri="{FF2B5EF4-FFF2-40B4-BE49-F238E27FC236}">
                    <a16:creationId xmlns:a16="http://schemas.microsoft.com/office/drawing/2014/main" id="{A4C70563-D821-4FC3-AB60-31BC8CC550A0}"/>
                  </a:ext>
                </a:extLst>
              </p:cNvPr>
              <p:cNvSpPr/>
              <p:nvPr/>
            </p:nvSpPr>
            <p:spPr>
              <a:xfrm>
                <a:off x="5221847" y="2008905"/>
                <a:ext cx="43898" cy="66146"/>
              </a:xfrm>
              <a:custGeom>
                <a:avLst/>
                <a:gdLst>
                  <a:gd name="connsiteX0" fmla="*/ 21830 w 43898"/>
                  <a:gd name="connsiteY0" fmla="*/ 64113 h 66146"/>
                  <a:gd name="connsiteX1" fmla="*/ 29605 w 43898"/>
                  <a:gd name="connsiteY1" fmla="*/ 63037 h 66146"/>
                  <a:gd name="connsiteX2" fmla="*/ 5921 w 43898"/>
                  <a:gd name="connsiteY2" fmla="*/ 4844 h 66146"/>
                  <a:gd name="connsiteX3" fmla="*/ 7297 w 43898"/>
                  <a:gd name="connsiteY3" fmla="*/ 4306 h 66146"/>
                  <a:gd name="connsiteX4" fmla="*/ 31459 w 43898"/>
                  <a:gd name="connsiteY4" fmla="*/ 63695 h 66146"/>
                  <a:gd name="connsiteX5" fmla="*/ 32954 w 43898"/>
                  <a:gd name="connsiteY5" fmla="*/ 63156 h 66146"/>
                  <a:gd name="connsiteX6" fmla="*/ 8014 w 43898"/>
                  <a:gd name="connsiteY6" fmla="*/ 1794 h 66146"/>
                  <a:gd name="connsiteX7" fmla="*/ 0 w 43898"/>
                  <a:gd name="connsiteY7" fmla="*/ 0 h 66146"/>
                  <a:gd name="connsiteX8" fmla="*/ 17284 w 43898"/>
                  <a:gd name="connsiteY8" fmla="*/ 0 h 66146"/>
                  <a:gd name="connsiteX9" fmla="*/ 43899 w 43898"/>
                  <a:gd name="connsiteY9" fmla="*/ 65369 h 66146"/>
                  <a:gd name="connsiteX10" fmla="*/ 43061 w 43898"/>
                  <a:gd name="connsiteY10" fmla="*/ 65848 h 66146"/>
                  <a:gd name="connsiteX11" fmla="*/ 41147 w 43898"/>
                  <a:gd name="connsiteY11" fmla="*/ 62080 h 66146"/>
                  <a:gd name="connsiteX12" fmla="*/ 18481 w 43898"/>
                  <a:gd name="connsiteY12" fmla="*/ 6160 h 66146"/>
                  <a:gd name="connsiteX13" fmla="*/ 10766 w 43898"/>
                  <a:gd name="connsiteY13" fmla="*/ 1914 h 66146"/>
                  <a:gd name="connsiteX14" fmla="*/ 39054 w 43898"/>
                  <a:gd name="connsiteY14" fmla="*/ 64353 h 66146"/>
                  <a:gd name="connsiteX15" fmla="*/ 14533 w 43898"/>
                  <a:gd name="connsiteY15" fmla="*/ 4007 h 66146"/>
                  <a:gd name="connsiteX16" fmla="*/ 15610 w 43898"/>
                  <a:gd name="connsiteY16" fmla="*/ 3588 h 66146"/>
                  <a:gd name="connsiteX17" fmla="*/ 41028 w 43898"/>
                  <a:gd name="connsiteY17" fmla="*/ 66147 h 66146"/>
                  <a:gd name="connsiteX18" fmla="*/ 21830 w 43898"/>
                  <a:gd name="connsiteY18" fmla="*/ 64113 h 6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898" h="66146">
                    <a:moveTo>
                      <a:pt x="21830" y="64113"/>
                    </a:moveTo>
                    <a:cubicBezTo>
                      <a:pt x="24162" y="63814"/>
                      <a:pt x="26435" y="63455"/>
                      <a:pt x="29605" y="63037"/>
                    </a:cubicBezTo>
                    <a:cubicBezTo>
                      <a:pt x="21710" y="43599"/>
                      <a:pt x="13815" y="24222"/>
                      <a:pt x="5921" y="4844"/>
                    </a:cubicBezTo>
                    <a:cubicBezTo>
                      <a:pt x="6399" y="4665"/>
                      <a:pt x="6818" y="4486"/>
                      <a:pt x="7297" y="4306"/>
                    </a:cubicBezTo>
                    <a:cubicBezTo>
                      <a:pt x="15371" y="24102"/>
                      <a:pt x="23385" y="43898"/>
                      <a:pt x="31459" y="63695"/>
                    </a:cubicBezTo>
                    <a:cubicBezTo>
                      <a:pt x="31937" y="63515"/>
                      <a:pt x="32416" y="63336"/>
                      <a:pt x="32954" y="63156"/>
                    </a:cubicBezTo>
                    <a:cubicBezTo>
                      <a:pt x="24700" y="42822"/>
                      <a:pt x="16447" y="22547"/>
                      <a:pt x="8014" y="1794"/>
                    </a:cubicBezTo>
                    <a:cubicBezTo>
                      <a:pt x="5921" y="1316"/>
                      <a:pt x="2931" y="658"/>
                      <a:pt x="0" y="0"/>
                    </a:cubicBezTo>
                    <a:cubicBezTo>
                      <a:pt x="5682" y="0"/>
                      <a:pt x="11364" y="0"/>
                      <a:pt x="17284" y="0"/>
                    </a:cubicBezTo>
                    <a:cubicBezTo>
                      <a:pt x="26076" y="21590"/>
                      <a:pt x="34987" y="43480"/>
                      <a:pt x="43899" y="65369"/>
                    </a:cubicBezTo>
                    <a:cubicBezTo>
                      <a:pt x="43600" y="65549"/>
                      <a:pt x="43360" y="65668"/>
                      <a:pt x="43061" y="65848"/>
                    </a:cubicBezTo>
                    <a:cubicBezTo>
                      <a:pt x="42403" y="64592"/>
                      <a:pt x="41626" y="63396"/>
                      <a:pt x="41147" y="62080"/>
                    </a:cubicBezTo>
                    <a:cubicBezTo>
                      <a:pt x="33552" y="43480"/>
                      <a:pt x="25897" y="24880"/>
                      <a:pt x="18481" y="6160"/>
                    </a:cubicBezTo>
                    <a:cubicBezTo>
                      <a:pt x="16806" y="1854"/>
                      <a:pt x="14533" y="478"/>
                      <a:pt x="10766" y="1914"/>
                    </a:cubicBezTo>
                    <a:cubicBezTo>
                      <a:pt x="14593" y="17225"/>
                      <a:pt x="34569" y="62678"/>
                      <a:pt x="39054" y="64353"/>
                    </a:cubicBezTo>
                    <a:cubicBezTo>
                      <a:pt x="30681" y="43779"/>
                      <a:pt x="22607" y="23923"/>
                      <a:pt x="14533" y="4007"/>
                    </a:cubicBezTo>
                    <a:cubicBezTo>
                      <a:pt x="14892" y="3887"/>
                      <a:pt x="15251" y="3708"/>
                      <a:pt x="15610" y="3588"/>
                    </a:cubicBezTo>
                    <a:cubicBezTo>
                      <a:pt x="23983" y="24162"/>
                      <a:pt x="32356" y="44676"/>
                      <a:pt x="41028" y="66147"/>
                    </a:cubicBezTo>
                    <a:cubicBezTo>
                      <a:pt x="34330" y="65369"/>
                      <a:pt x="28109" y="64711"/>
                      <a:pt x="21830" y="6411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99" name="Vrije vorm: vorm 9298">
                <a:extLst>
                  <a:ext uri="{FF2B5EF4-FFF2-40B4-BE49-F238E27FC236}">
                    <a16:creationId xmlns:a16="http://schemas.microsoft.com/office/drawing/2014/main" id="{3C187AE5-E205-4028-A7F2-C9C8562CD620}"/>
                  </a:ext>
                </a:extLst>
              </p:cNvPr>
              <p:cNvSpPr/>
              <p:nvPr/>
            </p:nvSpPr>
            <p:spPr>
              <a:xfrm>
                <a:off x="5273402" y="1684092"/>
                <a:ext cx="70093" cy="85763"/>
              </a:xfrm>
              <a:custGeom>
                <a:avLst/>
                <a:gdLst>
                  <a:gd name="connsiteX0" fmla="*/ 25956 w 70093"/>
                  <a:gd name="connsiteY0" fmla="*/ 85764 h 85763"/>
                  <a:gd name="connsiteX1" fmla="*/ 0 w 70093"/>
                  <a:gd name="connsiteY1" fmla="*/ 22009 h 85763"/>
                  <a:gd name="connsiteX2" fmla="*/ 44676 w 70093"/>
                  <a:gd name="connsiteY2" fmla="*/ 0 h 85763"/>
                  <a:gd name="connsiteX3" fmla="*/ 70094 w 70093"/>
                  <a:gd name="connsiteY3" fmla="*/ 62558 h 85763"/>
                  <a:gd name="connsiteX4" fmla="*/ 25956 w 70093"/>
                  <a:gd name="connsiteY4" fmla="*/ 85764 h 85763"/>
                  <a:gd name="connsiteX5" fmla="*/ 43838 w 70093"/>
                  <a:gd name="connsiteY5" fmla="*/ 1974 h 85763"/>
                  <a:gd name="connsiteX6" fmla="*/ 4964 w 70093"/>
                  <a:gd name="connsiteY6" fmla="*/ 20873 h 85763"/>
                  <a:gd name="connsiteX7" fmla="*/ 4067 w 70093"/>
                  <a:gd name="connsiteY7" fmla="*/ 27332 h 85763"/>
                  <a:gd name="connsiteX8" fmla="*/ 24042 w 70093"/>
                  <a:gd name="connsiteY8" fmla="*/ 77749 h 85763"/>
                  <a:gd name="connsiteX9" fmla="*/ 26495 w 70093"/>
                  <a:gd name="connsiteY9" fmla="*/ 83730 h 85763"/>
                  <a:gd name="connsiteX10" fmla="*/ 49042 w 70093"/>
                  <a:gd name="connsiteY10" fmla="*/ 72307 h 85763"/>
                  <a:gd name="connsiteX11" fmla="*/ 51195 w 70093"/>
                  <a:gd name="connsiteY11" fmla="*/ 64293 h 85763"/>
                  <a:gd name="connsiteX12" fmla="*/ 36602 w 70093"/>
                  <a:gd name="connsiteY12" fmla="*/ 28169 h 85763"/>
                  <a:gd name="connsiteX13" fmla="*/ 30143 w 70093"/>
                  <a:gd name="connsiteY13" fmla="*/ 12260 h 85763"/>
                  <a:gd name="connsiteX14" fmla="*/ 31099 w 70093"/>
                  <a:gd name="connsiteY14" fmla="*/ 11902 h 85763"/>
                  <a:gd name="connsiteX15" fmla="*/ 54365 w 70093"/>
                  <a:gd name="connsiteY15" fmla="*/ 69137 h 85763"/>
                  <a:gd name="connsiteX16" fmla="*/ 60046 w 70093"/>
                  <a:gd name="connsiteY16" fmla="*/ 66326 h 85763"/>
                  <a:gd name="connsiteX17" fmla="*/ 52570 w 70093"/>
                  <a:gd name="connsiteY17" fmla="*/ 47906 h 85763"/>
                  <a:gd name="connsiteX18" fmla="*/ 53827 w 70093"/>
                  <a:gd name="connsiteY18" fmla="*/ 47427 h 85763"/>
                  <a:gd name="connsiteX19" fmla="*/ 61183 w 70093"/>
                  <a:gd name="connsiteY19" fmla="*/ 65489 h 85763"/>
                  <a:gd name="connsiteX20" fmla="*/ 68240 w 70093"/>
                  <a:gd name="connsiteY20" fmla="*/ 61960 h 85763"/>
                  <a:gd name="connsiteX21" fmla="*/ 43838 w 70093"/>
                  <a:gd name="connsiteY21" fmla="*/ 1974 h 8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0093" h="85763">
                    <a:moveTo>
                      <a:pt x="25956" y="85764"/>
                    </a:moveTo>
                    <a:cubicBezTo>
                      <a:pt x="17284" y="64412"/>
                      <a:pt x="8672" y="43241"/>
                      <a:pt x="0" y="22009"/>
                    </a:cubicBezTo>
                    <a:cubicBezTo>
                      <a:pt x="14952" y="14653"/>
                      <a:pt x="29724" y="7356"/>
                      <a:pt x="44676" y="0"/>
                    </a:cubicBezTo>
                    <a:cubicBezTo>
                      <a:pt x="53049" y="20574"/>
                      <a:pt x="61542" y="41446"/>
                      <a:pt x="70094" y="62558"/>
                    </a:cubicBezTo>
                    <a:cubicBezTo>
                      <a:pt x="55501" y="70214"/>
                      <a:pt x="40788" y="77989"/>
                      <a:pt x="25956" y="85764"/>
                    </a:cubicBezTo>
                    <a:close/>
                    <a:moveTo>
                      <a:pt x="43838" y="1974"/>
                    </a:moveTo>
                    <a:cubicBezTo>
                      <a:pt x="30741" y="8313"/>
                      <a:pt x="17882" y="14653"/>
                      <a:pt x="4964" y="20873"/>
                    </a:cubicBezTo>
                    <a:cubicBezTo>
                      <a:pt x="1734" y="22428"/>
                      <a:pt x="3110" y="24820"/>
                      <a:pt x="4067" y="27332"/>
                    </a:cubicBezTo>
                    <a:cubicBezTo>
                      <a:pt x="10765" y="44138"/>
                      <a:pt x="17404" y="60944"/>
                      <a:pt x="24042" y="77749"/>
                    </a:cubicBezTo>
                    <a:cubicBezTo>
                      <a:pt x="24760" y="79544"/>
                      <a:pt x="25537" y="81398"/>
                      <a:pt x="26495" y="83730"/>
                    </a:cubicBezTo>
                    <a:cubicBezTo>
                      <a:pt x="34449" y="79663"/>
                      <a:pt x="41685" y="75836"/>
                      <a:pt x="49042" y="72307"/>
                    </a:cubicBezTo>
                    <a:cubicBezTo>
                      <a:pt x="52690" y="70573"/>
                      <a:pt x="52810" y="68240"/>
                      <a:pt x="51195" y="64293"/>
                    </a:cubicBezTo>
                    <a:cubicBezTo>
                      <a:pt x="46171" y="52331"/>
                      <a:pt x="41446" y="40190"/>
                      <a:pt x="36602" y="28169"/>
                    </a:cubicBezTo>
                    <a:cubicBezTo>
                      <a:pt x="34449" y="22846"/>
                      <a:pt x="32296" y="17583"/>
                      <a:pt x="30143" y="12260"/>
                    </a:cubicBezTo>
                    <a:cubicBezTo>
                      <a:pt x="30442" y="12141"/>
                      <a:pt x="30801" y="12021"/>
                      <a:pt x="31099" y="11902"/>
                    </a:cubicBezTo>
                    <a:cubicBezTo>
                      <a:pt x="38815" y="30861"/>
                      <a:pt x="46530" y="49760"/>
                      <a:pt x="54365" y="69137"/>
                    </a:cubicBezTo>
                    <a:cubicBezTo>
                      <a:pt x="56278" y="68180"/>
                      <a:pt x="57833" y="67463"/>
                      <a:pt x="60046" y="66326"/>
                    </a:cubicBezTo>
                    <a:cubicBezTo>
                      <a:pt x="57475" y="59927"/>
                      <a:pt x="55022" y="53886"/>
                      <a:pt x="52570" y="47906"/>
                    </a:cubicBezTo>
                    <a:cubicBezTo>
                      <a:pt x="52989" y="47726"/>
                      <a:pt x="53408" y="47547"/>
                      <a:pt x="53827" y="47427"/>
                    </a:cubicBezTo>
                    <a:cubicBezTo>
                      <a:pt x="56219" y="53348"/>
                      <a:pt x="58671" y="59269"/>
                      <a:pt x="61183" y="65489"/>
                    </a:cubicBezTo>
                    <a:cubicBezTo>
                      <a:pt x="63754" y="64233"/>
                      <a:pt x="65847" y="63156"/>
                      <a:pt x="68240" y="61960"/>
                    </a:cubicBezTo>
                    <a:cubicBezTo>
                      <a:pt x="60046" y="41925"/>
                      <a:pt x="52152" y="22368"/>
                      <a:pt x="43838" y="197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00" name="Vrije vorm: vorm 9299">
                <a:extLst>
                  <a:ext uri="{FF2B5EF4-FFF2-40B4-BE49-F238E27FC236}">
                    <a16:creationId xmlns:a16="http://schemas.microsoft.com/office/drawing/2014/main" id="{EF750361-BDDC-4013-B686-A93E8E701BE2}"/>
                  </a:ext>
                </a:extLst>
              </p:cNvPr>
              <p:cNvSpPr/>
              <p:nvPr/>
            </p:nvSpPr>
            <p:spPr>
              <a:xfrm>
                <a:off x="5174839" y="1119870"/>
                <a:ext cx="70273" cy="74340"/>
              </a:xfrm>
              <a:custGeom>
                <a:avLst/>
                <a:gdLst>
                  <a:gd name="connsiteX0" fmla="*/ 45154 w 70273"/>
                  <a:gd name="connsiteY0" fmla="*/ 0 h 74340"/>
                  <a:gd name="connsiteX1" fmla="*/ 70273 w 70273"/>
                  <a:gd name="connsiteY1" fmla="*/ 61661 h 74340"/>
                  <a:gd name="connsiteX2" fmla="*/ 25478 w 70273"/>
                  <a:gd name="connsiteY2" fmla="*/ 74340 h 74340"/>
                  <a:gd name="connsiteX3" fmla="*/ 0 w 70273"/>
                  <a:gd name="connsiteY3" fmla="*/ 11662 h 74340"/>
                  <a:gd name="connsiteX4" fmla="*/ 45154 w 70273"/>
                  <a:gd name="connsiteY4" fmla="*/ 0 h 74340"/>
                  <a:gd name="connsiteX5" fmla="*/ 12859 w 70273"/>
                  <a:gd name="connsiteY5" fmla="*/ 30262 h 74340"/>
                  <a:gd name="connsiteX6" fmla="*/ 16447 w 70273"/>
                  <a:gd name="connsiteY6" fmla="*/ 26315 h 74340"/>
                  <a:gd name="connsiteX7" fmla="*/ 42284 w 70273"/>
                  <a:gd name="connsiteY7" fmla="*/ 7356 h 74340"/>
                  <a:gd name="connsiteX8" fmla="*/ 62439 w 70273"/>
                  <a:gd name="connsiteY8" fmla="*/ 56757 h 74340"/>
                  <a:gd name="connsiteX9" fmla="*/ 66805 w 70273"/>
                  <a:gd name="connsiteY9" fmla="*/ 62857 h 74340"/>
                  <a:gd name="connsiteX10" fmla="*/ 67223 w 70273"/>
                  <a:gd name="connsiteY10" fmla="*/ 59508 h 74340"/>
                  <a:gd name="connsiteX11" fmla="*/ 45633 w 70273"/>
                  <a:gd name="connsiteY11" fmla="*/ 4605 h 74340"/>
                  <a:gd name="connsiteX12" fmla="*/ 40370 w 70273"/>
                  <a:gd name="connsiteY12" fmla="*/ 2632 h 74340"/>
                  <a:gd name="connsiteX13" fmla="*/ 23444 w 70273"/>
                  <a:gd name="connsiteY13" fmla="*/ 6818 h 74340"/>
                  <a:gd name="connsiteX14" fmla="*/ 1974 w 70273"/>
                  <a:gd name="connsiteY14" fmla="*/ 12679 h 74340"/>
                  <a:gd name="connsiteX15" fmla="*/ 6519 w 70273"/>
                  <a:gd name="connsiteY15" fmla="*/ 23923 h 74340"/>
                  <a:gd name="connsiteX16" fmla="*/ 12859 w 70273"/>
                  <a:gd name="connsiteY16" fmla="*/ 30262 h 74340"/>
                  <a:gd name="connsiteX17" fmla="*/ 12380 w 70273"/>
                  <a:gd name="connsiteY17" fmla="*/ 32356 h 74340"/>
                  <a:gd name="connsiteX18" fmla="*/ 28468 w 70273"/>
                  <a:gd name="connsiteY18" fmla="*/ 72128 h 74340"/>
                  <a:gd name="connsiteX19" fmla="*/ 63336 w 70273"/>
                  <a:gd name="connsiteY19" fmla="*/ 62140 h 74340"/>
                  <a:gd name="connsiteX20" fmla="*/ 41925 w 70273"/>
                  <a:gd name="connsiteY20" fmla="*/ 9509 h 74340"/>
                  <a:gd name="connsiteX21" fmla="*/ 12859 w 70273"/>
                  <a:gd name="connsiteY21" fmla="*/ 30262 h 74340"/>
                  <a:gd name="connsiteX22" fmla="*/ 11782 w 70273"/>
                  <a:gd name="connsiteY22" fmla="*/ 34688 h 74340"/>
                  <a:gd name="connsiteX23" fmla="*/ 11364 w 70273"/>
                  <a:gd name="connsiteY23" fmla="*/ 34868 h 74340"/>
                  <a:gd name="connsiteX24" fmla="*/ 25717 w 70273"/>
                  <a:gd name="connsiteY24" fmla="*/ 70154 h 74340"/>
                  <a:gd name="connsiteX25" fmla="*/ 26136 w 70273"/>
                  <a:gd name="connsiteY25" fmla="*/ 69974 h 74340"/>
                  <a:gd name="connsiteX26" fmla="*/ 11782 w 70273"/>
                  <a:gd name="connsiteY26" fmla="*/ 34688 h 7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0273" h="74340">
                    <a:moveTo>
                      <a:pt x="45154" y="0"/>
                    </a:moveTo>
                    <a:cubicBezTo>
                      <a:pt x="53528" y="20574"/>
                      <a:pt x="61901" y="41088"/>
                      <a:pt x="70273" y="61661"/>
                    </a:cubicBezTo>
                    <a:cubicBezTo>
                      <a:pt x="55023" y="65967"/>
                      <a:pt x="40310" y="70154"/>
                      <a:pt x="25478" y="74340"/>
                    </a:cubicBezTo>
                    <a:cubicBezTo>
                      <a:pt x="17045" y="53587"/>
                      <a:pt x="8552" y="32715"/>
                      <a:pt x="0" y="11662"/>
                    </a:cubicBezTo>
                    <a:cubicBezTo>
                      <a:pt x="15251" y="7715"/>
                      <a:pt x="30203" y="3828"/>
                      <a:pt x="45154" y="0"/>
                    </a:cubicBezTo>
                    <a:close/>
                    <a:moveTo>
                      <a:pt x="12859" y="30262"/>
                    </a:moveTo>
                    <a:cubicBezTo>
                      <a:pt x="14055" y="28947"/>
                      <a:pt x="15072" y="27332"/>
                      <a:pt x="16447" y="26315"/>
                    </a:cubicBezTo>
                    <a:cubicBezTo>
                      <a:pt x="25179" y="19796"/>
                      <a:pt x="34030" y="13457"/>
                      <a:pt x="42284" y="7356"/>
                    </a:cubicBezTo>
                    <a:cubicBezTo>
                      <a:pt x="48982" y="23803"/>
                      <a:pt x="55621" y="40310"/>
                      <a:pt x="62439" y="56757"/>
                    </a:cubicBezTo>
                    <a:cubicBezTo>
                      <a:pt x="63216" y="58611"/>
                      <a:pt x="64771" y="60046"/>
                      <a:pt x="66805" y="62857"/>
                    </a:cubicBezTo>
                    <a:cubicBezTo>
                      <a:pt x="67104" y="60286"/>
                      <a:pt x="67343" y="59807"/>
                      <a:pt x="67223" y="59508"/>
                    </a:cubicBezTo>
                    <a:cubicBezTo>
                      <a:pt x="60106" y="41207"/>
                      <a:pt x="53049" y="22846"/>
                      <a:pt x="45633" y="4605"/>
                    </a:cubicBezTo>
                    <a:cubicBezTo>
                      <a:pt x="45154" y="3409"/>
                      <a:pt x="41985" y="2332"/>
                      <a:pt x="40370" y="2632"/>
                    </a:cubicBezTo>
                    <a:cubicBezTo>
                      <a:pt x="34629" y="3708"/>
                      <a:pt x="29066" y="5323"/>
                      <a:pt x="23444" y="6818"/>
                    </a:cubicBezTo>
                    <a:cubicBezTo>
                      <a:pt x="16507" y="8672"/>
                      <a:pt x="9569" y="10586"/>
                      <a:pt x="1974" y="12679"/>
                    </a:cubicBezTo>
                    <a:cubicBezTo>
                      <a:pt x="3648" y="16866"/>
                      <a:pt x="5203" y="20334"/>
                      <a:pt x="6519" y="23923"/>
                    </a:cubicBezTo>
                    <a:cubicBezTo>
                      <a:pt x="7715" y="27272"/>
                      <a:pt x="8852" y="30442"/>
                      <a:pt x="12859" y="30262"/>
                    </a:cubicBezTo>
                    <a:cubicBezTo>
                      <a:pt x="12679" y="30920"/>
                      <a:pt x="12141" y="31817"/>
                      <a:pt x="12380" y="32356"/>
                    </a:cubicBezTo>
                    <a:cubicBezTo>
                      <a:pt x="17643" y="45453"/>
                      <a:pt x="22966" y="58551"/>
                      <a:pt x="28468" y="72128"/>
                    </a:cubicBezTo>
                    <a:cubicBezTo>
                      <a:pt x="40191" y="68778"/>
                      <a:pt x="51614" y="65489"/>
                      <a:pt x="63336" y="62140"/>
                    </a:cubicBezTo>
                    <a:cubicBezTo>
                      <a:pt x="55979" y="44078"/>
                      <a:pt x="49102" y="27093"/>
                      <a:pt x="41925" y="9509"/>
                    </a:cubicBezTo>
                    <a:cubicBezTo>
                      <a:pt x="31997" y="16567"/>
                      <a:pt x="22428" y="23444"/>
                      <a:pt x="12859" y="30262"/>
                    </a:cubicBezTo>
                    <a:close/>
                    <a:moveTo>
                      <a:pt x="11782" y="34688"/>
                    </a:moveTo>
                    <a:cubicBezTo>
                      <a:pt x="11662" y="34748"/>
                      <a:pt x="11543" y="34808"/>
                      <a:pt x="11364" y="34868"/>
                    </a:cubicBezTo>
                    <a:cubicBezTo>
                      <a:pt x="16148" y="46650"/>
                      <a:pt x="20933" y="58372"/>
                      <a:pt x="25717" y="70154"/>
                    </a:cubicBezTo>
                    <a:cubicBezTo>
                      <a:pt x="25837" y="70094"/>
                      <a:pt x="25956" y="70034"/>
                      <a:pt x="26136" y="69974"/>
                    </a:cubicBezTo>
                    <a:cubicBezTo>
                      <a:pt x="21351" y="58192"/>
                      <a:pt x="16567" y="46470"/>
                      <a:pt x="11782" y="3468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01" name="Vrije vorm: vorm 9300">
                <a:extLst>
                  <a:ext uri="{FF2B5EF4-FFF2-40B4-BE49-F238E27FC236}">
                    <a16:creationId xmlns:a16="http://schemas.microsoft.com/office/drawing/2014/main" id="{41D7980F-2F5B-4253-8D74-A94ECAB2B88E}"/>
                  </a:ext>
                </a:extLst>
              </p:cNvPr>
              <p:cNvSpPr/>
              <p:nvPr/>
            </p:nvSpPr>
            <p:spPr>
              <a:xfrm>
                <a:off x="4897034" y="1102766"/>
                <a:ext cx="81935" cy="81218"/>
              </a:xfrm>
              <a:custGeom>
                <a:avLst/>
                <a:gdLst>
                  <a:gd name="connsiteX0" fmla="*/ 27930 w 81935"/>
                  <a:gd name="connsiteY0" fmla="*/ 81218 h 81218"/>
                  <a:gd name="connsiteX1" fmla="*/ 0 w 81935"/>
                  <a:gd name="connsiteY1" fmla="*/ 12500 h 81218"/>
                  <a:gd name="connsiteX2" fmla="*/ 54485 w 81935"/>
                  <a:gd name="connsiteY2" fmla="*/ 0 h 81218"/>
                  <a:gd name="connsiteX3" fmla="*/ 81936 w 81935"/>
                  <a:gd name="connsiteY3" fmla="*/ 67463 h 81218"/>
                  <a:gd name="connsiteX4" fmla="*/ 27930 w 81935"/>
                  <a:gd name="connsiteY4" fmla="*/ 81218 h 81218"/>
                  <a:gd name="connsiteX5" fmla="*/ 69137 w 81935"/>
                  <a:gd name="connsiteY5" fmla="*/ 40848 h 81218"/>
                  <a:gd name="connsiteX6" fmla="*/ 53229 w 81935"/>
                  <a:gd name="connsiteY6" fmla="*/ 1734 h 81218"/>
                  <a:gd name="connsiteX7" fmla="*/ 1974 w 81935"/>
                  <a:gd name="connsiteY7" fmla="*/ 13516 h 81218"/>
                  <a:gd name="connsiteX8" fmla="*/ 11782 w 81935"/>
                  <a:gd name="connsiteY8" fmla="*/ 37559 h 81218"/>
                  <a:gd name="connsiteX9" fmla="*/ 18241 w 81935"/>
                  <a:gd name="connsiteY9" fmla="*/ 51494 h 81218"/>
                  <a:gd name="connsiteX10" fmla="*/ 32236 w 81935"/>
                  <a:gd name="connsiteY10" fmla="*/ 49879 h 81218"/>
                  <a:gd name="connsiteX11" fmla="*/ 69137 w 81935"/>
                  <a:gd name="connsiteY11" fmla="*/ 40848 h 81218"/>
                  <a:gd name="connsiteX12" fmla="*/ 80082 w 81935"/>
                  <a:gd name="connsiteY12" fmla="*/ 66625 h 81218"/>
                  <a:gd name="connsiteX13" fmla="*/ 71171 w 81935"/>
                  <a:gd name="connsiteY13" fmla="*/ 45095 h 81218"/>
                  <a:gd name="connsiteX14" fmla="*/ 66984 w 81935"/>
                  <a:gd name="connsiteY14" fmla="*/ 42882 h 81218"/>
                  <a:gd name="connsiteX15" fmla="*/ 54185 w 81935"/>
                  <a:gd name="connsiteY15" fmla="*/ 45812 h 81218"/>
                  <a:gd name="connsiteX16" fmla="*/ 19019 w 81935"/>
                  <a:gd name="connsiteY16" fmla="*/ 54484 h 81218"/>
                  <a:gd name="connsiteX17" fmla="*/ 27691 w 81935"/>
                  <a:gd name="connsiteY17" fmla="*/ 75836 h 81218"/>
                  <a:gd name="connsiteX18" fmla="*/ 70752 w 81935"/>
                  <a:gd name="connsiteY18" fmla="*/ 65190 h 81218"/>
                  <a:gd name="connsiteX19" fmla="*/ 71051 w 81935"/>
                  <a:gd name="connsiteY19" fmla="*/ 66266 h 81218"/>
                  <a:gd name="connsiteX20" fmla="*/ 28528 w 81935"/>
                  <a:gd name="connsiteY20" fmla="*/ 77271 h 81218"/>
                  <a:gd name="connsiteX21" fmla="*/ 29186 w 81935"/>
                  <a:gd name="connsiteY21" fmla="*/ 79424 h 81218"/>
                  <a:gd name="connsiteX22" fmla="*/ 80082 w 81935"/>
                  <a:gd name="connsiteY22" fmla="*/ 66625 h 8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1935" h="81218">
                    <a:moveTo>
                      <a:pt x="27930" y="81218"/>
                    </a:moveTo>
                    <a:cubicBezTo>
                      <a:pt x="18660" y="58372"/>
                      <a:pt x="9330" y="35466"/>
                      <a:pt x="0" y="12500"/>
                    </a:cubicBezTo>
                    <a:cubicBezTo>
                      <a:pt x="18421" y="8253"/>
                      <a:pt x="36423" y="4186"/>
                      <a:pt x="54485" y="0"/>
                    </a:cubicBezTo>
                    <a:cubicBezTo>
                      <a:pt x="63635" y="22547"/>
                      <a:pt x="72846" y="45095"/>
                      <a:pt x="81936" y="67463"/>
                    </a:cubicBezTo>
                    <a:cubicBezTo>
                      <a:pt x="63874" y="72128"/>
                      <a:pt x="46171" y="76613"/>
                      <a:pt x="27930" y="81218"/>
                    </a:cubicBezTo>
                    <a:close/>
                    <a:moveTo>
                      <a:pt x="69137" y="40848"/>
                    </a:moveTo>
                    <a:cubicBezTo>
                      <a:pt x="63635" y="27332"/>
                      <a:pt x="58492" y="14713"/>
                      <a:pt x="53229" y="1734"/>
                    </a:cubicBezTo>
                    <a:cubicBezTo>
                      <a:pt x="36124" y="5682"/>
                      <a:pt x="19378" y="9509"/>
                      <a:pt x="1974" y="13516"/>
                    </a:cubicBezTo>
                    <a:cubicBezTo>
                      <a:pt x="5503" y="22188"/>
                      <a:pt x="8612" y="29904"/>
                      <a:pt x="11782" y="37559"/>
                    </a:cubicBezTo>
                    <a:cubicBezTo>
                      <a:pt x="13815" y="42403"/>
                      <a:pt x="14892" y="49520"/>
                      <a:pt x="18241" y="51494"/>
                    </a:cubicBezTo>
                    <a:cubicBezTo>
                      <a:pt x="21770" y="53527"/>
                      <a:pt x="27571" y="50956"/>
                      <a:pt x="32236" y="49879"/>
                    </a:cubicBezTo>
                    <a:cubicBezTo>
                      <a:pt x="44437" y="47068"/>
                      <a:pt x="56578" y="43898"/>
                      <a:pt x="69137" y="40848"/>
                    </a:cubicBezTo>
                    <a:close/>
                    <a:moveTo>
                      <a:pt x="80082" y="66625"/>
                    </a:moveTo>
                    <a:cubicBezTo>
                      <a:pt x="76972" y="58910"/>
                      <a:pt x="74281" y="51913"/>
                      <a:pt x="71171" y="45095"/>
                    </a:cubicBezTo>
                    <a:cubicBezTo>
                      <a:pt x="70632" y="43898"/>
                      <a:pt x="68240" y="42702"/>
                      <a:pt x="66984" y="42882"/>
                    </a:cubicBezTo>
                    <a:cubicBezTo>
                      <a:pt x="62678" y="43540"/>
                      <a:pt x="58432" y="44736"/>
                      <a:pt x="54185" y="45812"/>
                    </a:cubicBezTo>
                    <a:cubicBezTo>
                      <a:pt x="42583" y="48683"/>
                      <a:pt x="30980" y="51554"/>
                      <a:pt x="19019" y="54484"/>
                    </a:cubicBezTo>
                    <a:cubicBezTo>
                      <a:pt x="22069" y="61900"/>
                      <a:pt x="24820" y="68719"/>
                      <a:pt x="27691" y="75836"/>
                    </a:cubicBezTo>
                    <a:cubicBezTo>
                      <a:pt x="42284" y="72247"/>
                      <a:pt x="56518" y="68719"/>
                      <a:pt x="70752" y="65190"/>
                    </a:cubicBezTo>
                    <a:cubicBezTo>
                      <a:pt x="70872" y="65549"/>
                      <a:pt x="70932" y="65908"/>
                      <a:pt x="71051" y="66266"/>
                    </a:cubicBezTo>
                    <a:cubicBezTo>
                      <a:pt x="56877" y="69915"/>
                      <a:pt x="42702" y="73563"/>
                      <a:pt x="28528" y="77271"/>
                    </a:cubicBezTo>
                    <a:cubicBezTo>
                      <a:pt x="28767" y="77989"/>
                      <a:pt x="28947" y="78706"/>
                      <a:pt x="29186" y="79424"/>
                    </a:cubicBezTo>
                    <a:cubicBezTo>
                      <a:pt x="45813" y="75237"/>
                      <a:pt x="62499" y="71051"/>
                      <a:pt x="80082" y="6662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02" name="Vrije vorm: vorm 9301">
                <a:extLst>
                  <a:ext uri="{FF2B5EF4-FFF2-40B4-BE49-F238E27FC236}">
                    <a16:creationId xmlns:a16="http://schemas.microsoft.com/office/drawing/2014/main" id="{B1E2F131-214F-4A27-880F-5D4392FE8F5F}"/>
                  </a:ext>
                </a:extLst>
              </p:cNvPr>
              <p:cNvSpPr/>
              <p:nvPr/>
            </p:nvSpPr>
            <p:spPr>
              <a:xfrm>
                <a:off x="5000322" y="1347078"/>
                <a:ext cx="78467" cy="84507"/>
              </a:xfrm>
              <a:custGeom>
                <a:avLst/>
                <a:gdLst>
                  <a:gd name="connsiteX0" fmla="*/ 27571 w 78467"/>
                  <a:gd name="connsiteY0" fmla="*/ 84508 h 84507"/>
                  <a:gd name="connsiteX1" fmla="*/ 0 w 78467"/>
                  <a:gd name="connsiteY1" fmla="*/ 16686 h 84507"/>
                  <a:gd name="connsiteX2" fmla="*/ 51614 w 78467"/>
                  <a:gd name="connsiteY2" fmla="*/ 0 h 84507"/>
                  <a:gd name="connsiteX3" fmla="*/ 78467 w 78467"/>
                  <a:gd name="connsiteY3" fmla="*/ 66027 h 84507"/>
                  <a:gd name="connsiteX4" fmla="*/ 77510 w 78467"/>
                  <a:gd name="connsiteY4" fmla="*/ 66386 h 84507"/>
                  <a:gd name="connsiteX5" fmla="*/ 51135 w 78467"/>
                  <a:gd name="connsiteY5" fmla="*/ 1555 h 84507"/>
                  <a:gd name="connsiteX6" fmla="*/ 2333 w 78467"/>
                  <a:gd name="connsiteY6" fmla="*/ 17344 h 84507"/>
                  <a:gd name="connsiteX7" fmla="*/ 9151 w 78467"/>
                  <a:gd name="connsiteY7" fmla="*/ 34030 h 84507"/>
                  <a:gd name="connsiteX8" fmla="*/ 47667 w 78467"/>
                  <a:gd name="connsiteY8" fmla="*/ 21471 h 84507"/>
                  <a:gd name="connsiteX9" fmla="*/ 48025 w 78467"/>
                  <a:gd name="connsiteY9" fmla="*/ 22547 h 84507"/>
                  <a:gd name="connsiteX10" fmla="*/ 9629 w 78467"/>
                  <a:gd name="connsiteY10" fmla="*/ 35526 h 84507"/>
                  <a:gd name="connsiteX11" fmla="*/ 27033 w 78467"/>
                  <a:gd name="connsiteY11" fmla="*/ 78288 h 84507"/>
                  <a:gd name="connsiteX12" fmla="*/ 73085 w 78467"/>
                  <a:gd name="connsiteY12" fmla="*/ 62319 h 84507"/>
                  <a:gd name="connsiteX13" fmla="*/ 73623 w 78467"/>
                  <a:gd name="connsiteY13" fmla="*/ 63695 h 84507"/>
                  <a:gd name="connsiteX14" fmla="*/ 27691 w 78467"/>
                  <a:gd name="connsiteY14" fmla="*/ 80082 h 84507"/>
                  <a:gd name="connsiteX15" fmla="*/ 28528 w 78467"/>
                  <a:gd name="connsiteY15" fmla="*/ 82414 h 84507"/>
                  <a:gd name="connsiteX16" fmla="*/ 74819 w 78467"/>
                  <a:gd name="connsiteY16" fmla="*/ 66565 h 84507"/>
                  <a:gd name="connsiteX17" fmla="*/ 75178 w 78467"/>
                  <a:gd name="connsiteY17" fmla="*/ 67642 h 84507"/>
                  <a:gd name="connsiteX18" fmla="*/ 27571 w 78467"/>
                  <a:gd name="connsiteY18" fmla="*/ 84508 h 8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467" h="84507">
                    <a:moveTo>
                      <a:pt x="27571" y="84508"/>
                    </a:moveTo>
                    <a:cubicBezTo>
                      <a:pt x="18421" y="61960"/>
                      <a:pt x="9210" y="39353"/>
                      <a:pt x="0" y="16686"/>
                    </a:cubicBezTo>
                    <a:cubicBezTo>
                      <a:pt x="17344" y="11064"/>
                      <a:pt x="34628" y="5502"/>
                      <a:pt x="51614" y="0"/>
                    </a:cubicBezTo>
                    <a:cubicBezTo>
                      <a:pt x="60525" y="21949"/>
                      <a:pt x="69496" y="44018"/>
                      <a:pt x="78467" y="66027"/>
                    </a:cubicBezTo>
                    <a:cubicBezTo>
                      <a:pt x="78168" y="66147"/>
                      <a:pt x="77809" y="66266"/>
                      <a:pt x="77510" y="66386"/>
                    </a:cubicBezTo>
                    <a:cubicBezTo>
                      <a:pt x="68838" y="44975"/>
                      <a:pt x="60106" y="23624"/>
                      <a:pt x="51135" y="1555"/>
                    </a:cubicBezTo>
                    <a:cubicBezTo>
                      <a:pt x="34808" y="6818"/>
                      <a:pt x="18780" y="12021"/>
                      <a:pt x="2333" y="17344"/>
                    </a:cubicBezTo>
                    <a:cubicBezTo>
                      <a:pt x="4605" y="22906"/>
                      <a:pt x="6758" y="28169"/>
                      <a:pt x="9151" y="34030"/>
                    </a:cubicBezTo>
                    <a:cubicBezTo>
                      <a:pt x="22009" y="29844"/>
                      <a:pt x="34868" y="25657"/>
                      <a:pt x="47667" y="21471"/>
                    </a:cubicBezTo>
                    <a:cubicBezTo>
                      <a:pt x="47786" y="21830"/>
                      <a:pt x="47906" y="22189"/>
                      <a:pt x="48025" y="22547"/>
                    </a:cubicBezTo>
                    <a:cubicBezTo>
                      <a:pt x="35346" y="26853"/>
                      <a:pt x="22727" y="31100"/>
                      <a:pt x="9629" y="35526"/>
                    </a:cubicBezTo>
                    <a:cubicBezTo>
                      <a:pt x="15371" y="49700"/>
                      <a:pt x="21052" y="63695"/>
                      <a:pt x="27033" y="78288"/>
                    </a:cubicBezTo>
                    <a:cubicBezTo>
                      <a:pt x="42403" y="72965"/>
                      <a:pt x="57774" y="67642"/>
                      <a:pt x="73085" y="62319"/>
                    </a:cubicBezTo>
                    <a:cubicBezTo>
                      <a:pt x="73264" y="62798"/>
                      <a:pt x="73443" y="63216"/>
                      <a:pt x="73623" y="63695"/>
                    </a:cubicBezTo>
                    <a:cubicBezTo>
                      <a:pt x="58312" y="69137"/>
                      <a:pt x="43001" y="74639"/>
                      <a:pt x="27691" y="80082"/>
                    </a:cubicBezTo>
                    <a:cubicBezTo>
                      <a:pt x="27990" y="80859"/>
                      <a:pt x="28229" y="81637"/>
                      <a:pt x="28528" y="82414"/>
                    </a:cubicBezTo>
                    <a:cubicBezTo>
                      <a:pt x="43958" y="77151"/>
                      <a:pt x="59389" y="71828"/>
                      <a:pt x="74819" y="66565"/>
                    </a:cubicBezTo>
                    <a:cubicBezTo>
                      <a:pt x="74939" y="66924"/>
                      <a:pt x="75058" y="67283"/>
                      <a:pt x="75178" y="67642"/>
                    </a:cubicBezTo>
                    <a:cubicBezTo>
                      <a:pt x="59329" y="73324"/>
                      <a:pt x="43420" y="78886"/>
                      <a:pt x="27571" y="8450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03" name="Vrije vorm: vorm 9302">
                <a:extLst>
                  <a:ext uri="{FF2B5EF4-FFF2-40B4-BE49-F238E27FC236}">
                    <a16:creationId xmlns:a16="http://schemas.microsoft.com/office/drawing/2014/main" id="{C694498C-7757-4F05-9FC4-B51844628F55}"/>
                  </a:ext>
                </a:extLst>
              </p:cNvPr>
              <p:cNvSpPr/>
              <p:nvPr/>
            </p:nvSpPr>
            <p:spPr>
              <a:xfrm>
                <a:off x="5114015" y="2043832"/>
                <a:ext cx="71708" cy="90607"/>
              </a:xfrm>
              <a:custGeom>
                <a:avLst/>
                <a:gdLst>
                  <a:gd name="connsiteX0" fmla="*/ 42942 w 71708"/>
                  <a:gd name="connsiteY0" fmla="*/ 77869 h 90607"/>
                  <a:gd name="connsiteX1" fmla="*/ 27152 w 71708"/>
                  <a:gd name="connsiteY1" fmla="*/ 39054 h 90607"/>
                  <a:gd name="connsiteX2" fmla="*/ 28229 w 71708"/>
                  <a:gd name="connsiteY2" fmla="*/ 38576 h 90607"/>
                  <a:gd name="connsiteX3" fmla="*/ 43958 w 71708"/>
                  <a:gd name="connsiteY3" fmla="*/ 77211 h 90607"/>
                  <a:gd name="connsiteX4" fmla="*/ 70154 w 71708"/>
                  <a:gd name="connsiteY4" fmla="*/ 60824 h 90607"/>
                  <a:gd name="connsiteX5" fmla="*/ 57654 w 71708"/>
                  <a:gd name="connsiteY5" fmla="*/ 30681 h 90607"/>
                  <a:gd name="connsiteX6" fmla="*/ 51793 w 71708"/>
                  <a:gd name="connsiteY6" fmla="*/ 29425 h 90607"/>
                  <a:gd name="connsiteX7" fmla="*/ 25956 w 71708"/>
                  <a:gd name="connsiteY7" fmla="*/ 34270 h 90607"/>
                  <a:gd name="connsiteX8" fmla="*/ 46470 w 71708"/>
                  <a:gd name="connsiteY8" fmla="*/ 29066 h 90607"/>
                  <a:gd name="connsiteX9" fmla="*/ 34449 w 71708"/>
                  <a:gd name="connsiteY9" fmla="*/ 26734 h 90607"/>
                  <a:gd name="connsiteX10" fmla="*/ 34748 w 71708"/>
                  <a:gd name="connsiteY10" fmla="*/ 23923 h 90607"/>
                  <a:gd name="connsiteX11" fmla="*/ 55979 w 71708"/>
                  <a:gd name="connsiteY11" fmla="*/ 25837 h 90607"/>
                  <a:gd name="connsiteX12" fmla="*/ 47487 w 71708"/>
                  <a:gd name="connsiteY12" fmla="*/ 4964 h 90607"/>
                  <a:gd name="connsiteX13" fmla="*/ 48563 w 71708"/>
                  <a:gd name="connsiteY13" fmla="*/ 4545 h 90607"/>
                  <a:gd name="connsiteX14" fmla="*/ 71709 w 71708"/>
                  <a:gd name="connsiteY14" fmla="*/ 61482 h 90607"/>
                  <a:gd name="connsiteX15" fmla="*/ 25538 w 71708"/>
                  <a:gd name="connsiteY15" fmla="*/ 90608 h 90607"/>
                  <a:gd name="connsiteX16" fmla="*/ 0 w 71708"/>
                  <a:gd name="connsiteY16" fmla="*/ 27751 h 90607"/>
                  <a:gd name="connsiteX17" fmla="*/ 46530 w 71708"/>
                  <a:gd name="connsiteY17" fmla="*/ 0 h 90607"/>
                  <a:gd name="connsiteX18" fmla="*/ 47128 w 71708"/>
                  <a:gd name="connsiteY18" fmla="*/ 1017 h 90607"/>
                  <a:gd name="connsiteX19" fmla="*/ 1974 w 71708"/>
                  <a:gd name="connsiteY19" fmla="*/ 28349 h 90607"/>
                  <a:gd name="connsiteX20" fmla="*/ 26375 w 71708"/>
                  <a:gd name="connsiteY20" fmla="*/ 88395 h 90607"/>
                  <a:gd name="connsiteX21" fmla="*/ 42942 w 71708"/>
                  <a:gd name="connsiteY21" fmla="*/ 77869 h 90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708" h="90607">
                    <a:moveTo>
                      <a:pt x="42942" y="77869"/>
                    </a:moveTo>
                    <a:cubicBezTo>
                      <a:pt x="37499" y="64472"/>
                      <a:pt x="32296" y="51733"/>
                      <a:pt x="27152" y="39054"/>
                    </a:cubicBezTo>
                    <a:cubicBezTo>
                      <a:pt x="27511" y="38875"/>
                      <a:pt x="27870" y="38755"/>
                      <a:pt x="28229" y="38576"/>
                    </a:cubicBezTo>
                    <a:cubicBezTo>
                      <a:pt x="33373" y="51255"/>
                      <a:pt x="38516" y="63874"/>
                      <a:pt x="43958" y="77211"/>
                    </a:cubicBezTo>
                    <a:cubicBezTo>
                      <a:pt x="52929" y="71589"/>
                      <a:pt x="61183" y="66446"/>
                      <a:pt x="70154" y="60824"/>
                    </a:cubicBezTo>
                    <a:cubicBezTo>
                      <a:pt x="66027" y="50717"/>
                      <a:pt x="62080" y="40549"/>
                      <a:pt x="57654" y="30681"/>
                    </a:cubicBezTo>
                    <a:cubicBezTo>
                      <a:pt x="57176" y="29545"/>
                      <a:pt x="53647" y="29066"/>
                      <a:pt x="51793" y="29425"/>
                    </a:cubicBezTo>
                    <a:cubicBezTo>
                      <a:pt x="43241" y="31160"/>
                      <a:pt x="34808" y="33253"/>
                      <a:pt x="25956" y="34270"/>
                    </a:cubicBezTo>
                    <a:cubicBezTo>
                      <a:pt x="32356" y="32655"/>
                      <a:pt x="38755" y="30980"/>
                      <a:pt x="46470" y="29066"/>
                    </a:cubicBezTo>
                    <a:cubicBezTo>
                      <a:pt x="41566" y="28109"/>
                      <a:pt x="38037" y="27451"/>
                      <a:pt x="34449" y="26734"/>
                    </a:cubicBezTo>
                    <a:cubicBezTo>
                      <a:pt x="34568" y="25777"/>
                      <a:pt x="34628" y="24820"/>
                      <a:pt x="34748" y="23923"/>
                    </a:cubicBezTo>
                    <a:cubicBezTo>
                      <a:pt x="41685" y="24581"/>
                      <a:pt x="48623" y="25179"/>
                      <a:pt x="55979" y="25837"/>
                    </a:cubicBezTo>
                    <a:cubicBezTo>
                      <a:pt x="53229" y="19019"/>
                      <a:pt x="50358" y="11961"/>
                      <a:pt x="47487" y="4964"/>
                    </a:cubicBezTo>
                    <a:cubicBezTo>
                      <a:pt x="47846" y="4844"/>
                      <a:pt x="48205" y="4665"/>
                      <a:pt x="48563" y="4545"/>
                    </a:cubicBezTo>
                    <a:cubicBezTo>
                      <a:pt x="56219" y="23444"/>
                      <a:pt x="63934" y="42284"/>
                      <a:pt x="71709" y="61482"/>
                    </a:cubicBezTo>
                    <a:cubicBezTo>
                      <a:pt x="56757" y="70931"/>
                      <a:pt x="41327" y="80680"/>
                      <a:pt x="25538" y="90608"/>
                    </a:cubicBezTo>
                    <a:cubicBezTo>
                      <a:pt x="16985" y="69675"/>
                      <a:pt x="8493" y="48683"/>
                      <a:pt x="0" y="27751"/>
                    </a:cubicBezTo>
                    <a:cubicBezTo>
                      <a:pt x="15550" y="18480"/>
                      <a:pt x="31040" y="9270"/>
                      <a:pt x="46530" y="0"/>
                    </a:cubicBezTo>
                    <a:cubicBezTo>
                      <a:pt x="46709" y="359"/>
                      <a:pt x="46889" y="658"/>
                      <a:pt x="47128" y="1017"/>
                    </a:cubicBezTo>
                    <a:cubicBezTo>
                      <a:pt x="32057" y="10107"/>
                      <a:pt x="17045" y="19198"/>
                      <a:pt x="1974" y="28349"/>
                    </a:cubicBezTo>
                    <a:cubicBezTo>
                      <a:pt x="10167" y="48564"/>
                      <a:pt x="18181" y="68180"/>
                      <a:pt x="26375" y="88395"/>
                    </a:cubicBezTo>
                    <a:cubicBezTo>
                      <a:pt x="31937" y="84807"/>
                      <a:pt x="37140" y="81577"/>
                      <a:pt x="42942" y="7786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04" name="Vrije vorm: vorm 9303">
                <a:extLst>
                  <a:ext uri="{FF2B5EF4-FFF2-40B4-BE49-F238E27FC236}">
                    <a16:creationId xmlns:a16="http://schemas.microsoft.com/office/drawing/2014/main" id="{6DA745AD-D052-4FEA-BE9E-51412C8BFC66}"/>
                  </a:ext>
                </a:extLst>
              </p:cNvPr>
              <p:cNvSpPr/>
              <p:nvPr/>
            </p:nvSpPr>
            <p:spPr>
              <a:xfrm>
                <a:off x="5282492" y="1864709"/>
                <a:ext cx="70991" cy="90308"/>
              </a:xfrm>
              <a:custGeom>
                <a:avLst/>
                <a:gdLst>
                  <a:gd name="connsiteX0" fmla="*/ 26255 w 70991"/>
                  <a:gd name="connsiteY0" fmla="*/ 90309 h 90308"/>
                  <a:gd name="connsiteX1" fmla="*/ 0 w 70991"/>
                  <a:gd name="connsiteY1" fmla="*/ 25777 h 90308"/>
                  <a:gd name="connsiteX2" fmla="*/ 45214 w 70991"/>
                  <a:gd name="connsiteY2" fmla="*/ 0 h 90308"/>
                  <a:gd name="connsiteX3" fmla="*/ 70991 w 70991"/>
                  <a:gd name="connsiteY3" fmla="*/ 63455 h 90308"/>
                  <a:gd name="connsiteX4" fmla="*/ 26255 w 70991"/>
                  <a:gd name="connsiteY4" fmla="*/ 90309 h 90308"/>
                  <a:gd name="connsiteX5" fmla="*/ 68958 w 70991"/>
                  <a:gd name="connsiteY5" fmla="*/ 63156 h 90308"/>
                  <a:gd name="connsiteX6" fmla="*/ 44138 w 70991"/>
                  <a:gd name="connsiteY6" fmla="*/ 2213 h 90308"/>
                  <a:gd name="connsiteX7" fmla="*/ 5801 w 70991"/>
                  <a:gd name="connsiteY7" fmla="*/ 23983 h 90308"/>
                  <a:gd name="connsiteX8" fmla="*/ 3708 w 70991"/>
                  <a:gd name="connsiteY8" fmla="*/ 30861 h 90308"/>
                  <a:gd name="connsiteX9" fmla="*/ 22009 w 70991"/>
                  <a:gd name="connsiteY9" fmla="*/ 76015 h 90308"/>
                  <a:gd name="connsiteX10" fmla="*/ 24102 w 70991"/>
                  <a:gd name="connsiteY10" fmla="*/ 79544 h 90308"/>
                  <a:gd name="connsiteX11" fmla="*/ 45394 w 70991"/>
                  <a:gd name="connsiteY11" fmla="*/ 67223 h 90308"/>
                  <a:gd name="connsiteX12" fmla="*/ 27272 w 70991"/>
                  <a:gd name="connsiteY12" fmla="*/ 79364 h 90308"/>
                  <a:gd name="connsiteX13" fmla="*/ 26674 w 70991"/>
                  <a:gd name="connsiteY13" fmla="*/ 84926 h 90308"/>
                  <a:gd name="connsiteX14" fmla="*/ 44556 w 70991"/>
                  <a:gd name="connsiteY14" fmla="*/ 74460 h 90308"/>
                  <a:gd name="connsiteX15" fmla="*/ 45154 w 70991"/>
                  <a:gd name="connsiteY15" fmla="*/ 75477 h 90308"/>
                  <a:gd name="connsiteX16" fmla="*/ 38935 w 70991"/>
                  <a:gd name="connsiteY16" fmla="*/ 80022 h 90308"/>
                  <a:gd name="connsiteX17" fmla="*/ 39353 w 70991"/>
                  <a:gd name="connsiteY17" fmla="*/ 80800 h 90308"/>
                  <a:gd name="connsiteX18" fmla="*/ 68958 w 70991"/>
                  <a:gd name="connsiteY18" fmla="*/ 63156 h 9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991" h="90308">
                    <a:moveTo>
                      <a:pt x="26255" y="90309"/>
                    </a:moveTo>
                    <a:cubicBezTo>
                      <a:pt x="17523" y="68898"/>
                      <a:pt x="8792" y="47367"/>
                      <a:pt x="0" y="25777"/>
                    </a:cubicBezTo>
                    <a:cubicBezTo>
                      <a:pt x="15072" y="17165"/>
                      <a:pt x="30143" y="8612"/>
                      <a:pt x="45214" y="0"/>
                    </a:cubicBezTo>
                    <a:cubicBezTo>
                      <a:pt x="53827" y="21112"/>
                      <a:pt x="62439" y="42344"/>
                      <a:pt x="70991" y="63455"/>
                    </a:cubicBezTo>
                    <a:cubicBezTo>
                      <a:pt x="55979" y="72486"/>
                      <a:pt x="41147" y="81398"/>
                      <a:pt x="26255" y="90309"/>
                    </a:cubicBezTo>
                    <a:close/>
                    <a:moveTo>
                      <a:pt x="68958" y="63156"/>
                    </a:moveTo>
                    <a:cubicBezTo>
                      <a:pt x="60525" y="42463"/>
                      <a:pt x="52391" y="22487"/>
                      <a:pt x="44138" y="2213"/>
                    </a:cubicBezTo>
                    <a:cubicBezTo>
                      <a:pt x="31100" y="9689"/>
                      <a:pt x="18600" y="17045"/>
                      <a:pt x="5801" y="23983"/>
                    </a:cubicBezTo>
                    <a:cubicBezTo>
                      <a:pt x="2691" y="25717"/>
                      <a:pt x="2213" y="27272"/>
                      <a:pt x="3708" y="30861"/>
                    </a:cubicBezTo>
                    <a:cubicBezTo>
                      <a:pt x="9928" y="45872"/>
                      <a:pt x="15909" y="60944"/>
                      <a:pt x="22009" y="76015"/>
                    </a:cubicBezTo>
                    <a:cubicBezTo>
                      <a:pt x="22488" y="77211"/>
                      <a:pt x="23325" y="78288"/>
                      <a:pt x="24102" y="79544"/>
                    </a:cubicBezTo>
                    <a:cubicBezTo>
                      <a:pt x="31399" y="75297"/>
                      <a:pt x="38396" y="71290"/>
                      <a:pt x="45394" y="67223"/>
                    </a:cubicBezTo>
                    <a:cubicBezTo>
                      <a:pt x="39712" y="71888"/>
                      <a:pt x="33432" y="75537"/>
                      <a:pt x="27272" y="79364"/>
                    </a:cubicBezTo>
                    <a:cubicBezTo>
                      <a:pt x="25239" y="80620"/>
                      <a:pt x="23086" y="82175"/>
                      <a:pt x="26674" y="84926"/>
                    </a:cubicBezTo>
                    <a:cubicBezTo>
                      <a:pt x="32655" y="81398"/>
                      <a:pt x="38636" y="77929"/>
                      <a:pt x="44556" y="74460"/>
                    </a:cubicBezTo>
                    <a:cubicBezTo>
                      <a:pt x="44736" y="74819"/>
                      <a:pt x="44975" y="75118"/>
                      <a:pt x="45154" y="75477"/>
                    </a:cubicBezTo>
                    <a:cubicBezTo>
                      <a:pt x="43061" y="76972"/>
                      <a:pt x="41028" y="78527"/>
                      <a:pt x="38935" y="80022"/>
                    </a:cubicBezTo>
                    <a:cubicBezTo>
                      <a:pt x="39054" y="80261"/>
                      <a:pt x="39234" y="80560"/>
                      <a:pt x="39353" y="80800"/>
                    </a:cubicBezTo>
                    <a:cubicBezTo>
                      <a:pt x="49162" y="74998"/>
                      <a:pt x="58910" y="69197"/>
                      <a:pt x="68958" y="6315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05" name="Vrije vorm: vorm 9304">
                <a:extLst>
                  <a:ext uri="{FF2B5EF4-FFF2-40B4-BE49-F238E27FC236}">
                    <a16:creationId xmlns:a16="http://schemas.microsoft.com/office/drawing/2014/main" id="{E6F16C1C-BC10-4B3A-9477-5574CC2A3495}"/>
                  </a:ext>
                </a:extLst>
              </p:cNvPr>
              <p:cNvSpPr/>
              <p:nvPr/>
            </p:nvSpPr>
            <p:spPr>
              <a:xfrm>
                <a:off x="5120415" y="1132310"/>
                <a:ext cx="72546" cy="76254"/>
              </a:xfrm>
              <a:custGeom>
                <a:avLst/>
                <a:gdLst>
                  <a:gd name="connsiteX0" fmla="*/ 72546 w 72546"/>
                  <a:gd name="connsiteY0" fmla="*/ 62798 h 76254"/>
                  <a:gd name="connsiteX1" fmla="*/ 26076 w 72546"/>
                  <a:gd name="connsiteY1" fmla="*/ 76254 h 76254"/>
                  <a:gd name="connsiteX2" fmla="*/ 0 w 72546"/>
                  <a:gd name="connsiteY2" fmla="*/ 12141 h 76254"/>
                  <a:gd name="connsiteX3" fmla="*/ 46949 w 72546"/>
                  <a:gd name="connsiteY3" fmla="*/ 0 h 76254"/>
                  <a:gd name="connsiteX4" fmla="*/ 72546 w 72546"/>
                  <a:gd name="connsiteY4" fmla="*/ 62798 h 76254"/>
                  <a:gd name="connsiteX5" fmla="*/ 45992 w 72546"/>
                  <a:gd name="connsiteY5" fmla="*/ 1615 h 76254"/>
                  <a:gd name="connsiteX6" fmla="*/ 1734 w 72546"/>
                  <a:gd name="connsiteY6" fmla="*/ 13038 h 76254"/>
                  <a:gd name="connsiteX7" fmla="*/ 28468 w 72546"/>
                  <a:gd name="connsiteY7" fmla="*/ 73682 h 76254"/>
                  <a:gd name="connsiteX8" fmla="*/ 36722 w 72546"/>
                  <a:gd name="connsiteY8" fmla="*/ 71529 h 76254"/>
                  <a:gd name="connsiteX9" fmla="*/ 26734 w 72546"/>
                  <a:gd name="connsiteY9" fmla="*/ 47008 h 76254"/>
                  <a:gd name="connsiteX10" fmla="*/ 50716 w 72546"/>
                  <a:gd name="connsiteY10" fmla="*/ 30023 h 76254"/>
                  <a:gd name="connsiteX11" fmla="*/ 51315 w 72546"/>
                  <a:gd name="connsiteY11" fmla="*/ 30920 h 76254"/>
                  <a:gd name="connsiteX12" fmla="*/ 28767 w 72546"/>
                  <a:gd name="connsiteY12" fmla="*/ 47547 h 76254"/>
                  <a:gd name="connsiteX13" fmla="*/ 38336 w 72546"/>
                  <a:gd name="connsiteY13" fmla="*/ 71051 h 76254"/>
                  <a:gd name="connsiteX14" fmla="*/ 70572 w 72546"/>
                  <a:gd name="connsiteY14" fmla="*/ 61841 h 76254"/>
                  <a:gd name="connsiteX15" fmla="*/ 45992 w 72546"/>
                  <a:gd name="connsiteY15" fmla="*/ 1615 h 7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546" h="76254">
                    <a:moveTo>
                      <a:pt x="72546" y="62798"/>
                    </a:moveTo>
                    <a:cubicBezTo>
                      <a:pt x="56817" y="67343"/>
                      <a:pt x="41566" y="71769"/>
                      <a:pt x="26076" y="76254"/>
                    </a:cubicBezTo>
                    <a:cubicBezTo>
                      <a:pt x="17464" y="55082"/>
                      <a:pt x="8732" y="33671"/>
                      <a:pt x="0" y="12141"/>
                    </a:cubicBezTo>
                    <a:cubicBezTo>
                      <a:pt x="15849" y="8074"/>
                      <a:pt x="31339" y="4007"/>
                      <a:pt x="46949" y="0"/>
                    </a:cubicBezTo>
                    <a:cubicBezTo>
                      <a:pt x="55441" y="20753"/>
                      <a:pt x="64053" y="41805"/>
                      <a:pt x="72546" y="62798"/>
                    </a:cubicBezTo>
                    <a:close/>
                    <a:moveTo>
                      <a:pt x="45992" y="1615"/>
                    </a:moveTo>
                    <a:cubicBezTo>
                      <a:pt x="31518" y="5383"/>
                      <a:pt x="17165" y="9031"/>
                      <a:pt x="1734" y="13038"/>
                    </a:cubicBezTo>
                    <a:cubicBezTo>
                      <a:pt x="10885" y="33731"/>
                      <a:pt x="19617" y="53527"/>
                      <a:pt x="28468" y="73682"/>
                    </a:cubicBezTo>
                    <a:cubicBezTo>
                      <a:pt x="31279" y="72965"/>
                      <a:pt x="33851" y="72307"/>
                      <a:pt x="36722" y="71529"/>
                    </a:cubicBezTo>
                    <a:cubicBezTo>
                      <a:pt x="33193" y="62917"/>
                      <a:pt x="29963" y="54903"/>
                      <a:pt x="26734" y="47008"/>
                    </a:cubicBezTo>
                    <a:cubicBezTo>
                      <a:pt x="34808" y="41267"/>
                      <a:pt x="42762" y="35645"/>
                      <a:pt x="50716" y="30023"/>
                    </a:cubicBezTo>
                    <a:cubicBezTo>
                      <a:pt x="50896" y="30322"/>
                      <a:pt x="51075" y="30621"/>
                      <a:pt x="51315" y="30920"/>
                    </a:cubicBezTo>
                    <a:cubicBezTo>
                      <a:pt x="43779" y="36482"/>
                      <a:pt x="36183" y="42044"/>
                      <a:pt x="28767" y="47547"/>
                    </a:cubicBezTo>
                    <a:cubicBezTo>
                      <a:pt x="32057" y="55681"/>
                      <a:pt x="35107" y="63156"/>
                      <a:pt x="38336" y="71051"/>
                    </a:cubicBezTo>
                    <a:cubicBezTo>
                      <a:pt x="49101" y="68001"/>
                      <a:pt x="59628" y="65010"/>
                      <a:pt x="70572" y="61841"/>
                    </a:cubicBezTo>
                    <a:cubicBezTo>
                      <a:pt x="62199" y="41506"/>
                      <a:pt x="54245" y="22009"/>
                      <a:pt x="45992" y="161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06" name="Vrije vorm: vorm 9305">
                <a:extLst>
                  <a:ext uri="{FF2B5EF4-FFF2-40B4-BE49-F238E27FC236}">
                    <a16:creationId xmlns:a16="http://schemas.microsoft.com/office/drawing/2014/main" id="{CB43517A-5242-422F-9F4B-2BBED7890BC9}"/>
                  </a:ext>
                </a:extLst>
              </p:cNvPr>
              <p:cNvSpPr/>
              <p:nvPr/>
            </p:nvSpPr>
            <p:spPr>
              <a:xfrm>
                <a:off x="5078011" y="1975891"/>
                <a:ext cx="72845" cy="90129"/>
              </a:xfrm>
              <a:custGeom>
                <a:avLst/>
                <a:gdLst>
                  <a:gd name="connsiteX0" fmla="*/ 72845 w 72845"/>
                  <a:gd name="connsiteY0" fmla="*/ 61960 h 90129"/>
                  <a:gd name="connsiteX1" fmla="*/ 25658 w 72845"/>
                  <a:gd name="connsiteY1" fmla="*/ 90130 h 90129"/>
                  <a:gd name="connsiteX2" fmla="*/ 0 w 72845"/>
                  <a:gd name="connsiteY2" fmla="*/ 27093 h 90129"/>
                  <a:gd name="connsiteX3" fmla="*/ 47607 w 72845"/>
                  <a:gd name="connsiteY3" fmla="*/ 0 h 90129"/>
                  <a:gd name="connsiteX4" fmla="*/ 72845 w 72845"/>
                  <a:gd name="connsiteY4" fmla="*/ 61960 h 90129"/>
                  <a:gd name="connsiteX5" fmla="*/ 45753 w 72845"/>
                  <a:gd name="connsiteY5" fmla="*/ 75596 h 90129"/>
                  <a:gd name="connsiteX6" fmla="*/ 48803 w 72845"/>
                  <a:gd name="connsiteY6" fmla="*/ 68958 h 90129"/>
                  <a:gd name="connsiteX7" fmla="*/ 29665 w 72845"/>
                  <a:gd name="connsiteY7" fmla="*/ 22189 h 90129"/>
                  <a:gd name="connsiteX8" fmla="*/ 27392 w 72845"/>
                  <a:gd name="connsiteY8" fmla="*/ 16507 h 90129"/>
                  <a:gd name="connsiteX9" fmla="*/ 28767 w 72845"/>
                  <a:gd name="connsiteY9" fmla="*/ 15969 h 90129"/>
                  <a:gd name="connsiteX10" fmla="*/ 51913 w 72845"/>
                  <a:gd name="connsiteY10" fmla="*/ 72785 h 90129"/>
                  <a:gd name="connsiteX11" fmla="*/ 67044 w 72845"/>
                  <a:gd name="connsiteY11" fmla="*/ 63934 h 90129"/>
                  <a:gd name="connsiteX12" fmla="*/ 69257 w 72845"/>
                  <a:gd name="connsiteY12" fmla="*/ 56099 h 90129"/>
                  <a:gd name="connsiteX13" fmla="*/ 48982 w 72845"/>
                  <a:gd name="connsiteY13" fmla="*/ 7117 h 90129"/>
                  <a:gd name="connsiteX14" fmla="*/ 46530 w 72845"/>
                  <a:gd name="connsiteY14" fmla="*/ 2213 h 90129"/>
                  <a:gd name="connsiteX15" fmla="*/ 4306 w 72845"/>
                  <a:gd name="connsiteY15" fmla="*/ 25956 h 90129"/>
                  <a:gd name="connsiteX16" fmla="*/ 3349 w 72845"/>
                  <a:gd name="connsiteY16" fmla="*/ 32415 h 90129"/>
                  <a:gd name="connsiteX17" fmla="*/ 22906 w 72845"/>
                  <a:gd name="connsiteY17" fmla="*/ 79723 h 90129"/>
                  <a:gd name="connsiteX18" fmla="*/ 26674 w 72845"/>
                  <a:gd name="connsiteY18" fmla="*/ 87857 h 90129"/>
                  <a:gd name="connsiteX19" fmla="*/ 36782 w 72845"/>
                  <a:gd name="connsiteY19" fmla="*/ 81876 h 90129"/>
                  <a:gd name="connsiteX20" fmla="*/ 40848 w 72845"/>
                  <a:gd name="connsiteY20" fmla="*/ 66446 h 90129"/>
                  <a:gd name="connsiteX21" fmla="*/ 21590 w 72845"/>
                  <a:gd name="connsiteY21" fmla="*/ 19198 h 90129"/>
                  <a:gd name="connsiteX22" fmla="*/ 22607 w 72845"/>
                  <a:gd name="connsiteY22" fmla="*/ 18779 h 90129"/>
                  <a:gd name="connsiteX23" fmla="*/ 45753 w 72845"/>
                  <a:gd name="connsiteY23" fmla="*/ 75596 h 9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845" h="90129">
                    <a:moveTo>
                      <a:pt x="72845" y="61960"/>
                    </a:moveTo>
                    <a:cubicBezTo>
                      <a:pt x="56996" y="71410"/>
                      <a:pt x="41387" y="80680"/>
                      <a:pt x="25658" y="90130"/>
                    </a:cubicBezTo>
                    <a:cubicBezTo>
                      <a:pt x="17165" y="69257"/>
                      <a:pt x="8612" y="48264"/>
                      <a:pt x="0" y="27093"/>
                    </a:cubicBezTo>
                    <a:cubicBezTo>
                      <a:pt x="15789" y="18122"/>
                      <a:pt x="31638" y="9091"/>
                      <a:pt x="47607" y="0"/>
                    </a:cubicBezTo>
                    <a:cubicBezTo>
                      <a:pt x="55979" y="20514"/>
                      <a:pt x="64353" y="41088"/>
                      <a:pt x="72845" y="61960"/>
                    </a:cubicBezTo>
                    <a:close/>
                    <a:moveTo>
                      <a:pt x="45753" y="75596"/>
                    </a:moveTo>
                    <a:cubicBezTo>
                      <a:pt x="51135" y="74819"/>
                      <a:pt x="50118" y="72127"/>
                      <a:pt x="48803" y="68958"/>
                    </a:cubicBezTo>
                    <a:cubicBezTo>
                      <a:pt x="42403" y="53408"/>
                      <a:pt x="36064" y="37738"/>
                      <a:pt x="29665" y="22189"/>
                    </a:cubicBezTo>
                    <a:cubicBezTo>
                      <a:pt x="28887" y="20335"/>
                      <a:pt x="28109" y="18421"/>
                      <a:pt x="27392" y="16507"/>
                    </a:cubicBezTo>
                    <a:cubicBezTo>
                      <a:pt x="27870" y="16327"/>
                      <a:pt x="28349" y="16148"/>
                      <a:pt x="28767" y="15969"/>
                    </a:cubicBezTo>
                    <a:cubicBezTo>
                      <a:pt x="36363" y="34688"/>
                      <a:pt x="44018" y="53408"/>
                      <a:pt x="51913" y="72785"/>
                    </a:cubicBezTo>
                    <a:cubicBezTo>
                      <a:pt x="57355" y="69556"/>
                      <a:pt x="62020" y="66266"/>
                      <a:pt x="67044" y="63934"/>
                    </a:cubicBezTo>
                    <a:cubicBezTo>
                      <a:pt x="70872" y="62140"/>
                      <a:pt x="70872" y="59927"/>
                      <a:pt x="69257" y="56099"/>
                    </a:cubicBezTo>
                    <a:cubicBezTo>
                      <a:pt x="62379" y="39832"/>
                      <a:pt x="55740" y="23444"/>
                      <a:pt x="48982" y="7117"/>
                    </a:cubicBezTo>
                    <a:cubicBezTo>
                      <a:pt x="48324" y="5502"/>
                      <a:pt x="47427" y="3947"/>
                      <a:pt x="46530" y="2213"/>
                    </a:cubicBezTo>
                    <a:cubicBezTo>
                      <a:pt x="32176" y="10287"/>
                      <a:pt x="18241" y="18181"/>
                      <a:pt x="4306" y="25956"/>
                    </a:cubicBezTo>
                    <a:cubicBezTo>
                      <a:pt x="1256" y="27631"/>
                      <a:pt x="2273" y="29904"/>
                      <a:pt x="3349" y="32415"/>
                    </a:cubicBezTo>
                    <a:cubicBezTo>
                      <a:pt x="9868" y="48145"/>
                      <a:pt x="16328" y="63934"/>
                      <a:pt x="22906" y="79723"/>
                    </a:cubicBezTo>
                    <a:cubicBezTo>
                      <a:pt x="24043" y="82414"/>
                      <a:pt x="25358" y="85046"/>
                      <a:pt x="26674" y="87857"/>
                    </a:cubicBezTo>
                    <a:cubicBezTo>
                      <a:pt x="30561" y="85584"/>
                      <a:pt x="33731" y="83850"/>
                      <a:pt x="36782" y="81876"/>
                    </a:cubicBezTo>
                    <a:cubicBezTo>
                      <a:pt x="44975" y="76613"/>
                      <a:pt x="44975" y="76553"/>
                      <a:pt x="40848" y="66446"/>
                    </a:cubicBezTo>
                    <a:cubicBezTo>
                      <a:pt x="34449" y="50717"/>
                      <a:pt x="28050" y="34927"/>
                      <a:pt x="21590" y="19198"/>
                    </a:cubicBezTo>
                    <a:cubicBezTo>
                      <a:pt x="21950" y="19079"/>
                      <a:pt x="22248" y="18899"/>
                      <a:pt x="22607" y="18779"/>
                    </a:cubicBezTo>
                    <a:cubicBezTo>
                      <a:pt x="30322" y="37619"/>
                      <a:pt x="37978" y="56578"/>
                      <a:pt x="45753" y="7559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07" name="Vrije vorm: vorm 9306">
                <a:extLst>
                  <a:ext uri="{FF2B5EF4-FFF2-40B4-BE49-F238E27FC236}">
                    <a16:creationId xmlns:a16="http://schemas.microsoft.com/office/drawing/2014/main" id="{F004810E-6ED4-4E91-ABFF-8A57EFC0CD6D}"/>
                  </a:ext>
                </a:extLst>
              </p:cNvPr>
              <p:cNvSpPr/>
              <p:nvPr/>
            </p:nvSpPr>
            <p:spPr>
              <a:xfrm>
                <a:off x="5404080" y="2002266"/>
                <a:ext cx="85823" cy="100416"/>
              </a:xfrm>
              <a:custGeom>
                <a:avLst/>
                <a:gdLst>
                  <a:gd name="connsiteX0" fmla="*/ 36303 w 85823"/>
                  <a:gd name="connsiteY0" fmla="*/ 85883 h 100416"/>
                  <a:gd name="connsiteX1" fmla="*/ 84986 w 85823"/>
                  <a:gd name="connsiteY1" fmla="*/ 52391 h 100416"/>
                  <a:gd name="connsiteX2" fmla="*/ 85823 w 85823"/>
                  <a:gd name="connsiteY2" fmla="*/ 53587 h 100416"/>
                  <a:gd name="connsiteX3" fmla="*/ 73563 w 85823"/>
                  <a:gd name="connsiteY3" fmla="*/ 62379 h 100416"/>
                  <a:gd name="connsiteX4" fmla="*/ 42762 w 85823"/>
                  <a:gd name="connsiteY4" fmla="*/ 83371 h 100416"/>
                  <a:gd name="connsiteX5" fmla="*/ 39772 w 85823"/>
                  <a:gd name="connsiteY5" fmla="*/ 95034 h 100416"/>
                  <a:gd name="connsiteX6" fmla="*/ 40669 w 85823"/>
                  <a:gd name="connsiteY6" fmla="*/ 100117 h 100416"/>
                  <a:gd name="connsiteX7" fmla="*/ 39054 w 85823"/>
                  <a:gd name="connsiteY7" fmla="*/ 100416 h 100416"/>
                  <a:gd name="connsiteX8" fmla="*/ 37021 w 85823"/>
                  <a:gd name="connsiteY8" fmla="*/ 96290 h 100416"/>
                  <a:gd name="connsiteX9" fmla="*/ 1017 w 85823"/>
                  <a:gd name="connsiteY9" fmla="*/ 6938 h 100416"/>
                  <a:gd name="connsiteX10" fmla="*/ 0 w 85823"/>
                  <a:gd name="connsiteY10" fmla="*/ 239 h 100416"/>
                  <a:gd name="connsiteX11" fmla="*/ 1316 w 85823"/>
                  <a:gd name="connsiteY11" fmla="*/ 0 h 100416"/>
                  <a:gd name="connsiteX12" fmla="*/ 36303 w 85823"/>
                  <a:gd name="connsiteY12" fmla="*/ 85883 h 100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823" h="100416">
                    <a:moveTo>
                      <a:pt x="36303" y="85883"/>
                    </a:moveTo>
                    <a:cubicBezTo>
                      <a:pt x="52929" y="74460"/>
                      <a:pt x="68958" y="63396"/>
                      <a:pt x="84986" y="52391"/>
                    </a:cubicBezTo>
                    <a:cubicBezTo>
                      <a:pt x="85285" y="52810"/>
                      <a:pt x="85524" y="53169"/>
                      <a:pt x="85823" y="53587"/>
                    </a:cubicBezTo>
                    <a:cubicBezTo>
                      <a:pt x="81756" y="56518"/>
                      <a:pt x="77690" y="59508"/>
                      <a:pt x="73563" y="62379"/>
                    </a:cubicBezTo>
                    <a:cubicBezTo>
                      <a:pt x="63336" y="69436"/>
                      <a:pt x="53229" y="76733"/>
                      <a:pt x="42762" y="83371"/>
                    </a:cubicBezTo>
                    <a:cubicBezTo>
                      <a:pt x="38037" y="86362"/>
                      <a:pt x="36422" y="89352"/>
                      <a:pt x="39772" y="95034"/>
                    </a:cubicBezTo>
                    <a:cubicBezTo>
                      <a:pt x="40609" y="96409"/>
                      <a:pt x="40430" y="98443"/>
                      <a:pt x="40669" y="100117"/>
                    </a:cubicBezTo>
                    <a:cubicBezTo>
                      <a:pt x="40131" y="100237"/>
                      <a:pt x="39592" y="100297"/>
                      <a:pt x="39054" y="100416"/>
                    </a:cubicBezTo>
                    <a:cubicBezTo>
                      <a:pt x="38396" y="99041"/>
                      <a:pt x="37619" y="97725"/>
                      <a:pt x="37021" y="96290"/>
                    </a:cubicBezTo>
                    <a:cubicBezTo>
                      <a:pt x="24999" y="66506"/>
                      <a:pt x="12918" y="36781"/>
                      <a:pt x="1017" y="6938"/>
                    </a:cubicBezTo>
                    <a:cubicBezTo>
                      <a:pt x="179" y="4904"/>
                      <a:pt x="299" y="2452"/>
                      <a:pt x="0" y="239"/>
                    </a:cubicBezTo>
                    <a:cubicBezTo>
                      <a:pt x="419" y="179"/>
                      <a:pt x="897" y="60"/>
                      <a:pt x="1316" y="0"/>
                    </a:cubicBezTo>
                    <a:cubicBezTo>
                      <a:pt x="12859" y="28289"/>
                      <a:pt x="24401" y="56637"/>
                      <a:pt x="36303" y="8588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08" name="Vrije vorm: vorm 9307">
                <a:extLst>
                  <a:ext uri="{FF2B5EF4-FFF2-40B4-BE49-F238E27FC236}">
                    <a16:creationId xmlns:a16="http://schemas.microsoft.com/office/drawing/2014/main" id="{13E865A8-7EF4-4A03-888E-F0D27265FC72}"/>
                  </a:ext>
                </a:extLst>
              </p:cNvPr>
              <p:cNvSpPr/>
              <p:nvPr/>
            </p:nvSpPr>
            <p:spPr>
              <a:xfrm>
                <a:off x="5306475" y="1759568"/>
                <a:ext cx="69077" cy="86421"/>
              </a:xfrm>
              <a:custGeom>
                <a:avLst/>
                <a:gdLst>
                  <a:gd name="connsiteX0" fmla="*/ 26495 w 69077"/>
                  <a:gd name="connsiteY0" fmla="*/ 84268 h 86421"/>
                  <a:gd name="connsiteX1" fmla="*/ 50657 w 69077"/>
                  <a:gd name="connsiteY1" fmla="*/ 70812 h 86421"/>
                  <a:gd name="connsiteX2" fmla="*/ 27452 w 69077"/>
                  <a:gd name="connsiteY2" fmla="*/ 13815 h 86421"/>
                  <a:gd name="connsiteX3" fmla="*/ 28707 w 69077"/>
                  <a:gd name="connsiteY3" fmla="*/ 13337 h 86421"/>
                  <a:gd name="connsiteX4" fmla="*/ 51674 w 69077"/>
                  <a:gd name="connsiteY4" fmla="*/ 69735 h 86421"/>
                  <a:gd name="connsiteX5" fmla="*/ 57654 w 69077"/>
                  <a:gd name="connsiteY5" fmla="*/ 66805 h 86421"/>
                  <a:gd name="connsiteX6" fmla="*/ 45633 w 69077"/>
                  <a:gd name="connsiteY6" fmla="*/ 37260 h 86421"/>
                  <a:gd name="connsiteX7" fmla="*/ 46829 w 69077"/>
                  <a:gd name="connsiteY7" fmla="*/ 36781 h 86421"/>
                  <a:gd name="connsiteX8" fmla="*/ 58731 w 69077"/>
                  <a:gd name="connsiteY8" fmla="*/ 66027 h 86421"/>
                  <a:gd name="connsiteX9" fmla="*/ 67522 w 69077"/>
                  <a:gd name="connsiteY9" fmla="*/ 61422 h 86421"/>
                  <a:gd name="connsiteX10" fmla="*/ 44377 w 69077"/>
                  <a:gd name="connsiteY10" fmla="*/ 4486 h 86421"/>
                  <a:gd name="connsiteX11" fmla="*/ 45453 w 69077"/>
                  <a:gd name="connsiteY11" fmla="*/ 4067 h 86421"/>
                  <a:gd name="connsiteX12" fmla="*/ 69077 w 69077"/>
                  <a:gd name="connsiteY12" fmla="*/ 62200 h 86421"/>
                  <a:gd name="connsiteX13" fmla="*/ 25837 w 69077"/>
                  <a:gd name="connsiteY13" fmla="*/ 86421 h 86421"/>
                  <a:gd name="connsiteX14" fmla="*/ 0 w 69077"/>
                  <a:gd name="connsiteY14" fmla="*/ 22906 h 86421"/>
                  <a:gd name="connsiteX15" fmla="*/ 43659 w 69077"/>
                  <a:gd name="connsiteY15" fmla="*/ 0 h 86421"/>
                  <a:gd name="connsiteX16" fmla="*/ 44198 w 69077"/>
                  <a:gd name="connsiteY16" fmla="*/ 1017 h 86421"/>
                  <a:gd name="connsiteX17" fmla="*/ 20634 w 69077"/>
                  <a:gd name="connsiteY17" fmla="*/ 13576 h 86421"/>
                  <a:gd name="connsiteX18" fmla="*/ 5622 w 69077"/>
                  <a:gd name="connsiteY18" fmla="*/ 21411 h 86421"/>
                  <a:gd name="connsiteX19" fmla="*/ 3289 w 69077"/>
                  <a:gd name="connsiteY19" fmla="*/ 27392 h 86421"/>
                  <a:gd name="connsiteX20" fmla="*/ 26495 w 69077"/>
                  <a:gd name="connsiteY20" fmla="*/ 84268 h 8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077" h="86421">
                    <a:moveTo>
                      <a:pt x="26495" y="84268"/>
                    </a:moveTo>
                    <a:cubicBezTo>
                      <a:pt x="34569" y="79783"/>
                      <a:pt x="42164" y="75537"/>
                      <a:pt x="50657" y="70812"/>
                    </a:cubicBezTo>
                    <a:cubicBezTo>
                      <a:pt x="42882" y="51793"/>
                      <a:pt x="35167" y="32774"/>
                      <a:pt x="27452" y="13815"/>
                    </a:cubicBezTo>
                    <a:cubicBezTo>
                      <a:pt x="27870" y="13636"/>
                      <a:pt x="28289" y="13516"/>
                      <a:pt x="28707" y="13337"/>
                    </a:cubicBezTo>
                    <a:cubicBezTo>
                      <a:pt x="36303" y="31997"/>
                      <a:pt x="43839" y="50597"/>
                      <a:pt x="51674" y="69735"/>
                    </a:cubicBezTo>
                    <a:cubicBezTo>
                      <a:pt x="53707" y="68719"/>
                      <a:pt x="55441" y="67881"/>
                      <a:pt x="57654" y="66805"/>
                    </a:cubicBezTo>
                    <a:cubicBezTo>
                      <a:pt x="53528" y="56697"/>
                      <a:pt x="49580" y="47008"/>
                      <a:pt x="45633" y="37260"/>
                    </a:cubicBezTo>
                    <a:cubicBezTo>
                      <a:pt x="46052" y="37080"/>
                      <a:pt x="46410" y="36901"/>
                      <a:pt x="46829" y="36781"/>
                    </a:cubicBezTo>
                    <a:cubicBezTo>
                      <a:pt x="50716" y="46410"/>
                      <a:pt x="54664" y="56039"/>
                      <a:pt x="58731" y="66027"/>
                    </a:cubicBezTo>
                    <a:cubicBezTo>
                      <a:pt x="61900" y="64353"/>
                      <a:pt x="64412" y="63037"/>
                      <a:pt x="67522" y="61422"/>
                    </a:cubicBezTo>
                    <a:cubicBezTo>
                      <a:pt x="59747" y="42284"/>
                      <a:pt x="52032" y="23385"/>
                      <a:pt x="44377" y="4486"/>
                    </a:cubicBezTo>
                    <a:cubicBezTo>
                      <a:pt x="44736" y="4366"/>
                      <a:pt x="45095" y="4186"/>
                      <a:pt x="45453" y="4067"/>
                    </a:cubicBezTo>
                    <a:cubicBezTo>
                      <a:pt x="53348" y="23385"/>
                      <a:pt x="61183" y="42762"/>
                      <a:pt x="69077" y="62200"/>
                    </a:cubicBezTo>
                    <a:cubicBezTo>
                      <a:pt x="54903" y="70154"/>
                      <a:pt x="40430" y="78288"/>
                      <a:pt x="25837" y="86421"/>
                    </a:cubicBezTo>
                    <a:cubicBezTo>
                      <a:pt x="17344" y="65489"/>
                      <a:pt x="8732" y="44377"/>
                      <a:pt x="0" y="22906"/>
                    </a:cubicBezTo>
                    <a:cubicBezTo>
                      <a:pt x="14593" y="15251"/>
                      <a:pt x="29126" y="7596"/>
                      <a:pt x="43659" y="0"/>
                    </a:cubicBezTo>
                    <a:cubicBezTo>
                      <a:pt x="43839" y="359"/>
                      <a:pt x="44018" y="718"/>
                      <a:pt x="44198" y="1017"/>
                    </a:cubicBezTo>
                    <a:cubicBezTo>
                      <a:pt x="36363" y="5203"/>
                      <a:pt x="28468" y="9450"/>
                      <a:pt x="20634" y="13576"/>
                    </a:cubicBezTo>
                    <a:cubicBezTo>
                      <a:pt x="15669" y="16208"/>
                      <a:pt x="10646" y="18779"/>
                      <a:pt x="5622" y="21411"/>
                    </a:cubicBezTo>
                    <a:cubicBezTo>
                      <a:pt x="3349" y="22607"/>
                      <a:pt x="1914" y="23983"/>
                      <a:pt x="3289" y="27392"/>
                    </a:cubicBezTo>
                    <a:cubicBezTo>
                      <a:pt x="10945" y="45932"/>
                      <a:pt x="18481" y="64532"/>
                      <a:pt x="26495" y="8426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09" name="Vrije vorm: vorm 9308">
                <a:extLst>
                  <a:ext uri="{FF2B5EF4-FFF2-40B4-BE49-F238E27FC236}">
                    <a16:creationId xmlns:a16="http://schemas.microsoft.com/office/drawing/2014/main" id="{228A861C-FC64-4BBB-9935-BF4B2DBE3906}"/>
                  </a:ext>
                </a:extLst>
              </p:cNvPr>
              <p:cNvSpPr/>
              <p:nvPr/>
            </p:nvSpPr>
            <p:spPr>
              <a:xfrm>
                <a:off x="4802719" y="2184200"/>
                <a:ext cx="145211" cy="216262"/>
              </a:xfrm>
              <a:custGeom>
                <a:avLst/>
                <a:gdLst>
                  <a:gd name="connsiteX0" fmla="*/ 55023 w 145211"/>
                  <a:gd name="connsiteY0" fmla="*/ 216263 h 216262"/>
                  <a:gd name="connsiteX1" fmla="*/ 0 w 145211"/>
                  <a:gd name="connsiteY1" fmla="*/ 87378 h 216262"/>
                  <a:gd name="connsiteX2" fmla="*/ 144614 w 145211"/>
                  <a:gd name="connsiteY2" fmla="*/ 0 h 216262"/>
                  <a:gd name="connsiteX3" fmla="*/ 145212 w 145211"/>
                  <a:gd name="connsiteY3" fmla="*/ 1077 h 216262"/>
                  <a:gd name="connsiteX4" fmla="*/ 2572 w 145211"/>
                  <a:gd name="connsiteY4" fmla="*/ 87378 h 216262"/>
                  <a:gd name="connsiteX5" fmla="*/ 55023 w 145211"/>
                  <a:gd name="connsiteY5" fmla="*/ 216263 h 216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211" h="216262">
                    <a:moveTo>
                      <a:pt x="55023" y="216263"/>
                    </a:moveTo>
                    <a:cubicBezTo>
                      <a:pt x="37918" y="176132"/>
                      <a:pt x="18779" y="131396"/>
                      <a:pt x="0" y="87378"/>
                    </a:cubicBezTo>
                    <a:cubicBezTo>
                      <a:pt x="48324" y="58192"/>
                      <a:pt x="96469" y="29066"/>
                      <a:pt x="144614" y="0"/>
                    </a:cubicBezTo>
                    <a:cubicBezTo>
                      <a:pt x="144793" y="359"/>
                      <a:pt x="145033" y="718"/>
                      <a:pt x="145212" y="1077"/>
                    </a:cubicBezTo>
                    <a:cubicBezTo>
                      <a:pt x="97486" y="29963"/>
                      <a:pt x="49819" y="58791"/>
                      <a:pt x="2572" y="87378"/>
                    </a:cubicBezTo>
                    <a:cubicBezTo>
                      <a:pt x="20873" y="132234"/>
                      <a:pt x="38875" y="176551"/>
                      <a:pt x="55023" y="21626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10" name="Vrije vorm: vorm 9309">
                <a:extLst>
                  <a:ext uri="{FF2B5EF4-FFF2-40B4-BE49-F238E27FC236}">
                    <a16:creationId xmlns:a16="http://schemas.microsoft.com/office/drawing/2014/main" id="{49C75342-1ED2-4007-8780-6F644ACC3222}"/>
                  </a:ext>
                </a:extLst>
              </p:cNvPr>
              <p:cNvSpPr/>
              <p:nvPr/>
            </p:nvSpPr>
            <p:spPr>
              <a:xfrm>
                <a:off x="5013718" y="1825117"/>
                <a:ext cx="74340" cy="88095"/>
              </a:xfrm>
              <a:custGeom>
                <a:avLst/>
                <a:gdLst>
                  <a:gd name="connsiteX0" fmla="*/ 0 w 74340"/>
                  <a:gd name="connsiteY0" fmla="*/ 24521 h 88095"/>
                  <a:gd name="connsiteX1" fmla="*/ 48922 w 74340"/>
                  <a:gd name="connsiteY1" fmla="*/ 0 h 88095"/>
                  <a:gd name="connsiteX2" fmla="*/ 74340 w 74340"/>
                  <a:gd name="connsiteY2" fmla="*/ 62558 h 88095"/>
                  <a:gd name="connsiteX3" fmla="*/ 25837 w 74340"/>
                  <a:gd name="connsiteY3" fmla="*/ 88096 h 88095"/>
                  <a:gd name="connsiteX4" fmla="*/ 0 w 74340"/>
                  <a:gd name="connsiteY4" fmla="*/ 24521 h 88095"/>
                  <a:gd name="connsiteX5" fmla="*/ 29066 w 74340"/>
                  <a:gd name="connsiteY5" fmla="*/ 13935 h 88095"/>
                  <a:gd name="connsiteX6" fmla="*/ 30561 w 74340"/>
                  <a:gd name="connsiteY6" fmla="*/ 13397 h 88095"/>
                  <a:gd name="connsiteX7" fmla="*/ 54185 w 74340"/>
                  <a:gd name="connsiteY7" fmla="*/ 71529 h 88095"/>
                  <a:gd name="connsiteX8" fmla="*/ 72187 w 74340"/>
                  <a:gd name="connsiteY8" fmla="*/ 61900 h 88095"/>
                  <a:gd name="connsiteX9" fmla="*/ 47786 w 74340"/>
                  <a:gd name="connsiteY9" fmla="*/ 1974 h 88095"/>
                  <a:gd name="connsiteX10" fmla="*/ 2213 w 74340"/>
                  <a:gd name="connsiteY10" fmla="*/ 24880 h 88095"/>
                  <a:gd name="connsiteX11" fmla="*/ 27033 w 74340"/>
                  <a:gd name="connsiteY11" fmla="*/ 85883 h 88095"/>
                  <a:gd name="connsiteX12" fmla="*/ 47188 w 74340"/>
                  <a:gd name="connsiteY12" fmla="*/ 75058 h 88095"/>
                  <a:gd name="connsiteX13" fmla="*/ 27930 w 74340"/>
                  <a:gd name="connsiteY13" fmla="*/ 27691 h 88095"/>
                  <a:gd name="connsiteX14" fmla="*/ 28887 w 74340"/>
                  <a:gd name="connsiteY14" fmla="*/ 27272 h 88095"/>
                  <a:gd name="connsiteX15" fmla="*/ 47906 w 74340"/>
                  <a:gd name="connsiteY15" fmla="*/ 73981 h 88095"/>
                  <a:gd name="connsiteX16" fmla="*/ 51135 w 74340"/>
                  <a:gd name="connsiteY16" fmla="*/ 67762 h 88095"/>
                  <a:gd name="connsiteX17" fmla="*/ 39772 w 74340"/>
                  <a:gd name="connsiteY17" fmla="*/ 40131 h 88095"/>
                  <a:gd name="connsiteX18" fmla="*/ 29066 w 74340"/>
                  <a:gd name="connsiteY18" fmla="*/ 13935 h 8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4340" h="88095">
                    <a:moveTo>
                      <a:pt x="0" y="24521"/>
                    </a:moveTo>
                    <a:cubicBezTo>
                      <a:pt x="16328" y="16327"/>
                      <a:pt x="32535" y="8194"/>
                      <a:pt x="48922" y="0"/>
                    </a:cubicBezTo>
                    <a:cubicBezTo>
                      <a:pt x="57355" y="20753"/>
                      <a:pt x="65848" y="41626"/>
                      <a:pt x="74340" y="62558"/>
                    </a:cubicBezTo>
                    <a:cubicBezTo>
                      <a:pt x="58252" y="71051"/>
                      <a:pt x="42164" y="79484"/>
                      <a:pt x="25837" y="88096"/>
                    </a:cubicBezTo>
                    <a:cubicBezTo>
                      <a:pt x="17225" y="66864"/>
                      <a:pt x="8672" y="45752"/>
                      <a:pt x="0" y="24521"/>
                    </a:cubicBezTo>
                    <a:close/>
                    <a:moveTo>
                      <a:pt x="29066" y="13935"/>
                    </a:moveTo>
                    <a:cubicBezTo>
                      <a:pt x="29545" y="13756"/>
                      <a:pt x="30083" y="13576"/>
                      <a:pt x="30561" y="13397"/>
                    </a:cubicBezTo>
                    <a:cubicBezTo>
                      <a:pt x="38397" y="32655"/>
                      <a:pt x="46231" y="51853"/>
                      <a:pt x="54185" y="71529"/>
                    </a:cubicBezTo>
                    <a:cubicBezTo>
                      <a:pt x="60645" y="68061"/>
                      <a:pt x="66506" y="64951"/>
                      <a:pt x="72187" y="61900"/>
                    </a:cubicBezTo>
                    <a:cubicBezTo>
                      <a:pt x="63934" y="41566"/>
                      <a:pt x="55920" y="21889"/>
                      <a:pt x="47786" y="1974"/>
                    </a:cubicBezTo>
                    <a:cubicBezTo>
                      <a:pt x="32296" y="9749"/>
                      <a:pt x="17284" y="17284"/>
                      <a:pt x="2213" y="24880"/>
                    </a:cubicBezTo>
                    <a:cubicBezTo>
                      <a:pt x="10586" y="45453"/>
                      <a:pt x="18720" y="65429"/>
                      <a:pt x="27033" y="85883"/>
                    </a:cubicBezTo>
                    <a:cubicBezTo>
                      <a:pt x="33970" y="82175"/>
                      <a:pt x="40430" y="78706"/>
                      <a:pt x="47188" y="75058"/>
                    </a:cubicBezTo>
                    <a:cubicBezTo>
                      <a:pt x="40549" y="58791"/>
                      <a:pt x="34210" y="43241"/>
                      <a:pt x="27930" y="27691"/>
                    </a:cubicBezTo>
                    <a:cubicBezTo>
                      <a:pt x="28229" y="27571"/>
                      <a:pt x="28588" y="27451"/>
                      <a:pt x="28887" y="27272"/>
                    </a:cubicBezTo>
                    <a:cubicBezTo>
                      <a:pt x="35227" y="42942"/>
                      <a:pt x="41626" y="58551"/>
                      <a:pt x="47906" y="73981"/>
                    </a:cubicBezTo>
                    <a:cubicBezTo>
                      <a:pt x="52511" y="73563"/>
                      <a:pt x="52690" y="71410"/>
                      <a:pt x="51135" y="67762"/>
                    </a:cubicBezTo>
                    <a:cubicBezTo>
                      <a:pt x="47248" y="58611"/>
                      <a:pt x="43540" y="49341"/>
                      <a:pt x="39772" y="40131"/>
                    </a:cubicBezTo>
                    <a:cubicBezTo>
                      <a:pt x="36183" y="31518"/>
                      <a:pt x="32595" y="22727"/>
                      <a:pt x="29066" y="1393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11" name="Vrije vorm: vorm 9310">
                <a:extLst>
                  <a:ext uri="{FF2B5EF4-FFF2-40B4-BE49-F238E27FC236}">
                    <a16:creationId xmlns:a16="http://schemas.microsoft.com/office/drawing/2014/main" id="{83001B23-0ADA-4191-A933-4BC3183E3A19}"/>
                  </a:ext>
                </a:extLst>
              </p:cNvPr>
              <p:cNvSpPr/>
              <p:nvPr/>
            </p:nvSpPr>
            <p:spPr>
              <a:xfrm>
                <a:off x="5063478" y="1326205"/>
                <a:ext cx="76373" cy="82414"/>
              </a:xfrm>
              <a:custGeom>
                <a:avLst/>
                <a:gdLst>
                  <a:gd name="connsiteX0" fmla="*/ 0 w 76373"/>
                  <a:gd name="connsiteY0" fmla="*/ 16208 h 82414"/>
                  <a:gd name="connsiteX1" fmla="*/ 49879 w 76373"/>
                  <a:gd name="connsiteY1" fmla="*/ 0 h 82414"/>
                  <a:gd name="connsiteX2" fmla="*/ 76374 w 76373"/>
                  <a:gd name="connsiteY2" fmla="*/ 65130 h 82414"/>
                  <a:gd name="connsiteX3" fmla="*/ 26973 w 76373"/>
                  <a:gd name="connsiteY3" fmla="*/ 82414 h 82414"/>
                  <a:gd name="connsiteX4" fmla="*/ 0 w 76373"/>
                  <a:gd name="connsiteY4" fmla="*/ 16208 h 82414"/>
                  <a:gd name="connsiteX5" fmla="*/ 26734 w 76373"/>
                  <a:gd name="connsiteY5" fmla="*/ 77211 h 82414"/>
                  <a:gd name="connsiteX6" fmla="*/ 72785 w 76373"/>
                  <a:gd name="connsiteY6" fmla="*/ 61183 h 82414"/>
                  <a:gd name="connsiteX7" fmla="*/ 48623 w 76373"/>
                  <a:gd name="connsiteY7" fmla="*/ 1794 h 82414"/>
                  <a:gd name="connsiteX8" fmla="*/ 2392 w 76373"/>
                  <a:gd name="connsiteY8" fmla="*/ 16925 h 82414"/>
                  <a:gd name="connsiteX9" fmla="*/ 8851 w 76373"/>
                  <a:gd name="connsiteY9" fmla="*/ 32834 h 82414"/>
                  <a:gd name="connsiteX10" fmla="*/ 37798 w 76373"/>
                  <a:gd name="connsiteY10" fmla="*/ 23385 h 82414"/>
                  <a:gd name="connsiteX11" fmla="*/ 38157 w 76373"/>
                  <a:gd name="connsiteY11" fmla="*/ 24461 h 82414"/>
                  <a:gd name="connsiteX12" fmla="*/ 9210 w 76373"/>
                  <a:gd name="connsiteY12" fmla="*/ 34210 h 82414"/>
                  <a:gd name="connsiteX13" fmla="*/ 26734 w 76373"/>
                  <a:gd name="connsiteY13" fmla="*/ 77211 h 82414"/>
                  <a:gd name="connsiteX14" fmla="*/ 73922 w 76373"/>
                  <a:gd name="connsiteY14" fmla="*/ 64592 h 82414"/>
                  <a:gd name="connsiteX15" fmla="*/ 73264 w 76373"/>
                  <a:gd name="connsiteY15" fmla="*/ 62738 h 82414"/>
                  <a:gd name="connsiteX16" fmla="*/ 27870 w 76373"/>
                  <a:gd name="connsiteY16" fmla="*/ 78766 h 82414"/>
                  <a:gd name="connsiteX17" fmla="*/ 28528 w 76373"/>
                  <a:gd name="connsiteY17" fmla="*/ 80501 h 82414"/>
                  <a:gd name="connsiteX18" fmla="*/ 73922 w 76373"/>
                  <a:gd name="connsiteY18" fmla="*/ 64592 h 8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373" h="82414">
                    <a:moveTo>
                      <a:pt x="0" y="16208"/>
                    </a:moveTo>
                    <a:cubicBezTo>
                      <a:pt x="17045" y="10705"/>
                      <a:pt x="33432" y="5383"/>
                      <a:pt x="49879" y="0"/>
                    </a:cubicBezTo>
                    <a:cubicBezTo>
                      <a:pt x="58671" y="21590"/>
                      <a:pt x="67463" y="43300"/>
                      <a:pt x="76374" y="65130"/>
                    </a:cubicBezTo>
                    <a:cubicBezTo>
                      <a:pt x="60046" y="70872"/>
                      <a:pt x="43659" y="76553"/>
                      <a:pt x="26973" y="82414"/>
                    </a:cubicBezTo>
                    <a:cubicBezTo>
                      <a:pt x="18122" y="60645"/>
                      <a:pt x="9091" y="38576"/>
                      <a:pt x="0" y="16208"/>
                    </a:cubicBezTo>
                    <a:close/>
                    <a:moveTo>
                      <a:pt x="26734" y="77211"/>
                    </a:moveTo>
                    <a:cubicBezTo>
                      <a:pt x="42164" y="71828"/>
                      <a:pt x="57355" y="66565"/>
                      <a:pt x="72785" y="61183"/>
                    </a:cubicBezTo>
                    <a:cubicBezTo>
                      <a:pt x="64592" y="41088"/>
                      <a:pt x="56697" y="21650"/>
                      <a:pt x="48623" y="1794"/>
                    </a:cubicBezTo>
                    <a:cubicBezTo>
                      <a:pt x="33014" y="6878"/>
                      <a:pt x="17763" y="11902"/>
                      <a:pt x="2392" y="16925"/>
                    </a:cubicBezTo>
                    <a:cubicBezTo>
                      <a:pt x="4785" y="22727"/>
                      <a:pt x="6758" y="27691"/>
                      <a:pt x="8851" y="32834"/>
                    </a:cubicBezTo>
                    <a:cubicBezTo>
                      <a:pt x="18780" y="29605"/>
                      <a:pt x="28289" y="26495"/>
                      <a:pt x="37798" y="23385"/>
                    </a:cubicBezTo>
                    <a:cubicBezTo>
                      <a:pt x="37918" y="23743"/>
                      <a:pt x="38037" y="24102"/>
                      <a:pt x="38157" y="24461"/>
                    </a:cubicBezTo>
                    <a:cubicBezTo>
                      <a:pt x="28648" y="27691"/>
                      <a:pt x="19079" y="30920"/>
                      <a:pt x="9210" y="34210"/>
                    </a:cubicBezTo>
                    <a:cubicBezTo>
                      <a:pt x="15131" y="48683"/>
                      <a:pt x="20753" y="62558"/>
                      <a:pt x="26734" y="77211"/>
                    </a:cubicBezTo>
                    <a:close/>
                    <a:moveTo>
                      <a:pt x="73922" y="64592"/>
                    </a:moveTo>
                    <a:cubicBezTo>
                      <a:pt x="73683" y="63994"/>
                      <a:pt x="73443" y="63396"/>
                      <a:pt x="73264" y="62738"/>
                    </a:cubicBezTo>
                    <a:cubicBezTo>
                      <a:pt x="58133" y="68061"/>
                      <a:pt x="43001" y="73443"/>
                      <a:pt x="27870" y="78766"/>
                    </a:cubicBezTo>
                    <a:cubicBezTo>
                      <a:pt x="28109" y="79364"/>
                      <a:pt x="28289" y="79902"/>
                      <a:pt x="28528" y="80501"/>
                    </a:cubicBezTo>
                    <a:cubicBezTo>
                      <a:pt x="43599" y="75237"/>
                      <a:pt x="58731" y="69915"/>
                      <a:pt x="73922" y="6459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12" name="Vrije vorm: vorm 9311">
                <a:extLst>
                  <a:ext uri="{FF2B5EF4-FFF2-40B4-BE49-F238E27FC236}">
                    <a16:creationId xmlns:a16="http://schemas.microsoft.com/office/drawing/2014/main" id="{0B27887E-EBE4-418B-8E2A-01B63363B536}"/>
                  </a:ext>
                </a:extLst>
              </p:cNvPr>
              <p:cNvSpPr/>
              <p:nvPr/>
            </p:nvSpPr>
            <p:spPr>
              <a:xfrm>
                <a:off x="4947691" y="1367652"/>
                <a:ext cx="56936" cy="85045"/>
              </a:xfrm>
              <a:custGeom>
                <a:avLst/>
                <a:gdLst>
                  <a:gd name="connsiteX0" fmla="*/ 56937 w 56936"/>
                  <a:gd name="connsiteY0" fmla="*/ 67941 h 85045"/>
                  <a:gd name="connsiteX1" fmla="*/ 26794 w 56936"/>
                  <a:gd name="connsiteY1" fmla="*/ 85046 h 85045"/>
                  <a:gd name="connsiteX2" fmla="*/ 0 w 56936"/>
                  <a:gd name="connsiteY2" fmla="*/ 19258 h 85045"/>
                  <a:gd name="connsiteX3" fmla="*/ 29246 w 56936"/>
                  <a:gd name="connsiteY3" fmla="*/ 0 h 85045"/>
                  <a:gd name="connsiteX4" fmla="*/ 56937 w 56936"/>
                  <a:gd name="connsiteY4" fmla="*/ 67941 h 85045"/>
                  <a:gd name="connsiteX5" fmla="*/ 24999 w 56936"/>
                  <a:gd name="connsiteY5" fmla="*/ 76194 h 85045"/>
                  <a:gd name="connsiteX6" fmla="*/ 52451 w 56936"/>
                  <a:gd name="connsiteY6" fmla="*/ 68659 h 85045"/>
                  <a:gd name="connsiteX7" fmla="*/ 53886 w 56936"/>
                  <a:gd name="connsiteY7" fmla="*/ 64771 h 85045"/>
                  <a:gd name="connsiteX8" fmla="*/ 37140 w 56936"/>
                  <a:gd name="connsiteY8" fmla="*/ 23325 h 85045"/>
                  <a:gd name="connsiteX9" fmla="*/ 7416 w 56936"/>
                  <a:gd name="connsiteY9" fmla="*/ 33133 h 85045"/>
                  <a:gd name="connsiteX10" fmla="*/ 24999 w 56936"/>
                  <a:gd name="connsiteY10" fmla="*/ 76194 h 85045"/>
                  <a:gd name="connsiteX11" fmla="*/ 28408 w 56936"/>
                  <a:gd name="connsiteY11" fmla="*/ 2392 h 85045"/>
                  <a:gd name="connsiteX12" fmla="*/ 2033 w 56936"/>
                  <a:gd name="connsiteY12" fmla="*/ 19617 h 85045"/>
                  <a:gd name="connsiteX13" fmla="*/ 6997 w 56936"/>
                  <a:gd name="connsiteY13" fmla="*/ 31817 h 85045"/>
                  <a:gd name="connsiteX14" fmla="*/ 36363 w 56936"/>
                  <a:gd name="connsiteY14" fmla="*/ 22069 h 85045"/>
                  <a:gd name="connsiteX15" fmla="*/ 28408 w 56936"/>
                  <a:gd name="connsiteY15" fmla="*/ 2392 h 85045"/>
                  <a:gd name="connsiteX16" fmla="*/ 46470 w 56936"/>
                  <a:gd name="connsiteY16" fmla="*/ 72187 h 85045"/>
                  <a:gd name="connsiteX17" fmla="*/ 45992 w 56936"/>
                  <a:gd name="connsiteY17" fmla="*/ 71529 h 85045"/>
                  <a:gd name="connsiteX18" fmla="*/ 29006 w 56936"/>
                  <a:gd name="connsiteY18" fmla="*/ 77391 h 85045"/>
                  <a:gd name="connsiteX19" fmla="*/ 26794 w 56936"/>
                  <a:gd name="connsiteY19" fmla="*/ 80859 h 85045"/>
                  <a:gd name="connsiteX20" fmla="*/ 30980 w 56936"/>
                  <a:gd name="connsiteY20" fmla="*/ 81158 h 85045"/>
                  <a:gd name="connsiteX21" fmla="*/ 46470 w 56936"/>
                  <a:gd name="connsiteY21" fmla="*/ 72187 h 8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936" h="85045">
                    <a:moveTo>
                      <a:pt x="56937" y="67941"/>
                    </a:moveTo>
                    <a:cubicBezTo>
                      <a:pt x="47008" y="73623"/>
                      <a:pt x="37021" y="79304"/>
                      <a:pt x="26794" y="85046"/>
                    </a:cubicBezTo>
                    <a:cubicBezTo>
                      <a:pt x="17882" y="63156"/>
                      <a:pt x="8971" y="41267"/>
                      <a:pt x="0" y="19258"/>
                    </a:cubicBezTo>
                    <a:cubicBezTo>
                      <a:pt x="9689" y="12918"/>
                      <a:pt x="19318" y="6519"/>
                      <a:pt x="29246" y="0"/>
                    </a:cubicBezTo>
                    <a:cubicBezTo>
                      <a:pt x="38516" y="22607"/>
                      <a:pt x="47786" y="45334"/>
                      <a:pt x="56937" y="67941"/>
                    </a:cubicBezTo>
                    <a:close/>
                    <a:moveTo>
                      <a:pt x="24999" y="76194"/>
                    </a:moveTo>
                    <a:cubicBezTo>
                      <a:pt x="34688" y="73563"/>
                      <a:pt x="43659" y="71290"/>
                      <a:pt x="52451" y="68659"/>
                    </a:cubicBezTo>
                    <a:cubicBezTo>
                      <a:pt x="53288" y="68419"/>
                      <a:pt x="54305" y="65788"/>
                      <a:pt x="53886" y="64771"/>
                    </a:cubicBezTo>
                    <a:cubicBezTo>
                      <a:pt x="48504" y="51016"/>
                      <a:pt x="42882" y="37380"/>
                      <a:pt x="37140" y="23325"/>
                    </a:cubicBezTo>
                    <a:cubicBezTo>
                      <a:pt x="26973" y="26674"/>
                      <a:pt x="17404" y="29844"/>
                      <a:pt x="7416" y="33133"/>
                    </a:cubicBezTo>
                    <a:cubicBezTo>
                      <a:pt x="13516" y="47906"/>
                      <a:pt x="19258" y="62140"/>
                      <a:pt x="24999" y="76194"/>
                    </a:cubicBezTo>
                    <a:close/>
                    <a:moveTo>
                      <a:pt x="28408" y="2392"/>
                    </a:moveTo>
                    <a:cubicBezTo>
                      <a:pt x="19437" y="8253"/>
                      <a:pt x="10825" y="13875"/>
                      <a:pt x="2033" y="19617"/>
                    </a:cubicBezTo>
                    <a:cubicBezTo>
                      <a:pt x="3768" y="23863"/>
                      <a:pt x="5323" y="27691"/>
                      <a:pt x="6997" y="31817"/>
                    </a:cubicBezTo>
                    <a:cubicBezTo>
                      <a:pt x="16926" y="28528"/>
                      <a:pt x="26495" y="25358"/>
                      <a:pt x="36363" y="22069"/>
                    </a:cubicBezTo>
                    <a:cubicBezTo>
                      <a:pt x="33671" y="15370"/>
                      <a:pt x="31160" y="9091"/>
                      <a:pt x="28408" y="2392"/>
                    </a:cubicBezTo>
                    <a:close/>
                    <a:moveTo>
                      <a:pt x="46470" y="72187"/>
                    </a:moveTo>
                    <a:cubicBezTo>
                      <a:pt x="46291" y="71948"/>
                      <a:pt x="46171" y="71769"/>
                      <a:pt x="45992" y="71529"/>
                    </a:cubicBezTo>
                    <a:cubicBezTo>
                      <a:pt x="40310" y="73443"/>
                      <a:pt x="34568" y="75237"/>
                      <a:pt x="29006" y="77391"/>
                    </a:cubicBezTo>
                    <a:cubicBezTo>
                      <a:pt x="27990" y="77809"/>
                      <a:pt x="27511" y="79663"/>
                      <a:pt x="26794" y="80859"/>
                    </a:cubicBezTo>
                    <a:cubicBezTo>
                      <a:pt x="28169" y="80979"/>
                      <a:pt x="29904" y="81697"/>
                      <a:pt x="30980" y="81158"/>
                    </a:cubicBezTo>
                    <a:cubicBezTo>
                      <a:pt x="36183" y="78347"/>
                      <a:pt x="41327" y="75237"/>
                      <a:pt x="46470" y="7218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13" name="Vrije vorm: vorm 9312">
                <a:extLst>
                  <a:ext uri="{FF2B5EF4-FFF2-40B4-BE49-F238E27FC236}">
                    <a16:creationId xmlns:a16="http://schemas.microsoft.com/office/drawing/2014/main" id="{A64EA78A-E108-4A48-B41B-B18A1D29642D}"/>
                  </a:ext>
                </a:extLst>
              </p:cNvPr>
              <p:cNvSpPr/>
              <p:nvPr/>
            </p:nvSpPr>
            <p:spPr>
              <a:xfrm>
                <a:off x="5342479" y="1339602"/>
                <a:ext cx="55560" cy="65369"/>
              </a:xfrm>
              <a:custGeom>
                <a:avLst/>
                <a:gdLst>
                  <a:gd name="connsiteX0" fmla="*/ 11961 w 55560"/>
                  <a:gd name="connsiteY0" fmla="*/ 20275 h 65369"/>
                  <a:gd name="connsiteX1" fmla="*/ 28229 w 55560"/>
                  <a:gd name="connsiteY1" fmla="*/ 60226 h 65369"/>
                  <a:gd name="connsiteX2" fmla="*/ 35047 w 55560"/>
                  <a:gd name="connsiteY2" fmla="*/ 57475 h 65369"/>
                  <a:gd name="connsiteX3" fmla="*/ 17882 w 55560"/>
                  <a:gd name="connsiteY3" fmla="*/ 15370 h 65369"/>
                  <a:gd name="connsiteX4" fmla="*/ 33612 w 55560"/>
                  <a:gd name="connsiteY4" fmla="*/ 8971 h 65369"/>
                  <a:gd name="connsiteX5" fmla="*/ 33791 w 55560"/>
                  <a:gd name="connsiteY5" fmla="*/ 9210 h 65369"/>
                  <a:gd name="connsiteX6" fmla="*/ 20514 w 55560"/>
                  <a:gd name="connsiteY6" fmla="*/ 16327 h 65369"/>
                  <a:gd name="connsiteX7" fmla="*/ 37021 w 55560"/>
                  <a:gd name="connsiteY7" fmla="*/ 56877 h 65369"/>
                  <a:gd name="connsiteX8" fmla="*/ 53886 w 55560"/>
                  <a:gd name="connsiteY8" fmla="*/ 49999 h 65369"/>
                  <a:gd name="connsiteX9" fmla="*/ 36064 w 55560"/>
                  <a:gd name="connsiteY9" fmla="*/ 6220 h 65369"/>
                  <a:gd name="connsiteX10" fmla="*/ 37081 w 55560"/>
                  <a:gd name="connsiteY10" fmla="*/ 5801 h 65369"/>
                  <a:gd name="connsiteX11" fmla="*/ 55561 w 55560"/>
                  <a:gd name="connsiteY11" fmla="*/ 51255 h 65369"/>
                  <a:gd name="connsiteX12" fmla="*/ 20933 w 55560"/>
                  <a:gd name="connsiteY12" fmla="*/ 65369 h 65369"/>
                  <a:gd name="connsiteX13" fmla="*/ 0 w 55560"/>
                  <a:gd name="connsiteY13" fmla="*/ 13935 h 65369"/>
                  <a:gd name="connsiteX14" fmla="*/ 34210 w 55560"/>
                  <a:gd name="connsiteY14" fmla="*/ 0 h 65369"/>
                  <a:gd name="connsiteX15" fmla="*/ 34688 w 55560"/>
                  <a:gd name="connsiteY15" fmla="*/ 1256 h 65369"/>
                  <a:gd name="connsiteX16" fmla="*/ 2153 w 55560"/>
                  <a:gd name="connsiteY16" fmla="*/ 14473 h 65369"/>
                  <a:gd name="connsiteX17" fmla="*/ 21770 w 55560"/>
                  <a:gd name="connsiteY17" fmla="*/ 62738 h 65369"/>
                  <a:gd name="connsiteX18" fmla="*/ 27033 w 55560"/>
                  <a:gd name="connsiteY18" fmla="*/ 60585 h 65369"/>
                  <a:gd name="connsiteX19" fmla="*/ 10765 w 55560"/>
                  <a:gd name="connsiteY19" fmla="*/ 20634 h 65369"/>
                  <a:gd name="connsiteX20" fmla="*/ 11961 w 55560"/>
                  <a:gd name="connsiteY20" fmla="*/ 20275 h 65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560" h="65369">
                    <a:moveTo>
                      <a:pt x="11961" y="20275"/>
                    </a:moveTo>
                    <a:cubicBezTo>
                      <a:pt x="17344" y="33492"/>
                      <a:pt x="22667" y="46650"/>
                      <a:pt x="28229" y="60226"/>
                    </a:cubicBezTo>
                    <a:cubicBezTo>
                      <a:pt x="30561" y="59269"/>
                      <a:pt x="32475" y="58491"/>
                      <a:pt x="35047" y="57475"/>
                    </a:cubicBezTo>
                    <a:cubicBezTo>
                      <a:pt x="29425" y="43659"/>
                      <a:pt x="23743" y="29664"/>
                      <a:pt x="17882" y="15370"/>
                    </a:cubicBezTo>
                    <a:cubicBezTo>
                      <a:pt x="23444" y="13098"/>
                      <a:pt x="28528" y="11064"/>
                      <a:pt x="33612" y="8971"/>
                    </a:cubicBezTo>
                    <a:cubicBezTo>
                      <a:pt x="33671" y="9031"/>
                      <a:pt x="33731" y="9151"/>
                      <a:pt x="33791" y="9210"/>
                    </a:cubicBezTo>
                    <a:cubicBezTo>
                      <a:pt x="29605" y="11483"/>
                      <a:pt x="25358" y="13696"/>
                      <a:pt x="20514" y="16327"/>
                    </a:cubicBezTo>
                    <a:cubicBezTo>
                      <a:pt x="25956" y="29724"/>
                      <a:pt x="31399" y="43121"/>
                      <a:pt x="37021" y="56877"/>
                    </a:cubicBezTo>
                    <a:cubicBezTo>
                      <a:pt x="42343" y="54724"/>
                      <a:pt x="47606" y="52571"/>
                      <a:pt x="53886" y="49999"/>
                    </a:cubicBezTo>
                    <a:cubicBezTo>
                      <a:pt x="47906" y="35286"/>
                      <a:pt x="41984" y="20753"/>
                      <a:pt x="36064" y="6220"/>
                    </a:cubicBezTo>
                    <a:cubicBezTo>
                      <a:pt x="36422" y="6100"/>
                      <a:pt x="36721" y="5981"/>
                      <a:pt x="37081" y="5801"/>
                    </a:cubicBezTo>
                    <a:cubicBezTo>
                      <a:pt x="43241" y="20933"/>
                      <a:pt x="49401" y="36124"/>
                      <a:pt x="55561" y="51255"/>
                    </a:cubicBezTo>
                    <a:cubicBezTo>
                      <a:pt x="44018" y="55980"/>
                      <a:pt x="32415" y="60645"/>
                      <a:pt x="20933" y="65369"/>
                    </a:cubicBezTo>
                    <a:cubicBezTo>
                      <a:pt x="13815" y="47906"/>
                      <a:pt x="6758" y="30561"/>
                      <a:pt x="0" y="13935"/>
                    </a:cubicBezTo>
                    <a:cubicBezTo>
                      <a:pt x="11603" y="9210"/>
                      <a:pt x="22906" y="4605"/>
                      <a:pt x="34210" y="0"/>
                    </a:cubicBezTo>
                    <a:cubicBezTo>
                      <a:pt x="34389" y="419"/>
                      <a:pt x="34509" y="837"/>
                      <a:pt x="34688" y="1256"/>
                    </a:cubicBezTo>
                    <a:cubicBezTo>
                      <a:pt x="24042" y="5562"/>
                      <a:pt x="13397" y="9928"/>
                      <a:pt x="2153" y="14473"/>
                    </a:cubicBezTo>
                    <a:cubicBezTo>
                      <a:pt x="8612" y="30382"/>
                      <a:pt x="15191" y="46470"/>
                      <a:pt x="21770" y="62738"/>
                    </a:cubicBezTo>
                    <a:cubicBezTo>
                      <a:pt x="23265" y="62140"/>
                      <a:pt x="24760" y="61542"/>
                      <a:pt x="27033" y="60585"/>
                    </a:cubicBezTo>
                    <a:cubicBezTo>
                      <a:pt x="21590" y="47308"/>
                      <a:pt x="16208" y="33971"/>
                      <a:pt x="10765" y="20634"/>
                    </a:cubicBezTo>
                    <a:cubicBezTo>
                      <a:pt x="11184" y="20574"/>
                      <a:pt x="11603" y="20454"/>
                      <a:pt x="11961" y="2027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14" name="Vrije vorm: vorm 9313">
                <a:extLst>
                  <a:ext uri="{FF2B5EF4-FFF2-40B4-BE49-F238E27FC236}">
                    <a16:creationId xmlns:a16="http://schemas.microsoft.com/office/drawing/2014/main" id="{C86515D0-95A9-421B-A573-184CD699F45B}"/>
                  </a:ext>
                </a:extLst>
              </p:cNvPr>
              <p:cNvSpPr/>
              <p:nvPr/>
            </p:nvSpPr>
            <p:spPr>
              <a:xfrm>
                <a:off x="5366940" y="1402161"/>
                <a:ext cx="55620" cy="65668"/>
              </a:xfrm>
              <a:custGeom>
                <a:avLst/>
                <a:gdLst>
                  <a:gd name="connsiteX0" fmla="*/ 0 w 55620"/>
                  <a:gd name="connsiteY0" fmla="*/ 14115 h 65668"/>
                  <a:gd name="connsiteX1" fmla="*/ 34629 w 55620"/>
                  <a:gd name="connsiteY1" fmla="*/ 0 h 65668"/>
                  <a:gd name="connsiteX2" fmla="*/ 55621 w 55620"/>
                  <a:gd name="connsiteY2" fmla="*/ 51554 h 65668"/>
                  <a:gd name="connsiteX3" fmla="*/ 20992 w 55620"/>
                  <a:gd name="connsiteY3" fmla="*/ 65668 h 65668"/>
                  <a:gd name="connsiteX4" fmla="*/ 0 w 55620"/>
                  <a:gd name="connsiteY4" fmla="*/ 14115 h 65668"/>
                  <a:gd name="connsiteX5" fmla="*/ 34150 w 55620"/>
                  <a:gd name="connsiteY5" fmla="*/ 2631 h 65668"/>
                  <a:gd name="connsiteX6" fmla="*/ 15969 w 55620"/>
                  <a:gd name="connsiteY6" fmla="*/ 9988 h 65668"/>
                  <a:gd name="connsiteX7" fmla="*/ 34210 w 55620"/>
                  <a:gd name="connsiteY7" fmla="*/ 54903 h 65668"/>
                  <a:gd name="connsiteX8" fmla="*/ 52391 w 55620"/>
                  <a:gd name="connsiteY8" fmla="*/ 47547 h 65668"/>
                  <a:gd name="connsiteX9" fmla="*/ 34150 w 55620"/>
                  <a:gd name="connsiteY9" fmla="*/ 2631 h 65668"/>
                  <a:gd name="connsiteX10" fmla="*/ 27033 w 55620"/>
                  <a:gd name="connsiteY10" fmla="*/ 60944 h 65668"/>
                  <a:gd name="connsiteX11" fmla="*/ 52511 w 55620"/>
                  <a:gd name="connsiteY11" fmla="*/ 50597 h 65668"/>
                  <a:gd name="connsiteX12" fmla="*/ 52032 w 55620"/>
                  <a:gd name="connsiteY12" fmla="*/ 49461 h 65668"/>
                  <a:gd name="connsiteX13" fmla="*/ 33373 w 55620"/>
                  <a:gd name="connsiteY13" fmla="*/ 57056 h 65668"/>
                  <a:gd name="connsiteX14" fmla="*/ 14414 w 55620"/>
                  <a:gd name="connsiteY14" fmla="*/ 10466 h 65668"/>
                  <a:gd name="connsiteX15" fmla="*/ 7656 w 55620"/>
                  <a:gd name="connsiteY15" fmla="*/ 13217 h 65668"/>
                  <a:gd name="connsiteX16" fmla="*/ 27033 w 55620"/>
                  <a:gd name="connsiteY16" fmla="*/ 60944 h 65668"/>
                  <a:gd name="connsiteX17" fmla="*/ 15969 w 55620"/>
                  <a:gd name="connsiteY17" fmla="*/ 37380 h 65668"/>
                  <a:gd name="connsiteX18" fmla="*/ 16148 w 55620"/>
                  <a:gd name="connsiteY18" fmla="*/ 37320 h 65668"/>
                  <a:gd name="connsiteX19" fmla="*/ 7775 w 55620"/>
                  <a:gd name="connsiteY19" fmla="*/ 17045 h 65668"/>
                  <a:gd name="connsiteX20" fmla="*/ 3947 w 55620"/>
                  <a:gd name="connsiteY20" fmla="*/ 14055 h 65668"/>
                  <a:gd name="connsiteX21" fmla="*/ 3589 w 55620"/>
                  <a:gd name="connsiteY21" fmla="*/ 18540 h 65668"/>
                  <a:gd name="connsiteX22" fmla="*/ 19796 w 55620"/>
                  <a:gd name="connsiteY22" fmla="*/ 59927 h 65668"/>
                  <a:gd name="connsiteX23" fmla="*/ 23564 w 55620"/>
                  <a:gd name="connsiteY23" fmla="*/ 63216 h 65668"/>
                  <a:gd name="connsiteX24" fmla="*/ 24282 w 55620"/>
                  <a:gd name="connsiteY24" fmla="*/ 58252 h 65668"/>
                  <a:gd name="connsiteX25" fmla="*/ 15969 w 55620"/>
                  <a:gd name="connsiteY25" fmla="*/ 37380 h 6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5620" h="65668">
                    <a:moveTo>
                      <a:pt x="0" y="14115"/>
                    </a:moveTo>
                    <a:cubicBezTo>
                      <a:pt x="11662" y="9390"/>
                      <a:pt x="23086" y="4725"/>
                      <a:pt x="34629" y="0"/>
                    </a:cubicBezTo>
                    <a:cubicBezTo>
                      <a:pt x="41626" y="17165"/>
                      <a:pt x="48504" y="34090"/>
                      <a:pt x="55621" y="51554"/>
                    </a:cubicBezTo>
                    <a:cubicBezTo>
                      <a:pt x="44078" y="56219"/>
                      <a:pt x="32595" y="60944"/>
                      <a:pt x="20992" y="65668"/>
                    </a:cubicBezTo>
                    <a:cubicBezTo>
                      <a:pt x="14174" y="48922"/>
                      <a:pt x="7177" y="31698"/>
                      <a:pt x="0" y="14115"/>
                    </a:cubicBezTo>
                    <a:close/>
                    <a:moveTo>
                      <a:pt x="34150" y="2631"/>
                    </a:moveTo>
                    <a:cubicBezTo>
                      <a:pt x="28050" y="5084"/>
                      <a:pt x="22129" y="7536"/>
                      <a:pt x="15969" y="9988"/>
                    </a:cubicBezTo>
                    <a:cubicBezTo>
                      <a:pt x="22189" y="25179"/>
                      <a:pt x="28169" y="39951"/>
                      <a:pt x="34210" y="54903"/>
                    </a:cubicBezTo>
                    <a:cubicBezTo>
                      <a:pt x="40370" y="52391"/>
                      <a:pt x="46112" y="50059"/>
                      <a:pt x="52391" y="47547"/>
                    </a:cubicBezTo>
                    <a:cubicBezTo>
                      <a:pt x="46231" y="32415"/>
                      <a:pt x="40251" y="17643"/>
                      <a:pt x="34150" y="2631"/>
                    </a:cubicBezTo>
                    <a:close/>
                    <a:moveTo>
                      <a:pt x="27033" y="60944"/>
                    </a:moveTo>
                    <a:cubicBezTo>
                      <a:pt x="35884" y="57355"/>
                      <a:pt x="44198" y="53946"/>
                      <a:pt x="52511" y="50597"/>
                    </a:cubicBezTo>
                    <a:cubicBezTo>
                      <a:pt x="52331" y="50238"/>
                      <a:pt x="52212" y="49879"/>
                      <a:pt x="52032" y="49461"/>
                    </a:cubicBezTo>
                    <a:cubicBezTo>
                      <a:pt x="45753" y="52032"/>
                      <a:pt x="39473" y="54604"/>
                      <a:pt x="33373" y="57056"/>
                    </a:cubicBezTo>
                    <a:cubicBezTo>
                      <a:pt x="26973" y="41267"/>
                      <a:pt x="20634" y="25837"/>
                      <a:pt x="14414" y="10466"/>
                    </a:cubicBezTo>
                    <a:cubicBezTo>
                      <a:pt x="12021" y="11423"/>
                      <a:pt x="9928" y="12260"/>
                      <a:pt x="7656" y="13217"/>
                    </a:cubicBezTo>
                    <a:cubicBezTo>
                      <a:pt x="14234" y="29485"/>
                      <a:pt x="20634" y="45214"/>
                      <a:pt x="27033" y="60944"/>
                    </a:cubicBezTo>
                    <a:close/>
                    <a:moveTo>
                      <a:pt x="15969" y="37380"/>
                    </a:moveTo>
                    <a:cubicBezTo>
                      <a:pt x="16028" y="37380"/>
                      <a:pt x="16088" y="37320"/>
                      <a:pt x="16148" y="37320"/>
                    </a:cubicBezTo>
                    <a:cubicBezTo>
                      <a:pt x="13397" y="30561"/>
                      <a:pt x="10765" y="23743"/>
                      <a:pt x="7775" y="17045"/>
                    </a:cubicBezTo>
                    <a:cubicBezTo>
                      <a:pt x="7177" y="15729"/>
                      <a:pt x="5263" y="15012"/>
                      <a:pt x="3947" y="14055"/>
                    </a:cubicBezTo>
                    <a:cubicBezTo>
                      <a:pt x="3828" y="15550"/>
                      <a:pt x="3110" y="17284"/>
                      <a:pt x="3589" y="18540"/>
                    </a:cubicBezTo>
                    <a:cubicBezTo>
                      <a:pt x="8852" y="32415"/>
                      <a:pt x="14234" y="46231"/>
                      <a:pt x="19796" y="59927"/>
                    </a:cubicBezTo>
                    <a:cubicBezTo>
                      <a:pt x="20335" y="61302"/>
                      <a:pt x="22308" y="62140"/>
                      <a:pt x="23564" y="63216"/>
                    </a:cubicBezTo>
                    <a:cubicBezTo>
                      <a:pt x="23863" y="61542"/>
                      <a:pt x="24820" y="59628"/>
                      <a:pt x="24282" y="58252"/>
                    </a:cubicBezTo>
                    <a:cubicBezTo>
                      <a:pt x="21770" y="51255"/>
                      <a:pt x="18839" y="44377"/>
                      <a:pt x="15969" y="3738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15" name="Vrije vorm: vorm 9314">
                <a:extLst>
                  <a:ext uri="{FF2B5EF4-FFF2-40B4-BE49-F238E27FC236}">
                    <a16:creationId xmlns:a16="http://schemas.microsoft.com/office/drawing/2014/main" id="{5380DF2E-AC37-422D-AD97-07B062EBA423}"/>
                  </a:ext>
                </a:extLst>
              </p:cNvPr>
              <p:cNvSpPr/>
              <p:nvPr/>
            </p:nvSpPr>
            <p:spPr>
              <a:xfrm>
                <a:off x="5212458" y="1532720"/>
                <a:ext cx="71828" cy="83550"/>
              </a:xfrm>
              <a:custGeom>
                <a:avLst/>
                <a:gdLst>
                  <a:gd name="connsiteX0" fmla="*/ 0 w 71828"/>
                  <a:gd name="connsiteY0" fmla="*/ 18779 h 83550"/>
                  <a:gd name="connsiteX1" fmla="*/ 46231 w 71828"/>
                  <a:gd name="connsiteY1" fmla="*/ 0 h 83550"/>
                  <a:gd name="connsiteX2" fmla="*/ 71828 w 71828"/>
                  <a:gd name="connsiteY2" fmla="*/ 62917 h 83550"/>
                  <a:gd name="connsiteX3" fmla="*/ 26375 w 71828"/>
                  <a:gd name="connsiteY3" fmla="*/ 83551 h 83550"/>
                  <a:gd name="connsiteX4" fmla="*/ 0 w 71828"/>
                  <a:gd name="connsiteY4" fmla="*/ 18779 h 83550"/>
                  <a:gd name="connsiteX5" fmla="*/ 2213 w 71828"/>
                  <a:gd name="connsiteY5" fmla="*/ 19856 h 83550"/>
                  <a:gd name="connsiteX6" fmla="*/ 26913 w 71828"/>
                  <a:gd name="connsiteY6" fmla="*/ 80560 h 83550"/>
                  <a:gd name="connsiteX7" fmla="*/ 53527 w 71828"/>
                  <a:gd name="connsiteY7" fmla="*/ 69735 h 83550"/>
                  <a:gd name="connsiteX8" fmla="*/ 30143 w 71828"/>
                  <a:gd name="connsiteY8" fmla="*/ 12320 h 83550"/>
                  <a:gd name="connsiteX9" fmla="*/ 31279 w 71828"/>
                  <a:gd name="connsiteY9" fmla="*/ 11842 h 83550"/>
                  <a:gd name="connsiteX10" fmla="*/ 54305 w 71828"/>
                  <a:gd name="connsiteY10" fmla="*/ 68419 h 83550"/>
                  <a:gd name="connsiteX11" fmla="*/ 69675 w 71828"/>
                  <a:gd name="connsiteY11" fmla="*/ 62199 h 83550"/>
                  <a:gd name="connsiteX12" fmla="*/ 45334 w 71828"/>
                  <a:gd name="connsiteY12" fmla="*/ 2332 h 83550"/>
                  <a:gd name="connsiteX13" fmla="*/ 2213 w 71828"/>
                  <a:gd name="connsiteY13" fmla="*/ 19856 h 8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828" h="83550">
                    <a:moveTo>
                      <a:pt x="0" y="18779"/>
                    </a:moveTo>
                    <a:cubicBezTo>
                      <a:pt x="15729" y="12380"/>
                      <a:pt x="30980" y="6160"/>
                      <a:pt x="46231" y="0"/>
                    </a:cubicBezTo>
                    <a:cubicBezTo>
                      <a:pt x="54664" y="20753"/>
                      <a:pt x="63216" y="41686"/>
                      <a:pt x="71828" y="62917"/>
                    </a:cubicBezTo>
                    <a:cubicBezTo>
                      <a:pt x="56817" y="69735"/>
                      <a:pt x="41685" y="76553"/>
                      <a:pt x="26375" y="83551"/>
                    </a:cubicBezTo>
                    <a:cubicBezTo>
                      <a:pt x="17703" y="62379"/>
                      <a:pt x="8971" y="40848"/>
                      <a:pt x="0" y="18779"/>
                    </a:cubicBezTo>
                    <a:close/>
                    <a:moveTo>
                      <a:pt x="2213" y="19856"/>
                    </a:moveTo>
                    <a:cubicBezTo>
                      <a:pt x="10825" y="40968"/>
                      <a:pt x="18959" y="60944"/>
                      <a:pt x="26913" y="80560"/>
                    </a:cubicBezTo>
                    <a:cubicBezTo>
                      <a:pt x="35765" y="76972"/>
                      <a:pt x="44257" y="73503"/>
                      <a:pt x="53527" y="69735"/>
                    </a:cubicBezTo>
                    <a:cubicBezTo>
                      <a:pt x="45513" y="50059"/>
                      <a:pt x="37858" y="31160"/>
                      <a:pt x="30143" y="12320"/>
                    </a:cubicBezTo>
                    <a:cubicBezTo>
                      <a:pt x="30502" y="12141"/>
                      <a:pt x="30920" y="12021"/>
                      <a:pt x="31279" y="11842"/>
                    </a:cubicBezTo>
                    <a:cubicBezTo>
                      <a:pt x="38934" y="30681"/>
                      <a:pt x="46590" y="49520"/>
                      <a:pt x="54305" y="68419"/>
                    </a:cubicBezTo>
                    <a:cubicBezTo>
                      <a:pt x="59568" y="66266"/>
                      <a:pt x="64532" y="64233"/>
                      <a:pt x="69675" y="62199"/>
                    </a:cubicBezTo>
                    <a:cubicBezTo>
                      <a:pt x="61422" y="41865"/>
                      <a:pt x="53348" y="22009"/>
                      <a:pt x="45334" y="2332"/>
                    </a:cubicBezTo>
                    <a:cubicBezTo>
                      <a:pt x="30860" y="8194"/>
                      <a:pt x="16746" y="13935"/>
                      <a:pt x="2213" y="1985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16" name="Vrije vorm: vorm 9315">
                <a:extLst>
                  <a:ext uri="{FF2B5EF4-FFF2-40B4-BE49-F238E27FC236}">
                    <a16:creationId xmlns:a16="http://schemas.microsoft.com/office/drawing/2014/main" id="{9F32A770-D608-4514-A70E-9FF3F4AA6ED7}"/>
                  </a:ext>
                </a:extLst>
              </p:cNvPr>
              <p:cNvSpPr/>
              <p:nvPr/>
            </p:nvSpPr>
            <p:spPr>
              <a:xfrm>
                <a:off x="4884595" y="1888393"/>
                <a:ext cx="79902" cy="93119"/>
              </a:xfrm>
              <a:custGeom>
                <a:avLst/>
                <a:gdLst>
                  <a:gd name="connsiteX0" fmla="*/ 0 w 79902"/>
                  <a:gd name="connsiteY0" fmla="*/ 26674 h 93119"/>
                  <a:gd name="connsiteX1" fmla="*/ 53348 w 79902"/>
                  <a:gd name="connsiteY1" fmla="*/ 0 h 93119"/>
                  <a:gd name="connsiteX2" fmla="*/ 79902 w 79902"/>
                  <a:gd name="connsiteY2" fmla="*/ 65250 h 93119"/>
                  <a:gd name="connsiteX3" fmla="*/ 27033 w 79902"/>
                  <a:gd name="connsiteY3" fmla="*/ 93120 h 93119"/>
                  <a:gd name="connsiteX4" fmla="*/ 0 w 79902"/>
                  <a:gd name="connsiteY4" fmla="*/ 26674 h 93119"/>
                  <a:gd name="connsiteX5" fmla="*/ 52511 w 79902"/>
                  <a:gd name="connsiteY5" fmla="*/ 1974 h 93119"/>
                  <a:gd name="connsiteX6" fmla="*/ 1674 w 79902"/>
                  <a:gd name="connsiteY6" fmla="*/ 27392 h 93119"/>
                  <a:gd name="connsiteX7" fmla="*/ 5024 w 79902"/>
                  <a:gd name="connsiteY7" fmla="*/ 34688 h 93119"/>
                  <a:gd name="connsiteX8" fmla="*/ 42044 w 79902"/>
                  <a:gd name="connsiteY8" fmla="*/ 16208 h 93119"/>
                  <a:gd name="connsiteX9" fmla="*/ 42583 w 79902"/>
                  <a:gd name="connsiteY9" fmla="*/ 17404 h 93119"/>
                  <a:gd name="connsiteX10" fmla="*/ 5801 w 79902"/>
                  <a:gd name="connsiteY10" fmla="*/ 36124 h 93119"/>
                  <a:gd name="connsiteX11" fmla="*/ 28109 w 79902"/>
                  <a:gd name="connsiteY11" fmla="*/ 91027 h 93119"/>
                  <a:gd name="connsiteX12" fmla="*/ 77988 w 79902"/>
                  <a:gd name="connsiteY12" fmla="*/ 64711 h 93119"/>
                  <a:gd name="connsiteX13" fmla="*/ 52511 w 79902"/>
                  <a:gd name="connsiteY13" fmla="*/ 1974 h 93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02" h="93119">
                    <a:moveTo>
                      <a:pt x="0" y="26674"/>
                    </a:moveTo>
                    <a:cubicBezTo>
                      <a:pt x="17523" y="17882"/>
                      <a:pt x="35226" y="9091"/>
                      <a:pt x="53348" y="0"/>
                    </a:cubicBezTo>
                    <a:cubicBezTo>
                      <a:pt x="62139" y="21590"/>
                      <a:pt x="70991" y="43420"/>
                      <a:pt x="79902" y="65250"/>
                    </a:cubicBezTo>
                    <a:cubicBezTo>
                      <a:pt x="62618" y="74400"/>
                      <a:pt x="45035" y="83610"/>
                      <a:pt x="27033" y="93120"/>
                    </a:cubicBezTo>
                    <a:cubicBezTo>
                      <a:pt x="18062" y="70991"/>
                      <a:pt x="9031" y="48743"/>
                      <a:pt x="0" y="26674"/>
                    </a:cubicBezTo>
                    <a:close/>
                    <a:moveTo>
                      <a:pt x="52511" y="1974"/>
                    </a:moveTo>
                    <a:cubicBezTo>
                      <a:pt x="35286" y="10586"/>
                      <a:pt x="18660" y="18899"/>
                      <a:pt x="1674" y="27392"/>
                    </a:cubicBezTo>
                    <a:cubicBezTo>
                      <a:pt x="2990" y="30203"/>
                      <a:pt x="3947" y="32296"/>
                      <a:pt x="5024" y="34688"/>
                    </a:cubicBezTo>
                    <a:cubicBezTo>
                      <a:pt x="17763" y="28349"/>
                      <a:pt x="29904" y="22308"/>
                      <a:pt x="42044" y="16208"/>
                    </a:cubicBezTo>
                    <a:cubicBezTo>
                      <a:pt x="42224" y="16626"/>
                      <a:pt x="42403" y="16985"/>
                      <a:pt x="42583" y="17404"/>
                    </a:cubicBezTo>
                    <a:cubicBezTo>
                      <a:pt x="30322" y="23624"/>
                      <a:pt x="18062" y="29904"/>
                      <a:pt x="5801" y="36124"/>
                    </a:cubicBezTo>
                    <a:cubicBezTo>
                      <a:pt x="13277" y="54544"/>
                      <a:pt x="20574" y="72486"/>
                      <a:pt x="28109" y="91027"/>
                    </a:cubicBezTo>
                    <a:cubicBezTo>
                      <a:pt x="45035" y="82115"/>
                      <a:pt x="61542" y="73383"/>
                      <a:pt x="77988" y="64711"/>
                    </a:cubicBezTo>
                    <a:cubicBezTo>
                      <a:pt x="69436" y="43540"/>
                      <a:pt x="61123" y="23145"/>
                      <a:pt x="52511" y="197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17" name="Vrije vorm: vorm 9316">
                <a:extLst>
                  <a:ext uri="{FF2B5EF4-FFF2-40B4-BE49-F238E27FC236}">
                    <a16:creationId xmlns:a16="http://schemas.microsoft.com/office/drawing/2014/main" id="{148113CF-0A2C-4BB4-B9DD-A52D714F5119}"/>
                  </a:ext>
                </a:extLst>
              </p:cNvPr>
              <p:cNvSpPr/>
              <p:nvPr/>
            </p:nvSpPr>
            <p:spPr>
              <a:xfrm>
                <a:off x="5089076" y="1058448"/>
                <a:ext cx="73203" cy="74998"/>
              </a:xfrm>
              <a:custGeom>
                <a:avLst/>
                <a:gdLst>
                  <a:gd name="connsiteX0" fmla="*/ 73204 w 73203"/>
                  <a:gd name="connsiteY0" fmla="*/ 63156 h 74998"/>
                  <a:gd name="connsiteX1" fmla="*/ 26136 w 73203"/>
                  <a:gd name="connsiteY1" fmla="*/ 74998 h 74998"/>
                  <a:gd name="connsiteX2" fmla="*/ 0 w 73203"/>
                  <a:gd name="connsiteY2" fmla="*/ 10765 h 74998"/>
                  <a:gd name="connsiteX3" fmla="*/ 47546 w 73203"/>
                  <a:gd name="connsiteY3" fmla="*/ 0 h 74998"/>
                  <a:gd name="connsiteX4" fmla="*/ 73204 w 73203"/>
                  <a:gd name="connsiteY4" fmla="*/ 63156 h 74998"/>
                  <a:gd name="connsiteX5" fmla="*/ 13696 w 73203"/>
                  <a:gd name="connsiteY5" fmla="*/ 34509 h 74998"/>
                  <a:gd name="connsiteX6" fmla="*/ 13576 w 73203"/>
                  <a:gd name="connsiteY6" fmla="*/ 34449 h 74998"/>
                  <a:gd name="connsiteX7" fmla="*/ 13756 w 73203"/>
                  <a:gd name="connsiteY7" fmla="*/ 40430 h 74998"/>
                  <a:gd name="connsiteX8" fmla="*/ 25298 w 73203"/>
                  <a:gd name="connsiteY8" fmla="*/ 69317 h 74998"/>
                  <a:gd name="connsiteX9" fmla="*/ 27750 w 73203"/>
                  <a:gd name="connsiteY9" fmla="*/ 73324 h 74998"/>
                  <a:gd name="connsiteX10" fmla="*/ 29245 w 73203"/>
                  <a:gd name="connsiteY10" fmla="*/ 72546 h 74998"/>
                  <a:gd name="connsiteX11" fmla="*/ 23145 w 73203"/>
                  <a:gd name="connsiteY11" fmla="*/ 57594 h 74998"/>
                  <a:gd name="connsiteX12" fmla="*/ 27272 w 73203"/>
                  <a:gd name="connsiteY12" fmla="*/ 65130 h 74998"/>
                  <a:gd name="connsiteX13" fmla="*/ 38815 w 73203"/>
                  <a:gd name="connsiteY13" fmla="*/ 69675 h 74998"/>
                  <a:gd name="connsiteX14" fmla="*/ 30502 w 73203"/>
                  <a:gd name="connsiteY14" fmla="*/ 49281 h 74998"/>
                  <a:gd name="connsiteX15" fmla="*/ 52630 w 73203"/>
                  <a:gd name="connsiteY15" fmla="*/ 31817 h 74998"/>
                  <a:gd name="connsiteX16" fmla="*/ 35406 w 73203"/>
                  <a:gd name="connsiteY16" fmla="*/ 47248 h 74998"/>
                  <a:gd name="connsiteX17" fmla="*/ 33492 w 73203"/>
                  <a:gd name="connsiteY17" fmla="*/ 52331 h 74998"/>
                  <a:gd name="connsiteX18" fmla="*/ 40489 w 73203"/>
                  <a:gd name="connsiteY18" fmla="*/ 69974 h 74998"/>
                  <a:gd name="connsiteX19" fmla="*/ 70991 w 73203"/>
                  <a:gd name="connsiteY19" fmla="*/ 62319 h 74998"/>
                  <a:gd name="connsiteX20" fmla="*/ 46351 w 73203"/>
                  <a:gd name="connsiteY20" fmla="*/ 1734 h 74998"/>
                  <a:gd name="connsiteX21" fmla="*/ 2093 w 73203"/>
                  <a:gd name="connsiteY21" fmla="*/ 11782 h 74998"/>
                  <a:gd name="connsiteX22" fmla="*/ 11004 w 73203"/>
                  <a:gd name="connsiteY22" fmla="*/ 33432 h 74998"/>
                  <a:gd name="connsiteX23" fmla="*/ 13696 w 73203"/>
                  <a:gd name="connsiteY23" fmla="*/ 34509 h 7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203" h="74998">
                    <a:moveTo>
                      <a:pt x="73204" y="63156"/>
                    </a:moveTo>
                    <a:cubicBezTo>
                      <a:pt x="57236" y="67163"/>
                      <a:pt x="41805" y="71051"/>
                      <a:pt x="26136" y="74998"/>
                    </a:cubicBezTo>
                    <a:cubicBezTo>
                      <a:pt x="17523" y="53826"/>
                      <a:pt x="8791" y="32415"/>
                      <a:pt x="0" y="10765"/>
                    </a:cubicBezTo>
                    <a:cubicBezTo>
                      <a:pt x="15789" y="7177"/>
                      <a:pt x="31578" y="3588"/>
                      <a:pt x="47546" y="0"/>
                    </a:cubicBezTo>
                    <a:cubicBezTo>
                      <a:pt x="55979" y="20753"/>
                      <a:pt x="64532" y="41805"/>
                      <a:pt x="73204" y="63156"/>
                    </a:cubicBezTo>
                    <a:close/>
                    <a:moveTo>
                      <a:pt x="13696" y="34509"/>
                    </a:moveTo>
                    <a:cubicBezTo>
                      <a:pt x="13696" y="34509"/>
                      <a:pt x="13576" y="34449"/>
                      <a:pt x="13576" y="34449"/>
                    </a:cubicBezTo>
                    <a:cubicBezTo>
                      <a:pt x="13576" y="36482"/>
                      <a:pt x="13098" y="38695"/>
                      <a:pt x="13756" y="40430"/>
                    </a:cubicBezTo>
                    <a:cubicBezTo>
                      <a:pt x="17404" y="50118"/>
                      <a:pt x="21351" y="59688"/>
                      <a:pt x="25298" y="69317"/>
                    </a:cubicBezTo>
                    <a:cubicBezTo>
                      <a:pt x="25896" y="70752"/>
                      <a:pt x="26913" y="72008"/>
                      <a:pt x="27750" y="73324"/>
                    </a:cubicBezTo>
                    <a:cubicBezTo>
                      <a:pt x="28229" y="73084"/>
                      <a:pt x="28707" y="72785"/>
                      <a:pt x="29245" y="72546"/>
                    </a:cubicBezTo>
                    <a:cubicBezTo>
                      <a:pt x="27212" y="67582"/>
                      <a:pt x="25179" y="62618"/>
                      <a:pt x="23145" y="57594"/>
                    </a:cubicBezTo>
                    <a:cubicBezTo>
                      <a:pt x="25119" y="59867"/>
                      <a:pt x="26196" y="62499"/>
                      <a:pt x="27272" y="65130"/>
                    </a:cubicBezTo>
                    <a:cubicBezTo>
                      <a:pt x="30621" y="73383"/>
                      <a:pt x="31099" y="73563"/>
                      <a:pt x="38815" y="69675"/>
                    </a:cubicBezTo>
                    <a:cubicBezTo>
                      <a:pt x="36004" y="62798"/>
                      <a:pt x="33193" y="55920"/>
                      <a:pt x="30502" y="49281"/>
                    </a:cubicBezTo>
                    <a:cubicBezTo>
                      <a:pt x="38097" y="43300"/>
                      <a:pt x="45393" y="37559"/>
                      <a:pt x="52630" y="31817"/>
                    </a:cubicBezTo>
                    <a:cubicBezTo>
                      <a:pt x="47307" y="37559"/>
                      <a:pt x="41207" y="42224"/>
                      <a:pt x="35406" y="47248"/>
                    </a:cubicBezTo>
                    <a:cubicBezTo>
                      <a:pt x="34210" y="48264"/>
                      <a:pt x="33013" y="50956"/>
                      <a:pt x="33492" y="52331"/>
                    </a:cubicBezTo>
                    <a:cubicBezTo>
                      <a:pt x="35346" y="58073"/>
                      <a:pt x="37918" y="63635"/>
                      <a:pt x="40489" y="69974"/>
                    </a:cubicBezTo>
                    <a:cubicBezTo>
                      <a:pt x="50657" y="67403"/>
                      <a:pt x="60585" y="64891"/>
                      <a:pt x="70991" y="62319"/>
                    </a:cubicBezTo>
                    <a:cubicBezTo>
                      <a:pt x="62678" y="41805"/>
                      <a:pt x="54604" y="22009"/>
                      <a:pt x="46351" y="1734"/>
                    </a:cubicBezTo>
                    <a:cubicBezTo>
                      <a:pt x="31758" y="5024"/>
                      <a:pt x="17225" y="8313"/>
                      <a:pt x="2093" y="11782"/>
                    </a:cubicBezTo>
                    <a:cubicBezTo>
                      <a:pt x="5143" y="19258"/>
                      <a:pt x="7954" y="26375"/>
                      <a:pt x="11004" y="33432"/>
                    </a:cubicBezTo>
                    <a:cubicBezTo>
                      <a:pt x="11244" y="34030"/>
                      <a:pt x="12739" y="34150"/>
                      <a:pt x="13696" y="3450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18" name="Vrije vorm: vorm 9317">
                <a:extLst>
                  <a:ext uri="{FF2B5EF4-FFF2-40B4-BE49-F238E27FC236}">
                    <a16:creationId xmlns:a16="http://schemas.microsoft.com/office/drawing/2014/main" id="{1ADA564E-5733-4429-AB2D-1386CEFB2DA5}"/>
                  </a:ext>
                </a:extLst>
              </p:cNvPr>
              <p:cNvSpPr/>
              <p:nvPr/>
            </p:nvSpPr>
            <p:spPr>
              <a:xfrm>
                <a:off x="5244216" y="1608196"/>
                <a:ext cx="70751" cy="84687"/>
              </a:xfrm>
              <a:custGeom>
                <a:avLst/>
                <a:gdLst>
                  <a:gd name="connsiteX0" fmla="*/ 0 w 70751"/>
                  <a:gd name="connsiteY0" fmla="*/ 20813 h 84687"/>
                  <a:gd name="connsiteX1" fmla="*/ 45154 w 70751"/>
                  <a:gd name="connsiteY1" fmla="*/ 0 h 84687"/>
                  <a:gd name="connsiteX2" fmla="*/ 70752 w 70751"/>
                  <a:gd name="connsiteY2" fmla="*/ 62857 h 84687"/>
                  <a:gd name="connsiteX3" fmla="*/ 25956 w 70751"/>
                  <a:gd name="connsiteY3" fmla="*/ 84687 h 84687"/>
                  <a:gd name="connsiteX4" fmla="*/ 0 w 70751"/>
                  <a:gd name="connsiteY4" fmla="*/ 20813 h 84687"/>
                  <a:gd name="connsiteX5" fmla="*/ 26853 w 70751"/>
                  <a:gd name="connsiteY5" fmla="*/ 82773 h 84687"/>
                  <a:gd name="connsiteX6" fmla="*/ 51853 w 70751"/>
                  <a:gd name="connsiteY6" fmla="*/ 70573 h 84687"/>
                  <a:gd name="connsiteX7" fmla="*/ 27092 w 70751"/>
                  <a:gd name="connsiteY7" fmla="*/ 9689 h 84687"/>
                  <a:gd name="connsiteX8" fmla="*/ 1973 w 70751"/>
                  <a:gd name="connsiteY8" fmla="*/ 21590 h 84687"/>
                  <a:gd name="connsiteX9" fmla="*/ 26853 w 70751"/>
                  <a:gd name="connsiteY9" fmla="*/ 82773 h 84687"/>
                  <a:gd name="connsiteX10" fmla="*/ 28827 w 70751"/>
                  <a:gd name="connsiteY10" fmla="*/ 9390 h 84687"/>
                  <a:gd name="connsiteX11" fmla="*/ 52989 w 70751"/>
                  <a:gd name="connsiteY11" fmla="*/ 68838 h 84687"/>
                  <a:gd name="connsiteX12" fmla="*/ 68659 w 70751"/>
                  <a:gd name="connsiteY12" fmla="*/ 62439 h 84687"/>
                  <a:gd name="connsiteX13" fmla="*/ 44018 w 70751"/>
                  <a:gd name="connsiteY13" fmla="*/ 1854 h 84687"/>
                  <a:gd name="connsiteX14" fmla="*/ 35286 w 70751"/>
                  <a:gd name="connsiteY14" fmla="*/ 6639 h 84687"/>
                  <a:gd name="connsiteX15" fmla="*/ 50776 w 70751"/>
                  <a:gd name="connsiteY15" fmla="*/ 44676 h 84687"/>
                  <a:gd name="connsiteX16" fmla="*/ 49819 w 70751"/>
                  <a:gd name="connsiteY16" fmla="*/ 45095 h 84687"/>
                  <a:gd name="connsiteX17" fmla="*/ 34269 w 70751"/>
                  <a:gd name="connsiteY17" fmla="*/ 6878 h 84687"/>
                  <a:gd name="connsiteX18" fmla="*/ 28827 w 70751"/>
                  <a:gd name="connsiteY18" fmla="*/ 9390 h 8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751" h="84687">
                    <a:moveTo>
                      <a:pt x="0" y="20813"/>
                    </a:moveTo>
                    <a:cubicBezTo>
                      <a:pt x="15191" y="13815"/>
                      <a:pt x="30083" y="6938"/>
                      <a:pt x="45154" y="0"/>
                    </a:cubicBezTo>
                    <a:cubicBezTo>
                      <a:pt x="53647" y="20933"/>
                      <a:pt x="62199" y="41925"/>
                      <a:pt x="70752" y="62857"/>
                    </a:cubicBezTo>
                    <a:cubicBezTo>
                      <a:pt x="55800" y="70154"/>
                      <a:pt x="41028" y="77331"/>
                      <a:pt x="25956" y="84687"/>
                    </a:cubicBezTo>
                    <a:cubicBezTo>
                      <a:pt x="17344" y="63575"/>
                      <a:pt x="8612" y="42104"/>
                      <a:pt x="0" y="20813"/>
                    </a:cubicBezTo>
                    <a:close/>
                    <a:moveTo>
                      <a:pt x="26853" y="82773"/>
                    </a:moveTo>
                    <a:cubicBezTo>
                      <a:pt x="35346" y="78587"/>
                      <a:pt x="43480" y="74639"/>
                      <a:pt x="51853" y="70573"/>
                    </a:cubicBezTo>
                    <a:cubicBezTo>
                      <a:pt x="43539" y="50118"/>
                      <a:pt x="35406" y="30143"/>
                      <a:pt x="27092" y="9689"/>
                    </a:cubicBezTo>
                    <a:cubicBezTo>
                      <a:pt x="18540" y="13756"/>
                      <a:pt x="10406" y="17583"/>
                      <a:pt x="1973" y="21590"/>
                    </a:cubicBezTo>
                    <a:cubicBezTo>
                      <a:pt x="10347" y="42164"/>
                      <a:pt x="18420" y="62020"/>
                      <a:pt x="26853" y="82773"/>
                    </a:cubicBezTo>
                    <a:close/>
                    <a:moveTo>
                      <a:pt x="28827" y="9390"/>
                    </a:moveTo>
                    <a:cubicBezTo>
                      <a:pt x="37080" y="29724"/>
                      <a:pt x="45095" y="49341"/>
                      <a:pt x="52989" y="68838"/>
                    </a:cubicBezTo>
                    <a:cubicBezTo>
                      <a:pt x="58312" y="66685"/>
                      <a:pt x="63396" y="64592"/>
                      <a:pt x="68659" y="62439"/>
                    </a:cubicBezTo>
                    <a:cubicBezTo>
                      <a:pt x="60345" y="41925"/>
                      <a:pt x="52271" y="22129"/>
                      <a:pt x="44018" y="1854"/>
                    </a:cubicBezTo>
                    <a:cubicBezTo>
                      <a:pt x="40968" y="3529"/>
                      <a:pt x="38396" y="4964"/>
                      <a:pt x="35286" y="6639"/>
                    </a:cubicBezTo>
                    <a:cubicBezTo>
                      <a:pt x="40549" y="19617"/>
                      <a:pt x="45692" y="32176"/>
                      <a:pt x="50776" y="44676"/>
                    </a:cubicBezTo>
                    <a:cubicBezTo>
                      <a:pt x="50477" y="44796"/>
                      <a:pt x="50118" y="44915"/>
                      <a:pt x="49819" y="45095"/>
                    </a:cubicBezTo>
                    <a:cubicBezTo>
                      <a:pt x="44676" y="32415"/>
                      <a:pt x="39532" y="19736"/>
                      <a:pt x="34269" y="6878"/>
                    </a:cubicBezTo>
                    <a:cubicBezTo>
                      <a:pt x="32356" y="7715"/>
                      <a:pt x="30860" y="8373"/>
                      <a:pt x="28827" y="939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19" name="Vrije vorm: vorm 9318">
                <a:extLst>
                  <a:ext uri="{FF2B5EF4-FFF2-40B4-BE49-F238E27FC236}">
                    <a16:creationId xmlns:a16="http://schemas.microsoft.com/office/drawing/2014/main" id="{04D1EAB3-EFEB-4908-98E1-EF64F34EE280}"/>
                  </a:ext>
                </a:extLst>
              </p:cNvPr>
              <p:cNvSpPr/>
              <p:nvPr/>
            </p:nvSpPr>
            <p:spPr>
              <a:xfrm>
                <a:off x="5215568" y="1711782"/>
                <a:ext cx="72127" cy="88095"/>
              </a:xfrm>
              <a:custGeom>
                <a:avLst/>
                <a:gdLst>
                  <a:gd name="connsiteX0" fmla="*/ 27392 w 72127"/>
                  <a:gd name="connsiteY0" fmla="*/ 86003 h 88095"/>
                  <a:gd name="connsiteX1" fmla="*/ 68419 w 72127"/>
                  <a:gd name="connsiteY1" fmla="*/ 64592 h 88095"/>
                  <a:gd name="connsiteX2" fmla="*/ 68958 w 72127"/>
                  <a:gd name="connsiteY2" fmla="*/ 65608 h 88095"/>
                  <a:gd name="connsiteX3" fmla="*/ 26495 w 72127"/>
                  <a:gd name="connsiteY3" fmla="*/ 88096 h 88095"/>
                  <a:gd name="connsiteX4" fmla="*/ 0 w 72127"/>
                  <a:gd name="connsiteY4" fmla="*/ 22966 h 88095"/>
                  <a:gd name="connsiteX5" fmla="*/ 46291 w 72127"/>
                  <a:gd name="connsiteY5" fmla="*/ 0 h 88095"/>
                  <a:gd name="connsiteX6" fmla="*/ 72128 w 72127"/>
                  <a:gd name="connsiteY6" fmla="*/ 63515 h 88095"/>
                  <a:gd name="connsiteX7" fmla="*/ 71051 w 72127"/>
                  <a:gd name="connsiteY7" fmla="*/ 63934 h 88095"/>
                  <a:gd name="connsiteX8" fmla="*/ 45813 w 72127"/>
                  <a:gd name="connsiteY8" fmla="*/ 1854 h 88095"/>
                  <a:gd name="connsiteX9" fmla="*/ 16028 w 72127"/>
                  <a:gd name="connsiteY9" fmla="*/ 16387 h 88095"/>
                  <a:gd name="connsiteX10" fmla="*/ 5323 w 72127"/>
                  <a:gd name="connsiteY10" fmla="*/ 21770 h 88095"/>
                  <a:gd name="connsiteX11" fmla="*/ 3170 w 72127"/>
                  <a:gd name="connsiteY11" fmla="*/ 25896 h 88095"/>
                  <a:gd name="connsiteX12" fmla="*/ 27392 w 72127"/>
                  <a:gd name="connsiteY12" fmla="*/ 86003 h 8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127" h="88095">
                    <a:moveTo>
                      <a:pt x="27392" y="86003"/>
                    </a:moveTo>
                    <a:cubicBezTo>
                      <a:pt x="41446" y="78646"/>
                      <a:pt x="54963" y="71649"/>
                      <a:pt x="68419" y="64592"/>
                    </a:cubicBezTo>
                    <a:cubicBezTo>
                      <a:pt x="68599" y="64951"/>
                      <a:pt x="68778" y="65309"/>
                      <a:pt x="68958" y="65608"/>
                    </a:cubicBezTo>
                    <a:cubicBezTo>
                      <a:pt x="54903" y="73084"/>
                      <a:pt x="40789" y="80560"/>
                      <a:pt x="26495" y="88096"/>
                    </a:cubicBezTo>
                    <a:cubicBezTo>
                      <a:pt x="17763" y="66565"/>
                      <a:pt x="8911" y="44855"/>
                      <a:pt x="0" y="22966"/>
                    </a:cubicBezTo>
                    <a:cubicBezTo>
                      <a:pt x="15550" y="15251"/>
                      <a:pt x="30980" y="7595"/>
                      <a:pt x="46291" y="0"/>
                    </a:cubicBezTo>
                    <a:cubicBezTo>
                      <a:pt x="54843" y="20992"/>
                      <a:pt x="63515" y="42284"/>
                      <a:pt x="72128" y="63515"/>
                    </a:cubicBezTo>
                    <a:cubicBezTo>
                      <a:pt x="71769" y="63635"/>
                      <a:pt x="71410" y="63814"/>
                      <a:pt x="71051" y="63934"/>
                    </a:cubicBezTo>
                    <a:cubicBezTo>
                      <a:pt x="62738" y="43420"/>
                      <a:pt x="54365" y="22966"/>
                      <a:pt x="45813" y="1854"/>
                    </a:cubicBezTo>
                    <a:cubicBezTo>
                      <a:pt x="35585" y="6878"/>
                      <a:pt x="25777" y="11603"/>
                      <a:pt x="16028" y="16387"/>
                    </a:cubicBezTo>
                    <a:cubicBezTo>
                      <a:pt x="12440" y="18122"/>
                      <a:pt x="8732" y="19736"/>
                      <a:pt x="5323" y="21770"/>
                    </a:cubicBezTo>
                    <a:cubicBezTo>
                      <a:pt x="4187" y="22487"/>
                      <a:pt x="2751" y="24940"/>
                      <a:pt x="3170" y="25896"/>
                    </a:cubicBezTo>
                    <a:cubicBezTo>
                      <a:pt x="10945" y="45812"/>
                      <a:pt x="19019" y="65489"/>
                      <a:pt x="27392" y="8600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20" name="Vrije vorm: vorm 9319">
                <a:extLst>
                  <a:ext uri="{FF2B5EF4-FFF2-40B4-BE49-F238E27FC236}">
                    <a16:creationId xmlns:a16="http://schemas.microsoft.com/office/drawing/2014/main" id="{86A07B5C-1607-4B87-AF05-67852BFB3B84}"/>
                  </a:ext>
                </a:extLst>
              </p:cNvPr>
              <p:cNvSpPr/>
              <p:nvPr/>
            </p:nvSpPr>
            <p:spPr>
              <a:xfrm>
                <a:off x="5349715" y="1562085"/>
                <a:ext cx="62857" cy="79424"/>
              </a:xfrm>
              <a:custGeom>
                <a:avLst/>
                <a:gdLst>
                  <a:gd name="connsiteX0" fmla="*/ 26315 w 62857"/>
                  <a:gd name="connsiteY0" fmla="*/ 77271 h 79424"/>
                  <a:gd name="connsiteX1" fmla="*/ 58193 w 62857"/>
                  <a:gd name="connsiteY1" fmla="*/ 61960 h 79424"/>
                  <a:gd name="connsiteX2" fmla="*/ 57714 w 62857"/>
                  <a:gd name="connsiteY2" fmla="*/ 60585 h 79424"/>
                  <a:gd name="connsiteX3" fmla="*/ 30262 w 62857"/>
                  <a:gd name="connsiteY3" fmla="*/ 68001 h 79424"/>
                  <a:gd name="connsiteX4" fmla="*/ 10407 w 62857"/>
                  <a:gd name="connsiteY4" fmla="*/ 19198 h 79424"/>
                  <a:gd name="connsiteX5" fmla="*/ 11005 w 62857"/>
                  <a:gd name="connsiteY5" fmla="*/ 19019 h 79424"/>
                  <a:gd name="connsiteX6" fmla="*/ 27631 w 62857"/>
                  <a:gd name="connsiteY6" fmla="*/ 60166 h 79424"/>
                  <a:gd name="connsiteX7" fmla="*/ 36243 w 62857"/>
                  <a:gd name="connsiteY7" fmla="*/ 65070 h 79424"/>
                  <a:gd name="connsiteX8" fmla="*/ 56219 w 62857"/>
                  <a:gd name="connsiteY8" fmla="*/ 59508 h 79424"/>
                  <a:gd name="connsiteX9" fmla="*/ 62857 w 62857"/>
                  <a:gd name="connsiteY9" fmla="*/ 60944 h 79424"/>
                  <a:gd name="connsiteX10" fmla="*/ 25299 w 62857"/>
                  <a:gd name="connsiteY10" fmla="*/ 79424 h 79424"/>
                  <a:gd name="connsiteX11" fmla="*/ 0 w 62857"/>
                  <a:gd name="connsiteY11" fmla="*/ 17225 h 79424"/>
                  <a:gd name="connsiteX12" fmla="*/ 42284 w 62857"/>
                  <a:gd name="connsiteY12" fmla="*/ 0 h 79424"/>
                  <a:gd name="connsiteX13" fmla="*/ 30562 w 62857"/>
                  <a:gd name="connsiteY13" fmla="*/ 5682 h 79424"/>
                  <a:gd name="connsiteX14" fmla="*/ 48563 w 62857"/>
                  <a:gd name="connsiteY14" fmla="*/ 49999 h 79424"/>
                  <a:gd name="connsiteX15" fmla="*/ 47368 w 62857"/>
                  <a:gd name="connsiteY15" fmla="*/ 50477 h 79424"/>
                  <a:gd name="connsiteX16" fmla="*/ 29784 w 62857"/>
                  <a:gd name="connsiteY16" fmla="*/ 7237 h 79424"/>
                  <a:gd name="connsiteX17" fmla="*/ 2273 w 62857"/>
                  <a:gd name="connsiteY17" fmla="*/ 18421 h 79424"/>
                  <a:gd name="connsiteX18" fmla="*/ 26315 w 62857"/>
                  <a:gd name="connsiteY18" fmla="*/ 77271 h 79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857" h="79424">
                    <a:moveTo>
                      <a:pt x="26315" y="77271"/>
                    </a:moveTo>
                    <a:cubicBezTo>
                      <a:pt x="37260" y="72008"/>
                      <a:pt x="47726" y="66984"/>
                      <a:pt x="58193" y="61960"/>
                    </a:cubicBezTo>
                    <a:cubicBezTo>
                      <a:pt x="58013" y="61482"/>
                      <a:pt x="57893" y="61003"/>
                      <a:pt x="57714" y="60585"/>
                    </a:cubicBezTo>
                    <a:cubicBezTo>
                      <a:pt x="48504" y="63037"/>
                      <a:pt x="39353" y="65549"/>
                      <a:pt x="30262" y="68001"/>
                    </a:cubicBezTo>
                    <a:cubicBezTo>
                      <a:pt x="23684" y="51853"/>
                      <a:pt x="17045" y="35526"/>
                      <a:pt x="10407" y="19198"/>
                    </a:cubicBezTo>
                    <a:cubicBezTo>
                      <a:pt x="10586" y="19138"/>
                      <a:pt x="10766" y="19079"/>
                      <a:pt x="11005" y="19019"/>
                    </a:cubicBezTo>
                    <a:cubicBezTo>
                      <a:pt x="16567" y="32715"/>
                      <a:pt x="22308" y="46351"/>
                      <a:pt x="27631" y="60166"/>
                    </a:cubicBezTo>
                    <a:cubicBezTo>
                      <a:pt x="29485" y="65011"/>
                      <a:pt x="31279" y="66984"/>
                      <a:pt x="36243" y="65070"/>
                    </a:cubicBezTo>
                    <a:cubicBezTo>
                      <a:pt x="42702" y="62618"/>
                      <a:pt x="49521" y="61123"/>
                      <a:pt x="56219" y="59508"/>
                    </a:cubicBezTo>
                    <a:cubicBezTo>
                      <a:pt x="58193" y="59030"/>
                      <a:pt x="60406" y="59508"/>
                      <a:pt x="62857" y="60944"/>
                    </a:cubicBezTo>
                    <a:cubicBezTo>
                      <a:pt x="50417" y="67044"/>
                      <a:pt x="37918" y="73204"/>
                      <a:pt x="25299" y="79424"/>
                    </a:cubicBezTo>
                    <a:cubicBezTo>
                      <a:pt x="17045" y="59090"/>
                      <a:pt x="8672" y="38576"/>
                      <a:pt x="0" y="17225"/>
                    </a:cubicBezTo>
                    <a:cubicBezTo>
                      <a:pt x="14055" y="11483"/>
                      <a:pt x="27811" y="5921"/>
                      <a:pt x="42284" y="0"/>
                    </a:cubicBezTo>
                    <a:cubicBezTo>
                      <a:pt x="38277" y="1974"/>
                      <a:pt x="34868" y="3588"/>
                      <a:pt x="30562" y="5682"/>
                    </a:cubicBezTo>
                    <a:cubicBezTo>
                      <a:pt x="36662" y="20634"/>
                      <a:pt x="42583" y="35286"/>
                      <a:pt x="48563" y="49999"/>
                    </a:cubicBezTo>
                    <a:cubicBezTo>
                      <a:pt x="48145" y="50178"/>
                      <a:pt x="47786" y="50298"/>
                      <a:pt x="47368" y="50477"/>
                    </a:cubicBezTo>
                    <a:cubicBezTo>
                      <a:pt x="41506" y="36064"/>
                      <a:pt x="35645" y="21590"/>
                      <a:pt x="29784" y="7237"/>
                    </a:cubicBezTo>
                    <a:cubicBezTo>
                      <a:pt x="20574" y="11005"/>
                      <a:pt x="11603" y="14653"/>
                      <a:pt x="2273" y="18421"/>
                    </a:cubicBezTo>
                    <a:cubicBezTo>
                      <a:pt x="10466" y="38336"/>
                      <a:pt x="18241" y="57415"/>
                      <a:pt x="26315" y="7727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21" name="Vrije vorm: vorm 9320">
                <a:extLst>
                  <a:ext uri="{FF2B5EF4-FFF2-40B4-BE49-F238E27FC236}">
                    <a16:creationId xmlns:a16="http://schemas.microsoft.com/office/drawing/2014/main" id="{FE70C6CA-6611-40E3-AFAA-9DBABA32CCBE}"/>
                  </a:ext>
                </a:extLst>
              </p:cNvPr>
              <p:cNvSpPr/>
              <p:nvPr/>
            </p:nvSpPr>
            <p:spPr>
              <a:xfrm>
                <a:off x="5385121" y="1324471"/>
                <a:ext cx="54364" cy="65189"/>
              </a:xfrm>
              <a:custGeom>
                <a:avLst/>
                <a:gdLst>
                  <a:gd name="connsiteX0" fmla="*/ 20933 w 54364"/>
                  <a:gd name="connsiteY0" fmla="*/ 65190 h 65189"/>
                  <a:gd name="connsiteX1" fmla="*/ 0 w 54364"/>
                  <a:gd name="connsiteY1" fmla="*/ 13756 h 65189"/>
                  <a:gd name="connsiteX2" fmla="*/ 33851 w 54364"/>
                  <a:gd name="connsiteY2" fmla="*/ 0 h 65189"/>
                  <a:gd name="connsiteX3" fmla="*/ 54365 w 54364"/>
                  <a:gd name="connsiteY3" fmla="*/ 50477 h 65189"/>
                  <a:gd name="connsiteX4" fmla="*/ 28827 w 54364"/>
                  <a:gd name="connsiteY4" fmla="*/ 60944 h 65189"/>
                  <a:gd name="connsiteX5" fmla="*/ 20933 w 54364"/>
                  <a:gd name="connsiteY5" fmla="*/ 65190 h 65189"/>
                  <a:gd name="connsiteX6" fmla="*/ 32774 w 54364"/>
                  <a:gd name="connsiteY6" fmla="*/ 1675 h 65189"/>
                  <a:gd name="connsiteX7" fmla="*/ 5024 w 54364"/>
                  <a:gd name="connsiteY7" fmla="*/ 13158 h 65189"/>
                  <a:gd name="connsiteX8" fmla="*/ 3648 w 54364"/>
                  <a:gd name="connsiteY8" fmla="*/ 18122 h 65189"/>
                  <a:gd name="connsiteX9" fmla="*/ 11184 w 54364"/>
                  <a:gd name="connsiteY9" fmla="*/ 37439 h 65189"/>
                  <a:gd name="connsiteX10" fmla="*/ 20933 w 54364"/>
                  <a:gd name="connsiteY10" fmla="*/ 61422 h 65189"/>
                  <a:gd name="connsiteX11" fmla="*/ 22428 w 54364"/>
                  <a:gd name="connsiteY11" fmla="*/ 60824 h 65189"/>
                  <a:gd name="connsiteX12" fmla="*/ 4665 w 54364"/>
                  <a:gd name="connsiteY12" fmla="*/ 17105 h 65189"/>
                  <a:gd name="connsiteX13" fmla="*/ 6040 w 54364"/>
                  <a:gd name="connsiteY13" fmla="*/ 16507 h 65189"/>
                  <a:gd name="connsiteX14" fmla="*/ 8194 w 54364"/>
                  <a:gd name="connsiteY14" fmla="*/ 21830 h 65189"/>
                  <a:gd name="connsiteX15" fmla="*/ 21829 w 54364"/>
                  <a:gd name="connsiteY15" fmla="*/ 57056 h 65189"/>
                  <a:gd name="connsiteX16" fmla="*/ 28169 w 54364"/>
                  <a:gd name="connsiteY16" fmla="*/ 58611 h 65189"/>
                  <a:gd name="connsiteX17" fmla="*/ 10227 w 54364"/>
                  <a:gd name="connsiteY17" fmla="*/ 14473 h 65189"/>
                  <a:gd name="connsiteX18" fmla="*/ 32116 w 54364"/>
                  <a:gd name="connsiteY18" fmla="*/ 5562 h 65189"/>
                  <a:gd name="connsiteX19" fmla="*/ 32296 w 54364"/>
                  <a:gd name="connsiteY19" fmla="*/ 5981 h 65189"/>
                  <a:gd name="connsiteX20" fmla="*/ 12440 w 54364"/>
                  <a:gd name="connsiteY20" fmla="*/ 15729 h 65189"/>
                  <a:gd name="connsiteX21" fmla="*/ 30023 w 54364"/>
                  <a:gd name="connsiteY21" fmla="*/ 58970 h 65189"/>
                  <a:gd name="connsiteX22" fmla="*/ 52391 w 54364"/>
                  <a:gd name="connsiteY22" fmla="*/ 49879 h 65189"/>
                  <a:gd name="connsiteX23" fmla="*/ 32774 w 54364"/>
                  <a:gd name="connsiteY23" fmla="*/ 1675 h 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364" h="65189">
                    <a:moveTo>
                      <a:pt x="20933" y="65190"/>
                    </a:moveTo>
                    <a:cubicBezTo>
                      <a:pt x="13636" y="47248"/>
                      <a:pt x="6818" y="30442"/>
                      <a:pt x="0" y="13756"/>
                    </a:cubicBezTo>
                    <a:cubicBezTo>
                      <a:pt x="11483" y="9091"/>
                      <a:pt x="22667" y="4545"/>
                      <a:pt x="33851" y="0"/>
                    </a:cubicBezTo>
                    <a:cubicBezTo>
                      <a:pt x="40968" y="17464"/>
                      <a:pt x="47726" y="34210"/>
                      <a:pt x="54365" y="50477"/>
                    </a:cubicBezTo>
                    <a:cubicBezTo>
                      <a:pt x="45513" y="54066"/>
                      <a:pt x="37140" y="57415"/>
                      <a:pt x="28827" y="60944"/>
                    </a:cubicBezTo>
                    <a:cubicBezTo>
                      <a:pt x="26136" y="62080"/>
                      <a:pt x="23504" y="63814"/>
                      <a:pt x="20933" y="65190"/>
                    </a:cubicBezTo>
                    <a:close/>
                    <a:moveTo>
                      <a:pt x="32774" y="1675"/>
                    </a:moveTo>
                    <a:cubicBezTo>
                      <a:pt x="23145" y="5622"/>
                      <a:pt x="13995" y="9150"/>
                      <a:pt x="5024" y="13158"/>
                    </a:cubicBezTo>
                    <a:cubicBezTo>
                      <a:pt x="4007" y="13636"/>
                      <a:pt x="3170" y="16746"/>
                      <a:pt x="3648" y="18122"/>
                    </a:cubicBezTo>
                    <a:cubicBezTo>
                      <a:pt x="5921" y="24641"/>
                      <a:pt x="8612" y="30980"/>
                      <a:pt x="11184" y="37439"/>
                    </a:cubicBezTo>
                    <a:cubicBezTo>
                      <a:pt x="14413" y="45454"/>
                      <a:pt x="17703" y="53468"/>
                      <a:pt x="20933" y="61422"/>
                    </a:cubicBezTo>
                    <a:cubicBezTo>
                      <a:pt x="21411" y="61243"/>
                      <a:pt x="21889" y="61003"/>
                      <a:pt x="22428" y="60824"/>
                    </a:cubicBezTo>
                    <a:cubicBezTo>
                      <a:pt x="16506" y="46231"/>
                      <a:pt x="10586" y="31638"/>
                      <a:pt x="4665" y="17105"/>
                    </a:cubicBezTo>
                    <a:cubicBezTo>
                      <a:pt x="5143" y="16925"/>
                      <a:pt x="5562" y="16746"/>
                      <a:pt x="6040" y="16507"/>
                    </a:cubicBezTo>
                    <a:cubicBezTo>
                      <a:pt x="6758" y="18301"/>
                      <a:pt x="7476" y="20035"/>
                      <a:pt x="8194" y="21830"/>
                    </a:cubicBezTo>
                    <a:cubicBezTo>
                      <a:pt x="12739" y="33552"/>
                      <a:pt x="17344" y="45274"/>
                      <a:pt x="21829" y="57056"/>
                    </a:cubicBezTo>
                    <a:cubicBezTo>
                      <a:pt x="23384" y="61123"/>
                      <a:pt x="25119" y="62259"/>
                      <a:pt x="28169" y="58611"/>
                    </a:cubicBezTo>
                    <a:cubicBezTo>
                      <a:pt x="22188" y="43958"/>
                      <a:pt x="16267" y="29365"/>
                      <a:pt x="10227" y="14473"/>
                    </a:cubicBezTo>
                    <a:cubicBezTo>
                      <a:pt x="17763" y="11423"/>
                      <a:pt x="24940" y="8493"/>
                      <a:pt x="32116" y="5562"/>
                    </a:cubicBezTo>
                    <a:cubicBezTo>
                      <a:pt x="32176" y="5682"/>
                      <a:pt x="32236" y="5801"/>
                      <a:pt x="32296" y="5981"/>
                    </a:cubicBezTo>
                    <a:cubicBezTo>
                      <a:pt x="25837" y="9150"/>
                      <a:pt x="19377" y="12320"/>
                      <a:pt x="12440" y="15729"/>
                    </a:cubicBezTo>
                    <a:cubicBezTo>
                      <a:pt x="18361" y="30322"/>
                      <a:pt x="24162" y="44497"/>
                      <a:pt x="30023" y="58970"/>
                    </a:cubicBezTo>
                    <a:cubicBezTo>
                      <a:pt x="37499" y="55920"/>
                      <a:pt x="44736" y="52989"/>
                      <a:pt x="52391" y="49879"/>
                    </a:cubicBezTo>
                    <a:cubicBezTo>
                      <a:pt x="45992" y="34150"/>
                      <a:pt x="39652" y="18660"/>
                      <a:pt x="32774" y="167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22" name="Vrije vorm: vorm 9321">
                <a:extLst>
                  <a:ext uri="{FF2B5EF4-FFF2-40B4-BE49-F238E27FC236}">
                    <a16:creationId xmlns:a16="http://schemas.microsoft.com/office/drawing/2014/main" id="{BE8D618B-0366-417B-961B-44EC6DF5F92A}"/>
                  </a:ext>
                </a:extLst>
              </p:cNvPr>
              <p:cNvSpPr/>
              <p:nvPr/>
            </p:nvSpPr>
            <p:spPr>
              <a:xfrm>
                <a:off x="5053012" y="2078879"/>
                <a:ext cx="74579" cy="93538"/>
              </a:xfrm>
              <a:custGeom>
                <a:avLst/>
                <a:gdLst>
                  <a:gd name="connsiteX0" fmla="*/ 26076 w 74579"/>
                  <a:gd name="connsiteY0" fmla="*/ 93538 h 93538"/>
                  <a:gd name="connsiteX1" fmla="*/ 0 w 74579"/>
                  <a:gd name="connsiteY1" fmla="*/ 29365 h 93538"/>
                  <a:gd name="connsiteX2" fmla="*/ 48982 w 74579"/>
                  <a:gd name="connsiteY2" fmla="*/ 0 h 93538"/>
                  <a:gd name="connsiteX3" fmla="*/ 74580 w 74579"/>
                  <a:gd name="connsiteY3" fmla="*/ 62977 h 93538"/>
                  <a:gd name="connsiteX4" fmla="*/ 26076 w 74579"/>
                  <a:gd name="connsiteY4" fmla="*/ 93538 h 93538"/>
                  <a:gd name="connsiteX5" fmla="*/ 17404 w 74579"/>
                  <a:gd name="connsiteY5" fmla="*/ 68061 h 93538"/>
                  <a:gd name="connsiteX6" fmla="*/ 61003 w 74579"/>
                  <a:gd name="connsiteY6" fmla="*/ 41327 h 93538"/>
                  <a:gd name="connsiteX7" fmla="*/ 61542 w 74579"/>
                  <a:gd name="connsiteY7" fmla="*/ 42344 h 93538"/>
                  <a:gd name="connsiteX8" fmla="*/ 18122 w 74579"/>
                  <a:gd name="connsiteY8" fmla="*/ 69376 h 93538"/>
                  <a:gd name="connsiteX9" fmla="*/ 26794 w 74579"/>
                  <a:gd name="connsiteY9" fmla="*/ 90728 h 93538"/>
                  <a:gd name="connsiteX10" fmla="*/ 28588 w 74579"/>
                  <a:gd name="connsiteY10" fmla="*/ 90309 h 93538"/>
                  <a:gd name="connsiteX11" fmla="*/ 70154 w 74579"/>
                  <a:gd name="connsiteY11" fmla="*/ 63994 h 93538"/>
                  <a:gd name="connsiteX12" fmla="*/ 71051 w 74579"/>
                  <a:gd name="connsiteY12" fmla="*/ 58252 h 93538"/>
                  <a:gd name="connsiteX13" fmla="*/ 55740 w 74579"/>
                  <a:gd name="connsiteY13" fmla="*/ 20394 h 93538"/>
                  <a:gd name="connsiteX14" fmla="*/ 48264 w 74579"/>
                  <a:gd name="connsiteY14" fmla="*/ 1974 h 93538"/>
                  <a:gd name="connsiteX15" fmla="*/ 1854 w 74579"/>
                  <a:gd name="connsiteY15" fmla="*/ 29904 h 93538"/>
                  <a:gd name="connsiteX16" fmla="*/ 17404 w 74579"/>
                  <a:gd name="connsiteY16" fmla="*/ 68061 h 9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579" h="93538">
                    <a:moveTo>
                      <a:pt x="26076" y="93538"/>
                    </a:moveTo>
                    <a:cubicBezTo>
                      <a:pt x="17284" y="72008"/>
                      <a:pt x="8612" y="50657"/>
                      <a:pt x="0" y="29365"/>
                    </a:cubicBezTo>
                    <a:cubicBezTo>
                      <a:pt x="16208" y="19677"/>
                      <a:pt x="32535" y="9868"/>
                      <a:pt x="48982" y="0"/>
                    </a:cubicBezTo>
                    <a:cubicBezTo>
                      <a:pt x="57475" y="20933"/>
                      <a:pt x="66027" y="41865"/>
                      <a:pt x="74580" y="62977"/>
                    </a:cubicBezTo>
                    <a:cubicBezTo>
                      <a:pt x="58611" y="73025"/>
                      <a:pt x="42523" y="83192"/>
                      <a:pt x="26076" y="93538"/>
                    </a:cubicBezTo>
                    <a:close/>
                    <a:moveTo>
                      <a:pt x="17404" y="68061"/>
                    </a:moveTo>
                    <a:cubicBezTo>
                      <a:pt x="32296" y="58970"/>
                      <a:pt x="46650" y="50118"/>
                      <a:pt x="61003" y="41327"/>
                    </a:cubicBezTo>
                    <a:cubicBezTo>
                      <a:pt x="61183" y="41686"/>
                      <a:pt x="61362" y="41985"/>
                      <a:pt x="61542" y="42344"/>
                    </a:cubicBezTo>
                    <a:cubicBezTo>
                      <a:pt x="47068" y="51374"/>
                      <a:pt x="32595" y="60345"/>
                      <a:pt x="18122" y="69376"/>
                    </a:cubicBezTo>
                    <a:cubicBezTo>
                      <a:pt x="21172" y="76912"/>
                      <a:pt x="23983" y="83850"/>
                      <a:pt x="26794" y="90728"/>
                    </a:cubicBezTo>
                    <a:cubicBezTo>
                      <a:pt x="27571" y="90548"/>
                      <a:pt x="28169" y="90548"/>
                      <a:pt x="28588" y="90309"/>
                    </a:cubicBezTo>
                    <a:cubicBezTo>
                      <a:pt x="42523" y="81637"/>
                      <a:pt x="56458" y="72965"/>
                      <a:pt x="70154" y="63994"/>
                    </a:cubicBezTo>
                    <a:cubicBezTo>
                      <a:pt x="71231" y="63276"/>
                      <a:pt x="71649" y="59927"/>
                      <a:pt x="71051" y="58252"/>
                    </a:cubicBezTo>
                    <a:cubicBezTo>
                      <a:pt x="66147" y="45573"/>
                      <a:pt x="60884" y="33014"/>
                      <a:pt x="55740" y="20394"/>
                    </a:cubicBezTo>
                    <a:cubicBezTo>
                      <a:pt x="53288" y="14414"/>
                      <a:pt x="50896" y="8433"/>
                      <a:pt x="48264" y="1974"/>
                    </a:cubicBezTo>
                    <a:cubicBezTo>
                      <a:pt x="32415" y="11543"/>
                      <a:pt x="17165" y="20693"/>
                      <a:pt x="1854" y="29904"/>
                    </a:cubicBezTo>
                    <a:cubicBezTo>
                      <a:pt x="7057" y="42762"/>
                      <a:pt x="12021" y="54903"/>
                      <a:pt x="17404" y="6806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23" name="Vrije vorm: vorm 9322">
                <a:extLst>
                  <a:ext uri="{FF2B5EF4-FFF2-40B4-BE49-F238E27FC236}">
                    <a16:creationId xmlns:a16="http://schemas.microsoft.com/office/drawing/2014/main" id="{AC7101EA-9A0F-4002-A1F8-5B363ECCCA93}"/>
                  </a:ext>
                </a:extLst>
              </p:cNvPr>
              <p:cNvSpPr/>
              <p:nvPr/>
            </p:nvSpPr>
            <p:spPr>
              <a:xfrm>
                <a:off x="4921855" y="1973200"/>
                <a:ext cx="78945" cy="94315"/>
              </a:xfrm>
              <a:custGeom>
                <a:avLst/>
                <a:gdLst>
                  <a:gd name="connsiteX0" fmla="*/ 0 w 78945"/>
                  <a:gd name="connsiteY0" fmla="*/ 28169 h 94315"/>
                  <a:gd name="connsiteX1" fmla="*/ 52511 w 78945"/>
                  <a:gd name="connsiteY1" fmla="*/ 0 h 94315"/>
                  <a:gd name="connsiteX2" fmla="*/ 78946 w 78945"/>
                  <a:gd name="connsiteY2" fmla="*/ 65010 h 94315"/>
                  <a:gd name="connsiteX3" fmla="*/ 26913 w 78945"/>
                  <a:gd name="connsiteY3" fmla="*/ 94316 h 94315"/>
                  <a:gd name="connsiteX4" fmla="*/ 0 w 78945"/>
                  <a:gd name="connsiteY4" fmla="*/ 28169 h 94315"/>
                  <a:gd name="connsiteX5" fmla="*/ 1974 w 78945"/>
                  <a:gd name="connsiteY5" fmla="*/ 28648 h 94315"/>
                  <a:gd name="connsiteX6" fmla="*/ 27571 w 78945"/>
                  <a:gd name="connsiteY6" fmla="*/ 91625 h 94315"/>
                  <a:gd name="connsiteX7" fmla="*/ 29784 w 78945"/>
                  <a:gd name="connsiteY7" fmla="*/ 91086 h 94315"/>
                  <a:gd name="connsiteX8" fmla="*/ 74520 w 78945"/>
                  <a:gd name="connsiteY8" fmla="*/ 66087 h 94315"/>
                  <a:gd name="connsiteX9" fmla="*/ 75357 w 78945"/>
                  <a:gd name="connsiteY9" fmla="*/ 59568 h 94315"/>
                  <a:gd name="connsiteX10" fmla="*/ 56338 w 78945"/>
                  <a:gd name="connsiteY10" fmla="*/ 13457 h 94315"/>
                  <a:gd name="connsiteX11" fmla="*/ 51674 w 78945"/>
                  <a:gd name="connsiteY11" fmla="*/ 1974 h 94315"/>
                  <a:gd name="connsiteX12" fmla="*/ 1974 w 78945"/>
                  <a:gd name="connsiteY12" fmla="*/ 28648 h 9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945" h="94315">
                    <a:moveTo>
                      <a:pt x="0" y="28169"/>
                    </a:moveTo>
                    <a:cubicBezTo>
                      <a:pt x="17344" y="18839"/>
                      <a:pt x="34868" y="9450"/>
                      <a:pt x="52511" y="0"/>
                    </a:cubicBezTo>
                    <a:cubicBezTo>
                      <a:pt x="61302" y="21650"/>
                      <a:pt x="70154" y="43360"/>
                      <a:pt x="78946" y="65010"/>
                    </a:cubicBezTo>
                    <a:cubicBezTo>
                      <a:pt x="61781" y="74699"/>
                      <a:pt x="44556" y="84388"/>
                      <a:pt x="26913" y="94316"/>
                    </a:cubicBezTo>
                    <a:cubicBezTo>
                      <a:pt x="18002" y="72367"/>
                      <a:pt x="8971" y="50178"/>
                      <a:pt x="0" y="28169"/>
                    </a:cubicBezTo>
                    <a:close/>
                    <a:moveTo>
                      <a:pt x="1974" y="28648"/>
                    </a:moveTo>
                    <a:cubicBezTo>
                      <a:pt x="10705" y="50118"/>
                      <a:pt x="19138" y="70872"/>
                      <a:pt x="27571" y="91625"/>
                    </a:cubicBezTo>
                    <a:cubicBezTo>
                      <a:pt x="28767" y="91326"/>
                      <a:pt x="29306" y="91326"/>
                      <a:pt x="29784" y="91086"/>
                    </a:cubicBezTo>
                    <a:cubicBezTo>
                      <a:pt x="44676" y="82773"/>
                      <a:pt x="59568" y="74400"/>
                      <a:pt x="74520" y="66087"/>
                    </a:cubicBezTo>
                    <a:cubicBezTo>
                      <a:pt x="77570" y="64412"/>
                      <a:pt x="76374" y="62080"/>
                      <a:pt x="75357" y="59568"/>
                    </a:cubicBezTo>
                    <a:cubicBezTo>
                      <a:pt x="69017" y="44198"/>
                      <a:pt x="62678" y="28827"/>
                      <a:pt x="56338" y="13457"/>
                    </a:cubicBezTo>
                    <a:cubicBezTo>
                      <a:pt x="54843" y="9749"/>
                      <a:pt x="53348" y="6040"/>
                      <a:pt x="51674" y="1974"/>
                    </a:cubicBezTo>
                    <a:cubicBezTo>
                      <a:pt x="34688" y="11064"/>
                      <a:pt x="18421" y="19796"/>
                      <a:pt x="1974" y="2864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24" name="Vrije vorm: vorm 9323">
                <a:extLst>
                  <a:ext uri="{FF2B5EF4-FFF2-40B4-BE49-F238E27FC236}">
                    <a16:creationId xmlns:a16="http://schemas.microsoft.com/office/drawing/2014/main" id="{998A8E1D-06AD-4498-A488-1988CD2BCF25}"/>
                  </a:ext>
                </a:extLst>
              </p:cNvPr>
              <p:cNvSpPr/>
              <p:nvPr/>
            </p:nvSpPr>
            <p:spPr>
              <a:xfrm>
                <a:off x="5328424" y="1656281"/>
                <a:ext cx="67821" cy="83431"/>
              </a:xfrm>
              <a:custGeom>
                <a:avLst/>
                <a:gdLst>
                  <a:gd name="connsiteX0" fmla="*/ 0 w 67821"/>
                  <a:gd name="connsiteY0" fmla="*/ 21052 h 83431"/>
                  <a:gd name="connsiteX1" fmla="*/ 42882 w 67821"/>
                  <a:gd name="connsiteY1" fmla="*/ 0 h 83431"/>
                  <a:gd name="connsiteX2" fmla="*/ 67822 w 67821"/>
                  <a:gd name="connsiteY2" fmla="*/ 61243 h 83431"/>
                  <a:gd name="connsiteX3" fmla="*/ 25418 w 67821"/>
                  <a:gd name="connsiteY3" fmla="*/ 83431 h 83431"/>
                  <a:gd name="connsiteX4" fmla="*/ 0 w 67821"/>
                  <a:gd name="connsiteY4" fmla="*/ 21052 h 83431"/>
                  <a:gd name="connsiteX5" fmla="*/ 26255 w 67821"/>
                  <a:gd name="connsiteY5" fmla="*/ 81457 h 83431"/>
                  <a:gd name="connsiteX6" fmla="*/ 56817 w 67821"/>
                  <a:gd name="connsiteY6" fmla="*/ 65489 h 83431"/>
                  <a:gd name="connsiteX7" fmla="*/ 56458 w 67821"/>
                  <a:gd name="connsiteY7" fmla="*/ 64592 h 83431"/>
                  <a:gd name="connsiteX8" fmla="*/ 40071 w 67821"/>
                  <a:gd name="connsiteY8" fmla="*/ 67463 h 83431"/>
                  <a:gd name="connsiteX9" fmla="*/ 39892 w 67821"/>
                  <a:gd name="connsiteY9" fmla="*/ 66446 h 83431"/>
                  <a:gd name="connsiteX10" fmla="*/ 65908 w 67821"/>
                  <a:gd name="connsiteY10" fmla="*/ 61123 h 83431"/>
                  <a:gd name="connsiteX11" fmla="*/ 41746 w 67821"/>
                  <a:gd name="connsiteY11" fmla="*/ 1794 h 83431"/>
                  <a:gd name="connsiteX12" fmla="*/ 34210 w 67821"/>
                  <a:gd name="connsiteY12" fmla="*/ 6340 h 83431"/>
                  <a:gd name="connsiteX13" fmla="*/ 45992 w 67821"/>
                  <a:gd name="connsiteY13" fmla="*/ 35346 h 83431"/>
                  <a:gd name="connsiteX14" fmla="*/ 44975 w 67821"/>
                  <a:gd name="connsiteY14" fmla="*/ 35765 h 83431"/>
                  <a:gd name="connsiteX15" fmla="*/ 33133 w 67821"/>
                  <a:gd name="connsiteY15" fmla="*/ 6698 h 83431"/>
                  <a:gd name="connsiteX16" fmla="*/ 29605 w 67821"/>
                  <a:gd name="connsiteY16" fmla="*/ 8134 h 83431"/>
                  <a:gd name="connsiteX17" fmla="*/ 25717 w 67821"/>
                  <a:gd name="connsiteY17" fmla="*/ 19497 h 83431"/>
                  <a:gd name="connsiteX18" fmla="*/ 34987 w 67821"/>
                  <a:gd name="connsiteY18" fmla="*/ 42284 h 83431"/>
                  <a:gd name="connsiteX19" fmla="*/ 33731 w 67821"/>
                  <a:gd name="connsiteY19" fmla="*/ 42762 h 83431"/>
                  <a:gd name="connsiteX20" fmla="*/ 21291 w 67821"/>
                  <a:gd name="connsiteY20" fmla="*/ 12201 h 83431"/>
                  <a:gd name="connsiteX21" fmla="*/ 1974 w 67821"/>
                  <a:gd name="connsiteY21" fmla="*/ 21830 h 83431"/>
                  <a:gd name="connsiteX22" fmla="*/ 26255 w 67821"/>
                  <a:gd name="connsiteY22" fmla="*/ 81457 h 8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821" h="83431">
                    <a:moveTo>
                      <a:pt x="0" y="21052"/>
                    </a:moveTo>
                    <a:cubicBezTo>
                      <a:pt x="14653" y="13816"/>
                      <a:pt x="28767" y="6878"/>
                      <a:pt x="42882" y="0"/>
                    </a:cubicBezTo>
                    <a:cubicBezTo>
                      <a:pt x="51195" y="20394"/>
                      <a:pt x="59448" y="40729"/>
                      <a:pt x="67822" y="61243"/>
                    </a:cubicBezTo>
                    <a:cubicBezTo>
                      <a:pt x="53587" y="68659"/>
                      <a:pt x="39413" y="76075"/>
                      <a:pt x="25418" y="83431"/>
                    </a:cubicBezTo>
                    <a:cubicBezTo>
                      <a:pt x="16926" y="62678"/>
                      <a:pt x="8493" y="41925"/>
                      <a:pt x="0" y="21052"/>
                    </a:cubicBezTo>
                    <a:close/>
                    <a:moveTo>
                      <a:pt x="26255" y="81457"/>
                    </a:moveTo>
                    <a:cubicBezTo>
                      <a:pt x="36841" y="75955"/>
                      <a:pt x="46829" y="70692"/>
                      <a:pt x="56817" y="65489"/>
                    </a:cubicBezTo>
                    <a:cubicBezTo>
                      <a:pt x="56697" y="65190"/>
                      <a:pt x="56578" y="64891"/>
                      <a:pt x="56458" y="64592"/>
                    </a:cubicBezTo>
                    <a:cubicBezTo>
                      <a:pt x="51016" y="65549"/>
                      <a:pt x="45514" y="66506"/>
                      <a:pt x="40071" y="67463"/>
                    </a:cubicBezTo>
                    <a:cubicBezTo>
                      <a:pt x="40011" y="67104"/>
                      <a:pt x="39951" y="66805"/>
                      <a:pt x="39892" y="66446"/>
                    </a:cubicBezTo>
                    <a:cubicBezTo>
                      <a:pt x="48384" y="64711"/>
                      <a:pt x="56877" y="62977"/>
                      <a:pt x="65908" y="61123"/>
                    </a:cubicBezTo>
                    <a:cubicBezTo>
                      <a:pt x="57714" y="41028"/>
                      <a:pt x="49820" y="21650"/>
                      <a:pt x="41746" y="1794"/>
                    </a:cubicBezTo>
                    <a:cubicBezTo>
                      <a:pt x="39114" y="3409"/>
                      <a:pt x="36841" y="4725"/>
                      <a:pt x="34210" y="6340"/>
                    </a:cubicBezTo>
                    <a:cubicBezTo>
                      <a:pt x="38277" y="16387"/>
                      <a:pt x="42164" y="25897"/>
                      <a:pt x="45992" y="35346"/>
                    </a:cubicBezTo>
                    <a:cubicBezTo>
                      <a:pt x="45633" y="35466"/>
                      <a:pt x="45274" y="35645"/>
                      <a:pt x="44975" y="35765"/>
                    </a:cubicBezTo>
                    <a:cubicBezTo>
                      <a:pt x="41028" y="26136"/>
                      <a:pt x="37140" y="16447"/>
                      <a:pt x="33133" y="6698"/>
                    </a:cubicBezTo>
                    <a:cubicBezTo>
                      <a:pt x="31578" y="7296"/>
                      <a:pt x="30562" y="7715"/>
                      <a:pt x="29605" y="8134"/>
                    </a:cubicBezTo>
                    <a:cubicBezTo>
                      <a:pt x="22368" y="11244"/>
                      <a:pt x="22368" y="11244"/>
                      <a:pt x="25717" y="19497"/>
                    </a:cubicBezTo>
                    <a:cubicBezTo>
                      <a:pt x="28767" y="27093"/>
                      <a:pt x="31877" y="34688"/>
                      <a:pt x="34987" y="42284"/>
                    </a:cubicBezTo>
                    <a:cubicBezTo>
                      <a:pt x="34569" y="42463"/>
                      <a:pt x="34150" y="42583"/>
                      <a:pt x="33731" y="42762"/>
                    </a:cubicBezTo>
                    <a:cubicBezTo>
                      <a:pt x="29665" y="32715"/>
                      <a:pt x="25538" y="22667"/>
                      <a:pt x="21291" y="12201"/>
                    </a:cubicBezTo>
                    <a:cubicBezTo>
                      <a:pt x="14593" y="15550"/>
                      <a:pt x="8373" y="18660"/>
                      <a:pt x="1974" y="21830"/>
                    </a:cubicBezTo>
                    <a:cubicBezTo>
                      <a:pt x="10227" y="42045"/>
                      <a:pt x="18062" y="61362"/>
                      <a:pt x="26255" y="8145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25" name="Vrije vorm: vorm 9324">
                <a:extLst>
                  <a:ext uri="{FF2B5EF4-FFF2-40B4-BE49-F238E27FC236}">
                    <a16:creationId xmlns:a16="http://schemas.microsoft.com/office/drawing/2014/main" id="{B95CBB1D-DE25-411D-98CC-4FEED5DEEDC8}"/>
                  </a:ext>
                </a:extLst>
              </p:cNvPr>
              <p:cNvSpPr/>
              <p:nvPr/>
            </p:nvSpPr>
            <p:spPr>
              <a:xfrm>
                <a:off x="5316582" y="2050889"/>
                <a:ext cx="50716" cy="86182"/>
              </a:xfrm>
              <a:custGeom>
                <a:avLst/>
                <a:gdLst>
                  <a:gd name="connsiteX0" fmla="*/ 34808 w 50716"/>
                  <a:gd name="connsiteY0" fmla="*/ 86182 h 86182"/>
                  <a:gd name="connsiteX1" fmla="*/ 0 w 50716"/>
                  <a:gd name="connsiteY1" fmla="*/ 598 h 86182"/>
                  <a:gd name="connsiteX2" fmla="*/ 1435 w 50716"/>
                  <a:gd name="connsiteY2" fmla="*/ 0 h 86182"/>
                  <a:gd name="connsiteX3" fmla="*/ 16567 w 50716"/>
                  <a:gd name="connsiteY3" fmla="*/ 37260 h 86182"/>
                  <a:gd name="connsiteX4" fmla="*/ 22129 w 50716"/>
                  <a:gd name="connsiteY4" fmla="*/ 33911 h 86182"/>
                  <a:gd name="connsiteX5" fmla="*/ 9988 w 50716"/>
                  <a:gd name="connsiteY5" fmla="*/ 4007 h 86182"/>
                  <a:gd name="connsiteX6" fmla="*/ 11124 w 50716"/>
                  <a:gd name="connsiteY6" fmla="*/ 3529 h 86182"/>
                  <a:gd name="connsiteX7" fmla="*/ 22906 w 50716"/>
                  <a:gd name="connsiteY7" fmla="*/ 32535 h 86182"/>
                  <a:gd name="connsiteX8" fmla="*/ 24999 w 50716"/>
                  <a:gd name="connsiteY8" fmla="*/ 31937 h 86182"/>
                  <a:gd name="connsiteX9" fmla="*/ 22428 w 50716"/>
                  <a:gd name="connsiteY9" fmla="*/ 23923 h 86182"/>
                  <a:gd name="connsiteX10" fmla="*/ 18600 w 50716"/>
                  <a:gd name="connsiteY10" fmla="*/ 14294 h 86182"/>
                  <a:gd name="connsiteX11" fmla="*/ 16148 w 50716"/>
                  <a:gd name="connsiteY11" fmla="*/ 4904 h 86182"/>
                  <a:gd name="connsiteX12" fmla="*/ 26435 w 50716"/>
                  <a:gd name="connsiteY12" fmla="*/ 30143 h 86182"/>
                  <a:gd name="connsiteX13" fmla="*/ 28169 w 50716"/>
                  <a:gd name="connsiteY13" fmla="*/ 29545 h 86182"/>
                  <a:gd name="connsiteX14" fmla="*/ 17523 w 50716"/>
                  <a:gd name="connsiteY14" fmla="*/ 3469 h 86182"/>
                  <a:gd name="connsiteX15" fmla="*/ 18839 w 50716"/>
                  <a:gd name="connsiteY15" fmla="*/ 2930 h 86182"/>
                  <a:gd name="connsiteX16" fmla="*/ 31279 w 50716"/>
                  <a:gd name="connsiteY16" fmla="*/ 29305 h 86182"/>
                  <a:gd name="connsiteX17" fmla="*/ 17703 w 50716"/>
                  <a:gd name="connsiteY17" fmla="*/ 38755 h 86182"/>
                  <a:gd name="connsiteX18" fmla="*/ 18720 w 50716"/>
                  <a:gd name="connsiteY18" fmla="*/ 40370 h 86182"/>
                  <a:gd name="connsiteX19" fmla="*/ 32655 w 50716"/>
                  <a:gd name="connsiteY19" fmla="*/ 31758 h 86182"/>
                  <a:gd name="connsiteX20" fmla="*/ 33432 w 50716"/>
                  <a:gd name="connsiteY20" fmla="*/ 33073 h 86182"/>
                  <a:gd name="connsiteX21" fmla="*/ 21949 w 50716"/>
                  <a:gd name="connsiteY21" fmla="*/ 40609 h 86182"/>
                  <a:gd name="connsiteX22" fmla="*/ 20095 w 50716"/>
                  <a:gd name="connsiteY22" fmla="*/ 44975 h 86182"/>
                  <a:gd name="connsiteX23" fmla="*/ 35585 w 50716"/>
                  <a:gd name="connsiteY23" fmla="*/ 83371 h 86182"/>
                  <a:gd name="connsiteX24" fmla="*/ 50238 w 50716"/>
                  <a:gd name="connsiteY24" fmla="*/ 73742 h 86182"/>
                  <a:gd name="connsiteX25" fmla="*/ 50716 w 50716"/>
                  <a:gd name="connsiteY25" fmla="*/ 74520 h 86182"/>
                  <a:gd name="connsiteX26" fmla="*/ 34808 w 50716"/>
                  <a:gd name="connsiteY26" fmla="*/ 86182 h 8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0716" h="86182">
                    <a:moveTo>
                      <a:pt x="34808" y="86182"/>
                    </a:moveTo>
                    <a:cubicBezTo>
                      <a:pt x="23205" y="57654"/>
                      <a:pt x="11603" y="29126"/>
                      <a:pt x="0" y="598"/>
                    </a:cubicBezTo>
                    <a:cubicBezTo>
                      <a:pt x="479" y="419"/>
                      <a:pt x="957" y="179"/>
                      <a:pt x="1435" y="0"/>
                    </a:cubicBezTo>
                    <a:cubicBezTo>
                      <a:pt x="6399" y="12201"/>
                      <a:pt x="11364" y="24341"/>
                      <a:pt x="16567" y="37260"/>
                    </a:cubicBezTo>
                    <a:cubicBezTo>
                      <a:pt x="18780" y="35944"/>
                      <a:pt x="20275" y="35047"/>
                      <a:pt x="22129" y="33911"/>
                    </a:cubicBezTo>
                    <a:cubicBezTo>
                      <a:pt x="18002" y="23743"/>
                      <a:pt x="13995" y="13875"/>
                      <a:pt x="9988" y="4007"/>
                    </a:cubicBezTo>
                    <a:cubicBezTo>
                      <a:pt x="10347" y="3828"/>
                      <a:pt x="10765" y="3708"/>
                      <a:pt x="11124" y="3529"/>
                    </a:cubicBezTo>
                    <a:cubicBezTo>
                      <a:pt x="15072" y="13217"/>
                      <a:pt x="19019" y="22846"/>
                      <a:pt x="22906" y="32535"/>
                    </a:cubicBezTo>
                    <a:cubicBezTo>
                      <a:pt x="23624" y="32356"/>
                      <a:pt x="24342" y="32176"/>
                      <a:pt x="24999" y="31937"/>
                    </a:cubicBezTo>
                    <a:cubicBezTo>
                      <a:pt x="24162" y="29246"/>
                      <a:pt x="23384" y="26554"/>
                      <a:pt x="22428" y="23923"/>
                    </a:cubicBezTo>
                    <a:cubicBezTo>
                      <a:pt x="21231" y="20693"/>
                      <a:pt x="19856" y="17523"/>
                      <a:pt x="18600" y="14294"/>
                    </a:cubicBezTo>
                    <a:cubicBezTo>
                      <a:pt x="17404" y="11304"/>
                      <a:pt x="16208" y="8373"/>
                      <a:pt x="16148" y="4904"/>
                    </a:cubicBezTo>
                    <a:cubicBezTo>
                      <a:pt x="19557" y="13337"/>
                      <a:pt x="22966" y="21710"/>
                      <a:pt x="26435" y="30143"/>
                    </a:cubicBezTo>
                    <a:cubicBezTo>
                      <a:pt x="27033" y="29963"/>
                      <a:pt x="27571" y="29724"/>
                      <a:pt x="28169" y="29545"/>
                    </a:cubicBezTo>
                    <a:cubicBezTo>
                      <a:pt x="24641" y="20873"/>
                      <a:pt x="21112" y="12141"/>
                      <a:pt x="17523" y="3469"/>
                    </a:cubicBezTo>
                    <a:cubicBezTo>
                      <a:pt x="17942" y="3289"/>
                      <a:pt x="18421" y="3110"/>
                      <a:pt x="18839" y="2930"/>
                    </a:cubicBezTo>
                    <a:cubicBezTo>
                      <a:pt x="23863" y="11064"/>
                      <a:pt x="25119" y="21291"/>
                      <a:pt x="31279" y="29305"/>
                    </a:cubicBezTo>
                    <a:cubicBezTo>
                      <a:pt x="27212" y="32116"/>
                      <a:pt x="22428" y="35466"/>
                      <a:pt x="17703" y="38755"/>
                    </a:cubicBezTo>
                    <a:cubicBezTo>
                      <a:pt x="18062" y="39293"/>
                      <a:pt x="18421" y="39832"/>
                      <a:pt x="18720" y="40370"/>
                    </a:cubicBezTo>
                    <a:cubicBezTo>
                      <a:pt x="23384" y="37499"/>
                      <a:pt x="27990" y="34628"/>
                      <a:pt x="32655" y="31758"/>
                    </a:cubicBezTo>
                    <a:cubicBezTo>
                      <a:pt x="32894" y="32176"/>
                      <a:pt x="33193" y="32595"/>
                      <a:pt x="33432" y="33073"/>
                    </a:cubicBezTo>
                    <a:cubicBezTo>
                      <a:pt x="29605" y="35526"/>
                      <a:pt x="25598" y="37858"/>
                      <a:pt x="21949" y="40609"/>
                    </a:cubicBezTo>
                    <a:cubicBezTo>
                      <a:pt x="20873" y="41446"/>
                      <a:pt x="19676" y="43839"/>
                      <a:pt x="20095" y="44975"/>
                    </a:cubicBezTo>
                    <a:cubicBezTo>
                      <a:pt x="24999" y="57654"/>
                      <a:pt x="30203" y="70214"/>
                      <a:pt x="35585" y="83371"/>
                    </a:cubicBezTo>
                    <a:cubicBezTo>
                      <a:pt x="40729" y="79962"/>
                      <a:pt x="45513" y="76852"/>
                      <a:pt x="50238" y="73742"/>
                    </a:cubicBezTo>
                    <a:cubicBezTo>
                      <a:pt x="50417" y="73981"/>
                      <a:pt x="50537" y="74281"/>
                      <a:pt x="50716" y="74520"/>
                    </a:cubicBezTo>
                    <a:cubicBezTo>
                      <a:pt x="45394" y="78347"/>
                      <a:pt x="40011" y="82295"/>
                      <a:pt x="34808" y="8618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26" name="Vrije vorm: vorm 9325">
                <a:extLst>
                  <a:ext uri="{FF2B5EF4-FFF2-40B4-BE49-F238E27FC236}">
                    <a16:creationId xmlns:a16="http://schemas.microsoft.com/office/drawing/2014/main" id="{2DB4B501-2AAD-482E-88FF-B143672884A9}"/>
                  </a:ext>
                </a:extLst>
              </p:cNvPr>
              <p:cNvSpPr/>
              <p:nvPr/>
            </p:nvSpPr>
            <p:spPr>
              <a:xfrm>
                <a:off x="5489903" y="1701137"/>
                <a:ext cx="53527" cy="69017"/>
              </a:xfrm>
              <a:custGeom>
                <a:avLst/>
                <a:gdLst>
                  <a:gd name="connsiteX0" fmla="*/ 33133 w 53527"/>
                  <a:gd name="connsiteY0" fmla="*/ 0 h 69017"/>
                  <a:gd name="connsiteX1" fmla="*/ 53528 w 53527"/>
                  <a:gd name="connsiteY1" fmla="*/ 50178 h 69017"/>
                  <a:gd name="connsiteX2" fmla="*/ 20634 w 53527"/>
                  <a:gd name="connsiteY2" fmla="*/ 69018 h 69017"/>
                  <a:gd name="connsiteX3" fmla="*/ 0 w 53527"/>
                  <a:gd name="connsiteY3" fmla="*/ 18301 h 69017"/>
                  <a:gd name="connsiteX4" fmla="*/ 33133 w 53527"/>
                  <a:gd name="connsiteY4" fmla="*/ 0 h 69017"/>
                  <a:gd name="connsiteX5" fmla="*/ 43899 w 53527"/>
                  <a:gd name="connsiteY5" fmla="*/ 31758 h 69017"/>
                  <a:gd name="connsiteX6" fmla="*/ 14713 w 53527"/>
                  <a:gd name="connsiteY6" fmla="*/ 36901 h 69017"/>
                  <a:gd name="connsiteX7" fmla="*/ 7476 w 53527"/>
                  <a:gd name="connsiteY7" fmla="*/ 19138 h 69017"/>
                  <a:gd name="connsiteX8" fmla="*/ 13756 w 53527"/>
                  <a:gd name="connsiteY8" fmla="*/ 31638 h 69017"/>
                  <a:gd name="connsiteX9" fmla="*/ 18182 w 53527"/>
                  <a:gd name="connsiteY9" fmla="*/ 34748 h 69017"/>
                  <a:gd name="connsiteX10" fmla="*/ 43360 w 53527"/>
                  <a:gd name="connsiteY10" fmla="*/ 30382 h 69017"/>
                  <a:gd name="connsiteX11" fmla="*/ 31937 w 53527"/>
                  <a:gd name="connsiteY11" fmla="*/ 2332 h 69017"/>
                  <a:gd name="connsiteX12" fmla="*/ 10706 w 53527"/>
                  <a:gd name="connsiteY12" fmla="*/ 13816 h 69017"/>
                  <a:gd name="connsiteX13" fmla="*/ 6041 w 53527"/>
                  <a:gd name="connsiteY13" fmla="*/ 29425 h 69017"/>
                  <a:gd name="connsiteX14" fmla="*/ 21052 w 53527"/>
                  <a:gd name="connsiteY14" fmla="*/ 66506 h 69017"/>
                  <a:gd name="connsiteX15" fmla="*/ 23863 w 53527"/>
                  <a:gd name="connsiteY15" fmla="*/ 65967 h 69017"/>
                  <a:gd name="connsiteX16" fmla="*/ 17165 w 53527"/>
                  <a:gd name="connsiteY16" fmla="*/ 44975 h 69017"/>
                  <a:gd name="connsiteX17" fmla="*/ 47188 w 53527"/>
                  <a:gd name="connsiteY17" fmla="*/ 39832 h 69017"/>
                  <a:gd name="connsiteX18" fmla="*/ 43899 w 53527"/>
                  <a:gd name="connsiteY18" fmla="*/ 31758 h 69017"/>
                  <a:gd name="connsiteX19" fmla="*/ 26554 w 53527"/>
                  <a:gd name="connsiteY19" fmla="*/ 63934 h 69017"/>
                  <a:gd name="connsiteX20" fmla="*/ 48863 w 53527"/>
                  <a:gd name="connsiteY20" fmla="*/ 50896 h 69017"/>
                  <a:gd name="connsiteX21" fmla="*/ 49580 w 53527"/>
                  <a:gd name="connsiteY21" fmla="*/ 45633 h 69017"/>
                  <a:gd name="connsiteX22" fmla="*/ 45573 w 53527"/>
                  <a:gd name="connsiteY22" fmla="*/ 41805 h 69017"/>
                  <a:gd name="connsiteX23" fmla="*/ 19258 w 53527"/>
                  <a:gd name="connsiteY23" fmla="*/ 46111 h 69017"/>
                  <a:gd name="connsiteX24" fmla="*/ 26554 w 53527"/>
                  <a:gd name="connsiteY24" fmla="*/ 63934 h 6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527" h="69017">
                    <a:moveTo>
                      <a:pt x="33133" y="0"/>
                    </a:moveTo>
                    <a:cubicBezTo>
                      <a:pt x="40011" y="16866"/>
                      <a:pt x="46769" y="33492"/>
                      <a:pt x="53528" y="50178"/>
                    </a:cubicBezTo>
                    <a:cubicBezTo>
                      <a:pt x="42164" y="56637"/>
                      <a:pt x="31399" y="62857"/>
                      <a:pt x="20634" y="69018"/>
                    </a:cubicBezTo>
                    <a:cubicBezTo>
                      <a:pt x="13815" y="52212"/>
                      <a:pt x="6878" y="35226"/>
                      <a:pt x="0" y="18301"/>
                    </a:cubicBezTo>
                    <a:cubicBezTo>
                      <a:pt x="11184" y="12081"/>
                      <a:pt x="21950" y="6160"/>
                      <a:pt x="33133" y="0"/>
                    </a:cubicBezTo>
                    <a:close/>
                    <a:moveTo>
                      <a:pt x="43899" y="31758"/>
                    </a:moveTo>
                    <a:cubicBezTo>
                      <a:pt x="33970" y="33492"/>
                      <a:pt x="24162" y="35226"/>
                      <a:pt x="14713" y="36901"/>
                    </a:cubicBezTo>
                    <a:cubicBezTo>
                      <a:pt x="12320" y="30920"/>
                      <a:pt x="9868" y="25059"/>
                      <a:pt x="7476" y="19138"/>
                    </a:cubicBezTo>
                    <a:cubicBezTo>
                      <a:pt x="10107" y="23086"/>
                      <a:pt x="11662" y="27511"/>
                      <a:pt x="13756" y="31638"/>
                    </a:cubicBezTo>
                    <a:cubicBezTo>
                      <a:pt x="14533" y="33133"/>
                      <a:pt x="16866" y="34927"/>
                      <a:pt x="18182" y="34748"/>
                    </a:cubicBezTo>
                    <a:cubicBezTo>
                      <a:pt x="26435" y="33612"/>
                      <a:pt x="34629" y="31997"/>
                      <a:pt x="43360" y="30382"/>
                    </a:cubicBezTo>
                    <a:cubicBezTo>
                      <a:pt x="39473" y="20813"/>
                      <a:pt x="35765" y="11722"/>
                      <a:pt x="31937" y="2332"/>
                    </a:cubicBezTo>
                    <a:cubicBezTo>
                      <a:pt x="24700" y="6220"/>
                      <a:pt x="17583" y="9808"/>
                      <a:pt x="10706" y="13816"/>
                    </a:cubicBezTo>
                    <a:cubicBezTo>
                      <a:pt x="2034" y="18839"/>
                      <a:pt x="1974" y="19019"/>
                      <a:pt x="6041" y="29425"/>
                    </a:cubicBezTo>
                    <a:cubicBezTo>
                      <a:pt x="10885" y="41865"/>
                      <a:pt x="16028" y="54126"/>
                      <a:pt x="21052" y="66506"/>
                    </a:cubicBezTo>
                    <a:cubicBezTo>
                      <a:pt x="22009" y="66326"/>
                      <a:pt x="22906" y="66147"/>
                      <a:pt x="23863" y="65967"/>
                    </a:cubicBezTo>
                    <a:cubicBezTo>
                      <a:pt x="24282" y="58551"/>
                      <a:pt x="18899" y="52092"/>
                      <a:pt x="17165" y="44975"/>
                    </a:cubicBezTo>
                    <a:cubicBezTo>
                      <a:pt x="27033" y="43300"/>
                      <a:pt x="36961" y="41626"/>
                      <a:pt x="47188" y="39832"/>
                    </a:cubicBezTo>
                    <a:cubicBezTo>
                      <a:pt x="45872" y="36602"/>
                      <a:pt x="45035" y="34389"/>
                      <a:pt x="43899" y="31758"/>
                    </a:cubicBezTo>
                    <a:close/>
                    <a:moveTo>
                      <a:pt x="26554" y="63934"/>
                    </a:moveTo>
                    <a:cubicBezTo>
                      <a:pt x="34210" y="59508"/>
                      <a:pt x="41686" y="55441"/>
                      <a:pt x="48863" y="50896"/>
                    </a:cubicBezTo>
                    <a:cubicBezTo>
                      <a:pt x="49820" y="50298"/>
                      <a:pt x="50178" y="47128"/>
                      <a:pt x="49580" y="45633"/>
                    </a:cubicBezTo>
                    <a:cubicBezTo>
                      <a:pt x="48982" y="44018"/>
                      <a:pt x="46709" y="41626"/>
                      <a:pt x="45573" y="41805"/>
                    </a:cubicBezTo>
                    <a:cubicBezTo>
                      <a:pt x="36961" y="42882"/>
                      <a:pt x="28408" y="44556"/>
                      <a:pt x="19258" y="46111"/>
                    </a:cubicBezTo>
                    <a:cubicBezTo>
                      <a:pt x="21830" y="52272"/>
                      <a:pt x="24043" y="57834"/>
                      <a:pt x="26554" y="6393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27" name="Vrije vorm: vorm 9326">
                <a:extLst>
                  <a:ext uri="{FF2B5EF4-FFF2-40B4-BE49-F238E27FC236}">
                    <a16:creationId xmlns:a16="http://schemas.microsoft.com/office/drawing/2014/main" id="{1D338B2A-2EDF-4B9A-8B45-03EDD1C764E5}"/>
                  </a:ext>
                </a:extLst>
              </p:cNvPr>
              <p:cNvSpPr/>
              <p:nvPr/>
            </p:nvSpPr>
            <p:spPr>
              <a:xfrm>
                <a:off x="4949904" y="1855978"/>
                <a:ext cx="77031" cy="90488"/>
              </a:xfrm>
              <a:custGeom>
                <a:avLst/>
                <a:gdLst>
                  <a:gd name="connsiteX0" fmla="*/ 51075 w 77031"/>
                  <a:gd name="connsiteY0" fmla="*/ 0 h 90488"/>
                  <a:gd name="connsiteX1" fmla="*/ 77032 w 77031"/>
                  <a:gd name="connsiteY1" fmla="*/ 63814 h 90488"/>
                  <a:gd name="connsiteX2" fmla="*/ 26435 w 77031"/>
                  <a:gd name="connsiteY2" fmla="*/ 90488 h 90488"/>
                  <a:gd name="connsiteX3" fmla="*/ 0 w 77031"/>
                  <a:gd name="connsiteY3" fmla="*/ 25418 h 90488"/>
                  <a:gd name="connsiteX4" fmla="*/ 51075 w 77031"/>
                  <a:gd name="connsiteY4" fmla="*/ 0 h 90488"/>
                  <a:gd name="connsiteX5" fmla="*/ 27332 w 77031"/>
                  <a:gd name="connsiteY5" fmla="*/ 87976 h 90488"/>
                  <a:gd name="connsiteX6" fmla="*/ 29306 w 77031"/>
                  <a:gd name="connsiteY6" fmla="*/ 87558 h 90488"/>
                  <a:gd name="connsiteX7" fmla="*/ 72307 w 77031"/>
                  <a:gd name="connsiteY7" fmla="*/ 65011 h 90488"/>
                  <a:gd name="connsiteX8" fmla="*/ 73563 w 77031"/>
                  <a:gd name="connsiteY8" fmla="*/ 58731 h 90488"/>
                  <a:gd name="connsiteX9" fmla="*/ 60824 w 77031"/>
                  <a:gd name="connsiteY9" fmla="*/ 27751 h 90488"/>
                  <a:gd name="connsiteX10" fmla="*/ 50298 w 77031"/>
                  <a:gd name="connsiteY10" fmla="*/ 1914 h 90488"/>
                  <a:gd name="connsiteX11" fmla="*/ 2093 w 77031"/>
                  <a:gd name="connsiteY11" fmla="*/ 25956 h 90488"/>
                  <a:gd name="connsiteX12" fmla="*/ 27332 w 77031"/>
                  <a:gd name="connsiteY12" fmla="*/ 87976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031" h="90488">
                    <a:moveTo>
                      <a:pt x="51075" y="0"/>
                    </a:moveTo>
                    <a:cubicBezTo>
                      <a:pt x="59747" y="21351"/>
                      <a:pt x="68360" y="42523"/>
                      <a:pt x="77032" y="63814"/>
                    </a:cubicBezTo>
                    <a:cubicBezTo>
                      <a:pt x="60405" y="72606"/>
                      <a:pt x="43599" y="81457"/>
                      <a:pt x="26435" y="90488"/>
                    </a:cubicBezTo>
                    <a:cubicBezTo>
                      <a:pt x="17703" y="69077"/>
                      <a:pt x="8911" y="47367"/>
                      <a:pt x="0" y="25418"/>
                    </a:cubicBezTo>
                    <a:cubicBezTo>
                      <a:pt x="16746" y="17105"/>
                      <a:pt x="33731" y="8672"/>
                      <a:pt x="51075" y="0"/>
                    </a:cubicBezTo>
                    <a:close/>
                    <a:moveTo>
                      <a:pt x="27332" y="87976"/>
                    </a:moveTo>
                    <a:cubicBezTo>
                      <a:pt x="28289" y="87797"/>
                      <a:pt x="28827" y="87797"/>
                      <a:pt x="29306" y="87558"/>
                    </a:cubicBezTo>
                    <a:cubicBezTo>
                      <a:pt x="43659" y="80022"/>
                      <a:pt x="57893" y="72367"/>
                      <a:pt x="72307" y="65011"/>
                    </a:cubicBezTo>
                    <a:cubicBezTo>
                      <a:pt x="75417" y="63396"/>
                      <a:pt x="74699" y="61362"/>
                      <a:pt x="73563" y="58731"/>
                    </a:cubicBezTo>
                    <a:cubicBezTo>
                      <a:pt x="69257" y="48444"/>
                      <a:pt x="65070" y="38097"/>
                      <a:pt x="60824" y="27751"/>
                    </a:cubicBezTo>
                    <a:cubicBezTo>
                      <a:pt x="57355" y="19318"/>
                      <a:pt x="53946" y="10945"/>
                      <a:pt x="50298" y="1914"/>
                    </a:cubicBezTo>
                    <a:cubicBezTo>
                      <a:pt x="33791" y="10167"/>
                      <a:pt x="17942" y="18062"/>
                      <a:pt x="2093" y="25956"/>
                    </a:cubicBezTo>
                    <a:cubicBezTo>
                      <a:pt x="10765" y="47128"/>
                      <a:pt x="19019" y="67522"/>
                      <a:pt x="27332" y="8797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28" name="Vrije vorm: vorm 9327">
                <a:extLst>
                  <a:ext uri="{FF2B5EF4-FFF2-40B4-BE49-F238E27FC236}">
                    <a16:creationId xmlns:a16="http://schemas.microsoft.com/office/drawing/2014/main" id="{F1C4F0EF-9B25-4951-B015-DD0F9A6F04C5}"/>
                  </a:ext>
                </a:extLst>
              </p:cNvPr>
              <p:cNvSpPr/>
              <p:nvPr/>
            </p:nvSpPr>
            <p:spPr>
              <a:xfrm>
                <a:off x="5125498" y="1662023"/>
                <a:ext cx="75835" cy="89172"/>
              </a:xfrm>
              <a:custGeom>
                <a:avLst/>
                <a:gdLst>
                  <a:gd name="connsiteX0" fmla="*/ 28050 w 75835"/>
                  <a:gd name="connsiteY0" fmla="*/ 87259 h 89172"/>
                  <a:gd name="connsiteX1" fmla="*/ 74161 w 75835"/>
                  <a:gd name="connsiteY1" fmla="*/ 64771 h 89172"/>
                  <a:gd name="connsiteX2" fmla="*/ 49879 w 75835"/>
                  <a:gd name="connsiteY2" fmla="*/ 5084 h 89172"/>
                  <a:gd name="connsiteX3" fmla="*/ 51076 w 75835"/>
                  <a:gd name="connsiteY3" fmla="*/ 4605 h 89172"/>
                  <a:gd name="connsiteX4" fmla="*/ 75836 w 75835"/>
                  <a:gd name="connsiteY4" fmla="*/ 65489 h 89172"/>
                  <a:gd name="connsiteX5" fmla="*/ 27153 w 75835"/>
                  <a:gd name="connsiteY5" fmla="*/ 89173 h 89172"/>
                  <a:gd name="connsiteX6" fmla="*/ 0 w 75835"/>
                  <a:gd name="connsiteY6" fmla="*/ 22368 h 89172"/>
                  <a:gd name="connsiteX7" fmla="*/ 48922 w 75835"/>
                  <a:gd name="connsiteY7" fmla="*/ 0 h 89172"/>
                  <a:gd name="connsiteX8" fmla="*/ 49401 w 75835"/>
                  <a:gd name="connsiteY8" fmla="*/ 957 h 89172"/>
                  <a:gd name="connsiteX9" fmla="*/ 43360 w 75835"/>
                  <a:gd name="connsiteY9" fmla="*/ 4127 h 89172"/>
                  <a:gd name="connsiteX10" fmla="*/ 6997 w 75835"/>
                  <a:gd name="connsiteY10" fmla="*/ 20454 h 89172"/>
                  <a:gd name="connsiteX11" fmla="*/ 3888 w 75835"/>
                  <a:gd name="connsiteY11" fmla="*/ 28767 h 89172"/>
                  <a:gd name="connsiteX12" fmla="*/ 25538 w 75835"/>
                  <a:gd name="connsiteY12" fmla="*/ 81816 h 89172"/>
                  <a:gd name="connsiteX13" fmla="*/ 28050 w 75835"/>
                  <a:gd name="connsiteY13" fmla="*/ 87259 h 8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835" h="89172">
                    <a:moveTo>
                      <a:pt x="28050" y="87259"/>
                    </a:moveTo>
                    <a:cubicBezTo>
                      <a:pt x="43360" y="79783"/>
                      <a:pt x="58372" y="72486"/>
                      <a:pt x="74161" y="64771"/>
                    </a:cubicBezTo>
                    <a:cubicBezTo>
                      <a:pt x="65968" y="44556"/>
                      <a:pt x="57893" y="24820"/>
                      <a:pt x="49879" y="5084"/>
                    </a:cubicBezTo>
                    <a:cubicBezTo>
                      <a:pt x="50298" y="4904"/>
                      <a:pt x="50657" y="4785"/>
                      <a:pt x="51076" y="4605"/>
                    </a:cubicBezTo>
                    <a:cubicBezTo>
                      <a:pt x="59329" y="24940"/>
                      <a:pt x="67642" y="45274"/>
                      <a:pt x="75836" y="65489"/>
                    </a:cubicBezTo>
                    <a:cubicBezTo>
                      <a:pt x="59747" y="73324"/>
                      <a:pt x="43600" y="81158"/>
                      <a:pt x="27153" y="89173"/>
                    </a:cubicBezTo>
                    <a:cubicBezTo>
                      <a:pt x="18182" y="67163"/>
                      <a:pt x="9091" y="44736"/>
                      <a:pt x="0" y="22368"/>
                    </a:cubicBezTo>
                    <a:cubicBezTo>
                      <a:pt x="16328" y="14892"/>
                      <a:pt x="32595" y="7476"/>
                      <a:pt x="48922" y="0"/>
                    </a:cubicBezTo>
                    <a:cubicBezTo>
                      <a:pt x="49102" y="299"/>
                      <a:pt x="49222" y="658"/>
                      <a:pt x="49401" y="957"/>
                    </a:cubicBezTo>
                    <a:cubicBezTo>
                      <a:pt x="47367" y="2033"/>
                      <a:pt x="45394" y="3170"/>
                      <a:pt x="43360" y="4127"/>
                    </a:cubicBezTo>
                    <a:cubicBezTo>
                      <a:pt x="31279" y="9629"/>
                      <a:pt x="19198" y="15251"/>
                      <a:pt x="6997" y="20454"/>
                    </a:cubicBezTo>
                    <a:cubicBezTo>
                      <a:pt x="2990" y="22129"/>
                      <a:pt x="1854" y="23923"/>
                      <a:pt x="3888" y="28767"/>
                    </a:cubicBezTo>
                    <a:cubicBezTo>
                      <a:pt x="11304" y="46351"/>
                      <a:pt x="18301" y="64113"/>
                      <a:pt x="25538" y="81816"/>
                    </a:cubicBezTo>
                    <a:cubicBezTo>
                      <a:pt x="26076" y="83491"/>
                      <a:pt x="26973" y="85046"/>
                      <a:pt x="28050" y="8725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29" name="Vrije vorm: vorm 9328">
                <a:extLst>
                  <a:ext uri="{FF2B5EF4-FFF2-40B4-BE49-F238E27FC236}">
                    <a16:creationId xmlns:a16="http://schemas.microsoft.com/office/drawing/2014/main" id="{CF9ABA0F-AFA9-4EA0-91D4-03F0473F2499}"/>
                  </a:ext>
                </a:extLst>
              </p:cNvPr>
              <p:cNvSpPr/>
              <p:nvPr/>
            </p:nvSpPr>
            <p:spPr>
              <a:xfrm>
                <a:off x="5455096" y="1911029"/>
                <a:ext cx="71649" cy="45125"/>
              </a:xfrm>
              <a:custGeom>
                <a:avLst/>
                <a:gdLst>
                  <a:gd name="connsiteX0" fmla="*/ 0 w 71649"/>
                  <a:gd name="connsiteY0" fmla="*/ 43152 h 45125"/>
                  <a:gd name="connsiteX1" fmla="*/ 15371 w 71649"/>
                  <a:gd name="connsiteY1" fmla="*/ 32028 h 45125"/>
                  <a:gd name="connsiteX2" fmla="*/ 63874 w 71649"/>
                  <a:gd name="connsiteY2" fmla="*/ 1347 h 45125"/>
                  <a:gd name="connsiteX3" fmla="*/ 71649 w 71649"/>
                  <a:gd name="connsiteY3" fmla="*/ 150 h 45125"/>
                  <a:gd name="connsiteX4" fmla="*/ 42523 w 71649"/>
                  <a:gd name="connsiteY4" fmla="*/ 18930 h 45125"/>
                  <a:gd name="connsiteX5" fmla="*/ 42942 w 71649"/>
                  <a:gd name="connsiteY5" fmla="*/ 19947 h 45125"/>
                  <a:gd name="connsiteX6" fmla="*/ 67463 w 71649"/>
                  <a:gd name="connsiteY6" fmla="*/ 19349 h 45125"/>
                  <a:gd name="connsiteX7" fmla="*/ 67702 w 71649"/>
                  <a:gd name="connsiteY7" fmla="*/ 21920 h 45125"/>
                  <a:gd name="connsiteX8" fmla="*/ 56279 w 71649"/>
                  <a:gd name="connsiteY8" fmla="*/ 22459 h 45125"/>
                  <a:gd name="connsiteX9" fmla="*/ 15909 w 71649"/>
                  <a:gd name="connsiteY9" fmla="*/ 35676 h 45125"/>
                  <a:gd name="connsiteX10" fmla="*/ 1256 w 71649"/>
                  <a:gd name="connsiteY10" fmla="*/ 45125 h 45125"/>
                  <a:gd name="connsiteX11" fmla="*/ 0 w 71649"/>
                  <a:gd name="connsiteY11" fmla="*/ 43152 h 4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649" h="45125">
                    <a:moveTo>
                      <a:pt x="0" y="43152"/>
                    </a:moveTo>
                    <a:cubicBezTo>
                      <a:pt x="5144" y="39444"/>
                      <a:pt x="10107" y="35437"/>
                      <a:pt x="15371" y="32028"/>
                    </a:cubicBezTo>
                    <a:cubicBezTo>
                      <a:pt x="31459" y="21681"/>
                      <a:pt x="47607" y="11454"/>
                      <a:pt x="63874" y="1347"/>
                    </a:cubicBezTo>
                    <a:cubicBezTo>
                      <a:pt x="66027" y="31"/>
                      <a:pt x="68778" y="-208"/>
                      <a:pt x="71649" y="150"/>
                    </a:cubicBezTo>
                    <a:cubicBezTo>
                      <a:pt x="61961" y="6430"/>
                      <a:pt x="52212" y="12650"/>
                      <a:pt x="42523" y="18930"/>
                    </a:cubicBezTo>
                    <a:cubicBezTo>
                      <a:pt x="42643" y="19289"/>
                      <a:pt x="42822" y="19588"/>
                      <a:pt x="42942" y="19947"/>
                    </a:cubicBezTo>
                    <a:cubicBezTo>
                      <a:pt x="51135" y="19767"/>
                      <a:pt x="59269" y="19528"/>
                      <a:pt x="67463" y="19349"/>
                    </a:cubicBezTo>
                    <a:cubicBezTo>
                      <a:pt x="67523" y="20186"/>
                      <a:pt x="67642" y="21083"/>
                      <a:pt x="67702" y="21920"/>
                    </a:cubicBezTo>
                    <a:cubicBezTo>
                      <a:pt x="63874" y="22159"/>
                      <a:pt x="60047" y="22877"/>
                      <a:pt x="56279" y="22459"/>
                    </a:cubicBezTo>
                    <a:cubicBezTo>
                      <a:pt x="40729" y="20844"/>
                      <a:pt x="27811" y="26585"/>
                      <a:pt x="15909" y="35676"/>
                    </a:cubicBezTo>
                    <a:cubicBezTo>
                      <a:pt x="11304" y="39205"/>
                      <a:pt x="6160" y="42015"/>
                      <a:pt x="1256" y="45125"/>
                    </a:cubicBezTo>
                    <a:cubicBezTo>
                      <a:pt x="837" y="44527"/>
                      <a:pt x="419" y="43810"/>
                      <a:pt x="0" y="4315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30" name="Vrije vorm: vorm 9329">
                <a:extLst>
                  <a:ext uri="{FF2B5EF4-FFF2-40B4-BE49-F238E27FC236}">
                    <a16:creationId xmlns:a16="http://schemas.microsoft.com/office/drawing/2014/main" id="{81E1FBCF-F9A7-4DAE-9493-D24A1F49EF3D}"/>
                  </a:ext>
                </a:extLst>
              </p:cNvPr>
              <p:cNvSpPr/>
              <p:nvPr/>
            </p:nvSpPr>
            <p:spPr>
              <a:xfrm>
                <a:off x="5305219" y="1988690"/>
                <a:ext cx="84627" cy="55022"/>
              </a:xfrm>
              <a:custGeom>
                <a:avLst/>
                <a:gdLst>
                  <a:gd name="connsiteX0" fmla="*/ 84627 w 84627"/>
                  <a:gd name="connsiteY0" fmla="*/ 1435 h 55022"/>
                  <a:gd name="connsiteX1" fmla="*/ 81817 w 84627"/>
                  <a:gd name="connsiteY1" fmla="*/ 5024 h 55022"/>
                  <a:gd name="connsiteX2" fmla="*/ 54724 w 84627"/>
                  <a:gd name="connsiteY2" fmla="*/ 22428 h 55022"/>
                  <a:gd name="connsiteX3" fmla="*/ 50418 w 84627"/>
                  <a:gd name="connsiteY3" fmla="*/ 25358 h 55022"/>
                  <a:gd name="connsiteX4" fmla="*/ 54305 w 84627"/>
                  <a:gd name="connsiteY4" fmla="*/ 28528 h 55022"/>
                  <a:gd name="connsiteX5" fmla="*/ 53408 w 84627"/>
                  <a:gd name="connsiteY5" fmla="*/ 29545 h 55022"/>
                  <a:gd name="connsiteX6" fmla="*/ 23385 w 84627"/>
                  <a:gd name="connsiteY6" fmla="*/ 42344 h 55022"/>
                  <a:gd name="connsiteX7" fmla="*/ 1136 w 84627"/>
                  <a:gd name="connsiteY7" fmla="*/ 55023 h 55022"/>
                  <a:gd name="connsiteX8" fmla="*/ 0 w 84627"/>
                  <a:gd name="connsiteY8" fmla="*/ 52989 h 55022"/>
                  <a:gd name="connsiteX9" fmla="*/ 83491 w 84627"/>
                  <a:gd name="connsiteY9" fmla="*/ 0 h 55022"/>
                  <a:gd name="connsiteX10" fmla="*/ 84627 w 84627"/>
                  <a:gd name="connsiteY10" fmla="*/ 1435 h 55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7" h="55022">
                    <a:moveTo>
                      <a:pt x="84627" y="1435"/>
                    </a:moveTo>
                    <a:cubicBezTo>
                      <a:pt x="83671" y="2632"/>
                      <a:pt x="83012" y="4246"/>
                      <a:pt x="81817" y="5024"/>
                    </a:cubicBezTo>
                    <a:cubicBezTo>
                      <a:pt x="72846" y="10945"/>
                      <a:pt x="63755" y="16626"/>
                      <a:pt x="54724" y="22428"/>
                    </a:cubicBezTo>
                    <a:cubicBezTo>
                      <a:pt x="53348" y="23325"/>
                      <a:pt x="52032" y="24282"/>
                      <a:pt x="50418" y="25358"/>
                    </a:cubicBezTo>
                    <a:cubicBezTo>
                      <a:pt x="51853" y="26554"/>
                      <a:pt x="53049" y="27511"/>
                      <a:pt x="54305" y="28528"/>
                    </a:cubicBezTo>
                    <a:cubicBezTo>
                      <a:pt x="53886" y="29066"/>
                      <a:pt x="53647" y="29545"/>
                      <a:pt x="53408" y="29545"/>
                    </a:cubicBezTo>
                    <a:cubicBezTo>
                      <a:pt x="40848" y="27810"/>
                      <a:pt x="32954" y="37021"/>
                      <a:pt x="23385" y="42344"/>
                    </a:cubicBezTo>
                    <a:cubicBezTo>
                      <a:pt x="15909" y="46470"/>
                      <a:pt x="8553" y="50776"/>
                      <a:pt x="1136" y="55023"/>
                    </a:cubicBezTo>
                    <a:cubicBezTo>
                      <a:pt x="778" y="54365"/>
                      <a:pt x="359" y="53647"/>
                      <a:pt x="0" y="52989"/>
                    </a:cubicBezTo>
                    <a:cubicBezTo>
                      <a:pt x="27811" y="35346"/>
                      <a:pt x="55621" y="17703"/>
                      <a:pt x="83491" y="0"/>
                    </a:cubicBezTo>
                    <a:cubicBezTo>
                      <a:pt x="83790" y="538"/>
                      <a:pt x="84209" y="1017"/>
                      <a:pt x="84627" y="143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31" name="Vrije vorm: vorm 9330">
                <a:extLst>
                  <a:ext uri="{FF2B5EF4-FFF2-40B4-BE49-F238E27FC236}">
                    <a16:creationId xmlns:a16="http://schemas.microsoft.com/office/drawing/2014/main" id="{F39E15E7-A1F1-4B7D-9D0F-79BBA41BE2EE}"/>
                  </a:ext>
                </a:extLst>
              </p:cNvPr>
              <p:cNvSpPr/>
              <p:nvPr/>
            </p:nvSpPr>
            <p:spPr>
              <a:xfrm>
                <a:off x="4851079" y="1114308"/>
                <a:ext cx="54029" cy="94734"/>
              </a:xfrm>
              <a:custGeom>
                <a:avLst/>
                <a:gdLst>
                  <a:gd name="connsiteX0" fmla="*/ 2356 w 54029"/>
                  <a:gd name="connsiteY0" fmla="*/ 26196 h 94734"/>
                  <a:gd name="connsiteX1" fmla="*/ 6303 w 54029"/>
                  <a:gd name="connsiteY1" fmla="*/ 39772 h 94734"/>
                  <a:gd name="connsiteX2" fmla="*/ 26219 w 54029"/>
                  <a:gd name="connsiteY2" fmla="*/ 50956 h 94734"/>
                  <a:gd name="connsiteX3" fmla="*/ 41649 w 54029"/>
                  <a:gd name="connsiteY3" fmla="*/ 48504 h 94734"/>
                  <a:gd name="connsiteX4" fmla="*/ 13002 w 54029"/>
                  <a:gd name="connsiteY4" fmla="*/ 55740 h 94734"/>
                  <a:gd name="connsiteX5" fmla="*/ 21734 w 54029"/>
                  <a:gd name="connsiteY5" fmla="*/ 77211 h 94734"/>
                  <a:gd name="connsiteX6" fmla="*/ 49903 w 54029"/>
                  <a:gd name="connsiteY6" fmla="*/ 70872 h 94734"/>
                  <a:gd name="connsiteX7" fmla="*/ 51398 w 54029"/>
                  <a:gd name="connsiteY7" fmla="*/ 66625 h 94734"/>
                  <a:gd name="connsiteX8" fmla="*/ 25860 w 54029"/>
                  <a:gd name="connsiteY8" fmla="*/ 3469 h 94734"/>
                  <a:gd name="connsiteX9" fmla="*/ 21494 w 54029"/>
                  <a:gd name="connsiteY9" fmla="*/ 7356 h 94734"/>
                  <a:gd name="connsiteX10" fmla="*/ 25621 w 54029"/>
                  <a:gd name="connsiteY10" fmla="*/ 0 h 94734"/>
                  <a:gd name="connsiteX11" fmla="*/ 54030 w 54029"/>
                  <a:gd name="connsiteY11" fmla="*/ 69855 h 94734"/>
                  <a:gd name="connsiteX12" fmla="*/ 26937 w 54029"/>
                  <a:gd name="connsiteY12" fmla="*/ 94735 h 94734"/>
                  <a:gd name="connsiteX13" fmla="*/ 741 w 54029"/>
                  <a:gd name="connsiteY13" fmla="*/ 30621 h 94734"/>
                  <a:gd name="connsiteX14" fmla="*/ 2356 w 54029"/>
                  <a:gd name="connsiteY14" fmla="*/ 26196 h 94734"/>
                  <a:gd name="connsiteX15" fmla="*/ 47989 w 54029"/>
                  <a:gd name="connsiteY15" fmla="*/ 73503 h 94734"/>
                  <a:gd name="connsiteX16" fmla="*/ 47391 w 54029"/>
                  <a:gd name="connsiteY16" fmla="*/ 72486 h 94734"/>
                  <a:gd name="connsiteX17" fmla="*/ 22451 w 54029"/>
                  <a:gd name="connsiteY17" fmla="*/ 78766 h 94734"/>
                  <a:gd name="connsiteX18" fmla="*/ 27834 w 54029"/>
                  <a:gd name="connsiteY18" fmla="*/ 92043 h 94734"/>
                  <a:gd name="connsiteX19" fmla="*/ 47989 w 54029"/>
                  <a:gd name="connsiteY19" fmla="*/ 73503 h 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029" h="94734">
                    <a:moveTo>
                      <a:pt x="2356" y="26196"/>
                    </a:moveTo>
                    <a:cubicBezTo>
                      <a:pt x="3672" y="30741"/>
                      <a:pt x="4569" y="35406"/>
                      <a:pt x="6303" y="39772"/>
                    </a:cubicBezTo>
                    <a:cubicBezTo>
                      <a:pt x="12165" y="54664"/>
                      <a:pt x="12284" y="54604"/>
                      <a:pt x="26219" y="50956"/>
                    </a:cubicBezTo>
                    <a:cubicBezTo>
                      <a:pt x="31243" y="49640"/>
                      <a:pt x="36326" y="48623"/>
                      <a:pt x="41649" y="48504"/>
                    </a:cubicBezTo>
                    <a:cubicBezTo>
                      <a:pt x="32260" y="50896"/>
                      <a:pt x="22810" y="53228"/>
                      <a:pt x="13002" y="55740"/>
                    </a:cubicBezTo>
                    <a:cubicBezTo>
                      <a:pt x="16052" y="63276"/>
                      <a:pt x="18863" y="70094"/>
                      <a:pt x="21734" y="77211"/>
                    </a:cubicBezTo>
                    <a:cubicBezTo>
                      <a:pt x="31243" y="75118"/>
                      <a:pt x="40633" y="73204"/>
                      <a:pt x="49903" y="70872"/>
                    </a:cubicBezTo>
                    <a:cubicBezTo>
                      <a:pt x="50800" y="70632"/>
                      <a:pt x="51877" y="67762"/>
                      <a:pt x="51398" y="66625"/>
                    </a:cubicBezTo>
                    <a:cubicBezTo>
                      <a:pt x="43085" y="45693"/>
                      <a:pt x="34592" y="24880"/>
                      <a:pt x="25860" y="3469"/>
                    </a:cubicBezTo>
                    <a:cubicBezTo>
                      <a:pt x="24186" y="4964"/>
                      <a:pt x="22810" y="6160"/>
                      <a:pt x="21494" y="7356"/>
                    </a:cubicBezTo>
                    <a:cubicBezTo>
                      <a:pt x="22750" y="5143"/>
                      <a:pt x="23946" y="2931"/>
                      <a:pt x="25621" y="0"/>
                    </a:cubicBezTo>
                    <a:cubicBezTo>
                      <a:pt x="35310" y="23803"/>
                      <a:pt x="44640" y="46709"/>
                      <a:pt x="54030" y="69855"/>
                    </a:cubicBezTo>
                    <a:cubicBezTo>
                      <a:pt x="45178" y="77989"/>
                      <a:pt x="36087" y="86362"/>
                      <a:pt x="26937" y="94735"/>
                    </a:cubicBezTo>
                    <a:cubicBezTo>
                      <a:pt x="18205" y="73324"/>
                      <a:pt x="9653" y="51913"/>
                      <a:pt x="741" y="30621"/>
                    </a:cubicBezTo>
                    <a:cubicBezTo>
                      <a:pt x="-455" y="27571"/>
                      <a:pt x="-395" y="26614"/>
                      <a:pt x="2356" y="26196"/>
                    </a:cubicBezTo>
                    <a:close/>
                    <a:moveTo>
                      <a:pt x="47989" y="73503"/>
                    </a:moveTo>
                    <a:cubicBezTo>
                      <a:pt x="47809" y="73144"/>
                      <a:pt x="47570" y="72785"/>
                      <a:pt x="47391" y="72486"/>
                    </a:cubicBezTo>
                    <a:cubicBezTo>
                      <a:pt x="39197" y="74520"/>
                      <a:pt x="31004" y="76613"/>
                      <a:pt x="22451" y="78766"/>
                    </a:cubicBezTo>
                    <a:cubicBezTo>
                      <a:pt x="24245" y="83192"/>
                      <a:pt x="25920" y="87259"/>
                      <a:pt x="27834" y="92043"/>
                    </a:cubicBezTo>
                    <a:cubicBezTo>
                      <a:pt x="34712" y="85704"/>
                      <a:pt x="41350" y="79603"/>
                      <a:pt x="47989" y="7350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32" name="Vrije vorm: vorm 9331">
                <a:extLst>
                  <a:ext uri="{FF2B5EF4-FFF2-40B4-BE49-F238E27FC236}">
                    <a16:creationId xmlns:a16="http://schemas.microsoft.com/office/drawing/2014/main" id="{9D0AB447-9C96-4ED1-88D8-B194023A378F}"/>
                  </a:ext>
                </a:extLst>
              </p:cNvPr>
              <p:cNvSpPr/>
              <p:nvPr/>
            </p:nvSpPr>
            <p:spPr>
              <a:xfrm>
                <a:off x="4850026" y="1230334"/>
                <a:ext cx="52092" cy="85285"/>
              </a:xfrm>
              <a:custGeom>
                <a:avLst/>
                <a:gdLst>
                  <a:gd name="connsiteX0" fmla="*/ 5682 w 52092"/>
                  <a:gd name="connsiteY0" fmla="*/ 16985 h 85285"/>
                  <a:gd name="connsiteX1" fmla="*/ 23564 w 52092"/>
                  <a:gd name="connsiteY1" fmla="*/ 0 h 85285"/>
                  <a:gd name="connsiteX2" fmla="*/ 23624 w 52092"/>
                  <a:gd name="connsiteY2" fmla="*/ 1854 h 85285"/>
                  <a:gd name="connsiteX3" fmla="*/ 21112 w 52092"/>
                  <a:gd name="connsiteY3" fmla="*/ 15969 h 85285"/>
                  <a:gd name="connsiteX4" fmla="*/ 26076 w 52092"/>
                  <a:gd name="connsiteY4" fmla="*/ 27930 h 85285"/>
                  <a:gd name="connsiteX5" fmla="*/ 6698 w 52092"/>
                  <a:gd name="connsiteY5" fmla="*/ 33313 h 85285"/>
                  <a:gd name="connsiteX6" fmla="*/ 13277 w 52092"/>
                  <a:gd name="connsiteY6" fmla="*/ 49461 h 85285"/>
                  <a:gd name="connsiteX7" fmla="*/ 30801 w 52092"/>
                  <a:gd name="connsiteY7" fmla="*/ 44556 h 85285"/>
                  <a:gd name="connsiteX8" fmla="*/ 41446 w 52092"/>
                  <a:gd name="connsiteY8" fmla="*/ 70752 h 85285"/>
                  <a:gd name="connsiteX9" fmla="*/ 46590 w 52092"/>
                  <a:gd name="connsiteY9" fmla="*/ 54066 h 85285"/>
                  <a:gd name="connsiteX10" fmla="*/ 27212 w 52092"/>
                  <a:gd name="connsiteY10" fmla="*/ 3529 h 85285"/>
                  <a:gd name="connsiteX11" fmla="*/ 52092 w 52092"/>
                  <a:gd name="connsiteY11" fmla="*/ 64711 h 85285"/>
                  <a:gd name="connsiteX12" fmla="*/ 26196 w 52092"/>
                  <a:gd name="connsiteY12" fmla="*/ 85285 h 85285"/>
                  <a:gd name="connsiteX13" fmla="*/ 0 w 52092"/>
                  <a:gd name="connsiteY13" fmla="*/ 20873 h 85285"/>
                  <a:gd name="connsiteX14" fmla="*/ 5742 w 52092"/>
                  <a:gd name="connsiteY14" fmla="*/ 16866 h 85285"/>
                  <a:gd name="connsiteX15" fmla="*/ 6519 w 52092"/>
                  <a:gd name="connsiteY15" fmla="*/ 31817 h 85285"/>
                  <a:gd name="connsiteX16" fmla="*/ 23744 w 52092"/>
                  <a:gd name="connsiteY16" fmla="*/ 27152 h 85285"/>
                  <a:gd name="connsiteX17" fmla="*/ 16387 w 52092"/>
                  <a:gd name="connsiteY17" fmla="*/ 9091 h 85285"/>
                  <a:gd name="connsiteX18" fmla="*/ 5682 w 52092"/>
                  <a:gd name="connsiteY18" fmla="*/ 16985 h 85285"/>
                  <a:gd name="connsiteX19" fmla="*/ 13875 w 52092"/>
                  <a:gd name="connsiteY19" fmla="*/ 50956 h 85285"/>
                  <a:gd name="connsiteX20" fmla="*/ 26794 w 52092"/>
                  <a:gd name="connsiteY20" fmla="*/ 82654 h 85285"/>
                  <a:gd name="connsiteX21" fmla="*/ 31937 w 52092"/>
                  <a:gd name="connsiteY21" fmla="*/ 78946 h 85285"/>
                  <a:gd name="connsiteX22" fmla="*/ 35884 w 52092"/>
                  <a:gd name="connsiteY22" fmla="*/ 60824 h 85285"/>
                  <a:gd name="connsiteX23" fmla="*/ 16447 w 52092"/>
                  <a:gd name="connsiteY23" fmla="*/ 49879 h 85285"/>
                  <a:gd name="connsiteX24" fmla="*/ 13875 w 52092"/>
                  <a:gd name="connsiteY24" fmla="*/ 50956 h 8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2092" h="85285">
                    <a:moveTo>
                      <a:pt x="5682" y="16985"/>
                    </a:moveTo>
                    <a:cubicBezTo>
                      <a:pt x="11483" y="11483"/>
                      <a:pt x="17225" y="5981"/>
                      <a:pt x="23564" y="0"/>
                    </a:cubicBezTo>
                    <a:cubicBezTo>
                      <a:pt x="23624" y="1316"/>
                      <a:pt x="23744" y="1794"/>
                      <a:pt x="23624" y="1854"/>
                    </a:cubicBezTo>
                    <a:cubicBezTo>
                      <a:pt x="17763" y="5143"/>
                      <a:pt x="17822" y="9868"/>
                      <a:pt x="21112" y="15969"/>
                    </a:cubicBezTo>
                    <a:cubicBezTo>
                      <a:pt x="23145" y="19677"/>
                      <a:pt x="24401" y="23803"/>
                      <a:pt x="26076" y="27930"/>
                    </a:cubicBezTo>
                    <a:cubicBezTo>
                      <a:pt x="19796" y="29664"/>
                      <a:pt x="13457" y="31459"/>
                      <a:pt x="6698" y="33313"/>
                    </a:cubicBezTo>
                    <a:cubicBezTo>
                      <a:pt x="8971" y="38875"/>
                      <a:pt x="11005" y="43839"/>
                      <a:pt x="13277" y="49461"/>
                    </a:cubicBezTo>
                    <a:cubicBezTo>
                      <a:pt x="19079" y="47846"/>
                      <a:pt x="24760" y="46231"/>
                      <a:pt x="30801" y="44556"/>
                    </a:cubicBezTo>
                    <a:cubicBezTo>
                      <a:pt x="34329" y="53228"/>
                      <a:pt x="37918" y="61960"/>
                      <a:pt x="41446" y="70752"/>
                    </a:cubicBezTo>
                    <a:cubicBezTo>
                      <a:pt x="51016" y="64951"/>
                      <a:pt x="51016" y="64891"/>
                      <a:pt x="46590" y="54066"/>
                    </a:cubicBezTo>
                    <a:cubicBezTo>
                      <a:pt x="39772" y="37380"/>
                      <a:pt x="33014" y="20633"/>
                      <a:pt x="27212" y="3529"/>
                    </a:cubicBezTo>
                    <a:cubicBezTo>
                      <a:pt x="35466" y="23863"/>
                      <a:pt x="43779" y="44198"/>
                      <a:pt x="52092" y="64711"/>
                    </a:cubicBezTo>
                    <a:cubicBezTo>
                      <a:pt x="43839" y="71290"/>
                      <a:pt x="35167" y="78168"/>
                      <a:pt x="26196" y="85285"/>
                    </a:cubicBezTo>
                    <a:cubicBezTo>
                      <a:pt x="17583" y="64054"/>
                      <a:pt x="8911" y="42762"/>
                      <a:pt x="0" y="20873"/>
                    </a:cubicBezTo>
                    <a:cubicBezTo>
                      <a:pt x="1675" y="19677"/>
                      <a:pt x="3708" y="18241"/>
                      <a:pt x="5742" y="16866"/>
                    </a:cubicBezTo>
                    <a:cubicBezTo>
                      <a:pt x="1196" y="21471"/>
                      <a:pt x="1854" y="26315"/>
                      <a:pt x="6519" y="31817"/>
                    </a:cubicBezTo>
                    <a:cubicBezTo>
                      <a:pt x="12021" y="30322"/>
                      <a:pt x="17763" y="28767"/>
                      <a:pt x="23744" y="27152"/>
                    </a:cubicBezTo>
                    <a:cubicBezTo>
                      <a:pt x="21172" y="20813"/>
                      <a:pt x="18780" y="15012"/>
                      <a:pt x="16387" y="9091"/>
                    </a:cubicBezTo>
                    <a:cubicBezTo>
                      <a:pt x="12560" y="11902"/>
                      <a:pt x="9091" y="14414"/>
                      <a:pt x="5682" y="16985"/>
                    </a:cubicBezTo>
                    <a:close/>
                    <a:moveTo>
                      <a:pt x="13875" y="50956"/>
                    </a:moveTo>
                    <a:cubicBezTo>
                      <a:pt x="18241" y="61721"/>
                      <a:pt x="22368" y="71888"/>
                      <a:pt x="26794" y="82654"/>
                    </a:cubicBezTo>
                    <a:cubicBezTo>
                      <a:pt x="28767" y="81218"/>
                      <a:pt x="30442" y="80261"/>
                      <a:pt x="31937" y="78946"/>
                    </a:cubicBezTo>
                    <a:cubicBezTo>
                      <a:pt x="42045" y="70273"/>
                      <a:pt x="41566" y="74879"/>
                      <a:pt x="35884" y="60824"/>
                    </a:cubicBezTo>
                    <a:cubicBezTo>
                      <a:pt x="30083" y="46291"/>
                      <a:pt x="29904" y="46351"/>
                      <a:pt x="16447" y="49879"/>
                    </a:cubicBezTo>
                    <a:cubicBezTo>
                      <a:pt x="15729" y="50118"/>
                      <a:pt x="15072" y="50477"/>
                      <a:pt x="13875" y="5095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33" name="Vrije vorm: vorm 9332">
                <a:extLst>
                  <a:ext uri="{FF2B5EF4-FFF2-40B4-BE49-F238E27FC236}">
                    <a16:creationId xmlns:a16="http://schemas.microsoft.com/office/drawing/2014/main" id="{C023C92E-56AD-4C9C-B095-BC1AFE30D586}"/>
                  </a:ext>
                </a:extLst>
              </p:cNvPr>
              <p:cNvSpPr/>
              <p:nvPr/>
            </p:nvSpPr>
            <p:spPr>
              <a:xfrm>
                <a:off x="5460359" y="1508498"/>
                <a:ext cx="53647" cy="64950"/>
              </a:xfrm>
              <a:custGeom>
                <a:avLst/>
                <a:gdLst>
                  <a:gd name="connsiteX0" fmla="*/ 53647 w 53647"/>
                  <a:gd name="connsiteY0" fmla="*/ 49102 h 64950"/>
                  <a:gd name="connsiteX1" fmla="*/ 20873 w 53647"/>
                  <a:gd name="connsiteY1" fmla="*/ 64951 h 64950"/>
                  <a:gd name="connsiteX2" fmla="*/ 0 w 53647"/>
                  <a:gd name="connsiteY2" fmla="*/ 13696 h 64950"/>
                  <a:gd name="connsiteX3" fmla="*/ 33671 w 53647"/>
                  <a:gd name="connsiteY3" fmla="*/ 0 h 64950"/>
                  <a:gd name="connsiteX4" fmla="*/ 53647 w 53647"/>
                  <a:gd name="connsiteY4" fmla="*/ 49102 h 64950"/>
                  <a:gd name="connsiteX5" fmla="*/ 50477 w 53647"/>
                  <a:gd name="connsiteY5" fmla="*/ 45932 h 64950"/>
                  <a:gd name="connsiteX6" fmla="*/ 32775 w 53647"/>
                  <a:gd name="connsiteY6" fmla="*/ 2392 h 64950"/>
                  <a:gd name="connsiteX7" fmla="*/ 3768 w 53647"/>
                  <a:gd name="connsiteY7" fmla="*/ 14174 h 64950"/>
                  <a:gd name="connsiteX8" fmla="*/ 20335 w 53647"/>
                  <a:gd name="connsiteY8" fmla="*/ 54903 h 64950"/>
                  <a:gd name="connsiteX9" fmla="*/ 50477 w 53647"/>
                  <a:gd name="connsiteY9" fmla="*/ 45932 h 64950"/>
                  <a:gd name="connsiteX10" fmla="*/ 50777 w 53647"/>
                  <a:gd name="connsiteY10" fmla="*/ 48982 h 64950"/>
                  <a:gd name="connsiteX11" fmla="*/ 50178 w 53647"/>
                  <a:gd name="connsiteY11" fmla="*/ 47547 h 64950"/>
                  <a:gd name="connsiteX12" fmla="*/ 22189 w 53647"/>
                  <a:gd name="connsiteY12" fmla="*/ 55860 h 64950"/>
                  <a:gd name="connsiteX13" fmla="*/ 21950 w 53647"/>
                  <a:gd name="connsiteY13" fmla="*/ 62738 h 64950"/>
                  <a:gd name="connsiteX14" fmla="*/ 50777 w 53647"/>
                  <a:gd name="connsiteY14" fmla="*/ 48982 h 6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647" h="64950">
                    <a:moveTo>
                      <a:pt x="53647" y="49102"/>
                    </a:moveTo>
                    <a:cubicBezTo>
                      <a:pt x="42164" y="54604"/>
                      <a:pt x="31459" y="59807"/>
                      <a:pt x="20873" y="64951"/>
                    </a:cubicBezTo>
                    <a:cubicBezTo>
                      <a:pt x="14055" y="48205"/>
                      <a:pt x="7237" y="31399"/>
                      <a:pt x="0" y="13696"/>
                    </a:cubicBezTo>
                    <a:cubicBezTo>
                      <a:pt x="11423" y="9031"/>
                      <a:pt x="22488" y="4545"/>
                      <a:pt x="33671" y="0"/>
                    </a:cubicBezTo>
                    <a:cubicBezTo>
                      <a:pt x="40191" y="15909"/>
                      <a:pt x="46949" y="32595"/>
                      <a:pt x="53647" y="49102"/>
                    </a:cubicBezTo>
                    <a:close/>
                    <a:moveTo>
                      <a:pt x="50477" y="45932"/>
                    </a:moveTo>
                    <a:cubicBezTo>
                      <a:pt x="44257" y="30621"/>
                      <a:pt x="38337" y="16148"/>
                      <a:pt x="32775" y="2392"/>
                    </a:cubicBezTo>
                    <a:cubicBezTo>
                      <a:pt x="22667" y="6519"/>
                      <a:pt x="13038" y="10406"/>
                      <a:pt x="3768" y="14174"/>
                    </a:cubicBezTo>
                    <a:cubicBezTo>
                      <a:pt x="9510" y="28229"/>
                      <a:pt x="14832" y="41327"/>
                      <a:pt x="20335" y="54903"/>
                    </a:cubicBezTo>
                    <a:cubicBezTo>
                      <a:pt x="30502" y="51853"/>
                      <a:pt x="40310" y="48922"/>
                      <a:pt x="50477" y="45932"/>
                    </a:cubicBezTo>
                    <a:close/>
                    <a:moveTo>
                      <a:pt x="50777" y="48982"/>
                    </a:moveTo>
                    <a:cubicBezTo>
                      <a:pt x="50597" y="48504"/>
                      <a:pt x="50358" y="48025"/>
                      <a:pt x="50178" y="47547"/>
                    </a:cubicBezTo>
                    <a:cubicBezTo>
                      <a:pt x="40848" y="50298"/>
                      <a:pt x="31399" y="52810"/>
                      <a:pt x="22189" y="55860"/>
                    </a:cubicBezTo>
                    <a:cubicBezTo>
                      <a:pt x="19198" y="56817"/>
                      <a:pt x="19138" y="59628"/>
                      <a:pt x="21950" y="62738"/>
                    </a:cubicBezTo>
                    <a:cubicBezTo>
                      <a:pt x="31519" y="58192"/>
                      <a:pt x="41147" y="53587"/>
                      <a:pt x="50777" y="4898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34" name="Vrije vorm: vorm 9333">
                <a:extLst>
                  <a:ext uri="{FF2B5EF4-FFF2-40B4-BE49-F238E27FC236}">
                    <a16:creationId xmlns:a16="http://schemas.microsoft.com/office/drawing/2014/main" id="{16C182C8-5064-4EF5-8654-FDCE715A6764}"/>
                  </a:ext>
                </a:extLst>
              </p:cNvPr>
              <p:cNvSpPr/>
              <p:nvPr/>
            </p:nvSpPr>
            <p:spPr>
              <a:xfrm>
                <a:off x="5062043" y="1504431"/>
                <a:ext cx="77510" cy="87318"/>
              </a:xfrm>
              <a:custGeom>
                <a:avLst/>
                <a:gdLst>
                  <a:gd name="connsiteX0" fmla="*/ 50298 w 77510"/>
                  <a:gd name="connsiteY0" fmla="*/ 0 h 87318"/>
                  <a:gd name="connsiteX1" fmla="*/ 77510 w 77510"/>
                  <a:gd name="connsiteY1" fmla="*/ 66865 h 87318"/>
                  <a:gd name="connsiteX2" fmla="*/ 27212 w 77510"/>
                  <a:gd name="connsiteY2" fmla="*/ 87319 h 87318"/>
                  <a:gd name="connsiteX3" fmla="*/ 0 w 77510"/>
                  <a:gd name="connsiteY3" fmla="*/ 20454 h 87318"/>
                  <a:gd name="connsiteX4" fmla="*/ 50298 w 77510"/>
                  <a:gd name="connsiteY4" fmla="*/ 0 h 87318"/>
                  <a:gd name="connsiteX5" fmla="*/ 75417 w 77510"/>
                  <a:gd name="connsiteY5" fmla="*/ 65967 h 87318"/>
                  <a:gd name="connsiteX6" fmla="*/ 49461 w 77510"/>
                  <a:gd name="connsiteY6" fmla="*/ 2093 h 87318"/>
                  <a:gd name="connsiteX7" fmla="*/ 2273 w 77510"/>
                  <a:gd name="connsiteY7" fmla="*/ 21291 h 87318"/>
                  <a:gd name="connsiteX8" fmla="*/ 28229 w 77510"/>
                  <a:gd name="connsiteY8" fmla="*/ 85166 h 87318"/>
                  <a:gd name="connsiteX9" fmla="*/ 75417 w 77510"/>
                  <a:gd name="connsiteY9" fmla="*/ 65967 h 8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510" h="87318">
                    <a:moveTo>
                      <a:pt x="50298" y="0"/>
                    </a:moveTo>
                    <a:cubicBezTo>
                      <a:pt x="59508" y="22547"/>
                      <a:pt x="68479" y="44676"/>
                      <a:pt x="77510" y="66865"/>
                    </a:cubicBezTo>
                    <a:cubicBezTo>
                      <a:pt x="60585" y="73742"/>
                      <a:pt x="43958" y="80501"/>
                      <a:pt x="27212" y="87319"/>
                    </a:cubicBezTo>
                    <a:cubicBezTo>
                      <a:pt x="18181" y="65130"/>
                      <a:pt x="9091" y="42822"/>
                      <a:pt x="0" y="20454"/>
                    </a:cubicBezTo>
                    <a:cubicBezTo>
                      <a:pt x="16567" y="13696"/>
                      <a:pt x="33313" y="6878"/>
                      <a:pt x="50298" y="0"/>
                    </a:cubicBezTo>
                    <a:close/>
                    <a:moveTo>
                      <a:pt x="75417" y="65967"/>
                    </a:moveTo>
                    <a:cubicBezTo>
                      <a:pt x="66565" y="44257"/>
                      <a:pt x="58132" y="23504"/>
                      <a:pt x="49461" y="2093"/>
                    </a:cubicBezTo>
                    <a:cubicBezTo>
                      <a:pt x="33552" y="8552"/>
                      <a:pt x="18002" y="14892"/>
                      <a:pt x="2273" y="21291"/>
                    </a:cubicBezTo>
                    <a:cubicBezTo>
                      <a:pt x="11005" y="42702"/>
                      <a:pt x="19557" y="63874"/>
                      <a:pt x="28229" y="85166"/>
                    </a:cubicBezTo>
                    <a:cubicBezTo>
                      <a:pt x="43958" y="78766"/>
                      <a:pt x="59448" y="72486"/>
                      <a:pt x="75417" y="6596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35" name="Vrije vorm: vorm 9334">
                <a:extLst>
                  <a:ext uri="{FF2B5EF4-FFF2-40B4-BE49-F238E27FC236}">
                    <a16:creationId xmlns:a16="http://schemas.microsoft.com/office/drawing/2014/main" id="{5F227BC8-B98C-4FC5-BC99-2C33BBC70592}"/>
                  </a:ext>
                </a:extLst>
              </p:cNvPr>
              <p:cNvSpPr/>
              <p:nvPr/>
            </p:nvSpPr>
            <p:spPr>
              <a:xfrm>
                <a:off x="5015931" y="2009921"/>
                <a:ext cx="75476" cy="92701"/>
              </a:xfrm>
              <a:custGeom>
                <a:avLst/>
                <a:gdLst>
                  <a:gd name="connsiteX0" fmla="*/ 26255 w 75476"/>
                  <a:gd name="connsiteY0" fmla="*/ 92701 h 92701"/>
                  <a:gd name="connsiteX1" fmla="*/ 0 w 75476"/>
                  <a:gd name="connsiteY1" fmla="*/ 28229 h 92701"/>
                  <a:gd name="connsiteX2" fmla="*/ 49700 w 75476"/>
                  <a:gd name="connsiteY2" fmla="*/ 0 h 92701"/>
                  <a:gd name="connsiteX3" fmla="*/ 75477 w 75476"/>
                  <a:gd name="connsiteY3" fmla="*/ 63396 h 92701"/>
                  <a:gd name="connsiteX4" fmla="*/ 26255 w 75476"/>
                  <a:gd name="connsiteY4" fmla="*/ 92701 h 92701"/>
                  <a:gd name="connsiteX5" fmla="*/ 48863 w 75476"/>
                  <a:gd name="connsiteY5" fmla="*/ 2033 h 92701"/>
                  <a:gd name="connsiteX6" fmla="*/ 2213 w 75476"/>
                  <a:gd name="connsiteY6" fmla="*/ 28528 h 92701"/>
                  <a:gd name="connsiteX7" fmla="*/ 27392 w 75476"/>
                  <a:gd name="connsiteY7" fmla="*/ 90428 h 92701"/>
                  <a:gd name="connsiteX8" fmla="*/ 73563 w 75476"/>
                  <a:gd name="connsiteY8" fmla="*/ 62798 h 92701"/>
                  <a:gd name="connsiteX9" fmla="*/ 48863 w 75476"/>
                  <a:gd name="connsiteY9" fmla="*/ 2033 h 92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476" h="92701">
                    <a:moveTo>
                      <a:pt x="26255" y="92701"/>
                    </a:moveTo>
                    <a:cubicBezTo>
                      <a:pt x="17464" y="71111"/>
                      <a:pt x="8792" y="49700"/>
                      <a:pt x="0" y="28229"/>
                    </a:cubicBezTo>
                    <a:cubicBezTo>
                      <a:pt x="16268" y="18959"/>
                      <a:pt x="32834" y="9569"/>
                      <a:pt x="49700" y="0"/>
                    </a:cubicBezTo>
                    <a:cubicBezTo>
                      <a:pt x="58252" y="21052"/>
                      <a:pt x="66864" y="42284"/>
                      <a:pt x="75477" y="63396"/>
                    </a:cubicBezTo>
                    <a:cubicBezTo>
                      <a:pt x="59209" y="73084"/>
                      <a:pt x="42882" y="82773"/>
                      <a:pt x="26255" y="92701"/>
                    </a:cubicBezTo>
                    <a:close/>
                    <a:moveTo>
                      <a:pt x="48863" y="2033"/>
                    </a:moveTo>
                    <a:cubicBezTo>
                      <a:pt x="32834" y="11124"/>
                      <a:pt x="17404" y="19916"/>
                      <a:pt x="2213" y="28528"/>
                    </a:cubicBezTo>
                    <a:cubicBezTo>
                      <a:pt x="10766" y="49520"/>
                      <a:pt x="19019" y="69855"/>
                      <a:pt x="27392" y="90428"/>
                    </a:cubicBezTo>
                    <a:cubicBezTo>
                      <a:pt x="43181" y="80979"/>
                      <a:pt x="58432" y="71888"/>
                      <a:pt x="73563" y="62798"/>
                    </a:cubicBezTo>
                    <a:cubicBezTo>
                      <a:pt x="65250" y="42284"/>
                      <a:pt x="57236" y="22607"/>
                      <a:pt x="48863" y="203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36" name="Vrije vorm: vorm 9335">
                <a:extLst>
                  <a:ext uri="{FF2B5EF4-FFF2-40B4-BE49-F238E27FC236}">
                    <a16:creationId xmlns:a16="http://schemas.microsoft.com/office/drawing/2014/main" id="{2FB46AC9-4F68-40F6-A460-FE9487E2EAD3}"/>
                  </a:ext>
                </a:extLst>
              </p:cNvPr>
              <p:cNvSpPr/>
              <p:nvPr/>
            </p:nvSpPr>
            <p:spPr>
              <a:xfrm>
                <a:off x="5394571" y="1463882"/>
                <a:ext cx="55441" cy="65249"/>
              </a:xfrm>
              <a:custGeom>
                <a:avLst/>
                <a:gdLst>
                  <a:gd name="connsiteX0" fmla="*/ 20813 w 55441"/>
                  <a:gd name="connsiteY0" fmla="*/ 65250 h 65249"/>
                  <a:gd name="connsiteX1" fmla="*/ 0 w 55441"/>
                  <a:gd name="connsiteY1" fmla="*/ 14055 h 65249"/>
                  <a:gd name="connsiteX2" fmla="*/ 34629 w 55441"/>
                  <a:gd name="connsiteY2" fmla="*/ 0 h 65249"/>
                  <a:gd name="connsiteX3" fmla="*/ 55441 w 55441"/>
                  <a:gd name="connsiteY3" fmla="*/ 51195 h 65249"/>
                  <a:gd name="connsiteX4" fmla="*/ 20813 w 55441"/>
                  <a:gd name="connsiteY4" fmla="*/ 65250 h 65249"/>
                  <a:gd name="connsiteX5" fmla="*/ 2153 w 55441"/>
                  <a:gd name="connsiteY5" fmla="*/ 15012 h 65249"/>
                  <a:gd name="connsiteX6" fmla="*/ 21531 w 55441"/>
                  <a:gd name="connsiteY6" fmla="*/ 62678 h 65249"/>
                  <a:gd name="connsiteX7" fmla="*/ 50537 w 55441"/>
                  <a:gd name="connsiteY7" fmla="*/ 50776 h 65249"/>
                  <a:gd name="connsiteX8" fmla="*/ 52092 w 55441"/>
                  <a:gd name="connsiteY8" fmla="*/ 47906 h 65249"/>
                  <a:gd name="connsiteX9" fmla="*/ 48803 w 55441"/>
                  <a:gd name="connsiteY9" fmla="*/ 47367 h 65249"/>
                  <a:gd name="connsiteX10" fmla="*/ 28827 w 55441"/>
                  <a:gd name="connsiteY10" fmla="*/ 53826 h 65249"/>
                  <a:gd name="connsiteX11" fmla="*/ 12859 w 55441"/>
                  <a:gd name="connsiteY11" fmla="*/ 14593 h 65249"/>
                  <a:gd name="connsiteX12" fmla="*/ 13935 w 55441"/>
                  <a:gd name="connsiteY12" fmla="*/ 14174 h 65249"/>
                  <a:gd name="connsiteX13" fmla="*/ 29425 w 55441"/>
                  <a:gd name="connsiteY13" fmla="*/ 52331 h 65249"/>
                  <a:gd name="connsiteX14" fmla="*/ 51135 w 55441"/>
                  <a:gd name="connsiteY14" fmla="*/ 44855 h 65249"/>
                  <a:gd name="connsiteX15" fmla="*/ 33791 w 55441"/>
                  <a:gd name="connsiteY15" fmla="*/ 2213 h 65249"/>
                  <a:gd name="connsiteX16" fmla="*/ 2153 w 55441"/>
                  <a:gd name="connsiteY16" fmla="*/ 15012 h 6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441" h="65249">
                    <a:moveTo>
                      <a:pt x="20813" y="65250"/>
                    </a:moveTo>
                    <a:cubicBezTo>
                      <a:pt x="14115" y="48743"/>
                      <a:pt x="7177" y="31698"/>
                      <a:pt x="0" y="14055"/>
                    </a:cubicBezTo>
                    <a:cubicBezTo>
                      <a:pt x="11543" y="9330"/>
                      <a:pt x="23205" y="4605"/>
                      <a:pt x="34629" y="0"/>
                    </a:cubicBezTo>
                    <a:cubicBezTo>
                      <a:pt x="41387" y="16626"/>
                      <a:pt x="48205" y="33432"/>
                      <a:pt x="55441" y="51195"/>
                    </a:cubicBezTo>
                    <a:cubicBezTo>
                      <a:pt x="43899" y="55860"/>
                      <a:pt x="32416" y="60525"/>
                      <a:pt x="20813" y="65250"/>
                    </a:cubicBezTo>
                    <a:close/>
                    <a:moveTo>
                      <a:pt x="2153" y="15012"/>
                    </a:moveTo>
                    <a:cubicBezTo>
                      <a:pt x="8912" y="31638"/>
                      <a:pt x="15371" y="47487"/>
                      <a:pt x="21531" y="62678"/>
                    </a:cubicBezTo>
                    <a:cubicBezTo>
                      <a:pt x="31459" y="58611"/>
                      <a:pt x="41028" y="54783"/>
                      <a:pt x="50537" y="50776"/>
                    </a:cubicBezTo>
                    <a:cubicBezTo>
                      <a:pt x="51315" y="50417"/>
                      <a:pt x="51614" y="48862"/>
                      <a:pt x="52092" y="47906"/>
                    </a:cubicBezTo>
                    <a:cubicBezTo>
                      <a:pt x="50956" y="47726"/>
                      <a:pt x="49760" y="47068"/>
                      <a:pt x="48803" y="47367"/>
                    </a:cubicBezTo>
                    <a:cubicBezTo>
                      <a:pt x="41925" y="49461"/>
                      <a:pt x="35107" y="51793"/>
                      <a:pt x="28827" y="53826"/>
                    </a:cubicBezTo>
                    <a:cubicBezTo>
                      <a:pt x="23445" y="40609"/>
                      <a:pt x="18182" y="27571"/>
                      <a:pt x="12859" y="14593"/>
                    </a:cubicBezTo>
                    <a:cubicBezTo>
                      <a:pt x="13218" y="14473"/>
                      <a:pt x="13576" y="14294"/>
                      <a:pt x="13935" y="14174"/>
                    </a:cubicBezTo>
                    <a:cubicBezTo>
                      <a:pt x="19079" y="26734"/>
                      <a:pt x="24162" y="39353"/>
                      <a:pt x="29425" y="52331"/>
                    </a:cubicBezTo>
                    <a:cubicBezTo>
                      <a:pt x="36782" y="49819"/>
                      <a:pt x="43719" y="47427"/>
                      <a:pt x="51135" y="44855"/>
                    </a:cubicBezTo>
                    <a:cubicBezTo>
                      <a:pt x="45214" y="30262"/>
                      <a:pt x="39533" y="16268"/>
                      <a:pt x="33791" y="2213"/>
                    </a:cubicBezTo>
                    <a:cubicBezTo>
                      <a:pt x="23265" y="6459"/>
                      <a:pt x="13038" y="10586"/>
                      <a:pt x="2153" y="1501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37" name="Vrije vorm: vorm 9336">
                <a:extLst>
                  <a:ext uri="{FF2B5EF4-FFF2-40B4-BE49-F238E27FC236}">
                    <a16:creationId xmlns:a16="http://schemas.microsoft.com/office/drawing/2014/main" id="{3E1D1F09-5B98-45A3-8AC1-DC663AFCE2A4}"/>
                  </a:ext>
                </a:extLst>
              </p:cNvPr>
              <p:cNvSpPr/>
              <p:nvPr/>
            </p:nvSpPr>
            <p:spPr>
              <a:xfrm>
                <a:off x="4792671" y="1184163"/>
                <a:ext cx="49101" cy="80859"/>
              </a:xfrm>
              <a:custGeom>
                <a:avLst/>
                <a:gdLst>
                  <a:gd name="connsiteX0" fmla="*/ 25478 w 49101"/>
                  <a:gd name="connsiteY0" fmla="*/ 80859 h 80859"/>
                  <a:gd name="connsiteX1" fmla="*/ 0 w 49101"/>
                  <a:gd name="connsiteY1" fmla="*/ 18241 h 80859"/>
                  <a:gd name="connsiteX2" fmla="*/ 3110 w 49101"/>
                  <a:gd name="connsiteY2" fmla="*/ 15789 h 80859"/>
                  <a:gd name="connsiteX3" fmla="*/ 4067 w 49101"/>
                  <a:gd name="connsiteY3" fmla="*/ 24043 h 80859"/>
                  <a:gd name="connsiteX4" fmla="*/ 23624 w 49101"/>
                  <a:gd name="connsiteY4" fmla="*/ 72008 h 80859"/>
                  <a:gd name="connsiteX5" fmla="*/ 25896 w 49101"/>
                  <a:gd name="connsiteY5" fmla="*/ 77510 h 80859"/>
                  <a:gd name="connsiteX6" fmla="*/ 27810 w 49101"/>
                  <a:gd name="connsiteY6" fmla="*/ 77391 h 80859"/>
                  <a:gd name="connsiteX7" fmla="*/ 27691 w 49101"/>
                  <a:gd name="connsiteY7" fmla="*/ 72367 h 80859"/>
                  <a:gd name="connsiteX8" fmla="*/ 9031 w 49101"/>
                  <a:gd name="connsiteY8" fmla="*/ 26315 h 80859"/>
                  <a:gd name="connsiteX9" fmla="*/ 30143 w 49101"/>
                  <a:gd name="connsiteY9" fmla="*/ 21112 h 80859"/>
                  <a:gd name="connsiteX10" fmla="*/ 30442 w 49101"/>
                  <a:gd name="connsiteY10" fmla="*/ 22129 h 80859"/>
                  <a:gd name="connsiteX11" fmla="*/ 11004 w 49101"/>
                  <a:gd name="connsiteY11" fmla="*/ 27452 h 80859"/>
                  <a:gd name="connsiteX12" fmla="*/ 30203 w 49101"/>
                  <a:gd name="connsiteY12" fmla="*/ 74639 h 80859"/>
                  <a:gd name="connsiteX13" fmla="*/ 45812 w 49101"/>
                  <a:gd name="connsiteY13" fmla="*/ 59987 h 80859"/>
                  <a:gd name="connsiteX14" fmla="*/ 45812 w 49101"/>
                  <a:gd name="connsiteY14" fmla="*/ 53826 h 80859"/>
                  <a:gd name="connsiteX15" fmla="*/ 26554 w 49101"/>
                  <a:gd name="connsiteY15" fmla="*/ 6399 h 80859"/>
                  <a:gd name="connsiteX16" fmla="*/ 25059 w 49101"/>
                  <a:gd name="connsiteY16" fmla="*/ 0 h 80859"/>
                  <a:gd name="connsiteX17" fmla="*/ 49101 w 49101"/>
                  <a:gd name="connsiteY17" fmla="*/ 59149 h 80859"/>
                  <a:gd name="connsiteX18" fmla="*/ 25478 w 49101"/>
                  <a:gd name="connsiteY18" fmla="*/ 80859 h 80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101" h="80859">
                    <a:moveTo>
                      <a:pt x="25478" y="80859"/>
                    </a:moveTo>
                    <a:cubicBezTo>
                      <a:pt x="16985" y="59987"/>
                      <a:pt x="8552" y="39174"/>
                      <a:pt x="0" y="18241"/>
                    </a:cubicBezTo>
                    <a:cubicBezTo>
                      <a:pt x="1316" y="17225"/>
                      <a:pt x="2691" y="16088"/>
                      <a:pt x="3110" y="15789"/>
                    </a:cubicBezTo>
                    <a:cubicBezTo>
                      <a:pt x="3409" y="18361"/>
                      <a:pt x="3050" y="21471"/>
                      <a:pt x="4067" y="24043"/>
                    </a:cubicBezTo>
                    <a:cubicBezTo>
                      <a:pt x="10406" y="40071"/>
                      <a:pt x="17045" y="56039"/>
                      <a:pt x="23624" y="72008"/>
                    </a:cubicBezTo>
                    <a:cubicBezTo>
                      <a:pt x="24401" y="73862"/>
                      <a:pt x="25119" y="75656"/>
                      <a:pt x="25896" y="77510"/>
                    </a:cubicBezTo>
                    <a:cubicBezTo>
                      <a:pt x="26554" y="77450"/>
                      <a:pt x="27152" y="77450"/>
                      <a:pt x="27810" y="77391"/>
                    </a:cubicBezTo>
                    <a:cubicBezTo>
                      <a:pt x="27810" y="75716"/>
                      <a:pt x="28229" y="73802"/>
                      <a:pt x="27691" y="72367"/>
                    </a:cubicBezTo>
                    <a:cubicBezTo>
                      <a:pt x="21650" y="57116"/>
                      <a:pt x="15370" y="41925"/>
                      <a:pt x="9031" y="26315"/>
                    </a:cubicBezTo>
                    <a:cubicBezTo>
                      <a:pt x="15968" y="24581"/>
                      <a:pt x="23026" y="22846"/>
                      <a:pt x="30143" y="21112"/>
                    </a:cubicBezTo>
                    <a:cubicBezTo>
                      <a:pt x="30262" y="21471"/>
                      <a:pt x="30382" y="21830"/>
                      <a:pt x="30442" y="22129"/>
                    </a:cubicBezTo>
                    <a:cubicBezTo>
                      <a:pt x="24042" y="23863"/>
                      <a:pt x="17703" y="25597"/>
                      <a:pt x="11004" y="27452"/>
                    </a:cubicBezTo>
                    <a:cubicBezTo>
                      <a:pt x="17464" y="43300"/>
                      <a:pt x="23683" y="58611"/>
                      <a:pt x="30203" y="74639"/>
                    </a:cubicBezTo>
                    <a:cubicBezTo>
                      <a:pt x="35765" y="69556"/>
                      <a:pt x="41028" y="65070"/>
                      <a:pt x="45812" y="59987"/>
                    </a:cubicBezTo>
                    <a:cubicBezTo>
                      <a:pt x="46769" y="58970"/>
                      <a:pt x="46530" y="55681"/>
                      <a:pt x="45812" y="53826"/>
                    </a:cubicBezTo>
                    <a:cubicBezTo>
                      <a:pt x="39532" y="37978"/>
                      <a:pt x="33013" y="22188"/>
                      <a:pt x="26554" y="6399"/>
                    </a:cubicBezTo>
                    <a:cubicBezTo>
                      <a:pt x="25717" y="4426"/>
                      <a:pt x="24940" y="2392"/>
                      <a:pt x="25059" y="0"/>
                    </a:cubicBezTo>
                    <a:cubicBezTo>
                      <a:pt x="33073" y="19677"/>
                      <a:pt x="41088" y="39353"/>
                      <a:pt x="49101" y="59149"/>
                    </a:cubicBezTo>
                    <a:cubicBezTo>
                      <a:pt x="41386" y="66266"/>
                      <a:pt x="33492" y="73503"/>
                      <a:pt x="25478" y="8085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38" name="Vrije vorm: vorm 9337">
                <a:extLst>
                  <a:ext uri="{FF2B5EF4-FFF2-40B4-BE49-F238E27FC236}">
                    <a16:creationId xmlns:a16="http://schemas.microsoft.com/office/drawing/2014/main" id="{BFF3677E-EB38-49E7-9CD9-F77296F5D35D}"/>
                  </a:ext>
                </a:extLst>
              </p:cNvPr>
              <p:cNvSpPr/>
              <p:nvPr/>
            </p:nvSpPr>
            <p:spPr>
              <a:xfrm>
                <a:off x="4820182" y="1147501"/>
                <a:ext cx="51792" cy="90368"/>
              </a:xfrm>
              <a:custGeom>
                <a:avLst/>
                <a:gdLst>
                  <a:gd name="connsiteX0" fmla="*/ 5801 w 51792"/>
                  <a:gd name="connsiteY0" fmla="*/ 21232 h 90368"/>
                  <a:gd name="connsiteX1" fmla="*/ 4366 w 51792"/>
                  <a:gd name="connsiteY1" fmla="*/ 23504 h 90368"/>
                  <a:gd name="connsiteX2" fmla="*/ 2871 w 51792"/>
                  <a:gd name="connsiteY2" fmla="*/ 28947 h 90368"/>
                  <a:gd name="connsiteX3" fmla="*/ 7775 w 51792"/>
                  <a:gd name="connsiteY3" fmla="*/ 29664 h 90368"/>
                  <a:gd name="connsiteX4" fmla="*/ 32356 w 51792"/>
                  <a:gd name="connsiteY4" fmla="*/ 23743 h 90368"/>
                  <a:gd name="connsiteX5" fmla="*/ 24162 w 51792"/>
                  <a:gd name="connsiteY5" fmla="*/ 3648 h 90368"/>
                  <a:gd name="connsiteX6" fmla="*/ 18301 w 51792"/>
                  <a:gd name="connsiteY6" fmla="*/ 9091 h 90368"/>
                  <a:gd name="connsiteX7" fmla="*/ 24461 w 51792"/>
                  <a:gd name="connsiteY7" fmla="*/ 0 h 90368"/>
                  <a:gd name="connsiteX8" fmla="*/ 51793 w 51792"/>
                  <a:gd name="connsiteY8" fmla="*/ 67223 h 90368"/>
                  <a:gd name="connsiteX9" fmla="*/ 26435 w 51792"/>
                  <a:gd name="connsiteY9" fmla="*/ 90369 h 90368"/>
                  <a:gd name="connsiteX10" fmla="*/ 0 w 51792"/>
                  <a:gd name="connsiteY10" fmla="*/ 25418 h 90368"/>
                  <a:gd name="connsiteX11" fmla="*/ 5801 w 51792"/>
                  <a:gd name="connsiteY11" fmla="*/ 21232 h 90368"/>
                  <a:gd name="connsiteX12" fmla="*/ 4486 w 51792"/>
                  <a:gd name="connsiteY12" fmla="*/ 31997 h 90368"/>
                  <a:gd name="connsiteX13" fmla="*/ 13815 w 51792"/>
                  <a:gd name="connsiteY13" fmla="*/ 54843 h 90368"/>
                  <a:gd name="connsiteX14" fmla="*/ 31638 w 51792"/>
                  <a:gd name="connsiteY14" fmla="*/ 50298 h 90368"/>
                  <a:gd name="connsiteX15" fmla="*/ 41207 w 51792"/>
                  <a:gd name="connsiteY15" fmla="*/ 73862 h 90368"/>
                  <a:gd name="connsiteX16" fmla="*/ 46709 w 51792"/>
                  <a:gd name="connsiteY16" fmla="*/ 58073 h 90368"/>
                  <a:gd name="connsiteX17" fmla="*/ 40250 w 51792"/>
                  <a:gd name="connsiteY17" fmla="*/ 42284 h 90368"/>
                  <a:gd name="connsiteX18" fmla="*/ 33193 w 51792"/>
                  <a:gd name="connsiteY18" fmla="*/ 24999 h 90368"/>
                  <a:gd name="connsiteX19" fmla="*/ 4486 w 51792"/>
                  <a:gd name="connsiteY19" fmla="*/ 31997 h 90368"/>
                  <a:gd name="connsiteX20" fmla="*/ 14354 w 51792"/>
                  <a:gd name="connsiteY20" fmla="*/ 56099 h 90368"/>
                  <a:gd name="connsiteX21" fmla="*/ 27212 w 51792"/>
                  <a:gd name="connsiteY21" fmla="*/ 87677 h 90368"/>
                  <a:gd name="connsiteX22" fmla="*/ 37619 w 51792"/>
                  <a:gd name="connsiteY22" fmla="*/ 78048 h 90368"/>
                  <a:gd name="connsiteX23" fmla="*/ 38875 w 51792"/>
                  <a:gd name="connsiteY23" fmla="*/ 73144 h 90368"/>
                  <a:gd name="connsiteX24" fmla="*/ 30502 w 51792"/>
                  <a:gd name="connsiteY24" fmla="*/ 52152 h 90368"/>
                  <a:gd name="connsiteX25" fmla="*/ 14354 w 51792"/>
                  <a:gd name="connsiteY25" fmla="*/ 56099 h 90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1792" h="90368">
                    <a:moveTo>
                      <a:pt x="5801" y="21232"/>
                    </a:moveTo>
                    <a:cubicBezTo>
                      <a:pt x="5323" y="22009"/>
                      <a:pt x="4665" y="22667"/>
                      <a:pt x="4366" y="23504"/>
                    </a:cubicBezTo>
                    <a:cubicBezTo>
                      <a:pt x="3768" y="25298"/>
                      <a:pt x="3349" y="27152"/>
                      <a:pt x="2871" y="28947"/>
                    </a:cubicBezTo>
                    <a:cubicBezTo>
                      <a:pt x="4486" y="29246"/>
                      <a:pt x="6280" y="30023"/>
                      <a:pt x="7775" y="29664"/>
                    </a:cubicBezTo>
                    <a:cubicBezTo>
                      <a:pt x="15909" y="27870"/>
                      <a:pt x="23983" y="25777"/>
                      <a:pt x="32356" y="23743"/>
                    </a:cubicBezTo>
                    <a:cubicBezTo>
                      <a:pt x="29605" y="16925"/>
                      <a:pt x="26973" y="10526"/>
                      <a:pt x="24162" y="3648"/>
                    </a:cubicBezTo>
                    <a:cubicBezTo>
                      <a:pt x="22009" y="5622"/>
                      <a:pt x="20155" y="7356"/>
                      <a:pt x="18301" y="9091"/>
                    </a:cubicBezTo>
                    <a:cubicBezTo>
                      <a:pt x="20215" y="6280"/>
                      <a:pt x="22129" y="3409"/>
                      <a:pt x="24461" y="0"/>
                    </a:cubicBezTo>
                    <a:cubicBezTo>
                      <a:pt x="33791" y="22906"/>
                      <a:pt x="42822" y="45095"/>
                      <a:pt x="51793" y="67223"/>
                    </a:cubicBezTo>
                    <a:cubicBezTo>
                      <a:pt x="43420" y="74879"/>
                      <a:pt x="35107" y="82474"/>
                      <a:pt x="26435" y="90369"/>
                    </a:cubicBezTo>
                    <a:cubicBezTo>
                      <a:pt x="17703" y="68958"/>
                      <a:pt x="8971" y="47487"/>
                      <a:pt x="0" y="25418"/>
                    </a:cubicBezTo>
                    <a:cubicBezTo>
                      <a:pt x="1794" y="24102"/>
                      <a:pt x="3768" y="22667"/>
                      <a:pt x="5801" y="21232"/>
                    </a:cubicBezTo>
                    <a:close/>
                    <a:moveTo>
                      <a:pt x="4486" y="31997"/>
                    </a:moveTo>
                    <a:cubicBezTo>
                      <a:pt x="7835" y="40190"/>
                      <a:pt x="10765" y="47427"/>
                      <a:pt x="13815" y="54843"/>
                    </a:cubicBezTo>
                    <a:cubicBezTo>
                      <a:pt x="19916" y="53288"/>
                      <a:pt x="25657" y="51793"/>
                      <a:pt x="31638" y="50298"/>
                    </a:cubicBezTo>
                    <a:cubicBezTo>
                      <a:pt x="34868" y="58192"/>
                      <a:pt x="38037" y="66027"/>
                      <a:pt x="41207" y="73862"/>
                    </a:cubicBezTo>
                    <a:cubicBezTo>
                      <a:pt x="50417" y="68718"/>
                      <a:pt x="50716" y="67941"/>
                      <a:pt x="46709" y="58073"/>
                    </a:cubicBezTo>
                    <a:cubicBezTo>
                      <a:pt x="44556" y="52810"/>
                      <a:pt x="42403" y="47547"/>
                      <a:pt x="40250" y="42284"/>
                    </a:cubicBezTo>
                    <a:cubicBezTo>
                      <a:pt x="37918" y="36542"/>
                      <a:pt x="35585" y="30741"/>
                      <a:pt x="33193" y="24999"/>
                    </a:cubicBezTo>
                    <a:cubicBezTo>
                      <a:pt x="23205" y="27392"/>
                      <a:pt x="13995" y="29664"/>
                      <a:pt x="4486" y="31997"/>
                    </a:cubicBezTo>
                    <a:close/>
                    <a:moveTo>
                      <a:pt x="14354" y="56099"/>
                    </a:moveTo>
                    <a:cubicBezTo>
                      <a:pt x="18780" y="66984"/>
                      <a:pt x="22906" y="77091"/>
                      <a:pt x="27212" y="87677"/>
                    </a:cubicBezTo>
                    <a:cubicBezTo>
                      <a:pt x="30980" y="84268"/>
                      <a:pt x="34509" y="81338"/>
                      <a:pt x="37619" y="78048"/>
                    </a:cubicBezTo>
                    <a:cubicBezTo>
                      <a:pt x="38636" y="76972"/>
                      <a:pt x="39353" y="74520"/>
                      <a:pt x="38875" y="73144"/>
                    </a:cubicBezTo>
                    <a:cubicBezTo>
                      <a:pt x="36363" y="66147"/>
                      <a:pt x="33432" y="59329"/>
                      <a:pt x="30502" y="52152"/>
                    </a:cubicBezTo>
                    <a:cubicBezTo>
                      <a:pt x="24880" y="53527"/>
                      <a:pt x="19796" y="54783"/>
                      <a:pt x="14354" y="5609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39" name="Vrije vorm: vorm 9338">
                <a:extLst>
                  <a:ext uri="{FF2B5EF4-FFF2-40B4-BE49-F238E27FC236}">
                    <a16:creationId xmlns:a16="http://schemas.microsoft.com/office/drawing/2014/main" id="{00E4E47D-2BCC-4636-A1AB-431F7C11D5F5}"/>
                  </a:ext>
                </a:extLst>
              </p:cNvPr>
              <p:cNvSpPr/>
              <p:nvPr/>
            </p:nvSpPr>
            <p:spPr>
              <a:xfrm>
                <a:off x="5338651" y="1833849"/>
                <a:ext cx="68718" cy="88036"/>
              </a:xfrm>
              <a:custGeom>
                <a:avLst/>
                <a:gdLst>
                  <a:gd name="connsiteX0" fmla="*/ 57475 w 68718"/>
                  <a:gd name="connsiteY0" fmla="*/ 68300 h 88036"/>
                  <a:gd name="connsiteX1" fmla="*/ 25777 w 68718"/>
                  <a:gd name="connsiteY1" fmla="*/ 88036 h 88036"/>
                  <a:gd name="connsiteX2" fmla="*/ 0 w 68718"/>
                  <a:gd name="connsiteY2" fmla="*/ 24700 h 88036"/>
                  <a:gd name="connsiteX3" fmla="*/ 43360 w 68718"/>
                  <a:gd name="connsiteY3" fmla="*/ 0 h 88036"/>
                  <a:gd name="connsiteX4" fmla="*/ 68718 w 68718"/>
                  <a:gd name="connsiteY4" fmla="*/ 62319 h 88036"/>
                  <a:gd name="connsiteX5" fmla="*/ 57295 w 68718"/>
                  <a:gd name="connsiteY5" fmla="*/ 68419 h 88036"/>
                  <a:gd name="connsiteX6" fmla="*/ 66446 w 68718"/>
                  <a:gd name="connsiteY6" fmla="*/ 60944 h 88036"/>
                  <a:gd name="connsiteX7" fmla="*/ 42523 w 68718"/>
                  <a:gd name="connsiteY7" fmla="*/ 2153 h 88036"/>
                  <a:gd name="connsiteX8" fmla="*/ 25717 w 68718"/>
                  <a:gd name="connsiteY8" fmla="*/ 11543 h 88036"/>
                  <a:gd name="connsiteX9" fmla="*/ 49879 w 68718"/>
                  <a:gd name="connsiteY9" fmla="*/ 70872 h 88036"/>
                  <a:gd name="connsiteX10" fmla="*/ 57475 w 68718"/>
                  <a:gd name="connsiteY10" fmla="*/ 68300 h 88036"/>
                  <a:gd name="connsiteX11" fmla="*/ 26375 w 68718"/>
                  <a:gd name="connsiteY11" fmla="*/ 85883 h 88036"/>
                  <a:gd name="connsiteX12" fmla="*/ 44855 w 68718"/>
                  <a:gd name="connsiteY12" fmla="*/ 74819 h 88036"/>
                  <a:gd name="connsiteX13" fmla="*/ 46889 w 68718"/>
                  <a:gd name="connsiteY13" fmla="*/ 66924 h 88036"/>
                  <a:gd name="connsiteX14" fmla="*/ 35167 w 68718"/>
                  <a:gd name="connsiteY14" fmla="*/ 38157 h 88036"/>
                  <a:gd name="connsiteX15" fmla="*/ 24700 w 68718"/>
                  <a:gd name="connsiteY15" fmla="*/ 12440 h 88036"/>
                  <a:gd name="connsiteX16" fmla="*/ 12260 w 68718"/>
                  <a:gd name="connsiteY16" fmla="*/ 19198 h 88036"/>
                  <a:gd name="connsiteX17" fmla="*/ 6579 w 68718"/>
                  <a:gd name="connsiteY17" fmla="*/ 37260 h 88036"/>
                  <a:gd name="connsiteX18" fmla="*/ 12500 w 68718"/>
                  <a:gd name="connsiteY18" fmla="*/ 51972 h 88036"/>
                  <a:gd name="connsiteX19" fmla="*/ 26375 w 68718"/>
                  <a:gd name="connsiteY19" fmla="*/ 85883 h 8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718" h="88036">
                    <a:moveTo>
                      <a:pt x="57475" y="68300"/>
                    </a:moveTo>
                    <a:cubicBezTo>
                      <a:pt x="46949" y="74879"/>
                      <a:pt x="36363" y="81457"/>
                      <a:pt x="25777" y="88036"/>
                    </a:cubicBezTo>
                    <a:cubicBezTo>
                      <a:pt x="17165" y="66924"/>
                      <a:pt x="8672" y="45932"/>
                      <a:pt x="0" y="24700"/>
                    </a:cubicBezTo>
                    <a:cubicBezTo>
                      <a:pt x="14473" y="16447"/>
                      <a:pt x="28887" y="8253"/>
                      <a:pt x="43360" y="0"/>
                    </a:cubicBezTo>
                    <a:cubicBezTo>
                      <a:pt x="51733" y="20574"/>
                      <a:pt x="60166" y="41267"/>
                      <a:pt x="68718" y="62319"/>
                    </a:cubicBezTo>
                    <a:cubicBezTo>
                      <a:pt x="64831" y="64412"/>
                      <a:pt x="61063" y="66446"/>
                      <a:pt x="57295" y="68419"/>
                    </a:cubicBezTo>
                    <a:cubicBezTo>
                      <a:pt x="60286" y="65967"/>
                      <a:pt x="63336" y="63515"/>
                      <a:pt x="66446" y="60944"/>
                    </a:cubicBezTo>
                    <a:cubicBezTo>
                      <a:pt x="58491" y="41327"/>
                      <a:pt x="50657" y="22069"/>
                      <a:pt x="42523" y="2153"/>
                    </a:cubicBezTo>
                    <a:cubicBezTo>
                      <a:pt x="36782" y="5383"/>
                      <a:pt x="31339" y="8433"/>
                      <a:pt x="25717" y="11543"/>
                    </a:cubicBezTo>
                    <a:cubicBezTo>
                      <a:pt x="33911" y="31698"/>
                      <a:pt x="41925" y="51315"/>
                      <a:pt x="49879" y="70872"/>
                    </a:cubicBezTo>
                    <a:cubicBezTo>
                      <a:pt x="52750" y="69915"/>
                      <a:pt x="55142" y="69077"/>
                      <a:pt x="57475" y="68300"/>
                    </a:cubicBezTo>
                    <a:close/>
                    <a:moveTo>
                      <a:pt x="26375" y="85883"/>
                    </a:moveTo>
                    <a:cubicBezTo>
                      <a:pt x="33014" y="81816"/>
                      <a:pt x="38755" y="77869"/>
                      <a:pt x="44855" y="74819"/>
                    </a:cubicBezTo>
                    <a:cubicBezTo>
                      <a:pt x="48683" y="72905"/>
                      <a:pt x="48563" y="70752"/>
                      <a:pt x="46889" y="66924"/>
                    </a:cubicBezTo>
                    <a:cubicBezTo>
                      <a:pt x="42822" y="57415"/>
                      <a:pt x="39054" y="47726"/>
                      <a:pt x="35167" y="38157"/>
                    </a:cubicBezTo>
                    <a:cubicBezTo>
                      <a:pt x="31758" y="29724"/>
                      <a:pt x="28349" y="21351"/>
                      <a:pt x="24700" y="12440"/>
                    </a:cubicBezTo>
                    <a:cubicBezTo>
                      <a:pt x="20215" y="14892"/>
                      <a:pt x="16267" y="17045"/>
                      <a:pt x="12260" y="19198"/>
                    </a:cubicBezTo>
                    <a:cubicBezTo>
                      <a:pt x="1615" y="24880"/>
                      <a:pt x="1615" y="24880"/>
                      <a:pt x="6579" y="37260"/>
                    </a:cubicBezTo>
                    <a:cubicBezTo>
                      <a:pt x="8552" y="42164"/>
                      <a:pt x="10526" y="47068"/>
                      <a:pt x="12500" y="51972"/>
                    </a:cubicBezTo>
                    <a:cubicBezTo>
                      <a:pt x="17045" y="63037"/>
                      <a:pt x="21530" y="74101"/>
                      <a:pt x="26375" y="8588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40" name="Vrije vorm: vorm 9339">
                <a:extLst>
                  <a:ext uri="{FF2B5EF4-FFF2-40B4-BE49-F238E27FC236}">
                    <a16:creationId xmlns:a16="http://schemas.microsoft.com/office/drawing/2014/main" id="{F02B2676-1981-4980-B707-10D9EC817437}"/>
                  </a:ext>
                </a:extLst>
              </p:cNvPr>
              <p:cNvSpPr/>
              <p:nvPr/>
            </p:nvSpPr>
            <p:spPr>
              <a:xfrm>
                <a:off x="5123764" y="1480209"/>
                <a:ext cx="74818" cy="85105"/>
              </a:xfrm>
              <a:custGeom>
                <a:avLst/>
                <a:gdLst>
                  <a:gd name="connsiteX0" fmla="*/ 74819 w 74818"/>
                  <a:gd name="connsiteY0" fmla="*/ 65489 h 85105"/>
                  <a:gd name="connsiteX1" fmla="*/ 26614 w 74818"/>
                  <a:gd name="connsiteY1" fmla="*/ 85106 h 85105"/>
                  <a:gd name="connsiteX2" fmla="*/ 0 w 74818"/>
                  <a:gd name="connsiteY2" fmla="*/ 19617 h 85105"/>
                  <a:gd name="connsiteX3" fmla="*/ 48205 w 74818"/>
                  <a:gd name="connsiteY3" fmla="*/ 0 h 85105"/>
                  <a:gd name="connsiteX4" fmla="*/ 74819 w 74818"/>
                  <a:gd name="connsiteY4" fmla="*/ 65489 h 85105"/>
                  <a:gd name="connsiteX5" fmla="*/ 72666 w 74818"/>
                  <a:gd name="connsiteY5" fmla="*/ 64472 h 85105"/>
                  <a:gd name="connsiteX6" fmla="*/ 47307 w 74818"/>
                  <a:gd name="connsiteY6" fmla="*/ 2213 h 85105"/>
                  <a:gd name="connsiteX7" fmla="*/ 2333 w 74818"/>
                  <a:gd name="connsiteY7" fmla="*/ 20514 h 85105"/>
                  <a:gd name="connsiteX8" fmla="*/ 27691 w 74818"/>
                  <a:gd name="connsiteY8" fmla="*/ 82773 h 85105"/>
                  <a:gd name="connsiteX9" fmla="*/ 72666 w 74818"/>
                  <a:gd name="connsiteY9" fmla="*/ 64472 h 85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18" h="85105">
                    <a:moveTo>
                      <a:pt x="74819" y="65489"/>
                    </a:moveTo>
                    <a:cubicBezTo>
                      <a:pt x="58671" y="72068"/>
                      <a:pt x="42762" y="78527"/>
                      <a:pt x="26614" y="85106"/>
                    </a:cubicBezTo>
                    <a:cubicBezTo>
                      <a:pt x="17763" y="63396"/>
                      <a:pt x="8851" y="41446"/>
                      <a:pt x="0" y="19617"/>
                    </a:cubicBezTo>
                    <a:cubicBezTo>
                      <a:pt x="15909" y="13158"/>
                      <a:pt x="31997" y="6579"/>
                      <a:pt x="48205" y="0"/>
                    </a:cubicBezTo>
                    <a:cubicBezTo>
                      <a:pt x="57116" y="21949"/>
                      <a:pt x="65967" y="43659"/>
                      <a:pt x="74819" y="65489"/>
                    </a:cubicBezTo>
                    <a:close/>
                    <a:moveTo>
                      <a:pt x="72666" y="64472"/>
                    </a:moveTo>
                    <a:cubicBezTo>
                      <a:pt x="64053" y="43360"/>
                      <a:pt x="55800" y="23026"/>
                      <a:pt x="47307" y="2213"/>
                    </a:cubicBezTo>
                    <a:cubicBezTo>
                      <a:pt x="32116" y="8373"/>
                      <a:pt x="17344" y="14414"/>
                      <a:pt x="2333" y="20514"/>
                    </a:cubicBezTo>
                    <a:cubicBezTo>
                      <a:pt x="10825" y="41327"/>
                      <a:pt x="19258" y="62080"/>
                      <a:pt x="27691" y="82773"/>
                    </a:cubicBezTo>
                    <a:cubicBezTo>
                      <a:pt x="42762" y="76673"/>
                      <a:pt x="57355" y="70692"/>
                      <a:pt x="72666" y="6447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41" name="Vrije vorm: vorm 9340">
                <a:extLst>
                  <a:ext uri="{FF2B5EF4-FFF2-40B4-BE49-F238E27FC236}">
                    <a16:creationId xmlns:a16="http://schemas.microsoft.com/office/drawing/2014/main" id="{CA1AFDEC-C059-42A7-8560-33B3E3BD1E94}"/>
                  </a:ext>
                </a:extLst>
              </p:cNvPr>
              <p:cNvSpPr/>
              <p:nvPr/>
            </p:nvSpPr>
            <p:spPr>
              <a:xfrm>
                <a:off x="5040094" y="1700000"/>
                <a:ext cx="56936" cy="71290"/>
              </a:xfrm>
              <a:custGeom>
                <a:avLst/>
                <a:gdLst>
                  <a:gd name="connsiteX0" fmla="*/ 26375 w 56936"/>
                  <a:gd name="connsiteY0" fmla="*/ 69556 h 71290"/>
                  <a:gd name="connsiteX1" fmla="*/ 52869 w 56936"/>
                  <a:gd name="connsiteY1" fmla="*/ 64113 h 71290"/>
                  <a:gd name="connsiteX2" fmla="*/ 53109 w 56936"/>
                  <a:gd name="connsiteY2" fmla="*/ 65190 h 71290"/>
                  <a:gd name="connsiteX3" fmla="*/ 25537 w 56936"/>
                  <a:gd name="connsiteY3" fmla="*/ 71290 h 71290"/>
                  <a:gd name="connsiteX4" fmla="*/ 0 w 56936"/>
                  <a:gd name="connsiteY4" fmla="*/ 8493 h 71290"/>
                  <a:gd name="connsiteX5" fmla="*/ 30741 w 56936"/>
                  <a:gd name="connsiteY5" fmla="*/ 0 h 71290"/>
                  <a:gd name="connsiteX6" fmla="*/ 56936 w 56936"/>
                  <a:gd name="connsiteY6" fmla="*/ 64353 h 71290"/>
                  <a:gd name="connsiteX7" fmla="*/ 55920 w 56936"/>
                  <a:gd name="connsiteY7" fmla="*/ 64771 h 71290"/>
                  <a:gd name="connsiteX8" fmla="*/ 30203 w 56936"/>
                  <a:gd name="connsiteY8" fmla="*/ 1615 h 71290"/>
                  <a:gd name="connsiteX9" fmla="*/ 2273 w 56936"/>
                  <a:gd name="connsiteY9" fmla="*/ 9390 h 71290"/>
                  <a:gd name="connsiteX10" fmla="*/ 4306 w 56936"/>
                  <a:gd name="connsiteY10" fmla="*/ 15430 h 71290"/>
                  <a:gd name="connsiteX11" fmla="*/ 28588 w 56936"/>
                  <a:gd name="connsiteY11" fmla="*/ 5562 h 71290"/>
                  <a:gd name="connsiteX12" fmla="*/ 29245 w 56936"/>
                  <a:gd name="connsiteY12" fmla="*/ 6997 h 71290"/>
                  <a:gd name="connsiteX13" fmla="*/ 11961 w 56936"/>
                  <a:gd name="connsiteY13" fmla="*/ 14055 h 71290"/>
                  <a:gd name="connsiteX14" fmla="*/ 8194 w 56936"/>
                  <a:gd name="connsiteY14" fmla="*/ 24940 h 71290"/>
                  <a:gd name="connsiteX15" fmla="*/ 26375 w 56936"/>
                  <a:gd name="connsiteY15" fmla="*/ 69556 h 71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936" h="71290">
                    <a:moveTo>
                      <a:pt x="26375" y="69556"/>
                    </a:moveTo>
                    <a:cubicBezTo>
                      <a:pt x="35526" y="67642"/>
                      <a:pt x="44197" y="65907"/>
                      <a:pt x="52869" y="64113"/>
                    </a:cubicBezTo>
                    <a:cubicBezTo>
                      <a:pt x="52929" y="64472"/>
                      <a:pt x="53049" y="64831"/>
                      <a:pt x="53109" y="65190"/>
                    </a:cubicBezTo>
                    <a:cubicBezTo>
                      <a:pt x="43958" y="67223"/>
                      <a:pt x="34748" y="69257"/>
                      <a:pt x="25537" y="71290"/>
                    </a:cubicBezTo>
                    <a:cubicBezTo>
                      <a:pt x="16985" y="50298"/>
                      <a:pt x="8493" y="29425"/>
                      <a:pt x="0" y="8493"/>
                    </a:cubicBezTo>
                    <a:cubicBezTo>
                      <a:pt x="10227" y="5682"/>
                      <a:pt x="20514" y="2811"/>
                      <a:pt x="30741" y="0"/>
                    </a:cubicBezTo>
                    <a:cubicBezTo>
                      <a:pt x="39473" y="21411"/>
                      <a:pt x="48205" y="42882"/>
                      <a:pt x="56936" y="64353"/>
                    </a:cubicBezTo>
                    <a:cubicBezTo>
                      <a:pt x="56577" y="64472"/>
                      <a:pt x="56219" y="64652"/>
                      <a:pt x="55920" y="64771"/>
                    </a:cubicBezTo>
                    <a:cubicBezTo>
                      <a:pt x="47427" y="43839"/>
                      <a:pt x="38875" y="22906"/>
                      <a:pt x="30203" y="1615"/>
                    </a:cubicBezTo>
                    <a:cubicBezTo>
                      <a:pt x="20633" y="4246"/>
                      <a:pt x="11722" y="6758"/>
                      <a:pt x="2273" y="9390"/>
                    </a:cubicBezTo>
                    <a:cubicBezTo>
                      <a:pt x="3050" y="11603"/>
                      <a:pt x="3648" y="13397"/>
                      <a:pt x="4306" y="15430"/>
                    </a:cubicBezTo>
                    <a:cubicBezTo>
                      <a:pt x="12679" y="12021"/>
                      <a:pt x="20633" y="8792"/>
                      <a:pt x="28588" y="5562"/>
                    </a:cubicBezTo>
                    <a:cubicBezTo>
                      <a:pt x="28827" y="6040"/>
                      <a:pt x="29006" y="6519"/>
                      <a:pt x="29245" y="6997"/>
                    </a:cubicBezTo>
                    <a:cubicBezTo>
                      <a:pt x="23504" y="9330"/>
                      <a:pt x="17703" y="11603"/>
                      <a:pt x="11961" y="14055"/>
                    </a:cubicBezTo>
                    <a:cubicBezTo>
                      <a:pt x="4964" y="17045"/>
                      <a:pt x="4964" y="17105"/>
                      <a:pt x="8194" y="24940"/>
                    </a:cubicBezTo>
                    <a:cubicBezTo>
                      <a:pt x="14234" y="39652"/>
                      <a:pt x="20274" y="54484"/>
                      <a:pt x="26375" y="6955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42" name="Vrije vorm: vorm 9341">
                <a:extLst>
                  <a:ext uri="{FF2B5EF4-FFF2-40B4-BE49-F238E27FC236}">
                    <a16:creationId xmlns:a16="http://schemas.microsoft.com/office/drawing/2014/main" id="{9D7EC090-C0D0-413A-8E47-E18F1156603F}"/>
                  </a:ext>
                </a:extLst>
              </p:cNvPr>
              <p:cNvSpPr/>
              <p:nvPr/>
            </p:nvSpPr>
            <p:spPr>
              <a:xfrm>
                <a:off x="4963361" y="1087634"/>
                <a:ext cx="74460" cy="78945"/>
              </a:xfrm>
              <a:custGeom>
                <a:avLst/>
                <a:gdLst>
                  <a:gd name="connsiteX0" fmla="*/ 27392 w 74460"/>
                  <a:gd name="connsiteY0" fmla="*/ 78946 h 78945"/>
                  <a:gd name="connsiteX1" fmla="*/ 0 w 74460"/>
                  <a:gd name="connsiteY1" fmla="*/ 11603 h 78945"/>
                  <a:gd name="connsiteX2" fmla="*/ 51614 w 74460"/>
                  <a:gd name="connsiteY2" fmla="*/ 0 h 78945"/>
                  <a:gd name="connsiteX3" fmla="*/ 51913 w 74460"/>
                  <a:gd name="connsiteY3" fmla="*/ 1136 h 78945"/>
                  <a:gd name="connsiteX4" fmla="*/ 2333 w 74460"/>
                  <a:gd name="connsiteY4" fmla="*/ 12500 h 78945"/>
                  <a:gd name="connsiteX5" fmla="*/ 18421 w 74460"/>
                  <a:gd name="connsiteY5" fmla="*/ 52092 h 78945"/>
                  <a:gd name="connsiteX6" fmla="*/ 64233 w 74460"/>
                  <a:gd name="connsiteY6" fmla="*/ 41147 h 78945"/>
                  <a:gd name="connsiteX7" fmla="*/ 64532 w 74460"/>
                  <a:gd name="connsiteY7" fmla="*/ 42284 h 78945"/>
                  <a:gd name="connsiteX8" fmla="*/ 18959 w 74460"/>
                  <a:gd name="connsiteY8" fmla="*/ 53468 h 78945"/>
                  <a:gd name="connsiteX9" fmla="*/ 26973 w 74460"/>
                  <a:gd name="connsiteY9" fmla="*/ 73144 h 78945"/>
                  <a:gd name="connsiteX10" fmla="*/ 60226 w 74460"/>
                  <a:gd name="connsiteY10" fmla="*/ 65010 h 78945"/>
                  <a:gd name="connsiteX11" fmla="*/ 60525 w 74460"/>
                  <a:gd name="connsiteY11" fmla="*/ 66147 h 78945"/>
                  <a:gd name="connsiteX12" fmla="*/ 27511 w 74460"/>
                  <a:gd name="connsiteY12" fmla="*/ 74580 h 78945"/>
                  <a:gd name="connsiteX13" fmla="*/ 28169 w 74460"/>
                  <a:gd name="connsiteY13" fmla="*/ 76972 h 78945"/>
                  <a:gd name="connsiteX14" fmla="*/ 74161 w 74460"/>
                  <a:gd name="connsiteY14" fmla="*/ 65668 h 78945"/>
                  <a:gd name="connsiteX15" fmla="*/ 74460 w 74460"/>
                  <a:gd name="connsiteY15" fmla="*/ 66745 h 78945"/>
                  <a:gd name="connsiteX16" fmla="*/ 27392 w 74460"/>
                  <a:gd name="connsiteY16" fmla="*/ 78946 h 7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460" h="78945">
                    <a:moveTo>
                      <a:pt x="27392" y="78946"/>
                    </a:moveTo>
                    <a:cubicBezTo>
                      <a:pt x="18301" y="56518"/>
                      <a:pt x="9210" y="34270"/>
                      <a:pt x="0" y="11603"/>
                    </a:cubicBezTo>
                    <a:cubicBezTo>
                      <a:pt x="17165" y="7715"/>
                      <a:pt x="34389" y="3887"/>
                      <a:pt x="51614" y="0"/>
                    </a:cubicBezTo>
                    <a:cubicBezTo>
                      <a:pt x="51733" y="359"/>
                      <a:pt x="51793" y="778"/>
                      <a:pt x="51913" y="1136"/>
                    </a:cubicBezTo>
                    <a:cubicBezTo>
                      <a:pt x="35526" y="4904"/>
                      <a:pt x="19138" y="8672"/>
                      <a:pt x="2333" y="12500"/>
                    </a:cubicBezTo>
                    <a:cubicBezTo>
                      <a:pt x="7655" y="25657"/>
                      <a:pt x="12918" y="38516"/>
                      <a:pt x="18421" y="52092"/>
                    </a:cubicBezTo>
                    <a:cubicBezTo>
                      <a:pt x="33612" y="48444"/>
                      <a:pt x="48922" y="44796"/>
                      <a:pt x="64233" y="41147"/>
                    </a:cubicBezTo>
                    <a:cubicBezTo>
                      <a:pt x="64353" y="41506"/>
                      <a:pt x="64412" y="41925"/>
                      <a:pt x="64532" y="42284"/>
                    </a:cubicBezTo>
                    <a:cubicBezTo>
                      <a:pt x="49461" y="45992"/>
                      <a:pt x="34449" y="49640"/>
                      <a:pt x="18959" y="53468"/>
                    </a:cubicBezTo>
                    <a:cubicBezTo>
                      <a:pt x="21590" y="59987"/>
                      <a:pt x="24162" y="66266"/>
                      <a:pt x="26973" y="73144"/>
                    </a:cubicBezTo>
                    <a:cubicBezTo>
                      <a:pt x="37977" y="70453"/>
                      <a:pt x="49102" y="67762"/>
                      <a:pt x="60226" y="65010"/>
                    </a:cubicBezTo>
                    <a:cubicBezTo>
                      <a:pt x="60346" y="65369"/>
                      <a:pt x="60405" y="65728"/>
                      <a:pt x="60525" y="66147"/>
                    </a:cubicBezTo>
                    <a:cubicBezTo>
                      <a:pt x="49520" y="68958"/>
                      <a:pt x="38516" y="71769"/>
                      <a:pt x="27511" y="74580"/>
                    </a:cubicBezTo>
                    <a:cubicBezTo>
                      <a:pt x="27751" y="75357"/>
                      <a:pt x="27930" y="76194"/>
                      <a:pt x="28169" y="76972"/>
                    </a:cubicBezTo>
                    <a:cubicBezTo>
                      <a:pt x="43480" y="73204"/>
                      <a:pt x="58850" y="69436"/>
                      <a:pt x="74161" y="65668"/>
                    </a:cubicBezTo>
                    <a:cubicBezTo>
                      <a:pt x="74280" y="66027"/>
                      <a:pt x="74340" y="66386"/>
                      <a:pt x="74460" y="66745"/>
                    </a:cubicBezTo>
                    <a:cubicBezTo>
                      <a:pt x="58850" y="70752"/>
                      <a:pt x="43241" y="74819"/>
                      <a:pt x="27392" y="7894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43" name="Vrije vorm: vorm 9342">
                <a:extLst>
                  <a:ext uri="{FF2B5EF4-FFF2-40B4-BE49-F238E27FC236}">
                    <a16:creationId xmlns:a16="http://schemas.microsoft.com/office/drawing/2014/main" id="{C77ED949-1368-494A-99DE-8CF7C68E75F6}"/>
                  </a:ext>
                </a:extLst>
              </p:cNvPr>
              <p:cNvSpPr/>
              <p:nvPr/>
            </p:nvSpPr>
            <p:spPr>
              <a:xfrm>
                <a:off x="4797515" y="1840428"/>
                <a:ext cx="52151" cy="69735"/>
              </a:xfrm>
              <a:custGeom>
                <a:avLst/>
                <a:gdLst>
                  <a:gd name="connsiteX0" fmla="*/ 52152 w 52151"/>
                  <a:gd name="connsiteY0" fmla="*/ 67044 h 69735"/>
                  <a:gd name="connsiteX1" fmla="*/ 26375 w 52151"/>
                  <a:gd name="connsiteY1" fmla="*/ 69735 h 69735"/>
                  <a:gd name="connsiteX2" fmla="*/ 0 w 52151"/>
                  <a:gd name="connsiteY2" fmla="*/ 4844 h 69735"/>
                  <a:gd name="connsiteX3" fmla="*/ 24880 w 52151"/>
                  <a:gd name="connsiteY3" fmla="*/ 0 h 69735"/>
                  <a:gd name="connsiteX4" fmla="*/ 52152 w 52151"/>
                  <a:gd name="connsiteY4" fmla="*/ 67044 h 69735"/>
                  <a:gd name="connsiteX5" fmla="*/ 23803 w 52151"/>
                  <a:gd name="connsiteY5" fmla="*/ 1734 h 69735"/>
                  <a:gd name="connsiteX6" fmla="*/ 2332 w 52151"/>
                  <a:gd name="connsiteY6" fmla="*/ 5921 h 69735"/>
                  <a:gd name="connsiteX7" fmla="*/ 16925 w 52151"/>
                  <a:gd name="connsiteY7" fmla="*/ 41865 h 69735"/>
                  <a:gd name="connsiteX8" fmla="*/ 36422 w 52151"/>
                  <a:gd name="connsiteY8" fmla="*/ 32774 h 69735"/>
                  <a:gd name="connsiteX9" fmla="*/ 23803 w 52151"/>
                  <a:gd name="connsiteY9" fmla="*/ 1734 h 69735"/>
                  <a:gd name="connsiteX10" fmla="*/ 41088 w 52151"/>
                  <a:gd name="connsiteY10" fmla="*/ 44078 h 69735"/>
                  <a:gd name="connsiteX11" fmla="*/ 21471 w 52151"/>
                  <a:gd name="connsiteY11" fmla="*/ 53527 h 69735"/>
                  <a:gd name="connsiteX12" fmla="*/ 26554 w 52151"/>
                  <a:gd name="connsiteY12" fmla="*/ 65728 h 69735"/>
                  <a:gd name="connsiteX13" fmla="*/ 30442 w 52151"/>
                  <a:gd name="connsiteY13" fmla="*/ 67343 h 69735"/>
                  <a:gd name="connsiteX14" fmla="*/ 47128 w 52151"/>
                  <a:gd name="connsiteY14" fmla="*/ 58970 h 69735"/>
                  <a:gd name="connsiteX15" fmla="*/ 41088 w 52151"/>
                  <a:gd name="connsiteY15" fmla="*/ 44078 h 69735"/>
                  <a:gd name="connsiteX16" fmla="*/ 20813 w 52151"/>
                  <a:gd name="connsiteY16" fmla="*/ 51494 h 69735"/>
                  <a:gd name="connsiteX17" fmla="*/ 34389 w 52151"/>
                  <a:gd name="connsiteY17" fmla="*/ 45932 h 69735"/>
                  <a:gd name="connsiteX18" fmla="*/ 36243 w 52151"/>
                  <a:gd name="connsiteY18" fmla="*/ 34329 h 69735"/>
                  <a:gd name="connsiteX19" fmla="*/ 17523 w 52151"/>
                  <a:gd name="connsiteY19" fmla="*/ 43420 h 69735"/>
                  <a:gd name="connsiteX20" fmla="*/ 20813 w 52151"/>
                  <a:gd name="connsiteY20" fmla="*/ 51494 h 69735"/>
                  <a:gd name="connsiteX21" fmla="*/ 36422 w 52151"/>
                  <a:gd name="connsiteY21" fmla="*/ 66207 h 69735"/>
                  <a:gd name="connsiteX22" fmla="*/ 36781 w 52151"/>
                  <a:gd name="connsiteY22" fmla="*/ 67223 h 69735"/>
                  <a:gd name="connsiteX23" fmla="*/ 49879 w 52151"/>
                  <a:gd name="connsiteY23" fmla="*/ 65788 h 69735"/>
                  <a:gd name="connsiteX24" fmla="*/ 47666 w 52151"/>
                  <a:gd name="connsiteY24" fmla="*/ 60286 h 69735"/>
                  <a:gd name="connsiteX25" fmla="*/ 36422 w 52151"/>
                  <a:gd name="connsiteY25" fmla="*/ 66207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2151" h="69735">
                    <a:moveTo>
                      <a:pt x="52152" y="67044"/>
                    </a:moveTo>
                    <a:cubicBezTo>
                      <a:pt x="43719" y="67941"/>
                      <a:pt x="35286" y="68838"/>
                      <a:pt x="26375" y="69735"/>
                    </a:cubicBezTo>
                    <a:cubicBezTo>
                      <a:pt x="17643" y="48324"/>
                      <a:pt x="8851" y="26614"/>
                      <a:pt x="0" y="4844"/>
                    </a:cubicBezTo>
                    <a:cubicBezTo>
                      <a:pt x="8194" y="3230"/>
                      <a:pt x="16447" y="1615"/>
                      <a:pt x="24880" y="0"/>
                    </a:cubicBezTo>
                    <a:cubicBezTo>
                      <a:pt x="33970" y="22248"/>
                      <a:pt x="43001" y="44556"/>
                      <a:pt x="52152" y="67044"/>
                    </a:cubicBezTo>
                    <a:close/>
                    <a:moveTo>
                      <a:pt x="23803" y="1734"/>
                    </a:moveTo>
                    <a:cubicBezTo>
                      <a:pt x="16387" y="3170"/>
                      <a:pt x="9390" y="4545"/>
                      <a:pt x="2332" y="5921"/>
                    </a:cubicBezTo>
                    <a:cubicBezTo>
                      <a:pt x="7416" y="18361"/>
                      <a:pt x="12081" y="29904"/>
                      <a:pt x="16925" y="41865"/>
                    </a:cubicBezTo>
                    <a:cubicBezTo>
                      <a:pt x="23743" y="38695"/>
                      <a:pt x="30023" y="35765"/>
                      <a:pt x="36422" y="32774"/>
                    </a:cubicBezTo>
                    <a:cubicBezTo>
                      <a:pt x="32057" y="22009"/>
                      <a:pt x="28109" y="12260"/>
                      <a:pt x="23803" y="1734"/>
                    </a:cubicBezTo>
                    <a:close/>
                    <a:moveTo>
                      <a:pt x="41088" y="44078"/>
                    </a:moveTo>
                    <a:cubicBezTo>
                      <a:pt x="34269" y="47367"/>
                      <a:pt x="28109" y="50358"/>
                      <a:pt x="21471" y="53527"/>
                    </a:cubicBezTo>
                    <a:cubicBezTo>
                      <a:pt x="23265" y="57953"/>
                      <a:pt x="24700" y="61960"/>
                      <a:pt x="26554" y="65728"/>
                    </a:cubicBezTo>
                    <a:cubicBezTo>
                      <a:pt x="27092" y="66745"/>
                      <a:pt x="29485" y="67762"/>
                      <a:pt x="30442" y="67343"/>
                    </a:cubicBezTo>
                    <a:cubicBezTo>
                      <a:pt x="36004" y="64831"/>
                      <a:pt x="41446" y="61900"/>
                      <a:pt x="47128" y="58970"/>
                    </a:cubicBezTo>
                    <a:cubicBezTo>
                      <a:pt x="45154" y="54066"/>
                      <a:pt x="43300" y="49520"/>
                      <a:pt x="41088" y="44078"/>
                    </a:cubicBezTo>
                    <a:close/>
                    <a:moveTo>
                      <a:pt x="20813" y="51494"/>
                    </a:moveTo>
                    <a:cubicBezTo>
                      <a:pt x="25717" y="49461"/>
                      <a:pt x="30143" y="47846"/>
                      <a:pt x="34389" y="45932"/>
                    </a:cubicBezTo>
                    <a:cubicBezTo>
                      <a:pt x="41566" y="42762"/>
                      <a:pt x="41685" y="41925"/>
                      <a:pt x="36243" y="34329"/>
                    </a:cubicBezTo>
                    <a:cubicBezTo>
                      <a:pt x="30083" y="37320"/>
                      <a:pt x="23803" y="40310"/>
                      <a:pt x="17523" y="43420"/>
                    </a:cubicBezTo>
                    <a:cubicBezTo>
                      <a:pt x="18779" y="46530"/>
                      <a:pt x="19736" y="48862"/>
                      <a:pt x="20813" y="51494"/>
                    </a:cubicBezTo>
                    <a:close/>
                    <a:moveTo>
                      <a:pt x="36422" y="66207"/>
                    </a:moveTo>
                    <a:cubicBezTo>
                      <a:pt x="36542" y="66565"/>
                      <a:pt x="36662" y="66924"/>
                      <a:pt x="36781" y="67223"/>
                    </a:cubicBezTo>
                    <a:cubicBezTo>
                      <a:pt x="41028" y="66745"/>
                      <a:pt x="45274" y="66326"/>
                      <a:pt x="49879" y="65788"/>
                    </a:cubicBezTo>
                    <a:cubicBezTo>
                      <a:pt x="49101" y="63814"/>
                      <a:pt x="48444" y="62319"/>
                      <a:pt x="47666" y="60286"/>
                    </a:cubicBezTo>
                    <a:cubicBezTo>
                      <a:pt x="43659" y="62439"/>
                      <a:pt x="40071" y="64353"/>
                      <a:pt x="36422" y="6620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44" name="Vrije vorm: vorm 9343">
                <a:extLst>
                  <a:ext uri="{FF2B5EF4-FFF2-40B4-BE49-F238E27FC236}">
                    <a16:creationId xmlns:a16="http://schemas.microsoft.com/office/drawing/2014/main" id="{88647A9B-D01F-4FA9-971A-9145129F52BC}"/>
                  </a:ext>
                </a:extLst>
              </p:cNvPr>
              <p:cNvSpPr/>
              <p:nvPr/>
            </p:nvSpPr>
            <p:spPr>
              <a:xfrm>
                <a:off x="5143859" y="1051929"/>
                <a:ext cx="68359" cy="69077"/>
              </a:xfrm>
              <a:custGeom>
                <a:avLst/>
                <a:gdLst>
                  <a:gd name="connsiteX0" fmla="*/ 3529 w 68359"/>
                  <a:gd name="connsiteY0" fmla="*/ 6280 h 69077"/>
                  <a:gd name="connsiteX1" fmla="*/ 4127 w 68359"/>
                  <a:gd name="connsiteY1" fmla="*/ 10825 h 69077"/>
                  <a:gd name="connsiteX2" fmla="*/ 24700 w 68359"/>
                  <a:gd name="connsiteY2" fmla="*/ 62917 h 69077"/>
                  <a:gd name="connsiteX3" fmla="*/ 27811 w 68359"/>
                  <a:gd name="connsiteY3" fmla="*/ 67283 h 69077"/>
                  <a:gd name="connsiteX4" fmla="*/ 29306 w 68359"/>
                  <a:gd name="connsiteY4" fmla="*/ 66266 h 69077"/>
                  <a:gd name="connsiteX5" fmla="*/ 12380 w 68359"/>
                  <a:gd name="connsiteY5" fmla="*/ 24641 h 69077"/>
                  <a:gd name="connsiteX6" fmla="*/ 40071 w 68359"/>
                  <a:gd name="connsiteY6" fmla="*/ 2632 h 69077"/>
                  <a:gd name="connsiteX7" fmla="*/ 40729 w 68359"/>
                  <a:gd name="connsiteY7" fmla="*/ 3529 h 69077"/>
                  <a:gd name="connsiteX8" fmla="*/ 17822 w 68359"/>
                  <a:gd name="connsiteY8" fmla="*/ 22129 h 69077"/>
                  <a:gd name="connsiteX9" fmla="*/ 15968 w 68359"/>
                  <a:gd name="connsiteY9" fmla="*/ 28468 h 69077"/>
                  <a:gd name="connsiteX10" fmla="*/ 29186 w 68359"/>
                  <a:gd name="connsiteY10" fmla="*/ 61900 h 69077"/>
                  <a:gd name="connsiteX11" fmla="*/ 33313 w 68359"/>
                  <a:gd name="connsiteY11" fmla="*/ 65549 h 69077"/>
                  <a:gd name="connsiteX12" fmla="*/ 66864 w 68359"/>
                  <a:gd name="connsiteY12" fmla="*/ 57176 h 69077"/>
                  <a:gd name="connsiteX13" fmla="*/ 43779 w 68359"/>
                  <a:gd name="connsiteY13" fmla="*/ 359 h 69077"/>
                  <a:gd name="connsiteX14" fmla="*/ 44736 w 68359"/>
                  <a:gd name="connsiteY14" fmla="*/ 0 h 69077"/>
                  <a:gd name="connsiteX15" fmla="*/ 68360 w 68359"/>
                  <a:gd name="connsiteY15" fmla="*/ 58133 h 69077"/>
                  <a:gd name="connsiteX16" fmla="*/ 26016 w 68359"/>
                  <a:gd name="connsiteY16" fmla="*/ 69077 h 69077"/>
                  <a:gd name="connsiteX17" fmla="*/ 0 w 68359"/>
                  <a:gd name="connsiteY17" fmla="*/ 5084 h 69077"/>
                  <a:gd name="connsiteX18" fmla="*/ 3648 w 68359"/>
                  <a:gd name="connsiteY18" fmla="*/ 6519 h 69077"/>
                  <a:gd name="connsiteX19" fmla="*/ 3529 w 68359"/>
                  <a:gd name="connsiteY19" fmla="*/ 6280 h 69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359" h="69077">
                    <a:moveTo>
                      <a:pt x="3529" y="6280"/>
                    </a:moveTo>
                    <a:cubicBezTo>
                      <a:pt x="3708" y="7775"/>
                      <a:pt x="3588" y="9450"/>
                      <a:pt x="4127" y="10825"/>
                    </a:cubicBezTo>
                    <a:cubicBezTo>
                      <a:pt x="10885" y="28229"/>
                      <a:pt x="17763" y="45573"/>
                      <a:pt x="24700" y="62917"/>
                    </a:cubicBezTo>
                    <a:cubicBezTo>
                      <a:pt x="25358" y="64532"/>
                      <a:pt x="26734" y="65848"/>
                      <a:pt x="27811" y="67283"/>
                    </a:cubicBezTo>
                    <a:cubicBezTo>
                      <a:pt x="28289" y="66924"/>
                      <a:pt x="28827" y="66625"/>
                      <a:pt x="29306" y="66266"/>
                    </a:cubicBezTo>
                    <a:cubicBezTo>
                      <a:pt x="23624" y="52331"/>
                      <a:pt x="18002" y="38396"/>
                      <a:pt x="12380" y="24641"/>
                    </a:cubicBezTo>
                    <a:cubicBezTo>
                      <a:pt x="21949" y="17045"/>
                      <a:pt x="31040" y="9868"/>
                      <a:pt x="40071" y="2632"/>
                    </a:cubicBezTo>
                    <a:cubicBezTo>
                      <a:pt x="40310" y="2931"/>
                      <a:pt x="40490" y="3230"/>
                      <a:pt x="40729" y="3529"/>
                    </a:cubicBezTo>
                    <a:cubicBezTo>
                      <a:pt x="33133" y="9749"/>
                      <a:pt x="25538" y="16028"/>
                      <a:pt x="17822" y="22129"/>
                    </a:cubicBezTo>
                    <a:cubicBezTo>
                      <a:pt x="15669" y="23803"/>
                      <a:pt x="14713" y="25298"/>
                      <a:pt x="15968" y="28468"/>
                    </a:cubicBezTo>
                    <a:cubicBezTo>
                      <a:pt x="20454" y="39592"/>
                      <a:pt x="24641" y="50776"/>
                      <a:pt x="29186" y="61900"/>
                    </a:cubicBezTo>
                    <a:cubicBezTo>
                      <a:pt x="29844" y="63515"/>
                      <a:pt x="32296" y="65788"/>
                      <a:pt x="33313" y="65549"/>
                    </a:cubicBezTo>
                    <a:cubicBezTo>
                      <a:pt x="44257" y="63097"/>
                      <a:pt x="55142" y="60166"/>
                      <a:pt x="66864" y="57176"/>
                    </a:cubicBezTo>
                    <a:cubicBezTo>
                      <a:pt x="58970" y="37738"/>
                      <a:pt x="51375" y="19078"/>
                      <a:pt x="43779" y="359"/>
                    </a:cubicBezTo>
                    <a:cubicBezTo>
                      <a:pt x="44078" y="239"/>
                      <a:pt x="44377" y="120"/>
                      <a:pt x="44736" y="0"/>
                    </a:cubicBezTo>
                    <a:cubicBezTo>
                      <a:pt x="52511" y="19078"/>
                      <a:pt x="60286" y="38157"/>
                      <a:pt x="68360" y="58133"/>
                    </a:cubicBezTo>
                    <a:cubicBezTo>
                      <a:pt x="54006" y="61841"/>
                      <a:pt x="40071" y="65429"/>
                      <a:pt x="26016" y="69077"/>
                    </a:cubicBezTo>
                    <a:cubicBezTo>
                      <a:pt x="17583" y="48324"/>
                      <a:pt x="9031" y="27272"/>
                      <a:pt x="0" y="5084"/>
                    </a:cubicBezTo>
                    <a:cubicBezTo>
                      <a:pt x="1914" y="5801"/>
                      <a:pt x="2751" y="6160"/>
                      <a:pt x="3648" y="6519"/>
                    </a:cubicBezTo>
                    <a:lnTo>
                      <a:pt x="3529" y="6280"/>
                    </a:lnTo>
                    <a:close/>
                  </a:path>
                </a:pathLst>
              </a:custGeom>
              <a:grpFill/>
              <a:ln w="6350" cap="flat">
                <a:solidFill>
                  <a:schemeClr val="bg1">
                    <a:alpha val="80000"/>
                  </a:schemeClr>
                </a:solidFill>
                <a:prstDash val="solid"/>
                <a:miter/>
              </a:ln>
            </p:spPr>
            <p:txBody>
              <a:bodyPr rtlCol="0" anchor="ctr"/>
              <a:lstStyle/>
              <a:p>
                <a:endParaRPr lang="en-GB"/>
              </a:p>
            </p:txBody>
          </p:sp>
          <p:sp>
            <p:nvSpPr>
              <p:cNvPr id="9345" name="Vrije vorm: vorm 9344">
                <a:extLst>
                  <a:ext uri="{FF2B5EF4-FFF2-40B4-BE49-F238E27FC236}">
                    <a16:creationId xmlns:a16="http://schemas.microsoft.com/office/drawing/2014/main" id="{70743229-2D58-45CF-9E95-019832763850}"/>
                  </a:ext>
                </a:extLst>
              </p:cNvPr>
              <p:cNvSpPr/>
              <p:nvPr/>
            </p:nvSpPr>
            <p:spPr>
              <a:xfrm>
                <a:off x="5553419" y="1744198"/>
                <a:ext cx="51912" cy="68299"/>
              </a:xfrm>
              <a:custGeom>
                <a:avLst/>
                <a:gdLst>
                  <a:gd name="connsiteX0" fmla="*/ 48025 w 51912"/>
                  <a:gd name="connsiteY0" fmla="*/ 50716 h 68299"/>
                  <a:gd name="connsiteX1" fmla="*/ 20335 w 51912"/>
                  <a:gd name="connsiteY1" fmla="*/ 68300 h 68299"/>
                  <a:gd name="connsiteX2" fmla="*/ 0 w 51912"/>
                  <a:gd name="connsiteY2" fmla="*/ 18301 h 68299"/>
                  <a:gd name="connsiteX3" fmla="*/ 31638 w 51912"/>
                  <a:gd name="connsiteY3" fmla="*/ 0 h 68299"/>
                  <a:gd name="connsiteX4" fmla="*/ 51913 w 51912"/>
                  <a:gd name="connsiteY4" fmla="*/ 49819 h 68299"/>
                  <a:gd name="connsiteX5" fmla="*/ 47906 w 51912"/>
                  <a:gd name="connsiteY5" fmla="*/ 50896 h 68299"/>
                  <a:gd name="connsiteX6" fmla="*/ 39892 w 51912"/>
                  <a:gd name="connsiteY6" fmla="*/ 40011 h 68299"/>
                  <a:gd name="connsiteX7" fmla="*/ 19617 w 51912"/>
                  <a:gd name="connsiteY7" fmla="*/ 41805 h 68299"/>
                  <a:gd name="connsiteX8" fmla="*/ 43420 w 51912"/>
                  <a:gd name="connsiteY8" fmla="*/ 37858 h 68299"/>
                  <a:gd name="connsiteX9" fmla="*/ 30681 w 51912"/>
                  <a:gd name="connsiteY9" fmla="*/ 6579 h 68299"/>
                  <a:gd name="connsiteX10" fmla="*/ 31758 w 51912"/>
                  <a:gd name="connsiteY10" fmla="*/ 6160 h 68299"/>
                  <a:gd name="connsiteX11" fmla="*/ 43660 w 51912"/>
                  <a:gd name="connsiteY11" fmla="*/ 35406 h 68299"/>
                  <a:gd name="connsiteX12" fmla="*/ 44138 w 51912"/>
                  <a:gd name="connsiteY12" fmla="*/ 35226 h 68299"/>
                  <a:gd name="connsiteX13" fmla="*/ 30621 w 51912"/>
                  <a:gd name="connsiteY13" fmla="*/ 2033 h 68299"/>
                  <a:gd name="connsiteX14" fmla="*/ 2153 w 51912"/>
                  <a:gd name="connsiteY14" fmla="*/ 18720 h 68299"/>
                  <a:gd name="connsiteX15" fmla="*/ 11603 w 51912"/>
                  <a:gd name="connsiteY15" fmla="*/ 41865 h 68299"/>
                  <a:gd name="connsiteX16" fmla="*/ 19856 w 51912"/>
                  <a:gd name="connsiteY16" fmla="*/ 41865 h 68299"/>
                  <a:gd name="connsiteX17" fmla="*/ 12261 w 51912"/>
                  <a:gd name="connsiteY17" fmla="*/ 44078 h 68299"/>
                  <a:gd name="connsiteX18" fmla="*/ 21052 w 51912"/>
                  <a:gd name="connsiteY18" fmla="*/ 65609 h 68299"/>
                  <a:gd name="connsiteX19" fmla="*/ 27751 w 51912"/>
                  <a:gd name="connsiteY19" fmla="*/ 61841 h 68299"/>
                  <a:gd name="connsiteX20" fmla="*/ 48025 w 51912"/>
                  <a:gd name="connsiteY20" fmla="*/ 50716 h 6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912" h="68299">
                    <a:moveTo>
                      <a:pt x="48025" y="50716"/>
                    </a:moveTo>
                    <a:cubicBezTo>
                      <a:pt x="38875" y="56518"/>
                      <a:pt x="29665" y="62379"/>
                      <a:pt x="20335" y="68300"/>
                    </a:cubicBezTo>
                    <a:cubicBezTo>
                      <a:pt x="13576" y="51673"/>
                      <a:pt x="6818" y="34987"/>
                      <a:pt x="0" y="18301"/>
                    </a:cubicBezTo>
                    <a:cubicBezTo>
                      <a:pt x="10706" y="12081"/>
                      <a:pt x="21172" y="6040"/>
                      <a:pt x="31638" y="0"/>
                    </a:cubicBezTo>
                    <a:cubicBezTo>
                      <a:pt x="38277" y="16327"/>
                      <a:pt x="45035" y="32894"/>
                      <a:pt x="51913" y="49819"/>
                    </a:cubicBezTo>
                    <a:cubicBezTo>
                      <a:pt x="50298" y="50298"/>
                      <a:pt x="49102" y="50597"/>
                      <a:pt x="47906" y="50896"/>
                    </a:cubicBezTo>
                    <a:cubicBezTo>
                      <a:pt x="50238" y="43540"/>
                      <a:pt x="47068" y="39293"/>
                      <a:pt x="39892" y="40011"/>
                    </a:cubicBezTo>
                    <a:cubicBezTo>
                      <a:pt x="33133" y="40669"/>
                      <a:pt x="26375" y="41207"/>
                      <a:pt x="19617" y="41805"/>
                    </a:cubicBezTo>
                    <a:cubicBezTo>
                      <a:pt x="27272" y="40549"/>
                      <a:pt x="34987" y="39293"/>
                      <a:pt x="43420" y="37858"/>
                    </a:cubicBezTo>
                    <a:cubicBezTo>
                      <a:pt x="39054" y="27093"/>
                      <a:pt x="34868" y="16866"/>
                      <a:pt x="30681" y="6579"/>
                    </a:cubicBezTo>
                    <a:cubicBezTo>
                      <a:pt x="31040" y="6459"/>
                      <a:pt x="31399" y="6280"/>
                      <a:pt x="31758" y="6160"/>
                    </a:cubicBezTo>
                    <a:cubicBezTo>
                      <a:pt x="35705" y="15909"/>
                      <a:pt x="39712" y="25657"/>
                      <a:pt x="43660" y="35406"/>
                    </a:cubicBezTo>
                    <a:cubicBezTo>
                      <a:pt x="43839" y="35346"/>
                      <a:pt x="43959" y="35286"/>
                      <a:pt x="44138" y="35226"/>
                    </a:cubicBezTo>
                    <a:cubicBezTo>
                      <a:pt x="39652" y="24282"/>
                      <a:pt x="35227" y="13277"/>
                      <a:pt x="30621" y="2033"/>
                    </a:cubicBezTo>
                    <a:cubicBezTo>
                      <a:pt x="20992" y="7715"/>
                      <a:pt x="11662" y="13158"/>
                      <a:pt x="2153" y="18720"/>
                    </a:cubicBezTo>
                    <a:cubicBezTo>
                      <a:pt x="5562" y="27033"/>
                      <a:pt x="8553" y="34509"/>
                      <a:pt x="11603" y="41865"/>
                    </a:cubicBezTo>
                    <a:cubicBezTo>
                      <a:pt x="14474" y="41865"/>
                      <a:pt x="17165" y="41865"/>
                      <a:pt x="19856" y="41865"/>
                    </a:cubicBezTo>
                    <a:cubicBezTo>
                      <a:pt x="17524" y="42583"/>
                      <a:pt x="15131" y="43241"/>
                      <a:pt x="12261" y="44078"/>
                    </a:cubicBezTo>
                    <a:cubicBezTo>
                      <a:pt x="15131" y="51195"/>
                      <a:pt x="18002" y="58133"/>
                      <a:pt x="21052" y="65609"/>
                    </a:cubicBezTo>
                    <a:cubicBezTo>
                      <a:pt x="23385" y="64293"/>
                      <a:pt x="25598" y="63037"/>
                      <a:pt x="27751" y="61841"/>
                    </a:cubicBezTo>
                    <a:cubicBezTo>
                      <a:pt x="34509" y="58192"/>
                      <a:pt x="41267" y="54484"/>
                      <a:pt x="48025" y="5071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46" name="Vrije vorm: vorm 9345">
                <a:extLst>
                  <a:ext uri="{FF2B5EF4-FFF2-40B4-BE49-F238E27FC236}">
                    <a16:creationId xmlns:a16="http://schemas.microsoft.com/office/drawing/2014/main" id="{6B756AB5-4862-4A1F-A523-616090F17BDC}"/>
                  </a:ext>
                </a:extLst>
              </p:cNvPr>
              <p:cNvSpPr/>
              <p:nvPr/>
            </p:nvSpPr>
            <p:spPr>
              <a:xfrm>
                <a:off x="5409403" y="1386850"/>
                <a:ext cx="53826" cy="63933"/>
              </a:xfrm>
              <a:custGeom>
                <a:avLst/>
                <a:gdLst>
                  <a:gd name="connsiteX0" fmla="*/ 35585 w 53826"/>
                  <a:gd name="connsiteY0" fmla="*/ 5502 h 63933"/>
                  <a:gd name="connsiteX1" fmla="*/ 53827 w 53826"/>
                  <a:gd name="connsiteY1" fmla="*/ 50358 h 63933"/>
                  <a:gd name="connsiteX2" fmla="*/ 20514 w 53826"/>
                  <a:gd name="connsiteY2" fmla="*/ 63934 h 63933"/>
                  <a:gd name="connsiteX3" fmla="*/ 0 w 53826"/>
                  <a:gd name="connsiteY3" fmla="*/ 13516 h 63933"/>
                  <a:gd name="connsiteX4" fmla="*/ 33193 w 53826"/>
                  <a:gd name="connsiteY4" fmla="*/ 0 h 63933"/>
                  <a:gd name="connsiteX5" fmla="*/ 33671 w 53826"/>
                  <a:gd name="connsiteY5" fmla="*/ 1017 h 63933"/>
                  <a:gd name="connsiteX6" fmla="*/ 2572 w 53826"/>
                  <a:gd name="connsiteY6" fmla="*/ 13636 h 63933"/>
                  <a:gd name="connsiteX7" fmla="*/ 22069 w 53826"/>
                  <a:gd name="connsiteY7" fmla="*/ 61601 h 63933"/>
                  <a:gd name="connsiteX8" fmla="*/ 24880 w 53826"/>
                  <a:gd name="connsiteY8" fmla="*/ 55561 h 63933"/>
                  <a:gd name="connsiteX9" fmla="*/ 8612 w 53826"/>
                  <a:gd name="connsiteY9" fmla="*/ 15610 h 63933"/>
                  <a:gd name="connsiteX10" fmla="*/ 9928 w 53826"/>
                  <a:gd name="connsiteY10" fmla="*/ 15071 h 63933"/>
                  <a:gd name="connsiteX11" fmla="*/ 27990 w 53826"/>
                  <a:gd name="connsiteY11" fmla="*/ 59448 h 63933"/>
                  <a:gd name="connsiteX12" fmla="*/ 49401 w 53826"/>
                  <a:gd name="connsiteY12" fmla="*/ 50477 h 63933"/>
                  <a:gd name="connsiteX13" fmla="*/ 50298 w 53826"/>
                  <a:gd name="connsiteY13" fmla="*/ 44796 h 63933"/>
                  <a:gd name="connsiteX14" fmla="*/ 37320 w 53826"/>
                  <a:gd name="connsiteY14" fmla="*/ 11902 h 63933"/>
                  <a:gd name="connsiteX15" fmla="*/ 34867 w 53826"/>
                  <a:gd name="connsiteY15" fmla="*/ 5801 h 63933"/>
                  <a:gd name="connsiteX16" fmla="*/ 35585 w 53826"/>
                  <a:gd name="connsiteY16" fmla="*/ 5502 h 63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826" h="63933">
                    <a:moveTo>
                      <a:pt x="35585" y="5502"/>
                    </a:moveTo>
                    <a:cubicBezTo>
                      <a:pt x="41626" y="20275"/>
                      <a:pt x="47606" y="35047"/>
                      <a:pt x="53827" y="50358"/>
                    </a:cubicBezTo>
                    <a:cubicBezTo>
                      <a:pt x="42762" y="54843"/>
                      <a:pt x="31578" y="59389"/>
                      <a:pt x="20514" y="63934"/>
                    </a:cubicBezTo>
                    <a:cubicBezTo>
                      <a:pt x="13696" y="47248"/>
                      <a:pt x="6878" y="30382"/>
                      <a:pt x="0" y="13516"/>
                    </a:cubicBezTo>
                    <a:cubicBezTo>
                      <a:pt x="11124" y="8971"/>
                      <a:pt x="22188" y="4486"/>
                      <a:pt x="33193" y="0"/>
                    </a:cubicBezTo>
                    <a:cubicBezTo>
                      <a:pt x="33372" y="359"/>
                      <a:pt x="33492" y="658"/>
                      <a:pt x="33671" y="1017"/>
                    </a:cubicBezTo>
                    <a:cubicBezTo>
                      <a:pt x="23384" y="5203"/>
                      <a:pt x="13098" y="9390"/>
                      <a:pt x="2572" y="13636"/>
                    </a:cubicBezTo>
                    <a:cubicBezTo>
                      <a:pt x="9210" y="29904"/>
                      <a:pt x="15610" y="45633"/>
                      <a:pt x="22069" y="61601"/>
                    </a:cubicBezTo>
                    <a:cubicBezTo>
                      <a:pt x="26255" y="61601"/>
                      <a:pt x="26495" y="59448"/>
                      <a:pt x="24880" y="55561"/>
                    </a:cubicBezTo>
                    <a:cubicBezTo>
                      <a:pt x="19377" y="42284"/>
                      <a:pt x="13995" y="28947"/>
                      <a:pt x="8612" y="15610"/>
                    </a:cubicBezTo>
                    <a:cubicBezTo>
                      <a:pt x="9031" y="15430"/>
                      <a:pt x="9509" y="15251"/>
                      <a:pt x="9928" y="15071"/>
                    </a:cubicBezTo>
                    <a:cubicBezTo>
                      <a:pt x="15849" y="29664"/>
                      <a:pt x="21829" y="44317"/>
                      <a:pt x="27990" y="59448"/>
                    </a:cubicBezTo>
                    <a:cubicBezTo>
                      <a:pt x="35466" y="56398"/>
                      <a:pt x="42523" y="53767"/>
                      <a:pt x="49401" y="50477"/>
                    </a:cubicBezTo>
                    <a:cubicBezTo>
                      <a:pt x="50417" y="49999"/>
                      <a:pt x="50896" y="46410"/>
                      <a:pt x="50298" y="44796"/>
                    </a:cubicBezTo>
                    <a:cubicBezTo>
                      <a:pt x="46171" y="33791"/>
                      <a:pt x="41685" y="22846"/>
                      <a:pt x="37320" y="11902"/>
                    </a:cubicBezTo>
                    <a:cubicBezTo>
                      <a:pt x="36482" y="9868"/>
                      <a:pt x="35645" y="7835"/>
                      <a:pt x="34867" y="5801"/>
                    </a:cubicBezTo>
                    <a:cubicBezTo>
                      <a:pt x="35107" y="5741"/>
                      <a:pt x="35346" y="5622"/>
                      <a:pt x="35585" y="550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47" name="Vrije vorm: vorm 9346">
                <a:extLst>
                  <a:ext uri="{FF2B5EF4-FFF2-40B4-BE49-F238E27FC236}">
                    <a16:creationId xmlns:a16="http://schemas.microsoft.com/office/drawing/2014/main" id="{C7AE1F06-E390-4CAC-A370-10A6DBFD46F7}"/>
                  </a:ext>
                </a:extLst>
              </p:cNvPr>
              <p:cNvSpPr/>
              <p:nvPr/>
            </p:nvSpPr>
            <p:spPr>
              <a:xfrm>
                <a:off x="4883100" y="1310536"/>
                <a:ext cx="52809" cy="84088"/>
              </a:xfrm>
              <a:custGeom>
                <a:avLst/>
                <a:gdLst>
                  <a:gd name="connsiteX0" fmla="*/ 11423 w 52809"/>
                  <a:gd name="connsiteY0" fmla="*/ 44497 h 84088"/>
                  <a:gd name="connsiteX1" fmla="*/ 26554 w 52809"/>
                  <a:gd name="connsiteY1" fmla="*/ 81637 h 84088"/>
                  <a:gd name="connsiteX2" fmla="*/ 40549 w 52809"/>
                  <a:gd name="connsiteY2" fmla="*/ 72486 h 84088"/>
                  <a:gd name="connsiteX3" fmla="*/ 28767 w 52809"/>
                  <a:gd name="connsiteY3" fmla="*/ 43599 h 84088"/>
                  <a:gd name="connsiteX4" fmla="*/ 29784 w 52809"/>
                  <a:gd name="connsiteY4" fmla="*/ 43181 h 84088"/>
                  <a:gd name="connsiteX5" fmla="*/ 41327 w 52809"/>
                  <a:gd name="connsiteY5" fmla="*/ 71529 h 84088"/>
                  <a:gd name="connsiteX6" fmla="*/ 49520 w 52809"/>
                  <a:gd name="connsiteY6" fmla="*/ 66207 h 84088"/>
                  <a:gd name="connsiteX7" fmla="*/ 50118 w 52809"/>
                  <a:gd name="connsiteY7" fmla="*/ 62199 h 84088"/>
                  <a:gd name="connsiteX8" fmla="*/ 25777 w 52809"/>
                  <a:gd name="connsiteY8" fmla="*/ 2153 h 84088"/>
                  <a:gd name="connsiteX9" fmla="*/ 658 w 52809"/>
                  <a:gd name="connsiteY9" fmla="*/ 21232 h 84088"/>
                  <a:gd name="connsiteX10" fmla="*/ 0 w 52809"/>
                  <a:gd name="connsiteY10" fmla="*/ 20334 h 84088"/>
                  <a:gd name="connsiteX11" fmla="*/ 26076 w 52809"/>
                  <a:gd name="connsiteY11" fmla="*/ 0 h 84088"/>
                  <a:gd name="connsiteX12" fmla="*/ 52810 w 52809"/>
                  <a:gd name="connsiteY12" fmla="*/ 65788 h 84088"/>
                  <a:gd name="connsiteX13" fmla="*/ 25956 w 52809"/>
                  <a:gd name="connsiteY13" fmla="*/ 84089 h 84088"/>
                  <a:gd name="connsiteX14" fmla="*/ 1854 w 52809"/>
                  <a:gd name="connsiteY14" fmla="*/ 24880 h 84088"/>
                  <a:gd name="connsiteX15" fmla="*/ 11064 w 52809"/>
                  <a:gd name="connsiteY15" fmla="*/ 26614 h 84088"/>
                  <a:gd name="connsiteX16" fmla="*/ 21052 w 52809"/>
                  <a:gd name="connsiteY16" fmla="*/ 24641 h 84088"/>
                  <a:gd name="connsiteX17" fmla="*/ 5562 w 52809"/>
                  <a:gd name="connsiteY17" fmla="*/ 29784 h 84088"/>
                  <a:gd name="connsiteX18" fmla="*/ 10885 w 52809"/>
                  <a:gd name="connsiteY18" fmla="*/ 42882 h 84088"/>
                  <a:gd name="connsiteX19" fmla="*/ 27272 w 52809"/>
                  <a:gd name="connsiteY19" fmla="*/ 38097 h 84088"/>
                  <a:gd name="connsiteX20" fmla="*/ 27631 w 52809"/>
                  <a:gd name="connsiteY20" fmla="*/ 39054 h 84088"/>
                  <a:gd name="connsiteX21" fmla="*/ 11423 w 52809"/>
                  <a:gd name="connsiteY21" fmla="*/ 44497 h 8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809" h="84088">
                    <a:moveTo>
                      <a:pt x="11423" y="44497"/>
                    </a:moveTo>
                    <a:cubicBezTo>
                      <a:pt x="16566" y="57236"/>
                      <a:pt x="21411" y="69017"/>
                      <a:pt x="26554" y="81637"/>
                    </a:cubicBezTo>
                    <a:cubicBezTo>
                      <a:pt x="31279" y="78527"/>
                      <a:pt x="35705" y="75596"/>
                      <a:pt x="40549" y="72486"/>
                    </a:cubicBezTo>
                    <a:cubicBezTo>
                      <a:pt x="36542" y="62678"/>
                      <a:pt x="32655" y="53109"/>
                      <a:pt x="28767" y="43599"/>
                    </a:cubicBezTo>
                    <a:cubicBezTo>
                      <a:pt x="29126" y="43480"/>
                      <a:pt x="29425" y="43300"/>
                      <a:pt x="29784" y="43181"/>
                    </a:cubicBezTo>
                    <a:cubicBezTo>
                      <a:pt x="33552" y="52391"/>
                      <a:pt x="37260" y="61542"/>
                      <a:pt x="41327" y="71529"/>
                    </a:cubicBezTo>
                    <a:cubicBezTo>
                      <a:pt x="44497" y="69556"/>
                      <a:pt x="47188" y="68180"/>
                      <a:pt x="49520" y="66207"/>
                    </a:cubicBezTo>
                    <a:cubicBezTo>
                      <a:pt x="50298" y="65549"/>
                      <a:pt x="50597" y="63336"/>
                      <a:pt x="50118" y="62199"/>
                    </a:cubicBezTo>
                    <a:cubicBezTo>
                      <a:pt x="42224" y="42403"/>
                      <a:pt x="34150" y="22727"/>
                      <a:pt x="25777" y="2153"/>
                    </a:cubicBezTo>
                    <a:cubicBezTo>
                      <a:pt x="17045" y="8792"/>
                      <a:pt x="8851" y="15012"/>
                      <a:pt x="658" y="21232"/>
                    </a:cubicBezTo>
                    <a:cubicBezTo>
                      <a:pt x="419" y="20933"/>
                      <a:pt x="239" y="20633"/>
                      <a:pt x="0" y="20334"/>
                    </a:cubicBezTo>
                    <a:cubicBezTo>
                      <a:pt x="8612" y="13576"/>
                      <a:pt x="17225" y="6878"/>
                      <a:pt x="26076" y="0"/>
                    </a:cubicBezTo>
                    <a:cubicBezTo>
                      <a:pt x="34987" y="21949"/>
                      <a:pt x="43898" y="43839"/>
                      <a:pt x="52810" y="65788"/>
                    </a:cubicBezTo>
                    <a:cubicBezTo>
                      <a:pt x="43898" y="71888"/>
                      <a:pt x="34987" y="77929"/>
                      <a:pt x="25956" y="84089"/>
                    </a:cubicBezTo>
                    <a:cubicBezTo>
                      <a:pt x="18002" y="64472"/>
                      <a:pt x="9928" y="44676"/>
                      <a:pt x="1854" y="24880"/>
                    </a:cubicBezTo>
                    <a:cubicBezTo>
                      <a:pt x="4725" y="29545"/>
                      <a:pt x="7954" y="27571"/>
                      <a:pt x="11064" y="26614"/>
                    </a:cubicBezTo>
                    <a:cubicBezTo>
                      <a:pt x="14294" y="25597"/>
                      <a:pt x="17523" y="24581"/>
                      <a:pt x="21052" y="24641"/>
                    </a:cubicBezTo>
                    <a:cubicBezTo>
                      <a:pt x="16028" y="26315"/>
                      <a:pt x="10944" y="27990"/>
                      <a:pt x="5562" y="29784"/>
                    </a:cubicBezTo>
                    <a:cubicBezTo>
                      <a:pt x="7296" y="34090"/>
                      <a:pt x="8971" y="38157"/>
                      <a:pt x="10885" y="42882"/>
                    </a:cubicBezTo>
                    <a:cubicBezTo>
                      <a:pt x="16327" y="41267"/>
                      <a:pt x="21829" y="39712"/>
                      <a:pt x="27272" y="38097"/>
                    </a:cubicBezTo>
                    <a:cubicBezTo>
                      <a:pt x="27391" y="38396"/>
                      <a:pt x="27511" y="38755"/>
                      <a:pt x="27631" y="39054"/>
                    </a:cubicBezTo>
                    <a:cubicBezTo>
                      <a:pt x="22428" y="40729"/>
                      <a:pt x="17165" y="42523"/>
                      <a:pt x="11423" y="4449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48" name="Vrije vorm: vorm 9347">
                <a:extLst>
                  <a:ext uri="{FF2B5EF4-FFF2-40B4-BE49-F238E27FC236}">
                    <a16:creationId xmlns:a16="http://schemas.microsoft.com/office/drawing/2014/main" id="{427C8FCA-BC00-4FFE-A863-32047ACE33A4}"/>
                  </a:ext>
                </a:extLst>
              </p:cNvPr>
              <p:cNvSpPr/>
              <p:nvPr/>
            </p:nvSpPr>
            <p:spPr>
              <a:xfrm>
                <a:off x="4883937" y="1204438"/>
                <a:ext cx="52630" cy="85105"/>
              </a:xfrm>
              <a:custGeom>
                <a:avLst/>
                <a:gdLst>
                  <a:gd name="connsiteX0" fmla="*/ 39473 w 52630"/>
                  <a:gd name="connsiteY0" fmla="*/ 39891 h 85105"/>
                  <a:gd name="connsiteX1" fmla="*/ 11364 w 52630"/>
                  <a:gd name="connsiteY1" fmla="*/ 47726 h 85105"/>
                  <a:gd name="connsiteX2" fmla="*/ 17823 w 52630"/>
                  <a:gd name="connsiteY2" fmla="*/ 63635 h 85105"/>
                  <a:gd name="connsiteX3" fmla="*/ 46291 w 52630"/>
                  <a:gd name="connsiteY3" fmla="*/ 55980 h 85105"/>
                  <a:gd name="connsiteX4" fmla="*/ 46590 w 52630"/>
                  <a:gd name="connsiteY4" fmla="*/ 57056 h 85105"/>
                  <a:gd name="connsiteX5" fmla="*/ 18361 w 52630"/>
                  <a:gd name="connsiteY5" fmla="*/ 65070 h 85105"/>
                  <a:gd name="connsiteX6" fmla="*/ 25538 w 52630"/>
                  <a:gd name="connsiteY6" fmla="*/ 82773 h 85105"/>
                  <a:gd name="connsiteX7" fmla="*/ 49521 w 52630"/>
                  <a:gd name="connsiteY7" fmla="*/ 63635 h 85105"/>
                  <a:gd name="connsiteX8" fmla="*/ 49281 w 52630"/>
                  <a:gd name="connsiteY8" fmla="*/ 57834 h 85105"/>
                  <a:gd name="connsiteX9" fmla="*/ 28289 w 52630"/>
                  <a:gd name="connsiteY9" fmla="*/ 5921 h 85105"/>
                  <a:gd name="connsiteX10" fmla="*/ 26913 w 52630"/>
                  <a:gd name="connsiteY10" fmla="*/ 0 h 85105"/>
                  <a:gd name="connsiteX11" fmla="*/ 52631 w 52630"/>
                  <a:gd name="connsiteY11" fmla="*/ 63156 h 85105"/>
                  <a:gd name="connsiteX12" fmla="*/ 24940 w 52630"/>
                  <a:gd name="connsiteY12" fmla="*/ 85106 h 85105"/>
                  <a:gd name="connsiteX13" fmla="*/ 0 w 52630"/>
                  <a:gd name="connsiteY13" fmla="*/ 23863 h 85105"/>
                  <a:gd name="connsiteX14" fmla="*/ 1017 w 52630"/>
                  <a:gd name="connsiteY14" fmla="*/ 23444 h 85105"/>
                  <a:gd name="connsiteX15" fmla="*/ 8373 w 52630"/>
                  <a:gd name="connsiteY15" fmla="*/ 41686 h 85105"/>
                  <a:gd name="connsiteX16" fmla="*/ 15072 w 52630"/>
                  <a:gd name="connsiteY16" fmla="*/ 45334 h 85105"/>
                  <a:gd name="connsiteX17" fmla="*/ 39054 w 52630"/>
                  <a:gd name="connsiteY17" fmla="*/ 38635 h 85105"/>
                  <a:gd name="connsiteX18" fmla="*/ 39473 w 52630"/>
                  <a:gd name="connsiteY18" fmla="*/ 39891 h 85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630" h="85105">
                    <a:moveTo>
                      <a:pt x="39473" y="39891"/>
                    </a:moveTo>
                    <a:cubicBezTo>
                      <a:pt x="30262" y="42463"/>
                      <a:pt x="20992" y="45035"/>
                      <a:pt x="11364" y="47726"/>
                    </a:cubicBezTo>
                    <a:cubicBezTo>
                      <a:pt x="13516" y="53049"/>
                      <a:pt x="15550" y="58013"/>
                      <a:pt x="17823" y="63635"/>
                    </a:cubicBezTo>
                    <a:cubicBezTo>
                      <a:pt x="27213" y="61123"/>
                      <a:pt x="36722" y="58551"/>
                      <a:pt x="46291" y="55980"/>
                    </a:cubicBezTo>
                    <a:cubicBezTo>
                      <a:pt x="46410" y="56338"/>
                      <a:pt x="46530" y="56697"/>
                      <a:pt x="46590" y="57056"/>
                    </a:cubicBezTo>
                    <a:cubicBezTo>
                      <a:pt x="37320" y="59688"/>
                      <a:pt x="28050" y="62319"/>
                      <a:pt x="18361" y="65070"/>
                    </a:cubicBezTo>
                    <a:cubicBezTo>
                      <a:pt x="20753" y="70872"/>
                      <a:pt x="22966" y="76434"/>
                      <a:pt x="25538" y="82773"/>
                    </a:cubicBezTo>
                    <a:cubicBezTo>
                      <a:pt x="33671" y="76374"/>
                      <a:pt x="41746" y="70214"/>
                      <a:pt x="49521" y="63635"/>
                    </a:cubicBezTo>
                    <a:cubicBezTo>
                      <a:pt x="50358" y="62917"/>
                      <a:pt x="49999" y="59628"/>
                      <a:pt x="49281" y="57834"/>
                    </a:cubicBezTo>
                    <a:cubicBezTo>
                      <a:pt x="42403" y="40490"/>
                      <a:pt x="35346" y="23205"/>
                      <a:pt x="28289" y="5921"/>
                    </a:cubicBezTo>
                    <a:cubicBezTo>
                      <a:pt x="27512" y="4067"/>
                      <a:pt x="26794" y="2213"/>
                      <a:pt x="26913" y="0"/>
                    </a:cubicBezTo>
                    <a:cubicBezTo>
                      <a:pt x="35466" y="20992"/>
                      <a:pt x="44018" y="42044"/>
                      <a:pt x="52631" y="63156"/>
                    </a:cubicBezTo>
                    <a:cubicBezTo>
                      <a:pt x="43480" y="70393"/>
                      <a:pt x="34150" y="77809"/>
                      <a:pt x="24940" y="85106"/>
                    </a:cubicBezTo>
                    <a:cubicBezTo>
                      <a:pt x="16686" y="64771"/>
                      <a:pt x="8373" y="44317"/>
                      <a:pt x="0" y="23863"/>
                    </a:cubicBezTo>
                    <a:cubicBezTo>
                      <a:pt x="359" y="23743"/>
                      <a:pt x="658" y="23564"/>
                      <a:pt x="1017" y="23444"/>
                    </a:cubicBezTo>
                    <a:cubicBezTo>
                      <a:pt x="3469" y="29545"/>
                      <a:pt x="6160" y="35526"/>
                      <a:pt x="8373" y="41686"/>
                    </a:cubicBezTo>
                    <a:cubicBezTo>
                      <a:pt x="9808" y="45573"/>
                      <a:pt x="11483" y="46530"/>
                      <a:pt x="15072" y="45334"/>
                    </a:cubicBezTo>
                    <a:cubicBezTo>
                      <a:pt x="22966" y="42762"/>
                      <a:pt x="31040" y="40848"/>
                      <a:pt x="39054" y="38635"/>
                    </a:cubicBezTo>
                    <a:cubicBezTo>
                      <a:pt x="39234" y="39114"/>
                      <a:pt x="39353" y="39473"/>
                      <a:pt x="39473" y="3989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49" name="Vrije vorm: vorm 9348">
                <a:extLst>
                  <a:ext uri="{FF2B5EF4-FFF2-40B4-BE49-F238E27FC236}">
                    <a16:creationId xmlns:a16="http://schemas.microsoft.com/office/drawing/2014/main" id="{63F4CC2B-6DF0-42B2-9036-DAE6D9B7C714}"/>
                  </a:ext>
                </a:extLst>
              </p:cNvPr>
              <p:cNvSpPr/>
              <p:nvPr/>
            </p:nvSpPr>
            <p:spPr>
              <a:xfrm>
                <a:off x="5320051" y="1489180"/>
                <a:ext cx="62916" cy="77570"/>
              </a:xfrm>
              <a:custGeom>
                <a:avLst/>
                <a:gdLst>
                  <a:gd name="connsiteX0" fmla="*/ 20215 w 62916"/>
                  <a:gd name="connsiteY0" fmla="*/ 10227 h 77570"/>
                  <a:gd name="connsiteX1" fmla="*/ 10765 w 62916"/>
                  <a:gd name="connsiteY1" fmla="*/ 14055 h 77570"/>
                  <a:gd name="connsiteX2" fmla="*/ 34449 w 62916"/>
                  <a:gd name="connsiteY2" fmla="*/ 72247 h 77570"/>
                  <a:gd name="connsiteX3" fmla="*/ 62439 w 62916"/>
                  <a:gd name="connsiteY3" fmla="*/ 60884 h 77570"/>
                  <a:gd name="connsiteX4" fmla="*/ 62917 w 62916"/>
                  <a:gd name="connsiteY4" fmla="*/ 62020 h 77570"/>
                  <a:gd name="connsiteX5" fmla="*/ 24700 w 62916"/>
                  <a:gd name="connsiteY5" fmla="*/ 77570 h 77570"/>
                  <a:gd name="connsiteX6" fmla="*/ 0 w 62916"/>
                  <a:gd name="connsiteY6" fmla="*/ 16925 h 77570"/>
                  <a:gd name="connsiteX7" fmla="*/ 41626 w 62916"/>
                  <a:gd name="connsiteY7" fmla="*/ 0 h 77570"/>
                  <a:gd name="connsiteX8" fmla="*/ 42044 w 62916"/>
                  <a:gd name="connsiteY8" fmla="*/ 957 h 77570"/>
                  <a:gd name="connsiteX9" fmla="*/ 21052 w 62916"/>
                  <a:gd name="connsiteY9" fmla="*/ 9509 h 77570"/>
                  <a:gd name="connsiteX10" fmla="*/ 42643 w 62916"/>
                  <a:gd name="connsiteY10" fmla="*/ 62558 h 77570"/>
                  <a:gd name="connsiteX11" fmla="*/ 41626 w 62916"/>
                  <a:gd name="connsiteY11" fmla="*/ 62977 h 77570"/>
                  <a:gd name="connsiteX12" fmla="*/ 20215 w 62916"/>
                  <a:gd name="connsiteY12" fmla="*/ 10227 h 77570"/>
                  <a:gd name="connsiteX13" fmla="*/ 32714 w 62916"/>
                  <a:gd name="connsiteY13" fmla="*/ 73443 h 77570"/>
                  <a:gd name="connsiteX14" fmla="*/ 9031 w 62916"/>
                  <a:gd name="connsiteY14" fmla="*/ 15191 h 77570"/>
                  <a:gd name="connsiteX15" fmla="*/ 2213 w 62916"/>
                  <a:gd name="connsiteY15" fmla="*/ 17942 h 77570"/>
                  <a:gd name="connsiteX16" fmla="*/ 25896 w 62916"/>
                  <a:gd name="connsiteY16" fmla="*/ 76194 h 77570"/>
                  <a:gd name="connsiteX17" fmla="*/ 32714 w 62916"/>
                  <a:gd name="connsiteY17" fmla="*/ 73443 h 7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16" h="77570">
                    <a:moveTo>
                      <a:pt x="20215" y="10227"/>
                    </a:moveTo>
                    <a:cubicBezTo>
                      <a:pt x="16806" y="11603"/>
                      <a:pt x="14174" y="12679"/>
                      <a:pt x="10765" y="14055"/>
                    </a:cubicBezTo>
                    <a:cubicBezTo>
                      <a:pt x="18600" y="33313"/>
                      <a:pt x="26435" y="52571"/>
                      <a:pt x="34449" y="72247"/>
                    </a:cubicBezTo>
                    <a:cubicBezTo>
                      <a:pt x="43420" y="68599"/>
                      <a:pt x="52929" y="64711"/>
                      <a:pt x="62439" y="60884"/>
                    </a:cubicBezTo>
                    <a:cubicBezTo>
                      <a:pt x="62618" y="61243"/>
                      <a:pt x="62798" y="61601"/>
                      <a:pt x="62917" y="62020"/>
                    </a:cubicBezTo>
                    <a:cubicBezTo>
                      <a:pt x="50238" y="67164"/>
                      <a:pt x="37559" y="72307"/>
                      <a:pt x="24700" y="77570"/>
                    </a:cubicBezTo>
                    <a:cubicBezTo>
                      <a:pt x="16925" y="58432"/>
                      <a:pt x="8552" y="37858"/>
                      <a:pt x="0" y="16925"/>
                    </a:cubicBezTo>
                    <a:cubicBezTo>
                      <a:pt x="13935" y="11244"/>
                      <a:pt x="27750" y="5622"/>
                      <a:pt x="41626" y="0"/>
                    </a:cubicBezTo>
                    <a:cubicBezTo>
                      <a:pt x="41745" y="299"/>
                      <a:pt x="41925" y="598"/>
                      <a:pt x="42044" y="957"/>
                    </a:cubicBezTo>
                    <a:cubicBezTo>
                      <a:pt x="35226" y="3708"/>
                      <a:pt x="28468" y="6459"/>
                      <a:pt x="21052" y="9509"/>
                    </a:cubicBezTo>
                    <a:cubicBezTo>
                      <a:pt x="28468" y="27751"/>
                      <a:pt x="35585" y="45154"/>
                      <a:pt x="42643" y="62558"/>
                    </a:cubicBezTo>
                    <a:cubicBezTo>
                      <a:pt x="42284" y="62678"/>
                      <a:pt x="41984" y="62857"/>
                      <a:pt x="41626" y="62977"/>
                    </a:cubicBezTo>
                    <a:cubicBezTo>
                      <a:pt x="34568" y="45513"/>
                      <a:pt x="27511" y="28169"/>
                      <a:pt x="20215" y="10227"/>
                    </a:cubicBezTo>
                    <a:close/>
                    <a:moveTo>
                      <a:pt x="32714" y="73443"/>
                    </a:moveTo>
                    <a:cubicBezTo>
                      <a:pt x="24641" y="53587"/>
                      <a:pt x="16806" y="34389"/>
                      <a:pt x="9031" y="15191"/>
                    </a:cubicBezTo>
                    <a:cubicBezTo>
                      <a:pt x="6579" y="16208"/>
                      <a:pt x="4545" y="17045"/>
                      <a:pt x="2213" y="17942"/>
                    </a:cubicBezTo>
                    <a:cubicBezTo>
                      <a:pt x="10227" y="37619"/>
                      <a:pt x="18062" y="56877"/>
                      <a:pt x="25896" y="76194"/>
                    </a:cubicBezTo>
                    <a:cubicBezTo>
                      <a:pt x="28289" y="75297"/>
                      <a:pt x="30262" y="74460"/>
                      <a:pt x="32714" y="7344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50" name="Vrije vorm: vorm 9349">
                <a:extLst>
                  <a:ext uri="{FF2B5EF4-FFF2-40B4-BE49-F238E27FC236}">
                    <a16:creationId xmlns:a16="http://schemas.microsoft.com/office/drawing/2014/main" id="{E6A10299-760B-493A-9209-FC27B05BDF63}"/>
                  </a:ext>
                </a:extLst>
              </p:cNvPr>
              <p:cNvSpPr/>
              <p:nvPr/>
            </p:nvSpPr>
            <p:spPr>
              <a:xfrm>
                <a:off x="4952297" y="2045626"/>
                <a:ext cx="78287" cy="95452"/>
              </a:xfrm>
              <a:custGeom>
                <a:avLst/>
                <a:gdLst>
                  <a:gd name="connsiteX0" fmla="*/ 26853 w 78287"/>
                  <a:gd name="connsiteY0" fmla="*/ 95452 h 95452"/>
                  <a:gd name="connsiteX1" fmla="*/ 0 w 78287"/>
                  <a:gd name="connsiteY1" fmla="*/ 29485 h 95452"/>
                  <a:gd name="connsiteX2" fmla="*/ 51972 w 78287"/>
                  <a:gd name="connsiteY2" fmla="*/ 0 h 95452"/>
                  <a:gd name="connsiteX3" fmla="*/ 78287 w 78287"/>
                  <a:gd name="connsiteY3" fmla="*/ 64711 h 95452"/>
                  <a:gd name="connsiteX4" fmla="*/ 26853 w 78287"/>
                  <a:gd name="connsiteY4" fmla="*/ 95452 h 95452"/>
                  <a:gd name="connsiteX5" fmla="*/ 27332 w 78287"/>
                  <a:gd name="connsiteY5" fmla="*/ 93120 h 95452"/>
                  <a:gd name="connsiteX6" fmla="*/ 34030 w 78287"/>
                  <a:gd name="connsiteY6" fmla="*/ 89711 h 95452"/>
                  <a:gd name="connsiteX7" fmla="*/ 72905 w 78287"/>
                  <a:gd name="connsiteY7" fmla="*/ 66506 h 95452"/>
                  <a:gd name="connsiteX8" fmla="*/ 74998 w 78287"/>
                  <a:gd name="connsiteY8" fmla="*/ 59149 h 95452"/>
                  <a:gd name="connsiteX9" fmla="*/ 53587 w 78287"/>
                  <a:gd name="connsiteY9" fmla="*/ 7416 h 95452"/>
                  <a:gd name="connsiteX10" fmla="*/ 51135 w 78287"/>
                  <a:gd name="connsiteY10" fmla="*/ 2691 h 95452"/>
                  <a:gd name="connsiteX11" fmla="*/ 48683 w 78287"/>
                  <a:gd name="connsiteY11" fmla="*/ 3529 h 95452"/>
                  <a:gd name="connsiteX12" fmla="*/ 4545 w 78287"/>
                  <a:gd name="connsiteY12" fmla="*/ 28528 h 95452"/>
                  <a:gd name="connsiteX13" fmla="*/ 3050 w 78287"/>
                  <a:gd name="connsiteY13" fmla="*/ 33073 h 95452"/>
                  <a:gd name="connsiteX14" fmla="*/ 27332 w 78287"/>
                  <a:gd name="connsiteY14" fmla="*/ 93120 h 9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87" h="95452">
                    <a:moveTo>
                      <a:pt x="26853" y="95452"/>
                    </a:moveTo>
                    <a:cubicBezTo>
                      <a:pt x="17942" y="73563"/>
                      <a:pt x="8971" y="51554"/>
                      <a:pt x="0" y="29485"/>
                    </a:cubicBezTo>
                    <a:cubicBezTo>
                      <a:pt x="17105" y="19796"/>
                      <a:pt x="34329" y="10048"/>
                      <a:pt x="51972" y="0"/>
                    </a:cubicBezTo>
                    <a:cubicBezTo>
                      <a:pt x="60704" y="21471"/>
                      <a:pt x="69496" y="43121"/>
                      <a:pt x="78287" y="64711"/>
                    </a:cubicBezTo>
                    <a:cubicBezTo>
                      <a:pt x="61362" y="74879"/>
                      <a:pt x="44257" y="85046"/>
                      <a:pt x="26853" y="95452"/>
                    </a:cubicBezTo>
                    <a:close/>
                    <a:moveTo>
                      <a:pt x="27332" y="93120"/>
                    </a:moveTo>
                    <a:cubicBezTo>
                      <a:pt x="30203" y="91684"/>
                      <a:pt x="32176" y="90787"/>
                      <a:pt x="34030" y="89711"/>
                    </a:cubicBezTo>
                    <a:cubicBezTo>
                      <a:pt x="47008" y="81996"/>
                      <a:pt x="59807" y="74041"/>
                      <a:pt x="72905" y="66506"/>
                    </a:cubicBezTo>
                    <a:cubicBezTo>
                      <a:pt x="76254" y="64592"/>
                      <a:pt x="76613" y="62857"/>
                      <a:pt x="74998" y="59149"/>
                    </a:cubicBezTo>
                    <a:cubicBezTo>
                      <a:pt x="67761" y="41925"/>
                      <a:pt x="60764" y="24641"/>
                      <a:pt x="53587" y="7416"/>
                    </a:cubicBezTo>
                    <a:cubicBezTo>
                      <a:pt x="52929" y="5801"/>
                      <a:pt x="51972" y="4306"/>
                      <a:pt x="51135" y="2691"/>
                    </a:cubicBezTo>
                    <a:cubicBezTo>
                      <a:pt x="49999" y="3050"/>
                      <a:pt x="49281" y="3170"/>
                      <a:pt x="48683" y="3529"/>
                    </a:cubicBezTo>
                    <a:cubicBezTo>
                      <a:pt x="33911" y="11782"/>
                      <a:pt x="19198" y="20035"/>
                      <a:pt x="4545" y="28528"/>
                    </a:cubicBezTo>
                    <a:cubicBezTo>
                      <a:pt x="3528" y="29126"/>
                      <a:pt x="2572" y="31877"/>
                      <a:pt x="3050" y="33073"/>
                    </a:cubicBezTo>
                    <a:cubicBezTo>
                      <a:pt x="10885" y="52870"/>
                      <a:pt x="18959" y="72546"/>
                      <a:pt x="27332" y="9312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51" name="Vrije vorm: vorm 9350">
                <a:extLst>
                  <a:ext uri="{FF2B5EF4-FFF2-40B4-BE49-F238E27FC236}">
                    <a16:creationId xmlns:a16="http://schemas.microsoft.com/office/drawing/2014/main" id="{BF266020-876F-47FB-913B-7E673489C8C5}"/>
                  </a:ext>
                </a:extLst>
              </p:cNvPr>
              <p:cNvSpPr/>
              <p:nvPr/>
            </p:nvSpPr>
            <p:spPr>
              <a:xfrm>
                <a:off x="5044519" y="1611546"/>
                <a:ext cx="59149" cy="77390"/>
              </a:xfrm>
              <a:custGeom>
                <a:avLst/>
                <a:gdLst>
                  <a:gd name="connsiteX0" fmla="*/ 0 w 59149"/>
                  <a:gd name="connsiteY0" fmla="*/ 12859 h 77390"/>
                  <a:gd name="connsiteX1" fmla="*/ 31578 w 59149"/>
                  <a:gd name="connsiteY1" fmla="*/ 0 h 77390"/>
                  <a:gd name="connsiteX2" fmla="*/ 59149 w 59149"/>
                  <a:gd name="connsiteY2" fmla="*/ 67821 h 77390"/>
                  <a:gd name="connsiteX3" fmla="*/ 26255 w 59149"/>
                  <a:gd name="connsiteY3" fmla="*/ 77391 h 77390"/>
                  <a:gd name="connsiteX4" fmla="*/ 0 w 59149"/>
                  <a:gd name="connsiteY4" fmla="*/ 12859 h 77390"/>
                  <a:gd name="connsiteX5" fmla="*/ 56877 w 59149"/>
                  <a:gd name="connsiteY5" fmla="*/ 67044 h 77390"/>
                  <a:gd name="connsiteX6" fmla="*/ 30561 w 59149"/>
                  <a:gd name="connsiteY6" fmla="*/ 2452 h 77390"/>
                  <a:gd name="connsiteX7" fmla="*/ 2392 w 59149"/>
                  <a:gd name="connsiteY7" fmla="*/ 13935 h 77390"/>
                  <a:gd name="connsiteX8" fmla="*/ 27511 w 59149"/>
                  <a:gd name="connsiteY8" fmla="*/ 75716 h 77390"/>
                  <a:gd name="connsiteX9" fmla="*/ 56877 w 59149"/>
                  <a:gd name="connsiteY9" fmla="*/ 67044 h 7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149" h="77390">
                    <a:moveTo>
                      <a:pt x="0" y="12859"/>
                    </a:moveTo>
                    <a:cubicBezTo>
                      <a:pt x="10705" y="8493"/>
                      <a:pt x="21112" y="4246"/>
                      <a:pt x="31578" y="0"/>
                    </a:cubicBezTo>
                    <a:cubicBezTo>
                      <a:pt x="40908" y="22966"/>
                      <a:pt x="49939" y="45214"/>
                      <a:pt x="59149" y="67821"/>
                    </a:cubicBezTo>
                    <a:cubicBezTo>
                      <a:pt x="48384" y="70931"/>
                      <a:pt x="37439" y="74161"/>
                      <a:pt x="26255" y="77391"/>
                    </a:cubicBezTo>
                    <a:cubicBezTo>
                      <a:pt x="17523" y="55920"/>
                      <a:pt x="8732" y="34329"/>
                      <a:pt x="0" y="12859"/>
                    </a:cubicBezTo>
                    <a:close/>
                    <a:moveTo>
                      <a:pt x="56877" y="67044"/>
                    </a:moveTo>
                    <a:cubicBezTo>
                      <a:pt x="48025" y="45274"/>
                      <a:pt x="39413" y="24162"/>
                      <a:pt x="30561" y="2452"/>
                    </a:cubicBezTo>
                    <a:cubicBezTo>
                      <a:pt x="20992" y="6340"/>
                      <a:pt x="11842" y="10048"/>
                      <a:pt x="2392" y="13935"/>
                    </a:cubicBezTo>
                    <a:cubicBezTo>
                      <a:pt x="10705" y="34270"/>
                      <a:pt x="19019" y="54843"/>
                      <a:pt x="27511" y="75716"/>
                    </a:cubicBezTo>
                    <a:cubicBezTo>
                      <a:pt x="37499" y="72726"/>
                      <a:pt x="47008" y="69915"/>
                      <a:pt x="56877" y="6704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52" name="Vrije vorm: vorm 9351">
                <a:extLst>
                  <a:ext uri="{FF2B5EF4-FFF2-40B4-BE49-F238E27FC236}">
                    <a16:creationId xmlns:a16="http://schemas.microsoft.com/office/drawing/2014/main" id="{080D32D6-958C-4360-A863-532386C91EFB}"/>
                  </a:ext>
                </a:extLst>
              </p:cNvPr>
              <p:cNvSpPr/>
              <p:nvPr/>
            </p:nvSpPr>
            <p:spPr>
              <a:xfrm>
                <a:off x="5092006" y="1583077"/>
                <a:ext cx="76912" cy="87976"/>
              </a:xfrm>
              <a:custGeom>
                <a:avLst/>
                <a:gdLst>
                  <a:gd name="connsiteX0" fmla="*/ 27451 w 76912"/>
                  <a:gd name="connsiteY0" fmla="*/ 87976 h 87976"/>
                  <a:gd name="connsiteX1" fmla="*/ 0 w 76912"/>
                  <a:gd name="connsiteY1" fmla="*/ 20454 h 87976"/>
                  <a:gd name="connsiteX2" fmla="*/ 50238 w 76912"/>
                  <a:gd name="connsiteY2" fmla="*/ 0 h 87976"/>
                  <a:gd name="connsiteX3" fmla="*/ 76912 w 76912"/>
                  <a:gd name="connsiteY3" fmla="*/ 65609 h 87976"/>
                  <a:gd name="connsiteX4" fmla="*/ 27451 w 76912"/>
                  <a:gd name="connsiteY4" fmla="*/ 87976 h 87976"/>
                  <a:gd name="connsiteX5" fmla="*/ 49520 w 76912"/>
                  <a:gd name="connsiteY5" fmla="*/ 2332 h 87976"/>
                  <a:gd name="connsiteX6" fmla="*/ 2333 w 76912"/>
                  <a:gd name="connsiteY6" fmla="*/ 21531 h 87976"/>
                  <a:gd name="connsiteX7" fmla="*/ 28588 w 76912"/>
                  <a:gd name="connsiteY7" fmla="*/ 86063 h 87976"/>
                  <a:gd name="connsiteX8" fmla="*/ 75058 w 76912"/>
                  <a:gd name="connsiteY8" fmla="*/ 64951 h 87976"/>
                  <a:gd name="connsiteX9" fmla="*/ 49520 w 76912"/>
                  <a:gd name="connsiteY9" fmla="*/ 2332 h 8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12" h="87976">
                    <a:moveTo>
                      <a:pt x="27451" y="87976"/>
                    </a:moveTo>
                    <a:cubicBezTo>
                      <a:pt x="18301" y="65429"/>
                      <a:pt x="9210" y="43181"/>
                      <a:pt x="0" y="20454"/>
                    </a:cubicBezTo>
                    <a:cubicBezTo>
                      <a:pt x="16806" y="13636"/>
                      <a:pt x="33552" y="6818"/>
                      <a:pt x="50238" y="0"/>
                    </a:cubicBezTo>
                    <a:cubicBezTo>
                      <a:pt x="59030" y="21710"/>
                      <a:pt x="67941" y="43599"/>
                      <a:pt x="76912" y="65609"/>
                    </a:cubicBezTo>
                    <a:cubicBezTo>
                      <a:pt x="60585" y="73025"/>
                      <a:pt x="44138" y="80500"/>
                      <a:pt x="27451" y="87976"/>
                    </a:cubicBezTo>
                    <a:close/>
                    <a:moveTo>
                      <a:pt x="49520" y="2332"/>
                    </a:moveTo>
                    <a:cubicBezTo>
                      <a:pt x="33432" y="8851"/>
                      <a:pt x="17882" y="15191"/>
                      <a:pt x="2333" y="21531"/>
                    </a:cubicBezTo>
                    <a:cubicBezTo>
                      <a:pt x="11244" y="43420"/>
                      <a:pt x="19856" y="64532"/>
                      <a:pt x="28588" y="86063"/>
                    </a:cubicBezTo>
                    <a:cubicBezTo>
                      <a:pt x="44257" y="78946"/>
                      <a:pt x="59568" y="72008"/>
                      <a:pt x="75058" y="64951"/>
                    </a:cubicBezTo>
                    <a:cubicBezTo>
                      <a:pt x="66267" y="43540"/>
                      <a:pt x="57893" y="22906"/>
                      <a:pt x="49520" y="233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53" name="Vrije vorm: vorm 9352">
                <a:extLst>
                  <a:ext uri="{FF2B5EF4-FFF2-40B4-BE49-F238E27FC236}">
                    <a16:creationId xmlns:a16="http://schemas.microsoft.com/office/drawing/2014/main" id="{F664E5A0-327F-42F9-9850-AFDC65BFC4E4}"/>
                  </a:ext>
                </a:extLst>
              </p:cNvPr>
              <p:cNvSpPr/>
              <p:nvPr/>
            </p:nvSpPr>
            <p:spPr>
              <a:xfrm>
                <a:off x="5031122" y="1424528"/>
                <a:ext cx="78168" cy="86660"/>
              </a:xfrm>
              <a:custGeom>
                <a:avLst/>
                <a:gdLst>
                  <a:gd name="connsiteX0" fmla="*/ 78168 w 78168"/>
                  <a:gd name="connsiteY0" fmla="*/ 66147 h 86660"/>
                  <a:gd name="connsiteX1" fmla="*/ 27750 w 78168"/>
                  <a:gd name="connsiteY1" fmla="*/ 86661 h 86660"/>
                  <a:gd name="connsiteX2" fmla="*/ 0 w 78168"/>
                  <a:gd name="connsiteY2" fmla="*/ 18421 h 86660"/>
                  <a:gd name="connsiteX3" fmla="*/ 51255 w 78168"/>
                  <a:gd name="connsiteY3" fmla="*/ 0 h 86660"/>
                  <a:gd name="connsiteX4" fmla="*/ 78168 w 78168"/>
                  <a:gd name="connsiteY4" fmla="*/ 66147 h 86660"/>
                  <a:gd name="connsiteX5" fmla="*/ 28648 w 78168"/>
                  <a:gd name="connsiteY5" fmla="*/ 84328 h 86660"/>
                  <a:gd name="connsiteX6" fmla="*/ 75955 w 78168"/>
                  <a:gd name="connsiteY6" fmla="*/ 65070 h 86660"/>
                  <a:gd name="connsiteX7" fmla="*/ 50238 w 78168"/>
                  <a:gd name="connsiteY7" fmla="*/ 1854 h 86660"/>
                  <a:gd name="connsiteX8" fmla="*/ 2093 w 78168"/>
                  <a:gd name="connsiteY8" fmla="*/ 19019 h 86660"/>
                  <a:gd name="connsiteX9" fmla="*/ 28648 w 78168"/>
                  <a:gd name="connsiteY9" fmla="*/ 84328 h 8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68" h="86660">
                    <a:moveTo>
                      <a:pt x="78168" y="66147"/>
                    </a:moveTo>
                    <a:cubicBezTo>
                      <a:pt x="61003" y="73144"/>
                      <a:pt x="44377" y="79902"/>
                      <a:pt x="27750" y="86661"/>
                    </a:cubicBezTo>
                    <a:cubicBezTo>
                      <a:pt x="18301" y="63515"/>
                      <a:pt x="9210" y="41028"/>
                      <a:pt x="0" y="18421"/>
                    </a:cubicBezTo>
                    <a:cubicBezTo>
                      <a:pt x="16925" y="12320"/>
                      <a:pt x="33911" y="6220"/>
                      <a:pt x="51255" y="0"/>
                    </a:cubicBezTo>
                    <a:cubicBezTo>
                      <a:pt x="60226" y="22009"/>
                      <a:pt x="69257" y="44198"/>
                      <a:pt x="78168" y="66147"/>
                    </a:cubicBezTo>
                    <a:close/>
                    <a:moveTo>
                      <a:pt x="28648" y="84328"/>
                    </a:moveTo>
                    <a:cubicBezTo>
                      <a:pt x="44796" y="77749"/>
                      <a:pt x="60345" y="71410"/>
                      <a:pt x="75955" y="65070"/>
                    </a:cubicBezTo>
                    <a:cubicBezTo>
                      <a:pt x="67343" y="43898"/>
                      <a:pt x="58910" y="23145"/>
                      <a:pt x="50238" y="1854"/>
                    </a:cubicBezTo>
                    <a:cubicBezTo>
                      <a:pt x="34090" y="7595"/>
                      <a:pt x="18241" y="13277"/>
                      <a:pt x="2093" y="19019"/>
                    </a:cubicBezTo>
                    <a:cubicBezTo>
                      <a:pt x="11004" y="41028"/>
                      <a:pt x="19617" y="62200"/>
                      <a:pt x="28648" y="8432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54" name="Vrije vorm: vorm 9353">
                <a:extLst>
                  <a:ext uri="{FF2B5EF4-FFF2-40B4-BE49-F238E27FC236}">
                    <a16:creationId xmlns:a16="http://schemas.microsoft.com/office/drawing/2014/main" id="{4FCE7350-58E5-4FAA-AE75-D94F4E991180}"/>
                  </a:ext>
                </a:extLst>
              </p:cNvPr>
              <p:cNvSpPr/>
              <p:nvPr/>
            </p:nvSpPr>
            <p:spPr>
              <a:xfrm>
                <a:off x="5419032" y="1526201"/>
                <a:ext cx="55022" cy="66206"/>
              </a:xfrm>
              <a:custGeom>
                <a:avLst/>
                <a:gdLst>
                  <a:gd name="connsiteX0" fmla="*/ 34748 w 55022"/>
                  <a:gd name="connsiteY0" fmla="*/ 0 h 66206"/>
                  <a:gd name="connsiteX1" fmla="*/ 55023 w 55022"/>
                  <a:gd name="connsiteY1" fmla="*/ 49879 h 66206"/>
                  <a:gd name="connsiteX2" fmla="*/ 21172 w 55022"/>
                  <a:gd name="connsiteY2" fmla="*/ 66207 h 66206"/>
                  <a:gd name="connsiteX3" fmla="*/ 0 w 55022"/>
                  <a:gd name="connsiteY3" fmla="*/ 14174 h 66206"/>
                  <a:gd name="connsiteX4" fmla="*/ 34748 w 55022"/>
                  <a:gd name="connsiteY4" fmla="*/ 0 h 66206"/>
                  <a:gd name="connsiteX5" fmla="*/ 11184 w 55022"/>
                  <a:gd name="connsiteY5" fmla="*/ 11722 h 66206"/>
                  <a:gd name="connsiteX6" fmla="*/ 25478 w 55022"/>
                  <a:gd name="connsiteY6" fmla="*/ 46829 h 66206"/>
                  <a:gd name="connsiteX7" fmla="*/ 46052 w 55022"/>
                  <a:gd name="connsiteY7" fmla="*/ 41147 h 66206"/>
                  <a:gd name="connsiteX8" fmla="*/ 46351 w 55022"/>
                  <a:gd name="connsiteY8" fmla="*/ 42104 h 66206"/>
                  <a:gd name="connsiteX9" fmla="*/ 24521 w 55022"/>
                  <a:gd name="connsiteY9" fmla="*/ 48863 h 66206"/>
                  <a:gd name="connsiteX10" fmla="*/ 9330 w 55022"/>
                  <a:gd name="connsiteY10" fmla="*/ 11543 h 66206"/>
                  <a:gd name="connsiteX11" fmla="*/ 3528 w 55022"/>
                  <a:gd name="connsiteY11" fmla="*/ 18421 h 66206"/>
                  <a:gd name="connsiteX12" fmla="*/ 22009 w 55022"/>
                  <a:gd name="connsiteY12" fmla="*/ 64173 h 66206"/>
                  <a:gd name="connsiteX13" fmla="*/ 53049 w 55022"/>
                  <a:gd name="connsiteY13" fmla="*/ 49401 h 66206"/>
                  <a:gd name="connsiteX14" fmla="*/ 33492 w 55022"/>
                  <a:gd name="connsiteY14" fmla="*/ 1256 h 66206"/>
                  <a:gd name="connsiteX15" fmla="*/ 11184 w 55022"/>
                  <a:gd name="connsiteY15" fmla="*/ 11722 h 6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022" h="66206">
                    <a:moveTo>
                      <a:pt x="34748" y="0"/>
                    </a:moveTo>
                    <a:cubicBezTo>
                      <a:pt x="41386" y="16268"/>
                      <a:pt x="48145" y="32954"/>
                      <a:pt x="55023" y="49879"/>
                    </a:cubicBezTo>
                    <a:cubicBezTo>
                      <a:pt x="43480" y="55441"/>
                      <a:pt x="32296" y="60824"/>
                      <a:pt x="21172" y="66207"/>
                    </a:cubicBezTo>
                    <a:cubicBezTo>
                      <a:pt x="14234" y="49162"/>
                      <a:pt x="7296" y="32117"/>
                      <a:pt x="0" y="14174"/>
                    </a:cubicBezTo>
                    <a:cubicBezTo>
                      <a:pt x="11603" y="9450"/>
                      <a:pt x="23145" y="4725"/>
                      <a:pt x="34748" y="0"/>
                    </a:cubicBezTo>
                    <a:close/>
                    <a:moveTo>
                      <a:pt x="11184" y="11722"/>
                    </a:moveTo>
                    <a:cubicBezTo>
                      <a:pt x="16088" y="23743"/>
                      <a:pt x="20693" y="35167"/>
                      <a:pt x="25478" y="46829"/>
                    </a:cubicBezTo>
                    <a:cubicBezTo>
                      <a:pt x="32535" y="44855"/>
                      <a:pt x="39293" y="43001"/>
                      <a:pt x="46052" y="41147"/>
                    </a:cubicBezTo>
                    <a:cubicBezTo>
                      <a:pt x="46171" y="41446"/>
                      <a:pt x="46231" y="41805"/>
                      <a:pt x="46351" y="42104"/>
                    </a:cubicBezTo>
                    <a:cubicBezTo>
                      <a:pt x="38994" y="44377"/>
                      <a:pt x="31578" y="46650"/>
                      <a:pt x="24521" y="48863"/>
                    </a:cubicBezTo>
                    <a:cubicBezTo>
                      <a:pt x="19497" y="36602"/>
                      <a:pt x="14653" y="24641"/>
                      <a:pt x="9330" y="11543"/>
                    </a:cubicBezTo>
                    <a:cubicBezTo>
                      <a:pt x="7536" y="14713"/>
                      <a:pt x="1375" y="12619"/>
                      <a:pt x="3528" y="18421"/>
                    </a:cubicBezTo>
                    <a:cubicBezTo>
                      <a:pt x="9210" y="33552"/>
                      <a:pt x="15610" y="48444"/>
                      <a:pt x="22009" y="64173"/>
                    </a:cubicBezTo>
                    <a:cubicBezTo>
                      <a:pt x="32415" y="59209"/>
                      <a:pt x="42463" y="54425"/>
                      <a:pt x="53049" y="49401"/>
                    </a:cubicBezTo>
                    <a:cubicBezTo>
                      <a:pt x="46410" y="33133"/>
                      <a:pt x="40071" y="17464"/>
                      <a:pt x="33492" y="1256"/>
                    </a:cubicBezTo>
                    <a:cubicBezTo>
                      <a:pt x="25956" y="4785"/>
                      <a:pt x="18780" y="8134"/>
                      <a:pt x="11184" y="1172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55" name="Vrije vorm: vorm 9354">
                <a:extLst>
                  <a:ext uri="{FF2B5EF4-FFF2-40B4-BE49-F238E27FC236}">
                    <a16:creationId xmlns:a16="http://schemas.microsoft.com/office/drawing/2014/main" id="{D33BE244-33FE-4B2D-820B-83F9C3865D2D}"/>
                  </a:ext>
                </a:extLst>
              </p:cNvPr>
              <p:cNvSpPr/>
              <p:nvPr/>
            </p:nvSpPr>
            <p:spPr>
              <a:xfrm>
                <a:off x="4945837" y="1470819"/>
                <a:ext cx="54544" cy="78048"/>
              </a:xfrm>
              <a:custGeom>
                <a:avLst/>
                <a:gdLst>
                  <a:gd name="connsiteX0" fmla="*/ 53109 w 54544"/>
                  <a:gd name="connsiteY0" fmla="*/ 64173 h 78048"/>
                  <a:gd name="connsiteX1" fmla="*/ 29006 w 54544"/>
                  <a:gd name="connsiteY1" fmla="*/ 4964 h 78048"/>
                  <a:gd name="connsiteX2" fmla="*/ 30083 w 54544"/>
                  <a:gd name="connsiteY2" fmla="*/ 4545 h 78048"/>
                  <a:gd name="connsiteX3" fmla="*/ 54544 w 54544"/>
                  <a:gd name="connsiteY3" fmla="*/ 64652 h 78048"/>
                  <a:gd name="connsiteX4" fmla="*/ 25777 w 54544"/>
                  <a:gd name="connsiteY4" fmla="*/ 78048 h 78048"/>
                  <a:gd name="connsiteX5" fmla="*/ 0 w 54544"/>
                  <a:gd name="connsiteY5" fmla="*/ 14713 h 78048"/>
                  <a:gd name="connsiteX6" fmla="*/ 27451 w 54544"/>
                  <a:gd name="connsiteY6" fmla="*/ 0 h 78048"/>
                  <a:gd name="connsiteX7" fmla="*/ 27930 w 54544"/>
                  <a:gd name="connsiteY7" fmla="*/ 957 h 78048"/>
                  <a:gd name="connsiteX8" fmla="*/ 2213 w 54544"/>
                  <a:gd name="connsiteY8" fmla="*/ 15311 h 78048"/>
                  <a:gd name="connsiteX9" fmla="*/ 26554 w 54544"/>
                  <a:gd name="connsiteY9" fmla="*/ 75118 h 78048"/>
                  <a:gd name="connsiteX10" fmla="*/ 53109 w 54544"/>
                  <a:gd name="connsiteY10" fmla="*/ 64173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544" h="78048">
                    <a:moveTo>
                      <a:pt x="53109" y="64173"/>
                    </a:moveTo>
                    <a:cubicBezTo>
                      <a:pt x="44796" y="43659"/>
                      <a:pt x="36901" y="24342"/>
                      <a:pt x="29006" y="4964"/>
                    </a:cubicBezTo>
                    <a:cubicBezTo>
                      <a:pt x="29365" y="4844"/>
                      <a:pt x="29724" y="4665"/>
                      <a:pt x="30083" y="4545"/>
                    </a:cubicBezTo>
                    <a:cubicBezTo>
                      <a:pt x="38217" y="24521"/>
                      <a:pt x="46351" y="44497"/>
                      <a:pt x="54544" y="64652"/>
                    </a:cubicBezTo>
                    <a:cubicBezTo>
                      <a:pt x="45214" y="69018"/>
                      <a:pt x="35585" y="73443"/>
                      <a:pt x="25777" y="78048"/>
                    </a:cubicBezTo>
                    <a:cubicBezTo>
                      <a:pt x="17284" y="57176"/>
                      <a:pt x="8732" y="36064"/>
                      <a:pt x="0" y="14713"/>
                    </a:cubicBezTo>
                    <a:cubicBezTo>
                      <a:pt x="9031" y="9868"/>
                      <a:pt x="18241" y="4904"/>
                      <a:pt x="27451" y="0"/>
                    </a:cubicBezTo>
                    <a:cubicBezTo>
                      <a:pt x="27631" y="299"/>
                      <a:pt x="27810" y="658"/>
                      <a:pt x="27930" y="957"/>
                    </a:cubicBezTo>
                    <a:cubicBezTo>
                      <a:pt x="19437" y="5682"/>
                      <a:pt x="10945" y="10406"/>
                      <a:pt x="2213" y="15311"/>
                    </a:cubicBezTo>
                    <a:cubicBezTo>
                      <a:pt x="10406" y="35526"/>
                      <a:pt x="18480" y="55322"/>
                      <a:pt x="26554" y="75118"/>
                    </a:cubicBezTo>
                    <a:cubicBezTo>
                      <a:pt x="35167" y="71470"/>
                      <a:pt x="43659" y="68001"/>
                      <a:pt x="53109" y="6417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56" name="Vrije vorm: vorm 9355">
                <a:extLst>
                  <a:ext uri="{FF2B5EF4-FFF2-40B4-BE49-F238E27FC236}">
                    <a16:creationId xmlns:a16="http://schemas.microsoft.com/office/drawing/2014/main" id="{A515B4A5-F87E-41A2-ADEA-200AE587B49D}"/>
                  </a:ext>
                </a:extLst>
              </p:cNvPr>
              <p:cNvSpPr/>
              <p:nvPr/>
            </p:nvSpPr>
            <p:spPr>
              <a:xfrm>
                <a:off x="5441041" y="1582479"/>
                <a:ext cx="53766" cy="67283"/>
              </a:xfrm>
              <a:custGeom>
                <a:avLst/>
                <a:gdLst>
                  <a:gd name="connsiteX0" fmla="*/ 25717 w 53766"/>
                  <a:gd name="connsiteY0" fmla="*/ 56039 h 67283"/>
                  <a:gd name="connsiteX1" fmla="*/ 51554 w 53766"/>
                  <a:gd name="connsiteY1" fmla="*/ 49640 h 67283"/>
                  <a:gd name="connsiteX2" fmla="*/ 32236 w 53766"/>
                  <a:gd name="connsiteY2" fmla="*/ 2153 h 67283"/>
                  <a:gd name="connsiteX3" fmla="*/ 538 w 53766"/>
                  <a:gd name="connsiteY3" fmla="*/ 17404 h 67283"/>
                  <a:gd name="connsiteX4" fmla="*/ 0 w 53766"/>
                  <a:gd name="connsiteY4" fmla="*/ 16327 h 67283"/>
                  <a:gd name="connsiteX5" fmla="*/ 33253 w 53766"/>
                  <a:gd name="connsiteY5" fmla="*/ 0 h 67283"/>
                  <a:gd name="connsiteX6" fmla="*/ 53767 w 53766"/>
                  <a:gd name="connsiteY6" fmla="*/ 50477 h 67283"/>
                  <a:gd name="connsiteX7" fmla="*/ 20753 w 53766"/>
                  <a:gd name="connsiteY7" fmla="*/ 67283 h 67283"/>
                  <a:gd name="connsiteX8" fmla="*/ 1196 w 53766"/>
                  <a:gd name="connsiteY8" fmla="*/ 19258 h 67283"/>
                  <a:gd name="connsiteX9" fmla="*/ 2512 w 53766"/>
                  <a:gd name="connsiteY9" fmla="*/ 18779 h 67283"/>
                  <a:gd name="connsiteX10" fmla="*/ 21411 w 53766"/>
                  <a:gd name="connsiteY10" fmla="*/ 65250 h 67283"/>
                  <a:gd name="connsiteX11" fmla="*/ 43839 w 53766"/>
                  <a:gd name="connsiteY11" fmla="*/ 53946 h 67283"/>
                  <a:gd name="connsiteX12" fmla="*/ 43540 w 53766"/>
                  <a:gd name="connsiteY12" fmla="*/ 53109 h 67283"/>
                  <a:gd name="connsiteX13" fmla="*/ 25777 w 53766"/>
                  <a:gd name="connsiteY13" fmla="*/ 57116 h 67283"/>
                  <a:gd name="connsiteX14" fmla="*/ 25717 w 53766"/>
                  <a:gd name="connsiteY14" fmla="*/ 56039 h 6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766" h="67283">
                    <a:moveTo>
                      <a:pt x="25717" y="56039"/>
                    </a:moveTo>
                    <a:cubicBezTo>
                      <a:pt x="34150" y="53946"/>
                      <a:pt x="42523" y="51913"/>
                      <a:pt x="51554" y="49640"/>
                    </a:cubicBezTo>
                    <a:cubicBezTo>
                      <a:pt x="45154" y="33851"/>
                      <a:pt x="38815" y="18361"/>
                      <a:pt x="32236" y="2153"/>
                    </a:cubicBezTo>
                    <a:cubicBezTo>
                      <a:pt x="21650" y="7237"/>
                      <a:pt x="11064" y="12320"/>
                      <a:pt x="538" y="17404"/>
                    </a:cubicBezTo>
                    <a:cubicBezTo>
                      <a:pt x="359" y="17045"/>
                      <a:pt x="180" y="16686"/>
                      <a:pt x="0" y="16327"/>
                    </a:cubicBezTo>
                    <a:cubicBezTo>
                      <a:pt x="11124" y="10885"/>
                      <a:pt x="22189" y="5442"/>
                      <a:pt x="33253" y="0"/>
                    </a:cubicBezTo>
                    <a:cubicBezTo>
                      <a:pt x="40071" y="16806"/>
                      <a:pt x="46949" y="33612"/>
                      <a:pt x="53767" y="50477"/>
                    </a:cubicBezTo>
                    <a:cubicBezTo>
                      <a:pt x="42403" y="56279"/>
                      <a:pt x="31339" y="61901"/>
                      <a:pt x="20753" y="67283"/>
                    </a:cubicBezTo>
                    <a:cubicBezTo>
                      <a:pt x="14294" y="51315"/>
                      <a:pt x="7715" y="35286"/>
                      <a:pt x="1196" y="19258"/>
                    </a:cubicBezTo>
                    <a:cubicBezTo>
                      <a:pt x="1615" y="19079"/>
                      <a:pt x="2093" y="18899"/>
                      <a:pt x="2512" y="18779"/>
                    </a:cubicBezTo>
                    <a:cubicBezTo>
                      <a:pt x="8732" y="34030"/>
                      <a:pt x="14952" y="49341"/>
                      <a:pt x="21411" y="65250"/>
                    </a:cubicBezTo>
                    <a:cubicBezTo>
                      <a:pt x="28767" y="61542"/>
                      <a:pt x="36303" y="57774"/>
                      <a:pt x="43839" y="53946"/>
                    </a:cubicBezTo>
                    <a:cubicBezTo>
                      <a:pt x="43719" y="53647"/>
                      <a:pt x="43659" y="53348"/>
                      <a:pt x="43540" y="53109"/>
                    </a:cubicBezTo>
                    <a:cubicBezTo>
                      <a:pt x="37619" y="54425"/>
                      <a:pt x="31698" y="55740"/>
                      <a:pt x="25777" y="57116"/>
                    </a:cubicBezTo>
                    <a:cubicBezTo>
                      <a:pt x="25777" y="56757"/>
                      <a:pt x="25777" y="56398"/>
                      <a:pt x="25717" y="5603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57" name="Vrije vorm: vorm 9356">
                <a:extLst>
                  <a:ext uri="{FF2B5EF4-FFF2-40B4-BE49-F238E27FC236}">
                    <a16:creationId xmlns:a16="http://schemas.microsoft.com/office/drawing/2014/main" id="{549F73D4-8211-4F86-A0E3-37F231D841FB}"/>
                  </a:ext>
                </a:extLst>
              </p:cNvPr>
              <p:cNvSpPr/>
              <p:nvPr/>
            </p:nvSpPr>
            <p:spPr>
              <a:xfrm>
                <a:off x="5093561" y="1402280"/>
                <a:ext cx="75536" cy="84328"/>
              </a:xfrm>
              <a:custGeom>
                <a:avLst/>
                <a:gdLst>
                  <a:gd name="connsiteX0" fmla="*/ 0 w 75536"/>
                  <a:gd name="connsiteY0" fmla="*/ 17524 h 84328"/>
                  <a:gd name="connsiteX1" fmla="*/ 49221 w 75536"/>
                  <a:gd name="connsiteY1" fmla="*/ 0 h 84328"/>
                  <a:gd name="connsiteX2" fmla="*/ 75537 w 75536"/>
                  <a:gd name="connsiteY2" fmla="*/ 64652 h 84328"/>
                  <a:gd name="connsiteX3" fmla="*/ 27212 w 75536"/>
                  <a:gd name="connsiteY3" fmla="*/ 84328 h 84328"/>
                  <a:gd name="connsiteX4" fmla="*/ 0 w 75536"/>
                  <a:gd name="connsiteY4" fmla="*/ 17524 h 84328"/>
                  <a:gd name="connsiteX5" fmla="*/ 28050 w 75536"/>
                  <a:gd name="connsiteY5" fmla="*/ 81876 h 84328"/>
                  <a:gd name="connsiteX6" fmla="*/ 73264 w 75536"/>
                  <a:gd name="connsiteY6" fmla="*/ 63455 h 84328"/>
                  <a:gd name="connsiteX7" fmla="*/ 48145 w 75536"/>
                  <a:gd name="connsiteY7" fmla="*/ 1675 h 84328"/>
                  <a:gd name="connsiteX8" fmla="*/ 2213 w 75536"/>
                  <a:gd name="connsiteY8" fmla="*/ 18241 h 84328"/>
                  <a:gd name="connsiteX9" fmla="*/ 28050 w 75536"/>
                  <a:gd name="connsiteY9" fmla="*/ 81876 h 8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536" h="84328">
                    <a:moveTo>
                      <a:pt x="0" y="17524"/>
                    </a:moveTo>
                    <a:cubicBezTo>
                      <a:pt x="16566" y="11603"/>
                      <a:pt x="32774" y="5801"/>
                      <a:pt x="49221" y="0"/>
                    </a:cubicBezTo>
                    <a:cubicBezTo>
                      <a:pt x="57893" y="21351"/>
                      <a:pt x="66745" y="43001"/>
                      <a:pt x="75537" y="64652"/>
                    </a:cubicBezTo>
                    <a:cubicBezTo>
                      <a:pt x="59389" y="71230"/>
                      <a:pt x="43360" y="77749"/>
                      <a:pt x="27212" y="84328"/>
                    </a:cubicBezTo>
                    <a:cubicBezTo>
                      <a:pt x="18002" y="61781"/>
                      <a:pt x="9090" y="39772"/>
                      <a:pt x="0" y="17524"/>
                    </a:cubicBezTo>
                    <a:close/>
                    <a:moveTo>
                      <a:pt x="28050" y="81876"/>
                    </a:moveTo>
                    <a:cubicBezTo>
                      <a:pt x="43420" y="75656"/>
                      <a:pt x="58132" y="69616"/>
                      <a:pt x="73264" y="63455"/>
                    </a:cubicBezTo>
                    <a:cubicBezTo>
                      <a:pt x="64891" y="42822"/>
                      <a:pt x="56577" y="22488"/>
                      <a:pt x="48145" y="1675"/>
                    </a:cubicBezTo>
                    <a:cubicBezTo>
                      <a:pt x="32714" y="7237"/>
                      <a:pt x="17583" y="12679"/>
                      <a:pt x="2213" y="18241"/>
                    </a:cubicBezTo>
                    <a:cubicBezTo>
                      <a:pt x="10944" y="39772"/>
                      <a:pt x="19318" y="60405"/>
                      <a:pt x="28050" y="8187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58" name="Vrije vorm: vorm 9357">
                <a:extLst>
                  <a:ext uri="{FF2B5EF4-FFF2-40B4-BE49-F238E27FC236}">
                    <a16:creationId xmlns:a16="http://schemas.microsoft.com/office/drawing/2014/main" id="{5549B887-23E6-45FC-86A4-9934F5AD8930}"/>
                  </a:ext>
                </a:extLst>
              </p:cNvPr>
              <p:cNvSpPr/>
              <p:nvPr/>
            </p:nvSpPr>
            <p:spPr>
              <a:xfrm>
                <a:off x="5191167" y="1819196"/>
                <a:ext cx="74399" cy="91804"/>
              </a:xfrm>
              <a:custGeom>
                <a:avLst/>
                <a:gdLst>
                  <a:gd name="connsiteX0" fmla="*/ 26973 w 74399"/>
                  <a:gd name="connsiteY0" fmla="*/ 91804 h 91804"/>
                  <a:gd name="connsiteX1" fmla="*/ 0 w 74399"/>
                  <a:gd name="connsiteY1" fmla="*/ 25597 h 91804"/>
                  <a:gd name="connsiteX2" fmla="*/ 47905 w 74399"/>
                  <a:gd name="connsiteY2" fmla="*/ 0 h 91804"/>
                  <a:gd name="connsiteX3" fmla="*/ 74400 w 74399"/>
                  <a:gd name="connsiteY3" fmla="*/ 65130 h 91804"/>
                  <a:gd name="connsiteX4" fmla="*/ 26973 w 74399"/>
                  <a:gd name="connsiteY4" fmla="*/ 91804 h 91804"/>
                  <a:gd name="connsiteX5" fmla="*/ 2033 w 74399"/>
                  <a:gd name="connsiteY5" fmla="*/ 26016 h 91804"/>
                  <a:gd name="connsiteX6" fmla="*/ 27930 w 74399"/>
                  <a:gd name="connsiteY6" fmla="*/ 89591 h 91804"/>
                  <a:gd name="connsiteX7" fmla="*/ 69675 w 74399"/>
                  <a:gd name="connsiteY7" fmla="*/ 66446 h 91804"/>
                  <a:gd name="connsiteX8" fmla="*/ 70692 w 74399"/>
                  <a:gd name="connsiteY8" fmla="*/ 59448 h 91804"/>
                  <a:gd name="connsiteX9" fmla="*/ 49221 w 74399"/>
                  <a:gd name="connsiteY9" fmla="*/ 6399 h 91804"/>
                  <a:gd name="connsiteX10" fmla="*/ 46889 w 74399"/>
                  <a:gd name="connsiteY10" fmla="*/ 2153 h 91804"/>
                  <a:gd name="connsiteX11" fmla="*/ 2033 w 74399"/>
                  <a:gd name="connsiteY11" fmla="*/ 26016 h 9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99" h="91804">
                    <a:moveTo>
                      <a:pt x="26973" y="91804"/>
                    </a:moveTo>
                    <a:cubicBezTo>
                      <a:pt x="17942" y="69616"/>
                      <a:pt x="9031" y="47666"/>
                      <a:pt x="0" y="25597"/>
                    </a:cubicBezTo>
                    <a:cubicBezTo>
                      <a:pt x="15789" y="17165"/>
                      <a:pt x="31758" y="8612"/>
                      <a:pt x="47905" y="0"/>
                    </a:cubicBezTo>
                    <a:cubicBezTo>
                      <a:pt x="56637" y="21471"/>
                      <a:pt x="65489" y="43241"/>
                      <a:pt x="74400" y="65130"/>
                    </a:cubicBezTo>
                    <a:cubicBezTo>
                      <a:pt x="58611" y="74041"/>
                      <a:pt x="42822" y="82893"/>
                      <a:pt x="26973" y="91804"/>
                    </a:cubicBezTo>
                    <a:close/>
                    <a:moveTo>
                      <a:pt x="2033" y="26016"/>
                    </a:moveTo>
                    <a:cubicBezTo>
                      <a:pt x="10705" y="47367"/>
                      <a:pt x="19258" y="68300"/>
                      <a:pt x="27930" y="89591"/>
                    </a:cubicBezTo>
                    <a:cubicBezTo>
                      <a:pt x="42044" y="81756"/>
                      <a:pt x="55860" y="73981"/>
                      <a:pt x="69675" y="66446"/>
                    </a:cubicBezTo>
                    <a:cubicBezTo>
                      <a:pt x="73024" y="64652"/>
                      <a:pt x="71769" y="62140"/>
                      <a:pt x="70692" y="59448"/>
                    </a:cubicBezTo>
                    <a:cubicBezTo>
                      <a:pt x="63515" y="41745"/>
                      <a:pt x="56398" y="24102"/>
                      <a:pt x="49221" y="6399"/>
                    </a:cubicBezTo>
                    <a:cubicBezTo>
                      <a:pt x="48623" y="5024"/>
                      <a:pt x="47786" y="3708"/>
                      <a:pt x="46889" y="2153"/>
                    </a:cubicBezTo>
                    <a:cubicBezTo>
                      <a:pt x="31758" y="10167"/>
                      <a:pt x="17045" y="18002"/>
                      <a:pt x="2033" y="2601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59" name="Vrije vorm: vorm 9358">
                <a:extLst>
                  <a:ext uri="{FF2B5EF4-FFF2-40B4-BE49-F238E27FC236}">
                    <a16:creationId xmlns:a16="http://schemas.microsoft.com/office/drawing/2014/main" id="{4A4819FE-F2B7-4261-B361-29C113C1B0E2}"/>
                  </a:ext>
                </a:extLst>
              </p:cNvPr>
              <p:cNvSpPr/>
              <p:nvPr/>
            </p:nvSpPr>
            <p:spPr>
              <a:xfrm>
                <a:off x="5156299" y="1740909"/>
                <a:ext cx="75237" cy="90667"/>
              </a:xfrm>
              <a:custGeom>
                <a:avLst/>
                <a:gdLst>
                  <a:gd name="connsiteX0" fmla="*/ 0 w 75237"/>
                  <a:gd name="connsiteY0" fmla="*/ 24102 h 90667"/>
                  <a:gd name="connsiteX1" fmla="*/ 48623 w 75237"/>
                  <a:gd name="connsiteY1" fmla="*/ 0 h 90667"/>
                  <a:gd name="connsiteX2" fmla="*/ 75238 w 75237"/>
                  <a:gd name="connsiteY2" fmla="*/ 65429 h 90667"/>
                  <a:gd name="connsiteX3" fmla="*/ 27092 w 75237"/>
                  <a:gd name="connsiteY3" fmla="*/ 90668 h 90667"/>
                  <a:gd name="connsiteX4" fmla="*/ 0 w 75237"/>
                  <a:gd name="connsiteY4" fmla="*/ 24102 h 90667"/>
                  <a:gd name="connsiteX5" fmla="*/ 48025 w 75237"/>
                  <a:gd name="connsiteY5" fmla="*/ 1794 h 90667"/>
                  <a:gd name="connsiteX6" fmla="*/ 2033 w 75237"/>
                  <a:gd name="connsiteY6" fmla="*/ 24581 h 90667"/>
                  <a:gd name="connsiteX7" fmla="*/ 28050 w 75237"/>
                  <a:gd name="connsiteY7" fmla="*/ 88455 h 90667"/>
                  <a:gd name="connsiteX8" fmla="*/ 70871 w 75237"/>
                  <a:gd name="connsiteY8" fmla="*/ 66266 h 90667"/>
                  <a:gd name="connsiteX9" fmla="*/ 71589 w 75237"/>
                  <a:gd name="connsiteY9" fmla="*/ 59747 h 90667"/>
                  <a:gd name="connsiteX10" fmla="*/ 54185 w 75237"/>
                  <a:gd name="connsiteY10" fmla="*/ 16866 h 90667"/>
                  <a:gd name="connsiteX11" fmla="*/ 48025 w 75237"/>
                  <a:gd name="connsiteY11" fmla="*/ 1794 h 9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237" h="90667">
                    <a:moveTo>
                      <a:pt x="0" y="24102"/>
                    </a:moveTo>
                    <a:cubicBezTo>
                      <a:pt x="16267" y="16028"/>
                      <a:pt x="32356" y="8074"/>
                      <a:pt x="48623" y="0"/>
                    </a:cubicBezTo>
                    <a:cubicBezTo>
                      <a:pt x="57415" y="21590"/>
                      <a:pt x="66326" y="43480"/>
                      <a:pt x="75238" y="65429"/>
                    </a:cubicBezTo>
                    <a:cubicBezTo>
                      <a:pt x="59389" y="73742"/>
                      <a:pt x="43360" y="82175"/>
                      <a:pt x="27092" y="90668"/>
                    </a:cubicBezTo>
                    <a:cubicBezTo>
                      <a:pt x="18121" y="68659"/>
                      <a:pt x="9090" y="46410"/>
                      <a:pt x="0" y="24102"/>
                    </a:cubicBezTo>
                    <a:close/>
                    <a:moveTo>
                      <a:pt x="48025" y="1794"/>
                    </a:moveTo>
                    <a:cubicBezTo>
                      <a:pt x="32356" y="9569"/>
                      <a:pt x="17284" y="17045"/>
                      <a:pt x="2033" y="24581"/>
                    </a:cubicBezTo>
                    <a:cubicBezTo>
                      <a:pt x="10765" y="46052"/>
                      <a:pt x="19318" y="67044"/>
                      <a:pt x="28050" y="88455"/>
                    </a:cubicBezTo>
                    <a:cubicBezTo>
                      <a:pt x="42523" y="80919"/>
                      <a:pt x="56637" y="73563"/>
                      <a:pt x="70871" y="66266"/>
                    </a:cubicBezTo>
                    <a:cubicBezTo>
                      <a:pt x="74101" y="64592"/>
                      <a:pt x="72546" y="62140"/>
                      <a:pt x="71589" y="59747"/>
                    </a:cubicBezTo>
                    <a:cubicBezTo>
                      <a:pt x="65788" y="45453"/>
                      <a:pt x="59986" y="31160"/>
                      <a:pt x="54185" y="16866"/>
                    </a:cubicBezTo>
                    <a:cubicBezTo>
                      <a:pt x="52212" y="12081"/>
                      <a:pt x="50238" y="7237"/>
                      <a:pt x="48025" y="179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60" name="Vrije vorm: vorm 9359">
                <a:extLst>
                  <a:ext uri="{FF2B5EF4-FFF2-40B4-BE49-F238E27FC236}">
                    <a16:creationId xmlns:a16="http://schemas.microsoft.com/office/drawing/2014/main" id="{14E19E40-F8D1-4D43-B4BF-3FA1D8854EBE}"/>
                  </a:ext>
                </a:extLst>
              </p:cNvPr>
              <p:cNvSpPr/>
              <p:nvPr/>
            </p:nvSpPr>
            <p:spPr>
              <a:xfrm>
                <a:off x="4824129" y="1635349"/>
                <a:ext cx="38635" cy="56099"/>
              </a:xfrm>
              <a:custGeom>
                <a:avLst/>
                <a:gdLst>
                  <a:gd name="connsiteX0" fmla="*/ 18959 w 38635"/>
                  <a:gd name="connsiteY0" fmla="*/ 0 h 56099"/>
                  <a:gd name="connsiteX1" fmla="*/ 38636 w 38635"/>
                  <a:gd name="connsiteY1" fmla="*/ 48384 h 56099"/>
                  <a:gd name="connsiteX2" fmla="*/ 19677 w 38635"/>
                  <a:gd name="connsiteY2" fmla="*/ 56099 h 56099"/>
                  <a:gd name="connsiteX3" fmla="*/ 0 w 38635"/>
                  <a:gd name="connsiteY3" fmla="*/ 7715 h 56099"/>
                  <a:gd name="connsiteX4" fmla="*/ 18959 w 38635"/>
                  <a:gd name="connsiteY4" fmla="*/ 0 h 56099"/>
                  <a:gd name="connsiteX5" fmla="*/ 36363 w 38635"/>
                  <a:gd name="connsiteY5" fmla="*/ 47547 h 56099"/>
                  <a:gd name="connsiteX6" fmla="*/ 18062 w 38635"/>
                  <a:gd name="connsiteY6" fmla="*/ 2572 h 56099"/>
                  <a:gd name="connsiteX7" fmla="*/ 6938 w 38635"/>
                  <a:gd name="connsiteY7" fmla="*/ 7057 h 56099"/>
                  <a:gd name="connsiteX8" fmla="*/ 25239 w 38635"/>
                  <a:gd name="connsiteY8" fmla="*/ 52032 h 56099"/>
                  <a:gd name="connsiteX9" fmla="*/ 36363 w 38635"/>
                  <a:gd name="connsiteY9" fmla="*/ 47547 h 56099"/>
                  <a:gd name="connsiteX10" fmla="*/ 2990 w 38635"/>
                  <a:gd name="connsiteY10" fmla="*/ 6340 h 56099"/>
                  <a:gd name="connsiteX11" fmla="*/ 3170 w 38635"/>
                  <a:gd name="connsiteY11" fmla="*/ 12380 h 56099"/>
                  <a:gd name="connsiteX12" fmla="*/ 18780 w 38635"/>
                  <a:gd name="connsiteY12" fmla="*/ 50059 h 56099"/>
                  <a:gd name="connsiteX13" fmla="*/ 22189 w 38635"/>
                  <a:gd name="connsiteY13" fmla="*/ 53049 h 56099"/>
                  <a:gd name="connsiteX14" fmla="*/ 22189 w 38635"/>
                  <a:gd name="connsiteY14" fmla="*/ 48863 h 56099"/>
                  <a:gd name="connsiteX15" fmla="*/ 5921 w 38635"/>
                  <a:gd name="connsiteY15" fmla="*/ 10167 h 56099"/>
                  <a:gd name="connsiteX16" fmla="*/ 2990 w 38635"/>
                  <a:gd name="connsiteY16" fmla="*/ 6340 h 5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35" h="56099">
                    <a:moveTo>
                      <a:pt x="18959" y="0"/>
                    </a:moveTo>
                    <a:cubicBezTo>
                      <a:pt x="25598" y="16387"/>
                      <a:pt x="32176" y="32475"/>
                      <a:pt x="38636" y="48384"/>
                    </a:cubicBezTo>
                    <a:cubicBezTo>
                      <a:pt x="32356" y="50956"/>
                      <a:pt x="26255" y="53408"/>
                      <a:pt x="19677" y="56099"/>
                    </a:cubicBezTo>
                    <a:cubicBezTo>
                      <a:pt x="13158" y="40071"/>
                      <a:pt x="6639" y="24043"/>
                      <a:pt x="0" y="7715"/>
                    </a:cubicBezTo>
                    <a:cubicBezTo>
                      <a:pt x="6100" y="5263"/>
                      <a:pt x="12380" y="2691"/>
                      <a:pt x="18959" y="0"/>
                    </a:cubicBezTo>
                    <a:close/>
                    <a:moveTo>
                      <a:pt x="36363" y="47547"/>
                    </a:moveTo>
                    <a:cubicBezTo>
                      <a:pt x="30083" y="32117"/>
                      <a:pt x="24102" y="17344"/>
                      <a:pt x="18062" y="2572"/>
                    </a:cubicBezTo>
                    <a:cubicBezTo>
                      <a:pt x="14055" y="4187"/>
                      <a:pt x="10466" y="5682"/>
                      <a:pt x="6938" y="7057"/>
                    </a:cubicBezTo>
                    <a:cubicBezTo>
                      <a:pt x="13158" y="22308"/>
                      <a:pt x="19138" y="37081"/>
                      <a:pt x="25239" y="52032"/>
                    </a:cubicBezTo>
                    <a:cubicBezTo>
                      <a:pt x="29186" y="50418"/>
                      <a:pt x="32715" y="49042"/>
                      <a:pt x="36363" y="47547"/>
                    </a:cubicBezTo>
                    <a:close/>
                    <a:moveTo>
                      <a:pt x="2990" y="6340"/>
                    </a:moveTo>
                    <a:cubicBezTo>
                      <a:pt x="3050" y="9509"/>
                      <a:pt x="2691" y="11124"/>
                      <a:pt x="3170" y="12380"/>
                    </a:cubicBezTo>
                    <a:cubicBezTo>
                      <a:pt x="8253" y="24999"/>
                      <a:pt x="13457" y="37559"/>
                      <a:pt x="18780" y="50059"/>
                    </a:cubicBezTo>
                    <a:cubicBezTo>
                      <a:pt x="19318" y="51315"/>
                      <a:pt x="21052" y="52032"/>
                      <a:pt x="22189" y="53049"/>
                    </a:cubicBezTo>
                    <a:cubicBezTo>
                      <a:pt x="22189" y="51614"/>
                      <a:pt x="22667" y="50059"/>
                      <a:pt x="22189" y="48863"/>
                    </a:cubicBezTo>
                    <a:cubicBezTo>
                      <a:pt x="16866" y="35944"/>
                      <a:pt x="11423" y="23026"/>
                      <a:pt x="5921" y="10167"/>
                    </a:cubicBezTo>
                    <a:cubicBezTo>
                      <a:pt x="5682" y="9270"/>
                      <a:pt x="4904" y="8672"/>
                      <a:pt x="2990" y="634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61" name="Vrije vorm: vorm 9360">
                <a:extLst>
                  <a:ext uri="{FF2B5EF4-FFF2-40B4-BE49-F238E27FC236}">
                    <a16:creationId xmlns:a16="http://schemas.microsoft.com/office/drawing/2014/main" id="{D990B057-DC6D-47DC-B7C0-958F4A518AB5}"/>
                  </a:ext>
                </a:extLst>
              </p:cNvPr>
              <p:cNvSpPr/>
              <p:nvPr/>
            </p:nvSpPr>
            <p:spPr>
              <a:xfrm>
                <a:off x="5185485" y="1634332"/>
                <a:ext cx="73323" cy="87019"/>
              </a:xfrm>
              <a:custGeom>
                <a:avLst/>
                <a:gdLst>
                  <a:gd name="connsiteX0" fmla="*/ 73324 w 73323"/>
                  <a:gd name="connsiteY0" fmla="*/ 64173 h 87019"/>
                  <a:gd name="connsiteX1" fmla="*/ 26554 w 73323"/>
                  <a:gd name="connsiteY1" fmla="*/ 87020 h 87019"/>
                  <a:gd name="connsiteX2" fmla="*/ 0 w 73323"/>
                  <a:gd name="connsiteY2" fmla="*/ 21710 h 87019"/>
                  <a:gd name="connsiteX3" fmla="*/ 47247 w 73323"/>
                  <a:gd name="connsiteY3" fmla="*/ 0 h 87019"/>
                  <a:gd name="connsiteX4" fmla="*/ 73324 w 73323"/>
                  <a:gd name="connsiteY4" fmla="*/ 64173 h 87019"/>
                  <a:gd name="connsiteX5" fmla="*/ 46889 w 73323"/>
                  <a:gd name="connsiteY5" fmla="*/ 3588 h 87019"/>
                  <a:gd name="connsiteX6" fmla="*/ 6280 w 73323"/>
                  <a:gd name="connsiteY6" fmla="*/ 20035 h 87019"/>
                  <a:gd name="connsiteX7" fmla="*/ 3708 w 73323"/>
                  <a:gd name="connsiteY7" fmla="*/ 27511 h 87019"/>
                  <a:gd name="connsiteX8" fmla="*/ 25298 w 73323"/>
                  <a:gd name="connsiteY8" fmla="*/ 80501 h 87019"/>
                  <a:gd name="connsiteX9" fmla="*/ 27571 w 73323"/>
                  <a:gd name="connsiteY9" fmla="*/ 84986 h 87019"/>
                  <a:gd name="connsiteX10" fmla="*/ 71230 w 73323"/>
                  <a:gd name="connsiteY10" fmla="*/ 63515 h 87019"/>
                  <a:gd name="connsiteX11" fmla="*/ 46889 w 73323"/>
                  <a:gd name="connsiteY11" fmla="*/ 3588 h 87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323" h="87019">
                    <a:moveTo>
                      <a:pt x="73324" y="64173"/>
                    </a:moveTo>
                    <a:cubicBezTo>
                      <a:pt x="57654" y="71829"/>
                      <a:pt x="42104" y="79424"/>
                      <a:pt x="26554" y="87020"/>
                    </a:cubicBezTo>
                    <a:cubicBezTo>
                      <a:pt x="17703" y="65250"/>
                      <a:pt x="8851" y="43540"/>
                      <a:pt x="0" y="21710"/>
                    </a:cubicBezTo>
                    <a:cubicBezTo>
                      <a:pt x="15729" y="14473"/>
                      <a:pt x="31459" y="7237"/>
                      <a:pt x="47247" y="0"/>
                    </a:cubicBezTo>
                    <a:cubicBezTo>
                      <a:pt x="55920" y="21411"/>
                      <a:pt x="64652" y="42822"/>
                      <a:pt x="73324" y="64173"/>
                    </a:cubicBezTo>
                    <a:close/>
                    <a:moveTo>
                      <a:pt x="46889" y="3588"/>
                    </a:moveTo>
                    <a:cubicBezTo>
                      <a:pt x="33133" y="9210"/>
                      <a:pt x="19736" y="14772"/>
                      <a:pt x="6280" y="20035"/>
                    </a:cubicBezTo>
                    <a:cubicBezTo>
                      <a:pt x="2452" y="21531"/>
                      <a:pt x="1973" y="23385"/>
                      <a:pt x="3708" y="27511"/>
                    </a:cubicBezTo>
                    <a:cubicBezTo>
                      <a:pt x="11064" y="45095"/>
                      <a:pt x="18121" y="62857"/>
                      <a:pt x="25298" y="80501"/>
                    </a:cubicBezTo>
                    <a:cubicBezTo>
                      <a:pt x="25896" y="81936"/>
                      <a:pt x="26734" y="83252"/>
                      <a:pt x="27571" y="84986"/>
                    </a:cubicBezTo>
                    <a:cubicBezTo>
                      <a:pt x="42343" y="77749"/>
                      <a:pt x="56757" y="70632"/>
                      <a:pt x="71230" y="63515"/>
                    </a:cubicBezTo>
                    <a:cubicBezTo>
                      <a:pt x="62798" y="42702"/>
                      <a:pt x="54664" y="22667"/>
                      <a:pt x="46889" y="358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62" name="Vrije vorm: vorm 9361">
                <a:extLst>
                  <a:ext uri="{FF2B5EF4-FFF2-40B4-BE49-F238E27FC236}">
                    <a16:creationId xmlns:a16="http://schemas.microsoft.com/office/drawing/2014/main" id="{19BD71B0-B547-4B76-B413-0B966DC02FFE}"/>
                  </a:ext>
                </a:extLst>
              </p:cNvPr>
              <p:cNvSpPr/>
              <p:nvPr/>
            </p:nvSpPr>
            <p:spPr>
              <a:xfrm>
                <a:off x="5007678" y="1625959"/>
                <a:ext cx="55800" cy="74101"/>
              </a:xfrm>
              <a:custGeom>
                <a:avLst/>
                <a:gdLst>
                  <a:gd name="connsiteX0" fmla="*/ 55800 w 55800"/>
                  <a:gd name="connsiteY0" fmla="*/ 65250 h 74101"/>
                  <a:gd name="connsiteX1" fmla="*/ 25299 w 55800"/>
                  <a:gd name="connsiteY1" fmla="*/ 74101 h 74101"/>
                  <a:gd name="connsiteX2" fmla="*/ 1914 w 55800"/>
                  <a:gd name="connsiteY2" fmla="*/ 16626 h 74101"/>
                  <a:gd name="connsiteX3" fmla="*/ 2512 w 55800"/>
                  <a:gd name="connsiteY3" fmla="*/ 16208 h 74101"/>
                  <a:gd name="connsiteX4" fmla="*/ 4665 w 55800"/>
                  <a:gd name="connsiteY4" fmla="*/ 20454 h 74101"/>
                  <a:gd name="connsiteX5" fmla="*/ 23983 w 55800"/>
                  <a:gd name="connsiteY5" fmla="*/ 67762 h 74101"/>
                  <a:gd name="connsiteX6" fmla="*/ 30681 w 55800"/>
                  <a:gd name="connsiteY6" fmla="*/ 71290 h 74101"/>
                  <a:gd name="connsiteX7" fmla="*/ 53468 w 55800"/>
                  <a:gd name="connsiteY7" fmla="*/ 64353 h 74101"/>
                  <a:gd name="connsiteX8" fmla="*/ 28349 w 55800"/>
                  <a:gd name="connsiteY8" fmla="*/ 2632 h 74101"/>
                  <a:gd name="connsiteX9" fmla="*/ 180 w 55800"/>
                  <a:gd name="connsiteY9" fmla="*/ 12380 h 74101"/>
                  <a:gd name="connsiteX10" fmla="*/ 0 w 55800"/>
                  <a:gd name="connsiteY10" fmla="*/ 11902 h 74101"/>
                  <a:gd name="connsiteX11" fmla="*/ 29186 w 55800"/>
                  <a:gd name="connsiteY11" fmla="*/ 0 h 74101"/>
                  <a:gd name="connsiteX12" fmla="*/ 55800 w 55800"/>
                  <a:gd name="connsiteY12" fmla="*/ 65250 h 7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800" h="74101">
                    <a:moveTo>
                      <a:pt x="55800" y="65250"/>
                    </a:moveTo>
                    <a:cubicBezTo>
                      <a:pt x="45693" y="68180"/>
                      <a:pt x="35645" y="71051"/>
                      <a:pt x="25299" y="74101"/>
                    </a:cubicBezTo>
                    <a:cubicBezTo>
                      <a:pt x="17583" y="55142"/>
                      <a:pt x="9749" y="35884"/>
                      <a:pt x="1914" y="16626"/>
                    </a:cubicBezTo>
                    <a:cubicBezTo>
                      <a:pt x="2093" y="16507"/>
                      <a:pt x="2333" y="16327"/>
                      <a:pt x="2512" y="16208"/>
                    </a:cubicBezTo>
                    <a:cubicBezTo>
                      <a:pt x="3230" y="17643"/>
                      <a:pt x="4067" y="19019"/>
                      <a:pt x="4665" y="20454"/>
                    </a:cubicBezTo>
                    <a:cubicBezTo>
                      <a:pt x="11184" y="36183"/>
                      <a:pt x="17703" y="51913"/>
                      <a:pt x="23983" y="67762"/>
                    </a:cubicBezTo>
                    <a:cubicBezTo>
                      <a:pt x="25538" y="71709"/>
                      <a:pt x="27153" y="72486"/>
                      <a:pt x="30681" y="71290"/>
                    </a:cubicBezTo>
                    <a:cubicBezTo>
                      <a:pt x="38038" y="68778"/>
                      <a:pt x="45633" y="66745"/>
                      <a:pt x="53468" y="64353"/>
                    </a:cubicBezTo>
                    <a:cubicBezTo>
                      <a:pt x="45095" y="43779"/>
                      <a:pt x="36841" y="23444"/>
                      <a:pt x="28349" y="2632"/>
                    </a:cubicBezTo>
                    <a:cubicBezTo>
                      <a:pt x="18899" y="5921"/>
                      <a:pt x="9510" y="9150"/>
                      <a:pt x="180" y="12380"/>
                    </a:cubicBezTo>
                    <a:cubicBezTo>
                      <a:pt x="120" y="12201"/>
                      <a:pt x="60" y="12081"/>
                      <a:pt x="0" y="11902"/>
                    </a:cubicBezTo>
                    <a:cubicBezTo>
                      <a:pt x="9689" y="7954"/>
                      <a:pt x="19378" y="4007"/>
                      <a:pt x="29186" y="0"/>
                    </a:cubicBezTo>
                    <a:cubicBezTo>
                      <a:pt x="38217" y="21949"/>
                      <a:pt x="47009" y="43599"/>
                      <a:pt x="55800" y="6525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63" name="Vrije vorm: vorm 9362">
                <a:extLst>
                  <a:ext uri="{FF2B5EF4-FFF2-40B4-BE49-F238E27FC236}">
                    <a16:creationId xmlns:a16="http://schemas.microsoft.com/office/drawing/2014/main" id="{92FB46A4-7AE7-4688-AD23-3EEAE1811960}"/>
                  </a:ext>
                </a:extLst>
              </p:cNvPr>
              <p:cNvSpPr/>
              <p:nvPr/>
            </p:nvSpPr>
            <p:spPr>
              <a:xfrm>
                <a:off x="5440024" y="1778109"/>
                <a:ext cx="63634" cy="83251"/>
              </a:xfrm>
              <a:custGeom>
                <a:avLst/>
                <a:gdLst>
                  <a:gd name="connsiteX0" fmla="*/ 62259 w 63634"/>
                  <a:gd name="connsiteY0" fmla="*/ 58910 h 83251"/>
                  <a:gd name="connsiteX1" fmla="*/ 39054 w 63634"/>
                  <a:gd name="connsiteY1" fmla="*/ 1914 h 83251"/>
                  <a:gd name="connsiteX2" fmla="*/ 5083 w 63634"/>
                  <a:gd name="connsiteY2" fmla="*/ 21232 h 83251"/>
                  <a:gd name="connsiteX3" fmla="*/ 3289 w 63634"/>
                  <a:gd name="connsiteY3" fmla="*/ 26255 h 83251"/>
                  <a:gd name="connsiteX4" fmla="*/ 25418 w 63634"/>
                  <a:gd name="connsiteY4" fmla="*/ 81039 h 83251"/>
                  <a:gd name="connsiteX5" fmla="*/ 60046 w 63634"/>
                  <a:gd name="connsiteY5" fmla="*/ 60405 h 83251"/>
                  <a:gd name="connsiteX6" fmla="*/ 60585 w 63634"/>
                  <a:gd name="connsiteY6" fmla="*/ 61362 h 83251"/>
                  <a:gd name="connsiteX7" fmla="*/ 24700 w 63634"/>
                  <a:gd name="connsiteY7" fmla="*/ 83252 h 83251"/>
                  <a:gd name="connsiteX8" fmla="*/ 0 w 63634"/>
                  <a:gd name="connsiteY8" fmla="*/ 22547 h 83251"/>
                  <a:gd name="connsiteX9" fmla="*/ 39712 w 63634"/>
                  <a:gd name="connsiteY9" fmla="*/ 0 h 83251"/>
                  <a:gd name="connsiteX10" fmla="*/ 63635 w 63634"/>
                  <a:gd name="connsiteY10" fmla="*/ 58731 h 83251"/>
                  <a:gd name="connsiteX11" fmla="*/ 62259 w 63634"/>
                  <a:gd name="connsiteY11" fmla="*/ 58910 h 8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634" h="83251">
                    <a:moveTo>
                      <a:pt x="62259" y="58910"/>
                    </a:moveTo>
                    <a:cubicBezTo>
                      <a:pt x="54544" y="40011"/>
                      <a:pt x="46889" y="21112"/>
                      <a:pt x="39054" y="1914"/>
                    </a:cubicBezTo>
                    <a:cubicBezTo>
                      <a:pt x="27451" y="8433"/>
                      <a:pt x="16148" y="14653"/>
                      <a:pt x="5083" y="21232"/>
                    </a:cubicBezTo>
                    <a:cubicBezTo>
                      <a:pt x="3887" y="21949"/>
                      <a:pt x="2811" y="24940"/>
                      <a:pt x="3289" y="26255"/>
                    </a:cubicBezTo>
                    <a:cubicBezTo>
                      <a:pt x="10406" y="44377"/>
                      <a:pt x="17822" y="62379"/>
                      <a:pt x="25418" y="81039"/>
                    </a:cubicBezTo>
                    <a:cubicBezTo>
                      <a:pt x="37140" y="74041"/>
                      <a:pt x="48623" y="67223"/>
                      <a:pt x="60046" y="60405"/>
                    </a:cubicBezTo>
                    <a:cubicBezTo>
                      <a:pt x="60226" y="60704"/>
                      <a:pt x="60405" y="61063"/>
                      <a:pt x="60585" y="61362"/>
                    </a:cubicBezTo>
                    <a:cubicBezTo>
                      <a:pt x="48683" y="68659"/>
                      <a:pt x="36722" y="75895"/>
                      <a:pt x="24700" y="83252"/>
                    </a:cubicBezTo>
                    <a:cubicBezTo>
                      <a:pt x="16507" y="63097"/>
                      <a:pt x="8253" y="42762"/>
                      <a:pt x="0" y="22547"/>
                    </a:cubicBezTo>
                    <a:cubicBezTo>
                      <a:pt x="13576" y="14832"/>
                      <a:pt x="26794" y="7296"/>
                      <a:pt x="39712" y="0"/>
                    </a:cubicBezTo>
                    <a:cubicBezTo>
                      <a:pt x="47606" y="19437"/>
                      <a:pt x="55621" y="39054"/>
                      <a:pt x="63635" y="58731"/>
                    </a:cubicBezTo>
                    <a:cubicBezTo>
                      <a:pt x="63216" y="58671"/>
                      <a:pt x="62738" y="58791"/>
                      <a:pt x="62259" y="5891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64" name="Vrije vorm: vorm 9363">
                <a:extLst>
                  <a:ext uri="{FF2B5EF4-FFF2-40B4-BE49-F238E27FC236}">
                    <a16:creationId xmlns:a16="http://schemas.microsoft.com/office/drawing/2014/main" id="{CC35E66B-89E8-413E-88BB-EA35ACBE8C4D}"/>
                  </a:ext>
                </a:extLst>
              </p:cNvPr>
              <p:cNvSpPr/>
              <p:nvPr/>
            </p:nvSpPr>
            <p:spPr>
              <a:xfrm>
                <a:off x="5299896" y="1582061"/>
                <a:ext cx="68478" cy="82414"/>
              </a:xfrm>
              <a:custGeom>
                <a:avLst/>
                <a:gdLst>
                  <a:gd name="connsiteX0" fmla="*/ 0 w 68478"/>
                  <a:gd name="connsiteY0" fmla="*/ 19856 h 82414"/>
                  <a:gd name="connsiteX1" fmla="*/ 43420 w 68478"/>
                  <a:gd name="connsiteY1" fmla="*/ 0 h 82414"/>
                  <a:gd name="connsiteX2" fmla="*/ 68479 w 68478"/>
                  <a:gd name="connsiteY2" fmla="*/ 61542 h 82414"/>
                  <a:gd name="connsiteX3" fmla="*/ 25478 w 68478"/>
                  <a:gd name="connsiteY3" fmla="*/ 82414 h 82414"/>
                  <a:gd name="connsiteX4" fmla="*/ 0 w 68478"/>
                  <a:gd name="connsiteY4" fmla="*/ 19856 h 82414"/>
                  <a:gd name="connsiteX5" fmla="*/ 66446 w 68478"/>
                  <a:gd name="connsiteY5" fmla="*/ 60944 h 82414"/>
                  <a:gd name="connsiteX6" fmla="*/ 42403 w 68478"/>
                  <a:gd name="connsiteY6" fmla="*/ 1854 h 82414"/>
                  <a:gd name="connsiteX7" fmla="*/ 2213 w 68478"/>
                  <a:gd name="connsiteY7" fmla="*/ 20394 h 82414"/>
                  <a:gd name="connsiteX8" fmla="*/ 26614 w 68478"/>
                  <a:gd name="connsiteY8" fmla="*/ 80321 h 82414"/>
                  <a:gd name="connsiteX9" fmla="*/ 66446 w 68478"/>
                  <a:gd name="connsiteY9" fmla="*/ 60944 h 8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78" h="82414">
                    <a:moveTo>
                      <a:pt x="0" y="19856"/>
                    </a:moveTo>
                    <a:cubicBezTo>
                      <a:pt x="14473" y="13217"/>
                      <a:pt x="28827" y="6698"/>
                      <a:pt x="43420" y="0"/>
                    </a:cubicBezTo>
                    <a:cubicBezTo>
                      <a:pt x="51614" y="20215"/>
                      <a:pt x="59986" y="40729"/>
                      <a:pt x="68479" y="61542"/>
                    </a:cubicBezTo>
                    <a:cubicBezTo>
                      <a:pt x="54125" y="68539"/>
                      <a:pt x="39831" y="75477"/>
                      <a:pt x="25478" y="82414"/>
                    </a:cubicBezTo>
                    <a:cubicBezTo>
                      <a:pt x="17045" y="61781"/>
                      <a:pt x="8493" y="40848"/>
                      <a:pt x="0" y="19856"/>
                    </a:cubicBezTo>
                    <a:close/>
                    <a:moveTo>
                      <a:pt x="66446" y="60944"/>
                    </a:moveTo>
                    <a:cubicBezTo>
                      <a:pt x="58252" y="40848"/>
                      <a:pt x="50477" y="21590"/>
                      <a:pt x="42403" y="1854"/>
                    </a:cubicBezTo>
                    <a:cubicBezTo>
                      <a:pt x="28767" y="8134"/>
                      <a:pt x="15490" y="14234"/>
                      <a:pt x="2213" y="20394"/>
                    </a:cubicBezTo>
                    <a:cubicBezTo>
                      <a:pt x="10526" y="40848"/>
                      <a:pt x="18480" y="60465"/>
                      <a:pt x="26614" y="80321"/>
                    </a:cubicBezTo>
                    <a:cubicBezTo>
                      <a:pt x="39951" y="73862"/>
                      <a:pt x="52810" y="67582"/>
                      <a:pt x="66446" y="6094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65" name="Vrije vorm: vorm 9364">
                <a:extLst>
                  <a:ext uri="{FF2B5EF4-FFF2-40B4-BE49-F238E27FC236}">
                    <a16:creationId xmlns:a16="http://schemas.microsoft.com/office/drawing/2014/main" id="{708DEFBF-5295-45A3-9A5E-43855440CDD5}"/>
                  </a:ext>
                </a:extLst>
              </p:cNvPr>
              <p:cNvSpPr/>
              <p:nvPr/>
            </p:nvSpPr>
            <p:spPr>
              <a:xfrm>
                <a:off x="5509819" y="1626079"/>
                <a:ext cx="49161" cy="61720"/>
              </a:xfrm>
              <a:custGeom>
                <a:avLst/>
                <a:gdLst>
                  <a:gd name="connsiteX0" fmla="*/ 49162 w 49161"/>
                  <a:gd name="connsiteY0" fmla="*/ 44437 h 61720"/>
                  <a:gd name="connsiteX1" fmla="*/ 17404 w 49161"/>
                  <a:gd name="connsiteY1" fmla="*/ 61721 h 61720"/>
                  <a:gd name="connsiteX2" fmla="*/ 8792 w 49161"/>
                  <a:gd name="connsiteY2" fmla="*/ 39533 h 61720"/>
                  <a:gd name="connsiteX3" fmla="*/ 0 w 49161"/>
                  <a:gd name="connsiteY3" fmla="*/ 15131 h 61720"/>
                  <a:gd name="connsiteX4" fmla="*/ 12260 w 49161"/>
                  <a:gd name="connsiteY4" fmla="*/ 45453 h 61720"/>
                  <a:gd name="connsiteX5" fmla="*/ 18959 w 49161"/>
                  <a:gd name="connsiteY5" fmla="*/ 49461 h 61720"/>
                  <a:gd name="connsiteX6" fmla="*/ 43779 w 49161"/>
                  <a:gd name="connsiteY6" fmla="*/ 43958 h 61720"/>
                  <a:gd name="connsiteX7" fmla="*/ 26554 w 49161"/>
                  <a:gd name="connsiteY7" fmla="*/ 1675 h 61720"/>
                  <a:gd name="connsiteX8" fmla="*/ 28169 w 49161"/>
                  <a:gd name="connsiteY8" fmla="*/ 1017 h 61720"/>
                  <a:gd name="connsiteX9" fmla="*/ 45633 w 49161"/>
                  <a:gd name="connsiteY9" fmla="*/ 43898 h 61720"/>
                  <a:gd name="connsiteX10" fmla="*/ 47427 w 49161"/>
                  <a:gd name="connsiteY10" fmla="*/ 43121 h 61720"/>
                  <a:gd name="connsiteX11" fmla="*/ 30023 w 49161"/>
                  <a:gd name="connsiteY11" fmla="*/ 359 h 61720"/>
                  <a:gd name="connsiteX12" fmla="*/ 31100 w 49161"/>
                  <a:gd name="connsiteY12" fmla="*/ 0 h 61720"/>
                  <a:gd name="connsiteX13" fmla="*/ 49162 w 49161"/>
                  <a:gd name="connsiteY13" fmla="*/ 44437 h 61720"/>
                  <a:gd name="connsiteX14" fmla="*/ 18301 w 49161"/>
                  <a:gd name="connsiteY14" fmla="*/ 59568 h 61720"/>
                  <a:gd name="connsiteX15" fmla="*/ 41267 w 49161"/>
                  <a:gd name="connsiteY15" fmla="*/ 47188 h 61720"/>
                  <a:gd name="connsiteX16" fmla="*/ 40729 w 49161"/>
                  <a:gd name="connsiteY16" fmla="*/ 45992 h 61720"/>
                  <a:gd name="connsiteX17" fmla="*/ 15072 w 49161"/>
                  <a:gd name="connsiteY17" fmla="*/ 51614 h 61720"/>
                  <a:gd name="connsiteX18" fmla="*/ 18301 w 49161"/>
                  <a:gd name="connsiteY18" fmla="*/ 59568 h 6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161" h="61720">
                    <a:moveTo>
                      <a:pt x="49162" y="44437"/>
                    </a:moveTo>
                    <a:cubicBezTo>
                      <a:pt x="38336" y="50298"/>
                      <a:pt x="27870" y="55980"/>
                      <a:pt x="17404" y="61721"/>
                    </a:cubicBezTo>
                    <a:cubicBezTo>
                      <a:pt x="13576" y="54783"/>
                      <a:pt x="11782" y="46889"/>
                      <a:pt x="8792" y="39533"/>
                    </a:cubicBezTo>
                    <a:cubicBezTo>
                      <a:pt x="5502" y="31518"/>
                      <a:pt x="2273" y="23504"/>
                      <a:pt x="0" y="15131"/>
                    </a:cubicBezTo>
                    <a:cubicBezTo>
                      <a:pt x="4127" y="25239"/>
                      <a:pt x="8373" y="35286"/>
                      <a:pt x="12260" y="45453"/>
                    </a:cubicBezTo>
                    <a:cubicBezTo>
                      <a:pt x="13696" y="49221"/>
                      <a:pt x="15311" y="50417"/>
                      <a:pt x="18959" y="49461"/>
                    </a:cubicBezTo>
                    <a:cubicBezTo>
                      <a:pt x="26853" y="47427"/>
                      <a:pt x="34868" y="45872"/>
                      <a:pt x="43779" y="43958"/>
                    </a:cubicBezTo>
                    <a:cubicBezTo>
                      <a:pt x="37858" y="29485"/>
                      <a:pt x="32236" y="15550"/>
                      <a:pt x="26554" y="1675"/>
                    </a:cubicBezTo>
                    <a:cubicBezTo>
                      <a:pt x="27093" y="1435"/>
                      <a:pt x="27631" y="1256"/>
                      <a:pt x="28169" y="1017"/>
                    </a:cubicBezTo>
                    <a:cubicBezTo>
                      <a:pt x="33970" y="15311"/>
                      <a:pt x="39772" y="29605"/>
                      <a:pt x="45633" y="43898"/>
                    </a:cubicBezTo>
                    <a:cubicBezTo>
                      <a:pt x="46231" y="43659"/>
                      <a:pt x="46829" y="43360"/>
                      <a:pt x="47427" y="43121"/>
                    </a:cubicBezTo>
                    <a:cubicBezTo>
                      <a:pt x="41626" y="28887"/>
                      <a:pt x="35824" y="14653"/>
                      <a:pt x="30023" y="359"/>
                    </a:cubicBezTo>
                    <a:cubicBezTo>
                      <a:pt x="30382" y="239"/>
                      <a:pt x="30741" y="120"/>
                      <a:pt x="31100" y="0"/>
                    </a:cubicBezTo>
                    <a:cubicBezTo>
                      <a:pt x="37021" y="14713"/>
                      <a:pt x="43061" y="29485"/>
                      <a:pt x="49162" y="44437"/>
                    </a:cubicBezTo>
                    <a:close/>
                    <a:moveTo>
                      <a:pt x="18301" y="59568"/>
                    </a:moveTo>
                    <a:cubicBezTo>
                      <a:pt x="26136" y="55322"/>
                      <a:pt x="33671" y="51255"/>
                      <a:pt x="41267" y="47188"/>
                    </a:cubicBezTo>
                    <a:cubicBezTo>
                      <a:pt x="41088" y="46769"/>
                      <a:pt x="40908" y="46410"/>
                      <a:pt x="40729" y="45992"/>
                    </a:cubicBezTo>
                    <a:cubicBezTo>
                      <a:pt x="32236" y="47846"/>
                      <a:pt x="23744" y="49700"/>
                      <a:pt x="15072" y="51614"/>
                    </a:cubicBezTo>
                    <a:cubicBezTo>
                      <a:pt x="16268" y="54724"/>
                      <a:pt x="17165" y="56877"/>
                      <a:pt x="18301" y="5956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66" name="Vrije vorm: vorm 9365">
                <a:extLst>
                  <a:ext uri="{FF2B5EF4-FFF2-40B4-BE49-F238E27FC236}">
                    <a16:creationId xmlns:a16="http://schemas.microsoft.com/office/drawing/2014/main" id="{1E5A5835-7021-4A5B-B0F2-86295500905E}"/>
                  </a:ext>
                </a:extLst>
              </p:cNvPr>
              <p:cNvSpPr/>
              <p:nvPr/>
            </p:nvSpPr>
            <p:spPr>
              <a:xfrm>
                <a:off x="5391880" y="1803228"/>
                <a:ext cx="65787" cy="85344"/>
              </a:xfrm>
              <a:custGeom>
                <a:avLst/>
                <a:gdLst>
                  <a:gd name="connsiteX0" fmla="*/ 26016 w 65787"/>
                  <a:gd name="connsiteY0" fmla="*/ 83132 h 85344"/>
                  <a:gd name="connsiteX1" fmla="*/ 62199 w 65787"/>
                  <a:gd name="connsiteY1" fmla="*/ 61601 h 85344"/>
                  <a:gd name="connsiteX2" fmla="*/ 62738 w 65787"/>
                  <a:gd name="connsiteY2" fmla="*/ 62618 h 85344"/>
                  <a:gd name="connsiteX3" fmla="*/ 25179 w 65787"/>
                  <a:gd name="connsiteY3" fmla="*/ 85345 h 85344"/>
                  <a:gd name="connsiteX4" fmla="*/ 0 w 65787"/>
                  <a:gd name="connsiteY4" fmla="*/ 23504 h 85344"/>
                  <a:gd name="connsiteX5" fmla="*/ 41386 w 65787"/>
                  <a:gd name="connsiteY5" fmla="*/ 0 h 85344"/>
                  <a:gd name="connsiteX6" fmla="*/ 65788 w 65787"/>
                  <a:gd name="connsiteY6" fmla="*/ 60046 h 85344"/>
                  <a:gd name="connsiteX7" fmla="*/ 64711 w 65787"/>
                  <a:gd name="connsiteY7" fmla="*/ 60465 h 85344"/>
                  <a:gd name="connsiteX8" fmla="*/ 40848 w 65787"/>
                  <a:gd name="connsiteY8" fmla="*/ 1854 h 85344"/>
                  <a:gd name="connsiteX9" fmla="*/ 12021 w 65787"/>
                  <a:gd name="connsiteY9" fmla="*/ 18181 h 85344"/>
                  <a:gd name="connsiteX10" fmla="*/ 6937 w 65787"/>
                  <a:gd name="connsiteY10" fmla="*/ 36542 h 85344"/>
                  <a:gd name="connsiteX11" fmla="*/ 23624 w 65787"/>
                  <a:gd name="connsiteY11" fmla="*/ 78407 h 85344"/>
                  <a:gd name="connsiteX12" fmla="*/ 26016 w 65787"/>
                  <a:gd name="connsiteY12" fmla="*/ 83132 h 85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787" h="85344">
                    <a:moveTo>
                      <a:pt x="26016" y="83132"/>
                    </a:moveTo>
                    <a:cubicBezTo>
                      <a:pt x="38575" y="75656"/>
                      <a:pt x="50358" y="68599"/>
                      <a:pt x="62199" y="61601"/>
                    </a:cubicBezTo>
                    <a:cubicBezTo>
                      <a:pt x="62379" y="61960"/>
                      <a:pt x="62558" y="62259"/>
                      <a:pt x="62738" y="62618"/>
                    </a:cubicBezTo>
                    <a:cubicBezTo>
                      <a:pt x="50238" y="70154"/>
                      <a:pt x="37738" y="77749"/>
                      <a:pt x="25179" y="85345"/>
                    </a:cubicBezTo>
                    <a:cubicBezTo>
                      <a:pt x="16865" y="64831"/>
                      <a:pt x="8433" y="44198"/>
                      <a:pt x="0" y="23504"/>
                    </a:cubicBezTo>
                    <a:cubicBezTo>
                      <a:pt x="14055" y="15550"/>
                      <a:pt x="27810" y="7715"/>
                      <a:pt x="41386" y="0"/>
                    </a:cubicBezTo>
                    <a:cubicBezTo>
                      <a:pt x="49520" y="20035"/>
                      <a:pt x="57654" y="40011"/>
                      <a:pt x="65788" y="60046"/>
                    </a:cubicBezTo>
                    <a:cubicBezTo>
                      <a:pt x="65429" y="60166"/>
                      <a:pt x="65070" y="60345"/>
                      <a:pt x="64711" y="60465"/>
                    </a:cubicBezTo>
                    <a:cubicBezTo>
                      <a:pt x="56817" y="41088"/>
                      <a:pt x="48982" y="21770"/>
                      <a:pt x="40848" y="1854"/>
                    </a:cubicBezTo>
                    <a:cubicBezTo>
                      <a:pt x="30920" y="7476"/>
                      <a:pt x="21351" y="12619"/>
                      <a:pt x="12021" y="18181"/>
                    </a:cubicBezTo>
                    <a:cubicBezTo>
                      <a:pt x="2153" y="24043"/>
                      <a:pt x="2213" y="24282"/>
                      <a:pt x="6937" y="36542"/>
                    </a:cubicBezTo>
                    <a:cubicBezTo>
                      <a:pt x="12380" y="50537"/>
                      <a:pt x="18002" y="64472"/>
                      <a:pt x="23624" y="78407"/>
                    </a:cubicBezTo>
                    <a:cubicBezTo>
                      <a:pt x="24282" y="79902"/>
                      <a:pt x="25119" y="81278"/>
                      <a:pt x="26016" y="8313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67" name="Vrije vorm: vorm 9366">
                <a:extLst>
                  <a:ext uri="{FF2B5EF4-FFF2-40B4-BE49-F238E27FC236}">
                    <a16:creationId xmlns:a16="http://schemas.microsoft.com/office/drawing/2014/main" id="{6DA33FD4-EAF4-4329-9D70-F8DDC52FA3E8}"/>
                  </a:ext>
                </a:extLst>
              </p:cNvPr>
              <p:cNvSpPr/>
              <p:nvPr/>
            </p:nvSpPr>
            <p:spPr>
              <a:xfrm>
                <a:off x="5153069" y="1557659"/>
                <a:ext cx="73802" cy="85165"/>
              </a:xfrm>
              <a:custGeom>
                <a:avLst/>
                <a:gdLst>
                  <a:gd name="connsiteX0" fmla="*/ 26734 w 73802"/>
                  <a:gd name="connsiteY0" fmla="*/ 85165 h 85165"/>
                  <a:gd name="connsiteX1" fmla="*/ 0 w 73802"/>
                  <a:gd name="connsiteY1" fmla="*/ 19377 h 85165"/>
                  <a:gd name="connsiteX2" fmla="*/ 47667 w 73802"/>
                  <a:gd name="connsiteY2" fmla="*/ 0 h 85165"/>
                  <a:gd name="connsiteX3" fmla="*/ 48145 w 73802"/>
                  <a:gd name="connsiteY3" fmla="*/ 1136 h 85165"/>
                  <a:gd name="connsiteX4" fmla="*/ 2034 w 73802"/>
                  <a:gd name="connsiteY4" fmla="*/ 19916 h 85165"/>
                  <a:gd name="connsiteX5" fmla="*/ 27332 w 73802"/>
                  <a:gd name="connsiteY5" fmla="*/ 82175 h 85165"/>
                  <a:gd name="connsiteX6" fmla="*/ 72487 w 73802"/>
                  <a:gd name="connsiteY6" fmla="*/ 63814 h 85165"/>
                  <a:gd name="connsiteX7" fmla="*/ 48145 w 73802"/>
                  <a:gd name="connsiteY7" fmla="*/ 3947 h 85165"/>
                  <a:gd name="connsiteX8" fmla="*/ 49222 w 73802"/>
                  <a:gd name="connsiteY8" fmla="*/ 3529 h 85165"/>
                  <a:gd name="connsiteX9" fmla="*/ 73802 w 73802"/>
                  <a:gd name="connsiteY9" fmla="*/ 63934 h 85165"/>
                  <a:gd name="connsiteX10" fmla="*/ 26734 w 73802"/>
                  <a:gd name="connsiteY10" fmla="*/ 85165 h 8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802" h="85165">
                    <a:moveTo>
                      <a:pt x="26734" y="85165"/>
                    </a:moveTo>
                    <a:cubicBezTo>
                      <a:pt x="17823" y="63216"/>
                      <a:pt x="8912" y="41327"/>
                      <a:pt x="0" y="19377"/>
                    </a:cubicBezTo>
                    <a:cubicBezTo>
                      <a:pt x="15909" y="12918"/>
                      <a:pt x="31758" y="6459"/>
                      <a:pt x="47667" y="0"/>
                    </a:cubicBezTo>
                    <a:cubicBezTo>
                      <a:pt x="47846" y="359"/>
                      <a:pt x="47966" y="777"/>
                      <a:pt x="48145" y="1136"/>
                    </a:cubicBezTo>
                    <a:cubicBezTo>
                      <a:pt x="32834" y="7356"/>
                      <a:pt x="17583" y="13576"/>
                      <a:pt x="2034" y="19916"/>
                    </a:cubicBezTo>
                    <a:cubicBezTo>
                      <a:pt x="10766" y="41327"/>
                      <a:pt x="19138" y="61960"/>
                      <a:pt x="27332" y="82175"/>
                    </a:cubicBezTo>
                    <a:cubicBezTo>
                      <a:pt x="42344" y="76075"/>
                      <a:pt x="57116" y="70034"/>
                      <a:pt x="72487" y="63814"/>
                    </a:cubicBezTo>
                    <a:cubicBezTo>
                      <a:pt x="64114" y="43241"/>
                      <a:pt x="56159" y="23624"/>
                      <a:pt x="48145" y="3947"/>
                    </a:cubicBezTo>
                    <a:cubicBezTo>
                      <a:pt x="48504" y="3828"/>
                      <a:pt x="48863" y="3648"/>
                      <a:pt x="49222" y="3529"/>
                    </a:cubicBezTo>
                    <a:cubicBezTo>
                      <a:pt x="57415" y="23624"/>
                      <a:pt x="65609" y="43779"/>
                      <a:pt x="73802" y="63934"/>
                    </a:cubicBezTo>
                    <a:cubicBezTo>
                      <a:pt x="58432" y="70871"/>
                      <a:pt x="42762" y="77929"/>
                      <a:pt x="26734" y="8516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68" name="Vrije vorm: vorm 9367">
                <a:extLst>
                  <a:ext uri="{FF2B5EF4-FFF2-40B4-BE49-F238E27FC236}">
                    <a16:creationId xmlns:a16="http://schemas.microsoft.com/office/drawing/2014/main" id="{540DE004-59B1-4114-97A1-351E82AB2558}"/>
                  </a:ext>
                </a:extLst>
              </p:cNvPr>
              <p:cNvSpPr/>
              <p:nvPr/>
            </p:nvSpPr>
            <p:spPr>
              <a:xfrm>
                <a:off x="4849248" y="1696292"/>
                <a:ext cx="38635" cy="54783"/>
              </a:xfrm>
              <a:custGeom>
                <a:avLst/>
                <a:gdLst>
                  <a:gd name="connsiteX0" fmla="*/ 0 w 38635"/>
                  <a:gd name="connsiteY0" fmla="*/ 7536 h 54783"/>
                  <a:gd name="connsiteX1" fmla="*/ 18600 w 38635"/>
                  <a:gd name="connsiteY1" fmla="*/ 0 h 54783"/>
                  <a:gd name="connsiteX2" fmla="*/ 38636 w 38635"/>
                  <a:gd name="connsiteY2" fmla="*/ 49221 h 54783"/>
                  <a:gd name="connsiteX3" fmla="*/ 19258 w 38635"/>
                  <a:gd name="connsiteY3" fmla="*/ 54783 h 54783"/>
                  <a:gd name="connsiteX4" fmla="*/ 0 w 38635"/>
                  <a:gd name="connsiteY4" fmla="*/ 7536 h 54783"/>
                  <a:gd name="connsiteX5" fmla="*/ 4725 w 38635"/>
                  <a:gd name="connsiteY5" fmla="*/ 7715 h 54783"/>
                  <a:gd name="connsiteX6" fmla="*/ 21650 w 38635"/>
                  <a:gd name="connsiteY6" fmla="*/ 49341 h 54783"/>
                  <a:gd name="connsiteX7" fmla="*/ 20394 w 38635"/>
                  <a:gd name="connsiteY7" fmla="*/ 49879 h 54783"/>
                  <a:gd name="connsiteX8" fmla="*/ 3289 w 38635"/>
                  <a:gd name="connsiteY8" fmla="*/ 7895 h 54783"/>
                  <a:gd name="connsiteX9" fmla="*/ 2273 w 38635"/>
                  <a:gd name="connsiteY9" fmla="*/ 9150 h 54783"/>
                  <a:gd name="connsiteX10" fmla="*/ 19258 w 38635"/>
                  <a:gd name="connsiteY10" fmla="*/ 50717 h 54783"/>
                  <a:gd name="connsiteX11" fmla="*/ 22846 w 38635"/>
                  <a:gd name="connsiteY11" fmla="*/ 52331 h 54783"/>
                  <a:gd name="connsiteX12" fmla="*/ 36483 w 38635"/>
                  <a:gd name="connsiteY12" fmla="*/ 48205 h 54783"/>
                  <a:gd name="connsiteX13" fmla="*/ 17823 w 38635"/>
                  <a:gd name="connsiteY13" fmla="*/ 2392 h 54783"/>
                  <a:gd name="connsiteX14" fmla="*/ 4725 w 38635"/>
                  <a:gd name="connsiteY14" fmla="*/ 7715 h 5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35" h="54783">
                    <a:moveTo>
                      <a:pt x="0" y="7536"/>
                    </a:moveTo>
                    <a:cubicBezTo>
                      <a:pt x="6100" y="5084"/>
                      <a:pt x="12141" y="2632"/>
                      <a:pt x="18600" y="0"/>
                    </a:cubicBezTo>
                    <a:cubicBezTo>
                      <a:pt x="25358" y="16686"/>
                      <a:pt x="31997" y="32894"/>
                      <a:pt x="38636" y="49221"/>
                    </a:cubicBezTo>
                    <a:cubicBezTo>
                      <a:pt x="32475" y="51016"/>
                      <a:pt x="26076" y="52810"/>
                      <a:pt x="19258" y="54783"/>
                    </a:cubicBezTo>
                    <a:cubicBezTo>
                      <a:pt x="12919" y="39174"/>
                      <a:pt x="6459" y="23325"/>
                      <a:pt x="0" y="7536"/>
                    </a:cubicBezTo>
                    <a:close/>
                    <a:moveTo>
                      <a:pt x="4725" y="7715"/>
                    </a:moveTo>
                    <a:cubicBezTo>
                      <a:pt x="10526" y="21949"/>
                      <a:pt x="16088" y="35645"/>
                      <a:pt x="21650" y="49341"/>
                    </a:cubicBezTo>
                    <a:cubicBezTo>
                      <a:pt x="21231" y="49520"/>
                      <a:pt x="20813" y="49700"/>
                      <a:pt x="20394" y="49879"/>
                    </a:cubicBezTo>
                    <a:cubicBezTo>
                      <a:pt x="14773" y="36004"/>
                      <a:pt x="9151" y="22189"/>
                      <a:pt x="3289" y="7895"/>
                    </a:cubicBezTo>
                    <a:cubicBezTo>
                      <a:pt x="2452" y="8911"/>
                      <a:pt x="2213" y="9091"/>
                      <a:pt x="2273" y="9150"/>
                    </a:cubicBezTo>
                    <a:cubicBezTo>
                      <a:pt x="7895" y="23026"/>
                      <a:pt x="13457" y="36901"/>
                      <a:pt x="19258" y="50717"/>
                    </a:cubicBezTo>
                    <a:cubicBezTo>
                      <a:pt x="19617" y="51614"/>
                      <a:pt x="21830" y="52571"/>
                      <a:pt x="22846" y="52331"/>
                    </a:cubicBezTo>
                    <a:cubicBezTo>
                      <a:pt x="27392" y="51195"/>
                      <a:pt x="31817" y="49640"/>
                      <a:pt x="36483" y="48205"/>
                    </a:cubicBezTo>
                    <a:cubicBezTo>
                      <a:pt x="30203" y="32834"/>
                      <a:pt x="24102" y="17763"/>
                      <a:pt x="17823" y="2392"/>
                    </a:cubicBezTo>
                    <a:cubicBezTo>
                      <a:pt x="13277" y="4246"/>
                      <a:pt x="9270" y="5861"/>
                      <a:pt x="4725" y="771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69" name="Vrije vorm: vorm 9368">
                <a:extLst>
                  <a:ext uri="{FF2B5EF4-FFF2-40B4-BE49-F238E27FC236}">
                    <a16:creationId xmlns:a16="http://schemas.microsoft.com/office/drawing/2014/main" id="{D83E1DB4-1A87-4D03-8BAB-2AE6C5C17F36}"/>
                  </a:ext>
                </a:extLst>
              </p:cNvPr>
              <p:cNvSpPr/>
              <p:nvPr/>
            </p:nvSpPr>
            <p:spPr>
              <a:xfrm>
                <a:off x="5481650" y="1563760"/>
                <a:ext cx="52929" cy="66326"/>
              </a:xfrm>
              <a:custGeom>
                <a:avLst/>
                <a:gdLst>
                  <a:gd name="connsiteX0" fmla="*/ 0 w 52929"/>
                  <a:gd name="connsiteY0" fmla="*/ 16208 h 66326"/>
                  <a:gd name="connsiteX1" fmla="*/ 32715 w 52929"/>
                  <a:gd name="connsiteY1" fmla="*/ 0 h 66326"/>
                  <a:gd name="connsiteX2" fmla="*/ 52930 w 52929"/>
                  <a:gd name="connsiteY2" fmla="*/ 49640 h 66326"/>
                  <a:gd name="connsiteX3" fmla="*/ 20394 w 52929"/>
                  <a:gd name="connsiteY3" fmla="*/ 66326 h 66326"/>
                  <a:gd name="connsiteX4" fmla="*/ 1974 w 52929"/>
                  <a:gd name="connsiteY4" fmla="*/ 21112 h 66326"/>
                  <a:gd name="connsiteX5" fmla="*/ 2931 w 52929"/>
                  <a:gd name="connsiteY5" fmla="*/ 20693 h 66326"/>
                  <a:gd name="connsiteX6" fmla="*/ 20693 w 52929"/>
                  <a:gd name="connsiteY6" fmla="*/ 64412 h 66326"/>
                  <a:gd name="connsiteX7" fmla="*/ 38875 w 52929"/>
                  <a:gd name="connsiteY7" fmla="*/ 55381 h 66326"/>
                  <a:gd name="connsiteX8" fmla="*/ 49341 w 52929"/>
                  <a:gd name="connsiteY8" fmla="*/ 48563 h 66326"/>
                  <a:gd name="connsiteX9" fmla="*/ 44915 w 52929"/>
                  <a:gd name="connsiteY9" fmla="*/ 34569 h 66326"/>
                  <a:gd name="connsiteX10" fmla="*/ 36004 w 52929"/>
                  <a:gd name="connsiteY10" fmla="*/ 11902 h 66326"/>
                  <a:gd name="connsiteX11" fmla="*/ 27811 w 52929"/>
                  <a:gd name="connsiteY11" fmla="*/ 7356 h 66326"/>
                  <a:gd name="connsiteX12" fmla="*/ 0 w 52929"/>
                  <a:gd name="connsiteY12" fmla="*/ 16208 h 6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929" h="66326">
                    <a:moveTo>
                      <a:pt x="0" y="16208"/>
                    </a:moveTo>
                    <a:cubicBezTo>
                      <a:pt x="11364" y="10586"/>
                      <a:pt x="21830" y="5383"/>
                      <a:pt x="32715" y="0"/>
                    </a:cubicBezTo>
                    <a:cubicBezTo>
                      <a:pt x="39413" y="16447"/>
                      <a:pt x="46112" y="32954"/>
                      <a:pt x="52930" y="49640"/>
                    </a:cubicBezTo>
                    <a:cubicBezTo>
                      <a:pt x="41925" y="55322"/>
                      <a:pt x="31160" y="60824"/>
                      <a:pt x="20394" y="66326"/>
                    </a:cubicBezTo>
                    <a:cubicBezTo>
                      <a:pt x="14354" y="51434"/>
                      <a:pt x="8194" y="36243"/>
                      <a:pt x="1974" y="21112"/>
                    </a:cubicBezTo>
                    <a:cubicBezTo>
                      <a:pt x="2273" y="20992"/>
                      <a:pt x="2632" y="20813"/>
                      <a:pt x="2931" y="20693"/>
                    </a:cubicBezTo>
                    <a:cubicBezTo>
                      <a:pt x="8732" y="34987"/>
                      <a:pt x="14593" y="49341"/>
                      <a:pt x="20693" y="64412"/>
                    </a:cubicBezTo>
                    <a:cubicBezTo>
                      <a:pt x="27033" y="61302"/>
                      <a:pt x="33014" y="58491"/>
                      <a:pt x="38875" y="55381"/>
                    </a:cubicBezTo>
                    <a:cubicBezTo>
                      <a:pt x="42702" y="53408"/>
                      <a:pt x="48623" y="51793"/>
                      <a:pt x="49341" y="48563"/>
                    </a:cubicBezTo>
                    <a:cubicBezTo>
                      <a:pt x="50238" y="44736"/>
                      <a:pt x="46709" y="39234"/>
                      <a:pt x="44915" y="34569"/>
                    </a:cubicBezTo>
                    <a:cubicBezTo>
                      <a:pt x="41985" y="26973"/>
                      <a:pt x="38636" y="19557"/>
                      <a:pt x="36004" y="11902"/>
                    </a:cubicBezTo>
                    <a:cubicBezTo>
                      <a:pt x="34330" y="7057"/>
                      <a:pt x="32476" y="5622"/>
                      <a:pt x="27811" y="7356"/>
                    </a:cubicBezTo>
                    <a:cubicBezTo>
                      <a:pt x="19079" y="10586"/>
                      <a:pt x="9988" y="13098"/>
                      <a:pt x="0" y="1620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70" name="Vrije vorm: vorm 9369">
                <a:extLst>
                  <a:ext uri="{FF2B5EF4-FFF2-40B4-BE49-F238E27FC236}">
                    <a16:creationId xmlns:a16="http://schemas.microsoft.com/office/drawing/2014/main" id="{CB5D75CD-D68E-4001-835A-906994DAAF55}"/>
                  </a:ext>
                </a:extLst>
              </p:cNvPr>
              <p:cNvSpPr/>
              <p:nvPr/>
            </p:nvSpPr>
            <p:spPr>
              <a:xfrm>
                <a:off x="4990421" y="2145684"/>
                <a:ext cx="74372" cy="66685"/>
              </a:xfrm>
              <a:custGeom>
                <a:avLst/>
                <a:gdLst>
                  <a:gd name="connsiteX0" fmla="*/ 2424 w 74372"/>
                  <a:gd name="connsiteY0" fmla="*/ 0 h 66685"/>
                  <a:gd name="connsiteX1" fmla="*/ 4518 w 74372"/>
                  <a:gd name="connsiteY1" fmla="*/ 8074 h 66685"/>
                  <a:gd name="connsiteX2" fmla="*/ 17436 w 74372"/>
                  <a:gd name="connsiteY2" fmla="*/ 39951 h 66685"/>
                  <a:gd name="connsiteX3" fmla="*/ 64086 w 74372"/>
                  <a:gd name="connsiteY3" fmla="*/ 11244 h 66685"/>
                  <a:gd name="connsiteX4" fmla="*/ 64684 w 74372"/>
                  <a:gd name="connsiteY4" fmla="*/ 12260 h 66685"/>
                  <a:gd name="connsiteX5" fmla="*/ 18393 w 74372"/>
                  <a:gd name="connsiteY5" fmla="*/ 41028 h 66685"/>
                  <a:gd name="connsiteX6" fmla="*/ 27843 w 74372"/>
                  <a:gd name="connsiteY6" fmla="*/ 64173 h 66685"/>
                  <a:gd name="connsiteX7" fmla="*/ 73774 w 74372"/>
                  <a:gd name="connsiteY7" fmla="*/ 35526 h 66685"/>
                  <a:gd name="connsiteX8" fmla="*/ 74373 w 74372"/>
                  <a:gd name="connsiteY8" fmla="*/ 36542 h 66685"/>
                  <a:gd name="connsiteX9" fmla="*/ 26766 w 74372"/>
                  <a:gd name="connsiteY9" fmla="*/ 66685 h 66685"/>
                  <a:gd name="connsiteX10" fmla="*/ 1168 w 74372"/>
                  <a:gd name="connsiteY10" fmla="*/ 3947 h 66685"/>
                  <a:gd name="connsiteX11" fmla="*/ 2604 w 74372"/>
                  <a:gd name="connsiteY11" fmla="*/ 120 h 66685"/>
                  <a:gd name="connsiteX12" fmla="*/ 2424 w 74372"/>
                  <a:gd name="connsiteY12" fmla="*/ 0 h 6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372" h="66685">
                    <a:moveTo>
                      <a:pt x="2424" y="0"/>
                    </a:moveTo>
                    <a:cubicBezTo>
                      <a:pt x="3142" y="2691"/>
                      <a:pt x="3501" y="5502"/>
                      <a:pt x="4518" y="8074"/>
                    </a:cubicBezTo>
                    <a:cubicBezTo>
                      <a:pt x="8585" y="18421"/>
                      <a:pt x="12831" y="28707"/>
                      <a:pt x="17436" y="39951"/>
                    </a:cubicBezTo>
                    <a:cubicBezTo>
                      <a:pt x="33345" y="30143"/>
                      <a:pt x="48715" y="20693"/>
                      <a:pt x="64086" y="11244"/>
                    </a:cubicBezTo>
                    <a:cubicBezTo>
                      <a:pt x="64265" y="11603"/>
                      <a:pt x="64504" y="11902"/>
                      <a:pt x="64684" y="12260"/>
                    </a:cubicBezTo>
                    <a:cubicBezTo>
                      <a:pt x="49313" y="21830"/>
                      <a:pt x="33943" y="31399"/>
                      <a:pt x="18393" y="41028"/>
                    </a:cubicBezTo>
                    <a:cubicBezTo>
                      <a:pt x="21503" y="48683"/>
                      <a:pt x="24493" y="55980"/>
                      <a:pt x="27843" y="64173"/>
                    </a:cubicBezTo>
                    <a:cubicBezTo>
                      <a:pt x="43333" y="54544"/>
                      <a:pt x="58524" y="45035"/>
                      <a:pt x="73774" y="35526"/>
                    </a:cubicBezTo>
                    <a:cubicBezTo>
                      <a:pt x="73954" y="35884"/>
                      <a:pt x="74133" y="36183"/>
                      <a:pt x="74373" y="36542"/>
                    </a:cubicBezTo>
                    <a:cubicBezTo>
                      <a:pt x="58643" y="46530"/>
                      <a:pt x="42914" y="56458"/>
                      <a:pt x="26766" y="66685"/>
                    </a:cubicBezTo>
                    <a:cubicBezTo>
                      <a:pt x="18274" y="45812"/>
                      <a:pt x="9781" y="24820"/>
                      <a:pt x="1168" y="3947"/>
                    </a:cubicBezTo>
                    <a:cubicBezTo>
                      <a:pt x="271" y="1734"/>
                      <a:pt x="-1523" y="-359"/>
                      <a:pt x="2604" y="120"/>
                    </a:cubicBezTo>
                    <a:lnTo>
                      <a:pt x="2424" y="0"/>
                    </a:lnTo>
                    <a:close/>
                  </a:path>
                </a:pathLst>
              </a:custGeom>
              <a:grpFill/>
              <a:ln w="6350" cap="flat">
                <a:solidFill>
                  <a:schemeClr val="bg1">
                    <a:alpha val="80000"/>
                  </a:schemeClr>
                </a:solidFill>
                <a:prstDash val="solid"/>
                <a:miter/>
              </a:ln>
            </p:spPr>
            <p:txBody>
              <a:bodyPr rtlCol="0" anchor="ctr"/>
              <a:lstStyle/>
              <a:p>
                <a:endParaRPr lang="en-GB"/>
              </a:p>
            </p:txBody>
          </p:sp>
          <p:sp>
            <p:nvSpPr>
              <p:cNvPr id="9371" name="Vrije vorm: vorm 9370">
                <a:extLst>
                  <a:ext uri="{FF2B5EF4-FFF2-40B4-BE49-F238E27FC236}">
                    <a16:creationId xmlns:a16="http://schemas.microsoft.com/office/drawing/2014/main" id="{F7085C92-6C57-4499-AF33-781D4156C76C}"/>
                  </a:ext>
                </a:extLst>
              </p:cNvPr>
              <p:cNvSpPr/>
              <p:nvPr/>
            </p:nvSpPr>
            <p:spPr>
              <a:xfrm>
                <a:off x="5466459" y="1641688"/>
                <a:ext cx="53288" cy="66984"/>
              </a:xfrm>
              <a:custGeom>
                <a:avLst/>
                <a:gdLst>
                  <a:gd name="connsiteX0" fmla="*/ 53288 w 53288"/>
                  <a:gd name="connsiteY0" fmla="*/ 49461 h 66984"/>
                  <a:gd name="connsiteX1" fmla="*/ 20693 w 53288"/>
                  <a:gd name="connsiteY1" fmla="*/ 66984 h 66984"/>
                  <a:gd name="connsiteX2" fmla="*/ 0 w 53288"/>
                  <a:gd name="connsiteY2" fmla="*/ 16088 h 66984"/>
                  <a:gd name="connsiteX3" fmla="*/ 29605 w 53288"/>
                  <a:gd name="connsiteY3" fmla="*/ 1017 h 66984"/>
                  <a:gd name="connsiteX4" fmla="*/ 30143 w 53288"/>
                  <a:gd name="connsiteY4" fmla="*/ 2033 h 66984"/>
                  <a:gd name="connsiteX5" fmla="*/ 2213 w 53288"/>
                  <a:gd name="connsiteY5" fmla="*/ 16567 h 66984"/>
                  <a:gd name="connsiteX6" fmla="*/ 21830 w 53288"/>
                  <a:gd name="connsiteY6" fmla="*/ 64831 h 66984"/>
                  <a:gd name="connsiteX7" fmla="*/ 51733 w 53288"/>
                  <a:gd name="connsiteY7" fmla="*/ 48623 h 66984"/>
                  <a:gd name="connsiteX8" fmla="*/ 32116 w 53288"/>
                  <a:gd name="connsiteY8" fmla="*/ 419 h 66984"/>
                  <a:gd name="connsiteX9" fmla="*/ 33193 w 53288"/>
                  <a:gd name="connsiteY9" fmla="*/ 0 h 66984"/>
                  <a:gd name="connsiteX10" fmla="*/ 53288 w 53288"/>
                  <a:gd name="connsiteY10" fmla="*/ 49461 h 6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88" h="66984">
                    <a:moveTo>
                      <a:pt x="53288" y="49461"/>
                    </a:moveTo>
                    <a:cubicBezTo>
                      <a:pt x="42463" y="55262"/>
                      <a:pt x="31638" y="61063"/>
                      <a:pt x="20693" y="66984"/>
                    </a:cubicBezTo>
                    <a:cubicBezTo>
                      <a:pt x="13875" y="50178"/>
                      <a:pt x="6878" y="33073"/>
                      <a:pt x="0" y="16088"/>
                    </a:cubicBezTo>
                    <a:cubicBezTo>
                      <a:pt x="9988" y="11005"/>
                      <a:pt x="19796" y="6040"/>
                      <a:pt x="29605" y="1017"/>
                    </a:cubicBezTo>
                    <a:cubicBezTo>
                      <a:pt x="29784" y="1376"/>
                      <a:pt x="29963" y="1734"/>
                      <a:pt x="30143" y="2033"/>
                    </a:cubicBezTo>
                    <a:cubicBezTo>
                      <a:pt x="20992" y="6758"/>
                      <a:pt x="11902" y="11543"/>
                      <a:pt x="2213" y="16567"/>
                    </a:cubicBezTo>
                    <a:cubicBezTo>
                      <a:pt x="8732" y="32535"/>
                      <a:pt x="15131" y="48384"/>
                      <a:pt x="21830" y="64831"/>
                    </a:cubicBezTo>
                    <a:cubicBezTo>
                      <a:pt x="31578" y="59568"/>
                      <a:pt x="41446" y="54245"/>
                      <a:pt x="51733" y="48623"/>
                    </a:cubicBezTo>
                    <a:cubicBezTo>
                      <a:pt x="45095" y="32296"/>
                      <a:pt x="38576" y="16327"/>
                      <a:pt x="32116" y="419"/>
                    </a:cubicBezTo>
                    <a:cubicBezTo>
                      <a:pt x="32475" y="299"/>
                      <a:pt x="32834" y="120"/>
                      <a:pt x="33193" y="0"/>
                    </a:cubicBezTo>
                    <a:cubicBezTo>
                      <a:pt x="39831" y="16327"/>
                      <a:pt x="46470" y="32715"/>
                      <a:pt x="53288" y="4946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72" name="Vrije vorm: vorm 9371">
                <a:extLst>
                  <a:ext uri="{FF2B5EF4-FFF2-40B4-BE49-F238E27FC236}">
                    <a16:creationId xmlns:a16="http://schemas.microsoft.com/office/drawing/2014/main" id="{E0174898-CD57-4364-8469-EA8482AFB0AE}"/>
                  </a:ext>
                </a:extLst>
              </p:cNvPr>
              <p:cNvSpPr/>
              <p:nvPr/>
            </p:nvSpPr>
            <p:spPr>
              <a:xfrm>
                <a:off x="4980585" y="1450305"/>
                <a:ext cx="57713" cy="81816"/>
              </a:xfrm>
              <a:custGeom>
                <a:avLst/>
                <a:gdLst>
                  <a:gd name="connsiteX0" fmla="*/ 56338 w 57713"/>
                  <a:gd name="connsiteY0" fmla="*/ 66326 h 81816"/>
                  <a:gd name="connsiteX1" fmla="*/ 31040 w 57713"/>
                  <a:gd name="connsiteY1" fmla="*/ 4187 h 81816"/>
                  <a:gd name="connsiteX2" fmla="*/ 31937 w 57713"/>
                  <a:gd name="connsiteY2" fmla="*/ 3828 h 81816"/>
                  <a:gd name="connsiteX3" fmla="*/ 57714 w 57713"/>
                  <a:gd name="connsiteY3" fmla="*/ 67283 h 81816"/>
                  <a:gd name="connsiteX4" fmla="*/ 26734 w 57713"/>
                  <a:gd name="connsiteY4" fmla="*/ 81816 h 81816"/>
                  <a:gd name="connsiteX5" fmla="*/ 0 w 57713"/>
                  <a:gd name="connsiteY5" fmla="*/ 16088 h 81816"/>
                  <a:gd name="connsiteX6" fmla="*/ 29963 w 57713"/>
                  <a:gd name="connsiteY6" fmla="*/ 0 h 81816"/>
                  <a:gd name="connsiteX7" fmla="*/ 30442 w 57713"/>
                  <a:gd name="connsiteY7" fmla="*/ 957 h 81816"/>
                  <a:gd name="connsiteX8" fmla="*/ 2153 w 57713"/>
                  <a:gd name="connsiteY8" fmla="*/ 16746 h 81816"/>
                  <a:gd name="connsiteX9" fmla="*/ 27810 w 57713"/>
                  <a:gd name="connsiteY9" fmla="*/ 79783 h 81816"/>
                  <a:gd name="connsiteX10" fmla="*/ 56338 w 57713"/>
                  <a:gd name="connsiteY10" fmla="*/ 66326 h 8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13" h="81816">
                    <a:moveTo>
                      <a:pt x="56338" y="66326"/>
                    </a:moveTo>
                    <a:cubicBezTo>
                      <a:pt x="47666" y="45095"/>
                      <a:pt x="39353" y="24641"/>
                      <a:pt x="31040" y="4187"/>
                    </a:cubicBezTo>
                    <a:cubicBezTo>
                      <a:pt x="31339" y="4067"/>
                      <a:pt x="31638" y="3947"/>
                      <a:pt x="31937" y="3828"/>
                    </a:cubicBezTo>
                    <a:cubicBezTo>
                      <a:pt x="40549" y="24940"/>
                      <a:pt x="49102" y="46111"/>
                      <a:pt x="57714" y="67283"/>
                    </a:cubicBezTo>
                    <a:cubicBezTo>
                      <a:pt x="47547" y="72068"/>
                      <a:pt x="37260" y="76852"/>
                      <a:pt x="26734" y="81816"/>
                    </a:cubicBezTo>
                    <a:cubicBezTo>
                      <a:pt x="17882" y="60046"/>
                      <a:pt x="8971" y="38217"/>
                      <a:pt x="0" y="16088"/>
                    </a:cubicBezTo>
                    <a:cubicBezTo>
                      <a:pt x="9868" y="10825"/>
                      <a:pt x="19916" y="5383"/>
                      <a:pt x="29963" y="0"/>
                    </a:cubicBezTo>
                    <a:cubicBezTo>
                      <a:pt x="30143" y="299"/>
                      <a:pt x="30262" y="658"/>
                      <a:pt x="30442" y="957"/>
                    </a:cubicBezTo>
                    <a:cubicBezTo>
                      <a:pt x="21112" y="6160"/>
                      <a:pt x="11722" y="11363"/>
                      <a:pt x="2153" y="16746"/>
                    </a:cubicBezTo>
                    <a:cubicBezTo>
                      <a:pt x="10705" y="37738"/>
                      <a:pt x="19138" y="58491"/>
                      <a:pt x="27810" y="79783"/>
                    </a:cubicBezTo>
                    <a:cubicBezTo>
                      <a:pt x="37380" y="75237"/>
                      <a:pt x="46650" y="70872"/>
                      <a:pt x="56338" y="6632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73" name="Vrije vorm: vorm 9372">
                <a:extLst>
                  <a:ext uri="{FF2B5EF4-FFF2-40B4-BE49-F238E27FC236}">
                    <a16:creationId xmlns:a16="http://schemas.microsoft.com/office/drawing/2014/main" id="{3941BEE2-5A8D-45AC-81B4-5F9CC9575EC9}"/>
                  </a:ext>
                </a:extLst>
              </p:cNvPr>
              <p:cNvSpPr/>
              <p:nvPr/>
            </p:nvSpPr>
            <p:spPr>
              <a:xfrm>
                <a:off x="5529556" y="1680802"/>
                <a:ext cx="52211" cy="67462"/>
              </a:xfrm>
              <a:custGeom>
                <a:avLst/>
                <a:gdLst>
                  <a:gd name="connsiteX0" fmla="*/ 52212 w 52211"/>
                  <a:gd name="connsiteY0" fmla="*/ 49162 h 67462"/>
                  <a:gd name="connsiteX1" fmla="*/ 20335 w 52211"/>
                  <a:gd name="connsiteY1" fmla="*/ 67463 h 67462"/>
                  <a:gd name="connsiteX2" fmla="*/ 0 w 52211"/>
                  <a:gd name="connsiteY2" fmla="*/ 17524 h 67462"/>
                  <a:gd name="connsiteX3" fmla="*/ 32236 w 52211"/>
                  <a:gd name="connsiteY3" fmla="*/ 0 h 67462"/>
                  <a:gd name="connsiteX4" fmla="*/ 52212 w 52211"/>
                  <a:gd name="connsiteY4" fmla="*/ 49162 h 67462"/>
                  <a:gd name="connsiteX5" fmla="*/ 18899 w 52211"/>
                  <a:gd name="connsiteY5" fmla="*/ 49999 h 67462"/>
                  <a:gd name="connsiteX6" fmla="*/ 16447 w 52211"/>
                  <a:gd name="connsiteY6" fmla="*/ 53169 h 67462"/>
                  <a:gd name="connsiteX7" fmla="*/ 21231 w 52211"/>
                  <a:gd name="connsiteY7" fmla="*/ 65309 h 67462"/>
                  <a:gd name="connsiteX8" fmla="*/ 50298 w 52211"/>
                  <a:gd name="connsiteY8" fmla="*/ 48563 h 67462"/>
                  <a:gd name="connsiteX9" fmla="*/ 31339 w 52211"/>
                  <a:gd name="connsiteY9" fmla="*/ 2033 h 67462"/>
                  <a:gd name="connsiteX10" fmla="*/ 4904 w 52211"/>
                  <a:gd name="connsiteY10" fmla="*/ 16567 h 67462"/>
                  <a:gd name="connsiteX11" fmla="*/ 4187 w 52211"/>
                  <a:gd name="connsiteY11" fmla="*/ 21889 h 67462"/>
                  <a:gd name="connsiteX12" fmla="*/ 12619 w 52211"/>
                  <a:gd name="connsiteY12" fmla="*/ 44018 h 67462"/>
                  <a:gd name="connsiteX13" fmla="*/ 18899 w 52211"/>
                  <a:gd name="connsiteY13" fmla="*/ 50118 h 67462"/>
                  <a:gd name="connsiteX14" fmla="*/ 18899 w 52211"/>
                  <a:gd name="connsiteY14" fmla="*/ 49999 h 6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211" h="67462">
                    <a:moveTo>
                      <a:pt x="52212" y="49162"/>
                    </a:moveTo>
                    <a:cubicBezTo>
                      <a:pt x="41327" y="55381"/>
                      <a:pt x="30980" y="61362"/>
                      <a:pt x="20335" y="67463"/>
                    </a:cubicBezTo>
                    <a:cubicBezTo>
                      <a:pt x="13636" y="51016"/>
                      <a:pt x="6878" y="34329"/>
                      <a:pt x="0" y="17524"/>
                    </a:cubicBezTo>
                    <a:cubicBezTo>
                      <a:pt x="11005" y="11543"/>
                      <a:pt x="21590" y="5801"/>
                      <a:pt x="32236" y="0"/>
                    </a:cubicBezTo>
                    <a:cubicBezTo>
                      <a:pt x="38875" y="16327"/>
                      <a:pt x="45513" y="32715"/>
                      <a:pt x="52212" y="49162"/>
                    </a:cubicBezTo>
                    <a:close/>
                    <a:moveTo>
                      <a:pt x="18899" y="49999"/>
                    </a:moveTo>
                    <a:cubicBezTo>
                      <a:pt x="18002" y="51075"/>
                      <a:pt x="16208" y="52451"/>
                      <a:pt x="16447" y="53169"/>
                    </a:cubicBezTo>
                    <a:cubicBezTo>
                      <a:pt x="17643" y="57056"/>
                      <a:pt x="19377" y="60824"/>
                      <a:pt x="21231" y="65309"/>
                    </a:cubicBezTo>
                    <a:cubicBezTo>
                      <a:pt x="31339" y="59508"/>
                      <a:pt x="40669" y="54126"/>
                      <a:pt x="50298" y="48563"/>
                    </a:cubicBezTo>
                    <a:cubicBezTo>
                      <a:pt x="43899" y="32774"/>
                      <a:pt x="37738" y="17703"/>
                      <a:pt x="31339" y="2033"/>
                    </a:cubicBezTo>
                    <a:cubicBezTo>
                      <a:pt x="22308" y="6938"/>
                      <a:pt x="13457" y="11543"/>
                      <a:pt x="4904" y="16567"/>
                    </a:cubicBezTo>
                    <a:cubicBezTo>
                      <a:pt x="3947" y="17105"/>
                      <a:pt x="3648" y="20275"/>
                      <a:pt x="4187" y="21889"/>
                    </a:cubicBezTo>
                    <a:cubicBezTo>
                      <a:pt x="6818" y="29305"/>
                      <a:pt x="10107" y="36542"/>
                      <a:pt x="12619" y="44018"/>
                    </a:cubicBezTo>
                    <a:cubicBezTo>
                      <a:pt x="13815" y="47547"/>
                      <a:pt x="15669" y="49461"/>
                      <a:pt x="18899" y="50118"/>
                    </a:cubicBezTo>
                    <a:lnTo>
                      <a:pt x="18899" y="49999"/>
                    </a:lnTo>
                    <a:close/>
                  </a:path>
                </a:pathLst>
              </a:custGeom>
              <a:grpFill/>
              <a:ln w="6350" cap="flat">
                <a:solidFill>
                  <a:schemeClr val="bg1">
                    <a:alpha val="80000"/>
                  </a:schemeClr>
                </a:solidFill>
                <a:prstDash val="solid"/>
                <a:miter/>
              </a:ln>
            </p:spPr>
            <p:txBody>
              <a:bodyPr rtlCol="0" anchor="ctr"/>
              <a:lstStyle/>
              <a:p>
                <a:endParaRPr lang="en-GB"/>
              </a:p>
            </p:txBody>
          </p:sp>
          <p:sp>
            <p:nvSpPr>
              <p:cNvPr id="9374" name="Vrije vorm: vorm 9373">
                <a:extLst>
                  <a:ext uri="{FF2B5EF4-FFF2-40B4-BE49-F238E27FC236}">
                    <a16:creationId xmlns:a16="http://schemas.microsoft.com/office/drawing/2014/main" id="{27CA75B7-1476-4328-93DC-4C2AD855E88F}"/>
                  </a:ext>
                </a:extLst>
              </p:cNvPr>
              <p:cNvSpPr/>
              <p:nvPr/>
            </p:nvSpPr>
            <p:spPr>
              <a:xfrm>
                <a:off x="5069100" y="1774520"/>
                <a:ext cx="57534" cy="69017"/>
              </a:xfrm>
              <a:custGeom>
                <a:avLst/>
                <a:gdLst>
                  <a:gd name="connsiteX0" fmla="*/ 54006 w 57534"/>
                  <a:gd name="connsiteY0" fmla="*/ 64771 h 69017"/>
                  <a:gd name="connsiteX1" fmla="*/ 25478 w 57534"/>
                  <a:gd name="connsiteY1" fmla="*/ 69018 h 69017"/>
                  <a:gd name="connsiteX2" fmla="*/ 0 w 57534"/>
                  <a:gd name="connsiteY2" fmla="*/ 6459 h 69017"/>
                  <a:gd name="connsiteX3" fmla="*/ 31638 w 57534"/>
                  <a:gd name="connsiteY3" fmla="*/ 0 h 69017"/>
                  <a:gd name="connsiteX4" fmla="*/ 57535 w 57534"/>
                  <a:gd name="connsiteY4" fmla="*/ 63695 h 69017"/>
                  <a:gd name="connsiteX5" fmla="*/ 56638 w 57534"/>
                  <a:gd name="connsiteY5" fmla="*/ 64054 h 69017"/>
                  <a:gd name="connsiteX6" fmla="*/ 31220 w 57534"/>
                  <a:gd name="connsiteY6" fmla="*/ 1555 h 69017"/>
                  <a:gd name="connsiteX7" fmla="*/ 2093 w 57534"/>
                  <a:gd name="connsiteY7" fmla="*/ 7416 h 69017"/>
                  <a:gd name="connsiteX8" fmla="*/ 4725 w 57534"/>
                  <a:gd name="connsiteY8" fmla="*/ 14713 h 69017"/>
                  <a:gd name="connsiteX9" fmla="*/ 24282 w 57534"/>
                  <a:gd name="connsiteY9" fmla="*/ 62618 h 69017"/>
                  <a:gd name="connsiteX10" fmla="*/ 31040 w 57534"/>
                  <a:gd name="connsiteY10" fmla="*/ 66805 h 69017"/>
                  <a:gd name="connsiteX11" fmla="*/ 53707 w 57534"/>
                  <a:gd name="connsiteY11" fmla="*/ 63575 h 69017"/>
                  <a:gd name="connsiteX12" fmla="*/ 54006 w 57534"/>
                  <a:gd name="connsiteY12" fmla="*/ 64771 h 6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34" h="69017">
                    <a:moveTo>
                      <a:pt x="54006" y="64771"/>
                    </a:moveTo>
                    <a:cubicBezTo>
                      <a:pt x="44556" y="66207"/>
                      <a:pt x="35167" y="67582"/>
                      <a:pt x="25478" y="69018"/>
                    </a:cubicBezTo>
                    <a:cubicBezTo>
                      <a:pt x="17045" y="48205"/>
                      <a:pt x="8552" y="27451"/>
                      <a:pt x="0" y="6459"/>
                    </a:cubicBezTo>
                    <a:cubicBezTo>
                      <a:pt x="10526" y="4306"/>
                      <a:pt x="21052" y="2153"/>
                      <a:pt x="31638" y="0"/>
                    </a:cubicBezTo>
                    <a:cubicBezTo>
                      <a:pt x="40191" y="21052"/>
                      <a:pt x="48862" y="42344"/>
                      <a:pt x="57535" y="63695"/>
                    </a:cubicBezTo>
                    <a:cubicBezTo>
                      <a:pt x="57236" y="63814"/>
                      <a:pt x="56937" y="63934"/>
                      <a:pt x="56638" y="64054"/>
                    </a:cubicBezTo>
                    <a:cubicBezTo>
                      <a:pt x="48264" y="43420"/>
                      <a:pt x="39832" y="22787"/>
                      <a:pt x="31220" y="1555"/>
                    </a:cubicBezTo>
                    <a:cubicBezTo>
                      <a:pt x="21471" y="3529"/>
                      <a:pt x="12141" y="5383"/>
                      <a:pt x="2093" y="7416"/>
                    </a:cubicBezTo>
                    <a:cubicBezTo>
                      <a:pt x="3170" y="10347"/>
                      <a:pt x="3888" y="12560"/>
                      <a:pt x="4725" y="14713"/>
                    </a:cubicBezTo>
                    <a:cubicBezTo>
                      <a:pt x="11244" y="30681"/>
                      <a:pt x="17942" y="46590"/>
                      <a:pt x="24282" y="62618"/>
                    </a:cubicBezTo>
                    <a:cubicBezTo>
                      <a:pt x="25777" y="66446"/>
                      <a:pt x="27571" y="67403"/>
                      <a:pt x="31040" y="66805"/>
                    </a:cubicBezTo>
                    <a:cubicBezTo>
                      <a:pt x="38576" y="65489"/>
                      <a:pt x="46171" y="64592"/>
                      <a:pt x="53707" y="63575"/>
                    </a:cubicBezTo>
                    <a:cubicBezTo>
                      <a:pt x="53827" y="63994"/>
                      <a:pt x="53886" y="64412"/>
                      <a:pt x="54006" y="6477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75" name="Vrije vorm: vorm 9374">
                <a:extLst>
                  <a:ext uri="{FF2B5EF4-FFF2-40B4-BE49-F238E27FC236}">
                    <a16:creationId xmlns:a16="http://schemas.microsoft.com/office/drawing/2014/main" id="{454BDFB8-6FEB-4CFE-995A-8E1CCD1064C6}"/>
                  </a:ext>
                </a:extLst>
              </p:cNvPr>
              <p:cNvSpPr/>
              <p:nvPr/>
            </p:nvSpPr>
            <p:spPr>
              <a:xfrm>
                <a:off x="4896018" y="1677872"/>
                <a:ext cx="42223" cy="58312"/>
              </a:xfrm>
              <a:custGeom>
                <a:avLst/>
                <a:gdLst>
                  <a:gd name="connsiteX0" fmla="*/ 42224 w 42223"/>
                  <a:gd name="connsiteY0" fmla="*/ 51972 h 58312"/>
                  <a:gd name="connsiteX1" fmla="*/ 20275 w 42223"/>
                  <a:gd name="connsiteY1" fmla="*/ 58312 h 58312"/>
                  <a:gd name="connsiteX2" fmla="*/ 0 w 42223"/>
                  <a:gd name="connsiteY2" fmla="*/ 8552 h 58312"/>
                  <a:gd name="connsiteX3" fmla="*/ 21052 w 42223"/>
                  <a:gd name="connsiteY3" fmla="*/ 0 h 58312"/>
                  <a:gd name="connsiteX4" fmla="*/ 42224 w 42223"/>
                  <a:gd name="connsiteY4" fmla="*/ 51972 h 58312"/>
                  <a:gd name="connsiteX5" fmla="*/ 2512 w 42223"/>
                  <a:gd name="connsiteY5" fmla="*/ 9450 h 58312"/>
                  <a:gd name="connsiteX6" fmla="*/ 18062 w 42223"/>
                  <a:gd name="connsiteY6" fmla="*/ 47726 h 58312"/>
                  <a:gd name="connsiteX7" fmla="*/ 34030 w 42223"/>
                  <a:gd name="connsiteY7" fmla="*/ 41267 h 58312"/>
                  <a:gd name="connsiteX8" fmla="*/ 34509 w 42223"/>
                  <a:gd name="connsiteY8" fmla="*/ 42523 h 58312"/>
                  <a:gd name="connsiteX9" fmla="*/ 18780 w 42223"/>
                  <a:gd name="connsiteY9" fmla="*/ 48922 h 58312"/>
                  <a:gd name="connsiteX10" fmla="*/ 21830 w 42223"/>
                  <a:gd name="connsiteY10" fmla="*/ 56458 h 58312"/>
                  <a:gd name="connsiteX11" fmla="*/ 40549 w 42223"/>
                  <a:gd name="connsiteY11" fmla="*/ 50836 h 58312"/>
                  <a:gd name="connsiteX12" fmla="*/ 27870 w 42223"/>
                  <a:gd name="connsiteY12" fmla="*/ 19617 h 58312"/>
                  <a:gd name="connsiteX13" fmla="*/ 3648 w 42223"/>
                  <a:gd name="connsiteY13" fmla="*/ 8612 h 58312"/>
                  <a:gd name="connsiteX14" fmla="*/ 2512 w 42223"/>
                  <a:gd name="connsiteY14" fmla="*/ 9450 h 5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223" h="58312">
                    <a:moveTo>
                      <a:pt x="42224" y="51972"/>
                    </a:moveTo>
                    <a:cubicBezTo>
                      <a:pt x="34987" y="54066"/>
                      <a:pt x="27870" y="56099"/>
                      <a:pt x="20275" y="58312"/>
                    </a:cubicBezTo>
                    <a:cubicBezTo>
                      <a:pt x="13576" y="41865"/>
                      <a:pt x="6818" y="25179"/>
                      <a:pt x="0" y="8552"/>
                    </a:cubicBezTo>
                    <a:cubicBezTo>
                      <a:pt x="6938" y="5742"/>
                      <a:pt x="13756" y="2931"/>
                      <a:pt x="21052" y="0"/>
                    </a:cubicBezTo>
                    <a:cubicBezTo>
                      <a:pt x="28229" y="17643"/>
                      <a:pt x="35227" y="34748"/>
                      <a:pt x="42224" y="51972"/>
                    </a:cubicBezTo>
                    <a:close/>
                    <a:moveTo>
                      <a:pt x="2512" y="9450"/>
                    </a:moveTo>
                    <a:cubicBezTo>
                      <a:pt x="7715" y="22248"/>
                      <a:pt x="12799" y="34748"/>
                      <a:pt x="18062" y="47726"/>
                    </a:cubicBezTo>
                    <a:cubicBezTo>
                      <a:pt x="23684" y="45454"/>
                      <a:pt x="28887" y="43360"/>
                      <a:pt x="34030" y="41267"/>
                    </a:cubicBezTo>
                    <a:cubicBezTo>
                      <a:pt x="34210" y="41686"/>
                      <a:pt x="34329" y="42104"/>
                      <a:pt x="34509" y="42523"/>
                    </a:cubicBezTo>
                    <a:cubicBezTo>
                      <a:pt x="29366" y="44616"/>
                      <a:pt x="24162" y="46710"/>
                      <a:pt x="18780" y="48922"/>
                    </a:cubicBezTo>
                    <a:cubicBezTo>
                      <a:pt x="19916" y="51793"/>
                      <a:pt x="20813" y="53886"/>
                      <a:pt x="21830" y="56458"/>
                    </a:cubicBezTo>
                    <a:cubicBezTo>
                      <a:pt x="28169" y="54544"/>
                      <a:pt x="34150" y="52750"/>
                      <a:pt x="40549" y="50836"/>
                    </a:cubicBezTo>
                    <a:cubicBezTo>
                      <a:pt x="36064" y="39832"/>
                      <a:pt x="31997" y="29724"/>
                      <a:pt x="27870" y="19617"/>
                    </a:cubicBezTo>
                    <a:cubicBezTo>
                      <a:pt x="20275" y="1017"/>
                      <a:pt x="20215" y="1017"/>
                      <a:pt x="3648" y="8612"/>
                    </a:cubicBezTo>
                    <a:cubicBezTo>
                      <a:pt x="3349" y="8672"/>
                      <a:pt x="3110" y="8971"/>
                      <a:pt x="2512" y="945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76" name="Vrije vorm: vorm 9375">
                <a:extLst>
                  <a:ext uri="{FF2B5EF4-FFF2-40B4-BE49-F238E27FC236}">
                    <a16:creationId xmlns:a16="http://schemas.microsoft.com/office/drawing/2014/main" id="{B0F9F526-C8C5-4213-9C75-35F098CCAD76}"/>
                  </a:ext>
                </a:extLst>
              </p:cNvPr>
              <p:cNvSpPr/>
              <p:nvPr/>
            </p:nvSpPr>
            <p:spPr>
              <a:xfrm>
                <a:off x="4915455" y="1292175"/>
                <a:ext cx="52929" cy="79782"/>
              </a:xfrm>
              <a:custGeom>
                <a:avLst/>
                <a:gdLst>
                  <a:gd name="connsiteX0" fmla="*/ 27751 w 52929"/>
                  <a:gd name="connsiteY0" fmla="*/ 77331 h 79782"/>
                  <a:gd name="connsiteX1" fmla="*/ 52391 w 52929"/>
                  <a:gd name="connsiteY1" fmla="*/ 61003 h 79782"/>
                  <a:gd name="connsiteX2" fmla="*/ 52930 w 52929"/>
                  <a:gd name="connsiteY2" fmla="*/ 61900 h 79782"/>
                  <a:gd name="connsiteX3" fmla="*/ 27033 w 52929"/>
                  <a:gd name="connsiteY3" fmla="*/ 79783 h 79782"/>
                  <a:gd name="connsiteX4" fmla="*/ 0 w 52929"/>
                  <a:gd name="connsiteY4" fmla="*/ 13397 h 79782"/>
                  <a:gd name="connsiteX5" fmla="*/ 17822 w 52929"/>
                  <a:gd name="connsiteY5" fmla="*/ 0 h 79782"/>
                  <a:gd name="connsiteX6" fmla="*/ 18421 w 52929"/>
                  <a:gd name="connsiteY6" fmla="*/ 897 h 79782"/>
                  <a:gd name="connsiteX7" fmla="*/ 4844 w 52929"/>
                  <a:gd name="connsiteY7" fmla="*/ 11483 h 79782"/>
                  <a:gd name="connsiteX8" fmla="*/ 3349 w 52929"/>
                  <a:gd name="connsiteY8" fmla="*/ 18301 h 79782"/>
                  <a:gd name="connsiteX9" fmla="*/ 24999 w 52929"/>
                  <a:gd name="connsiteY9" fmla="*/ 30083 h 79782"/>
                  <a:gd name="connsiteX10" fmla="*/ 38636 w 52929"/>
                  <a:gd name="connsiteY10" fmla="*/ 27152 h 79782"/>
                  <a:gd name="connsiteX11" fmla="*/ 11483 w 52929"/>
                  <a:gd name="connsiteY11" fmla="*/ 35466 h 79782"/>
                  <a:gd name="connsiteX12" fmla="*/ 11364 w 52929"/>
                  <a:gd name="connsiteY12" fmla="*/ 37320 h 79782"/>
                  <a:gd name="connsiteX13" fmla="*/ 26255 w 52929"/>
                  <a:gd name="connsiteY13" fmla="*/ 45752 h 79782"/>
                  <a:gd name="connsiteX14" fmla="*/ 42463 w 52929"/>
                  <a:gd name="connsiteY14" fmla="*/ 40848 h 79782"/>
                  <a:gd name="connsiteX15" fmla="*/ 44257 w 52929"/>
                  <a:gd name="connsiteY15" fmla="*/ 41566 h 79782"/>
                  <a:gd name="connsiteX16" fmla="*/ 16746 w 52929"/>
                  <a:gd name="connsiteY16" fmla="*/ 50298 h 79782"/>
                  <a:gd name="connsiteX17" fmla="*/ 27751 w 52929"/>
                  <a:gd name="connsiteY17" fmla="*/ 77331 h 7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929" h="79782">
                    <a:moveTo>
                      <a:pt x="27751" y="77331"/>
                    </a:moveTo>
                    <a:cubicBezTo>
                      <a:pt x="36183" y="71769"/>
                      <a:pt x="44257" y="66386"/>
                      <a:pt x="52391" y="61003"/>
                    </a:cubicBezTo>
                    <a:cubicBezTo>
                      <a:pt x="52570" y="61302"/>
                      <a:pt x="52750" y="61601"/>
                      <a:pt x="52930" y="61900"/>
                    </a:cubicBezTo>
                    <a:cubicBezTo>
                      <a:pt x="44317" y="67821"/>
                      <a:pt x="35765" y="73742"/>
                      <a:pt x="27033" y="79783"/>
                    </a:cubicBezTo>
                    <a:cubicBezTo>
                      <a:pt x="18002" y="57654"/>
                      <a:pt x="9031" y="35585"/>
                      <a:pt x="0" y="13397"/>
                    </a:cubicBezTo>
                    <a:cubicBezTo>
                      <a:pt x="5981" y="8911"/>
                      <a:pt x="11902" y="4486"/>
                      <a:pt x="17822" y="0"/>
                    </a:cubicBezTo>
                    <a:cubicBezTo>
                      <a:pt x="18002" y="299"/>
                      <a:pt x="18241" y="598"/>
                      <a:pt x="18421" y="897"/>
                    </a:cubicBezTo>
                    <a:cubicBezTo>
                      <a:pt x="13875" y="4426"/>
                      <a:pt x="9510" y="8253"/>
                      <a:pt x="4844" y="11483"/>
                    </a:cubicBezTo>
                    <a:cubicBezTo>
                      <a:pt x="2153" y="13337"/>
                      <a:pt x="2093" y="15131"/>
                      <a:pt x="3349" y="18301"/>
                    </a:cubicBezTo>
                    <a:cubicBezTo>
                      <a:pt x="9808" y="34868"/>
                      <a:pt x="9749" y="34868"/>
                      <a:pt x="24999" y="30083"/>
                    </a:cubicBezTo>
                    <a:cubicBezTo>
                      <a:pt x="29425" y="28707"/>
                      <a:pt x="33851" y="27392"/>
                      <a:pt x="38636" y="27152"/>
                    </a:cubicBezTo>
                    <a:cubicBezTo>
                      <a:pt x="29485" y="29963"/>
                      <a:pt x="20335" y="32774"/>
                      <a:pt x="11483" y="35466"/>
                    </a:cubicBezTo>
                    <a:cubicBezTo>
                      <a:pt x="11364" y="36542"/>
                      <a:pt x="11244" y="36961"/>
                      <a:pt x="11364" y="37320"/>
                    </a:cubicBezTo>
                    <a:cubicBezTo>
                      <a:pt x="15430" y="49221"/>
                      <a:pt x="15430" y="49161"/>
                      <a:pt x="26255" y="45752"/>
                    </a:cubicBezTo>
                    <a:cubicBezTo>
                      <a:pt x="31638" y="44078"/>
                      <a:pt x="37021" y="42463"/>
                      <a:pt x="42463" y="40848"/>
                    </a:cubicBezTo>
                    <a:cubicBezTo>
                      <a:pt x="42942" y="40729"/>
                      <a:pt x="43540" y="40848"/>
                      <a:pt x="44257" y="41566"/>
                    </a:cubicBezTo>
                    <a:cubicBezTo>
                      <a:pt x="35167" y="44437"/>
                      <a:pt x="26136" y="47367"/>
                      <a:pt x="16746" y="50298"/>
                    </a:cubicBezTo>
                    <a:cubicBezTo>
                      <a:pt x="20514" y="59568"/>
                      <a:pt x="24043" y="68120"/>
                      <a:pt x="27751" y="7733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77" name="Vrije vorm: vorm 9376">
                <a:extLst>
                  <a:ext uri="{FF2B5EF4-FFF2-40B4-BE49-F238E27FC236}">
                    <a16:creationId xmlns:a16="http://schemas.microsoft.com/office/drawing/2014/main" id="{03FF0CED-50D0-4864-AF70-A6F28BA5DF0E}"/>
                  </a:ext>
                </a:extLst>
              </p:cNvPr>
              <p:cNvSpPr/>
              <p:nvPr/>
            </p:nvSpPr>
            <p:spPr>
              <a:xfrm>
                <a:off x="4975861" y="1546655"/>
                <a:ext cx="55799" cy="76373"/>
              </a:xfrm>
              <a:custGeom>
                <a:avLst/>
                <a:gdLst>
                  <a:gd name="connsiteX0" fmla="*/ 0 w 55799"/>
                  <a:gd name="connsiteY0" fmla="*/ 12021 h 76373"/>
                  <a:gd name="connsiteX1" fmla="*/ 29604 w 55799"/>
                  <a:gd name="connsiteY1" fmla="*/ 0 h 76373"/>
                  <a:gd name="connsiteX2" fmla="*/ 55800 w 55799"/>
                  <a:gd name="connsiteY2" fmla="*/ 64353 h 76373"/>
                  <a:gd name="connsiteX3" fmla="*/ 26195 w 55799"/>
                  <a:gd name="connsiteY3" fmla="*/ 76374 h 76373"/>
                  <a:gd name="connsiteX4" fmla="*/ 0 w 55799"/>
                  <a:gd name="connsiteY4" fmla="*/ 12021 h 76373"/>
                  <a:gd name="connsiteX5" fmla="*/ 28887 w 55799"/>
                  <a:gd name="connsiteY5" fmla="*/ 2452 h 76373"/>
                  <a:gd name="connsiteX6" fmla="*/ 2272 w 55799"/>
                  <a:gd name="connsiteY6" fmla="*/ 13277 h 76373"/>
                  <a:gd name="connsiteX7" fmla="*/ 26973 w 55799"/>
                  <a:gd name="connsiteY7" fmla="*/ 74041 h 76373"/>
                  <a:gd name="connsiteX8" fmla="*/ 53587 w 55799"/>
                  <a:gd name="connsiteY8" fmla="*/ 63216 h 76373"/>
                  <a:gd name="connsiteX9" fmla="*/ 28887 w 55799"/>
                  <a:gd name="connsiteY9" fmla="*/ 2452 h 76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799" h="76373">
                    <a:moveTo>
                      <a:pt x="0" y="12021"/>
                    </a:moveTo>
                    <a:cubicBezTo>
                      <a:pt x="9988" y="7954"/>
                      <a:pt x="19676" y="4007"/>
                      <a:pt x="29604" y="0"/>
                    </a:cubicBezTo>
                    <a:cubicBezTo>
                      <a:pt x="38157" y="21112"/>
                      <a:pt x="46949" y="42642"/>
                      <a:pt x="55800" y="64353"/>
                    </a:cubicBezTo>
                    <a:cubicBezTo>
                      <a:pt x="46051" y="68300"/>
                      <a:pt x="36303" y="72307"/>
                      <a:pt x="26195" y="76374"/>
                    </a:cubicBezTo>
                    <a:cubicBezTo>
                      <a:pt x="17464" y="55082"/>
                      <a:pt x="8911" y="34030"/>
                      <a:pt x="0" y="12021"/>
                    </a:cubicBezTo>
                    <a:close/>
                    <a:moveTo>
                      <a:pt x="28887" y="2452"/>
                    </a:moveTo>
                    <a:cubicBezTo>
                      <a:pt x="19676" y="6220"/>
                      <a:pt x="11004" y="9749"/>
                      <a:pt x="2272" y="13277"/>
                    </a:cubicBezTo>
                    <a:cubicBezTo>
                      <a:pt x="10645" y="33911"/>
                      <a:pt x="18719" y="53707"/>
                      <a:pt x="26973" y="74041"/>
                    </a:cubicBezTo>
                    <a:cubicBezTo>
                      <a:pt x="35944" y="70393"/>
                      <a:pt x="44616" y="66864"/>
                      <a:pt x="53587" y="63216"/>
                    </a:cubicBezTo>
                    <a:cubicBezTo>
                      <a:pt x="45334" y="42822"/>
                      <a:pt x="37140" y="22667"/>
                      <a:pt x="28887" y="245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78" name="Vrije vorm: vorm 9377">
                <a:extLst>
                  <a:ext uri="{FF2B5EF4-FFF2-40B4-BE49-F238E27FC236}">
                    <a16:creationId xmlns:a16="http://schemas.microsoft.com/office/drawing/2014/main" id="{71056C68-4980-4A05-A448-E2E39F8233FD}"/>
                  </a:ext>
                </a:extLst>
              </p:cNvPr>
              <p:cNvSpPr/>
              <p:nvPr/>
            </p:nvSpPr>
            <p:spPr>
              <a:xfrm>
                <a:off x="5012044" y="1529909"/>
                <a:ext cx="58431" cy="79184"/>
              </a:xfrm>
              <a:custGeom>
                <a:avLst/>
                <a:gdLst>
                  <a:gd name="connsiteX0" fmla="*/ 0 w 58431"/>
                  <a:gd name="connsiteY0" fmla="*/ 12679 h 79184"/>
                  <a:gd name="connsiteX1" fmla="*/ 31219 w 58431"/>
                  <a:gd name="connsiteY1" fmla="*/ 0 h 79184"/>
                  <a:gd name="connsiteX2" fmla="*/ 31399 w 58431"/>
                  <a:gd name="connsiteY2" fmla="*/ 299 h 79184"/>
                  <a:gd name="connsiteX3" fmla="*/ 1854 w 58431"/>
                  <a:gd name="connsiteY3" fmla="*/ 14174 h 79184"/>
                  <a:gd name="connsiteX4" fmla="*/ 7177 w 58431"/>
                  <a:gd name="connsiteY4" fmla="*/ 27332 h 79184"/>
                  <a:gd name="connsiteX5" fmla="*/ 25537 w 58431"/>
                  <a:gd name="connsiteY5" fmla="*/ 72486 h 79184"/>
                  <a:gd name="connsiteX6" fmla="*/ 30860 w 58431"/>
                  <a:gd name="connsiteY6" fmla="*/ 75776 h 79184"/>
                  <a:gd name="connsiteX7" fmla="*/ 56697 w 58431"/>
                  <a:gd name="connsiteY7" fmla="*/ 65190 h 79184"/>
                  <a:gd name="connsiteX8" fmla="*/ 31638 w 58431"/>
                  <a:gd name="connsiteY8" fmla="*/ 3588 h 79184"/>
                  <a:gd name="connsiteX9" fmla="*/ 32714 w 58431"/>
                  <a:gd name="connsiteY9" fmla="*/ 3170 h 79184"/>
                  <a:gd name="connsiteX10" fmla="*/ 58431 w 58431"/>
                  <a:gd name="connsiteY10" fmla="*/ 66386 h 79184"/>
                  <a:gd name="connsiteX11" fmla="*/ 27033 w 58431"/>
                  <a:gd name="connsiteY11" fmla="*/ 79185 h 79184"/>
                  <a:gd name="connsiteX12" fmla="*/ 0 w 58431"/>
                  <a:gd name="connsiteY12" fmla="*/ 12679 h 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431" h="79184">
                    <a:moveTo>
                      <a:pt x="0" y="12679"/>
                    </a:moveTo>
                    <a:cubicBezTo>
                      <a:pt x="10466" y="8433"/>
                      <a:pt x="20873" y="4186"/>
                      <a:pt x="31219" y="0"/>
                    </a:cubicBezTo>
                    <a:cubicBezTo>
                      <a:pt x="31279" y="120"/>
                      <a:pt x="31339" y="239"/>
                      <a:pt x="31399" y="299"/>
                    </a:cubicBezTo>
                    <a:cubicBezTo>
                      <a:pt x="21770" y="4844"/>
                      <a:pt x="12081" y="9330"/>
                      <a:pt x="1854" y="14174"/>
                    </a:cubicBezTo>
                    <a:cubicBezTo>
                      <a:pt x="3708" y="18779"/>
                      <a:pt x="5442" y="23026"/>
                      <a:pt x="7177" y="27332"/>
                    </a:cubicBezTo>
                    <a:cubicBezTo>
                      <a:pt x="13277" y="42403"/>
                      <a:pt x="19437" y="57415"/>
                      <a:pt x="25537" y="72486"/>
                    </a:cubicBezTo>
                    <a:cubicBezTo>
                      <a:pt x="26674" y="75297"/>
                      <a:pt x="27691" y="77091"/>
                      <a:pt x="30860" y="75776"/>
                    </a:cubicBezTo>
                    <a:cubicBezTo>
                      <a:pt x="39234" y="72247"/>
                      <a:pt x="47666" y="68898"/>
                      <a:pt x="56697" y="65190"/>
                    </a:cubicBezTo>
                    <a:cubicBezTo>
                      <a:pt x="48324" y="44616"/>
                      <a:pt x="39951" y="24102"/>
                      <a:pt x="31638" y="3588"/>
                    </a:cubicBezTo>
                    <a:cubicBezTo>
                      <a:pt x="31997" y="3469"/>
                      <a:pt x="32356" y="3289"/>
                      <a:pt x="32714" y="3170"/>
                    </a:cubicBezTo>
                    <a:cubicBezTo>
                      <a:pt x="41327" y="24341"/>
                      <a:pt x="49939" y="45453"/>
                      <a:pt x="58431" y="66386"/>
                    </a:cubicBezTo>
                    <a:cubicBezTo>
                      <a:pt x="48085" y="70573"/>
                      <a:pt x="37738" y="74819"/>
                      <a:pt x="27033" y="79185"/>
                    </a:cubicBezTo>
                    <a:cubicBezTo>
                      <a:pt x="18121" y="57176"/>
                      <a:pt x="9210" y="35286"/>
                      <a:pt x="0" y="126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79" name="Vrije vorm: vorm 9378">
                <a:extLst>
                  <a:ext uri="{FF2B5EF4-FFF2-40B4-BE49-F238E27FC236}">
                    <a16:creationId xmlns:a16="http://schemas.microsoft.com/office/drawing/2014/main" id="{1418F3F7-BA3D-4FCE-A957-62ACCD467D6B}"/>
                  </a:ext>
                </a:extLst>
              </p:cNvPr>
              <p:cNvSpPr/>
              <p:nvPr/>
            </p:nvSpPr>
            <p:spPr>
              <a:xfrm>
                <a:off x="4869882" y="1613280"/>
                <a:ext cx="41865" cy="59866"/>
              </a:xfrm>
              <a:custGeom>
                <a:avLst/>
                <a:gdLst>
                  <a:gd name="connsiteX0" fmla="*/ 0 w 41865"/>
                  <a:gd name="connsiteY0" fmla="*/ 8552 h 59866"/>
                  <a:gd name="connsiteX1" fmla="*/ 20992 w 41865"/>
                  <a:gd name="connsiteY1" fmla="*/ 0 h 59866"/>
                  <a:gd name="connsiteX2" fmla="*/ 41865 w 41865"/>
                  <a:gd name="connsiteY2" fmla="*/ 51315 h 59866"/>
                  <a:gd name="connsiteX3" fmla="*/ 20873 w 41865"/>
                  <a:gd name="connsiteY3" fmla="*/ 59867 h 59866"/>
                  <a:gd name="connsiteX4" fmla="*/ 0 w 41865"/>
                  <a:gd name="connsiteY4" fmla="*/ 8552 h 59866"/>
                  <a:gd name="connsiteX5" fmla="*/ 39652 w 41865"/>
                  <a:gd name="connsiteY5" fmla="*/ 50238 h 59866"/>
                  <a:gd name="connsiteX6" fmla="*/ 21052 w 41865"/>
                  <a:gd name="connsiteY6" fmla="*/ 4545 h 59866"/>
                  <a:gd name="connsiteX7" fmla="*/ 6997 w 41865"/>
                  <a:gd name="connsiteY7" fmla="*/ 10227 h 59866"/>
                  <a:gd name="connsiteX8" fmla="*/ 4605 w 41865"/>
                  <a:gd name="connsiteY8" fmla="*/ 16866 h 59866"/>
                  <a:gd name="connsiteX9" fmla="*/ 14413 w 41865"/>
                  <a:gd name="connsiteY9" fmla="*/ 40430 h 59866"/>
                  <a:gd name="connsiteX10" fmla="*/ 38516 w 41865"/>
                  <a:gd name="connsiteY10" fmla="*/ 51135 h 59866"/>
                  <a:gd name="connsiteX11" fmla="*/ 39652 w 41865"/>
                  <a:gd name="connsiteY11" fmla="*/ 50238 h 5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65" h="59866">
                    <a:moveTo>
                      <a:pt x="0" y="8552"/>
                    </a:moveTo>
                    <a:cubicBezTo>
                      <a:pt x="6997" y="5682"/>
                      <a:pt x="13815" y="2930"/>
                      <a:pt x="20992" y="0"/>
                    </a:cubicBezTo>
                    <a:cubicBezTo>
                      <a:pt x="27870" y="16866"/>
                      <a:pt x="34868" y="34090"/>
                      <a:pt x="41865" y="51315"/>
                    </a:cubicBezTo>
                    <a:cubicBezTo>
                      <a:pt x="35107" y="54066"/>
                      <a:pt x="28229" y="56877"/>
                      <a:pt x="20873" y="59867"/>
                    </a:cubicBezTo>
                    <a:cubicBezTo>
                      <a:pt x="13875" y="42642"/>
                      <a:pt x="7057" y="25837"/>
                      <a:pt x="0" y="8552"/>
                    </a:cubicBezTo>
                    <a:close/>
                    <a:moveTo>
                      <a:pt x="39652" y="50238"/>
                    </a:moveTo>
                    <a:cubicBezTo>
                      <a:pt x="33432" y="35047"/>
                      <a:pt x="27392" y="20155"/>
                      <a:pt x="21052" y="4545"/>
                    </a:cubicBezTo>
                    <a:cubicBezTo>
                      <a:pt x="16028" y="6579"/>
                      <a:pt x="11543" y="8552"/>
                      <a:pt x="6997" y="10227"/>
                    </a:cubicBezTo>
                    <a:cubicBezTo>
                      <a:pt x="3708" y="11423"/>
                      <a:pt x="2990" y="13158"/>
                      <a:pt x="4605" y="16866"/>
                    </a:cubicBezTo>
                    <a:cubicBezTo>
                      <a:pt x="8014" y="24641"/>
                      <a:pt x="11124" y="32595"/>
                      <a:pt x="14413" y="40430"/>
                    </a:cubicBezTo>
                    <a:cubicBezTo>
                      <a:pt x="22069" y="58850"/>
                      <a:pt x="22069" y="58850"/>
                      <a:pt x="38516" y="51135"/>
                    </a:cubicBezTo>
                    <a:cubicBezTo>
                      <a:pt x="38815" y="51016"/>
                      <a:pt x="39054" y="50716"/>
                      <a:pt x="39652" y="5023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80" name="Vrije vorm: vorm 9379">
                <a:extLst>
                  <a:ext uri="{FF2B5EF4-FFF2-40B4-BE49-F238E27FC236}">
                    <a16:creationId xmlns:a16="http://schemas.microsoft.com/office/drawing/2014/main" id="{5567631A-EA8D-4B1B-871D-193E88A038B6}"/>
                  </a:ext>
                </a:extLst>
              </p:cNvPr>
              <p:cNvSpPr/>
              <p:nvPr/>
            </p:nvSpPr>
            <p:spPr>
              <a:xfrm>
                <a:off x="4913900" y="1392053"/>
                <a:ext cx="53766" cy="80500"/>
              </a:xfrm>
              <a:custGeom>
                <a:avLst/>
                <a:gdLst>
                  <a:gd name="connsiteX0" fmla="*/ 52331 w 53766"/>
                  <a:gd name="connsiteY0" fmla="*/ 63874 h 80500"/>
                  <a:gd name="connsiteX1" fmla="*/ 26495 w 53766"/>
                  <a:gd name="connsiteY1" fmla="*/ 359 h 80500"/>
                  <a:gd name="connsiteX2" fmla="*/ 27452 w 53766"/>
                  <a:gd name="connsiteY2" fmla="*/ 0 h 80500"/>
                  <a:gd name="connsiteX3" fmla="*/ 53767 w 53766"/>
                  <a:gd name="connsiteY3" fmla="*/ 64652 h 80500"/>
                  <a:gd name="connsiteX4" fmla="*/ 25897 w 53766"/>
                  <a:gd name="connsiteY4" fmla="*/ 80501 h 80500"/>
                  <a:gd name="connsiteX5" fmla="*/ 0 w 53766"/>
                  <a:gd name="connsiteY5" fmla="*/ 16925 h 80500"/>
                  <a:gd name="connsiteX6" fmla="*/ 23026 w 53766"/>
                  <a:gd name="connsiteY6" fmla="*/ 2153 h 80500"/>
                  <a:gd name="connsiteX7" fmla="*/ 23624 w 53766"/>
                  <a:gd name="connsiteY7" fmla="*/ 3050 h 80500"/>
                  <a:gd name="connsiteX8" fmla="*/ 6041 w 53766"/>
                  <a:gd name="connsiteY8" fmla="*/ 14593 h 80500"/>
                  <a:gd name="connsiteX9" fmla="*/ 3828 w 53766"/>
                  <a:gd name="connsiteY9" fmla="*/ 23026 h 80500"/>
                  <a:gd name="connsiteX10" fmla="*/ 24581 w 53766"/>
                  <a:gd name="connsiteY10" fmla="*/ 73742 h 80500"/>
                  <a:gd name="connsiteX11" fmla="*/ 26853 w 53766"/>
                  <a:gd name="connsiteY11" fmla="*/ 78288 h 80500"/>
                  <a:gd name="connsiteX12" fmla="*/ 52331 w 53766"/>
                  <a:gd name="connsiteY12" fmla="*/ 63874 h 8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766" h="80500">
                    <a:moveTo>
                      <a:pt x="52331" y="63874"/>
                    </a:moveTo>
                    <a:cubicBezTo>
                      <a:pt x="43540" y="42344"/>
                      <a:pt x="35047" y="21351"/>
                      <a:pt x="26495" y="359"/>
                    </a:cubicBezTo>
                    <a:cubicBezTo>
                      <a:pt x="26794" y="239"/>
                      <a:pt x="27153" y="120"/>
                      <a:pt x="27452" y="0"/>
                    </a:cubicBezTo>
                    <a:cubicBezTo>
                      <a:pt x="36183" y="21471"/>
                      <a:pt x="44915" y="42942"/>
                      <a:pt x="53767" y="64652"/>
                    </a:cubicBezTo>
                    <a:cubicBezTo>
                      <a:pt x="44796" y="69735"/>
                      <a:pt x="35466" y="75058"/>
                      <a:pt x="25897" y="80501"/>
                    </a:cubicBezTo>
                    <a:cubicBezTo>
                      <a:pt x="17344" y="59389"/>
                      <a:pt x="8732" y="38277"/>
                      <a:pt x="0" y="16925"/>
                    </a:cubicBezTo>
                    <a:cubicBezTo>
                      <a:pt x="7656" y="12021"/>
                      <a:pt x="15311" y="7057"/>
                      <a:pt x="23026" y="2153"/>
                    </a:cubicBezTo>
                    <a:cubicBezTo>
                      <a:pt x="23205" y="2452"/>
                      <a:pt x="23445" y="2751"/>
                      <a:pt x="23624" y="3050"/>
                    </a:cubicBezTo>
                    <a:cubicBezTo>
                      <a:pt x="17763" y="6938"/>
                      <a:pt x="12141" y="11184"/>
                      <a:pt x="6041" y="14593"/>
                    </a:cubicBezTo>
                    <a:cubicBezTo>
                      <a:pt x="2213" y="16746"/>
                      <a:pt x="2093" y="18899"/>
                      <a:pt x="3828" y="23026"/>
                    </a:cubicBezTo>
                    <a:cubicBezTo>
                      <a:pt x="10885" y="39891"/>
                      <a:pt x="17643" y="56817"/>
                      <a:pt x="24581" y="73742"/>
                    </a:cubicBezTo>
                    <a:cubicBezTo>
                      <a:pt x="25119" y="74998"/>
                      <a:pt x="25837" y="76194"/>
                      <a:pt x="26853" y="78288"/>
                    </a:cubicBezTo>
                    <a:cubicBezTo>
                      <a:pt x="35406" y="73383"/>
                      <a:pt x="43719" y="68718"/>
                      <a:pt x="52331" y="6387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81" name="Vrije vorm: vorm 9380">
                <a:extLst>
                  <a:ext uri="{FF2B5EF4-FFF2-40B4-BE49-F238E27FC236}">
                    <a16:creationId xmlns:a16="http://schemas.microsoft.com/office/drawing/2014/main" id="{F0A9A9FD-1C2A-46EF-B4BA-39E770F0E811}"/>
                  </a:ext>
                </a:extLst>
              </p:cNvPr>
              <p:cNvSpPr/>
              <p:nvPr/>
            </p:nvSpPr>
            <p:spPr>
              <a:xfrm>
                <a:off x="4801403" y="1577814"/>
                <a:ext cx="35525" cy="53228"/>
              </a:xfrm>
              <a:custGeom>
                <a:avLst/>
                <a:gdLst>
                  <a:gd name="connsiteX0" fmla="*/ 19019 w 35525"/>
                  <a:gd name="connsiteY0" fmla="*/ 49520 h 53228"/>
                  <a:gd name="connsiteX1" fmla="*/ 2452 w 35525"/>
                  <a:gd name="connsiteY1" fmla="*/ 8792 h 53228"/>
                  <a:gd name="connsiteX2" fmla="*/ 3648 w 35525"/>
                  <a:gd name="connsiteY2" fmla="*/ 8313 h 53228"/>
                  <a:gd name="connsiteX3" fmla="*/ 20335 w 35525"/>
                  <a:gd name="connsiteY3" fmla="*/ 49281 h 53228"/>
                  <a:gd name="connsiteX4" fmla="*/ 34030 w 35525"/>
                  <a:gd name="connsiteY4" fmla="*/ 43719 h 53228"/>
                  <a:gd name="connsiteX5" fmla="*/ 16387 w 35525"/>
                  <a:gd name="connsiteY5" fmla="*/ 419 h 53228"/>
                  <a:gd name="connsiteX6" fmla="*/ 17464 w 35525"/>
                  <a:gd name="connsiteY6" fmla="*/ 0 h 53228"/>
                  <a:gd name="connsiteX7" fmla="*/ 35526 w 35525"/>
                  <a:gd name="connsiteY7" fmla="*/ 44497 h 53228"/>
                  <a:gd name="connsiteX8" fmla="*/ 17344 w 35525"/>
                  <a:gd name="connsiteY8" fmla="*/ 53228 h 53228"/>
                  <a:gd name="connsiteX9" fmla="*/ 0 w 35525"/>
                  <a:gd name="connsiteY9" fmla="*/ 10526 h 53228"/>
                  <a:gd name="connsiteX10" fmla="*/ 1136 w 35525"/>
                  <a:gd name="connsiteY10" fmla="*/ 10048 h 53228"/>
                  <a:gd name="connsiteX11" fmla="*/ 17464 w 35525"/>
                  <a:gd name="connsiteY11" fmla="*/ 50238 h 53228"/>
                  <a:gd name="connsiteX12" fmla="*/ 19019 w 35525"/>
                  <a:gd name="connsiteY12" fmla="*/ 49520 h 5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25" h="53228">
                    <a:moveTo>
                      <a:pt x="19019" y="49520"/>
                    </a:moveTo>
                    <a:cubicBezTo>
                      <a:pt x="13516" y="35944"/>
                      <a:pt x="7954" y="22368"/>
                      <a:pt x="2452" y="8792"/>
                    </a:cubicBezTo>
                    <a:cubicBezTo>
                      <a:pt x="2871" y="8612"/>
                      <a:pt x="3230" y="8433"/>
                      <a:pt x="3648" y="8313"/>
                    </a:cubicBezTo>
                    <a:cubicBezTo>
                      <a:pt x="9151" y="21889"/>
                      <a:pt x="14713" y="35526"/>
                      <a:pt x="20335" y="49281"/>
                    </a:cubicBezTo>
                    <a:cubicBezTo>
                      <a:pt x="25239" y="47248"/>
                      <a:pt x="29366" y="45633"/>
                      <a:pt x="34030" y="43719"/>
                    </a:cubicBezTo>
                    <a:cubicBezTo>
                      <a:pt x="28050" y="29007"/>
                      <a:pt x="22248" y="14713"/>
                      <a:pt x="16387" y="419"/>
                    </a:cubicBezTo>
                    <a:cubicBezTo>
                      <a:pt x="16746" y="299"/>
                      <a:pt x="17105" y="120"/>
                      <a:pt x="17464" y="0"/>
                    </a:cubicBezTo>
                    <a:cubicBezTo>
                      <a:pt x="23504" y="14772"/>
                      <a:pt x="29485" y="29605"/>
                      <a:pt x="35526" y="44497"/>
                    </a:cubicBezTo>
                    <a:cubicBezTo>
                      <a:pt x="29724" y="47248"/>
                      <a:pt x="23504" y="50298"/>
                      <a:pt x="17344" y="53228"/>
                    </a:cubicBezTo>
                    <a:cubicBezTo>
                      <a:pt x="11543" y="38934"/>
                      <a:pt x="5742" y="24760"/>
                      <a:pt x="0" y="10526"/>
                    </a:cubicBezTo>
                    <a:cubicBezTo>
                      <a:pt x="359" y="10347"/>
                      <a:pt x="718" y="10227"/>
                      <a:pt x="1136" y="10048"/>
                    </a:cubicBezTo>
                    <a:cubicBezTo>
                      <a:pt x="6579" y="23444"/>
                      <a:pt x="12021" y="36841"/>
                      <a:pt x="17464" y="50238"/>
                    </a:cubicBezTo>
                    <a:cubicBezTo>
                      <a:pt x="17942" y="49939"/>
                      <a:pt x="18481" y="49700"/>
                      <a:pt x="19019" y="4952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82" name="Vrije vorm: vorm 9381">
                <a:extLst>
                  <a:ext uri="{FF2B5EF4-FFF2-40B4-BE49-F238E27FC236}">
                    <a16:creationId xmlns:a16="http://schemas.microsoft.com/office/drawing/2014/main" id="{06279F85-CFDC-4E74-8228-1FA25CDD5D7A}"/>
                  </a:ext>
                </a:extLst>
              </p:cNvPr>
              <p:cNvSpPr/>
              <p:nvPr/>
            </p:nvSpPr>
            <p:spPr>
              <a:xfrm>
                <a:off x="4883399" y="1413165"/>
                <a:ext cx="51314" cy="78108"/>
              </a:xfrm>
              <a:custGeom>
                <a:avLst/>
                <a:gdLst>
                  <a:gd name="connsiteX0" fmla="*/ 24999 w 51314"/>
                  <a:gd name="connsiteY0" fmla="*/ 78108 h 78108"/>
                  <a:gd name="connsiteX1" fmla="*/ 0 w 51314"/>
                  <a:gd name="connsiteY1" fmla="*/ 16686 h 78108"/>
                  <a:gd name="connsiteX2" fmla="*/ 25597 w 51314"/>
                  <a:gd name="connsiteY2" fmla="*/ 0 h 78108"/>
                  <a:gd name="connsiteX3" fmla="*/ 51315 w 51314"/>
                  <a:gd name="connsiteY3" fmla="*/ 63156 h 78108"/>
                  <a:gd name="connsiteX4" fmla="*/ 24999 w 51314"/>
                  <a:gd name="connsiteY4" fmla="*/ 78108 h 78108"/>
                  <a:gd name="connsiteX5" fmla="*/ 2153 w 51314"/>
                  <a:gd name="connsiteY5" fmla="*/ 17045 h 78108"/>
                  <a:gd name="connsiteX6" fmla="*/ 26136 w 51314"/>
                  <a:gd name="connsiteY6" fmla="*/ 75955 h 78108"/>
                  <a:gd name="connsiteX7" fmla="*/ 49281 w 51314"/>
                  <a:gd name="connsiteY7" fmla="*/ 62678 h 78108"/>
                  <a:gd name="connsiteX8" fmla="*/ 24700 w 51314"/>
                  <a:gd name="connsiteY8" fmla="*/ 2273 h 78108"/>
                  <a:gd name="connsiteX9" fmla="*/ 2153 w 51314"/>
                  <a:gd name="connsiteY9" fmla="*/ 17045 h 7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14" h="78108">
                    <a:moveTo>
                      <a:pt x="24999" y="78108"/>
                    </a:moveTo>
                    <a:cubicBezTo>
                      <a:pt x="16626" y="57535"/>
                      <a:pt x="8313" y="37140"/>
                      <a:pt x="0" y="16686"/>
                    </a:cubicBezTo>
                    <a:cubicBezTo>
                      <a:pt x="8373" y="11244"/>
                      <a:pt x="16806" y="5741"/>
                      <a:pt x="25597" y="0"/>
                    </a:cubicBezTo>
                    <a:cubicBezTo>
                      <a:pt x="34150" y="20992"/>
                      <a:pt x="42702" y="42104"/>
                      <a:pt x="51315" y="63156"/>
                    </a:cubicBezTo>
                    <a:cubicBezTo>
                      <a:pt x="42583" y="68120"/>
                      <a:pt x="33970" y="73025"/>
                      <a:pt x="24999" y="78108"/>
                    </a:cubicBezTo>
                    <a:close/>
                    <a:moveTo>
                      <a:pt x="2153" y="17045"/>
                    </a:moveTo>
                    <a:cubicBezTo>
                      <a:pt x="10347" y="37140"/>
                      <a:pt x="18121" y="56338"/>
                      <a:pt x="26136" y="75955"/>
                    </a:cubicBezTo>
                    <a:cubicBezTo>
                      <a:pt x="34150" y="71350"/>
                      <a:pt x="41685" y="67044"/>
                      <a:pt x="49281" y="62678"/>
                    </a:cubicBezTo>
                    <a:cubicBezTo>
                      <a:pt x="41028" y="42403"/>
                      <a:pt x="33014" y="22607"/>
                      <a:pt x="24700" y="2273"/>
                    </a:cubicBezTo>
                    <a:cubicBezTo>
                      <a:pt x="16866" y="7416"/>
                      <a:pt x="9450" y="12260"/>
                      <a:pt x="2153" y="1704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83" name="Vrije vorm: vorm 9382">
                <a:extLst>
                  <a:ext uri="{FF2B5EF4-FFF2-40B4-BE49-F238E27FC236}">
                    <a16:creationId xmlns:a16="http://schemas.microsoft.com/office/drawing/2014/main" id="{6F1ADBA9-BC50-4177-AC89-EDF357CA2FB5}"/>
                  </a:ext>
                </a:extLst>
              </p:cNvPr>
              <p:cNvSpPr/>
              <p:nvPr/>
            </p:nvSpPr>
            <p:spPr>
              <a:xfrm>
                <a:off x="5377944" y="1634452"/>
                <a:ext cx="62020" cy="80799"/>
              </a:xfrm>
              <a:custGeom>
                <a:avLst/>
                <a:gdLst>
                  <a:gd name="connsiteX0" fmla="*/ 28767 w 62020"/>
                  <a:gd name="connsiteY0" fmla="*/ 7177 h 80799"/>
                  <a:gd name="connsiteX1" fmla="*/ 4725 w 62020"/>
                  <a:gd name="connsiteY1" fmla="*/ 18899 h 80799"/>
                  <a:gd name="connsiteX2" fmla="*/ 3229 w 62020"/>
                  <a:gd name="connsiteY2" fmla="*/ 22966 h 80799"/>
                  <a:gd name="connsiteX3" fmla="*/ 25777 w 62020"/>
                  <a:gd name="connsiteY3" fmla="*/ 78766 h 80799"/>
                  <a:gd name="connsiteX4" fmla="*/ 61482 w 62020"/>
                  <a:gd name="connsiteY4" fmla="*/ 60046 h 80799"/>
                  <a:gd name="connsiteX5" fmla="*/ 62020 w 62020"/>
                  <a:gd name="connsiteY5" fmla="*/ 61183 h 80799"/>
                  <a:gd name="connsiteX6" fmla="*/ 24940 w 62020"/>
                  <a:gd name="connsiteY6" fmla="*/ 80800 h 80799"/>
                  <a:gd name="connsiteX7" fmla="*/ 0 w 62020"/>
                  <a:gd name="connsiteY7" fmla="*/ 19557 h 80799"/>
                  <a:gd name="connsiteX8" fmla="*/ 40011 w 62020"/>
                  <a:gd name="connsiteY8" fmla="*/ 0 h 80799"/>
                  <a:gd name="connsiteX9" fmla="*/ 40490 w 62020"/>
                  <a:gd name="connsiteY9" fmla="*/ 1017 h 80799"/>
                  <a:gd name="connsiteX10" fmla="*/ 29485 w 62020"/>
                  <a:gd name="connsiteY10" fmla="*/ 6399 h 80799"/>
                  <a:gd name="connsiteX11" fmla="*/ 41626 w 62020"/>
                  <a:gd name="connsiteY11" fmla="*/ 36303 h 80799"/>
                  <a:gd name="connsiteX12" fmla="*/ 40609 w 62020"/>
                  <a:gd name="connsiteY12" fmla="*/ 36722 h 80799"/>
                  <a:gd name="connsiteX13" fmla="*/ 28767 w 62020"/>
                  <a:gd name="connsiteY13" fmla="*/ 7177 h 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20" h="80799">
                    <a:moveTo>
                      <a:pt x="28767" y="7177"/>
                    </a:moveTo>
                    <a:cubicBezTo>
                      <a:pt x="20275" y="11244"/>
                      <a:pt x="12440" y="14952"/>
                      <a:pt x="4725" y="18899"/>
                    </a:cubicBezTo>
                    <a:cubicBezTo>
                      <a:pt x="3768" y="19378"/>
                      <a:pt x="2811" y="21949"/>
                      <a:pt x="3229" y="22966"/>
                    </a:cubicBezTo>
                    <a:cubicBezTo>
                      <a:pt x="10526" y="41387"/>
                      <a:pt x="18062" y="59747"/>
                      <a:pt x="25777" y="78766"/>
                    </a:cubicBezTo>
                    <a:cubicBezTo>
                      <a:pt x="37918" y="72427"/>
                      <a:pt x="49700" y="66207"/>
                      <a:pt x="61482" y="60046"/>
                    </a:cubicBezTo>
                    <a:cubicBezTo>
                      <a:pt x="61661" y="60405"/>
                      <a:pt x="61840" y="60824"/>
                      <a:pt x="62020" y="61183"/>
                    </a:cubicBezTo>
                    <a:cubicBezTo>
                      <a:pt x="49640" y="67702"/>
                      <a:pt x="37260" y="74281"/>
                      <a:pt x="24940" y="80800"/>
                    </a:cubicBezTo>
                    <a:cubicBezTo>
                      <a:pt x="16626" y="60345"/>
                      <a:pt x="8313" y="40011"/>
                      <a:pt x="0" y="19557"/>
                    </a:cubicBezTo>
                    <a:cubicBezTo>
                      <a:pt x="13397" y="12978"/>
                      <a:pt x="26734" y="6519"/>
                      <a:pt x="40011" y="0"/>
                    </a:cubicBezTo>
                    <a:cubicBezTo>
                      <a:pt x="40190" y="359"/>
                      <a:pt x="40370" y="718"/>
                      <a:pt x="40490" y="1017"/>
                    </a:cubicBezTo>
                    <a:cubicBezTo>
                      <a:pt x="37081" y="2691"/>
                      <a:pt x="33612" y="4366"/>
                      <a:pt x="29485" y="6399"/>
                    </a:cubicBezTo>
                    <a:cubicBezTo>
                      <a:pt x="33612" y="16567"/>
                      <a:pt x="37619" y="26435"/>
                      <a:pt x="41626" y="36303"/>
                    </a:cubicBezTo>
                    <a:cubicBezTo>
                      <a:pt x="41267" y="36423"/>
                      <a:pt x="40968" y="36542"/>
                      <a:pt x="40609" y="36722"/>
                    </a:cubicBezTo>
                    <a:cubicBezTo>
                      <a:pt x="36901" y="27272"/>
                      <a:pt x="33014" y="17763"/>
                      <a:pt x="28767" y="717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84" name="Vrije vorm: vorm 9383">
                <a:extLst>
                  <a:ext uri="{FF2B5EF4-FFF2-40B4-BE49-F238E27FC236}">
                    <a16:creationId xmlns:a16="http://schemas.microsoft.com/office/drawing/2014/main" id="{2063488D-0227-4F9C-9F45-9A81E8C37068}"/>
                  </a:ext>
                </a:extLst>
              </p:cNvPr>
              <p:cNvSpPr/>
              <p:nvPr/>
            </p:nvSpPr>
            <p:spPr>
              <a:xfrm>
                <a:off x="4825864" y="2001369"/>
                <a:ext cx="45513" cy="62857"/>
              </a:xfrm>
              <a:custGeom>
                <a:avLst/>
                <a:gdLst>
                  <a:gd name="connsiteX0" fmla="*/ 18540 w 45513"/>
                  <a:gd name="connsiteY0" fmla="*/ 60286 h 62857"/>
                  <a:gd name="connsiteX1" fmla="*/ 28946 w 45513"/>
                  <a:gd name="connsiteY1" fmla="*/ 60046 h 62857"/>
                  <a:gd name="connsiteX2" fmla="*/ 6041 w 45513"/>
                  <a:gd name="connsiteY2" fmla="*/ 4246 h 62857"/>
                  <a:gd name="connsiteX3" fmla="*/ 0 w 45513"/>
                  <a:gd name="connsiteY3" fmla="*/ 0 h 62857"/>
                  <a:gd name="connsiteX4" fmla="*/ 18002 w 45513"/>
                  <a:gd name="connsiteY4" fmla="*/ 60 h 62857"/>
                  <a:gd name="connsiteX5" fmla="*/ 18121 w 45513"/>
                  <a:gd name="connsiteY5" fmla="*/ 1076 h 62857"/>
                  <a:gd name="connsiteX6" fmla="*/ 9988 w 45513"/>
                  <a:gd name="connsiteY6" fmla="*/ 1794 h 62857"/>
                  <a:gd name="connsiteX7" fmla="*/ 21112 w 45513"/>
                  <a:gd name="connsiteY7" fmla="*/ 29126 h 62857"/>
                  <a:gd name="connsiteX8" fmla="*/ 31638 w 45513"/>
                  <a:gd name="connsiteY8" fmla="*/ 55023 h 62857"/>
                  <a:gd name="connsiteX9" fmla="*/ 40370 w 45513"/>
                  <a:gd name="connsiteY9" fmla="*/ 61542 h 62857"/>
                  <a:gd name="connsiteX10" fmla="*/ 45453 w 45513"/>
                  <a:gd name="connsiteY10" fmla="*/ 62857 h 62857"/>
                  <a:gd name="connsiteX11" fmla="*/ 45513 w 45513"/>
                  <a:gd name="connsiteY11" fmla="*/ 62738 h 62857"/>
                  <a:gd name="connsiteX12" fmla="*/ 18540 w 45513"/>
                  <a:gd name="connsiteY12" fmla="*/ 60286 h 62857"/>
                  <a:gd name="connsiteX13" fmla="*/ 30920 w 45513"/>
                  <a:gd name="connsiteY13" fmla="*/ 60166 h 62857"/>
                  <a:gd name="connsiteX14" fmla="*/ 31758 w 45513"/>
                  <a:gd name="connsiteY14" fmla="*/ 59867 h 62857"/>
                  <a:gd name="connsiteX15" fmla="*/ 8313 w 45513"/>
                  <a:gd name="connsiteY15" fmla="*/ 2273 h 62857"/>
                  <a:gd name="connsiteX16" fmla="*/ 7536 w 45513"/>
                  <a:gd name="connsiteY16" fmla="*/ 2631 h 62857"/>
                  <a:gd name="connsiteX17" fmla="*/ 30920 w 45513"/>
                  <a:gd name="connsiteY17" fmla="*/ 60166 h 62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513" h="62857">
                    <a:moveTo>
                      <a:pt x="18540" y="60286"/>
                    </a:moveTo>
                    <a:cubicBezTo>
                      <a:pt x="21949" y="60226"/>
                      <a:pt x="25358" y="60106"/>
                      <a:pt x="28946" y="60046"/>
                    </a:cubicBezTo>
                    <a:cubicBezTo>
                      <a:pt x="21291" y="41147"/>
                      <a:pt x="13875" y="22607"/>
                      <a:pt x="6041" y="4246"/>
                    </a:cubicBezTo>
                    <a:cubicBezTo>
                      <a:pt x="5203" y="2332"/>
                      <a:pt x="2093" y="1435"/>
                      <a:pt x="0" y="0"/>
                    </a:cubicBezTo>
                    <a:cubicBezTo>
                      <a:pt x="5981" y="0"/>
                      <a:pt x="12021" y="0"/>
                      <a:pt x="18002" y="60"/>
                    </a:cubicBezTo>
                    <a:cubicBezTo>
                      <a:pt x="18062" y="419"/>
                      <a:pt x="18121" y="718"/>
                      <a:pt x="18121" y="1076"/>
                    </a:cubicBezTo>
                    <a:cubicBezTo>
                      <a:pt x="15550" y="1316"/>
                      <a:pt x="12918" y="1555"/>
                      <a:pt x="9988" y="1794"/>
                    </a:cubicBezTo>
                    <a:cubicBezTo>
                      <a:pt x="13815" y="11184"/>
                      <a:pt x="17464" y="20155"/>
                      <a:pt x="21112" y="29126"/>
                    </a:cubicBezTo>
                    <a:cubicBezTo>
                      <a:pt x="24641" y="37738"/>
                      <a:pt x="28468" y="46291"/>
                      <a:pt x="31638" y="55023"/>
                    </a:cubicBezTo>
                    <a:cubicBezTo>
                      <a:pt x="33373" y="59927"/>
                      <a:pt x="35884" y="61781"/>
                      <a:pt x="40370" y="61542"/>
                    </a:cubicBezTo>
                    <a:cubicBezTo>
                      <a:pt x="41984" y="61482"/>
                      <a:pt x="43719" y="62379"/>
                      <a:pt x="45453" y="62857"/>
                    </a:cubicBezTo>
                    <a:lnTo>
                      <a:pt x="45513" y="62738"/>
                    </a:lnTo>
                    <a:cubicBezTo>
                      <a:pt x="36542" y="61841"/>
                      <a:pt x="27571" y="61063"/>
                      <a:pt x="18540" y="60286"/>
                    </a:cubicBezTo>
                    <a:close/>
                    <a:moveTo>
                      <a:pt x="30920" y="60166"/>
                    </a:moveTo>
                    <a:cubicBezTo>
                      <a:pt x="31219" y="60046"/>
                      <a:pt x="31459" y="59987"/>
                      <a:pt x="31758" y="59867"/>
                    </a:cubicBezTo>
                    <a:cubicBezTo>
                      <a:pt x="23923" y="40669"/>
                      <a:pt x="16148" y="21471"/>
                      <a:pt x="8313" y="2273"/>
                    </a:cubicBezTo>
                    <a:cubicBezTo>
                      <a:pt x="8074" y="2392"/>
                      <a:pt x="7775" y="2512"/>
                      <a:pt x="7536" y="2631"/>
                    </a:cubicBezTo>
                    <a:cubicBezTo>
                      <a:pt x="15311" y="21830"/>
                      <a:pt x="23086" y="40968"/>
                      <a:pt x="30920" y="6016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85" name="Vrije vorm: vorm 9384">
                <a:extLst>
                  <a:ext uri="{FF2B5EF4-FFF2-40B4-BE49-F238E27FC236}">
                    <a16:creationId xmlns:a16="http://schemas.microsoft.com/office/drawing/2014/main" id="{EF4AE8AA-DC76-4A83-90FD-761BF40C2055}"/>
                  </a:ext>
                </a:extLst>
              </p:cNvPr>
              <p:cNvSpPr/>
              <p:nvPr/>
            </p:nvSpPr>
            <p:spPr>
              <a:xfrm>
                <a:off x="5343256" y="2023557"/>
                <a:ext cx="72665" cy="118119"/>
              </a:xfrm>
              <a:custGeom>
                <a:avLst/>
                <a:gdLst>
                  <a:gd name="connsiteX0" fmla="*/ 0 w 72665"/>
                  <a:gd name="connsiteY0" fmla="*/ 11842 h 118119"/>
                  <a:gd name="connsiteX1" fmla="*/ 29126 w 72665"/>
                  <a:gd name="connsiteY1" fmla="*/ 0 h 118119"/>
                  <a:gd name="connsiteX2" fmla="*/ 29485 w 72665"/>
                  <a:gd name="connsiteY2" fmla="*/ 897 h 118119"/>
                  <a:gd name="connsiteX3" fmla="*/ 2033 w 72665"/>
                  <a:gd name="connsiteY3" fmla="*/ 12081 h 118119"/>
                  <a:gd name="connsiteX4" fmla="*/ 44257 w 72665"/>
                  <a:gd name="connsiteY4" fmla="*/ 115847 h 118119"/>
                  <a:gd name="connsiteX5" fmla="*/ 72068 w 72665"/>
                  <a:gd name="connsiteY5" fmla="*/ 104543 h 118119"/>
                  <a:gd name="connsiteX6" fmla="*/ 72666 w 72665"/>
                  <a:gd name="connsiteY6" fmla="*/ 106098 h 118119"/>
                  <a:gd name="connsiteX7" fmla="*/ 43181 w 72665"/>
                  <a:gd name="connsiteY7" fmla="*/ 118119 h 118119"/>
                  <a:gd name="connsiteX8" fmla="*/ 0 w 72665"/>
                  <a:gd name="connsiteY8" fmla="*/ 11842 h 11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665" h="118119">
                    <a:moveTo>
                      <a:pt x="0" y="11842"/>
                    </a:moveTo>
                    <a:cubicBezTo>
                      <a:pt x="10048" y="7775"/>
                      <a:pt x="19557" y="3888"/>
                      <a:pt x="29126" y="0"/>
                    </a:cubicBezTo>
                    <a:cubicBezTo>
                      <a:pt x="29245" y="299"/>
                      <a:pt x="29365" y="598"/>
                      <a:pt x="29485" y="897"/>
                    </a:cubicBezTo>
                    <a:cubicBezTo>
                      <a:pt x="20454" y="4545"/>
                      <a:pt x="11483" y="8194"/>
                      <a:pt x="2033" y="12081"/>
                    </a:cubicBezTo>
                    <a:cubicBezTo>
                      <a:pt x="16208" y="46829"/>
                      <a:pt x="30083" y="81039"/>
                      <a:pt x="44257" y="115847"/>
                    </a:cubicBezTo>
                    <a:cubicBezTo>
                      <a:pt x="53408" y="112139"/>
                      <a:pt x="62738" y="108311"/>
                      <a:pt x="72068" y="104543"/>
                    </a:cubicBezTo>
                    <a:cubicBezTo>
                      <a:pt x="72247" y="105081"/>
                      <a:pt x="72486" y="105560"/>
                      <a:pt x="72666" y="106098"/>
                    </a:cubicBezTo>
                    <a:cubicBezTo>
                      <a:pt x="62917" y="110045"/>
                      <a:pt x="53168" y="114052"/>
                      <a:pt x="43181" y="118119"/>
                    </a:cubicBezTo>
                    <a:cubicBezTo>
                      <a:pt x="29006" y="83072"/>
                      <a:pt x="14593" y="47726"/>
                      <a:pt x="0" y="1184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86" name="Vrije vorm: vorm 9385">
                <a:extLst>
                  <a:ext uri="{FF2B5EF4-FFF2-40B4-BE49-F238E27FC236}">
                    <a16:creationId xmlns:a16="http://schemas.microsoft.com/office/drawing/2014/main" id="{22125C1C-77A3-4EBA-9942-48F27D78C0CE}"/>
                  </a:ext>
                </a:extLst>
              </p:cNvPr>
              <p:cNvSpPr/>
              <p:nvPr/>
            </p:nvSpPr>
            <p:spPr>
              <a:xfrm>
                <a:off x="4943385" y="1563401"/>
                <a:ext cx="52630" cy="73144"/>
              </a:xfrm>
              <a:custGeom>
                <a:avLst/>
                <a:gdLst>
                  <a:gd name="connsiteX0" fmla="*/ 0 w 52630"/>
                  <a:gd name="connsiteY0" fmla="*/ 11244 h 73144"/>
                  <a:gd name="connsiteX1" fmla="*/ 23145 w 52630"/>
                  <a:gd name="connsiteY1" fmla="*/ 1854 h 73144"/>
                  <a:gd name="connsiteX2" fmla="*/ 23624 w 52630"/>
                  <a:gd name="connsiteY2" fmla="*/ 2871 h 73144"/>
                  <a:gd name="connsiteX3" fmla="*/ 1974 w 52630"/>
                  <a:gd name="connsiteY3" fmla="*/ 11662 h 73144"/>
                  <a:gd name="connsiteX4" fmla="*/ 25956 w 52630"/>
                  <a:gd name="connsiteY4" fmla="*/ 70573 h 73144"/>
                  <a:gd name="connsiteX5" fmla="*/ 50836 w 52630"/>
                  <a:gd name="connsiteY5" fmla="*/ 60465 h 73144"/>
                  <a:gd name="connsiteX6" fmla="*/ 26435 w 52630"/>
                  <a:gd name="connsiteY6" fmla="*/ 419 h 73144"/>
                  <a:gd name="connsiteX7" fmla="*/ 27392 w 52630"/>
                  <a:gd name="connsiteY7" fmla="*/ 0 h 73144"/>
                  <a:gd name="connsiteX8" fmla="*/ 52631 w 52630"/>
                  <a:gd name="connsiteY8" fmla="*/ 62020 h 73144"/>
                  <a:gd name="connsiteX9" fmla="*/ 25239 w 52630"/>
                  <a:gd name="connsiteY9" fmla="*/ 73144 h 73144"/>
                  <a:gd name="connsiteX10" fmla="*/ 0 w 52630"/>
                  <a:gd name="connsiteY10" fmla="*/ 11244 h 7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630" h="73144">
                    <a:moveTo>
                      <a:pt x="0" y="11244"/>
                    </a:moveTo>
                    <a:cubicBezTo>
                      <a:pt x="7835" y="8074"/>
                      <a:pt x="15490" y="4964"/>
                      <a:pt x="23145" y="1854"/>
                    </a:cubicBezTo>
                    <a:cubicBezTo>
                      <a:pt x="23325" y="2213"/>
                      <a:pt x="23445" y="2512"/>
                      <a:pt x="23624" y="2871"/>
                    </a:cubicBezTo>
                    <a:cubicBezTo>
                      <a:pt x="16507" y="5742"/>
                      <a:pt x="9390" y="8672"/>
                      <a:pt x="1974" y="11662"/>
                    </a:cubicBezTo>
                    <a:cubicBezTo>
                      <a:pt x="10167" y="31817"/>
                      <a:pt x="17942" y="50896"/>
                      <a:pt x="25956" y="70573"/>
                    </a:cubicBezTo>
                    <a:cubicBezTo>
                      <a:pt x="34090" y="67283"/>
                      <a:pt x="42224" y="63934"/>
                      <a:pt x="50836" y="60465"/>
                    </a:cubicBezTo>
                    <a:cubicBezTo>
                      <a:pt x="42702" y="40430"/>
                      <a:pt x="34569" y="20454"/>
                      <a:pt x="26435" y="419"/>
                    </a:cubicBezTo>
                    <a:cubicBezTo>
                      <a:pt x="26734" y="299"/>
                      <a:pt x="27093" y="179"/>
                      <a:pt x="27392" y="0"/>
                    </a:cubicBezTo>
                    <a:cubicBezTo>
                      <a:pt x="35765" y="20634"/>
                      <a:pt x="44198" y="41267"/>
                      <a:pt x="52631" y="62020"/>
                    </a:cubicBezTo>
                    <a:cubicBezTo>
                      <a:pt x="43839" y="65609"/>
                      <a:pt x="34688" y="69317"/>
                      <a:pt x="25239" y="73144"/>
                    </a:cubicBezTo>
                    <a:cubicBezTo>
                      <a:pt x="16806" y="52571"/>
                      <a:pt x="8553" y="32236"/>
                      <a:pt x="0" y="1124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87" name="Vrije vorm: vorm 9386">
                <a:extLst>
                  <a:ext uri="{FF2B5EF4-FFF2-40B4-BE49-F238E27FC236}">
                    <a16:creationId xmlns:a16="http://schemas.microsoft.com/office/drawing/2014/main" id="{205B1C4F-79BF-43CD-871E-41032AE17A8B}"/>
                  </a:ext>
                </a:extLst>
              </p:cNvPr>
              <p:cNvSpPr/>
              <p:nvPr/>
            </p:nvSpPr>
            <p:spPr>
              <a:xfrm>
                <a:off x="4986028" y="1939648"/>
                <a:ext cx="66146" cy="91146"/>
              </a:xfrm>
              <a:custGeom>
                <a:avLst/>
                <a:gdLst>
                  <a:gd name="connsiteX0" fmla="*/ 66027 w 66146"/>
                  <a:gd name="connsiteY0" fmla="*/ 67463 h 91146"/>
                  <a:gd name="connsiteX1" fmla="*/ 46530 w 66146"/>
                  <a:gd name="connsiteY1" fmla="*/ 79603 h 91146"/>
                  <a:gd name="connsiteX2" fmla="*/ 26375 w 66146"/>
                  <a:gd name="connsiteY2" fmla="*/ 91146 h 91146"/>
                  <a:gd name="connsiteX3" fmla="*/ 0 w 66146"/>
                  <a:gd name="connsiteY3" fmla="*/ 26375 h 91146"/>
                  <a:gd name="connsiteX4" fmla="*/ 49401 w 66146"/>
                  <a:gd name="connsiteY4" fmla="*/ 0 h 91146"/>
                  <a:gd name="connsiteX5" fmla="*/ 49939 w 66146"/>
                  <a:gd name="connsiteY5" fmla="*/ 1077 h 91146"/>
                  <a:gd name="connsiteX6" fmla="*/ 1974 w 66146"/>
                  <a:gd name="connsiteY6" fmla="*/ 26973 h 91146"/>
                  <a:gd name="connsiteX7" fmla="*/ 27153 w 66146"/>
                  <a:gd name="connsiteY7" fmla="*/ 88874 h 91146"/>
                  <a:gd name="connsiteX8" fmla="*/ 66147 w 66146"/>
                  <a:gd name="connsiteY8" fmla="*/ 67582 h 91146"/>
                  <a:gd name="connsiteX9" fmla="*/ 66027 w 66146"/>
                  <a:gd name="connsiteY9" fmla="*/ 67463 h 9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46" h="91146">
                    <a:moveTo>
                      <a:pt x="66027" y="67463"/>
                    </a:moveTo>
                    <a:cubicBezTo>
                      <a:pt x="59508" y="71529"/>
                      <a:pt x="53109" y="75716"/>
                      <a:pt x="46530" y="79603"/>
                    </a:cubicBezTo>
                    <a:cubicBezTo>
                      <a:pt x="40011" y="83491"/>
                      <a:pt x="33313" y="87139"/>
                      <a:pt x="26375" y="91146"/>
                    </a:cubicBezTo>
                    <a:cubicBezTo>
                      <a:pt x="17643" y="69675"/>
                      <a:pt x="8852" y="48145"/>
                      <a:pt x="0" y="26375"/>
                    </a:cubicBezTo>
                    <a:cubicBezTo>
                      <a:pt x="16208" y="17703"/>
                      <a:pt x="32775" y="8851"/>
                      <a:pt x="49401" y="0"/>
                    </a:cubicBezTo>
                    <a:cubicBezTo>
                      <a:pt x="49580" y="359"/>
                      <a:pt x="49760" y="718"/>
                      <a:pt x="49939" y="1077"/>
                    </a:cubicBezTo>
                    <a:cubicBezTo>
                      <a:pt x="34030" y="9689"/>
                      <a:pt x="18182" y="18241"/>
                      <a:pt x="1974" y="26973"/>
                    </a:cubicBezTo>
                    <a:cubicBezTo>
                      <a:pt x="10347" y="47607"/>
                      <a:pt x="18660" y="68001"/>
                      <a:pt x="27153" y="88874"/>
                    </a:cubicBezTo>
                    <a:cubicBezTo>
                      <a:pt x="40430" y="81637"/>
                      <a:pt x="53288" y="74639"/>
                      <a:pt x="66147" y="67582"/>
                    </a:cubicBezTo>
                    <a:lnTo>
                      <a:pt x="66027" y="67463"/>
                    </a:lnTo>
                    <a:close/>
                  </a:path>
                </a:pathLst>
              </a:custGeom>
              <a:grpFill/>
              <a:ln w="6350" cap="flat">
                <a:solidFill>
                  <a:schemeClr val="bg1">
                    <a:alpha val="80000"/>
                  </a:schemeClr>
                </a:solidFill>
                <a:prstDash val="solid"/>
                <a:miter/>
              </a:ln>
            </p:spPr>
            <p:txBody>
              <a:bodyPr rtlCol="0" anchor="ctr"/>
              <a:lstStyle/>
              <a:p>
                <a:endParaRPr lang="en-GB"/>
              </a:p>
            </p:txBody>
          </p:sp>
          <p:sp>
            <p:nvSpPr>
              <p:cNvPr id="9388" name="Vrije vorm: vorm 9387">
                <a:extLst>
                  <a:ext uri="{FF2B5EF4-FFF2-40B4-BE49-F238E27FC236}">
                    <a16:creationId xmlns:a16="http://schemas.microsoft.com/office/drawing/2014/main" id="{7221BE7F-7058-4746-BE3B-396470737A0C}"/>
                  </a:ext>
                </a:extLst>
              </p:cNvPr>
              <p:cNvSpPr/>
              <p:nvPr/>
            </p:nvSpPr>
            <p:spPr>
              <a:xfrm>
                <a:off x="4820721" y="1562145"/>
                <a:ext cx="38934" cy="58730"/>
              </a:xfrm>
              <a:custGeom>
                <a:avLst/>
                <a:gdLst>
                  <a:gd name="connsiteX0" fmla="*/ 20873 w 38934"/>
                  <a:gd name="connsiteY0" fmla="*/ 56039 h 58730"/>
                  <a:gd name="connsiteX1" fmla="*/ 35346 w 38934"/>
                  <a:gd name="connsiteY1" fmla="*/ 50118 h 58730"/>
                  <a:gd name="connsiteX2" fmla="*/ 35645 w 38934"/>
                  <a:gd name="connsiteY2" fmla="*/ 50836 h 58730"/>
                  <a:gd name="connsiteX3" fmla="*/ 20095 w 38934"/>
                  <a:gd name="connsiteY3" fmla="*/ 58731 h 58730"/>
                  <a:gd name="connsiteX4" fmla="*/ 0 w 38934"/>
                  <a:gd name="connsiteY4" fmla="*/ 9390 h 58730"/>
                  <a:gd name="connsiteX5" fmla="*/ 18301 w 38934"/>
                  <a:gd name="connsiteY5" fmla="*/ 0 h 58730"/>
                  <a:gd name="connsiteX6" fmla="*/ 18779 w 38934"/>
                  <a:gd name="connsiteY6" fmla="*/ 837 h 58730"/>
                  <a:gd name="connsiteX7" fmla="*/ 2093 w 38934"/>
                  <a:gd name="connsiteY7" fmla="*/ 10107 h 58730"/>
                  <a:gd name="connsiteX8" fmla="*/ 2811 w 38934"/>
                  <a:gd name="connsiteY8" fmla="*/ 11483 h 58730"/>
                  <a:gd name="connsiteX9" fmla="*/ 20693 w 38934"/>
                  <a:gd name="connsiteY9" fmla="*/ 4186 h 58730"/>
                  <a:gd name="connsiteX10" fmla="*/ 38934 w 38934"/>
                  <a:gd name="connsiteY10" fmla="*/ 49042 h 58730"/>
                  <a:gd name="connsiteX11" fmla="*/ 38097 w 38934"/>
                  <a:gd name="connsiteY11" fmla="*/ 49401 h 58730"/>
                  <a:gd name="connsiteX12" fmla="*/ 20633 w 38934"/>
                  <a:gd name="connsiteY12" fmla="*/ 6519 h 58730"/>
                  <a:gd name="connsiteX13" fmla="*/ 3528 w 38934"/>
                  <a:gd name="connsiteY13" fmla="*/ 13516 h 58730"/>
                  <a:gd name="connsiteX14" fmla="*/ 20873 w 38934"/>
                  <a:gd name="connsiteY14" fmla="*/ 56039 h 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934" h="58730">
                    <a:moveTo>
                      <a:pt x="20873" y="56039"/>
                    </a:moveTo>
                    <a:cubicBezTo>
                      <a:pt x="26016" y="53946"/>
                      <a:pt x="30681" y="52032"/>
                      <a:pt x="35346" y="50118"/>
                    </a:cubicBezTo>
                    <a:cubicBezTo>
                      <a:pt x="35466" y="50358"/>
                      <a:pt x="35585" y="50597"/>
                      <a:pt x="35645" y="50836"/>
                    </a:cubicBezTo>
                    <a:cubicBezTo>
                      <a:pt x="30561" y="53408"/>
                      <a:pt x="25537" y="55980"/>
                      <a:pt x="20095" y="58731"/>
                    </a:cubicBezTo>
                    <a:cubicBezTo>
                      <a:pt x="13397" y="42284"/>
                      <a:pt x="6818" y="26016"/>
                      <a:pt x="0" y="9390"/>
                    </a:cubicBezTo>
                    <a:cubicBezTo>
                      <a:pt x="5861" y="6399"/>
                      <a:pt x="12081" y="3170"/>
                      <a:pt x="18301" y="0"/>
                    </a:cubicBezTo>
                    <a:cubicBezTo>
                      <a:pt x="18480" y="299"/>
                      <a:pt x="18600" y="598"/>
                      <a:pt x="18779" y="837"/>
                    </a:cubicBezTo>
                    <a:cubicBezTo>
                      <a:pt x="13217" y="3947"/>
                      <a:pt x="7655" y="7057"/>
                      <a:pt x="2093" y="10107"/>
                    </a:cubicBezTo>
                    <a:cubicBezTo>
                      <a:pt x="2332" y="10586"/>
                      <a:pt x="2572" y="11005"/>
                      <a:pt x="2811" y="11483"/>
                    </a:cubicBezTo>
                    <a:cubicBezTo>
                      <a:pt x="8612" y="9150"/>
                      <a:pt x="14413" y="6758"/>
                      <a:pt x="20693" y="4186"/>
                    </a:cubicBezTo>
                    <a:cubicBezTo>
                      <a:pt x="26674" y="18959"/>
                      <a:pt x="32834" y="33970"/>
                      <a:pt x="38934" y="49042"/>
                    </a:cubicBezTo>
                    <a:cubicBezTo>
                      <a:pt x="38635" y="49162"/>
                      <a:pt x="38336" y="49281"/>
                      <a:pt x="38097" y="49401"/>
                    </a:cubicBezTo>
                    <a:cubicBezTo>
                      <a:pt x="32356" y="35286"/>
                      <a:pt x="26614" y="21112"/>
                      <a:pt x="20633" y="6519"/>
                    </a:cubicBezTo>
                    <a:cubicBezTo>
                      <a:pt x="14593" y="8971"/>
                      <a:pt x="9270" y="11124"/>
                      <a:pt x="3528" y="13516"/>
                    </a:cubicBezTo>
                    <a:cubicBezTo>
                      <a:pt x="9210" y="27332"/>
                      <a:pt x="14892" y="41327"/>
                      <a:pt x="20873" y="5603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89" name="Vrije vorm: vorm 9388">
                <a:extLst>
                  <a:ext uri="{FF2B5EF4-FFF2-40B4-BE49-F238E27FC236}">
                    <a16:creationId xmlns:a16="http://schemas.microsoft.com/office/drawing/2014/main" id="{0064D5D8-9901-411C-A9BC-BC3234E794C4}"/>
                  </a:ext>
                </a:extLst>
              </p:cNvPr>
              <p:cNvSpPr/>
              <p:nvPr/>
            </p:nvSpPr>
            <p:spPr>
              <a:xfrm>
                <a:off x="4805410" y="2001010"/>
                <a:ext cx="37319" cy="60160"/>
              </a:xfrm>
              <a:custGeom>
                <a:avLst/>
                <a:gdLst>
                  <a:gd name="connsiteX0" fmla="*/ 11902 w 37319"/>
                  <a:gd name="connsiteY0" fmla="*/ 658 h 60160"/>
                  <a:gd name="connsiteX1" fmla="*/ 4844 w 37319"/>
                  <a:gd name="connsiteY1" fmla="*/ 2153 h 60160"/>
                  <a:gd name="connsiteX2" fmla="*/ 7535 w 37319"/>
                  <a:gd name="connsiteY2" fmla="*/ 8732 h 60160"/>
                  <a:gd name="connsiteX3" fmla="*/ 24641 w 37319"/>
                  <a:gd name="connsiteY3" fmla="*/ 49520 h 60160"/>
                  <a:gd name="connsiteX4" fmla="*/ 37320 w 37319"/>
                  <a:gd name="connsiteY4" fmla="*/ 60106 h 60160"/>
                  <a:gd name="connsiteX5" fmla="*/ 15729 w 37319"/>
                  <a:gd name="connsiteY5" fmla="*/ 59867 h 60160"/>
                  <a:gd name="connsiteX6" fmla="*/ 15610 w 37319"/>
                  <a:gd name="connsiteY6" fmla="*/ 58432 h 60160"/>
                  <a:gd name="connsiteX7" fmla="*/ 23683 w 37319"/>
                  <a:gd name="connsiteY7" fmla="*/ 58252 h 60160"/>
                  <a:gd name="connsiteX8" fmla="*/ 0 w 37319"/>
                  <a:gd name="connsiteY8" fmla="*/ 0 h 60160"/>
                  <a:gd name="connsiteX9" fmla="*/ 11902 w 37319"/>
                  <a:gd name="connsiteY9" fmla="*/ 658 h 60160"/>
                  <a:gd name="connsiteX10" fmla="*/ 25418 w 37319"/>
                  <a:gd name="connsiteY10" fmla="*/ 58252 h 60160"/>
                  <a:gd name="connsiteX11" fmla="*/ 26195 w 37319"/>
                  <a:gd name="connsiteY11" fmla="*/ 57893 h 60160"/>
                  <a:gd name="connsiteX12" fmla="*/ 3588 w 37319"/>
                  <a:gd name="connsiteY12" fmla="*/ 2273 h 60160"/>
                  <a:gd name="connsiteX13" fmla="*/ 2811 w 37319"/>
                  <a:gd name="connsiteY13" fmla="*/ 2632 h 60160"/>
                  <a:gd name="connsiteX14" fmla="*/ 25418 w 37319"/>
                  <a:gd name="connsiteY14" fmla="*/ 5825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319" h="60160">
                    <a:moveTo>
                      <a:pt x="11902" y="658"/>
                    </a:moveTo>
                    <a:cubicBezTo>
                      <a:pt x="9808" y="1077"/>
                      <a:pt x="7715" y="1555"/>
                      <a:pt x="4844" y="2153"/>
                    </a:cubicBezTo>
                    <a:cubicBezTo>
                      <a:pt x="5801" y="4486"/>
                      <a:pt x="6639" y="6639"/>
                      <a:pt x="7535" y="8732"/>
                    </a:cubicBezTo>
                    <a:cubicBezTo>
                      <a:pt x="13277" y="22308"/>
                      <a:pt x="19377" y="35705"/>
                      <a:pt x="24641" y="49520"/>
                    </a:cubicBezTo>
                    <a:cubicBezTo>
                      <a:pt x="27212" y="56279"/>
                      <a:pt x="30203" y="60704"/>
                      <a:pt x="37320" y="60106"/>
                    </a:cubicBezTo>
                    <a:cubicBezTo>
                      <a:pt x="30143" y="60046"/>
                      <a:pt x="22966" y="59927"/>
                      <a:pt x="15729" y="59867"/>
                    </a:cubicBezTo>
                    <a:cubicBezTo>
                      <a:pt x="15669" y="59389"/>
                      <a:pt x="15669" y="58910"/>
                      <a:pt x="15610" y="58432"/>
                    </a:cubicBezTo>
                    <a:cubicBezTo>
                      <a:pt x="18241" y="58372"/>
                      <a:pt x="20813" y="58312"/>
                      <a:pt x="23683" y="58252"/>
                    </a:cubicBezTo>
                    <a:cubicBezTo>
                      <a:pt x="15789" y="38875"/>
                      <a:pt x="8134" y="19976"/>
                      <a:pt x="0" y="0"/>
                    </a:cubicBezTo>
                    <a:cubicBezTo>
                      <a:pt x="4067" y="180"/>
                      <a:pt x="8014" y="419"/>
                      <a:pt x="11902" y="658"/>
                    </a:cubicBezTo>
                    <a:close/>
                    <a:moveTo>
                      <a:pt x="25418" y="58252"/>
                    </a:moveTo>
                    <a:cubicBezTo>
                      <a:pt x="25657" y="58133"/>
                      <a:pt x="25956" y="58013"/>
                      <a:pt x="26195" y="57893"/>
                    </a:cubicBezTo>
                    <a:cubicBezTo>
                      <a:pt x="18660" y="39353"/>
                      <a:pt x="11124" y="20813"/>
                      <a:pt x="3588" y="2273"/>
                    </a:cubicBezTo>
                    <a:cubicBezTo>
                      <a:pt x="3349" y="2392"/>
                      <a:pt x="3050" y="2512"/>
                      <a:pt x="2811" y="2632"/>
                    </a:cubicBezTo>
                    <a:cubicBezTo>
                      <a:pt x="10287" y="21172"/>
                      <a:pt x="17822" y="39712"/>
                      <a:pt x="25418" y="5825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90" name="Vrije vorm: vorm 9389">
                <a:extLst>
                  <a:ext uri="{FF2B5EF4-FFF2-40B4-BE49-F238E27FC236}">
                    <a16:creationId xmlns:a16="http://schemas.microsoft.com/office/drawing/2014/main" id="{1C838E34-9EF7-4B23-AF9F-3330E2055FD9}"/>
                  </a:ext>
                </a:extLst>
              </p:cNvPr>
              <p:cNvSpPr/>
              <p:nvPr/>
            </p:nvSpPr>
            <p:spPr>
              <a:xfrm>
                <a:off x="5249598" y="1788874"/>
                <a:ext cx="68120" cy="88574"/>
              </a:xfrm>
              <a:custGeom>
                <a:avLst/>
                <a:gdLst>
                  <a:gd name="connsiteX0" fmla="*/ 0 w 68120"/>
                  <a:gd name="connsiteY0" fmla="*/ 23863 h 88574"/>
                  <a:gd name="connsiteX1" fmla="*/ 45035 w 68120"/>
                  <a:gd name="connsiteY1" fmla="*/ 0 h 88574"/>
                  <a:gd name="connsiteX2" fmla="*/ 45573 w 68120"/>
                  <a:gd name="connsiteY2" fmla="*/ 1017 h 88574"/>
                  <a:gd name="connsiteX3" fmla="*/ 2034 w 68120"/>
                  <a:gd name="connsiteY3" fmla="*/ 24341 h 88574"/>
                  <a:gd name="connsiteX4" fmla="*/ 27272 w 68120"/>
                  <a:gd name="connsiteY4" fmla="*/ 86421 h 88574"/>
                  <a:gd name="connsiteX5" fmla="*/ 67582 w 68120"/>
                  <a:gd name="connsiteY5" fmla="*/ 63994 h 88574"/>
                  <a:gd name="connsiteX6" fmla="*/ 68121 w 68120"/>
                  <a:gd name="connsiteY6" fmla="*/ 65010 h 88574"/>
                  <a:gd name="connsiteX7" fmla="*/ 26375 w 68120"/>
                  <a:gd name="connsiteY7" fmla="*/ 88574 h 88574"/>
                  <a:gd name="connsiteX8" fmla="*/ 0 w 68120"/>
                  <a:gd name="connsiteY8" fmla="*/ 23863 h 88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20" h="88574">
                    <a:moveTo>
                      <a:pt x="0" y="23863"/>
                    </a:moveTo>
                    <a:cubicBezTo>
                      <a:pt x="15251" y="15789"/>
                      <a:pt x="30143" y="7895"/>
                      <a:pt x="45035" y="0"/>
                    </a:cubicBezTo>
                    <a:cubicBezTo>
                      <a:pt x="45214" y="359"/>
                      <a:pt x="45394" y="718"/>
                      <a:pt x="45573" y="1017"/>
                    </a:cubicBezTo>
                    <a:cubicBezTo>
                      <a:pt x="31220" y="8732"/>
                      <a:pt x="16926" y="16387"/>
                      <a:pt x="2034" y="24341"/>
                    </a:cubicBezTo>
                    <a:cubicBezTo>
                      <a:pt x="10347" y="44855"/>
                      <a:pt x="18660" y="65190"/>
                      <a:pt x="27272" y="86421"/>
                    </a:cubicBezTo>
                    <a:cubicBezTo>
                      <a:pt x="40669" y="79005"/>
                      <a:pt x="54125" y="71470"/>
                      <a:pt x="67582" y="63994"/>
                    </a:cubicBezTo>
                    <a:cubicBezTo>
                      <a:pt x="67762" y="64353"/>
                      <a:pt x="67941" y="64711"/>
                      <a:pt x="68121" y="65010"/>
                    </a:cubicBezTo>
                    <a:cubicBezTo>
                      <a:pt x="54305" y="72845"/>
                      <a:pt x="40430" y="80620"/>
                      <a:pt x="26375" y="88574"/>
                    </a:cubicBezTo>
                    <a:cubicBezTo>
                      <a:pt x="17643" y="67283"/>
                      <a:pt x="8792" y="45633"/>
                      <a:pt x="0" y="2386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91" name="Vrije vorm: vorm 9390">
                <a:extLst>
                  <a:ext uri="{FF2B5EF4-FFF2-40B4-BE49-F238E27FC236}">
                    <a16:creationId xmlns:a16="http://schemas.microsoft.com/office/drawing/2014/main" id="{4DC7259F-DC6C-4389-8C29-778C97D42775}"/>
                  </a:ext>
                </a:extLst>
              </p:cNvPr>
              <p:cNvSpPr/>
              <p:nvPr/>
            </p:nvSpPr>
            <p:spPr>
              <a:xfrm>
                <a:off x="4973947" y="1639954"/>
                <a:ext cx="48862" cy="71050"/>
              </a:xfrm>
              <a:custGeom>
                <a:avLst/>
                <a:gdLst>
                  <a:gd name="connsiteX0" fmla="*/ 0 w 48862"/>
                  <a:gd name="connsiteY0" fmla="*/ 11064 h 71050"/>
                  <a:gd name="connsiteX1" fmla="*/ 27152 w 48862"/>
                  <a:gd name="connsiteY1" fmla="*/ 0 h 71050"/>
                  <a:gd name="connsiteX2" fmla="*/ 27631 w 48862"/>
                  <a:gd name="connsiteY2" fmla="*/ 1196 h 71050"/>
                  <a:gd name="connsiteX3" fmla="*/ 2093 w 48862"/>
                  <a:gd name="connsiteY3" fmla="*/ 11603 h 71050"/>
                  <a:gd name="connsiteX4" fmla="*/ 25478 w 48862"/>
                  <a:gd name="connsiteY4" fmla="*/ 69018 h 71050"/>
                  <a:gd name="connsiteX5" fmla="*/ 48563 w 48862"/>
                  <a:gd name="connsiteY5" fmla="*/ 62618 h 71050"/>
                  <a:gd name="connsiteX6" fmla="*/ 48862 w 48862"/>
                  <a:gd name="connsiteY6" fmla="*/ 63515 h 71050"/>
                  <a:gd name="connsiteX7" fmla="*/ 24461 w 48862"/>
                  <a:gd name="connsiteY7" fmla="*/ 71051 h 71050"/>
                  <a:gd name="connsiteX8" fmla="*/ 0 w 48862"/>
                  <a:gd name="connsiteY8" fmla="*/ 11064 h 7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862" h="71050">
                    <a:moveTo>
                      <a:pt x="0" y="11064"/>
                    </a:moveTo>
                    <a:cubicBezTo>
                      <a:pt x="9270" y="7296"/>
                      <a:pt x="18181" y="3648"/>
                      <a:pt x="27152" y="0"/>
                    </a:cubicBezTo>
                    <a:cubicBezTo>
                      <a:pt x="27332" y="419"/>
                      <a:pt x="27451" y="837"/>
                      <a:pt x="27631" y="1196"/>
                    </a:cubicBezTo>
                    <a:cubicBezTo>
                      <a:pt x="19198" y="4665"/>
                      <a:pt x="10705" y="8074"/>
                      <a:pt x="2093" y="11603"/>
                    </a:cubicBezTo>
                    <a:cubicBezTo>
                      <a:pt x="9868" y="30681"/>
                      <a:pt x="17523" y="49580"/>
                      <a:pt x="25478" y="69018"/>
                    </a:cubicBezTo>
                    <a:cubicBezTo>
                      <a:pt x="33313" y="66865"/>
                      <a:pt x="40968" y="64771"/>
                      <a:pt x="48563" y="62618"/>
                    </a:cubicBezTo>
                    <a:cubicBezTo>
                      <a:pt x="48683" y="62917"/>
                      <a:pt x="48803" y="63216"/>
                      <a:pt x="48862" y="63515"/>
                    </a:cubicBezTo>
                    <a:cubicBezTo>
                      <a:pt x="40789" y="65967"/>
                      <a:pt x="32714" y="68479"/>
                      <a:pt x="24461" y="71051"/>
                    </a:cubicBezTo>
                    <a:cubicBezTo>
                      <a:pt x="16267" y="50956"/>
                      <a:pt x="8014" y="30741"/>
                      <a:pt x="0" y="1106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92" name="Vrije vorm: vorm 9391">
                <a:extLst>
                  <a:ext uri="{FF2B5EF4-FFF2-40B4-BE49-F238E27FC236}">
                    <a16:creationId xmlns:a16="http://schemas.microsoft.com/office/drawing/2014/main" id="{E3614D1E-EF48-49FD-949A-19EEB033EDE6}"/>
                  </a:ext>
                </a:extLst>
              </p:cNvPr>
              <p:cNvSpPr/>
              <p:nvPr/>
            </p:nvSpPr>
            <p:spPr>
              <a:xfrm>
                <a:off x="4951040" y="2181568"/>
                <a:ext cx="52989" cy="129064"/>
              </a:xfrm>
              <a:custGeom>
                <a:avLst/>
                <a:gdLst>
                  <a:gd name="connsiteX0" fmla="*/ 598 w 52989"/>
                  <a:gd name="connsiteY0" fmla="*/ 0 h 129064"/>
                  <a:gd name="connsiteX1" fmla="*/ 52989 w 52989"/>
                  <a:gd name="connsiteY1" fmla="*/ 128765 h 129064"/>
                  <a:gd name="connsiteX2" fmla="*/ 52331 w 52989"/>
                  <a:gd name="connsiteY2" fmla="*/ 129064 h 129064"/>
                  <a:gd name="connsiteX3" fmla="*/ 0 w 52989"/>
                  <a:gd name="connsiteY3" fmla="*/ 359 h 129064"/>
                  <a:gd name="connsiteX4" fmla="*/ 598 w 52989"/>
                  <a:gd name="connsiteY4" fmla="*/ 0 h 12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89" h="129064">
                    <a:moveTo>
                      <a:pt x="598" y="0"/>
                    </a:moveTo>
                    <a:cubicBezTo>
                      <a:pt x="18062" y="42942"/>
                      <a:pt x="35526" y="85823"/>
                      <a:pt x="52989" y="128765"/>
                    </a:cubicBezTo>
                    <a:cubicBezTo>
                      <a:pt x="52750" y="128885"/>
                      <a:pt x="52511" y="128944"/>
                      <a:pt x="52331" y="129064"/>
                    </a:cubicBezTo>
                    <a:cubicBezTo>
                      <a:pt x="34868" y="86182"/>
                      <a:pt x="17404" y="43241"/>
                      <a:pt x="0" y="359"/>
                    </a:cubicBezTo>
                    <a:cubicBezTo>
                      <a:pt x="120" y="239"/>
                      <a:pt x="359" y="120"/>
                      <a:pt x="59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93" name="Vrije vorm: vorm 9392">
                <a:extLst>
                  <a:ext uri="{FF2B5EF4-FFF2-40B4-BE49-F238E27FC236}">
                    <a16:creationId xmlns:a16="http://schemas.microsoft.com/office/drawing/2014/main" id="{017323B8-7A1B-4E44-B1AE-68C1CDB79293}"/>
                  </a:ext>
                </a:extLst>
              </p:cNvPr>
              <p:cNvSpPr/>
              <p:nvPr/>
            </p:nvSpPr>
            <p:spPr>
              <a:xfrm>
                <a:off x="4821618" y="1271123"/>
                <a:ext cx="44676" cy="69017"/>
              </a:xfrm>
              <a:custGeom>
                <a:avLst/>
                <a:gdLst>
                  <a:gd name="connsiteX0" fmla="*/ 44437 w 44676"/>
                  <a:gd name="connsiteY0" fmla="*/ 52212 h 69017"/>
                  <a:gd name="connsiteX1" fmla="*/ 34269 w 44676"/>
                  <a:gd name="connsiteY1" fmla="*/ 61661 h 69017"/>
                  <a:gd name="connsiteX2" fmla="*/ 25298 w 44676"/>
                  <a:gd name="connsiteY2" fmla="*/ 69018 h 69017"/>
                  <a:gd name="connsiteX3" fmla="*/ 0 w 44676"/>
                  <a:gd name="connsiteY3" fmla="*/ 6758 h 69017"/>
                  <a:gd name="connsiteX4" fmla="*/ 8194 w 44676"/>
                  <a:gd name="connsiteY4" fmla="*/ 0 h 69017"/>
                  <a:gd name="connsiteX5" fmla="*/ 8253 w 44676"/>
                  <a:gd name="connsiteY5" fmla="*/ 1256 h 69017"/>
                  <a:gd name="connsiteX6" fmla="*/ 5682 w 44676"/>
                  <a:gd name="connsiteY6" fmla="*/ 17224 h 69017"/>
                  <a:gd name="connsiteX7" fmla="*/ 25418 w 44676"/>
                  <a:gd name="connsiteY7" fmla="*/ 65728 h 69017"/>
                  <a:gd name="connsiteX8" fmla="*/ 27272 w 44676"/>
                  <a:gd name="connsiteY8" fmla="*/ 65609 h 69017"/>
                  <a:gd name="connsiteX9" fmla="*/ 26734 w 44676"/>
                  <a:gd name="connsiteY9" fmla="*/ 59867 h 69017"/>
                  <a:gd name="connsiteX10" fmla="*/ 9629 w 44676"/>
                  <a:gd name="connsiteY10" fmla="*/ 17583 h 69017"/>
                  <a:gd name="connsiteX11" fmla="*/ 30801 w 44676"/>
                  <a:gd name="connsiteY11" fmla="*/ 12081 h 69017"/>
                  <a:gd name="connsiteX12" fmla="*/ 31100 w 44676"/>
                  <a:gd name="connsiteY12" fmla="*/ 13098 h 69017"/>
                  <a:gd name="connsiteX13" fmla="*/ 11842 w 44676"/>
                  <a:gd name="connsiteY13" fmla="*/ 18660 h 69017"/>
                  <a:gd name="connsiteX14" fmla="*/ 29904 w 44676"/>
                  <a:gd name="connsiteY14" fmla="*/ 63037 h 69017"/>
                  <a:gd name="connsiteX15" fmla="*/ 44676 w 44676"/>
                  <a:gd name="connsiteY15" fmla="*/ 52391 h 69017"/>
                  <a:gd name="connsiteX16" fmla="*/ 44437 w 44676"/>
                  <a:gd name="connsiteY16" fmla="*/ 52212 h 6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676" h="69017">
                    <a:moveTo>
                      <a:pt x="44437" y="52212"/>
                    </a:moveTo>
                    <a:cubicBezTo>
                      <a:pt x="41028" y="55381"/>
                      <a:pt x="37738" y="58611"/>
                      <a:pt x="34269" y="61661"/>
                    </a:cubicBezTo>
                    <a:cubicBezTo>
                      <a:pt x="31399" y="64173"/>
                      <a:pt x="28408" y="66446"/>
                      <a:pt x="25298" y="69018"/>
                    </a:cubicBezTo>
                    <a:cubicBezTo>
                      <a:pt x="16866" y="48384"/>
                      <a:pt x="8493" y="27751"/>
                      <a:pt x="0" y="6758"/>
                    </a:cubicBezTo>
                    <a:cubicBezTo>
                      <a:pt x="2512" y="4725"/>
                      <a:pt x="5203" y="2452"/>
                      <a:pt x="8194" y="0"/>
                    </a:cubicBezTo>
                    <a:cubicBezTo>
                      <a:pt x="8253" y="777"/>
                      <a:pt x="8373" y="1136"/>
                      <a:pt x="8253" y="1256"/>
                    </a:cubicBezTo>
                    <a:cubicBezTo>
                      <a:pt x="1854" y="7835"/>
                      <a:pt x="1854" y="7835"/>
                      <a:pt x="5682" y="17224"/>
                    </a:cubicBezTo>
                    <a:cubicBezTo>
                      <a:pt x="12260" y="33372"/>
                      <a:pt x="18839" y="49580"/>
                      <a:pt x="25418" y="65728"/>
                    </a:cubicBezTo>
                    <a:cubicBezTo>
                      <a:pt x="26016" y="65668"/>
                      <a:pt x="26674" y="65668"/>
                      <a:pt x="27272" y="65609"/>
                    </a:cubicBezTo>
                    <a:cubicBezTo>
                      <a:pt x="27093" y="63695"/>
                      <a:pt x="27392" y="61601"/>
                      <a:pt x="26734" y="59867"/>
                    </a:cubicBezTo>
                    <a:cubicBezTo>
                      <a:pt x="21112" y="45753"/>
                      <a:pt x="15371" y="31698"/>
                      <a:pt x="9629" y="17583"/>
                    </a:cubicBezTo>
                    <a:cubicBezTo>
                      <a:pt x="16686" y="15789"/>
                      <a:pt x="23744" y="13935"/>
                      <a:pt x="30801" y="12081"/>
                    </a:cubicBezTo>
                    <a:cubicBezTo>
                      <a:pt x="30920" y="12440"/>
                      <a:pt x="30980" y="12739"/>
                      <a:pt x="31100" y="13098"/>
                    </a:cubicBezTo>
                    <a:cubicBezTo>
                      <a:pt x="24880" y="14892"/>
                      <a:pt x="18600" y="16686"/>
                      <a:pt x="11842" y="18660"/>
                    </a:cubicBezTo>
                    <a:cubicBezTo>
                      <a:pt x="17882" y="33432"/>
                      <a:pt x="23744" y="47906"/>
                      <a:pt x="29904" y="63037"/>
                    </a:cubicBezTo>
                    <a:cubicBezTo>
                      <a:pt x="35047" y="59329"/>
                      <a:pt x="39891" y="55860"/>
                      <a:pt x="44676" y="52391"/>
                    </a:cubicBezTo>
                    <a:lnTo>
                      <a:pt x="44437" y="52212"/>
                    </a:lnTo>
                    <a:close/>
                  </a:path>
                </a:pathLst>
              </a:custGeom>
              <a:grpFill/>
              <a:ln w="6350" cap="flat">
                <a:solidFill>
                  <a:schemeClr val="bg1">
                    <a:alpha val="80000"/>
                  </a:schemeClr>
                </a:solidFill>
                <a:prstDash val="solid"/>
                <a:miter/>
              </a:ln>
            </p:spPr>
            <p:txBody>
              <a:bodyPr rtlCol="0" anchor="ctr"/>
              <a:lstStyle/>
              <a:p>
                <a:endParaRPr lang="en-GB"/>
              </a:p>
            </p:txBody>
          </p:sp>
          <p:sp>
            <p:nvSpPr>
              <p:cNvPr id="9394" name="Vrije vorm: vorm 9393">
                <a:extLst>
                  <a:ext uri="{FF2B5EF4-FFF2-40B4-BE49-F238E27FC236}">
                    <a16:creationId xmlns:a16="http://schemas.microsoft.com/office/drawing/2014/main" id="{D516F8C5-54C6-4811-8136-4B12F46BBBB8}"/>
                  </a:ext>
                </a:extLst>
              </p:cNvPr>
              <p:cNvSpPr/>
              <p:nvPr/>
            </p:nvSpPr>
            <p:spPr>
              <a:xfrm>
                <a:off x="4846617" y="1625301"/>
                <a:ext cx="40130" cy="57833"/>
              </a:xfrm>
              <a:custGeom>
                <a:avLst/>
                <a:gdLst>
                  <a:gd name="connsiteX0" fmla="*/ 0 w 40130"/>
                  <a:gd name="connsiteY0" fmla="*/ 8074 h 57833"/>
                  <a:gd name="connsiteX1" fmla="*/ 19916 w 40130"/>
                  <a:gd name="connsiteY1" fmla="*/ 0 h 57833"/>
                  <a:gd name="connsiteX2" fmla="*/ 40131 w 40130"/>
                  <a:gd name="connsiteY2" fmla="*/ 49760 h 57833"/>
                  <a:gd name="connsiteX3" fmla="*/ 20215 w 40130"/>
                  <a:gd name="connsiteY3" fmla="*/ 57834 h 57833"/>
                  <a:gd name="connsiteX4" fmla="*/ 0 w 40130"/>
                  <a:gd name="connsiteY4" fmla="*/ 8074 h 57833"/>
                  <a:gd name="connsiteX5" fmla="*/ 21172 w 40130"/>
                  <a:gd name="connsiteY5" fmla="*/ 55322 h 57833"/>
                  <a:gd name="connsiteX6" fmla="*/ 37978 w 40130"/>
                  <a:gd name="connsiteY6" fmla="*/ 48504 h 57833"/>
                  <a:gd name="connsiteX7" fmla="*/ 19437 w 40130"/>
                  <a:gd name="connsiteY7" fmla="*/ 2871 h 57833"/>
                  <a:gd name="connsiteX8" fmla="*/ 2632 w 40130"/>
                  <a:gd name="connsiteY8" fmla="*/ 9689 h 57833"/>
                  <a:gd name="connsiteX9" fmla="*/ 21172 w 40130"/>
                  <a:gd name="connsiteY9" fmla="*/ 55322 h 5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30" h="57833">
                    <a:moveTo>
                      <a:pt x="0" y="8074"/>
                    </a:moveTo>
                    <a:cubicBezTo>
                      <a:pt x="6519" y="5442"/>
                      <a:pt x="13038" y="2751"/>
                      <a:pt x="19916" y="0"/>
                    </a:cubicBezTo>
                    <a:cubicBezTo>
                      <a:pt x="26554" y="16327"/>
                      <a:pt x="33313" y="32954"/>
                      <a:pt x="40131" y="49760"/>
                    </a:cubicBezTo>
                    <a:cubicBezTo>
                      <a:pt x="33791" y="52331"/>
                      <a:pt x="27153" y="55023"/>
                      <a:pt x="20215" y="57834"/>
                    </a:cubicBezTo>
                    <a:cubicBezTo>
                      <a:pt x="13457" y="41147"/>
                      <a:pt x="6818" y="24940"/>
                      <a:pt x="0" y="8074"/>
                    </a:cubicBezTo>
                    <a:close/>
                    <a:moveTo>
                      <a:pt x="21172" y="55322"/>
                    </a:moveTo>
                    <a:cubicBezTo>
                      <a:pt x="26973" y="52929"/>
                      <a:pt x="32416" y="50716"/>
                      <a:pt x="37978" y="48504"/>
                    </a:cubicBezTo>
                    <a:cubicBezTo>
                      <a:pt x="31698" y="33073"/>
                      <a:pt x="25538" y="17942"/>
                      <a:pt x="19437" y="2871"/>
                    </a:cubicBezTo>
                    <a:cubicBezTo>
                      <a:pt x="13696" y="5203"/>
                      <a:pt x="8194" y="7416"/>
                      <a:pt x="2632" y="9689"/>
                    </a:cubicBezTo>
                    <a:cubicBezTo>
                      <a:pt x="8852" y="25059"/>
                      <a:pt x="14952" y="39951"/>
                      <a:pt x="21172" y="5532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95" name="Vrije vorm: vorm 9394">
                <a:extLst>
                  <a:ext uri="{FF2B5EF4-FFF2-40B4-BE49-F238E27FC236}">
                    <a16:creationId xmlns:a16="http://schemas.microsoft.com/office/drawing/2014/main" id="{5EB469AA-1F13-4B71-AE76-5EEB8708FECD}"/>
                  </a:ext>
                </a:extLst>
              </p:cNvPr>
              <p:cNvSpPr/>
              <p:nvPr/>
            </p:nvSpPr>
            <p:spPr>
              <a:xfrm>
                <a:off x="4831127" y="2069669"/>
                <a:ext cx="34568" cy="59687"/>
              </a:xfrm>
              <a:custGeom>
                <a:avLst/>
                <a:gdLst>
                  <a:gd name="connsiteX0" fmla="*/ 24880 w 34568"/>
                  <a:gd name="connsiteY0" fmla="*/ 58312 h 59687"/>
                  <a:gd name="connsiteX1" fmla="*/ 25837 w 34568"/>
                  <a:gd name="connsiteY1" fmla="*/ 54365 h 59687"/>
                  <a:gd name="connsiteX2" fmla="*/ 5024 w 34568"/>
                  <a:gd name="connsiteY2" fmla="*/ 3947 h 59687"/>
                  <a:gd name="connsiteX3" fmla="*/ 0 w 34568"/>
                  <a:gd name="connsiteY3" fmla="*/ 0 h 59687"/>
                  <a:gd name="connsiteX4" fmla="*/ 19198 w 34568"/>
                  <a:gd name="connsiteY4" fmla="*/ 1495 h 59687"/>
                  <a:gd name="connsiteX5" fmla="*/ 9031 w 34568"/>
                  <a:gd name="connsiteY5" fmla="*/ 1974 h 59687"/>
                  <a:gd name="connsiteX6" fmla="*/ 9988 w 34568"/>
                  <a:gd name="connsiteY6" fmla="*/ 5562 h 59687"/>
                  <a:gd name="connsiteX7" fmla="*/ 30203 w 34568"/>
                  <a:gd name="connsiteY7" fmla="*/ 53707 h 59687"/>
                  <a:gd name="connsiteX8" fmla="*/ 34568 w 34568"/>
                  <a:gd name="connsiteY8" fmla="*/ 59688 h 59687"/>
                  <a:gd name="connsiteX9" fmla="*/ 24880 w 34568"/>
                  <a:gd name="connsiteY9" fmla="*/ 58312 h 59687"/>
                  <a:gd name="connsiteX10" fmla="*/ 7177 w 34568"/>
                  <a:gd name="connsiteY10" fmla="*/ 2033 h 59687"/>
                  <a:gd name="connsiteX11" fmla="*/ 6519 w 34568"/>
                  <a:gd name="connsiteY11" fmla="*/ 2332 h 59687"/>
                  <a:gd name="connsiteX12" fmla="*/ 29126 w 34568"/>
                  <a:gd name="connsiteY12" fmla="*/ 57893 h 59687"/>
                  <a:gd name="connsiteX13" fmla="*/ 29784 w 34568"/>
                  <a:gd name="connsiteY13" fmla="*/ 57594 h 59687"/>
                  <a:gd name="connsiteX14" fmla="*/ 7177 w 34568"/>
                  <a:gd name="connsiteY14" fmla="*/ 2033 h 5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68" h="59687">
                    <a:moveTo>
                      <a:pt x="24880" y="58312"/>
                    </a:moveTo>
                    <a:cubicBezTo>
                      <a:pt x="25238" y="56996"/>
                      <a:pt x="26255" y="55381"/>
                      <a:pt x="25837" y="54365"/>
                    </a:cubicBezTo>
                    <a:cubicBezTo>
                      <a:pt x="19019" y="37499"/>
                      <a:pt x="12141" y="20693"/>
                      <a:pt x="5024" y="3947"/>
                    </a:cubicBezTo>
                    <a:cubicBezTo>
                      <a:pt x="4306" y="2213"/>
                      <a:pt x="1734" y="1316"/>
                      <a:pt x="0" y="0"/>
                    </a:cubicBezTo>
                    <a:cubicBezTo>
                      <a:pt x="6399" y="478"/>
                      <a:pt x="12798" y="1017"/>
                      <a:pt x="19198" y="1495"/>
                    </a:cubicBezTo>
                    <a:cubicBezTo>
                      <a:pt x="15968" y="1675"/>
                      <a:pt x="12739" y="1794"/>
                      <a:pt x="9031" y="1974"/>
                    </a:cubicBezTo>
                    <a:cubicBezTo>
                      <a:pt x="9330" y="3110"/>
                      <a:pt x="9509" y="4426"/>
                      <a:pt x="9988" y="5562"/>
                    </a:cubicBezTo>
                    <a:cubicBezTo>
                      <a:pt x="16686" y="21650"/>
                      <a:pt x="23384" y="37679"/>
                      <a:pt x="30203" y="53707"/>
                    </a:cubicBezTo>
                    <a:cubicBezTo>
                      <a:pt x="31159" y="55920"/>
                      <a:pt x="33073" y="57714"/>
                      <a:pt x="34568" y="59688"/>
                    </a:cubicBezTo>
                    <a:cubicBezTo>
                      <a:pt x="31399" y="59269"/>
                      <a:pt x="28169" y="58791"/>
                      <a:pt x="24880" y="58312"/>
                    </a:cubicBezTo>
                    <a:close/>
                    <a:moveTo>
                      <a:pt x="7177" y="2033"/>
                    </a:moveTo>
                    <a:cubicBezTo>
                      <a:pt x="6937" y="2153"/>
                      <a:pt x="6698" y="2213"/>
                      <a:pt x="6519" y="2332"/>
                    </a:cubicBezTo>
                    <a:cubicBezTo>
                      <a:pt x="14055" y="20873"/>
                      <a:pt x="21590" y="39413"/>
                      <a:pt x="29126" y="57893"/>
                    </a:cubicBezTo>
                    <a:cubicBezTo>
                      <a:pt x="29365" y="57774"/>
                      <a:pt x="29605" y="57714"/>
                      <a:pt x="29784" y="57594"/>
                    </a:cubicBezTo>
                    <a:cubicBezTo>
                      <a:pt x="22248" y="39054"/>
                      <a:pt x="14712" y="20574"/>
                      <a:pt x="7177" y="203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96" name="Vrije vorm: vorm 9395">
                <a:extLst>
                  <a:ext uri="{FF2B5EF4-FFF2-40B4-BE49-F238E27FC236}">
                    <a16:creationId xmlns:a16="http://schemas.microsoft.com/office/drawing/2014/main" id="{BADB01AE-D8BF-4D50-A812-D9F874BF6B59}"/>
                  </a:ext>
                </a:extLst>
              </p:cNvPr>
              <p:cNvSpPr/>
              <p:nvPr/>
            </p:nvSpPr>
            <p:spPr>
              <a:xfrm>
                <a:off x="4914140" y="1489957"/>
                <a:ext cx="48025" cy="75177"/>
              </a:xfrm>
              <a:custGeom>
                <a:avLst/>
                <a:gdLst>
                  <a:gd name="connsiteX0" fmla="*/ 48025 w 48025"/>
                  <a:gd name="connsiteY0" fmla="*/ 63934 h 75177"/>
                  <a:gd name="connsiteX1" fmla="*/ 24999 w 48025"/>
                  <a:gd name="connsiteY1" fmla="*/ 75178 h 75177"/>
                  <a:gd name="connsiteX2" fmla="*/ 0 w 48025"/>
                  <a:gd name="connsiteY2" fmla="*/ 13756 h 75177"/>
                  <a:gd name="connsiteX3" fmla="*/ 25537 w 48025"/>
                  <a:gd name="connsiteY3" fmla="*/ 0 h 75177"/>
                  <a:gd name="connsiteX4" fmla="*/ 26016 w 48025"/>
                  <a:gd name="connsiteY4" fmla="*/ 897 h 75177"/>
                  <a:gd name="connsiteX5" fmla="*/ 2213 w 48025"/>
                  <a:gd name="connsiteY5" fmla="*/ 14354 h 75177"/>
                  <a:gd name="connsiteX6" fmla="*/ 25837 w 48025"/>
                  <a:gd name="connsiteY6" fmla="*/ 72426 h 75177"/>
                  <a:gd name="connsiteX7" fmla="*/ 47726 w 48025"/>
                  <a:gd name="connsiteY7" fmla="*/ 63515 h 75177"/>
                  <a:gd name="connsiteX8" fmla="*/ 48025 w 48025"/>
                  <a:gd name="connsiteY8" fmla="*/ 63934 h 75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25" h="75177">
                    <a:moveTo>
                      <a:pt x="48025" y="63934"/>
                    </a:moveTo>
                    <a:cubicBezTo>
                      <a:pt x="40429" y="67642"/>
                      <a:pt x="32894" y="71350"/>
                      <a:pt x="24999" y="75178"/>
                    </a:cubicBezTo>
                    <a:cubicBezTo>
                      <a:pt x="16686" y="54783"/>
                      <a:pt x="8433" y="34449"/>
                      <a:pt x="0" y="13756"/>
                    </a:cubicBezTo>
                    <a:cubicBezTo>
                      <a:pt x="8433" y="9210"/>
                      <a:pt x="16985" y="4605"/>
                      <a:pt x="25537" y="0"/>
                    </a:cubicBezTo>
                    <a:cubicBezTo>
                      <a:pt x="25717" y="299"/>
                      <a:pt x="25896" y="598"/>
                      <a:pt x="26016" y="897"/>
                    </a:cubicBezTo>
                    <a:cubicBezTo>
                      <a:pt x="18121" y="5383"/>
                      <a:pt x="10167" y="9868"/>
                      <a:pt x="2213" y="14354"/>
                    </a:cubicBezTo>
                    <a:cubicBezTo>
                      <a:pt x="10227" y="34090"/>
                      <a:pt x="18062" y="53348"/>
                      <a:pt x="25837" y="72426"/>
                    </a:cubicBezTo>
                    <a:cubicBezTo>
                      <a:pt x="33432" y="69376"/>
                      <a:pt x="40549" y="66446"/>
                      <a:pt x="47726" y="63515"/>
                    </a:cubicBezTo>
                    <a:cubicBezTo>
                      <a:pt x="47905" y="63695"/>
                      <a:pt x="47965" y="63814"/>
                      <a:pt x="48025" y="6393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97" name="Vrije vorm: vorm 9396">
                <a:extLst>
                  <a:ext uri="{FF2B5EF4-FFF2-40B4-BE49-F238E27FC236}">
                    <a16:creationId xmlns:a16="http://schemas.microsoft.com/office/drawing/2014/main" id="{BA13AD7E-C963-4C78-9306-38DD613D97E3}"/>
                  </a:ext>
                </a:extLst>
              </p:cNvPr>
              <p:cNvSpPr/>
              <p:nvPr/>
            </p:nvSpPr>
            <p:spPr>
              <a:xfrm>
                <a:off x="4872215" y="1687680"/>
                <a:ext cx="40429" cy="56637"/>
              </a:xfrm>
              <a:custGeom>
                <a:avLst/>
                <a:gdLst>
                  <a:gd name="connsiteX0" fmla="*/ 40430 w 40429"/>
                  <a:gd name="connsiteY0" fmla="*/ 50657 h 56637"/>
                  <a:gd name="connsiteX1" fmla="*/ 19736 w 40429"/>
                  <a:gd name="connsiteY1" fmla="*/ 56637 h 56637"/>
                  <a:gd name="connsiteX2" fmla="*/ 0 w 40429"/>
                  <a:gd name="connsiteY2" fmla="*/ 8074 h 56637"/>
                  <a:gd name="connsiteX3" fmla="*/ 19796 w 40429"/>
                  <a:gd name="connsiteY3" fmla="*/ 0 h 56637"/>
                  <a:gd name="connsiteX4" fmla="*/ 40430 w 40429"/>
                  <a:gd name="connsiteY4" fmla="*/ 50657 h 56637"/>
                  <a:gd name="connsiteX5" fmla="*/ 17942 w 40429"/>
                  <a:gd name="connsiteY5" fmla="*/ 47846 h 56637"/>
                  <a:gd name="connsiteX6" fmla="*/ 35047 w 40429"/>
                  <a:gd name="connsiteY6" fmla="*/ 40908 h 56637"/>
                  <a:gd name="connsiteX7" fmla="*/ 20634 w 40429"/>
                  <a:gd name="connsiteY7" fmla="*/ 5921 h 56637"/>
                  <a:gd name="connsiteX8" fmla="*/ 16507 w 40429"/>
                  <a:gd name="connsiteY8" fmla="*/ 3648 h 56637"/>
                  <a:gd name="connsiteX9" fmla="*/ 2213 w 40429"/>
                  <a:gd name="connsiteY9" fmla="*/ 9270 h 56637"/>
                  <a:gd name="connsiteX10" fmla="*/ 17942 w 40429"/>
                  <a:gd name="connsiteY10" fmla="*/ 47846 h 56637"/>
                  <a:gd name="connsiteX11" fmla="*/ 19377 w 40429"/>
                  <a:gd name="connsiteY11" fmla="*/ 49461 h 56637"/>
                  <a:gd name="connsiteX12" fmla="*/ 18600 w 40429"/>
                  <a:gd name="connsiteY12" fmla="*/ 51255 h 56637"/>
                  <a:gd name="connsiteX13" fmla="*/ 22787 w 40429"/>
                  <a:gd name="connsiteY13" fmla="*/ 54185 h 56637"/>
                  <a:gd name="connsiteX14" fmla="*/ 38456 w 40429"/>
                  <a:gd name="connsiteY14" fmla="*/ 49640 h 56637"/>
                  <a:gd name="connsiteX15" fmla="*/ 35705 w 40429"/>
                  <a:gd name="connsiteY15" fmla="*/ 42822 h 56637"/>
                  <a:gd name="connsiteX16" fmla="*/ 19377 w 40429"/>
                  <a:gd name="connsiteY16" fmla="*/ 49461 h 5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429" h="56637">
                    <a:moveTo>
                      <a:pt x="40430" y="50657"/>
                    </a:moveTo>
                    <a:cubicBezTo>
                      <a:pt x="33552" y="52630"/>
                      <a:pt x="26794" y="54604"/>
                      <a:pt x="19736" y="56637"/>
                    </a:cubicBezTo>
                    <a:cubicBezTo>
                      <a:pt x="13217" y="40609"/>
                      <a:pt x="6639" y="24461"/>
                      <a:pt x="0" y="8074"/>
                    </a:cubicBezTo>
                    <a:cubicBezTo>
                      <a:pt x="6340" y="5502"/>
                      <a:pt x="12918" y="2811"/>
                      <a:pt x="19796" y="0"/>
                    </a:cubicBezTo>
                    <a:cubicBezTo>
                      <a:pt x="26794" y="17165"/>
                      <a:pt x="33552" y="33791"/>
                      <a:pt x="40430" y="50657"/>
                    </a:cubicBezTo>
                    <a:close/>
                    <a:moveTo>
                      <a:pt x="17942" y="47846"/>
                    </a:moveTo>
                    <a:cubicBezTo>
                      <a:pt x="23923" y="45394"/>
                      <a:pt x="29365" y="43181"/>
                      <a:pt x="35047" y="40908"/>
                    </a:cubicBezTo>
                    <a:cubicBezTo>
                      <a:pt x="30083" y="28767"/>
                      <a:pt x="25537" y="17284"/>
                      <a:pt x="20634" y="5921"/>
                    </a:cubicBezTo>
                    <a:cubicBezTo>
                      <a:pt x="20095" y="4725"/>
                      <a:pt x="17583" y="3289"/>
                      <a:pt x="16507" y="3648"/>
                    </a:cubicBezTo>
                    <a:cubicBezTo>
                      <a:pt x="11722" y="5143"/>
                      <a:pt x="7117" y="7296"/>
                      <a:pt x="2213" y="9270"/>
                    </a:cubicBezTo>
                    <a:cubicBezTo>
                      <a:pt x="7476" y="22189"/>
                      <a:pt x="12679" y="34927"/>
                      <a:pt x="17942" y="47846"/>
                    </a:cubicBezTo>
                    <a:close/>
                    <a:moveTo>
                      <a:pt x="19377" y="49461"/>
                    </a:moveTo>
                    <a:cubicBezTo>
                      <a:pt x="19138" y="50059"/>
                      <a:pt x="18839" y="50657"/>
                      <a:pt x="18600" y="51255"/>
                    </a:cubicBezTo>
                    <a:cubicBezTo>
                      <a:pt x="20035" y="52272"/>
                      <a:pt x="21710" y="54425"/>
                      <a:pt x="22787" y="54185"/>
                    </a:cubicBezTo>
                    <a:cubicBezTo>
                      <a:pt x="28050" y="53049"/>
                      <a:pt x="33133" y="51255"/>
                      <a:pt x="38456" y="49640"/>
                    </a:cubicBezTo>
                    <a:cubicBezTo>
                      <a:pt x="37380" y="47008"/>
                      <a:pt x="36602" y="45035"/>
                      <a:pt x="35705" y="42822"/>
                    </a:cubicBezTo>
                    <a:cubicBezTo>
                      <a:pt x="30023" y="45154"/>
                      <a:pt x="24700" y="47308"/>
                      <a:pt x="19377" y="4946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98" name="Vrije vorm: vorm 9397">
                <a:extLst>
                  <a:ext uri="{FF2B5EF4-FFF2-40B4-BE49-F238E27FC236}">
                    <a16:creationId xmlns:a16="http://schemas.microsoft.com/office/drawing/2014/main" id="{6BB5A607-6754-45D1-8A5F-7647D06ADE97}"/>
                  </a:ext>
                </a:extLst>
              </p:cNvPr>
              <p:cNvSpPr/>
              <p:nvPr/>
            </p:nvSpPr>
            <p:spPr>
              <a:xfrm>
                <a:off x="5400772" y="2009443"/>
                <a:ext cx="30401" cy="74699"/>
              </a:xfrm>
              <a:custGeom>
                <a:avLst/>
                <a:gdLst>
                  <a:gd name="connsiteX0" fmla="*/ 19 w 30401"/>
                  <a:gd name="connsiteY0" fmla="*/ 0 h 74699"/>
                  <a:gd name="connsiteX1" fmla="*/ 30401 w 30401"/>
                  <a:gd name="connsiteY1" fmla="*/ 74699 h 74699"/>
                  <a:gd name="connsiteX2" fmla="*/ 19 w 30401"/>
                  <a:gd name="connsiteY2" fmla="*/ 0 h 74699"/>
                </a:gdLst>
                <a:ahLst/>
                <a:cxnLst>
                  <a:cxn ang="0">
                    <a:pos x="connsiteX0" y="connsiteY0"/>
                  </a:cxn>
                  <a:cxn ang="0">
                    <a:pos x="connsiteX1" y="connsiteY1"/>
                  </a:cxn>
                  <a:cxn ang="0">
                    <a:pos x="connsiteX2" y="connsiteY2"/>
                  </a:cxn>
                </a:cxnLst>
                <a:rect l="l" t="t" r="r" b="b"/>
                <a:pathLst>
                  <a:path w="30401" h="74699">
                    <a:moveTo>
                      <a:pt x="19" y="0"/>
                    </a:moveTo>
                    <a:cubicBezTo>
                      <a:pt x="10127" y="24760"/>
                      <a:pt x="20114" y="49341"/>
                      <a:pt x="30401" y="74699"/>
                    </a:cubicBezTo>
                    <a:cubicBezTo>
                      <a:pt x="25856" y="71829"/>
                      <a:pt x="-818" y="4785"/>
                      <a:pt x="1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399" name="Vrije vorm: vorm 9398">
                <a:extLst>
                  <a:ext uri="{FF2B5EF4-FFF2-40B4-BE49-F238E27FC236}">
                    <a16:creationId xmlns:a16="http://schemas.microsoft.com/office/drawing/2014/main" id="{88E68263-C91D-4830-919D-CCDC6901C1A5}"/>
                  </a:ext>
                </a:extLst>
              </p:cNvPr>
              <p:cNvSpPr/>
              <p:nvPr/>
            </p:nvSpPr>
            <p:spPr>
              <a:xfrm>
                <a:off x="4743330" y="2255789"/>
                <a:ext cx="55620" cy="129841"/>
              </a:xfrm>
              <a:custGeom>
                <a:avLst/>
                <a:gdLst>
                  <a:gd name="connsiteX0" fmla="*/ 957 w 55620"/>
                  <a:gd name="connsiteY0" fmla="*/ 0 h 129841"/>
                  <a:gd name="connsiteX1" fmla="*/ 55621 w 55620"/>
                  <a:gd name="connsiteY1" fmla="*/ 129363 h 129841"/>
                  <a:gd name="connsiteX2" fmla="*/ 54484 w 55620"/>
                  <a:gd name="connsiteY2" fmla="*/ 129841 h 129841"/>
                  <a:gd name="connsiteX3" fmla="*/ 0 w 55620"/>
                  <a:gd name="connsiteY3" fmla="*/ 658 h 129841"/>
                  <a:gd name="connsiteX4" fmla="*/ 957 w 55620"/>
                  <a:gd name="connsiteY4" fmla="*/ 0 h 129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0" h="129841">
                    <a:moveTo>
                      <a:pt x="957" y="0"/>
                    </a:moveTo>
                    <a:cubicBezTo>
                      <a:pt x="19198" y="43121"/>
                      <a:pt x="37380" y="86242"/>
                      <a:pt x="55621" y="129363"/>
                    </a:cubicBezTo>
                    <a:cubicBezTo>
                      <a:pt x="55262" y="129542"/>
                      <a:pt x="54903" y="129662"/>
                      <a:pt x="54484" y="129841"/>
                    </a:cubicBezTo>
                    <a:cubicBezTo>
                      <a:pt x="36303" y="86780"/>
                      <a:pt x="18121" y="43719"/>
                      <a:pt x="0" y="658"/>
                    </a:cubicBezTo>
                    <a:cubicBezTo>
                      <a:pt x="359" y="419"/>
                      <a:pt x="658" y="239"/>
                      <a:pt x="957"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00" name="Vrije vorm: vorm 9399">
                <a:extLst>
                  <a:ext uri="{FF2B5EF4-FFF2-40B4-BE49-F238E27FC236}">
                    <a16:creationId xmlns:a16="http://schemas.microsoft.com/office/drawing/2014/main" id="{7930FACC-5895-4085-8CD0-49A600822271}"/>
                  </a:ext>
                </a:extLst>
              </p:cNvPr>
              <p:cNvSpPr/>
              <p:nvPr/>
            </p:nvSpPr>
            <p:spPr>
              <a:xfrm>
                <a:off x="5448278" y="1800656"/>
                <a:ext cx="50417" cy="38814"/>
              </a:xfrm>
              <a:custGeom>
                <a:avLst/>
                <a:gdLst>
                  <a:gd name="connsiteX0" fmla="*/ 15789 w 50417"/>
                  <a:gd name="connsiteY0" fmla="*/ 12320 h 38814"/>
                  <a:gd name="connsiteX1" fmla="*/ 25478 w 50417"/>
                  <a:gd name="connsiteY1" fmla="*/ 36183 h 38814"/>
                  <a:gd name="connsiteX2" fmla="*/ 35466 w 50417"/>
                  <a:gd name="connsiteY2" fmla="*/ 34927 h 38814"/>
                  <a:gd name="connsiteX3" fmla="*/ 24521 w 50417"/>
                  <a:gd name="connsiteY3" fmla="*/ 8014 h 38814"/>
                  <a:gd name="connsiteX4" fmla="*/ 25537 w 50417"/>
                  <a:gd name="connsiteY4" fmla="*/ 7596 h 38814"/>
                  <a:gd name="connsiteX5" fmla="*/ 34269 w 50417"/>
                  <a:gd name="connsiteY5" fmla="*/ 29306 h 38814"/>
                  <a:gd name="connsiteX6" fmla="*/ 42104 w 50417"/>
                  <a:gd name="connsiteY6" fmla="*/ 34509 h 38814"/>
                  <a:gd name="connsiteX7" fmla="*/ 50417 w 50417"/>
                  <a:gd name="connsiteY7" fmla="*/ 34808 h 38814"/>
                  <a:gd name="connsiteX8" fmla="*/ 15669 w 50417"/>
                  <a:gd name="connsiteY8" fmla="*/ 38815 h 38814"/>
                  <a:gd name="connsiteX9" fmla="*/ 0 w 50417"/>
                  <a:gd name="connsiteY9" fmla="*/ 359 h 38814"/>
                  <a:gd name="connsiteX10" fmla="*/ 897 w 50417"/>
                  <a:gd name="connsiteY10" fmla="*/ 0 h 38814"/>
                  <a:gd name="connsiteX11" fmla="*/ 13457 w 50417"/>
                  <a:gd name="connsiteY11" fmla="*/ 30920 h 38814"/>
                  <a:gd name="connsiteX12" fmla="*/ 23863 w 50417"/>
                  <a:gd name="connsiteY12" fmla="*/ 35765 h 38814"/>
                  <a:gd name="connsiteX13" fmla="*/ 14593 w 50417"/>
                  <a:gd name="connsiteY13" fmla="*/ 12918 h 38814"/>
                  <a:gd name="connsiteX14" fmla="*/ 15789 w 50417"/>
                  <a:gd name="connsiteY14" fmla="*/ 12320 h 38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417" h="38814">
                    <a:moveTo>
                      <a:pt x="15789" y="12320"/>
                    </a:moveTo>
                    <a:cubicBezTo>
                      <a:pt x="18959" y="20155"/>
                      <a:pt x="22188" y="27990"/>
                      <a:pt x="25478" y="36183"/>
                    </a:cubicBezTo>
                    <a:cubicBezTo>
                      <a:pt x="28707" y="35765"/>
                      <a:pt x="31698" y="35406"/>
                      <a:pt x="35466" y="34927"/>
                    </a:cubicBezTo>
                    <a:cubicBezTo>
                      <a:pt x="31638" y="25478"/>
                      <a:pt x="28050" y="16746"/>
                      <a:pt x="24521" y="8014"/>
                    </a:cubicBezTo>
                    <a:cubicBezTo>
                      <a:pt x="24880" y="7895"/>
                      <a:pt x="25238" y="7715"/>
                      <a:pt x="25537" y="7596"/>
                    </a:cubicBezTo>
                    <a:cubicBezTo>
                      <a:pt x="28468" y="14832"/>
                      <a:pt x="31638" y="21949"/>
                      <a:pt x="34269" y="29306"/>
                    </a:cubicBezTo>
                    <a:cubicBezTo>
                      <a:pt x="35824" y="33671"/>
                      <a:pt x="37738" y="35705"/>
                      <a:pt x="42104" y="34509"/>
                    </a:cubicBezTo>
                    <a:cubicBezTo>
                      <a:pt x="44676" y="33791"/>
                      <a:pt x="47487" y="33971"/>
                      <a:pt x="50417" y="34808"/>
                    </a:cubicBezTo>
                    <a:cubicBezTo>
                      <a:pt x="38755" y="36124"/>
                      <a:pt x="27092" y="37499"/>
                      <a:pt x="15669" y="38815"/>
                    </a:cubicBezTo>
                    <a:cubicBezTo>
                      <a:pt x="10466" y="26016"/>
                      <a:pt x="5263" y="13158"/>
                      <a:pt x="0" y="359"/>
                    </a:cubicBezTo>
                    <a:cubicBezTo>
                      <a:pt x="299" y="239"/>
                      <a:pt x="598" y="120"/>
                      <a:pt x="897" y="0"/>
                    </a:cubicBezTo>
                    <a:cubicBezTo>
                      <a:pt x="5083" y="10287"/>
                      <a:pt x="9270" y="20574"/>
                      <a:pt x="13457" y="30920"/>
                    </a:cubicBezTo>
                    <a:cubicBezTo>
                      <a:pt x="16327" y="37978"/>
                      <a:pt x="16267" y="37978"/>
                      <a:pt x="23863" y="35765"/>
                    </a:cubicBezTo>
                    <a:cubicBezTo>
                      <a:pt x="20753" y="28109"/>
                      <a:pt x="17643" y="20514"/>
                      <a:pt x="14593" y="12918"/>
                    </a:cubicBezTo>
                    <a:cubicBezTo>
                      <a:pt x="15012" y="12619"/>
                      <a:pt x="15430" y="12440"/>
                      <a:pt x="15789" y="1232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01" name="Vrije vorm: vorm 9400">
                <a:extLst>
                  <a:ext uri="{FF2B5EF4-FFF2-40B4-BE49-F238E27FC236}">
                    <a16:creationId xmlns:a16="http://schemas.microsoft.com/office/drawing/2014/main" id="{C9FC8DA8-53E5-4F67-B8E3-971202AF779A}"/>
                  </a:ext>
                </a:extLst>
              </p:cNvPr>
              <p:cNvSpPr/>
              <p:nvPr/>
            </p:nvSpPr>
            <p:spPr>
              <a:xfrm>
                <a:off x="4853315" y="1336133"/>
                <a:ext cx="27272" cy="80799"/>
              </a:xfrm>
              <a:custGeom>
                <a:avLst/>
                <a:gdLst>
                  <a:gd name="connsiteX0" fmla="*/ 26973 w 27272"/>
                  <a:gd name="connsiteY0" fmla="*/ 77450 h 80799"/>
                  <a:gd name="connsiteX1" fmla="*/ 27272 w 27272"/>
                  <a:gd name="connsiteY1" fmla="*/ 80800 h 80799"/>
                  <a:gd name="connsiteX2" fmla="*/ 25179 w 27272"/>
                  <a:gd name="connsiteY2" fmla="*/ 80082 h 80799"/>
                  <a:gd name="connsiteX3" fmla="*/ 0 w 27272"/>
                  <a:gd name="connsiteY3" fmla="*/ 18181 h 80799"/>
                  <a:gd name="connsiteX4" fmla="*/ 23923 w 27272"/>
                  <a:gd name="connsiteY4" fmla="*/ 0 h 80799"/>
                  <a:gd name="connsiteX5" fmla="*/ 24581 w 27272"/>
                  <a:gd name="connsiteY5" fmla="*/ 897 h 80799"/>
                  <a:gd name="connsiteX6" fmla="*/ 1735 w 27272"/>
                  <a:gd name="connsiteY6" fmla="*/ 18720 h 80799"/>
                  <a:gd name="connsiteX7" fmla="*/ 12500 w 27272"/>
                  <a:gd name="connsiteY7" fmla="*/ 45095 h 80799"/>
                  <a:gd name="connsiteX8" fmla="*/ 23624 w 27272"/>
                  <a:gd name="connsiteY8" fmla="*/ 72127 h 80799"/>
                  <a:gd name="connsiteX9" fmla="*/ 27093 w 27272"/>
                  <a:gd name="connsiteY9" fmla="*/ 77510 h 80799"/>
                  <a:gd name="connsiteX10" fmla="*/ 26973 w 27272"/>
                  <a:gd name="connsiteY10" fmla="*/ 77450 h 8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72" h="80799">
                    <a:moveTo>
                      <a:pt x="26973" y="77450"/>
                    </a:moveTo>
                    <a:cubicBezTo>
                      <a:pt x="27093" y="78587"/>
                      <a:pt x="27213" y="79723"/>
                      <a:pt x="27272" y="80800"/>
                    </a:cubicBezTo>
                    <a:cubicBezTo>
                      <a:pt x="26554" y="80560"/>
                      <a:pt x="25897" y="80321"/>
                      <a:pt x="25179" y="80082"/>
                    </a:cubicBezTo>
                    <a:cubicBezTo>
                      <a:pt x="16806" y="59568"/>
                      <a:pt x="8493" y="39054"/>
                      <a:pt x="0" y="18181"/>
                    </a:cubicBezTo>
                    <a:cubicBezTo>
                      <a:pt x="7835" y="12201"/>
                      <a:pt x="15849" y="6100"/>
                      <a:pt x="23923" y="0"/>
                    </a:cubicBezTo>
                    <a:cubicBezTo>
                      <a:pt x="24162" y="299"/>
                      <a:pt x="24342" y="598"/>
                      <a:pt x="24581" y="897"/>
                    </a:cubicBezTo>
                    <a:cubicBezTo>
                      <a:pt x="17105" y="6698"/>
                      <a:pt x="9629" y="12560"/>
                      <a:pt x="1735" y="18720"/>
                    </a:cubicBezTo>
                    <a:cubicBezTo>
                      <a:pt x="5323" y="27571"/>
                      <a:pt x="8912" y="36363"/>
                      <a:pt x="12500" y="45095"/>
                    </a:cubicBezTo>
                    <a:cubicBezTo>
                      <a:pt x="16208" y="54126"/>
                      <a:pt x="19796" y="63156"/>
                      <a:pt x="23624" y="72127"/>
                    </a:cubicBezTo>
                    <a:cubicBezTo>
                      <a:pt x="24461" y="74041"/>
                      <a:pt x="25897" y="75716"/>
                      <a:pt x="27093" y="77510"/>
                    </a:cubicBezTo>
                    <a:lnTo>
                      <a:pt x="26973" y="77450"/>
                    </a:lnTo>
                    <a:close/>
                  </a:path>
                </a:pathLst>
              </a:custGeom>
              <a:grpFill/>
              <a:ln w="6350" cap="flat">
                <a:solidFill>
                  <a:schemeClr val="bg1">
                    <a:alpha val="80000"/>
                  </a:schemeClr>
                </a:solidFill>
                <a:prstDash val="solid"/>
                <a:miter/>
              </a:ln>
            </p:spPr>
            <p:txBody>
              <a:bodyPr rtlCol="0" anchor="ctr"/>
              <a:lstStyle/>
              <a:p>
                <a:endParaRPr lang="en-GB"/>
              </a:p>
            </p:txBody>
          </p:sp>
          <p:sp>
            <p:nvSpPr>
              <p:cNvPr id="9402" name="Vrije vorm: vorm 9401">
                <a:extLst>
                  <a:ext uri="{FF2B5EF4-FFF2-40B4-BE49-F238E27FC236}">
                    <a16:creationId xmlns:a16="http://schemas.microsoft.com/office/drawing/2014/main" id="{6AF8409A-87CE-4DB0-8119-D535C7EB9454}"/>
                  </a:ext>
                </a:extLst>
              </p:cNvPr>
              <p:cNvSpPr/>
              <p:nvPr/>
            </p:nvSpPr>
            <p:spPr>
              <a:xfrm>
                <a:off x="5514963" y="1765729"/>
                <a:ext cx="51972" cy="62259"/>
              </a:xfrm>
              <a:custGeom>
                <a:avLst/>
                <a:gdLst>
                  <a:gd name="connsiteX0" fmla="*/ 31160 w 51972"/>
                  <a:gd name="connsiteY0" fmla="*/ 62259 h 62259"/>
                  <a:gd name="connsiteX1" fmla="*/ 46112 w 51972"/>
                  <a:gd name="connsiteY1" fmla="*/ 52092 h 62259"/>
                  <a:gd name="connsiteX2" fmla="*/ 48384 w 51972"/>
                  <a:gd name="connsiteY2" fmla="*/ 45035 h 62259"/>
                  <a:gd name="connsiteX3" fmla="*/ 41207 w 51972"/>
                  <a:gd name="connsiteY3" fmla="*/ 26913 h 62259"/>
                  <a:gd name="connsiteX4" fmla="*/ 35167 w 51972"/>
                  <a:gd name="connsiteY4" fmla="*/ 23325 h 62259"/>
                  <a:gd name="connsiteX5" fmla="*/ 10586 w 51972"/>
                  <a:gd name="connsiteY5" fmla="*/ 25538 h 62259"/>
                  <a:gd name="connsiteX6" fmla="*/ 38755 w 51972"/>
                  <a:gd name="connsiteY6" fmla="*/ 21411 h 62259"/>
                  <a:gd name="connsiteX7" fmla="*/ 30921 w 51972"/>
                  <a:gd name="connsiteY7" fmla="*/ 2213 h 62259"/>
                  <a:gd name="connsiteX8" fmla="*/ 538 w 51972"/>
                  <a:gd name="connsiteY8" fmla="*/ 19497 h 62259"/>
                  <a:gd name="connsiteX9" fmla="*/ 0 w 51972"/>
                  <a:gd name="connsiteY9" fmla="*/ 18540 h 62259"/>
                  <a:gd name="connsiteX10" fmla="*/ 31578 w 51972"/>
                  <a:gd name="connsiteY10" fmla="*/ 0 h 62259"/>
                  <a:gd name="connsiteX11" fmla="*/ 51972 w 51972"/>
                  <a:gd name="connsiteY11" fmla="*/ 50178 h 62259"/>
                  <a:gd name="connsiteX12" fmla="*/ 30980 w 51972"/>
                  <a:gd name="connsiteY12" fmla="*/ 62140 h 62259"/>
                  <a:gd name="connsiteX13" fmla="*/ 31160 w 51972"/>
                  <a:gd name="connsiteY13" fmla="*/ 62259 h 62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972" h="62259">
                    <a:moveTo>
                      <a:pt x="31160" y="62259"/>
                    </a:moveTo>
                    <a:cubicBezTo>
                      <a:pt x="36124" y="58850"/>
                      <a:pt x="40908" y="55142"/>
                      <a:pt x="46112" y="52092"/>
                    </a:cubicBezTo>
                    <a:cubicBezTo>
                      <a:pt x="49102" y="50358"/>
                      <a:pt x="49879" y="48623"/>
                      <a:pt x="48384" y="45035"/>
                    </a:cubicBezTo>
                    <a:cubicBezTo>
                      <a:pt x="45813" y="39054"/>
                      <a:pt x="43360" y="33014"/>
                      <a:pt x="41207" y="26913"/>
                    </a:cubicBezTo>
                    <a:cubicBezTo>
                      <a:pt x="39951" y="23385"/>
                      <a:pt x="38097" y="22906"/>
                      <a:pt x="35167" y="23325"/>
                    </a:cubicBezTo>
                    <a:cubicBezTo>
                      <a:pt x="27093" y="24581"/>
                      <a:pt x="18899" y="25538"/>
                      <a:pt x="10586" y="25538"/>
                    </a:cubicBezTo>
                    <a:cubicBezTo>
                      <a:pt x="19856" y="24162"/>
                      <a:pt x="29126" y="22846"/>
                      <a:pt x="38755" y="21411"/>
                    </a:cubicBezTo>
                    <a:cubicBezTo>
                      <a:pt x="36064" y="14832"/>
                      <a:pt x="33671" y="8852"/>
                      <a:pt x="30921" y="2213"/>
                    </a:cubicBezTo>
                    <a:cubicBezTo>
                      <a:pt x="20634" y="8074"/>
                      <a:pt x="10586" y="13815"/>
                      <a:pt x="538" y="19497"/>
                    </a:cubicBezTo>
                    <a:cubicBezTo>
                      <a:pt x="359" y="19198"/>
                      <a:pt x="180" y="18839"/>
                      <a:pt x="0" y="18540"/>
                    </a:cubicBezTo>
                    <a:cubicBezTo>
                      <a:pt x="10526" y="12380"/>
                      <a:pt x="21052" y="6220"/>
                      <a:pt x="31578" y="0"/>
                    </a:cubicBezTo>
                    <a:cubicBezTo>
                      <a:pt x="38337" y="16626"/>
                      <a:pt x="45095" y="33253"/>
                      <a:pt x="51972" y="50178"/>
                    </a:cubicBezTo>
                    <a:cubicBezTo>
                      <a:pt x="44796" y="54305"/>
                      <a:pt x="37858" y="58192"/>
                      <a:pt x="30980" y="62140"/>
                    </a:cubicBezTo>
                    <a:lnTo>
                      <a:pt x="31160" y="62259"/>
                    </a:lnTo>
                    <a:close/>
                  </a:path>
                </a:pathLst>
              </a:custGeom>
              <a:grpFill/>
              <a:ln w="6350" cap="flat">
                <a:solidFill>
                  <a:schemeClr val="bg1">
                    <a:alpha val="80000"/>
                  </a:schemeClr>
                </a:solidFill>
                <a:prstDash val="solid"/>
                <a:miter/>
              </a:ln>
            </p:spPr>
            <p:txBody>
              <a:bodyPr rtlCol="0" anchor="ctr"/>
              <a:lstStyle/>
              <a:p>
                <a:endParaRPr lang="en-GB"/>
              </a:p>
            </p:txBody>
          </p:sp>
          <p:sp>
            <p:nvSpPr>
              <p:cNvPr id="9403" name="Vrije vorm: vorm 9402">
                <a:extLst>
                  <a:ext uri="{FF2B5EF4-FFF2-40B4-BE49-F238E27FC236}">
                    <a16:creationId xmlns:a16="http://schemas.microsoft.com/office/drawing/2014/main" id="{CBDA98AC-DBEF-42D3-8978-160BAEFB7B5C}"/>
                  </a:ext>
                </a:extLst>
              </p:cNvPr>
              <p:cNvSpPr/>
              <p:nvPr/>
            </p:nvSpPr>
            <p:spPr>
              <a:xfrm>
                <a:off x="5396425" y="2012852"/>
                <a:ext cx="33073" cy="79723"/>
              </a:xfrm>
              <a:custGeom>
                <a:avLst/>
                <a:gdLst>
                  <a:gd name="connsiteX0" fmla="*/ 778 w 33073"/>
                  <a:gd name="connsiteY0" fmla="*/ 0 h 79723"/>
                  <a:gd name="connsiteX1" fmla="*/ 33074 w 33073"/>
                  <a:gd name="connsiteY1" fmla="*/ 79424 h 79723"/>
                  <a:gd name="connsiteX2" fmla="*/ 32296 w 33073"/>
                  <a:gd name="connsiteY2" fmla="*/ 79723 h 79723"/>
                  <a:gd name="connsiteX3" fmla="*/ 0 w 33073"/>
                  <a:gd name="connsiteY3" fmla="*/ 359 h 79723"/>
                  <a:gd name="connsiteX4" fmla="*/ 778 w 33073"/>
                  <a:gd name="connsiteY4" fmla="*/ 0 h 79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73" h="79723">
                    <a:moveTo>
                      <a:pt x="778" y="0"/>
                    </a:moveTo>
                    <a:cubicBezTo>
                      <a:pt x="11543" y="26495"/>
                      <a:pt x="22308" y="52989"/>
                      <a:pt x="33074" y="79424"/>
                    </a:cubicBezTo>
                    <a:cubicBezTo>
                      <a:pt x="32834" y="79544"/>
                      <a:pt x="32595" y="79603"/>
                      <a:pt x="32296" y="79723"/>
                    </a:cubicBezTo>
                    <a:cubicBezTo>
                      <a:pt x="21531" y="53288"/>
                      <a:pt x="10766" y="26853"/>
                      <a:pt x="0" y="359"/>
                    </a:cubicBezTo>
                    <a:cubicBezTo>
                      <a:pt x="299" y="239"/>
                      <a:pt x="538" y="120"/>
                      <a:pt x="77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04" name="Vrije vorm: vorm 9403">
                <a:extLst>
                  <a:ext uri="{FF2B5EF4-FFF2-40B4-BE49-F238E27FC236}">
                    <a16:creationId xmlns:a16="http://schemas.microsoft.com/office/drawing/2014/main" id="{2941FC68-085A-4CA7-8E78-0AA9A572E44D}"/>
                  </a:ext>
                </a:extLst>
              </p:cNvPr>
              <p:cNvSpPr/>
              <p:nvPr/>
            </p:nvSpPr>
            <p:spPr>
              <a:xfrm>
                <a:off x="5373579" y="2015663"/>
                <a:ext cx="51613" cy="107234"/>
              </a:xfrm>
              <a:custGeom>
                <a:avLst/>
                <a:gdLst>
                  <a:gd name="connsiteX0" fmla="*/ 50597 w 51613"/>
                  <a:gd name="connsiteY0" fmla="*/ 107234 h 107234"/>
                  <a:gd name="connsiteX1" fmla="*/ 26076 w 51613"/>
                  <a:gd name="connsiteY1" fmla="*/ 46949 h 107234"/>
                  <a:gd name="connsiteX2" fmla="*/ 11064 w 51613"/>
                  <a:gd name="connsiteY2" fmla="*/ 9629 h 107234"/>
                  <a:gd name="connsiteX3" fmla="*/ 0 w 51613"/>
                  <a:gd name="connsiteY3" fmla="*/ 478 h 107234"/>
                  <a:gd name="connsiteX4" fmla="*/ 8253 w 51613"/>
                  <a:gd name="connsiteY4" fmla="*/ 0 h 107234"/>
                  <a:gd name="connsiteX5" fmla="*/ 51613 w 51613"/>
                  <a:gd name="connsiteY5" fmla="*/ 106576 h 107234"/>
                  <a:gd name="connsiteX6" fmla="*/ 50597 w 51613"/>
                  <a:gd name="connsiteY6" fmla="*/ 107234 h 10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13" h="107234">
                    <a:moveTo>
                      <a:pt x="50597" y="107234"/>
                    </a:moveTo>
                    <a:cubicBezTo>
                      <a:pt x="42403" y="87139"/>
                      <a:pt x="34210" y="67044"/>
                      <a:pt x="26076" y="46949"/>
                    </a:cubicBezTo>
                    <a:cubicBezTo>
                      <a:pt x="21052" y="34509"/>
                      <a:pt x="16088" y="22069"/>
                      <a:pt x="11064" y="9629"/>
                    </a:cubicBezTo>
                    <a:cubicBezTo>
                      <a:pt x="7715" y="1316"/>
                      <a:pt x="7715" y="1316"/>
                      <a:pt x="0" y="478"/>
                    </a:cubicBezTo>
                    <a:cubicBezTo>
                      <a:pt x="2871" y="299"/>
                      <a:pt x="5741" y="120"/>
                      <a:pt x="8253" y="0"/>
                    </a:cubicBezTo>
                    <a:cubicBezTo>
                      <a:pt x="22846" y="35884"/>
                      <a:pt x="37260" y="71230"/>
                      <a:pt x="51613" y="106576"/>
                    </a:cubicBezTo>
                    <a:cubicBezTo>
                      <a:pt x="51195" y="106756"/>
                      <a:pt x="50896" y="106995"/>
                      <a:pt x="50597" y="10723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05" name="Vrije vorm: vorm 9404">
                <a:extLst>
                  <a:ext uri="{FF2B5EF4-FFF2-40B4-BE49-F238E27FC236}">
                    <a16:creationId xmlns:a16="http://schemas.microsoft.com/office/drawing/2014/main" id="{85E9C8E1-EFA0-4CA0-88C6-202534FECB38}"/>
                  </a:ext>
                </a:extLst>
              </p:cNvPr>
              <p:cNvSpPr/>
              <p:nvPr/>
            </p:nvSpPr>
            <p:spPr>
              <a:xfrm>
                <a:off x="4755830" y="2260813"/>
                <a:ext cx="56218" cy="131516"/>
              </a:xfrm>
              <a:custGeom>
                <a:avLst/>
                <a:gdLst>
                  <a:gd name="connsiteX0" fmla="*/ 957 w 56218"/>
                  <a:gd name="connsiteY0" fmla="*/ 0 h 131516"/>
                  <a:gd name="connsiteX1" fmla="*/ 56219 w 56218"/>
                  <a:gd name="connsiteY1" fmla="*/ 131097 h 131516"/>
                  <a:gd name="connsiteX2" fmla="*/ 55202 w 56218"/>
                  <a:gd name="connsiteY2" fmla="*/ 131516 h 131516"/>
                  <a:gd name="connsiteX3" fmla="*/ 0 w 56218"/>
                  <a:gd name="connsiteY3" fmla="*/ 419 h 131516"/>
                  <a:gd name="connsiteX4" fmla="*/ 957 w 56218"/>
                  <a:gd name="connsiteY4" fmla="*/ 0 h 131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18" h="131516">
                    <a:moveTo>
                      <a:pt x="957" y="0"/>
                    </a:moveTo>
                    <a:cubicBezTo>
                      <a:pt x="19377" y="43719"/>
                      <a:pt x="37798" y="87378"/>
                      <a:pt x="56219" y="131097"/>
                    </a:cubicBezTo>
                    <a:cubicBezTo>
                      <a:pt x="55860" y="131217"/>
                      <a:pt x="55501" y="131396"/>
                      <a:pt x="55202" y="131516"/>
                    </a:cubicBezTo>
                    <a:cubicBezTo>
                      <a:pt x="36782" y="87797"/>
                      <a:pt x="18421" y="44138"/>
                      <a:pt x="0" y="419"/>
                    </a:cubicBezTo>
                    <a:cubicBezTo>
                      <a:pt x="299" y="239"/>
                      <a:pt x="598" y="120"/>
                      <a:pt x="957"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06" name="Vrije vorm: vorm 9405">
                <a:extLst>
                  <a:ext uri="{FF2B5EF4-FFF2-40B4-BE49-F238E27FC236}">
                    <a16:creationId xmlns:a16="http://schemas.microsoft.com/office/drawing/2014/main" id="{5A3FD69F-3904-481F-8756-0DBDFB6B5FD3}"/>
                  </a:ext>
                </a:extLst>
              </p:cNvPr>
              <p:cNvSpPr/>
              <p:nvPr/>
            </p:nvSpPr>
            <p:spPr>
              <a:xfrm>
                <a:off x="4772396" y="2267332"/>
                <a:ext cx="57414" cy="134626"/>
              </a:xfrm>
              <a:custGeom>
                <a:avLst/>
                <a:gdLst>
                  <a:gd name="connsiteX0" fmla="*/ 56398 w 57414"/>
                  <a:gd name="connsiteY0" fmla="*/ 134626 h 134626"/>
                  <a:gd name="connsiteX1" fmla="*/ 0 w 57414"/>
                  <a:gd name="connsiteY1" fmla="*/ 419 h 134626"/>
                  <a:gd name="connsiteX2" fmla="*/ 1017 w 57414"/>
                  <a:gd name="connsiteY2" fmla="*/ 0 h 134626"/>
                  <a:gd name="connsiteX3" fmla="*/ 57415 w 57414"/>
                  <a:gd name="connsiteY3" fmla="*/ 134207 h 134626"/>
                  <a:gd name="connsiteX4" fmla="*/ 56398 w 57414"/>
                  <a:gd name="connsiteY4" fmla="*/ 134626 h 134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14" h="134626">
                    <a:moveTo>
                      <a:pt x="56398" y="134626"/>
                    </a:moveTo>
                    <a:cubicBezTo>
                      <a:pt x="37619" y="89890"/>
                      <a:pt x="18780" y="45155"/>
                      <a:pt x="0" y="419"/>
                    </a:cubicBezTo>
                    <a:cubicBezTo>
                      <a:pt x="359" y="299"/>
                      <a:pt x="718" y="120"/>
                      <a:pt x="1017" y="0"/>
                    </a:cubicBezTo>
                    <a:cubicBezTo>
                      <a:pt x="19796" y="44736"/>
                      <a:pt x="38635" y="89472"/>
                      <a:pt x="57415" y="134207"/>
                    </a:cubicBezTo>
                    <a:cubicBezTo>
                      <a:pt x="57116" y="134327"/>
                      <a:pt x="56757" y="134507"/>
                      <a:pt x="56398" y="13462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07" name="Vrije vorm: vorm 9406">
                <a:extLst>
                  <a:ext uri="{FF2B5EF4-FFF2-40B4-BE49-F238E27FC236}">
                    <a16:creationId xmlns:a16="http://schemas.microsoft.com/office/drawing/2014/main" id="{1D954426-794F-43D5-A983-70B686DC6310}"/>
                  </a:ext>
                </a:extLst>
              </p:cNvPr>
              <p:cNvSpPr/>
              <p:nvPr/>
            </p:nvSpPr>
            <p:spPr>
              <a:xfrm>
                <a:off x="4851880" y="2071104"/>
                <a:ext cx="44137" cy="63096"/>
              </a:xfrm>
              <a:custGeom>
                <a:avLst/>
                <a:gdLst>
                  <a:gd name="connsiteX0" fmla="*/ 31937 w 44137"/>
                  <a:gd name="connsiteY0" fmla="*/ 61422 h 63096"/>
                  <a:gd name="connsiteX1" fmla="*/ 30801 w 44137"/>
                  <a:gd name="connsiteY1" fmla="*/ 54783 h 63096"/>
                  <a:gd name="connsiteX2" fmla="*/ 12141 w 44137"/>
                  <a:gd name="connsiteY2" fmla="*/ 9091 h 63096"/>
                  <a:gd name="connsiteX3" fmla="*/ 2930 w 44137"/>
                  <a:gd name="connsiteY3" fmla="*/ 1376 h 63096"/>
                  <a:gd name="connsiteX4" fmla="*/ 0 w 44137"/>
                  <a:gd name="connsiteY4" fmla="*/ 0 h 63096"/>
                  <a:gd name="connsiteX5" fmla="*/ 14354 w 44137"/>
                  <a:gd name="connsiteY5" fmla="*/ 1495 h 63096"/>
                  <a:gd name="connsiteX6" fmla="*/ 11782 w 44137"/>
                  <a:gd name="connsiteY6" fmla="*/ 5742 h 63096"/>
                  <a:gd name="connsiteX7" fmla="*/ 34509 w 44137"/>
                  <a:gd name="connsiteY7" fmla="*/ 59628 h 63096"/>
                  <a:gd name="connsiteX8" fmla="*/ 36303 w 44137"/>
                  <a:gd name="connsiteY8" fmla="*/ 60346 h 63096"/>
                  <a:gd name="connsiteX9" fmla="*/ 14174 w 44137"/>
                  <a:gd name="connsiteY9" fmla="*/ 5921 h 63096"/>
                  <a:gd name="connsiteX10" fmla="*/ 15371 w 44137"/>
                  <a:gd name="connsiteY10" fmla="*/ 5442 h 63096"/>
                  <a:gd name="connsiteX11" fmla="*/ 35406 w 44137"/>
                  <a:gd name="connsiteY11" fmla="*/ 55023 h 63096"/>
                  <a:gd name="connsiteX12" fmla="*/ 44138 w 44137"/>
                  <a:gd name="connsiteY12" fmla="*/ 63097 h 63096"/>
                  <a:gd name="connsiteX13" fmla="*/ 31937 w 44137"/>
                  <a:gd name="connsiteY13" fmla="*/ 61422 h 6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137" h="63096">
                    <a:moveTo>
                      <a:pt x="31937" y="61422"/>
                    </a:moveTo>
                    <a:cubicBezTo>
                      <a:pt x="31578" y="59209"/>
                      <a:pt x="31638" y="56817"/>
                      <a:pt x="30801" y="54783"/>
                    </a:cubicBezTo>
                    <a:cubicBezTo>
                      <a:pt x="24641" y="39533"/>
                      <a:pt x="18182" y="24401"/>
                      <a:pt x="12141" y="9091"/>
                    </a:cubicBezTo>
                    <a:cubicBezTo>
                      <a:pt x="10287" y="4366"/>
                      <a:pt x="8313" y="718"/>
                      <a:pt x="2930" y="1376"/>
                    </a:cubicBezTo>
                    <a:cubicBezTo>
                      <a:pt x="2034" y="1495"/>
                      <a:pt x="957" y="478"/>
                      <a:pt x="0" y="0"/>
                    </a:cubicBezTo>
                    <a:cubicBezTo>
                      <a:pt x="4785" y="478"/>
                      <a:pt x="9569" y="1017"/>
                      <a:pt x="14354" y="1495"/>
                    </a:cubicBezTo>
                    <a:cubicBezTo>
                      <a:pt x="12859" y="2392"/>
                      <a:pt x="10287" y="2273"/>
                      <a:pt x="11782" y="5742"/>
                    </a:cubicBezTo>
                    <a:cubicBezTo>
                      <a:pt x="19437" y="23684"/>
                      <a:pt x="26913" y="41686"/>
                      <a:pt x="34509" y="59628"/>
                    </a:cubicBezTo>
                    <a:cubicBezTo>
                      <a:pt x="34688" y="60046"/>
                      <a:pt x="35227" y="60346"/>
                      <a:pt x="36303" y="60346"/>
                    </a:cubicBezTo>
                    <a:cubicBezTo>
                      <a:pt x="28947" y="42224"/>
                      <a:pt x="21531" y="24102"/>
                      <a:pt x="14174" y="5921"/>
                    </a:cubicBezTo>
                    <a:cubicBezTo>
                      <a:pt x="14593" y="5742"/>
                      <a:pt x="14952" y="5622"/>
                      <a:pt x="15371" y="5442"/>
                    </a:cubicBezTo>
                    <a:cubicBezTo>
                      <a:pt x="22069" y="21949"/>
                      <a:pt x="28947" y="38396"/>
                      <a:pt x="35406" y="55023"/>
                    </a:cubicBezTo>
                    <a:cubicBezTo>
                      <a:pt x="37200" y="59688"/>
                      <a:pt x="39473" y="62618"/>
                      <a:pt x="44138" y="63097"/>
                    </a:cubicBezTo>
                    <a:cubicBezTo>
                      <a:pt x="40071" y="62558"/>
                      <a:pt x="36004" y="61960"/>
                      <a:pt x="31937" y="6142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08" name="Vrije vorm: vorm 9407">
                <a:extLst>
                  <a:ext uri="{FF2B5EF4-FFF2-40B4-BE49-F238E27FC236}">
                    <a16:creationId xmlns:a16="http://schemas.microsoft.com/office/drawing/2014/main" id="{F070FEBA-6148-4D69-8C46-ED002903604F}"/>
                  </a:ext>
                </a:extLst>
              </p:cNvPr>
              <p:cNvSpPr/>
              <p:nvPr/>
            </p:nvSpPr>
            <p:spPr>
              <a:xfrm>
                <a:off x="4726046" y="2250944"/>
                <a:ext cx="54364" cy="126552"/>
              </a:xfrm>
              <a:custGeom>
                <a:avLst/>
                <a:gdLst>
                  <a:gd name="connsiteX0" fmla="*/ 1017 w 54364"/>
                  <a:gd name="connsiteY0" fmla="*/ 0 h 126552"/>
                  <a:gd name="connsiteX1" fmla="*/ 54365 w 54364"/>
                  <a:gd name="connsiteY1" fmla="*/ 126074 h 126552"/>
                  <a:gd name="connsiteX2" fmla="*/ 53288 w 54364"/>
                  <a:gd name="connsiteY2" fmla="*/ 126552 h 126552"/>
                  <a:gd name="connsiteX3" fmla="*/ 0 w 54364"/>
                  <a:gd name="connsiteY3" fmla="*/ 598 h 126552"/>
                  <a:gd name="connsiteX4" fmla="*/ 1017 w 54364"/>
                  <a:gd name="connsiteY4" fmla="*/ 0 h 126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4" h="126552">
                    <a:moveTo>
                      <a:pt x="1017" y="0"/>
                    </a:moveTo>
                    <a:cubicBezTo>
                      <a:pt x="18780" y="42044"/>
                      <a:pt x="36542" y="84029"/>
                      <a:pt x="54365" y="126074"/>
                    </a:cubicBezTo>
                    <a:cubicBezTo>
                      <a:pt x="54006" y="126253"/>
                      <a:pt x="53647" y="126373"/>
                      <a:pt x="53288" y="126552"/>
                    </a:cubicBezTo>
                    <a:cubicBezTo>
                      <a:pt x="35526" y="84567"/>
                      <a:pt x="17763" y="42583"/>
                      <a:pt x="0" y="598"/>
                    </a:cubicBezTo>
                    <a:cubicBezTo>
                      <a:pt x="359" y="359"/>
                      <a:pt x="658" y="179"/>
                      <a:pt x="1017"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09" name="Vrije vorm: vorm 9408">
                <a:extLst>
                  <a:ext uri="{FF2B5EF4-FFF2-40B4-BE49-F238E27FC236}">
                    <a16:creationId xmlns:a16="http://schemas.microsoft.com/office/drawing/2014/main" id="{CC0F47B9-76AD-4787-B1D1-BFA8B3A7C1E3}"/>
                  </a:ext>
                </a:extLst>
              </p:cNvPr>
              <p:cNvSpPr/>
              <p:nvPr/>
            </p:nvSpPr>
            <p:spPr>
              <a:xfrm>
                <a:off x="5077473" y="1688278"/>
                <a:ext cx="56338" cy="74101"/>
              </a:xfrm>
              <a:custGeom>
                <a:avLst/>
                <a:gdLst>
                  <a:gd name="connsiteX0" fmla="*/ 27571 w 56338"/>
                  <a:gd name="connsiteY0" fmla="*/ 72247 h 74101"/>
                  <a:gd name="connsiteX1" fmla="*/ 56039 w 56338"/>
                  <a:gd name="connsiteY1" fmla="*/ 66326 h 74101"/>
                  <a:gd name="connsiteX2" fmla="*/ 56338 w 56338"/>
                  <a:gd name="connsiteY2" fmla="*/ 67403 h 74101"/>
                  <a:gd name="connsiteX3" fmla="*/ 26495 w 56338"/>
                  <a:gd name="connsiteY3" fmla="*/ 74101 h 74101"/>
                  <a:gd name="connsiteX4" fmla="*/ 0 w 56338"/>
                  <a:gd name="connsiteY4" fmla="*/ 8911 h 74101"/>
                  <a:gd name="connsiteX5" fmla="*/ 32535 w 56338"/>
                  <a:gd name="connsiteY5" fmla="*/ 0 h 74101"/>
                  <a:gd name="connsiteX6" fmla="*/ 32834 w 56338"/>
                  <a:gd name="connsiteY6" fmla="*/ 1017 h 74101"/>
                  <a:gd name="connsiteX7" fmla="*/ 2273 w 56338"/>
                  <a:gd name="connsiteY7" fmla="*/ 9928 h 74101"/>
                  <a:gd name="connsiteX8" fmla="*/ 27571 w 56338"/>
                  <a:gd name="connsiteY8" fmla="*/ 72247 h 7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38" h="74101">
                    <a:moveTo>
                      <a:pt x="27571" y="72247"/>
                    </a:moveTo>
                    <a:cubicBezTo>
                      <a:pt x="37200" y="70214"/>
                      <a:pt x="46650" y="68240"/>
                      <a:pt x="56039" y="66326"/>
                    </a:cubicBezTo>
                    <a:cubicBezTo>
                      <a:pt x="56159" y="66685"/>
                      <a:pt x="56219" y="67044"/>
                      <a:pt x="56338" y="67403"/>
                    </a:cubicBezTo>
                    <a:cubicBezTo>
                      <a:pt x="46530" y="69616"/>
                      <a:pt x="36662" y="71828"/>
                      <a:pt x="26495" y="74101"/>
                    </a:cubicBezTo>
                    <a:cubicBezTo>
                      <a:pt x="17763" y="52630"/>
                      <a:pt x="8851" y="30741"/>
                      <a:pt x="0" y="8911"/>
                    </a:cubicBezTo>
                    <a:cubicBezTo>
                      <a:pt x="10885" y="5921"/>
                      <a:pt x="21710" y="2990"/>
                      <a:pt x="32535" y="0"/>
                    </a:cubicBezTo>
                    <a:cubicBezTo>
                      <a:pt x="32655" y="359"/>
                      <a:pt x="32774" y="658"/>
                      <a:pt x="32834" y="1017"/>
                    </a:cubicBezTo>
                    <a:cubicBezTo>
                      <a:pt x="22846" y="3947"/>
                      <a:pt x="12798" y="6878"/>
                      <a:pt x="2273" y="9928"/>
                    </a:cubicBezTo>
                    <a:cubicBezTo>
                      <a:pt x="10765" y="30920"/>
                      <a:pt x="19138" y="51434"/>
                      <a:pt x="27571" y="7224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10" name="Vrije vorm: vorm 9409">
                <a:extLst>
                  <a:ext uri="{FF2B5EF4-FFF2-40B4-BE49-F238E27FC236}">
                    <a16:creationId xmlns:a16="http://schemas.microsoft.com/office/drawing/2014/main" id="{274D7EC9-89EE-49FF-A203-F39809824728}"/>
                  </a:ext>
                </a:extLst>
              </p:cNvPr>
              <p:cNvSpPr/>
              <p:nvPr/>
            </p:nvSpPr>
            <p:spPr>
              <a:xfrm>
                <a:off x="4779032" y="2063509"/>
                <a:ext cx="33614" cy="57235"/>
              </a:xfrm>
              <a:custGeom>
                <a:avLst/>
                <a:gdLst>
                  <a:gd name="connsiteX0" fmla="*/ 15792 w 33614"/>
                  <a:gd name="connsiteY0" fmla="*/ 3289 h 57235"/>
                  <a:gd name="connsiteX1" fmla="*/ 7299 w 33614"/>
                  <a:gd name="connsiteY1" fmla="*/ 2871 h 57235"/>
                  <a:gd name="connsiteX2" fmla="*/ 14536 w 33614"/>
                  <a:gd name="connsiteY2" fmla="*/ 20693 h 57235"/>
                  <a:gd name="connsiteX3" fmla="*/ 27095 w 33614"/>
                  <a:gd name="connsiteY3" fmla="*/ 50417 h 57235"/>
                  <a:gd name="connsiteX4" fmla="*/ 33614 w 33614"/>
                  <a:gd name="connsiteY4" fmla="*/ 57235 h 57235"/>
                  <a:gd name="connsiteX5" fmla="*/ 20277 w 33614"/>
                  <a:gd name="connsiteY5" fmla="*/ 56877 h 57235"/>
                  <a:gd name="connsiteX6" fmla="*/ 21294 w 33614"/>
                  <a:gd name="connsiteY6" fmla="*/ 51913 h 57235"/>
                  <a:gd name="connsiteX7" fmla="*/ 1438 w 33614"/>
                  <a:gd name="connsiteY7" fmla="*/ 4067 h 57235"/>
                  <a:gd name="connsiteX8" fmla="*/ 3 w 33614"/>
                  <a:gd name="connsiteY8" fmla="*/ 0 h 57235"/>
                  <a:gd name="connsiteX9" fmla="*/ 2455 w 33614"/>
                  <a:gd name="connsiteY9" fmla="*/ 3050 h 57235"/>
                  <a:gd name="connsiteX10" fmla="*/ 22012 w 33614"/>
                  <a:gd name="connsiteY10" fmla="*/ 50358 h 57235"/>
                  <a:gd name="connsiteX11" fmla="*/ 25660 w 33614"/>
                  <a:gd name="connsiteY11" fmla="*/ 56219 h 57235"/>
                  <a:gd name="connsiteX12" fmla="*/ 27155 w 33614"/>
                  <a:gd name="connsiteY12" fmla="*/ 55262 h 57235"/>
                  <a:gd name="connsiteX13" fmla="*/ 4847 w 33614"/>
                  <a:gd name="connsiteY13" fmla="*/ 359 h 57235"/>
                  <a:gd name="connsiteX14" fmla="*/ 15792 w 33614"/>
                  <a:gd name="connsiteY14" fmla="*/ 3289 h 57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614" h="57235">
                    <a:moveTo>
                      <a:pt x="15792" y="3289"/>
                    </a:moveTo>
                    <a:cubicBezTo>
                      <a:pt x="13280" y="3170"/>
                      <a:pt x="10708" y="3050"/>
                      <a:pt x="7299" y="2871"/>
                    </a:cubicBezTo>
                    <a:cubicBezTo>
                      <a:pt x="9871" y="9210"/>
                      <a:pt x="12203" y="14952"/>
                      <a:pt x="14536" y="20693"/>
                    </a:cubicBezTo>
                    <a:cubicBezTo>
                      <a:pt x="18662" y="30621"/>
                      <a:pt x="22550" y="40669"/>
                      <a:pt x="27095" y="50417"/>
                    </a:cubicBezTo>
                    <a:cubicBezTo>
                      <a:pt x="28351" y="53109"/>
                      <a:pt x="31401" y="54963"/>
                      <a:pt x="33614" y="57235"/>
                    </a:cubicBezTo>
                    <a:cubicBezTo>
                      <a:pt x="29129" y="57116"/>
                      <a:pt x="24703" y="56996"/>
                      <a:pt x="20277" y="56877"/>
                    </a:cubicBezTo>
                    <a:cubicBezTo>
                      <a:pt x="20815" y="54544"/>
                      <a:pt x="21713" y="52929"/>
                      <a:pt x="21294" y="51913"/>
                    </a:cubicBezTo>
                    <a:cubicBezTo>
                      <a:pt x="14775" y="35944"/>
                      <a:pt x="8136" y="19976"/>
                      <a:pt x="1438" y="4067"/>
                    </a:cubicBezTo>
                    <a:cubicBezTo>
                      <a:pt x="960" y="2871"/>
                      <a:pt x="-57" y="1914"/>
                      <a:pt x="3" y="0"/>
                    </a:cubicBezTo>
                    <a:cubicBezTo>
                      <a:pt x="840" y="1017"/>
                      <a:pt x="1976" y="1914"/>
                      <a:pt x="2455" y="3050"/>
                    </a:cubicBezTo>
                    <a:cubicBezTo>
                      <a:pt x="9033" y="18779"/>
                      <a:pt x="15433" y="34628"/>
                      <a:pt x="22012" y="50358"/>
                    </a:cubicBezTo>
                    <a:cubicBezTo>
                      <a:pt x="22909" y="52451"/>
                      <a:pt x="24404" y="54245"/>
                      <a:pt x="25660" y="56219"/>
                    </a:cubicBezTo>
                    <a:cubicBezTo>
                      <a:pt x="26138" y="55920"/>
                      <a:pt x="26677" y="55561"/>
                      <a:pt x="27155" y="55262"/>
                    </a:cubicBezTo>
                    <a:cubicBezTo>
                      <a:pt x="19859" y="37260"/>
                      <a:pt x="12502" y="19258"/>
                      <a:pt x="4847" y="359"/>
                    </a:cubicBezTo>
                    <a:cubicBezTo>
                      <a:pt x="8675" y="1376"/>
                      <a:pt x="12263" y="2332"/>
                      <a:pt x="15792" y="328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11" name="Vrije vorm: vorm 9410">
                <a:extLst>
                  <a:ext uri="{FF2B5EF4-FFF2-40B4-BE49-F238E27FC236}">
                    <a16:creationId xmlns:a16="http://schemas.microsoft.com/office/drawing/2014/main" id="{08975A47-5080-42F6-99DA-0CF4796162D7}"/>
                  </a:ext>
                </a:extLst>
              </p:cNvPr>
              <p:cNvSpPr/>
              <p:nvPr/>
            </p:nvSpPr>
            <p:spPr>
              <a:xfrm>
                <a:off x="4761392" y="2266793"/>
                <a:ext cx="54902" cy="128585"/>
              </a:xfrm>
              <a:custGeom>
                <a:avLst/>
                <a:gdLst>
                  <a:gd name="connsiteX0" fmla="*/ 53946 w 54902"/>
                  <a:gd name="connsiteY0" fmla="*/ 128586 h 128585"/>
                  <a:gd name="connsiteX1" fmla="*/ 0 w 54902"/>
                  <a:gd name="connsiteY1" fmla="*/ 419 h 128585"/>
                  <a:gd name="connsiteX2" fmla="*/ 1017 w 54902"/>
                  <a:gd name="connsiteY2" fmla="*/ 0 h 128585"/>
                  <a:gd name="connsiteX3" fmla="*/ 54903 w 54902"/>
                  <a:gd name="connsiteY3" fmla="*/ 128047 h 128585"/>
                  <a:gd name="connsiteX4" fmla="*/ 53946 w 54902"/>
                  <a:gd name="connsiteY4" fmla="*/ 128586 h 128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02" h="128585">
                    <a:moveTo>
                      <a:pt x="53946" y="128586"/>
                    </a:moveTo>
                    <a:cubicBezTo>
                      <a:pt x="35944" y="85883"/>
                      <a:pt x="18002" y="43121"/>
                      <a:pt x="0" y="419"/>
                    </a:cubicBezTo>
                    <a:cubicBezTo>
                      <a:pt x="359" y="299"/>
                      <a:pt x="658" y="120"/>
                      <a:pt x="1017" y="0"/>
                    </a:cubicBezTo>
                    <a:cubicBezTo>
                      <a:pt x="18959" y="42702"/>
                      <a:pt x="36961" y="85345"/>
                      <a:pt x="54903" y="128047"/>
                    </a:cubicBezTo>
                    <a:cubicBezTo>
                      <a:pt x="54544" y="128227"/>
                      <a:pt x="54245" y="128406"/>
                      <a:pt x="53946" y="12858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12" name="Vrije vorm: vorm 9411">
                <a:extLst>
                  <a:ext uri="{FF2B5EF4-FFF2-40B4-BE49-F238E27FC236}">
                    <a16:creationId xmlns:a16="http://schemas.microsoft.com/office/drawing/2014/main" id="{1432521A-B18A-4E0B-A5EC-995B0B71C09C}"/>
                  </a:ext>
                </a:extLst>
              </p:cNvPr>
              <p:cNvSpPr/>
              <p:nvPr/>
            </p:nvSpPr>
            <p:spPr>
              <a:xfrm>
                <a:off x="4738127" y="2255908"/>
                <a:ext cx="54843" cy="128226"/>
              </a:xfrm>
              <a:custGeom>
                <a:avLst/>
                <a:gdLst>
                  <a:gd name="connsiteX0" fmla="*/ 53827 w 54843"/>
                  <a:gd name="connsiteY0" fmla="*/ 128227 h 128226"/>
                  <a:gd name="connsiteX1" fmla="*/ 0 w 54843"/>
                  <a:gd name="connsiteY1" fmla="*/ 419 h 128226"/>
                  <a:gd name="connsiteX2" fmla="*/ 1017 w 54843"/>
                  <a:gd name="connsiteY2" fmla="*/ 0 h 128226"/>
                  <a:gd name="connsiteX3" fmla="*/ 54843 w 54843"/>
                  <a:gd name="connsiteY3" fmla="*/ 127808 h 128226"/>
                  <a:gd name="connsiteX4" fmla="*/ 53827 w 54843"/>
                  <a:gd name="connsiteY4" fmla="*/ 128227 h 128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43" h="128226">
                    <a:moveTo>
                      <a:pt x="53827" y="128227"/>
                    </a:moveTo>
                    <a:cubicBezTo>
                      <a:pt x="35884" y="85644"/>
                      <a:pt x="17942" y="43001"/>
                      <a:pt x="0" y="419"/>
                    </a:cubicBezTo>
                    <a:cubicBezTo>
                      <a:pt x="359" y="299"/>
                      <a:pt x="718" y="120"/>
                      <a:pt x="1017" y="0"/>
                    </a:cubicBezTo>
                    <a:cubicBezTo>
                      <a:pt x="18959" y="42583"/>
                      <a:pt x="36901" y="85225"/>
                      <a:pt x="54843" y="127808"/>
                    </a:cubicBezTo>
                    <a:cubicBezTo>
                      <a:pt x="54484" y="127928"/>
                      <a:pt x="54125" y="128047"/>
                      <a:pt x="53827" y="12822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13" name="Vrije vorm: vorm 9412">
                <a:extLst>
                  <a:ext uri="{FF2B5EF4-FFF2-40B4-BE49-F238E27FC236}">
                    <a16:creationId xmlns:a16="http://schemas.microsoft.com/office/drawing/2014/main" id="{463DBFCC-1B94-4935-B1D1-972D67996FE4}"/>
                  </a:ext>
                </a:extLst>
              </p:cNvPr>
              <p:cNvSpPr/>
              <p:nvPr/>
            </p:nvSpPr>
            <p:spPr>
              <a:xfrm>
                <a:off x="5438350" y="1448152"/>
                <a:ext cx="51733" cy="62977"/>
              </a:xfrm>
              <a:custGeom>
                <a:avLst/>
                <a:gdLst>
                  <a:gd name="connsiteX0" fmla="*/ 18660 w 51733"/>
                  <a:gd name="connsiteY0" fmla="*/ 62977 h 62977"/>
                  <a:gd name="connsiteX1" fmla="*/ 0 w 51733"/>
                  <a:gd name="connsiteY1" fmla="*/ 17045 h 62977"/>
                  <a:gd name="connsiteX2" fmla="*/ 957 w 51733"/>
                  <a:gd name="connsiteY2" fmla="*/ 16686 h 62977"/>
                  <a:gd name="connsiteX3" fmla="*/ 18899 w 51733"/>
                  <a:gd name="connsiteY3" fmla="*/ 60824 h 62977"/>
                  <a:gd name="connsiteX4" fmla="*/ 49939 w 51733"/>
                  <a:gd name="connsiteY4" fmla="*/ 48205 h 62977"/>
                  <a:gd name="connsiteX5" fmla="*/ 30502 w 51733"/>
                  <a:gd name="connsiteY5" fmla="*/ 419 h 62977"/>
                  <a:gd name="connsiteX6" fmla="*/ 31578 w 51733"/>
                  <a:gd name="connsiteY6" fmla="*/ 0 h 62977"/>
                  <a:gd name="connsiteX7" fmla="*/ 51733 w 51733"/>
                  <a:gd name="connsiteY7" fmla="*/ 49520 h 62977"/>
                  <a:gd name="connsiteX8" fmla="*/ 18660 w 51733"/>
                  <a:gd name="connsiteY8" fmla="*/ 62977 h 62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33" h="62977">
                    <a:moveTo>
                      <a:pt x="18660" y="62977"/>
                    </a:moveTo>
                    <a:cubicBezTo>
                      <a:pt x="12560" y="48025"/>
                      <a:pt x="6280" y="32535"/>
                      <a:pt x="0" y="17045"/>
                    </a:cubicBezTo>
                    <a:cubicBezTo>
                      <a:pt x="299" y="16925"/>
                      <a:pt x="658" y="16806"/>
                      <a:pt x="957" y="16686"/>
                    </a:cubicBezTo>
                    <a:cubicBezTo>
                      <a:pt x="6938" y="31399"/>
                      <a:pt x="12919" y="46111"/>
                      <a:pt x="18899" y="60824"/>
                    </a:cubicBezTo>
                    <a:cubicBezTo>
                      <a:pt x="29246" y="56637"/>
                      <a:pt x="39234" y="52571"/>
                      <a:pt x="49939" y="48205"/>
                    </a:cubicBezTo>
                    <a:cubicBezTo>
                      <a:pt x="43241" y="31817"/>
                      <a:pt x="36901" y="16148"/>
                      <a:pt x="30502" y="419"/>
                    </a:cubicBezTo>
                    <a:cubicBezTo>
                      <a:pt x="30861" y="299"/>
                      <a:pt x="31220" y="120"/>
                      <a:pt x="31578" y="0"/>
                    </a:cubicBezTo>
                    <a:cubicBezTo>
                      <a:pt x="38157" y="16208"/>
                      <a:pt x="44736" y="32356"/>
                      <a:pt x="51733" y="49520"/>
                    </a:cubicBezTo>
                    <a:cubicBezTo>
                      <a:pt x="40669" y="54006"/>
                      <a:pt x="29545" y="58551"/>
                      <a:pt x="18660" y="6297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14" name="Vrije vorm: vorm 9413">
                <a:extLst>
                  <a:ext uri="{FF2B5EF4-FFF2-40B4-BE49-F238E27FC236}">
                    <a16:creationId xmlns:a16="http://schemas.microsoft.com/office/drawing/2014/main" id="{959A4D08-BA26-4C0F-8C97-6FD20F8A0D29}"/>
                  </a:ext>
                </a:extLst>
              </p:cNvPr>
              <p:cNvSpPr/>
              <p:nvPr/>
            </p:nvSpPr>
            <p:spPr>
              <a:xfrm>
                <a:off x="5169516" y="1928643"/>
                <a:ext cx="36542" cy="65429"/>
              </a:xfrm>
              <a:custGeom>
                <a:avLst/>
                <a:gdLst>
                  <a:gd name="connsiteX0" fmla="*/ 4844 w 36542"/>
                  <a:gd name="connsiteY0" fmla="*/ 1734 h 65429"/>
                  <a:gd name="connsiteX1" fmla="*/ 4067 w 36542"/>
                  <a:gd name="connsiteY1" fmla="*/ 5861 h 65429"/>
                  <a:gd name="connsiteX2" fmla="*/ 26375 w 36542"/>
                  <a:gd name="connsiteY2" fmla="*/ 60525 h 65429"/>
                  <a:gd name="connsiteX3" fmla="*/ 30980 w 36542"/>
                  <a:gd name="connsiteY3" fmla="*/ 63575 h 65429"/>
                  <a:gd name="connsiteX4" fmla="*/ 36542 w 36542"/>
                  <a:gd name="connsiteY4" fmla="*/ 64771 h 65429"/>
                  <a:gd name="connsiteX5" fmla="*/ 26614 w 36542"/>
                  <a:gd name="connsiteY5" fmla="*/ 65429 h 65429"/>
                  <a:gd name="connsiteX6" fmla="*/ 0 w 36542"/>
                  <a:gd name="connsiteY6" fmla="*/ 0 h 65429"/>
                  <a:gd name="connsiteX7" fmla="*/ 4725 w 36542"/>
                  <a:gd name="connsiteY7" fmla="*/ 1854 h 65429"/>
                  <a:gd name="connsiteX8" fmla="*/ 4844 w 36542"/>
                  <a:gd name="connsiteY8" fmla="*/ 1734 h 6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42" h="65429">
                    <a:moveTo>
                      <a:pt x="4844" y="1734"/>
                    </a:moveTo>
                    <a:cubicBezTo>
                      <a:pt x="4545" y="3110"/>
                      <a:pt x="3589" y="4785"/>
                      <a:pt x="4067" y="5861"/>
                    </a:cubicBezTo>
                    <a:cubicBezTo>
                      <a:pt x="11364" y="24162"/>
                      <a:pt x="18780" y="42403"/>
                      <a:pt x="26375" y="60525"/>
                    </a:cubicBezTo>
                    <a:cubicBezTo>
                      <a:pt x="26973" y="61960"/>
                      <a:pt x="29306" y="63037"/>
                      <a:pt x="30980" y="63575"/>
                    </a:cubicBezTo>
                    <a:cubicBezTo>
                      <a:pt x="32715" y="64113"/>
                      <a:pt x="34629" y="63814"/>
                      <a:pt x="36542" y="64771"/>
                    </a:cubicBezTo>
                    <a:cubicBezTo>
                      <a:pt x="33373" y="65010"/>
                      <a:pt x="30143" y="65190"/>
                      <a:pt x="26614" y="65429"/>
                    </a:cubicBezTo>
                    <a:cubicBezTo>
                      <a:pt x="17883" y="44018"/>
                      <a:pt x="9151" y="22487"/>
                      <a:pt x="0" y="0"/>
                    </a:cubicBezTo>
                    <a:cubicBezTo>
                      <a:pt x="2034" y="778"/>
                      <a:pt x="3349" y="1316"/>
                      <a:pt x="4725" y="1854"/>
                    </a:cubicBezTo>
                    <a:lnTo>
                      <a:pt x="4844" y="1734"/>
                    </a:lnTo>
                    <a:close/>
                  </a:path>
                </a:pathLst>
              </a:custGeom>
              <a:grpFill/>
              <a:ln w="6350" cap="flat">
                <a:solidFill>
                  <a:schemeClr val="bg1">
                    <a:alpha val="80000"/>
                  </a:schemeClr>
                </a:solidFill>
                <a:prstDash val="solid"/>
                <a:miter/>
              </a:ln>
            </p:spPr>
            <p:txBody>
              <a:bodyPr rtlCol="0" anchor="ctr"/>
              <a:lstStyle/>
              <a:p>
                <a:endParaRPr lang="en-GB"/>
              </a:p>
            </p:txBody>
          </p:sp>
          <p:sp>
            <p:nvSpPr>
              <p:cNvPr id="9415" name="Vrije vorm: vorm 9414">
                <a:extLst>
                  <a:ext uri="{FF2B5EF4-FFF2-40B4-BE49-F238E27FC236}">
                    <a16:creationId xmlns:a16="http://schemas.microsoft.com/office/drawing/2014/main" id="{A88A2CC0-A0DB-4602-87B7-57417A562AFB}"/>
                  </a:ext>
                </a:extLst>
              </p:cNvPr>
              <p:cNvSpPr/>
              <p:nvPr/>
            </p:nvSpPr>
            <p:spPr>
              <a:xfrm>
                <a:off x="4722697" y="2249270"/>
                <a:ext cx="53945" cy="126073"/>
              </a:xfrm>
              <a:custGeom>
                <a:avLst/>
                <a:gdLst>
                  <a:gd name="connsiteX0" fmla="*/ 1017 w 53945"/>
                  <a:gd name="connsiteY0" fmla="*/ 0 h 126073"/>
                  <a:gd name="connsiteX1" fmla="*/ 53946 w 53945"/>
                  <a:gd name="connsiteY1" fmla="*/ 125655 h 126073"/>
                  <a:gd name="connsiteX2" fmla="*/ 52929 w 53945"/>
                  <a:gd name="connsiteY2" fmla="*/ 126074 h 126073"/>
                  <a:gd name="connsiteX3" fmla="*/ 0 w 53945"/>
                  <a:gd name="connsiteY3" fmla="*/ 419 h 126073"/>
                  <a:gd name="connsiteX4" fmla="*/ 1017 w 53945"/>
                  <a:gd name="connsiteY4" fmla="*/ 0 h 126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45" h="126073">
                    <a:moveTo>
                      <a:pt x="1017" y="0"/>
                    </a:moveTo>
                    <a:cubicBezTo>
                      <a:pt x="18660" y="41865"/>
                      <a:pt x="36303" y="83790"/>
                      <a:pt x="53946" y="125655"/>
                    </a:cubicBezTo>
                    <a:cubicBezTo>
                      <a:pt x="53587" y="125775"/>
                      <a:pt x="53288" y="125954"/>
                      <a:pt x="52929" y="126074"/>
                    </a:cubicBezTo>
                    <a:cubicBezTo>
                      <a:pt x="35286" y="84208"/>
                      <a:pt x="17643" y="42284"/>
                      <a:pt x="0" y="419"/>
                    </a:cubicBezTo>
                    <a:cubicBezTo>
                      <a:pt x="359" y="299"/>
                      <a:pt x="718" y="179"/>
                      <a:pt x="1017"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16" name="Vrije vorm: vorm 9415">
                <a:extLst>
                  <a:ext uri="{FF2B5EF4-FFF2-40B4-BE49-F238E27FC236}">
                    <a16:creationId xmlns:a16="http://schemas.microsoft.com/office/drawing/2014/main" id="{CF9ED938-337C-4ADD-9655-547217B8749E}"/>
                  </a:ext>
                </a:extLst>
              </p:cNvPr>
              <p:cNvSpPr/>
              <p:nvPr/>
            </p:nvSpPr>
            <p:spPr>
              <a:xfrm>
                <a:off x="4683343" y="2237607"/>
                <a:ext cx="48862" cy="113514"/>
              </a:xfrm>
              <a:custGeom>
                <a:avLst/>
                <a:gdLst>
                  <a:gd name="connsiteX0" fmla="*/ 47846 w 48862"/>
                  <a:gd name="connsiteY0" fmla="*/ 113514 h 113514"/>
                  <a:gd name="connsiteX1" fmla="*/ 0 w 48862"/>
                  <a:gd name="connsiteY1" fmla="*/ 478 h 113514"/>
                  <a:gd name="connsiteX2" fmla="*/ 1076 w 48862"/>
                  <a:gd name="connsiteY2" fmla="*/ 0 h 113514"/>
                  <a:gd name="connsiteX3" fmla="*/ 48862 w 48862"/>
                  <a:gd name="connsiteY3" fmla="*/ 113095 h 113514"/>
                  <a:gd name="connsiteX4" fmla="*/ 47846 w 48862"/>
                  <a:gd name="connsiteY4" fmla="*/ 113514 h 113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2" h="113514">
                    <a:moveTo>
                      <a:pt x="47846" y="113514"/>
                    </a:moveTo>
                    <a:cubicBezTo>
                      <a:pt x="31877" y="75836"/>
                      <a:pt x="15909" y="38157"/>
                      <a:pt x="0" y="478"/>
                    </a:cubicBezTo>
                    <a:cubicBezTo>
                      <a:pt x="359" y="299"/>
                      <a:pt x="718" y="179"/>
                      <a:pt x="1076" y="0"/>
                    </a:cubicBezTo>
                    <a:cubicBezTo>
                      <a:pt x="16985" y="37679"/>
                      <a:pt x="32954" y="75417"/>
                      <a:pt x="48862" y="113095"/>
                    </a:cubicBezTo>
                    <a:cubicBezTo>
                      <a:pt x="48504" y="113215"/>
                      <a:pt x="48205" y="113395"/>
                      <a:pt x="47846" y="11351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17" name="Vrije vorm: vorm 9416">
                <a:extLst>
                  <a:ext uri="{FF2B5EF4-FFF2-40B4-BE49-F238E27FC236}">
                    <a16:creationId xmlns:a16="http://schemas.microsoft.com/office/drawing/2014/main" id="{4373552D-F9F2-414B-936C-A896A922E882}"/>
                  </a:ext>
                </a:extLst>
              </p:cNvPr>
              <p:cNvSpPr/>
              <p:nvPr/>
            </p:nvSpPr>
            <p:spPr>
              <a:xfrm>
                <a:off x="4749251" y="1998977"/>
                <a:ext cx="26195" cy="56278"/>
              </a:xfrm>
              <a:custGeom>
                <a:avLst/>
                <a:gdLst>
                  <a:gd name="connsiteX0" fmla="*/ 18480 w 26195"/>
                  <a:gd name="connsiteY0" fmla="*/ 53707 h 56278"/>
                  <a:gd name="connsiteX1" fmla="*/ 20992 w 26195"/>
                  <a:gd name="connsiteY1" fmla="*/ 50537 h 56278"/>
                  <a:gd name="connsiteX2" fmla="*/ 19377 w 26195"/>
                  <a:gd name="connsiteY2" fmla="*/ 46590 h 56278"/>
                  <a:gd name="connsiteX3" fmla="*/ 3887 w 26195"/>
                  <a:gd name="connsiteY3" fmla="*/ 5801 h 56278"/>
                  <a:gd name="connsiteX4" fmla="*/ 0 w 26195"/>
                  <a:gd name="connsiteY4" fmla="*/ 0 h 56278"/>
                  <a:gd name="connsiteX5" fmla="*/ 3528 w 26195"/>
                  <a:gd name="connsiteY5" fmla="*/ 837 h 56278"/>
                  <a:gd name="connsiteX6" fmla="*/ 26196 w 26195"/>
                  <a:gd name="connsiteY6" fmla="*/ 56279 h 56278"/>
                  <a:gd name="connsiteX7" fmla="*/ 18480 w 26195"/>
                  <a:gd name="connsiteY7" fmla="*/ 53707 h 5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95" h="56278">
                    <a:moveTo>
                      <a:pt x="18480" y="53707"/>
                    </a:moveTo>
                    <a:cubicBezTo>
                      <a:pt x="20514" y="53767"/>
                      <a:pt x="22368" y="53707"/>
                      <a:pt x="20992" y="50537"/>
                    </a:cubicBezTo>
                    <a:cubicBezTo>
                      <a:pt x="20454" y="49221"/>
                      <a:pt x="19916" y="47906"/>
                      <a:pt x="19377" y="46590"/>
                    </a:cubicBezTo>
                    <a:cubicBezTo>
                      <a:pt x="14234" y="33014"/>
                      <a:pt x="9150" y="19378"/>
                      <a:pt x="3887" y="5801"/>
                    </a:cubicBezTo>
                    <a:cubicBezTo>
                      <a:pt x="3050" y="3708"/>
                      <a:pt x="1316" y="1914"/>
                      <a:pt x="0" y="0"/>
                    </a:cubicBezTo>
                    <a:cubicBezTo>
                      <a:pt x="1196" y="239"/>
                      <a:pt x="3229" y="179"/>
                      <a:pt x="3528" y="837"/>
                    </a:cubicBezTo>
                    <a:cubicBezTo>
                      <a:pt x="11124" y="19079"/>
                      <a:pt x="18540" y="37380"/>
                      <a:pt x="26196" y="56279"/>
                    </a:cubicBezTo>
                    <a:cubicBezTo>
                      <a:pt x="23504" y="55382"/>
                      <a:pt x="20992" y="54544"/>
                      <a:pt x="18480" y="5370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18" name="Vrije vorm: vorm 9417">
                <a:extLst>
                  <a:ext uri="{FF2B5EF4-FFF2-40B4-BE49-F238E27FC236}">
                    <a16:creationId xmlns:a16="http://schemas.microsoft.com/office/drawing/2014/main" id="{0558BA41-4D7D-4A8F-90B5-BB43CC2A834A}"/>
                  </a:ext>
                </a:extLst>
              </p:cNvPr>
              <p:cNvSpPr/>
              <p:nvPr/>
            </p:nvSpPr>
            <p:spPr>
              <a:xfrm>
                <a:off x="4691358" y="2236052"/>
                <a:ext cx="51852" cy="120750"/>
              </a:xfrm>
              <a:custGeom>
                <a:avLst/>
                <a:gdLst>
                  <a:gd name="connsiteX0" fmla="*/ 1017 w 51852"/>
                  <a:gd name="connsiteY0" fmla="*/ 0 h 120750"/>
                  <a:gd name="connsiteX1" fmla="*/ 51853 w 51852"/>
                  <a:gd name="connsiteY1" fmla="*/ 120272 h 120750"/>
                  <a:gd name="connsiteX2" fmla="*/ 50776 w 51852"/>
                  <a:gd name="connsiteY2" fmla="*/ 120751 h 120750"/>
                  <a:gd name="connsiteX3" fmla="*/ 0 w 51852"/>
                  <a:gd name="connsiteY3" fmla="*/ 478 h 120750"/>
                  <a:gd name="connsiteX4" fmla="*/ 1017 w 51852"/>
                  <a:gd name="connsiteY4" fmla="*/ 0 h 12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52" h="120750">
                    <a:moveTo>
                      <a:pt x="1017" y="0"/>
                    </a:moveTo>
                    <a:cubicBezTo>
                      <a:pt x="17942" y="40071"/>
                      <a:pt x="34867" y="80202"/>
                      <a:pt x="51853" y="120272"/>
                    </a:cubicBezTo>
                    <a:cubicBezTo>
                      <a:pt x="51494" y="120452"/>
                      <a:pt x="51135" y="120571"/>
                      <a:pt x="50776" y="120751"/>
                    </a:cubicBezTo>
                    <a:cubicBezTo>
                      <a:pt x="33851" y="80680"/>
                      <a:pt x="16925" y="40549"/>
                      <a:pt x="0" y="478"/>
                    </a:cubicBezTo>
                    <a:cubicBezTo>
                      <a:pt x="359" y="299"/>
                      <a:pt x="718" y="179"/>
                      <a:pt x="1017"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19" name="Vrije vorm: vorm 9418">
                <a:extLst>
                  <a:ext uri="{FF2B5EF4-FFF2-40B4-BE49-F238E27FC236}">
                    <a16:creationId xmlns:a16="http://schemas.microsoft.com/office/drawing/2014/main" id="{FC9E9CD7-C537-40AD-B7D3-E8553923018A}"/>
                  </a:ext>
                </a:extLst>
              </p:cNvPr>
              <p:cNvSpPr/>
              <p:nvPr/>
            </p:nvSpPr>
            <p:spPr>
              <a:xfrm>
                <a:off x="5185545" y="2041201"/>
                <a:ext cx="26314" cy="30561"/>
              </a:xfrm>
              <a:custGeom>
                <a:avLst/>
                <a:gdLst>
                  <a:gd name="connsiteX0" fmla="*/ 26315 w 26314"/>
                  <a:gd name="connsiteY0" fmla="*/ 30442 h 30561"/>
                  <a:gd name="connsiteX1" fmla="*/ 9868 w 26314"/>
                  <a:gd name="connsiteY1" fmla="*/ 29904 h 30561"/>
                  <a:gd name="connsiteX2" fmla="*/ 0 w 26314"/>
                  <a:gd name="connsiteY2" fmla="*/ 5562 h 30561"/>
                  <a:gd name="connsiteX3" fmla="*/ 1914 w 26314"/>
                  <a:gd name="connsiteY3" fmla="*/ 4725 h 30561"/>
                  <a:gd name="connsiteX4" fmla="*/ 11543 w 26314"/>
                  <a:gd name="connsiteY4" fmla="*/ 28408 h 30561"/>
                  <a:gd name="connsiteX5" fmla="*/ 12978 w 26314"/>
                  <a:gd name="connsiteY5" fmla="*/ 27870 h 30561"/>
                  <a:gd name="connsiteX6" fmla="*/ 4067 w 26314"/>
                  <a:gd name="connsiteY6" fmla="*/ 478 h 30561"/>
                  <a:gd name="connsiteX7" fmla="*/ 5681 w 26314"/>
                  <a:gd name="connsiteY7" fmla="*/ 0 h 30561"/>
                  <a:gd name="connsiteX8" fmla="*/ 14413 w 26314"/>
                  <a:gd name="connsiteY8" fmla="*/ 21710 h 30561"/>
                  <a:gd name="connsiteX9" fmla="*/ 24102 w 26314"/>
                  <a:gd name="connsiteY9" fmla="*/ 29485 h 30561"/>
                  <a:gd name="connsiteX10" fmla="*/ 26315 w 26314"/>
                  <a:gd name="connsiteY10" fmla="*/ 30561 h 30561"/>
                  <a:gd name="connsiteX11" fmla="*/ 26315 w 26314"/>
                  <a:gd name="connsiteY11" fmla="*/ 30442 h 3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14" h="30561">
                    <a:moveTo>
                      <a:pt x="26315" y="30442"/>
                    </a:moveTo>
                    <a:cubicBezTo>
                      <a:pt x="20274" y="30263"/>
                      <a:pt x="14294" y="30023"/>
                      <a:pt x="9868" y="29904"/>
                    </a:cubicBezTo>
                    <a:cubicBezTo>
                      <a:pt x="6280" y="21112"/>
                      <a:pt x="3110" y="13337"/>
                      <a:pt x="0" y="5562"/>
                    </a:cubicBezTo>
                    <a:cubicBezTo>
                      <a:pt x="658" y="5263"/>
                      <a:pt x="1316" y="5024"/>
                      <a:pt x="1914" y="4725"/>
                    </a:cubicBezTo>
                    <a:cubicBezTo>
                      <a:pt x="5143" y="12619"/>
                      <a:pt x="8373" y="20514"/>
                      <a:pt x="11543" y="28408"/>
                    </a:cubicBezTo>
                    <a:cubicBezTo>
                      <a:pt x="12021" y="28229"/>
                      <a:pt x="12500" y="28050"/>
                      <a:pt x="12978" y="27870"/>
                    </a:cubicBezTo>
                    <a:cubicBezTo>
                      <a:pt x="11543" y="18421"/>
                      <a:pt x="4306" y="10227"/>
                      <a:pt x="4067" y="478"/>
                    </a:cubicBezTo>
                    <a:cubicBezTo>
                      <a:pt x="4605" y="299"/>
                      <a:pt x="5143" y="179"/>
                      <a:pt x="5681" y="0"/>
                    </a:cubicBezTo>
                    <a:cubicBezTo>
                      <a:pt x="8612" y="7237"/>
                      <a:pt x="11842" y="14354"/>
                      <a:pt x="14413" y="21710"/>
                    </a:cubicBezTo>
                    <a:cubicBezTo>
                      <a:pt x="16208" y="26913"/>
                      <a:pt x="18660" y="30143"/>
                      <a:pt x="24102" y="29485"/>
                    </a:cubicBezTo>
                    <a:cubicBezTo>
                      <a:pt x="24760" y="29425"/>
                      <a:pt x="25537" y="30203"/>
                      <a:pt x="26315" y="30561"/>
                    </a:cubicBezTo>
                    <a:lnTo>
                      <a:pt x="26315" y="30442"/>
                    </a:lnTo>
                    <a:close/>
                  </a:path>
                </a:pathLst>
              </a:custGeom>
              <a:grpFill/>
              <a:ln w="6350" cap="flat">
                <a:solidFill>
                  <a:schemeClr val="bg1">
                    <a:alpha val="80000"/>
                  </a:schemeClr>
                </a:solidFill>
                <a:prstDash val="solid"/>
                <a:miter/>
              </a:ln>
            </p:spPr>
            <p:txBody>
              <a:bodyPr rtlCol="0" anchor="ctr"/>
              <a:lstStyle/>
              <a:p>
                <a:endParaRPr lang="en-GB"/>
              </a:p>
            </p:txBody>
          </p:sp>
          <p:sp>
            <p:nvSpPr>
              <p:cNvPr id="9420" name="Vrije vorm: vorm 9419">
                <a:extLst>
                  <a:ext uri="{FF2B5EF4-FFF2-40B4-BE49-F238E27FC236}">
                    <a16:creationId xmlns:a16="http://schemas.microsoft.com/office/drawing/2014/main" id="{5424651D-021F-4063-A696-5EFAEAD1C92F}"/>
                  </a:ext>
                </a:extLst>
              </p:cNvPr>
              <p:cNvSpPr/>
              <p:nvPr/>
            </p:nvSpPr>
            <p:spPr>
              <a:xfrm>
                <a:off x="5490920" y="1949038"/>
                <a:ext cx="40250" cy="97605"/>
              </a:xfrm>
              <a:custGeom>
                <a:avLst/>
                <a:gdLst>
                  <a:gd name="connsiteX0" fmla="*/ 39592 w 40250"/>
                  <a:gd name="connsiteY0" fmla="*/ 97605 h 97605"/>
                  <a:gd name="connsiteX1" fmla="*/ 0 w 40250"/>
                  <a:gd name="connsiteY1" fmla="*/ 239 h 97605"/>
                  <a:gd name="connsiteX2" fmla="*/ 658 w 40250"/>
                  <a:gd name="connsiteY2" fmla="*/ 0 h 97605"/>
                  <a:gd name="connsiteX3" fmla="*/ 40250 w 40250"/>
                  <a:gd name="connsiteY3" fmla="*/ 97426 h 97605"/>
                  <a:gd name="connsiteX4" fmla="*/ 39592 w 40250"/>
                  <a:gd name="connsiteY4" fmla="*/ 97605 h 97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50" h="97605">
                    <a:moveTo>
                      <a:pt x="39592" y="97605"/>
                    </a:moveTo>
                    <a:cubicBezTo>
                      <a:pt x="26375" y="65130"/>
                      <a:pt x="13217" y="32715"/>
                      <a:pt x="0" y="239"/>
                    </a:cubicBezTo>
                    <a:cubicBezTo>
                      <a:pt x="239" y="179"/>
                      <a:pt x="418" y="60"/>
                      <a:pt x="658" y="0"/>
                    </a:cubicBezTo>
                    <a:cubicBezTo>
                      <a:pt x="13875" y="32475"/>
                      <a:pt x="27092" y="64951"/>
                      <a:pt x="40250" y="97426"/>
                    </a:cubicBezTo>
                    <a:cubicBezTo>
                      <a:pt x="40011" y="97486"/>
                      <a:pt x="39772" y="97546"/>
                      <a:pt x="39592" y="9760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21" name="Vrije vorm: vorm 9420">
                <a:extLst>
                  <a:ext uri="{FF2B5EF4-FFF2-40B4-BE49-F238E27FC236}">
                    <a16:creationId xmlns:a16="http://schemas.microsoft.com/office/drawing/2014/main" id="{CCE62970-0BFF-47FC-9A14-7575FFE70D02}"/>
                  </a:ext>
                </a:extLst>
              </p:cNvPr>
              <p:cNvSpPr/>
              <p:nvPr/>
            </p:nvSpPr>
            <p:spPr>
              <a:xfrm>
                <a:off x="5174899" y="1850954"/>
                <a:ext cx="26374" cy="62678"/>
              </a:xfrm>
              <a:custGeom>
                <a:avLst/>
                <a:gdLst>
                  <a:gd name="connsiteX0" fmla="*/ 1076 w 26374"/>
                  <a:gd name="connsiteY0" fmla="*/ 0 h 62678"/>
                  <a:gd name="connsiteX1" fmla="*/ 26375 w 26374"/>
                  <a:gd name="connsiteY1" fmla="*/ 62200 h 62678"/>
                  <a:gd name="connsiteX2" fmla="*/ 25298 w 26374"/>
                  <a:gd name="connsiteY2" fmla="*/ 62678 h 62678"/>
                  <a:gd name="connsiteX3" fmla="*/ 0 w 26374"/>
                  <a:gd name="connsiteY3" fmla="*/ 478 h 62678"/>
                  <a:gd name="connsiteX4" fmla="*/ 1076 w 26374"/>
                  <a:gd name="connsiteY4" fmla="*/ 0 h 62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 h="62678">
                    <a:moveTo>
                      <a:pt x="1076" y="0"/>
                    </a:moveTo>
                    <a:cubicBezTo>
                      <a:pt x="9510" y="20753"/>
                      <a:pt x="17942" y="41446"/>
                      <a:pt x="26375" y="62200"/>
                    </a:cubicBezTo>
                    <a:cubicBezTo>
                      <a:pt x="26016" y="62379"/>
                      <a:pt x="25657" y="62499"/>
                      <a:pt x="25298" y="62678"/>
                    </a:cubicBezTo>
                    <a:cubicBezTo>
                      <a:pt x="16866" y="41925"/>
                      <a:pt x="8433" y="21172"/>
                      <a:pt x="0" y="478"/>
                    </a:cubicBezTo>
                    <a:cubicBezTo>
                      <a:pt x="359" y="239"/>
                      <a:pt x="718" y="120"/>
                      <a:pt x="1076"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22" name="Vrije vorm: vorm 9421">
                <a:extLst>
                  <a:ext uri="{FF2B5EF4-FFF2-40B4-BE49-F238E27FC236}">
                    <a16:creationId xmlns:a16="http://schemas.microsoft.com/office/drawing/2014/main" id="{3169E637-C2DE-45C2-BBB6-CE68107165CA}"/>
                  </a:ext>
                </a:extLst>
              </p:cNvPr>
              <p:cNvSpPr/>
              <p:nvPr/>
            </p:nvSpPr>
            <p:spPr>
              <a:xfrm>
                <a:off x="5536673" y="1926490"/>
                <a:ext cx="28049" cy="69376"/>
              </a:xfrm>
              <a:custGeom>
                <a:avLst/>
                <a:gdLst>
                  <a:gd name="connsiteX0" fmla="*/ 28050 w 28049"/>
                  <a:gd name="connsiteY0" fmla="*/ 69376 h 69376"/>
                  <a:gd name="connsiteX1" fmla="*/ 0 w 28049"/>
                  <a:gd name="connsiteY1" fmla="*/ 957 h 69376"/>
                  <a:gd name="connsiteX2" fmla="*/ 2632 w 28049"/>
                  <a:gd name="connsiteY2" fmla="*/ 0 h 69376"/>
                  <a:gd name="connsiteX3" fmla="*/ 28050 w 28049"/>
                  <a:gd name="connsiteY3" fmla="*/ 69376 h 69376"/>
                </a:gdLst>
                <a:ahLst/>
                <a:cxnLst>
                  <a:cxn ang="0">
                    <a:pos x="connsiteX0" y="connsiteY0"/>
                  </a:cxn>
                  <a:cxn ang="0">
                    <a:pos x="connsiteX1" y="connsiteY1"/>
                  </a:cxn>
                  <a:cxn ang="0">
                    <a:pos x="connsiteX2" y="connsiteY2"/>
                  </a:cxn>
                  <a:cxn ang="0">
                    <a:pos x="connsiteX3" y="connsiteY3"/>
                  </a:cxn>
                </a:cxnLst>
                <a:rect l="l" t="t" r="r" b="b"/>
                <a:pathLst>
                  <a:path w="28049" h="69376">
                    <a:moveTo>
                      <a:pt x="28050" y="69376"/>
                    </a:moveTo>
                    <a:cubicBezTo>
                      <a:pt x="17823" y="46949"/>
                      <a:pt x="9151" y="23863"/>
                      <a:pt x="0" y="957"/>
                    </a:cubicBezTo>
                    <a:cubicBezTo>
                      <a:pt x="897" y="658"/>
                      <a:pt x="1735" y="359"/>
                      <a:pt x="2632" y="0"/>
                    </a:cubicBezTo>
                    <a:cubicBezTo>
                      <a:pt x="11065" y="23205"/>
                      <a:pt x="19557" y="46291"/>
                      <a:pt x="28050" y="6937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23" name="Vrije vorm: vorm 9422">
                <a:extLst>
                  <a:ext uri="{FF2B5EF4-FFF2-40B4-BE49-F238E27FC236}">
                    <a16:creationId xmlns:a16="http://schemas.microsoft.com/office/drawing/2014/main" id="{13329607-58CF-4A49-BED5-17574C68FBA7}"/>
                  </a:ext>
                </a:extLst>
              </p:cNvPr>
              <p:cNvSpPr/>
              <p:nvPr/>
            </p:nvSpPr>
            <p:spPr>
              <a:xfrm>
                <a:off x="5147328" y="1047444"/>
                <a:ext cx="67283" cy="62020"/>
              </a:xfrm>
              <a:custGeom>
                <a:avLst/>
                <a:gdLst>
                  <a:gd name="connsiteX0" fmla="*/ 0 w 67283"/>
                  <a:gd name="connsiteY0" fmla="*/ 10885 h 62020"/>
                  <a:gd name="connsiteX1" fmla="*/ 22428 w 67283"/>
                  <a:gd name="connsiteY1" fmla="*/ 4605 h 62020"/>
                  <a:gd name="connsiteX2" fmla="*/ 42224 w 67283"/>
                  <a:gd name="connsiteY2" fmla="*/ 0 h 62020"/>
                  <a:gd name="connsiteX3" fmla="*/ 67283 w 67283"/>
                  <a:gd name="connsiteY3" fmla="*/ 61601 h 62020"/>
                  <a:gd name="connsiteX4" fmla="*/ 66267 w 67283"/>
                  <a:gd name="connsiteY4" fmla="*/ 62020 h 62020"/>
                  <a:gd name="connsiteX5" fmla="*/ 41805 w 67283"/>
                  <a:gd name="connsiteY5" fmla="*/ 1854 h 62020"/>
                  <a:gd name="connsiteX6" fmla="*/ 60 w 67283"/>
                  <a:gd name="connsiteY6" fmla="*/ 10765 h 62020"/>
                  <a:gd name="connsiteX7" fmla="*/ 0 w 67283"/>
                  <a:gd name="connsiteY7" fmla="*/ 10885 h 6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83" h="62020">
                    <a:moveTo>
                      <a:pt x="0" y="10885"/>
                    </a:moveTo>
                    <a:cubicBezTo>
                      <a:pt x="7476" y="8792"/>
                      <a:pt x="14952" y="6579"/>
                      <a:pt x="22428" y="4605"/>
                    </a:cubicBezTo>
                    <a:cubicBezTo>
                      <a:pt x="29066" y="2871"/>
                      <a:pt x="35824" y="1495"/>
                      <a:pt x="42224" y="0"/>
                    </a:cubicBezTo>
                    <a:cubicBezTo>
                      <a:pt x="50537" y="20454"/>
                      <a:pt x="58910" y="41028"/>
                      <a:pt x="67283" y="61601"/>
                    </a:cubicBezTo>
                    <a:cubicBezTo>
                      <a:pt x="66924" y="61721"/>
                      <a:pt x="66565" y="61900"/>
                      <a:pt x="66267" y="62020"/>
                    </a:cubicBezTo>
                    <a:cubicBezTo>
                      <a:pt x="58192" y="42164"/>
                      <a:pt x="50118" y="22308"/>
                      <a:pt x="41805" y="1854"/>
                    </a:cubicBezTo>
                    <a:cubicBezTo>
                      <a:pt x="27691" y="4844"/>
                      <a:pt x="13875" y="7775"/>
                      <a:pt x="60" y="10765"/>
                    </a:cubicBezTo>
                    <a:cubicBezTo>
                      <a:pt x="60" y="10765"/>
                      <a:pt x="0" y="10885"/>
                      <a:pt x="0" y="1088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24" name="Vrije vorm: vorm 9423">
                <a:extLst>
                  <a:ext uri="{FF2B5EF4-FFF2-40B4-BE49-F238E27FC236}">
                    <a16:creationId xmlns:a16="http://schemas.microsoft.com/office/drawing/2014/main" id="{9BB27D91-F844-4FA9-A825-10D887F88332}"/>
                  </a:ext>
                </a:extLst>
              </p:cNvPr>
              <p:cNvSpPr/>
              <p:nvPr/>
            </p:nvSpPr>
            <p:spPr>
              <a:xfrm>
                <a:off x="5527463" y="1936717"/>
                <a:ext cx="38336" cy="93299"/>
              </a:xfrm>
              <a:custGeom>
                <a:avLst/>
                <a:gdLst>
                  <a:gd name="connsiteX0" fmla="*/ 479 w 38336"/>
                  <a:gd name="connsiteY0" fmla="*/ 0 h 93299"/>
                  <a:gd name="connsiteX1" fmla="*/ 38336 w 38336"/>
                  <a:gd name="connsiteY1" fmla="*/ 93120 h 93299"/>
                  <a:gd name="connsiteX2" fmla="*/ 37858 w 38336"/>
                  <a:gd name="connsiteY2" fmla="*/ 93299 h 93299"/>
                  <a:gd name="connsiteX3" fmla="*/ 0 w 38336"/>
                  <a:gd name="connsiteY3" fmla="*/ 180 h 93299"/>
                  <a:gd name="connsiteX4" fmla="*/ 479 w 38336"/>
                  <a:gd name="connsiteY4" fmla="*/ 0 h 93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6" h="93299">
                    <a:moveTo>
                      <a:pt x="479" y="0"/>
                    </a:moveTo>
                    <a:cubicBezTo>
                      <a:pt x="13098" y="31040"/>
                      <a:pt x="25717" y="62080"/>
                      <a:pt x="38336" y="93120"/>
                    </a:cubicBezTo>
                    <a:cubicBezTo>
                      <a:pt x="38157" y="93180"/>
                      <a:pt x="38037" y="93240"/>
                      <a:pt x="37858" y="93299"/>
                    </a:cubicBezTo>
                    <a:cubicBezTo>
                      <a:pt x="25238" y="62259"/>
                      <a:pt x="12619" y="31219"/>
                      <a:pt x="0" y="180"/>
                    </a:cubicBezTo>
                    <a:cubicBezTo>
                      <a:pt x="120" y="120"/>
                      <a:pt x="299" y="60"/>
                      <a:pt x="47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25" name="Vrije vorm: vorm 9424">
                <a:extLst>
                  <a:ext uri="{FF2B5EF4-FFF2-40B4-BE49-F238E27FC236}">
                    <a16:creationId xmlns:a16="http://schemas.microsoft.com/office/drawing/2014/main" id="{83E67F78-178D-4965-A573-113B3A3B4606}"/>
                  </a:ext>
                </a:extLst>
              </p:cNvPr>
              <p:cNvSpPr/>
              <p:nvPr/>
            </p:nvSpPr>
            <p:spPr>
              <a:xfrm>
                <a:off x="5530333" y="1934863"/>
                <a:ext cx="39114" cy="94196"/>
              </a:xfrm>
              <a:custGeom>
                <a:avLst/>
                <a:gdLst>
                  <a:gd name="connsiteX0" fmla="*/ 957 w 39114"/>
                  <a:gd name="connsiteY0" fmla="*/ 0 h 94196"/>
                  <a:gd name="connsiteX1" fmla="*/ 39114 w 39114"/>
                  <a:gd name="connsiteY1" fmla="*/ 93778 h 94196"/>
                  <a:gd name="connsiteX2" fmla="*/ 38097 w 39114"/>
                  <a:gd name="connsiteY2" fmla="*/ 94196 h 94196"/>
                  <a:gd name="connsiteX3" fmla="*/ 0 w 39114"/>
                  <a:gd name="connsiteY3" fmla="*/ 538 h 94196"/>
                  <a:gd name="connsiteX4" fmla="*/ 957 w 39114"/>
                  <a:gd name="connsiteY4" fmla="*/ 0 h 94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14" h="94196">
                    <a:moveTo>
                      <a:pt x="957" y="0"/>
                    </a:moveTo>
                    <a:cubicBezTo>
                      <a:pt x="13696" y="31279"/>
                      <a:pt x="26375" y="62499"/>
                      <a:pt x="39114" y="93778"/>
                    </a:cubicBezTo>
                    <a:cubicBezTo>
                      <a:pt x="38755" y="93897"/>
                      <a:pt x="38456" y="94077"/>
                      <a:pt x="38097" y="94196"/>
                    </a:cubicBezTo>
                    <a:cubicBezTo>
                      <a:pt x="25418" y="62977"/>
                      <a:pt x="12679" y="31758"/>
                      <a:pt x="0" y="538"/>
                    </a:cubicBezTo>
                    <a:cubicBezTo>
                      <a:pt x="299" y="359"/>
                      <a:pt x="658" y="179"/>
                      <a:pt x="957"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26" name="Vrije vorm: vorm 9425">
                <a:extLst>
                  <a:ext uri="{FF2B5EF4-FFF2-40B4-BE49-F238E27FC236}">
                    <a16:creationId xmlns:a16="http://schemas.microsoft.com/office/drawing/2014/main" id="{1E10A932-3B2A-4F0C-9356-D2DF9496E775}"/>
                  </a:ext>
                </a:extLst>
              </p:cNvPr>
              <p:cNvSpPr/>
              <p:nvPr/>
            </p:nvSpPr>
            <p:spPr>
              <a:xfrm>
                <a:off x="4756248" y="1931335"/>
                <a:ext cx="32236" cy="59747"/>
              </a:xfrm>
              <a:custGeom>
                <a:avLst/>
                <a:gdLst>
                  <a:gd name="connsiteX0" fmla="*/ 4964 w 32236"/>
                  <a:gd name="connsiteY0" fmla="*/ 1136 h 59747"/>
                  <a:gd name="connsiteX1" fmla="*/ 4725 w 32236"/>
                  <a:gd name="connsiteY1" fmla="*/ 9150 h 59747"/>
                  <a:gd name="connsiteX2" fmla="*/ 18241 w 32236"/>
                  <a:gd name="connsiteY2" fmla="*/ 2452 h 59747"/>
                  <a:gd name="connsiteX3" fmla="*/ 18959 w 32236"/>
                  <a:gd name="connsiteY3" fmla="*/ 3708 h 59747"/>
                  <a:gd name="connsiteX4" fmla="*/ 9928 w 32236"/>
                  <a:gd name="connsiteY4" fmla="*/ 8074 h 59747"/>
                  <a:gd name="connsiteX5" fmla="*/ 7297 w 32236"/>
                  <a:gd name="connsiteY5" fmla="*/ 15131 h 59747"/>
                  <a:gd name="connsiteX6" fmla="*/ 24581 w 32236"/>
                  <a:gd name="connsiteY6" fmla="*/ 54724 h 59747"/>
                  <a:gd name="connsiteX7" fmla="*/ 32236 w 32236"/>
                  <a:gd name="connsiteY7" fmla="*/ 59149 h 59747"/>
                  <a:gd name="connsiteX8" fmla="*/ 24282 w 32236"/>
                  <a:gd name="connsiteY8" fmla="*/ 59747 h 59747"/>
                  <a:gd name="connsiteX9" fmla="*/ 0 w 32236"/>
                  <a:gd name="connsiteY9" fmla="*/ 0 h 59747"/>
                  <a:gd name="connsiteX10" fmla="*/ 4904 w 32236"/>
                  <a:gd name="connsiteY10" fmla="*/ 1316 h 59747"/>
                  <a:gd name="connsiteX11" fmla="*/ 4964 w 32236"/>
                  <a:gd name="connsiteY11" fmla="*/ 1136 h 5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36" h="59747">
                    <a:moveTo>
                      <a:pt x="4964" y="1136"/>
                    </a:moveTo>
                    <a:cubicBezTo>
                      <a:pt x="60" y="2990"/>
                      <a:pt x="4366" y="5682"/>
                      <a:pt x="4725" y="9150"/>
                    </a:cubicBezTo>
                    <a:cubicBezTo>
                      <a:pt x="9629" y="6758"/>
                      <a:pt x="13935" y="4605"/>
                      <a:pt x="18241" y="2452"/>
                    </a:cubicBezTo>
                    <a:cubicBezTo>
                      <a:pt x="18481" y="2871"/>
                      <a:pt x="18720" y="3289"/>
                      <a:pt x="18959" y="3708"/>
                    </a:cubicBezTo>
                    <a:cubicBezTo>
                      <a:pt x="15968" y="5203"/>
                      <a:pt x="13038" y="6878"/>
                      <a:pt x="9928" y="8074"/>
                    </a:cubicBezTo>
                    <a:cubicBezTo>
                      <a:pt x="6519" y="9330"/>
                      <a:pt x="5502" y="11064"/>
                      <a:pt x="7297" y="15131"/>
                    </a:cubicBezTo>
                    <a:cubicBezTo>
                      <a:pt x="13158" y="28289"/>
                      <a:pt x="18361" y="41745"/>
                      <a:pt x="24581" y="54724"/>
                    </a:cubicBezTo>
                    <a:cubicBezTo>
                      <a:pt x="25717" y="57176"/>
                      <a:pt x="30083" y="58013"/>
                      <a:pt x="32236" y="59149"/>
                    </a:cubicBezTo>
                    <a:cubicBezTo>
                      <a:pt x="30561" y="59269"/>
                      <a:pt x="27631" y="59508"/>
                      <a:pt x="24282" y="59747"/>
                    </a:cubicBezTo>
                    <a:cubicBezTo>
                      <a:pt x="16268" y="40071"/>
                      <a:pt x="8313" y="20454"/>
                      <a:pt x="0" y="0"/>
                    </a:cubicBezTo>
                    <a:cubicBezTo>
                      <a:pt x="1854" y="478"/>
                      <a:pt x="3349" y="897"/>
                      <a:pt x="4904" y="1316"/>
                    </a:cubicBezTo>
                    <a:lnTo>
                      <a:pt x="4964" y="1136"/>
                    </a:lnTo>
                    <a:close/>
                  </a:path>
                </a:pathLst>
              </a:custGeom>
              <a:grpFill/>
              <a:ln w="6350" cap="flat">
                <a:solidFill>
                  <a:schemeClr val="bg1">
                    <a:alpha val="80000"/>
                  </a:schemeClr>
                </a:solidFill>
                <a:prstDash val="solid"/>
                <a:miter/>
              </a:ln>
            </p:spPr>
            <p:txBody>
              <a:bodyPr rtlCol="0" anchor="ctr"/>
              <a:lstStyle/>
              <a:p>
                <a:endParaRPr lang="en-GB"/>
              </a:p>
            </p:txBody>
          </p:sp>
          <p:sp>
            <p:nvSpPr>
              <p:cNvPr id="9427" name="Vrije vorm: vorm 9426">
                <a:extLst>
                  <a:ext uri="{FF2B5EF4-FFF2-40B4-BE49-F238E27FC236}">
                    <a16:creationId xmlns:a16="http://schemas.microsoft.com/office/drawing/2014/main" id="{949F7BEB-70DE-4934-9B03-3AA1440CF444}"/>
                  </a:ext>
                </a:extLst>
              </p:cNvPr>
              <p:cNvSpPr/>
              <p:nvPr/>
            </p:nvSpPr>
            <p:spPr>
              <a:xfrm>
                <a:off x="5444207" y="1936682"/>
                <a:ext cx="56524" cy="136909"/>
              </a:xfrm>
              <a:custGeom>
                <a:avLst/>
                <a:gdLst>
                  <a:gd name="connsiteX0" fmla="*/ 28761 w 56524"/>
                  <a:gd name="connsiteY0" fmla="*/ 68252 h 136909"/>
                  <a:gd name="connsiteX1" fmla="*/ 56026 w 56524"/>
                  <a:gd name="connsiteY1" fmla="*/ 136707 h 136909"/>
                  <a:gd name="connsiteX2" fmla="*/ 27763 w 56524"/>
                  <a:gd name="connsiteY2" fmla="*/ 68658 h 136909"/>
                  <a:gd name="connsiteX3" fmla="*/ 499 w 56524"/>
                  <a:gd name="connsiteY3" fmla="*/ 203 h 136909"/>
                  <a:gd name="connsiteX4" fmla="*/ 28761 w 56524"/>
                  <a:gd name="connsiteY4" fmla="*/ 68252 h 136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24" h="136909">
                    <a:moveTo>
                      <a:pt x="28761" y="68252"/>
                    </a:moveTo>
                    <a:cubicBezTo>
                      <a:pt x="44094" y="105947"/>
                      <a:pt x="56301" y="136595"/>
                      <a:pt x="56026" y="136707"/>
                    </a:cubicBezTo>
                    <a:cubicBezTo>
                      <a:pt x="55750" y="136819"/>
                      <a:pt x="43097" y="106352"/>
                      <a:pt x="27763" y="68658"/>
                    </a:cubicBezTo>
                    <a:cubicBezTo>
                      <a:pt x="12430" y="30963"/>
                      <a:pt x="223" y="315"/>
                      <a:pt x="499" y="203"/>
                    </a:cubicBezTo>
                    <a:cubicBezTo>
                      <a:pt x="774" y="91"/>
                      <a:pt x="13427" y="30557"/>
                      <a:pt x="28761" y="6825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28" name="Vrije vorm: vorm 9427">
                <a:extLst>
                  <a:ext uri="{FF2B5EF4-FFF2-40B4-BE49-F238E27FC236}">
                    <a16:creationId xmlns:a16="http://schemas.microsoft.com/office/drawing/2014/main" id="{9FB61AE0-99FA-44D7-B4BC-AA5DC9D92558}"/>
                  </a:ext>
                </a:extLst>
              </p:cNvPr>
              <p:cNvSpPr/>
              <p:nvPr/>
            </p:nvSpPr>
            <p:spPr>
              <a:xfrm>
                <a:off x="4596025" y="2204773"/>
                <a:ext cx="41326" cy="97844"/>
              </a:xfrm>
              <a:custGeom>
                <a:avLst/>
                <a:gdLst>
                  <a:gd name="connsiteX0" fmla="*/ 0 w 41326"/>
                  <a:gd name="connsiteY0" fmla="*/ 0 h 97844"/>
                  <a:gd name="connsiteX1" fmla="*/ 41327 w 41326"/>
                  <a:gd name="connsiteY1" fmla="*/ 97187 h 97844"/>
                  <a:gd name="connsiteX2" fmla="*/ 39772 w 41326"/>
                  <a:gd name="connsiteY2" fmla="*/ 97845 h 97844"/>
                  <a:gd name="connsiteX3" fmla="*/ 0 w 41326"/>
                  <a:gd name="connsiteY3" fmla="*/ 0 h 97844"/>
                </a:gdLst>
                <a:ahLst/>
                <a:cxnLst>
                  <a:cxn ang="0">
                    <a:pos x="connsiteX0" y="connsiteY0"/>
                  </a:cxn>
                  <a:cxn ang="0">
                    <a:pos x="connsiteX1" y="connsiteY1"/>
                  </a:cxn>
                  <a:cxn ang="0">
                    <a:pos x="connsiteX2" y="connsiteY2"/>
                  </a:cxn>
                  <a:cxn ang="0">
                    <a:pos x="connsiteX3" y="connsiteY3"/>
                  </a:cxn>
                </a:cxnLst>
                <a:rect l="l" t="t" r="r" b="b"/>
                <a:pathLst>
                  <a:path w="41326" h="97844">
                    <a:moveTo>
                      <a:pt x="0" y="0"/>
                    </a:moveTo>
                    <a:cubicBezTo>
                      <a:pt x="13277" y="31160"/>
                      <a:pt x="27272" y="64173"/>
                      <a:pt x="41327" y="97187"/>
                    </a:cubicBezTo>
                    <a:cubicBezTo>
                      <a:pt x="40789" y="97426"/>
                      <a:pt x="40310" y="97605"/>
                      <a:pt x="39772" y="97845"/>
                    </a:cubicBezTo>
                    <a:cubicBezTo>
                      <a:pt x="26255" y="64592"/>
                      <a:pt x="12739" y="31339"/>
                      <a:pt x="0"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29" name="Vrije vorm: vorm 9428">
                <a:extLst>
                  <a:ext uri="{FF2B5EF4-FFF2-40B4-BE49-F238E27FC236}">
                    <a16:creationId xmlns:a16="http://schemas.microsoft.com/office/drawing/2014/main" id="{DB16341B-3696-4D7C-8917-BF7EC2D30C35}"/>
                  </a:ext>
                </a:extLst>
              </p:cNvPr>
              <p:cNvSpPr/>
              <p:nvPr/>
            </p:nvSpPr>
            <p:spPr>
              <a:xfrm>
                <a:off x="4879033" y="1340679"/>
                <a:ext cx="24042" cy="58132"/>
              </a:xfrm>
              <a:custGeom>
                <a:avLst/>
                <a:gdLst>
                  <a:gd name="connsiteX0" fmla="*/ 23564 w 24042"/>
                  <a:gd name="connsiteY0" fmla="*/ 58133 h 58132"/>
                  <a:gd name="connsiteX1" fmla="*/ 0 w 24042"/>
                  <a:gd name="connsiteY1" fmla="*/ 239 h 58132"/>
                  <a:gd name="connsiteX2" fmla="*/ 538 w 24042"/>
                  <a:gd name="connsiteY2" fmla="*/ 0 h 58132"/>
                  <a:gd name="connsiteX3" fmla="*/ 24042 w 24042"/>
                  <a:gd name="connsiteY3" fmla="*/ 57834 h 58132"/>
                  <a:gd name="connsiteX4" fmla="*/ 23564 w 24042"/>
                  <a:gd name="connsiteY4" fmla="*/ 58133 h 58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2" h="58132">
                    <a:moveTo>
                      <a:pt x="23564" y="58133"/>
                    </a:moveTo>
                    <a:cubicBezTo>
                      <a:pt x="15729" y="38815"/>
                      <a:pt x="7894" y="19557"/>
                      <a:pt x="0" y="239"/>
                    </a:cubicBezTo>
                    <a:cubicBezTo>
                      <a:pt x="179" y="179"/>
                      <a:pt x="359" y="60"/>
                      <a:pt x="538" y="0"/>
                    </a:cubicBezTo>
                    <a:cubicBezTo>
                      <a:pt x="8373" y="19258"/>
                      <a:pt x="16208" y="38516"/>
                      <a:pt x="24042" y="57834"/>
                    </a:cubicBezTo>
                    <a:cubicBezTo>
                      <a:pt x="23923" y="57893"/>
                      <a:pt x="23743" y="58013"/>
                      <a:pt x="23564" y="5813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30" name="Vrije vorm: vorm 9429">
                <a:extLst>
                  <a:ext uri="{FF2B5EF4-FFF2-40B4-BE49-F238E27FC236}">
                    <a16:creationId xmlns:a16="http://schemas.microsoft.com/office/drawing/2014/main" id="{6540BC9B-05D1-4E4B-BBA5-86B043FE8787}"/>
                  </a:ext>
                </a:extLst>
              </p:cNvPr>
              <p:cNvSpPr/>
              <p:nvPr/>
            </p:nvSpPr>
            <p:spPr>
              <a:xfrm>
                <a:off x="4941651" y="1494204"/>
                <a:ext cx="23803" cy="57474"/>
              </a:xfrm>
              <a:custGeom>
                <a:avLst/>
                <a:gdLst>
                  <a:gd name="connsiteX0" fmla="*/ 538 w 23803"/>
                  <a:gd name="connsiteY0" fmla="*/ 0 h 57474"/>
                  <a:gd name="connsiteX1" fmla="*/ 23803 w 23803"/>
                  <a:gd name="connsiteY1" fmla="*/ 57235 h 57474"/>
                  <a:gd name="connsiteX2" fmla="*/ 23325 w 23803"/>
                  <a:gd name="connsiteY2" fmla="*/ 57475 h 57474"/>
                  <a:gd name="connsiteX3" fmla="*/ 0 w 23803"/>
                  <a:gd name="connsiteY3" fmla="*/ 179 h 57474"/>
                  <a:gd name="connsiteX4" fmla="*/ 538 w 23803"/>
                  <a:gd name="connsiteY4" fmla="*/ 0 h 57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03" h="57474">
                    <a:moveTo>
                      <a:pt x="538" y="0"/>
                    </a:moveTo>
                    <a:cubicBezTo>
                      <a:pt x="8313" y="19079"/>
                      <a:pt x="16088" y="38157"/>
                      <a:pt x="23803" y="57235"/>
                    </a:cubicBezTo>
                    <a:cubicBezTo>
                      <a:pt x="23624" y="57295"/>
                      <a:pt x="23444" y="57415"/>
                      <a:pt x="23325" y="57475"/>
                    </a:cubicBezTo>
                    <a:cubicBezTo>
                      <a:pt x="15550" y="38396"/>
                      <a:pt x="7775" y="19258"/>
                      <a:pt x="0" y="179"/>
                    </a:cubicBezTo>
                    <a:cubicBezTo>
                      <a:pt x="180" y="179"/>
                      <a:pt x="359" y="60"/>
                      <a:pt x="53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31" name="Vrije vorm: vorm 9430">
                <a:extLst>
                  <a:ext uri="{FF2B5EF4-FFF2-40B4-BE49-F238E27FC236}">
                    <a16:creationId xmlns:a16="http://schemas.microsoft.com/office/drawing/2014/main" id="{10D9DFD0-28EF-46F9-A264-1848A292B3CA}"/>
                  </a:ext>
                </a:extLst>
              </p:cNvPr>
              <p:cNvSpPr/>
              <p:nvPr/>
            </p:nvSpPr>
            <p:spPr>
              <a:xfrm>
                <a:off x="5139254" y="1847485"/>
                <a:ext cx="38097" cy="68359"/>
              </a:xfrm>
              <a:custGeom>
                <a:avLst/>
                <a:gdLst>
                  <a:gd name="connsiteX0" fmla="*/ 0 w 38097"/>
                  <a:gd name="connsiteY0" fmla="*/ 3469 h 68359"/>
                  <a:gd name="connsiteX1" fmla="*/ 28648 w 38097"/>
                  <a:gd name="connsiteY1" fmla="*/ 0 h 68359"/>
                  <a:gd name="connsiteX2" fmla="*/ 28887 w 38097"/>
                  <a:gd name="connsiteY2" fmla="*/ 1077 h 68359"/>
                  <a:gd name="connsiteX3" fmla="*/ 2751 w 38097"/>
                  <a:gd name="connsiteY3" fmla="*/ 4665 h 68359"/>
                  <a:gd name="connsiteX4" fmla="*/ 3649 w 38097"/>
                  <a:gd name="connsiteY4" fmla="*/ 8313 h 68359"/>
                  <a:gd name="connsiteX5" fmla="*/ 25538 w 38097"/>
                  <a:gd name="connsiteY5" fmla="*/ 62439 h 68359"/>
                  <a:gd name="connsiteX6" fmla="*/ 31399 w 38097"/>
                  <a:gd name="connsiteY6" fmla="*/ 66386 h 68359"/>
                  <a:gd name="connsiteX7" fmla="*/ 38097 w 38097"/>
                  <a:gd name="connsiteY7" fmla="*/ 66924 h 68359"/>
                  <a:gd name="connsiteX8" fmla="*/ 26375 w 38097"/>
                  <a:gd name="connsiteY8" fmla="*/ 68360 h 68359"/>
                  <a:gd name="connsiteX9" fmla="*/ 0 w 38097"/>
                  <a:gd name="connsiteY9" fmla="*/ 3469 h 6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097" h="68359">
                    <a:moveTo>
                      <a:pt x="0" y="3469"/>
                    </a:moveTo>
                    <a:cubicBezTo>
                      <a:pt x="9868" y="2273"/>
                      <a:pt x="19258" y="1136"/>
                      <a:pt x="28648" y="0"/>
                    </a:cubicBezTo>
                    <a:cubicBezTo>
                      <a:pt x="28708" y="359"/>
                      <a:pt x="28767" y="718"/>
                      <a:pt x="28887" y="1077"/>
                    </a:cubicBezTo>
                    <a:cubicBezTo>
                      <a:pt x="20275" y="2273"/>
                      <a:pt x="11722" y="3469"/>
                      <a:pt x="2751" y="4665"/>
                    </a:cubicBezTo>
                    <a:cubicBezTo>
                      <a:pt x="3110" y="6100"/>
                      <a:pt x="3230" y="7237"/>
                      <a:pt x="3649" y="8313"/>
                    </a:cubicBezTo>
                    <a:cubicBezTo>
                      <a:pt x="10945" y="26375"/>
                      <a:pt x="18361" y="44377"/>
                      <a:pt x="25538" y="62439"/>
                    </a:cubicBezTo>
                    <a:cubicBezTo>
                      <a:pt x="26794" y="65668"/>
                      <a:pt x="28289" y="66984"/>
                      <a:pt x="31399" y="66386"/>
                    </a:cubicBezTo>
                    <a:cubicBezTo>
                      <a:pt x="33492" y="65967"/>
                      <a:pt x="35765" y="66147"/>
                      <a:pt x="38097" y="66924"/>
                    </a:cubicBezTo>
                    <a:cubicBezTo>
                      <a:pt x="34210" y="67403"/>
                      <a:pt x="30322" y="67881"/>
                      <a:pt x="26375" y="68360"/>
                    </a:cubicBezTo>
                    <a:cubicBezTo>
                      <a:pt x="17524" y="46650"/>
                      <a:pt x="8792" y="25179"/>
                      <a:pt x="0" y="346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32" name="Vrije vorm: vorm 9431">
                <a:extLst>
                  <a:ext uri="{FF2B5EF4-FFF2-40B4-BE49-F238E27FC236}">
                    <a16:creationId xmlns:a16="http://schemas.microsoft.com/office/drawing/2014/main" id="{533DF350-D7AB-462B-A7A6-0D0C6986638B}"/>
                  </a:ext>
                </a:extLst>
              </p:cNvPr>
              <p:cNvSpPr/>
              <p:nvPr/>
            </p:nvSpPr>
            <p:spPr>
              <a:xfrm>
                <a:off x="5107437" y="1765609"/>
                <a:ext cx="34508" cy="71828"/>
              </a:xfrm>
              <a:custGeom>
                <a:avLst/>
                <a:gdLst>
                  <a:gd name="connsiteX0" fmla="*/ 29784 w 34508"/>
                  <a:gd name="connsiteY0" fmla="*/ 70513 h 71828"/>
                  <a:gd name="connsiteX1" fmla="*/ 26495 w 34508"/>
                  <a:gd name="connsiteY1" fmla="*/ 71828 h 71828"/>
                  <a:gd name="connsiteX2" fmla="*/ 0 w 34508"/>
                  <a:gd name="connsiteY2" fmla="*/ 6698 h 71828"/>
                  <a:gd name="connsiteX3" fmla="*/ 34210 w 34508"/>
                  <a:gd name="connsiteY3" fmla="*/ 0 h 71828"/>
                  <a:gd name="connsiteX4" fmla="*/ 34509 w 34508"/>
                  <a:gd name="connsiteY4" fmla="*/ 1136 h 71828"/>
                  <a:gd name="connsiteX5" fmla="*/ 1973 w 34508"/>
                  <a:gd name="connsiteY5" fmla="*/ 7835 h 71828"/>
                  <a:gd name="connsiteX6" fmla="*/ 6639 w 34508"/>
                  <a:gd name="connsiteY6" fmla="*/ 19377 h 71828"/>
                  <a:gd name="connsiteX7" fmla="*/ 25358 w 34508"/>
                  <a:gd name="connsiteY7" fmla="*/ 65070 h 71828"/>
                  <a:gd name="connsiteX8" fmla="*/ 29784 w 34508"/>
                  <a:gd name="connsiteY8" fmla="*/ 70692 h 71828"/>
                  <a:gd name="connsiteX9" fmla="*/ 29784 w 34508"/>
                  <a:gd name="connsiteY9" fmla="*/ 70513 h 7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08" h="71828">
                    <a:moveTo>
                      <a:pt x="29784" y="70513"/>
                    </a:moveTo>
                    <a:cubicBezTo>
                      <a:pt x="28707" y="70931"/>
                      <a:pt x="27571" y="71410"/>
                      <a:pt x="26495" y="71828"/>
                    </a:cubicBezTo>
                    <a:cubicBezTo>
                      <a:pt x="17643" y="50059"/>
                      <a:pt x="8911" y="28528"/>
                      <a:pt x="0" y="6698"/>
                    </a:cubicBezTo>
                    <a:cubicBezTo>
                      <a:pt x="11363" y="4486"/>
                      <a:pt x="22787" y="2213"/>
                      <a:pt x="34210" y="0"/>
                    </a:cubicBezTo>
                    <a:cubicBezTo>
                      <a:pt x="34329" y="359"/>
                      <a:pt x="34389" y="777"/>
                      <a:pt x="34509" y="1136"/>
                    </a:cubicBezTo>
                    <a:cubicBezTo>
                      <a:pt x="23923" y="3349"/>
                      <a:pt x="13277" y="5502"/>
                      <a:pt x="1973" y="7835"/>
                    </a:cubicBezTo>
                    <a:cubicBezTo>
                      <a:pt x="3648" y="11961"/>
                      <a:pt x="5143" y="15669"/>
                      <a:pt x="6639" y="19377"/>
                    </a:cubicBezTo>
                    <a:cubicBezTo>
                      <a:pt x="12858" y="34628"/>
                      <a:pt x="18959" y="49879"/>
                      <a:pt x="25358" y="65070"/>
                    </a:cubicBezTo>
                    <a:cubicBezTo>
                      <a:pt x="26255" y="67223"/>
                      <a:pt x="28289" y="68838"/>
                      <a:pt x="29784" y="70692"/>
                    </a:cubicBezTo>
                    <a:lnTo>
                      <a:pt x="29784" y="70513"/>
                    </a:lnTo>
                    <a:close/>
                  </a:path>
                </a:pathLst>
              </a:custGeom>
              <a:grpFill/>
              <a:ln w="6350" cap="flat">
                <a:solidFill>
                  <a:schemeClr val="bg1">
                    <a:alpha val="80000"/>
                  </a:schemeClr>
                </a:solidFill>
                <a:prstDash val="solid"/>
                <a:miter/>
              </a:ln>
            </p:spPr>
            <p:txBody>
              <a:bodyPr rtlCol="0" anchor="ctr"/>
              <a:lstStyle/>
              <a:p>
                <a:endParaRPr lang="en-GB"/>
              </a:p>
            </p:txBody>
          </p:sp>
          <p:sp>
            <p:nvSpPr>
              <p:cNvPr id="9433" name="Vrije vorm: vorm 9432">
                <a:extLst>
                  <a:ext uri="{FF2B5EF4-FFF2-40B4-BE49-F238E27FC236}">
                    <a16:creationId xmlns:a16="http://schemas.microsoft.com/office/drawing/2014/main" id="{18AB6E87-AF92-4D7F-9CF4-8C002C04477E}"/>
                  </a:ext>
                </a:extLst>
              </p:cNvPr>
              <p:cNvSpPr/>
              <p:nvPr/>
            </p:nvSpPr>
            <p:spPr>
              <a:xfrm>
                <a:off x="5099961" y="1852808"/>
                <a:ext cx="32295" cy="66744"/>
              </a:xfrm>
              <a:custGeom>
                <a:avLst/>
                <a:gdLst>
                  <a:gd name="connsiteX0" fmla="*/ 27152 w 32295"/>
                  <a:gd name="connsiteY0" fmla="*/ 66745 h 66744"/>
                  <a:gd name="connsiteX1" fmla="*/ 24282 w 32295"/>
                  <a:gd name="connsiteY1" fmla="*/ 63396 h 66744"/>
                  <a:gd name="connsiteX2" fmla="*/ 0 w 32295"/>
                  <a:gd name="connsiteY2" fmla="*/ 3888 h 66744"/>
                  <a:gd name="connsiteX3" fmla="*/ 32057 w 32295"/>
                  <a:gd name="connsiteY3" fmla="*/ 0 h 66744"/>
                  <a:gd name="connsiteX4" fmla="*/ 32296 w 32295"/>
                  <a:gd name="connsiteY4" fmla="*/ 1077 h 66744"/>
                  <a:gd name="connsiteX5" fmla="*/ 1794 w 32295"/>
                  <a:gd name="connsiteY5" fmla="*/ 5203 h 66744"/>
                  <a:gd name="connsiteX6" fmla="*/ 27152 w 32295"/>
                  <a:gd name="connsiteY6" fmla="*/ 66745 h 6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95" h="66744">
                    <a:moveTo>
                      <a:pt x="27152" y="66745"/>
                    </a:moveTo>
                    <a:cubicBezTo>
                      <a:pt x="26136" y="65609"/>
                      <a:pt x="24820" y="64652"/>
                      <a:pt x="24282" y="63396"/>
                    </a:cubicBezTo>
                    <a:cubicBezTo>
                      <a:pt x="16148" y="43719"/>
                      <a:pt x="8194" y="23983"/>
                      <a:pt x="0" y="3888"/>
                    </a:cubicBezTo>
                    <a:cubicBezTo>
                      <a:pt x="10586" y="2572"/>
                      <a:pt x="21351" y="1316"/>
                      <a:pt x="32057" y="0"/>
                    </a:cubicBezTo>
                    <a:cubicBezTo>
                      <a:pt x="32116" y="359"/>
                      <a:pt x="32176" y="718"/>
                      <a:pt x="32296" y="1077"/>
                    </a:cubicBezTo>
                    <a:cubicBezTo>
                      <a:pt x="22428" y="2392"/>
                      <a:pt x="12559" y="3708"/>
                      <a:pt x="1794" y="5203"/>
                    </a:cubicBezTo>
                    <a:cubicBezTo>
                      <a:pt x="10287" y="25897"/>
                      <a:pt x="18121" y="46231"/>
                      <a:pt x="27152" y="6674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34" name="Vrije vorm: vorm 9433">
                <a:extLst>
                  <a:ext uri="{FF2B5EF4-FFF2-40B4-BE49-F238E27FC236}">
                    <a16:creationId xmlns:a16="http://schemas.microsoft.com/office/drawing/2014/main" id="{B1B7502F-1BCB-4658-9B4F-81CF1D5B852B}"/>
                  </a:ext>
                </a:extLst>
              </p:cNvPr>
              <p:cNvSpPr/>
              <p:nvPr/>
            </p:nvSpPr>
            <p:spPr>
              <a:xfrm>
                <a:off x="4862406" y="1357365"/>
                <a:ext cx="38216" cy="56338"/>
              </a:xfrm>
              <a:custGeom>
                <a:avLst/>
                <a:gdLst>
                  <a:gd name="connsiteX0" fmla="*/ 18062 w 38216"/>
                  <a:gd name="connsiteY0" fmla="*/ 56338 h 56338"/>
                  <a:gd name="connsiteX1" fmla="*/ 18720 w 38216"/>
                  <a:gd name="connsiteY1" fmla="*/ 52152 h 56338"/>
                  <a:gd name="connsiteX2" fmla="*/ 0 w 38216"/>
                  <a:gd name="connsiteY2" fmla="*/ 5861 h 56338"/>
                  <a:gd name="connsiteX3" fmla="*/ 19557 w 38216"/>
                  <a:gd name="connsiteY3" fmla="*/ 0 h 56338"/>
                  <a:gd name="connsiteX4" fmla="*/ 19916 w 38216"/>
                  <a:gd name="connsiteY4" fmla="*/ 957 h 56338"/>
                  <a:gd name="connsiteX5" fmla="*/ 2153 w 38216"/>
                  <a:gd name="connsiteY5" fmla="*/ 6938 h 56338"/>
                  <a:gd name="connsiteX6" fmla="*/ 21052 w 38216"/>
                  <a:gd name="connsiteY6" fmla="*/ 53468 h 56338"/>
                  <a:gd name="connsiteX7" fmla="*/ 37439 w 38216"/>
                  <a:gd name="connsiteY7" fmla="*/ 42882 h 56338"/>
                  <a:gd name="connsiteX8" fmla="*/ 38217 w 38216"/>
                  <a:gd name="connsiteY8" fmla="*/ 44198 h 56338"/>
                  <a:gd name="connsiteX9" fmla="*/ 17942 w 38216"/>
                  <a:gd name="connsiteY9" fmla="*/ 56279 h 56338"/>
                  <a:gd name="connsiteX10" fmla="*/ 18062 w 38216"/>
                  <a:gd name="connsiteY10" fmla="*/ 56338 h 5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16" h="56338">
                    <a:moveTo>
                      <a:pt x="18062" y="56338"/>
                    </a:moveTo>
                    <a:cubicBezTo>
                      <a:pt x="18301" y="54903"/>
                      <a:pt x="19198" y="53288"/>
                      <a:pt x="18720" y="52152"/>
                    </a:cubicBezTo>
                    <a:cubicBezTo>
                      <a:pt x="12619" y="36722"/>
                      <a:pt x="6340" y="21411"/>
                      <a:pt x="0" y="5861"/>
                    </a:cubicBezTo>
                    <a:cubicBezTo>
                      <a:pt x="6220" y="4007"/>
                      <a:pt x="12918" y="2033"/>
                      <a:pt x="19557" y="0"/>
                    </a:cubicBezTo>
                    <a:cubicBezTo>
                      <a:pt x="19676" y="299"/>
                      <a:pt x="19796" y="658"/>
                      <a:pt x="19916" y="957"/>
                    </a:cubicBezTo>
                    <a:cubicBezTo>
                      <a:pt x="14114" y="2871"/>
                      <a:pt x="8373" y="4844"/>
                      <a:pt x="2153" y="6938"/>
                    </a:cubicBezTo>
                    <a:cubicBezTo>
                      <a:pt x="8373" y="22248"/>
                      <a:pt x="14593" y="37499"/>
                      <a:pt x="21052" y="53468"/>
                    </a:cubicBezTo>
                    <a:cubicBezTo>
                      <a:pt x="26495" y="49939"/>
                      <a:pt x="31997" y="46410"/>
                      <a:pt x="37439" y="42882"/>
                    </a:cubicBezTo>
                    <a:cubicBezTo>
                      <a:pt x="37678" y="43300"/>
                      <a:pt x="37918" y="43779"/>
                      <a:pt x="38217" y="44198"/>
                    </a:cubicBezTo>
                    <a:cubicBezTo>
                      <a:pt x="31459" y="48205"/>
                      <a:pt x="24700" y="52212"/>
                      <a:pt x="17942" y="56279"/>
                    </a:cubicBezTo>
                    <a:cubicBezTo>
                      <a:pt x="17882" y="56219"/>
                      <a:pt x="18062" y="56338"/>
                      <a:pt x="18062" y="5633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35" name="Vrije vorm: vorm 9434">
                <a:extLst>
                  <a:ext uri="{FF2B5EF4-FFF2-40B4-BE49-F238E27FC236}">
                    <a16:creationId xmlns:a16="http://schemas.microsoft.com/office/drawing/2014/main" id="{796EB53B-1C94-43FB-A01E-ED6EAD02D150}"/>
                  </a:ext>
                </a:extLst>
              </p:cNvPr>
              <p:cNvSpPr/>
              <p:nvPr/>
            </p:nvSpPr>
            <p:spPr>
              <a:xfrm>
                <a:off x="5174301" y="1927567"/>
                <a:ext cx="57773" cy="66027"/>
              </a:xfrm>
              <a:custGeom>
                <a:avLst/>
                <a:gdLst>
                  <a:gd name="connsiteX0" fmla="*/ 0 w 57773"/>
                  <a:gd name="connsiteY0" fmla="*/ 2990 h 66027"/>
                  <a:gd name="connsiteX1" fmla="*/ 12260 w 57773"/>
                  <a:gd name="connsiteY1" fmla="*/ 1256 h 66027"/>
                  <a:gd name="connsiteX2" fmla="*/ 31099 w 57773"/>
                  <a:gd name="connsiteY2" fmla="*/ 0 h 66027"/>
                  <a:gd name="connsiteX3" fmla="*/ 57774 w 57773"/>
                  <a:gd name="connsiteY3" fmla="*/ 65609 h 66027"/>
                  <a:gd name="connsiteX4" fmla="*/ 56817 w 57773"/>
                  <a:gd name="connsiteY4" fmla="*/ 66027 h 66027"/>
                  <a:gd name="connsiteX5" fmla="*/ 35286 w 57773"/>
                  <a:gd name="connsiteY5" fmla="*/ 13098 h 66027"/>
                  <a:gd name="connsiteX6" fmla="*/ 19318 w 57773"/>
                  <a:gd name="connsiteY6" fmla="*/ 2213 h 66027"/>
                  <a:gd name="connsiteX7" fmla="*/ 119 w 57773"/>
                  <a:gd name="connsiteY7" fmla="*/ 2871 h 66027"/>
                  <a:gd name="connsiteX8" fmla="*/ 0 w 57773"/>
                  <a:gd name="connsiteY8" fmla="*/ 2990 h 6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73" h="66027">
                    <a:moveTo>
                      <a:pt x="0" y="2990"/>
                    </a:moveTo>
                    <a:cubicBezTo>
                      <a:pt x="4067" y="2392"/>
                      <a:pt x="8134" y="1675"/>
                      <a:pt x="12260" y="1256"/>
                    </a:cubicBezTo>
                    <a:cubicBezTo>
                      <a:pt x="18600" y="658"/>
                      <a:pt x="24999" y="359"/>
                      <a:pt x="31099" y="0"/>
                    </a:cubicBezTo>
                    <a:cubicBezTo>
                      <a:pt x="40011" y="21949"/>
                      <a:pt x="48922" y="43779"/>
                      <a:pt x="57774" y="65609"/>
                    </a:cubicBezTo>
                    <a:cubicBezTo>
                      <a:pt x="57475" y="65728"/>
                      <a:pt x="57116" y="65848"/>
                      <a:pt x="56817" y="66027"/>
                    </a:cubicBezTo>
                    <a:cubicBezTo>
                      <a:pt x="49640" y="48384"/>
                      <a:pt x="42463" y="30741"/>
                      <a:pt x="35286" y="13098"/>
                    </a:cubicBezTo>
                    <a:cubicBezTo>
                      <a:pt x="30621" y="1675"/>
                      <a:pt x="30621" y="1675"/>
                      <a:pt x="19318" y="2213"/>
                    </a:cubicBezTo>
                    <a:cubicBezTo>
                      <a:pt x="12918" y="2512"/>
                      <a:pt x="6519" y="2691"/>
                      <a:pt x="119" y="2871"/>
                    </a:cubicBezTo>
                    <a:cubicBezTo>
                      <a:pt x="60" y="2811"/>
                      <a:pt x="0" y="2990"/>
                      <a:pt x="0" y="299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36" name="Vrije vorm: vorm 9435">
                <a:extLst>
                  <a:ext uri="{FF2B5EF4-FFF2-40B4-BE49-F238E27FC236}">
                    <a16:creationId xmlns:a16="http://schemas.microsoft.com/office/drawing/2014/main" id="{0AFA2775-8747-4CB2-B29E-0C943AD68B08}"/>
                  </a:ext>
                </a:extLst>
              </p:cNvPr>
              <p:cNvSpPr/>
              <p:nvPr/>
            </p:nvSpPr>
            <p:spPr>
              <a:xfrm>
                <a:off x="4859177" y="2005974"/>
                <a:ext cx="25298" cy="59807"/>
              </a:xfrm>
              <a:custGeom>
                <a:avLst/>
                <a:gdLst>
                  <a:gd name="connsiteX0" fmla="*/ 12141 w 25298"/>
                  <a:gd name="connsiteY0" fmla="*/ 58133 h 59807"/>
                  <a:gd name="connsiteX1" fmla="*/ 23205 w 25298"/>
                  <a:gd name="connsiteY1" fmla="*/ 57415 h 59807"/>
                  <a:gd name="connsiteX2" fmla="*/ 0 w 25298"/>
                  <a:gd name="connsiteY2" fmla="*/ 359 h 59807"/>
                  <a:gd name="connsiteX3" fmla="*/ 957 w 25298"/>
                  <a:gd name="connsiteY3" fmla="*/ 0 h 59807"/>
                  <a:gd name="connsiteX4" fmla="*/ 25298 w 25298"/>
                  <a:gd name="connsiteY4" fmla="*/ 59807 h 59807"/>
                  <a:gd name="connsiteX5" fmla="*/ 12260 w 25298"/>
                  <a:gd name="connsiteY5" fmla="*/ 58013 h 59807"/>
                  <a:gd name="connsiteX6" fmla="*/ 12141 w 25298"/>
                  <a:gd name="connsiteY6" fmla="*/ 58133 h 59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8" h="59807">
                    <a:moveTo>
                      <a:pt x="12141" y="58133"/>
                    </a:moveTo>
                    <a:cubicBezTo>
                      <a:pt x="15669" y="57893"/>
                      <a:pt x="19198" y="57654"/>
                      <a:pt x="23205" y="57415"/>
                    </a:cubicBezTo>
                    <a:cubicBezTo>
                      <a:pt x="15371" y="38217"/>
                      <a:pt x="7715" y="19258"/>
                      <a:pt x="0" y="359"/>
                    </a:cubicBezTo>
                    <a:cubicBezTo>
                      <a:pt x="299" y="239"/>
                      <a:pt x="658" y="120"/>
                      <a:pt x="957" y="0"/>
                    </a:cubicBezTo>
                    <a:cubicBezTo>
                      <a:pt x="9031" y="19796"/>
                      <a:pt x="17105" y="39652"/>
                      <a:pt x="25298" y="59807"/>
                    </a:cubicBezTo>
                    <a:cubicBezTo>
                      <a:pt x="21172" y="59209"/>
                      <a:pt x="16686" y="58611"/>
                      <a:pt x="12260" y="58013"/>
                    </a:cubicBezTo>
                    <a:cubicBezTo>
                      <a:pt x="12201" y="58013"/>
                      <a:pt x="12141" y="58133"/>
                      <a:pt x="12141" y="5813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37" name="Vrije vorm: vorm 9436">
                <a:extLst>
                  <a:ext uri="{FF2B5EF4-FFF2-40B4-BE49-F238E27FC236}">
                    <a16:creationId xmlns:a16="http://schemas.microsoft.com/office/drawing/2014/main" id="{D5B84D30-5C7C-42D1-859E-7F20D3D22A16}"/>
                  </a:ext>
                </a:extLst>
              </p:cNvPr>
              <p:cNvSpPr/>
              <p:nvPr/>
            </p:nvSpPr>
            <p:spPr>
              <a:xfrm>
                <a:off x="5388471" y="1653829"/>
                <a:ext cx="49998" cy="45573"/>
              </a:xfrm>
              <a:custGeom>
                <a:avLst/>
                <a:gdLst>
                  <a:gd name="connsiteX0" fmla="*/ 598 w 49998"/>
                  <a:gd name="connsiteY0" fmla="*/ 0 h 45573"/>
                  <a:gd name="connsiteX1" fmla="*/ 15968 w 49998"/>
                  <a:gd name="connsiteY1" fmla="*/ 38097 h 45573"/>
                  <a:gd name="connsiteX2" fmla="*/ 24222 w 49998"/>
                  <a:gd name="connsiteY2" fmla="*/ 42942 h 45573"/>
                  <a:gd name="connsiteX3" fmla="*/ 49999 w 49998"/>
                  <a:gd name="connsiteY3" fmla="*/ 38635 h 45573"/>
                  <a:gd name="connsiteX4" fmla="*/ 18480 w 49998"/>
                  <a:gd name="connsiteY4" fmla="*/ 45573 h 45573"/>
                  <a:gd name="connsiteX5" fmla="*/ 0 w 49998"/>
                  <a:gd name="connsiteY5" fmla="*/ 179 h 45573"/>
                  <a:gd name="connsiteX6" fmla="*/ 598 w 49998"/>
                  <a:gd name="connsiteY6" fmla="*/ 0 h 4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98" h="45573">
                    <a:moveTo>
                      <a:pt x="598" y="0"/>
                    </a:moveTo>
                    <a:cubicBezTo>
                      <a:pt x="5741" y="12679"/>
                      <a:pt x="11124" y="25298"/>
                      <a:pt x="15968" y="38097"/>
                    </a:cubicBezTo>
                    <a:cubicBezTo>
                      <a:pt x="17763" y="42822"/>
                      <a:pt x="19557" y="44257"/>
                      <a:pt x="24222" y="42942"/>
                    </a:cubicBezTo>
                    <a:cubicBezTo>
                      <a:pt x="32535" y="40609"/>
                      <a:pt x="41207" y="39234"/>
                      <a:pt x="49999" y="38635"/>
                    </a:cubicBezTo>
                    <a:cubicBezTo>
                      <a:pt x="39413" y="40968"/>
                      <a:pt x="28827" y="43300"/>
                      <a:pt x="18480" y="45573"/>
                    </a:cubicBezTo>
                    <a:cubicBezTo>
                      <a:pt x="12380" y="30561"/>
                      <a:pt x="6220" y="15370"/>
                      <a:pt x="0" y="179"/>
                    </a:cubicBezTo>
                    <a:cubicBezTo>
                      <a:pt x="179" y="179"/>
                      <a:pt x="419" y="120"/>
                      <a:pt x="59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38" name="Vrije vorm: vorm 9437">
                <a:extLst>
                  <a:ext uri="{FF2B5EF4-FFF2-40B4-BE49-F238E27FC236}">
                    <a16:creationId xmlns:a16="http://schemas.microsoft.com/office/drawing/2014/main" id="{F613A7FA-89F2-4491-8BFA-C5DC34C9A321}"/>
                  </a:ext>
                </a:extLst>
              </p:cNvPr>
              <p:cNvSpPr/>
              <p:nvPr/>
            </p:nvSpPr>
            <p:spPr>
              <a:xfrm>
                <a:off x="5137220" y="1769496"/>
                <a:ext cx="31518" cy="66744"/>
              </a:xfrm>
              <a:custGeom>
                <a:avLst/>
                <a:gdLst>
                  <a:gd name="connsiteX0" fmla="*/ 0 w 31518"/>
                  <a:gd name="connsiteY0" fmla="*/ 66745 h 66744"/>
                  <a:gd name="connsiteX1" fmla="*/ 24581 w 31518"/>
                  <a:gd name="connsiteY1" fmla="*/ 62259 h 66744"/>
                  <a:gd name="connsiteX2" fmla="*/ 29545 w 31518"/>
                  <a:gd name="connsiteY2" fmla="*/ 61362 h 66744"/>
                  <a:gd name="connsiteX3" fmla="*/ 4785 w 31518"/>
                  <a:gd name="connsiteY3" fmla="*/ 419 h 66744"/>
                  <a:gd name="connsiteX4" fmla="*/ 5861 w 31518"/>
                  <a:gd name="connsiteY4" fmla="*/ 0 h 66744"/>
                  <a:gd name="connsiteX5" fmla="*/ 31519 w 31518"/>
                  <a:gd name="connsiteY5" fmla="*/ 63037 h 66744"/>
                  <a:gd name="connsiteX6" fmla="*/ 120 w 31518"/>
                  <a:gd name="connsiteY6" fmla="*/ 66625 h 66744"/>
                  <a:gd name="connsiteX7" fmla="*/ 0 w 31518"/>
                  <a:gd name="connsiteY7" fmla="*/ 66745 h 6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18" h="66744">
                    <a:moveTo>
                      <a:pt x="0" y="66745"/>
                    </a:moveTo>
                    <a:cubicBezTo>
                      <a:pt x="8194" y="65250"/>
                      <a:pt x="16387" y="63755"/>
                      <a:pt x="24581" y="62259"/>
                    </a:cubicBezTo>
                    <a:cubicBezTo>
                      <a:pt x="25956" y="62020"/>
                      <a:pt x="27392" y="61721"/>
                      <a:pt x="29545" y="61362"/>
                    </a:cubicBezTo>
                    <a:cubicBezTo>
                      <a:pt x="21172" y="40729"/>
                      <a:pt x="12978" y="20574"/>
                      <a:pt x="4785" y="419"/>
                    </a:cubicBezTo>
                    <a:cubicBezTo>
                      <a:pt x="5143" y="299"/>
                      <a:pt x="5502" y="120"/>
                      <a:pt x="5861" y="0"/>
                    </a:cubicBezTo>
                    <a:cubicBezTo>
                      <a:pt x="14354" y="20873"/>
                      <a:pt x="22846" y="41745"/>
                      <a:pt x="31519" y="63037"/>
                    </a:cubicBezTo>
                    <a:cubicBezTo>
                      <a:pt x="21172" y="64233"/>
                      <a:pt x="10645" y="65429"/>
                      <a:pt x="120" y="66625"/>
                    </a:cubicBezTo>
                    <a:cubicBezTo>
                      <a:pt x="0" y="66625"/>
                      <a:pt x="0" y="66745"/>
                      <a:pt x="0" y="6674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39" name="Vrije vorm: vorm 9438">
                <a:extLst>
                  <a:ext uri="{FF2B5EF4-FFF2-40B4-BE49-F238E27FC236}">
                    <a16:creationId xmlns:a16="http://schemas.microsoft.com/office/drawing/2014/main" id="{D632D5FD-BFEB-410C-A30C-1666EBB066CF}"/>
                  </a:ext>
                </a:extLst>
              </p:cNvPr>
              <p:cNvSpPr/>
              <p:nvPr/>
            </p:nvSpPr>
            <p:spPr>
              <a:xfrm>
                <a:off x="5378152" y="1998655"/>
                <a:ext cx="59093" cy="143225"/>
              </a:xfrm>
              <a:custGeom>
                <a:avLst/>
                <a:gdLst>
                  <a:gd name="connsiteX0" fmla="*/ 30045 w 59093"/>
                  <a:gd name="connsiteY0" fmla="*/ 71410 h 143225"/>
                  <a:gd name="connsiteX1" fmla="*/ 58595 w 59093"/>
                  <a:gd name="connsiteY1" fmla="*/ 143023 h 143225"/>
                  <a:gd name="connsiteX2" fmla="*/ 29048 w 59093"/>
                  <a:gd name="connsiteY2" fmla="*/ 71816 h 143225"/>
                  <a:gd name="connsiteX3" fmla="*/ 498 w 59093"/>
                  <a:gd name="connsiteY3" fmla="*/ 203 h 143225"/>
                  <a:gd name="connsiteX4" fmla="*/ 30045 w 59093"/>
                  <a:gd name="connsiteY4" fmla="*/ 71410 h 143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3" h="143225">
                    <a:moveTo>
                      <a:pt x="30045" y="71410"/>
                    </a:moveTo>
                    <a:cubicBezTo>
                      <a:pt x="46088" y="110848"/>
                      <a:pt x="58870" y="142910"/>
                      <a:pt x="58595" y="143023"/>
                    </a:cubicBezTo>
                    <a:cubicBezTo>
                      <a:pt x="58319" y="143135"/>
                      <a:pt x="45091" y="111254"/>
                      <a:pt x="29048" y="71816"/>
                    </a:cubicBezTo>
                    <a:cubicBezTo>
                      <a:pt x="13005" y="32377"/>
                      <a:pt x="223" y="315"/>
                      <a:pt x="498" y="203"/>
                    </a:cubicBezTo>
                    <a:cubicBezTo>
                      <a:pt x="774" y="91"/>
                      <a:pt x="14003" y="31971"/>
                      <a:pt x="30045" y="7141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40" name="Vrije vorm: vorm 9439">
                <a:extLst>
                  <a:ext uri="{FF2B5EF4-FFF2-40B4-BE49-F238E27FC236}">
                    <a16:creationId xmlns:a16="http://schemas.microsoft.com/office/drawing/2014/main" id="{B51E0EAD-772F-429B-938F-491AA6D36DA3}"/>
                  </a:ext>
                </a:extLst>
              </p:cNvPr>
              <p:cNvSpPr/>
              <p:nvPr/>
            </p:nvSpPr>
            <p:spPr>
              <a:xfrm>
                <a:off x="5299036" y="2026602"/>
                <a:ext cx="57634" cy="140320"/>
              </a:xfrm>
              <a:custGeom>
                <a:avLst/>
                <a:gdLst>
                  <a:gd name="connsiteX0" fmla="*/ 29149 w 57634"/>
                  <a:gd name="connsiteY0" fmla="*/ 70025 h 140320"/>
                  <a:gd name="connsiteX1" fmla="*/ 57302 w 57634"/>
                  <a:gd name="connsiteY1" fmla="*/ 140185 h 140320"/>
                  <a:gd name="connsiteX2" fmla="*/ 28485 w 57634"/>
                  <a:gd name="connsiteY2" fmla="*/ 70295 h 140320"/>
                  <a:gd name="connsiteX3" fmla="*/ 332 w 57634"/>
                  <a:gd name="connsiteY3" fmla="*/ 135 h 140320"/>
                  <a:gd name="connsiteX4" fmla="*/ 29149 w 57634"/>
                  <a:gd name="connsiteY4" fmla="*/ 70025 h 140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34" h="140320">
                    <a:moveTo>
                      <a:pt x="29149" y="70025"/>
                    </a:moveTo>
                    <a:cubicBezTo>
                      <a:pt x="44881" y="108699"/>
                      <a:pt x="57485" y="140110"/>
                      <a:pt x="57302" y="140185"/>
                    </a:cubicBezTo>
                    <a:cubicBezTo>
                      <a:pt x="57118" y="140260"/>
                      <a:pt x="44216" y="108969"/>
                      <a:pt x="28485" y="70295"/>
                    </a:cubicBezTo>
                    <a:cubicBezTo>
                      <a:pt x="12753" y="31622"/>
                      <a:pt x="149" y="210"/>
                      <a:pt x="332" y="135"/>
                    </a:cubicBezTo>
                    <a:cubicBezTo>
                      <a:pt x="516" y="60"/>
                      <a:pt x="13418" y="31351"/>
                      <a:pt x="29149" y="7002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41" name="Vrije vorm: vorm 9440">
                <a:extLst>
                  <a:ext uri="{FF2B5EF4-FFF2-40B4-BE49-F238E27FC236}">
                    <a16:creationId xmlns:a16="http://schemas.microsoft.com/office/drawing/2014/main" id="{96522473-B245-46DD-9AE6-52EC55B44B55}"/>
                  </a:ext>
                </a:extLst>
              </p:cNvPr>
              <p:cNvSpPr/>
              <p:nvPr/>
            </p:nvSpPr>
            <p:spPr>
              <a:xfrm>
                <a:off x="4813065" y="2067097"/>
                <a:ext cx="27391" cy="58072"/>
              </a:xfrm>
              <a:custGeom>
                <a:avLst/>
                <a:gdLst>
                  <a:gd name="connsiteX0" fmla="*/ 16387 w 27391"/>
                  <a:gd name="connsiteY0" fmla="*/ 2034 h 58072"/>
                  <a:gd name="connsiteX1" fmla="*/ 1974 w 27391"/>
                  <a:gd name="connsiteY1" fmla="*/ 2392 h 58072"/>
                  <a:gd name="connsiteX2" fmla="*/ 4486 w 27391"/>
                  <a:gd name="connsiteY2" fmla="*/ 8493 h 58072"/>
                  <a:gd name="connsiteX3" fmla="*/ 23265 w 27391"/>
                  <a:gd name="connsiteY3" fmla="*/ 52690 h 58072"/>
                  <a:gd name="connsiteX4" fmla="*/ 27392 w 27391"/>
                  <a:gd name="connsiteY4" fmla="*/ 58073 h 58072"/>
                  <a:gd name="connsiteX5" fmla="*/ 23325 w 27391"/>
                  <a:gd name="connsiteY5" fmla="*/ 56996 h 58072"/>
                  <a:gd name="connsiteX6" fmla="*/ 0 w 27391"/>
                  <a:gd name="connsiteY6" fmla="*/ 0 h 58072"/>
                  <a:gd name="connsiteX7" fmla="*/ 16387 w 27391"/>
                  <a:gd name="connsiteY7" fmla="*/ 2034 h 5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91" h="58072">
                    <a:moveTo>
                      <a:pt x="16387" y="2034"/>
                    </a:moveTo>
                    <a:cubicBezTo>
                      <a:pt x="11902" y="2153"/>
                      <a:pt x="7416" y="2273"/>
                      <a:pt x="1974" y="2392"/>
                    </a:cubicBezTo>
                    <a:cubicBezTo>
                      <a:pt x="2871" y="4665"/>
                      <a:pt x="3648" y="6579"/>
                      <a:pt x="4486" y="8493"/>
                    </a:cubicBezTo>
                    <a:cubicBezTo>
                      <a:pt x="10705" y="23205"/>
                      <a:pt x="16926" y="37978"/>
                      <a:pt x="23265" y="52690"/>
                    </a:cubicBezTo>
                    <a:cubicBezTo>
                      <a:pt x="24162" y="54724"/>
                      <a:pt x="26016" y="56279"/>
                      <a:pt x="27392" y="58073"/>
                    </a:cubicBezTo>
                    <a:cubicBezTo>
                      <a:pt x="26016" y="57714"/>
                      <a:pt x="23684" y="57774"/>
                      <a:pt x="23325" y="56996"/>
                    </a:cubicBezTo>
                    <a:cubicBezTo>
                      <a:pt x="15490" y="38157"/>
                      <a:pt x="7835" y="19258"/>
                      <a:pt x="0" y="0"/>
                    </a:cubicBezTo>
                    <a:cubicBezTo>
                      <a:pt x="5323" y="658"/>
                      <a:pt x="10825" y="1376"/>
                      <a:pt x="16387" y="203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42" name="Vrije vorm: vorm 9441">
                <a:extLst>
                  <a:ext uri="{FF2B5EF4-FFF2-40B4-BE49-F238E27FC236}">
                    <a16:creationId xmlns:a16="http://schemas.microsoft.com/office/drawing/2014/main" id="{72BD7BE7-C975-4ABB-A5AB-307497563D33}"/>
                  </a:ext>
                </a:extLst>
              </p:cNvPr>
              <p:cNvSpPr/>
              <p:nvPr/>
            </p:nvSpPr>
            <p:spPr>
              <a:xfrm>
                <a:off x="4784537" y="2000651"/>
                <a:ext cx="29484" cy="59029"/>
              </a:xfrm>
              <a:custGeom>
                <a:avLst/>
                <a:gdLst>
                  <a:gd name="connsiteX0" fmla="*/ 29485 w 29484"/>
                  <a:gd name="connsiteY0" fmla="*/ 58910 h 59029"/>
                  <a:gd name="connsiteX1" fmla="*/ 23983 w 29484"/>
                  <a:gd name="connsiteY1" fmla="*/ 59030 h 59029"/>
                  <a:gd name="connsiteX2" fmla="*/ 0 w 29484"/>
                  <a:gd name="connsiteY2" fmla="*/ 0 h 59029"/>
                  <a:gd name="connsiteX3" fmla="*/ 12261 w 29484"/>
                  <a:gd name="connsiteY3" fmla="*/ 419 h 59029"/>
                  <a:gd name="connsiteX4" fmla="*/ 12380 w 29484"/>
                  <a:gd name="connsiteY4" fmla="*/ 1316 h 59029"/>
                  <a:gd name="connsiteX5" fmla="*/ 2572 w 29484"/>
                  <a:gd name="connsiteY5" fmla="*/ 1794 h 59029"/>
                  <a:gd name="connsiteX6" fmla="*/ 24342 w 29484"/>
                  <a:gd name="connsiteY6" fmla="*/ 54903 h 59029"/>
                  <a:gd name="connsiteX7" fmla="*/ 29485 w 29484"/>
                  <a:gd name="connsiteY7" fmla="*/ 58910 h 5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84" h="59029">
                    <a:moveTo>
                      <a:pt x="29485" y="58910"/>
                    </a:moveTo>
                    <a:cubicBezTo>
                      <a:pt x="27691" y="58970"/>
                      <a:pt x="26076" y="58970"/>
                      <a:pt x="23983" y="59030"/>
                    </a:cubicBezTo>
                    <a:cubicBezTo>
                      <a:pt x="16028" y="39413"/>
                      <a:pt x="8014" y="19796"/>
                      <a:pt x="0" y="0"/>
                    </a:cubicBezTo>
                    <a:cubicBezTo>
                      <a:pt x="4007" y="120"/>
                      <a:pt x="8134" y="299"/>
                      <a:pt x="12261" y="419"/>
                    </a:cubicBezTo>
                    <a:cubicBezTo>
                      <a:pt x="12320" y="718"/>
                      <a:pt x="12320" y="1017"/>
                      <a:pt x="12380" y="1316"/>
                    </a:cubicBezTo>
                    <a:cubicBezTo>
                      <a:pt x="9031" y="1495"/>
                      <a:pt x="5682" y="1675"/>
                      <a:pt x="2572" y="1794"/>
                    </a:cubicBezTo>
                    <a:cubicBezTo>
                      <a:pt x="9868" y="19736"/>
                      <a:pt x="16926" y="37380"/>
                      <a:pt x="24342" y="54903"/>
                    </a:cubicBezTo>
                    <a:cubicBezTo>
                      <a:pt x="25059" y="56637"/>
                      <a:pt x="27571" y="57535"/>
                      <a:pt x="29485" y="5891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43" name="Vrije vorm: vorm 9442">
                <a:extLst>
                  <a:ext uri="{FF2B5EF4-FFF2-40B4-BE49-F238E27FC236}">
                    <a16:creationId xmlns:a16="http://schemas.microsoft.com/office/drawing/2014/main" id="{B5696460-2C82-4618-A768-CF5A2A26211A}"/>
                  </a:ext>
                </a:extLst>
              </p:cNvPr>
              <p:cNvSpPr/>
              <p:nvPr/>
            </p:nvSpPr>
            <p:spPr>
              <a:xfrm>
                <a:off x="4964921" y="1656324"/>
                <a:ext cx="28764" cy="69121"/>
              </a:xfrm>
              <a:custGeom>
                <a:avLst/>
                <a:gdLst>
                  <a:gd name="connsiteX0" fmla="*/ 14770 w 28764"/>
                  <a:gd name="connsiteY0" fmla="*/ 34403 h 69121"/>
                  <a:gd name="connsiteX1" fmla="*/ 28377 w 28764"/>
                  <a:gd name="connsiteY1" fmla="*/ 68964 h 69121"/>
                  <a:gd name="connsiteX2" fmla="*/ 13994 w 28764"/>
                  <a:gd name="connsiteY2" fmla="*/ 34719 h 69121"/>
                  <a:gd name="connsiteX3" fmla="*/ 388 w 28764"/>
                  <a:gd name="connsiteY3" fmla="*/ 158 h 69121"/>
                  <a:gd name="connsiteX4" fmla="*/ 14770 w 28764"/>
                  <a:gd name="connsiteY4" fmla="*/ 34403 h 69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64" h="69121">
                    <a:moveTo>
                      <a:pt x="14770" y="34403"/>
                    </a:moveTo>
                    <a:cubicBezTo>
                      <a:pt x="22499" y="53403"/>
                      <a:pt x="28591" y="68877"/>
                      <a:pt x="28377" y="68964"/>
                    </a:cubicBezTo>
                    <a:cubicBezTo>
                      <a:pt x="28163" y="69051"/>
                      <a:pt x="21723" y="53719"/>
                      <a:pt x="13994" y="34719"/>
                    </a:cubicBezTo>
                    <a:cubicBezTo>
                      <a:pt x="6265" y="15718"/>
                      <a:pt x="173" y="245"/>
                      <a:pt x="388" y="158"/>
                    </a:cubicBezTo>
                    <a:cubicBezTo>
                      <a:pt x="602" y="71"/>
                      <a:pt x="7041" y="15403"/>
                      <a:pt x="14770" y="3440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44" name="Vrije vorm: vorm 9443">
                <a:extLst>
                  <a:ext uri="{FF2B5EF4-FFF2-40B4-BE49-F238E27FC236}">
                    <a16:creationId xmlns:a16="http://schemas.microsoft.com/office/drawing/2014/main" id="{2ADECD49-5AD5-43C0-94EA-6B2F6CB7A7EC}"/>
                  </a:ext>
                </a:extLst>
              </p:cNvPr>
              <p:cNvSpPr/>
              <p:nvPr/>
            </p:nvSpPr>
            <p:spPr>
              <a:xfrm>
                <a:off x="5346007" y="2089465"/>
                <a:ext cx="11255" cy="21231"/>
              </a:xfrm>
              <a:custGeom>
                <a:avLst/>
                <a:gdLst>
                  <a:gd name="connsiteX0" fmla="*/ 0 w 11255"/>
                  <a:gd name="connsiteY0" fmla="*/ 1675 h 21231"/>
                  <a:gd name="connsiteX1" fmla="*/ 4067 w 11255"/>
                  <a:gd name="connsiteY1" fmla="*/ 0 h 21231"/>
                  <a:gd name="connsiteX2" fmla="*/ 11244 w 11255"/>
                  <a:gd name="connsiteY2" fmla="*/ 18062 h 21231"/>
                  <a:gd name="connsiteX3" fmla="*/ 7954 w 11255"/>
                  <a:gd name="connsiteY3" fmla="*/ 21232 h 21231"/>
                  <a:gd name="connsiteX4" fmla="*/ 0 w 11255"/>
                  <a:gd name="connsiteY4" fmla="*/ 1675 h 21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5" h="21231">
                    <a:moveTo>
                      <a:pt x="0" y="1675"/>
                    </a:moveTo>
                    <a:cubicBezTo>
                      <a:pt x="1316" y="1136"/>
                      <a:pt x="2632" y="598"/>
                      <a:pt x="4067" y="0"/>
                    </a:cubicBezTo>
                    <a:cubicBezTo>
                      <a:pt x="6579" y="6100"/>
                      <a:pt x="9091" y="12021"/>
                      <a:pt x="11244" y="18062"/>
                    </a:cubicBezTo>
                    <a:cubicBezTo>
                      <a:pt x="11423" y="18600"/>
                      <a:pt x="9450" y="19856"/>
                      <a:pt x="7954" y="21232"/>
                    </a:cubicBezTo>
                    <a:cubicBezTo>
                      <a:pt x="5144" y="14354"/>
                      <a:pt x="2572" y="8134"/>
                      <a:pt x="0" y="167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45" name="Vrije vorm: vorm 9444">
                <a:extLst>
                  <a:ext uri="{FF2B5EF4-FFF2-40B4-BE49-F238E27FC236}">
                    <a16:creationId xmlns:a16="http://schemas.microsoft.com/office/drawing/2014/main" id="{3867B7A9-CAD7-4C67-9BC5-6562CC51C917}"/>
                  </a:ext>
                </a:extLst>
              </p:cNvPr>
              <p:cNvSpPr/>
              <p:nvPr/>
            </p:nvSpPr>
            <p:spPr>
              <a:xfrm>
                <a:off x="5332288" y="2031197"/>
                <a:ext cx="49403" cy="119403"/>
              </a:xfrm>
              <a:custGeom>
                <a:avLst/>
                <a:gdLst>
                  <a:gd name="connsiteX0" fmla="*/ 25200 w 49403"/>
                  <a:gd name="connsiteY0" fmla="*/ 59499 h 119403"/>
                  <a:gd name="connsiteX1" fmla="*/ 48905 w 49403"/>
                  <a:gd name="connsiteY1" fmla="*/ 119201 h 119403"/>
                  <a:gd name="connsiteX2" fmla="*/ 24203 w 49403"/>
                  <a:gd name="connsiteY2" fmla="*/ 59905 h 119403"/>
                  <a:gd name="connsiteX3" fmla="*/ 499 w 49403"/>
                  <a:gd name="connsiteY3" fmla="*/ 203 h 119403"/>
                  <a:gd name="connsiteX4" fmla="*/ 25200 w 49403"/>
                  <a:gd name="connsiteY4" fmla="*/ 59499 h 119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03" h="119403">
                    <a:moveTo>
                      <a:pt x="25200" y="59499"/>
                    </a:moveTo>
                    <a:cubicBezTo>
                      <a:pt x="38567" y="92359"/>
                      <a:pt x="49180" y="119089"/>
                      <a:pt x="48905" y="119201"/>
                    </a:cubicBezTo>
                    <a:cubicBezTo>
                      <a:pt x="48629" y="119313"/>
                      <a:pt x="37570" y="92765"/>
                      <a:pt x="24203" y="59905"/>
                    </a:cubicBezTo>
                    <a:cubicBezTo>
                      <a:pt x="10836" y="27044"/>
                      <a:pt x="223" y="315"/>
                      <a:pt x="499" y="203"/>
                    </a:cubicBezTo>
                    <a:cubicBezTo>
                      <a:pt x="774" y="91"/>
                      <a:pt x="11833" y="26638"/>
                      <a:pt x="25200" y="5949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46" name="Vrije vorm: vorm 9445">
                <a:extLst>
                  <a:ext uri="{FF2B5EF4-FFF2-40B4-BE49-F238E27FC236}">
                    <a16:creationId xmlns:a16="http://schemas.microsoft.com/office/drawing/2014/main" id="{CE00E0E6-E1B1-4E55-AF73-C2E6411950A8}"/>
                  </a:ext>
                </a:extLst>
              </p:cNvPr>
              <p:cNvSpPr/>
              <p:nvPr/>
            </p:nvSpPr>
            <p:spPr>
              <a:xfrm>
                <a:off x="5392597" y="2018115"/>
                <a:ext cx="28767" cy="69436"/>
              </a:xfrm>
              <a:custGeom>
                <a:avLst/>
                <a:gdLst>
                  <a:gd name="connsiteX0" fmla="*/ 28169 w 28767"/>
                  <a:gd name="connsiteY0" fmla="*/ 69436 h 69436"/>
                  <a:gd name="connsiteX1" fmla="*/ 0 w 28767"/>
                  <a:gd name="connsiteY1" fmla="*/ 239 h 69436"/>
                  <a:gd name="connsiteX2" fmla="*/ 598 w 28767"/>
                  <a:gd name="connsiteY2" fmla="*/ 0 h 69436"/>
                  <a:gd name="connsiteX3" fmla="*/ 28767 w 28767"/>
                  <a:gd name="connsiteY3" fmla="*/ 69197 h 69436"/>
                  <a:gd name="connsiteX4" fmla="*/ 28169 w 28767"/>
                  <a:gd name="connsiteY4" fmla="*/ 69436 h 69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67" h="69436">
                    <a:moveTo>
                      <a:pt x="28169" y="69436"/>
                    </a:moveTo>
                    <a:cubicBezTo>
                      <a:pt x="18779" y="46351"/>
                      <a:pt x="9390" y="23265"/>
                      <a:pt x="0" y="239"/>
                    </a:cubicBezTo>
                    <a:cubicBezTo>
                      <a:pt x="179" y="180"/>
                      <a:pt x="419" y="60"/>
                      <a:pt x="598" y="0"/>
                    </a:cubicBezTo>
                    <a:cubicBezTo>
                      <a:pt x="9988" y="23086"/>
                      <a:pt x="19377" y="46171"/>
                      <a:pt x="28767" y="69197"/>
                    </a:cubicBezTo>
                    <a:cubicBezTo>
                      <a:pt x="28588" y="69257"/>
                      <a:pt x="28408" y="69376"/>
                      <a:pt x="28169" y="6943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47" name="Vrije vorm: vorm 9446">
                <a:extLst>
                  <a:ext uri="{FF2B5EF4-FFF2-40B4-BE49-F238E27FC236}">
                    <a16:creationId xmlns:a16="http://schemas.microsoft.com/office/drawing/2014/main" id="{619E85B8-64C1-478D-8BE3-553FD12E722D}"/>
                  </a:ext>
                </a:extLst>
              </p:cNvPr>
              <p:cNvSpPr/>
              <p:nvPr/>
            </p:nvSpPr>
            <p:spPr>
              <a:xfrm>
                <a:off x="4761153" y="1929481"/>
                <a:ext cx="41386" cy="61063"/>
              </a:xfrm>
              <a:custGeom>
                <a:avLst/>
                <a:gdLst>
                  <a:gd name="connsiteX0" fmla="*/ 0 w 41386"/>
                  <a:gd name="connsiteY0" fmla="*/ 3110 h 61063"/>
                  <a:gd name="connsiteX1" fmla="*/ 28707 w 41386"/>
                  <a:gd name="connsiteY1" fmla="*/ 179 h 61063"/>
                  <a:gd name="connsiteX2" fmla="*/ 28767 w 41386"/>
                  <a:gd name="connsiteY2" fmla="*/ 0 h 61063"/>
                  <a:gd name="connsiteX3" fmla="*/ 17822 w 41386"/>
                  <a:gd name="connsiteY3" fmla="*/ 2632 h 61063"/>
                  <a:gd name="connsiteX4" fmla="*/ 41386 w 41386"/>
                  <a:gd name="connsiteY4" fmla="*/ 60585 h 61063"/>
                  <a:gd name="connsiteX5" fmla="*/ 40131 w 41386"/>
                  <a:gd name="connsiteY5" fmla="*/ 61063 h 61063"/>
                  <a:gd name="connsiteX6" fmla="*/ 22069 w 41386"/>
                  <a:gd name="connsiteY6" fmla="*/ 16626 h 61063"/>
                  <a:gd name="connsiteX7" fmla="*/ 2691 w 41386"/>
                  <a:gd name="connsiteY7" fmla="*/ 3170 h 61063"/>
                  <a:gd name="connsiteX8" fmla="*/ 0 w 41386"/>
                  <a:gd name="connsiteY8" fmla="*/ 2990 h 61063"/>
                  <a:gd name="connsiteX9" fmla="*/ 0 w 41386"/>
                  <a:gd name="connsiteY9" fmla="*/ 3110 h 6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386" h="61063">
                    <a:moveTo>
                      <a:pt x="0" y="3110"/>
                    </a:moveTo>
                    <a:cubicBezTo>
                      <a:pt x="9569" y="2153"/>
                      <a:pt x="19138" y="1136"/>
                      <a:pt x="28707" y="179"/>
                    </a:cubicBezTo>
                    <a:cubicBezTo>
                      <a:pt x="28707" y="179"/>
                      <a:pt x="28767" y="0"/>
                      <a:pt x="28767" y="0"/>
                    </a:cubicBezTo>
                    <a:cubicBezTo>
                      <a:pt x="25298" y="837"/>
                      <a:pt x="21830" y="1675"/>
                      <a:pt x="17822" y="2632"/>
                    </a:cubicBezTo>
                    <a:cubicBezTo>
                      <a:pt x="25657" y="21889"/>
                      <a:pt x="33492" y="41207"/>
                      <a:pt x="41386" y="60585"/>
                    </a:cubicBezTo>
                    <a:cubicBezTo>
                      <a:pt x="40968" y="60764"/>
                      <a:pt x="40549" y="60944"/>
                      <a:pt x="40131" y="61063"/>
                    </a:cubicBezTo>
                    <a:cubicBezTo>
                      <a:pt x="34090" y="46231"/>
                      <a:pt x="28109" y="31399"/>
                      <a:pt x="22069" y="16626"/>
                    </a:cubicBezTo>
                    <a:cubicBezTo>
                      <a:pt x="16267" y="2452"/>
                      <a:pt x="16208" y="2452"/>
                      <a:pt x="2691" y="3170"/>
                    </a:cubicBezTo>
                    <a:cubicBezTo>
                      <a:pt x="1794" y="3230"/>
                      <a:pt x="897" y="3050"/>
                      <a:pt x="0" y="2990"/>
                    </a:cubicBezTo>
                    <a:cubicBezTo>
                      <a:pt x="60" y="2990"/>
                      <a:pt x="0" y="3110"/>
                      <a:pt x="0" y="311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48" name="Vrije vorm: vorm 9447">
                <a:extLst>
                  <a:ext uri="{FF2B5EF4-FFF2-40B4-BE49-F238E27FC236}">
                    <a16:creationId xmlns:a16="http://schemas.microsoft.com/office/drawing/2014/main" id="{EBB13B90-1641-4310-87F8-AE50657A901E}"/>
                  </a:ext>
                </a:extLst>
              </p:cNvPr>
              <p:cNvSpPr/>
              <p:nvPr/>
            </p:nvSpPr>
            <p:spPr>
              <a:xfrm>
                <a:off x="5533622" y="1930378"/>
                <a:ext cx="31398" cy="75536"/>
              </a:xfrm>
              <a:custGeom>
                <a:avLst/>
                <a:gdLst>
                  <a:gd name="connsiteX0" fmla="*/ 778 w 31398"/>
                  <a:gd name="connsiteY0" fmla="*/ 0 h 75536"/>
                  <a:gd name="connsiteX1" fmla="*/ 31399 w 31398"/>
                  <a:gd name="connsiteY1" fmla="*/ 75237 h 75536"/>
                  <a:gd name="connsiteX2" fmla="*/ 30621 w 31398"/>
                  <a:gd name="connsiteY2" fmla="*/ 75537 h 75536"/>
                  <a:gd name="connsiteX3" fmla="*/ 0 w 31398"/>
                  <a:gd name="connsiteY3" fmla="*/ 299 h 75536"/>
                  <a:gd name="connsiteX4" fmla="*/ 778 w 31398"/>
                  <a:gd name="connsiteY4" fmla="*/ 0 h 75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75536">
                    <a:moveTo>
                      <a:pt x="778" y="0"/>
                    </a:moveTo>
                    <a:cubicBezTo>
                      <a:pt x="11005" y="25059"/>
                      <a:pt x="21172" y="50178"/>
                      <a:pt x="31399" y="75237"/>
                    </a:cubicBezTo>
                    <a:cubicBezTo>
                      <a:pt x="31160" y="75357"/>
                      <a:pt x="30861" y="75477"/>
                      <a:pt x="30621" y="75537"/>
                    </a:cubicBezTo>
                    <a:cubicBezTo>
                      <a:pt x="20394" y="50477"/>
                      <a:pt x="10227" y="25358"/>
                      <a:pt x="0" y="299"/>
                    </a:cubicBezTo>
                    <a:cubicBezTo>
                      <a:pt x="299" y="239"/>
                      <a:pt x="538" y="120"/>
                      <a:pt x="77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49" name="Vrije vorm: vorm 9448">
                <a:extLst>
                  <a:ext uri="{FF2B5EF4-FFF2-40B4-BE49-F238E27FC236}">
                    <a16:creationId xmlns:a16="http://schemas.microsoft.com/office/drawing/2014/main" id="{5CFC5F89-9798-43CD-820A-B41BB291B9E7}"/>
                  </a:ext>
                </a:extLst>
              </p:cNvPr>
              <p:cNvSpPr/>
              <p:nvPr/>
            </p:nvSpPr>
            <p:spPr>
              <a:xfrm>
                <a:off x="4755949" y="1998139"/>
                <a:ext cx="26135" cy="56039"/>
              </a:xfrm>
              <a:custGeom>
                <a:avLst/>
                <a:gdLst>
                  <a:gd name="connsiteX0" fmla="*/ 9569 w 26135"/>
                  <a:gd name="connsiteY0" fmla="*/ 897 h 56039"/>
                  <a:gd name="connsiteX1" fmla="*/ 2213 w 26135"/>
                  <a:gd name="connsiteY1" fmla="*/ 2332 h 56039"/>
                  <a:gd name="connsiteX2" fmla="*/ 9330 w 26135"/>
                  <a:gd name="connsiteY2" fmla="*/ 19736 h 56039"/>
                  <a:gd name="connsiteX3" fmla="*/ 22069 w 26135"/>
                  <a:gd name="connsiteY3" fmla="*/ 50537 h 56039"/>
                  <a:gd name="connsiteX4" fmla="*/ 26136 w 26135"/>
                  <a:gd name="connsiteY4" fmla="*/ 56039 h 56039"/>
                  <a:gd name="connsiteX5" fmla="*/ 22428 w 26135"/>
                  <a:gd name="connsiteY5" fmla="*/ 54843 h 56039"/>
                  <a:gd name="connsiteX6" fmla="*/ 0 w 26135"/>
                  <a:gd name="connsiteY6" fmla="*/ 0 h 56039"/>
                  <a:gd name="connsiteX7" fmla="*/ 9569 w 26135"/>
                  <a:gd name="connsiteY7" fmla="*/ 897 h 5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35" h="56039">
                    <a:moveTo>
                      <a:pt x="9569" y="897"/>
                    </a:moveTo>
                    <a:cubicBezTo>
                      <a:pt x="7296" y="1316"/>
                      <a:pt x="5024" y="1794"/>
                      <a:pt x="2213" y="2332"/>
                    </a:cubicBezTo>
                    <a:cubicBezTo>
                      <a:pt x="4605" y="8313"/>
                      <a:pt x="6937" y="13995"/>
                      <a:pt x="9330" y="19736"/>
                    </a:cubicBezTo>
                    <a:cubicBezTo>
                      <a:pt x="13516" y="30023"/>
                      <a:pt x="17703" y="40310"/>
                      <a:pt x="22069" y="50537"/>
                    </a:cubicBezTo>
                    <a:cubicBezTo>
                      <a:pt x="22966" y="52571"/>
                      <a:pt x="24760" y="54185"/>
                      <a:pt x="26136" y="56039"/>
                    </a:cubicBezTo>
                    <a:cubicBezTo>
                      <a:pt x="24880" y="55681"/>
                      <a:pt x="22727" y="55621"/>
                      <a:pt x="22428" y="54843"/>
                    </a:cubicBezTo>
                    <a:cubicBezTo>
                      <a:pt x="14892" y="36722"/>
                      <a:pt x="7536" y="18540"/>
                      <a:pt x="0" y="0"/>
                    </a:cubicBezTo>
                    <a:cubicBezTo>
                      <a:pt x="2871" y="299"/>
                      <a:pt x="6220" y="598"/>
                      <a:pt x="9569" y="89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50" name="Vrije vorm: vorm 9449">
                <a:extLst>
                  <a:ext uri="{FF2B5EF4-FFF2-40B4-BE49-F238E27FC236}">
                    <a16:creationId xmlns:a16="http://schemas.microsoft.com/office/drawing/2014/main" id="{507CEA62-AEC1-48E2-A133-C7F47070EABA}"/>
                  </a:ext>
                </a:extLst>
              </p:cNvPr>
              <p:cNvSpPr/>
              <p:nvPr/>
            </p:nvSpPr>
            <p:spPr>
              <a:xfrm>
                <a:off x="4886329" y="2074098"/>
                <a:ext cx="32355" cy="64887"/>
              </a:xfrm>
              <a:custGeom>
                <a:avLst/>
                <a:gdLst>
                  <a:gd name="connsiteX0" fmla="*/ 25298 w 32355"/>
                  <a:gd name="connsiteY0" fmla="*/ 62854 h 64887"/>
                  <a:gd name="connsiteX1" fmla="*/ 26076 w 32355"/>
                  <a:gd name="connsiteY1" fmla="*/ 58847 h 64887"/>
                  <a:gd name="connsiteX2" fmla="*/ 3349 w 32355"/>
                  <a:gd name="connsiteY2" fmla="*/ 4661 h 64887"/>
                  <a:gd name="connsiteX3" fmla="*/ 0 w 32355"/>
                  <a:gd name="connsiteY3" fmla="*/ 774 h 64887"/>
                  <a:gd name="connsiteX4" fmla="*/ 4366 w 32355"/>
                  <a:gd name="connsiteY4" fmla="*/ 2867 h 64887"/>
                  <a:gd name="connsiteX5" fmla="*/ 26554 w 32355"/>
                  <a:gd name="connsiteY5" fmla="*/ 56813 h 64887"/>
                  <a:gd name="connsiteX6" fmla="*/ 32356 w 32355"/>
                  <a:gd name="connsiteY6" fmla="*/ 64887 h 64887"/>
                  <a:gd name="connsiteX7" fmla="*/ 25298 w 32355"/>
                  <a:gd name="connsiteY7" fmla="*/ 62854 h 6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5" h="64887">
                    <a:moveTo>
                      <a:pt x="25298" y="62854"/>
                    </a:moveTo>
                    <a:cubicBezTo>
                      <a:pt x="25598" y="61478"/>
                      <a:pt x="26495" y="59863"/>
                      <a:pt x="26076" y="58847"/>
                    </a:cubicBezTo>
                    <a:cubicBezTo>
                      <a:pt x="18600" y="40725"/>
                      <a:pt x="11064" y="22663"/>
                      <a:pt x="3349" y="4661"/>
                    </a:cubicBezTo>
                    <a:cubicBezTo>
                      <a:pt x="2691" y="3166"/>
                      <a:pt x="1136" y="2090"/>
                      <a:pt x="0" y="774"/>
                    </a:cubicBezTo>
                    <a:cubicBezTo>
                      <a:pt x="2213" y="-721"/>
                      <a:pt x="3170" y="-63"/>
                      <a:pt x="4366" y="2867"/>
                    </a:cubicBezTo>
                    <a:cubicBezTo>
                      <a:pt x="11603" y="20929"/>
                      <a:pt x="18959" y="38931"/>
                      <a:pt x="26554" y="56813"/>
                    </a:cubicBezTo>
                    <a:cubicBezTo>
                      <a:pt x="27811" y="59803"/>
                      <a:pt x="30382" y="62256"/>
                      <a:pt x="32356" y="64887"/>
                    </a:cubicBezTo>
                    <a:cubicBezTo>
                      <a:pt x="30621" y="64409"/>
                      <a:pt x="27990" y="63631"/>
                      <a:pt x="25298" y="6285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51" name="Vrije vorm: vorm 9450">
                <a:extLst>
                  <a:ext uri="{FF2B5EF4-FFF2-40B4-BE49-F238E27FC236}">
                    <a16:creationId xmlns:a16="http://schemas.microsoft.com/office/drawing/2014/main" id="{0A5A6AED-DF63-4AB5-A1FC-5A0D99EE479B}"/>
                  </a:ext>
                </a:extLst>
              </p:cNvPr>
              <p:cNvSpPr/>
              <p:nvPr/>
            </p:nvSpPr>
            <p:spPr>
              <a:xfrm>
                <a:off x="4862346" y="1998020"/>
                <a:ext cx="30202" cy="64841"/>
              </a:xfrm>
              <a:custGeom>
                <a:avLst/>
                <a:gdLst>
                  <a:gd name="connsiteX0" fmla="*/ 13935 w 30202"/>
                  <a:gd name="connsiteY0" fmla="*/ 718 h 64841"/>
                  <a:gd name="connsiteX1" fmla="*/ 2034 w 30202"/>
                  <a:gd name="connsiteY1" fmla="*/ 2093 h 64841"/>
                  <a:gd name="connsiteX2" fmla="*/ 25956 w 30202"/>
                  <a:gd name="connsiteY2" fmla="*/ 60585 h 64841"/>
                  <a:gd name="connsiteX3" fmla="*/ 30203 w 30202"/>
                  <a:gd name="connsiteY3" fmla="*/ 63814 h 64841"/>
                  <a:gd name="connsiteX4" fmla="*/ 24820 w 30202"/>
                  <a:gd name="connsiteY4" fmla="*/ 61422 h 64841"/>
                  <a:gd name="connsiteX5" fmla="*/ 0 w 30202"/>
                  <a:gd name="connsiteY5" fmla="*/ 0 h 64841"/>
                  <a:gd name="connsiteX6" fmla="*/ 13935 w 30202"/>
                  <a:gd name="connsiteY6" fmla="*/ 718 h 6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02" h="64841">
                    <a:moveTo>
                      <a:pt x="13935" y="718"/>
                    </a:moveTo>
                    <a:cubicBezTo>
                      <a:pt x="10048" y="1196"/>
                      <a:pt x="6160" y="1615"/>
                      <a:pt x="2034" y="2093"/>
                    </a:cubicBezTo>
                    <a:cubicBezTo>
                      <a:pt x="10048" y="21710"/>
                      <a:pt x="17882" y="41207"/>
                      <a:pt x="25956" y="60585"/>
                    </a:cubicBezTo>
                    <a:cubicBezTo>
                      <a:pt x="26554" y="62020"/>
                      <a:pt x="28707" y="62798"/>
                      <a:pt x="30203" y="63814"/>
                    </a:cubicBezTo>
                    <a:cubicBezTo>
                      <a:pt x="27631" y="65429"/>
                      <a:pt x="26375" y="65489"/>
                      <a:pt x="24820" y="61422"/>
                    </a:cubicBezTo>
                    <a:cubicBezTo>
                      <a:pt x="16866" y="40908"/>
                      <a:pt x="8373" y="20574"/>
                      <a:pt x="0" y="0"/>
                    </a:cubicBezTo>
                    <a:cubicBezTo>
                      <a:pt x="4246" y="239"/>
                      <a:pt x="9091" y="478"/>
                      <a:pt x="13935" y="71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52" name="Vrije vorm: vorm 9451">
                <a:extLst>
                  <a:ext uri="{FF2B5EF4-FFF2-40B4-BE49-F238E27FC236}">
                    <a16:creationId xmlns:a16="http://schemas.microsoft.com/office/drawing/2014/main" id="{BB995E7A-A5EE-485C-A2F5-0411C0E4FEAB}"/>
                  </a:ext>
                </a:extLst>
              </p:cNvPr>
              <p:cNvSpPr/>
              <p:nvPr/>
            </p:nvSpPr>
            <p:spPr>
              <a:xfrm>
                <a:off x="5191286" y="2008725"/>
                <a:ext cx="29963" cy="64232"/>
              </a:xfrm>
              <a:custGeom>
                <a:avLst/>
                <a:gdLst>
                  <a:gd name="connsiteX0" fmla="*/ 20514 w 29963"/>
                  <a:gd name="connsiteY0" fmla="*/ 63097 h 64232"/>
                  <a:gd name="connsiteX1" fmla="*/ 27452 w 29963"/>
                  <a:gd name="connsiteY1" fmla="*/ 61721 h 64232"/>
                  <a:gd name="connsiteX2" fmla="*/ 24102 w 29963"/>
                  <a:gd name="connsiteY2" fmla="*/ 53468 h 64232"/>
                  <a:gd name="connsiteX3" fmla="*/ 4964 w 29963"/>
                  <a:gd name="connsiteY3" fmla="*/ 6758 h 64232"/>
                  <a:gd name="connsiteX4" fmla="*/ 0 w 29963"/>
                  <a:gd name="connsiteY4" fmla="*/ 538 h 64232"/>
                  <a:gd name="connsiteX5" fmla="*/ 3828 w 29963"/>
                  <a:gd name="connsiteY5" fmla="*/ 0 h 64232"/>
                  <a:gd name="connsiteX6" fmla="*/ 29963 w 29963"/>
                  <a:gd name="connsiteY6" fmla="*/ 64233 h 64232"/>
                  <a:gd name="connsiteX7" fmla="*/ 20514 w 29963"/>
                  <a:gd name="connsiteY7" fmla="*/ 62857 h 64232"/>
                  <a:gd name="connsiteX8" fmla="*/ 20514 w 29963"/>
                  <a:gd name="connsiteY8" fmla="*/ 63097 h 6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3" h="64232">
                    <a:moveTo>
                      <a:pt x="20514" y="63097"/>
                    </a:moveTo>
                    <a:cubicBezTo>
                      <a:pt x="22607" y="62678"/>
                      <a:pt x="24641" y="62259"/>
                      <a:pt x="27452" y="61721"/>
                    </a:cubicBezTo>
                    <a:cubicBezTo>
                      <a:pt x="26315" y="58910"/>
                      <a:pt x="25179" y="56219"/>
                      <a:pt x="24102" y="53468"/>
                    </a:cubicBezTo>
                    <a:cubicBezTo>
                      <a:pt x="17763" y="37858"/>
                      <a:pt x="11483" y="22248"/>
                      <a:pt x="4964" y="6758"/>
                    </a:cubicBezTo>
                    <a:cubicBezTo>
                      <a:pt x="3947" y="4366"/>
                      <a:pt x="1615" y="2512"/>
                      <a:pt x="0" y="538"/>
                    </a:cubicBezTo>
                    <a:cubicBezTo>
                      <a:pt x="538" y="478"/>
                      <a:pt x="2213" y="239"/>
                      <a:pt x="3828" y="0"/>
                    </a:cubicBezTo>
                    <a:cubicBezTo>
                      <a:pt x="12500" y="21411"/>
                      <a:pt x="21112" y="42463"/>
                      <a:pt x="29963" y="64233"/>
                    </a:cubicBezTo>
                    <a:cubicBezTo>
                      <a:pt x="26734" y="63755"/>
                      <a:pt x="23624" y="63336"/>
                      <a:pt x="20514" y="62857"/>
                    </a:cubicBezTo>
                    <a:cubicBezTo>
                      <a:pt x="20574" y="62917"/>
                      <a:pt x="20514" y="63097"/>
                      <a:pt x="20514" y="6309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53" name="Vrije vorm: vorm 9452">
                <a:extLst>
                  <a:ext uri="{FF2B5EF4-FFF2-40B4-BE49-F238E27FC236}">
                    <a16:creationId xmlns:a16="http://schemas.microsoft.com/office/drawing/2014/main" id="{B5EC0CBB-917B-40AD-8947-C1BE1E04FB03}"/>
                  </a:ext>
                </a:extLst>
              </p:cNvPr>
              <p:cNvSpPr/>
              <p:nvPr/>
            </p:nvSpPr>
            <p:spPr>
              <a:xfrm>
                <a:off x="5363352" y="1493307"/>
                <a:ext cx="23085" cy="55560"/>
              </a:xfrm>
              <a:custGeom>
                <a:avLst/>
                <a:gdLst>
                  <a:gd name="connsiteX0" fmla="*/ 22488 w 23085"/>
                  <a:gd name="connsiteY0" fmla="*/ 55561 h 55560"/>
                  <a:gd name="connsiteX1" fmla="*/ 0 w 23085"/>
                  <a:gd name="connsiteY1" fmla="*/ 239 h 55560"/>
                  <a:gd name="connsiteX2" fmla="*/ 598 w 23085"/>
                  <a:gd name="connsiteY2" fmla="*/ 0 h 55560"/>
                  <a:gd name="connsiteX3" fmla="*/ 23086 w 23085"/>
                  <a:gd name="connsiteY3" fmla="*/ 55322 h 55560"/>
                  <a:gd name="connsiteX4" fmla="*/ 22488 w 23085"/>
                  <a:gd name="connsiteY4" fmla="*/ 55561 h 5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5" h="55560">
                    <a:moveTo>
                      <a:pt x="22488" y="55561"/>
                    </a:moveTo>
                    <a:cubicBezTo>
                      <a:pt x="15012" y="37140"/>
                      <a:pt x="7476" y="18660"/>
                      <a:pt x="0" y="239"/>
                    </a:cubicBezTo>
                    <a:cubicBezTo>
                      <a:pt x="179" y="179"/>
                      <a:pt x="419" y="60"/>
                      <a:pt x="598" y="0"/>
                    </a:cubicBezTo>
                    <a:cubicBezTo>
                      <a:pt x="8074" y="18421"/>
                      <a:pt x="15610" y="36901"/>
                      <a:pt x="23086" y="55322"/>
                    </a:cubicBezTo>
                    <a:cubicBezTo>
                      <a:pt x="22846" y="55441"/>
                      <a:pt x="22667" y="55501"/>
                      <a:pt x="22488" y="5556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54" name="Vrije vorm: vorm 9453">
                <a:extLst>
                  <a:ext uri="{FF2B5EF4-FFF2-40B4-BE49-F238E27FC236}">
                    <a16:creationId xmlns:a16="http://schemas.microsoft.com/office/drawing/2014/main" id="{B5833BDA-EBEA-47B0-A916-482A9E7FB627}"/>
                  </a:ext>
                </a:extLst>
              </p:cNvPr>
              <p:cNvSpPr/>
              <p:nvPr/>
            </p:nvSpPr>
            <p:spPr>
              <a:xfrm>
                <a:off x="5419929" y="1638100"/>
                <a:ext cx="23085" cy="55560"/>
              </a:xfrm>
              <a:custGeom>
                <a:avLst/>
                <a:gdLst>
                  <a:gd name="connsiteX0" fmla="*/ 22547 w 23085"/>
                  <a:gd name="connsiteY0" fmla="*/ 55561 h 55560"/>
                  <a:gd name="connsiteX1" fmla="*/ 0 w 23085"/>
                  <a:gd name="connsiteY1" fmla="*/ 179 h 55560"/>
                  <a:gd name="connsiteX2" fmla="*/ 538 w 23085"/>
                  <a:gd name="connsiteY2" fmla="*/ 0 h 55560"/>
                  <a:gd name="connsiteX3" fmla="*/ 23086 w 23085"/>
                  <a:gd name="connsiteY3" fmla="*/ 55501 h 55560"/>
                  <a:gd name="connsiteX4" fmla="*/ 22547 w 23085"/>
                  <a:gd name="connsiteY4" fmla="*/ 55561 h 5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85" h="55560">
                    <a:moveTo>
                      <a:pt x="22547" y="55561"/>
                    </a:moveTo>
                    <a:cubicBezTo>
                      <a:pt x="15011" y="37080"/>
                      <a:pt x="7535" y="18600"/>
                      <a:pt x="0" y="179"/>
                    </a:cubicBezTo>
                    <a:cubicBezTo>
                      <a:pt x="179" y="120"/>
                      <a:pt x="359" y="60"/>
                      <a:pt x="538" y="0"/>
                    </a:cubicBezTo>
                    <a:cubicBezTo>
                      <a:pt x="8074" y="18480"/>
                      <a:pt x="15610" y="36961"/>
                      <a:pt x="23086" y="55501"/>
                    </a:cubicBezTo>
                    <a:cubicBezTo>
                      <a:pt x="22966" y="55441"/>
                      <a:pt x="22727" y="55501"/>
                      <a:pt x="22547" y="5556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55" name="Vrije vorm: vorm 9454">
                <a:extLst>
                  <a:ext uri="{FF2B5EF4-FFF2-40B4-BE49-F238E27FC236}">
                    <a16:creationId xmlns:a16="http://schemas.microsoft.com/office/drawing/2014/main" id="{5E0ADCAA-CA9E-43FE-99F7-E35D56152945}"/>
                  </a:ext>
                </a:extLst>
              </p:cNvPr>
              <p:cNvSpPr/>
              <p:nvPr/>
            </p:nvSpPr>
            <p:spPr>
              <a:xfrm>
                <a:off x="4884834" y="1998242"/>
                <a:ext cx="31757" cy="67419"/>
              </a:xfrm>
              <a:custGeom>
                <a:avLst/>
                <a:gdLst>
                  <a:gd name="connsiteX0" fmla="*/ 22727 w 31757"/>
                  <a:gd name="connsiteY0" fmla="*/ 64668 h 67419"/>
                  <a:gd name="connsiteX1" fmla="*/ 28827 w 31757"/>
                  <a:gd name="connsiteY1" fmla="*/ 64668 h 67419"/>
                  <a:gd name="connsiteX2" fmla="*/ 22248 w 31757"/>
                  <a:gd name="connsiteY2" fmla="*/ 48520 h 67419"/>
                  <a:gd name="connsiteX3" fmla="*/ 5083 w 31757"/>
                  <a:gd name="connsiteY3" fmla="*/ 7014 h 67419"/>
                  <a:gd name="connsiteX4" fmla="*/ 0 w 31757"/>
                  <a:gd name="connsiteY4" fmla="*/ 196 h 67419"/>
                  <a:gd name="connsiteX5" fmla="*/ 4844 w 31757"/>
                  <a:gd name="connsiteY5" fmla="*/ 3007 h 67419"/>
                  <a:gd name="connsiteX6" fmla="*/ 28528 w 31757"/>
                  <a:gd name="connsiteY6" fmla="*/ 60960 h 67419"/>
                  <a:gd name="connsiteX7" fmla="*/ 31758 w 31757"/>
                  <a:gd name="connsiteY7" fmla="*/ 67419 h 67419"/>
                  <a:gd name="connsiteX8" fmla="*/ 22727 w 31757"/>
                  <a:gd name="connsiteY8" fmla="*/ 64668 h 67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57" h="67419">
                    <a:moveTo>
                      <a:pt x="22727" y="64668"/>
                    </a:moveTo>
                    <a:cubicBezTo>
                      <a:pt x="24521" y="64668"/>
                      <a:pt x="26315" y="64668"/>
                      <a:pt x="28827" y="64668"/>
                    </a:cubicBezTo>
                    <a:cubicBezTo>
                      <a:pt x="26435" y="58867"/>
                      <a:pt x="24342" y="53664"/>
                      <a:pt x="22248" y="48520"/>
                    </a:cubicBezTo>
                    <a:cubicBezTo>
                      <a:pt x="16567" y="34645"/>
                      <a:pt x="10945" y="20770"/>
                      <a:pt x="5083" y="7014"/>
                    </a:cubicBezTo>
                    <a:cubicBezTo>
                      <a:pt x="4007" y="4502"/>
                      <a:pt x="1734" y="2469"/>
                      <a:pt x="0" y="196"/>
                    </a:cubicBezTo>
                    <a:cubicBezTo>
                      <a:pt x="2153" y="-163"/>
                      <a:pt x="3529" y="-402"/>
                      <a:pt x="4844" y="3007"/>
                    </a:cubicBezTo>
                    <a:cubicBezTo>
                      <a:pt x="12440" y="22444"/>
                      <a:pt x="20574" y="41642"/>
                      <a:pt x="28528" y="60960"/>
                    </a:cubicBezTo>
                    <a:cubicBezTo>
                      <a:pt x="29306" y="62814"/>
                      <a:pt x="30322" y="64489"/>
                      <a:pt x="31758" y="67419"/>
                    </a:cubicBezTo>
                    <a:cubicBezTo>
                      <a:pt x="28349" y="66343"/>
                      <a:pt x="25538" y="65505"/>
                      <a:pt x="22727" y="6466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56" name="Vrije vorm: vorm 9455">
                <a:extLst>
                  <a:ext uri="{FF2B5EF4-FFF2-40B4-BE49-F238E27FC236}">
                    <a16:creationId xmlns:a16="http://schemas.microsoft.com/office/drawing/2014/main" id="{FB7A35C7-21A8-493B-94DE-89E935C5B17E}"/>
                  </a:ext>
                </a:extLst>
              </p:cNvPr>
              <p:cNvSpPr/>
              <p:nvPr/>
            </p:nvSpPr>
            <p:spPr>
              <a:xfrm>
                <a:off x="4892788" y="2071164"/>
                <a:ext cx="30322" cy="65668"/>
              </a:xfrm>
              <a:custGeom>
                <a:avLst/>
                <a:gdLst>
                  <a:gd name="connsiteX0" fmla="*/ 0 w 30322"/>
                  <a:gd name="connsiteY0" fmla="*/ 0 h 65668"/>
                  <a:gd name="connsiteX1" fmla="*/ 8791 w 30322"/>
                  <a:gd name="connsiteY1" fmla="*/ 1495 h 65668"/>
                  <a:gd name="connsiteX2" fmla="*/ 3229 w 30322"/>
                  <a:gd name="connsiteY2" fmla="*/ 2512 h 65668"/>
                  <a:gd name="connsiteX3" fmla="*/ 30322 w 30322"/>
                  <a:gd name="connsiteY3" fmla="*/ 64592 h 65668"/>
                  <a:gd name="connsiteX4" fmla="*/ 29305 w 30322"/>
                  <a:gd name="connsiteY4" fmla="*/ 65668 h 65668"/>
                  <a:gd name="connsiteX5" fmla="*/ 25777 w 30322"/>
                  <a:gd name="connsiteY5" fmla="*/ 61601 h 65668"/>
                  <a:gd name="connsiteX6" fmla="*/ 2811 w 30322"/>
                  <a:gd name="connsiteY6" fmla="*/ 5861 h 65668"/>
                  <a:gd name="connsiteX7" fmla="*/ 0 w 30322"/>
                  <a:gd name="connsiteY7" fmla="*/ 0 h 6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22" h="65668">
                    <a:moveTo>
                      <a:pt x="0" y="0"/>
                    </a:moveTo>
                    <a:cubicBezTo>
                      <a:pt x="2871" y="478"/>
                      <a:pt x="5024" y="837"/>
                      <a:pt x="8791" y="1495"/>
                    </a:cubicBezTo>
                    <a:cubicBezTo>
                      <a:pt x="5861" y="2033"/>
                      <a:pt x="4545" y="2273"/>
                      <a:pt x="3229" y="2512"/>
                    </a:cubicBezTo>
                    <a:cubicBezTo>
                      <a:pt x="6579" y="15789"/>
                      <a:pt x="26674" y="61900"/>
                      <a:pt x="30322" y="64592"/>
                    </a:cubicBezTo>
                    <a:cubicBezTo>
                      <a:pt x="29963" y="64951"/>
                      <a:pt x="29664" y="65309"/>
                      <a:pt x="29305" y="65668"/>
                    </a:cubicBezTo>
                    <a:cubicBezTo>
                      <a:pt x="28109" y="64353"/>
                      <a:pt x="26435" y="63156"/>
                      <a:pt x="25777" y="61601"/>
                    </a:cubicBezTo>
                    <a:cubicBezTo>
                      <a:pt x="18062" y="43061"/>
                      <a:pt x="10466" y="24461"/>
                      <a:pt x="2811" y="5861"/>
                    </a:cubicBezTo>
                    <a:cubicBezTo>
                      <a:pt x="2093" y="4067"/>
                      <a:pt x="1136" y="2332"/>
                      <a:pt x="0"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57" name="Vrije vorm: vorm 9456">
                <a:extLst>
                  <a:ext uri="{FF2B5EF4-FFF2-40B4-BE49-F238E27FC236}">
                    <a16:creationId xmlns:a16="http://schemas.microsoft.com/office/drawing/2014/main" id="{0FE7E735-5156-4DC0-B638-063351A2B8D7}"/>
                  </a:ext>
                </a:extLst>
              </p:cNvPr>
              <p:cNvSpPr/>
              <p:nvPr/>
            </p:nvSpPr>
            <p:spPr>
              <a:xfrm>
                <a:off x="5342885" y="2021887"/>
                <a:ext cx="45305" cy="109784"/>
              </a:xfrm>
              <a:custGeom>
                <a:avLst/>
                <a:gdLst>
                  <a:gd name="connsiteX0" fmla="*/ 23041 w 45305"/>
                  <a:gd name="connsiteY0" fmla="*/ 54735 h 109784"/>
                  <a:gd name="connsiteX1" fmla="*/ 44918 w 45305"/>
                  <a:gd name="connsiteY1" fmla="*/ 109627 h 109784"/>
                  <a:gd name="connsiteX2" fmla="*/ 22265 w 45305"/>
                  <a:gd name="connsiteY2" fmla="*/ 55050 h 109784"/>
                  <a:gd name="connsiteX3" fmla="*/ 388 w 45305"/>
                  <a:gd name="connsiteY3" fmla="*/ 158 h 109784"/>
                  <a:gd name="connsiteX4" fmla="*/ 23041 w 45305"/>
                  <a:gd name="connsiteY4" fmla="*/ 54735 h 109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05" h="109784">
                    <a:moveTo>
                      <a:pt x="23041" y="54735"/>
                    </a:moveTo>
                    <a:cubicBezTo>
                      <a:pt x="35337" y="84964"/>
                      <a:pt x="45132" y="109540"/>
                      <a:pt x="44918" y="109627"/>
                    </a:cubicBezTo>
                    <a:cubicBezTo>
                      <a:pt x="44704" y="109714"/>
                      <a:pt x="34561" y="85279"/>
                      <a:pt x="22265" y="55050"/>
                    </a:cubicBezTo>
                    <a:cubicBezTo>
                      <a:pt x="9968" y="24821"/>
                      <a:pt x="173" y="245"/>
                      <a:pt x="388" y="158"/>
                    </a:cubicBezTo>
                    <a:cubicBezTo>
                      <a:pt x="602" y="71"/>
                      <a:pt x="10744" y="24506"/>
                      <a:pt x="23041" y="5473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58" name="Vrije vorm: vorm 9457">
                <a:extLst>
                  <a:ext uri="{FF2B5EF4-FFF2-40B4-BE49-F238E27FC236}">
                    <a16:creationId xmlns:a16="http://schemas.microsoft.com/office/drawing/2014/main" id="{020A5417-047F-4FC2-B47E-096B92BA1D0A}"/>
                  </a:ext>
                </a:extLst>
              </p:cNvPr>
              <p:cNvSpPr/>
              <p:nvPr/>
            </p:nvSpPr>
            <p:spPr>
              <a:xfrm>
                <a:off x="5505513" y="1790309"/>
                <a:ext cx="20513" cy="49400"/>
              </a:xfrm>
              <a:custGeom>
                <a:avLst/>
                <a:gdLst>
                  <a:gd name="connsiteX0" fmla="*/ 20035 w 20513"/>
                  <a:gd name="connsiteY0" fmla="*/ 49401 h 49400"/>
                  <a:gd name="connsiteX1" fmla="*/ 0 w 20513"/>
                  <a:gd name="connsiteY1" fmla="*/ 179 h 49400"/>
                  <a:gd name="connsiteX2" fmla="*/ 538 w 20513"/>
                  <a:gd name="connsiteY2" fmla="*/ 0 h 49400"/>
                  <a:gd name="connsiteX3" fmla="*/ 20514 w 20513"/>
                  <a:gd name="connsiteY3" fmla="*/ 49042 h 49400"/>
                  <a:gd name="connsiteX4" fmla="*/ 20035 w 20513"/>
                  <a:gd name="connsiteY4" fmla="*/ 49401 h 4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3" h="49400">
                    <a:moveTo>
                      <a:pt x="20035" y="49401"/>
                    </a:moveTo>
                    <a:cubicBezTo>
                      <a:pt x="13337" y="33014"/>
                      <a:pt x="6698" y="16567"/>
                      <a:pt x="0" y="179"/>
                    </a:cubicBezTo>
                    <a:cubicBezTo>
                      <a:pt x="179" y="120"/>
                      <a:pt x="359" y="60"/>
                      <a:pt x="538" y="0"/>
                    </a:cubicBezTo>
                    <a:cubicBezTo>
                      <a:pt x="7177" y="16327"/>
                      <a:pt x="13875" y="32715"/>
                      <a:pt x="20514" y="49042"/>
                    </a:cubicBezTo>
                    <a:cubicBezTo>
                      <a:pt x="20394" y="49162"/>
                      <a:pt x="20215" y="49281"/>
                      <a:pt x="20035" y="4940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59" name="Vrije vorm: vorm 9458">
                <a:extLst>
                  <a:ext uri="{FF2B5EF4-FFF2-40B4-BE49-F238E27FC236}">
                    <a16:creationId xmlns:a16="http://schemas.microsoft.com/office/drawing/2014/main" id="{34E61577-9CEF-4F73-8AE9-B2FCAC67AA5B}"/>
                  </a:ext>
                </a:extLst>
              </p:cNvPr>
              <p:cNvSpPr/>
              <p:nvPr/>
            </p:nvSpPr>
            <p:spPr>
              <a:xfrm>
                <a:off x="5159289" y="1930139"/>
                <a:ext cx="29664" cy="64412"/>
              </a:xfrm>
              <a:custGeom>
                <a:avLst/>
                <a:gdLst>
                  <a:gd name="connsiteX0" fmla="*/ 0 w 29664"/>
                  <a:gd name="connsiteY0" fmla="*/ 957 h 64412"/>
                  <a:gd name="connsiteX1" fmla="*/ 3469 w 29664"/>
                  <a:gd name="connsiteY1" fmla="*/ 0 h 64412"/>
                  <a:gd name="connsiteX2" fmla="*/ 29664 w 29664"/>
                  <a:gd name="connsiteY2" fmla="*/ 64412 h 64412"/>
                  <a:gd name="connsiteX3" fmla="*/ 25597 w 29664"/>
                  <a:gd name="connsiteY3" fmla="*/ 64233 h 64412"/>
                  <a:gd name="connsiteX4" fmla="*/ 25837 w 29664"/>
                  <a:gd name="connsiteY4" fmla="*/ 58671 h 64412"/>
                  <a:gd name="connsiteX5" fmla="*/ 4246 w 29664"/>
                  <a:gd name="connsiteY5" fmla="*/ 5622 h 64412"/>
                  <a:gd name="connsiteX6" fmla="*/ 0 w 29664"/>
                  <a:gd name="connsiteY6" fmla="*/ 957 h 6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64" h="64412">
                    <a:moveTo>
                      <a:pt x="0" y="957"/>
                    </a:moveTo>
                    <a:cubicBezTo>
                      <a:pt x="718" y="778"/>
                      <a:pt x="2033" y="419"/>
                      <a:pt x="3469" y="0"/>
                    </a:cubicBezTo>
                    <a:cubicBezTo>
                      <a:pt x="12201" y="21471"/>
                      <a:pt x="20813" y="42702"/>
                      <a:pt x="29664" y="64412"/>
                    </a:cubicBezTo>
                    <a:cubicBezTo>
                      <a:pt x="27870" y="64353"/>
                      <a:pt x="26375" y="64293"/>
                      <a:pt x="25597" y="64233"/>
                    </a:cubicBezTo>
                    <a:cubicBezTo>
                      <a:pt x="25717" y="62140"/>
                      <a:pt x="26435" y="60166"/>
                      <a:pt x="25837" y="58671"/>
                    </a:cubicBezTo>
                    <a:cubicBezTo>
                      <a:pt x="18780" y="40968"/>
                      <a:pt x="11603" y="23265"/>
                      <a:pt x="4246" y="5622"/>
                    </a:cubicBezTo>
                    <a:cubicBezTo>
                      <a:pt x="3588" y="3887"/>
                      <a:pt x="1555" y="2572"/>
                      <a:pt x="0" y="95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60" name="Vrije vorm: vorm 9459">
                <a:extLst>
                  <a:ext uri="{FF2B5EF4-FFF2-40B4-BE49-F238E27FC236}">
                    <a16:creationId xmlns:a16="http://schemas.microsoft.com/office/drawing/2014/main" id="{268C1901-C1DB-46A2-98EA-140FC92F9682}"/>
                  </a:ext>
                </a:extLst>
              </p:cNvPr>
              <p:cNvSpPr/>
              <p:nvPr/>
            </p:nvSpPr>
            <p:spPr>
              <a:xfrm>
                <a:off x="5202171" y="2007888"/>
                <a:ext cx="34269" cy="65189"/>
              </a:xfrm>
              <a:custGeom>
                <a:avLst/>
                <a:gdLst>
                  <a:gd name="connsiteX0" fmla="*/ 5024 w 34269"/>
                  <a:gd name="connsiteY0" fmla="*/ 1017 h 65189"/>
                  <a:gd name="connsiteX1" fmla="*/ 3947 w 34269"/>
                  <a:gd name="connsiteY1" fmla="*/ 5682 h 65189"/>
                  <a:gd name="connsiteX2" fmla="*/ 25777 w 34269"/>
                  <a:gd name="connsiteY2" fmla="*/ 59927 h 65189"/>
                  <a:gd name="connsiteX3" fmla="*/ 34269 w 34269"/>
                  <a:gd name="connsiteY3" fmla="*/ 64173 h 65189"/>
                  <a:gd name="connsiteX4" fmla="*/ 26554 w 34269"/>
                  <a:gd name="connsiteY4" fmla="*/ 65190 h 65189"/>
                  <a:gd name="connsiteX5" fmla="*/ 0 w 34269"/>
                  <a:gd name="connsiteY5" fmla="*/ 0 h 65189"/>
                  <a:gd name="connsiteX6" fmla="*/ 5024 w 34269"/>
                  <a:gd name="connsiteY6" fmla="*/ 1017 h 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69" h="65189">
                    <a:moveTo>
                      <a:pt x="5024" y="1017"/>
                    </a:moveTo>
                    <a:cubicBezTo>
                      <a:pt x="4605" y="2572"/>
                      <a:pt x="3469" y="4486"/>
                      <a:pt x="3947" y="5682"/>
                    </a:cubicBezTo>
                    <a:cubicBezTo>
                      <a:pt x="11124" y="23803"/>
                      <a:pt x="18720" y="41805"/>
                      <a:pt x="25777" y="59927"/>
                    </a:cubicBezTo>
                    <a:cubicBezTo>
                      <a:pt x="27751" y="65010"/>
                      <a:pt x="31578" y="62499"/>
                      <a:pt x="34269" y="64173"/>
                    </a:cubicBezTo>
                    <a:cubicBezTo>
                      <a:pt x="31758" y="64472"/>
                      <a:pt x="29246" y="64831"/>
                      <a:pt x="26554" y="65190"/>
                    </a:cubicBezTo>
                    <a:cubicBezTo>
                      <a:pt x="17703" y="43480"/>
                      <a:pt x="8971" y="22009"/>
                      <a:pt x="0" y="0"/>
                    </a:cubicBezTo>
                    <a:cubicBezTo>
                      <a:pt x="1914" y="419"/>
                      <a:pt x="3469" y="718"/>
                      <a:pt x="5024" y="101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61" name="Vrije vorm: vorm 9460">
                <a:extLst>
                  <a:ext uri="{FF2B5EF4-FFF2-40B4-BE49-F238E27FC236}">
                    <a16:creationId xmlns:a16="http://schemas.microsoft.com/office/drawing/2014/main" id="{C73FCCB2-57B8-4702-B2A1-DC0A9ACBD2ED}"/>
                  </a:ext>
                </a:extLst>
              </p:cNvPr>
              <p:cNvSpPr/>
              <p:nvPr/>
            </p:nvSpPr>
            <p:spPr>
              <a:xfrm>
                <a:off x="5131718" y="1937196"/>
                <a:ext cx="36900" cy="57654"/>
              </a:xfrm>
              <a:custGeom>
                <a:avLst/>
                <a:gdLst>
                  <a:gd name="connsiteX0" fmla="*/ 36841 w 36900"/>
                  <a:gd name="connsiteY0" fmla="*/ 57176 h 57654"/>
                  <a:gd name="connsiteX1" fmla="*/ 23265 w 36900"/>
                  <a:gd name="connsiteY1" fmla="*/ 57654 h 57654"/>
                  <a:gd name="connsiteX2" fmla="*/ 0 w 36900"/>
                  <a:gd name="connsiteY2" fmla="*/ 478 h 57654"/>
                  <a:gd name="connsiteX3" fmla="*/ 957 w 36900"/>
                  <a:gd name="connsiteY3" fmla="*/ 0 h 57654"/>
                  <a:gd name="connsiteX4" fmla="*/ 3409 w 36900"/>
                  <a:gd name="connsiteY4" fmla="*/ 6041 h 57654"/>
                  <a:gd name="connsiteX5" fmla="*/ 20933 w 36900"/>
                  <a:gd name="connsiteY5" fmla="*/ 49401 h 57654"/>
                  <a:gd name="connsiteX6" fmla="*/ 30382 w 36900"/>
                  <a:gd name="connsiteY6" fmla="*/ 56099 h 57654"/>
                  <a:gd name="connsiteX7" fmla="*/ 36901 w 36900"/>
                  <a:gd name="connsiteY7" fmla="*/ 56219 h 57654"/>
                  <a:gd name="connsiteX8" fmla="*/ 36841 w 36900"/>
                  <a:gd name="connsiteY8" fmla="*/ 57176 h 5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00" h="57654">
                    <a:moveTo>
                      <a:pt x="36841" y="57176"/>
                    </a:moveTo>
                    <a:cubicBezTo>
                      <a:pt x="32356" y="57355"/>
                      <a:pt x="27870" y="57475"/>
                      <a:pt x="23265" y="57654"/>
                    </a:cubicBezTo>
                    <a:cubicBezTo>
                      <a:pt x="15550" y="38636"/>
                      <a:pt x="7775" y="19557"/>
                      <a:pt x="0" y="478"/>
                    </a:cubicBezTo>
                    <a:cubicBezTo>
                      <a:pt x="299" y="299"/>
                      <a:pt x="598" y="179"/>
                      <a:pt x="957" y="0"/>
                    </a:cubicBezTo>
                    <a:cubicBezTo>
                      <a:pt x="1794" y="2034"/>
                      <a:pt x="2572" y="4007"/>
                      <a:pt x="3409" y="6041"/>
                    </a:cubicBezTo>
                    <a:cubicBezTo>
                      <a:pt x="9270" y="20454"/>
                      <a:pt x="15430" y="34808"/>
                      <a:pt x="20933" y="49401"/>
                    </a:cubicBezTo>
                    <a:cubicBezTo>
                      <a:pt x="22906" y="54664"/>
                      <a:pt x="25298" y="56996"/>
                      <a:pt x="30382" y="56099"/>
                    </a:cubicBezTo>
                    <a:cubicBezTo>
                      <a:pt x="32475" y="55740"/>
                      <a:pt x="34748" y="56159"/>
                      <a:pt x="36901" y="56219"/>
                    </a:cubicBezTo>
                    <a:cubicBezTo>
                      <a:pt x="36901" y="56518"/>
                      <a:pt x="36841" y="56817"/>
                      <a:pt x="36841" y="5717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62" name="Vrije vorm: vorm 9461">
                <a:extLst>
                  <a:ext uri="{FF2B5EF4-FFF2-40B4-BE49-F238E27FC236}">
                    <a16:creationId xmlns:a16="http://schemas.microsoft.com/office/drawing/2014/main" id="{65732290-0D42-4746-BD7B-F905990147D4}"/>
                  </a:ext>
                </a:extLst>
              </p:cNvPr>
              <p:cNvSpPr/>
              <p:nvPr/>
            </p:nvSpPr>
            <p:spPr>
              <a:xfrm>
                <a:off x="5279382" y="1527098"/>
                <a:ext cx="21291" cy="51374"/>
              </a:xfrm>
              <a:custGeom>
                <a:avLst/>
                <a:gdLst>
                  <a:gd name="connsiteX0" fmla="*/ 478 w 21291"/>
                  <a:gd name="connsiteY0" fmla="*/ 0 h 51374"/>
                  <a:gd name="connsiteX1" fmla="*/ 21291 w 21291"/>
                  <a:gd name="connsiteY1" fmla="*/ 51195 h 51374"/>
                  <a:gd name="connsiteX2" fmla="*/ 20813 w 21291"/>
                  <a:gd name="connsiteY2" fmla="*/ 51374 h 51374"/>
                  <a:gd name="connsiteX3" fmla="*/ 0 w 21291"/>
                  <a:gd name="connsiteY3" fmla="*/ 179 h 51374"/>
                  <a:gd name="connsiteX4" fmla="*/ 478 w 21291"/>
                  <a:gd name="connsiteY4" fmla="*/ 0 h 51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91" h="51374">
                    <a:moveTo>
                      <a:pt x="478" y="0"/>
                    </a:moveTo>
                    <a:cubicBezTo>
                      <a:pt x="7416" y="17045"/>
                      <a:pt x="14354" y="34150"/>
                      <a:pt x="21291" y="51195"/>
                    </a:cubicBezTo>
                    <a:cubicBezTo>
                      <a:pt x="21112" y="51255"/>
                      <a:pt x="20992" y="51315"/>
                      <a:pt x="20813" y="51374"/>
                    </a:cubicBezTo>
                    <a:cubicBezTo>
                      <a:pt x="13875" y="34329"/>
                      <a:pt x="6937" y="17225"/>
                      <a:pt x="0" y="179"/>
                    </a:cubicBezTo>
                    <a:cubicBezTo>
                      <a:pt x="179" y="120"/>
                      <a:pt x="359" y="60"/>
                      <a:pt x="47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63" name="Vrije vorm: vorm 9462">
                <a:extLst>
                  <a:ext uri="{FF2B5EF4-FFF2-40B4-BE49-F238E27FC236}">
                    <a16:creationId xmlns:a16="http://schemas.microsoft.com/office/drawing/2014/main" id="{D964A20C-93FE-4182-BBAD-13D8A08F3807}"/>
                  </a:ext>
                </a:extLst>
              </p:cNvPr>
              <p:cNvSpPr/>
              <p:nvPr/>
            </p:nvSpPr>
            <p:spPr>
              <a:xfrm>
                <a:off x="5016051" y="1092598"/>
                <a:ext cx="25238" cy="60764"/>
              </a:xfrm>
              <a:custGeom>
                <a:avLst/>
                <a:gdLst>
                  <a:gd name="connsiteX0" fmla="*/ 24641 w 25238"/>
                  <a:gd name="connsiteY0" fmla="*/ 60764 h 60764"/>
                  <a:gd name="connsiteX1" fmla="*/ 0 w 25238"/>
                  <a:gd name="connsiteY1" fmla="*/ 239 h 60764"/>
                  <a:gd name="connsiteX2" fmla="*/ 598 w 25238"/>
                  <a:gd name="connsiteY2" fmla="*/ 0 h 60764"/>
                  <a:gd name="connsiteX3" fmla="*/ 25238 w 25238"/>
                  <a:gd name="connsiteY3" fmla="*/ 60525 h 60764"/>
                  <a:gd name="connsiteX4" fmla="*/ 24641 w 25238"/>
                  <a:gd name="connsiteY4" fmla="*/ 60764 h 60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8" h="60764">
                    <a:moveTo>
                      <a:pt x="24641" y="60764"/>
                    </a:moveTo>
                    <a:cubicBezTo>
                      <a:pt x="16447" y="40609"/>
                      <a:pt x="8194" y="20394"/>
                      <a:pt x="0" y="239"/>
                    </a:cubicBezTo>
                    <a:cubicBezTo>
                      <a:pt x="180" y="179"/>
                      <a:pt x="419" y="60"/>
                      <a:pt x="598" y="0"/>
                    </a:cubicBezTo>
                    <a:cubicBezTo>
                      <a:pt x="8791" y="20155"/>
                      <a:pt x="17045" y="40370"/>
                      <a:pt x="25238" y="60525"/>
                    </a:cubicBezTo>
                    <a:cubicBezTo>
                      <a:pt x="25059" y="60645"/>
                      <a:pt x="24880" y="60704"/>
                      <a:pt x="24641" y="6076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64" name="Vrije vorm: vorm 9463">
                <a:extLst>
                  <a:ext uri="{FF2B5EF4-FFF2-40B4-BE49-F238E27FC236}">
                    <a16:creationId xmlns:a16="http://schemas.microsoft.com/office/drawing/2014/main" id="{6AB22103-31C9-4899-8D63-69DC641406CF}"/>
                  </a:ext>
                </a:extLst>
              </p:cNvPr>
              <p:cNvSpPr/>
              <p:nvPr/>
            </p:nvSpPr>
            <p:spPr>
              <a:xfrm>
                <a:off x="5392836" y="1566092"/>
                <a:ext cx="22846" cy="54843"/>
              </a:xfrm>
              <a:custGeom>
                <a:avLst/>
                <a:gdLst>
                  <a:gd name="connsiteX0" fmla="*/ 22248 w 22846"/>
                  <a:gd name="connsiteY0" fmla="*/ 54843 h 54843"/>
                  <a:gd name="connsiteX1" fmla="*/ 0 w 22846"/>
                  <a:gd name="connsiteY1" fmla="*/ 239 h 54843"/>
                  <a:gd name="connsiteX2" fmla="*/ 598 w 22846"/>
                  <a:gd name="connsiteY2" fmla="*/ 0 h 54843"/>
                  <a:gd name="connsiteX3" fmla="*/ 22846 w 22846"/>
                  <a:gd name="connsiteY3" fmla="*/ 54724 h 54843"/>
                  <a:gd name="connsiteX4" fmla="*/ 22248 w 22846"/>
                  <a:gd name="connsiteY4" fmla="*/ 54843 h 54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46" h="54843">
                    <a:moveTo>
                      <a:pt x="22248" y="54843"/>
                    </a:moveTo>
                    <a:cubicBezTo>
                      <a:pt x="14832" y="36662"/>
                      <a:pt x="7416" y="18421"/>
                      <a:pt x="0" y="239"/>
                    </a:cubicBezTo>
                    <a:cubicBezTo>
                      <a:pt x="180" y="179"/>
                      <a:pt x="419" y="60"/>
                      <a:pt x="598" y="0"/>
                    </a:cubicBezTo>
                    <a:cubicBezTo>
                      <a:pt x="8014" y="18241"/>
                      <a:pt x="15430" y="36482"/>
                      <a:pt x="22846" y="54724"/>
                    </a:cubicBezTo>
                    <a:cubicBezTo>
                      <a:pt x="22667" y="54724"/>
                      <a:pt x="22428" y="54783"/>
                      <a:pt x="22248" y="5484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65" name="Vrije vorm: vorm 9464">
                <a:extLst>
                  <a:ext uri="{FF2B5EF4-FFF2-40B4-BE49-F238E27FC236}">
                    <a16:creationId xmlns:a16="http://schemas.microsoft.com/office/drawing/2014/main" id="{4C4AA1E0-0C5F-4BFB-A2C8-0B4C6B644543}"/>
                  </a:ext>
                </a:extLst>
              </p:cNvPr>
              <p:cNvSpPr/>
              <p:nvPr/>
            </p:nvSpPr>
            <p:spPr>
              <a:xfrm>
                <a:off x="5038289" y="1943954"/>
                <a:ext cx="24052" cy="63216"/>
              </a:xfrm>
              <a:custGeom>
                <a:avLst/>
                <a:gdLst>
                  <a:gd name="connsiteX0" fmla="*/ 13885 w 24052"/>
                  <a:gd name="connsiteY0" fmla="*/ 63216 h 63216"/>
                  <a:gd name="connsiteX1" fmla="*/ 17534 w 24052"/>
                  <a:gd name="connsiteY1" fmla="*/ 45693 h 63216"/>
                  <a:gd name="connsiteX2" fmla="*/ 1206 w 24052"/>
                  <a:gd name="connsiteY2" fmla="*/ 5801 h 63216"/>
                  <a:gd name="connsiteX3" fmla="*/ 70 w 24052"/>
                  <a:gd name="connsiteY3" fmla="*/ 0 h 63216"/>
                  <a:gd name="connsiteX4" fmla="*/ 24052 w 24052"/>
                  <a:gd name="connsiteY4" fmla="*/ 59030 h 63216"/>
                  <a:gd name="connsiteX5" fmla="*/ 13826 w 24052"/>
                  <a:gd name="connsiteY5" fmla="*/ 63216 h 63216"/>
                  <a:gd name="connsiteX6" fmla="*/ 13885 w 24052"/>
                  <a:gd name="connsiteY6" fmla="*/ 63216 h 6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52" h="63216">
                    <a:moveTo>
                      <a:pt x="13885" y="63216"/>
                    </a:moveTo>
                    <a:cubicBezTo>
                      <a:pt x="22198" y="57116"/>
                      <a:pt x="22198" y="57116"/>
                      <a:pt x="17534" y="45693"/>
                    </a:cubicBezTo>
                    <a:cubicBezTo>
                      <a:pt x="12091" y="32415"/>
                      <a:pt x="6649" y="19079"/>
                      <a:pt x="1206" y="5801"/>
                    </a:cubicBezTo>
                    <a:cubicBezTo>
                      <a:pt x="488" y="4007"/>
                      <a:pt x="-229" y="2213"/>
                      <a:pt x="70" y="0"/>
                    </a:cubicBezTo>
                    <a:cubicBezTo>
                      <a:pt x="8024" y="19617"/>
                      <a:pt x="15979" y="39174"/>
                      <a:pt x="24052" y="59030"/>
                    </a:cubicBezTo>
                    <a:cubicBezTo>
                      <a:pt x="20703" y="60405"/>
                      <a:pt x="17234" y="61781"/>
                      <a:pt x="13826" y="63216"/>
                    </a:cubicBezTo>
                    <a:cubicBezTo>
                      <a:pt x="13766" y="63156"/>
                      <a:pt x="13885" y="63216"/>
                      <a:pt x="13885" y="6321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66" name="Vrije vorm: vorm 9465">
                <a:extLst>
                  <a:ext uri="{FF2B5EF4-FFF2-40B4-BE49-F238E27FC236}">
                    <a16:creationId xmlns:a16="http://schemas.microsoft.com/office/drawing/2014/main" id="{5F304887-6624-44B6-8826-1808F34FBF9E}"/>
                  </a:ext>
                </a:extLst>
              </p:cNvPr>
              <p:cNvSpPr/>
              <p:nvPr/>
            </p:nvSpPr>
            <p:spPr>
              <a:xfrm>
                <a:off x="5383871" y="2003987"/>
                <a:ext cx="40974" cy="98684"/>
              </a:xfrm>
              <a:custGeom>
                <a:avLst/>
                <a:gdLst>
                  <a:gd name="connsiteX0" fmla="*/ 20986 w 40974"/>
                  <a:gd name="connsiteY0" fmla="*/ 49139 h 98684"/>
                  <a:gd name="connsiteX1" fmla="*/ 40476 w 40974"/>
                  <a:gd name="connsiteY1" fmla="*/ 98481 h 98684"/>
                  <a:gd name="connsiteX2" fmla="*/ 19989 w 40974"/>
                  <a:gd name="connsiteY2" fmla="*/ 49545 h 98684"/>
                  <a:gd name="connsiteX3" fmla="*/ 499 w 40974"/>
                  <a:gd name="connsiteY3" fmla="*/ 203 h 98684"/>
                  <a:gd name="connsiteX4" fmla="*/ 20986 w 40974"/>
                  <a:gd name="connsiteY4" fmla="*/ 49139 h 98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74" h="98684">
                    <a:moveTo>
                      <a:pt x="20986" y="49139"/>
                    </a:moveTo>
                    <a:cubicBezTo>
                      <a:pt x="32026" y="76278"/>
                      <a:pt x="40752" y="98369"/>
                      <a:pt x="40476" y="98481"/>
                    </a:cubicBezTo>
                    <a:cubicBezTo>
                      <a:pt x="40201" y="98593"/>
                      <a:pt x="31028" y="76684"/>
                      <a:pt x="19989" y="49545"/>
                    </a:cubicBezTo>
                    <a:cubicBezTo>
                      <a:pt x="8949" y="22406"/>
                      <a:pt x="223" y="315"/>
                      <a:pt x="499" y="203"/>
                    </a:cubicBezTo>
                    <a:cubicBezTo>
                      <a:pt x="774" y="91"/>
                      <a:pt x="9947" y="22000"/>
                      <a:pt x="20986" y="4913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67" name="Vrije vorm: vorm 9466">
                <a:extLst>
                  <a:ext uri="{FF2B5EF4-FFF2-40B4-BE49-F238E27FC236}">
                    <a16:creationId xmlns:a16="http://schemas.microsoft.com/office/drawing/2014/main" id="{999F258E-2E81-45D9-8D00-3610A47B5F2C}"/>
                  </a:ext>
                </a:extLst>
              </p:cNvPr>
              <p:cNvSpPr/>
              <p:nvPr/>
            </p:nvSpPr>
            <p:spPr>
              <a:xfrm>
                <a:off x="5133154" y="1857174"/>
                <a:ext cx="25418" cy="59866"/>
              </a:xfrm>
              <a:custGeom>
                <a:avLst/>
                <a:gdLst>
                  <a:gd name="connsiteX0" fmla="*/ 1076 w 25418"/>
                  <a:gd name="connsiteY0" fmla="*/ 0 h 59866"/>
                  <a:gd name="connsiteX1" fmla="*/ 25418 w 25418"/>
                  <a:gd name="connsiteY1" fmla="*/ 59807 h 59866"/>
                  <a:gd name="connsiteX2" fmla="*/ 17225 w 25418"/>
                  <a:gd name="connsiteY2" fmla="*/ 59867 h 59866"/>
                  <a:gd name="connsiteX3" fmla="*/ 17045 w 25418"/>
                  <a:gd name="connsiteY3" fmla="*/ 59209 h 59866"/>
                  <a:gd name="connsiteX4" fmla="*/ 23384 w 25418"/>
                  <a:gd name="connsiteY4" fmla="*/ 57893 h 59866"/>
                  <a:gd name="connsiteX5" fmla="*/ 0 w 25418"/>
                  <a:gd name="connsiteY5" fmla="*/ 419 h 59866"/>
                  <a:gd name="connsiteX6" fmla="*/ 1076 w 25418"/>
                  <a:gd name="connsiteY6" fmla="*/ 0 h 5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18" h="59866">
                    <a:moveTo>
                      <a:pt x="1076" y="0"/>
                    </a:moveTo>
                    <a:cubicBezTo>
                      <a:pt x="9150" y="19796"/>
                      <a:pt x="17225" y="39652"/>
                      <a:pt x="25418" y="59807"/>
                    </a:cubicBezTo>
                    <a:cubicBezTo>
                      <a:pt x="22787" y="59807"/>
                      <a:pt x="19975" y="59867"/>
                      <a:pt x="17225" y="59867"/>
                    </a:cubicBezTo>
                    <a:cubicBezTo>
                      <a:pt x="17165" y="59628"/>
                      <a:pt x="17105" y="59448"/>
                      <a:pt x="17045" y="59209"/>
                    </a:cubicBezTo>
                    <a:cubicBezTo>
                      <a:pt x="18959" y="58791"/>
                      <a:pt x="20873" y="58432"/>
                      <a:pt x="23384" y="57893"/>
                    </a:cubicBezTo>
                    <a:cubicBezTo>
                      <a:pt x="15490" y="38456"/>
                      <a:pt x="7715" y="19437"/>
                      <a:pt x="0" y="419"/>
                    </a:cubicBezTo>
                    <a:cubicBezTo>
                      <a:pt x="359" y="299"/>
                      <a:pt x="718" y="179"/>
                      <a:pt x="1076"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68" name="Vrije vorm: vorm 9467">
                <a:extLst>
                  <a:ext uri="{FF2B5EF4-FFF2-40B4-BE49-F238E27FC236}">
                    <a16:creationId xmlns:a16="http://schemas.microsoft.com/office/drawing/2014/main" id="{D488F37C-C014-4CF4-BF0F-9F0B614D5A48}"/>
                  </a:ext>
                </a:extLst>
              </p:cNvPr>
              <p:cNvSpPr/>
              <p:nvPr/>
            </p:nvSpPr>
            <p:spPr>
              <a:xfrm>
                <a:off x="4942548" y="1283682"/>
                <a:ext cx="28587" cy="68359"/>
              </a:xfrm>
              <a:custGeom>
                <a:avLst/>
                <a:gdLst>
                  <a:gd name="connsiteX0" fmla="*/ 27691 w 28587"/>
                  <a:gd name="connsiteY0" fmla="*/ 68360 h 68359"/>
                  <a:gd name="connsiteX1" fmla="*/ 0 w 28587"/>
                  <a:gd name="connsiteY1" fmla="*/ 359 h 68359"/>
                  <a:gd name="connsiteX2" fmla="*/ 897 w 28587"/>
                  <a:gd name="connsiteY2" fmla="*/ 0 h 68359"/>
                  <a:gd name="connsiteX3" fmla="*/ 28588 w 28587"/>
                  <a:gd name="connsiteY3" fmla="*/ 68001 h 68359"/>
                  <a:gd name="connsiteX4" fmla="*/ 27691 w 28587"/>
                  <a:gd name="connsiteY4" fmla="*/ 68360 h 68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87" h="68359">
                    <a:moveTo>
                      <a:pt x="27691" y="68360"/>
                    </a:moveTo>
                    <a:cubicBezTo>
                      <a:pt x="18480" y="45693"/>
                      <a:pt x="9270" y="23026"/>
                      <a:pt x="0" y="359"/>
                    </a:cubicBezTo>
                    <a:cubicBezTo>
                      <a:pt x="299" y="239"/>
                      <a:pt x="598" y="120"/>
                      <a:pt x="897" y="0"/>
                    </a:cubicBezTo>
                    <a:cubicBezTo>
                      <a:pt x="10107" y="22667"/>
                      <a:pt x="19318" y="45334"/>
                      <a:pt x="28588" y="68001"/>
                    </a:cubicBezTo>
                    <a:cubicBezTo>
                      <a:pt x="28349" y="68120"/>
                      <a:pt x="28050" y="68240"/>
                      <a:pt x="27691" y="6836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69" name="Vrije vorm: vorm 9468">
                <a:extLst>
                  <a:ext uri="{FF2B5EF4-FFF2-40B4-BE49-F238E27FC236}">
                    <a16:creationId xmlns:a16="http://schemas.microsoft.com/office/drawing/2014/main" id="{88BB1D24-7613-46F8-A0F8-1DC4DC3034BF}"/>
                  </a:ext>
                </a:extLst>
              </p:cNvPr>
              <p:cNvSpPr/>
              <p:nvPr/>
            </p:nvSpPr>
            <p:spPr>
              <a:xfrm>
                <a:off x="5480932" y="1723804"/>
                <a:ext cx="21470" cy="51075"/>
              </a:xfrm>
              <a:custGeom>
                <a:avLst/>
                <a:gdLst>
                  <a:gd name="connsiteX0" fmla="*/ 20634 w 21470"/>
                  <a:gd name="connsiteY0" fmla="*/ 51075 h 51075"/>
                  <a:gd name="connsiteX1" fmla="*/ 0 w 21470"/>
                  <a:gd name="connsiteY1" fmla="*/ 299 h 51075"/>
                  <a:gd name="connsiteX2" fmla="*/ 837 w 21470"/>
                  <a:gd name="connsiteY2" fmla="*/ 0 h 51075"/>
                  <a:gd name="connsiteX3" fmla="*/ 21471 w 21470"/>
                  <a:gd name="connsiteY3" fmla="*/ 50716 h 51075"/>
                  <a:gd name="connsiteX4" fmla="*/ 20634 w 21470"/>
                  <a:gd name="connsiteY4" fmla="*/ 51075 h 5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70" h="51075">
                    <a:moveTo>
                      <a:pt x="20634" y="51075"/>
                    </a:moveTo>
                    <a:cubicBezTo>
                      <a:pt x="13756" y="34150"/>
                      <a:pt x="6878" y="17225"/>
                      <a:pt x="0" y="299"/>
                    </a:cubicBezTo>
                    <a:cubicBezTo>
                      <a:pt x="299" y="179"/>
                      <a:pt x="538" y="60"/>
                      <a:pt x="837" y="0"/>
                    </a:cubicBezTo>
                    <a:cubicBezTo>
                      <a:pt x="7715" y="16925"/>
                      <a:pt x="14593" y="33851"/>
                      <a:pt x="21471" y="50716"/>
                    </a:cubicBezTo>
                    <a:cubicBezTo>
                      <a:pt x="21172" y="50836"/>
                      <a:pt x="20873" y="50956"/>
                      <a:pt x="20634" y="5107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70" name="Vrije vorm: vorm 9469">
                <a:extLst>
                  <a:ext uri="{FF2B5EF4-FFF2-40B4-BE49-F238E27FC236}">
                    <a16:creationId xmlns:a16="http://schemas.microsoft.com/office/drawing/2014/main" id="{B2738D9F-26A5-41DF-9EA4-A28A9F1A2813}"/>
                  </a:ext>
                </a:extLst>
              </p:cNvPr>
              <p:cNvSpPr/>
              <p:nvPr/>
            </p:nvSpPr>
            <p:spPr>
              <a:xfrm>
                <a:off x="5431950" y="1604010"/>
                <a:ext cx="20693" cy="49580"/>
              </a:xfrm>
              <a:custGeom>
                <a:avLst/>
                <a:gdLst>
                  <a:gd name="connsiteX0" fmla="*/ 20096 w 20693"/>
                  <a:gd name="connsiteY0" fmla="*/ 49580 h 49580"/>
                  <a:gd name="connsiteX1" fmla="*/ 0 w 20693"/>
                  <a:gd name="connsiteY1" fmla="*/ 179 h 49580"/>
                  <a:gd name="connsiteX2" fmla="*/ 538 w 20693"/>
                  <a:gd name="connsiteY2" fmla="*/ 0 h 49580"/>
                  <a:gd name="connsiteX3" fmla="*/ 20693 w 20693"/>
                  <a:gd name="connsiteY3" fmla="*/ 49520 h 49580"/>
                  <a:gd name="connsiteX4" fmla="*/ 20096 w 20693"/>
                  <a:gd name="connsiteY4" fmla="*/ 49580 h 49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93" h="49580">
                    <a:moveTo>
                      <a:pt x="20096" y="49580"/>
                    </a:moveTo>
                    <a:cubicBezTo>
                      <a:pt x="13397" y="33133"/>
                      <a:pt x="6698" y="16626"/>
                      <a:pt x="0" y="179"/>
                    </a:cubicBezTo>
                    <a:cubicBezTo>
                      <a:pt x="180" y="120"/>
                      <a:pt x="359" y="60"/>
                      <a:pt x="538" y="0"/>
                    </a:cubicBezTo>
                    <a:cubicBezTo>
                      <a:pt x="7237" y="16507"/>
                      <a:pt x="13935" y="33014"/>
                      <a:pt x="20693" y="49520"/>
                    </a:cubicBezTo>
                    <a:cubicBezTo>
                      <a:pt x="20454" y="49520"/>
                      <a:pt x="20275" y="49580"/>
                      <a:pt x="20096" y="4958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71" name="Vrije vorm: vorm 9470">
                <a:extLst>
                  <a:ext uri="{FF2B5EF4-FFF2-40B4-BE49-F238E27FC236}">
                    <a16:creationId xmlns:a16="http://schemas.microsoft.com/office/drawing/2014/main" id="{1DC4DF1D-0634-4FC4-B459-253D6CF76342}"/>
                  </a:ext>
                </a:extLst>
              </p:cNvPr>
              <p:cNvSpPr/>
              <p:nvPr/>
            </p:nvSpPr>
            <p:spPr>
              <a:xfrm>
                <a:off x="4847155" y="1261853"/>
                <a:ext cx="24161" cy="61601"/>
              </a:xfrm>
              <a:custGeom>
                <a:avLst/>
                <a:gdLst>
                  <a:gd name="connsiteX0" fmla="*/ 19019 w 24161"/>
                  <a:gd name="connsiteY0" fmla="*/ 61601 h 61601"/>
                  <a:gd name="connsiteX1" fmla="*/ 20394 w 24161"/>
                  <a:gd name="connsiteY1" fmla="*/ 52571 h 61601"/>
                  <a:gd name="connsiteX2" fmla="*/ 0 w 24161"/>
                  <a:gd name="connsiteY2" fmla="*/ 0 h 61601"/>
                  <a:gd name="connsiteX3" fmla="*/ 24162 w 24161"/>
                  <a:gd name="connsiteY3" fmla="*/ 59389 h 61601"/>
                  <a:gd name="connsiteX4" fmla="*/ 18959 w 24161"/>
                  <a:gd name="connsiteY4" fmla="*/ 61482 h 61601"/>
                  <a:gd name="connsiteX5" fmla="*/ 19019 w 24161"/>
                  <a:gd name="connsiteY5" fmla="*/ 61601 h 6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61" h="61601">
                    <a:moveTo>
                      <a:pt x="19019" y="61601"/>
                    </a:moveTo>
                    <a:cubicBezTo>
                      <a:pt x="21949" y="59209"/>
                      <a:pt x="22069" y="56578"/>
                      <a:pt x="20394" y="52571"/>
                    </a:cubicBezTo>
                    <a:cubicBezTo>
                      <a:pt x="13098" y="35286"/>
                      <a:pt x="6160" y="17823"/>
                      <a:pt x="0" y="0"/>
                    </a:cubicBezTo>
                    <a:cubicBezTo>
                      <a:pt x="7954" y="19497"/>
                      <a:pt x="15849" y="38994"/>
                      <a:pt x="24162" y="59389"/>
                    </a:cubicBezTo>
                    <a:cubicBezTo>
                      <a:pt x="22727" y="59987"/>
                      <a:pt x="20813" y="60764"/>
                      <a:pt x="18959" y="61482"/>
                    </a:cubicBezTo>
                    <a:cubicBezTo>
                      <a:pt x="18899" y="61482"/>
                      <a:pt x="19019" y="61601"/>
                      <a:pt x="19019" y="6160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72" name="Vrije vorm: vorm 9471">
                <a:extLst>
                  <a:ext uri="{FF2B5EF4-FFF2-40B4-BE49-F238E27FC236}">
                    <a16:creationId xmlns:a16="http://schemas.microsoft.com/office/drawing/2014/main" id="{F7D0DE99-6F14-4564-BC85-8CF26390E120}"/>
                  </a:ext>
                </a:extLst>
              </p:cNvPr>
              <p:cNvSpPr/>
              <p:nvPr/>
            </p:nvSpPr>
            <p:spPr>
              <a:xfrm>
                <a:off x="4992786" y="2117574"/>
                <a:ext cx="46769" cy="28229"/>
              </a:xfrm>
              <a:custGeom>
                <a:avLst/>
                <a:gdLst>
                  <a:gd name="connsiteX0" fmla="*/ 180 w 46769"/>
                  <a:gd name="connsiteY0" fmla="*/ 28229 h 28229"/>
                  <a:gd name="connsiteX1" fmla="*/ 46052 w 46769"/>
                  <a:gd name="connsiteY1" fmla="*/ 0 h 28229"/>
                  <a:gd name="connsiteX2" fmla="*/ 46769 w 46769"/>
                  <a:gd name="connsiteY2" fmla="*/ 1256 h 28229"/>
                  <a:gd name="connsiteX3" fmla="*/ 11124 w 46769"/>
                  <a:gd name="connsiteY3" fmla="*/ 22607 h 28229"/>
                  <a:gd name="connsiteX4" fmla="*/ 0 w 46769"/>
                  <a:gd name="connsiteY4" fmla="*/ 28169 h 28229"/>
                  <a:gd name="connsiteX5" fmla="*/ 180 w 46769"/>
                  <a:gd name="connsiteY5" fmla="*/ 28229 h 2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769" h="28229">
                    <a:moveTo>
                      <a:pt x="180" y="28229"/>
                    </a:moveTo>
                    <a:cubicBezTo>
                      <a:pt x="15490" y="18839"/>
                      <a:pt x="30801" y="9450"/>
                      <a:pt x="46052" y="0"/>
                    </a:cubicBezTo>
                    <a:cubicBezTo>
                      <a:pt x="46291" y="419"/>
                      <a:pt x="46530" y="837"/>
                      <a:pt x="46769" y="1256"/>
                    </a:cubicBezTo>
                    <a:cubicBezTo>
                      <a:pt x="34928" y="8373"/>
                      <a:pt x="23086" y="15550"/>
                      <a:pt x="11124" y="22607"/>
                    </a:cubicBezTo>
                    <a:cubicBezTo>
                      <a:pt x="7536" y="24700"/>
                      <a:pt x="3708" y="26315"/>
                      <a:pt x="0" y="28169"/>
                    </a:cubicBezTo>
                    <a:cubicBezTo>
                      <a:pt x="60" y="28109"/>
                      <a:pt x="180" y="28229"/>
                      <a:pt x="180" y="2822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73" name="Vrije vorm: vorm 9472">
                <a:extLst>
                  <a:ext uri="{FF2B5EF4-FFF2-40B4-BE49-F238E27FC236}">
                    <a16:creationId xmlns:a16="http://schemas.microsoft.com/office/drawing/2014/main" id="{A52AED74-7161-49C9-8BD9-0A4A18E7F88B}"/>
                  </a:ext>
                </a:extLst>
              </p:cNvPr>
              <p:cNvSpPr/>
              <p:nvPr/>
            </p:nvSpPr>
            <p:spPr>
              <a:xfrm>
                <a:off x="5473456" y="1658554"/>
                <a:ext cx="37379" cy="26913"/>
              </a:xfrm>
              <a:custGeom>
                <a:avLst/>
                <a:gdLst>
                  <a:gd name="connsiteX0" fmla="*/ 10766 w 37379"/>
                  <a:gd name="connsiteY0" fmla="*/ 26913 h 26913"/>
                  <a:gd name="connsiteX1" fmla="*/ 0 w 37379"/>
                  <a:gd name="connsiteY1" fmla="*/ 419 h 26913"/>
                  <a:gd name="connsiteX2" fmla="*/ 1017 w 37379"/>
                  <a:gd name="connsiteY2" fmla="*/ 0 h 26913"/>
                  <a:gd name="connsiteX3" fmla="*/ 11304 w 37379"/>
                  <a:gd name="connsiteY3" fmla="*/ 25239 h 26913"/>
                  <a:gd name="connsiteX4" fmla="*/ 37140 w 37379"/>
                  <a:gd name="connsiteY4" fmla="*/ 19976 h 26913"/>
                  <a:gd name="connsiteX5" fmla="*/ 37380 w 37379"/>
                  <a:gd name="connsiteY5" fmla="*/ 21052 h 26913"/>
                  <a:gd name="connsiteX6" fmla="*/ 10766 w 37379"/>
                  <a:gd name="connsiteY6" fmla="*/ 26913 h 2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79" h="26913">
                    <a:moveTo>
                      <a:pt x="10766" y="26913"/>
                    </a:moveTo>
                    <a:cubicBezTo>
                      <a:pt x="7117" y="17882"/>
                      <a:pt x="3529" y="9150"/>
                      <a:pt x="0" y="419"/>
                    </a:cubicBezTo>
                    <a:cubicBezTo>
                      <a:pt x="359" y="299"/>
                      <a:pt x="658" y="120"/>
                      <a:pt x="1017" y="0"/>
                    </a:cubicBezTo>
                    <a:cubicBezTo>
                      <a:pt x="4366" y="8313"/>
                      <a:pt x="7775" y="16626"/>
                      <a:pt x="11304" y="25239"/>
                    </a:cubicBezTo>
                    <a:cubicBezTo>
                      <a:pt x="20215" y="23444"/>
                      <a:pt x="28708" y="21710"/>
                      <a:pt x="37140" y="19976"/>
                    </a:cubicBezTo>
                    <a:cubicBezTo>
                      <a:pt x="37200" y="20335"/>
                      <a:pt x="37320" y="20693"/>
                      <a:pt x="37380" y="21052"/>
                    </a:cubicBezTo>
                    <a:cubicBezTo>
                      <a:pt x="28468" y="22966"/>
                      <a:pt x="19557" y="24940"/>
                      <a:pt x="10766" y="2691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74" name="Vrije vorm: vorm 9473">
                <a:extLst>
                  <a:ext uri="{FF2B5EF4-FFF2-40B4-BE49-F238E27FC236}">
                    <a16:creationId xmlns:a16="http://schemas.microsoft.com/office/drawing/2014/main" id="{B78BB829-7C2D-417B-BDD1-B45E1C0E4365}"/>
                  </a:ext>
                </a:extLst>
              </p:cNvPr>
              <p:cNvSpPr/>
              <p:nvPr/>
            </p:nvSpPr>
            <p:spPr>
              <a:xfrm>
                <a:off x="5106340" y="1680380"/>
                <a:ext cx="35865" cy="86804"/>
              </a:xfrm>
              <a:custGeom>
                <a:avLst/>
                <a:gdLst>
                  <a:gd name="connsiteX0" fmla="*/ 18265 w 35865"/>
                  <a:gd name="connsiteY0" fmla="*/ 43267 h 86804"/>
                  <a:gd name="connsiteX1" fmla="*/ 35533 w 35865"/>
                  <a:gd name="connsiteY1" fmla="*/ 86669 h 86804"/>
                  <a:gd name="connsiteX2" fmla="*/ 17600 w 35865"/>
                  <a:gd name="connsiteY2" fmla="*/ 43537 h 86804"/>
                  <a:gd name="connsiteX3" fmla="*/ 333 w 35865"/>
                  <a:gd name="connsiteY3" fmla="*/ 135 h 86804"/>
                  <a:gd name="connsiteX4" fmla="*/ 18265 w 35865"/>
                  <a:gd name="connsiteY4" fmla="*/ 43267 h 8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65" h="86804">
                    <a:moveTo>
                      <a:pt x="18265" y="43267"/>
                    </a:moveTo>
                    <a:cubicBezTo>
                      <a:pt x="27985" y="67163"/>
                      <a:pt x="35716" y="86594"/>
                      <a:pt x="35533" y="86669"/>
                    </a:cubicBezTo>
                    <a:cubicBezTo>
                      <a:pt x="35349" y="86744"/>
                      <a:pt x="27321" y="67433"/>
                      <a:pt x="17600" y="43537"/>
                    </a:cubicBezTo>
                    <a:cubicBezTo>
                      <a:pt x="7880" y="19642"/>
                      <a:pt x="149" y="210"/>
                      <a:pt x="333" y="135"/>
                    </a:cubicBezTo>
                    <a:cubicBezTo>
                      <a:pt x="516" y="61"/>
                      <a:pt x="8545" y="19371"/>
                      <a:pt x="18265" y="4326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75" name="Vrije vorm: vorm 9474">
                <a:extLst>
                  <a:ext uri="{FF2B5EF4-FFF2-40B4-BE49-F238E27FC236}">
                    <a16:creationId xmlns:a16="http://schemas.microsoft.com/office/drawing/2014/main" id="{74122542-21F7-4BED-9749-24A36084A742}"/>
                  </a:ext>
                </a:extLst>
              </p:cNvPr>
              <p:cNvSpPr/>
              <p:nvPr/>
            </p:nvSpPr>
            <p:spPr>
              <a:xfrm>
                <a:off x="5515920" y="1788754"/>
                <a:ext cx="30202" cy="46829"/>
              </a:xfrm>
              <a:custGeom>
                <a:avLst/>
                <a:gdLst>
                  <a:gd name="connsiteX0" fmla="*/ 30083 w 30202"/>
                  <a:gd name="connsiteY0" fmla="*/ 39174 h 46829"/>
                  <a:gd name="connsiteX1" fmla="*/ 18899 w 30202"/>
                  <a:gd name="connsiteY1" fmla="*/ 46829 h 46829"/>
                  <a:gd name="connsiteX2" fmla="*/ 0 w 30202"/>
                  <a:gd name="connsiteY2" fmla="*/ 419 h 46829"/>
                  <a:gd name="connsiteX3" fmla="*/ 1017 w 30202"/>
                  <a:gd name="connsiteY3" fmla="*/ 0 h 46829"/>
                  <a:gd name="connsiteX4" fmla="*/ 18839 w 30202"/>
                  <a:gd name="connsiteY4" fmla="*/ 43839 h 46829"/>
                  <a:gd name="connsiteX5" fmla="*/ 30203 w 30202"/>
                  <a:gd name="connsiteY5" fmla="*/ 39234 h 46829"/>
                  <a:gd name="connsiteX6" fmla="*/ 30083 w 30202"/>
                  <a:gd name="connsiteY6" fmla="*/ 39174 h 4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02" h="46829">
                    <a:moveTo>
                      <a:pt x="30083" y="39174"/>
                    </a:moveTo>
                    <a:cubicBezTo>
                      <a:pt x="26375" y="41745"/>
                      <a:pt x="22607" y="44257"/>
                      <a:pt x="18899" y="46829"/>
                    </a:cubicBezTo>
                    <a:cubicBezTo>
                      <a:pt x="12559" y="31339"/>
                      <a:pt x="6280" y="15849"/>
                      <a:pt x="0" y="419"/>
                    </a:cubicBezTo>
                    <a:cubicBezTo>
                      <a:pt x="359" y="299"/>
                      <a:pt x="658" y="120"/>
                      <a:pt x="1017" y="0"/>
                    </a:cubicBezTo>
                    <a:cubicBezTo>
                      <a:pt x="6997" y="14713"/>
                      <a:pt x="12978" y="29485"/>
                      <a:pt x="18839" y="43839"/>
                    </a:cubicBezTo>
                    <a:cubicBezTo>
                      <a:pt x="22906" y="42164"/>
                      <a:pt x="26554" y="40729"/>
                      <a:pt x="30203" y="39234"/>
                    </a:cubicBezTo>
                    <a:cubicBezTo>
                      <a:pt x="30203" y="39234"/>
                      <a:pt x="30083" y="39174"/>
                      <a:pt x="30083" y="3917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76" name="Vrije vorm: vorm 9475">
                <a:extLst>
                  <a:ext uri="{FF2B5EF4-FFF2-40B4-BE49-F238E27FC236}">
                    <a16:creationId xmlns:a16="http://schemas.microsoft.com/office/drawing/2014/main" id="{BC263FA8-688D-4571-B627-6D641D34A9A0}"/>
                  </a:ext>
                </a:extLst>
              </p:cNvPr>
              <p:cNvSpPr/>
              <p:nvPr/>
            </p:nvSpPr>
            <p:spPr>
              <a:xfrm>
                <a:off x="5451627" y="1599046"/>
                <a:ext cx="35644" cy="34628"/>
              </a:xfrm>
              <a:custGeom>
                <a:avLst/>
                <a:gdLst>
                  <a:gd name="connsiteX0" fmla="*/ 1196 w 35644"/>
                  <a:gd name="connsiteY0" fmla="*/ 0 h 34628"/>
                  <a:gd name="connsiteX1" fmla="*/ 14533 w 35644"/>
                  <a:gd name="connsiteY1" fmla="*/ 32834 h 34628"/>
                  <a:gd name="connsiteX2" fmla="*/ 35346 w 35644"/>
                  <a:gd name="connsiteY2" fmla="*/ 27870 h 34628"/>
                  <a:gd name="connsiteX3" fmla="*/ 35645 w 35644"/>
                  <a:gd name="connsiteY3" fmla="*/ 28827 h 34628"/>
                  <a:gd name="connsiteX4" fmla="*/ 13935 w 35644"/>
                  <a:gd name="connsiteY4" fmla="*/ 34628 h 34628"/>
                  <a:gd name="connsiteX5" fmla="*/ 0 w 35644"/>
                  <a:gd name="connsiteY5" fmla="*/ 359 h 34628"/>
                  <a:gd name="connsiteX6" fmla="*/ 1196 w 35644"/>
                  <a:gd name="connsiteY6" fmla="*/ 0 h 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44" h="34628">
                    <a:moveTo>
                      <a:pt x="1196" y="0"/>
                    </a:moveTo>
                    <a:cubicBezTo>
                      <a:pt x="5622" y="10825"/>
                      <a:pt x="9988" y="21650"/>
                      <a:pt x="14533" y="32834"/>
                    </a:cubicBezTo>
                    <a:cubicBezTo>
                      <a:pt x="21710" y="31100"/>
                      <a:pt x="28528" y="29485"/>
                      <a:pt x="35346" y="27870"/>
                    </a:cubicBezTo>
                    <a:cubicBezTo>
                      <a:pt x="35466" y="28169"/>
                      <a:pt x="35526" y="28528"/>
                      <a:pt x="35645" y="28827"/>
                    </a:cubicBezTo>
                    <a:cubicBezTo>
                      <a:pt x="28349" y="30801"/>
                      <a:pt x="21052" y="32715"/>
                      <a:pt x="13935" y="34628"/>
                    </a:cubicBezTo>
                    <a:cubicBezTo>
                      <a:pt x="9270" y="23145"/>
                      <a:pt x="4605" y="11722"/>
                      <a:pt x="0" y="359"/>
                    </a:cubicBezTo>
                    <a:cubicBezTo>
                      <a:pt x="419" y="239"/>
                      <a:pt x="778" y="120"/>
                      <a:pt x="1196"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77" name="Vrije vorm: vorm 9476">
                <a:extLst>
                  <a:ext uri="{FF2B5EF4-FFF2-40B4-BE49-F238E27FC236}">
                    <a16:creationId xmlns:a16="http://schemas.microsoft.com/office/drawing/2014/main" id="{C4243EC5-6249-434F-B1C4-A6226C70EC04}"/>
                  </a:ext>
                </a:extLst>
              </p:cNvPr>
              <p:cNvSpPr/>
              <p:nvPr/>
            </p:nvSpPr>
            <p:spPr>
              <a:xfrm>
                <a:off x="5163416" y="2013629"/>
                <a:ext cx="24580" cy="57162"/>
              </a:xfrm>
              <a:custGeom>
                <a:avLst/>
                <a:gdLst>
                  <a:gd name="connsiteX0" fmla="*/ 24581 w 24580"/>
                  <a:gd name="connsiteY0" fmla="*/ 57056 h 57162"/>
                  <a:gd name="connsiteX1" fmla="*/ 23086 w 24580"/>
                  <a:gd name="connsiteY1" fmla="*/ 57056 h 57162"/>
                  <a:gd name="connsiteX2" fmla="*/ 0 w 24580"/>
                  <a:gd name="connsiteY2" fmla="*/ 538 h 57162"/>
                  <a:gd name="connsiteX3" fmla="*/ 1316 w 24580"/>
                  <a:gd name="connsiteY3" fmla="*/ 0 h 57162"/>
                  <a:gd name="connsiteX4" fmla="*/ 24581 w 24580"/>
                  <a:gd name="connsiteY4" fmla="*/ 57056 h 57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 h="57162">
                    <a:moveTo>
                      <a:pt x="24581" y="57056"/>
                    </a:moveTo>
                    <a:cubicBezTo>
                      <a:pt x="24401" y="57056"/>
                      <a:pt x="23205" y="57295"/>
                      <a:pt x="23086" y="57056"/>
                    </a:cubicBezTo>
                    <a:cubicBezTo>
                      <a:pt x="15371" y="38217"/>
                      <a:pt x="7655" y="19378"/>
                      <a:pt x="0" y="538"/>
                    </a:cubicBezTo>
                    <a:cubicBezTo>
                      <a:pt x="419" y="359"/>
                      <a:pt x="897" y="180"/>
                      <a:pt x="1316" y="0"/>
                    </a:cubicBezTo>
                    <a:cubicBezTo>
                      <a:pt x="9090" y="19019"/>
                      <a:pt x="16806" y="37978"/>
                      <a:pt x="24581" y="5705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78" name="Vrije vorm: vorm 9477">
                <a:extLst>
                  <a:ext uri="{FF2B5EF4-FFF2-40B4-BE49-F238E27FC236}">
                    <a16:creationId xmlns:a16="http://schemas.microsoft.com/office/drawing/2014/main" id="{930ECB20-A676-49BF-9A1F-05B44D88E66C}"/>
                  </a:ext>
                </a:extLst>
              </p:cNvPr>
              <p:cNvSpPr/>
              <p:nvPr/>
            </p:nvSpPr>
            <p:spPr>
              <a:xfrm>
                <a:off x="5412274" y="1550303"/>
                <a:ext cx="19317" cy="45872"/>
              </a:xfrm>
              <a:custGeom>
                <a:avLst/>
                <a:gdLst>
                  <a:gd name="connsiteX0" fmla="*/ 18600 w 19317"/>
                  <a:gd name="connsiteY0" fmla="*/ 45872 h 45872"/>
                  <a:gd name="connsiteX1" fmla="*/ 0 w 19317"/>
                  <a:gd name="connsiteY1" fmla="*/ 239 h 45872"/>
                  <a:gd name="connsiteX2" fmla="*/ 658 w 19317"/>
                  <a:gd name="connsiteY2" fmla="*/ 0 h 45872"/>
                  <a:gd name="connsiteX3" fmla="*/ 19318 w 19317"/>
                  <a:gd name="connsiteY3" fmla="*/ 45872 h 45872"/>
                  <a:gd name="connsiteX4" fmla="*/ 18600 w 19317"/>
                  <a:gd name="connsiteY4" fmla="*/ 45872 h 45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17" h="45872">
                    <a:moveTo>
                      <a:pt x="18600" y="45872"/>
                    </a:moveTo>
                    <a:cubicBezTo>
                      <a:pt x="12380" y="30681"/>
                      <a:pt x="6220" y="15430"/>
                      <a:pt x="0" y="239"/>
                    </a:cubicBezTo>
                    <a:cubicBezTo>
                      <a:pt x="239" y="179"/>
                      <a:pt x="419" y="60"/>
                      <a:pt x="658" y="0"/>
                    </a:cubicBezTo>
                    <a:cubicBezTo>
                      <a:pt x="6878" y="15311"/>
                      <a:pt x="13098" y="30561"/>
                      <a:pt x="19318" y="45872"/>
                    </a:cubicBezTo>
                    <a:cubicBezTo>
                      <a:pt x="19079" y="45872"/>
                      <a:pt x="18839" y="45872"/>
                      <a:pt x="18600" y="4587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79" name="Vrije vorm: vorm 9478">
                <a:extLst>
                  <a:ext uri="{FF2B5EF4-FFF2-40B4-BE49-F238E27FC236}">
                    <a16:creationId xmlns:a16="http://schemas.microsoft.com/office/drawing/2014/main" id="{87C46166-72B6-4509-BEE9-6923E29FCB8A}"/>
                  </a:ext>
                </a:extLst>
              </p:cNvPr>
              <p:cNvSpPr/>
              <p:nvPr/>
            </p:nvSpPr>
            <p:spPr>
              <a:xfrm>
                <a:off x="5042725" y="2120744"/>
                <a:ext cx="24341" cy="59149"/>
              </a:xfrm>
              <a:custGeom>
                <a:avLst/>
                <a:gdLst>
                  <a:gd name="connsiteX0" fmla="*/ 359 w 24341"/>
                  <a:gd name="connsiteY0" fmla="*/ 0 h 59149"/>
                  <a:gd name="connsiteX1" fmla="*/ 24342 w 24341"/>
                  <a:gd name="connsiteY1" fmla="*/ 58970 h 59149"/>
                  <a:gd name="connsiteX2" fmla="*/ 23923 w 24341"/>
                  <a:gd name="connsiteY2" fmla="*/ 59149 h 59149"/>
                  <a:gd name="connsiteX3" fmla="*/ 0 w 24341"/>
                  <a:gd name="connsiteY3" fmla="*/ 359 h 59149"/>
                  <a:gd name="connsiteX4" fmla="*/ 359 w 24341"/>
                  <a:gd name="connsiteY4" fmla="*/ 0 h 5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41" h="59149">
                    <a:moveTo>
                      <a:pt x="359" y="0"/>
                    </a:moveTo>
                    <a:cubicBezTo>
                      <a:pt x="8373" y="19677"/>
                      <a:pt x="16327" y="39353"/>
                      <a:pt x="24342" y="58970"/>
                    </a:cubicBezTo>
                    <a:cubicBezTo>
                      <a:pt x="24222" y="59030"/>
                      <a:pt x="24042" y="59090"/>
                      <a:pt x="23923" y="59149"/>
                    </a:cubicBezTo>
                    <a:cubicBezTo>
                      <a:pt x="15968" y="39533"/>
                      <a:pt x="7954" y="19976"/>
                      <a:pt x="0" y="359"/>
                    </a:cubicBezTo>
                    <a:cubicBezTo>
                      <a:pt x="119" y="239"/>
                      <a:pt x="239" y="120"/>
                      <a:pt x="35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80" name="Vrije vorm: vorm 9479">
                <a:extLst>
                  <a:ext uri="{FF2B5EF4-FFF2-40B4-BE49-F238E27FC236}">
                    <a16:creationId xmlns:a16="http://schemas.microsoft.com/office/drawing/2014/main" id="{114B00ED-A490-431A-AE85-152E5F388543}"/>
                  </a:ext>
                </a:extLst>
              </p:cNvPr>
              <p:cNvSpPr/>
              <p:nvPr/>
            </p:nvSpPr>
            <p:spPr>
              <a:xfrm>
                <a:off x="5291505" y="1782035"/>
                <a:ext cx="34082" cy="82195"/>
              </a:xfrm>
              <a:custGeom>
                <a:avLst/>
                <a:gdLst>
                  <a:gd name="connsiteX0" fmla="*/ 17429 w 34082"/>
                  <a:gd name="connsiteY0" fmla="*/ 40940 h 82195"/>
                  <a:gd name="connsiteX1" fmla="*/ 33695 w 34082"/>
                  <a:gd name="connsiteY1" fmla="*/ 82038 h 82195"/>
                  <a:gd name="connsiteX2" fmla="*/ 16653 w 34082"/>
                  <a:gd name="connsiteY2" fmla="*/ 41256 h 82195"/>
                  <a:gd name="connsiteX3" fmla="*/ 388 w 34082"/>
                  <a:gd name="connsiteY3" fmla="*/ 158 h 82195"/>
                  <a:gd name="connsiteX4" fmla="*/ 17429 w 34082"/>
                  <a:gd name="connsiteY4" fmla="*/ 40940 h 8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82" h="82195">
                    <a:moveTo>
                      <a:pt x="17429" y="40940"/>
                    </a:moveTo>
                    <a:cubicBezTo>
                      <a:pt x="26627" y="63551"/>
                      <a:pt x="33909" y="81951"/>
                      <a:pt x="33695" y="82038"/>
                    </a:cubicBezTo>
                    <a:cubicBezTo>
                      <a:pt x="33481" y="82125"/>
                      <a:pt x="25851" y="63866"/>
                      <a:pt x="16653" y="41256"/>
                    </a:cubicBezTo>
                    <a:cubicBezTo>
                      <a:pt x="7456" y="18645"/>
                      <a:pt x="173" y="245"/>
                      <a:pt x="388" y="158"/>
                    </a:cubicBezTo>
                    <a:cubicBezTo>
                      <a:pt x="602" y="71"/>
                      <a:pt x="8231" y="18330"/>
                      <a:pt x="17429" y="4094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81" name="Vrije vorm: vorm 9480">
                <a:extLst>
                  <a:ext uri="{FF2B5EF4-FFF2-40B4-BE49-F238E27FC236}">
                    <a16:creationId xmlns:a16="http://schemas.microsoft.com/office/drawing/2014/main" id="{EA9DCD98-69E9-4636-8F2B-F9A1C4096B7B}"/>
                  </a:ext>
                </a:extLst>
              </p:cNvPr>
              <p:cNvSpPr/>
              <p:nvPr/>
            </p:nvSpPr>
            <p:spPr>
              <a:xfrm>
                <a:off x="5516039" y="1967578"/>
                <a:ext cx="20214" cy="12200"/>
              </a:xfrm>
              <a:custGeom>
                <a:avLst/>
                <a:gdLst>
                  <a:gd name="connsiteX0" fmla="*/ 3947 w 20214"/>
                  <a:gd name="connsiteY0" fmla="*/ 9689 h 12200"/>
                  <a:gd name="connsiteX1" fmla="*/ 20155 w 20214"/>
                  <a:gd name="connsiteY1" fmla="*/ 10406 h 12200"/>
                  <a:gd name="connsiteX2" fmla="*/ 20215 w 20214"/>
                  <a:gd name="connsiteY2" fmla="*/ 12021 h 12200"/>
                  <a:gd name="connsiteX3" fmla="*/ 658 w 20214"/>
                  <a:gd name="connsiteY3" fmla="*/ 12201 h 12200"/>
                  <a:gd name="connsiteX4" fmla="*/ 0 w 20214"/>
                  <a:gd name="connsiteY4" fmla="*/ 10646 h 12200"/>
                  <a:gd name="connsiteX5" fmla="*/ 15550 w 20214"/>
                  <a:gd name="connsiteY5" fmla="*/ 0 h 12200"/>
                  <a:gd name="connsiteX6" fmla="*/ 16208 w 20214"/>
                  <a:gd name="connsiteY6" fmla="*/ 957 h 12200"/>
                  <a:gd name="connsiteX7" fmla="*/ 3947 w 20214"/>
                  <a:gd name="connsiteY7" fmla="*/ 9689 h 1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14" h="12200">
                    <a:moveTo>
                      <a:pt x="3947" y="9689"/>
                    </a:moveTo>
                    <a:cubicBezTo>
                      <a:pt x="10287" y="9988"/>
                      <a:pt x="15191" y="10167"/>
                      <a:pt x="20155" y="10406"/>
                    </a:cubicBezTo>
                    <a:cubicBezTo>
                      <a:pt x="20155" y="10945"/>
                      <a:pt x="20215" y="11483"/>
                      <a:pt x="20215" y="12021"/>
                    </a:cubicBezTo>
                    <a:cubicBezTo>
                      <a:pt x="13696" y="12081"/>
                      <a:pt x="7177" y="12141"/>
                      <a:pt x="658" y="12201"/>
                    </a:cubicBezTo>
                    <a:cubicBezTo>
                      <a:pt x="419" y="11662"/>
                      <a:pt x="239" y="11184"/>
                      <a:pt x="0" y="10646"/>
                    </a:cubicBezTo>
                    <a:cubicBezTo>
                      <a:pt x="5203" y="7117"/>
                      <a:pt x="10347" y="3588"/>
                      <a:pt x="15550" y="0"/>
                    </a:cubicBezTo>
                    <a:cubicBezTo>
                      <a:pt x="15789" y="299"/>
                      <a:pt x="15969" y="658"/>
                      <a:pt x="16208" y="957"/>
                    </a:cubicBezTo>
                    <a:cubicBezTo>
                      <a:pt x="12500" y="3648"/>
                      <a:pt x="8792" y="6280"/>
                      <a:pt x="3947" y="968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82" name="Vrije vorm: vorm 9481">
                <a:extLst>
                  <a:ext uri="{FF2B5EF4-FFF2-40B4-BE49-F238E27FC236}">
                    <a16:creationId xmlns:a16="http://schemas.microsoft.com/office/drawing/2014/main" id="{EED587A2-FA00-400D-A2FE-50917E1B5440}"/>
                  </a:ext>
                </a:extLst>
              </p:cNvPr>
              <p:cNvSpPr/>
              <p:nvPr/>
            </p:nvSpPr>
            <p:spPr>
              <a:xfrm>
                <a:off x="5002654" y="1644978"/>
                <a:ext cx="23384" cy="56757"/>
              </a:xfrm>
              <a:custGeom>
                <a:avLst/>
                <a:gdLst>
                  <a:gd name="connsiteX0" fmla="*/ 359 w 23384"/>
                  <a:gd name="connsiteY0" fmla="*/ 0 h 56757"/>
                  <a:gd name="connsiteX1" fmla="*/ 23384 w 23384"/>
                  <a:gd name="connsiteY1" fmla="*/ 56578 h 56757"/>
                  <a:gd name="connsiteX2" fmla="*/ 22906 w 23384"/>
                  <a:gd name="connsiteY2" fmla="*/ 56757 h 56757"/>
                  <a:gd name="connsiteX3" fmla="*/ 0 w 23384"/>
                  <a:gd name="connsiteY3" fmla="*/ 359 h 56757"/>
                  <a:gd name="connsiteX4" fmla="*/ 359 w 23384"/>
                  <a:gd name="connsiteY4" fmla="*/ 0 h 56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84" h="56757">
                    <a:moveTo>
                      <a:pt x="359" y="0"/>
                    </a:moveTo>
                    <a:cubicBezTo>
                      <a:pt x="8014" y="18839"/>
                      <a:pt x="15729" y="37738"/>
                      <a:pt x="23384" y="56578"/>
                    </a:cubicBezTo>
                    <a:cubicBezTo>
                      <a:pt x="23205" y="56637"/>
                      <a:pt x="23086" y="56697"/>
                      <a:pt x="22906" y="56757"/>
                    </a:cubicBezTo>
                    <a:cubicBezTo>
                      <a:pt x="15251" y="37978"/>
                      <a:pt x="7596" y="19198"/>
                      <a:pt x="0" y="359"/>
                    </a:cubicBezTo>
                    <a:cubicBezTo>
                      <a:pt x="60" y="239"/>
                      <a:pt x="239" y="120"/>
                      <a:pt x="35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83" name="Vrije vorm: vorm 9482">
                <a:extLst>
                  <a:ext uri="{FF2B5EF4-FFF2-40B4-BE49-F238E27FC236}">
                    <a16:creationId xmlns:a16="http://schemas.microsoft.com/office/drawing/2014/main" id="{9A01F81E-8DBD-4668-B6C9-EDBAC88A9FD9}"/>
                  </a:ext>
                </a:extLst>
              </p:cNvPr>
              <p:cNvSpPr/>
              <p:nvPr/>
            </p:nvSpPr>
            <p:spPr>
              <a:xfrm>
                <a:off x="4714144" y="2057229"/>
                <a:ext cx="26075" cy="53527"/>
              </a:xfrm>
              <a:custGeom>
                <a:avLst/>
                <a:gdLst>
                  <a:gd name="connsiteX0" fmla="*/ 22846 w 26075"/>
                  <a:gd name="connsiteY0" fmla="*/ 50776 h 53527"/>
                  <a:gd name="connsiteX1" fmla="*/ 21829 w 26075"/>
                  <a:gd name="connsiteY1" fmla="*/ 44736 h 53527"/>
                  <a:gd name="connsiteX2" fmla="*/ 6459 w 26075"/>
                  <a:gd name="connsiteY2" fmla="*/ 7775 h 53527"/>
                  <a:gd name="connsiteX3" fmla="*/ 0 w 26075"/>
                  <a:gd name="connsiteY3" fmla="*/ 120 h 53527"/>
                  <a:gd name="connsiteX4" fmla="*/ 4904 w 26075"/>
                  <a:gd name="connsiteY4" fmla="*/ 0 h 53527"/>
                  <a:gd name="connsiteX5" fmla="*/ 26076 w 26075"/>
                  <a:gd name="connsiteY5" fmla="*/ 51972 h 53527"/>
                  <a:gd name="connsiteX6" fmla="*/ 25717 w 26075"/>
                  <a:gd name="connsiteY6" fmla="*/ 53527 h 53527"/>
                  <a:gd name="connsiteX7" fmla="*/ 22846 w 26075"/>
                  <a:gd name="connsiteY7" fmla="*/ 50776 h 5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5" h="53527">
                    <a:moveTo>
                      <a:pt x="22846" y="50776"/>
                    </a:moveTo>
                    <a:cubicBezTo>
                      <a:pt x="22547" y="48743"/>
                      <a:pt x="22607" y="46590"/>
                      <a:pt x="21829" y="44736"/>
                    </a:cubicBezTo>
                    <a:cubicBezTo>
                      <a:pt x="16866" y="32356"/>
                      <a:pt x="11842" y="19976"/>
                      <a:pt x="6459" y="7775"/>
                    </a:cubicBezTo>
                    <a:cubicBezTo>
                      <a:pt x="5143" y="4844"/>
                      <a:pt x="2213" y="2632"/>
                      <a:pt x="0" y="120"/>
                    </a:cubicBezTo>
                    <a:cubicBezTo>
                      <a:pt x="1435" y="60"/>
                      <a:pt x="2871" y="60"/>
                      <a:pt x="4904" y="0"/>
                    </a:cubicBezTo>
                    <a:cubicBezTo>
                      <a:pt x="11961" y="17284"/>
                      <a:pt x="19019" y="34628"/>
                      <a:pt x="26076" y="51972"/>
                    </a:cubicBezTo>
                    <a:cubicBezTo>
                      <a:pt x="25956" y="52511"/>
                      <a:pt x="25837" y="52989"/>
                      <a:pt x="25717" y="53527"/>
                    </a:cubicBezTo>
                    <a:cubicBezTo>
                      <a:pt x="24760" y="52571"/>
                      <a:pt x="23803" y="51673"/>
                      <a:pt x="22846" y="5077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84" name="Vrije vorm: vorm 9483">
                <a:extLst>
                  <a:ext uri="{FF2B5EF4-FFF2-40B4-BE49-F238E27FC236}">
                    <a16:creationId xmlns:a16="http://schemas.microsoft.com/office/drawing/2014/main" id="{27B15493-71DD-4E94-BDAB-DDE66C0FD5F0}"/>
                  </a:ext>
                </a:extLst>
              </p:cNvPr>
              <p:cNvSpPr/>
              <p:nvPr/>
            </p:nvSpPr>
            <p:spPr>
              <a:xfrm>
                <a:off x="5485956" y="1583137"/>
                <a:ext cx="17104" cy="40609"/>
              </a:xfrm>
              <a:custGeom>
                <a:avLst/>
                <a:gdLst>
                  <a:gd name="connsiteX0" fmla="*/ 658 w 17104"/>
                  <a:gd name="connsiteY0" fmla="*/ 0 h 40609"/>
                  <a:gd name="connsiteX1" fmla="*/ 17105 w 17104"/>
                  <a:gd name="connsiteY1" fmla="*/ 40370 h 40609"/>
                  <a:gd name="connsiteX2" fmla="*/ 16507 w 17104"/>
                  <a:gd name="connsiteY2" fmla="*/ 40609 h 40609"/>
                  <a:gd name="connsiteX3" fmla="*/ 0 w 17104"/>
                  <a:gd name="connsiteY3" fmla="*/ 60 h 40609"/>
                  <a:gd name="connsiteX4" fmla="*/ 658 w 17104"/>
                  <a:gd name="connsiteY4" fmla="*/ 0 h 4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04" h="40609">
                    <a:moveTo>
                      <a:pt x="658" y="0"/>
                    </a:moveTo>
                    <a:cubicBezTo>
                      <a:pt x="6160" y="13457"/>
                      <a:pt x="11603" y="26913"/>
                      <a:pt x="17105" y="40370"/>
                    </a:cubicBezTo>
                    <a:cubicBezTo>
                      <a:pt x="16926" y="40430"/>
                      <a:pt x="16686" y="40549"/>
                      <a:pt x="16507" y="40609"/>
                    </a:cubicBezTo>
                    <a:cubicBezTo>
                      <a:pt x="11004" y="27093"/>
                      <a:pt x="5502" y="13576"/>
                      <a:pt x="0" y="60"/>
                    </a:cubicBezTo>
                    <a:cubicBezTo>
                      <a:pt x="179" y="0"/>
                      <a:pt x="419" y="0"/>
                      <a:pt x="65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85" name="Vrije vorm: vorm 9484">
                <a:extLst>
                  <a:ext uri="{FF2B5EF4-FFF2-40B4-BE49-F238E27FC236}">
                    <a16:creationId xmlns:a16="http://schemas.microsoft.com/office/drawing/2014/main" id="{16859B3B-0803-4C05-99EC-BCDBAD7C8767}"/>
                  </a:ext>
                </a:extLst>
              </p:cNvPr>
              <p:cNvSpPr/>
              <p:nvPr/>
            </p:nvSpPr>
            <p:spPr>
              <a:xfrm>
                <a:off x="5370409" y="1575183"/>
                <a:ext cx="17104" cy="40489"/>
              </a:xfrm>
              <a:custGeom>
                <a:avLst/>
                <a:gdLst>
                  <a:gd name="connsiteX0" fmla="*/ 16327 w 17104"/>
                  <a:gd name="connsiteY0" fmla="*/ 40490 h 40489"/>
                  <a:gd name="connsiteX1" fmla="*/ 0 w 17104"/>
                  <a:gd name="connsiteY1" fmla="*/ 299 h 40489"/>
                  <a:gd name="connsiteX2" fmla="*/ 778 w 17104"/>
                  <a:gd name="connsiteY2" fmla="*/ 0 h 40489"/>
                  <a:gd name="connsiteX3" fmla="*/ 17105 w 17104"/>
                  <a:gd name="connsiteY3" fmla="*/ 40071 h 40489"/>
                  <a:gd name="connsiteX4" fmla="*/ 16327 w 17104"/>
                  <a:gd name="connsiteY4" fmla="*/ 40490 h 4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04" h="40489">
                    <a:moveTo>
                      <a:pt x="16327" y="40490"/>
                    </a:moveTo>
                    <a:cubicBezTo>
                      <a:pt x="10885" y="27093"/>
                      <a:pt x="5442" y="13696"/>
                      <a:pt x="0" y="299"/>
                    </a:cubicBezTo>
                    <a:cubicBezTo>
                      <a:pt x="239" y="179"/>
                      <a:pt x="538" y="120"/>
                      <a:pt x="778" y="0"/>
                    </a:cubicBezTo>
                    <a:cubicBezTo>
                      <a:pt x="6220" y="13337"/>
                      <a:pt x="11662" y="26734"/>
                      <a:pt x="17105" y="40071"/>
                    </a:cubicBezTo>
                    <a:cubicBezTo>
                      <a:pt x="16806" y="40190"/>
                      <a:pt x="16567" y="40310"/>
                      <a:pt x="16327" y="4049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86" name="Vrije vorm: vorm 9485">
                <a:extLst>
                  <a:ext uri="{FF2B5EF4-FFF2-40B4-BE49-F238E27FC236}">
                    <a16:creationId xmlns:a16="http://schemas.microsoft.com/office/drawing/2014/main" id="{5FC7EC0A-46AA-42A4-B9CA-A976ED78B2F3}"/>
                  </a:ext>
                </a:extLst>
              </p:cNvPr>
              <p:cNvSpPr/>
              <p:nvPr/>
            </p:nvSpPr>
            <p:spPr>
              <a:xfrm>
                <a:off x="5357730" y="1420043"/>
                <a:ext cx="21171" cy="50836"/>
              </a:xfrm>
              <a:custGeom>
                <a:avLst/>
                <a:gdLst>
                  <a:gd name="connsiteX0" fmla="*/ 598 w 21171"/>
                  <a:gd name="connsiteY0" fmla="*/ 0 h 50836"/>
                  <a:gd name="connsiteX1" fmla="*/ 21172 w 21171"/>
                  <a:gd name="connsiteY1" fmla="*/ 50597 h 50836"/>
                  <a:gd name="connsiteX2" fmla="*/ 20514 w 21171"/>
                  <a:gd name="connsiteY2" fmla="*/ 50836 h 50836"/>
                  <a:gd name="connsiteX3" fmla="*/ 0 w 21171"/>
                  <a:gd name="connsiteY3" fmla="*/ 359 h 50836"/>
                  <a:gd name="connsiteX4" fmla="*/ 598 w 21171"/>
                  <a:gd name="connsiteY4" fmla="*/ 0 h 50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 h="50836">
                    <a:moveTo>
                      <a:pt x="598" y="0"/>
                    </a:moveTo>
                    <a:cubicBezTo>
                      <a:pt x="7476" y="16866"/>
                      <a:pt x="14294" y="33731"/>
                      <a:pt x="21172" y="50597"/>
                    </a:cubicBezTo>
                    <a:cubicBezTo>
                      <a:pt x="20933" y="50657"/>
                      <a:pt x="20753" y="50776"/>
                      <a:pt x="20514" y="50836"/>
                    </a:cubicBezTo>
                    <a:cubicBezTo>
                      <a:pt x="13696" y="34030"/>
                      <a:pt x="6818" y="17224"/>
                      <a:pt x="0" y="359"/>
                    </a:cubicBezTo>
                    <a:cubicBezTo>
                      <a:pt x="179" y="299"/>
                      <a:pt x="419" y="179"/>
                      <a:pt x="59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87" name="Vrije vorm: vorm 9486">
                <a:extLst>
                  <a:ext uri="{FF2B5EF4-FFF2-40B4-BE49-F238E27FC236}">
                    <a16:creationId xmlns:a16="http://schemas.microsoft.com/office/drawing/2014/main" id="{1EB4403E-E4FF-4696-9908-CC7F516A0E43}"/>
                  </a:ext>
                </a:extLst>
              </p:cNvPr>
              <p:cNvSpPr/>
              <p:nvPr/>
            </p:nvSpPr>
            <p:spPr>
              <a:xfrm>
                <a:off x="5332969" y="1356528"/>
                <a:ext cx="21231" cy="50836"/>
              </a:xfrm>
              <a:custGeom>
                <a:avLst/>
                <a:gdLst>
                  <a:gd name="connsiteX0" fmla="*/ 20574 w 21231"/>
                  <a:gd name="connsiteY0" fmla="*/ 50836 h 50836"/>
                  <a:gd name="connsiteX1" fmla="*/ 0 w 21231"/>
                  <a:gd name="connsiteY1" fmla="*/ 239 h 50836"/>
                  <a:gd name="connsiteX2" fmla="*/ 598 w 21231"/>
                  <a:gd name="connsiteY2" fmla="*/ 0 h 50836"/>
                  <a:gd name="connsiteX3" fmla="*/ 21231 w 21231"/>
                  <a:gd name="connsiteY3" fmla="*/ 50776 h 50836"/>
                  <a:gd name="connsiteX4" fmla="*/ 20574 w 21231"/>
                  <a:gd name="connsiteY4" fmla="*/ 50836 h 50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1" h="50836">
                    <a:moveTo>
                      <a:pt x="20574" y="50836"/>
                    </a:moveTo>
                    <a:cubicBezTo>
                      <a:pt x="13696" y="33971"/>
                      <a:pt x="6878" y="17105"/>
                      <a:pt x="0" y="239"/>
                    </a:cubicBezTo>
                    <a:cubicBezTo>
                      <a:pt x="180" y="179"/>
                      <a:pt x="419" y="60"/>
                      <a:pt x="598" y="0"/>
                    </a:cubicBezTo>
                    <a:cubicBezTo>
                      <a:pt x="7476" y="16925"/>
                      <a:pt x="14354" y="33851"/>
                      <a:pt x="21231" y="50776"/>
                    </a:cubicBezTo>
                    <a:cubicBezTo>
                      <a:pt x="20992" y="50776"/>
                      <a:pt x="20813" y="50776"/>
                      <a:pt x="20574" y="5083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88" name="Vrije vorm: vorm 9487">
                <a:extLst>
                  <a:ext uri="{FF2B5EF4-FFF2-40B4-BE49-F238E27FC236}">
                    <a16:creationId xmlns:a16="http://schemas.microsoft.com/office/drawing/2014/main" id="{C1AB4BAE-6BA7-4DF5-978E-AD98BF9B52A6}"/>
                  </a:ext>
                </a:extLst>
              </p:cNvPr>
              <p:cNvSpPr/>
              <p:nvPr/>
            </p:nvSpPr>
            <p:spPr>
              <a:xfrm>
                <a:off x="4788604" y="1855439"/>
                <a:ext cx="14054" cy="33432"/>
              </a:xfrm>
              <a:custGeom>
                <a:avLst/>
                <a:gdLst>
                  <a:gd name="connsiteX0" fmla="*/ 13516 w 14054"/>
                  <a:gd name="connsiteY0" fmla="*/ 33432 h 33432"/>
                  <a:gd name="connsiteX1" fmla="*/ 0 w 14054"/>
                  <a:gd name="connsiteY1" fmla="*/ 239 h 33432"/>
                  <a:gd name="connsiteX2" fmla="*/ 538 w 14054"/>
                  <a:gd name="connsiteY2" fmla="*/ 0 h 33432"/>
                  <a:gd name="connsiteX3" fmla="*/ 14055 w 14054"/>
                  <a:gd name="connsiteY3" fmla="*/ 33193 h 33432"/>
                  <a:gd name="connsiteX4" fmla="*/ 13516 w 14054"/>
                  <a:gd name="connsiteY4" fmla="*/ 33432 h 33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4" h="33432">
                    <a:moveTo>
                      <a:pt x="13516" y="33432"/>
                    </a:moveTo>
                    <a:cubicBezTo>
                      <a:pt x="9031" y="22368"/>
                      <a:pt x="4486" y="11304"/>
                      <a:pt x="0" y="239"/>
                    </a:cubicBezTo>
                    <a:cubicBezTo>
                      <a:pt x="180" y="179"/>
                      <a:pt x="359" y="60"/>
                      <a:pt x="538" y="0"/>
                    </a:cubicBezTo>
                    <a:cubicBezTo>
                      <a:pt x="5024" y="11064"/>
                      <a:pt x="9510" y="22129"/>
                      <a:pt x="14055" y="33193"/>
                    </a:cubicBezTo>
                    <a:cubicBezTo>
                      <a:pt x="13875" y="33313"/>
                      <a:pt x="13696" y="33372"/>
                      <a:pt x="13516" y="3343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89" name="Vrije vorm: vorm 9488">
                <a:extLst>
                  <a:ext uri="{FF2B5EF4-FFF2-40B4-BE49-F238E27FC236}">
                    <a16:creationId xmlns:a16="http://schemas.microsoft.com/office/drawing/2014/main" id="{614DE4F0-DE08-4C64-8182-744F2FE089D9}"/>
                  </a:ext>
                </a:extLst>
              </p:cNvPr>
              <p:cNvSpPr/>
              <p:nvPr/>
            </p:nvSpPr>
            <p:spPr>
              <a:xfrm>
                <a:off x="5381150" y="1471481"/>
                <a:ext cx="30026" cy="72223"/>
              </a:xfrm>
              <a:custGeom>
                <a:avLst/>
                <a:gdLst>
                  <a:gd name="connsiteX0" fmla="*/ 15401 w 30026"/>
                  <a:gd name="connsiteY0" fmla="*/ 35954 h 72223"/>
                  <a:gd name="connsiteX1" fmla="*/ 29639 w 30026"/>
                  <a:gd name="connsiteY1" fmla="*/ 72066 h 72223"/>
                  <a:gd name="connsiteX2" fmla="*/ 14625 w 30026"/>
                  <a:gd name="connsiteY2" fmla="*/ 36270 h 72223"/>
                  <a:gd name="connsiteX3" fmla="*/ 388 w 30026"/>
                  <a:gd name="connsiteY3" fmla="*/ 158 h 72223"/>
                  <a:gd name="connsiteX4" fmla="*/ 15401 w 30026"/>
                  <a:gd name="connsiteY4" fmla="*/ 35954 h 7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26" h="72223">
                    <a:moveTo>
                      <a:pt x="15401" y="35954"/>
                    </a:moveTo>
                    <a:cubicBezTo>
                      <a:pt x="23478" y="55811"/>
                      <a:pt x="29853" y="71979"/>
                      <a:pt x="29639" y="72066"/>
                    </a:cubicBezTo>
                    <a:cubicBezTo>
                      <a:pt x="29425" y="72153"/>
                      <a:pt x="22703" y="56127"/>
                      <a:pt x="14625" y="36270"/>
                    </a:cubicBezTo>
                    <a:cubicBezTo>
                      <a:pt x="6548" y="16413"/>
                      <a:pt x="173" y="245"/>
                      <a:pt x="388" y="158"/>
                    </a:cubicBezTo>
                    <a:cubicBezTo>
                      <a:pt x="602" y="71"/>
                      <a:pt x="7324" y="16097"/>
                      <a:pt x="15401" y="3595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90" name="Vrije vorm: vorm 9489">
                <a:extLst>
                  <a:ext uri="{FF2B5EF4-FFF2-40B4-BE49-F238E27FC236}">
                    <a16:creationId xmlns:a16="http://schemas.microsoft.com/office/drawing/2014/main" id="{C20AC34F-6DF3-4279-85C3-006BF677DB00}"/>
                  </a:ext>
                </a:extLst>
              </p:cNvPr>
              <p:cNvSpPr/>
              <p:nvPr/>
            </p:nvSpPr>
            <p:spPr>
              <a:xfrm>
                <a:off x="4726943" y="2355248"/>
                <a:ext cx="36063" cy="19018"/>
              </a:xfrm>
              <a:custGeom>
                <a:avLst/>
                <a:gdLst>
                  <a:gd name="connsiteX0" fmla="*/ 35765 w 36063"/>
                  <a:gd name="connsiteY0" fmla="*/ 19019 h 19018"/>
                  <a:gd name="connsiteX1" fmla="*/ 0 w 36063"/>
                  <a:gd name="connsiteY1" fmla="*/ 718 h 19018"/>
                  <a:gd name="connsiteX2" fmla="*/ 299 w 36063"/>
                  <a:gd name="connsiteY2" fmla="*/ 0 h 19018"/>
                  <a:gd name="connsiteX3" fmla="*/ 36064 w 36063"/>
                  <a:gd name="connsiteY3" fmla="*/ 18301 h 19018"/>
                  <a:gd name="connsiteX4" fmla="*/ 35765 w 36063"/>
                  <a:gd name="connsiteY4" fmla="*/ 19019 h 19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63" h="19018">
                    <a:moveTo>
                      <a:pt x="35765" y="19019"/>
                    </a:moveTo>
                    <a:cubicBezTo>
                      <a:pt x="23863" y="12918"/>
                      <a:pt x="11902" y="6818"/>
                      <a:pt x="0" y="718"/>
                    </a:cubicBezTo>
                    <a:cubicBezTo>
                      <a:pt x="120" y="478"/>
                      <a:pt x="180" y="239"/>
                      <a:pt x="299" y="0"/>
                    </a:cubicBezTo>
                    <a:cubicBezTo>
                      <a:pt x="12201" y="6100"/>
                      <a:pt x="24162" y="12201"/>
                      <a:pt x="36064" y="18301"/>
                    </a:cubicBezTo>
                    <a:cubicBezTo>
                      <a:pt x="35944" y="18600"/>
                      <a:pt x="35825" y="18779"/>
                      <a:pt x="35765" y="1901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91" name="Vrije vorm: vorm 9490">
                <a:extLst>
                  <a:ext uri="{FF2B5EF4-FFF2-40B4-BE49-F238E27FC236}">
                    <a16:creationId xmlns:a16="http://schemas.microsoft.com/office/drawing/2014/main" id="{FC0A062B-575C-4235-BFAD-CE3F74197CBA}"/>
                  </a:ext>
                </a:extLst>
              </p:cNvPr>
              <p:cNvSpPr/>
              <p:nvPr/>
            </p:nvSpPr>
            <p:spPr>
              <a:xfrm>
                <a:off x="5347171" y="1486884"/>
                <a:ext cx="29801" cy="71669"/>
              </a:xfrm>
              <a:custGeom>
                <a:avLst/>
                <a:gdLst>
                  <a:gd name="connsiteX0" fmla="*/ 15288 w 29801"/>
                  <a:gd name="connsiteY0" fmla="*/ 35677 h 71669"/>
                  <a:gd name="connsiteX1" fmla="*/ 29413 w 29801"/>
                  <a:gd name="connsiteY1" fmla="*/ 71512 h 71669"/>
                  <a:gd name="connsiteX2" fmla="*/ 14513 w 29801"/>
                  <a:gd name="connsiteY2" fmla="*/ 35993 h 71669"/>
                  <a:gd name="connsiteX3" fmla="*/ 388 w 29801"/>
                  <a:gd name="connsiteY3" fmla="*/ 158 h 71669"/>
                  <a:gd name="connsiteX4" fmla="*/ 15288 w 29801"/>
                  <a:gd name="connsiteY4" fmla="*/ 35677 h 71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01" h="71669">
                    <a:moveTo>
                      <a:pt x="15288" y="35677"/>
                    </a:moveTo>
                    <a:cubicBezTo>
                      <a:pt x="23303" y="55381"/>
                      <a:pt x="29628" y="71425"/>
                      <a:pt x="29413" y="71512"/>
                    </a:cubicBezTo>
                    <a:cubicBezTo>
                      <a:pt x="29199" y="71599"/>
                      <a:pt x="22528" y="55697"/>
                      <a:pt x="14513" y="35993"/>
                    </a:cubicBezTo>
                    <a:cubicBezTo>
                      <a:pt x="6497" y="16289"/>
                      <a:pt x="173" y="245"/>
                      <a:pt x="388" y="158"/>
                    </a:cubicBezTo>
                    <a:cubicBezTo>
                      <a:pt x="602" y="71"/>
                      <a:pt x="7273" y="15973"/>
                      <a:pt x="15288" y="3567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92" name="Vrije vorm: vorm 9491">
                <a:extLst>
                  <a:ext uri="{FF2B5EF4-FFF2-40B4-BE49-F238E27FC236}">
                    <a16:creationId xmlns:a16="http://schemas.microsoft.com/office/drawing/2014/main" id="{A9FFF70A-9825-4632-A9EE-4190DA3670CA}"/>
                  </a:ext>
                </a:extLst>
              </p:cNvPr>
              <p:cNvSpPr/>
              <p:nvPr/>
            </p:nvSpPr>
            <p:spPr>
              <a:xfrm>
                <a:off x="4692793" y="2337306"/>
                <a:ext cx="34449" cy="18659"/>
              </a:xfrm>
              <a:custGeom>
                <a:avLst/>
                <a:gdLst>
                  <a:gd name="connsiteX0" fmla="*/ 34150 w 34449"/>
                  <a:gd name="connsiteY0" fmla="*/ 18660 h 18659"/>
                  <a:gd name="connsiteX1" fmla="*/ 0 w 34449"/>
                  <a:gd name="connsiteY1" fmla="*/ 1734 h 18659"/>
                  <a:gd name="connsiteX2" fmla="*/ 658 w 34449"/>
                  <a:gd name="connsiteY2" fmla="*/ 0 h 18659"/>
                  <a:gd name="connsiteX3" fmla="*/ 34449 w 34449"/>
                  <a:gd name="connsiteY3" fmla="*/ 17942 h 18659"/>
                  <a:gd name="connsiteX4" fmla="*/ 34150 w 34449"/>
                  <a:gd name="connsiteY4" fmla="*/ 18660 h 18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49" h="18659">
                    <a:moveTo>
                      <a:pt x="34150" y="18660"/>
                    </a:moveTo>
                    <a:cubicBezTo>
                      <a:pt x="22787" y="13038"/>
                      <a:pt x="11363" y="7356"/>
                      <a:pt x="0" y="1734"/>
                    </a:cubicBezTo>
                    <a:cubicBezTo>
                      <a:pt x="239" y="1136"/>
                      <a:pt x="419" y="598"/>
                      <a:pt x="658" y="0"/>
                    </a:cubicBezTo>
                    <a:cubicBezTo>
                      <a:pt x="11902" y="5981"/>
                      <a:pt x="23205" y="11961"/>
                      <a:pt x="34449" y="17942"/>
                    </a:cubicBezTo>
                    <a:cubicBezTo>
                      <a:pt x="34329" y="18181"/>
                      <a:pt x="34210" y="18421"/>
                      <a:pt x="34150" y="1866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93" name="Vrije vorm: vorm 9492">
                <a:extLst>
                  <a:ext uri="{FF2B5EF4-FFF2-40B4-BE49-F238E27FC236}">
                    <a16:creationId xmlns:a16="http://schemas.microsoft.com/office/drawing/2014/main" id="{7EF3E1B5-E1DA-40C0-A531-9A38164014BC}"/>
                  </a:ext>
                </a:extLst>
              </p:cNvPr>
              <p:cNvSpPr/>
              <p:nvPr/>
            </p:nvSpPr>
            <p:spPr>
              <a:xfrm>
                <a:off x="4762648" y="2373609"/>
                <a:ext cx="34449" cy="18659"/>
              </a:xfrm>
              <a:custGeom>
                <a:avLst/>
                <a:gdLst>
                  <a:gd name="connsiteX0" fmla="*/ 299 w 34449"/>
                  <a:gd name="connsiteY0" fmla="*/ 0 h 18659"/>
                  <a:gd name="connsiteX1" fmla="*/ 34449 w 34449"/>
                  <a:gd name="connsiteY1" fmla="*/ 16925 h 18659"/>
                  <a:gd name="connsiteX2" fmla="*/ 33791 w 34449"/>
                  <a:gd name="connsiteY2" fmla="*/ 18660 h 18659"/>
                  <a:gd name="connsiteX3" fmla="*/ 0 w 34449"/>
                  <a:gd name="connsiteY3" fmla="*/ 718 h 18659"/>
                  <a:gd name="connsiteX4" fmla="*/ 299 w 34449"/>
                  <a:gd name="connsiteY4" fmla="*/ 0 h 18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49" h="18659">
                    <a:moveTo>
                      <a:pt x="299" y="0"/>
                    </a:moveTo>
                    <a:cubicBezTo>
                      <a:pt x="11662" y="5622"/>
                      <a:pt x="23086" y="11303"/>
                      <a:pt x="34449" y="16925"/>
                    </a:cubicBezTo>
                    <a:cubicBezTo>
                      <a:pt x="34210" y="17523"/>
                      <a:pt x="34030" y="18062"/>
                      <a:pt x="33791" y="18660"/>
                    </a:cubicBezTo>
                    <a:cubicBezTo>
                      <a:pt x="22547" y="12679"/>
                      <a:pt x="11304" y="6698"/>
                      <a:pt x="0" y="718"/>
                    </a:cubicBezTo>
                    <a:cubicBezTo>
                      <a:pt x="120" y="419"/>
                      <a:pt x="239" y="239"/>
                      <a:pt x="299"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94" name="Vrije vorm: vorm 9493">
                <a:extLst>
                  <a:ext uri="{FF2B5EF4-FFF2-40B4-BE49-F238E27FC236}">
                    <a16:creationId xmlns:a16="http://schemas.microsoft.com/office/drawing/2014/main" id="{D44467A2-6A05-4859-9E51-14A6F3F32EDB}"/>
                  </a:ext>
                </a:extLst>
              </p:cNvPr>
              <p:cNvSpPr/>
              <p:nvPr/>
            </p:nvSpPr>
            <p:spPr>
              <a:xfrm>
                <a:off x="4655413" y="2320201"/>
                <a:ext cx="34568" cy="14832"/>
              </a:xfrm>
              <a:custGeom>
                <a:avLst/>
                <a:gdLst>
                  <a:gd name="connsiteX0" fmla="*/ 34568 w 34568"/>
                  <a:gd name="connsiteY0" fmla="*/ 14713 h 14832"/>
                  <a:gd name="connsiteX1" fmla="*/ 0 w 34568"/>
                  <a:gd name="connsiteY1" fmla="*/ 60 h 14832"/>
                  <a:gd name="connsiteX2" fmla="*/ 60 w 34568"/>
                  <a:gd name="connsiteY2" fmla="*/ 0 h 14832"/>
                  <a:gd name="connsiteX3" fmla="*/ 34568 w 34568"/>
                  <a:gd name="connsiteY3" fmla="*/ 14832 h 14832"/>
                  <a:gd name="connsiteX4" fmla="*/ 34568 w 34568"/>
                  <a:gd name="connsiteY4" fmla="*/ 14713 h 14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68" h="14832">
                    <a:moveTo>
                      <a:pt x="34568" y="14713"/>
                    </a:moveTo>
                    <a:cubicBezTo>
                      <a:pt x="23026" y="9808"/>
                      <a:pt x="11543" y="4964"/>
                      <a:pt x="0" y="60"/>
                    </a:cubicBezTo>
                    <a:cubicBezTo>
                      <a:pt x="0" y="60"/>
                      <a:pt x="0" y="60"/>
                      <a:pt x="60" y="0"/>
                    </a:cubicBezTo>
                    <a:cubicBezTo>
                      <a:pt x="11543" y="4964"/>
                      <a:pt x="23026" y="9868"/>
                      <a:pt x="34568" y="14832"/>
                    </a:cubicBezTo>
                    <a:cubicBezTo>
                      <a:pt x="34509" y="14832"/>
                      <a:pt x="34568" y="14772"/>
                      <a:pt x="34568" y="1471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95" name="Vrije vorm: vorm 9494">
                <a:extLst>
                  <a:ext uri="{FF2B5EF4-FFF2-40B4-BE49-F238E27FC236}">
                    <a16:creationId xmlns:a16="http://schemas.microsoft.com/office/drawing/2014/main" id="{FC235B84-8AD5-4B79-B68F-38642E22A6FB}"/>
                  </a:ext>
                </a:extLst>
              </p:cNvPr>
              <p:cNvSpPr/>
              <p:nvPr/>
            </p:nvSpPr>
            <p:spPr>
              <a:xfrm>
                <a:off x="5459222" y="1667226"/>
                <a:ext cx="19497" cy="46470"/>
              </a:xfrm>
              <a:custGeom>
                <a:avLst/>
                <a:gdLst>
                  <a:gd name="connsiteX0" fmla="*/ 718 w 19497"/>
                  <a:gd name="connsiteY0" fmla="*/ 0 h 46470"/>
                  <a:gd name="connsiteX1" fmla="*/ 19497 w 19497"/>
                  <a:gd name="connsiteY1" fmla="*/ 46231 h 46470"/>
                  <a:gd name="connsiteX2" fmla="*/ 18839 w 19497"/>
                  <a:gd name="connsiteY2" fmla="*/ 46470 h 46470"/>
                  <a:gd name="connsiteX3" fmla="*/ 0 w 19497"/>
                  <a:gd name="connsiteY3" fmla="*/ 239 h 46470"/>
                  <a:gd name="connsiteX4" fmla="*/ 718 w 19497"/>
                  <a:gd name="connsiteY4" fmla="*/ 0 h 4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97" h="46470">
                    <a:moveTo>
                      <a:pt x="718" y="0"/>
                    </a:moveTo>
                    <a:cubicBezTo>
                      <a:pt x="6998" y="15430"/>
                      <a:pt x="13277" y="30801"/>
                      <a:pt x="19497" y="46231"/>
                    </a:cubicBezTo>
                    <a:cubicBezTo>
                      <a:pt x="19258" y="46291"/>
                      <a:pt x="19079" y="46410"/>
                      <a:pt x="18839" y="46470"/>
                    </a:cubicBezTo>
                    <a:cubicBezTo>
                      <a:pt x="12560" y="31040"/>
                      <a:pt x="6280" y="15670"/>
                      <a:pt x="0" y="239"/>
                    </a:cubicBezTo>
                    <a:cubicBezTo>
                      <a:pt x="299" y="120"/>
                      <a:pt x="538" y="60"/>
                      <a:pt x="71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96" name="Vrije vorm: vorm 9495">
                <a:extLst>
                  <a:ext uri="{FF2B5EF4-FFF2-40B4-BE49-F238E27FC236}">
                    <a16:creationId xmlns:a16="http://schemas.microsoft.com/office/drawing/2014/main" id="{A2CFC8F7-218D-437C-9A44-A35C3991D38D}"/>
                  </a:ext>
                </a:extLst>
              </p:cNvPr>
              <p:cNvSpPr/>
              <p:nvPr/>
            </p:nvSpPr>
            <p:spPr>
              <a:xfrm>
                <a:off x="5129386" y="2067157"/>
                <a:ext cx="14951" cy="35465"/>
              </a:xfrm>
              <a:custGeom>
                <a:avLst/>
                <a:gdLst>
                  <a:gd name="connsiteX0" fmla="*/ 14294 w 14951"/>
                  <a:gd name="connsiteY0" fmla="*/ 35466 h 35465"/>
                  <a:gd name="connsiteX1" fmla="*/ 0 w 14951"/>
                  <a:gd name="connsiteY1" fmla="*/ 299 h 35465"/>
                  <a:gd name="connsiteX2" fmla="*/ 658 w 14951"/>
                  <a:gd name="connsiteY2" fmla="*/ 0 h 35465"/>
                  <a:gd name="connsiteX3" fmla="*/ 14952 w 14951"/>
                  <a:gd name="connsiteY3" fmla="*/ 35107 h 35465"/>
                  <a:gd name="connsiteX4" fmla="*/ 14294 w 14951"/>
                  <a:gd name="connsiteY4" fmla="*/ 35466 h 3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51" h="35465">
                    <a:moveTo>
                      <a:pt x="14294" y="35466"/>
                    </a:moveTo>
                    <a:cubicBezTo>
                      <a:pt x="9509" y="23743"/>
                      <a:pt x="4785" y="12021"/>
                      <a:pt x="0" y="299"/>
                    </a:cubicBezTo>
                    <a:cubicBezTo>
                      <a:pt x="239" y="179"/>
                      <a:pt x="419" y="120"/>
                      <a:pt x="658" y="0"/>
                    </a:cubicBezTo>
                    <a:cubicBezTo>
                      <a:pt x="5442" y="11722"/>
                      <a:pt x="10167" y="23385"/>
                      <a:pt x="14952" y="35107"/>
                    </a:cubicBezTo>
                    <a:cubicBezTo>
                      <a:pt x="14772" y="35226"/>
                      <a:pt x="14533" y="35346"/>
                      <a:pt x="14294" y="3546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97" name="Vrije vorm: vorm 9496">
                <a:extLst>
                  <a:ext uri="{FF2B5EF4-FFF2-40B4-BE49-F238E27FC236}">
                    <a16:creationId xmlns:a16="http://schemas.microsoft.com/office/drawing/2014/main" id="{0199FEE7-E71E-49A3-BC83-836141835B3D}"/>
                  </a:ext>
                </a:extLst>
              </p:cNvPr>
              <p:cNvSpPr/>
              <p:nvPr/>
            </p:nvSpPr>
            <p:spPr>
              <a:xfrm>
                <a:off x="4801522" y="2394482"/>
                <a:ext cx="33133" cy="14473"/>
              </a:xfrm>
              <a:custGeom>
                <a:avLst/>
                <a:gdLst>
                  <a:gd name="connsiteX0" fmla="*/ 0 w 33133"/>
                  <a:gd name="connsiteY0" fmla="*/ 658 h 14473"/>
                  <a:gd name="connsiteX1" fmla="*/ 32954 w 33133"/>
                  <a:gd name="connsiteY1" fmla="*/ 14473 h 14473"/>
                  <a:gd name="connsiteX2" fmla="*/ 33133 w 33133"/>
                  <a:gd name="connsiteY2" fmla="*/ 13995 h 14473"/>
                  <a:gd name="connsiteX3" fmla="*/ 239 w 33133"/>
                  <a:gd name="connsiteY3" fmla="*/ 0 h 14473"/>
                  <a:gd name="connsiteX4" fmla="*/ 0 w 33133"/>
                  <a:gd name="connsiteY4" fmla="*/ 658 h 14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33" h="14473">
                    <a:moveTo>
                      <a:pt x="0" y="658"/>
                    </a:moveTo>
                    <a:cubicBezTo>
                      <a:pt x="11004" y="5263"/>
                      <a:pt x="21949" y="9868"/>
                      <a:pt x="32954" y="14473"/>
                    </a:cubicBezTo>
                    <a:cubicBezTo>
                      <a:pt x="33014" y="14294"/>
                      <a:pt x="33073" y="14174"/>
                      <a:pt x="33133" y="13995"/>
                    </a:cubicBezTo>
                    <a:cubicBezTo>
                      <a:pt x="22189" y="9330"/>
                      <a:pt x="11184" y="4665"/>
                      <a:pt x="239" y="0"/>
                    </a:cubicBezTo>
                    <a:cubicBezTo>
                      <a:pt x="120" y="239"/>
                      <a:pt x="60" y="478"/>
                      <a:pt x="0" y="65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98" name="Vrije vorm: vorm 9497">
                <a:extLst>
                  <a:ext uri="{FF2B5EF4-FFF2-40B4-BE49-F238E27FC236}">
                    <a16:creationId xmlns:a16="http://schemas.microsoft.com/office/drawing/2014/main" id="{E4CFED07-184A-455C-833F-A578B7EB459E}"/>
                  </a:ext>
                </a:extLst>
              </p:cNvPr>
              <p:cNvSpPr/>
              <p:nvPr/>
            </p:nvSpPr>
            <p:spPr>
              <a:xfrm>
                <a:off x="5432278" y="1446682"/>
                <a:ext cx="40424" cy="17091"/>
              </a:xfrm>
              <a:custGeom>
                <a:avLst/>
                <a:gdLst>
                  <a:gd name="connsiteX0" fmla="*/ 40267 w 40424"/>
                  <a:gd name="connsiteY0" fmla="*/ 388 h 17091"/>
                  <a:gd name="connsiteX1" fmla="*/ 20370 w 40424"/>
                  <a:gd name="connsiteY1" fmla="*/ 8933 h 17091"/>
                  <a:gd name="connsiteX2" fmla="*/ 158 w 40424"/>
                  <a:gd name="connsiteY2" fmla="*/ 16703 h 17091"/>
                  <a:gd name="connsiteX3" fmla="*/ 20055 w 40424"/>
                  <a:gd name="connsiteY3" fmla="*/ 8158 h 17091"/>
                  <a:gd name="connsiteX4" fmla="*/ 40267 w 40424"/>
                  <a:gd name="connsiteY4" fmla="*/ 388 h 17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24" h="17091">
                    <a:moveTo>
                      <a:pt x="40267" y="388"/>
                    </a:moveTo>
                    <a:cubicBezTo>
                      <a:pt x="40354" y="602"/>
                      <a:pt x="31446" y="4428"/>
                      <a:pt x="20370" y="8933"/>
                    </a:cubicBezTo>
                    <a:cubicBezTo>
                      <a:pt x="9294" y="13439"/>
                      <a:pt x="245" y="16917"/>
                      <a:pt x="158" y="16703"/>
                    </a:cubicBezTo>
                    <a:cubicBezTo>
                      <a:pt x="71" y="16489"/>
                      <a:pt x="8979" y="12663"/>
                      <a:pt x="20055" y="8158"/>
                    </a:cubicBezTo>
                    <a:cubicBezTo>
                      <a:pt x="31131" y="3652"/>
                      <a:pt x="40180" y="174"/>
                      <a:pt x="40267" y="38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499" name="Vrije vorm: vorm 9498">
                <a:extLst>
                  <a:ext uri="{FF2B5EF4-FFF2-40B4-BE49-F238E27FC236}">
                    <a16:creationId xmlns:a16="http://schemas.microsoft.com/office/drawing/2014/main" id="{CD5CDE83-B151-40B1-A777-5243BD33668B}"/>
                  </a:ext>
                </a:extLst>
              </p:cNvPr>
              <p:cNvSpPr/>
              <p:nvPr/>
            </p:nvSpPr>
            <p:spPr>
              <a:xfrm>
                <a:off x="5507786" y="1621234"/>
                <a:ext cx="31757" cy="17284"/>
              </a:xfrm>
              <a:custGeom>
                <a:avLst/>
                <a:gdLst>
                  <a:gd name="connsiteX0" fmla="*/ 31758 w 31757"/>
                  <a:gd name="connsiteY0" fmla="*/ 1077 h 17284"/>
                  <a:gd name="connsiteX1" fmla="*/ 598 w 31757"/>
                  <a:gd name="connsiteY1" fmla="*/ 17284 h 17284"/>
                  <a:gd name="connsiteX2" fmla="*/ 0 w 31757"/>
                  <a:gd name="connsiteY2" fmla="*/ 16148 h 17284"/>
                  <a:gd name="connsiteX3" fmla="*/ 31220 w 31757"/>
                  <a:gd name="connsiteY3" fmla="*/ 0 h 17284"/>
                  <a:gd name="connsiteX4" fmla="*/ 31758 w 31757"/>
                  <a:gd name="connsiteY4" fmla="*/ 1077 h 1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7" h="17284">
                    <a:moveTo>
                      <a:pt x="31758" y="1077"/>
                    </a:moveTo>
                    <a:cubicBezTo>
                      <a:pt x="21351" y="6459"/>
                      <a:pt x="10945" y="11902"/>
                      <a:pt x="598" y="17284"/>
                    </a:cubicBezTo>
                    <a:cubicBezTo>
                      <a:pt x="419" y="16925"/>
                      <a:pt x="239" y="16507"/>
                      <a:pt x="0" y="16148"/>
                    </a:cubicBezTo>
                    <a:cubicBezTo>
                      <a:pt x="10407" y="10765"/>
                      <a:pt x="20813" y="5383"/>
                      <a:pt x="31220" y="0"/>
                    </a:cubicBezTo>
                    <a:cubicBezTo>
                      <a:pt x="31399" y="299"/>
                      <a:pt x="31578" y="718"/>
                      <a:pt x="31758" y="107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00" name="Vrije vorm: vorm 9499">
                <a:extLst>
                  <a:ext uri="{FF2B5EF4-FFF2-40B4-BE49-F238E27FC236}">
                    <a16:creationId xmlns:a16="http://schemas.microsoft.com/office/drawing/2014/main" id="{11BC31BF-742F-41E7-B912-1DA7015470C0}"/>
                  </a:ext>
                </a:extLst>
              </p:cNvPr>
              <p:cNvSpPr/>
              <p:nvPr/>
            </p:nvSpPr>
            <p:spPr>
              <a:xfrm>
                <a:off x="5442177" y="1463104"/>
                <a:ext cx="18241" cy="43420"/>
              </a:xfrm>
              <a:custGeom>
                <a:avLst/>
                <a:gdLst>
                  <a:gd name="connsiteX0" fmla="*/ 17523 w 18241"/>
                  <a:gd name="connsiteY0" fmla="*/ 43420 h 43420"/>
                  <a:gd name="connsiteX1" fmla="*/ 0 w 18241"/>
                  <a:gd name="connsiteY1" fmla="*/ 299 h 43420"/>
                  <a:gd name="connsiteX2" fmla="*/ 718 w 18241"/>
                  <a:gd name="connsiteY2" fmla="*/ 0 h 43420"/>
                  <a:gd name="connsiteX3" fmla="*/ 18241 w 18241"/>
                  <a:gd name="connsiteY3" fmla="*/ 43121 h 43420"/>
                  <a:gd name="connsiteX4" fmla="*/ 17523 w 18241"/>
                  <a:gd name="connsiteY4" fmla="*/ 43420 h 43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1" h="43420">
                    <a:moveTo>
                      <a:pt x="17523" y="43420"/>
                    </a:moveTo>
                    <a:cubicBezTo>
                      <a:pt x="11662" y="29066"/>
                      <a:pt x="5801" y="14653"/>
                      <a:pt x="0" y="299"/>
                    </a:cubicBezTo>
                    <a:cubicBezTo>
                      <a:pt x="239" y="179"/>
                      <a:pt x="479" y="120"/>
                      <a:pt x="718" y="0"/>
                    </a:cubicBezTo>
                    <a:cubicBezTo>
                      <a:pt x="6579" y="14354"/>
                      <a:pt x="12440" y="28767"/>
                      <a:pt x="18241" y="43121"/>
                    </a:cubicBezTo>
                    <a:cubicBezTo>
                      <a:pt x="18002" y="43241"/>
                      <a:pt x="17763" y="43360"/>
                      <a:pt x="17523" y="4342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01" name="Vrije vorm: vorm 9500">
                <a:extLst>
                  <a:ext uri="{FF2B5EF4-FFF2-40B4-BE49-F238E27FC236}">
                    <a16:creationId xmlns:a16="http://schemas.microsoft.com/office/drawing/2014/main" id="{8F288067-3AF6-4916-A02E-58870943932F}"/>
                  </a:ext>
                </a:extLst>
              </p:cNvPr>
              <p:cNvSpPr/>
              <p:nvPr/>
            </p:nvSpPr>
            <p:spPr>
              <a:xfrm>
                <a:off x="5334403" y="1498796"/>
                <a:ext cx="21487" cy="51459"/>
              </a:xfrm>
              <a:custGeom>
                <a:avLst/>
                <a:gdLst>
                  <a:gd name="connsiteX0" fmla="*/ 11076 w 21487"/>
                  <a:gd name="connsiteY0" fmla="*/ 25594 h 51459"/>
                  <a:gd name="connsiteX1" fmla="*/ 21155 w 21487"/>
                  <a:gd name="connsiteY1" fmla="*/ 51324 h 51459"/>
                  <a:gd name="connsiteX2" fmla="*/ 10411 w 21487"/>
                  <a:gd name="connsiteY2" fmla="*/ 25865 h 51459"/>
                  <a:gd name="connsiteX3" fmla="*/ 333 w 21487"/>
                  <a:gd name="connsiteY3" fmla="*/ 135 h 51459"/>
                  <a:gd name="connsiteX4" fmla="*/ 11076 w 21487"/>
                  <a:gd name="connsiteY4" fmla="*/ 25594 h 51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7" h="51459">
                    <a:moveTo>
                      <a:pt x="11076" y="25594"/>
                    </a:moveTo>
                    <a:cubicBezTo>
                      <a:pt x="16826" y="39730"/>
                      <a:pt x="21339" y="51250"/>
                      <a:pt x="21155" y="51324"/>
                    </a:cubicBezTo>
                    <a:cubicBezTo>
                      <a:pt x="20972" y="51399"/>
                      <a:pt x="16161" y="40000"/>
                      <a:pt x="10411" y="25865"/>
                    </a:cubicBezTo>
                    <a:cubicBezTo>
                      <a:pt x="4661" y="11729"/>
                      <a:pt x="149" y="210"/>
                      <a:pt x="333" y="135"/>
                    </a:cubicBezTo>
                    <a:cubicBezTo>
                      <a:pt x="516" y="61"/>
                      <a:pt x="5326" y="11459"/>
                      <a:pt x="11076" y="2559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02" name="Vrije vorm: vorm 9501">
                <a:extLst>
                  <a:ext uri="{FF2B5EF4-FFF2-40B4-BE49-F238E27FC236}">
                    <a16:creationId xmlns:a16="http://schemas.microsoft.com/office/drawing/2014/main" id="{36DA0FDF-D033-4A13-AD5D-1AA9F5A879B8}"/>
                  </a:ext>
                </a:extLst>
              </p:cNvPr>
              <p:cNvSpPr/>
              <p:nvPr/>
            </p:nvSpPr>
            <p:spPr>
              <a:xfrm>
                <a:off x="5486494" y="1685886"/>
                <a:ext cx="27092" cy="6698"/>
              </a:xfrm>
              <a:custGeom>
                <a:avLst/>
                <a:gdLst>
                  <a:gd name="connsiteX0" fmla="*/ 0 w 27092"/>
                  <a:gd name="connsiteY0" fmla="*/ 5502 h 6698"/>
                  <a:gd name="connsiteX1" fmla="*/ 26794 w 27092"/>
                  <a:gd name="connsiteY1" fmla="*/ 0 h 6698"/>
                  <a:gd name="connsiteX2" fmla="*/ 27093 w 27092"/>
                  <a:gd name="connsiteY2" fmla="*/ 1136 h 6698"/>
                  <a:gd name="connsiteX3" fmla="*/ 299 w 27092"/>
                  <a:gd name="connsiteY3" fmla="*/ 6698 h 6698"/>
                  <a:gd name="connsiteX4" fmla="*/ 0 w 27092"/>
                  <a:gd name="connsiteY4" fmla="*/ 5502 h 6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2" h="6698">
                    <a:moveTo>
                      <a:pt x="0" y="5502"/>
                    </a:moveTo>
                    <a:cubicBezTo>
                      <a:pt x="8912" y="3648"/>
                      <a:pt x="17883" y="1854"/>
                      <a:pt x="26794" y="0"/>
                    </a:cubicBezTo>
                    <a:cubicBezTo>
                      <a:pt x="26913" y="359"/>
                      <a:pt x="26973" y="777"/>
                      <a:pt x="27093" y="1136"/>
                    </a:cubicBezTo>
                    <a:cubicBezTo>
                      <a:pt x="18182" y="2990"/>
                      <a:pt x="9211" y="4844"/>
                      <a:pt x="299" y="6698"/>
                    </a:cubicBezTo>
                    <a:cubicBezTo>
                      <a:pt x="239" y="6340"/>
                      <a:pt x="120" y="5921"/>
                      <a:pt x="0" y="550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03" name="Vrije vorm: vorm 9502">
                <a:extLst>
                  <a:ext uri="{FF2B5EF4-FFF2-40B4-BE49-F238E27FC236}">
                    <a16:creationId xmlns:a16="http://schemas.microsoft.com/office/drawing/2014/main" id="{E5D5EE36-A339-43DF-8AA7-EE93FDD21506}"/>
                  </a:ext>
                </a:extLst>
              </p:cNvPr>
              <p:cNvSpPr/>
              <p:nvPr/>
            </p:nvSpPr>
            <p:spPr>
              <a:xfrm>
                <a:off x="5341103" y="1768839"/>
                <a:ext cx="7117" cy="16267"/>
              </a:xfrm>
              <a:custGeom>
                <a:avLst/>
                <a:gdLst>
                  <a:gd name="connsiteX0" fmla="*/ 598 w 7117"/>
                  <a:gd name="connsiteY0" fmla="*/ 0 h 16267"/>
                  <a:gd name="connsiteX1" fmla="*/ 7117 w 7117"/>
                  <a:gd name="connsiteY1" fmla="*/ 16028 h 16267"/>
                  <a:gd name="connsiteX2" fmla="*/ 6519 w 7117"/>
                  <a:gd name="connsiteY2" fmla="*/ 16268 h 16267"/>
                  <a:gd name="connsiteX3" fmla="*/ 0 w 7117"/>
                  <a:gd name="connsiteY3" fmla="*/ 239 h 16267"/>
                  <a:gd name="connsiteX4" fmla="*/ 598 w 7117"/>
                  <a:gd name="connsiteY4" fmla="*/ 0 h 16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7" h="16267">
                    <a:moveTo>
                      <a:pt x="598" y="0"/>
                    </a:moveTo>
                    <a:cubicBezTo>
                      <a:pt x="2751" y="5323"/>
                      <a:pt x="4964" y="10705"/>
                      <a:pt x="7117" y="16028"/>
                    </a:cubicBezTo>
                    <a:cubicBezTo>
                      <a:pt x="6938" y="16088"/>
                      <a:pt x="6698" y="16208"/>
                      <a:pt x="6519" y="16268"/>
                    </a:cubicBezTo>
                    <a:cubicBezTo>
                      <a:pt x="4366" y="10945"/>
                      <a:pt x="2153" y="5562"/>
                      <a:pt x="0" y="239"/>
                    </a:cubicBezTo>
                    <a:cubicBezTo>
                      <a:pt x="180" y="120"/>
                      <a:pt x="359" y="60"/>
                      <a:pt x="59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04" name="Vrije vorm: vorm 9503">
                <a:extLst>
                  <a:ext uri="{FF2B5EF4-FFF2-40B4-BE49-F238E27FC236}">
                    <a16:creationId xmlns:a16="http://schemas.microsoft.com/office/drawing/2014/main" id="{3C16E22D-4E1F-4B21-9DB0-49E26A35B274}"/>
                  </a:ext>
                </a:extLst>
              </p:cNvPr>
              <p:cNvSpPr/>
              <p:nvPr/>
            </p:nvSpPr>
            <p:spPr>
              <a:xfrm>
                <a:off x="4934594" y="1678948"/>
                <a:ext cx="14054" cy="33312"/>
              </a:xfrm>
              <a:custGeom>
                <a:avLst/>
                <a:gdLst>
                  <a:gd name="connsiteX0" fmla="*/ 718 w 14054"/>
                  <a:gd name="connsiteY0" fmla="*/ 299 h 33312"/>
                  <a:gd name="connsiteX1" fmla="*/ 14055 w 14054"/>
                  <a:gd name="connsiteY1" fmla="*/ 33133 h 33312"/>
                  <a:gd name="connsiteX2" fmla="*/ 13576 w 14054"/>
                  <a:gd name="connsiteY2" fmla="*/ 33313 h 33312"/>
                  <a:gd name="connsiteX3" fmla="*/ 0 w 14054"/>
                  <a:gd name="connsiteY3" fmla="*/ 0 h 33312"/>
                  <a:gd name="connsiteX4" fmla="*/ 718 w 14054"/>
                  <a:gd name="connsiteY4" fmla="*/ 299 h 33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4" h="33312">
                    <a:moveTo>
                      <a:pt x="718" y="299"/>
                    </a:moveTo>
                    <a:cubicBezTo>
                      <a:pt x="5143" y="11244"/>
                      <a:pt x="9629" y="22188"/>
                      <a:pt x="14055" y="33133"/>
                    </a:cubicBezTo>
                    <a:cubicBezTo>
                      <a:pt x="13875" y="33193"/>
                      <a:pt x="13756" y="33253"/>
                      <a:pt x="13576" y="33313"/>
                    </a:cubicBezTo>
                    <a:cubicBezTo>
                      <a:pt x="9031" y="22188"/>
                      <a:pt x="4545" y="11124"/>
                      <a:pt x="0" y="0"/>
                    </a:cubicBezTo>
                    <a:cubicBezTo>
                      <a:pt x="239" y="120"/>
                      <a:pt x="479" y="239"/>
                      <a:pt x="718" y="29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05" name="Vrije vorm: vorm 9504">
                <a:extLst>
                  <a:ext uri="{FF2B5EF4-FFF2-40B4-BE49-F238E27FC236}">
                    <a16:creationId xmlns:a16="http://schemas.microsoft.com/office/drawing/2014/main" id="{E88E326C-06B5-43C0-9D7C-2BAE1B587669}"/>
                  </a:ext>
                </a:extLst>
              </p:cNvPr>
              <p:cNvSpPr/>
              <p:nvPr/>
            </p:nvSpPr>
            <p:spPr>
              <a:xfrm>
                <a:off x="4881784" y="1206890"/>
                <a:ext cx="19078" cy="17403"/>
              </a:xfrm>
              <a:custGeom>
                <a:avLst/>
                <a:gdLst>
                  <a:gd name="connsiteX0" fmla="*/ 19079 w 19078"/>
                  <a:gd name="connsiteY0" fmla="*/ 957 h 17403"/>
                  <a:gd name="connsiteX1" fmla="*/ 778 w 19078"/>
                  <a:gd name="connsiteY1" fmla="*/ 17404 h 17403"/>
                  <a:gd name="connsiteX2" fmla="*/ 0 w 19078"/>
                  <a:gd name="connsiteY2" fmla="*/ 16447 h 17403"/>
                  <a:gd name="connsiteX3" fmla="*/ 18361 w 19078"/>
                  <a:gd name="connsiteY3" fmla="*/ 0 h 17403"/>
                  <a:gd name="connsiteX4" fmla="*/ 19079 w 19078"/>
                  <a:gd name="connsiteY4" fmla="*/ 957 h 17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8" h="17403">
                    <a:moveTo>
                      <a:pt x="19079" y="957"/>
                    </a:moveTo>
                    <a:cubicBezTo>
                      <a:pt x="12978" y="6459"/>
                      <a:pt x="6878" y="11961"/>
                      <a:pt x="778" y="17404"/>
                    </a:cubicBezTo>
                    <a:cubicBezTo>
                      <a:pt x="538" y="17105"/>
                      <a:pt x="239" y="16746"/>
                      <a:pt x="0" y="16447"/>
                    </a:cubicBezTo>
                    <a:cubicBezTo>
                      <a:pt x="6100" y="10945"/>
                      <a:pt x="12201" y="5502"/>
                      <a:pt x="18361" y="0"/>
                    </a:cubicBezTo>
                    <a:cubicBezTo>
                      <a:pt x="18600" y="299"/>
                      <a:pt x="18839" y="598"/>
                      <a:pt x="19079" y="95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06" name="Vrije vorm: vorm 9505">
                <a:extLst>
                  <a:ext uri="{FF2B5EF4-FFF2-40B4-BE49-F238E27FC236}">
                    <a16:creationId xmlns:a16="http://schemas.microsoft.com/office/drawing/2014/main" id="{460AEA1E-6470-4CCA-8D3E-09EB832E2F08}"/>
                  </a:ext>
                </a:extLst>
              </p:cNvPr>
              <p:cNvSpPr/>
              <p:nvPr/>
            </p:nvSpPr>
            <p:spPr>
              <a:xfrm>
                <a:off x="4944402" y="1732356"/>
                <a:ext cx="22367" cy="7356"/>
              </a:xfrm>
              <a:custGeom>
                <a:avLst/>
                <a:gdLst>
                  <a:gd name="connsiteX0" fmla="*/ 0 w 22367"/>
                  <a:gd name="connsiteY0" fmla="*/ 6100 h 7356"/>
                  <a:gd name="connsiteX1" fmla="*/ 22009 w 22367"/>
                  <a:gd name="connsiteY1" fmla="*/ 0 h 7356"/>
                  <a:gd name="connsiteX2" fmla="*/ 22368 w 22367"/>
                  <a:gd name="connsiteY2" fmla="*/ 1136 h 7356"/>
                  <a:gd name="connsiteX3" fmla="*/ 359 w 22367"/>
                  <a:gd name="connsiteY3" fmla="*/ 7356 h 7356"/>
                  <a:gd name="connsiteX4" fmla="*/ 0 w 22367"/>
                  <a:gd name="connsiteY4" fmla="*/ 6100 h 7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7" h="7356">
                    <a:moveTo>
                      <a:pt x="0" y="6100"/>
                    </a:moveTo>
                    <a:cubicBezTo>
                      <a:pt x="7356" y="4067"/>
                      <a:pt x="14652" y="2034"/>
                      <a:pt x="22009" y="0"/>
                    </a:cubicBezTo>
                    <a:cubicBezTo>
                      <a:pt x="22128" y="359"/>
                      <a:pt x="22248" y="778"/>
                      <a:pt x="22368" y="1136"/>
                    </a:cubicBezTo>
                    <a:cubicBezTo>
                      <a:pt x="15012" y="3230"/>
                      <a:pt x="7715" y="5263"/>
                      <a:pt x="359" y="7356"/>
                    </a:cubicBezTo>
                    <a:cubicBezTo>
                      <a:pt x="239" y="6878"/>
                      <a:pt x="119" y="6459"/>
                      <a:pt x="0" y="610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07" name="Vrije vorm: vorm 9506">
                <a:extLst>
                  <a:ext uri="{FF2B5EF4-FFF2-40B4-BE49-F238E27FC236}">
                    <a16:creationId xmlns:a16="http://schemas.microsoft.com/office/drawing/2014/main" id="{4DD295D9-0BC2-41D9-8F12-854DC96E095D}"/>
                  </a:ext>
                </a:extLst>
              </p:cNvPr>
              <p:cNvSpPr/>
              <p:nvPr/>
            </p:nvSpPr>
            <p:spPr>
              <a:xfrm>
                <a:off x="5484341" y="2027325"/>
                <a:ext cx="11243" cy="26375"/>
              </a:xfrm>
              <a:custGeom>
                <a:avLst/>
                <a:gdLst>
                  <a:gd name="connsiteX0" fmla="*/ 658 w 11243"/>
                  <a:gd name="connsiteY0" fmla="*/ 0 h 26375"/>
                  <a:gd name="connsiteX1" fmla="*/ 11244 w 11243"/>
                  <a:gd name="connsiteY1" fmla="*/ 26076 h 26375"/>
                  <a:gd name="connsiteX2" fmla="*/ 10586 w 11243"/>
                  <a:gd name="connsiteY2" fmla="*/ 26375 h 26375"/>
                  <a:gd name="connsiteX3" fmla="*/ 0 w 11243"/>
                  <a:gd name="connsiteY3" fmla="*/ 299 h 26375"/>
                  <a:gd name="connsiteX4" fmla="*/ 658 w 11243"/>
                  <a:gd name="connsiteY4" fmla="*/ 0 h 2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3" h="26375">
                    <a:moveTo>
                      <a:pt x="658" y="0"/>
                    </a:moveTo>
                    <a:cubicBezTo>
                      <a:pt x="4187" y="8672"/>
                      <a:pt x="7715" y="17404"/>
                      <a:pt x="11244" y="26076"/>
                    </a:cubicBezTo>
                    <a:cubicBezTo>
                      <a:pt x="11005" y="26196"/>
                      <a:pt x="10765" y="26255"/>
                      <a:pt x="10586" y="26375"/>
                    </a:cubicBezTo>
                    <a:cubicBezTo>
                      <a:pt x="7057" y="17703"/>
                      <a:pt x="3529" y="8971"/>
                      <a:pt x="0" y="299"/>
                    </a:cubicBezTo>
                    <a:cubicBezTo>
                      <a:pt x="180" y="179"/>
                      <a:pt x="419" y="60"/>
                      <a:pt x="65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08" name="Vrije vorm: vorm 9507">
                <a:extLst>
                  <a:ext uri="{FF2B5EF4-FFF2-40B4-BE49-F238E27FC236}">
                    <a16:creationId xmlns:a16="http://schemas.microsoft.com/office/drawing/2014/main" id="{335694FB-0596-4267-AF5E-EC3CDD806EBE}"/>
                  </a:ext>
                </a:extLst>
              </p:cNvPr>
              <p:cNvSpPr/>
              <p:nvPr/>
            </p:nvSpPr>
            <p:spPr>
              <a:xfrm>
                <a:off x="4691896" y="1984862"/>
                <a:ext cx="24221" cy="538"/>
              </a:xfrm>
              <a:custGeom>
                <a:avLst/>
                <a:gdLst>
                  <a:gd name="connsiteX0" fmla="*/ 0 w 24221"/>
                  <a:gd name="connsiteY0" fmla="*/ 538 h 538"/>
                  <a:gd name="connsiteX1" fmla="*/ 24222 w 24221"/>
                  <a:gd name="connsiteY1" fmla="*/ 0 h 538"/>
                  <a:gd name="connsiteX2" fmla="*/ 0 w 24221"/>
                  <a:gd name="connsiteY2" fmla="*/ 538 h 538"/>
                </a:gdLst>
                <a:ahLst/>
                <a:cxnLst>
                  <a:cxn ang="0">
                    <a:pos x="connsiteX0" y="connsiteY0"/>
                  </a:cxn>
                  <a:cxn ang="0">
                    <a:pos x="connsiteX1" y="connsiteY1"/>
                  </a:cxn>
                  <a:cxn ang="0">
                    <a:pos x="connsiteX2" y="connsiteY2"/>
                  </a:cxn>
                </a:cxnLst>
                <a:rect l="l" t="t" r="r" b="b"/>
                <a:pathLst>
                  <a:path w="24221" h="538">
                    <a:moveTo>
                      <a:pt x="0" y="538"/>
                    </a:moveTo>
                    <a:cubicBezTo>
                      <a:pt x="8074" y="359"/>
                      <a:pt x="16148" y="179"/>
                      <a:pt x="24222" y="0"/>
                    </a:cubicBezTo>
                    <a:cubicBezTo>
                      <a:pt x="16148" y="239"/>
                      <a:pt x="8074" y="419"/>
                      <a:pt x="0" y="53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09" name="Vrije vorm: vorm 9508">
                <a:extLst>
                  <a:ext uri="{FF2B5EF4-FFF2-40B4-BE49-F238E27FC236}">
                    <a16:creationId xmlns:a16="http://schemas.microsoft.com/office/drawing/2014/main" id="{96FBD2EC-1051-4930-93B4-B0D72FC79DE5}"/>
                  </a:ext>
                </a:extLst>
              </p:cNvPr>
              <p:cNvSpPr/>
              <p:nvPr/>
            </p:nvSpPr>
            <p:spPr>
              <a:xfrm>
                <a:off x="4895300" y="1746829"/>
                <a:ext cx="19736" cy="6578"/>
              </a:xfrm>
              <a:custGeom>
                <a:avLst/>
                <a:gdLst>
                  <a:gd name="connsiteX0" fmla="*/ 0 w 19736"/>
                  <a:gd name="connsiteY0" fmla="*/ 5442 h 6578"/>
                  <a:gd name="connsiteX1" fmla="*/ 19377 w 19736"/>
                  <a:gd name="connsiteY1" fmla="*/ 0 h 6578"/>
                  <a:gd name="connsiteX2" fmla="*/ 19736 w 19736"/>
                  <a:gd name="connsiteY2" fmla="*/ 1196 h 6578"/>
                  <a:gd name="connsiteX3" fmla="*/ 299 w 19736"/>
                  <a:gd name="connsiteY3" fmla="*/ 6579 h 6578"/>
                  <a:gd name="connsiteX4" fmla="*/ 0 w 19736"/>
                  <a:gd name="connsiteY4" fmla="*/ 5442 h 6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6" h="6578">
                    <a:moveTo>
                      <a:pt x="0" y="5442"/>
                    </a:moveTo>
                    <a:cubicBezTo>
                      <a:pt x="6459" y="3648"/>
                      <a:pt x="12918" y="1794"/>
                      <a:pt x="19377" y="0"/>
                    </a:cubicBezTo>
                    <a:cubicBezTo>
                      <a:pt x="19497" y="419"/>
                      <a:pt x="19617" y="778"/>
                      <a:pt x="19736" y="1196"/>
                    </a:cubicBezTo>
                    <a:cubicBezTo>
                      <a:pt x="13277" y="2990"/>
                      <a:pt x="6758" y="4785"/>
                      <a:pt x="299" y="6579"/>
                    </a:cubicBezTo>
                    <a:cubicBezTo>
                      <a:pt x="239" y="6160"/>
                      <a:pt x="120" y="5801"/>
                      <a:pt x="0" y="544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10" name="Vrije vorm: vorm 9509">
                <a:extLst>
                  <a:ext uri="{FF2B5EF4-FFF2-40B4-BE49-F238E27FC236}">
                    <a16:creationId xmlns:a16="http://schemas.microsoft.com/office/drawing/2014/main" id="{E94EF43A-6BAF-4580-93AE-56610E934B0B}"/>
                  </a:ext>
                </a:extLst>
              </p:cNvPr>
              <p:cNvSpPr/>
              <p:nvPr/>
            </p:nvSpPr>
            <p:spPr>
              <a:xfrm>
                <a:off x="5372083" y="2028880"/>
                <a:ext cx="10765" cy="25178"/>
              </a:xfrm>
              <a:custGeom>
                <a:avLst/>
                <a:gdLst>
                  <a:gd name="connsiteX0" fmla="*/ 10167 w 10765"/>
                  <a:gd name="connsiteY0" fmla="*/ 25179 h 25178"/>
                  <a:gd name="connsiteX1" fmla="*/ 0 w 10765"/>
                  <a:gd name="connsiteY1" fmla="*/ 239 h 25178"/>
                  <a:gd name="connsiteX2" fmla="*/ 538 w 10765"/>
                  <a:gd name="connsiteY2" fmla="*/ 0 h 25178"/>
                  <a:gd name="connsiteX3" fmla="*/ 10765 w 10765"/>
                  <a:gd name="connsiteY3" fmla="*/ 25119 h 25178"/>
                  <a:gd name="connsiteX4" fmla="*/ 10167 w 10765"/>
                  <a:gd name="connsiteY4" fmla="*/ 25179 h 2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5" h="25178">
                    <a:moveTo>
                      <a:pt x="10167" y="25179"/>
                    </a:moveTo>
                    <a:cubicBezTo>
                      <a:pt x="6758" y="16866"/>
                      <a:pt x="3409" y="8552"/>
                      <a:pt x="0" y="239"/>
                    </a:cubicBezTo>
                    <a:cubicBezTo>
                      <a:pt x="179" y="179"/>
                      <a:pt x="359" y="120"/>
                      <a:pt x="538" y="0"/>
                    </a:cubicBezTo>
                    <a:cubicBezTo>
                      <a:pt x="3947" y="8373"/>
                      <a:pt x="7356" y="16746"/>
                      <a:pt x="10765" y="25119"/>
                    </a:cubicBezTo>
                    <a:cubicBezTo>
                      <a:pt x="10586" y="25179"/>
                      <a:pt x="10406" y="25179"/>
                      <a:pt x="10167" y="251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11" name="Vrije vorm: vorm 9510">
                <a:extLst>
                  <a:ext uri="{FF2B5EF4-FFF2-40B4-BE49-F238E27FC236}">
                    <a16:creationId xmlns:a16="http://schemas.microsoft.com/office/drawing/2014/main" id="{2D572D05-5EA3-4773-813D-79BAFBEE6CCD}"/>
                  </a:ext>
                </a:extLst>
              </p:cNvPr>
              <p:cNvSpPr/>
              <p:nvPr/>
            </p:nvSpPr>
            <p:spPr>
              <a:xfrm>
                <a:off x="5340505" y="2120385"/>
                <a:ext cx="11004" cy="25896"/>
              </a:xfrm>
              <a:custGeom>
                <a:avLst/>
                <a:gdLst>
                  <a:gd name="connsiteX0" fmla="*/ 10466 w 11004"/>
                  <a:gd name="connsiteY0" fmla="*/ 25897 h 25896"/>
                  <a:gd name="connsiteX1" fmla="*/ 0 w 11004"/>
                  <a:gd name="connsiteY1" fmla="*/ 239 h 25896"/>
                  <a:gd name="connsiteX2" fmla="*/ 598 w 11004"/>
                  <a:gd name="connsiteY2" fmla="*/ 0 h 25896"/>
                  <a:gd name="connsiteX3" fmla="*/ 11005 w 11004"/>
                  <a:gd name="connsiteY3" fmla="*/ 25597 h 25896"/>
                  <a:gd name="connsiteX4" fmla="*/ 10466 w 11004"/>
                  <a:gd name="connsiteY4" fmla="*/ 25897 h 25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4" h="25896">
                    <a:moveTo>
                      <a:pt x="10466" y="25897"/>
                    </a:moveTo>
                    <a:cubicBezTo>
                      <a:pt x="6997" y="17344"/>
                      <a:pt x="3529" y="8792"/>
                      <a:pt x="0" y="239"/>
                    </a:cubicBezTo>
                    <a:cubicBezTo>
                      <a:pt x="180" y="179"/>
                      <a:pt x="419" y="60"/>
                      <a:pt x="598" y="0"/>
                    </a:cubicBezTo>
                    <a:cubicBezTo>
                      <a:pt x="4067" y="8552"/>
                      <a:pt x="7536" y="17105"/>
                      <a:pt x="11005" y="25597"/>
                    </a:cubicBezTo>
                    <a:cubicBezTo>
                      <a:pt x="10825" y="25657"/>
                      <a:pt x="10646" y="25777"/>
                      <a:pt x="10466" y="2589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12" name="Vrije vorm: vorm 9511">
                <a:extLst>
                  <a:ext uri="{FF2B5EF4-FFF2-40B4-BE49-F238E27FC236}">
                    <a16:creationId xmlns:a16="http://schemas.microsoft.com/office/drawing/2014/main" id="{A03A40D5-A769-4F47-B4DC-725EF456393C}"/>
                  </a:ext>
                </a:extLst>
              </p:cNvPr>
              <p:cNvSpPr/>
              <p:nvPr/>
            </p:nvSpPr>
            <p:spPr>
              <a:xfrm>
                <a:off x="5398398" y="1649942"/>
                <a:ext cx="10705" cy="25119"/>
              </a:xfrm>
              <a:custGeom>
                <a:avLst/>
                <a:gdLst>
                  <a:gd name="connsiteX0" fmla="*/ 10107 w 10705"/>
                  <a:gd name="connsiteY0" fmla="*/ 25119 h 25119"/>
                  <a:gd name="connsiteX1" fmla="*/ 0 w 10705"/>
                  <a:gd name="connsiteY1" fmla="*/ 239 h 25119"/>
                  <a:gd name="connsiteX2" fmla="*/ 598 w 10705"/>
                  <a:gd name="connsiteY2" fmla="*/ 0 h 25119"/>
                  <a:gd name="connsiteX3" fmla="*/ 10705 w 10705"/>
                  <a:gd name="connsiteY3" fmla="*/ 24820 h 25119"/>
                  <a:gd name="connsiteX4" fmla="*/ 10107 w 10705"/>
                  <a:gd name="connsiteY4" fmla="*/ 25119 h 2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05" h="25119">
                    <a:moveTo>
                      <a:pt x="10107" y="25119"/>
                    </a:moveTo>
                    <a:cubicBezTo>
                      <a:pt x="6758" y="16806"/>
                      <a:pt x="3349" y="8493"/>
                      <a:pt x="0" y="239"/>
                    </a:cubicBezTo>
                    <a:cubicBezTo>
                      <a:pt x="180" y="179"/>
                      <a:pt x="359" y="60"/>
                      <a:pt x="598" y="0"/>
                    </a:cubicBezTo>
                    <a:cubicBezTo>
                      <a:pt x="3947" y="8253"/>
                      <a:pt x="7356" y="16567"/>
                      <a:pt x="10705" y="24820"/>
                    </a:cubicBezTo>
                    <a:cubicBezTo>
                      <a:pt x="10526" y="24880"/>
                      <a:pt x="10347" y="24999"/>
                      <a:pt x="10107" y="2511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13" name="Vrije vorm: vorm 9512">
                <a:extLst>
                  <a:ext uri="{FF2B5EF4-FFF2-40B4-BE49-F238E27FC236}">
                    <a16:creationId xmlns:a16="http://schemas.microsoft.com/office/drawing/2014/main" id="{0F9376F5-50D7-4A31-95F5-0DDD110E69B3}"/>
                  </a:ext>
                </a:extLst>
              </p:cNvPr>
              <p:cNvSpPr/>
              <p:nvPr/>
            </p:nvSpPr>
            <p:spPr>
              <a:xfrm>
                <a:off x="4711273" y="2060578"/>
                <a:ext cx="15191" cy="35884"/>
              </a:xfrm>
              <a:custGeom>
                <a:avLst/>
                <a:gdLst>
                  <a:gd name="connsiteX0" fmla="*/ 14474 w 15191"/>
                  <a:gd name="connsiteY0" fmla="*/ 35884 h 35884"/>
                  <a:gd name="connsiteX1" fmla="*/ 0 w 15191"/>
                  <a:gd name="connsiteY1" fmla="*/ 239 h 35884"/>
                  <a:gd name="connsiteX2" fmla="*/ 658 w 15191"/>
                  <a:gd name="connsiteY2" fmla="*/ 0 h 35884"/>
                  <a:gd name="connsiteX3" fmla="*/ 15191 w 15191"/>
                  <a:gd name="connsiteY3" fmla="*/ 35765 h 35884"/>
                  <a:gd name="connsiteX4" fmla="*/ 14474 w 15191"/>
                  <a:gd name="connsiteY4" fmla="*/ 35884 h 35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91" h="35884">
                    <a:moveTo>
                      <a:pt x="14474" y="35884"/>
                    </a:moveTo>
                    <a:cubicBezTo>
                      <a:pt x="9629" y="23983"/>
                      <a:pt x="4785" y="12141"/>
                      <a:pt x="0" y="239"/>
                    </a:cubicBezTo>
                    <a:cubicBezTo>
                      <a:pt x="239" y="179"/>
                      <a:pt x="419" y="60"/>
                      <a:pt x="658" y="0"/>
                    </a:cubicBezTo>
                    <a:cubicBezTo>
                      <a:pt x="5503" y="11902"/>
                      <a:pt x="10347" y="23863"/>
                      <a:pt x="15191" y="35765"/>
                    </a:cubicBezTo>
                    <a:cubicBezTo>
                      <a:pt x="14952" y="35825"/>
                      <a:pt x="14713" y="35825"/>
                      <a:pt x="14474" y="3588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14" name="Vrije vorm: vorm 9513">
                <a:extLst>
                  <a:ext uri="{FF2B5EF4-FFF2-40B4-BE49-F238E27FC236}">
                    <a16:creationId xmlns:a16="http://schemas.microsoft.com/office/drawing/2014/main" id="{AD7999E3-A930-4D3A-AB5D-C384636D9C6A}"/>
                  </a:ext>
                </a:extLst>
              </p:cNvPr>
              <p:cNvSpPr/>
              <p:nvPr/>
            </p:nvSpPr>
            <p:spPr>
              <a:xfrm>
                <a:off x="4935670" y="2204414"/>
                <a:ext cx="41984" cy="99937"/>
              </a:xfrm>
              <a:custGeom>
                <a:avLst/>
                <a:gdLst>
                  <a:gd name="connsiteX0" fmla="*/ 1316 w 41984"/>
                  <a:gd name="connsiteY0" fmla="*/ 0 h 99937"/>
                  <a:gd name="connsiteX1" fmla="*/ 41985 w 41984"/>
                  <a:gd name="connsiteY1" fmla="*/ 99938 h 99937"/>
                  <a:gd name="connsiteX2" fmla="*/ 27212 w 41984"/>
                  <a:gd name="connsiteY2" fmla="*/ 79424 h 99937"/>
                  <a:gd name="connsiteX3" fmla="*/ 32236 w 41984"/>
                  <a:gd name="connsiteY3" fmla="*/ 79663 h 99937"/>
                  <a:gd name="connsiteX4" fmla="*/ 0 w 41984"/>
                  <a:gd name="connsiteY4" fmla="*/ 478 h 99937"/>
                  <a:gd name="connsiteX5" fmla="*/ 1316 w 41984"/>
                  <a:gd name="connsiteY5" fmla="*/ 0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84" h="99937">
                    <a:moveTo>
                      <a:pt x="1316" y="0"/>
                    </a:moveTo>
                    <a:cubicBezTo>
                      <a:pt x="14653" y="32834"/>
                      <a:pt x="28050" y="65728"/>
                      <a:pt x="41985" y="99938"/>
                    </a:cubicBezTo>
                    <a:cubicBezTo>
                      <a:pt x="35705" y="93060"/>
                      <a:pt x="37738" y="81338"/>
                      <a:pt x="27212" y="79424"/>
                    </a:cubicBezTo>
                    <a:cubicBezTo>
                      <a:pt x="28767" y="79484"/>
                      <a:pt x="30262" y="79603"/>
                      <a:pt x="32236" y="79663"/>
                    </a:cubicBezTo>
                    <a:cubicBezTo>
                      <a:pt x="21411" y="52989"/>
                      <a:pt x="10705" y="26734"/>
                      <a:pt x="0" y="478"/>
                    </a:cubicBezTo>
                    <a:cubicBezTo>
                      <a:pt x="419" y="359"/>
                      <a:pt x="837" y="179"/>
                      <a:pt x="1316"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15" name="Vrije vorm: vorm 9514">
                <a:extLst>
                  <a:ext uri="{FF2B5EF4-FFF2-40B4-BE49-F238E27FC236}">
                    <a16:creationId xmlns:a16="http://schemas.microsoft.com/office/drawing/2014/main" id="{1732C819-52AD-458D-A166-FAF7A62B9B19}"/>
                  </a:ext>
                </a:extLst>
              </p:cNvPr>
              <p:cNvSpPr/>
              <p:nvPr/>
            </p:nvSpPr>
            <p:spPr>
              <a:xfrm>
                <a:off x="5297265" y="1525304"/>
                <a:ext cx="13635" cy="32056"/>
              </a:xfrm>
              <a:custGeom>
                <a:avLst/>
                <a:gdLst>
                  <a:gd name="connsiteX0" fmla="*/ 12918 w 13635"/>
                  <a:gd name="connsiteY0" fmla="*/ 32057 h 32056"/>
                  <a:gd name="connsiteX1" fmla="*/ 0 w 13635"/>
                  <a:gd name="connsiteY1" fmla="*/ 239 h 32056"/>
                  <a:gd name="connsiteX2" fmla="*/ 718 w 13635"/>
                  <a:gd name="connsiteY2" fmla="*/ 0 h 32056"/>
                  <a:gd name="connsiteX3" fmla="*/ 13636 w 13635"/>
                  <a:gd name="connsiteY3" fmla="*/ 31817 h 32056"/>
                  <a:gd name="connsiteX4" fmla="*/ 12918 w 13635"/>
                  <a:gd name="connsiteY4" fmla="*/ 32057 h 32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 h="32056">
                    <a:moveTo>
                      <a:pt x="12918" y="32057"/>
                    </a:moveTo>
                    <a:cubicBezTo>
                      <a:pt x="8612" y="21471"/>
                      <a:pt x="4306" y="10885"/>
                      <a:pt x="0" y="239"/>
                    </a:cubicBezTo>
                    <a:cubicBezTo>
                      <a:pt x="239" y="179"/>
                      <a:pt x="478" y="60"/>
                      <a:pt x="718" y="0"/>
                    </a:cubicBezTo>
                    <a:cubicBezTo>
                      <a:pt x="5024" y="10586"/>
                      <a:pt x="9330" y="21232"/>
                      <a:pt x="13636" y="31817"/>
                    </a:cubicBezTo>
                    <a:cubicBezTo>
                      <a:pt x="13397" y="31877"/>
                      <a:pt x="13157" y="31937"/>
                      <a:pt x="12918" y="3205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16" name="Vrije vorm: vorm 9515">
                <a:extLst>
                  <a:ext uri="{FF2B5EF4-FFF2-40B4-BE49-F238E27FC236}">
                    <a16:creationId xmlns:a16="http://schemas.microsoft.com/office/drawing/2014/main" id="{B95E7621-211B-41D0-868D-805E9F4DC28A}"/>
                  </a:ext>
                </a:extLst>
              </p:cNvPr>
              <p:cNvSpPr/>
              <p:nvPr/>
            </p:nvSpPr>
            <p:spPr>
              <a:xfrm>
                <a:off x="5091639" y="1151963"/>
                <a:ext cx="19233" cy="45919"/>
              </a:xfrm>
              <a:custGeom>
                <a:avLst/>
                <a:gdLst>
                  <a:gd name="connsiteX0" fmla="*/ 9949 w 19233"/>
                  <a:gd name="connsiteY0" fmla="*/ 22825 h 45919"/>
                  <a:gd name="connsiteX1" fmla="*/ 18901 w 19233"/>
                  <a:gd name="connsiteY1" fmla="*/ 45784 h 45919"/>
                  <a:gd name="connsiteX2" fmla="*/ 9285 w 19233"/>
                  <a:gd name="connsiteY2" fmla="*/ 23095 h 45919"/>
                  <a:gd name="connsiteX3" fmla="*/ 332 w 19233"/>
                  <a:gd name="connsiteY3" fmla="*/ 135 h 45919"/>
                  <a:gd name="connsiteX4" fmla="*/ 9949 w 19233"/>
                  <a:gd name="connsiteY4" fmla="*/ 22825 h 45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33" h="45919">
                    <a:moveTo>
                      <a:pt x="9949" y="22825"/>
                    </a:moveTo>
                    <a:cubicBezTo>
                      <a:pt x="15077" y="35430"/>
                      <a:pt x="19085" y="45710"/>
                      <a:pt x="18901" y="45784"/>
                    </a:cubicBezTo>
                    <a:cubicBezTo>
                      <a:pt x="18718" y="45859"/>
                      <a:pt x="14412" y="35701"/>
                      <a:pt x="9285" y="23095"/>
                    </a:cubicBezTo>
                    <a:cubicBezTo>
                      <a:pt x="4157" y="10489"/>
                      <a:pt x="149" y="210"/>
                      <a:pt x="332" y="135"/>
                    </a:cubicBezTo>
                    <a:cubicBezTo>
                      <a:pt x="516" y="61"/>
                      <a:pt x="4822" y="10219"/>
                      <a:pt x="9949" y="2282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17" name="Vrije vorm: vorm 9516">
                <a:extLst>
                  <a:ext uri="{FF2B5EF4-FFF2-40B4-BE49-F238E27FC236}">
                    <a16:creationId xmlns:a16="http://schemas.microsoft.com/office/drawing/2014/main" id="{96667405-EFB6-4840-ACAA-66B1E0B7674B}"/>
                  </a:ext>
                </a:extLst>
              </p:cNvPr>
              <p:cNvSpPr/>
              <p:nvPr/>
            </p:nvSpPr>
            <p:spPr>
              <a:xfrm>
                <a:off x="5070117" y="1252523"/>
                <a:ext cx="11662" cy="27451"/>
              </a:xfrm>
              <a:custGeom>
                <a:avLst/>
                <a:gdLst>
                  <a:gd name="connsiteX0" fmla="*/ 11124 w 11662"/>
                  <a:gd name="connsiteY0" fmla="*/ 27452 h 27451"/>
                  <a:gd name="connsiteX1" fmla="*/ 0 w 11662"/>
                  <a:gd name="connsiteY1" fmla="*/ 179 h 27451"/>
                  <a:gd name="connsiteX2" fmla="*/ 538 w 11662"/>
                  <a:gd name="connsiteY2" fmla="*/ 0 h 27451"/>
                  <a:gd name="connsiteX3" fmla="*/ 11662 w 11662"/>
                  <a:gd name="connsiteY3" fmla="*/ 27392 h 27451"/>
                  <a:gd name="connsiteX4" fmla="*/ 11124 w 11662"/>
                  <a:gd name="connsiteY4" fmla="*/ 27452 h 27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62" h="27451">
                    <a:moveTo>
                      <a:pt x="11124" y="27452"/>
                    </a:moveTo>
                    <a:cubicBezTo>
                      <a:pt x="7416" y="18361"/>
                      <a:pt x="3708" y="9270"/>
                      <a:pt x="0" y="179"/>
                    </a:cubicBezTo>
                    <a:cubicBezTo>
                      <a:pt x="180" y="120"/>
                      <a:pt x="359" y="60"/>
                      <a:pt x="538" y="0"/>
                    </a:cubicBezTo>
                    <a:cubicBezTo>
                      <a:pt x="4246" y="9150"/>
                      <a:pt x="7954" y="18241"/>
                      <a:pt x="11662" y="27392"/>
                    </a:cubicBezTo>
                    <a:cubicBezTo>
                      <a:pt x="11483" y="27332"/>
                      <a:pt x="11304" y="27392"/>
                      <a:pt x="11124" y="2745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18" name="Vrije vorm: vorm 9517">
                <a:extLst>
                  <a:ext uri="{FF2B5EF4-FFF2-40B4-BE49-F238E27FC236}">
                    <a16:creationId xmlns:a16="http://schemas.microsoft.com/office/drawing/2014/main" id="{7E9AACEB-D7F9-4719-AB87-978D162BEF47}"/>
                  </a:ext>
                </a:extLst>
              </p:cNvPr>
              <p:cNvSpPr/>
              <p:nvPr/>
            </p:nvSpPr>
            <p:spPr>
              <a:xfrm>
                <a:off x="5309884" y="1693780"/>
                <a:ext cx="10765" cy="25238"/>
              </a:xfrm>
              <a:custGeom>
                <a:avLst/>
                <a:gdLst>
                  <a:gd name="connsiteX0" fmla="*/ 598 w 10765"/>
                  <a:gd name="connsiteY0" fmla="*/ 0 h 25238"/>
                  <a:gd name="connsiteX1" fmla="*/ 10765 w 10765"/>
                  <a:gd name="connsiteY1" fmla="*/ 25059 h 25238"/>
                  <a:gd name="connsiteX2" fmla="*/ 10227 w 10765"/>
                  <a:gd name="connsiteY2" fmla="*/ 25239 h 25238"/>
                  <a:gd name="connsiteX3" fmla="*/ 0 w 10765"/>
                  <a:gd name="connsiteY3" fmla="*/ 120 h 25238"/>
                  <a:gd name="connsiteX4" fmla="*/ 598 w 10765"/>
                  <a:gd name="connsiteY4" fmla="*/ 0 h 2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5" h="25238">
                    <a:moveTo>
                      <a:pt x="598" y="0"/>
                    </a:moveTo>
                    <a:cubicBezTo>
                      <a:pt x="4007" y="8373"/>
                      <a:pt x="7416" y="16686"/>
                      <a:pt x="10765" y="25059"/>
                    </a:cubicBezTo>
                    <a:cubicBezTo>
                      <a:pt x="10586" y="25119"/>
                      <a:pt x="10406" y="25179"/>
                      <a:pt x="10227" y="25239"/>
                    </a:cubicBezTo>
                    <a:cubicBezTo>
                      <a:pt x="6818" y="16866"/>
                      <a:pt x="3409" y="8493"/>
                      <a:pt x="0" y="120"/>
                    </a:cubicBezTo>
                    <a:cubicBezTo>
                      <a:pt x="239" y="60"/>
                      <a:pt x="419" y="0"/>
                      <a:pt x="59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19" name="Vrije vorm: vorm 9518">
                <a:extLst>
                  <a:ext uri="{FF2B5EF4-FFF2-40B4-BE49-F238E27FC236}">
                    <a16:creationId xmlns:a16="http://schemas.microsoft.com/office/drawing/2014/main" id="{A5E4451C-AC5E-406B-BD19-D782BBFA12E0}"/>
                  </a:ext>
                </a:extLst>
              </p:cNvPr>
              <p:cNvSpPr/>
              <p:nvPr/>
            </p:nvSpPr>
            <p:spPr>
              <a:xfrm>
                <a:off x="5134709" y="1144511"/>
                <a:ext cx="34269" cy="20992"/>
              </a:xfrm>
              <a:custGeom>
                <a:avLst/>
                <a:gdLst>
                  <a:gd name="connsiteX0" fmla="*/ 34269 w 34269"/>
                  <a:gd name="connsiteY0" fmla="*/ 1615 h 20992"/>
                  <a:gd name="connsiteX1" fmla="*/ 8433 w 34269"/>
                  <a:gd name="connsiteY1" fmla="*/ 20992 h 20992"/>
                  <a:gd name="connsiteX2" fmla="*/ 0 w 34269"/>
                  <a:gd name="connsiteY2" fmla="*/ 299 h 20992"/>
                  <a:gd name="connsiteX3" fmla="*/ 718 w 34269"/>
                  <a:gd name="connsiteY3" fmla="*/ 0 h 20992"/>
                  <a:gd name="connsiteX4" fmla="*/ 8433 w 34269"/>
                  <a:gd name="connsiteY4" fmla="*/ 19019 h 20992"/>
                  <a:gd name="connsiteX5" fmla="*/ 33492 w 34269"/>
                  <a:gd name="connsiteY5" fmla="*/ 777 h 20992"/>
                  <a:gd name="connsiteX6" fmla="*/ 34269 w 34269"/>
                  <a:gd name="connsiteY6" fmla="*/ 1615 h 2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69" h="20992">
                    <a:moveTo>
                      <a:pt x="34269" y="1615"/>
                    </a:moveTo>
                    <a:cubicBezTo>
                      <a:pt x="25717" y="8014"/>
                      <a:pt x="17165" y="14473"/>
                      <a:pt x="8433" y="20992"/>
                    </a:cubicBezTo>
                    <a:cubicBezTo>
                      <a:pt x="5681" y="14174"/>
                      <a:pt x="2811" y="7237"/>
                      <a:pt x="0" y="299"/>
                    </a:cubicBezTo>
                    <a:cubicBezTo>
                      <a:pt x="239" y="179"/>
                      <a:pt x="478" y="120"/>
                      <a:pt x="718" y="0"/>
                    </a:cubicBezTo>
                    <a:cubicBezTo>
                      <a:pt x="3110" y="5921"/>
                      <a:pt x="5562" y="11842"/>
                      <a:pt x="8433" y="19019"/>
                    </a:cubicBezTo>
                    <a:cubicBezTo>
                      <a:pt x="17105" y="12739"/>
                      <a:pt x="25298" y="6758"/>
                      <a:pt x="33492" y="777"/>
                    </a:cubicBezTo>
                    <a:cubicBezTo>
                      <a:pt x="33851" y="1017"/>
                      <a:pt x="34030" y="1316"/>
                      <a:pt x="34269" y="161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20" name="Vrije vorm: vorm 9519">
                <a:extLst>
                  <a:ext uri="{FF2B5EF4-FFF2-40B4-BE49-F238E27FC236}">
                    <a16:creationId xmlns:a16="http://schemas.microsoft.com/office/drawing/2014/main" id="{5DED756D-68CB-49DE-B68E-829CD06FEE59}"/>
                  </a:ext>
                </a:extLst>
              </p:cNvPr>
              <p:cNvSpPr/>
              <p:nvPr/>
            </p:nvSpPr>
            <p:spPr>
              <a:xfrm>
                <a:off x="5250256" y="1542468"/>
                <a:ext cx="19258" cy="46111"/>
              </a:xfrm>
              <a:custGeom>
                <a:avLst/>
                <a:gdLst>
                  <a:gd name="connsiteX0" fmla="*/ 18660 w 19258"/>
                  <a:gd name="connsiteY0" fmla="*/ 46111 h 46111"/>
                  <a:gd name="connsiteX1" fmla="*/ 0 w 19258"/>
                  <a:gd name="connsiteY1" fmla="*/ 239 h 46111"/>
                  <a:gd name="connsiteX2" fmla="*/ 598 w 19258"/>
                  <a:gd name="connsiteY2" fmla="*/ 0 h 46111"/>
                  <a:gd name="connsiteX3" fmla="*/ 19258 w 19258"/>
                  <a:gd name="connsiteY3" fmla="*/ 45812 h 46111"/>
                  <a:gd name="connsiteX4" fmla="*/ 18660 w 19258"/>
                  <a:gd name="connsiteY4" fmla="*/ 46111 h 4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8" h="46111">
                    <a:moveTo>
                      <a:pt x="18660" y="46111"/>
                    </a:moveTo>
                    <a:cubicBezTo>
                      <a:pt x="12440" y="30801"/>
                      <a:pt x="6220" y="15490"/>
                      <a:pt x="0" y="239"/>
                    </a:cubicBezTo>
                    <a:cubicBezTo>
                      <a:pt x="180" y="179"/>
                      <a:pt x="419" y="60"/>
                      <a:pt x="598" y="0"/>
                    </a:cubicBezTo>
                    <a:cubicBezTo>
                      <a:pt x="6818" y="15251"/>
                      <a:pt x="13038" y="30561"/>
                      <a:pt x="19258" y="45812"/>
                    </a:cubicBezTo>
                    <a:cubicBezTo>
                      <a:pt x="19019" y="45932"/>
                      <a:pt x="18839" y="46052"/>
                      <a:pt x="18660" y="4611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21" name="Vrije vorm: vorm 9520">
                <a:extLst>
                  <a:ext uri="{FF2B5EF4-FFF2-40B4-BE49-F238E27FC236}">
                    <a16:creationId xmlns:a16="http://schemas.microsoft.com/office/drawing/2014/main" id="{037DD19D-6A08-43F9-A509-4038D7DB862F}"/>
                  </a:ext>
                </a:extLst>
              </p:cNvPr>
              <p:cNvSpPr/>
              <p:nvPr/>
            </p:nvSpPr>
            <p:spPr>
              <a:xfrm>
                <a:off x="5102652" y="1065087"/>
                <a:ext cx="33133" cy="27929"/>
              </a:xfrm>
              <a:custGeom>
                <a:avLst/>
                <a:gdLst>
                  <a:gd name="connsiteX0" fmla="*/ 120 w 33133"/>
                  <a:gd name="connsiteY0" fmla="*/ 27930 h 27929"/>
                  <a:gd name="connsiteX1" fmla="*/ 32236 w 33133"/>
                  <a:gd name="connsiteY1" fmla="*/ 0 h 27929"/>
                  <a:gd name="connsiteX2" fmla="*/ 33133 w 33133"/>
                  <a:gd name="connsiteY2" fmla="*/ 1196 h 27929"/>
                  <a:gd name="connsiteX3" fmla="*/ 14713 w 33133"/>
                  <a:gd name="connsiteY3" fmla="*/ 16686 h 27929"/>
                  <a:gd name="connsiteX4" fmla="*/ 0 w 33133"/>
                  <a:gd name="connsiteY4" fmla="*/ 27930 h 27929"/>
                  <a:gd name="connsiteX5" fmla="*/ 120 w 33133"/>
                  <a:gd name="connsiteY5" fmla="*/ 27930 h 2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33" h="27929">
                    <a:moveTo>
                      <a:pt x="120" y="27930"/>
                    </a:moveTo>
                    <a:cubicBezTo>
                      <a:pt x="10825" y="18600"/>
                      <a:pt x="21531" y="9270"/>
                      <a:pt x="32236" y="0"/>
                    </a:cubicBezTo>
                    <a:cubicBezTo>
                      <a:pt x="32535" y="419"/>
                      <a:pt x="32834" y="778"/>
                      <a:pt x="33133" y="1196"/>
                    </a:cubicBezTo>
                    <a:cubicBezTo>
                      <a:pt x="26973" y="6340"/>
                      <a:pt x="20933" y="11603"/>
                      <a:pt x="14713" y="16686"/>
                    </a:cubicBezTo>
                    <a:cubicBezTo>
                      <a:pt x="9928" y="20574"/>
                      <a:pt x="4904" y="24162"/>
                      <a:pt x="0" y="27930"/>
                    </a:cubicBezTo>
                    <a:cubicBezTo>
                      <a:pt x="0" y="27810"/>
                      <a:pt x="120" y="27870"/>
                      <a:pt x="120" y="2793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22" name="Vrije vorm: vorm 9521">
                <a:extLst>
                  <a:ext uri="{FF2B5EF4-FFF2-40B4-BE49-F238E27FC236}">
                    <a16:creationId xmlns:a16="http://schemas.microsoft.com/office/drawing/2014/main" id="{34909E5B-1F9A-4396-AD88-15B02E9FA1AB}"/>
                  </a:ext>
                </a:extLst>
              </p:cNvPr>
              <p:cNvSpPr/>
              <p:nvPr/>
            </p:nvSpPr>
            <p:spPr>
              <a:xfrm>
                <a:off x="5347144" y="1672968"/>
                <a:ext cx="39413" cy="37259"/>
              </a:xfrm>
              <a:custGeom>
                <a:avLst/>
                <a:gdLst>
                  <a:gd name="connsiteX0" fmla="*/ 1076 w 39413"/>
                  <a:gd name="connsiteY0" fmla="*/ 0 h 37259"/>
                  <a:gd name="connsiteX1" fmla="*/ 15550 w 39413"/>
                  <a:gd name="connsiteY1" fmla="*/ 35526 h 37259"/>
                  <a:gd name="connsiteX2" fmla="*/ 39174 w 39413"/>
                  <a:gd name="connsiteY2" fmla="*/ 30741 h 37259"/>
                  <a:gd name="connsiteX3" fmla="*/ 39413 w 39413"/>
                  <a:gd name="connsiteY3" fmla="*/ 31758 h 37259"/>
                  <a:gd name="connsiteX4" fmla="*/ 15012 w 39413"/>
                  <a:gd name="connsiteY4" fmla="*/ 37260 h 37259"/>
                  <a:gd name="connsiteX5" fmla="*/ 0 w 39413"/>
                  <a:gd name="connsiteY5" fmla="*/ 359 h 37259"/>
                  <a:gd name="connsiteX6" fmla="*/ 1076 w 39413"/>
                  <a:gd name="connsiteY6" fmla="*/ 0 h 37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13" h="37259">
                    <a:moveTo>
                      <a:pt x="1076" y="0"/>
                    </a:moveTo>
                    <a:cubicBezTo>
                      <a:pt x="5861" y="11782"/>
                      <a:pt x="10646" y="23504"/>
                      <a:pt x="15550" y="35526"/>
                    </a:cubicBezTo>
                    <a:cubicBezTo>
                      <a:pt x="23684" y="33851"/>
                      <a:pt x="31459" y="32296"/>
                      <a:pt x="39174" y="30741"/>
                    </a:cubicBezTo>
                    <a:cubicBezTo>
                      <a:pt x="39234" y="31100"/>
                      <a:pt x="39353" y="31459"/>
                      <a:pt x="39413" y="31758"/>
                    </a:cubicBezTo>
                    <a:cubicBezTo>
                      <a:pt x="31160" y="33612"/>
                      <a:pt x="22906" y="35466"/>
                      <a:pt x="15012" y="37260"/>
                    </a:cubicBezTo>
                    <a:cubicBezTo>
                      <a:pt x="9988" y="24880"/>
                      <a:pt x="5024" y="12619"/>
                      <a:pt x="0" y="359"/>
                    </a:cubicBezTo>
                    <a:cubicBezTo>
                      <a:pt x="419" y="299"/>
                      <a:pt x="718" y="120"/>
                      <a:pt x="1076"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23" name="Vrije vorm: vorm 9522">
                <a:extLst>
                  <a:ext uri="{FF2B5EF4-FFF2-40B4-BE49-F238E27FC236}">
                    <a16:creationId xmlns:a16="http://schemas.microsoft.com/office/drawing/2014/main" id="{0F82457B-5525-4A68-8D29-3BE3B9DA2663}"/>
                  </a:ext>
                </a:extLst>
              </p:cNvPr>
              <p:cNvSpPr/>
              <p:nvPr/>
            </p:nvSpPr>
            <p:spPr>
              <a:xfrm>
                <a:off x="5338412" y="1676975"/>
                <a:ext cx="14293" cy="34389"/>
              </a:xfrm>
              <a:custGeom>
                <a:avLst/>
                <a:gdLst>
                  <a:gd name="connsiteX0" fmla="*/ 13935 w 14293"/>
                  <a:gd name="connsiteY0" fmla="*/ 34389 h 34389"/>
                  <a:gd name="connsiteX1" fmla="*/ 0 w 14293"/>
                  <a:gd name="connsiteY1" fmla="*/ 179 h 34389"/>
                  <a:gd name="connsiteX2" fmla="*/ 478 w 14293"/>
                  <a:gd name="connsiteY2" fmla="*/ 0 h 34389"/>
                  <a:gd name="connsiteX3" fmla="*/ 14294 w 14293"/>
                  <a:gd name="connsiteY3" fmla="*/ 33911 h 34389"/>
                  <a:gd name="connsiteX4" fmla="*/ 13935 w 14293"/>
                  <a:gd name="connsiteY4" fmla="*/ 34389 h 34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93" h="34389">
                    <a:moveTo>
                      <a:pt x="13935" y="34389"/>
                    </a:moveTo>
                    <a:cubicBezTo>
                      <a:pt x="9270" y="22966"/>
                      <a:pt x="4665" y="11603"/>
                      <a:pt x="0" y="179"/>
                    </a:cubicBezTo>
                    <a:cubicBezTo>
                      <a:pt x="179" y="120"/>
                      <a:pt x="299" y="60"/>
                      <a:pt x="478" y="0"/>
                    </a:cubicBezTo>
                    <a:cubicBezTo>
                      <a:pt x="5083" y="11304"/>
                      <a:pt x="9689" y="22607"/>
                      <a:pt x="14294" y="33911"/>
                    </a:cubicBezTo>
                    <a:cubicBezTo>
                      <a:pt x="14174" y="34090"/>
                      <a:pt x="14055" y="34270"/>
                      <a:pt x="13935" y="3438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24" name="Vrije vorm: vorm 9523">
                <a:extLst>
                  <a:ext uri="{FF2B5EF4-FFF2-40B4-BE49-F238E27FC236}">
                    <a16:creationId xmlns:a16="http://schemas.microsoft.com/office/drawing/2014/main" id="{C83836EC-E42D-44FA-BB1C-F5688259DC41}"/>
                  </a:ext>
                </a:extLst>
              </p:cNvPr>
              <p:cNvSpPr/>
              <p:nvPr/>
            </p:nvSpPr>
            <p:spPr>
              <a:xfrm>
                <a:off x="5356713" y="1669738"/>
                <a:ext cx="11602" cy="27272"/>
              </a:xfrm>
              <a:custGeom>
                <a:avLst/>
                <a:gdLst>
                  <a:gd name="connsiteX0" fmla="*/ 718 w 11602"/>
                  <a:gd name="connsiteY0" fmla="*/ 299 h 27272"/>
                  <a:gd name="connsiteX1" fmla="*/ 11603 w 11602"/>
                  <a:gd name="connsiteY1" fmla="*/ 27093 h 27272"/>
                  <a:gd name="connsiteX2" fmla="*/ 11124 w 11602"/>
                  <a:gd name="connsiteY2" fmla="*/ 27272 h 27272"/>
                  <a:gd name="connsiteX3" fmla="*/ 0 w 11602"/>
                  <a:gd name="connsiteY3" fmla="*/ 0 h 27272"/>
                  <a:gd name="connsiteX4" fmla="*/ 718 w 11602"/>
                  <a:gd name="connsiteY4" fmla="*/ 299 h 27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02" h="27272">
                    <a:moveTo>
                      <a:pt x="718" y="299"/>
                    </a:moveTo>
                    <a:cubicBezTo>
                      <a:pt x="4366" y="9210"/>
                      <a:pt x="8014" y="18181"/>
                      <a:pt x="11603" y="27093"/>
                    </a:cubicBezTo>
                    <a:cubicBezTo>
                      <a:pt x="11423" y="27153"/>
                      <a:pt x="11303" y="27212"/>
                      <a:pt x="11124" y="27272"/>
                    </a:cubicBezTo>
                    <a:cubicBezTo>
                      <a:pt x="7416" y="18181"/>
                      <a:pt x="3708" y="9091"/>
                      <a:pt x="0" y="0"/>
                    </a:cubicBezTo>
                    <a:cubicBezTo>
                      <a:pt x="299" y="120"/>
                      <a:pt x="538" y="180"/>
                      <a:pt x="718" y="29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25" name="Vrije vorm: vorm 9524">
                <a:extLst>
                  <a:ext uri="{FF2B5EF4-FFF2-40B4-BE49-F238E27FC236}">
                    <a16:creationId xmlns:a16="http://schemas.microsoft.com/office/drawing/2014/main" id="{D99CD4D5-BE2C-4062-AAC0-8892E582C656}"/>
                  </a:ext>
                </a:extLst>
              </p:cNvPr>
              <p:cNvSpPr/>
              <p:nvPr/>
            </p:nvSpPr>
            <p:spPr>
              <a:xfrm>
                <a:off x="5399655" y="1482003"/>
                <a:ext cx="16207" cy="38814"/>
              </a:xfrm>
              <a:custGeom>
                <a:avLst/>
                <a:gdLst>
                  <a:gd name="connsiteX0" fmla="*/ 538 w 16207"/>
                  <a:gd name="connsiteY0" fmla="*/ 0 h 38814"/>
                  <a:gd name="connsiteX1" fmla="*/ 16208 w 16207"/>
                  <a:gd name="connsiteY1" fmla="*/ 38576 h 38814"/>
                  <a:gd name="connsiteX2" fmla="*/ 15669 w 16207"/>
                  <a:gd name="connsiteY2" fmla="*/ 38815 h 38814"/>
                  <a:gd name="connsiteX3" fmla="*/ 0 w 16207"/>
                  <a:gd name="connsiteY3" fmla="*/ 239 h 38814"/>
                  <a:gd name="connsiteX4" fmla="*/ 538 w 16207"/>
                  <a:gd name="connsiteY4" fmla="*/ 0 h 38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7" h="38814">
                    <a:moveTo>
                      <a:pt x="538" y="0"/>
                    </a:moveTo>
                    <a:cubicBezTo>
                      <a:pt x="5741" y="12859"/>
                      <a:pt x="11004" y="25717"/>
                      <a:pt x="16208" y="38576"/>
                    </a:cubicBezTo>
                    <a:cubicBezTo>
                      <a:pt x="16028" y="38635"/>
                      <a:pt x="15849" y="38755"/>
                      <a:pt x="15669" y="38815"/>
                    </a:cubicBezTo>
                    <a:cubicBezTo>
                      <a:pt x="10466" y="25956"/>
                      <a:pt x="5203" y="13098"/>
                      <a:pt x="0" y="239"/>
                    </a:cubicBezTo>
                    <a:cubicBezTo>
                      <a:pt x="179" y="179"/>
                      <a:pt x="359" y="60"/>
                      <a:pt x="53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26" name="Vrije vorm: vorm 9525">
                <a:extLst>
                  <a:ext uri="{FF2B5EF4-FFF2-40B4-BE49-F238E27FC236}">
                    <a16:creationId xmlns:a16="http://schemas.microsoft.com/office/drawing/2014/main" id="{ECEBBFEB-C87B-4053-A2BB-86540E383570}"/>
                  </a:ext>
                </a:extLst>
              </p:cNvPr>
              <p:cNvSpPr/>
              <p:nvPr/>
            </p:nvSpPr>
            <p:spPr>
              <a:xfrm>
                <a:off x="5317778" y="1598029"/>
                <a:ext cx="43240" cy="45214"/>
              </a:xfrm>
              <a:custGeom>
                <a:avLst/>
                <a:gdLst>
                  <a:gd name="connsiteX0" fmla="*/ 18241 w 43240"/>
                  <a:gd name="connsiteY0" fmla="*/ 45214 h 45214"/>
                  <a:gd name="connsiteX1" fmla="*/ 0 w 43240"/>
                  <a:gd name="connsiteY1" fmla="*/ 419 h 45214"/>
                  <a:gd name="connsiteX2" fmla="*/ 1017 w 43240"/>
                  <a:gd name="connsiteY2" fmla="*/ 0 h 45214"/>
                  <a:gd name="connsiteX3" fmla="*/ 18660 w 43240"/>
                  <a:gd name="connsiteY3" fmla="*/ 43420 h 45214"/>
                  <a:gd name="connsiteX4" fmla="*/ 42942 w 43240"/>
                  <a:gd name="connsiteY4" fmla="*/ 37200 h 45214"/>
                  <a:gd name="connsiteX5" fmla="*/ 43241 w 43240"/>
                  <a:gd name="connsiteY5" fmla="*/ 38277 h 45214"/>
                  <a:gd name="connsiteX6" fmla="*/ 18241 w 43240"/>
                  <a:gd name="connsiteY6" fmla="*/ 45214 h 4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40" h="45214">
                    <a:moveTo>
                      <a:pt x="18241" y="45214"/>
                    </a:moveTo>
                    <a:cubicBezTo>
                      <a:pt x="12141" y="30203"/>
                      <a:pt x="6100" y="15311"/>
                      <a:pt x="0" y="419"/>
                    </a:cubicBezTo>
                    <a:cubicBezTo>
                      <a:pt x="359" y="299"/>
                      <a:pt x="658" y="120"/>
                      <a:pt x="1017" y="0"/>
                    </a:cubicBezTo>
                    <a:cubicBezTo>
                      <a:pt x="6818" y="14354"/>
                      <a:pt x="12679" y="28648"/>
                      <a:pt x="18660" y="43420"/>
                    </a:cubicBezTo>
                    <a:cubicBezTo>
                      <a:pt x="27033" y="41267"/>
                      <a:pt x="34987" y="39234"/>
                      <a:pt x="42942" y="37200"/>
                    </a:cubicBezTo>
                    <a:cubicBezTo>
                      <a:pt x="43061" y="37559"/>
                      <a:pt x="43121" y="37918"/>
                      <a:pt x="43241" y="38277"/>
                    </a:cubicBezTo>
                    <a:cubicBezTo>
                      <a:pt x="34868" y="40609"/>
                      <a:pt x="26375" y="42942"/>
                      <a:pt x="18241" y="4521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27" name="Vrije vorm: vorm 9526">
                <a:extLst>
                  <a:ext uri="{FF2B5EF4-FFF2-40B4-BE49-F238E27FC236}">
                    <a16:creationId xmlns:a16="http://schemas.microsoft.com/office/drawing/2014/main" id="{85E4064E-665D-46E7-B81B-B40B10251FD1}"/>
                  </a:ext>
                </a:extLst>
              </p:cNvPr>
              <p:cNvSpPr/>
              <p:nvPr/>
            </p:nvSpPr>
            <p:spPr>
              <a:xfrm>
                <a:off x="5328604" y="1594261"/>
                <a:ext cx="17583" cy="42164"/>
              </a:xfrm>
              <a:custGeom>
                <a:avLst/>
                <a:gdLst>
                  <a:gd name="connsiteX0" fmla="*/ 538 w 17583"/>
                  <a:gd name="connsiteY0" fmla="*/ 0 h 42164"/>
                  <a:gd name="connsiteX1" fmla="*/ 17583 w 17583"/>
                  <a:gd name="connsiteY1" fmla="*/ 41925 h 42164"/>
                  <a:gd name="connsiteX2" fmla="*/ 16985 w 17583"/>
                  <a:gd name="connsiteY2" fmla="*/ 42164 h 42164"/>
                  <a:gd name="connsiteX3" fmla="*/ 0 w 17583"/>
                  <a:gd name="connsiteY3" fmla="*/ 478 h 42164"/>
                  <a:gd name="connsiteX4" fmla="*/ 538 w 17583"/>
                  <a:gd name="connsiteY4" fmla="*/ 0 h 42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3" h="42164">
                    <a:moveTo>
                      <a:pt x="538" y="0"/>
                    </a:moveTo>
                    <a:cubicBezTo>
                      <a:pt x="6220" y="13995"/>
                      <a:pt x="11902" y="27930"/>
                      <a:pt x="17583" y="41925"/>
                    </a:cubicBezTo>
                    <a:cubicBezTo>
                      <a:pt x="17404" y="41985"/>
                      <a:pt x="17165" y="42104"/>
                      <a:pt x="16985" y="42164"/>
                    </a:cubicBezTo>
                    <a:cubicBezTo>
                      <a:pt x="11304" y="28289"/>
                      <a:pt x="5682" y="14354"/>
                      <a:pt x="0" y="478"/>
                    </a:cubicBezTo>
                    <a:cubicBezTo>
                      <a:pt x="179" y="299"/>
                      <a:pt x="359" y="120"/>
                      <a:pt x="53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28" name="Vrije vorm: vorm 9527">
                <a:extLst>
                  <a:ext uri="{FF2B5EF4-FFF2-40B4-BE49-F238E27FC236}">
                    <a16:creationId xmlns:a16="http://schemas.microsoft.com/office/drawing/2014/main" id="{73C3ADB8-F47E-4FFB-8474-83526DD6C33C}"/>
                  </a:ext>
                </a:extLst>
              </p:cNvPr>
              <p:cNvSpPr/>
              <p:nvPr/>
            </p:nvSpPr>
            <p:spPr>
              <a:xfrm>
                <a:off x="5305744" y="1593885"/>
                <a:ext cx="25093" cy="60323"/>
              </a:xfrm>
              <a:custGeom>
                <a:avLst/>
                <a:gdLst>
                  <a:gd name="connsiteX0" fmla="*/ 12879 w 25093"/>
                  <a:gd name="connsiteY0" fmla="*/ 30026 h 60323"/>
                  <a:gd name="connsiteX1" fmla="*/ 24761 w 25093"/>
                  <a:gd name="connsiteY1" fmla="*/ 60188 h 60323"/>
                  <a:gd name="connsiteX2" fmla="*/ 12214 w 25093"/>
                  <a:gd name="connsiteY2" fmla="*/ 30297 h 60323"/>
                  <a:gd name="connsiteX3" fmla="*/ 333 w 25093"/>
                  <a:gd name="connsiteY3" fmla="*/ 135 h 60323"/>
                  <a:gd name="connsiteX4" fmla="*/ 12879 w 25093"/>
                  <a:gd name="connsiteY4" fmla="*/ 30026 h 60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93" h="60323">
                    <a:moveTo>
                      <a:pt x="12879" y="30026"/>
                    </a:moveTo>
                    <a:cubicBezTo>
                      <a:pt x="19625" y="46610"/>
                      <a:pt x="24944" y="60113"/>
                      <a:pt x="24761" y="60188"/>
                    </a:cubicBezTo>
                    <a:cubicBezTo>
                      <a:pt x="24577" y="60263"/>
                      <a:pt x="18960" y="46880"/>
                      <a:pt x="12214" y="30297"/>
                    </a:cubicBezTo>
                    <a:cubicBezTo>
                      <a:pt x="5469" y="13714"/>
                      <a:pt x="149" y="210"/>
                      <a:pt x="333" y="135"/>
                    </a:cubicBezTo>
                    <a:cubicBezTo>
                      <a:pt x="516" y="60"/>
                      <a:pt x="6133" y="13443"/>
                      <a:pt x="12879" y="3002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29" name="Vrije vorm: vorm 9528">
                <a:extLst>
                  <a:ext uri="{FF2B5EF4-FFF2-40B4-BE49-F238E27FC236}">
                    <a16:creationId xmlns:a16="http://schemas.microsoft.com/office/drawing/2014/main" id="{F72D7AAB-542C-4366-9865-CDC80A2314BE}"/>
                  </a:ext>
                </a:extLst>
              </p:cNvPr>
              <p:cNvSpPr/>
              <p:nvPr/>
            </p:nvSpPr>
            <p:spPr>
              <a:xfrm>
                <a:off x="5331795" y="1582358"/>
                <a:ext cx="24527" cy="58706"/>
              </a:xfrm>
              <a:custGeom>
                <a:avLst/>
                <a:gdLst>
                  <a:gd name="connsiteX0" fmla="*/ 12652 w 24527"/>
                  <a:gd name="connsiteY0" fmla="*/ 29196 h 58706"/>
                  <a:gd name="connsiteX1" fmla="*/ 24140 w 24527"/>
                  <a:gd name="connsiteY1" fmla="*/ 58549 h 58706"/>
                  <a:gd name="connsiteX2" fmla="*/ 11876 w 24527"/>
                  <a:gd name="connsiteY2" fmla="*/ 29511 h 58706"/>
                  <a:gd name="connsiteX3" fmla="*/ 388 w 24527"/>
                  <a:gd name="connsiteY3" fmla="*/ 158 h 58706"/>
                  <a:gd name="connsiteX4" fmla="*/ 12652 w 24527"/>
                  <a:gd name="connsiteY4" fmla="*/ 29196 h 58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7" h="58706">
                    <a:moveTo>
                      <a:pt x="12652" y="29196"/>
                    </a:moveTo>
                    <a:cubicBezTo>
                      <a:pt x="19211" y="45320"/>
                      <a:pt x="24354" y="58462"/>
                      <a:pt x="24140" y="58549"/>
                    </a:cubicBezTo>
                    <a:cubicBezTo>
                      <a:pt x="23926" y="58636"/>
                      <a:pt x="18435" y="45635"/>
                      <a:pt x="11876" y="29511"/>
                    </a:cubicBezTo>
                    <a:cubicBezTo>
                      <a:pt x="5317" y="13387"/>
                      <a:pt x="173" y="245"/>
                      <a:pt x="388" y="158"/>
                    </a:cubicBezTo>
                    <a:cubicBezTo>
                      <a:pt x="602" y="71"/>
                      <a:pt x="6093" y="13071"/>
                      <a:pt x="12652" y="2919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30" name="Vrije vorm: vorm 9529">
                <a:extLst>
                  <a:ext uri="{FF2B5EF4-FFF2-40B4-BE49-F238E27FC236}">
                    <a16:creationId xmlns:a16="http://schemas.microsoft.com/office/drawing/2014/main" id="{9D607508-D837-48CC-BCD6-4ACA9F132198}"/>
                  </a:ext>
                </a:extLst>
              </p:cNvPr>
              <p:cNvSpPr/>
              <p:nvPr/>
            </p:nvSpPr>
            <p:spPr>
              <a:xfrm>
                <a:off x="5559639" y="1687202"/>
                <a:ext cx="16267" cy="38755"/>
              </a:xfrm>
              <a:custGeom>
                <a:avLst/>
                <a:gdLst>
                  <a:gd name="connsiteX0" fmla="*/ 598 w 16267"/>
                  <a:gd name="connsiteY0" fmla="*/ 0 h 38755"/>
                  <a:gd name="connsiteX1" fmla="*/ 16267 w 16267"/>
                  <a:gd name="connsiteY1" fmla="*/ 38516 h 38755"/>
                  <a:gd name="connsiteX2" fmla="*/ 15729 w 16267"/>
                  <a:gd name="connsiteY2" fmla="*/ 38755 h 38755"/>
                  <a:gd name="connsiteX3" fmla="*/ 0 w 16267"/>
                  <a:gd name="connsiteY3" fmla="*/ 120 h 38755"/>
                  <a:gd name="connsiteX4" fmla="*/ 598 w 16267"/>
                  <a:gd name="connsiteY4" fmla="*/ 0 h 38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67" h="38755">
                    <a:moveTo>
                      <a:pt x="598" y="0"/>
                    </a:moveTo>
                    <a:cubicBezTo>
                      <a:pt x="5801" y="12859"/>
                      <a:pt x="11064" y="25657"/>
                      <a:pt x="16267" y="38516"/>
                    </a:cubicBezTo>
                    <a:cubicBezTo>
                      <a:pt x="16088" y="38576"/>
                      <a:pt x="15909" y="38635"/>
                      <a:pt x="15729" y="38755"/>
                    </a:cubicBezTo>
                    <a:cubicBezTo>
                      <a:pt x="10466" y="25896"/>
                      <a:pt x="5263" y="12978"/>
                      <a:pt x="0" y="120"/>
                    </a:cubicBezTo>
                    <a:cubicBezTo>
                      <a:pt x="179" y="0"/>
                      <a:pt x="419" y="0"/>
                      <a:pt x="598" y="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531" name="Vrije vorm: vorm 9530">
                <a:extLst>
                  <a:ext uri="{FF2B5EF4-FFF2-40B4-BE49-F238E27FC236}">
                    <a16:creationId xmlns:a16="http://schemas.microsoft.com/office/drawing/2014/main" id="{01E304C5-09CC-42DE-91A2-0F28DFAD1019}"/>
                  </a:ext>
                </a:extLst>
              </p:cNvPr>
              <p:cNvSpPr/>
              <p:nvPr/>
            </p:nvSpPr>
            <p:spPr>
              <a:xfrm>
                <a:off x="5548395" y="1725239"/>
                <a:ext cx="24221" cy="5741"/>
              </a:xfrm>
              <a:custGeom>
                <a:avLst/>
                <a:gdLst>
                  <a:gd name="connsiteX0" fmla="*/ 0 w 24221"/>
                  <a:gd name="connsiteY0" fmla="*/ 5741 h 5741"/>
                  <a:gd name="connsiteX1" fmla="*/ 23803 w 24221"/>
                  <a:gd name="connsiteY1" fmla="*/ 0 h 5741"/>
                  <a:gd name="connsiteX2" fmla="*/ 24222 w 24221"/>
                  <a:gd name="connsiteY2" fmla="*/ 1854 h 5741"/>
                  <a:gd name="connsiteX3" fmla="*/ 0 w 24221"/>
                  <a:gd name="connsiteY3" fmla="*/ 5562 h 5741"/>
                  <a:gd name="connsiteX4" fmla="*/ 0 w 24221"/>
                  <a:gd name="connsiteY4" fmla="*/ 5741 h 5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1" h="5741">
                    <a:moveTo>
                      <a:pt x="0" y="5741"/>
                    </a:moveTo>
                    <a:cubicBezTo>
                      <a:pt x="7954" y="3828"/>
                      <a:pt x="15909" y="1914"/>
                      <a:pt x="23803" y="0"/>
                    </a:cubicBezTo>
                    <a:cubicBezTo>
                      <a:pt x="23923" y="598"/>
                      <a:pt x="24102" y="1256"/>
                      <a:pt x="24222" y="1854"/>
                    </a:cubicBezTo>
                    <a:cubicBezTo>
                      <a:pt x="16148" y="3110"/>
                      <a:pt x="8074" y="4306"/>
                      <a:pt x="0" y="5562"/>
                    </a:cubicBezTo>
                    <a:cubicBezTo>
                      <a:pt x="60" y="5562"/>
                      <a:pt x="0" y="5741"/>
                      <a:pt x="0" y="5741"/>
                    </a:cubicBez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8973" name="Graphic 3">
              <a:extLst>
                <a:ext uri="{FF2B5EF4-FFF2-40B4-BE49-F238E27FC236}">
                  <a16:creationId xmlns:a16="http://schemas.microsoft.com/office/drawing/2014/main" id="{C90E1194-0512-438E-81CF-93339450832F}"/>
                </a:ext>
              </a:extLst>
            </p:cNvPr>
            <p:cNvGrpSpPr/>
            <p:nvPr/>
          </p:nvGrpSpPr>
          <p:grpSpPr>
            <a:xfrm>
              <a:off x="4496875" y="1692322"/>
              <a:ext cx="279946" cy="149734"/>
              <a:chOff x="4496875" y="1692322"/>
              <a:chExt cx="279946" cy="149734"/>
            </a:xfrm>
            <a:grpFill/>
          </p:grpSpPr>
          <p:sp>
            <p:nvSpPr>
              <p:cNvPr id="9246" name="Vrije vorm: vorm 9245">
                <a:extLst>
                  <a:ext uri="{FF2B5EF4-FFF2-40B4-BE49-F238E27FC236}">
                    <a16:creationId xmlns:a16="http://schemas.microsoft.com/office/drawing/2014/main" id="{AE69EFC0-E336-4C0B-AAF0-3C67EAEF220E}"/>
                  </a:ext>
                </a:extLst>
              </p:cNvPr>
              <p:cNvSpPr/>
              <p:nvPr/>
            </p:nvSpPr>
            <p:spPr>
              <a:xfrm>
                <a:off x="4652842" y="1696412"/>
                <a:ext cx="90009" cy="33312"/>
              </a:xfrm>
              <a:custGeom>
                <a:avLst/>
                <a:gdLst>
                  <a:gd name="connsiteX0" fmla="*/ 90010 w 90009"/>
                  <a:gd name="connsiteY0" fmla="*/ 5383 h 33312"/>
                  <a:gd name="connsiteX1" fmla="*/ 2033 w 90009"/>
                  <a:gd name="connsiteY1" fmla="*/ 33313 h 33312"/>
                  <a:gd name="connsiteX2" fmla="*/ 0 w 90009"/>
                  <a:gd name="connsiteY2" fmla="*/ 27870 h 33312"/>
                  <a:gd name="connsiteX3" fmla="*/ 88036 w 90009"/>
                  <a:gd name="connsiteY3" fmla="*/ 0 h 33312"/>
                </a:gdLst>
                <a:ahLst/>
                <a:cxnLst>
                  <a:cxn ang="0">
                    <a:pos x="connsiteX0" y="connsiteY0"/>
                  </a:cxn>
                  <a:cxn ang="0">
                    <a:pos x="connsiteX1" y="connsiteY1"/>
                  </a:cxn>
                  <a:cxn ang="0">
                    <a:pos x="connsiteX2" y="connsiteY2"/>
                  </a:cxn>
                  <a:cxn ang="0">
                    <a:pos x="connsiteX3" y="connsiteY3"/>
                  </a:cxn>
                </a:cxnLst>
                <a:rect l="l" t="t" r="r" b="b"/>
                <a:pathLst>
                  <a:path w="90009" h="33312">
                    <a:moveTo>
                      <a:pt x="90010" y="5383"/>
                    </a:moveTo>
                    <a:lnTo>
                      <a:pt x="2033" y="33313"/>
                    </a:lnTo>
                    <a:lnTo>
                      <a:pt x="0" y="27870"/>
                    </a:lnTo>
                    <a:lnTo>
                      <a:pt x="88036" y="0"/>
                    </a:lnTo>
                    <a:close/>
                  </a:path>
                </a:pathLst>
              </a:custGeom>
              <a:grpFill/>
              <a:ln w="6350" cap="flat">
                <a:solidFill>
                  <a:schemeClr val="bg1">
                    <a:alpha val="80000"/>
                  </a:schemeClr>
                </a:solidFill>
                <a:prstDash val="solid"/>
                <a:miter/>
              </a:ln>
            </p:spPr>
            <p:txBody>
              <a:bodyPr rtlCol="0" anchor="ctr"/>
              <a:lstStyle/>
              <a:p>
                <a:endParaRPr lang="en-GB"/>
              </a:p>
            </p:txBody>
          </p:sp>
          <p:sp>
            <p:nvSpPr>
              <p:cNvPr id="9247" name="Vrije vorm: vorm 9246">
                <a:extLst>
                  <a:ext uri="{FF2B5EF4-FFF2-40B4-BE49-F238E27FC236}">
                    <a16:creationId xmlns:a16="http://schemas.microsoft.com/office/drawing/2014/main" id="{3BA40376-4605-4F5D-A1AC-64E61DBEA12D}"/>
                  </a:ext>
                </a:extLst>
              </p:cNvPr>
              <p:cNvSpPr/>
              <p:nvPr/>
            </p:nvSpPr>
            <p:spPr>
              <a:xfrm>
                <a:off x="4657327" y="1699223"/>
                <a:ext cx="119494" cy="42702"/>
              </a:xfrm>
              <a:custGeom>
                <a:avLst/>
                <a:gdLst>
                  <a:gd name="connsiteX0" fmla="*/ 119495 w 119494"/>
                  <a:gd name="connsiteY0" fmla="*/ 5442 h 42702"/>
                  <a:gd name="connsiteX1" fmla="*/ 1973 w 119494"/>
                  <a:gd name="connsiteY1" fmla="*/ 42702 h 42702"/>
                  <a:gd name="connsiteX2" fmla="*/ 0 w 119494"/>
                  <a:gd name="connsiteY2" fmla="*/ 37260 h 42702"/>
                  <a:gd name="connsiteX3" fmla="*/ 117521 w 119494"/>
                  <a:gd name="connsiteY3" fmla="*/ 0 h 42702"/>
                </a:gdLst>
                <a:ahLst/>
                <a:cxnLst>
                  <a:cxn ang="0">
                    <a:pos x="connsiteX0" y="connsiteY0"/>
                  </a:cxn>
                  <a:cxn ang="0">
                    <a:pos x="connsiteX1" y="connsiteY1"/>
                  </a:cxn>
                  <a:cxn ang="0">
                    <a:pos x="connsiteX2" y="connsiteY2"/>
                  </a:cxn>
                  <a:cxn ang="0">
                    <a:pos x="connsiteX3" y="connsiteY3"/>
                  </a:cxn>
                </a:cxnLst>
                <a:rect l="l" t="t" r="r" b="b"/>
                <a:pathLst>
                  <a:path w="119494" h="42702">
                    <a:moveTo>
                      <a:pt x="119495" y="5442"/>
                    </a:moveTo>
                    <a:lnTo>
                      <a:pt x="1973" y="42702"/>
                    </a:lnTo>
                    <a:lnTo>
                      <a:pt x="0" y="37260"/>
                    </a:lnTo>
                    <a:lnTo>
                      <a:pt x="117521" y="0"/>
                    </a:lnTo>
                    <a:close/>
                  </a:path>
                </a:pathLst>
              </a:custGeom>
              <a:grpFill/>
              <a:ln w="6350" cap="flat">
                <a:solidFill>
                  <a:schemeClr val="bg1">
                    <a:alpha val="80000"/>
                  </a:schemeClr>
                </a:solidFill>
                <a:prstDash val="solid"/>
                <a:miter/>
              </a:ln>
            </p:spPr>
            <p:txBody>
              <a:bodyPr rtlCol="0" anchor="ctr"/>
              <a:lstStyle/>
              <a:p>
                <a:endParaRPr lang="en-GB"/>
              </a:p>
            </p:txBody>
          </p:sp>
          <p:sp>
            <p:nvSpPr>
              <p:cNvPr id="9248" name="Vrije vorm: vorm 9247">
                <a:extLst>
                  <a:ext uri="{FF2B5EF4-FFF2-40B4-BE49-F238E27FC236}">
                    <a16:creationId xmlns:a16="http://schemas.microsoft.com/office/drawing/2014/main" id="{A7F3BC0D-03C7-4255-884F-2310DC748B2D}"/>
                  </a:ext>
                </a:extLst>
              </p:cNvPr>
              <p:cNvSpPr/>
              <p:nvPr/>
            </p:nvSpPr>
            <p:spPr>
              <a:xfrm>
                <a:off x="4661573" y="1730382"/>
                <a:ext cx="57654" cy="23085"/>
              </a:xfrm>
              <a:custGeom>
                <a:avLst/>
                <a:gdLst>
                  <a:gd name="connsiteX0" fmla="*/ 57654 w 57654"/>
                  <a:gd name="connsiteY0" fmla="*/ 5442 h 23085"/>
                  <a:gd name="connsiteX1" fmla="*/ 1974 w 57654"/>
                  <a:gd name="connsiteY1" fmla="*/ 23086 h 23085"/>
                  <a:gd name="connsiteX2" fmla="*/ 0 w 57654"/>
                  <a:gd name="connsiteY2" fmla="*/ 17643 h 23085"/>
                  <a:gd name="connsiteX3" fmla="*/ 55621 w 57654"/>
                  <a:gd name="connsiteY3" fmla="*/ 0 h 23085"/>
                </a:gdLst>
                <a:ahLst/>
                <a:cxnLst>
                  <a:cxn ang="0">
                    <a:pos x="connsiteX0" y="connsiteY0"/>
                  </a:cxn>
                  <a:cxn ang="0">
                    <a:pos x="connsiteX1" y="connsiteY1"/>
                  </a:cxn>
                  <a:cxn ang="0">
                    <a:pos x="connsiteX2" y="connsiteY2"/>
                  </a:cxn>
                  <a:cxn ang="0">
                    <a:pos x="connsiteX3" y="connsiteY3"/>
                  </a:cxn>
                </a:cxnLst>
                <a:rect l="l" t="t" r="r" b="b"/>
                <a:pathLst>
                  <a:path w="57654" h="23085">
                    <a:moveTo>
                      <a:pt x="57654" y="5442"/>
                    </a:moveTo>
                    <a:lnTo>
                      <a:pt x="1974" y="23086"/>
                    </a:lnTo>
                    <a:lnTo>
                      <a:pt x="0" y="17643"/>
                    </a:lnTo>
                    <a:lnTo>
                      <a:pt x="55621" y="0"/>
                    </a:lnTo>
                    <a:close/>
                  </a:path>
                </a:pathLst>
              </a:custGeom>
              <a:grpFill/>
              <a:ln w="6350" cap="flat">
                <a:solidFill>
                  <a:schemeClr val="bg1">
                    <a:alpha val="80000"/>
                  </a:schemeClr>
                </a:solidFill>
                <a:prstDash val="solid"/>
                <a:miter/>
              </a:ln>
            </p:spPr>
            <p:txBody>
              <a:bodyPr rtlCol="0" anchor="ctr"/>
              <a:lstStyle/>
              <a:p>
                <a:endParaRPr lang="en-GB"/>
              </a:p>
            </p:txBody>
          </p:sp>
          <p:grpSp>
            <p:nvGrpSpPr>
              <p:cNvPr id="9249" name="Graphic 3">
                <a:extLst>
                  <a:ext uri="{FF2B5EF4-FFF2-40B4-BE49-F238E27FC236}">
                    <a16:creationId xmlns:a16="http://schemas.microsoft.com/office/drawing/2014/main" id="{6DCC2C5A-5DBC-484B-9C7F-B446601968DF}"/>
                  </a:ext>
                </a:extLst>
              </p:cNvPr>
              <p:cNvGrpSpPr/>
              <p:nvPr/>
            </p:nvGrpSpPr>
            <p:grpSpPr>
              <a:xfrm>
                <a:off x="4496875" y="1692322"/>
                <a:ext cx="148010" cy="149734"/>
                <a:chOff x="4496875" y="1692322"/>
                <a:chExt cx="148010" cy="149734"/>
              </a:xfrm>
              <a:grpFill/>
            </p:grpSpPr>
            <p:sp>
              <p:nvSpPr>
                <p:cNvPr id="9250" name="Vrije vorm: vorm 9249">
                  <a:extLst>
                    <a:ext uri="{FF2B5EF4-FFF2-40B4-BE49-F238E27FC236}">
                      <a16:creationId xmlns:a16="http://schemas.microsoft.com/office/drawing/2014/main" id="{550B3480-E68F-4DA3-9B04-6E9CBBCC0A70}"/>
                    </a:ext>
                  </a:extLst>
                </p:cNvPr>
                <p:cNvSpPr/>
                <p:nvPr/>
              </p:nvSpPr>
              <p:spPr>
                <a:xfrm>
                  <a:off x="4496875" y="1738815"/>
                  <a:ext cx="98551" cy="103241"/>
                </a:xfrm>
                <a:custGeom>
                  <a:avLst/>
                  <a:gdLst>
                    <a:gd name="connsiteX0" fmla="*/ 84557 w 98551"/>
                    <a:gd name="connsiteY0" fmla="*/ 62798 h 103241"/>
                    <a:gd name="connsiteX1" fmla="*/ 41196 w 98551"/>
                    <a:gd name="connsiteY1" fmla="*/ 38815 h 103241"/>
                    <a:gd name="connsiteX2" fmla="*/ 40479 w 98551"/>
                    <a:gd name="connsiteY2" fmla="*/ 16028 h 103241"/>
                    <a:gd name="connsiteX3" fmla="*/ 3936 w 98551"/>
                    <a:gd name="connsiteY3" fmla="*/ 0 h 103241"/>
                    <a:gd name="connsiteX4" fmla="*/ 4774 w 98551"/>
                    <a:gd name="connsiteY4" fmla="*/ 50358 h 103241"/>
                    <a:gd name="connsiteX5" fmla="*/ 98551 w 98551"/>
                    <a:gd name="connsiteY5" fmla="*/ 100416 h 103241"/>
                    <a:gd name="connsiteX6" fmla="*/ 84557 w 98551"/>
                    <a:gd name="connsiteY6" fmla="*/ 62798 h 10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51" h="103241">
                      <a:moveTo>
                        <a:pt x="84557" y="62798"/>
                      </a:moveTo>
                      <a:cubicBezTo>
                        <a:pt x="66914" y="67283"/>
                        <a:pt x="47835" y="56936"/>
                        <a:pt x="41196" y="38815"/>
                      </a:cubicBezTo>
                      <a:cubicBezTo>
                        <a:pt x="38385" y="31040"/>
                        <a:pt x="38325" y="23086"/>
                        <a:pt x="40479" y="16028"/>
                      </a:cubicBezTo>
                      <a:lnTo>
                        <a:pt x="3936" y="0"/>
                      </a:lnTo>
                      <a:cubicBezTo>
                        <a:pt x="-1386" y="15490"/>
                        <a:pt x="-1506" y="33133"/>
                        <a:pt x="4774" y="50358"/>
                      </a:cubicBezTo>
                      <a:cubicBezTo>
                        <a:pt x="19008" y="89352"/>
                        <a:pt x="60753" y="111421"/>
                        <a:pt x="98551" y="100416"/>
                      </a:cubicBezTo>
                      <a:lnTo>
                        <a:pt x="84557" y="62798"/>
                      </a:lnTo>
                      <a:close/>
                    </a:path>
                  </a:pathLst>
                </a:custGeom>
                <a:grpFill/>
                <a:ln w="6350" cap="flat">
                  <a:solidFill>
                    <a:schemeClr val="bg1">
                      <a:alpha val="80000"/>
                    </a:schemeClr>
                  </a:solidFill>
                  <a:prstDash val="solid"/>
                  <a:miter/>
                </a:ln>
              </p:spPr>
              <p:txBody>
                <a:bodyPr rtlCol="0" anchor="ctr"/>
                <a:lstStyle/>
                <a:p>
                  <a:endParaRPr lang="en-GB"/>
                </a:p>
              </p:txBody>
            </p:sp>
            <p:sp>
              <p:nvSpPr>
                <p:cNvPr id="9251" name="Vrije vorm: vorm 9250">
                  <a:extLst>
                    <a:ext uri="{FF2B5EF4-FFF2-40B4-BE49-F238E27FC236}">
                      <a16:creationId xmlns:a16="http://schemas.microsoft.com/office/drawing/2014/main" id="{6F39760A-7DB8-4F71-A8EC-9B272534E0D1}"/>
                    </a:ext>
                  </a:extLst>
                </p:cNvPr>
                <p:cNvSpPr/>
                <p:nvPr/>
              </p:nvSpPr>
              <p:spPr>
                <a:xfrm>
                  <a:off x="4502307" y="1692322"/>
                  <a:ext cx="103944" cy="58514"/>
                </a:xfrm>
                <a:custGeom>
                  <a:avLst/>
                  <a:gdLst>
                    <a:gd name="connsiteX0" fmla="*/ 36542 w 103944"/>
                    <a:gd name="connsiteY0" fmla="*/ 58514 h 58514"/>
                    <a:gd name="connsiteX1" fmla="*/ 56219 w 103944"/>
                    <a:gd name="connsiteY1" fmla="*/ 40991 h 58514"/>
                    <a:gd name="connsiteX2" fmla="*/ 84328 w 103944"/>
                    <a:gd name="connsiteY2" fmla="*/ 44280 h 58514"/>
                    <a:gd name="connsiteX3" fmla="*/ 103945 w 103944"/>
                    <a:gd name="connsiteY3" fmla="*/ 11506 h 58514"/>
                    <a:gd name="connsiteX4" fmla="*/ 42463 w 103944"/>
                    <a:gd name="connsiteY4" fmla="*/ 3312 h 58514"/>
                    <a:gd name="connsiteX5" fmla="*/ 0 w 103944"/>
                    <a:gd name="connsiteY5" fmla="*/ 42426 h 58514"/>
                    <a:gd name="connsiteX6" fmla="*/ 36542 w 103944"/>
                    <a:gd name="connsiteY6" fmla="*/ 58514 h 58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44" h="58514">
                      <a:moveTo>
                        <a:pt x="36542" y="58514"/>
                      </a:moveTo>
                      <a:cubicBezTo>
                        <a:pt x="40191" y="50380"/>
                        <a:pt x="47068" y="43921"/>
                        <a:pt x="56219" y="40991"/>
                      </a:cubicBezTo>
                      <a:cubicBezTo>
                        <a:pt x="65788" y="37941"/>
                        <a:pt x="75895" y="39496"/>
                        <a:pt x="84328" y="44280"/>
                      </a:cubicBezTo>
                      <a:lnTo>
                        <a:pt x="103945" y="11506"/>
                      </a:lnTo>
                      <a:cubicBezTo>
                        <a:pt x="85704" y="322"/>
                        <a:pt x="63456" y="-3326"/>
                        <a:pt x="42463" y="3312"/>
                      </a:cubicBezTo>
                      <a:cubicBezTo>
                        <a:pt x="22368" y="9712"/>
                        <a:pt x="7536" y="24305"/>
                        <a:pt x="0" y="42426"/>
                      </a:cubicBezTo>
                      <a:lnTo>
                        <a:pt x="36542" y="58514"/>
                      </a:lnTo>
                      <a:close/>
                    </a:path>
                  </a:pathLst>
                </a:custGeom>
                <a:grpFill/>
                <a:ln w="6350" cap="flat">
                  <a:solidFill>
                    <a:schemeClr val="bg1">
                      <a:alpha val="80000"/>
                    </a:schemeClr>
                  </a:solidFill>
                  <a:prstDash val="solid"/>
                  <a:miter/>
                </a:ln>
              </p:spPr>
              <p:txBody>
                <a:bodyPr rtlCol="0" anchor="ctr"/>
                <a:lstStyle/>
                <a:p>
                  <a:endParaRPr lang="en-GB"/>
                </a:p>
              </p:txBody>
            </p:sp>
            <p:sp>
              <p:nvSpPr>
                <p:cNvPr id="9252" name="Vrije vorm: vorm 9251">
                  <a:extLst>
                    <a:ext uri="{FF2B5EF4-FFF2-40B4-BE49-F238E27FC236}">
                      <a16:creationId xmlns:a16="http://schemas.microsoft.com/office/drawing/2014/main" id="{83E4A7BB-CB60-4E21-853D-3CF81987482A}"/>
                    </a:ext>
                  </a:extLst>
                </p:cNvPr>
                <p:cNvSpPr/>
                <p:nvPr/>
              </p:nvSpPr>
              <p:spPr>
                <a:xfrm>
                  <a:off x="4585499" y="1706400"/>
                  <a:ext cx="59387" cy="131575"/>
                </a:xfrm>
                <a:custGeom>
                  <a:avLst/>
                  <a:gdLst>
                    <a:gd name="connsiteX0" fmla="*/ 4844 w 59387"/>
                    <a:gd name="connsiteY0" fmla="*/ 32715 h 131575"/>
                    <a:gd name="connsiteX1" fmla="*/ 18181 w 59387"/>
                    <a:gd name="connsiteY1" fmla="*/ 50477 h 131575"/>
                    <a:gd name="connsiteX2" fmla="*/ 0 w 59387"/>
                    <a:gd name="connsiteY2" fmla="*/ 93957 h 131575"/>
                    <a:gd name="connsiteX3" fmla="*/ 13995 w 59387"/>
                    <a:gd name="connsiteY3" fmla="*/ 131576 h 131575"/>
                    <a:gd name="connsiteX4" fmla="*/ 54604 w 59387"/>
                    <a:gd name="connsiteY4" fmla="*/ 38934 h 131575"/>
                    <a:gd name="connsiteX5" fmla="*/ 24461 w 59387"/>
                    <a:gd name="connsiteY5" fmla="*/ 0 h 131575"/>
                    <a:gd name="connsiteX6" fmla="*/ 4844 w 59387"/>
                    <a:gd name="connsiteY6" fmla="*/ 32715 h 13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387" h="131575">
                      <a:moveTo>
                        <a:pt x="4844" y="32715"/>
                      </a:moveTo>
                      <a:cubicBezTo>
                        <a:pt x="10705" y="37021"/>
                        <a:pt x="15490" y="43121"/>
                        <a:pt x="18181" y="50477"/>
                      </a:cubicBezTo>
                      <a:cubicBezTo>
                        <a:pt x="24760" y="68419"/>
                        <a:pt x="16567" y="87319"/>
                        <a:pt x="0" y="93957"/>
                      </a:cubicBezTo>
                      <a:lnTo>
                        <a:pt x="13995" y="131576"/>
                      </a:lnTo>
                      <a:cubicBezTo>
                        <a:pt x="50537" y="118478"/>
                        <a:pt x="68718" y="77570"/>
                        <a:pt x="54604" y="38934"/>
                      </a:cubicBezTo>
                      <a:cubicBezTo>
                        <a:pt x="48623" y="22547"/>
                        <a:pt x="37798" y="9210"/>
                        <a:pt x="24461" y="0"/>
                      </a:cubicBezTo>
                      <a:lnTo>
                        <a:pt x="4844" y="32715"/>
                      </a:lnTo>
                      <a:close/>
                    </a:path>
                  </a:pathLst>
                </a:custGeom>
                <a:grpFill/>
                <a:ln w="6350" cap="flat">
                  <a:solidFill>
                    <a:schemeClr val="bg1">
                      <a:alpha val="80000"/>
                    </a:schemeClr>
                  </a:solidFill>
                  <a:prstDash val="solid"/>
                  <a:miter/>
                </a:ln>
              </p:spPr>
              <p:txBody>
                <a:bodyPr rtlCol="0" anchor="ctr"/>
                <a:lstStyle/>
                <a:p>
                  <a:endParaRPr lang="en-GB"/>
                </a:p>
              </p:txBody>
            </p:sp>
          </p:grpSp>
        </p:grpSp>
        <p:grpSp>
          <p:nvGrpSpPr>
            <p:cNvPr id="8974" name="Graphic 3">
              <a:extLst>
                <a:ext uri="{FF2B5EF4-FFF2-40B4-BE49-F238E27FC236}">
                  <a16:creationId xmlns:a16="http://schemas.microsoft.com/office/drawing/2014/main" id="{CEA053C4-8AAD-457F-BBB0-621F1E88F4FA}"/>
                </a:ext>
              </a:extLst>
            </p:cNvPr>
            <p:cNvGrpSpPr/>
            <p:nvPr/>
          </p:nvGrpSpPr>
          <p:grpSpPr>
            <a:xfrm>
              <a:off x="4797541" y="922047"/>
              <a:ext cx="314081" cy="205179"/>
              <a:chOff x="4797541" y="922047"/>
              <a:chExt cx="314081" cy="205179"/>
            </a:xfrm>
            <a:grpFill/>
          </p:grpSpPr>
          <p:sp>
            <p:nvSpPr>
              <p:cNvPr id="9230" name="Vrije vorm: vorm 9229">
                <a:extLst>
                  <a:ext uri="{FF2B5EF4-FFF2-40B4-BE49-F238E27FC236}">
                    <a16:creationId xmlns:a16="http://schemas.microsoft.com/office/drawing/2014/main" id="{D9517147-54E5-488B-A387-F0650BC2FC1E}"/>
                  </a:ext>
                </a:extLst>
              </p:cNvPr>
              <p:cNvSpPr/>
              <p:nvPr/>
            </p:nvSpPr>
            <p:spPr>
              <a:xfrm>
                <a:off x="4821139" y="995797"/>
                <a:ext cx="290423" cy="131429"/>
              </a:xfrm>
              <a:custGeom>
                <a:avLst/>
                <a:gdLst>
                  <a:gd name="connsiteX0" fmla="*/ 0 w 290423"/>
                  <a:gd name="connsiteY0" fmla="*/ 58824 h 131429"/>
                  <a:gd name="connsiteX1" fmla="*/ 15371 w 290423"/>
                  <a:gd name="connsiteY1" fmla="*/ 50809 h 131429"/>
                  <a:gd name="connsiteX2" fmla="*/ 62738 w 290423"/>
                  <a:gd name="connsiteY2" fmla="*/ 85079 h 131429"/>
                  <a:gd name="connsiteX3" fmla="*/ 74879 w 290423"/>
                  <a:gd name="connsiteY3" fmla="*/ 58525 h 131429"/>
                  <a:gd name="connsiteX4" fmla="*/ 97366 w 290423"/>
                  <a:gd name="connsiteY4" fmla="*/ 59123 h 131429"/>
                  <a:gd name="connsiteX5" fmla="*/ 147186 w 290423"/>
                  <a:gd name="connsiteY5" fmla="*/ 9363 h 131429"/>
                  <a:gd name="connsiteX6" fmla="*/ 202089 w 290423"/>
                  <a:gd name="connsiteY6" fmla="*/ 44111 h 131429"/>
                  <a:gd name="connsiteX7" fmla="*/ 214947 w 290423"/>
                  <a:gd name="connsiteY7" fmla="*/ 29877 h 131429"/>
                  <a:gd name="connsiteX8" fmla="*/ 235760 w 290423"/>
                  <a:gd name="connsiteY8" fmla="*/ 36097 h 131429"/>
                  <a:gd name="connsiteX9" fmla="*/ 249037 w 290423"/>
                  <a:gd name="connsiteY9" fmla="*/ 153 h 131429"/>
                  <a:gd name="connsiteX10" fmla="*/ 257650 w 290423"/>
                  <a:gd name="connsiteY10" fmla="*/ 2605 h 131429"/>
                  <a:gd name="connsiteX11" fmla="*/ 290424 w 290423"/>
                  <a:gd name="connsiteY11" fmla="*/ 85318 h 131429"/>
                  <a:gd name="connsiteX12" fmla="*/ 28708 w 290423"/>
                  <a:gd name="connsiteY12" fmla="*/ 131430 h 131429"/>
                  <a:gd name="connsiteX13" fmla="*/ 0 w 290423"/>
                  <a:gd name="connsiteY13" fmla="*/ 58824 h 13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423" h="131429">
                    <a:moveTo>
                      <a:pt x="0" y="58824"/>
                    </a:moveTo>
                    <a:cubicBezTo>
                      <a:pt x="0" y="58824"/>
                      <a:pt x="1256" y="50510"/>
                      <a:pt x="15371" y="50809"/>
                    </a:cubicBezTo>
                    <a:cubicBezTo>
                      <a:pt x="31817" y="51108"/>
                      <a:pt x="51135" y="87112"/>
                      <a:pt x="62738" y="85079"/>
                    </a:cubicBezTo>
                    <a:cubicBezTo>
                      <a:pt x="74341" y="83045"/>
                      <a:pt x="68121" y="59721"/>
                      <a:pt x="74879" y="58525"/>
                    </a:cubicBezTo>
                    <a:cubicBezTo>
                      <a:pt x="81637" y="57328"/>
                      <a:pt x="84986" y="61276"/>
                      <a:pt x="97366" y="59123"/>
                    </a:cubicBezTo>
                    <a:cubicBezTo>
                      <a:pt x="109746" y="56970"/>
                      <a:pt x="128227" y="12712"/>
                      <a:pt x="147186" y="9363"/>
                    </a:cubicBezTo>
                    <a:cubicBezTo>
                      <a:pt x="166145" y="6014"/>
                      <a:pt x="195331" y="45307"/>
                      <a:pt x="202089" y="44111"/>
                    </a:cubicBezTo>
                    <a:cubicBezTo>
                      <a:pt x="208847" y="42915"/>
                      <a:pt x="208548" y="31013"/>
                      <a:pt x="214947" y="29877"/>
                    </a:cubicBezTo>
                    <a:cubicBezTo>
                      <a:pt x="221406" y="28741"/>
                      <a:pt x="228165" y="37472"/>
                      <a:pt x="235760" y="36097"/>
                    </a:cubicBezTo>
                    <a:cubicBezTo>
                      <a:pt x="243356" y="34781"/>
                      <a:pt x="243954" y="1050"/>
                      <a:pt x="249037" y="153"/>
                    </a:cubicBezTo>
                    <a:cubicBezTo>
                      <a:pt x="254121" y="-744"/>
                      <a:pt x="257650" y="2605"/>
                      <a:pt x="257650" y="2605"/>
                    </a:cubicBezTo>
                    <a:lnTo>
                      <a:pt x="290424" y="85318"/>
                    </a:lnTo>
                    <a:lnTo>
                      <a:pt x="28708" y="131430"/>
                    </a:lnTo>
                    <a:lnTo>
                      <a:pt x="0" y="58824"/>
                    </a:lnTo>
                    <a:close/>
                  </a:path>
                </a:pathLst>
              </a:custGeom>
              <a:grpFill/>
              <a:ln w="6350" cap="flat">
                <a:solidFill>
                  <a:schemeClr val="bg1">
                    <a:alpha val="80000"/>
                  </a:schemeClr>
                </a:solidFill>
                <a:prstDash val="solid"/>
                <a:miter/>
              </a:ln>
            </p:spPr>
            <p:txBody>
              <a:bodyPr rtlCol="0" anchor="ctr"/>
              <a:lstStyle/>
              <a:p>
                <a:endParaRPr lang="en-GB"/>
              </a:p>
            </p:txBody>
          </p:sp>
          <p:sp>
            <p:nvSpPr>
              <p:cNvPr id="9231" name="Vrije vorm: vorm 9230">
                <a:extLst>
                  <a:ext uri="{FF2B5EF4-FFF2-40B4-BE49-F238E27FC236}">
                    <a16:creationId xmlns:a16="http://schemas.microsoft.com/office/drawing/2014/main" id="{134F0D18-D783-43C3-8B21-0AFE0A7D4117}"/>
                  </a:ext>
                </a:extLst>
              </p:cNvPr>
              <p:cNvSpPr/>
              <p:nvPr/>
            </p:nvSpPr>
            <p:spPr>
              <a:xfrm>
                <a:off x="4825983" y="980784"/>
                <a:ext cx="285639" cy="146442"/>
              </a:xfrm>
              <a:custGeom>
                <a:avLst/>
                <a:gdLst>
                  <a:gd name="connsiteX0" fmla="*/ 261597 w 285639"/>
                  <a:gd name="connsiteY0" fmla="*/ 39687 h 146442"/>
                  <a:gd name="connsiteX1" fmla="*/ 210522 w 285639"/>
                  <a:gd name="connsiteY1" fmla="*/ 35 h 146442"/>
                  <a:gd name="connsiteX2" fmla="*/ 175235 w 285639"/>
                  <a:gd name="connsiteY2" fmla="*/ 45249 h 146442"/>
                  <a:gd name="connsiteX3" fmla="*/ 114531 w 285639"/>
                  <a:gd name="connsiteY3" fmla="*/ 31613 h 146442"/>
                  <a:gd name="connsiteX4" fmla="*/ 81458 w 285639"/>
                  <a:gd name="connsiteY4" fmla="*/ 84243 h 146442"/>
                  <a:gd name="connsiteX5" fmla="*/ 46112 w 285639"/>
                  <a:gd name="connsiteY5" fmla="*/ 76169 h 146442"/>
                  <a:gd name="connsiteX6" fmla="*/ 0 w 285639"/>
                  <a:gd name="connsiteY6" fmla="*/ 86157 h 146442"/>
                  <a:gd name="connsiteX7" fmla="*/ 23923 w 285639"/>
                  <a:gd name="connsiteY7" fmla="*/ 146443 h 146442"/>
                  <a:gd name="connsiteX8" fmla="*/ 285639 w 285639"/>
                  <a:gd name="connsiteY8" fmla="*/ 100332 h 146442"/>
                  <a:gd name="connsiteX9" fmla="*/ 261597 w 285639"/>
                  <a:gd name="connsiteY9" fmla="*/ 39687 h 14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639" h="146442">
                    <a:moveTo>
                      <a:pt x="261597" y="39687"/>
                    </a:moveTo>
                    <a:cubicBezTo>
                      <a:pt x="248260" y="42019"/>
                      <a:pt x="218656" y="-1401"/>
                      <a:pt x="210522" y="35"/>
                    </a:cubicBezTo>
                    <a:cubicBezTo>
                      <a:pt x="202328" y="1470"/>
                      <a:pt x="208488" y="39448"/>
                      <a:pt x="175235" y="45249"/>
                    </a:cubicBezTo>
                    <a:cubicBezTo>
                      <a:pt x="156037" y="48658"/>
                      <a:pt x="133908" y="28204"/>
                      <a:pt x="114531" y="31613"/>
                    </a:cubicBezTo>
                    <a:cubicBezTo>
                      <a:pt x="80620" y="37594"/>
                      <a:pt x="101672" y="80655"/>
                      <a:pt x="81458" y="84243"/>
                    </a:cubicBezTo>
                    <a:cubicBezTo>
                      <a:pt x="72726" y="85798"/>
                      <a:pt x="62678" y="73239"/>
                      <a:pt x="46112" y="76169"/>
                    </a:cubicBezTo>
                    <a:cubicBezTo>
                      <a:pt x="25658" y="79758"/>
                      <a:pt x="24282" y="101408"/>
                      <a:pt x="0" y="86157"/>
                    </a:cubicBezTo>
                    <a:lnTo>
                      <a:pt x="23923" y="146443"/>
                    </a:lnTo>
                    <a:lnTo>
                      <a:pt x="285639" y="100332"/>
                    </a:lnTo>
                    <a:lnTo>
                      <a:pt x="261597" y="39687"/>
                    </a:lnTo>
                    <a:close/>
                  </a:path>
                </a:pathLst>
              </a:custGeom>
              <a:grpFill/>
              <a:ln w="6350" cap="flat">
                <a:solidFill>
                  <a:schemeClr val="bg1">
                    <a:alpha val="80000"/>
                  </a:schemeClr>
                </a:solidFill>
                <a:prstDash val="solid"/>
                <a:miter/>
              </a:ln>
            </p:spPr>
            <p:txBody>
              <a:bodyPr rtlCol="0" anchor="ctr"/>
              <a:lstStyle/>
              <a:p>
                <a:endParaRPr lang="en-GB"/>
              </a:p>
            </p:txBody>
          </p:sp>
          <p:sp>
            <p:nvSpPr>
              <p:cNvPr id="9232" name="Vrije vorm: vorm 9231">
                <a:extLst>
                  <a:ext uri="{FF2B5EF4-FFF2-40B4-BE49-F238E27FC236}">
                    <a16:creationId xmlns:a16="http://schemas.microsoft.com/office/drawing/2014/main" id="{4EF978FA-A674-455B-9748-EA6E0F02C2B9}"/>
                  </a:ext>
                </a:extLst>
              </p:cNvPr>
              <p:cNvSpPr/>
              <p:nvPr/>
            </p:nvSpPr>
            <p:spPr>
              <a:xfrm>
                <a:off x="4811630" y="1007515"/>
                <a:ext cx="299992" cy="119711"/>
              </a:xfrm>
              <a:custGeom>
                <a:avLst/>
                <a:gdLst>
                  <a:gd name="connsiteX0" fmla="*/ 0 w 299992"/>
                  <a:gd name="connsiteY0" fmla="*/ 23243 h 119711"/>
                  <a:gd name="connsiteX1" fmla="*/ 71948 w 299992"/>
                  <a:gd name="connsiteY1" fmla="*/ 42261 h 119711"/>
                  <a:gd name="connsiteX2" fmla="*/ 94615 w 299992"/>
                  <a:gd name="connsiteY2" fmla="*/ 21867 h 119711"/>
                  <a:gd name="connsiteX3" fmla="*/ 168896 w 299992"/>
                  <a:gd name="connsiteY3" fmla="*/ 47166 h 119711"/>
                  <a:gd name="connsiteX4" fmla="*/ 194433 w 299992"/>
                  <a:gd name="connsiteY4" fmla="*/ 38 h 119711"/>
                  <a:gd name="connsiteX5" fmla="*/ 242698 w 299992"/>
                  <a:gd name="connsiteY5" fmla="*/ 47764 h 119711"/>
                  <a:gd name="connsiteX6" fmla="*/ 258845 w 299992"/>
                  <a:gd name="connsiteY6" fmla="*/ 29821 h 119711"/>
                  <a:gd name="connsiteX7" fmla="*/ 287254 w 299992"/>
                  <a:gd name="connsiteY7" fmla="*/ 41484 h 119711"/>
                  <a:gd name="connsiteX8" fmla="*/ 299993 w 299992"/>
                  <a:gd name="connsiteY8" fmla="*/ 73600 h 119711"/>
                  <a:gd name="connsiteX9" fmla="*/ 38276 w 299992"/>
                  <a:gd name="connsiteY9" fmla="*/ 119712 h 119711"/>
                  <a:gd name="connsiteX10" fmla="*/ 0 w 299992"/>
                  <a:gd name="connsiteY10" fmla="*/ 23243 h 119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9992" h="119711">
                    <a:moveTo>
                      <a:pt x="0" y="23243"/>
                    </a:moveTo>
                    <a:cubicBezTo>
                      <a:pt x="22787" y="19236"/>
                      <a:pt x="55740" y="45132"/>
                      <a:pt x="71948" y="42261"/>
                    </a:cubicBezTo>
                    <a:cubicBezTo>
                      <a:pt x="88156" y="39391"/>
                      <a:pt x="77690" y="24858"/>
                      <a:pt x="94615" y="21867"/>
                    </a:cubicBezTo>
                    <a:cubicBezTo>
                      <a:pt x="111540" y="18877"/>
                      <a:pt x="147245" y="50993"/>
                      <a:pt x="168896" y="47166"/>
                    </a:cubicBezTo>
                    <a:cubicBezTo>
                      <a:pt x="190606" y="43338"/>
                      <a:pt x="185283" y="1652"/>
                      <a:pt x="194433" y="38"/>
                    </a:cubicBezTo>
                    <a:cubicBezTo>
                      <a:pt x="203584" y="-1577"/>
                      <a:pt x="232829" y="49498"/>
                      <a:pt x="242698" y="47764"/>
                    </a:cubicBezTo>
                    <a:cubicBezTo>
                      <a:pt x="252566" y="46029"/>
                      <a:pt x="242100" y="32812"/>
                      <a:pt x="258845" y="29821"/>
                    </a:cubicBezTo>
                    <a:cubicBezTo>
                      <a:pt x="275592" y="26891"/>
                      <a:pt x="287254" y="41484"/>
                      <a:pt x="287254" y="41484"/>
                    </a:cubicBezTo>
                    <a:lnTo>
                      <a:pt x="299993" y="73600"/>
                    </a:lnTo>
                    <a:lnTo>
                      <a:pt x="38276" y="119712"/>
                    </a:lnTo>
                    <a:lnTo>
                      <a:pt x="0" y="23243"/>
                    </a:lnTo>
                    <a:close/>
                  </a:path>
                </a:pathLst>
              </a:custGeom>
              <a:grpFill/>
              <a:ln w="6350" cap="flat">
                <a:solidFill>
                  <a:schemeClr val="bg1">
                    <a:alpha val="80000"/>
                  </a:schemeClr>
                </a:solidFill>
                <a:prstDash val="solid"/>
                <a:miter/>
              </a:ln>
            </p:spPr>
            <p:txBody>
              <a:bodyPr rtlCol="0" anchor="ctr"/>
              <a:lstStyle/>
              <a:p>
                <a:endParaRPr lang="en-GB"/>
              </a:p>
            </p:txBody>
          </p:sp>
          <p:sp>
            <p:nvSpPr>
              <p:cNvPr id="9233" name="Vrije vorm: vorm 9232">
                <a:extLst>
                  <a:ext uri="{FF2B5EF4-FFF2-40B4-BE49-F238E27FC236}">
                    <a16:creationId xmlns:a16="http://schemas.microsoft.com/office/drawing/2014/main" id="{011B8508-7E8C-40EB-ABF7-78F6DBF131AF}"/>
                  </a:ext>
                </a:extLst>
              </p:cNvPr>
              <p:cNvSpPr/>
              <p:nvPr/>
            </p:nvSpPr>
            <p:spPr>
              <a:xfrm>
                <a:off x="4820840" y="995501"/>
                <a:ext cx="258367" cy="85698"/>
              </a:xfrm>
              <a:custGeom>
                <a:avLst/>
                <a:gdLst>
                  <a:gd name="connsiteX0" fmla="*/ 60047 w 258367"/>
                  <a:gd name="connsiteY0" fmla="*/ 85375 h 85698"/>
                  <a:gd name="connsiteX1" fmla="*/ 42045 w 258367"/>
                  <a:gd name="connsiteY1" fmla="*/ 70304 h 85698"/>
                  <a:gd name="connsiteX2" fmla="*/ 15909 w 258367"/>
                  <a:gd name="connsiteY2" fmla="*/ 51345 h 85698"/>
                  <a:gd name="connsiteX3" fmla="*/ 658 w 258367"/>
                  <a:gd name="connsiteY3" fmla="*/ 59299 h 85698"/>
                  <a:gd name="connsiteX4" fmla="*/ 0 w 258367"/>
                  <a:gd name="connsiteY4" fmla="*/ 58941 h 85698"/>
                  <a:gd name="connsiteX5" fmla="*/ 15550 w 258367"/>
                  <a:gd name="connsiteY5" fmla="*/ 50807 h 85698"/>
                  <a:gd name="connsiteX6" fmla="*/ 42583 w 258367"/>
                  <a:gd name="connsiteY6" fmla="*/ 70184 h 85698"/>
                  <a:gd name="connsiteX7" fmla="*/ 62917 w 258367"/>
                  <a:gd name="connsiteY7" fmla="*/ 85076 h 85698"/>
                  <a:gd name="connsiteX8" fmla="*/ 70991 w 258367"/>
                  <a:gd name="connsiteY8" fmla="*/ 69048 h 85698"/>
                  <a:gd name="connsiteX9" fmla="*/ 75058 w 258367"/>
                  <a:gd name="connsiteY9" fmla="*/ 58522 h 85698"/>
                  <a:gd name="connsiteX10" fmla="*/ 82893 w 258367"/>
                  <a:gd name="connsiteY10" fmla="*/ 58941 h 85698"/>
                  <a:gd name="connsiteX11" fmla="*/ 97546 w 258367"/>
                  <a:gd name="connsiteY11" fmla="*/ 59120 h 85698"/>
                  <a:gd name="connsiteX12" fmla="*/ 117222 w 258367"/>
                  <a:gd name="connsiteY12" fmla="*/ 38427 h 85698"/>
                  <a:gd name="connsiteX13" fmla="*/ 147365 w 258367"/>
                  <a:gd name="connsiteY13" fmla="*/ 9360 h 85698"/>
                  <a:gd name="connsiteX14" fmla="*/ 187436 w 258367"/>
                  <a:gd name="connsiteY14" fmla="*/ 32984 h 85698"/>
                  <a:gd name="connsiteX15" fmla="*/ 202268 w 258367"/>
                  <a:gd name="connsiteY15" fmla="*/ 44108 h 85698"/>
                  <a:gd name="connsiteX16" fmla="*/ 208787 w 258367"/>
                  <a:gd name="connsiteY16" fmla="*/ 36872 h 85698"/>
                  <a:gd name="connsiteX17" fmla="*/ 215127 w 258367"/>
                  <a:gd name="connsiteY17" fmla="*/ 29815 h 85698"/>
                  <a:gd name="connsiteX18" fmla="*/ 224935 w 258367"/>
                  <a:gd name="connsiteY18" fmla="*/ 32865 h 85698"/>
                  <a:gd name="connsiteX19" fmla="*/ 235940 w 258367"/>
                  <a:gd name="connsiteY19" fmla="*/ 36094 h 85698"/>
                  <a:gd name="connsiteX20" fmla="*/ 243954 w 258367"/>
                  <a:gd name="connsiteY20" fmla="*/ 15461 h 85698"/>
                  <a:gd name="connsiteX21" fmla="*/ 249276 w 258367"/>
                  <a:gd name="connsiteY21" fmla="*/ 150 h 85698"/>
                  <a:gd name="connsiteX22" fmla="*/ 258367 w 258367"/>
                  <a:gd name="connsiteY22" fmla="*/ 2841 h 85698"/>
                  <a:gd name="connsiteX23" fmla="*/ 257949 w 258367"/>
                  <a:gd name="connsiteY23" fmla="*/ 2961 h 85698"/>
                  <a:gd name="connsiteX24" fmla="*/ 249815 w 258367"/>
                  <a:gd name="connsiteY24" fmla="*/ 688 h 85698"/>
                  <a:gd name="connsiteX25" fmla="*/ 244672 w 258367"/>
                  <a:gd name="connsiteY25" fmla="*/ 15879 h 85698"/>
                  <a:gd name="connsiteX26" fmla="*/ 236538 w 258367"/>
                  <a:gd name="connsiteY26" fmla="*/ 36633 h 85698"/>
                  <a:gd name="connsiteX27" fmla="*/ 224995 w 258367"/>
                  <a:gd name="connsiteY27" fmla="*/ 33283 h 85698"/>
                  <a:gd name="connsiteX28" fmla="*/ 215725 w 258367"/>
                  <a:gd name="connsiteY28" fmla="*/ 30413 h 85698"/>
                  <a:gd name="connsiteX29" fmla="*/ 209565 w 258367"/>
                  <a:gd name="connsiteY29" fmla="*/ 37350 h 85698"/>
                  <a:gd name="connsiteX30" fmla="*/ 202866 w 258367"/>
                  <a:gd name="connsiteY30" fmla="*/ 44706 h 85698"/>
                  <a:gd name="connsiteX31" fmla="*/ 187137 w 258367"/>
                  <a:gd name="connsiteY31" fmla="*/ 33224 h 85698"/>
                  <a:gd name="connsiteX32" fmla="*/ 147963 w 258367"/>
                  <a:gd name="connsiteY32" fmla="*/ 9959 h 85698"/>
                  <a:gd name="connsiteX33" fmla="*/ 117940 w 258367"/>
                  <a:gd name="connsiteY33" fmla="*/ 38965 h 85698"/>
                  <a:gd name="connsiteX34" fmla="*/ 98144 w 258367"/>
                  <a:gd name="connsiteY34" fmla="*/ 59718 h 85698"/>
                  <a:gd name="connsiteX35" fmla="*/ 83311 w 258367"/>
                  <a:gd name="connsiteY35" fmla="*/ 59539 h 85698"/>
                  <a:gd name="connsiteX36" fmla="*/ 75656 w 258367"/>
                  <a:gd name="connsiteY36" fmla="*/ 59120 h 85698"/>
                  <a:gd name="connsiteX37" fmla="*/ 71769 w 258367"/>
                  <a:gd name="connsiteY37" fmla="*/ 69467 h 85698"/>
                  <a:gd name="connsiteX38" fmla="*/ 63515 w 258367"/>
                  <a:gd name="connsiteY38" fmla="*/ 85615 h 85698"/>
                  <a:gd name="connsiteX39" fmla="*/ 60047 w 258367"/>
                  <a:gd name="connsiteY39" fmla="*/ 85375 h 85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367" h="85698">
                    <a:moveTo>
                      <a:pt x="60047" y="85375"/>
                    </a:moveTo>
                    <a:cubicBezTo>
                      <a:pt x="54784" y="83820"/>
                      <a:pt x="48563" y="77242"/>
                      <a:pt x="42045" y="70304"/>
                    </a:cubicBezTo>
                    <a:cubicBezTo>
                      <a:pt x="33313" y="61094"/>
                      <a:pt x="24222" y="51525"/>
                      <a:pt x="15909" y="51345"/>
                    </a:cubicBezTo>
                    <a:cubicBezTo>
                      <a:pt x="2034" y="51106"/>
                      <a:pt x="658" y="59180"/>
                      <a:pt x="658" y="59299"/>
                    </a:cubicBezTo>
                    <a:lnTo>
                      <a:pt x="0" y="58941"/>
                    </a:lnTo>
                    <a:cubicBezTo>
                      <a:pt x="0" y="58881"/>
                      <a:pt x="1435" y="50568"/>
                      <a:pt x="15550" y="50807"/>
                    </a:cubicBezTo>
                    <a:cubicBezTo>
                      <a:pt x="24342" y="50986"/>
                      <a:pt x="34030" y="61153"/>
                      <a:pt x="42583" y="70184"/>
                    </a:cubicBezTo>
                    <a:cubicBezTo>
                      <a:pt x="50298" y="78318"/>
                      <a:pt x="57594" y="86033"/>
                      <a:pt x="62917" y="85076"/>
                    </a:cubicBezTo>
                    <a:cubicBezTo>
                      <a:pt x="69436" y="83940"/>
                      <a:pt x="70273" y="76045"/>
                      <a:pt x="70991" y="69048"/>
                    </a:cubicBezTo>
                    <a:cubicBezTo>
                      <a:pt x="71530" y="63665"/>
                      <a:pt x="72068" y="59060"/>
                      <a:pt x="75058" y="58522"/>
                    </a:cubicBezTo>
                    <a:cubicBezTo>
                      <a:pt x="77989" y="57984"/>
                      <a:pt x="80262" y="58462"/>
                      <a:pt x="82893" y="58941"/>
                    </a:cubicBezTo>
                    <a:cubicBezTo>
                      <a:pt x="86422" y="59598"/>
                      <a:pt x="90488" y="60376"/>
                      <a:pt x="97546" y="59120"/>
                    </a:cubicBezTo>
                    <a:cubicBezTo>
                      <a:pt x="102988" y="58163"/>
                      <a:pt x="109926" y="48594"/>
                      <a:pt x="117222" y="38427"/>
                    </a:cubicBezTo>
                    <a:cubicBezTo>
                      <a:pt x="126433" y="25688"/>
                      <a:pt x="136839" y="11214"/>
                      <a:pt x="147365" y="9360"/>
                    </a:cubicBezTo>
                    <a:cubicBezTo>
                      <a:pt x="159446" y="7207"/>
                      <a:pt x="175594" y="22099"/>
                      <a:pt x="187436" y="32984"/>
                    </a:cubicBezTo>
                    <a:cubicBezTo>
                      <a:pt x="194134" y="39144"/>
                      <a:pt x="199936" y="44527"/>
                      <a:pt x="202268" y="44108"/>
                    </a:cubicBezTo>
                    <a:cubicBezTo>
                      <a:pt x="205617" y="43510"/>
                      <a:pt x="207232" y="40161"/>
                      <a:pt x="208787" y="36872"/>
                    </a:cubicBezTo>
                    <a:cubicBezTo>
                      <a:pt x="210402" y="33523"/>
                      <a:pt x="211897" y="30413"/>
                      <a:pt x="215127" y="29815"/>
                    </a:cubicBezTo>
                    <a:cubicBezTo>
                      <a:pt x="218296" y="29276"/>
                      <a:pt x="221705" y="31070"/>
                      <a:pt x="224935" y="32865"/>
                    </a:cubicBezTo>
                    <a:cubicBezTo>
                      <a:pt x="228464" y="34778"/>
                      <a:pt x="232112" y="36752"/>
                      <a:pt x="235940" y="36094"/>
                    </a:cubicBezTo>
                    <a:cubicBezTo>
                      <a:pt x="240006" y="35377"/>
                      <a:pt x="242100" y="24791"/>
                      <a:pt x="243954" y="15461"/>
                    </a:cubicBezTo>
                    <a:cubicBezTo>
                      <a:pt x="245509" y="7447"/>
                      <a:pt x="246884" y="569"/>
                      <a:pt x="249276" y="150"/>
                    </a:cubicBezTo>
                    <a:cubicBezTo>
                      <a:pt x="254540" y="-747"/>
                      <a:pt x="258188" y="2662"/>
                      <a:pt x="258367" y="2841"/>
                    </a:cubicBezTo>
                    <a:lnTo>
                      <a:pt x="257949" y="2961"/>
                    </a:lnTo>
                    <a:cubicBezTo>
                      <a:pt x="257829" y="2841"/>
                      <a:pt x="254599" y="-149"/>
                      <a:pt x="249815" y="688"/>
                    </a:cubicBezTo>
                    <a:cubicBezTo>
                      <a:pt x="247602" y="1107"/>
                      <a:pt x="246167" y="8284"/>
                      <a:pt x="244672" y="15879"/>
                    </a:cubicBezTo>
                    <a:cubicBezTo>
                      <a:pt x="242818" y="25269"/>
                      <a:pt x="240784" y="35915"/>
                      <a:pt x="236538" y="36633"/>
                    </a:cubicBezTo>
                    <a:cubicBezTo>
                      <a:pt x="232471" y="37350"/>
                      <a:pt x="228643" y="35257"/>
                      <a:pt x="224995" y="33283"/>
                    </a:cubicBezTo>
                    <a:cubicBezTo>
                      <a:pt x="221765" y="31549"/>
                      <a:pt x="218715" y="29874"/>
                      <a:pt x="215725" y="30413"/>
                    </a:cubicBezTo>
                    <a:cubicBezTo>
                      <a:pt x="212615" y="30951"/>
                      <a:pt x="211060" y="34180"/>
                      <a:pt x="209565" y="37350"/>
                    </a:cubicBezTo>
                    <a:cubicBezTo>
                      <a:pt x="208010" y="40640"/>
                      <a:pt x="206335" y="44049"/>
                      <a:pt x="202866" y="44706"/>
                    </a:cubicBezTo>
                    <a:cubicBezTo>
                      <a:pt x="200115" y="45185"/>
                      <a:pt x="194433" y="39922"/>
                      <a:pt x="187137" y="33224"/>
                    </a:cubicBezTo>
                    <a:cubicBezTo>
                      <a:pt x="175534" y="22518"/>
                      <a:pt x="159626" y="7925"/>
                      <a:pt x="147963" y="9959"/>
                    </a:cubicBezTo>
                    <a:cubicBezTo>
                      <a:pt x="137497" y="11813"/>
                      <a:pt x="127150" y="26226"/>
                      <a:pt x="117940" y="38965"/>
                    </a:cubicBezTo>
                    <a:cubicBezTo>
                      <a:pt x="110285" y="49551"/>
                      <a:pt x="103706" y="58761"/>
                      <a:pt x="98144" y="59718"/>
                    </a:cubicBezTo>
                    <a:cubicBezTo>
                      <a:pt x="90967" y="60974"/>
                      <a:pt x="86900" y="60197"/>
                      <a:pt x="83311" y="59539"/>
                    </a:cubicBezTo>
                    <a:cubicBezTo>
                      <a:pt x="80740" y="59060"/>
                      <a:pt x="78527" y="58642"/>
                      <a:pt x="75656" y="59120"/>
                    </a:cubicBezTo>
                    <a:cubicBezTo>
                      <a:pt x="72845" y="59598"/>
                      <a:pt x="72307" y="64204"/>
                      <a:pt x="71769" y="69467"/>
                    </a:cubicBezTo>
                    <a:cubicBezTo>
                      <a:pt x="71051" y="76524"/>
                      <a:pt x="70154" y="84478"/>
                      <a:pt x="63515" y="85615"/>
                    </a:cubicBezTo>
                    <a:cubicBezTo>
                      <a:pt x="62260" y="85794"/>
                      <a:pt x="61183" y="85674"/>
                      <a:pt x="60047" y="8537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34" name="Vrije vorm: vorm 9233">
                <a:extLst>
                  <a:ext uri="{FF2B5EF4-FFF2-40B4-BE49-F238E27FC236}">
                    <a16:creationId xmlns:a16="http://schemas.microsoft.com/office/drawing/2014/main" id="{715CEDCC-DCA3-48E1-B956-CBA0110EC04C}"/>
                  </a:ext>
                </a:extLst>
              </p:cNvPr>
              <p:cNvSpPr/>
              <p:nvPr/>
            </p:nvSpPr>
            <p:spPr>
              <a:xfrm>
                <a:off x="4825924" y="980482"/>
                <a:ext cx="261835" cy="92112"/>
              </a:xfrm>
              <a:custGeom>
                <a:avLst/>
                <a:gdLst>
                  <a:gd name="connsiteX0" fmla="*/ 9629 w 261835"/>
                  <a:gd name="connsiteY0" fmla="*/ 91244 h 92112"/>
                  <a:gd name="connsiteX1" fmla="*/ 0 w 261835"/>
                  <a:gd name="connsiteY1" fmla="*/ 86639 h 92112"/>
                  <a:gd name="connsiteX2" fmla="*/ 179 w 261835"/>
                  <a:gd name="connsiteY2" fmla="*/ 86280 h 92112"/>
                  <a:gd name="connsiteX3" fmla="*/ 28707 w 261835"/>
                  <a:gd name="connsiteY3" fmla="*/ 85024 h 92112"/>
                  <a:gd name="connsiteX4" fmla="*/ 45932 w 261835"/>
                  <a:gd name="connsiteY4" fmla="*/ 76233 h 92112"/>
                  <a:gd name="connsiteX5" fmla="*/ 69376 w 261835"/>
                  <a:gd name="connsiteY5" fmla="*/ 81017 h 92112"/>
                  <a:gd name="connsiteX6" fmla="*/ 81218 w 261835"/>
                  <a:gd name="connsiteY6" fmla="*/ 84306 h 92112"/>
                  <a:gd name="connsiteX7" fmla="*/ 92043 w 261835"/>
                  <a:gd name="connsiteY7" fmla="*/ 63553 h 92112"/>
                  <a:gd name="connsiteX8" fmla="*/ 114351 w 261835"/>
                  <a:gd name="connsiteY8" fmla="*/ 31676 h 92112"/>
                  <a:gd name="connsiteX9" fmla="*/ 145033 w 261835"/>
                  <a:gd name="connsiteY9" fmla="*/ 38554 h 92112"/>
                  <a:gd name="connsiteX10" fmla="*/ 175056 w 261835"/>
                  <a:gd name="connsiteY10" fmla="*/ 45312 h 92112"/>
                  <a:gd name="connsiteX11" fmla="*/ 204840 w 261835"/>
                  <a:gd name="connsiteY11" fmla="*/ 11102 h 92112"/>
                  <a:gd name="connsiteX12" fmla="*/ 210282 w 261835"/>
                  <a:gd name="connsiteY12" fmla="*/ 38 h 92112"/>
                  <a:gd name="connsiteX13" fmla="*/ 230677 w 261835"/>
                  <a:gd name="connsiteY13" fmla="*/ 16605 h 92112"/>
                  <a:gd name="connsiteX14" fmla="*/ 261357 w 261835"/>
                  <a:gd name="connsiteY14" fmla="*/ 39630 h 92112"/>
                  <a:gd name="connsiteX15" fmla="*/ 261836 w 261835"/>
                  <a:gd name="connsiteY15" fmla="*/ 40169 h 92112"/>
                  <a:gd name="connsiteX16" fmla="*/ 230198 w 261835"/>
                  <a:gd name="connsiteY16" fmla="*/ 16665 h 92112"/>
                  <a:gd name="connsiteX17" fmla="*/ 210701 w 261835"/>
                  <a:gd name="connsiteY17" fmla="*/ 517 h 92112"/>
                  <a:gd name="connsiteX18" fmla="*/ 205438 w 261835"/>
                  <a:gd name="connsiteY18" fmla="*/ 11401 h 92112"/>
                  <a:gd name="connsiteX19" fmla="*/ 175474 w 261835"/>
                  <a:gd name="connsiteY19" fmla="*/ 45731 h 92112"/>
                  <a:gd name="connsiteX20" fmla="*/ 145033 w 261835"/>
                  <a:gd name="connsiteY20" fmla="*/ 38913 h 92112"/>
                  <a:gd name="connsiteX21" fmla="*/ 114770 w 261835"/>
                  <a:gd name="connsiteY21" fmla="*/ 32095 h 92112"/>
                  <a:gd name="connsiteX22" fmla="*/ 92641 w 261835"/>
                  <a:gd name="connsiteY22" fmla="*/ 63793 h 92112"/>
                  <a:gd name="connsiteX23" fmla="*/ 81637 w 261835"/>
                  <a:gd name="connsiteY23" fmla="*/ 84725 h 92112"/>
                  <a:gd name="connsiteX24" fmla="*/ 69316 w 261835"/>
                  <a:gd name="connsiteY24" fmla="*/ 81316 h 92112"/>
                  <a:gd name="connsiteX25" fmla="*/ 46351 w 261835"/>
                  <a:gd name="connsiteY25" fmla="*/ 76591 h 92112"/>
                  <a:gd name="connsiteX26" fmla="*/ 29245 w 261835"/>
                  <a:gd name="connsiteY26" fmla="*/ 85323 h 92112"/>
                  <a:gd name="connsiteX27" fmla="*/ 9629 w 261835"/>
                  <a:gd name="connsiteY27" fmla="*/ 91244 h 9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1835" h="92112">
                    <a:moveTo>
                      <a:pt x="9629" y="91244"/>
                    </a:moveTo>
                    <a:cubicBezTo>
                      <a:pt x="6818" y="90407"/>
                      <a:pt x="3648" y="88912"/>
                      <a:pt x="0" y="86639"/>
                    </a:cubicBezTo>
                    <a:lnTo>
                      <a:pt x="179" y="86280"/>
                    </a:lnTo>
                    <a:cubicBezTo>
                      <a:pt x="15071" y="95670"/>
                      <a:pt x="21112" y="90945"/>
                      <a:pt x="28707" y="85024"/>
                    </a:cubicBezTo>
                    <a:cubicBezTo>
                      <a:pt x="33193" y="81555"/>
                      <a:pt x="38217" y="77608"/>
                      <a:pt x="45932" y="76233"/>
                    </a:cubicBezTo>
                    <a:cubicBezTo>
                      <a:pt x="55621" y="74558"/>
                      <a:pt x="63276" y="78146"/>
                      <a:pt x="69376" y="81017"/>
                    </a:cubicBezTo>
                    <a:cubicBezTo>
                      <a:pt x="73802" y="83110"/>
                      <a:pt x="77690" y="84905"/>
                      <a:pt x="81218" y="84306"/>
                    </a:cubicBezTo>
                    <a:cubicBezTo>
                      <a:pt x="89950" y="82751"/>
                      <a:pt x="90907" y="73840"/>
                      <a:pt x="92043" y="63553"/>
                    </a:cubicBezTo>
                    <a:cubicBezTo>
                      <a:pt x="93479" y="50216"/>
                      <a:pt x="95093" y="35085"/>
                      <a:pt x="114351" y="31676"/>
                    </a:cubicBezTo>
                    <a:cubicBezTo>
                      <a:pt x="124159" y="29942"/>
                      <a:pt x="134745" y="34308"/>
                      <a:pt x="145033" y="38554"/>
                    </a:cubicBezTo>
                    <a:cubicBezTo>
                      <a:pt x="155140" y="42681"/>
                      <a:pt x="165546" y="46987"/>
                      <a:pt x="175056" y="45312"/>
                    </a:cubicBezTo>
                    <a:cubicBezTo>
                      <a:pt x="197184" y="41425"/>
                      <a:pt x="201790" y="23183"/>
                      <a:pt x="204840" y="11102"/>
                    </a:cubicBezTo>
                    <a:cubicBezTo>
                      <a:pt x="206394" y="5002"/>
                      <a:pt x="207531" y="576"/>
                      <a:pt x="210282" y="38"/>
                    </a:cubicBezTo>
                    <a:cubicBezTo>
                      <a:pt x="214110" y="-620"/>
                      <a:pt x="221765" y="7335"/>
                      <a:pt x="230677" y="16605"/>
                    </a:cubicBezTo>
                    <a:cubicBezTo>
                      <a:pt x="241681" y="28028"/>
                      <a:pt x="254121" y="40946"/>
                      <a:pt x="261357" y="39630"/>
                    </a:cubicBezTo>
                    <a:lnTo>
                      <a:pt x="261836" y="40169"/>
                    </a:lnTo>
                    <a:cubicBezTo>
                      <a:pt x="254121" y="41544"/>
                      <a:pt x="241382" y="28327"/>
                      <a:pt x="230198" y="16665"/>
                    </a:cubicBezTo>
                    <a:cubicBezTo>
                      <a:pt x="221885" y="8052"/>
                      <a:pt x="214110" y="-82"/>
                      <a:pt x="210701" y="517"/>
                    </a:cubicBezTo>
                    <a:cubicBezTo>
                      <a:pt x="208069" y="995"/>
                      <a:pt x="206873" y="5600"/>
                      <a:pt x="205438" y="11401"/>
                    </a:cubicBezTo>
                    <a:cubicBezTo>
                      <a:pt x="202387" y="23542"/>
                      <a:pt x="197723" y="41843"/>
                      <a:pt x="175474" y="45731"/>
                    </a:cubicBezTo>
                    <a:cubicBezTo>
                      <a:pt x="165845" y="47405"/>
                      <a:pt x="155259" y="43099"/>
                      <a:pt x="145033" y="38913"/>
                    </a:cubicBezTo>
                    <a:cubicBezTo>
                      <a:pt x="134865" y="34726"/>
                      <a:pt x="124339" y="30420"/>
                      <a:pt x="114770" y="32095"/>
                    </a:cubicBezTo>
                    <a:cubicBezTo>
                      <a:pt x="95692" y="35444"/>
                      <a:pt x="94077" y="50515"/>
                      <a:pt x="92641" y="63793"/>
                    </a:cubicBezTo>
                    <a:cubicBezTo>
                      <a:pt x="91505" y="74199"/>
                      <a:pt x="90548" y="83170"/>
                      <a:pt x="81637" y="84725"/>
                    </a:cubicBezTo>
                    <a:cubicBezTo>
                      <a:pt x="77869" y="85383"/>
                      <a:pt x="73922" y="83529"/>
                      <a:pt x="69316" y="81316"/>
                    </a:cubicBezTo>
                    <a:cubicBezTo>
                      <a:pt x="62977" y="78326"/>
                      <a:pt x="55800" y="74917"/>
                      <a:pt x="46351" y="76591"/>
                    </a:cubicBezTo>
                    <a:cubicBezTo>
                      <a:pt x="38695" y="77907"/>
                      <a:pt x="33671" y="81854"/>
                      <a:pt x="29245" y="85323"/>
                    </a:cubicBezTo>
                    <a:cubicBezTo>
                      <a:pt x="23624" y="89928"/>
                      <a:pt x="18540" y="93935"/>
                      <a:pt x="9629" y="9124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35" name="Vrije vorm: vorm 9234">
                <a:extLst>
                  <a:ext uri="{FF2B5EF4-FFF2-40B4-BE49-F238E27FC236}">
                    <a16:creationId xmlns:a16="http://schemas.microsoft.com/office/drawing/2014/main" id="{69865C6D-DCC8-4958-B344-B615D7CBA306}"/>
                  </a:ext>
                </a:extLst>
              </p:cNvPr>
              <p:cNvSpPr/>
              <p:nvPr/>
            </p:nvSpPr>
            <p:spPr>
              <a:xfrm>
                <a:off x="4811391" y="1007278"/>
                <a:ext cx="287792" cy="48231"/>
              </a:xfrm>
              <a:custGeom>
                <a:avLst/>
                <a:gdLst>
                  <a:gd name="connsiteX0" fmla="*/ 478 w 287792"/>
                  <a:gd name="connsiteY0" fmla="*/ 23719 h 48231"/>
                  <a:gd name="connsiteX1" fmla="*/ 0 w 287792"/>
                  <a:gd name="connsiteY1" fmla="*/ 23180 h 48231"/>
                  <a:gd name="connsiteX2" fmla="*/ 41984 w 287792"/>
                  <a:gd name="connsiteY2" fmla="*/ 33706 h 48231"/>
                  <a:gd name="connsiteX3" fmla="*/ 71948 w 287792"/>
                  <a:gd name="connsiteY3" fmla="*/ 42199 h 48231"/>
                  <a:gd name="connsiteX4" fmla="*/ 82893 w 287792"/>
                  <a:gd name="connsiteY4" fmla="*/ 32271 h 48231"/>
                  <a:gd name="connsiteX5" fmla="*/ 94615 w 287792"/>
                  <a:gd name="connsiteY5" fmla="*/ 21805 h 48231"/>
                  <a:gd name="connsiteX6" fmla="*/ 127688 w 287792"/>
                  <a:gd name="connsiteY6" fmla="*/ 33527 h 48231"/>
                  <a:gd name="connsiteX7" fmla="*/ 168896 w 287792"/>
                  <a:gd name="connsiteY7" fmla="*/ 47163 h 48231"/>
                  <a:gd name="connsiteX8" fmla="*/ 187735 w 287792"/>
                  <a:gd name="connsiteY8" fmla="*/ 15884 h 48231"/>
                  <a:gd name="connsiteX9" fmla="*/ 194433 w 287792"/>
                  <a:gd name="connsiteY9" fmla="*/ 35 h 48231"/>
                  <a:gd name="connsiteX10" fmla="*/ 197304 w 287792"/>
                  <a:gd name="connsiteY10" fmla="*/ 693 h 48231"/>
                  <a:gd name="connsiteX11" fmla="*/ 218237 w 287792"/>
                  <a:gd name="connsiteY11" fmla="*/ 23479 h 48231"/>
                  <a:gd name="connsiteX12" fmla="*/ 239947 w 287792"/>
                  <a:gd name="connsiteY12" fmla="*/ 47103 h 48231"/>
                  <a:gd name="connsiteX13" fmla="*/ 242697 w 287792"/>
                  <a:gd name="connsiteY13" fmla="*/ 47701 h 48231"/>
                  <a:gd name="connsiteX14" fmla="*/ 247841 w 287792"/>
                  <a:gd name="connsiteY14" fmla="*/ 40764 h 48231"/>
                  <a:gd name="connsiteX15" fmla="*/ 258845 w 287792"/>
                  <a:gd name="connsiteY15" fmla="*/ 29759 h 48231"/>
                  <a:gd name="connsiteX16" fmla="*/ 276249 w 287792"/>
                  <a:gd name="connsiteY16" fmla="*/ 32630 h 48231"/>
                  <a:gd name="connsiteX17" fmla="*/ 287792 w 287792"/>
                  <a:gd name="connsiteY17" fmla="*/ 41721 h 48231"/>
                  <a:gd name="connsiteX18" fmla="*/ 287254 w 287792"/>
                  <a:gd name="connsiteY18" fmla="*/ 41721 h 48231"/>
                  <a:gd name="connsiteX19" fmla="*/ 276190 w 287792"/>
                  <a:gd name="connsiteY19" fmla="*/ 33049 h 48231"/>
                  <a:gd name="connsiteX20" fmla="*/ 259324 w 287792"/>
                  <a:gd name="connsiteY20" fmla="*/ 30297 h 48231"/>
                  <a:gd name="connsiteX21" fmla="*/ 248499 w 287792"/>
                  <a:gd name="connsiteY21" fmla="*/ 41123 h 48231"/>
                  <a:gd name="connsiteX22" fmla="*/ 243176 w 287792"/>
                  <a:gd name="connsiteY22" fmla="*/ 48180 h 48231"/>
                  <a:gd name="connsiteX23" fmla="*/ 239947 w 287792"/>
                  <a:gd name="connsiteY23" fmla="*/ 47462 h 48231"/>
                  <a:gd name="connsiteX24" fmla="*/ 217698 w 287792"/>
                  <a:gd name="connsiteY24" fmla="*/ 23420 h 48231"/>
                  <a:gd name="connsiteX25" fmla="*/ 197244 w 287792"/>
                  <a:gd name="connsiteY25" fmla="*/ 992 h 48231"/>
                  <a:gd name="connsiteX26" fmla="*/ 194912 w 287792"/>
                  <a:gd name="connsiteY26" fmla="*/ 454 h 48231"/>
                  <a:gd name="connsiteX27" fmla="*/ 188393 w 287792"/>
                  <a:gd name="connsiteY27" fmla="*/ 16123 h 48231"/>
                  <a:gd name="connsiteX28" fmla="*/ 169374 w 287792"/>
                  <a:gd name="connsiteY28" fmla="*/ 47522 h 48231"/>
                  <a:gd name="connsiteX29" fmla="*/ 127628 w 287792"/>
                  <a:gd name="connsiteY29" fmla="*/ 33766 h 48231"/>
                  <a:gd name="connsiteX30" fmla="*/ 95093 w 287792"/>
                  <a:gd name="connsiteY30" fmla="*/ 22164 h 48231"/>
                  <a:gd name="connsiteX31" fmla="*/ 83491 w 287792"/>
                  <a:gd name="connsiteY31" fmla="*/ 32510 h 48231"/>
                  <a:gd name="connsiteX32" fmla="*/ 72426 w 287792"/>
                  <a:gd name="connsiteY32" fmla="*/ 42558 h 48231"/>
                  <a:gd name="connsiteX33" fmla="*/ 42044 w 287792"/>
                  <a:gd name="connsiteY33" fmla="*/ 34005 h 48231"/>
                  <a:gd name="connsiteX34" fmla="*/ 478 w 287792"/>
                  <a:gd name="connsiteY34" fmla="*/ 23719 h 48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87792" h="48231">
                    <a:moveTo>
                      <a:pt x="478" y="23719"/>
                    </a:moveTo>
                    <a:lnTo>
                      <a:pt x="0" y="23180"/>
                    </a:lnTo>
                    <a:cubicBezTo>
                      <a:pt x="12440" y="20968"/>
                      <a:pt x="28109" y="27726"/>
                      <a:pt x="41984" y="33706"/>
                    </a:cubicBezTo>
                    <a:cubicBezTo>
                      <a:pt x="53647" y="38730"/>
                      <a:pt x="64652" y="43455"/>
                      <a:pt x="71948" y="42199"/>
                    </a:cubicBezTo>
                    <a:cubicBezTo>
                      <a:pt x="79902" y="40823"/>
                      <a:pt x="81338" y="36637"/>
                      <a:pt x="82893" y="32271"/>
                    </a:cubicBezTo>
                    <a:cubicBezTo>
                      <a:pt x="84448" y="27905"/>
                      <a:pt x="86002" y="23360"/>
                      <a:pt x="94615" y="21805"/>
                    </a:cubicBezTo>
                    <a:cubicBezTo>
                      <a:pt x="102689" y="20369"/>
                      <a:pt x="114830" y="26769"/>
                      <a:pt x="127688" y="33527"/>
                    </a:cubicBezTo>
                    <a:cubicBezTo>
                      <a:pt x="142341" y="41182"/>
                      <a:pt x="157472" y="49137"/>
                      <a:pt x="168896" y="47163"/>
                    </a:cubicBezTo>
                    <a:cubicBezTo>
                      <a:pt x="181993" y="44831"/>
                      <a:pt x="185163" y="28802"/>
                      <a:pt x="187735" y="15884"/>
                    </a:cubicBezTo>
                    <a:cubicBezTo>
                      <a:pt x="189409" y="7391"/>
                      <a:pt x="190785" y="693"/>
                      <a:pt x="194433" y="35"/>
                    </a:cubicBezTo>
                    <a:cubicBezTo>
                      <a:pt x="195211" y="-85"/>
                      <a:pt x="196168" y="95"/>
                      <a:pt x="197304" y="693"/>
                    </a:cubicBezTo>
                    <a:cubicBezTo>
                      <a:pt x="202447" y="3324"/>
                      <a:pt x="210102" y="13133"/>
                      <a:pt x="218237" y="23479"/>
                    </a:cubicBezTo>
                    <a:cubicBezTo>
                      <a:pt x="226310" y="33766"/>
                      <a:pt x="234624" y="44412"/>
                      <a:pt x="239947" y="47103"/>
                    </a:cubicBezTo>
                    <a:cubicBezTo>
                      <a:pt x="241023" y="47642"/>
                      <a:pt x="241920" y="47821"/>
                      <a:pt x="242697" y="47701"/>
                    </a:cubicBezTo>
                    <a:cubicBezTo>
                      <a:pt x="246884" y="46984"/>
                      <a:pt x="247363" y="44113"/>
                      <a:pt x="247841" y="40764"/>
                    </a:cubicBezTo>
                    <a:cubicBezTo>
                      <a:pt x="248499" y="36398"/>
                      <a:pt x="249276" y="31434"/>
                      <a:pt x="258845" y="29759"/>
                    </a:cubicBezTo>
                    <a:cubicBezTo>
                      <a:pt x="264647" y="28742"/>
                      <a:pt x="270508" y="29699"/>
                      <a:pt x="276249" y="32630"/>
                    </a:cubicBezTo>
                    <a:cubicBezTo>
                      <a:pt x="283366" y="36218"/>
                      <a:pt x="287613" y="41481"/>
                      <a:pt x="287792" y="41721"/>
                    </a:cubicBezTo>
                    <a:lnTo>
                      <a:pt x="287254" y="41721"/>
                    </a:lnTo>
                    <a:cubicBezTo>
                      <a:pt x="287194" y="41661"/>
                      <a:pt x="283007" y="36517"/>
                      <a:pt x="276190" y="33049"/>
                    </a:cubicBezTo>
                    <a:cubicBezTo>
                      <a:pt x="270628" y="30238"/>
                      <a:pt x="265006" y="29341"/>
                      <a:pt x="259324" y="30297"/>
                    </a:cubicBezTo>
                    <a:cubicBezTo>
                      <a:pt x="249934" y="31972"/>
                      <a:pt x="249157" y="36816"/>
                      <a:pt x="248499" y="41123"/>
                    </a:cubicBezTo>
                    <a:cubicBezTo>
                      <a:pt x="247961" y="44532"/>
                      <a:pt x="247542" y="47402"/>
                      <a:pt x="243176" y="48180"/>
                    </a:cubicBezTo>
                    <a:cubicBezTo>
                      <a:pt x="242279" y="48359"/>
                      <a:pt x="241202" y="48060"/>
                      <a:pt x="239947" y="47462"/>
                    </a:cubicBezTo>
                    <a:cubicBezTo>
                      <a:pt x="234325" y="44591"/>
                      <a:pt x="225892" y="33826"/>
                      <a:pt x="217698" y="23420"/>
                    </a:cubicBezTo>
                    <a:cubicBezTo>
                      <a:pt x="209983" y="13611"/>
                      <a:pt x="202029" y="3504"/>
                      <a:pt x="197244" y="992"/>
                    </a:cubicBezTo>
                    <a:cubicBezTo>
                      <a:pt x="196347" y="513"/>
                      <a:pt x="195569" y="334"/>
                      <a:pt x="194912" y="454"/>
                    </a:cubicBezTo>
                    <a:cubicBezTo>
                      <a:pt x="191383" y="1052"/>
                      <a:pt x="190007" y="8049"/>
                      <a:pt x="188393" y="16123"/>
                    </a:cubicBezTo>
                    <a:cubicBezTo>
                      <a:pt x="185821" y="29101"/>
                      <a:pt x="182651" y="45189"/>
                      <a:pt x="169374" y="47522"/>
                    </a:cubicBezTo>
                    <a:cubicBezTo>
                      <a:pt x="157771" y="49555"/>
                      <a:pt x="142460" y="41541"/>
                      <a:pt x="127628" y="33766"/>
                    </a:cubicBezTo>
                    <a:cubicBezTo>
                      <a:pt x="114889" y="27128"/>
                      <a:pt x="102928" y="20788"/>
                      <a:pt x="95093" y="22164"/>
                    </a:cubicBezTo>
                    <a:cubicBezTo>
                      <a:pt x="86601" y="23659"/>
                      <a:pt x="85046" y="28144"/>
                      <a:pt x="83491" y="32510"/>
                    </a:cubicBezTo>
                    <a:cubicBezTo>
                      <a:pt x="81995" y="36757"/>
                      <a:pt x="80500" y="41182"/>
                      <a:pt x="72426" y="42558"/>
                    </a:cubicBezTo>
                    <a:cubicBezTo>
                      <a:pt x="64891" y="43874"/>
                      <a:pt x="53827" y="39089"/>
                      <a:pt x="42044" y="34005"/>
                    </a:cubicBezTo>
                    <a:cubicBezTo>
                      <a:pt x="28349" y="28264"/>
                      <a:pt x="12798" y="21566"/>
                      <a:pt x="478" y="2371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36" name="Vrije vorm: vorm 9235">
                <a:extLst>
                  <a:ext uri="{FF2B5EF4-FFF2-40B4-BE49-F238E27FC236}">
                    <a16:creationId xmlns:a16="http://schemas.microsoft.com/office/drawing/2014/main" id="{57A12608-2E02-4020-A77F-4532D770F2E1}"/>
                  </a:ext>
                </a:extLst>
              </p:cNvPr>
              <p:cNvSpPr/>
              <p:nvPr/>
            </p:nvSpPr>
            <p:spPr>
              <a:xfrm>
                <a:off x="4923914" y="943278"/>
                <a:ext cx="12925" cy="12761"/>
              </a:xfrm>
              <a:custGeom>
                <a:avLst/>
                <a:gdLst>
                  <a:gd name="connsiteX0" fmla="*/ 512 w 12925"/>
                  <a:gd name="connsiteY0" fmla="*/ 7278 h 12761"/>
                  <a:gd name="connsiteX1" fmla="*/ 3801 w 12925"/>
                  <a:gd name="connsiteY1" fmla="*/ 101 h 12761"/>
                  <a:gd name="connsiteX2" fmla="*/ 6732 w 12925"/>
                  <a:gd name="connsiteY2" fmla="*/ 280 h 12761"/>
                  <a:gd name="connsiteX3" fmla="*/ 12414 w 12925"/>
                  <a:gd name="connsiteY3" fmla="*/ 5484 h 12761"/>
                  <a:gd name="connsiteX4" fmla="*/ 9124 w 12925"/>
                  <a:gd name="connsiteY4" fmla="*/ 12660 h 12761"/>
                  <a:gd name="connsiteX5" fmla="*/ 6194 w 12925"/>
                  <a:gd name="connsiteY5" fmla="*/ 12481 h 12761"/>
                  <a:gd name="connsiteX6" fmla="*/ 512 w 12925"/>
                  <a:gd name="connsiteY6" fmla="*/ 7278 h 12761"/>
                  <a:gd name="connsiteX7" fmla="*/ 4280 w 12925"/>
                  <a:gd name="connsiteY7" fmla="*/ 639 h 12761"/>
                  <a:gd name="connsiteX8" fmla="*/ 1110 w 12925"/>
                  <a:gd name="connsiteY8" fmla="*/ 7517 h 12761"/>
                  <a:gd name="connsiteX9" fmla="*/ 5955 w 12925"/>
                  <a:gd name="connsiteY9" fmla="*/ 12062 h 12761"/>
                  <a:gd name="connsiteX10" fmla="*/ 8586 w 12925"/>
                  <a:gd name="connsiteY10" fmla="*/ 12242 h 12761"/>
                  <a:gd name="connsiteX11" fmla="*/ 11756 w 12925"/>
                  <a:gd name="connsiteY11" fmla="*/ 5364 h 12761"/>
                  <a:gd name="connsiteX12" fmla="*/ 6912 w 12925"/>
                  <a:gd name="connsiteY12" fmla="*/ 819 h 12761"/>
                  <a:gd name="connsiteX13" fmla="*/ 4280 w 12925"/>
                  <a:gd name="connsiteY13" fmla="*/ 639 h 1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25" h="12761">
                    <a:moveTo>
                      <a:pt x="512" y="7278"/>
                    </a:moveTo>
                    <a:cubicBezTo>
                      <a:pt x="-863" y="3869"/>
                      <a:pt x="632" y="639"/>
                      <a:pt x="3801" y="101"/>
                    </a:cubicBezTo>
                    <a:cubicBezTo>
                      <a:pt x="4759" y="-78"/>
                      <a:pt x="5715" y="-19"/>
                      <a:pt x="6732" y="280"/>
                    </a:cubicBezTo>
                    <a:cubicBezTo>
                      <a:pt x="9244" y="998"/>
                      <a:pt x="11457" y="3091"/>
                      <a:pt x="12414" y="5484"/>
                    </a:cubicBezTo>
                    <a:cubicBezTo>
                      <a:pt x="13789" y="8893"/>
                      <a:pt x="12294" y="12122"/>
                      <a:pt x="9124" y="12660"/>
                    </a:cubicBezTo>
                    <a:cubicBezTo>
                      <a:pt x="8227" y="12840"/>
                      <a:pt x="7210" y="12780"/>
                      <a:pt x="6194" y="12481"/>
                    </a:cubicBezTo>
                    <a:cubicBezTo>
                      <a:pt x="3682" y="11763"/>
                      <a:pt x="1469" y="9730"/>
                      <a:pt x="512" y="7278"/>
                    </a:cubicBezTo>
                    <a:close/>
                    <a:moveTo>
                      <a:pt x="4280" y="639"/>
                    </a:moveTo>
                    <a:cubicBezTo>
                      <a:pt x="1230" y="1177"/>
                      <a:pt x="-146" y="4228"/>
                      <a:pt x="1110" y="7517"/>
                    </a:cubicBezTo>
                    <a:cubicBezTo>
                      <a:pt x="1947" y="9670"/>
                      <a:pt x="3801" y="11404"/>
                      <a:pt x="5955" y="12062"/>
                    </a:cubicBezTo>
                    <a:cubicBezTo>
                      <a:pt x="6852" y="12302"/>
                      <a:pt x="7749" y="12361"/>
                      <a:pt x="8586" y="12242"/>
                    </a:cubicBezTo>
                    <a:cubicBezTo>
                      <a:pt x="11636" y="11704"/>
                      <a:pt x="13012" y="8653"/>
                      <a:pt x="11756" y="5364"/>
                    </a:cubicBezTo>
                    <a:cubicBezTo>
                      <a:pt x="10918" y="3211"/>
                      <a:pt x="9064" y="1476"/>
                      <a:pt x="6912" y="819"/>
                    </a:cubicBezTo>
                    <a:cubicBezTo>
                      <a:pt x="6014" y="520"/>
                      <a:pt x="5117" y="460"/>
                      <a:pt x="4280" y="63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37" name="Vrije vorm: vorm 9236">
                <a:extLst>
                  <a:ext uri="{FF2B5EF4-FFF2-40B4-BE49-F238E27FC236}">
                    <a16:creationId xmlns:a16="http://schemas.microsoft.com/office/drawing/2014/main" id="{6A397776-2B48-4912-9993-695E2BD4F0FE}"/>
                  </a:ext>
                </a:extLst>
              </p:cNvPr>
              <p:cNvSpPr/>
              <p:nvPr/>
            </p:nvSpPr>
            <p:spPr>
              <a:xfrm>
                <a:off x="4931543" y="955580"/>
                <a:ext cx="23982" cy="59149"/>
              </a:xfrm>
              <a:custGeom>
                <a:avLst/>
                <a:gdLst>
                  <a:gd name="connsiteX0" fmla="*/ 23325 w 23982"/>
                  <a:gd name="connsiteY0" fmla="*/ 58910 h 59149"/>
                  <a:gd name="connsiteX1" fmla="*/ 23983 w 23982"/>
                  <a:gd name="connsiteY1" fmla="*/ 59149 h 59149"/>
                  <a:gd name="connsiteX2" fmla="*/ 598 w 23982"/>
                  <a:gd name="connsiteY2" fmla="*/ 179 h 59149"/>
                  <a:gd name="connsiteX3" fmla="*/ 0 w 23982"/>
                  <a:gd name="connsiteY3" fmla="*/ 0 h 59149"/>
                </a:gdLst>
                <a:ahLst/>
                <a:cxnLst>
                  <a:cxn ang="0">
                    <a:pos x="connsiteX0" y="connsiteY0"/>
                  </a:cxn>
                  <a:cxn ang="0">
                    <a:pos x="connsiteX1" y="connsiteY1"/>
                  </a:cxn>
                  <a:cxn ang="0">
                    <a:pos x="connsiteX2" y="connsiteY2"/>
                  </a:cxn>
                  <a:cxn ang="0">
                    <a:pos x="connsiteX3" y="connsiteY3"/>
                  </a:cxn>
                </a:cxnLst>
                <a:rect l="l" t="t" r="r" b="b"/>
                <a:pathLst>
                  <a:path w="23982" h="59149">
                    <a:moveTo>
                      <a:pt x="23325" y="58910"/>
                    </a:moveTo>
                    <a:lnTo>
                      <a:pt x="23983" y="59149"/>
                    </a:lnTo>
                    <a:lnTo>
                      <a:pt x="598" y="179"/>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9238" name="Vrije vorm: vorm 9237">
                <a:extLst>
                  <a:ext uri="{FF2B5EF4-FFF2-40B4-BE49-F238E27FC236}">
                    <a16:creationId xmlns:a16="http://schemas.microsoft.com/office/drawing/2014/main" id="{DCA54B1E-5E08-4200-B519-3A73AC5580CB}"/>
                  </a:ext>
                </a:extLst>
              </p:cNvPr>
              <p:cNvSpPr/>
              <p:nvPr/>
            </p:nvSpPr>
            <p:spPr>
              <a:xfrm>
                <a:off x="4969966" y="922047"/>
                <a:ext cx="12925" cy="12818"/>
              </a:xfrm>
              <a:custGeom>
                <a:avLst/>
                <a:gdLst>
                  <a:gd name="connsiteX0" fmla="*/ 512 w 12925"/>
                  <a:gd name="connsiteY0" fmla="*/ 7278 h 12818"/>
                  <a:gd name="connsiteX1" fmla="*/ 3801 w 12925"/>
                  <a:gd name="connsiteY1" fmla="*/ 101 h 12818"/>
                  <a:gd name="connsiteX2" fmla="*/ 6732 w 12925"/>
                  <a:gd name="connsiteY2" fmla="*/ 280 h 12818"/>
                  <a:gd name="connsiteX3" fmla="*/ 12414 w 12925"/>
                  <a:gd name="connsiteY3" fmla="*/ 5484 h 12818"/>
                  <a:gd name="connsiteX4" fmla="*/ 9124 w 12925"/>
                  <a:gd name="connsiteY4" fmla="*/ 12720 h 12818"/>
                  <a:gd name="connsiteX5" fmla="*/ 6194 w 12925"/>
                  <a:gd name="connsiteY5" fmla="*/ 12481 h 12818"/>
                  <a:gd name="connsiteX6" fmla="*/ 512 w 12925"/>
                  <a:gd name="connsiteY6" fmla="*/ 7278 h 12818"/>
                  <a:gd name="connsiteX7" fmla="*/ 4340 w 12925"/>
                  <a:gd name="connsiteY7" fmla="*/ 639 h 12818"/>
                  <a:gd name="connsiteX8" fmla="*/ 1170 w 12925"/>
                  <a:gd name="connsiteY8" fmla="*/ 7517 h 12818"/>
                  <a:gd name="connsiteX9" fmla="*/ 6014 w 12925"/>
                  <a:gd name="connsiteY9" fmla="*/ 12062 h 12818"/>
                  <a:gd name="connsiteX10" fmla="*/ 8646 w 12925"/>
                  <a:gd name="connsiteY10" fmla="*/ 12242 h 12818"/>
                  <a:gd name="connsiteX11" fmla="*/ 11816 w 12925"/>
                  <a:gd name="connsiteY11" fmla="*/ 5364 h 12818"/>
                  <a:gd name="connsiteX12" fmla="*/ 6971 w 12925"/>
                  <a:gd name="connsiteY12" fmla="*/ 819 h 12818"/>
                  <a:gd name="connsiteX13" fmla="*/ 4340 w 12925"/>
                  <a:gd name="connsiteY13" fmla="*/ 639 h 1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25" h="12818">
                    <a:moveTo>
                      <a:pt x="512" y="7278"/>
                    </a:moveTo>
                    <a:cubicBezTo>
                      <a:pt x="-863" y="3869"/>
                      <a:pt x="632" y="639"/>
                      <a:pt x="3801" y="101"/>
                    </a:cubicBezTo>
                    <a:cubicBezTo>
                      <a:pt x="4699" y="-79"/>
                      <a:pt x="5715" y="-19"/>
                      <a:pt x="6732" y="280"/>
                    </a:cubicBezTo>
                    <a:cubicBezTo>
                      <a:pt x="9244" y="998"/>
                      <a:pt x="11457" y="3091"/>
                      <a:pt x="12414" y="5484"/>
                    </a:cubicBezTo>
                    <a:cubicBezTo>
                      <a:pt x="13789" y="8893"/>
                      <a:pt x="12294" y="12122"/>
                      <a:pt x="9124" y="12720"/>
                    </a:cubicBezTo>
                    <a:cubicBezTo>
                      <a:pt x="8227" y="12900"/>
                      <a:pt x="7210" y="12840"/>
                      <a:pt x="6194" y="12481"/>
                    </a:cubicBezTo>
                    <a:cubicBezTo>
                      <a:pt x="3682" y="11763"/>
                      <a:pt x="1469" y="9730"/>
                      <a:pt x="512" y="7278"/>
                    </a:cubicBezTo>
                    <a:close/>
                    <a:moveTo>
                      <a:pt x="4340" y="639"/>
                    </a:moveTo>
                    <a:cubicBezTo>
                      <a:pt x="1290" y="1177"/>
                      <a:pt x="-86" y="4228"/>
                      <a:pt x="1170" y="7517"/>
                    </a:cubicBezTo>
                    <a:cubicBezTo>
                      <a:pt x="2007" y="9670"/>
                      <a:pt x="3861" y="11404"/>
                      <a:pt x="6014" y="12062"/>
                    </a:cubicBezTo>
                    <a:cubicBezTo>
                      <a:pt x="6912" y="12302"/>
                      <a:pt x="7808" y="12361"/>
                      <a:pt x="8646" y="12242"/>
                    </a:cubicBezTo>
                    <a:cubicBezTo>
                      <a:pt x="11696" y="11704"/>
                      <a:pt x="13071" y="8594"/>
                      <a:pt x="11816" y="5364"/>
                    </a:cubicBezTo>
                    <a:cubicBezTo>
                      <a:pt x="10978" y="3211"/>
                      <a:pt x="9124" y="1476"/>
                      <a:pt x="6971" y="819"/>
                    </a:cubicBezTo>
                    <a:cubicBezTo>
                      <a:pt x="6014" y="520"/>
                      <a:pt x="5177" y="460"/>
                      <a:pt x="4340" y="63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39" name="Vrije vorm: vorm 9238">
                <a:extLst>
                  <a:ext uri="{FF2B5EF4-FFF2-40B4-BE49-F238E27FC236}">
                    <a16:creationId xmlns:a16="http://schemas.microsoft.com/office/drawing/2014/main" id="{900AC29A-410C-4AE8-8FCD-6F3480FC2934}"/>
                  </a:ext>
                </a:extLst>
              </p:cNvPr>
              <p:cNvSpPr/>
              <p:nvPr/>
            </p:nvSpPr>
            <p:spPr>
              <a:xfrm>
                <a:off x="4977595" y="934348"/>
                <a:ext cx="29604" cy="73263"/>
              </a:xfrm>
              <a:custGeom>
                <a:avLst/>
                <a:gdLst>
                  <a:gd name="connsiteX0" fmla="*/ 28946 w 29604"/>
                  <a:gd name="connsiteY0" fmla="*/ 73025 h 73263"/>
                  <a:gd name="connsiteX1" fmla="*/ 29605 w 29604"/>
                  <a:gd name="connsiteY1" fmla="*/ 73264 h 73263"/>
                  <a:gd name="connsiteX2" fmla="*/ 658 w 29604"/>
                  <a:gd name="connsiteY2" fmla="*/ 179 h 73263"/>
                  <a:gd name="connsiteX3" fmla="*/ 0 w 29604"/>
                  <a:gd name="connsiteY3" fmla="*/ 0 h 73263"/>
                </a:gdLst>
                <a:ahLst/>
                <a:cxnLst>
                  <a:cxn ang="0">
                    <a:pos x="connsiteX0" y="connsiteY0"/>
                  </a:cxn>
                  <a:cxn ang="0">
                    <a:pos x="connsiteX1" y="connsiteY1"/>
                  </a:cxn>
                  <a:cxn ang="0">
                    <a:pos x="connsiteX2" y="connsiteY2"/>
                  </a:cxn>
                  <a:cxn ang="0">
                    <a:pos x="connsiteX3" y="connsiteY3"/>
                  </a:cxn>
                </a:cxnLst>
                <a:rect l="l" t="t" r="r" b="b"/>
                <a:pathLst>
                  <a:path w="29604" h="73263">
                    <a:moveTo>
                      <a:pt x="28946" y="73025"/>
                    </a:moveTo>
                    <a:lnTo>
                      <a:pt x="29605" y="73264"/>
                    </a:lnTo>
                    <a:lnTo>
                      <a:pt x="658" y="179"/>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9240" name="Vrije vorm: vorm 9239">
                <a:extLst>
                  <a:ext uri="{FF2B5EF4-FFF2-40B4-BE49-F238E27FC236}">
                    <a16:creationId xmlns:a16="http://schemas.microsoft.com/office/drawing/2014/main" id="{64DAEC76-8D9F-46E1-8DB9-D90F7C041FFC}"/>
                  </a:ext>
                </a:extLst>
              </p:cNvPr>
              <p:cNvSpPr/>
              <p:nvPr/>
            </p:nvSpPr>
            <p:spPr>
              <a:xfrm>
                <a:off x="4797541" y="931855"/>
                <a:ext cx="12925" cy="12761"/>
              </a:xfrm>
              <a:custGeom>
                <a:avLst/>
                <a:gdLst>
                  <a:gd name="connsiteX0" fmla="*/ 512 w 12925"/>
                  <a:gd name="connsiteY0" fmla="*/ 7278 h 12761"/>
                  <a:gd name="connsiteX1" fmla="*/ 3801 w 12925"/>
                  <a:gd name="connsiteY1" fmla="*/ 101 h 12761"/>
                  <a:gd name="connsiteX2" fmla="*/ 6732 w 12925"/>
                  <a:gd name="connsiteY2" fmla="*/ 280 h 12761"/>
                  <a:gd name="connsiteX3" fmla="*/ 12414 w 12925"/>
                  <a:gd name="connsiteY3" fmla="*/ 5484 h 12761"/>
                  <a:gd name="connsiteX4" fmla="*/ 9124 w 12925"/>
                  <a:gd name="connsiteY4" fmla="*/ 12660 h 12761"/>
                  <a:gd name="connsiteX5" fmla="*/ 6194 w 12925"/>
                  <a:gd name="connsiteY5" fmla="*/ 12481 h 12761"/>
                  <a:gd name="connsiteX6" fmla="*/ 512 w 12925"/>
                  <a:gd name="connsiteY6" fmla="*/ 7278 h 12761"/>
                  <a:gd name="connsiteX7" fmla="*/ 4340 w 12925"/>
                  <a:gd name="connsiteY7" fmla="*/ 579 h 12761"/>
                  <a:gd name="connsiteX8" fmla="*/ 1170 w 12925"/>
                  <a:gd name="connsiteY8" fmla="*/ 7457 h 12761"/>
                  <a:gd name="connsiteX9" fmla="*/ 6014 w 12925"/>
                  <a:gd name="connsiteY9" fmla="*/ 12003 h 12761"/>
                  <a:gd name="connsiteX10" fmla="*/ 8646 w 12925"/>
                  <a:gd name="connsiteY10" fmla="*/ 12182 h 12761"/>
                  <a:gd name="connsiteX11" fmla="*/ 11816 w 12925"/>
                  <a:gd name="connsiteY11" fmla="*/ 5304 h 12761"/>
                  <a:gd name="connsiteX12" fmla="*/ 6971 w 12925"/>
                  <a:gd name="connsiteY12" fmla="*/ 759 h 12761"/>
                  <a:gd name="connsiteX13" fmla="*/ 4340 w 12925"/>
                  <a:gd name="connsiteY13" fmla="*/ 579 h 1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25" h="12761">
                    <a:moveTo>
                      <a:pt x="512" y="7278"/>
                    </a:moveTo>
                    <a:cubicBezTo>
                      <a:pt x="-863" y="3869"/>
                      <a:pt x="632" y="639"/>
                      <a:pt x="3801" y="101"/>
                    </a:cubicBezTo>
                    <a:cubicBezTo>
                      <a:pt x="4699" y="-78"/>
                      <a:pt x="5715" y="-19"/>
                      <a:pt x="6732" y="280"/>
                    </a:cubicBezTo>
                    <a:cubicBezTo>
                      <a:pt x="9244" y="998"/>
                      <a:pt x="11457" y="3091"/>
                      <a:pt x="12414" y="5484"/>
                    </a:cubicBezTo>
                    <a:cubicBezTo>
                      <a:pt x="13789" y="8893"/>
                      <a:pt x="12294" y="12122"/>
                      <a:pt x="9124" y="12660"/>
                    </a:cubicBezTo>
                    <a:cubicBezTo>
                      <a:pt x="8168" y="12840"/>
                      <a:pt x="7210" y="12780"/>
                      <a:pt x="6194" y="12481"/>
                    </a:cubicBezTo>
                    <a:cubicBezTo>
                      <a:pt x="3682" y="11704"/>
                      <a:pt x="1469" y="9670"/>
                      <a:pt x="512" y="7278"/>
                    </a:cubicBezTo>
                    <a:close/>
                    <a:moveTo>
                      <a:pt x="4340" y="579"/>
                    </a:moveTo>
                    <a:cubicBezTo>
                      <a:pt x="1290" y="1118"/>
                      <a:pt x="-86" y="4168"/>
                      <a:pt x="1170" y="7457"/>
                    </a:cubicBezTo>
                    <a:cubicBezTo>
                      <a:pt x="2007" y="9610"/>
                      <a:pt x="3861" y="11345"/>
                      <a:pt x="6014" y="12003"/>
                    </a:cubicBezTo>
                    <a:cubicBezTo>
                      <a:pt x="6912" y="12242"/>
                      <a:pt x="7809" y="12302"/>
                      <a:pt x="8646" y="12182"/>
                    </a:cubicBezTo>
                    <a:cubicBezTo>
                      <a:pt x="11696" y="11644"/>
                      <a:pt x="13072" y="8594"/>
                      <a:pt x="11816" y="5304"/>
                    </a:cubicBezTo>
                    <a:cubicBezTo>
                      <a:pt x="10978" y="3151"/>
                      <a:pt x="9124" y="1417"/>
                      <a:pt x="6971" y="759"/>
                    </a:cubicBezTo>
                    <a:cubicBezTo>
                      <a:pt x="6014" y="520"/>
                      <a:pt x="5177" y="460"/>
                      <a:pt x="4340" y="5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41" name="Vrije vorm: vorm 9240">
                <a:extLst>
                  <a:ext uri="{FF2B5EF4-FFF2-40B4-BE49-F238E27FC236}">
                    <a16:creationId xmlns:a16="http://schemas.microsoft.com/office/drawing/2014/main" id="{A6F33FBA-90A3-4DF5-9A50-4EBAFB7CAF5A}"/>
                  </a:ext>
                </a:extLst>
              </p:cNvPr>
              <p:cNvSpPr/>
              <p:nvPr/>
            </p:nvSpPr>
            <p:spPr>
              <a:xfrm>
                <a:off x="4805171" y="944097"/>
                <a:ext cx="37140" cy="92162"/>
              </a:xfrm>
              <a:custGeom>
                <a:avLst/>
                <a:gdLst>
                  <a:gd name="connsiteX0" fmla="*/ 36483 w 37140"/>
                  <a:gd name="connsiteY0" fmla="*/ 91984 h 92162"/>
                  <a:gd name="connsiteX1" fmla="*/ 37140 w 37140"/>
                  <a:gd name="connsiteY1" fmla="*/ 92163 h 92162"/>
                  <a:gd name="connsiteX2" fmla="*/ 658 w 37140"/>
                  <a:gd name="connsiteY2" fmla="*/ 239 h 92162"/>
                  <a:gd name="connsiteX3" fmla="*/ 0 w 37140"/>
                  <a:gd name="connsiteY3" fmla="*/ 0 h 92162"/>
                </a:gdLst>
                <a:ahLst/>
                <a:cxnLst>
                  <a:cxn ang="0">
                    <a:pos x="connsiteX0" y="connsiteY0"/>
                  </a:cxn>
                  <a:cxn ang="0">
                    <a:pos x="connsiteX1" y="connsiteY1"/>
                  </a:cxn>
                  <a:cxn ang="0">
                    <a:pos x="connsiteX2" y="connsiteY2"/>
                  </a:cxn>
                  <a:cxn ang="0">
                    <a:pos x="connsiteX3" y="connsiteY3"/>
                  </a:cxn>
                </a:cxnLst>
                <a:rect l="l" t="t" r="r" b="b"/>
                <a:pathLst>
                  <a:path w="37140" h="92162">
                    <a:moveTo>
                      <a:pt x="36483" y="91984"/>
                    </a:moveTo>
                    <a:lnTo>
                      <a:pt x="37140" y="92163"/>
                    </a:lnTo>
                    <a:lnTo>
                      <a:pt x="658" y="239"/>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9242" name="Vrije vorm: vorm 9241">
                <a:extLst>
                  <a:ext uri="{FF2B5EF4-FFF2-40B4-BE49-F238E27FC236}">
                    <a16:creationId xmlns:a16="http://schemas.microsoft.com/office/drawing/2014/main" id="{45FC97E1-3BB0-4AFB-BF1A-2F195DDDEA1C}"/>
                  </a:ext>
                </a:extLst>
              </p:cNvPr>
              <p:cNvSpPr/>
              <p:nvPr/>
            </p:nvSpPr>
            <p:spPr>
              <a:xfrm>
                <a:off x="4881272" y="974617"/>
                <a:ext cx="12925" cy="12818"/>
              </a:xfrm>
              <a:custGeom>
                <a:avLst/>
                <a:gdLst>
                  <a:gd name="connsiteX0" fmla="*/ 512 w 12925"/>
                  <a:gd name="connsiteY0" fmla="*/ 7278 h 12818"/>
                  <a:gd name="connsiteX1" fmla="*/ 3801 w 12925"/>
                  <a:gd name="connsiteY1" fmla="*/ 101 h 12818"/>
                  <a:gd name="connsiteX2" fmla="*/ 6732 w 12925"/>
                  <a:gd name="connsiteY2" fmla="*/ 280 h 12818"/>
                  <a:gd name="connsiteX3" fmla="*/ 12414 w 12925"/>
                  <a:gd name="connsiteY3" fmla="*/ 5484 h 12818"/>
                  <a:gd name="connsiteX4" fmla="*/ 9124 w 12925"/>
                  <a:gd name="connsiteY4" fmla="*/ 12720 h 12818"/>
                  <a:gd name="connsiteX5" fmla="*/ 6194 w 12925"/>
                  <a:gd name="connsiteY5" fmla="*/ 12481 h 12818"/>
                  <a:gd name="connsiteX6" fmla="*/ 512 w 12925"/>
                  <a:gd name="connsiteY6" fmla="*/ 7278 h 12818"/>
                  <a:gd name="connsiteX7" fmla="*/ 4280 w 12925"/>
                  <a:gd name="connsiteY7" fmla="*/ 579 h 12818"/>
                  <a:gd name="connsiteX8" fmla="*/ 1110 w 12925"/>
                  <a:gd name="connsiteY8" fmla="*/ 7457 h 12818"/>
                  <a:gd name="connsiteX9" fmla="*/ 5955 w 12925"/>
                  <a:gd name="connsiteY9" fmla="*/ 12003 h 12818"/>
                  <a:gd name="connsiteX10" fmla="*/ 8586 w 12925"/>
                  <a:gd name="connsiteY10" fmla="*/ 12182 h 12818"/>
                  <a:gd name="connsiteX11" fmla="*/ 11756 w 12925"/>
                  <a:gd name="connsiteY11" fmla="*/ 5304 h 12818"/>
                  <a:gd name="connsiteX12" fmla="*/ 6912 w 12925"/>
                  <a:gd name="connsiteY12" fmla="*/ 759 h 12818"/>
                  <a:gd name="connsiteX13" fmla="*/ 4280 w 12925"/>
                  <a:gd name="connsiteY13" fmla="*/ 579 h 1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25" h="12818">
                    <a:moveTo>
                      <a:pt x="512" y="7278"/>
                    </a:moveTo>
                    <a:cubicBezTo>
                      <a:pt x="-863" y="3869"/>
                      <a:pt x="632" y="639"/>
                      <a:pt x="3801" y="101"/>
                    </a:cubicBezTo>
                    <a:cubicBezTo>
                      <a:pt x="4759" y="-79"/>
                      <a:pt x="5715" y="-19"/>
                      <a:pt x="6732" y="280"/>
                    </a:cubicBezTo>
                    <a:cubicBezTo>
                      <a:pt x="9244" y="998"/>
                      <a:pt x="11457" y="3091"/>
                      <a:pt x="12414" y="5484"/>
                    </a:cubicBezTo>
                    <a:cubicBezTo>
                      <a:pt x="13789" y="8893"/>
                      <a:pt x="12294" y="12122"/>
                      <a:pt x="9124" y="12720"/>
                    </a:cubicBezTo>
                    <a:cubicBezTo>
                      <a:pt x="8227" y="12900"/>
                      <a:pt x="7210" y="12840"/>
                      <a:pt x="6194" y="12481"/>
                    </a:cubicBezTo>
                    <a:cubicBezTo>
                      <a:pt x="3682" y="11763"/>
                      <a:pt x="1469" y="9670"/>
                      <a:pt x="512" y="7278"/>
                    </a:cubicBezTo>
                    <a:close/>
                    <a:moveTo>
                      <a:pt x="4280" y="579"/>
                    </a:moveTo>
                    <a:cubicBezTo>
                      <a:pt x="1230" y="1118"/>
                      <a:pt x="-146" y="4168"/>
                      <a:pt x="1110" y="7457"/>
                    </a:cubicBezTo>
                    <a:cubicBezTo>
                      <a:pt x="1947" y="9610"/>
                      <a:pt x="3801" y="11345"/>
                      <a:pt x="5955" y="12003"/>
                    </a:cubicBezTo>
                    <a:cubicBezTo>
                      <a:pt x="6852" y="12242"/>
                      <a:pt x="7749" y="12302"/>
                      <a:pt x="8586" y="12182"/>
                    </a:cubicBezTo>
                    <a:cubicBezTo>
                      <a:pt x="11636" y="11644"/>
                      <a:pt x="13012" y="8594"/>
                      <a:pt x="11756" y="5304"/>
                    </a:cubicBezTo>
                    <a:cubicBezTo>
                      <a:pt x="10918" y="3151"/>
                      <a:pt x="9064" y="1417"/>
                      <a:pt x="6912" y="759"/>
                    </a:cubicBezTo>
                    <a:cubicBezTo>
                      <a:pt x="6014" y="520"/>
                      <a:pt x="5177" y="460"/>
                      <a:pt x="4280" y="5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43" name="Vrije vorm: vorm 9242">
                <a:extLst>
                  <a:ext uri="{FF2B5EF4-FFF2-40B4-BE49-F238E27FC236}">
                    <a16:creationId xmlns:a16="http://schemas.microsoft.com/office/drawing/2014/main" id="{959A7C1E-CD4E-470C-B09C-DAF090F31B89}"/>
                  </a:ext>
                </a:extLst>
              </p:cNvPr>
              <p:cNvSpPr/>
              <p:nvPr/>
            </p:nvSpPr>
            <p:spPr>
              <a:xfrm>
                <a:off x="4888901" y="986919"/>
                <a:ext cx="17164" cy="41865"/>
              </a:xfrm>
              <a:custGeom>
                <a:avLst/>
                <a:gdLst>
                  <a:gd name="connsiteX0" fmla="*/ 16507 w 17164"/>
                  <a:gd name="connsiteY0" fmla="*/ 41686 h 41865"/>
                  <a:gd name="connsiteX1" fmla="*/ 17165 w 17164"/>
                  <a:gd name="connsiteY1" fmla="*/ 41865 h 41865"/>
                  <a:gd name="connsiteX2" fmla="*/ 658 w 17164"/>
                  <a:gd name="connsiteY2" fmla="*/ 179 h 41865"/>
                  <a:gd name="connsiteX3" fmla="*/ 0 w 17164"/>
                  <a:gd name="connsiteY3" fmla="*/ 0 h 41865"/>
                </a:gdLst>
                <a:ahLst/>
                <a:cxnLst>
                  <a:cxn ang="0">
                    <a:pos x="connsiteX0" y="connsiteY0"/>
                  </a:cxn>
                  <a:cxn ang="0">
                    <a:pos x="connsiteX1" y="connsiteY1"/>
                  </a:cxn>
                  <a:cxn ang="0">
                    <a:pos x="connsiteX2" y="connsiteY2"/>
                  </a:cxn>
                  <a:cxn ang="0">
                    <a:pos x="connsiteX3" y="connsiteY3"/>
                  </a:cxn>
                </a:cxnLst>
                <a:rect l="l" t="t" r="r" b="b"/>
                <a:pathLst>
                  <a:path w="17164" h="41865">
                    <a:moveTo>
                      <a:pt x="16507" y="41686"/>
                    </a:moveTo>
                    <a:lnTo>
                      <a:pt x="17165" y="41865"/>
                    </a:lnTo>
                    <a:lnTo>
                      <a:pt x="658" y="179"/>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9244" name="Vrije vorm: vorm 9243">
                <a:extLst>
                  <a:ext uri="{FF2B5EF4-FFF2-40B4-BE49-F238E27FC236}">
                    <a16:creationId xmlns:a16="http://schemas.microsoft.com/office/drawing/2014/main" id="{2CA65703-06A5-4086-8D52-2C4168DFD79E}"/>
                  </a:ext>
                </a:extLst>
              </p:cNvPr>
              <p:cNvSpPr/>
              <p:nvPr/>
            </p:nvSpPr>
            <p:spPr>
              <a:xfrm>
                <a:off x="5012608" y="926712"/>
                <a:ext cx="12925" cy="12761"/>
              </a:xfrm>
              <a:custGeom>
                <a:avLst/>
                <a:gdLst>
                  <a:gd name="connsiteX0" fmla="*/ 512 w 12925"/>
                  <a:gd name="connsiteY0" fmla="*/ 7278 h 12761"/>
                  <a:gd name="connsiteX1" fmla="*/ 3801 w 12925"/>
                  <a:gd name="connsiteY1" fmla="*/ 101 h 12761"/>
                  <a:gd name="connsiteX2" fmla="*/ 6732 w 12925"/>
                  <a:gd name="connsiteY2" fmla="*/ 280 h 12761"/>
                  <a:gd name="connsiteX3" fmla="*/ 12414 w 12925"/>
                  <a:gd name="connsiteY3" fmla="*/ 5484 h 12761"/>
                  <a:gd name="connsiteX4" fmla="*/ 9124 w 12925"/>
                  <a:gd name="connsiteY4" fmla="*/ 12660 h 12761"/>
                  <a:gd name="connsiteX5" fmla="*/ 6194 w 12925"/>
                  <a:gd name="connsiteY5" fmla="*/ 12481 h 12761"/>
                  <a:gd name="connsiteX6" fmla="*/ 512 w 12925"/>
                  <a:gd name="connsiteY6" fmla="*/ 7278 h 12761"/>
                  <a:gd name="connsiteX7" fmla="*/ 4340 w 12925"/>
                  <a:gd name="connsiteY7" fmla="*/ 579 h 12761"/>
                  <a:gd name="connsiteX8" fmla="*/ 1230 w 12925"/>
                  <a:gd name="connsiteY8" fmla="*/ 7457 h 12761"/>
                  <a:gd name="connsiteX9" fmla="*/ 6074 w 12925"/>
                  <a:gd name="connsiteY9" fmla="*/ 11943 h 12761"/>
                  <a:gd name="connsiteX10" fmla="*/ 8706 w 12925"/>
                  <a:gd name="connsiteY10" fmla="*/ 12122 h 12761"/>
                  <a:gd name="connsiteX11" fmla="*/ 11875 w 12925"/>
                  <a:gd name="connsiteY11" fmla="*/ 5244 h 12761"/>
                  <a:gd name="connsiteX12" fmla="*/ 7031 w 12925"/>
                  <a:gd name="connsiteY12" fmla="*/ 699 h 12761"/>
                  <a:gd name="connsiteX13" fmla="*/ 4340 w 12925"/>
                  <a:gd name="connsiteY13" fmla="*/ 579 h 1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25" h="12761">
                    <a:moveTo>
                      <a:pt x="512" y="7278"/>
                    </a:moveTo>
                    <a:cubicBezTo>
                      <a:pt x="-863" y="3869"/>
                      <a:pt x="632" y="639"/>
                      <a:pt x="3801" y="101"/>
                    </a:cubicBezTo>
                    <a:cubicBezTo>
                      <a:pt x="4758" y="-78"/>
                      <a:pt x="5715" y="-19"/>
                      <a:pt x="6732" y="280"/>
                    </a:cubicBezTo>
                    <a:cubicBezTo>
                      <a:pt x="9244" y="998"/>
                      <a:pt x="11457" y="3091"/>
                      <a:pt x="12414" y="5484"/>
                    </a:cubicBezTo>
                    <a:cubicBezTo>
                      <a:pt x="13789" y="8893"/>
                      <a:pt x="12294" y="12122"/>
                      <a:pt x="9124" y="12660"/>
                    </a:cubicBezTo>
                    <a:cubicBezTo>
                      <a:pt x="8227" y="12840"/>
                      <a:pt x="7210" y="12780"/>
                      <a:pt x="6194" y="12481"/>
                    </a:cubicBezTo>
                    <a:cubicBezTo>
                      <a:pt x="3742" y="11763"/>
                      <a:pt x="1529" y="9670"/>
                      <a:pt x="512" y="7278"/>
                    </a:cubicBezTo>
                    <a:close/>
                    <a:moveTo>
                      <a:pt x="4340" y="579"/>
                    </a:moveTo>
                    <a:cubicBezTo>
                      <a:pt x="1290" y="1118"/>
                      <a:pt x="-86" y="4228"/>
                      <a:pt x="1230" y="7457"/>
                    </a:cubicBezTo>
                    <a:cubicBezTo>
                      <a:pt x="2067" y="9610"/>
                      <a:pt x="3921" y="11345"/>
                      <a:pt x="6074" y="11943"/>
                    </a:cubicBezTo>
                    <a:cubicBezTo>
                      <a:pt x="6971" y="12182"/>
                      <a:pt x="7868" y="12302"/>
                      <a:pt x="8706" y="12122"/>
                    </a:cubicBezTo>
                    <a:cubicBezTo>
                      <a:pt x="11756" y="11584"/>
                      <a:pt x="13131" y="8474"/>
                      <a:pt x="11875" y="5244"/>
                    </a:cubicBezTo>
                    <a:cubicBezTo>
                      <a:pt x="11038" y="3091"/>
                      <a:pt x="9184" y="1357"/>
                      <a:pt x="7031" y="699"/>
                    </a:cubicBezTo>
                    <a:cubicBezTo>
                      <a:pt x="6074" y="520"/>
                      <a:pt x="5177" y="460"/>
                      <a:pt x="4340" y="5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45" name="Vrije vorm: vorm 9244">
                <a:extLst>
                  <a:ext uri="{FF2B5EF4-FFF2-40B4-BE49-F238E27FC236}">
                    <a16:creationId xmlns:a16="http://schemas.microsoft.com/office/drawing/2014/main" id="{D99E0991-9220-4039-B89D-4D28C99101DD}"/>
                  </a:ext>
                </a:extLst>
              </p:cNvPr>
              <p:cNvSpPr/>
              <p:nvPr/>
            </p:nvSpPr>
            <p:spPr>
              <a:xfrm>
                <a:off x="5020237" y="938954"/>
                <a:ext cx="17224" cy="41924"/>
              </a:xfrm>
              <a:custGeom>
                <a:avLst/>
                <a:gdLst>
                  <a:gd name="connsiteX0" fmla="*/ 16566 w 17224"/>
                  <a:gd name="connsiteY0" fmla="*/ 41745 h 41924"/>
                  <a:gd name="connsiteX1" fmla="*/ 17225 w 17224"/>
                  <a:gd name="connsiteY1" fmla="*/ 41925 h 41924"/>
                  <a:gd name="connsiteX2" fmla="*/ 658 w 17224"/>
                  <a:gd name="connsiteY2" fmla="*/ 239 h 41924"/>
                  <a:gd name="connsiteX3" fmla="*/ 0 w 17224"/>
                  <a:gd name="connsiteY3" fmla="*/ 0 h 41924"/>
                </a:gdLst>
                <a:ahLst/>
                <a:cxnLst>
                  <a:cxn ang="0">
                    <a:pos x="connsiteX0" y="connsiteY0"/>
                  </a:cxn>
                  <a:cxn ang="0">
                    <a:pos x="connsiteX1" y="connsiteY1"/>
                  </a:cxn>
                  <a:cxn ang="0">
                    <a:pos x="connsiteX2" y="connsiteY2"/>
                  </a:cxn>
                  <a:cxn ang="0">
                    <a:pos x="connsiteX3" y="connsiteY3"/>
                  </a:cxn>
                </a:cxnLst>
                <a:rect l="l" t="t" r="r" b="b"/>
                <a:pathLst>
                  <a:path w="17224" h="41924">
                    <a:moveTo>
                      <a:pt x="16566" y="41745"/>
                    </a:moveTo>
                    <a:lnTo>
                      <a:pt x="17225" y="41925"/>
                    </a:lnTo>
                    <a:lnTo>
                      <a:pt x="658" y="239"/>
                    </a:lnTo>
                    <a:lnTo>
                      <a:pt x="0" y="0"/>
                    </a:ln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8975" name="Graphic 3">
              <a:extLst>
                <a:ext uri="{FF2B5EF4-FFF2-40B4-BE49-F238E27FC236}">
                  <a16:creationId xmlns:a16="http://schemas.microsoft.com/office/drawing/2014/main" id="{CCD29C6D-1113-431B-B0E2-0D1424CC4D84}"/>
                </a:ext>
              </a:extLst>
            </p:cNvPr>
            <p:cNvGrpSpPr/>
            <p:nvPr/>
          </p:nvGrpSpPr>
          <p:grpSpPr>
            <a:xfrm>
              <a:off x="5353962" y="1131054"/>
              <a:ext cx="181036" cy="169852"/>
              <a:chOff x="5353962" y="1131054"/>
              <a:chExt cx="181036" cy="169852"/>
            </a:xfrm>
            <a:grpFill/>
          </p:grpSpPr>
          <p:grpSp>
            <p:nvGrpSpPr>
              <p:cNvPr id="9209" name="Graphic 3">
                <a:extLst>
                  <a:ext uri="{FF2B5EF4-FFF2-40B4-BE49-F238E27FC236}">
                    <a16:creationId xmlns:a16="http://schemas.microsoft.com/office/drawing/2014/main" id="{21F288B5-A1A1-47DF-836D-2053CD187AB0}"/>
                  </a:ext>
                </a:extLst>
              </p:cNvPr>
              <p:cNvGrpSpPr/>
              <p:nvPr/>
            </p:nvGrpSpPr>
            <p:grpSpPr>
              <a:xfrm>
                <a:off x="5353962" y="1131054"/>
                <a:ext cx="181036" cy="169852"/>
                <a:chOff x="5353962" y="1131054"/>
                <a:chExt cx="181036" cy="169852"/>
              </a:xfrm>
              <a:grpFill/>
            </p:grpSpPr>
            <p:sp>
              <p:nvSpPr>
                <p:cNvPr id="9213" name="Vrije vorm: vorm 9212">
                  <a:extLst>
                    <a:ext uri="{FF2B5EF4-FFF2-40B4-BE49-F238E27FC236}">
                      <a16:creationId xmlns:a16="http://schemas.microsoft.com/office/drawing/2014/main" id="{8261EF23-1284-418F-8B03-CD4880853864}"/>
                    </a:ext>
                  </a:extLst>
                </p:cNvPr>
                <p:cNvSpPr/>
                <p:nvPr/>
              </p:nvSpPr>
              <p:spPr>
                <a:xfrm>
                  <a:off x="5397621" y="1248635"/>
                  <a:ext cx="137377" cy="52271"/>
                </a:xfrm>
                <a:custGeom>
                  <a:avLst/>
                  <a:gdLst>
                    <a:gd name="connsiteX0" fmla="*/ 137377 w 137377"/>
                    <a:gd name="connsiteY0" fmla="*/ 299 h 52271"/>
                    <a:gd name="connsiteX1" fmla="*/ 120 w 137377"/>
                    <a:gd name="connsiteY1" fmla="*/ 52272 h 52271"/>
                    <a:gd name="connsiteX2" fmla="*/ 0 w 137377"/>
                    <a:gd name="connsiteY2" fmla="*/ 51972 h 52271"/>
                    <a:gd name="connsiteX3" fmla="*/ 137258 w 13737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77" h="52271">
                      <a:moveTo>
                        <a:pt x="137377" y="299"/>
                      </a:moveTo>
                      <a:lnTo>
                        <a:pt x="120" y="52272"/>
                      </a:lnTo>
                      <a:lnTo>
                        <a:pt x="0" y="51972"/>
                      </a:lnTo>
                      <a:lnTo>
                        <a:pt x="137258" y="0"/>
                      </a:lnTo>
                      <a:close/>
                    </a:path>
                  </a:pathLst>
                </a:custGeom>
                <a:grpFill/>
                <a:ln w="6350" cap="flat">
                  <a:solidFill>
                    <a:schemeClr val="bg1">
                      <a:alpha val="80000"/>
                    </a:schemeClr>
                  </a:solidFill>
                  <a:prstDash val="solid"/>
                  <a:miter/>
                </a:ln>
              </p:spPr>
              <p:txBody>
                <a:bodyPr rtlCol="0" anchor="ctr"/>
                <a:lstStyle/>
                <a:p>
                  <a:endParaRPr lang="en-GB"/>
                </a:p>
              </p:txBody>
            </p:sp>
            <p:sp>
              <p:nvSpPr>
                <p:cNvPr id="9214" name="Vrije vorm: vorm 9213">
                  <a:extLst>
                    <a:ext uri="{FF2B5EF4-FFF2-40B4-BE49-F238E27FC236}">
                      <a16:creationId xmlns:a16="http://schemas.microsoft.com/office/drawing/2014/main" id="{669AC1EA-5A07-48FB-97A6-32D9A9961E26}"/>
                    </a:ext>
                  </a:extLst>
                </p:cNvPr>
                <p:cNvSpPr/>
                <p:nvPr/>
              </p:nvSpPr>
              <p:spPr>
                <a:xfrm>
                  <a:off x="5390384" y="1229078"/>
                  <a:ext cx="137317" cy="52271"/>
                </a:xfrm>
                <a:custGeom>
                  <a:avLst/>
                  <a:gdLst>
                    <a:gd name="connsiteX0" fmla="*/ 137317 w 137317"/>
                    <a:gd name="connsiteY0" fmla="*/ 299 h 52271"/>
                    <a:gd name="connsiteX1" fmla="*/ 119 w 137317"/>
                    <a:gd name="connsiteY1" fmla="*/ 52271 h 52271"/>
                    <a:gd name="connsiteX2" fmla="*/ 0 w 137317"/>
                    <a:gd name="connsiteY2" fmla="*/ 51972 h 52271"/>
                    <a:gd name="connsiteX3" fmla="*/ 137257 w 13731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17" h="52271">
                      <a:moveTo>
                        <a:pt x="137317" y="299"/>
                      </a:moveTo>
                      <a:lnTo>
                        <a:pt x="119" y="52271"/>
                      </a:lnTo>
                      <a:lnTo>
                        <a:pt x="0" y="51972"/>
                      </a:lnTo>
                      <a:lnTo>
                        <a:pt x="137257" y="0"/>
                      </a:lnTo>
                      <a:close/>
                    </a:path>
                  </a:pathLst>
                </a:custGeom>
                <a:grpFill/>
                <a:ln w="6350" cap="flat">
                  <a:solidFill>
                    <a:schemeClr val="bg1">
                      <a:alpha val="80000"/>
                    </a:schemeClr>
                  </a:solidFill>
                  <a:prstDash val="solid"/>
                  <a:miter/>
                </a:ln>
              </p:spPr>
              <p:txBody>
                <a:bodyPr rtlCol="0" anchor="ctr"/>
                <a:lstStyle/>
                <a:p>
                  <a:endParaRPr lang="en-GB"/>
                </a:p>
              </p:txBody>
            </p:sp>
            <p:sp>
              <p:nvSpPr>
                <p:cNvPr id="9215" name="Vrije vorm: vorm 9214">
                  <a:extLst>
                    <a:ext uri="{FF2B5EF4-FFF2-40B4-BE49-F238E27FC236}">
                      <a16:creationId xmlns:a16="http://schemas.microsoft.com/office/drawing/2014/main" id="{E8E5898F-789C-48E1-9823-330AAAD6519E}"/>
                    </a:ext>
                  </a:extLst>
                </p:cNvPr>
                <p:cNvSpPr/>
                <p:nvPr/>
              </p:nvSpPr>
              <p:spPr>
                <a:xfrm>
                  <a:off x="5383088" y="1209462"/>
                  <a:ext cx="137377" cy="52271"/>
                </a:xfrm>
                <a:custGeom>
                  <a:avLst/>
                  <a:gdLst>
                    <a:gd name="connsiteX0" fmla="*/ 137377 w 137377"/>
                    <a:gd name="connsiteY0" fmla="*/ 299 h 52271"/>
                    <a:gd name="connsiteX1" fmla="*/ 120 w 137377"/>
                    <a:gd name="connsiteY1" fmla="*/ 52271 h 52271"/>
                    <a:gd name="connsiteX2" fmla="*/ 0 w 137377"/>
                    <a:gd name="connsiteY2" fmla="*/ 51972 h 52271"/>
                    <a:gd name="connsiteX3" fmla="*/ 137258 w 13737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77" h="52271">
                      <a:moveTo>
                        <a:pt x="137377" y="299"/>
                      </a:moveTo>
                      <a:lnTo>
                        <a:pt x="120" y="52271"/>
                      </a:lnTo>
                      <a:lnTo>
                        <a:pt x="0" y="51972"/>
                      </a:lnTo>
                      <a:lnTo>
                        <a:pt x="137258" y="0"/>
                      </a:lnTo>
                      <a:close/>
                    </a:path>
                  </a:pathLst>
                </a:custGeom>
                <a:grpFill/>
                <a:ln w="6350" cap="flat">
                  <a:solidFill>
                    <a:schemeClr val="bg1">
                      <a:alpha val="80000"/>
                    </a:schemeClr>
                  </a:solidFill>
                  <a:prstDash val="solid"/>
                  <a:miter/>
                </a:ln>
              </p:spPr>
              <p:txBody>
                <a:bodyPr rtlCol="0" anchor="ctr"/>
                <a:lstStyle/>
                <a:p>
                  <a:endParaRPr lang="en-GB"/>
                </a:p>
              </p:txBody>
            </p:sp>
            <p:sp>
              <p:nvSpPr>
                <p:cNvPr id="9216" name="Vrije vorm: vorm 9215">
                  <a:extLst>
                    <a:ext uri="{FF2B5EF4-FFF2-40B4-BE49-F238E27FC236}">
                      <a16:creationId xmlns:a16="http://schemas.microsoft.com/office/drawing/2014/main" id="{DF8BF7FE-8BE2-4BB9-97A1-639DA36A5D8F}"/>
                    </a:ext>
                  </a:extLst>
                </p:cNvPr>
                <p:cNvSpPr/>
                <p:nvPr/>
              </p:nvSpPr>
              <p:spPr>
                <a:xfrm>
                  <a:off x="5375851" y="1189905"/>
                  <a:ext cx="137377" cy="52271"/>
                </a:xfrm>
                <a:custGeom>
                  <a:avLst/>
                  <a:gdLst>
                    <a:gd name="connsiteX0" fmla="*/ 137377 w 137377"/>
                    <a:gd name="connsiteY0" fmla="*/ 299 h 52271"/>
                    <a:gd name="connsiteX1" fmla="*/ 120 w 137377"/>
                    <a:gd name="connsiteY1" fmla="*/ 52272 h 52271"/>
                    <a:gd name="connsiteX2" fmla="*/ 0 w 137377"/>
                    <a:gd name="connsiteY2" fmla="*/ 51972 h 52271"/>
                    <a:gd name="connsiteX3" fmla="*/ 137258 w 13737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77" h="52271">
                      <a:moveTo>
                        <a:pt x="137377" y="299"/>
                      </a:moveTo>
                      <a:lnTo>
                        <a:pt x="120" y="52272"/>
                      </a:lnTo>
                      <a:lnTo>
                        <a:pt x="0" y="51972"/>
                      </a:lnTo>
                      <a:lnTo>
                        <a:pt x="137258" y="0"/>
                      </a:lnTo>
                      <a:close/>
                    </a:path>
                  </a:pathLst>
                </a:custGeom>
                <a:grpFill/>
                <a:ln w="6350" cap="flat">
                  <a:solidFill>
                    <a:schemeClr val="bg1">
                      <a:alpha val="80000"/>
                    </a:schemeClr>
                  </a:solidFill>
                  <a:prstDash val="solid"/>
                  <a:miter/>
                </a:ln>
              </p:spPr>
              <p:txBody>
                <a:bodyPr rtlCol="0" anchor="ctr"/>
                <a:lstStyle/>
                <a:p>
                  <a:endParaRPr lang="en-GB"/>
                </a:p>
              </p:txBody>
            </p:sp>
            <p:sp>
              <p:nvSpPr>
                <p:cNvPr id="9217" name="Vrije vorm: vorm 9216">
                  <a:extLst>
                    <a:ext uri="{FF2B5EF4-FFF2-40B4-BE49-F238E27FC236}">
                      <a16:creationId xmlns:a16="http://schemas.microsoft.com/office/drawing/2014/main" id="{6FA0C36E-A154-4220-A7AB-1C1368ADDA78}"/>
                    </a:ext>
                  </a:extLst>
                </p:cNvPr>
                <p:cNvSpPr/>
                <p:nvPr/>
              </p:nvSpPr>
              <p:spPr>
                <a:xfrm>
                  <a:off x="5368615" y="1170288"/>
                  <a:ext cx="137377" cy="52331"/>
                </a:xfrm>
                <a:custGeom>
                  <a:avLst/>
                  <a:gdLst>
                    <a:gd name="connsiteX0" fmla="*/ 137377 w 137377"/>
                    <a:gd name="connsiteY0" fmla="*/ 359 h 52331"/>
                    <a:gd name="connsiteX1" fmla="*/ 119 w 137377"/>
                    <a:gd name="connsiteY1" fmla="*/ 52331 h 52331"/>
                    <a:gd name="connsiteX2" fmla="*/ 0 w 137377"/>
                    <a:gd name="connsiteY2" fmla="*/ 52032 h 52331"/>
                    <a:gd name="connsiteX3" fmla="*/ 137258 w 137377"/>
                    <a:gd name="connsiteY3" fmla="*/ 0 h 52331"/>
                  </a:gdLst>
                  <a:ahLst/>
                  <a:cxnLst>
                    <a:cxn ang="0">
                      <a:pos x="connsiteX0" y="connsiteY0"/>
                    </a:cxn>
                    <a:cxn ang="0">
                      <a:pos x="connsiteX1" y="connsiteY1"/>
                    </a:cxn>
                    <a:cxn ang="0">
                      <a:pos x="connsiteX2" y="connsiteY2"/>
                    </a:cxn>
                    <a:cxn ang="0">
                      <a:pos x="connsiteX3" y="connsiteY3"/>
                    </a:cxn>
                  </a:cxnLst>
                  <a:rect l="l" t="t" r="r" b="b"/>
                  <a:pathLst>
                    <a:path w="137377" h="52331">
                      <a:moveTo>
                        <a:pt x="137377" y="359"/>
                      </a:moveTo>
                      <a:lnTo>
                        <a:pt x="119" y="52331"/>
                      </a:lnTo>
                      <a:lnTo>
                        <a:pt x="0" y="52032"/>
                      </a:lnTo>
                      <a:lnTo>
                        <a:pt x="137258" y="0"/>
                      </a:lnTo>
                      <a:close/>
                    </a:path>
                  </a:pathLst>
                </a:custGeom>
                <a:grpFill/>
                <a:ln w="6350" cap="flat">
                  <a:solidFill>
                    <a:schemeClr val="bg1">
                      <a:alpha val="80000"/>
                    </a:schemeClr>
                  </a:solidFill>
                  <a:prstDash val="solid"/>
                  <a:miter/>
                </a:ln>
              </p:spPr>
              <p:txBody>
                <a:bodyPr rtlCol="0" anchor="ctr"/>
                <a:lstStyle/>
                <a:p>
                  <a:endParaRPr lang="en-GB"/>
                </a:p>
              </p:txBody>
            </p:sp>
            <p:sp>
              <p:nvSpPr>
                <p:cNvPr id="9218" name="Vrije vorm: vorm 9217">
                  <a:extLst>
                    <a:ext uri="{FF2B5EF4-FFF2-40B4-BE49-F238E27FC236}">
                      <a16:creationId xmlns:a16="http://schemas.microsoft.com/office/drawing/2014/main" id="{60952E01-ADE0-4DBD-AF84-1341C999300D}"/>
                    </a:ext>
                  </a:extLst>
                </p:cNvPr>
                <p:cNvSpPr/>
                <p:nvPr/>
              </p:nvSpPr>
              <p:spPr>
                <a:xfrm>
                  <a:off x="5361378" y="1150731"/>
                  <a:ext cx="137377" cy="52271"/>
                </a:xfrm>
                <a:custGeom>
                  <a:avLst/>
                  <a:gdLst>
                    <a:gd name="connsiteX0" fmla="*/ 137377 w 137377"/>
                    <a:gd name="connsiteY0" fmla="*/ 299 h 52271"/>
                    <a:gd name="connsiteX1" fmla="*/ 120 w 137377"/>
                    <a:gd name="connsiteY1" fmla="*/ 52271 h 52271"/>
                    <a:gd name="connsiteX2" fmla="*/ 0 w 137377"/>
                    <a:gd name="connsiteY2" fmla="*/ 51972 h 52271"/>
                    <a:gd name="connsiteX3" fmla="*/ 137258 w 13737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77" h="52271">
                      <a:moveTo>
                        <a:pt x="137377" y="299"/>
                      </a:moveTo>
                      <a:lnTo>
                        <a:pt x="120" y="52271"/>
                      </a:lnTo>
                      <a:lnTo>
                        <a:pt x="0" y="51972"/>
                      </a:lnTo>
                      <a:lnTo>
                        <a:pt x="137258" y="0"/>
                      </a:lnTo>
                      <a:close/>
                    </a:path>
                  </a:pathLst>
                </a:custGeom>
                <a:grpFill/>
                <a:ln w="6350" cap="flat">
                  <a:solidFill>
                    <a:schemeClr val="bg1">
                      <a:alpha val="80000"/>
                    </a:schemeClr>
                  </a:solidFill>
                  <a:prstDash val="solid"/>
                  <a:miter/>
                </a:ln>
              </p:spPr>
              <p:txBody>
                <a:bodyPr rtlCol="0" anchor="ctr"/>
                <a:lstStyle/>
                <a:p>
                  <a:endParaRPr lang="en-GB"/>
                </a:p>
              </p:txBody>
            </p:sp>
            <p:sp>
              <p:nvSpPr>
                <p:cNvPr id="9219" name="Vrije vorm: vorm 9218">
                  <a:extLst>
                    <a:ext uri="{FF2B5EF4-FFF2-40B4-BE49-F238E27FC236}">
                      <a16:creationId xmlns:a16="http://schemas.microsoft.com/office/drawing/2014/main" id="{388F48CB-6E89-4F9A-A561-F122D16769C0}"/>
                    </a:ext>
                  </a:extLst>
                </p:cNvPr>
                <p:cNvSpPr/>
                <p:nvPr/>
              </p:nvSpPr>
              <p:spPr>
                <a:xfrm>
                  <a:off x="5354141" y="1131174"/>
                  <a:ext cx="137317" cy="52271"/>
                </a:xfrm>
                <a:custGeom>
                  <a:avLst/>
                  <a:gdLst>
                    <a:gd name="connsiteX0" fmla="*/ 137317 w 137317"/>
                    <a:gd name="connsiteY0" fmla="*/ 299 h 52271"/>
                    <a:gd name="connsiteX1" fmla="*/ 119 w 137317"/>
                    <a:gd name="connsiteY1" fmla="*/ 52272 h 52271"/>
                    <a:gd name="connsiteX2" fmla="*/ 0 w 137317"/>
                    <a:gd name="connsiteY2" fmla="*/ 51972 h 52271"/>
                    <a:gd name="connsiteX3" fmla="*/ 137257 w 137317"/>
                    <a:gd name="connsiteY3" fmla="*/ 0 h 52271"/>
                  </a:gdLst>
                  <a:ahLst/>
                  <a:cxnLst>
                    <a:cxn ang="0">
                      <a:pos x="connsiteX0" y="connsiteY0"/>
                    </a:cxn>
                    <a:cxn ang="0">
                      <a:pos x="connsiteX1" y="connsiteY1"/>
                    </a:cxn>
                    <a:cxn ang="0">
                      <a:pos x="connsiteX2" y="connsiteY2"/>
                    </a:cxn>
                    <a:cxn ang="0">
                      <a:pos x="connsiteX3" y="connsiteY3"/>
                    </a:cxn>
                  </a:cxnLst>
                  <a:rect l="l" t="t" r="r" b="b"/>
                  <a:pathLst>
                    <a:path w="137317" h="52271">
                      <a:moveTo>
                        <a:pt x="137317" y="299"/>
                      </a:moveTo>
                      <a:lnTo>
                        <a:pt x="119" y="52272"/>
                      </a:lnTo>
                      <a:lnTo>
                        <a:pt x="0" y="51972"/>
                      </a:lnTo>
                      <a:lnTo>
                        <a:pt x="137257" y="0"/>
                      </a:lnTo>
                      <a:close/>
                    </a:path>
                  </a:pathLst>
                </a:custGeom>
                <a:grpFill/>
                <a:ln w="6350" cap="flat">
                  <a:solidFill>
                    <a:schemeClr val="bg1">
                      <a:alpha val="80000"/>
                    </a:schemeClr>
                  </a:solidFill>
                  <a:prstDash val="solid"/>
                  <a:miter/>
                </a:ln>
              </p:spPr>
              <p:txBody>
                <a:bodyPr rtlCol="0" anchor="ctr"/>
                <a:lstStyle/>
                <a:p>
                  <a:endParaRPr lang="en-GB"/>
                </a:p>
              </p:txBody>
            </p:sp>
            <p:sp>
              <p:nvSpPr>
                <p:cNvPr id="9220" name="Vrije vorm: vorm 9219">
                  <a:extLst>
                    <a:ext uri="{FF2B5EF4-FFF2-40B4-BE49-F238E27FC236}">
                      <a16:creationId xmlns:a16="http://schemas.microsoft.com/office/drawing/2014/main" id="{3261D625-4070-41E9-8516-AFA92DE361BC}"/>
                    </a:ext>
                  </a:extLst>
                </p:cNvPr>
                <p:cNvSpPr/>
                <p:nvPr/>
              </p:nvSpPr>
              <p:spPr>
                <a:xfrm>
                  <a:off x="5353962" y="1183087"/>
                  <a:ext cx="43659" cy="117162"/>
                </a:xfrm>
                <a:custGeom>
                  <a:avLst/>
                  <a:gdLst>
                    <a:gd name="connsiteX0" fmla="*/ 43659 w 43659"/>
                    <a:gd name="connsiteY0" fmla="*/ 117103 h 117162"/>
                    <a:gd name="connsiteX1" fmla="*/ 43360 w 43659"/>
                    <a:gd name="connsiteY1" fmla="*/ 117162 h 117162"/>
                    <a:gd name="connsiteX2" fmla="*/ 0 w 43659"/>
                    <a:gd name="connsiteY2" fmla="*/ 60 h 117162"/>
                    <a:gd name="connsiteX3" fmla="*/ 299 w 43659"/>
                    <a:gd name="connsiteY3" fmla="*/ 0 h 117162"/>
                  </a:gdLst>
                  <a:ahLst/>
                  <a:cxnLst>
                    <a:cxn ang="0">
                      <a:pos x="connsiteX0" y="connsiteY0"/>
                    </a:cxn>
                    <a:cxn ang="0">
                      <a:pos x="connsiteX1" y="connsiteY1"/>
                    </a:cxn>
                    <a:cxn ang="0">
                      <a:pos x="connsiteX2" y="connsiteY2"/>
                    </a:cxn>
                    <a:cxn ang="0">
                      <a:pos x="connsiteX3" y="connsiteY3"/>
                    </a:cxn>
                  </a:cxnLst>
                  <a:rect l="l" t="t" r="r" b="b"/>
                  <a:pathLst>
                    <a:path w="43659" h="117162">
                      <a:moveTo>
                        <a:pt x="43659" y="117103"/>
                      </a:moveTo>
                      <a:lnTo>
                        <a:pt x="43360" y="117162"/>
                      </a:lnTo>
                      <a:lnTo>
                        <a:pt x="0" y="60"/>
                      </a:lnTo>
                      <a:lnTo>
                        <a:pt x="299" y="0"/>
                      </a:lnTo>
                      <a:close/>
                    </a:path>
                  </a:pathLst>
                </a:custGeom>
                <a:grpFill/>
                <a:ln w="6350" cap="flat">
                  <a:solidFill>
                    <a:schemeClr val="bg1">
                      <a:alpha val="80000"/>
                    </a:schemeClr>
                  </a:solidFill>
                  <a:prstDash val="solid"/>
                  <a:miter/>
                </a:ln>
              </p:spPr>
              <p:txBody>
                <a:bodyPr rtlCol="0" anchor="ctr"/>
                <a:lstStyle/>
                <a:p>
                  <a:endParaRPr lang="en-GB"/>
                </a:p>
              </p:txBody>
            </p:sp>
            <p:sp>
              <p:nvSpPr>
                <p:cNvPr id="9221" name="Vrije vorm: vorm 9220">
                  <a:extLst>
                    <a:ext uri="{FF2B5EF4-FFF2-40B4-BE49-F238E27FC236}">
                      <a16:creationId xmlns:a16="http://schemas.microsoft.com/office/drawing/2014/main" id="{BBC6A645-76C1-484B-8E0F-9071A28D863B}"/>
                    </a:ext>
                  </a:extLst>
                </p:cNvPr>
                <p:cNvSpPr/>
                <p:nvPr/>
              </p:nvSpPr>
              <p:spPr>
                <a:xfrm>
                  <a:off x="5369212" y="1177285"/>
                  <a:ext cx="43659" cy="117222"/>
                </a:xfrm>
                <a:custGeom>
                  <a:avLst/>
                  <a:gdLst>
                    <a:gd name="connsiteX0" fmla="*/ 43659 w 43659"/>
                    <a:gd name="connsiteY0" fmla="*/ 117103 h 117222"/>
                    <a:gd name="connsiteX1" fmla="*/ 43360 w 43659"/>
                    <a:gd name="connsiteY1" fmla="*/ 117222 h 117222"/>
                    <a:gd name="connsiteX2" fmla="*/ 0 w 43659"/>
                    <a:gd name="connsiteY2" fmla="*/ 120 h 117222"/>
                    <a:gd name="connsiteX3" fmla="*/ 299 w 43659"/>
                    <a:gd name="connsiteY3" fmla="*/ 0 h 117222"/>
                  </a:gdLst>
                  <a:ahLst/>
                  <a:cxnLst>
                    <a:cxn ang="0">
                      <a:pos x="connsiteX0" y="connsiteY0"/>
                    </a:cxn>
                    <a:cxn ang="0">
                      <a:pos x="connsiteX1" y="connsiteY1"/>
                    </a:cxn>
                    <a:cxn ang="0">
                      <a:pos x="connsiteX2" y="connsiteY2"/>
                    </a:cxn>
                    <a:cxn ang="0">
                      <a:pos x="connsiteX3" y="connsiteY3"/>
                    </a:cxn>
                  </a:cxnLst>
                  <a:rect l="l" t="t" r="r" b="b"/>
                  <a:pathLst>
                    <a:path w="43659" h="117222">
                      <a:moveTo>
                        <a:pt x="43659" y="117103"/>
                      </a:moveTo>
                      <a:lnTo>
                        <a:pt x="43360" y="117222"/>
                      </a:lnTo>
                      <a:lnTo>
                        <a:pt x="0" y="120"/>
                      </a:lnTo>
                      <a:lnTo>
                        <a:pt x="299" y="0"/>
                      </a:lnTo>
                      <a:close/>
                    </a:path>
                  </a:pathLst>
                </a:custGeom>
                <a:grpFill/>
                <a:ln w="6350" cap="flat">
                  <a:solidFill>
                    <a:schemeClr val="bg1">
                      <a:alpha val="80000"/>
                    </a:schemeClr>
                  </a:solidFill>
                  <a:prstDash val="solid"/>
                  <a:miter/>
                </a:ln>
              </p:spPr>
              <p:txBody>
                <a:bodyPr rtlCol="0" anchor="ctr"/>
                <a:lstStyle/>
                <a:p>
                  <a:endParaRPr lang="en-GB"/>
                </a:p>
              </p:txBody>
            </p:sp>
            <p:sp>
              <p:nvSpPr>
                <p:cNvPr id="9222" name="Vrije vorm: vorm 9221">
                  <a:extLst>
                    <a:ext uri="{FF2B5EF4-FFF2-40B4-BE49-F238E27FC236}">
                      <a16:creationId xmlns:a16="http://schemas.microsoft.com/office/drawing/2014/main" id="{DE6EFD58-A0C3-4265-B5E6-880B047FB65A}"/>
                    </a:ext>
                  </a:extLst>
                </p:cNvPr>
                <p:cNvSpPr/>
                <p:nvPr/>
              </p:nvSpPr>
              <p:spPr>
                <a:xfrm>
                  <a:off x="5384463" y="1171484"/>
                  <a:ext cx="43659" cy="117222"/>
                </a:xfrm>
                <a:custGeom>
                  <a:avLst/>
                  <a:gdLst>
                    <a:gd name="connsiteX0" fmla="*/ 43660 w 43659"/>
                    <a:gd name="connsiteY0" fmla="*/ 117162 h 117222"/>
                    <a:gd name="connsiteX1" fmla="*/ 43360 w 43659"/>
                    <a:gd name="connsiteY1" fmla="*/ 117222 h 117222"/>
                    <a:gd name="connsiteX2" fmla="*/ 0 w 43659"/>
                    <a:gd name="connsiteY2" fmla="*/ 120 h 117222"/>
                    <a:gd name="connsiteX3" fmla="*/ 299 w 43659"/>
                    <a:gd name="connsiteY3" fmla="*/ 0 h 117222"/>
                  </a:gdLst>
                  <a:ahLst/>
                  <a:cxnLst>
                    <a:cxn ang="0">
                      <a:pos x="connsiteX0" y="connsiteY0"/>
                    </a:cxn>
                    <a:cxn ang="0">
                      <a:pos x="connsiteX1" y="connsiteY1"/>
                    </a:cxn>
                    <a:cxn ang="0">
                      <a:pos x="connsiteX2" y="connsiteY2"/>
                    </a:cxn>
                    <a:cxn ang="0">
                      <a:pos x="connsiteX3" y="connsiteY3"/>
                    </a:cxn>
                  </a:cxnLst>
                  <a:rect l="l" t="t" r="r" b="b"/>
                  <a:pathLst>
                    <a:path w="43659" h="117222">
                      <a:moveTo>
                        <a:pt x="43660" y="117162"/>
                      </a:moveTo>
                      <a:lnTo>
                        <a:pt x="43360" y="117222"/>
                      </a:lnTo>
                      <a:lnTo>
                        <a:pt x="0" y="120"/>
                      </a:lnTo>
                      <a:lnTo>
                        <a:pt x="299" y="0"/>
                      </a:lnTo>
                      <a:close/>
                    </a:path>
                  </a:pathLst>
                </a:custGeom>
                <a:grpFill/>
                <a:ln w="6350" cap="flat">
                  <a:solidFill>
                    <a:schemeClr val="bg1">
                      <a:alpha val="80000"/>
                    </a:schemeClr>
                  </a:solidFill>
                  <a:prstDash val="solid"/>
                  <a:miter/>
                </a:ln>
              </p:spPr>
              <p:txBody>
                <a:bodyPr rtlCol="0" anchor="ctr"/>
                <a:lstStyle/>
                <a:p>
                  <a:endParaRPr lang="en-GB"/>
                </a:p>
              </p:txBody>
            </p:sp>
            <p:sp>
              <p:nvSpPr>
                <p:cNvPr id="9223" name="Vrije vorm: vorm 9222">
                  <a:extLst>
                    <a:ext uri="{FF2B5EF4-FFF2-40B4-BE49-F238E27FC236}">
                      <a16:creationId xmlns:a16="http://schemas.microsoft.com/office/drawing/2014/main" id="{9D6932F5-40E6-455D-A773-D4C2E22D26C8}"/>
                    </a:ext>
                  </a:extLst>
                </p:cNvPr>
                <p:cNvSpPr/>
                <p:nvPr/>
              </p:nvSpPr>
              <p:spPr>
                <a:xfrm>
                  <a:off x="5399714" y="1165743"/>
                  <a:ext cx="43659" cy="117222"/>
                </a:xfrm>
                <a:custGeom>
                  <a:avLst/>
                  <a:gdLst>
                    <a:gd name="connsiteX0" fmla="*/ 43659 w 43659"/>
                    <a:gd name="connsiteY0" fmla="*/ 117103 h 117222"/>
                    <a:gd name="connsiteX1" fmla="*/ 43360 w 43659"/>
                    <a:gd name="connsiteY1" fmla="*/ 117222 h 117222"/>
                    <a:gd name="connsiteX2" fmla="*/ 0 w 43659"/>
                    <a:gd name="connsiteY2" fmla="*/ 60 h 117222"/>
                    <a:gd name="connsiteX3" fmla="*/ 299 w 43659"/>
                    <a:gd name="connsiteY3" fmla="*/ 0 h 117222"/>
                  </a:gdLst>
                  <a:ahLst/>
                  <a:cxnLst>
                    <a:cxn ang="0">
                      <a:pos x="connsiteX0" y="connsiteY0"/>
                    </a:cxn>
                    <a:cxn ang="0">
                      <a:pos x="connsiteX1" y="connsiteY1"/>
                    </a:cxn>
                    <a:cxn ang="0">
                      <a:pos x="connsiteX2" y="connsiteY2"/>
                    </a:cxn>
                    <a:cxn ang="0">
                      <a:pos x="connsiteX3" y="connsiteY3"/>
                    </a:cxn>
                  </a:cxnLst>
                  <a:rect l="l" t="t" r="r" b="b"/>
                  <a:pathLst>
                    <a:path w="43659" h="117222">
                      <a:moveTo>
                        <a:pt x="43659" y="117103"/>
                      </a:moveTo>
                      <a:lnTo>
                        <a:pt x="43360" y="117222"/>
                      </a:lnTo>
                      <a:lnTo>
                        <a:pt x="0" y="60"/>
                      </a:lnTo>
                      <a:lnTo>
                        <a:pt x="299" y="0"/>
                      </a:lnTo>
                      <a:close/>
                    </a:path>
                  </a:pathLst>
                </a:custGeom>
                <a:grpFill/>
                <a:ln w="6350" cap="flat">
                  <a:solidFill>
                    <a:schemeClr val="bg1">
                      <a:alpha val="80000"/>
                    </a:schemeClr>
                  </a:solidFill>
                  <a:prstDash val="solid"/>
                  <a:miter/>
                </a:ln>
              </p:spPr>
              <p:txBody>
                <a:bodyPr rtlCol="0" anchor="ctr"/>
                <a:lstStyle/>
                <a:p>
                  <a:endParaRPr lang="en-GB"/>
                </a:p>
              </p:txBody>
            </p:sp>
            <p:sp>
              <p:nvSpPr>
                <p:cNvPr id="9224" name="Vrije vorm: vorm 9223">
                  <a:extLst>
                    <a:ext uri="{FF2B5EF4-FFF2-40B4-BE49-F238E27FC236}">
                      <a16:creationId xmlns:a16="http://schemas.microsoft.com/office/drawing/2014/main" id="{49AFE266-6B57-4260-A7B2-9A062F2650C8}"/>
                    </a:ext>
                  </a:extLst>
                </p:cNvPr>
                <p:cNvSpPr/>
                <p:nvPr/>
              </p:nvSpPr>
              <p:spPr>
                <a:xfrm>
                  <a:off x="5414965" y="1159941"/>
                  <a:ext cx="43659" cy="117222"/>
                </a:xfrm>
                <a:custGeom>
                  <a:avLst/>
                  <a:gdLst>
                    <a:gd name="connsiteX0" fmla="*/ 43659 w 43659"/>
                    <a:gd name="connsiteY0" fmla="*/ 117102 h 117222"/>
                    <a:gd name="connsiteX1" fmla="*/ 43360 w 43659"/>
                    <a:gd name="connsiteY1" fmla="*/ 117222 h 117222"/>
                    <a:gd name="connsiteX2" fmla="*/ 0 w 43659"/>
                    <a:gd name="connsiteY2" fmla="*/ 120 h 117222"/>
                    <a:gd name="connsiteX3" fmla="*/ 299 w 43659"/>
                    <a:gd name="connsiteY3" fmla="*/ 0 h 117222"/>
                  </a:gdLst>
                  <a:ahLst/>
                  <a:cxnLst>
                    <a:cxn ang="0">
                      <a:pos x="connsiteX0" y="connsiteY0"/>
                    </a:cxn>
                    <a:cxn ang="0">
                      <a:pos x="connsiteX1" y="connsiteY1"/>
                    </a:cxn>
                    <a:cxn ang="0">
                      <a:pos x="connsiteX2" y="connsiteY2"/>
                    </a:cxn>
                    <a:cxn ang="0">
                      <a:pos x="connsiteX3" y="connsiteY3"/>
                    </a:cxn>
                  </a:cxnLst>
                  <a:rect l="l" t="t" r="r" b="b"/>
                  <a:pathLst>
                    <a:path w="43659" h="117222">
                      <a:moveTo>
                        <a:pt x="43659" y="117102"/>
                      </a:moveTo>
                      <a:lnTo>
                        <a:pt x="43360" y="117222"/>
                      </a:lnTo>
                      <a:lnTo>
                        <a:pt x="0" y="120"/>
                      </a:lnTo>
                      <a:lnTo>
                        <a:pt x="299" y="0"/>
                      </a:lnTo>
                      <a:close/>
                    </a:path>
                  </a:pathLst>
                </a:custGeom>
                <a:grpFill/>
                <a:ln w="6350" cap="flat">
                  <a:solidFill>
                    <a:schemeClr val="bg1">
                      <a:alpha val="80000"/>
                    </a:schemeClr>
                  </a:solidFill>
                  <a:prstDash val="solid"/>
                  <a:miter/>
                </a:ln>
              </p:spPr>
              <p:txBody>
                <a:bodyPr rtlCol="0" anchor="ctr"/>
                <a:lstStyle/>
                <a:p>
                  <a:endParaRPr lang="en-GB"/>
                </a:p>
              </p:txBody>
            </p:sp>
            <p:sp>
              <p:nvSpPr>
                <p:cNvPr id="9225" name="Vrije vorm: vorm 9224">
                  <a:extLst>
                    <a:ext uri="{FF2B5EF4-FFF2-40B4-BE49-F238E27FC236}">
                      <a16:creationId xmlns:a16="http://schemas.microsoft.com/office/drawing/2014/main" id="{FA0E92DE-AD6F-41DF-8619-51F7FB0221A1}"/>
                    </a:ext>
                  </a:extLst>
                </p:cNvPr>
                <p:cNvSpPr/>
                <p:nvPr/>
              </p:nvSpPr>
              <p:spPr>
                <a:xfrm>
                  <a:off x="5430216" y="1154200"/>
                  <a:ext cx="43659" cy="117162"/>
                </a:xfrm>
                <a:custGeom>
                  <a:avLst/>
                  <a:gdLst>
                    <a:gd name="connsiteX0" fmla="*/ 43659 w 43659"/>
                    <a:gd name="connsiteY0" fmla="*/ 117103 h 117162"/>
                    <a:gd name="connsiteX1" fmla="*/ 43360 w 43659"/>
                    <a:gd name="connsiteY1" fmla="*/ 117162 h 117162"/>
                    <a:gd name="connsiteX2" fmla="*/ 0 w 43659"/>
                    <a:gd name="connsiteY2" fmla="*/ 60 h 117162"/>
                    <a:gd name="connsiteX3" fmla="*/ 299 w 43659"/>
                    <a:gd name="connsiteY3" fmla="*/ 0 h 117162"/>
                  </a:gdLst>
                  <a:ahLst/>
                  <a:cxnLst>
                    <a:cxn ang="0">
                      <a:pos x="connsiteX0" y="connsiteY0"/>
                    </a:cxn>
                    <a:cxn ang="0">
                      <a:pos x="connsiteX1" y="connsiteY1"/>
                    </a:cxn>
                    <a:cxn ang="0">
                      <a:pos x="connsiteX2" y="connsiteY2"/>
                    </a:cxn>
                    <a:cxn ang="0">
                      <a:pos x="connsiteX3" y="connsiteY3"/>
                    </a:cxn>
                  </a:cxnLst>
                  <a:rect l="l" t="t" r="r" b="b"/>
                  <a:pathLst>
                    <a:path w="43659" h="117162">
                      <a:moveTo>
                        <a:pt x="43659" y="117103"/>
                      </a:moveTo>
                      <a:lnTo>
                        <a:pt x="43360" y="117162"/>
                      </a:lnTo>
                      <a:lnTo>
                        <a:pt x="0" y="60"/>
                      </a:lnTo>
                      <a:lnTo>
                        <a:pt x="299" y="0"/>
                      </a:lnTo>
                      <a:close/>
                    </a:path>
                  </a:pathLst>
                </a:custGeom>
                <a:grpFill/>
                <a:ln w="6350" cap="flat">
                  <a:solidFill>
                    <a:schemeClr val="bg1">
                      <a:alpha val="80000"/>
                    </a:schemeClr>
                  </a:solidFill>
                  <a:prstDash val="solid"/>
                  <a:miter/>
                </a:ln>
              </p:spPr>
              <p:txBody>
                <a:bodyPr rtlCol="0" anchor="ctr"/>
                <a:lstStyle/>
                <a:p>
                  <a:endParaRPr lang="en-GB"/>
                </a:p>
              </p:txBody>
            </p:sp>
            <p:sp>
              <p:nvSpPr>
                <p:cNvPr id="9226" name="Vrije vorm: vorm 9225">
                  <a:extLst>
                    <a:ext uri="{FF2B5EF4-FFF2-40B4-BE49-F238E27FC236}">
                      <a16:creationId xmlns:a16="http://schemas.microsoft.com/office/drawing/2014/main" id="{2F5BC412-24C3-416C-9CF1-FA91908BA7E3}"/>
                    </a:ext>
                  </a:extLst>
                </p:cNvPr>
                <p:cNvSpPr/>
                <p:nvPr/>
              </p:nvSpPr>
              <p:spPr>
                <a:xfrm>
                  <a:off x="5445467" y="1148399"/>
                  <a:ext cx="43659" cy="117222"/>
                </a:xfrm>
                <a:custGeom>
                  <a:avLst/>
                  <a:gdLst>
                    <a:gd name="connsiteX0" fmla="*/ 43659 w 43659"/>
                    <a:gd name="connsiteY0" fmla="*/ 117102 h 117222"/>
                    <a:gd name="connsiteX1" fmla="*/ 43360 w 43659"/>
                    <a:gd name="connsiteY1" fmla="*/ 117222 h 117222"/>
                    <a:gd name="connsiteX2" fmla="*/ 0 w 43659"/>
                    <a:gd name="connsiteY2" fmla="*/ 120 h 117222"/>
                    <a:gd name="connsiteX3" fmla="*/ 299 w 43659"/>
                    <a:gd name="connsiteY3" fmla="*/ 0 h 117222"/>
                  </a:gdLst>
                  <a:ahLst/>
                  <a:cxnLst>
                    <a:cxn ang="0">
                      <a:pos x="connsiteX0" y="connsiteY0"/>
                    </a:cxn>
                    <a:cxn ang="0">
                      <a:pos x="connsiteX1" y="connsiteY1"/>
                    </a:cxn>
                    <a:cxn ang="0">
                      <a:pos x="connsiteX2" y="connsiteY2"/>
                    </a:cxn>
                    <a:cxn ang="0">
                      <a:pos x="connsiteX3" y="connsiteY3"/>
                    </a:cxn>
                  </a:cxnLst>
                  <a:rect l="l" t="t" r="r" b="b"/>
                  <a:pathLst>
                    <a:path w="43659" h="117222">
                      <a:moveTo>
                        <a:pt x="43659" y="117102"/>
                      </a:moveTo>
                      <a:lnTo>
                        <a:pt x="43360" y="117222"/>
                      </a:lnTo>
                      <a:lnTo>
                        <a:pt x="0" y="120"/>
                      </a:lnTo>
                      <a:lnTo>
                        <a:pt x="299" y="0"/>
                      </a:lnTo>
                      <a:close/>
                    </a:path>
                  </a:pathLst>
                </a:custGeom>
                <a:grpFill/>
                <a:ln w="6350" cap="flat">
                  <a:solidFill>
                    <a:schemeClr val="bg1">
                      <a:alpha val="80000"/>
                    </a:schemeClr>
                  </a:solidFill>
                  <a:prstDash val="solid"/>
                  <a:miter/>
                </a:ln>
              </p:spPr>
              <p:txBody>
                <a:bodyPr rtlCol="0" anchor="ctr"/>
                <a:lstStyle/>
                <a:p>
                  <a:endParaRPr lang="en-GB"/>
                </a:p>
              </p:txBody>
            </p:sp>
            <p:sp>
              <p:nvSpPr>
                <p:cNvPr id="9227" name="Vrije vorm: vorm 9226">
                  <a:extLst>
                    <a:ext uri="{FF2B5EF4-FFF2-40B4-BE49-F238E27FC236}">
                      <a16:creationId xmlns:a16="http://schemas.microsoft.com/office/drawing/2014/main" id="{BDB91CD8-B443-4D1A-BEA5-1B7170DE4CF7}"/>
                    </a:ext>
                  </a:extLst>
                </p:cNvPr>
                <p:cNvSpPr/>
                <p:nvPr/>
              </p:nvSpPr>
              <p:spPr>
                <a:xfrm>
                  <a:off x="5460717" y="1142657"/>
                  <a:ext cx="43599" cy="117162"/>
                </a:xfrm>
                <a:custGeom>
                  <a:avLst/>
                  <a:gdLst>
                    <a:gd name="connsiteX0" fmla="*/ 43600 w 43599"/>
                    <a:gd name="connsiteY0" fmla="*/ 117102 h 117162"/>
                    <a:gd name="connsiteX1" fmla="*/ 43360 w 43599"/>
                    <a:gd name="connsiteY1" fmla="*/ 117162 h 117162"/>
                    <a:gd name="connsiteX2" fmla="*/ 0 w 43599"/>
                    <a:gd name="connsiteY2" fmla="*/ 60 h 117162"/>
                    <a:gd name="connsiteX3" fmla="*/ 299 w 43599"/>
                    <a:gd name="connsiteY3" fmla="*/ 0 h 117162"/>
                  </a:gdLst>
                  <a:ahLst/>
                  <a:cxnLst>
                    <a:cxn ang="0">
                      <a:pos x="connsiteX0" y="connsiteY0"/>
                    </a:cxn>
                    <a:cxn ang="0">
                      <a:pos x="connsiteX1" y="connsiteY1"/>
                    </a:cxn>
                    <a:cxn ang="0">
                      <a:pos x="connsiteX2" y="connsiteY2"/>
                    </a:cxn>
                    <a:cxn ang="0">
                      <a:pos x="connsiteX3" y="connsiteY3"/>
                    </a:cxn>
                  </a:cxnLst>
                  <a:rect l="l" t="t" r="r" b="b"/>
                  <a:pathLst>
                    <a:path w="43599" h="117162">
                      <a:moveTo>
                        <a:pt x="43600" y="117102"/>
                      </a:moveTo>
                      <a:lnTo>
                        <a:pt x="43360" y="117162"/>
                      </a:lnTo>
                      <a:lnTo>
                        <a:pt x="0" y="60"/>
                      </a:lnTo>
                      <a:lnTo>
                        <a:pt x="299" y="0"/>
                      </a:lnTo>
                      <a:close/>
                    </a:path>
                  </a:pathLst>
                </a:custGeom>
                <a:grpFill/>
                <a:ln w="6350" cap="flat">
                  <a:solidFill>
                    <a:schemeClr val="bg1">
                      <a:alpha val="80000"/>
                    </a:schemeClr>
                  </a:solidFill>
                  <a:prstDash val="solid"/>
                  <a:miter/>
                </a:ln>
              </p:spPr>
              <p:txBody>
                <a:bodyPr rtlCol="0" anchor="ctr"/>
                <a:lstStyle/>
                <a:p>
                  <a:endParaRPr lang="en-GB"/>
                </a:p>
              </p:txBody>
            </p:sp>
            <p:sp>
              <p:nvSpPr>
                <p:cNvPr id="9228" name="Vrije vorm: vorm 9227">
                  <a:extLst>
                    <a:ext uri="{FF2B5EF4-FFF2-40B4-BE49-F238E27FC236}">
                      <a16:creationId xmlns:a16="http://schemas.microsoft.com/office/drawing/2014/main" id="{C63D903A-C694-42F7-B834-FF9202385FD3}"/>
                    </a:ext>
                  </a:extLst>
                </p:cNvPr>
                <p:cNvSpPr/>
                <p:nvPr/>
              </p:nvSpPr>
              <p:spPr>
                <a:xfrm>
                  <a:off x="5475969" y="1136856"/>
                  <a:ext cx="43599" cy="117222"/>
                </a:xfrm>
                <a:custGeom>
                  <a:avLst/>
                  <a:gdLst>
                    <a:gd name="connsiteX0" fmla="*/ 43599 w 43599"/>
                    <a:gd name="connsiteY0" fmla="*/ 117102 h 117222"/>
                    <a:gd name="connsiteX1" fmla="*/ 43360 w 43599"/>
                    <a:gd name="connsiteY1" fmla="*/ 117222 h 117222"/>
                    <a:gd name="connsiteX2" fmla="*/ 0 w 43599"/>
                    <a:gd name="connsiteY2" fmla="*/ 120 h 117222"/>
                    <a:gd name="connsiteX3" fmla="*/ 299 w 43599"/>
                    <a:gd name="connsiteY3" fmla="*/ 0 h 117222"/>
                  </a:gdLst>
                  <a:ahLst/>
                  <a:cxnLst>
                    <a:cxn ang="0">
                      <a:pos x="connsiteX0" y="connsiteY0"/>
                    </a:cxn>
                    <a:cxn ang="0">
                      <a:pos x="connsiteX1" y="connsiteY1"/>
                    </a:cxn>
                    <a:cxn ang="0">
                      <a:pos x="connsiteX2" y="connsiteY2"/>
                    </a:cxn>
                    <a:cxn ang="0">
                      <a:pos x="connsiteX3" y="connsiteY3"/>
                    </a:cxn>
                  </a:cxnLst>
                  <a:rect l="l" t="t" r="r" b="b"/>
                  <a:pathLst>
                    <a:path w="43599" h="117222">
                      <a:moveTo>
                        <a:pt x="43599" y="117102"/>
                      </a:moveTo>
                      <a:lnTo>
                        <a:pt x="43360" y="117222"/>
                      </a:lnTo>
                      <a:lnTo>
                        <a:pt x="0" y="120"/>
                      </a:lnTo>
                      <a:lnTo>
                        <a:pt x="299" y="0"/>
                      </a:lnTo>
                      <a:close/>
                    </a:path>
                  </a:pathLst>
                </a:custGeom>
                <a:grpFill/>
                <a:ln w="6350" cap="flat">
                  <a:solidFill>
                    <a:schemeClr val="bg1">
                      <a:alpha val="80000"/>
                    </a:schemeClr>
                  </a:solidFill>
                  <a:prstDash val="solid"/>
                  <a:miter/>
                </a:ln>
              </p:spPr>
              <p:txBody>
                <a:bodyPr rtlCol="0" anchor="ctr"/>
                <a:lstStyle/>
                <a:p>
                  <a:endParaRPr lang="en-GB"/>
                </a:p>
              </p:txBody>
            </p:sp>
            <p:sp>
              <p:nvSpPr>
                <p:cNvPr id="9229" name="Vrije vorm: vorm 9228">
                  <a:extLst>
                    <a:ext uri="{FF2B5EF4-FFF2-40B4-BE49-F238E27FC236}">
                      <a16:creationId xmlns:a16="http://schemas.microsoft.com/office/drawing/2014/main" id="{06456362-247A-4500-9E1F-D20DE019549D}"/>
                    </a:ext>
                  </a:extLst>
                </p:cNvPr>
                <p:cNvSpPr/>
                <p:nvPr/>
              </p:nvSpPr>
              <p:spPr>
                <a:xfrm>
                  <a:off x="5491219" y="1131054"/>
                  <a:ext cx="43599" cy="117222"/>
                </a:xfrm>
                <a:custGeom>
                  <a:avLst/>
                  <a:gdLst>
                    <a:gd name="connsiteX0" fmla="*/ 43599 w 43599"/>
                    <a:gd name="connsiteY0" fmla="*/ 117162 h 117222"/>
                    <a:gd name="connsiteX1" fmla="*/ 43360 w 43599"/>
                    <a:gd name="connsiteY1" fmla="*/ 117222 h 117222"/>
                    <a:gd name="connsiteX2" fmla="*/ 0 w 43599"/>
                    <a:gd name="connsiteY2" fmla="*/ 120 h 117222"/>
                    <a:gd name="connsiteX3" fmla="*/ 239 w 43599"/>
                    <a:gd name="connsiteY3" fmla="*/ 0 h 117222"/>
                  </a:gdLst>
                  <a:ahLst/>
                  <a:cxnLst>
                    <a:cxn ang="0">
                      <a:pos x="connsiteX0" y="connsiteY0"/>
                    </a:cxn>
                    <a:cxn ang="0">
                      <a:pos x="connsiteX1" y="connsiteY1"/>
                    </a:cxn>
                    <a:cxn ang="0">
                      <a:pos x="connsiteX2" y="connsiteY2"/>
                    </a:cxn>
                    <a:cxn ang="0">
                      <a:pos x="connsiteX3" y="connsiteY3"/>
                    </a:cxn>
                  </a:cxnLst>
                  <a:rect l="l" t="t" r="r" b="b"/>
                  <a:pathLst>
                    <a:path w="43599" h="117222">
                      <a:moveTo>
                        <a:pt x="43599" y="117162"/>
                      </a:moveTo>
                      <a:lnTo>
                        <a:pt x="43360" y="117222"/>
                      </a:lnTo>
                      <a:lnTo>
                        <a:pt x="0" y="120"/>
                      </a:lnTo>
                      <a:lnTo>
                        <a:pt x="239" y="0"/>
                      </a:lnTo>
                      <a:close/>
                    </a:path>
                  </a:pathLst>
                </a:custGeom>
                <a:grpFill/>
                <a:ln w="6350" cap="flat">
                  <a:solidFill>
                    <a:schemeClr val="bg1">
                      <a:alpha val="80000"/>
                    </a:schemeClr>
                  </a:solidFill>
                  <a:prstDash val="solid"/>
                  <a:miter/>
                </a:ln>
              </p:spPr>
              <p:txBody>
                <a:bodyPr rtlCol="0" anchor="ctr"/>
                <a:lstStyle/>
                <a:p>
                  <a:endParaRPr lang="en-GB"/>
                </a:p>
              </p:txBody>
            </p:sp>
          </p:grpSp>
          <p:sp>
            <p:nvSpPr>
              <p:cNvPr id="9210" name="Vrije vorm: vorm 9209">
                <a:extLst>
                  <a:ext uri="{FF2B5EF4-FFF2-40B4-BE49-F238E27FC236}">
                    <a16:creationId xmlns:a16="http://schemas.microsoft.com/office/drawing/2014/main" id="{4B74ACD6-2427-40FD-82A6-E3129F51B9ED}"/>
                  </a:ext>
                </a:extLst>
              </p:cNvPr>
              <p:cNvSpPr/>
              <p:nvPr/>
            </p:nvSpPr>
            <p:spPr>
              <a:xfrm>
                <a:off x="5379067" y="1148376"/>
                <a:ext cx="106903" cy="117566"/>
              </a:xfrm>
              <a:custGeom>
                <a:avLst/>
                <a:gdLst>
                  <a:gd name="connsiteX0" fmla="*/ 101507 w 106903"/>
                  <a:gd name="connsiteY0" fmla="*/ 202 h 117566"/>
                  <a:gd name="connsiteX1" fmla="*/ 99474 w 106903"/>
                  <a:gd name="connsiteY1" fmla="*/ 5704 h 117566"/>
                  <a:gd name="connsiteX2" fmla="*/ 100789 w 106903"/>
                  <a:gd name="connsiteY2" fmla="*/ 7678 h 117566"/>
                  <a:gd name="connsiteX3" fmla="*/ 94629 w 106903"/>
                  <a:gd name="connsiteY3" fmla="*/ 22151 h 117566"/>
                  <a:gd name="connsiteX4" fmla="*/ 91818 w 106903"/>
                  <a:gd name="connsiteY4" fmla="*/ 21972 h 117566"/>
                  <a:gd name="connsiteX5" fmla="*/ 89605 w 106903"/>
                  <a:gd name="connsiteY5" fmla="*/ 26876 h 117566"/>
                  <a:gd name="connsiteX6" fmla="*/ 81531 w 106903"/>
                  <a:gd name="connsiteY6" fmla="*/ 29926 h 117566"/>
                  <a:gd name="connsiteX7" fmla="*/ 76687 w 106903"/>
                  <a:gd name="connsiteY7" fmla="*/ 27713 h 117566"/>
                  <a:gd name="connsiteX8" fmla="*/ 74653 w 106903"/>
                  <a:gd name="connsiteY8" fmla="*/ 33215 h 117566"/>
                  <a:gd name="connsiteX9" fmla="*/ 75072 w 106903"/>
                  <a:gd name="connsiteY9" fmla="*/ 34053 h 117566"/>
                  <a:gd name="connsiteX10" fmla="*/ 67835 w 106903"/>
                  <a:gd name="connsiteY10" fmla="*/ 42007 h 117566"/>
                  <a:gd name="connsiteX11" fmla="*/ 64187 w 106903"/>
                  <a:gd name="connsiteY11" fmla="*/ 41289 h 117566"/>
                  <a:gd name="connsiteX12" fmla="*/ 62273 w 106903"/>
                  <a:gd name="connsiteY12" fmla="*/ 43084 h 117566"/>
                  <a:gd name="connsiteX13" fmla="*/ 50133 w 106903"/>
                  <a:gd name="connsiteY13" fmla="*/ 39615 h 117566"/>
                  <a:gd name="connsiteX14" fmla="*/ 49953 w 106903"/>
                  <a:gd name="connsiteY14" fmla="*/ 38837 h 117566"/>
                  <a:gd name="connsiteX15" fmla="*/ 44870 w 106903"/>
                  <a:gd name="connsiteY15" fmla="*/ 36026 h 117566"/>
                  <a:gd name="connsiteX16" fmla="*/ 42836 w 106903"/>
                  <a:gd name="connsiteY16" fmla="*/ 41529 h 117566"/>
                  <a:gd name="connsiteX17" fmla="*/ 44810 w 106903"/>
                  <a:gd name="connsiteY17" fmla="*/ 43921 h 117566"/>
                  <a:gd name="connsiteX18" fmla="*/ 44152 w 106903"/>
                  <a:gd name="connsiteY18" fmla="*/ 72808 h 117566"/>
                  <a:gd name="connsiteX19" fmla="*/ 40922 w 106903"/>
                  <a:gd name="connsiteY19" fmla="*/ 72389 h 117566"/>
                  <a:gd name="connsiteX20" fmla="*/ 38590 w 106903"/>
                  <a:gd name="connsiteY20" fmla="*/ 76336 h 117566"/>
                  <a:gd name="connsiteX21" fmla="*/ 29798 w 106903"/>
                  <a:gd name="connsiteY21" fmla="*/ 77533 h 117566"/>
                  <a:gd name="connsiteX22" fmla="*/ 24774 w 106903"/>
                  <a:gd name="connsiteY22" fmla="*/ 74841 h 117566"/>
                  <a:gd name="connsiteX23" fmla="*/ 22741 w 106903"/>
                  <a:gd name="connsiteY23" fmla="*/ 80344 h 117566"/>
                  <a:gd name="connsiteX24" fmla="*/ 23399 w 106903"/>
                  <a:gd name="connsiteY24" fmla="*/ 81480 h 117566"/>
                  <a:gd name="connsiteX25" fmla="*/ 16162 w 106903"/>
                  <a:gd name="connsiteY25" fmla="*/ 91408 h 117566"/>
                  <a:gd name="connsiteX26" fmla="*/ 13112 w 106903"/>
                  <a:gd name="connsiteY26" fmla="*/ 91109 h 117566"/>
                  <a:gd name="connsiteX27" fmla="*/ 11078 w 106903"/>
                  <a:gd name="connsiteY27" fmla="*/ 96611 h 117566"/>
                  <a:gd name="connsiteX28" fmla="*/ 12035 w 106903"/>
                  <a:gd name="connsiteY28" fmla="*/ 98166 h 117566"/>
                  <a:gd name="connsiteX29" fmla="*/ 4918 w 106903"/>
                  <a:gd name="connsiteY29" fmla="*/ 109111 h 117566"/>
                  <a:gd name="connsiteX30" fmla="*/ 2347 w 106903"/>
                  <a:gd name="connsiteY30" fmla="*/ 109051 h 117566"/>
                  <a:gd name="connsiteX31" fmla="*/ 313 w 106903"/>
                  <a:gd name="connsiteY31" fmla="*/ 114553 h 117566"/>
                  <a:gd name="connsiteX32" fmla="*/ 5397 w 106903"/>
                  <a:gd name="connsiteY32" fmla="*/ 117364 h 117566"/>
                  <a:gd name="connsiteX33" fmla="*/ 7430 w 106903"/>
                  <a:gd name="connsiteY33" fmla="*/ 111862 h 117566"/>
                  <a:gd name="connsiteX34" fmla="*/ 6414 w 106903"/>
                  <a:gd name="connsiteY34" fmla="*/ 110187 h 117566"/>
                  <a:gd name="connsiteX35" fmla="*/ 13531 w 106903"/>
                  <a:gd name="connsiteY35" fmla="*/ 99302 h 117566"/>
                  <a:gd name="connsiteX36" fmla="*/ 16222 w 106903"/>
                  <a:gd name="connsiteY36" fmla="*/ 99422 h 117566"/>
                  <a:gd name="connsiteX37" fmla="*/ 18255 w 106903"/>
                  <a:gd name="connsiteY37" fmla="*/ 93920 h 117566"/>
                  <a:gd name="connsiteX38" fmla="*/ 17598 w 106903"/>
                  <a:gd name="connsiteY38" fmla="*/ 92664 h 117566"/>
                  <a:gd name="connsiteX39" fmla="*/ 24834 w 106903"/>
                  <a:gd name="connsiteY39" fmla="*/ 82796 h 117566"/>
                  <a:gd name="connsiteX40" fmla="*/ 27944 w 106903"/>
                  <a:gd name="connsiteY40" fmla="*/ 83154 h 117566"/>
                  <a:gd name="connsiteX41" fmla="*/ 30277 w 106903"/>
                  <a:gd name="connsiteY41" fmla="*/ 79446 h 117566"/>
                  <a:gd name="connsiteX42" fmla="*/ 39188 w 106903"/>
                  <a:gd name="connsiteY42" fmla="*/ 78250 h 117566"/>
                  <a:gd name="connsiteX43" fmla="*/ 44092 w 106903"/>
                  <a:gd name="connsiteY43" fmla="*/ 80702 h 117566"/>
                  <a:gd name="connsiteX44" fmla="*/ 46125 w 106903"/>
                  <a:gd name="connsiteY44" fmla="*/ 75200 h 117566"/>
                  <a:gd name="connsiteX45" fmla="*/ 45886 w 106903"/>
                  <a:gd name="connsiteY45" fmla="*/ 74722 h 117566"/>
                  <a:gd name="connsiteX46" fmla="*/ 46544 w 106903"/>
                  <a:gd name="connsiteY46" fmla="*/ 44519 h 117566"/>
                  <a:gd name="connsiteX47" fmla="*/ 47979 w 106903"/>
                  <a:gd name="connsiteY47" fmla="*/ 44340 h 117566"/>
                  <a:gd name="connsiteX48" fmla="*/ 50193 w 106903"/>
                  <a:gd name="connsiteY48" fmla="*/ 41529 h 117566"/>
                  <a:gd name="connsiteX49" fmla="*/ 61855 w 106903"/>
                  <a:gd name="connsiteY49" fmla="*/ 44878 h 117566"/>
                  <a:gd name="connsiteX50" fmla="*/ 62154 w 106903"/>
                  <a:gd name="connsiteY50" fmla="*/ 46792 h 117566"/>
                  <a:gd name="connsiteX51" fmla="*/ 67237 w 106903"/>
                  <a:gd name="connsiteY51" fmla="*/ 49603 h 117566"/>
                  <a:gd name="connsiteX52" fmla="*/ 69271 w 106903"/>
                  <a:gd name="connsiteY52" fmla="*/ 44100 h 117566"/>
                  <a:gd name="connsiteX53" fmla="*/ 68972 w 106903"/>
                  <a:gd name="connsiteY53" fmla="*/ 43502 h 117566"/>
                  <a:gd name="connsiteX54" fmla="*/ 76328 w 106903"/>
                  <a:gd name="connsiteY54" fmla="*/ 35428 h 117566"/>
                  <a:gd name="connsiteX55" fmla="*/ 79737 w 106903"/>
                  <a:gd name="connsiteY55" fmla="*/ 35967 h 117566"/>
                  <a:gd name="connsiteX56" fmla="*/ 82070 w 106903"/>
                  <a:gd name="connsiteY56" fmla="*/ 31780 h 117566"/>
                  <a:gd name="connsiteX57" fmla="*/ 90443 w 106903"/>
                  <a:gd name="connsiteY57" fmla="*/ 28610 h 117566"/>
                  <a:gd name="connsiteX58" fmla="*/ 94868 w 106903"/>
                  <a:gd name="connsiteY58" fmla="*/ 30225 h 117566"/>
                  <a:gd name="connsiteX59" fmla="*/ 96902 w 106903"/>
                  <a:gd name="connsiteY59" fmla="*/ 24723 h 117566"/>
                  <a:gd name="connsiteX60" fmla="*/ 96065 w 106903"/>
                  <a:gd name="connsiteY60" fmla="*/ 23287 h 117566"/>
                  <a:gd name="connsiteX61" fmla="*/ 102344 w 106903"/>
                  <a:gd name="connsiteY61" fmla="*/ 8575 h 117566"/>
                  <a:gd name="connsiteX62" fmla="*/ 104557 w 106903"/>
                  <a:gd name="connsiteY62" fmla="*/ 8515 h 117566"/>
                  <a:gd name="connsiteX63" fmla="*/ 106591 w 106903"/>
                  <a:gd name="connsiteY63" fmla="*/ 3013 h 117566"/>
                  <a:gd name="connsiteX64" fmla="*/ 101507 w 106903"/>
                  <a:gd name="connsiteY64" fmla="*/ 202 h 117566"/>
                  <a:gd name="connsiteX65" fmla="*/ 4799 w 106903"/>
                  <a:gd name="connsiteY65" fmla="*/ 115450 h 117566"/>
                  <a:gd name="connsiteX66" fmla="*/ 1928 w 106903"/>
                  <a:gd name="connsiteY66" fmla="*/ 113895 h 117566"/>
                  <a:gd name="connsiteX67" fmla="*/ 3064 w 106903"/>
                  <a:gd name="connsiteY67" fmla="*/ 110785 h 117566"/>
                  <a:gd name="connsiteX68" fmla="*/ 5935 w 106903"/>
                  <a:gd name="connsiteY68" fmla="*/ 112340 h 117566"/>
                  <a:gd name="connsiteX69" fmla="*/ 4799 w 106903"/>
                  <a:gd name="connsiteY69" fmla="*/ 115450 h 117566"/>
                  <a:gd name="connsiteX70" fmla="*/ 15564 w 106903"/>
                  <a:gd name="connsiteY70" fmla="*/ 97568 h 117566"/>
                  <a:gd name="connsiteX71" fmla="*/ 12693 w 106903"/>
                  <a:gd name="connsiteY71" fmla="*/ 96013 h 117566"/>
                  <a:gd name="connsiteX72" fmla="*/ 13830 w 106903"/>
                  <a:gd name="connsiteY72" fmla="*/ 92903 h 117566"/>
                  <a:gd name="connsiteX73" fmla="*/ 16700 w 106903"/>
                  <a:gd name="connsiteY73" fmla="*/ 94458 h 117566"/>
                  <a:gd name="connsiteX74" fmla="*/ 15564 w 106903"/>
                  <a:gd name="connsiteY74" fmla="*/ 97568 h 117566"/>
                  <a:gd name="connsiteX75" fmla="*/ 27226 w 106903"/>
                  <a:gd name="connsiteY75" fmla="*/ 81300 h 117566"/>
                  <a:gd name="connsiteX76" fmla="*/ 24356 w 106903"/>
                  <a:gd name="connsiteY76" fmla="*/ 79745 h 117566"/>
                  <a:gd name="connsiteX77" fmla="*/ 25492 w 106903"/>
                  <a:gd name="connsiteY77" fmla="*/ 76636 h 117566"/>
                  <a:gd name="connsiteX78" fmla="*/ 28363 w 106903"/>
                  <a:gd name="connsiteY78" fmla="*/ 78191 h 117566"/>
                  <a:gd name="connsiteX79" fmla="*/ 27226 w 106903"/>
                  <a:gd name="connsiteY79" fmla="*/ 81300 h 117566"/>
                  <a:gd name="connsiteX80" fmla="*/ 43374 w 106903"/>
                  <a:gd name="connsiteY80" fmla="*/ 78848 h 117566"/>
                  <a:gd name="connsiteX81" fmla="*/ 40503 w 106903"/>
                  <a:gd name="connsiteY81" fmla="*/ 77293 h 117566"/>
                  <a:gd name="connsiteX82" fmla="*/ 41640 w 106903"/>
                  <a:gd name="connsiteY82" fmla="*/ 74183 h 117566"/>
                  <a:gd name="connsiteX83" fmla="*/ 44511 w 106903"/>
                  <a:gd name="connsiteY83" fmla="*/ 75738 h 117566"/>
                  <a:gd name="connsiteX84" fmla="*/ 43374 w 106903"/>
                  <a:gd name="connsiteY84" fmla="*/ 78848 h 117566"/>
                  <a:gd name="connsiteX85" fmla="*/ 47322 w 106903"/>
                  <a:gd name="connsiteY85" fmla="*/ 42486 h 117566"/>
                  <a:gd name="connsiteX86" fmla="*/ 44451 w 106903"/>
                  <a:gd name="connsiteY86" fmla="*/ 40931 h 117566"/>
                  <a:gd name="connsiteX87" fmla="*/ 45587 w 106903"/>
                  <a:gd name="connsiteY87" fmla="*/ 37821 h 117566"/>
                  <a:gd name="connsiteX88" fmla="*/ 48458 w 106903"/>
                  <a:gd name="connsiteY88" fmla="*/ 39376 h 117566"/>
                  <a:gd name="connsiteX89" fmla="*/ 47322 w 106903"/>
                  <a:gd name="connsiteY89" fmla="*/ 42486 h 117566"/>
                  <a:gd name="connsiteX90" fmla="*/ 66640 w 106903"/>
                  <a:gd name="connsiteY90" fmla="*/ 47749 h 117566"/>
                  <a:gd name="connsiteX91" fmla="*/ 63769 w 106903"/>
                  <a:gd name="connsiteY91" fmla="*/ 46194 h 117566"/>
                  <a:gd name="connsiteX92" fmla="*/ 64905 w 106903"/>
                  <a:gd name="connsiteY92" fmla="*/ 43084 h 117566"/>
                  <a:gd name="connsiteX93" fmla="*/ 67776 w 106903"/>
                  <a:gd name="connsiteY93" fmla="*/ 44639 h 117566"/>
                  <a:gd name="connsiteX94" fmla="*/ 66640 w 106903"/>
                  <a:gd name="connsiteY94" fmla="*/ 47749 h 117566"/>
                  <a:gd name="connsiteX95" fmla="*/ 79139 w 106903"/>
                  <a:gd name="connsiteY95" fmla="*/ 34172 h 117566"/>
                  <a:gd name="connsiteX96" fmla="*/ 76268 w 106903"/>
                  <a:gd name="connsiteY96" fmla="*/ 32617 h 117566"/>
                  <a:gd name="connsiteX97" fmla="*/ 77405 w 106903"/>
                  <a:gd name="connsiteY97" fmla="*/ 29507 h 117566"/>
                  <a:gd name="connsiteX98" fmla="*/ 80275 w 106903"/>
                  <a:gd name="connsiteY98" fmla="*/ 31062 h 117566"/>
                  <a:gd name="connsiteX99" fmla="*/ 79139 w 106903"/>
                  <a:gd name="connsiteY99" fmla="*/ 34172 h 117566"/>
                  <a:gd name="connsiteX100" fmla="*/ 94270 w 106903"/>
                  <a:gd name="connsiteY100" fmla="*/ 28431 h 117566"/>
                  <a:gd name="connsiteX101" fmla="*/ 91399 w 106903"/>
                  <a:gd name="connsiteY101" fmla="*/ 26876 h 117566"/>
                  <a:gd name="connsiteX102" fmla="*/ 92536 w 106903"/>
                  <a:gd name="connsiteY102" fmla="*/ 23766 h 117566"/>
                  <a:gd name="connsiteX103" fmla="*/ 95407 w 106903"/>
                  <a:gd name="connsiteY103" fmla="*/ 25321 h 117566"/>
                  <a:gd name="connsiteX104" fmla="*/ 94270 w 106903"/>
                  <a:gd name="connsiteY104" fmla="*/ 28431 h 117566"/>
                  <a:gd name="connsiteX105" fmla="*/ 103899 w 106903"/>
                  <a:gd name="connsiteY105" fmla="*/ 6661 h 117566"/>
                  <a:gd name="connsiteX106" fmla="*/ 101029 w 106903"/>
                  <a:gd name="connsiteY106" fmla="*/ 5106 h 117566"/>
                  <a:gd name="connsiteX107" fmla="*/ 102165 w 106903"/>
                  <a:gd name="connsiteY107" fmla="*/ 1996 h 117566"/>
                  <a:gd name="connsiteX108" fmla="*/ 105036 w 106903"/>
                  <a:gd name="connsiteY108" fmla="*/ 3551 h 117566"/>
                  <a:gd name="connsiteX109" fmla="*/ 103899 w 106903"/>
                  <a:gd name="connsiteY109" fmla="*/ 6661 h 117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06903" h="117566">
                    <a:moveTo>
                      <a:pt x="101507" y="202"/>
                    </a:moveTo>
                    <a:cubicBezTo>
                      <a:pt x="99533" y="920"/>
                      <a:pt x="98636" y="3432"/>
                      <a:pt x="99474" y="5704"/>
                    </a:cubicBezTo>
                    <a:cubicBezTo>
                      <a:pt x="99773" y="6482"/>
                      <a:pt x="100251" y="7140"/>
                      <a:pt x="100789" y="7678"/>
                    </a:cubicBezTo>
                    <a:lnTo>
                      <a:pt x="94629" y="22151"/>
                    </a:lnTo>
                    <a:cubicBezTo>
                      <a:pt x="93732" y="21732"/>
                      <a:pt x="92775" y="21613"/>
                      <a:pt x="91818" y="21972"/>
                    </a:cubicBezTo>
                    <a:cubicBezTo>
                      <a:pt x="90024" y="22630"/>
                      <a:pt x="89127" y="24783"/>
                      <a:pt x="89605" y="26876"/>
                    </a:cubicBezTo>
                    <a:lnTo>
                      <a:pt x="81531" y="29926"/>
                    </a:lnTo>
                    <a:cubicBezTo>
                      <a:pt x="80574" y="28012"/>
                      <a:pt x="78481" y="26996"/>
                      <a:pt x="76687" y="27713"/>
                    </a:cubicBezTo>
                    <a:cubicBezTo>
                      <a:pt x="74713" y="28431"/>
                      <a:pt x="73816" y="30943"/>
                      <a:pt x="74653" y="33215"/>
                    </a:cubicBezTo>
                    <a:cubicBezTo>
                      <a:pt x="74773" y="33515"/>
                      <a:pt x="74893" y="33814"/>
                      <a:pt x="75072" y="34053"/>
                    </a:cubicBezTo>
                    <a:lnTo>
                      <a:pt x="67835" y="42007"/>
                    </a:lnTo>
                    <a:cubicBezTo>
                      <a:pt x="66759" y="41170"/>
                      <a:pt x="65443" y="40811"/>
                      <a:pt x="64187" y="41289"/>
                    </a:cubicBezTo>
                    <a:cubicBezTo>
                      <a:pt x="63350" y="41588"/>
                      <a:pt x="62692" y="42246"/>
                      <a:pt x="62273" y="43084"/>
                    </a:cubicBezTo>
                    <a:lnTo>
                      <a:pt x="50133" y="39615"/>
                    </a:lnTo>
                    <a:cubicBezTo>
                      <a:pt x="50073" y="39376"/>
                      <a:pt x="50013" y="39136"/>
                      <a:pt x="49953" y="38837"/>
                    </a:cubicBezTo>
                    <a:cubicBezTo>
                      <a:pt x="49116" y="36565"/>
                      <a:pt x="46843" y="35309"/>
                      <a:pt x="44870" y="36026"/>
                    </a:cubicBezTo>
                    <a:cubicBezTo>
                      <a:pt x="42896" y="36744"/>
                      <a:pt x="41999" y="39256"/>
                      <a:pt x="42836" y="41529"/>
                    </a:cubicBezTo>
                    <a:cubicBezTo>
                      <a:pt x="43255" y="42605"/>
                      <a:pt x="43912" y="43443"/>
                      <a:pt x="44810" y="43921"/>
                    </a:cubicBezTo>
                    <a:lnTo>
                      <a:pt x="44152" y="72808"/>
                    </a:lnTo>
                    <a:cubicBezTo>
                      <a:pt x="43195" y="72150"/>
                      <a:pt x="41999" y="71971"/>
                      <a:pt x="40922" y="72389"/>
                    </a:cubicBezTo>
                    <a:cubicBezTo>
                      <a:pt x="39427" y="72987"/>
                      <a:pt x="38530" y="74602"/>
                      <a:pt x="38590" y="76336"/>
                    </a:cubicBezTo>
                    <a:lnTo>
                      <a:pt x="29798" y="77533"/>
                    </a:lnTo>
                    <a:cubicBezTo>
                      <a:pt x="28901" y="75320"/>
                      <a:pt x="26688" y="74124"/>
                      <a:pt x="24774" y="74841"/>
                    </a:cubicBezTo>
                    <a:cubicBezTo>
                      <a:pt x="22801" y="75559"/>
                      <a:pt x="21903" y="78071"/>
                      <a:pt x="22741" y="80344"/>
                    </a:cubicBezTo>
                    <a:cubicBezTo>
                      <a:pt x="22920" y="80762"/>
                      <a:pt x="23100" y="81181"/>
                      <a:pt x="23399" y="81480"/>
                    </a:cubicBezTo>
                    <a:lnTo>
                      <a:pt x="16162" y="91408"/>
                    </a:lnTo>
                    <a:cubicBezTo>
                      <a:pt x="15205" y="90870"/>
                      <a:pt x="14129" y="90690"/>
                      <a:pt x="13112" y="91109"/>
                    </a:cubicBezTo>
                    <a:cubicBezTo>
                      <a:pt x="11138" y="91827"/>
                      <a:pt x="10241" y="94338"/>
                      <a:pt x="11078" y="96611"/>
                    </a:cubicBezTo>
                    <a:cubicBezTo>
                      <a:pt x="11318" y="97209"/>
                      <a:pt x="11617" y="97747"/>
                      <a:pt x="12035" y="98166"/>
                    </a:cubicBezTo>
                    <a:lnTo>
                      <a:pt x="4918" y="109111"/>
                    </a:lnTo>
                    <a:cubicBezTo>
                      <a:pt x="4081" y="108752"/>
                      <a:pt x="3184" y="108692"/>
                      <a:pt x="2347" y="109051"/>
                    </a:cubicBezTo>
                    <a:cubicBezTo>
                      <a:pt x="373" y="109769"/>
                      <a:pt x="-524" y="112281"/>
                      <a:pt x="313" y="114553"/>
                    </a:cubicBezTo>
                    <a:cubicBezTo>
                      <a:pt x="1151" y="116826"/>
                      <a:pt x="3423" y="118082"/>
                      <a:pt x="5397" y="117364"/>
                    </a:cubicBezTo>
                    <a:cubicBezTo>
                      <a:pt x="7370" y="116647"/>
                      <a:pt x="8268" y="114135"/>
                      <a:pt x="7430" y="111862"/>
                    </a:cubicBezTo>
                    <a:cubicBezTo>
                      <a:pt x="7191" y="111204"/>
                      <a:pt x="6832" y="110666"/>
                      <a:pt x="6414" y="110187"/>
                    </a:cubicBezTo>
                    <a:lnTo>
                      <a:pt x="13531" y="99302"/>
                    </a:lnTo>
                    <a:cubicBezTo>
                      <a:pt x="14368" y="99661"/>
                      <a:pt x="15325" y="99781"/>
                      <a:pt x="16222" y="99422"/>
                    </a:cubicBezTo>
                    <a:cubicBezTo>
                      <a:pt x="18195" y="98704"/>
                      <a:pt x="19093" y="96192"/>
                      <a:pt x="18255" y="93920"/>
                    </a:cubicBezTo>
                    <a:cubicBezTo>
                      <a:pt x="18076" y="93441"/>
                      <a:pt x="17837" y="93083"/>
                      <a:pt x="17598" y="92664"/>
                    </a:cubicBezTo>
                    <a:lnTo>
                      <a:pt x="24834" y="82796"/>
                    </a:lnTo>
                    <a:cubicBezTo>
                      <a:pt x="25791" y="83394"/>
                      <a:pt x="26927" y="83513"/>
                      <a:pt x="27944" y="83154"/>
                    </a:cubicBezTo>
                    <a:cubicBezTo>
                      <a:pt x="29379" y="82616"/>
                      <a:pt x="30277" y="81121"/>
                      <a:pt x="30277" y="79446"/>
                    </a:cubicBezTo>
                    <a:lnTo>
                      <a:pt x="39188" y="78250"/>
                    </a:lnTo>
                    <a:cubicBezTo>
                      <a:pt x="40145" y="80284"/>
                      <a:pt x="42238" y="81420"/>
                      <a:pt x="44092" y="80702"/>
                    </a:cubicBezTo>
                    <a:cubicBezTo>
                      <a:pt x="46066" y="79985"/>
                      <a:pt x="46963" y="77473"/>
                      <a:pt x="46125" y="75200"/>
                    </a:cubicBezTo>
                    <a:cubicBezTo>
                      <a:pt x="46066" y="75021"/>
                      <a:pt x="46006" y="74901"/>
                      <a:pt x="45886" y="74722"/>
                    </a:cubicBezTo>
                    <a:lnTo>
                      <a:pt x="46544" y="44519"/>
                    </a:lnTo>
                    <a:cubicBezTo>
                      <a:pt x="47023" y="44579"/>
                      <a:pt x="47501" y="44519"/>
                      <a:pt x="47979" y="44340"/>
                    </a:cubicBezTo>
                    <a:cubicBezTo>
                      <a:pt x="49176" y="43921"/>
                      <a:pt x="49953" y="42844"/>
                      <a:pt x="50193" y="41529"/>
                    </a:cubicBezTo>
                    <a:lnTo>
                      <a:pt x="61855" y="44878"/>
                    </a:lnTo>
                    <a:cubicBezTo>
                      <a:pt x="61855" y="45476"/>
                      <a:pt x="61915" y="46134"/>
                      <a:pt x="62154" y="46792"/>
                    </a:cubicBezTo>
                    <a:cubicBezTo>
                      <a:pt x="62991" y="49064"/>
                      <a:pt x="65264" y="50320"/>
                      <a:pt x="67237" y="49603"/>
                    </a:cubicBezTo>
                    <a:cubicBezTo>
                      <a:pt x="69211" y="48885"/>
                      <a:pt x="70108" y="46373"/>
                      <a:pt x="69271" y="44100"/>
                    </a:cubicBezTo>
                    <a:cubicBezTo>
                      <a:pt x="69211" y="43921"/>
                      <a:pt x="69091" y="43682"/>
                      <a:pt x="68972" y="43502"/>
                    </a:cubicBezTo>
                    <a:lnTo>
                      <a:pt x="76328" y="35428"/>
                    </a:lnTo>
                    <a:cubicBezTo>
                      <a:pt x="77345" y="36146"/>
                      <a:pt x="78601" y="36445"/>
                      <a:pt x="79737" y="35967"/>
                    </a:cubicBezTo>
                    <a:cubicBezTo>
                      <a:pt x="81352" y="35369"/>
                      <a:pt x="82189" y="33634"/>
                      <a:pt x="82070" y="31780"/>
                    </a:cubicBezTo>
                    <a:lnTo>
                      <a:pt x="90443" y="28610"/>
                    </a:lnTo>
                    <a:cubicBezTo>
                      <a:pt x="91519" y="30106"/>
                      <a:pt x="93313" y="30823"/>
                      <a:pt x="94868" y="30225"/>
                    </a:cubicBezTo>
                    <a:cubicBezTo>
                      <a:pt x="96842" y="29507"/>
                      <a:pt x="97739" y="26996"/>
                      <a:pt x="96902" y="24723"/>
                    </a:cubicBezTo>
                    <a:cubicBezTo>
                      <a:pt x="96722" y="24185"/>
                      <a:pt x="96423" y="23706"/>
                      <a:pt x="96065" y="23287"/>
                    </a:cubicBezTo>
                    <a:lnTo>
                      <a:pt x="102344" y="8575"/>
                    </a:lnTo>
                    <a:cubicBezTo>
                      <a:pt x="103062" y="8814"/>
                      <a:pt x="103839" y="8814"/>
                      <a:pt x="104557" y="8515"/>
                    </a:cubicBezTo>
                    <a:cubicBezTo>
                      <a:pt x="106531" y="7797"/>
                      <a:pt x="107428" y="5286"/>
                      <a:pt x="106591" y="3013"/>
                    </a:cubicBezTo>
                    <a:cubicBezTo>
                      <a:pt x="105753" y="740"/>
                      <a:pt x="103481" y="-516"/>
                      <a:pt x="101507" y="202"/>
                    </a:cubicBezTo>
                    <a:close/>
                    <a:moveTo>
                      <a:pt x="4799" y="115450"/>
                    </a:moveTo>
                    <a:cubicBezTo>
                      <a:pt x="3722" y="115869"/>
                      <a:pt x="2406" y="115151"/>
                      <a:pt x="1928" y="113895"/>
                    </a:cubicBezTo>
                    <a:cubicBezTo>
                      <a:pt x="1449" y="112639"/>
                      <a:pt x="1988" y="111204"/>
                      <a:pt x="3064" y="110785"/>
                    </a:cubicBezTo>
                    <a:cubicBezTo>
                      <a:pt x="4141" y="110367"/>
                      <a:pt x="5456" y="111084"/>
                      <a:pt x="5935" y="112340"/>
                    </a:cubicBezTo>
                    <a:cubicBezTo>
                      <a:pt x="6414" y="113656"/>
                      <a:pt x="5875" y="115032"/>
                      <a:pt x="4799" y="115450"/>
                    </a:cubicBezTo>
                    <a:close/>
                    <a:moveTo>
                      <a:pt x="15564" y="97568"/>
                    </a:moveTo>
                    <a:cubicBezTo>
                      <a:pt x="14487" y="97987"/>
                      <a:pt x="13172" y="97269"/>
                      <a:pt x="12693" y="96013"/>
                    </a:cubicBezTo>
                    <a:cubicBezTo>
                      <a:pt x="12215" y="94757"/>
                      <a:pt x="12753" y="93322"/>
                      <a:pt x="13830" y="92903"/>
                    </a:cubicBezTo>
                    <a:cubicBezTo>
                      <a:pt x="14906" y="92484"/>
                      <a:pt x="16222" y="93202"/>
                      <a:pt x="16700" y="94458"/>
                    </a:cubicBezTo>
                    <a:cubicBezTo>
                      <a:pt x="17179" y="95714"/>
                      <a:pt x="16640" y="97149"/>
                      <a:pt x="15564" y="97568"/>
                    </a:cubicBezTo>
                    <a:close/>
                    <a:moveTo>
                      <a:pt x="27226" y="81300"/>
                    </a:moveTo>
                    <a:cubicBezTo>
                      <a:pt x="26150" y="81719"/>
                      <a:pt x="24834" y="81001"/>
                      <a:pt x="24356" y="79745"/>
                    </a:cubicBezTo>
                    <a:cubicBezTo>
                      <a:pt x="23877" y="78490"/>
                      <a:pt x="24416" y="77054"/>
                      <a:pt x="25492" y="76636"/>
                    </a:cubicBezTo>
                    <a:cubicBezTo>
                      <a:pt x="26569" y="76217"/>
                      <a:pt x="27884" y="76935"/>
                      <a:pt x="28363" y="78191"/>
                    </a:cubicBezTo>
                    <a:cubicBezTo>
                      <a:pt x="28841" y="79506"/>
                      <a:pt x="28303" y="80882"/>
                      <a:pt x="27226" y="81300"/>
                    </a:cubicBezTo>
                    <a:close/>
                    <a:moveTo>
                      <a:pt x="43374" y="78848"/>
                    </a:moveTo>
                    <a:cubicBezTo>
                      <a:pt x="42298" y="79267"/>
                      <a:pt x="40982" y="78549"/>
                      <a:pt x="40503" y="77293"/>
                    </a:cubicBezTo>
                    <a:cubicBezTo>
                      <a:pt x="40025" y="76037"/>
                      <a:pt x="40563" y="74602"/>
                      <a:pt x="41640" y="74183"/>
                    </a:cubicBezTo>
                    <a:cubicBezTo>
                      <a:pt x="42717" y="73765"/>
                      <a:pt x="44032" y="74482"/>
                      <a:pt x="44511" y="75738"/>
                    </a:cubicBezTo>
                    <a:cubicBezTo>
                      <a:pt x="44989" y="77054"/>
                      <a:pt x="44511" y="78430"/>
                      <a:pt x="43374" y="78848"/>
                    </a:cubicBezTo>
                    <a:close/>
                    <a:moveTo>
                      <a:pt x="47322" y="42486"/>
                    </a:moveTo>
                    <a:cubicBezTo>
                      <a:pt x="46245" y="42904"/>
                      <a:pt x="44929" y="42187"/>
                      <a:pt x="44451" y="40931"/>
                    </a:cubicBezTo>
                    <a:cubicBezTo>
                      <a:pt x="43972" y="39675"/>
                      <a:pt x="44511" y="38239"/>
                      <a:pt x="45587" y="37821"/>
                    </a:cubicBezTo>
                    <a:cubicBezTo>
                      <a:pt x="46664" y="37402"/>
                      <a:pt x="47979" y="38120"/>
                      <a:pt x="48458" y="39376"/>
                    </a:cubicBezTo>
                    <a:cubicBezTo>
                      <a:pt x="48936" y="40691"/>
                      <a:pt x="48458" y="42067"/>
                      <a:pt x="47322" y="42486"/>
                    </a:cubicBezTo>
                    <a:close/>
                    <a:moveTo>
                      <a:pt x="66640" y="47749"/>
                    </a:moveTo>
                    <a:cubicBezTo>
                      <a:pt x="65563" y="48167"/>
                      <a:pt x="64247" y="47450"/>
                      <a:pt x="63769" y="46194"/>
                    </a:cubicBezTo>
                    <a:cubicBezTo>
                      <a:pt x="63290" y="44938"/>
                      <a:pt x="63828" y="43502"/>
                      <a:pt x="64905" y="43084"/>
                    </a:cubicBezTo>
                    <a:cubicBezTo>
                      <a:pt x="65981" y="42665"/>
                      <a:pt x="67297" y="43383"/>
                      <a:pt x="67776" y="44639"/>
                    </a:cubicBezTo>
                    <a:cubicBezTo>
                      <a:pt x="68254" y="45895"/>
                      <a:pt x="67776" y="47330"/>
                      <a:pt x="66640" y="47749"/>
                    </a:cubicBezTo>
                    <a:close/>
                    <a:moveTo>
                      <a:pt x="79139" y="34172"/>
                    </a:moveTo>
                    <a:cubicBezTo>
                      <a:pt x="78063" y="34591"/>
                      <a:pt x="76747" y="33873"/>
                      <a:pt x="76268" y="32617"/>
                    </a:cubicBezTo>
                    <a:cubicBezTo>
                      <a:pt x="75790" y="31361"/>
                      <a:pt x="76328" y="29926"/>
                      <a:pt x="77405" y="29507"/>
                    </a:cubicBezTo>
                    <a:cubicBezTo>
                      <a:pt x="78481" y="29089"/>
                      <a:pt x="79797" y="29806"/>
                      <a:pt x="80275" y="31062"/>
                    </a:cubicBezTo>
                    <a:cubicBezTo>
                      <a:pt x="80754" y="32318"/>
                      <a:pt x="80275" y="33754"/>
                      <a:pt x="79139" y="34172"/>
                    </a:cubicBezTo>
                    <a:close/>
                    <a:moveTo>
                      <a:pt x="94270" y="28431"/>
                    </a:moveTo>
                    <a:cubicBezTo>
                      <a:pt x="93194" y="28850"/>
                      <a:pt x="91878" y="28132"/>
                      <a:pt x="91399" y="26876"/>
                    </a:cubicBezTo>
                    <a:cubicBezTo>
                      <a:pt x="90921" y="25620"/>
                      <a:pt x="91459" y="24185"/>
                      <a:pt x="92536" y="23766"/>
                    </a:cubicBezTo>
                    <a:cubicBezTo>
                      <a:pt x="93612" y="23347"/>
                      <a:pt x="94928" y="24065"/>
                      <a:pt x="95407" y="25321"/>
                    </a:cubicBezTo>
                    <a:cubicBezTo>
                      <a:pt x="95885" y="26637"/>
                      <a:pt x="95347" y="28012"/>
                      <a:pt x="94270" y="28431"/>
                    </a:cubicBezTo>
                    <a:close/>
                    <a:moveTo>
                      <a:pt x="103899" y="6661"/>
                    </a:moveTo>
                    <a:cubicBezTo>
                      <a:pt x="102823" y="7080"/>
                      <a:pt x="101507" y="6362"/>
                      <a:pt x="101029" y="5106"/>
                    </a:cubicBezTo>
                    <a:cubicBezTo>
                      <a:pt x="100550" y="3850"/>
                      <a:pt x="101088" y="2415"/>
                      <a:pt x="102165" y="1996"/>
                    </a:cubicBezTo>
                    <a:cubicBezTo>
                      <a:pt x="103242" y="1577"/>
                      <a:pt x="104557" y="2295"/>
                      <a:pt x="105036" y="3551"/>
                    </a:cubicBezTo>
                    <a:cubicBezTo>
                      <a:pt x="105514" y="4867"/>
                      <a:pt x="105036" y="6242"/>
                      <a:pt x="103899" y="666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11" name="Vrije vorm: vorm 9210">
                <a:extLst>
                  <a:ext uri="{FF2B5EF4-FFF2-40B4-BE49-F238E27FC236}">
                    <a16:creationId xmlns:a16="http://schemas.microsoft.com/office/drawing/2014/main" id="{89F40087-7B23-455C-B1B8-7FDC0C9FF71C}"/>
                  </a:ext>
                </a:extLst>
              </p:cNvPr>
              <p:cNvSpPr/>
              <p:nvPr/>
            </p:nvSpPr>
            <p:spPr>
              <a:xfrm>
                <a:off x="5381878" y="1176904"/>
                <a:ext cx="115097" cy="96155"/>
              </a:xfrm>
              <a:custGeom>
                <a:avLst/>
                <a:gdLst>
                  <a:gd name="connsiteX0" fmla="*/ 109820 w 115097"/>
                  <a:gd name="connsiteY0" fmla="*/ 1757 h 96155"/>
                  <a:gd name="connsiteX1" fmla="*/ 107488 w 115097"/>
                  <a:gd name="connsiteY1" fmla="*/ 5166 h 96155"/>
                  <a:gd name="connsiteX2" fmla="*/ 97201 w 115097"/>
                  <a:gd name="connsiteY2" fmla="*/ 4687 h 96155"/>
                  <a:gd name="connsiteX3" fmla="*/ 97022 w 115097"/>
                  <a:gd name="connsiteY3" fmla="*/ 3970 h 96155"/>
                  <a:gd name="connsiteX4" fmla="*/ 91938 w 115097"/>
                  <a:gd name="connsiteY4" fmla="*/ 1159 h 96155"/>
                  <a:gd name="connsiteX5" fmla="*/ 89904 w 115097"/>
                  <a:gd name="connsiteY5" fmla="*/ 6661 h 96155"/>
                  <a:gd name="connsiteX6" fmla="*/ 89964 w 115097"/>
                  <a:gd name="connsiteY6" fmla="*/ 6840 h 96155"/>
                  <a:gd name="connsiteX7" fmla="*/ 82249 w 115097"/>
                  <a:gd name="connsiteY7" fmla="*/ 13838 h 96155"/>
                  <a:gd name="connsiteX8" fmla="*/ 79019 w 115097"/>
                  <a:gd name="connsiteY8" fmla="*/ 13419 h 96155"/>
                  <a:gd name="connsiteX9" fmla="*/ 76687 w 115097"/>
                  <a:gd name="connsiteY9" fmla="*/ 17307 h 96155"/>
                  <a:gd name="connsiteX10" fmla="*/ 61855 w 115097"/>
                  <a:gd name="connsiteY10" fmla="*/ 6661 h 96155"/>
                  <a:gd name="connsiteX11" fmla="*/ 61975 w 115097"/>
                  <a:gd name="connsiteY11" fmla="*/ 3013 h 96155"/>
                  <a:gd name="connsiteX12" fmla="*/ 56891 w 115097"/>
                  <a:gd name="connsiteY12" fmla="*/ 202 h 96155"/>
                  <a:gd name="connsiteX13" fmla="*/ 54858 w 115097"/>
                  <a:gd name="connsiteY13" fmla="*/ 5704 h 96155"/>
                  <a:gd name="connsiteX14" fmla="*/ 56891 w 115097"/>
                  <a:gd name="connsiteY14" fmla="*/ 8156 h 96155"/>
                  <a:gd name="connsiteX15" fmla="*/ 56293 w 115097"/>
                  <a:gd name="connsiteY15" fmla="*/ 45297 h 96155"/>
                  <a:gd name="connsiteX16" fmla="*/ 55276 w 115097"/>
                  <a:gd name="connsiteY16" fmla="*/ 45476 h 96155"/>
                  <a:gd name="connsiteX17" fmla="*/ 53243 w 115097"/>
                  <a:gd name="connsiteY17" fmla="*/ 50978 h 96155"/>
                  <a:gd name="connsiteX18" fmla="*/ 54618 w 115097"/>
                  <a:gd name="connsiteY18" fmla="*/ 53012 h 96155"/>
                  <a:gd name="connsiteX19" fmla="*/ 48757 w 115097"/>
                  <a:gd name="connsiteY19" fmla="*/ 63538 h 96155"/>
                  <a:gd name="connsiteX20" fmla="*/ 45468 w 115097"/>
                  <a:gd name="connsiteY20" fmla="*/ 63059 h 96155"/>
                  <a:gd name="connsiteX21" fmla="*/ 43255 w 115097"/>
                  <a:gd name="connsiteY21" fmla="*/ 65631 h 96155"/>
                  <a:gd name="connsiteX22" fmla="*/ 31592 w 115097"/>
                  <a:gd name="connsiteY22" fmla="*/ 62461 h 96155"/>
                  <a:gd name="connsiteX23" fmla="*/ 31293 w 115097"/>
                  <a:gd name="connsiteY23" fmla="*/ 60787 h 96155"/>
                  <a:gd name="connsiteX24" fmla="*/ 26210 w 115097"/>
                  <a:gd name="connsiteY24" fmla="*/ 57976 h 96155"/>
                  <a:gd name="connsiteX25" fmla="*/ 24176 w 115097"/>
                  <a:gd name="connsiteY25" fmla="*/ 63478 h 96155"/>
                  <a:gd name="connsiteX26" fmla="*/ 25013 w 115097"/>
                  <a:gd name="connsiteY26" fmla="*/ 64973 h 96155"/>
                  <a:gd name="connsiteX27" fmla="*/ 18375 w 115097"/>
                  <a:gd name="connsiteY27" fmla="*/ 75380 h 96155"/>
                  <a:gd name="connsiteX28" fmla="*/ 15086 w 115097"/>
                  <a:gd name="connsiteY28" fmla="*/ 74901 h 96155"/>
                  <a:gd name="connsiteX29" fmla="*/ 13052 w 115097"/>
                  <a:gd name="connsiteY29" fmla="*/ 80403 h 96155"/>
                  <a:gd name="connsiteX30" fmla="*/ 13531 w 115097"/>
                  <a:gd name="connsiteY30" fmla="*/ 81360 h 96155"/>
                  <a:gd name="connsiteX31" fmla="*/ 6772 w 115097"/>
                  <a:gd name="connsiteY31" fmla="*/ 89195 h 96155"/>
                  <a:gd name="connsiteX32" fmla="*/ 2347 w 115097"/>
                  <a:gd name="connsiteY32" fmla="*/ 87640 h 96155"/>
                  <a:gd name="connsiteX33" fmla="*/ 313 w 115097"/>
                  <a:gd name="connsiteY33" fmla="*/ 93142 h 96155"/>
                  <a:gd name="connsiteX34" fmla="*/ 5397 w 115097"/>
                  <a:gd name="connsiteY34" fmla="*/ 95953 h 96155"/>
                  <a:gd name="connsiteX35" fmla="*/ 7610 w 115097"/>
                  <a:gd name="connsiteY35" fmla="*/ 91109 h 96155"/>
                  <a:gd name="connsiteX36" fmla="*/ 14787 w 115097"/>
                  <a:gd name="connsiteY36" fmla="*/ 82736 h 96155"/>
                  <a:gd name="connsiteX37" fmla="*/ 18076 w 115097"/>
                  <a:gd name="connsiteY37" fmla="*/ 83214 h 96155"/>
                  <a:gd name="connsiteX38" fmla="*/ 20110 w 115097"/>
                  <a:gd name="connsiteY38" fmla="*/ 77712 h 96155"/>
                  <a:gd name="connsiteX39" fmla="*/ 19631 w 115097"/>
                  <a:gd name="connsiteY39" fmla="*/ 76755 h 96155"/>
                  <a:gd name="connsiteX40" fmla="*/ 26449 w 115097"/>
                  <a:gd name="connsiteY40" fmla="*/ 66109 h 96155"/>
                  <a:gd name="connsiteX41" fmla="*/ 29200 w 115097"/>
                  <a:gd name="connsiteY41" fmla="*/ 66289 h 96155"/>
                  <a:gd name="connsiteX42" fmla="*/ 31174 w 115097"/>
                  <a:gd name="connsiteY42" fmla="*/ 64315 h 96155"/>
                  <a:gd name="connsiteX43" fmla="*/ 43075 w 115097"/>
                  <a:gd name="connsiteY43" fmla="*/ 67545 h 96155"/>
                  <a:gd name="connsiteX44" fmla="*/ 43314 w 115097"/>
                  <a:gd name="connsiteY44" fmla="*/ 68562 h 96155"/>
                  <a:gd name="connsiteX45" fmla="*/ 48398 w 115097"/>
                  <a:gd name="connsiteY45" fmla="*/ 71372 h 96155"/>
                  <a:gd name="connsiteX46" fmla="*/ 50431 w 115097"/>
                  <a:gd name="connsiteY46" fmla="*/ 65870 h 96155"/>
                  <a:gd name="connsiteX47" fmla="*/ 49953 w 115097"/>
                  <a:gd name="connsiteY47" fmla="*/ 64913 h 96155"/>
                  <a:gd name="connsiteX48" fmla="*/ 56053 w 115097"/>
                  <a:gd name="connsiteY48" fmla="*/ 53909 h 96155"/>
                  <a:gd name="connsiteX49" fmla="*/ 58147 w 115097"/>
                  <a:gd name="connsiteY49" fmla="*/ 53849 h 96155"/>
                  <a:gd name="connsiteX50" fmla="*/ 60180 w 115097"/>
                  <a:gd name="connsiteY50" fmla="*/ 48347 h 96155"/>
                  <a:gd name="connsiteX51" fmla="*/ 57848 w 115097"/>
                  <a:gd name="connsiteY51" fmla="*/ 45715 h 96155"/>
                  <a:gd name="connsiteX52" fmla="*/ 58446 w 115097"/>
                  <a:gd name="connsiteY52" fmla="*/ 8754 h 96155"/>
                  <a:gd name="connsiteX53" fmla="*/ 59821 w 115097"/>
                  <a:gd name="connsiteY53" fmla="*/ 8575 h 96155"/>
                  <a:gd name="connsiteX54" fmla="*/ 60599 w 115097"/>
                  <a:gd name="connsiteY54" fmla="*/ 8096 h 96155"/>
                  <a:gd name="connsiteX55" fmla="*/ 77584 w 115097"/>
                  <a:gd name="connsiteY55" fmla="*/ 20297 h 96155"/>
                  <a:gd name="connsiteX56" fmla="*/ 81950 w 115097"/>
                  <a:gd name="connsiteY56" fmla="*/ 21792 h 96155"/>
                  <a:gd name="connsiteX57" fmla="*/ 83984 w 115097"/>
                  <a:gd name="connsiteY57" fmla="*/ 16290 h 96155"/>
                  <a:gd name="connsiteX58" fmla="*/ 83445 w 115097"/>
                  <a:gd name="connsiteY58" fmla="*/ 15273 h 96155"/>
                  <a:gd name="connsiteX59" fmla="*/ 90861 w 115097"/>
                  <a:gd name="connsiteY59" fmla="*/ 8515 h 96155"/>
                  <a:gd name="connsiteX60" fmla="*/ 94809 w 115097"/>
                  <a:gd name="connsiteY60" fmla="*/ 9532 h 96155"/>
                  <a:gd name="connsiteX61" fmla="*/ 97081 w 115097"/>
                  <a:gd name="connsiteY61" fmla="*/ 6661 h 96155"/>
                  <a:gd name="connsiteX62" fmla="*/ 107607 w 115097"/>
                  <a:gd name="connsiteY62" fmla="*/ 7140 h 96155"/>
                  <a:gd name="connsiteX63" fmla="*/ 107667 w 115097"/>
                  <a:gd name="connsiteY63" fmla="*/ 7319 h 96155"/>
                  <a:gd name="connsiteX64" fmla="*/ 112751 w 115097"/>
                  <a:gd name="connsiteY64" fmla="*/ 10130 h 96155"/>
                  <a:gd name="connsiteX65" fmla="*/ 114784 w 115097"/>
                  <a:gd name="connsiteY65" fmla="*/ 4628 h 96155"/>
                  <a:gd name="connsiteX66" fmla="*/ 109820 w 115097"/>
                  <a:gd name="connsiteY66" fmla="*/ 1757 h 96155"/>
                  <a:gd name="connsiteX67" fmla="*/ 4918 w 115097"/>
                  <a:gd name="connsiteY67" fmla="*/ 94099 h 96155"/>
                  <a:gd name="connsiteX68" fmla="*/ 2048 w 115097"/>
                  <a:gd name="connsiteY68" fmla="*/ 92544 h 96155"/>
                  <a:gd name="connsiteX69" fmla="*/ 3184 w 115097"/>
                  <a:gd name="connsiteY69" fmla="*/ 89434 h 96155"/>
                  <a:gd name="connsiteX70" fmla="*/ 6055 w 115097"/>
                  <a:gd name="connsiteY70" fmla="*/ 90989 h 96155"/>
                  <a:gd name="connsiteX71" fmla="*/ 4918 w 115097"/>
                  <a:gd name="connsiteY71" fmla="*/ 94099 h 96155"/>
                  <a:gd name="connsiteX72" fmla="*/ 17597 w 115097"/>
                  <a:gd name="connsiteY72" fmla="*/ 81360 h 96155"/>
                  <a:gd name="connsiteX73" fmla="*/ 14727 w 115097"/>
                  <a:gd name="connsiteY73" fmla="*/ 79805 h 96155"/>
                  <a:gd name="connsiteX74" fmla="*/ 15863 w 115097"/>
                  <a:gd name="connsiteY74" fmla="*/ 76695 h 96155"/>
                  <a:gd name="connsiteX75" fmla="*/ 18734 w 115097"/>
                  <a:gd name="connsiteY75" fmla="*/ 78250 h 96155"/>
                  <a:gd name="connsiteX76" fmla="*/ 17597 w 115097"/>
                  <a:gd name="connsiteY76" fmla="*/ 81360 h 96155"/>
                  <a:gd name="connsiteX77" fmla="*/ 28721 w 115097"/>
                  <a:gd name="connsiteY77" fmla="*/ 64495 h 96155"/>
                  <a:gd name="connsiteX78" fmla="*/ 25851 w 115097"/>
                  <a:gd name="connsiteY78" fmla="*/ 62940 h 96155"/>
                  <a:gd name="connsiteX79" fmla="*/ 26987 w 115097"/>
                  <a:gd name="connsiteY79" fmla="*/ 59830 h 96155"/>
                  <a:gd name="connsiteX80" fmla="*/ 29858 w 115097"/>
                  <a:gd name="connsiteY80" fmla="*/ 61385 h 96155"/>
                  <a:gd name="connsiteX81" fmla="*/ 28721 w 115097"/>
                  <a:gd name="connsiteY81" fmla="*/ 64495 h 96155"/>
                  <a:gd name="connsiteX82" fmla="*/ 47980 w 115097"/>
                  <a:gd name="connsiteY82" fmla="*/ 69518 h 96155"/>
                  <a:gd name="connsiteX83" fmla="*/ 45109 w 115097"/>
                  <a:gd name="connsiteY83" fmla="*/ 67963 h 96155"/>
                  <a:gd name="connsiteX84" fmla="*/ 46245 w 115097"/>
                  <a:gd name="connsiteY84" fmla="*/ 64854 h 96155"/>
                  <a:gd name="connsiteX85" fmla="*/ 49116 w 115097"/>
                  <a:gd name="connsiteY85" fmla="*/ 66408 h 96155"/>
                  <a:gd name="connsiteX86" fmla="*/ 47980 w 115097"/>
                  <a:gd name="connsiteY86" fmla="*/ 69518 h 96155"/>
                  <a:gd name="connsiteX87" fmla="*/ 57728 w 115097"/>
                  <a:gd name="connsiteY87" fmla="*/ 51995 h 96155"/>
                  <a:gd name="connsiteX88" fmla="*/ 54858 w 115097"/>
                  <a:gd name="connsiteY88" fmla="*/ 50440 h 96155"/>
                  <a:gd name="connsiteX89" fmla="*/ 55994 w 115097"/>
                  <a:gd name="connsiteY89" fmla="*/ 47330 h 96155"/>
                  <a:gd name="connsiteX90" fmla="*/ 58864 w 115097"/>
                  <a:gd name="connsiteY90" fmla="*/ 48885 h 96155"/>
                  <a:gd name="connsiteX91" fmla="*/ 57728 w 115097"/>
                  <a:gd name="connsiteY91" fmla="*/ 51995 h 96155"/>
                  <a:gd name="connsiteX92" fmla="*/ 57608 w 115097"/>
                  <a:gd name="connsiteY92" fmla="*/ 2056 h 96155"/>
                  <a:gd name="connsiteX93" fmla="*/ 60479 w 115097"/>
                  <a:gd name="connsiteY93" fmla="*/ 3611 h 96155"/>
                  <a:gd name="connsiteX94" fmla="*/ 60180 w 115097"/>
                  <a:gd name="connsiteY94" fmla="*/ 6003 h 96155"/>
                  <a:gd name="connsiteX95" fmla="*/ 57788 w 115097"/>
                  <a:gd name="connsiteY95" fmla="*/ 6601 h 96155"/>
                  <a:gd name="connsiteX96" fmla="*/ 56472 w 115097"/>
                  <a:gd name="connsiteY96" fmla="*/ 5106 h 96155"/>
                  <a:gd name="connsiteX97" fmla="*/ 57608 w 115097"/>
                  <a:gd name="connsiteY97" fmla="*/ 2056 h 96155"/>
                  <a:gd name="connsiteX98" fmla="*/ 81471 w 115097"/>
                  <a:gd name="connsiteY98" fmla="*/ 19878 h 96155"/>
                  <a:gd name="connsiteX99" fmla="*/ 78601 w 115097"/>
                  <a:gd name="connsiteY99" fmla="*/ 18323 h 96155"/>
                  <a:gd name="connsiteX100" fmla="*/ 79737 w 115097"/>
                  <a:gd name="connsiteY100" fmla="*/ 15214 h 96155"/>
                  <a:gd name="connsiteX101" fmla="*/ 82608 w 115097"/>
                  <a:gd name="connsiteY101" fmla="*/ 16769 h 96155"/>
                  <a:gd name="connsiteX102" fmla="*/ 81471 w 115097"/>
                  <a:gd name="connsiteY102" fmla="*/ 19878 h 96155"/>
                  <a:gd name="connsiteX103" fmla="*/ 94330 w 115097"/>
                  <a:gd name="connsiteY103" fmla="*/ 7618 h 96155"/>
                  <a:gd name="connsiteX104" fmla="*/ 91460 w 115097"/>
                  <a:gd name="connsiteY104" fmla="*/ 6063 h 96155"/>
                  <a:gd name="connsiteX105" fmla="*/ 92596 w 115097"/>
                  <a:gd name="connsiteY105" fmla="*/ 2953 h 96155"/>
                  <a:gd name="connsiteX106" fmla="*/ 95466 w 115097"/>
                  <a:gd name="connsiteY106" fmla="*/ 4508 h 96155"/>
                  <a:gd name="connsiteX107" fmla="*/ 94330 w 115097"/>
                  <a:gd name="connsiteY107" fmla="*/ 7618 h 96155"/>
                  <a:gd name="connsiteX108" fmla="*/ 112212 w 115097"/>
                  <a:gd name="connsiteY108" fmla="*/ 8216 h 96155"/>
                  <a:gd name="connsiteX109" fmla="*/ 109342 w 115097"/>
                  <a:gd name="connsiteY109" fmla="*/ 6661 h 96155"/>
                  <a:gd name="connsiteX110" fmla="*/ 110478 w 115097"/>
                  <a:gd name="connsiteY110" fmla="*/ 3551 h 96155"/>
                  <a:gd name="connsiteX111" fmla="*/ 113349 w 115097"/>
                  <a:gd name="connsiteY111" fmla="*/ 5106 h 96155"/>
                  <a:gd name="connsiteX112" fmla="*/ 112212 w 115097"/>
                  <a:gd name="connsiteY112" fmla="*/ 8216 h 9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15097" h="96155">
                    <a:moveTo>
                      <a:pt x="109820" y="1757"/>
                    </a:moveTo>
                    <a:cubicBezTo>
                      <a:pt x="108445" y="2295"/>
                      <a:pt x="107607" y="3611"/>
                      <a:pt x="107488" y="5166"/>
                    </a:cubicBezTo>
                    <a:lnTo>
                      <a:pt x="97201" y="4687"/>
                    </a:lnTo>
                    <a:cubicBezTo>
                      <a:pt x="97141" y="4448"/>
                      <a:pt x="97081" y="4209"/>
                      <a:pt x="97022" y="3970"/>
                    </a:cubicBezTo>
                    <a:cubicBezTo>
                      <a:pt x="96184" y="1697"/>
                      <a:pt x="93911" y="441"/>
                      <a:pt x="91938" y="1159"/>
                    </a:cubicBezTo>
                    <a:cubicBezTo>
                      <a:pt x="89964" y="1876"/>
                      <a:pt x="89067" y="4388"/>
                      <a:pt x="89904" y="6661"/>
                    </a:cubicBezTo>
                    <a:cubicBezTo>
                      <a:pt x="89904" y="6721"/>
                      <a:pt x="89964" y="6781"/>
                      <a:pt x="89964" y="6840"/>
                    </a:cubicBezTo>
                    <a:lnTo>
                      <a:pt x="82249" y="13838"/>
                    </a:lnTo>
                    <a:cubicBezTo>
                      <a:pt x="81292" y="13180"/>
                      <a:pt x="80096" y="13001"/>
                      <a:pt x="79019" y="13419"/>
                    </a:cubicBezTo>
                    <a:cubicBezTo>
                      <a:pt x="77524" y="14017"/>
                      <a:pt x="76627" y="15572"/>
                      <a:pt x="76687" y="17307"/>
                    </a:cubicBezTo>
                    <a:lnTo>
                      <a:pt x="61855" y="6661"/>
                    </a:lnTo>
                    <a:cubicBezTo>
                      <a:pt x="62333" y="5585"/>
                      <a:pt x="62453" y="4269"/>
                      <a:pt x="61975" y="3013"/>
                    </a:cubicBezTo>
                    <a:cubicBezTo>
                      <a:pt x="61137" y="740"/>
                      <a:pt x="58864" y="-516"/>
                      <a:pt x="56891" y="202"/>
                    </a:cubicBezTo>
                    <a:cubicBezTo>
                      <a:pt x="54917" y="920"/>
                      <a:pt x="54020" y="3431"/>
                      <a:pt x="54858" y="5704"/>
                    </a:cubicBezTo>
                    <a:cubicBezTo>
                      <a:pt x="55276" y="6840"/>
                      <a:pt x="55994" y="7678"/>
                      <a:pt x="56891" y="8156"/>
                    </a:cubicBezTo>
                    <a:lnTo>
                      <a:pt x="56293" y="45297"/>
                    </a:lnTo>
                    <a:cubicBezTo>
                      <a:pt x="55934" y="45297"/>
                      <a:pt x="55575" y="45356"/>
                      <a:pt x="55276" y="45476"/>
                    </a:cubicBezTo>
                    <a:cubicBezTo>
                      <a:pt x="53302" y="46194"/>
                      <a:pt x="52405" y="48706"/>
                      <a:pt x="53243" y="50978"/>
                    </a:cubicBezTo>
                    <a:cubicBezTo>
                      <a:pt x="53542" y="51816"/>
                      <a:pt x="54020" y="52473"/>
                      <a:pt x="54618" y="53012"/>
                    </a:cubicBezTo>
                    <a:lnTo>
                      <a:pt x="48757" y="63538"/>
                    </a:lnTo>
                    <a:cubicBezTo>
                      <a:pt x="47740" y="62880"/>
                      <a:pt x="46604" y="62641"/>
                      <a:pt x="45468" y="63059"/>
                    </a:cubicBezTo>
                    <a:cubicBezTo>
                      <a:pt x="44331" y="63478"/>
                      <a:pt x="43614" y="64495"/>
                      <a:pt x="43255" y="65631"/>
                    </a:cubicBezTo>
                    <a:lnTo>
                      <a:pt x="31592" y="62461"/>
                    </a:lnTo>
                    <a:cubicBezTo>
                      <a:pt x="31592" y="61923"/>
                      <a:pt x="31473" y="61325"/>
                      <a:pt x="31293" y="60787"/>
                    </a:cubicBezTo>
                    <a:cubicBezTo>
                      <a:pt x="30456" y="58514"/>
                      <a:pt x="28183" y="57258"/>
                      <a:pt x="26210" y="57976"/>
                    </a:cubicBezTo>
                    <a:cubicBezTo>
                      <a:pt x="24236" y="58693"/>
                      <a:pt x="23339" y="61205"/>
                      <a:pt x="24176" y="63478"/>
                    </a:cubicBezTo>
                    <a:cubicBezTo>
                      <a:pt x="24356" y="64016"/>
                      <a:pt x="24655" y="64554"/>
                      <a:pt x="25013" y="64973"/>
                    </a:cubicBezTo>
                    <a:lnTo>
                      <a:pt x="18375" y="75380"/>
                    </a:lnTo>
                    <a:cubicBezTo>
                      <a:pt x="17358" y="74722"/>
                      <a:pt x="16162" y="74482"/>
                      <a:pt x="15086" y="74901"/>
                    </a:cubicBezTo>
                    <a:cubicBezTo>
                      <a:pt x="13112" y="75679"/>
                      <a:pt x="12215" y="78131"/>
                      <a:pt x="13052" y="80403"/>
                    </a:cubicBezTo>
                    <a:cubicBezTo>
                      <a:pt x="13172" y="80762"/>
                      <a:pt x="13351" y="81061"/>
                      <a:pt x="13531" y="81360"/>
                    </a:cubicBezTo>
                    <a:lnTo>
                      <a:pt x="6772" y="89195"/>
                    </a:lnTo>
                    <a:cubicBezTo>
                      <a:pt x="5696" y="87760"/>
                      <a:pt x="3962" y="87042"/>
                      <a:pt x="2347" y="87640"/>
                    </a:cubicBezTo>
                    <a:cubicBezTo>
                      <a:pt x="373" y="88358"/>
                      <a:pt x="-524" y="90870"/>
                      <a:pt x="313" y="93142"/>
                    </a:cubicBezTo>
                    <a:cubicBezTo>
                      <a:pt x="1150" y="95415"/>
                      <a:pt x="3423" y="96671"/>
                      <a:pt x="5397" y="95953"/>
                    </a:cubicBezTo>
                    <a:cubicBezTo>
                      <a:pt x="7191" y="95295"/>
                      <a:pt x="8088" y="93202"/>
                      <a:pt x="7610" y="91109"/>
                    </a:cubicBezTo>
                    <a:lnTo>
                      <a:pt x="14787" y="82736"/>
                    </a:lnTo>
                    <a:cubicBezTo>
                      <a:pt x="15803" y="83394"/>
                      <a:pt x="16940" y="83633"/>
                      <a:pt x="18076" y="83214"/>
                    </a:cubicBezTo>
                    <a:cubicBezTo>
                      <a:pt x="20050" y="82497"/>
                      <a:pt x="20947" y="79985"/>
                      <a:pt x="20110" y="77712"/>
                    </a:cubicBezTo>
                    <a:cubicBezTo>
                      <a:pt x="19990" y="77353"/>
                      <a:pt x="19810" y="77054"/>
                      <a:pt x="19631" y="76755"/>
                    </a:cubicBezTo>
                    <a:lnTo>
                      <a:pt x="26449" y="66109"/>
                    </a:lnTo>
                    <a:cubicBezTo>
                      <a:pt x="27346" y="66528"/>
                      <a:pt x="28303" y="66648"/>
                      <a:pt x="29200" y="66289"/>
                    </a:cubicBezTo>
                    <a:cubicBezTo>
                      <a:pt x="30097" y="65930"/>
                      <a:pt x="30815" y="65212"/>
                      <a:pt x="31174" y="64315"/>
                    </a:cubicBezTo>
                    <a:lnTo>
                      <a:pt x="43075" y="67545"/>
                    </a:lnTo>
                    <a:cubicBezTo>
                      <a:pt x="43135" y="67904"/>
                      <a:pt x="43195" y="68203"/>
                      <a:pt x="43314" y="68562"/>
                    </a:cubicBezTo>
                    <a:cubicBezTo>
                      <a:pt x="44152" y="70834"/>
                      <a:pt x="46424" y="72090"/>
                      <a:pt x="48398" y="71372"/>
                    </a:cubicBezTo>
                    <a:cubicBezTo>
                      <a:pt x="50372" y="70655"/>
                      <a:pt x="51269" y="68143"/>
                      <a:pt x="50431" y="65870"/>
                    </a:cubicBezTo>
                    <a:cubicBezTo>
                      <a:pt x="50312" y="65511"/>
                      <a:pt x="50133" y="65212"/>
                      <a:pt x="49953" y="64913"/>
                    </a:cubicBezTo>
                    <a:lnTo>
                      <a:pt x="56053" y="53909"/>
                    </a:lnTo>
                    <a:cubicBezTo>
                      <a:pt x="56771" y="54088"/>
                      <a:pt x="57489" y="54088"/>
                      <a:pt x="58147" y="53849"/>
                    </a:cubicBezTo>
                    <a:cubicBezTo>
                      <a:pt x="60120" y="53131"/>
                      <a:pt x="61017" y="50619"/>
                      <a:pt x="60180" y="48347"/>
                    </a:cubicBezTo>
                    <a:cubicBezTo>
                      <a:pt x="59702" y="47091"/>
                      <a:pt x="58864" y="46194"/>
                      <a:pt x="57848" y="45715"/>
                    </a:cubicBezTo>
                    <a:lnTo>
                      <a:pt x="58446" y="8754"/>
                    </a:lnTo>
                    <a:cubicBezTo>
                      <a:pt x="58924" y="8754"/>
                      <a:pt x="59343" y="8695"/>
                      <a:pt x="59821" y="8575"/>
                    </a:cubicBezTo>
                    <a:cubicBezTo>
                      <a:pt x="60120" y="8455"/>
                      <a:pt x="60360" y="8276"/>
                      <a:pt x="60599" y="8096"/>
                    </a:cubicBezTo>
                    <a:lnTo>
                      <a:pt x="77584" y="20297"/>
                    </a:lnTo>
                    <a:cubicBezTo>
                      <a:pt x="78661" y="21673"/>
                      <a:pt x="80395" y="22331"/>
                      <a:pt x="81950" y="21792"/>
                    </a:cubicBezTo>
                    <a:cubicBezTo>
                      <a:pt x="83924" y="21075"/>
                      <a:pt x="84821" y="18563"/>
                      <a:pt x="83984" y="16290"/>
                    </a:cubicBezTo>
                    <a:cubicBezTo>
                      <a:pt x="83864" y="15931"/>
                      <a:pt x="83684" y="15572"/>
                      <a:pt x="83445" y="15273"/>
                    </a:cubicBezTo>
                    <a:lnTo>
                      <a:pt x="90861" y="8515"/>
                    </a:lnTo>
                    <a:cubicBezTo>
                      <a:pt x="91938" y="9592"/>
                      <a:pt x="93433" y="10070"/>
                      <a:pt x="94809" y="9532"/>
                    </a:cubicBezTo>
                    <a:cubicBezTo>
                      <a:pt x="96005" y="9053"/>
                      <a:pt x="96782" y="7977"/>
                      <a:pt x="97081" y="6661"/>
                    </a:cubicBezTo>
                    <a:lnTo>
                      <a:pt x="107607" y="7140"/>
                    </a:lnTo>
                    <a:cubicBezTo>
                      <a:pt x="107607" y="7199"/>
                      <a:pt x="107607" y="7259"/>
                      <a:pt x="107667" y="7319"/>
                    </a:cubicBezTo>
                    <a:cubicBezTo>
                      <a:pt x="108504" y="9592"/>
                      <a:pt x="110777" y="10848"/>
                      <a:pt x="112751" y="10130"/>
                    </a:cubicBezTo>
                    <a:cubicBezTo>
                      <a:pt x="114724" y="9412"/>
                      <a:pt x="115621" y="6900"/>
                      <a:pt x="114784" y="4628"/>
                    </a:cubicBezTo>
                    <a:cubicBezTo>
                      <a:pt x="114066" y="2295"/>
                      <a:pt x="111794" y="1039"/>
                      <a:pt x="109820" y="1757"/>
                    </a:cubicBezTo>
                    <a:close/>
                    <a:moveTo>
                      <a:pt x="4918" y="94099"/>
                    </a:moveTo>
                    <a:cubicBezTo>
                      <a:pt x="3842" y="94518"/>
                      <a:pt x="2526" y="93800"/>
                      <a:pt x="2048" y="92544"/>
                    </a:cubicBezTo>
                    <a:cubicBezTo>
                      <a:pt x="1569" y="91288"/>
                      <a:pt x="2107" y="89853"/>
                      <a:pt x="3184" y="89434"/>
                    </a:cubicBezTo>
                    <a:cubicBezTo>
                      <a:pt x="4260" y="89016"/>
                      <a:pt x="5576" y="89733"/>
                      <a:pt x="6055" y="90989"/>
                    </a:cubicBezTo>
                    <a:cubicBezTo>
                      <a:pt x="6533" y="92305"/>
                      <a:pt x="6055" y="93681"/>
                      <a:pt x="4918" y="94099"/>
                    </a:cubicBezTo>
                    <a:close/>
                    <a:moveTo>
                      <a:pt x="17597" y="81360"/>
                    </a:moveTo>
                    <a:cubicBezTo>
                      <a:pt x="16521" y="81779"/>
                      <a:pt x="15205" y="81061"/>
                      <a:pt x="14727" y="79805"/>
                    </a:cubicBezTo>
                    <a:cubicBezTo>
                      <a:pt x="14248" y="78549"/>
                      <a:pt x="14787" y="77114"/>
                      <a:pt x="15863" y="76695"/>
                    </a:cubicBezTo>
                    <a:cubicBezTo>
                      <a:pt x="16940" y="76277"/>
                      <a:pt x="18255" y="76994"/>
                      <a:pt x="18734" y="78250"/>
                    </a:cubicBezTo>
                    <a:cubicBezTo>
                      <a:pt x="19212" y="79566"/>
                      <a:pt x="18674" y="80942"/>
                      <a:pt x="17597" y="81360"/>
                    </a:cubicBezTo>
                    <a:close/>
                    <a:moveTo>
                      <a:pt x="28721" y="64495"/>
                    </a:moveTo>
                    <a:cubicBezTo>
                      <a:pt x="27645" y="64913"/>
                      <a:pt x="26329" y="64196"/>
                      <a:pt x="25851" y="62940"/>
                    </a:cubicBezTo>
                    <a:cubicBezTo>
                      <a:pt x="25372" y="61684"/>
                      <a:pt x="25911" y="60248"/>
                      <a:pt x="26987" y="59830"/>
                    </a:cubicBezTo>
                    <a:cubicBezTo>
                      <a:pt x="28064" y="59411"/>
                      <a:pt x="29380" y="60129"/>
                      <a:pt x="29858" y="61385"/>
                    </a:cubicBezTo>
                    <a:cubicBezTo>
                      <a:pt x="30336" y="62700"/>
                      <a:pt x="29858" y="64076"/>
                      <a:pt x="28721" y="64495"/>
                    </a:cubicBezTo>
                    <a:close/>
                    <a:moveTo>
                      <a:pt x="47980" y="69518"/>
                    </a:moveTo>
                    <a:cubicBezTo>
                      <a:pt x="46903" y="69937"/>
                      <a:pt x="45587" y="69219"/>
                      <a:pt x="45109" y="67963"/>
                    </a:cubicBezTo>
                    <a:cubicBezTo>
                      <a:pt x="44630" y="66708"/>
                      <a:pt x="45168" y="65272"/>
                      <a:pt x="46245" y="64854"/>
                    </a:cubicBezTo>
                    <a:cubicBezTo>
                      <a:pt x="47322" y="64435"/>
                      <a:pt x="48637" y="65153"/>
                      <a:pt x="49116" y="66408"/>
                    </a:cubicBezTo>
                    <a:cubicBezTo>
                      <a:pt x="49594" y="67724"/>
                      <a:pt x="49056" y="69100"/>
                      <a:pt x="47980" y="69518"/>
                    </a:cubicBezTo>
                    <a:close/>
                    <a:moveTo>
                      <a:pt x="57728" y="51995"/>
                    </a:moveTo>
                    <a:cubicBezTo>
                      <a:pt x="56652" y="52414"/>
                      <a:pt x="55336" y="51696"/>
                      <a:pt x="54858" y="50440"/>
                    </a:cubicBezTo>
                    <a:cubicBezTo>
                      <a:pt x="54379" y="49184"/>
                      <a:pt x="54917" y="47749"/>
                      <a:pt x="55994" y="47330"/>
                    </a:cubicBezTo>
                    <a:cubicBezTo>
                      <a:pt x="57070" y="46911"/>
                      <a:pt x="58386" y="47629"/>
                      <a:pt x="58864" y="48885"/>
                    </a:cubicBezTo>
                    <a:cubicBezTo>
                      <a:pt x="59343" y="50141"/>
                      <a:pt x="58864" y="51576"/>
                      <a:pt x="57728" y="51995"/>
                    </a:cubicBezTo>
                    <a:close/>
                    <a:moveTo>
                      <a:pt x="57608" y="2056"/>
                    </a:moveTo>
                    <a:cubicBezTo>
                      <a:pt x="58685" y="1637"/>
                      <a:pt x="60001" y="2355"/>
                      <a:pt x="60479" y="3611"/>
                    </a:cubicBezTo>
                    <a:cubicBezTo>
                      <a:pt x="60778" y="4508"/>
                      <a:pt x="60659" y="5405"/>
                      <a:pt x="60180" y="6003"/>
                    </a:cubicBezTo>
                    <a:lnTo>
                      <a:pt x="57788" y="6601"/>
                    </a:lnTo>
                    <a:cubicBezTo>
                      <a:pt x="57190" y="6362"/>
                      <a:pt x="56712" y="5824"/>
                      <a:pt x="56472" y="5106"/>
                    </a:cubicBezTo>
                    <a:cubicBezTo>
                      <a:pt x="55994" y="3850"/>
                      <a:pt x="56532" y="2415"/>
                      <a:pt x="57608" y="2056"/>
                    </a:cubicBezTo>
                    <a:close/>
                    <a:moveTo>
                      <a:pt x="81471" y="19878"/>
                    </a:moveTo>
                    <a:cubicBezTo>
                      <a:pt x="80395" y="20297"/>
                      <a:pt x="79079" y="19579"/>
                      <a:pt x="78601" y="18323"/>
                    </a:cubicBezTo>
                    <a:cubicBezTo>
                      <a:pt x="78122" y="17068"/>
                      <a:pt x="78661" y="15632"/>
                      <a:pt x="79737" y="15214"/>
                    </a:cubicBezTo>
                    <a:cubicBezTo>
                      <a:pt x="80814" y="14795"/>
                      <a:pt x="82130" y="15513"/>
                      <a:pt x="82608" y="16769"/>
                    </a:cubicBezTo>
                    <a:cubicBezTo>
                      <a:pt x="83086" y="18084"/>
                      <a:pt x="82608" y="19460"/>
                      <a:pt x="81471" y="19878"/>
                    </a:cubicBezTo>
                    <a:close/>
                    <a:moveTo>
                      <a:pt x="94330" y="7618"/>
                    </a:moveTo>
                    <a:cubicBezTo>
                      <a:pt x="93254" y="8037"/>
                      <a:pt x="91938" y="7319"/>
                      <a:pt x="91460" y="6063"/>
                    </a:cubicBezTo>
                    <a:cubicBezTo>
                      <a:pt x="90981" y="4807"/>
                      <a:pt x="91519" y="3372"/>
                      <a:pt x="92596" y="2953"/>
                    </a:cubicBezTo>
                    <a:cubicBezTo>
                      <a:pt x="93672" y="2534"/>
                      <a:pt x="94988" y="3252"/>
                      <a:pt x="95466" y="4508"/>
                    </a:cubicBezTo>
                    <a:cubicBezTo>
                      <a:pt x="95945" y="5824"/>
                      <a:pt x="95466" y="7199"/>
                      <a:pt x="94330" y="7618"/>
                    </a:cubicBezTo>
                    <a:close/>
                    <a:moveTo>
                      <a:pt x="112212" y="8216"/>
                    </a:moveTo>
                    <a:cubicBezTo>
                      <a:pt x="111136" y="8635"/>
                      <a:pt x="109820" y="7917"/>
                      <a:pt x="109342" y="6661"/>
                    </a:cubicBezTo>
                    <a:cubicBezTo>
                      <a:pt x="108863" y="5405"/>
                      <a:pt x="109402" y="3970"/>
                      <a:pt x="110478" y="3551"/>
                    </a:cubicBezTo>
                    <a:cubicBezTo>
                      <a:pt x="111555" y="3132"/>
                      <a:pt x="112870" y="3850"/>
                      <a:pt x="113349" y="5106"/>
                    </a:cubicBezTo>
                    <a:cubicBezTo>
                      <a:pt x="113827" y="6422"/>
                      <a:pt x="113349" y="7797"/>
                      <a:pt x="112212" y="821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212" name="Vrije vorm: vorm 9211">
                <a:extLst>
                  <a:ext uri="{FF2B5EF4-FFF2-40B4-BE49-F238E27FC236}">
                    <a16:creationId xmlns:a16="http://schemas.microsoft.com/office/drawing/2014/main" id="{743AD19D-64FF-4B2E-9D36-29DF198C983D}"/>
                  </a:ext>
                </a:extLst>
              </p:cNvPr>
              <p:cNvSpPr/>
              <p:nvPr/>
            </p:nvSpPr>
            <p:spPr>
              <a:xfrm>
                <a:off x="5385466" y="1203279"/>
                <a:ext cx="123709" cy="79588"/>
              </a:xfrm>
              <a:custGeom>
                <a:avLst/>
                <a:gdLst>
                  <a:gd name="connsiteX0" fmla="*/ 118373 w 123709"/>
                  <a:gd name="connsiteY0" fmla="*/ 8096 h 79588"/>
                  <a:gd name="connsiteX1" fmla="*/ 116279 w 123709"/>
                  <a:gd name="connsiteY1" fmla="*/ 10250 h 79588"/>
                  <a:gd name="connsiteX2" fmla="*/ 103122 w 123709"/>
                  <a:gd name="connsiteY2" fmla="*/ 5106 h 79588"/>
                  <a:gd name="connsiteX3" fmla="*/ 102823 w 123709"/>
                  <a:gd name="connsiteY3" fmla="*/ 3013 h 79588"/>
                  <a:gd name="connsiteX4" fmla="*/ 97739 w 123709"/>
                  <a:gd name="connsiteY4" fmla="*/ 202 h 79588"/>
                  <a:gd name="connsiteX5" fmla="*/ 95706 w 123709"/>
                  <a:gd name="connsiteY5" fmla="*/ 5704 h 79588"/>
                  <a:gd name="connsiteX6" fmla="*/ 96065 w 123709"/>
                  <a:gd name="connsiteY6" fmla="*/ 6422 h 79588"/>
                  <a:gd name="connsiteX7" fmla="*/ 89127 w 123709"/>
                  <a:gd name="connsiteY7" fmla="*/ 14137 h 79588"/>
                  <a:gd name="connsiteX8" fmla="*/ 85359 w 123709"/>
                  <a:gd name="connsiteY8" fmla="*/ 13300 h 79588"/>
                  <a:gd name="connsiteX9" fmla="*/ 83206 w 123709"/>
                  <a:gd name="connsiteY9" fmla="*/ 15812 h 79588"/>
                  <a:gd name="connsiteX10" fmla="*/ 71902 w 123709"/>
                  <a:gd name="connsiteY10" fmla="*/ 13419 h 79588"/>
                  <a:gd name="connsiteX11" fmla="*/ 71663 w 123709"/>
                  <a:gd name="connsiteY11" fmla="*/ 12642 h 79588"/>
                  <a:gd name="connsiteX12" fmla="*/ 66580 w 123709"/>
                  <a:gd name="connsiteY12" fmla="*/ 9831 h 79588"/>
                  <a:gd name="connsiteX13" fmla="*/ 64546 w 123709"/>
                  <a:gd name="connsiteY13" fmla="*/ 15333 h 79588"/>
                  <a:gd name="connsiteX14" fmla="*/ 67178 w 123709"/>
                  <a:gd name="connsiteY14" fmla="*/ 18084 h 79588"/>
                  <a:gd name="connsiteX15" fmla="*/ 62812 w 123709"/>
                  <a:gd name="connsiteY15" fmla="*/ 39196 h 79588"/>
                  <a:gd name="connsiteX16" fmla="*/ 59702 w 123709"/>
                  <a:gd name="connsiteY16" fmla="*/ 38837 h 79588"/>
                  <a:gd name="connsiteX17" fmla="*/ 57668 w 123709"/>
                  <a:gd name="connsiteY17" fmla="*/ 44340 h 79588"/>
                  <a:gd name="connsiteX18" fmla="*/ 57728 w 123709"/>
                  <a:gd name="connsiteY18" fmla="*/ 44399 h 79588"/>
                  <a:gd name="connsiteX19" fmla="*/ 50432 w 123709"/>
                  <a:gd name="connsiteY19" fmla="*/ 51217 h 79588"/>
                  <a:gd name="connsiteX20" fmla="*/ 46843 w 123709"/>
                  <a:gd name="connsiteY20" fmla="*/ 50560 h 79588"/>
                  <a:gd name="connsiteX21" fmla="*/ 44810 w 123709"/>
                  <a:gd name="connsiteY21" fmla="*/ 56062 h 79588"/>
                  <a:gd name="connsiteX22" fmla="*/ 45766 w 123709"/>
                  <a:gd name="connsiteY22" fmla="*/ 57617 h 79588"/>
                  <a:gd name="connsiteX23" fmla="*/ 40085 w 123709"/>
                  <a:gd name="connsiteY23" fmla="*/ 70774 h 79588"/>
                  <a:gd name="connsiteX24" fmla="*/ 36736 w 123709"/>
                  <a:gd name="connsiteY24" fmla="*/ 70236 h 79588"/>
                  <a:gd name="connsiteX25" fmla="*/ 34523 w 123709"/>
                  <a:gd name="connsiteY25" fmla="*/ 72868 h 79588"/>
                  <a:gd name="connsiteX26" fmla="*/ 23578 w 123709"/>
                  <a:gd name="connsiteY26" fmla="*/ 70894 h 79588"/>
                  <a:gd name="connsiteX27" fmla="*/ 23459 w 123709"/>
                  <a:gd name="connsiteY27" fmla="*/ 70356 h 79588"/>
                  <a:gd name="connsiteX28" fmla="*/ 18375 w 123709"/>
                  <a:gd name="connsiteY28" fmla="*/ 67545 h 79588"/>
                  <a:gd name="connsiteX29" fmla="*/ 16102 w 123709"/>
                  <a:gd name="connsiteY29" fmla="*/ 71911 h 79588"/>
                  <a:gd name="connsiteX30" fmla="*/ 7191 w 123709"/>
                  <a:gd name="connsiteY30" fmla="*/ 73346 h 79588"/>
                  <a:gd name="connsiteX31" fmla="*/ 2346 w 123709"/>
                  <a:gd name="connsiteY31" fmla="*/ 71073 h 79588"/>
                  <a:gd name="connsiteX32" fmla="*/ 313 w 123709"/>
                  <a:gd name="connsiteY32" fmla="*/ 76576 h 79588"/>
                  <a:gd name="connsiteX33" fmla="*/ 5397 w 123709"/>
                  <a:gd name="connsiteY33" fmla="*/ 79387 h 79588"/>
                  <a:gd name="connsiteX34" fmla="*/ 7729 w 123709"/>
                  <a:gd name="connsiteY34" fmla="*/ 75260 h 79588"/>
                  <a:gd name="connsiteX35" fmla="*/ 16760 w 123709"/>
                  <a:gd name="connsiteY35" fmla="*/ 73825 h 79588"/>
                  <a:gd name="connsiteX36" fmla="*/ 21485 w 123709"/>
                  <a:gd name="connsiteY36" fmla="*/ 75858 h 79588"/>
                  <a:gd name="connsiteX37" fmla="*/ 23757 w 123709"/>
                  <a:gd name="connsiteY37" fmla="*/ 72808 h 79588"/>
                  <a:gd name="connsiteX38" fmla="*/ 34523 w 123709"/>
                  <a:gd name="connsiteY38" fmla="*/ 74782 h 79588"/>
                  <a:gd name="connsiteX39" fmla="*/ 34762 w 123709"/>
                  <a:gd name="connsiteY39" fmla="*/ 75738 h 79588"/>
                  <a:gd name="connsiteX40" fmla="*/ 39846 w 123709"/>
                  <a:gd name="connsiteY40" fmla="*/ 78549 h 79588"/>
                  <a:gd name="connsiteX41" fmla="*/ 41879 w 123709"/>
                  <a:gd name="connsiteY41" fmla="*/ 73047 h 79588"/>
                  <a:gd name="connsiteX42" fmla="*/ 41461 w 123709"/>
                  <a:gd name="connsiteY42" fmla="*/ 72210 h 79588"/>
                  <a:gd name="connsiteX43" fmla="*/ 47262 w 123709"/>
                  <a:gd name="connsiteY43" fmla="*/ 58693 h 79588"/>
                  <a:gd name="connsiteX44" fmla="*/ 49953 w 123709"/>
                  <a:gd name="connsiteY44" fmla="*/ 58813 h 79588"/>
                  <a:gd name="connsiteX45" fmla="*/ 51987 w 123709"/>
                  <a:gd name="connsiteY45" fmla="*/ 53311 h 79588"/>
                  <a:gd name="connsiteX46" fmla="*/ 51687 w 123709"/>
                  <a:gd name="connsiteY46" fmla="*/ 52653 h 79588"/>
                  <a:gd name="connsiteX47" fmla="*/ 58804 w 123709"/>
                  <a:gd name="connsiteY47" fmla="*/ 46014 h 79588"/>
                  <a:gd name="connsiteX48" fmla="*/ 62812 w 123709"/>
                  <a:gd name="connsiteY48" fmla="*/ 47151 h 79588"/>
                  <a:gd name="connsiteX49" fmla="*/ 64845 w 123709"/>
                  <a:gd name="connsiteY49" fmla="*/ 41648 h 79588"/>
                  <a:gd name="connsiteX50" fmla="*/ 64307 w 123709"/>
                  <a:gd name="connsiteY50" fmla="*/ 40632 h 79588"/>
                  <a:gd name="connsiteX51" fmla="*/ 68912 w 123709"/>
                  <a:gd name="connsiteY51" fmla="*/ 18323 h 79588"/>
                  <a:gd name="connsiteX52" fmla="*/ 69630 w 123709"/>
                  <a:gd name="connsiteY52" fmla="*/ 18144 h 79588"/>
                  <a:gd name="connsiteX53" fmla="*/ 71843 w 123709"/>
                  <a:gd name="connsiteY53" fmla="*/ 15333 h 79588"/>
                  <a:gd name="connsiteX54" fmla="*/ 83086 w 123709"/>
                  <a:gd name="connsiteY54" fmla="*/ 17725 h 79588"/>
                  <a:gd name="connsiteX55" fmla="*/ 83326 w 123709"/>
                  <a:gd name="connsiteY55" fmla="*/ 18802 h 79588"/>
                  <a:gd name="connsiteX56" fmla="*/ 88409 w 123709"/>
                  <a:gd name="connsiteY56" fmla="*/ 21613 h 79588"/>
                  <a:gd name="connsiteX57" fmla="*/ 90443 w 123709"/>
                  <a:gd name="connsiteY57" fmla="*/ 16111 h 79588"/>
                  <a:gd name="connsiteX58" fmla="*/ 90263 w 123709"/>
                  <a:gd name="connsiteY58" fmla="*/ 15752 h 79588"/>
                  <a:gd name="connsiteX59" fmla="*/ 97261 w 123709"/>
                  <a:gd name="connsiteY59" fmla="*/ 7917 h 79588"/>
                  <a:gd name="connsiteX60" fmla="*/ 100789 w 123709"/>
                  <a:gd name="connsiteY60" fmla="*/ 8575 h 79588"/>
                  <a:gd name="connsiteX61" fmla="*/ 102583 w 123709"/>
                  <a:gd name="connsiteY61" fmla="*/ 6960 h 79588"/>
                  <a:gd name="connsiteX62" fmla="*/ 115980 w 123709"/>
                  <a:gd name="connsiteY62" fmla="*/ 12223 h 79588"/>
                  <a:gd name="connsiteX63" fmla="*/ 116279 w 123709"/>
                  <a:gd name="connsiteY63" fmla="*/ 13659 h 79588"/>
                  <a:gd name="connsiteX64" fmla="*/ 121363 w 123709"/>
                  <a:gd name="connsiteY64" fmla="*/ 16469 h 79588"/>
                  <a:gd name="connsiteX65" fmla="*/ 123397 w 123709"/>
                  <a:gd name="connsiteY65" fmla="*/ 10967 h 79588"/>
                  <a:gd name="connsiteX66" fmla="*/ 118373 w 123709"/>
                  <a:gd name="connsiteY66" fmla="*/ 8096 h 79588"/>
                  <a:gd name="connsiteX67" fmla="*/ 4679 w 123709"/>
                  <a:gd name="connsiteY67" fmla="*/ 77533 h 79588"/>
                  <a:gd name="connsiteX68" fmla="*/ 1808 w 123709"/>
                  <a:gd name="connsiteY68" fmla="*/ 75978 h 79588"/>
                  <a:gd name="connsiteX69" fmla="*/ 2945 w 123709"/>
                  <a:gd name="connsiteY69" fmla="*/ 72868 h 79588"/>
                  <a:gd name="connsiteX70" fmla="*/ 5815 w 123709"/>
                  <a:gd name="connsiteY70" fmla="*/ 74423 h 79588"/>
                  <a:gd name="connsiteX71" fmla="*/ 4679 w 123709"/>
                  <a:gd name="connsiteY71" fmla="*/ 77533 h 79588"/>
                  <a:gd name="connsiteX72" fmla="*/ 20767 w 123709"/>
                  <a:gd name="connsiteY72" fmla="*/ 74004 h 79588"/>
                  <a:gd name="connsiteX73" fmla="*/ 17896 w 123709"/>
                  <a:gd name="connsiteY73" fmla="*/ 72449 h 79588"/>
                  <a:gd name="connsiteX74" fmla="*/ 19033 w 123709"/>
                  <a:gd name="connsiteY74" fmla="*/ 69339 h 79588"/>
                  <a:gd name="connsiteX75" fmla="*/ 21903 w 123709"/>
                  <a:gd name="connsiteY75" fmla="*/ 70894 h 79588"/>
                  <a:gd name="connsiteX76" fmla="*/ 20767 w 123709"/>
                  <a:gd name="connsiteY76" fmla="*/ 74004 h 79588"/>
                  <a:gd name="connsiteX77" fmla="*/ 39128 w 123709"/>
                  <a:gd name="connsiteY77" fmla="*/ 76636 h 79588"/>
                  <a:gd name="connsiteX78" fmla="*/ 36257 w 123709"/>
                  <a:gd name="connsiteY78" fmla="*/ 75081 h 79588"/>
                  <a:gd name="connsiteX79" fmla="*/ 37394 w 123709"/>
                  <a:gd name="connsiteY79" fmla="*/ 71971 h 79588"/>
                  <a:gd name="connsiteX80" fmla="*/ 40264 w 123709"/>
                  <a:gd name="connsiteY80" fmla="*/ 73526 h 79588"/>
                  <a:gd name="connsiteX81" fmla="*/ 39128 w 123709"/>
                  <a:gd name="connsiteY81" fmla="*/ 76636 h 79588"/>
                  <a:gd name="connsiteX82" fmla="*/ 49235 w 123709"/>
                  <a:gd name="connsiteY82" fmla="*/ 56959 h 79588"/>
                  <a:gd name="connsiteX83" fmla="*/ 46365 w 123709"/>
                  <a:gd name="connsiteY83" fmla="*/ 55404 h 79588"/>
                  <a:gd name="connsiteX84" fmla="*/ 47501 w 123709"/>
                  <a:gd name="connsiteY84" fmla="*/ 52294 h 79588"/>
                  <a:gd name="connsiteX85" fmla="*/ 50372 w 123709"/>
                  <a:gd name="connsiteY85" fmla="*/ 53849 h 79588"/>
                  <a:gd name="connsiteX86" fmla="*/ 49235 w 123709"/>
                  <a:gd name="connsiteY86" fmla="*/ 56959 h 79588"/>
                  <a:gd name="connsiteX87" fmla="*/ 62094 w 123709"/>
                  <a:gd name="connsiteY87" fmla="*/ 45297 h 79588"/>
                  <a:gd name="connsiteX88" fmla="*/ 59223 w 123709"/>
                  <a:gd name="connsiteY88" fmla="*/ 43742 h 79588"/>
                  <a:gd name="connsiteX89" fmla="*/ 60359 w 123709"/>
                  <a:gd name="connsiteY89" fmla="*/ 40632 h 79588"/>
                  <a:gd name="connsiteX90" fmla="*/ 63230 w 123709"/>
                  <a:gd name="connsiteY90" fmla="*/ 42187 h 79588"/>
                  <a:gd name="connsiteX91" fmla="*/ 62094 w 123709"/>
                  <a:gd name="connsiteY91" fmla="*/ 45297 h 79588"/>
                  <a:gd name="connsiteX92" fmla="*/ 68912 w 123709"/>
                  <a:gd name="connsiteY92" fmla="*/ 16290 h 79588"/>
                  <a:gd name="connsiteX93" fmla="*/ 66041 w 123709"/>
                  <a:gd name="connsiteY93" fmla="*/ 14735 h 79588"/>
                  <a:gd name="connsiteX94" fmla="*/ 67178 w 123709"/>
                  <a:gd name="connsiteY94" fmla="*/ 11625 h 79588"/>
                  <a:gd name="connsiteX95" fmla="*/ 70048 w 123709"/>
                  <a:gd name="connsiteY95" fmla="*/ 13180 h 79588"/>
                  <a:gd name="connsiteX96" fmla="*/ 68912 w 123709"/>
                  <a:gd name="connsiteY96" fmla="*/ 16290 h 79588"/>
                  <a:gd name="connsiteX97" fmla="*/ 87751 w 123709"/>
                  <a:gd name="connsiteY97" fmla="*/ 19759 h 79588"/>
                  <a:gd name="connsiteX98" fmla="*/ 84881 w 123709"/>
                  <a:gd name="connsiteY98" fmla="*/ 18204 h 79588"/>
                  <a:gd name="connsiteX99" fmla="*/ 86017 w 123709"/>
                  <a:gd name="connsiteY99" fmla="*/ 15094 h 79588"/>
                  <a:gd name="connsiteX100" fmla="*/ 88888 w 123709"/>
                  <a:gd name="connsiteY100" fmla="*/ 16649 h 79588"/>
                  <a:gd name="connsiteX101" fmla="*/ 87751 w 123709"/>
                  <a:gd name="connsiteY101" fmla="*/ 19759 h 79588"/>
                  <a:gd name="connsiteX102" fmla="*/ 100131 w 123709"/>
                  <a:gd name="connsiteY102" fmla="*/ 6661 h 79588"/>
                  <a:gd name="connsiteX103" fmla="*/ 97261 w 123709"/>
                  <a:gd name="connsiteY103" fmla="*/ 5106 h 79588"/>
                  <a:gd name="connsiteX104" fmla="*/ 98397 w 123709"/>
                  <a:gd name="connsiteY104" fmla="*/ 1996 h 79588"/>
                  <a:gd name="connsiteX105" fmla="*/ 101268 w 123709"/>
                  <a:gd name="connsiteY105" fmla="*/ 3551 h 79588"/>
                  <a:gd name="connsiteX106" fmla="*/ 100131 w 123709"/>
                  <a:gd name="connsiteY106" fmla="*/ 6661 h 79588"/>
                  <a:gd name="connsiteX107" fmla="*/ 120765 w 123709"/>
                  <a:gd name="connsiteY107" fmla="*/ 14556 h 79588"/>
                  <a:gd name="connsiteX108" fmla="*/ 117894 w 123709"/>
                  <a:gd name="connsiteY108" fmla="*/ 13001 h 79588"/>
                  <a:gd name="connsiteX109" fmla="*/ 119030 w 123709"/>
                  <a:gd name="connsiteY109" fmla="*/ 9891 h 79588"/>
                  <a:gd name="connsiteX110" fmla="*/ 121901 w 123709"/>
                  <a:gd name="connsiteY110" fmla="*/ 11446 h 79588"/>
                  <a:gd name="connsiteX111" fmla="*/ 120765 w 123709"/>
                  <a:gd name="connsiteY111" fmla="*/ 14556 h 7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23709" h="79588">
                    <a:moveTo>
                      <a:pt x="118373" y="8096"/>
                    </a:moveTo>
                    <a:cubicBezTo>
                      <a:pt x="117416" y="8455"/>
                      <a:pt x="116698" y="9293"/>
                      <a:pt x="116279" y="10250"/>
                    </a:cubicBezTo>
                    <a:lnTo>
                      <a:pt x="103122" y="5106"/>
                    </a:lnTo>
                    <a:cubicBezTo>
                      <a:pt x="103182" y="4448"/>
                      <a:pt x="103122" y="3731"/>
                      <a:pt x="102823" y="3013"/>
                    </a:cubicBezTo>
                    <a:cubicBezTo>
                      <a:pt x="101985" y="740"/>
                      <a:pt x="99713" y="-516"/>
                      <a:pt x="97739" y="202"/>
                    </a:cubicBezTo>
                    <a:cubicBezTo>
                      <a:pt x="95766" y="920"/>
                      <a:pt x="94868" y="3432"/>
                      <a:pt x="95706" y="5704"/>
                    </a:cubicBezTo>
                    <a:cubicBezTo>
                      <a:pt x="95825" y="5943"/>
                      <a:pt x="95885" y="6183"/>
                      <a:pt x="96065" y="6422"/>
                    </a:cubicBezTo>
                    <a:lnTo>
                      <a:pt x="89127" y="14137"/>
                    </a:lnTo>
                    <a:cubicBezTo>
                      <a:pt x="88050" y="13180"/>
                      <a:pt x="86615" y="12761"/>
                      <a:pt x="85359" y="13300"/>
                    </a:cubicBezTo>
                    <a:cubicBezTo>
                      <a:pt x="84282" y="13718"/>
                      <a:pt x="83505" y="14675"/>
                      <a:pt x="83206" y="15812"/>
                    </a:cubicBezTo>
                    <a:lnTo>
                      <a:pt x="71902" y="13419"/>
                    </a:lnTo>
                    <a:cubicBezTo>
                      <a:pt x="71843" y="13180"/>
                      <a:pt x="71783" y="12881"/>
                      <a:pt x="71663" y="12642"/>
                    </a:cubicBezTo>
                    <a:cubicBezTo>
                      <a:pt x="70826" y="10369"/>
                      <a:pt x="68553" y="9113"/>
                      <a:pt x="66580" y="9831"/>
                    </a:cubicBezTo>
                    <a:cubicBezTo>
                      <a:pt x="64606" y="10549"/>
                      <a:pt x="63709" y="13060"/>
                      <a:pt x="64546" y="15333"/>
                    </a:cubicBezTo>
                    <a:cubicBezTo>
                      <a:pt x="65025" y="16649"/>
                      <a:pt x="66041" y="17666"/>
                      <a:pt x="67178" y="18084"/>
                    </a:cubicBezTo>
                    <a:lnTo>
                      <a:pt x="62812" y="39196"/>
                    </a:lnTo>
                    <a:cubicBezTo>
                      <a:pt x="61855" y="38658"/>
                      <a:pt x="60778" y="38479"/>
                      <a:pt x="59702" y="38837"/>
                    </a:cubicBezTo>
                    <a:cubicBezTo>
                      <a:pt x="57728" y="39555"/>
                      <a:pt x="56831" y="42067"/>
                      <a:pt x="57668" y="44340"/>
                    </a:cubicBezTo>
                    <a:cubicBezTo>
                      <a:pt x="57668" y="44340"/>
                      <a:pt x="57668" y="44399"/>
                      <a:pt x="57728" y="44399"/>
                    </a:cubicBezTo>
                    <a:lnTo>
                      <a:pt x="50432" y="51217"/>
                    </a:lnTo>
                    <a:cubicBezTo>
                      <a:pt x="49415" y="50380"/>
                      <a:pt x="48039" y="50081"/>
                      <a:pt x="46843" y="50560"/>
                    </a:cubicBezTo>
                    <a:cubicBezTo>
                      <a:pt x="44870" y="51277"/>
                      <a:pt x="43972" y="53789"/>
                      <a:pt x="44810" y="56062"/>
                    </a:cubicBezTo>
                    <a:cubicBezTo>
                      <a:pt x="45049" y="56660"/>
                      <a:pt x="45348" y="57198"/>
                      <a:pt x="45766" y="57617"/>
                    </a:cubicBezTo>
                    <a:lnTo>
                      <a:pt x="40085" y="70774"/>
                    </a:lnTo>
                    <a:cubicBezTo>
                      <a:pt x="39068" y="70057"/>
                      <a:pt x="37872" y="69818"/>
                      <a:pt x="36736" y="70236"/>
                    </a:cubicBezTo>
                    <a:cubicBezTo>
                      <a:pt x="35599" y="70655"/>
                      <a:pt x="34822" y="71672"/>
                      <a:pt x="34523" y="72868"/>
                    </a:cubicBezTo>
                    <a:lnTo>
                      <a:pt x="23578" y="70894"/>
                    </a:lnTo>
                    <a:cubicBezTo>
                      <a:pt x="23518" y="70715"/>
                      <a:pt x="23518" y="70535"/>
                      <a:pt x="23459" y="70356"/>
                    </a:cubicBezTo>
                    <a:cubicBezTo>
                      <a:pt x="22621" y="68083"/>
                      <a:pt x="20348" y="66827"/>
                      <a:pt x="18375" y="67545"/>
                    </a:cubicBezTo>
                    <a:cubicBezTo>
                      <a:pt x="16700" y="68143"/>
                      <a:pt x="15863" y="69997"/>
                      <a:pt x="16102" y="71911"/>
                    </a:cubicBezTo>
                    <a:lnTo>
                      <a:pt x="7191" y="73346"/>
                    </a:lnTo>
                    <a:cubicBezTo>
                      <a:pt x="6234" y="71373"/>
                      <a:pt x="4141" y="70356"/>
                      <a:pt x="2346" y="71073"/>
                    </a:cubicBezTo>
                    <a:cubicBezTo>
                      <a:pt x="373" y="71791"/>
                      <a:pt x="-524" y="74303"/>
                      <a:pt x="313" y="76576"/>
                    </a:cubicBezTo>
                    <a:cubicBezTo>
                      <a:pt x="1151" y="78848"/>
                      <a:pt x="3423" y="80104"/>
                      <a:pt x="5397" y="79387"/>
                    </a:cubicBezTo>
                    <a:cubicBezTo>
                      <a:pt x="6952" y="78789"/>
                      <a:pt x="7849" y="77114"/>
                      <a:pt x="7729" y="75260"/>
                    </a:cubicBezTo>
                    <a:lnTo>
                      <a:pt x="16760" y="73825"/>
                    </a:lnTo>
                    <a:cubicBezTo>
                      <a:pt x="17777" y="75619"/>
                      <a:pt x="19750" y="76516"/>
                      <a:pt x="21485" y="75858"/>
                    </a:cubicBezTo>
                    <a:cubicBezTo>
                      <a:pt x="22741" y="75380"/>
                      <a:pt x="23578" y="74183"/>
                      <a:pt x="23757" y="72808"/>
                    </a:cubicBezTo>
                    <a:lnTo>
                      <a:pt x="34523" y="74782"/>
                    </a:lnTo>
                    <a:cubicBezTo>
                      <a:pt x="34583" y="75081"/>
                      <a:pt x="34642" y="75380"/>
                      <a:pt x="34762" y="75738"/>
                    </a:cubicBezTo>
                    <a:cubicBezTo>
                      <a:pt x="35599" y="78011"/>
                      <a:pt x="37872" y="79267"/>
                      <a:pt x="39846" y="78549"/>
                    </a:cubicBezTo>
                    <a:cubicBezTo>
                      <a:pt x="41819" y="77832"/>
                      <a:pt x="42716" y="75320"/>
                      <a:pt x="41879" y="73047"/>
                    </a:cubicBezTo>
                    <a:cubicBezTo>
                      <a:pt x="41760" y="72748"/>
                      <a:pt x="41640" y="72449"/>
                      <a:pt x="41461" y="72210"/>
                    </a:cubicBezTo>
                    <a:lnTo>
                      <a:pt x="47262" y="58693"/>
                    </a:lnTo>
                    <a:cubicBezTo>
                      <a:pt x="48099" y="59052"/>
                      <a:pt x="49056" y="59172"/>
                      <a:pt x="49953" y="58813"/>
                    </a:cubicBezTo>
                    <a:cubicBezTo>
                      <a:pt x="51927" y="58095"/>
                      <a:pt x="52824" y="55583"/>
                      <a:pt x="51987" y="53311"/>
                    </a:cubicBezTo>
                    <a:cubicBezTo>
                      <a:pt x="51927" y="53071"/>
                      <a:pt x="51807" y="52832"/>
                      <a:pt x="51687" y="52653"/>
                    </a:cubicBezTo>
                    <a:lnTo>
                      <a:pt x="58804" y="46014"/>
                    </a:lnTo>
                    <a:cubicBezTo>
                      <a:pt x="59881" y="47151"/>
                      <a:pt x="61436" y="47629"/>
                      <a:pt x="62812" y="47151"/>
                    </a:cubicBezTo>
                    <a:cubicBezTo>
                      <a:pt x="64785" y="46433"/>
                      <a:pt x="65682" y="43921"/>
                      <a:pt x="64845" y="41648"/>
                    </a:cubicBezTo>
                    <a:cubicBezTo>
                      <a:pt x="64726" y="41289"/>
                      <a:pt x="64546" y="40931"/>
                      <a:pt x="64307" y="40632"/>
                    </a:cubicBezTo>
                    <a:lnTo>
                      <a:pt x="68912" y="18323"/>
                    </a:lnTo>
                    <a:cubicBezTo>
                      <a:pt x="69151" y="18264"/>
                      <a:pt x="69390" y="18204"/>
                      <a:pt x="69630" y="18144"/>
                    </a:cubicBezTo>
                    <a:cubicBezTo>
                      <a:pt x="70826" y="17725"/>
                      <a:pt x="71603" y="16649"/>
                      <a:pt x="71843" y="15333"/>
                    </a:cubicBezTo>
                    <a:lnTo>
                      <a:pt x="83086" y="17725"/>
                    </a:lnTo>
                    <a:cubicBezTo>
                      <a:pt x="83146" y="18084"/>
                      <a:pt x="83206" y="18443"/>
                      <a:pt x="83326" y="18802"/>
                    </a:cubicBezTo>
                    <a:cubicBezTo>
                      <a:pt x="84163" y="21075"/>
                      <a:pt x="86435" y="22331"/>
                      <a:pt x="88409" y="21613"/>
                    </a:cubicBezTo>
                    <a:cubicBezTo>
                      <a:pt x="90383" y="20895"/>
                      <a:pt x="91280" y="18383"/>
                      <a:pt x="90443" y="16111"/>
                    </a:cubicBezTo>
                    <a:cubicBezTo>
                      <a:pt x="90383" y="15991"/>
                      <a:pt x="90323" y="15871"/>
                      <a:pt x="90263" y="15752"/>
                    </a:cubicBezTo>
                    <a:lnTo>
                      <a:pt x="97261" y="7917"/>
                    </a:lnTo>
                    <a:cubicBezTo>
                      <a:pt x="98277" y="8695"/>
                      <a:pt x="99593" y="8994"/>
                      <a:pt x="100789" y="8575"/>
                    </a:cubicBezTo>
                    <a:cubicBezTo>
                      <a:pt x="101567" y="8276"/>
                      <a:pt x="102225" y="7678"/>
                      <a:pt x="102583" y="6960"/>
                    </a:cubicBezTo>
                    <a:lnTo>
                      <a:pt x="115980" y="12223"/>
                    </a:lnTo>
                    <a:cubicBezTo>
                      <a:pt x="115980" y="12702"/>
                      <a:pt x="116100" y="13180"/>
                      <a:pt x="116279" y="13659"/>
                    </a:cubicBezTo>
                    <a:cubicBezTo>
                      <a:pt x="117116" y="15931"/>
                      <a:pt x="119389" y="17187"/>
                      <a:pt x="121363" y="16469"/>
                    </a:cubicBezTo>
                    <a:cubicBezTo>
                      <a:pt x="123337" y="15752"/>
                      <a:pt x="124234" y="13240"/>
                      <a:pt x="123397" y="10967"/>
                    </a:cubicBezTo>
                    <a:cubicBezTo>
                      <a:pt x="122619" y="8575"/>
                      <a:pt x="120346" y="7319"/>
                      <a:pt x="118373" y="8096"/>
                    </a:cubicBezTo>
                    <a:close/>
                    <a:moveTo>
                      <a:pt x="4679" y="77533"/>
                    </a:moveTo>
                    <a:cubicBezTo>
                      <a:pt x="3602" y="77951"/>
                      <a:pt x="2287" y="77234"/>
                      <a:pt x="1808" y="75978"/>
                    </a:cubicBezTo>
                    <a:cubicBezTo>
                      <a:pt x="1330" y="74722"/>
                      <a:pt x="1868" y="73286"/>
                      <a:pt x="2945" y="72868"/>
                    </a:cubicBezTo>
                    <a:cubicBezTo>
                      <a:pt x="4021" y="72449"/>
                      <a:pt x="5337" y="73167"/>
                      <a:pt x="5815" y="74423"/>
                    </a:cubicBezTo>
                    <a:cubicBezTo>
                      <a:pt x="6294" y="75738"/>
                      <a:pt x="5755" y="77114"/>
                      <a:pt x="4679" y="77533"/>
                    </a:cubicBezTo>
                    <a:close/>
                    <a:moveTo>
                      <a:pt x="20767" y="74004"/>
                    </a:moveTo>
                    <a:cubicBezTo>
                      <a:pt x="19691" y="74423"/>
                      <a:pt x="18375" y="73705"/>
                      <a:pt x="17896" y="72449"/>
                    </a:cubicBezTo>
                    <a:cubicBezTo>
                      <a:pt x="17418" y="71193"/>
                      <a:pt x="17956" y="69758"/>
                      <a:pt x="19033" y="69339"/>
                    </a:cubicBezTo>
                    <a:cubicBezTo>
                      <a:pt x="20109" y="68920"/>
                      <a:pt x="21425" y="69638"/>
                      <a:pt x="21903" y="70894"/>
                    </a:cubicBezTo>
                    <a:cubicBezTo>
                      <a:pt x="22382" y="72210"/>
                      <a:pt x="21844" y="73585"/>
                      <a:pt x="20767" y="74004"/>
                    </a:cubicBezTo>
                    <a:close/>
                    <a:moveTo>
                      <a:pt x="39128" y="76636"/>
                    </a:moveTo>
                    <a:cubicBezTo>
                      <a:pt x="38051" y="77054"/>
                      <a:pt x="36736" y="76336"/>
                      <a:pt x="36257" y="75081"/>
                    </a:cubicBezTo>
                    <a:cubicBezTo>
                      <a:pt x="35779" y="73825"/>
                      <a:pt x="36317" y="72389"/>
                      <a:pt x="37394" y="71971"/>
                    </a:cubicBezTo>
                    <a:cubicBezTo>
                      <a:pt x="38470" y="71552"/>
                      <a:pt x="39786" y="72270"/>
                      <a:pt x="40264" y="73526"/>
                    </a:cubicBezTo>
                    <a:cubicBezTo>
                      <a:pt x="40743" y="74841"/>
                      <a:pt x="40204" y="76217"/>
                      <a:pt x="39128" y="76636"/>
                    </a:cubicBezTo>
                    <a:close/>
                    <a:moveTo>
                      <a:pt x="49235" y="56959"/>
                    </a:moveTo>
                    <a:cubicBezTo>
                      <a:pt x="48159" y="57378"/>
                      <a:pt x="46843" y="56660"/>
                      <a:pt x="46365" y="55404"/>
                    </a:cubicBezTo>
                    <a:cubicBezTo>
                      <a:pt x="45886" y="54148"/>
                      <a:pt x="46425" y="52713"/>
                      <a:pt x="47501" y="52294"/>
                    </a:cubicBezTo>
                    <a:cubicBezTo>
                      <a:pt x="48578" y="51875"/>
                      <a:pt x="49893" y="52593"/>
                      <a:pt x="50372" y="53849"/>
                    </a:cubicBezTo>
                    <a:cubicBezTo>
                      <a:pt x="50850" y="55165"/>
                      <a:pt x="50312" y="56540"/>
                      <a:pt x="49235" y="56959"/>
                    </a:cubicBezTo>
                    <a:close/>
                    <a:moveTo>
                      <a:pt x="62094" y="45297"/>
                    </a:moveTo>
                    <a:cubicBezTo>
                      <a:pt x="61017" y="45715"/>
                      <a:pt x="59702" y="44998"/>
                      <a:pt x="59223" y="43742"/>
                    </a:cubicBezTo>
                    <a:cubicBezTo>
                      <a:pt x="58745" y="42486"/>
                      <a:pt x="59283" y="41050"/>
                      <a:pt x="60359" y="40632"/>
                    </a:cubicBezTo>
                    <a:cubicBezTo>
                      <a:pt x="61436" y="40213"/>
                      <a:pt x="62752" y="40931"/>
                      <a:pt x="63230" y="42187"/>
                    </a:cubicBezTo>
                    <a:cubicBezTo>
                      <a:pt x="63709" y="43502"/>
                      <a:pt x="63171" y="44878"/>
                      <a:pt x="62094" y="45297"/>
                    </a:cubicBezTo>
                    <a:close/>
                    <a:moveTo>
                      <a:pt x="68912" y="16290"/>
                    </a:moveTo>
                    <a:cubicBezTo>
                      <a:pt x="67835" y="16709"/>
                      <a:pt x="66520" y="15991"/>
                      <a:pt x="66041" y="14735"/>
                    </a:cubicBezTo>
                    <a:cubicBezTo>
                      <a:pt x="65563" y="13479"/>
                      <a:pt x="66101" y="12044"/>
                      <a:pt x="67178" y="11625"/>
                    </a:cubicBezTo>
                    <a:cubicBezTo>
                      <a:pt x="68254" y="11206"/>
                      <a:pt x="69570" y="11924"/>
                      <a:pt x="70048" y="13180"/>
                    </a:cubicBezTo>
                    <a:cubicBezTo>
                      <a:pt x="70527" y="14496"/>
                      <a:pt x="70048" y="15871"/>
                      <a:pt x="68912" y="16290"/>
                    </a:cubicBezTo>
                    <a:close/>
                    <a:moveTo>
                      <a:pt x="87751" y="19759"/>
                    </a:moveTo>
                    <a:cubicBezTo>
                      <a:pt x="86675" y="20177"/>
                      <a:pt x="85359" y="19460"/>
                      <a:pt x="84881" y="18204"/>
                    </a:cubicBezTo>
                    <a:cubicBezTo>
                      <a:pt x="84402" y="16948"/>
                      <a:pt x="84940" y="15513"/>
                      <a:pt x="86017" y="15094"/>
                    </a:cubicBezTo>
                    <a:cubicBezTo>
                      <a:pt x="87093" y="14675"/>
                      <a:pt x="88409" y="15393"/>
                      <a:pt x="88888" y="16649"/>
                    </a:cubicBezTo>
                    <a:cubicBezTo>
                      <a:pt x="89366" y="17905"/>
                      <a:pt x="88828" y="19340"/>
                      <a:pt x="87751" y="19759"/>
                    </a:cubicBezTo>
                    <a:close/>
                    <a:moveTo>
                      <a:pt x="100131" y="6661"/>
                    </a:moveTo>
                    <a:cubicBezTo>
                      <a:pt x="99055" y="7080"/>
                      <a:pt x="97739" y="6362"/>
                      <a:pt x="97261" y="5106"/>
                    </a:cubicBezTo>
                    <a:cubicBezTo>
                      <a:pt x="96782" y="3850"/>
                      <a:pt x="97320" y="2415"/>
                      <a:pt x="98397" y="1996"/>
                    </a:cubicBezTo>
                    <a:cubicBezTo>
                      <a:pt x="99474" y="1577"/>
                      <a:pt x="100789" y="2295"/>
                      <a:pt x="101268" y="3551"/>
                    </a:cubicBezTo>
                    <a:cubicBezTo>
                      <a:pt x="101746" y="4867"/>
                      <a:pt x="101268" y="6242"/>
                      <a:pt x="100131" y="6661"/>
                    </a:cubicBezTo>
                    <a:close/>
                    <a:moveTo>
                      <a:pt x="120765" y="14556"/>
                    </a:moveTo>
                    <a:cubicBezTo>
                      <a:pt x="119688" y="14974"/>
                      <a:pt x="118373" y="14257"/>
                      <a:pt x="117894" y="13001"/>
                    </a:cubicBezTo>
                    <a:cubicBezTo>
                      <a:pt x="117416" y="11745"/>
                      <a:pt x="117954" y="10309"/>
                      <a:pt x="119030" y="9891"/>
                    </a:cubicBezTo>
                    <a:cubicBezTo>
                      <a:pt x="120107" y="9472"/>
                      <a:pt x="121423" y="10190"/>
                      <a:pt x="121901" y="11446"/>
                    </a:cubicBezTo>
                    <a:cubicBezTo>
                      <a:pt x="122380" y="12761"/>
                      <a:pt x="121841" y="14137"/>
                      <a:pt x="120765" y="14556"/>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8976" name="Vrije vorm: vorm 8975">
              <a:extLst>
                <a:ext uri="{FF2B5EF4-FFF2-40B4-BE49-F238E27FC236}">
                  <a16:creationId xmlns:a16="http://schemas.microsoft.com/office/drawing/2014/main" id="{017A9C16-2469-4BD4-B2B0-40E8823E3009}"/>
                </a:ext>
              </a:extLst>
            </p:cNvPr>
            <p:cNvSpPr/>
            <p:nvPr/>
          </p:nvSpPr>
          <p:spPr>
            <a:xfrm>
              <a:off x="4710974" y="1603113"/>
              <a:ext cx="53831" cy="33186"/>
            </a:xfrm>
            <a:custGeom>
              <a:avLst/>
              <a:gdLst>
                <a:gd name="connsiteX0" fmla="*/ 52690 w 53831"/>
                <a:gd name="connsiteY0" fmla="*/ 897 h 33186"/>
                <a:gd name="connsiteX1" fmla="*/ 3110 w 53831"/>
                <a:gd name="connsiteY1" fmla="*/ 5622 h 33186"/>
                <a:gd name="connsiteX2" fmla="*/ 43959 w 53831"/>
                <a:gd name="connsiteY2" fmla="*/ 11961 h 33186"/>
                <a:gd name="connsiteX3" fmla="*/ 52690 w 53831"/>
                <a:gd name="connsiteY3" fmla="*/ 897 h 33186"/>
                <a:gd name="connsiteX4" fmla="*/ 37918 w 53831"/>
                <a:gd name="connsiteY4" fmla="*/ 20275 h 33186"/>
                <a:gd name="connsiteX5" fmla="*/ 1974 w 53831"/>
                <a:gd name="connsiteY5" fmla="*/ 6579 h 33186"/>
                <a:gd name="connsiteX6" fmla="*/ 30920 w 53831"/>
                <a:gd name="connsiteY6" fmla="*/ 32356 h 33186"/>
                <a:gd name="connsiteX7" fmla="*/ 37918 w 53831"/>
                <a:gd name="connsiteY7" fmla="*/ 20275 h 33186"/>
                <a:gd name="connsiteX8" fmla="*/ 43719 w 53831"/>
                <a:gd name="connsiteY8" fmla="*/ 12619 h 33186"/>
                <a:gd name="connsiteX9" fmla="*/ 3529 w 53831"/>
                <a:gd name="connsiteY9" fmla="*/ 6399 h 33186"/>
                <a:gd name="connsiteX10" fmla="*/ 38576 w 53831"/>
                <a:gd name="connsiteY10" fmla="*/ 19796 h 33186"/>
                <a:gd name="connsiteX11" fmla="*/ 45633 w 53831"/>
                <a:gd name="connsiteY11" fmla="*/ 20634 h 33186"/>
                <a:gd name="connsiteX12" fmla="*/ 43719 w 53831"/>
                <a:gd name="connsiteY12" fmla="*/ 12619 h 33186"/>
                <a:gd name="connsiteX13" fmla="*/ 53767 w 53831"/>
                <a:gd name="connsiteY13" fmla="*/ 718 h 33186"/>
                <a:gd name="connsiteX14" fmla="*/ 44437 w 53831"/>
                <a:gd name="connsiteY14" fmla="*/ 12440 h 33186"/>
                <a:gd name="connsiteX15" fmla="*/ 46470 w 53831"/>
                <a:gd name="connsiteY15" fmla="*/ 20933 h 33186"/>
                <a:gd name="connsiteX16" fmla="*/ 46470 w 53831"/>
                <a:gd name="connsiteY16" fmla="*/ 21052 h 33186"/>
                <a:gd name="connsiteX17" fmla="*/ 46052 w 53831"/>
                <a:gd name="connsiteY17" fmla="*/ 21351 h 33186"/>
                <a:gd name="connsiteX18" fmla="*/ 38695 w 53831"/>
                <a:gd name="connsiteY18" fmla="*/ 20454 h 33186"/>
                <a:gd name="connsiteX19" fmla="*/ 31459 w 53831"/>
                <a:gd name="connsiteY19" fmla="*/ 33014 h 33186"/>
                <a:gd name="connsiteX20" fmla="*/ 31399 w 53831"/>
                <a:gd name="connsiteY20" fmla="*/ 33073 h 33186"/>
                <a:gd name="connsiteX21" fmla="*/ 30861 w 53831"/>
                <a:gd name="connsiteY21" fmla="*/ 33073 h 33186"/>
                <a:gd name="connsiteX22" fmla="*/ 120 w 53831"/>
                <a:gd name="connsiteY22" fmla="*/ 5682 h 33186"/>
                <a:gd name="connsiteX23" fmla="*/ 60 w 53831"/>
                <a:gd name="connsiteY23" fmla="*/ 5562 h 33186"/>
                <a:gd name="connsiteX24" fmla="*/ 0 w 53831"/>
                <a:gd name="connsiteY24" fmla="*/ 5442 h 33186"/>
                <a:gd name="connsiteX25" fmla="*/ 0 w 53831"/>
                <a:gd name="connsiteY25" fmla="*/ 5323 h 33186"/>
                <a:gd name="connsiteX26" fmla="*/ 60 w 53831"/>
                <a:gd name="connsiteY26" fmla="*/ 5203 h 33186"/>
                <a:gd name="connsiteX27" fmla="*/ 180 w 53831"/>
                <a:gd name="connsiteY27" fmla="*/ 5084 h 33186"/>
                <a:gd name="connsiteX28" fmla="*/ 53468 w 53831"/>
                <a:gd name="connsiteY28" fmla="*/ 0 h 33186"/>
                <a:gd name="connsiteX29" fmla="*/ 53707 w 53831"/>
                <a:gd name="connsiteY29" fmla="*/ 60 h 33186"/>
                <a:gd name="connsiteX30" fmla="*/ 53767 w 53831"/>
                <a:gd name="connsiteY30" fmla="*/ 718 h 3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831" h="33186">
                  <a:moveTo>
                    <a:pt x="52690" y="897"/>
                  </a:moveTo>
                  <a:lnTo>
                    <a:pt x="3110" y="5622"/>
                  </a:lnTo>
                  <a:lnTo>
                    <a:pt x="43959" y="11961"/>
                  </a:lnTo>
                  <a:lnTo>
                    <a:pt x="52690" y="897"/>
                  </a:lnTo>
                  <a:close/>
                  <a:moveTo>
                    <a:pt x="37918" y="20275"/>
                  </a:moveTo>
                  <a:lnTo>
                    <a:pt x="1974" y="6579"/>
                  </a:lnTo>
                  <a:lnTo>
                    <a:pt x="30920" y="32356"/>
                  </a:lnTo>
                  <a:lnTo>
                    <a:pt x="37918" y="20275"/>
                  </a:lnTo>
                  <a:close/>
                  <a:moveTo>
                    <a:pt x="43719" y="12619"/>
                  </a:moveTo>
                  <a:lnTo>
                    <a:pt x="3529" y="6399"/>
                  </a:lnTo>
                  <a:lnTo>
                    <a:pt x="38576" y="19796"/>
                  </a:lnTo>
                  <a:lnTo>
                    <a:pt x="45633" y="20634"/>
                  </a:lnTo>
                  <a:lnTo>
                    <a:pt x="43719" y="12619"/>
                  </a:lnTo>
                  <a:close/>
                  <a:moveTo>
                    <a:pt x="53767" y="718"/>
                  </a:moveTo>
                  <a:lnTo>
                    <a:pt x="44437" y="12440"/>
                  </a:lnTo>
                  <a:lnTo>
                    <a:pt x="46470" y="20933"/>
                  </a:lnTo>
                  <a:cubicBezTo>
                    <a:pt x="46470" y="20992"/>
                    <a:pt x="46470" y="21052"/>
                    <a:pt x="46470" y="21052"/>
                  </a:cubicBezTo>
                  <a:cubicBezTo>
                    <a:pt x="46410" y="21232"/>
                    <a:pt x="46231" y="21351"/>
                    <a:pt x="46052" y="21351"/>
                  </a:cubicBezTo>
                  <a:lnTo>
                    <a:pt x="38695" y="20454"/>
                  </a:lnTo>
                  <a:lnTo>
                    <a:pt x="31459" y="33014"/>
                  </a:lnTo>
                  <a:cubicBezTo>
                    <a:pt x="31459" y="33014"/>
                    <a:pt x="31399" y="33073"/>
                    <a:pt x="31399" y="33073"/>
                  </a:cubicBezTo>
                  <a:cubicBezTo>
                    <a:pt x="31279" y="33193"/>
                    <a:pt x="31040" y="33253"/>
                    <a:pt x="30861" y="33073"/>
                  </a:cubicBezTo>
                  <a:lnTo>
                    <a:pt x="120" y="5682"/>
                  </a:lnTo>
                  <a:cubicBezTo>
                    <a:pt x="60" y="5682"/>
                    <a:pt x="60" y="5622"/>
                    <a:pt x="60" y="5562"/>
                  </a:cubicBezTo>
                  <a:cubicBezTo>
                    <a:pt x="60" y="5502"/>
                    <a:pt x="0" y="5502"/>
                    <a:pt x="0" y="5442"/>
                  </a:cubicBezTo>
                  <a:cubicBezTo>
                    <a:pt x="0" y="5383"/>
                    <a:pt x="0" y="5323"/>
                    <a:pt x="0" y="5323"/>
                  </a:cubicBezTo>
                  <a:cubicBezTo>
                    <a:pt x="0" y="5263"/>
                    <a:pt x="60" y="5263"/>
                    <a:pt x="60" y="5203"/>
                  </a:cubicBezTo>
                  <a:cubicBezTo>
                    <a:pt x="120" y="5143"/>
                    <a:pt x="120" y="5143"/>
                    <a:pt x="180" y="5084"/>
                  </a:cubicBezTo>
                  <a:lnTo>
                    <a:pt x="53468" y="0"/>
                  </a:lnTo>
                  <a:cubicBezTo>
                    <a:pt x="53528" y="0"/>
                    <a:pt x="53647" y="0"/>
                    <a:pt x="53707" y="60"/>
                  </a:cubicBezTo>
                  <a:cubicBezTo>
                    <a:pt x="53827" y="299"/>
                    <a:pt x="53886" y="538"/>
                    <a:pt x="53767" y="71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77" name="Vrije vorm: vorm 8976">
              <a:extLst>
                <a:ext uri="{FF2B5EF4-FFF2-40B4-BE49-F238E27FC236}">
                  <a16:creationId xmlns:a16="http://schemas.microsoft.com/office/drawing/2014/main" id="{488448C7-145E-4309-976E-FE146A1B4A53}"/>
                </a:ext>
              </a:extLst>
            </p:cNvPr>
            <p:cNvSpPr/>
            <p:nvPr/>
          </p:nvSpPr>
          <p:spPr>
            <a:xfrm>
              <a:off x="5509999" y="1445162"/>
              <a:ext cx="41162" cy="46578"/>
            </a:xfrm>
            <a:custGeom>
              <a:avLst/>
              <a:gdLst>
                <a:gd name="connsiteX0" fmla="*/ 15490 w 41162"/>
                <a:gd name="connsiteY0" fmla="*/ 39712 h 46578"/>
                <a:gd name="connsiteX1" fmla="*/ 30860 w 41162"/>
                <a:gd name="connsiteY1" fmla="*/ 2632 h 46578"/>
                <a:gd name="connsiteX2" fmla="*/ 1196 w 41162"/>
                <a:gd name="connsiteY2" fmla="*/ 41267 h 46578"/>
                <a:gd name="connsiteX3" fmla="*/ 15490 w 41162"/>
                <a:gd name="connsiteY3" fmla="*/ 39712 h 46578"/>
                <a:gd name="connsiteX4" fmla="*/ 40250 w 41162"/>
                <a:gd name="connsiteY4" fmla="*/ 39473 h 46578"/>
                <a:gd name="connsiteX5" fmla="*/ 32236 w 41162"/>
                <a:gd name="connsiteY5" fmla="*/ 2273 h 46578"/>
                <a:gd name="connsiteX6" fmla="*/ 25956 w 41162"/>
                <a:gd name="connsiteY6" fmla="*/ 39054 h 46578"/>
                <a:gd name="connsiteX7" fmla="*/ 40250 w 41162"/>
                <a:gd name="connsiteY7" fmla="*/ 39473 h 46578"/>
                <a:gd name="connsiteX8" fmla="*/ 22308 w 41162"/>
                <a:gd name="connsiteY8" fmla="*/ 45573 h 46578"/>
                <a:gd name="connsiteX9" fmla="*/ 25179 w 41162"/>
                <a:gd name="connsiteY9" fmla="*/ 39293 h 46578"/>
                <a:gd name="connsiteX10" fmla="*/ 31279 w 41162"/>
                <a:gd name="connsiteY10" fmla="*/ 3409 h 46578"/>
                <a:gd name="connsiteX11" fmla="*/ 16148 w 41162"/>
                <a:gd name="connsiteY11" fmla="*/ 39891 h 46578"/>
                <a:gd name="connsiteX12" fmla="*/ 22308 w 41162"/>
                <a:gd name="connsiteY12" fmla="*/ 45573 h 46578"/>
                <a:gd name="connsiteX13" fmla="*/ 0 w 41162"/>
                <a:gd name="connsiteY13" fmla="*/ 41745 h 46578"/>
                <a:gd name="connsiteX14" fmla="*/ 119 w 41162"/>
                <a:gd name="connsiteY14" fmla="*/ 41506 h 46578"/>
                <a:gd name="connsiteX15" fmla="*/ 31997 w 41162"/>
                <a:gd name="connsiteY15" fmla="*/ 60 h 46578"/>
                <a:gd name="connsiteX16" fmla="*/ 32176 w 41162"/>
                <a:gd name="connsiteY16" fmla="*/ 0 h 46578"/>
                <a:gd name="connsiteX17" fmla="*/ 32296 w 41162"/>
                <a:gd name="connsiteY17" fmla="*/ 0 h 46578"/>
                <a:gd name="connsiteX18" fmla="*/ 32415 w 41162"/>
                <a:gd name="connsiteY18" fmla="*/ 60 h 46578"/>
                <a:gd name="connsiteX19" fmla="*/ 32535 w 41162"/>
                <a:gd name="connsiteY19" fmla="*/ 179 h 46578"/>
                <a:gd name="connsiteX20" fmla="*/ 32595 w 41162"/>
                <a:gd name="connsiteY20" fmla="*/ 299 h 46578"/>
                <a:gd name="connsiteX21" fmla="*/ 41147 w 41162"/>
                <a:gd name="connsiteY21" fmla="*/ 39832 h 46578"/>
                <a:gd name="connsiteX22" fmla="*/ 40848 w 41162"/>
                <a:gd name="connsiteY22" fmla="*/ 40250 h 46578"/>
                <a:gd name="connsiteX23" fmla="*/ 40729 w 41162"/>
                <a:gd name="connsiteY23" fmla="*/ 40250 h 46578"/>
                <a:gd name="connsiteX24" fmla="*/ 25836 w 41162"/>
                <a:gd name="connsiteY24" fmla="*/ 39772 h 46578"/>
                <a:gd name="connsiteX25" fmla="*/ 22846 w 41162"/>
                <a:gd name="connsiteY25" fmla="*/ 46351 h 46578"/>
                <a:gd name="connsiteX26" fmla="*/ 22368 w 41162"/>
                <a:gd name="connsiteY26" fmla="*/ 46530 h 46578"/>
                <a:gd name="connsiteX27" fmla="*/ 22248 w 41162"/>
                <a:gd name="connsiteY27" fmla="*/ 46470 h 46578"/>
                <a:gd name="connsiteX28" fmla="*/ 15729 w 41162"/>
                <a:gd name="connsiteY28" fmla="*/ 40430 h 46578"/>
                <a:gd name="connsiteX29" fmla="*/ 538 w 41162"/>
                <a:gd name="connsiteY29" fmla="*/ 42104 h 46578"/>
                <a:gd name="connsiteX30" fmla="*/ 0 w 41162"/>
                <a:gd name="connsiteY30" fmla="*/ 41745 h 46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162" h="46578">
                  <a:moveTo>
                    <a:pt x="15490" y="39712"/>
                  </a:moveTo>
                  <a:lnTo>
                    <a:pt x="30860" y="2632"/>
                  </a:lnTo>
                  <a:lnTo>
                    <a:pt x="1196" y="41267"/>
                  </a:lnTo>
                  <a:lnTo>
                    <a:pt x="15490" y="39712"/>
                  </a:lnTo>
                  <a:close/>
                  <a:moveTo>
                    <a:pt x="40250" y="39473"/>
                  </a:moveTo>
                  <a:lnTo>
                    <a:pt x="32236" y="2273"/>
                  </a:lnTo>
                  <a:lnTo>
                    <a:pt x="25956" y="39054"/>
                  </a:lnTo>
                  <a:lnTo>
                    <a:pt x="40250" y="39473"/>
                  </a:lnTo>
                  <a:close/>
                  <a:moveTo>
                    <a:pt x="22308" y="45573"/>
                  </a:moveTo>
                  <a:lnTo>
                    <a:pt x="25179" y="39293"/>
                  </a:lnTo>
                  <a:lnTo>
                    <a:pt x="31279" y="3409"/>
                  </a:lnTo>
                  <a:lnTo>
                    <a:pt x="16148" y="39891"/>
                  </a:lnTo>
                  <a:lnTo>
                    <a:pt x="22308" y="45573"/>
                  </a:lnTo>
                  <a:close/>
                  <a:moveTo>
                    <a:pt x="0" y="41745"/>
                  </a:moveTo>
                  <a:cubicBezTo>
                    <a:pt x="0" y="41626"/>
                    <a:pt x="60" y="41566"/>
                    <a:pt x="119" y="41506"/>
                  </a:cubicBezTo>
                  <a:lnTo>
                    <a:pt x="31997" y="60"/>
                  </a:lnTo>
                  <a:cubicBezTo>
                    <a:pt x="32057" y="0"/>
                    <a:pt x="32116" y="0"/>
                    <a:pt x="32176" y="0"/>
                  </a:cubicBezTo>
                  <a:cubicBezTo>
                    <a:pt x="32236" y="0"/>
                    <a:pt x="32236" y="0"/>
                    <a:pt x="32296" y="0"/>
                  </a:cubicBezTo>
                  <a:cubicBezTo>
                    <a:pt x="32356" y="0"/>
                    <a:pt x="32415" y="0"/>
                    <a:pt x="32415" y="60"/>
                  </a:cubicBezTo>
                  <a:cubicBezTo>
                    <a:pt x="32475" y="60"/>
                    <a:pt x="32475" y="120"/>
                    <a:pt x="32535" y="179"/>
                  </a:cubicBezTo>
                  <a:cubicBezTo>
                    <a:pt x="32535" y="239"/>
                    <a:pt x="32595" y="239"/>
                    <a:pt x="32595" y="299"/>
                  </a:cubicBezTo>
                  <a:lnTo>
                    <a:pt x="41147" y="39832"/>
                  </a:lnTo>
                  <a:cubicBezTo>
                    <a:pt x="41207" y="40011"/>
                    <a:pt x="41088" y="40190"/>
                    <a:pt x="40848" y="40250"/>
                  </a:cubicBezTo>
                  <a:cubicBezTo>
                    <a:pt x="40788" y="40250"/>
                    <a:pt x="40788" y="40250"/>
                    <a:pt x="40729" y="40250"/>
                  </a:cubicBezTo>
                  <a:lnTo>
                    <a:pt x="25836" y="39772"/>
                  </a:lnTo>
                  <a:lnTo>
                    <a:pt x="22846" y="46351"/>
                  </a:lnTo>
                  <a:cubicBezTo>
                    <a:pt x="22787" y="46530"/>
                    <a:pt x="22547" y="46650"/>
                    <a:pt x="22368" y="46530"/>
                  </a:cubicBezTo>
                  <a:cubicBezTo>
                    <a:pt x="22308" y="46530"/>
                    <a:pt x="22308" y="46470"/>
                    <a:pt x="22248" y="46470"/>
                  </a:cubicBezTo>
                  <a:lnTo>
                    <a:pt x="15729" y="40430"/>
                  </a:lnTo>
                  <a:lnTo>
                    <a:pt x="538" y="42104"/>
                  </a:lnTo>
                  <a:cubicBezTo>
                    <a:pt x="179" y="42044"/>
                    <a:pt x="0" y="41925"/>
                    <a:pt x="0" y="41745"/>
                  </a:cubicBezTo>
                  <a:close/>
                </a:path>
              </a:pathLst>
            </a:custGeom>
            <a:grpFill/>
            <a:ln w="6350" cap="flat">
              <a:solidFill>
                <a:schemeClr val="bg1">
                  <a:alpha val="80000"/>
                </a:schemeClr>
              </a:solidFill>
              <a:prstDash val="solid"/>
              <a:miter/>
            </a:ln>
          </p:spPr>
          <p:txBody>
            <a:bodyPr rtlCol="0" anchor="ctr"/>
            <a:lstStyle/>
            <a:p>
              <a:endParaRPr lang="en-GB"/>
            </a:p>
          </p:txBody>
        </p:sp>
        <p:grpSp>
          <p:nvGrpSpPr>
            <p:cNvPr id="8978" name="Graphic 3">
              <a:extLst>
                <a:ext uri="{FF2B5EF4-FFF2-40B4-BE49-F238E27FC236}">
                  <a16:creationId xmlns:a16="http://schemas.microsoft.com/office/drawing/2014/main" id="{76B89154-069E-4177-A17A-76243F995E2C}"/>
                </a:ext>
              </a:extLst>
            </p:cNvPr>
            <p:cNvGrpSpPr/>
            <p:nvPr/>
          </p:nvGrpSpPr>
          <p:grpSpPr>
            <a:xfrm>
              <a:off x="5751722" y="1403416"/>
              <a:ext cx="189606" cy="363448"/>
              <a:chOff x="5751722" y="1403416"/>
              <a:chExt cx="189606" cy="363448"/>
            </a:xfrm>
            <a:grpFill/>
          </p:grpSpPr>
          <p:sp>
            <p:nvSpPr>
              <p:cNvPr id="9149" name="Vrije vorm: vorm 9148">
                <a:extLst>
                  <a:ext uri="{FF2B5EF4-FFF2-40B4-BE49-F238E27FC236}">
                    <a16:creationId xmlns:a16="http://schemas.microsoft.com/office/drawing/2014/main" id="{18D0F973-16EB-46E0-9CB8-2D04488B8CDD}"/>
                  </a:ext>
                </a:extLst>
              </p:cNvPr>
              <p:cNvSpPr/>
              <p:nvPr/>
            </p:nvSpPr>
            <p:spPr>
              <a:xfrm>
                <a:off x="5870694" y="1546639"/>
                <a:ext cx="28474" cy="35230"/>
              </a:xfrm>
              <a:custGeom>
                <a:avLst/>
                <a:gdLst>
                  <a:gd name="connsiteX0" fmla="*/ 26854 w 28474"/>
                  <a:gd name="connsiteY0" fmla="*/ 16366 h 35230"/>
                  <a:gd name="connsiteX1" fmla="*/ 15857 w 28474"/>
                  <a:gd name="connsiteY1" fmla="*/ 33982 h 35230"/>
                  <a:gd name="connsiteX2" fmla="*/ 1620 w 28474"/>
                  <a:gd name="connsiteY2" fmla="*/ 18864 h 35230"/>
                  <a:gd name="connsiteX3" fmla="*/ 12617 w 28474"/>
                  <a:gd name="connsiteY3" fmla="*/ 1249 h 35230"/>
                  <a:gd name="connsiteX4" fmla="*/ 26854 w 28474"/>
                  <a:gd name="connsiteY4" fmla="*/ 16366 h 35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74" h="35230">
                    <a:moveTo>
                      <a:pt x="26854" y="16366"/>
                    </a:moveTo>
                    <a:cubicBezTo>
                      <a:pt x="27749" y="25405"/>
                      <a:pt x="22825" y="33292"/>
                      <a:pt x="15857" y="33982"/>
                    </a:cubicBezTo>
                    <a:cubicBezTo>
                      <a:pt x="8889" y="34671"/>
                      <a:pt x="2515" y="27903"/>
                      <a:pt x="1620" y="18864"/>
                    </a:cubicBezTo>
                    <a:cubicBezTo>
                      <a:pt x="725" y="9825"/>
                      <a:pt x="5649" y="1939"/>
                      <a:pt x="12617" y="1249"/>
                    </a:cubicBezTo>
                    <a:cubicBezTo>
                      <a:pt x="19585" y="559"/>
                      <a:pt x="25959" y="7327"/>
                      <a:pt x="26854" y="1636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50" name="Vrije vorm: vorm 9149">
                <a:extLst>
                  <a:ext uri="{FF2B5EF4-FFF2-40B4-BE49-F238E27FC236}">
                    <a16:creationId xmlns:a16="http://schemas.microsoft.com/office/drawing/2014/main" id="{D4279454-B66F-429A-B168-E5DB46C68AAC}"/>
                  </a:ext>
                </a:extLst>
              </p:cNvPr>
              <p:cNvSpPr/>
              <p:nvPr/>
            </p:nvSpPr>
            <p:spPr>
              <a:xfrm>
                <a:off x="5802808" y="1513106"/>
                <a:ext cx="25606" cy="33650"/>
              </a:xfrm>
              <a:custGeom>
                <a:avLst/>
                <a:gdLst>
                  <a:gd name="connsiteX0" fmla="*/ 24051 w 25606"/>
                  <a:gd name="connsiteY0" fmla="*/ 15712 h 33650"/>
                  <a:gd name="connsiteX1" fmla="*/ 14358 w 25606"/>
                  <a:gd name="connsiteY1" fmla="*/ 32537 h 33650"/>
                  <a:gd name="connsiteX2" fmla="*/ 1555 w 25606"/>
                  <a:gd name="connsiteY2" fmla="*/ 17939 h 33650"/>
                  <a:gd name="connsiteX3" fmla="*/ 11248 w 25606"/>
                  <a:gd name="connsiteY3" fmla="*/ 1113 h 33650"/>
                  <a:gd name="connsiteX4" fmla="*/ 24051 w 25606"/>
                  <a:gd name="connsiteY4" fmla="*/ 15712 h 3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6" h="33650">
                    <a:moveTo>
                      <a:pt x="24051" y="15712"/>
                    </a:moveTo>
                    <a:cubicBezTo>
                      <a:pt x="24910" y="24389"/>
                      <a:pt x="20571" y="31922"/>
                      <a:pt x="14358" y="32537"/>
                    </a:cubicBezTo>
                    <a:cubicBezTo>
                      <a:pt x="8146" y="33152"/>
                      <a:pt x="2414" y="26616"/>
                      <a:pt x="1555" y="17939"/>
                    </a:cubicBezTo>
                    <a:cubicBezTo>
                      <a:pt x="696" y="9261"/>
                      <a:pt x="5036" y="1728"/>
                      <a:pt x="11248" y="1113"/>
                    </a:cubicBezTo>
                    <a:cubicBezTo>
                      <a:pt x="17460" y="498"/>
                      <a:pt x="23193" y="7034"/>
                      <a:pt x="24051" y="1571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51" name="Vrije vorm: vorm 9150">
                <a:extLst>
                  <a:ext uri="{FF2B5EF4-FFF2-40B4-BE49-F238E27FC236}">
                    <a16:creationId xmlns:a16="http://schemas.microsoft.com/office/drawing/2014/main" id="{C237734F-6FE6-4234-9653-4711F6F7CC26}"/>
                  </a:ext>
                </a:extLst>
              </p:cNvPr>
              <p:cNvSpPr/>
              <p:nvPr/>
            </p:nvSpPr>
            <p:spPr>
              <a:xfrm>
                <a:off x="5815787" y="1449033"/>
                <a:ext cx="23095" cy="21379"/>
              </a:xfrm>
              <a:custGeom>
                <a:avLst/>
                <a:gdLst>
                  <a:gd name="connsiteX0" fmla="*/ 22142 w 23095"/>
                  <a:gd name="connsiteY0" fmla="*/ 9641 h 21379"/>
                  <a:gd name="connsiteX1" fmla="*/ 12502 w 23095"/>
                  <a:gd name="connsiteY1" fmla="*/ 20331 h 21379"/>
                  <a:gd name="connsiteX2" fmla="*/ 954 w 23095"/>
                  <a:gd name="connsiteY2" fmla="*/ 11739 h 21379"/>
                  <a:gd name="connsiteX3" fmla="*/ 10593 w 23095"/>
                  <a:gd name="connsiteY3" fmla="*/ 1049 h 21379"/>
                  <a:gd name="connsiteX4" fmla="*/ 22142 w 23095"/>
                  <a:gd name="connsiteY4" fmla="*/ 9641 h 21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5" h="21379">
                    <a:moveTo>
                      <a:pt x="22142" y="9641"/>
                    </a:moveTo>
                    <a:cubicBezTo>
                      <a:pt x="22669" y="14966"/>
                      <a:pt x="18353" y="19752"/>
                      <a:pt x="12502" y="20331"/>
                    </a:cubicBezTo>
                    <a:cubicBezTo>
                      <a:pt x="6651" y="20910"/>
                      <a:pt x="1481" y="17063"/>
                      <a:pt x="954" y="11739"/>
                    </a:cubicBezTo>
                    <a:cubicBezTo>
                      <a:pt x="427" y="6414"/>
                      <a:pt x="4743" y="1628"/>
                      <a:pt x="10593" y="1049"/>
                    </a:cubicBezTo>
                    <a:cubicBezTo>
                      <a:pt x="16444" y="469"/>
                      <a:pt x="21614" y="4317"/>
                      <a:pt x="22142" y="964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52" name="Vrije vorm: vorm 9151">
                <a:extLst>
                  <a:ext uri="{FF2B5EF4-FFF2-40B4-BE49-F238E27FC236}">
                    <a16:creationId xmlns:a16="http://schemas.microsoft.com/office/drawing/2014/main" id="{209FAE44-D071-40A9-A2E6-274D723D57CF}"/>
                  </a:ext>
                </a:extLst>
              </p:cNvPr>
              <p:cNvSpPr/>
              <p:nvPr/>
            </p:nvSpPr>
            <p:spPr>
              <a:xfrm>
                <a:off x="5815255" y="1469444"/>
                <a:ext cx="7595" cy="44137"/>
              </a:xfrm>
              <a:custGeom>
                <a:avLst/>
                <a:gdLst>
                  <a:gd name="connsiteX0" fmla="*/ 7596 w 7595"/>
                  <a:gd name="connsiteY0" fmla="*/ 0 h 44137"/>
                  <a:gd name="connsiteX1" fmla="*/ 0 w 7595"/>
                  <a:gd name="connsiteY1" fmla="*/ 44138 h 44137"/>
                </a:gdLst>
                <a:ahLst/>
                <a:cxnLst>
                  <a:cxn ang="0">
                    <a:pos x="connsiteX0" y="connsiteY0"/>
                  </a:cxn>
                  <a:cxn ang="0">
                    <a:pos x="connsiteX1" y="connsiteY1"/>
                  </a:cxn>
                </a:cxnLst>
                <a:rect l="l" t="t" r="r" b="b"/>
                <a:pathLst>
                  <a:path w="7595" h="44137">
                    <a:moveTo>
                      <a:pt x="7596" y="0"/>
                    </a:moveTo>
                    <a:lnTo>
                      <a:pt x="0" y="44138"/>
                    </a:lnTo>
                  </a:path>
                </a:pathLst>
              </a:custGeom>
              <a:grpFill/>
              <a:ln w="6350" cap="flat">
                <a:solidFill>
                  <a:schemeClr val="bg1">
                    <a:alpha val="80000"/>
                  </a:schemeClr>
                </a:solidFill>
                <a:prstDash val="solid"/>
                <a:miter/>
              </a:ln>
            </p:spPr>
            <p:txBody>
              <a:bodyPr rtlCol="0" anchor="ctr"/>
              <a:lstStyle/>
              <a:p>
                <a:endParaRPr lang="en-GB"/>
              </a:p>
            </p:txBody>
          </p:sp>
          <p:sp>
            <p:nvSpPr>
              <p:cNvPr id="9153" name="Vrije vorm: vorm 9152">
                <a:extLst>
                  <a:ext uri="{FF2B5EF4-FFF2-40B4-BE49-F238E27FC236}">
                    <a16:creationId xmlns:a16="http://schemas.microsoft.com/office/drawing/2014/main" id="{B7CCD008-030C-4C31-B8EE-DAE7CA86A885}"/>
                  </a:ext>
                </a:extLst>
              </p:cNvPr>
              <p:cNvSpPr/>
              <p:nvPr/>
            </p:nvSpPr>
            <p:spPr>
              <a:xfrm>
                <a:off x="5833735" y="1467889"/>
                <a:ext cx="36422" cy="93777"/>
              </a:xfrm>
              <a:custGeom>
                <a:avLst/>
                <a:gdLst>
                  <a:gd name="connsiteX0" fmla="*/ 0 w 36422"/>
                  <a:gd name="connsiteY0" fmla="*/ 0 h 93777"/>
                  <a:gd name="connsiteX1" fmla="*/ 36423 w 36422"/>
                  <a:gd name="connsiteY1" fmla="*/ 93778 h 93777"/>
                </a:gdLst>
                <a:ahLst/>
                <a:cxnLst>
                  <a:cxn ang="0">
                    <a:pos x="connsiteX0" y="connsiteY0"/>
                  </a:cxn>
                  <a:cxn ang="0">
                    <a:pos x="connsiteX1" y="connsiteY1"/>
                  </a:cxn>
                </a:cxnLst>
                <a:rect l="l" t="t" r="r" b="b"/>
                <a:pathLst>
                  <a:path w="36422" h="93777">
                    <a:moveTo>
                      <a:pt x="0" y="0"/>
                    </a:moveTo>
                    <a:lnTo>
                      <a:pt x="36423" y="93778"/>
                    </a:lnTo>
                  </a:path>
                </a:pathLst>
              </a:custGeom>
              <a:grpFill/>
              <a:ln w="6350" cap="flat">
                <a:solidFill>
                  <a:schemeClr val="bg1">
                    <a:alpha val="80000"/>
                  </a:schemeClr>
                </a:solidFill>
                <a:prstDash val="solid"/>
                <a:miter/>
              </a:ln>
            </p:spPr>
            <p:txBody>
              <a:bodyPr rtlCol="0" anchor="ctr"/>
              <a:lstStyle/>
              <a:p>
                <a:endParaRPr lang="en-GB"/>
              </a:p>
            </p:txBody>
          </p:sp>
          <p:sp>
            <p:nvSpPr>
              <p:cNvPr id="9154" name="Vrije vorm: vorm 9153">
                <a:extLst>
                  <a:ext uri="{FF2B5EF4-FFF2-40B4-BE49-F238E27FC236}">
                    <a16:creationId xmlns:a16="http://schemas.microsoft.com/office/drawing/2014/main" id="{3F4A3A2B-9EAC-4D8D-9A21-D2E37E4A8BAD}"/>
                  </a:ext>
                </a:extLst>
              </p:cNvPr>
              <p:cNvSpPr/>
              <p:nvPr/>
            </p:nvSpPr>
            <p:spPr>
              <a:xfrm>
                <a:off x="5870158" y="1549884"/>
                <a:ext cx="8253" cy="11782"/>
              </a:xfrm>
              <a:custGeom>
                <a:avLst/>
                <a:gdLst>
                  <a:gd name="connsiteX0" fmla="*/ 8253 w 8253"/>
                  <a:gd name="connsiteY0" fmla="*/ 0 h 11782"/>
                  <a:gd name="connsiteX1" fmla="*/ 0 w 8253"/>
                  <a:gd name="connsiteY1" fmla="*/ 11782 h 11782"/>
                </a:gdLst>
                <a:ahLst/>
                <a:cxnLst>
                  <a:cxn ang="0">
                    <a:pos x="connsiteX0" y="connsiteY0"/>
                  </a:cxn>
                  <a:cxn ang="0">
                    <a:pos x="connsiteX1" y="connsiteY1"/>
                  </a:cxn>
                </a:cxnLst>
                <a:rect l="l" t="t" r="r" b="b"/>
                <a:pathLst>
                  <a:path w="8253" h="11782">
                    <a:moveTo>
                      <a:pt x="8253" y="0"/>
                    </a:moveTo>
                    <a:lnTo>
                      <a:pt x="0" y="11782"/>
                    </a:lnTo>
                  </a:path>
                </a:pathLst>
              </a:custGeom>
              <a:grpFill/>
              <a:ln w="6350" cap="flat">
                <a:solidFill>
                  <a:schemeClr val="bg1">
                    <a:alpha val="80000"/>
                  </a:schemeClr>
                </a:solidFill>
                <a:prstDash val="solid"/>
                <a:miter/>
              </a:ln>
            </p:spPr>
            <p:txBody>
              <a:bodyPr rtlCol="0" anchor="ctr"/>
              <a:lstStyle/>
              <a:p>
                <a:endParaRPr lang="en-GB"/>
              </a:p>
            </p:txBody>
          </p:sp>
          <p:sp>
            <p:nvSpPr>
              <p:cNvPr id="9155" name="Vrije vorm: vorm 9154">
                <a:extLst>
                  <a:ext uri="{FF2B5EF4-FFF2-40B4-BE49-F238E27FC236}">
                    <a16:creationId xmlns:a16="http://schemas.microsoft.com/office/drawing/2014/main" id="{3E5C9B8E-7519-4267-BC55-AB0B0A8BAA8E}"/>
                  </a:ext>
                </a:extLst>
              </p:cNvPr>
              <p:cNvSpPr/>
              <p:nvPr/>
            </p:nvSpPr>
            <p:spPr>
              <a:xfrm>
                <a:off x="5870457" y="1565913"/>
                <a:ext cx="4904" cy="8971"/>
              </a:xfrm>
              <a:custGeom>
                <a:avLst/>
                <a:gdLst>
                  <a:gd name="connsiteX0" fmla="*/ 4904 w 4904"/>
                  <a:gd name="connsiteY0" fmla="*/ 8971 h 8971"/>
                  <a:gd name="connsiteX1" fmla="*/ 0 w 4904"/>
                  <a:gd name="connsiteY1" fmla="*/ 0 h 8971"/>
                </a:gdLst>
                <a:ahLst/>
                <a:cxnLst>
                  <a:cxn ang="0">
                    <a:pos x="connsiteX0" y="connsiteY0"/>
                  </a:cxn>
                  <a:cxn ang="0">
                    <a:pos x="connsiteX1" y="connsiteY1"/>
                  </a:cxn>
                </a:cxnLst>
                <a:rect l="l" t="t" r="r" b="b"/>
                <a:pathLst>
                  <a:path w="4904" h="8971">
                    <a:moveTo>
                      <a:pt x="4904" y="8971"/>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156" name="Vrije vorm: vorm 9155">
                <a:extLst>
                  <a:ext uri="{FF2B5EF4-FFF2-40B4-BE49-F238E27FC236}">
                    <a16:creationId xmlns:a16="http://schemas.microsoft.com/office/drawing/2014/main" id="{15992AD1-5CC1-477B-926D-BA3D307890B5}"/>
                  </a:ext>
                </a:extLst>
              </p:cNvPr>
              <p:cNvSpPr/>
              <p:nvPr/>
            </p:nvSpPr>
            <p:spPr>
              <a:xfrm>
                <a:off x="5819023" y="1514658"/>
                <a:ext cx="12679" cy="12081"/>
              </a:xfrm>
              <a:custGeom>
                <a:avLst/>
                <a:gdLst>
                  <a:gd name="connsiteX0" fmla="*/ 0 w 12679"/>
                  <a:gd name="connsiteY0" fmla="*/ 0 h 12081"/>
                  <a:gd name="connsiteX1" fmla="*/ 12679 w 12679"/>
                  <a:gd name="connsiteY1" fmla="*/ 12081 h 12081"/>
                </a:gdLst>
                <a:ahLst/>
                <a:cxnLst>
                  <a:cxn ang="0">
                    <a:pos x="connsiteX0" y="connsiteY0"/>
                  </a:cxn>
                  <a:cxn ang="0">
                    <a:pos x="connsiteX1" y="connsiteY1"/>
                  </a:cxn>
                </a:cxnLst>
                <a:rect l="l" t="t" r="r" b="b"/>
                <a:pathLst>
                  <a:path w="12679" h="12081">
                    <a:moveTo>
                      <a:pt x="0" y="0"/>
                    </a:moveTo>
                    <a:lnTo>
                      <a:pt x="12679" y="12081"/>
                    </a:lnTo>
                  </a:path>
                </a:pathLst>
              </a:custGeom>
              <a:grpFill/>
              <a:ln w="6350" cap="flat">
                <a:solidFill>
                  <a:schemeClr val="bg1">
                    <a:alpha val="80000"/>
                  </a:schemeClr>
                </a:solidFill>
                <a:prstDash val="solid"/>
                <a:miter/>
              </a:ln>
            </p:spPr>
            <p:txBody>
              <a:bodyPr rtlCol="0" anchor="ctr"/>
              <a:lstStyle/>
              <a:p>
                <a:endParaRPr lang="en-GB"/>
              </a:p>
            </p:txBody>
          </p:sp>
          <p:sp>
            <p:nvSpPr>
              <p:cNvPr id="9157" name="Vrije vorm: vorm 9156">
                <a:extLst>
                  <a:ext uri="{FF2B5EF4-FFF2-40B4-BE49-F238E27FC236}">
                    <a16:creationId xmlns:a16="http://schemas.microsoft.com/office/drawing/2014/main" id="{624DC099-3B26-4F77-8C48-DF2B2BC82CE7}"/>
                  </a:ext>
                </a:extLst>
              </p:cNvPr>
              <p:cNvSpPr/>
              <p:nvPr/>
            </p:nvSpPr>
            <p:spPr>
              <a:xfrm>
                <a:off x="5822910" y="1533437"/>
                <a:ext cx="8791" cy="10825"/>
              </a:xfrm>
              <a:custGeom>
                <a:avLst/>
                <a:gdLst>
                  <a:gd name="connsiteX0" fmla="*/ 8792 w 8791"/>
                  <a:gd name="connsiteY0" fmla="*/ 0 h 10825"/>
                  <a:gd name="connsiteX1" fmla="*/ 0 w 8791"/>
                  <a:gd name="connsiteY1" fmla="*/ 10825 h 10825"/>
                </a:gdLst>
                <a:ahLst/>
                <a:cxnLst>
                  <a:cxn ang="0">
                    <a:pos x="connsiteX0" y="connsiteY0"/>
                  </a:cxn>
                  <a:cxn ang="0">
                    <a:pos x="connsiteX1" y="connsiteY1"/>
                  </a:cxn>
                </a:cxnLst>
                <a:rect l="l" t="t" r="r" b="b"/>
                <a:pathLst>
                  <a:path w="8791" h="10825">
                    <a:moveTo>
                      <a:pt x="8792" y="0"/>
                    </a:moveTo>
                    <a:lnTo>
                      <a:pt x="0" y="10825"/>
                    </a:lnTo>
                  </a:path>
                </a:pathLst>
              </a:custGeom>
              <a:grpFill/>
              <a:ln w="6350" cap="flat">
                <a:solidFill>
                  <a:schemeClr val="bg1">
                    <a:alpha val="80000"/>
                  </a:schemeClr>
                </a:solidFill>
                <a:prstDash val="solid"/>
                <a:miter/>
              </a:ln>
            </p:spPr>
            <p:txBody>
              <a:bodyPr rtlCol="0" anchor="ctr"/>
              <a:lstStyle/>
              <a:p>
                <a:endParaRPr lang="en-GB"/>
              </a:p>
            </p:txBody>
          </p:sp>
          <p:sp>
            <p:nvSpPr>
              <p:cNvPr id="9158" name="Vrije vorm: vorm 9157">
                <a:extLst>
                  <a:ext uri="{FF2B5EF4-FFF2-40B4-BE49-F238E27FC236}">
                    <a16:creationId xmlns:a16="http://schemas.microsoft.com/office/drawing/2014/main" id="{230D00C9-4321-45FA-BC58-50D0AE5E8BCD}"/>
                  </a:ext>
                </a:extLst>
              </p:cNvPr>
              <p:cNvSpPr/>
              <p:nvPr/>
            </p:nvSpPr>
            <p:spPr>
              <a:xfrm>
                <a:off x="5827216" y="1470281"/>
                <a:ext cx="23504" cy="296284"/>
              </a:xfrm>
              <a:custGeom>
                <a:avLst/>
                <a:gdLst>
                  <a:gd name="connsiteX0" fmla="*/ 0 w 23504"/>
                  <a:gd name="connsiteY0" fmla="*/ 0 h 296284"/>
                  <a:gd name="connsiteX1" fmla="*/ 23504 w 23504"/>
                  <a:gd name="connsiteY1" fmla="*/ 296285 h 296284"/>
                </a:gdLst>
                <a:ahLst/>
                <a:cxnLst>
                  <a:cxn ang="0">
                    <a:pos x="connsiteX0" y="connsiteY0"/>
                  </a:cxn>
                  <a:cxn ang="0">
                    <a:pos x="connsiteX1" y="connsiteY1"/>
                  </a:cxn>
                </a:cxnLst>
                <a:rect l="l" t="t" r="r" b="b"/>
                <a:pathLst>
                  <a:path w="23504" h="296284">
                    <a:moveTo>
                      <a:pt x="0" y="0"/>
                    </a:moveTo>
                    <a:lnTo>
                      <a:pt x="23504" y="296285"/>
                    </a:lnTo>
                  </a:path>
                </a:pathLst>
              </a:custGeom>
              <a:grpFill/>
              <a:ln w="6350" cap="flat">
                <a:solidFill>
                  <a:schemeClr val="bg1">
                    <a:alpha val="80000"/>
                  </a:schemeClr>
                </a:solidFill>
                <a:prstDash val="solid"/>
                <a:miter/>
              </a:ln>
            </p:spPr>
            <p:txBody>
              <a:bodyPr rtlCol="0" anchor="ctr"/>
              <a:lstStyle/>
              <a:p>
                <a:endParaRPr lang="en-GB"/>
              </a:p>
            </p:txBody>
          </p:sp>
          <p:sp>
            <p:nvSpPr>
              <p:cNvPr id="9159" name="Vrije vorm: vorm 9158">
                <a:extLst>
                  <a:ext uri="{FF2B5EF4-FFF2-40B4-BE49-F238E27FC236}">
                    <a16:creationId xmlns:a16="http://schemas.microsoft.com/office/drawing/2014/main" id="{8BBBBEBB-06AD-4066-9003-BFF0AF06DE46}"/>
                  </a:ext>
                </a:extLst>
              </p:cNvPr>
              <p:cNvSpPr/>
              <p:nvPr/>
            </p:nvSpPr>
            <p:spPr>
              <a:xfrm>
                <a:off x="5874045" y="1573269"/>
                <a:ext cx="62737" cy="164290"/>
              </a:xfrm>
              <a:custGeom>
                <a:avLst/>
                <a:gdLst>
                  <a:gd name="connsiteX0" fmla="*/ 62738 w 62737"/>
                  <a:gd name="connsiteY0" fmla="*/ 164290 h 164290"/>
                  <a:gd name="connsiteX1" fmla="*/ 0 w 62737"/>
                  <a:gd name="connsiteY1" fmla="*/ 0 h 164290"/>
                </a:gdLst>
                <a:ahLst/>
                <a:cxnLst>
                  <a:cxn ang="0">
                    <a:pos x="connsiteX0" y="connsiteY0"/>
                  </a:cxn>
                  <a:cxn ang="0">
                    <a:pos x="connsiteX1" y="connsiteY1"/>
                  </a:cxn>
                </a:cxnLst>
                <a:rect l="l" t="t" r="r" b="b"/>
                <a:pathLst>
                  <a:path w="62737" h="164290">
                    <a:moveTo>
                      <a:pt x="62738" y="164290"/>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160" name="Vrije vorm: vorm 9159">
                <a:extLst>
                  <a:ext uri="{FF2B5EF4-FFF2-40B4-BE49-F238E27FC236}">
                    <a16:creationId xmlns:a16="http://schemas.microsoft.com/office/drawing/2014/main" id="{7AAB80A8-1966-480D-A1C2-09FFE4C84EFE}"/>
                  </a:ext>
                </a:extLst>
              </p:cNvPr>
              <p:cNvSpPr/>
              <p:nvPr/>
            </p:nvSpPr>
            <p:spPr>
              <a:xfrm>
                <a:off x="5773270" y="1545219"/>
                <a:ext cx="36960" cy="203942"/>
              </a:xfrm>
              <a:custGeom>
                <a:avLst/>
                <a:gdLst>
                  <a:gd name="connsiteX0" fmla="*/ 36961 w 36960"/>
                  <a:gd name="connsiteY0" fmla="*/ 0 h 203942"/>
                  <a:gd name="connsiteX1" fmla="*/ 0 w 36960"/>
                  <a:gd name="connsiteY1" fmla="*/ 203943 h 203942"/>
                </a:gdLst>
                <a:ahLst/>
                <a:cxnLst>
                  <a:cxn ang="0">
                    <a:pos x="connsiteX0" y="connsiteY0"/>
                  </a:cxn>
                  <a:cxn ang="0">
                    <a:pos x="connsiteX1" y="connsiteY1"/>
                  </a:cxn>
                </a:cxnLst>
                <a:rect l="l" t="t" r="r" b="b"/>
                <a:pathLst>
                  <a:path w="36960" h="203942">
                    <a:moveTo>
                      <a:pt x="36961" y="0"/>
                    </a:moveTo>
                    <a:lnTo>
                      <a:pt x="0" y="203943"/>
                    </a:lnTo>
                  </a:path>
                </a:pathLst>
              </a:custGeom>
              <a:grpFill/>
              <a:ln w="6350" cap="flat">
                <a:solidFill>
                  <a:schemeClr val="bg1">
                    <a:alpha val="80000"/>
                  </a:schemeClr>
                </a:solidFill>
                <a:prstDash val="solid"/>
                <a:miter/>
              </a:ln>
            </p:spPr>
            <p:txBody>
              <a:bodyPr rtlCol="0" anchor="ctr"/>
              <a:lstStyle/>
              <a:p>
                <a:endParaRPr lang="en-GB"/>
              </a:p>
            </p:txBody>
          </p:sp>
          <p:sp>
            <p:nvSpPr>
              <p:cNvPr id="9161" name="Vrije vorm: vorm 9160">
                <a:extLst>
                  <a:ext uri="{FF2B5EF4-FFF2-40B4-BE49-F238E27FC236}">
                    <a16:creationId xmlns:a16="http://schemas.microsoft.com/office/drawing/2014/main" id="{86F8FBD8-2AF5-4035-BA5F-3F6D0CDA9093}"/>
                  </a:ext>
                </a:extLst>
              </p:cNvPr>
              <p:cNvSpPr/>
              <p:nvPr/>
            </p:nvSpPr>
            <p:spPr>
              <a:xfrm>
                <a:off x="5827276" y="1471417"/>
                <a:ext cx="15071" cy="295447"/>
              </a:xfrm>
              <a:custGeom>
                <a:avLst/>
                <a:gdLst>
                  <a:gd name="connsiteX0" fmla="*/ 15071 w 15071"/>
                  <a:gd name="connsiteY0" fmla="*/ 295448 h 295447"/>
                  <a:gd name="connsiteX1" fmla="*/ 0 w 15071"/>
                  <a:gd name="connsiteY1" fmla="*/ 0 h 295447"/>
                </a:gdLst>
                <a:ahLst/>
                <a:cxnLst>
                  <a:cxn ang="0">
                    <a:pos x="connsiteX0" y="connsiteY0"/>
                  </a:cxn>
                  <a:cxn ang="0">
                    <a:pos x="connsiteX1" y="connsiteY1"/>
                  </a:cxn>
                </a:cxnLst>
                <a:rect l="l" t="t" r="r" b="b"/>
                <a:pathLst>
                  <a:path w="15071" h="295447">
                    <a:moveTo>
                      <a:pt x="15071" y="295448"/>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162" name="Vrije vorm: vorm 9161">
                <a:extLst>
                  <a:ext uri="{FF2B5EF4-FFF2-40B4-BE49-F238E27FC236}">
                    <a16:creationId xmlns:a16="http://schemas.microsoft.com/office/drawing/2014/main" id="{169E58E2-FBD7-4C33-AD10-73C92CE93C80}"/>
                  </a:ext>
                </a:extLst>
              </p:cNvPr>
              <p:cNvSpPr/>
              <p:nvPr/>
            </p:nvSpPr>
            <p:spPr>
              <a:xfrm>
                <a:off x="5833496" y="1465975"/>
                <a:ext cx="107832" cy="269431"/>
              </a:xfrm>
              <a:custGeom>
                <a:avLst/>
                <a:gdLst>
                  <a:gd name="connsiteX0" fmla="*/ 107833 w 107832"/>
                  <a:gd name="connsiteY0" fmla="*/ 269432 h 269431"/>
                  <a:gd name="connsiteX1" fmla="*/ 0 w 107832"/>
                  <a:gd name="connsiteY1" fmla="*/ 0 h 269431"/>
                </a:gdLst>
                <a:ahLst/>
                <a:cxnLst>
                  <a:cxn ang="0">
                    <a:pos x="connsiteX0" y="connsiteY0"/>
                  </a:cxn>
                  <a:cxn ang="0">
                    <a:pos x="connsiteX1" y="connsiteY1"/>
                  </a:cxn>
                </a:cxnLst>
                <a:rect l="l" t="t" r="r" b="b"/>
                <a:pathLst>
                  <a:path w="107832" h="269431">
                    <a:moveTo>
                      <a:pt x="107833" y="269432"/>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163" name="Vrije vorm: vorm 9162">
                <a:extLst>
                  <a:ext uri="{FF2B5EF4-FFF2-40B4-BE49-F238E27FC236}">
                    <a16:creationId xmlns:a16="http://schemas.microsoft.com/office/drawing/2014/main" id="{12767D5A-FBCC-49C0-A1DE-D53CFAC672A7}"/>
                  </a:ext>
                </a:extLst>
              </p:cNvPr>
              <p:cNvSpPr/>
              <p:nvPr/>
            </p:nvSpPr>
            <p:spPr>
              <a:xfrm>
                <a:off x="5769383" y="1543425"/>
                <a:ext cx="38994" cy="204301"/>
              </a:xfrm>
              <a:custGeom>
                <a:avLst/>
                <a:gdLst>
                  <a:gd name="connsiteX0" fmla="*/ 0 w 38994"/>
                  <a:gd name="connsiteY0" fmla="*/ 204301 h 204301"/>
                  <a:gd name="connsiteX1" fmla="*/ 38994 w 38994"/>
                  <a:gd name="connsiteY1" fmla="*/ 0 h 204301"/>
                </a:gdLst>
                <a:ahLst/>
                <a:cxnLst>
                  <a:cxn ang="0">
                    <a:pos x="connsiteX0" y="connsiteY0"/>
                  </a:cxn>
                  <a:cxn ang="0">
                    <a:pos x="connsiteX1" y="connsiteY1"/>
                  </a:cxn>
                </a:cxnLst>
                <a:rect l="l" t="t" r="r" b="b"/>
                <a:pathLst>
                  <a:path w="38994" h="204301">
                    <a:moveTo>
                      <a:pt x="0" y="204301"/>
                    </a:moveTo>
                    <a:lnTo>
                      <a:pt x="38994" y="0"/>
                    </a:lnTo>
                  </a:path>
                </a:pathLst>
              </a:custGeom>
              <a:grpFill/>
              <a:ln w="6350" cap="flat">
                <a:solidFill>
                  <a:schemeClr val="bg1">
                    <a:alpha val="80000"/>
                  </a:schemeClr>
                </a:solidFill>
                <a:prstDash val="solid"/>
                <a:miter/>
              </a:ln>
            </p:spPr>
            <p:txBody>
              <a:bodyPr rtlCol="0" anchor="ctr"/>
              <a:lstStyle/>
              <a:p>
                <a:endParaRPr lang="en-GB"/>
              </a:p>
            </p:txBody>
          </p:sp>
          <p:sp>
            <p:nvSpPr>
              <p:cNvPr id="9164" name="Vrije vorm: vorm 9163">
                <a:extLst>
                  <a:ext uri="{FF2B5EF4-FFF2-40B4-BE49-F238E27FC236}">
                    <a16:creationId xmlns:a16="http://schemas.microsoft.com/office/drawing/2014/main" id="{8B534DFC-92F0-45AB-88B1-C7AC5C0D7686}"/>
                  </a:ext>
                </a:extLst>
              </p:cNvPr>
              <p:cNvSpPr/>
              <p:nvPr/>
            </p:nvSpPr>
            <p:spPr>
              <a:xfrm>
                <a:off x="5814238" y="1469444"/>
                <a:ext cx="8612" cy="44975"/>
              </a:xfrm>
              <a:custGeom>
                <a:avLst/>
                <a:gdLst>
                  <a:gd name="connsiteX0" fmla="*/ 0 w 8612"/>
                  <a:gd name="connsiteY0" fmla="*/ 44975 h 44975"/>
                  <a:gd name="connsiteX1" fmla="*/ 8612 w 8612"/>
                  <a:gd name="connsiteY1" fmla="*/ 0 h 44975"/>
                </a:gdLst>
                <a:ahLst/>
                <a:cxnLst>
                  <a:cxn ang="0">
                    <a:pos x="connsiteX0" y="connsiteY0"/>
                  </a:cxn>
                  <a:cxn ang="0">
                    <a:pos x="connsiteX1" y="connsiteY1"/>
                  </a:cxn>
                </a:cxnLst>
                <a:rect l="l" t="t" r="r" b="b"/>
                <a:pathLst>
                  <a:path w="8612" h="44975">
                    <a:moveTo>
                      <a:pt x="0" y="44975"/>
                    </a:moveTo>
                    <a:lnTo>
                      <a:pt x="8612" y="0"/>
                    </a:lnTo>
                  </a:path>
                </a:pathLst>
              </a:custGeom>
              <a:grpFill/>
              <a:ln w="6350" cap="flat">
                <a:solidFill>
                  <a:schemeClr val="bg1">
                    <a:alpha val="80000"/>
                  </a:schemeClr>
                </a:solidFill>
                <a:prstDash val="solid"/>
                <a:miter/>
              </a:ln>
            </p:spPr>
            <p:txBody>
              <a:bodyPr rtlCol="0" anchor="ctr"/>
              <a:lstStyle/>
              <a:p>
                <a:endParaRPr lang="en-GB"/>
              </a:p>
            </p:txBody>
          </p:sp>
          <p:sp>
            <p:nvSpPr>
              <p:cNvPr id="9165" name="Vrije vorm: vorm 9164">
                <a:extLst>
                  <a:ext uri="{FF2B5EF4-FFF2-40B4-BE49-F238E27FC236}">
                    <a16:creationId xmlns:a16="http://schemas.microsoft.com/office/drawing/2014/main" id="{8DB3075E-CC5C-4B8E-BEA9-C660E91B89FA}"/>
                  </a:ext>
                </a:extLst>
              </p:cNvPr>
              <p:cNvSpPr/>
              <p:nvPr/>
            </p:nvSpPr>
            <p:spPr>
              <a:xfrm>
                <a:off x="5828472" y="1469563"/>
                <a:ext cx="37678" cy="227865"/>
              </a:xfrm>
              <a:custGeom>
                <a:avLst/>
                <a:gdLst>
                  <a:gd name="connsiteX0" fmla="*/ 37679 w 37678"/>
                  <a:gd name="connsiteY0" fmla="*/ 227865 h 227865"/>
                  <a:gd name="connsiteX1" fmla="*/ 0 w 37678"/>
                  <a:gd name="connsiteY1" fmla="*/ 0 h 227865"/>
                </a:gdLst>
                <a:ahLst/>
                <a:cxnLst>
                  <a:cxn ang="0">
                    <a:pos x="connsiteX0" y="connsiteY0"/>
                  </a:cxn>
                  <a:cxn ang="0">
                    <a:pos x="connsiteX1" y="connsiteY1"/>
                  </a:cxn>
                </a:cxnLst>
                <a:rect l="l" t="t" r="r" b="b"/>
                <a:pathLst>
                  <a:path w="37678" h="227865">
                    <a:moveTo>
                      <a:pt x="37679" y="227865"/>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166" name="Vrije vorm: vorm 9165">
                <a:extLst>
                  <a:ext uri="{FF2B5EF4-FFF2-40B4-BE49-F238E27FC236}">
                    <a16:creationId xmlns:a16="http://schemas.microsoft.com/office/drawing/2014/main" id="{53FA9AF5-601D-4EE5-9565-5D0DBF9FE480}"/>
                  </a:ext>
                </a:extLst>
              </p:cNvPr>
              <p:cNvSpPr/>
              <p:nvPr/>
            </p:nvSpPr>
            <p:spPr>
              <a:xfrm>
                <a:off x="5828472" y="1469563"/>
                <a:ext cx="29006" cy="227985"/>
              </a:xfrm>
              <a:custGeom>
                <a:avLst/>
                <a:gdLst>
                  <a:gd name="connsiteX0" fmla="*/ 29007 w 29006"/>
                  <a:gd name="connsiteY0" fmla="*/ 227985 h 227985"/>
                  <a:gd name="connsiteX1" fmla="*/ 0 w 29006"/>
                  <a:gd name="connsiteY1" fmla="*/ 0 h 227985"/>
                </a:gdLst>
                <a:ahLst/>
                <a:cxnLst>
                  <a:cxn ang="0">
                    <a:pos x="connsiteX0" y="connsiteY0"/>
                  </a:cxn>
                  <a:cxn ang="0">
                    <a:pos x="connsiteX1" y="connsiteY1"/>
                  </a:cxn>
                </a:cxnLst>
                <a:rect l="l" t="t" r="r" b="b"/>
                <a:pathLst>
                  <a:path w="29006" h="227985">
                    <a:moveTo>
                      <a:pt x="29007" y="227985"/>
                    </a:moveTo>
                    <a:lnTo>
                      <a:pt x="0" y="0"/>
                    </a:lnTo>
                  </a:path>
                </a:pathLst>
              </a:custGeom>
              <a:grpFill/>
              <a:ln w="6350" cap="flat">
                <a:solidFill>
                  <a:schemeClr val="bg1">
                    <a:alpha val="80000"/>
                  </a:schemeClr>
                </a:solidFill>
                <a:prstDash val="solid"/>
                <a:miter/>
              </a:ln>
            </p:spPr>
            <p:txBody>
              <a:bodyPr rtlCol="0" anchor="ctr"/>
              <a:lstStyle/>
              <a:p>
                <a:endParaRPr lang="en-GB"/>
              </a:p>
            </p:txBody>
          </p:sp>
          <p:grpSp>
            <p:nvGrpSpPr>
              <p:cNvPr id="9167" name="Graphic 3">
                <a:extLst>
                  <a:ext uri="{FF2B5EF4-FFF2-40B4-BE49-F238E27FC236}">
                    <a16:creationId xmlns:a16="http://schemas.microsoft.com/office/drawing/2014/main" id="{7A37B5C6-3129-4FB4-8290-EB11E06DAEAD}"/>
                  </a:ext>
                </a:extLst>
              </p:cNvPr>
              <p:cNvGrpSpPr/>
              <p:nvPr/>
            </p:nvGrpSpPr>
            <p:grpSpPr>
              <a:xfrm>
                <a:off x="5782660" y="1663040"/>
                <a:ext cx="135642" cy="54065"/>
                <a:chOff x="5782660" y="1663040"/>
                <a:chExt cx="135642" cy="54065"/>
              </a:xfrm>
              <a:grpFill/>
            </p:grpSpPr>
            <p:sp>
              <p:nvSpPr>
                <p:cNvPr id="9201" name="Vrije vorm: vorm 9200">
                  <a:extLst>
                    <a:ext uri="{FF2B5EF4-FFF2-40B4-BE49-F238E27FC236}">
                      <a16:creationId xmlns:a16="http://schemas.microsoft.com/office/drawing/2014/main" id="{E49004DE-062D-4C20-8741-8F0A84957791}"/>
                    </a:ext>
                  </a:extLst>
                </p:cNvPr>
                <p:cNvSpPr/>
                <p:nvPr/>
              </p:nvSpPr>
              <p:spPr>
                <a:xfrm>
                  <a:off x="5782660" y="1697548"/>
                  <a:ext cx="57115" cy="18061"/>
                </a:xfrm>
                <a:custGeom>
                  <a:avLst/>
                  <a:gdLst>
                    <a:gd name="connsiteX0" fmla="*/ 0 w 57115"/>
                    <a:gd name="connsiteY0" fmla="*/ 0 h 18061"/>
                    <a:gd name="connsiteX1" fmla="*/ 57116 w 57115"/>
                    <a:gd name="connsiteY1" fmla="*/ 18062 h 18061"/>
                  </a:gdLst>
                  <a:ahLst/>
                  <a:cxnLst>
                    <a:cxn ang="0">
                      <a:pos x="connsiteX0" y="connsiteY0"/>
                    </a:cxn>
                    <a:cxn ang="0">
                      <a:pos x="connsiteX1" y="connsiteY1"/>
                    </a:cxn>
                  </a:cxnLst>
                  <a:rect l="l" t="t" r="r" b="b"/>
                  <a:pathLst>
                    <a:path w="57115" h="18061">
                      <a:moveTo>
                        <a:pt x="0" y="0"/>
                      </a:moveTo>
                      <a:lnTo>
                        <a:pt x="57116" y="18062"/>
                      </a:lnTo>
                    </a:path>
                  </a:pathLst>
                </a:custGeom>
                <a:grpFill/>
                <a:ln w="6350" cap="flat">
                  <a:solidFill>
                    <a:schemeClr val="bg1">
                      <a:alpha val="80000"/>
                    </a:schemeClr>
                  </a:solidFill>
                  <a:prstDash val="solid"/>
                  <a:miter/>
                </a:ln>
              </p:spPr>
              <p:txBody>
                <a:bodyPr rtlCol="0" anchor="ctr"/>
                <a:lstStyle/>
                <a:p>
                  <a:endParaRPr lang="en-GB"/>
                </a:p>
              </p:txBody>
            </p:sp>
            <p:sp>
              <p:nvSpPr>
                <p:cNvPr id="9202" name="Vrije vorm: vorm 9201">
                  <a:extLst>
                    <a:ext uri="{FF2B5EF4-FFF2-40B4-BE49-F238E27FC236}">
                      <a16:creationId xmlns:a16="http://schemas.microsoft.com/office/drawing/2014/main" id="{B960BB2F-B23F-4647-9182-AB6ABF2ABA89}"/>
                    </a:ext>
                  </a:extLst>
                </p:cNvPr>
                <p:cNvSpPr/>
                <p:nvPr/>
              </p:nvSpPr>
              <p:spPr>
                <a:xfrm>
                  <a:off x="5785949" y="1695216"/>
                  <a:ext cx="52690" cy="15549"/>
                </a:xfrm>
                <a:custGeom>
                  <a:avLst/>
                  <a:gdLst>
                    <a:gd name="connsiteX0" fmla="*/ 0 w 52690"/>
                    <a:gd name="connsiteY0" fmla="*/ 0 h 15549"/>
                    <a:gd name="connsiteX1" fmla="*/ 52690 w 52690"/>
                    <a:gd name="connsiteY1" fmla="*/ 15550 h 15549"/>
                  </a:gdLst>
                  <a:ahLst/>
                  <a:cxnLst>
                    <a:cxn ang="0">
                      <a:pos x="connsiteX0" y="connsiteY0"/>
                    </a:cxn>
                    <a:cxn ang="0">
                      <a:pos x="connsiteX1" y="connsiteY1"/>
                    </a:cxn>
                  </a:cxnLst>
                  <a:rect l="l" t="t" r="r" b="b"/>
                  <a:pathLst>
                    <a:path w="52690" h="15549">
                      <a:moveTo>
                        <a:pt x="0" y="0"/>
                      </a:moveTo>
                      <a:lnTo>
                        <a:pt x="52690" y="15550"/>
                      </a:lnTo>
                    </a:path>
                  </a:pathLst>
                </a:custGeom>
                <a:grpFill/>
                <a:ln w="6350" cap="flat">
                  <a:solidFill>
                    <a:schemeClr val="bg1">
                      <a:alpha val="80000"/>
                    </a:schemeClr>
                  </a:solidFill>
                  <a:prstDash val="solid"/>
                  <a:miter/>
                </a:ln>
              </p:spPr>
              <p:txBody>
                <a:bodyPr rtlCol="0" anchor="ctr"/>
                <a:lstStyle/>
                <a:p>
                  <a:endParaRPr lang="en-GB"/>
                </a:p>
              </p:txBody>
            </p:sp>
            <p:sp>
              <p:nvSpPr>
                <p:cNvPr id="9203" name="Vrije vorm: vorm 9202">
                  <a:extLst>
                    <a:ext uri="{FF2B5EF4-FFF2-40B4-BE49-F238E27FC236}">
                      <a16:creationId xmlns:a16="http://schemas.microsoft.com/office/drawing/2014/main" id="{B4AFDA96-71DA-4716-80A6-60CFF5D63A31}"/>
                    </a:ext>
                  </a:extLst>
                </p:cNvPr>
                <p:cNvSpPr/>
                <p:nvPr/>
              </p:nvSpPr>
              <p:spPr>
                <a:xfrm>
                  <a:off x="5847431" y="1689115"/>
                  <a:ext cx="70871" cy="27989"/>
                </a:xfrm>
                <a:custGeom>
                  <a:avLst/>
                  <a:gdLst>
                    <a:gd name="connsiteX0" fmla="*/ 0 w 70871"/>
                    <a:gd name="connsiteY0" fmla="*/ 27990 h 27989"/>
                    <a:gd name="connsiteX1" fmla="*/ 70871 w 70871"/>
                    <a:gd name="connsiteY1" fmla="*/ 0 h 27989"/>
                  </a:gdLst>
                  <a:ahLst/>
                  <a:cxnLst>
                    <a:cxn ang="0">
                      <a:pos x="connsiteX0" y="connsiteY0"/>
                    </a:cxn>
                    <a:cxn ang="0">
                      <a:pos x="connsiteX1" y="connsiteY1"/>
                    </a:cxn>
                  </a:cxnLst>
                  <a:rect l="l" t="t" r="r" b="b"/>
                  <a:pathLst>
                    <a:path w="70871" h="27989">
                      <a:moveTo>
                        <a:pt x="0" y="27990"/>
                      </a:moveTo>
                      <a:lnTo>
                        <a:pt x="70871" y="0"/>
                      </a:lnTo>
                    </a:path>
                  </a:pathLst>
                </a:custGeom>
                <a:grpFill/>
                <a:ln w="6350" cap="flat">
                  <a:solidFill>
                    <a:schemeClr val="bg1">
                      <a:alpha val="80000"/>
                    </a:schemeClr>
                  </a:solidFill>
                  <a:prstDash val="solid"/>
                  <a:miter/>
                </a:ln>
              </p:spPr>
              <p:txBody>
                <a:bodyPr rtlCol="0" anchor="ctr"/>
                <a:lstStyle/>
                <a:p>
                  <a:endParaRPr lang="en-GB"/>
                </a:p>
              </p:txBody>
            </p:sp>
            <p:sp>
              <p:nvSpPr>
                <p:cNvPr id="9204" name="Vrije vorm: vorm 9203">
                  <a:extLst>
                    <a:ext uri="{FF2B5EF4-FFF2-40B4-BE49-F238E27FC236}">
                      <a16:creationId xmlns:a16="http://schemas.microsoft.com/office/drawing/2014/main" id="{EA73BFB1-D636-44AB-935C-FDFBB5288209}"/>
                    </a:ext>
                  </a:extLst>
                </p:cNvPr>
                <p:cNvSpPr/>
                <p:nvPr/>
              </p:nvSpPr>
              <p:spPr>
                <a:xfrm>
                  <a:off x="5846474" y="1686065"/>
                  <a:ext cx="70632" cy="26016"/>
                </a:xfrm>
                <a:custGeom>
                  <a:avLst/>
                  <a:gdLst>
                    <a:gd name="connsiteX0" fmla="*/ 0 w 70632"/>
                    <a:gd name="connsiteY0" fmla="*/ 26016 h 26016"/>
                    <a:gd name="connsiteX1" fmla="*/ 70632 w 70632"/>
                    <a:gd name="connsiteY1" fmla="*/ 0 h 26016"/>
                  </a:gdLst>
                  <a:ahLst/>
                  <a:cxnLst>
                    <a:cxn ang="0">
                      <a:pos x="connsiteX0" y="connsiteY0"/>
                    </a:cxn>
                    <a:cxn ang="0">
                      <a:pos x="connsiteX1" y="connsiteY1"/>
                    </a:cxn>
                  </a:cxnLst>
                  <a:rect l="l" t="t" r="r" b="b"/>
                  <a:pathLst>
                    <a:path w="70632" h="26016">
                      <a:moveTo>
                        <a:pt x="0" y="26016"/>
                      </a:moveTo>
                      <a:lnTo>
                        <a:pt x="70632" y="0"/>
                      </a:lnTo>
                    </a:path>
                  </a:pathLst>
                </a:custGeom>
                <a:grpFill/>
                <a:ln w="6350" cap="flat">
                  <a:solidFill>
                    <a:schemeClr val="bg1">
                      <a:alpha val="80000"/>
                    </a:schemeClr>
                  </a:solidFill>
                  <a:prstDash val="solid"/>
                  <a:miter/>
                </a:ln>
              </p:spPr>
              <p:txBody>
                <a:bodyPr rtlCol="0" anchor="ctr"/>
                <a:lstStyle/>
                <a:p>
                  <a:endParaRPr lang="en-GB"/>
                </a:p>
              </p:txBody>
            </p:sp>
            <p:sp>
              <p:nvSpPr>
                <p:cNvPr id="9205" name="Vrije vorm: vorm 9204">
                  <a:extLst>
                    <a:ext uri="{FF2B5EF4-FFF2-40B4-BE49-F238E27FC236}">
                      <a16:creationId xmlns:a16="http://schemas.microsoft.com/office/drawing/2014/main" id="{B0602790-490E-4085-B353-DF297235BFF5}"/>
                    </a:ext>
                  </a:extLst>
                </p:cNvPr>
                <p:cNvSpPr/>
                <p:nvPr/>
              </p:nvSpPr>
              <p:spPr>
                <a:xfrm>
                  <a:off x="5861247" y="1667585"/>
                  <a:ext cx="54544" cy="14951"/>
                </a:xfrm>
                <a:custGeom>
                  <a:avLst/>
                  <a:gdLst>
                    <a:gd name="connsiteX0" fmla="*/ 54544 w 54544"/>
                    <a:gd name="connsiteY0" fmla="*/ 14952 h 14951"/>
                    <a:gd name="connsiteX1" fmla="*/ 0 w 54544"/>
                    <a:gd name="connsiteY1" fmla="*/ 0 h 14951"/>
                  </a:gdLst>
                  <a:ahLst/>
                  <a:cxnLst>
                    <a:cxn ang="0">
                      <a:pos x="connsiteX0" y="connsiteY0"/>
                    </a:cxn>
                    <a:cxn ang="0">
                      <a:pos x="connsiteX1" y="connsiteY1"/>
                    </a:cxn>
                  </a:cxnLst>
                  <a:rect l="l" t="t" r="r" b="b"/>
                  <a:pathLst>
                    <a:path w="54544" h="14951">
                      <a:moveTo>
                        <a:pt x="54544" y="14952"/>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206" name="Vrije vorm: vorm 9205">
                  <a:extLst>
                    <a:ext uri="{FF2B5EF4-FFF2-40B4-BE49-F238E27FC236}">
                      <a16:creationId xmlns:a16="http://schemas.microsoft.com/office/drawing/2014/main" id="{7FB4DF43-FBB8-45A4-B0D7-2628C64C51F3}"/>
                    </a:ext>
                  </a:extLst>
                </p:cNvPr>
                <p:cNvSpPr/>
                <p:nvPr/>
              </p:nvSpPr>
              <p:spPr>
                <a:xfrm>
                  <a:off x="5860469" y="1663040"/>
                  <a:ext cx="52869" cy="13157"/>
                </a:xfrm>
                <a:custGeom>
                  <a:avLst/>
                  <a:gdLst>
                    <a:gd name="connsiteX0" fmla="*/ 52870 w 52869"/>
                    <a:gd name="connsiteY0" fmla="*/ 13158 h 13157"/>
                    <a:gd name="connsiteX1" fmla="*/ 0 w 52869"/>
                    <a:gd name="connsiteY1" fmla="*/ 0 h 13157"/>
                  </a:gdLst>
                  <a:ahLst/>
                  <a:cxnLst>
                    <a:cxn ang="0">
                      <a:pos x="connsiteX0" y="connsiteY0"/>
                    </a:cxn>
                    <a:cxn ang="0">
                      <a:pos x="connsiteX1" y="connsiteY1"/>
                    </a:cxn>
                  </a:cxnLst>
                  <a:rect l="l" t="t" r="r" b="b"/>
                  <a:pathLst>
                    <a:path w="52869" h="13157">
                      <a:moveTo>
                        <a:pt x="52870" y="13158"/>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207" name="Vrije vorm: vorm 9206">
                  <a:extLst>
                    <a:ext uri="{FF2B5EF4-FFF2-40B4-BE49-F238E27FC236}">
                      <a16:creationId xmlns:a16="http://schemas.microsoft.com/office/drawing/2014/main" id="{363A97FF-AA7E-4B00-BF65-5B6A12817D38}"/>
                    </a:ext>
                  </a:extLst>
                </p:cNvPr>
                <p:cNvSpPr/>
                <p:nvPr/>
              </p:nvSpPr>
              <p:spPr>
                <a:xfrm>
                  <a:off x="5785949" y="1668303"/>
                  <a:ext cx="67821" cy="26913"/>
                </a:xfrm>
                <a:custGeom>
                  <a:avLst/>
                  <a:gdLst>
                    <a:gd name="connsiteX0" fmla="*/ 0 w 67821"/>
                    <a:gd name="connsiteY0" fmla="*/ 26913 h 26913"/>
                    <a:gd name="connsiteX1" fmla="*/ 67821 w 67821"/>
                    <a:gd name="connsiteY1" fmla="*/ 0 h 26913"/>
                  </a:gdLst>
                  <a:ahLst/>
                  <a:cxnLst>
                    <a:cxn ang="0">
                      <a:pos x="connsiteX0" y="connsiteY0"/>
                    </a:cxn>
                    <a:cxn ang="0">
                      <a:pos x="connsiteX1" y="connsiteY1"/>
                    </a:cxn>
                  </a:cxnLst>
                  <a:rect l="l" t="t" r="r" b="b"/>
                  <a:pathLst>
                    <a:path w="67821" h="26913">
                      <a:moveTo>
                        <a:pt x="0" y="26913"/>
                      </a:moveTo>
                      <a:lnTo>
                        <a:pt x="67821" y="0"/>
                      </a:lnTo>
                    </a:path>
                  </a:pathLst>
                </a:custGeom>
                <a:grpFill/>
                <a:ln w="6350" cap="flat">
                  <a:solidFill>
                    <a:schemeClr val="bg1">
                      <a:alpha val="80000"/>
                    </a:schemeClr>
                  </a:solidFill>
                  <a:prstDash val="solid"/>
                  <a:miter/>
                </a:ln>
              </p:spPr>
              <p:txBody>
                <a:bodyPr rtlCol="0" anchor="ctr"/>
                <a:lstStyle/>
                <a:p>
                  <a:endParaRPr lang="en-GB"/>
                </a:p>
              </p:txBody>
            </p:sp>
            <p:sp>
              <p:nvSpPr>
                <p:cNvPr id="9208" name="Vrije vorm: vorm 9207">
                  <a:extLst>
                    <a:ext uri="{FF2B5EF4-FFF2-40B4-BE49-F238E27FC236}">
                      <a16:creationId xmlns:a16="http://schemas.microsoft.com/office/drawing/2014/main" id="{98775BD2-B035-49A8-BB09-518623457DF2}"/>
                    </a:ext>
                  </a:extLst>
                </p:cNvPr>
                <p:cNvSpPr/>
                <p:nvPr/>
              </p:nvSpPr>
              <p:spPr>
                <a:xfrm>
                  <a:off x="5784035" y="1663757"/>
                  <a:ext cx="69137" cy="26016"/>
                </a:xfrm>
                <a:custGeom>
                  <a:avLst/>
                  <a:gdLst>
                    <a:gd name="connsiteX0" fmla="*/ 0 w 69137"/>
                    <a:gd name="connsiteY0" fmla="*/ 26016 h 26016"/>
                    <a:gd name="connsiteX1" fmla="*/ 69137 w 69137"/>
                    <a:gd name="connsiteY1" fmla="*/ 0 h 26016"/>
                  </a:gdLst>
                  <a:ahLst/>
                  <a:cxnLst>
                    <a:cxn ang="0">
                      <a:pos x="connsiteX0" y="connsiteY0"/>
                    </a:cxn>
                    <a:cxn ang="0">
                      <a:pos x="connsiteX1" y="connsiteY1"/>
                    </a:cxn>
                  </a:cxnLst>
                  <a:rect l="l" t="t" r="r" b="b"/>
                  <a:pathLst>
                    <a:path w="69137" h="26016">
                      <a:moveTo>
                        <a:pt x="0" y="26016"/>
                      </a:moveTo>
                      <a:lnTo>
                        <a:pt x="69137" y="0"/>
                      </a:lnTo>
                    </a:path>
                  </a:pathLst>
                </a:custGeom>
                <a:grpFill/>
                <a:ln w="6350" cap="flat">
                  <a:solidFill>
                    <a:schemeClr val="bg1">
                      <a:alpha val="80000"/>
                    </a:schemeClr>
                  </a:solidFill>
                  <a:prstDash val="solid"/>
                  <a:miter/>
                </a:ln>
              </p:spPr>
              <p:txBody>
                <a:bodyPr rtlCol="0" anchor="ctr"/>
                <a:lstStyle/>
                <a:p>
                  <a:endParaRPr lang="en-GB"/>
                </a:p>
              </p:txBody>
            </p:sp>
          </p:grpSp>
          <p:grpSp>
            <p:nvGrpSpPr>
              <p:cNvPr id="9168" name="Graphic 3">
                <a:extLst>
                  <a:ext uri="{FF2B5EF4-FFF2-40B4-BE49-F238E27FC236}">
                    <a16:creationId xmlns:a16="http://schemas.microsoft.com/office/drawing/2014/main" id="{C2DFED24-C84F-4F56-9080-1499018A9AFA}"/>
                  </a:ext>
                </a:extLst>
              </p:cNvPr>
              <p:cNvGrpSpPr/>
              <p:nvPr/>
            </p:nvGrpSpPr>
            <p:grpSpPr>
              <a:xfrm>
                <a:off x="5790794" y="1618005"/>
                <a:ext cx="108310" cy="34747"/>
                <a:chOff x="5790794" y="1618005"/>
                <a:chExt cx="108310" cy="34747"/>
              </a:xfrm>
              <a:grpFill/>
            </p:grpSpPr>
            <p:sp>
              <p:nvSpPr>
                <p:cNvPr id="9193" name="Vrije vorm: vorm 9192">
                  <a:extLst>
                    <a:ext uri="{FF2B5EF4-FFF2-40B4-BE49-F238E27FC236}">
                      <a16:creationId xmlns:a16="http://schemas.microsoft.com/office/drawing/2014/main" id="{A199E3DA-0BCB-476C-8A49-A9F9593B745B}"/>
                    </a:ext>
                  </a:extLst>
                </p:cNvPr>
                <p:cNvSpPr/>
                <p:nvPr/>
              </p:nvSpPr>
              <p:spPr>
                <a:xfrm>
                  <a:off x="5790794" y="1641270"/>
                  <a:ext cx="45274" cy="10645"/>
                </a:xfrm>
                <a:custGeom>
                  <a:avLst/>
                  <a:gdLst>
                    <a:gd name="connsiteX0" fmla="*/ 0 w 45274"/>
                    <a:gd name="connsiteY0" fmla="*/ 0 h 10645"/>
                    <a:gd name="connsiteX1" fmla="*/ 45274 w 45274"/>
                    <a:gd name="connsiteY1" fmla="*/ 10646 h 10645"/>
                  </a:gdLst>
                  <a:ahLst/>
                  <a:cxnLst>
                    <a:cxn ang="0">
                      <a:pos x="connsiteX0" y="connsiteY0"/>
                    </a:cxn>
                    <a:cxn ang="0">
                      <a:pos x="connsiteX1" y="connsiteY1"/>
                    </a:cxn>
                  </a:cxnLst>
                  <a:rect l="l" t="t" r="r" b="b"/>
                  <a:pathLst>
                    <a:path w="45274" h="10645">
                      <a:moveTo>
                        <a:pt x="0" y="0"/>
                      </a:moveTo>
                      <a:lnTo>
                        <a:pt x="45274" y="10646"/>
                      </a:lnTo>
                    </a:path>
                  </a:pathLst>
                </a:custGeom>
                <a:grpFill/>
                <a:ln w="6350" cap="flat">
                  <a:solidFill>
                    <a:schemeClr val="bg1">
                      <a:alpha val="80000"/>
                    </a:schemeClr>
                  </a:solidFill>
                  <a:prstDash val="solid"/>
                  <a:miter/>
                </a:ln>
              </p:spPr>
              <p:txBody>
                <a:bodyPr rtlCol="0" anchor="ctr"/>
                <a:lstStyle/>
                <a:p>
                  <a:endParaRPr lang="en-GB"/>
                </a:p>
              </p:txBody>
            </p:sp>
            <p:sp>
              <p:nvSpPr>
                <p:cNvPr id="9194" name="Vrije vorm: vorm 9193">
                  <a:extLst>
                    <a:ext uri="{FF2B5EF4-FFF2-40B4-BE49-F238E27FC236}">
                      <a16:creationId xmlns:a16="http://schemas.microsoft.com/office/drawing/2014/main" id="{047927B1-2705-4862-91EF-11E37AC5CE51}"/>
                    </a:ext>
                  </a:extLst>
                </p:cNvPr>
                <p:cNvSpPr/>
                <p:nvPr/>
              </p:nvSpPr>
              <p:spPr>
                <a:xfrm>
                  <a:off x="5793425" y="1639715"/>
                  <a:ext cx="41805" cy="9090"/>
                </a:xfrm>
                <a:custGeom>
                  <a:avLst/>
                  <a:gdLst>
                    <a:gd name="connsiteX0" fmla="*/ 0 w 41805"/>
                    <a:gd name="connsiteY0" fmla="*/ 0 h 9090"/>
                    <a:gd name="connsiteX1" fmla="*/ 41805 w 41805"/>
                    <a:gd name="connsiteY1" fmla="*/ 9091 h 9090"/>
                  </a:gdLst>
                  <a:ahLst/>
                  <a:cxnLst>
                    <a:cxn ang="0">
                      <a:pos x="connsiteX0" y="connsiteY0"/>
                    </a:cxn>
                    <a:cxn ang="0">
                      <a:pos x="connsiteX1" y="connsiteY1"/>
                    </a:cxn>
                  </a:cxnLst>
                  <a:rect l="l" t="t" r="r" b="b"/>
                  <a:pathLst>
                    <a:path w="41805" h="9090">
                      <a:moveTo>
                        <a:pt x="0" y="0"/>
                      </a:moveTo>
                      <a:lnTo>
                        <a:pt x="41805" y="9091"/>
                      </a:lnTo>
                    </a:path>
                  </a:pathLst>
                </a:custGeom>
                <a:grpFill/>
                <a:ln w="6350" cap="flat">
                  <a:solidFill>
                    <a:schemeClr val="bg1">
                      <a:alpha val="80000"/>
                    </a:schemeClr>
                  </a:solidFill>
                  <a:prstDash val="solid"/>
                  <a:miter/>
                </a:ln>
              </p:spPr>
              <p:txBody>
                <a:bodyPr rtlCol="0" anchor="ctr"/>
                <a:lstStyle/>
                <a:p>
                  <a:endParaRPr lang="en-GB"/>
                </a:p>
              </p:txBody>
            </p:sp>
            <p:sp>
              <p:nvSpPr>
                <p:cNvPr id="9195" name="Vrije vorm: vorm 9194">
                  <a:extLst>
                    <a:ext uri="{FF2B5EF4-FFF2-40B4-BE49-F238E27FC236}">
                      <a16:creationId xmlns:a16="http://schemas.microsoft.com/office/drawing/2014/main" id="{3DFB1A80-5353-40C1-8D5D-0A361BD2E117}"/>
                    </a:ext>
                  </a:extLst>
                </p:cNvPr>
                <p:cNvSpPr/>
                <p:nvPr/>
              </p:nvSpPr>
              <p:spPr>
                <a:xfrm>
                  <a:off x="5842108" y="1633734"/>
                  <a:ext cx="56996" cy="19018"/>
                </a:xfrm>
                <a:custGeom>
                  <a:avLst/>
                  <a:gdLst>
                    <a:gd name="connsiteX0" fmla="*/ 0 w 56996"/>
                    <a:gd name="connsiteY0" fmla="*/ 19019 h 19018"/>
                    <a:gd name="connsiteX1" fmla="*/ 56996 w 56996"/>
                    <a:gd name="connsiteY1" fmla="*/ 0 h 19018"/>
                  </a:gdLst>
                  <a:ahLst/>
                  <a:cxnLst>
                    <a:cxn ang="0">
                      <a:pos x="connsiteX0" y="connsiteY0"/>
                    </a:cxn>
                    <a:cxn ang="0">
                      <a:pos x="connsiteX1" y="connsiteY1"/>
                    </a:cxn>
                  </a:cxnLst>
                  <a:rect l="l" t="t" r="r" b="b"/>
                  <a:pathLst>
                    <a:path w="56996" h="19018">
                      <a:moveTo>
                        <a:pt x="0" y="19019"/>
                      </a:moveTo>
                      <a:lnTo>
                        <a:pt x="56996" y="0"/>
                      </a:lnTo>
                    </a:path>
                  </a:pathLst>
                </a:custGeom>
                <a:grpFill/>
                <a:ln w="6350" cap="flat">
                  <a:solidFill>
                    <a:schemeClr val="bg1">
                      <a:alpha val="80000"/>
                    </a:schemeClr>
                  </a:solidFill>
                  <a:prstDash val="solid"/>
                  <a:miter/>
                </a:ln>
              </p:spPr>
              <p:txBody>
                <a:bodyPr rtlCol="0" anchor="ctr"/>
                <a:lstStyle/>
                <a:p>
                  <a:endParaRPr lang="en-GB"/>
                </a:p>
              </p:txBody>
            </p:sp>
            <p:sp>
              <p:nvSpPr>
                <p:cNvPr id="9196" name="Vrije vorm: vorm 9195">
                  <a:extLst>
                    <a:ext uri="{FF2B5EF4-FFF2-40B4-BE49-F238E27FC236}">
                      <a16:creationId xmlns:a16="http://schemas.microsoft.com/office/drawing/2014/main" id="{8781F06F-5369-4FED-BD07-0DEE358634F6}"/>
                    </a:ext>
                  </a:extLst>
                </p:cNvPr>
                <p:cNvSpPr/>
                <p:nvPr/>
              </p:nvSpPr>
              <p:spPr>
                <a:xfrm>
                  <a:off x="5841450" y="1631760"/>
                  <a:ext cx="56757" cy="17762"/>
                </a:xfrm>
                <a:custGeom>
                  <a:avLst/>
                  <a:gdLst>
                    <a:gd name="connsiteX0" fmla="*/ 0 w 56757"/>
                    <a:gd name="connsiteY0" fmla="*/ 17763 h 17762"/>
                    <a:gd name="connsiteX1" fmla="*/ 56757 w 56757"/>
                    <a:gd name="connsiteY1" fmla="*/ 0 h 17762"/>
                  </a:gdLst>
                  <a:ahLst/>
                  <a:cxnLst>
                    <a:cxn ang="0">
                      <a:pos x="connsiteX0" y="connsiteY0"/>
                    </a:cxn>
                    <a:cxn ang="0">
                      <a:pos x="connsiteX1" y="connsiteY1"/>
                    </a:cxn>
                  </a:cxnLst>
                  <a:rect l="l" t="t" r="r" b="b"/>
                  <a:pathLst>
                    <a:path w="56757" h="17762">
                      <a:moveTo>
                        <a:pt x="0" y="17763"/>
                      </a:moveTo>
                      <a:lnTo>
                        <a:pt x="56757" y="0"/>
                      </a:lnTo>
                    </a:path>
                  </a:pathLst>
                </a:custGeom>
                <a:grpFill/>
                <a:ln w="6350" cap="flat">
                  <a:solidFill>
                    <a:schemeClr val="bg1">
                      <a:alpha val="80000"/>
                    </a:schemeClr>
                  </a:solidFill>
                  <a:prstDash val="solid"/>
                  <a:miter/>
                </a:ln>
              </p:spPr>
              <p:txBody>
                <a:bodyPr rtlCol="0" anchor="ctr"/>
                <a:lstStyle/>
                <a:p>
                  <a:endParaRPr lang="en-GB"/>
                </a:p>
              </p:txBody>
            </p:sp>
            <p:sp>
              <p:nvSpPr>
                <p:cNvPr id="9197" name="Vrije vorm: vorm 9196">
                  <a:extLst>
                    <a:ext uri="{FF2B5EF4-FFF2-40B4-BE49-F238E27FC236}">
                      <a16:creationId xmlns:a16="http://schemas.microsoft.com/office/drawing/2014/main" id="{E32221AF-6EC8-4CB7-B36D-B2F00F59B023}"/>
                    </a:ext>
                  </a:extLst>
                </p:cNvPr>
                <p:cNvSpPr/>
                <p:nvPr/>
              </p:nvSpPr>
              <p:spPr>
                <a:xfrm>
                  <a:off x="5853950" y="1620875"/>
                  <a:ext cx="43300" cy="8731"/>
                </a:xfrm>
                <a:custGeom>
                  <a:avLst/>
                  <a:gdLst>
                    <a:gd name="connsiteX0" fmla="*/ 43301 w 43300"/>
                    <a:gd name="connsiteY0" fmla="*/ 8732 h 8731"/>
                    <a:gd name="connsiteX1" fmla="*/ 0 w 43300"/>
                    <a:gd name="connsiteY1" fmla="*/ 0 h 8731"/>
                  </a:gdLst>
                  <a:ahLst/>
                  <a:cxnLst>
                    <a:cxn ang="0">
                      <a:pos x="connsiteX0" y="connsiteY0"/>
                    </a:cxn>
                    <a:cxn ang="0">
                      <a:pos x="connsiteX1" y="connsiteY1"/>
                    </a:cxn>
                  </a:cxnLst>
                  <a:rect l="l" t="t" r="r" b="b"/>
                  <a:pathLst>
                    <a:path w="43300" h="8731">
                      <a:moveTo>
                        <a:pt x="43301" y="8732"/>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198" name="Vrije vorm: vorm 9197">
                  <a:extLst>
                    <a:ext uri="{FF2B5EF4-FFF2-40B4-BE49-F238E27FC236}">
                      <a16:creationId xmlns:a16="http://schemas.microsoft.com/office/drawing/2014/main" id="{6BC32D19-A4A5-459E-B7A0-5405D270E195}"/>
                    </a:ext>
                  </a:extLst>
                </p:cNvPr>
                <p:cNvSpPr/>
                <p:nvPr/>
              </p:nvSpPr>
              <p:spPr>
                <a:xfrm>
                  <a:off x="5853412" y="1618005"/>
                  <a:ext cx="41984" cy="7535"/>
                </a:xfrm>
                <a:custGeom>
                  <a:avLst/>
                  <a:gdLst>
                    <a:gd name="connsiteX0" fmla="*/ 41985 w 41984"/>
                    <a:gd name="connsiteY0" fmla="*/ 7536 h 7535"/>
                    <a:gd name="connsiteX1" fmla="*/ 0 w 41984"/>
                    <a:gd name="connsiteY1" fmla="*/ 0 h 7535"/>
                  </a:gdLst>
                  <a:ahLst/>
                  <a:cxnLst>
                    <a:cxn ang="0">
                      <a:pos x="connsiteX0" y="connsiteY0"/>
                    </a:cxn>
                    <a:cxn ang="0">
                      <a:pos x="connsiteX1" y="connsiteY1"/>
                    </a:cxn>
                  </a:cxnLst>
                  <a:rect l="l" t="t" r="r" b="b"/>
                  <a:pathLst>
                    <a:path w="41984" h="7535">
                      <a:moveTo>
                        <a:pt x="41985" y="7536"/>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199" name="Vrije vorm: vorm 9198">
                  <a:extLst>
                    <a:ext uri="{FF2B5EF4-FFF2-40B4-BE49-F238E27FC236}">
                      <a16:creationId xmlns:a16="http://schemas.microsoft.com/office/drawing/2014/main" id="{253C81E4-F66B-4777-9EFB-BF6B21052E75}"/>
                    </a:ext>
                  </a:extLst>
                </p:cNvPr>
                <p:cNvSpPr/>
                <p:nvPr/>
              </p:nvSpPr>
              <p:spPr>
                <a:xfrm>
                  <a:off x="5793425" y="1621474"/>
                  <a:ext cx="54544" cy="18241"/>
                </a:xfrm>
                <a:custGeom>
                  <a:avLst/>
                  <a:gdLst>
                    <a:gd name="connsiteX0" fmla="*/ 0 w 54544"/>
                    <a:gd name="connsiteY0" fmla="*/ 18241 h 18241"/>
                    <a:gd name="connsiteX1" fmla="*/ 54544 w 54544"/>
                    <a:gd name="connsiteY1" fmla="*/ 0 h 18241"/>
                  </a:gdLst>
                  <a:ahLst/>
                  <a:cxnLst>
                    <a:cxn ang="0">
                      <a:pos x="connsiteX0" y="connsiteY0"/>
                    </a:cxn>
                    <a:cxn ang="0">
                      <a:pos x="connsiteX1" y="connsiteY1"/>
                    </a:cxn>
                  </a:cxnLst>
                  <a:rect l="l" t="t" r="r" b="b"/>
                  <a:pathLst>
                    <a:path w="54544" h="18241">
                      <a:moveTo>
                        <a:pt x="0" y="18241"/>
                      </a:moveTo>
                      <a:lnTo>
                        <a:pt x="54544" y="0"/>
                      </a:lnTo>
                    </a:path>
                  </a:pathLst>
                </a:custGeom>
                <a:grpFill/>
                <a:ln w="6350" cap="flat">
                  <a:solidFill>
                    <a:schemeClr val="bg1">
                      <a:alpha val="80000"/>
                    </a:schemeClr>
                  </a:solidFill>
                  <a:prstDash val="solid"/>
                  <a:miter/>
                </a:ln>
              </p:spPr>
              <p:txBody>
                <a:bodyPr rtlCol="0" anchor="ctr"/>
                <a:lstStyle/>
                <a:p>
                  <a:endParaRPr lang="en-GB"/>
                </a:p>
              </p:txBody>
            </p:sp>
            <p:sp>
              <p:nvSpPr>
                <p:cNvPr id="9200" name="Vrije vorm: vorm 9199">
                  <a:extLst>
                    <a:ext uri="{FF2B5EF4-FFF2-40B4-BE49-F238E27FC236}">
                      <a16:creationId xmlns:a16="http://schemas.microsoft.com/office/drawing/2014/main" id="{D3385EFD-6AC4-4FE7-8A0F-268304B2AF4B}"/>
                    </a:ext>
                  </a:extLst>
                </p:cNvPr>
                <p:cNvSpPr/>
                <p:nvPr/>
              </p:nvSpPr>
              <p:spPr>
                <a:xfrm>
                  <a:off x="5791990" y="1618603"/>
                  <a:ext cx="55560" cy="17702"/>
                </a:xfrm>
                <a:custGeom>
                  <a:avLst/>
                  <a:gdLst>
                    <a:gd name="connsiteX0" fmla="*/ 0 w 55560"/>
                    <a:gd name="connsiteY0" fmla="*/ 17703 h 17702"/>
                    <a:gd name="connsiteX1" fmla="*/ 55561 w 55560"/>
                    <a:gd name="connsiteY1" fmla="*/ 0 h 17702"/>
                  </a:gdLst>
                  <a:ahLst/>
                  <a:cxnLst>
                    <a:cxn ang="0">
                      <a:pos x="connsiteX0" y="connsiteY0"/>
                    </a:cxn>
                    <a:cxn ang="0">
                      <a:pos x="connsiteX1" y="connsiteY1"/>
                    </a:cxn>
                  </a:cxnLst>
                  <a:rect l="l" t="t" r="r" b="b"/>
                  <a:pathLst>
                    <a:path w="55560" h="17702">
                      <a:moveTo>
                        <a:pt x="0" y="17703"/>
                      </a:moveTo>
                      <a:lnTo>
                        <a:pt x="55561" y="0"/>
                      </a:lnTo>
                    </a:path>
                  </a:pathLst>
                </a:custGeom>
                <a:grpFill/>
                <a:ln w="6350" cap="flat">
                  <a:solidFill>
                    <a:schemeClr val="bg1">
                      <a:alpha val="80000"/>
                    </a:schemeClr>
                  </a:solidFill>
                  <a:prstDash val="solid"/>
                  <a:miter/>
                </a:ln>
              </p:spPr>
              <p:txBody>
                <a:bodyPr rtlCol="0" anchor="ctr"/>
                <a:lstStyle/>
                <a:p>
                  <a:endParaRPr lang="en-GB"/>
                </a:p>
              </p:txBody>
            </p:sp>
          </p:grpSp>
          <p:grpSp>
            <p:nvGrpSpPr>
              <p:cNvPr id="9169" name="Graphic 3">
                <a:extLst>
                  <a:ext uri="{FF2B5EF4-FFF2-40B4-BE49-F238E27FC236}">
                    <a16:creationId xmlns:a16="http://schemas.microsoft.com/office/drawing/2014/main" id="{3062EE8A-0A7C-4835-95E0-8AB3207C9F08}"/>
                  </a:ext>
                </a:extLst>
              </p:cNvPr>
              <p:cNvGrpSpPr/>
              <p:nvPr/>
            </p:nvGrpSpPr>
            <p:grpSpPr>
              <a:xfrm>
                <a:off x="5801798" y="1575781"/>
                <a:ext cx="75297" cy="11124"/>
                <a:chOff x="5801798" y="1575781"/>
                <a:chExt cx="75297" cy="11124"/>
              </a:xfrm>
              <a:grpFill/>
            </p:grpSpPr>
            <p:sp>
              <p:nvSpPr>
                <p:cNvPr id="9185" name="Vrije vorm: vorm 9184">
                  <a:extLst>
                    <a:ext uri="{FF2B5EF4-FFF2-40B4-BE49-F238E27FC236}">
                      <a16:creationId xmlns:a16="http://schemas.microsoft.com/office/drawing/2014/main" id="{31FA17B6-767D-4AA6-9C3C-74FE98486D7B}"/>
                    </a:ext>
                  </a:extLst>
                </p:cNvPr>
                <p:cNvSpPr/>
                <p:nvPr/>
              </p:nvSpPr>
              <p:spPr>
                <a:xfrm>
                  <a:off x="5801798" y="1585350"/>
                  <a:ext cx="30980" cy="1554"/>
                </a:xfrm>
                <a:custGeom>
                  <a:avLst/>
                  <a:gdLst>
                    <a:gd name="connsiteX0" fmla="*/ 0 w 30980"/>
                    <a:gd name="connsiteY0" fmla="*/ 0 h 1554"/>
                    <a:gd name="connsiteX1" fmla="*/ 30980 w 30980"/>
                    <a:gd name="connsiteY1" fmla="*/ 1555 h 1554"/>
                  </a:gdLst>
                  <a:ahLst/>
                  <a:cxnLst>
                    <a:cxn ang="0">
                      <a:pos x="connsiteX0" y="connsiteY0"/>
                    </a:cxn>
                    <a:cxn ang="0">
                      <a:pos x="connsiteX1" y="connsiteY1"/>
                    </a:cxn>
                  </a:cxnLst>
                  <a:rect l="l" t="t" r="r" b="b"/>
                  <a:pathLst>
                    <a:path w="30980" h="1554">
                      <a:moveTo>
                        <a:pt x="0" y="0"/>
                      </a:moveTo>
                      <a:lnTo>
                        <a:pt x="30980" y="1555"/>
                      </a:lnTo>
                    </a:path>
                  </a:pathLst>
                </a:custGeom>
                <a:grpFill/>
                <a:ln w="6350" cap="flat">
                  <a:solidFill>
                    <a:schemeClr val="bg1">
                      <a:alpha val="80000"/>
                    </a:schemeClr>
                  </a:solidFill>
                  <a:prstDash val="solid"/>
                  <a:miter/>
                </a:ln>
              </p:spPr>
              <p:txBody>
                <a:bodyPr rtlCol="0" anchor="ctr"/>
                <a:lstStyle/>
                <a:p>
                  <a:endParaRPr lang="en-GB"/>
                </a:p>
              </p:txBody>
            </p:sp>
            <p:sp>
              <p:nvSpPr>
                <p:cNvPr id="9186" name="Vrije vorm: vorm 9185">
                  <a:extLst>
                    <a:ext uri="{FF2B5EF4-FFF2-40B4-BE49-F238E27FC236}">
                      <a16:creationId xmlns:a16="http://schemas.microsoft.com/office/drawing/2014/main" id="{1368E9EF-308E-4A00-92E2-5279AA5D76F8}"/>
                    </a:ext>
                  </a:extLst>
                </p:cNvPr>
                <p:cNvSpPr/>
                <p:nvPr/>
              </p:nvSpPr>
              <p:spPr>
                <a:xfrm>
                  <a:off x="5803712" y="1584752"/>
                  <a:ext cx="28587" cy="1255"/>
                </a:xfrm>
                <a:custGeom>
                  <a:avLst/>
                  <a:gdLst>
                    <a:gd name="connsiteX0" fmla="*/ 0 w 28587"/>
                    <a:gd name="connsiteY0" fmla="*/ 0 h 1255"/>
                    <a:gd name="connsiteX1" fmla="*/ 28588 w 28587"/>
                    <a:gd name="connsiteY1" fmla="*/ 1256 h 1255"/>
                  </a:gdLst>
                  <a:ahLst/>
                  <a:cxnLst>
                    <a:cxn ang="0">
                      <a:pos x="connsiteX0" y="connsiteY0"/>
                    </a:cxn>
                    <a:cxn ang="0">
                      <a:pos x="connsiteX1" y="connsiteY1"/>
                    </a:cxn>
                  </a:cxnLst>
                  <a:rect l="l" t="t" r="r" b="b"/>
                  <a:pathLst>
                    <a:path w="28587" h="1255">
                      <a:moveTo>
                        <a:pt x="0" y="0"/>
                      </a:moveTo>
                      <a:lnTo>
                        <a:pt x="28588" y="1256"/>
                      </a:lnTo>
                    </a:path>
                  </a:pathLst>
                </a:custGeom>
                <a:grpFill/>
                <a:ln w="6350" cap="flat">
                  <a:solidFill>
                    <a:schemeClr val="bg1">
                      <a:alpha val="80000"/>
                    </a:schemeClr>
                  </a:solidFill>
                  <a:prstDash val="solid"/>
                  <a:miter/>
                </a:ln>
              </p:spPr>
              <p:txBody>
                <a:bodyPr rtlCol="0" anchor="ctr"/>
                <a:lstStyle/>
                <a:p>
                  <a:endParaRPr lang="en-GB"/>
                </a:p>
              </p:txBody>
            </p:sp>
            <p:sp>
              <p:nvSpPr>
                <p:cNvPr id="9187" name="Vrije vorm: vorm 9186">
                  <a:extLst>
                    <a:ext uri="{FF2B5EF4-FFF2-40B4-BE49-F238E27FC236}">
                      <a16:creationId xmlns:a16="http://schemas.microsoft.com/office/drawing/2014/main" id="{59F01024-55E5-41D3-B57A-1912E9B4CCB9}"/>
                    </a:ext>
                  </a:extLst>
                </p:cNvPr>
                <p:cNvSpPr/>
                <p:nvPr/>
              </p:nvSpPr>
              <p:spPr>
                <a:xfrm>
                  <a:off x="5836905" y="1578891"/>
                  <a:ext cx="40190" cy="8014"/>
                </a:xfrm>
                <a:custGeom>
                  <a:avLst/>
                  <a:gdLst>
                    <a:gd name="connsiteX0" fmla="*/ 0 w 40190"/>
                    <a:gd name="connsiteY0" fmla="*/ 8014 h 8014"/>
                    <a:gd name="connsiteX1" fmla="*/ 40190 w 40190"/>
                    <a:gd name="connsiteY1" fmla="*/ 0 h 8014"/>
                  </a:gdLst>
                  <a:ahLst/>
                  <a:cxnLst>
                    <a:cxn ang="0">
                      <a:pos x="connsiteX0" y="connsiteY0"/>
                    </a:cxn>
                    <a:cxn ang="0">
                      <a:pos x="connsiteX1" y="connsiteY1"/>
                    </a:cxn>
                  </a:cxnLst>
                  <a:rect l="l" t="t" r="r" b="b"/>
                  <a:pathLst>
                    <a:path w="40190" h="8014">
                      <a:moveTo>
                        <a:pt x="0" y="8014"/>
                      </a:moveTo>
                      <a:lnTo>
                        <a:pt x="40190" y="0"/>
                      </a:lnTo>
                    </a:path>
                  </a:pathLst>
                </a:custGeom>
                <a:grpFill/>
                <a:ln w="6350" cap="flat">
                  <a:solidFill>
                    <a:schemeClr val="bg1">
                      <a:alpha val="80000"/>
                    </a:schemeClr>
                  </a:solidFill>
                  <a:prstDash val="solid"/>
                  <a:miter/>
                </a:ln>
              </p:spPr>
              <p:txBody>
                <a:bodyPr rtlCol="0" anchor="ctr"/>
                <a:lstStyle/>
                <a:p>
                  <a:endParaRPr lang="en-GB"/>
                </a:p>
              </p:txBody>
            </p:sp>
            <p:sp>
              <p:nvSpPr>
                <p:cNvPr id="9188" name="Vrije vorm: vorm 9187">
                  <a:extLst>
                    <a:ext uri="{FF2B5EF4-FFF2-40B4-BE49-F238E27FC236}">
                      <a16:creationId xmlns:a16="http://schemas.microsoft.com/office/drawing/2014/main" id="{67B481D8-EC3B-4386-BE5E-AB199577B72D}"/>
                    </a:ext>
                  </a:extLst>
                </p:cNvPr>
                <p:cNvSpPr/>
                <p:nvPr/>
              </p:nvSpPr>
              <p:spPr>
                <a:xfrm>
                  <a:off x="5836606" y="1578293"/>
                  <a:ext cx="39951" cy="7655"/>
                </a:xfrm>
                <a:custGeom>
                  <a:avLst/>
                  <a:gdLst>
                    <a:gd name="connsiteX0" fmla="*/ 0 w 39951"/>
                    <a:gd name="connsiteY0" fmla="*/ 7655 h 7655"/>
                    <a:gd name="connsiteX1" fmla="*/ 39951 w 39951"/>
                    <a:gd name="connsiteY1" fmla="*/ 0 h 7655"/>
                  </a:gdLst>
                  <a:ahLst/>
                  <a:cxnLst>
                    <a:cxn ang="0">
                      <a:pos x="connsiteX0" y="connsiteY0"/>
                    </a:cxn>
                    <a:cxn ang="0">
                      <a:pos x="connsiteX1" y="connsiteY1"/>
                    </a:cxn>
                  </a:cxnLst>
                  <a:rect l="l" t="t" r="r" b="b"/>
                  <a:pathLst>
                    <a:path w="39951" h="7655">
                      <a:moveTo>
                        <a:pt x="0" y="7655"/>
                      </a:moveTo>
                      <a:lnTo>
                        <a:pt x="39951" y="0"/>
                      </a:lnTo>
                    </a:path>
                  </a:pathLst>
                </a:custGeom>
                <a:grpFill/>
                <a:ln w="6350" cap="flat">
                  <a:solidFill>
                    <a:schemeClr val="bg1">
                      <a:alpha val="80000"/>
                    </a:schemeClr>
                  </a:solidFill>
                  <a:prstDash val="solid"/>
                  <a:miter/>
                </a:ln>
              </p:spPr>
              <p:txBody>
                <a:bodyPr rtlCol="0" anchor="ctr"/>
                <a:lstStyle/>
                <a:p>
                  <a:endParaRPr lang="en-GB"/>
                </a:p>
              </p:txBody>
            </p:sp>
            <p:sp>
              <p:nvSpPr>
                <p:cNvPr id="9189" name="Vrije vorm: vorm 9188">
                  <a:extLst>
                    <a:ext uri="{FF2B5EF4-FFF2-40B4-BE49-F238E27FC236}">
                      <a16:creationId xmlns:a16="http://schemas.microsoft.com/office/drawing/2014/main" id="{618FB11D-6428-4829-B1E5-BC0C440FB351}"/>
                    </a:ext>
                  </a:extLst>
                </p:cNvPr>
                <p:cNvSpPr/>
                <p:nvPr/>
              </p:nvSpPr>
              <p:spPr>
                <a:xfrm>
                  <a:off x="5846295" y="1576678"/>
                  <a:ext cx="29664" cy="1016"/>
                </a:xfrm>
                <a:custGeom>
                  <a:avLst/>
                  <a:gdLst>
                    <a:gd name="connsiteX0" fmla="*/ 29665 w 29664"/>
                    <a:gd name="connsiteY0" fmla="*/ 1017 h 1016"/>
                    <a:gd name="connsiteX1" fmla="*/ 0 w 29664"/>
                    <a:gd name="connsiteY1" fmla="*/ 0 h 1016"/>
                  </a:gdLst>
                  <a:ahLst/>
                  <a:cxnLst>
                    <a:cxn ang="0">
                      <a:pos x="connsiteX0" y="connsiteY0"/>
                    </a:cxn>
                    <a:cxn ang="0">
                      <a:pos x="connsiteX1" y="connsiteY1"/>
                    </a:cxn>
                  </a:cxnLst>
                  <a:rect l="l" t="t" r="r" b="b"/>
                  <a:pathLst>
                    <a:path w="29664" h="1016">
                      <a:moveTo>
                        <a:pt x="29665" y="1017"/>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190" name="Vrije vorm: vorm 9189">
                  <a:extLst>
                    <a:ext uri="{FF2B5EF4-FFF2-40B4-BE49-F238E27FC236}">
                      <a16:creationId xmlns:a16="http://schemas.microsoft.com/office/drawing/2014/main" id="{C634184A-1C6F-4061-85C3-8978AA16AF2D}"/>
                    </a:ext>
                  </a:extLst>
                </p:cNvPr>
                <p:cNvSpPr/>
                <p:nvPr/>
              </p:nvSpPr>
              <p:spPr>
                <a:xfrm>
                  <a:off x="5846056" y="1575781"/>
                  <a:ext cx="28767" cy="717"/>
                </a:xfrm>
                <a:custGeom>
                  <a:avLst/>
                  <a:gdLst>
                    <a:gd name="connsiteX0" fmla="*/ 28767 w 28767"/>
                    <a:gd name="connsiteY0" fmla="*/ 718 h 717"/>
                    <a:gd name="connsiteX1" fmla="*/ 0 w 28767"/>
                    <a:gd name="connsiteY1" fmla="*/ 0 h 717"/>
                  </a:gdLst>
                  <a:ahLst/>
                  <a:cxnLst>
                    <a:cxn ang="0">
                      <a:pos x="connsiteX0" y="connsiteY0"/>
                    </a:cxn>
                    <a:cxn ang="0">
                      <a:pos x="connsiteX1" y="connsiteY1"/>
                    </a:cxn>
                  </a:cxnLst>
                  <a:rect l="l" t="t" r="r" b="b"/>
                  <a:pathLst>
                    <a:path w="28767" h="717">
                      <a:moveTo>
                        <a:pt x="28767" y="718"/>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191" name="Vrije vorm: vorm 9190">
                  <a:extLst>
                    <a:ext uri="{FF2B5EF4-FFF2-40B4-BE49-F238E27FC236}">
                      <a16:creationId xmlns:a16="http://schemas.microsoft.com/office/drawing/2014/main" id="{762E2247-6E05-40F5-BA98-0F2ADFE5E3E3}"/>
                    </a:ext>
                  </a:extLst>
                </p:cNvPr>
                <p:cNvSpPr/>
                <p:nvPr/>
              </p:nvSpPr>
              <p:spPr>
                <a:xfrm>
                  <a:off x="5803712" y="1577037"/>
                  <a:ext cx="38456" cy="7715"/>
                </a:xfrm>
                <a:custGeom>
                  <a:avLst/>
                  <a:gdLst>
                    <a:gd name="connsiteX0" fmla="*/ 0 w 38456"/>
                    <a:gd name="connsiteY0" fmla="*/ 7715 h 7715"/>
                    <a:gd name="connsiteX1" fmla="*/ 38456 w 38456"/>
                    <a:gd name="connsiteY1" fmla="*/ 0 h 7715"/>
                  </a:gdLst>
                  <a:ahLst/>
                  <a:cxnLst>
                    <a:cxn ang="0">
                      <a:pos x="connsiteX0" y="connsiteY0"/>
                    </a:cxn>
                    <a:cxn ang="0">
                      <a:pos x="connsiteX1" y="connsiteY1"/>
                    </a:cxn>
                  </a:cxnLst>
                  <a:rect l="l" t="t" r="r" b="b"/>
                  <a:pathLst>
                    <a:path w="38456" h="7715">
                      <a:moveTo>
                        <a:pt x="0" y="7715"/>
                      </a:moveTo>
                      <a:lnTo>
                        <a:pt x="38456" y="0"/>
                      </a:lnTo>
                    </a:path>
                  </a:pathLst>
                </a:custGeom>
                <a:grpFill/>
                <a:ln w="6350" cap="flat">
                  <a:solidFill>
                    <a:schemeClr val="bg1">
                      <a:alpha val="80000"/>
                    </a:schemeClr>
                  </a:solidFill>
                  <a:prstDash val="solid"/>
                  <a:miter/>
                </a:ln>
              </p:spPr>
              <p:txBody>
                <a:bodyPr rtlCol="0" anchor="ctr"/>
                <a:lstStyle/>
                <a:p>
                  <a:endParaRPr lang="en-GB"/>
                </a:p>
              </p:txBody>
            </p:sp>
            <p:sp>
              <p:nvSpPr>
                <p:cNvPr id="9192" name="Vrije vorm: vorm 9191">
                  <a:extLst>
                    <a:ext uri="{FF2B5EF4-FFF2-40B4-BE49-F238E27FC236}">
                      <a16:creationId xmlns:a16="http://schemas.microsoft.com/office/drawing/2014/main" id="{4C7A9E01-600D-4548-9C08-6C86404B48D5}"/>
                    </a:ext>
                  </a:extLst>
                </p:cNvPr>
                <p:cNvSpPr/>
                <p:nvPr/>
              </p:nvSpPr>
              <p:spPr>
                <a:xfrm>
                  <a:off x="5802875" y="1576199"/>
                  <a:ext cx="39113" cy="7595"/>
                </a:xfrm>
                <a:custGeom>
                  <a:avLst/>
                  <a:gdLst>
                    <a:gd name="connsiteX0" fmla="*/ 0 w 39113"/>
                    <a:gd name="connsiteY0" fmla="*/ 7596 h 7595"/>
                    <a:gd name="connsiteX1" fmla="*/ 39114 w 39113"/>
                    <a:gd name="connsiteY1" fmla="*/ 0 h 7595"/>
                  </a:gdLst>
                  <a:ahLst/>
                  <a:cxnLst>
                    <a:cxn ang="0">
                      <a:pos x="connsiteX0" y="connsiteY0"/>
                    </a:cxn>
                    <a:cxn ang="0">
                      <a:pos x="connsiteX1" y="connsiteY1"/>
                    </a:cxn>
                  </a:cxnLst>
                  <a:rect l="l" t="t" r="r" b="b"/>
                  <a:pathLst>
                    <a:path w="39113" h="7595">
                      <a:moveTo>
                        <a:pt x="0" y="7596"/>
                      </a:moveTo>
                      <a:lnTo>
                        <a:pt x="39114" y="0"/>
                      </a:lnTo>
                    </a:path>
                  </a:pathLst>
                </a:custGeom>
                <a:grpFill/>
                <a:ln w="6350" cap="flat">
                  <a:solidFill>
                    <a:schemeClr val="bg1">
                      <a:alpha val="80000"/>
                    </a:schemeClr>
                  </a:solidFill>
                  <a:prstDash val="solid"/>
                  <a:miter/>
                </a:ln>
              </p:spPr>
              <p:txBody>
                <a:bodyPr rtlCol="0" anchor="ctr"/>
                <a:lstStyle/>
                <a:p>
                  <a:endParaRPr lang="en-GB"/>
                </a:p>
              </p:txBody>
            </p:sp>
          </p:grpSp>
          <p:grpSp>
            <p:nvGrpSpPr>
              <p:cNvPr id="9170" name="Graphic 3">
                <a:extLst>
                  <a:ext uri="{FF2B5EF4-FFF2-40B4-BE49-F238E27FC236}">
                    <a16:creationId xmlns:a16="http://schemas.microsoft.com/office/drawing/2014/main" id="{67A7C2C5-4589-4C8C-832F-7658ADA54763}"/>
                  </a:ext>
                </a:extLst>
              </p:cNvPr>
              <p:cNvGrpSpPr/>
              <p:nvPr/>
            </p:nvGrpSpPr>
            <p:grpSpPr>
              <a:xfrm>
                <a:off x="5821176" y="1516213"/>
                <a:ext cx="32834" cy="7176"/>
                <a:chOff x="5821176" y="1516213"/>
                <a:chExt cx="32834" cy="7176"/>
              </a:xfrm>
              <a:grpFill/>
            </p:grpSpPr>
            <p:sp>
              <p:nvSpPr>
                <p:cNvPr id="9182" name="Vrije vorm: vorm 9181">
                  <a:extLst>
                    <a:ext uri="{FF2B5EF4-FFF2-40B4-BE49-F238E27FC236}">
                      <a16:creationId xmlns:a16="http://schemas.microsoft.com/office/drawing/2014/main" id="{C9E1B78D-C474-4BB0-BADD-3278B7B838AE}"/>
                    </a:ext>
                  </a:extLst>
                </p:cNvPr>
                <p:cNvSpPr/>
                <p:nvPr/>
              </p:nvSpPr>
              <p:spPr>
                <a:xfrm>
                  <a:off x="5827814" y="1517887"/>
                  <a:ext cx="26195" cy="5502"/>
                </a:xfrm>
                <a:custGeom>
                  <a:avLst/>
                  <a:gdLst>
                    <a:gd name="connsiteX0" fmla="*/ 0 w 26195"/>
                    <a:gd name="connsiteY0" fmla="*/ 5502 h 5502"/>
                    <a:gd name="connsiteX1" fmla="*/ 26195 w 26195"/>
                    <a:gd name="connsiteY1" fmla="*/ 0 h 5502"/>
                  </a:gdLst>
                  <a:ahLst/>
                  <a:cxnLst>
                    <a:cxn ang="0">
                      <a:pos x="connsiteX0" y="connsiteY0"/>
                    </a:cxn>
                    <a:cxn ang="0">
                      <a:pos x="connsiteX1" y="connsiteY1"/>
                    </a:cxn>
                  </a:cxnLst>
                  <a:rect l="l" t="t" r="r" b="b"/>
                  <a:pathLst>
                    <a:path w="26195" h="5502">
                      <a:moveTo>
                        <a:pt x="0" y="5502"/>
                      </a:moveTo>
                      <a:lnTo>
                        <a:pt x="26195" y="0"/>
                      </a:lnTo>
                    </a:path>
                  </a:pathLst>
                </a:custGeom>
                <a:grpFill/>
                <a:ln w="6350" cap="flat">
                  <a:solidFill>
                    <a:schemeClr val="bg1">
                      <a:alpha val="80000"/>
                    </a:schemeClr>
                  </a:solidFill>
                  <a:prstDash val="solid"/>
                  <a:miter/>
                </a:ln>
              </p:spPr>
              <p:txBody>
                <a:bodyPr rtlCol="0" anchor="ctr"/>
                <a:lstStyle/>
                <a:p>
                  <a:endParaRPr lang="en-GB"/>
                </a:p>
              </p:txBody>
            </p:sp>
            <p:sp>
              <p:nvSpPr>
                <p:cNvPr id="9183" name="Vrije vorm: vorm 9182">
                  <a:extLst>
                    <a:ext uri="{FF2B5EF4-FFF2-40B4-BE49-F238E27FC236}">
                      <a16:creationId xmlns:a16="http://schemas.microsoft.com/office/drawing/2014/main" id="{DF556100-B4BE-41C6-8DC7-8CED971BE75B}"/>
                    </a:ext>
                  </a:extLst>
                </p:cNvPr>
                <p:cNvSpPr/>
                <p:nvPr/>
              </p:nvSpPr>
              <p:spPr>
                <a:xfrm>
                  <a:off x="5833915" y="1516213"/>
                  <a:ext cx="19317" cy="837"/>
                </a:xfrm>
                <a:custGeom>
                  <a:avLst/>
                  <a:gdLst>
                    <a:gd name="connsiteX0" fmla="*/ 19318 w 19317"/>
                    <a:gd name="connsiteY0" fmla="*/ 837 h 837"/>
                    <a:gd name="connsiteX1" fmla="*/ 0 w 19317"/>
                    <a:gd name="connsiteY1" fmla="*/ 0 h 837"/>
                  </a:gdLst>
                  <a:ahLst/>
                  <a:cxnLst>
                    <a:cxn ang="0">
                      <a:pos x="connsiteX0" y="connsiteY0"/>
                    </a:cxn>
                    <a:cxn ang="0">
                      <a:pos x="connsiteX1" y="connsiteY1"/>
                    </a:cxn>
                  </a:cxnLst>
                  <a:rect l="l" t="t" r="r" b="b"/>
                  <a:pathLst>
                    <a:path w="19317" h="837">
                      <a:moveTo>
                        <a:pt x="19318" y="837"/>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184" name="Vrije vorm: vorm 9183">
                  <a:extLst>
                    <a:ext uri="{FF2B5EF4-FFF2-40B4-BE49-F238E27FC236}">
                      <a16:creationId xmlns:a16="http://schemas.microsoft.com/office/drawing/2014/main" id="{5F4DE113-DF47-45E6-8E14-9B29578D77D3}"/>
                    </a:ext>
                  </a:extLst>
                </p:cNvPr>
                <p:cNvSpPr/>
                <p:nvPr/>
              </p:nvSpPr>
              <p:spPr>
                <a:xfrm>
                  <a:off x="5821176" y="1516452"/>
                  <a:ext cx="10047" cy="2093"/>
                </a:xfrm>
                <a:custGeom>
                  <a:avLst/>
                  <a:gdLst>
                    <a:gd name="connsiteX0" fmla="*/ 0 w 10047"/>
                    <a:gd name="connsiteY0" fmla="*/ 2093 h 2093"/>
                    <a:gd name="connsiteX1" fmla="*/ 10048 w 10047"/>
                    <a:gd name="connsiteY1" fmla="*/ 0 h 2093"/>
                  </a:gdLst>
                  <a:ahLst/>
                  <a:cxnLst>
                    <a:cxn ang="0">
                      <a:pos x="connsiteX0" y="connsiteY0"/>
                    </a:cxn>
                    <a:cxn ang="0">
                      <a:pos x="connsiteX1" y="connsiteY1"/>
                    </a:cxn>
                  </a:cxnLst>
                  <a:rect l="l" t="t" r="r" b="b"/>
                  <a:pathLst>
                    <a:path w="10047" h="2093">
                      <a:moveTo>
                        <a:pt x="0" y="2093"/>
                      </a:moveTo>
                      <a:lnTo>
                        <a:pt x="10048" y="0"/>
                      </a:lnTo>
                    </a:path>
                  </a:pathLst>
                </a:custGeom>
                <a:grpFill/>
                <a:ln w="6350" cap="flat">
                  <a:solidFill>
                    <a:schemeClr val="bg1">
                      <a:alpha val="80000"/>
                    </a:schemeClr>
                  </a:solidFill>
                  <a:prstDash val="solid"/>
                  <a:miter/>
                </a:ln>
              </p:spPr>
              <p:txBody>
                <a:bodyPr rtlCol="0" anchor="ctr"/>
                <a:lstStyle/>
                <a:p>
                  <a:endParaRPr lang="en-GB"/>
                </a:p>
              </p:txBody>
            </p:sp>
          </p:grpSp>
          <p:grpSp>
            <p:nvGrpSpPr>
              <p:cNvPr id="9171" name="Graphic 3">
                <a:extLst>
                  <a:ext uri="{FF2B5EF4-FFF2-40B4-BE49-F238E27FC236}">
                    <a16:creationId xmlns:a16="http://schemas.microsoft.com/office/drawing/2014/main" id="{1E3A4C9B-2607-450D-8175-0309CE1CF3A4}"/>
                  </a:ext>
                </a:extLst>
              </p:cNvPr>
              <p:cNvGrpSpPr/>
              <p:nvPr/>
            </p:nvGrpSpPr>
            <p:grpSpPr>
              <a:xfrm>
                <a:off x="5818903" y="1480568"/>
                <a:ext cx="22188" cy="8313"/>
                <a:chOff x="5818903" y="1480568"/>
                <a:chExt cx="22188" cy="8313"/>
              </a:xfrm>
              <a:grpFill/>
            </p:grpSpPr>
            <p:sp>
              <p:nvSpPr>
                <p:cNvPr id="9178" name="Vrije vorm: vorm 9177">
                  <a:extLst>
                    <a:ext uri="{FF2B5EF4-FFF2-40B4-BE49-F238E27FC236}">
                      <a16:creationId xmlns:a16="http://schemas.microsoft.com/office/drawing/2014/main" id="{A8CDFDC7-2244-4F4A-9B56-51EA6D6A6285}"/>
                    </a:ext>
                  </a:extLst>
                </p:cNvPr>
                <p:cNvSpPr/>
                <p:nvPr/>
              </p:nvSpPr>
              <p:spPr>
                <a:xfrm>
                  <a:off x="5818903" y="1485233"/>
                  <a:ext cx="8851" cy="2631"/>
                </a:xfrm>
                <a:custGeom>
                  <a:avLst/>
                  <a:gdLst>
                    <a:gd name="connsiteX0" fmla="*/ 0 w 8851"/>
                    <a:gd name="connsiteY0" fmla="*/ 0 h 2631"/>
                    <a:gd name="connsiteX1" fmla="*/ 8851 w 8851"/>
                    <a:gd name="connsiteY1" fmla="*/ 2632 h 2631"/>
                  </a:gdLst>
                  <a:ahLst/>
                  <a:cxnLst>
                    <a:cxn ang="0">
                      <a:pos x="connsiteX0" y="connsiteY0"/>
                    </a:cxn>
                    <a:cxn ang="0">
                      <a:pos x="connsiteX1" y="connsiteY1"/>
                    </a:cxn>
                  </a:cxnLst>
                  <a:rect l="l" t="t" r="r" b="b"/>
                  <a:pathLst>
                    <a:path w="8851" h="2631">
                      <a:moveTo>
                        <a:pt x="0" y="0"/>
                      </a:moveTo>
                      <a:lnTo>
                        <a:pt x="8851" y="2632"/>
                      </a:lnTo>
                    </a:path>
                  </a:pathLst>
                </a:custGeom>
                <a:grpFill/>
                <a:ln w="6350" cap="flat">
                  <a:solidFill>
                    <a:schemeClr val="bg1">
                      <a:alpha val="80000"/>
                    </a:schemeClr>
                  </a:solidFill>
                  <a:prstDash val="solid"/>
                  <a:miter/>
                </a:ln>
              </p:spPr>
              <p:txBody>
                <a:bodyPr rtlCol="0" anchor="ctr"/>
                <a:lstStyle/>
                <a:p>
                  <a:endParaRPr lang="en-GB"/>
                </a:p>
              </p:txBody>
            </p:sp>
            <p:sp>
              <p:nvSpPr>
                <p:cNvPr id="9179" name="Vrije vorm: vorm 9178">
                  <a:extLst>
                    <a:ext uri="{FF2B5EF4-FFF2-40B4-BE49-F238E27FC236}">
                      <a16:creationId xmlns:a16="http://schemas.microsoft.com/office/drawing/2014/main" id="{8D812D1B-E7EF-4A1B-BF40-29AEF3E15114}"/>
                    </a:ext>
                  </a:extLst>
                </p:cNvPr>
                <p:cNvSpPr/>
                <p:nvPr/>
              </p:nvSpPr>
              <p:spPr>
                <a:xfrm>
                  <a:off x="5829190" y="1484216"/>
                  <a:ext cx="11901" cy="4664"/>
                </a:xfrm>
                <a:custGeom>
                  <a:avLst/>
                  <a:gdLst>
                    <a:gd name="connsiteX0" fmla="*/ 0 w 11901"/>
                    <a:gd name="connsiteY0" fmla="*/ 4665 h 4664"/>
                    <a:gd name="connsiteX1" fmla="*/ 11902 w 11901"/>
                    <a:gd name="connsiteY1" fmla="*/ 0 h 4664"/>
                  </a:gdLst>
                  <a:ahLst/>
                  <a:cxnLst>
                    <a:cxn ang="0">
                      <a:pos x="connsiteX0" y="connsiteY0"/>
                    </a:cxn>
                    <a:cxn ang="0">
                      <a:pos x="connsiteX1" y="connsiteY1"/>
                    </a:cxn>
                  </a:cxnLst>
                  <a:rect l="l" t="t" r="r" b="b"/>
                  <a:pathLst>
                    <a:path w="11901" h="4664">
                      <a:moveTo>
                        <a:pt x="0" y="4665"/>
                      </a:moveTo>
                      <a:lnTo>
                        <a:pt x="11902" y="0"/>
                      </a:lnTo>
                    </a:path>
                  </a:pathLst>
                </a:custGeom>
                <a:grpFill/>
                <a:ln w="6350" cap="flat">
                  <a:solidFill>
                    <a:schemeClr val="bg1">
                      <a:alpha val="80000"/>
                    </a:schemeClr>
                  </a:solidFill>
                  <a:prstDash val="solid"/>
                  <a:miter/>
                </a:ln>
              </p:spPr>
              <p:txBody>
                <a:bodyPr rtlCol="0" anchor="ctr"/>
                <a:lstStyle/>
                <a:p>
                  <a:endParaRPr lang="en-GB"/>
                </a:p>
              </p:txBody>
            </p:sp>
            <p:sp>
              <p:nvSpPr>
                <p:cNvPr id="9180" name="Vrije vorm: vorm 9179">
                  <a:extLst>
                    <a:ext uri="{FF2B5EF4-FFF2-40B4-BE49-F238E27FC236}">
                      <a16:creationId xmlns:a16="http://schemas.microsoft.com/office/drawing/2014/main" id="{A6E8B768-D686-4BD9-9B6D-F7985EB91BDE}"/>
                    </a:ext>
                  </a:extLst>
                </p:cNvPr>
                <p:cNvSpPr/>
                <p:nvPr/>
              </p:nvSpPr>
              <p:spPr>
                <a:xfrm>
                  <a:off x="5831522" y="1480568"/>
                  <a:ext cx="9150" cy="2511"/>
                </a:xfrm>
                <a:custGeom>
                  <a:avLst/>
                  <a:gdLst>
                    <a:gd name="connsiteX0" fmla="*/ 9151 w 9150"/>
                    <a:gd name="connsiteY0" fmla="*/ 2512 h 2511"/>
                    <a:gd name="connsiteX1" fmla="*/ 0 w 9150"/>
                    <a:gd name="connsiteY1" fmla="*/ 0 h 2511"/>
                  </a:gdLst>
                  <a:ahLst/>
                  <a:cxnLst>
                    <a:cxn ang="0">
                      <a:pos x="connsiteX0" y="connsiteY0"/>
                    </a:cxn>
                    <a:cxn ang="0">
                      <a:pos x="connsiteX1" y="connsiteY1"/>
                    </a:cxn>
                  </a:cxnLst>
                  <a:rect l="l" t="t" r="r" b="b"/>
                  <a:pathLst>
                    <a:path w="9150" h="2511">
                      <a:moveTo>
                        <a:pt x="9151" y="2512"/>
                      </a:moveTo>
                      <a:lnTo>
                        <a:pt x="0" y="0"/>
                      </a:lnTo>
                    </a:path>
                  </a:pathLst>
                </a:custGeom>
                <a:grpFill/>
                <a:ln w="6350" cap="flat">
                  <a:solidFill>
                    <a:schemeClr val="bg1">
                      <a:alpha val="80000"/>
                    </a:schemeClr>
                  </a:solidFill>
                  <a:prstDash val="solid"/>
                  <a:miter/>
                </a:ln>
              </p:spPr>
              <p:txBody>
                <a:bodyPr rtlCol="0" anchor="ctr"/>
                <a:lstStyle/>
                <a:p>
                  <a:endParaRPr lang="en-GB"/>
                </a:p>
              </p:txBody>
            </p:sp>
            <p:sp>
              <p:nvSpPr>
                <p:cNvPr id="9181" name="Vrije vorm: vorm 9180">
                  <a:extLst>
                    <a:ext uri="{FF2B5EF4-FFF2-40B4-BE49-F238E27FC236}">
                      <a16:creationId xmlns:a16="http://schemas.microsoft.com/office/drawing/2014/main" id="{CCFA9B8B-A7BF-4B23-BC0E-16CDD2480287}"/>
                    </a:ext>
                  </a:extLst>
                </p:cNvPr>
                <p:cNvSpPr/>
                <p:nvPr/>
              </p:nvSpPr>
              <p:spPr>
                <a:xfrm>
                  <a:off x="5818903" y="1480687"/>
                  <a:ext cx="11363" cy="4545"/>
                </a:xfrm>
                <a:custGeom>
                  <a:avLst/>
                  <a:gdLst>
                    <a:gd name="connsiteX0" fmla="*/ 0 w 11363"/>
                    <a:gd name="connsiteY0" fmla="*/ 4545 h 4545"/>
                    <a:gd name="connsiteX1" fmla="*/ 11363 w 11363"/>
                    <a:gd name="connsiteY1" fmla="*/ 0 h 4545"/>
                  </a:gdLst>
                  <a:ahLst/>
                  <a:cxnLst>
                    <a:cxn ang="0">
                      <a:pos x="connsiteX0" y="connsiteY0"/>
                    </a:cxn>
                    <a:cxn ang="0">
                      <a:pos x="connsiteX1" y="connsiteY1"/>
                    </a:cxn>
                  </a:cxnLst>
                  <a:rect l="l" t="t" r="r" b="b"/>
                  <a:pathLst>
                    <a:path w="11363" h="4545">
                      <a:moveTo>
                        <a:pt x="0" y="4545"/>
                      </a:moveTo>
                      <a:lnTo>
                        <a:pt x="11363" y="0"/>
                      </a:lnTo>
                    </a:path>
                  </a:pathLst>
                </a:custGeom>
                <a:grpFill/>
                <a:ln w="6350" cap="flat">
                  <a:solidFill>
                    <a:schemeClr val="bg1">
                      <a:alpha val="80000"/>
                    </a:schemeClr>
                  </a:solidFill>
                  <a:prstDash val="solid"/>
                  <a:miter/>
                </a:ln>
              </p:spPr>
              <p:txBody>
                <a:bodyPr rtlCol="0" anchor="ctr"/>
                <a:lstStyle/>
                <a:p>
                  <a:endParaRPr lang="en-GB"/>
                </a:p>
              </p:txBody>
            </p:sp>
          </p:grpSp>
          <p:sp>
            <p:nvSpPr>
              <p:cNvPr id="9172" name="Vrije vorm: vorm 9171">
                <a:extLst>
                  <a:ext uri="{FF2B5EF4-FFF2-40B4-BE49-F238E27FC236}">
                    <a16:creationId xmlns:a16="http://schemas.microsoft.com/office/drawing/2014/main" id="{5E04DC93-D386-4DF8-99C3-0DF7F211559A}"/>
                  </a:ext>
                </a:extLst>
              </p:cNvPr>
              <p:cNvSpPr/>
              <p:nvPr/>
            </p:nvSpPr>
            <p:spPr>
              <a:xfrm>
                <a:off x="5804208" y="1444325"/>
                <a:ext cx="8056" cy="31877"/>
              </a:xfrm>
              <a:custGeom>
                <a:avLst/>
                <a:gdLst>
                  <a:gd name="connsiteX0" fmla="*/ 8057 w 8056"/>
                  <a:gd name="connsiteY0" fmla="*/ 31877 h 31877"/>
                  <a:gd name="connsiteX1" fmla="*/ 102 w 8056"/>
                  <a:gd name="connsiteY1" fmla="*/ 17882 h 31877"/>
                  <a:gd name="connsiteX2" fmla="*/ 7818 w 8056"/>
                  <a:gd name="connsiteY2" fmla="*/ 0 h 31877"/>
                </a:gdLst>
                <a:ahLst/>
                <a:cxnLst>
                  <a:cxn ang="0">
                    <a:pos x="connsiteX0" y="connsiteY0"/>
                  </a:cxn>
                  <a:cxn ang="0">
                    <a:pos x="connsiteX1" y="connsiteY1"/>
                  </a:cxn>
                  <a:cxn ang="0">
                    <a:pos x="connsiteX2" y="connsiteY2"/>
                  </a:cxn>
                </a:cxnLst>
                <a:rect l="l" t="t" r="r" b="b"/>
                <a:pathLst>
                  <a:path w="8056" h="31877">
                    <a:moveTo>
                      <a:pt x="8057" y="31877"/>
                    </a:moveTo>
                    <a:cubicBezTo>
                      <a:pt x="3691" y="28468"/>
                      <a:pt x="701" y="23564"/>
                      <a:pt x="102" y="17882"/>
                    </a:cubicBezTo>
                    <a:cubicBezTo>
                      <a:pt x="-615" y="10945"/>
                      <a:pt x="2495" y="4366"/>
                      <a:pt x="7818" y="0"/>
                    </a:cubicBezTo>
                  </a:path>
                </a:pathLst>
              </a:custGeom>
              <a:grpFill/>
              <a:ln w="6350" cap="flat">
                <a:solidFill>
                  <a:schemeClr val="bg1">
                    <a:alpha val="80000"/>
                  </a:schemeClr>
                </a:solidFill>
                <a:prstDash val="solid"/>
                <a:miter/>
              </a:ln>
            </p:spPr>
            <p:txBody>
              <a:bodyPr rtlCol="0" anchor="ctr"/>
              <a:lstStyle/>
              <a:p>
                <a:endParaRPr lang="en-GB"/>
              </a:p>
            </p:txBody>
          </p:sp>
          <p:sp>
            <p:nvSpPr>
              <p:cNvPr id="9173" name="Vrije vorm: vorm 9172">
                <a:extLst>
                  <a:ext uri="{FF2B5EF4-FFF2-40B4-BE49-F238E27FC236}">
                    <a16:creationId xmlns:a16="http://schemas.microsoft.com/office/drawing/2014/main" id="{43C52737-FABE-4346-AF3C-42FE945CD6DA}"/>
                  </a:ext>
                </a:extLst>
              </p:cNvPr>
              <p:cNvSpPr/>
              <p:nvPr/>
            </p:nvSpPr>
            <p:spPr>
              <a:xfrm>
                <a:off x="5840075" y="1441813"/>
                <a:ext cx="10794" cy="31099"/>
              </a:xfrm>
              <a:custGeom>
                <a:avLst/>
                <a:gdLst>
                  <a:gd name="connsiteX0" fmla="*/ 0 w 10794"/>
                  <a:gd name="connsiteY0" fmla="*/ 0 h 31099"/>
                  <a:gd name="connsiteX1" fmla="*/ 10705 w 10794"/>
                  <a:gd name="connsiteY1" fmla="*/ 15849 h 31099"/>
                  <a:gd name="connsiteX2" fmla="*/ 5681 w 10794"/>
                  <a:gd name="connsiteY2" fmla="*/ 31100 h 31099"/>
                </a:gdLst>
                <a:ahLst/>
                <a:cxnLst>
                  <a:cxn ang="0">
                    <a:pos x="connsiteX0" y="connsiteY0"/>
                  </a:cxn>
                  <a:cxn ang="0">
                    <a:pos x="connsiteX1" y="connsiteY1"/>
                  </a:cxn>
                  <a:cxn ang="0">
                    <a:pos x="connsiteX2" y="connsiteY2"/>
                  </a:cxn>
                </a:cxnLst>
                <a:rect l="l" t="t" r="r" b="b"/>
                <a:pathLst>
                  <a:path w="10794" h="31099">
                    <a:moveTo>
                      <a:pt x="0" y="0"/>
                    </a:moveTo>
                    <a:cubicBezTo>
                      <a:pt x="5861" y="3289"/>
                      <a:pt x="10048" y="9031"/>
                      <a:pt x="10705" y="15849"/>
                    </a:cubicBezTo>
                    <a:cubicBezTo>
                      <a:pt x="11243" y="21531"/>
                      <a:pt x="9330" y="26913"/>
                      <a:pt x="5681" y="31100"/>
                    </a:cubicBezTo>
                  </a:path>
                </a:pathLst>
              </a:custGeom>
              <a:grpFill/>
              <a:ln w="6350" cap="flat">
                <a:solidFill>
                  <a:schemeClr val="bg1">
                    <a:alpha val="80000"/>
                  </a:schemeClr>
                </a:solidFill>
                <a:prstDash val="solid"/>
                <a:miter/>
              </a:ln>
            </p:spPr>
            <p:txBody>
              <a:bodyPr rtlCol="0" anchor="ctr"/>
              <a:lstStyle/>
              <a:p>
                <a:endParaRPr lang="en-GB"/>
              </a:p>
            </p:txBody>
          </p:sp>
          <p:sp>
            <p:nvSpPr>
              <p:cNvPr id="9174" name="Vrije vorm: vorm 9173">
                <a:extLst>
                  <a:ext uri="{FF2B5EF4-FFF2-40B4-BE49-F238E27FC236}">
                    <a16:creationId xmlns:a16="http://schemas.microsoft.com/office/drawing/2014/main" id="{F68B47D2-AD5A-4E18-9D97-FBAC8AED0FDA}"/>
                  </a:ext>
                </a:extLst>
              </p:cNvPr>
              <p:cNvSpPr/>
              <p:nvPr/>
            </p:nvSpPr>
            <p:spPr>
              <a:xfrm>
                <a:off x="5780974" y="1429851"/>
                <a:ext cx="16099" cy="63814"/>
              </a:xfrm>
              <a:custGeom>
                <a:avLst/>
                <a:gdLst>
                  <a:gd name="connsiteX0" fmla="*/ 16100 w 16099"/>
                  <a:gd name="connsiteY0" fmla="*/ 63814 h 63814"/>
                  <a:gd name="connsiteX1" fmla="*/ 191 w 16099"/>
                  <a:gd name="connsiteY1" fmla="*/ 35825 h 63814"/>
                  <a:gd name="connsiteX2" fmla="*/ 15621 w 16099"/>
                  <a:gd name="connsiteY2" fmla="*/ 0 h 63814"/>
                </a:gdLst>
                <a:ahLst/>
                <a:cxnLst>
                  <a:cxn ang="0">
                    <a:pos x="connsiteX0" y="connsiteY0"/>
                  </a:cxn>
                  <a:cxn ang="0">
                    <a:pos x="connsiteX1" y="connsiteY1"/>
                  </a:cxn>
                  <a:cxn ang="0">
                    <a:pos x="connsiteX2" y="connsiteY2"/>
                  </a:cxn>
                </a:cxnLst>
                <a:rect l="l" t="t" r="r" b="b"/>
                <a:pathLst>
                  <a:path w="16099" h="63814">
                    <a:moveTo>
                      <a:pt x="16100" y="63814"/>
                    </a:moveTo>
                    <a:cubicBezTo>
                      <a:pt x="7308" y="56996"/>
                      <a:pt x="1327" y="47188"/>
                      <a:pt x="191" y="35825"/>
                    </a:cubicBezTo>
                    <a:cubicBezTo>
                      <a:pt x="-1185" y="21889"/>
                      <a:pt x="4975" y="8851"/>
                      <a:pt x="15621" y="0"/>
                    </a:cubicBezTo>
                  </a:path>
                </a:pathLst>
              </a:custGeom>
              <a:grpFill/>
              <a:ln w="6350" cap="flat">
                <a:solidFill>
                  <a:schemeClr val="bg1">
                    <a:alpha val="80000"/>
                  </a:schemeClr>
                </a:solidFill>
                <a:prstDash val="solid"/>
                <a:miter/>
              </a:ln>
            </p:spPr>
            <p:txBody>
              <a:bodyPr rtlCol="0" anchor="ctr"/>
              <a:lstStyle/>
              <a:p>
                <a:endParaRPr lang="en-GB"/>
              </a:p>
            </p:txBody>
          </p:sp>
          <p:sp>
            <p:nvSpPr>
              <p:cNvPr id="9175" name="Vrije vorm: vorm 9174">
                <a:extLst>
                  <a:ext uri="{FF2B5EF4-FFF2-40B4-BE49-F238E27FC236}">
                    <a16:creationId xmlns:a16="http://schemas.microsoft.com/office/drawing/2014/main" id="{E8A73379-9732-42B9-80B1-B4B8DCEE1479}"/>
                  </a:ext>
                </a:extLst>
              </p:cNvPr>
              <p:cNvSpPr/>
              <p:nvPr/>
            </p:nvSpPr>
            <p:spPr>
              <a:xfrm>
                <a:off x="5852694" y="1424827"/>
                <a:ext cx="21603" cy="62199"/>
              </a:xfrm>
              <a:custGeom>
                <a:avLst/>
                <a:gdLst>
                  <a:gd name="connsiteX0" fmla="*/ 0 w 21603"/>
                  <a:gd name="connsiteY0" fmla="*/ 0 h 62199"/>
                  <a:gd name="connsiteX1" fmla="*/ 21411 w 21603"/>
                  <a:gd name="connsiteY1" fmla="*/ 31638 h 62199"/>
                  <a:gd name="connsiteX2" fmla="*/ 11363 w 21603"/>
                  <a:gd name="connsiteY2" fmla="*/ 62200 h 62199"/>
                </a:gdLst>
                <a:ahLst/>
                <a:cxnLst>
                  <a:cxn ang="0">
                    <a:pos x="connsiteX0" y="connsiteY0"/>
                  </a:cxn>
                  <a:cxn ang="0">
                    <a:pos x="connsiteX1" y="connsiteY1"/>
                  </a:cxn>
                  <a:cxn ang="0">
                    <a:pos x="connsiteX2" y="connsiteY2"/>
                  </a:cxn>
                </a:cxnLst>
                <a:rect l="l" t="t" r="r" b="b"/>
                <a:pathLst>
                  <a:path w="21603" h="62199">
                    <a:moveTo>
                      <a:pt x="0" y="0"/>
                    </a:moveTo>
                    <a:cubicBezTo>
                      <a:pt x="11782" y="6639"/>
                      <a:pt x="20035" y="18062"/>
                      <a:pt x="21411" y="31638"/>
                    </a:cubicBezTo>
                    <a:cubicBezTo>
                      <a:pt x="22547" y="43001"/>
                      <a:pt x="18600" y="53826"/>
                      <a:pt x="11363" y="62200"/>
                    </a:cubicBezTo>
                  </a:path>
                </a:pathLst>
              </a:custGeom>
              <a:grpFill/>
              <a:ln w="6350" cap="flat">
                <a:solidFill>
                  <a:schemeClr val="bg1">
                    <a:alpha val="80000"/>
                  </a:schemeClr>
                </a:solidFill>
                <a:prstDash val="solid"/>
                <a:miter/>
              </a:ln>
            </p:spPr>
            <p:txBody>
              <a:bodyPr rtlCol="0" anchor="ctr"/>
              <a:lstStyle/>
              <a:p>
                <a:endParaRPr lang="en-GB"/>
              </a:p>
            </p:txBody>
          </p:sp>
          <p:sp>
            <p:nvSpPr>
              <p:cNvPr id="9176" name="Vrije vorm: vorm 9175">
                <a:extLst>
                  <a:ext uri="{FF2B5EF4-FFF2-40B4-BE49-F238E27FC236}">
                    <a16:creationId xmlns:a16="http://schemas.microsoft.com/office/drawing/2014/main" id="{D4E87897-A51D-4966-9AB9-D2F3449A8D9E}"/>
                  </a:ext>
                </a:extLst>
              </p:cNvPr>
              <p:cNvSpPr/>
              <p:nvPr/>
            </p:nvSpPr>
            <p:spPr>
              <a:xfrm>
                <a:off x="5751722" y="1411670"/>
                <a:ext cx="26213" cy="104004"/>
              </a:xfrm>
              <a:custGeom>
                <a:avLst/>
                <a:gdLst>
                  <a:gd name="connsiteX0" fmla="*/ 26214 w 26213"/>
                  <a:gd name="connsiteY0" fmla="*/ 104005 h 104004"/>
                  <a:gd name="connsiteX1" fmla="*/ 317 w 26213"/>
                  <a:gd name="connsiteY1" fmla="*/ 58372 h 104004"/>
                  <a:gd name="connsiteX2" fmla="*/ 25496 w 26213"/>
                  <a:gd name="connsiteY2" fmla="*/ 0 h 104004"/>
                </a:gdLst>
                <a:ahLst/>
                <a:cxnLst>
                  <a:cxn ang="0">
                    <a:pos x="connsiteX0" y="connsiteY0"/>
                  </a:cxn>
                  <a:cxn ang="0">
                    <a:pos x="connsiteX1" y="connsiteY1"/>
                  </a:cxn>
                  <a:cxn ang="0">
                    <a:pos x="connsiteX2" y="connsiteY2"/>
                  </a:cxn>
                </a:cxnLst>
                <a:rect l="l" t="t" r="r" b="b"/>
                <a:pathLst>
                  <a:path w="26213" h="104004">
                    <a:moveTo>
                      <a:pt x="26214" y="104005"/>
                    </a:moveTo>
                    <a:cubicBezTo>
                      <a:pt x="11860" y="92940"/>
                      <a:pt x="2171" y="76912"/>
                      <a:pt x="317" y="58372"/>
                    </a:cubicBezTo>
                    <a:cubicBezTo>
                      <a:pt x="-1956" y="35705"/>
                      <a:pt x="8152" y="14414"/>
                      <a:pt x="25496" y="0"/>
                    </a:cubicBezTo>
                  </a:path>
                </a:pathLst>
              </a:custGeom>
              <a:grpFill/>
              <a:ln w="6350" cap="flat">
                <a:solidFill>
                  <a:schemeClr val="bg1">
                    <a:alpha val="80000"/>
                  </a:schemeClr>
                </a:solidFill>
                <a:prstDash val="solid"/>
                <a:miter/>
              </a:ln>
            </p:spPr>
            <p:txBody>
              <a:bodyPr rtlCol="0" anchor="ctr"/>
              <a:lstStyle/>
              <a:p>
                <a:endParaRPr lang="en-GB"/>
              </a:p>
            </p:txBody>
          </p:sp>
          <p:sp>
            <p:nvSpPr>
              <p:cNvPr id="9177" name="Vrije vorm: vorm 9176">
                <a:extLst>
                  <a:ext uri="{FF2B5EF4-FFF2-40B4-BE49-F238E27FC236}">
                    <a16:creationId xmlns:a16="http://schemas.microsoft.com/office/drawing/2014/main" id="{66BC3C1C-4FF5-46A4-8F4F-1AD9C925A2C8}"/>
                  </a:ext>
                </a:extLst>
              </p:cNvPr>
              <p:cNvSpPr/>
              <p:nvPr/>
            </p:nvSpPr>
            <p:spPr>
              <a:xfrm>
                <a:off x="5868663" y="1403416"/>
                <a:ext cx="35184" cy="101433"/>
              </a:xfrm>
              <a:custGeom>
                <a:avLst/>
                <a:gdLst>
                  <a:gd name="connsiteX0" fmla="*/ 0 w 35184"/>
                  <a:gd name="connsiteY0" fmla="*/ 0 h 101433"/>
                  <a:gd name="connsiteX1" fmla="*/ 34868 w 35184"/>
                  <a:gd name="connsiteY1" fmla="*/ 51614 h 101433"/>
                  <a:gd name="connsiteX2" fmla="*/ 18481 w 35184"/>
                  <a:gd name="connsiteY2" fmla="*/ 101433 h 101433"/>
                </a:gdLst>
                <a:ahLst/>
                <a:cxnLst>
                  <a:cxn ang="0">
                    <a:pos x="connsiteX0" y="connsiteY0"/>
                  </a:cxn>
                  <a:cxn ang="0">
                    <a:pos x="connsiteX1" y="connsiteY1"/>
                  </a:cxn>
                  <a:cxn ang="0">
                    <a:pos x="connsiteX2" y="connsiteY2"/>
                  </a:cxn>
                </a:cxnLst>
                <a:rect l="l" t="t" r="r" b="b"/>
                <a:pathLst>
                  <a:path w="35184" h="101433">
                    <a:moveTo>
                      <a:pt x="0" y="0"/>
                    </a:moveTo>
                    <a:cubicBezTo>
                      <a:pt x="19198" y="10825"/>
                      <a:pt x="32715" y="29425"/>
                      <a:pt x="34868" y="51614"/>
                    </a:cubicBezTo>
                    <a:cubicBezTo>
                      <a:pt x="36722" y="70154"/>
                      <a:pt x="30322" y="87737"/>
                      <a:pt x="18481" y="101433"/>
                    </a:cubicBezTo>
                  </a:path>
                </a:pathLst>
              </a:custGeom>
              <a:grpFill/>
              <a:ln w="6350" cap="flat">
                <a:solidFill>
                  <a:schemeClr val="bg1">
                    <a:alpha val="80000"/>
                  </a:schemeClr>
                </a:solidFill>
                <a:prstDash val="solid"/>
                <a:miter/>
              </a:ln>
            </p:spPr>
            <p:txBody>
              <a:bodyPr rtlCol="0" anchor="ctr"/>
              <a:lstStyle/>
              <a:p>
                <a:endParaRPr lang="en-GB"/>
              </a:p>
            </p:txBody>
          </p:sp>
        </p:grpSp>
        <p:grpSp>
          <p:nvGrpSpPr>
            <p:cNvPr id="8979" name="Graphic 3">
              <a:extLst>
                <a:ext uri="{FF2B5EF4-FFF2-40B4-BE49-F238E27FC236}">
                  <a16:creationId xmlns:a16="http://schemas.microsoft.com/office/drawing/2014/main" id="{66D019B8-34ED-4D6F-B074-43920221522B}"/>
                </a:ext>
              </a:extLst>
            </p:cNvPr>
            <p:cNvGrpSpPr/>
            <p:nvPr/>
          </p:nvGrpSpPr>
          <p:grpSpPr>
            <a:xfrm>
              <a:off x="4479700" y="1908728"/>
              <a:ext cx="150654" cy="209564"/>
              <a:chOff x="4479700" y="1908728"/>
              <a:chExt cx="150654" cy="209564"/>
            </a:xfrm>
            <a:grpFill/>
          </p:grpSpPr>
          <p:sp>
            <p:nvSpPr>
              <p:cNvPr id="9136" name="Vrije vorm: vorm 9135">
                <a:extLst>
                  <a:ext uri="{FF2B5EF4-FFF2-40B4-BE49-F238E27FC236}">
                    <a16:creationId xmlns:a16="http://schemas.microsoft.com/office/drawing/2014/main" id="{0F6F433A-B9CC-4CC7-A88D-55535626D966}"/>
                  </a:ext>
                </a:extLst>
              </p:cNvPr>
              <p:cNvSpPr/>
              <p:nvPr/>
            </p:nvSpPr>
            <p:spPr>
              <a:xfrm>
                <a:off x="4479700" y="1908728"/>
                <a:ext cx="150654" cy="209564"/>
              </a:xfrm>
              <a:custGeom>
                <a:avLst/>
                <a:gdLst>
                  <a:gd name="connsiteX0" fmla="*/ 65429 w 150654"/>
                  <a:gd name="connsiteY0" fmla="*/ 178704 h 209564"/>
                  <a:gd name="connsiteX1" fmla="*/ 65309 w 150654"/>
                  <a:gd name="connsiteY1" fmla="*/ 178644 h 209564"/>
                  <a:gd name="connsiteX2" fmla="*/ 0 w 150654"/>
                  <a:gd name="connsiteY2" fmla="*/ 0 h 209564"/>
                  <a:gd name="connsiteX3" fmla="*/ 85225 w 150654"/>
                  <a:gd name="connsiteY3" fmla="*/ 30861 h 209564"/>
                  <a:gd name="connsiteX4" fmla="*/ 85345 w 150654"/>
                  <a:gd name="connsiteY4" fmla="*/ 30920 h 209564"/>
                  <a:gd name="connsiteX5" fmla="*/ 150654 w 150654"/>
                  <a:gd name="connsiteY5" fmla="*/ 209564 h 209564"/>
                  <a:gd name="connsiteX6" fmla="*/ 65429 w 150654"/>
                  <a:gd name="connsiteY6" fmla="*/ 178704 h 209564"/>
                  <a:gd name="connsiteX7" fmla="*/ 538 w 150654"/>
                  <a:gd name="connsiteY7" fmla="*/ 658 h 209564"/>
                  <a:gd name="connsiteX8" fmla="*/ 65489 w 150654"/>
                  <a:gd name="connsiteY8" fmla="*/ 178226 h 209564"/>
                  <a:gd name="connsiteX9" fmla="*/ 150056 w 150654"/>
                  <a:gd name="connsiteY9" fmla="*/ 208847 h 209564"/>
                  <a:gd name="connsiteX10" fmla="*/ 85106 w 150654"/>
                  <a:gd name="connsiteY10" fmla="*/ 31279 h 209564"/>
                  <a:gd name="connsiteX11" fmla="*/ 538 w 150654"/>
                  <a:gd name="connsiteY11" fmla="*/ 658 h 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654" h="209564">
                    <a:moveTo>
                      <a:pt x="65429" y="178704"/>
                    </a:moveTo>
                    <a:lnTo>
                      <a:pt x="65309" y="178644"/>
                    </a:lnTo>
                    <a:lnTo>
                      <a:pt x="0" y="0"/>
                    </a:lnTo>
                    <a:lnTo>
                      <a:pt x="85225" y="30861"/>
                    </a:lnTo>
                    <a:lnTo>
                      <a:pt x="85345" y="30920"/>
                    </a:lnTo>
                    <a:lnTo>
                      <a:pt x="150654" y="209564"/>
                    </a:lnTo>
                    <a:lnTo>
                      <a:pt x="65429" y="178704"/>
                    </a:lnTo>
                    <a:close/>
                    <a:moveTo>
                      <a:pt x="538" y="658"/>
                    </a:moveTo>
                    <a:lnTo>
                      <a:pt x="65489" y="178226"/>
                    </a:lnTo>
                    <a:lnTo>
                      <a:pt x="150056" y="208847"/>
                    </a:lnTo>
                    <a:lnTo>
                      <a:pt x="85106" y="31279"/>
                    </a:lnTo>
                    <a:lnTo>
                      <a:pt x="538" y="658"/>
                    </a:lnTo>
                    <a:close/>
                  </a:path>
                </a:pathLst>
              </a:custGeom>
              <a:grpFill/>
              <a:ln w="6350" cap="flat">
                <a:solidFill>
                  <a:schemeClr val="bg1">
                    <a:alpha val="80000"/>
                  </a:schemeClr>
                </a:solidFill>
                <a:prstDash val="solid"/>
                <a:miter/>
              </a:ln>
            </p:spPr>
            <p:txBody>
              <a:bodyPr rtlCol="0" anchor="ctr"/>
              <a:lstStyle/>
              <a:p>
                <a:endParaRPr lang="en-GB"/>
              </a:p>
            </p:txBody>
          </p:sp>
          <p:sp>
            <p:nvSpPr>
              <p:cNvPr id="9137" name="Vrije vorm: vorm 9136">
                <a:extLst>
                  <a:ext uri="{FF2B5EF4-FFF2-40B4-BE49-F238E27FC236}">
                    <a16:creationId xmlns:a16="http://schemas.microsoft.com/office/drawing/2014/main" id="{CAA57667-BFAA-4457-BB06-A7007FF2FEB3}"/>
                  </a:ext>
                </a:extLst>
              </p:cNvPr>
              <p:cNvSpPr/>
              <p:nvPr/>
            </p:nvSpPr>
            <p:spPr>
              <a:xfrm>
                <a:off x="4510261" y="1955856"/>
                <a:ext cx="59627" cy="25717"/>
              </a:xfrm>
              <a:custGeom>
                <a:avLst/>
                <a:gdLst>
                  <a:gd name="connsiteX0" fmla="*/ 57833 w 59627"/>
                  <a:gd name="connsiteY0" fmla="*/ 20933 h 25717"/>
                  <a:gd name="connsiteX1" fmla="*/ 59628 w 59627"/>
                  <a:gd name="connsiteY1" fmla="*/ 25717 h 25717"/>
                  <a:gd name="connsiteX2" fmla="*/ 1734 w 59627"/>
                  <a:gd name="connsiteY2" fmla="*/ 4785 h 25717"/>
                  <a:gd name="connsiteX3" fmla="*/ 0 w 59627"/>
                  <a:gd name="connsiteY3" fmla="*/ 0 h 25717"/>
                </a:gdLst>
                <a:ahLst/>
                <a:cxnLst>
                  <a:cxn ang="0">
                    <a:pos x="connsiteX0" y="connsiteY0"/>
                  </a:cxn>
                  <a:cxn ang="0">
                    <a:pos x="connsiteX1" y="connsiteY1"/>
                  </a:cxn>
                  <a:cxn ang="0">
                    <a:pos x="connsiteX2" y="connsiteY2"/>
                  </a:cxn>
                  <a:cxn ang="0">
                    <a:pos x="connsiteX3" y="connsiteY3"/>
                  </a:cxn>
                </a:cxnLst>
                <a:rect l="l" t="t" r="r" b="b"/>
                <a:pathLst>
                  <a:path w="59627" h="25717">
                    <a:moveTo>
                      <a:pt x="57833" y="20933"/>
                    </a:moveTo>
                    <a:lnTo>
                      <a:pt x="59628" y="25717"/>
                    </a:lnTo>
                    <a:lnTo>
                      <a:pt x="1734" y="4785"/>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9138" name="Vrije vorm: vorm 9137">
                <a:extLst>
                  <a:ext uri="{FF2B5EF4-FFF2-40B4-BE49-F238E27FC236}">
                    <a16:creationId xmlns:a16="http://schemas.microsoft.com/office/drawing/2014/main" id="{960827E7-7225-45ED-A9CA-3911EA22A7B2}"/>
                  </a:ext>
                </a:extLst>
              </p:cNvPr>
              <p:cNvSpPr/>
              <p:nvPr/>
            </p:nvSpPr>
            <p:spPr>
              <a:xfrm>
                <a:off x="4518156" y="1977446"/>
                <a:ext cx="59627" cy="25776"/>
              </a:xfrm>
              <a:custGeom>
                <a:avLst/>
                <a:gdLst>
                  <a:gd name="connsiteX0" fmla="*/ 57893 w 59627"/>
                  <a:gd name="connsiteY0" fmla="*/ 20992 h 25776"/>
                  <a:gd name="connsiteX1" fmla="*/ 59628 w 59627"/>
                  <a:gd name="connsiteY1" fmla="*/ 25777 h 25776"/>
                  <a:gd name="connsiteX2" fmla="*/ 1734 w 59627"/>
                  <a:gd name="connsiteY2" fmla="*/ 4844 h 25776"/>
                  <a:gd name="connsiteX3" fmla="*/ 0 w 59627"/>
                  <a:gd name="connsiteY3" fmla="*/ 0 h 25776"/>
                </a:gdLst>
                <a:ahLst/>
                <a:cxnLst>
                  <a:cxn ang="0">
                    <a:pos x="connsiteX0" y="connsiteY0"/>
                  </a:cxn>
                  <a:cxn ang="0">
                    <a:pos x="connsiteX1" y="connsiteY1"/>
                  </a:cxn>
                  <a:cxn ang="0">
                    <a:pos x="connsiteX2" y="connsiteY2"/>
                  </a:cxn>
                  <a:cxn ang="0">
                    <a:pos x="connsiteX3" y="connsiteY3"/>
                  </a:cxn>
                </a:cxnLst>
                <a:rect l="l" t="t" r="r" b="b"/>
                <a:pathLst>
                  <a:path w="59627" h="25776">
                    <a:moveTo>
                      <a:pt x="57893" y="20992"/>
                    </a:moveTo>
                    <a:lnTo>
                      <a:pt x="59628" y="25777"/>
                    </a:lnTo>
                    <a:lnTo>
                      <a:pt x="1734" y="4844"/>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9139" name="Vrije vorm: vorm 9138">
                <a:extLst>
                  <a:ext uri="{FF2B5EF4-FFF2-40B4-BE49-F238E27FC236}">
                    <a16:creationId xmlns:a16="http://schemas.microsoft.com/office/drawing/2014/main" id="{6B016F38-7BCC-41A7-B92C-92342C569083}"/>
                  </a:ext>
                </a:extLst>
              </p:cNvPr>
              <p:cNvSpPr/>
              <p:nvPr/>
            </p:nvSpPr>
            <p:spPr>
              <a:xfrm>
                <a:off x="4526050" y="1999156"/>
                <a:ext cx="59627" cy="25717"/>
              </a:xfrm>
              <a:custGeom>
                <a:avLst/>
                <a:gdLst>
                  <a:gd name="connsiteX0" fmla="*/ 57893 w 59627"/>
                  <a:gd name="connsiteY0" fmla="*/ 20933 h 25717"/>
                  <a:gd name="connsiteX1" fmla="*/ 59628 w 59627"/>
                  <a:gd name="connsiteY1" fmla="*/ 25717 h 25717"/>
                  <a:gd name="connsiteX2" fmla="*/ 1794 w 59627"/>
                  <a:gd name="connsiteY2" fmla="*/ 4785 h 25717"/>
                  <a:gd name="connsiteX3" fmla="*/ 0 w 59627"/>
                  <a:gd name="connsiteY3" fmla="*/ 0 h 25717"/>
                </a:gdLst>
                <a:ahLst/>
                <a:cxnLst>
                  <a:cxn ang="0">
                    <a:pos x="connsiteX0" y="connsiteY0"/>
                  </a:cxn>
                  <a:cxn ang="0">
                    <a:pos x="connsiteX1" y="connsiteY1"/>
                  </a:cxn>
                  <a:cxn ang="0">
                    <a:pos x="connsiteX2" y="connsiteY2"/>
                  </a:cxn>
                  <a:cxn ang="0">
                    <a:pos x="connsiteX3" y="connsiteY3"/>
                  </a:cxn>
                </a:cxnLst>
                <a:rect l="l" t="t" r="r" b="b"/>
                <a:pathLst>
                  <a:path w="59627" h="25717">
                    <a:moveTo>
                      <a:pt x="57893" y="20933"/>
                    </a:moveTo>
                    <a:lnTo>
                      <a:pt x="59628" y="25717"/>
                    </a:lnTo>
                    <a:lnTo>
                      <a:pt x="1794" y="4785"/>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9140" name="Vrije vorm: vorm 9139">
                <a:extLst>
                  <a:ext uri="{FF2B5EF4-FFF2-40B4-BE49-F238E27FC236}">
                    <a16:creationId xmlns:a16="http://schemas.microsoft.com/office/drawing/2014/main" id="{5A1D26F0-BFA4-4911-974A-4D82785C302E}"/>
                  </a:ext>
                </a:extLst>
              </p:cNvPr>
              <p:cNvSpPr/>
              <p:nvPr/>
            </p:nvSpPr>
            <p:spPr>
              <a:xfrm>
                <a:off x="4534005" y="2020746"/>
                <a:ext cx="59567" cy="25776"/>
              </a:xfrm>
              <a:custGeom>
                <a:avLst/>
                <a:gdLst>
                  <a:gd name="connsiteX0" fmla="*/ 57833 w 59567"/>
                  <a:gd name="connsiteY0" fmla="*/ 20992 h 25776"/>
                  <a:gd name="connsiteX1" fmla="*/ 59568 w 59567"/>
                  <a:gd name="connsiteY1" fmla="*/ 25777 h 25776"/>
                  <a:gd name="connsiteX2" fmla="*/ 1734 w 59567"/>
                  <a:gd name="connsiteY2" fmla="*/ 4785 h 25776"/>
                  <a:gd name="connsiteX3" fmla="*/ 0 w 59567"/>
                  <a:gd name="connsiteY3" fmla="*/ 0 h 25776"/>
                </a:gdLst>
                <a:ahLst/>
                <a:cxnLst>
                  <a:cxn ang="0">
                    <a:pos x="connsiteX0" y="connsiteY0"/>
                  </a:cxn>
                  <a:cxn ang="0">
                    <a:pos x="connsiteX1" y="connsiteY1"/>
                  </a:cxn>
                  <a:cxn ang="0">
                    <a:pos x="connsiteX2" y="connsiteY2"/>
                  </a:cxn>
                  <a:cxn ang="0">
                    <a:pos x="connsiteX3" y="connsiteY3"/>
                  </a:cxn>
                </a:cxnLst>
                <a:rect l="l" t="t" r="r" b="b"/>
                <a:pathLst>
                  <a:path w="59567" h="25776">
                    <a:moveTo>
                      <a:pt x="57833" y="20992"/>
                    </a:moveTo>
                    <a:lnTo>
                      <a:pt x="59568" y="25777"/>
                    </a:lnTo>
                    <a:lnTo>
                      <a:pt x="1734" y="4785"/>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9141" name="Vrije vorm: vorm 9140">
                <a:extLst>
                  <a:ext uri="{FF2B5EF4-FFF2-40B4-BE49-F238E27FC236}">
                    <a16:creationId xmlns:a16="http://schemas.microsoft.com/office/drawing/2014/main" id="{3CEEF1B4-156B-4A9C-A8E5-3F1CEE8C85EA}"/>
                  </a:ext>
                </a:extLst>
              </p:cNvPr>
              <p:cNvSpPr/>
              <p:nvPr/>
            </p:nvSpPr>
            <p:spPr>
              <a:xfrm>
                <a:off x="4541122" y="2040244"/>
                <a:ext cx="59567" cy="25717"/>
              </a:xfrm>
              <a:custGeom>
                <a:avLst/>
                <a:gdLst>
                  <a:gd name="connsiteX0" fmla="*/ 57833 w 59567"/>
                  <a:gd name="connsiteY0" fmla="*/ 20933 h 25717"/>
                  <a:gd name="connsiteX1" fmla="*/ 59568 w 59567"/>
                  <a:gd name="connsiteY1" fmla="*/ 25717 h 25717"/>
                  <a:gd name="connsiteX2" fmla="*/ 1734 w 59567"/>
                  <a:gd name="connsiteY2" fmla="*/ 4785 h 25717"/>
                  <a:gd name="connsiteX3" fmla="*/ 0 w 59567"/>
                  <a:gd name="connsiteY3" fmla="*/ 0 h 25717"/>
                </a:gdLst>
                <a:ahLst/>
                <a:cxnLst>
                  <a:cxn ang="0">
                    <a:pos x="connsiteX0" y="connsiteY0"/>
                  </a:cxn>
                  <a:cxn ang="0">
                    <a:pos x="connsiteX1" y="connsiteY1"/>
                  </a:cxn>
                  <a:cxn ang="0">
                    <a:pos x="connsiteX2" y="connsiteY2"/>
                  </a:cxn>
                  <a:cxn ang="0">
                    <a:pos x="connsiteX3" y="connsiteY3"/>
                  </a:cxn>
                </a:cxnLst>
                <a:rect l="l" t="t" r="r" b="b"/>
                <a:pathLst>
                  <a:path w="59567" h="25717">
                    <a:moveTo>
                      <a:pt x="57833" y="20933"/>
                    </a:moveTo>
                    <a:lnTo>
                      <a:pt x="59568" y="25717"/>
                    </a:lnTo>
                    <a:lnTo>
                      <a:pt x="1734" y="4785"/>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9142" name="Vrije vorm: vorm 9141">
                <a:extLst>
                  <a:ext uri="{FF2B5EF4-FFF2-40B4-BE49-F238E27FC236}">
                    <a16:creationId xmlns:a16="http://schemas.microsoft.com/office/drawing/2014/main" id="{59B8B788-DF9C-43FA-8ED7-62B2CCECF08A}"/>
                  </a:ext>
                </a:extLst>
              </p:cNvPr>
              <p:cNvSpPr/>
              <p:nvPr/>
            </p:nvSpPr>
            <p:spPr>
              <a:xfrm>
                <a:off x="4548179" y="2059681"/>
                <a:ext cx="59627" cy="25717"/>
              </a:xfrm>
              <a:custGeom>
                <a:avLst/>
                <a:gdLst>
                  <a:gd name="connsiteX0" fmla="*/ 57893 w 59627"/>
                  <a:gd name="connsiteY0" fmla="*/ 20933 h 25717"/>
                  <a:gd name="connsiteX1" fmla="*/ 59628 w 59627"/>
                  <a:gd name="connsiteY1" fmla="*/ 25717 h 25717"/>
                  <a:gd name="connsiteX2" fmla="*/ 1794 w 59627"/>
                  <a:gd name="connsiteY2" fmla="*/ 4785 h 25717"/>
                  <a:gd name="connsiteX3" fmla="*/ 0 w 59627"/>
                  <a:gd name="connsiteY3" fmla="*/ 0 h 25717"/>
                </a:gdLst>
                <a:ahLst/>
                <a:cxnLst>
                  <a:cxn ang="0">
                    <a:pos x="connsiteX0" y="connsiteY0"/>
                  </a:cxn>
                  <a:cxn ang="0">
                    <a:pos x="connsiteX1" y="connsiteY1"/>
                  </a:cxn>
                  <a:cxn ang="0">
                    <a:pos x="connsiteX2" y="connsiteY2"/>
                  </a:cxn>
                  <a:cxn ang="0">
                    <a:pos x="connsiteX3" y="connsiteY3"/>
                  </a:cxn>
                </a:cxnLst>
                <a:rect l="l" t="t" r="r" b="b"/>
                <a:pathLst>
                  <a:path w="59627" h="25717">
                    <a:moveTo>
                      <a:pt x="57893" y="20933"/>
                    </a:moveTo>
                    <a:lnTo>
                      <a:pt x="59628" y="25717"/>
                    </a:lnTo>
                    <a:lnTo>
                      <a:pt x="1794" y="4785"/>
                    </a:lnTo>
                    <a:lnTo>
                      <a:pt x="0" y="0"/>
                    </a:lnTo>
                    <a:close/>
                  </a:path>
                </a:pathLst>
              </a:custGeom>
              <a:grpFill/>
              <a:ln w="6350" cap="flat">
                <a:solidFill>
                  <a:schemeClr val="bg1">
                    <a:alpha val="80000"/>
                  </a:schemeClr>
                </a:solidFill>
                <a:prstDash val="solid"/>
                <a:miter/>
              </a:ln>
            </p:spPr>
            <p:txBody>
              <a:bodyPr rtlCol="0" anchor="ctr"/>
              <a:lstStyle/>
              <a:p>
                <a:endParaRPr lang="en-GB"/>
              </a:p>
            </p:txBody>
          </p:sp>
          <p:sp>
            <p:nvSpPr>
              <p:cNvPr id="9143" name="Vrije vorm: vorm 9142">
                <a:extLst>
                  <a:ext uri="{FF2B5EF4-FFF2-40B4-BE49-F238E27FC236}">
                    <a16:creationId xmlns:a16="http://schemas.microsoft.com/office/drawing/2014/main" id="{FE62CC09-F76A-49C5-8954-8362DD70F64B}"/>
                  </a:ext>
                </a:extLst>
              </p:cNvPr>
              <p:cNvSpPr/>
              <p:nvPr/>
            </p:nvSpPr>
            <p:spPr>
              <a:xfrm>
                <a:off x="4502780" y="1953334"/>
                <a:ext cx="5811" cy="7375"/>
              </a:xfrm>
              <a:custGeom>
                <a:avLst/>
                <a:gdLst>
                  <a:gd name="connsiteX0" fmla="*/ 5507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7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7" y="4615"/>
                    </a:moveTo>
                    <a:cubicBezTo>
                      <a:pt x="6225" y="6588"/>
                      <a:pt x="5627" y="7784"/>
                      <a:pt x="4192" y="7246"/>
                    </a:cubicBezTo>
                    <a:cubicBezTo>
                      <a:pt x="2756" y="6708"/>
                      <a:pt x="1022" y="4675"/>
                      <a:pt x="304" y="2761"/>
                    </a:cubicBezTo>
                    <a:cubicBezTo>
                      <a:pt x="-414" y="787"/>
                      <a:pt x="185" y="-409"/>
                      <a:pt x="1620" y="129"/>
                    </a:cubicBezTo>
                    <a:cubicBezTo>
                      <a:pt x="2995" y="667"/>
                      <a:pt x="4730" y="2641"/>
                      <a:pt x="5507" y="461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44" name="Vrije vorm: vorm 9143">
                <a:extLst>
                  <a:ext uri="{FF2B5EF4-FFF2-40B4-BE49-F238E27FC236}">
                    <a16:creationId xmlns:a16="http://schemas.microsoft.com/office/drawing/2014/main" id="{450B937A-0527-4F6B-A4B5-BAD4F6D580BB}"/>
                  </a:ext>
                </a:extLst>
              </p:cNvPr>
              <p:cNvSpPr/>
              <p:nvPr/>
            </p:nvSpPr>
            <p:spPr>
              <a:xfrm>
                <a:off x="4510675" y="1974984"/>
                <a:ext cx="5811" cy="7375"/>
              </a:xfrm>
              <a:custGeom>
                <a:avLst/>
                <a:gdLst>
                  <a:gd name="connsiteX0" fmla="*/ 5507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7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7" y="4615"/>
                    </a:moveTo>
                    <a:cubicBezTo>
                      <a:pt x="6225" y="6588"/>
                      <a:pt x="5627" y="7784"/>
                      <a:pt x="4192" y="7246"/>
                    </a:cubicBezTo>
                    <a:cubicBezTo>
                      <a:pt x="2756" y="6708"/>
                      <a:pt x="1022" y="4674"/>
                      <a:pt x="304" y="2761"/>
                    </a:cubicBezTo>
                    <a:cubicBezTo>
                      <a:pt x="-414" y="787"/>
                      <a:pt x="185" y="-409"/>
                      <a:pt x="1620" y="129"/>
                    </a:cubicBezTo>
                    <a:cubicBezTo>
                      <a:pt x="2995" y="608"/>
                      <a:pt x="4790" y="2641"/>
                      <a:pt x="5507" y="461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45" name="Vrije vorm: vorm 9144">
                <a:extLst>
                  <a:ext uri="{FF2B5EF4-FFF2-40B4-BE49-F238E27FC236}">
                    <a16:creationId xmlns:a16="http://schemas.microsoft.com/office/drawing/2014/main" id="{AA2772A0-BCF1-4865-87C3-F71971BDB38C}"/>
                  </a:ext>
                </a:extLst>
              </p:cNvPr>
              <p:cNvSpPr/>
              <p:nvPr/>
            </p:nvSpPr>
            <p:spPr>
              <a:xfrm>
                <a:off x="4518808" y="1997352"/>
                <a:ext cx="5811" cy="7375"/>
              </a:xfrm>
              <a:custGeom>
                <a:avLst/>
                <a:gdLst>
                  <a:gd name="connsiteX0" fmla="*/ 5508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8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8" y="4615"/>
                    </a:moveTo>
                    <a:cubicBezTo>
                      <a:pt x="6225" y="6588"/>
                      <a:pt x="5627" y="7784"/>
                      <a:pt x="4192" y="7246"/>
                    </a:cubicBezTo>
                    <a:cubicBezTo>
                      <a:pt x="2756" y="6708"/>
                      <a:pt x="1022" y="4675"/>
                      <a:pt x="304" y="2761"/>
                    </a:cubicBezTo>
                    <a:cubicBezTo>
                      <a:pt x="-414" y="787"/>
                      <a:pt x="185" y="-409"/>
                      <a:pt x="1620" y="129"/>
                    </a:cubicBezTo>
                    <a:cubicBezTo>
                      <a:pt x="3055" y="608"/>
                      <a:pt x="4790" y="2641"/>
                      <a:pt x="5508" y="461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46" name="Vrije vorm: vorm 9145">
                <a:extLst>
                  <a:ext uri="{FF2B5EF4-FFF2-40B4-BE49-F238E27FC236}">
                    <a16:creationId xmlns:a16="http://schemas.microsoft.com/office/drawing/2014/main" id="{CE5BC200-A301-4DFB-A774-A102E3034D6D}"/>
                  </a:ext>
                </a:extLst>
              </p:cNvPr>
              <p:cNvSpPr/>
              <p:nvPr/>
            </p:nvSpPr>
            <p:spPr>
              <a:xfrm>
                <a:off x="4526763" y="2018943"/>
                <a:ext cx="5811" cy="7375"/>
              </a:xfrm>
              <a:custGeom>
                <a:avLst/>
                <a:gdLst>
                  <a:gd name="connsiteX0" fmla="*/ 5507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7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7" y="4615"/>
                    </a:moveTo>
                    <a:cubicBezTo>
                      <a:pt x="6225" y="6588"/>
                      <a:pt x="5627" y="7784"/>
                      <a:pt x="4192" y="7246"/>
                    </a:cubicBezTo>
                    <a:cubicBezTo>
                      <a:pt x="2756" y="6708"/>
                      <a:pt x="1022" y="4675"/>
                      <a:pt x="304" y="2761"/>
                    </a:cubicBezTo>
                    <a:cubicBezTo>
                      <a:pt x="-414" y="787"/>
                      <a:pt x="184" y="-409"/>
                      <a:pt x="1620" y="129"/>
                    </a:cubicBezTo>
                    <a:cubicBezTo>
                      <a:pt x="2996" y="667"/>
                      <a:pt x="4790" y="2701"/>
                      <a:pt x="5507" y="461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47" name="Vrije vorm: vorm 9146">
                <a:extLst>
                  <a:ext uri="{FF2B5EF4-FFF2-40B4-BE49-F238E27FC236}">
                    <a16:creationId xmlns:a16="http://schemas.microsoft.com/office/drawing/2014/main" id="{881341DA-DF1E-4DB8-B82E-9D1162492DA2}"/>
                  </a:ext>
                </a:extLst>
              </p:cNvPr>
              <p:cNvSpPr/>
              <p:nvPr/>
            </p:nvSpPr>
            <p:spPr>
              <a:xfrm>
                <a:off x="4534119" y="2039217"/>
                <a:ext cx="5811" cy="7375"/>
              </a:xfrm>
              <a:custGeom>
                <a:avLst/>
                <a:gdLst>
                  <a:gd name="connsiteX0" fmla="*/ 5508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8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8" y="4615"/>
                    </a:moveTo>
                    <a:cubicBezTo>
                      <a:pt x="6225" y="6588"/>
                      <a:pt x="5627" y="7784"/>
                      <a:pt x="4192" y="7246"/>
                    </a:cubicBezTo>
                    <a:cubicBezTo>
                      <a:pt x="2756" y="6708"/>
                      <a:pt x="1022" y="4675"/>
                      <a:pt x="304" y="2761"/>
                    </a:cubicBezTo>
                    <a:cubicBezTo>
                      <a:pt x="-414" y="787"/>
                      <a:pt x="185" y="-409"/>
                      <a:pt x="1620" y="129"/>
                    </a:cubicBezTo>
                    <a:cubicBezTo>
                      <a:pt x="3055" y="608"/>
                      <a:pt x="4790" y="2641"/>
                      <a:pt x="5508" y="461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48" name="Vrije vorm: vorm 9147">
                <a:extLst>
                  <a:ext uri="{FF2B5EF4-FFF2-40B4-BE49-F238E27FC236}">
                    <a16:creationId xmlns:a16="http://schemas.microsoft.com/office/drawing/2014/main" id="{E0B2B514-CE51-4F40-8666-3BCD3117FB7B}"/>
                  </a:ext>
                </a:extLst>
              </p:cNvPr>
              <p:cNvSpPr/>
              <p:nvPr/>
            </p:nvSpPr>
            <p:spPr>
              <a:xfrm>
                <a:off x="4540937" y="2057877"/>
                <a:ext cx="5811" cy="7375"/>
              </a:xfrm>
              <a:custGeom>
                <a:avLst/>
                <a:gdLst>
                  <a:gd name="connsiteX0" fmla="*/ 5507 w 5811"/>
                  <a:gd name="connsiteY0" fmla="*/ 4615 h 7375"/>
                  <a:gd name="connsiteX1" fmla="*/ 4192 w 5811"/>
                  <a:gd name="connsiteY1" fmla="*/ 7246 h 7375"/>
                  <a:gd name="connsiteX2" fmla="*/ 304 w 5811"/>
                  <a:gd name="connsiteY2" fmla="*/ 2761 h 7375"/>
                  <a:gd name="connsiteX3" fmla="*/ 1620 w 5811"/>
                  <a:gd name="connsiteY3" fmla="*/ 129 h 7375"/>
                  <a:gd name="connsiteX4" fmla="*/ 5507 w 5811"/>
                  <a:gd name="connsiteY4" fmla="*/ 4615 h 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1" h="7375">
                    <a:moveTo>
                      <a:pt x="5507" y="4615"/>
                    </a:moveTo>
                    <a:cubicBezTo>
                      <a:pt x="6225" y="6588"/>
                      <a:pt x="5627" y="7784"/>
                      <a:pt x="4192" y="7246"/>
                    </a:cubicBezTo>
                    <a:cubicBezTo>
                      <a:pt x="2756" y="6708"/>
                      <a:pt x="1022" y="4674"/>
                      <a:pt x="304" y="2761"/>
                    </a:cubicBezTo>
                    <a:cubicBezTo>
                      <a:pt x="-414" y="787"/>
                      <a:pt x="185" y="-409"/>
                      <a:pt x="1620" y="129"/>
                    </a:cubicBezTo>
                    <a:cubicBezTo>
                      <a:pt x="3055" y="608"/>
                      <a:pt x="4790" y="2641"/>
                      <a:pt x="5507" y="4615"/>
                    </a:cubicBez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8980" name="Graphic 3">
              <a:extLst>
                <a:ext uri="{FF2B5EF4-FFF2-40B4-BE49-F238E27FC236}">
                  <a16:creationId xmlns:a16="http://schemas.microsoft.com/office/drawing/2014/main" id="{D79498E1-9641-4923-8498-50FE672438C3}"/>
                </a:ext>
              </a:extLst>
            </p:cNvPr>
            <p:cNvGrpSpPr/>
            <p:nvPr/>
          </p:nvGrpSpPr>
          <p:grpSpPr>
            <a:xfrm>
              <a:off x="6187173" y="1624732"/>
              <a:ext cx="33423" cy="119884"/>
              <a:chOff x="6187173" y="1624732"/>
              <a:chExt cx="33423" cy="119884"/>
            </a:xfrm>
            <a:grpFill/>
          </p:grpSpPr>
          <p:sp>
            <p:nvSpPr>
              <p:cNvPr id="9121" name="Vrije vorm: vorm 9120">
                <a:extLst>
                  <a:ext uri="{FF2B5EF4-FFF2-40B4-BE49-F238E27FC236}">
                    <a16:creationId xmlns:a16="http://schemas.microsoft.com/office/drawing/2014/main" id="{4FA1DA8E-D510-481C-BF23-ABA35AA8B470}"/>
                  </a:ext>
                </a:extLst>
              </p:cNvPr>
              <p:cNvSpPr/>
              <p:nvPr/>
            </p:nvSpPr>
            <p:spPr>
              <a:xfrm>
                <a:off x="6187173" y="1646283"/>
                <a:ext cx="33423" cy="48035"/>
              </a:xfrm>
              <a:custGeom>
                <a:avLst/>
                <a:gdLst>
                  <a:gd name="connsiteX0" fmla="*/ 5047 w 33423"/>
                  <a:gd name="connsiteY0" fmla="*/ 47916 h 48035"/>
                  <a:gd name="connsiteX1" fmla="*/ 1040 w 33423"/>
                  <a:gd name="connsiteY1" fmla="*/ 43610 h 48035"/>
                  <a:gd name="connsiteX2" fmla="*/ 861 w 33423"/>
                  <a:gd name="connsiteY2" fmla="*/ 29435 h 48035"/>
                  <a:gd name="connsiteX3" fmla="*/ 1638 w 33423"/>
                  <a:gd name="connsiteY3" fmla="*/ 23156 h 48035"/>
                  <a:gd name="connsiteX4" fmla="*/ 1817 w 33423"/>
                  <a:gd name="connsiteY4" fmla="*/ 17893 h 48035"/>
                  <a:gd name="connsiteX5" fmla="*/ 2954 w 33423"/>
                  <a:gd name="connsiteY5" fmla="*/ 6410 h 48035"/>
                  <a:gd name="connsiteX6" fmla="*/ 17248 w 33423"/>
                  <a:gd name="connsiteY6" fmla="*/ 10 h 48035"/>
                  <a:gd name="connsiteX7" fmla="*/ 32259 w 33423"/>
                  <a:gd name="connsiteY7" fmla="*/ 6470 h 48035"/>
                  <a:gd name="connsiteX8" fmla="*/ 33216 w 33423"/>
                  <a:gd name="connsiteY8" fmla="*/ 24830 h 48035"/>
                  <a:gd name="connsiteX9" fmla="*/ 33156 w 33423"/>
                  <a:gd name="connsiteY9" fmla="*/ 25787 h 48035"/>
                  <a:gd name="connsiteX10" fmla="*/ 31003 w 33423"/>
                  <a:gd name="connsiteY10" fmla="*/ 32007 h 48035"/>
                  <a:gd name="connsiteX11" fmla="*/ 26518 w 33423"/>
                  <a:gd name="connsiteY11" fmla="*/ 31888 h 48035"/>
                  <a:gd name="connsiteX12" fmla="*/ 14616 w 33423"/>
                  <a:gd name="connsiteY12" fmla="*/ 21541 h 48035"/>
                  <a:gd name="connsiteX13" fmla="*/ 12762 w 33423"/>
                  <a:gd name="connsiteY13" fmla="*/ 16697 h 48035"/>
                  <a:gd name="connsiteX14" fmla="*/ 13121 w 33423"/>
                  <a:gd name="connsiteY14" fmla="*/ 15859 h 48035"/>
                  <a:gd name="connsiteX15" fmla="*/ 14078 w 33423"/>
                  <a:gd name="connsiteY15" fmla="*/ 15680 h 48035"/>
                  <a:gd name="connsiteX16" fmla="*/ 17068 w 33423"/>
                  <a:gd name="connsiteY16" fmla="*/ 15919 h 48035"/>
                  <a:gd name="connsiteX17" fmla="*/ 20298 w 33423"/>
                  <a:gd name="connsiteY17" fmla="*/ 14783 h 48035"/>
                  <a:gd name="connsiteX18" fmla="*/ 21554 w 33423"/>
                  <a:gd name="connsiteY18" fmla="*/ 15740 h 48035"/>
                  <a:gd name="connsiteX19" fmla="*/ 22092 w 33423"/>
                  <a:gd name="connsiteY19" fmla="*/ 17654 h 48035"/>
                  <a:gd name="connsiteX20" fmla="*/ 23109 w 33423"/>
                  <a:gd name="connsiteY20" fmla="*/ 20644 h 48035"/>
                  <a:gd name="connsiteX21" fmla="*/ 27714 w 33423"/>
                  <a:gd name="connsiteY21" fmla="*/ 23993 h 48035"/>
                  <a:gd name="connsiteX22" fmla="*/ 28133 w 33423"/>
                  <a:gd name="connsiteY22" fmla="*/ 25249 h 48035"/>
                  <a:gd name="connsiteX23" fmla="*/ 26757 w 33423"/>
                  <a:gd name="connsiteY23" fmla="*/ 25608 h 48035"/>
                  <a:gd name="connsiteX24" fmla="*/ 21614 w 33423"/>
                  <a:gd name="connsiteY24" fmla="*/ 21900 h 48035"/>
                  <a:gd name="connsiteX25" fmla="*/ 20059 w 33423"/>
                  <a:gd name="connsiteY25" fmla="*/ 17953 h 48035"/>
                  <a:gd name="connsiteX26" fmla="*/ 19760 w 33423"/>
                  <a:gd name="connsiteY26" fmla="*/ 16637 h 48035"/>
                  <a:gd name="connsiteX27" fmla="*/ 18384 w 33423"/>
                  <a:gd name="connsiteY27" fmla="*/ 17414 h 48035"/>
                  <a:gd name="connsiteX28" fmla="*/ 15214 w 33423"/>
                  <a:gd name="connsiteY28" fmla="*/ 17833 h 48035"/>
                  <a:gd name="connsiteX29" fmla="*/ 16470 w 33423"/>
                  <a:gd name="connsiteY29" fmla="*/ 20704 h 48035"/>
                  <a:gd name="connsiteX30" fmla="*/ 27295 w 33423"/>
                  <a:gd name="connsiteY30" fmla="*/ 30153 h 48035"/>
                  <a:gd name="connsiteX31" fmla="*/ 29927 w 33423"/>
                  <a:gd name="connsiteY31" fmla="*/ 30452 h 48035"/>
                  <a:gd name="connsiteX32" fmla="*/ 31123 w 33423"/>
                  <a:gd name="connsiteY32" fmla="*/ 25727 h 48035"/>
                  <a:gd name="connsiteX33" fmla="*/ 31183 w 33423"/>
                  <a:gd name="connsiteY33" fmla="*/ 24711 h 48035"/>
                  <a:gd name="connsiteX34" fmla="*/ 30286 w 33423"/>
                  <a:gd name="connsiteY34" fmla="*/ 7008 h 48035"/>
                  <a:gd name="connsiteX35" fmla="*/ 17248 w 33423"/>
                  <a:gd name="connsiteY35" fmla="*/ 1924 h 48035"/>
                  <a:gd name="connsiteX36" fmla="*/ 4987 w 33423"/>
                  <a:gd name="connsiteY36" fmla="*/ 6948 h 48035"/>
                  <a:gd name="connsiteX37" fmla="*/ 3970 w 33423"/>
                  <a:gd name="connsiteY37" fmla="*/ 17953 h 48035"/>
                  <a:gd name="connsiteX38" fmla="*/ 3791 w 33423"/>
                  <a:gd name="connsiteY38" fmla="*/ 23335 h 48035"/>
                  <a:gd name="connsiteX39" fmla="*/ 3014 w 33423"/>
                  <a:gd name="connsiteY39" fmla="*/ 29735 h 48035"/>
                  <a:gd name="connsiteX40" fmla="*/ 3014 w 33423"/>
                  <a:gd name="connsiteY40" fmla="*/ 42892 h 48035"/>
                  <a:gd name="connsiteX41" fmla="*/ 5406 w 33423"/>
                  <a:gd name="connsiteY41" fmla="*/ 46182 h 48035"/>
                  <a:gd name="connsiteX42" fmla="*/ 6243 w 33423"/>
                  <a:gd name="connsiteY42" fmla="*/ 46959 h 48035"/>
                  <a:gd name="connsiteX43" fmla="*/ 5346 w 33423"/>
                  <a:gd name="connsiteY43" fmla="*/ 48036 h 48035"/>
                  <a:gd name="connsiteX44" fmla="*/ 5047 w 33423"/>
                  <a:gd name="connsiteY44" fmla="*/ 47916 h 48035"/>
                  <a:gd name="connsiteX45" fmla="*/ 5286 w 33423"/>
                  <a:gd name="connsiteY45" fmla="*/ 46122 h 48035"/>
                  <a:gd name="connsiteX46" fmla="*/ 5286 w 33423"/>
                  <a:gd name="connsiteY46" fmla="*/ 46122 h 48035"/>
                  <a:gd name="connsiteX47" fmla="*/ 5286 w 33423"/>
                  <a:gd name="connsiteY47" fmla="*/ 46122 h 48035"/>
                  <a:gd name="connsiteX48" fmla="*/ 4927 w 33423"/>
                  <a:gd name="connsiteY48" fmla="*/ 46062 h 48035"/>
                  <a:gd name="connsiteX49" fmla="*/ 4927 w 33423"/>
                  <a:gd name="connsiteY49" fmla="*/ 46062 h 48035"/>
                  <a:gd name="connsiteX50" fmla="*/ 4927 w 33423"/>
                  <a:gd name="connsiteY50" fmla="*/ 46062 h 48035"/>
                  <a:gd name="connsiteX51" fmla="*/ 4927 w 33423"/>
                  <a:gd name="connsiteY51" fmla="*/ 46062 h 48035"/>
                  <a:gd name="connsiteX52" fmla="*/ 4927 w 33423"/>
                  <a:gd name="connsiteY52" fmla="*/ 46062 h 48035"/>
                  <a:gd name="connsiteX53" fmla="*/ 4927 w 33423"/>
                  <a:gd name="connsiteY53" fmla="*/ 46062 h 48035"/>
                  <a:gd name="connsiteX54" fmla="*/ 4927 w 33423"/>
                  <a:gd name="connsiteY54" fmla="*/ 46062 h 48035"/>
                  <a:gd name="connsiteX55" fmla="*/ 4927 w 33423"/>
                  <a:gd name="connsiteY55" fmla="*/ 46062 h 48035"/>
                  <a:gd name="connsiteX56" fmla="*/ 4927 w 33423"/>
                  <a:gd name="connsiteY56" fmla="*/ 46062 h 48035"/>
                  <a:gd name="connsiteX57" fmla="*/ 4927 w 33423"/>
                  <a:gd name="connsiteY57" fmla="*/ 46062 h 48035"/>
                  <a:gd name="connsiteX58" fmla="*/ 4927 w 33423"/>
                  <a:gd name="connsiteY58" fmla="*/ 46062 h 48035"/>
                  <a:gd name="connsiteX59" fmla="*/ 4927 w 33423"/>
                  <a:gd name="connsiteY59" fmla="*/ 46062 h 48035"/>
                  <a:gd name="connsiteX60" fmla="*/ 4927 w 33423"/>
                  <a:gd name="connsiteY60" fmla="*/ 46062 h 48035"/>
                  <a:gd name="connsiteX61" fmla="*/ 4927 w 33423"/>
                  <a:gd name="connsiteY61" fmla="*/ 46062 h 48035"/>
                  <a:gd name="connsiteX62" fmla="*/ 4927 w 33423"/>
                  <a:gd name="connsiteY62" fmla="*/ 46062 h 4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3423" h="48035">
                    <a:moveTo>
                      <a:pt x="5047" y="47916"/>
                    </a:moveTo>
                    <a:cubicBezTo>
                      <a:pt x="3910" y="47916"/>
                      <a:pt x="2595" y="46421"/>
                      <a:pt x="1040" y="43610"/>
                    </a:cubicBezTo>
                    <a:cubicBezTo>
                      <a:pt x="-635" y="40500"/>
                      <a:pt x="23" y="35356"/>
                      <a:pt x="861" y="29435"/>
                    </a:cubicBezTo>
                    <a:cubicBezTo>
                      <a:pt x="1160" y="27342"/>
                      <a:pt x="1399" y="25249"/>
                      <a:pt x="1638" y="23156"/>
                    </a:cubicBezTo>
                    <a:cubicBezTo>
                      <a:pt x="1758" y="21601"/>
                      <a:pt x="1817" y="19807"/>
                      <a:pt x="1817" y="17893"/>
                    </a:cubicBezTo>
                    <a:cubicBezTo>
                      <a:pt x="1877" y="14125"/>
                      <a:pt x="1937" y="9819"/>
                      <a:pt x="2954" y="6410"/>
                    </a:cubicBezTo>
                    <a:cubicBezTo>
                      <a:pt x="4270" y="1984"/>
                      <a:pt x="9114" y="-169"/>
                      <a:pt x="17248" y="10"/>
                    </a:cubicBezTo>
                    <a:cubicBezTo>
                      <a:pt x="21733" y="130"/>
                      <a:pt x="30645" y="1625"/>
                      <a:pt x="32259" y="6470"/>
                    </a:cubicBezTo>
                    <a:cubicBezTo>
                      <a:pt x="33695" y="10895"/>
                      <a:pt x="33515" y="20405"/>
                      <a:pt x="33216" y="24830"/>
                    </a:cubicBezTo>
                    <a:cubicBezTo>
                      <a:pt x="33216" y="25129"/>
                      <a:pt x="33156" y="25488"/>
                      <a:pt x="33156" y="25787"/>
                    </a:cubicBezTo>
                    <a:cubicBezTo>
                      <a:pt x="33037" y="28419"/>
                      <a:pt x="32857" y="30931"/>
                      <a:pt x="31003" y="32007"/>
                    </a:cubicBezTo>
                    <a:cubicBezTo>
                      <a:pt x="29867" y="32665"/>
                      <a:pt x="28432" y="32605"/>
                      <a:pt x="26518" y="31888"/>
                    </a:cubicBezTo>
                    <a:cubicBezTo>
                      <a:pt x="21195" y="29854"/>
                      <a:pt x="16291" y="24531"/>
                      <a:pt x="14616" y="21541"/>
                    </a:cubicBezTo>
                    <a:cubicBezTo>
                      <a:pt x="13061" y="18790"/>
                      <a:pt x="12762" y="16816"/>
                      <a:pt x="12762" y="16697"/>
                    </a:cubicBezTo>
                    <a:cubicBezTo>
                      <a:pt x="12702" y="16398"/>
                      <a:pt x="12822" y="16039"/>
                      <a:pt x="13121" y="15859"/>
                    </a:cubicBezTo>
                    <a:cubicBezTo>
                      <a:pt x="13360" y="15680"/>
                      <a:pt x="13779" y="15560"/>
                      <a:pt x="14078" y="15680"/>
                    </a:cubicBezTo>
                    <a:cubicBezTo>
                      <a:pt x="15274" y="16039"/>
                      <a:pt x="16769" y="16158"/>
                      <a:pt x="17068" y="15919"/>
                    </a:cubicBezTo>
                    <a:cubicBezTo>
                      <a:pt x="18444" y="14962"/>
                      <a:pt x="19461" y="14603"/>
                      <a:pt x="20298" y="14783"/>
                    </a:cubicBezTo>
                    <a:cubicBezTo>
                      <a:pt x="20836" y="14902"/>
                      <a:pt x="21255" y="15201"/>
                      <a:pt x="21554" y="15740"/>
                    </a:cubicBezTo>
                    <a:cubicBezTo>
                      <a:pt x="21793" y="16218"/>
                      <a:pt x="21913" y="16816"/>
                      <a:pt x="22092" y="17654"/>
                    </a:cubicBezTo>
                    <a:cubicBezTo>
                      <a:pt x="22331" y="18730"/>
                      <a:pt x="22571" y="20165"/>
                      <a:pt x="23109" y="20644"/>
                    </a:cubicBezTo>
                    <a:cubicBezTo>
                      <a:pt x="24245" y="21720"/>
                      <a:pt x="27176" y="23754"/>
                      <a:pt x="27714" y="23993"/>
                    </a:cubicBezTo>
                    <a:cubicBezTo>
                      <a:pt x="28193" y="24232"/>
                      <a:pt x="28432" y="24771"/>
                      <a:pt x="28133" y="25249"/>
                    </a:cubicBezTo>
                    <a:cubicBezTo>
                      <a:pt x="27893" y="25727"/>
                      <a:pt x="27235" y="25847"/>
                      <a:pt x="26757" y="25608"/>
                    </a:cubicBezTo>
                    <a:cubicBezTo>
                      <a:pt x="25920" y="25189"/>
                      <a:pt x="22810" y="23036"/>
                      <a:pt x="21614" y="21900"/>
                    </a:cubicBezTo>
                    <a:cubicBezTo>
                      <a:pt x="20657" y="21003"/>
                      <a:pt x="20298" y="19388"/>
                      <a:pt x="20059" y="17953"/>
                    </a:cubicBezTo>
                    <a:cubicBezTo>
                      <a:pt x="19939" y="17474"/>
                      <a:pt x="19879" y="16936"/>
                      <a:pt x="19760" y="16637"/>
                    </a:cubicBezTo>
                    <a:cubicBezTo>
                      <a:pt x="19580" y="16697"/>
                      <a:pt x="19102" y="16876"/>
                      <a:pt x="18384" y="17414"/>
                    </a:cubicBezTo>
                    <a:cubicBezTo>
                      <a:pt x="17547" y="18012"/>
                      <a:pt x="16291" y="18012"/>
                      <a:pt x="15214" y="17833"/>
                    </a:cubicBezTo>
                    <a:cubicBezTo>
                      <a:pt x="15454" y="18551"/>
                      <a:pt x="15872" y="19567"/>
                      <a:pt x="16470" y="20704"/>
                    </a:cubicBezTo>
                    <a:cubicBezTo>
                      <a:pt x="17786" y="23036"/>
                      <a:pt x="22271" y="28239"/>
                      <a:pt x="27295" y="30153"/>
                    </a:cubicBezTo>
                    <a:cubicBezTo>
                      <a:pt x="28133" y="30452"/>
                      <a:pt x="29269" y="30811"/>
                      <a:pt x="29927" y="30452"/>
                    </a:cubicBezTo>
                    <a:cubicBezTo>
                      <a:pt x="30884" y="29914"/>
                      <a:pt x="31003" y="27701"/>
                      <a:pt x="31123" y="25727"/>
                    </a:cubicBezTo>
                    <a:cubicBezTo>
                      <a:pt x="31123" y="25369"/>
                      <a:pt x="31183" y="25070"/>
                      <a:pt x="31183" y="24711"/>
                    </a:cubicBezTo>
                    <a:cubicBezTo>
                      <a:pt x="31482" y="20405"/>
                      <a:pt x="31661" y="11194"/>
                      <a:pt x="30286" y="7008"/>
                    </a:cubicBezTo>
                    <a:cubicBezTo>
                      <a:pt x="29149" y="3479"/>
                      <a:pt x="21673" y="1984"/>
                      <a:pt x="17248" y="1924"/>
                    </a:cubicBezTo>
                    <a:cubicBezTo>
                      <a:pt x="10191" y="1745"/>
                      <a:pt x="6064" y="3479"/>
                      <a:pt x="4987" y="6948"/>
                    </a:cubicBezTo>
                    <a:cubicBezTo>
                      <a:pt x="4030" y="10118"/>
                      <a:pt x="3970" y="14304"/>
                      <a:pt x="3970" y="17953"/>
                    </a:cubicBezTo>
                    <a:cubicBezTo>
                      <a:pt x="3970" y="19926"/>
                      <a:pt x="3910" y="21720"/>
                      <a:pt x="3791" y="23335"/>
                    </a:cubicBezTo>
                    <a:cubicBezTo>
                      <a:pt x="3612" y="25488"/>
                      <a:pt x="3313" y="27641"/>
                      <a:pt x="3014" y="29735"/>
                    </a:cubicBezTo>
                    <a:cubicBezTo>
                      <a:pt x="2296" y="35117"/>
                      <a:pt x="1578" y="40261"/>
                      <a:pt x="3014" y="42892"/>
                    </a:cubicBezTo>
                    <a:cubicBezTo>
                      <a:pt x="4449" y="45524"/>
                      <a:pt x="5226" y="46062"/>
                      <a:pt x="5406" y="46182"/>
                    </a:cubicBezTo>
                    <a:cubicBezTo>
                      <a:pt x="5824" y="46241"/>
                      <a:pt x="6183" y="46540"/>
                      <a:pt x="6243" y="46959"/>
                    </a:cubicBezTo>
                    <a:cubicBezTo>
                      <a:pt x="6303" y="47497"/>
                      <a:pt x="5944" y="47916"/>
                      <a:pt x="5346" y="48036"/>
                    </a:cubicBezTo>
                    <a:cubicBezTo>
                      <a:pt x="5167" y="47916"/>
                      <a:pt x="5107" y="47916"/>
                      <a:pt x="5047" y="47916"/>
                    </a:cubicBezTo>
                    <a:close/>
                    <a:moveTo>
                      <a:pt x="5286" y="46122"/>
                    </a:moveTo>
                    <a:lnTo>
                      <a:pt x="5286" y="46122"/>
                    </a:lnTo>
                    <a:lnTo>
                      <a:pt x="5286" y="46122"/>
                    </a:lnTo>
                    <a:close/>
                    <a:moveTo>
                      <a:pt x="4927" y="46062"/>
                    </a:moveTo>
                    <a:cubicBezTo>
                      <a:pt x="4927" y="46062"/>
                      <a:pt x="4927" y="46062"/>
                      <a:pt x="4927" y="46062"/>
                    </a:cubicBezTo>
                    <a:cubicBezTo>
                      <a:pt x="4927" y="46062"/>
                      <a:pt x="4927" y="46062"/>
                      <a:pt x="4927" y="46062"/>
                    </a:cubicBezTo>
                    <a:close/>
                    <a:moveTo>
                      <a:pt x="4927" y="46062"/>
                    </a:moveTo>
                    <a:cubicBezTo>
                      <a:pt x="4927" y="46062"/>
                      <a:pt x="4927" y="46062"/>
                      <a:pt x="4927" y="46062"/>
                    </a:cubicBezTo>
                    <a:cubicBezTo>
                      <a:pt x="4927" y="46062"/>
                      <a:pt x="4927" y="46062"/>
                      <a:pt x="4927" y="46062"/>
                    </a:cubicBezTo>
                    <a:close/>
                    <a:moveTo>
                      <a:pt x="4927" y="46062"/>
                    </a:moveTo>
                    <a:cubicBezTo>
                      <a:pt x="4927" y="46062"/>
                      <a:pt x="4927" y="46062"/>
                      <a:pt x="4927" y="46062"/>
                    </a:cubicBezTo>
                    <a:cubicBezTo>
                      <a:pt x="4927" y="46062"/>
                      <a:pt x="4927" y="46062"/>
                      <a:pt x="4927" y="46062"/>
                    </a:cubicBezTo>
                    <a:close/>
                    <a:moveTo>
                      <a:pt x="4927" y="46062"/>
                    </a:moveTo>
                    <a:cubicBezTo>
                      <a:pt x="4927" y="46062"/>
                      <a:pt x="4927" y="46062"/>
                      <a:pt x="4927" y="46062"/>
                    </a:cubicBezTo>
                    <a:cubicBezTo>
                      <a:pt x="4927" y="46062"/>
                      <a:pt x="4927" y="46062"/>
                      <a:pt x="4927" y="46062"/>
                    </a:cubicBezTo>
                    <a:close/>
                    <a:moveTo>
                      <a:pt x="4927" y="46062"/>
                    </a:moveTo>
                    <a:lnTo>
                      <a:pt x="4927" y="46062"/>
                    </a:lnTo>
                    <a:lnTo>
                      <a:pt x="4927" y="46062"/>
                    </a:lnTo>
                    <a:close/>
                  </a:path>
                </a:pathLst>
              </a:custGeom>
              <a:grpFill/>
              <a:ln w="6350" cap="flat">
                <a:solidFill>
                  <a:schemeClr val="bg1">
                    <a:alpha val="80000"/>
                  </a:schemeClr>
                </a:solidFill>
                <a:prstDash val="solid"/>
                <a:miter/>
              </a:ln>
            </p:spPr>
            <p:txBody>
              <a:bodyPr rtlCol="0" anchor="ctr"/>
              <a:lstStyle/>
              <a:p>
                <a:endParaRPr lang="en-GB"/>
              </a:p>
            </p:txBody>
          </p:sp>
          <p:sp>
            <p:nvSpPr>
              <p:cNvPr id="9122" name="Vrije vorm: vorm 9121">
                <a:extLst>
                  <a:ext uri="{FF2B5EF4-FFF2-40B4-BE49-F238E27FC236}">
                    <a16:creationId xmlns:a16="http://schemas.microsoft.com/office/drawing/2014/main" id="{603C06BC-6DA4-4153-9A94-C4BC01160331}"/>
                  </a:ext>
                </a:extLst>
              </p:cNvPr>
              <p:cNvSpPr/>
              <p:nvPr/>
            </p:nvSpPr>
            <p:spPr>
              <a:xfrm>
                <a:off x="6212434" y="1657836"/>
                <a:ext cx="2257" cy="13636"/>
              </a:xfrm>
              <a:custGeom>
                <a:avLst/>
                <a:gdLst>
                  <a:gd name="connsiteX0" fmla="*/ 1017 w 2257"/>
                  <a:gd name="connsiteY0" fmla="*/ 13636 h 13636"/>
                  <a:gd name="connsiteX1" fmla="*/ 897 w 2257"/>
                  <a:gd name="connsiteY1" fmla="*/ 13636 h 13636"/>
                  <a:gd name="connsiteX2" fmla="*/ 60 w 2257"/>
                  <a:gd name="connsiteY2" fmla="*/ 12559 h 13636"/>
                  <a:gd name="connsiteX3" fmla="*/ 0 w 2257"/>
                  <a:gd name="connsiteY3" fmla="*/ 957 h 13636"/>
                  <a:gd name="connsiteX4" fmla="*/ 1017 w 2257"/>
                  <a:gd name="connsiteY4" fmla="*/ 0 h 13636"/>
                  <a:gd name="connsiteX5" fmla="*/ 2093 w 2257"/>
                  <a:gd name="connsiteY5" fmla="*/ 897 h 13636"/>
                  <a:gd name="connsiteX6" fmla="*/ 2153 w 2257"/>
                  <a:gd name="connsiteY6" fmla="*/ 12859 h 13636"/>
                  <a:gd name="connsiteX7" fmla="*/ 1017 w 2257"/>
                  <a:gd name="connsiteY7" fmla="*/ 13636 h 1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7" h="13636">
                    <a:moveTo>
                      <a:pt x="1017" y="13636"/>
                    </a:moveTo>
                    <a:cubicBezTo>
                      <a:pt x="957" y="13636"/>
                      <a:pt x="897" y="13636"/>
                      <a:pt x="897" y="13636"/>
                    </a:cubicBezTo>
                    <a:cubicBezTo>
                      <a:pt x="359" y="13576"/>
                      <a:pt x="-60" y="13098"/>
                      <a:pt x="60" y="12559"/>
                    </a:cubicBezTo>
                    <a:cubicBezTo>
                      <a:pt x="239" y="11662"/>
                      <a:pt x="120" y="4426"/>
                      <a:pt x="0" y="957"/>
                    </a:cubicBezTo>
                    <a:cubicBezTo>
                      <a:pt x="0" y="419"/>
                      <a:pt x="419" y="0"/>
                      <a:pt x="1017" y="0"/>
                    </a:cubicBezTo>
                    <a:cubicBezTo>
                      <a:pt x="1555" y="0"/>
                      <a:pt x="2034" y="419"/>
                      <a:pt x="2093" y="897"/>
                    </a:cubicBezTo>
                    <a:cubicBezTo>
                      <a:pt x="2153" y="3170"/>
                      <a:pt x="2392" y="11603"/>
                      <a:pt x="2153" y="12859"/>
                    </a:cubicBezTo>
                    <a:cubicBezTo>
                      <a:pt x="1974" y="13277"/>
                      <a:pt x="1495" y="13636"/>
                      <a:pt x="1017" y="1363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23" name="Vrije vorm: vorm 9122">
                <a:extLst>
                  <a:ext uri="{FF2B5EF4-FFF2-40B4-BE49-F238E27FC236}">
                    <a16:creationId xmlns:a16="http://schemas.microsoft.com/office/drawing/2014/main" id="{BA8CF702-7FC4-4D80-B815-5157B03DC49A}"/>
                  </a:ext>
                </a:extLst>
              </p:cNvPr>
              <p:cNvSpPr/>
              <p:nvPr/>
            </p:nvSpPr>
            <p:spPr>
              <a:xfrm>
                <a:off x="6190773" y="1657956"/>
                <a:ext cx="4800" cy="84866"/>
              </a:xfrm>
              <a:custGeom>
                <a:avLst/>
                <a:gdLst>
                  <a:gd name="connsiteX0" fmla="*/ 1985 w 4800"/>
                  <a:gd name="connsiteY0" fmla="*/ 84866 h 84866"/>
                  <a:gd name="connsiteX1" fmla="*/ 1028 w 4800"/>
                  <a:gd name="connsiteY1" fmla="*/ 84089 h 84866"/>
                  <a:gd name="connsiteX2" fmla="*/ 131 w 4800"/>
                  <a:gd name="connsiteY2" fmla="*/ 49819 h 84866"/>
                  <a:gd name="connsiteX3" fmla="*/ 669 w 4800"/>
                  <a:gd name="connsiteY3" fmla="*/ 41745 h 84866"/>
                  <a:gd name="connsiteX4" fmla="*/ 2105 w 4800"/>
                  <a:gd name="connsiteY4" fmla="*/ 19796 h 84866"/>
                  <a:gd name="connsiteX5" fmla="*/ 2762 w 4800"/>
                  <a:gd name="connsiteY5" fmla="*/ 957 h 84866"/>
                  <a:gd name="connsiteX6" fmla="*/ 3779 w 4800"/>
                  <a:gd name="connsiteY6" fmla="*/ 0 h 84866"/>
                  <a:gd name="connsiteX7" fmla="*/ 4796 w 4800"/>
                  <a:gd name="connsiteY7" fmla="*/ 897 h 84866"/>
                  <a:gd name="connsiteX8" fmla="*/ 4138 w 4800"/>
                  <a:gd name="connsiteY8" fmla="*/ 19916 h 84866"/>
                  <a:gd name="connsiteX9" fmla="*/ 2702 w 4800"/>
                  <a:gd name="connsiteY9" fmla="*/ 41865 h 84866"/>
                  <a:gd name="connsiteX10" fmla="*/ 2164 w 4800"/>
                  <a:gd name="connsiteY10" fmla="*/ 49939 h 84866"/>
                  <a:gd name="connsiteX11" fmla="*/ 3061 w 4800"/>
                  <a:gd name="connsiteY11" fmla="*/ 83790 h 84866"/>
                  <a:gd name="connsiteX12" fmla="*/ 2224 w 4800"/>
                  <a:gd name="connsiteY12" fmla="*/ 84866 h 84866"/>
                  <a:gd name="connsiteX13" fmla="*/ 1985 w 4800"/>
                  <a:gd name="connsiteY13" fmla="*/ 84866 h 8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00" h="84866">
                    <a:moveTo>
                      <a:pt x="1985" y="84866"/>
                    </a:moveTo>
                    <a:cubicBezTo>
                      <a:pt x="1506" y="84866"/>
                      <a:pt x="1088" y="84508"/>
                      <a:pt x="1028" y="84089"/>
                    </a:cubicBezTo>
                    <a:cubicBezTo>
                      <a:pt x="11" y="78168"/>
                      <a:pt x="-168" y="53946"/>
                      <a:pt x="131" y="49819"/>
                    </a:cubicBezTo>
                    <a:cubicBezTo>
                      <a:pt x="191" y="48504"/>
                      <a:pt x="430" y="45453"/>
                      <a:pt x="669" y="41745"/>
                    </a:cubicBezTo>
                    <a:cubicBezTo>
                      <a:pt x="1207" y="33432"/>
                      <a:pt x="1925" y="22009"/>
                      <a:pt x="2105" y="19796"/>
                    </a:cubicBezTo>
                    <a:cubicBezTo>
                      <a:pt x="2344" y="16746"/>
                      <a:pt x="2762" y="5861"/>
                      <a:pt x="2762" y="957"/>
                    </a:cubicBezTo>
                    <a:cubicBezTo>
                      <a:pt x="2762" y="419"/>
                      <a:pt x="3181" y="0"/>
                      <a:pt x="3779" y="0"/>
                    </a:cubicBezTo>
                    <a:cubicBezTo>
                      <a:pt x="4317" y="0"/>
                      <a:pt x="4796" y="419"/>
                      <a:pt x="4796" y="897"/>
                    </a:cubicBezTo>
                    <a:cubicBezTo>
                      <a:pt x="4855" y="5861"/>
                      <a:pt x="4377" y="16806"/>
                      <a:pt x="4138" y="19916"/>
                    </a:cubicBezTo>
                    <a:cubicBezTo>
                      <a:pt x="3959" y="22129"/>
                      <a:pt x="3241" y="33552"/>
                      <a:pt x="2702" y="41865"/>
                    </a:cubicBezTo>
                    <a:cubicBezTo>
                      <a:pt x="2463" y="45573"/>
                      <a:pt x="2284" y="48683"/>
                      <a:pt x="2164" y="49939"/>
                    </a:cubicBezTo>
                    <a:cubicBezTo>
                      <a:pt x="1865" y="54305"/>
                      <a:pt x="2105" y="78288"/>
                      <a:pt x="3061" y="83790"/>
                    </a:cubicBezTo>
                    <a:cubicBezTo>
                      <a:pt x="3121" y="84268"/>
                      <a:pt x="2762" y="84747"/>
                      <a:pt x="2224" y="84866"/>
                    </a:cubicBezTo>
                    <a:cubicBezTo>
                      <a:pt x="2105" y="84866"/>
                      <a:pt x="2045" y="84866"/>
                      <a:pt x="1985" y="8486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24" name="Vrije vorm: vorm 9123">
                <a:extLst>
                  <a:ext uri="{FF2B5EF4-FFF2-40B4-BE49-F238E27FC236}">
                    <a16:creationId xmlns:a16="http://schemas.microsoft.com/office/drawing/2014/main" id="{A6879FA9-FD17-456F-98A6-1369E950CD27}"/>
                  </a:ext>
                </a:extLst>
              </p:cNvPr>
              <p:cNvSpPr/>
              <p:nvPr/>
            </p:nvSpPr>
            <p:spPr>
              <a:xfrm>
                <a:off x="6187489" y="1689415"/>
                <a:ext cx="29848" cy="55201"/>
              </a:xfrm>
              <a:custGeom>
                <a:avLst/>
                <a:gdLst>
                  <a:gd name="connsiteX0" fmla="*/ 1022 w 29848"/>
                  <a:gd name="connsiteY0" fmla="*/ 54544 h 55201"/>
                  <a:gd name="connsiteX1" fmla="*/ 6 w 29848"/>
                  <a:gd name="connsiteY1" fmla="*/ 53707 h 55201"/>
                  <a:gd name="connsiteX2" fmla="*/ 903 w 29848"/>
                  <a:gd name="connsiteY2" fmla="*/ 52690 h 55201"/>
                  <a:gd name="connsiteX3" fmla="*/ 6465 w 29848"/>
                  <a:gd name="connsiteY3" fmla="*/ 52212 h 55201"/>
                  <a:gd name="connsiteX4" fmla="*/ 11070 w 29848"/>
                  <a:gd name="connsiteY4" fmla="*/ 51255 h 55201"/>
                  <a:gd name="connsiteX5" fmla="*/ 12027 w 29848"/>
                  <a:gd name="connsiteY5" fmla="*/ 26255 h 55201"/>
                  <a:gd name="connsiteX6" fmla="*/ 12565 w 29848"/>
                  <a:gd name="connsiteY6" fmla="*/ 11483 h 55201"/>
                  <a:gd name="connsiteX7" fmla="*/ 12984 w 29848"/>
                  <a:gd name="connsiteY7" fmla="*/ 1017 h 55201"/>
                  <a:gd name="connsiteX8" fmla="*/ 13283 w 29848"/>
                  <a:gd name="connsiteY8" fmla="*/ 359 h 55201"/>
                  <a:gd name="connsiteX9" fmla="*/ 14001 w 29848"/>
                  <a:gd name="connsiteY9" fmla="*/ 60 h 55201"/>
                  <a:gd name="connsiteX10" fmla="*/ 18127 w 29848"/>
                  <a:gd name="connsiteY10" fmla="*/ 0 h 55201"/>
                  <a:gd name="connsiteX11" fmla="*/ 18845 w 29848"/>
                  <a:gd name="connsiteY11" fmla="*/ 239 h 55201"/>
                  <a:gd name="connsiteX12" fmla="*/ 19144 w 29848"/>
                  <a:gd name="connsiteY12" fmla="*/ 897 h 55201"/>
                  <a:gd name="connsiteX13" fmla="*/ 19323 w 29848"/>
                  <a:gd name="connsiteY13" fmla="*/ 20454 h 55201"/>
                  <a:gd name="connsiteX14" fmla="*/ 18486 w 29848"/>
                  <a:gd name="connsiteY14" fmla="*/ 50657 h 55201"/>
                  <a:gd name="connsiteX15" fmla="*/ 18426 w 29848"/>
                  <a:gd name="connsiteY15" fmla="*/ 51853 h 55201"/>
                  <a:gd name="connsiteX16" fmla="*/ 29192 w 29848"/>
                  <a:gd name="connsiteY16" fmla="*/ 53408 h 55201"/>
                  <a:gd name="connsiteX17" fmla="*/ 29790 w 29848"/>
                  <a:gd name="connsiteY17" fmla="*/ 54604 h 55201"/>
                  <a:gd name="connsiteX18" fmla="*/ 28474 w 29848"/>
                  <a:gd name="connsiteY18" fmla="*/ 55142 h 55201"/>
                  <a:gd name="connsiteX19" fmla="*/ 17290 w 29848"/>
                  <a:gd name="connsiteY19" fmla="*/ 53647 h 55201"/>
                  <a:gd name="connsiteX20" fmla="*/ 16333 w 29848"/>
                  <a:gd name="connsiteY20" fmla="*/ 52690 h 55201"/>
                  <a:gd name="connsiteX21" fmla="*/ 16393 w 29848"/>
                  <a:gd name="connsiteY21" fmla="*/ 50657 h 55201"/>
                  <a:gd name="connsiteX22" fmla="*/ 17230 w 29848"/>
                  <a:gd name="connsiteY22" fmla="*/ 20514 h 55201"/>
                  <a:gd name="connsiteX23" fmla="*/ 17051 w 29848"/>
                  <a:gd name="connsiteY23" fmla="*/ 1914 h 55201"/>
                  <a:gd name="connsiteX24" fmla="*/ 15017 w 29848"/>
                  <a:gd name="connsiteY24" fmla="*/ 1914 h 55201"/>
                  <a:gd name="connsiteX25" fmla="*/ 14599 w 29848"/>
                  <a:gd name="connsiteY25" fmla="*/ 11603 h 55201"/>
                  <a:gd name="connsiteX26" fmla="*/ 14060 w 29848"/>
                  <a:gd name="connsiteY26" fmla="*/ 26255 h 55201"/>
                  <a:gd name="connsiteX27" fmla="*/ 12685 w 29848"/>
                  <a:gd name="connsiteY27" fmla="*/ 52451 h 55201"/>
                  <a:gd name="connsiteX28" fmla="*/ 12266 w 29848"/>
                  <a:gd name="connsiteY28" fmla="*/ 52750 h 55201"/>
                  <a:gd name="connsiteX29" fmla="*/ 6644 w 29848"/>
                  <a:gd name="connsiteY29" fmla="*/ 54006 h 55201"/>
                  <a:gd name="connsiteX30" fmla="*/ 1082 w 29848"/>
                  <a:gd name="connsiteY30" fmla="*/ 54484 h 55201"/>
                  <a:gd name="connsiteX31" fmla="*/ 1022 w 29848"/>
                  <a:gd name="connsiteY31" fmla="*/ 54544 h 5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848" h="55201">
                    <a:moveTo>
                      <a:pt x="1022" y="54544"/>
                    </a:moveTo>
                    <a:cubicBezTo>
                      <a:pt x="544" y="54544"/>
                      <a:pt x="66" y="54185"/>
                      <a:pt x="6" y="53707"/>
                    </a:cubicBezTo>
                    <a:cubicBezTo>
                      <a:pt x="-54" y="53169"/>
                      <a:pt x="365" y="52750"/>
                      <a:pt x="903" y="52690"/>
                    </a:cubicBezTo>
                    <a:cubicBezTo>
                      <a:pt x="903" y="52690"/>
                      <a:pt x="3235" y="52451"/>
                      <a:pt x="6465" y="52212"/>
                    </a:cubicBezTo>
                    <a:cubicBezTo>
                      <a:pt x="8798" y="52032"/>
                      <a:pt x="10412" y="51494"/>
                      <a:pt x="11070" y="51255"/>
                    </a:cubicBezTo>
                    <a:cubicBezTo>
                      <a:pt x="11728" y="49042"/>
                      <a:pt x="12027" y="35585"/>
                      <a:pt x="12027" y="26255"/>
                    </a:cubicBezTo>
                    <a:cubicBezTo>
                      <a:pt x="12027" y="22906"/>
                      <a:pt x="12326" y="16866"/>
                      <a:pt x="12565" y="11483"/>
                    </a:cubicBezTo>
                    <a:cubicBezTo>
                      <a:pt x="12805" y="6878"/>
                      <a:pt x="12984" y="2512"/>
                      <a:pt x="12984" y="1017"/>
                    </a:cubicBezTo>
                    <a:cubicBezTo>
                      <a:pt x="12984" y="778"/>
                      <a:pt x="13104" y="538"/>
                      <a:pt x="13283" y="359"/>
                    </a:cubicBezTo>
                    <a:cubicBezTo>
                      <a:pt x="13462" y="179"/>
                      <a:pt x="13701" y="60"/>
                      <a:pt x="14001" y="60"/>
                    </a:cubicBezTo>
                    <a:lnTo>
                      <a:pt x="18127" y="0"/>
                    </a:lnTo>
                    <a:cubicBezTo>
                      <a:pt x="18426" y="0"/>
                      <a:pt x="18666" y="120"/>
                      <a:pt x="18845" y="239"/>
                    </a:cubicBezTo>
                    <a:cubicBezTo>
                      <a:pt x="19024" y="419"/>
                      <a:pt x="19144" y="658"/>
                      <a:pt x="19144" y="897"/>
                    </a:cubicBezTo>
                    <a:cubicBezTo>
                      <a:pt x="19144" y="897"/>
                      <a:pt x="19264" y="15969"/>
                      <a:pt x="19323" y="20454"/>
                    </a:cubicBezTo>
                    <a:cubicBezTo>
                      <a:pt x="19383" y="24401"/>
                      <a:pt x="18725" y="44198"/>
                      <a:pt x="18486" y="50657"/>
                    </a:cubicBezTo>
                    <a:lnTo>
                      <a:pt x="18426" y="51853"/>
                    </a:lnTo>
                    <a:cubicBezTo>
                      <a:pt x="20938" y="52032"/>
                      <a:pt x="27039" y="52630"/>
                      <a:pt x="29192" y="53408"/>
                    </a:cubicBezTo>
                    <a:cubicBezTo>
                      <a:pt x="29730" y="53587"/>
                      <a:pt x="29969" y="54126"/>
                      <a:pt x="29790" y="54604"/>
                    </a:cubicBezTo>
                    <a:cubicBezTo>
                      <a:pt x="29610" y="55082"/>
                      <a:pt x="29012" y="55322"/>
                      <a:pt x="28474" y="55142"/>
                    </a:cubicBezTo>
                    <a:cubicBezTo>
                      <a:pt x="26560" y="54484"/>
                      <a:pt x="19742" y="53826"/>
                      <a:pt x="17290" y="53647"/>
                    </a:cubicBezTo>
                    <a:cubicBezTo>
                      <a:pt x="16752" y="53587"/>
                      <a:pt x="16333" y="53169"/>
                      <a:pt x="16333" y="52690"/>
                    </a:cubicBezTo>
                    <a:lnTo>
                      <a:pt x="16393" y="50657"/>
                    </a:lnTo>
                    <a:cubicBezTo>
                      <a:pt x="16632" y="44138"/>
                      <a:pt x="17290" y="24401"/>
                      <a:pt x="17230" y="20514"/>
                    </a:cubicBezTo>
                    <a:cubicBezTo>
                      <a:pt x="17170" y="16686"/>
                      <a:pt x="17051" y="5263"/>
                      <a:pt x="17051" y="1914"/>
                    </a:cubicBezTo>
                    <a:lnTo>
                      <a:pt x="15017" y="1914"/>
                    </a:lnTo>
                    <a:cubicBezTo>
                      <a:pt x="15017" y="3887"/>
                      <a:pt x="14838" y="7476"/>
                      <a:pt x="14599" y="11603"/>
                    </a:cubicBezTo>
                    <a:cubicBezTo>
                      <a:pt x="14360" y="16925"/>
                      <a:pt x="14060" y="23026"/>
                      <a:pt x="14060" y="26255"/>
                    </a:cubicBezTo>
                    <a:cubicBezTo>
                      <a:pt x="14060" y="28707"/>
                      <a:pt x="14120" y="50537"/>
                      <a:pt x="12685" y="52451"/>
                    </a:cubicBezTo>
                    <a:cubicBezTo>
                      <a:pt x="12565" y="52571"/>
                      <a:pt x="12446" y="52690"/>
                      <a:pt x="12266" y="52750"/>
                    </a:cubicBezTo>
                    <a:cubicBezTo>
                      <a:pt x="12206" y="52810"/>
                      <a:pt x="10053" y="53707"/>
                      <a:pt x="6644" y="54006"/>
                    </a:cubicBezTo>
                    <a:cubicBezTo>
                      <a:pt x="3415" y="54245"/>
                      <a:pt x="1142" y="54484"/>
                      <a:pt x="1082" y="54484"/>
                    </a:cubicBezTo>
                    <a:cubicBezTo>
                      <a:pt x="1142" y="54544"/>
                      <a:pt x="1082" y="54544"/>
                      <a:pt x="1022" y="5454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25" name="Vrije vorm: vorm 9124">
                <a:extLst>
                  <a:ext uri="{FF2B5EF4-FFF2-40B4-BE49-F238E27FC236}">
                    <a16:creationId xmlns:a16="http://schemas.microsoft.com/office/drawing/2014/main" id="{8B0D8F06-4380-4E50-9927-66E2798F741A}"/>
                  </a:ext>
                </a:extLst>
              </p:cNvPr>
              <p:cNvSpPr/>
              <p:nvPr/>
            </p:nvSpPr>
            <p:spPr>
              <a:xfrm>
                <a:off x="6212190" y="1676197"/>
                <a:ext cx="3247" cy="67110"/>
              </a:xfrm>
              <a:custGeom>
                <a:avLst/>
                <a:gdLst>
                  <a:gd name="connsiteX0" fmla="*/ 962 w 3247"/>
                  <a:gd name="connsiteY0" fmla="*/ 67104 h 67110"/>
                  <a:gd name="connsiteX1" fmla="*/ 903 w 3247"/>
                  <a:gd name="connsiteY1" fmla="*/ 67104 h 67110"/>
                  <a:gd name="connsiteX2" fmla="*/ 6 w 3247"/>
                  <a:gd name="connsiteY2" fmla="*/ 66087 h 67110"/>
                  <a:gd name="connsiteX3" fmla="*/ 962 w 3247"/>
                  <a:gd name="connsiteY3" fmla="*/ 56279 h 67110"/>
                  <a:gd name="connsiteX4" fmla="*/ 962 w 3247"/>
                  <a:gd name="connsiteY4" fmla="*/ 20394 h 67110"/>
                  <a:gd name="connsiteX5" fmla="*/ 723 w 3247"/>
                  <a:gd name="connsiteY5" fmla="*/ 897 h 67110"/>
                  <a:gd name="connsiteX6" fmla="*/ 1800 w 3247"/>
                  <a:gd name="connsiteY6" fmla="*/ 0 h 67110"/>
                  <a:gd name="connsiteX7" fmla="*/ 2757 w 3247"/>
                  <a:gd name="connsiteY7" fmla="*/ 1017 h 67110"/>
                  <a:gd name="connsiteX8" fmla="*/ 2996 w 3247"/>
                  <a:gd name="connsiteY8" fmla="*/ 20335 h 67110"/>
                  <a:gd name="connsiteX9" fmla="*/ 2996 w 3247"/>
                  <a:gd name="connsiteY9" fmla="*/ 56458 h 67110"/>
                  <a:gd name="connsiteX10" fmla="*/ 2039 w 3247"/>
                  <a:gd name="connsiteY10" fmla="*/ 66266 h 67110"/>
                  <a:gd name="connsiteX11" fmla="*/ 962 w 3247"/>
                  <a:gd name="connsiteY11" fmla="*/ 67104 h 6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7" h="67110">
                    <a:moveTo>
                      <a:pt x="962" y="67104"/>
                    </a:moveTo>
                    <a:cubicBezTo>
                      <a:pt x="962" y="67104"/>
                      <a:pt x="903" y="67104"/>
                      <a:pt x="903" y="67104"/>
                    </a:cubicBezTo>
                    <a:cubicBezTo>
                      <a:pt x="365" y="67044"/>
                      <a:pt x="-54" y="66565"/>
                      <a:pt x="6" y="66087"/>
                    </a:cubicBezTo>
                    <a:cubicBezTo>
                      <a:pt x="6" y="66027"/>
                      <a:pt x="544" y="61183"/>
                      <a:pt x="962" y="56279"/>
                    </a:cubicBezTo>
                    <a:cubicBezTo>
                      <a:pt x="1441" y="51315"/>
                      <a:pt x="1202" y="23863"/>
                      <a:pt x="962" y="20394"/>
                    </a:cubicBezTo>
                    <a:cubicBezTo>
                      <a:pt x="723" y="16746"/>
                      <a:pt x="484" y="5383"/>
                      <a:pt x="723" y="897"/>
                    </a:cubicBezTo>
                    <a:cubicBezTo>
                      <a:pt x="783" y="359"/>
                      <a:pt x="1202" y="0"/>
                      <a:pt x="1800" y="0"/>
                    </a:cubicBezTo>
                    <a:cubicBezTo>
                      <a:pt x="2338" y="60"/>
                      <a:pt x="2816" y="478"/>
                      <a:pt x="2757" y="1017"/>
                    </a:cubicBezTo>
                    <a:cubicBezTo>
                      <a:pt x="2458" y="5383"/>
                      <a:pt x="2757" y="16806"/>
                      <a:pt x="2996" y="20335"/>
                    </a:cubicBezTo>
                    <a:cubicBezTo>
                      <a:pt x="3235" y="24162"/>
                      <a:pt x="3415" y="51434"/>
                      <a:pt x="2996" y="56458"/>
                    </a:cubicBezTo>
                    <a:cubicBezTo>
                      <a:pt x="2518" y="61362"/>
                      <a:pt x="2039" y="66207"/>
                      <a:pt x="2039" y="66266"/>
                    </a:cubicBezTo>
                    <a:cubicBezTo>
                      <a:pt x="1979" y="66805"/>
                      <a:pt x="1501" y="67164"/>
                      <a:pt x="962" y="6710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26" name="Vrije vorm: vorm 9125">
                <a:extLst>
                  <a:ext uri="{FF2B5EF4-FFF2-40B4-BE49-F238E27FC236}">
                    <a16:creationId xmlns:a16="http://schemas.microsoft.com/office/drawing/2014/main" id="{4EA7305A-E8F3-449E-A20E-A91D43411F62}"/>
                  </a:ext>
                </a:extLst>
              </p:cNvPr>
              <p:cNvSpPr/>
              <p:nvPr/>
            </p:nvSpPr>
            <p:spPr>
              <a:xfrm>
                <a:off x="6192752" y="1684906"/>
                <a:ext cx="21499" cy="2213"/>
              </a:xfrm>
              <a:custGeom>
                <a:avLst/>
                <a:gdLst>
                  <a:gd name="connsiteX0" fmla="*/ 5867 w 21499"/>
                  <a:gd name="connsiteY0" fmla="*/ 2176 h 2213"/>
                  <a:gd name="connsiteX1" fmla="*/ 903 w 21499"/>
                  <a:gd name="connsiteY1" fmla="*/ 1877 h 2213"/>
                  <a:gd name="connsiteX2" fmla="*/ 6 w 21499"/>
                  <a:gd name="connsiteY2" fmla="*/ 801 h 2213"/>
                  <a:gd name="connsiteX3" fmla="*/ 1142 w 21499"/>
                  <a:gd name="connsiteY3" fmla="*/ 23 h 2213"/>
                  <a:gd name="connsiteX4" fmla="*/ 20280 w 21499"/>
                  <a:gd name="connsiteY4" fmla="*/ 23 h 2213"/>
                  <a:gd name="connsiteX5" fmla="*/ 21477 w 21499"/>
                  <a:gd name="connsiteY5" fmla="*/ 741 h 2213"/>
                  <a:gd name="connsiteX6" fmla="*/ 20699 w 21499"/>
                  <a:gd name="connsiteY6" fmla="*/ 1817 h 2213"/>
                  <a:gd name="connsiteX7" fmla="*/ 5867 w 21499"/>
                  <a:gd name="connsiteY7" fmla="*/ 2176 h 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9" h="2213">
                    <a:moveTo>
                      <a:pt x="5867" y="2176"/>
                    </a:moveTo>
                    <a:cubicBezTo>
                      <a:pt x="3833" y="2116"/>
                      <a:pt x="2039" y="2057"/>
                      <a:pt x="903" y="1877"/>
                    </a:cubicBezTo>
                    <a:cubicBezTo>
                      <a:pt x="365" y="1817"/>
                      <a:pt x="-54" y="1339"/>
                      <a:pt x="6" y="801"/>
                    </a:cubicBezTo>
                    <a:cubicBezTo>
                      <a:pt x="66" y="262"/>
                      <a:pt x="604" y="-37"/>
                      <a:pt x="1142" y="23"/>
                    </a:cubicBezTo>
                    <a:cubicBezTo>
                      <a:pt x="5329" y="561"/>
                      <a:pt x="18785" y="322"/>
                      <a:pt x="20280" y="23"/>
                    </a:cubicBezTo>
                    <a:cubicBezTo>
                      <a:pt x="20819" y="-96"/>
                      <a:pt x="21357" y="262"/>
                      <a:pt x="21477" y="741"/>
                    </a:cubicBezTo>
                    <a:cubicBezTo>
                      <a:pt x="21596" y="1219"/>
                      <a:pt x="21237" y="1758"/>
                      <a:pt x="20699" y="1817"/>
                    </a:cubicBezTo>
                    <a:cubicBezTo>
                      <a:pt x="19383" y="2116"/>
                      <a:pt x="11548" y="2296"/>
                      <a:pt x="5867" y="217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27" name="Vrije vorm: vorm 9126">
                <a:extLst>
                  <a:ext uri="{FF2B5EF4-FFF2-40B4-BE49-F238E27FC236}">
                    <a16:creationId xmlns:a16="http://schemas.microsoft.com/office/drawing/2014/main" id="{668427E3-D854-4AB7-8853-11297C5BBA91}"/>
                  </a:ext>
                </a:extLst>
              </p:cNvPr>
              <p:cNvSpPr/>
              <p:nvPr/>
            </p:nvSpPr>
            <p:spPr>
              <a:xfrm>
                <a:off x="6189402" y="1662717"/>
                <a:ext cx="5711" cy="1996"/>
              </a:xfrm>
              <a:custGeom>
                <a:avLst/>
                <a:gdLst>
                  <a:gd name="connsiteX0" fmla="*/ 2698 w 5711"/>
                  <a:gd name="connsiteY0" fmla="*/ 1997 h 1996"/>
                  <a:gd name="connsiteX1" fmla="*/ 844 w 5711"/>
                  <a:gd name="connsiteY1" fmla="*/ 1817 h 1996"/>
                  <a:gd name="connsiteX2" fmla="*/ 7 w 5711"/>
                  <a:gd name="connsiteY2" fmla="*/ 741 h 1996"/>
                  <a:gd name="connsiteX3" fmla="*/ 1203 w 5711"/>
                  <a:gd name="connsiteY3" fmla="*/ 23 h 1996"/>
                  <a:gd name="connsiteX4" fmla="*/ 4492 w 5711"/>
                  <a:gd name="connsiteY4" fmla="*/ 83 h 1996"/>
                  <a:gd name="connsiteX5" fmla="*/ 5688 w 5711"/>
                  <a:gd name="connsiteY5" fmla="*/ 801 h 1996"/>
                  <a:gd name="connsiteX6" fmla="*/ 4911 w 5711"/>
                  <a:gd name="connsiteY6" fmla="*/ 1877 h 1996"/>
                  <a:gd name="connsiteX7" fmla="*/ 2698 w 5711"/>
                  <a:gd name="connsiteY7" fmla="*/ 1997 h 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1" h="1996">
                    <a:moveTo>
                      <a:pt x="2698" y="1997"/>
                    </a:moveTo>
                    <a:cubicBezTo>
                      <a:pt x="2159" y="1997"/>
                      <a:pt x="1502" y="1937"/>
                      <a:pt x="844" y="1817"/>
                    </a:cubicBezTo>
                    <a:cubicBezTo>
                      <a:pt x="305" y="1698"/>
                      <a:pt x="-53" y="1219"/>
                      <a:pt x="7" y="741"/>
                    </a:cubicBezTo>
                    <a:cubicBezTo>
                      <a:pt x="126" y="262"/>
                      <a:pt x="664" y="-96"/>
                      <a:pt x="1203" y="23"/>
                    </a:cubicBezTo>
                    <a:cubicBezTo>
                      <a:pt x="2997" y="322"/>
                      <a:pt x="4492" y="83"/>
                      <a:pt x="4492" y="83"/>
                    </a:cubicBezTo>
                    <a:cubicBezTo>
                      <a:pt x="5030" y="-37"/>
                      <a:pt x="5569" y="322"/>
                      <a:pt x="5688" y="801"/>
                    </a:cubicBezTo>
                    <a:cubicBezTo>
                      <a:pt x="5808" y="1279"/>
                      <a:pt x="5449" y="1817"/>
                      <a:pt x="4911" y="1877"/>
                    </a:cubicBezTo>
                    <a:cubicBezTo>
                      <a:pt x="4851" y="1817"/>
                      <a:pt x="3954" y="1997"/>
                      <a:pt x="2698" y="199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28" name="Vrije vorm: vorm 9127">
                <a:extLst>
                  <a:ext uri="{FF2B5EF4-FFF2-40B4-BE49-F238E27FC236}">
                    <a16:creationId xmlns:a16="http://schemas.microsoft.com/office/drawing/2014/main" id="{FA582178-7469-43D9-9B74-382384E4C216}"/>
                  </a:ext>
                </a:extLst>
              </p:cNvPr>
              <p:cNvSpPr/>
              <p:nvPr/>
            </p:nvSpPr>
            <p:spPr>
              <a:xfrm>
                <a:off x="6212788" y="1662794"/>
                <a:ext cx="7308" cy="2166"/>
              </a:xfrm>
              <a:custGeom>
                <a:avLst/>
                <a:gdLst>
                  <a:gd name="connsiteX0" fmla="*/ 1441 w 7308"/>
                  <a:gd name="connsiteY0" fmla="*/ 2160 h 2166"/>
                  <a:gd name="connsiteX1" fmla="*/ 903 w 7308"/>
                  <a:gd name="connsiteY1" fmla="*/ 2160 h 2166"/>
                  <a:gd name="connsiteX2" fmla="*/ 6 w 7308"/>
                  <a:gd name="connsiteY2" fmla="*/ 1143 h 2166"/>
                  <a:gd name="connsiteX3" fmla="*/ 1142 w 7308"/>
                  <a:gd name="connsiteY3" fmla="*/ 305 h 2166"/>
                  <a:gd name="connsiteX4" fmla="*/ 6166 w 7308"/>
                  <a:gd name="connsiteY4" fmla="*/ 7 h 2166"/>
                  <a:gd name="connsiteX5" fmla="*/ 7302 w 7308"/>
                  <a:gd name="connsiteY5" fmla="*/ 784 h 2166"/>
                  <a:gd name="connsiteX6" fmla="*/ 6405 w 7308"/>
                  <a:gd name="connsiteY6" fmla="*/ 1801 h 2166"/>
                  <a:gd name="connsiteX7" fmla="*/ 1441 w 7308"/>
                  <a:gd name="connsiteY7" fmla="*/ 2160 h 2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08" h="2166">
                    <a:moveTo>
                      <a:pt x="1441" y="2160"/>
                    </a:moveTo>
                    <a:cubicBezTo>
                      <a:pt x="1262" y="2160"/>
                      <a:pt x="1082" y="2160"/>
                      <a:pt x="903" y="2160"/>
                    </a:cubicBezTo>
                    <a:cubicBezTo>
                      <a:pt x="364" y="2100"/>
                      <a:pt x="-54" y="1681"/>
                      <a:pt x="6" y="1143"/>
                    </a:cubicBezTo>
                    <a:cubicBezTo>
                      <a:pt x="66" y="605"/>
                      <a:pt x="544" y="246"/>
                      <a:pt x="1142" y="305"/>
                    </a:cubicBezTo>
                    <a:cubicBezTo>
                      <a:pt x="2338" y="425"/>
                      <a:pt x="5149" y="126"/>
                      <a:pt x="6166" y="7"/>
                    </a:cubicBezTo>
                    <a:cubicBezTo>
                      <a:pt x="6704" y="-53"/>
                      <a:pt x="7242" y="305"/>
                      <a:pt x="7302" y="784"/>
                    </a:cubicBezTo>
                    <a:cubicBezTo>
                      <a:pt x="7362" y="1322"/>
                      <a:pt x="7003" y="1741"/>
                      <a:pt x="6405" y="1801"/>
                    </a:cubicBezTo>
                    <a:cubicBezTo>
                      <a:pt x="6226" y="1861"/>
                      <a:pt x="3295" y="2219"/>
                      <a:pt x="1441" y="216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29" name="Vrije vorm: vorm 9128">
                <a:extLst>
                  <a:ext uri="{FF2B5EF4-FFF2-40B4-BE49-F238E27FC236}">
                    <a16:creationId xmlns:a16="http://schemas.microsoft.com/office/drawing/2014/main" id="{66E80946-85A5-42DF-9E23-F83D1165FFC7}"/>
                  </a:ext>
                </a:extLst>
              </p:cNvPr>
              <p:cNvSpPr/>
              <p:nvPr/>
            </p:nvSpPr>
            <p:spPr>
              <a:xfrm>
                <a:off x="6196799" y="1624732"/>
                <a:ext cx="16180" cy="20135"/>
              </a:xfrm>
              <a:custGeom>
                <a:avLst/>
                <a:gdLst>
                  <a:gd name="connsiteX0" fmla="*/ 7203 w 16180"/>
                  <a:gd name="connsiteY0" fmla="*/ 20127 h 20135"/>
                  <a:gd name="connsiteX1" fmla="*/ 4811 w 16180"/>
                  <a:gd name="connsiteY1" fmla="*/ 19648 h 20135"/>
                  <a:gd name="connsiteX2" fmla="*/ 146 w 16180"/>
                  <a:gd name="connsiteY2" fmla="*/ 6909 h 20135"/>
                  <a:gd name="connsiteX3" fmla="*/ 2837 w 16180"/>
                  <a:gd name="connsiteY3" fmla="*/ 1586 h 20135"/>
                  <a:gd name="connsiteX4" fmla="*/ 8399 w 16180"/>
                  <a:gd name="connsiteY4" fmla="*/ 31 h 20135"/>
                  <a:gd name="connsiteX5" fmla="*/ 8399 w 16180"/>
                  <a:gd name="connsiteY5" fmla="*/ 31 h 20135"/>
                  <a:gd name="connsiteX6" fmla="*/ 14320 w 16180"/>
                  <a:gd name="connsiteY6" fmla="*/ 2723 h 20135"/>
                  <a:gd name="connsiteX7" fmla="*/ 15756 w 16180"/>
                  <a:gd name="connsiteY7" fmla="*/ 12471 h 20135"/>
                  <a:gd name="connsiteX8" fmla="*/ 10552 w 16180"/>
                  <a:gd name="connsiteY8" fmla="*/ 19349 h 20135"/>
                  <a:gd name="connsiteX9" fmla="*/ 7203 w 16180"/>
                  <a:gd name="connsiteY9" fmla="*/ 20127 h 20135"/>
                  <a:gd name="connsiteX10" fmla="*/ 7921 w 16180"/>
                  <a:gd name="connsiteY10" fmla="*/ 1945 h 20135"/>
                  <a:gd name="connsiteX11" fmla="*/ 4213 w 16180"/>
                  <a:gd name="connsiteY11" fmla="*/ 3082 h 20135"/>
                  <a:gd name="connsiteX12" fmla="*/ 2179 w 16180"/>
                  <a:gd name="connsiteY12" fmla="*/ 7149 h 20135"/>
                  <a:gd name="connsiteX13" fmla="*/ 5588 w 16180"/>
                  <a:gd name="connsiteY13" fmla="*/ 18033 h 20135"/>
                  <a:gd name="connsiteX14" fmla="*/ 9655 w 16180"/>
                  <a:gd name="connsiteY14" fmla="*/ 17794 h 20135"/>
                  <a:gd name="connsiteX15" fmla="*/ 13842 w 16180"/>
                  <a:gd name="connsiteY15" fmla="*/ 12232 h 20135"/>
                  <a:gd name="connsiteX16" fmla="*/ 12765 w 16180"/>
                  <a:gd name="connsiteY16" fmla="*/ 3979 h 20135"/>
                  <a:gd name="connsiteX17" fmla="*/ 8340 w 16180"/>
                  <a:gd name="connsiteY17" fmla="*/ 2005 h 20135"/>
                  <a:gd name="connsiteX18" fmla="*/ 7921 w 16180"/>
                  <a:gd name="connsiteY18" fmla="*/ 1945 h 2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80" h="20135">
                    <a:moveTo>
                      <a:pt x="7203" y="20127"/>
                    </a:moveTo>
                    <a:cubicBezTo>
                      <a:pt x="6426" y="20127"/>
                      <a:pt x="5588" y="19947"/>
                      <a:pt x="4811" y="19648"/>
                    </a:cubicBezTo>
                    <a:cubicBezTo>
                      <a:pt x="-691" y="17555"/>
                      <a:pt x="-93" y="9840"/>
                      <a:pt x="146" y="6909"/>
                    </a:cubicBezTo>
                    <a:cubicBezTo>
                      <a:pt x="325" y="4637"/>
                      <a:pt x="1282" y="2842"/>
                      <a:pt x="2837" y="1586"/>
                    </a:cubicBezTo>
                    <a:cubicBezTo>
                      <a:pt x="4333" y="450"/>
                      <a:pt x="6306" y="-148"/>
                      <a:pt x="8399" y="31"/>
                    </a:cubicBezTo>
                    <a:lnTo>
                      <a:pt x="8399" y="31"/>
                    </a:lnTo>
                    <a:cubicBezTo>
                      <a:pt x="10971" y="211"/>
                      <a:pt x="13004" y="1108"/>
                      <a:pt x="14320" y="2723"/>
                    </a:cubicBezTo>
                    <a:cubicBezTo>
                      <a:pt x="16653" y="5474"/>
                      <a:pt x="16354" y="9541"/>
                      <a:pt x="15756" y="12471"/>
                    </a:cubicBezTo>
                    <a:cubicBezTo>
                      <a:pt x="15158" y="15402"/>
                      <a:pt x="13124" y="18093"/>
                      <a:pt x="10552" y="19349"/>
                    </a:cubicBezTo>
                    <a:cubicBezTo>
                      <a:pt x="9476" y="19947"/>
                      <a:pt x="8340" y="20186"/>
                      <a:pt x="7203" y="20127"/>
                    </a:cubicBezTo>
                    <a:close/>
                    <a:moveTo>
                      <a:pt x="7921" y="1945"/>
                    </a:moveTo>
                    <a:cubicBezTo>
                      <a:pt x="6486" y="1885"/>
                      <a:pt x="5170" y="2304"/>
                      <a:pt x="4213" y="3082"/>
                    </a:cubicBezTo>
                    <a:cubicBezTo>
                      <a:pt x="3017" y="3979"/>
                      <a:pt x="2359" y="5414"/>
                      <a:pt x="2179" y="7149"/>
                    </a:cubicBezTo>
                    <a:cubicBezTo>
                      <a:pt x="1880" y="11156"/>
                      <a:pt x="1880" y="16598"/>
                      <a:pt x="5588" y="18033"/>
                    </a:cubicBezTo>
                    <a:cubicBezTo>
                      <a:pt x="7263" y="18631"/>
                      <a:pt x="8698" y="18273"/>
                      <a:pt x="9655" y="17794"/>
                    </a:cubicBezTo>
                    <a:cubicBezTo>
                      <a:pt x="11689" y="16777"/>
                      <a:pt x="13304" y="14624"/>
                      <a:pt x="13842" y="12232"/>
                    </a:cubicBezTo>
                    <a:cubicBezTo>
                      <a:pt x="14260" y="10139"/>
                      <a:pt x="14739" y="6251"/>
                      <a:pt x="12765" y="3979"/>
                    </a:cubicBezTo>
                    <a:cubicBezTo>
                      <a:pt x="11809" y="2842"/>
                      <a:pt x="10313" y="2184"/>
                      <a:pt x="8340" y="2005"/>
                    </a:cubicBezTo>
                    <a:cubicBezTo>
                      <a:pt x="8160" y="1945"/>
                      <a:pt x="8041" y="1945"/>
                      <a:pt x="7921" y="194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30" name="Vrije vorm: vorm 9129">
                <a:extLst>
                  <a:ext uri="{FF2B5EF4-FFF2-40B4-BE49-F238E27FC236}">
                    <a16:creationId xmlns:a16="http://schemas.microsoft.com/office/drawing/2014/main" id="{53334251-1201-4754-9B59-DCE899A068F0}"/>
                  </a:ext>
                </a:extLst>
              </p:cNvPr>
              <p:cNvSpPr/>
              <p:nvPr/>
            </p:nvSpPr>
            <p:spPr>
              <a:xfrm>
                <a:off x="6196331" y="1635266"/>
                <a:ext cx="16342" cy="18040"/>
              </a:xfrm>
              <a:custGeom>
                <a:avLst/>
                <a:gdLst>
                  <a:gd name="connsiteX0" fmla="*/ 7252 w 16342"/>
                  <a:gd name="connsiteY0" fmla="*/ 18025 h 18040"/>
                  <a:gd name="connsiteX1" fmla="*/ 6594 w 16342"/>
                  <a:gd name="connsiteY1" fmla="*/ 17786 h 18040"/>
                  <a:gd name="connsiteX2" fmla="*/ 1331 w 16342"/>
                  <a:gd name="connsiteY2" fmla="*/ 12164 h 18040"/>
                  <a:gd name="connsiteX3" fmla="*/ 553 w 16342"/>
                  <a:gd name="connsiteY3" fmla="*/ 741 h 18040"/>
                  <a:gd name="connsiteX4" fmla="*/ 1750 w 16342"/>
                  <a:gd name="connsiteY4" fmla="*/ 23 h 18040"/>
                  <a:gd name="connsiteX5" fmla="*/ 2527 w 16342"/>
                  <a:gd name="connsiteY5" fmla="*/ 1100 h 18040"/>
                  <a:gd name="connsiteX6" fmla="*/ 3065 w 16342"/>
                  <a:gd name="connsiteY6" fmla="*/ 11207 h 18040"/>
                  <a:gd name="connsiteX7" fmla="*/ 7312 w 16342"/>
                  <a:gd name="connsiteY7" fmla="*/ 15812 h 18040"/>
                  <a:gd name="connsiteX8" fmla="*/ 12335 w 16342"/>
                  <a:gd name="connsiteY8" fmla="*/ 10489 h 18040"/>
                  <a:gd name="connsiteX9" fmla="*/ 14309 w 16342"/>
                  <a:gd name="connsiteY9" fmla="*/ 1638 h 18040"/>
                  <a:gd name="connsiteX10" fmla="*/ 15385 w 16342"/>
                  <a:gd name="connsiteY10" fmla="*/ 801 h 18040"/>
                  <a:gd name="connsiteX11" fmla="*/ 16342 w 16342"/>
                  <a:gd name="connsiteY11" fmla="*/ 1817 h 18040"/>
                  <a:gd name="connsiteX12" fmla="*/ 14189 w 16342"/>
                  <a:gd name="connsiteY12" fmla="*/ 11267 h 18040"/>
                  <a:gd name="connsiteX13" fmla="*/ 7969 w 16342"/>
                  <a:gd name="connsiteY13" fmla="*/ 17726 h 18040"/>
                  <a:gd name="connsiteX14" fmla="*/ 7252 w 16342"/>
                  <a:gd name="connsiteY14" fmla="*/ 18025 h 1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42" h="18040">
                    <a:moveTo>
                      <a:pt x="7252" y="18025"/>
                    </a:moveTo>
                    <a:cubicBezTo>
                      <a:pt x="7013" y="18025"/>
                      <a:pt x="6773" y="17965"/>
                      <a:pt x="6594" y="17786"/>
                    </a:cubicBezTo>
                    <a:cubicBezTo>
                      <a:pt x="6474" y="17666"/>
                      <a:pt x="3125" y="14915"/>
                      <a:pt x="1331" y="12164"/>
                    </a:cubicBezTo>
                    <a:cubicBezTo>
                      <a:pt x="-703" y="9174"/>
                      <a:pt x="75" y="2894"/>
                      <a:pt x="553" y="741"/>
                    </a:cubicBezTo>
                    <a:cubicBezTo>
                      <a:pt x="673" y="262"/>
                      <a:pt x="1211" y="-96"/>
                      <a:pt x="1750" y="23"/>
                    </a:cubicBezTo>
                    <a:cubicBezTo>
                      <a:pt x="2288" y="143"/>
                      <a:pt x="2646" y="621"/>
                      <a:pt x="2527" y="1100"/>
                    </a:cubicBezTo>
                    <a:cubicBezTo>
                      <a:pt x="2048" y="3372"/>
                      <a:pt x="1510" y="8875"/>
                      <a:pt x="3065" y="11207"/>
                    </a:cubicBezTo>
                    <a:cubicBezTo>
                      <a:pt x="4261" y="13001"/>
                      <a:pt x="6295" y="14915"/>
                      <a:pt x="7312" y="15812"/>
                    </a:cubicBezTo>
                    <a:cubicBezTo>
                      <a:pt x="8627" y="14736"/>
                      <a:pt x="11378" y="12284"/>
                      <a:pt x="12335" y="10489"/>
                    </a:cubicBezTo>
                    <a:cubicBezTo>
                      <a:pt x="13651" y="7918"/>
                      <a:pt x="14189" y="2655"/>
                      <a:pt x="14309" y="1638"/>
                    </a:cubicBezTo>
                    <a:cubicBezTo>
                      <a:pt x="14369" y="1100"/>
                      <a:pt x="14847" y="741"/>
                      <a:pt x="15385" y="801"/>
                    </a:cubicBezTo>
                    <a:cubicBezTo>
                      <a:pt x="15924" y="860"/>
                      <a:pt x="16342" y="1279"/>
                      <a:pt x="16342" y="1817"/>
                    </a:cubicBezTo>
                    <a:cubicBezTo>
                      <a:pt x="16223" y="3313"/>
                      <a:pt x="15625" y="8516"/>
                      <a:pt x="14189" y="11267"/>
                    </a:cubicBezTo>
                    <a:cubicBezTo>
                      <a:pt x="12814" y="13958"/>
                      <a:pt x="8149" y="17607"/>
                      <a:pt x="7969" y="17726"/>
                    </a:cubicBezTo>
                    <a:cubicBezTo>
                      <a:pt x="7730" y="17965"/>
                      <a:pt x="7491" y="18085"/>
                      <a:pt x="7252" y="1802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31" name="Vrije vorm: vorm 9130">
                <a:extLst>
                  <a:ext uri="{FF2B5EF4-FFF2-40B4-BE49-F238E27FC236}">
                    <a16:creationId xmlns:a16="http://schemas.microsoft.com/office/drawing/2014/main" id="{BE64C46D-C116-4914-948D-103CDC51022F}"/>
                  </a:ext>
                </a:extLst>
              </p:cNvPr>
              <p:cNvSpPr/>
              <p:nvPr/>
            </p:nvSpPr>
            <p:spPr>
              <a:xfrm>
                <a:off x="6202377" y="1651437"/>
                <a:ext cx="2227" cy="9210"/>
              </a:xfrm>
              <a:custGeom>
                <a:avLst/>
                <a:gdLst>
                  <a:gd name="connsiteX0" fmla="*/ 1027 w 2227"/>
                  <a:gd name="connsiteY0" fmla="*/ 9210 h 9210"/>
                  <a:gd name="connsiteX1" fmla="*/ 10 w 2227"/>
                  <a:gd name="connsiteY1" fmla="*/ 8313 h 9210"/>
                  <a:gd name="connsiteX2" fmla="*/ 189 w 2227"/>
                  <a:gd name="connsiteY2" fmla="*/ 897 h 9210"/>
                  <a:gd name="connsiteX3" fmla="*/ 1266 w 2227"/>
                  <a:gd name="connsiteY3" fmla="*/ 0 h 9210"/>
                  <a:gd name="connsiteX4" fmla="*/ 2222 w 2227"/>
                  <a:gd name="connsiteY4" fmla="*/ 957 h 9210"/>
                  <a:gd name="connsiteX5" fmla="*/ 2043 w 2227"/>
                  <a:gd name="connsiteY5" fmla="*/ 8194 h 9210"/>
                  <a:gd name="connsiteX6" fmla="*/ 1086 w 2227"/>
                  <a:gd name="connsiteY6" fmla="*/ 9150 h 9210"/>
                  <a:gd name="connsiteX7" fmla="*/ 1027 w 2227"/>
                  <a:gd name="connsiteY7" fmla="*/ 9210 h 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7" h="9210">
                    <a:moveTo>
                      <a:pt x="1027" y="9210"/>
                    </a:moveTo>
                    <a:cubicBezTo>
                      <a:pt x="488" y="9210"/>
                      <a:pt x="69" y="8792"/>
                      <a:pt x="10" y="8313"/>
                    </a:cubicBezTo>
                    <a:cubicBezTo>
                      <a:pt x="-50" y="6639"/>
                      <a:pt x="189" y="1136"/>
                      <a:pt x="189" y="897"/>
                    </a:cubicBezTo>
                    <a:cubicBezTo>
                      <a:pt x="189" y="359"/>
                      <a:pt x="667" y="0"/>
                      <a:pt x="1266" y="0"/>
                    </a:cubicBezTo>
                    <a:cubicBezTo>
                      <a:pt x="1804" y="0"/>
                      <a:pt x="2282" y="478"/>
                      <a:pt x="2222" y="957"/>
                    </a:cubicBezTo>
                    <a:cubicBezTo>
                      <a:pt x="2222" y="1017"/>
                      <a:pt x="1983" y="6639"/>
                      <a:pt x="2043" y="8194"/>
                    </a:cubicBezTo>
                    <a:cubicBezTo>
                      <a:pt x="2043" y="8732"/>
                      <a:pt x="1625" y="9150"/>
                      <a:pt x="1086" y="9150"/>
                    </a:cubicBezTo>
                    <a:cubicBezTo>
                      <a:pt x="1086" y="9210"/>
                      <a:pt x="1027" y="9210"/>
                      <a:pt x="1027" y="921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32" name="Vrije vorm: vorm 9131">
                <a:extLst>
                  <a:ext uri="{FF2B5EF4-FFF2-40B4-BE49-F238E27FC236}">
                    <a16:creationId xmlns:a16="http://schemas.microsoft.com/office/drawing/2014/main" id="{1D295E32-1D2C-4EE6-8BC3-BA2528C52B94}"/>
                  </a:ext>
                </a:extLst>
              </p:cNvPr>
              <p:cNvSpPr/>
              <p:nvPr/>
            </p:nvSpPr>
            <p:spPr>
              <a:xfrm>
                <a:off x="6200906" y="1666442"/>
                <a:ext cx="7105" cy="14001"/>
              </a:xfrm>
              <a:custGeom>
                <a:avLst/>
                <a:gdLst>
                  <a:gd name="connsiteX0" fmla="*/ 3993 w 7105"/>
                  <a:gd name="connsiteY0" fmla="*/ 14001 h 14001"/>
                  <a:gd name="connsiteX1" fmla="*/ 2916 w 7105"/>
                  <a:gd name="connsiteY1" fmla="*/ 13762 h 14001"/>
                  <a:gd name="connsiteX2" fmla="*/ 404 w 7105"/>
                  <a:gd name="connsiteY2" fmla="*/ 10772 h 14001"/>
                  <a:gd name="connsiteX3" fmla="*/ 643 w 7105"/>
                  <a:gd name="connsiteY3" fmla="*/ 784 h 14001"/>
                  <a:gd name="connsiteX4" fmla="*/ 1839 w 7105"/>
                  <a:gd name="connsiteY4" fmla="*/ 7 h 14001"/>
                  <a:gd name="connsiteX5" fmla="*/ 2677 w 7105"/>
                  <a:gd name="connsiteY5" fmla="*/ 1083 h 14001"/>
                  <a:gd name="connsiteX6" fmla="*/ 2318 w 7105"/>
                  <a:gd name="connsiteY6" fmla="*/ 10174 h 14001"/>
                  <a:gd name="connsiteX7" fmla="*/ 3753 w 7105"/>
                  <a:gd name="connsiteY7" fmla="*/ 12088 h 14001"/>
                  <a:gd name="connsiteX8" fmla="*/ 3933 w 7105"/>
                  <a:gd name="connsiteY8" fmla="*/ 12147 h 14001"/>
                  <a:gd name="connsiteX9" fmla="*/ 5009 w 7105"/>
                  <a:gd name="connsiteY9" fmla="*/ 7004 h 14001"/>
                  <a:gd name="connsiteX10" fmla="*/ 5847 w 7105"/>
                  <a:gd name="connsiteY10" fmla="*/ 5927 h 14001"/>
                  <a:gd name="connsiteX11" fmla="*/ 7043 w 7105"/>
                  <a:gd name="connsiteY11" fmla="*/ 6705 h 14001"/>
                  <a:gd name="connsiteX12" fmla="*/ 4770 w 7105"/>
                  <a:gd name="connsiteY12" fmla="*/ 13882 h 14001"/>
                  <a:gd name="connsiteX13" fmla="*/ 3993 w 7105"/>
                  <a:gd name="connsiteY13" fmla="*/ 14001 h 14001"/>
                  <a:gd name="connsiteX14" fmla="*/ 3933 w 7105"/>
                  <a:gd name="connsiteY14" fmla="*/ 12207 h 14001"/>
                  <a:gd name="connsiteX15" fmla="*/ 3933 w 7105"/>
                  <a:gd name="connsiteY15" fmla="*/ 12207 h 14001"/>
                  <a:gd name="connsiteX16" fmla="*/ 3933 w 7105"/>
                  <a:gd name="connsiteY16" fmla="*/ 12207 h 1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05" h="14001">
                    <a:moveTo>
                      <a:pt x="3993" y="14001"/>
                    </a:moveTo>
                    <a:cubicBezTo>
                      <a:pt x="3634" y="14001"/>
                      <a:pt x="3275" y="13882"/>
                      <a:pt x="2916" y="13762"/>
                    </a:cubicBezTo>
                    <a:cubicBezTo>
                      <a:pt x="1839" y="13284"/>
                      <a:pt x="942" y="12207"/>
                      <a:pt x="404" y="10772"/>
                    </a:cubicBezTo>
                    <a:cubicBezTo>
                      <a:pt x="-433" y="8559"/>
                      <a:pt x="225" y="3236"/>
                      <a:pt x="643" y="784"/>
                    </a:cubicBezTo>
                    <a:cubicBezTo>
                      <a:pt x="763" y="305"/>
                      <a:pt x="1241" y="-53"/>
                      <a:pt x="1839" y="7"/>
                    </a:cubicBezTo>
                    <a:cubicBezTo>
                      <a:pt x="2378" y="66"/>
                      <a:pt x="2796" y="545"/>
                      <a:pt x="2677" y="1083"/>
                    </a:cubicBezTo>
                    <a:cubicBezTo>
                      <a:pt x="2138" y="3894"/>
                      <a:pt x="1720" y="8559"/>
                      <a:pt x="2318" y="10174"/>
                    </a:cubicBezTo>
                    <a:cubicBezTo>
                      <a:pt x="2737" y="11310"/>
                      <a:pt x="3335" y="11908"/>
                      <a:pt x="3753" y="12088"/>
                    </a:cubicBezTo>
                    <a:cubicBezTo>
                      <a:pt x="3813" y="12088"/>
                      <a:pt x="3873" y="12147"/>
                      <a:pt x="3933" y="12147"/>
                    </a:cubicBezTo>
                    <a:cubicBezTo>
                      <a:pt x="4471" y="11370"/>
                      <a:pt x="5248" y="8200"/>
                      <a:pt x="5009" y="7004"/>
                    </a:cubicBezTo>
                    <a:cubicBezTo>
                      <a:pt x="4890" y="6525"/>
                      <a:pt x="5308" y="5987"/>
                      <a:pt x="5847" y="5927"/>
                    </a:cubicBezTo>
                    <a:cubicBezTo>
                      <a:pt x="6385" y="5868"/>
                      <a:pt x="6923" y="6167"/>
                      <a:pt x="7043" y="6705"/>
                    </a:cubicBezTo>
                    <a:cubicBezTo>
                      <a:pt x="7342" y="8140"/>
                      <a:pt x="6564" y="13344"/>
                      <a:pt x="4770" y="13882"/>
                    </a:cubicBezTo>
                    <a:cubicBezTo>
                      <a:pt x="4531" y="13942"/>
                      <a:pt x="4292" y="14001"/>
                      <a:pt x="3993" y="14001"/>
                    </a:cubicBezTo>
                    <a:close/>
                    <a:moveTo>
                      <a:pt x="3933" y="12207"/>
                    </a:moveTo>
                    <a:lnTo>
                      <a:pt x="3933" y="12207"/>
                    </a:lnTo>
                    <a:lnTo>
                      <a:pt x="3933" y="12207"/>
                    </a:lnTo>
                    <a:close/>
                  </a:path>
                </a:pathLst>
              </a:custGeom>
              <a:grpFill/>
              <a:ln w="6350" cap="flat">
                <a:solidFill>
                  <a:schemeClr val="bg1">
                    <a:alpha val="80000"/>
                  </a:schemeClr>
                </a:solidFill>
                <a:prstDash val="solid"/>
                <a:miter/>
              </a:ln>
            </p:spPr>
            <p:txBody>
              <a:bodyPr rtlCol="0" anchor="ctr"/>
              <a:lstStyle/>
              <a:p>
                <a:endParaRPr lang="en-GB"/>
              </a:p>
            </p:txBody>
          </p:sp>
          <p:sp>
            <p:nvSpPr>
              <p:cNvPr id="9133" name="Vrije vorm: vorm 9132">
                <a:extLst>
                  <a:ext uri="{FF2B5EF4-FFF2-40B4-BE49-F238E27FC236}">
                    <a16:creationId xmlns:a16="http://schemas.microsoft.com/office/drawing/2014/main" id="{A9E6DF3F-90E6-48B7-A633-FD853E3CC48E}"/>
                  </a:ext>
                </a:extLst>
              </p:cNvPr>
              <p:cNvSpPr/>
              <p:nvPr/>
            </p:nvSpPr>
            <p:spPr>
              <a:xfrm>
                <a:off x="6199935" y="1657214"/>
                <a:ext cx="6997" cy="6184"/>
              </a:xfrm>
              <a:custGeom>
                <a:avLst/>
                <a:gdLst>
                  <a:gd name="connsiteX0" fmla="*/ 1675 w 6997"/>
                  <a:gd name="connsiteY0" fmla="*/ 6185 h 6184"/>
                  <a:gd name="connsiteX1" fmla="*/ 658 w 6997"/>
                  <a:gd name="connsiteY1" fmla="*/ 5407 h 6184"/>
                  <a:gd name="connsiteX2" fmla="*/ 359 w 6997"/>
                  <a:gd name="connsiteY2" fmla="*/ 4331 h 6184"/>
                  <a:gd name="connsiteX3" fmla="*/ 419 w 6997"/>
                  <a:gd name="connsiteY3" fmla="*/ 922 h 6184"/>
                  <a:gd name="connsiteX4" fmla="*/ 2572 w 6997"/>
                  <a:gd name="connsiteY4" fmla="*/ 24 h 6184"/>
                  <a:gd name="connsiteX5" fmla="*/ 5981 w 6997"/>
                  <a:gd name="connsiteY5" fmla="*/ 623 h 6184"/>
                  <a:gd name="connsiteX6" fmla="*/ 6998 w 6997"/>
                  <a:gd name="connsiteY6" fmla="*/ 3792 h 6184"/>
                  <a:gd name="connsiteX7" fmla="*/ 6041 w 6997"/>
                  <a:gd name="connsiteY7" fmla="*/ 4749 h 6184"/>
                  <a:gd name="connsiteX8" fmla="*/ 4964 w 6997"/>
                  <a:gd name="connsiteY8" fmla="*/ 3852 h 6184"/>
                  <a:gd name="connsiteX9" fmla="*/ 4605 w 6997"/>
                  <a:gd name="connsiteY9" fmla="*/ 1938 h 6184"/>
                  <a:gd name="connsiteX10" fmla="*/ 2692 w 6997"/>
                  <a:gd name="connsiteY10" fmla="*/ 1819 h 6184"/>
                  <a:gd name="connsiteX11" fmla="*/ 2093 w 6997"/>
                  <a:gd name="connsiteY11" fmla="*/ 1998 h 6184"/>
                  <a:gd name="connsiteX12" fmla="*/ 2333 w 6997"/>
                  <a:gd name="connsiteY12" fmla="*/ 3852 h 6184"/>
                  <a:gd name="connsiteX13" fmla="*/ 2632 w 6997"/>
                  <a:gd name="connsiteY13" fmla="*/ 5108 h 6184"/>
                  <a:gd name="connsiteX14" fmla="*/ 1794 w 6997"/>
                  <a:gd name="connsiteY14" fmla="*/ 6185 h 6184"/>
                  <a:gd name="connsiteX15" fmla="*/ 1675 w 6997"/>
                  <a:gd name="connsiteY15" fmla="*/ 6185 h 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97" h="6184">
                    <a:moveTo>
                      <a:pt x="1675" y="6185"/>
                    </a:moveTo>
                    <a:cubicBezTo>
                      <a:pt x="1197" y="6185"/>
                      <a:pt x="778" y="5826"/>
                      <a:pt x="658" y="5407"/>
                    </a:cubicBezTo>
                    <a:cubicBezTo>
                      <a:pt x="598" y="5108"/>
                      <a:pt x="479" y="4689"/>
                      <a:pt x="359" y="4331"/>
                    </a:cubicBezTo>
                    <a:cubicBezTo>
                      <a:pt x="60" y="3194"/>
                      <a:pt x="-299" y="1878"/>
                      <a:pt x="419" y="922"/>
                    </a:cubicBezTo>
                    <a:cubicBezTo>
                      <a:pt x="838" y="383"/>
                      <a:pt x="1615" y="84"/>
                      <a:pt x="2572" y="24"/>
                    </a:cubicBezTo>
                    <a:cubicBezTo>
                      <a:pt x="4067" y="-35"/>
                      <a:pt x="5144" y="-35"/>
                      <a:pt x="5981" y="623"/>
                    </a:cubicBezTo>
                    <a:cubicBezTo>
                      <a:pt x="6759" y="1221"/>
                      <a:pt x="6938" y="2237"/>
                      <a:pt x="6998" y="3792"/>
                    </a:cubicBezTo>
                    <a:cubicBezTo>
                      <a:pt x="6998" y="4331"/>
                      <a:pt x="6579" y="4749"/>
                      <a:pt x="6041" y="4749"/>
                    </a:cubicBezTo>
                    <a:cubicBezTo>
                      <a:pt x="5502" y="4749"/>
                      <a:pt x="5024" y="4390"/>
                      <a:pt x="4964" y="3852"/>
                    </a:cubicBezTo>
                    <a:cubicBezTo>
                      <a:pt x="4905" y="2716"/>
                      <a:pt x="4785" y="2118"/>
                      <a:pt x="4605" y="1938"/>
                    </a:cubicBezTo>
                    <a:cubicBezTo>
                      <a:pt x="4366" y="1759"/>
                      <a:pt x="3230" y="1819"/>
                      <a:pt x="2692" y="1819"/>
                    </a:cubicBezTo>
                    <a:cubicBezTo>
                      <a:pt x="2273" y="1819"/>
                      <a:pt x="2093" y="1938"/>
                      <a:pt x="2093" y="1998"/>
                    </a:cubicBezTo>
                    <a:cubicBezTo>
                      <a:pt x="1914" y="2237"/>
                      <a:pt x="2153" y="3254"/>
                      <a:pt x="2333" y="3852"/>
                    </a:cubicBezTo>
                    <a:cubicBezTo>
                      <a:pt x="2452" y="4271"/>
                      <a:pt x="2572" y="4689"/>
                      <a:pt x="2632" y="5108"/>
                    </a:cubicBezTo>
                    <a:cubicBezTo>
                      <a:pt x="2692" y="5646"/>
                      <a:pt x="2333" y="6065"/>
                      <a:pt x="1794" y="6185"/>
                    </a:cubicBezTo>
                    <a:cubicBezTo>
                      <a:pt x="1794" y="6185"/>
                      <a:pt x="1735" y="6185"/>
                      <a:pt x="1675" y="618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34" name="Vrije vorm: vorm 9133">
                <a:extLst>
                  <a:ext uri="{FF2B5EF4-FFF2-40B4-BE49-F238E27FC236}">
                    <a16:creationId xmlns:a16="http://schemas.microsoft.com/office/drawing/2014/main" id="{0CCEAD03-585A-4BC0-8113-732F9C8F1E8F}"/>
                  </a:ext>
                </a:extLst>
              </p:cNvPr>
              <p:cNvSpPr/>
              <p:nvPr/>
            </p:nvSpPr>
            <p:spPr>
              <a:xfrm>
                <a:off x="6201029" y="1658169"/>
                <a:ext cx="5006" cy="4751"/>
              </a:xfrm>
              <a:custGeom>
                <a:avLst/>
                <a:gdLst>
                  <a:gd name="connsiteX0" fmla="*/ 641 w 5006"/>
                  <a:gd name="connsiteY0" fmla="*/ 4333 h 4751"/>
                  <a:gd name="connsiteX1" fmla="*/ 1657 w 5006"/>
                  <a:gd name="connsiteY1" fmla="*/ 26 h 4751"/>
                  <a:gd name="connsiteX2" fmla="*/ 5006 w 5006"/>
                  <a:gd name="connsiteY2" fmla="*/ 2897 h 4751"/>
                  <a:gd name="connsiteX3" fmla="*/ 3511 w 5006"/>
                  <a:gd name="connsiteY3" fmla="*/ 4751 h 4751"/>
                  <a:gd name="connsiteX4" fmla="*/ 641 w 5006"/>
                  <a:gd name="connsiteY4" fmla="*/ 4333 h 4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6" h="4751">
                    <a:moveTo>
                      <a:pt x="641" y="4333"/>
                    </a:moveTo>
                    <a:cubicBezTo>
                      <a:pt x="342" y="2538"/>
                      <a:pt x="-1094" y="146"/>
                      <a:pt x="1657" y="26"/>
                    </a:cubicBezTo>
                    <a:cubicBezTo>
                      <a:pt x="4408" y="-93"/>
                      <a:pt x="4827" y="86"/>
                      <a:pt x="5006" y="2897"/>
                    </a:cubicBezTo>
                    <a:lnTo>
                      <a:pt x="3511" y="4751"/>
                    </a:lnTo>
                    <a:lnTo>
                      <a:pt x="641" y="4333"/>
                    </a:lnTo>
                    <a:close/>
                  </a:path>
                </a:pathLst>
              </a:custGeom>
              <a:grpFill/>
              <a:ln w="6350" cap="flat">
                <a:solidFill>
                  <a:schemeClr val="bg1">
                    <a:alpha val="80000"/>
                  </a:schemeClr>
                </a:solidFill>
                <a:prstDash val="solid"/>
                <a:miter/>
              </a:ln>
            </p:spPr>
            <p:txBody>
              <a:bodyPr rtlCol="0" anchor="ctr"/>
              <a:lstStyle/>
              <a:p>
                <a:endParaRPr lang="en-GB"/>
              </a:p>
            </p:txBody>
          </p:sp>
          <p:sp>
            <p:nvSpPr>
              <p:cNvPr id="9135" name="Vrije vorm: vorm 9134">
                <a:extLst>
                  <a:ext uri="{FF2B5EF4-FFF2-40B4-BE49-F238E27FC236}">
                    <a16:creationId xmlns:a16="http://schemas.microsoft.com/office/drawing/2014/main" id="{0485B647-FDF9-421B-867A-8D7A180F5389}"/>
                  </a:ext>
                </a:extLst>
              </p:cNvPr>
              <p:cNvSpPr/>
              <p:nvPr/>
            </p:nvSpPr>
            <p:spPr>
              <a:xfrm>
                <a:off x="6198063" y="1626112"/>
                <a:ext cx="15896" cy="7442"/>
              </a:xfrm>
              <a:custGeom>
                <a:avLst/>
                <a:gdLst>
                  <a:gd name="connsiteX0" fmla="*/ 14252 w 15896"/>
                  <a:gd name="connsiteY0" fmla="*/ 1582 h 7442"/>
                  <a:gd name="connsiteX1" fmla="*/ 14491 w 15896"/>
                  <a:gd name="connsiteY1" fmla="*/ 1701 h 7442"/>
                  <a:gd name="connsiteX2" fmla="*/ 15687 w 15896"/>
                  <a:gd name="connsiteY2" fmla="*/ 4811 h 7442"/>
                  <a:gd name="connsiteX3" fmla="*/ 7912 w 15896"/>
                  <a:gd name="connsiteY3" fmla="*/ 3675 h 7442"/>
                  <a:gd name="connsiteX4" fmla="*/ 197 w 15896"/>
                  <a:gd name="connsiteY4" fmla="*/ 7443 h 7442"/>
                  <a:gd name="connsiteX5" fmla="*/ 2769 w 15896"/>
                  <a:gd name="connsiteY5" fmla="*/ 1223 h 7442"/>
                  <a:gd name="connsiteX6" fmla="*/ 11022 w 15896"/>
                  <a:gd name="connsiteY6" fmla="*/ 1641 h 7442"/>
                  <a:gd name="connsiteX7" fmla="*/ 14252 w 15896"/>
                  <a:gd name="connsiteY7" fmla="*/ 1582 h 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96" h="7442">
                    <a:moveTo>
                      <a:pt x="14252" y="1582"/>
                    </a:moveTo>
                    <a:cubicBezTo>
                      <a:pt x="14312" y="1641"/>
                      <a:pt x="14431" y="1641"/>
                      <a:pt x="14491" y="1701"/>
                    </a:cubicBezTo>
                    <a:cubicBezTo>
                      <a:pt x="15687" y="2240"/>
                      <a:pt x="16225" y="3735"/>
                      <a:pt x="15687" y="4811"/>
                    </a:cubicBezTo>
                    <a:cubicBezTo>
                      <a:pt x="14132" y="7921"/>
                      <a:pt x="9587" y="5170"/>
                      <a:pt x="7912" y="3675"/>
                    </a:cubicBezTo>
                    <a:cubicBezTo>
                      <a:pt x="7195" y="5290"/>
                      <a:pt x="3486" y="7204"/>
                      <a:pt x="197" y="7443"/>
                    </a:cubicBezTo>
                    <a:cubicBezTo>
                      <a:pt x="197" y="7443"/>
                      <a:pt x="-1059" y="3017"/>
                      <a:pt x="2769" y="1223"/>
                    </a:cubicBezTo>
                    <a:cubicBezTo>
                      <a:pt x="5041" y="206"/>
                      <a:pt x="9527" y="-1110"/>
                      <a:pt x="11022" y="1641"/>
                    </a:cubicBezTo>
                    <a:cubicBezTo>
                      <a:pt x="12099" y="1402"/>
                      <a:pt x="13295" y="1223"/>
                      <a:pt x="14252" y="1582"/>
                    </a:cubicBez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8981" name="Graphic 3">
              <a:extLst>
                <a:ext uri="{FF2B5EF4-FFF2-40B4-BE49-F238E27FC236}">
                  <a16:creationId xmlns:a16="http://schemas.microsoft.com/office/drawing/2014/main" id="{68350B5F-2360-4732-BC49-8C44ACFEDAF7}"/>
                </a:ext>
              </a:extLst>
            </p:cNvPr>
            <p:cNvGrpSpPr/>
            <p:nvPr/>
          </p:nvGrpSpPr>
          <p:grpSpPr>
            <a:xfrm>
              <a:off x="5038708" y="2288729"/>
              <a:ext cx="62455" cy="97345"/>
              <a:chOff x="5038708" y="2288729"/>
              <a:chExt cx="62455" cy="97345"/>
            </a:xfrm>
            <a:grpFill/>
          </p:grpSpPr>
          <p:sp>
            <p:nvSpPr>
              <p:cNvPr id="9105" name="Vrije vorm: vorm 9104">
                <a:extLst>
                  <a:ext uri="{FF2B5EF4-FFF2-40B4-BE49-F238E27FC236}">
                    <a16:creationId xmlns:a16="http://schemas.microsoft.com/office/drawing/2014/main" id="{2CE82C7E-3AB4-4DA8-AC77-16146796E1DC}"/>
                  </a:ext>
                </a:extLst>
              </p:cNvPr>
              <p:cNvSpPr/>
              <p:nvPr/>
            </p:nvSpPr>
            <p:spPr>
              <a:xfrm>
                <a:off x="5041921" y="2298028"/>
                <a:ext cx="16906" cy="10760"/>
              </a:xfrm>
              <a:custGeom>
                <a:avLst/>
                <a:gdLst>
                  <a:gd name="connsiteX0" fmla="*/ 12825 w 16906"/>
                  <a:gd name="connsiteY0" fmla="*/ 10451 h 10760"/>
                  <a:gd name="connsiteX1" fmla="*/ 146 w 16906"/>
                  <a:gd name="connsiteY1" fmla="*/ 4290 h 10760"/>
                  <a:gd name="connsiteX2" fmla="*/ 505 w 16906"/>
                  <a:gd name="connsiteY2" fmla="*/ 2915 h 10760"/>
                  <a:gd name="connsiteX3" fmla="*/ 2000 w 16906"/>
                  <a:gd name="connsiteY3" fmla="*/ 3154 h 10760"/>
                  <a:gd name="connsiteX4" fmla="*/ 12526 w 16906"/>
                  <a:gd name="connsiteY4" fmla="*/ 8477 h 10760"/>
                  <a:gd name="connsiteX5" fmla="*/ 14380 w 16906"/>
                  <a:gd name="connsiteY5" fmla="*/ 1420 h 10760"/>
                  <a:gd name="connsiteX6" fmla="*/ 14979 w 16906"/>
                  <a:gd name="connsiteY6" fmla="*/ 104 h 10760"/>
                  <a:gd name="connsiteX7" fmla="*/ 16354 w 16906"/>
                  <a:gd name="connsiteY7" fmla="*/ 582 h 10760"/>
                  <a:gd name="connsiteX8" fmla="*/ 13603 w 16906"/>
                  <a:gd name="connsiteY8" fmla="*/ 10211 h 10760"/>
                  <a:gd name="connsiteX9" fmla="*/ 12825 w 16906"/>
                  <a:gd name="connsiteY9" fmla="*/ 10451 h 1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06" h="10760">
                    <a:moveTo>
                      <a:pt x="12825" y="10451"/>
                    </a:moveTo>
                    <a:cubicBezTo>
                      <a:pt x="8998" y="11826"/>
                      <a:pt x="2957" y="8417"/>
                      <a:pt x="146" y="4290"/>
                    </a:cubicBezTo>
                    <a:cubicBezTo>
                      <a:pt x="-153" y="3812"/>
                      <a:pt x="27" y="3214"/>
                      <a:pt x="505" y="2915"/>
                    </a:cubicBezTo>
                    <a:cubicBezTo>
                      <a:pt x="983" y="2616"/>
                      <a:pt x="1641" y="2735"/>
                      <a:pt x="2000" y="3154"/>
                    </a:cubicBezTo>
                    <a:cubicBezTo>
                      <a:pt x="4871" y="7400"/>
                      <a:pt x="10373" y="9733"/>
                      <a:pt x="12526" y="8477"/>
                    </a:cubicBezTo>
                    <a:cubicBezTo>
                      <a:pt x="15038" y="6982"/>
                      <a:pt x="15158" y="3035"/>
                      <a:pt x="14380" y="1420"/>
                    </a:cubicBezTo>
                    <a:cubicBezTo>
                      <a:pt x="14141" y="941"/>
                      <a:pt x="14440" y="343"/>
                      <a:pt x="14979" y="104"/>
                    </a:cubicBezTo>
                    <a:cubicBezTo>
                      <a:pt x="15517" y="-135"/>
                      <a:pt x="16175" y="44"/>
                      <a:pt x="16354" y="582"/>
                    </a:cubicBezTo>
                    <a:cubicBezTo>
                      <a:pt x="17490" y="3154"/>
                      <a:pt x="17012" y="8118"/>
                      <a:pt x="13603" y="10211"/>
                    </a:cubicBezTo>
                    <a:cubicBezTo>
                      <a:pt x="13364" y="10271"/>
                      <a:pt x="13065" y="10391"/>
                      <a:pt x="12825" y="10451"/>
                    </a:cubicBezTo>
                    <a:close/>
                  </a:path>
                </a:pathLst>
              </a:custGeom>
              <a:grpFill/>
              <a:ln w="6350" cap="flat">
                <a:solidFill>
                  <a:schemeClr val="bg1">
                    <a:alpha val="80000"/>
                  </a:schemeClr>
                </a:solidFill>
                <a:prstDash val="solid"/>
                <a:miter/>
              </a:ln>
            </p:spPr>
            <p:txBody>
              <a:bodyPr rtlCol="0" anchor="ctr"/>
              <a:lstStyle/>
              <a:p>
                <a:endParaRPr lang="en-GB"/>
              </a:p>
            </p:txBody>
          </p:sp>
          <p:grpSp>
            <p:nvGrpSpPr>
              <p:cNvPr id="9106" name="Graphic 3">
                <a:extLst>
                  <a:ext uri="{FF2B5EF4-FFF2-40B4-BE49-F238E27FC236}">
                    <a16:creationId xmlns:a16="http://schemas.microsoft.com/office/drawing/2014/main" id="{D2CE375B-8651-489C-B1DB-5CF5B8BDF91D}"/>
                  </a:ext>
                </a:extLst>
              </p:cNvPr>
              <p:cNvGrpSpPr/>
              <p:nvPr/>
            </p:nvGrpSpPr>
            <p:grpSpPr>
              <a:xfrm>
                <a:off x="5038708" y="2288729"/>
                <a:ext cx="19753" cy="13789"/>
                <a:chOff x="5038708" y="2288729"/>
                <a:chExt cx="19753" cy="13789"/>
              </a:xfrm>
              <a:grpFill/>
            </p:grpSpPr>
            <p:sp>
              <p:nvSpPr>
                <p:cNvPr id="9119" name="Vrije vorm: vorm 9118">
                  <a:extLst>
                    <a:ext uri="{FF2B5EF4-FFF2-40B4-BE49-F238E27FC236}">
                      <a16:creationId xmlns:a16="http://schemas.microsoft.com/office/drawing/2014/main" id="{D99E014D-1688-4FF7-B9D9-4F10645275B8}"/>
                    </a:ext>
                  </a:extLst>
                </p:cNvPr>
                <p:cNvSpPr/>
                <p:nvPr/>
              </p:nvSpPr>
              <p:spPr>
                <a:xfrm>
                  <a:off x="5039739" y="2289799"/>
                  <a:ext cx="17638" cy="11689"/>
                </a:xfrm>
                <a:custGeom>
                  <a:avLst/>
                  <a:gdLst>
                    <a:gd name="connsiteX0" fmla="*/ 10701 w 17638"/>
                    <a:gd name="connsiteY0" fmla="*/ 5164 h 11689"/>
                    <a:gd name="connsiteX1" fmla="*/ 4481 w 17638"/>
                    <a:gd name="connsiteY1" fmla="*/ 11264 h 11689"/>
                    <a:gd name="connsiteX2" fmla="*/ 175 w 17638"/>
                    <a:gd name="connsiteY2" fmla="*/ 10068 h 11689"/>
                    <a:gd name="connsiteX3" fmla="*/ 2806 w 17638"/>
                    <a:gd name="connsiteY3" fmla="*/ 3190 h 11689"/>
                    <a:gd name="connsiteX4" fmla="*/ 12854 w 17638"/>
                    <a:gd name="connsiteY4" fmla="*/ 738 h 11689"/>
                    <a:gd name="connsiteX5" fmla="*/ 17638 w 17638"/>
                    <a:gd name="connsiteY5" fmla="*/ 9649 h 11689"/>
                    <a:gd name="connsiteX6" fmla="*/ 10701 w 17638"/>
                    <a:gd name="connsiteY6" fmla="*/ 5164 h 1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8" h="11689">
                      <a:moveTo>
                        <a:pt x="10701" y="5164"/>
                      </a:moveTo>
                      <a:cubicBezTo>
                        <a:pt x="9146" y="6599"/>
                        <a:pt x="6514" y="10546"/>
                        <a:pt x="4481" y="11264"/>
                      </a:cubicBezTo>
                      <a:cubicBezTo>
                        <a:pt x="2447" y="11982"/>
                        <a:pt x="713" y="11922"/>
                        <a:pt x="175" y="10068"/>
                      </a:cubicBezTo>
                      <a:cubicBezTo>
                        <a:pt x="-363" y="8214"/>
                        <a:pt x="294" y="5642"/>
                        <a:pt x="2806" y="3190"/>
                      </a:cubicBezTo>
                      <a:cubicBezTo>
                        <a:pt x="5318" y="678"/>
                        <a:pt x="10641" y="-1056"/>
                        <a:pt x="12854" y="738"/>
                      </a:cubicBezTo>
                      <a:cubicBezTo>
                        <a:pt x="15067" y="2532"/>
                        <a:pt x="17100" y="4685"/>
                        <a:pt x="17638" y="9649"/>
                      </a:cubicBezTo>
                      <a:cubicBezTo>
                        <a:pt x="17698" y="9589"/>
                        <a:pt x="12854" y="4207"/>
                        <a:pt x="10701" y="516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20" name="Vrije vorm: vorm 9119">
                  <a:extLst>
                    <a:ext uri="{FF2B5EF4-FFF2-40B4-BE49-F238E27FC236}">
                      <a16:creationId xmlns:a16="http://schemas.microsoft.com/office/drawing/2014/main" id="{CF3163D6-3076-4B79-830B-6FEA61982FBA}"/>
                    </a:ext>
                  </a:extLst>
                </p:cNvPr>
                <p:cNvSpPr/>
                <p:nvPr/>
              </p:nvSpPr>
              <p:spPr>
                <a:xfrm>
                  <a:off x="5038708" y="2288729"/>
                  <a:ext cx="19753" cy="13789"/>
                </a:xfrm>
                <a:custGeom>
                  <a:avLst/>
                  <a:gdLst>
                    <a:gd name="connsiteX0" fmla="*/ 19088 w 19753"/>
                    <a:gd name="connsiteY0" fmla="*/ 11617 h 13789"/>
                    <a:gd name="connsiteX1" fmla="*/ 17892 w 19753"/>
                    <a:gd name="connsiteY1" fmla="*/ 11377 h 13789"/>
                    <a:gd name="connsiteX2" fmla="*/ 12270 w 19753"/>
                    <a:gd name="connsiteY2" fmla="*/ 7131 h 13789"/>
                    <a:gd name="connsiteX3" fmla="*/ 10655 w 19753"/>
                    <a:gd name="connsiteY3" fmla="*/ 8925 h 13789"/>
                    <a:gd name="connsiteX4" fmla="*/ 5811 w 19753"/>
                    <a:gd name="connsiteY4" fmla="*/ 13291 h 13789"/>
                    <a:gd name="connsiteX5" fmla="*/ 1804 w 19753"/>
                    <a:gd name="connsiteY5" fmla="*/ 13471 h 13789"/>
                    <a:gd name="connsiteX6" fmla="*/ 189 w 19753"/>
                    <a:gd name="connsiteY6" fmla="*/ 11377 h 13789"/>
                    <a:gd name="connsiteX7" fmla="*/ 3120 w 19753"/>
                    <a:gd name="connsiteY7" fmla="*/ 3543 h 13789"/>
                    <a:gd name="connsiteX8" fmla="*/ 14662 w 19753"/>
                    <a:gd name="connsiteY8" fmla="*/ 971 h 13789"/>
                    <a:gd name="connsiteX9" fmla="*/ 19746 w 19753"/>
                    <a:gd name="connsiteY9" fmla="*/ 10480 h 13789"/>
                    <a:gd name="connsiteX10" fmla="*/ 19088 w 19753"/>
                    <a:gd name="connsiteY10" fmla="*/ 11557 h 13789"/>
                    <a:gd name="connsiteX11" fmla="*/ 19088 w 19753"/>
                    <a:gd name="connsiteY11" fmla="*/ 11617 h 13789"/>
                    <a:gd name="connsiteX12" fmla="*/ 11493 w 19753"/>
                    <a:gd name="connsiteY12" fmla="*/ 5277 h 13789"/>
                    <a:gd name="connsiteX13" fmla="*/ 16935 w 19753"/>
                    <a:gd name="connsiteY13" fmla="*/ 7370 h 13789"/>
                    <a:gd name="connsiteX14" fmla="*/ 13227 w 19753"/>
                    <a:gd name="connsiteY14" fmla="*/ 2526 h 13789"/>
                    <a:gd name="connsiteX15" fmla="*/ 4675 w 19753"/>
                    <a:gd name="connsiteY15" fmla="*/ 4859 h 13789"/>
                    <a:gd name="connsiteX16" fmla="*/ 2282 w 19753"/>
                    <a:gd name="connsiteY16" fmla="*/ 10779 h 13789"/>
                    <a:gd name="connsiteX17" fmla="*/ 2881 w 19753"/>
                    <a:gd name="connsiteY17" fmla="*/ 11617 h 13789"/>
                    <a:gd name="connsiteX18" fmla="*/ 5213 w 19753"/>
                    <a:gd name="connsiteY18" fmla="*/ 11377 h 13789"/>
                    <a:gd name="connsiteX19" fmla="*/ 9041 w 19753"/>
                    <a:gd name="connsiteY19" fmla="*/ 7669 h 13789"/>
                    <a:gd name="connsiteX20" fmla="*/ 11014 w 19753"/>
                    <a:gd name="connsiteY20" fmla="*/ 5516 h 13789"/>
                    <a:gd name="connsiteX21" fmla="*/ 11313 w 19753"/>
                    <a:gd name="connsiteY21" fmla="*/ 5337 h 13789"/>
                    <a:gd name="connsiteX22" fmla="*/ 11493 w 19753"/>
                    <a:gd name="connsiteY22" fmla="*/ 5277 h 1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53" h="13789">
                      <a:moveTo>
                        <a:pt x="19088" y="11617"/>
                      </a:moveTo>
                      <a:cubicBezTo>
                        <a:pt x="18669" y="11796"/>
                        <a:pt x="18191" y="11676"/>
                        <a:pt x="17892" y="11377"/>
                      </a:cubicBezTo>
                      <a:cubicBezTo>
                        <a:pt x="15620" y="8865"/>
                        <a:pt x="13107" y="7131"/>
                        <a:pt x="12270" y="7131"/>
                      </a:cubicBezTo>
                      <a:cubicBezTo>
                        <a:pt x="11792" y="7550"/>
                        <a:pt x="11253" y="8208"/>
                        <a:pt x="10655" y="8925"/>
                      </a:cubicBezTo>
                      <a:cubicBezTo>
                        <a:pt x="9100" y="10779"/>
                        <a:pt x="7486" y="12693"/>
                        <a:pt x="5811" y="13291"/>
                      </a:cubicBezTo>
                      <a:cubicBezTo>
                        <a:pt x="4136" y="13889"/>
                        <a:pt x="2821" y="13949"/>
                        <a:pt x="1804" y="13471"/>
                      </a:cubicBezTo>
                      <a:cubicBezTo>
                        <a:pt x="967" y="13112"/>
                        <a:pt x="428" y="12394"/>
                        <a:pt x="189" y="11377"/>
                      </a:cubicBezTo>
                      <a:cubicBezTo>
                        <a:pt x="-469" y="8865"/>
                        <a:pt x="608" y="5995"/>
                        <a:pt x="3120" y="3543"/>
                      </a:cubicBezTo>
                      <a:cubicBezTo>
                        <a:pt x="5811" y="911"/>
                        <a:pt x="11852" y="-1362"/>
                        <a:pt x="14662" y="971"/>
                      </a:cubicBezTo>
                      <a:cubicBezTo>
                        <a:pt x="16815" y="2765"/>
                        <a:pt x="19148" y="5098"/>
                        <a:pt x="19746" y="10480"/>
                      </a:cubicBezTo>
                      <a:cubicBezTo>
                        <a:pt x="19806" y="10899"/>
                        <a:pt x="19507" y="11377"/>
                        <a:pt x="19088" y="11557"/>
                      </a:cubicBezTo>
                      <a:cubicBezTo>
                        <a:pt x="19148" y="11617"/>
                        <a:pt x="19088" y="11617"/>
                        <a:pt x="19088" y="11617"/>
                      </a:cubicBezTo>
                      <a:close/>
                      <a:moveTo>
                        <a:pt x="11493" y="5277"/>
                      </a:moveTo>
                      <a:cubicBezTo>
                        <a:pt x="13107" y="4679"/>
                        <a:pt x="15201" y="5935"/>
                        <a:pt x="16935" y="7370"/>
                      </a:cubicBezTo>
                      <a:cubicBezTo>
                        <a:pt x="16098" y="5038"/>
                        <a:pt x="14722" y="3722"/>
                        <a:pt x="13227" y="2526"/>
                      </a:cubicBezTo>
                      <a:cubicBezTo>
                        <a:pt x="11552" y="1150"/>
                        <a:pt x="6828" y="2705"/>
                        <a:pt x="4675" y="4859"/>
                      </a:cubicBezTo>
                      <a:cubicBezTo>
                        <a:pt x="2701" y="6832"/>
                        <a:pt x="1804" y="8985"/>
                        <a:pt x="2282" y="10779"/>
                      </a:cubicBezTo>
                      <a:cubicBezTo>
                        <a:pt x="2462" y="11437"/>
                        <a:pt x="2761" y="11557"/>
                        <a:pt x="2881" y="11617"/>
                      </a:cubicBezTo>
                      <a:cubicBezTo>
                        <a:pt x="3359" y="11796"/>
                        <a:pt x="4136" y="11736"/>
                        <a:pt x="5213" y="11377"/>
                      </a:cubicBezTo>
                      <a:cubicBezTo>
                        <a:pt x="6290" y="11019"/>
                        <a:pt x="7904" y="9105"/>
                        <a:pt x="9041" y="7669"/>
                      </a:cubicBezTo>
                      <a:cubicBezTo>
                        <a:pt x="9758" y="6832"/>
                        <a:pt x="10416" y="6055"/>
                        <a:pt x="11014" y="5516"/>
                      </a:cubicBezTo>
                      <a:cubicBezTo>
                        <a:pt x="11134" y="5457"/>
                        <a:pt x="11194" y="5337"/>
                        <a:pt x="11313" y="5337"/>
                      </a:cubicBezTo>
                      <a:cubicBezTo>
                        <a:pt x="11373" y="5337"/>
                        <a:pt x="11433" y="5337"/>
                        <a:pt x="11493" y="5277"/>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9107" name="Vrije vorm: vorm 9106">
                <a:extLst>
                  <a:ext uri="{FF2B5EF4-FFF2-40B4-BE49-F238E27FC236}">
                    <a16:creationId xmlns:a16="http://schemas.microsoft.com/office/drawing/2014/main" id="{979AE46C-BD5D-4BEB-9C8F-8F97953D0655}"/>
                  </a:ext>
                </a:extLst>
              </p:cNvPr>
              <p:cNvSpPr/>
              <p:nvPr/>
            </p:nvSpPr>
            <p:spPr>
              <a:xfrm>
                <a:off x="5057035" y="2301123"/>
                <a:ext cx="27375" cy="41094"/>
              </a:xfrm>
              <a:custGeom>
                <a:avLst/>
                <a:gdLst>
                  <a:gd name="connsiteX0" fmla="*/ 26658 w 27375"/>
                  <a:gd name="connsiteY0" fmla="*/ 38575 h 41094"/>
                  <a:gd name="connsiteX1" fmla="*/ 26419 w 27375"/>
                  <a:gd name="connsiteY1" fmla="*/ 38635 h 41094"/>
                  <a:gd name="connsiteX2" fmla="*/ 7759 w 27375"/>
                  <a:gd name="connsiteY2" fmla="*/ 41087 h 41094"/>
                  <a:gd name="connsiteX3" fmla="*/ 6623 w 27375"/>
                  <a:gd name="connsiteY3" fmla="*/ 40310 h 41094"/>
                  <a:gd name="connsiteX4" fmla="*/ 4111 w 27375"/>
                  <a:gd name="connsiteY4" fmla="*/ 28767 h 41094"/>
                  <a:gd name="connsiteX5" fmla="*/ 4709 w 27375"/>
                  <a:gd name="connsiteY5" fmla="*/ 27451 h 41094"/>
                  <a:gd name="connsiteX6" fmla="*/ 6085 w 27375"/>
                  <a:gd name="connsiteY6" fmla="*/ 27930 h 41094"/>
                  <a:gd name="connsiteX7" fmla="*/ 8596 w 27375"/>
                  <a:gd name="connsiteY7" fmla="*/ 39054 h 41094"/>
                  <a:gd name="connsiteX8" fmla="*/ 25163 w 27375"/>
                  <a:gd name="connsiteY8" fmla="*/ 36841 h 41094"/>
                  <a:gd name="connsiteX9" fmla="*/ 14936 w 27375"/>
                  <a:gd name="connsiteY9" fmla="*/ 11662 h 41094"/>
                  <a:gd name="connsiteX10" fmla="*/ 2377 w 27375"/>
                  <a:gd name="connsiteY10" fmla="*/ 2512 h 41094"/>
                  <a:gd name="connsiteX11" fmla="*/ 582 w 27375"/>
                  <a:gd name="connsiteY11" fmla="*/ 1914 h 41094"/>
                  <a:gd name="connsiteX12" fmla="*/ 104 w 27375"/>
                  <a:gd name="connsiteY12" fmla="*/ 598 h 41094"/>
                  <a:gd name="connsiteX13" fmla="*/ 1539 w 27375"/>
                  <a:gd name="connsiteY13" fmla="*/ 60 h 41094"/>
                  <a:gd name="connsiteX14" fmla="*/ 3094 w 27375"/>
                  <a:gd name="connsiteY14" fmla="*/ 538 h 41094"/>
                  <a:gd name="connsiteX15" fmla="*/ 16790 w 27375"/>
                  <a:gd name="connsiteY15" fmla="*/ 10526 h 41094"/>
                  <a:gd name="connsiteX16" fmla="*/ 27376 w 27375"/>
                  <a:gd name="connsiteY16" fmla="*/ 37499 h 41094"/>
                  <a:gd name="connsiteX17" fmla="*/ 26658 w 27375"/>
                  <a:gd name="connsiteY17" fmla="*/ 38575 h 41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375" h="41094">
                    <a:moveTo>
                      <a:pt x="26658" y="38575"/>
                    </a:moveTo>
                    <a:cubicBezTo>
                      <a:pt x="26598" y="38575"/>
                      <a:pt x="26479" y="38635"/>
                      <a:pt x="26419" y="38635"/>
                    </a:cubicBezTo>
                    <a:lnTo>
                      <a:pt x="7759" y="41087"/>
                    </a:lnTo>
                    <a:cubicBezTo>
                      <a:pt x="7221" y="41147"/>
                      <a:pt x="6683" y="40848"/>
                      <a:pt x="6623" y="40310"/>
                    </a:cubicBezTo>
                    <a:cubicBezTo>
                      <a:pt x="6145" y="37618"/>
                      <a:pt x="4829" y="30262"/>
                      <a:pt x="4111" y="28767"/>
                    </a:cubicBezTo>
                    <a:cubicBezTo>
                      <a:pt x="3872" y="28289"/>
                      <a:pt x="4111" y="27690"/>
                      <a:pt x="4709" y="27451"/>
                    </a:cubicBezTo>
                    <a:cubicBezTo>
                      <a:pt x="5247" y="27212"/>
                      <a:pt x="5905" y="27392"/>
                      <a:pt x="6085" y="27930"/>
                    </a:cubicBezTo>
                    <a:cubicBezTo>
                      <a:pt x="6862" y="29604"/>
                      <a:pt x="8118" y="36482"/>
                      <a:pt x="8596" y="39054"/>
                    </a:cubicBezTo>
                    <a:lnTo>
                      <a:pt x="25163" y="36841"/>
                    </a:lnTo>
                    <a:cubicBezTo>
                      <a:pt x="24266" y="32116"/>
                      <a:pt x="17986" y="16865"/>
                      <a:pt x="14936" y="11662"/>
                    </a:cubicBezTo>
                    <a:cubicBezTo>
                      <a:pt x="10989" y="4964"/>
                      <a:pt x="5606" y="3409"/>
                      <a:pt x="2377" y="2512"/>
                    </a:cubicBezTo>
                    <a:cubicBezTo>
                      <a:pt x="1659" y="2332"/>
                      <a:pt x="1061" y="2153"/>
                      <a:pt x="582" y="1914"/>
                    </a:cubicBezTo>
                    <a:cubicBezTo>
                      <a:pt x="44" y="1674"/>
                      <a:pt x="-135" y="1136"/>
                      <a:pt x="104" y="598"/>
                    </a:cubicBezTo>
                    <a:cubicBezTo>
                      <a:pt x="343" y="119"/>
                      <a:pt x="1001" y="-120"/>
                      <a:pt x="1539" y="60"/>
                    </a:cubicBezTo>
                    <a:cubicBezTo>
                      <a:pt x="1898" y="239"/>
                      <a:pt x="2436" y="359"/>
                      <a:pt x="3094" y="538"/>
                    </a:cubicBezTo>
                    <a:cubicBezTo>
                      <a:pt x="6384" y="1495"/>
                      <a:pt x="12484" y="3229"/>
                      <a:pt x="16790" y="10526"/>
                    </a:cubicBezTo>
                    <a:cubicBezTo>
                      <a:pt x="19721" y="15430"/>
                      <a:pt x="27376" y="33492"/>
                      <a:pt x="27376" y="37499"/>
                    </a:cubicBezTo>
                    <a:cubicBezTo>
                      <a:pt x="27376" y="38037"/>
                      <a:pt x="27077" y="38456"/>
                      <a:pt x="26658" y="3857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08" name="Vrije vorm: vorm 9107">
                <a:extLst>
                  <a:ext uri="{FF2B5EF4-FFF2-40B4-BE49-F238E27FC236}">
                    <a16:creationId xmlns:a16="http://schemas.microsoft.com/office/drawing/2014/main" id="{D8E75EF6-73A2-4309-BD8B-0C8F8921D9A4}"/>
                  </a:ext>
                </a:extLst>
              </p:cNvPr>
              <p:cNvSpPr/>
              <p:nvPr/>
            </p:nvSpPr>
            <p:spPr>
              <a:xfrm>
                <a:off x="5043039" y="2303780"/>
                <a:ext cx="27005" cy="26752"/>
              </a:xfrm>
              <a:custGeom>
                <a:avLst/>
                <a:gdLst>
                  <a:gd name="connsiteX0" fmla="*/ 23370 w 27005"/>
                  <a:gd name="connsiteY0" fmla="*/ 26529 h 26752"/>
                  <a:gd name="connsiteX1" fmla="*/ 21157 w 27005"/>
                  <a:gd name="connsiteY1" fmla="*/ 26648 h 26752"/>
                  <a:gd name="connsiteX2" fmla="*/ 15894 w 27005"/>
                  <a:gd name="connsiteY2" fmla="*/ 25033 h 26752"/>
                  <a:gd name="connsiteX3" fmla="*/ 7461 w 27005"/>
                  <a:gd name="connsiteY3" fmla="*/ 20249 h 26752"/>
                  <a:gd name="connsiteX4" fmla="*/ 45 w 27005"/>
                  <a:gd name="connsiteY4" fmla="*/ 16421 h 26752"/>
                  <a:gd name="connsiteX5" fmla="*/ 404 w 27005"/>
                  <a:gd name="connsiteY5" fmla="*/ 15345 h 26752"/>
                  <a:gd name="connsiteX6" fmla="*/ 1600 w 27005"/>
                  <a:gd name="connsiteY6" fmla="*/ 15225 h 26752"/>
                  <a:gd name="connsiteX7" fmla="*/ 4172 w 27005"/>
                  <a:gd name="connsiteY7" fmla="*/ 14567 h 26752"/>
                  <a:gd name="connsiteX8" fmla="*/ 5128 w 27005"/>
                  <a:gd name="connsiteY8" fmla="*/ 14208 h 26752"/>
                  <a:gd name="connsiteX9" fmla="*/ 9255 w 27005"/>
                  <a:gd name="connsiteY9" fmla="*/ 14388 h 26752"/>
                  <a:gd name="connsiteX10" fmla="*/ 9853 w 27005"/>
                  <a:gd name="connsiteY10" fmla="*/ 14687 h 26752"/>
                  <a:gd name="connsiteX11" fmla="*/ 11648 w 27005"/>
                  <a:gd name="connsiteY11" fmla="*/ 15703 h 26752"/>
                  <a:gd name="connsiteX12" fmla="*/ 19482 w 27005"/>
                  <a:gd name="connsiteY12" fmla="*/ 19591 h 26752"/>
                  <a:gd name="connsiteX13" fmla="*/ 18765 w 27005"/>
                  <a:gd name="connsiteY13" fmla="*/ 14747 h 26752"/>
                  <a:gd name="connsiteX14" fmla="*/ 17150 w 27005"/>
                  <a:gd name="connsiteY14" fmla="*/ 3742 h 26752"/>
                  <a:gd name="connsiteX15" fmla="*/ 20678 w 27005"/>
                  <a:gd name="connsiteY15" fmla="*/ 94 h 26752"/>
                  <a:gd name="connsiteX16" fmla="*/ 22054 w 27005"/>
                  <a:gd name="connsiteY16" fmla="*/ 572 h 26752"/>
                  <a:gd name="connsiteX17" fmla="*/ 21456 w 27005"/>
                  <a:gd name="connsiteY17" fmla="*/ 1888 h 26752"/>
                  <a:gd name="connsiteX18" fmla="*/ 19183 w 27005"/>
                  <a:gd name="connsiteY18" fmla="*/ 4340 h 26752"/>
                  <a:gd name="connsiteX19" fmla="*/ 20798 w 27005"/>
                  <a:gd name="connsiteY19" fmla="*/ 13849 h 26752"/>
                  <a:gd name="connsiteX20" fmla="*/ 20858 w 27005"/>
                  <a:gd name="connsiteY20" fmla="*/ 14029 h 26752"/>
                  <a:gd name="connsiteX21" fmla="*/ 21276 w 27005"/>
                  <a:gd name="connsiteY21" fmla="*/ 20727 h 26752"/>
                  <a:gd name="connsiteX22" fmla="*/ 20200 w 27005"/>
                  <a:gd name="connsiteY22" fmla="*/ 21505 h 26752"/>
                  <a:gd name="connsiteX23" fmla="*/ 10511 w 27005"/>
                  <a:gd name="connsiteY23" fmla="*/ 17378 h 26752"/>
                  <a:gd name="connsiteX24" fmla="*/ 8777 w 27005"/>
                  <a:gd name="connsiteY24" fmla="*/ 16421 h 26752"/>
                  <a:gd name="connsiteX25" fmla="*/ 8179 w 27005"/>
                  <a:gd name="connsiteY25" fmla="*/ 16122 h 26752"/>
                  <a:gd name="connsiteX26" fmla="*/ 5966 w 27005"/>
                  <a:gd name="connsiteY26" fmla="*/ 16062 h 26752"/>
                  <a:gd name="connsiteX27" fmla="*/ 2916 w 27005"/>
                  <a:gd name="connsiteY27" fmla="*/ 17079 h 26752"/>
                  <a:gd name="connsiteX28" fmla="*/ 7700 w 27005"/>
                  <a:gd name="connsiteY28" fmla="*/ 18335 h 26752"/>
                  <a:gd name="connsiteX29" fmla="*/ 8597 w 27005"/>
                  <a:gd name="connsiteY29" fmla="*/ 18514 h 26752"/>
                  <a:gd name="connsiteX30" fmla="*/ 16791 w 27005"/>
                  <a:gd name="connsiteY30" fmla="*/ 23299 h 26752"/>
                  <a:gd name="connsiteX31" fmla="*/ 21934 w 27005"/>
                  <a:gd name="connsiteY31" fmla="*/ 24914 h 26752"/>
                  <a:gd name="connsiteX32" fmla="*/ 23429 w 27005"/>
                  <a:gd name="connsiteY32" fmla="*/ 24196 h 26752"/>
                  <a:gd name="connsiteX33" fmla="*/ 24506 w 27005"/>
                  <a:gd name="connsiteY33" fmla="*/ 13431 h 26752"/>
                  <a:gd name="connsiteX34" fmla="*/ 25343 w 27005"/>
                  <a:gd name="connsiteY34" fmla="*/ 12235 h 26752"/>
                  <a:gd name="connsiteX35" fmla="*/ 26599 w 27005"/>
                  <a:gd name="connsiteY35" fmla="*/ 12952 h 26752"/>
                  <a:gd name="connsiteX36" fmla="*/ 25403 w 27005"/>
                  <a:gd name="connsiteY36" fmla="*/ 24854 h 26752"/>
                  <a:gd name="connsiteX37" fmla="*/ 23370 w 27005"/>
                  <a:gd name="connsiteY37" fmla="*/ 26529 h 2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7005" h="26752">
                    <a:moveTo>
                      <a:pt x="23370" y="26529"/>
                    </a:moveTo>
                    <a:cubicBezTo>
                      <a:pt x="22652" y="26768"/>
                      <a:pt x="21934" y="26828"/>
                      <a:pt x="21157" y="26648"/>
                    </a:cubicBezTo>
                    <a:cubicBezTo>
                      <a:pt x="19960" y="26289"/>
                      <a:pt x="18047" y="25751"/>
                      <a:pt x="15894" y="25033"/>
                    </a:cubicBezTo>
                    <a:cubicBezTo>
                      <a:pt x="12425" y="23837"/>
                      <a:pt x="8657" y="21146"/>
                      <a:pt x="7461" y="20249"/>
                    </a:cubicBezTo>
                    <a:cubicBezTo>
                      <a:pt x="2856" y="20967"/>
                      <a:pt x="583" y="18096"/>
                      <a:pt x="45" y="16421"/>
                    </a:cubicBezTo>
                    <a:cubicBezTo>
                      <a:pt x="-75" y="16062"/>
                      <a:pt x="45" y="15584"/>
                      <a:pt x="404" y="15345"/>
                    </a:cubicBezTo>
                    <a:cubicBezTo>
                      <a:pt x="763" y="15046"/>
                      <a:pt x="1241" y="15046"/>
                      <a:pt x="1600" y="15225"/>
                    </a:cubicBezTo>
                    <a:cubicBezTo>
                      <a:pt x="1600" y="15225"/>
                      <a:pt x="2138" y="15285"/>
                      <a:pt x="4172" y="14567"/>
                    </a:cubicBezTo>
                    <a:cubicBezTo>
                      <a:pt x="4471" y="14448"/>
                      <a:pt x="4770" y="14328"/>
                      <a:pt x="5128" y="14208"/>
                    </a:cubicBezTo>
                    <a:cubicBezTo>
                      <a:pt x="6504" y="13670"/>
                      <a:pt x="7999" y="13730"/>
                      <a:pt x="9255" y="14388"/>
                    </a:cubicBezTo>
                    <a:lnTo>
                      <a:pt x="9853" y="14687"/>
                    </a:lnTo>
                    <a:cubicBezTo>
                      <a:pt x="10272" y="14926"/>
                      <a:pt x="10930" y="15285"/>
                      <a:pt x="11648" y="15703"/>
                    </a:cubicBezTo>
                    <a:cubicBezTo>
                      <a:pt x="13442" y="16720"/>
                      <a:pt x="17987" y="19292"/>
                      <a:pt x="19482" y="19591"/>
                    </a:cubicBezTo>
                    <a:cubicBezTo>
                      <a:pt x="19661" y="18814"/>
                      <a:pt x="19303" y="16720"/>
                      <a:pt x="18765" y="14747"/>
                    </a:cubicBezTo>
                    <a:cubicBezTo>
                      <a:pt x="16492" y="10620"/>
                      <a:pt x="15894" y="6732"/>
                      <a:pt x="17150" y="3742"/>
                    </a:cubicBezTo>
                    <a:cubicBezTo>
                      <a:pt x="17867" y="2067"/>
                      <a:pt x="19064" y="752"/>
                      <a:pt x="20678" y="94"/>
                    </a:cubicBezTo>
                    <a:cubicBezTo>
                      <a:pt x="21217" y="-145"/>
                      <a:pt x="21874" y="94"/>
                      <a:pt x="22054" y="572"/>
                    </a:cubicBezTo>
                    <a:cubicBezTo>
                      <a:pt x="22293" y="1051"/>
                      <a:pt x="21994" y="1649"/>
                      <a:pt x="21456" y="1888"/>
                    </a:cubicBezTo>
                    <a:cubicBezTo>
                      <a:pt x="20439" y="2307"/>
                      <a:pt x="19661" y="3144"/>
                      <a:pt x="19183" y="4340"/>
                    </a:cubicBezTo>
                    <a:cubicBezTo>
                      <a:pt x="18585" y="5775"/>
                      <a:pt x="18047" y="8945"/>
                      <a:pt x="20798" y="13849"/>
                    </a:cubicBezTo>
                    <a:cubicBezTo>
                      <a:pt x="20858" y="13909"/>
                      <a:pt x="20858" y="13969"/>
                      <a:pt x="20858" y="14029"/>
                    </a:cubicBezTo>
                    <a:cubicBezTo>
                      <a:pt x="21336" y="15524"/>
                      <a:pt x="22233" y="19232"/>
                      <a:pt x="21276" y="20727"/>
                    </a:cubicBezTo>
                    <a:cubicBezTo>
                      <a:pt x="21037" y="21146"/>
                      <a:pt x="20619" y="21445"/>
                      <a:pt x="20200" y="21505"/>
                    </a:cubicBezTo>
                    <a:cubicBezTo>
                      <a:pt x="18765" y="21864"/>
                      <a:pt x="15894" y="20488"/>
                      <a:pt x="10511" y="17378"/>
                    </a:cubicBezTo>
                    <a:cubicBezTo>
                      <a:pt x="9794" y="16960"/>
                      <a:pt x="9195" y="16601"/>
                      <a:pt x="8777" y="16421"/>
                    </a:cubicBezTo>
                    <a:lnTo>
                      <a:pt x="8179" y="16122"/>
                    </a:lnTo>
                    <a:cubicBezTo>
                      <a:pt x="7521" y="15763"/>
                      <a:pt x="6683" y="15763"/>
                      <a:pt x="5966" y="16062"/>
                    </a:cubicBezTo>
                    <a:cubicBezTo>
                      <a:pt x="4650" y="16601"/>
                      <a:pt x="3633" y="16900"/>
                      <a:pt x="2916" y="17079"/>
                    </a:cubicBezTo>
                    <a:cubicBezTo>
                      <a:pt x="3693" y="17916"/>
                      <a:pt x="5128" y="18814"/>
                      <a:pt x="7700" y="18335"/>
                    </a:cubicBezTo>
                    <a:cubicBezTo>
                      <a:pt x="7999" y="18275"/>
                      <a:pt x="8358" y="18335"/>
                      <a:pt x="8597" y="18514"/>
                    </a:cubicBezTo>
                    <a:cubicBezTo>
                      <a:pt x="8657" y="18574"/>
                      <a:pt x="13083" y="21983"/>
                      <a:pt x="16791" y="23299"/>
                    </a:cubicBezTo>
                    <a:cubicBezTo>
                      <a:pt x="18884" y="24017"/>
                      <a:pt x="20738" y="24555"/>
                      <a:pt x="21934" y="24914"/>
                    </a:cubicBezTo>
                    <a:cubicBezTo>
                      <a:pt x="22532" y="25093"/>
                      <a:pt x="23190" y="24794"/>
                      <a:pt x="23429" y="24196"/>
                    </a:cubicBezTo>
                    <a:cubicBezTo>
                      <a:pt x="24267" y="22342"/>
                      <a:pt x="25463" y="18455"/>
                      <a:pt x="24506" y="13431"/>
                    </a:cubicBezTo>
                    <a:cubicBezTo>
                      <a:pt x="24386" y="12893"/>
                      <a:pt x="24805" y="12354"/>
                      <a:pt x="25343" y="12235"/>
                    </a:cubicBezTo>
                    <a:cubicBezTo>
                      <a:pt x="25941" y="12115"/>
                      <a:pt x="26480" y="12414"/>
                      <a:pt x="26599" y="12952"/>
                    </a:cubicBezTo>
                    <a:cubicBezTo>
                      <a:pt x="27616" y="18215"/>
                      <a:pt x="26539" y="22342"/>
                      <a:pt x="25403" y="24854"/>
                    </a:cubicBezTo>
                    <a:cubicBezTo>
                      <a:pt x="25044" y="25512"/>
                      <a:pt x="24267" y="26170"/>
                      <a:pt x="23370" y="2652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09" name="Vrije vorm: vorm 9108">
                <a:extLst>
                  <a:ext uri="{FF2B5EF4-FFF2-40B4-BE49-F238E27FC236}">
                    <a16:creationId xmlns:a16="http://schemas.microsoft.com/office/drawing/2014/main" id="{D254DD27-A120-4644-A653-CDFB63139D7B}"/>
                  </a:ext>
                </a:extLst>
              </p:cNvPr>
              <p:cNvSpPr/>
              <p:nvPr/>
            </p:nvSpPr>
            <p:spPr>
              <a:xfrm>
                <a:off x="5048859" y="2322979"/>
                <a:ext cx="13833" cy="10552"/>
              </a:xfrm>
              <a:custGeom>
                <a:avLst/>
                <a:gdLst>
                  <a:gd name="connsiteX0" fmla="*/ 10013 w 13833"/>
                  <a:gd name="connsiteY0" fmla="*/ 10380 h 10552"/>
                  <a:gd name="connsiteX1" fmla="*/ 8040 w 13833"/>
                  <a:gd name="connsiteY1" fmla="*/ 10320 h 10552"/>
                  <a:gd name="connsiteX2" fmla="*/ 1581 w 13833"/>
                  <a:gd name="connsiteY2" fmla="*/ 3442 h 10552"/>
                  <a:gd name="connsiteX3" fmla="*/ 205 w 13833"/>
                  <a:gd name="connsiteY3" fmla="*/ 1588 h 10552"/>
                  <a:gd name="connsiteX4" fmla="*/ 504 w 13833"/>
                  <a:gd name="connsiteY4" fmla="*/ 212 h 10552"/>
                  <a:gd name="connsiteX5" fmla="*/ 1999 w 13833"/>
                  <a:gd name="connsiteY5" fmla="*/ 392 h 10552"/>
                  <a:gd name="connsiteX6" fmla="*/ 3435 w 13833"/>
                  <a:gd name="connsiteY6" fmla="*/ 2246 h 10552"/>
                  <a:gd name="connsiteX7" fmla="*/ 9176 w 13833"/>
                  <a:gd name="connsiteY7" fmla="*/ 8526 h 10552"/>
                  <a:gd name="connsiteX8" fmla="*/ 9415 w 13833"/>
                  <a:gd name="connsiteY8" fmla="*/ 8526 h 10552"/>
                  <a:gd name="connsiteX9" fmla="*/ 11748 w 13833"/>
                  <a:gd name="connsiteY9" fmla="*/ 5715 h 10552"/>
                  <a:gd name="connsiteX10" fmla="*/ 13123 w 13833"/>
                  <a:gd name="connsiteY10" fmla="*/ 5057 h 10552"/>
                  <a:gd name="connsiteX11" fmla="*/ 13781 w 13833"/>
                  <a:gd name="connsiteY11" fmla="*/ 6313 h 10552"/>
                  <a:gd name="connsiteX12" fmla="*/ 10193 w 13833"/>
                  <a:gd name="connsiteY12" fmla="*/ 10380 h 10552"/>
                  <a:gd name="connsiteX13" fmla="*/ 10013 w 13833"/>
                  <a:gd name="connsiteY13" fmla="*/ 10380 h 10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33" h="10552">
                    <a:moveTo>
                      <a:pt x="10013" y="10380"/>
                    </a:moveTo>
                    <a:cubicBezTo>
                      <a:pt x="9296" y="10619"/>
                      <a:pt x="8638" y="10619"/>
                      <a:pt x="8040" y="10320"/>
                    </a:cubicBezTo>
                    <a:cubicBezTo>
                      <a:pt x="6126" y="9423"/>
                      <a:pt x="3913" y="6492"/>
                      <a:pt x="1581" y="3442"/>
                    </a:cubicBezTo>
                    <a:cubicBezTo>
                      <a:pt x="1102" y="2844"/>
                      <a:pt x="624" y="2186"/>
                      <a:pt x="205" y="1588"/>
                    </a:cubicBezTo>
                    <a:cubicBezTo>
                      <a:pt x="-154" y="1169"/>
                      <a:pt x="-34" y="512"/>
                      <a:pt x="504" y="212"/>
                    </a:cubicBezTo>
                    <a:cubicBezTo>
                      <a:pt x="983" y="-146"/>
                      <a:pt x="1640" y="-27"/>
                      <a:pt x="1999" y="392"/>
                    </a:cubicBezTo>
                    <a:cubicBezTo>
                      <a:pt x="2478" y="990"/>
                      <a:pt x="2956" y="1588"/>
                      <a:pt x="3435" y="2246"/>
                    </a:cubicBezTo>
                    <a:cubicBezTo>
                      <a:pt x="5408" y="4877"/>
                      <a:pt x="7681" y="7868"/>
                      <a:pt x="9176" y="8526"/>
                    </a:cubicBezTo>
                    <a:cubicBezTo>
                      <a:pt x="9236" y="8526"/>
                      <a:pt x="9236" y="8586"/>
                      <a:pt x="9415" y="8526"/>
                    </a:cubicBezTo>
                    <a:cubicBezTo>
                      <a:pt x="10253" y="8167"/>
                      <a:pt x="11449" y="6492"/>
                      <a:pt x="11748" y="5715"/>
                    </a:cubicBezTo>
                    <a:cubicBezTo>
                      <a:pt x="11927" y="5177"/>
                      <a:pt x="12585" y="4877"/>
                      <a:pt x="13123" y="5057"/>
                    </a:cubicBezTo>
                    <a:cubicBezTo>
                      <a:pt x="13662" y="5236"/>
                      <a:pt x="13961" y="5775"/>
                      <a:pt x="13781" y="6313"/>
                    </a:cubicBezTo>
                    <a:cubicBezTo>
                      <a:pt x="13482" y="7150"/>
                      <a:pt x="11987" y="9662"/>
                      <a:pt x="10193" y="10380"/>
                    </a:cubicBezTo>
                    <a:cubicBezTo>
                      <a:pt x="10073" y="10320"/>
                      <a:pt x="10013" y="10320"/>
                      <a:pt x="10013" y="1038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10" name="Vrije vorm: vorm 9109">
                <a:extLst>
                  <a:ext uri="{FF2B5EF4-FFF2-40B4-BE49-F238E27FC236}">
                    <a16:creationId xmlns:a16="http://schemas.microsoft.com/office/drawing/2014/main" id="{4A00EA52-870C-4D8A-BA6E-F24785F6BFC7}"/>
                  </a:ext>
                </a:extLst>
              </p:cNvPr>
              <p:cNvSpPr/>
              <p:nvPr/>
            </p:nvSpPr>
            <p:spPr>
              <a:xfrm>
                <a:off x="5062435" y="2317606"/>
                <a:ext cx="6597" cy="2333"/>
              </a:xfrm>
              <a:custGeom>
                <a:avLst/>
                <a:gdLst>
                  <a:gd name="connsiteX0" fmla="*/ 5887 w 6597"/>
                  <a:gd name="connsiteY0" fmla="*/ 2056 h 2333"/>
                  <a:gd name="connsiteX1" fmla="*/ 804 w 6597"/>
                  <a:gd name="connsiteY1" fmla="*/ 1997 h 2333"/>
                  <a:gd name="connsiteX2" fmla="*/ 26 w 6597"/>
                  <a:gd name="connsiteY2" fmla="*/ 801 h 2333"/>
                  <a:gd name="connsiteX3" fmla="*/ 1342 w 6597"/>
                  <a:gd name="connsiteY3" fmla="*/ 23 h 2333"/>
                  <a:gd name="connsiteX4" fmla="*/ 5169 w 6597"/>
                  <a:gd name="connsiteY4" fmla="*/ 202 h 2333"/>
                  <a:gd name="connsiteX5" fmla="*/ 6545 w 6597"/>
                  <a:gd name="connsiteY5" fmla="*/ 741 h 2333"/>
                  <a:gd name="connsiteX6" fmla="*/ 5887 w 6597"/>
                  <a:gd name="connsiteY6" fmla="*/ 2056 h 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97" h="2333">
                    <a:moveTo>
                      <a:pt x="5887" y="2056"/>
                    </a:moveTo>
                    <a:cubicBezTo>
                      <a:pt x="4332" y="2655"/>
                      <a:pt x="1401" y="2116"/>
                      <a:pt x="804" y="1997"/>
                    </a:cubicBezTo>
                    <a:cubicBezTo>
                      <a:pt x="205" y="1877"/>
                      <a:pt x="-94" y="1339"/>
                      <a:pt x="26" y="801"/>
                    </a:cubicBezTo>
                    <a:cubicBezTo>
                      <a:pt x="205" y="262"/>
                      <a:pt x="744" y="-97"/>
                      <a:pt x="1342" y="23"/>
                    </a:cubicBezTo>
                    <a:cubicBezTo>
                      <a:pt x="2478" y="262"/>
                      <a:pt x="4452" y="442"/>
                      <a:pt x="5169" y="202"/>
                    </a:cubicBezTo>
                    <a:cubicBezTo>
                      <a:pt x="5708" y="23"/>
                      <a:pt x="6366" y="262"/>
                      <a:pt x="6545" y="741"/>
                    </a:cubicBezTo>
                    <a:cubicBezTo>
                      <a:pt x="6724" y="1279"/>
                      <a:pt x="6425" y="1877"/>
                      <a:pt x="5887" y="205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11" name="Vrije vorm: vorm 9110">
                <a:extLst>
                  <a:ext uri="{FF2B5EF4-FFF2-40B4-BE49-F238E27FC236}">
                    <a16:creationId xmlns:a16="http://schemas.microsoft.com/office/drawing/2014/main" id="{893CE257-F7AB-49FF-BC56-CBD4A4BC9A66}"/>
                  </a:ext>
                </a:extLst>
              </p:cNvPr>
              <p:cNvSpPr/>
              <p:nvPr/>
            </p:nvSpPr>
            <p:spPr>
              <a:xfrm>
                <a:off x="5055982" y="2308121"/>
                <a:ext cx="5056" cy="15797"/>
              </a:xfrm>
              <a:custGeom>
                <a:avLst/>
                <a:gdLst>
                  <a:gd name="connsiteX0" fmla="*/ 4267 w 5056"/>
                  <a:gd name="connsiteY0" fmla="*/ 15728 h 15797"/>
                  <a:gd name="connsiteX1" fmla="*/ 3011 w 5056"/>
                  <a:gd name="connsiteY1" fmla="*/ 15310 h 15797"/>
                  <a:gd name="connsiteX2" fmla="*/ 619 w 5056"/>
                  <a:gd name="connsiteY2" fmla="*/ 657 h 15797"/>
                  <a:gd name="connsiteX3" fmla="*/ 2054 w 5056"/>
                  <a:gd name="connsiteY3" fmla="*/ 59 h 15797"/>
                  <a:gd name="connsiteX4" fmla="*/ 2592 w 5056"/>
                  <a:gd name="connsiteY4" fmla="*/ 1315 h 15797"/>
                  <a:gd name="connsiteX5" fmla="*/ 4925 w 5056"/>
                  <a:gd name="connsiteY5" fmla="*/ 14233 h 15797"/>
                  <a:gd name="connsiteX6" fmla="*/ 4506 w 5056"/>
                  <a:gd name="connsiteY6" fmla="*/ 15609 h 15797"/>
                  <a:gd name="connsiteX7" fmla="*/ 4267 w 5056"/>
                  <a:gd name="connsiteY7" fmla="*/ 15728 h 1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56" h="15797">
                    <a:moveTo>
                      <a:pt x="4267" y="15728"/>
                    </a:moveTo>
                    <a:cubicBezTo>
                      <a:pt x="3788" y="15908"/>
                      <a:pt x="3250" y="15728"/>
                      <a:pt x="3011" y="15310"/>
                    </a:cubicBezTo>
                    <a:cubicBezTo>
                      <a:pt x="80" y="10346"/>
                      <a:pt x="-697" y="3468"/>
                      <a:pt x="619" y="657"/>
                    </a:cubicBezTo>
                    <a:cubicBezTo>
                      <a:pt x="858" y="119"/>
                      <a:pt x="1515" y="-120"/>
                      <a:pt x="2054" y="59"/>
                    </a:cubicBezTo>
                    <a:cubicBezTo>
                      <a:pt x="2592" y="238"/>
                      <a:pt x="2831" y="836"/>
                      <a:pt x="2592" y="1315"/>
                    </a:cubicBezTo>
                    <a:cubicBezTo>
                      <a:pt x="1635" y="3348"/>
                      <a:pt x="2114" y="9508"/>
                      <a:pt x="4925" y="14233"/>
                    </a:cubicBezTo>
                    <a:cubicBezTo>
                      <a:pt x="5223" y="14712"/>
                      <a:pt x="4984" y="15310"/>
                      <a:pt x="4506" y="15609"/>
                    </a:cubicBezTo>
                    <a:cubicBezTo>
                      <a:pt x="4386" y="15669"/>
                      <a:pt x="4327" y="15728"/>
                      <a:pt x="4267" y="1572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12" name="Vrije vorm: vorm 9111">
                <a:extLst>
                  <a:ext uri="{FF2B5EF4-FFF2-40B4-BE49-F238E27FC236}">
                    <a16:creationId xmlns:a16="http://schemas.microsoft.com/office/drawing/2014/main" id="{4286BCDF-D38B-4C22-B921-A47B91EF9928}"/>
                  </a:ext>
                </a:extLst>
              </p:cNvPr>
              <p:cNvSpPr/>
              <p:nvPr/>
            </p:nvSpPr>
            <p:spPr>
              <a:xfrm>
                <a:off x="5040333" y="2313839"/>
                <a:ext cx="8962" cy="5850"/>
              </a:xfrm>
              <a:custGeom>
                <a:avLst/>
                <a:gdLst>
                  <a:gd name="connsiteX0" fmla="*/ 8253 w 8962"/>
                  <a:gd name="connsiteY0" fmla="*/ 5406 h 5850"/>
                  <a:gd name="connsiteX1" fmla="*/ 7237 w 8962"/>
                  <a:gd name="connsiteY1" fmla="*/ 5286 h 5850"/>
                  <a:gd name="connsiteX2" fmla="*/ 6937 w 8962"/>
                  <a:gd name="connsiteY2" fmla="*/ 5107 h 5850"/>
                  <a:gd name="connsiteX3" fmla="*/ 6818 w 8962"/>
                  <a:gd name="connsiteY3" fmla="*/ 5346 h 5850"/>
                  <a:gd name="connsiteX4" fmla="*/ 5323 w 8962"/>
                  <a:gd name="connsiteY4" fmla="*/ 5705 h 5850"/>
                  <a:gd name="connsiteX5" fmla="*/ 479 w 8962"/>
                  <a:gd name="connsiteY5" fmla="*/ 2954 h 5850"/>
                  <a:gd name="connsiteX6" fmla="*/ 0 w 8962"/>
                  <a:gd name="connsiteY6" fmla="*/ 2176 h 5850"/>
                  <a:gd name="connsiteX7" fmla="*/ 479 w 8962"/>
                  <a:gd name="connsiteY7" fmla="*/ 1339 h 5850"/>
                  <a:gd name="connsiteX8" fmla="*/ 2153 w 8962"/>
                  <a:gd name="connsiteY8" fmla="*/ 202 h 5850"/>
                  <a:gd name="connsiteX9" fmla="*/ 3409 w 8962"/>
                  <a:gd name="connsiteY9" fmla="*/ 202 h 5850"/>
                  <a:gd name="connsiteX10" fmla="*/ 8552 w 8962"/>
                  <a:gd name="connsiteY10" fmla="*/ 3731 h 5850"/>
                  <a:gd name="connsiteX11" fmla="*/ 8732 w 8962"/>
                  <a:gd name="connsiteY11" fmla="*/ 5107 h 5850"/>
                  <a:gd name="connsiteX12" fmla="*/ 8253 w 8962"/>
                  <a:gd name="connsiteY12" fmla="*/ 5406 h 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62" h="5850">
                    <a:moveTo>
                      <a:pt x="8253" y="5406"/>
                    </a:moveTo>
                    <a:cubicBezTo>
                      <a:pt x="7895" y="5525"/>
                      <a:pt x="7536" y="5525"/>
                      <a:pt x="7237" y="5286"/>
                    </a:cubicBezTo>
                    <a:lnTo>
                      <a:pt x="6937" y="5107"/>
                    </a:lnTo>
                    <a:cubicBezTo>
                      <a:pt x="6878" y="5166"/>
                      <a:pt x="6878" y="5286"/>
                      <a:pt x="6818" y="5346"/>
                    </a:cubicBezTo>
                    <a:cubicBezTo>
                      <a:pt x="6459" y="5824"/>
                      <a:pt x="5801" y="6004"/>
                      <a:pt x="5323" y="5705"/>
                    </a:cubicBezTo>
                    <a:lnTo>
                      <a:pt x="479" y="2954"/>
                    </a:lnTo>
                    <a:cubicBezTo>
                      <a:pt x="180" y="2774"/>
                      <a:pt x="0" y="2475"/>
                      <a:pt x="0" y="2176"/>
                    </a:cubicBezTo>
                    <a:cubicBezTo>
                      <a:pt x="0" y="1817"/>
                      <a:pt x="180" y="1518"/>
                      <a:pt x="479" y="1339"/>
                    </a:cubicBezTo>
                    <a:lnTo>
                      <a:pt x="2153" y="202"/>
                    </a:lnTo>
                    <a:cubicBezTo>
                      <a:pt x="2572" y="-37"/>
                      <a:pt x="3050" y="-97"/>
                      <a:pt x="3409" y="202"/>
                    </a:cubicBezTo>
                    <a:lnTo>
                      <a:pt x="8552" y="3731"/>
                    </a:lnTo>
                    <a:cubicBezTo>
                      <a:pt x="9031" y="4030"/>
                      <a:pt x="9091" y="4688"/>
                      <a:pt x="8732" y="5107"/>
                    </a:cubicBezTo>
                    <a:cubicBezTo>
                      <a:pt x="8612" y="5226"/>
                      <a:pt x="8433" y="5286"/>
                      <a:pt x="8253" y="540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13" name="Vrije vorm: vorm 9112">
                <a:extLst>
                  <a:ext uri="{FF2B5EF4-FFF2-40B4-BE49-F238E27FC236}">
                    <a16:creationId xmlns:a16="http://schemas.microsoft.com/office/drawing/2014/main" id="{B25AAAE8-45FE-44D9-93BA-60AC925AF1FE}"/>
                  </a:ext>
                </a:extLst>
              </p:cNvPr>
              <p:cNvSpPr/>
              <p:nvPr/>
            </p:nvSpPr>
            <p:spPr>
              <a:xfrm>
                <a:off x="5068278" y="2320261"/>
                <a:ext cx="9553" cy="5059"/>
              </a:xfrm>
              <a:custGeom>
                <a:avLst/>
                <a:gdLst>
                  <a:gd name="connsiteX0" fmla="*/ 5905 w 9553"/>
                  <a:gd name="connsiteY0" fmla="*/ 4486 h 5059"/>
                  <a:gd name="connsiteX1" fmla="*/ 582 w 9553"/>
                  <a:gd name="connsiteY1" fmla="*/ 4665 h 5059"/>
                  <a:gd name="connsiteX2" fmla="*/ 104 w 9553"/>
                  <a:gd name="connsiteY2" fmla="*/ 3349 h 5059"/>
                  <a:gd name="connsiteX3" fmla="*/ 1539 w 9553"/>
                  <a:gd name="connsiteY3" fmla="*/ 2811 h 5059"/>
                  <a:gd name="connsiteX4" fmla="*/ 6324 w 9553"/>
                  <a:gd name="connsiteY4" fmla="*/ 2093 h 5059"/>
                  <a:gd name="connsiteX5" fmla="*/ 7400 w 9553"/>
                  <a:gd name="connsiteY5" fmla="*/ 1017 h 5059"/>
                  <a:gd name="connsiteX6" fmla="*/ 8537 w 9553"/>
                  <a:gd name="connsiteY6" fmla="*/ 0 h 5059"/>
                  <a:gd name="connsiteX7" fmla="*/ 9554 w 9553"/>
                  <a:gd name="connsiteY7" fmla="*/ 1017 h 5059"/>
                  <a:gd name="connsiteX8" fmla="*/ 7400 w 9553"/>
                  <a:gd name="connsiteY8" fmla="*/ 3768 h 5059"/>
                  <a:gd name="connsiteX9" fmla="*/ 5905 w 9553"/>
                  <a:gd name="connsiteY9" fmla="*/ 4486 h 5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53" h="5059">
                    <a:moveTo>
                      <a:pt x="5905" y="4486"/>
                    </a:moveTo>
                    <a:cubicBezTo>
                      <a:pt x="4231" y="5084"/>
                      <a:pt x="2197" y="5323"/>
                      <a:pt x="582" y="4665"/>
                    </a:cubicBezTo>
                    <a:cubicBezTo>
                      <a:pt x="44" y="4426"/>
                      <a:pt x="-135" y="3887"/>
                      <a:pt x="104" y="3349"/>
                    </a:cubicBezTo>
                    <a:cubicBezTo>
                      <a:pt x="343" y="2811"/>
                      <a:pt x="1001" y="2632"/>
                      <a:pt x="1539" y="2811"/>
                    </a:cubicBezTo>
                    <a:cubicBezTo>
                      <a:pt x="2915" y="3349"/>
                      <a:pt x="5008" y="2871"/>
                      <a:pt x="6324" y="2093"/>
                    </a:cubicBezTo>
                    <a:cubicBezTo>
                      <a:pt x="7101" y="1615"/>
                      <a:pt x="7400" y="1196"/>
                      <a:pt x="7400" y="1017"/>
                    </a:cubicBezTo>
                    <a:cubicBezTo>
                      <a:pt x="7460" y="479"/>
                      <a:pt x="7939" y="0"/>
                      <a:pt x="8537" y="0"/>
                    </a:cubicBezTo>
                    <a:cubicBezTo>
                      <a:pt x="9135" y="0"/>
                      <a:pt x="9554" y="419"/>
                      <a:pt x="9554" y="1017"/>
                    </a:cubicBezTo>
                    <a:cubicBezTo>
                      <a:pt x="9494" y="1974"/>
                      <a:pt x="8716" y="2930"/>
                      <a:pt x="7400" y="3768"/>
                    </a:cubicBezTo>
                    <a:cubicBezTo>
                      <a:pt x="6982" y="4067"/>
                      <a:pt x="6443" y="4306"/>
                      <a:pt x="5905" y="448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14" name="Vrije vorm: vorm 9113">
                <a:extLst>
                  <a:ext uri="{FF2B5EF4-FFF2-40B4-BE49-F238E27FC236}">
                    <a16:creationId xmlns:a16="http://schemas.microsoft.com/office/drawing/2014/main" id="{485557C9-F963-4A9C-A70D-F635B5EF1D90}"/>
                  </a:ext>
                </a:extLst>
              </p:cNvPr>
              <p:cNvSpPr/>
              <p:nvPr/>
            </p:nvSpPr>
            <p:spPr>
              <a:xfrm>
                <a:off x="5060063" y="2340177"/>
                <a:ext cx="6769" cy="43419"/>
              </a:xfrm>
              <a:custGeom>
                <a:avLst/>
                <a:gdLst>
                  <a:gd name="connsiteX0" fmla="*/ 1441 w 6769"/>
                  <a:gd name="connsiteY0" fmla="*/ 43360 h 43419"/>
                  <a:gd name="connsiteX1" fmla="*/ 963 w 6769"/>
                  <a:gd name="connsiteY1" fmla="*/ 43420 h 43419"/>
                  <a:gd name="connsiteX2" fmla="*/ 6 w 6769"/>
                  <a:gd name="connsiteY2" fmla="*/ 42403 h 43419"/>
                  <a:gd name="connsiteX3" fmla="*/ 4611 w 6769"/>
                  <a:gd name="connsiteY3" fmla="*/ 957 h 43419"/>
                  <a:gd name="connsiteX4" fmla="*/ 5807 w 6769"/>
                  <a:gd name="connsiteY4" fmla="*/ 0 h 43419"/>
                  <a:gd name="connsiteX5" fmla="*/ 6764 w 6769"/>
                  <a:gd name="connsiteY5" fmla="*/ 1017 h 43419"/>
                  <a:gd name="connsiteX6" fmla="*/ 2159 w 6769"/>
                  <a:gd name="connsiteY6" fmla="*/ 42463 h 43419"/>
                  <a:gd name="connsiteX7" fmla="*/ 1441 w 6769"/>
                  <a:gd name="connsiteY7" fmla="*/ 43360 h 4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9" h="43419">
                    <a:moveTo>
                      <a:pt x="1441" y="43360"/>
                    </a:moveTo>
                    <a:cubicBezTo>
                      <a:pt x="1322" y="43420"/>
                      <a:pt x="1142" y="43420"/>
                      <a:pt x="963" y="43420"/>
                    </a:cubicBezTo>
                    <a:cubicBezTo>
                      <a:pt x="365" y="43420"/>
                      <a:pt x="-54" y="42942"/>
                      <a:pt x="6" y="42403"/>
                    </a:cubicBezTo>
                    <a:cubicBezTo>
                      <a:pt x="963" y="34150"/>
                      <a:pt x="4611" y="1316"/>
                      <a:pt x="4611" y="957"/>
                    </a:cubicBezTo>
                    <a:cubicBezTo>
                      <a:pt x="4671" y="419"/>
                      <a:pt x="5209" y="0"/>
                      <a:pt x="5807" y="0"/>
                    </a:cubicBezTo>
                    <a:cubicBezTo>
                      <a:pt x="6405" y="0"/>
                      <a:pt x="6824" y="478"/>
                      <a:pt x="6764" y="1017"/>
                    </a:cubicBezTo>
                    <a:cubicBezTo>
                      <a:pt x="6704" y="1375"/>
                      <a:pt x="3116" y="34210"/>
                      <a:pt x="2159" y="42463"/>
                    </a:cubicBezTo>
                    <a:cubicBezTo>
                      <a:pt x="2159" y="42882"/>
                      <a:pt x="1860" y="43240"/>
                      <a:pt x="1441" y="4336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15" name="Vrije vorm: vorm 9114">
                <a:extLst>
                  <a:ext uri="{FF2B5EF4-FFF2-40B4-BE49-F238E27FC236}">
                    <a16:creationId xmlns:a16="http://schemas.microsoft.com/office/drawing/2014/main" id="{0DB0EC8E-19DA-483B-99E1-DD0137EC85A3}"/>
                  </a:ext>
                </a:extLst>
              </p:cNvPr>
              <p:cNvSpPr/>
              <p:nvPr/>
            </p:nvSpPr>
            <p:spPr>
              <a:xfrm>
                <a:off x="5056129" y="2366500"/>
                <a:ext cx="21725" cy="19574"/>
              </a:xfrm>
              <a:custGeom>
                <a:avLst/>
                <a:gdLst>
                  <a:gd name="connsiteX0" fmla="*/ 12073 w 21725"/>
                  <a:gd name="connsiteY0" fmla="*/ 19489 h 19574"/>
                  <a:gd name="connsiteX1" fmla="*/ 11356 w 21725"/>
                  <a:gd name="connsiteY1" fmla="*/ 19549 h 19574"/>
                  <a:gd name="connsiteX2" fmla="*/ 710 w 21725"/>
                  <a:gd name="connsiteY2" fmla="*/ 16619 h 19574"/>
                  <a:gd name="connsiteX3" fmla="*/ 52 w 21725"/>
                  <a:gd name="connsiteY3" fmla="*/ 15363 h 19574"/>
                  <a:gd name="connsiteX4" fmla="*/ 1428 w 21725"/>
                  <a:gd name="connsiteY4" fmla="*/ 14705 h 19574"/>
                  <a:gd name="connsiteX5" fmla="*/ 11475 w 21725"/>
                  <a:gd name="connsiteY5" fmla="*/ 17456 h 19574"/>
                  <a:gd name="connsiteX6" fmla="*/ 19669 w 21725"/>
                  <a:gd name="connsiteY6" fmla="*/ 710 h 19574"/>
                  <a:gd name="connsiteX7" fmla="*/ 21044 w 21725"/>
                  <a:gd name="connsiteY7" fmla="*/ 52 h 19574"/>
                  <a:gd name="connsiteX8" fmla="*/ 21643 w 21725"/>
                  <a:gd name="connsiteY8" fmla="*/ 1308 h 19574"/>
                  <a:gd name="connsiteX9" fmla="*/ 12373 w 21725"/>
                  <a:gd name="connsiteY9" fmla="*/ 19310 h 19574"/>
                  <a:gd name="connsiteX10" fmla="*/ 12073 w 21725"/>
                  <a:gd name="connsiteY10" fmla="*/ 19489 h 1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725" h="19574">
                    <a:moveTo>
                      <a:pt x="12073" y="19489"/>
                    </a:moveTo>
                    <a:cubicBezTo>
                      <a:pt x="11834" y="19549"/>
                      <a:pt x="11595" y="19609"/>
                      <a:pt x="11356" y="19549"/>
                    </a:cubicBezTo>
                    <a:lnTo>
                      <a:pt x="710" y="16619"/>
                    </a:lnTo>
                    <a:cubicBezTo>
                      <a:pt x="172" y="16439"/>
                      <a:pt x="-127" y="15901"/>
                      <a:pt x="52" y="15363"/>
                    </a:cubicBezTo>
                    <a:cubicBezTo>
                      <a:pt x="231" y="14825"/>
                      <a:pt x="889" y="14526"/>
                      <a:pt x="1428" y="14705"/>
                    </a:cubicBezTo>
                    <a:lnTo>
                      <a:pt x="11475" y="17456"/>
                    </a:lnTo>
                    <a:cubicBezTo>
                      <a:pt x="12432" y="16380"/>
                      <a:pt x="14884" y="12731"/>
                      <a:pt x="19669" y="710"/>
                    </a:cubicBezTo>
                    <a:cubicBezTo>
                      <a:pt x="19908" y="172"/>
                      <a:pt x="20506" y="-127"/>
                      <a:pt x="21044" y="52"/>
                    </a:cubicBezTo>
                    <a:cubicBezTo>
                      <a:pt x="21583" y="232"/>
                      <a:pt x="21882" y="770"/>
                      <a:pt x="21643" y="1308"/>
                    </a:cubicBezTo>
                    <a:cubicBezTo>
                      <a:pt x="17456" y="11774"/>
                      <a:pt x="14346" y="17815"/>
                      <a:pt x="12373" y="19310"/>
                    </a:cubicBezTo>
                    <a:cubicBezTo>
                      <a:pt x="12253" y="19430"/>
                      <a:pt x="12133" y="19489"/>
                      <a:pt x="12073" y="1948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16" name="Vrije vorm: vorm 9115">
                <a:extLst>
                  <a:ext uri="{FF2B5EF4-FFF2-40B4-BE49-F238E27FC236}">
                    <a16:creationId xmlns:a16="http://schemas.microsoft.com/office/drawing/2014/main" id="{A699C667-9ECC-47FF-A35A-2925646B5859}"/>
                  </a:ext>
                </a:extLst>
              </p:cNvPr>
              <p:cNvSpPr/>
              <p:nvPr/>
            </p:nvSpPr>
            <p:spPr>
              <a:xfrm>
                <a:off x="5068616" y="2346673"/>
                <a:ext cx="23262" cy="34556"/>
              </a:xfrm>
              <a:custGeom>
                <a:avLst/>
                <a:gdLst>
                  <a:gd name="connsiteX0" fmla="*/ 22493 w 23262"/>
                  <a:gd name="connsiteY0" fmla="*/ 34472 h 34556"/>
                  <a:gd name="connsiteX1" fmla="*/ 21297 w 23262"/>
                  <a:gd name="connsiteY1" fmla="*/ 34233 h 34556"/>
                  <a:gd name="connsiteX2" fmla="*/ 17589 w 23262"/>
                  <a:gd name="connsiteY2" fmla="*/ 30584 h 34556"/>
                  <a:gd name="connsiteX3" fmla="*/ 6286 w 23262"/>
                  <a:gd name="connsiteY3" fmla="*/ 18862 h 34556"/>
                  <a:gd name="connsiteX4" fmla="*/ 6 w 23262"/>
                  <a:gd name="connsiteY4" fmla="*/ 1159 h 34556"/>
                  <a:gd name="connsiteX5" fmla="*/ 963 w 23262"/>
                  <a:gd name="connsiteY5" fmla="*/ 23 h 34556"/>
                  <a:gd name="connsiteX6" fmla="*/ 2159 w 23262"/>
                  <a:gd name="connsiteY6" fmla="*/ 800 h 34556"/>
                  <a:gd name="connsiteX7" fmla="*/ 8140 w 23262"/>
                  <a:gd name="connsiteY7" fmla="*/ 17726 h 34556"/>
                  <a:gd name="connsiteX8" fmla="*/ 19204 w 23262"/>
                  <a:gd name="connsiteY8" fmla="*/ 29149 h 34556"/>
                  <a:gd name="connsiteX9" fmla="*/ 23032 w 23262"/>
                  <a:gd name="connsiteY9" fmla="*/ 32917 h 34556"/>
                  <a:gd name="connsiteX10" fmla="*/ 22852 w 23262"/>
                  <a:gd name="connsiteY10" fmla="*/ 34352 h 34556"/>
                  <a:gd name="connsiteX11" fmla="*/ 22493 w 23262"/>
                  <a:gd name="connsiteY11" fmla="*/ 34472 h 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62" h="34556">
                    <a:moveTo>
                      <a:pt x="22493" y="34472"/>
                    </a:moveTo>
                    <a:cubicBezTo>
                      <a:pt x="22075" y="34651"/>
                      <a:pt x="21596" y="34532"/>
                      <a:pt x="21297" y="34233"/>
                    </a:cubicBezTo>
                    <a:cubicBezTo>
                      <a:pt x="20699" y="33575"/>
                      <a:pt x="19264" y="32199"/>
                      <a:pt x="17589" y="30584"/>
                    </a:cubicBezTo>
                    <a:cubicBezTo>
                      <a:pt x="13642" y="26817"/>
                      <a:pt x="8199" y="21613"/>
                      <a:pt x="6286" y="18862"/>
                    </a:cubicBezTo>
                    <a:cubicBezTo>
                      <a:pt x="3475" y="14855"/>
                      <a:pt x="723" y="6363"/>
                      <a:pt x="6" y="1159"/>
                    </a:cubicBezTo>
                    <a:cubicBezTo>
                      <a:pt x="-54" y="621"/>
                      <a:pt x="364" y="83"/>
                      <a:pt x="963" y="23"/>
                    </a:cubicBezTo>
                    <a:cubicBezTo>
                      <a:pt x="1561" y="-97"/>
                      <a:pt x="2099" y="262"/>
                      <a:pt x="2159" y="800"/>
                    </a:cubicBezTo>
                    <a:cubicBezTo>
                      <a:pt x="2817" y="5765"/>
                      <a:pt x="5508" y="14018"/>
                      <a:pt x="8140" y="17726"/>
                    </a:cubicBezTo>
                    <a:cubicBezTo>
                      <a:pt x="9994" y="20298"/>
                      <a:pt x="15556" y="25621"/>
                      <a:pt x="19204" y="29149"/>
                    </a:cubicBezTo>
                    <a:cubicBezTo>
                      <a:pt x="20998" y="30884"/>
                      <a:pt x="22433" y="32199"/>
                      <a:pt x="23032" y="32917"/>
                    </a:cubicBezTo>
                    <a:cubicBezTo>
                      <a:pt x="23390" y="33336"/>
                      <a:pt x="23331" y="33934"/>
                      <a:pt x="22852" y="34352"/>
                    </a:cubicBezTo>
                    <a:cubicBezTo>
                      <a:pt x="22733" y="34352"/>
                      <a:pt x="22613" y="34412"/>
                      <a:pt x="22493" y="3447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17" name="Vrije vorm: vorm 9116">
                <a:extLst>
                  <a:ext uri="{FF2B5EF4-FFF2-40B4-BE49-F238E27FC236}">
                    <a16:creationId xmlns:a16="http://schemas.microsoft.com/office/drawing/2014/main" id="{75210A29-6AE0-49CF-A6FD-AF9764E326F2}"/>
                  </a:ext>
                </a:extLst>
              </p:cNvPr>
              <p:cNvSpPr/>
              <p:nvPr/>
            </p:nvSpPr>
            <p:spPr>
              <a:xfrm>
                <a:off x="5081254" y="2338384"/>
                <a:ext cx="19910" cy="45699"/>
              </a:xfrm>
              <a:custGeom>
                <a:avLst/>
                <a:gdLst>
                  <a:gd name="connsiteX0" fmla="*/ 5370 w 19910"/>
                  <a:gd name="connsiteY0" fmla="*/ 45632 h 45699"/>
                  <a:gd name="connsiteX1" fmla="*/ 4054 w 19910"/>
                  <a:gd name="connsiteY1" fmla="*/ 45094 h 45699"/>
                  <a:gd name="connsiteX2" fmla="*/ 4712 w 19910"/>
                  <a:gd name="connsiteY2" fmla="*/ 43778 h 45699"/>
                  <a:gd name="connsiteX3" fmla="*/ 17570 w 19910"/>
                  <a:gd name="connsiteY3" fmla="*/ 38575 h 45699"/>
                  <a:gd name="connsiteX4" fmla="*/ 9496 w 19910"/>
                  <a:gd name="connsiteY4" fmla="*/ 26015 h 45699"/>
                  <a:gd name="connsiteX5" fmla="*/ 5011 w 19910"/>
                  <a:gd name="connsiteY5" fmla="*/ 19137 h 45699"/>
                  <a:gd name="connsiteX6" fmla="*/ 4652 w 19910"/>
                  <a:gd name="connsiteY6" fmla="*/ 17822 h 45699"/>
                  <a:gd name="connsiteX7" fmla="*/ 47 w 19910"/>
                  <a:gd name="connsiteY7" fmla="*/ 1315 h 45699"/>
                  <a:gd name="connsiteX8" fmla="*/ 765 w 19910"/>
                  <a:gd name="connsiteY8" fmla="*/ 59 h 45699"/>
                  <a:gd name="connsiteX9" fmla="*/ 2080 w 19910"/>
                  <a:gd name="connsiteY9" fmla="*/ 657 h 45699"/>
                  <a:gd name="connsiteX10" fmla="*/ 6745 w 19910"/>
                  <a:gd name="connsiteY10" fmla="*/ 17283 h 45699"/>
                  <a:gd name="connsiteX11" fmla="*/ 7104 w 19910"/>
                  <a:gd name="connsiteY11" fmla="*/ 18599 h 45699"/>
                  <a:gd name="connsiteX12" fmla="*/ 11350 w 19910"/>
                  <a:gd name="connsiteY12" fmla="*/ 24879 h 45699"/>
                  <a:gd name="connsiteX13" fmla="*/ 19903 w 19910"/>
                  <a:gd name="connsiteY13" fmla="*/ 38993 h 45699"/>
                  <a:gd name="connsiteX14" fmla="*/ 19185 w 19910"/>
                  <a:gd name="connsiteY14" fmla="*/ 40070 h 45699"/>
                  <a:gd name="connsiteX15" fmla="*/ 5370 w 19910"/>
                  <a:gd name="connsiteY15" fmla="*/ 45632 h 45699"/>
                  <a:gd name="connsiteX16" fmla="*/ 5370 w 19910"/>
                  <a:gd name="connsiteY16" fmla="*/ 45632 h 4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910" h="45699">
                    <a:moveTo>
                      <a:pt x="5370" y="45632"/>
                    </a:moveTo>
                    <a:cubicBezTo>
                      <a:pt x="4831" y="45811"/>
                      <a:pt x="4233" y="45632"/>
                      <a:pt x="4054" y="45094"/>
                    </a:cubicBezTo>
                    <a:cubicBezTo>
                      <a:pt x="3874" y="44615"/>
                      <a:pt x="4114" y="44017"/>
                      <a:pt x="4712" y="43778"/>
                    </a:cubicBezTo>
                    <a:lnTo>
                      <a:pt x="17570" y="38575"/>
                    </a:lnTo>
                    <a:cubicBezTo>
                      <a:pt x="16613" y="35943"/>
                      <a:pt x="12427" y="30022"/>
                      <a:pt x="9496" y="26015"/>
                    </a:cubicBezTo>
                    <a:cubicBezTo>
                      <a:pt x="6685" y="22128"/>
                      <a:pt x="5250" y="20035"/>
                      <a:pt x="5011" y="19137"/>
                    </a:cubicBezTo>
                    <a:lnTo>
                      <a:pt x="4652" y="17822"/>
                    </a:lnTo>
                    <a:cubicBezTo>
                      <a:pt x="3575" y="13934"/>
                      <a:pt x="1123" y="4784"/>
                      <a:pt x="47" y="1315"/>
                    </a:cubicBezTo>
                    <a:cubicBezTo>
                      <a:pt x="-133" y="777"/>
                      <a:pt x="226" y="238"/>
                      <a:pt x="765" y="59"/>
                    </a:cubicBezTo>
                    <a:cubicBezTo>
                      <a:pt x="1303" y="-120"/>
                      <a:pt x="1901" y="119"/>
                      <a:pt x="2080" y="657"/>
                    </a:cubicBezTo>
                    <a:cubicBezTo>
                      <a:pt x="3217" y="4186"/>
                      <a:pt x="5668" y="13336"/>
                      <a:pt x="6745" y="17283"/>
                    </a:cubicBezTo>
                    <a:lnTo>
                      <a:pt x="7104" y="18599"/>
                    </a:lnTo>
                    <a:cubicBezTo>
                      <a:pt x="7283" y="19257"/>
                      <a:pt x="9436" y="22247"/>
                      <a:pt x="11350" y="24879"/>
                    </a:cubicBezTo>
                    <a:cubicBezTo>
                      <a:pt x="16015" y="31398"/>
                      <a:pt x="19664" y="36601"/>
                      <a:pt x="19903" y="38993"/>
                    </a:cubicBezTo>
                    <a:cubicBezTo>
                      <a:pt x="19962" y="39412"/>
                      <a:pt x="19664" y="39891"/>
                      <a:pt x="19185" y="40070"/>
                    </a:cubicBezTo>
                    <a:lnTo>
                      <a:pt x="5370" y="45632"/>
                    </a:lnTo>
                    <a:cubicBezTo>
                      <a:pt x="5370" y="45572"/>
                      <a:pt x="5370" y="45572"/>
                      <a:pt x="5370" y="4563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18" name="Vrije vorm: vorm 9117">
                <a:extLst>
                  <a:ext uri="{FF2B5EF4-FFF2-40B4-BE49-F238E27FC236}">
                    <a16:creationId xmlns:a16="http://schemas.microsoft.com/office/drawing/2014/main" id="{C77EC768-26A6-4397-9BEA-57887531E823}"/>
                  </a:ext>
                </a:extLst>
              </p:cNvPr>
              <p:cNvSpPr/>
              <p:nvPr/>
            </p:nvSpPr>
            <p:spPr>
              <a:xfrm>
                <a:off x="5061206" y="2299136"/>
                <a:ext cx="25169" cy="25909"/>
              </a:xfrm>
              <a:custGeom>
                <a:avLst/>
                <a:gdLst>
                  <a:gd name="connsiteX0" fmla="*/ 20453 w 25169"/>
                  <a:gd name="connsiteY0" fmla="*/ 25311 h 25909"/>
                  <a:gd name="connsiteX1" fmla="*/ 17642 w 25169"/>
                  <a:gd name="connsiteY1" fmla="*/ 25909 h 25909"/>
                  <a:gd name="connsiteX2" fmla="*/ 16626 w 25169"/>
                  <a:gd name="connsiteY2" fmla="*/ 24953 h 25909"/>
                  <a:gd name="connsiteX3" fmla="*/ 17762 w 25169"/>
                  <a:gd name="connsiteY3" fmla="*/ 23936 h 25909"/>
                  <a:gd name="connsiteX4" fmla="*/ 21829 w 25169"/>
                  <a:gd name="connsiteY4" fmla="*/ 22261 h 25909"/>
                  <a:gd name="connsiteX5" fmla="*/ 23025 w 25169"/>
                  <a:gd name="connsiteY5" fmla="*/ 17836 h 25909"/>
                  <a:gd name="connsiteX6" fmla="*/ 12319 w 25169"/>
                  <a:gd name="connsiteY6" fmla="*/ 3243 h 25909"/>
                  <a:gd name="connsiteX7" fmla="*/ 4425 w 25169"/>
                  <a:gd name="connsiteY7" fmla="*/ 2405 h 25909"/>
                  <a:gd name="connsiteX8" fmla="*/ 2033 w 25169"/>
                  <a:gd name="connsiteY8" fmla="*/ 4319 h 25909"/>
                  <a:gd name="connsiteX9" fmla="*/ 657 w 25169"/>
                  <a:gd name="connsiteY9" fmla="*/ 4917 h 25909"/>
                  <a:gd name="connsiteX10" fmla="*/ 59 w 25169"/>
                  <a:gd name="connsiteY10" fmla="*/ 3661 h 25909"/>
                  <a:gd name="connsiteX11" fmla="*/ 3827 w 25169"/>
                  <a:gd name="connsiteY11" fmla="*/ 551 h 25909"/>
                  <a:gd name="connsiteX12" fmla="*/ 13515 w 25169"/>
                  <a:gd name="connsiteY12" fmla="*/ 1568 h 25909"/>
                  <a:gd name="connsiteX13" fmla="*/ 25118 w 25169"/>
                  <a:gd name="connsiteY13" fmla="*/ 17596 h 25909"/>
                  <a:gd name="connsiteX14" fmla="*/ 23324 w 25169"/>
                  <a:gd name="connsiteY14" fmla="*/ 23577 h 25909"/>
                  <a:gd name="connsiteX15" fmla="*/ 20453 w 25169"/>
                  <a:gd name="connsiteY15" fmla="*/ 25311 h 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69" h="25909">
                    <a:moveTo>
                      <a:pt x="20453" y="25311"/>
                    </a:moveTo>
                    <a:cubicBezTo>
                      <a:pt x="18958" y="25850"/>
                      <a:pt x="17702" y="25909"/>
                      <a:pt x="17642" y="25909"/>
                    </a:cubicBezTo>
                    <a:cubicBezTo>
                      <a:pt x="17044" y="25909"/>
                      <a:pt x="16566" y="25491"/>
                      <a:pt x="16626" y="24953"/>
                    </a:cubicBezTo>
                    <a:cubicBezTo>
                      <a:pt x="16626" y="24414"/>
                      <a:pt x="17164" y="23936"/>
                      <a:pt x="17762" y="23936"/>
                    </a:cubicBezTo>
                    <a:cubicBezTo>
                      <a:pt x="17762" y="23936"/>
                      <a:pt x="20274" y="23876"/>
                      <a:pt x="21829" y="22261"/>
                    </a:cubicBezTo>
                    <a:cubicBezTo>
                      <a:pt x="22845" y="21244"/>
                      <a:pt x="23204" y="19749"/>
                      <a:pt x="23025" y="17836"/>
                    </a:cubicBezTo>
                    <a:cubicBezTo>
                      <a:pt x="22487" y="11915"/>
                      <a:pt x="15788" y="5216"/>
                      <a:pt x="12319" y="3243"/>
                    </a:cubicBezTo>
                    <a:cubicBezTo>
                      <a:pt x="10047" y="1927"/>
                      <a:pt x="6757" y="1568"/>
                      <a:pt x="4425" y="2405"/>
                    </a:cubicBezTo>
                    <a:cubicBezTo>
                      <a:pt x="3588" y="2704"/>
                      <a:pt x="2451" y="3243"/>
                      <a:pt x="2033" y="4319"/>
                    </a:cubicBezTo>
                    <a:cubicBezTo>
                      <a:pt x="1793" y="4857"/>
                      <a:pt x="1195" y="5097"/>
                      <a:pt x="657" y="4917"/>
                    </a:cubicBezTo>
                    <a:cubicBezTo>
                      <a:pt x="119" y="4738"/>
                      <a:pt x="-120" y="4140"/>
                      <a:pt x="59" y="3661"/>
                    </a:cubicBezTo>
                    <a:cubicBezTo>
                      <a:pt x="657" y="2226"/>
                      <a:pt x="1973" y="1149"/>
                      <a:pt x="3827" y="551"/>
                    </a:cubicBezTo>
                    <a:cubicBezTo>
                      <a:pt x="6817" y="-465"/>
                      <a:pt x="10705" y="-47"/>
                      <a:pt x="13515" y="1568"/>
                    </a:cubicBezTo>
                    <a:cubicBezTo>
                      <a:pt x="17343" y="3721"/>
                      <a:pt x="24520" y="10958"/>
                      <a:pt x="25118" y="17596"/>
                    </a:cubicBezTo>
                    <a:cubicBezTo>
                      <a:pt x="25357" y="20108"/>
                      <a:pt x="24759" y="22082"/>
                      <a:pt x="23324" y="23577"/>
                    </a:cubicBezTo>
                    <a:cubicBezTo>
                      <a:pt x="22487" y="24414"/>
                      <a:pt x="21410" y="24953"/>
                      <a:pt x="20453" y="25311"/>
                    </a:cubicBez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8982" name="Graphic 3">
              <a:extLst>
                <a:ext uri="{FF2B5EF4-FFF2-40B4-BE49-F238E27FC236}">
                  <a16:creationId xmlns:a16="http://schemas.microsoft.com/office/drawing/2014/main" id="{A94B8E5E-7529-4F4E-8260-A30AE82BDF5F}"/>
                </a:ext>
              </a:extLst>
            </p:cNvPr>
            <p:cNvGrpSpPr/>
            <p:nvPr/>
          </p:nvGrpSpPr>
          <p:grpSpPr>
            <a:xfrm>
              <a:off x="6017818" y="1619735"/>
              <a:ext cx="59033" cy="115815"/>
              <a:chOff x="6017818" y="1619735"/>
              <a:chExt cx="59033" cy="115815"/>
            </a:xfrm>
            <a:grpFill/>
          </p:grpSpPr>
          <p:sp>
            <p:nvSpPr>
              <p:cNvPr id="9091" name="Vrije vorm: vorm 9090">
                <a:extLst>
                  <a:ext uri="{FF2B5EF4-FFF2-40B4-BE49-F238E27FC236}">
                    <a16:creationId xmlns:a16="http://schemas.microsoft.com/office/drawing/2014/main" id="{3C45C2FD-F60A-4208-B758-E0485F07BFC8}"/>
                  </a:ext>
                </a:extLst>
              </p:cNvPr>
              <p:cNvSpPr/>
              <p:nvPr/>
            </p:nvSpPr>
            <p:spPr>
              <a:xfrm>
                <a:off x="6017818" y="1619735"/>
                <a:ext cx="22174" cy="34841"/>
              </a:xfrm>
              <a:custGeom>
                <a:avLst/>
                <a:gdLst>
                  <a:gd name="connsiteX0" fmla="*/ 8496 w 22174"/>
                  <a:gd name="connsiteY0" fmla="*/ 34752 h 34841"/>
                  <a:gd name="connsiteX1" fmla="*/ 7659 w 22174"/>
                  <a:gd name="connsiteY1" fmla="*/ 34752 h 34841"/>
                  <a:gd name="connsiteX2" fmla="*/ 3832 w 22174"/>
                  <a:gd name="connsiteY2" fmla="*/ 28831 h 34841"/>
                  <a:gd name="connsiteX3" fmla="*/ 2456 w 22174"/>
                  <a:gd name="connsiteY3" fmla="*/ 24943 h 34841"/>
                  <a:gd name="connsiteX4" fmla="*/ 722 w 22174"/>
                  <a:gd name="connsiteY4" fmla="*/ 14537 h 34841"/>
                  <a:gd name="connsiteX5" fmla="*/ 961 w 22174"/>
                  <a:gd name="connsiteY5" fmla="*/ 11726 h 34841"/>
                  <a:gd name="connsiteX6" fmla="*/ 5925 w 22174"/>
                  <a:gd name="connsiteY6" fmla="*/ 1977 h 34841"/>
                  <a:gd name="connsiteX7" fmla="*/ 15075 w 22174"/>
                  <a:gd name="connsiteY7" fmla="*/ 422 h 34841"/>
                  <a:gd name="connsiteX8" fmla="*/ 18843 w 22174"/>
                  <a:gd name="connsiteY8" fmla="*/ 4310 h 34841"/>
                  <a:gd name="connsiteX9" fmla="*/ 21714 w 22174"/>
                  <a:gd name="connsiteY9" fmla="*/ 16690 h 34841"/>
                  <a:gd name="connsiteX10" fmla="*/ 18425 w 22174"/>
                  <a:gd name="connsiteY10" fmla="*/ 19979 h 34841"/>
                  <a:gd name="connsiteX11" fmla="*/ 7659 w 22174"/>
                  <a:gd name="connsiteY11" fmla="*/ 17168 h 34841"/>
                  <a:gd name="connsiteX12" fmla="*/ 7181 w 22174"/>
                  <a:gd name="connsiteY12" fmla="*/ 16570 h 34841"/>
                  <a:gd name="connsiteX13" fmla="*/ 7300 w 22174"/>
                  <a:gd name="connsiteY13" fmla="*/ 15255 h 34841"/>
                  <a:gd name="connsiteX14" fmla="*/ 8855 w 22174"/>
                  <a:gd name="connsiteY14" fmla="*/ 12503 h 34841"/>
                  <a:gd name="connsiteX15" fmla="*/ 8257 w 22174"/>
                  <a:gd name="connsiteY15" fmla="*/ 8496 h 34841"/>
                  <a:gd name="connsiteX16" fmla="*/ 11965 w 22174"/>
                  <a:gd name="connsiteY16" fmla="*/ 4310 h 34841"/>
                  <a:gd name="connsiteX17" fmla="*/ 15793 w 22174"/>
                  <a:gd name="connsiteY17" fmla="*/ 3233 h 34841"/>
                  <a:gd name="connsiteX18" fmla="*/ 14178 w 22174"/>
                  <a:gd name="connsiteY18" fmla="*/ 2276 h 34841"/>
                  <a:gd name="connsiteX19" fmla="*/ 6941 w 22174"/>
                  <a:gd name="connsiteY19" fmla="*/ 3592 h 34841"/>
                  <a:gd name="connsiteX20" fmla="*/ 3054 w 22174"/>
                  <a:gd name="connsiteY20" fmla="*/ 11487 h 34841"/>
                  <a:gd name="connsiteX21" fmla="*/ 2695 w 22174"/>
                  <a:gd name="connsiteY21" fmla="*/ 15075 h 34841"/>
                  <a:gd name="connsiteX22" fmla="*/ 4190 w 22174"/>
                  <a:gd name="connsiteY22" fmla="*/ 23687 h 34841"/>
                  <a:gd name="connsiteX23" fmla="*/ 5865 w 22174"/>
                  <a:gd name="connsiteY23" fmla="*/ 28352 h 34841"/>
                  <a:gd name="connsiteX24" fmla="*/ 8616 w 22174"/>
                  <a:gd name="connsiteY24" fmla="*/ 32957 h 34841"/>
                  <a:gd name="connsiteX25" fmla="*/ 9035 w 22174"/>
                  <a:gd name="connsiteY25" fmla="*/ 34273 h 34841"/>
                  <a:gd name="connsiteX26" fmla="*/ 8496 w 22174"/>
                  <a:gd name="connsiteY26" fmla="*/ 34752 h 34841"/>
                  <a:gd name="connsiteX27" fmla="*/ 9394 w 22174"/>
                  <a:gd name="connsiteY27" fmla="*/ 15972 h 34841"/>
                  <a:gd name="connsiteX28" fmla="*/ 17707 w 22174"/>
                  <a:gd name="connsiteY28" fmla="*/ 18125 h 34841"/>
                  <a:gd name="connsiteX29" fmla="*/ 19680 w 22174"/>
                  <a:gd name="connsiteY29" fmla="*/ 16092 h 34841"/>
                  <a:gd name="connsiteX30" fmla="*/ 17049 w 22174"/>
                  <a:gd name="connsiteY30" fmla="*/ 5446 h 34841"/>
                  <a:gd name="connsiteX31" fmla="*/ 12982 w 22174"/>
                  <a:gd name="connsiteY31" fmla="*/ 5984 h 34841"/>
                  <a:gd name="connsiteX32" fmla="*/ 10291 w 22174"/>
                  <a:gd name="connsiteY32" fmla="*/ 8915 h 34841"/>
                  <a:gd name="connsiteX33" fmla="*/ 10650 w 22174"/>
                  <a:gd name="connsiteY33" fmla="*/ 11367 h 34841"/>
                  <a:gd name="connsiteX34" fmla="*/ 9394 w 22174"/>
                  <a:gd name="connsiteY34" fmla="*/ 15972 h 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174" h="34841">
                    <a:moveTo>
                      <a:pt x="8496" y="34752"/>
                    </a:moveTo>
                    <a:cubicBezTo>
                      <a:pt x="8197" y="34871"/>
                      <a:pt x="7898" y="34871"/>
                      <a:pt x="7659" y="34752"/>
                    </a:cubicBezTo>
                    <a:cubicBezTo>
                      <a:pt x="4609" y="33376"/>
                      <a:pt x="4190" y="30984"/>
                      <a:pt x="3832" y="28831"/>
                    </a:cubicBezTo>
                    <a:cubicBezTo>
                      <a:pt x="3592" y="27455"/>
                      <a:pt x="3353" y="26080"/>
                      <a:pt x="2456" y="24943"/>
                    </a:cubicBezTo>
                    <a:cubicBezTo>
                      <a:pt x="-56" y="21594"/>
                      <a:pt x="-654" y="18006"/>
                      <a:pt x="722" y="14537"/>
                    </a:cubicBezTo>
                    <a:cubicBezTo>
                      <a:pt x="1021" y="13819"/>
                      <a:pt x="961" y="12802"/>
                      <a:pt x="961" y="11726"/>
                    </a:cubicBezTo>
                    <a:cubicBezTo>
                      <a:pt x="901" y="8915"/>
                      <a:pt x="781" y="5028"/>
                      <a:pt x="5925" y="1977"/>
                    </a:cubicBezTo>
                    <a:cubicBezTo>
                      <a:pt x="9095" y="64"/>
                      <a:pt x="12444" y="-475"/>
                      <a:pt x="15075" y="422"/>
                    </a:cubicBezTo>
                    <a:cubicBezTo>
                      <a:pt x="16989" y="1080"/>
                      <a:pt x="18365" y="2516"/>
                      <a:pt x="18843" y="4310"/>
                    </a:cubicBezTo>
                    <a:cubicBezTo>
                      <a:pt x="21714" y="8436"/>
                      <a:pt x="22910" y="13520"/>
                      <a:pt x="21714" y="16690"/>
                    </a:cubicBezTo>
                    <a:cubicBezTo>
                      <a:pt x="21116" y="18245"/>
                      <a:pt x="19980" y="19381"/>
                      <a:pt x="18425" y="19979"/>
                    </a:cubicBezTo>
                    <a:cubicBezTo>
                      <a:pt x="13221" y="21893"/>
                      <a:pt x="9214" y="19082"/>
                      <a:pt x="7659" y="17168"/>
                    </a:cubicBezTo>
                    <a:lnTo>
                      <a:pt x="7181" y="16570"/>
                    </a:lnTo>
                    <a:cubicBezTo>
                      <a:pt x="6882" y="16211"/>
                      <a:pt x="6941" y="15673"/>
                      <a:pt x="7300" y="15255"/>
                    </a:cubicBezTo>
                    <a:cubicBezTo>
                      <a:pt x="8257" y="14298"/>
                      <a:pt x="9155" y="12922"/>
                      <a:pt x="8855" y="12503"/>
                    </a:cubicBezTo>
                    <a:cubicBezTo>
                      <a:pt x="8377" y="11846"/>
                      <a:pt x="7779" y="10290"/>
                      <a:pt x="8257" y="8496"/>
                    </a:cubicBezTo>
                    <a:cubicBezTo>
                      <a:pt x="8736" y="6822"/>
                      <a:pt x="9992" y="5386"/>
                      <a:pt x="11965" y="4310"/>
                    </a:cubicBezTo>
                    <a:cubicBezTo>
                      <a:pt x="13401" y="3472"/>
                      <a:pt x="14717" y="3233"/>
                      <a:pt x="15793" y="3233"/>
                    </a:cubicBezTo>
                    <a:cubicBezTo>
                      <a:pt x="15374" y="2815"/>
                      <a:pt x="14836" y="2456"/>
                      <a:pt x="14178" y="2276"/>
                    </a:cubicBezTo>
                    <a:cubicBezTo>
                      <a:pt x="12204" y="1559"/>
                      <a:pt x="9513" y="2037"/>
                      <a:pt x="6941" y="3592"/>
                    </a:cubicBezTo>
                    <a:cubicBezTo>
                      <a:pt x="2875" y="5984"/>
                      <a:pt x="2994" y="8795"/>
                      <a:pt x="3054" y="11487"/>
                    </a:cubicBezTo>
                    <a:cubicBezTo>
                      <a:pt x="3114" y="12802"/>
                      <a:pt x="3114" y="13999"/>
                      <a:pt x="2695" y="15075"/>
                    </a:cubicBezTo>
                    <a:cubicBezTo>
                      <a:pt x="1559" y="17946"/>
                      <a:pt x="2038" y="20817"/>
                      <a:pt x="4190" y="23687"/>
                    </a:cubicBezTo>
                    <a:cubicBezTo>
                      <a:pt x="5327" y="25183"/>
                      <a:pt x="5626" y="26857"/>
                      <a:pt x="5865" y="28352"/>
                    </a:cubicBezTo>
                    <a:cubicBezTo>
                      <a:pt x="6224" y="30386"/>
                      <a:pt x="6523" y="32001"/>
                      <a:pt x="8616" y="32957"/>
                    </a:cubicBezTo>
                    <a:cubicBezTo>
                      <a:pt x="9155" y="33197"/>
                      <a:pt x="9334" y="33795"/>
                      <a:pt x="9035" y="34273"/>
                    </a:cubicBezTo>
                    <a:cubicBezTo>
                      <a:pt x="8975" y="34512"/>
                      <a:pt x="8736" y="34632"/>
                      <a:pt x="8496" y="34752"/>
                    </a:cubicBezTo>
                    <a:close/>
                    <a:moveTo>
                      <a:pt x="9394" y="15972"/>
                    </a:moveTo>
                    <a:cubicBezTo>
                      <a:pt x="10650" y="17467"/>
                      <a:pt x="13759" y="19621"/>
                      <a:pt x="17707" y="18125"/>
                    </a:cubicBezTo>
                    <a:cubicBezTo>
                      <a:pt x="18664" y="17766"/>
                      <a:pt x="19322" y="17109"/>
                      <a:pt x="19680" y="16092"/>
                    </a:cubicBezTo>
                    <a:cubicBezTo>
                      <a:pt x="20637" y="13520"/>
                      <a:pt x="19561" y="9035"/>
                      <a:pt x="17049" y="5446"/>
                    </a:cubicBezTo>
                    <a:cubicBezTo>
                      <a:pt x="16511" y="5147"/>
                      <a:pt x="15016" y="4848"/>
                      <a:pt x="12982" y="5984"/>
                    </a:cubicBezTo>
                    <a:cubicBezTo>
                      <a:pt x="11487" y="6822"/>
                      <a:pt x="10590" y="7779"/>
                      <a:pt x="10291" y="8915"/>
                    </a:cubicBezTo>
                    <a:cubicBezTo>
                      <a:pt x="9992" y="10111"/>
                      <a:pt x="10410" y="11068"/>
                      <a:pt x="10650" y="11367"/>
                    </a:cubicBezTo>
                    <a:cubicBezTo>
                      <a:pt x="11726" y="12862"/>
                      <a:pt x="10291" y="14896"/>
                      <a:pt x="9394" y="1597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92" name="Vrije vorm: vorm 9091">
                <a:extLst>
                  <a:ext uri="{FF2B5EF4-FFF2-40B4-BE49-F238E27FC236}">
                    <a16:creationId xmlns:a16="http://schemas.microsoft.com/office/drawing/2014/main" id="{2F8E10CD-E84D-4697-A9BC-75EA80103CBA}"/>
                  </a:ext>
                </a:extLst>
              </p:cNvPr>
              <p:cNvSpPr/>
              <p:nvPr/>
            </p:nvSpPr>
            <p:spPr>
              <a:xfrm>
                <a:off x="6030289" y="1637648"/>
                <a:ext cx="9301" cy="8012"/>
              </a:xfrm>
              <a:custGeom>
                <a:avLst/>
                <a:gdLst>
                  <a:gd name="connsiteX0" fmla="*/ 6432 w 9301"/>
                  <a:gd name="connsiteY0" fmla="*/ 7569 h 8012"/>
                  <a:gd name="connsiteX1" fmla="*/ 3203 w 9301"/>
                  <a:gd name="connsiteY1" fmla="*/ 7987 h 8012"/>
                  <a:gd name="connsiteX2" fmla="*/ 2425 w 9301"/>
                  <a:gd name="connsiteY2" fmla="*/ 7449 h 8012"/>
                  <a:gd name="connsiteX3" fmla="*/ 93 w 9301"/>
                  <a:gd name="connsiteY3" fmla="*/ 2545 h 8012"/>
                  <a:gd name="connsiteX4" fmla="*/ 631 w 9301"/>
                  <a:gd name="connsiteY4" fmla="*/ 1229 h 8012"/>
                  <a:gd name="connsiteX5" fmla="*/ 2007 w 9301"/>
                  <a:gd name="connsiteY5" fmla="*/ 1648 h 8012"/>
                  <a:gd name="connsiteX6" fmla="*/ 4100 w 9301"/>
                  <a:gd name="connsiteY6" fmla="*/ 6073 h 8012"/>
                  <a:gd name="connsiteX7" fmla="*/ 6971 w 9301"/>
                  <a:gd name="connsiteY7" fmla="*/ 5057 h 8012"/>
                  <a:gd name="connsiteX8" fmla="*/ 5535 w 9301"/>
                  <a:gd name="connsiteY8" fmla="*/ 1409 h 8012"/>
                  <a:gd name="connsiteX9" fmla="*/ 6193 w 9301"/>
                  <a:gd name="connsiteY9" fmla="*/ 93 h 8012"/>
                  <a:gd name="connsiteX10" fmla="*/ 7569 w 9301"/>
                  <a:gd name="connsiteY10" fmla="*/ 631 h 8012"/>
                  <a:gd name="connsiteX11" fmla="*/ 9243 w 9301"/>
                  <a:gd name="connsiteY11" fmla="*/ 4877 h 8012"/>
                  <a:gd name="connsiteX12" fmla="*/ 9004 w 9301"/>
                  <a:gd name="connsiteY12" fmla="*/ 5894 h 8012"/>
                  <a:gd name="connsiteX13" fmla="*/ 6432 w 9301"/>
                  <a:gd name="connsiteY13" fmla="*/ 7569 h 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01" h="8012">
                    <a:moveTo>
                      <a:pt x="6432" y="7569"/>
                    </a:moveTo>
                    <a:cubicBezTo>
                      <a:pt x="4758" y="8167"/>
                      <a:pt x="3322" y="7987"/>
                      <a:pt x="3203" y="7987"/>
                    </a:cubicBezTo>
                    <a:cubicBezTo>
                      <a:pt x="2844" y="7927"/>
                      <a:pt x="2545" y="7748"/>
                      <a:pt x="2425" y="7449"/>
                    </a:cubicBezTo>
                    <a:lnTo>
                      <a:pt x="93" y="2545"/>
                    </a:lnTo>
                    <a:cubicBezTo>
                      <a:pt x="-146" y="2066"/>
                      <a:pt x="93" y="1468"/>
                      <a:pt x="631" y="1229"/>
                    </a:cubicBezTo>
                    <a:cubicBezTo>
                      <a:pt x="1170" y="990"/>
                      <a:pt x="1767" y="1169"/>
                      <a:pt x="2007" y="1648"/>
                    </a:cubicBezTo>
                    <a:lnTo>
                      <a:pt x="4100" y="6073"/>
                    </a:lnTo>
                    <a:cubicBezTo>
                      <a:pt x="4758" y="6073"/>
                      <a:pt x="5894" y="5894"/>
                      <a:pt x="6971" y="5057"/>
                    </a:cubicBezTo>
                    <a:lnTo>
                      <a:pt x="5535" y="1409"/>
                    </a:lnTo>
                    <a:cubicBezTo>
                      <a:pt x="5356" y="930"/>
                      <a:pt x="5595" y="332"/>
                      <a:pt x="6193" y="93"/>
                    </a:cubicBezTo>
                    <a:cubicBezTo>
                      <a:pt x="6791" y="-147"/>
                      <a:pt x="7329" y="93"/>
                      <a:pt x="7569" y="631"/>
                    </a:cubicBezTo>
                    <a:lnTo>
                      <a:pt x="9243" y="4877"/>
                    </a:lnTo>
                    <a:cubicBezTo>
                      <a:pt x="9363" y="5236"/>
                      <a:pt x="9303" y="5595"/>
                      <a:pt x="9004" y="5894"/>
                    </a:cubicBezTo>
                    <a:cubicBezTo>
                      <a:pt x="8227" y="6731"/>
                      <a:pt x="7270" y="7270"/>
                      <a:pt x="6432" y="756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93" name="Vrije vorm: vorm 9092">
                <a:extLst>
                  <a:ext uri="{FF2B5EF4-FFF2-40B4-BE49-F238E27FC236}">
                    <a16:creationId xmlns:a16="http://schemas.microsoft.com/office/drawing/2014/main" id="{50BE047A-1927-446E-8F16-95953EAF422C}"/>
                  </a:ext>
                </a:extLst>
              </p:cNvPr>
              <p:cNvSpPr/>
              <p:nvPr/>
            </p:nvSpPr>
            <p:spPr>
              <a:xfrm>
                <a:off x="6025108" y="1642589"/>
                <a:ext cx="15129" cy="27988"/>
              </a:xfrm>
              <a:custGeom>
                <a:avLst/>
                <a:gdLst>
                  <a:gd name="connsiteX0" fmla="*/ 5274 w 15129"/>
                  <a:gd name="connsiteY0" fmla="*/ 27807 h 27988"/>
                  <a:gd name="connsiteX1" fmla="*/ 3958 w 15129"/>
                  <a:gd name="connsiteY1" fmla="*/ 27926 h 27988"/>
                  <a:gd name="connsiteX2" fmla="*/ 70 w 15129"/>
                  <a:gd name="connsiteY2" fmla="*/ 13094 h 27988"/>
                  <a:gd name="connsiteX3" fmla="*/ 6111 w 15129"/>
                  <a:gd name="connsiteY3" fmla="*/ 834 h 27988"/>
                  <a:gd name="connsiteX4" fmla="*/ 7008 w 15129"/>
                  <a:gd name="connsiteY4" fmla="*/ 236 h 27988"/>
                  <a:gd name="connsiteX5" fmla="*/ 8503 w 15129"/>
                  <a:gd name="connsiteY5" fmla="*/ 355 h 27988"/>
                  <a:gd name="connsiteX6" fmla="*/ 8264 w 15129"/>
                  <a:gd name="connsiteY6" fmla="*/ 1731 h 27988"/>
                  <a:gd name="connsiteX7" fmla="*/ 7307 w 15129"/>
                  <a:gd name="connsiteY7" fmla="*/ 2389 h 27988"/>
                  <a:gd name="connsiteX8" fmla="*/ 2164 w 15129"/>
                  <a:gd name="connsiteY8" fmla="*/ 13034 h 27988"/>
                  <a:gd name="connsiteX9" fmla="*/ 4377 w 15129"/>
                  <a:gd name="connsiteY9" fmla="*/ 26013 h 27988"/>
                  <a:gd name="connsiteX10" fmla="*/ 10776 w 15129"/>
                  <a:gd name="connsiteY10" fmla="*/ 17699 h 27988"/>
                  <a:gd name="connsiteX11" fmla="*/ 12152 w 15129"/>
                  <a:gd name="connsiteY11" fmla="*/ 15427 h 27988"/>
                  <a:gd name="connsiteX12" fmla="*/ 12869 w 15129"/>
                  <a:gd name="connsiteY12" fmla="*/ 12197 h 27988"/>
                  <a:gd name="connsiteX13" fmla="*/ 10836 w 15129"/>
                  <a:gd name="connsiteY13" fmla="*/ 9924 h 27988"/>
                  <a:gd name="connsiteX14" fmla="*/ 8802 w 15129"/>
                  <a:gd name="connsiteY14" fmla="*/ 13094 h 27988"/>
                  <a:gd name="connsiteX15" fmla="*/ 4915 w 15129"/>
                  <a:gd name="connsiteY15" fmla="*/ 20450 h 27988"/>
                  <a:gd name="connsiteX16" fmla="*/ 3420 w 15129"/>
                  <a:gd name="connsiteY16" fmla="*/ 20750 h 27988"/>
                  <a:gd name="connsiteX17" fmla="*/ 3240 w 15129"/>
                  <a:gd name="connsiteY17" fmla="*/ 19374 h 27988"/>
                  <a:gd name="connsiteX18" fmla="*/ 6709 w 15129"/>
                  <a:gd name="connsiteY18" fmla="*/ 13393 h 27988"/>
                  <a:gd name="connsiteX19" fmla="*/ 9819 w 15129"/>
                  <a:gd name="connsiteY19" fmla="*/ 8310 h 27988"/>
                  <a:gd name="connsiteX20" fmla="*/ 11912 w 15129"/>
                  <a:gd name="connsiteY20" fmla="*/ 8130 h 27988"/>
                  <a:gd name="connsiteX21" fmla="*/ 14723 w 15129"/>
                  <a:gd name="connsiteY21" fmla="*/ 11180 h 27988"/>
                  <a:gd name="connsiteX22" fmla="*/ 14783 w 15129"/>
                  <a:gd name="connsiteY22" fmla="*/ 11300 h 27988"/>
                  <a:gd name="connsiteX23" fmla="*/ 13946 w 15129"/>
                  <a:gd name="connsiteY23" fmla="*/ 16443 h 27988"/>
                  <a:gd name="connsiteX24" fmla="*/ 12630 w 15129"/>
                  <a:gd name="connsiteY24" fmla="*/ 18656 h 27988"/>
                  <a:gd name="connsiteX25" fmla="*/ 5274 w 15129"/>
                  <a:gd name="connsiteY25" fmla="*/ 27807 h 2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129" h="27988">
                    <a:moveTo>
                      <a:pt x="5274" y="27807"/>
                    </a:moveTo>
                    <a:cubicBezTo>
                      <a:pt x="4855" y="27986"/>
                      <a:pt x="4437" y="28046"/>
                      <a:pt x="3958" y="27926"/>
                    </a:cubicBezTo>
                    <a:cubicBezTo>
                      <a:pt x="310" y="27388"/>
                      <a:pt x="-229" y="21826"/>
                      <a:pt x="70" y="13094"/>
                    </a:cubicBezTo>
                    <a:cubicBezTo>
                      <a:pt x="370" y="4781"/>
                      <a:pt x="3719" y="2508"/>
                      <a:pt x="6111" y="834"/>
                    </a:cubicBezTo>
                    <a:cubicBezTo>
                      <a:pt x="6410" y="595"/>
                      <a:pt x="6709" y="415"/>
                      <a:pt x="7008" y="236"/>
                    </a:cubicBezTo>
                    <a:cubicBezTo>
                      <a:pt x="7486" y="-123"/>
                      <a:pt x="8145" y="-63"/>
                      <a:pt x="8503" y="355"/>
                    </a:cubicBezTo>
                    <a:cubicBezTo>
                      <a:pt x="8862" y="774"/>
                      <a:pt x="8742" y="1372"/>
                      <a:pt x="8264" y="1731"/>
                    </a:cubicBezTo>
                    <a:cubicBezTo>
                      <a:pt x="7965" y="1970"/>
                      <a:pt x="7606" y="2209"/>
                      <a:pt x="7307" y="2389"/>
                    </a:cubicBezTo>
                    <a:cubicBezTo>
                      <a:pt x="5034" y="3944"/>
                      <a:pt x="2463" y="5678"/>
                      <a:pt x="2164" y="13034"/>
                    </a:cubicBezTo>
                    <a:cubicBezTo>
                      <a:pt x="1984" y="18417"/>
                      <a:pt x="1984" y="25654"/>
                      <a:pt x="4377" y="26013"/>
                    </a:cubicBezTo>
                    <a:cubicBezTo>
                      <a:pt x="5274" y="26132"/>
                      <a:pt x="7427" y="23321"/>
                      <a:pt x="10776" y="17699"/>
                    </a:cubicBezTo>
                    <a:cubicBezTo>
                      <a:pt x="11314" y="16742"/>
                      <a:pt x="11793" y="15965"/>
                      <a:pt x="12152" y="15427"/>
                    </a:cubicBezTo>
                    <a:cubicBezTo>
                      <a:pt x="13288" y="13692"/>
                      <a:pt x="12929" y="12496"/>
                      <a:pt x="12869" y="12197"/>
                    </a:cubicBezTo>
                    <a:cubicBezTo>
                      <a:pt x="12331" y="11420"/>
                      <a:pt x="11434" y="10343"/>
                      <a:pt x="10836" y="9924"/>
                    </a:cubicBezTo>
                    <a:cubicBezTo>
                      <a:pt x="10118" y="10283"/>
                      <a:pt x="8742" y="12077"/>
                      <a:pt x="8802" y="13094"/>
                    </a:cubicBezTo>
                    <a:cubicBezTo>
                      <a:pt x="8982" y="15128"/>
                      <a:pt x="5872" y="19195"/>
                      <a:pt x="4915" y="20450"/>
                    </a:cubicBezTo>
                    <a:cubicBezTo>
                      <a:pt x="4556" y="20929"/>
                      <a:pt x="3898" y="21049"/>
                      <a:pt x="3420" y="20750"/>
                    </a:cubicBezTo>
                    <a:cubicBezTo>
                      <a:pt x="2941" y="20450"/>
                      <a:pt x="2881" y="19852"/>
                      <a:pt x="3240" y="19374"/>
                    </a:cubicBezTo>
                    <a:cubicBezTo>
                      <a:pt x="4975" y="17161"/>
                      <a:pt x="6769" y="14290"/>
                      <a:pt x="6709" y="13393"/>
                    </a:cubicBezTo>
                    <a:cubicBezTo>
                      <a:pt x="6589" y="11659"/>
                      <a:pt x="8264" y="9207"/>
                      <a:pt x="9819" y="8310"/>
                    </a:cubicBezTo>
                    <a:cubicBezTo>
                      <a:pt x="10836" y="7711"/>
                      <a:pt x="11554" y="7951"/>
                      <a:pt x="11912" y="8130"/>
                    </a:cubicBezTo>
                    <a:cubicBezTo>
                      <a:pt x="12989" y="8788"/>
                      <a:pt x="14484" y="10762"/>
                      <a:pt x="14723" y="11180"/>
                    </a:cubicBezTo>
                    <a:cubicBezTo>
                      <a:pt x="14723" y="11240"/>
                      <a:pt x="14783" y="11240"/>
                      <a:pt x="14783" y="11300"/>
                    </a:cubicBezTo>
                    <a:cubicBezTo>
                      <a:pt x="14843" y="11420"/>
                      <a:pt x="15919" y="13573"/>
                      <a:pt x="13946" y="16443"/>
                    </a:cubicBezTo>
                    <a:cubicBezTo>
                      <a:pt x="13647" y="16922"/>
                      <a:pt x="13168" y="17699"/>
                      <a:pt x="12630" y="18656"/>
                    </a:cubicBezTo>
                    <a:cubicBezTo>
                      <a:pt x="9939" y="23261"/>
                      <a:pt x="7546" y="26969"/>
                      <a:pt x="5274" y="2780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94" name="Vrije vorm: vorm 9093">
                <a:extLst>
                  <a:ext uri="{FF2B5EF4-FFF2-40B4-BE49-F238E27FC236}">
                    <a16:creationId xmlns:a16="http://schemas.microsoft.com/office/drawing/2014/main" id="{082C0FCB-1C8D-491D-B1F5-E79A0B3DC8EC}"/>
                  </a:ext>
                </a:extLst>
              </p:cNvPr>
              <p:cNvSpPr/>
              <p:nvPr/>
            </p:nvSpPr>
            <p:spPr>
              <a:xfrm>
                <a:off x="6027751" y="1646175"/>
                <a:ext cx="7501" cy="7714"/>
              </a:xfrm>
              <a:custGeom>
                <a:avLst/>
                <a:gdLst>
                  <a:gd name="connsiteX0" fmla="*/ 6757 w 7501"/>
                  <a:gd name="connsiteY0" fmla="*/ 7654 h 7714"/>
                  <a:gd name="connsiteX1" fmla="*/ 5442 w 7501"/>
                  <a:gd name="connsiteY1" fmla="*/ 7116 h 7714"/>
                  <a:gd name="connsiteX2" fmla="*/ 657 w 7501"/>
                  <a:gd name="connsiteY2" fmla="*/ 1913 h 7714"/>
                  <a:gd name="connsiteX3" fmla="*/ 59 w 7501"/>
                  <a:gd name="connsiteY3" fmla="*/ 657 h 7714"/>
                  <a:gd name="connsiteX4" fmla="*/ 1435 w 7501"/>
                  <a:gd name="connsiteY4" fmla="*/ 59 h 7714"/>
                  <a:gd name="connsiteX5" fmla="*/ 7475 w 7501"/>
                  <a:gd name="connsiteY5" fmla="*/ 6398 h 7714"/>
                  <a:gd name="connsiteX6" fmla="*/ 6757 w 7501"/>
                  <a:gd name="connsiteY6" fmla="*/ 7654 h 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7714">
                    <a:moveTo>
                      <a:pt x="6757" y="7654"/>
                    </a:moveTo>
                    <a:cubicBezTo>
                      <a:pt x="6219" y="7834"/>
                      <a:pt x="5621" y="7595"/>
                      <a:pt x="5442" y="7116"/>
                    </a:cubicBezTo>
                    <a:cubicBezTo>
                      <a:pt x="5023" y="6040"/>
                      <a:pt x="2272" y="2451"/>
                      <a:pt x="657" y="1913"/>
                    </a:cubicBezTo>
                    <a:cubicBezTo>
                      <a:pt x="119" y="1734"/>
                      <a:pt x="-120" y="1195"/>
                      <a:pt x="59" y="657"/>
                    </a:cubicBezTo>
                    <a:cubicBezTo>
                      <a:pt x="298" y="119"/>
                      <a:pt x="896" y="-121"/>
                      <a:pt x="1435" y="59"/>
                    </a:cubicBezTo>
                    <a:cubicBezTo>
                      <a:pt x="3827" y="836"/>
                      <a:pt x="6937" y="4963"/>
                      <a:pt x="7475" y="6398"/>
                    </a:cubicBezTo>
                    <a:cubicBezTo>
                      <a:pt x="7595" y="6877"/>
                      <a:pt x="7296" y="7475"/>
                      <a:pt x="6757" y="765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95" name="Vrije vorm: vorm 9094">
                <a:extLst>
                  <a:ext uri="{FF2B5EF4-FFF2-40B4-BE49-F238E27FC236}">
                    <a16:creationId xmlns:a16="http://schemas.microsoft.com/office/drawing/2014/main" id="{0771BBD9-13D7-462F-AA65-BB412EB9E6C5}"/>
                  </a:ext>
                </a:extLst>
              </p:cNvPr>
              <p:cNvSpPr/>
              <p:nvPr/>
            </p:nvSpPr>
            <p:spPr>
              <a:xfrm>
                <a:off x="6034060" y="1644286"/>
                <a:ext cx="38542" cy="89417"/>
              </a:xfrm>
              <a:custGeom>
                <a:avLst/>
                <a:gdLst>
                  <a:gd name="connsiteX0" fmla="*/ 29096 w 38542"/>
                  <a:gd name="connsiteY0" fmla="*/ 88908 h 89417"/>
                  <a:gd name="connsiteX1" fmla="*/ 26045 w 38542"/>
                  <a:gd name="connsiteY1" fmla="*/ 89386 h 89417"/>
                  <a:gd name="connsiteX2" fmla="*/ 25208 w 38542"/>
                  <a:gd name="connsiteY2" fmla="*/ 88848 h 89417"/>
                  <a:gd name="connsiteX3" fmla="*/ 9957 w 38542"/>
                  <a:gd name="connsiteY3" fmla="*/ 49196 h 89417"/>
                  <a:gd name="connsiteX4" fmla="*/ 5950 w 38542"/>
                  <a:gd name="connsiteY4" fmla="*/ 33287 h 89417"/>
                  <a:gd name="connsiteX5" fmla="*/ 209 w 38542"/>
                  <a:gd name="connsiteY5" fmla="*/ 20129 h 89417"/>
                  <a:gd name="connsiteX6" fmla="*/ 448 w 38542"/>
                  <a:gd name="connsiteY6" fmla="*/ 18754 h 89417"/>
                  <a:gd name="connsiteX7" fmla="*/ 1943 w 38542"/>
                  <a:gd name="connsiteY7" fmla="*/ 18873 h 89417"/>
                  <a:gd name="connsiteX8" fmla="*/ 8103 w 38542"/>
                  <a:gd name="connsiteY8" fmla="*/ 32808 h 89417"/>
                  <a:gd name="connsiteX9" fmla="*/ 12110 w 38542"/>
                  <a:gd name="connsiteY9" fmla="*/ 48598 h 89417"/>
                  <a:gd name="connsiteX10" fmla="*/ 27002 w 38542"/>
                  <a:gd name="connsiteY10" fmla="*/ 87412 h 89417"/>
                  <a:gd name="connsiteX11" fmla="*/ 31009 w 38542"/>
                  <a:gd name="connsiteY11" fmla="*/ 85678 h 89417"/>
                  <a:gd name="connsiteX12" fmla="*/ 31906 w 38542"/>
                  <a:gd name="connsiteY12" fmla="*/ 85439 h 89417"/>
                  <a:gd name="connsiteX13" fmla="*/ 36332 w 38542"/>
                  <a:gd name="connsiteY13" fmla="*/ 82867 h 89417"/>
                  <a:gd name="connsiteX14" fmla="*/ 26942 w 38542"/>
                  <a:gd name="connsiteY14" fmla="*/ 40583 h 89417"/>
                  <a:gd name="connsiteX15" fmla="*/ 26105 w 38542"/>
                  <a:gd name="connsiteY15" fmla="*/ 36038 h 89417"/>
                  <a:gd name="connsiteX16" fmla="*/ 18151 w 38542"/>
                  <a:gd name="connsiteY16" fmla="*/ 21266 h 89417"/>
                  <a:gd name="connsiteX17" fmla="*/ 15878 w 38542"/>
                  <a:gd name="connsiteY17" fmla="*/ 18455 h 89417"/>
                  <a:gd name="connsiteX18" fmla="*/ 11931 w 38542"/>
                  <a:gd name="connsiteY18" fmla="*/ 9125 h 89417"/>
                  <a:gd name="connsiteX19" fmla="*/ 12170 w 38542"/>
                  <a:gd name="connsiteY19" fmla="*/ 8287 h 89417"/>
                  <a:gd name="connsiteX20" fmla="*/ 12768 w 38542"/>
                  <a:gd name="connsiteY20" fmla="*/ 5895 h 89417"/>
                  <a:gd name="connsiteX21" fmla="*/ 9299 w 38542"/>
                  <a:gd name="connsiteY21" fmla="*/ 1888 h 89417"/>
                  <a:gd name="connsiteX22" fmla="*/ 8881 w 38542"/>
                  <a:gd name="connsiteY22" fmla="*/ 572 h 89417"/>
                  <a:gd name="connsiteX23" fmla="*/ 10316 w 38542"/>
                  <a:gd name="connsiteY23" fmla="*/ 94 h 89417"/>
                  <a:gd name="connsiteX24" fmla="*/ 14802 w 38542"/>
                  <a:gd name="connsiteY24" fmla="*/ 5357 h 89417"/>
                  <a:gd name="connsiteX25" fmla="*/ 14024 w 38542"/>
                  <a:gd name="connsiteY25" fmla="*/ 9005 h 89417"/>
                  <a:gd name="connsiteX26" fmla="*/ 17612 w 38542"/>
                  <a:gd name="connsiteY26" fmla="*/ 17318 h 89417"/>
                  <a:gd name="connsiteX27" fmla="*/ 19766 w 38542"/>
                  <a:gd name="connsiteY27" fmla="*/ 19950 h 89417"/>
                  <a:gd name="connsiteX28" fmla="*/ 28138 w 38542"/>
                  <a:gd name="connsiteY28" fmla="*/ 35619 h 89417"/>
                  <a:gd name="connsiteX29" fmla="*/ 28976 w 38542"/>
                  <a:gd name="connsiteY29" fmla="*/ 40165 h 89417"/>
                  <a:gd name="connsiteX30" fmla="*/ 38485 w 38542"/>
                  <a:gd name="connsiteY30" fmla="*/ 82688 h 89417"/>
                  <a:gd name="connsiteX31" fmla="*/ 38246 w 38542"/>
                  <a:gd name="connsiteY31" fmla="*/ 83704 h 89417"/>
                  <a:gd name="connsiteX32" fmla="*/ 31847 w 38542"/>
                  <a:gd name="connsiteY32" fmla="*/ 87353 h 89417"/>
                  <a:gd name="connsiteX33" fmla="*/ 29096 w 38542"/>
                  <a:gd name="connsiteY33" fmla="*/ 88908 h 8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542" h="89417">
                    <a:moveTo>
                      <a:pt x="29096" y="88908"/>
                    </a:moveTo>
                    <a:cubicBezTo>
                      <a:pt x="28138" y="89266"/>
                      <a:pt x="27122" y="89506"/>
                      <a:pt x="26045" y="89386"/>
                    </a:cubicBezTo>
                    <a:cubicBezTo>
                      <a:pt x="25687" y="89386"/>
                      <a:pt x="25328" y="89147"/>
                      <a:pt x="25208" y="88848"/>
                    </a:cubicBezTo>
                    <a:cubicBezTo>
                      <a:pt x="25088" y="88609"/>
                      <a:pt x="14622" y="65403"/>
                      <a:pt x="9957" y="49196"/>
                    </a:cubicBezTo>
                    <a:cubicBezTo>
                      <a:pt x="8043" y="42617"/>
                      <a:pt x="7146" y="38670"/>
                      <a:pt x="5950" y="33287"/>
                    </a:cubicBezTo>
                    <a:cubicBezTo>
                      <a:pt x="4096" y="24854"/>
                      <a:pt x="209" y="20189"/>
                      <a:pt x="209" y="20129"/>
                    </a:cubicBezTo>
                    <a:cubicBezTo>
                      <a:pt x="-150" y="19711"/>
                      <a:pt x="-30" y="19113"/>
                      <a:pt x="448" y="18754"/>
                    </a:cubicBezTo>
                    <a:cubicBezTo>
                      <a:pt x="926" y="18395"/>
                      <a:pt x="1584" y="18455"/>
                      <a:pt x="1943" y="18873"/>
                    </a:cubicBezTo>
                    <a:cubicBezTo>
                      <a:pt x="2122" y="19053"/>
                      <a:pt x="6129" y="23897"/>
                      <a:pt x="8103" y="32808"/>
                    </a:cubicBezTo>
                    <a:cubicBezTo>
                      <a:pt x="9299" y="38191"/>
                      <a:pt x="10256" y="42079"/>
                      <a:pt x="12110" y="48598"/>
                    </a:cubicBezTo>
                    <a:cubicBezTo>
                      <a:pt x="16297" y="63250"/>
                      <a:pt x="25388" y="83824"/>
                      <a:pt x="27002" y="87412"/>
                    </a:cubicBezTo>
                    <a:cubicBezTo>
                      <a:pt x="28617" y="87293"/>
                      <a:pt x="30411" y="86156"/>
                      <a:pt x="31009" y="85678"/>
                    </a:cubicBezTo>
                    <a:cubicBezTo>
                      <a:pt x="31249" y="85499"/>
                      <a:pt x="31607" y="85379"/>
                      <a:pt x="31906" y="85439"/>
                    </a:cubicBezTo>
                    <a:cubicBezTo>
                      <a:pt x="32863" y="85618"/>
                      <a:pt x="34957" y="84123"/>
                      <a:pt x="36332" y="82867"/>
                    </a:cubicBezTo>
                    <a:cubicBezTo>
                      <a:pt x="33342" y="74673"/>
                      <a:pt x="29215" y="52605"/>
                      <a:pt x="26942" y="40583"/>
                    </a:cubicBezTo>
                    <a:cubicBezTo>
                      <a:pt x="26643" y="38849"/>
                      <a:pt x="26344" y="37294"/>
                      <a:pt x="26105" y="36038"/>
                    </a:cubicBezTo>
                    <a:cubicBezTo>
                      <a:pt x="24670" y="28622"/>
                      <a:pt x="20902" y="24376"/>
                      <a:pt x="18151" y="21266"/>
                    </a:cubicBezTo>
                    <a:cubicBezTo>
                      <a:pt x="17194" y="20189"/>
                      <a:pt x="16417" y="19292"/>
                      <a:pt x="15878" y="18455"/>
                    </a:cubicBezTo>
                    <a:cubicBezTo>
                      <a:pt x="12888" y="13850"/>
                      <a:pt x="11990" y="9304"/>
                      <a:pt x="11931" y="9125"/>
                    </a:cubicBezTo>
                    <a:cubicBezTo>
                      <a:pt x="11871" y="8826"/>
                      <a:pt x="11931" y="8527"/>
                      <a:pt x="12170" y="8287"/>
                    </a:cubicBezTo>
                    <a:cubicBezTo>
                      <a:pt x="12768" y="7630"/>
                      <a:pt x="12948" y="6792"/>
                      <a:pt x="12768" y="5895"/>
                    </a:cubicBezTo>
                    <a:cubicBezTo>
                      <a:pt x="12469" y="4340"/>
                      <a:pt x="11034" y="2725"/>
                      <a:pt x="9299" y="1888"/>
                    </a:cubicBezTo>
                    <a:cubicBezTo>
                      <a:pt x="8761" y="1649"/>
                      <a:pt x="8582" y="1051"/>
                      <a:pt x="8881" y="572"/>
                    </a:cubicBezTo>
                    <a:cubicBezTo>
                      <a:pt x="9180" y="94"/>
                      <a:pt x="9837" y="-145"/>
                      <a:pt x="10316" y="94"/>
                    </a:cubicBezTo>
                    <a:cubicBezTo>
                      <a:pt x="12589" y="1170"/>
                      <a:pt x="14383" y="3264"/>
                      <a:pt x="14802" y="5357"/>
                    </a:cubicBezTo>
                    <a:cubicBezTo>
                      <a:pt x="15041" y="6673"/>
                      <a:pt x="14802" y="7929"/>
                      <a:pt x="14024" y="9005"/>
                    </a:cubicBezTo>
                    <a:cubicBezTo>
                      <a:pt x="14323" y="10201"/>
                      <a:pt x="15340" y="13790"/>
                      <a:pt x="17612" y="17318"/>
                    </a:cubicBezTo>
                    <a:cubicBezTo>
                      <a:pt x="18091" y="18036"/>
                      <a:pt x="18868" y="18933"/>
                      <a:pt x="19766" y="19950"/>
                    </a:cubicBezTo>
                    <a:cubicBezTo>
                      <a:pt x="22517" y="23060"/>
                      <a:pt x="26643" y="27725"/>
                      <a:pt x="28138" y="35619"/>
                    </a:cubicBezTo>
                    <a:cubicBezTo>
                      <a:pt x="28378" y="36875"/>
                      <a:pt x="28677" y="38430"/>
                      <a:pt x="28976" y="40165"/>
                    </a:cubicBezTo>
                    <a:cubicBezTo>
                      <a:pt x="31249" y="52425"/>
                      <a:pt x="35495" y="75212"/>
                      <a:pt x="38485" y="82688"/>
                    </a:cubicBezTo>
                    <a:cubicBezTo>
                      <a:pt x="38605" y="83046"/>
                      <a:pt x="38545" y="83465"/>
                      <a:pt x="38246" y="83704"/>
                    </a:cubicBezTo>
                    <a:cubicBezTo>
                      <a:pt x="37588" y="84362"/>
                      <a:pt x="34418" y="87353"/>
                      <a:pt x="31847" y="87353"/>
                    </a:cubicBezTo>
                    <a:cubicBezTo>
                      <a:pt x="31368" y="87831"/>
                      <a:pt x="30351" y="88429"/>
                      <a:pt x="29096" y="8890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96" name="Vrije vorm: vorm 9095">
                <a:extLst>
                  <a:ext uri="{FF2B5EF4-FFF2-40B4-BE49-F238E27FC236}">
                    <a16:creationId xmlns:a16="http://schemas.microsoft.com/office/drawing/2014/main" id="{1CBCB3BC-6454-4CEB-A285-E7EC529C8512}"/>
                  </a:ext>
                </a:extLst>
              </p:cNvPr>
              <p:cNvSpPr/>
              <p:nvPr/>
            </p:nvSpPr>
            <p:spPr>
              <a:xfrm>
                <a:off x="6040005" y="1669141"/>
                <a:ext cx="17501" cy="9209"/>
              </a:xfrm>
              <a:custGeom>
                <a:avLst/>
                <a:gdLst>
                  <a:gd name="connsiteX0" fmla="*/ 7361 w 17501"/>
                  <a:gd name="connsiteY0" fmla="*/ 7654 h 9209"/>
                  <a:gd name="connsiteX1" fmla="*/ 1022 w 17501"/>
                  <a:gd name="connsiteY1" fmla="*/ 9209 h 9209"/>
                  <a:gd name="connsiteX2" fmla="*/ 5 w 17501"/>
                  <a:gd name="connsiteY2" fmla="*/ 8253 h 9209"/>
                  <a:gd name="connsiteX3" fmla="*/ 1082 w 17501"/>
                  <a:gd name="connsiteY3" fmla="*/ 7236 h 9209"/>
                  <a:gd name="connsiteX4" fmla="*/ 15495 w 17501"/>
                  <a:gd name="connsiteY4" fmla="*/ 657 h 9209"/>
                  <a:gd name="connsiteX5" fmla="*/ 16871 w 17501"/>
                  <a:gd name="connsiteY5" fmla="*/ 59 h 9209"/>
                  <a:gd name="connsiteX6" fmla="*/ 17409 w 17501"/>
                  <a:gd name="connsiteY6" fmla="*/ 1315 h 9209"/>
                  <a:gd name="connsiteX7" fmla="*/ 7361 w 17501"/>
                  <a:gd name="connsiteY7" fmla="*/ 7654 h 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01" h="9209">
                    <a:moveTo>
                      <a:pt x="7361" y="7654"/>
                    </a:moveTo>
                    <a:cubicBezTo>
                      <a:pt x="4909" y="8552"/>
                      <a:pt x="2577" y="9150"/>
                      <a:pt x="1022" y="9209"/>
                    </a:cubicBezTo>
                    <a:cubicBezTo>
                      <a:pt x="424" y="9209"/>
                      <a:pt x="-55" y="8791"/>
                      <a:pt x="5" y="8253"/>
                    </a:cubicBezTo>
                    <a:cubicBezTo>
                      <a:pt x="5" y="7714"/>
                      <a:pt x="483" y="7236"/>
                      <a:pt x="1082" y="7236"/>
                    </a:cubicBezTo>
                    <a:cubicBezTo>
                      <a:pt x="5208" y="7056"/>
                      <a:pt x="14478" y="2810"/>
                      <a:pt x="15495" y="657"/>
                    </a:cubicBezTo>
                    <a:cubicBezTo>
                      <a:pt x="15734" y="119"/>
                      <a:pt x="16332" y="-121"/>
                      <a:pt x="16871" y="59"/>
                    </a:cubicBezTo>
                    <a:cubicBezTo>
                      <a:pt x="17409" y="238"/>
                      <a:pt x="17648" y="836"/>
                      <a:pt x="17409" y="1315"/>
                    </a:cubicBezTo>
                    <a:cubicBezTo>
                      <a:pt x="16452" y="3468"/>
                      <a:pt x="11727" y="6040"/>
                      <a:pt x="7361" y="765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97" name="Vrije vorm: vorm 9096">
                <a:extLst>
                  <a:ext uri="{FF2B5EF4-FFF2-40B4-BE49-F238E27FC236}">
                    <a16:creationId xmlns:a16="http://schemas.microsoft.com/office/drawing/2014/main" id="{331A64CC-54B6-4836-A243-7093E455075E}"/>
                  </a:ext>
                </a:extLst>
              </p:cNvPr>
              <p:cNvSpPr/>
              <p:nvPr/>
            </p:nvSpPr>
            <p:spPr>
              <a:xfrm>
                <a:off x="6031534" y="1666505"/>
                <a:ext cx="8012" cy="4429"/>
              </a:xfrm>
              <a:custGeom>
                <a:avLst/>
                <a:gdLst>
                  <a:gd name="connsiteX0" fmla="*/ 6742 w 8012"/>
                  <a:gd name="connsiteY0" fmla="*/ 4190 h 4429"/>
                  <a:gd name="connsiteX1" fmla="*/ 5067 w 8012"/>
                  <a:gd name="connsiteY1" fmla="*/ 4429 h 4429"/>
                  <a:gd name="connsiteX2" fmla="*/ 163 w 8012"/>
                  <a:gd name="connsiteY2" fmla="*/ 1558 h 4429"/>
                  <a:gd name="connsiteX3" fmla="*/ 462 w 8012"/>
                  <a:gd name="connsiteY3" fmla="*/ 183 h 4429"/>
                  <a:gd name="connsiteX4" fmla="*/ 1957 w 8012"/>
                  <a:gd name="connsiteY4" fmla="*/ 422 h 4429"/>
                  <a:gd name="connsiteX5" fmla="*/ 5067 w 8012"/>
                  <a:gd name="connsiteY5" fmla="*/ 2455 h 4429"/>
                  <a:gd name="connsiteX6" fmla="*/ 6204 w 8012"/>
                  <a:gd name="connsiteY6" fmla="*/ 2336 h 4429"/>
                  <a:gd name="connsiteX7" fmla="*/ 7699 w 8012"/>
                  <a:gd name="connsiteY7" fmla="*/ 2276 h 4429"/>
                  <a:gd name="connsiteX8" fmla="*/ 7699 w 8012"/>
                  <a:gd name="connsiteY8" fmla="*/ 3652 h 4429"/>
                  <a:gd name="connsiteX9" fmla="*/ 6742 w 8012"/>
                  <a:gd name="connsiteY9" fmla="*/ 4190 h 4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2" h="4429">
                    <a:moveTo>
                      <a:pt x="6742" y="4190"/>
                    </a:moveTo>
                    <a:cubicBezTo>
                      <a:pt x="6264" y="4369"/>
                      <a:pt x="5665" y="4429"/>
                      <a:pt x="5067" y="4429"/>
                    </a:cubicBezTo>
                    <a:cubicBezTo>
                      <a:pt x="3213" y="4369"/>
                      <a:pt x="1419" y="3293"/>
                      <a:pt x="163" y="1558"/>
                    </a:cubicBezTo>
                    <a:cubicBezTo>
                      <a:pt x="-136" y="1140"/>
                      <a:pt x="-17" y="482"/>
                      <a:pt x="462" y="183"/>
                    </a:cubicBezTo>
                    <a:cubicBezTo>
                      <a:pt x="941" y="-116"/>
                      <a:pt x="1598" y="-56"/>
                      <a:pt x="1957" y="422"/>
                    </a:cubicBezTo>
                    <a:cubicBezTo>
                      <a:pt x="3094" y="2037"/>
                      <a:pt x="4350" y="2396"/>
                      <a:pt x="5067" y="2455"/>
                    </a:cubicBezTo>
                    <a:cubicBezTo>
                      <a:pt x="5665" y="2515"/>
                      <a:pt x="6084" y="2396"/>
                      <a:pt x="6204" y="2336"/>
                    </a:cubicBezTo>
                    <a:cubicBezTo>
                      <a:pt x="6622" y="1917"/>
                      <a:pt x="7280" y="1917"/>
                      <a:pt x="7699" y="2276"/>
                    </a:cubicBezTo>
                    <a:cubicBezTo>
                      <a:pt x="8118" y="2635"/>
                      <a:pt x="8118" y="3293"/>
                      <a:pt x="7699" y="3652"/>
                    </a:cubicBezTo>
                    <a:cubicBezTo>
                      <a:pt x="7459" y="3891"/>
                      <a:pt x="7101" y="4070"/>
                      <a:pt x="6742" y="419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98" name="Vrije vorm: vorm 9097">
                <a:extLst>
                  <a:ext uri="{FF2B5EF4-FFF2-40B4-BE49-F238E27FC236}">
                    <a16:creationId xmlns:a16="http://schemas.microsoft.com/office/drawing/2014/main" id="{4CB293E5-9954-4695-AE32-99E3CD53012F}"/>
                  </a:ext>
                </a:extLst>
              </p:cNvPr>
              <p:cNvSpPr/>
              <p:nvPr/>
            </p:nvSpPr>
            <p:spPr>
              <a:xfrm>
                <a:off x="6037327" y="1627925"/>
                <a:ext cx="27884" cy="25021"/>
              </a:xfrm>
              <a:custGeom>
                <a:avLst/>
                <a:gdLst>
                  <a:gd name="connsiteX0" fmla="*/ 18413 w 27884"/>
                  <a:gd name="connsiteY0" fmla="*/ 24828 h 25021"/>
                  <a:gd name="connsiteX1" fmla="*/ 10339 w 27884"/>
                  <a:gd name="connsiteY1" fmla="*/ 22675 h 25021"/>
                  <a:gd name="connsiteX2" fmla="*/ 10040 w 27884"/>
                  <a:gd name="connsiteY2" fmla="*/ 21299 h 25021"/>
                  <a:gd name="connsiteX3" fmla="*/ 11535 w 27884"/>
                  <a:gd name="connsiteY3" fmla="*/ 20940 h 25021"/>
                  <a:gd name="connsiteX4" fmla="*/ 17755 w 27884"/>
                  <a:gd name="connsiteY4" fmla="*/ 23033 h 25021"/>
                  <a:gd name="connsiteX5" fmla="*/ 25291 w 27884"/>
                  <a:gd name="connsiteY5" fmla="*/ 7484 h 25021"/>
                  <a:gd name="connsiteX6" fmla="*/ 25530 w 27884"/>
                  <a:gd name="connsiteY6" fmla="*/ 3596 h 25021"/>
                  <a:gd name="connsiteX7" fmla="*/ 24095 w 27884"/>
                  <a:gd name="connsiteY7" fmla="*/ 4912 h 25021"/>
                  <a:gd name="connsiteX8" fmla="*/ 23317 w 27884"/>
                  <a:gd name="connsiteY8" fmla="*/ 5630 h 25021"/>
                  <a:gd name="connsiteX9" fmla="*/ 16798 w 27884"/>
                  <a:gd name="connsiteY9" fmla="*/ 17711 h 25021"/>
                  <a:gd name="connsiteX10" fmla="*/ 15662 w 27884"/>
                  <a:gd name="connsiteY10" fmla="*/ 18129 h 25021"/>
                  <a:gd name="connsiteX11" fmla="*/ 11116 w 27884"/>
                  <a:gd name="connsiteY11" fmla="*/ 16096 h 25021"/>
                  <a:gd name="connsiteX12" fmla="*/ 1368 w 27884"/>
                  <a:gd name="connsiteY12" fmla="*/ 14062 h 25021"/>
                  <a:gd name="connsiteX13" fmla="*/ 52 w 27884"/>
                  <a:gd name="connsiteY13" fmla="*/ 13524 h 25021"/>
                  <a:gd name="connsiteX14" fmla="*/ 710 w 27884"/>
                  <a:gd name="connsiteY14" fmla="*/ 12208 h 25021"/>
                  <a:gd name="connsiteX15" fmla="*/ 12313 w 27884"/>
                  <a:gd name="connsiteY15" fmla="*/ 14361 h 25021"/>
                  <a:gd name="connsiteX16" fmla="*/ 15602 w 27884"/>
                  <a:gd name="connsiteY16" fmla="*/ 15916 h 25021"/>
                  <a:gd name="connsiteX17" fmla="*/ 21344 w 27884"/>
                  <a:gd name="connsiteY17" fmla="*/ 5031 h 25021"/>
                  <a:gd name="connsiteX18" fmla="*/ 22899 w 27884"/>
                  <a:gd name="connsiteY18" fmla="*/ 3297 h 25021"/>
                  <a:gd name="connsiteX19" fmla="*/ 24095 w 27884"/>
                  <a:gd name="connsiteY19" fmla="*/ 1622 h 25021"/>
                  <a:gd name="connsiteX20" fmla="*/ 24932 w 27884"/>
                  <a:gd name="connsiteY20" fmla="*/ 127 h 25021"/>
                  <a:gd name="connsiteX21" fmla="*/ 26367 w 27884"/>
                  <a:gd name="connsiteY21" fmla="*/ 307 h 25021"/>
                  <a:gd name="connsiteX22" fmla="*/ 27384 w 27884"/>
                  <a:gd name="connsiteY22" fmla="*/ 7842 h 25021"/>
                  <a:gd name="connsiteX23" fmla="*/ 19370 w 27884"/>
                  <a:gd name="connsiteY23" fmla="*/ 24110 h 25021"/>
                  <a:gd name="connsiteX24" fmla="*/ 18413 w 27884"/>
                  <a:gd name="connsiteY24" fmla="*/ 24828 h 2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884" h="25021">
                    <a:moveTo>
                      <a:pt x="18413" y="24828"/>
                    </a:moveTo>
                    <a:cubicBezTo>
                      <a:pt x="16320" y="25605"/>
                      <a:pt x="12612" y="23871"/>
                      <a:pt x="10339" y="22675"/>
                    </a:cubicBezTo>
                    <a:cubicBezTo>
                      <a:pt x="9860" y="22435"/>
                      <a:pt x="9681" y="21777"/>
                      <a:pt x="10040" y="21299"/>
                    </a:cubicBezTo>
                    <a:cubicBezTo>
                      <a:pt x="10339" y="20821"/>
                      <a:pt x="10997" y="20641"/>
                      <a:pt x="11535" y="20940"/>
                    </a:cubicBezTo>
                    <a:cubicBezTo>
                      <a:pt x="14107" y="22316"/>
                      <a:pt x="17097" y="23332"/>
                      <a:pt x="17755" y="23033"/>
                    </a:cubicBezTo>
                    <a:cubicBezTo>
                      <a:pt x="20865" y="19505"/>
                      <a:pt x="24334" y="10235"/>
                      <a:pt x="25291" y="7484"/>
                    </a:cubicBezTo>
                    <a:cubicBezTo>
                      <a:pt x="25829" y="6048"/>
                      <a:pt x="25769" y="4613"/>
                      <a:pt x="25530" y="3596"/>
                    </a:cubicBezTo>
                    <a:cubicBezTo>
                      <a:pt x="25111" y="4194"/>
                      <a:pt x="24513" y="4613"/>
                      <a:pt x="24095" y="4912"/>
                    </a:cubicBezTo>
                    <a:cubicBezTo>
                      <a:pt x="23736" y="5151"/>
                      <a:pt x="23377" y="5450"/>
                      <a:pt x="23317" y="5630"/>
                    </a:cubicBezTo>
                    <a:cubicBezTo>
                      <a:pt x="21045" y="12089"/>
                      <a:pt x="16977" y="17471"/>
                      <a:pt x="16798" y="17711"/>
                    </a:cubicBezTo>
                    <a:cubicBezTo>
                      <a:pt x="16559" y="18069"/>
                      <a:pt x="16081" y="18249"/>
                      <a:pt x="15662" y="18129"/>
                    </a:cubicBezTo>
                    <a:cubicBezTo>
                      <a:pt x="15542" y="18069"/>
                      <a:pt x="14107" y="17770"/>
                      <a:pt x="11116" y="16096"/>
                    </a:cubicBezTo>
                    <a:cubicBezTo>
                      <a:pt x="7289" y="14003"/>
                      <a:pt x="3641" y="13225"/>
                      <a:pt x="1368" y="14062"/>
                    </a:cubicBezTo>
                    <a:cubicBezTo>
                      <a:pt x="830" y="14242"/>
                      <a:pt x="231" y="14003"/>
                      <a:pt x="52" y="13524"/>
                    </a:cubicBezTo>
                    <a:cubicBezTo>
                      <a:pt x="-127" y="13046"/>
                      <a:pt x="172" y="12448"/>
                      <a:pt x="710" y="12208"/>
                    </a:cubicBezTo>
                    <a:cubicBezTo>
                      <a:pt x="3641" y="11132"/>
                      <a:pt x="7887" y="11909"/>
                      <a:pt x="12313" y="14361"/>
                    </a:cubicBezTo>
                    <a:cubicBezTo>
                      <a:pt x="13868" y="15259"/>
                      <a:pt x="14944" y="15677"/>
                      <a:pt x="15602" y="15916"/>
                    </a:cubicBezTo>
                    <a:cubicBezTo>
                      <a:pt x="16738" y="14302"/>
                      <a:pt x="19609" y="9936"/>
                      <a:pt x="21344" y="5031"/>
                    </a:cubicBezTo>
                    <a:cubicBezTo>
                      <a:pt x="21643" y="4254"/>
                      <a:pt x="22300" y="3716"/>
                      <a:pt x="22899" y="3297"/>
                    </a:cubicBezTo>
                    <a:cubicBezTo>
                      <a:pt x="23676" y="2699"/>
                      <a:pt x="24095" y="2340"/>
                      <a:pt x="24095" y="1622"/>
                    </a:cubicBezTo>
                    <a:cubicBezTo>
                      <a:pt x="24095" y="666"/>
                      <a:pt x="24513" y="307"/>
                      <a:pt x="24932" y="127"/>
                    </a:cubicBezTo>
                    <a:cubicBezTo>
                      <a:pt x="25410" y="-112"/>
                      <a:pt x="25949" y="8"/>
                      <a:pt x="26367" y="307"/>
                    </a:cubicBezTo>
                    <a:cubicBezTo>
                      <a:pt x="27384" y="1084"/>
                      <a:pt x="28580" y="4374"/>
                      <a:pt x="27384" y="7842"/>
                    </a:cubicBezTo>
                    <a:cubicBezTo>
                      <a:pt x="26068" y="11491"/>
                      <a:pt x="22719" y="20402"/>
                      <a:pt x="19370" y="24110"/>
                    </a:cubicBezTo>
                    <a:cubicBezTo>
                      <a:pt x="19071" y="24529"/>
                      <a:pt x="18772" y="24708"/>
                      <a:pt x="18413" y="24828"/>
                    </a:cubicBezTo>
                    <a:close/>
                  </a:path>
                </a:pathLst>
              </a:custGeom>
              <a:grpFill/>
              <a:ln w="6350" cap="flat">
                <a:solidFill>
                  <a:schemeClr val="bg1">
                    <a:alpha val="80000"/>
                  </a:schemeClr>
                </a:solidFill>
                <a:prstDash val="solid"/>
                <a:miter/>
              </a:ln>
            </p:spPr>
            <p:txBody>
              <a:bodyPr rtlCol="0" anchor="ctr"/>
              <a:lstStyle/>
              <a:p>
                <a:endParaRPr lang="en-GB"/>
              </a:p>
            </p:txBody>
          </p:sp>
          <p:grpSp>
            <p:nvGrpSpPr>
              <p:cNvPr id="9099" name="Graphic 3">
                <a:extLst>
                  <a:ext uri="{FF2B5EF4-FFF2-40B4-BE49-F238E27FC236}">
                    <a16:creationId xmlns:a16="http://schemas.microsoft.com/office/drawing/2014/main" id="{03306FAD-B813-4160-923E-7A1EB04F5FD7}"/>
                  </a:ext>
                </a:extLst>
              </p:cNvPr>
              <p:cNvGrpSpPr/>
              <p:nvPr/>
            </p:nvGrpSpPr>
            <p:grpSpPr>
              <a:xfrm>
                <a:off x="6057079" y="1623026"/>
                <a:ext cx="6487" cy="11223"/>
                <a:chOff x="6057079" y="1623026"/>
                <a:chExt cx="6487" cy="11223"/>
              </a:xfrm>
              <a:grpFill/>
            </p:grpSpPr>
            <p:sp>
              <p:nvSpPr>
                <p:cNvPr id="9103" name="Vrije vorm: vorm 9102">
                  <a:extLst>
                    <a:ext uri="{FF2B5EF4-FFF2-40B4-BE49-F238E27FC236}">
                      <a16:creationId xmlns:a16="http://schemas.microsoft.com/office/drawing/2014/main" id="{9D173C68-717E-489C-AF4D-78CFA19BEC92}"/>
                    </a:ext>
                  </a:extLst>
                </p:cNvPr>
                <p:cNvSpPr/>
                <p:nvPr/>
              </p:nvSpPr>
              <p:spPr>
                <a:xfrm>
                  <a:off x="6058132" y="1623985"/>
                  <a:ext cx="5049" cy="10264"/>
                </a:xfrm>
                <a:custGeom>
                  <a:avLst/>
                  <a:gdLst>
                    <a:gd name="connsiteX0" fmla="*/ 2333 w 5049"/>
                    <a:gd name="connsiteY0" fmla="*/ 8373 h 10264"/>
                    <a:gd name="connsiteX1" fmla="*/ 0 w 5049"/>
                    <a:gd name="connsiteY1" fmla="*/ 1376 h 10264"/>
                    <a:gd name="connsiteX2" fmla="*/ 2153 w 5049"/>
                    <a:gd name="connsiteY2" fmla="*/ 0 h 10264"/>
                    <a:gd name="connsiteX3" fmla="*/ 4306 w 5049"/>
                    <a:gd name="connsiteY3" fmla="*/ 5682 h 10264"/>
                    <a:gd name="connsiteX4" fmla="*/ 2333 w 5049"/>
                    <a:gd name="connsiteY4" fmla="*/ 8373 h 10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 h="10264">
                      <a:moveTo>
                        <a:pt x="2333" y="8373"/>
                      </a:moveTo>
                      <a:cubicBezTo>
                        <a:pt x="1316" y="5502"/>
                        <a:pt x="0" y="1376"/>
                        <a:pt x="0" y="1376"/>
                      </a:cubicBezTo>
                      <a:lnTo>
                        <a:pt x="2153" y="0"/>
                      </a:lnTo>
                      <a:cubicBezTo>
                        <a:pt x="2153" y="0"/>
                        <a:pt x="3289" y="3050"/>
                        <a:pt x="4306" y="5682"/>
                      </a:cubicBezTo>
                      <a:cubicBezTo>
                        <a:pt x="6459" y="11304"/>
                        <a:pt x="3349" y="11184"/>
                        <a:pt x="2333" y="837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04" name="Vrije vorm: vorm 9103">
                  <a:extLst>
                    <a:ext uri="{FF2B5EF4-FFF2-40B4-BE49-F238E27FC236}">
                      <a16:creationId xmlns:a16="http://schemas.microsoft.com/office/drawing/2014/main" id="{890F4C54-7118-43A8-B051-21B31247EE3D}"/>
                    </a:ext>
                  </a:extLst>
                </p:cNvPr>
                <p:cNvSpPr/>
                <p:nvPr/>
              </p:nvSpPr>
              <p:spPr>
                <a:xfrm>
                  <a:off x="6057079" y="1623026"/>
                  <a:ext cx="6487" cy="10289"/>
                </a:xfrm>
                <a:custGeom>
                  <a:avLst/>
                  <a:gdLst>
                    <a:gd name="connsiteX0" fmla="*/ 3744 w 6487"/>
                    <a:gd name="connsiteY0" fmla="*/ 10229 h 10289"/>
                    <a:gd name="connsiteX1" fmla="*/ 2428 w 6487"/>
                    <a:gd name="connsiteY1" fmla="*/ 9691 h 10289"/>
                    <a:gd name="connsiteX2" fmla="*/ 36 w 6487"/>
                    <a:gd name="connsiteY2" fmla="*/ 2694 h 10289"/>
                    <a:gd name="connsiteX3" fmla="*/ 515 w 6487"/>
                    <a:gd name="connsiteY3" fmla="*/ 1557 h 10289"/>
                    <a:gd name="connsiteX4" fmla="*/ 2668 w 6487"/>
                    <a:gd name="connsiteY4" fmla="*/ 182 h 10289"/>
                    <a:gd name="connsiteX5" fmla="*/ 3625 w 6487"/>
                    <a:gd name="connsiteY5" fmla="*/ 62 h 10289"/>
                    <a:gd name="connsiteX6" fmla="*/ 4283 w 6487"/>
                    <a:gd name="connsiteY6" fmla="*/ 660 h 10289"/>
                    <a:gd name="connsiteX7" fmla="*/ 6436 w 6487"/>
                    <a:gd name="connsiteY7" fmla="*/ 6282 h 10289"/>
                    <a:gd name="connsiteX8" fmla="*/ 5778 w 6487"/>
                    <a:gd name="connsiteY8" fmla="*/ 7598 h 10289"/>
                    <a:gd name="connsiteX9" fmla="*/ 4402 w 6487"/>
                    <a:gd name="connsiteY9" fmla="*/ 7060 h 10289"/>
                    <a:gd name="connsiteX10" fmla="*/ 2668 w 6487"/>
                    <a:gd name="connsiteY10" fmla="*/ 2574 h 10289"/>
                    <a:gd name="connsiteX11" fmla="*/ 2309 w 6487"/>
                    <a:gd name="connsiteY11" fmla="*/ 2813 h 10289"/>
                    <a:gd name="connsiteX12" fmla="*/ 4402 w 6487"/>
                    <a:gd name="connsiteY12" fmla="*/ 9033 h 10289"/>
                    <a:gd name="connsiteX13" fmla="*/ 3744 w 6487"/>
                    <a:gd name="connsiteY13" fmla="*/ 10229 h 1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87" h="10289">
                      <a:moveTo>
                        <a:pt x="3744" y="10229"/>
                      </a:moveTo>
                      <a:cubicBezTo>
                        <a:pt x="3206" y="10409"/>
                        <a:pt x="2608" y="10170"/>
                        <a:pt x="2428" y="9691"/>
                      </a:cubicBezTo>
                      <a:cubicBezTo>
                        <a:pt x="1412" y="6880"/>
                        <a:pt x="96" y="2754"/>
                        <a:pt x="36" y="2694"/>
                      </a:cubicBezTo>
                      <a:cubicBezTo>
                        <a:pt x="-83" y="2275"/>
                        <a:pt x="96" y="1797"/>
                        <a:pt x="515" y="1557"/>
                      </a:cubicBezTo>
                      <a:lnTo>
                        <a:pt x="2668" y="182"/>
                      </a:lnTo>
                      <a:cubicBezTo>
                        <a:pt x="2967" y="2"/>
                        <a:pt x="3266" y="-57"/>
                        <a:pt x="3625" y="62"/>
                      </a:cubicBezTo>
                      <a:cubicBezTo>
                        <a:pt x="3924" y="122"/>
                        <a:pt x="4163" y="361"/>
                        <a:pt x="4283" y="660"/>
                      </a:cubicBezTo>
                      <a:cubicBezTo>
                        <a:pt x="4283" y="720"/>
                        <a:pt x="5419" y="3711"/>
                        <a:pt x="6436" y="6282"/>
                      </a:cubicBezTo>
                      <a:cubicBezTo>
                        <a:pt x="6615" y="6761"/>
                        <a:pt x="6316" y="7359"/>
                        <a:pt x="5778" y="7598"/>
                      </a:cubicBezTo>
                      <a:cubicBezTo>
                        <a:pt x="5240" y="7837"/>
                        <a:pt x="4642" y="7598"/>
                        <a:pt x="4402" y="7060"/>
                      </a:cubicBezTo>
                      <a:cubicBezTo>
                        <a:pt x="3804" y="5445"/>
                        <a:pt x="3147" y="3711"/>
                        <a:pt x="2668" y="2574"/>
                      </a:cubicBezTo>
                      <a:lnTo>
                        <a:pt x="2309" y="2813"/>
                      </a:lnTo>
                      <a:cubicBezTo>
                        <a:pt x="2728" y="4129"/>
                        <a:pt x="3685" y="6940"/>
                        <a:pt x="4402" y="9033"/>
                      </a:cubicBezTo>
                      <a:cubicBezTo>
                        <a:pt x="4582" y="9452"/>
                        <a:pt x="4283" y="10050"/>
                        <a:pt x="3744" y="10229"/>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9100" name="Vrije vorm: vorm 9099">
                <a:extLst>
                  <a:ext uri="{FF2B5EF4-FFF2-40B4-BE49-F238E27FC236}">
                    <a16:creationId xmlns:a16="http://schemas.microsoft.com/office/drawing/2014/main" id="{C2912E51-B8B5-4F78-9A99-989B47F7E30B}"/>
                  </a:ext>
                </a:extLst>
              </p:cNvPr>
              <p:cNvSpPr/>
              <p:nvPr/>
            </p:nvSpPr>
            <p:spPr>
              <a:xfrm>
                <a:off x="6050908" y="1679069"/>
                <a:ext cx="15798" cy="51253"/>
              </a:xfrm>
              <a:custGeom>
                <a:avLst/>
                <a:gdLst>
                  <a:gd name="connsiteX0" fmla="*/ 15058 w 15798"/>
                  <a:gd name="connsiteY0" fmla="*/ 51194 h 51253"/>
                  <a:gd name="connsiteX1" fmla="*/ 13743 w 15798"/>
                  <a:gd name="connsiteY1" fmla="*/ 50656 h 51253"/>
                  <a:gd name="connsiteX2" fmla="*/ 4712 w 15798"/>
                  <a:gd name="connsiteY2" fmla="*/ 19735 h 51253"/>
                  <a:gd name="connsiteX3" fmla="*/ 47 w 15798"/>
                  <a:gd name="connsiteY3" fmla="*/ 1315 h 51253"/>
                  <a:gd name="connsiteX4" fmla="*/ 764 w 15798"/>
                  <a:gd name="connsiteY4" fmla="*/ 59 h 51253"/>
                  <a:gd name="connsiteX5" fmla="*/ 2080 w 15798"/>
                  <a:gd name="connsiteY5" fmla="*/ 657 h 51253"/>
                  <a:gd name="connsiteX6" fmla="*/ 6805 w 15798"/>
                  <a:gd name="connsiteY6" fmla="*/ 19257 h 51253"/>
                  <a:gd name="connsiteX7" fmla="*/ 15716 w 15798"/>
                  <a:gd name="connsiteY7" fmla="*/ 49938 h 51253"/>
                  <a:gd name="connsiteX8" fmla="*/ 15058 w 15798"/>
                  <a:gd name="connsiteY8" fmla="*/ 51194 h 51253"/>
                  <a:gd name="connsiteX9" fmla="*/ 15058 w 15798"/>
                  <a:gd name="connsiteY9" fmla="*/ 51194 h 5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98" h="51253">
                    <a:moveTo>
                      <a:pt x="15058" y="51194"/>
                    </a:moveTo>
                    <a:cubicBezTo>
                      <a:pt x="14520" y="51374"/>
                      <a:pt x="13922" y="51134"/>
                      <a:pt x="13743" y="50656"/>
                    </a:cubicBezTo>
                    <a:cubicBezTo>
                      <a:pt x="9018" y="38934"/>
                      <a:pt x="6805" y="29125"/>
                      <a:pt x="4712" y="19735"/>
                    </a:cubicBezTo>
                    <a:cubicBezTo>
                      <a:pt x="3336" y="13516"/>
                      <a:pt x="2020" y="7595"/>
                      <a:pt x="47" y="1315"/>
                    </a:cubicBezTo>
                    <a:cubicBezTo>
                      <a:pt x="-133" y="777"/>
                      <a:pt x="226" y="238"/>
                      <a:pt x="764" y="59"/>
                    </a:cubicBezTo>
                    <a:cubicBezTo>
                      <a:pt x="1303" y="-121"/>
                      <a:pt x="1901" y="119"/>
                      <a:pt x="2080" y="657"/>
                    </a:cubicBezTo>
                    <a:cubicBezTo>
                      <a:pt x="4113" y="6997"/>
                      <a:pt x="5429" y="12917"/>
                      <a:pt x="6805" y="19257"/>
                    </a:cubicBezTo>
                    <a:cubicBezTo>
                      <a:pt x="8898" y="28647"/>
                      <a:pt x="11051" y="38335"/>
                      <a:pt x="15716" y="49938"/>
                    </a:cubicBezTo>
                    <a:cubicBezTo>
                      <a:pt x="15956" y="50357"/>
                      <a:pt x="15657" y="50955"/>
                      <a:pt x="15058" y="51194"/>
                    </a:cubicBezTo>
                    <a:cubicBezTo>
                      <a:pt x="15118" y="51194"/>
                      <a:pt x="15058" y="51194"/>
                      <a:pt x="15058" y="5119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01" name="Vrije vorm: vorm 9100">
                <a:extLst>
                  <a:ext uri="{FF2B5EF4-FFF2-40B4-BE49-F238E27FC236}">
                    <a16:creationId xmlns:a16="http://schemas.microsoft.com/office/drawing/2014/main" id="{28CCBB45-9C73-4E5D-9063-654A1B4AB515}"/>
                  </a:ext>
                </a:extLst>
              </p:cNvPr>
              <p:cNvSpPr/>
              <p:nvPr/>
            </p:nvSpPr>
            <p:spPr>
              <a:xfrm>
                <a:off x="6061309" y="1731945"/>
                <a:ext cx="8357" cy="3605"/>
              </a:xfrm>
              <a:custGeom>
                <a:avLst/>
                <a:gdLst>
                  <a:gd name="connsiteX0" fmla="*/ 7588 w 8357"/>
                  <a:gd name="connsiteY0" fmla="*/ 3521 h 3605"/>
                  <a:gd name="connsiteX1" fmla="*/ 6930 w 8357"/>
                  <a:gd name="connsiteY1" fmla="*/ 3581 h 3605"/>
                  <a:gd name="connsiteX2" fmla="*/ 710 w 8357"/>
                  <a:gd name="connsiteY2" fmla="*/ 1906 h 3605"/>
                  <a:gd name="connsiteX3" fmla="*/ 52 w 8357"/>
                  <a:gd name="connsiteY3" fmla="*/ 710 h 3605"/>
                  <a:gd name="connsiteX4" fmla="*/ 1428 w 8357"/>
                  <a:gd name="connsiteY4" fmla="*/ 52 h 3605"/>
                  <a:gd name="connsiteX5" fmla="*/ 7648 w 8357"/>
                  <a:gd name="connsiteY5" fmla="*/ 1727 h 3605"/>
                  <a:gd name="connsiteX6" fmla="*/ 8305 w 8357"/>
                  <a:gd name="connsiteY6" fmla="*/ 2923 h 3605"/>
                  <a:gd name="connsiteX7" fmla="*/ 7588 w 8357"/>
                  <a:gd name="connsiteY7" fmla="*/ 3521 h 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57" h="3605">
                    <a:moveTo>
                      <a:pt x="7588" y="3521"/>
                    </a:moveTo>
                    <a:cubicBezTo>
                      <a:pt x="7349" y="3581"/>
                      <a:pt x="7109" y="3641"/>
                      <a:pt x="6930" y="3581"/>
                    </a:cubicBezTo>
                    <a:lnTo>
                      <a:pt x="710" y="1906"/>
                    </a:lnTo>
                    <a:cubicBezTo>
                      <a:pt x="172" y="1787"/>
                      <a:pt x="-127" y="1189"/>
                      <a:pt x="52" y="710"/>
                    </a:cubicBezTo>
                    <a:cubicBezTo>
                      <a:pt x="231" y="172"/>
                      <a:pt x="829" y="-127"/>
                      <a:pt x="1428" y="52"/>
                    </a:cubicBezTo>
                    <a:lnTo>
                      <a:pt x="7648" y="1727"/>
                    </a:lnTo>
                    <a:cubicBezTo>
                      <a:pt x="8186" y="1846"/>
                      <a:pt x="8485" y="2445"/>
                      <a:pt x="8305" y="2923"/>
                    </a:cubicBezTo>
                    <a:cubicBezTo>
                      <a:pt x="8126" y="3162"/>
                      <a:pt x="7887" y="3401"/>
                      <a:pt x="7588" y="352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102" name="Vrije vorm: vorm 9101">
                <a:extLst>
                  <a:ext uri="{FF2B5EF4-FFF2-40B4-BE49-F238E27FC236}">
                    <a16:creationId xmlns:a16="http://schemas.microsoft.com/office/drawing/2014/main" id="{9EB12391-9674-405C-BA12-CE66E5BDB43A}"/>
                  </a:ext>
                </a:extLst>
              </p:cNvPr>
              <p:cNvSpPr/>
              <p:nvPr/>
            </p:nvSpPr>
            <p:spPr>
              <a:xfrm>
                <a:off x="6068000" y="1728284"/>
                <a:ext cx="8851" cy="2403"/>
              </a:xfrm>
              <a:custGeom>
                <a:avLst/>
                <a:gdLst>
                  <a:gd name="connsiteX0" fmla="*/ 8134 w 8851"/>
                  <a:gd name="connsiteY0" fmla="*/ 1979 h 2403"/>
                  <a:gd name="connsiteX1" fmla="*/ 7775 w 8851"/>
                  <a:gd name="connsiteY1" fmla="*/ 2039 h 2403"/>
                  <a:gd name="connsiteX2" fmla="*/ 1076 w 8851"/>
                  <a:gd name="connsiteY2" fmla="*/ 2398 h 2403"/>
                  <a:gd name="connsiteX3" fmla="*/ 0 w 8851"/>
                  <a:gd name="connsiteY3" fmla="*/ 1441 h 2403"/>
                  <a:gd name="connsiteX4" fmla="*/ 1076 w 8851"/>
                  <a:gd name="connsiteY4" fmla="*/ 365 h 2403"/>
                  <a:gd name="connsiteX5" fmla="*/ 7775 w 8851"/>
                  <a:gd name="connsiteY5" fmla="*/ 6 h 2403"/>
                  <a:gd name="connsiteX6" fmla="*/ 8851 w 8851"/>
                  <a:gd name="connsiteY6" fmla="*/ 963 h 2403"/>
                  <a:gd name="connsiteX7" fmla="*/ 8134 w 8851"/>
                  <a:gd name="connsiteY7" fmla="*/ 1979 h 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1" h="2403">
                    <a:moveTo>
                      <a:pt x="8134" y="1979"/>
                    </a:moveTo>
                    <a:cubicBezTo>
                      <a:pt x="8014" y="2039"/>
                      <a:pt x="7895" y="2039"/>
                      <a:pt x="7775" y="2039"/>
                    </a:cubicBezTo>
                    <a:lnTo>
                      <a:pt x="1076" y="2398"/>
                    </a:lnTo>
                    <a:cubicBezTo>
                      <a:pt x="478" y="2458"/>
                      <a:pt x="0" y="2039"/>
                      <a:pt x="0" y="1441"/>
                    </a:cubicBezTo>
                    <a:cubicBezTo>
                      <a:pt x="0" y="903"/>
                      <a:pt x="478" y="424"/>
                      <a:pt x="1076" y="365"/>
                    </a:cubicBezTo>
                    <a:lnTo>
                      <a:pt x="7775" y="6"/>
                    </a:lnTo>
                    <a:cubicBezTo>
                      <a:pt x="8373" y="-54"/>
                      <a:pt x="8851" y="365"/>
                      <a:pt x="8851" y="963"/>
                    </a:cubicBezTo>
                    <a:cubicBezTo>
                      <a:pt x="8851" y="1441"/>
                      <a:pt x="8552" y="1800"/>
                      <a:pt x="8134" y="1979"/>
                    </a:cubicBez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8983" name="Graphic 3">
              <a:extLst>
                <a:ext uri="{FF2B5EF4-FFF2-40B4-BE49-F238E27FC236}">
                  <a16:creationId xmlns:a16="http://schemas.microsoft.com/office/drawing/2014/main" id="{DB528C26-00E8-4385-B8C3-A3EFE6150E27}"/>
                </a:ext>
              </a:extLst>
            </p:cNvPr>
            <p:cNvGrpSpPr/>
            <p:nvPr/>
          </p:nvGrpSpPr>
          <p:grpSpPr>
            <a:xfrm>
              <a:off x="5693483" y="1702756"/>
              <a:ext cx="73036" cy="97543"/>
              <a:chOff x="5693483" y="1702756"/>
              <a:chExt cx="73036" cy="97543"/>
            </a:xfrm>
            <a:grpFill/>
          </p:grpSpPr>
          <p:sp>
            <p:nvSpPr>
              <p:cNvPr id="9072" name="Vrije vorm: vorm 9071">
                <a:extLst>
                  <a:ext uri="{FF2B5EF4-FFF2-40B4-BE49-F238E27FC236}">
                    <a16:creationId xmlns:a16="http://schemas.microsoft.com/office/drawing/2014/main" id="{6E00E5B5-E458-4208-B489-FFF9BA23A81F}"/>
                  </a:ext>
                </a:extLst>
              </p:cNvPr>
              <p:cNvSpPr/>
              <p:nvPr/>
            </p:nvSpPr>
            <p:spPr>
              <a:xfrm>
                <a:off x="5720154" y="1708962"/>
                <a:ext cx="9935" cy="8582"/>
              </a:xfrm>
              <a:custGeom>
                <a:avLst/>
                <a:gdLst>
                  <a:gd name="connsiteX0" fmla="*/ 6647 w 9935"/>
                  <a:gd name="connsiteY0" fmla="*/ 8263 h 8582"/>
                  <a:gd name="connsiteX1" fmla="*/ 5869 w 9935"/>
                  <a:gd name="connsiteY1" fmla="*/ 8502 h 8582"/>
                  <a:gd name="connsiteX2" fmla="*/ 3596 w 9935"/>
                  <a:gd name="connsiteY2" fmla="*/ 8143 h 8582"/>
                  <a:gd name="connsiteX3" fmla="*/ 8 w 9935"/>
                  <a:gd name="connsiteY3" fmla="*/ 846 h 8582"/>
                  <a:gd name="connsiteX4" fmla="*/ 666 w 9935"/>
                  <a:gd name="connsiteY4" fmla="*/ 9 h 8582"/>
                  <a:gd name="connsiteX5" fmla="*/ 1503 w 9935"/>
                  <a:gd name="connsiteY5" fmla="*/ 547 h 8582"/>
                  <a:gd name="connsiteX6" fmla="*/ 4433 w 9935"/>
                  <a:gd name="connsiteY6" fmla="*/ 6887 h 8582"/>
                  <a:gd name="connsiteX7" fmla="*/ 5570 w 9935"/>
                  <a:gd name="connsiteY7" fmla="*/ 7066 h 8582"/>
                  <a:gd name="connsiteX8" fmla="*/ 8441 w 9935"/>
                  <a:gd name="connsiteY8" fmla="*/ 4435 h 8582"/>
                  <a:gd name="connsiteX9" fmla="*/ 9218 w 9935"/>
                  <a:gd name="connsiteY9" fmla="*/ 3717 h 8582"/>
                  <a:gd name="connsiteX10" fmla="*/ 9936 w 9935"/>
                  <a:gd name="connsiteY10" fmla="*/ 4435 h 8582"/>
                  <a:gd name="connsiteX11" fmla="*/ 6647 w 9935"/>
                  <a:gd name="connsiteY11" fmla="*/ 8263 h 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35" h="8582">
                    <a:moveTo>
                      <a:pt x="6647" y="8263"/>
                    </a:moveTo>
                    <a:cubicBezTo>
                      <a:pt x="6407" y="8382"/>
                      <a:pt x="6168" y="8442"/>
                      <a:pt x="5869" y="8502"/>
                    </a:cubicBezTo>
                    <a:cubicBezTo>
                      <a:pt x="5091" y="8681"/>
                      <a:pt x="4314" y="8562"/>
                      <a:pt x="3596" y="8143"/>
                    </a:cubicBezTo>
                    <a:cubicBezTo>
                      <a:pt x="1623" y="6947"/>
                      <a:pt x="486" y="3598"/>
                      <a:pt x="8" y="846"/>
                    </a:cubicBezTo>
                    <a:cubicBezTo>
                      <a:pt x="-52" y="488"/>
                      <a:pt x="247" y="69"/>
                      <a:pt x="666" y="9"/>
                    </a:cubicBezTo>
                    <a:cubicBezTo>
                      <a:pt x="1084" y="-51"/>
                      <a:pt x="1443" y="189"/>
                      <a:pt x="1503" y="547"/>
                    </a:cubicBezTo>
                    <a:cubicBezTo>
                      <a:pt x="1862" y="3000"/>
                      <a:pt x="2938" y="6050"/>
                      <a:pt x="4433" y="6887"/>
                    </a:cubicBezTo>
                    <a:cubicBezTo>
                      <a:pt x="4792" y="7126"/>
                      <a:pt x="5151" y="7186"/>
                      <a:pt x="5570" y="7066"/>
                    </a:cubicBezTo>
                    <a:cubicBezTo>
                      <a:pt x="8321" y="6408"/>
                      <a:pt x="8441" y="4435"/>
                      <a:pt x="8441" y="4435"/>
                    </a:cubicBezTo>
                    <a:cubicBezTo>
                      <a:pt x="8441" y="4016"/>
                      <a:pt x="8799" y="3717"/>
                      <a:pt x="9218" y="3717"/>
                    </a:cubicBezTo>
                    <a:cubicBezTo>
                      <a:pt x="9637" y="3717"/>
                      <a:pt x="9936" y="4016"/>
                      <a:pt x="9936" y="4435"/>
                    </a:cubicBezTo>
                    <a:cubicBezTo>
                      <a:pt x="9936" y="5452"/>
                      <a:pt x="9098" y="7365"/>
                      <a:pt x="6647" y="826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73" name="Vrije vorm: vorm 9072">
                <a:extLst>
                  <a:ext uri="{FF2B5EF4-FFF2-40B4-BE49-F238E27FC236}">
                    <a16:creationId xmlns:a16="http://schemas.microsoft.com/office/drawing/2014/main" id="{8FD31031-9894-42F4-8BB5-0C9B69F05294}"/>
                  </a:ext>
                </a:extLst>
              </p:cNvPr>
              <p:cNvSpPr/>
              <p:nvPr/>
            </p:nvSpPr>
            <p:spPr>
              <a:xfrm>
                <a:off x="5719516" y="1702756"/>
                <a:ext cx="40204" cy="65254"/>
              </a:xfrm>
              <a:custGeom>
                <a:avLst/>
                <a:gdLst>
                  <a:gd name="connsiteX0" fmla="*/ 24508 w 40204"/>
                  <a:gd name="connsiteY0" fmla="*/ 63690 h 65254"/>
                  <a:gd name="connsiteX1" fmla="*/ 17570 w 40204"/>
                  <a:gd name="connsiteY1" fmla="*/ 65245 h 65254"/>
                  <a:gd name="connsiteX2" fmla="*/ 16793 w 40204"/>
                  <a:gd name="connsiteY2" fmla="*/ 64707 h 65254"/>
                  <a:gd name="connsiteX3" fmla="*/ 10154 w 40204"/>
                  <a:gd name="connsiteY3" fmla="*/ 36597 h 65254"/>
                  <a:gd name="connsiteX4" fmla="*/ 8061 w 40204"/>
                  <a:gd name="connsiteY4" fmla="*/ 28942 h 65254"/>
                  <a:gd name="connsiteX5" fmla="*/ 8599 w 40204"/>
                  <a:gd name="connsiteY5" fmla="*/ 28045 h 65254"/>
                  <a:gd name="connsiteX6" fmla="*/ 9497 w 40204"/>
                  <a:gd name="connsiteY6" fmla="*/ 28523 h 65254"/>
                  <a:gd name="connsiteX7" fmla="*/ 11590 w 40204"/>
                  <a:gd name="connsiteY7" fmla="*/ 36179 h 65254"/>
                  <a:gd name="connsiteX8" fmla="*/ 18109 w 40204"/>
                  <a:gd name="connsiteY8" fmla="*/ 63690 h 65254"/>
                  <a:gd name="connsiteX9" fmla="*/ 38264 w 40204"/>
                  <a:gd name="connsiteY9" fmla="*/ 51071 h 65254"/>
                  <a:gd name="connsiteX10" fmla="*/ 33838 w 40204"/>
                  <a:gd name="connsiteY10" fmla="*/ 47423 h 65254"/>
                  <a:gd name="connsiteX11" fmla="*/ 33180 w 40204"/>
                  <a:gd name="connsiteY11" fmla="*/ 46884 h 65254"/>
                  <a:gd name="connsiteX12" fmla="*/ 16255 w 40204"/>
                  <a:gd name="connsiteY12" fmla="*/ 31873 h 65254"/>
                  <a:gd name="connsiteX13" fmla="*/ 14460 w 40204"/>
                  <a:gd name="connsiteY13" fmla="*/ 24576 h 65254"/>
                  <a:gd name="connsiteX14" fmla="*/ 13922 w 40204"/>
                  <a:gd name="connsiteY14" fmla="*/ 20988 h 65254"/>
                  <a:gd name="connsiteX15" fmla="*/ 11231 w 40204"/>
                  <a:gd name="connsiteY15" fmla="*/ 15605 h 65254"/>
                  <a:gd name="connsiteX16" fmla="*/ 9915 w 40204"/>
                  <a:gd name="connsiteY16" fmla="*/ 13631 h 65254"/>
                  <a:gd name="connsiteX17" fmla="*/ 8898 w 40204"/>
                  <a:gd name="connsiteY17" fmla="*/ 9923 h 65254"/>
                  <a:gd name="connsiteX18" fmla="*/ 7942 w 40204"/>
                  <a:gd name="connsiteY18" fmla="*/ 6933 h 65254"/>
                  <a:gd name="connsiteX19" fmla="*/ 824 w 40204"/>
                  <a:gd name="connsiteY19" fmla="*/ 7112 h 65254"/>
                  <a:gd name="connsiteX20" fmla="*/ 47 w 40204"/>
                  <a:gd name="connsiteY20" fmla="*/ 6574 h 65254"/>
                  <a:gd name="connsiteX21" fmla="*/ 2080 w 40204"/>
                  <a:gd name="connsiteY21" fmla="*/ 1371 h 65254"/>
                  <a:gd name="connsiteX22" fmla="*/ 8240 w 40204"/>
                  <a:gd name="connsiteY22" fmla="*/ 175 h 65254"/>
                  <a:gd name="connsiteX23" fmla="*/ 12307 w 40204"/>
                  <a:gd name="connsiteY23" fmla="*/ 3285 h 65254"/>
                  <a:gd name="connsiteX24" fmla="*/ 18527 w 40204"/>
                  <a:gd name="connsiteY24" fmla="*/ 11777 h 65254"/>
                  <a:gd name="connsiteX25" fmla="*/ 21338 w 40204"/>
                  <a:gd name="connsiteY25" fmla="*/ 15246 h 65254"/>
                  <a:gd name="connsiteX26" fmla="*/ 21099 w 40204"/>
                  <a:gd name="connsiteY26" fmla="*/ 16323 h 65254"/>
                  <a:gd name="connsiteX27" fmla="*/ 22475 w 40204"/>
                  <a:gd name="connsiteY27" fmla="*/ 21945 h 65254"/>
                  <a:gd name="connsiteX28" fmla="*/ 19185 w 40204"/>
                  <a:gd name="connsiteY28" fmla="*/ 25174 h 65254"/>
                  <a:gd name="connsiteX29" fmla="*/ 16255 w 40204"/>
                  <a:gd name="connsiteY29" fmla="*/ 25413 h 65254"/>
                  <a:gd name="connsiteX30" fmla="*/ 17750 w 40204"/>
                  <a:gd name="connsiteY30" fmla="*/ 31155 h 65254"/>
                  <a:gd name="connsiteX31" fmla="*/ 34376 w 40204"/>
                  <a:gd name="connsiteY31" fmla="*/ 45867 h 65254"/>
                  <a:gd name="connsiteX32" fmla="*/ 35034 w 40204"/>
                  <a:gd name="connsiteY32" fmla="*/ 46406 h 65254"/>
                  <a:gd name="connsiteX33" fmla="*/ 39938 w 40204"/>
                  <a:gd name="connsiteY33" fmla="*/ 50353 h 65254"/>
                  <a:gd name="connsiteX34" fmla="*/ 40118 w 40204"/>
                  <a:gd name="connsiteY34" fmla="*/ 51190 h 65254"/>
                  <a:gd name="connsiteX35" fmla="*/ 24508 w 40204"/>
                  <a:gd name="connsiteY35" fmla="*/ 63690 h 65254"/>
                  <a:gd name="connsiteX36" fmla="*/ 15896 w 40204"/>
                  <a:gd name="connsiteY36" fmla="*/ 23918 h 65254"/>
                  <a:gd name="connsiteX37" fmla="*/ 16075 w 40204"/>
                  <a:gd name="connsiteY37" fmla="*/ 23978 h 65254"/>
                  <a:gd name="connsiteX38" fmla="*/ 18527 w 40204"/>
                  <a:gd name="connsiteY38" fmla="*/ 23978 h 65254"/>
                  <a:gd name="connsiteX39" fmla="*/ 20920 w 40204"/>
                  <a:gd name="connsiteY39" fmla="*/ 21646 h 65254"/>
                  <a:gd name="connsiteX40" fmla="*/ 19484 w 40204"/>
                  <a:gd name="connsiteY40" fmla="*/ 16921 h 65254"/>
                  <a:gd name="connsiteX41" fmla="*/ 19544 w 40204"/>
                  <a:gd name="connsiteY41" fmla="*/ 16024 h 65254"/>
                  <a:gd name="connsiteX42" fmla="*/ 19723 w 40204"/>
                  <a:gd name="connsiteY42" fmla="*/ 15485 h 65254"/>
                  <a:gd name="connsiteX43" fmla="*/ 17451 w 40204"/>
                  <a:gd name="connsiteY43" fmla="*/ 12973 h 65254"/>
                  <a:gd name="connsiteX44" fmla="*/ 10752 w 40204"/>
                  <a:gd name="connsiteY44" fmla="*/ 3943 h 65254"/>
                  <a:gd name="connsiteX45" fmla="*/ 7702 w 40204"/>
                  <a:gd name="connsiteY45" fmla="*/ 1610 h 65254"/>
                  <a:gd name="connsiteX46" fmla="*/ 2858 w 40204"/>
                  <a:gd name="connsiteY46" fmla="*/ 2507 h 65254"/>
                  <a:gd name="connsiteX47" fmla="*/ 1362 w 40204"/>
                  <a:gd name="connsiteY47" fmla="*/ 5677 h 65254"/>
                  <a:gd name="connsiteX48" fmla="*/ 8599 w 40204"/>
                  <a:gd name="connsiteY48" fmla="*/ 5737 h 65254"/>
                  <a:gd name="connsiteX49" fmla="*/ 10274 w 40204"/>
                  <a:gd name="connsiteY49" fmla="*/ 9684 h 65254"/>
                  <a:gd name="connsiteX50" fmla="*/ 11171 w 40204"/>
                  <a:gd name="connsiteY50" fmla="*/ 13033 h 65254"/>
                  <a:gd name="connsiteX51" fmla="*/ 12367 w 40204"/>
                  <a:gd name="connsiteY51" fmla="*/ 14768 h 65254"/>
                  <a:gd name="connsiteX52" fmla="*/ 15358 w 40204"/>
                  <a:gd name="connsiteY52" fmla="*/ 20748 h 65254"/>
                  <a:gd name="connsiteX53" fmla="*/ 15896 w 40204"/>
                  <a:gd name="connsiteY53" fmla="*/ 23918 h 6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0204" h="65254">
                    <a:moveTo>
                      <a:pt x="24508" y="63690"/>
                    </a:moveTo>
                    <a:cubicBezTo>
                      <a:pt x="22415" y="64468"/>
                      <a:pt x="20082" y="65006"/>
                      <a:pt x="17570" y="65245"/>
                    </a:cubicBezTo>
                    <a:cubicBezTo>
                      <a:pt x="17212" y="65305"/>
                      <a:pt x="16853" y="65066"/>
                      <a:pt x="16793" y="64707"/>
                    </a:cubicBezTo>
                    <a:cubicBezTo>
                      <a:pt x="16733" y="64527"/>
                      <a:pt x="12068" y="44731"/>
                      <a:pt x="10154" y="36597"/>
                    </a:cubicBezTo>
                    <a:lnTo>
                      <a:pt x="8061" y="28942"/>
                    </a:lnTo>
                    <a:cubicBezTo>
                      <a:pt x="7942" y="28583"/>
                      <a:pt x="8181" y="28165"/>
                      <a:pt x="8599" y="28045"/>
                    </a:cubicBezTo>
                    <a:cubicBezTo>
                      <a:pt x="9018" y="27925"/>
                      <a:pt x="9437" y="28165"/>
                      <a:pt x="9497" y="28523"/>
                    </a:cubicBezTo>
                    <a:lnTo>
                      <a:pt x="11590" y="36179"/>
                    </a:lnTo>
                    <a:cubicBezTo>
                      <a:pt x="13324" y="43535"/>
                      <a:pt x="17271" y="60401"/>
                      <a:pt x="18109" y="63690"/>
                    </a:cubicBezTo>
                    <a:cubicBezTo>
                      <a:pt x="29891" y="62314"/>
                      <a:pt x="36709" y="53284"/>
                      <a:pt x="38264" y="51071"/>
                    </a:cubicBezTo>
                    <a:cubicBezTo>
                      <a:pt x="37666" y="50592"/>
                      <a:pt x="36350" y="49516"/>
                      <a:pt x="33838" y="47423"/>
                    </a:cubicBezTo>
                    <a:lnTo>
                      <a:pt x="33180" y="46884"/>
                    </a:lnTo>
                    <a:cubicBezTo>
                      <a:pt x="25944" y="40963"/>
                      <a:pt x="17511" y="33846"/>
                      <a:pt x="16255" y="31873"/>
                    </a:cubicBezTo>
                    <a:cubicBezTo>
                      <a:pt x="15238" y="30138"/>
                      <a:pt x="14819" y="27447"/>
                      <a:pt x="14460" y="24576"/>
                    </a:cubicBezTo>
                    <a:cubicBezTo>
                      <a:pt x="14281" y="23380"/>
                      <a:pt x="14161" y="22184"/>
                      <a:pt x="13922" y="20988"/>
                    </a:cubicBezTo>
                    <a:cubicBezTo>
                      <a:pt x="13444" y="18416"/>
                      <a:pt x="12247" y="16921"/>
                      <a:pt x="11231" y="15605"/>
                    </a:cubicBezTo>
                    <a:cubicBezTo>
                      <a:pt x="10692" y="14947"/>
                      <a:pt x="10214" y="14289"/>
                      <a:pt x="9915" y="13631"/>
                    </a:cubicBezTo>
                    <a:cubicBezTo>
                      <a:pt x="9377" y="12555"/>
                      <a:pt x="9138" y="11239"/>
                      <a:pt x="8898" y="9923"/>
                    </a:cubicBezTo>
                    <a:cubicBezTo>
                      <a:pt x="8659" y="8727"/>
                      <a:pt x="8360" y="7172"/>
                      <a:pt x="7942" y="6933"/>
                    </a:cubicBezTo>
                    <a:cubicBezTo>
                      <a:pt x="7224" y="6574"/>
                      <a:pt x="3695" y="6754"/>
                      <a:pt x="824" y="7112"/>
                    </a:cubicBezTo>
                    <a:cubicBezTo>
                      <a:pt x="406" y="7172"/>
                      <a:pt x="107" y="6933"/>
                      <a:pt x="47" y="6574"/>
                    </a:cubicBezTo>
                    <a:cubicBezTo>
                      <a:pt x="47" y="6455"/>
                      <a:pt x="-492" y="3285"/>
                      <a:pt x="2080" y="1371"/>
                    </a:cubicBezTo>
                    <a:cubicBezTo>
                      <a:pt x="3635" y="235"/>
                      <a:pt x="6087" y="-304"/>
                      <a:pt x="8240" y="175"/>
                    </a:cubicBezTo>
                    <a:cubicBezTo>
                      <a:pt x="10154" y="593"/>
                      <a:pt x="11590" y="1670"/>
                      <a:pt x="12307" y="3285"/>
                    </a:cubicBezTo>
                    <a:cubicBezTo>
                      <a:pt x="13982" y="7053"/>
                      <a:pt x="16255" y="10163"/>
                      <a:pt x="18527" y="11777"/>
                    </a:cubicBezTo>
                    <a:cubicBezTo>
                      <a:pt x="20382" y="13033"/>
                      <a:pt x="21278" y="14170"/>
                      <a:pt x="21338" y="15246"/>
                    </a:cubicBezTo>
                    <a:cubicBezTo>
                      <a:pt x="21398" y="15605"/>
                      <a:pt x="21278" y="16024"/>
                      <a:pt x="21099" y="16323"/>
                    </a:cubicBezTo>
                    <a:cubicBezTo>
                      <a:pt x="21757" y="17280"/>
                      <a:pt x="23312" y="19792"/>
                      <a:pt x="22475" y="21945"/>
                    </a:cubicBezTo>
                    <a:cubicBezTo>
                      <a:pt x="21936" y="23320"/>
                      <a:pt x="20680" y="24576"/>
                      <a:pt x="19185" y="25174"/>
                    </a:cubicBezTo>
                    <a:cubicBezTo>
                      <a:pt x="18168" y="25593"/>
                      <a:pt x="17152" y="25653"/>
                      <a:pt x="16255" y="25413"/>
                    </a:cubicBezTo>
                    <a:cubicBezTo>
                      <a:pt x="16554" y="27746"/>
                      <a:pt x="16972" y="29839"/>
                      <a:pt x="17750" y="31155"/>
                    </a:cubicBezTo>
                    <a:cubicBezTo>
                      <a:pt x="19006" y="33248"/>
                      <a:pt x="30130" y="42399"/>
                      <a:pt x="34376" y="45867"/>
                    </a:cubicBezTo>
                    <a:lnTo>
                      <a:pt x="35034" y="46406"/>
                    </a:lnTo>
                    <a:cubicBezTo>
                      <a:pt x="38862" y="49576"/>
                      <a:pt x="39938" y="50353"/>
                      <a:pt x="39938" y="50353"/>
                    </a:cubicBezTo>
                    <a:cubicBezTo>
                      <a:pt x="40178" y="50532"/>
                      <a:pt x="40297" y="50951"/>
                      <a:pt x="40118" y="51190"/>
                    </a:cubicBezTo>
                    <a:cubicBezTo>
                      <a:pt x="39878" y="51430"/>
                      <a:pt x="34615" y="60042"/>
                      <a:pt x="24508" y="63690"/>
                    </a:cubicBezTo>
                    <a:close/>
                    <a:moveTo>
                      <a:pt x="15896" y="23918"/>
                    </a:moveTo>
                    <a:cubicBezTo>
                      <a:pt x="15955" y="23918"/>
                      <a:pt x="16015" y="23918"/>
                      <a:pt x="16075" y="23978"/>
                    </a:cubicBezTo>
                    <a:cubicBezTo>
                      <a:pt x="17032" y="24397"/>
                      <a:pt x="17929" y="24217"/>
                      <a:pt x="18527" y="23978"/>
                    </a:cubicBezTo>
                    <a:cubicBezTo>
                      <a:pt x="19604" y="23559"/>
                      <a:pt x="20561" y="22602"/>
                      <a:pt x="20920" y="21646"/>
                    </a:cubicBezTo>
                    <a:cubicBezTo>
                      <a:pt x="21577" y="20031"/>
                      <a:pt x="20082" y="17698"/>
                      <a:pt x="19484" y="16921"/>
                    </a:cubicBezTo>
                    <a:cubicBezTo>
                      <a:pt x="19245" y="16682"/>
                      <a:pt x="19305" y="16263"/>
                      <a:pt x="19544" y="16024"/>
                    </a:cubicBezTo>
                    <a:cubicBezTo>
                      <a:pt x="19723" y="15844"/>
                      <a:pt x="19783" y="15725"/>
                      <a:pt x="19723" y="15485"/>
                    </a:cubicBezTo>
                    <a:cubicBezTo>
                      <a:pt x="19723" y="15127"/>
                      <a:pt x="19365" y="14349"/>
                      <a:pt x="17451" y="12973"/>
                    </a:cubicBezTo>
                    <a:cubicBezTo>
                      <a:pt x="14939" y="11239"/>
                      <a:pt x="12546" y="7950"/>
                      <a:pt x="10752" y="3943"/>
                    </a:cubicBezTo>
                    <a:cubicBezTo>
                      <a:pt x="10094" y="2388"/>
                      <a:pt x="8719" y="1849"/>
                      <a:pt x="7702" y="1610"/>
                    </a:cubicBezTo>
                    <a:cubicBezTo>
                      <a:pt x="5848" y="1251"/>
                      <a:pt x="3875" y="1790"/>
                      <a:pt x="2858" y="2507"/>
                    </a:cubicBezTo>
                    <a:cubicBezTo>
                      <a:pt x="1602" y="3464"/>
                      <a:pt x="1362" y="4900"/>
                      <a:pt x="1362" y="5677"/>
                    </a:cubicBezTo>
                    <a:cubicBezTo>
                      <a:pt x="3276" y="5438"/>
                      <a:pt x="7343" y="5079"/>
                      <a:pt x="8599" y="5737"/>
                    </a:cubicBezTo>
                    <a:cubicBezTo>
                      <a:pt x="9676" y="6275"/>
                      <a:pt x="9975" y="7830"/>
                      <a:pt x="10274" y="9684"/>
                    </a:cubicBezTo>
                    <a:cubicBezTo>
                      <a:pt x="10513" y="10880"/>
                      <a:pt x="10752" y="12136"/>
                      <a:pt x="11171" y="13033"/>
                    </a:cubicBezTo>
                    <a:cubicBezTo>
                      <a:pt x="11410" y="13572"/>
                      <a:pt x="11889" y="14110"/>
                      <a:pt x="12367" y="14768"/>
                    </a:cubicBezTo>
                    <a:cubicBezTo>
                      <a:pt x="13444" y="16143"/>
                      <a:pt x="14819" y="17878"/>
                      <a:pt x="15358" y="20748"/>
                    </a:cubicBezTo>
                    <a:cubicBezTo>
                      <a:pt x="15597" y="21825"/>
                      <a:pt x="15776" y="22902"/>
                      <a:pt x="15896" y="2391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74" name="Vrije vorm: vorm 9073">
                <a:extLst>
                  <a:ext uri="{FF2B5EF4-FFF2-40B4-BE49-F238E27FC236}">
                    <a16:creationId xmlns:a16="http://schemas.microsoft.com/office/drawing/2014/main" id="{06CB4234-06F5-4015-B87D-1470C25305D8}"/>
                  </a:ext>
                </a:extLst>
              </p:cNvPr>
              <p:cNvSpPr/>
              <p:nvPr/>
            </p:nvSpPr>
            <p:spPr>
              <a:xfrm>
                <a:off x="5720237" y="1703473"/>
                <a:ext cx="21173" cy="24235"/>
              </a:xfrm>
              <a:custGeom>
                <a:avLst/>
                <a:gdLst>
                  <a:gd name="connsiteX0" fmla="*/ 15055 w 21173"/>
                  <a:gd name="connsiteY0" fmla="*/ 23919 h 24235"/>
                  <a:gd name="connsiteX1" fmla="*/ 20976 w 21173"/>
                  <a:gd name="connsiteY1" fmla="*/ 21109 h 24235"/>
                  <a:gd name="connsiteX2" fmla="*/ 19421 w 21173"/>
                  <a:gd name="connsiteY2" fmla="*/ 15726 h 24235"/>
                  <a:gd name="connsiteX3" fmla="*/ 17268 w 21173"/>
                  <a:gd name="connsiteY3" fmla="*/ 11659 h 24235"/>
                  <a:gd name="connsiteX4" fmla="*/ 10809 w 21173"/>
                  <a:gd name="connsiteY4" fmla="*/ 2867 h 24235"/>
                  <a:gd name="connsiteX5" fmla="*/ 1778 w 21173"/>
                  <a:gd name="connsiteY5" fmla="*/ 1193 h 24235"/>
                  <a:gd name="connsiteX6" fmla="*/ 44 w 21173"/>
                  <a:gd name="connsiteY6" fmla="*/ 5738 h 24235"/>
                  <a:gd name="connsiteX7" fmla="*/ 7639 w 21173"/>
                  <a:gd name="connsiteY7" fmla="*/ 5618 h 24235"/>
                  <a:gd name="connsiteX8" fmla="*/ 9912 w 21173"/>
                  <a:gd name="connsiteY8" fmla="*/ 12616 h 24235"/>
                  <a:gd name="connsiteX9" fmla="*/ 14039 w 21173"/>
                  <a:gd name="connsiteY9" fmla="*/ 20152 h 24235"/>
                  <a:gd name="connsiteX10" fmla="*/ 14637 w 21173"/>
                  <a:gd name="connsiteY10" fmla="*/ 23919 h 24235"/>
                  <a:gd name="connsiteX11" fmla="*/ 14756 w 21173"/>
                  <a:gd name="connsiteY11" fmla="*/ 24039 h 24235"/>
                  <a:gd name="connsiteX12" fmla="*/ 15055 w 21173"/>
                  <a:gd name="connsiteY12" fmla="*/ 23919 h 2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173" h="24235">
                    <a:moveTo>
                      <a:pt x="15055" y="23919"/>
                    </a:moveTo>
                    <a:cubicBezTo>
                      <a:pt x="17507" y="24996"/>
                      <a:pt x="20199" y="23142"/>
                      <a:pt x="20976" y="21109"/>
                    </a:cubicBezTo>
                    <a:cubicBezTo>
                      <a:pt x="21873" y="18776"/>
                      <a:pt x="19421" y="15726"/>
                      <a:pt x="19421" y="15726"/>
                    </a:cubicBezTo>
                    <a:cubicBezTo>
                      <a:pt x="20318" y="14769"/>
                      <a:pt x="19840" y="13453"/>
                      <a:pt x="17268" y="11659"/>
                    </a:cubicBezTo>
                    <a:cubicBezTo>
                      <a:pt x="14696" y="9865"/>
                      <a:pt x="12424" y="6516"/>
                      <a:pt x="10809" y="2867"/>
                    </a:cubicBezTo>
                    <a:cubicBezTo>
                      <a:pt x="9194" y="-781"/>
                      <a:pt x="3991" y="-482"/>
                      <a:pt x="1778" y="1193"/>
                    </a:cubicBezTo>
                    <a:cubicBezTo>
                      <a:pt x="-435" y="2867"/>
                      <a:pt x="44" y="5738"/>
                      <a:pt x="44" y="5738"/>
                    </a:cubicBezTo>
                    <a:cubicBezTo>
                      <a:pt x="44" y="5738"/>
                      <a:pt x="6263" y="4961"/>
                      <a:pt x="7639" y="5618"/>
                    </a:cubicBezTo>
                    <a:cubicBezTo>
                      <a:pt x="8955" y="6276"/>
                      <a:pt x="8835" y="10283"/>
                      <a:pt x="9912" y="12616"/>
                    </a:cubicBezTo>
                    <a:cubicBezTo>
                      <a:pt x="10809" y="14470"/>
                      <a:pt x="13261" y="16145"/>
                      <a:pt x="14039" y="20152"/>
                    </a:cubicBezTo>
                    <a:cubicBezTo>
                      <a:pt x="14278" y="21408"/>
                      <a:pt x="14457" y="22723"/>
                      <a:pt x="14637" y="23919"/>
                    </a:cubicBezTo>
                    <a:cubicBezTo>
                      <a:pt x="14696" y="23979"/>
                      <a:pt x="14756" y="23979"/>
                      <a:pt x="14756" y="24039"/>
                    </a:cubicBezTo>
                    <a:lnTo>
                      <a:pt x="15055" y="23919"/>
                    </a:lnTo>
                    <a:close/>
                  </a:path>
                </a:pathLst>
              </a:custGeom>
              <a:grpFill/>
              <a:ln w="6350" cap="flat">
                <a:solidFill>
                  <a:schemeClr val="bg1">
                    <a:alpha val="80000"/>
                  </a:schemeClr>
                </a:solidFill>
                <a:prstDash val="solid"/>
                <a:miter/>
              </a:ln>
            </p:spPr>
            <p:txBody>
              <a:bodyPr rtlCol="0" anchor="ctr"/>
              <a:lstStyle/>
              <a:p>
                <a:endParaRPr lang="en-GB"/>
              </a:p>
            </p:txBody>
          </p:sp>
          <p:sp>
            <p:nvSpPr>
              <p:cNvPr id="9075" name="Vrije vorm: vorm 9074">
                <a:extLst>
                  <a:ext uri="{FF2B5EF4-FFF2-40B4-BE49-F238E27FC236}">
                    <a16:creationId xmlns:a16="http://schemas.microsoft.com/office/drawing/2014/main" id="{F58B0C0C-C397-4A97-8427-30A8BFCD3E5F}"/>
                  </a:ext>
                </a:extLst>
              </p:cNvPr>
              <p:cNvSpPr/>
              <p:nvPr/>
            </p:nvSpPr>
            <p:spPr>
              <a:xfrm>
                <a:off x="5729587" y="1733644"/>
                <a:ext cx="7703" cy="5889"/>
              </a:xfrm>
              <a:custGeom>
                <a:avLst/>
                <a:gdLst>
                  <a:gd name="connsiteX0" fmla="*/ 981 w 7703"/>
                  <a:gd name="connsiteY0" fmla="*/ 5829 h 5889"/>
                  <a:gd name="connsiteX1" fmla="*/ 144 w 7703"/>
                  <a:gd name="connsiteY1" fmla="*/ 5650 h 5889"/>
                  <a:gd name="connsiteX2" fmla="*/ 323 w 7703"/>
                  <a:gd name="connsiteY2" fmla="*/ 4633 h 5889"/>
                  <a:gd name="connsiteX3" fmla="*/ 6483 w 7703"/>
                  <a:gd name="connsiteY3" fmla="*/ 148 h 5889"/>
                  <a:gd name="connsiteX4" fmla="*/ 7560 w 7703"/>
                  <a:gd name="connsiteY4" fmla="*/ 267 h 5889"/>
                  <a:gd name="connsiteX5" fmla="*/ 7380 w 7703"/>
                  <a:gd name="connsiteY5" fmla="*/ 1284 h 5889"/>
                  <a:gd name="connsiteX6" fmla="*/ 1280 w 7703"/>
                  <a:gd name="connsiteY6" fmla="*/ 5769 h 5889"/>
                  <a:gd name="connsiteX7" fmla="*/ 981 w 7703"/>
                  <a:gd name="connsiteY7" fmla="*/ 5829 h 5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3" h="5889">
                    <a:moveTo>
                      <a:pt x="981" y="5829"/>
                    </a:moveTo>
                    <a:cubicBezTo>
                      <a:pt x="682" y="5949"/>
                      <a:pt x="323" y="5889"/>
                      <a:pt x="144" y="5650"/>
                    </a:cubicBezTo>
                    <a:cubicBezTo>
                      <a:pt x="-96" y="5351"/>
                      <a:pt x="-36" y="4932"/>
                      <a:pt x="323" y="4633"/>
                    </a:cubicBezTo>
                    <a:cubicBezTo>
                      <a:pt x="622" y="4394"/>
                      <a:pt x="6244" y="327"/>
                      <a:pt x="6483" y="148"/>
                    </a:cubicBezTo>
                    <a:cubicBezTo>
                      <a:pt x="6842" y="-92"/>
                      <a:pt x="7321" y="-32"/>
                      <a:pt x="7560" y="267"/>
                    </a:cubicBezTo>
                    <a:cubicBezTo>
                      <a:pt x="7799" y="566"/>
                      <a:pt x="7739" y="985"/>
                      <a:pt x="7380" y="1284"/>
                    </a:cubicBezTo>
                    <a:cubicBezTo>
                      <a:pt x="5347" y="2719"/>
                      <a:pt x="1519" y="5530"/>
                      <a:pt x="1280" y="5769"/>
                    </a:cubicBezTo>
                    <a:cubicBezTo>
                      <a:pt x="1160" y="5769"/>
                      <a:pt x="1041" y="5829"/>
                      <a:pt x="981" y="582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76" name="Vrije vorm: vorm 9075">
                <a:extLst>
                  <a:ext uri="{FF2B5EF4-FFF2-40B4-BE49-F238E27FC236}">
                    <a16:creationId xmlns:a16="http://schemas.microsoft.com/office/drawing/2014/main" id="{E4D4D565-F0A3-4181-9189-2340D68D7A0F}"/>
                  </a:ext>
                </a:extLst>
              </p:cNvPr>
              <p:cNvSpPr/>
              <p:nvPr/>
            </p:nvSpPr>
            <p:spPr>
              <a:xfrm>
                <a:off x="5718358" y="1718122"/>
                <a:ext cx="12402" cy="34325"/>
              </a:xfrm>
              <a:custGeom>
                <a:avLst/>
                <a:gdLst>
                  <a:gd name="connsiteX0" fmla="*/ 3119 w 12402"/>
                  <a:gd name="connsiteY0" fmla="*/ 34150 h 34325"/>
                  <a:gd name="connsiteX1" fmla="*/ 2820 w 12402"/>
                  <a:gd name="connsiteY1" fmla="*/ 34270 h 34325"/>
                  <a:gd name="connsiteX2" fmla="*/ 1325 w 12402"/>
                  <a:gd name="connsiteY2" fmla="*/ 33970 h 34325"/>
                  <a:gd name="connsiteX3" fmla="*/ 9 w 12402"/>
                  <a:gd name="connsiteY3" fmla="*/ 28349 h 34325"/>
                  <a:gd name="connsiteX4" fmla="*/ 2880 w 12402"/>
                  <a:gd name="connsiteY4" fmla="*/ 18600 h 34325"/>
                  <a:gd name="connsiteX5" fmla="*/ 4196 w 12402"/>
                  <a:gd name="connsiteY5" fmla="*/ 14653 h 34325"/>
                  <a:gd name="connsiteX6" fmla="*/ 5930 w 12402"/>
                  <a:gd name="connsiteY6" fmla="*/ 7237 h 34325"/>
                  <a:gd name="connsiteX7" fmla="*/ 6648 w 12402"/>
                  <a:gd name="connsiteY7" fmla="*/ 3887 h 34325"/>
                  <a:gd name="connsiteX8" fmla="*/ 10655 w 12402"/>
                  <a:gd name="connsiteY8" fmla="*/ 0 h 34325"/>
                  <a:gd name="connsiteX9" fmla="*/ 11433 w 12402"/>
                  <a:gd name="connsiteY9" fmla="*/ 658 h 34325"/>
                  <a:gd name="connsiteX10" fmla="*/ 10655 w 12402"/>
                  <a:gd name="connsiteY10" fmla="*/ 1376 h 34325"/>
                  <a:gd name="connsiteX11" fmla="*/ 8083 w 12402"/>
                  <a:gd name="connsiteY11" fmla="*/ 4127 h 34325"/>
                  <a:gd name="connsiteX12" fmla="*/ 7365 w 12402"/>
                  <a:gd name="connsiteY12" fmla="*/ 7416 h 34325"/>
                  <a:gd name="connsiteX13" fmla="*/ 5631 w 12402"/>
                  <a:gd name="connsiteY13" fmla="*/ 14952 h 34325"/>
                  <a:gd name="connsiteX14" fmla="*/ 4316 w 12402"/>
                  <a:gd name="connsiteY14" fmla="*/ 18959 h 34325"/>
                  <a:gd name="connsiteX15" fmla="*/ 1504 w 12402"/>
                  <a:gd name="connsiteY15" fmla="*/ 28289 h 34325"/>
                  <a:gd name="connsiteX16" fmla="*/ 2282 w 12402"/>
                  <a:gd name="connsiteY16" fmla="*/ 32834 h 34325"/>
                  <a:gd name="connsiteX17" fmla="*/ 2521 w 12402"/>
                  <a:gd name="connsiteY17" fmla="*/ 32894 h 34325"/>
                  <a:gd name="connsiteX18" fmla="*/ 3299 w 12402"/>
                  <a:gd name="connsiteY18" fmla="*/ 30262 h 34325"/>
                  <a:gd name="connsiteX19" fmla="*/ 3418 w 12402"/>
                  <a:gd name="connsiteY19" fmla="*/ 28827 h 34325"/>
                  <a:gd name="connsiteX20" fmla="*/ 8502 w 12402"/>
                  <a:gd name="connsiteY20" fmla="*/ 14892 h 34325"/>
                  <a:gd name="connsiteX21" fmla="*/ 10894 w 12402"/>
                  <a:gd name="connsiteY21" fmla="*/ 5562 h 34325"/>
                  <a:gd name="connsiteX22" fmla="*/ 11552 w 12402"/>
                  <a:gd name="connsiteY22" fmla="*/ 4785 h 34325"/>
                  <a:gd name="connsiteX23" fmla="*/ 12389 w 12402"/>
                  <a:gd name="connsiteY23" fmla="*/ 5323 h 34325"/>
                  <a:gd name="connsiteX24" fmla="*/ 9878 w 12402"/>
                  <a:gd name="connsiteY24" fmla="*/ 15370 h 34325"/>
                  <a:gd name="connsiteX25" fmla="*/ 4913 w 12402"/>
                  <a:gd name="connsiteY25" fmla="*/ 29066 h 34325"/>
                  <a:gd name="connsiteX26" fmla="*/ 4854 w 12402"/>
                  <a:gd name="connsiteY26" fmla="*/ 30143 h 34325"/>
                  <a:gd name="connsiteX27" fmla="*/ 3119 w 12402"/>
                  <a:gd name="connsiteY27" fmla="*/ 34150 h 3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02" h="34325">
                    <a:moveTo>
                      <a:pt x="3119" y="34150"/>
                    </a:moveTo>
                    <a:cubicBezTo>
                      <a:pt x="3000" y="34210"/>
                      <a:pt x="2940" y="34210"/>
                      <a:pt x="2820" y="34270"/>
                    </a:cubicBezTo>
                    <a:cubicBezTo>
                      <a:pt x="2282" y="34389"/>
                      <a:pt x="1744" y="34329"/>
                      <a:pt x="1325" y="33970"/>
                    </a:cubicBezTo>
                    <a:cubicBezTo>
                      <a:pt x="966" y="33731"/>
                      <a:pt x="-110" y="32954"/>
                      <a:pt x="9" y="28349"/>
                    </a:cubicBezTo>
                    <a:cubicBezTo>
                      <a:pt x="69" y="27093"/>
                      <a:pt x="1205" y="23504"/>
                      <a:pt x="2880" y="18600"/>
                    </a:cubicBezTo>
                    <a:cubicBezTo>
                      <a:pt x="3358" y="17165"/>
                      <a:pt x="3837" y="15789"/>
                      <a:pt x="4196" y="14653"/>
                    </a:cubicBezTo>
                    <a:cubicBezTo>
                      <a:pt x="4674" y="13217"/>
                      <a:pt x="5332" y="9868"/>
                      <a:pt x="5930" y="7237"/>
                    </a:cubicBezTo>
                    <a:cubicBezTo>
                      <a:pt x="6229" y="5682"/>
                      <a:pt x="6528" y="4426"/>
                      <a:pt x="6648" y="3887"/>
                    </a:cubicBezTo>
                    <a:cubicBezTo>
                      <a:pt x="7485" y="837"/>
                      <a:pt x="9279" y="60"/>
                      <a:pt x="10655" y="0"/>
                    </a:cubicBezTo>
                    <a:cubicBezTo>
                      <a:pt x="11074" y="0"/>
                      <a:pt x="11433" y="299"/>
                      <a:pt x="11433" y="658"/>
                    </a:cubicBezTo>
                    <a:cubicBezTo>
                      <a:pt x="11433" y="1017"/>
                      <a:pt x="11074" y="1376"/>
                      <a:pt x="10655" y="1376"/>
                    </a:cubicBezTo>
                    <a:cubicBezTo>
                      <a:pt x="10177" y="1376"/>
                      <a:pt x="8801" y="1495"/>
                      <a:pt x="8083" y="4127"/>
                    </a:cubicBezTo>
                    <a:cubicBezTo>
                      <a:pt x="7964" y="4665"/>
                      <a:pt x="7665" y="5921"/>
                      <a:pt x="7365" y="7416"/>
                    </a:cubicBezTo>
                    <a:cubicBezTo>
                      <a:pt x="6827" y="10107"/>
                      <a:pt x="6110" y="13457"/>
                      <a:pt x="5631" y="14952"/>
                    </a:cubicBezTo>
                    <a:cubicBezTo>
                      <a:pt x="5272" y="16148"/>
                      <a:pt x="4794" y="17523"/>
                      <a:pt x="4316" y="18959"/>
                    </a:cubicBezTo>
                    <a:cubicBezTo>
                      <a:pt x="3059" y="22607"/>
                      <a:pt x="1564" y="27093"/>
                      <a:pt x="1504" y="28289"/>
                    </a:cubicBezTo>
                    <a:cubicBezTo>
                      <a:pt x="1445" y="31160"/>
                      <a:pt x="1863" y="32535"/>
                      <a:pt x="2282" y="32834"/>
                    </a:cubicBezTo>
                    <a:cubicBezTo>
                      <a:pt x="2342" y="32894"/>
                      <a:pt x="2402" y="32894"/>
                      <a:pt x="2521" y="32894"/>
                    </a:cubicBezTo>
                    <a:cubicBezTo>
                      <a:pt x="3179" y="32715"/>
                      <a:pt x="3239" y="31578"/>
                      <a:pt x="3299" y="30262"/>
                    </a:cubicBezTo>
                    <a:cubicBezTo>
                      <a:pt x="3299" y="29724"/>
                      <a:pt x="3299" y="29186"/>
                      <a:pt x="3418" y="28827"/>
                    </a:cubicBezTo>
                    <a:cubicBezTo>
                      <a:pt x="3717" y="27571"/>
                      <a:pt x="6170" y="20095"/>
                      <a:pt x="8502" y="14892"/>
                    </a:cubicBezTo>
                    <a:cubicBezTo>
                      <a:pt x="10296" y="10945"/>
                      <a:pt x="10954" y="6160"/>
                      <a:pt x="10894" y="5562"/>
                    </a:cubicBezTo>
                    <a:cubicBezTo>
                      <a:pt x="10834" y="5203"/>
                      <a:pt x="11193" y="4844"/>
                      <a:pt x="11552" y="4785"/>
                    </a:cubicBezTo>
                    <a:cubicBezTo>
                      <a:pt x="11971" y="4725"/>
                      <a:pt x="12330" y="4964"/>
                      <a:pt x="12389" y="5323"/>
                    </a:cubicBezTo>
                    <a:cubicBezTo>
                      <a:pt x="12509" y="6040"/>
                      <a:pt x="11791" y="11184"/>
                      <a:pt x="9878" y="15370"/>
                    </a:cubicBezTo>
                    <a:cubicBezTo>
                      <a:pt x="7605" y="20394"/>
                      <a:pt x="5212" y="27930"/>
                      <a:pt x="4913" y="29066"/>
                    </a:cubicBezTo>
                    <a:cubicBezTo>
                      <a:pt x="4854" y="29305"/>
                      <a:pt x="4854" y="29724"/>
                      <a:pt x="4854" y="30143"/>
                    </a:cubicBezTo>
                    <a:cubicBezTo>
                      <a:pt x="4794" y="31518"/>
                      <a:pt x="4734" y="33492"/>
                      <a:pt x="3119" y="3415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77" name="Vrije vorm: vorm 9076">
                <a:extLst>
                  <a:ext uri="{FF2B5EF4-FFF2-40B4-BE49-F238E27FC236}">
                    <a16:creationId xmlns:a16="http://schemas.microsoft.com/office/drawing/2014/main" id="{18218DC0-7743-41A0-89E4-430C9F176FCF}"/>
                  </a:ext>
                </a:extLst>
              </p:cNvPr>
              <p:cNvSpPr/>
              <p:nvPr/>
            </p:nvSpPr>
            <p:spPr>
              <a:xfrm>
                <a:off x="5724100" y="1727803"/>
                <a:ext cx="5341" cy="1861"/>
              </a:xfrm>
              <a:custGeom>
                <a:avLst/>
                <a:gdLst>
                  <a:gd name="connsiteX0" fmla="*/ 4794 w 5341"/>
                  <a:gd name="connsiteY0" fmla="*/ 1802 h 1861"/>
                  <a:gd name="connsiteX1" fmla="*/ 4435 w 5341"/>
                  <a:gd name="connsiteY1" fmla="*/ 1862 h 1861"/>
                  <a:gd name="connsiteX2" fmla="*/ 607 w 5341"/>
                  <a:gd name="connsiteY2" fmla="*/ 1383 h 1861"/>
                  <a:gd name="connsiteX3" fmla="*/ 9 w 5341"/>
                  <a:gd name="connsiteY3" fmla="*/ 606 h 1861"/>
                  <a:gd name="connsiteX4" fmla="*/ 906 w 5341"/>
                  <a:gd name="connsiteY4" fmla="*/ 8 h 1861"/>
                  <a:gd name="connsiteX5" fmla="*/ 4734 w 5341"/>
                  <a:gd name="connsiteY5" fmla="*/ 486 h 1861"/>
                  <a:gd name="connsiteX6" fmla="*/ 5332 w 5341"/>
                  <a:gd name="connsiteY6" fmla="*/ 1264 h 1861"/>
                  <a:gd name="connsiteX7" fmla="*/ 4794 w 5341"/>
                  <a:gd name="connsiteY7" fmla="*/ 1802 h 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1" h="1861">
                    <a:moveTo>
                      <a:pt x="4794" y="1802"/>
                    </a:moveTo>
                    <a:cubicBezTo>
                      <a:pt x="4674" y="1862"/>
                      <a:pt x="4555" y="1862"/>
                      <a:pt x="4435" y="1862"/>
                    </a:cubicBezTo>
                    <a:lnTo>
                      <a:pt x="607" y="1383"/>
                    </a:lnTo>
                    <a:cubicBezTo>
                      <a:pt x="188" y="1323"/>
                      <a:pt x="-51" y="965"/>
                      <a:pt x="9" y="606"/>
                    </a:cubicBezTo>
                    <a:cubicBezTo>
                      <a:pt x="69" y="247"/>
                      <a:pt x="487" y="-52"/>
                      <a:pt x="906" y="8"/>
                    </a:cubicBezTo>
                    <a:lnTo>
                      <a:pt x="4734" y="486"/>
                    </a:lnTo>
                    <a:cubicBezTo>
                      <a:pt x="5152" y="546"/>
                      <a:pt x="5392" y="905"/>
                      <a:pt x="5332" y="1264"/>
                    </a:cubicBezTo>
                    <a:cubicBezTo>
                      <a:pt x="5212" y="1503"/>
                      <a:pt x="5033" y="1742"/>
                      <a:pt x="4794" y="180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78" name="Vrije vorm: vorm 9077">
                <a:extLst>
                  <a:ext uri="{FF2B5EF4-FFF2-40B4-BE49-F238E27FC236}">
                    <a16:creationId xmlns:a16="http://schemas.microsoft.com/office/drawing/2014/main" id="{9EEDA744-E653-450A-9AE5-A6A3B1198869}"/>
                  </a:ext>
                </a:extLst>
              </p:cNvPr>
              <p:cNvSpPr/>
              <p:nvPr/>
            </p:nvSpPr>
            <p:spPr>
              <a:xfrm>
                <a:off x="5701023" y="1781458"/>
                <a:ext cx="7409" cy="6880"/>
              </a:xfrm>
              <a:custGeom>
                <a:avLst/>
                <a:gdLst>
                  <a:gd name="connsiteX0" fmla="*/ 2332 w 7409"/>
                  <a:gd name="connsiteY0" fmla="*/ 6818 h 6880"/>
                  <a:gd name="connsiteX1" fmla="*/ 1555 w 7409"/>
                  <a:gd name="connsiteY1" fmla="*/ 6698 h 6880"/>
                  <a:gd name="connsiteX2" fmla="*/ 239 w 7409"/>
                  <a:gd name="connsiteY2" fmla="*/ 5562 h 6880"/>
                  <a:gd name="connsiteX3" fmla="*/ 0 w 7409"/>
                  <a:gd name="connsiteY3" fmla="*/ 5084 h 6880"/>
                  <a:gd name="connsiteX4" fmla="*/ 239 w 7409"/>
                  <a:gd name="connsiteY4" fmla="*/ 4545 h 6880"/>
                  <a:gd name="connsiteX5" fmla="*/ 4844 w 7409"/>
                  <a:gd name="connsiteY5" fmla="*/ 239 h 6880"/>
                  <a:gd name="connsiteX6" fmla="*/ 5382 w 7409"/>
                  <a:gd name="connsiteY6" fmla="*/ 0 h 6880"/>
                  <a:gd name="connsiteX7" fmla="*/ 5921 w 7409"/>
                  <a:gd name="connsiteY7" fmla="*/ 239 h 6880"/>
                  <a:gd name="connsiteX8" fmla="*/ 7236 w 7409"/>
                  <a:gd name="connsiteY8" fmla="*/ 1615 h 6880"/>
                  <a:gd name="connsiteX9" fmla="*/ 7177 w 7409"/>
                  <a:gd name="connsiteY9" fmla="*/ 2632 h 6880"/>
                  <a:gd name="connsiteX10" fmla="*/ 2512 w 7409"/>
                  <a:gd name="connsiteY10" fmla="*/ 6698 h 6880"/>
                  <a:gd name="connsiteX11" fmla="*/ 2332 w 7409"/>
                  <a:gd name="connsiteY11" fmla="*/ 6818 h 6880"/>
                  <a:gd name="connsiteX12" fmla="*/ 1854 w 7409"/>
                  <a:gd name="connsiteY12" fmla="*/ 5024 h 6880"/>
                  <a:gd name="connsiteX13" fmla="*/ 2093 w 7409"/>
                  <a:gd name="connsiteY13" fmla="*/ 5263 h 6880"/>
                  <a:gd name="connsiteX14" fmla="*/ 5622 w 7409"/>
                  <a:gd name="connsiteY14" fmla="*/ 2153 h 6880"/>
                  <a:gd name="connsiteX15" fmla="*/ 5323 w 7409"/>
                  <a:gd name="connsiteY15" fmla="*/ 1794 h 6880"/>
                  <a:gd name="connsiteX16" fmla="*/ 1854 w 7409"/>
                  <a:gd name="connsiteY16" fmla="*/ 5024 h 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09" h="6880">
                    <a:moveTo>
                      <a:pt x="2332" y="6818"/>
                    </a:moveTo>
                    <a:cubicBezTo>
                      <a:pt x="2093" y="6938"/>
                      <a:pt x="1794" y="6878"/>
                      <a:pt x="1555" y="6698"/>
                    </a:cubicBezTo>
                    <a:lnTo>
                      <a:pt x="239" y="5562"/>
                    </a:lnTo>
                    <a:cubicBezTo>
                      <a:pt x="119" y="5442"/>
                      <a:pt x="0" y="5263"/>
                      <a:pt x="0" y="5084"/>
                    </a:cubicBezTo>
                    <a:cubicBezTo>
                      <a:pt x="0" y="4904"/>
                      <a:pt x="119" y="4725"/>
                      <a:pt x="239" y="4545"/>
                    </a:cubicBezTo>
                    <a:lnTo>
                      <a:pt x="4844" y="239"/>
                    </a:lnTo>
                    <a:cubicBezTo>
                      <a:pt x="5024" y="120"/>
                      <a:pt x="5203" y="0"/>
                      <a:pt x="5382" y="0"/>
                    </a:cubicBezTo>
                    <a:cubicBezTo>
                      <a:pt x="5562" y="0"/>
                      <a:pt x="5801" y="60"/>
                      <a:pt x="5921" y="239"/>
                    </a:cubicBezTo>
                    <a:lnTo>
                      <a:pt x="7236" y="1615"/>
                    </a:lnTo>
                    <a:cubicBezTo>
                      <a:pt x="7476" y="1914"/>
                      <a:pt x="7476" y="2332"/>
                      <a:pt x="7177" y="2632"/>
                    </a:cubicBezTo>
                    <a:lnTo>
                      <a:pt x="2512" y="6698"/>
                    </a:lnTo>
                    <a:cubicBezTo>
                      <a:pt x="2512" y="6758"/>
                      <a:pt x="2452" y="6818"/>
                      <a:pt x="2332" y="6818"/>
                    </a:cubicBezTo>
                    <a:close/>
                    <a:moveTo>
                      <a:pt x="1854" y="5024"/>
                    </a:moveTo>
                    <a:lnTo>
                      <a:pt x="2093" y="5263"/>
                    </a:lnTo>
                    <a:lnTo>
                      <a:pt x="5622" y="2153"/>
                    </a:lnTo>
                    <a:lnTo>
                      <a:pt x="5323" y="1794"/>
                    </a:lnTo>
                    <a:lnTo>
                      <a:pt x="1854" y="5024"/>
                    </a:lnTo>
                    <a:close/>
                  </a:path>
                </a:pathLst>
              </a:custGeom>
              <a:grpFill/>
              <a:ln w="6350" cap="flat">
                <a:solidFill>
                  <a:schemeClr val="bg1">
                    <a:alpha val="80000"/>
                  </a:schemeClr>
                </a:solidFill>
                <a:prstDash val="solid"/>
                <a:miter/>
              </a:ln>
            </p:spPr>
            <p:txBody>
              <a:bodyPr rtlCol="0" anchor="ctr"/>
              <a:lstStyle/>
              <a:p>
                <a:endParaRPr lang="en-GB"/>
              </a:p>
            </p:txBody>
          </p:sp>
          <p:sp>
            <p:nvSpPr>
              <p:cNvPr id="9079" name="Vrije vorm: vorm 9078">
                <a:extLst>
                  <a:ext uri="{FF2B5EF4-FFF2-40B4-BE49-F238E27FC236}">
                    <a16:creationId xmlns:a16="http://schemas.microsoft.com/office/drawing/2014/main" id="{9ADE7E99-57D7-44AE-AA90-9682EC125850}"/>
                  </a:ext>
                </a:extLst>
              </p:cNvPr>
              <p:cNvSpPr/>
              <p:nvPr/>
            </p:nvSpPr>
            <p:spPr>
              <a:xfrm>
                <a:off x="5693483" y="1774002"/>
                <a:ext cx="13252" cy="14109"/>
              </a:xfrm>
              <a:custGeom>
                <a:avLst/>
                <a:gdLst>
                  <a:gd name="connsiteX0" fmla="*/ 8557 w 13252"/>
                  <a:gd name="connsiteY0" fmla="*/ 13137 h 14109"/>
                  <a:gd name="connsiteX1" fmla="*/ 7839 w 13252"/>
                  <a:gd name="connsiteY1" fmla="*/ 13077 h 14109"/>
                  <a:gd name="connsiteX2" fmla="*/ 7540 w 13252"/>
                  <a:gd name="connsiteY2" fmla="*/ 13137 h 14109"/>
                  <a:gd name="connsiteX3" fmla="*/ 1440 w 13252"/>
                  <a:gd name="connsiteY3" fmla="*/ 13795 h 14109"/>
                  <a:gd name="connsiteX4" fmla="*/ 363 w 13252"/>
                  <a:gd name="connsiteY4" fmla="*/ 12419 h 14109"/>
                  <a:gd name="connsiteX5" fmla="*/ 1499 w 13252"/>
                  <a:gd name="connsiteY5" fmla="*/ 7037 h 14109"/>
                  <a:gd name="connsiteX6" fmla="*/ 6822 w 13252"/>
                  <a:gd name="connsiteY6" fmla="*/ 4525 h 14109"/>
                  <a:gd name="connsiteX7" fmla="*/ 7659 w 13252"/>
                  <a:gd name="connsiteY7" fmla="*/ 578 h 14109"/>
                  <a:gd name="connsiteX8" fmla="*/ 8078 w 13252"/>
                  <a:gd name="connsiteY8" fmla="*/ 99 h 14109"/>
                  <a:gd name="connsiteX9" fmla="*/ 8736 w 13252"/>
                  <a:gd name="connsiteY9" fmla="*/ 39 h 14109"/>
                  <a:gd name="connsiteX10" fmla="*/ 10650 w 13252"/>
                  <a:gd name="connsiteY10" fmla="*/ 1774 h 14109"/>
                  <a:gd name="connsiteX11" fmla="*/ 13221 w 13252"/>
                  <a:gd name="connsiteY11" fmla="*/ 7635 h 14109"/>
                  <a:gd name="connsiteX12" fmla="*/ 12743 w 13252"/>
                  <a:gd name="connsiteY12" fmla="*/ 8532 h 14109"/>
                  <a:gd name="connsiteX13" fmla="*/ 12743 w 13252"/>
                  <a:gd name="connsiteY13" fmla="*/ 8532 h 14109"/>
                  <a:gd name="connsiteX14" fmla="*/ 11786 w 13252"/>
                  <a:gd name="connsiteY14" fmla="*/ 8113 h 14109"/>
                  <a:gd name="connsiteX15" fmla="*/ 9394 w 13252"/>
                  <a:gd name="connsiteY15" fmla="*/ 2671 h 14109"/>
                  <a:gd name="connsiteX16" fmla="*/ 8856 w 13252"/>
                  <a:gd name="connsiteY16" fmla="*/ 2013 h 14109"/>
                  <a:gd name="connsiteX17" fmla="*/ 8258 w 13252"/>
                  <a:gd name="connsiteY17" fmla="*/ 4884 h 14109"/>
                  <a:gd name="connsiteX18" fmla="*/ 7779 w 13252"/>
                  <a:gd name="connsiteY18" fmla="*/ 5601 h 14109"/>
                  <a:gd name="connsiteX19" fmla="*/ 2157 w 13252"/>
                  <a:gd name="connsiteY19" fmla="*/ 8293 h 14109"/>
                  <a:gd name="connsiteX20" fmla="*/ 1798 w 13252"/>
                  <a:gd name="connsiteY20" fmla="*/ 12120 h 14109"/>
                  <a:gd name="connsiteX21" fmla="*/ 2157 w 13252"/>
                  <a:gd name="connsiteY21" fmla="*/ 12539 h 14109"/>
                  <a:gd name="connsiteX22" fmla="*/ 7002 w 13252"/>
                  <a:gd name="connsiteY22" fmla="*/ 11821 h 14109"/>
                  <a:gd name="connsiteX23" fmla="*/ 8796 w 13252"/>
                  <a:gd name="connsiteY23" fmla="*/ 11941 h 14109"/>
                  <a:gd name="connsiteX24" fmla="*/ 8796 w 13252"/>
                  <a:gd name="connsiteY24" fmla="*/ 12958 h 14109"/>
                  <a:gd name="connsiteX25" fmla="*/ 8557 w 13252"/>
                  <a:gd name="connsiteY25" fmla="*/ 13137 h 14109"/>
                  <a:gd name="connsiteX26" fmla="*/ 7779 w 13252"/>
                  <a:gd name="connsiteY26" fmla="*/ 13017 h 14109"/>
                  <a:gd name="connsiteX27" fmla="*/ 7779 w 13252"/>
                  <a:gd name="connsiteY27" fmla="*/ 13017 h 14109"/>
                  <a:gd name="connsiteX28" fmla="*/ 7779 w 13252"/>
                  <a:gd name="connsiteY28" fmla="*/ 13017 h 14109"/>
                  <a:gd name="connsiteX29" fmla="*/ 7779 w 13252"/>
                  <a:gd name="connsiteY29" fmla="*/ 13017 h 14109"/>
                  <a:gd name="connsiteX30" fmla="*/ 7779 w 13252"/>
                  <a:gd name="connsiteY30" fmla="*/ 13017 h 14109"/>
                  <a:gd name="connsiteX31" fmla="*/ 7779 w 13252"/>
                  <a:gd name="connsiteY31" fmla="*/ 13017 h 1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252" h="14109">
                    <a:moveTo>
                      <a:pt x="8557" y="13137"/>
                    </a:moveTo>
                    <a:cubicBezTo>
                      <a:pt x="8317" y="13197"/>
                      <a:pt x="8078" y="13197"/>
                      <a:pt x="7839" y="13077"/>
                    </a:cubicBezTo>
                    <a:cubicBezTo>
                      <a:pt x="7779" y="13077"/>
                      <a:pt x="7719" y="13077"/>
                      <a:pt x="7540" y="13137"/>
                    </a:cubicBezTo>
                    <a:cubicBezTo>
                      <a:pt x="5925" y="13735"/>
                      <a:pt x="3054" y="14572"/>
                      <a:pt x="1440" y="13795"/>
                    </a:cubicBezTo>
                    <a:cubicBezTo>
                      <a:pt x="841" y="13496"/>
                      <a:pt x="482" y="13077"/>
                      <a:pt x="363" y="12419"/>
                    </a:cubicBezTo>
                    <a:cubicBezTo>
                      <a:pt x="4" y="10805"/>
                      <a:pt x="-594" y="8113"/>
                      <a:pt x="1499" y="7037"/>
                    </a:cubicBezTo>
                    <a:cubicBezTo>
                      <a:pt x="2755" y="6379"/>
                      <a:pt x="5686" y="5003"/>
                      <a:pt x="6822" y="4525"/>
                    </a:cubicBezTo>
                    <a:cubicBezTo>
                      <a:pt x="6942" y="3568"/>
                      <a:pt x="7420" y="1714"/>
                      <a:pt x="7659" y="578"/>
                    </a:cubicBezTo>
                    <a:cubicBezTo>
                      <a:pt x="7719" y="338"/>
                      <a:pt x="7839" y="159"/>
                      <a:pt x="8078" y="99"/>
                    </a:cubicBezTo>
                    <a:cubicBezTo>
                      <a:pt x="8258" y="-21"/>
                      <a:pt x="8557" y="-21"/>
                      <a:pt x="8736" y="39"/>
                    </a:cubicBezTo>
                    <a:cubicBezTo>
                      <a:pt x="8856" y="99"/>
                      <a:pt x="9573" y="458"/>
                      <a:pt x="10650" y="1774"/>
                    </a:cubicBezTo>
                    <a:cubicBezTo>
                      <a:pt x="11666" y="3089"/>
                      <a:pt x="13102" y="7156"/>
                      <a:pt x="13221" y="7635"/>
                    </a:cubicBezTo>
                    <a:cubicBezTo>
                      <a:pt x="13341" y="7994"/>
                      <a:pt x="13102" y="8412"/>
                      <a:pt x="12743" y="8532"/>
                    </a:cubicBezTo>
                    <a:cubicBezTo>
                      <a:pt x="12743" y="8532"/>
                      <a:pt x="12743" y="8532"/>
                      <a:pt x="12743" y="8532"/>
                    </a:cubicBezTo>
                    <a:cubicBezTo>
                      <a:pt x="12324" y="8652"/>
                      <a:pt x="11906" y="8472"/>
                      <a:pt x="11786" y="8113"/>
                    </a:cubicBezTo>
                    <a:cubicBezTo>
                      <a:pt x="11367" y="6917"/>
                      <a:pt x="10171" y="3628"/>
                      <a:pt x="9394" y="2671"/>
                    </a:cubicBezTo>
                    <a:cubicBezTo>
                      <a:pt x="9214" y="2432"/>
                      <a:pt x="8975" y="2192"/>
                      <a:pt x="8856" y="2013"/>
                    </a:cubicBezTo>
                    <a:cubicBezTo>
                      <a:pt x="8557" y="3388"/>
                      <a:pt x="8258" y="4644"/>
                      <a:pt x="8258" y="4884"/>
                    </a:cubicBezTo>
                    <a:cubicBezTo>
                      <a:pt x="8258" y="5183"/>
                      <a:pt x="8078" y="5482"/>
                      <a:pt x="7779" y="5601"/>
                    </a:cubicBezTo>
                    <a:cubicBezTo>
                      <a:pt x="7719" y="5601"/>
                      <a:pt x="3593" y="7515"/>
                      <a:pt x="2157" y="8293"/>
                    </a:cubicBezTo>
                    <a:cubicBezTo>
                      <a:pt x="1260" y="8771"/>
                      <a:pt x="1380" y="10147"/>
                      <a:pt x="1798" y="12120"/>
                    </a:cubicBezTo>
                    <a:cubicBezTo>
                      <a:pt x="1858" y="12360"/>
                      <a:pt x="1978" y="12479"/>
                      <a:pt x="2157" y="12539"/>
                    </a:cubicBezTo>
                    <a:cubicBezTo>
                      <a:pt x="2935" y="12898"/>
                      <a:pt x="4789" y="12659"/>
                      <a:pt x="7002" y="11821"/>
                    </a:cubicBezTo>
                    <a:cubicBezTo>
                      <a:pt x="8138" y="11403"/>
                      <a:pt x="8676" y="11881"/>
                      <a:pt x="8796" y="11941"/>
                    </a:cubicBezTo>
                    <a:cubicBezTo>
                      <a:pt x="9095" y="12180"/>
                      <a:pt x="9095" y="12659"/>
                      <a:pt x="8796" y="12958"/>
                    </a:cubicBezTo>
                    <a:cubicBezTo>
                      <a:pt x="8796" y="13077"/>
                      <a:pt x="8676" y="13137"/>
                      <a:pt x="8557" y="13137"/>
                    </a:cubicBezTo>
                    <a:close/>
                    <a:moveTo>
                      <a:pt x="7779" y="13017"/>
                    </a:moveTo>
                    <a:cubicBezTo>
                      <a:pt x="7779" y="13017"/>
                      <a:pt x="7779" y="13017"/>
                      <a:pt x="7779" y="13017"/>
                    </a:cubicBezTo>
                    <a:cubicBezTo>
                      <a:pt x="7779" y="13017"/>
                      <a:pt x="7779" y="13017"/>
                      <a:pt x="7779" y="13017"/>
                    </a:cubicBezTo>
                    <a:close/>
                    <a:moveTo>
                      <a:pt x="7779" y="13017"/>
                    </a:moveTo>
                    <a:cubicBezTo>
                      <a:pt x="7779" y="13017"/>
                      <a:pt x="7779" y="13017"/>
                      <a:pt x="7779" y="13017"/>
                    </a:cubicBezTo>
                    <a:cubicBezTo>
                      <a:pt x="7779" y="13017"/>
                      <a:pt x="7779" y="13017"/>
                      <a:pt x="7779" y="1301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80" name="Vrije vorm: vorm 9079">
                <a:extLst>
                  <a:ext uri="{FF2B5EF4-FFF2-40B4-BE49-F238E27FC236}">
                    <a16:creationId xmlns:a16="http://schemas.microsoft.com/office/drawing/2014/main" id="{BDC4F912-F2B4-40BE-9A9B-39EA3DF0759E}"/>
                  </a:ext>
                </a:extLst>
              </p:cNvPr>
              <p:cNvSpPr/>
              <p:nvPr/>
            </p:nvSpPr>
            <p:spPr>
              <a:xfrm>
                <a:off x="5698245" y="1775148"/>
                <a:ext cx="3637" cy="4934"/>
              </a:xfrm>
              <a:custGeom>
                <a:avLst/>
                <a:gdLst>
                  <a:gd name="connsiteX0" fmla="*/ 983 w 3637"/>
                  <a:gd name="connsiteY0" fmla="*/ 4874 h 4934"/>
                  <a:gd name="connsiteX1" fmla="*/ 625 w 3637"/>
                  <a:gd name="connsiteY1" fmla="*/ 4934 h 4934"/>
                  <a:gd name="connsiteX2" fmla="*/ 27 w 3637"/>
                  <a:gd name="connsiteY2" fmla="*/ 4157 h 4934"/>
                  <a:gd name="connsiteX3" fmla="*/ 625 w 3637"/>
                  <a:gd name="connsiteY3" fmla="*/ 628 h 4934"/>
                  <a:gd name="connsiteX4" fmla="*/ 1043 w 3637"/>
                  <a:gd name="connsiteY4" fmla="*/ 90 h 4934"/>
                  <a:gd name="connsiteX5" fmla="*/ 1761 w 3637"/>
                  <a:gd name="connsiteY5" fmla="*/ 90 h 4934"/>
                  <a:gd name="connsiteX6" fmla="*/ 3256 w 3637"/>
                  <a:gd name="connsiteY6" fmla="*/ 807 h 4934"/>
                  <a:gd name="connsiteX7" fmla="*/ 3555 w 3637"/>
                  <a:gd name="connsiteY7" fmla="*/ 1764 h 4934"/>
                  <a:gd name="connsiteX8" fmla="*/ 2538 w 3637"/>
                  <a:gd name="connsiteY8" fmla="*/ 2063 h 4934"/>
                  <a:gd name="connsiteX9" fmla="*/ 2000 w 3637"/>
                  <a:gd name="connsiteY9" fmla="*/ 1824 h 4934"/>
                  <a:gd name="connsiteX10" fmla="*/ 1582 w 3637"/>
                  <a:gd name="connsiteY10" fmla="*/ 4396 h 4934"/>
                  <a:gd name="connsiteX11" fmla="*/ 983 w 3637"/>
                  <a:gd name="connsiteY11" fmla="*/ 4874 h 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37" h="4934">
                    <a:moveTo>
                      <a:pt x="983" y="4874"/>
                    </a:moveTo>
                    <a:cubicBezTo>
                      <a:pt x="864" y="4934"/>
                      <a:pt x="744" y="4934"/>
                      <a:pt x="625" y="4934"/>
                    </a:cubicBezTo>
                    <a:cubicBezTo>
                      <a:pt x="206" y="4874"/>
                      <a:pt x="-93" y="4575"/>
                      <a:pt x="27" y="4157"/>
                    </a:cubicBezTo>
                    <a:cubicBezTo>
                      <a:pt x="445" y="1704"/>
                      <a:pt x="625" y="628"/>
                      <a:pt x="625" y="628"/>
                    </a:cubicBezTo>
                    <a:cubicBezTo>
                      <a:pt x="684" y="389"/>
                      <a:pt x="804" y="209"/>
                      <a:pt x="1043" y="90"/>
                    </a:cubicBezTo>
                    <a:cubicBezTo>
                      <a:pt x="1283" y="-30"/>
                      <a:pt x="1522" y="-30"/>
                      <a:pt x="1761" y="90"/>
                    </a:cubicBezTo>
                    <a:lnTo>
                      <a:pt x="3256" y="807"/>
                    </a:lnTo>
                    <a:cubicBezTo>
                      <a:pt x="3615" y="987"/>
                      <a:pt x="3735" y="1405"/>
                      <a:pt x="3555" y="1764"/>
                    </a:cubicBezTo>
                    <a:cubicBezTo>
                      <a:pt x="3376" y="2123"/>
                      <a:pt x="2897" y="2243"/>
                      <a:pt x="2538" y="2063"/>
                    </a:cubicBezTo>
                    <a:lnTo>
                      <a:pt x="2000" y="1824"/>
                    </a:lnTo>
                    <a:cubicBezTo>
                      <a:pt x="1881" y="2422"/>
                      <a:pt x="1761" y="3260"/>
                      <a:pt x="1582" y="4396"/>
                    </a:cubicBezTo>
                    <a:cubicBezTo>
                      <a:pt x="1462" y="4575"/>
                      <a:pt x="1283" y="4755"/>
                      <a:pt x="983" y="487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81" name="Vrije vorm: vorm 9080">
                <a:extLst>
                  <a:ext uri="{FF2B5EF4-FFF2-40B4-BE49-F238E27FC236}">
                    <a16:creationId xmlns:a16="http://schemas.microsoft.com/office/drawing/2014/main" id="{8CDD3DF4-41AF-4FC7-93F6-5BD91B2EE586}"/>
                  </a:ext>
                </a:extLst>
              </p:cNvPr>
              <p:cNvSpPr/>
              <p:nvPr/>
            </p:nvSpPr>
            <p:spPr>
              <a:xfrm>
                <a:off x="5694272" y="1781030"/>
                <a:ext cx="1831" cy="3119"/>
              </a:xfrm>
              <a:custGeom>
                <a:avLst/>
                <a:gdLst>
                  <a:gd name="connsiteX0" fmla="*/ 1010 w 1831"/>
                  <a:gd name="connsiteY0" fmla="*/ 3059 h 3119"/>
                  <a:gd name="connsiteX1" fmla="*/ 172 w 1831"/>
                  <a:gd name="connsiteY1" fmla="*/ 2880 h 3119"/>
                  <a:gd name="connsiteX2" fmla="*/ 232 w 1831"/>
                  <a:gd name="connsiteY2" fmla="*/ 1923 h 3119"/>
                  <a:gd name="connsiteX3" fmla="*/ 292 w 1831"/>
                  <a:gd name="connsiteY3" fmla="*/ 846 h 3119"/>
                  <a:gd name="connsiteX4" fmla="*/ 950 w 1831"/>
                  <a:gd name="connsiteY4" fmla="*/ 9 h 3119"/>
                  <a:gd name="connsiteX5" fmla="*/ 1787 w 1831"/>
                  <a:gd name="connsiteY5" fmla="*/ 547 h 3119"/>
                  <a:gd name="connsiteX6" fmla="*/ 1189 w 1831"/>
                  <a:gd name="connsiteY6" fmla="*/ 2940 h 3119"/>
                  <a:gd name="connsiteX7" fmla="*/ 1010 w 1831"/>
                  <a:gd name="connsiteY7" fmla="*/ 3059 h 3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1" h="3119">
                    <a:moveTo>
                      <a:pt x="1010" y="3059"/>
                    </a:moveTo>
                    <a:cubicBezTo>
                      <a:pt x="711" y="3179"/>
                      <a:pt x="412" y="3119"/>
                      <a:pt x="172" y="2880"/>
                    </a:cubicBezTo>
                    <a:cubicBezTo>
                      <a:pt x="-67" y="2581"/>
                      <a:pt x="-67" y="2162"/>
                      <a:pt x="232" y="1923"/>
                    </a:cubicBezTo>
                    <a:cubicBezTo>
                      <a:pt x="352" y="1803"/>
                      <a:pt x="352" y="1265"/>
                      <a:pt x="292" y="846"/>
                    </a:cubicBezTo>
                    <a:cubicBezTo>
                      <a:pt x="232" y="488"/>
                      <a:pt x="531" y="69"/>
                      <a:pt x="950" y="9"/>
                    </a:cubicBezTo>
                    <a:cubicBezTo>
                      <a:pt x="1369" y="-51"/>
                      <a:pt x="1728" y="189"/>
                      <a:pt x="1787" y="547"/>
                    </a:cubicBezTo>
                    <a:cubicBezTo>
                      <a:pt x="1847" y="966"/>
                      <a:pt x="1967" y="2282"/>
                      <a:pt x="1189" y="2940"/>
                    </a:cubicBezTo>
                    <a:cubicBezTo>
                      <a:pt x="1189" y="2940"/>
                      <a:pt x="1070" y="3000"/>
                      <a:pt x="1010" y="305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82" name="Vrije vorm: vorm 9081">
                <a:extLst>
                  <a:ext uri="{FF2B5EF4-FFF2-40B4-BE49-F238E27FC236}">
                    <a16:creationId xmlns:a16="http://schemas.microsoft.com/office/drawing/2014/main" id="{AD5322E0-83D3-4EB8-9AA2-248722BF8DE7}"/>
                  </a:ext>
                </a:extLst>
              </p:cNvPr>
              <p:cNvSpPr/>
              <p:nvPr/>
            </p:nvSpPr>
            <p:spPr>
              <a:xfrm>
                <a:off x="5699312" y="1780942"/>
                <a:ext cx="1981" cy="1569"/>
              </a:xfrm>
              <a:custGeom>
                <a:avLst/>
                <a:gdLst>
                  <a:gd name="connsiteX0" fmla="*/ 1472 w 1981"/>
                  <a:gd name="connsiteY0" fmla="*/ 1353 h 1569"/>
                  <a:gd name="connsiteX1" fmla="*/ 993 w 1981"/>
                  <a:gd name="connsiteY1" fmla="*/ 1532 h 1569"/>
                  <a:gd name="connsiteX2" fmla="*/ 36 w 1981"/>
                  <a:gd name="connsiteY2" fmla="*/ 1113 h 1569"/>
                  <a:gd name="connsiteX3" fmla="*/ 515 w 1981"/>
                  <a:gd name="connsiteY3" fmla="*/ 216 h 1569"/>
                  <a:gd name="connsiteX4" fmla="*/ 993 w 1981"/>
                  <a:gd name="connsiteY4" fmla="*/ 37 h 1569"/>
                  <a:gd name="connsiteX5" fmla="*/ 1950 w 1981"/>
                  <a:gd name="connsiteY5" fmla="*/ 456 h 1569"/>
                  <a:gd name="connsiteX6" fmla="*/ 1472 w 1981"/>
                  <a:gd name="connsiteY6" fmla="*/ 1353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1" h="1569">
                    <a:moveTo>
                      <a:pt x="1472" y="1353"/>
                    </a:moveTo>
                    <a:lnTo>
                      <a:pt x="993" y="1532"/>
                    </a:lnTo>
                    <a:cubicBezTo>
                      <a:pt x="575" y="1652"/>
                      <a:pt x="156" y="1472"/>
                      <a:pt x="36" y="1113"/>
                    </a:cubicBezTo>
                    <a:cubicBezTo>
                      <a:pt x="-83" y="755"/>
                      <a:pt x="96" y="336"/>
                      <a:pt x="515" y="216"/>
                    </a:cubicBezTo>
                    <a:lnTo>
                      <a:pt x="993" y="37"/>
                    </a:lnTo>
                    <a:cubicBezTo>
                      <a:pt x="1412" y="-83"/>
                      <a:pt x="1831" y="97"/>
                      <a:pt x="1950" y="456"/>
                    </a:cubicBezTo>
                    <a:cubicBezTo>
                      <a:pt x="2070" y="814"/>
                      <a:pt x="1831" y="1233"/>
                      <a:pt x="1472" y="135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83" name="Vrije vorm: vorm 9082">
                <a:extLst>
                  <a:ext uri="{FF2B5EF4-FFF2-40B4-BE49-F238E27FC236}">
                    <a16:creationId xmlns:a16="http://schemas.microsoft.com/office/drawing/2014/main" id="{2BC3BA66-0C76-4E4E-925D-A29233279234}"/>
                  </a:ext>
                </a:extLst>
              </p:cNvPr>
              <p:cNvSpPr/>
              <p:nvPr/>
            </p:nvSpPr>
            <p:spPr>
              <a:xfrm>
                <a:off x="5702781" y="1772714"/>
                <a:ext cx="20385" cy="27585"/>
              </a:xfrm>
              <a:custGeom>
                <a:avLst/>
                <a:gdLst>
                  <a:gd name="connsiteX0" fmla="*/ 8709 w 20385"/>
                  <a:gd name="connsiteY0" fmla="*/ 27224 h 27585"/>
                  <a:gd name="connsiteX1" fmla="*/ 5838 w 20385"/>
                  <a:gd name="connsiteY1" fmla="*/ 27583 h 27585"/>
                  <a:gd name="connsiteX2" fmla="*/ 5180 w 20385"/>
                  <a:gd name="connsiteY2" fmla="*/ 27104 h 27585"/>
                  <a:gd name="connsiteX3" fmla="*/ 3445 w 20385"/>
                  <a:gd name="connsiteY3" fmla="*/ 19927 h 27585"/>
                  <a:gd name="connsiteX4" fmla="*/ 36 w 20385"/>
                  <a:gd name="connsiteY4" fmla="*/ 15442 h 27585"/>
                  <a:gd name="connsiteX5" fmla="*/ 515 w 20385"/>
                  <a:gd name="connsiteY5" fmla="*/ 14545 h 27585"/>
                  <a:gd name="connsiteX6" fmla="*/ 1472 w 20385"/>
                  <a:gd name="connsiteY6" fmla="*/ 14963 h 27585"/>
                  <a:gd name="connsiteX7" fmla="*/ 4582 w 20385"/>
                  <a:gd name="connsiteY7" fmla="*/ 18970 h 27585"/>
                  <a:gd name="connsiteX8" fmla="*/ 4881 w 20385"/>
                  <a:gd name="connsiteY8" fmla="*/ 19389 h 27585"/>
                  <a:gd name="connsiteX9" fmla="*/ 6436 w 20385"/>
                  <a:gd name="connsiteY9" fmla="*/ 26207 h 27585"/>
                  <a:gd name="connsiteX10" fmla="*/ 7632 w 20385"/>
                  <a:gd name="connsiteY10" fmla="*/ 26087 h 27585"/>
                  <a:gd name="connsiteX11" fmla="*/ 7811 w 20385"/>
                  <a:gd name="connsiteY11" fmla="*/ 18611 h 27585"/>
                  <a:gd name="connsiteX12" fmla="*/ 8050 w 20385"/>
                  <a:gd name="connsiteY12" fmla="*/ 18432 h 27585"/>
                  <a:gd name="connsiteX13" fmla="*/ 14091 w 20385"/>
                  <a:gd name="connsiteY13" fmla="*/ 15681 h 27585"/>
                  <a:gd name="connsiteX14" fmla="*/ 14689 w 20385"/>
                  <a:gd name="connsiteY14" fmla="*/ 15621 h 27585"/>
                  <a:gd name="connsiteX15" fmla="*/ 15108 w 20385"/>
                  <a:gd name="connsiteY15" fmla="*/ 16040 h 27585"/>
                  <a:gd name="connsiteX16" fmla="*/ 17380 w 20385"/>
                  <a:gd name="connsiteY16" fmla="*/ 22320 h 27585"/>
                  <a:gd name="connsiteX17" fmla="*/ 18636 w 20385"/>
                  <a:gd name="connsiteY17" fmla="*/ 22021 h 27585"/>
                  <a:gd name="connsiteX18" fmla="*/ 15646 w 20385"/>
                  <a:gd name="connsiteY18" fmla="*/ 10418 h 27585"/>
                  <a:gd name="connsiteX19" fmla="*/ 15706 w 20385"/>
                  <a:gd name="connsiteY19" fmla="*/ 9760 h 27585"/>
                  <a:gd name="connsiteX20" fmla="*/ 17141 w 20385"/>
                  <a:gd name="connsiteY20" fmla="*/ 3361 h 27585"/>
                  <a:gd name="connsiteX21" fmla="*/ 13672 w 20385"/>
                  <a:gd name="connsiteY21" fmla="*/ 8983 h 27585"/>
                  <a:gd name="connsiteX22" fmla="*/ 4881 w 20385"/>
                  <a:gd name="connsiteY22" fmla="*/ 11913 h 27585"/>
                  <a:gd name="connsiteX23" fmla="*/ 4342 w 20385"/>
                  <a:gd name="connsiteY23" fmla="*/ 11076 h 27585"/>
                  <a:gd name="connsiteX24" fmla="*/ 5299 w 20385"/>
                  <a:gd name="connsiteY24" fmla="*/ 10538 h 27585"/>
                  <a:gd name="connsiteX25" fmla="*/ 13134 w 20385"/>
                  <a:gd name="connsiteY25" fmla="*/ 7667 h 27585"/>
                  <a:gd name="connsiteX26" fmla="*/ 16543 w 20385"/>
                  <a:gd name="connsiteY26" fmla="*/ 550 h 27585"/>
                  <a:gd name="connsiteX27" fmla="*/ 17261 w 20385"/>
                  <a:gd name="connsiteY27" fmla="*/ 11 h 27585"/>
                  <a:gd name="connsiteX28" fmla="*/ 18038 w 20385"/>
                  <a:gd name="connsiteY28" fmla="*/ 430 h 27585"/>
                  <a:gd name="connsiteX29" fmla="*/ 17320 w 20385"/>
                  <a:gd name="connsiteY29" fmla="*/ 10119 h 27585"/>
                  <a:gd name="connsiteX30" fmla="*/ 20371 w 20385"/>
                  <a:gd name="connsiteY30" fmla="*/ 22200 h 27585"/>
                  <a:gd name="connsiteX31" fmla="*/ 20072 w 20385"/>
                  <a:gd name="connsiteY31" fmla="*/ 22918 h 27585"/>
                  <a:gd name="connsiteX32" fmla="*/ 17021 w 20385"/>
                  <a:gd name="connsiteY32" fmla="*/ 23815 h 27585"/>
                  <a:gd name="connsiteX33" fmla="*/ 16304 w 20385"/>
                  <a:gd name="connsiteY33" fmla="*/ 23396 h 27585"/>
                  <a:gd name="connsiteX34" fmla="*/ 14091 w 20385"/>
                  <a:gd name="connsiteY34" fmla="*/ 17356 h 27585"/>
                  <a:gd name="connsiteX35" fmla="*/ 9008 w 20385"/>
                  <a:gd name="connsiteY35" fmla="*/ 19688 h 27585"/>
                  <a:gd name="connsiteX36" fmla="*/ 9366 w 20385"/>
                  <a:gd name="connsiteY36" fmla="*/ 26506 h 27585"/>
                  <a:gd name="connsiteX37" fmla="*/ 8888 w 20385"/>
                  <a:gd name="connsiteY37" fmla="*/ 27284 h 27585"/>
                  <a:gd name="connsiteX38" fmla="*/ 8709 w 20385"/>
                  <a:gd name="connsiteY38" fmla="*/ 27224 h 2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385" h="27585">
                    <a:moveTo>
                      <a:pt x="8709" y="27224"/>
                    </a:moveTo>
                    <a:cubicBezTo>
                      <a:pt x="7632" y="27642"/>
                      <a:pt x="6017" y="27583"/>
                      <a:pt x="5838" y="27583"/>
                    </a:cubicBezTo>
                    <a:cubicBezTo>
                      <a:pt x="5539" y="27583"/>
                      <a:pt x="5299" y="27403"/>
                      <a:pt x="5180" y="27104"/>
                    </a:cubicBezTo>
                    <a:cubicBezTo>
                      <a:pt x="4582" y="25430"/>
                      <a:pt x="3685" y="21064"/>
                      <a:pt x="3445" y="19927"/>
                    </a:cubicBezTo>
                    <a:cubicBezTo>
                      <a:pt x="1950" y="18911"/>
                      <a:pt x="694" y="17236"/>
                      <a:pt x="36" y="15442"/>
                    </a:cubicBezTo>
                    <a:cubicBezTo>
                      <a:pt x="-83" y="15083"/>
                      <a:pt x="96" y="14664"/>
                      <a:pt x="515" y="14545"/>
                    </a:cubicBezTo>
                    <a:cubicBezTo>
                      <a:pt x="933" y="14425"/>
                      <a:pt x="1352" y="14604"/>
                      <a:pt x="1472" y="14963"/>
                    </a:cubicBezTo>
                    <a:cubicBezTo>
                      <a:pt x="2070" y="16578"/>
                      <a:pt x="3266" y="18133"/>
                      <a:pt x="4582" y="18970"/>
                    </a:cubicBezTo>
                    <a:cubicBezTo>
                      <a:pt x="4761" y="19090"/>
                      <a:pt x="4821" y="19210"/>
                      <a:pt x="4881" y="19389"/>
                    </a:cubicBezTo>
                    <a:cubicBezTo>
                      <a:pt x="4881" y="19449"/>
                      <a:pt x="5838" y="24054"/>
                      <a:pt x="6436" y="26207"/>
                    </a:cubicBezTo>
                    <a:cubicBezTo>
                      <a:pt x="6795" y="26207"/>
                      <a:pt x="7273" y="26147"/>
                      <a:pt x="7632" y="26087"/>
                    </a:cubicBezTo>
                    <a:cubicBezTo>
                      <a:pt x="7213" y="23037"/>
                      <a:pt x="6914" y="19509"/>
                      <a:pt x="7811" y="18611"/>
                    </a:cubicBezTo>
                    <a:cubicBezTo>
                      <a:pt x="7871" y="18552"/>
                      <a:pt x="7931" y="18492"/>
                      <a:pt x="8050" y="18432"/>
                    </a:cubicBezTo>
                    <a:lnTo>
                      <a:pt x="14091" y="15681"/>
                    </a:lnTo>
                    <a:cubicBezTo>
                      <a:pt x="14271" y="15561"/>
                      <a:pt x="14510" y="15561"/>
                      <a:pt x="14689" y="15621"/>
                    </a:cubicBezTo>
                    <a:cubicBezTo>
                      <a:pt x="14868" y="15681"/>
                      <a:pt x="15048" y="15860"/>
                      <a:pt x="15108" y="16040"/>
                    </a:cubicBezTo>
                    <a:lnTo>
                      <a:pt x="17380" y="22320"/>
                    </a:lnTo>
                    <a:cubicBezTo>
                      <a:pt x="17799" y="22260"/>
                      <a:pt x="18278" y="22140"/>
                      <a:pt x="18636" y="22021"/>
                    </a:cubicBezTo>
                    <a:cubicBezTo>
                      <a:pt x="18218" y="20047"/>
                      <a:pt x="16782" y="12870"/>
                      <a:pt x="15646" y="10418"/>
                    </a:cubicBezTo>
                    <a:cubicBezTo>
                      <a:pt x="15526" y="10239"/>
                      <a:pt x="15586" y="9939"/>
                      <a:pt x="15706" y="9760"/>
                    </a:cubicBezTo>
                    <a:cubicBezTo>
                      <a:pt x="15706" y="9700"/>
                      <a:pt x="17560" y="6889"/>
                      <a:pt x="17141" y="3361"/>
                    </a:cubicBezTo>
                    <a:cubicBezTo>
                      <a:pt x="16364" y="5633"/>
                      <a:pt x="15108" y="8385"/>
                      <a:pt x="13672" y="8983"/>
                    </a:cubicBezTo>
                    <a:cubicBezTo>
                      <a:pt x="11519" y="9939"/>
                      <a:pt x="6316" y="12212"/>
                      <a:pt x="4881" y="11913"/>
                    </a:cubicBezTo>
                    <a:cubicBezTo>
                      <a:pt x="4462" y="11853"/>
                      <a:pt x="4223" y="11435"/>
                      <a:pt x="4342" y="11076"/>
                    </a:cubicBezTo>
                    <a:cubicBezTo>
                      <a:pt x="4462" y="10717"/>
                      <a:pt x="4881" y="10478"/>
                      <a:pt x="5299" y="10538"/>
                    </a:cubicBezTo>
                    <a:cubicBezTo>
                      <a:pt x="6017" y="10657"/>
                      <a:pt x="9964" y="9102"/>
                      <a:pt x="13134" y="7667"/>
                    </a:cubicBezTo>
                    <a:cubicBezTo>
                      <a:pt x="14091" y="7248"/>
                      <a:pt x="15646" y="3660"/>
                      <a:pt x="16543" y="550"/>
                    </a:cubicBezTo>
                    <a:cubicBezTo>
                      <a:pt x="16603" y="251"/>
                      <a:pt x="16902" y="11"/>
                      <a:pt x="17261" y="11"/>
                    </a:cubicBezTo>
                    <a:cubicBezTo>
                      <a:pt x="17560" y="-48"/>
                      <a:pt x="17919" y="131"/>
                      <a:pt x="18038" y="430"/>
                    </a:cubicBezTo>
                    <a:cubicBezTo>
                      <a:pt x="19952" y="4856"/>
                      <a:pt x="17979" y="8983"/>
                      <a:pt x="17320" y="10119"/>
                    </a:cubicBezTo>
                    <a:cubicBezTo>
                      <a:pt x="18696" y="13408"/>
                      <a:pt x="20311" y="21841"/>
                      <a:pt x="20371" y="22200"/>
                    </a:cubicBezTo>
                    <a:cubicBezTo>
                      <a:pt x="20431" y="22439"/>
                      <a:pt x="20311" y="22738"/>
                      <a:pt x="20072" y="22918"/>
                    </a:cubicBezTo>
                    <a:cubicBezTo>
                      <a:pt x="19175" y="23576"/>
                      <a:pt x="17380" y="23755"/>
                      <a:pt x="17021" y="23815"/>
                    </a:cubicBezTo>
                    <a:cubicBezTo>
                      <a:pt x="16663" y="23815"/>
                      <a:pt x="16364" y="23635"/>
                      <a:pt x="16304" y="23396"/>
                    </a:cubicBezTo>
                    <a:lnTo>
                      <a:pt x="14091" y="17356"/>
                    </a:lnTo>
                    <a:lnTo>
                      <a:pt x="9008" y="19688"/>
                    </a:lnTo>
                    <a:cubicBezTo>
                      <a:pt x="8709" y="20525"/>
                      <a:pt x="8948" y="23755"/>
                      <a:pt x="9366" y="26506"/>
                    </a:cubicBezTo>
                    <a:cubicBezTo>
                      <a:pt x="9426" y="26805"/>
                      <a:pt x="9247" y="27164"/>
                      <a:pt x="8888" y="27284"/>
                    </a:cubicBezTo>
                    <a:cubicBezTo>
                      <a:pt x="8828" y="27224"/>
                      <a:pt x="8768" y="27224"/>
                      <a:pt x="8709" y="2722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84" name="Vrije vorm: vorm 9083">
                <a:extLst>
                  <a:ext uri="{FF2B5EF4-FFF2-40B4-BE49-F238E27FC236}">
                    <a16:creationId xmlns:a16="http://schemas.microsoft.com/office/drawing/2014/main" id="{840AB586-3B06-4AAD-B01E-09A350D025F8}"/>
                  </a:ext>
                </a:extLst>
              </p:cNvPr>
              <p:cNvSpPr/>
              <p:nvPr/>
            </p:nvSpPr>
            <p:spPr>
              <a:xfrm>
                <a:off x="5701678" y="1790563"/>
                <a:ext cx="6227" cy="8582"/>
              </a:xfrm>
              <a:custGeom>
                <a:avLst/>
                <a:gdLst>
                  <a:gd name="connsiteX0" fmla="*/ 2813 w 6227"/>
                  <a:gd name="connsiteY0" fmla="*/ 8537 h 8582"/>
                  <a:gd name="connsiteX1" fmla="*/ 2813 w 6227"/>
                  <a:gd name="connsiteY1" fmla="*/ 8537 h 8582"/>
                  <a:gd name="connsiteX2" fmla="*/ 2215 w 6227"/>
                  <a:gd name="connsiteY2" fmla="*/ 8537 h 8582"/>
                  <a:gd name="connsiteX3" fmla="*/ 481 w 6227"/>
                  <a:gd name="connsiteY3" fmla="*/ 7760 h 8582"/>
                  <a:gd name="connsiteX4" fmla="*/ 122 w 6227"/>
                  <a:gd name="connsiteY4" fmla="*/ 7401 h 8582"/>
                  <a:gd name="connsiteX5" fmla="*/ 3292 w 6227"/>
                  <a:gd name="connsiteY5" fmla="*/ 224 h 8582"/>
                  <a:gd name="connsiteX6" fmla="*/ 4368 w 6227"/>
                  <a:gd name="connsiteY6" fmla="*/ 224 h 8582"/>
                  <a:gd name="connsiteX7" fmla="*/ 4309 w 6227"/>
                  <a:gd name="connsiteY7" fmla="*/ 1241 h 8582"/>
                  <a:gd name="connsiteX8" fmla="*/ 1498 w 6227"/>
                  <a:gd name="connsiteY8" fmla="*/ 6624 h 8582"/>
                  <a:gd name="connsiteX9" fmla="*/ 2275 w 6227"/>
                  <a:gd name="connsiteY9" fmla="*/ 6983 h 8582"/>
                  <a:gd name="connsiteX10" fmla="*/ 5026 w 6227"/>
                  <a:gd name="connsiteY10" fmla="*/ 3274 h 8582"/>
                  <a:gd name="connsiteX11" fmla="*/ 6103 w 6227"/>
                  <a:gd name="connsiteY11" fmla="*/ 3394 h 8582"/>
                  <a:gd name="connsiteX12" fmla="*/ 5864 w 6227"/>
                  <a:gd name="connsiteY12" fmla="*/ 4411 h 8582"/>
                  <a:gd name="connsiteX13" fmla="*/ 3292 w 6227"/>
                  <a:gd name="connsiteY13" fmla="*/ 8238 h 8582"/>
                  <a:gd name="connsiteX14" fmla="*/ 2813 w 6227"/>
                  <a:gd name="connsiteY14" fmla="*/ 8537 h 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27" h="8582">
                    <a:moveTo>
                      <a:pt x="2813" y="8537"/>
                    </a:moveTo>
                    <a:cubicBezTo>
                      <a:pt x="2753" y="8537"/>
                      <a:pt x="2753" y="8537"/>
                      <a:pt x="2813" y="8537"/>
                    </a:cubicBezTo>
                    <a:cubicBezTo>
                      <a:pt x="2574" y="8597"/>
                      <a:pt x="2395" y="8597"/>
                      <a:pt x="2215" y="8537"/>
                    </a:cubicBezTo>
                    <a:lnTo>
                      <a:pt x="481" y="7760"/>
                    </a:lnTo>
                    <a:cubicBezTo>
                      <a:pt x="302" y="7700"/>
                      <a:pt x="182" y="7581"/>
                      <a:pt x="122" y="7401"/>
                    </a:cubicBezTo>
                    <a:cubicBezTo>
                      <a:pt x="-596" y="5667"/>
                      <a:pt x="2036" y="1361"/>
                      <a:pt x="3292" y="224"/>
                    </a:cubicBezTo>
                    <a:cubicBezTo>
                      <a:pt x="3591" y="-75"/>
                      <a:pt x="4069" y="-75"/>
                      <a:pt x="4368" y="224"/>
                    </a:cubicBezTo>
                    <a:cubicBezTo>
                      <a:pt x="4667" y="523"/>
                      <a:pt x="4607" y="942"/>
                      <a:pt x="4309" y="1241"/>
                    </a:cubicBezTo>
                    <a:cubicBezTo>
                      <a:pt x="3053" y="2377"/>
                      <a:pt x="1438" y="5547"/>
                      <a:pt x="1498" y="6624"/>
                    </a:cubicBezTo>
                    <a:lnTo>
                      <a:pt x="2275" y="6983"/>
                    </a:lnTo>
                    <a:cubicBezTo>
                      <a:pt x="2933" y="5846"/>
                      <a:pt x="4129" y="3873"/>
                      <a:pt x="5026" y="3274"/>
                    </a:cubicBezTo>
                    <a:cubicBezTo>
                      <a:pt x="5385" y="3035"/>
                      <a:pt x="5864" y="3095"/>
                      <a:pt x="6103" y="3394"/>
                    </a:cubicBezTo>
                    <a:cubicBezTo>
                      <a:pt x="6342" y="3693"/>
                      <a:pt x="6222" y="4172"/>
                      <a:pt x="5864" y="4411"/>
                    </a:cubicBezTo>
                    <a:cubicBezTo>
                      <a:pt x="5385" y="4770"/>
                      <a:pt x="4129" y="6624"/>
                      <a:pt x="3292" y="8238"/>
                    </a:cubicBezTo>
                    <a:cubicBezTo>
                      <a:pt x="3112" y="8358"/>
                      <a:pt x="2993" y="8478"/>
                      <a:pt x="2813" y="853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85" name="Vrije vorm: vorm 9084">
                <a:extLst>
                  <a:ext uri="{FF2B5EF4-FFF2-40B4-BE49-F238E27FC236}">
                    <a16:creationId xmlns:a16="http://schemas.microsoft.com/office/drawing/2014/main" id="{08FDA52F-E64B-4AC0-9DE6-8A1B6CF0348F}"/>
                  </a:ext>
                </a:extLst>
              </p:cNvPr>
              <p:cNvSpPr/>
              <p:nvPr/>
            </p:nvSpPr>
            <p:spPr>
              <a:xfrm>
                <a:off x="5719427" y="1785078"/>
                <a:ext cx="8764" cy="5679"/>
              </a:xfrm>
              <a:custGeom>
                <a:avLst/>
                <a:gdLst>
                  <a:gd name="connsiteX0" fmla="*/ 7613 w 8764"/>
                  <a:gd name="connsiteY0" fmla="*/ 5351 h 5679"/>
                  <a:gd name="connsiteX1" fmla="*/ 4981 w 8764"/>
                  <a:gd name="connsiteY1" fmla="*/ 5650 h 5679"/>
                  <a:gd name="connsiteX2" fmla="*/ 1153 w 8764"/>
                  <a:gd name="connsiteY2" fmla="*/ 4155 h 5679"/>
                  <a:gd name="connsiteX3" fmla="*/ 1452 w 8764"/>
                  <a:gd name="connsiteY3" fmla="*/ 3198 h 5679"/>
                  <a:gd name="connsiteX4" fmla="*/ 2469 w 8764"/>
                  <a:gd name="connsiteY4" fmla="*/ 3437 h 5679"/>
                  <a:gd name="connsiteX5" fmla="*/ 5160 w 8764"/>
                  <a:gd name="connsiteY5" fmla="*/ 4334 h 5679"/>
                  <a:gd name="connsiteX6" fmla="*/ 7194 w 8764"/>
                  <a:gd name="connsiteY6" fmla="*/ 4095 h 5679"/>
                  <a:gd name="connsiteX7" fmla="*/ 7015 w 8764"/>
                  <a:gd name="connsiteY7" fmla="*/ 2959 h 5679"/>
                  <a:gd name="connsiteX8" fmla="*/ 257 w 8764"/>
                  <a:gd name="connsiteY8" fmla="*/ 1284 h 5679"/>
                  <a:gd name="connsiteX9" fmla="*/ 197 w 8764"/>
                  <a:gd name="connsiteY9" fmla="*/ 267 h 5679"/>
                  <a:gd name="connsiteX10" fmla="*/ 1273 w 8764"/>
                  <a:gd name="connsiteY10" fmla="*/ 148 h 5679"/>
                  <a:gd name="connsiteX11" fmla="*/ 7673 w 8764"/>
                  <a:gd name="connsiteY11" fmla="*/ 1523 h 5679"/>
                  <a:gd name="connsiteX12" fmla="*/ 8390 w 8764"/>
                  <a:gd name="connsiteY12" fmla="*/ 2061 h 5679"/>
                  <a:gd name="connsiteX13" fmla="*/ 8749 w 8764"/>
                  <a:gd name="connsiteY13" fmla="*/ 4155 h 5679"/>
                  <a:gd name="connsiteX14" fmla="*/ 8569 w 8764"/>
                  <a:gd name="connsiteY14" fmla="*/ 4753 h 5679"/>
                  <a:gd name="connsiteX15" fmla="*/ 7613 w 8764"/>
                  <a:gd name="connsiteY15" fmla="*/ 5351 h 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64" h="5679">
                    <a:moveTo>
                      <a:pt x="7613" y="5351"/>
                    </a:moveTo>
                    <a:cubicBezTo>
                      <a:pt x="6656" y="5710"/>
                      <a:pt x="5400" y="5710"/>
                      <a:pt x="4981" y="5650"/>
                    </a:cubicBezTo>
                    <a:cubicBezTo>
                      <a:pt x="4263" y="5590"/>
                      <a:pt x="1931" y="5411"/>
                      <a:pt x="1153" y="4155"/>
                    </a:cubicBezTo>
                    <a:cubicBezTo>
                      <a:pt x="974" y="3856"/>
                      <a:pt x="1094" y="3377"/>
                      <a:pt x="1452" y="3198"/>
                    </a:cubicBezTo>
                    <a:cubicBezTo>
                      <a:pt x="1811" y="2959"/>
                      <a:pt x="2290" y="3078"/>
                      <a:pt x="2469" y="3437"/>
                    </a:cubicBezTo>
                    <a:cubicBezTo>
                      <a:pt x="2708" y="3796"/>
                      <a:pt x="3725" y="4214"/>
                      <a:pt x="5160" y="4334"/>
                    </a:cubicBezTo>
                    <a:cubicBezTo>
                      <a:pt x="6118" y="4394"/>
                      <a:pt x="6835" y="4274"/>
                      <a:pt x="7194" y="4095"/>
                    </a:cubicBezTo>
                    <a:lnTo>
                      <a:pt x="7015" y="2959"/>
                    </a:lnTo>
                    <a:cubicBezTo>
                      <a:pt x="5579" y="2959"/>
                      <a:pt x="2230" y="2719"/>
                      <a:pt x="257" y="1284"/>
                    </a:cubicBezTo>
                    <a:cubicBezTo>
                      <a:pt x="-43" y="1045"/>
                      <a:pt x="-102" y="626"/>
                      <a:pt x="197" y="267"/>
                    </a:cubicBezTo>
                    <a:cubicBezTo>
                      <a:pt x="496" y="-32"/>
                      <a:pt x="974" y="-92"/>
                      <a:pt x="1273" y="148"/>
                    </a:cubicBezTo>
                    <a:cubicBezTo>
                      <a:pt x="3306" y="1643"/>
                      <a:pt x="7673" y="1523"/>
                      <a:pt x="7673" y="1523"/>
                    </a:cubicBezTo>
                    <a:cubicBezTo>
                      <a:pt x="8031" y="1523"/>
                      <a:pt x="8330" y="1762"/>
                      <a:pt x="8390" y="2061"/>
                    </a:cubicBezTo>
                    <a:lnTo>
                      <a:pt x="8749" y="4155"/>
                    </a:lnTo>
                    <a:cubicBezTo>
                      <a:pt x="8809" y="4334"/>
                      <a:pt x="8689" y="4573"/>
                      <a:pt x="8569" y="4753"/>
                    </a:cubicBezTo>
                    <a:cubicBezTo>
                      <a:pt x="8330" y="5052"/>
                      <a:pt x="8031" y="5231"/>
                      <a:pt x="7613" y="535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86" name="Vrije vorm: vorm 9085">
                <a:extLst>
                  <a:ext uri="{FF2B5EF4-FFF2-40B4-BE49-F238E27FC236}">
                    <a16:creationId xmlns:a16="http://schemas.microsoft.com/office/drawing/2014/main" id="{7FC8E1B6-02A3-4115-8CEA-DAA492F131D8}"/>
                  </a:ext>
                </a:extLst>
              </p:cNvPr>
              <p:cNvSpPr/>
              <p:nvPr/>
            </p:nvSpPr>
            <p:spPr>
              <a:xfrm>
                <a:off x="5706401" y="1749968"/>
                <a:ext cx="13916" cy="33024"/>
              </a:xfrm>
              <a:custGeom>
                <a:avLst/>
                <a:gdLst>
                  <a:gd name="connsiteX0" fmla="*/ 1021 w 13916"/>
                  <a:gd name="connsiteY0" fmla="*/ 32985 h 33024"/>
                  <a:gd name="connsiteX1" fmla="*/ 364 w 13916"/>
                  <a:gd name="connsiteY1" fmla="*/ 32925 h 33024"/>
                  <a:gd name="connsiteX2" fmla="*/ 125 w 13916"/>
                  <a:gd name="connsiteY2" fmla="*/ 31968 h 33024"/>
                  <a:gd name="connsiteX3" fmla="*/ 12445 w 13916"/>
                  <a:gd name="connsiteY3" fmla="*/ 510 h 33024"/>
                  <a:gd name="connsiteX4" fmla="*/ 13402 w 13916"/>
                  <a:gd name="connsiteY4" fmla="*/ 31 h 33024"/>
                  <a:gd name="connsiteX5" fmla="*/ 13880 w 13916"/>
                  <a:gd name="connsiteY5" fmla="*/ 928 h 33024"/>
                  <a:gd name="connsiteX6" fmla="*/ 1380 w 13916"/>
                  <a:gd name="connsiteY6" fmla="*/ 32686 h 33024"/>
                  <a:gd name="connsiteX7" fmla="*/ 1021 w 13916"/>
                  <a:gd name="connsiteY7" fmla="*/ 32985 h 3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16" h="33024">
                    <a:moveTo>
                      <a:pt x="1021" y="32985"/>
                    </a:moveTo>
                    <a:cubicBezTo>
                      <a:pt x="782" y="33045"/>
                      <a:pt x="543" y="33045"/>
                      <a:pt x="364" y="32925"/>
                    </a:cubicBezTo>
                    <a:cubicBezTo>
                      <a:pt x="5" y="32746"/>
                      <a:pt x="-115" y="32327"/>
                      <a:pt x="125" y="31968"/>
                    </a:cubicBezTo>
                    <a:cubicBezTo>
                      <a:pt x="1560" y="29875"/>
                      <a:pt x="9514" y="8524"/>
                      <a:pt x="12445" y="510"/>
                    </a:cubicBezTo>
                    <a:cubicBezTo>
                      <a:pt x="12565" y="151"/>
                      <a:pt x="13043" y="-89"/>
                      <a:pt x="13402" y="31"/>
                    </a:cubicBezTo>
                    <a:cubicBezTo>
                      <a:pt x="13820" y="151"/>
                      <a:pt x="14000" y="510"/>
                      <a:pt x="13880" y="928"/>
                    </a:cubicBezTo>
                    <a:cubicBezTo>
                      <a:pt x="13461" y="2124"/>
                      <a:pt x="3175" y="30054"/>
                      <a:pt x="1380" y="32686"/>
                    </a:cubicBezTo>
                    <a:cubicBezTo>
                      <a:pt x="1321" y="32865"/>
                      <a:pt x="1141" y="32925"/>
                      <a:pt x="1021" y="3298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87" name="Vrije vorm: vorm 9086">
                <a:extLst>
                  <a:ext uri="{FF2B5EF4-FFF2-40B4-BE49-F238E27FC236}">
                    <a16:creationId xmlns:a16="http://schemas.microsoft.com/office/drawing/2014/main" id="{7E150A5B-2451-49BC-9683-8A9568E9E965}"/>
                  </a:ext>
                </a:extLst>
              </p:cNvPr>
              <p:cNvSpPr/>
              <p:nvPr/>
            </p:nvSpPr>
            <p:spPr>
              <a:xfrm>
                <a:off x="5741476" y="1765778"/>
                <a:ext cx="8778" cy="19963"/>
              </a:xfrm>
              <a:custGeom>
                <a:avLst/>
                <a:gdLst>
                  <a:gd name="connsiteX0" fmla="*/ 8290 w 8778"/>
                  <a:gd name="connsiteY0" fmla="*/ 19926 h 19963"/>
                  <a:gd name="connsiteX1" fmla="*/ 7333 w 8778"/>
                  <a:gd name="connsiteY1" fmla="*/ 19508 h 19963"/>
                  <a:gd name="connsiteX2" fmla="*/ 37 w 8778"/>
                  <a:gd name="connsiteY2" fmla="*/ 1027 h 19963"/>
                  <a:gd name="connsiteX3" fmla="*/ 455 w 8778"/>
                  <a:gd name="connsiteY3" fmla="*/ 70 h 19963"/>
                  <a:gd name="connsiteX4" fmla="*/ 1413 w 8778"/>
                  <a:gd name="connsiteY4" fmla="*/ 429 h 19963"/>
                  <a:gd name="connsiteX5" fmla="*/ 8709 w 8778"/>
                  <a:gd name="connsiteY5" fmla="*/ 18969 h 19963"/>
                  <a:gd name="connsiteX6" fmla="*/ 8290 w 8778"/>
                  <a:gd name="connsiteY6" fmla="*/ 19926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8" h="19963">
                    <a:moveTo>
                      <a:pt x="8290" y="19926"/>
                    </a:moveTo>
                    <a:cubicBezTo>
                      <a:pt x="7872" y="20046"/>
                      <a:pt x="7453" y="19867"/>
                      <a:pt x="7333" y="19508"/>
                    </a:cubicBezTo>
                    <a:cubicBezTo>
                      <a:pt x="6257" y="16577"/>
                      <a:pt x="1173" y="3719"/>
                      <a:pt x="37" y="1027"/>
                    </a:cubicBezTo>
                    <a:cubicBezTo>
                      <a:pt x="-83" y="668"/>
                      <a:pt x="97" y="250"/>
                      <a:pt x="455" y="70"/>
                    </a:cubicBezTo>
                    <a:cubicBezTo>
                      <a:pt x="874" y="-109"/>
                      <a:pt x="1293" y="70"/>
                      <a:pt x="1413" y="429"/>
                    </a:cubicBezTo>
                    <a:cubicBezTo>
                      <a:pt x="2549" y="3121"/>
                      <a:pt x="7632" y="15979"/>
                      <a:pt x="8709" y="18969"/>
                    </a:cubicBezTo>
                    <a:cubicBezTo>
                      <a:pt x="8889" y="19328"/>
                      <a:pt x="8709" y="19747"/>
                      <a:pt x="8290" y="1992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88" name="Vrije vorm: vorm 9087">
                <a:extLst>
                  <a:ext uri="{FF2B5EF4-FFF2-40B4-BE49-F238E27FC236}">
                    <a16:creationId xmlns:a16="http://schemas.microsoft.com/office/drawing/2014/main" id="{7E5F54C1-8495-4099-802B-4AFFFF021DFE}"/>
                  </a:ext>
                </a:extLst>
              </p:cNvPr>
              <p:cNvSpPr/>
              <p:nvPr/>
            </p:nvSpPr>
            <p:spPr>
              <a:xfrm>
                <a:off x="5745124" y="1764211"/>
                <a:ext cx="8062" cy="23444"/>
              </a:xfrm>
              <a:custGeom>
                <a:avLst/>
                <a:gdLst>
                  <a:gd name="connsiteX0" fmla="*/ 993 w 8062"/>
                  <a:gd name="connsiteY0" fmla="*/ 23407 h 23444"/>
                  <a:gd name="connsiteX1" fmla="*/ 36 w 8062"/>
                  <a:gd name="connsiteY1" fmla="*/ 22989 h 23444"/>
                  <a:gd name="connsiteX2" fmla="*/ 515 w 8062"/>
                  <a:gd name="connsiteY2" fmla="*/ 22091 h 23444"/>
                  <a:gd name="connsiteX3" fmla="*/ 6376 w 8062"/>
                  <a:gd name="connsiteY3" fmla="*/ 19221 h 23444"/>
                  <a:gd name="connsiteX4" fmla="*/ 874 w 8062"/>
                  <a:gd name="connsiteY4" fmla="*/ 1039 h 23444"/>
                  <a:gd name="connsiteX5" fmla="*/ 1292 w 8062"/>
                  <a:gd name="connsiteY5" fmla="*/ 82 h 23444"/>
                  <a:gd name="connsiteX6" fmla="*/ 2309 w 8062"/>
                  <a:gd name="connsiteY6" fmla="*/ 381 h 23444"/>
                  <a:gd name="connsiteX7" fmla="*/ 8051 w 8062"/>
                  <a:gd name="connsiteY7" fmla="*/ 19400 h 23444"/>
                  <a:gd name="connsiteX8" fmla="*/ 7632 w 8062"/>
                  <a:gd name="connsiteY8" fmla="*/ 20118 h 23444"/>
                  <a:gd name="connsiteX9" fmla="*/ 993 w 8062"/>
                  <a:gd name="connsiteY9" fmla="*/ 23407 h 23444"/>
                  <a:gd name="connsiteX10" fmla="*/ 7213 w 8062"/>
                  <a:gd name="connsiteY10" fmla="*/ 19580 h 23444"/>
                  <a:gd name="connsiteX11" fmla="*/ 7213 w 8062"/>
                  <a:gd name="connsiteY11" fmla="*/ 19580 h 23444"/>
                  <a:gd name="connsiteX12" fmla="*/ 7213 w 8062"/>
                  <a:gd name="connsiteY12" fmla="*/ 19580 h 2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62" h="23444">
                    <a:moveTo>
                      <a:pt x="993" y="23407"/>
                    </a:moveTo>
                    <a:cubicBezTo>
                      <a:pt x="575" y="23527"/>
                      <a:pt x="156" y="23347"/>
                      <a:pt x="36" y="22989"/>
                    </a:cubicBezTo>
                    <a:cubicBezTo>
                      <a:pt x="-83" y="22630"/>
                      <a:pt x="96" y="22211"/>
                      <a:pt x="515" y="22091"/>
                    </a:cubicBezTo>
                    <a:cubicBezTo>
                      <a:pt x="1711" y="21673"/>
                      <a:pt x="5060" y="19879"/>
                      <a:pt x="6376" y="19221"/>
                    </a:cubicBezTo>
                    <a:cubicBezTo>
                      <a:pt x="5718" y="16470"/>
                      <a:pt x="2369" y="4149"/>
                      <a:pt x="874" y="1039"/>
                    </a:cubicBezTo>
                    <a:cubicBezTo>
                      <a:pt x="694" y="680"/>
                      <a:pt x="874" y="262"/>
                      <a:pt x="1292" y="82"/>
                    </a:cubicBezTo>
                    <a:cubicBezTo>
                      <a:pt x="1651" y="-97"/>
                      <a:pt x="2130" y="23"/>
                      <a:pt x="2309" y="381"/>
                    </a:cubicBezTo>
                    <a:cubicBezTo>
                      <a:pt x="4044" y="3970"/>
                      <a:pt x="7812" y="18144"/>
                      <a:pt x="8051" y="19400"/>
                    </a:cubicBezTo>
                    <a:cubicBezTo>
                      <a:pt x="8110" y="19699"/>
                      <a:pt x="7931" y="19998"/>
                      <a:pt x="7632" y="20118"/>
                    </a:cubicBezTo>
                    <a:cubicBezTo>
                      <a:pt x="7333" y="20237"/>
                      <a:pt x="2608" y="22869"/>
                      <a:pt x="993" y="23407"/>
                    </a:cubicBezTo>
                    <a:close/>
                    <a:moveTo>
                      <a:pt x="7213" y="19580"/>
                    </a:moveTo>
                    <a:lnTo>
                      <a:pt x="7213" y="19580"/>
                    </a:lnTo>
                    <a:lnTo>
                      <a:pt x="7213" y="19580"/>
                    </a:lnTo>
                    <a:close/>
                  </a:path>
                </a:pathLst>
              </a:custGeom>
              <a:grpFill/>
              <a:ln w="6350" cap="flat">
                <a:solidFill>
                  <a:schemeClr val="bg1">
                    <a:alpha val="80000"/>
                  </a:schemeClr>
                </a:solidFill>
                <a:prstDash val="solid"/>
                <a:miter/>
              </a:ln>
            </p:spPr>
            <p:txBody>
              <a:bodyPr rtlCol="0" anchor="ctr"/>
              <a:lstStyle/>
              <a:p>
                <a:endParaRPr lang="en-GB"/>
              </a:p>
            </p:txBody>
          </p:sp>
          <p:sp>
            <p:nvSpPr>
              <p:cNvPr id="9089" name="Vrije vorm: vorm 9088">
                <a:extLst>
                  <a:ext uri="{FF2B5EF4-FFF2-40B4-BE49-F238E27FC236}">
                    <a16:creationId xmlns:a16="http://schemas.microsoft.com/office/drawing/2014/main" id="{5A70EEA2-FCCE-4A7D-9AC9-1F0388FAD45D}"/>
                  </a:ext>
                </a:extLst>
              </p:cNvPr>
              <p:cNvSpPr/>
              <p:nvPr/>
            </p:nvSpPr>
            <p:spPr>
              <a:xfrm>
                <a:off x="5748486" y="1763069"/>
                <a:ext cx="16020" cy="15258"/>
              </a:xfrm>
              <a:custGeom>
                <a:avLst/>
                <a:gdLst>
                  <a:gd name="connsiteX0" fmla="*/ 15454 w 16020"/>
                  <a:gd name="connsiteY0" fmla="*/ 15219 h 15258"/>
                  <a:gd name="connsiteX1" fmla="*/ 14736 w 16020"/>
                  <a:gd name="connsiteY1" fmla="*/ 15159 h 15258"/>
                  <a:gd name="connsiteX2" fmla="*/ 143 w 16020"/>
                  <a:gd name="connsiteY2" fmla="*/ 1164 h 15258"/>
                  <a:gd name="connsiteX3" fmla="*/ 323 w 16020"/>
                  <a:gd name="connsiteY3" fmla="*/ 148 h 15258"/>
                  <a:gd name="connsiteX4" fmla="*/ 1399 w 16020"/>
                  <a:gd name="connsiteY4" fmla="*/ 267 h 15258"/>
                  <a:gd name="connsiteX5" fmla="*/ 15753 w 16020"/>
                  <a:gd name="connsiteY5" fmla="*/ 14023 h 15258"/>
                  <a:gd name="connsiteX6" fmla="*/ 15873 w 16020"/>
                  <a:gd name="connsiteY6" fmla="*/ 14980 h 15258"/>
                  <a:gd name="connsiteX7" fmla="*/ 15454 w 16020"/>
                  <a:gd name="connsiteY7" fmla="*/ 15219 h 1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20" h="15258">
                    <a:moveTo>
                      <a:pt x="15454" y="15219"/>
                    </a:moveTo>
                    <a:cubicBezTo>
                      <a:pt x="15215" y="15279"/>
                      <a:pt x="14916" y="15279"/>
                      <a:pt x="14736" y="15159"/>
                    </a:cubicBezTo>
                    <a:cubicBezTo>
                      <a:pt x="11267" y="12707"/>
                      <a:pt x="1938" y="3377"/>
                      <a:pt x="143" y="1164"/>
                    </a:cubicBezTo>
                    <a:cubicBezTo>
                      <a:pt x="-96" y="865"/>
                      <a:pt x="-36" y="387"/>
                      <a:pt x="323" y="148"/>
                    </a:cubicBezTo>
                    <a:cubicBezTo>
                      <a:pt x="682" y="-92"/>
                      <a:pt x="1160" y="-32"/>
                      <a:pt x="1399" y="267"/>
                    </a:cubicBezTo>
                    <a:cubicBezTo>
                      <a:pt x="3074" y="2420"/>
                      <a:pt x="12404" y="11690"/>
                      <a:pt x="15753" y="14023"/>
                    </a:cubicBezTo>
                    <a:cubicBezTo>
                      <a:pt x="16052" y="14262"/>
                      <a:pt x="16112" y="14681"/>
                      <a:pt x="15873" y="14980"/>
                    </a:cubicBezTo>
                    <a:cubicBezTo>
                      <a:pt x="15694" y="15099"/>
                      <a:pt x="15574" y="15159"/>
                      <a:pt x="15454" y="1521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90" name="Vrije vorm: vorm 9089">
                <a:extLst>
                  <a:ext uri="{FF2B5EF4-FFF2-40B4-BE49-F238E27FC236}">
                    <a16:creationId xmlns:a16="http://schemas.microsoft.com/office/drawing/2014/main" id="{56226062-F9A5-4051-AF96-4DFDAC6AC078}"/>
                  </a:ext>
                </a:extLst>
              </p:cNvPr>
              <p:cNvSpPr/>
              <p:nvPr/>
            </p:nvSpPr>
            <p:spPr>
              <a:xfrm>
                <a:off x="5752261" y="1760024"/>
                <a:ext cx="14258" cy="21359"/>
              </a:xfrm>
              <a:custGeom>
                <a:avLst/>
                <a:gdLst>
                  <a:gd name="connsiteX0" fmla="*/ 9407 w 14258"/>
                  <a:gd name="connsiteY0" fmla="*/ 21314 h 21359"/>
                  <a:gd name="connsiteX1" fmla="*/ 8450 w 14258"/>
                  <a:gd name="connsiteY1" fmla="*/ 20956 h 21359"/>
                  <a:gd name="connsiteX2" fmla="*/ 8869 w 14258"/>
                  <a:gd name="connsiteY2" fmla="*/ 19999 h 21359"/>
                  <a:gd name="connsiteX3" fmla="*/ 10842 w 14258"/>
                  <a:gd name="connsiteY3" fmla="*/ 18503 h 21359"/>
                  <a:gd name="connsiteX4" fmla="*/ 12577 w 14258"/>
                  <a:gd name="connsiteY4" fmla="*/ 15633 h 21359"/>
                  <a:gd name="connsiteX5" fmla="*/ 7015 w 14258"/>
                  <a:gd name="connsiteY5" fmla="*/ 9174 h 21359"/>
                  <a:gd name="connsiteX6" fmla="*/ 197 w 14258"/>
                  <a:gd name="connsiteY6" fmla="*/ 1219 h 21359"/>
                  <a:gd name="connsiteX7" fmla="*/ 256 w 14258"/>
                  <a:gd name="connsiteY7" fmla="*/ 202 h 21359"/>
                  <a:gd name="connsiteX8" fmla="*/ 1333 w 14258"/>
                  <a:gd name="connsiteY8" fmla="*/ 202 h 21359"/>
                  <a:gd name="connsiteX9" fmla="*/ 8210 w 14258"/>
                  <a:gd name="connsiteY9" fmla="*/ 8217 h 21359"/>
                  <a:gd name="connsiteX10" fmla="*/ 13952 w 14258"/>
                  <a:gd name="connsiteY10" fmla="*/ 14855 h 21359"/>
                  <a:gd name="connsiteX11" fmla="*/ 14132 w 14258"/>
                  <a:gd name="connsiteY11" fmla="*/ 15752 h 21359"/>
                  <a:gd name="connsiteX12" fmla="*/ 12098 w 14258"/>
                  <a:gd name="connsiteY12" fmla="*/ 19102 h 21359"/>
                  <a:gd name="connsiteX13" fmla="*/ 9407 w 14258"/>
                  <a:gd name="connsiteY13" fmla="*/ 21314 h 21359"/>
                  <a:gd name="connsiteX14" fmla="*/ 9407 w 14258"/>
                  <a:gd name="connsiteY14" fmla="*/ 21314 h 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58" h="21359">
                    <a:moveTo>
                      <a:pt x="9407" y="21314"/>
                    </a:moveTo>
                    <a:cubicBezTo>
                      <a:pt x="9048" y="21434"/>
                      <a:pt x="8629" y="21314"/>
                      <a:pt x="8450" y="20956"/>
                    </a:cubicBezTo>
                    <a:cubicBezTo>
                      <a:pt x="8270" y="20597"/>
                      <a:pt x="8450" y="20178"/>
                      <a:pt x="8869" y="19999"/>
                    </a:cubicBezTo>
                    <a:cubicBezTo>
                      <a:pt x="9287" y="19819"/>
                      <a:pt x="10364" y="19221"/>
                      <a:pt x="10842" y="18503"/>
                    </a:cubicBezTo>
                    <a:lnTo>
                      <a:pt x="12577" y="15633"/>
                    </a:lnTo>
                    <a:cubicBezTo>
                      <a:pt x="11739" y="14795"/>
                      <a:pt x="10065" y="12822"/>
                      <a:pt x="7015" y="9174"/>
                    </a:cubicBezTo>
                    <a:cubicBezTo>
                      <a:pt x="4263" y="5884"/>
                      <a:pt x="1453" y="2535"/>
                      <a:pt x="197" y="1219"/>
                    </a:cubicBezTo>
                    <a:cubicBezTo>
                      <a:pt x="-102" y="920"/>
                      <a:pt x="-43" y="502"/>
                      <a:pt x="256" y="202"/>
                    </a:cubicBezTo>
                    <a:cubicBezTo>
                      <a:pt x="555" y="-97"/>
                      <a:pt x="1034" y="-37"/>
                      <a:pt x="1333" y="202"/>
                    </a:cubicBezTo>
                    <a:cubicBezTo>
                      <a:pt x="2648" y="1518"/>
                      <a:pt x="5460" y="4927"/>
                      <a:pt x="8210" y="8217"/>
                    </a:cubicBezTo>
                    <a:cubicBezTo>
                      <a:pt x="10663" y="11147"/>
                      <a:pt x="13474" y="14556"/>
                      <a:pt x="13952" y="14855"/>
                    </a:cubicBezTo>
                    <a:cubicBezTo>
                      <a:pt x="14251" y="15035"/>
                      <a:pt x="14371" y="15453"/>
                      <a:pt x="14132" y="15752"/>
                    </a:cubicBezTo>
                    <a:lnTo>
                      <a:pt x="12098" y="19102"/>
                    </a:lnTo>
                    <a:cubicBezTo>
                      <a:pt x="11321" y="20417"/>
                      <a:pt x="9646" y="21195"/>
                      <a:pt x="9407" y="21314"/>
                    </a:cubicBezTo>
                    <a:cubicBezTo>
                      <a:pt x="9407" y="21314"/>
                      <a:pt x="9407" y="21314"/>
                      <a:pt x="9407" y="21314"/>
                    </a:cubicBez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8984" name="Graphic 3">
              <a:extLst>
                <a:ext uri="{FF2B5EF4-FFF2-40B4-BE49-F238E27FC236}">
                  <a16:creationId xmlns:a16="http://schemas.microsoft.com/office/drawing/2014/main" id="{71205D2B-C98B-4280-832D-346E36AFF40E}"/>
                </a:ext>
              </a:extLst>
            </p:cNvPr>
            <p:cNvGrpSpPr/>
            <p:nvPr/>
          </p:nvGrpSpPr>
          <p:grpSpPr>
            <a:xfrm>
              <a:off x="5695301" y="1901921"/>
              <a:ext cx="63323" cy="123994"/>
              <a:chOff x="5695301" y="1901921"/>
              <a:chExt cx="63323" cy="123994"/>
            </a:xfrm>
            <a:grpFill/>
          </p:grpSpPr>
          <p:sp>
            <p:nvSpPr>
              <p:cNvPr id="9059" name="Vrije vorm: vorm 9058">
                <a:extLst>
                  <a:ext uri="{FF2B5EF4-FFF2-40B4-BE49-F238E27FC236}">
                    <a16:creationId xmlns:a16="http://schemas.microsoft.com/office/drawing/2014/main" id="{A9D491DF-1D8C-45A7-AAA5-ED05C5D1B7AD}"/>
                  </a:ext>
                </a:extLst>
              </p:cNvPr>
              <p:cNvSpPr/>
              <p:nvPr/>
            </p:nvSpPr>
            <p:spPr>
              <a:xfrm>
                <a:off x="5696237" y="1901921"/>
                <a:ext cx="18633" cy="21803"/>
              </a:xfrm>
              <a:custGeom>
                <a:avLst/>
                <a:gdLst>
                  <a:gd name="connsiteX0" fmla="*/ 14176 w 18633"/>
                  <a:gd name="connsiteY0" fmla="*/ 21460 h 21803"/>
                  <a:gd name="connsiteX1" fmla="*/ 12800 w 18633"/>
                  <a:gd name="connsiteY1" fmla="*/ 21759 h 21803"/>
                  <a:gd name="connsiteX2" fmla="*/ 4667 w 18633"/>
                  <a:gd name="connsiteY2" fmla="*/ 18529 h 21803"/>
                  <a:gd name="connsiteX3" fmla="*/ 600 w 18633"/>
                  <a:gd name="connsiteY3" fmla="*/ 5611 h 21803"/>
                  <a:gd name="connsiteX4" fmla="*/ 7358 w 18633"/>
                  <a:gd name="connsiteY4" fmla="*/ 348 h 21803"/>
                  <a:gd name="connsiteX5" fmla="*/ 15073 w 18633"/>
                  <a:gd name="connsiteY5" fmla="*/ 1843 h 21803"/>
                  <a:gd name="connsiteX6" fmla="*/ 15073 w 18633"/>
                  <a:gd name="connsiteY6" fmla="*/ 1843 h 21803"/>
                  <a:gd name="connsiteX7" fmla="*/ 18004 w 18633"/>
                  <a:gd name="connsiteY7" fmla="*/ 8123 h 21803"/>
                  <a:gd name="connsiteX8" fmla="*/ 16508 w 18633"/>
                  <a:gd name="connsiteY8" fmla="*/ 19606 h 21803"/>
                  <a:gd name="connsiteX9" fmla="*/ 14176 w 18633"/>
                  <a:gd name="connsiteY9" fmla="*/ 21460 h 21803"/>
                  <a:gd name="connsiteX10" fmla="*/ 6939 w 18633"/>
                  <a:gd name="connsiteY10" fmla="*/ 2680 h 21803"/>
                  <a:gd name="connsiteX11" fmla="*/ 2813 w 18633"/>
                  <a:gd name="connsiteY11" fmla="*/ 6209 h 21803"/>
                  <a:gd name="connsiteX12" fmla="*/ 6401 w 18633"/>
                  <a:gd name="connsiteY12" fmla="*/ 17034 h 21803"/>
                  <a:gd name="connsiteX13" fmla="*/ 12681 w 18633"/>
                  <a:gd name="connsiteY13" fmla="*/ 19665 h 21803"/>
                  <a:gd name="connsiteX14" fmla="*/ 14714 w 18633"/>
                  <a:gd name="connsiteY14" fmla="*/ 18529 h 21803"/>
                  <a:gd name="connsiteX15" fmla="*/ 15791 w 18633"/>
                  <a:gd name="connsiteY15" fmla="*/ 8601 h 21803"/>
                  <a:gd name="connsiteX16" fmla="*/ 15791 w 18633"/>
                  <a:gd name="connsiteY16" fmla="*/ 7883 h 21803"/>
                  <a:gd name="connsiteX17" fmla="*/ 13458 w 18633"/>
                  <a:gd name="connsiteY17" fmla="*/ 3398 h 21803"/>
                  <a:gd name="connsiteX18" fmla="*/ 7836 w 18633"/>
                  <a:gd name="connsiteY18" fmla="*/ 2441 h 21803"/>
                  <a:gd name="connsiteX19" fmla="*/ 6939 w 18633"/>
                  <a:gd name="connsiteY19" fmla="*/ 2680 h 21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633" h="21803">
                    <a:moveTo>
                      <a:pt x="14176" y="21460"/>
                    </a:moveTo>
                    <a:cubicBezTo>
                      <a:pt x="13757" y="21639"/>
                      <a:pt x="13279" y="21699"/>
                      <a:pt x="12800" y="21759"/>
                    </a:cubicBezTo>
                    <a:cubicBezTo>
                      <a:pt x="10169" y="22058"/>
                      <a:pt x="7059" y="20862"/>
                      <a:pt x="4667" y="18529"/>
                    </a:cubicBezTo>
                    <a:cubicBezTo>
                      <a:pt x="1497" y="15479"/>
                      <a:pt x="-1254" y="10455"/>
                      <a:pt x="600" y="5611"/>
                    </a:cubicBezTo>
                    <a:cubicBezTo>
                      <a:pt x="1557" y="3218"/>
                      <a:pt x="4188" y="1125"/>
                      <a:pt x="7358" y="348"/>
                    </a:cubicBezTo>
                    <a:cubicBezTo>
                      <a:pt x="10408" y="-430"/>
                      <a:pt x="13219" y="109"/>
                      <a:pt x="15073" y="1843"/>
                    </a:cubicBezTo>
                    <a:lnTo>
                      <a:pt x="15073" y="1843"/>
                    </a:lnTo>
                    <a:cubicBezTo>
                      <a:pt x="16568" y="3218"/>
                      <a:pt x="18482" y="6089"/>
                      <a:pt x="18004" y="8123"/>
                    </a:cubicBezTo>
                    <a:cubicBezTo>
                      <a:pt x="19499" y="12548"/>
                      <a:pt x="18063" y="17512"/>
                      <a:pt x="16508" y="19606"/>
                    </a:cubicBezTo>
                    <a:cubicBezTo>
                      <a:pt x="15970" y="20503"/>
                      <a:pt x="15133" y="21101"/>
                      <a:pt x="14176" y="21460"/>
                    </a:cubicBezTo>
                    <a:close/>
                    <a:moveTo>
                      <a:pt x="6939" y="2680"/>
                    </a:moveTo>
                    <a:cubicBezTo>
                      <a:pt x="4966" y="3398"/>
                      <a:pt x="3411" y="4714"/>
                      <a:pt x="2813" y="6209"/>
                    </a:cubicBezTo>
                    <a:cubicBezTo>
                      <a:pt x="1258" y="10156"/>
                      <a:pt x="3769" y="14462"/>
                      <a:pt x="6401" y="17034"/>
                    </a:cubicBezTo>
                    <a:cubicBezTo>
                      <a:pt x="8255" y="18828"/>
                      <a:pt x="10767" y="19905"/>
                      <a:pt x="12681" y="19665"/>
                    </a:cubicBezTo>
                    <a:cubicBezTo>
                      <a:pt x="13578" y="19546"/>
                      <a:pt x="14236" y="19187"/>
                      <a:pt x="14714" y="18529"/>
                    </a:cubicBezTo>
                    <a:cubicBezTo>
                      <a:pt x="15970" y="16795"/>
                      <a:pt x="17166" y="12429"/>
                      <a:pt x="15791" y="8601"/>
                    </a:cubicBezTo>
                    <a:cubicBezTo>
                      <a:pt x="15731" y="8362"/>
                      <a:pt x="15731" y="8123"/>
                      <a:pt x="15791" y="7883"/>
                    </a:cubicBezTo>
                    <a:cubicBezTo>
                      <a:pt x="16090" y="7106"/>
                      <a:pt x="15013" y="4773"/>
                      <a:pt x="13458" y="3398"/>
                    </a:cubicBezTo>
                    <a:cubicBezTo>
                      <a:pt x="12143" y="2202"/>
                      <a:pt x="10109" y="1843"/>
                      <a:pt x="7836" y="2441"/>
                    </a:cubicBezTo>
                    <a:cubicBezTo>
                      <a:pt x="7597" y="2501"/>
                      <a:pt x="7238" y="2561"/>
                      <a:pt x="6939" y="268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60" name="Vrije vorm: vorm 9059">
                <a:extLst>
                  <a:ext uri="{FF2B5EF4-FFF2-40B4-BE49-F238E27FC236}">
                    <a16:creationId xmlns:a16="http://schemas.microsoft.com/office/drawing/2014/main" id="{4D58B8F0-2288-49B2-9047-F738346907F5}"/>
                  </a:ext>
                </a:extLst>
              </p:cNvPr>
              <p:cNvSpPr/>
              <p:nvPr/>
            </p:nvSpPr>
            <p:spPr>
              <a:xfrm>
                <a:off x="5697086" y="1903003"/>
                <a:ext cx="16059" cy="14696"/>
              </a:xfrm>
              <a:custGeom>
                <a:avLst/>
                <a:gdLst>
                  <a:gd name="connsiteX0" fmla="*/ 16018 w 16059"/>
                  <a:gd name="connsiteY0" fmla="*/ 7101 h 14696"/>
                  <a:gd name="connsiteX1" fmla="*/ 3398 w 16059"/>
                  <a:gd name="connsiteY1" fmla="*/ 8895 h 14696"/>
                  <a:gd name="connsiteX2" fmla="*/ 3578 w 16059"/>
                  <a:gd name="connsiteY2" fmla="*/ 14696 h 14696"/>
                  <a:gd name="connsiteX3" fmla="*/ 109 w 16059"/>
                  <a:gd name="connsiteY3" fmla="*/ 9433 h 14696"/>
                  <a:gd name="connsiteX4" fmla="*/ 5372 w 16059"/>
                  <a:gd name="connsiteY4" fmla="*/ 821 h 14696"/>
                  <a:gd name="connsiteX5" fmla="*/ 16018 w 16059"/>
                  <a:gd name="connsiteY5" fmla="*/ 7101 h 1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59" h="14696">
                    <a:moveTo>
                      <a:pt x="16018" y="7101"/>
                    </a:moveTo>
                    <a:cubicBezTo>
                      <a:pt x="9439" y="10151"/>
                      <a:pt x="3398" y="8895"/>
                      <a:pt x="3398" y="8895"/>
                    </a:cubicBezTo>
                    <a:cubicBezTo>
                      <a:pt x="3398" y="8895"/>
                      <a:pt x="3219" y="10569"/>
                      <a:pt x="3578" y="14696"/>
                    </a:cubicBezTo>
                    <a:cubicBezTo>
                      <a:pt x="3578" y="14696"/>
                      <a:pt x="468" y="12124"/>
                      <a:pt x="109" y="9433"/>
                    </a:cubicBezTo>
                    <a:cubicBezTo>
                      <a:pt x="-250" y="6742"/>
                      <a:pt x="-11" y="3452"/>
                      <a:pt x="5372" y="821"/>
                    </a:cubicBezTo>
                    <a:cubicBezTo>
                      <a:pt x="10755" y="-1811"/>
                      <a:pt x="16616" y="2316"/>
                      <a:pt x="16018" y="710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61" name="Vrije vorm: vorm 9060">
                <a:extLst>
                  <a:ext uri="{FF2B5EF4-FFF2-40B4-BE49-F238E27FC236}">
                    <a16:creationId xmlns:a16="http://schemas.microsoft.com/office/drawing/2014/main" id="{5FDB77F3-C283-4E4D-A967-59E7A14B97A2}"/>
                  </a:ext>
                </a:extLst>
              </p:cNvPr>
              <p:cNvSpPr/>
              <p:nvPr/>
            </p:nvSpPr>
            <p:spPr>
              <a:xfrm>
                <a:off x="5695301" y="1921314"/>
                <a:ext cx="27952" cy="34018"/>
              </a:xfrm>
              <a:custGeom>
                <a:avLst/>
                <a:gdLst>
                  <a:gd name="connsiteX0" fmla="*/ 15171 w 27952"/>
                  <a:gd name="connsiteY0" fmla="*/ 33645 h 34018"/>
                  <a:gd name="connsiteX1" fmla="*/ 12600 w 27952"/>
                  <a:gd name="connsiteY1" fmla="*/ 34003 h 34018"/>
                  <a:gd name="connsiteX2" fmla="*/ 8294 w 27952"/>
                  <a:gd name="connsiteY2" fmla="*/ 31073 h 34018"/>
                  <a:gd name="connsiteX3" fmla="*/ 40 w 27952"/>
                  <a:gd name="connsiteY3" fmla="*/ 11396 h 34018"/>
                  <a:gd name="connsiteX4" fmla="*/ 9609 w 27952"/>
                  <a:gd name="connsiteY4" fmla="*/ 93 h 34018"/>
                  <a:gd name="connsiteX5" fmla="*/ 11104 w 27952"/>
                  <a:gd name="connsiteY5" fmla="*/ 631 h 34018"/>
                  <a:gd name="connsiteX6" fmla="*/ 10447 w 27952"/>
                  <a:gd name="connsiteY6" fmla="*/ 2066 h 34018"/>
                  <a:gd name="connsiteX7" fmla="*/ 2313 w 27952"/>
                  <a:gd name="connsiteY7" fmla="*/ 11097 h 34018"/>
                  <a:gd name="connsiteX8" fmla="*/ 10327 w 27952"/>
                  <a:gd name="connsiteY8" fmla="*/ 30056 h 34018"/>
                  <a:gd name="connsiteX9" fmla="*/ 12958 w 27952"/>
                  <a:gd name="connsiteY9" fmla="*/ 31970 h 34018"/>
                  <a:gd name="connsiteX10" fmla="*/ 16367 w 27952"/>
                  <a:gd name="connsiteY10" fmla="*/ 30535 h 34018"/>
                  <a:gd name="connsiteX11" fmla="*/ 22946 w 27952"/>
                  <a:gd name="connsiteY11" fmla="*/ 15045 h 34018"/>
                  <a:gd name="connsiteX12" fmla="*/ 24621 w 27952"/>
                  <a:gd name="connsiteY12" fmla="*/ 10200 h 34018"/>
                  <a:gd name="connsiteX13" fmla="*/ 25398 w 27952"/>
                  <a:gd name="connsiteY13" fmla="*/ 8406 h 34018"/>
                  <a:gd name="connsiteX14" fmla="*/ 20614 w 27952"/>
                  <a:gd name="connsiteY14" fmla="*/ 10559 h 34018"/>
                  <a:gd name="connsiteX15" fmla="*/ 20195 w 27952"/>
                  <a:gd name="connsiteY15" fmla="*/ 11935 h 34018"/>
                  <a:gd name="connsiteX16" fmla="*/ 20135 w 27952"/>
                  <a:gd name="connsiteY16" fmla="*/ 13250 h 34018"/>
                  <a:gd name="connsiteX17" fmla="*/ 14812 w 27952"/>
                  <a:gd name="connsiteY17" fmla="*/ 24913 h 34018"/>
                  <a:gd name="connsiteX18" fmla="*/ 13736 w 27952"/>
                  <a:gd name="connsiteY18" fmla="*/ 25272 h 34018"/>
                  <a:gd name="connsiteX19" fmla="*/ 12898 w 27952"/>
                  <a:gd name="connsiteY19" fmla="*/ 24614 h 34018"/>
                  <a:gd name="connsiteX20" fmla="*/ 9250 w 27952"/>
                  <a:gd name="connsiteY20" fmla="*/ 15284 h 34018"/>
                  <a:gd name="connsiteX21" fmla="*/ 9968 w 27952"/>
                  <a:gd name="connsiteY21" fmla="*/ 13908 h 34018"/>
                  <a:gd name="connsiteX22" fmla="*/ 11403 w 27952"/>
                  <a:gd name="connsiteY22" fmla="*/ 14446 h 34018"/>
                  <a:gd name="connsiteX23" fmla="*/ 14334 w 27952"/>
                  <a:gd name="connsiteY23" fmla="*/ 21863 h 34018"/>
                  <a:gd name="connsiteX24" fmla="*/ 17863 w 27952"/>
                  <a:gd name="connsiteY24" fmla="*/ 13131 h 34018"/>
                  <a:gd name="connsiteX25" fmla="*/ 17922 w 27952"/>
                  <a:gd name="connsiteY25" fmla="*/ 11994 h 34018"/>
                  <a:gd name="connsiteX26" fmla="*/ 20195 w 27952"/>
                  <a:gd name="connsiteY26" fmla="*/ 8406 h 34018"/>
                  <a:gd name="connsiteX27" fmla="*/ 26056 w 27952"/>
                  <a:gd name="connsiteY27" fmla="*/ 5535 h 34018"/>
                  <a:gd name="connsiteX28" fmla="*/ 26953 w 27952"/>
                  <a:gd name="connsiteY28" fmla="*/ 5416 h 34018"/>
                  <a:gd name="connsiteX29" fmla="*/ 27671 w 27952"/>
                  <a:gd name="connsiteY29" fmla="*/ 5954 h 34018"/>
                  <a:gd name="connsiteX30" fmla="*/ 26714 w 27952"/>
                  <a:gd name="connsiteY30" fmla="*/ 10918 h 34018"/>
                  <a:gd name="connsiteX31" fmla="*/ 25219 w 27952"/>
                  <a:gd name="connsiteY31" fmla="*/ 15164 h 34018"/>
                  <a:gd name="connsiteX32" fmla="*/ 17982 w 27952"/>
                  <a:gd name="connsiteY32" fmla="*/ 31970 h 34018"/>
                  <a:gd name="connsiteX33" fmla="*/ 15171 w 27952"/>
                  <a:gd name="connsiteY33" fmla="*/ 33645 h 3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952" h="34018">
                    <a:moveTo>
                      <a:pt x="15171" y="33645"/>
                    </a:moveTo>
                    <a:cubicBezTo>
                      <a:pt x="14334" y="33944"/>
                      <a:pt x="13437" y="34063"/>
                      <a:pt x="12600" y="34003"/>
                    </a:cubicBezTo>
                    <a:cubicBezTo>
                      <a:pt x="10805" y="33824"/>
                      <a:pt x="9250" y="32747"/>
                      <a:pt x="8294" y="31073"/>
                    </a:cubicBezTo>
                    <a:cubicBezTo>
                      <a:pt x="6499" y="27843"/>
                      <a:pt x="698" y="17018"/>
                      <a:pt x="40" y="11396"/>
                    </a:cubicBezTo>
                    <a:cubicBezTo>
                      <a:pt x="-498" y="6791"/>
                      <a:pt x="4466" y="2246"/>
                      <a:pt x="9609" y="93"/>
                    </a:cubicBezTo>
                    <a:cubicBezTo>
                      <a:pt x="10207" y="-146"/>
                      <a:pt x="10865" y="93"/>
                      <a:pt x="11104" y="631"/>
                    </a:cubicBezTo>
                    <a:cubicBezTo>
                      <a:pt x="11343" y="1169"/>
                      <a:pt x="11044" y="1767"/>
                      <a:pt x="10447" y="2066"/>
                    </a:cubicBezTo>
                    <a:cubicBezTo>
                      <a:pt x="6140" y="3861"/>
                      <a:pt x="1954" y="7748"/>
                      <a:pt x="2313" y="11097"/>
                    </a:cubicBezTo>
                    <a:cubicBezTo>
                      <a:pt x="2791" y="15284"/>
                      <a:pt x="6798" y="23657"/>
                      <a:pt x="10327" y="30056"/>
                    </a:cubicBezTo>
                    <a:cubicBezTo>
                      <a:pt x="10925" y="31193"/>
                      <a:pt x="11882" y="31850"/>
                      <a:pt x="12958" y="31970"/>
                    </a:cubicBezTo>
                    <a:cubicBezTo>
                      <a:pt x="14095" y="32090"/>
                      <a:pt x="15291" y="31551"/>
                      <a:pt x="16367" y="30535"/>
                    </a:cubicBezTo>
                    <a:cubicBezTo>
                      <a:pt x="18999" y="27963"/>
                      <a:pt x="22587" y="18155"/>
                      <a:pt x="22946" y="15045"/>
                    </a:cubicBezTo>
                    <a:cubicBezTo>
                      <a:pt x="23126" y="13370"/>
                      <a:pt x="23903" y="11695"/>
                      <a:pt x="24621" y="10200"/>
                    </a:cubicBezTo>
                    <a:cubicBezTo>
                      <a:pt x="24920" y="9602"/>
                      <a:pt x="25219" y="8944"/>
                      <a:pt x="25398" y="8406"/>
                    </a:cubicBezTo>
                    <a:cubicBezTo>
                      <a:pt x="23903" y="9243"/>
                      <a:pt x="21810" y="10260"/>
                      <a:pt x="20614" y="10559"/>
                    </a:cubicBezTo>
                    <a:cubicBezTo>
                      <a:pt x="20255" y="10619"/>
                      <a:pt x="20195" y="10679"/>
                      <a:pt x="20195" y="11935"/>
                    </a:cubicBezTo>
                    <a:cubicBezTo>
                      <a:pt x="20195" y="12353"/>
                      <a:pt x="20195" y="12772"/>
                      <a:pt x="20135" y="13250"/>
                    </a:cubicBezTo>
                    <a:cubicBezTo>
                      <a:pt x="19956" y="15284"/>
                      <a:pt x="17025" y="22760"/>
                      <a:pt x="14812" y="24913"/>
                    </a:cubicBezTo>
                    <a:cubicBezTo>
                      <a:pt x="14513" y="25212"/>
                      <a:pt x="14155" y="25331"/>
                      <a:pt x="13736" y="25272"/>
                    </a:cubicBezTo>
                    <a:cubicBezTo>
                      <a:pt x="13377" y="25212"/>
                      <a:pt x="13018" y="24973"/>
                      <a:pt x="12898" y="24614"/>
                    </a:cubicBezTo>
                    <a:lnTo>
                      <a:pt x="9250" y="15284"/>
                    </a:lnTo>
                    <a:cubicBezTo>
                      <a:pt x="9011" y="14746"/>
                      <a:pt x="9370" y="14147"/>
                      <a:pt x="9968" y="13908"/>
                    </a:cubicBezTo>
                    <a:cubicBezTo>
                      <a:pt x="10566" y="13669"/>
                      <a:pt x="11224" y="13908"/>
                      <a:pt x="11403" y="14446"/>
                    </a:cubicBezTo>
                    <a:lnTo>
                      <a:pt x="14334" y="21863"/>
                    </a:lnTo>
                    <a:cubicBezTo>
                      <a:pt x="15949" y="19171"/>
                      <a:pt x="17743" y="14446"/>
                      <a:pt x="17863" y="13131"/>
                    </a:cubicBezTo>
                    <a:cubicBezTo>
                      <a:pt x="17922" y="12772"/>
                      <a:pt x="17922" y="12353"/>
                      <a:pt x="17922" y="11994"/>
                    </a:cubicBezTo>
                    <a:cubicBezTo>
                      <a:pt x="17922" y="10738"/>
                      <a:pt x="17922" y="8884"/>
                      <a:pt x="20195" y="8406"/>
                    </a:cubicBezTo>
                    <a:cubicBezTo>
                      <a:pt x="21332" y="8167"/>
                      <a:pt x="24441" y="6492"/>
                      <a:pt x="26056" y="5535"/>
                    </a:cubicBezTo>
                    <a:cubicBezTo>
                      <a:pt x="26355" y="5356"/>
                      <a:pt x="26654" y="5296"/>
                      <a:pt x="26953" y="5416"/>
                    </a:cubicBezTo>
                    <a:cubicBezTo>
                      <a:pt x="27252" y="5535"/>
                      <a:pt x="27491" y="5655"/>
                      <a:pt x="27671" y="5954"/>
                    </a:cubicBezTo>
                    <a:cubicBezTo>
                      <a:pt x="28389" y="7270"/>
                      <a:pt x="27611" y="8944"/>
                      <a:pt x="26714" y="10918"/>
                    </a:cubicBezTo>
                    <a:cubicBezTo>
                      <a:pt x="26116" y="12234"/>
                      <a:pt x="25398" y="13789"/>
                      <a:pt x="25219" y="15164"/>
                    </a:cubicBezTo>
                    <a:cubicBezTo>
                      <a:pt x="24800" y="18573"/>
                      <a:pt x="21033" y="28980"/>
                      <a:pt x="17982" y="31970"/>
                    </a:cubicBezTo>
                    <a:cubicBezTo>
                      <a:pt x="17145" y="32688"/>
                      <a:pt x="16188" y="33286"/>
                      <a:pt x="15171" y="3364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62" name="Vrije vorm: vorm 9061">
                <a:extLst>
                  <a:ext uri="{FF2B5EF4-FFF2-40B4-BE49-F238E27FC236}">
                    <a16:creationId xmlns:a16="http://schemas.microsoft.com/office/drawing/2014/main" id="{DEEAF89E-3182-4E71-9333-684D83A9C01E}"/>
                  </a:ext>
                </a:extLst>
              </p:cNvPr>
              <p:cNvSpPr/>
              <p:nvPr/>
            </p:nvSpPr>
            <p:spPr>
              <a:xfrm>
                <a:off x="5713697" y="1917579"/>
                <a:ext cx="22866" cy="24501"/>
              </a:xfrm>
              <a:custGeom>
                <a:avLst/>
                <a:gdLst>
                  <a:gd name="connsiteX0" fmla="*/ 20698 w 22866"/>
                  <a:gd name="connsiteY0" fmla="*/ 24043 h 24501"/>
                  <a:gd name="connsiteX1" fmla="*/ 20339 w 22866"/>
                  <a:gd name="connsiteY1" fmla="*/ 24162 h 24501"/>
                  <a:gd name="connsiteX2" fmla="*/ 4969 w 22866"/>
                  <a:gd name="connsiteY2" fmla="*/ 19617 h 24501"/>
                  <a:gd name="connsiteX3" fmla="*/ 4730 w 22866"/>
                  <a:gd name="connsiteY3" fmla="*/ 18122 h 24501"/>
                  <a:gd name="connsiteX4" fmla="*/ 6345 w 22866"/>
                  <a:gd name="connsiteY4" fmla="*/ 17823 h 24501"/>
                  <a:gd name="connsiteX5" fmla="*/ 19801 w 22866"/>
                  <a:gd name="connsiteY5" fmla="*/ 22069 h 24501"/>
                  <a:gd name="connsiteX6" fmla="*/ 19921 w 22866"/>
                  <a:gd name="connsiteY6" fmla="*/ 22009 h 24501"/>
                  <a:gd name="connsiteX7" fmla="*/ 19921 w 22866"/>
                  <a:gd name="connsiteY7" fmla="*/ 22009 h 24501"/>
                  <a:gd name="connsiteX8" fmla="*/ 20459 w 22866"/>
                  <a:gd name="connsiteY8" fmla="*/ 21650 h 24501"/>
                  <a:gd name="connsiteX9" fmla="*/ 20040 w 22866"/>
                  <a:gd name="connsiteY9" fmla="*/ 19497 h 24501"/>
                  <a:gd name="connsiteX10" fmla="*/ 16332 w 22866"/>
                  <a:gd name="connsiteY10" fmla="*/ 14593 h 24501"/>
                  <a:gd name="connsiteX11" fmla="*/ 12325 w 22866"/>
                  <a:gd name="connsiteY11" fmla="*/ 9569 h 24501"/>
                  <a:gd name="connsiteX12" fmla="*/ 1022 w 22866"/>
                  <a:gd name="connsiteY12" fmla="*/ 2093 h 24501"/>
                  <a:gd name="connsiteX13" fmla="*/ 5 w 22866"/>
                  <a:gd name="connsiteY13" fmla="*/ 1017 h 24501"/>
                  <a:gd name="connsiteX14" fmla="*/ 1261 w 22866"/>
                  <a:gd name="connsiteY14" fmla="*/ 0 h 24501"/>
                  <a:gd name="connsiteX15" fmla="*/ 14299 w 22866"/>
                  <a:gd name="connsiteY15" fmla="*/ 8373 h 24501"/>
                  <a:gd name="connsiteX16" fmla="*/ 18186 w 22866"/>
                  <a:gd name="connsiteY16" fmla="*/ 13217 h 24501"/>
                  <a:gd name="connsiteX17" fmla="*/ 22133 w 22866"/>
                  <a:gd name="connsiteY17" fmla="*/ 18540 h 24501"/>
                  <a:gd name="connsiteX18" fmla="*/ 22492 w 22866"/>
                  <a:gd name="connsiteY18" fmla="*/ 22607 h 24501"/>
                  <a:gd name="connsiteX19" fmla="*/ 20698 w 22866"/>
                  <a:gd name="connsiteY19" fmla="*/ 24043 h 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866" h="24501">
                    <a:moveTo>
                      <a:pt x="20698" y="24043"/>
                    </a:moveTo>
                    <a:cubicBezTo>
                      <a:pt x="20519" y="24102"/>
                      <a:pt x="20399" y="24162"/>
                      <a:pt x="20339" y="24162"/>
                    </a:cubicBezTo>
                    <a:cubicBezTo>
                      <a:pt x="15196" y="25717"/>
                      <a:pt x="7899" y="21531"/>
                      <a:pt x="4969" y="19617"/>
                    </a:cubicBezTo>
                    <a:cubicBezTo>
                      <a:pt x="4491" y="19318"/>
                      <a:pt x="4371" y="18660"/>
                      <a:pt x="4730" y="18122"/>
                    </a:cubicBezTo>
                    <a:cubicBezTo>
                      <a:pt x="5089" y="17643"/>
                      <a:pt x="5806" y="17524"/>
                      <a:pt x="6345" y="17823"/>
                    </a:cubicBezTo>
                    <a:cubicBezTo>
                      <a:pt x="10591" y="20574"/>
                      <a:pt x="16392" y="23145"/>
                      <a:pt x="19801" y="22069"/>
                    </a:cubicBezTo>
                    <a:cubicBezTo>
                      <a:pt x="19861" y="22069"/>
                      <a:pt x="19921" y="22069"/>
                      <a:pt x="19921" y="22009"/>
                    </a:cubicBezTo>
                    <a:lnTo>
                      <a:pt x="19921" y="22009"/>
                    </a:lnTo>
                    <a:cubicBezTo>
                      <a:pt x="19921" y="22009"/>
                      <a:pt x="20279" y="21889"/>
                      <a:pt x="20459" y="21650"/>
                    </a:cubicBezTo>
                    <a:cubicBezTo>
                      <a:pt x="20579" y="21471"/>
                      <a:pt x="20758" y="20873"/>
                      <a:pt x="20040" y="19497"/>
                    </a:cubicBezTo>
                    <a:cubicBezTo>
                      <a:pt x="19084" y="17703"/>
                      <a:pt x="17828" y="16208"/>
                      <a:pt x="16332" y="14593"/>
                    </a:cubicBezTo>
                    <a:cubicBezTo>
                      <a:pt x="15076" y="13217"/>
                      <a:pt x="13701" y="11603"/>
                      <a:pt x="12325" y="9569"/>
                    </a:cubicBezTo>
                    <a:cubicBezTo>
                      <a:pt x="9514" y="5442"/>
                      <a:pt x="6883" y="2213"/>
                      <a:pt x="1022" y="2093"/>
                    </a:cubicBezTo>
                    <a:cubicBezTo>
                      <a:pt x="423" y="2093"/>
                      <a:pt x="-55" y="1615"/>
                      <a:pt x="5" y="1017"/>
                    </a:cubicBezTo>
                    <a:cubicBezTo>
                      <a:pt x="65" y="419"/>
                      <a:pt x="603" y="0"/>
                      <a:pt x="1261" y="0"/>
                    </a:cubicBezTo>
                    <a:cubicBezTo>
                      <a:pt x="8199" y="179"/>
                      <a:pt x="11368" y="4067"/>
                      <a:pt x="14299" y="8373"/>
                    </a:cubicBezTo>
                    <a:cubicBezTo>
                      <a:pt x="15615" y="10287"/>
                      <a:pt x="16930" y="11782"/>
                      <a:pt x="18186" y="13217"/>
                    </a:cubicBezTo>
                    <a:cubicBezTo>
                      <a:pt x="19682" y="14892"/>
                      <a:pt x="21057" y="16507"/>
                      <a:pt x="22133" y="18540"/>
                    </a:cubicBezTo>
                    <a:cubicBezTo>
                      <a:pt x="22971" y="20155"/>
                      <a:pt x="23091" y="21531"/>
                      <a:pt x="22492" y="22607"/>
                    </a:cubicBezTo>
                    <a:cubicBezTo>
                      <a:pt x="21954" y="23444"/>
                      <a:pt x="21237" y="23863"/>
                      <a:pt x="20698" y="2404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63" name="Vrije vorm: vorm 9062">
                <a:extLst>
                  <a:ext uri="{FF2B5EF4-FFF2-40B4-BE49-F238E27FC236}">
                    <a16:creationId xmlns:a16="http://schemas.microsoft.com/office/drawing/2014/main" id="{5F14895C-976B-4E50-A0F5-96E2C464F456}"/>
                  </a:ext>
                </a:extLst>
              </p:cNvPr>
              <p:cNvSpPr/>
              <p:nvPr/>
            </p:nvSpPr>
            <p:spPr>
              <a:xfrm>
                <a:off x="5720488" y="1930206"/>
                <a:ext cx="8197" cy="4208"/>
              </a:xfrm>
              <a:custGeom>
                <a:avLst/>
                <a:gdLst>
                  <a:gd name="connsiteX0" fmla="*/ 7448 w 8197"/>
                  <a:gd name="connsiteY0" fmla="*/ 4119 h 4208"/>
                  <a:gd name="connsiteX1" fmla="*/ 6611 w 8197"/>
                  <a:gd name="connsiteY1" fmla="*/ 4119 h 4208"/>
                  <a:gd name="connsiteX2" fmla="*/ 690 w 8197"/>
                  <a:gd name="connsiteY2" fmla="*/ 2086 h 4208"/>
                  <a:gd name="connsiteX3" fmla="*/ 92 w 8197"/>
                  <a:gd name="connsiteY3" fmla="*/ 710 h 4208"/>
                  <a:gd name="connsiteX4" fmla="*/ 1587 w 8197"/>
                  <a:gd name="connsiteY4" fmla="*/ 52 h 4208"/>
                  <a:gd name="connsiteX5" fmla="*/ 7508 w 8197"/>
                  <a:gd name="connsiteY5" fmla="*/ 2086 h 4208"/>
                  <a:gd name="connsiteX6" fmla="*/ 8106 w 8197"/>
                  <a:gd name="connsiteY6" fmla="*/ 3461 h 4208"/>
                  <a:gd name="connsiteX7" fmla="*/ 7448 w 8197"/>
                  <a:gd name="connsiteY7" fmla="*/ 4119 h 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7" h="4208">
                    <a:moveTo>
                      <a:pt x="7448" y="4119"/>
                    </a:moveTo>
                    <a:cubicBezTo>
                      <a:pt x="7209" y="4239"/>
                      <a:pt x="6910" y="4239"/>
                      <a:pt x="6611" y="4119"/>
                    </a:cubicBezTo>
                    <a:lnTo>
                      <a:pt x="690" y="2086"/>
                    </a:lnTo>
                    <a:cubicBezTo>
                      <a:pt x="92" y="1906"/>
                      <a:pt x="-147" y="1248"/>
                      <a:pt x="92" y="710"/>
                    </a:cubicBezTo>
                    <a:cubicBezTo>
                      <a:pt x="331" y="172"/>
                      <a:pt x="989" y="-127"/>
                      <a:pt x="1587" y="52"/>
                    </a:cubicBezTo>
                    <a:lnTo>
                      <a:pt x="7508" y="2086"/>
                    </a:lnTo>
                    <a:cubicBezTo>
                      <a:pt x="8106" y="2265"/>
                      <a:pt x="8345" y="2923"/>
                      <a:pt x="8106" y="3461"/>
                    </a:cubicBezTo>
                    <a:cubicBezTo>
                      <a:pt x="7986" y="3760"/>
                      <a:pt x="7747" y="3999"/>
                      <a:pt x="7448" y="411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64" name="Vrije vorm: vorm 9063">
                <a:extLst>
                  <a:ext uri="{FF2B5EF4-FFF2-40B4-BE49-F238E27FC236}">
                    <a16:creationId xmlns:a16="http://schemas.microsoft.com/office/drawing/2014/main" id="{5EDA3E8F-B5A9-4BFA-B923-824A9152EC7E}"/>
                  </a:ext>
                </a:extLst>
              </p:cNvPr>
              <p:cNvSpPr/>
              <p:nvPr/>
            </p:nvSpPr>
            <p:spPr>
              <a:xfrm>
                <a:off x="5711347" y="1940153"/>
                <a:ext cx="41947" cy="84747"/>
              </a:xfrm>
              <a:custGeom>
                <a:avLst/>
                <a:gdLst>
                  <a:gd name="connsiteX0" fmla="*/ 30644 w 41947"/>
                  <a:gd name="connsiteY0" fmla="*/ 84002 h 84747"/>
                  <a:gd name="connsiteX1" fmla="*/ 24783 w 41947"/>
                  <a:gd name="connsiteY1" fmla="*/ 84660 h 84747"/>
                  <a:gd name="connsiteX2" fmla="*/ 23886 w 41947"/>
                  <a:gd name="connsiteY2" fmla="*/ 83943 h 84747"/>
                  <a:gd name="connsiteX3" fmla="*/ 8754 w 41947"/>
                  <a:gd name="connsiteY3" fmla="*/ 33525 h 84747"/>
                  <a:gd name="connsiteX4" fmla="*/ 142 w 41947"/>
                  <a:gd name="connsiteY4" fmla="*/ 12832 h 84747"/>
                  <a:gd name="connsiteX5" fmla="*/ 620 w 41947"/>
                  <a:gd name="connsiteY5" fmla="*/ 11396 h 84747"/>
                  <a:gd name="connsiteX6" fmla="*/ 2175 w 41947"/>
                  <a:gd name="connsiteY6" fmla="*/ 11755 h 84747"/>
                  <a:gd name="connsiteX7" fmla="*/ 10967 w 41947"/>
                  <a:gd name="connsiteY7" fmla="*/ 32807 h 84747"/>
                  <a:gd name="connsiteX8" fmla="*/ 25979 w 41947"/>
                  <a:gd name="connsiteY8" fmla="*/ 82627 h 84747"/>
                  <a:gd name="connsiteX9" fmla="*/ 32498 w 41947"/>
                  <a:gd name="connsiteY9" fmla="*/ 80115 h 84747"/>
                  <a:gd name="connsiteX10" fmla="*/ 33574 w 41947"/>
                  <a:gd name="connsiteY10" fmla="*/ 79517 h 84747"/>
                  <a:gd name="connsiteX11" fmla="*/ 39675 w 41947"/>
                  <a:gd name="connsiteY11" fmla="*/ 76826 h 84747"/>
                  <a:gd name="connsiteX12" fmla="*/ 32677 w 41947"/>
                  <a:gd name="connsiteY12" fmla="*/ 42915 h 84747"/>
                  <a:gd name="connsiteX13" fmla="*/ 31062 w 41947"/>
                  <a:gd name="connsiteY13" fmla="*/ 37114 h 84747"/>
                  <a:gd name="connsiteX14" fmla="*/ 15512 w 41947"/>
                  <a:gd name="connsiteY14" fmla="*/ 1708 h 84747"/>
                  <a:gd name="connsiteX15" fmla="*/ 15812 w 41947"/>
                  <a:gd name="connsiteY15" fmla="*/ 212 h 84747"/>
                  <a:gd name="connsiteX16" fmla="*/ 17366 w 41947"/>
                  <a:gd name="connsiteY16" fmla="*/ 392 h 84747"/>
                  <a:gd name="connsiteX17" fmla="*/ 33215 w 41947"/>
                  <a:gd name="connsiteY17" fmla="*/ 36396 h 84747"/>
                  <a:gd name="connsiteX18" fmla="*/ 34830 w 41947"/>
                  <a:gd name="connsiteY18" fmla="*/ 42137 h 84747"/>
                  <a:gd name="connsiteX19" fmla="*/ 41947 w 41947"/>
                  <a:gd name="connsiteY19" fmla="*/ 76586 h 84747"/>
                  <a:gd name="connsiteX20" fmla="*/ 41888 w 41947"/>
                  <a:gd name="connsiteY20" fmla="*/ 77065 h 84747"/>
                  <a:gd name="connsiteX21" fmla="*/ 34053 w 41947"/>
                  <a:gd name="connsiteY21" fmla="*/ 81491 h 84747"/>
                  <a:gd name="connsiteX22" fmla="*/ 30644 w 41947"/>
                  <a:gd name="connsiteY22" fmla="*/ 84002 h 8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947" h="84747">
                    <a:moveTo>
                      <a:pt x="30644" y="84002"/>
                    </a:moveTo>
                    <a:cubicBezTo>
                      <a:pt x="27892" y="85019"/>
                      <a:pt x="24962" y="84720"/>
                      <a:pt x="24783" y="84660"/>
                    </a:cubicBezTo>
                    <a:cubicBezTo>
                      <a:pt x="24364" y="84600"/>
                      <a:pt x="24005" y="84361"/>
                      <a:pt x="23886" y="83943"/>
                    </a:cubicBezTo>
                    <a:cubicBezTo>
                      <a:pt x="23766" y="83524"/>
                      <a:pt x="11326" y="40642"/>
                      <a:pt x="8754" y="33525"/>
                    </a:cubicBezTo>
                    <a:cubicBezTo>
                      <a:pt x="6123" y="26288"/>
                      <a:pt x="2773" y="17198"/>
                      <a:pt x="142" y="12832"/>
                    </a:cubicBezTo>
                    <a:cubicBezTo>
                      <a:pt x="-157" y="12353"/>
                      <a:pt x="22" y="11696"/>
                      <a:pt x="620" y="11396"/>
                    </a:cubicBezTo>
                    <a:cubicBezTo>
                      <a:pt x="1159" y="11097"/>
                      <a:pt x="1876" y="11217"/>
                      <a:pt x="2175" y="11755"/>
                    </a:cubicBezTo>
                    <a:cubicBezTo>
                      <a:pt x="4927" y="16301"/>
                      <a:pt x="8276" y="25451"/>
                      <a:pt x="10967" y="32807"/>
                    </a:cubicBezTo>
                    <a:cubicBezTo>
                      <a:pt x="13419" y="39566"/>
                      <a:pt x="24304" y="76885"/>
                      <a:pt x="25979" y="82627"/>
                    </a:cubicBezTo>
                    <a:cubicBezTo>
                      <a:pt x="27534" y="82687"/>
                      <a:pt x="31122" y="82507"/>
                      <a:pt x="32498" y="80115"/>
                    </a:cubicBezTo>
                    <a:cubicBezTo>
                      <a:pt x="32737" y="79756"/>
                      <a:pt x="33156" y="79517"/>
                      <a:pt x="33574" y="79517"/>
                    </a:cubicBezTo>
                    <a:cubicBezTo>
                      <a:pt x="33634" y="79517"/>
                      <a:pt x="38478" y="79517"/>
                      <a:pt x="39675" y="76826"/>
                    </a:cubicBezTo>
                    <a:cubicBezTo>
                      <a:pt x="39256" y="74194"/>
                      <a:pt x="35847" y="53620"/>
                      <a:pt x="32677" y="42915"/>
                    </a:cubicBezTo>
                    <a:cubicBezTo>
                      <a:pt x="32139" y="41061"/>
                      <a:pt x="31601" y="39147"/>
                      <a:pt x="31062" y="37114"/>
                    </a:cubicBezTo>
                    <a:cubicBezTo>
                      <a:pt x="28132" y="26288"/>
                      <a:pt x="24723" y="14028"/>
                      <a:pt x="15512" y="1708"/>
                    </a:cubicBezTo>
                    <a:cubicBezTo>
                      <a:pt x="15154" y="1229"/>
                      <a:pt x="15273" y="571"/>
                      <a:pt x="15812" y="212"/>
                    </a:cubicBezTo>
                    <a:cubicBezTo>
                      <a:pt x="16350" y="-146"/>
                      <a:pt x="17067" y="-27"/>
                      <a:pt x="17366" y="392"/>
                    </a:cubicBezTo>
                    <a:cubicBezTo>
                      <a:pt x="26816" y="12951"/>
                      <a:pt x="30405" y="25989"/>
                      <a:pt x="33215" y="36396"/>
                    </a:cubicBezTo>
                    <a:cubicBezTo>
                      <a:pt x="33754" y="38429"/>
                      <a:pt x="34292" y="40343"/>
                      <a:pt x="34830" y="42137"/>
                    </a:cubicBezTo>
                    <a:cubicBezTo>
                      <a:pt x="38239" y="53680"/>
                      <a:pt x="41888" y="76347"/>
                      <a:pt x="41947" y="76586"/>
                    </a:cubicBezTo>
                    <a:cubicBezTo>
                      <a:pt x="41947" y="76766"/>
                      <a:pt x="41947" y="76945"/>
                      <a:pt x="41888" y="77065"/>
                    </a:cubicBezTo>
                    <a:cubicBezTo>
                      <a:pt x="40572" y="80713"/>
                      <a:pt x="35847" y="81371"/>
                      <a:pt x="34053" y="81491"/>
                    </a:cubicBezTo>
                    <a:cubicBezTo>
                      <a:pt x="33156" y="82806"/>
                      <a:pt x="31900" y="83524"/>
                      <a:pt x="30644" y="8400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65" name="Vrije vorm: vorm 9064">
                <a:extLst>
                  <a:ext uri="{FF2B5EF4-FFF2-40B4-BE49-F238E27FC236}">
                    <a16:creationId xmlns:a16="http://schemas.microsoft.com/office/drawing/2014/main" id="{DE1211C3-256E-4773-A9AA-AAE2968CC6BE}"/>
                  </a:ext>
                </a:extLst>
              </p:cNvPr>
              <p:cNvSpPr/>
              <p:nvPr/>
            </p:nvSpPr>
            <p:spPr>
              <a:xfrm>
                <a:off x="5717345" y="1955772"/>
                <a:ext cx="20490" cy="11207"/>
              </a:xfrm>
              <a:custGeom>
                <a:avLst/>
                <a:gdLst>
                  <a:gd name="connsiteX0" fmla="*/ 7002 w 20490"/>
                  <a:gd name="connsiteY0" fmla="*/ 9772 h 11207"/>
                  <a:gd name="connsiteX1" fmla="*/ 1022 w 20490"/>
                  <a:gd name="connsiteY1" fmla="*/ 11208 h 11207"/>
                  <a:gd name="connsiteX2" fmla="*/ 5 w 20490"/>
                  <a:gd name="connsiteY2" fmla="*/ 10131 h 11207"/>
                  <a:gd name="connsiteX3" fmla="*/ 1261 w 20490"/>
                  <a:gd name="connsiteY3" fmla="*/ 9114 h 11207"/>
                  <a:gd name="connsiteX4" fmla="*/ 18306 w 20490"/>
                  <a:gd name="connsiteY4" fmla="*/ 681 h 11207"/>
                  <a:gd name="connsiteX5" fmla="*/ 19801 w 20490"/>
                  <a:gd name="connsiteY5" fmla="*/ 83 h 11207"/>
                  <a:gd name="connsiteX6" fmla="*/ 20399 w 20490"/>
                  <a:gd name="connsiteY6" fmla="*/ 1459 h 11207"/>
                  <a:gd name="connsiteX7" fmla="*/ 7002 w 20490"/>
                  <a:gd name="connsiteY7" fmla="*/ 9772 h 1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90" h="11207">
                    <a:moveTo>
                      <a:pt x="7002" y="9772"/>
                    </a:moveTo>
                    <a:cubicBezTo>
                      <a:pt x="4550" y="10669"/>
                      <a:pt x="2338" y="11208"/>
                      <a:pt x="1022" y="11208"/>
                    </a:cubicBezTo>
                    <a:cubicBezTo>
                      <a:pt x="424" y="11208"/>
                      <a:pt x="-55" y="10729"/>
                      <a:pt x="5" y="10131"/>
                    </a:cubicBezTo>
                    <a:cubicBezTo>
                      <a:pt x="65" y="9533"/>
                      <a:pt x="603" y="9054"/>
                      <a:pt x="1261" y="9114"/>
                    </a:cubicBezTo>
                    <a:cubicBezTo>
                      <a:pt x="4909" y="9174"/>
                      <a:pt x="16931" y="3612"/>
                      <a:pt x="18306" y="681"/>
                    </a:cubicBezTo>
                    <a:cubicBezTo>
                      <a:pt x="18545" y="143"/>
                      <a:pt x="19263" y="-156"/>
                      <a:pt x="19801" y="83"/>
                    </a:cubicBezTo>
                    <a:cubicBezTo>
                      <a:pt x="20399" y="263"/>
                      <a:pt x="20639" y="921"/>
                      <a:pt x="20399" y="1459"/>
                    </a:cubicBezTo>
                    <a:cubicBezTo>
                      <a:pt x="19084" y="4150"/>
                      <a:pt x="12385" y="7798"/>
                      <a:pt x="7002" y="977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66" name="Vrije vorm: vorm 9065">
                <a:extLst>
                  <a:ext uri="{FF2B5EF4-FFF2-40B4-BE49-F238E27FC236}">
                    <a16:creationId xmlns:a16="http://schemas.microsoft.com/office/drawing/2014/main" id="{76C5400C-71F2-4E14-8E20-1D56DC8905B8}"/>
                  </a:ext>
                </a:extLst>
              </p:cNvPr>
              <p:cNvSpPr/>
              <p:nvPr/>
            </p:nvSpPr>
            <p:spPr>
              <a:xfrm>
                <a:off x="5730217" y="1966562"/>
                <a:ext cx="15720" cy="55221"/>
              </a:xfrm>
              <a:custGeom>
                <a:avLst/>
                <a:gdLst>
                  <a:gd name="connsiteX0" fmla="*/ 14884 w 15720"/>
                  <a:gd name="connsiteY0" fmla="*/ 55141 h 55221"/>
                  <a:gd name="connsiteX1" fmla="*/ 14644 w 15720"/>
                  <a:gd name="connsiteY1" fmla="*/ 55201 h 55221"/>
                  <a:gd name="connsiteX2" fmla="*/ 13388 w 15720"/>
                  <a:gd name="connsiteY2" fmla="*/ 54364 h 55221"/>
                  <a:gd name="connsiteX3" fmla="*/ 51 w 15720"/>
                  <a:gd name="connsiteY3" fmla="*/ 1435 h 55221"/>
                  <a:gd name="connsiteX4" fmla="*/ 829 w 15720"/>
                  <a:gd name="connsiteY4" fmla="*/ 59 h 55221"/>
                  <a:gd name="connsiteX5" fmla="*/ 2264 w 15720"/>
                  <a:gd name="connsiteY5" fmla="*/ 657 h 55221"/>
                  <a:gd name="connsiteX6" fmla="*/ 15721 w 15720"/>
                  <a:gd name="connsiteY6" fmla="*/ 53945 h 55221"/>
                  <a:gd name="connsiteX7" fmla="*/ 14884 w 15720"/>
                  <a:gd name="connsiteY7" fmla="*/ 55141 h 5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20" h="55221">
                    <a:moveTo>
                      <a:pt x="14884" y="55141"/>
                    </a:moveTo>
                    <a:cubicBezTo>
                      <a:pt x="14824" y="55141"/>
                      <a:pt x="14764" y="55201"/>
                      <a:pt x="14644" y="55201"/>
                    </a:cubicBezTo>
                    <a:cubicBezTo>
                      <a:pt x="14046" y="55321"/>
                      <a:pt x="13448" y="54902"/>
                      <a:pt x="13388" y="54364"/>
                    </a:cubicBezTo>
                    <a:cubicBezTo>
                      <a:pt x="13388" y="54184"/>
                      <a:pt x="10637" y="33491"/>
                      <a:pt x="51" y="1435"/>
                    </a:cubicBezTo>
                    <a:cubicBezTo>
                      <a:pt x="-128" y="896"/>
                      <a:pt x="171" y="238"/>
                      <a:pt x="829" y="59"/>
                    </a:cubicBezTo>
                    <a:cubicBezTo>
                      <a:pt x="1427" y="-121"/>
                      <a:pt x="2085" y="119"/>
                      <a:pt x="2264" y="657"/>
                    </a:cubicBezTo>
                    <a:cubicBezTo>
                      <a:pt x="12970" y="32833"/>
                      <a:pt x="15661" y="53706"/>
                      <a:pt x="15721" y="53945"/>
                    </a:cubicBezTo>
                    <a:cubicBezTo>
                      <a:pt x="15721" y="54483"/>
                      <a:pt x="15422" y="54962"/>
                      <a:pt x="14884" y="5514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67" name="Vrije vorm: vorm 9066">
                <a:extLst>
                  <a:ext uri="{FF2B5EF4-FFF2-40B4-BE49-F238E27FC236}">
                    <a16:creationId xmlns:a16="http://schemas.microsoft.com/office/drawing/2014/main" id="{236254AD-3E30-4F5D-A788-A6A33D17A158}"/>
                  </a:ext>
                </a:extLst>
              </p:cNvPr>
              <p:cNvSpPr/>
              <p:nvPr/>
            </p:nvSpPr>
            <p:spPr>
              <a:xfrm>
                <a:off x="5738741" y="2022879"/>
                <a:ext cx="9968" cy="3035"/>
              </a:xfrm>
              <a:custGeom>
                <a:avLst/>
                <a:gdLst>
                  <a:gd name="connsiteX0" fmla="*/ 9231 w 9968"/>
                  <a:gd name="connsiteY0" fmla="*/ 2951 h 3035"/>
                  <a:gd name="connsiteX1" fmla="*/ 8633 w 9968"/>
                  <a:gd name="connsiteY1" fmla="*/ 3011 h 3035"/>
                  <a:gd name="connsiteX2" fmla="*/ 917 w 9968"/>
                  <a:gd name="connsiteY2" fmla="*/ 2114 h 3035"/>
                  <a:gd name="connsiteX3" fmla="*/ 20 w 9968"/>
                  <a:gd name="connsiteY3" fmla="*/ 918 h 3035"/>
                  <a:gd name="connsiteX4" fmla="*/ 1336 w 9968"/>
                  <a:gd name="connsiteY4" fmla="*/ 20 h 3035"/>
                  <a:gd name="connsiteX5" fmla="*/ 9051 w 9968"/>
                  <a:gd name="connsiteY5" fmla="*/ 918 h 3035"/>
                  <a:gd name="connsiteX6" fmla="*/ 9948 w 9968"/>
                  <a:gd name="connsiteY6" fmla="*/ 2114 h 3035"/>
                  <a:gd name="connsiteX7" fmla="*/ 9231 w 9968"/>
                  <a:gd name="connsiteY7" fmla="*/ 2951 h 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8" h="3035">
                    <a:moveTo>
                      <a:pt x="9231" y="2951"/>
                    </a:moveTo>
                    <a:cubicBezTo>
                      <a:pt x="9051" y="3011"/>
                      <a:pt x="8872" y="3071"/>
                      <a:pt x="8633" y="3011"/>
                    </a:cubicBezTo>
                    <a:lnTo>
                      <a:pt x="917" y="2114"/>
                    </a:lnTo>
                    <a:cubicBezTo>
                      <a:pt x="319" y="2054"/>
                      <a:pt x="-99" y="1516"/>
                      <a:pt x="20" y="918"/>
                    </a:cubicBezTo>
                    <a:cubicBezTo>
                      <a:pt x="140" y="319"/>
                      <a:pt x="738" y="-99"/>
                      <a:pt x="1336" y="20"/>
                    </a:cubicBezTo>
                    <a:lnTo>
                      <a:pt x="9051" y="918"/>
                    </a:lnTo>
                    <a:cubicBezTo>
                      <a:pt x="9649" y="977"/>
                      <a:pt x="10068" y="1516"/>
                      <a:pt x="9948" y="2114"/>
                    </a:cubicBezTo>
                    <a:cubicBezTo>
                      <a:pt x="9948" y="2532"/>
                      <a:pt x="9649" y="2831"/>
                      <a:pt x="9231" y="295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68" name="Vrije vorm: vorm 9067">
                <a:extLst>
                  <a:ext uri="{FF2B5EF4-FFF2-40B4-BE49-F238E27FC236}">
                    <a16:creationId xmlns:a16="http://schemas.microsoft.com/office/drawing/2014/main" id="{F556D757-A34B-494C-88B2-3D70128244C4}"/>
                  </a:ext>
                </a:extLst>
              </p:cNvPr>
              <p:cNvSpPr/>
              <p:nvPr/>
            </p:nvSpPr>
            <p:spPr>
              <a:xfrm>
                <a:off x="5749714" y="2017197"/>
                <a:ext cx="8910" cy="3308"/>
              </a:xfrm>
              <a:custGeom>
                <a:avLst/>
                <a:gdLst>
                  <a:gd name="connsiteX0" fmla="*/ 8126 w 8910"/>
                  <a:gd name="connsiteY0" fmla="*/ 2054 h 3308"/>
                  <a:gd name="connsiteX1" fmla="*/ 7886 w 8910"/>
                  <a:gd name="connsiteY1" fmla="*/ 2114 h 3308"/>
                  <a:gd name="connsiteX2" fmla="*/ 1487 w 8910"/>
                  <a:gd name="connsiteY2" fmla="*/ 3250 h 3308"/>
                  <a:gd name="connsiteX3" fmla="*/ 52 w 8910"/>
                  <a:gd name="connsiteY3" fmla="*/ 2652 h 3308"/>
                  <a:gd name="connsiteX4" fmla="*/ 769 w 8910"/>
                  <a:gd name="connsiteY4" fmla="*/ 1276 h 3308"/>
                  <a:gd name="connsiteX5" fmla="*/ 7647 w 8910"/>
                  <a:gd name="connsiteY5" fmla="*/ 20 h 3308"/>
                  <a:gd name="connsiteX6" fmla="*/ 8903 w 8910"/>
                  <a:gd name="connsiteY6" fmla="*/ 918 h 3308"/>
                  <a:gd name="connsiteX7" fmla="*/ 8126 w 8910"/>
                  <a:gd name="connsiteY7" fmla="*/ 2054 h 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10" h="3308">
                    <a:moveTo>
                      <a:pt x="8126" y="2054"/>
                    </a:moveTo>
                    <a:cubicBezTo>
                      <a:pt x="8066" y="2054"/>
                      <a:pt x="7946" y="2114"/>
                      <a:pt x="7886" y="2114"/>
                    </a:cubicBezTo>
                    <a:cubicBezTo>
                      <a:pt x="5076" y="2532"/>
                      <a:pt x="1906" y="3071"/>
                      <a:pt x="1487" y="3250"/>
                    </a:cubicBezTo>
                    <a:cubicBezTo>
                      <a:pt x="889" y="3430"/>
                      <a:pt x="231" y="3190"/>
                      <a:pt x="52" y="2652"/>
                    </a:cubicBezTo>
                    <a:cubicBezTo>
                      <a:pt x="-128" y="2114"/>
                      <a:pt x="171" y="1516"/>
                      <a:pt x="769" y="1276"/>
                    </a:cubicBezTo>
                    <a:cubicBezTo>
                      <a:pt x="1547" y="977"/>
                      <a:pt x="5853" y="320"/>
                      <a:pt x="7647" y="20"/>
                    </a:cubicBezTo>
                    <a:cubicBezTo>
                      <a:pt x="8245" y="-99"/>
                      <a:pt x="8843" y="320"/>
                      <a:pt x="8903" y="918"/>
                    </a:cubicBezTo>
                    <a:cubicBezTo>
                      <a:pt x="8963" y="1396"/>
                      <a:pt x="8664" y="1874"/>
                      <a:pt x="8126" y="2054"/>
                    </a:cubicBezTo>
                    <a:close/>
                  </a:path>
                </a:pathLst>
              </a:custGeom>
              <a:grpFill/>
              <a:ln w="6350" cap="flat">
                <a:solidFill>
                  <a:schemeClr val="bg1">
                    <a:alpha val="80000"/>
                  </a:schemeClr>
                </a:solidFill>
                <a:prstDash val="solid"/>
                <a:miter/>
              </a:ln>
            </p:spPr>
            <p:txBody>
              <a:bodyPr rtlCol="0" anchor="ctr"/>
              <a:lstStyle/>
              <a:p>
                <a:endParaRPr lang="en-GB"/>
              </a:p>
            </p:txBody>
          </p:sp>
          <p:grpSp>
            <p:nvGrpSpPr>
              <p:cNvPr id="9069" name="Graphic 3">
                <a:extLst>
                  <a:ext uri="{FF2B5EF4-FFF2-40B4-BE49-F238E27FC236}">
                    <a16:creationId xmlns:a16="http://schemas.microsoft.com/office/drawing/2014/main" id="{72FE8B83-F765-4B9F-BF9B-71277B2AAFC9}"/>
                  </a:ext>
                </a:extLst>
              </p:cNvPr>
              <p:cNvGrpSpPr/>
              <p:nvPr/>
            </p:nvGrpSpPr>
            <p:grpSpPr>
              <a:xfrm>
                <a:off x="5714294" y="1924074"/>
                <a:ext cx="7130" cy="6921"/>
                <a:chOff x="5714294" y="1924074"/>
                <a:chExt cx="7130" cy="6921"/>
              </a:xfrm>
              <a:grpFill/>
            </p:grpSpPr>
            <p:sp>
              <p:nvSpPr>
                <p:cNvPr id="9070" name="Vrije vorm: vorm 9069">
                  <a:extLst>
                    <a:ext uri="{FF2B5EF4-FFF2-40B4-BE49-F238E27FC236}">
                      <a16:creationId xmlns:a16="http://schemas.microsoft.com/office/drawing/2014/main" id="{F582DC36-ECC9-4321-9BC3-F81338D8D13E}"/>
                    </a:ext>
                  </a:extLst>
                </p:cNvPr>
                <p:cNvSpPr/>
                <p:nvPr/>
              </p:nvSpPr>
              <p:spPr>
                <a:xfrm>
                  <a:off x="5715377" y="1925175"/>
                  <a:ext cx="4904" cy="4784"/>
                </a:xfrm>
                <a:custGeom>
                  <a:avLst/>
                  <a:gdLst>
                    <a:gd name="connsiteX0" fmla="*/ 359 w 4904"/>
                    <a:gd name="connsiteY0" fmla="*/ 4785 h 4784"/>
                    <a:gd name="connsiteX1" fmla="*/ 0 w 4904"/>
                    <a:gd name="connsiteY1" fmla="*/ 1675 h 4784"/>
                    <a:gd name="connsiteX2" fmla="*/ 4605 w 4904"/>
                    <a:gd name="connsiteY2" fmla="*/ 0 h 4784"/>
                    <a:gd name="connsiteX3" fmla="*/ 4904 w 4904"/>
                    <a:gd name="connsiteY3" fmla="*/ 3110 h 4784"/>
                  </a:gdLst>
                  <a:ahLst/>
                  <a:cxnLst>
                    <a:cxn ang="0">
                      <a:pos x="connsiteX0" y="connsiteY0"/>
                    </a:cxn>
                    <a:cxn ang="0">
                      <a:pos x="connsiteX1" y="connsiteY1"/>
                    </a:cxn>
                    <a:cxn ang="0">
                      <a:pos x="connsiteX2" y="connsiteY2"/>
                    </a:cxn>
                    <a:cxn ang="0">
                      <a:pos x="connsiteX3" y="connsiteY3"/>
                    </a:cxn>
                  </a:cxnLst>
                  <a:rect l="l" t="t" r="r" b="b"/>
                  <a:pathLst>
                    <a:path w="4904" h="4784">
                      <a:moveTo>
                        <a:pt x="359" y="4785"/>
                      </a:moveTo>
                      <a:lnTo>
                        <a:pt x="0" y="1675"/>
                      </a:lnTo>
                      <a:lnTo>
                        <a:pt x="4605" y="0"/>
                      </a:lnTo>
                      <a:lnTo>
                        <a:pt x="4904" y="3110"/>
                      </a:lnTo>
                      <a:close/>
                    </a:path>
                  </a:pathLst>
                </a:custGeom>
                <a:grpFill/>
                <a:ln w="6350" cap="flat">
                  <a:solidFill>
                    <a:schemeClr val="bg1">
                      <a:alpha val="80000"/>
                    </a:schemeClr>
                  </a:solidFill>
                  <a:prstDash val="solid"/>
                  <a:miter/>
                </a:ln>
              </p:spPr>
              <p:txBody>
                <a:bodyPr rtlCol="0" anchor="ctr"/>
                <a:lstStyle/>
                <a:p>
                  <a:endParaRPr lang="en-GB"/>
                </a:p>
              </p:txBody>
            </p:sp>
            <p:sp>
              <p:nvSpPr>
                <p:cNvPr id="9071" name="Vrije vorm: vorm 9070">
                  <a:extLst>
                    <a:ext uri="{FF2B5EF4-FFF2-40B4-BE49-F238E27FC236}">
                      <a16:creationId xmlns:a16="http://schemas.microsoft.com/office/drawing/2014/main" id="{A5D39E20-F2DA-47D3-B807-E028ADAAD3C1}"/>
                    </a:ext>
                  </a:extLst>
                </p:cNvPr>
                <p:cNvSpPr/>
                <p:nvPr/>
              </p:nvSpPr>
              <p:spPr>
                <a:xfrm>
                  <a:off x="5714294" y="1924074"/>
                  <a:ext cx="7130" cy="6921"/>
                </a:xfrm>
                <a:custGeom>
                  <a:avLst/>
                  <a:gdLst>
                    <a:gd name="connsiteX0" fmla="*/ 6346 w 7130"/>
                    <a:gd name="connsiteY0" fmla="*/ 5227 h 6921"/>
                    <a:gd name="connsiteX1" fmla="*/ 6107 w 7130"/>
                    <a:gd name="connsiteY1" fmla="*/ 5287 h 6921"/>
                    <a:gd name="connsiteX2" fmla="*/ 4851 w 7130"/>
                    <a:gd name="connsiteY2" fmla="*/ 4390 h 6921"/>
                    <a:gd name="connsiteX3" fmla="*/ 4672 w 7130"/>
                    <a:gd name="connsiteY3" fmla="*/ 2595 h 6921"/>
                    <a:gd name="connsiteX4" fmla="*/ 2339 w 7130"/>
                    <a:gd name="connsiteY4" fmla="*/ 3433 h 6921"/>
                    <a:gd name="connsiteX5" fmla="*/ 2578 w 7130"/>
                    <a:gd name="connsiteY5" fmla="*/ 5705 h 6921"/>
                    <a:gd name="connsiteX6" fmla="*/ 1562 w 7130"/>
                    <a:gd name="connsiteY6" fmla="*/ 6901 h 6921"/>
                    <a:gd name="connsiteX7" fmla="*/ 305 w 7130"/>
                    <a:gd name="connsiteY7" fmla="*/ 6004 h 6921"/>
                    <a:gd name="connsiteX8" fmla="*/ 7 w 7130"/>
                    <a:gd name="connsiteY8" fmla="*/ 2894 h 6921"/>
                    <a:gd name="connsiteX9" fmla="*/ 784 w 7130"/>
                    <a:gd name="connsiteY9" fmla="*/ 1758 h 6921"/>
                    <a:gd name="connsiteX10" fmla="*/ 5329 w 7130"/>
                    <a:gd name="connsiteY10" fmla="*/ 83 h 6921"/>
                    <a:gd name="connsiteX11" fmla="*/ 6286 w 7130"/>
                    <a:gd name="connsiteY11" fmla="*/ 143 h 6921"/>
                    <a:gd name="connsiteX12" fmla="*/ 6825 w 7130"/>
                    <a:gd name="connsiteY12" fmla="*/ 921 h 6921"/>
                    <a:gd name="connsiteX13" fmla="*/ 7124 w 7130"/>
                    <a:gd name="connsiteY13" fmla="*/ 4031 h 6921"/>
                    <a:gd name="connsiteX14" fmla="*/ 6346 w 7130"/>
                    <a:gd name="connsiteY14" fmla="*/ 5227 h 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30" h="6921">
                      <a:moveTo>
                        <a:pt x="6346" y="5227"/>
                      </a:moveTo>
                      <a:cubicBezTo>
                        <a:pt x="6286" y="5227"/>
                        <a:pt x="6167" y="5287"/>
                        <a:pt x="6107" y="5287"/>
                      </a:cubicBezTo>
                      <a:cubicBezTo>
                        <a:pt x="5509" y="5406"/>
                        <a:pt x="4911" y="4988"/>
                        <a:pt x="4851" y="4390"/>
                      </a:cubicBezTo>
                      <a:lnTo>
                        <a:pt x="4672" y="2595"/>
                      </a:lnTo>
                      <a:lnTo>
                        <a:pt x="2339" y="3433"/>
                      </a:lnTo>
                      <a:lnTo>
                        <a:pt x="2578" y="5705"/>
                      </a:lnTo>
                      <a:cubicBezTo>
                        <a:pt x="2638" y="6303"/>
                        <a:pt x="2160" y="6842"/>
                        <a:pt x="1562" y="6901"/>
                      </a:cubicBezTo>
                      <a:cubicBezTo>
                        <a:pt x="963" y="7021"/>
                        <a:pt x="365" y="6602"/>
                        <a:pt x="305" y="6004"/>
                      </a:cubicBezTo>
                      <a:lnTo>
                        <a:pt x="7" y="2894"/>
                      </a:lnTo>
                      <a:cubicBezTo>
                        <a:pt x="-53" y="2416"/>
                        <a:pt x="305" y="1937"/>
                        <a:pt x="784" y="1758"/>
                      </a:cubicBezTo>
                      <a:lnTo>
                        <a:pt x="5329" y="83"/>
                      </a:lnTo>
                      <a:cubicBezTo>
                        <a:pt x="5688" y="-36"/>
                        <a:pt x="6047" y="-36"/>
                        <a:pt x="6286" y="143"/>
                      </a:cubicBezTo>
                      <a:cubicBezTo>
                        <a:pt x="6585" y="323"/>
                        <a:pt x="6765" y="562"/>
                        <a:pt x="6825" y="921"/>
                      </a:cubicBezTo>
                      <a:lnTo>
                        <a:pt x="7124" y="4031"/>
                      </a:lnTo>
                      <a:cubicBezTo>
                        <a:pt x="7183" y="4569"/>
                        <a:pt x="6825" y="5047"/>
                        <a:pt x="6346" y="5227"/>
                      </a:cubicBezTo>
                      <a:close/>
                    </a:path>
                  </a:pathLst>
                </a:custGeom>
                <a:grpFill/>
                <a:ln w="6350" cap="flat">
                  <a:solidFill>
                    <a:schemeClr val="bg1">
                      <a:alpha val="80000"/>
                    </a:schemeClr>
                  </a:solidFill>
                  <a:prstDash val="solid"/>
                  <a:miter/>
                </a:ln>
              </p:spPr>
              <p:txBody>
                <a:bodyPr rtlCol="0" anchor="ctr"/>
                <a:lstStyle/>
                <a:p>
                  <a:endParaRPr lang="en-GB"/>
                </a:p>
              </p:txBody>
            </p:sp>
          </p:grpSp>
        </p:grpSp>
        <p:grpSp>
          <p:nvGrpSpPr>
            <p:cNvPr id="8985" name="Graphic 3">
              <a:extLst>
                <a:ext uri="{FF2B5EF4-FFF2-40B4-BE49-F238E27FC236}">
                  <a16:creationId xmlns:a16="http://schemas.microsoft.com/office/drawing/2014/main" id="{D9C897FC-D95C-448C-BA83-CE0064F31E74}"/>
                </a:ext>
              </a:extLst>
            </p:cNvPr>
            <p:cNvGrpSpPr/>
            <p:nvPr/>
          </p:nvGrpSpPr>
          <p:grpSpPr>
            <a:xfrm>
              <a:off x="5368971" y="2201602"/>
              <a:ext cx="74904" cy="123659"/>
              <a:chOff x="5368971" y="2201602"/>
              <a:chExt cx="74904" cy="123659"/>
            </a:xfrm>
            <a:grpFill/>
          </p:grpSpPr>
          <p:sp>
            <p:nvSpPr>
              <p:cNvPr id="9033" name="Vrije vorm: vorm 9032">
                <a:extLst>
                  <a:ext uri="{FF2B5EF4-FFF2-40B4-BE49-F238E27FC236}">
                    <a16:creationId xmlns:a16="http://schemas.microsoft.com/office/drawing/2014/main" id="{6494232C-C6C7-417F-A35C-C5E16CDAC441}"/>
                  </a:ext>
                </a:extLst>
              </p:cNvPr>
              <p:cNvSpPr/>
              <p:nvPr/>
            </p:nvSpPr>
            <p:spPr>
              <a:xfrm>
                <a:off x="5375530" y="2201602"/>
                <a:ext cx="19428" cy="19025"/>
              </a:xfrm>
              <a:custGeom>
                <a:avLst/>
                <a:gdLst>
                  <a:gd name="connsiteX0" fmla="*/ 15692 w 19428"/>
                  <a:gd name="connsiteY0" fmla="*/ 18183 h 19025"/>
                  <a:gd name="connsiteX1" fmla="*/ 19220 w 19428"/>
                  <a:gd name="connsiteY1" fmla="*/ 15313 h 19025"/>
                  <a:gd name="connsiteX2" fmla="*/ 14196 w 19428"/>
                  <a:gd name="connsiteY2" fmla="*/ 2574 h 19025"/>
                  <a:gd name="connsiteX3" fmla="*/ 6063 w 19428"/>
                  <a:gd name="connsiteY3" fmla="*/ 122 h 19025"/>
                  <a:gd name="connsiteX4" fmla="*/ 1218 w 19428"/>
                  <a:gd name="connsiteY4" fmla="*/ 3531 h 19025"/>
                  <a:gd name="connsiteX5" fmla="*/ 1218 w 19428"/>
                  <a:gd name="connsiteY5" fmla="*/ 3531 h 19025"/>
                  <a:gd name="connsiteX6" fmla="*/ 5644 w 19428"/>
                  <a:gd name="connsiteY6" fmla="*/ 17466 h 19025"/>
                  <a:gd name="connsiteX7" fmla="*/ 15094 w 19428"/>
                  <a:gd name="connsiteY7" fmla="*/ 18423 h 19025"/>
                  <a:gd name="connsiteX8" fmla="*/ 15692 w 19428"/>
                  <a:gd name="connsiteY8" fmla="*/ 18183 h 19025"/>
                  <a:gd name="connsiteX9" fmla="*/ 5465 w 19428"/>
                  <a:gd name="connsiteY9" fmla="*/ 2454 h 19025"/>
                  <a:gd name="connsiteX10" fmla="*/ 6421 w 19428"/>
                  <a:gd name="connsiteY10" fmla="*/ 2215 h 19025"/>
                  <a:gd name="connsiteX11" fmla="*/ 12761 w 19428"/>
                  <a:gd name="connsiteY11" fmla="*/ 4129 h 19025"/>
                  <a:gd name="connsiteX12" fmla="*/ 17247 w 19428"/>
                  <a:gd name="connsiteY12" fmla="*/ 14715 h 19025"/>
                  <a:gd name="connsiteX13" fmla="*/ 14496 w 19428"/>
                  <a:gd name="connsiteY13" fmla="*/ 16449 h 19025"/>
                  <a:gd name="connsiteX14" fmla="*/ 6960 w 19428"/>
                  <a:gd name="connsiteY14" fmla="*/ 15851 h 19025"/>
                  <a:gd name="connsiteX15" fmla="*/ 3132 w 19428"/>
                  <a:gd name="connsiteY15" fmla="*/ 4547 h 19025"/>
                  <a:gd name="connsiteX16" fmla="*/ 3132 w 19428"/>
                  <a:gd name="connsiteY16" fmla="*/ 4547 h 19025"/>
                  <a:gd name="connsiteX17" fmla="*/ 5465 w 19428"/>
                  <a:gd name="connsiteY17" fmla="*/ 2454 h 1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428" h="19025">
                    <a:moveTo>
                      <a:pt x="15692" y="18183"/>
                    </a:moveTo>
                    <a:cubicBezTo>
                      <a:pt x="17007" y="17705"/>
                      <a:pt x="18742" y="16808"/>
                      <a:pt x="19220" y="15313"/>
                    </a:cubicBezTo>
                    <a:cubicBezTo>
                      <a:pt x="20177" y="12203"/>
                      <a:pt x="17725" y="5923"/>
                      <a:pt x="14196" y="2574"/>
                    </a:cubicBezTo>
                    <a:cubicBezTo>
                      <a:pt x="12103" y="600"/>
                      <a:pt x="8874" y="-357"/>
                      <a:pt x="6063" y="122"/>
                    </a:cubicBezTo>
                    <a:cubicBezTo>
                      <a:pt x="3850" y="540"/>
                      <a:pt x="2116" y="1736"/>
                      <a:pt x="1218" y="3531"/>
                    </a:cubicBezTo>
                    <a:lnTo>
                      <a:pt x="1218" y="3531"/>
                    </a:lnTo>
                    <a:cubicBezTo>
                      <a:pt x="-2131" y="10289"/>
                      <a:pt x="2116" y="14715"/>
                      <a:pt x="5644" y="17466"/>
                    </a:cubicBezTo>
                    <a:cubicBezTo>
                      <a:pt x="8096" y="19380"/>
                      <a:pt x="12163" y="19320"/>
                      <a:pt x="15094" y="18423"/>
                    </a:cubicBezTo>
                    <a:cubicBezTo>
                      <a:pt x="15273" y="18363"/>
                      <a:pt x="15512" y="18303"/>
                      <a:pt x="15692" y="18183"/>
                    </a:cubicBezTo>
                    <a:close/>
                    <a:moveTo>
                      <a:pt x="5465" y="2454"/>
                    </a:moveTo>
                    <a:cubicBezTo>
                      <a:pt x="5764" y="2334"/>
                      <a:pt x="6123" y="2275"/>
                      <a:pt x="6421" y="2215"/>
                    </a:cubicBezTo>
                    <a:cubicBezTo>
                      <a:pt x="8634" y="1796"/>
                      <a:pt x="11146" y="2574"/>
                      <a:pt x="12761" y="4129"/>
                    </a:cubicBezTo>
                    <a:cubicBezTo>
                      <a:pt x="16050" y="7298"/>
                      <a:pt x="17845" y="12801"/>
                      <a:pt x="17247" y="14715"/>
                    </a:cubicBezTo>
                    <a:cubicBezTo>
                      <a:pt x="17127" y="15193"/>
                      <a:pt x="16170" y="15911"/>
                      <a:pt x="14496" y="16449"/>
                    </a:cubicBezTo>
                    <a:cubicBezTo>
                      <a:pt x="12163" y="17167"/>
                      <a:pt x="8754" y="17286"/>
                      <a:pt x="6960" y="15851"/>
                    </a:cubicBezTo>
                    <a:cubicBezTo>
                      <a:pt x="3611" y="13219"/>
                      <a:pt x="561" y="9810"/>
                      <a:pt x="3132" y="4547"/>
                    </a:cubicBezTo>
                    <a:lnTo>
                      <a:pt x="3132" y="4547"/>
                    </a:lnTo>
                    <a:cubicBezTo>
                      <a:pt x="3551" y="3531"/>
                      <a:pt x="4388" y="2873"/>
                      <a:pt x="5465" y="2454"/>
                    </a:cubicBezTo>
                    <a:close/>
                  </a:path>
                </a:pathLst>
              </a:custGeom>
              <a:grpFill/>
              <a:ln w="6350" cap="flat">
                <a:solidFill>
                  <a:schemeClr val="bg1">
                    <a:alpha val="80000"/>
                  </a:schemeClr>
                </a:solidFill>
                <a:prstDash val="solid"/>
                <a:miter/>
              </a:ln>
            </p:spPr>
            <p:txBody>
              <a:bodyPr rtlCol="0" anchor="ctr"/>
              <a:lstStyle/>
              <a:p>
                <a:endParaRPr lang="en-GB"/>
              </a:p>
            </p:txBody>
          </p:sp>
          <p:grpSp>
            <p:nvGrpSpPr>
              <p:cNvPr id="9034" name="Graphic 3">
                <a:extLst>
                  <a:ext uri="{FF2B5EF4-FFF2-40B4-BE49-F238E27FC236}">
                    <a16:creationId xmlns:a16="http://schemas.microsoft.com/office/drawing/2014/main" id="{D7C3C937-47A1-4D19-9A3C-95FDB2A64834}"/>
                  </a:ext>
                </a:extLst>
              </p:cNvPr>
              <p:cNvGrpSpPr/>
              <p:nvPr/>
            </p:nvGrpSpPr>
            <p:grpSpPr>
              <a:xfrm>
                <a:off x="5368971" y="2203039"/>
                <a:ext cx="10690" cy="12071"/>
                <a:chOff x="5368971" y="2203039"/>
                <a:chExt cx="10690" cy="12071"/>
              </a:xfrm>
              <a:grpFill/>
            </p:grpSpPr>
            <p:sp>
              <p:nvSpPr>
                <p:cNvPr id="9057" name="Vrije vorm: vorm 9056">
                  <a:extLst>
                    <a:ext uri="{FF2B5EF4-FFF2-40B4-BE49-F238E27FC236}">
                      <a16:creationId xmlns:a16="http://schemas.microsoft.com/office/drawing/2014/main" id="{64D14E16-6D24-4794-B418-82DF820E6318}"/>
                    </a:ext>
                  </a:extLst>
                </p:cNvPr>
                <p:cNvSpPr/>
                <p:nvPr/>
              </p:nvSpPr>
              <p:spPr>
                <a:xfrm>
                  <a:off x="5369928" y="2204157"/>
                  <a:ext cx="9733" cy="9876"/>
                </a:xfrm>
                <a:custGeom>
                  <a:avLst/>
                  <a:gdLst>
                    <a:gd name="connsiteX0" fmla="*/ 6880 w 9733"/>
                    <a:gd name="connsiteY0" fmla="*/ 8451 h 9876"/>
                    <a:gd name="connsiteX1" fmla="*/ 2 w 9733"/>
                    <a:gd name="connsiteY1" fmla="*/ 3786 h 9876"/>
                    <a:gd name="connsiteX2" fmla="*/ 7119 w 9733"/>
                    <a:gd name="connsiteY2" fmla="*/ 1693 h 9876"/>
                    <a:gd name="connsiteX3" fmla="*/ 6880 w 9733"/>
                    <a:gd name="connsiteY3" fmla="*/ 8451 h 9876"/>
                  </a:gdLst>
                  <a:ahLst/>
                  <a:cxnLst>
                    <a:cxn ang="0">
                      <a:pos x="connsiteX0" y="connsiteY0"/>
                    </a:cxn>
                    <a:cxn ang="0">
                      <a:pos x="connsiteX1" y="connsiteY1"/>
                    </a:cxn>
                    <a:cxn ang="0">
                      <a:pos x="connsiteX2" y="connsiteY2"/>
                    </a:cxn>
                    <a:cxn ang="0">
                      <a:pos x="connsiteX3" y="connsiteY3"/>
                    </a:cxn>
                  </a:cxnLst>
                  <a:rect l="l" t="t" r="r" b="b"/>
                  <a:pathLst>
                    <a:path w="9733" h="9876">
                      <a:moveTo>
                        <a:pt x="6880" y="8451"/>
                      </a:moveTo>
                      <a:cubicBezTo>
                        <a:pt x="2395" y="12339"/>
                        <a:pt x="122" y="7434"/>
                        <a:pt x="2" y="3786"/>
                      </a:cubicBezTo>
                      <a:cubicBezTo>
                        <a:pt x="-117" y="138"/>
                        <a:pt x="4249" y="-1477"/>
                        <a:pt x="7119" y="1693"/>
                      </a:cubicBezTo>
                      <a:cubicBezTo>
                        <a:pt x="9871" y="4743"/>
                        <a:pt x="11366" y="4623"/>
                        <a:pt x="6880" y="845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58" name="Vrije vorm: vorm 9057">
                  <a:extLst>
                    <a:ext uri="{FF2B5EF4-FFF2-40B4-BE49-F238E27FC236}">
                      <a16:creationId xmlns:a16="http://schemas.microsoft.com/office/drawing/2014/main" id="{842ED486-4EB1-41A8-970A-61C21AD26BD4}"/>
                    </a:ext>
                  </a:extLst>
                </p:cNvPr>
                <p:cNvSpPr/>
                <p:nvPr/>
              </p:nvSpPr>
              <p:spPr>
                <a:xfrm>
                  <a:off x="5368971" y="2203039"/>
                  <a:ext cx="9199" cy="12071"/>
                </a:xfrm>
                <a:custGeom>
                  <a:avLst/>
                  <a:gdLst>
                    <a:gd name="connsiteX0" fmla="*/ 6282 w 9199"/>
                    <a:gd name="connsiteY0" fmla="*/ 11782 h 12071"/>
                    <a:gd name="connsiteX1" fmla="*/ 8555 w 9199"/>
                    <a:gd name="connsiteY1" fmla="*/ 10406 h 12071"/>
                    <a:gd name="connsiteX2" fmla="*/ 8674 w 9199"/>
                    <a:gd name="connsiteY2" fmla="*/ 8911 h 12071"/>
                    <a:gd name="connsiteX3" fmla="*/ 7179 w 9199"/>
                    <a:gd name="connsiteY3" fmla="*/ 8791 h 12071"/>
                    <a:gd name="connsiteX4" fmla="*/ 4189 w 9199"/>
                    <a:gd name="connsiteY4" fmla="*/ 9808 h 12071"/>
                    <a:gd name="connsiteX5" fmla="*/ 2036 w 9199"/>
                    <a:gd name="connsiteY5" fmla="*/ 4844 h 12071"/>
                    <a:gd name="connsiteX6" fmla="*/ 3591 w 9199"/>
                    <a:gd name="connsiteY6" fmla="*/ 2332 h 12071"/>
                    <a:gd name="connsiteX7" fmla="*/ 7359 w 9199"/>
                    <a:gd name="connsiteY7" fmla="*/ 3468 h 12071"/>
                    <a:gd name="connsiteX8" fmla="*/ 8854 w 9199"/>
                    <a:gd name="connsiteY8" fmla="*/ 3528 h 12071"/>
                    <a:gd name="connsiteX9" fmla="*/ 8914 w 9199"/>
                    <a:gd name="connsiteY9" fmla="*/ 2033 h 12071"/>
                    <a:gd name="connsiteX10" fmla="*/ 2813 w 9199"/>
                    <a:gd name="connsiteY10" fmla="*/ 359 h 12071"/>
                    <a:gd name="connsiteX11" fmla="*/ 2 w 9199"/>
                    <a:gd name="connsiteY11" fmla="*/ 4904 h 12071"/>
                    <a:gd name="connsiteX12" fmla="*/ 3411 w 9199"/>
                    <a:gd name="connsiteY12" fmla="*/ 11722 h 12071"/>
                    <a:gd name="connsiteX13" fmla="*/ 6282 w 9199"/>
                    <a:gd name="connsiteY13" fmla="*/ 11782 h 1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99" h="12071">
                      <a:moveTo>
                        <a:pt x="6282" y="11782"/>
                      </a:moveTo>
                      <a:cubicBezTo>
                        <a:pt x="6940" y="11542"/>
                        <a:pt x="7717" y="11124"/>
                        <a:pt x="8555" y="10406"/>
                      </a:cubicBezTo>
                      <a:cubicBezTo>
                        <a:pt x="8973" y="10047"/>
                        <a:pt x="9033" y="9389"/>
                        <a:pt x="8674" y="8911"/>
                      </a:cubicBezTo>
                      <a:cubicBezTo>
                        <a:pt x="8316" y="8492"/>
                        <a:pt x="7658" y="8432"/>
                        <a:pt x="7179" y="8791"/>
                      </a:cubicBezTo>
                      <a:cubicBezTo>
                        <a:pt x="6342" y="9509"/>
                        <a:pt x="5146" y="10286"/>
                        <a:pt x="4189" y="9808"/>
                      </a:cubicBezTo>
                      <a:cubicBezTo>
                        <a:pt x="2873" y="9210"/>
                        <a:pt x="2095" y="6818"/>
                        <a:pt x="2036" y="4844"/>
                      </a:cubicBezTo>
                      <a:cubicBezTo>
                        <a:pt x="1976" y="3648"/>
                        <a:pt x="2574" y="2751"/>
                        <a:pt x="3591" y="2332"/>
                      </a:cubicBezTo>
                      <a:cubicBezTo>
                        <a:pt x="4548" y="1913"/>
                        <a:pt x="6043" y="2033"/>
                        <a:pt x="7359" y="3468"/>
                      </a:cubicBezTo>
                      <a:cubicBezTo>
                        <a:pt x="7717" y="3887"/>
                        <a:pt x="8375" y="3947"/>
                        <a:pt x="8854" y="3528"/>
                      </a:cubicBezTo>
                      <a:cubicBezTo>
                        <a:pt x="9272" y="3110"/>
                        <a:pt x="9332" y="2452"/>
                        <a:pt x="8914" y="2033"/>
                      </a:cubicBezTo>
                      <a:cubicBezTo>
                        <a:pt x="7239" y="179"/>
                        <a:pt x="4847" y="-479"/>
                        <a:pt x="2813" y="359"/>
                      </a:cubicBezTo>
                      <a:cubicBezTo>
                        <a:pt x="1019" y="1076"/>
                        <a:pt x="-57" y="2811"/>
                        <a:pt x="2" y="4904"/>
                      </a:cubicBezTo>
                      <a:cubicBezTo>
                        <a:pt x="62" y="7595"/>
                        <a:pt x="1139" y="10705"/>
                        <a:pt x="3411" y="11722"/>
                      </a:cubicBezTo>
                      <a:cubicBezTo>
                        <a:pt x="4009" y="12081"/>
                        <a:pt x="5026" y="12260"/>
                        <a:pt x="6282" y="11782"/>
                      </a:cubicBez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9035" name="Graphic 3">
                <a:extLst>
                  <a:ext uri="{FF2B5EF4-FFF2-40B4-BE49-F238E27FC236}">
                    <a16:creationId xmlns:a16="http://schemas.microsoft.com/office/drawing/2014/main" id="{A2334964-0D71-4177-8A1B-85AED816F9C9}"/>
                  </a:ext>
                </a:extLst>
              </p:cNvPr>
              <p:cNvGrpSpPr/>
              <p:nvPr/>
            </p:nvGrpSpPr>
            <p:grpSpPr>
              <a:xfrm>
                <a:off x="5387269" y="2218822"/>
                <a:ext cx="4225" cy="7482"/>
                <a:chOff x="5387269" y="2218822"/>
                <a:chExt cx="4225" cy="7482"/>
              </a:xfrm>
              <a:grpFill/>
            </p:grpSpPr>
            <p:sp>
              <p:nvSpPr>
                <p:cNvPr id="9055" name="Vrije vorm: vorm 9054">
                  <a:extLst>
                    <a:ext uri="{FF2B5EF4-FFF2-40B4-BE49-F238E27FC236}">
                      <a16:creationId xmlns:a16="http://schemas.microsoft.com/office/drawing/2014/main" id="{FF8F1222-C780-4F24-9F58-208EFAB3BC82}"/>
                    </a:ext>
                  </a:extLst>
                </p:cNvPr>
                <p:cNvSpPr/>
                <p:nvPr/>
              </p:nvSpPr>
              <p:spPr>
                <a:xfrm>
                  <a:off x="5388291" y="2219845"/>
                  <a:ext cx="2093" cy="5442"/>
                </a:xfrm>
                <a:custGeom>
                  <a:avLst/>
                  <a:gdLst>
                    <a:gd name="connsiteX0" fmla="*/ 0 w 2093"/>
                    <a:gd name="connsiteY0" fmla="*/ 0 h 5442"/>
                    <a:gd name="connsiteX1" fmla="*/ 2093 w 2093"/>
                    <a:gd name="connsiteY1" fmla="*/ 5442 h 5442"/>
                  </a:gdLst>
                  <a:ahLst/>
                  <a:cxnLst>
                    <a:cxn ang="0">
                      <a:pos x="connsiteX0" y="connsiteY0"/>
                    </a:cxn>
                    <a:cxn ang="0">
                      <a:pos x="connsiteX1" y="connsiteY1"/>
                    </a:cxn>
                  </a:cxnLst>
                  <a:rect l="l" t="t" r="r" b="b"/>
                  <a:pathLst>
                    <a:path w="2093" h="5442">
                      <a:moveTo>
                        <a:pt x="0" y="0"/>
                      </a:moveTo>
                      <a:cubicBezTo>
                        <a:pt x="180" y="1196"/>
                        <a:pt x="2093" y="5442"/>
                        <a:pt x="2093" y="5442"/>
                      </a:cubicBezTo>
                    </a:path>
                  </a:pathLst>
                </a:custGeom>
                <a:grpFill/>
                <a:ln w="6350" cap="flat">
                  <a:solidFill>
                    <a:schemeClr val="bg1">
                      <a:alpha val="80000"/>
                    </a:schemeClr>
                  </a:solidFill>
                  <a:prstDash val="solid"/>
                  <a:miter/>
                </a:ln>
              </p:spPr>
              <p:txBody>
                <a:bodyPr rtlCol="0" anchor="ctr"/>
                <a:lstStyle/>
                <a:p>
                  <a:endParaRPr lang="en-GB"/>
                </a:p>
              </p:txBody>
            </p:sp>
            <p:sp>
              <p:nvSpPr>
                <p:cNvPr id="9056" name="Vrije vorm: vorm 9055">
                  <a:extLst>
                    <a:ext uri="{FF2B5EF4-FFF2-40B4-BE49-F238E27FC236}">
                      <a16:creationId xmlns:a16="http://schemas.microsoft.com/office/drawing/2014/main" id="{27F88F99-FD30-4315-8EED-D8BFA2B775CC}"/>
                    </a:ext>
                  </a:extLst>
                </p:cNvPr>
                <p:cNvSpPr/>
                <p:nvPr/>
              </p:nvSpPr>
              <p:spPr>
                <a:xfrm>
                  <a:off x="5387269" y="2218822"/>
                  <a:ext cx="4225" cy="7482"/>
                </a:xfrm>
                <a:custGeom>
                  <a:avLst/>
                  <a:gdLst>
                    <a:gd name="connsiteX0" fmla="*/ 3534 w 4225"/>
                    <a:gd name="connsiteY0" fmla="*/ 7423 h 7482"/>
                    <a:gd name="connsiteX1" fmla="*/ 3594 w 4225"/>
                    <a:gd name="connsiteY1" fmla="*/ 7423 h 7482"/>
                    <a:gd name="connsiteX2" fmla="*/ 4132 w 4225"/>
                    <a:gd name="connsiteY2" fmla="*/ 6047 h 7482"/>
                    <a:gd name="connsiteX3" fmla="*/ 2099 w 4225"/>
                    <a:gd name="connsiteY3" fmla="*/ 904 h 7482"/>
                    <a:gd name="connsiteX4" fmla="*/ 903 w 4225"/>
                    <a:gd name="connsiteY4" fmla="*/ 6 h 7482"/>
                    <a:gd name="connsiteX5" fmla="*/ 6 w 4225"/>
                    <a:gd name="connsiteY5" fmla="*/ 1203 h 7482"/>
                    <a:gd name="connsiteX6" fmla="*/ 2219 w 4225"/>
                    <a:gd name="connsiteY6" fmla="*/ 6884 h 7482"/>
                    <a:gd name="connsiteX7" fmla="*/ 3534 w 4225"/>
                    <a:gd name="connsiteY7" fmla="*/ 7423 h 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5" h="7482">
                      <a:moveTo>
                        <a:pt x="3534" y="7423"/>
                      </a:moveTo>
                      <a:cubicBezTo>
                        <a:pt x="3534" y="7423"/>
                        <a:pt x="3594" y="7423"/>
                        <a:pt x="3594" y="7423"/>
                      </a:cubicBezTo>
                      <a:cubicBezTo>
                        <a:pt x="4132" y="7183"/>
                        <a:pt x="4372" y="6585"/>
                        <a:pt x="4132" y="6047"/>
                      </a:cubicBezTo>
                      <a:cubicBezTo>
                        <a:pt x="3355" y="4313"/>
                        <a:pt x="2219" y="1621"/>
                        <a:pt x="2099" y="904"/>
                      </a:cubicBezTo>
                      <a:cubicBezTo>
                        <a:pt x="2039" y="305"/>
                        <a:pt x="1501" y="-53"/>
                        <a:pt x="903" y="6"/>
                      </a:cubicBezTo>
                      <a:cubicBezTo>
                        <a:pt x="365" y="66"/>
                        <a:pt x="-54" y="605"/>
                        <a:pt x="6" y="1203"/>
                      </a:cubicBezTo>
                      <a:cubicBezTo>
                        <a:pt x="185" y="2459"/>
                        <a:pt x="1860" y="6167"/>
                        <a:pt x="2219" y="6884"/>
                      </a:cubicBezTo>
                      <a:cubicBezTo>
                        <a:pt x="2398" y="7363"/>
                        <a:pt x="2996" y="7602"/>
                        <a:pt x="3534" y="7423"/>
                      </a:cubicBez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9036" name="Graphic 3">
                <a:extLst>
                  <a:ext uri="{FF2B5EF4-FFF2-40B4-BE49-F238E27FC236}">
                    <a16:creationId xmlns:a16="http://schemas.microsoft.com/office/drawing/2014/main" id="{49FFF84E-93C9-4F2A-ADDB-8A4B21CB6506}"/>
                  </a:ext>
                </a:extLst>
              </p:cNvPr>
              <p:cNvGrpSpPr/>
              <p:nvPr/>
            </p:nvGrpSpPr>
            <p:grpSpPr>
              <a:xfrm>
                <a:off x="5382419" y="2218402"/>
                <a:ext cx="3984" cy="8455"/>
                <a:chOff x="5382419" y="2218402"/>
                <a:chExt cx="3984" cy="8455"/>
              </a:xfrm>
              <a:grpFill/>
            </p:grpSpPr>
            <p:sp>
              <p:nvSpPr>
                <p:cNvPr id="9053" name="Vrije vorm: vorm 9052">
                  <a:extLst>
                    <a:ext uri="{FF2B5EF4-FFF2-40B4-BE49-F238E27FC236}">
                      <a16:creationId xmlns:a16="http://schemas.microsoft.com/office/drawing/2014/main" id="{A184AF50-BEFD-44D9-863F-E48B2E70AEF2}"/>
                    </a:ext>
                  </a:extLst>
                </p:cNvPr>
                <p:cNvSpPr/>
                <p:nvPr/>
              </p:nvSpPr>
              <p:spPr>
                <a:xfrm>
                  <a:off x="5383447" y="2219486"/>
                  <a:ext cx="1913" cy="6339"/>
                </a:xfrm>
                <a:custGeom>
                  <a:avLst/>
                  <a:gdLst>
                    <a:gd name="connsiteX0" fmla="*/ 0 w 1913"/>
                    <a:gd name="connsiteY0" fmla="*/ 0 h 6339"/>
                    <a:gd name="connsiteX1" fmla="*/ 1914 w 1913"/>
                    <a:gd name="connsiteY1" fmla="*/ 6340 h 6339"/>
                  </a:gdLst>
                  <a:ahLst/>
                  <a:cxnLst>
                    <a:cxn ang="0">
                      <a:pos x="connsiteX0" y="connsiteY0"/>
                    </a:cxn>
                    <a:cxn ang="0">
                      <a:pos x="connsiteX1" y="connsiteY1"/>
                    </a:cxn>
                  </a:cxnLst>
                  <a:rect l="l" t="t" r="r" b="b"/>
                  <a:pathLst>
                    <a:path w="1913" h="6339">
                      <a:moveTo>
                        <a:pt x="0" y="0"/>
                      </a:moveTo>
                      <a:cubicBezTo>
                        <a:pt x="1196" y="2572"/>
                        <a:pt x="1914" y="6340"/>
                        <a:pt x="1914" y="6340"/>
                      </a:cubicBezTo>
                    </a:path>
                  </a:pathLst>
                </a:custGeom>
                <a:grpFill/>
                <a:ln w="6350" cap="flat">
                  <a:solidFill>
                    <a:schemeClr val="bg1">
                      <a:alpha val="80000"/>
                    </a:schemeClr>
                  </a:solidFill>
                  <a:prstDash val="solid"/>
                  <a:miter/>
                </a:ln>
              </p:spPr>
              <p:txBody>
                <a:bodyPr rtlCol="0" anchor="ctr"/>
                <a:lstStyle/>
                <a:p>
                  <a:endParaRPr lang="en-GB"/>
                </a:p>
              </p:txBody>
            </p:sp>
            <p:sp>
              <p:nvSpPr>
                <p:cNvPr id="9054" name="Vrije vorm: vorm 9053">
                  <a:extLst>
                    <a:ext uri="{FF2B5EF4-FFF2-40B4-BE49-F238E27FC236}">
                      <a16:creationId xmlns:a16="http://schemas.microsoft.com/office/drawing/2014/main" id="{73AD1628-A63D-4AF8-BBA5-7DCB6D0E8E1F}"/>
                    </a:ext>
                  </a:extLst>
                </p:cNvPr>
                <p:cNvSpPr/>
                <p:nvPr/>
              </p:nvSpPr>
              <p:spPr>
                <a:xfrm>
                  <a:off x="5382419" y="2218402"/>
                  <a:ext cx="3984" cy="8455"/>
                </a:xfrm>
                <a:custGeom>
                  <a:avLst/>
                  <a:gdLst>
                    <a:gd name="connsiteX0" fmla="*/ 3300 w 3984"/>
                    <a:gd name="connsiteY0" fmla="*/ 8440 h 8455"/>
                    <a:gd name="connsiteX1" fmla="*/ 3958 w 3984"/>
                    <a:gd name="connsiteY1" fmla="*/ 7244 h 8455"/>
                    <a:gd name="connsiteX2" fmla="*/ 1984 w 3984"/>
                    <a:gd name="connsiteY2" fmla="*/ 606 h 8455"/>
                    <a:gd name="connsiteX3" fmla="*/ 609 w 3984"/>
                    <a:gd name="connsiteY3" fmla="*/ 67 h 8455"/>
                    <a:gd name="connsiteX4" fmla="*/ 130 w 3984"/>
                    <a:gd name="connsiteY4" fmla="*/ 1443 h 8455"/>
                    <a:gd name="connsiteX5" fmla="*/ 1925 w 3984"/>
                    <a:gd name="connsiteY5" fmla="*/ 7543 h 8455"/>
                    <a:gd name="connsiteX6" fmla="*/ 3121 w 3984"/>
                    <a:gd name="connsiteY6" fmla="*/ 8380 h 8455"/>
                    <a:gd name="connsiteX7" fmla="*/ 3300 w 3984"/>
                    <a:gd name="connsiteY7" fmla="*/ 8440 h 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4" h="8455">
                      <a:moveTo>
                        <a:pt x="3300" y="8440"/>
                      </a:moveTo>
                      <a:cubicBezTo>
                        <a:pt x="3779" y="8261"/>
                        <a:pt x="4078" y="7782"/>
                        <a:pt x="3958" y="7244"/>
                      </a:cubicBezTo>
                      <a:cubicBezTo>
                        <a:pt x="3898" y="7065"/>
                        <a:pt x="3180" y="3237"/>
                        <a:pt x="1984" y="606"/>
                      </a:cubicBezTo>
                      <a:cubicBezTo>
                        <a:pt x="1745" y="67"/>
                        <a:pt x="1087" y="-112"/>
                        <a:pt x="609" y="67"/>
                      </a:cubicBezTo>
                      <a:cubicBezTo>
                        <a:pt x="71" y="307"/>
                        <a:pt x="-169" y="905"/>
                        <a:pt x="130" y="1443"/>
                      </a:cubicBezTo>
                      <a:cubicBezTo>
                        <a:pt x="1207" y="3835"/>
                        <a:pt x="1925" y="7543"/>
                        <a:pt x="1925" y="7543"/>
                      </a:cubicBezTo>
                      <a:cubicBezTo>
                        <a:pt x="2044" y="8141"/>
                        <a:pt x="2582" y="8500"/>
                        <a:pt x="3121" y="8380"/>
                      </a:cubicBezTo>
                      <a:cubicBezTo>
                        <a:pt x="3180" y="8500"/>
                        <a:pt x="3240" y="8440"/>
                        <a:pt x="3300" y="8440"/>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9037" name="Vrije vorm: vorm 9036">
                <a:extLst>
                  <a:ext uri="{FF2B5EF4-FFF2-40B4-BE49-F238E27FC236}">
                    <a16:creationId xmlns:a16="http://schemas.microsoft.com/office/drawing/2014/main" id="{7C4C7638-16E5-47F0-B7D7-DA8A16DFE3D5}"/>
                  </a:ext>
                </a:extLst>
              </p:cNvPr>
              <p:cNvSpPr/>
              <p:nvPr/>
            </p:nvSpPr>
            <p:spPr>
              <a:xfrm>
                <a:off x="5383874" y="2223819"/>
                <a:ext cx="21611" cy="23961"/>
              </a:xfrm>
              <a:custGeom>
                <a:avLst/>
                <a:gdLst>
                  <a:gd name="connsiteX0" fmla="*/ 20924 w 21611"/>
                  <a:gd name="connsiteY0" fmla="*/ 19948 h 23961"/>
                  <a:gd name="connsiteX1" fmla="*/ 21163 w 21611"/>
                  <a:gd name="connsiteY1" fmla="*/ 19829 h 23961"/>
                  <a:gd name="connsiteX2" fmla="*/ 21403 w 21611"/>
                  <a:gd name="connsiteY2" fmla="*/ 18393 h 23961"/>
                  <a:gd name="connsiteX3" fmla="*/ 8006 w 21611"/>
                  <a:gd name="connsiteY3" fmla="*/ 1468 h 23961"/>
                  <a:gd name="connsiteX4" fmla="*/ 2563 w 21611"/>
                  <a:gd name="connsiteY4" fmla="*/ 332 h 23961"/>
                  <a:gd name="connsiteX5" fmla="*/ 112 w 21611"/>
                  <a:gd name="connsiteY5" fmla="*/ 4219 h 23961"/>
                  <a:gd name="connsiteX6" fmla="*/ 530 w 21611"/>
                  <a:gd name="connsiteY6" fmla="*/ 16838 h 23961"/>
                  <a:gd name="connsiteX7" fmla="*/ 2384 w 21611"/>
                  <a:gd name="connsiteY7" fmla="*/ 23955 h 23961"/>
                  <a:gd name="connsiteX8" fmla="*/ 3580 w 21611"/>
                  <a:gd name="connsiteY8" fmla="*/ 23118 h 23961"/>
                  <a:gd name="connsiteX9" fmla="*/ 3401 w 21611"/>
                  <a:gd name="connsiteY9" fmla="*/ 22341 h 23961"/>
                  <a:gd name="connsiteX10" fmla="*/ 2205 w 21611"/>
                  <a:gd name="connsiteY10" fmla="*/ 4398 h 23961"/>
                  <a:gd name="connsiteX11" fmla="*/ 3401 w 21611"/>
                  <a:gd name="connsiteY11" fmla="*/ 2305 h 23961"/>
                  <a:gd name="connsiteX12" fmla="*/ 3461 w 21611"/>
                  <a:gd name="connsiteY12" fmla="*/ 2305 h 23961"/>
                  <a:gd name="connsiteX13" fmla="*/ 6630 w 21611"/>
                  <a:gd name="connsiteY13" fmla="*/ 3143 h 23961"/>
                  <a:gd name="connsiteX14" fmla="*/ 19728 w 21611"/>
                  <a:gd name="connsiteY14" fmla="*/ 19649 h 23961"/>
                  <a:gd name="connsiteX15" fmla="*/ 20924 w 21611"/>
                  <a:gd name="connsiteY15" fmla="*/ 19948 h 2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611" h="23961">
                    <a:moveTo>
                      <a:pt x="20924" y="19948"/>
                    </a:moveTo>
                    <a:cubicBezTo>
                      <a:pt x="20984" y="19888"/>
                      <a:pt x="21104" y="19888"/>
                      <a:pt x="21163" y="19829"/>
                    </a:cubicBezTo>
                    <a:cubicBezTo>
                      <a:pt x="21642" y="19470"/>
                      <a:pt x="21762" y="18872"/>
                      <a:pt x="21403" y="18393"/>
                    </a:cubicBezTo>
                    <a:cubicBezTo>
                      <a:pt x="21044" y="17855"/>
                      <a:pt x="12192" y="5236"/>
                      <a:pt x="8006" y="1468"/>
                    </a:cubicBezTo>
                    <a:cubicBezTo>
                      <a:pt x="6451" y="92"/>
                      <a:pt x="4238" y="-386"/>
                      <a:pt x="2563" y="332"/>
                    </a:cubicBezTo>
                    <a:cubicBezTo>
                      <a:pt x="1726" y="690"/>
                      <a:pt x="291" y="1647"/>
                      <a:pt x="112" y="4219"/>
                    </a:cubicBezTo>
                    <a:cubicBezTo>
                      <a:pt x="-188" y="8764"/>
                      <a:pt x="171" y="13549"/>
                      <a:pt x="530" y="16838"/>
                    </a:cubicBezTo>
                    <a:cubicBezTo>
                      <a:pt x="1248" y="23836"/>
                      <a:pt x="1607" y="23836"/>
                      <a:pt x="2384" y="23955"/>
                    </a:cubicBezTo>
                    <a:cubicBezTo>
                      <a:pt x="2922" y="24015"/>
                      <a:pt x="3461" y="23656"/>
                      <a:pt x="3580" y="23118"/>
                    </a:cubicBezTo>
                    <a:cubicBezTo>
                      <a:pt x="3640" y="22819"/>
                      <a:pt x="3580" y="22580"/>
                      <a:pt x="3401" y="22341"/>
                    </a:cubicBezTo>
                    <a:cubicBezTo>
                      <a:pt x="2982" y="20726"/>
                      <a:pt x="1726" y="11874"/>
                      <a:pt x="2205" y="4398"/>
                    </a:cubicBezTo>
                    <a:cubicBezTo>
                      <a:pt x="2264" y="3322"/>
                      <a:pt x="2683" y="2604"/>
                      <a:pt x="3401" y="2305"/>
                    </a:cubicBezTo>
                    <a:cubicBezTo>
                      <a:pt x="3401" y="2305"/>
                      <a:pt x="3461" y="2305"/>
                      <a:pt x="3461" y="2305"/>
                    </a:cubicBezTo>
                    <a:cubicBezTo>
                      <a:pt x="4417" y="1946"/>
                      <a:pt x="5733" y="2305"/>
                      <a:pt x="6630" y="3143"/>
                    </a:cubicBezTo>
                    <a:cubicBezTo>
                      <a:pt x="10638" y="6671"/>
                      <a:pt x="19609" y="19530"/>
                      <a:pt x="19728" y="19649"/>
                    </a:cubicBezTo>
                    <a:cubicBezTo>
                      <a:pt x="20027" y="19948"/>
                      <a:pt x="20506" y="20128"/>
                      <a:pt x="20924" y="19948"/>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38" name="Vrije vorm: vorm 9037">
                <a:extLst>
                  <a:ext uri="{FF2B5EF4-FFF2-40B4-BE49-F238E27FC236}">
                    <a16:creationId xmlns:a16="http://schemas.microsoft.com/office/drawing/2014/main" id="{0A728FE9-F076-4C4F-A46B-C4BFCB5CBA9F}"/>
                  </a:ext>
                </a:extLst>
              </p:cNvPr>
              <p:cNvSpPr/>
              <p:nvPr/>
            </p:nvSpPr>
            <p:spPr>
              <a:xfrm>
                <a:off x="5390461" y="2225064"/>
                <a:ext cx="14406" cy="14982"/>
              </a:xfrm>
              <a:custGeom>
                <a:avLst/>
                <a:gdLst>
                  <a:gd name="connsiteX0" fmla="*/ 10390 w 14406"/>
                  <a:gd name="connsiteY0" fmla="*/ 14816 h 14982"/>
                  <a:gd name="connsiteX1" fmla="*/ 14397 w 14406"/>
                  <a:gd name="connsiteY1" fmla="*/ 8656 h 14982"/>
                  <a:gd name="connsiteX2" fmla="*/ 6443 w 14406"/>
                  <a:gd name="connsiteY2" fmla="*/ 2496 h 14982"/>
                  <a:gd name="connsiteX3" fmla="*/ 1598 w 14406"/>
                  <a:gd name="connsiteY3" fmla="*/ 163 h 14982"/>
                  <a:gd name="connsiteX4" fmla="*/ 163 w 14406"/>
                  <a:gd name="connsiteY4" fmla="*/ 462 h 14982"/>
                  <a:gd name="connsiteX5" fmla="*/ 462 w 14406"/>
                  <a:gd name="connsiteY5" fmla="*/ 1897 h 14982"/>
                  <a:gd name="connsiteX6" fmla="*/ 5725 w 14406"/>
                  <a:gd name="connsiteY6" fmla="*/ 4409 h 14982"/>
                  <a:gd name="connsiteX7" fmla="*/ 12364 w 14406"/>
                  <a:gd name="connsiteY7" fmla="*/ 8775 h 14982"/>
                  <a:gd name="connsiteX8" fmla="*/ 9553 w 14406"/>
                  <a:gd name="connsiteY8" fmla="*/ 12902 h 14982"/>
                  <a:gd name="connsiteX9" fmla="*/ 8835 w 14406"/>
                  <a:gd name="connsiteY9" fmla="*/ 14218 h 14982"/>
                  <a:gd name="connsiteX10" fmla="*/ 10151 w 14406"/>
                  <a:gd name="connsiteY10" fmla="*/ 14935 h 14982"/>
                  <a:gd name="connsiteX11" fmla="*/ 10390 w 14406"/>
                  <a:gd name="connsiteY11" fmla="*/ 14816 h 1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06" h="14982">
                    <a:moveTo>
                      <a:pt x="10390" y="14816"/>
                    </a:moveTo>
                    <a:cubicBezTo>
                      <a:pt x="12005" y="14218"/>
                      <a:pt x="14576" y="12364"/>
                      <a:pt x="14397" y="8656"/>
                    </a:cubicBezTo>
                    <a:cubicBezTo>
                      <a:pt x="14277" y="5665"/>
                      <a:pt x="10270" y="4051"/>
                      <a:pt x="6443" y="2496"/>
                    </a:cubicBezTo>
                    <a:cubicBezTo>
                      <a:pt x="4649" y="1778"/>
                      <a:pt x="2795" y="1000"/>
                      <a:pt x="1598" y="163"/>
                    </a:cubicBezTo>
                    <a:cubicBezTo>
                      <a:pt x="1120" y="-136"/>
                      <a:pt x="462" y="-16"/>
                      <a:pt x="163" y="462"/>
                    </a:cubicBezTo>
                    <a:cubicBezTo>
                      <a:pt x="-136" y="941"/>
                      <a:pt x="-17" y="1598"/>
                      <a:pt x="462" y="1897"/>
                    </a:cubicBezTo>
                    <a:cubicBezTo>
                      <a:pt x="1837" y="2854"/>
                      <a:pt x="3811" y="3632"/>
                      <a:pt x="5725" y="4409"/>
                    </a:cubicBezTo>
                    <a:cubicBezTo>
                      <a:pt x="8656" y="5606"/>
                      <a:pt x="12304" y="7101"/>
                      <a:pt x="12364" y="8775"/>
                    </a:cubicBezTo>
                    <a:cubicBezTo>
                      <a:pt x="12543" y="12005"/>
                      <a:pt x="9672" y="12902"/>
                      <a:pt x="9553" y="12902"/>
                    </a:cubicBezTo>
                    <a:cubicBezTo>
                      <a:pt x="9014" y="13081"/>
                      <a:pt x="8715" y="13620"/>
                      <a:pt x="8835" y="14218"/>
                    </a:cubicBezTo>
                    <a:cubicBezTo>
                      <a:pt x="9014" y="14756"/>
                      <a:pt x="9553" y="15115"/>
                      <a:pt x="10151" y="14935"/>
                    </a:cubicBezTo>
                    <a:cubicBezTo>
                      <a:pt x="10211" y="14876"/>
                      <a:pt x="10330" y="14876"/>
                      <a:pt x="10390" y="1481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39" name="Vrije vorm: vorm 9038">
                <a:extLst>
                  <a:ext uri="{FF2B5EF4-FFF2-40B4-BE49-F238E27FC236}">
                    <a16:creationId xmlns:a16="http://schemas.microsoft.com/office/drawing/2014/main" id="{05B0F03F-7DC1-47E4-96F1-A78F649BDD12}"/>
                  </a:ext>
                </a:extLst>
              </p:cNvPr>
              <p:cNvSpPr/>
              <p:nvPr/>
            </p:nvSpPr>
            <p:spPr>
              <a:xfrm>
                <a:off x="5383058" y="2242123"/>
                <a:ext cx="29540" cy="20569"/>
              </a:xfrm>
              <a:custGeom>
                <a:avLst/>
                <a:gdLst>
                  <a:gd name="connsiteX0" fmla="*/ 27182 w 29540"/>
                  <a:gd name="connsiteY0" fmla="*/ 15340 h 20569"/>
                  <a:gd name="connsiteX1" fmla="*/ 28917 w 29540"/>
                  <a:gd name="connsiteY1" fmla="*/ 14443 h 20569"/>
                  <a:gd name="connsiteX2" fmla="*/ 24670 w 29540"/>
                  <a:gd name="connsiteY2" fmla="*/ 1525 h 20569"/>
                  <a:gd name="connsiteX3" fmla="*/ 12768 w 29540"/>
                  <a:gd name="connsiteY3" fmla="*/ 1226 h 20569"/>
                  <a:gd name="connsiteX4" fmla="*/ 12768 w 29540"/>
                  <a:gd name="connsiteY4" fmla="*/ 1226 h 20569"/>
                  <a:gd name="connsiteX5" fmla="*/ 10137 w 29540"/>
                  <a:gd name="connsiteY5" fmla="*/ 1824 h 20569"/>
                  <a:gd name="connsiteX6" fmla="*/ 747 w 29540"/>
                  <a:gd name="connsiteY6" fmla="*/ 6489 h 20569"/>
                  <a:gd name="connsiteX7" fmla="*/ 1286 w 29540"/>
                  <a:gd name="connsiteY7" fmla="*/ 19706 h 20569"/>
                  <a:gd name="connsiteX8" fmla="*/ 3379 w 29540"/>
                  <a:gd name="connsiteY8" fmla="*/ 20544 h 20569"/>
                  <a:gd name="connsiteX9" fmla="*/ 27182 w 29540"/>
                  <a:gd name="connsiteY9" fmla="*/ 15340 h 20569"/>
                  <a:gd name="connsiteX10" fmla="*/ 27302 w 29540"/>
                  <a:gd name="connsiteY10" fmla="*/ 13068 h 20569"/>
                  <a:gd name="connsiteX11" fmla="*/ 3080 w 29540"/>
                  <a:gd name="connsiteY11" fmla="*/ 18450 h 20569"/>
                  <a:gd name="connsiteX12" fmla="*/ 2781 w 29540"/>
                  <a:gd name="connsiteY12" fmla="*/ 18331 h 20569"/>
                  <a:gd name="connsiteX13" fmla="*/ 2661 w 29540"/>
                  <a:gd name="connsiteY13" fmla="*/ 6967 h 20569"/>
                  <a:gd name="connsiteX14" fmla="*/ 10496 w 29540"/>
                  <a:gd name="connsiteY14" fmla="*/ 3857 h 20569"/>
                  <a:gd name="connsiteX15" fmla="*/ 13187 w 29540"/>
                  <a:gd name="connsiteY15" fmla="*/ 3259 h 20569"/>
                  <a:gd name="connsiteX16" fmla="*/ 13187 w 29540"/>
                  <a:gd name="connsiteY16" fmla="*/ 3259 h 20569"/>
                  <a:gd name="connsiteX17" fmla="*/ 22996 w 29540"/>
                  <a:gd name="connsiteY17" fmla="*/ 2781 h 20569"/>
                  <a:gd name="connsiteX18" fmla="*/ 27302 w 29540"/>
                  <a:gd name="connsiteY18" fmla="*/ 13068 h 20569"/>
                  <a:gd name="connsiteX19" fmla="*/ 27302 w 29540"/>
                  <a:gd name="connsiteY19" fmla="*/ 13128 h 20569"/>
                  <a:gd name="connsiteX20" fmla="*/ 27302 w 29540"/>
                  <a:gd name="connsiteY20" fmla="*/ 13128 h 20569"/>
                  <a:gd name="connsiteX21" fmla="*/ 27302 w 29540"/>
                  <a:gd name="connsiteY21" fmla="*/ 13128 h 20569"/>
                  <a:gd name="connsiteX22" fmla="*/ 12948 w 29540"/>
                  <a:gd name="connsiteY22" fmla="*/ 2183 h 20569"/>
                  <a:gd name="connsiteX23" fmla="*/ 12948 w 29540"/>
                  <a:gd name="connsiteY23" fmla="*/ 2183 h 20569"/>
                  <a:gd name="connsiteX24" fmla="*/ 12948 w 29540"/>
                  <a:gd name="connsiteY24" fmla="*/ 2183 h 20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540" h="20569">
                    <a:moveTo>
                      <a:pt x="27182" y="15340"/>
                    </a:moveTo>
                    <a:cubicBezTo>
                      <a:pt x="28079" y="14982"/>
                      <a:pt x="28737" y="14682"/>
                      <a:pt x="28917" y="14443"/>
                    </a:cubicBezTo>
                    <a:cubicBezTo>
                      <a:pt x="31608" y="11034"/>
                      <a:pt x="24730" y="1585"/>
                      <a:pt x="24670" y="1525"/>
                    </a:cubicBezTo>
                    <a:cubicBezTo>
                      <a:pt x="22876" y="-867"/>
                      <a:pt x="18211" y="-30"/>
                      <a:pt x="12768" y="1226"/>
                    </a:cubicBezTo>
                    <a:lnTo>
                      <a:pt x="12768" y="1226"/>
                    </a:lnTo>
                    <a:cubicBezTo>
                      <a:pt x="11812" y="1465"/>
                      <a:pt x="10914" y="1645"/>
                      <a:pt x="10137" y="1824"/>
                    </a:cubicBezTo>
                    <a:cubicBezTo>
                      <a:pt x="3977" y="3140"/>
                      <a:pt x="1405" y="3738"/>
                      <a:pt x="747" y="6489"/>
                    </a:cubicBezTo>
                    <a:cubicBezTo>
                      <a:pt x="448" y="7805"/>
                      <a:pt x="-1047" y="16955"/>
                      <a:pt x="1286" y="19706"/>
                    </a:cubicBezTo>
                    <a:cubicBezTo>
                      <a:pt x="1824" y="20364"/>
                      <a:pt x="2541" y="20663"/>
                      <a:pt x="3379" y="20544"/>
                    </a:cubicBezTo>
                    <a:cubicBezTo>
                      <a:pt x="4934" y="20424"/>
                      <a:pt x="21560" y="17374"/>
                      <a:pt x="27182" y="15340"/>
                    </a:cubicBezTo>
                    <a:close/>
                    <a:moveTo>
                      <a:pt x="27302" y="13068"/>
                    </a:moveTo>
                    <a:cubicBezTo>
                      <a:pt x="25388" y="14204"/>
                      <a:pt x="6788" y="18151"/>
                      <a:pt x="3080" y="18450"/>
                    </a:cubicBezTo>
                    <a:cubicBezTo>
                      <a:pt x="2960" y="18450"/>
                      <a:pt x="2900" y="18450"/>
                      <a:pt x="2781" y="18331"/>
                    </a:cubicBezTo>
                    <a:cubicBezTo>
                      <a:pt x="1405" y="16776"/>
                      <a:pt x="2063" y="9539"/>
                      <a:pt x="2661" y="6967"/>
                    </a:cubicBezTo>
                    <a:cubicBezTo>
                      <a:pt x="3020" y="5532"/>
                      <a:pt x="4814" y="5053"/>
                      <a:pt x="10496" y="3857"/>
                    </a:cubicBezTo>
                    <a:cubicBezTo>
                      <a:pt x="11333" y="3678"/>
                      <a:pt x="12230" y="3499"/>
                      <a:pt x="13187" y="3259"/>
                    </a:cubicBezTo>
                    <a:lnTo>
                      <a:pt x="13187" y="3259"/>
                    </a:lnTo>
                    <a:cubicBezTo>
                      <a:pt x="15998" y="2601"/>
                      <a:pt x="21859" y="1345"/>
                      <a:pt x="22996" y="2781"/>
                    </a:cubicBezTo>
                    <a:cubicBezTo>
                      <a:pt x="26165" y="6967"/>
                      <a:pt x="28019" y="11931"/>
                      <a:pt x="27302" y="13068"/>
                    </a:cubicBezTo>
                    <a:close/>
                    <a:moveTo>
                      <a:pt x="27302" y="13128"/>
                    </a:moveTo>
                    <a:lnTo>
                      <a:pt x="27302" y="13128"/>
                    </a:lnTo>
                    <a:lnTo>
                      <a:pt x="27302" y="13128"/>
                    </a:lnTo>
                    <a:close/>
                    <a:moveTo>
                      <a:pt x="12948" y="2183"/>
                    </a:moveTo>
                    <a:lnTo>
                      <a:pt x="12948" y="2183"/>
                    </a:lnTo>
                    <a:lnTo>
                      <a:pt x="12948" y="2183"/>
                    </a:lnTo>
                    <a:close/>
                  </a:path>
                </a:pathLst>
              </a:custGeom>
              <a:grpFill/>
              <a:ln w="6350" cap="flat">
                <a:solidFill>
                  <a:schemeClr val="bg1">
                    <a:alpha val="80000"/>
                  </a:schemeClr>
                </a:solidFill>
                <a:prstDash val="solid"/>
                <a:miter/>
              </a:ln>
            </p:spPr>
            <p:txBody>
              <a:bodyPr rtlCol="0" anchor="ctr"/>
              <a:lstStyle/>
              <a:p>
                <a:endParaRPr lang="en-GB"/>
              </a:p>
            </p:txBody>
          </p:sp>
          <p:grpSp>
            <p:nvGrpSpPr>
              <p:cNvPr id="9040" name="Graphic 3">
                <a:extLst>
                  <a:ext uri="{FF2B5EF4-FFF2-40B4-BE49-F238E27FC236}">
                    <a16:creationId xmlns:a16="http://schemas.microsoft.com/office/drawing/2014/main" id="{ED06FD32-5B22-4B06-AD41-66D72FDAE7E7}"/>
                  </a:ext>
                </a:extLst>
              </p:cNvPr>
              <p:cNvGrpSpPr/>
              <p:nvPr/>
            </p:nvGrpSpPr>
            <p:grpSpPr>
              <a:xfrm>
                <a:off x="5388159" y="2224901"/>
                <a:ext cx="23741" cy="41448"/>
                <a:chOff x="5388159" y="2224901"/>
                <a:chExt cx="23741" cy="41448"/>
              </a:xfrm>
              <a:grpFill/>
            </p:grpSpPr>
            <p:sp>
              <p:nvSpPr>
                <p:cNvPr id="9051" name="Vrije vorm: vorm 9050">
                  <a:extLst>
                    <a:ext uri="{FF2B5EF4-FFF2-40B4-BE49-F238E27FC236}">
                      <a16:creationId xmlns:a16="http://schemas.microsoft.com/office/drawing/2014/main" id="{FB7BCB93-1F2C-48AF-AA04-FFBC2316655F}"/>
                    </a:ext>
                  </a:extLst>
                </p:cNvPr>
                <p:cNvSpPr/>
                <p:nvPr/>
              </p:nvSpPr>
              <p:spPr>
                <a:xfrm>
                  <a:off x="5388159" y="2224901"/>
                  <a:ext cx="22768" cy="40407"/>
                </a:xfrm>
                <a:custGeom>
                  <a:avLst/>
                  <a:gdLst>
                    <a:gd name="connsiteX0" fmla="*/ 3063 w 22768"/>
                    <a:gd name="connsiteY0" fmla="*/ 1164 h 40407"/>
                    <a:gd name="connsiteX1" fmla="*/ 16161 w 22768"/>
                    <a:gd name="connsiteY1" fmla="*/ 23532 h 40407"/>
                    <a:gd name="connsiteX2" fmla="*/ 22740 w 22768"/>
                    <a:gd name="connsiteY2" fmla="*/ 38125 h 40407"/>
                    <a:gd name="connsiteX3" fmla="*/ 17237 w 22768"/>
                    <a:gd name="connsiteY3" fmla="*/ 39381 h 40407"/>
                    <a:gd name="connsiteX4" fmla="*/ 15324 w 22768"/>
                    <a:gd name="connsiteY4" fmla="*/ 33579 h 40407"/>
                    <a:gd name="connsiteX5" fmla="*/ 1089 w 22768"/>
                    <a:gd name="connsiteY5" fmla="*/ 9298 h 40407"/>
                    <a:gd name="connsiteX6" fmla="*/ 3063 w 22768"/>
                    <a:gd name="connsiteY6" fmla="*/ 1164 h 4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68" h="40407">
                      <a:moveTo>
                        <a:pt x="3063" y="1164"/>
                      </a:moveTo>
                      <a:cubicBezTo>
                        <a:pt x="6891" y="4752"/>
                        <a:pt x="13410" y="18448"/>
                        <a:pt x="16161" y="23532"/>
                      </a:cubicBezTo>
                      <a:cubicBezTo>
                        <a:pt x="18912" y="28615"/>
                        <a:pt x="23158" y="35852"/>
                        <a:pt x="22740" y="38125"/>
                      </a:cubicBezTo>
                      <a:cubicBezTo>
                        <a:pt x="22321" y="40337"/>
                        <a:pt x="19450" y="41294"/>
                        <a:pt x="17237" y="39381"/>
                      </a:cubicBezTo>
                      <a:cubicBezTo>
                        <a:pt x="16220" y="38483"/>
                        <a:pt x="16759" y="35792"/>
                        <a:pt x="15324" y="33579"/>
                      </a:cubicBezTo>
                      <a:cubicBezTo>
                        <a:pt x="13888" y="31366"/>
                        <a:pt x="1089" y="9298"/>
                        <a:pt x="1089" y="9298"/>
                      </a:cubicBezTo>
                      <a:cubicBezTo>
                        <a:pt x="1089" y="9298"/>
                        <a:pt x="-2380" y="-3920"/>
                        <a:pt x="3063" y="116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52" name="Vrije vorm: vorm 9051">
                  <a:extLst>
                    <a:ext uri="{FF2B5EF4-FFF2-40B4-BE49-F238E27FC236}">
                      <a16:creationId xmlns:a16="http://schemas.microsoft.com/office/drawing/2014/main" id="{1D9E382F-3E29-4573-A34E-3485C48E52F7}"/>
                    </a:ext>
                  </a:extLst>
                </p:cNvPr>
                <p:cNvSpPr/>
                <p:nvPr/>
              </p:nvSpPr>
              <p:spPr>
                <a:xfrm>
                  <a:off x="5388205" y="2225061"/>
                  <a:ext cx="23695" cy="41288"/>
                </a:xfrm>
                <a:custGeom>
                  <a:avLst/>
                  <a:gdLst>
                    <a:gd name="connsiteX0" fmla="*/ 21198 w 23695"/>
                    <a:gd name="connsiteY0" fmla="*/ 41014 h 41288"/>
                    <a:gd name="connsiteX1" fmla="*/ 23650 w 23695"/>
                    <a:gd name="connsiteY1" fmla="*/ 38144 h 41288"/>
                    <a:gd name="connsiteX2" fmla="*/ 18028 w 23695"/>
                    <a:gd name="connsiteY2" fmla="*/ 24747 h 41288"/>
                    <a:gd name="connsiteX3" fmla="*/ 17012 w 23695"/>
                    <a:gd name="connsiteY3" fmla="*/ 22893 h 41288"/>
                    <a:gd name="connsiteX4" fmla="*/ 14799 w 23695"/>
                    <a:gd name="connsiteY4" fmla="*/ 18587 h 41288"/>
                    <a:gd name="connsiteX5" fmla="*/ 3734 w 23695"/>
                    <a:gd name="connsiteY5" fmla="*/ 286 h 41288"/>
                    <a:gd name="connsiteX6" fmla="*/ 2239 w 23695"/>
                    <a:gd name="connsiteY6" fmla="*/ 345 h 41288"/>
                    <a:gd name="connsiteX7" fmla="*/ 2299 w 23695"/>
                    <a:gd name="connsiteY7" fmla="*/ 1841 h 41288"/>
                    <a:gd name="connsiteX8" fmla="*/ 12945 w 23695"/>
                    <a:gd name="connsiteY8" fmla="*/ 19603 h 41288"/>
                    <a:gd name="connsiteX9" fmla="*/ 15218 w 23695"/>
                    <a:gd name="connsiteY9" fmla="*/ 23969 h 41288"/>
                    <a:gd name="connsiteX10" fmla="*/ 16234 w 23695"/>
                    <a:gd name="connsiteY10" fmla="*/ 25823 h 41288"/>
                    <a:gd name="connsiteX11" fmla="*/ 21677 w 23695"/>
                    <a:gd name="connsiteY11" fmla="*/ 37845 h 41288"/>
                    <a:gd name="connsiteX12" fmla="*/ 20540 w 23695"/>
                    <a:gd name="connsiteY12" fmla="*/ 39160 h 41288"/>
                    <a:gd name="connsiteX13" fmla="*/ 17909 w 23695"/>
                    <a:gd name="connsiteY13" fmla="*/ 38502 h 41288"/>
                    <a:gd name="connsiteX14" fmla="*/ 17490 w 23695"/>
                    <a:gd name="connsiteY14" fmla="*/ 36948 h 41288"/>
                    <a:gd name="connsiteX15" fmla="*/ 16174 w 23695"/>
                    <a:gd name="connsiteY15" fmla="*/ 32940 h 41288"/>
                    <a:gd name="connsiteX16" fmla="*/ 1940 w 23695"/>
                    <a:gd name="connsiteY16" fmla="*/ 8719 h 41288"/>
                    <a:gd name="connsiteX17" fmla="*/ 505 w 23695"/>
                    <a:gd name="connsiteY17" fmla="*/ 8360 h 41288"/>
                    <a:gd name="connsiteX18" fmla="*/ 146 w 23695"/>
                    <a:gd name="connsiteY18" fmla="*/ 9795 h 41288"/>
                    <a:gd name="connsiteX19" fmla="*/ 14380 w 23695"/>
                    <a:gd name="connsiteY19" fmla="*/ 34137 h 41288"/>
                    <a:gd name="connsiteX20" fmla="*/ 15397 w 23695"/>
                    <a:gd name="connsiteY20" fmla="*/ 37306 h 41288"/>
                    <a:gd name="connsiteX21" fmla="*/ 16533 w 23695"/>
                    <a:gd name="connsiteY21" fmla="*/ 40117 h 41288"/>
                    <a:gd name="connsiteX22" fmla="*/ 21198 w 23695"/>
                    <a:gd name="connsiteY22" fmla="*/ 41014 h 41288"/>
                    <a:gd name="connsiteX23" fmla="*/ 21198 w 23695"/>
                    <a:gd name="connsiteY23" fmla="*/ 41014 h 4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95" h="41288">
                      <a:moveTo>
                        <a:pt x="21198" y="41014"/>
                      </a:moveTo>
                      <a:cubicBezTo>
                        <a:pt x="22514" y="40536"/>
                        <a:pt x="23411" y="39459"/>
                        <a:pt x="23650" y="38144"/>
                      </a:cubicBezTo>
                      <a:cubicBezTo>
                        <a:pt x="24069" y="35991"/>
                        <a:pt x="21557" y="31206"/>
                        <a:pt x="18028" y="24747"/>
                      </a:cubicBezTo>
                      <a:cubicBezTo>
                        <a:pt x="17670" y="24089"/>
                        <a:pt x="17311" y="23491"/>
                        <a:pt x="17012" y="22893"/>
                      </a:cubicBezTo>
                      <a:cubicBezTo>
                        <a:pt x="16414" y="21816"/>
                        <a:pt x="15636" y="20321"/>
                        <a:pt x="14799" y="18587"/>
                      </a:cubicBezTo>
                      <a:cubicBezTo>
                        <a:pt x="11450" y="12127"/>
                        <a:pt x="6904" y="3216"/>
                        <a:pt x="3734" y="286"/>
                      </a:cubicBezTo>
                      <a:cubicBezTo>
                        <a:pt x="3316" y="-133"/>
                        <a:pt x="2658" y="-73"/>
                        <a:pt x="2239" y="345"/>
                      </a:cubicBezTo>
                      <a:cubicBezTo>
                        <a:pt x="1821" y="764"/>
                        <a:pt x="1880" y="1422"/>
                        <a:pt x="2299" y="1841"/>
                      </a:cubicBezTo>
                      <a:cubicBezTo>
                        <a:pt x="5170" y="4532"/>
                        <a:pt x="9835" y="13623"/>
                        <a:pt x="12945" y="19603"/>
                      </a:cubicBezTo>
                      <a:cubicBezTo>
                        <a:pt x="13842" y="21338"/>
                        <a:pt x="14619" y="22833"/>
                        <a:pt x="15218" y="23969"/>
                      </a:cubicBezTo>
                      <a:cubicBezTo>
                        <a:pt x="15517" y="24567"/>
                        <a:pt x="15876" y="25166"/>
                        <a:pt x="16234" y="25823"/>
                      </a:cubicBezTo>
                      <a:cubicBezTo>
                        <a:pt x="18387" y="29711"/>
                        <a:pt x="21976" y="36230"/>
                        <a:pt x="21677" y="37845"/>
                      </a:cubicBezTo>
                      <a:cubicBezTo>
                        <a:pt x="21557" y="38443"/>
                        <a:pt x="21139" y="38921"/>
                        <a:pt x="20540" y="39160"/>
                      </a:cubicBezTo>
                      <a:cubicBezTo>
                        <a:pt x="19703" y="39459"/>
                        <a:pt x="18686" y="39220"/>
                        <a:pt x="17909" y="38502"/>
                      </a:cubicBezTo>
                      <a:cubicBezTo>
                        <a:pt x="17730" y="38323"/>
                        <a:pt x="17610" y="37546"/>
                        <a:pt x="17490" y="36948"/>
                      </a:cubicBezTo>
                      <a:cubicBezTo>
                        <a:pt x="17311" y="35751"/>
                        <a:pt x="17072" y="34316"/>
                        <a:pt x="16174" y="32940"/>
                      </a:cubicBezTo>
                      <a:cubicBezTo>
                        <a:pt x="14739" y="30728"/>
                        <a:pt x="2120" y="8958"/>
                        <a:pt x="1940" y="8719"/>
                      </a:cubicBezTo>
                      <a:cubicBezTo>
                        <a:pt x="1641" y="8240"/>
                        <a:pt x="1043" y="8061"/>
                        <a:pt x="505" y="8360"/>
                      </a:cubicBezTo>
                      <a:cubicBezTo>
                        <a:pt x="26" y="8659"/>
                        <a:pt x="-153" y="9317"/>
                        <a:pt x="146" y="9795"/>
                      </a:cubicBezTo>
                      <a:cubicBezTo>
                        <a:pt x="685" y="10692"/>
                        <a:pt x="12945" y="31864"/>
                        <a:pt x="14380" y="34137"/>
                      </a:cubicBezTo>
                      <a:cubicBezTo>
                        <a:pt x="15038" y="35153"/>
                        <a:pt x="15218" y="36290"/>
                        <a:pt x="15397" y="37306"/>
                      </a:cubicBezTo>
                      <a:cubicBezTo>
                        <a:pt x="15577" y="38443"/>
                        <a:pt x="15756" y="39459"/>
                        <a:pt x="16533" y="40117"/>
                      </a:cubicBezTo>
                      <a:cubicBezTo>
                        <a:pt x="17849" y="41194"/>
                        <a:pt x="19643" y="41613"/>
                        <a:pt x="21198" y="41014"/>
                      </a:cubicBezTo>
                      <a:cubicBezTo>
                        <a:pt x="21198" y="41014"/>
                        <a:pt x="21198" y="41014"/>
                        <a:pt x="21198" y="41014"/>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9041" name="Vrije vorm: vorm 9040">
                <a:extLst>
                  <a:ext uri="{FF2B5EF4-FFF2-40B4-BE49-F238E27FC236}">
                    <a16:creationId xmlns:a16="http://schemas.microsoft.com/office/drawing/2014/main" id="{E8B7C7D6-04D0-4D68-BBC3-CE72A5D867A6}"/>
                  </a:ext>
                </a:extLst>
              </p:cNvPr>
              <p:cNvSpPr/>
              <p:nvPr/>
            </p:nvSpPr>
            <p:spPr>
              <a:xfrm>
                <a:off x="5409792" y="2264491"/>
                <a:ext cx="31314" cy="52898"/>
              </a:xfrm>
              <a:custGeom>
                <a:avLst/>
                <a:gdLst>
                  <a:gd name="connsiteX0" fmla="*/ 30651 w 31314"/>
                  <a:gd name="connsiteY0" fmla="*/ 52839 h 52898"/>
                  <a:gd name="connsiteX1" fmla="*/ 31308 w 31314"/>
                  <a:gd name="connsiteY1" fmla="*/ 52002 h 52898"/>
                  <a:gd name="connsiteX2" fmla="*/ 30411 w 31314"/>
                  <a:gd name="connsiteY2" fmla="*/ 50806 h 52898"/>
                  <a:gd name="connsiteX3" fmla="*/ 24849 w 31314"/>
                  <a:gd name="connsiteY3" fmla="*/ 45782 h 52898"/>
                  <a:gd name="connsiteX4" fmla="*/ 16835 w 31314"/>
                  <a:gd name="connsiteY4" fmla="*/ 28617 h 52898"/>
                  <a:gd name="connsiteX5" fmla="*/ 1883 w 31314"/>
                  <a:gd name="connsiteY5" fmla="*/ 448 h 52898"/>
                  <a:gd name="connsiteX6" fmla="*/ 448 w 31314"/>
                  <a:gd name="connsiteY6" fmla="*/ 209 h 52898"/>
                  <a:gd name="connsiteX7" fmla="*/ 209 w 31314"/>
                  <a:gd name="connsiteY7" fmla="*/ 1644 h 52898"/>
                  <a:gd name="connsiteX8" fmla="*/ 14981 w 31314"/>
                  <a:gd name="connsiteY8" fmla="*/ 29454 h 52898"/>
                  <a:gd name="connsiteX9" fmla="*/ 23055 w 31314"/>
                  <a:gd name="connsiteY9" fmla="*/ 46739 h 52898"/>
                  <a:gd name="connsiteX10" fmla="*/ 30172 w 31314"/>
                  <a:gd name="connsiteY10" fmla="*/ 52899 h 52898"/>
                  <a:gd name="connsiteX11" fmla="*/ 30651 w 31314"/>
                  <a:gd name="connsiteY11" fmla="*/ 52839 h 5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14" h="52898">
                    <a:moveTo>
                      <a:pt x="30651" y="52839"/>
                    </a:moveTo>
                    <a:cubicBezTo>
                      <a:pt x="31009" y="52719"/>
                      <a:pt x="31249" y="52420"/>
                      <a:pt x="31308" y="52002"/>
                    </a:cubicBezTo>
                    <a:cubicBezTo>
                      <a:pt x="31368" y="51404"/>
                      <a:pt x="31009" y="50925"/>
                      <a:pt x="30411" y="50806"/>
                    </a:cubicBezTo>
                    <a:cubicBezTo>
                      <a:pt x="28737" y="50566"/>
                      <a:pt x="25806" y="47755"/>
                      <a:pt x="24849" y="45782"/>
                    </a:cubicBezTo>
                    <a:cubicBezTo>
                      <a:pt x="21799" y="39681"/>
                      <a:pt x="19227" y="34060"/>
                      <a:pt x="16835" y="28617"/>
                    </a:cubicBezTo>
                    <a:cubicBezTo>
                      <a:pt x="12170" y="18211"/>
                      <a:pt x="8163" y="9240"/>
                      <a:pt x="1883" y="448"/>
                    </a:cubicBezTo>
                    <a:cubicBezTo>
                      <a:pt x="1525" y="-30"/>
                      <a:pt x="866" y="-150"/>
                      <a:pt x="448" y="209"/>
                    </a:cubicBezTo>
                    <a:cubicBezTo>
                      <a:pt x="-30" y="567"/>
                      <a:pt x="-150" y="1225"/>
                      <a:pt x="209" y="1644"/>
                    </a:cubicBezTo>
                    <a:cubicBezTo>
                      <a:pt x="6369" y="10256"/>
                      <a:pt x="10316" y="19168"/>
                      <a:pt x="14981" y="29454"/>
                    </a:cubicBezTo>
                    <a:cubicBezTo>
                      <a:pt x="17433" y="34897"/>
                      <a:pt x="19945" y="40519"/>
                      <a:pt x="23055" y="46739"/>
                    </a:cubicBezTo>
                    <a:cubicBezTo>
                      <a:pt x="24191" y="49011"/>
                      <a:pt x="27541" y="52480"/>
                      <a:pt x="30172" y="52899"/>
                    </a:cubicBezTo>
                    <a:cubicBezTo>
                      <a:pt x="30292" y="52899"/>
                      <a:pt x="30471" y="52899"/>
                      <a:pt x="30651" y="5283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42" name="Vrije vorm: vorm 9041">
                <a:extLst>
                  <a:ext uri="{FF2B5EF4-FFF2-40B4-BE49-F238E27FC236}">
                    <a16:creationId xmlns:a16="http://schemas.microsoft.com/office/drawing/2014/main" id="{DAF8ECD2-8B3A-4CEE-8133-2F365E686ED4}"/>
                  </a:ext>
                </a:extLst>
              </p:cNvPr>
              <p:cNvSpPr/>
              <p:nvPr/>
            </p:nvSpPr>
            <p:spPr>
              <a:xfrm>
                <a:off x="5392717" y="2259856"/>
                <a:ext cx="38931" cy="60846"/>
              </a:xfrm>
              <a:custGeom>
                <a:avLst/>
                <a:gdLst>
                  <a:gd name="connsiteX0" fmla="*/ 38277 w 38931"/>
                  <a:gd name="connsiteY0" fmla="*/ 60764 h 60846"/>
                  <a:gd name="connsiteX1" fmla="*/ 38576 w 38931"/>
                  <a:gd name="connsiteY1" fmla="*/ 60585 h 60846"/>
                  <a:gd name="connsiteX2" fmla="*/ 38695 w 38931"/>
                  <a:gd name="connsiteY2" fmla="*/ 59089 h 60846"/>
                  <a:gd name="connsiteX3" fmla="*/ 36961 w 38931"/>
                  <a:gd name="connsiteY3" fmla="*/ 56099 h 60846"/>
                  <a:gd name="connsiteX4" fmla="*/ 35466 w 38931"/>
                  <a:gd name="connsiteY4" fmla="*/ 53288 h 60846"/>
                  <a:gd name="connsiteX5" fmla="*/ 32715 w 38931"/>
                  <a:gd name="connsiteY5" fmla="*/ 49042 h 60846"/>
                  <a:gd name="connsiteX6" fmla="*/ 27153 w 38931"/>
                  <a:gd name="connsiteY6" fmla="*/ 40011 h 60846"/>
                  <a:gd name="connsiteX7" fmla="*/ 18361 w 38931"/>
                  <a:gd name="connsiteY7" fmla="*/ 24162 h 60846"/>
                  <a:gd name="connsiteX8" fmla="*/ 7117 w 38931"/>
                  <a:gd name="connsiteY8" fmla="*/ 10406 h 60846"/>
                  <a:gd name="connsiteX9" fmla="*/ 2093 w 38931"/>
                  <a:gd name="connsiteY9" fmla="*/ 1017 h 60846"/>
                  <a:gd name="connsiteX10" fmla="*/ 1017 w 38931"/>
                  <a:gd name="connsiteY10" fmla="*/ 0 h 60846"/>
                  <a:gd name="connsiteX11" fmla="*/ 0 w 38931"/>
                  <a:gd name="connsiteY11" fmla="*/ 1076 h 60846"/>
                  <a:gd name="connsiteX12" fmla="*/ 5742 w 38931"/>
                  <a:gd name="connsiteY12" fmla="*/ 11961 h 60846"/>
                  <a:gd name="connsiteX13" fmla="*/ 16507 w 38931"/>
                  <a:gd name="connsiteY13" fmla="*/ 25119 h 60846"/>
                  <a:gd name="connsiteX14" fmla="*/ 25299 w 38931"/>
                  <a:gd name="connsiteY14" fmla="*/ 41028 h 60846"/>
                  <a:gd name="connsiteX15" fmla="*/ 30980 w 38931"/>
                  <a:gd name="connsiteY15" fmla="*/ 50178 h 60846"/>
                  <a:gd name="connsiteX16" fmla="*/ 33731 w 38931"/>
                  <a:gd name="connsiteY16" fmla="*/ 54425 h 60846"/>
                  <a:gd name="connsiteX17" fmla="*/ 35107 w 38931"/>
                  <a:gd name="connsiteY17" fmla="*/ 57056 h 60846"/>
                  <a:gd name="connsiteX18" fmla="*/ 37140 w 38931"/>
                  <a:gd name="connsiteY18" fmla="*/ 60465 h 60846"/>
                  <a:gd name="connsiteX19" fmla="*/ 38277 w 38931"/>
                  <a:gd name="connsiteY19" fmla="*/ 60764 h 60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931" h="60846">
                    <a:moveTo>
                      <a:pt x="38277" y="60764"/>
                    </a:moveTo>
                    <a:cubicBezTo>
                      <a:pt x="38397" y="60704"/>
                      <a:pt x="38516" y="60645"/>
                      <a:pt x="38576" y="60585"/>
                    </a:cubicBezTo>
                    <a:cubicBezTo>
                      <a:pt x="38994" y="60226"/>
                      <a:pt x="39054" y="59568"/>
                      <a:pt x="38695" y="59089"/>
                    </a:cubicBezTo>
                    <a:cubicBezTo>
                      <a:pt x="38097" y="58432"/>
                      <a:pt x="37559" y="57295"/>
                      <a:pt x="36961" y="56099"/>
                    </a:cubicBezTo>
                    <a:cubicBezTo>
                      <a:pt x="36483" y="55142"/>
                      <a:pt x="36004" y="54185"/>
                      <a:pt x="35466" y="53288"/>
                    </a:cubicBezTo>
                    <a:cubicBezTo>
                      <a:pt x="34449" y="51733"/>
                      <a:pt x="33552" y="50358"/>
                      <a:pt x="32715" y="49042"/>
                    </a:cubicBezTo>
                    <a:cubicBezTo>
                      <a:pt x="30621" y="45812"/>
                      <a:pt x="29007" y="43300"/>
                      <a:pt x="27153" y="40011"/>
                    </a:cubicBezTo>
                    <a:cubicBezTo>
                      <a:pt x="22428" y="31638"/>
                      <a:pt x="19617" y="26495"/>
                      <a:pt x="18361" y="24162"/>
                    </a:cubicBezTo>
                    <a:cubicBezTo>
                      <a:pt x="15669" y="19019"/>
                      <a:pt x="10825" y="13696"/>
                      <a:pt x="7117" y="10406"/>
                    </a:cubicBezTo>
                    <a:cubicBezTo>
                      <a:pt x="2333" y="6160"/>
                      <a:pt x="2093" y="1076"/>
                      <a:pt x="2093" y="1017"/>
                    </a:cubicBezTo>
                    <a:cubicBezTo>
                      <a:pt x="2093" y="419"/>
                      <a:pt x="1615" y="0"/>
                      <a:pt x="1017" y="0"/>
                    </a:cubicBezTo>
                    <a:cubicBezTo>
                      <a:pt x="419" y="0"/>
                      <a:pt x="0" y="478"/>
                      <a:pt x="0" y="1076"/>
                    </a:cubicBezTo>
                    <a:cubicBezTo>
                      <a:pt x="0" y="1316"/>
                      <a:pt x="239" y="7117"/>
                      <a:pt x="5742" y="11961"/>
                    </a:cubicBezTo>
                    <a:cubicBezTo>
                      <a:pt x="9270" y="15131"/>
                      <a:pt x="13995" y="20215"/>
                      <a:pt x="16507" y="25119"/>
                    </a:cubicBezTo>
                    <a:cubicBezTo>
                      <a:pt x="17703" y="27451"/>
                      <a:pt x="20574" y="32655"/>
                      <a:pt x="25299" y="41028"/>
                    </a:cubicBezTo>
                    <a:cubicBezTo>
                      <a:pt x="27213" y="44377"/>
                      <a:pt x="28827" y="46949"/>
                      <a:pt x="30980" y="50178"/>
                    </a:cubicBezTo>
                    <a:cubicBezTo>
                      <a:pt x="31817" y="51494"/>
                      <a:pt x="32715" y="52869"/>
                      <a:pt x="33731" y="54425"/>
                    </a:cubicBezTo>
                    <a:cubicBezTo>
                      <a:pt x="34210" y="55202"/>
                      <a:pt x="34688" y="56159"/>
                      <a:pt x="35107" y="57056"/>
                    </a:cubicBezTo>
                    <a:cubicBezTo>
                      <a:pt x="35765" y="58372"/>
                      <a:pt x="36363" y="59568"/>
                      <a:pt x="37140" y="60465"/>
                    </a:cubicBezTo>
                    <a:cubicBezTo>
                      <a:pt x="37380" y="60824"/>
                      <a:pt x="37858" y="60943"/>
                      <a:pt x="38277" y="6076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43" name="Vrije vorm: vorm 9042">
                <a:extLst>
                  <a:ext uri="{FF2B5EF4-FFF2-40B4-BE49-F238E27FC236}">
                    <a16:creationId xmlns:a16="http://schemas.microsoft.com/office/drawing/2014/main" id="{25371557-CCB0-4AE3-B1B4-718D3D948DDF}"/>
                  </a:ext>
                </a:extLst>
              </p:cNvPr>
              <p:cNvSpPr/>
              <p:nvPr/>
            </p:nvSpPr>
            <p:spPr>
              <a:xfrm>
                <a:off x="5428236" y="2314675"/>
                <a:ext cx="15639" cy="4399"/>
              </a:xfrm>
              <a:custGeom>
                <a:avLst/>
                <a:gdLst>
                  <a:gd name="connsiteX0" fmla="*/ 12984 w 15639"/>
                  <a:gd name="connsiteY0" fmla="*/ 2715 h 4399"/>
                  <a:gd name="connsiteX1" fmla="*/ 14001 w 15639"/>
                  <a:gd name="connsiteY1" fmla="*/ 2356 h 4399"/>
                  <a:gd name="connsiteX2" fmla="*/ 14958 w 15639"/>
                  <a:gd name="connsiteY2" fmla="*/ 1997 h 4399"/>
                  <a:gd name="connsiteX3" fmla="*/ 15556 w 15639"/>
                  <a:gd name="connsiteY3" fmla="*/ 681 h 4399"/>
                  <a:gd name="connsiteX4" fmla="*/ 14240 w 15639"/>
                  <a:gd name="connsiteY4" fmla="*/ 83 h 4399"/>
                  <a:gd name="connsiteX5" fmla="*/ 13283 w 15639"/>
                  <a:gd name="connsiteY5" fmla="*/ 442 h 4399"/>
                  <a:gd name="connsiteX6" fmla="*/ 7422 w 15639"/>
                  <a:gd name="connsiteY6" fmla="*/ 2236 h 4399"/>
                  <a:gd name="connsiteX7" fmla="*/ 5149 w 15639"/>
                  <a:gd name="connsiteY7" fmla="*/ 1758 h 4399"/>
                  <a:gd name="connsiteX8" fmla="*/ 903 w 15639"/>
                  <a:gd name="connsiteY8" fmla="*/ 1040 h 4399"/>
                  <a:gd name="connsiteX9" fmla="*/ 6 w 15639"/>
                  <a:gd name="connsiteY9" fmla="*/ 2236 h 4399"/>
                  <a:gd name="connsiteX10" fmla="*/ 1202 w 15639"/>
                  <a:gd name="connsiteY10" fmla="*/ 3133 h 4399"/>
                  <a:gd name="connsiteX11" fmla="*/ 4372 w 15639"/>
                  <a:gd name="connsiteY11" fmla="*/ 3732 h 4399"/>
                  <a:gd name="connsiteX12" fmla="*/ 7781 w 15639"/>
                  <a:gd name="connsiteY12" fmla="*/ 4330 h 4399"/>
                  <a:gd name="connsiteX13" fmla="*/ 12984 w 15639"/>
                  <a:gd name="connsiteY13" fmla="*/ 2715 h 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39" h="4399">
                    <a:moveTo>
                      <a:pt x="12984" y="2715"/>
                    </a:moveTo>
                    <a:cubicBezTo>
                      <a:pt x="13343" y="2595"/>
                      <a:pt x="13642" y="2476"/>
                      <a:pt x="14001" y="2356"/>
                    </a:cubicBezTo>
                    <a:lnTo>
                      <a:pt x="14958" y="1997"/>
                    </a:lnTo>
                    <a:cubicBezTo>
                      <a:pt x="15496" y="1818"/>
                      <a:pt x="15795" y="1220"/>
                      <a:pt x="15556" y="681"/>
                    </a:cubicBezTo>
                    <a:cubicBezTo>
                      <a:pt x="15376" y="143"/>
                      <a:pt x="14778" y="-156"/>
                      <a:pt x="14240" y="83"/>
                    </a:cubicBezTo>
                    <a:lnTo>
                      <a:pt x="13283" y="442"/>
                    </a:lnTo>
                    <a:cubicBezTo>
                      <a:pt x="11489" y="1100"/>
                      <a:pt x="9575" y="1818"/>
                      <a:pt x="7422" y="2236"/>
                    </a:cubicBezTo>
                    <a:cubicBezTo>
                      <a:pt x="6764" y="2356"/>
                      <a:pt x="6046" y="2117"/>
                      <a:pt x="5149" y="1758"/>
                    </a:cubicBezTo>
                    <a:cubicBezTo>
                      <a:pt x="4013" y="1339"/>
                      <a:pt x="2637" y="801"/>
                      <a:pt x="903" y="1040"/>
                    </a:cubicBezTo>
                    <a:cubicBezTo>
                      <a:pt x="365" y="1100"/>
                      <a:pt x="-54" y="1638"/>
                      <a:pt x="6" y="2236"/>
                    </a:cubicBezTo>
                    <a:cubicBezTo>
                      <a:pt x="66" y="2834"/>
                      <a:pt x="604" y="3193"/>
                      <a:pt x="1202" y="3133"/>
                    </a:cubicBezTo>
                    <a:cubicBezTo>
                      <a:pt x="2398" y="2954"/>
                      <a:pt x="3355" y="3313"/>
                      <a:pt x="4372" y="3732"/>
                    </a:cubicBezTo>
                    <a:cubicBezTo>
                      <a:pt x="5389" y="4150"/>
                      <a:pt x="6465" y="4569"/>
                      <a:pt x="7781" y="4330"/>
                    </a:cubicBezTo>
                    <a:cubicBezTo>
                      <a:pt x="9694" y="3851"/>
                      <a:pt x="11369" y="3313"/>
                      <a:pt x="12984" y="271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44" name="Vrije vorm: vorm 9043">
                <a:extLst>
                  <a:ext uri="{FF2B5EF4-FFF2-40B4-BE49-F238E27FC236}">
                    <a16:creationId xmlns:a16="http://schemas.microsoft.com/office/drawing/2014/main" id="{E254F429-706F-4589-9529-D403D328D9DD}"/>
                  </a:ext>
                </a:extLst>
              </p:cNvPr>
              <p:cNvSpPr/>
              <p:nvPr/>
            </p:nvSpPr>
            <p:spPr>
              <a:xfrm>
                <a:off x="5405815" y="2285789"/>
                <a:ext cx="6929" cy="38126"/>
              </a:xfrm>
              <a:custGeom>
                <a:avLst/>
                <a:gdLst>
                  <a:gd name="connsiteX0" fmla="*/ 1494 w 6929"/>
                  <a:gd name="connsiteY0" fmla="*/ 38060 h 38126"/>
                  <a:gd name="connsiteX1" fmla="*/ 2153 w 6929"/>
                  <a:gd name="connsiteY1" fmla="*/ 36924 h 38126"/>
                  <a:gd name="connsiteX2" fmla="*/ 2093 w 6929"/>
                  <a:gd name="connsiteY2" fmla="*/ 32977 h 38126"/>
                  <a:gd name="connsiteX3" fmla="*/ 3887 w 6929"/>
                  <a:gd name="connsiteY3" fmla="*/ 24364 h 38126"/>
                  <a:gd name="connsiteX4" fmla="*/ 6578 w 6929"/>
                  <a:gd name="connsiteY4" fmla="*/ 860 h 38126"/>
                  <a:gd name="connsiteX5" fmla="*/ 5382 w 6929"/>
                  <a:gd name="connsiteY5" fmla="*/ 23 h 38126"/>
                  <a:gd name="connsiteX6" fmla="*/ 4545 w 6929"/>
                  <a:gd name="connsiteY6" fmla="*/ 1219 h 38126"/>
                  <a:gd name="connsiteX7" fmla="*/ 1913 w 6929"/>
                  <a:gd name="connsiteY7" fmla="*/ 23886 h 38126"/>
                  <a:gd name="connsiteX8" fmla="*/ 119 w 6929"/>
                  <a:gd name="connsiteY8" fmla="*/ 32678 h 38126"/>
                  <a:gd name="connsiteX9" fmla="*/ 179 w 6929"/>
                  <a:gd name="connsiteY9" fmla="*/ 37223 h 38126"/>
                  <a:gd name="connsiteX10" fmla="*/ 1375 w 6929"/>
                  <a:gd name="connsiteY10" fmla="*/ 38120 h 38126"/>
                  <a:gd name="connsiteX11" fmla="*/ 1494 w 6929"/>
                  <a:gd name="connsiteY11" fmla="*/ 38060 h 3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29" h="38126">
                    <a:moveTo>
                      <a:pt x="1494" y="38060"/>
                    </a:moveTo>
                    <a:cubicBezTo>
                      <a:pt x="1973" y="37881"/>
                      <a:pt x="2272" y="37402"/>
                      <a:pt x="2153" y="36924"/>
                    </a:cubicBezTo>
                    <a:cubicBezTo>
                      <a:pt x="2153" y="36924"/>
                      <a:pt x="1853" y="34831"/>
                      <a:pt x="2093" y="32977"/>
                    </a:cubicBezTo>
                    <a:cubicBezTo>
                      <a:pt x="2452" y="30584"/>
                      <a:pt x="3109" y="27594"/>
                      <a:pt x="3887" y="24364"/>
                    </a:cubicBezTo>
                    <a:cubicBezTo>
                      <a:pt x="5681" y="16590"/>
                      <a:pt x="7774" y="7798"/>
                      <a:pt x="6578" y="860"/>
                    </a:cubicBezTo>
                    <a:cubicBezTo>
                      <a:pt x="6459" y="262"/>
                      <a:pt x="5920" y="-97"/>
                      <a:pt x="5382" y="23"/>
                    </a:cubicBezTo>
                    <a:cubicBezTo>
                      <a:pt x="4844" y="143"/>
                      <a:pt x="4425" y="681"/>
                      <a:pt x="4545" y="1219"/>
                    </a:cubicBezTo>
                    <a:cubicBezTo>
                      <a:pt x="5681" y="7738"/>
                      <a:pt x="3588" y="16709"/>
                      <a:pt x="1913" y="23886"/>
                    </a:cubicBezTo>
                    <a:cubicBezTo>
                      <a:pt x="1136" y="27116"/>
                      <a:pt x="418" y="30166"/>
                      <a:pt x="119" y="32678"/>
                    </a:cubicBezTo>
                    <a:cubicBezTo>
                      <a:pt x="-180" y="34831"/>
                      <a:pt x="179" y="37163"/>
                      <a:pt x="179" y="37223"/>
                    </a:cubicBezTo>
                    <a:cubicBezTo>
                      <a:pt x="298" y="37821"/>
                      <a:pt x="777" y="38180"/>
                      <a:pt x="1375" y="38120"/>
                    </a:cubicBezTo>
                    <a:cubicBezTo>
                      <a:pt x="1375" y="38060"/>
                      <a:pt x="1435" y="38060"/>
                      <a:pt x="1494" y="3806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45" name="Vrije vorm: vorm 9044">
                <a:extLst>
                  <a:ext uri="{FF2B5EF4-FFF2-40B4-BE49-F238E27FC236}">
                    <a16:creationId xmlns:a16="http://schemas.microsoft.com/office/drawing/2014/main" id="{F747134F-3C58-4340-8137-8AAA867611B8}"/>
                  </a:ext>
                </a:extLst>
              </p:cNvPr>
              <p:cNvSpPr/>
              <p:nvPr/>
            </p:nvSpPr>
            <p:spPr>
              <a:xfrm>
                <a:off x="5397518" y="2272483"/>
                <a:ext cx="6854" cy="45747"/>
              </a:xfrm>
              <a:custGeom>
                <a:avLst/>
                <a:gdLst>
                  <a:gd name="connsiteX0" fmla="*/ 1359 w 6854"/>
                  <a:gd name="connsiteY0" fmla="*/ 45685 h 45747"/>
                  <a:gd name="connsiteX1" fmla="*/ 1897 w 6854"/>
                  <a:gd name="connsiteY1" fmla="*/ 45267 h 45747"/>
                  <a:gd name="connsiteX2" fmla="*/ 4170 w 6854"/>
                  <a:gd name="connsiteY2" fmla="*/ 38807 h 45747"/>
                  <a:gd name="connsiteX3" fmla="*/ 4828 w 6854"/>
                  <a:gd name="connsiteY3" fmla="*/ 30434 h 45747"/>
                  <a:gd name="connsiteX4" fmla="*/ 6443 w 6854"/>
                  <a:gd name="connsiteY4" fmla="*/ 15124 h 45747"/>
                  <a:gd name="connsiteX5" fmla="*/ 5007 w 6854"/>
                  <a:gd name="connsiteY5" fmla="*/ 710 h 45747"/>
                  <a:gd name="connsiteX6" fmla="*/ 3692 w 6854"/>
                  <a:gd name="connsiteY6" fmla="*/ 52 h 45747"/>
                  <a:gd name="connsiteX7" fmla="*/ 3034 w 6854"/>
                  <a:gd name="connsiteY7" fmla="*/ 1368 h 45747"/>
                  <a:gd name="connsiteX8" fmla="*/ 4409 w 6854"/>
                  <a:gd name="connsiteY8" fmla="*/ 14765 h 45747"/>
                  <a:gd name="connsiteX9" fmla="*/ 2794 w 6854"/>
                  <a:gd name="connsiteY9" fmla="*/ 30315 h 45747"/>
                  <a:gd name="connsiteX10" fmla="*/ 2137 w 6854"/>
                  <a:gd name="connsiteY10" fmla="*/ 38628 h 45747"/>
                  <a:gd name="connsiteX11" fmla="*/ 163 w 6854"/>
                  <a:gd name="connsiteY11" fmla="*/ 44130 h 45747"/>
                  <a:gd name="connsiteX12" fmla="*/ 462 w 6854"/>
                  <a:gd name="connsiteY12" fmla="*/ 45566 h 45747"/>
                  <a:gd name="connsiteX13" fmla="*/ 1359 w 6854"/>
                  <a:gd name="connsiteY13" fmla="*/ 45685 h 4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54" h="45747">
                    <a:moveTo>
                      <a:pt x="1359" y="45685"/>
                    </a:moveTo>
                    <a:cubicBezTo>
                      <a:pt x="1538" y="45625"/>
                      <a:pt x="1718" y="45446"/>
                      <a:pt x="1897" y="45267"/>
                    </a:cubicBezTo>
                    <a:cubicBezTo>
                      <a:pt x="1957" y="45147"/>
                      <a:pt x="3871" y="42216"/>
                      <a:pt x="4170" y="38807"/>
                    </a:cubicBezTo>
                    <a:cubicBezTo>
                      <a:pt x="4469" y="35936"/>
                      <a:pt x="4648" y="33126"/>
                      <a:pt x="4828" y="30434"/>
                    </a:cubicBezTo>
                    <a:cubicBezTo>
                      <a:pt x="5246" y="25111"/>
                      <a:pt x="5605" y="20088"/>
                      <a:pt x="6443" y="15124"/>
                    </a:cubicBezTo>
                    <a:cubicBezTo>
                      <a:pt x="7280" y="10279"/>
                      <a:pt x="6861" y="6272"/>
                      <a:pt x="5007" y="710"/>
                    </a:cubicBezTo>
                    <a:cubicBezTo>
                      <a:pt x="4828" y="172"/>
                      <a:pt x="4230" y="-127"/>
                      <a:pt x="3692" y="52"/>
                    </a:cubicBezTo>
                    <a:cubicBezTo>
                      <a:pt x="3153" y="232"/>
                      <a:pt x="2854" y="830"/>
                      <a:pt x="3034" y="1368"/>
                    </a:cubicBezTo>
                    <a:cubicBezTo>
                      <a:pt x="4768" y="6631"/>
                      <a:pt x="5127" y="10279"/>
                      <a:pt x="4409" y="14765"/>
                    </a:cubicBezTo>
                    <a:cubicBezTo>
                      <a:pt x="3572" y="19849"/>
                      <a:pt x="3153" y="24932"/>
                      <a:pt x="2794" y="30315"/>
                    </a:cubicBezTo>
                    <a:cubicBezTo>
                      <a:pt x="2615" y="33006"/>
                      <a:pt x="2376" y="35757"/>
                      <a:pt x="2137" y="38628"/>
                    </a:cubicBezTo>
                    <a:cubicBezTo>
                      <a:pt x="1838" y="41499"/>
                      <a:pt x="223" y="44130"/>
                      <a:pt x="163" y="44130"/>
                    </a:cubicBezTo>
                    <a:cubicBezTo>
                      <a:pt x="-136" y="44609"/>
                      <a:pt x="-16" y="45267"/>
                      <a:pt x="462" y="45566"/>
                    </a:cubicBezTo>
                    <a:cubicBezTo>
                      <a:pt x="701" y="45745"/>
                      <a:pt x="1060" y="45805"/>
                      <a:pt x="1359" y="4568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46" name="Vrije vorm: vorm 9045">
                <a:extLst>
                  <a:ext uri="{FF2B5EF4-FFF2-40B4-BE49-F238E27FC236}">
                    <a16:creationId xmlns:a16="http://schemas.microsoft.com/office/drawing/2014/main" id="{EB058EE3-8D91-49F3-94FF-56570A574279}"/>
                  </a:ext>
                </a:extLst>
              </p:cNvPr>
              <p:cNvSpPr/>
              <p:nvPr/>
            </p:nvSpPr>
            <p:spPr>
              <a:xfrm>
                <a:off x="5399333" y="2311805"/>
                <a:ext cx="10472" cy="13455"/>
              </a:xfrm>
              <a:custGeom>
                <a:avLst/>
                <a:gdLst>
                  <a:gd name="connsiteX0" fmla="*/ 9771 w 10472"/>
                  <a:gd name="connsiteY0" fmla="*/ 13420 h 13455"/>
                  <a:gd name="connsiteX1" fmla="*/ 10310 w 10472"/>
                  <a:gd name="connsiteY1" fmla="*/ 13001 h 13455"/>
                  <a:gd name="connsiteX2" fmla="*/ 10011 w 10472"/>
                  <a:gd name="connsiteY2" fmla="*/ 11566 h 13455"/>
                  <a:gd name="connsiteX3" fmla="*/ 4209 w 10472"/>
                  <a:gd name="connsiteY3" fmla="*/ 7559 h 13455"/>
                  <a:gd name="connsiteX4" fmla="*/ 2056 w 10472"/>
                  <a:gd name="connsiteY4" fmla="*/ 860 h 13455"/>
                  <a:gd name="connsiteX5" fmla="*/ 860 w 10472"/>
                  <a:gd name="connsiteY5" fmla="*/ 23 h 13455"/>
                  <a:gd name="connsiteX6" fmla="*/ 23 w 10472"/>
                  <a:gd name="connsiteY6" fmla="*/ 1219 h 13455"/>
                  <a:gd name="connsiteX7" fmla="*/ 2834 w 10472"/>
                  <a:gd name="connsiteY7" fmla="*/ 9054 h 13455"/>
                  <a:gd name="connsiteX8" fmla="*/ 8934 w 10472"/>
                  <a:gd name="connsiteY8" fmla="*/ 13300 h 13455"/>
                  <a:gd name="connsiteX9" fmla="*/ 9771 w 10472"/>
                  <a:gd name="connsiteY9" fmla="*/ 13420 h 1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2" h="13455">
                    <a:moveTo>
                      <a:pt x="9771" y="13420"/>
                    </a:moveTo>
                    <a:cubicBezTo>
                      <a:pt x="9951" y="13360"/>
                      <a:pt x="10190" y="13181"/>
                      <a:pt x="10310" y="13001"/>
                    </a:cubicBezTo>
                    <a:cubicBezTo>
                      <a:pt x="10609" y="12523"/>
                      <a:pt x="10489" y="11865"/>
                      <a:pt x="10011" y="11566"/>
                    </a:cubicBezTo>
                    <a:cubicBezTo>
                      <a:pt x="8695" y="10728"/>
                      <a:pt x="5106" y="8396"/>
                      <a:pt x="4209" y="7559"/>
                    </a:cubicBezTo>
                    <a:cubicBezTo>
                      <a:pt x="3133" y="6542"/>
                      <a:pt x="2535" y="3611"/>
                      <a:pt x="2056" y="860"/>
                    </a:cubicBezTo>
                    <a:cubicBezTo>
                      <a:pt x="1936" y="262"/>
                      <a:pt x="1398" y="-97"/>
                      <a:pt x="860" y="23"/>
                    </a:cubicBezTo>
                    <a:cubicBezTo>
                      <a:pt x="262" y="143"/>
                      <a:pt x="-97" y="681"/>
                      <a:pt x="23" y="1219"/>
                    </a:cubicBezTo>
                    <a:cubicBezTo>
                      <a:pt x="681" y="5047"/>
                      <a:pt x="1398" y="7738"/>
                      <a:pt x="2834" y="9054"/>
                    </a:cubicBezTo>
                    <a:cubicBezTo>
                      <a:pt x="4030" y="10190"/>
                      <a:pt x="8456" y="13001"/>
                      <a:pt x="8934" y="13300"/>
                    </a:cubicBezTo>
                    <a:cubicBezTo>
                      <a:pt x="9173" y="13480"/>
                      <a:pt x="9532" y="13480"/>
                      <a:pt x="9771" y="1342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47" name="Vrije vorm: vorm 9046">
                <a:extLst>
                  <a:ext uri="{FF2B5EF4-FFF2-40B4-BE49-F238E27FC236}">
                    <a16:creationId xmlns:a16="http://schemas.microsoft.com/office/drawing/2014/main" id="{20F1EB40-71ED-442D-A8E6-644B41D126EE}"/>
                  </a:ext>
                </a:extLst>
              </p:cNvPr>
              <p:cNvSpPr/>
              <p:nvPr/>
            </p:nvSpPr>
            <p:spPr>
              <a:xfrm>
                <a:off x="5376149" y="2202702"/>
                <a:ext cx="12859" cy="15155"/>
              </a:xfrm>
              <a:custGeom>
                <a:avLst/>
                <a:gdLst>
                  <a:gd name="connsiteX0" fmla="*/ 12860 w 12859"/>
                  <a:gd name="connsiteY0" fmla="*/ 2250 h 15155"/>
                  <a:gd name="connsiteX1" fmla="*/ 4128 w 12859"/>
                  <a:gd name="connsiteY1" fmla="*/ 5958 h 15155"/>
                  <a:gd name="connsiteX2" fmla="*/ 6700 w 12859"/>
                  <a:gd name="connsiteY2" fmla="*/ 14929 h 15155"/>
                  <a:gd name="connsiteX3" fmla="*/ 3051 w 12859"/>
                  <a:gd name="connsiteY3" fmla="*/ 13016 h 15155"/>
                  <a:gd name="connsiteX4" fmla="*/ 1556 w 12859"/>
                  <a:gd name="connsiteY4" fmla="*/ 2908 h 15155"/>
                  <a:gd name="connsiteX5" fmla="*/ 12860 w 12859"/>
                  <a:gd name="connsiteY5" fmla="*/ 2250 h 1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9" h="15155">
                    <a:moveTo>
                      <a:pt x="12860" y="2250"/>
                    </a:moveTo>
                    <a:cubicBezTo>
                      <a:pt x="7836" y="5300"/>
                      <a:pt x="4128" y="5958"/>
                      <a:pt x="4128" y="5958"/>
                    </a:cubicBezTo>
                    <a:cubicBezTo>
                      <a:pt x="4128" y="5958"/>
                      <a:pt x="6401" y="8829"/>
                      <a:pt x="6700" y="14929"/>
                    </a:cubicBezTo>
                    <a:cubicBezTo>
                      <a:pt x="6700" y="14929"/>
                      <a:pt x="5444" y="16126"/>
                      <a:pt x="3051" y="13016"/>
                    </a:cubicBezTo>
                    <a:cubicBezTo>
                      <a:pt x="659" y="9906"/>
                      <a:pt x="-1613" y="7035"/>
                      <a:pt x="1556" y="2908"/>
                    </a:cubicBezTo>
                    <a:cubicBezTo>
                      <a:pt x="4726" y="-1219"/>
                      <a:pt x="10169" y="-501"/>
                      <a:pt x="12860" y="2250"/>
                    </a:cubicBezTo>
                    <a:close/>
                  </a:path>
                </a:pathLst>
              </a:custGeom>
              <a:grpFill/>
              <a:ln w="6350" cap="flat">
                <a:solidFill>
                  <a:schemeClr val="bg1">
                    <a:alpha val="80000"/>
                  </a:schemeClr>
                </a:solidFill>
                <a:prstDash val="solid"/>
                <a:miter/>
              </a:ln>
            </p:spPr>
            <p:txBody>
              <a:bodyPr rtlCol="0" anchor="ctr"/>
              <a:lstStyle/>
              <a:p>
                <a:endParaRPr lang="en-GB"/>
              </a:p>
            </p:txBody>
          </p:sp>
          <p:grpSp>
            <p:nvGrpSpPr>
              <p:cNvPr id="9048" name="Graphic 3">
                <a:extLst>
                  <a:ext uri="{FF2B5EF4-FFF2-40B4-BE49-F238E27FC236}">
                    <a16:creationId xmlns:a16="http://schemas.microsoft.com/office/drawing/2014/main" id="{1AC500B5-9F9D-4180-8676-1ED47D8EEF57}"/>
                  </a:ext>
                </a:extLst>
              </p:cNvPr>
              <p:cNvGrpSpPr/>
              <p:nvPr/>
            </p:nvGrpSpPr>
            <p:grpSpPr>
              <a:xfrm>
                <a:off x="5383345" y="2225005"/>
                <a:ext cx="8986" cy="21521"/>
                <a:chOff x="5383345" y="2225005"/>
                <a:chExt cx="8986" cy="21521"/>
              </a:xfrm>
              <a:grpFill/>
            </p:grpSpPr>
            <p:sp>
              <p:nvSpPr>
                <p:cNvPr id="9049" name="Vrije vorm: vorm 9048">
                  <a:extLst>
                    <a:ext uri="{FF2B5EF4-FFF2-40B4-BE49-F238E27FC236}">
                      <a16:creationId xmlns:a16="http://schemas.microsoft.com/office/drawing/2014/main" id="{E545606B-0934-4FF1-8263-932DE3E6DAA9}"/>
                    </a:ext>
                  </a:extLst>
                </p:cNvPr>
                <p:cNvSpPr/>
                <p:nvPr/>
              </p:nvSpPr>
              <p:spPr>
                <a:xfrm>
                  <a:off x="5384366" y="2225829"/>
                  <a:ext cx="7035" cy="19802"/>
                </a:xfrm>
                <a:custGeom>
                  <a:avLst/>
                  <a:gdLst>
                    <a:gd name="connsiteX0" fmla="*/ 6916 w 7035"/>
                    <a:gd name="connsiteY0" fmla="*/ 19673 h 19802"/>
                    <a:gd name="connsiteX1" fmla="*/ 756 w 7035"/>
                    <a:gd name="connsiteY1" fmla="*/ 9446 h 19802"/>
                    <a:gd name="connsiteX2" fmla="*/ 1234 w 7035"/>
                    <a:gd name="connsiteY2" fmla="*/ 176 h 19802"/>
                    <a:gd name="connsiteX3" fmla="*/ 6916 w 7035"/>
                    <a:gd name="connsiteY3" fmla="*/ 19673 h 19802"/>
                  </a:gdLst>
                  <a:ahLst/>
                  <a:cxnLst>
                    <a:cxn ang="0">
                      <a:pos x="connsiteX0" y="connsiteY0"/>
                    </a:cxn>
                    <a:cxn ang="0">
                      <a:pos x="connsiteX1" y="connsiteY1"/>
                    </a:cxn>
                    <a:cxn ang="0">
                      <a:pos x="connsiteX2" y="connsiteY2"/>
                    </a:cxn>
                    <a:cxn ang="0">
                      <a:pos x="connsiteX3" y="connsiteY3"/>
                    </a:cxn>
                  </a:cxnLst>
                  <a:rect l="l" t="t" r="r" b="b"/>
                  <a:pathLst>
                    <a:path w="7035" h="19802">
                      <a:moveTo>
                        <a:pt x="6916" y="19673"/>
                      </a:moveTo>
                      <a:cubicBezTo>
                        <a:pt x="5959" y="17580"/>
                        <a:pt x="2191" y="13812"/>
                        <a:pt x="756" y="9446"/>
                      </a:cubicBezTo>
                      <a:cubicBezTo>
                        <a:pt x="-321" y="6097"/>
                        <a:pt x="-321" y="2568"/>
                        <a:pt x="1234" y="176"/>
                      </a:cubicBezTo>
                      <a:cubicBezTo>
                        <a:pt x="2849" y="-2276"/>
                        <a:pt x="7873" y="21766"/>
                        <a:pt x="6916" y="1967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50" name="Vrije vorm: vorm 9049">
                  <a:extLst>
                    <a:ext uri="{FF2B5EF4-FFF2-40B4-BE49-F238E27FC236}">
                      <a16:creationId xmlns:a16="http://schemas.microsoft.com/office/drawing/2014/main" id="{2AD47188-08CB-4BD6-BB31-705E13B90EB2}"/>
                    </a:ext>
                  </a:extLst>
                </p:cNvPr>
                <p:cNvSpPr/>
                <p:nvPr/>
              </p:nvSpPr>
              <p:spPr>
                <a:xfrm>
                  <a:off x="5383345" y="2225005"/>
                  <a:ext cx="8986" cy="21521"/>
                </a:xfrm>
                <a:custGeom>
                  <a:avLst/>
                  <a:gdLst>
                    <a:gd name="connsiteX0" fmla="*/ 8295 w 8986"/>
                    <a:gd name="connsiteY0" fmla="*/ 21454 h 21521"/>
                    <a:gd name="connsiteX1" fmla="*/ 8355 w 8986"/>
                    <a:gd name="connsiteY1" fmla="*/ 21395 h 21521"/>
                    <a:gd name="connsiteX2" fmla="*/ 8893 w 8986"/>
                    <a:gd name="connsiteY2" fmla="*/ 20019 h 21521"/>
                    <a:gd name="connsiteX3" fmla="*/ 6860 w 8986"/>
                    <a:gd name="connsiteY3" fmla="*/ 16969 h 21521"/>
                    <a:gd name="connsiteX4" fmla="*/ 2793 w 8986"/>
                    <a:gd name="connsiteY4" fmla="*/ 9971 h 21521"/>
                    <a:gd name="connsiteX5" fmla="*/ 3152 w 8986"/>
                    <a:gd name="connsiteY5" fmla="*/ 1598 h 21521"/>
                    <a:gd name="connsiteX6" fmla="*/ 2853 w 8986"/>
                    <a:gd name="connsiteY6" fmla="*/ 163 h 21521"/>
                    <a:gd name="connsiteX7" fmla="*/ 1417 w 8986"/>
                    <a:gd name="connsiteY7" fmla="*/ 462 h 21521"/>
                    <a:gd name="connsiteX8" fmla="*/ 819 w 8986"/>
                    <a:gd name="connsiteY8" fmla="*/ 10629 h 21521"/>
                    <a:gd name="connsiteX9" fmla="*/ 5185 w 8986"/>
                    <a:gd name="connsiteY9" fmla="*/ 18225 h 21521"/>
                    <a:gd name="connsiteX10" fmla="*/ 6979 w 8986"/>
                    <a:gd name="connsiteY10" fmla="*/ 20916 h 21521"/>
                    <a:gd name="connsiteX11" fmla="*/ 8295 w 8986"/>
                    <a:gd name="connsiteY11" fmla="*/ 21454 h 21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86" h="21521">
                      <a:moveTo>
                        <a:pt x="8295" y="21454"/>
                      </a:moveTo>
                      <a:cubicBezTo>
                        <a:pt x="8295" y="21454"/>
                        <a:pt x="8355" y="21454"/>
                        <a:pt x="8355" y="21395"/>
                      </a:cubicBezTo>
                      <a:cubicBezTo>
                        <a:pt x="8893" y="21155"/>
                        <a:pt x="9132" y="20557"/>
                        <a:pt x="8893" y="20019"/>
                      </a:cubicBezTo>
                      <a:cubicBezTo>
                        <a:pt x="8535" y="19182"/>
                        <a:pt x="7757" y="18165"/>
                        <a:pt x="6860" y="16969"/>
                      </a:cubicBezTo>
                      <a:cubicBezTo>
                        <a:pt x="5424" y="14995"/>
                        <a:pt x="3630" y="12543"/>
                        <a:pt x="2793" y="9971"/>
                      </a:cubicBezTo>
                      <a:cubicBezTo>
                        <a:pt x="1716" y="6682"/>
                        <a:pt x="1896" y="3572"/>
                        <a:pt x="3152" y="1598"/>
                      </a:cubicBezTo>
                      <a:cubicBezTo>
                        <a:pt x="3451" y="1120"/>
                        <a:pt x="3331" y="462"/>
                        <a:pt x="2853" y="163"/>
                      </a:cubicBezTo>
                      <a:cubicBezTo>
                        <a:pt x="2374" y="-136"/>
                        <a:pt x="1716" y="-16"/>
                        <a:pt x="1417" y="462"/>
                      </a:cubicBezTo>
                      <a:cubicBezTo>
                        <a:pt x="-257" y="3034"/>
                        <a:pt x="-437" y="6742"/>
                        <a:pt x="819" y="10629"/>
                      </a:cubicBezTo>
                      <a:cubicBezTo>
                        <a:pt x="1776" y="13560"/>
                        <a:pt x="3690" y="16132"/>
                        <a:pt x="5185" y="18225"/>
                      </a:cubicBezTo>
                      <a:cubicBezTo>
                        <a:pt x="5962" y="19301"/>
                        <a:pt x="6681" y="20258"/>
                        <a:pt x="6979" y="20916"/>
                      </a:cubicBezTo>
                      <a:cubicBezTo>
                        <a:pt x="7219" y="21454"/>
                        <a:pt x="7816" y="21634"/>
                        <a:pt x="8295" y="21454"/>
                      </a:cubicBezTo>
                      <a:close/>
                    </a:path>
                  </a:pathLst>
                </a:custGeom>
                <a:grpFill/>
                <a:ln w="6350" cap="flat">
                  <a:solidFill>
                    <a:schemeClr val="bg1">
                      <a:alpha val="80000"/>
                    </a:schemeClr>
                  </a:solidFill>
                  <a:prstDash val="solid"/>
                  <a:miter/>
                </a:ln>
              </p:spPr>
              <p:txBody>
                <a:bodyPr rtlCol="0" anchor="ctr"/>
                <a:lstStyle/>
                <a:p>
                  <a:endParaRPr lang="en-GB"/>
                </a:p>
              </p:txBody>
            </p:sp>
          </p:grpSp>
        </p:grpSp>
        <p:grpSp>
          <p:nvGrpSpPr>
            <p:cNvPr id="8986" name="Graphic 3">
              <a:extLst>
                <a:ext uri="{FF2B5EF4-FFF2-40B4-BE49-F238E27FC236}">
                  <a16:creationId xmlns:a16="http://schemas.microsoft.com/office/drawing/2014/main" id="{0EAE7C2C-AEDE-48E5-BF16-EF714F5D1C3C}"/>
                </a:ext>
              </a:extLst>
            </p:cNvPr>
            <p:cNvGrpSpPr/>
            <p:nvPr/>
          </p:nvGrpSpPr>
          <p:grpSpPr>
            <a:xfrm>
              <a:off x="5777326" y="1884581"/>
              <a:ext cx="84344" cy="128116"/>
              <a:chOff x="5777326" y="1884581"/>
              <a:chExt cx="84344" cy="128116"/>
            </a:xfrm>
            <a:grpFill/>
          </p:grpSpPr>
          <p:sp>
            <p:nvSpPr>
              <p:cNvPr id="9018" name="Vrije vorm: vorm 9017">
                <a:extLst>
                  <a:ext uri="{FF2B5EF4-FFF2-40B4-BE49-F238E27FC236}">
                    <a16:creationId xmlns:a16="http://schemas.microsoft.com/office/drawing/2014/main" id="{BB36E28E-F469-42BC-AF2C-1BC3BF43D202}"/>
                  </a:ext>
                </a:extLst>
              </p:cNvPr>
              <p:cNvSpPr/>
              <p:nvPr/>
            </p:nvSpPr>
            <p:spPr>
              <a:xfrm>
                <a:off x="5793419" y="1884581"/>
                <a:ext cx="18600" cy="26497"/>
              </a:xfrm>
              <a:custGeom>
                <a:avLst/>
                <a:gdLst>
                  <a:gd name="connsiteX0" fmla="*/ 15197 w 18600"/>
                  <a:gd name="connsiteY0" fmla="*/ 26419 h 26497"/>
                  <a:gd name="connsiteX1" fmla="*/ 14120 w 18600"/>
                  <a:gd name="connsiteY1" fmla="*/ 26300 h 26497"/>
                  <a:gd name="connsiteX2" fmla="*/ 13941 w 18600"/>
                  <a:gd name="connsiteY2" fmla="*/ 24804 h 26497"/>
                  <a:gd name="connsiteX3" fmla="*/ 11429 w 18600"/>
                  <a:gd name="connsiteY3" fmla="*/ 6085 h 26497"/>
                  <a:gd name="connsiteX4" fmla="*/ 1262 w 18600"/>
                  <a:gd name="connsiteY4" fmla="*/ 2496 h 26497"/>
                  <a:gd name="connsiteX5" fmla="*/ 6 w 18600"/>
                  <a:gd name="connsiteY5" fmla="*/ 1659 h 26497"/>
                  <a:gd name="connsiteX6" fmla="*/ 1023 w 18600"/>
                  <a:gd name="connsiteY6" fmla="*/ 403 h 26497"/>
                  <a:gd name="connsiteX7" fmla="*/ 13402 w 18600"/>
                  <a:gd name="connsiteY7" fmla="*/ 4889 h 26497"/>
                  <a:gd name="connsiteX8" fmla="*/ 15735 w 18600"/>
                  <a:gd name="connsiteY8" fmla="*/ 26001 h 26497"/>
                  <a:gd name="connsiteX9" fmla="*/ 15197 w 18600"/>
                  <a:gd name="connsiteY9" fmla="*/ 26419 h 2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00" h="26497">
                    <a:moveTo>
                      <a:pt x="15197" y="26419"/>
                    </a:moveTo>
                    <a:cubicBezTo>
                      <a:pt x="14838" y="26539"/>
                      <a:pt x="14419" y="26539"/>
                      <a:pt x="14120" y="26300"/>
                    </a:cubicBezTo>
                    <a:cubicBezTo>
                      <a:pt x="13642" y="25941"/>
                      <a:pt x="13522" y="25283"/>
                      <a:pt x="13941" y="24804"/>
                    </a:cubicBezTo>
                    <a:cubicBezTo>
                      <a:pt x="19383" y="18226"/>
                      <a:pt x="14180" y="10331"/>
                      <a:pt x="11429" y="6085"/>
                    </a:cubicBezTo>
                    <a:cubicBezTo>
                      <a:pt x="8499" y="1659"/>
                      <a:pt x="5628" y="1779"/>
                      <a:pt x="1262" y="2496"/>
                    </a:cubicBezTo>
                    <a:cubicBezTo>
                      <a:pt x="664" y="2616"/>
                      <a:pt x="66" y="2197"/>
                      <a:pt x="6" y="1659"/>
                    </a:cubicBezTo>
                    <a:cubicBezTo>
                      <a:pt x="-54" y="1061"/>
                      <a:pt x="365" y="523"/>
                      <a:pt x="1023" y="403"/>
                    </a:cubicBezTo>
                    <a:cubicBezTo>
                      <a:pt x="5867" y="-374"/>
                      <a:pt x="9874" y="-554"/>
                      <a:pt x="13402" y="4889"/>
                    </a:cubicBezTo>
                    <a:cubicBezTo>
                      <a:pt x="16214" y="9254"/>
                      <a:pt x="22134" y="18285"/>
                      <a:pt x="15735" y="26001"/>
                    </a:cubicBezTo>
                    <a:cubicBezTo>
                      <a:pt x="15556" y="26240"/>
                      <a:pt x="15376" y="26359"/>
                      <a:pt x="15197" y="2641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19" name="Vrije vorm: vorm 9018">
                <a:extLst>
                  <a:ext uri="{FF2B5EF4-FFF2-40B4-BE49-F238E27FC236}">
                    <a16:creationId xmlns:a16="http://schemas.microsoft.com/office/drawing/2014/main" id="{59ED3D2C-EA19-4BB5-91EC-7914D2EABC4E}"/>
                  </a:ext>
                </a:extLst>
              </p:cNvPr>
              <p:cNvSpPr/>
              <p:nvPr/>
            </p:nvSpPr>
            <p:spPr>
              <a:xfrm>
                <a:off x="5786488" y="1884932"/>
                <a:ext cx="9192" cy="23615"/>
              </a:xfrm>
              <a:custGeom>
                <a:avLst/>
                <a:gdLst>
                  <a:gd name="connsiteX0" fmla="*/ 7057 w 9192"/>
                  <a:gd name="connsiteY0" fmla="*/ 23556 h 23615"/>
                  <a:gd name="connsiteX1" fmla="*/ 6579 w 9192"/>
                  <a:gd name="connsiteY1" fmla="*/ 23616 h 23615"/>
                  <a:gd name="connsiteX2" fmla="*/ 0 w 9192"/>
                  <a:gd name="connsiteY2" fmla="*/ 10159 h 23615"/>
                  <a:gd name="connsiteX3" fmla="*/ 7775 w 9192"/>
                  <a:gd name="connsiteY3" fmla="*/ 52 h 23615"/>
                  <a:gd name="connsiteX4" fmla="*/ 9150 w 9192"/>
                  <a:gd name="connsiteY4" fmla="*/ 769 h 23615"/>
                  <a:gd name="connsiteX5" fmla="*/ 8313 w 9192"/>
                  <a:gd name="connsiteY5" fmla="*/ 2085 h 23615"/>
                  <a:gd name="connsiteX6" fmla="*/ 2273 w 9192"/>
                  <a:gd name="connsiteY6" fmla="*/ 10040 h 23615"/>
                  <a:gd name="connsiteX7" fmla="*/ 6818 w 9192"/>
                  <a:gd name="connsiteY7" fmla="*/ 21522 h 23615"/>
                  <a:gd name="connsiteX8" fmla="*/ 7835 w 9192"/>
                  <a:gd name="connsiteY8" fmla="*/ 22659 h 23615"/>
                  <a:gd name="connsiteX9" fmla="*/ 7057 w 9192"/>
                  <a:gd name="connsiteY9" fmla="*/ 23556 h 2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92" h="23615">
                    <a:moveTo>
                      <a:pt x="7057" y="23556"/>
                    </a:moveTo>
                    <a:cubicBezTo>
                      <a:pt x="6878" y="23616"/>
                      <a:pt x="6758" y="23616"/>
                      <a:pt x="6579" y="23616"/>
                    </a:cubicBezTo>
                    <a:cubicBezTo>
                      <a:pt x="1674" y="23317"/>
                      <a:pt x="0" y="14286"/>
                      <a:pt x="0" y="10159"/>
                    </a:cubicBezTo>
                    <a:cubicBezTo>
                      <a:pt x="0" y="5255"/>
                      <a:pt x="2930" y="1427"/>
                      <a:pt x="7775" y="52"/>
                    </a:cubicBezTo>
                    <a:cubicBezTo>
                      <a:pt x="8373" y="-128"/>
                      <a:pt x="9031" y="171"/>
                      <a:pt x="9150" y="769"/>
                    </a:cubicBezTo>
                    <a:cubicBezTo>
                      <a:pt x="9330" y="1308"/>
                      <a:pt x="8911" y="1906"/>
                      <a:pt x="8313" y="2085"/>
                    </a:cubicBezTo>
                    <a:cubicBezTo>
                      <a:pt x="2871" y="3640"/>
                      <a:pt x="2273" y="8185"/>
                      <a:pt x="2273" y="10040"/>
                    </a:cubicBezTo>
                    <a:cubicBezTo>
                      <a:pt x="2273" y="14525"/>
                      <a:pt x="4067" y="21343"/>
                      <a:pt x="6818" y="21522"/>
                    </a:cubicBezTo>
                    <a:cubicBezTo>
                      <a:pt x="7416" y="21582"/>
                      <a:pt x="7895" y="22061"/>
                      <a:pt x="7835" y="22659"/>
                    </a:cubicBezTo>
                    <a:cubicBezTo>
                      <a:pt x="7775" y="23078"/>
                      <a:pt x="7416" y="23436"/>
                      <a:pt x="7057" y="2355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20" name="Vrije vorm: vorm 9019">
                <a:extLst>
                  <a:ext uri="{FF2B5EF4-FFF2-40B4-BE49-F238E27FC236}">
                    <a16:creationId xmlns:a16="http://schemas.microsoft.com/office/drawing/2014/main" id="{17514AE9-AA69-40DE-B2AB-17D471D3B051}"/>
                  </a:ext>
                </a:extLst>
              </p:cNvPr>
              <p:cNvSpPr/>
              <p:nvPr/>
            </p:nvSpPr>
            <p:spPr>
              <a:xfrm>
                <a:off x="5787344" y="1890316"/>
                <a:ext cx="15331" cy="20355"/>
              </a:xfrm>
              <a:custGeom>
                <a:avLst/>
                <a:gdLst>
                  <a:gd name="connsiteX0" fmla="*/ 12660 w 15331"/>
                  <a:gd name="connsiteY0" fmla="*/ 20266 h 20355"/>
                  <a:gd name="connsiteX1" fmla="*/ 11823 w 15331"/>
                  <a:gd name="connsiteY1" fmla="*/ 20266 h 20355"/>
                  <a:gd name="connsiteX2" fmla="*/ 11284 w 15331"/>
                  <a:gd name="connsiteY2" fmla="*/ 18891 h 20355"/>
                  <a:gd name="connsiteX3" fmla="*/ 12421 w 15331"/>
                  <a:gd name="connsiteY3" fmla="*/ 4896 h 20355"/>
                  <a:gd name="connsiteX4" fmla="*/ 400 w 15331"/>
                  <a:gd name="connsiteY4" fmla="*/ 1905 h 20355"/>
                  <a:gd name="connsiteX5" fmla="*/ 280 w 15331"/>
                  <a:gd name="connsiteY5" fmla="*/ 410 h 20355"/>
                  <a:gd name="connsiteX6" fmla="*/ 1895 w 15331"/>
                  <a:gd name="connsiteY6" fmla="*/ 231 h 20355"/>
                  <a:gd name="connsiteX7" fmla="*/ 13438 w 15331"/>
                  <a:gd name="connsiteY7" fmla="*/ 2802 h 20355"/>
                  <a:gd name="connsiteX8" fmla="*/ 14574 w 15331"/>
                  <a:gd name="connsiteY8" fmla="*/ 3640 h 20355"/>
                  <a:gd name="connsiteX9" fmla="*/ 13378 w 15331"/>
                  <a:gd name="connsiteY9" fmla="*/ 19728 h 20355"/>
                  <a:gd name="connsiteX10" fmla="*/ 12660 w 15331"/>
                  <a:gd name="connsiteY10" fmla="*/ 20266 h 2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31" h="20355">
                    <a:moveTo>
                      <a:pt x="12660" y="20266"/>
                    </a:moveTo>
                    <a:cubicBezTo>
                      <a:pt x="12421" y="20386"/>
                      <a:pt x="12122" y="20386"/>
                      <a:pt x="11823" y="20266"/>
                    </a:cubicBezTo>
                    <a:cubicBezTo>
                      <a:pt x="11225" y="20027"/>
                      <a:pt x="10985" y="19429"/>
                      <a:pt x="11284" y="18891"/>
                    </a:cubicBezTo>
                    <a:cubicBezTo>
                      <a:pt x="13557" y="14166"/>
                      <a:pt x="13198" y="9381"/>
                      <a:pt x="12421" y="4896"/>
                    </a:cubicBezTo>
                    <a:cubicBezTo>
                      <a:pt x="7457" y="4955"/>
                      <a:pt x="3031" y="3879"/>
                      <a:pt x="400" y="1905"/>
                    </a:cubicBezTo>
                    <a:cubicBezTo>
                      <a:pt x="-79" y="1546"/>
                      <a:pt x="-139" y="889"/>
                      <a:pt x="280" y="410"/>
                    </a:cubicBezTo>
                    <a:cubicBezTo>
                      <a:pt x="699" y="-68"/>
                      <a:pt x="1416" y="-128"/>
                      <a:pt x="1895" y="231"/>
                    </a:cubicBezTo>
                    <a:cubicBezTo>
                      <a:pt x="4287" y="2025"/>
                      <a:pt x="8593" y="2982"/>
                      <a:pt x="13438" y="2802"/>
                    </a:cubicBezTo>
                    <a:cubicBezTo>
                      <a:pt x="13976" y="2802"/>
                      <a:pt x="14454" y="3101"/>
                      <a:pt x="14574" y="3640"/>
                    </a:cubicBezTo>
                    <a:cubicBezTo>
                      <a:pt x="15471" y="8723"/>
                      <a:pt x="16069" y="14106"/>
                      <a:pt x="13378" y="19728"/>
                    </a:cubicBezTo>
                    <a:cubicBezTo>
                      <a:pt x="13198" y="19967"/>
                      <a:pt x="12959" y="20206"/>
                      <a:pt x="12660" y="2026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21" name="Vrije vorm: vorm 9020">
                <a:extLst>
                  <a:ext uri="{FF2B5EF4-FFF2-40B4-BE49-F238E27FC236}">
                    <a16:creationId xmlns:a16="http://schemas.microsoft.com/office/drawing/2014/main" id="{684D75B0-85C9-49F8-B950-5EE7F37EA933}"/>
                  </a:ext>
                </a:extLst>
              </p:cNvPr>
              <p:cNvSpPr/>
              <p:nvPr/>
            </p:nvSpPr>
            <p:spPr>
              <a:xfrm>
                <a:off x="5792896" y="1901207"/>
                <a:ext cx="17228" cy="30489"/>
              </a:xfrm>
              <a:custGeom>
                <a:avLst/>
                <a:gdLst>
                  <a:gd name="connsiteX0" fmla="*/ 6928 w 17228"/>
                  <a:gd name="connsiteY0" fmla="*/ 30187 h 30489"/>
                  <a:gd name="connsiteX1" fmla="*/ 3041 w 17228"/>
                  <a:gd name="connsiteY1" fmla="*/ 29649 h 30489"/>
                  <a:gd name="connsiteX2" fmla="*/ 230 w 17228"/>
                  <a:gd name="connsiteY2" fmla="*/ 10152 h 30489"/>
                  <a:gd name="connsiteX3" fmla="*/ 6809 w 17228"/>
                  <a:gd name="connsiteY3" fmla="*/ 104 h 30489"/>
                  <a:gd name="connsiteX4" fmla="*/ 9560 w 17228"/>
                  <a:gd name="connsiteY4" fmla="*/ 1001 h 30489"/>
                  <a:gd name="connsiteX5" fmla="*/ 7885 w 17228"/>
                  <a:gd name="connsiteY5" fmla="*/ 8417 h 30489"/>
                  <a:gd name="connsiteX6" fmla="*/ 9141 w 17228"/>
                  <a:gd name="connsiteY6" fmla="*/ 19781 h 30489"/>
                  <a:gd name="connsiteX7" fmla="*/ 8244 w 17228"/>
                  <a:gd name="connsiteY7" fmla="*/ 21097 h 30489"/>
                  <a:gd name="connsiteX8" fmla="*/ 6928 w 17228"/>
                  <a:gd name="connsiteY8" fmla="*/ 20319 h 30489"/>
                  <a:gd name="connsiteX9" fmla="*/ 5613 w 17228"/>
                  <a:gd name="connsiteY9" fmla="*/ 8477 h 30489"/>
                  <a:gd name="connsiteX10" fmla="*/ 5672 w 17228"/>
                  <a:gd name="connsiteY10" fmla="*/ 8058 h 30489"/>
                  <a:gd name="connsiteX11" fmla="*/ 7467 w 17228"/>
                  <a:gd name="connsiteY11" fmla="*/ 2138 h 30489"/>
                  <a:gd name="connsiteX12" fmla="*/ 6390 w 17228"/>
                  <a:gd name="connsiteY12" fmla="*/ 2616 h 30489"/>
                  <a:gd name="connsiteX13" fmla="*/ 2503 w 17228"/>
                  <a:gd name="connsiteY13" fmla="*/ 10152 h 30489"/>
                  <a:gd name="connsiteX14" fmla="*/ 4596 w 17228"/>
                  <a:gd name="connsiteY14" fmla="*/ 28034 h 30489"/>
                  <a:gd name="connsiteX15" fmla="*/ 6629 w 17228"/>
                  <a:gd name="connsiteY15" fmla="*/ 28034 h 30489"/>
                  <a:gd name="connsiteX16" fmla="*/ 14943 w 17228"/>
                  <a:gd name="connsiteY16" fmla="*/ 12424 h 30489"/>
                  <a:gd name="connsiteX17" fmla="*/ 13507 w 17228"/>
                  <a:gd name="connsiteY17" fmla="*/ 10152 h 30489"/>
                  <a:gd name="connsiteX18" fmla="*/ 11235 w 17228"/>
                  <a:gd name="connsiteY18" fmla="*/ 10511 h 30489"/>
                  <a:gd name="connsiteX19" fmla="*/ 9620 w 17228"/>
                  <a:gd name="connsiteY19" fmla="*/ 10570 h 30489"/>
                  <a:gd name="connsiteX20" fmla="*/ 9620 w 17228"/>
                  <a:gd name="connsiteY20" fmla="*/ 9075 h 30489"/>
                  <a:gd name="connsiteX21" fmla="*/ 14105 w 17228"/>
                  <a:gd name="connsiteY21" fmla="*/ 8058 h 30489"/>
                  <a:gd name="connsiteX22" fmla="*/ 17155 w 17228"/>
                  <a:gd name="connsiteY22" fmla="*/ 12006 h 30489"/>
                  <a:gd name="connsiteX23" fmla="*/ 7586 w 17228"/>
                  <a:gd name="connsiteY23" fmla="*/ 29888 h 30489"/>
                  <a:gd name="connsiteX24" fmla="*/ 6928 w 17228"/>
                  <a:gd name="connsiteY24" fmla="*/ 30187 h 3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228" h="30489">
                    <a:moveTo>
                      <a:pt x="6928" y="30187"/>
                    </a:moveTo>
                    <a:cubicBezTo>
                      <a:pt x="5493" y="30725"/>
                      <a:pt x="4117" y="30546"/>
                      <a:pt x="3041" y="29649"/>
                    </a:cubicBezTo>
                    <a:cubicBezTo>
                      <a:pt x="-548" y="26659"/>
                      <a:pt x="-129" y="14996"/>
                      <a:pt x="230" y="10152"/>
                    </a:cubicBezTo>
                    <a:cubicBezTo>
                      <a:pt x="649" y="4350"/>
                      <a:pt x="4416" y="702"/>
                      <a:pt x="6809" y="104"/>
                    </a:cubicBezTo>
                    <a:cubicBezTo>
                      <a:pt x="8005" y="-195"/>
                      <a:pt x="9022" y="164"/>
                      <a:pt x="9560" y="1001"/>
                    </a:cubicBezTo>
                    <a:cubicBezTo>
                      <a:pt x="9739" y="1360"/>
                      <a:pt x="10277" y="2257"/>
                      <a:pt x="7885" y="8417"/>
                    </a:cubicBezTo>
                    <a:cubicBezTo>
                      <a:pt x="8005" y="9733"/>
                      <a:pt x="8483" y="16731"/>
                      <a:pt x="9141" y="19781"/>
                    </a:cubicBezTo>
                    <a:cubicBezTo>
                      <a:pt x="9261" y="20319"/>
                      <a:pt x="8842" y="20917"/>
                      <a:pt x="8244" y="21097"/>
                    </a:cubicBezTo>
                    <a:cubicBezTo>
                      <a:pt x="7646" y="21216"/>
                      <a:pt x="7048" y="20917"/>
                      <a:pt x="6928" y="20319"/>
                    </a:cubicBezTo>
                    <a:cubicBezTo>
                      <a:pt x="6211" y="16850"/>
                      <a:pt x="5672" y="8776"/>
                      <a:pt x="5613" y="8477"/>
                    </a:cubicBezTo>
                    <a:cubicBezTo>
                      <a:pt x="5613" y="8358"/>
                      <a:pt x="5613" y="8178"/>
                      <a:pt x="5672" y="8058"/>
                    </a:cubicBezTo>
                    <a:cubicBezTo>
                      <a:pt x="6569" y="5786"/>
                      <a:pt x="7467" y="2975"/>
                      <a:pt x="7467" y="2138"/>
                    </a:cubicBezTo>
                    <a:cubicBezTo>
                      <a:pt x="7347" y="2138"/>
                      <a:pt x="6988" y="2197"/>
                      <a:pt x="6390" y="2616"/>
                    </a:cubicBezTo>
                    <a:cubicBezTo>
                      <a:pt x="4655" y="3752"/>
                      <a:pt x="2742" y="6563"/>
                      <a:pt x="2503" y="10152"/>
                    </a:cubicBezTo>
                    <a:cubicBezTo>
                      <a:pt x="1845" y="19362"/>
                      <a:pt x="2682" y="26359"/>
                      <a:pt x="4596" y="28034"/>
                    </a:cubicBezTo>
                    <a:cubicBezTo>
                      <a:pt x="4954" y="28333"/>
                      <a:pt x="5493" y="28632"/>
                      <a:pt x="6629" y="28034"/>
                    </a:cubicBezTo>
                    <a:cubicBezTo>
                      <a:pt x="10517" y="26001"/>
                      <a:pt x="15540" y="16491"/>
                      <a:pt x="14943" y="12424"/>
                    </a:cubicBezTo>
                    <a:cubicBezTo>
                      <a:pt x="14763" y="11168"/>
                      <a:pt x="14285" y="10391"/>
                      <a:pt x="13507" y="10152"/>
                    </a:cubicBezTo>
                    <a:cubicBezTo>
                      <a:pt x="12610" y="9853"/>
                      <a:pt x="11474" y="10331"/>
                      <a:pt x="11235" y="10511"/>
                    </a:cubicBezTo>
                    <a:cubicBezTo>
                      <a:pt x="10816" y="10929"/>
                      <a:pt x="10098" y="10989"/>
                      <a:pt x="9620" y="10570"/>
                    </a:cubicBezTo>
                    <a:cubicBezTo>
                      <a:pt x="9201" y="10212"/>
                      <a:pt x="9201" y="9494"/>
                      <a:pt x="9620" y="9075"/>
                    </a:cubicBezTo>
                    <a:cubicBezTo>
                      <a:pt x="10218" y="8477"/>
                      <a:pt x="12191" y="7580"/>
                      <a:pt x="14105" y="8058"/>
                    </a:cubicBezTo>
                    <a:cubicBezTo>
                      <a:pt x="15241" y="8358"/>
                      <a:pt x="16737" y="9255"/>
                      <a:pt x="17155" y="12006"/>
                    </a:cubicBezTo>
                    <a:cubicBezTo>
                      <a:pt x="17933" y="17030"/>
                      <a:pt x="12371" y="27316"/>
                      <a:pt x="7586" y="29888"/>
                    </a:cubicBezTo>
                    <a:cubicBezTo>
                      <a:pt x="7467" y="30008"/>
                      <a:pt x="7168" y="30127"/>
                      <a:pt x="6928" y="3018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22" name="Vrije vorm: vorm 9021">
                <a:extLst>
                  <a:ext uri="{FF2B5EF4-FFF2-40B4-BE49-F238E27FC236}">
                    <a16:creationId xmlns:a16="http://schemas.microsoft.com/office/drawing/2014/main" id="{B583377C-D06A-472A-9071-3278BEB1638E}"/>
                  </a:ext>
                </a:extLst>
              </p:cNvPr>
              <p:cNvSpPr/>
              <p:nvPr/>
            </p:nvSpPr>
            <p:spPr>
              <a:xfrm>
                <a:off x="5804208" y="1915719"/>
                <a:ext cx="17711" cy="96977"/>
              </a:xfrm>
              <a:custGeom>
                <a:avLst/>
                <a:gdLst>
                  <a:gd name="connsiteX0" fmla="*/ 16130 w 17711"/>
                  <a:gd name="connsiteY0" fmla="*/ 96893 h 96977"/>
                  <a:gd name="connsiteX1" fmla="*/ 15532 w 17711"/>
                  <a:gd name="connsiteY1" fmla="*/ 96953 h 96977"/>
                  <a:gd name="connsiteX2" fmla="*/ 879 w 17711"/>
                  <a:gd name="connsiteY2" fmla="*/ 94740 h 96977"/>
                  <a:gd name="connsiteX3" fmla="*/ 42 w 17711"/>
                  <a:gd name="connsiteY3" fmla="*/ 93544 h 96977"/>
                  <a:gd name="connsiteX4" fmla="*/ 1418 w 17711"/>
                  <a:gd name="connsiteY4" fmla="*/ 92647 h 96977"/>
                  <a:gd name="connsiteX5" fmla="*/ 14635 w 17711"/>
                  <a:gd name="connsiteY5" fmla="*/ 94621 h 96977"/>
                  <a:gd name="connsiteX6" fmla="*/ 14635 w 17711"/>
                  <a:gd name="connsiteY6" fmla="*/ 82360 h 96977"/>
                  <a:gd name="connsiteX7" fmla="*/ 13259 w 17711"/>
                  <a:gd name="connsiteY7" fmla="*/ 54610 h 96977"/>
                  <a:gd name="connsiteX8" fmla="*/ 14515 w 17711"/>
                  <a:gd name="connsiteY8" fmla="*/ 38522 h 96977"/>
                  <a:gd name="connsiteX9" fmla="*/ 15352 w 17711"/>
                  <a:gd name="connsiteY9" fmla="*/ 32660 h 96977"/>
                  <a:gd name="connsiteX10" fmla="*/ 9073 w 17711"/>
                  <a:gd name="connsiteY10" fmla="*/ 20400 h 96977"/>
                  <a:gd name="connsiteX11" fmla="*/ 3571 w 17711"/>
                  <a:gd name="connsiteY11" fmla="*/ 1142 h 96977"/>
                  <a:gd name="connsiteX12" fmla="*/ 4647 w 17711"/>
                  <a:gd name="connsiteY12" fmla="*/ 6 h 96977"/>
                  <a:gd name="connsiteX13" fmla="*/ 5843 w 17711"/>
                  <a:gd name="connsiteY13" fmla="*/ 963 h 96977"/>
                  <a:gd name="connsiteX14" fmla="*/ 10568 w 17711"/>
                  <a:gd name="connsiteY14" fmla="*/ 18725 h 96977"/>
                  <a:gd name="connsiteX15" fmla="*/ 17625 w 17711"/>
                  <a:gd name="connsiteY15" fmla="*/ 32780 h 96977"/>
                  <a:gd name="connsiteX16" fmla="*/ 16788 w 17711"/>
                  <a:gd name="connsiteY16" fmla="*/ 38701 h 96977"/>
                  <a:gd name="connsiteX17" fmla="*/ 15592 w 17711"/>
                  <a:gd name="connsiteY17" fmla="*/ 54311 h 96977"/>
                  <a:gd name="connsiteX18" fmla="*/ 17027 w 17711"/>
                  <a:gd name="connsiteY18" fmla="*/ 82360 h 96977"/>
                  <a:gd name="connsiteX19" fmla="*/ 17087 w 17711"/>
                  <a:gd name="connsiteY19" fmla="*/ 95817 h 96977"/>
                  <a:gd name="connsiteX20" fmla="*/ 16668 w 17711"/>
                  <a:gd name="connsiteY20" fmla="*/ 96714 h 96977"/>
                  <a:gd name="connsiteX21" fmla="*/ 16130 w 17711"/>
                  <a:gd name="connsiteY21" fmla="*/ 96893 h 9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711" h="96977">
                    <a:moveTo>
                      <a:pt x="16130" y="96893"/>
                    </a:moveTo>
                    <a:cubicBezTo>
                      <a:pt x="15951" y="96953"/>
                      <a:pt x="15711" y="97013"/>
                      <a:pt x="15532" y="96953"/>
                    </a:cubicBezTo>
                    <a:lnTo>
                      <a:pt x="879" y="94740"/>
                    </a:lnTo>
                    <a:cubicBezTo>
                      <a:pt x="281" y="94621"/>
                      <a:pt x="-137" y="94082"/>
                      <a:pt x="42" y="93544"/>
                    </a:cubicBezTo>
                    <a:cubicBezTo>
                      <a:pt x="162" y="92946"/>
                      <a:pt x="819" y="92587"/>
                      <a:pt x="1418" y="92647"/>
                    </a:cubicBezTo>
                    <a:lnTo>
                      <a:pt x="14635" y="94621"/>
                    </a:lnTo>
                    <a:cubicBezTo>
                      <a:pt x="14575" y="92228"/>
                      <a:pt x="14396" y="87085"/>
                      <a:pt x="14635" y="82360"/>
                    </a:cubicBezTo>
                    <a:cubicBezTo>
                      <a:pt x="14934" y="75841"/>
                      <a:pt x="13917" y="60650"/>
                      <a:pt x="13259" y="54610"/>
                    </a:cubicBezTo>
                    <a:cubicBezTo>
                      <a:pt x="12721" y="49885"/>
                      <a:pt x="13678" y="43844"/>
                      <a:pt x="14515" y="38522"/>
                    </a:cubicBezTo>
                    <a:cubicBezTo>
                      <a:pt x="14814" y="36428"/>
                      <a:pt x="15173" y="34455"/>
                      <a:pt x="15352" y="32660"/>
                    </a:cubicBezTo>
                    <a:cubicBezTo>
                      <a:pt x="16070" y="26201"/>
                      <a:pt x="11226" y="21895"/>
                      <a:pt x="9073" y="20400"/>
                    </a:cubicBezTo>
                    <a:cubicBezTo>
                      <a:pt x="6621" y="18606"/>
                      <a:pt x="3870" y="10891"/>
                      <a:pt x="3571" y="1142"/>
                    </a:cubicBezTo>
                    <a:cubicBezTo>
                      <a:pt x="3571" y="544"/>
                      <a:pt x="4049" y="65"/>
                      <a:pt x="4647" y="6"/>
                    </a:cubicBezTo>
                    <a:cubicBezTo>
                      <a:pt x="5305" y="-54"/>
                      <a:pt x="5783" y="365"/>
                      <a:pt x="5843" y="963"/>
                    </a:cubicBezTo>
                    <a:cubicBezTo>
                      <a:pt x="6142" y="11190"/>
                      <a:pt x="9133" y="17649"/>
                      <a:pt x="10568" y="18725"/>
                    </a:cubicBezTo>
                    <a:cubicBezTo>
                      <a:pt x="12960" y="20460"/>
                      <a:pt x="18463" y="25364"/>
                      <a:pt x="17625" y="32780"/>
                    </a:cubicBezTo>
                    <a:cubicBezTo>
                      <a:pt x="17446" y="34574"/>
                      <a:pt x="17087" y="36608"/>
                      <a:pt x="16788" y="38701"/>
                    </a:cubicBezTo>
                    <a:cubicBezTo>
                      <a:pt x="15951" y="43904"/>
                      <a:pt x="15054" y="49825"/>
                      <a:pt x="15592" y="54311"/>
                    </a:cubicBezTo>
                    <a:cubicBezTo>
                      <a:pt x="16250" y="60411"/>
                      <a:pt x="17326" y="75722"/>
                      <a:pt x="17027" y="82360"/>
                    </a:cubicBezTo>
                    <a:cubicBezTo>
                      <a:pt x="16728" y="88700"/>
                      <a:pt x="17087" y="95757"/>
                      <a:pt x="17087" y="95817"/>
                    </a:cubicBezTo>
                    <a:cubicBezTo>
                      <a:pt x="17087" y="96116"/>
                      <a:pt x="16967" y="96475"/>
                      <a:pt x="16668" y="96714"/>
                    </a:cubicBezTo>
                    <a:cubicBezTo>
                      <a:pt x="16369" y="96774"/>
                      <a:pt x="16250" y="96893"/>
                      <a:pt x="16130" y="9689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23" name="Vrije vorm: vorm 9022">
                <a:extLst>
                  <a:ext uri="{FF2B5EF4-FFF2-40B4-BE49-F238E27FC236}">
                    <a16:creationId xmlns:a16="http://schemas.microsoft.com/office/drawing/2014/main" id="{4177E08C-FB30-47DC-A248-F82AF9053656}"/>
                  </a:ext>
                </a:extLst>
              </p:cNvPr>
              <p:cNvSpPr/>
              <p:nvPr/>
            </p:nvSpPr>
            <p:spPr>
              <a:xfrm>
                <a:off x="5797846" y="1930371"/>
                <a:ext cx="16048" cy="79991"/>
              </a:xfrm>
              <a:custGeom>
                <a:avLst/>
                <a:gdLst>
                  <a:gd name="connsiteX0" fmla="*/ 14658 w 16048"/>
                  <a:gd name="connsiteY0" fmla="*/ 79909 h 79991"/>
                  <a:gd name="connsiteX1" fmla="*/ 13402 w 16048"/>
                  <a:gd name="connsiteY1" fmla="*/ 79610 h 79991"/>
                  <a:gd name="connsiteX2" fmla="*/ 13521 w 16048"/>
                  <a:gd name="connsiteY2" fmla="*/ 78175 h 79991"/>
                  <a:gd name="connsiteX3" fmla="*/ 11847 w 16048"/>
                  <a:gd name="connsiteY3" fmla="*/ 59754 h 79991"/>
                  <a:gd name="connsiteX4" fmla="*/ 9813 w 16048"/>
                  <a:gd name="connsiteY4" fmla="*/ 42410 h 79991"/>
                  <a:gd name="connsiteX5" fmla="*/ 8737 w 16048"/>
                  <a:gd name="connsiteY5" fmla="*/ 32781 h 79991"/>
                  <a:gd name="connsiteX6" fmla="*/ 4491 w 16048"/>
                  <a:gd name="connsiteY6" fmla="*/ 15138 h 79991"/>
                  <a:gd name="connsiteX7" fmla="*/ 5 w 16048"/>
                  <a:gd name="connsiteY7" fmla="*/ 1203 h 79991"/>
                  <a:gd name="connsiteX8" fmla="*/ 1082 w 16048"/>
                  <a:gd name="connsiteY8" fmla="*/ 6 h 79991"/>
                  <a:gd name="connsiteX9" fmla="*/ 2278 w 16048"/>
                  <a:gd name="connsiteY9" fmla="*/ 904 h 79991"/>
                  <a:gd name="connsiteX10" fmla="*/ 6524 w 16048"/>
                  <a:gd name="connsiteY10" fmla="*/ 14001 h 79991"/>
                  <a:gd name="connsiteX11" fmla="*/ 11010 w 16048"/>
                  <a:gd name="connsiteY11" fmla="*/ 32302 h 79991"/>
                  <a:gd name="connsiteX12" fmla="*/ 12086 w 16048"/>
                  <a:gd name="connsiteY12" fmla="*/ 41991 h 79991"/>
                  <a:gd name="connsiteX13" fmla="*/ 14120 w 16048"/>
                  <a:gd name="connsiteY13" fmla="*/ 59156 h 79991"/>
                  <a:gd name="connsiteX14" fmla="*/ 15017 w 16048"/>
                  <a:gd name="connsiteY14" fmla="*/ 79550 h 79991"/>
                  <a:gd name="connsiteX15" fmla="*/ 14658 w 16048"/>
                  <a:gd name="connsiteY15" fmla="*/ 79909 h 79991"/>
                  <a:gd name="connsiteX16" fmla="*/ 13641 w 16048"/>
                  <a:gd name="connsiteY16" fmla="*/ 78115 h 79991"/>
                  <a:gd name="connsiteX17" fmla="*/ 13641 w 16048"/>
                  <a:gd name="connsiteY17" fmla="*/ 78115 h 79991"/>
                  <a:gd name="connsiteX18" fmla="*/ 13641 w 16048"/>
                  <a:gd name="connsiteY18" fmla="*/ 78115 h 7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48" h="79991">
                    <a:moveTo>
                      <a:pt x="14658" y="79909"/>
                    </a:moveTo>
                    <a:cubicBezTo>
                      <a:pt x="14180" y="80088"/>
                      <a:pt x="13701" y="79969"/>
                      <a:pt x="13402" y="79610"/>
                    </a:cubicBezTo>
                    <a:cubicBezTo>
                      <a:pt x="13043" y="79191"/>
                      <a:pt x="13103" y="78593"/>
                      <a:pt x="13521" y="78175"/>
                    </a:cubicBezTo>
                    <a:cubicBezTo>
                      <a:pt x="13880" y="77457"/>
                      <a:pt x="14180" y="74048"/>
                      <a:pt x="11847" y="59754"/>
                    </a:cubicBezTo>
                    <a:cubicBezTo>
                      <a:pt x="10950" y="54252"/>
                      <a:pt x="10352" y="47972"/>
                      <a:pt x="9813" y="42410"/>
                    </a:cubicBezTo>
                    <a:cubicBezTo>
                      <a:pt x="9455" y="38762"/>
                      <a:pt x="9096" y="35293"/>
                      <a:pt x="8737" y="32781"/>
                    </a:cubicBezTo>
                    <a:cubicBezTo>
                      <a:pt x="7780" y="25783"/>
                      <a:pt x="6584" y="18786"/>
                      <a:pt x="4491" y="15138"/>
                    </a:cubicBezTo>
                    <a:cubicBezTo>
                      <a:pt x="3594" y="13523"/>
                      <a:pt x="484" y="7722"/>
                      <a:pt x="5" y="1203"/>
                    </a:cubicBezTo>
                    <a:cubicBezTo>
                      <a:pt x="-55" y="605"/>
                      <a:pt x="424" y="66"/>
                      <a:pt x="1082" y="6"/>
                    </a:cubicBezTo>
                    <a:cubicBezTo>
                      <a:pt x="1680" y="-53"/>
                      <a:pt x="2278" y="306"/>
                      <a:pt x="2278" y="904"/>
                    </a:cubicBezTo>
                    <a:cubicBezTo>
                      <a:pt x="2816" y="7183"/>
                      <a:pt x="5926" y="12925"/>
                      <a:pt x="6524" y="14001"/>
                    </a:cubicBezTo>
                    <a:cubicBezTo>
                      <a:pt x="8797" y="17949"/>
                      <a:pt x="9993" y="25126"/>
                      <a:pt x="11010" y="32302"/>
                    </a:cubicBezTo>
                    <a:cubicBezTo>
                      <a:pt x="11369" y="34874"/>
                      <a:pt x="11727" y="38343"/>
                      <a:pt x="12086" y="41991"/>
                    </a:cubicBezTo>
                    <a:cubicBezTo>
                      <a:pt x="12625" y="47493"/>
                      <a:pt x="13223" y="53773"/>
                      <a:pt x="14120" y="59156"/>
                    </a:cubicBezTo>
                    <a:cubicBezTo>
                      <a:pt x="16931" y="76500"/>
                      <a:pt x="16153" y="78713"/>
                      <a:pt x="15017" y="79550"/>
                    </a:cubicBezTo>
                    <a:cubicBezTo>
                      <a:pt x="14897" y="79789"/>
                      <a:pt x="14778" y="79849"/>
                      <a:pt x="14658" y="79909"/>
                    </a:cubicBezTo>
                    <a:close/>
                    <a:moveTo>
                      <a:pt x="13641" y="78115"/>
                    </a:moveTo>
                    <a:cubicBezTo>
                      <a:pt x="13641" y="78115"/>
                      <a:pt x="13641" y="78115"/>
                      <a:pt x="13641" y="78115"/>
                    </a:cubicBezTo>
                    <a:cubicBezTo>
                      <a:pt x="13641" y="78115"/>
                      <a:pt x="13641" y="78115"/>
                      <a:pt x="13641" y="7811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24" name="Vrije vorm: vorm 9023">
                <a:extLst>
                  <a:ext uri="{FF2B5EF4-FFF2-40B4-BE49-F238E27FC236}">
                    <a16:creationId xmlns:a16="http://schemas.microsoft.com/office/drawing/2014/main" id="{C1108B9F-405F-479B-A4FD-F0B3931F5688}"/>
                  </a:ext>
                </a:extLst>
              </p:cNvPr>
              <p:cNvSpPr/>
              <p:nvPr/>
            </p:nvSpPr>
            <p:spPr>
              <a:xfrm>
                <a:off x="5817511" y="1963465"/>
                <a:ext cx="40965" cy="25369"/>
              </a:xfrm>
              <a:custGeom>
                <a:avLst/>
                <a:gdLst>
                  <a:gd name="connsiteX0" fmla="*/ 40267 w 40965"/>
                  <a:gd name="connsiteY0" fmla="*/ 25285 h 25369"/>
                  <a:gd name="connsiteX1" fmla="*/ 39011 w 40965"/>
                  <a:gd name="connsiteY1" fmla="*/ 25046 h 25369"/>
                  <a:gd name="connsiteX2" fmla="*/ 33210 w 40965"/>
                  <a:gd name="connsiteY2" fmla="*/ 22175 h 25369"/>
                  <a:gd name="connsiteX3" fmla="*/ 21906 w 40965"/>
                  <a:gd name="connsiteY3" fmla="*/ 16613 h 25369"/>
                  <a:gd name="connsiteX4" fmla="*/ 16464 w 40965"/>
                  <a:gd name="connsiteY4" fmla="*/ 13264 h 25369"/>
                  <a:gd name="connsiteX5" fmla="*/ 256 w 40965"/>
                  <a:gd name="connsiteY5" fmla="*/ 1781 h 25369"/>
                  <a:gd name="connsiteX6" fmla="*/ 436 w 40965"/>
                  <a:gd name="connsiteY6" fmla="*/ 286 h 25369"/>
                  <a:gd name="connsiteX7" fmla="*/ 2050 w 40965"/>
                  <a:gd name="connsiteY7" fmla="*/ 346 h 25369"/>
                  <a:gd name="connsiteX8" fmla="*/ 17839 w 40965"/>
                  <a:gd name="connsiteY8" fmla="*/ 11410 h 25369"/>
                  <a:gd name="connsiteX9" fmla="*/ 23282 w 40965"/>
                  <a:gd name="connsiteY9" fmla="*/ 14819 h 25369"/>
                  <a:gd name="connsiteX10" fmla="*/ 34226 w 40965"/>
                  <a:gd name="connsiteY10" fmla="*/ 20201 h 25369"/>
                  <a:gd name="connsiteX11" fmla="*/ 40686 w 40965"/>
                  <a:gd name="connsiteY11" fmla="*/ 23551 h 25369"/>
                  <a:gd name="connsiteX12" fmla="*/ 40566 w 40965"/>
                  <a:gd name="connsiteY12" fmla="*/ 25046 h 25369"/>
                  <a:gd name="connsiteX13" fmla="*/ 40267 w 40965"/>
                  <a:gd name="connsiteY13" fmla="*/ 25285 h 25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65" h="25369">
                    <a:moveTo>
                      <a:pt x="40267" y="25285"/>
                    </a:moveTo>
                    <a:cubicBezTo>
                      <a:pt x="39848" y="25465"/>
                      <a:pt x="39370" y="25345"/>
                      <a:pt x="39011" y="25046"/>
                    </a:cubicBezTo>
                    <a:cubicBezTo>
                      <a:pt x="38353" y="24388"/>
                      <a:pt x="35841" y="23311"/>
                      <a:pt x="33210" y="22175"/>
                    </a:cubicBezTo>
                    <a:cubicBezTo>
                      <a:pt x="29741" y="20740"/>
                      <a:pt x="25435" y="18886"/>
                      <a:pt x="21906" y="16613"/>
                    </a:cubicBezTo>
                    <a:cubicBezTo>
                      <a:pt x="20351" y="15596"/>
                      <a:pt x="18438" y="14460"/>
                      <a:pt x="16464" y="13264"/>
                    </a:cubicBezTo>
                    <a:cubicBezTo>
                      <a:pt x="10304" y="9496"/>
                      <a:pt x="3366" y="5250"/>
                      <a:pt x="256" y="1781"/>
                    </a:cubicBezTo>
                    <a:cubicBezTo>
                      <a:pt x="-163" y="1362"/>
                      <a:pt x="-43" y="644"/>
                      <a:pt x="436" y="286"/>
                    </a:cubicBezTo>
                    <a:cubicBezTo>
                      <a:pt x="914" y="-133"/>
                      <a:pt x="1632" y="-73"/>
                      <a:pt x="2050" y="346"/>
                    </a:cubicBezTo>
                    <a:cubicBezTo>
                      <a:pt x="4981" y="3635"/>
                      <a:pt x="11799" y="7762"/>
                      <a:pt x="17839" y="11410"/>
                    </a:cubicBezTo>
                    <a:cubicBezTo>
                      <a:pt x="19813" y="12606"/>
                      <a:pt x="21727" y="13742"/>
                      <a:pt x="23282" y="14819"/>
                    </a:cubicBezTo>
                    <a:cubicBezTo>
                      <a:pt x="26691" y="16972"/>
                      <a:pt x="30877" y="18766"/>
                      <a:pt x="34226" y="20201"/>
                    </a:cubicBezTo>
                    <a:cubicBezTo>
                      <a:pt x="37456" y="21577"/>
                      <a:pt x="39788" y="22534"/>
                      <a:pt x="40686" y="23551"/>
                    </a:cubicBezTo>
                    <a:cubicBezTo>
                      <a:pt x="41104" y="23969"/>
                      <a:pt x="41045" y="24627"/>
                      <a:pt x="40566" y="25046"/>
                    </a:cubicBezTo>
                    <a:cubicBezTo>
                      <a:pt x="40506" y="25165"/>
                      <a:pt x="40387" y="25225"/>
                      <a:pt x="40267" y="2528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25" name="Vrije vorm: vorm 9024">
                <a:extLst>
                  <a:ext uri="{FF2B5EF4-FFF2-40B4-BE49-F238E27FC236}">
                    <a16:creationId xmlns:a16="http://schemas.microsoft.com/office/drawing/2014/main" id="{B77BDA1D-31A5-4296-8620-C41FAC0A6928}"/>
                  </a:ext>
                </a:extLst>
              </p:cNvPr>
              <p:cNvSpPr/>
              <p:nvPr/>
            </p:nvSpPr>
            <p:spPr>
              <a:xfrm>
                <a:off x="5818956" y="1951042"/>
                <a:ext cx="42714" cy="43359"/>
              </a:xfrm>
              <a:custGeom>
                <a:avLst/>
                <a:gdLst>
                  <a:gd name="connsiteX0" fmla="*/ 36789 w 42714"/>
                  <a:gd name="connsiteY0" fmla="*/ 43270 h 43359"/>
                  <a:gd name="connsiteX1" fmla="*/ 35951 w 42714"/>
                  <a:gd name="connsiteY1" fmla="*/ 43270 h 43359"/>
                  <a:gd name="connsiteX2" fmla="*/ 35413 w 42714"/>
                  <a:gd name="connsiteY2" fmla="*/ 41894 h 43359"/>
                  <a:gd name="connsiteX3" fmla="*/ 40198 w 42714"/>
                  <a:gd name="connsiteY3" fmla="*/ 32385 h 43359"/>
                  <a:gd name="connsiteX4" fmla="*/ 20820 w 42714"/>
                  <a:gd name="connsiteY4" fmla="*/ 19287 h 43359"/>
                  <a:gd name="connsiteX5" fmla="*/ 187 w 42714"/>
                  <a:gd name="connsiteY5" fmla="*/ 1704 h 43359"/>
                  <a:gd name="connsiteX6" fmla="*/ 546 w 42714"/>
                  <a:gd name="connsiteY6" fmla="*/ 209 h 43359"/>
                  <a:gd name="connsiteX7" fmla="*/ 2100 w 42714"/>
                  <a:gd name="connsiteY7" fmla="*/ 448 h 43359"/>
                  <a:gd name="connsiteX8" fmla="*/ 22136 w 42714"/>
                  <a:gd name="connsiteY8" fmla="*/ 17493 h 43359"/>
                  <a:gd name="connsiteX9" fmla="*/ 42351 w 42714"/>
                  <a:gd name="connsiteY9" fmla="*/ 31189 h 43359"/>
                  <a:gd name="connsiteX10" fmla="*/ 42590 w 42714"/>
                  <a:gd name="connsiteY10" fmla="*/ 32445 h 43359"/>
                  <a:gd name="connsiteX11" fmla="*/ 37387 w 42714"/>
                  <a:gd name="connsiteY11" fmla="*/ 42732 h 43359"/>
                  <a:gd name="connsiteX12" fmla="*/ 36789 w 42714"/>
                  <a:gd name="connsiteY12" fmla="*/ 43270 h 43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714" h="43359">
                    <a:moveTo>
                      <a:pt x="36789" y="43270"/>
                    </a:moveTo>
                    <a:cubicBezTo>
                      <a:pt x="36490" y="43389"/>
                      <a:pt x="36191" y="43389"/>
                      <a:pt x="35951" y="43270"/>
                    </a:cubicBezTo>
                    <a:cubicBezTo>
                      <a:pt x="35413" y="43031"/>
                      <a:pt x="35174" y="42433"/>
                      <a:pt x="35413" y="41894"/>
                    </a:cubicBezTo>
                    <a:lnTo>
                      <a:pt x="40198" y="32385"/>
                    </a:lnTo>
                    <a:cubicBezTo>
                      <a:pt x="36191" y="29395"/>
                      <a:pt x="26622" y="22876"/>
                      <a:pt x="20820" y="19287"/>
                    </a:cubicBezTo>
                    <a:cubicBezTo>
                      <a:pt x="14481" y="15400"/>
                      <a:pt x="3715" y="6548"/>
                      <a:pt x="187" y="1704"/>
                    </a:cubicBezTo>
                    <a:cubicBezTo>
                      <a:pt x="-172" y="1225"/>
                      <a:pt x="7" y="567"/>
                      <a:pt x="546" y="209"/>
                    </a:cubicBezTo>
                    <a:cubicBezTo>
                      <a:pt x="1084" y="-150"/>
                      <a:pt x="1801" y="-31"/>
                      <a:pt x="2100" y="448"/>
                    </a:cubicBezTo>
                    <a:cubicBezTo>
                      <a:pt x="5450" y="4993"/>
                      <a:pt x="16095" y="13725"/>
                      <a:pt x="22136" y="17493"/>
                    </a:cubicBezTo>
                    <a:cubicBezTo>
                      <a:pt x="28356" y="21321"/>
                      <a:pt x="38822" y="28438"/>
                      <a:pt x="42351" y="31189"/>
                    </a:cubicBezTo>
                    <a:cubicBezTo>
                      <a:pt x="42710" y="31488"/>
                      <a:pt x="42829" y="31966"/>
                      <a:pt x="42590" y="32445"/>
                    </a:cubicBezTo>
                    <a:lnTo>
                      <a:pt x="37387" y="42732"/>
                    </a:lnTo>
                    <a:cubicBezTo>
                      <a:pt x="37267" y="42971"/>
                      <a:pt x="37028" y="43150"/>
                      <a:pt x="36789" y="4327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26" name="Vrije vorm: vorm 9025">
                <a:extLst>
                  <a:ext uri="{FF2B5EF4-FFF2-40B4-BE49-F238E27FC236}">
                    <a16:creationId xmlns:a16="http://schemas.microsoft.com/office/drawing/2014/main" id="{FF4EC4A9-B02B-4D39-9FF3-37769A5D7C77}"/>
                  </a:ext>
                </a:extLst>
              </p:cNvPr>
              <p:cNvSpPr/>
              <p:nvPr/>
            </p:nvSpPr>
            <p:spPr>
              <a:xfrm>
                <a:off x="5810761" y="1993423"/>
                <a:ext cx="9756" cy="2728"/>
              </a:xfrm>
              <a:custGeom>
                <a:avLst/>
                <a:gdLst>
                  <a:gd name="connsiteX0" fmla="*/ 8919 w 9756"/>
                  <a:gd name="connsiteY0" fmla="*/ 2324 h 2728"/>
                  <a:gd name="connsiteX1" fmla="*/ 8680 w 9756"/>
                  <a:gd name="connsiteY1" fmla="*/ 2384 h 2728"/>
                  <a:gd name="connsiteX2" fmla="*/ 367 w 9756"/>
                  <a:gd name="connsiteY2" fmla="*/ 1905 h 2728"/>
                  <a:gd name="connsiteX3" fmla="*/ 307 w 9756"/>
                  <a:gd name="connsiteY3" fmla="*/ 410 h 2728"/>
                  <a:gd name="connsiteX4" fmla="*/ 1922 w 9756"/>
                  <a:gd name="connsiteY4" fmla="*/ 231 h 2728"/>
                  <a:gd name="connsiteX5" fmla="*/ 8500 w 9756"/>
                  <a:gd name="connsiteY5" fmla="*/ 231 h 2728"/>
                  <a:gd name="connsiteX6" fmla="*/ 9757 w 9756"/>
                  <a:gd name="connsiteY6" fmla="*/ 1128 h 2728"/>
                  <a:gd name="connsiteX7" fmla="*/ 8919 w 9756"/>
                  <a:gd name="connsiteY7" fmla="*/ 2324 h 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6" h="2728">
                    <a:moveTo>
                      <a:pt x="8919" y="2324"/>
                    </a:moveTo>
                    <a:cubicBezTo>
                      <a:pt x="8859" y="2324"/>
                      <a:pt x="8740" y="2384"/>
                      <a:pt x="8680" y="2384"/>
                    </a:cubicBezTo>
                    <a:cubicBezTo>
                      <a:pt x="7125" y="2623"/>
                      <a:pt x="2041" y="3221"/>
                      <a:pt x="367" y="1905"/>
                    </a:cubicBezTo>
                    <a:cubicBezTo>
                      <a:pt x="-112" y="1546"/>
                      <a:pt x="-112" y="889"/>
                      <a:pt x="307" y="410"/>
                    </a:cubicBezTo>
                    <a:cubicBezTo>
                      <a:pt x="726" y="-68"/>
                      <a:pt x="1443" y="-128"/>
                      <a:pt x="1922" y="231"/>
                    </a:cubicBezTo>
                    <a:cubicBezTo>
                      <a:pt x="2520" y="709"/>
                      <a:pt x="5869" y="649"/>
                      <a:pt x="8500" y="231"/>
                    </a:cubicBezTo>
                    <a:cubicBezTo>
                      <a:pt x="9099" y="111"/>
                      <a:pt x="9697" y="530"/>
                      <a:pt x="9757" y="1128"/>
                    </a:cubicBezTo>
                    <a:cubicBezTo>
                      <a:pt x="9757" y="1726"/>
                      <a:pt x="9398" y="2145"/>
                      <a:pt x="8919" y="232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27" name="Vrije vorm: vorm 9026">
                <a:extLst>
                  <a:ext uri="{FF2B5EF4-FFF2-40B4-BE49-F238E27FC236}">
                    <a16:creationId xmlns:a16="http://schemas.microsoft.com/office/drawing/2014/main" id="{F690C71E-BCAA-4C19-A9CD-7CF7B1138C5D}"/>
                  </a:ext>
                </a:extLst>
              </p:cNvPr>
              <p:cNvSpPr/>
              <p:nvPr/>
            </p:nvSpPr>
            <p:spPr>
              <a:xfrm>
                <a:off x="5842666" y="1973313"/>
                <a:ext cx="5264" cy="8762"/>
              </a:xfrm>
              <a:custGeom>
                <a:avLst/>
                <a:gdLst>
                  <a:gd name="connsiteX0" fmla="*/ 1476 w 5264"/>
                  <a:gd name="connsiteY0" fmla="*/ 8679 h 8762"/>
                  <a:gd name="connsiteX1" fmla="*/ 280 w 5264"/>
                  <a:gd name="connsiteY1" fmla="*/ 8439 h 8762"/>
                  <a:gd name="connsiteX2" fmla="*/ 400 w 5264"/>
                  <a:gd name="connsiteY2" fmla="*/ 6944 h 8762"/>
                  <a:gd name="connsiteX3" fmla="*/ 2971 w 5264"/>
                  <a:gd name="connsiteY3" fmla="*/ 904 h 8762"/>
                  <a:gd name="connsiteX4" fmla="*/ 4347 w 5264"/>
                  <a:gd name="connsiteY4" fmla="*/ 6 h 8762"/>
                  <a:gd name="connsiteX5" fmla="*/ 5244 w 5264"/>
                  <a:gd name="connsiteY5" fmla="*/ 1203 h 8762"/>
                  <a:gd name="connsiteX6" fmla="*/ 1954 w 5264"/>
                  <a:gd name="connsiteY6" fmla="*/ 8439 h 8762"/>
                  <a:gd name="connsiteX7" fmla="*/ 1476 w 5264"/>
                  <a:gd name="connsiteY7" fmla="*/ 8679 h 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4" h="8762">
                    <a:moveTo>
                      <a:pt x="1476" y="8679"/>
                    </a:moveTo>
                    <a:cubicBezTo>
                      <a:pt x="1057" y="8858"/>
                      <a:pt x="579" y="8738"/>
                      <a:pt x="280" y="8439"/>
                    </a:cubicBezTo>
                    <a:cubicBezTo>
                      <a:pt x="-139" y="8021"/>
                      <a:pt x="-79" y="7363"/>
                      <a:pt x="400" y="6944"/>
                    </a:cubicBezTo>
                    <a:cubicBezTo>
                      <a:pt x="1476" y="5987"/>
                      <a:pt x="2553" y="2698"/>
                      <a:pt x="2971" y="904"/>
                    </a:cubicBezTo>
                    <a:cubicBezTo>
                      <a:pt x="3091" y="306"/>
                      <a:pt x="3689" y="-53"/>
                      <a:pt x="4347" y="6"/>
                    </a:cubicBezTo>
                    <a:cubicBezTo>
                      <a:pt x="4945" y="66"/>
                      <a:pt x="5363" y="605"/>
                      <a:pt x="5244" y="1203"/>
                    </a:cubicBezTo>
                    <a:cubicBezTo>
                      <a:pt x="5124" y="1741"/>
                      <a:pt x="3928" y="6645"/>
                      <a:pt x="1954" y="8439"/>
                    </a:cubicBezTo>
                    <a:cubicBezTo>
                      <a:pt x="1775" y="8559"/>
                      <a:pt x="1655" y="8619"/>
                      <a:pt x="1476" y="867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28" name="Vrije vorm: vorm 9027">
                <a:extLst>
                  <a:ext uri="{FF2B5EF4-FFF2-40B4-BE49-F238E27FC236}">
                    <a16:creationId xmlns:a16="http://schemas.microsoft.com/office/drawing/2014/main" id="{9AFA83B6-6EA8-4FEA-B197-F48147644664}"/>
                  </a:ext>
                </a:extLst>
              </p:cNvPr>
              <p:cNvSpPr/>
              <p:nvPr/>
            </p:nvSpPr>
            <p:spPr>
              <a:xfrm>
                <a:off x="5804365" y="1941755"/>
                <a:ext cx="16229" cy="7223"/>
              </a:xfrm>
              <a:custGeom>
                <a:avLst/>
                <a:gdLst>
                  <a:gd name="connsiteX0" fmla="*/ 8617 w 16229"/>
                  <a:gd name="connsiteY0" fmla="*/ 5788 h 7223"/>
                  <a:gd name="connsiteX1" fmla="*/ 1082 w 16229"/>
                  <a:gd name="connsiteY1" fmla="*/ 7223 h 7223"/>
                  <a:gd name="connsiteX2" fmla="*/ 5 w 16229"/>
                  <a:gd name="connsiteY2" fmla="*/ 6207 h 7223"/>
                  <a:gd name="connsiteX3" fmla="*/ 1201 w 16229"/>
                  <a:gd name="connsiteY3" fmla="*/ 5130 h 7223"/>
                  <a:gd name="connsiteX4" fmla="*/ 14359 w 16229"/>
                  <a:gd name="connsiteY4" fmla="*/ 286 h 7223"/>
                  <a:gd name="connsiteX5" fmla="*/ 15973 w 16229"/>
                  <a:gd name="connsiteY5" fmla="*/ 346 h 7223"/>
                  <a:gd name="connsiteX6" fmla="*/ 15794 w 16229"/>
                  <a:gd name="connsiteY6" fmla="*/ 1841 h 7223"/>
                  <a:gd name="connsiteX7" fmla="*/ 8617 w 16229"/>
                  <a:gd name="connsiteY7" fmla="*/ 5788 h 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29" h="7223">
                    <a:moveTo>
                      <a:pt x="8617" y="5788"/>
                    </a:moveTo>
                    <a:cubicBezTo>
                      <a:pt x="6464" y="6565"/>
                      <a:pt x="3893" y="7223"/>
                      <a:pt x="1082" y="7223"/>
                    </a:cubicBezTo>
                    <a:cubicBezTo>
                      <a:pt x="424" y="7223"/>
                      <a:pt x="-55" y="6745"/>
                      <a:pt x="5" y="6207"/>
                    </a:cubicBezTo>
                    <a:cubicBezTo>
                      <a:pt x="5" y="5609"/>
                      <a:pt x="543" y="5130"/>
                      <a:pt x="1201" y="5130"/>
                    </a:cubicBezTo>
                    <a:cubicBezTo>
                      <a:pt x="8498" y="5010"/>
                      <a:pt x="14299" y="346"/>
                      <a:pt x="14359" y="286"/>
                    </a:cubicBezTo>
                    <a:cubicBezTo>
                      <a:pt x="14837" y="-133"/>
                      <a:pt x="15555" y="-73"/>
                      <a:pt x="15973" y="346"/>
                    </a:cubicBezTo>
                    <a:cubicBezTo>
                      <a:pt x="16392" y="764"/>
                      <a:pt x="16273" y="1422"/>
                      <a:pt x="15794" y="1841"/>
                    </a:cubicBezTo>
                    <a:cubicBezTo>
                      <a:pt x="15615" y="2020"/>
                      <a:pt x="12804" y="4233"/>
                      <a:pt x="8617" y="5788"/>
                    </a:cubicBezTo>
                    <a:close/>
                  </a:path>
                </a:pathLst>
              </a:custGeom>
              <a:grpFill/>
              <a:ln w="6350" cap="flat">
                <a:solidFill>
                  <a:schemeClr val="bg1">
                    <a:alpha val="80000"/>
                  </a:schemeClr>
                </a:solidFill>
                <a:prstDash val="solid"/>
                <a:miter/>
              </a:ln>
            </p:spPr>
            <p:txBody>
              <a:bodyPr rtlCol="0" anchor="ctr"/>
              <a:lstStyle/>
              <a:p>
                <a:endParaRPr lang="en-GB"/>
              </a:p>
            </p:txBody>
          </p:sp>
          <p:grpSp>
            <p:nvGrpSpPr>
              <p:cNvPr id="9029" name="Graphic 3">
                <a:extLst>
                  <a:ext uri="{FF2B5EF4-FFF2-40B4-BE49-F238E27FC236}">
                    <a16:creationId xmlns:a16="http://schemas.microsoft.com/office/drawing/2014/main" id="{CECEABC8-0079-4763-83D1-5F74D47012B4}"/>
                  </a:ext>
                </a:extLst>
              </p:cNvPr>
              <p:cNvGrpSpPr/>
              <p:nvPr/>
            </p:nvGrpSpPr>
            <p:grpSpPr>
              <a:xfrm>
                <a:off x="5794112" y="1896048"/>
                <a:ext cx="7571" cy="9658"/>
                <a:chOff x="5794112" y="1896048"/>
                <a:chExt cx="7571" cy="9658"/>
              </a:xfrm>
              <a:grpFill/>
            </p:grpSpPr>
            <p:sp>
              <p:nvSpPr>
                <p:cNvPr id="9031" name="Vrije vorm: vorm 9030">
                  <a:extLst>
                    <a:ext uri="{FF2B5EF4-FFF2-40B4-BE49-F238E27FC236}">
                      <a16:creationId xmlns:a16="http://schemas.microsoft.com/office/drawing/2014/main" id="{200B38CC-72DD-49B2-A89D-8221E17DED8D}"/>
                    </a:ext>
                  </a:extLst>
                </p:cNvPr>
                <p:cNvSpPr/>
                <p:nvPr/>
              </p:nvSpPr>
              <p:spPr>
                <a:xfrm>
                  <a:off x="5795220" y="1897065"/>
                  <a:ext cx="5322" cy="7535"/>
                </a:xfrm>
                <a:custGeom>
                  <a:avLst/>
                  <a:gdLst>
                    <a:gd name="connsiteX0" fmla="*/ 5323 w 5322"/>
                    <a:gd name="connsiteY0" fmla="*/ 120 h 7535"/>
                    <a:gd name="connsiteX1" fmla="*/ 2272 w 5322"/>
                    <a:gd name="connsiteY1" fmla="*/ 0 h 7535"/>
                    <a:gd name="connsiteX2" fmla="*/ 0 w 5322"/>
                    <a:gd name="connsiteY2" fmla="*/ 7237 h 7535"/>
                    <a:gd name="connsiteX3" fmla="*/ 718 w 5322"/>
                    <a:gd name="connsiteY3" fmla="*/ 7536 h 7535"/>
                    <a:gd name="connsiteX4" fmla="*/ 4725 w 5322"/>
                    <a:gd name="connsiteY4" fmla="*/ 5143 h 7535"/>
                    <a:gd name="connsiteX5" fmla="*/ 5323 w 5322"/>
                    <a:gd name="connsiteY5" fmla="*/ 12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 h="7535">
                      <a:moveTo>
                        <a:pt x="5323" y="120"/>
                      </a:moveTo>
                      <a:lnTo>
                        <a:pt x="2272" y="0"/>
                      </a:lnTo>
                      <a:lnTo>
                        <a:pt x="0" y="7237"/>
                      </a:lnTo>
                      <a:lnTo>
                        <a:pt x="718" y="7536"/>
                      </a:lnTo>
                      <a:cubicBezTo>
                        <a:pt x="718" y="7536"/>
                        <a:pt x="3050" y="5024"/>
                        <a:pt x="4725" y="5143"/>
                      </a:cubicBezTo>
                      <a:lnTo>
                        <a:pt x="5323" y="120"/>
                      </a:lnTo>
                      <a:close/>
                    </a:path>
                  </a:pathLst>
                </a:custGeom>
                <a:grpFill/>
                <a:ln w="6350" cap="flat">
                  <a:solidFill>
                    <a:schemeClr val="bg1">
                      <a:alpha val="80000"/>
                    </a:schemeClr>
                  </a:solidFill>
                  <a:prstDash val="solid"/>
                  <a:miter/>
                </a:ln>
              </p:spPr>
              <p:txBody>
                <a:bodyPr rtlCol="0" anchor="ctr"/>
                <a:lstStyle/>
                <a:p>
                  <a:endParaRPr lang="en-GB"/>
                </a:p>
              </p:txBody>
            </p:sp>
            <p:sp>
              <p:nvSpPr>
                <p:cNvPr id="9032" name="Vrije vorm: vorm 9031">
                  <a:extLst>
                    <a:ext uri="{FF2B5EF4-FFF2-40B4-BE49-F238E27FC236}">
                      <a16:creationId xmlns:a16="http://schemas.microsoft.com/office/drawing/2014/main" id="{DA060FA3-2A77-4E64-8ABB-9A9C54DB6FE8}"/>
                    </a:ext>
                  </a:extLst>
                </p:cNvPr>
                <p:cNvSpPr/>
                <p:nvPr/>
              </p:nvSpPr>
              <p:spPr>
                <a:xfrm>
                  <a:off x="5794112" y="1896048"/>
                  <a:ext cx="7571" cy="9658"/>
                </a:xfrm>
                <a:custGeom>
                  <a:avLst/>
                  <a:gdLst>
                    <a:gd name="connsiteX0" fmla="*/ 2243 w 7571"/>
                    <a:gd name="connsiteY0" fmla="*/ 9569 h 9658"/>
                    <a:gd name="connsiteX1" fmla="*/ 1346 w 7571"/>
                    <a:gd name="connsiteY1" fmla="*/ 9569 h 9658"/>
                    <a:gd name="connsiteX2" fmla="*/ 629 w 7571"/>
                    <a:gd name="connsiteY2" fmla="*/ 9270 h 9658"/>
                    <a:gd name="connsiteX3" fmla="*/ 30 w 7571"/>
                    <a:gd name="connsiteY3" fmla="*/ 8074 h 9658"/>
                    <a:gd name="connsiteX4" fmla="*/ 2303 w 7571"/>
                    <a:gd name="connsiteY4" fmla="*/ 837 h 9658"/>
                    <a:gd name="connsiteX5" fmla="*/ 3499 w 7571"/>
                    <a:gd name="connsiteY5" fmla="*/ 0 h 9658"/>
                    <a:gd name="connsiteX6" fmla="*/ 6550 w 7571"/>
                    <a:gd name="connsiteY6" fmla="*/ 120 h 9658"/>
                    <a:gd name="connsiteX7" fmla="*/ 7566 w 7571"/>
                    <a:gd name="connsiteY7" fmla="*/ 1196 h 9658"/>
                    <a:gd name="connsiteX8" fmla="*/ 7028 w 7571"/>
                    <a:gd name="connsiteY8" fmla="*/ 6220 h 9658"/>
                    <a:gd name="connsiteX9" fmla="*/ 6609 w 7571"/>
                    <a:gd name="connsiteY9" fmla="*/ 6997 h 9658"/>
                    <a:gd name="connsiteX10" fmla="*/ 5772 w 7571"/>
                    <a:gd name="connsiteY10" fmla="*/ 7237 h 9658"/>
                    <a:gd name="connsiteX11" fmla="*/ 2722 w 7571"/>
                    <a:gd name="connsiteY11" fmla="*/ 9270 h 9658"/>
                    <a:gd name="connsiteX12" fmla="*/ 2243 w 7571"/>
                    <a:gd name="connsiteY12" fmla="*/ 9569 h 9658"/>
                    <a:gd name="connsiteX13" fmla="*/ 4217 w 7571"/>
                    <a:gd name="connsiteY13" fmla="*/ 2153 h 9658"/>
                    <a:gd name="connsiteX14" fmla="*/ 2961 w 7571"/>
                    <a:gd name="connsiteY14" fmla="*/ 6280 h 9658"/>
                    <a:gd name="connsiteX15" fmla="*/ 4875 w 7571"/>
                    <a:gd name="connsiteY15" fmla="*/ 5323 h 9658"/>
                    <a:gd name="connsiteX16" fmla="*/ 5234 w 7571"/>
                    <a:gd name="connsiteY16" fmla="*/ 2213 h 9658"/>
                    <a:gd name="connsiteX17" fmla="*/ 4217 w 7571"/>
                    <a:gd name="connsiteY17" fmla="*/ 2153 h 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71" h="9658">
                      <a:moveTo>
                        <a:pt x="2243" y="9569"/>
                      </a:moveTo>
                      <a:cubicBezTo>
                        <a:pt x="1944" y="9689"/>
                        <a:pt x="1645" y="9689"/>
                        <a:pt x="1346" y="9569"/>
                      </a:cubicBezTo>
                      <a:lnTo>
                        <a:pt x="629" y="9270"/>
                      </a:lnTo>
                      <a:cubicBezTo>
                        <a:pt x="150" y="9091"/>
                        <a:pt x="-89" y="8552"/>
                        <a:pt x="30" y="8074"/>
                      </a:cubicBezTo>
                      <a:lnTo>
                        <a:pt x="2303" y="837"/>
                      </a:lnTo>
                      <a:cubicBezTo>
                        <a:pt x="2483" y="359"/>
                        <a:pt x="2961" y="0"/>
                        <a:pt x="3499" y="0"/>
                      </a:cubicBezTo>
                      <a:lnTo>
                        <a:pt x="6550" y="120"/>
                      </a:lnTo>
                      <a:cubicBezTo>
                        <a:pt x="7147" y="120"/>
                        <a:pt x="7626" y="658"/>
                        <a:pt x="7566" y="1196"/>
                      </a:cubicBezTo>
                      <a:lnTo>
                        <a:pt x="7028" y="6220"/>
                      </a:lnTo>
                      <a:cubicBezTo>
                        <a:pt x="6968" y="6519"/>
                        <a:pt x="6848" y="6758"/>
                        <a:pt x="6609" y="6997"/>
                      </a:cubicBezTo>
                      <a:cubicBezTo>
                        <a:pt x="6370" y="7177"/>
                        <a:pt x="6071" y="7296"/>
                        <a:pt x="5772" y="7237"/>
                      </a:cubicBezTo>
                      <a:cubicBezTo>
                        <a:pt x="5114" y="7177"/>
                        <a:pt x="3679" y="8253"/>
                        <a:pt x="2722" y="9270"/>
                      </a:cubicBezTo>
                      <a:cubicBezTo>
                        <a:pt x="2602" y="9390"/>
                        <a:pt x="2423" y="9509"/>
                        <a:pt x="2243" y="9569"/>
                      </a:cubicBezTo>
                      <a:close/>
                      <a:moveTo>
                        <a:pt x="4217" y="2153"/>
                      </a:moveTo>
                      <a:lnTo>
                        <a:pt x="2961" y="6280"/>
                      </a:lnTo>
                      <a:cubicBezTo>
                        <a:pt x="3559" y="5861"/>
                        <a:pt x="4217" y="5502"/>
                        <a:pt x="4875" y="5323"/>
                      </a:cubicBezTo>
                      <a:lnTo>
                        <a:pt x="5234" y="2213"/>
                      </a:lnTo>
                      <a:lnTo>
                        <a:pt x="4217" y="2153"/>
                      </a:lnTo>
                      <a:close/>
                    </a:path>
                  </a:pathLst>
                </a:custGeom>
                <a:grpFill/>
                <a:ln w="6350" cap="flat">
                  <a:solidFill>
                    <a:schemeClr val="bg1">
                      <a:alpha val="80000"/>
                    </a:schemeClr>
                  </a:solidFill>
                  <a:prstDash val="solid"/>
                  <a:miter/>
                </a:ln>
              </p:spPr>
              <p:txBody>
                <a:bodyPr rtlCol="0" anchor="ctr"/>
                <a:lstStyle/>
                <a:p>
                  <a:endParaRPr lang="en-GB"/>
                </a:p>
              </p:txBody>
            </p:sp>
          </p:grpSp>
          <p:sp>
            <p:nvSpPr>
              <p:cNvPr id="9030" name="Vrije vorm: vorm 9029">
                <a:extLst>
                  <a:ext uri="{FF2B5EF4-FFF2-40B4-BE49-F238E27FC236}">
                    <a16:creationId xmlns:a16="http://schemas.microsoft.com/office/drawing/2014/main" id="{43CB71E5-DDE8-4DA5-A82F-3F159DEA50DB}"/>
                  </a:ext>
                </a:extLst>
              </p:cNvPr>
              <p:cNvSpPr/>
              <p:nvPr/>
            </p:nvSpPr>
            <p:spPr>
              <a:xfrm>
                <a:off x="5777326" y="1918118"/>
                <a:ext cx="22387" cy="16401"/>
              </a:xfrm>
              <a:custGeom>
                <a:avLst/>
                <a:gdLst>
                  <a:gd name="connsiteX0" fmla="*/ 21602 w 22387"/>
                  <a:gd name="connsiteY0" fmla="*/ 16327 h 16401"/>
                  <a:gd name="connsiteX1" fmla="*/ 20466 w 22387"/>
                  <a:gd name="connsiteY1" fmla="*/ 16147 h 16401"/>
                  <a:gd name="connsiteX2" fmla="*/ 7188 w 22387"/>
                  <a:gd name="connsiteY2" fmla="*/ 6758 h 16401"/>
                  <a:gd name="connsiteX3" fmla="*/ 1626 w 22387"/>
                  <a:gd name="connsiteY3" fmla="*/ 9688 h 16401"/>
                  <a:gd name="connsiteX4" fmla="*/ 490 w 22387"/>
                  <a:gd name="connsiteY4" fmla="*/ 9688 h 16401"/>
                  <a:gd name="connsiteX5" fmla="*/ 11 w 22387"/>
                  <a:gd name="connsiteY5" fmla="*/ 8731 h 16401"/>
                  <a:gd name="connsiteX6" fmla="*/ 4497 w 22387"/>
                  <a:gd name="connsiteY6" fmla="*/ 717 h 16401"/>
                  <a:gd name="connsiteX7" fmla="*/ 17176 w 22387"/>
                  <a:gd name="connsiteY7" fmla="*/ 3767 h 16401"/>
                  <a:gd name="connsiteX8" fmla="*/ 17415 w 22387"/>
                  <a:gd name="connsiteY8" fmla="*/ 5203 h 16401"/>
                  <a:gd name="connsiteX9" fmla="*/ 15800 w 22387"/>
                  <a:gd name="connsiteY9" fmla="*/ 5562 h 16401"/>
                  <a:gd name="connsiteX10" fmla="*/ 5813 w 22387"/>
                  <a:gd name="connsiteY10" fmla="*/ 2392 h 16401"/>
                  <a:gd name="connsiteX11" fmla="*/ 2763 w 22387"/>
                  <a:gd name="connsiteY11" fmla="*/ 6758 h 16401"/>
                  <a:gd name="connsiteX12" fmla="*/ 6769 w 22387"/>
                  <a:gd name="connsiteY12" fmla="*/ 4664 h 16401"/>
                  <a:gd name="connsiteX13" fmla="*/ 7966 w 22387"/>
                  <a:gd name="connsiteY13" fmla="*/ 4664 h 16401"/>
                  <a:gd name="connsiteX14" fmla="*/ 22020 w 22387"/>
                  <a:gd name="connsiteY14" fmla="*/ 14533 h 16401"/>
                  <a:gd name="connsiteX15" fmla="*/ 22080 w 22387"/>
                  <a:gd name="connsiteY15" fmla="*/ 16028 h 16401"/>
                  <a:gd name="connsiteX16" fmla="*/ 21602 w 22387"/>
                  <a:gd name="connsiteY16" fmla="*/ 16327 h 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387" h="16401">
                    <a:moveTo>
                      <a:pt x="21602" y="16327"/>
                    </a:moveTo>
                    <a:cubicBezTo>
                      <a:pt x="21243" y="16446"/>
                      <a:pt x="20824" y="16446"/>
                      <a:pt x="20466" y="16147"/>
                    </a:cubicBezTo>
                    <a:cubicBezTo>
                      <a:pt x="14245" y="11363"/>
                      <a:pt x="8863" y="7834"/>
                      <a:pt x="7188" y="6758"/>
                    </a:cubicBezTo>
                    <a:lnTo>
                      <a:pt x="1626" y="9688"/>
                    </a:lnTo>
                    <a:cubicBezTo>
                      <a:pt x="1267" y="9868"/>
                      <a:pt x="789" y="9868"/>
                      <a:pt x="490" y="9688"/>
                    </a:cubicBezTo>
                    <a:cubicBezTo>
                      <a:pt x="131" y="9509"/>
                      <a:pt x="-48" y="9150"/>
                      <a:pt x="11" y="8731"/>
                    </a:cubicBezTo>
                    <a:cubicBezTo>
                      <a:pt x="11" y="8552"/>
                      <a:pt x="610" y="3588"/>
                      <a:pt x="4497" y="717"/>
                    </a:cubicBezTo>
                    <a:cubicBezTo>
                      <a:pt x="7846" y="-1735"/>
                      <a:pt x="15681" y="2810"/>
                      <a:pt x="17176" y="3767"/>
                    </a:cubicBezTo>
                    <a:cubicBezTo>
                      <a:pt x="17714" y="4066"/>
                      <a:pt x="17774" y="4724"/>
                      <a:pt x="17415" y="5203"/>
                    </a:cubicBezTo>
                    <a:cubicBezTo>
                      <a:pt x="17057" y="5681"/>
                      <a:pt x="16339" y="5861"/>
                      <a:pt x="15800" y="5562"/>
                    </a:cubicBezTo>
                    <a:cubicBezTo>
                      <a:pt x="12511" y="3528"/>
                      <a:pt x="7188" y="1315"/>
                      <a:pt x="5813" y="2392"/>
                    </a:cubicBezTo>
                    <a:cubicBezTo>
                      <a:pt x="4138" y="3588"/>
                      <a:pt x="3241" y="5382"/>
                      <a:pt x="2763" y="6758"/>
                    </a:cubicBezTo>
                    <a:lnTo>
                      <a:pt x="6769" y="4664"/>
                    </a:lnTo>
                    <a:cubicBezTo>
                      <a:pt x="7128" y="4485"/>
                      <a:pt x="7607" y="4485"/>
                      <a:pt x="7966" y="4664"/>
                    </a:cubicBezTo>
                    <a:cubicBezTo>
                      <a:pt x="8026" y="4724"/>
                      <a:pt x="14425" y="8672"/>
                      <a:pt x="22020" y="14533"/>
                    </a:cubicBezTo>
                    <a:cubicBezTo>
                      <a:pt x="22499" y="14891"/>
                      <a:pt x="22499" y="15549"/>
                      <a:pt x="22080" y="16028"/>
                    </a:cubicBezTo>
                    <a:cubicBezTo>
                      <a:pt x="21901" y="16147"/>
                      <a:pt x="21781" y="16207"/>
                      <a:pt x="21602" y="16327"/>
                    </a:cubicBez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8987" name="Graphic 3">
              <a:extLst>
                <a:ext uri="{FF2B5EF4-FFF2-40B4-BE49-F238E27FC236}">
                  <a16:creationId xmlns:a16="http://schemas.microsoft.com/office/drawing/2014/main" id="{377092E7-2C1C-4ECF-B01E-8DAEFA54141D}"/>
                </a:ext>
              </a:extLst>
            </p:cNvPr>
            <p:cNvGrpSpPr/>
            <p:nvPr/>
          </p:nvGrpSpPr>
          <p:grpSpPr>
            <a:xfrm>
              <a:off x="6095261" y="1803684"/>
              <a:ext cx="92428" cy="131286"/>
              <a:chOff x="6095261" y="1803684"/>
              <a:chExt cx="92428" cy="131286"/>
            </a:xfrm>
            <a:grpFill/>
          </p:grpSpPr>
          <p:sp>
            <p:nvSpPr>
              <p:cNvPr id="9009" name="Vrije vorm: vorm 9008">
                <a:extLst>
                  <a:ext uri="{FF2B5EF4-FFF2-40B4-BE49-F238E27FC236}">
                    <a16:creationId xmlns:a16="http://schemas.microsoft.com/office/drawing/2014/main" id="{7E906C8A-64C3-4A1C-A6FD-CB7ADAED1FA3}"/>
                  </a:ext>
                </a:extLst>
              </p:cNvPr>
              <p:cNvSpPr/>
              <p:nvPr/>
            </p:nvSpPr>
            <p:spPr>
              <a:xfrm>
                <a:off x="6106046" y="1803684"/>
                <a:ext cx="22324" cy="24478"/>
              </a:xfrm>
              <a:custGeom>
                <a:avLst/>
                <a:gdLst>
                  <a:gd name="connsiteX0" fmla="*/ 15063 w 22324"/>
                  <a:gd name="connsiteY0" fmla="*/ 24244 h 24478"/>
                  <a:gd name="connsiteX1" fmla="*/ 2803 w 22324"/>
                  <a:gd name="connsiteY1" fmla="*/ 15812 h 24478"/>
                  <a:gd name="connsiteX2" fmla="*/ 2623 w 22324"/>
                  <a:gd name="connsiteY2" fmla="*/ 15333 h 24478"/>
                  <a:gd name="connsiteX3" fmla="*/ 2504 w 22324"/>
                  <a:gd name="connsiteY3" fmla="*/ 15333 h 24478"/>
                  <a:gd name="connsiteX4" fmla="*/ 1607 w 22324"/>
                  <a:gd name="connsiteY4" fmla="*/ 14914 h 24478"/>
                  <a:gd name="connsiteX5" fmla="*/ 650 w 22324"/>
                  <a:gd name="connsiteY5" fmla="*/ 6900 h 24478"/>
                  <a:gd name="connsiteX6" fmla="*/ 9083 w 22324"/>
                  <a:gd name="connsiteY6" fmla="*/ 202 h 24478"/>
                  <a:gd name="connsiteX7" fmla="*/ 19848 w 22324"/>
                  <a:gd name="connsiteY7" fmla="*/ 4209 h 24478"/>
                  <a:gd name="connsiteX8" fmla="*/ 21881 w 22324"/>
                  <a:gd name="connsiteY8" fmla="*/ 15513 h 24478"/>
                  <a:gd name="connsiteX9" fmla="*/ 15422 w 22324"/>
                  <a:gd name="connsiteY9" fmla="*/ 24065 h 24478"/>
                  <a:gd name="connsiteX10" fmla="*/ 15063 w 22324"/>
                  <a:gd name="connsiteY10" fmla="*/ 24244 h 24478"/>
                  <a:gd name="connsiteX11" fmla="*/ 4358 w 22324"/>
                  <a:gd name="connsiteY11" fmla="*/ 14137 h 24478"/>
                  <a:gd name="connsiteX12" fmla="*/ 4836 w 22324"/>
                  <a:gd name="connsiteY12" fmla="*/ 14496 h 24478"/>
                  <a:gd name="connsiteX13" fmla="*/ 14405 w 22324"/>
                  <a:gd name="connsiteY13" fmla="*/ 22091 h 24478"/>
                  <a:gd name="connsiteX14" fmla="*/ 19549 w 22324"/>
                  <a:gd name="connsiteY14" fmla="*/ 14974 h 24478"/>
                  <a:gd name="connsiteX15" fmla="*/ 19609 w 22324"/>
                  <a:gd name="connsiteY15" fmla="*/ 14616 h 24478"/>
                  <a:gd name="connsiteX16" fmla="*/ 17276 w 22324"/>
                  <a:gd name="connsiteY16" fmla="*/ 13778 h 24478"/>
                  <a:gd name="connsiteX17" fmla="*/ 16678 w 22324"/>
                  <a:gd name="connsiteY17" fmla="*/ 12343 h 24478"/>
                  <a:gd name="connsiteX18" fmla="*/ 16559 w 22324"/>
                  <a:gd name="connsiteY18" fmla="*/ 10668 h 24478"/>
                  <a:gd name="connsiteX19" fmla="*/ 15841 w 22324"/>
                  <a:gd name="connsiteY19" fmla="*/ 10010 h 24478"/>
                  <a:gd name="connsiteX20" fmla="*/ 15243 w 22324"/>
                  <a:gd name="connsiteY20" fmla="*/ 10070 h 24478"/>
                  <a:gd name="connsiteX21" fmla="*/ 14884 w 22324"/>
                  <a:gd name="connsiteY21" fmla="*/ 10549 h 24478"/>
                  <a:gd name="connsiteX22" fmla="*/ 14166 w 22324"/>
                  <a:gd name="connsiteY22" fmla="*/ 11326 h 24478"/>
                  <a:gd name="connsiteX23" fmla="*/ 13090 w 22324"/>
                  <a:gd name="connsiteY23" fmla="*/ 11266 h 24478"/>
                  <a:gd name="connsiteX24" fmla="*/ 10338 w 22324"/>
                  <a:gd name="connsiteY24" fmla="*/ 9771 h 24478"/>
                  <a:gd name="connsiteX25" fmla="*/ 4358 w 22324"/>
                  <a:gd name="connsiteY25" fmla="*/ 14137 h 24478"/>
                  <a:gd name="connsiteX26" fmla="*/ 19250 w 22324"/>
                  <a:gd name="connsiteY26" fmla="*/ 11984 h 24478"/>
                  <a:gd name="connsiteX27" fmla="*/ 19908 w 22324"/>
                  <a:gd name="connsiteY27" fmla="*/ 12223 h 24478"/>
                  <a:gd name="connsiteX28" fmla="*/ 17934 w 22324"/>
                  <a:gd name="connsiteY28" fmla="*/ 5644 h 24478"/>
                  <a:gd name="connsiteX29" fmla="*/ 9441 w 22324"/>
                  <a:gd name="connsiteY29" fmla="*/ 2415 h 24478"/>
                  <a:gd name="connsiteX30" fmla="*/ 2922 w 22324"/>
                  <a:gd name="connsiteY30" fmla="*/ 7558 h 24478"/>
                  <a:gd name="connsiteX31" fmla="*/ 2922 w 22324"/>
                  <a:gd name="connsiteY31" fmla="*/ 12343 h 24478"/>
                  <a:gd name="connsiteX32" fmla="*/ 9860 w 22324"/>
                  <a:gd name="connsiteY32" fmla="*/ 7439 h 24478"/>
                  <a:gd name="connsiteX33" fmla="*/ 11116 w 22324"/>
                  <a:gd name="connsiteY33" fmla="*/ 7439 h 24478"/>
                  <a:gd name="connsiteX34" fmla="*/ 13389 w 22324"/>
                  <a:gd name="connsiteY34" fmla="*/ 8695 h 24478"/>
                  <a:gd name="connsiteX35" fmla="*/ 14046 w 22324"/>
                  <a:gd name="connsiteY35" fmla="*/ 8156 h 24478"/>
                  <a:gd name="connsiteX36" fmla="*/ 16559 w 22324"/>
                  <a:gd name="connsiteY36" fmla="*/ 7798 h 24478"/>
                  <a:gd name="connsiteX37" fmla="*/ 18831 w 22324"/>
                  <a:gd name="connsiteY37" fmla="*/ 9592 h 24478"/>
                  <a:gd name="connsiteX38" fmla="*/ 19250 w 22324"/>
                  <a:gd name="connsiteY38" fmla="*/ 11984 h 2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324" h="24478">
                    <a:moveTo>
                      <a:pt x="15063" y="24244"/>
                    </a:moveTo>
                    <a:cubicBezTo>
                      <a:pt x="10338" y="25979"/>
                      <a:pt x="4059" y="17546"/>
                      <a:pt x="2803" y="15812"/>
                    </a:cubicBezTo>
                    <a:cubicBezTo>
                      <a:pt x="2683" y="15692"/>
                      <a:pt x="2623" y="15513"/>
                      <a:pt x="2623" y="15333"/>
                    </a:cubicBezTo>
                    <a:cubicBezTo>
                      <a:pt x="2564" y="15333"/>
                      <a:pt x="2564" y="15333"/>
                      <a:pt x="2504" y="15333"/>
                    </a:cubicBezTo>
                    <a:cubicBezTo>
                      <a:pt x="2145" y="15333"/>
                      <a:pt x="1846" y="15154"/>
                      <a:pt x="1607" y="14914"/>
                    </a:cubicBezTo>
                    <a:cubicBezTo>
                      <a:pt x="1487" y="14795"/>
                      <a:pt x="-1204" y="11446"/>
                      <a:pt x="650" y="6900"/>
                    </a:cubicBezTo>
                    <a:cubicBezTo>
                      <a:pt x="2025" y="3491"/>
                      <a:pt x="5255" y="920"/>
                      <a:pt x="9083" y="202"/>
                    </a:cubicBezTo>
                    <a:cubicBezTo>
                      <a:pt x="13209" y="-576"/>
                      <a:pt x="17097" y="920"/>
                      <a:pt x="19848" y="4209"/>
                    </a:cubicBezTo>
                    <a:cubicBezTo>
                      <a:pt x="23676" y="8814"/>
                      <a:pt x="21941" y="15214"/>
                      <a:pt x="21881" y="15513"/>
                    </a:cubicBezTo>
                    <a:cubicBezTo>
                      <a:pt x="21463" y="16828"/>
                      <a:pt x="19010" y="22331"/>
                      <a:pt x="15422" y="24065"/>
                    </a:cubicBezTo>
                    <a:cubicBezTo>
                      <a:pt x="15302" y="24125"/>
                      <a:pt x="15183" y="24185"/>
                      <a:pt x="15063" y="24244"/>
                    </a:cubicBezTo>
                    <a:close/>
                    <a:moveTo>
                      <a:pt x="4358" y="14137"/>
                    </a:moveTo>
                    <a:cubicBezTo>
                      <a:pt x="4537" y="14197"/>
                      <a:pt x="4716" y="14316"/>
                      <a:pt x="4836" y="14496"/>
                    </a:cubicBezTo>
                    <a:cubicBezTo>
                      <a:pt x="8424" y="19520"/>
                      <a:pt x="12731" y="22988"/>
                      <a:pt x="14405" y="22091"/>
                    </a:cubicBezTo>
                    <a:cubicBezTo>
                      <a:pt x="16798" y="20895"/>
                      <a:pt x="19070" y="16589"/>
                      <a:pt x="19549" y="14974"/>
                    </a:cubicBezTo>
                    <a:cubicBezTo>
                      <a:pt x="19549" y="14974"/>
                      <a:pt x="19609" y="14855"/>
                      <a:pt x="19609" y="14616"/>
                    </a:cubicBezTo>
                    <a:lnTo>
                      <a:pt x="17276" y="13778"/>
                    </a:lnTo>
                    <a:cubicBezTo>
                      <a:pt x="16678" y="13539"/>
                      <a:pt x="16439" y="12941"/>
                      <a:pt x="16678" y="12343"/>
                    </a:cubicBezTo>
                    <a:cubicBezTo>
                      <a:pt x="16917" y="11864"/>
                      <a:pt x="16858" y="11206"/>
                      <a:pt x="16559" y="10668"/>
                    </a:cubicBezTo>
                    <a:cubicBezTo>
                      <a:pt x="16379" y="10309"/>
                      <a:pt x="16080" y="10010"/>
                      <a:pt x="15841" y="10010"/>
                    </a:cubicBezTo>
                    <a:cubicBezTo>
                      <a:pt x="15542" y="9951"/>
                      <a:pt x="15362" y="9951"/>
                      <a:pt x="15243" y="10070"/>
                    </a:cubicBezTo>
                    <a:cubicBezTo>
                      <a:pt x="15063" y="10190"/>
                      <a:pt x="14944" y="10429"/>
                      <a:pt x="14884" y="10549"/>
                    </a:cubicBezTo>
                    <a:cubicBezTo>
                      <a:pt x="14764" y="10907"/>
                      <a:pt x="14525" y="11206"/>
                      <a:pt x="14166" y="11326"/>
                    </a:cubicBezTo>
                    <a:cubicBezTo>
                      <a:pt x="13807" y="11446"/>
                      <a:pt x="13389" y="11446"/>
                      <a:pt x="13090" y="11266"/>
                    </a:cubicBezTo>
                    <a:lnTo>
                      <a:pt x="10338" y="9771"/>
                    </a:lnTo>
                    <a:cubicBezTo>
                      <a:pt x="7587" y="11386"/>
                      <a:pt x="5494" y="13120"/>
                      <a:pt x="4358" y="14137"/>
                    </a:cubicBezTo>
                    <a:close/>
                    <a:moveTo>
                      <a:pt x="19250" y="11984"/>
                    </a:moveTo>
                    <a:lnTo>
                      <a:pt x="19908" y="12223"/>
                    </a:lnTo>
                    <a:cubicBezTo>
                      <a:pt x="19968" y="10309"/>
                      <a:pt x="19609" y="7678"/>
                      <a:pt x="17934" y="5644"/>
                    </a:cubicBezTo>
                    <a:cubicBezTo>
                      <a:pt x="15721" y="3013"/>
                      <a:pt x="12671" y="1817"/>
                      <a:pt x="9441" y="2415"/>
                    </a:cubicBezTo>
                    <a:cubicBezTo>
                      <a:pt x="6451" y="2953"/>
                      <a:pt x="3999" y="4927"/>
                      <a:pt x="2922" y="7558"/>
                    </a:cubicBezTo>
                    <a:cubicBezTo>
                      <a:pt x="2085" y="9592"/>
                      <a:pt x="2504" y="11326"/>
                      <a:pt x="2922" y="12343"/>
                    </a:cubicBezTo>
                    <a:cubicBezTo>
                      <a:pt x="4238" y="11147"/>
                      <a:pt x="6630" y="9233"/>
                      <a:pt x="9860" y="7439"/>
                    </a:cubicBezTo>
                    <a:cubicBezTo>
                      <a:pt x="10279" y="7199"/>
                      <a:pt x="10757" y="7199"/>
                      <a:pt x="11116" y="7439"/>
                    </a:cubicBezTo>
                    <a:lnTo>
                      <a:pt x="13389" y="8695"/>
                    </a:lnTo>
                    <a:cubicBezTo>
                      <a:pt x="13568" y="8515"/>
                      <a:pt x="13807" y="8276"/>
                      <a:pt x="14046" y="8156"/>
                    </a:cubicBezTo>
                    <a:cubicBezTo>
                      <a:pt x="14525" y="7857"/>
                      <a:pt x="15362" y="7558"/>
                      <a:pt x="16559" y="7798"/>
                    </a:cubicBezTo>
                    <a:cubicBezTo>
                      <a:pt x="17515" y="7977"/>
                      <a:pt x="18353" y="8635"/>
                      <a:pt x="18831" y="9592"/>
                    </a:cubicBezTo>
                    <a:cubicBezTo>
                      <a:pt x="19250" y="10309"/>
                      <a:pt x="19369" y="11206"/>
                      <a:pt x="19250" y="1198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10" name="Vrije vorm: vorm 9009">
                <a:extLst>
                  <a:ext uri="{FF2B5EF4-FFF2-40B4-BE49-F238E27FC236}">
                    <a16:creationId xmlns:a16="http://schemas.microsoft.com/office/drawing/2014/main" id="{41E656E5-6517-4659-B315-B1C570DFB379}"/>
                  </a:ext>
                </a:extLst>
              </p:cNvPr>
              <p:cNvSpPr/>
              <p:nvPr/>
            </p:nvSpPr>
            <p:spPr>
              <a:xfrm>
                <a:off x="6125572" y="1817788"/>
                <a:ext cx="62118" cy="107949"/>
              </a:xfrm>
              <a:custGeom>
                <a:avLst/>
                <a:gdLst>
                  <a:gd name="connsiteX0" fmla="*/ 52952 w 62118"/>
                  <a:gd name="connsiteY0" fmla="*/ 107865 h 107949"/>
                  <a:gd name="connsiteX1" fmla="*/ 51696 w 62118"/>
                  <a:gd name="connsiteY1" fmla="*/ 107626 h 107949"/>
                  <a:gd name="connsiteX2" fmla="*/ 51816 w 62118"/>
                  <a:gd name="connsiteY2" fmla="*/ 106011 h 107949"/>
                  <a:gd name="connsiteX3" fmla="*/ 59352 w 62118"/>
                  <a:gd name="connsiteY3" fmla="*/ 96562 h 107949"/>
                  <a:gd name="connsiteX4" fmla="*/ 38120 w 62118"/>
                  <a:gd name="connsiteY4" fmla="*/ 77184 h 107949"/>
                  <a:gd name="connsiteX5" fmla="*/ 22750 w 62118"/>
                  <a:gd name="connsiteY5" fmla="*/ 49852 h 107949"/>
                  <a:gd name="connsiteX6" fmla="*/ 22451 w 62118"/>
                  <a:gd name="connsiteY6" fmla="*/ 49194 h 107949"/>
                  <a:gd name="connsiteX7" fmla="*/ 22092 w 62118"/>
                  <a:gd name="connsiteY7" fmla="*/ 48297 h 107949"/>
                  <a:gd name="connsiteX8" fmla="*/ 22869 w 62118"/>
                  <a:gd name="connsiteY8" fmla="*/ 46862 h 107949"/>
                  <a:gd name="connsiteX9" fmla="*/ 23646 w 62118"/>
                  <a:gd name="connsiteY9" fmla="*/ 46503 h 107949"/>
                  <a:gd name="connsiteX10" fmla="*/ 21972 w 62118"/>
                  <a:gd name="connsiteY10" fmla="*/ 42855 h 107949"/>
                  <a:gd name="connsiteX11" fmla="*/ 16889 w 62118"/>
                  <a:gd name="connsiteY11" fmla="*/ 28023 h 107949"/>
                  <a:gd name="connsiteX12" fmla="*/ 6661 w 62118"/>
                  <a:gd name="connsiteY12" fmla="*/ 7927 h 107949"/>
                  <a:gd name="connsiteX13" fmla="*/ 4867 w 62118"/>
                  <a:gd name="connsiteY13" fmla="*/ 6672 h 107949"/>
                  <a:gd name="connsiteX14" fmla="*/ 83 w 62118"/>
                  <a:gd name="connsiteY14" fmla="*/ 1588 h 107949"/>
                  <a:gd name="connsiteX15" fmla="*/ 741 w 62118"/>
                  <a:gd name="connsiteY15" fmla="*/ 93 h 107949"/>
                  <a:gd name="connsiteX16" fmla="*/ 2296 w 62118"/>
                  <a:gd name="connsiteY16" fmla="*/ 631 h 107949"/>
                  <a:gd name="connsiteX17" fmla="*/ 6362 w 62118"/>
                  <a:gd name="connsiteY17" fmla="*/ 4818 h 107949"/>
                  <a:gd name="connsiteX18" fmla="*/ 8276 w 62118"/>
                  <a:gd name="connsiteY18" fmla="*/ 6193 h 107949"/>
                  <a:gd name="connsiteX19" fmla="*/ 19221 w 62118"/>
                  <a:gd name="connsiteY19" fmla="*/ 27544 h 107949"/>
                  <a:gd name="connsiteX20" fmla="*/ 24125 w 62118"/>
                  <a:gd name="connsiteY20" fmla="*/ 41838 h 107949"/>
                  <a:gd name="connsiteX21" fmla="*/ 26039 w 62118"/>
                  <a:gd name="connsiteY21" fmla="*/ 46144 h 107949"/>
                  <a:gd name="connsiteX22" fmla="*/ 24723 w 62118"/>
                  <a:gd name="connsiteY22" fmla="*/ 48477 h 107949"/>
                  <a:gd name="connsiteX23" fmla="*/ 24962 w 62118"/>
                  <a:gd name="connsiteY23" fmla="*/ 49075 h 107949"/>
                  <a:gd name="connsiteX24" fmla="*/ 40034 w 62118"/>
                  <a:gd name="connsiteY24" fmla="*/ 75868 h 107949"/>
                  <a:gd name="connsiteX25" fmla="*/ 61624 w 62118"/>
                  <a:gd name="connsiteY25" fmla="*/ 95306 h 107949"/>
                  <a:gd name="connsiteX26" fmla="*/ 62103 w 62118"/>
                  <a:gd name="connsiteY26" fmla="*/ 96024 h 107949"/>
                  <a:gd name="connsiteX27" fmla="*/ 61863 w 62118"/>
                  <a:gd name="connsiteY27" fmla="*/ 96861 h 107949"/>
                  <a:gd name="connsiteX28" fmla="*/ 53311 w 62118"/>
                  <a:gd name="connsiteY28" fmla="*/ 107566 h 107949"/>
                  <a:gd name="connsiteX29" fmla="*/ 52952 w 62118"/>
                  <a:gd name="connsiteY29" fmla="*/ 107865 h 10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2118" h="107949">
                    <a:moveTo>
                      <a:pt x="52952" y="107865"/>
                    </a:moveTo>
                    <a:cubicBezTo>
                      <a:pt x="52533" y="108045"/>
                      <a:pt x="51995" y="107925"/>
                      <a:pt x="51696" y="107626"/>
                    </a:cubicBezTo>
                    <a:cubicBezTo>
                      <a:pt x="51278" y="107207"/>
                      <a:pt x="51278" y="106490"/>
                      <a:pt x="51816" y="106011"/>
                    </a:cubicBezTo>
                    <a:cubicBezTo>
                      <a:pt x="52533" y="105413"/>
                      <a:pt x="56540" y="100270"/>
                      <a:pt x="59352" y="96562"/>
                    </a:cubicBezTo>
                    <a:cubicBezTo>
                      <a:pt x="56122" y="94409"/>
                      <a:pt x="45536" y="86993"/>
                      <a:pt x="38120" y="77184"/>
                    </a:cubicBezTo>
                    <a:cubicBezTo>
                      <a:pt x="28252" y="64146"/>
                      <a:pt x="23587" y="52125"/>
                      <a:pt x="22750" y="49852"/>
                    </a:cubicBezTo>
                    <a:cubicBezTo>
                      <a:pt x="22690" y="49613"/>
                      <a:pt x="22570" y="49434"/>
                      <a:pt x="22451" y="49194"/>
                    </a:cubicBezTo>
                    <a:cubicBezTo>
                      <a:pt x="22331" y="48895"/>
                      <a:pt x="22211" y="48596"/>
                      <a:pt x="22092" y="48297"/>
                    </a:cubicBezTo>
                    <a:cubicBezTo>
                      <a:pt x="21852" y="47699"/>
                      <a:pt x="22211" y="47101"/>
                      <a:pt x="22869" y="46862"/>
                    </a:cubicBezTo>
                    <a:cubicBezTo>
                      <a:pt x="23168" y="46742"/>
                      <a:pt x="23467" y="46623"/>
                      <a:pt x="23646" y="46503"/>
                    </a:cubicBezTo>
                    <a:cubicBezTo>
                      <a:pt x="23228" y="45427"/>
                      <a:pt x="22630" y="44230"/>
                      <a:pt x="21972" y="42855"/>
                    </a:cubicBezTo>
                    <a:cubicBezTo>
                      <a:pt x="20178" y="39087"/>
                      <a:pt x="17905" y="34362"/>
                      <a:pt x="16889" y="28023"/>
                    </a:cubicBezTo>
                    <a:cubicBezTo>
                      <a:pt x="15094" y="16958"/>
                      <a:pt x="8874" y="9781"/>
                      <a:pt x="6661" y="7927"/>
                    </a:cubicBezTo>
                    <a:cubicBezTo>
                      <a:pt x="6123" y="7449"/>
                      <a:pt x="5525" y="7090"/>
                      <a:pt x="4867" y="6672"/>
                    </a:cubicBezTo>
                    <a:cubicBezTo>
                      <a:pt x="3133" y="5535"/>
                      <a:pt x="1219" y="4219"/>
                      <a:pt x="83" y="1588"/>
                    </a:cubicBezTo>
                    <a:cubicBezTo>
                      <a:pt x="-157" y="1050"/>
                      <a:pt x="142" y="332"/>
                      <a:pt x="741" y="93"/>
                    </a:cubicBezTo>
                    <a:cubicBezTo>
                      <a:pt x="1338" y="-146"/>
                      <a:pt x="2056" y="93"/>
                      <a:pt x="2296" y="631"/>
                    </a:cubicBezTo>
                    <a:cubicBezTo>
                      <a:pt x="3192" y="2724"/>
                      <a:pt x="4747" y="3741"/>
                      <a:pt x="6362" y="4818"/>
                    </a:cubicBezTo>
                    <a:cubicBezTo>
                      <a:pt x="7020" y="5236"/>
                      <a:pt x="7678" y="5715"/>
                      <a:pt x="8276" y="6193"/>
                    </a:cubicBezTo>
                    <a:cubicBezTo>
                      <a:pt x="11267" y="8645"/>
                      <a:pt x="17427" y="16241"/>
                      <a:pt x="19221" y="27544"/>
                    </a:cubicBezTo>
                    <a:cubicBezTo>
                      <a:pt x="20178" y="33585"/>
                      <a:pt x="22391" y="38130"/>
                      <a:pt x="24125" y="41838"/>
                    </a:cubicBezTo>
                    <a:cubicBezTo>
                      <a:pt x="24903" y="43453"/>
                      <a:pt x="25560" y="44828"/>
                      <a:pt x="26039" y="46144"/>
                    </a:cubicBezTo>
                    <a:cubicBezTo>
                      <a:pt x="26338" y="46982"/>
                      <a:pt x="25860" y="47819"/>
                      <a:pt x="24723" y="48477"/>
                    </a:cubicBezTo>
                    <a:cubicBezTo>
                      <a:pt x="24843" y="48656"/>
                      <a:pt x="24903" y="48895"/>
                      <a:pt x="24962" y="49075"/>
                    </a:cubicBezTo>
                    <a:cubicBezTo>
                      <a:pt x="25441" y="50450"/>
                      <a:pt x="30106" y="62771"/>
                      <a:pt x="40034" y="75868"/>
                    </a:cubicBezTo>
                    <a:cubicBezTo>
                      <a:pt x="48467" y="86993"/>
                      <a:pt x="61504" y="95246"/>
                      <a:pt x="61624" y="95306"/>
                    </a:cubicBezTo>
                    <a:cubicBezTo>
                      <a:pt x="61863" y="95485"/>
                      <a:pt x="62043" y="95724"/>
                      <a:pt x="62103" y="96024"/>
                    </a:cubicBezTo>
                    <a:cubicBezTo>
                      <a:pt x="62162" y="96323"/>
                      <a:pt x="62043" y="96622"/>
                      <a:pt x="61863" y="96861"/>
                    </a:cubicBezTo>
                    <a:cubicBezTo>
                      <a:pt x="60667" y="98476"/>
                      <a:pt x="54447" y="106550"/>
                      <a:pt x="53311" y="107566"/>
                    </a:cubicBezTo>
                    <a:cubicBezTo>
                      <a:pt x="53251" y="107746"/>
                      <a:pt x="53072" y="107806"/>
                      <a:pt x="52952" y="10786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11" name="Vrije vorm: vorm 9010">
                <a:extLst>
                  <a:ext uri="{FF2B5EF4-FFF2-40B4-BE49-F238E27FC236}">
                    <a16:creationId xmlns:a16="http://schemas.microsoft.com/office/drawing/2014/main" id="{C8B1D34D-9DE4-4BF5-A41E-D0BDE2D6687B}"/>
                  </a:ext>
                </a:extLst>
              </p:cNvPr>
              <p:cNvSpPr/>
              <p:nvPr/>
            </p:nvSpPr>
            <p:spPr>
              <a:xfrm>
                <a:off x="6101234" y="1825872"/>
                <a:ext cx="33869" cy="31641"/>
              </a:xfrm>
              <a:custGeom>
                <a:avLst/>
                <a:gdLst>
                  <a:gd name="connsiteX0" fmla="*/ 30042 w 33869"/>
                  <a:gd name="connsiteY0" fmla="*/ 31362 h 31641"/>
                  <a:gd name="connsiteX1" fmla="*/ 6956 w 33869"/>
                  <a:gd name="connsiteY1" fmla="*/ 27355 h 31641"/>
                  <a:gd name="connsiteX2" fmla="*/ 6119 w 33869"/>
                  <a:gd name="connsiteY2" fmla="*/ 25919 h 31641"/>
                  <a:gd name="connsiteX3" fmla="*/ 6119 w 33869"/>
                  <a:gd name="connsiteY3" fmla="*/ 25860 h 31641"/>
                  <a:gd name="connsiteX4" fmla="*/ 2531 w 33869"/>
                  <a:gd name="connsiteY4" fmla="*/ 24006 h 31641"/>
                  <a:gd name="connsiteX5" fmla="*/ 677 w 33869"/>
                  <a:gd name="connsiteY5" fmla="*/ 17247 h 31641"/>
                  <a:gd name="connsiteX6" fmla="*/ 2232 w 33869"/>
                  <a:gd name="connsiteY6" fmla="*/ 16649 h 31641"/>
                  <a:gd name="connsiteX7" fmla="*/ 10724 w 33869"/>
                  <a:gd name="connsiteY7" fmla="*/ 19520 h 31641"/>
                  <a:gd name="connsiteX8" fmla="*/ 23044 w 33869"/>
                  <a:gd name="connsiteY8" fmla="*/ 20955 h 31641"/>
                  <a:gd name="connsiteX9" fmla="*/ 22207 w 33869"/>
                  <a:gd name="connsiteY9" fmla="*/ 7379 h 31641"/>
                  <a:gd name="connsiteX10" fmla="*/ 27710 w 33869"/>
                  <a:gd name="connsiteY10" fmla="*/ 23 h 31641"/>
                  <a:gd name="connsiteX11" fmla="*/ 29085 w 33869"/>
                  <a:gd name="connsiteY11" fmla="*/ 860 h 31641"/>
                  <a:gd name="connsiteX12" fmla="*/ 28068 w 33869"/>
                  <a:gd name="connsiteY12" fmla="*/ 2176 h 31641"/>
                  <a:gd name="connsiteX13" fmla="*/ 24599 w 33869"/>
                  <a:gd name="connsiteY13" fmla="*/ 7080 h 31641"/>
                  <a:gd name="connsiteX14" fmla="*/ 25556 w 33869"/>
                  <a:gd name="connsiteY14" fmla="*/ 22032 h 31641"/>
                  <a:gd name="connsiteX15" fmla="*/ 25138 w 33869"/>
                  <a:gd name="connsiteY15" fmla="*/ 22929 h 31641"/>
                  <a:gd name="connsiteX16" fmla="*/ 24121 w 33869"/>
                  <a:gd name="connsiteY16" fmla="*/ 23288 h 31641"/>
                  <a:gd name="connsiteX17" fmla="*/ 9947 w 33869"/>
                  <a:gd name="connsiteY17" fmla="*/ 21613 h 31641"/>
                  <a:gd name="connsiteX18" fmla="*/ 2411 w 33869"/>
                  <a:gd name="connsiteY18" fmla="*/ 19161 h 31641"/>
                  <a:gd name="connsiteX19" fmla="*/ 3906 w 33869"/>
                  <a:gd name="connsiteY19" fmla="*/ 22092 h 31641"/>
                  <a:gd name="connsiteX20" fmla="*/ 7614 w 33869"/>
                  <a:gd name="connsiteY20" fmla="*/ 24006 h 31641"/>
                  <a:gd name="connsiteX21" fmla="*/ 8451 w 33869"/>
                  <a:gd name="connsiteY21" fmla="*/ 25441 h 31641"/>
                  <a:gd name="connsiteX22" fmla="*/ 8451 w 33869"/>
                  <a:gd name="connsiteY22" fmla="*/ 25501 h 31641"/>
                  <a:gd name="connsiteX23" fmla="*/ 29025 w 33869"/>
                  <a:gd name="connsiteY23" fmla="*/ 29328 h 31641"/>
                  <a:gd name="connsiteX24" fmla="*/ 31418 w 33869"/>
                  <a:gd name="connsiteY24" fmla="*/ 13121 h 31641"/>
                  <a:gd name="connsiteX25" fmla="*/ 32673 w 33869"/>
                  <a:gd name="connsiteY25" fmla="*/ 11984 h 31641"/>
                  <a:gd name="connsiteX26" fmla="*/ 33869 w 33869"/>
                  <a:gd name="connsiteY26" fmla="*/ 13061 h 31641"/>
                  <a:gd name="connsiteX27" fmla="*/ 32973 w 33869"/>
                  <a:gd name="connsiteY27" fmla="*/ 22391 h 31641"/>
                  <a:gd name="connsiteX28" fmla="*/ 30042 w 33869"/>
                  <a:gd name="connsiteY28" fmla="*/ 31362 h 31641"/>
                  <a:gd name="connsiteX29" fmla="*/ 28965 w 33869"/>
                  <a:gd name="connsiteY29" fmla="*/ 29448 h 31641"/>
                  <a:gd name="connsiteX30" fmla="*/ 28965 w 33869"/>
                  <a:gd name="connsiteY30" fmla="*/ 29448 h 31641"/>
                  <a:gd name="connsiteX31" fmla="*/ 28965 w 33869"/>
                  <a:gd name="connsiteY31" fmla="*/ 29448 h 3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869" h="31641">
                    <a:moveTo>
                      <a:pt x="30042" y="31362"/>
                    </a:moveTo>
                    <a:cubicBezTo>
                      <a:pt x="27769" y="32199"/>
                      <a:pt x="15568" y="31242"/>
                      <a:pt x="6956" y="27355"/>
                    </a:cubicBezTo>
                    <a:cubicBezTo>
                      <a:pt x="6298" y="27056"/>
                      <a:pt x="6179" y="26398"/>
                      <a:pt x="6119" y="25919"/>
                    </a:cubicBezTo>
                    <a:cubicBezTo>
                      <a:pt x="6119" y="25919"/>
                      <a:pt x="6119" y="25860"/>
                      <a:pt x="6119" y="25860"/>
                    </a:cubicBezTo>
                    <a:cubicBezTo>
                      <a:pt x="4564" y="25142"/>
                      <a:pt x="3308" y="24484"/>
                      <a:pt x="2531" y="24006"/>
                    </a:cubicBezTo>
                    <a:cubicBezTo>
                      <a:pt x="-819" y="21912"/>
                      <a:pt x="-161" y="18683"/>
                      <a:pt x="677" y="17247"/>
                    </a:cubicBezTo>
                    <a:cubicBezTo>
                      <a:pt x="976" y="16709"/>
                      <a:pt x="1633" y="16470"/>
                      <a:pt x="2232" y="16649"/>
                    </a:cubicBezTo>
                    <a:cubicBezTo>
                      <a:pt x="2291" y="16649"/>
                      <a:pt x="8930" y="19042"/>
                      <a:pt x="10724" y="19520"/>
                    </a:cubicBezTo>
                    <a:cubicBezTo>
                      <a:pt x="12040" y="19879"/>
                      <a:pt x="19097" y="20597"/>
                      <a:pt x="23044" y="20955"/>
                    </a:cubicBezTo>
                    <a:cubicBezTo>
                      <a:pt x="22865" y="17786"/>
                      <a:pt x="22327" y="10071"/>
                      <a:pt x="22207" y="7379"/>
                    </a:cubicBezTo>
                    <a:cubicBezTo>
                      <a:pt x="21968" y="3133"/>
                      <a:pt x="24898" y="561"/>
                      <a:pt x="27710" y="23"/>
                    </a:cubicBezTo>
                    <a:cubicBezTo>
                      <a:pt x="28367" y="-97"/>
                      <a:pt x="28965" y="262"/>
                      <a:pt x="29085" y="860"/>
                    </a:cubicBezTo>
                    <a:cubicBezTo>
                      <a:pt x="29205" y="1458"/>
                      <a:pt x="28726" y="2056"/>
                      <a:pt x="28068" y="2176"/>
                    </a:cubicBezTo>
                    <a:cubicBezTo>
                      <a:pt x="26274" y="2535"/>
                      <a:pt x="24480" y="4209"/>
                      <a:pt x="24599" y="7080"/>
                    </a:cubicBezTo>
                    <a:cubicBezTo>
                      <a:pt x="24779" y="10489"/>
                      <a:pt x="25497" y="21972"/>
                      <a:pt x="25556" y="22032"/>
                    </a:cubicBezTo>
                    <a:cubicBezTo>
                      <a:pt x="25556" y="22391"/>
                      <a:pt x="25437" y="22690"/>
                      <a:pt x="25138" y="22929"/>
                    </a:cubicBezTo>
                    <a:cubicBezTo>
                      <a:pt x="24839" y="23168"/>
                      <a:pt x="24480" y="23288"/>
                      <a:pt x="24121" y="23288"/>
                    </a:cubicBezTo>
                    <a:cubicBezTo>
                      <a:pt x="22865" y="23168"/>
                      <a:pt x="11860" y="22092"/>
                      <a:pt x="9947" y="21613"/>
                    </a:cubicBezTo>
                    <a:cubicBezTo>
                      <a:pt x="8511" y="21254"/>
                      <a:pt x="4504" y="19879"/>
                      <a:pt x="2411" y="19161"/>
                    </a:cubicBezTo>
                    <a:cubicBezTo>
                      <a:pt x="2291" y="19999"/>
                      <a:pt x="2471" y="21135"/>
                      <a:pt x="3906" y="22092"/>
                    </a:cubicBezTo>
                    <a:cubicBezTo>
                      <a:pt x="4624" y="22570"/>
                      <a:pt x="5999" y="23228"/>
                      <a:pt x="7614" y="24006"/>
                    </a:cubicBezTo>
                    <a:cubicBezTo>
                      <a:pt x="8272" y="24305"/>
                      <a:pt x="8332" y="24903"/>
                      <a:pt x="8451" y="25441"/>
                    </a:cubicBezTo>
                    <a:cubicBezTo>
                      <a:pt x="8451" y="25441"/>
                      <a:pt x="8451" y="25501"/>
                      <a:pt x="8451" y="25501"/>
                    </a:cubicBezTo>
                    <a:cubicBezTo>
                      <a:pt x="16466" y="28970"/>
                      <a:pt x="26992" y="29687"/>
                      <a:pt x="29025" y="29328"/>
                    </a:cubicBezTo>
                    <a:cubicBezTo>
                      <a:pt x="30102" y="27474"/>
                      <a:pt x="31298" y="16410"/>
                      <a:pt x="31418" y="13121"/>
                    </a:cubicBezTo>
                    <a:cubicBezTo>
                      <a:pt x="31418" y="12523"/>
                      <a:pt x="32015" y="11984"/>
                      <a:pt x="32673" y="11984"/>
                    </a:cubicBezTo>
                    <a:cubicBezTo>
                      <a:pt x="33331" y="11984"/>
                      <a:pt x="33869" y="12463"/>
                      <a:pt x="33869" y="13061"/>
                    </a:cubicBezTo>
                    <a:cubicBezTo>
                      <a:pt x="33810" y="14257"/>
                      <a:pt x="33511" y="18503"/>
                      <a:pt x="32973" y="22391"/>
                    </a:cubicBezTo>
                    <a:cubicBezTo>
                      <a:pt x="31896" y="30046"/>
                      <a:pt x="30999" y="31003"/>
                      <a:pt x="30042" y="31362"/>
                    </a:cubicBezTo>
                    <a:close/>
                    <a:moveTo>
                      <a:pt x="28965" y="29448"/>
                    </a:moveTo>
                    <a:lnTo>
                      <a:pt x="28965" y="29448"/>
                    </a:lnTo>
                    <a:lnTo>
                      <a:pt x="28965" y="29448"/>
                    </a:lnTo>
                    <a:close/>
                  </a:path>
                </a:pathLst>
              </a:custGeom>
              <a:grpFill/>
              <a:ln w="6350" cap="flat">
                <a:solidFill>
                  <a:schemeClr val="bg1">
                    <a:alpha val="80000"/>
                  </a:schemeClr>
                </a:solidFill>
                <a:prstDash val="solid"/>
                <a:miter/>
              </a:ln>
            </p:spPr>
            <p:txBody>
              <a:bodyPr rtlCol="0" anchor="ctr"/>
              <a:lstStyle/>
              <a:p>
                <a:endParaRPr lang="en-GB"/>
              </a:p>
            </p:txBody>
          </p:sp>
          <p:sp>
            <p:nvSpPr>
              <p:cNvPr id="9012" name="Vrije vorm: vorm 9011">
                <a:extLst>
                  <a:ext uri="{FF2B5EF4-FFF2-40B4-BE49-F238E27FC236}">
                    <a16:creationId xmlns:a16="http://schemas.microsoft.com/office/drawing/2014/main" id="{1B9A189D-2F57-42F1-96FD-5045A2DC5070}"/>
                  </a:ext>
                </a:extLst>
              </p:cNvPr>
              <p:cNvSpPr/>
              <p:nvPr/>
            </p:nvSpPr>
            <p:spPr>
              <a:xfrm>
                <a:off x="6129163" y="1855476"/>
                <a:ext cx="51224" cy="67493"/>
              </a:xfrm>
              <a:custGeom>
                <a:avLst/>
                <a:gdLst>
                  <a:gd name="connsiteX0" fmla="*/ 50498 w 51224"/>
                  <a:gd name="connsiteY0" fmla="*/ 67426 h 67493"/>
                  <a:gd name="connsiteX1" fmla="*/ 49062 w 51224"/>
                  <a:gd name="connsiteY1" fmla="*/ 66947 h 67493"/>
                  <a:gd name="connsiteX2" fmla="*/ 45952 w 51224"/>
                  <a:gd name="connsiteY2" fmla="*/ 64675 h 67493"/>
                  <a:gd name="connsiteX3" fmla="*/ 28190 w 51224"/>
                  <a:gd name="connsiteY3" fmla="*/ 50620 h 67493"/>
                  <a:gd name="connsiteX4" fmla="*/ 6898 w 51224"/>
                  <a:gd name="connsiteY4" fmla="*/ 19640 h 67493"/>
                  <a:gd name="connsiteX5" fmla="*/ 6001 w 51224"/>
                  <a:gd name="connsiteY5" fmla="*/ 18204 h 67493"/>
                  <a:gd name="connsiteX6" fmla="*/ 5044 w 51224"/>
                  <a:gd name="connsiteY6" fmla="*/ 16709 h 67493"/>
                  <a:gd name="connsiteX7" fmla="*/ 2772 w 51224"/>
                  <a:gd name="connsiteY7" fmla="*/ 16051 h 67493"/>
                  <a:gd name="connsiteX8" fmla="*/ 499 w 51224"/>
                  <a:gd name="connsiteY8" fmla="*/ 4688 h 67493"/>
                  <a:gd name="connsiteX9" fmla="*/ 20 w 51224"/>
                  <a:gd name="connsiteY9" fmla="*/ 1398 h 67493"/>
                  <a:gd name="connsiteX10" fmla="*/ 978 w 51224"/>
                  <a:gd name="connsiteY10" fmla="*/ 23 h 67493"/>
                  <a:gd name="connsiteX11" fmla="*/ 2353 w 51224"/>
                  <a:gd name="connsiteY11" fmla="*/ 860 h 67493"/>
                  <a:gd name="connsiteX12" fmla="*/ 2832 w 51224"/>
                  <a:gd name="connsiteY12" fmla="*/ 4269 h 67493"/>
                  <a:gd name="connsiteX13" fmla="*/ 4745 w 51224"/>
                  <a:gd name="connsiteY13" fmla="*/ 14496 h 67493"/>
                  <a:gd name="connsiteX14" fmla="*/ 6958 w 51224"/>
                  <a:gd name="connsiteY14" fmla="*/ 15154 h 67493"/>
                  <a:gd name="connsiteX15" fmla="*/ 7975 w 51224"/>
                  <a:gd name="connsiteY15" fmla="*/ 16948 h 67493"/>
                  <a:gd name="connsiteX16" fmla="*/ 9111 w 51224"/>
                  <a:gd name="connsiteY16" fmla="*/ 18862 h 67493"/>
                  <a:gd name="connsiteX17" fmla="*/ 29924 w 51224"/>
                  <a:gd name="connsiteY17" fmla="*/ 49065 h 67493"/>
                  <a:gd name="connsiteX18" fmla="*/ 47388 w 51224"/>
                  <a:gd name="connsiteY18" fmla="*/ 62940 h 67493"/>
                  <a:gd name="connsiteX19" fmla="*/ 51096 w 51224"/>
                  <a:gd name="connsiteY19" fmla="*/ 65871 h 67493"/>
                  <a:gd name="connsiteX20" fmla="*/ 50558 w 51224"/>
                  <a:gd name="connsiteY20" fmla="*/ 67426 h 67493"/>
                  <a:gd name="connsiteX21" fmla="*/ 50498 w 51224"/>
                  <a:gd name="connsiteY21" fmla="*/ 67426 h 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224" h="67493">
                    <a:moveTo>
                      <a:pt x="50498" y="67426"/>
                    </a:moveTo>
                    <a:cubicBezTo>
                      <a:pt x="49959" y="67605"/>
                      <a:pt x="49301" y="67426"/>
                      <a:pt x="49062" y="66947"/>
                    </a:cubicBezTo>
                    <a:cubicBezTo>
                      <a:pt x="48883" y="66708"/>
                      <a:pt x="47447" y="65751"/>
                      <a:pt x="45952" y="64675"/>
                    </a:cubicBezTo>
                    <a:cubicBezTo>
                      <a:pt x="42005" y="61923"/>
                      <a:pt x="35307" y="57318"/>
                      <a:pt x="28190" y="50620"/>
                    </a:cubicBezTo>
                    <a:cubicBezTo>
                      <a:pt x="14912" y="38060"/>
                      <a:pt x="9171" y="25800"/>
                      <a:pt x="6898" y="19640"/>
                    </a:cubicBezTo>
                    <a:cubicBezTo>
                      <a:pt x="6719" y="19161"/>
                      <a:pt x="6360" y="18683"/>
                      <a:pt x="6001" y="18204"/>
                    </a:cubicBezTo>
                    <a:cubicBezTo>
                      <a:pt x="5702" y="17726"/>
                      <a:pt x="5343" y="17247"/>
                      <a:pt x="5044" y="16709"/>
                    </a:cubicBezTo>
                    <a:cubicBezTo>
                      <a:pt x="4386" y="16889"/>
                      <a:pt x="3130" y="17128"/>
                      <a:pt x="2772" y="16051"/>
                    </a:cubicBezTo>
                    <a:cubicBezTo>
                      <a:pt x="1456" y="12104"/>
                      <a:pt x="918" y="7798"/>
                      <a:pt x="499" y="4688"/>
                    </a:cubicBezTo>
                    <a:cubicBezTo>
                      <a:pt x="319" y="3372"/>
                      <a:pt x="200" y="2236"/>
                      <a:pt x="20" y="1398"/>
                    </a:cubicBezTo>
                    <a:cubicBezTo>
                      <a:pt x="-99" y="800"/>
                      <a:pt x="319" y="202"/>
                      <a:pt x="978" y="23"/>
                    </a:cubicBezTo>
                    <a:cubicBezTo>
                      <a:pt x="1635" y="-97"/>
                      <a:pt x="2233" y="262"/>
                      <a:pt x="2353" y="860"/>
                    </a:cubicBezTo>
                    <a:cubicBezTo>
                      <a:pt x="2532" y="1757"/>
                      <a:pt x="2652" y="2894"/>
                      <a:pt x="2832" y="4269"/>
                    </a:cubicBezTo>
                    <a:cubicBezTo>
                      <a:pt x="3190" y="7140"/>
                      <a:pt x="3728" y="10908"/>
                      <a:pt x="4745" y="14496"/>
                    </a:cubicBezTo>
                    <a:cubicBezTo>
                      <a:pt x="5403" y="14317"/>
                      <a:pt x="6599" y="14137"/>
                      <a:pt x="6958" y="15154"/>
                    </a:cubicBezTo>
                    <a:cubicBezTo>
                      <a:pt x="7137" y="15752"/>
                      <a:pt x="7556" y="16350"/>
                      <a:pt x="7975" y="16948"/>
                    </a:cubicBezTo>
                    <a:cubicBezTo>
                      <a:pt x="8394" y="17546"/>
                      <a:pt x="8812" y="18204"/>
                      <a:pt x="9111" y="18862"/>
                    </a:cubicBezTo>
                    <a:cubicBezTo>
                      <a:pt x="11324" y="24843"/>
                      <a:pt x="16946" y="36745"/>
                      <a:pt x="29924" y="49065"/>
                    </a:cubicBezTo>
                    <a:cubicBezTo>
                      <a:pt x="36921" y="55703"/>
                      <a:pt x="43500" y="60249"/>
                      <a:pt x="47388" y="62940"/>
                    </a:cubicBezTo>
                    <a:cubicBezTo>
                      <a:pt x="49959" y="64734"/>
                      <a:pt x="50797" y="65332"/>
                      <a:pt x="51096" y="65871"/>
                    </a:cubicBezTo>
                    <a:cubicBezTo>
                      <a:pt x="51395" y="66409"/>
                      <a:pt x="51156" y="67067"/>
                      <a:pt x="50558" y="67426"/>
                    </a:cubicBezTo>
                    <a:cubicBezTo>
                      <a:pt x="50617" y="67366"/>
                      <a:pt x="50558" y="67366"/>
                      <a:pt x="50498" y="6742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13" name="Vrije vorm: vorm 9012">
                <a:extLst>
                  <a:ext uri="{FF2B5EF4-FFF2-40B4-BE49-F238E27FC236}">
                    <a16:creationId xmlns:a16="http://schemas.microsoft.com/office/drawing/2014/main" id="{5F3B3206-1594-4F15-AB99-9AF4D72823EF}"/>
                  </a:ext>
                </a:extLst>
              </p:cNvPr>
              <p:cNvSpPr/>
              <p:nvPr/>
            </p:nvSpPr>
            <p:spPr>
              <a:xfrm>
                <a:off x="6139514" y="1898800"/>
                <a:ext cx="16782" cy="36170"/>
              </a:xfrm>
              <a:custGeom>
                <a:avLst/>
                <a:gdLst>
                  <a:gd name="connsiteX0" fmla="*/ 15924 w 16782"/>
                  <a:gd name="connsiteY0" fmla="*/ 35167 h 36170"/>
                  <a:gd name="connsiteX1" fmla="*/ 15625 w 16782"/>
                  <a:gd name="connsiteY1" fmla="*/ 35226 h 36170"/>
                  <a:gd name="connsiteX2" fmla="*/ 793 w 16782"/>
                  <a:gd name="connsiteY2" fmla="*/ 35944 h 36170"/>
                  <a:gd name="connsiteX3" fmla="*/ 75 w 16782"/>
                  <a:gd name="connsiteY3" fmla="*/ 34569 h 36170"/>
                  <a:gd name="connsiteX4" fmla="*/ 1630 w 16782"/>
                  <a:gd name="connsiteY4" fmla="*/ 33791 h 36170"/>
                  <a:gd name="connsiteX5" fmla="*/ 14249 w 16782"/>
                  <a:gd name="connsiteY5" fmla="*/ 33133 h 36170"/>
                  <a:gd name="connsiteX6" fmla="*/ 12156 w 16782"/>
                  <a:gd name="connsiteY6" fmla="*/ 1136 h 36170"/>
                  <a:gd name="connsiteX7" fmla="*/ 13412 w 16782"/>
                  <a:gd name="connsiteY7" fmla="*/ 0 h 36170"/>
                  <a:gd name="connsiteX8" fmla="*/ 14548 w 16782"/>
                  <a:gd name="connsiteY8" fmla="*/ 1136 h 36170"/>
                  <a:gd name="connsiteX9" fmla="*/ 16761 w 16782"/>
                  <a:gd name="connsiteY9" fmla="*/ 33851 h 36170"/>
                  <a:gd name="connsiteX10" fmla="*/ 16522 w 16782"/>
                  <a:gd name="connsiteY10" fmla="*/ 34748 h 36170"/>
                  <a:gd name="connsiteX11" fmla="*/ 15924 w 16782"/>
                  <a:gd name="connsiteY11" fmla="*/ 35167 h 3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82" h="36170">
                    <a:moveTo>
                      <a:pt x="15924" y="35167"/>
                    </a:moveTo>
                    <a:cubicBezTo>
                      <a:pt x="15804" y="35226"/>
                      <a:pt x="15744" y="35226"/>
                      <a:pt x="15625" y="35226"/>
                    </a:cubicBezTo>
                    <a:cubicBezTo>
                      <a:pt x="13591" y="35466"/>
                      <a:pt x="3305" y="36662"/>
                      <a:pt x="793" y="35944"/>
                    </a:cubicBezTo>
                    <a:cubicBezTo>
                      <a:pt x="195" y="35765"/>
                      <a:pt x="-164" y="35167"/>
                      <a:pt x="75" y="34569"/>
                    </a:cubicBezTo>
                    <a:cubicBezTo>
                      <a:pt x="314" y="33971"/>
                      <a:pt x="972" y="33612"/>
                      <a:pt x="1630" y="33791"/>
                    </a:cubicBezTo>
                    <a:cubicBezTo>
                      <a:pt x="3065" y="34150"/>
                      <a:pt x="9644" y="33612"/>
                      <a:pt x="14249" y="33133"/>
                    </a:cubicBezTo>
                    <a:cubicBezTo>
                      <a:pt x="13651" y="27691"/>
                      <a:pt x="11737" y="7057"/>
                      <a:pt x="12156" y="1136"/>
                    </a:cubicBezTo>
                    <a:cubicBezTo>
                      <a:pt x="12216" y="538"/>
                      <a:pt x="12754" y="0"/>
                      <a:pt x="13412" y="0"/>
                    </a:cubicBezTo>
                    <a:cubicBezTo>
                      <a:pt x="14070" y="0"/>
                      <a:pt x="14608" y="478"/>
                      <a:pt x="14548" y="1136"/>
                    </a:cubicBezTo>
                    <a:cubicBezTo>
                      <a:pt x="14130" y="7775"/>
                      <a:pt x="16582" y="32954"/>
                      <a:pt x="16761" y="33851"/>
                    </a:cubicBezTo>
                    <a:cubicBezTo>
                      <a:pt x="16821" y="34150"/>
                      <a:pt x="16761" y="34509"/>
                      <a:pt x="16522" y="34748"/>
                    </a:cubicBezTo>
                    <a:cubicBezTo>
                      <a:pt x="16343" y="34927"/>
                      <a:pt x="16163" y="35047"/>
                      <a:pt x="15924" y="3516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14" name="Vrije vorm: vorm 9013">
                <a:extLst>
                  <a:ext uri="{FF2B5EF4-FFF2-40B4-BE49-F238E27FC236}">
                    <a16:creationId xmlns:a16="http://schemas.microsoft.com/office/drawing/2014/main" id="{6878E547-3EA2-4C78-8EB1-9C086495ABC1}"/>
                  </a:ext>
                </a:extLst>
              </p:cNvPr>
              <p:cNvSpPr/>
              <p:nvPr/>
            </p:nvSpPr>
            <p:spPr>
              <a:xfrm>
                <a:off x="6136647" y="1875176"/>
                <a:ext cx="10262" cy="58873"/>
              </a:xfrm>
              <a:custGeom>
                <a:avLst/>
                <a:gdLst>
                  <a:gd name="connsiteX0" fmla="*/ 9402 w 10262"/>
                  <a:gd name="connsiteY0" fmla="*/ 58791 h 58873"/>
                  <a:gd name="connsiteX1" fmla="*/ 9222 w 10262"/>
                  <a:gd name="connsiteY1" fmla="*/ 58850 h 58873"/>
                  <a:gd name="connsiteX2" fmla="*/ 7847 w 10262"/>
                  <a:gd name="connsiteY2" fmla="*/ 58013 h 58873"/>
                  <a:gd name="connsiteX3" fmla="*/ 12 w 10262"/>
                  <a:gd name="connsiteY3" fmla="*/ 1136 h 58873"/>
                  <a:gd name="connsiteX4" fmla="*/ 1268 w 10262"/>
                  <a:gd name="connsiteY4" fmla="*/ 0 h 58873"/>
                  <a:gd name="connsiteX5" fmla="*/ 2405 w 10262"/>
                  <a:gd name="connsiteY5" fmla="*/ 1077 h 58873"/>
                  <a:gd name="connsiteX6" fmla="*/ 10239 w 10262"/>
                  <a:gd name="connsiteY6" fmla="*/ 57475 h 58873"/>
                  <a:gd name="connsiteX7" fmla="*/ 9402 w 10262"/>
                  <a:gd name="connsiteY7" fmla="*/ 58791 h 5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2" h="58873">
                    <a:moveTo>
                      <a:pt x="9402" y="58791"/>
                    </a:moveTo>
                    <a:cubicBezTo>
                      <a:pt x="9342" y="58791"/>
                      <a:pt x="9282" y="58850"/>
                      <a:pt x="9222" y="58850"/>
                    </a:cubicBezTo>
                    <a:cubicBezTo>
                      <a:pt x="8564" y="58970"/>
                      <a:pt x="7967" y="58611"/>
                      <a:pt x="7847" y="58013"/>
                    </a:cubicBezTo>
                    <a:cubicBezTo>
                      <a:pt x="5036" y="42942"/>
                      <a:pt x="-287" y="9210"/>
                      <a:pt x="12" y="1136"/>
                    </a:cubicBezTo>
                    <a:cubicBezTo>
                      <a:pt x="12" y="538"/>
                      <a:pt x="610" y="0"/>
                      <a:pt x="1268" y="0"/>
                    </a:cubicBezTo>
                    <a:cubicBezTo>
                      <a:pt x="1926" y="0"/>
                      <a:pt x="2464" y="478"/>
                      <a:pt x="2405" y="1077"/>
                    </a:cubicBezTo>
                    <a:cubicBezTo>
                      <a:pt x="2105" y="8433"/>
                      <a:pt x="6950" y="39891"/>
                      <a:pt x="10239" y="57475"/>
                    </a:cubicBezTo>
                    <a:cubicBezTo>
                      <a:pt x="10359" y="58073"/>
                      <a:pt x="10000" y="58611"/>
                      <a:pt x="9402" y="5879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15" name="Vrije vorm: vorm 9014">
                <a:extLst>
                  <a:ext uri="{FF2B5EF4-FFF2-40B4-BE49-F238E27FC236}">
                    <a16:creationId xmlns:a16="http://schemas.microsoft.com/office/drawing/2014/main" id="{981227DA-1F49-4C98-98FE-11AEDA1133AB}"/>
                  </a:ext>
                </a:extLst>
              </p:cNvPr>
              <p:cNvSpPr/>
              <p:nvPr/>
            </p:nvSpPr>
            <p:spPr>
              <a:xfrm>
                <a:off x="6095261" y="1840787"/>
                <a:ext cx="14311" cy="5741"/>
              </a:xfrm>
              <a:custGeom>
                <a:avLst/>
                <a:gdLst>
                  <a:gd name="connsiteX0" fmla="*/ 8444 w 14311"/>
                  <a:gd name="connsiteY0" fmla="*/ 4665 h 5741"/>
                  <a:gd name="connsiteX1" fmla="*/ 9879 w 14311"/>
                  <a:gd name="connsiteY1" fmla="*/ 4366 h 5741"/>
                  <a:gd name="connsiteX2" fmla="*/ 12571 w 14311"/>
                  <a:gd name="connsiteY2" fmla="*/ 4725 h 5741"/>
                  <a:gd name="connsiteX3" fmla="*/ 14126 w 14311"/>
                  <a:gd name="connsiteY3" fmla="*/ 5742 h 5741"/>
                  <a:gd name="connsiteX4" fmla="*/ 14245 w 14311"/>
                  <a:gd name="connsiteY4" fmla="*/ 5383 h 5741"/>
                  <a:gd name="connsiteX5" fmla="*/ 14305 w 14311"/>
                  <a:gd name="connsiteY5" fmla="*/ 4186 h 5741"/>
                  <a:gd name="connsiteX6" fmla="*/ 13528 w 14311"/>
                  <a:gd name="connsiteY6" fmla="*/ 3110 h 5741"/>
                  <a:gd name="connsiteX7" fmla="*/ 3779 w 14311"/>
                  <a:gd name="connsiteY7" fmla="*/ 60 h 5741"/>
                  <a:gd name="connsiteX8" fmla="*/ 2703 w 14311"/>
                  <a:gd name="connsiteY8" fmla="*/ 239 h 5741"/>
                  <a:gd name="connsiteX9" fmla="*/ 549 w 14311"/>
                  <a:gd name="connsiteY9" fmla="*/ 1675 h 5741"/>
                  <a:gd name="connsiteX10" fmla="*/ 11 w 14311"/>
                  <a:gd name="connsiteY10" fmla="*/ 2811 h 5741"/>
                  <a:gd name="connsiteX11" fmla="*/ 849 w 14311"/>
                  <a:gd name="connsiteY11" fmla="*/ 3648 h 5741"/>
                  <a:gd name="connsiteX12" fmla="*/ 7367 w 14311"/>
                  <a:gd name="connsiteY12" fmla="*/ 5203 h 5741"/>
                  <a:gd name="connsiteX13" fmla="*/ 8444 w 14311"/>
                  <a:gd name="connsiteY13" fmla="*/ 4665 h 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11" h="5741">
                    <a:moveTo>
                      <a:pt x="8444" y="4665"/>
                    </a:moveTo>
                    <a:cubicBezTo>
                      <a:pt x="8564" y="4605"/>
                      <a:pt x="9700" y="4366"/>
                      <a:pt x="9879" y="4366"/>
                    </a:cubicBezTo>
                    <a:cubicBezTo>
                      <a:pt x="10776" y="4246"/>
                      <a:pt x="11793" y="4426"/>
                      <a:pt x="12571" y="4725"/>
                    </a:cubicBezTo>
                    <a:cubicBezTo>
                      <a:pt x="13228" y="5024"/>
                      <a:pt x="13647" y="5323"/>
                      <a:pt x="14126" y="5742"/>
                    </a:cubicBezTo>
                    <a:cubicBezTo>
                      <a:pt x="14186" y="5622"/>
                      <a:pt x="14245" y="5502"/>
                      <a:pt x="14245" y="5383"/>
                    </a:cubicBezTo>
                    <a:lnTo>
                      <a:pt x="14305" y="4186"/>
                    </a:lnTo>
                    <a:cubicBezTo>
                      <a:pt x="14365" y="3708"/>
                      <a:pt x="14006" y="3289"/>
                      <a:pt x="13528" y="3110"/>
                    </a:cubicBezTo>
                    <a:lnTo>
                      <a:pt x="3779" y="60"/>
                    </a:lnTo>
                    <a:cubicBezTo>
                      <a:pt x="3420" y="-60"/>
                      <a:pt x="3002" y="0"/>
                      <a:pt x="2703" y="239"/>
                    </a:cubicBezTo>
                    <a:lnTo>
                      <a:pt x="549" y="1675"/>
                    </a:lnTo>
                    <a:cubicBezTo>
                      <a:pt x="131" y="1914"/>
                      <a:pt x="-49" y="2392"/>
                      <a:pt x="11" y="2811"/>
                    </a:cubicBezTo>
                    <a:cubicBezTo>
                      <a:pt x="71" y="3230"/>
                      <a:pt x="370" y="3588"/>
                      <a:pt x="849" y="3648"/>
                    </a:cubicBezTo>
                    <a:lnTo>
                      <a:pt x="7367" y="5203"/>
                    </a:lnTo>
                    <a:cubicBezTo>
                      <a:pt x="7666" y="5024"/>
                      <a:pt x="8325" y="4665"/>
                      <a:pt x="8444" y="466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16" name="Vrije vorm: vorm 9015">
                <a:extLst>
                  <a:ext uri="{FF2B5EF4-FFF2-40B4-BE49-F238E27FC236}">
                    <a16:creationId xmlns:a16="http://schemas.microsoft.com/office/drawing/2014/main" id="{1148900F-DA42-4473-9922-0B8304458B50}"/>
                  </a:ext>
                </a:extLst>
              </p:cNvPr>
              <p:cNvSpPr/>
              <p:nvPr/>
            </p:nvSpPr>
            <p:spPr>
              <a:xfrm>
                <a:off x="6134202" y="1864626"/>
                <a:ext cx="15868" cy="7340"/>
              </a:xfrm>
              <a:custGeom>
                <a:avLst/>
                <a:gdLst>
                  <a:gd name="connsiteX0" fmla="*/ 6584 w 15868"/>
                  <a:gd name="connsiteY0" fmla="*/ 5885 h 7340"/>
                  <a:gd name="connsiteX1" fmla="*/ 1321 w 15868"/>
                  <a:gd name="connsiteY1" fmla="*/ 7320 h 7340"/>
                  <a:gd name="connsiteX2" fmla="*/ 5 w 15868"/>
                  <a:gd name="connsiteY2" fmla="*/ 6423 h 7340"/>
                  <a:gd name="connsiteX3" fmla="*/ 1082 w 15868"/>
                  <a:gd name="connsiteY3" fmla="*/ 5107 h 7340"/>
                  <a:gd name="connsiteX4" fmla="*/ 11368 w 15868"/>
                  <a:gd name="connsiteY4" fmla="*/ 1399 h 7340"/>
                  <a:gd name="connsiteX5" fmla="*/ 14299 w 15868"/>
                  <a:gd name="connsiteY5" fmla="*/ 83 h 7340"/>
                  <a:gd name="connsiteX6" fmla="*/ 15794 w 15868"/>
                  <a:gd name="connsiteY6" fmla="*/ 681 h 7340"/>
                  <a:gd name="connsiteX7" fmla="*/ 15016 w 15868"/>
                  <a:gd name="connsiteY7" fmla="*/ 2117 h 7340"/>
                  <a:gd name="connsiteX8" fmla="*/ 12385 w 15868"/>
                  <a:gd name="connsiteY8" fmla="*/ 3313 h 7340"/>
                  <a:gd name="connsiteX9" fmla="*/ 6584 w 15868"/>
                  <a:gd name="connsiteY9" fmla="*/ 5885 h 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68" h="7340">
                    <a:moveTo>
                      <a:pt x="6584" y="5885"/>
                    </a:moveTo>
                    <a:cubicBezTo>
                      <a:pt x="4969" y="6483"/>
                      <a:pt x="3175" y="7021"/>
                      <a:pt x="1321" y="7320"/>
                    </a:cubicBezTo>
                    <a:cubicBezTo>
                      <a:pt x="663" y="7440"/>
                      <a:pt x="65" y="7021"/>
                      <a:pt x="5" y="6423"/>
                    </a:cubicBezTo>
                    <a:cubicBezTo>
                      <a:pt x="-55" y="5825"/>
                      <a:pt x="424" y="5227"/>
                      <a:pt x="1082" y="5107"/>
                    </a:cubicBezTo>
                    <a:cubicBezTo>
                      <a:pt x="5089" y="4449"/>
                      <a:pt x="8677" y="2655"/>
                      <a:pt x="11368" y="1399"/>
                    </a:cubicBezTo>
                    <a:cubicBezTo>
                      <a:pt x="12505" y="861"/>
                      <a:pt x="13462" y="382"/>
                      <a:pt x="14299" y="83"/>
                    </a:cubicBezTo>
                    <a:cubicBezTo>
                      <a:pt x="14957" y="-156"/>
                      <a:pt x="15615" y="143"/>
                      <a:pt x="15794" y="681"/>
                    </a:cubicBezTo>
                    <a:cubicBezTo>
                      <a:pt x="16033" y="1279"/>
                      <a:pt x="15675" y="1937"/>
                      <a:pt x="15016" y="2117"/>
                    </a:cubicBezTo>
                    <a:cubicBezTo>
                      <a:pt x="14359" y="2356"/>
                      <a:pt x="13402" y="2835"/>
                      <a:pt x="12385" y="3313"/>
                    </a:cubicBezTo>
                    <a:cubicBezTo>
                      <a:pt x="10710" y="4150"/>
                      <a:pt x="8737" y="5107"/>
                      <a:pt x="6584" y="588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17" name="Vrije vorm: vorm 9016">
                <a:extLst>
                  <a:ext uri="{FF2B5EF4-FFF2-40B4-BE49-F238E27FC236}">
                    <a16:creationId xmlns:a16="http://schemas.microsoft.com/office/drawing/2014/main" id="{CCBBA82D-E406-48B3-89FD-0CFFE9A22E48}"/>
                  </a:ext>
                </a:extLst>
              </p:cNvPr>
              <p:cNvSpPr/>
              <p:nvPr/>
            </p:nvSpPr>
            <p:spPr>
              <a:xfrm>
                <a:off x="6107989" y="1845286"/>
                <a:ext cx="4290" cy="7367"/>
              </a:xfrm>
              <a:custGeom>
                <a:avLst/>
                <a:gdLst>
                  <a:gd name="connsiteX0" fmla="*/ 1577 w 4290"/>
                  <a:gd name="connsiteY0" fmla="*/ 7283 h 7367"/>
                  <a:gd name="connsiteX1" fmla="*/ 800 w 4290"/>
                  <a:gd name="connsiteY1" fmla="*/ 7343 h 7367"/>
                  <a:gd name="connsiteX2" fmla="*/ 82 w 4290"/>
                  <a:gd name="connsiteY2" fmla="*/ 5967 h 7367"/>
                  <a:gd name="connsiteX3" fmla="*/ 1936 w 4290"/>
                  <a:gd name="connsiteY3" fmla="*/ 824 h 7367"/>
                  <a:gd name="connsiteX4" fmla="*/ 3491 w 4290"/>
                  <a:gd name="connsiteY4" fmla="*/ 46 h 7367"/>
                  <a:gd name="connsiteX5" fmla="*/ 4209 w 4290"/>
                  <a:gd name="connsiteY5" fmla="*/ 1422 h 7367"/>
                  <a:gd name="connsiteX6" fmla="*/ 2354 w 4290"/>
                  <a:gd name="connsiteY6" fmla="*/ 6565 h 7367"/>
                  <a:gd name="connsiteX7" fmla="*/ 1577 w 4290"/>
                  <a:gd name="connsiteY7" fmla="*/ 7283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0" h="7367">
                    <a:moveTo>
                      <a:pt x="1577" y="7283"/>
                    </a:moveTo>
                    <a:cubicBezTo>
                      <a:pt x="1338" y="7343"/>
                      <a:pt x="1039" y="7403"/>
                      <a:pt x="800" y="7343"/>
                    </a:cubicBezTo>
                    <a:cubicBezTo>
                      <a:pt x="141" y="7163"/>
                      <a:pt x="-157" y="6565"/>
                      <a:pt x="82" y="5967"/>
                    </a:cubicBezTo>
                    <a:lnTo>
                      <a:pt x="1936" y="824"/>
                    </a:lnTo>
                    <a:cubicBezTo>
                      <a:pt x="2175" y="226"/>
                      <a:pt x="2833" y="-133"/>
                      <a:pt x="3491" y="46"/>
                    </a:cubicBezTo>
                    <a:cubicBezTo>
                      <a:pt x="4149" y="226"/>
                      <a:pt x="4448" y="824"/>
                      <a:pt x="4209" y="1422"/>
                    </a:cubicBezTo>
                    <a:lnTo>
                      <a:pt x="2354" y="6565"/>
                    </a:lnTo>
                    <a:cubicBezTo>
                      <a:pt x="2235" y="6864"/>
                      <a:pt x="1936" y="7163"/>
                      <a:pt x="1577" y="7283"/>
                    </a:cubicBezTo>
                    <a:close/>
                  </a:path>
                </a:pathLst>
              </a:custGeom>
              <a:grpFill/>
              <a:ln w="6350" cap="flat">
                <a:solidFill>
                  <a:schemeClr val="bg1">
                    <a:alpha val="80000"/>
                  </a:schemeClr>
                </a:solidFill>
                <a:prstDash val="solid"/>
                <a:miter/>
              </a:ln>
            </p:spPr>
            <p:txBody>
              <a:bodyPr rtlCol="0" anchor="ctr"/>
              <a:lstStyle/>
              <a:p>
                <a:endParaRPr lang="en-GB"/>
              </a:p>
            </p:txBody>
          </p:sp>
        </p:grpSp>
        <p:grpSp>
          <p:nvGrpSpPr>
            <p:cNvPr id="8988" name="Graphic 3">
              <a:extLst>
                <a:ext uri="{FF2B5EF4-FFF2-40B4-BE49-F238E27FC236}">
                  <a16:creationId xmlns:a16="http://schemas.microsoft.com/office/drawing/2014/main" id="{68317611-88C4-44E4-B167-C8BB18419C4C}"/>
                </a:ext>
              </a:extLst>
            </p:cNvPr>
            <p:cNvGrpSpPr/>
            <p:nvPr/>
          </p:nvGrpSpPr>
          <p:grpSpPr>
            <a:xfrm>
              <a:off x="5304210" y="2214533"/>
              <a:ext cx="70705" cy="105966"/>
              <a:chOff x="5304210" y="2214533"/>
              <a:chExt cx="70705" cy="105966"/>
            </a:xfrm>
            <a:grpFill/>
          </p:grpSpPr>
          <p:sp>
            <p:nvSpPr>
              <p:cNvPr id="8991" name="Vrije vorm: vorm 8990">
                <a:extLst>
                  <a:ext uri="{FF2B5EF4-FFF2-40B4-BE49-F238E27FC236}">
                    <a16:creationId xmlns:a16="http://schemas.microsoft.com/office/drawing/2014/main" id="{7D0F75A9-0C5D-4C9B-A679-1EB2F1D2E0B3}"/>
                  </a:ext>
                </a:extLst>
              </p:cNvPr>
              <p:cNvSpPr/>
              <p:nvPr/>
            </p:nvSpPr>
            <p:spPr>
              <a:xfrm>
                <a:off x="5317367" y="2214533"/>
                <a:ext cx="15132" cy="19017"/>
              </a:xfrm>
              <a:custGeom>
                <a:avLst/>
                <a:gdLst>
                  <a:gd name="connsiteX0" fmla="*/ 8066 w 15132"/>
                  <a:gd name="connsiteY0" fmla="*/ 18648 h 19017"/>
                  <a:gd name="connsiteX1" fmla="*/ 4239 w 15132"/>
                  <a:gd name="connsiteY1" fmla="*/ 18529 h 19017"/>
                  <a:gd name="connsiteX2" fmla="*/ 411 w 15132"/>
                  <a:gd name="connsiteY2" fmla="*/ 5909 h 19017"/>
                  <a:gd name="connsiteX3" fmla="*/ 291 w 15132"/>
                  <a:gd name="connsiteY3" fmla="*/ 5610 h 19017"/>
                  <a:gd name="connsiteX4" fmla="*/ 6033 w 15132"/>
                  <a:gd name="connsiteY4" fmla="*/ 347 h 19017"/>
                  <a:gd name="connsiteX5" fmla="*/ 11595 w 15132"/>
                  <a:gd name="connsiteY5" fmla="*/ 826 h 19017"/>
                  <a:gd name="connsiteX6" fmla="*/ 15004 w 15132"/>
                  <a:gd name="connsiteY6" fmla="*/ 6627 h 19017"/>
                  <a:gd name="connsiteX7" fmla="*/ 9741 w 15132"/>
                  <a:gd name="connsiteY7" fmla="*/ 17751 h 19017"/>
                  <a:gd name="connsiteX8" fmla="*/ 8066 w 15132"/>
                  <a:gd name="connsiteY8" fmla="*/ 18648 h 19017"/>
                  <a:gd name="connsiteX9" fmla="*/ 2265 w 15132"/>
                  <a:gd name="connsiteY9" fmla="*/ 5311 h 19017"/>
                  <a:gd name="connsiteX10" fmla="*/ 2385 w 15132"/>
                  <a:gd name="connsiteY10" fmla="*/ 6029 h 19017"/>
                  <a:gd name="connsiteX11" fmla="*/ 5375 w 15132"/>
                  <a:gd name="connsiteY11" fmla="*/ 16974 h 19017"/>
                  <a:gd name="connsiteX12" fmla="*/ 8784 w 15132"/>
                  <a:gd name="connsiteY12" fmla="*/ 16316 h 19017"/>
                  <a:gd name="connsiteX13" fmla="*/ 13210 w 15132"/>
                  <a:gd name="connsiteY13" fmla="*/ 6986 h 19017"/>
                  <a:gd name="connsiteX14" fmla="*/ 10638 w 15132"/>
                  <a:gd name="connsiteY14" fmla="*/ 2381 h 19017"/>
                  <a:gd name="connsiteX15" fmla="*/ 6571 w 15132"/>
                  <a:gd name="connsiteY15" fmla="*/ 2082 h 19017"/>
                  <a:gd name="connsiteX16" fmla="*/ 2265 w 15132"/>
                  <a:gd name="connsiteY16" fmla="*/ 5311 h 19017"/>
                  <a:gd name="connsiteX17" fmla="*/ 2265 w 15132"/>
                  <a:gd name="connsiteY17" fmla="*/ 5311 h 1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32" h="19017">
                    <a:moveTo>
                      <a:pt x="8066" y="18648"/>
                    </a:moveTo>
                    <a:cubicBezTo>
                      <a:pt x="6631" y="19187"/>
                      <a:pt x="5315" y="19127"/>
                      <a:pt x="4239" y="18529"/>
                    </a:cubicBezTo>
                    <a:cubicBezTo>
                      <a:pt x="291" y="16316"/>
                      <a:pt x="-665" y="9618"/>
                      <a:pt x="411" y="5909"/>
                    </a:cubicBezTo>
                    <a:cubicBezTo>
                      <a:pt x="351" y="5850"/>
                      <a:pt x="351" y="5730"/>
                      <a:pt x="291" y="5610"/>
                    </a:cubicBezTo>
                    <a:cubicBezTo>
                      <a:pt x="-67" y="3218"/>
                      <a:pt x="1906" y="1424"/>
                      <a:pt x="6033" y="347"/>
                    </a:cubicBezTo>
                    <a:cubicBezTo>
                      <a:pt x="7528" y="-71"/>
                      <a:pt x="9681" y="-310"/>
                      <a:pt x="11595" y="826"/>
                    </a:cubicBezTo>
                    <a:cubicBezTo>
                      <a:pt x="13389" y="1843"/>
                      <a:pt x="14526" y="3816"/>
                      <a:pt x="15004" y="6627"/>
                    </a:cubicBezTo>
                    <a:cubicBezTo>
                      <a:pt x="15782" y="11173"/>
                      <a:pt x="12911" y="15658"/>
                      <a:pt x="9741" y="17751"/>
                    </a:cubicBezTo>
                    <a:cubicBezTo>
                      <a:pt x="9203" y="18170"/>
                      <a:pt x="8665" y="18409"/>
                      <a:pt x="8066" y="18648"/>
                    </a:cubicBezTo>
                    <a:close/>
                    <a:moveTo>
                      <a:pt x="2265" y="5311"/>
                    </a:moveTo>
                    <a:cubicBezTo>
                      <a:pt x="2385" y="5491"/>
                      <a:pt x="2444" y="5790"/>
                      <a:pt x="2385" y="6029"/>
                    </a:cubicBezTo>
                    <a:cubicBezTo>
                      <a:pt x="1368" y="9139"/>
                      <a:pt x="2325" y="15239"/>
                      <a:pt x="5375" y="16974"/>
                    </a:cubicBezTo>
                    <a:cubicBezTo>
                      <a:pt x="6212" y="17452"/>
                      <a:pt x="7468" y="17213"/>
                      <a:pt x="8784" y="16316"/>
                    </a:cubicBezTo>
                    <a:cubicBezTo>
                      <a:pt x="11415" y="14582"/>
                      <a:pt x="13868" y="10754"/>
                      <a:pt x="13210" y="6986"/>
                    </a:cubicBezTo>
                    <a:cubicBezTo>
                      <a:pt x="12791" y="4654"/>
                      <a:pt x="11954" y="3099"/>
                      <a:pt x="10638" y="2381"/>
                    </a:cubicBezTo>
                    <a:cubicBezTo>
                      <a:pt x="9263" y="1603"/>
                      <a:pt x="7648" y="1783"/>
                      <a:pt x="6571" y="2082"/>
                    </a:cubicBezTo>
                    <a:cubicBezTo>
                      <a:pt x="2444" y="3158"/>
                      <a:pt x="2145" y="4414"/>
                      <a:pt x="2265" y="5311"/>
                    </a:cubicBezTo>
                    <a:cubicBezTo>
                      <a:pt x="2265" y="5311"/>
                      <a:pt x="2265" y="5311"/>
                      <a:pt x="2265" y="5311"/>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92" name="Vrije vorm: vorm 8991">
                <a:extLst>
                  <a:ext uri="{FF2B5EF4-FFF2-40B4-BE49-F238E27FC236}">
                    <a16:creationId xmlns:a16="http://schemas.microsoft.com/office/drawing/2014/main" id="{CFBD653D-70A1-433C-B433-418965716EBD}"/>
                  </a:ext>
                </a:extLst>
              </p:cNvPr>
              <p:cNvSpPr/>
              <p:nvPr/>
            </p:nvSpPr>
            <p:spPr>
              <a:xfrm>
                <a:off x="5330150" y="2225161"/>
                <a:ext cx="20851" cy="45465"/>
              </a:xfrm>
              <a:custGeom>
                <a:avLst/>
                <a:gdLst>
                  <a:gd name="connsiteX0" fmla="*/ 15738 w 20851"/>
                  <a:gd name="connsiteY0" fmla="*/ 45400 h 45465"/>
                  <a:gd name="connsiteX1" fmla="*/ 14900 w 20851"/>
                  <a:gd name="connsiteY1" fmla="*/ 45340 h 45465"/>
                  <a:gd name="connsiteX2" fmla="*/ 14601 w 20851"/>
                  <a:gd name="connsiteY2" fmla="*/ 44144 h 45465"/>
                  <a:gd name="connsiteX3" fmla="*/ 18608 w 20851"/>
                  <a:gd name="connsiteY3" fmla="*/ 24527 h 45465"/>
                  <a:gd name="connsiteX4" fmla="*/ 9398 w 20851"/>
                  <a:gd name="connsiteY4" fmla="*/ 9875 h 45465"/>
                  <a:gd name="connsiteX5" fmla="*/ 2520 w 20851"/>
                  <a:gd name="connsiteY5" fmla="*/ 7482 h 45465"/>
                  <a:gd name="connsiteX6" fmla="*/ 1623 w 20851"/>
                  <a:gd name="connsiteY6" fmla="*/ 7124 h 45465"/>
                  <a:gd name="connsiteX7" fmla="*/ 128 w 20851"/>
                  <a:gd name="connsiteY7" fmla="*/ 784 h 45465"/>
                  <a:gd name="connsiteX8" fmla="*/ 1264 w 20851"/>
                  <a:gd name="connsiteY8" fmla="*/ 7 h 45465"/>
                  <a:gd name="connsiteX9" fmla="*/ 2042 w 20851"/>
                  <a:gd name="connsiteY9" fmla="*/ 1023 h 45465"/>
                  <a:gd name="connsiteX10" fmla="*/ 2999 w 20851"/>
                  <a:gd name="connsiteY10" fmla="*/ 5688 h 45465"/>
                  <a:gd name="connsiteX11" fmla="*/ 10833 w 20851"/>
                  <a:gd name="connsiteY11" fmla="*/ 8619 h 45465"/>
                  <a:gd name="connsiteX12" fmla="*/ 20402 w 20851"/>
                  <a:gd name="connsiteY12" fmla="*/ 23929 h 45465"/>
                  <a:gd name="connsiteX13" fmla="*/ 16216 w 20851"/>
                  <a:gd name="connsiteY13" fmla="*/ 44981 h 45465"/>
                  <a:gd name="connsiteX14" fmla="*/ 15738 w 20851"/>
                  <a:gd name="connsiteY14" fmla="*/ 45400 h 4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851" h="45465">
                    <a:moveTo>
                      <a:pt x="15738" y="45400"/>
                    </a:moveTo>
                    <a:cubicBezTo>
                      <a:pt x="15498" y="45520"/>
                      <a:pt x="15199" y="45460"/>
                      <a:pt x="14900" y="45340"/>
                    </a:cubicBezTo>
                    <a:cubicBezTo>
                      <a:pt x="14422" y="45101"/>
                      <a:pt x="14302" y="44563"/>
                      <a:pt x="14601" y="44144"/>
                    </a:cubicBezTo>
                    <a:cubicBezTo>
                      <a:pt x="17053" y="40376"/>
                      <a:pt x="19984" y="29013"/>
                      <a:pt x="18608" y="24527"/>
                    </a:cubicBezTo>
                    <a:cubicBezTo>
                      <a:pt x="17113" y="19862"/>
                      <a:pt x="12568" y="12985"/>
                      <a:pt x="9398" y="9875"/>
                    </a:cubicBezTo>
                    <a:cubicBezTo>
                      <a:pt x="6527" y="7064"/>
                      <a:pt x="2699" y="7482"/>
                      <a:pt x="2520" y="7482"/>
                    </a:cubicBezTo>
                    <a:cubicBezTo>
                      <a:pt x="2161" y="7542"/>
                      <a:pt x="1862" y="7423"/>
                      <a:pt x="1623" y="7124"/>
                    </a:cubicBezTo>
                    <a:cubicBezTo>
                      <a:pt x="1563" y="7004"/>
                      <a:pt x="-530" y="4253"/>
                      <a:pt x="128" y="784"/>
                    </a:cubicBezTo>
                    <a:cubicBezTo>
                      <a:pt x="247" y="306"/>
                      <a:pt x="726" y="-53"/>
                      <a:pt x="1264" y="7"/>
                    </a:cubicBezTo>
                    <a:cubicBezTo>
                      <a:pt x="1803" y="66"/>
                      <a:pt x="2161" y="485"/>
                      <a:pt x="2042" y="1023"/>
                    </a:cubicBezTo>
                    <a:cubicBezTo>
                      <a:pt x="1683" y="3116"/>
                      <a:pt x="2520" y="4911"/>
                      <a:pt x="2999" y="5688"/>
                    </a:cubicBezTo>
                    <a:cubicBezTo>
                      <a:pt x="4434" y="5628"/>
                      <a:pt x="8022" y="5868"/>
                      <a:pt x="10833" y="8619"/>
                    </a:cubicBezTo>
                    <a:cubicBezTo>
                      <a:pt x="14123" y="11848"/>
                      <a:pt x="18847" y="18965"/>
                      <a:pt x="20402" y="23929"/>
                    </a:cubicBezTo>
                    <a:cubicBezTo>
                      <a:pt x="22017" y="28953"/>
                      <a:pt x="18967" y="40735"/>
                      <a:pt x="16216" y="44981"/>
                    </a:cubicBezTo>
                    <a:cubicBezTo>
                      <a:pt x="16097" y="45161"/>
                      <a:pt x="15917" y="45340"/>
                      <a:pt x="15738" y="45400"/>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93" name="Vrije vorm: vorm 8992">
                <a:extLst>
                  <a:ext uri="{FF2B5EF4-FFF2-40B4-BE49-F238E27FC236}">
                    <a16:creationId xmlns:a16="http://schemas.microsoft.com/office/drawing/2014/main" id="{5C25A1FA-E031-4430-8EC4-6166C474FE36}"/>
                  </a:ext>
                </a:extLst>
              </p:cNvPr>
              <p:cNvSpPr/>
              <p:nvPr/>
            </p:nvSpPr>
            <p:spPr>
              <a:xfrm>
                <a:off x="5335239" y="2239868"/>
                <a:ext cx="8688" cy="30758"/>
              </a:xfrm>
              <a:custGeom>
                <a:avLst/>
                <a:gdLst>
                  <a:gd name="connsiteX0" fmla="*/ 5446 w 8688"/>
                  <a:gd name="connsiteY0" fmla="*/ 30693 h 30758"/>
                  <a:gd name="connsiteX1" fmla="*/ 4669 w 8688"/>
                  <a:gd name="connsiteY1" fmla="*/ 30633 h 30758"/>
                  <a:gd name="connsiteX2" fmla="*/ 4369 w 8688"/>
                  <a:gd name="connsiteY2" fmla="*/ 29437 h 30758"/>
                  <a:gd name="connsiteX3" fmla="*/ 6642 w 8688"/>
                  <a:gd name="connsiteY3" fmla="*/ 11136 h 30758"/>
                  <a:gd name="connsiteX4" fmla="*/ 183 w 8688"/>
                  <a:gd name="connsiteY4" fmla="*/ 1447 h 30758"/>
                  <a:gd name="connsiteX5" fmla="*/ 422 w 8688"/>
                  <a:gd name="connsiteY5" fmla="*/ 191 h 30758"/>
                  <a:gd name="connsiteX6" fmla="*/ 1738 w 8688"/>
                  <a:gd name="connsiteY6" fmla="*/ 311 h 30758"/>
                  <a:gd name="connsiteX7" fmla="*/ 8496 w 8688"/>
                  <a:gd name="connsiteY7" fmla="*/ 10478 h 30758"/>
                  <a:gd name="connsiteX8" fmla="*/ 6044 w 8688"/>
                  <a:gd name="connsiteY8" fmla="*/ 30274 h 30758"/>
                  <a:gd name="connsiteX9" fmla="*/ 5446 w 8688"/>
                  <a:gd name="connsiteY9" fmla="*/ 30693 h 3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88" h="30758">
                    <a:moveTo>
                      <a:pt x="5446" y="30693"/>
                    </a:moveTo>
                    <a:cubicBezTo>
                      <a:pt x="5207" y="30813"/>
                      <a:pt x="4908" y="30753"/>
                      <a:pt x="4669" y="30633"/>
                    </a:cubicBezTo>
                    <a:cubicBezTo>
                      <a:pt x="4190" y="30394"/>
                      <a:pt x="4070" y="29856"/>
                      <a:pt x="4369" y="29437"/>
                    </a:cubicBezTo>
                    <a:cubicBezTo>
                      <a:pt x="6044" y="26746"/>
                      <a:pt x="7120" y="12691"/>
                      <a:pt x="6642" y="11136"/>
                    </a:cubicBezTo>
                    <a:cubicBezTo>
                      <a:pt x="6164" y="9820"/>
                      <a:pt x="2755" y="4617"/>
                      <a:pt x="183" y="1447"/>
                    </a:cubicBezTo>
                    <a:cubicBezTo>
                      <a:pt x="-116" y="1089"/>
                      <a:pt x="-56" y="490"/>
                      <a:pt x="422" y="191"/>
                    </a:cubicBezTo>
                    <a:cubicBezTo>
                      <a:pt x="841" y="-108"/>
                      <a:pt x="1439" y="-48"/>
                      <a:pt x="1738" y="311"/>
                    </a:cubicBezTo>
                    <a:cubicBezTo>
                      <a:pt x="4310" y="3481"/>
                      <a:pt x="7898" y="8864"/>
                      <a:pt x="8496" y="10478"/>
                    </a:cubicBezTo>
                    <a:cubicBezTo>
                      <a:pt x="9154" y="12332"/>
                      <a:pt x="8077" y="27105"/>
                      <a:pt x="6044" y="30274"/>
                    </a:cubicBezTo>
                    <a:cubicBezTo>
                      <a:pt x="5864" y="30454"/>
                      <a:pt x="5685" y="30633"/>
                      <a:pt x="5446" y="3069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94" name="Vrije vorm: vorm 8993">
                <a:extLst>
                  <a:ext uri="{FF2B5EF4-FFF2-40B4-BE49-F238E27FC236}">
                    <a16:creationId xmlns:a16="http://schemas.microsoft.com/office/drawing/2014/main" id="{F49611D4-FCA3-41AD-ADCE-0F3A75B77856}"/>
                  </a:ext>
                </a:extLst>
              </p:cNvPr>
              <p:cNvSpPr/>
              <p:nvPr/>
            </p:nvSpPr>
            <p:spPr>
              <a:xfrm>
                <a:off x="5326188" y="2239456"/>
                <a:ext cx="41013" cy="74226"/>
              </a:xfrm>
              <a:custGeom>
                <a:avLst/>
                <a:gdLst>
                  <a:gd name="connsiteX0" fmla="*/ 40453 w 41013"/>
                  <a:gd name="connsiteY0" fmla="*/ 74167 h 74226"/>
                  <a:gd name="connsiteX1" fmla="*/ 39436 w 41013"/>
                  <a:gd name="connsiteY1" fmla="*/ 73987 h 74226"/>
                  <a:gd name="connsiteX2" fmla="*/ 20417 w 41013"/>
                  <a:gd name="connsiteY2" fmla="*/ 56643 h 74226"/>
                  <a:gd name="connsiteX3" fmla="*/ 1997 w 41013"/>
                  <a:gd name="connsiteY3" fmla="*/ 29790 h 74226"/>
                  <a:gd name="connsiteX4" fmla="*/ 681 w 41013"/>
                  <a:gd name="connsiteY4" fmla="*/ 14718 h 74226"/>
                  <a:gd name="connsiteX5" fmla="*/ 920 w 41013"/>
                  <a:gd name="connsiteY5" fmla="*/ 11548 h 74226"/>
                  <a:gd name="connsiteX6" fmla="*/ 621 w 41013"/>
                  <a:gd name="connsiteY6" fmla="*/ 10173 h 74226"/>
                  <a:gd name="connsiteX7" fmla="*/ 322 w 41013"/>
                  <a:gd name="connsiteY7" fmla="*/ 843 h 74226"/>
                  <a:gd name="connsiteX8" fmla="*/ 1399 w 41013"/>
                  <a:gd name="connsiteY8" fmla="*/ 6 h 74226"/>
                  <a:gd name="connsiteX9" fmla="*/ 2236 w 41013"/>
                  <a:gd name="connsiteY9" fmla="*/ 963 h 74226"/>
                  <a:gd name="connsiteX10" fmla="*/ 2475 w 41013"/>
                  <a:gd name="connsiteY10" fmla="*/ 9694 h 74226"/>
                  <a:gd name="connsiteX11" fmla="*/ 2774 w 41013"/>
                  <a:gd name="connsiteY11" fmla="*/ 11190 h 74226"/>
                  <a:gd name="connsiteX12" fmla="*/ 2535 w 41013"/>
                  <a:gd name="connsiteY12" fmla="*/ 14838 h 74226"/>
                  <a:gd name="connsiteX13" fmla="*/ 3731 w 41013"/>
                  <a:gd name="connsiteY13" fmla="*/ 29012 h 74226"/>
                  <a:gd name="connsiteX14" fmla="*/ 3731 w 41013"/>
                  <a:gd name="connsiteY14" fmla="*/ 29072 h 74226"/>
                  <a:gd name="connsiteX15" fmla="*/ 21733 w 41013"/>
                  <a:gd name="connsiteY15" fmla="*/ 55387 h 74226"/>
                  <a:gd name="connsiteX16" fmla="*/ 40752 w 41013"/>
                  <a:gd name="connsiteY16" fmla="*/ 72731 h 74226"/>
                  <a:gd name="connsiteX17" fmla="*/ 40692 w 41013"/>
                  <a:gd name="connsiteY17" fmla="*/ 73987 h 74226"/>
                  <a:gd name="connsiteX18" fmla="*/ 40453 w 41013"/>
                  <a:gd name="connsiteY18" fmla="*/ 74167 h 74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013" h="74226">
                    <a:moveTo>
                      <a:pt x="40453" y="74167"/>
                    </a:moveTo>
                    <a:cubicBezTo>
                      <a:pt x="40094" y="74286"/>
                      <a:pt x="39735" y="74226"/>
                      <a:pt x="39436" y="73987"/>
                    </a:cubicBezTo>
                    <a:cubicBezTo>
                      <a:pt x="39436" y="73987"/>
                      <a:pt x="30106" y="65495"/>
                      <a:pt x="20417" y="56643"/>
                    </a:cubicBezTo>
                    <a:cubicBezTo>
                      <a:pt x="11625" y="48629"/>
                      <a:pt x="4987" y="37146"/>
                      <a:pt x="1997" y="29790"/>
                    </a:cubicBezTo>
                    <a:cubicBezTo>
                      <a:pt x="-575" y="24646"/>
                      <a:pt x="202" y="18666"/>
                      <a:pt x="681" y="14718"/>
                    </a:cubicBezTo>
                    <a:cubicBezTo>
                      <a:pt x="860" y="13343"/>
                      <a:pt x="980" y="12087"/>
                      <a:pt x="920" y="11548"/>
                    </a:cubicBezTo>
                    <a:cubicBezTo>
                      <a:pt x="860" y="11070"/>
                      <a:pt x="740" y="10651"/>
                      <a:pt x="621" y="10173"/>
                    </a:cubicBezTo>
                    <a:cubicBezTo>
                      <a:pt x="143" y="8319"/>
                      <a:pt x="-336" y="6226"/>
                      <a:pt x="322" y="843"/>
                    </a:cubicBezTo>
                    <a:cubicBezTo>
                      <a:pt x="382" y="365"/>
                      <a:pt x="860" y="-54"/>
                      <a:pt x="1399" y="6"/>
                    </a:cubicBezTo>
                    <a:cubicBezTo>
                      <a:pt x="1937" y="6"/>
                      <a:pt x="2296" y="484"/>
                      <a:pt x="2236" y="963"/>
                    </a:cubicBezTo>
                    <a:cubicBezTo>
                      <a:pt x="1578" y="5986"/>
                      <a:pt x="2056" y="7960"/>
                      <a:pt x="2475" y="9694"/>
                    </a:cubicBezTo>
                    <a:cubicBezTo>
                      <a:pt x="2594" y="10173"/>
                      <a:pt x="2714" y="10651"/>
                      <a:pt x="2774" y="11190"/>
                    </a:cubicBezTo>
                    <a:cubicBezTo>
                      <a:pt x="2894" y="11967"/>
                      <a:pt x="2774" y="13163"/>
                      <a:pt x="2535" y="14838"/>
                    </a:cubicBezTo>
                    <a:cubicBezTo>
                      <a:pt x="2056" y="18606"/>
                      <a:pt x="1399" y="24287"/>
                      <a:pt x="3731" y="29012"/>
                    </a:cubicBezTo>
                    <a:cubicBezTo>
                      <a:pt x="3731" y="29012"/>
                      <a:pt x="3731" y="29072"/>
                      <a:pt x="3731" y="29072"/>
                    </a:cubicBezTo>
                    <a:cubicBezTo>
                      <a:pt x="6661" y="36309"/>
                      <a:pt x="13121" y="47552"/>
                      <a:pt x="21733" y="55387"/>
                    </a:cubicBezTo>
                    <a:cubicBezTo>
                      <a:pt x="31422" y="64179"/>
                      <a:pt x="40752" y="72731"/>
                      <a:pt x="40752" y="72731"/>
                    </a:cubicBezTo>
                    <a:cubicBezTo>
                      <a:pt x="41110" y="73090"/>
                      <a:pt x="41110" y="73628"/>
                      <a:pt x="40692" y="73987"/>
                    </a:cubicBezTo>
                    <a:cubicBezTo>
                      <a:pt x="40752" y="74047"/>
                      <a:pt x="40632" y="74107"/>
                      <a:pt x="40453" y="74167"/>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95" name="Vrije vorm: vorm 8994">
                <a:extLst>
                  <a:ext uri="{FF2B5EF4-FFF2-40B4-BE49-F238E27FC236}">
                    <a16:creationId xmlns:a16="http://schemas.microsoft.com/office/drawing/2014/main" id="{9F84818B-A47B-4B4F-93ED-1BC426D2616F}"/>
                  </a:ext>
                </a:extLst>
              </p:cNvPr>
              <p:cNvSpPr/>
              <p:nvPr/>
            </p:nvSpPr>
            <p:spPr>
              <a:xfrm>
                <a:off x="5346672" y="2264700"/>
                <a:ext cx="28242" cy="51204"/>
              </a:xfrm>
              <a:custGeom>
                <a:avLst/>
                <a:gdLst>
                  <a:gd name="connsiteX0" fmla="*/ 16679 w 28242"/>
                  <a:gd name="connsiteY0" fmla="*/ 51136 h 51204"/>
                  <a:gd name="connsiteX1" fmla="*/ 15483 w 28242"/>
                  <a:gd name="connsiteY1" fmla="*/ 50717 h 51204"/>
                  <a:gd name="connsiteX2" fmla="*/ 16021 w 28242"/>
                  <a:gd name="connsiteY2" fmla="*/ 49521 h 51204"/>
                  <a:gd name="connsiteX3" fmla="*/ 26129 w 28242"/>
                  <a:gd name="connsiteY3" fmla="*/ 43301 h 51204"/>
                  <a:gd name="connsiteX4" fmla="*/ 16440 w 28242"/>
                  <a:gd name="connsiteY4" fmla="*/ 32237 h 51204"/>
                  <a:gd name="connsiteX5" fmla="*/ 12194 w 28242"/>
                  <a:gd name="connsiteY5" fmla="*/ 27990 h 51204"/>
                  <a:gd name="connsiteX6" fmla="*/ 1847 w 28242"/>
                  <a:gd name="connsiteY6" fmla="*/ 11603 h 51204"/>
                  <a:gd name="connsiteX7" fmla="*/ 1787 w 28242"/>
                  <a:gd name="connsiteY7" fmla="*/ 11125 h 51204"/>
                  <a:gd name="connsiteX8" fmla="*/ 53 w 28242"/>
                  <a:gd name="connsiteY8" fmla="*/ 1197 h 51204"/>
                  <a:gd name="connsiteX9" fmla="*/ 651 w 28242"/>
                  <a:gd name="connsiteY9" fmla="*/ 60 h 51204"/>
                  <a:gd name="connsiteX10" fmla="*/ 1847 w 28242"/>
                  <a:gd name="connsiteY10" fmla="*/ 539 h 51204"/>
                  <a:gd name="connsiteX11" fmla="*/ 3701 w 28242"/>
                  <a:gd name="connsiteY11" fmla="*/ 11005 h 51204"/>
                  <a:gd name="connsiteX12" fmla="*/ 13629 w 28242"/>
                  <a:gd name="connsiteY12" fmla="*/ 26794 h 51204"/>
                  <a:gd name="connsiteX13" fmla="*/ 17815 w 28242"/>
                  <a:gd name="connsiteY13" fmla="*/ 30981 h 51204"/>
                  <a:gd name="connsiteX14" fmla="*/ 28162 w 28242"/>
                  <a:gd name="connsiteY14" fmla="*/ 43122 h 51204"/>
                  <a:gd name="connsiteX15" fmla="*/ 27803 w 28242"/>
                  <a:gd name="connsiteY15" fmla="*/ 44258 h 51204"/>
                  <a:gd name="connsiteX16" fmla="*/ 16619 w 28242"/>
                  <a:gd name="connsiteY16" fmla="*/ 51136 h 51204"/>
                  <a:gd name="connsiteX17" fmla="*/ 16679 w 28242"/>
                  <a:gd name="connsiteY17" fmla="*/ 51136 h 5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242" h="51204">
                    <a:moveTo>
                      <a:pt x="16679" y="51136"/>
                    </a:moveTo>
                    <a:cubicBezTo>
                      <a:pt x="16201" y="51315"/>
                      <a:pt x="15663" y="51136"/>
                      <a:pt x="15483" y="50717"/>
                    </a:cubicBezTo>
                    <a:cubicBezTo>
                      <a:pt x="15304" y="50298"/>
                      <a:pt x="15543" y="49760"/>
                      <a:pt x="16021" y="49521"/>
                    </a:cubicBezTo>
                    <a:cubicBezTo>
                      <a:pt x="18234" y="48564"/>
                      <a:pt x="24095" y="44676"/>
                      <a:pt x="26129" y="43301"/>
                    </a:cubicBezTo>
                    <a:cubicBezTo>
                      <a:pt x="23916" y="39473"/>
                      <a:pt x="20088" y="35825"/>
                      <a:pt x="16440" y="32237"/>
                    </a:cubicBezTo>
                    <a:cubicBezTo>
                      <a:pt x="14945" y="30741"/>
                      <a:pt x="13509" y="29366"/>
                      <a:pt x="12194" y="27990"/>
                    </a:cubicBezTo>
                    <a:cubicBezTo>
                      <a:pt x="7528" y="23026"/>
                      <a:pt x="2086" y="12022"/>
                      <a:pt x="1847" y="11603"/>
                    </a:cubicBezTo>
                    <a:cubicBezTo>
                      <a:pt x="1787" y="11424"/>
                      <a:pt x="1727" y="11304"/>
                      <a:pt x="1787" y="11125"/>
                    </a:cubicBezTo>
                    <a:cubicBezTo>
                      <a:pt x="1787" y="11065"/>
                      <a:pt x="2325" y="7357"/>
                      <a:pt x="53" y="1197"/>
                    </a:cubicBezTo>
                    <a:cubicBezTo>
                      <a:pt x="-127" y="718"/>
                      <a:pt x="172" y="240"/>
                      <a:pt x="651" y="60"/>
                    </a:cubicBezTo>
                    <a:cubicBezTo>
                      <a:pt x="1129" y="-119"/>
                      <a:pt x="1727" y="120"/>
                      <a:pt x="1847" y="539"/>
                    </a:cubicBezTo>
                    <a:cubicBezTo>
                      <a:pt x="3940" y="6220"/>
                      <a:pt x="3761" y="9988"/>
                      <a:pt x="3701" y="11005"/>
                    </a:cubicBezTo>
                    <a:cubicBezTo>
                      <a:pt x="4479" y="12560"/>
                      <a:pt x="9502" y="22368"/>
                      <a:pt x="13629" y="26794"/>
                    </a:cubicBezTo>
                    <a:cubicBezTo>
                      <a:pt x="14885" y="28170"/>
                      <a:pt x="16320" y="29545"/>
                      <a:pt x="17815" y="30981"/>
                    </a:cubicBezTo>
                    <a:cubicBezTo>
                      <a:pt x="21763" y="34868"/>
                      <a:pt x="25889" y="38875"/>
                      <a:pt x="28162" y="43122"/>
                    </a:cubicBezTo>
                    <a:cubicBezTo>
                      <a:pt x="28342" y="43540"/>
                      <a:pt x="28222" y="44019"/>
                      <a:pt x="27803" y="44258"/>
                    </a:cubicBezTo>
                    <a:cubicBezTo>
                      <a:pt x="27444" y="44497"/>
                      <a:pt x="19430" y="49880"/>
                      <a:pt x="16619" y="51136"/>
                    </a:cubicBezTo>
                    <a:cubicBezTo>
                      <a:pt x="16739" y="51136"/>
                      <a:pt x="16679" y="51136"/>
                      <a:pt x="16679" y="51136"/>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96" name="Vrije vorm: vorm 8995">
                <a:extLst>
                  <a:ext uri="{FF2B5EF4-FFF2-40B4-BE49-F238E27FC236}">
                    <a16:creationId xmlns:a16="http://schemas.microsoft.com/office/drawing/2014/main" id="{4CA834FB-B36E-4AB8-9720-B0BD9B25AD7A}"/>
                  </a:ext>
                </a:extLst>
              </p:cNvPr>
              <p:cNvSpPr/>
              <p:nvPr/>
            </p:nvSpPr>
            <p:spPr>
              <a:xfrm>
                <a:off x="5337429" y="2268744"/>
                <a:ext cx="9618" cy="2714"/>
              </a:xfrm>
              <a:custGeom>
                <a:avLst/>
                <a:gdLst>
                  <a:gd name="connsiteX0" fmla="*/ 8997 w 9618"/>
                  <a:gd name="connsiteY0" fmla="*/ 2655 h 2714"/>
                  <a:gd name="connsiteX1" fmla="*/ 8519 w 9618"/>
                  <a:gd name="connsiteY1" fmla="*/ 2714 h 2714"/>
                  <a:gd name="connsiteX2" fmla="*/ 744 w 9618"/>
                  <a:gd name="connsiteY2" fmla="*/ 1758 h 2714"/>
                  <a:gd name="connsiteX3" fmla="*/ 26 w 9618"/>
                  <a:gd name="connsiteY3" fmla="*/ 741 h 2714"/>
                  <a:gd name="connsiteX4" fmla="*/ 1163 w 9618"/>
                  <a:gd name="connsiteY4" fmla="*/ 23 h 2714"/>
                  <a:gd name="connsiteX5" fmla="*/ 8818 w 9618"/>
                  <a:gd name="connsiteY5" fmla="*/ 980 h 2714"/>
                  <a:gd name="connsiteX6" fmla="*/ 9596 w 9618"/>
                  <a:gd name="connsiteY6" fmla="*/ 1937 h 2714"/>
                  <a:gd name="connsiteX7" fmla="*/ 8997 w 9618"/>
                  <a:gd name="connsiteY7" fmla="*/ 2655 h 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18" h="2714">
                    <a:moveTo>
                      <a:pt x="8997" y="2655"/>
                    </a:moveTo>
                    <a:cubicBezTo>
                      <a:pt x="8878" y="2714"/>
                      <a:pt x="8698" y="2714"/>
                      <a:pt x="8519" y="2714"/>
                    </a:cubicBezTo>
                    <a:cubicBezTo>
                      <a:pt x="8459" y="2714"/>
                      <a:pt x="3914" y="2296"/>
                      <a:pt x="744" y="1758"/>
                    </a:cubicBezTo>
                    <a:cubicBezTo>
                      <a:pt x="206" y="1698"/>
                      <a:pt x="-94" y="1219"/>
                      <a:pt x="26" y="741"/>
                    </a:cubicBezTo>
                    <a:cubicBezTo>
                      <a:pt x="146" y="262"/>
                      <a:pt x="684" y="-97"/>
                      <a:pt x="1163" y="23"/>
                    </a:cubicBezTo>
                    <a:cubicBezTo>
                      <a:pt x="4273" y="502"/>
                      <a:pt x="8758" y="980"/>
                      <a:pt x="8818" y="980"/>
                    </a:cubicBezTo>
                    <a:cubicBezTo>
                      <a:pt x="9356" y="1040"/>
                      <a:pt x="9715" y="1459"/>
                      <a:pt x="9596" y="1937"/>
                    </a:cubicBezTo>
                    <a:cubicBezTo>
                      <a:pt x="9596" y="2236"/>
                      <a:pt x="9296" y="2535"/>
                      <a:pt x="8997" y="265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97" name="Vrije vorm: vorm 8996">
                <a:extLst>
                  <a:ext uri="{FF2B5EF4-FFF2-40B4-BE49-F238E27FC236}">
                    <a16:creationId xmlns:a16="http://schemas.microsoft.com/office/drawing/2014/main" id="{B034EAA1-F4FE-4257-8FF0-0AFB2219272E}"/>
                  </a:ext>
                </a:extLst>
              </p:cNvPr>
              <p:cNvSpPr/>
              <p:nvPr/>
            </p:nvSpPr>
            <p:spPr>
              <a:xfrm>
                <a:off x="5328102" y="2264354"/>
                <a:ext cx="13274" cy="5336"/>
              </a:xfrm>
              <a:custGeom>
                <a:avLst/>
                <a:gdLst>
                  <a:gd name="connsiteX0" fmla="*/ 10609 w 13274"/>
                  <a:gd name="connsiteY0" fmla="*/ 2619 h 5336"/>
                  <a:gd name="connsiteX1" fmla="*/ 1159 w 13274"/>
                  <a:gd name="connsiteY1" fmla="*/ 5310 h 5336"/>
                  <a:gd name="connsiteX2" fmla="*/ 23 w 13274"/>
                  <a:gd name="connsiteY2" fmla="*/ 4652 h 5336"/>
                  <a:gd name="connsiteX3" fmla="*/ 801 w 13274"/>
                  <a:gd name="connsiteY3" fmla="*/ 3576 h 5336"/>
                  <a:gd name="connsiteX4" fmla="*/ 11925 w 13274"/>
                  <a:gd name="connsiteY4" fmla="*/ 107 h 5336"/>
                  <a:gd name="connsiteX5" fmla="*/ 13181 w 13274"/>
                  <a:gd name="connsiteY5" fmla="*/ 466 h 5336"/>
                  <a:gd name="connsiteX6" fmla="*/ 12702 w 13274"/>
                  <a:gd name="connsiteY6" fmla="*/ 1662 h 5336"/>
                  <a:gd name="connsiteX7" fmla="*/ 10609 w 13274"/>
                  <a:gd name="connsiteY7" fmla="*/ 2619 h 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4" h="5336">
                    <a:moveTo>
                      <a:pt x="10609" y="2619"/>
                    </a:moveTo>
                    <a:cubicBezTo>
                      <a:pt x="6781" y="4054"/>
                      <a:pt x="1458" y="5251"/>
                      <a:pt x="1159" y="5310"/>
                    </a:cubicBezTo>
                    <a:cubicBezTo>
                      <a:pt x="621" y="5430"/>
                      <a:pt x="143" y="5131"/>
                      <a:pt x="23" y="4652"/>
                    </a:cubicBezTo>
                    <a:cubicBezTo>
                      <a:pt x="-97" y="4174"/>
                      <a:pt x="262" y="3695"/>
                      <a:pt x="801" y="3576"/>
                    </a:cubicBezTo>
                    <a:cubicBezTo>
                      <a:pt x="860" y="3576"/>
                      <a:pt x="8575" y="1782"/>
                      <a:pt x="11925" y="107"/>
                    </a:cubicBezTo>
                    <a:cubicBezTo>
                      <a:pt x="12403" y="-132"/>
                      <a:pt x="13001" y="47"/>
                      <a:pt x="13181" y="466"/>
                    </a:cubicBezTo>
                    <a:cubicBezTo>
                      <a:pt x="13420" y="885"/>
                      <a:pt x="13181" y="1423"/>
                      <a:pt x="12702" y="1662"/>
                    </a:cubicBezTo>
                    <a:cubicBezTo>
                      <a:pt x="12164" y="2021"/>
                      <a:pt x="11446" y="2320"/>
                      <a:pt x="10609" y="261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98" name="Vrije vorm: vorm 8997">
                <a:extLst>
                  <a:ext uri="{FF2B5EF4-FFF2-40B4-BE49-F238E27FC236}">
                    <a16:creationId xmlns:a16="http://schemas.microsoft.com/office/drawing/2014/main" id="{C6D0578D-A458-40CE-8A1B-5FCBC60F5162}"/>
                  </a:ext>
                </a:extLst>
              </p:cNvPr>
              <p:cNvSpPr/>
              <p:nvPr/>
            </p:nvSpPr>
            <p:spPr>
              <a:xfrm>
                <a:off x="5334412" y="2280070"/>
                <a:ext cx="7477" cy="39718"/>
              </a:xfrm>
              <a:custGeom>
                <a:avLst/>
                <a:gdLst>
                  <a:gd name="connsiteX0" fmla="*/ 6871 w 7477"/>
                  <a:gd name="connsiteY0" fmla="*/ 39653 h 39718"/>
                  <a:gd name="connsiteX1" fmla="*/ 6572 w 7477"/>
                  <a:gd name="connsiteY1" fmla="*/ 39712 h 39718"/>
                  <a:gd name="connsiteX2" fmla="*/ 5555 w 7477"/>
                  <a:gd name="connsiteY2" fmla="*/ 38935 h 39718"/>
                  <a:gd name="connsiteX3" fmla="*/ 3581 w 7477"/>
                  <a:gd name="connsiteY3" fmla="*/ 20335 h 39718"/>
                  <a:gd name="connsiteX4" fmla="*/ 1907 w 7477"/>
                  <a:gd name="connsiteY4" fmla="*/ 10706 h 39718"/>
                  <a:gd name="connsiteX5" fmla="*/ 53 w 7477"/>
                  <a:gd name="connsiteY5" fmla="*/ 1197 h 39718"/>
                  <a:gd name="connsiteX6" fmla="*/ 651 w 7477"/>
                  <a:gd name="connsiteY6" fmla="*/ 60 h 39718"/>
                  <a:gd name="connsiteX7" fmla="*/ 1847 w 7477"/>
                  <a:gd name="connsiteY7" fmla="*/ 539 h 39718"/>
                  <a:gd name="connsiteX8" fmla="*/ 3761 w 7477"/>
                  <a:gd name="connsiteY8" fmla="*/ 10347 h 39718"/>
                  <a:gd name="connsiteX9" fmla="*/ 5435 w 7477"/>
                  <a:gd name="connsiteY9" fmla="*/ 19797 h 39718"/>
                  <a:gd name="connsiteX10" fmla="*/ 7469 w 7477"/>
                  <a:gd name="connsiteY10" fmla="*/ 38696 h 39718"/>
                  <a:gd name="connsiteX11" fmla="*/ 6871 w 7477"/>
                  <a:gd name="connsiteY11" fmla="*/ 39653 h 3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7" h="39718">
                    <a:moveTo>
                      <a:pt x="6871" y="39653"/>
                    </a:moveTo>
                    <a:cubicBezTo>
                      <a:pt x="6811" y="39712"/>
                      <a:pt x="6691" y="39712"/>
                      <a:pt x="6572" y="39712"/>
                    </a:cubicBezTo>
                    <a:cubicBezTo>
                      <a:pt x="6033" y="39772"/>
                      <a:pt x="5615" y="39413"/>
                      <a:pt x="5555" y="38935"/>
                    </a:cubicBezTo>
                    <a:cubicBezTo>
                      <a:pt x="5555" y="38815"/>
                      <a:pt x="5077" y="26974"/>
                      <a:pt x="3581" y="20335"/>
                    </a:cubicBezTo>
                    <a:cubicBezTo>
                      <a:pt x="2864" y="17285"/>
                      <a:pt x="2385" y="13936"/>
                      <a:pt x="1907" y="10706"/>
                    </a:cubicBezTo>
                    <a:cubicBezTo>
                      <a:pt x="1309" y="6878"/>
                      <a:pt x="830" y="3290"/>
                      <a:pt x="53" y="1197"/>
                    </a:cubicBezTo>
                    <a:cubicBezTo>
                      <a:pt x="-127" y="718"/>
                      <a:pt x="172" y="240"/>
                      <a:pt x="651" y="60"/>
                    </a:cubicBezTo>
                    <a:cubicBezTo>
                      <a:pt x="1129" y="-119"/>
                      <a:pt x="1727" y="120"/>
                      <a:pt x="1847" y="539"/>
                    </a:cubicBezTo>
                    <a:cubicBezTo>
                      <a:pt x="2684" y="2752"/>
                      <a:pt x="3223" y="6460"/>
                      <a:pt x="3761" y="10347"/>
                    </a:cubicBezTo>
                    <a:cubicBezTo>
                      <a:pt x="4239" y="13517"/>
                      <a:pt x="4718" y="16866"/>
                      <a:pt x="5435" y="19797"/>
                    </a:cubicBezTo>
                    <a:cubicBezTo>
                      <a:pt x="6990" y="26555"/>
                      <a:pt x="7469" y="38157"/>
                      <a:pt x="7469" y="38696"/>
                    </a:cubicBezTo>
                    <a:cubicBezTo>
                      <a:pt x="7528" y="39174"/>
                      <a:pt x="7289" y="39533"/>
                      <a:pt x="6871" y="3965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8999" name="Vrije vorm: vorm 8998">
                <a:extLst>
                  <a:ext uri="{FF2B5EF4-FFF2-40B4-BE49-F238E27FC236}">
                    <a16:creationId xmlns:a16="http://schemas.microsoft.com/office/drawing/2014/main" id="{C0806389-186B-4E86-99C0-A6A8CEA22894}"/>
                  </a:ext>
                </a:extLst>
              </p:cNvPr>
              <p:cNvSpPr/>
              <p:nvPr/>
            </p:nvSpPr>
            <p:spPr>
              <a:xfrm>
                <a:off x="5335692" y="2297468"/>
                <a:ext cx="15090" cy="23032"/>
              </a:xfrm>
              <a:custGeom>
                <a:avLst/>
                <a:gdLst>
                  <a:gd name="connsiteX0" fmla="*/ 12768 w 15090"/>
                  <a:gd name="connsiteY0" fmla="*/ 22972 h 23032"/>
                  <a:gd name="connsiteX1" fmla="*/ 12409 w 15090"/>
                  <a:gd name="connsiteY1" fmla="*/ 23032 h 23032"/>
                  <a:gd name="connsiteX2" fmla="*/ 448 w 15090"/>
                  <a:gd name="connsiteY2" fmla="*/ 21657 h 23032"/>
                  <a:gd name="connsiteX3" fmla="*/ 148 w 15090"/>
                  <a:gd name="connsiteY3" fmla="*/ 20461 h 23032"/>
                  <a:gd name="connsiteX4" fmla="*/ 1464 w 15090"/>
                  <a:gd name="connsiteY4" fmla="*/ 20102 h 23032"/>
                  <a:gd name="connsiteX5" fmla="*/ 11931 w 15090"/>
                  <a:gd name="connsiteY5" fmla="*/ 21238 h 23032"/>
                  <a:gd name="connsiteX6" fmla="*/ 13007 w 15090"/>
                  <a:gd name="connsiteY6" fmla="*/ 3236 h 23032"/>
                  <a:gd name="connsiteX7" fmla="*/ 12887 w 15090"/>
                  <a:gd name="connsiteY7" fmla="*/ 963 h 23032"/>
                  <a:gd name="connsiteX8" fmla="*/ 13844 w 15090"/>
                  <a:gd name="connsiteY8" fmla="*/ 7 h 23032"/>
                  <a:gd name="connsiteX9" fmla="*/ 14801 w 15090"/>
                  <a:gd name="connsiteY9" fmla="*/ 844 h 23032"/>
                  <a:gd name="connsiteX10" fmla="*/ 14861 w 15090"/>
                  <a:gd name="connsiteY10" fmla="*/ 3057 h 23032"/>
                  <a:gd name="connsiteX11" fmla="*/ 13127 w 15090"/>
                  <a:gd name="connsiteY11" fmla="*/ 22673 h 23032"/>
                  <a:gd name="connsiteX12" fmla="*/ 12768 w 15090"/>
                  <a:gd name="connsiteY12" fmla="*/ 22972 h 2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90" h="23032">
                    <a:moveTo>
                      <a:pt x="12768" y="22972"/>
                    </a:moveTo>
                    <a:cubicBezTo>
                      <a:pt x="12648" y="23032"/>
                      <a:pt x="12529" y="23032"/>
                      <a:pt x="12409" y="23032"/>
                    </a:cubicBezTo>
                    <a:cubicBezTo>
                      <a:pt x="11452" y="23032"/>
                      <a:pt x="2900" y="23032"/>
                      <a:pt x="448" y="21657"/>
                    </a:cubicBezTo>
                    <a:cubicBezTo>
                      <a:pt x="29" y="21417"/>
                      <a:pt x="-151" y="20879"/>
                      <a:pt x="148" y="20461"/>
                    </a:cubicBezTo>
                    <a:cubicBezTo>
                      <a:pt x="448" y="20042"/>
                      <a:pt x="1046" y="19863"/>
                      <a:pt x="1464" y="20102"/>
                    </a:cubicBezTo>
                    <a:cubicBezTo>
                      <a:pt x="2900" y="20879"/>
                      <a:pt x="8402" y="21178"/>
                      <a:pt x="11931" y="21238"/>
                    </a:cubicBezTo>
                    <a:cubicBezTo>
                      <a:pt x="13725" y="18128"/>
                      <a:pt x="13187" y="7363"/>
                      <a:pt x="13007" y="3236"/>
                    </a:cubicBezTo>
                    <a:cubicBezTo>
                      <a:pt x="12947" y="2279"/>
                      <a:pt x="12947" y="1502"/>
                      <a:pt x="12887" y="963"/>
                    </a:cubicBezTo>
                    <a:cubicBezTo>
                      <a:pt x="12887" y="485"/>
                      <a:pt x="13306" y="66"/>
                      <a:pt x="13844" y="7"/>
                    </a:cubicBezTo>
                    <a:cubicBezTo>
                      <a:pt x="14383" y="-53"/>
                      <a:pt x="14801" y="305"/>
                      <a:pt x="14801" y="844"/>
                    </a:cubicBezTo>
                    <a:cubicBezTo>
                      <a:pt x="14801" y="1322"/>
                      <a:pt x="14861" y="2100"/>
                      <a:pt x="14861" y="3057"/>
                    </a:cubicBezTo>
                    <a:cubicBezTo>
                      <a:pt x="15280" y="11669"/>
                      <a:pt x="15340" y="19982"/>
                      <a:pt x="13127" y="22673"/>
                    </a:cubicBezTo>
                    <a:cubicBezTo>
                      <a:pt x="13067" y="22853"/>
                      <a:pt x="12947" y="22913"/>
                      <a:pt x="12768" y="2297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00" name="Vrije vorm: vorm 8999">
                <a:extLst>
                  <a:ext uri="{FF2B5EF4-FFF2-40B4-BE49-F238E27FC236}">
                    <a16:creationId xmlns:a16="http://schemas.microsoft.com/office/drawing/2014/main" id="{F070130C-2571-4062-BC1D-FF5E9C8D5C53}"/>
                  </a:ext>
                </a:extLst>
              </p:cNvPr>
              <p:cNvSpPr/>
              <p:nvPr/>
            </p:nvSpPr>
            <p:spPr>
              <a:xfrm>
                <a:off x="5313928" y="2234341"/>
                <a:ext cx="14280" cy="23302"/>
              </a:xfrm>
              <a:custGeom>
                <a:avLst/>
                <a:gdLst>
                  <a:gd name="connsiteX0" fmla="*/ 7439 w 14280"/>
                  <a:gd name="connsiteY0" fmla="*/ 22704 h 23302"/>
                  <a:gd name="connsiteX1" fmla="*/ 4150 w 14280"/>
                  <a:gd name="connsiteY1" fmla="*/ 23302 h 23302"/>
                  <a:gd name="connsiteX2" fmla="*/ 3253 w 14280"/>
                  <a:gd name="connsiteY2" fmla="*/ 22824 h 23302"/>
                  <a:gd name="connsiteX3" fmla="*/ 1159 w 14280"/>
                  <a:gd name="connsiteY3" fmla="*/ 20850 h 23302"/>
                  <a:gd name="connsiteX4" fmla="*/ 23 w 14280"/>
                  <a:gd name="connsiteY4" fmla="*/ 20192 h 23302"/>
                  <a:gd name="connsiteX5" fmla="*/ 801 w 14280"/>
                  <a:gd name="connsiteY5" fmla="*/ 19116 h 23302"/>
                  <a:gd name="connsiteX6" fmla="*/ 4748 w 14280"/>
                  <a:gd name="connsiteY6" fmla="*/ 21448 h 23302"/>
                  <a:gd name="connsiteX7" fmla="*/ 7499 w 14280"/>
                  <a:gd name="connsiteY7" fmla="*/ 20731 h 23302"/>
                  <a:gd name="connsiteX8" fmla="*/ 7858 w 14280"/>
                  <a:gd name="connsiteY8" fmla="*/ 17501 h 23302"/>
                  <a:gd name="connsiteX9" fmla="*/ 8277 w 14280"/>
                  <a:gd name="connsiteY9" fmla="*/ 12178 h 23302"/>
                  <a:gd name="connsiteX10" fmla="*/ 12582 w 14280"/>
                  <a:gd name="connsiteY10" fmla="*/ 336 h 23302"/>
                  <a:gd name="connsiteX11" fmla="*/ 13958 w 14280"/>
                  <a:gd name="connsiteY11" fmla="*/ 217 h 23302"/>
                  <a:gd name="connsiteX12" fmla="*/ 14018 w 14280"/>
                  <a:gd name="connsiteY12" fmla="*/ 1473 h 23302"/>
                  <a:gd name="connsiteX13" fmla="*/ 10190 w 14280"/>
                  <a:gd name="connsiteY13" fmla="*/ 12238 h 23302"/>
                  <a:gd name="connsiteX14" fmla="*/ 9772 w 14280"/>
                  <a:gd name="connsiteY14" fmla="*/ 17501 h 23302"/>
                  <a:gd name="connsiteX15" fmla="*/ 9174 w 14280"/>
                  <a:gd name="connsiteY15" fmla="*/ 21448 h 23302"/>
                  <a:gd name="connsiteX16" fmla="*/ 7439 w 14280"/>
                  <a:gd name="connsiteY16" fmla="*/ 22704 h 2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80" h="23302">
                    <a:moveTo>
                      <a:pt x="7439" y="22704"/>
                    </a:moveTo>
                    <a:cubicBezTo>
                      <a:pt x="6303" y="23123"/>
                      <a:pt x="4927" y="23302"/>
                      <a:pt x="4150" y="23302"/>
                    </a:cubicBezTo>
                    <a:cubicBezTo>
                      <a:pt x="3791" y="23302"/>
                      <a:pt x="3432" y="23123"/>
                      <a:pt x="3253" y="22824"/>
                    </a:cubicBezTo>
                    <a:cubicBezTo>
                      <a:pt x="2774" y="21927"/>
                      <a:pt x="1698" y="20731"/>
                      <a:pt x="1159" y="20850"/>
                    </a:cubicBezTo>
                    <a:cubicBezTo>
                      <a:pt x="621" y="20970"/>
                      <a:pt x="143" y="20671"/>
                      <a:pt x="23" y="20192"/>
                    </a:cubicBezTo>
                    <a:cubicBezTo>
                      <a:pt x="-97" y="19714"/>
                      <a:pt x="262" y="19235"/>
                      <a:pt x="801" y="19116"/>
                    </a:cubicBezTo>
                    <a:cubicBezTo>
                      <a:pt x="2655" y="18637"/>
                      <a:pt x="4090" y="20491"/>
                      <a:pt x="4748" y="21448"/>
                    </a:cubicBezTo>
                    <a:cubicBezTo>
                      <a:pt x="6004" y="21269"/>
                      <a:pt x="7260" y="20970"/>
                      <a:pt x="7499" y="20731"/>
                    </a:cubicBezTo>
                    <a:cubicBezTo>
                      <a:pt x="7679" y="20312"/>
                      <a:pt x="7798" y="19176"/>
                      <a:pt x="7858" y="17501"/>
                    </a:cubicBezTo>
                    <a:cubicBezTo>
                      <a:pt x="7918" y="16125"/>
                      <a:pt x="8037" y="14391"/>
                      <a:pt x="8277" y="12178"/>
                    </a:cubicBezTo>
                    <a:cubicBezTo>
                      <a:pt x="8874" y="6556"/>
                      <a:pt x="10131" y="2968"/>
                      <a:pt x="12582" y="336"/>
                    </a:cubicBezTo>
                    <a:cubicBezTo>
                      <a:pt x="12941" y="-23"/>
                      <a:pt x="13540" y="-142"/>
                      <a:pt x="13958" y="217"/>
                    </a:cubicBezTo>
                    <a:cubicBezTo>
                      <a:pt x="14377" y="516"/>
                      <a:pt x="14377" y="1114"/>
                      <a:pt x="14018" y="1473"/>
                    </a:cubicBezTo>
                    <a:cubicBezTo>
                      <a:pt x="11865" y="3805"/>
                      <a:pt x="10728" y="7035"/>
                      <a:pt x="10190" y="12238"/>
                    </a:cubicBezTo>
                    <a:cubicBezTo>
                      <a:pt x="9951" y="14451"/>
                      <a:pt x="9891" y="16125"/>
                      <a:pt x="9772" y="17501"/>
                    </a:cubicBezTo>
                    <a:cubicBezTo>
                      <a:pt x="9652" y="19534"/>
                      <a:pt x="9592" y="20671"/>
                      <a:pt x="9174" y="21448"/>
                    </a:cubicBezTo>
                    <a:cubicBezTo>
                      <a:pt x="8815" y="22046"/>
                      <a:pt x="8157" y="22405"/>
                      <a:pt x="7439" y="2270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01" name="Vrije vorm: vorm 9000">
                <a:extLst>
                  <a:ext uri="{FF2B5EF4-FFF2-40B4-BE49-F238E27FC236}">
                    <a16:creationId xmlns:a16="http://schemas.microsoft.com/office/drawing/2014/main" id="{D8D78891-6CCD-436D-A38B-02C358001061}"/>
                  </a:ext>
                </a:extLst>
              </p:cNvPr>
              <p:cNvSpPr/>
              <p:nvPr/>
            </p:nvSpPr>
            <p:spPr>
              <a:xfrm>
                <a:off x="5313476" y="2259310"/>
                <a:ext cx="14538" cy="3345"/>
              </a:xfrm>
              <a:custGeom>
                <a:avLst/>
                <a:gdLst>
                  <a:gd name="connsiteX0" fmla="*/ 13872 w 14538"/>
                  <a:gd name="connsiteY0" fmla="*/ 2759 h 3345"/>
                  <a:gd name="connsiteX1" fmla="*/ 13752 w 14538"/>
                  <a:gd name="connsiteY1" fmla="*/ 2818 h 3345"/>
                  <a:gd name="connsiteX2" fmla="*/ 355 w 14538"/>
                  <a:gd name="connsiteY2" fmla="*/ 1622 h 3345"/>
                  <a:gd name="connsiteX3" fmla="*/ 236 w 14538"/>
                  <a:gd name="connsiteY3" fmla="*/ 366 h 3345"/>
                  <a:gd name="connsiteX4" fmla="*/ 1611 w 14538"/>
                  <a:gd name="connsiteY4" fmla="*/ 187 h 3345"/>
                  <a:gd name="connsiteX5" fmla="*/ 13393 w 14538"/>
                  <a:gd name="connsiteY5" fmla="*/ 1084 h 3345"/>
                  <a:gd name="connsiteX6" fmla="*/ 14529 w 14538"/>
                  <a:gd name="connsiteY6" fmla="*/ 1742 h 3345"/>
                  <a:gd name="connsiteX7" fmla="*/ 13872 w 14538"/>
                  <a:gd name="connsiteY7" fmla="*/ 2759 h 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8" h="3345">
                    <a:moveTo>
                      <a:pt x="13872" y="2759"/>
                    </a:moveTo>
                    <a:cubicBezTo>
                      <a:pt x="13812" y="2759"/>
                      <a:pt x="13812" y="2759"/>
                      <a:pt x="13752" y="2818"/>
                    </a:cubicBezTo>
                    <a:cubicBezTo>
                      <a:pt x="10164" y="3656"/>
                      <a:pt x="3166" y="3656"/>
                      <a:pt x="355" y="1622"/>
                    </a:cubicBezTo>
                    <a:cubicBezTo>
                      <a:pt x="-64" y="1323"/>
                      <a:pt x="-123" y="785"/>
                      <a:pt x="236" y="366"/>
                    </a:cubicBezTo>
                    <a:cubicBezTo>
                      <a:pt x="595" y="-52"/>
                      <a:pt x="1192" y="-112"/>
                      <a:pt x="1611" y="187"/>
                    </a:cubicBezTo>
                    <a:cubicBezTo>
                      <a:pt x="3824" y="1802"/>
                      <a:pt x="10283" y="1861"/>
                      <a:pt x="13393" y="1084"/>
                    </a:cubicBezTo>
                    <a:cubicBezTo>
                      <a:pt x="13931" y="964"/>
                      <a:pt x="14410" y="1263"/>
                      <a:pt x="14529" y="1742"/>
                    </a:cubicBezTo>
                    <a:cubicBezTo>
                      <a:pt x="14589" y="2101"/>
                      <a:pt x="14350" y="2579"/>
                      <a:pt x="13872" y="2759"/>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02" name="Vrije vorm: vorm 9001">
                <a:extLst>
                  <a:ext uri="{FF2B5EF4-FFF2-40B4-BE49-F238E27FC236}">
                    <a16:creationId xmlns:a16="http://schemas.microsoft.com/office/drawing/2014/main" id="{F54C86EC-348E-4A4B-AFC1-B56F54CEF59D}"/>
                  </a:ext>
                </a:extLst>
              </p:cNvPr>
              <p:cNvSpPr/>
              <p:nvPr/>
            </p:nvSpPr>
            <p:spPr>
              <a:xfrm>
                <a:off x="5305547" y="2248611"/>
                <a:ext cx="10221" cy="13167"/>
              </a:xfrm>
              <a:custGeom>
                <a:avLst/>
                <a:gdLst>
                  <a:gd name="connsiteX0" fmla="*/ 9599 w 10221"/>
                  <a:gd name="connsiteY0" fmla="*/ 11603 h 13167"/>
                  <a:gd name="connsiteX1" fmla="*/ 5533 w 10221"/>
                  <a:gd name="connsiteY1" fmla="*/ 13098 h 13167"/>
                  <a:gd name="connsiteX2" fmla="*/ 4336 w 10221"/>
                  <a:gd name="connsiteY2" fmla="*/ 12680 h 13167"/>
                  <a:gd name="connsiteX3" fmla="*/ 30 w 10221"/>
                  <a:gd name="connsiteY3" fmla="*/ 2811 h 13167"/>
                  <a:gd name="connsiteX4" fmla="*/ 688 w 10221"/>
                  <a:gd name="connsiteY4" fmla="*/ 1675 h 13167"/>
                  <a:gd name="connsiteX5" fmla="*/ 1884 w 10221"/>
                  <a:gd name="connsiteY5" fmla="*/ 2213 h 13167"/>
                  <a:gd name="connsiteX6" fmla="*/ 5712 w 10221"/>
                  <a:gd name="connsiteY6" fmla="*/ 11125 h 13167"/>
                  <a:gd name="connsiteX7" fmla="*/ 8104 w 10221"/>
                  <a:gd name="connsiteY7" fmla="*/ 10227 h 13167"/>
                  <a:gd name="connsiteX8" fmla="*/ 5652 w 10221"/>
                  <a:gd name="connsiteY8" fmla="*/ 1197 h 13167"/>
                  <a:gd name="connsiteX9" fmla="*/ 6250 w 10221"/>
                  <a:gd name="connsiteY9" fmla="*/ 60 h 13167"/>
                  <a:gd name="connsiteX10" fmla="*/ 7446 w 10221"/>
                  <a:gd name="connsiteY10" fmla="*/ 539 h 13167"/>
                  <a:gd name="connsiteX11" fmla="*/ 10138 w 10221"/>
                  <a:gd name="connsiteY11" fmla="*/ 10527 h 13167"/>
                  <a:gd name="connsiteX12" fmla="*/ 9599 w 10221"/>
                  <a:gd name="connsiteY12" fmla="*/ 11603 h 13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1" h="13167">
                    <a:moveTo>
                      <a:pt x="9599" y="11603"/>
                    </a:moveTo>
                    <a:lnTo>
                      <a:pt x="5533" y="13098"/>
                    </a:lnTo>
                    <a:cubicBezTo>
                      <a:pt x="5054" y="13278"/>
                      <a:pt x="4575" y="13098"/>
                      <a:pt x="4336" y="12680"/>
                    </a:cubicBezTo>
                    <a:cubicBezTo>
                      <a:pt x="4217" y="12440"/>
                      <a:pt x="1107" y="6400"/>
                      <a:pt x="30" y="2811"/>
                    </a:cubicBezTo>
                    <a:cubicBezTo>
                      <a:pt x="-89" y="2333"/>
                      <a:pt x="150" y="1854"/>
                      <a:pt x="688" y="1675"/>
                    </a:cubicBezTo>
                    <a:cubicBezTo>
                      <a:pt x="1226" y="1496"/>
                      <a:pt x="1705" y="1795"/>
                      <a:pt x="1884" y="2213"/>
                    </a:cubicBezTo>
                    <a:cubicBezTo>
                      <a:pt x="2721" y="4964"/>
                      <a:pt x="4874" y="9390"/>
                      <a:pt x="5712" y="11125"/>
                    </a:cubicBezTo>
                    <a:lnTo>
                      <a:pt x="8104" y="10227"/>
                    </a:lnTo>
                    <a:cubicBezTo>
                      <a:pt x="7267" y="7118"/>
                      <a:pt x="5951" y="2094"/>
                      <a:pt x="5652" y="1197"/>
                    </a:cubicBezTo>
                    <a:cubicBezTo>
                      <a:pt x="5473" y="718"/>
                      <a:pt x="5772" y="240"/>
                      <a:pt x="6250" y="60"/>
                    </a:cubicBezTo>
                    <a:cubicBezTo>
                      <a:pt x="6729" y="-119"/>
                      <a:pt x="7327" y="120"/>
                      <a:pt x="7446" y="539"/>
                    </a:cubicBezTo>
                    <a:cubicBezTo>
                      <a:pt x="7925" y="1854"/>
                      <a:pt x="10078" y="10168"/>
                      <a:pt x="10138" y="10527"/>
                    </a:cubicBezTo>
                    <a:cubicBezTo>
                      <a:pt x="10377" y="10945"/>
                      <a:pt x="10078" y="11424"/>
                      <a:pt x="9599" y="11603"/>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03" name="Vrije vorm: vorm 9002">
                <a:extLst>
                  <a:ext uri="{FF2B5EF4-FFF2-40B4-BE49-F238E27FC236}">
                    <a16:creationId xmlns:a16="http://schemas.microsoft.com/office/drawing/2014/main" id="{ED2F69D2-CAE0-4AB4-A5FF-9B704C4AE2FA}"/>
                  </a:ext>
                </a:extLst>
              </p:cNvPr>
              <p:cNvSpPr/>
              <p:nvPr/>
            </p:nvSpPr>
            <p:spPr>
              <a:xfrm>
                <a:off x="5304210" y="2247416"/>
                <a:ext cx="9793" cy="4544"/>
              </a:xfrm>
              <a:custGeom>
                <a:avLst/>
                <a:gdLst>
                  <a:gd name="connsiteX0" fmla="*/ 9143 w 9793"/>
                  <a:gd name="connsiteY0" fmla="*/ 1734 h 4544"/>
                  <a:gd name="connsiteX1" fmla="*/ 9143 w 9793"/>
                  <a:gd name="connsiteY1" fmla="*/ 1734 h 4544"/>
                  <a:gd name="connsiteX2" fmla="*/ 1248 w 9793"/>
                  <a:gd name="connsiteY2" fmla="*/ 4485 h 4544"/>
                  <a:gd name="connsiteX3" fmla="*/ 52 w 9793"/>
                  <a:gd name="connsiteY3" fmla="*/ 3947 h 4544"/>
                  <a:gd name="connsiteX4" fmla="*/ 710 w 9793"/>
                  <a:gd name="connsiteY4" fmla="*/ 2811 h 4544"/>
                  <a:gd name="connsiteX5" fmla="*/ 8545 w 9793"/>
                  <a:gd name="connsiteY5" fmla="*/ 60 h 4544"/>
                  <a:gd name="connsiteX6" fmla="*/ 9741 w 9793"/>
                  <a:gd name="connsiteY6" fmla="*/ 598 h 4544"/>
                  <a:gd name="connsiteX7" fmla="*/ 9143 w 9793"/>
                  <a:gd name="connsiteY7" fmla="*/ 1734 h 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3" h="4544">
                    <a:moveTo>
                      <a:pt x="9143" y="1734"/>
                    </a:moveTo>
                    <a:cubicBezTo>
                      <a:pt x="9143" y="1734"/>
                      <a:pt x="9143" y="1734"/>
                      <a:pt x="9143" y="1734"/>
                    </a:cubicBezTo>
                    <a:lnTo>
                      <a:pt x="1248" y="4485"/>
                    </a:lnTo>
                    <a:cubicBezTo>
                      <a:pt x="770" y="4665"/>
                      <a:pt x="172" y="4425"/>
                      <a:pt x="52" y="3947"/>
                    </a:cubicBezTo>
                    <a:cubicBezTo>
                      <a:pt x="-127" y="3469"/>
                      <a:pt x="172" y="2990"/>
                      <a:pt x="710" y="2811"/>
                    </a:cubicBezTo>
                    <a:lnTo>
                      <a:pt x="8545" y="60"/>
                    </a:lnTo>
                    <a:cubicBezTo>
                      <a:pt x="9023" y="-120"/>
                      <a:pt x="9621" y="119"/>
                      <a:pt x="9741" y="598"/>
                    </a:cubicBezTo>
                    <a:cubicBezTo>
                      <a:pt x="9921" y="1076"/>
                      <a:pt x="9621" y="1555"/>
                      <a:pt x="9143" y="173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04" name="Vrije vorm: vorm 9003">
                <a:extLst>
                  <a:ext uri="{FF2B5EF4-FFF2-40B4-BE49-F238E27FC236}">
                    <a16:creationId xmlns:a16="http://schemas.microsoft.com/office/drawing/2014/main" id="{A86BAF94-FF7D-4B01-8B2A-3A3BDAAAECB7}"/>
                  </a:ext>
                </a:extLst>
              </p:cNvPr>
              <p:cNvSpPr/>
              <p:nvPr/>
            </p:nvSpPr>
            <p:spPr>
              <a:xfrm>
                <a:off x="5305585" y="2246937"/>
                <a:ext cx="6177" cy="3290"/>
              </a:xfrm>
              <a:custGeom>
                <a:avLst/>
                <a:gdLst>
                  <a:gd name="connsiteX0" fmla="*/ 5555 w 6177"/>
                  <a:gd name="connsiteY0" fmla="*/ 1675 h 3290"/>
                  <a:gd name="connsiteX1" fmla="*/ 5555 w 6177"/>
                  <a:gd name="connsiteY1" fmla="*/ 1675 h 3290"/>
                  <a:gd name="connsiteX2" fmla="*/ 1249 w 6177"/>
                  <a:gd name="connsiteY2" fmla="*/ 3230 h 3290"/>
                  <a:gd name="connsiteX3" fmla="*/ 53 w 6177"/>
                  <a:gd name="connsiteY3" fmla="*/ 2752 h 3290"/>
                  <a:gd name="connsiteX4" fmla="*/ 651 w 6177"/>
                  <a:gd name="connsiteY4" fmla="*/ 1615 h 3290"/>
                  <a:gd name="connsiteX5" fmla="*/ 651 w 6177"/>
                  <a:gd name="connsiteY5" fmla="*/ 1615 h 3290"/>
                  <a:gd name="connsiteX6" fmla="*/ 4897 w 6177"/>
                  <a:gd name="connsiteY6" fmla="*/ 60 h 3290"/>
                  <a:gd name="connsiteX7" fmla="*/ 6093 w 6177"/>
                  <a:gd name="connsiteY7" fmla="*/ 539 h 3290"/>
                  <a:gd name="connsiteX8" fmla="*/ 5555 w 6177"/>
                  <a:gd name="connsiteY8" fmla="*/ 1675 h 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77" h="3290">
                    <a:moveTo>
                      <a:pt x="5555" y="1675"/>
                    </a:moveTo>
                    <a:cubicBezTo>
                      <a:pt x="5555" y="1675"/>
                      <a:pt x="5555" y="1675"/>
                      <a:pt x="5555" y="1675"/>
                    </a:cubicBezTo>
                    <a:lnTo>
                      <a:pt x="1249" y="3230"/>
                    </a:lnTo>
                    <a:cubicBezTo>
                      <a:pt x="770" y="3409"/>
                      <a:pt x="172" y="3170"/>
                      <a:pt x="53" y="2752"/>
                    </a:cubicBezTo>
                    <a:cubicBezTo>
                      <a:pt x="-127" y="2273"/>
                      <a:pt x="172" y="1795"/>
                      <a:pt x="651" y="1615"/>
                    </a:cubicBezTo>
                    <a:cubicBezTo>
                      <a:pt x="651" y="1615"/>
                      <a:pt x="651" y="1615"/>
                      <a:pt x="651" y="1615"/>
                    </a:cubicBezTo>
                    <a:lnTo>
                      <a:pt x="4897" y="60"/>
                    </a:lnTo>
                    <a:cubicBezTo>
                      <a:pt x="5375" y="-119"/>
                      <a:pt x="5973" y="120"/>
                      <a:pt x="6093" y="539"/>
                    </a:cubicBezTo>
                    <a:cubicBezTo>
                      <a:pt x="6332" y="957"/>
                      <a:pt x="6033" y="1496"/>
                      <a:pt x="5555" y="1675"/>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05" name="Vrije vorm: vorm 9004">
                <a:extLst>
                  <a:ext uri="{FF2B5EF4-FFF2-40B4-BE49-F238E27FC236}">
                    <a16:creationId xmlns:a16="http://schemas.microsoft.com/office/drawing/2014/main" id="{5508A539-0F4B-43AA-B12F-36BC8CEEC3A4}"/>
                  </a:ext>
                </a:extLst>
              </p:cNvPr>
              <p:cNvSpPr/>
              <p:nvPr/>
            </p:nvSpPr>
            <p:spPr>
              <a:xfrm>
                <a:off x="5339383" y="2241644"/>
                <a:ext cx="7458" cy="5542"/>
              </a:xfrm>
              <a:custGeom>
                <a:avLst/>
                <a:gdLst>
                  <a:gd name="connsiteX0" fmla="*/ 1302 w 7458"/>
                  <a:gd name="connsiteY0" fmla="*/ 5472 h 5542"/>
                  <a:gd name="connsiteX1" fmla="*/ 106 w 7458"/>
                  <a:gd name="connsiteY1" fmla="*/ 5114 h 5542"/>
                  <a:gd name="connsiteX2" fmla="*/ 524 w 7458"/>
                  <a:gd name="connsiteY2" fmla="*/ 3917 h 5542"/>
                  <a:gd name="connsiteX3" fmla="*/ 5847 w 7458"/>
                  <a:gd name="connsiteY3" fmla="*/ 269 h 5542"/>
                  <a:gd name="connsiteX4" fmla="*/ 7223 w 7458"/>
                  <a:gd name="connsiteY4" fmla="*/ 269 h 5542"/>
                  <a:gd name="connsiteX5" fmla="*/ 7103 w 7458"/>
                  <a:gd name="connsiteY5" fmla="*/ 1525 h 5542"/>
                  <a:gd name="connsiteX6" fmla="*/ 1361 w 7458"/>
                  <a:gd name="connsiteY6" fmla="*/ 5472 h 5542"/>
                  <a:gd name="connsiteX7" fmla="*/ 1302 w 7458"/>
                  <a:gd name="connsiteY7" fmla="*/ 5472 h 5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58" h="5542">
                    <a:moveTo>
                      <a:pt x="1302" y="5472"/>
                    </a:moveTo>
                    <a:cubicBezTo>
                      <a:pt x="823" y="5652"/>
                      <a:pt x="345" y="5472"/>
                      <a:pt x="106" y="5114"/>
                    </a:cubicBezTo>
                    <a:cubicBezTo>
                      <a:pt x="-134" y="4695"/>
                      <a:pt x="46" y="4157"/>
                      <a:pt x="524" y="3917"/>
                    </a:cubicBezTo>
                    <a:cubicBezTo>
                      <a:pt x="3215" y="2542"/>
                      <a:pt x="5787" y="269"/>
                      <a:pt x="5847" y="269"/>
                    </a:cubicBezTo>
                    <a:cubicBezTo>
                      <a:pt x="6266" y="-90"/>
                      <a:pt x="6864" y="-90"/>
                      <a:pt x="7223" y="269"/>
                    </a:cubicBezTo>
                    <a:cubicBezTo>
                      <a:pt x="7582" y="628"/>
                      <a:pt x="7522" y="1166"/>
                      <a:pt x="7103" y="1525"/>
                    </a:cubicBezTo>
                    <a:cubicBezTo>
                      <a:pt x="6983" y="1645"/>
                      <a:pt x="4292" y="3977"/>
                      <a:pt x="1361" y="5472"/>
                    </a:cubicBezTo>
                    <a:cubicBezTo>
                      <a:pt x="1361" y="5472"/>
                      <a:pt x="1302" y="5472"/>
                      <a:pt x="1302" y="5472"/>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06" name="Vrije vorm: vorm 9005">
                <a:extLst>
                  <a:ext uri="{FF2B5EF4-FFF2-40B4-BE49-F238E27FC236}">
                    <a16:creationId xmlns:a16="http://schemas.microsoft.com/office/drawing/2014/main" id="{1F94D826-0D90-48D5-A2D1-472D132D2D6D}"/>
                  </a:ext>
                </a:extLst>
              </p:cNvPr>
              <p:cNvSpPr/>
              <p:nvPr/>
            </p:nvSpPr>
            <p:spPr>
              <a:xfrm>
                <a:off x="5322916" y="2247834"/>
                <a:ext cx="5214" cy="1854"/>
              </a:xfrm>
              <a:custGeom>
                <a:avLst/>
                <a:gdLst>
                  <a:gd name="connsiteX0" fmla="*/ 4551 w 5214"/>
                  <a:gd name="connsiteY0" fmla="*/ 1734 h 1854"/>
                  <a:gd name="connsiteX1" fmla="*/ 4192 w 5214"/>
                  <a:gd name="connsiteY1" fmla="*/ 1794 h 1854"/>
                  <a:gd name="connsiteX2" fmla="*/ 903 w 5214"/>
                  <a:gd name="connsiteY2" fmla="*/ 1854 h 1854"/>
                  <a:gd name="connsiteX3" fmla="*/ 6 w 5214"/>
                  <a:gd name="connsiteY3" fmla="*/ 957 h 1854"/>
                  <a:gd name="connsiteX4" fmla="*/ 1022 w 5214"/>
                  <a:gd name="connsiteY4" fmla="*/ 60 h 1854"/>
                  <a:gd name="connsiteX5" fmla="*/ 4312 w 5214"/>
                  <a:gd name="connsiteY5" fmla="*/ 0 h 1854"/>
                  <a:gd name="connsiteX6" fmla="*/ 5209 w 5214"/>
                  <a:gd name="connsiteY6" fmla="*/ 897 h 1854"/>
                  <a:gd name="connsiteX7" fmla="*/ 4551 w 5214"/>
                  <a:gd name="connsiteY7" fmla="*/ 1734 h 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4" h="1854">
                    <a:moveTo>
                      <a:pt x="4551" y="1734"/>
                    </a:moveTo>
                    <a:cubicBezTo>
                      <a:pt x="4431" y="1794"/>
                      <a:pt x="4312" y="1794"/>
                      <a:pt x="4192" y="1794"/>
                    </a:cubicBezTo>
                    <a:lnTo>
                      <a:pt x="903" y="1854"/>
                    </a:lnTo>
                    <a:cubicBezTo>
                      <a:pt x="365" y="1854"/>
                      <a:pt x="-54" y="1495"/>
                      <a:pt x="6" y="957"/>
                    </a:cubicBezTo>
                    <a:cubicBezTo>
                      <a:pt x="6" y="478"/>
                      <a:pt x="484" y="60"/>
                      <a:pt x="1022" y="60"/>
                    </a:cubicBezTo>
                    <a:lnTo>
                      <a:pt x="4312" y="0"/>
                    </a:lnTo>
                    <a:cubicBezTo>
                      <a:pt x="4850" y="0"/>
                      <a:pt x="5269" y="359"/>
                      <a:pt x="5209" y="897"/>
                    </a:cubicBezTo>
                    <a:cubicBezTo>
                      <a:pt x="5209" y="1256"/>
                      <a:pt x="4970" y="1555"/>
                      <a:pt x="4551" y="1734"/>
                    </a:cubicBezTo>
                    <a:close/>
                  </a:path>
                </a:pathLst>
              </a:custGeom>
              <a:grpFill/>
              <a:ln w="6350" cap="flat">
                <a:solidFill>
                  <a:schemeClr val="bg1">
                    <a:alpha val="80000"/>
                  </a:schemeClr>
                </a:solidFill>
                <a:prstDash val="solid"/>
                <a:miter/>
              </a:ln>
            </p:spPr>
            <p:txBody>
              <a:bodyPr rtlCol="0" anchor="ctr"/>
              <a:lstStyle/>
              <a:p>
                <a:endParaRPr lang="en-GB"/>
              </a:p>
            </p:txBody>
          </p:sp>
          <p:sp>
            <p:nvSpPr>
              <p:cNvPr id="9007" name="Vrije vorm: vorm 9006">
                <a:extLst>
                  <a:ext uri="{FF2B5EF4-FFF2-40B4-BE49-F238E27FC236}">
                    <a16:creationId xmlns:a16="http://schemas.microsoft.com/office/drawing/2014/main" id="{31B279D9-1B19-4194-992A-823C437AB10C}"/>
                  </a:ext>
                </a:extLst>
              </p:cNvPr>
              <p:cNvSpPr/>
              <p:nvPr/>
            </p:nvSpPr>
            <p:spPr>
              <a:xfrm>
                <a:off x="5318350" y="2218469"/>
                <a:ext cx="13961" cy="5973"/>
              </a:xfrm>
              <a:custGeom>
                <a:avLst/>
                <a:gdLst>
                  <a:gd name="connsiteX0" fmla="*/ 13363 w 13961"/>
                  <a:gd name="connsiteY0" fmla="*/ 5921 h 5973"/>
                  <a:gd name="connsiteX1" fmla="*/ 13303 w 13961"/>
                  <a:gd name="connsiteY1" fmla="*/ 5921 h 5973"/>
                  <a:gd name="connsiteX2" fmla="*/ 12107 w 13961"/>
                  <a:gd name="connsiteY2" fmla="*/ 5323 h 5973"/>
                  <a:gd name="connsiteX3" fmla="*/ 11210 w 13961"/>
                  <a:gd name="connsiteY3" fmla="*/ 4426 h 5973"/>
                  <a:gd name="connsiteX4" fmla="*/ 8758 w 13961"/>
                  <a:gd name="connsiteY4" fmla="*/ 2512 h 5973"/>
                  <a:gd name="connsiteX5" fmla="*/ 8698 w 13961"/>
                  <a:gd name="connsiteY5" fmla="*/ 2392 h 5973"/>
                  <a:gd name="connsiteX6" fmla="*/ 7861 w 13961"/>
                  <a:gd name="connsiteY6" fmla="*/ 1794 h 5973"/>
                  <a:gd name="connsiteX7" fmla="*/ 1162 w 13961"/>
                  <a:gd name="connsiteY7" fmla="*/ 2691 h 5973"/>
                  <a:gd name="connsiteX8" fmla="*/ 26 w 13961"/>
                  <a:gd name="connsiteY8" fmla="*/ 2093 h 5973"/>
                  <a:gd name="connsiteX9" fmla="*/ 744 w 13961"/>
                  <a:gd name="connsiteY9" fmla="*/ 957 h 5973"/>
                  <a:gd name="connsiteX10" fmla="*/ 7981 w 13961"/>
                  <a:gd name="connsiteY10" fmla="*/ 0 h 5973"/>
                  <a:gd name="connsiteX11" fmla="*/ 10552 w 13961"/>
                  <a:gd name="connsiteY11" fmla="*/ 1854 h 5973"/>
                  <a:gd name="connsiteX12" fmla="*/ 10612 w 13961"/>
                  <a:gd name="connsiteY12" fmla="*/ 2034 h 5973"/>
                  <a:gd name="connsiteX13" fmla="*/ 10612 w 13961"/>
                  <a:gd name="connsiteY13" fmla="*/ 2213 h 5973"/>
                  <a:gd name="connsiteX14" fmla="*/ 11150 w 13961"/>
                  <a:gd name="connsiteY14" fmla="*/ 2691 h 5973"/>
                  <a:gd name="connsiteX15" fmla="*/ 13901 w 13961"/>
                  <a:gd name="connsiteY15" fmla="*/ 4785 h 5973"/>
                  <a:gd name="connsiteX16" fmla="*/ 13363 w 13961"/>
                  <a:gd name="connsiteY16" fmla="*/ 5921 h 5973"/>
                  <a:gd name="connsiteX17" fmla="*/ 9775 w 13961"/>
                  <a:gd name="connsiteY17" fmla="*/ 2332 h 5973"/>
                  <a:gd name="connsiteX18" fmla="*/ 9775 w 13961"/>
                  <a:gd name="connsiteY18" fmla="*/ 2332 h 5973"/>
                  <a:gd name="connsiteX19" fmla="*/ 9775 w 13961"/>
                  <a:gd name="connsiteY19" fmla="*/ 2332 h 5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961" h="5973">
                    <a:moveTo>
                      <a:pt x="13363" y="5921"/>
                    </a:moveTo>
                    <a:cubicBezTo>
                      <a:pt x="13363" y="5921"/>
                      <a:pt x="13303" y="5921"/>
                      <a:pt x="13303" y="5921"/>
                    </a:cubicBezTo>
                    <a:cubicBezTo>
                      <a:pt x="12765" y="6100"/>
                      <a:pt x="12286" y="5801"/>
                      <a:pt x="12107" y="5323"/>
                    </a:cubicBezTo>
                    <a:cubicBezTo>
                      <a:pt x="11868" y="4426"/>
                      <a:pt x="11629" y="4426"/>
                      <a:pt x="11210" y="4426"/>
                    </a:cubicBezTo>
                    <a:cubicBezTo>
                      <a:pt x="9835" y="4486"/>
                      <a:pt x="8937" y="3768"/>
                      <a:pt x="8758" y="2512"/>
                    </a:cubicBezTo>
                    <a:lnTo>
                      <a:pt x="8698" y="2392"/>
                    </a:lnTo>
                    <a:cubicBezTo>
                      <a:pt x="8578" y="2034"/>
                      <a:pt x="8280" y="1794"/>
                      <a:pt x="7861" y="1794"/>
                    </a:cubicBezTo>
                    <a:cubicBezTo>
                      <a:pt x="6426" y="1794"/>
                      <a:pt x="4033" y="1914"/>
                      <a:pt x="1162" y="2691"/>
                    </a:cubicBezTo>
                    <a:cubicBezTo>
                      <a:pt x="624" y="2811"/>
                      <a:pt x="146" y="2572"/>
                      <a:pt x="26" y="2093"/>
                    </a:cubicBezTo>
                    <a:cubicBezTo>
                      <a:pt x="-93" y="1615"/>
                      <a:pt x="206" y="1136"/>
                      <a:pt x="744" y="957"/>
                    </a:cubicBezTo>
                    <a:cubicBezTo>
                      <a:pt x="3854" y="120"/>
                      <a:pt x="6426" y="0"/>
                      <a:pt x="7981" y="0"/>
                    </a:cubicBezTo>
                    <a:cubicBezTo>
                      <a:pt x="9237" y="0"/>
                      <a:pt x="10253" y="778"/>
                      <a:pt x="10552" y="1854"/>
                    </a:cubicBezTo>
                    <a:lnTo>
                      <a:pt x="10612" y="2034"/>
                    </a:lnTo>
                    <a:cubicBezTo>
                      <a:pt x="10612" y="2093"/>
                      <a:pt x="10612" y="2153"/>
                      <a:pt x="10612" y="2213"/>
                    </a:cubicBezTo>
                    <a:cubicBezTo>
                      <a:pt x="10672" y="2691"/>
                      <a:pt x="10791" y="2691"/>
                      <a:pt x="11150" y="2691"/>
                    </a:cubicBezTo>
                    <a:cubicBezTo>
                      <a:pt x="12047" y="2632"/>
                      <a:pt x="13303" y="2811"/>
                      <a:pt x="13901" y="4785"/>
                    </a:cubicBezTo>
                    <a:cubicBezTo>
                      <a:pt x="14081" y="5263"/>
                      <a:pt x="13842" y="5742"/>
                      <a:pt x="13363" y="5921"/>
                    </a:cubicBezTo>
                    <a:close/>
                    <a:moveTo>
                      <a:pt x="9775" y="2332"/>
                    </a:moveTo>
                    <a:lnTo>
                      <a:pt x="9775" y="2332"/>
                    </a:lnTo>
                    <a:lnTo>
                      <a:pt x="9775" y="2332"/>
                    </a:lnTo>
                    <a:close/>
                  </a:path>
                </a:pathLst>
              </a:custGeom>
              <a:grpFill/>
              <a:ln w="6350" cap="flat">
                <a:solidFill>
                  <a:schemeClr val="bg1">
                    <a:alpha val="80000"/>
                  </a:schemeClr>
                </a:solidFill>
                <a:prstDash val="solid"/>
                <a:miter/>
              </a:ln>
            </p:spPr>
            <p:txBody>
              <a:bodyPr rtlCol="0" anchor="ctr"/>
              <a:lstStyle/>
              <a:p>
                <a:endParaRPr lang="en-GB"/>
              </a:p>
            </p:txBody>
          </p:sp>
          <p:sp>
            <p:nvSpPr>
              <p:cNvPr id="9008" name="Vrije vorm: vorm 9007">
                <a:extLst>
                  <a:ext uri="{FF2B5EF4-FFF2-40B4-BE49-F238E27FC236}">
                    <a16:creationId xmlns:a16="http://schemas.microsoft.com/office/drawing/2014/main" id="{5369B554-C162-48BF-9041-352BFC7D3EF0}"/>
                  </a:ext>
                </a:extLst>
              </p:cNvPr>
              <p:cNvSpPr/>
              <p:nvPr/>
            </p:nvSpPr>
            <p:spPr>
              <a:xfrm>
                <a:off x="5318788" y="2215312"/>
                <a:ext cx="12763" cy="6804"/>
              </a:xfrm>
              <a:custGeom>
                <a:avLst/>
                <a:gdLst>
                  <a:gd name="connsiteX0" fmla="*/ 1323 w 12763"/>
                  <a:gd name="connsiteY0" fmla="*/ 4712 h 6804"/>
                  <a:gd name="connsiteX1" fmla="*/ 8320 w 12763"/>
                  <a:gd name="connsiteY1" fmla="*/ 4472 h 6804"/>
                  <a:gd name="connsiteX2" fmla="*/ 10114 w 12763"/>
                  <a:gd name="connsiteY2" fmla="*/ 6745 h 6804"/>
                  <a:gd name="connsiteX3" fmla="*/ 12686 w 12763"/>
                  <a:gd name="connsiteY3" fmla="*/ 6805 h 6804"/>
                  <a:gd name="connsiteX4" fmla="*/ 10832 w 12763"/>
                  <a:gd name="connsiteY4" fmla="*/ 1661 h 6804"/>
                  <a:gd name="connsiteX5" fmla="*/ 4552 w 12763"/>
                  <a:gd name="connsiteY5" fmla="*/ 585 h 6804"/>
                  <a:gd name="connsiteX6" fmla="*/ 7 w 12763"/>
                  <a:gd name="connsiteY6" fmla="*/ 3874 h 6804"/>
                  <a:gd name="connsiteX7" fmla="*/ 1323 w 12763"/>
                  <a:gd name="connsiteY7" fmla="*/ 4712 h 6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63" h="6804">
                    <a:moveTo>
                      <a:pt x="1323" y="4712"/>
                    </a:moveTo>
                    <a:cubicBezTo>
                      <a:pt x="1323" y="4712"/>
                      <a:pt x="7423" y="3575"/>
                      <a:pt x="8320" y="4472"/>
                    </a:cubicBezTo>
                    <a:cubicBezTo>
                      <a:pt x="9277" y="5310"/>
                      <a:pt x="10114" y="6745"/>
                      <a:pt x="10114" y="6745"/>
                    </a:cubicBezTo>
                    <a:lnTo>
                      <a:pt x="12686" y="6805"/>
                    </a:lnTo>
                    <a:cubicBezTo>
                      <a:pt x="12686" y="6805"/>
                      <a:pt x="13344" y="3037"/>
                      <a:pt x="10832" y="1661"/>
                    </a:cubicBezTo>
                    <a:cubicBezTo>
                      <a:pt x="8260" y="286"/>
                      <a:pt x="7662" y="-671"/>
                      <a:pt x="4552" y="585"/>
                    </a:cubicBezTo>
                    <a:cubicBezTo>
                      <a:pt x="1382" y="1841"/>
                      <a:pt x="-113" y="2738"/>
                      <a:pt x="7" y="3874"/>
                    </a:cubicBezTo>
                    <a:cubicBezTo>
                      <a:pt x="7" y="5071"/>
                      <a:pt x="1323" y="4712"/>
                      <a:pt x="1323" y="4712"/>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8989" name="Vrije vorm: vorm 8988">
              <a:extLst>
                <a:ext uri="{FF2B5EF4-FFF2-40B4-BE49-F238E27FC236}">
                  <a16:creationId xmlns:a16="http://schemas.microsoft.com/office/drawing/2014/main" id="{D3D0E62C-0591-4552-9D1A-35B60536433C}"/>
                </a:ext>
              </a:extLst>
            </p:cNvPr>
            <p:cNvSpPr/>
            <p:nvPr/>
          </p:nvSpPr>
          <p:spPr>
            <a:xfrm>
              <a:off x="5852335" y="856479"/>
              <a:ext cx="896" cy="837"/>
            </a:xfrm>
            <a:custGeom>
              <a:avLst/>
              <a:gdLst>
                <a:gd name="connsiteX0" fmla="*/ 598 w 896"/>
                <a:gd name="connsiteY0" fmla="*/ 0 h 837"/>
                <a:gd name="connsiteX1" fmla="*/ 897 w 896"/>
                <a:gd name="connsiteY1" fmla="*/ 837 h 837"/>
                <a:gd name="connsiteX2" fmla="*/ 0 w 896"/>
                <a:gd name="connsiteY2" fmla="*/ 778 h 837"/>
              </a:gdLst>
              <a:ahLst/>
              <a:cxnLst>
                <a:cxn ang="0">
                  <a:pos x="connsiteX0" y="connsiteY0"/>
                </a:cxn>
                <a:cxn ang="0">
                  <a:pos x="connsiteX1" y="connsiteY1"/>
                </a:cxn>
                <a:cxn ang="0">
                  <a:pos x="connsiteX2" y="connsiteY2"/>
                </a:cxn>
              </a:cxnLst>
              <a:rect l="l" t="t" r="r" b="b"/>
              <a:pathLst>
                <a:path w="896" h="837">
                  <a:moveTo>
                    <a:pt x="598" y="0"/>
                  </a:moveTo>
                  <a:lnTo>
                    <a:pt x="897" y="837"/>
                  </a:lnTo>
                  <a:lnTo>
                    <a:pt x="0" y="778"/>
                  </a:lnTo>
                  <a:close/>
                </a:path>
              </a:pathLst>
            </a:custGeom>
            <a:grpFill/>
            <a:ln w="6350" cap="flat">
              <a:solidFill>
                <a:schemeClr val="bg1">
                  <a:alpha val="80000"/>
                </a:schemeClr>
              </a:solidFill>
              <a:prstDash val="solid"/>
              <a:miter/>
            </a:ln>
          </p:spPr>
          <p:txBody>
            <a:bodyPr rtlCol="0" anchor="ctr"/>
            <a:lstStyle/>
            <a:p>
              <a:endParaRPr lang="en-GB"/>
            </a:p>
          </p:txBody>
        </p:sp>
        <p:sp>
          <p:nvSpPr>
            <p:cNvPr id="8990" name="Vrije vorm: vorm 8989">
              <a:extLst>
                <a:ext uri="{FF2B5EF4-FFF2-40B4-BE49-F238E27FC236}">
                  <a16:creationId xmlns:a16="http://schemas.microsoft.com/office/drawing/2014/main" id="{4B0205C2-8DE3-4F5A-B6FD-33D127867EF1}"/>
                </a:ext>
              </a:extLst>
            </p:cNvPr>
            <p:cNvSpPr/>
            <p:nvPr/>
          </p:nvSpPr>
          <p:spPr>
            <a:xfrm>
              <a:off x="6067975" y="987202"/>
              <a:ext cx="323" cy="733"/>
            </a:xfrm>
            <a:custGeom>
              <a:avLst/>
              <a:gdLst>
                <a:gd name="connsiteX0" fmla="*/ 324 w 323"/>
                <a:gd name="connsiteY0" fmla="*/ 255 h 733"/>
                <a:gd name="connsiteX1" fmla="*/ 85 w 323"/>
                <a:gd name="connsiteY1" fmla="*/ 733 h 733"/>
                <a:gd name="connsiteX2" fmla="*/ 25 w 323"/>
                <a:gd name="connsiteY2" fmla="*/ 16 h 733"/>
                <a:gd name="connsiteX3" fmla="*/ 324 w 323"/>
                <a:gd name="connsiteY3" fmla="*/ 255 h 733"/>
              </a:gdLst>
              <a:ahLst/>
              <a:cxnLst>
                <a:cxn ang="0">
                  <a:pos x="connsiteX0" y="connsiteY0"/>
                </a:cxn>
                <a:cxn ang="0">
                  <a:pos x="connsiteX1" y="connsiteY1"/>
                </a:cxn>
                <a:cxn ang="0">
                  <a:pos x="connsiteX2" y="connsiteY2"/>
                </a:cxn>
                <a:cxn ang="0">
                  <a:pos x="connsiteX3" y="connsiteY3"/>
                </a:cxn>
              </a:cxnLst>
              <a:rect l="l" t="t" r="r" b="b"/>
              <a:pathLst>
                <a:path w="323" h="733">
                  <a:moveTo>
                    <a:pt x="324" y="255"/>
                  </a:moveTo>
                  <a:lnTo>
                    <a:pt x="85" y="733"/>
                  </a:lnTo>
                  <a:cubicBezTo>
                    <a:pt x="25" y="494"/>
                    <a:pt x="-35" y="255"/>
                    <a:pt x="25" y="16"/>
                  </a:cubicBezTo>
                  <a:cubicBezTo>
                    <a:pt x="144" y="-44"/>
                    <a:pt x="264" y="75"/>
                    <a:pt x="324" y="255"/>
                  </a:cubicBezTo>
                  <a:close/>
                </a:path>
              </a:pathLst>
            </a:custGeom>
            <a:grpFill/>
            <a:ln w="6350" cap="flat">
              <a:solidFill>
                <a:schemeClr val="bg1">
                  <a:alpha val="80000"/>
                </a:schemeClr>
              </a:solidFill>
              <a:prstDash val="solid"/>
              <a:miter/>
            </a:ln>
          </p:spPr>
          <p:txBody>
            <a:bodyPr rtlCol="0" anchor="ctr"/>
            <a:lstStyle/>
            <a:p>
              <a:endParaRPr lang="en-GB"/>
            </a:p>
          </p:txBody>
        </p:sp>
      </p:grpSp>
      <p:sp>
        <p:nvSpPr>
          <p:cNvPr id="9532" name="TEKST1">
            <a:extLst>
              <a:ext uri="{FF2B5EF4-FFF2-40B4-BE49-F238E27FC236}">
                <a16:creationId xmlns:a16="http://schemas.microsoft.com/office/drawing/2014/main" id="{03465FD9-0EF9-4ED8-A7D4-BCFF8273019C}"/>
              </a:ext>
            </a:extLst>
          </p:cNvPr>
          <p:cNvSpPr/>
          <p:nvPr userDrawn="1"/>
        </p:nvSpPr>
        <p:spPr>
          <a:xfrm rot="18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ArchUp">
              <a:avLst/>
            </a:prstTxWarp>
            <a:noAutofit/>
          </a:bodyPr>
          <a:lstStyle/>
          <a:p>
            <a:pPr algn="ctr"/>
            <a:r>
              <a:rPr lang="en-GB" sz="800" b="1" cap="all" dirty="0">
                <a:solidFill>
                  <a:schemeClr val="bg1"/>
                </a:solidFill>
                <a:latin typeface="+mj-lt"/>
              </a:rPr>
              <a:t>Smart climate solutions</a:t>
            </a:r>
          </a:p>
        </p:txBody>
      </p:sp>
      <p:sp>
        <p:nvSpPr>
          <p:cNvPr id="9533" name="TEKST3">
            <a:extLst>
              <a:ext uri="{FF2B5EF4-FFF2-40B4-BE49-F238E27FC236}">
                <a16:creationId xmlns:a16="http://schemas.microsoft.com/office/drawing/2014/main" id="{1660ADA5-F445-47B3-8B48-6F15B464A718}"/>
              </a:ext>
            </a:extLst>
          </p:cNvPr>
          <p:cNvSpPr/>
          <p:nvPr userDrawn="1"/>
        </p:nvSpPr>
        <p:spPr>
          <a:xfrm rot="54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ArchUp">
              <a:avLst/>
            </a:prstTxWarp>
            <a:noAutofit/>
          </a:bodyPr>
          <a:lstStyle/>
          <a:p>
            <a:pPr algn="ctr"/>
            <a:r>
              <a:rPr lang="en-GB" sz="800" b="1" cap="all" dirty="0">
                <a:solidFill>
                  <a:schemeClr val="bg1"/>
                </a:solidFill>
                <a:latin typeface="+mj-lt"/>
              </a:rPr>
              <a:t>Smart mobility</a:t>
            </a:r>
          </a:p>
        </p:txBody>
      </p:sp>
      <p:sp>
        <p:nvSpPr>
          <p:cNvPr id="9534" name="TEKST5">
            <a:extLst>
              <a:ext uri="{FF2B5EF4-FFF2-40B4-BE49-F238E27FC236}">
                <a16:creationId xmlns:a16="http://schemas.microsoft.com/office/drawing/2014/main" id="{AFB08E8D-B5CD-4292-826D-0FE0CC344EDD}"/>
              </a:ext>
            </a:extLst>
          </p:cNvPr>
          <p:cNvSpPr/>
          <p:nvPr userDrawn="1"/>
        </p:nvSpPr>
        <p:spPr>
          <a:xfrm rot="19440326">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800" b="1" cap="all" dirty="0">
                <a:solidFill>
                  <a:schemeClr val="bg1"/>
                </a:solidFill>
                <a:latin typeface="+mj-lt"/>
              </a:rPr>
              <a:t>Smart health</a:t>
            </a:r>
          </a:p>
        </p:txBody>
      </p:sp>
      <p:sp>
        <p:nvSpPr>
          <p:cNvPr id="9535" name="TEKST6">
            <a:extLst>
              <a:ext uri="{FF2B5EF4-FFF2-40B4-BE49-F238E27FC236}">
                <a16:creationId xmlns:a16="http://schemas.microsoft.com/office/drawing/2014/main" id="{88E984EE-4B3C-47C4-AD4D-CC57C72790E2}"/>
              </a:ext>
            </a:extLst>
          </p:cNvPr>
          <p:cNvSpPr/>
          <p:nvPr userDrawn="1"/>
        </p:nvSpPr>
        <p:spPr>
          <a:xfrm rot="18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800" b="1" cap="all" dirty="0">
                <a:solidFill>
                  <a:schemeClr val="bg1"/>
                </a:solidFill>
                <a:latin typeface="+mj-lt"/>
              </a:rPr>
              <a:t>Smart resources</a:t>
            </a:r>
          </a:p>
        </p:txBody>
      </p:sp>
      <p:sp>
        <p:nvSpPr>
          <p:cNvPr id="9536" name="TEKST8">
            <a:extLst>
              <a:ext uri="{FF2B5EF4-FFF2-40B4-BE49-F238E27FC236}">
                <a16:creationId xmlns:a16="http://schemas.microsoft.com/office/drawing/2014/main" id="{EF3C2FC2-73BF-4C2C-AF07-0FDB3FBF3EC8}"/>
              </a:ext>
            </a:extLst>
          </p:cNvPr>
          <p:cNvSpPr/>
          <p:nvPr userDrawn="1"/>
        </p:nvSpPr>
        <p:spPr>
          <a:xfrm rot="54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800" b="1" cap="all" dirty="0">
                <a:solidFill>
                  <a:schemeClr val="bg1"/>
                </a:solidFill>
                <a:latin typeface="+mj-lt"/>
              </a:rPr>
              <a:t>Smart energy</a:t>
            </a:r>
          </a:p>
        </p:txBody>
      </p:sp>
      <p:sp>
        <p:nvSpPr>
          <p:cNvPr id="9537" name="TEKST9">
            <a:extLst>
              <a:ext uri="{FF2B5EF4-FFF2-40B4-BE49-F238E27FC236}">
                <a16:creationId xmlns:a16="http://schemas.microsoft.com/office/drawing/2014/main" id="{523A8BF4-137D-42DC-AAE2-07827BC3CDEC}"/>
              </a:ext>
            </a:extLst>
          </p:cNvPr>
          <p:cNvSpPr/>
          <p:nvPr userDrawn="1"/>
        </p:nvSpPr>
        <p:spPr>
          <a:xfrm rot="18900000">
            <a:off x="3491050" y="1024327"/>
            <a:ext cx="5168098" cy="5168097"/>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Up">
              <a:avLst/>
            </a:prstTxWarp>
            <a:noAutofit/>
          </a:bodyPr>
          <a:lstStyle/>
          <a:p>
            <a:pPr algn="ctr"/>
            <a:r>
              <a:rPr lang="en-GB" sz="800" b="1" cap="all" dirty="0">
                <a:solidFill>
                  <a:schemeClr val="bg1"/>
                </a:solidFill>
                <a:latin typeface="+mj-lt"/>
              </a:rPr>
              <a:t>Smart cities</a:t>
            </a:r>
          </a:p>
        </p:txBody>
      </p:sp>
    </p:spTree>
    <p:extLst>
      <p:ext uri="{BB962C8B-B14F-4D97-AF65-F5344CB8AC3E}">
        <p14:creationId xmlns:p14="http://schemas.microsoft.com/office/powerpoint/2010/main" val="253570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theme" Target="../theme/theme4.xml"/><Relationship Id="rId1" Type="http://schemas.openxmlformats.org/officeDocument/2006/relationships/slideLayout" Target="../slideLayouts/slideLayout69.xml"/><Relationship Id="rId4" Type="http://schemas.openxmlformats.org/officeDocument/2006/relationships/image" Target="../media/image26.jp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slideLayout" Target="../slideLayouts/slideLayout71.xml"/><Relationship Id="rId1" Type="http://schemas.openxmlformats.org/officeDocument/2006/relationships/slideLayout" Target="../slideLayouts/slideLayout70.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74.xml"/><Relationship Id="rId1"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theme" Target="../theme/theme7.xml"/><Relationship Id="rId1" Type="http://schemas.openxmlformats.org/officeDocument/2006/relationships/slideLayout" Target="../slideLayouts/slideLayout75.xml"/><Relationship Id="rId4" Type="http://schemas.openxmlformats.org/officeDocument/2006/relationships/image" Target="../media/image26.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777244" y="968116"/>
            <a:ext cx="10828685" cy="350700"/>
          </a:xfrm>
          <a:prstGeom prst="rect">
            <a:avLst/>
          </a:prstGeom>
        </p:spPr>
        <p:txBody>
          <a:bodyPr vert="horz" lIns="0" tIns="0" rIns="0" bIns="0" rtlCol="0" anchor="t">
            <a:noAutofit/>
          </a:bodyPr>
          <a:lstStyle/>
          <a:p>
            <a:r>
              <a:rPr lang="nl-NL" dirty="0"/>
              <a:t>Plaats hier je titel</a:t>
            </a:r>
          </a:p>
        </p:txBody>
      </p:sp>
      <p:sp>
        <p:nvSpPr>
          <p:cNvPr id="3" name="Tijdelijke aanduiding voor tekst 2"/>
          <p:cNvSpPr>
            <a:spLocks noGrp="1"/>
          </p:cNvSpPr>
          <p:nvPr>
            <p:ph type="body" idx="1"/>
          </p:nvPr>
        </p:nvSpPr>
        <p:spPr>
          <a:xfrm>
            <a:off x="777233" y="1478101"/>
            <a:ext cx="10827107" cy="4229277"/>
          </a:xfrm>
          <a:prstGeom prst="rect">
            <a:avLst/>
          </a:prstGeom>
        </p:spPr>
        <p:txBody>
          <a:bodyPr vert="horz" lIns="0" tIns="0" rIns="0" bIns="0" rtlCol="0">
            <a:noAutofit/>
          </a:body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a:t>
            </a:r>
            <a:endParaRPr lang="nl-NL" dirty="0"/>
          </a:p>
          <a:p>
            <a:pPr lvl="5"/>
            <a:r>
              <a:rPr lang="nl-NL" dirty="0" err="1"/>
              <a:t>Bullet</a:t>
            </a:r>
            <a:endParaRPr lang="nl-NL" dirty="0"/>
          </a:p>
          <a:p>
            <a:pPr lvl="6"/>
            <a:r>
              <a:rPr lang="nl-NL" dirty="0"/>
              <a:t>Sub-</a:t>
            </a:r>
            <a:r>
              <a:rPr lang="nl-NL" dirty="0" err="1"/>
              <a:t>bullet</a:t>
            </a:r>
            <a:endParaRPr lang="nl-NL" dirty="0"/>
          </a:p>
          <a:p>
            <a:pPr lvl="7"/>
            <a:r>
              <a:rPr lang="nl-NL" dirty="0"/>
              <a:t>Leestekst</a:t>
            </a:r>
          </a:p>
          <a:p>
            <a:pPr lvl="8"/>
            <a:r>
              <a:rPr lang="nl-NL" dirty="0"/>
              <a:t>Subtitel</a:t>
            </a:r>
          </a:p>
        </p:txBody>
      </p:sp>
      <p:sp>
        <p:nvSpPr>
          <p:cNvPr id="13" name="Tekstvak 12"/>
          <p:cNvSpPr txBox="1"/>
          <p:nvPr userDrawn="1"/>
        </p:nvSpPr>
        <p:spPr>
          <a:xfrm>
            <a:off x="0" y="-404789"/>
            <a:ext cx="12192000" cy="161583"/>
          </a:xfrm>
          <a:prstGeom prst="rect">
            <a:avLst/>
          </a:prstGeom>
          <a:noFill/>
        </p:spPr>
        <p:txBody>
          <a:bodyPr wrap="square" lIns="0" tIns="0" rIns="0" bIns="0" rtlCol="0">
            <a:spAutoFit/>
          </a:bodyPr>
          <a:lstStyle/>
          <a:p>
            <a:pPr algn="r"/>
            <a:r>
              <a:rPr lang="en-GB" sz="1050" b="0" dirty="0">
                <a:solidFill>
                  <a:schemeClr val="tx2"/>
                </a:solidFill>
                <a:latin typeface="Calibri" panose="020F0502020204030204" pitchFamily="34" charset="0"/>
              </a:rPr>
              <a:t>TNO</a:t>
            </a:r>
          </a:p>
        </p:txBody>
      </p:sp>
      <p:grpSp>
        <p:nvGrpSpPr>
          <p:cNvPr id="16" name="GRID" hidden="1">
            <a:extLst>
              <a:ext uri="{FF2B5EF4-FFF2-40B4-BE49-F238E27FC236}">
                <a16:creationId xmlns:a16="http://schemas.microsoft.com/office/drawing/2014/main" id="{C9F5C178-5B87-4F01-AB75-D0B6A04DCFE5}"/>
              </a:ext>
            </a:extLst>
          </p:cNvPr>
          <p:cNvGrpSpPr/>
          <p:nvPr userDrawn="1"/>
        </p:nvGrpSpPr>
        <p:grpSpPr>
          <a:xfrm>
            <a:off x="0" y="-2"/>
            <a:ext cx="12192000" cy="6858001"/>
            <a:chOff x="-2" y="-1"/>
            <a:chExt cx="12169776" cy="6858002"/>
          </a:xfrm>
          <a:solidFill>
            <a:srgbClr val="FF0000">
              <a:alpha val="60000"/>
            </a:srgbClr>
          </a:solidFill>
        </p:grpSpPr>
        <p:sp>
          <p:nvSpPr>
            <p:cNvPr id="17" name="Rechthoek 16">
              <a:extLst>
                <a:ext uri="{FF2B5EF4-FFF2-40B4-BE49-F238E27FC236}">
                  <a16:creationId xmlns:a16="http://schemas.microsoft.com/office/drawing/2014/main" id="{D44B6B67-5BB6-4297-BE0B-60D670BF641B}"/>
                </a:ext>
              </a:extLst>
            </p:cNvPr>
            <p:cNvSpPr/>
            <p:nvPr userDrawn="1"/>
          </p:nvSpPr>
          <p:spPr>
            <a:xfrm>
              <a:off x="0" y="6278880"/>
              <a:ext cx="12169774" cy="5791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18" name="Rechthoek 17">
              <a:extLst>
                <a:ext uri="{FF2B5EF4-FFF2-40B4-BE49-F238E27FC236}">
                  <a16:creationId xmlns:a16="http://schemas.microsoft.com/office/drawing/2014/main" id="{A5E32F4C-CC7B-48B8-990E-D7C4EBA9C0A7}"/>
                </a:ext>
              </a:extLst>
            </p:cNvPr>
            <p:cNvSpPr/>
            <p:nvPr userDrawn="1"/>
          </p:nvSpPr>
          <p:spPr>
            <a:xfrm rot="5400000">
              <a:off x="-3139131" y="3139130"/>
              <a:ext cx="6858000" cy="5797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19" name="Rechthoek 18">
              <a:extLst>
                <a:ext uri="{FF2B5EF4-FFF2-40B4-BE49-F238E27FC236}">
                  <a16:creationId xmlns:a16="http://schemas.microsoft.com/office/drawing/2014/main" id="{4CF09455-9A5E-4FFA-B8C5-9E1FD41F0F2F}"/>
                </a:ext>
              </a:extLst>
            </p:cNvPr>
            <p:cNvSpPr/>
            <p:nvPr userDrawn="1"/>
          </p:nvSpPr>
          <p:spPr>
            <a:xfrm rot="5400000">
              <a:off x="8447480" y="3139128"/>
              <a:ext cx="6858000" cy="5797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20" name="Rechthoek 19">
              <a:extLst>
                <a:ext uri="{FF2B5EF4-FFF2-40B4-BE49-F238E27FC236}">
                  <a16:creationId xmlns:a16="http://schemas.microsoft.com/office/drawing/2014/main" id="{3EFE300B-FA7B-41D7-984A-0F7F14356F56}"/>
                </a:ext>
              </a:extLst>
            </p:cNvPr>
            <p:cNvSpPr/>
            <p:nvPr/>
          </p:nvSpPr>
          <p:spPr>
            <a:xfrm>
              <a:off x="0" y="0"/>
              <a:ext cx="12169774" cy="5791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21" name="Rechthoek 20">
              <a:extLst>
                <a:ext uri="{FF2B5EF4-FFF2-40B4-BE49-F238E27FC236}">
                  <a16:creationId xmlns:a16="http://schemas.microsoft.com/office/drawing/2014/main" id="{3756B75C-B9BE-4BA3-82FB-CA6C127A3382}"/>
                </a:ext>
              </a:extLst>
            </p:cNvPr>
            <p:cNvSpPr/>
            <p:nvPr/>
          </p:nvSpPr>
          <p:spPr>
            <a:xfrm rot="5400000" flipV="1">
              <a:off x="-2725042" y="3357131"/>
              <a:ext cx="6857999" cy="14373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22" name="Rechthoek 21">
              <a:extLst>
                <a:ext uri="{FF2B5EF4-FFF2-40B4-BE49-F238E27FC236}">
                  <a16:creationId xmlns:a16="http://schemas.microsoft.com/office/drawing/2014/main" id="{E7EC28EE-3C4D-4D8F-B48A-0A8B60827212}"/>
                </a:ext>
              </a:extLst>
            </p:cNvPr>
            <p:cNvSpPr/>
            <p:nvPr/>
          </p:nvSpPr>
          <p:spPr>
            <a:xfrm>
              <a:off x="1" y="901700"/>
              <a:ext cx="12169773" cy="5791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29" name="Rechthoek 28">
              <a:extLst>
                <a:ext uri="{FF2B5EF4-FFF2-40B4-BE49-F238E27FC236}">
                  <a16:creationId xmlns:a16="http://schemas.microsoft.com/office/drawing/2014/main" id="{4D34C831-8D79-4C33-92D3-0887C2878E2D}"/>
                </a:ext>
              </a:extLst>
            </p:cNvPr>
            <p:cNvSpPr/>
            <p:nvPr userDrawn="1"/>
          </p:nvSpPr>
          <p:spPr>
            <a:xfrm>
              <a:off x="0" y="5707380"/>
              <a:ext cx="12169774" cy="5791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grpSp>
      <p:sp>
        <p:nvSpPr>
          <p:cNvPr id="40" name="HAAK">
            <a:extLst>
              <a:ext uri="{FF2B5EF4-FFF2-40B4-BE49-F238E27FC236}">
                <a16:creationId xmlns:a16="http://schemas.microsoft.com/office/drawing/2014/main" id="{4419B2C5-9818-4924-B8E7-DB09A032CC67}"/>
              </a:ext>
            </a:extLst>
          </p:cNvPr>
          <p:cNvSpPr>
            <a:spLocks/>
          </p:cNvSpPr>
          <p:nvPr userDrawn="1"/>
        </p:nvSpPr>
        <p:spPr bwMode="auto">
          <a:xfrm>
            <a:off x="587030" y="1056880"/>
            <a:ext cx="69016" cy="202404"/>
          </a:xfrm>
          <a:custGeom>
            <a:avLst/>
            <a:gdLst>
              <a:gd name="T0" fmla="*/ 3 w 17"/>
              <a:gd name="T1" fmla="*/ 10 h 50"/>
              <a:gd name="T2" fmla="*/ 6 w 17"/>
              <a:gd name="T3" fmla="*/ 0 h 50"/>
              <a:gd name="T4" fmla="*/ 16 w 17"/>
              <a:gd name="T5" fmla="*/ 25 h 50"/>
              <a:gd name="T6" fmla="*/ 7 w 17"/>
              <a:gd name="T7" fmla="*/ 50 h 50"/>
              <a:gd name="T8" fmla="*/ 4 w 17"/>
              <a:gd name="T9" fmla="*/ 40 h 50"/>
              <a:gd name="T10" fmla="*/ 8 w 17"/>
              <a:gd name="T11" fmla="*/ 25 h 50"/>
              <a:gd name="T12" fmla="*/ 3 w 17"/>
              <a:gd name="T13" fmla="*/ 10 h 50"/>
            </a:gdLst>
            <a:ahLst/>
            <a:cxnLst>
              <a:cxn ang="0">
                <a:pos x="T0" y="T1"/>
              </a:cxn>
              <a:cxn ang="0">
                <a:pos x="T2" y="T3"/>
              </a:cxn>
              <a:cxn ang="0">
                <a:pos x="T4" y="T5"/>
              </a:cxn>
              <a:cxn ang="0">
                <a:pos x="T6" y="T7"/>
              </a:cxn>
              <a:cxn ang="0">
                <a:pos x="T8" y="T9"/>
              </a:cxn>
              <a:cxn ang="0">
                <a:pos x="T10" y="T11"/>
              </a:cxn>
              <a:cxn ang="0">
                <a:pos x="T12" y="T13"/>
              </a:cxn>
            </a:cxnLst>
            <a:rect l="0" t="0" r="r" b="b"/>
            <a:pathLst>
              <a:path w="17" h="50">
                <a:moveTo>
                  <a:pt x="3" y="10"/>
                </a:moveTo>
                <a:cubicBezTo>
                  <a:pt x="0" y="1"/>
                  <a:pt x="6" y="0"/>
                  <a:pt x="6" y="0"/>
                </a:cubicBezTo>
                <a:cubicBezTo>
                  <a:pt x="6" y="0"/>
                  <a:pt x="16" y="19"/>
                  <a:pt x="16" y="25"/>
                </a:cubicBezTo>
                <a:cubicBezTo>
                  <a:pt x="17" y="31"/>
                  <a:pt x="7" y="50"/>
                  <a:pt x="7" y="50"/>
                </a:cubicBezTo>
                <a:cubicBezTo>
                  <a:pt x="7" y="50"/>
                  <a:pt x="1" y="48"/>
                  <a:pt x="4" y="40"/>
                </a:cubicBezTo>
                <a:cubicBezTo>
                  <a:pt x="6" y="32"/>
                  <a:pt x="8" y="25"/>
                  <a:pt x="8" y="25"/>
                </a:cubicBezTo>
                <a:lnTo>
                  <a:pt x="3" y="1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nl-NL"/>
          </a:p>
        </p:txBody>
      </p:sp>
      <p:sp>
        <p:nvSpPr>
          <p:cNvPr id="44" name="PIJL">
            <a:extLst>
              <a:ext uri="{FF2B5EF4-FFF2-40B4-BE49-F238E27FC236}">
                <a16:creationId xmlns:a16="http://schemas.microsoft.com/office/drawing/2014/main" id="{7B1523E4-D606-43F8-A60A-49A1E59CF8C9}"/>
              </a:ext>
            </a:extLst>
          </p:cNvPr>
          <p:cNvSpPr/>
          <p:nvPr userDrawn="1"/>
        </p:nvSpPr>
        <p:spPr>
          <a:xfrm>
            <a:off x="0" y="6278876"/>
            <a:ext cx="633831" cy="147829"/>
          </a:xfrm>
          <a:custGeom>
            <a:avLst/>
            <a:gdLst>
              <a:gd name="connsiteX0" fmla="*/ 0 w 633831"/>
              <a:gd name="connsiteY0" fmla="*/ 0 h 147829"/>
              <a:gd name="connsiteX1" fmla="*/ 21430 w 633831"/>
              <a:gd name="connsiteY1" fmla="*/ 0 h 147829"/>
              <a:gd name="connsiteX2" fmla="*/ 261041 w 633831"/>
              <a:gd name="connsiteY2" fmla="*/ 0 h 147829"/>
              <a:gd name="connsiteX3" fmla="*/ 319801 w 633831"/>
              <a:gd name="connsiteY3" fmla="*/ 0 h 147829"/>
              <a:gd name="connsiteX4" fmla="*/ 345094 w 633831"/>
              <a:gd name="connsiteY4" fmla="*/ 0 h 147829"/>
              <a:gd name="connsiteX5" fmla="*/ 415874 w 633831"/>
              <a:gd name="connsiteY5" fmla="*/ 0 h 147829"/>
              <a:gd name="connsiteX6" fmla="*/ 510403 w 633831"/>
              <a:gd name="connsiteY6" fmla="*/ 0 h 147829"/>
              <a:gd name="connsiteX7" fmla="*/ 604824 w 633831"/>
              <a:gd name="connsiteY7" fmla="*/ 0 h 147829"/>
              <a:gd name="connsiteX8" fmla="*/ 633829 w 633831"/>
              <a:gd name="connsiteY8" fmla="*/ 73889 h 147829"/>
              <a:gd name="connsiteX9" fmla="*/ 603457 w 633831"/>
              <a:gd name="connsiteY9" fmla="*/ 147199 h 147829"/>
              <a:gd name="connsiteX10" fmla="*/ 415874 w 633831"/>
              <a:gd name="connsiteY10" fmla="*/ 147616 h 147829"/>
              <a:gd name="connsiteX11" fmla="*/ 415874 w 633831"/>
              <a:gd name="connsiteY11" fmla="*/ 147829 h 147829"/>
              <a:gd name="connsiteX12" fmla="*/ 345094 w 633831"/>
              <a:gd name="connsiteY12" fmla="*/ 147829 h 147829"/>
              <a:gd name="connsiteX13" fmla="*/ 319801 w 633831"/>
              <a:gd name="connsiteY13" fmla="*/ 147829 h 147829"/>
              <a:gd name="connsiteX14" fmla="*/ 261041 w 633831"/>
              <a:gd name="connsiteY14" fmla="*/ 147829 h 147829"/>
              <a:gd name="connsiteX15" fmla="*/ 21430 w 633831"/>
              <a:gd name="connsiteY15" fmla="*/ 147829 h 147829"/>
              <a:gd name="connsiteX16" fmla="*/ 0 w 633831"/>
              <a:gd name="connsiteY16" fmla="*/ 147829 h 14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831" h="147829">
                <a:moveTo>
                  <a:pt x="0" y="0"/>
                </a:moveTo>
                <a:lnTo>
                  <a:pt x="21430" y="0"/>
                </a:lnTo>
                <a:lnTo>
                  <a:pt x="261041" y="0"/>
                </a:lnTo>
                <a:lnTo>
                  <a:pt x="319801" y="0"/>
                </a:lnTo>
                <a:lnTo>
                  <a:pt x="345094" y="0"/>
                </a:lnTo>
                <a:lnTo>
                  <a:pt x="415874" y="0"/>
                </a:lnTo>
                <a:lnTo>
                  <a:pt x="510403" y="0"/>
                </a:lnTo>
                <a:lnTo>
                  <a:pt x="604824" y="0"/>
                </a:lnTo>
                <a:cubicBezTo>
                  <a:pt x="614746" y="20344"/>
                  <a:pt x="634057" y="57734"/>
                  <a:pt x="633829" y="73889"/>
                </a:cubicBezTo>
                <a:cubicBezTo>
                  <a:pt x="633601" y="90044"/>
                  <a:pt x="621235" y="116025"/>
                  <a:pt x="603457" y="147199"/>
                </a:cubicBezTo>
                <a:lnTo>
                  <a:pt x="415874" y="147616"/>
                </a:lnTo>
                <a:lnTo>
                  <a:pt x="415874" y="147829"/>
                </a:lnTo>
                <a:lnTo>
                  <a:pt x="345094" y="147829"/>
                </a:lnTo>
                <a:lnTo>
                  <a:pt x="319801" y="147829"/>
                </a:lnTo>
                <a:lnTo>
                  <a:pt x="261041" y="147829"/>
                </a:lnTo>
                <a:lnTo>
                  <a:pt x="21430" y="147829"/>
                </a:lnTo>
                <a:lnTo>
                  <a:pt x="0" y="14782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cxnSp>
        <p:nvCxnSpPr>
          <p:cNvPr id="26" name="LIJN">
            <a:extLst>
              <a:ext uri="{FF2B5EF4-FFF2-40B4-BE49-F238E27FC236}">
                <a16:creationId xmlns:a16="http://schemas.microsoft.com/office/drawing/2014/main" id="{EC5997E7-92E7-4972-B2F4-AEA51B413A97}"/>
              </a:ext>
            </a:extLst>
          </p:cNvPr>
          <p:cNvCxnSpPr>
            <a:cxnSpLocks/>
          </p:cNvCxnSpPr>
          <p:nvPr userDrawn="1"/>
        </p:nvCxnSpPr>
        <p:spPr>
          <a:xfrm>
            <a:off x="602232" y="1304529"/>
            <a:ext cx="0" cy="4981971"/>
          </a:xfrm>
          <a:prstGeom prst="line">
            <a:avLst/>
          </a:prstGeom>
          <a:ln cap="rnd">
            <a:solidFill>
              <a:schemeClr val="tx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1793803"/>
      </p:ext>
    </p:extLst>
  </p:cSld>
  <p:clrMap bg1="lt1" tx1="dk1" bg2="lt2" tx2="dk2" accent1="accent1" accent2="accent2" accent3="accent3" accent4="accent4" accent5="accent5" accent6="accent6" hlink="hlink" folHlink="folHlink"/>
  <p:sldLayoutIdLst>
    <p:sldLayoutId id="2147483655" r:id="rId1"/>
    <p:sldLayoutId id="2147483698" r:id="rId2"/>
    <p:sldLayoutId id="2147483684" r:id="rId3"/>
    <p:sldLayoutId id="2147483705" r:id="rId4"/>
    <p:sldLayoutId id="2147483704" r:id="rId5"/>
    <p:sldLayoutId id="2147483699" r:id="rId6"/>
    <p:sldLayoutId id="2147483701" r:id="rId7"/>
    <p:sldLayoutId id="2147483700" r:id="rId8"/>
    <p:sldLayoutId id="2147483703" r:id="rId9"/>
    <p:sldLayoutId id="2147483707" r:id="rId10"/>
    <p:sldLayoutId id="2147483709" r:id="rId11"/>
    <p:sldLayoutId id="2147483683" r:id="rId12"/>
    <p:sldLayoutId id="2147483708" r:id="rId13"/>
    <p:sldLayoutId id="2147483711" r:id="rId14"/>
    <p:sldLayoutId id="2147483712" r:id="rId15"/>
    <p:sldLayoutId id="2147483735" r:id="rId16"/>
    <p:sldLayoutId id="2147483741" r:id="rId17"/>
    <p:sldLayoutId id="2147483733" r:id="rId18"/>
    <p:sldLayoutId id="2147483739" r:id="rId19"/>
    <p:sldLayoutId id="2147483740" r:id="rId20"/>
    <p:sldLayoutId id="2147483738" r:id="rId21"/>
  </p:sldLayoutIdLst>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hf hdr="0"/>
  <p:txStyles>
    <p:titleStyle>
      <a:lvl1pPr algn="l" defTabSz="914400" rtl="0" eaLnBrk="1" latinLnBrk="0" hangingPunct="1">
        <a:lnSpc>
          <a:spcPct val="90000"/>
        </a:lnSpc>
        <a:spcBef>
          <a:spcPct val="0"/>
        </a:spcBef>
        <a:buNone/>
        <a:tabLst>
          <a:tab pos="1255713" algn="l"/>
        </a:tabLst>
        <a:defRPr sz="3000" b="1" kern="1200" cap="all" baseline="0">
          <a:solidFill>
            <a:schemeClr val="tx2">
              <a:lumMod val="60000"/>
              <a:lumOff val="40000"/>
            </a:schemeClr>
          </a:solidFill>
          <a:latin typeface="+mj-lt"/>
          <a:ea typeface="+mj-ea"/>
          <a:cs typeface="+mj-cs"/>
        </a:defRPr>
      </a:lvl1pPr>
    </p:titleStyle>
    <p:bodyStyle>
      <a:lvl1pPr marL="217488" indent="-217488" algn="l" defTabSz="719138" rtl="0" eaLnBrk="1" latinLnBrk="0" hangingPunct="1">
        <a:lnSpc>
          <a:spcPct val="100000"/>
        </a:lnSpc>
        <a:spcBef>
          <a:spcPts val="300"/>
        </a:spcBef>
        <a:spcAft>
          <a:spcPts val="600"/>
        </a:spcAft>
        <a:buClr>
          <a:schemeClr val="tx2"/>
        </a:buClr>
        <a:buSzPct val="100000"/>
        <a:buFontTx/>
        <a:buBlip>
          <a:blip r:embed="rId23"/>
        </a:buBlip>
        <a:defRPr sz="1600" kern="1200">
          <a:solidFill>
            <a:schemeClr val="tx1"/>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24"/>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23"/>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24"/>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7" userDrawn="1">
          <p15:clr>
            <a:srgbClr val="F26B43"/>
          </p15:clr>
        </p15:guide>
        <p15:guide id="2" orient="horz" pos="346" userDrawn="1">
          <p15:clr>
            <a:srgbClr val="A4A3A4"/>
          </p15:clr>
        </p15:guide>
        <p15:guide id="3" orient="horz" pos="504" userDrawn="1">
          <p15:clr>
            <a:srgbClr val="A4A3A4"/>
          </p15:clr>
        </p15:guide>
        <p15:guide id="6" pos="7321" userDrawn="1">
          <p15:clr>
            <a:srgbClr val="F26B43"/>
          </p15:clr>
        </p15:guide>
        <p15:guide id="7" orient="horz" pos="925" userDrawn="1">
          <p15:clr>
            <a:srgbClr val="F26B43"/>
          </p15:clr>
        </p15:guide>
        <p15:guide id="8" orient="horz" pos="36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5167"/>
            <a:ext cx="10972800" cy="1143000"/>
          </a:xfrm>
          <a:prstGeom prst="rect">
            <a:avLst/>
          </a:prstGeom>
        </p:spPr>
        <p:txBody>
          <a:bodyPr vert="horz" lIns="91440" tIns="45720" rIns="91440" bIns="45720" rtlCol="0" anchor="b">
            <a:normAutofit/>
          </a:bodyPr>
          <a:lstStyle/>
          <a:p>
            <a:r>
              <a:rPr lang="de-DE" dirty="0"/>
              <a:t>Mastertitelformat bearbeiten</a:t>
            </a:r>
          </a:p>
        </p:txBody>
      </p:sp>
      <p:sp>
        <p:nvSpPr>
          <p:cNvPr id="4" name="Textplatzhalter 3"/>
          <p:cNvSpPr>
            <a:spLocks noGrp="1"/>
          </p:cNvSpPr>
          <p:nvPr>
            <p:ph type="body" idx="1"/>
          </p:nvPr>
        </p:nvSpPr>
        <p:spPr>
          <a:xfrm>
            <a:off x="609600" y="1600202"/>
            <a:ext cx="10972800" cy="2023533"/>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1619823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Lst>
  <p:hf hdr="0" dt="0"/>
  <p:txStyles>
    <p:titleStyle>
      <a:lvl1pPr algn="l" defTabSz="609585" rtl="0" eaLnBrk="1" latinLnBrk="0" hangingPunct="1">
        <a:spcBef>
          <a:spcPct val="0"/>
        </a:spcBef>
        <a:buNone/>
        <a:defRPr sz="2400" b="1" kern="1200" cap="all">
          <a:solidFill>
            <a:schemeClr val="tx1"/>
          </a:solidFill>
          <a:latin typeface="Verdana"/>
          <a:ea typeface="+mj-ea"/>
          <a:cs typeface="Verdana"/>
        </a:defRPr>
      </a:lvl1pPr>
    </p:titleStyle>
    <p:bodyStyle>
      <a:lvl1pPr marL="457189" indent="-457189" algn="l" defTabSz="609585" rtl="0" eaLnBrk="1" latinLnBrk="0" hangingPunct="1">
        <a:spcBef>
          <a:spcPct val="20000"/>
        </a:spcBef>
        <a:buFont typeface="Arial"/>
        <a:buChar char="•"/>
        <a:defRPr sz="2133" kern="1200">
          <a:solidFill>
            <a:schemeClr val="tx1"/>
          </a:solidFill>
          <a:latin typeface="Verdana"/>
          <a:ea typeface="+mn-ea"/>
          <a:cs typeface="Verdana"/>
        </a:defRPr>
      </a:lvl1pPr>
      <a:lvl2pPr marL="990575" indent="-380990" algn="l" defTabSz="609585" rtl="0" eaLnBrk="1" latinLnBrk="0" hangingPunct="1">
        <a:spcBef>
          <a:spcPct val="20000"/>
        </a:spcBef>
        <a:buFont typeface="Arial"/>
        <a:buChar char="–"/>
        <a:defRPr sz="1600" kern="1200">
          <a:solidFill>
            <a:schemeClr val="tx1"/>
          </a:solidFill>
          <a:latin typeface="Verdana"/>
          <a:ea typeface="+mn-ea"/>
          <a:cs typeface="Verdana"/>
        </a:defRPr>
      </a:lvl2pPr>
      <a:lvl3pPr marL="1523962" indent="-304792" algn="l" defTabSz="609585" rtl="0" eaLnBrk="1" latinLnBrk="0" hangingPunct="1">
        <a:spcBef>
          <a:spcPct val="20000"/>
        </a:spcBef>
        <a:buFont typeface="Arial"/>
        <a:buChar char="•"/>
        <a:defRPr sz="1067" kern="1200">
          <a:solidFill>
            <a:schemeClr val="tx1"/>
          </a:solidFill>
          <a:latin typeface="Verdana"/>
          <a:ea typeface="+mn-ea"/>
          <a:cs typeface="Verdana"/>
        </a:defRPr>
      </a:lvl3pPr>
      <a:lvl4pPr marL="2133547" indent="-304792" algn="l" defTabSz="609585" rtl="0" eaLnBrk="1" latinLnBrk="0" hangingPunct="1">
        <a:spcBef>
          <a:spcPct val="20000"/>
        </a:spcBef>
        <a:buFont typeface="Arial"/>
        <a:buChar char="–"/>
        <a:defRPr sz="1333" i="1" kern="1200" cap="all">
          <a:solidFill>
            <a:schemeClr val="tx1"/>
          </a:solidFill>
          <a:latin typeface="Georgia"/>
          <a:ea typeface="+mn-ea"/>
          <a:cs typeface="Georgia"/>
        </a:defRPr>
      </a:lvl4pPr>
      <a:lvl5pPr marL="2743131" indent="-304792" algn="l" defTabSz="609585" rtl="0" eaLnBrk="1" latinLnBrk="0" hangingPunct="1">
        <a:spcBef>
          <a:spcPct val="20000"/>
        </a:spcBef>
        <a:buFont typeface="Arial"/>
        <a:buChar char="»"/>
        <a:defRPr sz="2133" i="1" kern="1200">
          <a:solidFill>
            <a:schemeClr val="tx1"/>
          </a:solidFill>
          <a:latin typeface="Georgia"/>
          <a:ea typeface="+mn-ea"/>
          <a:cs typeface="Georgia"/>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12151D"/>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5167"/>
            <a:ext cx="10972800" cy="1143000"/>
          </a:xfrm>
          <a:prstGeom prst="rect">
            <a:avLst/>
          </a:prstGeom>
        </p:spPr>
        <p:txBody>
          <a:bodyPr vert="horz" lIns="91440" tIns="45720" rIns="91440" bIns="45720" rtlCol="0" anchor="b">
            <a:normAutofit/>
          </a:bodyPr>
          <a:lstStyle/>
          <a:p>
            <a:r>
              <a:rPr lang="de-DE" dirty="0"/>
              <a:t>Mastertitelformat bearbeiten</a:t>
            </a:r>
          </a:p>
        </p:txBody>
      </p:sp>
      <p:sp>
        <p:nvSpPr>
          <p:cNvPr id="4" name="Textplatzhalter 3"/>
          <p:cNvSpPr>
            <a:spLocks noGrp="1"/>
          </p:cNvSpPr>
          <p:nvPr>
            <p:ph type="body" idx="1"/>
          </p:nvPr>
        </p:nvSpPr>
        <p:spPr>
          <a:xfrm>
            <a:off x="609600" y="1600203"/>
            <a:ext cx="10972800" cy="2023533"/>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71190234"/>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Lst>
  <p:hf hdr="0" dt="0"/>
  <p:txStyles>
    <p:titleStyle>
      <a:lvl1pPr algn="l" defTabSz="609570" rtl="0" eaLnBrk="1" latinLnBrk="0" hangingPunct="1">
        <a:spcBef>
          <a:spcPct val="0"/>
        </a:spcBef>
        <a:buNone/>
        <a:defRPr sz="2400" b="1" kern="1200" cap="all">
          <a:solidFill>
            <a:schemeClr val="tx1"/>
          </a:solidFill>
          <a:latin typeface="Verdana"/>
          <a:ea typeface="+mj-ea"/>
          <a:cs typeface="Verdana"/>
        </a:defRPr>
      </a:lvl1pPr>
    </p:titleStyle>
    <p:bodyStyle>
      <a:lvl1pPr marL="457178" indent="-457178" algn="l" defTabSz="609570" rtl="0" eaLnBrk="1" latinLnBrk="0" hangingPunct="1">
        <a:spcBef>
          <a:spcPct val="20000"/>
        </a:spcBef>
        <a:buFont typeface="Arial"/>
        <a:buChar char="•"/>
        <a:defRPr sz="2133" kern="1200">
          <a:solidFill>
            <a:schemeClr val="tx1"/>
          </a:solidFill>
          <a:latin typeface="Verdana"/>
          <a:ea typeface="+mn-ea"/>
          <a:cs typeface="Verdana"/>
        </a:defRPr>
      </a:lvl1pPr>
      <a:lvl2pPr marL="990550" indent="-380981" algn="l" defTabSz="609570" rtl="0" eaLnBrk="1" latinLnBrk="0" hangingPunct="1">
        <a:spcBef>
          <a:spcPct val="20000"/>
        </a:spcBef>
        <a:buFont typeface="Arial"/>
        <a:buChar char="–"/>
        <a:defRPr sz="1600" kern="1200">
          <a:solidFill>
            <a:schemeClr val="tx1"/>
          </a:solidFill>
          <a:latin typeface="Verdana"/>
          <a:ea typeface="+mn-ea"/>
          <a:cs typeface="Verdana"/>
        </a:defRPr>
      </a:lvl2pPr>
      <a:lvl3pPr marL="1523925" indent="-304784" algn="l" defTabSz="609570" rtl="0" eaLnBrk="1" latinLnBrk="0" hangingPunct="1">
        <a:spcBef>
          <a:spcPct val="20000"/>
        </a:spcBef>
        <a:buFont typeface="Arial"/>
        <a:buChar char="•"/>
        <a:defRPr sz="1067" kern="1200">
          <a:solidFill>
            <a:schemeClr val="tx1"/>
          </a:solidFill>
          <a:latin typeface="Verdana"/>
          <a:ea typeface="+mn-ea"/>
          <a:cs typeface="Verdana"/>
        </a:defRPr>
      </a:lvl3pPr>
      <a:lvl4pPr marL="2133493" indent="-304784" algn="l" defTabSz="609570" rtl="0" eaLnBrk="1" latinLnBrk="0" hangingPunct="1">
        <a:spcBef>
          <a:spcPct val="20000"/>
        </a:spcBef>
        <a:buFont typeface="Arial"/>
        <a:buChar char="–"/>
        <a:defRPr sz="1333" i="1" kern="1200" cap="all">
          <a:solidFill>
            <a:schemeClr val="tx1"/>
          </a:solidFill>
          <a:latin typeface="Georgia"/>
          <a:ea typeface="+mn-ea"/>
          <a:cs typeface="Georgia"/>
        </a:defRPr>
      </a:lvl4pPr>
      <a:lvl5pPr marL="2743062" indent="-304784" algn="l" defTabSz="609570" rtl="0" eaLnBrk="1" latinLnBrk="0" hangingPunct="1">
        <a:spcBef>
          <a:spcPct val="20000"/>
        </a:spcBef>
        <a:buFont typeface="Arial"/>
        <a:buChar char="»"/>
        <a:defRPr sz="2133" i="1" kern="1200">
          <a:solidFill>
            <a:schemeClr val="tx1"/>
          </a:solidFill>
          <a:latin typeface="Georgia"/>
          <a:ea typeface="+mn-ea"/>
          <a:cs typeface="Georgia"/>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de-DE"/>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Afbeelding 14"/>
          <p:cNvPicPr>
            <a:picLocks noChangeAspect="1"/>
          </p:cNvPicPr>
          <p:nvPr userDrawn="1"/>
        </p:nvPicPr>
        <p:blipFill rotWithShape="1">
          <a:blip r:embed="rId3">
            <a:extLst>
              <a:ext uri="{28A0092B-C50C-407E-A947-70E740481C1C}">
                <a14:useLocalDpi xmlns:a14="http://schemas.microsoft.com/office/drawing/2010/main" val="0"/>
              </a:ext>
            </a:extLst>
          </a:blip>
          <a:srcRect l="22458" t="50344" r="39441" b="7889"/>
          <a:stretch/>
        </p:blipFill>
        <p:spPr>
          <a:xfrm>
            <a:off x="-1" y="3000258"/>
            <a:ext cx="12192001" cy="3857743"/>
          </a:xfrm>
          <a:prstGeom prst="rect">
            <a:avLst/>
          </a:prstGeom>
        </p:spPr>
      </p:pic>
      <p:pic>
        <p:nvPicPr>
          <p:cNvPr id="17" name="Afbeelding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6556" y="744535"/>
            <a:ext cx="3082713" cy="1693924"/>
          </a:xfrm>
          <a:prstGeom prst="rect">
            <a:avLst/>
          </a:prstGeom>
        </p:spPr>
      </p:pic>
    </p:spTree>
    <p:extLst>
      <p:ext uri="{BB962C8B-B14F-4D97-AF65-F5344CB8AC3E}">
        <p14:creationId xmlns:p14="http://schemas.microsoft.com/office/powerpoint/2010/main" val="1571503107"/>
      </p:ext>
    </p:extLst>
  </p:cSld>
  <p:clrMap bg1="lt1" tx1="dk1" bg2="lt2" tx2="dk2" accent1="accent1" accent2="accent2" accent3="accent3" accent4="accent4" accent5="accent5" accent6="accent6" hlink="hlink" folHlink="folHlink"/>
  <p:sldLayoutIdLst>
    <p:sldLayoutId id="2147483821" r:id="rId1"/>
  </p:sldLayoutIdLst>
  <p:txStyles>
    <p:titleStyle>
      <a:lvl1pPr algn="l" defTabSz="914377" rtl="0" eaLnBrk="1" latinLnBrk="0" hangingPunct="1">
        <a:lnSpc>
          <a:spcPct val="90000"/>
        </a:lnSpc>
        <a:spcBef>
          <a:spcPct val="0"/>
        </a:spcBef>
        <a:buNone/>
        <a:defRPr sz="4267" b="1" i="0" kern="1200">
          <a:solidFill>
            <a:schemeClr val="bg2"/>
          </a:solidFill>
          <a:latin typeface="Calibri" charset="0"/>
          <a:ea typeface="Calibri" charset="0"/>
          <a:cs typeface="Calibri" charset="0"/>
        </a:defRPr>
      </a:lvl1pPr>
    </p:titleStyle>
    <p:bodyStyle>
      <a:lvl1pPr marL="0" indent="0" algn="l" defTabSz="914377" rtl="0" eaLnBrk="1" latinLnBrk="0" hangingPunct="1">
        <a:lnSpc>
          <a:spcPts val="3733"/>
        </a:lnSpc>
        <a:spcBef>
          <a:spcPts val="0"/>
        </a:spcBef>
        <a:buClr>
          <a:srgbClr val="6EAB37"/>
        </a:buClr>
        <a:buFont typeface="Lucida Grande"/>
        <a:buNone/>
        <a:defRPr sz="2667" b="0" i="0" kern="1200">
          <a:solidFill>
            <a:schemeClr val="bg2"/>
          </a:solidFill>
          <a:latin typeface="Arial Standaard"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nl-NL"/>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Driehoek 6"/>
          <p:cNvSpPr/>
          <p:nvPr userDrawn="1"/>
        </p:nvSpPr>
        <p:spPr>
          <a:xfrm rot="5400000">
            <a:off x="-32087" y="896087"/>
            <a:ext cx="465267" cy="40109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nl-NL" sz="2400"/>
          </a:p>
        </p:txBody>
      </p:sp>
    </p:spTree>
    <p:extLst>
      <p:ext uri="{BB962C8B-B14F-4D97-AF65-F5344CB8AC3E}">
        <p14:creationId xmlns:p14="http://schemas.microsoft.com/office/powerpoint/2010/main" val="1721887945"/>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6" r:id="rId3"/>
  </p:sldLayoutIdLst>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1905122"/>
      </p:ext>
    </p:extLst>
  </p:cSld>
  <p:clrMap bg1="lt1" tx1="dk1" bg2="lt2" tx2="dk2" accent1="accent1" accent2="accent2" accent3="accent3" accent4="accent4" accent5="accent5" accent6="accent6" hlink="hlink" folHlink="folHlink"/>
  <p:sldLayoutIdLst>
    <p:sldLayoutId id="2147483828" r:id="rId1"/>
    <p:sldLayoutId id="2147483829" r:id="rId2"/>
  </p:sldLayoutIdLst>
  <p:txStyles>
    <p:titleStyle>
      <a:lvl1pPr algn="l" defTabSz="914377" rtl="0" eaLnBrk="1" latinLnBrk="0" hangingPunct="1">
        <a:lnSpc>
          <a:spcPct val="90000"/>
        </a:lnSpc>
        <a:spcBef>
          <a:spcPct val="0"/>
        </a:spcBef>
        <a:buNone/>
        <a:defRPr sz="3733" kern="1200">
          <a:solidFill>
            <a:schemeClr val="tx1"/>
          </a:solidFill>
          <a:latin typeface="+mj-lt"/>
          <a:ea typeface="+mj-ea"/>
          <a:cs typeface="+mj-cs"/>
        </a:defRPr>
      </a:lvl1pPr>
    </p:titleStyle>
    <p:bodyStyle>
      <a:lvl1pPr marL="383990" indent="-383990" algn="l" defTabSz="914377" rtl="0" eaLnBrk="1" latinLnBrk="0" hangingPunct="1">
        <a:lnSpc>
          <a:spcPts val="3733"/>
        </a:lnSpc>
        <a:spcBef>
          <a:spcPts val="0"/>
        </a:spcBef>
        <a:buClr>
          <a:srgbClr val="6EAB37"/>
        </a:buClr>
        <a:buFont typeface="Lucida Grande"/>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nl-NL"/>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Afbeelding 6"/>
          <p:cNvPicPr>
            <a:picLocks noChangeAspect="1"/>
          </p:cNvPicPr>
          <p:nvPr userDrawn="1"/>
        </p:nvPicPr>
        <p:blipFill rotWithShape="1">
          <a:blip r:embed="rId3">
            <a:extLst>
              <a:ext uri="{28A0092B-C50C-407E-A947-70E740481C1C}">
                <a14:useLocalDpi xmlns:a14="http://schemas.microsoft.com/office/drawing/2010/main" val="0"/>
              </a:ext>
            </a:extLst>
          </a:blip>
          <a:srcRect l="-1571" t="14855" r="37481" b="-3888"/>
          <a:stretch/>
        </p:blipFill>
        <p:spPr>
          <a:xfrm>
            <a:off x="5082864" y="1784448"/>
            <a:ext cx="7109137" cy="2850523"/>
          </a:xfrm>
          <a:prstGeom prst="rect">
            <a:avLst/>
          </a:prstGeom>
        </p:spPr>
      </p:pic>
      <p:pic>
        <p:nvPicPr>
          <p:cNvPr id="4" name="Afbeelding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791" y="2337297"/>
            <a:ext cx="3881959" cy="2133103"/>
          </a:xfrm>
          <a:prstGeom prst="rect">
            <a:avLst/>
          </a:prstGeom>
        </p:spPr>
      </p:pic>
    </p:spTree>
    <p:extLst>
      <p:ext uri="{BB962C8B-B14F-4D97-AF65-F5344CB8AC3E}">
        <p14:creationId xmlns:p14="http://schemas.microsoft.com/office/powerpoint/2010/main" val="574054922"/>
      </p:ext>
    </p:extLst>
  </p:cSld>
  <p:clrMap bg1="lt1" tx1="dk1" bg2="lt2" tx2="dk2" accent1="accent1" accent2="accent2" accent3="accent3" accent4="accent4" accent5="accent5" accent6="accent6" hlink="hlink" folHlink="folHlink"/>
  <p:sldLayoutIdLst>
    <p:sldLayoutId id="2147483831" r:id="rId1"/>
  </p:sldLayoutIdLst>
  <p:txStyles>
    <p:titleStyle>
      <a:lvl1pPr algn="ctr" defTabSz="914377" rtl="0" eaLnBrk="1" latinLnBrk="0" hangingPunct="1">
        <a:lnSpc>
          <a:spcPct val="90000"/>
        </a:lnSpc>
        <a:spcBef>
          <a:spcPct val="0"/>
        </a:spcBef>
        <a:buNone/>
        <a:defRPr sz="3733" b="1" i="0" kern="1200">
          <a:solidFill>
            <a:schemeClr val="bg1"/>
          </a:solidFill>
          <a:latin typeface="Arial Vet" charset="0"/>
          <a:ea typeface="+mj-ea"/>
          <a:cs typeface="+mj-cs"/>
        </a:defRPr>
      </a:lvl1pPr>
    </p:titleStyle>
    <p:bodyStyle>
      <a:lvl1pPr marL="383990" indent="-383990" algn="l" defTabSz="914377" rtl="0" eaLnBrk="1" latinLnBrk="0" hangingPunct="1">
        <a:lnSpc>
          <a:spcPts val="3733"/>
        </a:lnSpc>
        <a:spcBef>
          <a:spcPts val="0"/>
        </a:spcBef>
        <a:buClr>
          <a:srgbClr val="6EAB37"/>
        </a:buClr>
        <a:buFont typeface="Lucida Grande"/>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nl-NL"/>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notesSlide" Target="../notesSlides/notesSlide1.xml"/><Relationship Id="rId9" Type="http://schemas.openxmlformats.org/officeDocument/2006/relationships/image" Target="../media/image1.png"/></Relationships>
</file>

<file path=ppt/slides/_rels/slide10.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167.jpeg"/><Relationship Id="rId18" Type="http://schemas.openxmlformats.org/officeDocument/2006/relationships/image" Target="../media/image171.png"/><Relationship Id="rId26" Type="http://schemas.openxmlformats.org/officeDocument/2006/relationships/image" Target="../media/image179.jpeg"/><Relationship Id="rId3" Type="http://schemas.openxmlformats.org/officeDocument/2006/relationships/image" Target="../media/image157.png"/><Relationship Id="rId21" Type="http://schemas.openxmlformats.org/officeDocument/2006/relationships/image" Target="../media/image174.jpeg"/><Relationship Id="rId34" Type="http://schemas.openxmlformats.org/officeDocument/2006/relationships/image" Target="../media/image187.png"/><Relationship Id="rId7" Type="http://schemas.openxmlformats.org/officeDocument/2006/relationships/image" Target="../media/image161.png"/><Relationship Id="rId12" Type="http://schemas.openxmlformats.org/officeDocument/2006/relationships/image" Target="../media/image166.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2" Type="http://schemas.openxmlformats.org/officeDocument/2006/relationships/image" Target="../media/image156.png"/><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1" Type="http://schemas.openxmlformats.org/officeDocument/2006/relationships/slideLayout" Target="../slideLayouts/slideLayout63.xml"/><Relationship Id="rId6" Type="http://schemas.openxmlformats.org/officeDocument/2006/relationships/image" Target="../media/image160.png"/><Relationship Id="rId11" Type="http://schemas.openxmlformats.org/officeDocument/2006/relationships/image" Target="../media/image165.png"/><Relationship Id="rId24" Type="http://schemas.openxmlformats.org/officeDocument/2006/relationships/image" Target="../media/image177.png"/><Relationship Id="rId32" Type="http://schemas.openxmlformats.org/officeDocument/2006/relationships/image" Target="../media/image185.png"/><Relationship Id="rId5" Type="http://schemas.openxmlformats.org/officeDocument/2006/relationships/image" Target="../media/image159.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gif"/><Relationship Id="rId10" Type="http://schemas.openxmlformats.org/officeDocument/2006/relationships/image" Target="../media/image164.png"/><Relationship Id="rId19" Type="http://schemas.openxmlformats.org/officeDocument/2006/relationships/image" Target="../media/image172.jpeg"/><Relationship Id="rId31" Type="http://schemas.openxmlformats.org/officeDocument/2006/relationships/image" Target="../media/image184.png"/><Relationship Id="rId4" Type="http://schemas.openxmlformats.org/officeDocument/2006/relationships/image" Target="../media/image158.jpeg"/><Relationship Id="rId9" Type="http://schemas.openxmlformats.org/officeDocument/2006/relationships/image" Target="../media/image163.png"/><Relationship Id="rId14" Type="http://schemas.openxmlformats.org/officeDocument/2006/relationships/image" Target="../media/image103.png"/><Relationship Id="rId22" Type="http://schemas.openxmlformats.org/officeDocument/2006/relationships/image" Target="../media/image175.gif"/><Relationship Id="rId27" Type="http://schemas.openxmlformats.org/officeDocument/2006/relationships/image" Target="../media/image180.png"/><Relationship Id="rId30" Type="http://schemas.openxmlformats.org/officeDocument/2006/relationships/image" Target="../media/image18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image" Target="../media/image25.jpg"/><Relationship Id="rId1" Type="http://schemas.openxmlformats.org/officeDocument/2006/relationships/slideLayout" Target="../slideLayouts/slideLayout69.xml"/><Relationship Id="rId5" Type="http://schemas.openxmlformats.org/officeDocument/2006/relationships/image" Target="../media/image190.jpeg"/><Relationship Id="rId4" Type="http://schemas.openxmlformats.org/officeDocument/2006/relationships/image" Target="../media/image189.png"/></Relationships>
</file>

<file path=ppt/slides/_rels/slide13.xml.rels><?xml version="1.0" encoding="UTF-8" standalone="yes"?>
<Relationships xmlns="http://schemas.openxmlformats.org/package/2006/relationships"><Relationship Id="rId8" Type="http://schemas.openxmlformats.org/officeDocument/2006/relationships/image" Target="../media/image26.jpg"/><Relationship Id="rId13" Type="http://schemas.openxmlformats.org/officeDocument/2006/relationships/image" Target="../media/image200.png"/><Relationship Id="rId18" Type="http://schemas.openxmlformats.org/officeDocument/2006/relationships/image" Target="../media/image205.svg"/><Relationship Id="rId3" Type="http://schemas.openxmlformats.org/officeDocument/2006/relationships/image" Target="../media/image191.png"/><Relationship Id="rId21" Type="http://schemas.openxmlformats.org/officeDocument/2006/relationships/image" Target="../media/image208.png"/><Relationship Id="rId7" Type="http://schemas.openxmlformats.org/officeDocument/2006/relationships/image" Target="../media/image195.png"/><Relationship Id="rId12" Type="http://schemas.openxmlformats.org/officeDocument/2006/relationships/image" Target="../media/image199.svg"/><Relationship Id="rId17" Type="http://schemas.openxmlformats.org/officeDocument/2006/relationships/image" Target="../media/image204.png"/><Relationship Id="rId2" Type="http://schemas.openxmlformats.org/officeDocument/2006/relationships/notesSlide" Target="../notesSlides/notesSlide5.xml"/><Relationship Id="rId16" Type="http://schemas.openxmlformats.org/officeDocument/2006/relationships/image" Target="../media/image203.svg"/><Relationship Id="rId20" Type="http://schemas.openxmlformats.org/officeDocument/2006/relationships/image" Target="../media/image207.svg"/><Relationship Id="rId1" Type="http://schemas.openxmlformats.org/officeDocument/2006/relationships/slideLayout" Target="../slideLayouts/slideLayout70.xml"/><Relationship Id="rId6" Type="http://schemas.openxmlformats.org/officeDocument/2006/relationships/image" Target="../media/image194.png"/><Relationship Id="rId11" Type="http://schemas.openxmlformats.org/officeDocument/2006/relationships/image" Target="../media/image198.png"/><Relationship Id="rId5" Type="http://schemas.openxmlformats.org/officeDocument/2006/relationships/image" Target="../media/image193.png"/><Relationship Id="rId15" Type="http://schemas.openxmlformats.org/officeDocument/2006/relationships/image" Target="../media/image202.png"/><Relationship Id="rId10" Type="http://schemas.openxmlformats.org/officeDocument/2006/relationships/image" Target="../media/image197.svg"/><Relationship Id="rId19" Type="http://schemas.openxmlformats.org/officeDocument/2006/relationships/image" Target="../media/image206.png"/><Relationship Id="rId4" Type="http://schemas.openxmlformats.org/officeDocument/2006/relationships/image" Target="../media/image192.png"/><Relationship Id="rId9" Type="http://schemas.openxmlformats.org/officeDocument/2006/relationships/image" Target="../media/image196.png"/><Relationship Id="rId14" Type="http://schemas.openxmlformats.org/officeDocument/2006/relationships/image" Target="../media/image201.svg"/><Relationship Id="rId22" Type="http://schemas.openxmlformats.org/officeDocument/2006/relationships/image" Target="../media/image209.svg"/></Relationships>
</file>

<file path=ppt/slides/_rels/slide14.xml.rels><?xml version="1.0" encoding="UTF-8" standalone="yes"?>
<Relationships xmlns="http://schemas.openxmlformats.org/package/2006/relationships"><Relationship Id="rId8" Type="http://schemas.openxmlformats.org/officeDocument/2006/relationships/image" Target="../media/image216.jpeg"/><Relationship Id="rId13" Type="http://schemas.openxmlformats.org/officeDocument/2006/relationships/image" Target="../media/image221.png"/><Relationship Id="rId18" Type="http://schemas.openxmlformats.org/officeDocument/2006/relationships/image" Target="../media/image226.png"/><Relationship Id="rId26" Type="http://schemas.openxmlformats.org/officeDocument/2006/relationships/image" Target="../media/image234.png"/><Relationship Id="rId3" Type="http://schemas.openxmlformats.org/officeDocument/2006/relationships/image" Target="../media/image211.jpg"/><Relationship Id="rId21" Type="http://schemas.openxmlformats.org/officeDocument/2006/relationships/image" Target="../media/image229.png"/><Relationship Id="rId34" Type="http://schemas.openxmlformats.org/officeDocument/2006/relationships/image" Target="../media/image239.jpeg"/><Relationship Id="rId7" Type="http://schemas.openxmlformats.org/officeDocument/2006/relationships/image" Target="../media/image215.png"/><Relationship Id="rId12" Type="http://schemas.openxmlformats.org/officeDocument/2006/relationships/image" Target="../media/image220.png"/><Relationship Id="rId17" Type="http://schemas.openxmlformats.org/officeDocument/2006/relationships/image" Target="../media/image225.png"/><Relationship Id="rId25" Type="http://schemas.openxmlformats.org/officeDocument/2006/relationships/image" Target="../media/image233.png"/><Relationship Id="rId33" Type="http://schemas.openxmlformats.org/officeDocument/2006/relationships/image" Target="../media/image26.jpg"/><Relationship Id="rId2" Type="http://schemas.openxmlformats.org/officeDocument/2006/relationships/image" Target="../media/image210.png"/><Relationship Id="rId16" Type="http://schemas.openxmlformats.org/officeDocument/2006/relationships/image" Target="../media/image224.png"/><Relationship Id="rId20" Type="http://schemas.openxmlformats.org/officeDocument/2006/relationships/image" Target="../media/image228.png"/><Relationship Id="rId29" Type="http://schemas.openxmlformats.org/officeDocument/2006/relationships/hyperlink" Target="https://www.google.nl/imgres?imgurl=https://www.kmwe.com/wp-content/uploads/kmwe_logo_2018-12-07-01.svg&amp;imgrefurl=https://www.kmwe.com/&amp;docid=QyiIDcRMhGmKAM&amp;tbnid=WomQrKBF15y8_M:&amp;vet=10ahUKEwiArs7IrK3iAhXE26QKHUBJBH8QMwg_KAAwAA..i&amp;w=800&amp;h=523&amp;bih=1244&amp;biw=2400&amp;q=KMWE&amp;ved=0ahUKEwiArs7IrK3iAhXE26QKHUBJBH8QMwg_KAAwAA&amp;iact=mrc&amp;uact=8" TargetMode="External"/><Relationship Id="rId1" Type="http://schemas.openxmlformats.org/officeDocument/2006/relationships/slideLayout" Target="../slideLayouts/slideLayout70.xml"/><Relationship Id="rId6" Type="http://schemas.openxmlformats.org/officeDocument/2006/relationships/image" Target="../media/image214.jpg"/><Relationship Id="rId11" Type="http://schemas.openxmlformats.org/officeDocument/2006/relationships/image" Target="../media/image219.png"/><Relationship Id="rId24" Type="http://schemas.openxmlformats.org/officeDocument/2006/relationships/image" Target="../media/image232.jpeg"/><Relationship Id="rId32" Type="http://schemas.openxmlformats.org/officeDocument/2006/relationships/image" Target="../media/image238.png"/><Relationship Id="rId5" Type="http://schemas.openxmlformats.org/officeDocument/2006/relationships/image" Target="../media/image213.jpeg"/><Relationship Id="rId15" Type="http://schemas.openxmlformats.org/officeDocument/2006/relationships/image" Target="../media/image223.jpeg"/><Relationship Id="rId23" Type="http://schemas.openxmlformats.org/officeDocument/2006/relationships/image" Target="../media/image231.png"/><Relationship Id="rId28" Type="http://schemas.openxmlformats.org/officeDocument/2006/relationships/image" Target="../media/image236.jpg"/><Relationship Id="rId10" Type="http://schemas.openxmlformats.org/officeDocument/2006/relationships/image" Target="../media/image218.gif"/><Relationship Id="rId19" Type="http://schemas.openxmlformats.org/officeDocument/2006/relationships/image" Target="../media/image227.png"/><Relationship Id="rId31" Type="http://schemas.openxmlformats.org/officeDocument/2006/relationships/hyperlink" Target="https://www.google.nl/imgres?imgurl=https://pbs.twimg.com/profile_images/798115465386225664/bwUisQ8D_400x400.jpg&amp;imgrefurl=https://twitter.com/mcb_nl&amp;docid=mk5s5-D08c_mkM&amp;tbnid=xEW26ynFeaAjyM:&amp;vet=10ahUKEwik05LurK3iAhUnMewKHYBsD0YQMwhBKAAwAA..i&amp;w=400&amp;h=400&amp;bih=1244&amp;biw=2400&amp;q=mcb%20valkenswaard&amp;ved=0ahUKEwik05LurK3iAhUnMewKHYBsD0YQMwhBKAAwAA&amp;iact=mrc&amp;uact=8" TargetMode="External"/><Relationship Id="rId4" Type="http://schemas.openxmlformats.org/officeDocument/2006/relationships/image" Target="../media/image212.jpg"/><Relationship Id="rId9" Type="http://schemas.openxmlformats.org/officeDocument/2006/relationships/image" Target="../media/image217.jpeg"/><Relationship Id="rId14" Type="http://schemas.openxmlformats.org/officeDocument/2006/relationships/image" Target="../media/image222.png"/><Relationship Id="rId22" Type="http://schemas.openxmlformats.org/officeDocument/2006/relationships/image" Target="../media/image230.png"/><Relationship Id="rId27" Type="http://schemas.openxmlformats.org/officeDocument/2006/relationships/image" Target="../media/image235.png"/><Relationship Id="rId30" Type="http://schemas.openxmlformats.org/officeDocument/2006/relationships/image" Target="../media/image237.png"/><Relationship Id="rId35" Type="http://schemas.openxmlformats.org/officeDocument/2006/relationships/image" Target="../media/image240.png"/></Relationships>
</file>

<file path=ppt/slides/_rels/slide15.xml.rels><?xml version="1.0" encoding="UTF-8" standalone="yes"?>
<Relationships xmlns="http://schemas.openxmlformats.org/package/2006/relationships"><Relationship Id="rId3" Type="http://schemas.openxmlformats.org/officeDocument/2006/relationships/image" Target="../media/image241.jpeg"/><Relationship Id="rId2" Type="http://schemas.openxmlformats.org/officeDocument/2006/relationships/notesSlide" Target="../notesSlides/notesSlide6.xml"/><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image" Target="../media/image243.svg"/><Relationship Id="rId2" Type="http://schemas.openxmlformats.org/officeDocument/2006/relationships/image" Target="../media/image242.png"/><Relationship Id="rId1" Type="http://schemas.openxmlformats.org/officeDocument/2006/relationships/slideLayout" Target="../slideLayouts/slideLayout70.xml"/><Relationship Id="rId6" Type="http://schemas.openxmlformats.org/officeDocument/2006/relationships/image" Target="../media/image245.svg"/><Relationship Id="rId5" Type="http://schemas.openxmlformats.org/officeDocument/2006/relationships/image" Target="../media/image26.jpg"/><Relationship Id="rId4" Type="http://schemas.openxmlformats.org/officeDocument/2006/relationships/image" Target="../media/image244.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notesSlide" Target="../notesSlides/notesSlide8.xml"/><Relationship Id="rId9" Type="http://schemas.openxmlformats.org/officeDocument/2006/relationships/image" Target="../media/image1.png"/></Relationships>
</file>

<file path=ppt/slides/_rels/slide2.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7.png"/><Relationship Id="rId18" Type="http://schemas.openxmlformats.org/officeDocument/2006/relationships/image" Target="../media/image42.svg"/><Relationship Id="rId26" Type="http://schemas.openxmlformats.org/officeDocument/2006/relationships/image" Target="../media/image50.svg"/><Relationship Id="rId3" Type="http://schemas.openxmlformats.org/officeDocument/2006/relationships/image" Target="../media/image2.png"/><Relationship Id="rId21" Type="http://schemas.openxmlformats.org/officeDocument/2006/relationships/image" Target="../media/image45.png"/><Relationship Id="rId7" Type="http://schemas.openxmlformats.org/officeDocument/2006/relationships/image" Target="../media/image31.png"/><Relationship Id="rId12" Type="http://schemas.openxmlformats.org/officeDocument/2006/relationships/image" Target="../media/image36.svg"/><Relationship Id="rId17" Type="http://schemas.openxmlformats.org/officeDocument/2006/relationships/image" Target="../media/image41.png"/><Relationship Id="rId25" Type="http://schemas.openxmlformats.org/officeDocument/2006/relationships/image" Target="../media/image49.png"/><Relationship Id="rId2" Type="http://schemas.openxmlformats.org/officeDocument/2006/relationships/image" Target="../media/image8.png"/><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slideLayout" Target="../slideLayouts/slideLayout13.xml"/><Relationship Id="rId6" Type="http://schemas.openxmlformats.org/officeDocument/2006/relationships/image" Target="../media/image30.svg"/><Relationship Id="rId11" Type="http://schemas.openxmlformats.org/officeDocument/2006/relationships/image" Target="../media/image35.png"/><Relationship Id="rId24" Type="http://schemas.openxmlformats.org/officeDocument/2006/relationships/image" Target="../media/image48.svg"/><Relationship Id="rId5" Type="http://schemas.openxmlformats.org/officeDocument/2006/relationships/image" Target="../media/image29.png"/><Relationship Id="rId15" Type="http://schemas.openxmlformats.org/officeDocument/2006/relationships/image" Target="../media/image39.png"/><Relationship Id="rId23" Type="http://schemas.openxmlformats.org/officeDocument/2006/relationships/image" Target="../media/image47.png"/><Relationship Id="rId10" Type="http://schemas.openxmlformats.org/officeDocument/2006/relationships/image" Target="../media/image34.svg"/><Relationship Id="rId19" Type="http://schemas.openxmlformats.org/officeDocument/2006/relationships/image" Target="../media/image43.png"/><Relationship Id="rId4" Type="http://schemas.openxmlformats.org/officeDocument/2006/relationships/image" Target="../media/image1.png"/><Relationship Id="rId9" Type="http://schemas.openxmlformats.org/officeDocument/2006/relationships/image" Target="../media/image33.png"/><Relationship Id="rId14" Type="http://schemas.openxmlformats.org/officeDocument/2006/relationships/image" Target="../media/image38.svg"/><Relationship Id="rId22" Type="http://schemas.openxmlformats.org/officeDocument/2006/relationships/image" Target="../media/image46.svg"/></Relationships>
</file>

<file path=ppt/slides/_rels/slide3.xml.rels><?xml version="1.0" encoding="UTF-8" standalone="yes"?>
<Relationships xmlns="http://schemas.openxmlformats.org/package/2006/relationships"><Relationship Id="rId8" Type="http://schemas.openxmlformats.org/officeDocument/2006/relationships/slide" Target="slide10.xml"/><Relationship Id="rId3" Type="http://schemas.openxmlformats.org/officeDocument/2006/relationships/slide" Target="slide4.xml"/><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png"/><Relationship Id="rId5" Type="http://schemas.openxmlformats.org/officeDocument/2006/relationships/image" Target="../media/image2.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png"/><Relationship Id="rId5" Type="http://schemas.openxmlformats.org/officeDocument/2006/relationships/image" Target="../media/image2.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6" Type="http://schemas.openxmlformats.org/officeDocument/2006/relationships/image" Target="../media/image77.png"/><Relationship Id="rId21" Type="http://schemas.openxmlformats.org/officeDocument/2006/relationships/image" Target="../media/image72.jpeg"/><Relationship Id="rId34" Type="http://schemas.openxmlformats.org/officeDocument/2006/relationships/image" Target="../media/image85.png"/><Relationship Id="rId42" Type="http://schemas.openxmlformats.org/officeDocument/2006/relationships/image" Target="../media/image93.jpeg"/><Relationship Id="rId47" Type="http://schemas.openxmlformats.org/officeDocument/2006/relationships/image" Target="../media/image97.png"/><Relationship Id="rId50" Type="http://schemas.openxmlformats.org/officeDocument/2006/relationships/image" Target="../media/image100.png"/><Relationship Id="rId55" Type="http://schemas.openxmlformats.org/officeDocument/2006/relationships/image" Target="../media/image105.png"/><Relationship Id="rId63" Type="http://schemas.openxmlformats.org/officeDocument/2006/relationships/image" Target="../media/image113.png"/><Relationship Id="rId68" Type="http://schemas.openxmlformats.org/officeDocument/2006/relationships/image" Target="../media/image118.png"/><Relationship Id="rId76" Type="http://schemas.openxmlformats.org/officeDocument/2006/relationships/image" Target="../media/image126.png"/><Relationship Id="rId84" Type="http://schemas.openxmlformats.org/officeDocument/2006/relationships/image" Target="../media/image134.jpeg"/><Relationship Id="rId89" Type="http://schemas.openxmlformats.org/officeDocument/2006/relationships/image" Target="../media/image139.png"/><Relationship Id="rId97" Type="http://schemas.openxmlformats.org/officeDocument/2006/relationships/image" Target="../media/image147.png"/><Relationship Id="rId7" Type="http://schemas.openxmlformats.org/officeDocument/2006/relationships/image" Target="../media/image58.gif"/><Relationship Id="rId71" Type="http://schemas.openxmlformats.org/officeDocument/2006/relationships/image" Target="../media/image121.png"/><Relationship Id="rId92" Type="http://schemas.openxmlformats.org/officeDocument/2006/relationships/image" Target="../media/image142.png"/><Relationship Id="rId2" Type="http://schemas.openxmlformats.org/officeDocument/2006/relationships/image" Target="../media/image53.jpeg"/><Relationship Id="rId16" Type="http://schemas.openxmlformats.org/officeDocument/2006/relationships/image" Target="../media/image67.png"/><Relationship Id="rId29" Type="http://schemas.openxmlformats.org/officeDocument/2006/relationships/image" Target="../media/image80.png"/><Relationship Id="rId11" Type="http://schemas.openxmlformats.org/officeDocument/2006/relationships/image" Target="../media/image62.png"/><Relationship Id="rId24" Type="http://schemas.openxmlformats.org/officeDocument/2006/relationships/image" Target="../media/image75.png"/><Relationship Id="rId32" Type="http://schemas.openxmlformats.org/officeDocument/2006/relationships/image" Target="../media/image83.png"/><Relationship Id="rId37" Type="http://schemas.openxmlformats.org/officeDocument/2006/relationships/image" Target="../media/image88.jpeg"/><Relationship Id="rId40" Type="http://schemas.openxmlformats.org/officeDocument/2006/relationships/image" Target="../media/image91.png"/><Relationship Id="rId45" Type="http://schemas.openxmlformats.org/officeDocument/2006/relationships/image" Target="../media/image95.png"/><Relationship Id="rId53" Type="http://schemas.openxmlformats.org/officeDocument/2006/relationships/image" Target="../media/image103.png"/><Relationship Id="rId58" Type="http://schemas.openxmlformats.org/officeDocument/2006/relationships/image" Target="../media/image108.jpeg"/><Relationship Id="rId66" Type="http://schemas.openxmlformats.org/officeDocument/2006/relationships/image" Target="../media/image116.png"/><Relationship Id="rId74" Type="http://schemas.openxmlformats.org/officeDocument/2006/relationships/image" Target="../media/image124.jpeg"/><Relationship Id="rId79" Type="http://schemas.openxmlformats.org/officeDocument/2006/relationships/image" Target="../media/image129.png"/><Relationship Id="rId87" Type="http://schemas.openxmlformats.org/officeDocument/2006/relationships/image" Target="../media/image137.png"/><Relationship Id="rId5" Type="http://schemas.openxmlformats.org/officeDocument/2006/relationships/image" Target="../media/image56.png"/><Relationship Id="rId61" Type="http://schemas.openxmlformats.org/officeDocument/2006/relationships/image" Target="../media/image111.gif"/><Relationship Id="rId82" Type="http://schemas.openxmlformats.org/officeDocument/2006/relationships/image" Target="../media/image132.png"/><Relationship Id="rId90" Type="http://schemas.openxmlformats.org/officeDocument/2006/relationships/image" Target="../media/image140.png"/><Relationship Id="rId95" Type="http://schemas.openxmlformats.org/officeDocument/2006/relationships/image" Target="../media/image145.png"/><Relationship Id="rId19" Type="http://schemas.openxmlformats.org/officeDocument/2006/relationships/image" Target="../media/image70.png"/><Relationship Id="rId14" Type="http://schemas.openxmlformats.org/officeDocument/2006/relationships/image" Target="../media/image65.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81.png"/><Relationship Id="rId35" Type="http://schemas.openxmlformats.org/officeDocument/2006/relationships/image" Target="../media/image86.jpeg"/><Relationship Id="rId43" Type="http://schemas.openxmlformats.org/officeDocument/2006/relationships/image" Target="../media/image94.png"/><Relationship Id="rId48" Type="http://schemas.openxmlformats.org/officeDocument/2006/relationships/image" Target="../media/image98.png"/><Relationship Id="rId56" Type="http://schemas.openxmlformats.org/officeDocument/2006/relationships/image" Target="../media/image106.png"/><Relationship Id="rId64" Type="http://schemas.openxmlformats.org/officeDocument/2006/relationships/image" Target="../media/image114.png"/><Relationship Id="rId69" Type="http://schemas.openxmlformats.org/officeDocument/2006/relationships/image" Target="../media/image119.png"/><Relationship Id="rId77" Type="http://schemas.openxmlformats.org/officeDocument/2006/relationships/image" Target="../media/image127.png"/><Relationship Id="rId100" Type="http://schemas.openxmlformats.org/officeDocument/2006/relationships/image" Target="../media/image150.png"/><Relationship Id="rId8" Type="http://schemas.openxmlformats.org/officeDocument/2006/relationships/image" Target="../media/image59.png"/><Relationship Id="rId51" Type="http://schemas.openxmlformats.org/officeDocument/2006/relationships/image" Target="../media/image101.png"/><Relationship Id="rId72" Type="http://schemas.openxmlformats.org/officeDocument/2006/relationships/image" Target="../media/image122.jpeg"/><Relationship Id="rId80" Type="http://schemas.openxmlformats.org/officeDocument/2006/relationships/image" Target="../media/image130.png"/><Relationship Id="rId85" Type="http://schemas.openxmlformats.org/officeDocument/2006/relationships/image" Target="../media/image135.png"/><Relationship Id="rId93" Type="http://schemas.openxmlformats.org/officeDocument/2006/relationships/image" Target="../media/image143.png"/><Relationship Id="rId98" Type="http://schemas.openxmlformats.org/officeDocument/2006/relationships/image" Target="../media/image148.png"/><Relationship Id="rId3" Type="http://schemas.openxmlformats.org/officeDocument/2006/relationships/image" Target="../media/image54.png"/><Relationship Id="rId12" Type="http://schemas.openxmlformats.org/officeDocument/2006/relationships/image" Target="../media/image63.png"/><Relationship Id="rId17" Type="http://schemas.openxmlformats.org/officeDocument/2006/relationships/image" Target="../media/image68.png"/><Relationship Id="rId25" Type="http://schemas.openxmlformats.org/officeDocument/2006/relationships/image" Target="../media/image76.gif"/><Relationship Id="rId33" Type="http://schemas.openxmlformats.org/officeDocument/2006/relationships/image" Target="../media/image84.png"/><Relationship Id="rId38" Type="http://schemas.openxmlformats.org/officeDocument/2006/relationships/image" Target="../media/image89.png"/><Relationship Id="rId46" Type="http://schemas.openxmlformats.org/officeDocument/2006/relationships/image" Target="../media/image96.png"/><Relationship Id="rId59" Type="http://schemas.openxmlformats.org/officeDocument/2006/relationships/image" Target="../media/image109.jpeg"/><Relationship Id="rId67" Type="http://schemas.openxmlformats.org/officeDocument/2006/relationships/image" Target="../media/image117.png"/><Relationship Id="rId20" Type="http://schemas.openxmlformats.org/officeDocument/2006/relationships/image" Target="../media/image71.png"/><Relationship Id="rId41" Type="http://schemas.openxmlformats.org/officeDocument/2006/relationships/image" Target="../media/image92.png"/><Relationship Id="rId54" Type="http://schemas.openxmlformats.org/officeDocument/2006/relationships/image" Target="../media/image104.png"/><Relationship Id="rId62" Type="http://schemas.openxmlformats.org/officeDocument/2006/relationships/image" Target="../media/image112.jpeg"/><Relationship Id="rId70" Type="http://schemas.openxmlformats.org/officeDocument/2006/relationships/image" Target="../media/image120.png"/><Relationship Id="rId75" Type="http://schemas.openxmlformats.org/officeDocument/2006/relationships/image" Target="../media/image125.png"/><Relationship Id="rId83" Type="http://schemas.openxmlformats.org/officeDocument/2006/relationships/image" Target="../media/image133.png"/><Relationship Id="rId88" Type="http://schemas.openxmlformats.org/officeDocument/2006/relationships/image" Target="../media/image138.png"/><Relationship Id="rId91" Type="http://schemas.openxmlformats.org/officeDocument/2006/relationships/image" Target="../media/image141.png"/><Relationship Id="rId96" Type="http://schemas.openxmlformats.org/officeDocument/2006/relationships/image" Target="../media/image146.png"/><Relationship Id="rId1" Type="http://schemas.openxmlformats.org/officeDocument/2006/relationships/slideLayout" Target="../slideLayouts/slideLayout37.xml"/><Relationship Id="rId6" Type="http://schemas.openxmlformats.org/officeDocument/2006/relationships/image" Target="../media/image57.png"/><Relationship Id="rId15" Type="http://schemas.openxmlformats.org/officeDocument/2006/relationships/image" Target="../media/image66.png"/><Relationship Id="rId23" Type="http://schemas.openxmlformats.org/officeDocument/2006/relationships/image" Target="../media/image74.png"/><Relationship Id="rId28" Type="http://schemas.openxmlformats.org/officeDocument/2006/relationships/image" Target="../media/image79.png"/><Relationship Id="rId36" Type="http://schemas.openxmlformats.org/officeDocument/2006/relationships/image" Target="../media/image87.png"/><Relationship Id="rId49" Type="http://schemas.openxmlformats.org/officeDocument/2006/relationships/image" Target="../media/image99.png"/><Relationship Id="rId57" Type="http://schemas.openxmlformats.org/officeDocument/2006/relationships/image" Target="../media/image107.jpeg"/><Relationship Id="rId10" Type="http://schemas.openxmlformats.org/officeDocument/2006/relationships/image" Target="../media/image61.png"/><Relationship Id="rId31" Type="http://schemas.openxmlformats.org/officeDocument/2006/relationships/image" Target="../media/image82.png"/><Relationship Id="rId44" Type="http://schemas.openxmlformats.org/officeDocument/2006/relationships/hyperlink" Target="http://logenios.com/de" TargetMode="External"/><Relationship Id="rId52" Type="http://schemas.openxmlformats.org/officeDocument/2006/relationships/image" Target="../media/image102.png"/><Relationship Id="rId60" Type="http://schemas.openxmlformats.org/officeDocument/2006/relationships/image" Target="../media/image110.png"/><Relationship Id="rId65" Type="http://schemas.openxmlformats.org/officeDocument/2006/relationships/image" Target="../media/image115.png"/><Relationship Id="rId73" Type="http://schemas.openxmlformats.org/officeDocument/2006/relationships/image" Target="../media/image123.jpeg"/><Relationship Id="rId78" Type="http://schemas.openxmlformats.org/officeDocument/2006/relationships/image" Target="../media/image128.jpeg"/><Relationship Id="rId81" Type="http://schemas.openxmlformats.org/officeDocument/2006/relationships/image" Target="../media/image131.png"/><Relationship Id="rId86" Type="http://schemas.openxmlformats.org/officeDocument/2006/relationships/image" Target="../media/image136.png"/><Relationship Id="rId94" Type="http://schemas.openxmlformats.org/officeDocument/2006/relationships/image" Target="../media/image144.png"/><Relationship Id="rId99" Type="http://schemas.openxmlformats.org/officeDocument/2006/relationships/image" Target="../media/image149.png"/><Relationship Id="rId101" Type="http://schemas.openxmlformats.org/officeDocument/2006/relationships/image" Target="../media/image151.png"/><Relationship Id="rId4" Type="http://schemas.openxmlformats.org/officeDocument/2006/relationships/image" Target="../media/image55.png"/><Relationship Id="rId9" Type="http://schemas.openxmlformats.org/officeDocument/2006/relationships/image" Target="../media/image60.png"/><Relationship Id="rId13" Type="http://schemas.openxmlformats.org/officeDocument/2006/relationships/image" Target="../media/image64.png"/><Relationship Id="rId18" Type="http://schemas.openxmlformats.org/officeDocument/2006/relationships/image" Target="../media/image69.png"/><Relationship Id="rId39" Type="http://schemas.openxmlformats.org/officeDocument/2006/relationships/image" Target="../media/image90.jpeg"/></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notesSlide" Target="../notesSlides/notesSlide4.xml"/><Relationship Id="rId7" Type="http://schemas.openxmlformats.org/officeDocument/2006/relationships/diagramQuickStyle" Target="../diagrams/quickStyle1.xml"/><Relationship Id="rId2" Type="http://schemas.openxmlformats.org/officeDocument/2006/relationships/slideLayout" Target="../slideLayouts/slideLayout33.xml"/><Relationship Id="rId1" Type="http://schemas.openxmlformats.org/officeDocument/2006/relationships/tags" Target="../tags/tag4.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153.png"/><Relationship Id="rId4" Type="http://schemas.openxmlformats.org/officeDocument/2006/relationships/image" Target="../media/image152.png"/><Relationship Id="rId9" Type="http://schemas.microsoft.com/office/2007/relationships/diagramDrawing" Target="../diagrams/drawing1.xml"/></Relationships>
</file>

<file path=ppt/slides/_rels/slide8.xml.rels><?xml version="1.0" encoding="UTF-8" standalone="yes"?>
<Relationships xmlns="http://schemas.openxmlformats.org/package/2006/relationships"><Relationship Id="rId3" Type="http://schemas.openxmlformats.org/officeDocument/2006/relationships/image" Target="../media/image155.emf"/><Relationship Id="rId2" Type="http://schemas.openxmlformats.org/officeDocument/2006/relationships/image" Target="../media/image154.emf"/><Relationship Id="rId1" Type="http://schemas.openxmlformats.org/officeDocument/2006/relationships/slideLayout" Target="../slideLayouts/slideLayout29.xml"/><Relationship Id="rId4" Type="http://schemas.openxmlformats.org/officeDocument/2006/relationships/image" Target="../media/image15.emf"/></Relationships>
</file>

<file path=ppt/slides/_rels/slide9.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YPERLINK">
            <a:hlinkClick r:id="" action="ppaction://hlinkshowjump?jump=nextslide"/>
            <a:extLst>
              <a:ext uri="{FF2B5EF4-FFF2-40B4-BE49-F238E27FC236}">
                <a16:creationId xmlns:a16="http://schemas.microsoft.com/office/drawing/2014/main" id="{B8F77ABE-E9EC-4D1F-B6A1-AC2E7CC31FDF}"/>
              </a:ext>
            </a:extLst>
          </p:cNvPr>
          <p:cNvSpPr/>
          <p:nvPr/>
        </p:nvSpPr>
        <p:spPr>
          <a:xfrm>
            <a:off x="0" y="-4185"/>
            <a:ext cx="12192000" cy="6862185"/>
          </a:xfrm>
          <a:prstGeom prst="rect">
            <a:avLst/>
          </a:prstGeom>
          <a:solidFill>
            <a:schemeClr val="tx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63" name="Afbeelding 62">
            <a:extLst>
              <a:ext uri="{FF2B5EF4-FFF2-40B4-BE49-F238E27FC236}">
                <a16:creationId xmlns:a16="http://schemas.microsoft.com/office/drawing/2014/main" id="{F251832C-22CB-4F4F-AAAC-61B84B81338B}"/>
              </a:ext>
            </a:extLst>
          </p:cNvPr>
          <p:cNvPicPr>
            <a:picLocks noChangeAspect="1"/>
          </p:cNvPicPr>
          <p:nvPr/>
        </p:nvPicPr>
        <p:blipFill>
          <a:blip r:embed="rId5"/>
          <a:stretch>
            <a:fillRect/>
          </a:stretch>
        </p:blipFill>
        <p:spPr>
          <a:xfrm>
            <a:off x="2368" y="0"/>
            <a:ext cx="12187263" cy="6858000"/>
          </a:xfrm>
          <a:prstGeom prst="rect">
            <a:avLst/>
          </a:prstGeom>
        </p:spPr>
      </p:pic>
      <p:pic>
        <p:nvPicPr>
          <p:cNvPr id="3" name="TNO - VIDEO draaiende wereldbol 1">
            <a:hlinkClick r:id="" action="ppaction://media"/>
            <a:extLst>
              <a:ext uri="{FF2B5EF4-FFF2-40B4-BE49-F238E27FC236}">
                <a16:creationId xmlns:a16="http://schemas.microsoft.com/office/drawing/2014/main" id="{43B8AECF-9ABF-4FD7-8A3B-6C227168582F}"/>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0" y="0"/>
            <a:ext cx="12192000" cy="6858000"/>
          </a:xfrm>
          <a:prstGeom prst="rect">
            <a:avLst/>
          </a:prstGeom>
        </p:spPr>
      </p:pic>
      <p:sp>
        <p:nvSpPr>
          <p:cNvPr id="29" name="Titel 28">
            <a:extLst>
              <a:ext uri="{FF2B5EF4-FFF2-40B4-BE49-F238E27FC236}">
                <a16:creationId xmlns:a16="http://schemas.microsoft.com/office/drawing/2014/main" id="{9EDBFA51-4BD0-4FD3-871A-AC04F2A05FF9}"/>
              </a:ext>
            </a:extLst>
          </p:cNvPr>
          <p:cNvSpPr>
            <a:spLocks noGrp="1"/>
          </p:cNvSpPr>
          <p:nvPr>
            <p:ph type="title"/>
          </p:nvPr>
        </p:nvSpPr>
        <p:spPr/>
        <p:txBody>
          <a:bodyPr/>
          <a:lstStyle/>
          <a:p>
            <a:r>
              <a:rPr lang="nl-NL" dirty="0"/>
              <a:t>ICT &amp; Digital </a:t>
            </a:r>
            <a:r>
              <a:rPr lang="nl-NL" dirty="0" err="1"/>
              <a:t>innovations</a:t>
            </a:r>
            <a:r>
              <a:rPr lang="nl-NL" dirty="0"/>
              <a:t> @ TNO</a:t>
            </a:r>
          </a:p>
        </p:txBody>
      </p:sp>
      <p:sp>
        <p:nvSpPr>
          <p:cNvPr id="31" name="Tijdelijke aanduiding voor tekst 30">
            <a:extLst>
              <a:ext uri="{FF2B5EF4-FFF2-40B4-BE49-F238E27FC236}">
                <a16:creationId xmlns:a16="http://schemas.microsoft.com/office/drawing/2014/main" id="{EDF42F08-3BE1-4D67-948C-03EB9281DCAE}"/>
              </a:ext>
            </a:extLst>
          </p:cNvPr>
          <p:cNvSpPr>
            <a:spLocks noGrp="1"/>
          </p:cNvSpPr>
          <p:nvPr>
            <p:ph type="body" sz="quarter" idx="18"/>
          </p:nvPr>
        </p:nvSpPr>
        <p:spPr/>
        <p:txBody>
          <a:bodyPr/>
          <a:lstStyle/>
          <a:p>
            <a:r>
              <a:rPr lang="nl-NL" dirty="0"/>
              <a:t>Matthijs Punter </a:t>
            </a:r>
          </a:p>
        </p:txBody>
      </p:sp>
      <p:sp>
        <p:nvSpPr>
          <p:cNvPr id="33" name="Tijdelijke aanduiding voor tekst 32">
            <a:extLst>
              <a:ext uri="{FF2B5EF4-FFF2-40B4-BE49-F238E27FC236}">
                <a16:creationId xmlns:a16="http://schemas.microsoft.com/office/drawing/2014/main" id="{EB5F57F6-EA96-4109-BB58-63F93DF12FF6}"/>
              </a:ext>
            </a:extLst>
          </p:cNvPr>
          <p:cNvSpPr>
            <a:spLocks noGrp="1"/>
          </p:cNvSpPr>
          <p:nvPr>
            <p:ph type="body" sz="quarter" idx="15"/>
          </p:nvPr>
        </p:nvSpPr>
        <p:spPr/>
        <p:txBody>
          <a:bodyPr/>
          <a:lstStyle/>
          <a:p>
            <a:r>
              <a:rPr lang="nl-NL" dirty="0"/>
              <a:t> </a:t>
            </a:r>
          </a:p>
        </p:txBody>
      </p:sp>
      <p:sp>
        <p:nvSpPr>
          <p:cNvPr id="35" name="Tijdelijke aanduiding voor tekst 34">
            <a:extLst>
              <a:ext uri="{FF2B5EF4-FFF2-40B4-BE49-F238E27FC236}">
                <a16:creationId xmlns:a16="http://schemas.microsoft.com/office/drawing/2014/main" id="{C075697E-C269-4C1B-97A3-1663D4974E73}"/>
              </a:ext>
            </a:extLst>
          </p:cNvPr>
          <p:cNvSpPr>
            <a:spLocks noGrp="1"/>
          </p:cNvSpPr>
          <p:nvPr>
            <p:ph type="body" sz="quarter" idx="16"/>
          </p:nvPr>
        </p:nvSpPr>
        <p:spPr/>
        <p:txBody>
          <a:bodyPr/>
          <a:lstStyle/>
          <a:p>
            <a:r>
              <a:rPr lang="nl-NL" dirty="0"/>
              <a:t> </a:t>
            </a:r>
          </a:p>
        </p:txBody>
      </p:sp>
      <p:sp>
        <p:nvSpPr>
          <p:cNvPr id="12" name="Tijdelijke aanduiding voor tekst 25">
            <a:extLst>
              <a:ext uri="{FF2B5EF4-FFF2-40B4-BE49-F238E27FC236}">
                <a16:creationId xmlns:a16="http://schemas.microsoft.com/office/drawing/2014/main" id="{D38D8622-CED8-44D7-B4AF-BEAB2EE9C84B}"/>
              </a:ext>
            </a:extLst>
          </p:cNvPr>
          <p:cNvSpPr txBox="1">
            <a:spLocks/>
          </p:cNvSpPr>
          <p:nvPr/>
        </p:nvSpPr>
        <p:spPr>
          <a:xfrm>
            <a:off x="773280" y="549275"/>
            <a:ext cx="2822400" cy="504000"/>
          </a:xfrm>
          <a:prstGeom prst="rect">
            <a:avLst/>
          </a:prstGeom>
          <a:blipFill>
            <a:blip r:embed="rId7" cstate="hqprint">
              <a:extLst>
                <a:ext uri="{28A0092B-C50C-407E-A947-70E740481C1C}">
                  <a14:useLocalDpi xmlns:a14="http://schemas.microsoft.com/office/drawing/2010/main"/>
                </a:ext>
              </a:extLst>
            </a:blip>
            <a:stretch>
              <a:fillRect/>
            </a:stretch>
          </a:blipFill>
          <a:ln w="12700">
            <a:noFill/>
          </a:ln>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100" kern="1200">
                <a:solidFill>
                  <a:schemeClr val="bg1"/>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8"/>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9"/>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8"/>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nl-NL"/>
              <a:t> </a:t>
            </a:r>
            <a:endParaRPr lang="nl-NL" dirty="0"/>
          </a:p>
        </p:txBody>
      </p:sp>
      <p:grpSp>
        <p:nvGrpSpPr>
          <p:cNvPr id="11" name="ICOON1_ORANJE">
            <a:extLst>
              <a:ext uri="{FF2B5EF4-FFF2-40B4-BE49-F238E27FC236}">
                <a16:creationId xmlns:a16="http://schemas.microsoft.com/office/drawing/2014/main" id="{946E3F7F-6B33-49BA-BDC1-BC370E5030DD}"/>
              </a:ext>
            </a:extLst>
          </p:cNvPr>
          <p:cNvGrpSpPr/>
          <p:nvPr/>
        </p:nvGrpSpPr>
        <p:grpSpPr>
          <a:xfrm>
            <a:off x="10175394" y="3432916"/>
            <a:ext cx="281093" cy="281093"/>
            <a:chOff x="714895" y="1039430"/>
            <a:chExt cx="281093" cy="281093"/>
          </a:xfrm>
          <a:solidFill>
            <a:schemeClr val="accent1"/>
          </a:solidFill>
          <a:effectLst>
            <a:outerShdw blurRad="190500" algn="ctr" rotWithShape="0">
              <a:prstClr val="black">
                <a:alpha val="50000"/>
              </a:prstClr>
            </a:outerShdw>
          </a:effectLst>
        </p:grpSpPr>
        <p:sp>
          <p:nvSpPr>
            <p:cNvPr id="13" name="Vrije vorm: vorm 12">
              <a:extLst>
                <a:ext uri="{FF2B5EF4-FFF2-40B4-BE49-F238E27FC236}">
                  <a16:creationId xmlns:a16="http://schemas.microsoft.com/office/drawing/2014/main" id="{98D55F16-298A-4A57-B9A9-85C6DAD00422}"/>
                </a:ext>
              </a:extLst>
            </p:cNvPr>
            <p:cNvSpPr/>
            <p:nvPr/>
          </p:nvSpPr>
          <p:spPr>
            <a:xfrm>
              <a:off x="714895" y="1039430"/>
              <a:ext cx="281093" cy="281093"/>
            </a:xfrm>
            <a:custGeom>
              <a:avLst/>
              <a:gdLst>
                <a:gd name="connsiteX0" fmla="*/ 140547 w 281093"/>
                <a:gd name="connsiteY0" fmla="*/ 25538 h 281093"/>
                <a:gd name="connsiteX1" fmla="*/ 255556 w 281093"/>
                <a:gd name="connsiteY1" fmla="*/ 140547 h 281093"/>
                <a:gd name="connsiteX2" fmla="*/ 140547 w 281093"/>
                <a:gd name="connsiteY2" fmla="*/ 255556 h 281093"/>
                <a:gd name="connsiteX3" fmla="*/ 25538 w 281093"/>
                <a:gd name="connsiteY3" fmla="*/ 140547 h 281093"/>
                <a:gd name="connsiteX4" fmla="*/ 140547 w 281093"/>
                <a:gd name="connsiteY4" fmla="*/ 25538 h 281093"/>
                <a:gd name="connsiteX5" fmla="*/ 140547 w 281093"/>
                <a:gd name="connsiteY5" fmla="*/ 0 h 281093"/>
                <a:gd name="connsiteX6" fmla="*/ 0 w 281093"/>
                <a:gd name="connsiteY6" fmla="*/ 140547 h 281093"/>
                <a:gd name="connsiteX7" fmla="*/ 140547 w 281093"/>
                <a:gd name="connsiteY7" fmla="*/ 281094 h 281093"/>
                <a:gd name="connsiteX8" fmla="*/ 281094 w 281093"/>
                <a:gd name="connsiteY8" fmla="*/ 140547 h 281093"/>
                <a:gd name="connsiteX9" fmla="*/ 140547 w 281093"/>
                <a:gd name="connsiteY9" fmla="*/ 0 h 281093"/>
                <a:gd name="connsiteX10" fmla="*/ 140547 w 281093"/>
                <a:gd name="connsiteY10" fmla="*/ 0 h 28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1093" h="281093">
                  <a:moveTo>
                    <a:pt x="140547" y="25538"/>
                  </a:moveTo>
                  <a:cubicBezTo>
                    <a:pt x="203943" y="25538"/>
                    <a:pt x="255556" y="77151"/>
                    <a:pt x="255556" y="140547"/>
                  </a:cubicBezTo>
                  <a:cubicBezTo>
                    <a:pt x="255556" y="203943"/>
                    <a:pt x="203943" y="255556"/>
                    <a:pt x="140547" y="255556"/>
                  </a:cubicBezTo>
                  <a:cubicBezTo>
                    <a:pt x="77151" y="255556"/>
                    <a:pt x="25538" y="203943"/>
                    <a:pt x="25538" y="140547"/>
                  </a:cubicBezTo>
                  <a:cubicBezTo>
                    <a:pt x="25538" y="77151"/>
                    <a:pt x="77092" y="25538"/>
                    <a:pt x="140547" y="25538"/>
                  </a:cubicBezTo>
                  <a:moveTo>
                    <a:pt x="140547" y="0"/>
                  </a:moveTo>
                  <a:cubicBezTo>
                    <a:pt x="62917" y="0"/>
                    <a:pt x="0" y="62917"/>
                    <a:pt x="0" y="140547"/>
                  </a:cubicBezTo>
                  <a:cubicBezTo>
                    <a:pt x="0" y="218177"/>
                    <a:pt x="62917" y="281094"/>
                    <a:pt x="140547" y="281094"/>
                  </a:cubicBezTo>
                  <a:cubicBezTo>
                    <a:pt x="218177" y="281094"/>
                    <a:pt x="281094" y="218177"/>
                    <a:pt x="281094" y="140547"/>
                  </a:cubicBezTo>
                  <a:cubicBezTo>
                    <a:pt x="281094" y="62917"/>
                    <a:pt x="218177" y="0"/>
                    <a:pt x="140547" y="0"/>
                  </a:cubicBezTo>
                  <a:lnTo>
                    <a:pt x="140547" y="0"/>
                  </a:lnTo>
                  <a:close/>
                </a:path>
              </a:pathLst>
            </a:custGeom>
            <a:grpFill/>
            <a:ln w="5978" cap="flat">
              <a:noFill/>
              <a:prstDash val="solid"/>
              <a:miter/>
            </a:ln>
          </p:spPr>
          <p:txBody>
            <a:bodyPr rtlCol="0" anchor="ctr"/>
            <a:lstStyle/>
            <a:p>
              <a:endParaRPr lang="en-GB"/>
            </a:p>
          </p:txBody>
        </p:sp>
        <p:grpSp>
          <p:nvGrpSpPr>
            <p:cNvPr id="14" name="Graphic 3">
              <a:extLst>
                <a:ext uri="{FF2B5EF4-FFF2-40B4-BE49-F238E27FC236}">
                  <a16:creationId xmlns:a16="http://schemas.microsoft.com/office/drawing/2014/main" id="{7C5AF437-1060-4306-A7D9-25140D7A5D2B}"/>
                </a:ext>
              </a:extLst>
            </p:cNvPr>
            <p:cNvGrpSpPr/>
            <p:nvPr/>
          </p:nvGrpSpPr>
          <p:grpSpPr>
            <a:xfrm>
              <a:off x="763099" y="1091522"/>
              <a:ext cx="168644" cy="166021"/>
              <a:chOff x="763099" y="1091522"/>
              <a:chExt cx="168644" cy="166021"/>
            </a:xfrm>
            <a:grpFill/>
          </p:grpSpPr>
          <p:sp>
            <p:nvSpPr>
              <p:cNvPr id="15" name="Vrije vorm: vorm 14">
                <a:extLst>
                  <a:ext uri="{FF2B5EF4-FFF2-40B4-BE49-F238E27FC236}">
                    <a16:creationId xmlns:a16="http://schemas.microsoft.com/office/drawing/2014/main" id="{1772E81F-D2D7-4217-B700-760D58A16CAC}"/>
                  </a:ext>
                </a:extLst>
              </p:cNvPr>
              <p:cNvSpPr/>
              <p:nvPr/>
            </p:nvSpPr>
            <p:spPr>
              <a:xfrm>
                <a:off x="775360" y="1126595"/>
                <a:ext cx="62259" cy="80713"/>
              </a:xfrm>
              <a:custGeom>
                <a:avLst/>
                <a:gdLst>
                  <a:gd name="connsiteX0" fmla="*/ 21710 w 62259"/>
                  <a:gd name="connsiteY0" fmla="*/ 7091 h 80713"/>
                  <a:gd name="connsiteX1" fmla="*/ 5383 w 62259"/>
                  <a:gd name="connsiteY1" fmla="*/ 65642 h 80713"/>
                  <a:gd name="connsiteX2" fmla="*/ 32655 w 62259"/>
                  <a:gd name="connsiteY2" fmla="*/ 80714 h 80713"/>
                  <a:gd name="connsiteX3" fmla="*/ 33612 w 62259"/>
                  <a:gd name="connsiteY3" fmla="*/ 78860 h 80713"/>
                  <a:gd name="connsiteX4" fmla="*/ 41387 w 62259"/>
                  <a:gd name="connsiteY4" fmla="*/ 73597 h 80713"/>
                  <a:gd name="connsiteX5" fmla="*/ 43899 w 62259"/>
                  <a:gd name="connsiteY5" fmla="*/ 73358 h 80713"/>
                  <a:gd name="connsiteX6" fmla="*/ 46111 w 62259"/>
                  <a:gd name="connsiteY6" fmla="*/ 73597 h 80713"/>
                  <a:gd name="connsiteX7" fmla="*/ 62259 w 62259"/>
                  <a:gd name="connsiteY7" fmla="*/ 22342 h 80713"/>
                  <a:gd name="connsiteX8" fmla="*/ 55561 w 62259"/>
                  <a:gd name="connsiteY8" fmla="*/ 13849 h 80713"/>
                  <a:gd name="connsiteX9" fmla="*/ 55322 w 62259"/>
                  <a:gd name="connsiteY9" fmla="*/ 11337 h 80713"/>
                  <a:gd name="connsiteX10" fmla="*/ 21949 w 62259"/>
                  <a:gd name="connsiteY10" fmla="*/ 6912 h 80713"/>
                  <a:gd name="connsiteX11" fmla="*/ 28289 w 62259"/>
                  <a:gd name="connsiteY11" fmla="*/ 34 h 80713"/>
                  <a:gd name="connsiteX12" fmla="*/ 5084 w 62259"/>
                  <a:gd name="connsiteY12" fmla="*/ 1529 h 80713"/>
                  <a:gd name="connsiteX13" fmla="*/ 0 w 62259"/>
                  <a:gd name="connsiteY13" fmla="*/ 9424 h 80713"/>
                  <a:gd name="connsiteX14" fmla="*/ 21710 w 62259"/>
                  <a:gd name="connsiteY14" fmla="*/ 7091 h 8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259" h="80713">
                    <a:moveTo>
                      <a:pt x="21710" y="7091"/>
                    </a:moveTo>
                    <a:cubicBezTo>
                      <a:pt x="8732" y="23000"/>
                      <a:pt x="2332" y="44052"/>
                      <a:pt x="5383" y="65642"/>
                    </a:cubicBezTo>
                    <a:cubicBezTo>
                      <a:pt x="13457" y="72221"/>
                      <a:pt x="22727" y="77365"/>
                      <a:pt x="32655" y="80714"/>
                    </a:cubicBezTo>
                    <a:cubicBezTo>
                      <a:pt x="32954" y="80116"/>
                      <a:pt x="33253" y="79458"/>
                      <a:pt x="33612" y="78860"/>
                    </a:cubicBezTo>
                    <a:cubicBezTo>
                      <a:pt x="35406" y="76109"/>
                      <a:pt x="38157" y="74255"/>
                      <a:pt x="41387" y="73597"/>
                    </a:cubicBezTo>
                    <a:cubicBezTo>
                      <a:pt x="42224" y="73417"/>
                      <a:pt x="43061" y="73358"/>
                      <a:pt x="43899" y="73358"/>
                    </a:cubicBezTo>
                    <a:cubicBezTo>
                      <a:pt x="44676" y="73358"/>
                      <a:pt x="45394" y="73417"/>
                      <a:pt x="46111" y="73597"/>
                    </a:cubicBezTo>
                    <a:cubicBezTo>
                      <a:pt x="54544" y="57568"/>
                      <a:pt x="60046" y="40165"/>
                      <a:pt x="62259" y="22342"/>
                    </a:cubicBezTo>
                    <a:cubicBezTo>
                      <a:pt x="58910" y="20727"/>
                      <a:pt x="56338" y="17677"/>
                      <a:pt x="55561" y="13849"/>
                    </a:cubicBezTo>
                    <a:cubicBezTo>
                      <a:pt x="55381" y="13012"/>
                      <a:pt x="55322" y="12175"/>
                      <a:pt x="55322" y="11337"/>
                    </a:cubicBezTo>
                    <a:cubicBezTo>
                      <a:pt x="44497" y="8467"/>
                      <a:pt x="33313" y="6972"/>
                      <a:pt x="21949" y="6912"/>
                    </a:cubicBezTo>
                    <a:lnTo>
                      <a:pt x="28289" y="34"/>
                    </a:lnTo>
                    <a:cubicBezTo>
                      <a:pt x="20514" y="-146"/>
                      <a:pt x="12799" y="393"/>
                      <a:pt x="5084" y="1529"/>
                    </a:cubicBezTo>
                    <a:cubicBezTo>
                      <a:pt x="3230" y="4041"/>
                      <a:pt x="1555" y="6672"/>
                      <a:pt x="0" y="9424"/>
                    </a:cubicBezTo>
                    <a:cubicBezTo>
                      <a:pt x="7476" y="7749"/>
                      <a:pt x="12739" y="6852"/>
                      <a:pt x="21710" y="7091"/>
                    </a:cubicBezTo>
                    <a:close/>
                  </a:path>
                </a:pathLst>
              </a:custGeom>
              <a:grpFill/>
              <a:ln w="5978"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E1E924E7-10D1-4B9C-A9B3-D62AB2F9FED7}"/>
                  </a:ext>
                </a:extLst>
              </p:cNvPr>
              <p:cNvSpPr/>
              <p:nvPr/>
            </p:nvSpPr>
            <p:spPr>
              <a:xfrm>
                <a:off x="803649" y="1108208"/>
                <a:ext cx="35106" cy="22786"/>
              </a:xfrm>
              <a:custGeom>
                <a:avLst/>
                <a:gdLst>
                  <a:gd name="connsiteX0" fmla="*/ 35107 w 35106"/>
                  <a:gd name="connsiteY0" fmla="*/ 18301 h 22786"/>
                  <a:gd name="connsiteX1" fmla="*/ 33492 w 35106"/>
                  <a:gd name="connsiteY1" fmla="*/ 0 h 22786"/>
                  <a:gd name="connsiteX2" fmla="*/ 0 w 35106"/>
                  <a:gd name="connsiteY2" fmla="*/ 18421 h 22786"/>
                  <a:gd name="connsiteX3" fmla="*/ 29306 w 35106"/>
                  <a:gd name="connsiteY3" fmla="*/ 22787 h 22786"/>
                  <a:gd name="connsiteX4" fmla="*/ 35107 w 35106"/>
                  <a:gd name="connsiteY4" fmla="*/ 18301 h 22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6" h="22786">
                    <a:moveTo>
                      <a:pt x="35107" y="18301"/>
                    </a:moveTo>
                    <a:cubicBezTo>
                      <a:pt x="34927" y="12141"/>
                      <a:pt x="34389" y="5981"/>
                      <a:pt x="33492" y="0"/>
                    </a:cubicBezTo>
                    <a:cubicBezTo>
                      <a:pt x="20514" y="3289"/>
                      <a:pt x="9091" y="9749"/>
                      <a:pt x="0" y="18421"/>
                    </a:cubicBezTo>
                    <a:cubicBezTo>
                      <a:pt x="9928" y="18839"/>
                      <a:pt x="19736" y="20275"/>
                      <a:pt x="29306" y="22787"/>
                    </a:cubicBezTo>
                    <a:cubicBezTo>
                      <a:pt x="30741" y="20693"/>
                      <a:pt x="32774" y="19138"/>
                      <a:pt x="35107" y="18301"/>
                    </a:cubicBezTo>
                    <a:close/>
                  </a:path>
                </a:pathLst>
              </a:custGeom>
              <a:grpFill/>
              <a:ln w="5978"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2F963A8E-F03F-4138-B099-0A53F0D172C5}"/>
                  </a:ext>
                </a:extLst>
              </p:cNvPr>
              <p:cNvSpPr/>
              <p:nvPr/>
            </p:nvSpPr>
            <p:spPr>
              <a:xfrm>
                <a:off x="828110" y="1145588"/>
                <a:ext cx="66625" cy="66565"/>
              </a:xfrm>
              <a:custGeom>
                <a:avLst/>
                <a:gdLst>
                  <a:gd name="connsiteX0" fmla="*/ 66625 w 66625"/>
                  <a:gd name="connsiteY0" fmla="*/ 30980 h 66565"/>
                  <a:gd name="connsiteX1" fmla="*/ 24401 w 66625"/>
                  <a:gd name="connsiteY1" fmla="*/ 0 h 66565"/>
                  <a:gd name="connsiteX2" fmla="*/ 17404 w 66625"/>
                  <a:gd name="connsiteY2" fmla="*/ 4306 h 66565"/>
                  <a:gd name="connsiteX3" fmla="*/ 16925 w 66625"/>
                  <a:gd name="connsiteY3" fmla="*/ 4366 h 66565"/>
                  <a:gd name="connsiteX4" fmla="*/ 0 w 66625"/>
                  <a:gd name="connsiteY4" fmla="*/ 58192 h 66565"/>
                  <a:gd name="connsiteX5" fmla="*/ 3170 w 66625"/>
                  <a:gd name="connsiteY5" fmla="*/ 64113 h 66565"/>
                  <a:gd name="connsiteX6" fmla="*/ 3409 w 66625"/>
                  <a:gd name="connsiteY6" fmla="*/ 66386 h 66565"/>
                  <a:gd name="connsiteX7" fmla="*/ 8792 w 66625"/>
                  <a:gd name="connsiteY7" fmla="*/ 66565 h 66565"/>
                  <a:gd name="connsiteX8" fmla="*/ 26016 w 66625"/>
                  <a:gd name="connsiteY8" fmla="*/ 64891 h 66565"/>
                  <a:gd name="connsiteX9" fmla="*/ 66326 w 66625"/>
                  <a:gd name="connsiteY9" fmla="*/ 44915 h 66565"/>
                  <a:gd name="connsiteX10" fmla="*/ 64532 w 66625"/>
                  <a:gd name="connsiteY10" fmla="*/ 40669 h 66565"/>
                  <a:gd name="connsiteX11" fmla="*/ 66266 w 66625"/>
                  <a:gd name="connsiteY11" fmla="*/ 31459 h 66565"/>
                  <a:gd name="connsiteX12" fmla="*/ 66625 w 66625"/>
                  <a:gd name="connsiteY12" fmla="*/ 30980 h 6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25" h="66565">
                    <a:moveTo>
                      <a:pt x="66625" y="30980"/>
                    </a:moveTo>
                    <a:cubicBezTo>
                      <a:pt x="54903" y="17942"/>
                      <a:pt x="40549" y="7416"/>
                      <a:pt x="24401" y="0"/>
                    </a:cubicBezTo>
                    <a:cubicBezTo>
                      <a:pt x="22607" y="2213"/>
                      <a:pt x="20215" y="3768"/>
                      <a:pt x="17404" y="4306"/>
                    </a:cubicBezTo>
                    <a:cubicBezTo>
                      <a:pt x="17224" y="4366"/>
                      <a:pt x="17105" y="4306"/>
                      <a:pt x="16925" y="4366"/>
                    </a:cubicBezTo>
                    <a:cubicBezTo>
                      <a:pt x="14533" y="23026"/>
                      <a:pt x="8792" y="41387"/>
                      <a:pt x="0" y="58192"/>
                    </a:cubicBezTo>
                    <a:cubicBezTo>
                      <a:pt x="1555" y="59807"/>
                      <a:pt x="2691" y="61841"/>
                      <a:pt x="3170" y="64113"/>
                    </a:cubicBezTo>
                    <a:cubicBezTo>
                      <a:pt x="3349" y="64891"/>
                      <a:pt x="3409" y="65609"/>
                      <a:pt x="3409" y="66386"/>
                    </a:cubicBezTo>
                    <a:cubicBezTo>
                      <a:pt x="5203" y="66506"/>
                      <a:pt x="6997" y="66565"/>
                      <a:pt x="8792" y="66565"/>
                    </a:cubicBezTo>
                    <a:cubicBezTo>
                      <a:pt x="14593" y="66565"/>
                      <a:pt x="20394" y="65967"/>
                      <a:pt x="26016" y="64891"/>
                    </a:cubicBezTo>
                    <a:cubicBezTo>
                      <a:pt x="41207" y="61841"/>
                      <a:pt x="54963" y="54903"/>
                      <a:pt x="66326" y="44915"/>
                    </a:cubicBezTo>
                    <a:cubicBezTo>
                      <a:pt x="65489" y="43659"/>
                      <a:pt x="64831" y="42224"/>
                      <a:pt x="64532" y="40669"/>
                    </a:cubicBezTo>
                    <a:cubicBezTo>
                      <a:pt x="63874" y="37439"/>
                      <a:pt x="64472" y="34210"/>
                      <a:pt x="66266" y="31459"/>
                    </a:cubicBezTo>
                    <a:cubicBezTo>
                      <a:pt x="66386" y="31279"/>
                      <a:pt x="66506" y="31160"/>
                      <a:pt x="66625" y="30980"/>
                    </a:cubicBezTo>
                    <a:close/>
                  </a:path>
                </a:pathLst>
              </a:custGeom>
              <a:grpFill/>
              <a:ln w="5978" cap="flat">
                <a:noFill/>
                <a:prstDash val="solid"/>
                <a:miter/>
              </a:ln>
            </p:spPr>
            <p:txBody>
              <a:bodyPr rtlCol="0" anchor="ctr"/>
              <a:lstStyle/>
              <a:p>
                <a:endParaRPr lang="en-GB"/>
              </a:p>
            </p:txBody>
          </p:sp>
          <p:sp>
            <p:nvSpPr>
              <p:cNvPr id="18" name="Vrije vorm: vorm 17">
                <a:extLst>
                  <a:ext uri="{FF2B5EF4-FFF2-40B4-BE49-F238E27FC236}">
                    <a16:creationId xmlns:a16="http://schemas.microsoft.com/office/drawing/2014/main" id="{FA911BBC-45F4-440F-AE2E-6963EA7111F0}"/>
                  </a:ext>
                </a:extLst>
              </p:cNvPr>
              <p:cNvSpPr/>
              <p:nvPr/>
            </p:nvSpPr>
            <p:spPr>
              <a:xfrm>
                <a:off x="914651" y="1153781"/>
                <a:ext cx="17093" cy="58312"/>
              </a:xfrm>
              <a:custGeom>
                <a:avLst/>
                <a:gdLst>
                  <a:gd name="connsiteX0" fmla="*/ 10646 w 17093"/>
                  <a:gd name="connsiteY0" fmla="*/ 58312 h 58312"/>
                  <a:gd name="connsiteX1" fmla="*/ 15490 w 17093"/>
                  <a:gd name="connsiteY1" fmla="*/ 12380 h 58312"/>
                  <a:gd name="connsiteX2" fmla="*/ 11722 w 17093"/>
                  <a:gd name="connsiteY2" fmla="*/ 0 h 58312"/>
                  <a:gd name="connsiteX3" fmla="*/ 718 w 17093"/>
                  <a:gd name="connsiteY3" fmla="*/ 23923 h 58312"/>
                  <a:gd name="connsiteX4" fmla="*/ 2033 w 17093"/>
                  <a:gd name="connsiteY4" fmla="*/ 27392 h 58312"/>
                  <a:gd name="connsiteX5" fmla="*/ 0 w 17093"/>
                  <a:gd name="connsiteY5" fmla="*/ 36901 h 58312"/>
                  <a:gd name="connsiteX6" fmla="*/ 10646 w 17093"/>
                  <a:gd name="connsiteY6" fmla="*/ 58312 h 5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93" h="58312">
                    <a:moveTo>
                      <a:pt x="10646" y="58312"/>
                    </a:moveTo>
                    <a:cubicBezTo>
                      <a:pt x="16806" y="44377"/>
                      <a:pt x="18839" y="28468"/>
                      <a:pt x="15490" y="12380"/>
                    </a:cubicBezTo>
                    <a:cubicBezTo>
                      <a:pt x="14593" y="8074"/>
                      <a:pt x="13277" y="4007"/>
                      <a:pt x="11722" y="0"/>
                    </a:cubicBezTo>
                    <a:cubicBezTo>
                      <a:pt x="9270" y="8433"/>
                      <a:pt x="5562" y="16567"/>
                      <a:pt x="718" y="23923"/>
                    </a:cubicBezTo>
                    <a:cubicBezTo>
                      <a:pt x="1316" y="24999"/>
                      <a:pt x="1794" y="26136"/>
                      <a:pt x="2033" y="27392"/>
                    </a:cubicBezTo>
                    <a:cubicBezTo>
                      <a:pt x="2751" y="30861"/>
                      <a:pt x="1914" y="34210"/>
                      <a:pt x="0" y="36901"/>
                    </a:cubicBezTo>
                    <a:cubicBezTo>
                      <a:pt x="4187" y="43719"/>
                      <a:pt x="7775" y="50896"/>
                      <a:pt x="10646" y="58312"/>
                    </a:cubicBezTo>
                    <a:close/>
                  </a:path>
                </a:pathLst>
              </a:custGeom>
              <a:grpFill/>
              <a:ln w="5978"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9CEAF2D2-750C-4573-B6D5-A4FFE01EA229}"/>
                  </a:ext>
                </a:extLst>
              </p:cNvPr>
              <p:cNvSpPr/>
              <p:nvPr/>
            </p:nvSpPr>
            <p:spPr>
              <a:xfrm>
                <a:off x="844497" y="1105840"/>
                <a:ext cx="76852" cy="66900"/>
              </a:xfrm>
              <a:custGeom>
                <a:avLst/>
                <a:gdLst>
                  <a:gd name="connsiteX0" fmla="*/ 10586 w 76852"/>
                  <a:gd name="connsiteY0" fmla="*/ 29580 h 66900"/>
                  <a:gd name="connsiteX1" fmla="*/ 10765 w 76852"/>
                  <a:gd name="connsiteY1" fmla="*/ 32989 h 66900"/>
                  <a:gd name="connsiteX2" fmla="*/ 56219 w 76852"/>
                  <a:gd name="connsiteY2" fmla="*/ 66362 h 66900"/>
                  <a:gd name="connsiteX3" fmla="*/ 57654 w 76852"/>
                  <a:gd name="connsiteY3" fmla="*/ 65943 h 66900"/>
                  <a:gd name="connsiteX4" fmla="*/ 60166 w 76852"/>
                  <a:gd name="connsiteY4" fmla="*/ 65704 h 66900"/>
                  <a:gd name="connsiteX5" fmla="*/ 65309 w 76852"/>
                  <a:gd name="connsiteY5" fmla="*/ 66900 h 66900"/>
                  <a:gd name="connsiteX6" fmla="*/ 76852 w 76852"/>
                  <a:gd name="connsiteY6" fmla="*/ 37654 h 66900"/>
                  <a:gd name="connsiteX7" fmla="*/ 0 w 76852"/>
                  <a:gd name="connsiteY7" fmla="*/ 873 h 66900"/>
                  <a:gd name="connsiteX8" fmla="*/ 1734 w 76852"/>
                  <a:gd name="connsiteY8" fmla="*/ 20310 h 66900"/>
                  <a:gd name="connsiteX9" fmla="*/ 10586 w 76852"/>
                  <a:gd name="connsiteY9" fmla="*/ 29580 h 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852" h="66900">
                    <a:moveTo>
                      <a:pt x="10586" y="29580"/>
                    </a:moveTo>
                    <a:cubicBezTo>
                      <a:pt x="10825" y="30717"/>
                      <a:pt x="10825" y="31853"/>
                      <a:pt x="10765" y="32989"/>
                    </a:cubicBezTo>
                    <a:cubicBezTo>
                      <a:pt x="28169" y="40884"/>
                      <a:pt x="43659" y="52247"/>
                      <a:pt x="56219" y="66362"/>
                    </a:cubicBezTo>
                    <a:cubicBezTo>
                      <a:pt x="56697" y="66182"/>
                      <a:pt x="57176" y="66003"/>
                      <a:pt x="57654" y="65943"/>
                    </a:cubicBezTo>
                    <a:cubicBezTo>
                      <a:pt x="58491" y="65764"/>
                      <a:pt x="59329" y="65704"/>
                      <a:pt x="60166" y="65704"/>
                    </a:cubicBezTo>
                    <a:cubicBezTo>
                      <a:pt x="62020" y="65704"/>
                      <a:pt x="63695" y="66123"/>
                      <a:pt x="65309" y="66900"/>
                    </a:cubicBezTo>
                    <a:cubicBezTo>
                      <a:pt x="70991" y="57989"/>
                      <a:pt x="74938" y="48001"/>
                      <a:pt x="76852" y="37654"/>
                    </a:cubicBezTo>
                    <a:cubicBezTo>
                      <a:pt x="61542" y="11339"/>
                      <a:pt x="31339" y="-3912"/>
                      <a:pt x="0" y="873"/>
                    </a:cubicBezTo>
                    <a:cubicBezTo>
                      <a:pt x="957" y="7332"/>
                      <a:pt x="1555" y="13851"/>
                      <a:pt x="1734" y="20310"/>
                    </a:cubicBezTo>
                    <a:cubicBezTo>
                      <a:pt x="6100" y="21506"/>
                      <a:pt x="9629" y="25035"/>
                      <a:pt x="10586" y="29580"/>
                    </a:cubicBezTo>
                    <a:close/>
                  </a:path>
                </a:pathLst>
              </a:custGeom>
              <a:grpFill/>
              <a:ln w="5978" cap="flat">
                <a:noFill/>
                <a:prstDash val="solid"/>
                <a:miter/>
              </a:ln>
            </p:spPr>
            <p:txBody>
              <a:bodyPr rtlCol="0" anchor="ctr"/>
              <a:lstStyle/>
              <a:p>
                <a:endParaRPr lang="en-GB"/>
              </a:p>
            </p:txBody>
          </p:sp>
          <p:sp>
            <p:nvSpPr>
              <p:cNvPr id="20" name="Vrije vorm: vorm 19">
                <a:extLst>
                  <a:ext uri="{FF2B5EF4-FFF2-40B4-BE49-F238E27FC236}">
                    <a16:creationId xmlns:a16="http://schemas.microsoft.com/office/drawing/2014/main" id="{1FB85954-93EF-46D5-A365-C5E842BF43C3}"/>
                  </a:ext>
                </a:extLst>
              </p:cNvPr>
              <p:cNvSpPr/>
              <p:nvPr/>
            </p:nvSpPr>
            <p:spPr>
              <a:xfrm>
                <a:off x="804366" y="1195108"/>
                <a:ext cx="116205" cy="62434"/>
              </a:xfrm>
              <a:custGeom>
                <a:avLst/>
                <a:gdLst>
                  <a:gd name="connsiteX0" fmla="*/ 102809 w 116205"/>
                  <a:gd name="connsiteY0" fmla="*/ 598 h 62434"/>
                  <a:gd name="connsiteX1" fmla="*/ 100297 w 116205"/>
                  <a:gd name="connsiteY1" fmla="*/ 837 h 62434"/>
                  <a:gd name="connsiteX2" fmla="*/ 95991 w 116205"/>
                  <a:gd name="connsiteY2" fmla="*/ 0 h 62434"/>
                  <a:gd name="connsiteX3" fmla="*/ 51315 w 116205"/>
                  <a:gd name="connsiteY3" fmla="*/ 22368 h 62434"/>
                  <a:gd name="connsiteX4" fmla="*/ 32176 w 116205"/>
                  <a:gd name="connsiteY4" fmla="*/ 24282 h 62434"/>
                  <a:gd name="connsiteX5" fmla="*/ 24999 w 116205"/>
                  <a:gd name="connsiteY5" fmla="*/ 23983 h 62434"/>
                  <a:gd name="connsiteX6" fmla="*/ 17404 w 116205"/>
                  <a:gd name="connsiteY6" fmla="*/ 29066 h 62434"/>
                  <a:gd name="connsiteX7" fmla="*/ 14892 w 116205"/>
                  <a:gd name="connsiteY7" fmla="*/ 29306 h 62434"/>
                  <a:gd name="connsiteX8" fmla="*/ 11184 w 116205"/>
                  <a:gd name="connsiteY8" fmla="*/ 28707 h 62434"/>
                  <a:gd name="connsiteX9" fmla="*/ 0 w 116205"/>
                  <a:gd name="connsiteY9" fmla="*/ 42224 h 62434"/>
                  <a:gd name="connsiteX10" fmla="*/ 66984 w 116205"/>
                  <a:gd name="connsiteY10" fmla="*/ 60824 h 62434"/>
                  <a:gd name="connsiteX11" fmla="*/ 116205 w 116205"/>
                  <a:gd name="connsiteY11" fmla="*/ 26016 h 62434"/>
                  <a:gd name="connsiteX12" fmla="*/ 104304 w 116205"/>
                  <a:gd name="connsiteY12" fmla="*/ 60 h 62434"/>
                  <a:gd name="connsiteX13" fmla="*/ 102809 w 116205"/>
                  <a:gd name="connsiteY13" fmla="*/ 598 h 6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05" h="62434">
                    <a:moveTo>
                      <a:pt x="102809" y="598"/>
                    </a:moveTo>
                    <a:cubicBezTo>
                      <a:pt x="101971" y="777"/>
                      <a:pt x="101134" y="837"/>
                      <a:pt x="100297" y="837"/>
                    </a:cubicBezTo>
                    <a:cubicBezTo>
                      <a:pt x="98802" y="837"/>
                      <a:pt x="97306" y="538"/>
                      <a:pt x="95991" y="0"/>
                    </a:cubicBezTo>
                    <a:cubicBezTo>
                      <a:pt x="83491" y="11304"/>
                      <a:pt x="68180" y="18959"/>
                      <a:pt x="51315" y="22368"/>
                    </a:cubicBezTo>
                    <a:cubicBezTo>
                      <a:pt x="44975" y="23624"/>
                      <a:pt x="38576" y="24282"/>
                      <a:pt x="32176" y="24282"/>
                    </a:cubicBezTo>
                    <a:cubicBezTo>
                      <a:pt x="29784" y="24282"/>
                      <a:pt x="27392" y="24162"/>
                      <a:pt x="24999" y="23983"/>
                    </a:cubicBezTo>
                    <a:cubicBezTo>
                      <a:pt x="23265" y="26495"/>
                      <a:pt x="20633" y="28408"/>
                      <a:pt x="17404" y="29066"/>
                    </a:cubicBezTo>
                    <a:cubicBezTo>
                      <a:pt x="16567" y="29246"/>
                      <a:pt x="15729" y="29306"/>
                      <a:pt x="14892" y="29306"/>
                    </a:cubicBezTo>
                    <a:cubicBezTo>
                      <a:pt x="13576" y="29306"/>
                      <a:pt x="12380" y="29066"/>
                      <a:pt x="11184" y="28707"/>
                    </a:cubicBezTo>
                    <a:cubicBezTo>
                      <a:pt x="7775" y="33372"/>
                      <a:pt x="3947" y="37858"/>
                      <a:pt x="0" y="42224"/>
                    </a:cubicBezTo>
                    <a:cubicBezTo>
                      <a:pt x="17404" y="58312"/>
                      <a:pt x="41985" y="66027"/>
                      <a:pt x="66984" y="60824"/>
                    </a:cubicBezTo>
                    <a:cubicBezTo>
                      <a:pt x="88335" y="56398"/>
                      <a:pt x="105679" y="43300"/>
                      <a:pt x="116205" y="26016"/>
                    </a:cubicBezTo>
                    <a:cubicBezTo>
                      <a:pt x="113215" y="16866"/>
                      <a:pt x="109208" y="8194"/>
                      <a:pt x="104304" y="60"/>
                    </a:cubicBezTo>
                    <a:cubicBezTo>
                      <a:pt x="103766" y="299"/>
                      <a:pt x="103287" y="478"/>
                      <a:pt x="102809" y="598"/>
                    </a:cubicBezTo>
                    <a:close/>
                  </a:path>
                </a:pathLst>
              </a:custGeom>
              <a:grpFill/>
              <a:ln w="5978" cap="flat">
                <a:noFill/>
                <a:prstDash val="solid"/>
                <a:miter/>
              </a:ln>
            </p:spPr>
            <p:txBody>
              <a:bodyPr rtlCol="0" anchor="ctr"/>
              <a:lstStyle/>
              <a:p>
                <a:endParaRPr lang="en-GB"/>
              </a:p>
            </p:txBody>
          </p:sp>
          <p:sp>
            <p:nvSpPr>
              <p:cNvPr id="21" name="Vrije vorm: vorm 20">
                <a:extLst>
                  <a:ext uri="{FF2B5EF4-FFF2-40B4-BE49-F238E27FC236}">
                    <a16:creationId xmlns:a16="http://schemas.microsoft.com/office/drawing/2014/main" id="{EAF2B2FF-22D4-4F83-9FC8-D2014D03C828}"/>
                  </a:ext>
                </a:extLst>
              </p:cNvPr>
              <p:cNvSpPr/>
              <p:nvPr/>
            </p:nvSpPr>
            <p:spPr>
              <a:xfrm>
                <a:off x="783015" y="1203002"/>
                <a:ext cx="26434" cy="29066"/>
              </a:xfrm>
              <a:custGeom>
                <a:avLst/>
                <a:gdLst>
                  <a:gd name="connsiteX0" fmla="*/ 26435 w 26434"/>
                  <a:gd name="connsiteY0" fmla="*/ 16507 h 29066"/>
                  <a:gd name="connsiteX1" fmla="*/ 24162 w 26434"/>
                  <a:gd name="connsiteY1" fmla="*/ 11722 h 29066"/>
                  <a:gd name="connsiteX2" fmla="*/ 0 w 26434"/>
                  <a:gd name="connsiteY2" fmla="*/ 0 h 29066"/>
                  <a:gd name="connsiteX3" fmla="*/ 16088 w 26434"/>
                  <a:gd name="connsiteY3" fmla="*/ 29066 h 29066"/>
                  <a:gd name="connsiteX4" fmla="*/ 26435 w 26434"/>
                  <a:gd name="connsiteY4" fmla="*/ 16507 h 29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4" h="29066">
                    <a:moveTo>
                      <a:pt x="26435" y="16507"/>
                    </a:moveTo>
                    <a:cubicBezTo>
                      <a:pt x="25358" y="15131"/>
                      <a:pt x="24581" y="13516"/>
                      <a:pt x="24162" y="11722"/>
                    </a:cubicBezTo>
                    <a:cubicBezTo>
                      <a:pt x="15610" y="8971"/>
                      <a:pt x="7476" y="5024"/>
                      <a:pt x="0" y="0"/>
                    </a:cubicBezTo>
                    <a:cubicBezTo>
                      <a:pt x="3230" y="11064"/>
                      <a:pt x="8792" y="20873"/>
                      <a:pt x="16088" y="29066"/>
                    </a:cubicBezTo>
                    <a:cubicBezTo>
                      <a:pt x="19796" y="24999"/>
                      <a:pt x="23325" y="20813"/>
                      <a:pt x="26435" y="16507"/>
                    </a:cubicBezTo>
                    <a:close/>
                  </a:path>
                </a:pathLst>
              </a:custGeom>
              <a:grpFill/>
              <a:ln w="5978" cap="flat">
                <a:noFill/>
                <a:prstDash val="solid"/>
                <a:miter/>
              </a:ln>
            </p:spPr>
            <p:txBody>
              <a:bodyPr rtlCol="0" anchor="ctr"/>
              <a:lstStyle/>
              <a:p>
                <a:endParaRPr lang="en-GB"/>
              </a:p>
            </p:txBody>
          </p:sp>
          <p:sp>
            <p:nvSpPr>
              <p:cNvPr id="22" name="Vrije vorm: vorm 21">
                <a:extLst>
                  <a:ext uri="{FF2B5EF4-FFF2-40B4-BE49-F238E27FC236}">
                    <a16:creationId xmlns:a16="http://schemas.microsoft.com/office/drawing/2014/main" id="{A2287FC5-5BD8-4732-8E95-1488612DD058}"/>
                  </a:ext>
                </a:extLst>
              </p:cNvPr>
              <p:cNvSpPr/>
              <p:nvPr/>
            </p:nvSpPr>
            <p:spPr>
              <a:xfrm>
                <a:off x="763099" y="1181651"/>
                <a:ext cx="19915" cy="20573"/>
              </a:xfrm>
              <a:custGeom>
                <a:avLst/>
                <a:gdLst>
                  <a:gd name="connsiteX0" fmla="*/ 0 w 19915"/>
                  <a:gd name="connsiteY0" fmla="*/ 0 h 20573"/>
                  <a:gd name="connsiteX1" fmla="*/ 0 w 19915"/>
                  <a:gd name="connsiteY1" fmla="*/ 179 h 20573"/>
                  <a:gd name="connsiteX2" fmla="*/ 419 w 19915"/>
                  <a:gd name="connsiteY2" fmla="*/ 8851 h 20573"/>
                  <a:gd name="connsiteX3" fmla="*/ 19916 w 19915"/>
                  <a:gd name="connsiteY3" fmla="*/ 20574 h 20573"/>
                  <a:gd name="connsiteX4" fmla="*/ 17344 w 19915"/>
                  <a:gd name="connsiteY4" fmla="*/ 11363 h 20573"/>
                  <a:gd name="connsiteX5" fmla="*/ 0 w 19915"/>
                  <a:gd name="connsiteY5" fmla="*/ 0 h 2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5" h="20573">
                    <a:moveTo>
                      <a:pt x="0" y="0"/>
                    </a:moveTo>
                    <a:cubicBezTo>
                      <a:pt x="0" y="60"/>
                      <a:pt x="0" y="120"/>
                      <a:pt x="0" y="179"/>
                    </a:cubicBezTo>
                    <a:cubicBezTo>
                      <a:pt x="0" y="3110"/>
                      <a:pt x="179" y="6041"/>
                      <a:pt x="419" y="8851"/>
                    </a:cubicBezTo>
                    <a:cubicBezTo>
                      <a:pt x="6579" y="13277"/>
                      <a:pt x="13098" y="17224"/>
                      <a:pt x="19916" y="20574"/>
                    </a:cubicBezTo>
                    <a:lnTo>
                      <a:pt x="17344" y="11363"/>
                    </a:lnTo>
                    <a:cubicBezTo>
                      <a:pt x="9629" y="7536"/>
                      <a:pt x="5442" y="4545"/>
                      <a:pt x="0" y="0"/>
                    </a:cubicBezTo>
                    <a:close/>
                  </a:path>
                </a:pathLst>
              </a:custGeom>
              <a:grpFill/>
              <a:ln w="5978" cap="flat">
                <a:noFill/>
                <a:prstDash val="solid"/>
                <a:miter/>
              </a:ln>
            </p:spPr>
            <p:txBody>
              <a:bodyPr rtlCol="0" anchor="ctr"/>
              <a:lstStyle/>
              <a:p>
                <a:endParaRPr lang="en-GB"/>
              </a:p>
            </p:txBody>
          </p:sp>
          <p:sp>
            <p:nvSpPr>
              <p:cNvPr id="23" name="Vrije vorm: vorm 22">
                <a:extLst>
                  <a:ext uri="{FF2B5EF4-FFF2-40B4-BE49-F238E27FC236}">
                    <a16:creationId xmlns:a16="http://schemas.microsoft.com/office/drawing/2014/main" id="{0225805D-6F81-4D8C-BA21-16ACA9CBA1EF}"/>
                  </a:ext>
                </a:extLst>
              </p:cNvPr>
              <p:cNvSpPr/>
              <p:nvPr/>
            </p:nvSpPr>
            <p:spPr>
              <a:xfrm>
                <a:off x="831698" y="1091522"/>
                <a:ext cx="12738" cy="16566"/>
              </a:xfrm>
              <a:custGeom>
                <a:avLst/>
                <a:gdLst>
                  <a:gd name="connsiteX0" fmla="*/ 12739 w 12738"/>
                  <a:gd name="connsiteY0" fmla="*/ 15131 h 16566"/>
                  <a:gd name="connsiteX1" fmla="*/ 6938 w 12738"/>
                  <a:gd name="connsiteY1" fmla="*/ 0 h 16566"/>
                  <a:gd name="connsiteX2" fmla="*/ 0 w 12738"/>
                  <a:gd name="connsiteY2" fmla="*/ 1495 h 16566"/>
                  <a:gd name="connsiteX3" fmla="*/ 5502 w 12738"/>
                  <a:gd name="connsiteY3" fmla="*/ 16567 h 16566"/>
                  <a:gd name="connsiteX4" fmla="*/ 12739 w 12738"/>
                  <a:gd name="connsiteY4" fmla="*/ 15131 h 1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38" h="16566">
                    <a:moveTo>
                      <a:pt x="12739" y="15131"/>
                    </a:moveTo>
                    <a:cubicBezTo>
                      <a:pt x="11005" y="8433"/>
                      <a:pt x="9330" y="4665"/>
                      <a:pt x="6938" y="0"/>
                    </a:cubicBezTo>
                    <a:cubicBezTo>
                      <a:pt x="4605" y="419"/>
                      <a:pt x="2273" y="897"/>
                      <a:pt x="0" y="1495"/>
                    </a:cubicBezTo>
                    <a:cubicBezTo>
                      <a:pt x="2213" y="5921"/>
                      <a:pt x="3828" y="10167"/>
                      <a:pt x="5502" y="16567"/>
                    </a:cubicBezTo>
                    <a:lnTo>
                      <a:pt x="12739" y="15131"/>
                    </a:lnTo>
                    <a:close/>
                  </a:path>
                </a:pathLst>
              </a:custGeom>
              <a:grpFill/>
              <a:ln w="5978" cap="flat">
                <a:noFill/>
                <a:prstDash val="solid"/>
                <a:miter/>
              </a:ln>
            </p:spPr>
            <p:txBody>
              <a:bodyPr rtlCol="0" anchor="ctr"/>
              <a:lstStyle/>
              <a:p>
                <a:endParaRPr lang="en-GB"/>
              </a:p>
            </p:txBody>
          </p:sp>
          <p:sp>
            <p:nvSpPr>
              <p:cNvPr id="24" name="Vrije vorm: vorm 23">
                <a:extLst>
                  <a:ext uri="{FF2B5EF4-FFF2-40B4-BE49-F238E27FC236}">
                    <a16:creationId xmlns:a16="http://schemas.microsoft.com/office/drawing/2014/main" id="{790B6B7B-9C42-4C16-8A65-526D89B6A10B}"/>
                  </a:ext>
                </a:extLst>
              </p:cNvPr>
              <p:cNvSpPr/>
              <p:nvPr/>
            </p:nvSpPr>
            <p:spPr>
              <a:xfrm>
                <a:off x="786424" y="1232129"/>
                <a:ext cx="17822" cy="16147"/>
              </a:xfrm>
              <a:custGeom>
                <a:avLst/>
                <a:gdLst>
                  <a:gd name="connsiteX0" fmla="*/ 0 w 17822"/>
                  <a:gd name="connsiteY0" fmla="*/ 10825 h 16147"/>
                  <a:gd name="connsiteX1" fmla="*/ 5143 w 17822"/>
                  <a:gd name="connsiteY1" fmla="*/ 16148 h 16147"/>
                  <a:gd name="connsiteX2" fmla="*/ 17823 w 17822"/>
                  <a:gd name="connsiteY2" fmla="*/ 5263 h 16147"/>
                  <a:gd name="connsiteX3" fmla="*/ 12679 w 17822"/>
                  <a:gd name="connsiteY3" fmla="*/ 0 h 16147"/>
                  <a:gd name="connsiteX4" fmla="*/ 0 w 17822"/>
                  <a:gd name="connsiteY4" fmla="*/ 10825 h 16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22" h="16147">
                    <a:moveTo>
                      <a:pt x="0" y="10825"/>
                    </a:moveTo>
                    <a:cubicBezTo>
                      <a:pt x="1615" y="12679"/>
                      <a:pt x="3349" y="14414"/>
                      <a:pt x="5143" y="16148"/>
                    </a:cubicBezTo>
                    <a:cubicBezTo>
                      <a:pt x="9450" y="12859"/>
                      <a:pt x="13457" y="9270"/>
                      <a:pt x="17823" y="5263"/>
                    </a:cubicBezTo>
                    <a:lnTo>
                      <a:pt x="12679" y="0"/>
                    </a:lnTo>
                    <a:cubicBezTo>
                      <a:pt x="8373" y="3887"/>
                      <a:pt x="4306" y="7476"/>
                      <a:pt x="0" y="10825"/>
                    </a:cubicBezTo>
                    <a:close/>
                  </a:path>
                </a:pathLst>
              </a:custGeom>
              <a:grpFill/>
              <a:ln w="5978" cap="flat">
                <a:noFill/>
                <a:prstDash val="solid"/>
                <a:miter/>
              </a:ln>
            </p:spPr>
            <p:txBody>
              <a:bodyPr rtlCol="0" anchor="ctr"/>
              <a:lstStyle/>
              <a:p>
                <a:endParaRPr lang="en-GB"/>
              </a:p>
            </p:txBody>
          </p:sp>
          <p:sp>
            <p:nvSpPr>
              <p:cNvPr id="25" name="Vrije vorm: vorm 24">
                <a:extLst>
                  <a:ext uri="{FF2B5EF4-FFF2-40B4-BE49-F238E27FC236}">
                    <a16:creationId xmlns:a16="http://schemas.microsoft.com/office/drawing/2014/main" id="{2E24D07F-F5D3-4087-9979-4B5825DD6E09}"/>
                  </a:ext>
                </a:extLst>
              </p:cNvPr>
              <p:cNvSpPr/>
              <p:nvPr/>
            </p:nvSpPr>
            <p:spPr>
              <a:xfrm>
                <a:off x="921349" y="1121844"/>
                <a:ext cx="9270" cy="31937"/>
              </a:xfrm>
              <a:custGeom>
                <a:avLst/>
                <a:gdLst>
                  <a:gd name="connsiteX0" fmla="*/ 9270 w 9270"/>
                  <a:gd name="connsiteY0" fmla="*/ 8134 h 31937"/>
                  <a:gd name="connsiteX1" fmla="*/ 2990 w 9270"/>
                  <a:gd name="connsiteY1" fmla="*/ 0 h 31937"/>
                  <a:gd name="connsiteX2" fmla="*/ 0 w 9270"/>
                  <a:gd name="connsiteY2" fmla="*/ 21590 h 31937"/>
                  <a:gd name="connsiteX3" fmla="*/ 5024 w 9270"/>
                  <a:gd name="connsiteY3" fmla="*/ 31937 h 31937"/>
                  <a:gd name="connsiteX4" fmla="*/ 9270 w 9270"/>
                  <a:gd name="connsiteY4" fmla="*/ 8134 h 31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0" h="31937">
                    <a:moveTo>
                      <a:pt x="9270" y="8134"/>
                    </a:moveTo>
                    <a:cubicBezTo>
                      <a:pt x="7356" y="5323"/>
                      <a:pt x="5203" y="2572"/>
                      <a:pt x="2990" y="0"/>
                    </a:cubicBezTo>
                    <a:cubicBezTo>
                      <a:pt x="2811" y="7595"/>
                      <a:pt x="2392" y="12918"/>
                      <a:pt x="0" y="21590"/>
                    </a:cubicBezTo>
                    <a:lnTo>
                      <a:pt x="5024" y="31937"/>
                    </a:lnTo>
                    <a:cubicBezTo>
                      <a:pt x="6938" y="24760"/>
                      <a:pt x="8433" y="16208"/>
                      <a:pt x="9270" y="8134"/>
                    </a:cubicBezTo>
                    <a:close/>
                  </a:path>
                </a:pathLst>
              </a:custGeom>
              <a:grpFill/>
              <a:ln w="5978" cap="flat">
                <a:noFill/>
                <a:prstDash val="solid"/>
                <a:miter/>
              </a:ln>
            </p:spPr>
            <p:txBody>
              <a:bodyPr rtlCol="0" anchor="ctr"/>
              <a:lstStyle/>
              <a:p>
                <a:endParaRPr lang="en-GB"/>
              </a:p>
            </p:txBody>
          </p:sp>
          <p:sp>
            <p:nvSpPr>
              <p:cNvPr id="26" name="Vrije vorm: vorm 25">
                <a:extLst>
                  <a:ext uri="{FF2B5EF4-FFF2-40B4-BE49-F238E27FC236}">
                    <a16:creationId xmlns:a16="http://schemas.microsoft.com/office/drawing/2014/main" id="{2ED10E40-49DC-4158-9D84-DAFA5E5C6FDE}"/>
                  </a:ext>
                </a:extLst>
              </p:cNvPr>
              <p:cNvSpPr/>
              <p:nvPr/>
            </p:nvSpPr>
            <p:spPr>
              <a:xfrm>
                <a:off x="920632" y="1212213"/>
                <a:ext cx="9210" cy="30382"/>
              </a:xfrm>
              <a:custGeom>
                <a:avLst/>
                <a:gdLst>
                  <a:gd name="connsiteX0" fmla="*/ 0 w 9210"/>
                  <a:gd name="connsiteY0" fmla="*/ 8732 h 30382"/>
                  <a:gd name="connsiteX1" fmla="*/ 2990 w 9210"/>
                  <a:gd name="connsiteY1" fmla="*/ 30382 h 30382"/>
                  <a:gd name="connsiteX2" fmla="*/ 9210 w 9210"/>
                  <a:gd name="connsiteY2" fmla="*/ 22488 h 30382"/>
                  <a:gd name="connsiteX3" fmla="*/ 4665 w 9210"/>
                  <a:gd name="connsiteY3" fmla="*/ 0 h 30382"/>
                  <a:gd name="connsiteX4" fmla="*/ 0 w 9210"/>
                  <a:gd name="connsiteY4" fmla="*/ 8732 h 30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0" h="30382">
                    <a:moveTo>
                      <a:pt x="0" y="8732"/>
                    </a:moveTo>
                    <a:cubicBezTo>
                      <a:pt x="2392" y="17464"/>
                      <a:pt x="2811" y="22727"/>
                      <a:pt x="2990" y="30382"/>
                    </a:cubicBezTo>
                    <a:cubicBezTo>
                      <a:pt x="5203" y="27870"/>
                      <a:pt x="7296" y="25239"/>
                      <a:pt x="9210" y="22488"/>
                    </a:cubicBezTo>
                    <a:cubicBezTo>
                      <a:pt x="8253" y="14892"/>
                      <a:pt x="6579" y="7177"/>
                      <a:pt x="4665" y="0"/>
                    </a:cubicBezTo>
                    <a:lnTo>
                      <a:pt x="0" y="8732"/>
                    </a:lnTo>
                    <a:close/>
                  </a:path>
                </a:pathLst>
              </a:custGeom>
              <a:grpFill/>
              <a:ln w="5978" cap="flat">
                <a:noFill/>
                <a:prstDash val="solid"/>
                <a:miter/>
              </a:ln>
            </p:spPr>
            <p:txBody>
              <a:bodyPr rtlCol="0" anchor="ctr"/>
              <a:lstStyle/>
              <a:p>
                <a:endParaRPr lang="en-GB"/>
              </a:p>
            </p:txBody>
          </p:sp>
        </p:grpSp>
      </p:grpSp>
      <p:grpSp>
        <p:nvGrpSpPr>
          <p:cNvPr id="43" name="ICOON2_GROEN">
            <a:extLst>
              <a:ext uri="{FF2B5EF4-FFF2-40B4-BE49-F238E27FC236}">
                <a16:creationId xmlns:a16="http://schemas.microsoft.com/office/drawing/2014/main" id="{C1EDFFC6-FF88-4CED-B35C-A45064301802}"/>
              </a:ext>
            </a:extLst>
          </p:cNvPr>
          <p:cNvGrpSpPr/>
          <p:nvPr/>
        </p:nvGrpSpPr>
        <p:grpSpPr>
          <a:xfrm>
            <a:off x="10564725" y="3429925"/>
            <a:ext cx="287074" cy="287074"/>
            <a:chOff x="8946402" y="1045231"/>
            <a:chExt cx="287074" cy="287074"/>
          </a:xfrm>
          <a:solidFill>
            <a:schemeClr val="accent6"/>
          </a:solidFill>
          <a:effectLst>
            <a:outerShdw blurRad="190500" algn="ctr" rotWithShape="0">
              <a:prstClr val="black">
                <a:alpha val="50000"/>
              </a:prstClr>
            </a:outerShdw>
          </a:effectLst>
        </p:grpSpPr>
        <p:sp>
          <p:nvSpPr>
            <p:cNvPr id="44" name="Vrije vorm: vorm 43">
              <a:extLst>
                <a:ext uri="{FF2B5EF4-FFF2-40B4-BE49-F238E27FC236}">
                  <a16:creationId xmlns:a16="http://schemas.microsoft.com/office/drawing/2014/main" id="{8CD574FE-6841-4E05-BD3E-C4060BD2E7A1}"/>
                </a:ext>
              </a:extLst>
            </p:cNvPr>
            <p:cNvSpPr/>
            <p:nvPr/>
          </p:nvSpPr>
          <p:spPr>
            <a:xfrm>
              <a:off x="8946402" y="1045231"/>
              <a:ext cx="287074" cy="287074"/>
            </a:xfrm>
            <a:custGeom>
              <a:avLst/>
              <a:gdLst>
                <a:gd name="connsiteX0" fmla="*/ 143537 w 287074"/>
                <a:gd name="connsiteY0" fmla="*/ 26076 h 287074"/>
                <a:gd name="connsiteX1" fmla="*/ 260999 w 287074"/>
                <a:gd name="connsiteY1" fmla="*/ 143537 h 287074"/>
                <a:gd name="connsiteX2" fmla="*/ 143537 w 287074"/>
                <a:gd name="connsiteY2" fmla="*/ 260999 h 287074"/>
                <a:gd name="connsiteX3" fmla="*/ 26076 w 287074"/>
                <a:gd name="connsiteY3" fmla="*/ 143537 h 287074"/>
                <a:gd name="connsiteX4" fmla="*/ 143537 w 287074"/>
                <a:gd name="connsiteY4" fmla="*/ 26076 h 287074"/>
                <a:gd name="connsiteX5" fmla="*/ 143537 w 287074"/>
                <a:gd name="connsiteY5" fmla="*/ 0 h 287074"/>
                <a:gd name="connsiteX6" fmla="*/ 0 w 287074"/>
                <a:gd name="connsiteY6" fmla="*/ 143537 h 287074"/>
                <a:gd name="connsiteX7" fmla="*/ 143537 w 287074"/>
                <a:gd name="connsiteY7" fmla="*/ 287075 h 287074"/>
                <a:gd name="connsiteX8" fmla="*/ 287075 w 287074"/>
                <a:gd name="connsiteY8" fmla="*/ 143537 h 287074"/>
                <a:gd name="connsiteX9" fmla="*/ 143537 w 287074"/>
                <a:gd name="connsiteY9" fmla="*/ 0 h 287074"/>
                <a:gd name="connsiteX10" fmla="*/ 143537 w 287074"/>
                <a:gd name="connsiteY10" fmla="*/ 0 h 28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074" h="287074">
                  <a:moveTo>
                    <a:pt x="143537" y="26076"/>
                  </a:moveTo>
                  <a:cubicBezTo>
                    <a:pt x="208308" y="26076"/>
                    <a:pt x="260999" y="78766"/>
                    <a:pt x="260999" y="143537"/>
                  </a:cubicBezTo>
                  <a:cubicBezTo>
                    <a:pt x="260999" y="208309"/>
                    <a:pt x="208308" y="260999"/>
                    <a:pt x="143537" y="260999"/>
                  </a:cubicBezTo>
                  <a:cubicBezTo>
                    <a:pt x="78766" y="260999"/>
                    <a:pt x="26076" y="208309"/>
                    <a:pt x="26076" y="143537"/>
                  </a:cubicBezTo>
                  <a:cubicBezTo>
                    <a:pt x="26076" y="78766"/>
                    <a:pt x="78766" y="26076"/>
                    <a:pt x="143537" y="26076"/>
                  </a:cubicBezTo>
                  <a:moveTo>
                    <a:pt x="143537" y="0"/>
                  </a:moveTo>
                  <a:cubicBezTo>
                    <a:pt x="64293" y="0"/>
                    <a:pt x="0" y="64293"/>
                    <a:pt x="0" y="143537"/>
                  </a:cubicBezTo>
                  <a:cubicBezTo>
                    <a:pt x="0" y="222782"/>
                    <a:pt x="64293" y="287075"/>
                    <a:pt x="143537" y="287075"/>
                  </a:cubicBezTo>
                  <a:cubicBezTo>
                    <a:pt x="222782" y="287075"/>
                    <a:pt x="287075" y="222782"/>
                    <a:pt x="287075" y="143537"/>
                  </a:cubicBezTo>
                  <a:cubicBezTo>
                    <a:pt x="287075" y="64293"/>
                    <a:pt x="222842" y="0"/>
                    <a:pt x="143537" y="0"/>
                  </a:cubicBezTo>
                  <a:lnTo>
                    <a:pt x="143537" y="0"/>
                  </a:lnTo>
                  <a:close/>
                </a:path>
              </a:pathLst>
            </a:custGeom>
            <a:grpFill/>
            <a:ln w="5978" cap="flat">
              <a:no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4BF99CD5-D671-4FC3-B99F-8E8FB029BD52}"/>
                </a:ext>
              </a:extLst>
            </p:cNvPr>
            <p:cNvSpPr/>
            <p:nvPr/>
          </p:nvSpPr>
          <p:spPr>
            <a:xfrm>
              <a:off x="9019307" y="1110002"/>
              <a:ext cx="141982" cy="71050"/>
            </a:xfrm>
            <a:custGeom>
              <a:avLst/>
              <a:gdLst>
                <a:gd name="connsiteX0" fmla="*/ 70991 w 141982"/>
                <a:gd name="connsiteY0" fmla="*/ 71051 h 71050"/>
                <a:gd name="connsiteX1" fmla="*/ 141982 w 141982"/>
                <a:gd name="connsiteY1" fmla="*/ 47367 h 71050"/>
                <a:gd name="connsiteX2" fmla="*/ 141982 w 141982"/>
                <a:gd name="connsiteY2" fmla="*/ 23684 h 71050"/>
                <a:gd name="connsiteX3" fmla="*/ 70991 w 141982"/>
                <a:gd name="connsiteY3" fmla="*/ 0 h 71050"/>
                <a:gd name="connsiteX4" fmla="*/ 0 w 141982"/>
                <a:gd name="connsiteY4" fmla="*/ 23684 h 71050"/>
                <a:gd name="connsiteX5" fmla="*/ 0 w 141982"/>
                <a:gd name="connsiteY5" fmla="*/ 47367 h 71050"/>
                <a:gd name="connsiteX6" fmla="*/ 70991 w 141982"/>
                <a:gd name="connsiteY6" fmla="*/ 71051 h 71050"/>
                <a:gd name="connsiteX7" fmla="*/ 70991 w 141982"/>
                <a:gd name="connsiteY7" fmla="*/ 9988 h 71050"/>
                <a:gd name="connsiteX8" fmla="*/ 125715 w 141982"/>
                <a:gd name="connsiteY8" fmla="*/ 23743 h 71050"/>
                <a:gd name="connsiteX9" fmla="*/ 70991 w 141982"/>
                <a:gd name="connsiteY9" fmla="*/ 37499 h 71050"/>
                <a:gd name="connsiteX10" fmla="*/ 16267 w 141982"/>
                <a:gd name="connsiteY10" fmla="*/ 23743 h 71050"/>
                <a:gd name="connsiteX11" fmla="*/ 70991 w 141982"/>
                <a:gd name="connsiteY11" fmla="*/ 9988 h 71050"/>
                <a:gd name="connsiteX12" fmla="*/ 70991 w 141982"/>
                <a:gd name="connsiteY12" fmla="*/ 9988 h 7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982" h="71050">
                  <a:moveTo>
                    <a:pt x="70991" y="71051"/>
                  </a:moveTo>
                  <a:cubicBezTo>
                    <a:pt x="110045" y="71051"/>
                    <a:pt x="141982" y="60465"/>
                    <a:pt x="141982" y="47367"/>
                  </a:cubicBezTo>
                  <a:lnTo>
                    <a:pt x="141982" y="23684"/>
                  </a:lnTo>
                  <a:cubicBezTo>
                    <a:pt x="141982" y="10586"/>
                    <a:pt x="110285" y="0"/>
                    <a:pt x="70991" y="0"/>
                  </a:cubicBezTo>
                  <a:cubicBezTo>
                    <a:pt x="31698" y="0"/>
                    <a:pt x="0" y="10586"/>
                    <a:pt x="0" y="23684"/>
                  </a:cubicBezTo>
                  <a:lnTo>
                    <a:pt x="0" y="47367"/>
                  </a:lnTo>
                  <a:cubicBezTo>
                    <a:pt x="0" y="60465"/>
                    <a:pt x="31698" y="71051"/>
                    <a:pt x="70991" y="71051"/>
                  </a:cubicBezTo>
                  <a:close/>
                  <a:moveTo>
                    <a:pt x="70991" y="9988"/>
                  </a:moveTo>
                  <a:cubicBezTo>
                    <a:pt x="101194" y="9988"/>
                    <a:pt x="125715" y="16088"/>
                    <a:pt x="125715" y="23743"/>
                  </a:cubicBezTo>
                  <a:cubicBezTo>
                    <a:pt x="125715" y="31399"/>
                    <a:pt x="101194" y="37499"/>
                    <a:pt x="70991" y="37499"/>
                  </a:cubicBezTo>
                  <a:cubicBezTo>
                    <a:pt x="40789" y="37499"/>
                    <a:pt x="16267" y="31399"/>
                    <a:pt x="16267" y="23743"/>
                  </a:cubicBezTo>
                  <a:cubicBezTo>
                    <a:pt x="16267" y="16088"/>
                    <a:pt x="40789" y="10167"/>
                    <a:pt x="70991" y="9988"/>
                  </a:cubicBezTo>
                  <a:lnTo>
                    <a:pt x="70991" y="9988"/>
                  </a:lnTo>
                  <a:close/>
                </a:path>
              </a:pathLst>
            </a:custGeom>
            <a:grpFill/>
            <a:ln w="5978" cap="flat">
              <a:noFill/>
              <a:prstDash val="solid"/>
              <a:miter/>
            </a:ln>
          </p:spPr>
          <p:txBody>
            <a:bodyPr rtlCol="0" anchor="ctr"/>
            <a:lstStyle/>
            <a:p>
              <a:endParaRPr lang="en-GB"/>
            </a:p>
          </p:txBody>
        </p:sp>
        <p:sp>
          <p:nvSpPr>
            <p:cNvPr id="46" name="Vrije vorm: vorm 45">
              <a:extLst>
                <a:ext uri="{FF2B5EF4-FFF2-40B4-BE49-F238E27FC236}">
                  <a16:creationId xmlns:a16="http://schemas.microsoft.com/office/drawing/2014/main" id="{10083646-ACE9-4D6D-8EEB-8772F3C05A4F}"/>
                </a:ext>
              </a:extLst>
            </p:cNvPr>
            <p:cNvSpPr/>
            <p:nvPr/>
          </p:nvSpPr>
          <p:spPr>
            <a:xfrm>
              <a:off x="9019128" y="1167716"/>
              <a:ext cx="159906" cy="100398"/>
            </a:xfrm>
            <a:custGeom>
              <a:avLst/>
              <a:gdLst>
                <a:gd name="connsiteX0" fmla="*/ 141982 w 159906"/>
                <a:gd name="connsiteY0" fmla="*/ 24700 h 100398"/>
                <a:gd name="connsiteX1" fmla="*/ 141982 w 159906"/>
                <a:gd name="connsiteY1" fmla="*/ 5682 h 100398"/>
                <a:gd name="connsiteX2" fmla="*/ 140906 w 159906"/>
                <a:gd name="connsiteY2" fmla="*/ 2093 h 100398"/>
                <a:gd name="connsiteX3" fmla="*/ 139411 w 159906"/>
                <a:gd name="connsiteY3" fmla="*/ 0 h 100398"/>
                <a:gd name="connsiteX4" fmla="*/ 70991 w 159906"/>
                <a:gd name="connsiteY4" fmla="*/ 17763 h 100398"/>
                <a:gd name="connsiteX5" fmla="*/ 2572 w 159906"/>
                <a:gd name="connsiteY5" fmla="*/ 0 h 100398"/>
                <a:gd name="connsiteX6" fmla="*/ 1077 w 159906"/>
                <a:gd name="connsiteY6" fmla="*/ 2332 h 100398"/>
                <a:gd name="connsiteX7" fmla="*/ 0 w 159906"/>
                <a:gd name="connsiteY7" fmla="*/ 5921 h 100398"/>
                <a:gd name="connsiteX8" fmla="*/ 0 w 159906"/>
                <a:gd name="connsiteY8" fmla="*/ 29605 h 100398"/>
                <a:gd name="connsiteX9" fmla="*/ 70991 w 159906"/>
                <a:gd name="connsiteY9" fmla="*/ 53288 h 100398"/>
                <a:gd name="connsiteX10" fmla="*/ 76912 w 159906"/>
                <a:gd name="connsiteY10" fmla="*/ 53288 h 100398"/>
                <a:gd name="connsiteX11" fmla="*/ 76494 w 159906"/>
                <a:gd name="connsiteY11" fmla="*/ 57535 h 100398"/>
                <a:gd name="connsiteX12" fmla="*/ 70991 w 159906"/>
                <a:gd name="connsiteY12" fmla="*/ 57535 h 100398"/>
                <a:gd name="connsiteX13" fmla="*/ 2572 w 159906"/>
                <a:gd name="connsiteY13" fmla="*/ 39772 h 100398"/>
                <a:gd name="connsiteX14" fmla="*/ 60 w 159906"/>
                <a:gd name="connsiteY14" fmla="*/ 45693 h 100398"/>
                <a:gd name="connsiteX15" fmla="*/ 60 w 159906"/>
                <a:gd name="connsiteY15" fmla="*/ 69376 h 100398"/>
                <a:gd name="connsiteX16" fmla="*/ 71051 w 159906"/>
                <a:gd name="connsiteY16" fmla="*/ 93060 h 100398"/>
                <a:gd name="connsiteX17" fmla="*/ 93240 w 159906"/>
                <a:gd name="connsiteY17" fmla="*/ 91804 h 100398"/>
                <a:gd name="connsiteX18" fmla="*/ 151313 w 159906"/>
                <a:gd name="connsiteY18" fmla="*/ 84209 h 100398"/>
                <a:gd name="connsiteX19" fmla="*/ 143717 w 159906"/>
                <a:gd name="connsiteY19" fmla="*/ 26136 h 100398"/>
                <a:gd name="connsiteX20" fmla="*/ 141982 w 159906"/>
                <a:gd name="connsiteY20" fmla="*/ 24700 h 100398"/>
                <a:gd name="connsiteX21" fmla="*/ 141982 w 159906"/>
                <a:gd name="connsiteY21" fmla="*/ 24700 h 100398"/>
                <a:gd name="connsiteX22" fmla="*/ 118059 w 159906"/>
                <a:gd name="connsiteY22" fmla="*/ 91505 h 100398"/>
                <a:gd name="connsiteX23" fmla="*/ 85106 w 159906"/>
                <a:gd name="connsiteY23" fmla="*/ 58551 h 100398"/>
                <a:gd name="connsiteX24" fmla="*/ 118059 w 159906"/>
                <a:gd name="connsiteY24" fmla="*/ 25597 h 100398"/>
                <a:gd name="connsiteX25" fmla="*/ 151013 w 159906"/>
                <a:gd name="connsiteY25" fmla="*/ 58551 h 100398"/>
                <a:gd name="connsiteX26" fmla="*/ 118059 w 159906"/>
                <a:gd name="connsiteY26" fmla="*/ 91505 h 100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9906" h="100398">
                  <a:moveTo>
                    <a:pt x="141982" y="24700"/>
                  </a:moveTo>
                  <a:lnTo>
                    <a:pt x="141982" y="5682"/>
                  </a:lnTo>
                  <a:cubicBezTo>
                    <a:pt x="141982" y="4426"/>
                    <a:pt x="141564" y="3170"/>
                    <a:pt x="140906" y="2093"/>
                  </a:cubicBezTo>
                  <a:cubicBezTo>
                    <a:pt x="140487" y="1256"/>
                    <a:pt x="140069" y="598"/>
                    <a:pt x="139411" y="0"/>
                  </a:cubicBezTo>
                  <a:cubicBezTo>
                    <a:pt x="131576" y="10167"/>
                    <a:pt x="103945" y="17763"/>
                    <a:pt x="70991" y="17763"/>
                  </a:cubicBezTo>
                  <a:cubicBezTo>
                    <a:pt x="38037" y="17763"/>
                    <a:pt x="10347" y="10167"/>
                    <a:pt x="2572" y="0"/>
                  </a:cubicBezTo>
                  <a:cubicBezTo>
                    <a:pt x="1914" y="658"/>
                    <a:pt x="1495" y="1495"/>
                    <a:pt x="1077" y="2332"/>
                  </a:cubicBezTo>
                  <a:cubicBezTo>
                    <a:pt x="419" y="3409"/>
                    <a:pt x="0" y="4665"/>
                    <a:pt x="0" y="5921"/>
                  </a:cubicBezTo>
                  <a:lnTo>
                    <a:pt x="0" y="29605"/>
                  </a:lnTo>
                  <a:cubicBezTo>
                    <a:pt x="0" y="42702"/>
                    <a:pt x="31698" y="53288"/>
                    <a:pt x="70991" y="53288"/>
                  </a:cubicBezTo>
                  <a:cubicBezTo>
                    <a:pt x="73085" y="53288"/>
                    <a:pt x="74998" y="53288"/>
                    <a:pt x="76912" y="53288"/>
                  </a:cubicBezTo>
                  <a:cubicBezTo>
                    <a:pt x="76673" y="54783"/>
                    <a:pt x="76673" y="56039"/>
                    <a:pt x="76494" y="57535"/>
                  </a:cubicBezTo>
                  <a:cubicBezTo>
                    <a:pt x="74580" y="57535"/>
                    <a:pt x="72666" y="57535"/>
                    <a:pt x="70991" y="57535"/>
                  </a:cubicBezTo>
                  <a:cubicBezTo>
                    <a:pt x="38037" y="57535"/>
                    <a:pt x="10347" y="50118"/>
                    <a:pt x="2572" y="39772"/>
                  </a:cubicBezTo>
                  <a:cubicBezTo>
                    <a:pt x="1077" y="41446"/>
                    <a:pt x="239" y="43599"/>
                    <a:pt x="60" y="45693"/>
                  </a:cubicBezTo>
                  <a:lnTo>
                    <a:pt x="60" y="69376"/>
                  </a:lnTo>
                  <a:cubicBezTo>
                    <a:pt x="60" y="82474"/>
                    <a:pt x="31758" y="93060"/>
                    <a:pt x="71051" y="93060"/>
                  </a:cubicBezTo>
                  <a:cubicBezTo>
                    <a:pt x="78467" y="93060"/>
                    <a:pt x="85824" y="92641"/>
                    <a:pt x="93240" y="91804"/>
                  </a:cubicBezTo>
                  <a:cubicBezTo>
                    <a:pt x="111421" y="105739"/>
                    <a:pt x="137378" y="102390"/>
                    <a:pt x="151313" y="84209"/>
                  </a:cubicBezTo>
                  <a:cubicBezTo>
                    <a:pt x="165247" y="66027"/>
                    <a:pt x="161899" y="40071"/>
                    <a:pt x="143717" y="26136"/>
                  </a:cubicBezTo>
                  <a:cubicBezTo>
                    <a:pt x="143239" y="25597"/>
                    <a:pt x="142581" y="24940"/>
                    <a:pt x="141982" y="24700"/>
                  </a:cubicBezTo>
                  <a:lnTo>
                    <a:pt x="141982" y="24700"/>
                  </a:lnTo>
                  <a:close/>
                  <a:moveTo>
                    <a:pt x="118059" y="91505"/>
                  </a:moveTo>
                  <a:cubicBezTo>
                    <a:pt x="99879" y="91505"/>
                    <a:pt x="85106" y="76733"/>
                    <a:pt x="85106" y="58551"/>
                  </a:cubicBezTo>
                  <a:cubicBezTo>
                    <a:pt x="85106" y="40370"/>
                    <a:pt x="99879" y="25597"/>
                    <a:pt x="118059" y="25597"/>
                  </a:cubicBezTo>
                  <a:cubicBezTo>
                    <a:pt x="136241" y="25597"/>
                    <a:pt x="151013" y="40370"/>
                    <a:pt x="151013" y="58551"/>
                  </a:cubicBezTo>
                  <a:cubicBezTo>
                    <a:pt x="151013" y="76733"/>
                    <a:pt x="136241" y="91505"/>
                    <a:pt x="118059" y="91505"/>
                  </a:cubicBezTo>
                  <a:close/>
                </a:path>
              </a:pathLst>
            </a:custGeom>
            <a:grpFill/>
            <a:ln w="5978" cap="flat">
              <a:noFill/>
              <a:prstDash val="solid"/>
              <a:miter/>
            </a:ln>
          </p:spPr>
          <p:txBody>
            <a:bodyPr rtlCol="0" anchor="ctr"/>
            <a:lstStyle/>
            <a:p>
              <a:endParaRPr lang="en-GB"/>
            </a:p>
          </p:txBody>
        </p:sp>
        <p:grpSp>
          <p:nvGrpSpPr>
            <p:cNvPr id="47" name="Graphic 3">
              <a:extLst>
                <a:ext uri="{FF2B5EF4-FFF2-40B4-BE49-F238E27FC236}">
                  <a16:creationId xmlns:a16="http://schemas.microsoft.com/office/drawing/2014/main" id="{B9920E18-4AF7-47E1-BD2D-994AB3793776}"/>
                </a:ext>
              </a:extLst>
            </p:cNvPr>
            <p:cNvGrpSpPr/>
            <p:nvPr/>
          </p:nvGrpSpPr>
          <p:grpSpPr>
            <a:xfrm>
              <a:off x="9111351" y="1200371"/>
              <a:ext cx="51673" cy="51733"/>
              <a:chOff x="9111351" y="1200371"/>
              <a:chExt cx="51673" cy="51733"/>
            </a:xfrm>
            <a:grpFill/>
          </p:grpSpPr>
          <p:grpSp>
            <p:nvGrpSpPr>
              <p:cNvPr id="48" name="Graphic 3">
                <a:extLst>
                  <a:ext uri="{FF2B5EF4-FFF2-40B4-BE49-F238E27FC236}">
                    <a16:creationId xmlns:a16="http://schemas.microsoft.com/office/drawing/2014/main" id="{9FA181B4-8D1A-44AC-BC1C-2BFB2AE7562C}"/>
                  </a:ext>
                </a:extLst>
              </p:cNvPr>
              <p:cNvGrpSpPr/>
              <p:nvPr/>
            </p:nvGrpSpPr>
            <p:grpSpPr>
              <a:xfrm>
                <a:off x="9111351" y="1200371"/>
                <a:ext cx="25836" cy="51733"/>
                <a:chOff x="9111351" y="1200371"/>
                <a:chExt cx="25836" cy="51733"/>
              </a:xfrm>
              <a:grpFill/>
            </p:grpSpPr>
            <p:sp>
              <p:nvSpPr>
                <p:cNvPr id="56" name="Vrije vorm: vorm 55">
                  <a:extLst>
                    <a:ext uri="{FF2B5EF4-FFF2-40B4-BE49-F238E27FC236}">
                      <a16:creationId xmlns:a16="http://schemas.microsoft.com/office/drawing/2014/main" id="{15043AAF-0025-4747-AF2B-B898E84BC32E}"/>
                    </a:ext>
                  </a:extLst>
                </p:cNvPr>
                <p:cNvSpPr/>
                <p:nvPr/>
              </p:nvSpPr>
              <p:spPr>
                <a:xfrm>
                  <a:off x="9129293" y="1200371"/>
                  <a:ext cx="7894" cy="12978"/>
                </a:xfrm>
                <a:custGeom>
                  <a:avLst/>
                  <a:gdLst>
                    <a:gd name="connsiteX0" fmla="*/ 7894 w 7894"/>
                    <a:gd name="connsiteY0" fmla="*/ 0 h 12978"/>
                    <a:gd name="connsiteX1" fmla="*/ 0 w 7894"/>
                    <a:gd name="connsiteY1" fmla="*/ 12978 h 12978"/>
                    <a:gd name="connsiteX2" fmla="*/ 7894 w 7894"/>
                    <a:gd name="connsiteY2" fmla="*/ 12978 h 12978"/>
                    <a:gd name="connsiteX3" fmla="*/ 7894 w 7894"/>
                    <a:gd name="connsiteY3" fmla="*/ 0 h 12978"/>
                    <a:gd name="connsiteX4" fmla="*/ 7894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7894" y="0"/>
                      </a:moveTo>
                      <a:cubicBezTo>
                        <a:pt x="5263" y="0"/>
                        <a:pt x="1854" y="4725"/>
                        <a:pt x="0" y="12978"/>
                      </a:cubicBezTo>
                      <a:lnTo>
                        <a:pt x="7894" y="12978"/>
                      </a:lnTo>
                      <a:lnTo>
                        <a:pt x="7894" y="0"/>
                      </a:lnTo>
                      <a:cubicBezTo>
                        <a:pt x="7894" y="0"/>
                        <a:pt x="7894" y="0"/>
                        <a:pt x="7894" y="0"/>
                      </a:cubicBezTo>
                      <a:close/>
                    </a:path>
                  </a:pathLst>
                </a:custGeom>
                <a:grpFill/>
                <a:ln w="5978" cap="flat">
                  <a:noFill/>
                  <a:prstDash val="solid"/>
                  <a:miter/>
                </a:ln>
              </p:spPr>
              <p:txBody>
                <a:bodyPr rtlCol="0" anchor="ctr"/>
                <a:lstStyle/>
                <a:p>
                  <a:endParaRPr lang="en-GB"/>
                </a:p>
              </p:txBody>
            </p:sp>
            <p:sp>
              <p:nvSpPr>
                <p:cNvPr id="57" name="Vrije vorm: vorm 56">
                  <a:extLst>
                    <a:ext uri="{FF2B5EF4-FFF2-40B4-BE49-F238E27FC236}">
                      <a16:creationId xmlns:a16="http://schemas.microsoft.com/office/drawing/2014/main" id="{15366096-CBC9-449D-B394-D3FBB3AFC64A}"/>
                    </a:ext>
                  </a:extLst>
                </p:cNvPr>
                <p:cNvSpPr/>
                <p:nvPr/>
              </p:nvSpPr>
              <p:spPr>
                <a:xfrm>
                  <a:off x="9114879" y="1202165"/>
                  <a:ext cx="13098" cy="11243"/>
                </a:xfrm>
                <a:custGeom>
                  <a:avLst/>
                  <a:gdLst>
                    <a:gd name="connsiteX0" fmla="*/ 13098 w 13098"/>
                    <a:gd name="connsiteY0" fmla="*/ 0 h 11243"/>
                    <a:gd name="connsiteX1" fmla="*/ 0 w 13098"/>
                    <a:gd name="connsiteY1" fmla="*/ 11244 h 11243"/>
                    <a:gd name="connsiteX2" fmla="*/ 9151 w 13098"/>
                    <a:gd name="connsiteY2" fmla="*/ 11244 h 11243"/>
                    <a:gd name="connsiteX3" fmla="*/ 13098 w 13098"/>
                    <a:gd name="connsiteY3" fmla="*/ 0 h 11243"/>
                  </a:gdLst>
                  <a:ahLst/>
                  <a:cxnLst>
                    <a:cxn ang="0">
                      <a:pos x="connsiteX0" y="connsiteY0"/>
                    </a:cxn>
                    <a:cxn ang="0">
                      <a:pos x="connsiteX1" y="connsiteY1"/>
                    </a:cxn>
                    <a:cxn ang="0">
                      <a:pos x="connsiteX2" y="connsiteY2"/>
                    </a:cxn>
                    <a:cxn ang="0">
                      <a:pos x="connsiteX3" y="connsiteY3"/>
                    </a:cxn>
                  </a:cxnLst>
                  <a:rect l="l" t="t" r="r" b="b"/>
                  <a:pathLst>
                    <a:path w="13098" h="11243">
                      <a:moveTo>
                        <a:pt x="13098" y="0"/>
                      </a:moveTo>
                      <a:cubicBezTo>
                        <a:pt x="7476" y="2093"/>
                        <a:pt x="2871" y="6160"/>
                        <a:pt x="0" y="11244"/>
                      </a:cubicBezTo>
                      <a:lnTo>
                        <a:pt x="9151" y="11244"/>
                      </a:lnTo>
                      <a:cubicBezTo>
                        <a:pt x="9988" y="6818"/>
                        <a:pt x="11304" y="2931"/>
                        <a:pt x="13098" y="0"/>
                      </a:cubicBezTo>
                      <a:close/>
                    </a:path>
                  </a:pathLst>
                </a:custGeom>
                <a:grpFill/>
                <a:ln w="5978" cap="flat">
                  <a:noFill/>
                  <a:prstDash val="solid"/>
                  <a:miter/>
                </a:ln>
              </p:spPr>
              <p:txBody>
                <a:bodyPr rtlCol="0" anchor="ctr"/>
                <a:lstStyle/>
                <a:p>
                  <a:endParaRPr lang="en-GB"/>
                </a:p>
              </p:txBody>
            </p:sp>
            <p:sp>
              <p:nvSpPr>
                <p:cNvPr id="58" name="Vrije vorm: vorm 57">
                  <a:extLst>
                    <a:ext uri="{FF2B5EF4-FFF2-40B4-BE49-F238E27FC236}">
                      <a16:creationId xmlns:a16="http://schemas.microsoft.com/office/drawing/2014/main" id="{02D24BEC-CDA4-445D-B0A5-A7343794270F}"/>
                    </a:ext>
                  </a:extLst>
                </p:cNvPr>
                <p:cNvSpPr/>
                <p:nvPr/>
              </p:nvSpPr>
              <p:spPr>
                <a:xfrm>
                  <a:off x="9127977" y="1218552"/>
                  <a:ext cx="9209" cy="15430"/>
                </a:xfrm>
                <a:custGeom>
                  <a:avLst/>
                  <a:gdLst>
                    <a:gd name="connsiteX0" fmla="*/ 418 w 9209"/>
                    <a:gd name="connsiteY0" fmla="*/ 0 h 15430"/>
                    <a:gd name="connsiteX1" fmla="*/ 0 w 9209"/>
                    <a:gd name="connsiteY1" fmla="*/ 7715 h 15430"/>
                    <a:gd name="connsiteX2" fmla="*/ 418 w 9209"/>
                    <a:gd name="connsiteY2" fmla="*/ 15430 h 15430"/>
                    <a:gd name="connsiteX3" fmla="*/ 9210 w 9209"/>
                    <a:gd name="connsiteY3" fmla="*/ 15430 h 15430"/>
                    <a:gd name="connsiteX4" fmla="*/ 9210 w 9209"/>
                    <a:gd name="connsiteY4" fmla="*/ 0 h 15430"/>
                    <a:gd name="connsiteX5" fmla="*/ 418 w 9209"/>
                    <a:gd name="connsiteY5" fmla="*/ 0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9" h="15430">
                      <a:moveTo>
                        <a:pt x="418" y="0"/>
                      </a:moveTo>
                      <a:cubicBezTo>
                        <a:pt x="60" y="2392"/>
                        <a:pt x="0" y="4964"/>
                        <a:pt x="0" y="7715"/>
                      </a:cubicBezTo>
                      <a:cubicBezTo>
                        <a:pt x="0" y="10466"/>
                        <a:pt x="239" y="12978"/>
                        <a:pt x="418" y="15430"/>
                      </a:cubicBezTo>
                      <a:lnTo>
                        <a:pt x="9210" y="15430"/>
                      </a:lnTo>
                      <a:lnTo>
                        <a:pt x="9210" y="0"/>
                      </a:lnTo>
                      <a:lnTo>
                        <a:pt x="418" y="0"/>
                      </a:lnTo>
                      <a:close/>
                    </a:path>
                  </a:pathLst>
                </a:custGeom>
                <a:grpFill/>
                <a:ln w="5978" cap="flat">
                  <a:noFill/>
                  <a:prstDash val="solid"/>
                  <a:miter/>
                </a:ln>
              </p:spPr>
              <p:txBody>
                <a:bodyPr rtlCol="0" anchor="ctr"/>
                <a:lstStyle/>
                <a:p>
                  <a:endParaRPr lang="en-GB"/>
                </a:p>
              </p:txBody>
            </p:sp>
            <p:sp>
              <p:nvSpPr>
                <p:cNvPr id="59" name="Vrije vorm: vorm 58">
                  <a:extLst>
                    <a:ext uri="{FF2B5EF4-FFF2-40B4-BE49-F238E27FC236}">
                      <a16:creationId xmlns:a16="http://schemas.microsoft.com/office/drawing/2014/main" id="{F7B617BE-B285-486B-B72E-176B64494B33}"/>
                    </a:ext>
                  </a:extLst>
                </p:cNvPr>
                <p:cNvSpPr/>
                <p:nvPr/>
              </p:nvSpPr>
              <p:spPr>
                <a:xfrm>
                  <a:off x="9114879" y="1239126"/>
                  <a:ext cx="12978" cy="11243"/>
                </a:xfrm>
                <a:custGeom>
                  <a:avLst/>
                  <a:gdLst>
                    <a:gd name="connsiteX0" fmla="*/ 0 w 12978"/>
                    <a:gd name="connsiteY0" fmla="*/ 0 h 11243"/>
                    <a:gd name="connsiteX1" fmla="*/ 12978 w 12978"/>
                    <a:gd name="connsiteY1" fmla="*/ 11244 h 11243"/>
                    <a:gd name="connsiteX2" fmla="*/ 9031 w 12978"/>
                    <a:gd name="connsiteY2" fmla="*/ 0 h 11243"/>
                    <a:gd name="connsiteX3" fmla="*/ 0 w 12978"/>
                    <a:gd name="connsiteY3" fmla="*/ 0 h 11243"/>
                  </a:gdLst>
                  <a:ahLst/>
                  <a:cxnLst>
                    <a:cxn ang="0">
                      <a:pos x="connsiteX0" y="connsiteY0"/>
                    </a:cxn>
                    <a:cxn ang="0">
                      <a:pos x="connsiteX1" y="connsiteY1"/>
                    </a:cxn>
                    <a:cxn ang="0">
                      <a:pos x="connsiteX2" y="connsiteY2"/>
                    </a:cxn>
                    <a:cxn ang="0">
                      <a:pos x="connsiteX3" y="connsiteY3"/>
                    </a:cxn>
                  </a:cxnLst>
                  <a:rect l="l" t="t" r="r" b="b"/>
                  <a:pathLst>
                    <a:path w="12978" h="11243">
                      <a:moveTo>
                        <a:pt x="0" y="0"/>
                      </a:moveTo>
                      <a:cubicBezTo>
                        <a:pt x="2871" y="5084"/>
                        <a:pt x="7476" y="9150"/>
                        <a:pt x="12978" y="11244"/>
                      </a:cubicBezTo>
                      <a:cubicBezTo>
                        <a:pt x="11304" y="8253"/>
                        <a:pt x="9868" y="4426"/>
                        <a:pt x="9031" y="0"/>
                      </a:cubicBezTo>
                      <a:lnTo>
                        <a:pt x="0" y="0"/>
                      </a:lnTo>
                      <a:close/>
                    </a:path>
                  </a:pathLst>
                </a:custGeom>
                <a:grpFill/>
                <a:ln w="5978" cap="flat">
                  <a:noFill/>
                  <a:prstDash val="solid"/>
                  <a:miter/>
                </a:ln>
              </p:spPr>
              <p:txBody>
                <a:bodyPr rtlCol="0" anchor="ctr"/>
                <a:lstStyle/>
                <a:p>
                  <a:endParaRPr lang="en-GB"/>
                </a:p>
              </p:txBody>
            </p:sp>
            <p:sp>
              <p:nvSpPr>
                <p:cNvPr id="60" name="Vrije vorm: vorm 59">
                  <a:extLst>
                    <a:ext uri="{FF2B5EF4-FFF2-40B4-BE49-F238E27FC236}">
                      <a16:creationId xmlns:a16="http://schemas.microsoft.com/office/drawing/2014/main" id="{83CF77E6-33E9-43F8-A021-EC445CB84F87}"/>
                    </a:ext>
                  </a:extLst>
                </p:cNvPr>
                <p:cNvSpPr/>
                <p:nvPr/>
              </p:nvSpPr>
              <p:spPr>
                <a:xfrm>
                  <a:off x="9129293" y="1239126"/>
                  <a:ext cx="7894" cy="12978"/>
                </a:xfrm>
                <a:custGeom>
                  <a:avLst/>
                  <a:gdLst>
                    <a:gd name="connsiteX0" fmla="*/ 0 w 7894"/>
                    <a:gd name="connsiteY0" fmla="*/ 0 h 12978"/>
                    <a:gd name="connsiteX1" fmla="*/ 7894 w 7894"/>
                    <a:gd name="connsiteY1" fmla="*/ 12978 h 12978"/>
                    <a:gd name="connsiteX2" fmla="*/ 7894 w 7894"/>
                    <a:gd name="connsiteY2" fmla="*/ 12978 h 12978"/>
                    <a:gd name="connsiteX3" fmla="*/ 7894 w 7894"/>
                    <a:gd name="connsiteY3" fmla="*/ 0 h 12978"/>
                    <a:gd name="connsiteX4" fmla="*/ 0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0" y="0"/>
                      </a:moveTo>
                      <a:cubicBezTo>
                        <a:pt x="1854" y="8253"/>
                        <a:pt x="5263" y="12978"/>
                        <a:pt x="7894" y="12978"/>
                      </a:cubicBezTo>
                      <a:cubicBezTo>
                        <a:pt x="7894" y="12978"/>
                        <a:pt x="7894" y="12978"/>
                        <a:pt x="7894" y="12978"/>
                      </a:cubicBezTo>
                      <a:lnTo>
                        <a:pt x="7894" y="0"/>
                      </a:lnTo>
                      <a:lnTo>
                        <a:pt x="0" y="0"/>
                      </a:lnTo>
                      <a:close/>
                    </a:path>
                  </a:pathLst>
                </a:custGeom>
                <a:grpFill/>
                <a:ln w="5978" cap="flat">
                  <a:noFill/>
                  <a:prstDash val="solid"/>
                  <a:miter/>
                </a:ln>
              </p:spPr>
              <p:txBody>
                <a:bodyPr rtlCol="0" anchor="ctr"/>
                <a:lstStyle/>
                <a:p>
                  <a:endParaRPr lang="en-GB"/>
                </a:p>
              </p:txBody>
            </p:sp>
            <p:sp>
              <p:nvSpPr>
                <p:cNvPr id="61" name="Vrije vorm: vorm 60">
                  <a:extLst>
                    <a:ext uri="{FF2B5EF4-FFF2-40B4-BE49-F238E27FC236}">
                      <a16:creationId xmlns:a16="http://schemas.microsoft.com/office/drawing/2014/main" id="{875CE3CE-FF2E-4628-A00E-C9E2310E2A28}"/>
                    </a:ext>
                  </a:extLst>
                </p:cNvPr>
                <p:cNvSpPr/>
                <p:nvPr/>
              </p:nvSpPr>
              <p:spPr>
                <a:xfrm>
                  <a:off x="9111351" y="1218552"/>
                  <a:ext cx="11841" cy="15430"/>
                </a:xfrm>
                <a:custGeom>
                  <a:avLst/>
                  <a:gdLst>
                    <a:gd name="connsiteX0" fmla="*/ 11423 w 11841"/>
                    <a:gd name="connsiteY0" fmla="*/ 7715 h 15430"/>
                    <a:gd name="connsiteX1" fmla="*/ 11842 w 11841"/>
                    <a:gd name="connsiteY1" fmla="*/ 0 h 15430"/>
                    <a:gd name="connsiteX2" fmla="*/ 1196 w 11841"/>
                    <a:gd name="connsiteY2" fmla="*/ 0 h 15430"/>
                    <a:gd name="connsiteX3" fmla="*/ 0 w 11841"/>
                    <a:gd name="connsiteY3" fmla="*/ 7715 h 15430"/>
                    <a:gd name="connsiteX4" fmla="*/ 1196 w 11841"/>
                    <a:gd name="connsiteY4" fmla="*/ 15430 h 15430"/>
                    <a:gd name="connsiteX5" fmla="*/ 11842 w 11841"/>
                    <a:gd name="connsiteY5" fmla="*/ 15430 h 15430"/>
                    <a:gd name="connsiteX6" fmla="*/ 11423 w 11841"/>
                    <a:gd name="connsiteY6" fmla="*/ 7715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1" h="15430">
                      <a:moveTo>
                        <a:pt x="11423" y="7715"/>
                      </a:moveTo>
                      <a:cubicBezTo>
                        <a:pt x="11423" y="5084"/>
                        <a:pt x="11543" y="2452"/>
                        <a:pt x="11842" y="0"/>
                      </a:cubicBezTo>
                      <a:lnTo>
                        <a:pt x="1196" y="0"/>
                      </a:lnTo>
                      <a:cubicBezTo>
                        <a:pt x="418" y="2392"/>
                        <a:pt x="0" y="5084"/>
                        <a:pt x="0" y="7715"/>
                      </a:cubicBezTo>
                      <a:cubicBezTo>
                        <a:pt x="0" y="10347"/>
                        <a:pt x="418" y="12978"/>
                        <a:pt x="1196" y="15430"/>
                      </a:cubicBezTo>
                      <a:lnTo>
                        <a:pt x="11842" y="15430"/>
                      </a:lnTo>
                      <a:cubicBezTo>
                        <a:pt x="11662" y="12978"/>
                        <a:pt x="11423" y="10347"/>
                        <a:pt x="11423" y="7715"/>
                      </a:cubicBezTo>
                      <a:close/>
                    </a:path>
                  </a:pathLst>
                </a:custGeom>
                <a:grpFill/>
                <a:ln w="5978" cap="flat">
                  <a:noFill/>
                  <a:prstDash val="solid"/>
                  <a:miter/>
                </a:ln>
              </p:spPr>
              <p:txBody>
                <a:bodyPr rtlCol="0" anchor="ctr"/>
                <a:lstStyle/>
                <a:p>
                  <a:endParaRPr lang="en-GB"/>
                </a:p>
              </p:txBody>
            </p:sp>
          </p:grpSp>
          <p:grpSp>
            <p:nvGrpSpPr>
              <p:cNvPr id="49" name="Graphic 3">
                <a:extLst>
                  <a:ext uri="{FF2B5EF4-FFF2-40B4-BE49-F238E27FC236}">
                    <a16:creationId xmlns:a16="http://schemas.microsoft.com/office/drawing/2014/main" id="{6EF5F02B-A4C8-49BA-85F6-AEAC7DF05200}"/>
                  </a:ext>
                </a:extLst>
              </p:cNvPr>
              <p:cNvGrpSpPr/>
              <p:nvPr/>
            </p:nvGrpSpPr>
            <p:grpSpPr>
              <a:xfrm>
                <a:off x="9137187" y="1200371"/>
                <a:ext cx="25837" cy="51733"/>
                <a:chOff x="9137187" y="1200371"/>
                <a:chExt cx="25837" cy="51733"/>
              </a:xfrm>
              <a:grpFill/>
            </p:grpSpPr>
            <p:sp>
              <p:nvSpPr>
                <p:cNvPr id="50" name="Vrije vorm: vorm 49">
                  <a:extLst>
                    <a:ext uri="{FF2B5EF4-FFF2-40B4-BE49-F238E27FC236}">
                      <a16:creationId xmlns:a16="http://schemas.microsoft.com/office/drawing/2014/main" id="{87A69F26-6844-4BC3-9D5B-F1FA22E0523A}"/>
                    </a:ext>
                  </a:extLst>
                </p:cNvPr>
                <p:cNvSpPr/>
                <p:nvPr/>
              </p:nvSpPr>
              <p:spPr>
                <a:xfrm>
                  <a:off x="9137187" y="1200371"/>
                  <a:ext cx="7894" cy="12978"/>
                </a:xfrm>
                <a:custGeom>
                  <a:avLst/>
                  <a:gdLst>
                    <a:gd name="connsiteX0" fmla="*/ 0 w 7894"/>
                    <a:gd name="connsiteY0" fmla="*/ 0 h 12978"/>
                    <a:gd name="connsiteX1" fmla="*/ 7895 w 7894"/>
                    <a:gd name="connsiteY1" fmla="*/ 12978 h 12978"/>
                    <a:gd name="connsiteX2" fmla="*/ 0 w 7894"/>
                    <a:gd name="connsiteY2" fmla="*/ 12978 h 12978"/>
                    <a:gd name="connsiteX3" fmla="*/ 0 w 7894"/>
                    <a:gd name="connsiteY3" fmla="*/ 0 h 12978"/>
                    <a:gd name="connsiteX4" fmla="*/ 0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0" y="0"/>
                      </a:moveTo>
                      <a:cubicBezTo>
                        <a:pt x="2632" y="0"/>
                        <a:pt x="6041" y="4725"/>
                        <a:pt x="7895" y="12978"/>
                      </a:cubicBezTo>
                      <a:lnTo>
                        <a:pt x="0" y="12978"/>
                      </a:lnTo>
                      <a:lnTo>
                        <a:pt x="0" y="0"/>
                      </a:lnTo>
                      <a:cubicBezTo>
                        <a:pt x="0" y="0"/>
                        <a:pt x="0" y="0"/>
                        <a:pt x="0" y="0"/>
                      </a:cubicBezTo>
                      <a:close/>
                    </a:path>
                  </a:pathLst>
                </a:custGeom>
                <a:grpFill/>
                <a:ln w="5978" cap="flat">
                  <a:noFill/>
                  <a:prstDash val="solid"/>
                  <a:miter/>
                </a:ln>
              </p:spPr>
              <p:txBody>
                <a:bodyPr rtlCol="0" anchor="ctr"/>
                <a:lstStyle/>
                <a:p>
                  <a:endParaRPr lang="en-GB"/>
                </a:p>
              </p:txBody>
            </p:sp>
            <p:sp>
              <p:nvSpPr>
                <p:cNvPr id="51" name="Vrije vorm: vorm 50">
                  <a:extLst>
                    <a:ext uri="{FF2B5EF4-FFF2-40B4-BE49-F238E27FC236}">
                      <a16:creationId xmlns:a16="http://schemas.microsoft.com/office/drawing/2014/main" id="{F5848914-D239-41B9-BBCB-2635873C3A96}"/>
                    </a:ext>
                  </a:extLst>
                </p:cNvPr>
                <p:cNvSpPr/>
                <p:nvPr/>
              </p:nvSpPr>
              <p:spPr>
                <a:xfrm>
                  <a:off x="9146457" y="1202165"/>
                  <a:ext cx="13098" cy="11243"/>
                </a:xfrm>
                <a:custGeom>
                  <a:avLst/>
                  <a:gdLst>
                    <a:gd name="connsiteX0" fmla="*/ 0 w 13098"/>
                    <a:gd name="connsiteY0" fmla="*/ 0 h 11243"/>
                    <a:gd name="connsiteX1" fmla="*/ 13098 w 13098"/>
                    <a:gd name="connsiteY1" fmla="*/ 11244 h 11243"/>
                    <a:gd name="connsiteX2" fmla="*/ 3947 w 13098"/>
                    <a:gd name="connsiteY2" fmla="*/ 11244 h 11243"/>
                    <a:gd name="connsiteX3" fmla="*/ 0 w 13098"/>
                    <a:gd name="connsiteY3" fmla="*/ 0 h 11243"/>
                  </a:gdLst>
                  <a:ahLst/>
                  <a:cxnLst>
                    <a:cxn ang="0">
                      <a:pos x="connsiteX0" y="connsiteY0"/>
                    </a:cxn>
                    <a:cxn ang="0">
                      <a:pos x="connsiteX1" y="connsiteY1"/>
                    </a:cxn>
                    <a:cxn ang="0">
                      <a:pos x="connsiteX2" y="connsiteY2"/>
                    </a:cxn>
                    <a:cxn ang="0">
                      <a:pos x="connsiteX3" y="connsiteY3"/>
                    </a:cxn>
                  </a:cxnLst>
                  <a:rect l="l" t="t" r="r" b="b"/>
                  <a:pathLst>
                    <a:path w="13098" h="11243">
                      <a:moveTo>
                        <a:pt x="0" y="0"/>
                      </a:moveTo>
                      <a:cubicBezTo>
                        <a:pt x="5622" y="2093"/>
                        <a:pt x="10227" y="6160"/>
                        <a:pt x="13098" y="11244"/>
                      </a:cubicBezTo>
                      <a:lnTo>
                        <a:pt x="3947" y="11244"/>
                      </a:lnTo>
                      <a:cubicBezTo>
                        <a:pt x="3050" y="6818"/>
                        <a:pt x="1735" y="2931"/>
                        <a:pt x="0" y="0"/>
                      </a:cubicBezTo>
                      <a:close/>
                    </a:path>
                  </a:pathLst>
                </a:custGeom>
                <a:grpFill/>
                <a:ln w="5978" cap="flat">
                  <a:noFill/>
                  <a:prstDash val="solid"/>
                  <a:miter/>
                </a:ln>
              </p:spPr>
              <p:txBody>
                <a:bodyPr rtlCol="0" anchor="ctr"/>
                <a:lstStyle/>
                <a:p>
                  <a:endParaRPr lang="en-GB"/>
                </a:p>
              </p:txBody>
            </p:sp>
            <p:sp>
              <p:nvSpPr>
                <p:cNvPr id="52" name="Vrije vorm: vorm 51">
                  <a:extLst>
                    <a:ext uri="{FF2B5EF4-FFF2-40B4-BE49-F238E27FC236}">
                      <a16:creationId xmlns:a16="http://schemas.microsoft.com/office/drawing/2014/main" id="{139ED0F4-DC41-4E01-8408-DA30C385478A}"/>
                    </a:ext>
                  </a:extLst>
                </p:cNvPr>
                <p:cNvSpPr/>
                <p:nvPr/>
              </p:nvSpPr>
              <p:spPr>
                <a:xfrm>
                  <a:off x="9137247" y="1218552"/>
                  <a:ext cx="9210" cy="15430"/>
                </a:xfrm>
                <a:custGeom>
                  <a:avLst/>
                  <a:gdLst>
                    <a:gd name="connsiteX0" fmla="*/ 8792 w 9210"/>
                    <a:gd name="connsiteY0" fmla="*/ 0 h 15430"/>
                    <a:gd name="connsiteX1" fmla="*/ 9211 w 9210"/>
                    <a:gd name="connsiteY1" fmla="*/ 7715 h 15430"/>
                    <a:gd name="connsiteX2" fmla="*/ 8792 w 9210"/>
                    <a:gd name="connsiteY2" fmla="*/ 15430 h 15430"/>
                    <a:gd name="connsiteX3" fmla="*/ 0 w 9210"/>
                    <a:gd name="connsiteY3" fmla="*/ 15430 h 15430"/>
                    <a:gd name="connsiteX4" fmla="*/ 0 w 9210"/>
                    <a:gd name="connsiteY4" fmla="*/ 0 h 15430"/>
                    <a:gd name="connsiteX5" fmla="*/ 8792 w 9210"/>
                    <a:gd name="connsiteY5" fmla="*/ 0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0" h="15430">
                      <a:moveTo>
                        <a:pt x="8792" y="0"/>
                      </a:moveTo>
                      <a:cubicBezTo>
                        <a:pt x="9151" y="2392"/>
                        <a:pt x="9211" y="4964"/>
                        <a:pt x="9211" y="7715"/>
                      </a:cubicBezTo>
                      <a:cubicBezTo>
                        <a:pt x="9211" y="10466"/>
                        <a:pt x="8971" y="12978"/>
                        <a:pt x="8792" y="15430"/>
                      </a:cubicBezTo>
                      <a:lnTo>
                        <a:pt x="0" y="15430"/>
                      </a:lnTo>
                      <a:lnTo>
                        <a:pt x="0" y="0"/>
                      </a:lnTo>
                      <a:lnTo>
                        <a:pt x="8792" y="0"/>
                      </a:lnTo>
                      <a:close/>
                    </a:path>
                  </a:pathLst>
                </a:custGeom>
                <a:grpFill/>
                <a:ln w="5978" cap="flat">
                  <a:noFill/>
                  <a:prstDash val="solid"/>
                  <a:miter/>
                </a:ln>
              </p:spPr>
              <p:txBody>
                <a:bodyPr rtlCol="0" anchor="ctr"/>
                <a:lstStyle/>
                <a:p>
                  <a:endParaRPr lang="en-GB"/>
                </a:p>
              </p:txBody>
            </p:sp>
            <p:sp>
              <p:nvSpPr>
                <p:cNvPr id="53" name="Vrije vorm: vorm 52">
                  <a:extLst>
                    <a:ext uri="{FF2B5EF4-FFF2-40B4-BE49-F238E27FC236}">
                      <a16:creationId xmlns:a16="http://schemas.microsoft.com/office/drawing/2014/main" id="{AA6815BF-3730-4FCF-AB7F-F43B45C1C532}"/>
                    </a:ext>
                  </a:extLst>
                </p:cNvPr>
                <p:cNvSpPr/>
                <p:nvPr/>
              </p:nvSpPr>
              <p:spPr>
                <a:xfrm>
                  <a:off x="9146577" y="1239126"/>
                  <a:ext cx="12978" cy="11243"/>
                </a:xfrm>
                <a:custGeom>
                  <a:avLst/>
                  <a:gdLst>
                    <a:gd name="connsiteX0" fmla="*/ 12978 w 12978"/>
                    <a:gd name="connsiteY0" fmla="*/ 0 h 11243"/>
                    <a:gd name="connsiteX1" fmla="*/ 0 w 12978"/>
                    <a:gd name="connsiteY1" fmla="*/ 11244 h 11243"/>
                    <a:gd name="connsiteX2" fmla="*/ 3947 w 12978"/>
                    <a:gd name="connsiteY2" fmla="*/ 0 h 11243"/>
                    <a:gd name="connsiteX3" fmla="*/ 12978 w 12978"/>
                    <a:gd name="connsiteY3" fmla="*/ 0 h 11243"/>
                  </a:gdLst>
                  <a:ahLst/>
                  <a:cxnLst>
                    <a:cxn ang="0">
                      <a:pos x="connsiteX0" y="connsiteY0"/>
                    </a:cxn>
                    <a:cxn ang="0">
                      <a:pos x="connsiteX1" y="connsiteY1"/>
                    </a:cxn>
                    <a:cxn ang="0">
                      <a:pos x="connsiteX2" y="connsiteY2"/>
                    </a:cxn>
                    <a:cxn ang="0">
                      <a:pos x="connsiteX3" y="connsiteY3"/>
                    </a:cxn>
                  </a:cxnLst>
                  <a:rect l="l" t="t" r="r" b="b"/>
                  <a:pathLst>
                    <a:path w="12978" h="11243">
                      <a:moveTo>
                        <a:pt x="12978" y="0"/>
                      </a:moveTo>
                      <a:cubicBezTo>
                        <a:pt x="10107" y="5084"/>
                        <a:pt x="5503" y="9150"/>
                        <a:pt x="0" y="11244"/>
                      </a:cubicBezTo>
                      <a:cubicBezTo>
                        <a:pt x="1675" y="8253"/>
                        <a:pt x="3110" y="4426"/>
                        <a:pt x="3947" y="0"/>
                      </a:cubicBezTo>
                      <a:lnTo>
                        <a:pt x="12978" y="0"/>
                      </a:lnTo>
                      <a:close/>
                    </a:path>
                  </a:pathLst>
                </a:custGeom>
                <a:grpFill/>
                <a:ln w="5978" cap="flat">
                  <a:noFill/>
                  <a:prstDash val="solid"/>
                  <a:miter/>
                </a:ln>
              </p:spPr>
              <p:txBody>
                <a:bodyPr rtlCol="0" anchor="ctr"/>
                <a:lstStyle/>
                <a:p>
                  <a:endParaRPr lang="en-GB"/>
                </a:p>
              </p:txBody>
            </p:sp>
            <p:sp>
              <p:nvSpPr>
                <p:cNvPr id="54" name="Vrije vorm: vorm 53">
                  <a:extLst>
                    <a:ext uri="{FF2B5EF4-FFF2-40B4-BE49-F238E27FC236}">
                      <a16:creationId xmlns:a16="http://schemas.microsoft.com/office/drawing/2014/main" id="{9E0B2E97-3194-41C9-A2C0-FEA7B1E34AAD}"/>
                    </a:ext>
                  </a:extLst>
                </p:cNvPr>
                <p:cNvSpPr/>
                <p:nvPr/>
              </p:nvSpPr>
              <p:spPr>
                <a:xfrm>
                  <a:off x="9137247" y="1239126"/>
                  <a:ext cx="7894" cy="12978"/>
                </a:xfrm>
                <a:custGeom>
                  <a:avLst/>
                  <a:gdLst>
                    <a:gd name="connsiteX0" fmla="*/ 7895 w 7894"/>
                    <a:gd name="connsiteY0" fmla="*/ 0 h 12978"/>
                    <a:gd name="connsiteX1" fmla="*/ 0 w 7894"/>
                    <a:gd name="connsiteY1" fmla="*/ 12978 h 12978"/>
                    <a:gd name="connsiteX2" fmla="*/ 0 w 7894"/>
                    <a:gd name="connsiteY2" fmla="*/ 12978 h 12978"/>
                    <a:gd name="connsiteX3" fmla="*/ 0 w 7894"/>
                    <a:gd name="connsiteY3" fmla="*/ 0 h 12978"/>
                    <a:gd name="connsiteX4" fmla="*/ 7895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7895" y="0"/>
                      </a:moveTo>
                      <a:cubicBezTo>
                        <a:pt x="6041" y="8253"/>
                        <a:pt x="2632" y="12978"/>
                        <a:pt x="0" y="12978"/>
                      </a:cubicBezTo>
                      <a:cubicBezTo>
                        <a:pt x="0" y="12978"/>
                        <a:pt x="0" y="12978"/>
                        <a:pt x="0" y="12978"/>
                      </a:cubicBezTo>
                      <a:lnTo>
                        <a:pt x="0" y="0"/>
                      </a:lnTo>
                      <a:lnTo>
                        <a:pt x="7895" y="0"/>
                      </a:lnTo>
                      <a:close/>
                    </a:path>
                  </a:pathLst>
                </a:custGeom>
                <a:grpFill/>
                <a:ln w="5978" cap="flat">
                  <a:noFill/>
                  <a:prstDash val="solid"/>
                  <a:miter/>
                </a:ln>
              </p:spPr>
              <p:txBody>
                <a:bodyPr rtlCol="0" anchor="ctr"/>
                <a:lstStyle/>
                <a:p>
                  <a:endParaRPr lang="en-GB"/>
                </a:p>
              </p:txBody>
            </p:sp>
            <p:sp>
              <p:nvSpPr>
                <p:cNvPr id="55" name="Vrije vorm: vorm 54">
                  <a:extLst>
                    <a:ext uri="{FF2B5EF4-FFF2-40B4-BE49-F238E27FC236}">
                      <a16:creationId xmlns:a16="http://schemas.microsoft.com/office/drawing/2014/main" id="{86DC33FB-79CD-45A5-8EB6-824442F45CFF}"/>
                    </a:ext>
                  </a:extLst>
                </p:cNvPr>
                <p:cNvSpPr/>
                <p:nvPr/>
              </p:nvSpPr>
              <p:spPr>
                <a:xfrm>
                  <a:off x="9151182" y="1218552"/>
                  <a:ext cx="11841" cy="15430"/>
                </a:xfrm>
                <a:custGeom>
                  <a:avLst/>
                  <a:gdLst>
                    <a:gd name="connsiteX0" fmla="*/ 418 w 11841"/>
                    <a:gd name="connsiteY0" fmla="*/ 7715 h 15430"/>
                    <a:gd name="connsiteX1" fmla="*/ 0 w 11841"/>
                    <a:gd name="connsiteY1" fmla="*/ 0 h 15430"/>
                    <a:gd name="connsiteX2" fmla="*/ 10645 w 11841"/>
                    <a:gd name="connsiteY2" fmla="*/ 0 h 15430"/>
                    <a:gd name="connsiteX3" fmla="*/ 11842 w 11841"/>
                    <a:gd name="connsiteY3" fmla="*/ 7715 h 15430"/>
                    <a:gd name="connsiteX4" fmla="*/ 10645 w 11841"/>
                    <a:gd name="connsiteY4" fmla="*/ 15430 h 15430"/>
                    <a:gd name="connsiteX5" fmla="*/ 0 w 11841"/>
                    <a:gd name="connsiteY5" fmla="*/ 15430 h 15430"/>
                    <a:gd name="connsiteX6" fmla="*/ 418 w 11841"/>
                    <a:gd name="connsiteY6" fmla="*/ 7715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1" h="15430">
                      <a:moveTo>
                        <a:pt x="418" y="7715"/>
                      </a:moveTo>
                      <a:cubicBezTo>
                        <a:pt x="418" y="5084"/>
                        <a:pt x="299" y="2452"/>
                        <a:pt x="0" y="0"/>
                      </a:cubicBezTo>
                      <a:lnTo>
                        <a:pt x="10645" y="0"/>
                      </a:lnTo>
                      <a:cubicBezTo>
                        <a:pt x="11423" y="2392"/>
                        <a:pt x="11842" y="5084"/>
                        <a:pt x="11842" y="7715"/>
                      </a:cubicBezTo>
                      <a:cubicBezTo>
                        <a:pt x="11842" y="10347"/>
                        <a:pt x="11423" y="12978"/>
                        <a:pt x="10645" y="15430"/>
                      </a:cubicBezTo>
                      <a:lnTo>
                        <a:pt x="0" y="15430"/>
                      </a:lnTo>
                      <a:cubicBezTo>
                        <a:pt x="239" y="12978"/>
                        <a:pt x="418" y="10347"/>
                        <a:pt x="418" y="7715"/>
                      </a:cubicBezTo>
                      <a:close/>
                    </a:path>
                  </a:pathLst>
                </a:custGeom>
                <a:grpFill/>
                <a:ln w="5978" cap="flat">
                  <a:noFill/>
                  <a:prstDash val="solid"/>
                  <a:miter/>
                </a:ln>
              </p:spPr>
              <p:txBody>
                <a:bodyPr rtlCol="0" anchor="ctr"/>
                <a:lstStyle/>
                <a:p>
                  <a:endParaRPr lang="en-GB"/>
                </a:p>
              </p:txBody>
            </p:sp>
          </p:grpSp>
        </p:grpSp>
      </p:grpSp>
      <p:grpSp>
        <p:nvGrpSpPr>
          <p:cNvPr id="40" name="ICOON3_BLAUW">
            <a:extLst>
              <a:ext uri="{FF2B5EF4-FFF2-40B4-BE49-F238E27FC236}">
                <a16:creationId xmlns:a16="http://schemas.microsoft.com/office/drawing/2014/main" id="{7853E702-4360-40C2-BC8A-748115BD9FCA}"/>
              </a:ext>
            </a:extLst>
          </p:cNvPr>
          <p:cNvGrpSpPr/>
          <p:nvPr/>
        </p:nvGrpSpPr>
        <p:grpSpPr>
          <a:xfrm>
            <a:off x="10960037" y="3434112"/>
            <a:ext cx="278701" cy="278701"/>
            <a:chOff x="8959679" y="4623855"/>
            <a:chExt cx="278701" cy="278701"/>
          </a:xfrm>
          <a:solidFill>
            <a:schemeClr val="tx2"/>
          </a:solidFill>
          <a:effectLst>
            <a:outerShdw blurRad="190500" algn="ctr" rotWithShape="0">
              <a:prstClr val="black">
                <a:alpha val="50000"/>
              </a:prstClr>
            </a:outerShdw>
          </a:effectLst>
        </p:grpSpPr>
        <p:sp>
          <p:nvSpPr>
            <p:cNvPr id="41" name="Vrije vorm: vorm 40">
              <a:extLst>
                <a:ext uri="{FF2B5EF4-FFF2-40B4-BE49-F238E27FC236}">
                  <a16:creationId xmlns:a16="http://schemas.microsoft.com/office/drawing/2014/main" id="{353D77D0-94CC-4211-A1B6-4A20342CCFC8}"/>
                </a:ext>
              </a:extLst>
            </p:cNvPr>
            <p:cNvSpPr/>
            <p:nvPr/>
          </p:nvSpPr>
          <p:spPr>
            <a:xfrm>
              <a:off x="8959679" y="4623855"/>
              <a:ext cx="278701" cy="278701"/>
            </a:xfrm>
            <a:custGeom>
              <a:avLst/>
              <a:gdLst>
                <a:gd name="connsiteX0" fmla="*/ 139350 w 278701"/>
                <a:gd name="connsiteY0" fmla="*/ 25299 h 278701"/>
                <a:gd name="connsiteX1" fmla="*/ 253403 w 278701"/>
                <a:gd name="connsiteY1" fmla="*/ 139351 h 278701"/>
                <a:gd name="connsiteX2" fmla="*/ 139350 w 278701"/>
                <a:gd name="connsiteY2" fmla="*/ 253403 h 278701"/>
                <a:gd name="connsiteX3" fmla="*/ 25298 w 278701"/>
                <a:gd name="connsiteY3" fmla="*/ 139351 h 278701"/>
                <a:gd name="connsiteX4" fmla="*/ 139350 w 278701"/>
                <a:gd name="connsiteY4" fmla="*/ 25299 h 278701"/>
                <a:gd name="connsiteX5" fmla="*/ 139350 w 278701"/>
                <a:gd name="connsiteY5" fmla="*/ 0 h 278701"/>
                <a:gd name="connsiteX6" fmla="*/ 0 w 278701"/>
                <a:gd name="connsiteY6" fmla="*/ 139351 h 278701"/>
                <a:gd name="connsiteX7" fmla="*/ 139350 w 278701"/>
                <a:gd name="connsiteY7" fmla="*/ 278702 h 278701"/>
                <a:gd name="connsiteX8" fmla="*/ 278702 w 278701"/>
                <a:gd name="connsiteY8" fmla="*/ 139351 h 278701"/>
                <a:gd name="connsiteX9" fmla="*/ 139350 w 278701"/>
                <a:gd name="connsiteY9" fmla="*/ 0 h 278701"/>
                <a:gd name="connsiteX10" fmla="*/ 139350 w 278701"/>
                <a:gd name="connsiteY10" fmla="*/ 0 h 278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8701" h="278701">
                  <a:moveTo>
                    <a:pt x="139350" y="25299"/>
                  </a:moveTo>
                  <a:cubicBezTo>
                    <a:pt x="202208" y="25299"/>
                    <a:pt x="253403" y="76434"/>
                    <a:pt x="253403" y="139351"/>
                  </a:cubicBezTo>
                  <a:cubicBezTo>
                    <a:pt x="253403" y="202208"/>
                    <a:pt x="202268" y="253403"/>
                    <a:pt x="139350" y="253403"/>
                  </a:cubicBezTo>
                  <a:cubicBezTo>
                    <a:pt x="76494" y="253403"/>
                    <a:pt x="25298" y="202268"/>
                    <a:pt x="25298" y="139351"/>
                  </a:cubicBezTo>
                  <a:cubicBezTo>
                    <a:pt x="25298" y="76434"/>
                    <a:pt x="76494" y="25299"/>
                    <a:pt x="139350" y="25299"/>
                  </a:cubicBezTo>
                  <a:moveTo>
                    <a:pt x="139350" y="0"/>
                  </a:moveTo>
                  <a:cubicBezTo>
                    <a:pt x="62379" y="0"/>
                    <a:pt x="0" y="62379"/>
                    <a:pt x="0" y="139351"/>
                  </a:cubicBezTo>
                  <a:cubicBezTo>
                    <a:pt x="0" y="216323"/>
                    <a:pt x="62379" y="278702"/>
                    <a:pt x="139350" y="278702"/>
                  </a:cubicBezTo>
                  <a:cubicBezTo>
                    <a:pt x="216323" y="278702"/>
                    <a:pt x="278702" y="216323"/>
                    <a:pt x="278702" y="139351"/>
                  </a:cubicBezTo>
                  <a:cubicBezTo>
                    <a:pt x="278702" y="62379"/>
                    <a:pt x="216323" y="0"/>
                    <a:pt x="139350" y="0"/>
                  </a:cubicBezTo>
                  <a:lnTo>
                    <a:pt x="139350" y="0"/>
                  </a:lnTo>
                  <a:close/>
                </a:path>
              </a:pathLst>
            </a:custGeom>
            <a:grpFill/>
            <a:ln w="5978" cap="flat">
              <a:noFill/>
              <a:prstDash val="solid"/>
              <a:miter/>
            </a:ln>
          </p:spPr>
          <p:txBody>
            <a:bodyPr rtlCol="0" anchor="ctr"/>
            <a:lstStyle/>
            <a:p>
              <a:endParaRPr lang="en-GB"/>
            </a:p>
          </p:txBody>
        </p:sp>
        <p:sp>
          <p:nvSpPr>
            <p:cNvPr id="42" name="Vrije vorm: vorm 41">
              <a:extLst>
                <a:ext uri="{FF2B5EF4-FFF2-40B4-BE49-F238E27FC236}">
                  <a16:creationId xmlns:a16="http://schemas.microsoft.com/office/drawing/2014/main" id="{AC2B6910-F1F5-45C2-BD84-941F27C31B49}"/>
                </a:ext>
              </a:extLst>
            </p:cNvPr>
            <p:cNvSpPr/>
            <p:nvPr/>
          </p:nvSpPr>
          <p:spPr>
            <a:xfrm>
              <a:off x="9028059" y="4687789"/>
              <a:ext cx="142081" cy="150833"/>
            </a:xfrm>
            <a:custGeom>
              <a:avLst/>
              <a:gdLst>
                <a:gd name="connsiteX0" fmla="*/ 79822 w 142081"/>
                <a:gd name="connsiteY0" fmla="*/ 105081 h 150833"/>
                <a:gd name="connsiteX1" fmla="*/ 64691 w 142081"/>
                <a:gd name="connsiteY1" fmla="*/ 105739 h 150833"/>
                <a:gd name="connsiteX2" fmla="*/ 9668 w 142081"/>
                <a:gd name="connsiteY2" fmla="*/ 49281 h 150833"/>
                <a:gd name="connsiteX3" fmla="*/ 40469 w 142081"/>
                <a:gd name="connsiteY3" fmla="*/ 49281 h 150833"/>
                <a:gd name="connsiteX4" fmla="*/ 71270 w 142081"/>
                <a:gd name="connsiteY4" fmla="*/ 80859 h 150833"/>
                <a:gd name="connsiteX5" fmla="*/ 128744 w 142081"/>
                <a:gd name="connsiteY5" fmla="*/ 11124 h 150833"/>
                <a:gd name="connsiteX6" fmla="*/ 71090 w 142081"/>
                <a:gd name="connsiteY6" fmla="*/ 0 h 150833"/>
                <a:gd name="connsiteX7" fmla="*/ 99 w 142081"/>
                <a:gd name="connsiteY7" fmla="*/ 23026 h 150833"/>
                <a:gd name="connsiteX8" fmla="*/ 4824 w 142081"/>
                <a:gd name="connsiteY8" fmla="*/ 83790 h 150833"/>
                <a:gd name="connsiteX9" fmla="*/ 70970 w 142081"/>
                <a:gd name="connsiteY9" fmla="*/ 150834 h 150833"/>
                <a:gd name="connsiteX10" fmla="*/ 137237 w 142081"/>
                <a:gd name="connsiteY10" fmla="*/ 83790 h 150833"/>
                <a:gd name="connsiteX11" fmla="*/ 142081 w 142081"/>
                <a:gd name="connsiteY11" fmla="*/ 29605 h 150833"/>
                <a:gd name="connsiteX12" fmla="*/ 79822 w 142081"/>
                <a:gd name="connsiteY12" fmla="*/ 105081 h 15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081" h="150833">
                  <a:moveTo>
                    <a:pt x="79822" y="105081"/>
                  </a:moveTo>
                  <a:cubicBezTo>
                    <a:pt x="75935" y="109806"/>
                    <a:pt x="68997" y="110105"/>
                    <a:pt x="64691" y="105739"/>
                  </a:cubicBezTo>
                  <a:lnTo>
                    <a:pt x="9668" y="49281"/>
                  </a:lnTo>
                  <a:lnTo>
                    <a:pt x="40469" y="49281"/>
                  </a:lnTo>
                  <a:lnTo>
                    <a:pt x="71270" y="80859"/>
                  </a:lnTo>
                  <a:lnTo>
                    <a:pt x="128744" y="11124"/>
                  </a:lnTo>
                  <a:cubicBezTo>
                    <a:pt x="118577" y="5503"/>
                    <a:pt x="100994" y="60"/>
                    <a:pt x="71090" y="0"/>
                  </a:cubicBezTo>
                  <a:cubicBezTo>
                    <a:pt x="9549" y="0"/>
                    <a:pt x="99" y="23026"/>
                    <a:pt x="99" y="23026"/>
                  </a:cubicBezTo>
                  <a:cubicBezTo>
                    <a:pt x="99" y="23026"/>
                    <a:pt x="-1097" y="56578"/>
                    <a:pt x="4824" y="83790"/>
                  </a:cubicBezTo>
                  <a:cubicBezTo>
                    <a:pt x="10745" y="111002"/>
                    <a:pt x="48484" y="150714"/>
                    <a:pt x="70970" y="150834"/>
                  </a:cubicBezTo>
                  <a:cubicBezTo>
                    <a:pt x="93578" y="150714"/>
                    <a:pt x="131316" y="111002"/>
                    <a:pt x="137237" y="83790"/>
                  </a:cubicBezTo>
                  <a:cubicBezTo>
                    <a:pt x="141543" y="63874"/>
                    <a:pt x="142081" y="40669"/>
                    <a:pt x="142081" y="29605"/>
                  </a:cubicBezTo>
                  <a:lnTo>
                    <a:pt x="79822" y="105081"/>
                  </a:lnTo>
                  <a:close/>
                </a:path>
              </a:pathLst>
            </a:custGeom>
            <a:grpFill/>
            <a:ln w="5978" cap="flat">
              <a:noFill/>
              <a:prstDash val="solid"/>
              <a:miter/>
            </a:ln>
          </p:spPr>
          <p:txBody>
            <a:bodyPr rtlCol="0" anchor="ctr"/>
            <a:lstStyle/>
            <a:p>
              <a:endParaRPr lang="en-GB"/>
            </a:p>
          </p:txBody>
        </p:sp>
      </p:grpSp>
      <p:grpSp>
        <p:nvGrpSpPr>
          <p:cNvPr id="27" name="ICOON4_GEEL">
            <a:extLst>
              <a:ext uri="{FF2B5EF4-FFF2-40B4-BE49-F238E27FC236}">
                <a16:creationId xmlns:a16="http://schemas.microsoft.com/office/drawing/2014/main" id="{53FC3A3C-533A-4324-890C-1F3F3F1F0C09}"/>
              </a:ext>
            </a:extLst>
          </p:cNvPr>
          <p:cNvGrpSpPr/>
          <p:nvPr/>
        </p:nvGrpSpPr>
        <p:grpSpPr>
          <a:xfrm>
            <a:off x="11346975" y="3435906"/>
            <a:ext cx="275113" cy="275113"/>
            <a:chOff x="706941" y="4619430"/>
            <a:chExt cx="275113" cy="275113"/>
          </a:xfrm>
          <a:solidFill>
            <a:schemeClr val="accent3"/>
          </a:solidFill>
          <a:effectLst>
            <a:outerShdw blurRad="190500" algn="ctr" rotWithShape="0">
              <a:prstClr val="black">
                <a:alpha val="50000"/>
              </a:prstClr>
            </a:outerShdw>
          </a:effectLst>
        </p:grpSpPr>
        <p:sp>
          <p:nvSpPr>
            <p:cNvPr id="28" name="Vrije vorm: vorm 27">
              <a:extLst>
                <a:ext uri="{FF2B5EF4-FFF2-40B4-BE49-F238E27FC236}">
                  <a16:creationId xmlns:a16="http://schemas.microsoft.com/office/drawing/2014/main" id="{EB65536D-29B2-40C7-AD95-110FAE261D56}"/>
                </a:ext>
              </a:extLst>
            </p:cNvPr>
            <p:cNvSpPr/>
            <p:nvPr/>
          </p:nvSpPr>
          <p:spPr>
            <a:xfrm>
              <a:off x="706941" y="4619430"/>
              <a:ext cx="275113" cy="275113"/>
            </a:xfrm>
            <a:custGeom>
              <a:avLst/>
              <a:gdLst>
                <a:gd name="connsiteX0" fmla="*/ 137557 w 275113"/>
                <a:gd name="connsiteY0" fmla="*/ 24999 h 275113"/>
                <a:gd name="connsiteX1" fmla="*/ 250114 w 275113"/>
                <a:gd name="connsiteY1" fmla="*/ 137557 h 275113"/>
                <a:gd name="connsiteX2" fmla="*/ 137557 w 275113"/>
                <a:gd name="connsiteY2" fmla="*/ 250114 h 275113"/>
                <a:gd name="connsiteX3" fmla="*/ 24999 w 275113"/>
                <a:gd name="connsiteY3" fmla="*/ 137557 h 275113"/>
                <a:gd name="connsiteX4" fmla="*/ 137557 w 275113"/>
                <a:gd name="connsiteY4" fmla="*/ 24999 h 275113"/>
                <a:gd name="connsiteX5" fmla="*/ 137557 w 275113"/>
                <a:gd name="connsiteY5" fmla="*/ 0 h 275113"/>
                <a:gd name="connsiteX6" fmla="*/ 0 w 275113"/>
                <a:gd name="connsiteY6" fmla="*/ 137557 h 275113"/>
                <a:gd name="connsiteX7" fmla="*/ 137557 w 275113"/>
                <a:gd name="connsiteY7" fmla="*/ 275113 h 275113"/>
                <a:gd name="connsiteX8" fmla="*/ 275113 w 275113"/>
                <a:gd name="connsiteY8" fmla="*/ 137557 h 275113"/>
                <a:gd name="connsiteX9" fmla="*/ 137557 w 275113"/>
                <a:gd name="connsiteY9" fmla="*/ 0 h 275113"/>
                <a:gd name="connsiteX10" fmla="*/ 137557 w 275113"/>
                <a:gd name="connsiteY10" fmla="*/ 0 h 27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113" h="275113">
                  <a:moveTo>
                    <a:pt x="137557" y="24999"/>
                  </a:moveTo>
                  <a:cubicBezTo>
                    <a:pt x="199637" y="24999"/>
                    <a:pt x="250114" y="75477"/>
                    <a:pt x="250114" y="137557"/>
                  </a:cubicBezTo>
                  <a:cubicBezTo>
                    <a:pt x="250114" y="199637"/>
                    <a:pt x="199637" y="250114"/>
                    <a:pt x="137557" y="250114"/>
                  </a:cubicBezTo>
                  <a:cubicBezTo>
                    <a:pt x="75477" y="250114"/>
                    <a:pt x="24999" y="199637"/>
                    <a:pt x="24999" y="137557"/>
                  </a:cubicBezTo>
                  <a:cubicBezTo>
                    <a:pt x="24999" y="75477"/>
                    <a:pt x="75477" y="24999"/>
                    <a:pt x="137557" y="24999"/>
                  </a:cubicBezTo>
                  <a:moveTo>
                    <a:pt x="137557" y="0"/>
                  </a:moveTo>
                  <a:cubicBezTo>
                    <a:pt x="61601" y="0"/>
                    <a:pt x="0" y="61601"/>
                    <a:pt x="0" y="137557"/>
                  </a:cubicBezTo>
                  <a:cubicBezTo>
                    <a:pt x="0" y="213512"/>
                    <a:pt x="61601" y="275113"/>
                    <a:pt x="137557" y="275113"/>
                  </a:cubicBezTo>
                  <a:cubicBezTo>
                    <a:pt x="213512" y="275113"/>
                    <a:pt x="275113" y="213512"/>
                    <a:pt x="275113" y="137557"/>
                  </a:cubicBezTo>
                  <a:cubicBezTo>
                    <a:pt x="275113" y="61601"/>
                    <a:pt x="213512" y="0"/>
                    <a:pt x="137557" y="0"/>
                  </a:cubicBezTo>
                  <a:lnTo>
                    <a:pt x="137557" y="0"/>
                  </a:lnTo>
                  <a:close/>
                </a:path>
              </a:pathLst>
            </a:custGeom>
            <a:grpFill/>
            <a:ln w="5978" cap="flat">
              <a:noFill/>
              <a:prstDash val="solid"/>
              <a:miter/>
            </a:ln>
          </p:spPr>
          <p:txBody>
            <a:bodyPr rtlCol="0" anchor="ctr"/>
            <a:lstStyle/>
            <a:p>
              <a:endParaRPr lang="en-GB"/>
            </a:p>
          </p:txBody>
        </p:sp>
        <p:grpSp>
          <p:nvGrpSpPr>
            <p:cNvPr id="30" name="Graphic 3">
              <a:extLst>
                <a:ext uri="{FF2B5EF4-FFF2-40B4-BE49-F238E27FC236}">
                  <a16:creationId xmlns:a16="http://schemas.microsoft.com/office/drawing/2014/main" id="{C8788129-C766-415E-9E0F-3DDD71D1FCA5}"/>
                </a:ext>
              </a:extLst>
            </p:cNvPr>
            <p:cNvGrpSpPr/>
            <p:nvPr/>
          </p:nvGrpSpPr>
          <p:grpSpPr>
            <a:xfrm>
              <a:off x="769080" y="4677921"/>
              <a:ext cx="144015" cy="179421"/>
              <a:chOff x="769080" y="4677921"/>
              <a:chExt cx="144015" cy="179421"/>
            </a:xfrm>
            <a:grpFill/>
          </p:grpSpPr>
          <p:sp>
            <p:nvSpPr>
              <p:cNvPr id="34" name="Vrije vorm: vorm 33">
                <a:extLst>
                  <a:ext uri="{FF2B5EF4-FFF2-40B4-BE49-F238E27FC236}">
                    <a16:creationId xmlns:a16="http://schemas.microsoft.com/office/drawing/2014/main" id="{DA10EE5C-068A-497D-BDFC-57B40E01C9A4}"/>
                  </a:ext>
                </a:extLst>
              </p:cNvPr>
              <p:cNvSpPr/>
              <p:nvPr/>
            </p:nvSpPr>
            <p:spPr>
              <a:xfrm>
                <a:off x="842583" y="4678099"/>
                <a:ext cx="70512" cy="143897"/>
              </a:xfrm>
              <a:custGeom>
                <a:avLst/>
                <a:gdLst>
                  <a:gd name="connsiteX0" fmla="*/ 34987 w 70512"/>
                  <a:gd name="connsiteY0" fmla="*/ 17465 h 143897"/>
                  <a:gd name="connsiteX1" fmla="*/ 47607 w 70512"/>
                  <a:gd name="connsiteY1" fmla="*/ 34271 h 143897"/>
                  <a:gd name="connsiteX2" fmla="*/ 47607 w 70512"/>
                  <a:gd name="connsiteY2" fmla="*/ 56160 h 143897"/>
                  <a:gd name="connsiteX3" fmla="*/ 11722 w 70512"/>
                  <a:gd name="connsiteY3" fmla="*/ 78050 h 143897"/>
                  <a:gd name="connsiteX4" fmla="*/ 11722 w 70512"/>
                  <a:gd name="connsiteY4" fmla="*/ 109927 h 143897"/>
                  <a:gd name="connsiteX5" fmla="*/ 0 w 70512"/>
                  <a:gd name="connsiteY5" fmla="*/ 126374 h 143897"/>
                  <a:gd name="connsiteX6" fmla="*/ 17763 w 70512"/>
                  <a:gd name="connsiteY6" fmla="*/ 143897 h 143897"/>
                  <a:gd name="connsiteX7" fmla="*/ 35525 w 70512"/>
                  <a:gd name="connsiteY7" fmla="*/ 126374 h 143897"/>
                  <a:gd name="connsiteX8" fmla="*/ 21650 w 70512"/>
                  <a:gd name="connsiteY8" fmla="*/ 109269 h 143897"/>
                  <a:gd name="connsiteX9" fmla="*/ 21650 w 70512"/>
                  <a:gd name="connsiteY9" fmla="*/ 83552 h 143897"/>
                  <a:gd name="connsiteX10" fmla="*/ 57535 w 70512"/>
                  <a:gd name="connsiteY10" fmla="*/ 61663 h 143897"/>
                  <a:gd name="connsiteX11" fmla="*/ 57535 w 70512"/>
                  <a:gd name="connsiteY11" fmla="*/ 34390 h 143897"/>
                  <a:gd name="connsiteX12" fmla="*/ 70513 w 70512"/>
                  <a:gd name="connsiteY12" fmla="*/ 17525 h 143897"/>
                  <a:gd name="connsiteX13" fmla="*/ 52750 w 70512"/>
                  <a:gd name="connsiteY13" fmla="*/ 1 h 143897"/>
                  <a:gd name="connsiteX14" fmla="*/ 34987 w 70512"/>
                  <a:gd name="connsiteY14" fmla="*/ 17465 h 143897"/>
                  <a:gd name="connsiteX15" fmla="*/ 24102 w 70512"/>
                  <a:gd name="connsiteY15" fmla="*/ 126374 h 143897"/>
                  <a:gd name="connsiteX16" fmla="*/ 17763 w 70512"/>
                  <a:gd name="connsiteY16" fmla="*/ 132594 h 143897"/>
                  <a:gd name="connsiteX17" fmla="*/ 11423 w 70512"/>
                  <a:gd name="connsiteY17" fmla="*/ 126374 h 143897"/>
                  <a:gd name="connsiteX18" fmla="*/ 17763 w 70512"/>
                  <a:gd name="connsiteY18" fmla="*/ 120154 h 143897"/>
                  <a:gd name="connsiteX19" fmla="*/ 24102 w 70512"/>
                  <a:gd name="connsiteY19" fmla="*/ 126374 h 143897"/>
                  <a:gd name="connsiteX20" fmla="*/ 59090 w 70512"/>
                  <a:gd name="connsiteY20" fmla="*/ 17465 h 143897"/>
                  <a:gd name="connsiteX21" fmla="*/ 52750 w 70512"/>
                  <a:gd name="connsiteY21" fmla="*/ 23685 h 143897"/>
                  <a:gd name="connsiteX22" fmla="*/ 46410 w 70512"/>
                  <a:gd name="connsiteY22" fmla="*/ 17465 h 143897"/>
                  <a:gd name="connsiteX23" fmla="*/ 52750 w 70512"/>
                  <a:gd name="connsiteY23" fmla="*/ 11245 h 143897"/>
                  <a:gd name="connsiteX24" fmla="*/ 59090 w 70512"/>
                  <a:gd name="connsiteY24" fmla="*/ 17465 h 1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0512" h="143897">
                    <a:moveTo>
                      <a:pt x="34987" y="17465"/>
                    </a:moveTo>
                    <a:cubicBezTo>
                      <a:pt x="34987" y="25360"/>
                      <a:pt x="40310" y="32058"/>
                      <a:pt x="47607" y="34271"/>
                    </a:cubicBezTo>
                    <a:lnTo>
                      <a:pt x="47607" y="56160"/>
                    </a:lnTo>
                    <a:lnTo>
                      <a:pt x="11722" y="78050"/>
                    </a:lnTo>
                    <a:lnTo>
                      <a:pt x="11722" y="109927"/>
                    </a:lnTo>
                    <a:cubicBezTo>
                      <a:pt x="4904" y="112379"/>
                      <a:pt x="0" y="118838"/>
                      <a:pt x="0" y="126374"/>
                    </a:cubicBezTo>
                    <a:cubicBezTo>
                      <a:pt x="0" y="136063"/>
                      <a:pt x="7954" y="143897"/>
                      <a:pt x="17763" y="143897"/>
                    </a:cubicBezTo>
                    <a:cubicBezTo>
                      <a:pt x="27571" y="143897"/>
                      <a:pt x="35525" y="136063"/>
                      <a:pt x="35525" y="126374"/>
                    </a:cubicBezTo>
                    <a:cubicBezTo>
                      <a:pt x="35525" y="118001"/>
                      <a:pt x="29605" y="111004"/>
                      <a:pt x="21650" y="109269"/>
                    </a:cubicBezTo>
                    <a:lnTo>
                      <a:pt x="21650" y="83552"/>
                    </a:lnTo>
                    <a:lnTo>
                      <a:pt x="57535" y="61663"/>
                    </a:lnTo>
                    <a:lnTo>
                      <a:pt x="57535" y="34390"/>
                    </a:lnTo>
                    <a:cubicBezTo>
                      <a:pt x="65010" y="32297"/>
                      <a:pt x="70513" y="25539"/>
                      <a:pt x="70513" y="17525"/>
                    </a:cubicBezTo>
                    <a:cubicBezTo>
                      <a:pt x="70513" y="7836"/>
                      <a:pt x="62558" y="1"/>
                      <a:pt x="52750" y="1"/>
                    </a:cubicBezTo>
                    <a:cubicBezTo>
                      <a:pt x="42942" y="-118"/>
                      <a:pt x="34987" y="7776"/>
                      <a:pt x="34987" y="17465"/>
                    </a:cubicBezTo>
                    <a:close/>
                    <a:moveTo>
                      <a:pt x="24102" y="126374"/>
                    </a:moveTo>
                    <a:cubicBezTo>
                      <a:pt x="24102" y="129843"/>
                      <a:pt x="21291" y="132594"/>
                      <a:pt x="17763" y="132594"/>
                    </a:cubicBezTo>
                    <a:cubicBezTo>
                      <a:pt x="14294" y="132594"/>
                      <a:pt x="11423" y="129783"/>
                      <a:pt x="11423" y="126374"/>
                    </a:cubicBezTo>
                    <a:cubicBezTo>
                      <a:pt x="11423" y="122965"/>
                      <a:pt x="14234" y="120154"/>
                      <a:pt x="17763" y="120154"/>
                    </a:cubicBezTo>
                    <a:cubicBezTo>
                      <a:pt x="21291" y="120154"/>
                      <a:pt x="24102" y="122905"/>
                      <a:pt x="24102" y="126374"/>
                    </a:cubicBezTo>
                    <a:close/>
                    <a:moveTo>
                      <a:pt x="59090" y="17465"/>
                    </a:moveTo>
                    <a:cubicBezTo>
                      <a:pt x="59090" y="20934"/>
                      <a:pt x="56279" y="23685"/>
                      <a:pt x="52750" y="23685"/>
                    </a:cubicBezTo>
                    <a:cubicBezTo>
                      <a:pt x="49281" y="23685"/>
                      <a:pt x="46410" y="20874"/>
                      <a:pt x="46410" y="17465"/>
                    </a:cubicBezTo>
                    <a:cubicBezTo>
                      <a:pt x="46410" y="13996"/>
                      <a:pt x="49221" y="11245"/>
                      <a:pt x="52750" y="11245"/>
                    </a:cubicBezTo>
                    <a:cubicBezTo>
                      <a:pt x="56279" y="11245"/>
                      <a:pt x="59090" y="13996"/>
                      <a:pt x="59090" y="17465"/>
                    </a:cubicBezTo>
                    <a:close/>
                  </a:path>
                </a:pathLst>
              </a:custGeom>
              <a:grpFill/>
              <a:ln w="5978" cap="flat">
                <a:noFill/>
                <a:prstDash val="solid"/>
                <a:miter/>
              </a:ln>
            </p:spPr>
            <p:txBody>
              <a:bodyPr rtlCol="0" anchor="ctr"/>
              <a:lstStyle/>
              <a:p>
                <a:endParaRPr lang="en-GB"/>
              </a:p>
            </p:txBody>
          </p:sp>
          <p:sp>
            <p:nvSpPr>
              <p:cNvPr id="36" name="Vrije vorm: vorm 35">
                <a:extLst>
                  <a:ext uri="{FF2B5EF4-FFF2-40B4-BE49-F238E27FC236}">
                    <a16:creationId xmlns:a16="http://schemas.microsoft.com/office/drawing/2014/main" id="{E2E37F26-01F0-4308-9416-D8C8929104C0}"/>
                  </a:ext>
                </a:extLst>
              </p:cNvPr>
              <p:cNvSpPr/>
              <p:nvPr/>
            </p:nvSpPr>
            <p:spPr>
              <a:xfrm>
                <a:off x="842643" y="4706150"/>
                <a:ext cx="35525" cy="35046"/>
              </a:xfrm>
              <a:custGeom>
                <a:avLst/>
                <a:gdLst>
                  <a:gd name="connsiteX0" fmla="*/ 17763 w 35525"/>
                  <a:gd name="connsiteY0" fmla="*/ 0 h 35046"/>
                  <a:gd name="connsiteX1" fmla="*/ 0 w 35525"/>
                  <a:gd name="connsiteY1" fmla="*/ 17523 h 35046"/>
                  <a:gd name="connsiteX2" fmla="*/ 17763 w 35525"/>
                  <a:gd name="connsiteY2" fmla="*/ 35047 h 35046"/>
                  <a:gd name="connsiteX3" fmla="*/ 35525 w 35525"/>
                  <a:gd name="connsiteY3" fmla="*/ 17523 h 35046"/>
                  <a:gd name="connsiteX4" fmla="*/ 17763 w 35525"/>
                  <a:gd name="connsiteY4" fmla="*/ 0 h 35046"/>
                  <a:gd name="connsiteX5" fmla="*/ 17763 w 35525"/>
                  <a:gd name="connsiteY5" fmla="*/ 23803 h 35046"/>
                  <a:gd name="connsiteX6" fmla="*/ 11423 w 35525"/>
                  <a:gd name="connsiteY6" fmla="*/ 17583 h 35046"/>
                  <a:gd name="connsiteX7" fmla="*/ 17763 w 35525"/>
                  <a:gd name="connsiteY7" fmla="*/ 11364 h 35046"/>
                  <a:gd name="connsiteX8" fmla="*/ 24102 w 35525"/>
                  <a:gd name="connsiteY8" fmla="*/ 17583 h 35046"/>
                  <a:gd name="connsiteX9" fmla="*/ 17763 w 35525"/>
                  <a:gd name="connsiteY9" fmla="*/ 23803 h 3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5" h="35046">
                    <a:moveTo>
                      <a:pt x="17763" y="0"/>
                    </a:moveTo>
                    <a:cubicBezTo>
                      <a:pt x="7954" y="0"/>
                      <a:pt x="0" y="7835"/>
                      <a:pt x="0" y="17523"/>
                    </a:cubicBezTo>
                    <a:cubicBezTo>
                      <a:pt x="0" y="27212"/>
                      <a:pt x="7954" y="35047"/>
                      <a:pt x="17763" y="35047"/>
                    </a:cubicBezTo>
                    <a:cubicBezTo>
                      <a:pt x="27571" y="35047"/>
                      <a:pt x="35525" y="27212"/>
                      <a:pt x="35525" y="17523"/>
                    </a:cubicBezTo>
                    <a:cubicBezTo>
                      <a:pt x="35525" y="7835"/>
                      <a:pt x="27571" y="0"/>
                      <a:pt x="17763" y="0"/>
                    </a:cubicBezTo>
                    <a:close/>
                    <a:moveTo>
                      <a:pt x="17763" y="23803"/>
                    </a:moveTo>
                    <a:cubicBezTo>
                      <a:pt x="14294" y="23803"/>
                      <a:pt x="11423" y="20992"/>
                      <a:pt x="11423" y="17583"/>
                    </a:cubicBezTo>
                    <a:cubicBezTo>
                      <a:pt x="11423" y="14174"/>
                      <a:pt x="14234" y="11364"/>
                      <a:pt x="17763" y="11364"/>
                    </a:cubicBezTo>
                    <a:cubicBezTo>
                      <a:pt x="21232" y="11364"/>
                      <a:pt x="24102" y="14174"/>
                      <a:pt x="24102" y="17583"/>
                    </a:cubicBezTo>
                    <a:cubicBezTo>
                      <a:pt x="24102" y="20992"/>
                      <a:pt x="21232" y="23803"/>
                      <a:pt x="17763" y="23803"/>
                    </a:cubicBezTo>
                    <a:close/>
                  </a:path>
                </a:pathLst>
              </a:custGeom>
              <a:grpFill/>
              <a:ln w="5978" cap="flat">
                <a:noFill/>
                <a:prstDash val="solid"/>
                <a:miter/>
              </a:ln>
            </p:spPr>
            <p:txBody>
              <a:bodyPr rtlCol="0" anchor="ctr"/>
              <a:lstStyle/>
              <a:p>
                <a:endParaRPr lang="en-GB"/>
              </a:p>
            </p:txBody>
          </p:sp>
          <p:sp>
            <p:nvSpPr>
              <p:cNvPr id="37" name="Vrije vorm: vorm 36">
                <a:extLst>
                  <a:ext uri="{FF2B5EF4-FFF2-40B4-BE49-F238E27FC236}">
                    <a16:creationId xmlns:a16="http://schemas.microsoft.com/office/drawing/2014/main" id="{07CD6402-2B32-4F0E-8D95-2EC6B06547B1}"/>
                  </a:ext>
                </a:extLst>
              </p:cNvPr>
              <p:cNvSpPr/>
              <p:nvPr/>
            </p:nvSpPr>
            <p:spPr>
              <a:xfrm>
                <a:off x="810048" y="4677921"/>
                <a:ext cx="35525" cy="96349"/>
              </a:xfrm>
              <a:custGeom>
                <a:avLst/>
                <a:gdLst>
                  <a:gd name="connsiteX0" fmla="*/ 12859 w 35525"/>
                  <a:gd name="connsiteY0" fmla="*/ 34329 h 96349"/>
                  <a:gd name="connsiteX1" fmla="*/ 12859 w 35525"/>
                  <a:gd name="connsiteY1" fmla="*/ 61960 h 96349"/>
                  <a:gd name="connsiteX2" fmla="*/ 0 w 35525"/>
                  <a:gd name="connsiteY2" fmla="*/ 78826 h 96349"/>
                  <a:gd name="connsiteX3" fmla="*/ 17763 w 35525"/>
                  <a:gd name="connsiteY3" fmla="*/ 96349 h 96349"/>
                  <a:gd name="connsiteX4" fmla="*/ 35525 w 35525"/>
                  <a:gd name="connsiteY4" fmla="*/ 78826 h 96349"/>
                  <a:gd name="connsiteX5" fmla="*/ 22787 w 35525"/>
                  <a:gd name="connsiteY5" fmla="*/ 62020 h 96349"/>
                  <a:gd name="connsiteX6" fmla="*/ 22787 w 35525"/>
                  <a:gd name="connsiteY6" fmla="*/ 34329 h 96349"/>
                  <a:gd name="connsiteX7" fmla="*/ 35525 w 35525"/>
                  <a:gd name="connsiteY7" fmla="*/ 17523 h 96349"/>
                  <a:gd name="connsiteX8" fmla="*/ 17763 w 35525"/>
                  <a:gd name="connsiteY8" fmla="*/ 0 h 96349"/>
                  <a:gd name="connsiteX9" fmla="*/ 0 w 35525"/>
                  <a:gd name="connsiteY9" fmla="*/ 17523 h 96349"/>
                  <a:gd name="connsiteX10" fmla="*/ 12859 w 35525"/>
                  <a:gd name="connsiteY10" fmla="*/ 34329 h 96349"/>
                  <a:gd name="connsiteX11" fmla="*/ 24162 w 35525"/>
                  <a:gd name="connsiteY11" fmla="*/ 78826 h 96349"/>
                  <a:gd name="connsiteX12" fmla="*/ 17823 w 35525"/>
                  <a:gd name="connsiteY12" fmla="*/ 85046 h 96349"/>
                  <a:gd name="connsiteX13" fmla="*/ 11483 w 35525"/>
                  <a:gd name="connsiteY13" fmla="*/ 78826 h 96349"/>
                  <a:gd name="connsiteX14" fmla="*/ 17823 w 35525"/>
                  <a:gd name="connsiteY14" fmla="*/ 72606 h 96349"/>
                  <a:gd name="connsiteX15" fmla="*/ 24162 w 35525"/>
                  <a:gd name="connsiteY15" fmla="*/ 78826 h 96349"/>
                  <a:gd name="connsiteX16" fmla="*/ 11483 w 35525"/>
                  <a:gd name="connsiteY16" fmla="*/ 17523 h 96349"/>
                  <a:gd name="connsiteX17" fmla="*/ 17823 w 35525"/>
                  <a:gd name="connsiteY17" fmla="*/ 11303 h 96349"/>
                  <a:gd name="connsiteX18" fmla="*/ 24162 w 35525"/>
                  <a:gd name="connsiteY18" fmla="*/ 17523 h 96349"/>
                  <a:gd name="connsiteX19" fmla="*/ 17823 w 35525"/>
                  <a:gd name="connsiteY19" fmla="*/ 23743 h 96349"/>
                  <a:gd name="connsiteX20" fmla="*/ 11483 w 35525"/>
                  <a:gd name="connsiteY20" fmla="*/ 17523 h 9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525" h="96349">
                    <a:moveTo>
                      <a:pt x="12859" y="34329"/>
                    </a:moveTo>
                    <a:lnTo>
                      <a:pt x="12859" y="61960"/>
                    </a:lnTo>
                    <a:cubicBezTo>
                      <a:pt x="5442" y="64053"/>
                      <a:pt x="0" y="70812"/>
                      <a:pt x="0" y="78826"/>
                    </a:cubicBezTo>
                    <a:cubicBezTo>
                      <a:pt x="0" y="88515"/>
                      <a:pt x="7954" y="96349"/>
                      <a:pt x="17763" y="96349"/>
                    </a:cubicBezTo>
                    <a:cubicBezTo>
                      <a:pt x="27571" y="96349"/>
                      <a:pt x="35525" y="88515"/>
                      <a:pt x="35525" y="78826"/>
                    </a:cubicBezTo>
                    <a:cubicBezTo>
                      <a:pt x="35525" y="70871"/>
                      <a:pt x="30143" y="64173"/>
                      <a:pt x="22787" y="62020"/>
                    </a:cubicBezTo>
                    <a:lnTo>
                      <a:pt x="22787" y="34329"/>
                    </a:lnTo>
                    <a:cubicBezTo>
                      <a:pt x="30143" y="32176"/>
                      <a:pt x="35525" y="25478"/>
                      <a:pt x="35525" y="17523"/>
                    </a:cubicBezTo>
                    <a:cubicBezTo>
                      <a:pt x="35525" y="7835"/>
                      <a:pt x="27571" y="0"/>
                      <a:pt x="17763" y="0"/>
                    </a:cubicBezTo>
                    <a:cubicBezTo>
                      <a:pt x="7954" y="0"/>
                      <a:pt x="0" y="7835"/>
                      <a:pt x="0" y="17523"/>
                    </a:cubicBezTo>
                    <a:cubicBezTo>
                      <a:pt x="60" y="25478"/>
                      <a:pt x="5442" y="32236"/>
                      <a:pt x="12859" y="34329"/>
                    </a:cubicBezTo>
                    <a:close/>
                    <a:moveTo>
                      <a:pt x="24162" y="78826"/>
                    </a:moveTo>
                    <a:cubicBezTo>
                      <a:pt x="24162" y="82295"/>
                      <a:pt x="21351" y="85046"/>
                      <a:pt x="17823" y="85046"/>
                    </a:cubicBezTo>
                    <a:cubicBezTo>
                      <a:pt x="14354" y="85046"/>
                      <a:pt x="11483" y="82235"/>
                      <a:pt x="11483" y="78826"/>
                    </a:cubicBezTo>
                    <a:cubicBezTo>
                      <a:pt x="11483" y="75357"/>
                      <a:pt x="14294" y="72606"/>
                      <a:pt x="17823" y="72606"/>
                    </a:cubicBezTo>
                    <a:cubicBezTo>
                      <a:pt x="21291" y="72606"/>
                      <a:pt x="24162" y="75417"/>
                      <a:pt x="24162" y="78826"/>
                    </a:cubicBezTo>
                    <a:close/>
                    <a:moveTo>
                      <a:pt x="11483" y="17523"/>
                    </a:moveTo>
                    <a:cubicBezTo>
                      <a:pt x="11483" y="14055"/>
                      <a:pt x="14294" y="11303"/>
                      <a:pt x="17823" y="11303"/>
                    </a:cubicBezTo>
                    <a:cubicBezTo>
                      <a:pt x="21291" y="11303"/>
                      <a:pt x="24162" y="14114"/>
                      <a:pt x="24162" y="17523"/>
                    </a:cubicBezTo>
                    <a:cubicBezTo>
                      <a:pt x="24162" y="20933"/>
                      <a:pt x="21351" y="23743"/>
                      <a:pt x="17823" y="23743"/>
                    </a:cubicBezTo>
                    <a:cubicBezTo>
                      <a:pt x="14354" y="23743"/>
                      <a:pt x="11483" y="20933"/>
                      <a:pt x="11483" y="17523"/>
                    </a:cubicBezTo>
                    <a:close/>
                  </a:path>
                </a:pathLst>
              </a:custGeom>
              <a:grpFill/>
              <a:ln w="5978" cap="flat">
                <a:noFill/>
                <a:prstDash val="solid"/>
                <a:miter/>
              </a:ln>
            </p:spPr>
            <p:txBody>
              <a:bodyPr rtlCol="0" anchor="ctr"/>
              <a:lstStyle/>
              <a:p>
                <a:endParaRPr lang="en-GB"/>
              </a:p>
            </p:txBody>
          </p:sp>
          <p:sp>
            <p:nvSpPr>
              <p:cNvPr id="39" name="Vrije vorm: vorm 38">
                <a:extLst>
                  <a:ext uri="{FF2B5EF4-FFF2-40B4-BE49-F238E27FC236}">
                    <a16:creationId xmlns:a16="http://schemas.microsoft.com/office/drawing/2014/main" id="{3948C7BD-B73C-4B31-BB35-B2DA1065B282}"/>
                  </a:ext>
                </a:extLst>
              </p:cNvPr>
              <p:cNvSpPr/>
              <p:nvPr/>
            </p:nvSpPr>
            <p:spPr>
              <a:xfrm>
                <a:off x="769080" y="4706150"/>
                <a:ext cx="74160" cy="151192"/>
              </a:xfrm>
              <a:custGeom>
                <a:avLst/>
                <a:gdLst>
                  <a:gd name="connsiteX0" fmla="*/ 51614 w 74160"/>
                  <a:gd name="connsiteY0" fmla="*/ 86780 h 151192"/>
                  <a:gd name="connsiteX1" fmla="*/ 51614 w 74160"/>
                  <a:gd name="connsiteY1" fmla="*/ 116804 h 151192"/>
                  <a:gd name="connsiteX2" fmla="*/ 38635 w 74160"/>
                  <a:gd name="connsiteY2" fmla="*/ 133669 h 151192"/>
                  <a:gd name="connsiteX3" fmla="*/ 56398 w 74160"/>
                  <a:gd name="connsiteY3" fmla="*/ 151193 h 151192"/>
                  <a:gd name="connsiteX4" fmla="*/ 74161 w 74160"/>
                  <a:gd name="connsiteY4" fmla="*/ 133669 h 151192"/>
                  <a:gd name="connsiteX5" fmla="*/ 61601 w 74160"/>
                  <a:gd name="connsiteY5" fmla="*/ 116864 h 151192"/>
                  <a:gd name="connsiteX6" fmla="*/ 61601 w 74160"/>
                  <a:gd name="connsiteY6" fmla="*/ 81398 h 151192"/>
                  <a:gd name="connsiteX7" fmla="*/ 23564 w 74160"/>
                  <a:gd name="connsiteY7" fmla="*/ 56757 h 151192"/>
                  <a:gd name="connsiteX8" fmla="*/ 23564 w 74160"/>
                  <a:gd name="connsiteY8" fmla="*/ 34090 h 151192"/>
                  <a:gd name="connsiteX9" fmla="*/ 35525 w 74160"/>
                  <a:gd name="connsiteY9" fmla="*/ 17523 h 151192"/>
                  <a:gd name="connsiteX10" fmla="*/ 17763 w 74160"/>
                  <a:gd name="connsiteY10" fmla="*/ 0 h 151192"/>
                  <a:gd name="connsiteX11" fmla="*/ 0 w 74160"/>
                  <a:gd name="connsiteY11" fmla="*/ 17523 h 151192"/>
                  <a:gd name="connsiteX12" fmla="*/ 13636 w 74160"/>
                  <a:gd name="connsiteY12" fmla="*/ 34569 h 151192"/>
                  <a:gd name="connsiteX13" fmla="*/ 13636 w 74160"/>
                  <a:gd name="connsiteY13" fmla="*/ 62080 h 151192"/>
                  <a:gd name="connsiteX14" fmla="*/ 51614 w 74160"/>
                  <a:gd name="connsiteY14" fmla="*/ 86780 h 151192"/>
                  <a:gd name="connsiteX15" fmla="*/ 11423 w 74160"/>
                  <a:gd name="connsiteY15" fmla="*/ 17583 h 151192"/>
                  <a:gd name="connsiteX16" fmla="*/ 17763 w 74160"/>
                  <a:gd name="connsiteY16" fmla="*/ 11364 h 151192"/>
                  <a:gd name="connsiteX17" fmla="*/ 24102 w 74160"/>
                  <a:gd name="connsiteY17" fmla="*/ 17583 h 151192"/>
                  <a:gd name="connsiteX18" fmla="*/ 17763 w 74160"/>
                  <a:gd name="connsiteY18" fmla="*/ 23803 h 151192"/>
                  <a:gd name="connsiteX19" fmla="*/ 11423 w 74160"/>
                  <a:gd name="connsiteY19" fmla="*/ 17583 h 151192"/>
                  <a:gd name="connsiteX20" fmla="*/ 50059 w 74160"/>
                  <a:gd name="connsiteY20" fmla="*/ 133669 h 151192"/>
                  <a:gd name="connsiteX21" fmla="*/ 56398 w 74160"/>
                  <a:gd name="connsiteY21" fmla="*/ 127449 h 151192"/>
                  <a:gd name="connsiteX22" fmla="*/ 62738 w 74160"/>
                  <a:gd name="connsiteY22" fmla="*/ 133669 h 151192"/>
                  <a:gd name="connsiteX23" fmla="*/ 56398 w 74160"/>
                  <a:gd name="connsiteY23" fmla="*/ 139889 h 151192"/>
                  <a:gd name="connsiteX24" fmla="*/ 50059 w 74160"/>
                  <a:gd name="connsiteY24" fmla="*/ 133669 h 151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160" h="151192">
                    <a:moveTo>
                      <a:pt x="51614" y="86780"/>
                    </a:moveTo>
                    <a:lnTo>
                      <a:pt x="51614" y="116804"/>
                    </a:lnTo>
                    <a:cubicBezTo>
                      <a:pt x="44138" y="118837"/>
                      <a:pt x="38635" y="125655"/>
                      <a:pt x="38635" y="133669"/>
                    </a:cubicBezTo>
                    <a:cubicBezTo>
                      <a:pt x="38635" y="143358"/>
                      <a:pt x="46590" y="151193"/>
                      <a:pt x="56398" y="151193"/>
                    </a:cubicBezTo>
                    <a:cubicBezTo>
                      <a:pt x="66207" y="151193"/>
                      <a:pt x="74161" y="143358"/>
                      <a:pt x="74161" y="133669"/>
                    </a:cubicBezTo>
                    <a:cubicBezTo>
                      <a:pt x="74161" y="125775"/>
                      <a:pt x="68898" y="119076"/>
                      <a:pt x="61601" y="116864"/>
                    </a:cubicBezTo>
                    <a:lnTo>
                      <a:pt x="61601" y="81398"/>
                    </a:lnTo>
                    <a:lnTo>
                      <a:pt x="23564" y="56757"/>
                    </a:lnTo>
                    <a:lnTo>
                      <a:pt x="23564" y="34090"/>
                    </a:lnTo>
                    <a:cubicBezTo>
                      <a:pt x="30502" y="31698"/>
                      <a:pt x="35525" y="25179"/>
                      <a:pt x="35525" y="17523"/>
                    </a:cubicBezTo>
                    <a:cubicBezTo>
                      <a:pt x="35525" y="7835"/>
                      <a:pt x="27571" y="0"/>
                      <a:pt x="17763" y="0"/>
                    </a:cubicBezTo>
                    <a:cubicBezTo>
                      <a:pt x="7954" y="0"/>
                      <a:pt x="0" y="7835"/>
                      <a:pt x="0" y="17523"/>
                    </a:cubicBezTo>
                    <a:cubicBezTo>
                      <a:pt x="0" y="25777"/>
                      <a:pt x="5801" y="32715"/>
                      <a:pt x="13636" y="34569"/>
                    </a:cubicBezTo>
                    <a:lnTo>
                      <a:pt x="13636" y="62080"/>
                    </a:lnTo>
                    <a:lnTo>
                      <a:pt x="51614" y="86780"/>
                    </a:lnTo>
                    <a:close/>
                    <a:moveTo>
                      <a:pt x="11423" y="17583"/>
                    </a:moveTo>
                    <a:cubicBezTo>
                      <a:pt x="11423" y="14114"/>
                      <a:pt x="14234" y="11364"/>
                      <a:pt x="17763" y="11364"/>
                    </a:cubicBezTo>
                    <a:cubicBezTo>
                      <a:pt x="21232" y="11364"/>
                      <a:pt x="24102" y="14174"/>
                      <a:pt x="24102" y="17583"/>
                    </a:cubicBezTo>
                    <a:cubicBezTo>
                      <a:pt x="24102" y="20992"/>
                      <a:pt x="21291" y="23803"/>
                      <a:pt x="17763" y="23803"/>
                    </a:cubicBezTo>
                    <a:cubicBezTo>
                      <a:pt x="14234" y="23803"/>
                      <a:pt x="11423" y="20992"/>
                      <a:pt x="11423" y="17583"/>
                    </a:cubicBezTo>
                    <a:close/>
                    <a:moveTo>
                      <a:pt x="50059" y="133669"/>
                    </a:moveTo>
                    <a:cubicBezTo>
                      <a:pt x="50059" y="130200"/>
                      <a:pt x="52870" y="127449"/>
                      <a:pt x="56398" y="127449"/>
                    </a:cubicBezTo>
                    <a:cubicBezTo>
                      <a:pt x="59867" y="127449"/>
                      <a:pt x="62738" y="130260"/>
                      <a:pt x="62738" y="133669"/>
                    </a:cubicBezTo>
                    <a:cubicBezTo>
                      <a:pt x="62738" y="137078"/>
                      <a:pt x="59927" y="139889"/>
                      <a:pt x="56398" y="139889"/>
                    </a:cubicBezTo>
                    <a:cubicBezTo>
                      <a:pt x="52929" y="139889"/>
                      <a:pt x="50059" y="137078"/>
                      <a:pt x="50059" y="133669"/>
                    </a:cubicBezTo>
                    <a:close/>
                  </a:path>
                </a:pathLst>
              </a:custGeom>
              <a:grpFill/>
              <a:ln w="5978" cap="flat">
                <a:noFill/>
                <a:prstDash val="solid"/>
                <a:miter/>
              </a:ln>
            </p:spPr>
            <p:txBody>
              <a:bodyPr rtlCol="0" anchor="ctr"/>
              <a:lstStyle/>
              <a:p>
                <a:endParaRPr lang="en-GB"/>
              </a:p>
            </p:txBody>
          </p:sp>
        </p:grpSp>
        <p:sp>
          <p:nvSpPr>
            <p:cNvPr id="32" name="Vrije vorm: vorm 31">
              <a:extLst>
                <a:ext uri="{FF2B5EF4-FFF2-40B4-BE49-F238E27FC236}">
                  <a16:creationId xmlns:a16="http://schemas.microsoft.com/office/drawing/2014/main" id="{0C1372EC-053C-4F08-8EDF-C24A79F7C84A}"/>
                </a:ext>
              </a:extLst>
            </p:cNvPr>
            <p:cNvSpPr/>
            <p:nvPr/>
          </p:nvSpPr>
          <p:spPr>
            <a:xfrm>
              <a:off x="877630" y="4753577"/>
              <a:ext cx="35525" cy="35047"/>
            </a:xfrm>
            <a:custGeom>
              <a:avLst/>
              <a:gdLst>
                <a:gd name="connsiteX0" fmla="*/ 17763 w 35525"/>
                <a:gd name="connsiteY0" fmla="*/ 0 h 35047"/>
                <a:gd name="connsiteX1" fmla="*/ 0 w 35525"/>
                <a:gd name="connsiteY1" fmla="*/ 17523 h 35047"/>
                <a:gd name="connsiteX2" fmla="*/ 17763 w 35525"/>
                <a:gd name="connsiteY2" fmla="*/ 35047 h 35047"/>
                <a:gd name="connsiteX3" fmla="*/ 35525 w 35525"/>
                <a:gd name="connsiteY3" fmla="*/ 17523 h 35047"/>
                <a:gd name="connsiteX4" fmla="*/ 17763 w 35525"/>
                <a:gd name="connsiteY4" fmla="*/ 0 h 35047"/>
                <a:gd name="connsiteX5" fmla="*/ 17763 w 35525"/>
                <a:gd name="connsiteY5" fmla="*/ 23804 h 35047"/>
                <a:gd name="connsiteX6" fmla="*/ 11423 w 35525"/>
                <a:gd name="connsiteY6" fmla="*/ 17583 h 35047"/>
                <a:gd name="connsiteX7" fmla="*/ 17763 w 35525"/>
                <a:gd name="connsiteY7" fmla="*/ 11364 h 35047"/>
                <a:gd name="connsiteX8" fmla="*/ 24102 w 35525"/>
                <a:gd name="connsiteY8" fmla="*/ 17583 h 35047"/>
                <a:gd name="connsiteX9" fmla="*/ 17763 w 35525"/>
                <a:gd name="connsiteY9" fmla="*/ 23804 h 3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5" h="35047">
                  <a:moveTo>
                    <a:pt x="17763" y="0"/>
                  </a:moveTo>
                  <a:cubicBezTo>
                    <a:pt x="7954" y="0"/>
                    <a:pt x="0" y="7835"/>
                    <a:pt x="0" y="17523"/>
                  </a:cubicBezTo>
                  <a:cubicBezTo>
                    <a:pt x="0" y="27212"/>
                    <a:pt x="7954" y="35047"/>
                    <a:pt x="17763" y="35047"/>
                  </a:cubicBezTo>
                  <a:cubicBezTo>
                    <a:pt x="27571" y="35047"/>
                    <a:pt x="35525" y="27212"/>
                    <a:pt x="35525" y="17523"/>
                  </a:cubicBezTo>
                  <a:cubicBezTo>
                    <a:pt x="35525" y="7895"/>
                    <a:pt x="27571" y="0"/>
                    <a:pt x="17763" y="0"/>
                  </a:cubicBezTo>
                  <a:close/>
                  <a:moveTo>
                    <a:pt x="17763" y="23804"/>
                  </a:moveTo>
                  <a:cubicBezTo>
                    <a:pt x="14294" y="23804"/>
                    <a:pt x="11423" y="20992"/>
                    <a:pt x="11423" y="17583"/>
                  </a:cubicBezTo>
                  <a:cubicBezTo>
                    <a:pt x="11423" y="14115"/>
                    <a:pt x="14234" y="11364"/>
                    <a:pt x="17763" y="11364"/>
                  </a:cubicBezTo>
                  <a:cubicBezTo>
                    <a:pt x="21232" y="11364"/>
                    <a:pt x="24102" y="14174"/>
                    <a:pt x="24102" y="17583"/>
                  </a:cubicBezTo>
                  <a:cubicBezTo>
                    <a:pt x="24043" y="20992"/>
                    <a:pt x="21232" y="23804"/>
                    <a:pt x="17763" y="23804"/>
                  </a:cubicBezTo>
                  <a:close/>
                </a:path>
              </a:pathLst>
            </a:custGeom>
            <a:grpFill/>
            <a:ln w="5978" cap="flat">
              <a:noFill/>
              <a:prstDash val="solid"/>
              <a:miter/>
            </a:ln>
          </p:spPr>
          <p:txBody>
            <a:bodyPr rtlCol="0" anchor="ctr"/>
            <a:lstStyle/>
            <a:p>
              <a:endParaRPr lang="en-GB"/>
            </a:p>
          </p:txBody>
        </p:sp>
      </p:grpSp>
    </p:spTree>
    <p:extLst>
      <p:ext uri="{BB962C8B-B14F-4D97-AF65-F5344CB8AC3E}">
        <p14:creationId xmlns:p14="http://schemas.microsoft.com/office/powerpoint/2010/main" val="2738669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4817" fill="hold"/>
                                        <p:tgtEl>
                                          <p:spTgt spid="3"/>
                                        </p:tgtEl>
                                      </p:cBhvr>
                                    </p:cmd>
                                  </p:childTnLst>
                                </p:cTn>
                              </p:par>
                              <p:par>
                                <p:cTn id="7" presetID="2" presetClass="entr" presetSubtype="1" decel="10000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anim calcmode="lin" valueType="num">
                                      <p:cBhvr additive="base">
                                        <p:cTn id="9" dur="1000" fill="hold"/>
                                        <p:tgtEl>
                                          <p:spTgt spid="12"/>
                                        </p:tgtEl>
                                        <p:attrNameLst>
                                          <p:attrName>ppt_x</p:attrName>
                                        </p:attrNameLst>
                                      </p:cBhvr>
                                      <p:tavLst>
                                        <p:tav tm="0">
                                          <p:val>
                                            <p:strVal val="#ppt_x"/>
                                          </p:val>
                                        </p:tav>
                                        <p:tav tm="100000">
                                          <p:val>
                                            <p:strVal val="#ppt_x"/>
                                          </p:val>
                                        </p:tav>
                                      </p:tavLst>
                                    </p:anim>
                                    <p:anim calcmode="lin" valueType="num">
                                      <p:cBhvr additive="base">
                                        <p:cTn id="10" dur="1000" fill="hold"/>
                                        <p:tgtEl>
                                          <p:spTgt spid="12"/>
                                        </p:tgtEl>
                                        <p:attrNameLst>
                                          <p:attrName>ppt_y</p:attrName>
                                        </p:attrNameLst>
                                      </p:cBhvr>
                                      <p:tavLst>
                                        <p:tav tm="0">
                                          <p:val>
                                            <p:strVal val="0-#ppt_h/2"/>
                                          </p:val>
                                        </p:tav>
                                        <p:tav tm="100000">
                                          <p:val>
                                            <p:strVal val="#ppt_y"/>
                                          </p:val>
                                        </p:tav>
                                      </p:tavLst>
                                    </p:anim>
                                  </p:childTnLst>
                                </p:cTn>
                              </p:par>
                              <p:par>
                                <p:cTn id="11" presetID="2" presetClass="entr" presetSubtype="2" decel="100000" fill="hold" nodeType="withEffect">
                                  <p:stCondLst>
                                    <p:cond delay="40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750" fill="hold"/>
                                        <p:tgtEl>
                                          <p:spTgt spid="11"/>
                                        </p:tgtEl>
                                        <p:attrNameLst>
                                          <p:attrName>ppt_x</p:attrName>
                                        </p:attrNameLst>
                                      </p:cBhvr>
                                      <p:tavLst>
                                        <p:tav tm="0">
                                          <p:val>
                                            <p:strVal val="1+#ppt_w/2"/>
                                          </p:val>
                                        </p:tav>
                                        <p:tav tm="100000">
                                          <p:val>
                                            <p:strVal val="#ppt_x"/>
                                          </p:val>
                                        </p:tav>
                                      </p:tavLst>
                                    </p:anim>
                                    <p:anim calcmode="lin" valueType="num">
                                      <p:cBhvr additive="base">
                                        <p:cTn id="14" dur="750" fill="hold"/>
                                        <p:tgtEl>
                                          <p:spTgt spid="11"/>
                                        </p:tgtEl>
                                        <p:attrNameLst>
                                          <p:attrName>ppt_y</p:attrName>
                                        </p:attrNameLst>
                                      </p:cBhvr>
                                      <p:tavLst>
                                        <p:tav tm="0">
                                          <p:val>
                                            <p:strVal val="#ppt_y"/>
                                          </p:val>
                                        </p:tav>
                                        <p:tav tm="100000">
                                          <p:val>
                                            <p:strVal val="#ppt_y"/>
                                          </p:val>
                                        </p:tav>
                                      </p:tavLst>
                                    </p:anim>
                                  </p:childTnLst>
                                </p:cTn>
                              </p:par>
                              <p:par>
                                <p:cTn id="15" presetID="2" presetClass="entr" presetSubtype="2" decel="100000" fill="hold" nodeType="withEffect">
                                  <p:stCondLst>
                                    <p:cond delay="4250"/>
                                  </p:stCondLst>
                                  <p:childTnLst>
                                    <p:set>
                                      <p:cBhvr>
                                        <p:cTn id="16" dur="1" fill="hold">
                                          <p:stCondLst>
                                            <p:cond delay="0"/>
                                          </p:stCondLst>
                                        </p:cTn>
                                        <p:tgtEl>
                                          <p:spTgt spid="43"/>
                                        </p:tgtEl>
                                        <p:attrNameLst>
                                          <p:attrName>style.visibility</p:attrName>
                                        </p:attrNameLst>
                                      </p:cBhvr>
                                      <p:to>
                                        <p:strVal val="visible"/>
                                      </p:to>
                                    </p:set>
                                    <p:anim calcmode="lin" valueType="num">
                                      <p:cBhvr additive="base">
                                        <p:cTn id="17" dur="750" fill="hold"/>
                                        <p:tgtEl>
                                          <p:spTgt spid="43"/>
                                        </p:tgtEl>
                                        <p:attrNameLst>
                                          <p:attrName>ppt_x</p:attrName>
                                        </p:attrNameLst>
                                      </p:cBhvr>
                                      <p:tavLst>
                                        <p:tav tm="0">
                                          <p:val>
                                            <p:strVal val="1+#ppt_w/2"/>
                                          </p:val>
                                        </p:tav>
                                        <p:tav tm="100000">
                                          <p:val>
                                            <p:strVal val="#ppt_x"/>
                                          </p:val>
                                        </p:tav>
                                      </p:tavLst>
                                    </p:anim>
                                    <p:anim calcmode="lin" valueType="num">
                                      <p:cBhvr additive="base">
                                        <p:cTn id="18" dur="750" fill="hold"/>
                                        <p:tgtEl>
                                          <p:spTgt spid="43"/>
                                        </p:tgtEl>
                                        <p:attrNameLst>
                                          <p:attrName>ppt_y</p:attrName>
                                        </p:attrNameLst>
                                      </p:cBhvr>
                                      <p:tavLst>
                                        <p:tav tm="0">
                                          <p:val>
                                            <p:strVal val="#ppt_y"/>
                                          </p:val>
                                        </p:tav>
                                        <p:tav tm="100000">
                                          <p:val>
                                            <p:strVal val="#ppt_y"/>
                                          </p:val>
                                        </p:tav>
                                      </p:tavLst>
                                    </p:anim>
                                  </p:childTnLst>
                                </p:cTn>
                              </p:par>
                              <p:par>
                                <p:cTn id="19" presetID="2" presetClass="entr" presetSubtype="2" decel="100000" fill="hold" nodeType="withEffect">
                                  <p:stCondLst>
                                    <p:cond delay="4500"/>
                                  </p:stCondLst>
                                  <p:childTnLst>
                                    <p:set>
                                      <p:cBhvr>
                                        <p:cTn id="20" dur="1" fill="hold">
                                          <p:stCondLst>
                                            <p:cond delay="0"/>
                                          </p:stCondLst>
                                        </p:cTn>
                                        <p:tgtEl>
                                          <p:spTgt spid="40"/>
                                        </p:tgtEl>
                                        <p:attrNameLst>
                                          <p:attrName>style.visibility</p:attrName>
                                        </p:attrNameLst>
                                      </p:cBhvr>
                                      <p:to>
                                        <p:strVal val="visible"/>
                                      </p:to>
                                    </p:set>
                                    <p:anim calcmode="lin" valueType="num">
                                      <p:cBhvr additive="base">
                                        <p:cTn id="21" dur="750" fill="hold"/>
                                        <p:tgtEl>
                                          <p:spTgt spid="40"/>
                                        </p:tgtEl>
                                        <p:attrNameLst>
                                          <p:attrName>ppt_x</p:attrName>
                                        </p:attrNameLst>
                                      </p:cBhvr>
                                      <p:tavLst>
                                        <p:tav tm="0">
                                          <p:val>
                                            <p:strVal val="1+#ppt_w/2"/>
                                          </p:val>
                                        </p:tav>
                                        <p:tav tm="100000">
                                          <p:val>
                                            <p:strVal val="#ppt_x"/>
                                          </p:val>
                                        </p:tav>
                                      </p:tavLst>
                                    </p:anim>
                                    <p:anim calcmode="lin" valueType="num">
                                      <p:cBhvr additive="base">
                                        <p:cTn id="22" dur="750" fill="hold"/>
                                        <p:tgtEl>
                                          <p:spTgt spid="40"/>
                                        </p:tgtEl>
                                        <p:attrNameLst>
                                          <p:attrName>ppt_y</p:attrName>
                                        </p:attrNameLst>
                                      </p:cBhvr>
                                      <p:tavLst>
                                        <p:tav tm="0">
                                          <p:val>
                                            <p:strVal val="#ppt_y"/>
                                          </p:val>
                                        </p:tav>
                                        <p:tav tm="100000">
                                          <p:val>
                                            <p:strVal val="#ppt_y"/>
                                          </p:val>
                                        </p:tav>
                                      </p:tavLst>
                                    </p:anim>
                                  </p:childTnLst>
                                </p:cTn>
                              </p:par>
                              <p:par>
                                <p:cTn id="23" presetID="2" presetClass="entr" presetSubtype="2" decel="100000" fill="hold" nodeType="withEffect">
                                  <p:stCondLst>
                                    <p:cond delay="4750"/>
                                  </p:stCondLst>
                                  <p:childTnLst>
                                    <p:set>
                                      <p:cBhvr>
                                        <p:cTn id="24" dur="1" fill="hold">
                                          <p:stCondLst>
                                            <p:cond delay="0"/>
                                          </p:stCondLst>
                                        </p:cTn>
                                        <p:tgtEl>
                                          <p:spTgt spid="27"/>
                                        </p:tgtEl>
                                        <p:attrNameLst>
                                          <p:attrName>style.visibility</p:attrName>
                                        </p:attrNameLst>
                                      </p:cBhvr>
                                      <p:to>
                                        <p:strVal val="visible"/>
                                      </p:to>
                                    </p:set>
                                    <p:anim calcmode="lin" valueType="num">
                                      <p:cBhvr additive="base">
                                        <p:cTn id="25" dur="750" fill="hold"/>
                                        <p:tgtEl>
                                          <p:spTgt spid="27"/>
                                        </p:tgtEl>
                                        <p:attrNameLst>
                                          <p:attrName>ppt_x</p:attrName>
                                        </p:attrNameLst>
                                      </p:cBhvr>
                                      <p:tavLst>
                                        <p:tav tm="0">
                                          <p:val>
                                            <p:strVal val="1+#ppt_w/2"/>
                                          </p:val>
                                        </p:tav>
                                        <p:tav tm="100000">
                                          <p:val>
                                            <p:strVal val="#ppt_x"/>
                                          </p:val>
                                        </p:tav>
                                      </p:tavLst>
                                    </p:anim>
                                    <p:anim calcmode="lin" valueType="num">
                                      <p:cBhvr additive="base">
                                        <p:cTn id="26" dur="7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27" fill="hold" display="0">
                  <p:stCondLst>
                    <p:cond delay="indefinite"/>
                  </p:stCondLst>
                </p:cTn>
                <p:tgtEl>
                  <p:spTgt spid="3"/>
                </p:tgtEl>
              </p:cMediaNode>
            </p:video>
          </p:childTnLst>
        </p:cTn>
      </p:par>
    </p:tnLst>
    <p:bldLst>
      <p:bldP spid="12" grpId="0" animBg="1">
        <p:tmplLst>
          <p:tmpl>
            <p:tnLst>
              <p:par>
                <p:cTn presetID="2" presetClass="entr" presetSubtype="1"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1000" fill="hold"/>
                        <p:tgtEl>
                          <p:spTgt spid="12"/>
                        </p:tgtEl>
                        <p:attrNameLst>
                          <p:attrName>ppt_x</p:attrName>
                        </p:attrNameLst>
                      </p:cBhvr>
                      <p:tavLst>
                        <p:tav tm="0">
                          <p:val>
                            <p:strVal val="#ppt_x"/>
                          </p:val>
                        </p:tav>
                        <p:tav tm="100000">
                          <p:val>
                            <p:strVal val="#ppt_x"/>
                          </p:val>
                        </p:tav>
                      </p:tavLst>
                    </p:anim>
                    <p:anim calcmode="lin" valueType="num">
                      <p:cBhvr additive="base">
                        <p:cTn dur="1000" fill="hold"/>
                        <p:tgtEl>
                          <p:spTgt spid="12"/>
                        </p:tgtEl>
                        <p:attrNameLst>
                          <p:attrName>ppt_y</p:attrName>
                        </p:attrNameLst>
                      </p:cBhvr>
                      <p:tavLst>
                        <p:tav tm="0">
                          <p:val>
                            <p:strVal val="0-#ppt_h/2"/>
                          </p:val>
                        </p:tav>
                        <p:tav tm="100000">
                          <p:val>
                            <p:strVal val="#ppt_y"/>
                          </p:val>
                        </p:tav>
                      </p:tavLst>
                    </p:anim>
                  </p:childTnLst>
                </p:cTn>
              </p:par>
            </p:tnLst>
          </p:tmpl>
        </p:tmplLst>
      </p:b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65239AD3-E5C7-4963-AB07-FDBBA6996727}"/>
              </a:ext>
            </a:extLst>
          </p:cNvPr>
          <p:cNvSpPr/>
          <p:nvPr/>
        </p:nvSpPr>
        <p:spPr>
          <a:xfrm>
            <a:off x="1080119" y="2923800"/>
            <a:ext cx="768000" cy="76968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id="{164E27F4-6822-4BE1-8FE7-9A5FE704E8F7}"/>
              </a:ext>
            </a:extLst>
          </p:cNvPr>
          <p:cNvSpPr/>
          <p:nvPr/>
        </p:nvSpPr>
        <p:spPr>
          <a:xfrm>
            <a:off x="10300052" y="2928584"/>
            <a:ext cx="768000" cy="768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4" name="Straight Arrow Connector 13">
            <a:extLst>
              <a:ext uri="{FF2B5EF4-FFF2-40B4-BE49-F238E27FC236}">
                <a16:creationId xmlns:a16="http://schemas.microsoft.com/office/drawing/2014/main" id="{D283294A-DD8D-4937-BCEE-76AC19AC49F4}"/>
              </a:ext>
            </a:extLst>
          </p:cNvPr>
          <p:cNvCxnSpPr/>
          <p:nvPr/>
        </p:nvCxnSpPr>
        <p:spPr>
          <a:xfrm>
            <a:off x="1988942" y="3299399"/>
            <a:ext cx="619125" cy="0"/>
          </a:xfrm>
          <a:prstGeom prst="straightConnector1">
            <a:avLst/>
          </a:prstGeom>
          <a:ln w="9525">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8DAFF83A-5E0E-4F49-BC9D-8CE0DEC18BB1}"/>
              </a:ext>
            </a:extLst>
          </p:cNvPr>
          <p:cNvCxnSpPr/>
          <p:nvPr/>
        </p:nvCxnSpPr>
        <p:spPr>
          <a:xfrm>
            <a:off x="9577311" y="3308640"/>
            <a:ext cx="619125" cy="0"/>
          </a:xfrm>
          <a:prstGeom prst="straightConnector1">
            <a:avLst/>
          </a:prstGeom>
          <a:ln w="9525">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FE6DDDF9-B5C9-4641-B98E-72BC9C36CBF6}"/>
              </a:ext>
            </a:extLst>
          </p:cNvPr>
          <p:cNvSpPr txBox="1"/>
          <p:nvPr/>
        </p:nvSpPr>
        <p:spPr>
          <a:xfrm>
            <a:off x="1033702" y="3066363"/>
            <a:ext cx="847725"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white"/>
                </a:solidFill>
                <a:effectLst/>
                <a:uLnTx/>
                <a:uFillTx/>
                <a:latin typeface="Droid Sans" panose="020B0606030804020204" pitchFamily="34" charset="0"/>
                <a:ea typeface="Droid Sans" panose="020B0606030804020204" pitchFamily="34" charset="0"/>
                <a:cs typeface="Droid Sans" panose="020B0606030804020204" pitchFamily="34" charset="0"/>
              </a:rPr>
              <a:t>DATA ORIGIN</a:t>
            </a:r>
            <a:endParaRPr kumimoji="0" lang="en-GB" sz="1200" b="1" i="0" u="none" strike="noStrike" kern="1200" cap="none" spc="0" normalizeH="0" baseline="0" noProof="0" dirty="0">
              <a:ln>
                <a:noFill/>
              </a:ln>
              <a:solidFill>
                <a:prstClr val="white"/>
              </a:solidFill>
              <a:effectLst/>
              <a:uLnTx/>
              <a:uFillTx/>
              <a:latin typeface="Droid Sans" panose="020B0606030804020204" pitchFamily="34" charset="0"/>
              <a:ea typeface="Droid Sans" panose="020B0606030804020204" pitchFamily="34" charset="0"/>
              <a:cs typeface="Droid Sans" panose="020B0606030804020204" pitchFamily="34" charset="0"/>
            </a:endParaRPr>
          </a:p>
        </p:txBody>
      </p:sp>
      <p:cxnSp>
        <p:nvCxnSpPr>
          <p:cNvPr id="19" name="Straight Arrow Connector 18">
            <a:extLst>
              <a:ext uri="{FF2B5EF4-FFF2-40B4-BE49-F238E27FC236}">
                <a16:creationId xmlns:a16="http://schemas.microsoft.com/office/drawing/2014/main" id="{FDD32FAF-6ABE-4AF3-9CB9-4F903A164241}"/>
              </a:ext>
            </a:extLst>
          </p:cNvPr>
          <p:cNvCxnSpPr>
            <a:cxnSpLocks/>
          </p:cNvCxnSpPr>
          <p:nvPr/>
        </p:nvCxnSpPr>
        <p:spPr>
          <a:xfrm>
            <a:off x="3784996" y="3308640"/>
            <a:ext cx="4688683" cy="0"/>
          </a:xfrm>
          <a:prstGeom prst="straightConnector1">
            <a:avLst/>
          </a:prstGeom>
          <a:ln w="1270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CAF0C217-9525-42F2-8501-4CB46D2E80BD}"/>
              </a:ext>
            </a:extLst>
          </p:cNvPr>
          <p:cNvCxnSpPr>
            <a:cxnSpLocks/>
          </p:cNvCxnSpPr>
          <p:nvPr/>
        </p:nvCxnSpPr>
        <p:spPr>
          <a:xfrm flipV="1">
            <a:off x="3367089" y="2295522"/>
            <a:ext cx="1881187" cy="815047"/>
          </a:xfrm>
          <a:prstGeom prst="line">
            <a:avLst/>
          </a:prstGeom>
          <a:ln w="3492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8C1C3430-CEA8-4073-B999-BEA06B1FF9A5}"/>
              </a:ext>
            </a:extLst>
          </p:cNvPr>
          <p:cNvCxnSpPr>
            <a:cxnSpLocks/>
          </p:cNvCxnSpPr>
          <p:nvPr/>
        </p:nvCxnSpPr>
        <p:spPr>
          <a:xfrm>
            <a:off x="6992542" y="2314226"/>
            <a:ext cx="1832372" cy="796343"/>
          </a:xfrm>
          <a:prstGeom prst="line">
            <a:avLst/>
          </a:prstGeom>
          <a:ln w="3492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599CCAB0-B07C-4FF9-98DD-61153AA065B1}"/>
              </a:ext>
            </a:extLst>
          </p:cNvPr>
          <p:cNvSpPr/>
          <p:nvPr/>
        </p:nvSpPr>
        <p:spPr>
          <a:xfrm>
            <a:off x="5485209" y="1923317"/>
            <a:ext cx="1214435" cy="558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16E635CF-9CE5-438E-9C18-C501D1D31F8D}"/>
              </a:ext>
            </a:extLst>
          </p:cNvPr>
          <p:cNvSpPr txBox="1"/>
          <p:nvPr/>
        </p:nvSpPr>
        <p:spPr>
          <a:xfrm>
            <a:off x="5488782" y="1875171"/>
            <a:ext cx="1214437"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white"/>
                </a:solidFill>
                <a:effectLst/>
                <a:uLnTx/>
                <a:uFillTx/>
                <a:latin typeface="Droid Sans" panose="020B0606030804020204" pitchFamily="34" charset="0"/>
                <a:ea typeface="Droid Sans" panose="020B0606030804020204" pitchFamily="34" charset="0"/>
                <a:cs typeface="Droid Sans" panose="020B0606030804020204" pitchFamily="34" charset="0"/>
              </a:rPr>
              <a:t>BROKER SERVICE PROVIDER</a:t>
            </a:r>
            <a:endParaRPr kumimoji="0" lang="en-GB" sz="1200" b="1" i="0" u="none" strike="noStrike" kern="1200" cap="none" spc="0" normalizeH="0" baseline="0" noProof="0" dirty="0">
              <a:ln>
                <a:noFill/>
              </a:ln>
              <a:solidFill>
                <a:prstClr val="white"/>
              </a:solidFill>
              <a:effectLst/>
              <a:uLnTx/>
              <a:uFillTx/>
              <a:latin typeface="Droid Sans" panose="020B0606030804020204" pitchFamily="34" charset="0"/>
              <a:ea typeface="Droid Sans" panose="020B0606030804020204" pitchFamily="34" charset="0"/>
              <a:cs typeface="Droid Sans" panose="020B0606030804020204" pitchFamily="34" charset="0"/>
            </a:endParaRPr>
          </a:p>
        </p:txBody>
      </p:sp>
      <p:cxnSp>
        <p:nvCxnSpPr>
          <p:cNvPr id="22" name="Straight Connector 21">
            <a:extLst>
              <a:ext uri="{FF2B5EF4-FFF2-40B4-BE49-F238E27FC236}">
                <a16:creationId xmlns:a16="http://schemas.microsoft.com/office/drawing/2014/main" id="{4DBBEFD9-83C4-422F-8F38-81600C7F7EC3}"/>
              </a:ext>
            </a:extLst>
          </p:cNvPr>
          <p:cNvCxnSpPr>
            <a:cxnSpLocks/>
          </p:cNvCxnSpPr>
          <p:nvPr/>
        </p:nvCxnSpPr>
        <p:spPr>
          <a:xfrm flipV="1">
            <a:off x="3352801" y="1086653"/>
            <a:ext cx="1866900" cy="1832755"/>
          </a:xfrm>
          <a:prstGeom prst="line">
            <a:avLst/>
          </a:prstGeom>
          <a:ln w="12700" cap="rnd">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A2DBE420-29E2-4F6F-9C73-95E65AD8BC3F}"/>
              </a:ext>
            </a:extLst>
          </p:cNvPr>
          <p:cNvCxnSpPr>
            <a:cxnSpLocks/>
          </p:cNvCxnSpPr>
          <p:nvPr/>
        </p:nvCxnSpPr>
        <p:spPr>
          <a:xfrm flipH="1" flipV="1">
            <a:off x="6713929" y="907802"/>
            <a:ext cx="2125272" cy="2011607"/>
          </a:xfrm>
          <a:prstGeom prst="line">
            <a:avLst/>
          </a:prstGeom>
          <a:ln w="12700" cap="rnd">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1A295EC-7345-428D-AF9F-4D5A387A1C81}"/>
              </a:ext>
            </a:extLst>
          </p:cNvPr>
          <p:cNvCxnSpPr>
            <a:cxnSpLocks/>
          </p:cNvCxnSpPr>
          <p:nvPr/>
        </p:nvCxnSpPr>
        <p:spPr>
          <a:xfrm flipH="1" flipV="1">
            <a:off x="3405190" y="3757607"/>
            <a:ext cx="2162175" cy="2041483"/>
          </a:xfrm>
          <a:prstGeom prst="line">
            <a:avLst/>
          </a:prstGeom>
          <a:ln w="28575" cap="rnd">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EB0F4694-246A-4BFA-82F9-69F18EE3509C}"/>
              </a:ext>
            </a:extLst>
          </p:cNvPr>
          <p:cNvCxnSpPr>
            <a:cxnSpLocks/>
          </p:cNvCxnSpPr>
          <p:nvPr/>
        </p:nvCxnSpPr>
        <p:spPr>
          <a:xfrm flipV="1">
            <a:off x="6624638" y="3757607"/>
            <a:ext cx="2176463" cy="2070499"/>
          </a:xfrm>
          <a:prstGeom prst="line">
            <a:avLst/>
          </a:prstGeom>
          <a:ln w="28575" cap="rnd">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4251577D-748C-44D8-AB6E-5F3318352D0D}"/>
              </a:ext>
            </a:extLst>
          </p:cNvPr>
          <p:cNvCxnSpPr>
            <a:cxnSpLocks/>
          </p:cNvCxnSpPr>
          <p:nvPr/>
        </p:nvCxnSpPr>
        <p:spPr>
          <a:xfrm>
            <a:off x="3328988" y="3479900"/>
            <a:ext cx="1890712" cy="841861"/>
          </a:xfrm>
          <a:prstGeom prst="line">
            <a:avLst/>
          </a:prstGeom>
          <a:ln w="3492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D22B7072-9179-4ADD-8C23-CCFFCA13A165}"/>
              </a:ext>
            </a:extLst>
          </p:cNvPr>
          <p:cNvCxnSpPr>
            <a:cxnSpLocks/>
          </p:cNvCxnSpPr>
          <p:nvPr/>
        </p:nvCxnSpPr>
        <p:spPr>
          <a:xfrm flipV="1">
            <a:off x="6990247" y="3479901"/>
            <a:ext cx="1877528" cy="838369"/>
          </a:xfrm>
          <a:prstGeom prst="line">
            <a:avLst/>
          </a:prstGeom>
          <a:ln w="3492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sp>
        <p:nvSpPr>
          <p:cNvPr id="40" name="Rectangle 39">
            <a:extLst>
              <a:ext uri="{FF2B5EF4-FFF2-40B4-BE49-F238E27FC236}">
                <a16:creationId xmlns:a16="http://schemas.microsoft.com/office/drawing/2014/main" id="{1C2FFF38-CD07-4AF2-B4D7-D181EE5A05B8}"/>
              </a:ext>
            </a:extLst>
          </p:cNvPr>
          <p:cNvSpPr/>
          <p:nvPr/>
        </p:nvSpPr>
        <p:spPr>
          <a:xfrm>
            <a:off x="5499497" y="4135065"/>
            <a:ext cx="1214433" cy="558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8D60A0AB-CA17-472B-9867-911563DA83CE}"/>
              </a:ext>
            </a:extLst>
          </p:cNvPr>
          <p:cNvSpPr txBox="1"/>
          <p:nvPr/>
        </p:nvSpPr>
        <p:spPr>
          <a:xfrm>
            <a:off x="5488782" y="4171734"/>
            <a:ext cx="1214437"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CLEARING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HOUSE</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sp>
        <p:nvSpPr>
          <p:cNvPr id="47" name="Rectangle 46">
            <a:extLst>
              <a:ext uri="{FF2B5EF4-FFF2-40B4-BE49-F238E27FC236}">
                <a16:creationId xmlns:a16="http://schemas.microsoft.com/office/drawing/2014/main" id="{0673A2C7-697D-476A-BF08-90F4B306E9C0}"/>
              </a:ext>
            </a:extLst>
          </p:cNvPr>
          <p:cNvSpPr/>
          <p:nvPr/>
        </p:nvSpPr>
        <p:spPr>
          <a:xfrm>
            <a:off x="5357814" y="725525"/>
            <a:ext cx="1476375" cy="558899"/>
          </a:xfrm>
          <a:prstGeom prst="rect">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F5DFDE71-4AAD-4DD0-BA13-AF2F3B557977}"/>
              </a:ext>
            </a:extLst>
          </p:cNvPr>
          <p:cNvSpPr txBox="1"/>
          <p:nvPr/>
        </p:nvSpPr>
        <p:spPr>
          <a:xfrm>
            <a:off x="1785067" y="3306372"/>
            <a:ext cx="1026875"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Authorize</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51" name="TextBox 50">
            <a:extLst>
              <a:ext uri="{FF2B5EF4-FFF2-40B4-BE49-F238E27FC236}">
                <a16:creationId xmlns:a16="http://schemas.microsoft.com/office/drawing/2014/main" id="{1B34A62F-6377-4C98-8598-0228E41808D7}"/>
              </a:ext>
            </a:extLst>
          </p:cNvPr>
          <p:cNvSpPr txBox="1"/>
          <p:nvPr/>
        </p:nvSpPr>
        <p:spPr>
          <a:xfrm>
            <a:off x="9231234" y="3300368"/>
            <a:ext cx="1218047"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Use data</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53" name="TextBox 52">
            <a:extLst>
              <a:ext uri="{FF2B5EF4-FFF2-40B4-BE49-F238E27FC236}">
                <a16:creationId xmlns:a16="http://schemas.microsoft.com/office/drawing/2014/main" id="{4F695B31-36A4-4194-9483-95B14ECC86AD}"/>
              </a:ext>
            </a:extLst>
          </p:cNvPr>
          <p:cNvSpPr txBox="1"/>
          <p:nvPr/>
        </p:nvSpPr>
        <p:spPr>
          <a:xfrm>
            <a:off x="10225526" y="3062420"/>
            <a:ext cx="847725"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DATA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US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sp>
        <p:nvSpPr>
          <p:cNvPr id="54" name="TextBox 53">
            <a:extLst>
              <a:ext uri="{FF2B5EF4-FFF2-40B4-BE49-F238E27FC236}">
                <a16:creationId xmlns:a16="http://schemas.microsoft.com/office/drawing/2014/main" id="{37FEB084-9B22-4618-9D31-0B67BE17AAD0}"/>
              </a:ext>
            </a:extLst>
          </p:cNvPr>
          <p:cNvSpPr txBox="1"/>
          <p:nvPr/>
        </p:nvSpPr>
        <p:spPr>
          <a:xfrm>
            <a:off x="5364959" y="766468"/>
            <a:ext cx="1476375"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Droid Sans" panose="020B0606030804020204" pitchFamily="34" charset="0"/>
                <a:ea typeface="Droid Sans" panose="020B0606030804020204" pitchFamily="34" charset="0"/>
                <a:cs typeface="Droid Sans" panose="020B0606030804020204" pitchFamily="34" charset="0"/>
              </a:rPr>
              <a:t>SERVICE PROVIDER</a:t>
            </a:r>
            <a:endParaRPr kumimoji="0" lang="en-GB" sz="1200" b="1" i="0" u="none" strike="noStrike" kern="1200" cap="none" spc="0" normalizeH="0" baseline="0" noProof="0" dirty="0">
              <a:ln>
                <a:noFill/>
              </a:ln>
              <a:solidFill>
                <a:prstClr val="white"/>
              </a:solidFill>
              <a:effectLst/>
              <a:uLnTx/>
              <a:uFillTx/>
              <a:latin typeface="Droid Sans" panose="020B0606030804020204" pitchFamily="34" charset="0"/>
              <a:ea typeface="Droid Sans" panose="020B0606030804020204" pitchFamily="34" charset="0"/>
              <a:cs typeface="Droid Sans" panose="020B0606030804020204" pitchFamily="34" charset="0"/>
            </a:endParaRPr>
          </a:p>
        </p:txBody>
      </p:sp>
      <p:sp>
        <p:nvSpPr>
          <p:cNvPr id="61" name="Oval 60">
            <a:extLst>
              <a:ext uri="{FF2B5EF4-FFF2-40B4-BE49-F238E27FC236}">
                <a16:creationId xmlns:a16="http://schemas.microsoft.com/office/drawing/2014/main" id="{303B4B26-EC6A-4AF3-9CC6-D195A03C5A49}"/>
              </a:ext>
            </a:extLst>
          </p:cNvPr>
          <p:cNvSpPr/>
          <p:nvPr/>
        </p:nvSpPr>
        <p:spPr>
          <a:xfrm>
            <a:off x="5781675" y="4910273"/>
            <a:ext cx="628652" cy="62865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TextBox 61">
            <a:extLst>
              <a:ext uri="{FF2B5EF4-FFF2-40B4-BE49-F238E27FC236}">
                <a16:creationId xmlns:a16="http://schemas.microsoft.com/office/drawing/2014/main" id="{EF16D5D7-7849-43A5-8E3F-575EF03DC73D}"/>
              </a:ext>
            </a:extLst>
          </p:cNvPr>
          <p:cNvSpPr txBox="1"/>
          <p:nvPr/>
        </p:nvSpPr>
        <p:spPr>
          <a:xfrm>
            <a:off x="5642972" y="5055322"/>
            <a:ext cx="906059" cy="3385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Droid Sans" panose="020B0606030804020204" pitchFamily="34" charset="0"/>
                <a:ea typeface="Droid Sans" panose="020B0606030804020204" pitchFamily="34" charset="0"/>
                <a:cs typeface="Droid Sans" panose="020B0606030804020204" pitchFamily="34" charset="0"/>
              </a:rPr>
              <a:t>IDENTITY PROVIDER</a:t>
            </a:r>
            <a:endParaRPr kumimoji="0" lang="en-GB" sz="800" b="1" i="0" u="none" strike="noStrike" kern="1200" cap="none" spc="0" normalizeH="0" baseline="0" noProof="0" dirty="0">
              <a:ln>
                <a:noFill/>
              </a:ln>
              <a:solidFill>
                <a:prstClr val="black"/>
              </a:solidFill>
              <a:effectLst/>
              <a:uLnTx/>
              <a:uFillTx/>
              <a:latin typeface="Droid Sans" panose="020B0606030804020204" pitchFamily="34" charset="0"/>
              <a:ea typeface="Droid Sans" panose="020B0606030804020204" pitchFamily="34" charset="0"/>
              <a:cs typeface="Droid Sans" panose="020B0606030804020204" pitchFamily="34" charset="0"/>
            </a:endParaRPr>
          </a:p>
        </p:txBody>
      </p:sp>
      <p:sp>
        <p:nvSpPr>
          <p:cNvPr id="65" name="Rectangle 64">
            <a:extLst>
              <a:ext uri="{FF2B5EF4-FFF2-40B4-BE49-F238E27FC236}">
                <a16:creationId xmlns:a16="http://schemas.microsoft.com/office/drawing/2014/main" id="{697731A8-F407-47EB-A473-A3D69AB0B481}"/>
              </a:ext>
            </a:extLst>
          </p:cNvPr>
          <p:cNvSpPr/>
          <p:nvPr/>
        </p:nvSpPr>
        <p:spPr>
          <a:xfrm>
            <a:off x="5499498" y="5734395"/>
            <a:ext cx="1214433" cy="558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6" name="TextBox 65">
            <a:extLst>
              <a:ext uri="{FF2B5EF4-FFF2-40B4-BE49-F238E27FC236}">
                <a16:creationId xmlns:a16="http://schemas.microsoft.com/office/drawing/2014/main" id="{D0EF1B48-2A8D-4193-A86E-0DAF1D8DA0E1}"/>
              </a:ext>
            </a:extLst>
          </p:cNvPr>
          <p:cNvSpPr txBox="1"/>
          <p:nvPr/>
        </p:nvSpPr>
        <p:spPr>
          <a:xfrm>
            <a:off x="5499496" y="5768218"/>
            <a:ext cx="1214437"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APP STOR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PROVID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cxnSp>
        <p:nvCxnSpPr>
          <p:cNvPr id="73" name="Straight Arrow Connector 72">
            <a:extLst>
              <a:ext uri="{FF2B5EF4-FFF2-40B4-BE49-F238E27FC236}">
                <a16:creationId xmlns:a16="http://schemas.microsoft.com/office/drawing/2014/main" id="{10F65730-E4F6-4095-8B67-0A817F68D811}"/>
              </a:ext>
            </a:extLst>
          </p:cNvPr>
          <p:cNvCxnSpPr>
            <a:cxnSpLocks/>
          </p:cNvCxnSpPr>
          <p:nvPr/>
        </p:nvCxnSpPr>
        <p:spPr>
          <a:xfrm flipH="1">
            <a:off x="6853241" y="6012772"/>
            <a:ext cx="1428748" cy="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80" name="Rectangle 79">
            <a:extLst>
              <a:ext uri="{FF2B5EF4-FFF2-40B4-BE49-F238E27FC236}">
                <a16:creationId xmlns:a16="http://schemas.microsoft.com/office/drawing/2014/main" id="{792D7F45-D210-4EB0-BF46-B8A516E50BE4}"/>
              </a:ext>
            </a:extLst>
          </p:cNvPr>
          <p:cNvSpPr/>
          <p:nvPr/>
        </p:nvSpPr>
        <p:spPr>
          <a:xfrm>
            <a:off x="8281989" y="5733323"/>
            <a:ext cx="1214433" cy="558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1" name="TextBox 80">
            <a:extLst>
              <a:ext uri="{FF2B5EF4-FFF2-40B4-BE49-F238E27FC236}">
                <a16:creationId xmlns:a16="http://schemas.microsoft.com/office/drawing/2014/main" id="{A6CD23D9-505A-449F-9756-92CE37EE7ED1}"/>
              </a:ext>
            </a:extLst>
          </p:cNvPr>
          <p:cNvSpPr txBox="1"/>
          <p:nvPr/>
        </p:nvSpPr>
        <p:spPr>
          <a:xfrm>
            <a:off x="8281988" y="5767146"/>
            <a:ext cx="1214437"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APP </a:t>
            </a:r>
            <a:b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b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PROVID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cxnSp>
        <p:nvCxnSpPr>
          <p:cNvPr id="85" name="Straight Arrow Connector 84">
            <a:extLst>
              <a:ext uri="{FF2B5EF4-FFF2-40B4-BE49-F238E27FC236}">
                <a16:creationId xmlns:a16="http://schemas.microsoft.com/office/drawing/2014/main" id="{FE2B699C-4446-4D99-A3FD-0E142F6259A2}"/>
              </a:ext>
            </a:extLst>
          </p:cNvPr>
          <p:cNvCxnSpPr>
            <a:cxnSpLocks/>
          </p:cNvCxnSpPr>
          <p:nvPr/>
        </p:nvCxnSpPr>
        <p:spPr>
          <a:xfrm flipH="1" flipV="1">
            <a:off x="9305926" y="3653938"/>
            <a:ext cx="1257301" cy="1138919"/>
          </a:xfrm>
          <a:prstGeom prst="straightConnector1">
            <a:avLst/>
          </a:prstGeom>
          <a:ln w="34925" cap="rnd">
            <a:solidFill>
              <a:schemeClr val="bg1"/>
            </a:solidFill>
            <a:prstDash val="sysDot"/>
            <a:tailEnd type="triangle"/>
          </a:ln>
          <a:effectLst/>
        </p:spPr>
        <p:style>
          <a:lnRef idx="2">
            <a:schemeClr val="accent1"/>
          </a:lnRef>
          <a:fillRef idx="0">
            <a:schemeClr val="accent1"/>
          </a:fillRef>
          <a:effectRef idx="1">
            <a:schemeClr val="accent1"/>
          </a:effectRef>
          <a:fontRef idx="minor">
            <a:schemeClr val="tx1"/>
          </a:fontRef>
        </p:style>
      </p:cxnSp>
      <p:sp>
        <p:nvSpPr>
          <p:cNvPr id="9" name="Oval 8">
            <a:extLst>
              <a:ext uri="{FF2B5EF4-FFF2-40B4-BE49-F238E27FC236}">
                <a16:creationId xmlns:a16="http://schemas.microsoft.com/office/drawing/2014/main" id="{BD42C97E-DE4F-4D73-A85B-0690944DD636}"/>
              </a:ext>
            </a:extLst>
          </p:cNvPr>
          <p:cNvSpPr>
            <a:spLocks noChangeAspect="1"/>
          </p:cNvSpPr>
          <p:nvPr/>
        </p:nvSpPr>
        <p:spPr>
          <a:xfrm>
            <a:off x="2821731" y="2916887"/>
            <a:ext cx="768000" cy="768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1BEC187B-A39F-4721-A1C7-1DA4E36F9EBD}"/>
              </a:ext>
            </a:extLst>
          </p:cNvPr>
          <p:cNvSpPr/>
          <p:nvPr/>
        </p:nvSpPr>
        <p:spPr>
          <a:xfrm>
            <a:off x="8645441" y="2931367"/>
            <a:ext cx="768000" cy="768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2DE3E356-C712-4958-8839-B07D339F2D1A}"/>
              </a:ext>
            </a:extLst>
          </p:cNvPr>
          <p:cNvSpPr txBox="1"/>
          <p:nvPr/>
        </p:nvSpPr>
        <p:spPr>
          <a:xfrm>
            <a:off x="2777967" y="2970285"/>
            <a:ext cx="847725"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white"/>
                </a:solidFill>
                <a:effectLst/>
                <a:uLnTx/>
                <a:uFillTx/>
                <a:latin typeface="Droid Sans" panose="020B0606030804020204" pitchFamily="34" charset="0"/>
                <a:ea typeface="Droid Sans" panose="020B0606030804020204" pitchFamily="34" charset="0"/>
                <a:cs typeface="Droid Sans" panose="020B0606030804020204" pitchFamily="34" charset="0"/>
              </a:rPr>
              <a:t>DATA PROVI-DER</a:t>
            </a:r>
            <a:endParaRPr kumimoji="0" lang="en-GB" sz="1200" b="1" i="0" u="none" strike="noStrike" kern="1200" cap="none" spc="0" normalizeH="0" baseline="0" noProof="0" dirty="0">
              <a:ln>
                <a:noFill/>
              </a:ln>
              <a:solidFill>
                <a:prstClr val="white"/>
              </a:solidFill>
              <a:effectLst/>
              <a:uLnTx/>
              <a:uFillTx/>
              <a:latin typeface="Droid Sans" panose="020B0606030804020204" pitchFamily="34" charset="0"/>
              <a:ea typeface="Droid Sans" panose="020B0606030804020204" pitchFamily="34" charset="0"/>
              <a:cs typeface="Droid Sans" panose="020B0606030804020204" pitchFamily="34" charset="0"/>
            </a:endParaRPr>
          </a:p>
        </p:txBody>
      </p:sp>
      <p:sp>
        <p:nvSpPr>
          <p:cNvPr id="52" name="TextBox 51">
            <a:extLst>
              <a:ext uri="{FF2B5EF4-FFF2-40B4-BE49-F238E27FC236}">
                <a16:creationId xmlns:a16="http://schemas.microsoft.com/office/drawing/2014/main" id="{E2F68FAE-9371-4616-A865-8726EFCC48BA}"/>
              </a:ext>
            </a:extLst>
          </p:cNvPr>
          <p:cNvSpPr txBox="1"/>
          <p:nvPr/>
        </p:nvSpPr>
        <p:spPr>
          <a:xfrm>
            <a:off x="8601676" y="2975982"/>
            <a:ext cx="847725" cy="60016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DATA CONSUM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sp>
        <p:nvSpPr>
          <p:cNvPr id="113" name="Isosceles Triangle 112">
            <a:extLst>
              <a:ext uri="{FF2B5EF4-FFF2-40B4-BE49-F238E27FC236}">
                <a16:creationId xmlns:a16="http://schemas.microsoft.com/office/drawing/2014/main" id="{92E3B36A-2990-44D8-93C3-93FC9DEB2DEC}"/>
              </a:ext>
            </a:extLst>
          </p:cNvPr>
          <p:cNvSpPr/>
          <p:nvPr/>
        </p:nvSpPr>
        <p:spPr>
          <a:xfrm rot="18863566">
            <a:off x="3338740" y="3693762"/>
            <a:ext cx="132896" cy="11456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14" name="Isosceles Triangle 113">
            <a:extLst>
              <a:ext uri="{FF2B5EF4-FFF2-40B4-BE49-F238E27FC236}">
                <a16:creationId xmlns:a16="http://schemas.microsoft.com/office/drawing/2014/main" id="{4E385AAF-4066-4C16-9B8C-CCEAB515AD2F}"/>
              </a:ext>
            </a:extLst>
          </p:cNvPr>
          <p:cNvSpPr/>
          <p:nvPr/>
        </p:nvSpPr>
        <p:spPr>
          <a:xfrm rot="2940167">
            <a:off x="8734652" y="3701886"/>
            <a:ext cx="132896" cy="11456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16" name="Isosceles Triangle 115">
            <a:extLst>
              <a:ext uri="{FF2B5EF4-FFF2-40B4-BE49-F238E27FC236}">
                <a16:creationId xmlns:a16="http://schemas.microsoft.com/office/drawing/2014/main" id="{E68A1E4F-C37F-4906-83BB-D35EFC735E43}"/>
              </a:ext>
            </a:extLst>
          </p:cNvPr>
          <p:cNvSpPr/>
          <p:nvPr/>
        </p:nvSpPr>
        <p:spPr>
          <a:xfrm rot="2872038">
            <a:off x="5170151" y="1051381"/>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5" name="Isosceles Triangle 124">
            <a:extLst>
              <a:ext uri="{FF2B5EF4-FFF2-40B4-BE49-F238E27FC236}">
                <a16:creationId xmlns:a16="http://schemas.microsoft.com/office/drawing/2014/main" id="{A5533F8F-A049-4DB0-889A-CB6E298F3B68}"/>
              </a:ext>
            </a:extLst>
          </p:cNvPr>
          <p:cNvSpPr/>
          <p:nvPr/>
        </p:nvSpPr>
        <p:spPr>
          <a:xfrm rot="8165853">
            <a:off x="8782508" y="2869810"/>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6" name="Isosceles Triangle 125">
            <a:extLst>
              <a:ext uri="{FF2B5EF4-FFF2-40B4-BE49-F238E27FC236}">
                <a16:creationId xmlns:a16="http://schemas.microsoft.com/office/drawing/2014/main" id="{E3F3554F-3919-48FD-A781-D68C649D40EA}"/>
              </a:ext>
            </a:extLst>
          </p:cNvPr>
          <p:cNvSpPr/>
          <p:nvPr/>
        </p:nvSpPr>
        <p:spPr>
          <a:xfrm rot="3796591">
            <a:off x="5182037" y="2257570"/>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Isosceles Triangle 126">
            <a:extLst>
              <a:ext uri="{FF2B5EF4-FFF2-40B4-BE49-F238E27FC236}">
                <a16:creationId xmlns:a16="http://schemas.microsoft.com/office/drawing/2014/main" id="{BF15FB1A-6FCB-4A8A-A513-E15CC6856302}"/>
              </a:ext>
            </a:extLst>
          </p:cNvPr>
          <p:cNvSpPr/>
          <p:nvPr/>
        </p:nvSpPr>
        <p:spPr>
          <a:xfrm rot="17881792">
            <a:off x="6919771" y="2257223"/>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8" name="Isosceles Triangle 127">
            <a:extLst>
              <a:ext uri="{FF2B5EF4-FFF2-40B4-BE49-F238E27FC236}">
                <a16:creationId xmlns:a16="http://schemas.microsoft.com/office/drawing/2014/main" id="{B7FD7C66-BBA1-47C5-8AAB-3CF4407C79F6}"/>
              </a:ext>
            </a:extLst>
          </p:cNvPr>
          <p:cNvSpPr/>
          <p:nvPr/>
        </p:nvSpPr>
        <p:spPr>
          <a:xfrm rot="6856722">
            <a:off x="5181369" y="4294089"/>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9" name="Isosceles Triangle 128">
            <a:extLst>
              <a:ext uri="{FF2B5EF4-FFF2-40B4-BE49-F238E27FC236}">
                <a16:creationId xmlns:a16="http://schemas.microsoft.com/office/drawing/2014/main" id="{8BCE6B06-6448-41E7-9F0C-FAEA52A23A23}"/>
              </a:ext>
            </a:extLst>
          </p:cNvPr>
          <p:cNvSpPr/>
          <p:nvPr/>
        </p:nvSpPr>
        <p:spPr>
          <a:xfrm rot="14171937">
            <a:off x="6917701" y="4291882"/>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30" name="TextBox 129">
            <a:extLst>
              <a:ext uri="{FF2B5EF4-FFF2-40B4-BE49-F238E27FC236}">
                <a16:creationId xmlns:a16="http://schemas.microsoft.com/office/drawing/2014/main" id="{DF218004-2A85-489E-884E-54BC83F403E1}"/>
              </a:ext>
            </a:extLst>
          </p:cNvPr>
          <p:cNvSpPr txBox="1"/>
          <p:nvPr/>
        </p:nvSpPr>
        <p:spPr>
          <a:xfrm rot="18911606">
            <a:off x="3393636" y="1764430"/>
            <a:ext cx="1390651"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Transfer data</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1" name="TextBox 130">
            <a:extLst>
              <a:ext uri="{FF2B5EF4-FFF2-40B4-BE49-F238E27FC236}">
                <a16:creationId xmlns:a16="http://schemas.microsoft.com/office/drawing/2014/main" id="{BEFF976E-DCE0-4AC1-88C7-D322B9FF762A}"/>
              </a:ext>
            </a:extLst>
          </p:cNvPr>
          <p:cNvSpPr txBox="1"/>
          <p:nvPr/>
        </p:nvSpPr>
        <p:spPr>
          <a:xfrm rot="20212614">
            <a:off x="3348549" y="2347378"/>
            <a:ext cx="2069315"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Publish metadata</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2" name="TextBox 131">
            <a:extLst>
              <a:ext uri="{FF2B5EF4-FFF2-40B4-BE49-F238E27FC236}">
                <a16:creationId xmlns:a16="http://schemas.microsoft.com/office/drawing/2014/main" id="{2CA3F0AD-89C3-4BFD-BE39-107063B7BD62}"/>
              </a:ext>
            </a:extLst>
          </p:cNvPr>
          <p:cNvSpPr txBox="1"/>
          <p:nvPr/>
        </p:nvSpPr>
        <p:spPr>
          <a:xfrm rot="2607318">
            <a:off x="7311640" y="1746526"/>
            <a:ext cx="1390651"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Receive data  </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3" name="TextBox 132">
            <a:extLst>
              <a:ext uri="{FF2B5EF4-FFF2-40B4-BE49-F238E27FC236}">
                <a16:creationId xmlns:a16="http://schemas.microsoft.com/office/drawing/2014/main" id="{B6DE85C2-686A-497A-985C-C603AFC7D9D7}"/>
              </a:ext>
            </a:extLst>
          </p:cNvPr>
          <p:cNvSpPr txBox="1"/>
          <p:nvPr/>
        </p:nvSpPr>
        <p:spPr>
          <a:xfrm rot="1452669">
            <a:off x="6867838" y="2316234"/>
            <a:ext cx="1867037"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Search metadata</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4" name="TextBox 133">
            <a:extLst>
              <a:ext uri="{FF2B5EF4-FFF2-40B4-BE49-F238E27FC236}">
                <a16:creationId xmlns:a16="http://schemas.microsoft.com/office/drawing/2014/main" id="{4950AEC4-3956-45EC-8F1F-864E57F1E5DA}"/>
              </a:ext>
            </a:extLst>
          </p:cNvPr>
          <p:cNvSpPr txBox="1"/>
          <p:nvPr/>
        </p:nvSpPr>
        <p:spPr>
          <a:xfrm rot="1553662">
            <a:off x="3931332" y="3544764"/>
            <a:ext cx="1390651" cy="50257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Log transaction</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5" name="TextBox 134">
            <a:extLst>
              <a:ext uri="{FF2B5EF4-FFF2-40B4-BE49-F238E27FC236}">
                <a16:creationId xmlns:a16="http://schemas.microsoft.com/office/drawing/2014/main" id="{16BBEAEE-1E6F-41CE-AF13-DDF4426FB2FE}"/>
              </a:ext>
            </a:extLst>
          </p:cNvPr>
          <p:cNvSpPr txBox="1"/>
          <p:nvPr/>
        </p:nvSpPr>
        <p:spPr>
          <a:xfrm rot="2607318">
            <a:off x="3624549" y="4700558"/>
            <a:ext cx="1390651"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Use data apps</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6" name="TextBox 135">
            <a:extLst>
              <a:ext uri="{FF2B5EF4-FFF2-40B4-BE49-F238E27FC236}">
                <a16:creationId xmlns:a16="http://schemas.microsoft.com/office/drawing/2014/main" id="{D9ADF836-1E15-42CC-9FEA-626B8965B3E3}"/>
              </a:ext>
            </a:extLst>
          </p:cNvPr>
          <p:cNvSpPr txBox="1"/>
          <p:nvPr/>
        </p:nvSpPr>
        <p:spPr>
          <a:xfrm rot="20040458">
            <a:off x="6798975" y="3574014"/>
            <a:ext cx="1390651" cy="50257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Log transaction</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7" name="TextBox 136">
            <a:extLst>
              <a:ext uri="{FF2B5EF4-FFF2-40B4-BE49-F238E27FC236}">
                <a16:creationId xmlns:a16="http://schemas.microsoft.com/office/drawing/2014/main" id="{60D895FB-14BE-4A3A-8249-43B8639D4478}"/>
              </a:ext>
            </a:extLst>
          </p:cNvPr>
          <p:cNvSpPr txBox="1"/>
          <p:nvPr/>
        </p:nvSpPr>
        <p:spPr>
          <a:xfrm rot="18957360">
            <a:off x="6712451" y="4613205"/>
            <a:ext cx="2589028"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Use data apps</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8" name="TextBox 137">
            <a:extLst>
              <a:ext uri="{FF2B5EF4-FFF2-40B4-BE49-F238E27FC236}">
                <a16:creationId xmlns:a16="http://schemas.microsoft.com/office/drawing/2014/main" id="{EC043E85-6902-4E55-B71E-563142183467}"/>
              </a:ext>
            </a:extLst>
          </p:cNvPr>
          <p:cNvSpPr txBox="1"/>
          <p:nvPr/>
        </p:nvSpPr>
        <p:spPr>
          <a:xfrm>
            <a:off x="7166689" y="6074328"/>
            <a:ext cx="906059" cy="50257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Publish app</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9" name="TextBox 138">
            <a:extLst>
              <a:ext uri="{FF2B5EF4-FFF2-40B4-BE49-F238E27FC236}">
                <a16:creationId xmlns:a16="http://schemas.microsoft.com/office/drawing/2014/main" id="{28C53285-A21A-4EB1-B27B-10CB77F60587}"/>
              </a:ext>
            </a:extLst>
          </p:cNvPr>
          <p:cNvSpPr txBox="1"/>
          <p:nvPr/>
        </p:nvSpPr>
        <p:spPr>
          <a:xfrm rot="2576237">
            <a:off x="8931736" y="4045542"/>
            <a:ext cx="1390651" cy="50257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Provide vocabularies</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82" name="Rectangle 81">
            <a:extLst>
              <a:ext uri="{FF2B5EF4-FFF2-40B4-BE49-F238E27FC236}">
                <a16:creationId xmlns:a16="http://schemas.microsoft.com/office/drawing/2014/main" id="{33E95CED-775F-4A51-9DA6-0AB7A72C0EA9}"/>
              </a:ext>
            </a:extLst>
          </p:cNvPr>
          <p:cNvSpPr/>
          <p:nvPr/>
        </p:nvSpPr>
        <p:spPr>
          <a:xfrm>
            <a:off x="10000064" y="4884859"/>
            <a:ext cx="1214433" cy="558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3" name="TextBox 82">
            <a:extLst>
              <a:ext uri="{FF2B5EF4-FFF2-40B4-BE49-F238E27FC236}">
                <a16:creationId xmlns:a16="http://schemas.microsoft.com/office/drawing/2014/main" id="{7A350DED-1387-420A-838F-ADE9E58ADA8A}"/>
              </a:ext>
            </a:extLst>
          </p:cNvPr>
          <p:cNvSpPr txBox="1"/>
          <p:nvPr/>
        </p:nvSpPr>
        <p:spPr>
          <a:xfrm>
            <a:off x="9928939" y="4916275"/>
            <a:ext cx="1358821"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VOCABULARY</a:t>
            </a:r>
            <a:b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b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PROVID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pic>
        <p:nvPicPr>
          <p:cNvPr id="63" name="Picture 140" descr="A picture containing drawing&#10;&#10;Description automatically generated">
            <a:extLst>
              <a:ext uri="{FF2B5EF4-FFF2-40B4-BE49-F238E27FC236}">
                <a16:creationId xmlns:a16="http://schemas.microsoft.com/office/drawing/2014/main" id="{897DBD94-520A-4831-BADE-FCA0EB45AF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22424" y="233681"/>
            <a:ext cx="2300131" cy="681273"/>
          </a:xfrm>
          <a:prstGeom prst="rect">
            <a:avLst/>
          </a:prstGeom>
        </p:spPr>
      </p:pic>
      <p:grpSp>
        <p:nvGrpSpPr>
          <p:cNvPr id="235" name="Gruppieren 234"/>
          <p:cNvGrpSpPr/>
          <p:nvPr/>
        </p:nvGrpSpPr>
        <p:grpSpPr>
          <a:xfrm>
            <a:off x="2200315" y="4273200"/>
            <a:ext cx="925357" cy="313473"/>
            <a:chOff x="130755" y="3628074"/>
            <a:chExt cx="694018" cy="235105"/>
          </a:xfrm>
        </p:grpSpPr>
        <p:sp>
          <p:nvSpPr>
            <p:cNvPr id="236" name="Rechteck 235"/>
            <p:cNvSpPr/>
            <p:nvPr/>
          </p:nvSpPr>
          <p:spPr>
            <a:xfrm>
              <a:off x="130755" y="3628074"/>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37" name="Grafik 2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3485" y="3667569"/>
              <a:ext cx="426289" cy="148535"/>
            </a:xfrm>
            <a:prstGeom prst="rect">
              <a:avLst/>
            </a:prstGeom>
          </p:spPr>
        </p:pic>
      </p:grpSp>
      <p:grpSp>
        <p:nvGrpSpPr>
          <p:cNvPr id="238" name="Gruppieren 237"/>
          <p:cNvGrpSpPr/>
          <p:nvPr/>
        </p:nvGrpSpPr>
        <p:grpSpPr>
          <a:xfrm>
            <a:off x="2222886" y="2320116"/>
            <a:ext cx="925357" cy="313473"/>
            <a:chOff x="113703" y="3949128"/>
            <a:chExt cx="694018" cy="235105"/>
          </a:xfrm>
        </p:grpSpPr>
        <p:sp>
          <p:nvSpPr>
            <p:cNvPr id="239" name="Rechteck 238"/>
            <p:cNvSpPr/>
            <p:nvPr/>
          </p:nvSpPr>
          <p:spPr>
            <a:xfrm>
              <a:off x="113703" y="3949128"/>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40" name="Grafik 23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43971" y="3971038"/>
              <a:ext cx="427388" cy="185555"/>
            </a:xfrm>
            <a:prstGeom prst="rect">
              <a:avLst/>
            </a:prstGeom>
          </p:spPr>
        </p:pic>
      </p:grpSp>
      <p:grpSp>
        <p:nvGrpSpPr>
          <p:cNvPr id="241" name="Gruppieren 240"/>
          <p:cNvGrpSpPr/>
          <p:nvPr/>
        </p:nvGrpSpPr>
        <p:grpSpPr>
          <a:xfrm>
            <a:off x="7312947" y="3129538"/>
            <a:ext cx="942675" cy="313473"/>
            <a:chOff x="889758" y="3628074"/>
            <a:chExt cx="707006" cy="235105"/>
          </a:xfrm>
        </p:grpSpPr>
        <p:sp>
          <p:nvSpPr>
            <p:cNvPr id="242" name="Rechteck 241"/>
            <p:cNvSpPr/>
            <p:nvPr/>
          </p:nvSpPr>
          <p:spPr>
            <a:xfrm>
              <a:off x="889758" y="3628074"/>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43" name="Grafik 2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5104" y="3700165"/>
              <a:ext cx="257566" cy="97382"/>
            </a:xfrm>
            <a:prstGeom prst="rect">
              <a:avLst/>
            </a:prstGeom>
          </p:spPr>
        </p:pic>
        <p:pic>
          <p:nvPicPr>
            <p:cNvPr id="244" name="Grafik 2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74028" y="3686912"/>
              <a:ext cx="342844" cy="142852"/>
            </a:xfrm>
            <a:prstGeom prst="rect">
              <a:avLst/>
            </a:prstGeom>
          </p:spPr>
        </p:pic>
        <p:pic>
          <p:nvPicPr>
            <p:cNvPr id="245" name="Grafik 24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19949" y="3720858"/>
              <a:ext cx="276815" cy="65190"/>
            </a:xfrm>
            <a:prstGeom prst="rect">
              <a:avLst/>
            </a:prstGeom>
          </p:spPr>
        </p:pic>
      </p:grpSp>
      <p:grpSp>
        <p:nvGrpSpPr>
          <p:cNvPr id="246" name="Gruppieren 245"/>
          <p:cNvGrpSpPr/>
          <p:nvPr/>
        </p:nvGrpSpPr>
        <p:grpSpPr>
          <a:xfrm>
            <a:off x="6319043" y="4757516"/>
            <a:ext cx="925357" cy="313473"/>
            <a:chOff x="932580" y="3946262"/>
            <a:chExt cx="694018" cy="235105"/>
          </a:xfrm>
        </p:grpSpPr>
        <p:sp>
          <p:nvSpPr>
            <p:cNvPr id="247" name="Rechteck 246"/>
            <p:cNvSpPr/>
            <p:nvPr/>
          </p:nvSpPr>
          <p:spPr>
            <a:xfrm>
              <a:off x="932580" y="3946262"/>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48" name="Grafik 24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7727" y="3981402"/>
              <a:ext cx="484097" cy="169034"/>
            </a:xfrm>
            <a:prstGeom prst="rect">
              <a:avLst/>
            </a:prstGeom>
          </p:spPr>
        </p:pic>
      </p:grpSp>
      <p:grpSp>
        <p:nvGrpSpPr>
          <p:cNvPr id="249" name="Gruppieren 248"/>
          <p:cNvGrpSpPr/>
          <p:nvPr/>
        </p:nvGrpSpPr>
        <p:grpSpPr>
          <a:xfrm>
            <a:off x="8030503" y="3953596"/>
            <a:ext cx="925357" cy="313473"/>
            <a:chOff x="929260" y="4263221"/>
            <a:chExt cx="694018" cy="235105"/>
          </a:xfrm>
        </p:grpSpPr>
        <p:sp>
          <p:nvSpPr>
            <p:cNvPr id="250" name="Rechteck 249"/>
            <p:cNvSpPr/>
            <p:nvPr/>
          </p:nvSpPr>
          <p:spPr>
            <a:xfrm>
              <a:off x="929260" y="4263221"/>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51" name="Grafik 2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30786" y="4296921"/>
              <a:ext cx="479694" cy="150194"/>
            </a:xfrm>
            <a:prstGeom prst="rect">
              <a:avLst/>
            </a:prstGeom>
          </p:spPr>
        </p:pic>
      </p:grpSp>
      <p:grpSp>
        <p:nvGrpSpPr>
          <p:cNvPr id="252" name="Gruppieren 251"/>
          <p:cNvGrpSpPr/>
          <p:nvPr/>
        </p:nvGrpSpPr>
        <p:grpSpPr>
          <a:xfrm>
            <a:off x="2199934" y="3926676"/>
            <a:ext cx="925357" cy="313473"/>
            <a:chOff x="1672717" y="3349641"/>
            <a:chExt cx="694018" cy="235105"/>
          </a:xfrm>
        </p:grpSpPr>
        <p:sp>
          <p:nvSpPr>
            <p:cNvPr id="253" name="Rechteck 252"/>
            <p:cNvSpPr/>
            <p:nvPr/>
          </p:nvSpPr>
          <p:spPr>
            <a:xfrm>
              <a:off x="1672717" y="3349641"/>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54" name="Grafik 2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37370" y="3356637"/>
              <a:ext cx="270611" cy="209047"/>
            </a:xfrm>
            <a:prstGeom prst="rect">
              <a:avLst/>
            </a:prstGeom>
          </p:spPr>
        </p:pic>
        <p:pic>
          <p:nvPicPr>
            <p:cNvPr id="255" name="Grafik 25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56591" y="3358526"/>
              <a:ext cx="215141" cy="215141"/>
            </a:xfrm>
            <a:prstGeom prst="rect">
              <a:avLst/>
            </a:prstGeom>
          </p:spPr>
        </p:pic>
      </p:grpSp>
      <p:grpSp>
        <p:nvGrpSpPr>
          <p:cNvPr id="256" name="Gruppieren 255"/>
          <p:cNvGrpSpPr/>
          <p:nvPr/>
        </p:nvGrpSpPr>
        <p:grpSpPr>
          <a:xfrm>
            <a:off x="4832108" y="481124"/>
            <a:ext cx="925357" cy="313473"/>
            <a:chOff x="1672717" y="3653152"/>
            <a:chExt cx="694018" cy="235105"/>
          </a:xfrm>
        </p:grpSpPr>
        <p:sp>
          <p:nvSpPr>
            <p:cNvPr id="257" name="Rechteck 256"/>
            <p:cNvSpPr/>
            <p:nvPr/>
          </p:nvSpPr>
          <p:spPr>
            <a:xfrm>
              <a:off x="1672717" y="3653152"/>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58" name="Grafik 257"/>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818712" y="3679128"/>
              <a:ext cx="410071" cy="193157"/>
            </a:xfrm>
            <a:prstGeom prst="rect">
              <a:avLst/>
            </a:prstGeom>
          </p:spPr>
        </p:pic>
      </p:grpSp>
      <p:grpSp>
        <p:nvGrpSpPr>
          <p:cNvPr id="259" name="Gruppieren 258"/>
          <p:cNvGrpSpPr/>
          <p:nvPr/>
        </p:nvGrpSpPr>
        <p:grpSpPr>
          <a:xfrm>
            <a:off x="9100655" y="2362548"/>
            <a:ext cx="925357" cy="313473"/>
            <a:chOff x="1672716" y="4260117"/>
            <a:chExt cx="694018" cy="235105"/>
          </a:xfrm>
        </p:grpSpPr>
        <p:sp>
          <p:nvSpPr>
            <p:cNvPr id="260" name="Rechteck 259"/>
            <p:cNvSpPr/>
            <p:nvPr/>
          </p:nvSpPr>
          <p:spPr>
            <a:xfrm>
              <a:off x="1672716" y="4260117"/>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61" name="Grafik 26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827801" y="4272158"/>
              <a:ext cx="382704" cy="204109"/>
            </a:xfrm>
            <a:prstGeom prst="rect">
              <a:avLst/>
            </a:prstGeom>
          </p:spPr>
        </p:pic>
      </p:grpSp>
      <p:grpSp>
        <p:nvGrpSpPr>
          <p:cNvPr id="262" name="Gruppieren 261"/>
          <p:cNvGrpSpPr/>
          <p:nvPr/>
        </p:nvGrpSpPr>
        <p:grpSpPr>
          <a:xfrm>
            <a:off x="4827552" y="136664"/>
            <a:ext cx="925357" cy="313473"/>
            <a:chOff x="135905" y="3345894"/>
            <a:chExt cx="694018" cy="235105"/>
          </a:xfrm>
        </p:grpSpPr>
        <p:sp>
          <p:nvSpPr>
            <p:cNvPr id="263" name="Rechteck 262"/>
            <p:cNvSpPr/>
            <p:nvPr/>
          </p:nvSpPr>
          <p:spPr>
            <a:xfrm>
              <a:off x="135905" y="3345894"/>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64" name="Grafik 263"/>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363517" y="3360517"/>
              <a:ext cx="263108" cy="209501"/>
            </a:xfrm>
            <a:prstGeom prst="rect">
              <a:avLst/>
            </a:prstGeom>
          </p:spPr>
        </p:pic>
      </p:grpSp>
      <p:grpSp>
        <p:nvGrpSpPr>
          <p:cNvPr id="265" name="Gruppieren 264"/>
          <p:cNvGrpSpPr/>
          <p:nvPr/>
        </p:nvGrpSpPr>
        <p:grpSpPr>
          <a:xfrm>
            <a:off x="5077050" y="3571406"/>
            <a:ext cx="925357" cy="313473"/>
            <a:chOff x="888191" y="3351777"/>
            <a:chExt cx="694018" cy="235105"/>
          </a:xfrm>
        </p:grpSpPr>
        <p:sp>
          <p:nvSpPr>
            <p:cNvPr id="266" name="Rechteck 265"/>
            <p:cNvSpPr/>
            <p:nvPr/>
          </p:nvSpPr>
          <p:spPr>
            <a:xfrm>
              <a:off x="888191" y="3351777"/>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67" name="Grafik 266"/>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1060706" y="3373916"/>
              <a:ext cx="377135" cy="194888"/>
            </a:xfrm>
            <a:prstGeom prst="rect">
              <a:avLst/>
            </a:prstGeom>
          </p:spPr>
        </p:pic>
      </p:grpSp>
      <p:grpSp>
        <p:nvGrpSpPr>
          <p:cNvPr id="268" name="Gruppieren 267"/>
          <p:cNvGrpSpPr/>
          <p:nvPr/>
        </p:nvGrpSpPr>
        <p:grpSpPr>
          <a:xfrm>
            <a:off x="3242251" y="3924918"/>
            <a:ext cx="925357" cy="313473"/>
            <a:chOff x="1681338" y="3949836"/>
            <a:chExt cx="694018" cy="235105"/>
          </a:xfrm>
        </p:grpSpPr>
        <p:sp>
          <p:nvSpPr>
            <p:cNvPr id="269" name="Rechteck 268"/>
            <p:cNvSpPr/>
            <p:nvPr/>
          </p:nvSpPr>
          <p:spPr>
            <a:xfrm>
              <a:off x="1681338" y="3949836"/>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70" name="Picture 14" descr="http://static1.squarespace.com/static/55cddf37e4b027bb9c883e26/t/5662d8e1e4b00c1d30aab165/1466775464931/?format=1000w"/>
            <p:cNvPicPr>
              <a:picLocks noChangeAspect="1" noChangeArrowheads="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1797422" y="4005727"/>
              <a:ext cx="461243" cy="1233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3" name="Gruppieren 292"/>
          <p:cNvGrpSpPr/>
          <p:nvPr/>
        </p:nvGrpSpPr>
        <p:grpSpPr>
          <a:xfrm>
            <a:off x="3204598" y="2604522"/>
            <a:ext cx="925357" cy="417492"/>
            <a:chOff x="2154483" y="1926748"/>
            <a:chExt cx="694018" cy="313119"/>
          </a:xfrm>
        </p:grpSpPr>
        <p:sp>
          <p:nvSpPr>
            <p:cNvPr id="294" name="Rechteck 293"/>
            <p:cNvSpPr/>
            <p:nvPr/>
          </p:nvSpPr>
          <p:spPr>
            <a:xfrm>
              <a:off x="2154483" y="1954515"/>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95" name="Grafik 294"/>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2279939" y="1926748"/>
              <a:ext cx="443104" cy="313119"/>
            </a:xfrm>
            <a:prstGeom prst="rect">
              <a:avLst/>
            </a:prstGeom>
          </p:spPr>
        </p:pic>
      </p:grpSp>
      <p:grpSp>
        <p:nvGrpSpPr>
          <p:cNvPr id="296" name="Gruppieren 295"/>
          <p:cNvGrpSpPr/>
          <p:nvPr/>
        </p:nvGrpSpPr>
        <p:grpSpPr>
          <a:xfrm>
            <a:off x="1974395" y="2936330"/>
            <a:ext cx="925357" cy="313473"/>
            <a:chOff x="1186163" y="2214414"/>
            <a:chExt cx="694018" cy="235105"/>
          </a:xfrm>
        </p:grpSpPr>
        <p:sp>
          <p:nvSpPr>
            <p:cNvPr id="297" name="Rechteck 296"/>
            <p:cNvSpPr/>
            <p:nvPr/>
          </p:nvSpPr>
          <p:spPr>
            <a:xfrm>
              <a:off x="1186163" y="2214414"/>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298" name="Grafik 297" descr="Bildschirmausschnitt"/>
            <p:cNvPicPr>
              <a:picLocks noChangeAspect="1"/>
            </p:cNvPicPr>
            <p:nvPr/>
          </p:nvPicPr>
          <p:blipFill rotWithShape="1">
            <a:blip r:embed="rId18" cstate="print">
              <a:extLst>
                <a:ext uri="{28A0092B-C50C-407E-A947-70E740481C1C}">
                  <a14:useLocalDpi xmlns:a14="http://schemas.microsoft.com/office/drawing/2010/main" val="0"/>
                </a:ext>
              </a:extLst>
            </a:blip>
            <a:srcRect/>
            <a:stretch/>
          </p:blipFill>
          <p:spPr>
            <a:xfrm>
              <a:off x="1381548" y="2219312"/>
              <a:ext cx="303629" cy="224601"/>
            </a:xfrm>
            <a:prstGeom prst="rect">
              <a:avLst/>
            </a:prstGeom>
          </p:spPr>
        </p:pic>
      </p:grpSp>
      <p:grpSp>
        <p:nvGrpSpPr>
          <p:cNvPr id="299" name="Gruppieren 298"/>
          <p:cNvGrpSpPr/>
          <p:nvPr/>
        </p:nvGrpSpPr>
        <p:grpSpPr>
          <a:xfrm>
            <a:off x="2226698" y="2648072"/>
            <a:ext cx="925357" cy="313473"/>
            <a:chOff x="1355539" y="1959359"/>
            <a:chExt cx="694018" cy="235105"/>
          </a:xfrm>
        </p:grpSpPr>
        <p:sp>
          <p:nvSpPr>
            <p:cNvPr id="300" name="Rechteck 299"/>
            <p:cNvSpPr/>
            <p:nvPr/>
          </p:nvSpPr>
          <p:spPr>
            <a:xfrm>
              <a:off x="1355539" y="1959359"/>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01" name="Grafik 30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469921" y="1979191"/>
              <a:ext cx="474551" cy="183706"/>
            </a:xfrm>
            <a:prstGeom prst="rect">
              <a:avLst/>
            </a:prstGeom>
          </p:spPr>
        </p:pic>
      </p:grpSp>
      <p:grpSp>
        <p:nvGrpSpPr>
          <p:cNvPr id="302" name="Gruppieren 301"/>
          <p:cNvGrpSpPr/>
          <p:nvPr/>
        </p:nvGrpSpPr>
        <p:grpSpPr>
          <a:xfrm>
            <a:off x="1889773" y="3262612"/>
            <a:ext cx="973713" cy="313473"/>
            <a:chOff x="1048160" y="2465919"/>
            <a:chExt cx="730285" cy="235105"/>
          </a:xfrm>
        </p:grpSpPr>
        <p:sp>
          <p:nvSpPr>
            <p:cNvPr id="303" name="Gerade Verbindung mit Pfeil 204">
              <a:extLst>
                <a:ext uri="{FF2B5EF4-FFF2-40B4-BE49-F238E27FC236}">
                  <a16:creationId xmlns:a16="http://schemas.microsoft.com/office/drawing/2014/main" id="{9BBABEE0-04C9-B842-9E86-4468BCEE1F45}"/>
                </a:ext>
              </a:extLst>
            </p:cNvPr>
            <p:cNvSpPr/>
            <p:nvPr/>
          </p:nvSpPr>
          <p:spPr>
            <a:xfrm>
              <a:off x="1048160" y="2578943"/>
              <a:ext cx="598914" cy="5583"/>
            </a:xfrm>
            <a:prstGeom prst="line">
              <a:avLst/>
            </a:prstGeom>
            <a:ln w="19050">
              <a:solidFill>
                <a:srgbClr val="00A3DA"/>
              </a:solidFill>
              <a:tailEnd type="triangle"/>
            </a:ln>
          </p:spPr>
          <p:txBody>
            <a:bodyPr lIns="60959" rIns="60959"/>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04" name="Rechteck 303"/>
            <p:cNvSpPr/>
            <p:nvPr/>
          </p:nvSpPr>
          <p:spPr>
            <a:xfrm>
              <a:off x="1084427" y="2465919"/>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05" name="Grafik 304"/>
            <p:cNvPicPr>
              <a:picLocks noChangeAspect="1"/>
            </p:cNvPicPr>
            <p:nvPr/>
          </p:nvPicPr>
          <p:blipFill rotWithShape="1">
            <a:blip r:embed="rId20" cstate="hqprint">
              <a:extLst>
                <a:ext uri="{28A0092B-C50C-407E-A947-70E740481C1C}">
                  <a14:useLocalDpi xmlns:a14="http://schemas.microsoft.com/office/drawing/2010/main" val="0"/>
                </a:ext>
              </a:extLst>
            </a:blip>
            <a:srcRect t="33418" b="27381"/>
            <a:stretch/>
          </p:blipFill>
          <p:spPr>
            <a:xfrm>
              <a:off x="1192495" y="2483667"/>
              <a:ext cx="482660" cy="189205"/>
            </a:xfrm>
            <a:prstGeom prst="rect">
              <a:avLst/>
            </a:prstGeom>
          </p:spPr>
        </p:pic>
      </p:grpSp>
      <p:grpSp>
        <p:nvGrpSpPr>
          <p:cNvPr id="306" name="Gruppieren 305"/>
          <p:cNvGrpSpPr/>
          <p:nvPr/>
        </p:nvGrpSpPr>
        <p:grpSpPr>
          <a:xfrm>
            <a:off x="3248142" y="3558401"/>
            <a:ext cx="925357" cy="313473"/>
            <a:chOff x="1893874" y="2711148"/>
            <a:chExt cx="694018" cy="235105"/>
          </a:xfrm>
        </p:grpSpPr>
        <p:sp>
          <p:nvSpPr>
            <p:cNvPr id="307" name="Rechteck 306"/>
            <p:cNvSpPr/>
            <p:nvPr/>
          </p:nvSpPr>
          <p:spPr>
            <a:xfrm>
              <a:off x="1893874" y="2711148"/>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08" name="Grafik 307"/>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2033239" y="2724401"/>
              <a:ext cx="430553" cy="216237"/>
            </a:xfrm>
            <a:prstGeom prst="rect">
              <a:avLst/>
            </a:prstGeom>
          </p:spPr>
        </p:pic>
      </p:grpSp>
      <p:grpSp>
        <p:nvGrpSpPr>
          <p:cNvPr id="309" name="Gruppieren 308"/>
          <p:cNvGrpSpPr/>
          <p:nvPr/>
        </p:nvGrpSpPr>
        <p:grpSpPr>
          <a:xfrm>
            <a:off x="3592078" y="3236581"/>
            <a:ext cx="925357" cy="313473"/>
            <a:chOff x="2282438" y="2462445"/>
            <a:chExt cx="694018" cy="235105"/>
          </a:xfrm>
        </p:grpSpPr>
        <p:sp>
          <p:nvSpPr>
            <p:cNvPr id="310" name="Rechteck 309"/>
            <p:cNvSpPr/>
            <p:nvPr/>
          </p:nvSpPr>
          <p:spPr>
            <a:xfrm>
              <a:off x="2282438" y="2462445"/>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11" name="Grafik 310"/>
            <p:cNvPicPr>
              <a:picLocks noChangeAspect="1"/>
            </p:cNvPicPr>
            <p:nvPr/>
          </p:nvPicPr>
          <p:blipFill>
            <a:blip r:embed="rId22" cstate="hqprint">
              <a:extLst>
                <a:ext uri="{28A0092B-C50C-407E-A947-70E740481C1C}">
                  <a14:useLocalDpi xmlns:a14="http://schemas.microsoft.com/office/drawing/2010/main" val="0"/>
                </a:ext>
              </a:extLst>
            </a:blip>
            <a:stretch>
              <a:fillRect/>
            </a:stretch>
          </p:blipFill>
          <p:spPr>
            <a:xfrm>
              <a:off x="2415505" y="2509829"/>
              <a:ext cx="438393" cy="138732"/>
            </a:xfrm>
            <a:prstGeom prst="rect">
              <a:avLst/>
            </a:prstGeom>
          </p:spPr>
        </p:pic>
      </p:grpSp>
      <p:grpSp>
        <p:nvGrpSpPr>
          <p:cNvPr id="312" name="Gruppieren 311"/>
          <p:cNvGrpSpPr/>
          <p:nvPr/>
        </p:nvGrpSpPr>
        <p:grpSpPr>
          <a:xfrm>
            <a:off x="2205166" y="3563944"/>
            <a:ext cx="1030876" cy="313473"/>
            <a:chOff x="1186163" y="2712897"/>
            <a:chExt cx="773157" cy="235105"/>
          </a:xfrm>
        </p:grpSpPr>
        <p:sp>
          <p:nvSpPr>
            <p:cNvPr id="313" name="Rechteck 312"/>
            <p:cNvSpPr/>
            <p:nvPr/>
          </p:nvSpPr>
          <p:spPr>
            <a:xfrm>
              <a:off x="1186163" y="2712897"/>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14" name="Grafik 313"/>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92137" y="2768308"/>
              <a:ext cx="767183" cy="121355"/>
            </a:xfrm>
            <a:prstGeom prst="rect">
              <a:avLst/>
            </a:prstGeom>
          </p:spPr>
        </p:pic>
      </p:grpSp>
      <p:grpSp>
        <p:nvGrpSpPr>
          <p:cNvPr id="316" name="Gruppieren 315"/>
          <p:cNvGrpSpPr/>
          <p:nvPr/>
        </p:nvGrpSpPr>
        <p:grpSpPr>
          <a:xfrm>
            <a:off x="3488988" y="2949138"/>
            <a:ext cx="925357" cy="313473"/>
            <a:chOff x="2087707" y="2216211"/>
            <a:chExt cx="694018" cy="235105"/>
          </a:xfrm>
        </p:grpSpPr>
        <p:sp>
          <p:nvSpPr>
            <p:cNvPr id="317" name="Rechteck 316"/>
            <p:cNvSpPr/>
            <p:nvPr/>
          </p:nvSpPr>
          <p:spPr>
            <a:xfrm>
              <a:off x="2087707" y="2216211"/>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18" name="Grafik 31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178586" y="2291740"/>
              <a:ext cx="547748" cy="94760"/>
            </a:xfrm>
            <a:prstGeom prst="rect">
              <a:avLst/>
            </a:prstGeom>
          </p:spPr>
        </p:pic>
      </p:grpSp>
      <p:grpSp>
        <p:nvGrpSpPr>
          <p:cNvPr id="319" name="Gruppieren 318"/>
          <p:cNvGrpSpPr/>
          <p:nvPr/>
        </p:nvGrpSpPr>
        <p:grpSpPr>
          <a:xfrm>
            <a:off x="6419954" y="6274356"/>
            <a:ext cx="925357" cy="313473"/>
            <a:chOff x="4795051" y="4068678"/>
            <a:chExt cx="694018" cy="235105"/>
          </a:xfrm>
        </p:grpSpPr>
        <p:sp>
          <p:nvSpPr>
            <p:cNvPr id="320" name="Rechteck 319"/>
            <p:cNvSpPr/>
            <p:nvPr/>
          </p:nvSpPr>
          <p:spPr>
            <a:xfrm>
              <a:off x="4795051" y="4068678"/>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21" name="Grafik 32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885930" y="4144208"/>
              <a:ext cx="547748" cy="94760"/>
            </a:xfrm>
            <a:prstGeom prst="rect">
              <a:avLst/>
            </a:prstGeom>
          </p:spPr>
        </p:pic>
      </p:grpSp>
      <p:grpSp>
        <p:nvGrpSpPr>
          <p:cNvPr id="322" name="Gruppieren 321"/>
          <p:cNvGrpSpPr/>
          <p:nvPr/>
        </p:nvGrpSpPr>
        <p:grpSpPr>
          <a:xfrm>
            <a:off x="4871702" y="6236091"/>
            <a:ext cx="925357" cy="412236"/>
            <a:chOff x="3633862" y="4039980"/>
            <a:chExt cx="694018" cy="309177"/>
          </a:xfrm>
        </p:grpSpPr>
        <p:sp>
          <p:nvSpPr>
            <p:cNvPr id="323" name="Rechteck 322"/>
            <p:cNvSpPr/>
            <p:nvPr/>
          </p:nvSpPr>
          <p:spPr>
            <a:xfrm>
              <a:off x="3633862" y="4077592"/>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24" name="Grafik 323"/>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707787" y="4039980"/>
              <a:ext cx="589717" cy="309177"/>
            </a:xfrm>
            <a:prstGeom prst="rect">
              <a:avLst/>
            </a:prstGeom>
          </p:spPr>
        </p:pic>
      </p:grpSp>
      <p:grpSp>
        <p:nvGrpSpPr>
          <p:cNvPr id="325" name="Gruppieren 324"/>
          <p:cNvGrpSpPr/>
          <p:nvPr/>
        </p:nvGrpSpPr>
        <p:grpSpPr>
          <a:xfrm>
            <a:off x="9409267" y="5529189"/>
            <a:ext cx="925357" cy="313473"/>
            <a:chOff x="6323554" y="4067389"/>
            <a:chExt cx="694018" cy="235105"/>
          </a:xfrm>
        </p:grpSpPr>
        <p:sp>
          <p:nvSpPr>
            <p:cNvPr id="326" name="Rechteck 325"/>
            <p:cNvSpPr/>
            <p:nvPr/>
          </p:nvSpPr>
          <p:spPr>
            <a:xfrm>
              <a:off x="6323554" y="4067389"/>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27" name="Grafik 326"/>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435291" y="4100248"/>
              <a:ext cx="468693" cy="183728"/>
            </a:xfrm>
            <a:prstGeom prst="rect">
              <a:avLst/>
            </a:prstGeom>
          </p:spPr>
        </p:pic>
      </p:grpSp>
      <p:grpSp>
        <p:nvGrpSpPr>
          <p:cNvPr id="328" name="Gruppieren 327"/>
          <p:cNvGrpSpPr/>
          <p:nvPr/>
        </p:nvGrpSpPr>
        <p:grpSpPr>
          <a:xfrm>
            <a:off x="4973400" y="4764559"/>
            <a:ext cx="925357" cy="314072"/>
            <a:chOff x="3635135" y="3175605"/>
            <a:chExt cx="694018" cy="235554"/>
          </a:xfrm>
        </p:grpSpPr>
        <p:sp>
          <p:nvSpPr>
            <p:cNvPr id="329" name="Rechteck 328"/>
            <p:cNvSpPr/>
            <p:nvPr/>
          </p:nvSpPr>
          <p:spPr>
            <a:xfrm>
              <a:off x="3635135" y="3175605"/>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30" name="Grafik 32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811207" y="3179158"/>
              <a:ext cx="386669" cy="232001"/>
            </a:xfrm>
            <a:prstGeom prst="rect">
              <a:avLst/>
            </a:prstGeom>
          </p:spPr>
        </p:pic>
      </p:grpSp>
      <p:grpSp>
        <p:nvGrpSpPr>
          <p:cNvPr id="334" name="Gruppieren 333"/>
          <p:cNvGrpSpPr/>
          <p:nvPr/>
        </p:nvGrpSpPr>
        <p:grpSpPr>
          <a:xfrm>
            <a:off x="5671995" y="5370738"/>
            <a:ext cx="925357" cy="313473"/>
            <a:chOff x="4223377" y="3634229"/>
            <a:chExt cx="694018" cy="235105"/>
          </a:xfrm>
        </p:grpSpPr>
        <p:sp>
          <p:nvSpPr>
            <p:cNvPr id="335" name="Rechteck 334"/>
            <p:cNvSpPr/>
            <p:nvPr/>
          </p:nvSpPr>
          <p:spPr>
            <a:xfrm>
              <a:off x="4223377" y="3634229"/>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36" name="Grafik 335"/>
            <p:cNvPicPr>
              <a:picLocks noChangeAspect="1"/>
            </p:cNvPicPr>
            <p:nvPr/>
          </p:nvPicPr>
          <p:blipFill>
            <a:blip r:embed="rId28" cstate="hqprint">
              <a:extLst>
                <a:ext uri="{28A0092B-C50C-407E-A947-70E740481C1C}">
                  <a14:useLocalDpi xmlns:a14="http://schemas.microsoft.com/office/drawing/2010/main" val="0"/>
                </a:ext>
              </a:extLst>
            </a:blip>
            <a:stretch>
              <a:fillRect/>
            </a:stretch>
          </p:blipFill>
          <p:spPr>
            <a:xfrm>
              <a:off x="4422678" y="3666225"/>
              <a:ext cx="285985" cy="189143"/>
            </a:xfrm>
            <a:prstGeom prst="rect">
              <a:avLst/>
            </a:prstGeom>
          </p:spPr>
        </p:pic>
      </p:grpSp>
      <p:grpSp>
        <p:nvGrpSpPr>
          <p:cNvPr id="337" name="Gruppieren 336"/>
          <p:cNvGrpSpPr/>
          <p:nvPr/>
        </p:nvGrpSpPr>
        <p:grpSpPr>
          <a:xfrm>
            <a:off x="5076808" y="3904758"/>
            <a:ext cx="925357" cy="313473"/>
            <a:chOff x="4799235" y="2616378"/>
            <a:chExt cx="694018" cy="235105"/>
          </a:xfrm>
        </p:grpSpPr>
        <p:sp>
          <p:nvSpPr>
            <p:cNvPr id="338" name="Rechteck 337"/>
            <p:cNvSpPr/>
            <p:nvPr/>
          </p:nvSpPr>
          <p:spPr>
            <a:xfrm>
              <a:off x="4799235" y="2616378"/>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39" name="Grafik 33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890115" y="2691907"/>
              <a:ext cx="547748" cy="94760"/>
            </a:xfrm>
            <a:prstGeom prst="rect">
              <a:avLst/>
            </a:prstGeom>
          </p:spPr>
        </p:pic>
      </p:grpSp>
      <p:grpSp>
        <p:nvGrpSpPr>
          <p:cNvPr id="340" name="Gruppieren 339"/>
          <p:cNvGrpSpPr/>
          <p:nvPr/>
        </p:nvGrpSpPr>
        <p:grpSpPr>
          <a:xfrm>
            <a:off x="6515575" y="2418742"/>
            <a:ext cx="925357" cy="313473"/>
            <a:chOff x="4789569" y="2044578"/>
            <a:chExt cx="694018" cy="235105"/>
          </a:xfrm>
        </p:grpSpPr>
        <p:sp>
          <p:nvSpPr>
            <p:cNvPr id="341" name="Rechteck 340"/>
            <p:cNvSpPr/>
            <p:nvPr/>
          </p:nvSpPr>
          <p:spPr>
            <a:xfrm>
              <a:off x="4789569" y="2044578"/>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42" name="Grafik 341"/>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880449" y="2120107"/>
              <a:ext cx="547748" cy="94760"/>
            </a:xfrm>
            <a:prstGeom prst="rect">
              <a:avLst/>
            </a:prstGeom>
          </p:spPr>
        </p:pic>
      </p:grpSp>
      <p:grpSp>
        <p:nvGrpSpPr>
          <p:cNvPr id="343" name="Gruppieren 342"/>
          <p:cNvGrpSpPr/>
          <p:nvPr/>
        </p:nvGrpSpPr>
        <p:grpSpPr>
          <a:xfrm>
            <a:off x="4801724" y="2386600"/>
            <a:ext cx="925357" cy="314072"/>
            <a:chOff x="3634788" y="2041640"/>
            <a:chExt cx="694018" cy="235554"/>
          </a:xfrm>
        </p:grpSpPr>
        <p:sp>
          <p:nvSpPr>
            <p:cNvPr id="344" name="Rechteck 343"/>
            <p:cNvSpPr/>
            <p:nvPr/>
          </p:nvSpPr>
          <p:spPr>
            <a:xfrm>
              <a:off x="3634788" y="2041640"/>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45" name="Grafik 344"/>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810861" y="2045193"/>
              <a:ext cx="386669" cy="232001"/>
            </a:xfrm>
            <a:prstGeom prst="rect">
              <a:avLst/>
            </a:prstGeom>
          </p:spPr>
        </p:pic>
      </p:grpSp>
      <p:grpSp>
        <p:nvGrpSpPr>
          <p:cNvPr id="346" name="Gruppieren 345"/>
          <p:cNvGrpSpPr/>
          <p:nvPr/>
        </p:nvGrpSpPr>
        <p:grpSpPr>
          <a:xfrm>
            <a:off x="6512618" y="1707596"/>
            <a:ext cx="925357" cy="313473"/>
            <a:chOff x="4787946" y="1636620"/>
            <a:chExt cx="694018" cy="235105"/>
          </a:xfrm>
        </p:grpSpPr>
        <p:sp>
          <p:nvSpPr>
            <p:cNvPr id="347" name="Rechteck 346"/>
            <p:cNvSpPr/>
            <p:nvPr/>
          </p:nvSpPr>
          <p:spPr>
            <a:xfrm>
              <a:off x="4787946" y="1636620"/>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48" name="Grafik 34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896433" y="1655870"/>
              <a:ext cx="526742" cy="203322"/>
            </a:xfrm>
            <a:prstGeom prst="rect">
              <a:avLst/>
            </a:prstGeom>
          </p:spPr>
        </p:pic>
      </p:grpSp>
      <p:grpSp>
        <p:nvGrpSpPr>
          <p:cNvPr id="349" name="Gruppieren 348"/>
          <p:cNvGrpSpPr/>
          <p:nvPr/>
        </p:nvGrpSpPr>
        <p:grpSpPr>
          <a:xfrm>
            <a:off x="4698907" y="1763177"/>
            <a:ext cx="925357" cy="313473"/>
            <a:chOff x="3514813" y="1777762"/>
            <a:chExt cx="694018" cy="235105"/>
          </a:xfrm>
        </p:grpSpPr>
        <p:sp>
          <p:nvSpPr>
            <p:cNvPr id="350" name="Rechteck 349"/>
            <p:cNvSpPr/>
            <p:nvPr/>
          </p:nvSpPr>
          <p:spPr>
            <a:xfrm>
              <a:off x="3514813" y="1777762"/>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51" name="Grafik 350"/>
            <p:cNvPicPr>
              <a:picLocks noChangeAspect="1"/>
            </p:cNvPicPr>
            <p:nvPr/>
          </p:nvPicPr>
          <p:blipFill>
            <a:blip r:embed="rId28" cstate="hqprint">
              <a:extLst>
                <a:ext uri="{28A0092B-C50C-407E-A947-70E740481C1C}">
                  <a14:useLocalDpi xmlns:a14="http://schemas.microsoft.com/office/drawing/2010/main" val="0"/>
                </a:ext>
              </a:extLst>
            </a:blip>
            <a:stretch>
              <a:fillRect/>
            </a:stretch>
          </p:blipFill>
          <p:spPr>
            <a:xfrm>
              <a:off x="3714114" y="1809758"/>
              <a:ext cx="285985" cy="189143"/>
            </a:xfrm>
            <a:prstGeom prst="rect">
              <a:avLst/>
            </a:prstGeom>
          </p:spPr>
        </p:pic>
      </p:grpSp>
      <p:grpSp>
        <p:nvGrpSpPr>
          <p:cNvPr id="352" name="Gruppieren 351"/>
          <p:cNvGrpSpPr/>
          <p:nvPr/>
        </p:nvGrpSpPr>
        <p:grpSpPr>
          <a:xfrm>
            <a:off x="5624264" y="1549032"/>
            <a:ext cx="925357" cy="313473"/>
            <a:chOff x="4023924" y="1620452"/>
            <a:chExt cx="694018" cy="235105"/>
          </a:xfrm>
        </p:grpSpPr>
        <p:sp>
          <p:nvSpPr>
            <p:cNvPr id="353" name="Rechteck 352"/>
            <p:cNvSpPr/>
            <p:nvPr/>
          </p:nvSpPr>
          <p:spPr>
            <a:xfrm>
              <a:off x="4023924" y="1620452"/>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54" name="Grafik 353"/>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101772" y="1708187"/>
              <a:ext cx="553444" cy="86021"/>
            </a:xfrm>
            <a:prstGeom prst="rect">
              <a:avLst/>
            </a:prstGeom>
          </p:spPr>
        </p:pic>
      </p:grpSp>
      <p:grpSp>
        <p:nvGrpSpPr>
          <p:cNvPr id="355" name="Gruppieren 354"/>
          <p:cNvGrpSpPr/>
          <p:nvPr/>
        </p:nvGrpSpPr>
        <p:grpSpPr>
          <a:xfrm>
            <a:off x="6605548" y="514060"/>
            <a:ext cx="925357" cy="313473"/>
            <a:chOff x="4797384" y="1093511"/>
            <a:chExt cx="694018" cy="235105"/>
          </a:xfrm>
        </p:grpSpPr>
        <p:sp>
          <p:nvSpPr>
            <p:cNvPr id="356" name="Rechteck 355"/>
            <p:cNvSpPr/>
            <p:nvPr/>
          </p:nvSpPr>
          <p:spPr>
            <a:xfrm>
              <a:off x="4797384" y="1093511"/>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57" name="Grafik 35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888264" y="1169041"/>
              <a:ext cx="547748" cy="94760"/>
            </a:xfrm>
            <a:prstGeom prst="rect">
              <a:avLst/>
            </a:prstGeom>
          </p:spPr>
        </p:pic>
      </p:grpSp>
      <p:grpSp>
        <p:nvGrpSpPr>
          <p:cNvPr id="358" name="Gruppieren 357"/>
          <p:cNvGrpSpPr/>
          <p:nvPr/>
        </p:nvGrpSpPr>
        <p:grpSpPr>
          <a:xfrm>
            <a:off x="7994554" y="2694068"/>
            <a:ext cx="925357" cy="313473"/>
            <a:chOff x="6184170" y="2215587"/>
            <a:chExt cx="694018" cy="235105"/>
          </a:xfrm>
        </p:grpSpPr>
        <p:sp>
          <p:nvSpPr>
            <p:cNvPr id="359" name="Rechteck 358"/>
            <p:cNvSpPr/>
            <p:nvPr/>
          </p:nvSpPr>
          <p:spPr>
            <a:xfrm>
              <a:off x="6184170" y="2215587"/>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60" name="Grafik 35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275049" y="2291117"/>
              <a:ext cx="547748" cy="94760"/>
            </a:xfrm>
            <a:prstGeom prst="rect">
              <a:avLst/>
            </a:prstGeom>
          </p:spPr>
        </p:pic>
      </p:grpSp>
      <p:grpSp>
        <p:nvGrpSpPr>
          <p:cNvPr id="361" name="Gruppieren 360"/>
          <p:cNvGrpSpPr/>
          <p:nvPr/>
        </p:nvGrpSpPr>
        <p:grpSpPr>
          <a:xfrm>
            <a:off x="9144728" y="3605745"/>
            <a:ext cx="925357" cy="313473"/>
            <a:chOff x="7019839" y="2679025"/>
            <a:chExt cx="694018" cy="235105"/>
          </a:xfrm>
        </p:grpSpPr>
        <p:sp>
          <p:nvSpPr>
            <p:cNvPr id="362" name="Rechteck 361"/>
            <p:cNvSpPr/>
            <p:nvPr/>
          </p:nvSpPr>
          <p:spPr>
            <a:xfrm>
              <a:off x="7019839" y="2679025"/>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63" name="Grafik 362"/>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187765" y="2706000"/>
              <a:ext cx="356159" cy="186766"/>
            </a:xfrm>
            <a:prstGeom prst="rect">
              <a:avLst/>
            </a:prstGeom>
          </p:spPr>
        </p:pic>
      </p:grpSp>
      <p:grpSp>
        <p:nvGrpSpPr>
          <p:cNvPr id="364" name="Gruppieren 363"/>
          <p:cNvGrpSpPr/>
          <p:nvPr/>
        </p:nvGrpSpPr>
        <p:grpSpPr>
          <a:xfrm>
            <a:off x="9097082" y="2696288"/>
            <a:ext cx="925357" cy="313473"/>
            <a:chOff x="7011066" y="2217252"/>
            <a:chExt cx="694018" cy="235105"/>
          </a:xfrm>
        </p:grpSpPr>
        <p:sp>
          <p:nvSpPr>
            <p:cNvPr id="365" name="Rechteck 364"/>
            <p:cNvSpPr/>
            <p:nvPr/>
          </p:nvSpPr>
          <p:spPr>
            <a:xfrm>
              <a:off x="7011066" y="2217252"/>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66" name="Grafik 365"/>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088914" y="2304988"/>
              <a:ext cx="553444" cy="86021"/>
            </a:xfrm>
            <a:prstGeom prst="rect">
              <a:avLst/>
            </a:prstGeom>
          </p:spPr>
        </p:pic>
      </p:grpSp>
      <p:grpSp>
        <p:nvGrpSpPr>
          <p:cNvPr id="367" name="Gruppieren 366"/>
          <p:cNvGrpSpPr/>
          <p:nvPr/>
        </p:nvGrpSpPr>
        <p:grpSpPr>
          <a:xfrm>
            <a:off x="8030503" y="3603684"/>
            <a:ext cx="925357" cy="313473"/>
            <a:chOff x="6184170" y="2677479"/>
            <a:chExt cx="694018" cy="235105"/>
          </a:xfrm>
        </p:grpSpPr>
        <p:sp>
          <p:nvSpPr>
            <p:cNvPr id="368" name="Rechteck 367"/>
            <p:cNvSpPr/>
            <p:nvPr/>
          </p:nvSpPr>
          <p:spPr>
            <a:xfrm>
              <a:off x="6184170" y="2677479"/>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69" name="Grafik 368"/>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6323535" y="2690732"/>
              <a:ext cx="430553" cy="216237"/>
            </a:xfrm>
            <a:prstGeom prst="rect">
              <a:avLst/>
            </a:prstGeom>
          </p:spPr>
        </p:pic>
      </p:grpSp>
      <p:sp>
        <p:nvSpPr>
          <p:cNvPr id="371" name="Rectangle 32">
            <a:extLst>
              <a:ext uri="{FF2B5EF4-FFF2-40B4-BE49-F238E27FC236}">
                <a16:creationId xmlns:a16="http://schemas.microsoft.com/office/drawing/2014/main" id="{599CCAB0-B07C-4FF9-98DD-61153AA065B1}"/>
              </a:ext>
            </a:extLst>
          </p:cNvPr>
          <p:cNvSpPr/>
          <p:nvPr/>
        </p:nvSpPr>
        <p:spPr>
          <a:xfrm>
            <a:off x="9886661" y="1263749"/>
            <a:ext cx="1214435" cy="558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2" name="TextBox 36">
            <a:extLst>
              <a:ext uri="{FF2B5EF4-FFF2-40B4-BE49-F238E27FC236}">
                <a16:creationId xmlns:a16="http://schemas.microsoft.com/office/drawing/2014/main" id="{16E635CF-9CE5-438E-9C18-C501D1D31F8D}"/>
              </a:ext>
            </a:extLst>
          </p:cNvPr>
          <p:cNvSpPr txBox="1"/>
          <p:nvPr/>
        </p:nvSpPr>
        <p:spPr>
          <a:xfrm>
            <a:off x="9745132" y="1287450"/>
            <a:ext cx="1497493"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CERTIFICATION BODY</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grpSp>
        <p:nvGrpSpPr>
          <p:cNvPr id="373" name="Gruppieren 372"/>
          <p:cNvGrpSpPr/>
          <p:nvPr/>
        </p:nvGrpSpPr>
        <p:grpSpPr>
          <a:xfrm>
            <a:off x="10841191" y="1771626"/>
            <a:ext cx="925357" cy="313473"/>
            <a:chOff x="7777748" y="1507624"/>
            <a:chExt cx="694018" cy="235105"/>
          </a:xfrm>
        </p:grpSpPr>
        <p:sp>
          <p:nvSpPr>
            <p:cNvPr id="374" name="Rechteck 373"/>
            <p:cNvSpPr/>
            <p:nvPr/>
          </p:nvSpPr>
          <p:spPr>
            <a:xfrm>
              <a:off x="7777748" y="1507624"/>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75" name="Grafik 374"/>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949827" y="1526950"/>
              <a:ext cx="360161" cy="196451"/>
            </a:xfrm>
            <a:prstGeom prst="rect">
              <a:avLst/>
            </a:prstGeom>
          </p:spPr>
        </p:pic>
      </p:grpSp>
      <p:grpSp>
        <p:nvGrpSpPr>
          <p:cNvPr id="376" name="Gruppieren 375"/>
          <p:cNvGrpSpPr/>
          <p:nvPr/>
        </p:nvGrpSpPr>
        <p:grpSpPr>
          <a:xfrm>
            <a:off x="10833010" y="989033"/>
            <a:ext cx="925357" cy="322817"/>
            <a:chOff x="7777748" y="903999"/>
            <a:chExt cx="694018" cy="242113"/>
          </a:xfrm>
        </p:grpSpPr>
        <p:sp>
          <p:nvSpPr>
            <p:cNvPr id="377" name="Rechteck 376"/>
            <p:cNvSpPr/>
            <p:nvPr/>
          </p:nvSpPr>
          <p:spPr>
            <a:xfrm>
              <a:off x="7777748" y="903999"/>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78" name="Grafik 377"/>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8004406" y="908316"/>
              <a:ext cx="252974" cy="237796"/>
            </a:xfrm>
            <a:prstGeom prst="rect">
              <a:avLst/>
            </a:prstGeom>
          </p:spPr>
        </p:pic>
      </p:grpSp>
      <p:grpSp>
        <p:nvGrpSpPr>
          <p:cNvPr id="379" name="Gruppieren 378"/>
          <p:cNvGrpSpPr/>
          <p:nvPr/>
        </p:nvGrpSpPr>
        <p:grpSpPr>
          <a:xfrm>
            <a:off x="9170916" y="996465"/>
            <a:ext cx="925357" cy="313473"/>
            <a:chOff x="6531178" y="909573"/>
            <a:chExt cx="694018" cy="235105"/>
          </a:xfrm>
        </p:grpSpPr>
        <p:sp>
          <p:nvSpPr>
            <p:cNvPr id="380" name="Rechteck 379"/>
            <p:cNvSpPr/>
            <p:nvPr/>
          </p:nvSpPr>
          <p:spPr>
            <a:xfrm>
              <a:off x="6531178" y="909573"/>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81" name="Grafik 38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622057" y="985103"/>
              <a:ext cx="547748" cy="94760"/>
            </a:xfrm>
            <a:prstGeom prst="rect">
              <a:avLst/>
            </a:prstGeom>
          </p:spPr>
        </p:pic>
      </p:grpSp>
      <p:grpSp>
        <p:nvGrpSpPr>
          <p:cNvPr id="382" name="Gruppieren 381"/>
          <p:cNvGrpSpPr/>
          <p:nvPr/>
        </p:nvGrpSpPr>
        <p:grpSpPr>
          <a:xfrm>
            <a:off x="9170916" y="1768238"/>
            <a:ext cx="925357" cy="327487"/>
            <a:chOff x="6531178" y="1497114"/>
            <a:chExt cx="694018" cy="245615"/>
          </a:xfrm>
        </p:grpSpPr>
        <p:sp>
          <p:nvSpPr>
            <p:cNvPr id="383" name="Rechteck 382"/>
            <p:cNvSpPr/>
            <p:nvPr/>
          </p:nvSpPr>
          <p:spPr>
            <a:xfrm>
              <a:off x="6531178" y="1497114"/>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384" name="Grafik 383"/>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6753732" y="1501758"/>
              <a:ext cx="240971" cy="240971"/>
            </a:xfrm>
            <a:prstGeom prst="rect">
              <a:avLst/>
            </a:prstGeom>
          </p:spPr>
        </p:pic>
      </p:grpSp>
      <p:grpSp>
        <p:nvGrpSpPr>
          <p:cNvPr id="185" name="Gruppieren 184"/>
          <p:cNvGrpSpPr/>
          <p:nvPr/>
        </p:nvGrpSpPr>
        <p:grpSpPr>
          <a:xfrm>
            <a:off x="4806147" y="2722112"/>
            <a:ext cx="925357" cy="313473"/>
            <a:chOff x="7019839" y="2679025"/>
            <a:chExt cx="694018" cy="235105"/>
          </a:xfrm>
        </p:grpSpPr>
        <p:sp>
          <p:nvSpPr>
            <p:cNvPr id="186" name="Rechteck 185"/>
            <p:cNvSpPr/>
            <p:nvPr/>
          </p:nvSpPr>
          <p:spPr>
            <a:xfrm>
              <a:off x="7019839" y="2679025"/>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187" name="Grafik 186"/>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187765" y="2706000"/>
              <a:ext cx="356159" cy="186766"/>
            </a:xfrm>
            <a:prstGeom prst="rect">
              <a:avLst/>
            </a:prstGeom>
          </p:spPr>
        </p:pic>
      </p:grpSp>
      <p:grpSp>
        <p:nvGrpSpPr>
          <p:cNvPr id="188" name="Gruppieren 187"/>
          <p:cNvGrpSpPr/>
          <p:nvPr/>
        </p:nvGrpSpPr>
        <p:grpSpPr>
          <a:xfrm>
            <a:off x="6734307" y="4384736"/>
            <a:ext cx="925357" cy="313473"/>
            <a:chOff x="130755" y="3628074"/>
            <a:chExt cx="694018" cy="235105"/>
          </a:xfrm>
        </p:grpSpPr>
        <p:sp>
          <p:nvSpPr>
            <p:cNvPr id="189" name="Rechteck 188"/>
            <p:cNvSpPr/>
            <p:nvPr/>
          </p:nvSpPr>
          <p:spPr>
            <a:xfrm>
              <a:off x="130755" y="3628074"/>
              <a:ext cx="694018" cy="23510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190" name="Grafik 18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3485" y="3667569"/>
              <a:ext cx="426289" cy="148535"/>
            </a:xfrm>
            <a:prstGeom prst="rect">
              <a:avLst/>
            </a:prstGeom>
          </p:spPr>
        </p:pic>
      </p:grpSp>
      <p:sp>
        <p:nvSpPr>
          <p:cNvPr id="191" name="TextBox 53">
            <a:extLst>
              <a:ext uri="{FF2B5EF4-FFF2-40B4-BE49-F238E27FC236}">
                <a16:creationId xmlns:a16="http://schemas.microsoft.com/office/drawing/2014/main" id="{42B112CA-A4E7-4B5C-854D-7FCD17784665}"/>
              </a:ext>
            </a:extLst>
          </p:cNvPr>
          <p:cNvSpPr txBox="1"/>
          <p:nvPr/>
        </p:nvSpPr>
        <p:spPr>
          <a:xfrm>
            <a:off x="374875" y="628380"/>
            <a:ext cx="3701355" cy="95410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E5007D"/>
                </a:solidFill>
                <a:effectLst/>
                <a:uLnTx/>
                <a:uFillTx/>
                <a:latin typeface="Verdana" panose="020B0604030504040204" pitchFamily="34" charset="0"/>
                <a:ea typeface="Verdana" panose="020B0604030504040204" pitchFamily="34" charset="0"/>
                <a:cs typeface="Droid Sans" panose="020B0606030804020204" pitchFamily="34" charset="0"/>
              </a:rPr>
              <a:t>REFERENCE ARCHITECTURE</a:t>
            </a:r>
          </a:p>
        </p:txBody>
      </p:sp>
    </p:spTree>
    <p:extLst>
      <p:ext uri="{BB962C8B-B14F-4D97-AF65-F5344CB8AC3E}">
        <p14:creationId xmlns:p14="http://schemas.microsoft.com/office/powerpoint/2010/main" val="937970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B51500B4-E579-42C0-AC26-307C988AF60F}"/>
              </a:ext>
            </a:extLst>
          </p:cNvPr>
          <p:cNvSpPr>
            <a:spLocks noGrp="1"/>
          </p:cNvSpPr>
          <p:nvPr>
            <p:ph type="body" orient="vert" idx="1"/>
          </p:nvPr>
        </p:nvSpPr>
        <p:spPr/>
        <p:txBody>
          <a:bodyPr/>
          <a:lstStyle/>
          <a:p>
            <a:endParaRPr lang="en-GB" sz="2000" dirty="0"/>
          </a:p>
          <a:p>
            <a:r>
              <a:rPr lang="en-GB" sz="2000" dirty="0"/>
              <a:t>International standard for data sharing use cases</a:t>
            </a:r>
          </a:p>
          <a:p>
            <a:pPr lvl="1"/>
            <a:r>
              <a:rPr lang="en-GB" sz="2000" dirty="0"/>
              <a:t>Between two (or more) companies + in an entire ecosystem</a:t>
            </a:r>
          </a:p>
          <a:p>
            <a:pPr lvl="1"/>
            <a:r>
              <a:rPr lang="en-GB" sz="2000" dirty="0"/>
              <a:t>Data sovereignty: each company retains control over its own data </a:t>
            </a:r>
          </a:p>
          <a:p>
            <a:pPr lvl="1"/>
            <a:endParaRPr lang="en-GB" sz="2000" dirty="0"/>
          </a:p>
          <a:p>
            <a:r>
              <a:rPr lang="en-GB" sz="2000" dirty="0"/>
              <a:t>Linked to wider initiatives (5G, GAIA-X/Cloud, AI4EU)</a:t>
            </a:r>
          </a:p>
          <a:p>
            <a:endParaRPr lang="en-GB" sz="2000" dirty="0"/>
          </a:p>
          <a:p>
            <a:r>
              <a:rPr lang="en-GB" sz="2000" b="1" dirty="0">
                <a:latin typeface="+mj-lt"/>
              </a:rPr>
              <a:t>TNO is the Dutch hub for IDS</a:t>
            </a:r>
          </a:p>
          <a:p>
            <a:r>
              <a:rPr lang="en-GB" sz="2000" b="1" dirty="0">
                <a:latin typeface="+mj-lt"/>
              </a:rPr>
              <a:t>TNO can help you to set-up your use case and provide a reference implementation</a:t>
            </a:r>
          </a:p>
        </p:txBody>
      </p:sp>
      <p:sp>
        <p:nvSpPr>
          <p:cNvPr id="3" name="Titel 2">
            <a:extLst>
              <a:ext uri="{FF2B5EF4-FFF2-40B4-BE49-F238E27FC236}">
                <a16:creationId xmlns:a16="http://schemas.microsoft.com/office/drawing/2014/main" id="{CCBB49F6-97F3-4DDF-811B-27267E95190A}"/>
              </a:ext>
            </a:extLst>
          </p:cNvPr>
          <p:cNvSpPr>
            <a:spLocks noGrp="1"/>
          </p:cNvSpPr>
          <p:nvPr>
            <p:ph type="title"/>
          </p:nvPr>
        </p:nvSpPr>
        <p:spPr/>
        <p:txBody>
          <a:bodyPr/>
          <a:lstStyle/>
          <a:p>
            <a:r>
              <a:rPr lang="en-GB" dirty="0"/>
              <a:t>International data spaces</a:t>
            </a:r>
          </a:p>
        </p:txBody>
      </p:sp>
    </p:spTree>
    <p:extLst>
      <p:ext uri="{BB962C8B-B14F-4D97-AF65-F5344CB8AC3E}">
        <p14:creationId xmlns:p14="http://schemas.microsoft.com/office/powerpoint/2010/main" val="66530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p:cNvPicPr>
            <a:picLocks noChangeAspect="1"/>
          </p:cNvPicPr>
          <p:nvPr/>
        </p:nvPicPr>
        <p:blipFill rotWithShape="1">
          <a:blip r:embed="rId2">
            <a:extLst>
              <a:ext uri="{28A0092B-C50C-407E-A947-70E740481C1C}">
                <a14:useLocalDpi xmlns:a14="http://schemas.microsoft.com/office/drawing/2010/main" val="0"/>
              </a:ext>
            </a:extLst>
          </a:blip>
          <a:srcRect l="22458" t="50344" r="39441" b="7889"/>
          <a:stretch/>
        </p:blipFill>
        <p:spPr>
          <a:xfrm>
            <a:off x="-1" y="3000258"/>
            <a:ext cx="12192001" cy="3857743"/>
          </a:xfrm>
          <a:prstGeom prst="rect">
            <a:avLst/>
          </a:prstGeom>
        </p:spPr>
      </p:pic>
      <p:sp>
        <p:nvSpPr>
          <p:cNvPr id="2" name="Tijdelijke aanduiding voor tekst 1"/>
          <p:cNvSpPr>
            <a:spLocks noGrp="1"/>
          </p:cNvSpPr>
          <p:nvPr>
            <p:ph type="body" sz="quarter" idx="10"/>
          </p:nvPr>
        </p:nvSpPr>
        <p:spPr/>
        <p:txBody>
          <a:bodyPr/>
          <a:lstStyle/>
          <a:p>
            <a:r>
              <a:rPr lang="nl-NL" dirty="0"/>
              <a:t>Data </a:t>
            </a:r>
            <a:r>
              <a:rPr lang="nl-NL" dirty="0" err="1"/>
              <a:t>sharing</a:t>
            </a:r>
            <a:r>
              <a:rPr lang="nl-NL" dirty="0"/>
              <a:t> in </a:t>
            </a:r>
            <a:r>
              <a:rPr lang="nl-NL" dirty="0" err="1"/>
              <a:t>the</a:t>
            </a:r>
            <a:r>
              <a:rPr lang="nl-NL" dirty="0"/>
              <a:t> manufacturing industry</a:t>
            </a:r>
          </a:p>
          <a:p>
            <a:endParaRPr lang="nl-NL" dirty="0"/>
          </a:p>
        </p:txBody>
      </p:sp>
      <p:sp>
        <p:nvSpPr>
          <p:cNvPr id="4" name="Tijdelijke aanduiding voor tekst 3"/>
          <p:cNvSpPr>
            <a:spLocks noGrp="1"/>
          </p:cNvSpPr>
          <p:nvPr>
            <p:ph type="body" sz="quarter" idx="11"/>
          </p:nvPr>
        </p:nvSpPr>
        <p:spPr/>
        <p:txBody>
          <a:bodyPr/>
          <a:lstStyle/>
          <a:p>
            <a:r>
              <a:rPr lang="nl-NL" dirty="0"/>
              <a:t>Smart Connected Supplier Network</a:t>
            </a:r>
          </a:p>
          <a:p>
            <a:endParaRPr lang="nl-NL" dirty="0"/>
          </a:p>
        </p:txBody>
      </p:sp>
      <p:pic>
        <p:nvPicPr>
          <p:cNvPr id="5" name="Picture 4" descr="Afbeeldingsresultaat voor tno">
            <a:extLst>
              <a:ext uri="{FF2B5EF4-FFF2-40B4-BE49-F238E27FC236}">
                <a16:creationId xmlns:a16="http://schemas.microsoft.com/office/drawing/2014/main" id="{DD3F671E-5583-4125-A010-E3D9425C1B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8401" y="259214"/>
            <a:ext cx="770423" cy="7704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Afbeeldingsresultaat voor brainport industries">
            <a:extLst>
              <a:ext uri="{FF2B5EF4-FFF2-40B4-BE49-F238E27FC236}">
                <a16:creationId xmlns:a16="http://schemas.microsoft.com/office/drawing/2014/main" id="{9B099D76-4CC9-47EA-8791-660C876576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1545" y="313657"/>
            <a:ext cx="466836" cy="65111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Gerelateerde afbeelding">
            <a:extLst>
              <a:ext uri="{FF2B5EF4-FFF2-40B4-BE49-F238E27FC236}">
                <a16:creationId xmlns:a16="http://schemas.microsoft.com/office/drawing/2014/main" id="{44510D06-3CFB-4099-B775-A93A97C0C7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315" y="353921"/>
            <a:ext cx="584832" cy="610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2823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p:txBody>
          <a:bodyPr/>
          <a:lstStyle/>
          <a:p>
            <a:r>
              <a:rPr lang="nl-NL" dirty="0"/>
              <a:t>CONNECTED </a:t>
            </a:r>
            <a:r>
              <a:rPr lang="nl-NL" dirty="0" err="1"/>
              <a:t>FACTORIES</a:t>
            </a:r>
            <a:endParaRPr lang="nl-NL" dirty="0"/>
          </a:p>
        </p:txBody>
      </p:sp>
      <p:sp>
        <p:nvSpPr>
          <p:cNvPr id="3" name="Tijdelijke aanduiding voor tekst 2"/>
          <p:cNvSpPr>
            <a:spLocks noGrp="1"/>
          </p:cNvSpPr>
          <p:nvPr>
            <p:ph type="body" sz="quarter" idx="11"/>
          </p:nvPr>
        </p:nvSpPr>
        <p:spPr>
          <a:xfrm>
            <a:off x="624417" y="1430401"/>
            <a:ext cx="9941983" cy="570527"/>
          </a:xfrm>
        </p:spPr>
        <p:txBody>
          <a:bodyPr/>
          <a:lstStyle/>
          <a:p>
            <a:r>
              <a:rPr lang="nl-NL" dirty="0"/>
              <a:t>The </a:t>
            </a:r>
            <a:r>
              <a:rPr lang="nl-NL" dirty="0" err="1"/>
              <a:t>challenge</a:t>
            </a:r>
            <a:endParaRPr lang="nl-NL" dirty="0"/>
          </a:p>
        </p:txBody>
      </p:sp>
      <p:pic>
        <p:nvPicPr>
          <p:cNvPr id="5" name="Afbeelding 4">
            <a:extLst>
              <a:ext uri="{FF2B5EF4-FFF2-40B4-BE49-F238E27FC236}">
                <a16:creationId xmlns:a16="http://schemas.microsoft.com/office/drawing/2014/main" id="{B8486F8D-5B32-4998-A3D9-33EDFC2283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2119" y="2488624"/>
            <a:ext cx="5491851" cy="3732504"/>
          </a:xfrm>
          <a:prstGeom prst="rect">
            <a:avLst/>
          </a:prstGeom>
          <a:noFill/>
        </p:spPr>
      </p:pic>
      <p:grpSp>
        <p:nvGrpSpPr>
          <p:cNvPr id="4" name="Groep 3">
            <a:extLst>
              <a:ext uri="{FF2B5EF4-FFF2-40B4-BE49-F238E27FC236}">
                <a16:creationId xmlns:a16="http://schemas.microsoft.com/office/drawing/2014/main" id="{D2EBB1DA-D731-4E6B-8EB1-18381BD4BD8C}"/>
              </a:ext>
            </a:extLst>
          </p:cNvPr>
          <p:cNvGrpSpPr/>
          <p:nvPr/>
        </p:nvGrpSpPr>
        <p:grpSpPr>
          <a:xfrm>
            <a:off x="8981720" y="1757403"/>
            <a:ext cx="3161592" cy="4752020"/>
            <a:chOff x="5982256" y="1308476"/>
            <a:chExt cx="2461528" cy="3606544"/>
          </a:xfrm>
        </p:grpSpPr>
        <p:sp>
          <p:nvSpPr>
            <p:cNvPr id="13" name="Afgeronde rechthoek 8">
              <a:extLst>
                <a:ext uri="{FF2B5EF4-FFF2-40B4-BE49-F238E27FC236}">
                  <a16:creationId xmlns:a16="http://schemas.microsoft.com/office/drawing/2014/main" id="{49F6B3A5-B0CF-4DD9-BE7C-81CC7819BA91}"/>
                </a:ext>
              </a:extLst>
            </p:cNvPr>
            <p:cNvSpPr/>
            <p:nvPr/>
          </p:nvSpPr>
          <p:spPr>
            <a:xfrm>
              <a:off x="5982256" y="1308476"/>
              <a:ext cx="2461527" cy="1131436"/>
            </a:xfrm>
            <a:prstGeom prst="roundRect">
              <a:avLst>
                <a:gd name="adj" fmla="val 8216"/>
              </a:avLst>
            </a:prstGeom>
            <a:solidFill>
              <a:srgbClr val="405066"/>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b"/>
            <a:lstStyle/>
            <a:p>
              <a:pPr algn="ctr" defTabSz="914377"/>
              <a:r>
                <a:rPr lang="en-GB" sz="1867" dirty="0">
                  <a:solidFill>
                    <a:srgbClr val="FFFFFF"/>
                  </a:solidFill>
                  <a:latin typeface="Calibri" panose="020F0502020204030204"/>
                </a:rPr>
                <a:t>Manually copy information in ERP systems and </a:t>
              </a:r>
              <a:r>
                <a:rPr lang="en-GB" sz="1867" dirty="0" err="1">
                  <a:solidFill>
                    <a:srgbClr val="FFFFFF"/>
                  </a:solidFill>
                  <a:latin typeface="Calibri" panose="020F0502020204030204"/>
                </a:rPr>
                <a:t>webportals</a:t>
              </a:r>
              <a:endParaRPr lang="en-GB" sz="1867" dirty="0">
                <a:solidFill>
                  <a:srgbClr val="FFFFFF"/>
                </a:solidFill>
                <a:latin typeface="Calibri" panose="020F0502020204030204"/>
              </a:endParaRPr>
            </a:p>
          </p:txBody>
        </p:sp>
        <p:sp>
          <p:nvSpPr>
            <p:cNvPr id="14" name="Afgeronde rechthoek 6">
              <a:extLst>
                <a:ext uri="{FF2B5EF4-FFF2-40B4-BE49-F238E27FC236}">
                  <a16:creationId xmlns:a16="http://schemas.microsoft.com/office/drawing/2014/main" id="{03957799-CC5C-4905-9EC8-B1680C23332B}"/>
                </a:ext>
              </a:extLst>
            </p:cNvPr>
            <p:cNvSpPr/>
            <p:nvPr/>
          </p:nvSpPr>
          <p:spPr>
            <a:xfrm>
              <a:off x="5982256" y="2520013"/>
              <a:ext cx="2461527" cy="759815"/>
            </a:xfrm>
            <a:prstGeom prst="roundRect">
              <a:avLst>
                <a:gd name="adj" fmla="val 8216"/>
              </a:avLst>
            </a:prstGeom>
            <a:solidFill>
              <a:srgbClr val="429FB6"/>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r" defTabSz="914377"/>
              <a:r>
                <a:rPr lang="en-GB" sz="1867" dirty="0">
                  <a:solidFill>
                    <a:srgbClr val="FFFFFF"/>
                  </a:solidFill>
                  <a:latin typeface="Calibri" panose="020F0502020204030204"/>
                </a:rPr>
                <a:t> Administrative burden</a:t>
              </a:r>
            </a:p>
          </p:txBody>
        </p:sp>
        <p:pic>
          <p:nvPicPr>
            <p:cNvPr id="15" name="Afbeelding 14">
              <a:extLst>
                <a:ext uri="{FF2B5EF4-FFF2-40B4-BE49-F238E27FC236}">
                  <a16:creationId xmlns:a16="http://schemas.microsoft.com/office/drawing/2014/main" id="{7A839CA5-2844-466B-8513-41D36BF1DB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9023" y="2614361"/>
              <a:ext cx="571116" cy="571116"/>
            </a:xfrm>
            <a:prstGeom prst="rect">
              <a:avLst/>
            </a:prstGeom>
          </p:spPr>
        </p:pic>
        <p:pic>
          <p:nvPicPr>
            <p:cNvPr id="16" name="Afbeelding 15">
              <a:extLst>
                <a:ext uri="{FF2B5EF4-FFF2-40B4-BE49-F238E27FC236}">
                  <a16:creationId xmlns:a16="http://schemas.microsoft.com/office/drawing/2014/main" id="{95B06717-250B-42BA-B31C-822D1FB0886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40747" y="1441469"/>
              <a:ext cx="544543" cy="544543"/>
            </a:xfrm>
            <a:prstGeom prst="rect">
              <a:avLst/>
            </a:prstGeom>
          </p:spPr>
        </p:pic>
        <p:sp>
          <p:nvSpPr>
            <p:cNvPr id="17" name="Afgeronde rechthoek 9">
              <a:extLst>
                <a:ext uri="{FF2B5EF4-FFF2-40B4-BE49-F238E27FC236}">
                  <a16:creationId xmlns:a16="http://schemas.microsoft.com/office/drawing/2014/main" id="{F80ED9B5-5C9C-40FE-89A9-A8974333B8FF}"/>
                </a:ext>
              </a:extLst>
            </p:cNvPr>
            <p:cNvSpPr/>
            <p:nvPr/>
          </p:nvSpPr>
          <p:spPr>
            <a:xfrm>
              <a:off x="5982258" y="3333094"/>
              <a:ext cx="2461526" cy="759815"/>
            </a:xfrm>
            <a:prstGeom prst="roundRect">
              <a:avLst>
                <a:gd name="adj" fmla="val 8216"/>
              </a:avLst>
            </a:prstGeom>
            <a:solidFill>
              <a:srgbClr val="6EAB37"/>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r" defTabSz="914377"/>
              <a:r>
                <a:rPr lang="en-GB" sz="1867" dirty="0">
                  <a:solidFill>
                    <a:srgbClr val="FFFFFF"/>
                  </a:solidFill>
                  <a:latin typeface="Calibri" panose="020F0502020204030204"/>
                </a:rPr>
                <a:t>Error-prone</a:t>
              </a:r>
            </a:p>
          </p:txBody>
        </p:sp>
        <p:pic>
          <p:nvPicPr>
            <p:cNvPr id="18" name="Afbeelding 17">
              <a:extLst>
                <a:ext uri="{FF2B5EF4-FFF2-40B4-BE49-F238E27FC236}">
                  <a16:creationId xmlns:a16="http://schemas.microsoft.com/office/drawing/2014/main" id="{F7BB08B7-C2F5-4FD0-8A0A-2AD86DDB9A7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34056" y="3398887"/>
              <a:ext cx="641049" cy="641049"/>
            </a:xfrm>
            <a:prstGeom prst="rect">
              <a:avLst/>
            </a:prstGeom>
          </p:spPr>
        </p:pic>
        <p:sp>
          <p:nvSpPr>
            <p:cNvPr id="19" name="Afgeronde rechthoek 11">
              <a:extLst>
                <a:ext uri="{FF2B5EF4-FFF2-40B4-BE49-F238E27FC236}">
                  <a16:creationId xmlns:a16="http://schemas.microsoft.com/office/drawing/2014/main" id="{33742BEF-4A85-403C-AAEF-5BB6A171E982}"/>
                </a:ext>
              </a:extLst>
            </p:cNvPr>
            <p:cNvSpPr/>
            <p:nvPr/>
          </p:nvSpPr>
          <p:spPr>
            <a:xfrm>
              <a:off x="5982256" y="4155206"/>
              <a:ext cx="2461527" cy="759814"/>
            </a:xfrm>
            <a:prstGeom prst="roundRect">
              <a:avLst>
                <a:gd name="adj" fmla="val 8216"/>
              </a:avLst>
            </a:prstGeom>
            <a:solidFill>
              <a:srgbClr val="0C673C"/>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r" defTabSz="914377"/>
              <a:r>
                <a:rPr lang="en-GB" sz="1867" dirty="0">
                  <a:solidFill>
                    <a:srgbClr val="FFFFFF"/>
                  </a:solidFill>
                  <a:latin typeface="Calibri" panose="020F0502020204030204"/>
                </a:rPr>
                <a:t>Sub-optimal </a:t>
              </a:r>
            </a:p>
            <a:p>
              <a:pPr algn="r" defTabSz="914377"/>
              <a:r>
                <a:rPr lang="en-GB" sz="1867" dirty="0">
                  <a:solidFill>
                    <a:srgbClr val="FFFFFF"/>
                  </a:solidFill>
                  <a:latin typeface="Calibri" panose="020F0502020204030204"/>
                </a:rPr>
                <a:t>supply chain</a:t>
              </a:r>
            </a:p>
          </p:txBody>
        </p:sp>
        <p:pic>
          <p:nvPicPr>
            <p:cNvPr id="20" name="Afbeelding 19">
              <a:extLst>
                <a:ext uri="{FF2B5EF4-FFF2-40B4-BE49-F238E27FC236}">
                  <a16:creationId xmlns:a16="http://schemas.microsoft.com/office/drawing/2014/main" id="{876EA035-1117-4FC9-9F31-1E3A025275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18754" y="4248132"/>
              <a:ext cx="573961" cy="573961"/>
            </a:xfrm>
            <a:prstGeom prst="rect">
              <a:avLst/>
            </a:prstGeom>
          </p:spPr>
        </p:pic>
      </p:grpSp>
      <p:pic>
        <p:nvPicPr>
          <p:cNvPr id="38" name="Afbeelding 37">
            <a:extLst>
              <a:ext uri="{FF2B5EF4-FFF2-40B4-BE49-F238E27FC236}">
                <a16:creationId xmlns:a16="http://schemas.microsoft.com/office/drawing/2014/main" id="{53696D28-4ED6-4595-BEE1-C4C46D2FC0F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103419" y="352890"/>
            <a:ext cx="1663396" cy="914021"/>
          </a:xfrm>
          <a:prstGeom prst="rect">
            <a:avLst/>
          </a:prstGeom>
        </p:spPr>
      </p:pic>
      <p:sp>
        <p:nvSpPr>
          <p:cNvPr id="7" name="Rechthoek: afgeronde hoeken 6">
            <a:extLst>
              <a:ext uri="{FF2B5EF4-FFF2-40B4-BE49-F238E27FC236}">
                <a16:creationId xmlns:a16="http://schemas.microsoft.com/office/drawing/2014/main" id="{BE6893AF-1E6D-4D19-8518-8FF7F80C4D3F}"/>
              </a:ext>
            </a:extLst>
          </p:cNvPr>
          <p:cNvSpPr/>
          <p:nvPr/>
        </p:nvSpPr>
        <p:spPr>
          <a:xfrm>
            <a:off x="6387469" y="3942080"/>
            <a:ext cx="1167216" cy="2123440"/>
          </a:xfrm>
          <a:prstGeom prst="round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nl-NL" sz="1467" dirty="0">
                <a:solidFill>
                  <a:srgbClr val="FFFFFF"/>
                </a:solidFill>
                <a:latin typeface="Calibri" panose="020F0502020204030204"/>
              </a:rPr>
              <a:t>Wholesale</a:t>
            </a:r>
          </a:p>
        </p:txBody>
      </p:sp>
      <p:sp>
        <p:nvSpPr>
          <p:cNvPr id="21" name="Rechthoek: afgeronde hoeken 20">
            <a:extLst>
              <a:ext uri="{FF2B5EF4-FFF2-40B4-BE49-F238E27FC236}">
                <a16:creationId xmlns:a16="http://schemas.microsoft.com/office/drawing/2014/main" id="{7A48A0D5-AE74-4D59-935B-1F187DEFAFB5}"/>
              </a:ext>
            </a:extLst>
          </p:cNvPr>
          <p:cNvSpPr/>
          <p:nvPr/>
        </p:nvSpPr>
        <p:spPr>
          <a:xfrm>
            <a:off x="6379288" y="2488624"/>
            <a:ext cx="1167216" cy="1348877"/>
          </a:xfrm>
          <a:prstGeom prst="round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nl-NL" sz="1467" dirty="0">
                <a:solidFill>
                  <a:srgbClr val="FFFFFF"/>
                </a:solidFill>
                <a:latin typeface="Calibri" panose="020F0502020204030204"/>
              </a:rPr>
              <a:t>Wholesale</a:t>
            </a:r>
          </a:p>
        </p:txBody>
      </p:sp>
      <p:cxnSp>
        <p:nvCxnSpPr>
          <p:cNvPr id="9" name="Rechte verbindingslijn met pijl 8">
            <a:extLst>
              <a:ext uri="{FF2B5EF4-FFF2-40B4-BE49-F238E27FC236}">
                <a16:creationId xmlns:a16="http://schemas.microsoft.com/office/drawing/2014/main" id="{43D060E3-45E8-426F-9349-3892ED6189C4}"/>
              </a:ext>
            </a:extLst>
          </p:cNvPr>
          <p:cNvCxnSpPr/>
          <p:nvPr/>
        </p:nvCxnSpPr>
        <p:spPr>
          <a:xfrm>
            <a:off x="6203970" y="2824480"/>
            <a:ext cx="175319" cy="0"/>
          </a:xfrm>
          <a:prstGeom prst="straightConnector1">
            <a:avLst/>
          </a:prstGeom>
          <a:ln w="12700">
            <a:solidFill>
              <a:srgbClr val="66666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Rechte verbindingslijn met pijl 21">
            <a:extLst>
              <a:ext uri="{FF2B5EF4-FFF2-40B4-BE49-F238E27FC236}">
                <a16:creationId xmlns:a16="http://schemas.microsoft.com/office/drawing/2014/main" id="{54A36118-7628-400F-B2EF-9E1916F3DBFC}"/>
              </a:ext>
            </a:extLst>
          </p:cNvPr>
          <p:cNvCxnSpPr/>
          <p:nvPr/>
        </p:nvCxnSpPr>
        <p:spPr>
          <a:xfrm>
            <a:off x="6214130" y="3505200"/>
            <a:ext cx="175319" cy="0"/>
          </a:xfrm>
          <a:prstGeom prst="straightConnector1">
            <a:avLst/>
          </a:prstGeom>
          <a:ln w="12700">
            <a:solidFill>
              <a:srgbClr val="66666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Rechte verbindingslijn met pijl 22">
            <a:extLst>
              <a:ext uri="{FF2B5EF4-FFF2-40B4-BE49-F238E27FC236}">
                <a16:creationId xmlns:a16="http://schemas.microsoft.com/office/drawing/2014/main" id="{84BD7D55-B039-40E6-B602-D3702FDB33EB}"/>
              </a:ext>
            </a:extLst>
          </p:cNvPr>
          <p:cNvCxnSpPr/>
          <p:nvPr/>
        </p:nvCxnSpPr>
        <p:spPr>
          <a:xfrm>
            <a:off x="6203970" y="4354876"/>
            <a:ext cx="175319" cy="0"/>
          </a:xfrm>
          <a:prstGeom prst="straightConnector1">
            <a:avLst/>
          </a:prstGeom>
          <a:ln w="12700">
            <a:solidFill>
              <a:srgbClr val="66666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Rechte verbindingslijn met pijl 23">
            <a:extLst>
              <a:ext uri="{FF2B5EF4-FFF2-40B4-BE49-F238E27FC236}">
                <a16:creationId xmlns:a16="http://schemas.microsoft.com/office/drawing/2014/main" id="{47A16A36-EB45-422B-9C5B-BF902C1ADE2A}"/>
              </a:ext>
            </a:extLst>
          </p:cNvPr>
          <p:cNvCxnSpPr>
            <a:cxnSpLocks/>
          </p:cNvCxnSpPr>
          <p:nvPr/>
        </p:nvCxnSpPr>
        <p:spPr>
          <a:xfrm>
            <a:off x="6214130" y="5035596"/>
            <a:ext cx="175319" cy="0"/>
          </a:xfrm>
          <a:prstGeom prst="straightConnector1">
            <a:avLst/>
          </a:prstGeom>
          <a:ln w="12700">
            <a:solidFill>
              <a:srgbClr val="66666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Rechte verbindingslijn met pijl 24">
            <a:extLst>
              <a:ext uri="{FF2B5EF4-FFF2-40B4-BE49-F238E27FC236}">
                <a16:creationId xmlns:a16="http://schemas.microsoft.com/office/drawing/2014/main" id="{0C38E29D-22D4-49B9-A7AF-18E0EF75C572}"/>
              </a:ext>
            </a:extLst>
          </p:cNvPr>
          <p:cNvCxnSpPr>
            <a:cxnSpLocks/>
          </p:cNvCxnSpPr>
          <p:nvPr/>
        </p:nvCxnSpPr>
        <p:spPr>
          <a:xfrm>
            <a:off x="6417330" y="5238796"/>
            <a:ext cx="175319" cy="0"/>
          </a:xfrm>
          <a:prstGeom prst="straightConnector1">
            <a:avLst/>
          </a:prstGeom>
          <a:ln w="12700">
            <a:solidFill>
              <a:srgbClr val="66666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6" name="Rechte verbindingslijn met pijl 25">
            <a:extLst>
              <a:ext uri="{FF2B5EF4-FFF2-40B4-BE49-F238E27FC236}">
                <a16:creationId xmlns:a16="http://schemas.microsoft.com/office/drawing/2014/main" id="{161C86E4-F7FE-4E04-86E9-1D2D72BCFB1C}"/>
              </a:ext>
            </a:extLst>
          </p:cNvPr>
          <p:cNvCxnSpPr>
            <a:cxnSpLocks/>
          </p:cNvCxnSpPr>
          <p:nvPr/>
        </p:nvCxnSpPr>
        <p:spPr>
          <a:xfrm>
            <a:off x="6203970" y="5736636"/>
            <a:ext cx="175319" cy="0"/>
          </a:xfrm>
          <a:prstGeom prst="straightConnector1">
            <a:avLst/>
          </a:prstGeom>
          <a:ln w="12700">
            <a:solidFill>
              <a:srgbClr val="66666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AEBF6AD-F9EC-4555-AB09-6F03F78ECEB0}"/>
              </a:ext>
            </a:extLst>
          </p:cNvPr>
          <p:cNvSpPr/>
          <p:nvPr/>
        </p:nvSpPr>
        <p:spPr>
          <a:xfrm>
            <a:off x="1018173" y="4405254"/>
            <a:ext cx="2562585" cy="19023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867">
              <a:solidFill>
                <a:srgbClr val="FFFFFF"/>
              </a:solidFill>
              <a:latin typeface="Calibri" panose="020F0502020204030204"/>
            </a:endParaRPr>
          </a:p>
        </p:txBody>
      </p:sp>
      <p:sp>
        <p:nvSpPr>
          <p:cNvPr id="28" name="Rectangle 27">
            <a:extLst>
              <a:ext uri="{FF2B5EF4-FFF2-40B4-BE49-F238E27FC236}">
                <a16:creationId xmlns:a16="http://schemas.microsoft.com/office/drawing/2014/main" id="{E7D484B6-B045-4ADF-A38C-E085EFC9F181}"/>
              </a:ext>
            </a:extLst>
          </p:cNvPr>
          <p:cNvSpPr/>
          <p:nvPr/>
        </p:nvSpPr>
        <p:spPr>
          <a:xfrm>
            <a:off x="1948524" y="5259421"/>
            <a:ext cx="2562585" cy="12853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867">
              <a:solidFill>
                <a:srgbClr val="FFFFFF"/>
              </a:solidFill>
              <a:latin typeface="Calibri" panose="020F0502020204030204"/>
            </a:endParaRPr>
          </a:p>
        </p:txBody>
      </p:sp>
      <p:sp>
        <p:nvSpPr>
          <p:cNvPr id="29" name="Rectangle 28">
            <a:extLst>
              <a:ext uri="{FF2B5EF4-FFF2-40B4-BE49-F238E27FC236}">
                <a16:creationId xmlns:a16="http://schemas.microsoft.com/office/drawing/2014/main" id="{B460D33C-325A-44D3-A956-DBF15B68369E}"/>
              </a:ext>
            </a:extLst>
          </p:cNvPr>
          <p:cNvSpPr/>
          <p:nvPr/>
        </p:nvSpPr>
        <p:spPr>
          <a:xfrm>
            <a:off x="1103662" y="5049453"/>
            <a:ext cx="2562585" cy="12853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867">
              <a:solidFill>
                <a:srgbClr val="FFFFFF"/>
              </a:solidFill>
              <a:latin typeface="Calibri" panose="020F0502020204030204"/>
            </a:endParaRPr>
          </a:p>
        </p:txBody>
      </p:sp>
      <p:pic>
        <p:nvPicPr>
          <p:cNvPr id="8" name="Graphic 7">
            <a:extLst>
              <a:ext uri="{FF2B5EF4-FFF2-40B4-BE49-F238E27FC236}">
                <a16:creationId xmlns:a16="http://schemas.microsoft.com/office/drawing/2014/main" id="{C1A89028-0A8A-4C3A-AB98-F8662B1C590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1232" y="4579605"/>
            <a:ext cx="1359633" cy="1359633"/>
          </a:xfrm>
          <a:prstGeom prst="rect">
            <a:avLst/>
          </a:prstGeom>
        </p:spPr>
      </p:pic>
      <p:sp>
        <p:nvSpPr>
          <p:cNvPr id="11" name="Rectangle 10">
            <a:extLst>
              <a:ext uri="{FF2B5EF4-FFF2-40B4-BE49-F238E27FC236}">
                <a16:creationId xmlns:a16="http://schemas.microsoft.com/office/drawing/2014/main" id="{0294AA0C-BE54-4241-951A-807C907F0BE5}"/>
              </a:ext>
            </a:extLst>
          </p:cNvPr>
          <p:cNvSpPr/>
          <p:nvPr/>
        </p:nvSpPr>
        <p:spPr>
          <a:xfrm>
            <a:off x="1718605" y="4529981"/>
            <a:ext cx="2038379" cy="2678234"/>
          </a:xfrm>
          <a:prstGeom prst="rect">
            <a:avLst/>
          </a:prstGeom>
        </p:spPr>
        <p:txBody>
          <a:bodyPr wrap="none">
            <a:spAutoFit/>
          </a:bodyPr>
          <a:lstStyle/>
          <a:p>
            <a:pPr defTabSz="914377"/>
            <a:r>
              <a:rPr lang="en-US" sz="1867" dirty="0">
                <a:solidFill>
                  <a:srgbClr val="000000"/>
                </a:solidFill>
                <a:latin typeface="Calibri" panose="020F0502020204030204"/>
              </a:rPr>
              <a:t>Orders</a:t>
            </a:r>
          </a:p>
          <a:p>
            <a:pPr defTabSz="914377"/>
            <a:r>
              <a:rPr lang="en-US" sz="1867" dirty="0">
                <a:solidFill>
                  <a:srgbClr val="000000"/>
                </a:solidFill>
                <a:latin typeface="Calibri" panose="020F0502020204030204"/>
              </a:rPr>
              <a:t>TPD</a:t>
            </a:r>
          </a:p>
          <a:p>
            <a:pPr defTabSz="914377"/>
            <a:r>
              <a:rPr lang="en-US" sz="1867" dirty="0">
                <a:solidFill>
                  <a:srgbClr val="000000"/>
                </a:solidFill>
                <a:latin typeface="Calibri" panose="020F0502020204030204"/>
              </a:rPr>
              <a:t>Quotations</a:t>
            </a:r>
          </a:p>
          <a:p>
            <a:pPr defTabSz="914377"/>
            <a:r>
              <a:rPr lang="en-US" sz="1867" dirty="0">
                <a:solidFill>
                  <a:srgbClr val="000000"/>
                </a:solidFill>
                <a:latin typeface="Calibri" panose="020F0502020204030204"/>
              </a:rPr>
              <a:t>Invoices</a:t>
            </a:r>
          </a:p>
          <a:p>
            <a:pPr defTabSz="914377"/>
            <a:r>
              <a:rPr lang="en-US" sz="1867" dirty="0">
                <a:solidFill>
                  <a:srgbClr val="000000"/>
                </a:solidFill>
                <a:latin typeface="Calibri" panose="020F0502020204030204"/>
              </a:rPr>
              <a:t>Dispatch Advice</a:t>
            </a:r>
          </a:p>
          <a:p>
            <a:pPr defTabSz="914377"/>
            <a:r>
              <a:rPr lang="en-US" sz="1867" dirty="0">
                <a:solidFill>
                  <a:srgbClr val="000000"/>
                </a:solidFill>
                <a:latin typeface="Calibri" panose="020F0502020204030204"/>
              </a:rPr>
              <a:t>Measurement data</a:t>
            </a:r>
          </a:p>
          <a:p>
            <a:pPr defTabSz="914377"/>
            <a:r>
              <a:rPr lang="en-US" sz="1867" dirty="0">
                <a:solidFill>
                  <a:srgbClr val="000000"/>
                </a:solidFill>
                <a:latin typeface="Calibri" panose="020F0502020204030204"/>
              </a:rPr>
              <a:t>Steel certificates</a:t>
            </a:r>
          </a:p>
          <a:p>
            <a:pPr defTabSz="914377"/>
            <a:r>
              <a:rPr lang="en-US" sz="1867" dirty="0">
                <a:solidFill>
                  <a:srgbClr val="000000"/>
                </a:solidFill>
                <a:latin typeface="Calibri" panose="020F0502020204030204"/>
              </a:rPr>
              <a:t>What-If? </a:t>
            </a:r>
          </a:p>
          <a:p>
            <a:pPr defTabSz="914377"/>
            <a:endParaRPr lang="en-GB" sz="1867" dirty="0">
              <a:solidFill>
                <a:srgbClr val="000000"/>
              </a:solidFill>
              <a:latin typeface="Calibri" panose="020F0502020204030204"/>
            </a:endParaRPr>
          </a:p>
        </p:txBody>
      </p:sp>
      <p:pic>
        <p:nvPicPr>
          <p:cNvPr id="30" name="Graphic 29">
            <a:extLst>
              <a:ext uri="{FF2B5EF4-FFF2-40B4-BE49-F238E27FC236}">
                <a16:creationId xmlns:a16="http://schemas.microsoft.com/office/drawing/2014/main" id="{3913ED37-CCF3-4835-B1B4-2E7973E67CF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07304" y="5498457"/>
            <a:ext cx="609600" cy="609600"/>
          </a:xfrm>
          <a:prstGeom prst="rect">
            <a:avLst/>
          </a:prstGeom>
        </p:spPr>
      </p:pic>
      <p:pic>
        <p:nvPicPr>
          <p:cNvPr id="39" name="Graphic 38">
            <a:extLst>
              <a:ext uri="{FF2B5EF4-FFF2-40B4-BE49-F238E27FC236}">
                <a16:creationId xmlns:a16="http://schemas.microsoft.com/office/drawing/2014/main" id="{EB3D3CD3-8FCD-4288-85B9-8EA8897A0DB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046044" y="5038024"/>
            <a:ext cx="609600" cy="609600"/>
          </a:xfrm>
          <a:prstGeom prst="rect">
            <a:avLst/>
          </a:prstGeom>
        </p:spPr>
      </p:pic>
      <p:pic>
        <p:nvPicPr>
          <p:cNvPr id="41" name="Graphic 40">
            <a:extLst>
              <a:ext uri="{FF2B5EF4-FFF2-40B4-BE49-F238E27FC236}">
                <a16:creationId xmlns:a16="http://schemas.microsoft.com/office/drawing/2014/main" id="{A5F2AF38-31B1-441D-926C-7F3390114E0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75807" y="4544837"/>
            <a:ext cx="609600" cy="609600"/>
          </a:xfrm>
          <a:prstGeom prst="rect">
            <a:avLst/>
          </a:prstGeom>
        </p:spPr>
      </p:pic>
      <p:pic>
        <p:nvPicPr>
          <p:cNvPr id="43" name="Graphic 42">
            <a:extLst>
              <a:ext uri="{FF2B5EF4-FFF2-40B4-BE49-F238E27FC236}">
                <a16:creationId xmlns:a16="http://schemas.microsoft.com/office/drawing/2014/main" id="{477307C5-6988-49BB-ADF7-23AEF2FC31B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898724" y="1918691"/>
            <a:ext cx="609600" cy="609600"/>
          </a:xfrm>
          <a:prstGeom prst="rect">
            <a:avLst/>
          </a:prstGeom>
        </p:spPr>
      </p:pic>
      <p:pic>
        <p:nvPicPr>
          <p:cNvPr id="45" name="Graphic 44">
            <a:extLst>
              <a:ext uri="{FF2B5EF4-FFF2-40B4-BE49-F238E27FC236}">
                <a16:creationId xmlns:a16="http://schemas.microsoft.com/office/drawing/2014/main" id="{42506EF1-6B53-43DB-8805-DC2FB9B27A7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571608" y="3142139"/>
            <a:ext cx="609600" cy="609600"/>
          </a:xfrm>
          <a:prstGeom prst="rect">
            <a:avLst/>
          </a:prstGeom>
        </p:spPr>
      </p:pic>
      <p:pic>
        <p:nvPicPr>
          <p:cNvPr id="51" name="Graphic 50">
            <a:extLst>
              <a:ext uri="{FF2B5EF4-FFF2-40B4-BE49-F238E27FC236}">
                <a16:creationId xmlns:a16="http://schemas.microsoft.com/office/drawing/2014/main" id="{FA36819E-84A3-47B5-858E-A3A2780B486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621017" y="6277553"/>
            <a:ext cx="609600" cy="609600"/>
          </a:xfrm>
          <a:prstGeom prst="rect">
            <a:avLst/>
          </a:prstGeom>
        </p:spPr>
      </p:pic>
      <p:pic>
        <p:nvPicPr>
          <p:cNvPr id="54" name="Graphic 53">
            <a:extLst>
              <a:ext uri="{FF2B5EF4-FFF2-40B4-BE49-F238E27FC236}">
                <a16:creationId xmlns:a16="http://schemas.microsoft.com/office/drawing/2014/main" id="{BDAE1C33-87B6-4AD0-9B16-83EDE3B94D6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957448" y="2439368"/>
            <a:ext cx="609600" cy="609600"/>
          </a:xfrm>
          <a:prstGeom prst="rect">
            <a:avLst/>
          </a:prstGeom>
        </p:spPr>
      </p:pic>
      <p:pic>
        <p:nvPicPr>
          <p:cNvPr id="55" name="Graphic 54">
            <a:extLst>
              <a:ext uri="{FF2B5EF4-FFF2-40B4-BE49-F238E27FC236}">
                <a16:creationId xmlns:a16="http://schemas.microsoft.com/office/drawing/2014/main" id="{BE50FFF5-C562-4CB0-9D0C-6C0C809E250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312605" y="1932636"/>
            <a:ext cx="609600" cy="609600"/>
          </a:xfrm>
          <a:prstGeom prst="rect">
            <a:avLst/>
          </a:prstGeom>
        </p:spPr>
      </p:pic>
      <p:pic>
        <p:nvPicPr>
          <p:cNvPr id="56" name="Graphic 55">
            <a:extLst>
              <a:ext uri="{FF2B5EF4-FFF2-40B4-BE49-F238E27FC236}">
                <a16:creationId xmlns:a16="http://schemas.microsoft.com/office/drawing/2014/main" id="{F2F023DD-E2AA-403D-981B-E2B2CE2FB6B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61812" y="3155277"/>
            <a:ext cx="609600" cy="609600"/>
          </a:xfrm>
          <a:prstGeom prst="rect">
            <a:avLst/>
          </a:prstGeom>
        </p:spPr>
      </p:pic>
      <p:pic>
        <p:nvPicPr>
          <p:cNvPr id="57" name="Graphic 56">
            <a:extLst>
              <a:ext uri="{FF2B5EF4-FFF2-40B4-BE49-F238E27FC236}">
                <a16:creationId xmlns:a16="http://schemas.microsoft.com/office/drawing/2014/main" id="{F7DB4F41-5DC6-4192-8BB0-7D28F7E16E2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389448" y="1906288"/>
            <a:ext cx="609600" cy="609600"/>
          </a:xfrm>
          <a:prstGeom prst="rect">
            <a:avLst/>
          </a:prstGeom>
        </p:spPr>
      </p:pic>
      <p:sp>
        <p:nvSpPr>
          <p:cNvPr id="58" name="Oval 57">
            <a:extLst>
              <a:ext uri="{FF2B5EF4-FFF2-40B4-BE49-F238E27FC236}">
                <a16:creationId xmlns:a16="http://schemas.microsoft.com/office/drawing/2014/main" id="{3783B2B4-12ED-44E8-B8EC-88F88B228011}"/>
              </a:ext>
            </a:extLst>
          </p:cNvPr>
          <p:cNvSpPr/>
          <p:nvPr/>
        </p:nvSpPr>
        <p:spPr>
          <a:xfrm>
            <a:off x="708032" y="2881721"/>
            <a:ext cx="2730528" cy="1610708"/>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867">
              <a:solidFill>
                <a:srgbClr val="FFFFFF"/>
              </a:solidFill>
              <a:latin typeface="Calibri" panose="020F0502020204030204"/>
            </a:endParaRPr>
          </a:p>
        </p:txBody>
      </p:sp>
      <p:sp>
        <p:nvSpPr>
          <p:cNvPr id="60" name="Rechthoek: afgeronde hoeken 20">
            <a:extLst>
              <a:ext uri="{FF2B5EF4-FFF2-40B4-BE49-F238E27FC236}">
                <a16:creationId xmlns:a16="http://schemas.microsoft.com/office/drawing/2014/main" id="{C7C2C9C7-41D4-4990-95D4-35B8F5630360}"/>
              </a:ext>
            </a:extLst>
          </p:cNvPr>
          <p:cNvSpPr/>
          <p:nvPr/>
        </p:nvSpPr>
        <p:spPr>
          <a:xfrm>
            <a:off x="7750629" y="2488624"/>
            <a:ext cx="1167216" cy="2368451"/>
          </a:xfrm>
          <a:prstGeom prst="round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nl-NL" sz="1467" dirty="0">
                <a:solidFill>
                  <a:srgbClr val="FFFFFF"/>
                </a:solidFill>
                <a:latin typeface="Calibri" panose="020F0502020204030204"/>
              </a:rPr>
              <a:t>Steel Producer</a:t>
            </a:r>
          </a:p>
        </p:txBody>
      </p:sp>
      <p:sp>
        <p:nvSpPr>
          <p:cNvPr id="61" name="Rechthoek: afgeronde hoeken 20">
            <a:extLst>
              <a:ext uri="{FF2B5EF4-FFF2-40B4-BE49-F238E27FC236}">
                <a16:creationId xmlns:a16="http://schemas.microsoft.com/office/drawing/2014/main" id="{5EC1F264-6DA7-4BD2-A026-8A95FFB32659}"/>
              </a:ext>
            </a:extLst>
          </p:cNvPr>
          <p:cNvSpPr/>
          <p:nvPr/>
        </p:nvSpPr>
        <p:spPr>
          <a:xfrm>
            <a:off x="7750629" y="5025118"/>
            <a:ext cx="1167216" cy="1029924"/>
          </a:xfrm>
          <a:prstGeom prst="round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nl-NL" sz="1467" dirty="0">
                <a:solidFill>
                  <a:srgbClr val="FFFFFF"/>
                </a:solidFill>
                <a:latin typeface="Calibri" panose="020F0502020204030204"/>
              </a:rPr>
              <a:t>Steel Producer</a:t>
            </a:r>
          </a:p>
        </p:txBody>
      </p:sp>
      <p:cxnSp>
        <p:nvCxnSpPr>
          <p:cNvPr id="62" name="Rechte verbindingslijn met pijl 8">
            <a:extLst>
              <a:ext uri="{FF2B5EF4-FFF2-40B4-BE49-F238E27FC236}">
                <a16:creationId xmlns:a16="http://schemas.microsoft.com/office/drawing/2014/main" id="{87BAB24F-9C6B-43DF-A40A-4EE7A0FF8C54}"/>
              </a:ext>
            </a:extLst>
          </p:cNvPr>
          <p:cNvCxnSpPr/>
          <p:nvPr/>
        </p:nvCxnSpPr>
        <p:spPr>
          <a:xfrm>
            <a:off x="7564022" y="3157535"/>
            <a:ext cx="175319" cy="0"/>
          </a:xfrm>
          <a:prstGeom prst="straightConnector1">
            <a:avLst/>
          </a:prstGeom>
          <a:ln w="12700">
            <a:solidFill>
              <a:srgbClr val="66666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5" name="Rechte verbindingslijn met pijl 8">
            <a:extLst>
              <a:ext uri="{FF2B5EF4-FFF2-40B4-BE49-F238E27FC236}">
                <a16:creationId xmlns:a16="http://schemas.microsoft.com/office/drawing/2014/main" id="{A1D3BB36-978D-4ABF-9D01-B74B8C556E36}"/>
              </a:ext>
            </a:extLst>
          </p:cNvPr>
          <p:cNvCxnSpPr/>
          <p:nvPr/>
        </p:nvCxnSpPr>
        <p:spPr>
          <a:xfrm>
            <a:off x="7567739" y="4425060"/>
            <a:ext cx="175319" cy="0"/>
          </a:xfrm>
          <a:prstGeom prst="straightConnector1">
            <a:avLst/>
          </a:prstGeom>
          <a:ln w="12700">
            <a:solidFill>
              <a:srgbClr val="66666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6" name="Rechte verbindingslijn met pijl 8">
            <a:extLst>
              <a:ext uri="{FF2B5EF4-FFF2-40B4-BE49-F238E27FC236}">
                <a16:creationId xmlns:a16="http://schemas.microsoft.com/office/drawing/2014/main" id="{5CA433DF-C7A4-4A01-A95D-5CDD25B78EA0}"/>
              </a:ext>
            </a:extLst>
          </p:cNvPr>
          <p:cNvCxnSpPr/>
          <p:nvPr/>
        </p:nvCxnSpPr>
        <p:spPr>
          <a:xfrm>
            <a:off x="7567739" y="5460261"/>
            <a:ext cx="175319" cy="0"/>
          </a:xfrm>
          <a:prstGeom prst="straightConnector1">
            <a:avLst/>
          </a:prstGeom>
          <a:ln w="12700">
            <a:solidFill>
              <a:srgbClr val="66666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67" name="Graphic 66">
            <a:extLst>
              <a:ext uri="{FF2B5EF4-FFF2-40B4-BE49-F238E27FC236}">
                <a16:creationId xmlns:a16="http://schemas.microsoft.com/office/drawing/2014/main" id="{EE8F53B7-075E-4AA2-B989-951635ECDA1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010647" y="1906288"/>
            <a:ext cx="609600" cy="609600"/>
          </a:xfrm>
          <a:prstGeom prst="rect">
            <a:avLst/>
          </a:prstGeom>
        </p:spPr>
      </p:pic>
      <p:sp>
        <p:nvSpPr>
          <p:cNvPr id="68" name="Oval 67">
            <a:extLst>
              <a:ext uri="{FF2B5EF4-FFF2-40B4-BE49-F238E27FC236}">
                <a16:creationId xmlns:a16="http://schemas.microsoft.com/office/drawing/2014/main" id="{E3042017-5899-448A-9615-9C602B3166EF}"/>
              </a:ext>
            </a:extLst>
          </p:cNvPr>
          <p:cNvSpPr/>
          <p:nvPr/>
        </p:nvSpPr>
        <p:spPr>
          <a:xfrm>
            <a:off x="6184485" y="1397738"/>
            <a:ext cx="2730528" cy="1587652"/>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867">
              <a:solidFill>
                <a:srgbClr val="FFFFFF"/>
              </a:solidFill>
              <a:latin typeface="Calibri" panose="020F0502020204030204"/>
            </a:endParaRPr>
          </a:p>
        </p:txBody>
      </p:sp>
    </p:spTree>
    <p:extLst>
      <p:ext uri="{BB962C8B-B14F-4D97-AF65-F5344CB8AC3E}">
        <p14:creationId xmlns:p14="http://schemas.microsoft.com/office/powerpoint/2010/main" val="3246951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par>
                                <p:cTn id="11" presetID="10" presetClass="entr" presetSubtype="0" fill="hold"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58" grpId="0" animBg="1"/>
      <p:bldP spid="6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p:txBody>
          <a:bodyPr/>
          <a:lstStyle/>
          <a:p>
            <a:r>
              <a:rPr lang="nl-NL" dirty="0"/>
              <a:t>OPEN INITIATIVE, OPEN STANDARD</a:t>
            </a:r>
          </a:p>
        </p:txBody>
      </p:sp>
      <p:sp>
        <p:nvSpPr>
          <p:cNvPr id="3" name="Tijdelijke aanduiding voor tekst 2"/>
          <p:cNvSpPr>
            <a:spLocks noGrp="1"/>
          </p:cNvSpPr>
          <p:nvPr>
            <p:ph type="body" sz="quarter" idx="11"/>
          </p:nvPr>
        </p:nvSpPr>
        <p:spPr>
          <a:xfrm>
            <a:off x="240280" y="1420671"/>
            <a:ext cx="11951720" cy="570527"/>
          </a:xfrm>
        </p:spPr>
        <p:txBody>
          <a:bodyPr/>
          <a:lstStyle/>
          <a:p>
            <a:r>
              <a:rPr lang="en-US" sz="2400" dirty="0"/>
              <a:t>Manufacturing companies, ERP-vendors, Knowledge Institutes, and sector organizations</a:t>
            </a:r>
          </a:p>
        </p:txBody>
      </p:sp>
      <p:grpSp>
        <p:nvGrpSpPr>
          <p:cNvPr id="4" name="Groep 3">
            <a:extLst>
              <a:ext uri="{FF2B5EF4-FFF2-40B4-BE49-F238E27FC236}">
                <a16:creationId xmlns:a16="http://schemas.microsoft.com/office/drawing/2014/main" id="{8998CECF-F96D-4C10-94CF-7FB6F75EEB2A}"/>
              </a:ext>
            </a:extLst>
          </p:cNvPr>
          <p:cNvGrpSpPr/>
          <p:nvPr/>
        </p:nvGrpSpPr>
        <p:grpSpPr>
          <a:xfrm>
            <a:off x="525156" y="2586631"/>
            <a:ext cx="11089713" cy="4181411"/>
            <a:chOff x="393866" y="1939973"/>
            <a:chExt cx="8317285" cy="3136058"/>
          </a:xfrm>
        </p:grpSpPr>
        <p:pic>
          <p:nvPicPr>
            <p:cNvPr id="27" name="Picture 6" descr="http://www.biyond.nl/_cache/_public/Norma-Groep-logo_YXJfMTgweDE4MF9kX3BuZ18vX2Fzc2V0L19wcml2YXRlL3BvcnRmb2xpby8xNDk_d8314395.png">
              <a:extLst>
                <a:ext uri="{FF2B5EF4-FFF2-40B4-BE49-F238E27FC236}">
                  <a16:creationId xmlns:a16="http://schemas.microsoft.com/office/drawing/2014/main" id="{55B44C9B-3B15-4C5B-BC86-30A368D6CEB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1079" b="30565"/>
            <a:stretch/>
          </p:blipFill>
          <p:spPr bwMode="auto">
            <a:xfrm>
              <a:off x="5818537" y="3382738"/>
              <a:ext cx="930558" cy="35692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73">
              <a:extLst>
                <a:ext uri="{FF2B5EF4-FFF2-40B4-BE49-F238E27FC236}">
                  <a16:creationId xmlns:a16="http://schemas.microsoft.com/office/drawing/2014/main" id="{FE71ABE8-9D88-4258-AD42-82274D6F6DFC}"/>
                </a:ext>
              </a:extLst>
            </p:cNvPr>
            <p:cNvPicPr>
              <a:picLocks noChangeAspect="1"/>
            </p:cNvPicPr>
            <p:nvPr/>
          </p:nvPicPr>
          <p:blipFill>
            <a:blip r:embed="rId3"/>
            <a:stretch>
              <a:fillRect/>
            </a:stretch>
          </p:blipFill>
          <p:spPr>
            <a:xfrm>
              <a:off x="578308" y="3764219"/>
              <a:ext cx="761254" cy="761254"/>
            </a:xfrm>
            <a:prstGeom prst="rect">
              <a:avLst/>
            </a:prstGeom>
          </p:spPr>
        </p:pic>
        <p:pic>
          <p:nvPicPr>
            <p:cNvPr id="8" name="Afbeelding 292">
              <a:extLst>
                <a:ext uri="{FF2B5EF4-FFF2-40B4-BE49-F238E27FC236}">
                  <a16:creationId xmlns:a16="http://schemas.microsoft.com/office/drawing/2014/main" id="{76B4CB84-86EC-4064-9445-1094307E7144}"/>
                </a:ext>
              </a:extLst>
            </p:cNvPr>
            <p:cNvPicPr/>
            <p:nvPr/>
          </p:nvPicPr>
          <p:blipFill>
            <a:blip r:embed="rId4">
              <a:extLst>
                <a:ext uri="{28A0092B-C50C-407E-A947-70E740481C1C}">
                  <a14:useLocalDpi xmlns:a14="http://schemas.microsoft.com/office/drawing/2010/main" val="0"/>
                </a:ext>
              </a:extLst>
            </a:blip>
            <a:stretch>
              <a:fillRect/>
            </a:stretch>
          </p:blipFill>
          <p:spPr>
            <a:xfrm>
              <a:off x="525903" y="2020333"/>
              <a:ext cx="1027836" cy="461949"/>
            </a:xfrm>
            <a:prstGeom prst="rect">
              <a:avLst/>
            </a:prstGeom>
          </p:spPr>
        </p:pic>
        <p:pic>
          <p:nvPicPr>
            <p:cNvPr id="9" name="Afbeelding 290">
              <a:extLst>
                <a:ext uri="{FF2B5EF4-FFF2-40B4-BE49-F238E27FC236}">
                  <a16:creationId xmlns:a16="http://schemas.microsoft.com/office/drawing/2014/main" id="{57782250-7811-434B-941F-769E2C395B27}"/>
                </a:ext>
              </a:extLst>
            </p:cNvPr>
            <p:cNvPicPr/>
            <p:nvPr/>
          </p:nvPicPr>
          <p:blipFill rotWithShape="1">
            <a:blip r:embed="rId5" cstate="print">
              <a:extLst>
                <a:ext uri="{28A0092B-C50C-407E-A947-70E740481C1C}">
                  <a14:useLocalDpi xmlns:a14="http://schemas.microsoft.com/office/drawing/2010/main" val="0"/>
                </a:ext>
              </a:extLst>
            </a:blip>
            <a:srcRect t="11111" b="12699"/>
            <a:stretch/>
          </p:blipFill>
          <p:spPr bwMode="auto">
            <a:xfrm>
              <a:off x="1841760" y="3869351"/>
              <a:ext cx="569968" cy="559105"/>
            </a:xfrm>
            <a:prstGeom prst="rect">
              <a:avLst/>
            </a:prstGeom>
            <a:ln>
              <a:noFill/>
            </a:ln>
            <a:extLst>
              <a:ext uri="{53640926-AAD7-44D8-BBD7-CCE9431645EC}">
                <a14:shadowObscured xmlns:a14="http://schemas.microsoft.com/office/drawing/2010/main"/>
              </a:ext>
            </a:extLst>
          </p:spPr>
        </p:pic>
        <p:pic>
          <p:nvPicPr>
            <p:cNvPr id="10" name="Afbeelding 297">
              <a:extLst>
                <a:ext uri="{FF2B5EF4-FFF2-40B4-BE49-F238E27FC236}">
                  <a16:creationId xmlns:a16="http://schemas.microsoft.com/office/drawing/2014/main" id="{96EEB2AE-7D3D-4149-9801-70E5358183AD}"/>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7366652" y="2192291"/>
              <a:ext cx="421824" cy="425627"/>
            </a:xfrm>
            <a:prstGeom prst="rect">
              <a:avLst/>
            </a:prstGeom>
          </p:spPr>
        </p:pic>
        <p:pic>
          <p:nvPicPr>
            <p:cNvPr id="12" name="Afbeelding 298">
              <a:extLst>
                <a:ext uri="{FF2B5EF4-FFF2-40B4-BE49-F238E27FC236}">
                  <a16:creationId xmlns:a16="http://schemas.microsoft.com/office/drawing/2014/main" id="{5612001A-2C94-413D-8B91-E2B1770D85CD}"/>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4948338" y="2099785"/>
              <a:ext cx="937371" cy="354161"/>
            </a:xfrm>
            <a:prstGeom prst="rect">
              <a:avLst/>
            </a:prstGeom>
          </p:spPr>
        </p:pic>
        <p:pic>
          <p:nvPicPr>
            <p:cNvPr id="13" name="Afbeelding 299">
              <a:extLst>
                <a:ext uri="{FF2B5EF4-FFF2-40B4-BE49-F238E27FC236}">
                  <a16:creationId xmlns:a16="http://schemas.microsoft.com/office/drawing/2014/main" id="{03CCBE7F-0B58-4ED5-BB3F-39B13C637BB0}"/>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6180677" y="2069200"/>
              <a:ext cx="1031204" cy="515362"/>
            </a:xfrm>
            <a:prstGeom prst="rect">
              <a:avLst/>
            </a:prstGeom>
          </p:spPr>
        </p:pic>
        <p:pic>
          <p:nvPicPr>
            <p:cNvPr id="14" name="Picture 51" descr="C:\Users\lalolip\AppData\Local\Microsoft\Windows\Temporary Internet Files\Content.Word\FG.JPG">
              <a:extLst>
                <a:ext uri="{FF2B5EF4-FFF2-40B4-BE49-F238E27FC236}">
                  <a16:creationId xmlns:a16="http://schemas.microsoft.com/office/drawing/2014/main" id="{3709A15B-4D9E-4783-BF7A-736F5F7FBA73}"/>
                </a:ext>
              </a:extLst>
            </p:cNvPr>
            <p:cNvPicPr/>
            <p:nvPr/>
          </p:nvPicPr>
          <p:blipFill rotWithShape="1">
            <a:blip r:embed="rId9" cstate="print">
              <a:extLst>
                <a:ext uri="{28A0092B-C50C-407E-A947-70E740481C1C}">
                  <a14:useLocalDpi xmlns:a14="http://schemas.microsoft.com/office/drawing/2010/main" val="0"/>
                </a:ext>
              </a:extLst>
            </a:blip>
            <a:srcRect l="6859"/>
            <a:stretch/>
          </p:blipFill>
          <p:spPr bwMode="auto">
            <a:xfrm>
              <a:off x="3747726" y="1939973"/>
              <a:ext cx="810334" cy="542309"/>
            </a:xfrm>
            <a:prstGeom prst="rect">
              <a:avLst/>
            </a:prstGeom>
            <a:noFill/>
            <a:ln>
              <a:noFill/>
            </a:ln>
          </p:spPr>
        </p:pic>
        <p:pic>
          <p:nvPicPr>
            <p:cNvPr id="15" name="Picture 52" descr="Logo">
              <a:extLst>
                <a:ext uri="{FF2B5EF4-FFF2-40B4-BE49-F238E27FC236}">
                  <a16:creationId xmlns:a16="http://schemas.microsoft.com/office/drawing/2014/main" id="{0955E3BB-21E6-457D-AC9A-14E69BB1DC0B}"/>
                </a:ext>
              </a:extLst>
            </p:cNvPr>
            <p:cNvPicPr/>
            <p:nvPr/>
          </p:nvPicPr>
          <p:blipFill>
            <a:blip r:embed="rId10">
              <a:extLst>
                <a:ext uri="{28A0092B-C50C-407E-A947-70E740481C1C}">
                  <a14:useLocalDpi xmlns:a14="http://schemas.microsoft.com/office/drawing/2010/main" val="0"/>
                </a:ext>
              </a:extLst>
            </a:blip>
            <a:srcRect/>
            <a:stretch>
              <a:fillRect/>
            </a:stretch>
          </p:blipFill>
          <p:spPr bwMode="auto">
            <a:xfrm>
              <a:off x="8155369" y="3666847"/>
              <a:ext cx="555782" cy="569737"/>
            </a:xfrm>
            <a:prstGeom prst="rect">
              <a:avLst/>
            </a:prstGeom>
            <a:noFill/>
            <a:ln>
              <a:noFill/>
            </a:ln>
          </p:spPr>
        </p:pic>
        <p:pic>
          <p:nvPicPr>
            <p:cNvPr id="16" name="Picture 53">
              <a:extLst>
                <a:ext uri="{FF2B5EF4-FFF2-40B4-BE49-F238E27FC236}">
                  <a16:creationId xmlns:a16="http://schemas.microsoft.com/office/drawing/2014/main" id="{84018AF7-DB9E-4FE0-A5B3-F72BDB80B678}"/>
                </a:ext>
              </a:extLst>
            </p:cNvPr>
            <p:cNvPicPr>
              <a:picLocks noChangeAspect="1"/>
            </p:cNvPicPr>
            <p:nvPr/>
          </p:nvPicPr>
          <p:blipFill>
            <a:blip r:embed="rId11"/>
            <a:stretch>
              <a:fillRect/>
            </a:stretch>
          </p:blipFill>
          <p:spPr>
            <a:xfrm>
              <a:off x="2785310" y="3969487"/>
              <a:ext cx="861903" cy="427895"/>
            </a:xfrm>
            <a:prstGeom prst="rect">
              <a:avLst/>
            </a:prstGeom>
          </p:spPr>
        </p:pic>
        <p:pic>
          <p:nvPicPr>
            <p:cNvPr id="17" name="Picture 54">
              <a:extLst>
                <a:ext uri="{FF2B5EF4-FFF2-40B4-BE49-F238E27FC236}">
                  <a16:creationId xmlns:a16="http://schemas.microsoft.com/office/drawing/2014/main" id="{97A6E3AD-07E7-4ABC-8B07-96A10314AFD9}"/>
                </a:ext>
              </a:extLst>
            </p:cNvPr>
            <p:cNvPicPr>
              <a:picLocks noChangeAspect="1"/>
            </p:cNvPicPr>
            <p:nvPr/>
          </p:nvPicPr>
          <p:blipFill>
            <a:blip r:embed="rId12"/>
            <a:stretch>
              <a:fillRect/>
            </a:stretch>
          </p:blipFill>
          <p:spPr>
            <a:xfrm>
              <a:off x="8013458" y="2288015"/>
              <a:ext cx="697693" cy="292924"/>
            </a:xfrm>
            <a:prstGeom prst="rect">
              <a:avLst/>
            </a:prstGeom>
          </p:spPr>
        </p:pic>
        <p:pic>
          <p:nvPicPr>
            <p:cNvPr id="18" name="Picture 55">
              <a:extLst>
                <a:ext uri="{FF2B5EF4-FFF2-40B4-BE49-F238E27FC236}">
                  <a16:creationId xmlns:a16="http://schemas.microsoft.com/office/drawing/2014/main" id="{A434B0BB-CC5C-4486-8A64-FB1998FBFE99}"/>
                </a:ext>
              </a:extLst>
            </p:cNvPr>
            <p:cNvPicPr>
              <a:picLocks noChangeAspect="1"/>
            </p:cNvPicPr>
            <p:nvPr/>
          </p:nvPicPr>
          <p:blipFill>
            <a:blip r:embed="rId13"/>
            <a:stretch>
              <a:fillRect/>
            </a:stretch>
          </p:blipFill>
          <p:spPr>
            <a:xfrm>
              <a:off x="5771311" y="3947482"/>
              <a:ext cx="677254" cy="342047"/>
            </a:xfrm>
            <a:prstGeom prst="rect">
              <a:avLst/>
            </a:prstGeom>
          </p:spPr>
        </p:pic>
        <p:pic>
          <p:nvPicPr>
            <p:cNvPr id="19" name="Picture 56">
              <a:extLst>
                <a:ext uri="{FF2B5EF4-FFF2-40B4-BE49-F238E27FC236}">
                  <a16:creationId xmlns:a16="http://schemas.microsoft.com/office/drawing/2014/main" id="{09F055C0-04CB-4C36-BE7D-47955864F3C3}"/>
                </a:ext>
              </a:extLst>
            </p:cNvPr>
            <p:cNvPicPr>
              <a:picLocks noChangeAspect="1"/>
            </p:cNvPicPr>
            <p:nvPr/>
          </p:nvPicPr>
          <p:blipFill>
            <a:blip r:embed="rId14"/>
            <a:stretch>
              <a:fillRect/>
            </a:stretch>
          </p:blipFill>
          <p:spPr>
            <a:xfrm>
              <a:off x="6805701" y="4037291"/>
              <a:ext cx="993077" cy="229172"/>
            </a:xfrm>
            <a:prstGeom prst="rect">
              <a:avLst/>
            </a:prstGeom>
          </p:spPr>
        </p:pic>
        <p:pic>
          <p:nvPicPr>
            <p:cNvPr id="20" name="Picture 2" descr="Image result for aaebv logo">
              <a:extLst>
                <a:ext uri="{FF2B5EF4-FFF2-40B4-BE49-F238E27FC236}">
                  <a16:creationId xmlns:a16="http://schemas.microsoft.com/office/drawing/2014/main" id="{DC1CC223-A9C3-41EA-B0EB-8128A8EA390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530736" y="2788389"/>
              <a:ext cx="697693" cy="31996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 VRS logo">
              <a:extLst>
                <a:ext uri="{FF2B5EF4-FFF2-40B4-BE49-F238E27FC236}">
                  <a16:creationId xmlns:a16="http://schemas.microsoft.com/office/drawing/2014/main" id="{7E94E472-0BBB-42D5-9409-8B4E3060031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849652" y="3407198"/>
              <a:ext cx="1540210" cy="13052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1">
              <a:extLst>
                <a:ext uri="{FF2B5EF4-FFF2-40B4-BE49-F238E27FC236}">
                  <a16:creationId xmlns:a16="http://schemas.microsoft.com/office/drawing/2014/main" id="{8D9C4AEE-90C3-489B-BEEC-93A6526146E4}"/>
                </a:ext>
              </a:extLst>
            </p:cNvPr>
            <p:cNvPicPr>
              <a:picLocks noChangeAspect="1"/>
            </p:cNvPicPr>
            <p:nvPr/>
          </p:nvPicPr>
          <p:blipFill>
            <a:blip r:embed="rId17"/>
            <a:stretch>
              <a:fillRect/>
            </a:stretch>
          </p:blipFill>
          <p:spPr>
            <a:xfrm>
              <a:off x="5885709" y="4675247"/>
              <a:ext cx="1250434" cy="341785"/>
            </a:xfrm>
            <a:prstGeom prst="rect">
              <a:avLst/>
            </a:prstGeom>
          </p:spPr>
        </p:pic>
        <p:pic>
          <p:nvPicPr>
            <p:cNvPr id="23" name="Picture 62">
              <a:extLst>
                <a:ext uri="{FF2B5EF4-FFF2-40B4-BE49-F238E27FC236}">
                  <a16:creationId xmlns:a16="http://schemas.microsoft.com/office/drawing/2014/main" id="{8C91830F-9F73-4DBD-ACA9-0D8A9A87670E}"/>
                </a:ext>
              </a:extLst>
            </p:cNvPr>
            <p:cNvPicPr>
              <a:picLocks noChangeAspect="1"/>
            </p:cNvPicPr>
            <p:nvPr/>
          </p:nvPicPr>
          <p:blipFill>
            <a:blip r:embed="rId18"/>
            <a:stretch>
              <a:fillRect/>
            </a:stretch>
          </p:blipFill>
          <p:spPr>
            <a:xfrm>
              <a:off x="578308" y="4779733"/>
              <a:ext cx="1140436" cy="194885"/>
            </a:xfrm>
            <a:prstGeom prst="rect">
              <a:avLst/>
            </a:prstGeom>
          </p:spPr>
        </p:pic>
        <p:pic>
          <p:nvPicPr>
            <p:cNvPr id="24" name="Picture 63">
              <a:extLst>
                <a:ext uri="{FF2B5EF4-FFF2-40B4-BE49-F238E27FC236}">
                  <a16:creationId xmlns:a16="http://schemas.microsoft.com/office/drawing/2014/main" id="{57BE9A8D-A6A9-4EED-BCC8-6812B01073A1}"/>
                </a:ext>
              </a:extLst>
            </p:cNvPr>
            <p:cNvPicPr>
              <a:picLocks noChangeAspect="1"/>
            </p:cNvPicPr>
            <p:nvPr/>
          </p:nvPicPr>
          <p:blipFill rotWithShape="1">
            <a:blip r:embed="rId19"/>
            <a:srcRect t="25937" b="30078"/>
            <a:stretch/>
          </p:blipFill>
          <p:spPr>
            <a:xfrm>
              <a:off x="6958574" y="3382738"/>
              <a:ext cx="1018724" cy="334119"/>
            </a:xfrm>
            <a:prstGeom prst="rect">
              <a:avLst/>
            </a:prstGeom>
          </p:spPr>
        </p:pic>
        <p:pic>
          <p:nvPicPr>
            <p:cNvPr id="25" name="Picture 64">
              <a:extLst>
                <a:ext uri="{FF2B5EF4-FFF2-40B4-BE49-F238E27FC236}">
                  <a16:creationId xmlns:a16="http://schemas.microsoft.com/office/drawing/2014/main" id="{83D122F1-134C-4A7A-8897-D8813428B44D}"/>
                </a:ext>
              </a:extLst>
            </p:cNvPr>
            <p:cNvPicPr>
              <a:picLocks noChangeAspect="1"/>
            </p:cNvPicPr>
            <p:nvPr/>
          </p:nvPicPr>
          <p:blipFill rotWithShape="1">
            <a:blip r:embed="rId20"/>
            <a:srcRect t="13383" b="33991"/>
            <a:stretch/>
          </p:blipFill>
          <p:spPr>
            <a:xfrm>
              <a:off x="3803377" y="3163625"/>
              <a:ext cx="1212457" cy="658638"/>
            </a:xfrm>
            <a:prstGeom prst="rect">
              <a:avLst/>
            </a:prstGeom>
          </p:spPr>
        </p:pic>
        <p:pic>
          <p:nvPicPr>
            <p:cNvPr id="26" name="Picture 65">
              <a:extLst>
                <a:ext uri="{FF2B5EF4-FFF2-40B4-BE49-F238E27FC236}">
                  <a16:creationId xmlns:a16="http://schemas.microsoft.com/office/drawing/2014/main" id="{5AC2F744-74CD-47A4-9F14-BA73F699605E}"/>
                </a:ext>
              </a:extLst>
            </p:cNvPr>
            <p:cNvPicPr>
              <a:picLocks noChangeAspect="1"/>
            </p:cNvPicPr>
            <p:nvPr/>
          </p:nvPicPr>
          <p:blipFill>
            <a:blip r:embed="rId21"/>
            <a:stretch>
              <a:fillRect/>
            </a:stretch>
          </p:blipFill>
          <p:spPr>
            <a:xfrm>
              <a:off x="7604316" y="2979611"/>
              <a:ext cx="1028896" cy="236647"/>
            </a:xfrm>
            <a:prstGeom prst="rect">
              <a:avLst/>
            </a:prstGeom>
          </p:spPr>
        </p:pic>
        <p:pic>
          <p:nvPicPr>
            <p:cNvPr id="29" name="Picture 4" descr="Afbeeldingsresultaat voor tradecloud logo">
              <a:extLst>
                <a:ext uri="{FF2B5EF4-FFF2-40B4-BE49-F238E27FC236}">
                  <a16:creationId xmlns:a16="http://schemas.microsoft.com/office/drawing/2014/main" id="{E8F998E8-24F4-453C-BECD-0B2FBFB55FD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878851" y="2086790"/>
              <a:ext cx="1481813" cy="32903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Afbeeldingsresultaat voor industrial data space logo">
              <a:extLst>
                <a:ext uri="{FF2B5EF4-FFF2-40B4-BE49-F238E27FC236}">
                  <a16:creationId xmlns:a16="http://schemas.microsoft.com/office/drawing/2014/main" id="{1A86B3C3-E526-464C-A728-7553130F612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549800" y="4678316"/>
              <a:ext cx="1144936" cy="39771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Afbeeldingsresultaat voor tno logo">
              <a:extLst>
                <a:ext uri="{FF2B5EF4-FFF2-40B4-BE49-F238E27FC236}">
                  <a16:creationId xmlns:a16="http://schemas.microsoft.com/office/drawing/2014/main" id="{AD01D81F-5FC6-499B-85E0-596A43E263AE}"/>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93866" y="3210409"/>
              <a:ext cx="1130139" cy="56507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72">
              <a:extLst>
                <a:ext uri="{FF2B5EF4-FFF2-40B4-BE49-F238E27FC236}">
                  <a16:creationId xmlns:a16="http://schemas.microsoft.com/office/drawing/2014/main" id="{D1C7056C-B27F-401C-B10D-22BE04426563}"/>
                </a:ext>
              </a:extLst>
            </p:cNvPr>
            <p:cNvPicPr>
              <a:picLocks noChangeAspect="1"/>
            </p:cNvPicPr>
            <p:nvPr/>
          </p:nvPicPr>
          <p:blipFill>
            <a:blip r:embed="rId25"/>
            <a:stretch>
              <a:fillRect/>
            </a:stretch>
          </p:blipFill>
          <p:spPr>
            <a:xfrm>
              <a:off x="1817483" y="2712975"/>
              <a:ext cx="1459187" cy="343338"/>
            </a:xfrm>
            <a:prstGeom prst="rect">
              <a:avLst/>
            </a:prstGeom>
          </p:spPr>
        </p:pic>
        <p:pic>
          <p:nvPicPr>
            <p:cNvPr id="33" name="Picture 74">
              <a:extLst>
                <a:ext uri="{FF2B5EF4-FFF2-40B4-BE49-F238E27FC236}">
                  <a16:creationId xmlns:a16="http://schemas.microsoft.com/office/drawing/2014/main" id="{C0E0C0CF-CF8E-429E-8BBB-FFE590C55797}"/>
                </a:ext>
              </a:extLst>
            </p:cNvPr>
            <p:cNvPicPr>
              <a:picLocks noChangeAspect="1"/>
            </p:cNvPicPr>
            <p:nvPr/>
          </p:nvPicPr>
          <p:blipFill>
            <a:blip r:embed="rId26"/>
            <a:stretch>
              <a:fillRect/>
            </a:stretch>
          </p:blipFill>
          <p:spPr>
            <a:xfrm>
              <a:off x="1973400" y="4712131"/>
              <a:ext cx="990262" cy="330087"/>
            </a:xfrm>
            <a:prstGeom prst="rect">
              <a:avLst/>
            </a:prstGeom>
          </p:spPr>
        </p:pic>
        <p:pic>
          <p:nvPicPr>
            <p:cNvPr id="34" name="Picture 75">
              <a:extLst>
                <a:ext uri="{FF2B5EF4-FFF2-40B4-BE49-F238E27FC236}">
                  <a16:creationId xmlns:a16="http://schemas.microsoft.com/office/drawing/2014/main" id="{271BA165-479F-447D-961A-5978408EE509}"/>
                </a:ext>
              </a:extLst>
            </p:cNvPr>
            <p:cNvPicPr>
              <a:picLocks noChangeAspect="1"/>
            </p:cNvPicPr>
            <p:nvPr/>
          </p:nvPicPr>
          <p:blipFill>
            <a:blip r:embed="rId27"/>
            <a:stretch>
              <a:fillRect/>
            </a:stretch>
          </p:blipFill>
          <p:spPr>
            <a:xfrm>
              <a:off x="501515" y="2766329"/>
              <a:ext cx="914843" cy="303690"/>
            </a:xfrm>
            <a:prstGeom prst="rect">
              <a:avLst/>
            </a:prstGeom>
          </p:spPr>
        </p:pic>
        <p:pic>
          <p:nvPicPr>
            <p:cNvPr id="36" name="Picture 3">
              <a:extLst>
                <a:ext uri="{FF2B5EF4-FFF2-40B4-BE49-F238E27FC236}">
                  <a16:creationId xmlns:a16="http://schemas.microsoft.com/office/drawing/2014/main" id="{E8DB74F1-2A84-43AC-8D5D-9D934BDC16F5}"/>
                </a:ext>
              </a:extLst>
            </p:cNvPr>
            <p:cNvPicPr>
              <a:picLocks noChangeAspect="1"/>
            </p:cNvPicPr>
            <p:nvPr/>
          </p:nvPicPr>
          <p:blipFill rotWithShape="1">
            <a:blip r:embed="rId28"/>
            <a:srcRect t="34629" b="46536"/>
            <a:stretch/>
          </p:blipFill>
          <p:spPr>
            <a:xfrm>
              <a:off x="2957299" y="4755900"/>
              <a:ext cx="1379828" cy="194884"/>
            </a:xfrm>
            <a:prstGeom prst="rect">
              <a:avLst/>
            </a:prstGeom>
          </p:spPr>
        </p:pic>
        <p:pic>
          <p:nvPicPr>
            <p:cNvPr id="1027" name="Picture 3" descr="Afbeeldingsresultaat voor KMWE">
              <a:hlinkClick r:id="rId29"/>
              <a:extLst>
                <a:ext uri="{FF2B5EF4-FFF2-40B4-BE49-F238E27FC236}">
                  <a16:creationId xmlns:a16="http://schemas.microsoft.com/office/drawing/2014/main" id="{56E4217C-FF12-4A37-9E3B-32248FD34A9D}"/>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316514" y="3947482"/>
              <a:ext cx="861903" cy="56116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Afbeeldingsresultaat voor mcb valkenswaard">
              <a:hlinkClick r:id="rId31"/>
              <a:extLst>
                <a:ext uri="{FF2B5EF4-FFF2-40B4-BE49-F238E27FC236}">
                  <a16:creationId xmlns:a16="http://schemas.microsoft.com/office/drawing/2014/main" id="{D6470629-E8B2-443D-B46A-085F3034D085}"/>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l="9521" t="29738" r="6805" b="30067"/>
            <a:stretch/>
          </p:blipFill>
          <p:spPr bwMode="auto">
            <a:xfrm>
              <a:off x="5271685" y="2751949"/>
              <a:ext cx="908992" cy="436661"/>
            </a:xfrm>
            <a:prstGeom prst="rect">
              <a:avLst/>
            </a:prstGeom>
            <a:noFill/>
            <a:extLst>
              <a:ext uri="{909E8E84-426E-40DD-AFC4-6F175D3DCCD1}">
                <a14:hiddenFill xmlns:a14="http://schemas.microsoft.com/office/drawing/2010/main">
                  <a:solidFill>
                    <a:srgbClr val="FFFFFF"/>
                  </a:solidFill>
                </a14:hiddenFill>
              </a:ext>
            </a:extLst>
          </p:spPr>
        </p:pic>
      </p:grpSp>
      <p:pic>
        <p:nvPicPr>
          <p:cNvPr id="35" name="Afbeelding 34">
            <a:extLst>
              <a:ext uri="{FF2B5EF4-FFF2-40B4-BE49-F238E27FC236}">
                <a16:creationId xmlns:a16="http://schemas.microsoft.com/office/drawing/2014/main" id="{35A85844-4054-43AB-870C-5C4C33FF3A8B}"/>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0103419" y="352890"/>
            <a:ext cx="1663396" cy="914021"/>
          </a:xfrm>
          <a:prstGeom prst="rect">
            <a:avLst/>
          </a:prstGeom>
        </p:spPr>
      </p:pic>
      <p:pic>
        <p:nvPicPr>
          <p:cNvPr id="2050" name="Picture 2" descr="https://www.fdp.nl/pics_site/left_logo_fdp.jpg">
            <a:extLst>
              <a:ext uri="{FF2B5EF4-FFF2-40B4-BE49-F238E27FC236}">
                <a16:creationId xmlns:a16="http://schemas.microsoft.com/office/drawing/2014/main" id="{4420AB21-60C5-4A57-8267-C1F1AFA84AE9}"/>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9467997" y="6068150"/>
            <a:ext cx="2336800" cy="5461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Afbeeldingsresultaat voor Tata Steel logo png">
            <a:extLst>
              <a:ext uri="{FF2B5EF4-FFF2-40B4-BE49-F238E27FC236}">
                <a16:creationId xmlns:a16="http://schemas.microsoft.com/office/drawing/2014/main" id="{F254AB76-FBC4-4DB2-89BF-4707034D1C1F}"/>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4657249" y="3230000"/>
            <a:ext cx="2163632" cy="1218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06795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Tijdelijke aanduiding voor afbeelding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0274" r="20274"/>
          <a:stretch>
            <a:fillRect/>
          </a:stretch>
        </p:blipFill>
        <p:spPr/>
      </p:pic>
      <p:sp>
        <p:nvSpPr>
          <p:cNvPr id="3" name="Tijdelijke aanduiding voor tekst 2"/>
          <p:cNvSpPr>
            <a:spLocks noGrp="1"/>
          </p:cNvSpPr>
          <p:nvPr>
            <p:ph type="body" sz="quarter" idx="12"/>
          </p:nvPr>
        </p:nvSpPr>
        <p:spPr>
          <a:xfrm>
            <a:off x="6941753" y="820066"/>
            <a:ext cx="4893409" cy="5622861"/>
          </a:xfrm>
        </p:spPr>
        <p:txBody>
          <a:bodyPr/>
          <a:lstStyle/>
          <a:p>
            <a:r>
              <a:rPr lang="en-US" dirty="0">
                <a:latin typeface="Fira Sans Light" panose="020B0403050000020004"/>
              </a:rPr>
              <a:t>SCSN is a communication standard for sharing information in the supply chain, therefore enabling the manufacturing industry to easier, safer, and more reliable sharing data.</a:t>
            </a:r>
          </a:p>
          <a:p>
            <a:endParaRPr lang="nl-NL" dirty="0">
              <a:latin typeface="Fira Sans Light" panose="020B0403050000020004"/>
            </a:endParaRPr>
          </a:p>
          <a:p>
            <a:endParaRPr lang="nl-NL" dirty="0">
              <a:latin typeface="Fira Sans Light" panose="020B0403050000020004"/>
            </a:endParaRPr>
          </a:p>
          <a:p>
            <a:endParaRPr lang="nl-NL" b="1" dirty="0">
              <a:latin typeface="Fira Sans Light" panose="020B0403050000020004"/>
            </a:endParaRPr>
          </a:p>
          <a:p>
            <a:r>
              <a:rPr lang="en-GB" sz="6400" dirty="0">
                <a:latin typeface="Fira Sans Light" panose="020B0403050000020004"/>
              </a:rPr>
              <a:t>20% </a:t>
            </a:r>
            <a:r>
              <a:rPr lang="en-GB" dirty="0">
                <a:latin typeface="Fira Sans Light" panose="020B0403050000020004"/>
              </a:rPr>
              <a:t>increased productivity.</a:t>
            </a:r>
            <a:br>
              <a:rPr lang="nl-NL" dirty="0">
                <a:latin typeface="Fira Sans Light" panose="020B0403050000020004"/>
              </a:rPr>
            </a:br>
            <a:br>
              <a:rPr lang="nl-NL" dirty="0">
                <a:latin typeface="Fira Sans Light" panose="020B0403050000020004"/>
              </a:rPr>
            </a:br>
            <a:endParaRPr lang="nl-NL" dirty="0">
              <a:latin typeface="Fira Sans Light" panose="020B0403050000020004"/>
            </a:endParaRPr>
          </a:p>
          <a:p>
            <a:r>
              <a:rPr lang="en-US" dirty="0">
                <a:latin typeface="Fira Sans Light" panose="020B0403050000020004"/>
              </a:rPr>
              <a:t>Based on the International Data Spaces standard</a:t>
            </a:r>
            <a:endParaRPr lang="en-US" dirty="0"/>
          </a:p>
        </p:txBody>
      </p:sp>
      <p:sp>
        <p:nvSpPr>
          <p:cNvPr id="2" name="Gelijkbenige driehoek 1">
            <a:extLst>
              <a:ext uri="{FF2B5EF4-FFF2-40B4-BE49-F238E27FC236}">
                <a16:creationId xmlns:a16="http://schemas.microsoft.com/office/drawing/2014/main" id="{391B74B7-D01A-4044-B268-C0E673959160}"/>
              </a:ext>
            </a:extLst>
          </p:cNvPr>
          <p:cNvSpPr/>
          <p:nvPr/>
        </p:nvSpPr>
        <p:spPr>
          <a:xfrm rot="5400000">
            <a:off x="6117620" y="3987881"/>
            <a:ext cx="462241" cy="450563"/>
          </a:xfrm>
          <a:prstGeom prst="triangle">
            <a:avLst>
              <a:gd name="adj" fmla="val 5214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867">
              <a:solidFill>
                <a:srgbClr val="FFFFFF"/>
              </a:solidFill>
              <a:latin typeface="Calibri" panose="020F0502020204030204"/>
            </a:endParaRPr>
          </a:p>
        </p:txBody>
      </p:sp>
      <p:sp>
        <p:nvSpPr>
          <p:cNvPr id="5" name="Gelijkbenige driehoek 4">
            <a:extLst>
              <a:ext uri="{FF2B5EF4-FFF2-40B4-BE49-F238E27FC236}">
                <a16:creationId xmlns:a16="http://schemas.microsoft.com/office/drawing/2014/main" id="{8DC38837-DEAC-4849-AD67-BDDA17004111}"/>
              </a:ext>
            </a:extLst>
          </p:cNvPr>
          <p:cNvSpPr/>
          <p:nvPr/>
        </p:nvSpPr>
        <p:spPr>
          <a:xfrm rot="5400000">
            <a:off x="6117620" y="5316005"/>
            <a:ext cx="462241" cy="450563"/>
          </a:xfrm>
          <a:prstGeom prst="triangle">
            <a:avLst>
              <a:gd name="adj" fmla="val 5214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867">
              <a:solidFill>
                <a:srgbClr val="FFFFFF"/>
              </a:solidFill>
              <a:latin typeface="Calibri" panose="020F0502020204030204"/>
            </a:endParaRPr>
          </a:p>
        </p:txBody>
      </p:sp>
    </p:spTree>
    <p:extLst>
      <p:ext uri="{BB962C8B-B14F-4D97-AF65-F5344CB8AC3E}">
        <p14:creationId xmlns:p14="http://schemas.microsoft.com/office/powerpoint/2010/main" val="3411042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jdelijke aanduiding voor tekst 10">
            <a:extLst>
              <a:ext uri="{FF2B5EF4-FFF2-40B4-BE49-F238E27FC236}">
                <a16:creationId xmlns:a16="http://schemas.microsoft.com/office/drawing/2014/main" id="{EB92BF58-141E-43DE-A158-7EC0E9CA284E}"/>
              </a:ext>
            </a:extLst>
          </p:cNvPr>
          <p:cNvSpPr>
            <a:spLocks noGrp="1"/>
          </p:cNvSpPr>
          <p:nvPr>
            <p:ph type="body" sz="quarter" idx="10"/>
          </p:nvPr>
        </p:nvSpPr>
        <p:spPr/>
        <p:txBody>
          <a:bodyPr/>
          <a:lstStyle/>
          <a:p>
            <a:r>
              <a:rPr lang="nl-NL" dirty="0"/>
              <a:t>THE SCSN AMBITION</a:t>
            </a:r>
          </a:p>
        </p:txBody>
      </p:sp>
      <p:sp>
        <p:nvSpPr>
          <p:cNvPr id="12" name="Tijdelijke aanduiding voor tekst 11">
            <a:extLst>
              <a:ext uri="{FF2B5EF4-FFF2-40B4-BE49-F238E27FC236}">
                <a16:creationId xmlns:a16="http://schemas.microsoft.com/office/drawing/2014/main" id="{9BEE641E-09D6-441F-9E2D-C87DA83EA984}"/>
              </a:ext>
            </a:extLst>
          </p:cNvPr>
          <p:cNvSpPr>
            <a:spLocks noGrp="1"/>
          </p:cNvSpPr>
          <p:nvPr>
            <p:ph type="body" sz="quarter" idx="11"/>
          </p:nvPr>
        </p:nvSpPr>
        <p:spPr>
          <a:xfrm>
            <a:off x="624417" y="1430401"/>
            <a:ext cx="9941983" cy="570527"/>
          </a:xfrm>
        </p:spPr>
        <p:txBody>
          <a:bodyPr/>
          <a:lstStyle/>
          <a:p>
            <a:r>
              <a:rPr lang="nl-NL" dirty="0"/>
              <a:t>Connect </a:t>
            </a:r>
            <a:r>
              <a:rPr lang="nl-NL" dirty="0" err="1"/>
              <a:t>once</a:t>
            </a:r>
            <a:r>
              <a:rPr lang="nl-NL" dirty="0"/>
              <a:t>, </a:t>
            </a:r>
            <a:r>
              <a:rPr lang="nl-NL" dirty="0" err="1"/>
              <a:t>communicate</a:t>
            </a:r>
            <a:r>
              <a:rPr lang="nl-NL" dirty="0"/>
              <a:t> </a:t>
            </a:r>
            <a:r>
              <a:rPr lang="nl-NL" dirty="0" err="1"/>
              <a:t>with</a:t>
            </a:r>
            <a:r>
              <a:rPr lang="nl-NL" dirty="0"/>
              <a:t> </a:t>
            </a:r>
            <a:r>
              <a:rPr lang="nl-NL" dirty="0" err="1"/>
              <a:t>the</a:t>
            </a:r>
            <a:r>
              <a:rPr lang="nl-NL" dirty="0"/>
              <a:t> complete </a:t>
            </a:r>
            <a:r>
              <a:rPr lang="nl-NL" dirty="0" err="1"/>
              <a:t>supply</a:t>
            </a:r>
            <a:r>
              <a:rPr lang="nl-NL" dirty="0"/>
              <a:t> chain</a:t>
            </a:r>
          </a:p>
        </p:txBody>
      </p:sp>
      <p:sp>
        <p:nvSpPr>
          <p:cNvPr id="16" name="Zeshoek 15">
            <a:extLst>
              <a:ext uri="{FF2B5EF4-FFF2-40B4-BE49-F238E27FC236}">
                <a16:creationId xmlns:a16="http://schemas.microsoft.com/office/drawing/2014/main" id="{960B89CD-B711-4511-AF51-5F0847D2C997}"/>
              </a:ext>
            </a:extLst>
          </p:cNvPr>
          <p:cNvSpPr/>
          <p:nvPr/>
        </p:nvSpPr>
        <p:spPr>
          <a:xfrm rot="5400000">
            <a:off x="4473353" y="2843941"/>
            <a:ext cx="3245295" cy="2797668"/>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867">
              <a:solidFill>
                <a:srgbClr val="FFFFFF"/>
              </a:solidFill>
              <a:latin typeface="Calibri" panose="020F0502020204030204"/>
            </a:endParaRPr>
          </a:p>
        </p:txBody>
      </p:sp>
      <p:sp>
        <p:nvSpPr>
          <p:cNvPr id="17" name="Zeshoek 16">
            <a:extLst>
              <a:ext uri="{FF2B5EF4-FFF2-40B4-BE49-F238E27FC236}">
                <a16:creationId xmlns:a16="http://schemas.microsoft.com/office/drawing/2014/main" id="{34483937-A0E9-480C-9136-0178CC7A730C}"/>
              </a:ext>
            </a:extLst>
          </p:cNvPr>
          <p:cNvSpPr/>
          <p:nvPr/>
        </p:nvSpPr>
        <p:spPr>
          <a:xfrm rot="5400000">
            <a:off x="1527198" y="2842642"/>
            <a:ext cx="3245295" cy="2797668"/>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867">
              <a:solidFill>
                <a:srgbClr val="FFFFFF"/>
              </a:solidFill>
              <a:latin typeface="Calibri" panose="020F0502020204030204"/>
            </a:endParaRPr>
          </a:p>
        </p:txBody>
      </p:sp>
      <p:sp>
        <p:nvSpPr>
          <p:cNvPr id="18" name="Zeshoek 17">
            <a:extLst>
              <a:ext uri="{FF2B5EF4-FFF2-40B4-BE49-F238E27FC236}">
                <a16:creationId xmlns:a16="http://schemas.microsoft.com/office/drawing/2014/main" id="{D8C851C4-81E9-42ED-B951-C3C2ADD855BB}"/>
              </a:ext>
            </a:extLst>
          </p:cNvPr>
          <p:cNvSpPr/>
          <p:nvPr/>
        </p:nvSpPr>
        <p:spPr>
          <a:xfrm rot="5400000">
            <a:off x="7419509" y="2842641"/>
            <a:ext cx="3245295" cy="2797668"/>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867">
              <a:solidFill>
                <a:srgbClr val="FFFFFF"/>
              </a:solidFill>
              <a:latin typeface="Calibri" panose="020F0502020204030204"/>
            </a:endParaRPr>
          </a:p>
        </p:txBody>
      </p:sp>
      <p:sp>
        <p:nvSpPr>
          <p:cNvPr id="19" name="Tijdelijke aanduiding voor tekst 1">
            <a:extLst>
              <a:ext uri="{FF2B5EF4-FFF2-40B4-BE49-F238E27FC236}">
                <a16:creationId xmlns:a16="http://schemas.microsoft.com/office/drawing/2014/main" id="{AF9558B7-AA76-4982-93F3-71EC8594C558}"/>
              </a:ext>
            </a:extLst>
          </p:cNvPr>
          <p:cNvSpPr txBox="1">
            <a:spLocks/>
          </p:cNvSpPr>
          <p:nvPr/>
        </p:nvSpPr>
        <p:spPr>
          <a:xfrm>
            <a:off x="1822753" y="3285794"/>
            <a:ext cx="2800169" cy="547695"/>
          </a:xfrm>
          <a:prstGeom prst="rect">
            <a:avLst/>
          </a:prstGeom>
        </p:spPr>
        <p:txBody>
          <a:bodyPr/>
          <a:lstStyle>
            <a:lvl1pPr marL="0" indent="0" algn="l" defTabSz="914400" rtl="0" eaLnBrk="1" latinLnBrk="0" hangingPunct="1">
              <a:lnSpc>
                <a:spcPct val="90000"/>
              </a:lnSpc>
              <a:spcBef>
                <a:spcPts val="1000"/>
              </a:spcBef>
              <a:buFont typeface="Arial"/>
              <a:buNone/>
              <a:defRPr sz="2800" b="1" i="0" kern="1200">
                <a:solidFill>
                  <a:schemeClr val="tx2"/>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1219170">
              <a:spcBef>
                <a:spcPts val="1333"/>
              </a:spcBef>
            </a:pPr>
            <a:r>
              <a:rPr lang="nl-NL" sz="2400" dirty="0">
                <a:solidFill>
                  <a:srgbClr val="FFFFFF"/>
                </a:solidFill>
              </a:rPr>
              <a:t>1 x </a:t>
            </a:r>
            <a:r>
              <a:rPr lang="nl-NL" sz="2400" dirty="0" err="1">
                <a:solidFill>
                  <a:srgbClr val="FFFFFF"/>
                </a:solidFill>
              </a:rPr>
              <a:t>connect</a:t>
            </a:r>
            <a:endParaRPr lang="nl-NL" sz="2400" dirty="0">
              <a:solidFill>
                <a:srgbClr val="FFFFFF"/>
              </a:solidFill>
            </a:endParaRPr>
          </a:p>
        </p:txBody>
      </p:sp>
      <p:sp>
        <p:nvSpPr>
          <p:cNvPr id="22" name="Tijdelijke aanduiding voor tekst 2">
            <a:extLst>
              <a:ext uri="{FF2B5EF4-FFF2-40B4-BE49-F238E27FC236}">
                <a16:creationId xmlns:a16="http://schemas.microsoft.com/office/drawing/2014/main" id="{82545A2D-7CE7-4595-8F6C-CFBCE238498A}"/>
              </a:ext>
            </a:extLst>
          </p:cNvPr>
          <p:cNvSpPr txBox="1">
            <a:spLocks/>
          </p:cNvSpPr>
          <p:nvPr/>
        </p:nvSpPr>
        <p:spPr>
          <a:xfrm>
            <a:off x="1822749" y="4032148"/>
            <a:ext cx="2725929" cy="1284803"/>
          </a:xfrm>
          <a:prstGeom prst="rect">
            <a:avLst/>
          </a:prstGeom>
        </p:spPr>
        <p:txBody>
          <a:bodyPr/>
          <a:lstStyle>
            <a:lvl1pPr marL="0" indent="0" algn="l" defTabSz="914400" rtl="0" eaLnBrk="1" latinLnBrk="0" hangingPunct="1">
              <a:lnSpc>
                <a:spcPct val="90000"/>
              </a:lnSpc>
              <a:spcBef>
                <a:spcPts val="1000"/>
              </a:spcBef>
              <a:buFont typeface="Arial"/>
              <a:buNone/>
              <a:defRPr sz="2200" b="1" i="0" kern="1200">
                <a:solidFill>
                  <a:schemeClr val="accent2"/>
                </a:solidFill>
                <a:latin typeface="Calibri" charset="0"/>
                <a:ea typeface="Calibri" charset="0"/>
                <a:cs typeface="Calibri" charset="0"/>
              </a:defRPr>
            </a:lvl1pPr>
            <a:lvl2pPr marL="4572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1219170">
              <a:spcBef>
                <a:spcPts val="1333"/>
              </a:spcBef>
            </a:pPr>
            <a:r>
              <a:rPr lang="nl-NL" sz="2133" b="0" dirty="0">
                <a:solidFill>
                  <a:srgbClr val="FFFFFF"/>
                </a:solidFill>
              </a:rPr>
              <a:t>… </a:t>
            </a:r>
            <a:r>
              <a:rPr lang="nl-NL" sz="2133" b="0" dirty="0" err="1">
                <a:solidFill>
                  <a:srgbClr val="FFFFFF"/>
                </a:solidFill>
              </a:rPr>
              <a:t>communicate</a:t>
            </a:r>
            <a:r>
              <a:rPr lang="nl-NL" sz="2133" b="0" dirty="0">
                <a:solidFill>
                  <a:srgbClr val="FFFFFF"/>
                </a:solidFill>
              </a:rPr>
              <a:t> </a:t>
            </a:r>
            <a:r>
              <a:rPr lang="nl-NL" sz="2133" b="0" dirty="0" err="1">
                <a:solidFill>
                  <a:srgbClr val="FFFFFF"/>
                </a:solidFill>
              </a:rPr>
              <a:t>with</a:t>
            </a:r>
            <a:r>
              <a:rPr lang="nl-NL" sz="2133" b="0" dirty="0">
                <a:solidFill>
                  <a:srgbClr val="FFFFFF"/>
                </a:solidFill>
              </a:rPr>
              <a:t> </a:t>
            </a:r>
            <a:r>
              <a:rPr lang="nl-NL" sz="2133" b="0" dirty="0" err="1">
                <a:solidFill>
                  <a:srgbClr val="FFFFFF"/>
                </a:solidFill>
              </a:rPr>
              <a:t>everyone</a:t>
            </a:r>
            <a:r>
              <a:rPr lang="nl-NL" sz="2133" b="0" dirty="0">
                <a:solidFill>
                  <a:srgbClr val="FFFFFF"/>
                </a:solidFill>
              </a:rPr>
              <a:t>!</a:t>
            </a:r>
          </a:p>
        </p:txBody>
      </p:sp>
      <p:sp>
        <p:nvSpPr>
          <p:cNvPr id="31" name="Tijdelijke aanduiding voor tekst 1">
            <a:extLst>
              <a:ext uri="{FF2B5EF4-FFF2-40B4-BE49-F238E27FC236}">
                <a16:creationId xmlns:a16="http://schemas.microsoft.com/office/drawing/2014/main" id="{CE099F35-7EBF-45EE-80F7-5396C72198E5}"/>
              </a:ext>
            </a:extLst>
          </p:cNvPr>
          <p:cNvSpPr txBox="1">
            <a:spLocks/>
          </p:cNvSpPr>
          <p:nvPr/>
        </p:nvSpPr>
        <p:spPr>
          <a:xfrm>
            <a:off x="4771413" y="3285794"/>
            <a:ext cx="2800169" cy="547695"/>
          </a:xfrm>
          <a:prstGeom prst="rect">
            <a:avLst/>
          </a:prstGeom>
        </p:spPr>
        <p:txBody>
          <a:bodyPr/>
          <a:lstStyle>
            <a:lvl1pPr marL="0" indent="0" algn="l" defTabSz="914400" rtl="0" eaLnBrk="1" latinLnBrk="0" hangingPunct="1">
              <a:lnSpc>
                <a:spcPct val="90000"/>
              </a:lnSpc>
              <a:spcBef>
                <a:spcPts val="1000"/>
              </a:spcBef>
              <a:buFont typeface="Arial"/>
              <a:buNone/>
              <a:defRPr sz="2800" b="1" i="0" kern="1200">
                <a:solidFill>
                  <a:schemeClr val="tx2"/>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1219170">
              <a:spcBef>
                <a:spcPts val="1333"/>
              </a:spcBef>
            </a:pPr>
            <a:r>
              <a:rPr lang="nl-NL" sz="2133" dirty="0">
                <a:solidFill>
                  <a:srgbClr val="FFFFFF"/>
                </a:solidFill>
              </a:rPr>
              <a:t>Complete </a:t>
            </a:r>
            <a:r>
              <a:rPr lang="nl-NL" sz="2133" dirty="0" err="1">
                <a:solidFill>
                  <a:srgbClr val="FFFFFF"/>
                </a:solidFill>
              </a:rPr>
              <a:t>supply</a:t>
            </a:r>
            <a:r>
              <a:rPr lang="nl-NL" sz="2133" dirty="0">
                <a:solidFill>
                  <a:srgbClr val="FFFFFF"/>
                </a:solidFill>
              </a:rPr>
              <a:t> chain</a:t>
            </a:r>
          </a:p>
        </p:txBody>
      </p:sp>
      <p:sp>
        <p:nvSpPr>
          <p:cNvPr id="32" name="Tijdelijke aanduiding voor tekst 2">
            <a:extLst>
              <a:ext uri="{FF2B5EF4-FFF2-40B4-BE49-F238E27FC236}">
                <a16:creationId xmlns:a16="http://schemas.microsoft.com/office/drawing/2014/main" id="{91838637-4043-46AC-912B-5C4D43105C07}"/>
              </a:ext>
            </a:extLst>
          </p:cNvPr>
          <p:cNvSpPr txBox="1">
            <a:spLocks/>
          </p:cNvSpPr>
          <p:nvPr/>
        </p:nvSpPr>
        <p:spPr>
          <a:xfrm>
            <a:off x="4771408" y="4032148"/>
            <a:ext cx="2795165" cy="1284803"/>
          </a:xfrm>
          <a:prstGeom prst="rect">
            <a:avLst/>
          </a:prstGeom>
        </p:spPr>
        <p:txBody>
          <a:bodyPr/>
          <a:lstStyle>
            <a:lvl1pPr marL="0" indent="0" algn="l" defTabSz="914400" rtl="0" eaLnBrk="1" latinLnBrk="0" hangingPunct="1">
              <a:lnSpc>
                <a:spcPct val="90000"/>
              </a:lnSpc>
              <a:spcBef>
                <a:spcPts val="1000"/>
              </a:spcBef>
              <a:buFont typeface="Arial"/>
              <a:buNone/>
              <a:defRPr sz="2200" b="1" i="0" kern="1200">
                <a:solidFill>
                  <a:schemeClr val="accent2"/>
                </a:solidFill>
                <a:latin typeface="Calibri" charset="0"/>
                <a:ea typeface="Calibri" charset="0"/>
                <a:cs typeface="Calibri" charset="0"/>
              </a:defRPr>
            </a:lvl1pPr>
            <a:lvl2pPr marL="4572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1219170">
              <a:spcBef>
                <a:spcPts val="1333"/>
              </a:spcBef>
            </a:pPr>
            <a:r>
              <a:rPr lang="nl-NL" sz="2133" b="0" dirty="0">
                <a:solidFill>
                  <a:srgbClr val="FFFFFF"/>
                </a:solidFill>
              </a:rPr>
              <a:t>SCSN is </a:t>
            </a:r>
            <a:r>
              <a:rPr lang="nl-NL" sz="2133" b="0" dirty="0" err="1">
                <a:solidFill>
                  <a:srgbClr val="FFFFFF"/>
                </a:solidFill>
              </a:rPr>
              <a:t>for</a:t>
            </a:r>
            <a:r>
              <a:rPr lang="nl-NL" sz="2133" b="0" dirty="0">
                <a:solidFill>
                  <a:srgbClr val="FFFFFF"/>
                </a:solidFill>
              </a:rPr>
              <a:t> </a:t>
            </a:r>
            <a:r>
              <a:rPr lang="nl-NL" sz="2133" b="0" dirty="0" err="1">
                <a:solidFill>
                  <a:srgbClr val="FFFFFF"/>
                </a:solidFill>
              </a:rPr>
              <a:t>the</a:t>
            </a:r>
            <a:r>
              <a:rPr lang="nl-NL" sz="2133" b="0" dirty="0">
                <a:solidFill>
                  <a:srgbClr val="FFFFFF"/>
                </a:solidFill>
              </a:rPr>
              <a:t> OEM 1st, 2nd, 3rd tier and </a:t>
            </a:r>
            <a:r>
              <a:rPr lang="nl-NL" sz="2133" b="0" dirty="0" err="1">
                <a:solidFill>
                  <a:srgbClr val="FFFFFF"/>
                </a:solidFill>
              </a:rPr>
              <a:t>wholesalers</a:t>
            </a:r>
            <a:endParaRPr lang="nl-NL" sz="2133" b="0" dirty="0">
              <a:solidFill>
                <a:srgbClr val="FFFFFF"/>
              </a:solidFill>
            </a:endParaRPr>
          </a:p>
        </p:txBody>
      </p:sp>
      <p:sp>
        <p:nvSpPr>
          <p:cNvPr id="33" name="Tijdelijke aanduiding voor tekst 1">
            <a:extLst>
              <a:ext uri="{FF2B5EF4-FFF2-40B4-BE49-F238E27FC236}">
                <a16:creationId xmlns:a16="http://schemas.microsoft.com/office/drawing/2014/main" id="{A58E16FE-24EB-47FA-95F6-3D916F15ACFF}"/>
              </a:ext>
            </a:extLst>
          </p:cNvPr>
          <p:cNvSpPr txBox="1">
            <a:spLocks/>
          </p:cNvSpPr>
          <p:nvPr/>
        </p:nvSpPr>
        <p:spPr>
          <a:xfrm>
            <a:off x="7652806" y="3285794"/>
            <a:ext cx="2800169" cy="547695"/>
          </a:xfrm>
          <a:prstGeom prst="rect">
            <a:avLst/>
          </a:prstGeom>
        </p:spPr>
        <p:txBody>
          <a:bodyPr/>
          <a:lstStyle>
            <a:lvl1pPr marL="0" indent="0" algn="l" defTabSz="914400" rtl="0" eaLnBrk="1" latinLnBrk="0" hangingPunct="1">
              <a:lnSpc>
                <a:spcPct val="90000"/>
              </a:lnSpc>
              <a:spcBef>
                <a:spcPts val="1000"/>
              </a:spcBef>
              <a:buFont typeface="Arial"/>
              <a:buNone/>
              <a:defRPr sz="2800" b="1" i="0" kern="1200">
                <a:solidFill>
                  <a:schemeClr val="tx2"/>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2800" b="1"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1219170">
              <a:spcBef>
                <a:spcPts val="1333"/>
              </a:spcBef>
            </a:pPr>
            <a:r>
              <a:rPr lang="nl-NL" sz="2400" dirty="0">
                <a:solidFill>
                  <a:srgbClr val="FFFFFF"/>
                </a:solidFill>
              </a:rPr>
              <a:t>Manufacturing compies in control!</a:t>
            </a:r>
          </a:p>
        </p:txBody>
      </p:sp>
      <p:sp>
        <p:nvSpPr>
          <p:cNvPr id="34" name="Tijdelijke aanduiding voor tekst 2">
            <a:extLst>
              <a:ext uri="{FF2B5EF4-FFF2-40B4-BE49-F238E27FC236}">
                <a16:creationId xmlns:a16="http://schemas.microsoft.com/office/drawing/2014/main" id="{3860E060-B550-4032-9584-68443D0162DD}"/>
              </a:ext>
            </a:extLst>
          </p:cNvPr>
          <p:cNvSpPr txBox="1">
            <a:spLocks/>
          </p:cNvSpPr>
          <p:nvPr/>
        </p:nvSpPr>
        <p:spPr>
          <a:xfrm>
            <a:off x="7652806" y="4032148"/>
            <a:ext cx="2859924" cy="1284803"/>
          </a:xfrm>
          <a:prstGeom prst="rect">
            <a:avLst/>
          </a:prstGeom>
        </p:spPr>
        <p:txBody>
          <a:bodyPr/>
          <a:lstStyle>
            <a:lvl1pPr marL="0" indent="0" algn="l" defTabSz="914400" rtl="0" eaLnBrk="1" latinLnBrk="0" hangingPunct="1">
              <a:lnSpc>
                <a:spcPct val="90000"/>
              </a:lnSpc>
              <a:spcBef>
                <a:spcPts val="1000"/>
              </a:spcBef>
              <a:buFont typeface="Arial"/>
              <a:buNone/>
              <a:defRPr sz="2200" b="1" i="0" kern="1200">
                <a:solidFill>
                  <a:schemeClr val="accent2"/>
                </a:solidFill>
                <a:latin typeface="Calibri" charset="0"/>
                <a:ea typeface="Calibri" charset="0"/>
                <a:cs typeface="Calibri" charset="0"/>
              </a:defRPr>
            </a:lvl1pPr>
            <a:lvl2pPr marL="4572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2200" b="1" i="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1219170">
              <a:spcBef>
                <a:spcPts val="1333"/>
              </a:spcBef>
            </a:pPr>
            <a:r>
              <a:rPr lang="en-US" sz="2133" b="0" dirty="0">
                <a:solidFill>
                  <a:srgbClr val="FFFFFF"/>
                </a:solidFill>
              </a:rPr>
              <a:t>Each company decides </a:t>
            </a:r>
            <a:r>
              <a:rPr lang="en-US" sz="2133" b="0" dirty="0" err="1">
                <a:solidFill>
                  <a:srgbClr val="FFFFFF"/>
                </a:solidFill>
              </a:rPr>
              <a:t>themself</a:t>
            </a:r>
            <a:r>
              <a:rPr lang="en-US" sz="2133" b="0" dirty="0">
                <a:solidFill>
                  <a:srgbClr val="FFFFFF"/>
                </a:solidFill>
              </a:rPr>
              <a:t> what data to share with whom. </a:t>
            </a:r>
          </a:p>
        </p:txBody>
      </p:sp>
      <p:pic>
        <p:nvPicPr>
          <p:cNvPr id="35" name="Afbeelding 34">
            <a:extLst>
              <a:ext uri="{FF2B5EF4-FFF2-40B4-BE49-F238E27FC236}">
                <a16:creationId xmlns:a16="http://schemas.microsoft.com/office/drawing/2014/main" id="{BC7A3402-4C9E-4885-B038-A57FDB1277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06619" y="556090"/>
            <a:ext cx="1663396" cy="914021"/>
          </a:xfrm>
          <a:prstGeom prst="rect">
            <a:avLst/>
          </a:prstGeom>
        </p:spPr>
      </p:pic>
    </p:spTree>
    <p:extLst>
      <p:ext uri="{BB962C8B-B14F-4D97-AF65-F5344CB8AC3E}">
        <p14:creationId xmlns:p14="http://schemas.microsoft.com/office/powerpoint/2010/main" val="11648932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624001" y="811200"/>
            <a:ext cx="4107657" cy="792432"/>
          </a:xfrm>
        </p:spPr>
        <p:txBody>
          <a:bodyPr/>
          <a:lstStyle/>
          <a:p>
            <a:r>
              <a:rPr lang="en-US"/>
              <a:t>How does it work?</a:t>
            </a:r>
          </a:p>
        </p:txBody>
      </p:sp>
      <p:grpSp>
        <p:nvGrpSpPr>
          <p:cNvPr id="178" name="Groep 177">
            <a:extLst>
              <a:ext uri="{FF2B5EF4-FFF2-40B4-BE49-F238E27FC236}">
                <a16:creationId xmlns:a16="http://schemas.microsoft.com/office/drawing/2014/main" id="{51B825EB-29F7-43DB-859C-374F6F131577}"/>
              </a:ext>
            </a:extLst>
          </p:cNvPr>
          <p:cNvGrpSpPr/>
          <p:nvPr/>
        </p:nvGrpSpPr>
        <p:grpSpPr>
          <a:xfrm>
            <a:off x="357760" y="1881850"/>
            <a:ext cx="5858195" cy="4359335"/>
            <a:chOff x="228292" y="1602675"/>
            <a:chExt cx="4393646" cy="3269502"/>
          </a:xfrm>
        </p:grpSpPr>
        <p:sp>
          <p:nvSpPr>
            <p:cNvPr id="14" name="Tekstvak 13">
              <a:extLst>
                <a:ext uri="{FF2B5EF4-FFF2-40B4-BE49-F238E27FC236}">
                  <a16:creationId xmlns:a16="http://schemas.microsoft.com/office/drawing/2014/main" id="{BA631951-EA61-4BF2-A724-6B26E235F2C5}"/>
                </a:ext>
              </a:extLst>
            </p:cNvPr>
            <p:cNvSpPr txBox="1"/>
            <p:nvPr/>
          </p:nvSpPr>
          <p:spPr>
            <a:xfrm>
              <a:off x="601644" y="1602675"/>
              <a:ext cx="4020294" cy="3269502"/>
            </a:xfrm>
            <a:prstGeom prst="rect">
              <a:avLst/>
            </a:prstGeom>
            <a:noFill/>
          </p:spPr>
          <p:txBody>
            <a:bodyPr wrap="square" rtlCol="0">
              <a:spAutoFit/>
            </a:bodyPr>
            <a:lstStyle/>
            <a:p>
              <a:pPr defTabSz="914377"/>
              <a:r>
                <a:rPr lang="en-US" sz="2133" b="1" dirty="0">
                  <a:solidFill>
                    <a:srgbClr val="000000"/>
                  </a:solidFill>
                  <a:latin typeface="Calibri" panose="020F0502020204030204"/>
                </a:rPr>
                <a:t>Service Providers:</a:t>
              </a:r>
            </a:p>
            <a:p>
              <a:pPr marL="380990" indent="-380990" defTabSz="914377">
                <a:buFont typeface="Arial" panose="020B0604020202020204" pitchFamily="34" charset="0"/>
                <a:buChar char="•"/>
              </a:pPr>
              <a:r>
                <a:rPr lang="en-US" sz="2133" dirty="0">
                  <a:solidFill>
                    <a:srgbClr val="000000"/>
                  </a:solidFill>
                  <a:latin typeface="Calibri" panose="020F0502020204030204"/>
                </a:rPr>
                <a:t>Digital platforms, interconnected using IDS</a:t>
              </a:r>
            </a:p>
            <a:p>
              <a:pPr marL="380990" indent="-380990" defTabSz="914377">
                <a:buFont typeface="Arial" panose="020B0604020202020204" pitchFamily="34" charset="0"/>
                <a:buChar char="•"/>
              </a:pPr>
              <a:r>
                <a:rPr lang="en-US" sz="2133" dirty="0">
                  <a:solidFill>
                    <a:srgbClr val="000000"/>
                  </a:solidFill>
                  <a:latin typeface="Calibri" panose="020F0502020204030204"/>
                </a:rPr>
                <a:t>Independent ‘address book’ for routing communication</a:t>
              </a:r>
            </a:p>
            <a:p>
              <a:pPr marL="380990" indent="-380990" defTabSz="914377">
                <a:buFont typeface="Arial" panose="020B0604020202020204" pitchFamily="34" charset="0"/>
                <a:buChar char="•"/>
              </a:pPr>
              <a:r>
                <a:rPr lang="en-US" sz="2133" dirty="0">
                  <a:solidFill>
                    <a:srgbClr val="000000"/>
                  </a:solidFill>
                  <a:latin typeface="Calibri" panose="020F0502020204030204"/>
                </a:rPr>
                <a:t>Several providers. Choose the most suitable for your business</a:t>
              </a:r>
            </a:p>
            <a:p>
              <a:pPr defTabSz="914377"/>
              <a:endParaRPr lang="en-US" sz="2133" dirty="0">
                <a:solidFill>
                  <a:srgbClr val="000000"/>
                </a:solidFill>
                <a:latin typeface="Calibri" panose="020F0502020204030204"/>
              </a:endParaRPr>
            </a:p>
            <a:p>
              <a:pPr defTabSz="914377"/>
              <a:r>
                <a:rPr lang="en-US" sz="2133" b="1" dirty="0">
                  <a:solidFill>
                    <a:srgbClr val="000000"/>
                  </a:solidFill>
                  <a:latin typeface="Calibri" panose="020F0502020204030204"/>
                </a:rPr>
                <a:t>Manufacturing companies:</a:t>
              </a:r>
            </a:p>
            <a:p>
              <a:pPr marL="380990" indent="-380990" defTabSz="914377">
                <a:buFont typeface="Arial" panose="020B0604020202020204" pitchFamily="34" charset="0"/>
                <a:buChar char="•"/>
              </a:pPr>
              <a:r>
                <a:rPr lang="en-US" sz="2133" dirty="0">
                  <a:solidFill>
                    <a:srgbClr val="000000"/>
                  </a:solidFill>
                  <a:latin typeface="Calibri" panose="020F0502020204030204"/>
                </a:rPr>
                <a:t>One-time integration with own ERP system</a:t>
              </a:r>
            </a:p>
            <a:p>
              <a:pPr marL="380990" indent="-380990" defTabSz="914377">
                <a:buFont typeface="Arial" panose="020B0604020202020204" pitchFamily="34" charset="0"/>
                <a:buChar char="•"/>
              </a:pPr>
              <a:endParaRPr lang="en-US" sz="2133" dirty="0">
                <a:solidFill>
                  <a:srgbClr val="000000"/>
                </a:solidFill>
                <a:latin typeface="Calibri" panose="020F0502020204030204"/>
              </a:endParaRPr>
            </a:p>
            <a:p>
              <a:pPr defTabSz="914377"/>
              <a:r>
                <a:rPr lang="en-US" sz="2133" b="1" dirty="0">
                  <a:solidFill>
                    <a:srgbClr val="000000"/>
                  </a:solidFill>
                  <a:latin typeface="Calibri" panose="020F0502020204030204"/>
                </a:rPr>
                <a:t>ERP systems:</a:t>
              </a:r>
            </a:p>
            <a:p>
              <a:pPr marL="380990" indent="-380990" defTabSz="914377">
                <a:buFont typeface="Arial" panose="020B0604020202020204" pitchFamily="34" charset="0"/>
                <a:buChar char="•"/>
              </a:pPr>
              <a:r>
                <a:rPr lang="en-US" sz="2133" dirty="0">
                  <a:solidFill>
                    <a:srgbClr val="000000"/>
                  </a:solidFill>
                  <a:latin typeface="Calibri" panose="020F0502020204030204"/>
                </a:rPr>
                <a:t>A manufacturing company can choose their preferred ERP system.</a:t>
              </a:r>
            </a:p>
          </p:txBody>
        </p:sp>
        <p:grpSp>
          <p:nvGrpSpPr>
            <p:cNvPr id="40" name="Groep 39">
              <a:extLst>
                <a:ext uri="{FF2B5EF4-FFF2-40B4-BE49-F238E27FC236}">
                  <a16:creationId xmlns:a16="http://schemas.microsoft.com/office/drawing/2014/main" id="{382CAF80-B2A8-46F5-BF3D-5B9B9A06D539}"/>
                </a:ext>
              </a:extLst>
            </p:cNvPr>
            <p:cNvGrpSpPr/>
            <p:nvPr/>
          </p:nvGrpSpPr>
          <p:grpSpPr>
            <a:xfrm>
              <a:off x="253213" y="1602675"/>
              <a:ext cx="353846" cy="305039"/>
              <a:chOff x="5272741" y="1131770"/>
              <a:chExt cx="642919" cy="554240"/>
            </a:xfrm>
          </p:grpSpPr>
          <p:sp>
            <p:nvSpPr>
              <p:cNvPr id="38" name="Zeshoek 37">
                <a:extLst>
                  <a:ext uri="{FF2B5EF4-FFF2-40B4-BE49-F238E27FC236}">
                    <a16:creationId xmlns:a16="http://schemas.microsoft.com/office/drawing/2014/main" id="{63926B41-097F-4396-8E15-C0EA5547EB76}"/>
                  </a:ext>
                </a:extLst>
              </p:cNvPr>
              <p:cNvSpPr/>
              <p:nvPr/>
            </p:nvSpPr>
            <p:spPr>
              <a:xfrm>
                <a:off x="5272741" y="1131770"/>
                <a:ext cx="642919" cy="554240"/>
              </a:xfrm>
              <a:prstGeom prst="hexagon">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pic>
            <p:nvPicPr>
              <p:cNvPr id="39" name="Graphic 38" descr="Cloud voor synchronisatie">
                <a:extLst>
                  <a:ext uri="{FF2B5EF4-FFF2-40B4-BE49-F238E27FC236}">
                    <a16:creationId xmlns:a16="http://schemas.microsoft.com/office/drawing/2014/main" id="{B1749CFD-A3C1-4FEC-9CCF-C4EE05DE5F2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82831" y="1186761"/>
                <a:ext cx="422738" cy="422738"/>
              </a:xfrm>
              <a:prstGeom prst="rect">
                <a:avLst/>
              </a:prstGeom>
            </p:spPr>
          </p:pic>
        </p:grpSp>
        <p:sp>
          <p:nvSpPr>
            <p:cNvPr id="41" name="Zeshoek 40">
              <a:extLst>
                <a:ext uri="{FF2B5EF4-FFF2-40B4-BE49-F238E27FC236}">
                  <a16:creationId xmlns:a16="http://schemas.microsoft.com/office/drawing/2014/main" id="{0B7A9E16-EB56-4362-A954-534B2BC8BFF3}"/>
                </a:ext>
              </a:extLst>
            </p:cNvPr>
            <p:cNvSpPr/>
            <p:nvPr/>
          </p:nvSpPr>
          <p:spPr>
            <a:xfrm>
              <a:off x="246176" y="3568400"/>
              <a:ext cx="373352" cy="315808"/>
            </a:xfrm>
            <a:prstGeom prst="hexagon">
              <a:avLst/>
            </a:prstGeom>
            <a:ln>
              <a:noFill/>
            </a:ln>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nvGrpSpPr>
            <p:cNvPr id="174" name="Groep 173">
              <a:extLst>
                <a:ext uri="{FF2B5EF4-FFF2-40B4-BE49-F238E27FC236}">
                  <a16:creationId xmlns:a16="http://schemas.microsoft.com/office/drawing/2014/main" id="{22299554-E0FF-4518-A37A-3CC61A7DD41C}"/>
                </a:ext>
              </a:extLst>
            </p:cNvPr>
            <p:cNvGrpSpPr/>
            <p:nvPr/>
          </p:nvGrpSpPr>
          <p:grpSpPr>
            <a:xfrm>
              <a:off x="228292" y="4284159"/>
              <a:ext cx="373352" cy="321855"/>
              <a:chOff x="-835742" y="3670668"/>
              <a:chExt cx="558329" cy="481318"/>
            </a:xfrm>
          </p:grpSpPr>
          <p:sp>
            <p:nvSpPr>
              <p:cNvPr id="172" name="Zeshoek 171">
                <a:extLst>
                  <a:ext uri="{FF2B5EF4-FFF2-40B4-BE49-F238E27FC236}">
                    <a16:creationId xmlns:a16="http://schemas.microsoft.com/office/drawing/2014/main" id="{720D1381-F074-468A-B1FF-460310B4DD94}"/>
                  </a:ext>
                </a:extLst>
              </p:cNvPr>
              <p:cNvSpPr/>
              <p:nvPr/>
            </p:nvSpPr>
            <p:spPr>
              <a:xfrm>
                <a:off x="-835742" y="3670668"/>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73" name="Zeshoek 172">
                <a:extLst>
                  <a:ext uri="{FF2B5EF4-FFF2-40B4-BE49-F238E27FC236}">
                    <a16:creationId xmlns:a16="http://schemas.microsoft.com/office/drawing/2014/main" id="{118572B9-1311-428C-B5BE-ADB9CE0537A6}"/>
                  </a:ext>
                </a:extLst>
              </p:cNvPr>
              <p:cNvSpPr/>
              <p:nvPr/>
            </p:nvSpPr>
            <p:spPr>
              <a:xfrm>
                <a:off x="-630204" y="3898202"/>
                <a:ext cx="294390" cy="253784"/>
              </a:xfrm>
              <a:prstGeom prst="hexagon">
                <a:avLst/>
              </a:prstGeom>
              <a:solidFill>
                <a:srgbClr val="74C6DC"/>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grpSp>
        <p:nvGrpSpPr>
          <p:cNvPr id="177" name="Groep 176">
            <a:extLst>
              <a:ext uri="{FF2B5EF4-FFF2-40B4-BE49-F238E27FC236}">
                <a16:creationId xmlns:a16="http://schemas.microsoft.com/office/drawing/2014/main" id="{084388C2-9914-493C-A9F6-3869A6003CC6}"/>
              </a:ext>
            </a:extLst>
          </p:cNvPr>
          <p:cNvGrpSpPr/>
          <p:nvPr/>
        </p:nvGrpSpPr>
        <p:grpSpPr>
          <a:xfrm>
            <a:off x="6396947" y="949201"/>
            <a:ext cx="5535261" cy="5470636"/>
            <a:chOff x="4844198" y="876945"/>
            <a:chExt cx="4151446" cy="4102977"/>
          </a:xfrm>
        </p:grpSpPr>
        <p:grpSp>
          <p:nvGrpSpPr>
            <p:cNvPr id="171" name="Groep 170">
              <a:extLst>
                <a:ext uri="{FF2B5EF4-FFF2-40B4-BE49-F238E27FC236}">
                  <a16:creationId xmlns:a16="http://schemas.microsoft.com/office/drawing/2014/main" id="{3AE0E0E9-3B42-4A63-8A56-5C32AC8BD10D}"/>
                </a:ext>
              </a:extLst>
            </p:cNvPr>
            <p:cNvGrpSpPr/>
            <p:nvPr/>
          </p:nvGrpSpPr>
          <p:grpSpPr>
            <a:xfrm>
              <a:off x="4844198" y="995838"/>
              <a:ext cx="4151446" cy="3984084"/>
              <a:chOff x="4652051" y="729377"/>
              <a:chExt cx="4151446" cy="3984084"/>
            </a:xfrm>
          </p:grpSpPr>
          <p:grpSp>
            <p:nvGrpSpPr>
              <p:cNvPr id="55" name="Groep 54">
                <a:extLst>
                  <a:ext uri="{FF2B5EF4-FFF2-40B4-BE49-F238E27FC236}">
                    <a16:creationId xmlns:a16="http://schemas.microsoft.com/office/drawing/2014/main" id="{D397FDD4-E401-46A8-BD77-A440BF11FDE9}"/>
                  </a:ext>
                </a:extLst>
              </p:cNvPr>
              <p:cNvGrpSpPr/>
              <p:nvPr/>
            </p:nvGrpSpPr>
            <p:grpSpPr>
              <a:xfrm>
                <a:off x="6362464" y="1774814"/>
                <a:ext cx="1076555" cy="1100327"/>
                <a:chOff x="9345989" y="31885"/>
                <a:chExt cx="868692" cy="887876"/>
              </a:xfrm>
            </p:grpSpPr>
            <p:pic>
              <p:nvPicPr>
                <p:cNvPr id="73" name="Picture 2" descr="Afbeeldingsresultaat voor ids association">
                  <a:extLst>
                    <a:ext uri="{FF2B5EF4-FFF2-40B4-BE49-F238E27FC236}">
                      <a16:creationId xmlns:a16="http://schemas.microsoft.com/office/drawing/2014/main" id="{062E8D8D-3399-4A65-BB79-7E639DCB10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45989" y="443078"/>
                  <a:ext cx="868692" cy="476683"/>
                </a:xfrm>
                <a:prstGeom prst="rect">
                  <a:avLst/>
                </a:prstGeom>
                <a:noFill/>
                <a:extLst>
                  <a:ext uri="{909E8E84-426E-40DD-AFC4-6F175D3DCCD1}">
                    <a14:hiddenFill xmlns:a14="http://schemas.microsoft.com/office/drawing/2010/main">
                      <a:solidFill>
                        <a:srgbClr val="FFFFFF"/>
                      </a:solidFill>
                    </a14:hiddenFill>
                  </a:ext>
                </a:extLst>
              </p:spPr>
            </p:pic>
            <p:pic>
              <p:nvPicPr>
                <p:cNvPr id="72" name="Afbeelding 71">
                  <a:extLst>
                    <a:ext uri="{FF2B5EF4-FFF2-40B4-BE49-F238E27FC236}">
                      <a16:creationId xmlns:a16="http://schemas.microsoft.com/office/drawing/2014/main" id="{C09C1E3A-BFDD-4112-82E7-2E76792FFF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30739" y="31885"/>
                  <a:ext cx="706409" cy="388165"/>
                </a:xfrm>
                <a:prstGeom prst="rect">
                  <a:avLst/>
                </a:prstGeom>
              </p:spPr>
            </p:pic>
            <p:sp>
              <p:nvSpPr>
                <p:cNvPr id="53" name="Tekstvak 52">
                  <a:extLst>
                    <a:ext uri="{FF2B5EF4-FFF2-40B4-BE49-F238E27FC236}">
                      <a16:creationId xmlns:a16="http://schemas.microsoft.com/office/drawing/2014/main" id="{6E13916E-EB98-4DAF-B7DE-127AD83FD256}"/>
                    </a:ext>
                  </a:extLst>
                </p:cNvPr>
                <p:cNvSpPr txBox="1"/>
                <p:nvPr/>
              </p:nvSpPr>
              <p:spPr>
                <a:xfrm>
                  <a:off x="9622367" y="361651"/>
                  <a:ext cx="204889" cy="279395"/>
                </a:xfrm>
                <a:prstGeom prst="rect">
                  <a:avLst/>
                </a:prstGeom>
                <a:noFill/>
              </p:spPr>
              <p:txBody>
                <a:bodyPr wrap="none" rtlCol="0">
                  <a:spAutoFit/>
                </a:bodyPr>
                <a:lstStyle/>
                <a:p>
                  <a:pPr defTabSz="914377"/>
                  <a:r>
                    <a:rPr lang="nl-NL" sz="2400" b="1" dirty="0">
                      <a:solidFill>
                        <a:srgbClr val="405066"/>
                      </a:solidFill>
                      <a:latin typeface="Calibri" panose="020F0502020204030204"/>
                    </a:rPr>
                    <a:t>+</a:t>
                  </a:r>
                </a:p>
              </p:txBody>
            </p:sp>
          </p:grpSp>
          <p:sp>
            <p:nvSpPr>
              <p:cNvPr id="146" name="Zeshoek 145">
                <a:extLst>
                  <a:ext uri="{FF2B5EF4-FFF2-40B4-BE49-F238E27FC236}">
                    <a16:creationId xmlns:a16="http://schemas.microsoft.com/office/drawing/2014/main" id="{46ABFB82-D47F-4BFB-AE2F-84A306C04C5E}"/>
                  </a:ext>
                </a:extLst>
              </p:cNvPr>
              <p:cNvSpPr/>
              <p:nvPr/>
            </p:nvSpPr>
            <p:spPr>
              <a:xfrm>
                <a:off x="6083587" y="1620946"/>
                <a:ext cx="1555398" cy="1340859"/>
              </a:xfrm>
              <a:prstGeom prst="hexagon">
                <a:avLst/>
              </a:prstGeom>
              <a:noFill/>
              <a:ln w="76200">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77"/>
                <a:endParaRPr lang="en-US" sz="1867" dirty="0">
                  <a:solidFill>
                    <a:srgbClr val="FFFFFF"/>
                  </a:solidFill>
                  <a:latin typeface="Calibri" panose="020F0502020204030204"/>
                </a:endParaRPr>
              </a:p>
            </p:txBody>
          </p:sp>
          <p:grpSp>
            <p:nvGrpSpPr>
              <p:cNvPr id="26" name="Groep 25">
                <a:extLst>
                  <a:ext uri="{FF2B5EF4-FFF2-40B4-BE49-F238E27FC236}">
                    <a16:creationId xmlns:a16="http://schemas.microsoft.com/office/drawing/2014/main" id="{E0A45ED9-5063-47F8-9B18-CA94C8FB82D7}"/>
                  </a:ext>
                </a:extLst>
              </p:cNvPr>
              <p:cNvGrpSpPr/>
              <p:nvPr/>
            </p:nvGrpSpPr>
            <p:grpSpPr>
              <a:xfrm>
                <a:off x="4652051" y="843747"/>
                <a:ext cx="1721927" cy="1450345"/>
                <a:chOff x="4883946" y="1482275"/>
                <a:chExt cx="1721927" cy="1450345"/>
              </a:xfrm>
            </p:grpSpPr>
            <p:grpSp>
              <p:nvGrpSpPr>
                <p:cNvPr id="3" name="Groep 2">
                  <a:extLst>
                    <a:ext uri="{FF2B5EF4-FFF2-40B4-BE49-F238E27FC236}">
                      <a16:creationId xmlns:a16="http://schemas.microsoft.com/office/drawing/2014/main" id="{691F2376-22B8-40D2-BAAE-10B0C94C6094}"/>
                    </a:ext>
                  </a:extLst>
                </p:cNvPr>
                <p:cNvGrpSpPr/>
                <p:nvPr/>
              </p:nvGrpSpPr>
              <p:grpSpPr>
                <a:xfrm>
                  <a:off x="5780677" y="1860375"/>
                  <a:ext cx="825196" cy="711375"/>
                  <a:chOff x="7134119" y="2448164"/>
                  <a:chExt cx="1104003" cy="951726"/>
                </a:xfrm>
              </p:grpSpPr>
              <p:sp>
                <p:nvSpPr>
                  <p:cNvPr id="7" name="Zeshoek 6">
                    <a:extLst>
                      <a:ext uri="{FF2B5EF4-FFF2-40B4-BE49-F238E27FC236}">
                        <a16:creationId xmlns:a16="http://schemas.microsoft.com/office/drawing/2014/main" id="{A003C0CE-023C-4652-9593-14E19B7D2F4E}"/>
                      </a:ext>
                    </a:extLst>
                  </p:cNvPr>
                  <p:cNvSpPr/>
                  <p:nvPr/>
                </p:nvSpPr>
                <p:spPr>
                  <a:xfrm>
                    <a:off x="7134119" y="2448164"/>
                    <a:ext cx="1104003" cy="951726"/>
                  </a:xfrm>
                  <a:prstGeom prst="hexagon">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77"/>
                    <a:endParaRPr lang="en-US" sz="1867" dirty="0">
                      <a:solidFill>
                        <a:srgbClr val="FFFFFF"/>
                      </a:solidFill>
                      <a:latin typeface="Calibri" panose="020F0502020204030204"/>
                    </a:endParaRPr>
                  </a:p>
                </p:txBody>
              </p:sp>
              <p:pic>
                <p:nvPicPr>
                  <p:cNvPr id="17" name="Graphic 16" descr="Cloud voor synchronisatie">
                    <a:extLst>
                      <a:ext uri="{FF2B5EF4-FFF2-40B4-BE49-F238E27FC236}">
                        <a16:creationId xmlns:a16="http://schemas.microsoft.com/office/drawing/2014/main" id="{F867546F-D9A3-4E65-84B8-98DD28E63A3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33350" y="2519724"/>
                    <a:ext cx="725914" cy="725914"/>
                  </a:xfrm>
                  <a:prstGeom prst="rect">
                    <a:avLst/>
                  </a:prstGeom>
                </p:spPr>
              </p:pic>
            </p:grpSp>
            <p:grpSp>
              <p:nvGrpSpPr>
                <p:cNvPr id="16" name="Groep 15">
                  <a:extLst>
                    <a:ext uri="{FF2B5EF4-FFF2-40B4-BE49-F238E27FC236}">
                      <a16:creationId xmlns:a16="http://schemas.microsoft.com/office/drawing/2014/main" id="{6184E67C-177F-4642-B7F9-C93C54DBBC90}"/>
                    </a:ext>
                  </a:extLst>
                </p:cNvPr>
                <p:cNvGrpSpPr/>
                <p:nvPr/>
              </p:nvGrpSpPr>
              <p:grpSpPr>
                <a:xfrm>
                  <a:off x="4883946" y="1964796"/>
                  <a:ext cx="558329" cy="481318"/>
                  <a:chOff x="5326018" y="664903"/>
                  <a:chExt cx="558329" cy="481318"/>
                </a:xfrm>
              </p:grpSpPr>
              <p:sp>
                <p:nvSpPr>
                  <p:cNvPr id="31" name="Zeshoek 30">
                    <a:extLst>
                      <a:ext uri="{FF2B5EF4-FFF2-40B4-BE49-F238E27FC236}">
                        <a16:creationId xmlns:a16="http://schemas.microsoft.com/office/drawing/2014/main" id="{BB94D24F-7D4A-4907-A09B-3384A3A8E49D}"/>
                      </a:ext>
                    </a:extLst>
                  </p:cNvPr>
                  <p:cNvSpPr/>
                  <p:nvPr/>
                </p:nvSpPr>
                <p:spPr>
                  <a:xfrm>
                    <a:off x="5326018" y="664903"/>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60" name="Zeshoek 59">
                    <a:extLst>
                      <a:ext uri="{FF2B5EF4-FFF2-40B4-BE49-F238E27FC236}">
                        <a16:creationId xmlns:a16="http://schemas.microsoft.com/office/drawing/2014/main" id="{8D5632FF-EADA-4E82-97A1-3DC4D2CB4C8D}"/>
                      </a:ext>
                    </a:extLst>
                  </p:cNvPr>
                  <p:cNvSpPr/>
                  <p:nvPr/>
                </p:nvSpPr>
                <p:spPr>
                  <a:xfrm>
                    <a:off x="5531556" y="892437"/>
                    <a:ext cx="294390" cy="253784"/>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nvGrpSpPr>
                <p:cNvPr id="61" name="Groep 60">
                  <a:extLst>
                    <a:ext uri="{FF2B5EF4-FFF2-40B4-BE49-F238E27FC236}">
                      <a16:creationId xmlns:a16="http://schemas.microsoft.com/office/drawing/2014/main" id="{E58B55B2-3A0C-45AD-9409-12CFCA88687B}"/>
                    </a:ext>
                  </a:extLst>
                </p:cNvPr>
                <p:cNvGrpSpPr/>
                <p:nvPr/>
              </p:nvGrpSpPr>
              <p:grpSpPr>
                <a:xfrm>
                  <a:off x="4885918" y="1482275"/>
                  <a:ext cx="558329" cy="481318"/>
                  <a:chOff x="5326018" y="664903"/>
                  <a:chExt cx="558329" cy="481318"/>
                </a:xfrm>
              </p:grpSpPr>
              <p:sp>
                <p:nvSpPr>
                  <p:cNvPr id="63" name="Zeshoek 62">
                    <a:extLst>
                      <a:ext uri="{FF2B5EF4-FFF2-40B4-BE49-F238E27FC236}">
                        <a16:creationId xmlns:a16="http://schemas.microsoft.com/office/drawing/2014/main" id="{E9425B80-D61B-489E-BAE8-3F9768B49E75}"/>
                      </a:ext>
                    </a:extLst>
                  </p:cNvPr>
                  <p:cNvSpPr/>
                  <p:nvPr/>
                </p:nvSpPr>
                <p:spPr>
                  <a:xfrm>
                    <a:off x="5326018" y="664903"/>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64" name="Zeshoek 63">
                    <a:extLst>
                      <a:ext uri="{FF2B5EF4-FFF2-40B4-BE49-F238E27FC236}">
                        <a16:creationId xmlns:a16="http://schemas.microsoft.com/office/drawing/2014/main" id="{DCC312E9-641A-4227-96E0-94442305A3ED}"/>
                      </a:ext>
                    </a:extLst>
                  </p:cNvPr>
                  <p:cNvSpPr/>
                  <p:nvPr/>
                </p:nvSpPr>
                <p:spPr>
                  <a:xfrm>
                    <a:off x="5531556" y="892437"/>
                    <a:ext cx="294390" cy="253784"/>
                  </a:xfrm>
                  <a:prstGeom prst="hexagon">
                    <a:avLst/>
                  </a:prstGeom>
                  <a:solidFill>
                    <a:srgbClr val="166434"/>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nvGrpSpPr>
                <p:cNvPr id="66" name="Groep 65">
                  <a:extLst>
                    <a:ext uri="{FF2B5EF4-FFF2-40B4-BE49-F238E27FC236}">
                      <a16:creationId xmlns:a16="http://schemas.microsoft.com/office/drawing/2014/main" id="{7EE6E7AC-1221-4068-8611-6677736CD53A}"/>
                    </a:ext>
                  </a:extLst>
                </p:cNvPr>
                <p:cNvGrpSpPr/>
                <p:nvPr/>
              </p:nvGrpSpPr>
              <p:grpSpPr>
                <a:xfrm>
                  <a:off x="5318436" y="1737262"/>
                  <a:ext cx="558329" cy="481318"/>
                  <a:chOff x="5326018" y="664903"/>
                  <a:chExt cx="558329" cy="481318"/>
                </a:xfrm>
              </p:grpSpPr>
              <p:sp>
                <p:nvSpPr>
                  <p:cNvPr id="67" name="Zeshoek 66">
                    <a:extLst>
                      <a:ext uri="{FF2B5EF4-FFF2-40B4-BE49-F238E27FC236}">
                        <a16:creationId xmlns:a16="http://schemas.microsoft.com/office/drawing/2014/main" id="{59E6F86D-DC3B-4730-AC92-B34BBD544332}"/>
                      </a:ext>
                    </a:extLst>
                  </p:cNvPr>
                  <p:cNvSpPr/>
                  <p:nvPr/>
                </p:nvSpPr>
                <p:spPr>
                  <a:xfrm>
                    <a:off x="5326018" y="664903"/>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69" name="Zeshoek 68">
                    <a:extLst>
                      <a:ext uri="{FF2B5EF4-FFF2-40B4-BE49-F238E27FC236}">
                        <a16:creationId xmlns:a16="http://schemas.microsoft.com/office/drawing/2014/main" id="{BEE4CE9A-2A19-4608-B083-C3D55DFFACAE}"/>
                      </a:ext>
                    </a:extLst>
                  </p:cNvPr>
                  <p:cNvSpPr/>
                  <p:nvPr/>
                </p:nvSpPr>
                <p:spPr>
                  <a:xfrm>
                    <a:off x="5531556" y="892437"/>
                    <a:ext cx="294390" cy="253784"/>
                  </a:xfrm>
                  <a:prstGeom prst="hexagon">
                    <a:avLst/>
                  </a:prstGeom>
                  <a:solidFill>
                    <a:srgbClr val="2E6784"/>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nvGrpSpPr>
                <p:cNvPr id="70" name="Groep 69">
                  <a:extLst>
                    <a:ext uri="{FF2B5EF4-FFF2-40B4-BE49-F238E27FC236}">
                      <a16:creationId xmlns:a16="http://schemas.microsoft.com/office/drawing/2014/main" id="{4F68FB94-2ED2-47C6-A759-BB5878CE43DB}"/>
                    </a:ext>
                  </a:extLst>
                </p:cNvPr>
                <p:cNvGrpSpPr/>
                <p:nvPr/>
              </p:nvGrpSpPr>
              <p:grpSpPr>
                <a:xfrm>
                  <a:off x="5320629" y="2220987"/>
                  <a:ext cx="558329" cy="481318"/>
                  <a:chOff x="5326018" y="664903"/>
                  <a:chExt cx="558329" cy="481318"/>
                </a:xfrm>
              </p:grpSpPr>
              <p:sp>
                <p:nvSpPr>
                  <p:cNvPr id="76" name="Zeshoek 75">
                    <a:extLst>
                      <a:ext uri="{FF2B5EF4-FFF2-40B4-BE49-F238E27FC236}">
                        <a16:creationId xmlns:a16="http://schemas.microsoft.com/office/drawing/2014/main" id="{71E73444-881E-48B0-B109-EB6109AB3FC8}"/>
                      </a:ext>
                    </a:extLst>
                  </p:cNvPr>
                  <p:cNvSpPr/>
                  <p:nvPr/>
                </p:nvSpPr>
                <p:spPr>
                  <a:xfrm>
                    <a:off x="5326018" y="664903"/>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78" name="Zeshoek 77">
                    <a:extLst>
                      <a:ext uri="{FF2B5EF4-FFF2-40B4-BE49-F238E27FC236}">
                        <a16:creationId xmlns:a16="http://schemas.microsoft.com/office/drawing/2014/main" id="{6887F353-19D9-4DFB-838A-330598E0CF62}"/>
                      </a:ext>
                    </a:extLst>
                  </p:cNvPr>
                  <p:cNvSpPr/>
                  <p:nvPr/>
                </p:nvSpPr>
                <p:spPr>
                  <a:xfrm>
                    <a:off x="5531556" y="892437"/>
                    <a:ext cx="294390" cy="253784"/>
                  </a:xfrm>
                  <a:prstGeom prst="hexagon">
                    <a:avLst/>
                  </a:prstGeom>
                  <a:solidFill>
                    <a:srgbClr val="74C6DC"/>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nvGrpSpPr>
                <p:cNvPr id="83" name="Groep 82">
                  <a:extLst>
                    <a:ext uri="{FF2B5EF4-FFF2-40B4-BE49-F238E27FC236}">
                      <a16:creationId xmlns:a16="http://schemas.microsoft.com/office/drawing/2014/main" id="{754EBB83-C7CA-45C4-B786-B68D1A60FBC2}"/>
                    </a:ext>
                  </a:extLst>
                </p:cNvPr>
                <p:cNvGrpSpPr/>
                <p:nvPr/>
              </p:nvGrpSpPr>
              <p:grpSpPr>
                <a:xfrm>
                  <a:off x="4887833" y="2451302"/>
                  <a:ext cx="558329" cy="481318"/>
                  <a:chOff x="5326018" y="664903"/>
                  <a:chExt cx="558329" cy="481318"/>
                </a:xfrm>
              </p:grpSpPr>
              <p:sp>
                <p:nvSpPr>
                  <p:cNvPr id="84" name="Zeshoek 83">
                    <a:extLst>
                      <a:ext uri="{FF2B5EF4-FFF2-40B4-BE49-F238E27FC236}">
                        <a16:creationId xmlns:a16="http://schemas.microsoft.com/office/drawing/2014/main" id="{867C86FE-5943-4A3A-BBEC-E1EDDF92A5FB}"/>
                      </a:ext>
                    </a:extLst>
                  </p:cNvPr>
                  <p:cNvSpPr/>
                  <p:nvPr/>
                </p:nvSpPr>
                <p:spPr>
                  <a:xfrm>
                    <a:off x="5326018" y="664903"/>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85" name="Zeshoek 84">
                    <a:extLst>
                      <a:ext uri="{FF2B5EF4-FFF2-40B4-BE49-F238E27FC236}">
                        <a16:creationId xmlns:a16="http://schemas.microsoft.com/office/drawing/2014/main" id="{6AEC151D-6A34-4B7F-BEFE-91DF52EB30B0}"/>
                      </a:ext>
                    </a:extLst>
                  </p:cNvPr>
                  <p:cNvSpPr/>
                  <p:nvPr/>
                </p:nvSpPr>
                <p:spPr>
                  <a:xfrm>
                    <a:off x="5531556" y="892437"/>
                    <a:ext cx="294390" cy="253784"/>
                  </a:xfrm>
                  <a:prstGeom prst="hexagon">
                    <a:avLst/>
                  </a:prstGeom>
                  <a:solidFill>
                    <a:srgbClr val="166434"/>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grpSp>
            <p:nvGrpSpPr>
              <p:cNvPr id="35" name="Groep 34">
                <a:extLst>
                  <a:ext uri="{FF2B5EF4-FFF2-40B4-BE49-F238E27FC236}">
                    <a16:creationId xmlns:a16="http://schemas.microsoft.com/office/drawing/2014/main" id="{48DC1FD2-D59F-4240-ADE8-7E4312E8647C}"/>
                  </a:ext>
                </a:extLst>
              </p:cNvPr>
              <p:cNvGrpSpPr/>
              <p:nvPr/>
            </p:nvGrpSpPr>
            <p:grpSpPr>
              <a:xfrm>
                <a:off x="5844662" y="3021021"/>
                <a:ext cx="1662907" cy="1692440"/>
                <a:chOff x="5194150" y="2643056"/>
                <a:chExt cx="1662907" cy="1692440"/>
              </a:xfrm>
            </p:grpSpPr>
            <p:grpSp>
              <p:nvGrpSpPr>
                <p:cNvPr id="90" name="Groep 89">
                  <a:extLst>
                    <a:ext uri="{FF2B5EF4-FFF2-40B4-BE49-F238E27FC236}">
                      <a16:creationId xmlns:a16="http://schemas.microsoft.com/office/drawing/2014/main" id="{83031DB6-7DD0-4EA7-BFAD-9561CBB28644}"/>
                    </a:ext>
                  </a:extLst>
                </p:cNvPr>
                <p:cNvGrpSpPr/>
                <p:nvPr/>
              </p:nvGrpSpPr>
              <p:grpSpPr>
                <a:xfrm>
                  <a:off x="6031861" y="2643056"/>
                  <a:ext cx="825196" cy="711375"/>
                  <a:chOff x="7134119" y="2448164"/>
                  <a:chExt cx="1104003" cy="951726"/>
                </a:xfrm>
              </p:grpSpPr>
              <p:sp>
                <p:nvSpPr>
                  <p:cNvPr id="112" name="Zeshoek 111">
                    <a:extLst>
                      <a:ext uri="{FF2B5EF4-FFF2-40B4-BE49-F238E27FC236}">
                        <a16:creationId xmlns:a16="http://schemas.microsoft.com/office/drawing/2014/main" id="{957B6AB5-510A-479A-A40F-174D27579EDA}"/>
                      </a:ext>
                    </a:extLst>
                  </p:cNvPr>
                  <p:cNvSpPr/>
                  <p:nvPr/>
                </p:nvSpPr>
                <p:spPr>
                  <a:xfrm>
                    <a:off x="7134119" y="2448164"/>
                    <a:ext cx="1104003" cy="951726"/>
                  </a:xfrm>
                  <a:prstGeom prst="hexagon">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77"/>
                    <a:endParaRPr lang="en-US" sz="1867" dirty="0">
                      <a:solidFill>
                        <a:srgbClr val="FFFFFF"/>
                      </a:solidFill>
                      <a:latin typeface="Calibri" panose="020F0502020204030204"/>
                    </a:endParaRPr>
                  </a:p>
                </p:txBody>
              </p:sp>
              <p:pic>
                <p:nvPicPr>
                  <p:cNvPr id="113" name="Graphic 112" descr="Cloud voor synchronisatie">
                    <a:extLst>
                      <a:ext uri="{FF2B5EF4-FFF2-40B4-BE49-F238E27FC236}">
                        <a16:creationId xmlns:a16="http://schemas.microsoft.com/office/drawing/2014/main" id="{DF906910-D40C-4BE0-93F4-D65DEE3C9C4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33350" y="2519724"/>
                    <a:ext cx="725914" cy="725914"/>
                  </a:xfrm>
                  <a:prstGeom prst="rect">
                    <a:avLst/>
                  </a:prstGeom>
                </p:spPr>
              </p:pic>
            </p:grpSp>
            <p:grpSp>
              <p:nvGrpSpPr>
                <p:cNvPr id="91" name="Groep 90">
                  <a:extLst>
                    <a:ext uri="{FF2B5EF4-FFF2-40B4-BE49-F238E27FC236}">
                      <a16:creationId xmlns:a16="http://schemas.microsoft.com/office/drawing/2014/main" id="{B7AE01A2-D9E5-4E6E-B1A3-8182A49E814D}"/>
                    </a:ext>
                  </a:extLst>
                </p:cNvPr>
                <p:cNvGrpSpPr/>
                <p:nvPr/>
              </p:nvGrpSpPr>
              <p:grpSpPr>
                <a:xfrm>
                  <a:off x="5629566" y="3597742"/>
                  <a:ext cx="558329" cy="481318"/>
                  <a:chOff x="5326018" y="664903"/>
                  <a:chExt cx="558329" cy="481318"/>
                </a:xfrm>
              </p:grpSpPr>
              <p:sp>
                <p:nvSpPr>
                  <p:cNvPr id="110" name="Zeshoek 109">
                    <a:extLst>
                      <a:ext uri="{FF2B5EF4-FFF2-40B4-BE49-F238E27FC236}">
                        <a16:creationId xmlns:a16="http://schemas.microsoft.com/office/drawing/2014/main" id="{D11120C7-2390-4FC3-A88D-3AD3942FE350}"/>
                      </a:ext>
                    </a:extLst>
                  </p:cNvPr>
                  <p:cNvSpPr/>
                  <p:nvPr/>
                </p:nvSpPr>
                <p:spPr>
                  <a:xfrm>
                    <a:off x="5326018" y="664903"/>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11" name="Zeshoek 110">
                    <a:extLst>
                      <a:ext uri="{FF2B5EF4-FFF2-40B4-BE49-F238E27FC236}">
                        <a16:creationId xmlns:a16="http://schemas.microsoft.com/office/drawing/2014/main" id="{497559CD-4185-4C70-8348-01542A062EBE}"/>
                      </a:ext>
                    </a:extLst>
                  </p:cNvPr>
                  <p:cNvSpPr/>
                  <p:nvPr/>
                </p:nvSpPr>
                <p:spPr>
                  <a:xfrm>
                    <a:off x="5531556" y="892437"/>
                    <a:ext cx="294390" cy="253784"/>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nvGrpSpPr>
                <p:cNvPr id="92" name="Groep 91">
                  <a:extLst>
                    <a:ext uri="{FF2B5EF4-FFF2-40B4-BE49-F238E27FC236}">
                      <a16:creationId xmlns:a16="http://schemas.microsoft.com/office/drawing/2014/main" id="{BE2CC465-CEF4-4997-AE9F-D4F8D58BF814}"/>
                    </a:ext>
                  </a:extLst>
                </p:cNvPr>
                <p:cNvGrpSpPr/>
                <p:nvPr/>
              </p:nvGrpSpPr>
              <p:grpSpPr>
                <a:xfrm>
                  <a:off x="5631538" y="3115221"/>
                  <a:ext cx="558329" cy="481318"/>
                  <a:chOff x="5326018" y="664903"/>
                  <a:chExt cx="558329" cy="481318"/>
                </a:xfrm>
              </p:grpSpPr>
              <p:sp>
                <p:nvSpPr>
                  <p:cNvPr id="108" name="Zeshoek 107">
                    <a:extLst>
                      <a:ext uri="{FF2B5EF4-FFF2-40B4-BE49-F238E27FC236}">
                        <a16:creationId xmlns:a16="http://schemas.microsoft.com/office/drawing/2014/main" id="{0031CE8C-D64D-48F0-8C75-BF57A935CDA5}"/>
                      </a:ext>
                    </a:extLst>
                  </p:cNvPr>
                  <p:cNvSpPr/>
                  <p:nvPr/>
                </p:nvSpPr>
                <p:spPr>
                  <a:xfrm>
                    <a:off x="5326018" y="664903"/>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09" name="Zeshoek 108">
                    <a:extLst>
                      <a:ext uri="{FF2B5EF4-FFF2-40B4-BE49-F238E27FC236}">
                        <a16:creationId xmlns:a16="http://schemas.microsoft.com/office/drawing/2014/main" id="{BB13F23B-779C-42EF-80A5-90D498693E9E}"/>
                      </a:ext>
                    </a:extLst>
                  </p:cNvPr>
                  <p:cNvSpPr/>
                  <p:nvPr/>
                </p:nvSpPr>
                <p:spPr>
                  <a:xfrm>
                    <a:off x="5531556" y="892437"/>
                    <a:ext cx="294390" cy="253784"/>
                  </a:xfrm>
                  <a:prstGeom prst="hexagon">
                    <a:avLst/>
                  </a:prstGeom>
                  <a:solidFill>
                    <a:srgbClr val="166434"/>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nvGrpSpPr>
                <p:cNvPr id="93" name="Groep 92">
                  <a:extLst>
                    <a:ext uri="{FF2B5EF4-FFF2-40B4-BE49-F238E27FC236}">
                      <a16:creationId xmlns:a16="http://schemas.microsoft.com/office/drawing/2014/main" id="{C54EE06E-4EC5-406A-8EB1-1D97DF190F7A}"/>
                    </a:ext>
                  </a:extLst>
                </p:cNvPr>
                <p:cNvGrpSpPr/>
                <p:nvPr/>
              </p:nvGrpSpPr>
              <p:grpSpPr>
                <a:xfrm>
                  <a:off x="6064056" y="3370208"/>
                  <a:ext cx="558329" cy="481318"/>
                  <a:chOff x="5326018" y="664903"/>
                  <a:chExt cx="558329" cy="481318"/>
                </a:xfrm>
              </p:grpSpPr>
              <p:sp>
                <p:nvSpPr>
                  <p:cNvPr id="106" name="Zeshoek 105">
                    <a:extLst>
                      <a:ext uri="{FF2B5EF4-FFF2-40B4-BE49-F238E27FC236}">
                        <a16:creationId xmlns:a16="http://schemas.microsoft.com/office/drawing/2014/main" id="{62600F9D-0EC0-474B-9A5E-F03647CCBF85}"/>
                      </a:ext>
                    </a:extLst>
                  </p:cNvPr>
                  <p:cNvSpPr/>
                  <p:nvPr/>
                </p:nvSpPr>
                <p:spPr>
                  <a:xfrm>
                    <a:off x="5326018" y="664903"/>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07" name="Zeshoek 106">
                    <a:extLst>
                      <a:ext uri="{FF2B5EF4-FFF2-40B4-BE49-F238E27FC236}">
                        <a16:creationId xmlns:a16="http://schemas.microsoft.com/office/drawing/2014/main" id="{C1C889F8-499E-4EC2-B154-1234B4CBEED1}"/>
                      </a:ext>
                    </a:extLst>
                  </p:cNvPr>
                  <p:cNvSpPr/>
                  <p:nvPr/>
                </p:nvSpPr>
                <p:spPr>
                  <a:xfrm>
                    <a:off x="5531556" y="892437"/>
                    <a:ext cx="294390" cy="253784"/>
                  </a:xfrm>
                  <a:prstGeom prst="hexagon">
                    <a:avLst/>
                  </a:prstGeom>
                  <a:solidFill>
                    <a:srgbClr val="2E6784"/>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nvGrpSpPr>
                <p:cNvPr id="94" name="Groep 93">
                  <a:extLst>
                    <a:ext uri="{FF2B5EF4-FFF2-40B4-BE49-F238E27FC236}">
                      <a16:creationId xmlns:a16="http://schemas.microsoft.com/office/drawing/2014/main" id="{E1E52C62-FD78-430E-AD46-3BFA85C6205F}"/>
                    </a:ext>
                  </a:extLst>
                </p:cNvPr>
                <p:cNvGrpSpPr/>
                <p:nvPr/>
              </p:nvGrpSpPr>
              <p:grpSpPr>
                <a:xfrm>
                  <a:off x="6064056" y="3854178"/>
                  <a:ext cx="558329" cy="481318"/>
                  <a:chOff x="4882525" y="919832"/>
                  <a:chExt cx="558329" cy="481318"/>
                </a:xfrm>
              </p:grpSpPr>
              <p:sp>
                <p:nvSpPr>
                  <p:cNvPr id="104" name="Zeshoek 103">
                    <a:extLst>
                      <a:ext uri="{FF2B5EF4-FFF2-40B4-BE49-F238E27FC236}">
                        <a16:creationId xmlns:a16="http://schemas.microsoft.com/office/drawing/2014/main" id="{EDE4F8E2-9348-4353-ABC4-5CD7FB1B9DF9}"/>
                      </a:ext>
                    </a:extLst>
                  </p:cNvPr>
                  <p:cNvSpPr/>
                  <p:nvPr/>
                </p:nvSpPr>
                <p:spPr>
                  <a:xfrm>
                    <a:off x="4882525" y="919832"/>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05" name="Zeshoek 104">
                    <a:extLst>
                      <a:ext uri="{FF2B5EF4-FFF2-40B4-BE49-F238E27FC236}">
                        <a16:creationId xmlns:a16="http://schemas.microsoft.com/office/drawing/2014/main" id="{2801CEED-04D9-4D85-8A6F-AF495362E251}"/>
                      </a:ext>
                    </a:extLst>
                  </p:cNvPr>
                  <p:cNvSpPr/>
                  <p:nvPr/>
                </p:nvSpPr>
                <p:spPr>
                  <a:xfrm>
                    <a:off x="5088063" y="1147366"/>
                    <a:ext cx="294390" cy="253784"/>
                  </a:xfrm>
                  <a:prstGeom prst="hexagon">
                    <a:avLst/>
                  </a:prstGeom>
                  <a:solidFill>
                    <a:srgbClr val="74C6DC"/>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nvGrpSpPr>
                <p:cNvPr id="96" name="Groep 95">
                  <a:extLst>
                    <a:ext uri="{FF2B5EF4-FFF2-40B4-BE49-F238E27FC236}">
                      <a16:creationId xmlns:a16="http://schemas.microsoft.com/office/drawing/2014/main" id="{263B33FE-CB14-4752-9AB9-A4962C816826}"/>
                    </a:ext>
                  </a:extLst>
                </p:cNvPr>
                <p:cNvGrpSpPr/>
                <p:nvPr/>
              </p:nvGrpSpPr>
              <p:grpSpPr>
                <a:xfrm>
                  <a:off x="5194150" y="3354431"/>
                  <a:ext cx="558329" cy="481318"/>
                  <a:chOff x="4451071" y="166628"/>
                  <a:chExt cx="558329" cy="481318"/>
                </a:xfrm>
              </p:grpSpPr>
              <p:sp>
                <p:nvSpPr>
                  <p:cNvPr id="100" name="Zeshoek 99">
                    <a:extLst>
                      <a:ext uri="{FF2B5EF4-FFF2-40B4-BE49-F238E27FC236}">
                        <a16:creationId xmlns:a16="http://schemas.microsoft.com/office/drawing/2014/main" id="{5E62FB7D-225A-4DC0-8F83-C1FBF8F86517}"/>
                      </a:ext>
                    </a:extLst>
                  </p:cNvPr>
                  <p:cNvSpPr/>
                  <p:nvPr/>
                </p:nvSpPr>
                <p:spPr>
                  <a:xfrm>
                    <a:off x="4451071" y="166628"/>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01" name="Zeshoek 100">
                    <a:extLst>
                      <a:ext uri="{FF2B5EF4-FFF2-40B4-BE49-F238E27FC236}">
                        <a16:creationId xmlns:a16="http://schemas.microsoft.com/office/drawing/2014/main" id="{9E07822C-74C2-40B2-9C45-6892B7F7ED5F}"/>
                      </a:ext>
                    </a:extLst>
                  </p:cNvPr>
                  <p:cNvSpPr/>
                  <p:nvPr/>
                </p:nvSpPr>
                <p:spPr>
                  <a:xfrm>
                    <a:off x="4656609" y="394162"/>
                    <a:ext cx="294390" cy="253784"/>
                  </a:xfrm>
                  <a:prstGeom prst="hexagon">
                    <a:avLst/>
                  </a:prstGeom>
                  <a:solidFill>
                    <a:srgbClr val="166434"/>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grpSp>
            <p:nvGrpSpPr>
              <p:cNvPr id="36" name="Groep 35">
                <a:extLst>
                  <a:ext uri="{FF2B5EF4-FFF2-40B4-BE49-F238E27FC236}">
                    <a16:creationId xmlns:a16="http://schemas.microsoft.com/office/drawing/2014/main" id="{243C25E3-D2C8-4577-A756-4BF1BC217E2A}"/>
                  </a:ext>
                </a:extLst>
              </p:cNvPr>
              <p:cNvGrpSpPr/>
              <p:nvPr/>
            </p:nvGrpSpPr>
            <p:grpSpPr>
              <a:xfrm>
                <a:off x="7354177" y="729377"/>
                <a:ext cx="1209670" cy="1212399"/>
                <a:chOff x="7334679" y="1330071"/>
                <a:chExt cx="1209670" cy="1212399"/>
              </a:xfrm>
            </p:grpSpPr>
            <p:grpSp>
              <p:nvGrpSpPr>
                <p:cNvPr id="114" name="Groep 113">
                  <a:extLst>
                    <a:ext uri="{FF2B5EF4-FFF2-40B4-BE49-F238E27FC236}">
                      <a16:creationId xmlns:a16="http://schemas.microsoft.com/office/drawing/2014/main" id="{335AD1EF-B1DE-4BF4-8A25-0E957AE0D4DB}"/>
                    </a:ext>
                  </a:extLst>
                </p:cNvPr>
                <p:cNvGrpSpPr/>
                <p:nvPr/>
              </p:nvGrpSpPr>
              <p:grpSpPr>
                <a:xfrm>
                  <a:off x="7334679" y="1831095"/>
                  <a:ext cx="825196" cy="711375"/>
                  <a:chOff x="7134119" y="2448164"/>
                  <a:chExt cx="1104003" cy="951726"/>
                </a:xfrm>
              </p:grpSpPr>
              <p:sp>
                <p:nvSpPr>
                  <p:cNvPr id="115" name="Zeshoek 114">
                    <a:extLst>
                      <a:ext uri="{FF2B5EF4-FFF2-40B4-BE49-F238E27FC236}">
                        <a16:creationId xmlns:a16="http://schemas.microsoft.com/office/drawing/2014/main" id="{87DB94BC-098A-4B4E-8E06-5EE2C5D875CB}"/>
                      </a:ext>
                    </a:extLst>
                  </p:cNvPr>
                  <p:cNvSpPr/>
                  <p:nvPr/>
                </p:nvSpPr>
                <p:spPr>
                  <a:xfrm>
                    <a:off x="7134119" y="2448164"/>
                    <a:ext cx="1104003" cy="951726"/>
                  </a:xfrm>
                  <a:prstGeom prst="hexagon">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77"/>
                    <a:endParaRPr lang="en-US" sz="1867" dirty="0">
                      <a:solidFill>
                        <a:srgbClr val="FFFFFF"/>
                      </a:solidFill>
                      <a:latin typeface="Calibri" panose="020F0502020204030204"/>
                    </a:endParaRPr>
                  </a:p>
                </p:txBody>
              </p:sp>
              <p:pic>
                <p:nvPicPr>
                  <p:cNvPr id="116" name="Graphic 115" descr="Cloud voor synchronisatie">
                    <a:extLst>
                      <a:ext uri="{FF2B5EF4-FFF2-40B4-BE49-F238E27FC236}">
                        <a16:creationId xmlns:a16="http://schemas.microsoft.com/office/drawing/2014/main" id="{90D74BAD-7338-4226-AD6D-0ECBC457B8D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33350" y="2519724"/>
                    <a:ext cx="725914" cy="725914"/>
                  </a:xfrm>
                  <a:prstGeom prst="rect">
                    <a:avLst/>
                  </a:prstGeom>
                </p:spPr>
              </p:pic>
            </p:grpSp>
            <p:grpSp>
              <p:nvGrpSpPr>
                <p:cNvPr id="123" name="Groep 122">
                  <a:extLst>
                    <a:ext uri="{FF2B5EF4-FFF2-40B4-BE49-F238E27FC236}">
                      <a16:creationId xmlns:a16="http://schemas.microsoft.com/office/drawing/2014/main" id="{AD817B4A-DFA6-4F76-86A7-90825FF568A1}"/>
                    </a:ext>
                  </a:extLst>
                </p:cNvPr>
                <p:cNvGrpSpPr/>
                <p:nvPr/>
              </p:nvGrpSpPr>
              <p:grpSpPr>
                <a:xfrm>
                  <a:off x="7560378" y="1330071"/>
                  <a:ext cx="558329" cy="481318"/>
                  <a:chOff x="5332895" y="682091"/>
                  <a:chExt cx="558329" cy="481318"/>
                </a:xfrm>
              </p:grpSpPr>
              <p:sp>
                <p:nvSpPr>
                  <p:cNvPr id="124" name="Zeshoek 123">
                    <a:extLst>
                      <a:ext uri="{FF2B5EF4-FFF2-40B4-BE49-F238E27FC236}">
                        <a16:creationId xmlns:a16="http://schemas.microsoft.com/office/drawing/2014/main" id="{8D259220-C65F-4551-8076-5C63D4636EBF}"/>
                      </a:ext>
                    </a:extLst>
                  </p:cNvPr>
                  <p:cNvSpPr/>
                  <p:nvPr/>
                </p:nvSpPr>
                <p:spPr>
                  <a:xfrm>
                    <a:off x="5332895" y="682091"/>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25" name="Zeshoek 124">
                    <a:extLst>
                      <a:ext uri="{FF2B5EF4-FFF2-40B4-BE49-F238E27FC236}">
                        <a16:creationId xmlns:a16="http://schemas.microsoft.com/office/drawing/2014/main" id="{1FBFBA98-F42B-4C5C-BE39-D8999D54B04C}"/>
                      </a:ext>
                    </a:extLst>
                  </p:cNvPr>
                  <p:cNvSpPr/>
                  <p:nvPr/>
                </p:nvSpPr>
                <p:spPr>
                  <a:xfrm>
                    <a:off x="5538433" y="909625"/>
                    <a:ext cx="294390" cy="253784"/>
                  </a:xfrm>
                  <a:prstGeom prst="hexagon">
                    <a:avLst/>
                  </a:prstGeom>
                  <a:solidFill>
                    <a:srgbClr val="2E6784"/>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nvGrpSpPr>
                <p:cNvPr id="132" name="Groep 131">
                  <a:extLst>
                    <a:ext uri="{FF2B5EF4-FFF2-40B4-BE49-F238E27FC236}">
                      <a16:creationId xmlns:a16="http://schemas.microsoft.com/office/drawing/2014/main" id="{E5903288-2A20-4F96-B6C3-F3FB1FDB2015}"/>
                    </a:ext>
                  </a:extLst>
                </p:cNvPr>
                <p:cNvGrpSpPr/>
                <p:nvPr/>
              </p:nvGrpSpPr>
              <p:grpSpPr>
                <a:xfrm>
                  <a:off x="7986020" y="1564481"/>
                  <a:ext cx="558329" cy="481318"/>
                  <a:chOff x="5326019" y="688967"/>
                  <a:chExt cx="558329" cy="481318"/>
                </a:xfrm>
              </p:grpSpPr>
              <p:sp>
                <p:nvSpPr>
                  <p:cNvPr id="133" name="Zeshoek 132">
                    <a:extLst>
                      <a:ext uri="{FF2B5EF4-FFF2-40B4-BE49-F238E27FC236}">
                        <a16:creationId xmlns:a16="http://schemas.microsoft.com/office/drawing/2014/main" id="{B08532F4-3FCD-4317-BEC7-692CC2F28797}"/>
                      </a:ext>
                    </a:extLst>
                  </p:cNvPr>
                  <p:cNvSpPr/>
                  <p:nvPr/>
                </p:nvSpPr>
                <p:spPr>
                  <a:xfrm>
                    <a:off x="5326019" y="688967"/>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34" name="Zeshoek 133">
                    <a:extLst>
                      <a:ext uri="{FF2B5EF4-FFF2-40B4-BE49-F238E27FC236}">
                        <a16:creationId xmlns:a16="http://schemas.microsoft.com/office/drawing/2014/main" id="{B7FC1C2B-DF51-40D8-BED4-BBE220772BDA}"/>
                      </a:ext>
                    </a:extLst>
                  </p:cNvPr>
                  <p:cNvSpPr/>
                  <p:nvPr/>
                </p:nvSpPr>
                <p:spPr>
                  <a:xfrm>
                    <a:off x="5531557" y="916501"/>
                    <a:ext cx="294390" cy="253784"/>
                  </a:xfrm>
                  <a:prstGeom prst="hexagon">
                    <a:avLst/>
                  </a:prstGeom>
                  <a:solidFill>
                    <a:srgbClr val="2E6784"/>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grpSp>
            <p:nvGrpSpPr>
              <p:cNvPr id="147" name="Groep 146">
                <a:extLst>
                  <a:ext uri="{FF2B5EF4-FFF2-40B4-BE49-F238E27FC236}">
                    <a16:creationId xmlns:a16="http://schemas.microsoft.com/office/drawing/2014/main" id="{09A01AE8-F16E-4CA5-8C61-B2AC9C3C19A8}"/>
                  </a:ext>
                </a:extLst>
              </p:cNvPr>
              <p:cNvGrpSpPr/>
              <p:nvPr/>
            </p:nvGrpSpPr>
            <p:grpSpPr>
              <a:xfrm>
                <a:off x="7526493" y="2309646"/>
                <a:ext cx="1277004" cy="828645"/>
                <a:chOff x="7334679" y="1831095"/>
                <a:chExt cx="1277004" cy="828645"/>
              </a:xfrm>
            </p:grpSpPr>
            <p:grpSp>
              <p:nvGrpSpPr>
                <p:cNvPr id="148" name="Groep 147">
                  <a:extLst>
                    <a:ext uri="{FF2B5EF4-FFF2-40B4-BE49-F238E27FC236}">
                      <a16:creationId xmlns:a16="http://schemas.microsoft.com/office/drawing/2014/main" id="{B595A4AC-D8F9-4E79-A2EE-419722DC956D}"/>
                    </a:ext>
                  </a:extLst>
                </p:cNvPr>
                <p:cNvGrpSpPr/>
                <p:nvPr/>
              </p:nvGrpSpPr>
              <p:grpSpPr>
                <a:xfrm>
                  <a:off x="7334679" y="1831095"/>
                  <a:ext cx="825196" cy="711375"/>
                  <a:chOff x="7134119" y="2448164"/>
                  <a:chExt cx="1104003" cy="951726"/>
                </a:xfrm>
              </p:grpSpPr>
              <p:sp>
                <p:nvSpPr>
                  <p:cNvPr id="158" name="Zeshoek 157">
                    <a:extLst>
                      <a:ext uri="{FF2B5EF4-FFF2-40B4-BE49-F238E27FC236}">
                        <a16:creationId xmlns:a16="http://schemas.microsoft.com/office/drawing/2014/main" id="{1180FAF5-8F1D-457B-9670-42FBAD1212C4}"/>
                      </a:ext>
                    </a:extLst>
                  </p:cNvPr>
                  <p:cNvSpPr/>
                  <p:nvPr/>
                </p:nvSpPr>
                <p:spPr>
                  <a:xfrm>
                    <a:off x="7134119" y="2448164"/>
                    <a:ext cx="1104003" cy="951726"/>
                  </a:xfrm>
                  <a:prstGeom prst="hexagon">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77"/>
                    <a:endParaRPr lang="en-US" sz="1867" dirty="0">
                      <a:solidFill>
                        <a:srgbClr val="FFFFFF"/>
                      </a:solidFill>
                      <a:latin typeface="Calibri" panose="020F0502020204030204"/>
                    </a:endParaRPr>
                  </a:p>
                </p:txBody>
              </p:sp>
              <p:pic>
                <p:nvPicPr>
                  <p:cNvPr id="159" name="Graphic 158" descr="Cloud voor synchronisatie">
                    <a:extLst>
                      <a:ext uri="{FF2B5EF4-FFF2-40B4-BE49-F238E27FC236}">
                        <a16:creationId xmlns:a16="http://schemas.microsoft.com/office/drawing/2014/main" id="{76935EC5-EE80-4503-ADAD-4D01A45D125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33350" y="2519724"/>
                    <a:ext cx="725914" cy="725914"/>
                  </a:xfrm>
                  <a:prstGeom prst="rect">
                    <a:avLst/>
                  </a:prstGeom>
                </p:spPr>
              </p:pic>
            </p:grpSp>
            <p:grpSp>
              <p:nvGrpSpPr>
                <p:cNvPr id="149" name="Groep 148">
                  <a:extLst>
                    <a:ext uri="{FF2B5EF4-FFF2-40B4-BE49-F238E27FC236}">
                      <a16:creationId xmlns:a16="http://schemas.microsoft.com/office/drawing/2014/main" id="{6DB399D7-A4AF-473B-92CA-65AEA9D1E8D3}"/>
                    </a:ext>
                  </a:extLst>
                </p:cNvPr>
                <p:cNvGrpSpPr/>
                <p:nvPr/>
              </p:nvGrpSpPr>
              <p:grpSpPr>
                <a:xfrm>
                  <a:off x="8053354" y="2178422"/>
                  <a:ext cx="558329" cy="481318"/>
                  <a:chOff x="5825871" y="1530442"/>
                  <a:chExt cx="558329" cy="481318"/>
                </a:xfrm>
              </p:grpSpPr>
              <p:sp>
                <p:nvSpPr>
                  <p:cNvPr id="156" name="Zeshoek 155">
                    <a:extLst>
                      <a:ext uri="{FF2B5EF4-FFF2-40B4-BE49-F238E27FC236}">
                        <a16:creationId xmlns:a16="http://schemas.microsoft.com/office/drawing/2014/main" id="{FD13F616-1225-4879-B9EB-E52A5756FAE3}"/>
                      </a:ext>
                    </a:extLst>
                  </p:cNvPr>
                  <p:cNvSpPr/>
                  <p:nvPr/>
                </p:nvSpPr>
                <p:spPr>
                  <a:xfrm>
                    <a:off x="5825871" y="1530442"/>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57" name="Zeshoek 156">
                    <a:extLst>
                      <a:ext uri="{FF2B5EF4-FFF2-40B4-BE49-F238E27FC236}">
                        <a16:creationId xmlns:a16="http://schemas.microsoft.com/office/drawing/2014/main" id="{1602A238-2BE7-4D1A-B1DC-DA65547303AE}"/>
                      </a:ext>
                    </a:extLst>
                  </p:cNvPr>
                  <p:cNvSpPr/>
                  <p:nvPr/>
                </p:nvSpPr>
                <p:spPr>
                  <a:xfrm>
                    <a:off x="6031409" y="1757976"/>
                    <a:ext cx="294390" cy="253784"/>
                  </a:xfrm>
                  <a:prstGeom prst="hexagon">
                    <a:avLst/>
                  </a:prstGeom>
                  <a:solidFill>
                    <a:srgbClr val="1E9841"/>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grpSp>
            <p:nvGrpSpPr>
              <p:cNvPr id="160" name="Groep 159">
                <a:extLst>
                  <a:ext uri="{FF2B5EF4-FFF2-40B4-BE49-F238E27FC236}">
                    <a16:creationId xmlns:a16="http://schemas.microsoft.com/office/drawing/2014/main" id="{060D5274-D709-4A23-86FF-FCA5F6922112}"/>
                  </a:ext>
                </a:extLst>
              </p:cNvPr>
              <p:cNvGrpSpPr/>
              <p:nvPr/>
            </p:nvGrpSpPr>
            <p:grpSpPr>
              <a:xfrm>
                <a:off x="4995585" y="2323767"/>
                <a:ext cx="1206799" cy="971365"/>
                <a:chOff x="6953076" y="1831095"/>
                <a:chExt cx="1206799" cy="971365"/>
              </a:xfrm>
            </p:grpSpPr>
            <p:grpSp>
              <p:nvGrpSpPr>
                <p:cNvPr id="161" name="Groep 160">
                  <a:extLst>
                    <a:ext uri="{FF2B5EF4-FFF2-40B4-BE49-F238E27FC236}">
                      <a16:creationId xmlns:a16="http://schemas.microsoft.com/office/drawing/2014/main" id="{AB32FE55-11DC-45DB-9ABD-EA3CF60BACC9}"/>
                    </a:ext>
                  </a:extLst>
                </p:cNvPr>
                <p:cNvGrpSpPr/>
                <p:nvPr/>
              </p:nvGrpSpPr>
              <p:grpSpPr>
                <a:xfrm>
                  <a:off x="7334679" y="1831095"/>
                  <a:ext cx="825196" cy="711375"/>
                  <a:chOff x="7134119" y="2448164"/>
                  <a:chExt cx="1104003" cy="951726"/>
                </a:xfrm>
              </p:grpSpPr>
              <p:sp>
                <p:nvSpPr>
                  <p:cNvPr id="165" name="Zeshoek 164">
                    <a:extLst>
                      <a:ext uri="{FF2B5EF4-FFF2-40B4-BE49-F238E27FC236}">
                        <a16:creationId xmlns:a16="http://schemas.microsoft.com/office/drawing/2014/main" id="{C867214D-03E5-47E3-89E2-E0DB09101028}"/>
                      </a:ext>
                    </a:extLst>
                  </p:cNvPr>
                  <p:cNvSpPr/>
                  <p:nvPr/>
                </p:nvSpPr>
                <p:spPr>
                  <a:xfrm>
                    <a:off x="7134119" y="2448164"/>
                    <a:ext cx="1104003" cy="951726"/>
                  </a:xfrm>
                  <a:prstGeom prst="hexagon">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77"/>
                    <a:endParaRPr lang="en-US" sz="1867" dirty="0">
                      <a:solidFill>
                        <a:srgbClr val="FFFFFF"/>
                      </a:solidFill>
                      <a:latin typeface="Calibri" panose="020F0502020204030204"/>
                    </a:endParaRPr>
                  </a:p>
                </p:txBody>
              </p:sp>
              <p:pic>
                <p:nvPicPr>
                  <p:cNvPr id="166" name="Graphic 165" descr="Cloud voor synchronisatie">
                    <a:extLst>
                      <a:ext uri="{FF2B5EF4-FFF2-40B4-BE49-F238E27FC236}">
                        <a16:creationId xmlns:a16="http://schemas.microsoft.com/office/drawing/2014/main" id="{4861B456-17B9-41B7-8819-9832F379D25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33350" y="2519724"/>
                    <a:ext cx="725914" cy="725914"/>
                  </a:xfrm>
                  <a:prstGeom prst="rect">
                    <a:avLst/>
                  </a:prstGeom>
                </p:spPr>
              </p:pic>
            </p:grpSp>
            <p:grpSp>
              <p:nvGrpSpPr>
                <p:cNvPr id="162" name="Groep 161">
                  <a:extLst>
                    <a:ext uri="{FF2B5EF4-FFF2-40B4-BE49-F238E27FC236}">
                      <a16:creationId xmlns:a16="http://schemas.microsoft.com/office/drawing/2014/main" id="{0E889170-3F9A-4858-87C7-FC072F063698}"/>
                    </a:ext>
                  </a:extLst>
                </p:cNvPr>
                <p:cNvGrpSpPr/>
                <p:nvPr/>
              </p:nvGrpSpPr>
              <p:grpSpPr>
                <a:xfrm>
                  <a:off x="6953076" y="2321142"/>
                  <a:ext cx="558329" cy="481318"/>
                  <a:chOff x="4725593" y="1673162"/>
                  <a:chExt cx="558329" cy="481318"/>
                </a:xfrm>
              </p:grpSpPr>
              <p:sp>
                <p:nvSpPr>
                  <p:cNvPr id="163" name="Zeshoek 162">
                    <a:extLst>
                      <a:ext uri="{FF2B5EF4-FFF2-40B4-BE49-F238E27FC236}">
                        <a16:creationId xmlns:a16="http://schemas.microsoft.com/office/drawing/2014/main" id="{74E82075-AD3F-4444-B4BB-34E06906EED0}"/>
                      </a:ext>
                    </a:extLst>
                  </p:cNvPr>
                  <p:cNvSpPr/>
                  <p:nvPr/>
                </p:nvSpPr>
                <p:spPr>
                  <a:xfrm>
                    <a:off x="4725593" y="1673162"/>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64" name="Zeshoek 163">
                    <a:extLst>
                      <a:ext uri="{FF2B5EF4-FFF2-40B4-BE49-F238E27FC236}">
                        <a16:creationId xmlns:a16="http://schemas.microsoft.com/office/drawing/2014/main" id="{EAB970CB-2FCA-4F40-8DBD-8FD672699EDB}"/>
                      </a:ext>
                    </a:extLst>
                  </p:cNvPr>
                  <p:cNvSpPr/>
                  <p:nvPr/>
                </p:nvSpPr>
                <p:spPr>
                  <a:xfrm>
                    <a:off x="4931131" y="1900696"/>
                    <a:ext cx="294390" cy="253784"/>
                  </a:xfrm>
                  <a:prstGeom prst="hexagon">
                    <a:avLst/>
                  </a:prstGeom>
                  <a:solidFill>
                    <a:srgbClr val="1E9841"/>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grpSp>
          <p:sp>
            <p:nvSpPr>
              <p:cNvPr id="167" name="Zeshoek 166">
                <a:extLst>
                  <a:ext uri="{FF2B5EF4-FFF2-40B4-BE49-F238E27FC236}">
                    <a16:creationId xmlns:a16="http://schemas.microsoft.com/office/drawing/2014/main" id="{A095537E-47CB-4A6D-A86C-5206AD6FF03F}"/>
                  </a:ext>
                </a:extLst>
              </p:cNvPr>
              <p:cNvSpPr/>
              <p:nvPr/>
            </p:nvSpPr>
            <p:spPr>
              <a:xfrm>
                <a:off x="5440121" y="3050115"/>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68" name="Zeshoek 167">
                <a:extLst>
                  <a:ext uri="{FF2B5EF4-FFF2-40B4-BE49-F238E27FC236}">
                    <a16:creationId xmlns:a16="http://schemas.microsoft.com/office/drawing/2014/main" id="{5098D6FE-BD47-43E0-9A5E-095572CACDAD}"/>
                  </a:ext>
                </a:extLst>
              </p:cNvPr>
              <p:cNvSpPr/>
              <p:nvPr/>
            </p:nvSpPr>
            <p:spPr>
              <a:xfrm>
                <a:off x="5645659" y="3277649"/>
                <a:ext cx="294390" cy="253784"/>
              </a:xfrm>
              <a:prstGeom prst="hexagon">
                <a:avLst/>
              </a:prstGeom>
              <a:solidFill>
                <a:srgbClr val="2E6784"/>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69" name="Zeshoek 168">
                <a:extLst>
                  <a:ext uri="{FF2B5EF4-FFF2-40B4-BE49-F238E27FC236}">
                    <a16:creationId xmlns:a16="http://schemas.microsoft.com/office/drawing/2014/main" id="{2B54BB75-D7A4-45A7-9BF5-0157E6D45C91}"/>
                  </a:ext>
                </a:extLst>
              </p:cNvPr>
              <p:cNvSpPr/>
              <p:nvPr/>
            </p:nvSpPr>
            <p:spPr>
              <a:xfrm>
                <a:off x="5002733" y="3299778"/>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70" name="Zeshoek 169">
                <a:extLst>
                  <a:ext uri="{FF2B5EF4-FFF2-40B4-BE49-F238E27FC236}">
                    <a16:creationId xmlns:a16="http://schemas.microsoft.com/office/drawing/2014/main" id="{FDFA8501-547C-4918-80FD-B8D66776D318}"/>
                  </a:ext>
                </a:extLst>
              </p:cNvPr>
              <p:cNvSpPr/>
              <p:nvPr/>
            </p:nvSpPr>
            <p:spPr>
              <a:xfrm>
                <a:off x="5208271" y="3527312"/>
                <a:ext cx="294390" cy="253784"/>
              </a:xfrm>
              <a:prstGeom prst="hexagon">
                <a:avLst/>
              </a:prstGeom>
              <a:solidFill>
                <a:srgbClr val="74C6DC"/>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sp>
          <p:nvSpPr>
            <p:cNvPr id="175" name="Zeshoek 174">
              <a:extLst>
                <a:ext uri="{FF2B5EF4-FFF2-40B4-BE49-F238E27FC236}">
                  <a16:creationId xmlns:a16="http://schemas.microsoft.com/office/drawing/2014/main" id="{E45697DF-4D7C-4B08-91E1-F647AF28DC20}"/>
                </a:ext>
              </a:extLst>
            </p:cNvPr>
            <p:cNvSpPr/>
            <p:nvPr/>
          </p:nvSpPr>
          <p:spPr>
            <a:xfrm>
              <a:off x="5283193" y="876945"/>
              <a:ext cx="558329" cy="481318"/>
            </a:xfrm>
            <a:prstGeom prst="hexagon">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sp>
          <p:nvSpPr>
            <p:cNvPr id="176" name="Zeshoek 175">
              <a:extLst>
                <a:ext uri="{FF2B5EF4-FFF2-40B4-BE49-F238E27FC236}">
                  <a16:creationId xmlns:a16="http://schemas.microsoft.com/office/drawing/2014/main" id="{113489B8-E042-4F54-B0AF-DF400248D8E4}"/>
                </a:ext>
              </a:extLst>
            </p:cNvPr>
            <p:cNvSpPr/>
            <p:nvPr/>
          </p:nvSpPr>
          <p:spPr>
            <a:xfrm>
              <a:off x="5488731" y="1104479"/>
              <a:ext cx="294390" cy="253784"/>
            </a:xfrm>
            <a:prstGeom prst="hexagon">
              <a:avLst/>
            </a:prstGeom>
            <a:solidFill>
              <a:srgbClr val="74C6DC"/>
            </a:solidFill>
          </p:spPr>
          <p:style>
            <a:lnRef idx="3">
              <a:schemeClr val="lt1"/>
            </a:lnRef>
            <a:fillRef idx="1">
              <a:schemeClr val="accent2"/>
            </a:fillRef>
            <a:effectRef idx="1">
              <a:schemeClr val="accent2"/>
            </a:effectRef>
            <a:fontRef idx="minor">
              <a:schemeClr val="lt1"/>
            </a:fontRef>
          </p:style>
          <p:txBody>
            <a:bodyPr rtlCol="0" anchor="ctr"/>
            <a:lstStyle/>
            <a:p>
              <a:pPr algn="ctr" defTabSz="914377"/>
              <a:endParaRPr lang="en-US" sz="1867">
                <a:solidFill>
                  <a:srgbClr val="FFFFFF"/>
                </a:solidFill>
                <a:latin typeface="Calibri" panose="020F0502020204030204"/>
              </a:endParaRPr>
            </a:p>
          </p:txBody>
        </p:sp>
      </p:grpSp>
    </p:spTree>
    <p:extLst>
      <p:ext uri="{BB962C8B-B14F-4D97-AF65-F5344CB8AC3E}">
        <p14:creationId xmlns:p14="http://schemas.microsoft.com/office/powerpoint/2010/main" val="8393318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B51500B4-E579-42C0-AC26-307C988AF60F}"/>
              </a:ext>
            </a:extLst>
          </p:cNvPr>
          <p:cNvSpPr>
            <a:spLocks noGrp="1"/>
          </p:cNvSpPr>
          <p:nvPr>
            <p:ph type="body" orient="vert" idx="1"/>
          </p:nvPr>
        </p:nvSpPr>
        <p:spPr/>
        <p:txBody>
          <a:bodyPr/>
          <a:lstStyle/>
          <a:p>
            <a:endParaRPr lang="en-GB" sz="2000" dirty="0"/>
          </a:p>
          <a:p>
            <a:r>
              <a:rPr lang="en-GB" sz="2000" dirty="0"/>
              <a:t>Digital communication with your supplier(s) and/or customer(s)</a:t>
            </a:r>
          </a:p>
          <a:p>
            <a:r>
              <a:rPr lang="en-GB" sz="2000" dirty="0"/>
              <a:t>Digital orders, logistics, invoices, digital designs</a:t>
            </a:r>
          </a:p>
          <a:p>
            <a:r>
              <a:rPr lang="en-GB" sz="2000" dirty="0"/>
              <a:t>Connect once, share data with all of them</a:t>
            </a:r>
          </a:p>
          <a:p>
            <a:endParaRPr lang="en-GB" sz="2000" dirty="0"/>
          </a:p>
          <a:p>
            <a:r>
              <a:rPr lang="en-GB" sz="2000" b="1" dirty="0">
                <a:latin typeface="+mj-lt"/>
              </a:rPr>
              <a:t>TNO can support use cases of individual companies</a:t>
            </a:r>
          </a:p>
          <a:p>
            <a:r>
              <a:rPr lang="en-GB" sz="2000" b="1" dirty="0">
                <a:latin typeface="+mj-lt"/>
              </a:rPr>
              <a:t>TNO can assist in setting-up data sharing in local supply chains</a:t>
            </a:r>
          </a:p>
          <a:p>
            <a:endParaRPr lang="en-GB" sz="2000" b="1" dirty="0">
              <a:latin typeface="+mj-lt"/>
            </a:endParaRPr>
          </a:p>
          <a:p>
            <a:r>
              <a:rPr lang="en-GB" sz="2000" dirty="0"/>
              <a:t>SCSN has an increasing international focus</a:t>
            </a:r>
          </a:p>
          <a:p>
            <a:endParaRPr lang="en-GB" sz="2000" b="1" dirty="0">
              <a:latin typeface="+mj-lt"/>
            </a:endParaRPr>
          </a:p>
        </p:txBody>
      </p:sp>
      <p:sp>
        <p:nvSpPr>
          <p:cNvPr id="3" name="Titel 2">
            <a:extLst>
              <a:ext uri="{FF2B5EF4-FFF2-40B4-BE49-F238E27FC236}">
                <a16:creationId xmlns:a16="http://schemas.microsoft.com/office/drawing/2014/main" id="{CCBB49F6-97F3-4DDF-811B-27267E95190A}"/>
              </a:ext>
            </a:extLst>
          </p:cNvPr>
          <p:cNvSpPr>
            <a:spLocks noGrp="1"/>
          </p:cNvSpPr>
          <p:nvPr>
            <p:ph type="title"/>
          </p:nvPr>
        </p:nvSpPr>
        <p:spPr/>
        <p:txBody>
          <a:bodyPr/>
          <a:lstStyle/>
          <a:p>
            <a:r>
              <a:rPr lang="en-GB" dirty="0"/>
              <a:t>Smart connected supplier network</a:t>
            </a:r>
          </a:p>
        </p:txBody>
      </p:sp>
    </p:spTree>
    <p:extLst>
      <p:ext uri="{BB962C8B-B14F-4D97-AF65-F5344CB8AC3E}">
        <p14:creationId xmlns:p14="http://schemas.microsoft.com/office/powerpoint/2010/main" val="4024177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Afbeelding 62">
            <a:extLst>
              <a:ext uri="{FF2B5EF4-FFF2-40B4-BE49-F238E27FC236}">
                <a16:creationId xmlns:a16="http://schemas.microsoft.com/office/drawing/2014/main" id="{F251832C-22CB-4F4F-AAAC-61B84B81338B}"/>
              </a:ext>
            </a:extLst>
          </p:cNvPr>
          <p:cNvPicPr>
            <a:picLocks noChangeAspect="1"/>
          </p:cNvPicPr>
          <p:nvPr/>
        </p:nvPicPr>
        <p:blipFill>
          <a:blip r:embed="rId5"/>
          <a:stretch>
            <a:fillRect/>
          </a:stretch>
        </p:blipFill>
        <p:spPr>
          <a:xfrm>
            <a:off x="2368" y="0"/>
            <a:ext cx="12187263" cy="6858000"/>
          </a:xfrm>
          <a:prstGeom prst="rect">
            <a:avLst/>
          </a:prstGeom>
        </p:spPr>
      </p:pic>
      <p:pic>
        <p:nvPicPr>
          <p:cNvPr id="3" name="TNO - VIDEO draaiende wereldbol 1">
            <a:hlinkClick r:id="" action="ppaction://media"/>
            <a:extLst>
              <a:ext uri="{FF2B5EF4-FFF2-40B4-BE49-F238E27FC236}">
                <a16:creationId xmlns:a16="http://schemas.microsoft.com/office/drawing/2014/main" id="{43B8AECF-9ABF-4FD7-8A3B-6C227168582F}"/>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0" y="0"/>
            <a:ext cx="12192000" cy="6858000"/>
          </a:xfrm>
          <a:prstGeom prst="rect">
            <a:avLst/>
          </a:prstGeom>
        </p:spPr>
      </p:pic>
      <p:sp>
        <p:nvSpPr>
          <p:cNvPr id="12" name="Tijdelijke aanduiding voor tekst 25">
            <a:extLst>
              <a:ext uri="{FF2B5EF4-FFF2-40B4-BE49-F238E27FC236}">
                <a16:creationId xmlns:a16="http://schemas.microsoft.com/office/drawing/2014/main" id="{D38D8622-CED8-44D7-B4AF-BEAB2EE9C84B}"/>
              </a:ext>
            </a:extLst>
          </p:cNvPr>
          <p:cNvSpPr txBox="1">
            <a:spLocks/>
          </p:cNvSpPr>
          <p:nvPr/>
        </p:nvSpPr>
        <p:spPr>
          <a:xfrm>
            <a:off x="773280" y="549275"/>
            <a:ext cx="2822400" cy="504000"/>
          </a:xfrm>
          <a:prstGeom prst="rect">
            <a:avLst/>
          </a:prstGeom>
          <a:blipFill>
            <a:blip r:embed="rId7" cstate="hqprint">
              <a:extLst>
                <a:ext uri="{28A0092B-C50C-407E-A947-70E740481C1C}">
                  <a14:useLocalDpi xmlns:a14="http://schemas.microsoft.com/office/drawing/2010/main"/>
                </a:ext>
              </a:extLst>
            </a:blip>
            <a:stretch>
              <a:fillRect/>
            </a:stretch>
          </a:blipFill>
          <a:ln w="12700">
            <a:noFill/>
          </a:ln>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100" kern="1200">
                <a:solidFill>
                  <a:schemeClr val="bg1"/>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8"/>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9"/>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8"/>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nl-NL"/>
              <a:t> </a:t>
            </a:r>
            <a:endParaRPr lang="nl-NL" dirty="0"/>
          </a:p>
        </p:txBody>
      </p:sp>
      <p:sp>
        <p:nvSpPr>
          <p:cNvPr id="2" name="HYPERLINK">
            <a:hlinkClick r:id="" action="ppaction://hlinkshowjump?jump=nextslide"/>
            <a:extLst>
              <a:ext uri="{FF2B5EF4-FFF2-40B4-BE49-F238E27FC236}">
                <a16:creationId xmlns:a16="http://schemas.microsoft.com/office/drawing/2014/main" id="{B8F77ABE-E9EC-4D1F-B6A1-AC2E7CC31FDF}"/>
              </a:ext>
            </a:extLst>
          </p:cNvPr>
          <p:cNvSpPr/>
          <p:nvPr/>
        </p:nvSpPr>
        <p:spPr>
          <a:xfrm>
            <a:off x="0" y="-4185"/>
            <a:ext cx="12192000" cy="6862185"/>
          </a:xfrm>
          <a:prstGeom prst="rect">
            <a:avLst/>
          </a:prstGeom>
          <a:solidFill>
            <a:schemeClr val="tx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1" name="ICOON1_ORANJE">
            <a:extLst>
              <a:ext uri="{FF2B5EF4-FFF2-40B4-BE49-F238E27FC236}">
                <a16:creationId xmlns:a16="http://schemas.microsoft.com/office/drawing/2014/main" id="{946E3F7F-6B33-49BA-BDC1-BC370E5030DD}"/>
              </a:ext>
            </a:extLst>
          </p:cNvPr>
          <p:cNvGrpSpPr/>
          <p:nvPr/>
        </p:nvGrpSpPr>
        <p:grpSpPr>
          <a:xfrm>
            <a:off x="10175394" y="3432916"/>
            <a:ext cx="281093" cy="281093"/>
            <a:chOff x="714895" y="1039430"/>
            <a:chExt cx="281093" cy="281093"/>
          </a:xfrm>
          <a:solidFill>
            <a:schemeClr val="accent1"/>
          </a:solidFill>
          <a:effectLst>
            <a:outerShdw blurRad="190500" algn="ctr" rotWithShape="0">
              <a:prstClr val="black">
                <a:alpha val="50000"/>
              </a:prstClr>
            </a:outerShdw>
          </a:effectLst>
        </p:grpSpPr>
        <p:sp>
          <p:nvSpPr>
            <p:cNvPr id="13" name="Vrije vorm: vorm 12">
              <a:extLst>
                <a:ext uri="{FF2B5EF4-FFF2-40B4-BE49-F238E27FC236}">
                  <a16:creationId xmlns:a16="http://schemas.microsoft.com/office/drawing/2014/main" id="{98D55F16-298A-4A57-B9A9-85C6DAD00422}"/>
                </a:ext>
              </a:extLst>
            </p:cNvPr>
            <p:cNvSpPr/>
            <p:nvPr/>
          </p:nvSpPr>
          <p:spPr>
            <a:xfrm>
              <a:off x="714895" y="1039430"/>
              <a:ext cx="281093" cy="281093"/>
            </a:xfrm>
            <a:custGeom>
              <a:avLst/>
              <a:gdLst>
                <a:gd name="connsiteX0" fmla="*/ 140547 w 281093"/>
                <a:gd name="connsiteY0" fmla="*/ 25538 h 281093"/>
                <a:gd name="connsiteX1" fmla="*/ 255556 w 281093"/>
                <a:gd name="connsiteY1" fmla="*/ 140547 h 281093"/>
                <a:gd name="connsiteX2" fmla="*/ 140547 w 281093"/>
                <a:gd name="connsiteY2" fmla="*/ 255556 h 281093"/>
                <a:gd name="connsiteX3" fmla="*/ 25538 w 281093"/>
                <a:gd name="connsiteY3" fmla="*/ 140547 h 281093"/>
                <a:gd name="connsiteX4" fmla="*/ 140547 w 281093"/>
                <a:gd name="connsiteY4" fmla="*/ 25538 h 281093"/>
                <a:gd name="connsiteX5" fmla="*/ 140547 w 281093"/>
                <a:gd name="connsiteY5" fmla="*/ 0 h 281093"/>
                <a:gd name="connsiteX6" fmla="*/ 0 w 281093"/>
                <a:gd name="connsiteY6" fmla="*/ 140547 h 281093"/>
                <a:gd name="connsiteX7" fmla="*/ 140547 w 281093"/>
                <a:gd name="connsiteY7" fmla="*/ 281094 h 281093"/>
                <a:gd name="connsiteX8" fmla="*/ 281094 w 281093"/>
                <a:gd name="connsiteY8" fmla="*/ 140547 h 281093"/>
                <a:gd name="connsiteX9" fmla="*/ 140547 w 281093"/>
                <a:gd name="connsiteY9" fmla="*/ 0 h 281093"/>
                <a:gd name="connsiteX10" fmla="*/ 140547 w 281093"/>
                <a:gd name="connsiteY10" fmla="*/ 0 h 28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1093" h="281093">
                  <a:moveTo>
                    <a:pt x="140547" y="25538"/>
                  </a:moveTo>
                  <a:cubicBezTo>
                    <a:pt x="203943" y="25538"/>
                    <a:pt x="255556" y="77151"/>
                    <a:pt x="255556" y="140547"/>
                  </a:cubicBezTo>
                  <a:cubicBezTo>
                    <a:pt x="255556" y="203943"/>
                    <a:pt x="203943" y="255556"/>
                    <a:pt x="140547" y="255556"/>
                  </a:cubicBezTo>
                  <a:cubicBezTo>
                    <a:pt x="77151" y="255556"/>
                    <a:pt x="25538" y="203943"/>
                    <a:pt x="25538" y="140547"/>
                  </a:cubicBezTo>
                  <a:cubicBezTo>
                    <a:pt x="25538" y="77151"/>
                    <a:pt x="77092" y="25538"/>
                    <a:pt x="140547" y="25538"/>
                  </a:cubicBezTo>
                  <a:moveTo>
                    <a:pt x="140547" y="0"/>
                  </a:moveTo>
                  <a:cubicBezTo>
                    <a:pt x="62917" y="0"/>
                    <a:pt x="0" y="62917"/>
                    <a:pt x="0" y="140547"/>
                  </a:cubicBezTo>
                  <a:cubicBezTo>
                    <a:pt x="0" y="218177"/>
                    <a:pt x="62917" y="281094"/>
                    <a:pt x="140547" y="281094"/>
                  </a:cubicBezTo>
                  <a:cubicBezTo>
                    <a:pt x="218177" y="281094"/>
                    <a:pt x="281094" y="218177"/>
                    <a:pt x="281094" y="140547"/>
                  </a:cubicBezTo>
                  <a:cubicBezTo>
                    <a:pt x="281094" y="62917"/>
                    <a:pt x="218177" y="0"/>
                    <a:pt x="140547" y="0"/>
                  </a:cubicBezTo>
                  <a:lnTo>
                    <a:pt x="140547" y="0"/>
                  </a:lnTo>
                  <a:close/>
                </a:path>
              </a:pathLst>
            </a:custGeom>
            <a:grpFill/>
            <a:ln w="5978" cap="flat">
              <a:noFill/>
              <a:prstDash val="solid"/>
              <a:miter/>
            </a:ln>
          </p:spPr>
          <p:txBody>
            <a:bodyPr rtlCol="0" anchor="ctr"/>
            <a:lstStyle/>
            <a:p>
              <a:endParaRPr lang="en-GB"/>
            </a:p>
          </p:txBody>
        </p:sp>
        <p:grpSp>
          <p:nvGrpSpPr>
            <p:cNvPr id="14" name="Graphic 3">
              <a:extLst>
                <a:ext uri="{FF2B5EF4-FFF2-40B4-BE49-F238E27FC236}">
                  <a16:creationId xmlns:a16="http://schemas.microsoft.com/office/drawing/2014/main" id="{7C5AF437-1060-4306-A7D9-25140D7A5D2B}"/>
                </a:ext>
              </a:extLst>
            </p:cNvPr>
            <p:cNvGrpSpPr/>
            <p:nvPr/>
          </p:nvGrpSpPr>
          <p:grpSpPr>
            <a:xfrm>
              <a:off x="763099" y="1091522"/>
              <a:ext cx="168644" cy="166021"/>
              <a:chOff x="763099" y="1091522"/>
              <a:chExt cx="168644" cy="166021"/>
            </a:xfrm>
            <a:grpFill/>
          </p:grpSpPr>
          <p:sp>
            <p:nvSpPr>
              <p:cNvPr id="15" name="Vrije vorm: vorm 14">
                <a:extLst>
                  <a:ext uri="{FF2B5EF4-FFF2-40B4-BE49-F238E27FC236}">
                    <a16:creationId xmlns:a16="http://schemas.microsoft.com/office/drawing/2014/main" id="{1772E81F-D2D7-4217-B700-760D58A16CAC}"/>
                  </a:ext>
                </a:extLst>
              </p:cNvPr>
              <p:cNvSpPr/>
              <p:nvPr/>
            </p:nvSpPr>
            <p:spPr>
              <a:xfrm>
                <a:off x="775360" y="1126595"/>
                <a:ext cx="62259" cy="80713"/>
              </a:xfrm>
              <a:custGeom>
                <a:avLst/>
                <a:gdLst>
                  <a:gd name="connsiteX0" fmla="*/ 21710 w 62259"/>
                  <a:gd name="connsiteY0" fmla="*/ 7091 h 80713"/>
                  <a:gd name="connsiteX1" fmla="*/ 5383 w 62259"/>
                  <a:gd name="connsiteY1" fmla="*/ 65642 h 80713"/>
                  <a:gd name="connsiteX2" fmla="*/ 32655 w 62259"/>
                  <a:gd name="connsiteY2" fmla="*/ 80714 h 80713"/>
                  <a:gd name="connsiteX3" fmla="*/ 33612 w 62259"/>
                  <a:gd name="connsiteY3" fmla="*/ 78860 h 80713"/>
                  <a:gd name="connsiteX4" fmla="*/ 41387 w 62259"/>
                  <a:gd name="connsiteY4" fmla="*/ 73597 h 80713"/>
                  <a:gd name="connsiteX5" fmla="*/ 43899 w 62259"/>
                  <a:gd name="connsiteY5" fmla="*/ 73358 h 80713"/>
                  <a:gd name="connsiteX6" fmla="*/ 46111 w 62259"/>
                  <a:gd name="connsiteY6" fmla="*/ 73597 h 80713"/>
                  <a:gd name="connsiteX7" fmla="*/ 62259 w 62259"/>
                  <a:gd name="connsiteY7" fmla="*/ 22342 h 80713"/>
                  <a:gd name="connsiteX8" fmla="*/ 55561 w 62259"/>
                  <a:gd name="connsiteY8" fmla="*/ 13849 h 80713"/>
                  <a:gd name="connsiteX9" fmla="*/ 55322 w 62259"/>
                  <a:gd name="connsiteY9" fmla="*/ 11337 h 80713"/>
                  <a:gd name="connsiteX10" fmla="*/ 21949 w 62259"/>
                  <a:gd name="connsiteY10" fmla="*/ 6912 h 80713"/>
                  <a:gd name="connsiteX11" fmla="*/ 28289 w 62259"/>
                  <a:gd name="connsiteY11" fmla="*/ 34 h 80713"/>
                  <a:gd name="connsiteX12" fmla="*/ 5084 w 62259"/>
                  <a:gd name="connsiteY12" fmla="*/ 1529 h 80713"/>
                  <a:gd name="connsiteX13" fmla="*/ 0 w 62259"/>
                  <a:gd name="connsiteY13" fmla="*/ 9424 h 80713"/>
                  <a:gd name="connsiteX14" fmla="*/ 21710 w 62259"/>
                  <a:gd name="connsiteY14" fmla="*/ 7091 h 8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259" h="80713">
                    <a:moveTo>
                      <a:pt x="21710" y="7091"/>
                    </a:moveTo>
                    <a:cubicBezTo>
                      <a:pt x="8732" y="23000"/>
                      <a:pt x="2332" y="44052"/>
                      <a:pt x="5383" y="65642"/>
                    </a:cubicBezTo>
                    <a:cubicBezTo>
                      <a:pt x="13457" y="72221"/>
                      <a:pt x="22727" y="77365"/>
                      <a:pt x="32655" y="80714"/>
                    </a:cubicBezTo>
                    <a:cubicBezTo>
                      <a:pt x="32954" y="80116"/>
                      <a:pt x="33253" y="79458"/>
                      <a:pt x="33612" y="78860"/>
                    </a:cubicBezTo>
                    <a:cubicBezTo>
                      <a:pt x="35406" y="76109"/>
                      <a:pt x="38157" y="74255"/>
                      <a:pt x="41387" y="73597"/>
                    </a:cubicBezTo>
                    <a:cubicBezTo>
                      <a:pt x="42224" y="73417"/>
                      <a:pt x="43061" y="73358"/>
                      <a:pt x="43899" y="73358"/>
                    </a:cubicBezTo>
                    <a:cubicBezTo>
                      <a:pt x="44676" y="73358"/>
                      <a:pt x="45394" y="73417"/>
                      <a:pt x="46111" y="73597"/>
                    </a:cubicBezTo>
                    <a:cubicBezTo>
                      <a:pt x="54544" y="57568"/>
                      <a:pt x="60046" y="40165"/>
                      <a:pt x="62259" y="22342"/>
                    </a:cubicBezTo>
                    <a:cubicBezTo>
                      <a:pt x="58910" y="20727"/>
                      <a:pt x="56338" y="17677"/>
                      <a:pt x="55561" y="13849"/>
                    </a:cubicBezTo>
                    <a:cubicBezTo>
                      <a:pt x="55381" y="13012"/>
                      <a:pt x="55322" y="12175"/>
                      <a:pt x="55322" y="11337"/>
                    </a:cubicBezTo>
                    <a:cubicBezTo>
                      <a:pt x="44497" y="8467"/>
                      <a:pt x="33313" y="6972"/>
                      <a:pt x="21949" y="6912"/>
                    </a:cubicBezTo>
                    <a:lnTo>
                      <a:pt x="28289" y="34"/>
                    </a:lnTo>
                    <a:cubicBezTo>
                      <a:pt x="20514" y="-146"/>
                      <a:pt x="12799" y="393"/>
                      <a:pt x="5084" y="1529"/>
                    </a:cubicBezTo>
                    <a:cubicBezTo>
                      <a:pt x="3230" y="4041"/>
                      <a:pt x="1555" y="6672"/>
                      <a:pt x="0" y="9424"/>
                    </a:cubicBezTo>
                    <a:cubicBezTo>
                      <a:pt x="7476" y="7749"/>
                      <a:pt x="12739" y="6852"/>
                      <a:pt x="21710" y="7091"/>
                    </a:cubicBezTo>
                    <a:close/>
                  </a:path>
                </a:pathLst>
              </a:custGeom>
              <a:grpFill/>
              <a:ln w="5978"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E1E924E7-10D1-4B9C-A9B3-D62AB2F9FED7}"/>
                  </a:ext>
                </a:extLst>
              </p:cNvPr>
              <p:cNvSpPr/>
              <p:nvPr/>
            </p:nvSpPr>
            <p:spPr>
              <a:xfrm>
                <a:off x="803649" y="1108208"/>
                <a:ext cx="35106" cy="22786"/>
              </a:xfrm>
              <a:custGeom>
                <a:avLst/>
                <a:gdLst>
                  <a:gd name="connsiteX0" fmla="*/ 35107 w 35106"/>
                  <a:gd name="connsiteY0" fmla="*/ 18301 h 22786"/>
                  <a:gd name="connsiteX1" fmla="*/ 33492 w 35106"/>
                  <a:gd name="connsiteY1" fmla="*/ 0 h 22786"/>
                  <a:gd name="connsiteX2" fmla="*/ 0 w 35106"/>
                  <a:gd name="connsiteY2" fmla="*/ 18421 h 22786"/>
                  <a:gd name="connsiteX3" fmla="*/ 29306 w 35106"/>
                  <a:gd name="connsiteY3" fmla="*/ 22787 h 22786"/>
                  <a:gd name="connsiteX4" fmla="*/ 35107 w 35106"/>
                  <a:gd name="connsiteY4" fmla="*/ 18301 h 22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6" h="22786">
                    <a:moveTo>
                      <a:pt x="35107" y="18301"/>
                    </a:moveTo>
                    <a:cubicBezTo>
                      <a:pt x="34927" y="12141"/>
                      <a:pt x="34389" y="5981"/>
                      <a:pt x="33492" y="0"/>
                    </a:cubicBezTo>
                    <a:cubicBezTo>
                      <a:pt x="20514" y="3289"/>
                      <a:pt x="9091" y="9749"/>
                      <a:pt x="0" y="18421"/>
                    </a:cubicBezTo>
                    <a:cubicBezTo>
                      <a:pt x="9928" y="18839"/>
                      <a:pt x="19736" y="20275"/>
                      <a:pt x="29306" y="22787"/>
                    </a:cubicBezTo>
                    <a:cubicBezTo>
                      <a:pt x="30741" y="20693"/>
                      <a:pt x="32774" y="19138"/>
                      <a:pt x="35107" y="18301"/>
                    </a:cubicBezTo>
                    <a:close/>
                  </a:path>
                </a:pathLst>
              </a:custGeom>
              <a:grpFill/>
              <a:ln w="5978"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2F963A8E-F03F-4138-B099-0A53F0D172C5}"/>
                  </a:ext>
                </a:extLst>
              </p:cNvPr>
              <p:cNvSpPr/>
              <p:nvPr/>
            </p:nvSpPr>
            <p:spPr>
              <a:xfrm>
                <a:off x="828110" y="1145588"/>
                <a:ext cx="66625" cy="66565"/>
              </a:xfrm>
              <a:custGeom>
                <a:avLst/>
                <a:gdLst>
                  <a:gd name="connsiteX0" fmla="*/ 66625 w 66625"/>
                  <a:gd name="connsiteY0" fmla="*/ 30980 h 66565"/>
                  <a:gd name="connsiteX1" fmla="*/ 24401 w 66625"/>
                  <a:gd name="connsiteY1" fmla="*/ 0 h 66565"/>
                  <a:gd name="connsiteX2" fmla="*/ 17404 w 66625"/>
                  <a:gd name="connsiteY2" fmla="*/ 4306 h 66565"/>
                  <a:gd name="connsiteX3" fmla="*/ 16925 w 66625"/>
                  <a:gd name="connsiteY3" fmla="*/ 4366 h 66565"/>
                  <a:gd name="connsiteX4" fmla="*/ 0 w 66625"/>
                  <a:gd name="connsiteY4" fmla="*/ 58192 h 66565"/>
                  <a:gd name="connsiteX5" fmla="*/ 3170 w 66625"/>
                  <a:gd name="connsiteY5" fmla="*/ 64113 h 66565"/>
                  <a:gd name="connsiteX6" fmla="*/ 3409 w 66625"/>
                  <a:gd name="connsiteY6" fmla="*/ 66386 h 66565"/>
                  <a:gd name="connsiteX7" fmla="*/ 8792 w 66625"/>
                  <a:gd name="connsiteY7" fmla="*/ 66565 h 66565"/>
                  <a:gd name="connsiteX8" fmla="*/ 26016 w 66625"/>
                  <a:gd name="connsiteY8" fmla="*/ 64891 h 66565"/>
                  <a:gd name="connsiteX9" fmla="*/ 66326 w 66625"/>
                  <a:gd name="connsiteY9" fmla="*/ 44915 h 66565"/>
                  <a:gd name="connsiteX10" fmla="*/ 64532 w 66625"/>
                  <a:gd name="connsiteY10" fmla="*/ 40669 h 66565"/>
                  <a:gd name="connsiteX11" fmla="*/ 66266 w 66625"/>
                  <a:gd name="connsiteY11" fmla="*/ 31459 h 66565"/>
                  <a:gd name="connsiteX12" fmla="*/ 66625 w 66625"/>
                  <a:gd name="connsiteY12" fmla="*/ 30980 h 6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25" h="66565">
                    <a:moveTo>
                      <a:pt x="66625" y="30980"/>
                    </a:moveTo>
                    <a:cubicBezTo>
                      <a:pt x="54903" y="17942"/>
                      <a:pt x="40549" y="7416"/>
                      <a:pt x="24401" y="0"/>
                    </a:cubicBezTo>
                    <a:cubicBezTo>
                      <a:pt x="22607" y="2213"/>
                      <a:pt x="20215" y="3768"/>
                      <a:pt x="17404" y="4306"/>
                    </a:cubicBezTo>
                    <a:cubicBezTo>
                      <a:pt x="17224" y="4366"/>
                      <a:pt x="17105" y="4306"/>
                      <a:pt x="16925" y="4366"/>
                    </a:cubicBezTo>
                    <a:cubicBezTo>
                      <a:pt x="14533" y="23026"/>
                      <a:pt x="8792" y="41387"/>
                      <a:pt x="0" y="58192"/>
                    </a:cubicBezTo>
                    <a:cubicBezTo>
                      <a:pt x="1555" y="59807"/>
                      <a:pt x="2691" y="61841"/>
                      <a:pt x="3170" y="64113"/>
                    </a:cubicBezTo>
                    <a:cubicBezTo>
                      <a:pt x="3349" y="64891"/>
                      <a:pt x="3409" y="65609"/>
                      <a:pt x="3409" y="66386"/>
                    </a:cubicBezTo>
                    <a:cubicBezTo>
                      <a:pt x="5203" y="66506"/>
                      <a:pt x="6997" y="66565"/>
                      <a:pt x="8792" y="66565"/>
                    </a:cubicBezTo>
                    <a:cubicBezTo>
                      <a:pt x="14593" y="66565"/>
                      <a:pt x="20394" y="65967"/>
                      <a:pt x="26016" y="64891"/>
                    </a:cubicBezTo>
                    <a:cubicBezTo>
                      <a:pt x="41207" y="61841"/>
                      <a:pt x="54963" y="54903"/>
                      <a:pt x="66326" y="44915"/>
                    </a:cubicBezTo>
                    <a:cubicBezTo>
                      <a:pt x="65489" y="43659"/>
                      <a:pt x="64831" y="42224"/>
                      <a:pt x="64532" y="40669"/>
                    </a:cubicBezTo>
                    <a:cubicBezTo>
                      <a:pt x="63874" y="37439"/>
                      <a:pt x="64472" y="34210"/>
                      <a:pt x="66266" y="31459"/>
                    </a:cubicBezTo>
                    <a:cubicBezTo>
                      <a:pt x="66386" y="31279"/>
                      <a:pt x="66506" y="31160"/>
                      <a:pt x="66625" y="30980"/>
                    </a:cubicBezTo>
                    <a:close/>
                  </a:path>
                </a:pathLst>
              </a:custGeom>
              <a:grpFill/>
              <a:ln w="5978" cap="flat">
                <a:noFill/>
                <a:prstDash val="solid"/>
                <a:miter/>
              </a:ln>
            </p:spPr>
            <p:txBody>
              <a:bodyPr rtlCol="0" anchor="ctr"/>
              <a:lstStyle/>
              <a:p>
                <a:endParaRPr lang="en-GB"/>
              </a:p>
            </p:txBody>
          </p:sp>
          <p:sp>
            <p:nvSpPr>
              <p:cNvPr id="18" name="Vrije vorm: vorm 17">
                <a:extLst>
                  <a:ext uri="{FF2B5EF4-FFF2-40B4-BE49-F238E27FC236}">
                    <a16:creationId xmlns:a16="http://schemas.microsoft.com/office/drawing/2014/main" id="{FA911BBC-45F4-440F-AE2E-6963EA7111F0}"/>
                  </a:ext>
                </a:extLst>
              </p:cNvPr>
              <p:cNvSpPr/>
              <p:nvPr/>
            </p:nvSpPr>
            <p:spPr>
              <a:xfrm>
                <a:off x="914651" y="1153781"/>
                <a:ext cx="17093" cy="58312"/>
              </a:xfrm>
              <a:custGeom>
                <a:avLst/>
                <a:gdLst>
                  <a:gd name="connsiteX0" fmla="*/ 10646 w 17093"/>
                  <a:gd name="connsiteY0" fmla="*/ 58312 h 58312"/>
                  <a:gd name="connsiteX1" fmla="*/ 15490 w 17093"/>
                  <a:gd name="connsiteY1" fmla="*/ 12380 h 58312"/>
                  <a:gd name="connsiteX2" fmla="*/ 11722 w 17093"/>
                  <a:gd name="connsiteY2" fmla="*/ 0 h 58312"/>
                  <a:gd name="connsiteX3" fmla="*/ 718 w 17093"/>
                  <a:gd name="connsiteY3" fmla="*/ 23923 h 58312"/>
                  <a:gd name="connsiteX4" fmla="*/ 2033 w 17093"/>
                  <a:gd name="connsiteY4" fmla="*/ 27392 h 58312"/>
                  <a:gd name="connsiteX5" fmla="*/ 0 w 17093"/>
                  <a:gd name="connsiteY5" fmla="*/ 36901 h 58312"/>
                  <a:gd name="connsiteX6" fmla="*/ 10646 w 17093"/>
                  <a:gd name="connsiteY6" fmla="*/ 58312 h 5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93" h="58312">
                    <a:moveTo>
                      <a:pt x="10646" y="58312"/>
                    </a:moveTo>
                    <a:cubicBezTo>
                      <a:pt x="16806" y="44377"/>
                      <a:pt x="18839" y="28468"/>
                      <a:pt x="15490" y="12380"/>
                    </a:cubicBezTo>
                    <a:cubicBezTo>
                      <a:pt x="14593" y="8074"/>
                      <a:pt x="13277" y="4007"/>
                      <a:pt x="11722" y="0"/>
                    </a:cubicBezTo>
                    <a:cubicBezTo>
                      <a:pt x="9270" y="8433"/>
                      <a:pt x="5562" y="16567"/>
                      <a:pt x="718" y="23923"/>
                    </a:cubicBezTo>
                    <a:cubicBezTo>
                      <a:pt x="1316" y="24999"/>
                      <a:pt x="1794" y="26136"/>
                      <a:pt x="2033" y="27392"/>
                    </a:cubicBezTo>
                    <a:cubicBezTo>
                      <a:pt x="2751" y="30861"/>
                      <a:pt x="1914" y="34210"/>
                      <a:pt x="0" y="36901"/>
                    </a:cubicBezTo>
                    <a:cubicBezTo>
                      <a:pt x="4187" y="43719"/>
                      <a:pt x="7775" y="50896"/>
                      <a:pt x="10646" y="58312"/>
                    </a:cubicBezTo>
                    <a:close/>
                  </a:path>
                </a:pathLst>
              </a:custGeom>
              <a:grpFill/>
              <a:ln w="5978"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9CEAF2D2-750C-4573-B6D5-A4FFE01EA229}"/>
                  </a:ext>
                </a:extLst>
              </p:cNvPr>
              <p:cNvSpPr/>
              <p:nvPr/>
            </p:nvSpPr>
            <p:spPr>
              <a:xfrm>
                <a:off x="844497" y="1105840"/>
                <a:ext cx="76852" cy="66900"/>
              </a:xfrm>
              <a:custGeom>
                <a:avLst/>
                <a:gdLst>
                  <a:gd name="connsiteX0" fmla="*/ 10586 w 76852"/>
                  <a:gd name="connsiteY0" fmla="*/ 29580 h 66900"/>
                  <a:gd name="connsiteX1" fmla="*/ 10765 w 76852"/>
                  <a:gd name="connsiteY1" fmla="*/ 32989 h 66900"/>
                  <a:gd name="connsiteX2" fmla="*/ 56219 w 76852"/>
                  <a:gd name="connsiteY2" fmla="*/ 66362 h 66900"/>
                  <a:gd name="connsiteX3" fmla="*/ 57654 w 76852"/>
                  <a:gd name="connsiteY3" fmla="*/ 65943 h 66900"/>
                  <a:gd name="connsiteX4" fmla="*/ 60166 w 76852"/>
                  <a:gd name="connsiteY4" fmla="*/ 65704 h 66900"/>
                  <a:gd name="connsiteX5" fmla="*/ 65309 w 76852"/>
                  <a:gd name="connsiteY5" fmla="*/ 66900 h 66900"/>
                  <a:gd name="connsiteX6" fmla="*/ 76852 w 76852"/>
                  <a:gd name="connsiteY6" fmla="*/ 37654 h 66900"/>
                  <a:gd name="connsiteX7" fmla="*/ 0 w 76852"/>
                  <a:gd name="connsiteY7" fmla="*/ 873 h 66900"/>
                  <a:gd name="connsiteX8" fmla="*/ 1734 w 76852"/>
                  <a:gd name="connsiteY8" fmla="*/ 20310 h 66900"/>
                  <a:gd name="connsiteX9" fmla="*/ 10586 w 76852"/>
                  <a:gd name="connsiteY9" fmla="*/ 29580 h 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852" h="66900">
                    <a:moveTo>
                      <a:pt x="10586" y="29580"/>
                    </a:moveTo>
                    <a:cubicBezTo>
                      <a:pt x="10825" y="30717"/>
                      <a:pt x="10825" y="31853"/>
                      <a:pt x="10765" y="32989"/>
                    </a:cubicBezTo>
                    <a:cubicBezTo>
                      <a:pt x="28169" y="40884"/>
                      <a:pt x="43659" y="52247"/>
                      <a:pt x="56219" y="66362"/>
                    </a:cubicBezTo>
                    <a:cubicBezTo>
                      <a:pt x="56697" y="66182"/>
                      <a:pt x="57176" y="66003"/>
                      <a:pt x="57654" y="65943"/>
                    </a:cubicBezTo>
                    <a:cubicBezTo>
                      <a:pt x="58491" y="65764"/>
                      <a:pt x="59329" y="65704"/>
                      <a:pt x="60166" y="65704"/>
                    </a:cubicBezTo>
                    <a:cubicBezTo>
                      <a:pt x="62020" y="65704"/>
                      <a:pt x="63695" y="66123"/>
                      <a:pt x="65309" y="66900"/>
                    </a:cubicBezTo>
                    <a:cubicBezTo>
                      <a:pt x="70991" y="57989"/>
                      <a:pt x="74938" y="48001"/>
                      <a:pt x="76852" y="37654"/>
                    </a:cubicBezTo>
                    <a:cubicBezTo>
                      <a:pt x="61542" y="11339"/>
                      <a:pt x="31339" y="-3912"/>
                      <a:pt x="0" y="873"/>
                    </a:cubicBezTo>
                    <a:cubicBezTo>
                      <a:pt x="957" y="7332"/>
                      <a:pt x="1555" y="13851"/>
                      <a:pt x="1734" y="20310"/>
                    </a:cubicBezTo>
                    <a:cubicBezTo>
                      <a:pt x="6100" y="21506"/>
                      <a:pt x="9629" y="25035"/>
                      <a:pt x="10586" y="29580"/>
                    </a:cubicBezTo>
                    <a:close/>
                  </a:path>
                </a:pathLst>
              </a:custGeom>
              <a:grpFill/>
              <a:ln w="5978" cap="flat">
                <a:noFill/>
                <a:prstDash val="solid"/>
                <a:miter/>
              </a:ln>
            </p:spPr>
            <p:txBody>
              <a:bodyPr rtlCol="0" anchor="ctr"/>
              <a:lstStyle/>
              <a:p>
                <a:endParaRPr lang="en-GB"/>
              </a:p>
            </p:txBody>
          </p:sp>
          <p:sp>
            <p:nvSpPr>
              <p:cNvPr id="20" name="Vrije vorm: vorm 19">
                <a:extLst>
                  <a:ext uri="{FF2B5EF4-FFF2-40B4-BE49-F238E27FC236}">
                    <a16:creationId xmlns:a16="http://schemas.microsoft.com/office/drawing/2014/main" id="{1FB85954-93EF-46D5-A365-C5E842BF43C3}"/>
                  </a:ext>
                </a:extLst>
              </p:cNvPr>
              <p:cNvSpPr/>
              <p:nvPr/>
            </p:nvSpPr>
            <p:spPr>
              <a:xfrm>
                <a:off x="804366" y="1195108"/>
                <a:ext cx="116205" cy="62434"/>
              </a:xfrm>
              <a:custGeom>
                <a:avLst/>
                <a:gdLst>
                  <a:gd name="connsiteX0" fmla="*/ 102809 w 116205"/>
                  <a:gd name="connsiteY0" fmla="*/ 598 h 62434"/>
                  <a:gd name="connsiteX1" fmla="*/ 100297 w 116205"/>
                  <a:gd name="connsiteY1" fmla="*/ 837 h 62434"/>
                  <a:gd name="connsiteX2" fmla="*/ 95991 w 116205"/>
                  <a:gd name="connsiteY2" fmla="*/ 0 h 62434"/>
                  <a:gd name="connsiteX3" fmla="*/ 51315 w 116205"/>
                  <a:gd name="connsiteY3" fmla="*/ 22368 h 62434"/>
                  <a:gd name="connsiteX4" fmla="*/ 32176 w 116205"/>
                  <a:gd name="connsiteY4" fmla="*/ 24282 h 62434"/>
                  <a:gd name="connsiteX5" fmla="*/ 24999 w 116205"/>
                  <a:gd name="connsiteY5" fmla="*/ 23983 h 62434"/>
                  <a:gd name="connsiteX6" fmla="*/ 17404 w 116205"/>
                  <a:gd name="connsiteY6" fmla="*/ 29066 h 62434"/>
                  <a:gd name="connsiteX7" fmla="*/ 14892 w 116205"/>
                  <a:gd name="connsiteY7" fmla="*/ 29306 h 62434"/>
                  <a:gd name="connsiteX8" fmla="*/ 11184 w 116205"/>
                  <a:gd name="connsiteY8" fmla="*/ 28707 h 62434"/>
                  <a:gd name="connsiteX9" fmla="*/ 0 w 116205"/>
                  <a:gd name="connsiteY9" fmla="*/ 42224 h 62434"/>
                  <a:gd name="connsiteX10" fmla="*/ 66984 w 116205"/>
                  <a:gd name="connsiteY10" fmla="*/ 60824 h 62434"/>
                  <a:gd name="connsiteX11" fmla="*/ 116205 w 116205"/>
                  <a:gd name="connsiteY11" fmla="*/ 26016 h 62434"/>
                  <a:gd name="connsiteX12" fmla="*/ 104304 w 116205"/>
                  <a:gd name="connsiteY12" fmla="*/ 60 h 62434"/>
                  <a:gd name="connsiteX13" fmla="*/ 102809 w 116205"/>
                  <a:gd name="connsiteY13" fmla="*/ 598 h 6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05" h="62434">
                    <a:moveTo>
                      <a:pt x="102809" y="598"/>
                    </a:moveTo>
                    <a:cubicBezTo>
                      <a:pt x="101971" y="777"/>
                      <a:pt x="101134" y="837"/>
                      <a:pt x="100297" y="837"/>
                    </a:cubicBezTo>
                    <a:cubicBezTo>
                      <a:pt x="98802" y="837"/>
                      <a:pt x="97306" y="538"/>
                      <a:pt x="95991" y="0"/>
                    </a:cubicBezTo>
                    <a:cubicBezTo>
                      <a:pt x="83491" y="11304"/>
                      <a:pt x="68180" y="18959"/>
                      <a:pt x="51315" y="22368"/>
                    </a:cubicBezTo>
                    <a:cubicBezTo>
                      <a:pt x="44975" y="23624"/>
                      <a:pt x="38576" y="24282"/>
                      <a:pt x="32176" y="24282"/>
                    </a:cubicBezTo>
                    <a:cubicBezTo>
                      <a:pt x="29784" y="24282"/>
                      <a:pt x="27392" y="24162"/>
                      <a:pt x="24999" y="23983"/>
                    </a:cubicBezTo>
                    <a:cubicBezTo>
                      <a:pt x="23265" y="26495"/>
                      <a:pt x="20633" y="28408"/>
                      <a:pt x="17404" y="29066"/>
                    </a:cubicBezTo>
                    <a:cubicBezTo>
                      <a:pt x="16567" y="29246"/>
                      <a:pt x="15729" y="29306"/>
                      <a:pt x="14892" y="29306"/>
                    </a:cubicBezTo>
                    <a:cubicBezTo>
                      <a:pt x="13576" y="29306"/>
                      <a:pt x="12380" y="29066"/>
                      <a:pt x="11184" y="28707"/>
                    </a:cubicBezTo>
                    <a:cubicBezTo>
                      <a:pt x="7775" y="33372"/>
                      <a:pt x="3947" y="37858"/>
                      <a:pt x="0" y="42224"/>
                    </a:cubicBezTo>
                    <a:cubicBezTo>
                      <a:pt x="17404" y="58312"/>
                      <a:pt x="41985" y="66027"/>
                      <a:pt x="66984" y="60824"/>
                    </a:cubicBezTo>
                    <a:cubicBezTo>
                      <a:pt x="88335" y="56398"/>
                      <a:pt x="105679" y="43300"/>
                      <a:pt x="116205" y="26016"/>
                    </a:cubicBezTo>
                    <a:cubicBezTo>
                      <a:pt x="113215" y="16866"/>
                      <a:pt x="109208" y="8194"/>
                      <a:pt x="104304" y="60"/>
                    </a:cubicBezTo>
                    <a:cubicBezTo>
                      <a:pt x="103766" y="299"/>
                      <a:pt x="103287" y="478"/>
                      <a:pt x="102809" y="598"/>
                    </a:cubicBezTo>
                    <a:close/>
                  </a:path>
                </a:pathLst>
              </a:custGeom>
              <a:grpFill/>
              <a:ln w="5978" cap="flat">
                <a:noFill/>
                <a:prstDash val="solid"/>
                <a:miter/>
              </a:ln>
            </p:spPr>
            <p:txBody>
              <a:bodyPr rtlCol="0" anchor="ctr"/>
              <a:lstStyle/>
              <a:p>
                <a:endParaRPr lang="en-GB"/>
              </a:p>
            </p:txBody>
          </p:sp>
          <p:sp>
            <p:nvSpPr>
              <p:cNvPr id="21" name="Vrije vorm: vorm 20">
                <a:extLst>
                  <a:ext uri="{FF2B5EF4-FFF2-40B4-BE49-F238E27FC236}">
                    <a16:creationId xmlns:a16="http://schemas.microsoft.com/office/drawing/2014/main" id="{EAF2B2FF-22D4-4F83-9FC8-D2014D03C828}"/>
                  </a:ext>
                </a:extLst>
              </p:cNvPr>
              <p:cNvSpPr/>
              <p:nvPr/>
            </p:nvSpPr>
            <p:spPr>
              <a:xfrm>
                <a:off x="783015" y="1203002"/>
                <a:ext cx="26434" cy="29066"/>
              </a:xfrm>
              <a:custGeom>
                <a:avLst/>
                <a:gdLst>
                  <a:gd name="connsiteX0" fmla="*/ 26435 w 26434"/>
                  <a:gd name="connsiteY0" fmla="*/ 16507 h 29066"/>
                  <a:gd name="connsiteX1" fmla="*/ 24162 w 26434"/>
                  <a:gd name="connsiteY1" fmla="*/ 11722 h 29066"/>
                  <a:gd name="connsiteX2" fmla="*/ 0 w 26434"/>
                  <a:gd name="connsiteY2" fmla="*/ 0 h 29066"/>
                  <a:gd name="connsiteX3" fmla="*/ 16088 w 26434"/>
                  <a:gd name="connsiteY3" fmla="*/ 29066 h 29066"/>
                  <a:gd name="connsiteX4" fmla="*/ 26435 w 26434"/>
                  <a:gd name="connsiteY4" fmla="*/ 16507 h 29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4" h="29066">
                    <a:moveTo>
                      <a:pt x="26435" y="16507"/>
                    </a:moveTo>
                    <a:cubicBezTo>
                      <a:pt x="25358" y="15131"/>
                      <a:pt x="24581" y="13516"/>
                      <a:pt x="24162" y="11722"/>
                    </a:cubicBezTo>
                    <a:cubicBezTo>
                      <a:pt x="15610" y="8971"/>
                      <a:pt x="7476" y="5024"/>
                      <a:pt x="0" y="0"/>
                    </a:cubicBezTo>
                    <a:cubicBezTo>
                      <a:pt x="3230" y="11064"/>
                      <a:pt x="8792" y="20873"/>
                      <a:pt x="16088" y="29066"/>
                    </a:cubicBezTo>
                    <a:cubicBezTo>
                      <a:pt x="19796" y="24999"/>
                      <a:pt x="23325" y="20813"/>
                      <a:pt x="26435" y="16507"/>
                    </a:cubicBezTo>
                    <a:close/>
                  </a:path>
                </a:pathLst>
              </a:custGeom>
              <a:grpFill/>
              <a:ln w="5978" cap="flat">
                <a:noFill/>
                <a:prstDash val="solid"/>
                <a:miter/>
              </a:ln>
            </p:spPr>
            <p:txBody>
              <a:bodyPr rtlCol="0" anchor="ctr"/>
              <a:lstStyle/>
              <a:p>
                <a:endParaRPr lang="en-GB"/>
              </a:p>
            </p:txBody>
          </p:sp>
          <p:sp>
            <p:nvSpPr>
              <p:cNvPr id="22" name="Vrije vorm: vorm 21">
                <a:extLst>
                  <a:ext uri="{FF2B5EF4-FFF2-40B4-BE49-F238E27FC236}">
                    <a16:creationId xmlns:a16="http://schemas.microsoft.com/office/drawing/2014/main" id="{A2287FC5-5BD8-4732-8E95-1488612DD058}"/>
                  </a:ext>
                </a:extLst>
              </p:cNvPr>
              <p:cNvSpPr/>
              <p:nvPr/>
            </p:nvSpPr>
            <p:spPr>
              <a:xfrm>
                <a:off x="763099" y="1181651"/>
                <a:ext cx="19915" cy="20573"/>
              </a:xfrm>
              <a:custGeom>
                <a:avLst/>
                <a:gdLst>
                  <a:gd name="connsiteX0" fmla="*/ 0 w 19915"/>
                  <a:gd name="connsiteY0" fmla="*/ 0 h 20573"/>
                  <a:gd name="connsiteX1" fmla="*/ 0 w 19915"/>
                  <a:gd name="connsiteY1" fmla="*/ 179 h 20573"/>
                  <a:gd name="connsiteX2" fmla="*/ 419 w 19915"/>
                  <a:gd name="connsiteY2" fmla="*/ 8851 h 20573"/>
                  <a:gd name="connsiteX3" fmla="*/ 19916 w 19915"/>
                  <a:gd name="connsiteY3" fmla="*/ 20574 h 20573"/>
                  <a:gd name="connsiteX4" fmla="*/ 17344 w 19915"/>
                  <a:gd name="connsiteY4" fmla="*/ 11363 h 20573"/>
                  <a:gd name="connsiteX5" fmla="*/ 0 w 19915"/>
                  <a:gd name="connsiteY5" fmla="*/ 0 h 2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5" h="20573">
                    <a:moveTo>
                      <a:pt x="0" y="0"/>
                    </a:moveTo>
                    <a:cubicBezTo>
                      <a:pt x="0" y="60"/>
                      <a:pt x="0" y="120"/>
                      <a:pt x="0" y="179"/>
                    </a:cubicBezTo>
                    <a:cubicBezTo>
                      <a:pt x="0" y="3110"/>
                      <a:pt x="179" y="6041"/>
                      <a:pt x="419" y="8851"/>
                    </a:cubicBezTo>
                    <a:cubicBezTo>
                      <a:pt x="6579" y="13277"/>
                      <a:pt x="13098" y="17224"/>
                      <a:pt x="19916" y="20574"/>
                    </a:cubicBezTo>
                    <a:lnTo>
                      <a:pt x="17344" y="11363"/>
                    </a:lnTo>
                    <a:cubicBezTo>
                      <a:pt x="9629" y="7536"/>
                      <a:pt x="5442" y="4545"/>
                      <a:pt x="0" y="0"/>
                    </a:cubicBezTo>
                    <a:close/>
                  </a:path>
                </a:pathLst>
              </a:custGeom>
              <a:grpFill/>
              <a:ln w="5978" cap="flat">
                <a:noFill/>
                <a:prstDash val="solid"/>
                <a:miter/>
              </a:ln>
            </p:spPr>
            <p:txBody>
              <a:bodyPr rtlCol="0" anchor="ctr"/>
              <a:lstStyle/>
              <a:p>
                <a:endParaRPr lang="en-GB"/>
              </a:p>
            </p:txBody>
          </p:sp>
          <p:sp>
            <p:nvSpPr>
              <p:cNvPr id="23" name="Vrije vorm: vorm 22">
                <a:extLst>
                  <a:ext uri="{FF2B5EF4-FFF2-40B4-BE49-F238E27FC236}">
                    <a16:creationId xmlns:a16="http://schemas.microsoft.com/office/drawing/2014/main" id="{0225805D-6F81-4D8C-BA21-16ACA9CBA1EF}"/>
                  </a:ext>
                </a:extLst>
              </p:cNvPr>
              <p:cNvSpPr/>
              <p:nvPr/>
            </p:nvSpPr>
            <p:spPr>
              <a:xfrm>
                <a:off x="831698" y="1091522"/>
                <a:ext cx="12738" cy="16566"/>
              </a:xfrm>
              <a:custGeom>
                <a:avLst/>
                <a:gdLst>
                  <a:gd name="connsiteX0" fmla="*/ 12739 w 12738"/>
                  <a:gd name="connsiteY0" fmla="*/ 15131 h 16566"/>
                  <a:gd name="connsiteX1" fmla="*/ 6938 w 12738"/>
                  <a:gd name="connsiteY1" fmla="*/ 0 h 16566"/>
                  <a:gd name="connsiteX2" fmla="*/ 0 w 12738"/>
                  <a:gd name="connsiteY2" fmla="*/ 1495 h 16566"/>
                  <a:gd name="connsiteX3" fmla="*/ 5502 w 12738"/>
                  <a:gd name="connsiteY3" fmla="*/ 16567 h 16566"/>
                  <a:gd name="connsiteX4" fmla="*/ 12739 w 12738"/>
                  <a:gd name="connsiteY4" fmla="*/ 15131 h 1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38" h="16566">
                    <a:moveTo>
                      <a:pt x="12739" y="15131"/>
                    </a:moveTo>
                    <a:cubicBezTo>
                      <a:pt x="11005" y="8433"/>
                      <a:pt x="9330" y="4665"/>
                      <a:pt x="6938" y="0"/>
                    </a:cubicBezTo>
                    <a:cubicBezTo>
                      <a:pt x="4605" y="419"/>
                      <a:pt x="2273" y="897"/>
                      <a:pt x="0" y="1495"/>
                    </a:cubicBezTo>
                    <a:cubicBezTo>
                      <a:pt x="2213" y="5921"/>
                      <a:pt x="3828" y="10167"/>
                      <a:pt x="5502" y="16567"/>
                    </a:cubicBezTo>
                    <a:lnTo>
                      <a:pt x="12739" y="15131"/>
                    </a:lnTo>
                    <a:close/>
                  </a:path>
                </a:pathLst>
              </a:custGeom>
              <a:grpFill/>
              <a:ln w="5978" cap="flat">
                <a:noFill/>
                <a:prstDash val="solid"/>
                <a:miter/>
              </a:ln>
            </p:spPr>
            <p:txBody>
              <a:bodyPr rtlCol="0" anchor="ctr"/>
              <a:lstStyle/>
              <a:p>
                <a:endParaRPr lang="en-GB"/>
              </a:p>
            </p:txBody>
          </p:sp>
          <p:sp>
            <p:nvSpPr>
              <p:cNvPr id="24" name="Vrije vorm: vorm 23">
                <a:extLst>
                  <a:ext uri="{FF2B5EF4-FFF2-40B4-BE49-F238E27FC236}">
                    <a16:creationId xmlns:a16="http://schemas.microsoft.com/office/drawing/2014/main" id="{790B6B7B-9C42-4C16-8A65-526D89B6A10B}"/>
                  </a:ext>
                </a:extLst>
              </p:cNvPr>
              <p:cNvSpPr/>
              <p:nvPr/>
            </p:nvSpPr>
            <p:spPr>
              <a:xfrm>
                <a:off x="786424" y="1232129"/>
                <a:ext cx="17822" cy="16147"/>
              </a:xfrm>
              <a:custGeom>
                <a:avLst/>
                <a:gdLst>
                  <a:gd name="connsiteX0" fmla="*/ 0 w 17822"/>
                  <a:gd name="connsiteY0" fmla="*/ 10825 h 16147"/>
                  <a:gd name="connsiteX1" fmla="*/ 5143 w 17822"/>
                  <a:gd name="connsiteY1" fmla="*/ 16148 h 16147"/>
                  <a:gd name="connsiteX2" fmla="*/ 17823 w 17822"/>
                  <a:gd name="connsiteY2" fmla="*/ 5263 h 16147"/>
                  <a:gd name="connsiteX3" fmla="*/ 12679 w 17822"/>
                  <a:gd name="connsiteY3" fmla="*/ 0 h 16147"/>
                  <a:gd name="connsiteX4" fmla="*/ 0 w 17822"/>
                  <a:gd name="connsiteY4" fmla="*/ 10825 h 16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22" h="16147">
                    <a:moveTo>
                      <a:pt x="0" y="10825"/>
                    </a:moveTo>
                    <a:cubicBezTo>
                      <a:pt x="1615" y="12679"/>
                      <a:pt x="3349" y="14414"/>
                      <a:pt x="5143" y="16148"/>
                    </a:cubicBezTo>
                    <a:cubicBezTo>
                      <a:pt x="9450" y="12859"/>
                      <a:pt x="13457" y="9270"/>
                      <a:pt x="17823" y="5263"/>
                    </a:cubicBezTo>
                    <a:lnTo>
                      <a:pt x="12679" y="0"/>
                    </a:lnTo>
                    <a:cubicBezTo>
                      <a:pt x="8373" y="3887"/>
                      <a:pt x="4306" y="7476"/>
                      <a:pt x="0" y="10825"/>
                    </a:cubicBezTo>
                    <a:close/>
                  </a:path>
                </a:pathLst>
              </a:custGeom>
              <a:grpFill/>
              <a:ln w="5978" cap="flat">
                <a:noFill/>
                <a:prstDash val="solid"/>
                <a:miter/>
              </a:ln>
            </p:spPr>
            <p:txBody>
              <a:bodyPr rtlCol="0" anchor="ctr"/>
              <a:lstStyle/>
              <a:p>
                <a:endParaRPr lang="en-GB"/>
              </a:p>
            </p:txBody>
          </p:sp>
          <p:sp>
            <p:nvSpPr>
              <p:cNvPr id="25" name="Vrije vorm: vorm 24">
                <a:extLst>
                  <a:ext uri="{FF2B5EF4-FFF2-40B4-BE49-F238E27FC236}">
                    <a16:creationId xmlns:a16="http://schemas.microsoft.com/office/drawing/2014/main" id="{2E24D07F-F5D3-4087-9979-4B5825DD6E09}"/>
                  </a:ext>
                </a:extLst>
              </p:cNvPr>
              <p:cNvSpPr/>
              <p:nvPr/>
            </p:nvSpPr>
            <p:spPr>
              <a:xfrm>
                <a:off x="921349" y="1121844"/>
                <a:ext cx="9270" cy="31937"/>
              </a:xfrm>
              <a:custGeom>
                <a:avLst/>
                <a:gdLst>
                  <a:gd name="connsiteX0" fmla="*/ 9270 w 9270"/>
                  <a:gd name="connsiteY0" fmla="*/ 8134 h 31937"/>
                  <a:gd name="connsiteX1" fmla="*/ 2990 w 9270"/>
                  <a:gd name="connsiteY1" fmla="*/ 0 h 31937"/>
                  <a:gd name="connsiteX2" fmla="*/ 0 w 9270"/>
                  <a:gd name="connsiteY2" fmla="*/ 21590 h 31937"/>
                  <a:gd name="connsiteX3" fmla="*/ 5024 w 9270"/>
                  <a:gd name="connsiteY3" fmla="*/ 31937 h 31937"/>
                  <a:gd name="connsiteX4" fmla="*/ 9270 w 9270"/>
                  <a:gd name="connsiteY4" fmla="*/ 8134 h 31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0" h="31937">
                    <a:moveTo>
                      <a:pt x="9270" y="8134"/>
                    </a:moveTo>
                    <a:cubicBezTo>
                      <a:pt x="7356" y="5323"/>
                      <a:pt x="5203" y="2572"/>
                      <a:pt x="2990" y="0"/>
                    </a:cubicBezTo>
                    <a:cubicBezTo>
                      <a:pt x="2811" y="7595"/>
                      <a:pt x="2392" y="12918"/>
                      <a:pt x="0" y="21590"/>
                    </a:cubicBezTo>
                    <a:lnTo>
                      <a:pt x="5024" y="31937"/>
                    </a:lnTo>
                    <a:cubicBezTo>
                      <a:pt x="6938" y="24760"/>
                      <a:pt x="8433" y="16208"/>
                      <a:pt x="9270" y="8134"/>
                    </a:cubicBezTo>
                    <a:close/>
                  </a:path>
                </a:pathLst>
              </a:custGeom>
              <a:grpFill/>
              <a:ln w="5978" cap="flat">
                <a:noFill/>
                <a:prstDash val="solid"/>
                <a:miter/>
              </a:ln>
            </p:spPr>
            <p:txBody>
              <a:bodyPr rtlCol="0" anchor="ctr"/>
              <a:lstStyle/>
              <a:p>
                <a:endParaRPr lang="en-GB"/>
              </a:p>
            </p:txBody>
          </p:sp>
          <p:sp>
            <p:nvSpPr>
              <p:cNvPr id="26" name="Vrije vorm: vorm 25">
                <a:extLst>
                  <a:ext uri="{FF2B5EF4-FFF2-40B4-BE49-F238E27FC236}">
                    <a16:creationId xmlns:a16="http://schemas.microsoft.com/office/drawing/2014/main" id="{2ED10E40-49DC-4158-9D84-DAFA5E5C6FDE}"/>
                  </a:ext>
                </a:extLst>
              </p:cNvPr>
              <p:cNvSpPr/>
              <p:nvPr/>
            </p:nvSpPr>
            <p:spPr>
              <a:xfrm>
                <a:off x="920632" y="1212213"/>
                <a:ext cx="9210" cy="30382"/>
              </a:xfrm>
              <a:custGeom>
                <a:avLst/>
                <a:gdLst>
                  <a:gd name="connsiteX0" fmla="*/ 0 w 9210"/>
                  <a:gd name="connsiteY0" fmla="*/ 8732 h 30382"/>
                  <a:gd name="connsiteX1" fmla="*/ 2990 w 9210"/>
                  <a:gd name="connsiteY1" fmla="*/ 30382 h 30382"/>
                  <a:gd name="connsiteX2" fmla="*/ 9210 w 9210"/>
                  <a:gd name="connsiteY2" fmla="*/ 22488 h 30382"/>
                  <a:gd name="connsiteX3" fmla="*/ 4665 w 9210"/>
                  <a:gd name="connsiteY3" fmla="*/ 0 h 30382"/>
                  <a:gd name="connsiteX4" fmla="*/ 0 w 9210"/>
                  <a:gd name="connsiteY4" fmla="*/ 8732 h 30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0" h="30382">
                    <a:moveTo>
                      <a:pt x="0" y="8732"/>
                    </a:moveTo>
                    <a:cubicBezTo>
                      <a:pt x="2392" y="17464"/>
                      <a:pt x="2811" y="22727"/>
                      <a:pt x="2990" y="30382"/>
                    </a:cubicBezTo>
                    <a:cubicBezTo>
                      <a:pt x="5203" y="27870"/>
                      <a:pt x="7296" y="25239"/>
                      <a:pt x="9210" y="22488"/>
                    </a:cubicBezTo>
                    <a:cubicBezTo>
                      <a:pt x="8253" y="14892"/>
                      <a:pt x="6579" y="7177"/>
                      <a:pt x="4665" y="0"/>
                    </a:cubicBezTo>
                    <a:lnTo>
                      <a:pt x="0" y="8732"/>
                    </a:lnTo>
                    <a:close/>
                  </a:path>
                </a:pathLst>
              </a:custGeom>
              <a:grpFill/>
              <a:ln w="5978" cap="flat">
                <a:noFill/>
                <a:prstDash val="solid"/>
                <a:miter/>
              </a:ln>
            </p:spPr>
            <p:txBody>
              <a:bodyPr rtlCol="0" anchor="ctr"/>
              <a:lstStyle/>
              <a:p>
                <a:endParaRPr lang="en-GB"/>
              </a:p>
            </p:txBody>
          </p:sp>
        </p:grpSp>
      </p:grpSp>
      <p:grpSp>
        <p:nvGrpSpPr>
          <p:cNvPr id="43" name="ICOON2_GROEN">
            <a:extLst>
              <a:ext uri="{FF2B5EF4-FFF2-40B4-BE49-F238E27FC236}">
                <a16:creationId xmlns:a16="http://schemas.microsoft.com/office/drawing/2014/main" id="{C1EDFFC6-FF88-4CED-B35C-A45064301802}"/>
              </a:ext>
            </a:extLst>
          </p:cNvPr>
          <p:cNvGrpSpPr/>
          <p:nvPr/>
        </p:nvGrpSpPr>
        <p:grpSpPr>
          <a:xfrm>
            <a:off x="10564725" y="3429925"/>
            <a:ext cx="287074" cy="287074"/>
            <a:chOff x="8946402" y="1045231"/>
            <a:chExt cx="287074" cy="287074"/>
          </a:xfrm>
          <a:solidFill>
            <a:schemeClr val="accent6"/>
          </a:solidFill>
          <a:effectLst>
            <a:outerShdw blurRad="190500" algn="ctr" rotWithShape="0">
              <a:prstClr val="black">
                <a:alpha val="50000"/>
              </a:prstClr>
            </a:outerShdw>
          </a:effectLst>
        </p:grpSpPr>
        <p:sp>
          <p:nvSpPr>
            <p:cNvPr id="44" name="Vrije vorm: vorm 43">
              <a:extLst>
                <a:ext uri="{FF2B5EF4-FFF2-40B4-BE49-F238E27FC236}">
                  <a16:creationId xmlns:a16="http://schemas.microsoft.com/office/drawing/2014/main" id="{8CD574FE-6841-4E05-BD3E-C4060BD2E7A1}"/>
                </a:ext>
              </a:extLst>
            </p:cNvPr>
            <p:cNvSpPr/>
            <p:nvPr/>
          </p:nvSpPr>
          <p:spPr>
            <a:xfrm>
              <a:off x="8946402" y="1045231"/>
              <a:ext cx="287074" cy="287074"/>
            </a:xfrm>
            <a:custGeom>
              <a:avLst/>
              <a:gdLst>
                <a:gd name="connsiteX0" fmla="*/ 143537 w 287074"/>
                <a:gd name="connsiteY0" fmla="*/ 26076 h 287074"/>
                <a:gd name="connsiteX1" fmla="*/ 260999 w 287074"/>
                <a:gd name="connsiteY1" fmla="*/ 143537 h 287074"/>
                <a:gd name="connsiteX2" fmla="*/ 143537 w 287074"/>
                <a:gd name="connsiteY2" fmla="*/ 260999 h 287074"/>
                <a:gd name="connsiteX3" fmla="*/ 26076 w 287074"/>
                <a:gd name="connsiteY3" fmla="*/ 143537 h 287074"/>
                <a:gd name="connsiteX4" fmla="*/ 143537 w 287074"/>
                <a:gd name="connsiteY4" fmla="*/ 26076 h 287074"/>
                <a:gd name="connsiteX5" fmla="*/ 143537 w 287074"/>
                <a:gd name="connsiteY5" fmla="*/ 0 h 287074"/>
                <a:gd name="connsiteX6" fmla="*/ 0 w 287074"/>
                <a:gd name="connsiteY6" fmla="*/ 143537 h 287074"/>
                <a:gd name="connsiteX7" fmla="*/ 143537 w 287074"/>
                <a:gd name="connsiteY7" fmla="*/ 287075 h 287074"/>
                <a:gd name="connsiteX8" fmla="*/ 287075 w 287074"/>
                <a:gd name="connsiteY8" fmla="*/ 143537 h 287074"/>
                <a:gd name="connsiteX9" fmla="*/ 143537 w 287074"/>
                <a:gd name="connsiteY9" fmla="*/ 0 h 287074"/>
                <a:gd name="connsiteX10" fmla="*/ 143537 w 287074"/>
                <a:gd name="connsiteY10" fmla="*/ 0 h 28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074" h="287074">
                  <a:moveTo>
                    <a:pt x="143537" y="26076"/>
                  </a:moveTo>
                  <a:cubicBezTo>
                    <a:pt x="208308" y="26076"/>
                    <a:pt x="260999" y="78766"/>
                    <a:pt x="260999" y="143537"/>
                  </a:cubicBezTo>
                  <a:cubicBezTo>
                    <a:pt x="260999" y="208309"/>
                    <a:pt x="208308" y="260999"/>
                    <a:pt x="143537" y="260999"/>
                  </a:cubicBezTo>
                  <a:cubicBezTo>
                    <a:pt x="78766" y="260999"/>
                    <a:pt x="26076" y="208309"/>
                    <a:pt x="26076" y="143537"/>
                  </a:cubicBezTo>
                  <a:cubicBezTo>
                    <a:pt x="26076" y="78766"/>
                    <a:pt x="78766" y="26076"/>
                    <a:pt x="143537" y="26076"/>
                  </a:cubicBezTo>
                  <a:moveTo>
                    <a:pt x="143537" y="0"/>
                  </a:moveTo>
                  <a:cubicBezTo>
                    <a:pt x="64293" y="0"/>
                    <a:pt x="0" y="64293"/>
                    <a:pt x="0" y="143537"/>
                  </a:cubicBezTo>
                  <a:cubicBezTo>
                    <a:pt x="0" y="222782"/>
                    <a:pt x="64293" y="287075"/>
                    <a:pt x="143537" y="287075"/>
                  </a:cubicBezTo>
                  <a:cubicBezTo>
                    <a:pt x="222782" y="287075"/>
                    <a:pt x="287075" y="222782"/>
                    <a:pt x="287075" y="143537"/>
                  </a:cubicBezTo>
                  <a:cubicBezTo>
                    <a:pt x="287075" y="64293"/>
                    <a:pt x="222842" y="0"/>
                    <a:pt x="143537" y="0"/>
                  </a:cubicBezTo>
                  <a:lnTo>
                    <a:pt x="143537" y="0"/>
                  </a:lnTo>
                  <a:close/>
                </a:path>
              </a:pathLst>
            </a:custGeom>
            <a:grpFill/>
            <a:ln w="5978" cap="flat">
              <a:no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4BF99CD5-D671-4FC3-B99F-8E8FB029BD52}"/>
                </a:ext>
              </a:extLst>
            </p:cNvPr>
            <p:cNvSpPr/>
            <p:nvPr/>
          </p:nvSpPr>
          <p:spPr>
            <a:xfrm>
              <a:off x="9019307" y="1110002"/>
              <a:ext cx="141982" cy="71050"/>
            </a:xfrm>
            <a:custGeom>
              <a:avLst/>
              <a:gdLst>
                <a:gd name="connsiteX0" fmla="*/ 70991 w 141982"/>
                <a:gd name="connsiteY0" fmla="*/ 71051 h 71050"/>
                <a:gd name="connsiteX1" fmla="*/ 141982 w 141982"/>
                <a:gd name="connsiteY1" fmla="*/ 47367 h 71050"/>
                <a:gd name="connsiteX2" fmla="*/ 141982 w 141982"/>
                <a:gd name="connsiteY2" fmla="*/ 23684 h 71050"/>
                <a:gd name="connsiteX3" fmla="*/ 70991 w 141982"/>
                <a:gd name="connsiteY3" fmla="*/ 0 h 71050"/>
                <a:gd name="connsiteX4" fmla="*/ 0 w 141982"/>
                <a:gd name="connsiteY4" fmla="*/ 23684 h 71050"/>
                <a:gd name="connsiteX5" fmla="*/ 0 w 141982"/>
                <a:gd name="connsiteY5" fmla="*/ 47367 h 71050"/>
                <a:gd name="connsiteX6" fmla="*/ 70991 w 141982"/>
                <a:gd name="connsiteY6" fmla="*/ 71051 h 71050"/>
                <a:gd name="connsiteX7" fmla="*/ 70991 w 141982"/>
                <a:gd name="connsiteY7" fmla="*/ 9988 h 71050"/>
                <a:gd name="connsiteX8" fmla="*/ 125715 w 141982"/>
                <a:gd name="connsiteY8" fmla="*/ 23743 h 71050"/>
                <a:gd name="connsiteX9" fmla="*/ 70991 w 141982"/>
                <a:gd name="connsiteY9" fmla="*/ 37499 h 71050"/>
                <a:gd name="connsiteX10" fmla="*/ 16267 w 141982"/>
                <a:gd name="connsiteY10" fmla="*/ 23743 h 71050"/>
                <a:gd name="connsiteX11" fmla="*/ 70991 w 141982"/>
                <a:gd name="connsiteY11" fmla="*/ 9988 h 71050"/>
                <a:gd name="connsiteX12" fmla="*/ 70991 w 141982"/>
                <a:gd name="connsiteY12" fmla="*/ 9988 h 7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982" h="71050">
                  <a:moveTo>
                    <a:pt x="70991" y="71051"/>
                  </a:moveTo>
                  <a:cubicBezTo>
                    <a:pt x="110045" y="71051"/>
                    <a:pt x="141982" y="60465"/>
                    <a:pt x="141982" y="47367"/>
                  </a:cubicBezTo>
                  <a:lnTo>
                    <a:pt x="141982" y="23684"/>
                  </a:lnTo>
                  <a:cubicBezTo>
                    <a:pt x="141982" y="10586"/>
                    <a:pt x="110285" y="0"/>
                    <a:pt x="70991" y="0"/>
                  </a:cubicBezTo>
                  <a:cubicBezTo>
                    <a:pt x="31698" y="0"/>
                    <a:pt x="0" y="10586"/>
                    <a:pt x="0" y="23684"/>
                  </a:cubicBezTo>
                  <a:lnTo>
                    <a:pt x="0" y="47367"/>
                  </a:lnTo>
                  <a:cubicBezTo>
                    <a:pt x="0" y="60465"/>
                    <a:pt x="31698" y="71051"/>
                    <a:pt x="70991" y="71051"/>
                  </a:cubicBezTo>
                  <a:close/>
                  <a:moveTo>
                    <a:pt x="70991" y="9988"/>
                  </a:moveTo>
                  <a:cubicBezTo>
                    <a:pt x="101194" y="9988"/>
                    <a:pt x="125715" y="16088"/>
                    <a:pt x="125715" y="23743"/>
                  </a:cubicBezTo>
                  <a:cubicBezTo>
                    <a:pt x="125715" y="31399"/>
                    <a:pt x="101194" y="37499"/>
                    <a:pt x="70991" y="37499"/>
                  </a:cubicBezTo>
                  <a:cubicBezTo>
                    <a:pt x="40789" y="37499"/>
                    <a:pt x="16267" y="31399"/>
                    <a:pt x="16267" y="23743"/>
                  </a:cubicBezTo>
                  <a:cubicBezTo>
                    <a:pt x="16267" y="16088"/>
                    <a:pt x="40789" y="10167"/>
                    <a:pt x="70991" y="9988"/>
                  </a:cubicBezTo>
                  <a:lnTo>
                    <a:pt x="70991" y="9988"/>
                  </a:lnTo>
                  <a:close/>
                </a:path>
              </a:pathLst>
            </a:custGeom>
            <a:grpFill/>
            <a:ln w="5978" cap="flat">
              <a:noFill/>
              <a:prstDash val="solid"/>
              <a:miter/>
            </a:ln>
          </p:spPr>
          <p:txBody>
            <a:bodyPr rtlCol="0" anchor="ctr"/>
            <a:lstStyle/>
            <a:p>
              <a:endParaRPr lang="en-GB"/>
            </a:p>
          </p:txBody>
        </p:sp>
        <p:sp>
          <p:nvSpPr>
            <p:cNvPr id="46" name="Vrije vorm: vorm 45">
              <a:extLst>
                <a:ext uri="{FF2B5EF4-FFF2-40B4-BE49-F238E27FC236}">
                  <a16:creationId xmlns:a16="http://schemas.microsoft.com/office/drawing/2014/main" id="{10083646-ACE9-4D6D-8EEB-8772F3C05A4F}"/>
                </a:ext>
              </a:extLst>
            </p:cNvPr>
            <p:cNvSpPr/>
            <p:nvPr/>
          </p:nvSpPr>
          <p:spPr>
            <a:xfrm>
              <a:off x="9019128" y="1167716"/>
              <a:ext cx="159906" cy="100398"/>
            </a:xfrm>
            <a:custGeom>
              <a:avLst/>
              <a:gdLst>
                <a:gd name="connsiteX0" fmla="*/ 141982 w 159906"/>
                <a:gd name="connsiteY0" fmla="*/ 24700 h 100398"/>
                <a:gd name="connsiteX1" fmla="*/ 141982 w 159906"/>
                <a:gd name="connsiteY1" fmla="*/ 5682 h 100398"/>
                <a:gd name="connsiteX2" fmla="*/ 140906 w 159906"/>
                <a:gd name="connsiteY2" fmla="*/ 2093 h 100398"/>
                <a:gd name="connsiteX3" fmla="*/ 139411 w 159906"/>
                <a:gd name="connsiteY3" fmla="*/ 0 h 100398"/>
                <a:gd name="connsiteX4" fmla="*/ 70991 w 159906"/>
                <a:gd name="connsiteY4" fmla="*/ 17763 h 100398"/>
                <a:gd name="connsiteX5" fmla="*/ 2572 w 159906"/>
                <a:gd name="connsiteY5" fmla="*/ 0 h 100398"/>
                <a:gd name="connsiteX6" fmla="*/ 1077 w 159906"/>
                <a:gd name="connsiteY6" fmla="*/ 2332 h 100398"/>
                <a:gd name="connsiteX7" fmla="*/ 0 w 159906"/>
                <a:gd name="connsiteY7" fmla="*/ 5921 h 100398"/>
                <a:gd name="connsiteX8" fmla="*/ 0 w 159906"/>
                <a:gd name="connsiteY8" fmla="*/ 29605 h 100398"/>
                <a:gd name="connsiteX9" fmla="*/ 70991 w 159906"/>
                <a:gd name="connsiteY9" fmla="*/ 53288 h 100398"/>
                <a:gd name="connsiteX10" fmla="*/ 76912 w 159906"/>
                <a:gd name="connsiteY10" fmla="*/ 53288 h 100398"/>
                <a:gd name="connsiteX11" fmla="*/ 76494 w 159906"/>
                <a:gd name="connsiteY11" fmla="*/ 57535 h 100398"/>
                <a:gd name="connsiteX12" fmla="*/ 70991 w 159906"/>
                <a:gd name="connsiteY12" fmla="*/ 57535 h 100398"/>
                <a:gd name="connsiteX13" fmla="*/ 2572 w 159906"/>
                <a:gd name="connsiteY13" fmla="*/ 39772 h 100398"/>
                <a:gd name="connsiteX14" fmla="*/ 60 w 159906"/>
                <a:gd name="connsiteY14" fmla="*/ 45693 h 100398"/>
                <a:gd name="connsiteX15" fmla="*/ 60 w 159906"/>
                <a:gd name="connsiteY15" fmla="*/ 69376 h 100398"/>
                <a:gd name="connsiteX16" fmla="*/ 71051 w 159906"/>
                <a:gd name="connsiteY16" fmla="*/ 93060 h 100398"/>
                <a:gd name="connsiteX17" fmla="*/ 93240 w 159906"/>
                <a:gd name="connsiteY17" fmla="*/ 91804 h 100398"/>
                <a:gd name="connsiteX18" fmla="*/ 151313 w 159906"/>
                <a:gd name="connsiteY18" fmla="*/ 84209 h 100398"/>
                <a:gd name="connsiteX19" fmla="*/ 143717 w 159906"/>
                <a:gd name="connsiteY19" fmla="*/ 26136 h 100398"/>
                <a:gd name="connsiteX20" fmla="*/ 141982 w 159906"/>
                <a:gd name="connsiteY20" fmla="*/ 24700 h 100398"/>
                <a:gd name="connsiteX21" fmla="*/ 141982 w 159906"/>
                <a:gd name="connsiteY21" fmla="*/ 24700 h 100398"/>
                <a:gd name="connsiteX22" fmla="*/ 118059 w 159906"/>
                <a:gd name="connsiteY22" fmla="*/ 91505 h 100398"/>
                <a:gd name="connsiteX23" fmla="*/ 85106 w 159906"/>
                <a:gd name="connsiteY23" fmla="*/ 58551 h 100398"/>
                <a:gd name="connsiteX24" fmla="*/ 118059 w 159906"/>
                <a:gd name="connsiteY24" fmla="*/ 25597 h 100398"/>
                <a:gd name="connsiteX25" fmla="*/ 151013 w 159906"/>
                <a:gd name="connsiteY25" fmla="*/ 58551 h 100398"/>
                <a:gd name="connsiteX26" fmla="*/ 118059 w 159906"/>
                <a:gd name="connsiteY26" fmla="*/ 91505 h 100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9906" h="100398">
                  <a:moveTo>
                    <a:pt x="141982" y="24700"/>
                  </a:moveTo>
                  <a:lnTo>
                    <a:pt x="141982" y="5682"/>
                  </a:lnTo>
                  <a:cubicBezTo>
                    <a:pt x="141982" y="4426"/>
                    <a:pt x="141564" y="3170"/>
                    <a:pt x="140906" y="2093"/>
                  </a:cubicBezTo>
                  <a:cubicBezTo>
                    <a:pt x="140487" y="1256"/>
                    <a:pt x="140069" y="598"/>
                    <a:pt x="139411" y="0"/>
                  </a:cubicBezTo>
                  <a:cubicBezTo>
                    <a:pt x="131576" y="10167"/>
                    <a:pt x="103945" y="17763"/>
                    <a:pt x="70991" y="17763"/>
                  </a:cubicBezTo>
                  <a:cubicBezTo>
                    <a:pt x="38037" y="17763"/>
                    <a:pt x="10347" y="10167"/>
                    <a:pt x="2572" y="0"/>
                  </a:cubicBezTo>
                  <a:cubicBezTo>
                    <a:pt x="1914" y="658"/>
                    <a:pt x="1495" y="1495"/>
                    <a:pt x="1077" y="2332"/>
                  </a:cubicBezTo>
                  <a:cubicBezTo>
                    <a:pt x="419" y="3409"/>
                    <a:pt x="0" y="4665"/>
                    <a:pt x="0" y="5921"/>
                  </a:cubicBezTo>
                  <a:lnTo>
                    <a:pt x="0" y="29605"/>
                  </a:lnTo>
                  <a:cubicBezTo>
                    <a:pt x="0" y="42702"/>
                    <a:pt x="31698" y="53288"/>
                    <a:pt x="70991" y="53288"/>
                  </a:cubicBezTo>
                  <a:cubicBezTo>
                    <a:pt x="73085" y="53288"/>
                    <a:pt x="74998" y="53288"/>
                    <a:pt x="76912" y="53288"/>
                  </a:cubicBezTo>
                  <a:cubicBezTo>
                    <a:pt x="76673" y="54783"/>
                    <a:pt x="76673" y="56039"/>
                    <a:pt x="76494" y="57535"/>
                  </a:cubicBezTo>
                  <a:cubicBezTo>
                    <a:pt x="74580" y="57535"/>
                    <a:pt x="72666" y="57535"/>
                    <a:pt x="70991" y="57535"/>
                  </a:cubicBezTo>
                  <a:cubicBezTo>
                    <a:pt x="38037" y="57535"/>
                    <a:pt x="10347" y="50118"/>
                    <a:pt x="2572" y="39772"/>
                  </a:cubicBezTo>
                  <a:cubicBezTo>
                    <a:pt x="1077" y="41446"/>
                    <a:pt x="239" y="43599"/>
                    <a:pt x="60" y="45693"/>
                  </a:cubicBezTo>
                  <a:lnTo>
                    <a:pt x="60" y="69376"/>
                  </a:lnTo>
                  <a:cubicBezTo>
                    <a:pt x="60" y="82474"/>
                    <a:pt x="31758" y="93060"/>
                    <a:pt x="71051" y="93060"/>
                  </a:cubicBezTo>
                  <a:cubicBezTo>
                    <a:pt x="78467" y="93060"/>
                    <a:pt x="85824" y="92641"/>
                    <a:pt x="93240" y="91804"/>
                  </a:cubicBezTo>
                  <a:cubicBezTo>
                    <a:pt x="111421" y="105739"/>
                    <a:pt x="137378" y="102390"/>
                    <a:pt x="151313" y="84209"/>
                  </a:cubicBezTo>
                  <a:cubicBezTo>
                    <a:pt x="165247" y="66027"/>
                    <a:pt x="161899" y="40071"/>
                    <a:pt x="143717" y="26136"/>
                  </a:cubicBezTo>
                  <a:cubicBezTo>
                    <a:pt x="143239" y="25597"/>
                    <a:pt x="142581" y="24940"/>
                    <a:pt x="141982" y="24700"/>
                  </a:cubicBezTo>
                  <a:lnTo>
                    <a:pt x="141982" y="24700"/>
                  </a:lnTo>
                  <a:close/>
                  <a:moveTo>
                    <a:pt x="118059" y="91505"/>
                  </a:moveTo>
                  <a:cubicBezTo>
                    <a:pt x="99879" y="91505"/>
                    <a:pt x="85106" y="76733"/>
                    <a:pt x="85106" y="58551"/>
                  </a:cubicBezTo>
                  <a:cubicBezTo>
                    <a:pt x="85106" y="40370"/>
                    <a:pt x="99879" y="25597"/>
                    <a:pt x="118059" y="25597"/>
                  </a:cubicBezTo>
                  <a:cubicBezTo>
                    <a:pt x="136241" y="25597"/>
                    <a:pt x="151013" y="40370"/>
                    <a:pt x="151013" y="58551"/>
                  </a:cubicBezTo>
                  <a:cubicBezTo>
                    <a:pt x="151013" y="76733"/>
                    <a:pt x="136241" y="91505"/>
                    <a:pt x="118059" y="91505"/>
                  </a:cubicBezTo>
                  <a:close/>
                </a:path>
              </a:pathLst>
            </a:custGeom>
            <a:grpFill/>
            <a:ln w="5978" cap="flat">
              <a:noFill/>
              <a:prstDash val="solid"/>
              <a:miter/>
            </a:ln>
          </p:spPr>
          <p:txBody>
            <a:bodyPr rtlCol="0" anchor="ctr"/>
            <a:lstStyle/>
            <a:p>
              <a:endParaRPr lang="en-GB"/>
            </a:p>
          </p:txBody>
        </p:sp>
        <p:grpSp>
          <p:nvGrpSpPr>
            <p:cNvPr id="47" name="Graphic 3">
              <a:extLst>
                <a:ext uri="{FF2B5EF4-FFF2-40B4-BE49-F238E27FC236}">
                  <a16:creationId xmlns:a16="http://schemas.microsoft.com/office/drawing/2014/main" id="{B9920E18-4AF7-47E1-BD2D-994AB3793776}"/>
                </a:ext>
              </a:extLst>
            </p:cNvPr>
            <p:cNvGrpSpPr/>
            <p:nvPr/>
          </p:nvGrpSpPr>
          <p:grpSpPr>
            <a:xfrm>
              <a:off x="9111351" y="1200371"/>
              <a:ext cx="51673" cy="51733"/>
              <a:chOff x="9111351" y="1200371"/>
              <a:chExt cx="51673" cy="51733"/>
            </a:xfrm>
            <a:grpFill/>
          </p:grpSpPr>
          <p:grpSp>
            <p:nvGrpSpPr>
              <p:cNvPr id="48" name="Graphic 3">
                <a:extLst>
                  <a:ext uri="{FF2B5EF4-FFF2-40B4-BE49-F238E27FC236}">
                    <a16:creationId xmlns:a16="http://schemas.microsoft.com/office/drawing/2014/main" id="{9FA181B4-8D1A-44AC-BC1C-2BFB2AE7562C}"/>
                  </a:ext>
                </a:extLst>
              </p:cNvPr>
              <p:cNvGrpSpPr/>
              <p:nvPr/>
            </p:nvGrpSpPr>
            <p:grpSpPr>
              <a:xfrm>
                <a:off x="9111351" y="1200371"/>
                <a:ext cx="25836" cy="51733"/>
                <a:chOff x="9111351" y="1200371"/>
                <a:chExt cx="25836" cy="51733"/>
              </a:xfrm>
              <a:grpFill/>
            </p:grpSpPr>
            <p:sp>
              <p:nvSpPr>
                <p:cNvPr id="56" name="Vrije vorm: vorm 55">
                  <a:extLst>
                    <a:ext uri="{FF2B5EF4-FFF2-40B4-BE49-F238E27FC236}">
                      <a16:creationId xmlns:a16="http://schemas.microsoft.com/office/drawing/2014/main" id="{15043AAF-0025-4747-AF2B-B898E84BC32E}"/>
                    </a:ext>
                  </a:extLst>
                </p:cNvPr>
                <p:cNvSpPr/>
                <p:nvPr/>
              </p:nvSpPr>
              <p:spPr>
                <a:xfrm>
                  <a:off x="9129293" y="1200371"/>
                  <a:ext cx="7894" cy="12978"/>
                </a:xfrm>
                <a:custGeom>
                  <a:avLst/>
                  <a:gdLst>
                    <a:gd name="connsiteX0" fmla="*/ 7894 w 7894"/>
                    <a:gd name="connsiteY0" fmla="*/ 0 h 12978"/>
                    <a:gd name="connsiteX1" fmla="*/ 0 w 7894"/>
                    <a:gd name="connsiteY1" fmla="*/ 12978 h 12978"/>
                    <a:gd name="connsiteX2" fmla="*/ 7894 w 7894"/>
                    <a:gd name="connsiteY2" fmla="*/ 12978 h 12978"/>
                    <a:gd name="connsiteX3" fmla="*/ 7894 w 7894"/>
                    <a:gd name="connsiteY3" fmla="*/ 0 h 12978"/>
                    <a:gd name="connsiteX4" fmla="*/ 7894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7894" y="0"/>
                      </a:moveTo>
                      <a:cubicBezTo>
                        <a:pt x="5263" y="0"/>
                        <a:pt x="1854" y="4725"/>
                        <a:pt x="0" y="12978"/>
                      </a:cubicBezTo>
                      <a:lnTo>
                        <a:pt x="7894" y="12978"/>
                      </a:lnTo>
                      <a:lnTo>
                        <a:pt x="7894" y="0"/>
                      </a:lnTo>
                      <a:cubicBezTo>
                        <a:pt x="7894" y="0"/>
                        <a:pt x="7894" y="0"/>
                        <a:pt x="7894" y="0"/>
                      </a:cubicBezTo>
                      <a:close/>
                    </a:path>
                  </a:pathLst>
                </a:custGeom>
                <a:grpFill/>
                <a:ln w="5978" cap="flat">
                  <a:noFill/>
                  <a:prstDash val="solid"/>
                  <a:miter/>
                </a:ln>
              </p:spPr>
              <p:txBody>
                <a:bodyPr rtlCol="0" anchor="ctr"/>
                <a:lstStyle/>
                <a:p>
                  <a:endParaRPr lang="en-GB"/>
                </a:p>
              </p:txBody>
            </p:sp>
            <p:sp>
              <p:nvSpPr>
                <p:cNvPr id="57" name="Vrije vorm: vorm 56">
                  <a:extLst>
                    <a:ext uri="{FF2B5EF4-FFF2-40B4-BE49-F238E27FC236}">
                      <a16:creationId xmlns:a16="http://schemas.microsoft.com/office/drawing/2014/main" id="{15366096-CBC9-449D-B394-D3FBB3AFC64A}"/>
                    </a:ext>
                  </a:extLst>
                </p:cNvPr>
                <p:cNvSpPr/>
                <p:nvPr/>
              </p:nvSpPr>
              <p:spPr>
                <a:xfrm>
                  <a:off x="9114879" y="1202165"/>
                  <a:ext cx="13098" cy="11243"/>
                </a:xfrm>
                <a:custGeom>
                  <a:avLst/>
                  <a:gdLst>
                    <a:gd name="connsiteX0" fmla="*/ 13098 w 13098"/>
                    <a:gd name="connsiteY0" fmla="*/ 0 h 11243"/>
                    <a:gd name="connsiteX1" fmla="*/ 0 w 13098"/>
                    <a:gd name="connsiteY1" fmla="*/ 11244 h 11243"/>
                    <a:gd name="connsiteX2" fmla="*/ 9151 w 13098"/>
                    <a:gd name="connsiteY2" fmla="*/ 11244 h 11243"/>
                    <a:gd name="connsiteX3" fmla="*/ 13098 w 13098"/>
                    <a:gd name="connsiteY3" fmla="*/ 0 h 11243"/>
                  </a:gdLst>
                  <a:ahLst/>
                  <a:cxnLst>
                    <a:cxn ang="0">
                      <a:pos x="connsiteX0" y="connsiteY0"/>
                    </a:cxn>
                    <a:cxn ang="0">
                      <a:pos x="connsiteX1" y="connsiteY1"/>
                    </a:cxn>
                    <a:cxn ang="0">
                      <a:pos x="connsiteX2" y="connsiteY2"/>
                    </a:cxn>
                    <a:cxn ang="0">
                      <a:pos x="connsiteX3" y="connsiteY3"/>
                    </a:cxn>
                  </a:cxnLst>
                  <a:rect l="l" t="t" r="r" b="b"/>
                  <a:pathLst>
                    <a:path w="13098" h="11243">
                      <a:moveTo>
                        <a:pt x="13098" y="0"/>
                      </a:moveTo>
                      <a:cubicBezTo>
                        <a:pt x="7476" y="2093"/>
                        <a:pt x="2871" y="6160"/>
                        <a:pt x="0" y="11244"/>
                      </a:cubicBezTo>
                      <a:lnTo>
                        <a:pt x="9151" y="11244"/>
                      </a:lnTo>
                      <a:cubicBezTo>
                        <a:pt x="9988" y="6818"/>
                        <a:pt x="11304" y="2931"/>
                        <a:pt x="13098" y="0"/>
                      </a:cubicBezTo>
                      <a:close/>
                    </a:path>
                  </a:pathLst>
                </a:custGeom>
                <a:grpFill/>
                <a:ln w="5978" cap="flat">
                  <a:noFill/>
                  <a:prstDash val="solid"/>
                  <a:miter/>
                </a:ln>
              </p:spPr>
              <p:txBody>
                <a:bodyPr rtlCol="0" anchor="ctr"/>
                <a:lstStyle/>
                <a:p>
                  <a:endParaRPr lang="en-GB"/>
                </a:p>
              </p:txBody>
            </p:sp>
            <p:sp>
              <p:nvSpPr>
                <p:cNvPr id="58" name="Vrije vorm: vorm 57">
                  <a:extLst>
                    <a:ext uri="{FF2B5EF4-FFF2-40B4-BE49-F238E27FC236}">
                      <a16:creationId xmlns:a16="http://schemas.microsoft.com/office/drawing/2014/main" id="{02D24BEC-CDA4-445D-B0A5-A7343794270F}"/>
                    </a:ext>
                  </a:extLst>
                </p:cNvPr>
                <p:cNvSpPr/>
                <p:nvPr/>
              </p:nvSpPr>
              <p:spPr>
                <a:xfrm>
                  <a:off x="9127977" y="1218552"/>
                  <a:ext cx="9209" cy="15430"/>
                </a:xfrm>
                <a:custGeom>
                  <a:avLst/>
                  <a:gdLst>
                    <a:gd name="connsiteX0" fmla="*/ 418 w 9209"/>
                    <a:gd name="connsiteY0" fmla="*/ 0 h 15430"/>
                    <a:gd name="connsiteX1" fmla="*/ 0 w 9209"/>
                    <a:gd name="connsiteY1" fmla="*/ 7715 h 15430"/>
                    <a:gd name="connsiteX2" fmla="*/ 418 w 9209"/>
                    <a:gd name="connsiteY2" fmla="*/ 15430 h 15430"/>
                    <a:gd name="connsiteX3" fmla="*/ 9210 w 9209"/>
                    <a:gd name="connsiteY3" fmla="*/ 15430 h 15430"/>
                    <a:gd name="connsiteX4" fmla="*/ 9210 w 9209"/>
                    <a:gd name="connsiteY4" fmla="*/ 0 h 15430"/>
                    <a:gd name="connsiteX5" fmla="*/ 418 w 9209"/>
                    <a:gd name="connsiteY5" fmla="*/ 0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9" h="15430">
                      <a:moveTo>
                        <a:pt x="418" y="0"/>
                      </a:moveTo>
                      <a:cubicBezTo>
                        <a:pt x="60" y="2392"/>
                        <a:pt x="0" y="4964"/>
                        <a:pt x="0" y="7715"/>
                      </a:cubicBezTo>
                      <a:cubicBezTo>
                        <a:pt x="0" y="10466"/>
                        <a:pt x="239" y="12978"/>
                        <a:pt x="418" y="15430"/>
                      </a:cubicBezTo>
                      <a:lnTo>
                        <a:pt x="9210" y="15430"/>
                      </a:lnTo>
                      <a:lnTo>
                        <a:pt x="9210" y="0"/>
                      </a:lnTo>
                      <a:lnTo>
                        <a:pt x="418" y="0"/>
                      </a:lnTo>
                      <a:close/>
                    </a:path>
                  </a:pathLst>
                </a:custGeom>
                <a:grpFill/>
                <a:ln w="5978" cap="flat">
                  <a:noFill/>
                  <a:prstDash val="solid"/>
                  <a:miter/>
                </a:ln>
              </p:spPr>
              <p:txBody>
                <a:bodyPr rtlCol="0" anchor="ctr"/>
                <a:lstStyle/>
                <a:p>
                  <a:endParaRPr lang="en-GB"/>
                </a:p>
              </p:txBody>
            </p:sp>
            <p:sp>
              <p:nvSpPr>
                <p:cNvPr id="59" name="Vrije vorm: vorm 58">
                  <a:extLst>
                    <a:ext uri="{FF2B5EF4-FFF2-40B4-BE49-F238E27FC236}">
                      <a16:creationId xmlns:a16="http://schemas.microsoft.com/office/drawing/2014/main" id="{F7B617BE-B285-486B-B72E-176B64494B33}"/>
                    </a:ext>
                  </a:extLst>
                </p:cNvPr>
                <p:cNvSpPr/>
                <p:nvPr/>
              </p:nvSpPr>
              <p:spPr>
                <a:xfrm>
                  <a:off x="9114879" y="1239126"/>
                  <a:ext cx="12978" cy="11243"/>
                </a:xfrm>
                <a:custGeom>
                  <a:avLst/>
                  <a:gdLst>
                    <a:gd name="connsiteX0" fmla="*/ 0 w 12978"/>
                    <a:gd name="connsiteY0" fmla="*/ 0 h 11243"/>
                    <a:gd name="connsiteX1" fmla="*/ 12978 w 12978"/>
                    <a:gd name="connsiteY1" fmla="*/ 11244 h 11243"/>
                    <a:gd name="connsiteX2" fmla="*/ 9031 w 12978"/>
                    <a:gd name="connsiteY2" fmla="*/ 0 h 11243"/>
                    <a:gd name="connsiteX3" fmla="*/ 0 w 12978"/>
                    <a:gd name="connsiteY3" fmla="*/ 0 h 11243"/>
                  </a:gdLst>
                  <a:ahLst/>
                  <a:cxnLst>
                    <a:cxn ang="0">
                      <a:pos x="connsiteX0" y="connsiteY0"/>
                    </a:cxn>
                    <a:cxn ang="0">
                      <a:pos x="connsiteX1" y="connsiteY1"/>
                    </a:cxn>
                    <a:cxn ang="0">
                      <a:pos x="connsiteX2" y="connsiteY2"/>
                    </a:cxn>
                    <a:cxn ang="0">
                      <a:pos x="connsiteX3" y="connsiteY3"/>
                    </a:cxn>
                  </a:cxnLst>
                  <a:rect l="l" t="t" r="r" b="b"/>
                  <a:pathLst>
                    <a:path w="12978" h="11243">
                      <a:moveTo>
                        <a:pt x="0" y="0"/>
                      </a:moveTo>
                      <a:cubicBezTo>
                        <a:pt x="2871" y="5084"/>
                        <a:pt x="7476" y="9150"/>
                        <a:pt x="12978" y="11244"/>
                      </a:cubicBezTo>
                      <a:cubicBezTo>
                        <a:pt x="11304" y="8253"/>
                        <a:pt x="9868" y="4426"/>
                        <a:pt x="9031" y="0"/>
                      </a:cubicBezTo>
                      <a:lnTo>
                        <a:pt x="0" y="0"/>
                      </a:lnTo>
                      <a:close/>
                    </a:path>
                  </a:pathLst>
                </a:custGeom>
                <a:grpFill/>
                <a:ln w="5978" cap="flat">
                  <a:noFill/>
                  <a:prstDash val="solid"/>
                  <a:miter/>
                </a:ln>
              </p:spPr>
              <p:txBody>
                <a:bodyPr rtlCol="0" anchor="ctr"/>
                <a:lstStyle/>
                <a:p>
                  <a:endParaRPr lang="en-GB"/>
                </a:p>
              </p:txBody>
            </p:sp>
            <p:sp>
              <p:nvSpPr>
                <p:cNvPr id="60" name="Vrije vorm: vorm 59">
                  <a:extLst>
                    <a:ext uri="{FF2B5EF4-FFF2-40B4-BE49-F238E27FC236}">
                      <a16:creationId xmlns:a16="http://schemas.microsoft.com/office/drawing/2014/main" id="{83CF77E6-33E9-43F8-A021-EC445CB84F87}"/>
                    </a:ext>
                  </a:extLst>
                </p:cNvPr>
                <p:cNvSpPr/>
                <p:nvPr/>
              </p:nvSpPr>
              <p:spPr>
                <a:xfrm>
                  <a:off x="9129293" y="1239126"/>
                  <a:ext cx="7894" cy="12978"/>
                </a:xfrm>
                <a:custGeom>
                  <a:avLst/>
                  <a:gdLst>
                    <a:gd name="connsiteX0" fmla="*/ 0 w 7894"/>
                    <a:gd name="connsiteY0" fmla="*/ 0 h 12978"/>
                    <a:gd name="connsiteX1" fmla="*/ 7894 w 7894"/>
                    <a:gd name="connsiteY1" fmla="*/ 12978 h 12978"/>
                    <a:gd name="connsiteX2" fmla="*/ 7894 w 7894"/>
                    <a:gd name="connsiteY2" fmla="*/ 12978 h 12978"/>
                    <a:gd name="connsiteX3" fmla="*/ 7894 w 7894"/>
                    <a:gd name="connsiteY3" fmla="*/ 0 h 12978"/>
                    <a:gd name="connsiteX4" fmla="*/ 0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0" y="0"/>
                      </a:moveTo>
                      <a:cubicBezTo>
                        <a:pt x="1854" y="8253"/>
                        <a:pt x="5263" y="12978"/>
                        <a:pt x="7894" y="12978"/>
                      </a:cubicBezTo>
                      <a:cubicBezTo>
                        <a:pt x="7894" y="12978"/>
                        <a:pt x="7894" y="12978"/>
                        <a:pt x="7894" y="12978"/>
                      </a:cubicBezTo>
                      <a:lnTo>
                        <a:pt x="7894" y="0"/>
                      </a:lnTo>
                      <a:lnTo>
                        <a:pt x="0" y="0"/>
                      </a:lnTo>
                      <a:close/>
                    </a:path>
                  </a:pathLst>
                </a:custGeom>
                <a:grpFill/>
                <a:ln w="5978" cap="flat">
                  <a:noFill/>
                  <a:prstDash val="solid"/>
                  <a:miter/>
                </a:ln>
              </p:spPr>
              <p:txBody>
                <a:bodyPr rtlCol="0" anchor="ctr"/>
                <a:lstStyle/>
                <a:p>
                  <a:endParaRPr lang="en-GB"/>
                </a:p>
              </p:txBody>
            </p:sp>
            <p:sp>
              <p:nvSpPr>
                <p:cNvPr id="61" name="Vrije vorm: vorm 60">
                  <a:extLst>
                    <a:ext uri="{FF2B5EF4-FFF2-40B4-BE49-F238E27FC236}">
                      <a16:creationId xmlns:a16="http://schemas.microsoft.com/office/drawing/2014/main" id="{875CE3CE-FF2E-4628-A00E-C9E2310E2A28}"/>
                    </a:ext>
                  </a:extLst>
                </p:cNvPr>
                <p:cNvSpPr/>
                <p:nvPr/>
              </p:nvSpPr>
              <p:spPr>
                <a:xfrm>
                  <a:off x="9111351" y="1218552"/>
                  <a:ext cx="11841" cy="15430"/>
                </a:xfrm>
                <a:custGeom>
                  <a:avLst/>
                  <a:gdLst>
                    <a:gd name="connsiteX0" fmla="*/ 11423 w 11841"/>
                    <a:gd name="connsiteY0" fmla="*/ 7715 h 15430"/>
                    <a:gd name="connsiteX1" fmla="*/ 11842 w 11841"/>
                    <a:gd name="connsiteY1" fmla="*/ 0 h 15430"/>
                    <a:gd name="connsiteX2" fmla="*/ 1196 w 11841"/>
                    <a:gd name="connsiteY2" fmla="*/ 0 h 15430"/>
                    <a:gd name="connsiteX3" fmla="*/ 0 w 11841"/>
                    <a:gd name="connsiteY3" fmla="*/ 7715 h 15430"/>
                    <a:gd name="connsiteX4" fmla="*/ 1196 w 11841"/>
                    <a:gd name="connsiteY4" fmla="*/ 15430 h 15430"/>
                    <a:gd name="connsiteX5" fmla="*/ 11842 w 11841"/>
                    <a:gd name="connsiteY5" fmla="*/ 15430 h 15430"/>
                    <a:gd name="connsiteX6" fmla="*/ 11423 w 11841"/>
                    <a:gd name="connsiteY6" fmla="*/ 7715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1" h="15430">
                      <a:moveTo>
                        <a:pt x="11423" y="7715"/>
                      </a:moveTo>
                      <a:cubicBezTo>
                        <a:pt x="11423" y="5084"/>
                        <a:pt x="11543" y="2452"/>
                        <a:pt x="11842" y="0"/>
                      </a:cubicBezTo>
                      <a:lnTo>
                        <a:pt x="1196" y="0"/>
                      </a:lnTo>
                      <a:cubicBezTo>
                        <a:pt x="418" y="2392"/>
                        <a:pt x="0" y="5084"/>
                        <a:pt x="0" y="7715"/>
                      </a:cubicBezTo>
                      <a:cubicBezTo>
                        <a:pt x="0" y="10347"/>
                        <a:pt x="418" y="12978"/>
                        <a:pt x="1196" y="15430"/>
                      </a:cubicBezTo>
                      <a:lnTo>
                        <a:pt x="11842" y="15430"/>
                      </a:lnTo>
                      <a:cubicBezTo>
                        <a:pt x="11662" y="12978"/>
                        <a:pt x="11423" y="10347"/>
                        <a:pt x="11423" y="7715"/>
                      </a:cubicBezTo>
                      <a:close/>
                    </a:path>
                  </a:pathLst>
                </a:custGeom>
                <a:grpFill/>
                <a:ln w="5978" cap="flat">
                  <a:noFill/>
                  <a:prstDash val="solid"/>
                  <a:miter/>
                </a:ln>
              </p:spPr>
              <p:txBody>
                <a:bodyPr rtlCol="0" anchor="ctr"/>
                <a:lstStyle/>
                <a:p>
                  <a:endParaRPr lang="en-GB"/>
                </a:p>
              </p:txBody>
            </p:sp>
          </p:grpSp>
          <p:grpSp>
            <p:nvGrpSpPr>
              <p:cNvPr id="49" name="Graphic 3">
                <a:extLst>
                  <a:ext uri="{FF2B5EF4-FFF2-40B4-BE49-F238E27FC236}">
                    <a16:creationId xmlns:a16="http://schemas.microsoft.com/office/drawing/2014/main" id="{6EF5F02B-A4C8-49BA-85F6-AEAC7DF05200}"/>
                  </a:ext>
                </a:extLst>
              </p:cNvPr>
              <p:cNvGrpSpPr/>
              <p:nvPr/>
            </p:nvGrpSpPr>
            <p:grpSpPr>
              <a:xfrm>
                <a:off x="9137187" y="1200371"/>
                <a:ext cx="25837" cy="51733"/>
                <a:chOff x="9137187" y="1200371"/>
                <a:chExt cx="25837" cy="51733"/>
              </a:xfrm>
              <a:grpFill/>
            </p:grpSpPr>
            <p:sp>
              <p:nvSpPr>
                <p:cNvPr id="50" name="Vrije vorm: vorm 49">
                  <a:extLst>
                    <a:ext uri="{FF2B5EF4-FFF2-40B4-BE49-F238E27FC236}">
                      <a16:creationId xmlns:a16="http://schemas.microsoft.com/office/drawing/2014/main" id="{87A69F26-6844-4BC3-9D5B-F1FA22E0523A}"/>
                    </a:ext>
                  </a:extLst>
                </p:cNvPr>
                <p:cNvSpPr/>
                <p:nvPr/>
              </p:nvSpPr>
              <p:spPr>
                <a:xfrm>
                  <a:off x="9137187" y="1200371"/>
                  <a:ext cx="7894" cy="12978"/>
                </a:xfrm>
                <a:custGeom>
                  <a:avLst/>
                  <a:gdLst>
                    <a:gd name="connsiteX0" fmla="*/ 0 w 7894"/>
                    <a:gd name="connsiteY0" fmla="*/ 0 h 12978"/>
                    <a:gd name="connsiteX1" fmla="*/ 7895 w 7894"/>
                    <a:gd name="connsiteY1" fmla="*/ 12978 h 12978"/>
                    <a:gd name="connsiteX2" fmla="*/ 0 w 7894"/>
                    <a:gd name="connsiteY2" fmla="*/ 12978 h 12978"/>
                    <a:gd name="connsiteX3" fmla="*/ 0 w 7894"/>
                    <a:gd name="connsiteY3" fmla="*/ 0 h 12978"/>
                    <a:gd name="connsiteX4" fmla="*/ 0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0" y="0"/>
                      </a:moveTo>
                      <a:cubicBezTo>
                        <a:pt x="2632" y="0"/>
                        <a:pt x="6041" y="4725"/>
                        <a:pt x="7895" y="12978"/>
                      </a:cubicBezTo>
                      <a:lnTo>
                        <a:pt x="0" y="12978"/>
                      </a:lnTo>
                      <a:lnTo>
                        <a:pt x="0" y="0"/>
                      </a:lnTo>
                      <a:cubicBezTo>
                        <a:pt x="0" y="0"/>
                        <a:pt x="0" y="0"/>
                        <a:pt x="0" y="0"/>
                      </a:cubicBezTo>
                      <a:close/>
                    </a:path>
                  </a:pathLst>
                </a:custGeom>
                <a:grpFill/>
                <a:ln w="5978" cap="flat">
                  <a:noFill/>
                  <a:prstDash val="solid"/>
                  <a:miter/>
                </a:ln>
              </p:spPr>
              <p:txBody>
                <a:bodyPr rtlCol="0" anchor="ctr"/>
                <a:lstStyle/>
                <a:p>
                  <a:endParaRPr lang="en-GB"/>
                </a:p>
              </p:txBody>
            </p:sp>
            <p:sp>
              <p:nvSpPr>
                <p:cNvPr id="51" name="Vrije vorm: vorm 50">
                  <a:extLst>
                    <a:ext uri="{FF2B5EF4-FFF2-40B4-BE49-F238E27FC236}">
                      <a16:creationId xmlns:a16="http://schemas.microsoft.com/office/drawing/2014/main" id="{F5848914-D239-41B9-BBCB-2635873C3A96}"/>
                    </a:ext>
                  </a:extLst>
                </p:cNvPr>
                <p:cNvSpPr/>
                <p:nvPr/>
              </p:nvSpPr>
              <p:spPr>
                <a:xfrm>
                  <a:off x="9146457" y="1202165"/>
                  <a:ext cx="13098" cy="11243"/>
                </a:xfrm>
                <a:custGeom>
                  <a:avLst/>
                  <a:gdLst>
                    <a:gd name="connsiteX0" fmla="*/ 0 w 13098"/>
                    <a:gd name="connsiteY0" fmla="*/ 0 h 11243"/>
                    <a:gd name="connsiteX1" fmla="*/ 13098 w 13098"/>
                    <a:gd name="connsiteY1" fmla="*/ 11244 h 11243"/>
                    <a:gd name="connsiteX2" fmla="*/ 3947 w 13098"/>
                    <a:gd name="connsiteY2" fmla="*/ 11244 h 11243"/>
                    <a:gd name="connsiteX3" fmla="*/ 0 w 13098"/>
                    <a:gd name="connsiteY3" fmla="*/ 0 h 11243"/>
                  </a:gdLst>
                  <a:ahLst/>
                  <a:cxnLst>
                    <a:cxn ang="0">
                      <a:pos x="connsiteX0" y="connsiteY0"/>
                    </a:cxn>
                    <a:cxn ang="0">
                      <a:pos x="connsiteX1" y="connsiteY1"/>
                    </a:cxn>
                    <a:cxn ang="0">
                      <a:pos x="connsiteX2" y="connsiteY2"/>
                    </a:cxn>
                    <a:cxn ang="0">
                      <a:pos x="connsiteX3" y="connsiteY3"/>
                    </a:cxn>
                  </a:cxnLst>
                  <a:rect l="l" t="t" r="r" b="b"/>
                  <a:pathLst>
                    <a:path w="13098" h="11243">
                      <a:moveTo>
                        <a:pt x="0" y="0"/>
                      </a:moveTo>
                      <a:cubicBezTo>
                        <a:pt x="5622" y="2093"/>
                        <a:pt x="10227" y="6160"/>
                        <a:pt x="13098" y="11244"/>
                      </a:cubicBezTo>
                      <a:lnTo>
                        <a:pt x="3947" y="11244"/>
                      </a:lnTo>
                      <a:cubicBezTo>
                        <a:pt x="3050" y="6818"/>
                        <a:pt x="1735" y="2931"/>
                        <a:pt x="0" y="0"/>
                      </a:cubicBezTo>
                      <a:close/>
                    </a:path>
                  </a:pathLst>
                </a:custGeom>
                <a:grpFill/>
                <a:ln w="5978" cap="flat">
                  <a:noFill/>
                  <a:prstDash val="solid"/>
                  <a:miter/>
                </a:ln>
              </p:spPr>
              <p:txBody>
                <a:bodyPr rtlCol="0" anchor="ctr"/>
                <a:lstStyle/>
                <a:p>
                  <a:endParaRPr lang="en-GB"/>
                </a:p>
              </p:txBody>
            </p:sp>
            <p:sp>
              <p:nvSpPr>
                <p:cNvPr id="52" name="Vrije vorm: vorm 51">
                  <a:extLst>
                    <a:ext uri="{FF2B5EF4-FFF2-40B4-BE49-F238E27FC236}">
                      <a16:creationId xmlns:a16="http://schemas.microsoft.com/office/drawing/2014/main" id="{139ED0F4-DC41-4E01-8408-DA30C385478A}"/>
                    </a:ext>
                  </a:extLst>
                </p:cNvPr>
                <p:cNvSpPr/>
                <p:nvPr/>
              </p:nvSpPr>
              <p:spPr>
                <a:xfrm>
                  <a:off x="9137247" y="1218552"/>
                  <a:ext cx="9210" cy="15430"/>
                </a:xfrm>
                <a:custGeom>
                  <a:avLst/>
                  <a:gdLst>
                    <a:gd name="connsiteX0" fmla="*/ 8792 w 9210"/>
                    <a:gd name="connsiteY0" fmla="*/ 0 h 15430"/>
                    <a:gd name="connsiteX1" fmla="*/ 9211 w 9210"/>
                    <a:gd name="connsiteY1" fmla="*/ 7715 h 15430"/>
                    <a:gd name="connsiteX2" fmla="*/ 8792 w 9210"/>
                    <a:gd name="connsiteY2" fmla="*/ 15430 h 15430"/>
                    <a:gd name="connsiteX3" fmla="*/ 0 w 9210"/>
                    <a:gd name="connsiteY3" fmla="*/ 15430 h 15430"/>
                    <a:gd name="connsiteX4" fmla="*/ 0 w 9210"/>
                    <a:gd name="connsiteY4" fmla="*/ 0 h 15430"/>
                    <a:gd name="connsiteX5" fmla="*/ 8792 w 9210"/>
                    <a:gd name="connsiteY5" fmla="*/ 0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0" h="15430">
                      <a:moveTo>
                        <a:pt x="8792" y="0"/>
                      </a:moveTo>
                      <a:cubicBezTo>
                        <a:pt x="9151" y="2392"/>
                        <a:pt x="9211" y="4964"/>
                        <a:pt x="9211" y="7715"/>
                      </a:cubicBezTo>
                      <a:cubicBezTo>
                        <a:pt x="9211" y="10466"/>
                        <a:pt x="8971" y="12978"/>
                        <a:pt x="8792" y="15430"/>
                      </a:cubicBezTo>
                      <a:lnTo>
                        <a:pt x="0" y="15430"/>
                      </a:lnTo>
                      <a:lnTo>
                        <a:pt x="0" y="0"/>
                      </a:lnTo>
                      <a:lnTo>
                        <a:pt x="8792" y="0"/>
                      </a:lnTo>
                      <a:close/>
                    </a:path>
                  </a:pathLst>
                </a:custGeom>
                <a:grpFill/>
                <a:ln w="5978" cap="flat">
                  <a:noFill/>
                  <a:prstDash val="solid"/>
                  <a:miter/>
                </a:ln>
              </p:spPr>
              <p:txBody>
                <a:bodyPr rtlCol="0" anchor="ctr"/>
                <a:lstStyle/>
                <a:p>
                  <a:endParaRPr lang="en-GB"/>
                </a:p>
              </p:txBody>
            </p:sp>
            <p:sp>
              <p:nvSpPr>
                <p:cNvPr id="53" name="Vrije vorm: vorm 52">
                  <a:extLst>
                    <a:ext uri="{FF2B5EF4-FFF2-40B4-BE49-F238E27FC236}">
                      <a16:creationId xmlns:a16="http://schemas.microsoft.com/office/drawing/2014/main" id="{AA6815BF-3730-4FCF-AB7F-F43B45C1C532}"/>
                    </a:ext>
                  </a:extLst>
                </p:cNvPr>
                <p:cNvSpPr/>
                <p:nvPr/>
              </p:nvSpPr>
              <p:spPr>
                <a:xfrm>
                  <a:off x="9146577" y="1239126"/>
                  <a:ext cx="12978" cy="11243"/>
                </a:xfrm>
                <a:custGeom>
                  <a:avLst/>
                  <a:gdLst>
                    <a:gd name="connsiteX0" fmla="*/ 12978 w 12978"/>
                    <a:gd name="connsiteY0" fmla="*/ 0 h 11243"/>
                    <a:gd name="connsiteX1" fmla="*/ 0 w 12978"/>
                    <a:gd name="connsiteY1" fmla="*/ 11244 h 11243"/>
                    <a:gd name="connsiteX2" fmla="*/ 3947 w 12978"/>
                    <a:gd name="connsiteY2" fmla="*/ 0 h 11243"/>
                    <a:gd name="connsiteX3" fmla="*/ 12978 w 12978"/>
                    <a:gd name="connsiteY3" fmla="*/ 0 h 11243"/>
                  </a:gdLst>
                  <a:ahLst/>
                  <a:cxnLst>
                    <a:cxn ang="0">
                      <a:pos x="connsiteX0" y="connsiteY0"/>
                    </a:cxn>
                    <a:cxn ang="0">
                      <a:pos x="connsiteX1" y="connsiteY1"/>
                    </a:cxn>
                    <a:cxn ang="0">
                      <a:pos x="connsiteX2" y="connsiteY2"/>
                    </a:cxn>
                    <a:cxn ang="0">
                      <a:pos x="connsiteX3" y="connsiteY3"/>
                    </a:cxn>
                  </a:cxnLst>
                  <a:rect l="l" t="t" r="r" b="b"/>
                  <a:pathLst>
                    <a:path w="12978" h="11243">
                      <a:moveTo>
                        <a:pt x="12978" y="0"/>
                      </a:moveTo>
                      <a:cubicBezTo>
                        <a:pt x="10107" y="5084"/>
                        <a:pt x="5503" y="9150"/>
                        <a:pt x="0" y="11244"/>
                      </a:cubicBezTo>
                      <a:cubicBezTo>
                        <a:pt x="1675" y="8253"/>
                        <a:pt x="3110" y="4426"/>
                        <a:pt x="3947" y="0"/>
                      </a:cubicBezTo>
                      <a:lnTo>
                        <a:pt x="12978" y="0"/>
                      </a:lnTo>
                      <a:close/>
                    </a:path>
                  </a:pathLst>
                </a:custGeom>
                <a:grpFill/>
                <a:ln w="5978" cap="flat">
                  <a:noFill/>
                  <a:prstDash val="solid"/>
                  <a:miter/>
                </a:ln>
              </p:spPr>
              <p:txBody>
                <a:bodyPr rtlCol="0" anchor="ctr"/>
                <a:lstStyle/>
                <a:p>
                  <a:endParaRPr lang="en-GB"/>
                </a:p>
              </p:txBody>
            </p:sp>
            <p:sp>
              <p:nvSpPr>
                <p:cNvPr id="54" name="Vrije vorm: vorm 53">
                  <a:extLst>
                    <a:ext uri="{FF2B5EF4-FFF2-40B4-BE49-F238E27FC236}">
                      <a16:creationId xmlns:a16="http://schemas.microsoft.com/office/drawing/2014/main" id="{9E0B2E97-3194-41C9-A2C0-FEA7B1E34AAD}"/>
                    </a:ext>
                  </a:extLst>
                </p:cNvPr>
                <p:cNvSpPr/>
                <p:nvPr/>
              </p:nvSpPr>
              <p:spPr>
                <a:xfrm>
                  <a:off x="9137247" y="1239126"/>
                  <a:ext cx="7894" cy="12978"/>
                </a:xfrm>
                <a:custGeom>
                  <a:avLst/>
                  <a:gdLst>
                    <a:gd name="connsiteX0" fmla="*/ 7895 w 7894"/>
                    <a:gd name="connsiteY0" fmla="*/ 0 h 12978"/>
                    <a:gd name="connsiteX1" fmla="*/ 0 w 7894"/>
                    <a:gd name="connsiteY1" fmla="*/ 12978 h 12978"/>
                    <a:gd name="connsiteX2" fmla="*/ 0 w 7894"/>
                    <a:gd name="connsiteY2" fmla="*/ 12978 h 12978"/>
                    <a:gd name="connsiteX3" fmla="*/ 0 w 7894"/>
                    <a:gd name="connsiteY3" fmla="*/ 0 h 12978"/>
                    <a:gd name="connsiteX4" fmla="*/ 7895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7895" y="0"/>
                      </a:moveTo>
                      <a:cubicBezTo>
                        <a:pt x="6041" y="8253"/>
                        <a:pt x="2632" y="12978"/>
                        <a:pt x="0" y="12978"/>
                      </a:cubicBezTo>
                      <a:cubicBezTo>
                        <a:pt x="0" y="12978"/>
                        <a:pt x="0" y="12978"/>
                        <a:pt x="0" y="12978"/>
                      </a:cubicBezTo>
                      <a:lnTo>
                        <a:pt x="0" y="0"/>
                      </a:lnTo>
                      <a:lnTo>
                        <a:pt x="7895" y="0"/>
                      </a:lnTo>
                      <a:close/>
                    </a:path>
                  </a:pathLst>
                </a:custGeom>
                <a:grpFill/>
                <a:ln w="5978" cap="flat">
                  <a:noFill/>
                  <a:prstDash val="solid"/>
                  <a:miter/>
                </a:ln>
              </p:spPr>
              <p:txBody>
                <a:bodyPr rtlCol="0" anchor="ctr"/>
                <a:lstStyle/>
                <a:p>
                  <a:endParaRPr lang="en-GB"/>
                </a:p>
              </p:txBody>
            </p:sp>
            <p:sp>
              <p:nvSpPr>
                <p:cNvPr id="55" name="Vrije vorm: vorm 54">
                  <a:extLst>
                    <a:ext uri="{FF2B5EF4-FFF2-40B4-BE49-F238E27FC236}">
                      <a16:creationId xmlns:a16="http://schemas.microsoft.com/office/drawing/2014/main" id="{86DC33FB-79CD-45A5-8EB6-824442F45CFF}"/>
                    </a:ext>
                  </a:extLst>
                </p:cNvPr>
                <p:cNvSpPr/>
                <p:nvPr/>
              </p:nvSpPr>
              <p:spPr>
                <a:xfrm>
                  <a:off x="9151182" y="1218552"/>
                  <a:ext cx="11841" cy="15430"/>
                </a:xfrm>
                <a:custGeom>
                  <a:avLst/>
                  <a:gdLst>
                    <a:gd name="connsiteX0" fmla="*/ 418 w 11841"/>
                    <a:gd name="connsiteY0" fmla="*/ 7715 h 15430"/>
                    <a:gd name="connsiteX1" fmla="*/ 0 w 11841"/>
                    <a:gd name="connsiteY1" fmla="*/ 0 h 15430"/>
                    <a:gd name="connsiteX2" fmla="*/ 10645 w 11841"/>
                    <a:gd name="connsiteY2" fmla="*/ 0 h 15430"/>
                    <a:gd name="connsiteX3" fmla="*/ 11842 w 11841"/>
                    <a:gd name="connsiteY3" fmla="*/ 7715 h 15430"/>
                    <a:gd name="connsiteX4" fmla="*/ 10645 w 11841"/>
                    <a:gd name="connsiteY4" fmla="*/ 15430 h 15430"/>
                    <a:gd name="connsiteX5" fmla="*/ 0 w 11841"/>
                    <a:gd name="connsiteY5" fmla="*/ 15430 h 15430"/>
                    <a:gd name="connsiteX6" fmla="*/ 418 w 11841"/>
                    <a:gd name="connsiteY6" fmla="*/ 7715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1" h="15430">
                      <a:moveTo>
                        <a:pt x="418" y="7715"/>
                      </a:moveTo>
                      <a:cubicBezTo>
                        <a:pt x="418" y="5084"/>
                        <a:pt x="299" y="2452"/>
                        <a:pt x="0" y="0"/>
                      </a:cubicBezTo>
                      <a:lnTo>
                        <a:pt x="10645" y="0"/>
                      </a:lnTo>
                      <a:cubicBezTo>
                        <a:pt x="11423" y="2392"/>
                        <a:pt x="11842" y="5084"/>
                        <a:pt x="11842" y="7715"/>
                      </a:cubicBezTo>
                      <a:cubicBezTo>
                        <a:pt x="11842" y="10347"/>
                        <a:pt x="11423" y="12978"/>
                        <a:pt x="10645" y="15430"/>
                      </a:cubicBezTo>
                      <a:lnTo>
                        <a:pt x="0" y="15430"/>
                      </a:lnTo>
                      <a:cubicBezTo>
                        <a:pt x="239" y="12978"/>
                        <a:pt x="418" y="10347"/>
                        <a:pt x="418" y="7715"/>
                      </a:cubicBezTo>
                      <a:close/>
                    </a:path>
                  </a:pathLst>
                </a:custGeom>
                <a:grpFill/>
                <a:ln w="5978" cap="flat">
                  <a:noFill/>
                  <a:prstDash val="solid"/>
                  <a:miter/>
                </a:ln>
              </p:spPr>
              <p:txBody>
                <a:bodyPr rtlCol="0" anchor="ctr"/>
                <a:lstStyle/>
                <a:p>
                  <a:endParaRPr lang="en-GB"/>
                </a:p>
              </p:txBody>
            </p:sp>
          </p:grpSp>
        </p:grpSp>
      </p:grpSp>
      <p:grpSp>
        <p:nvGrpSpPr>
          <p:cNvPr id="40" name="ICOON3_BLAUW">
            <a:extLst>
              <a:ext uri="{FF2B5EF4-FFF2-40B4-BE49-F238E27FC236}">
                <a16:creationId xmlns:a16="http://schemas.microsoft.com/office/drawing/2014/main" id="{7853E702-4360-40C2-BC8A-748115BD9FCA}"/>
              </a:ext>
            </a:extLst>
          </p:cNvPr>
          <p:cNvGrpSpPr/>
          <p:nvPr/>
        </p:nvGrpSpPr>
        <p:grpSpPr>
          <a:xfrm>
            <a:off x="10960037" y="3434112"/>
            <a:ext cx="278701" cy="278701"/>
            <a:chOff x="8959679" y="4623855"/>
            <a:chExt cx="278701" cy="278701"/>
          </a:xfrm>
          <a:solidFill>
            <a:schemeClr val="tx2"/>
          </a:solidFill>
          <a:effectLst>
            <a:outerShdw blurRad="190500" algn="ctr" rotWithShape="0">
              <a:prstClr val="black">
                <a:alpha val="50000"/>
              </a:prstClr>
            </a:outerShdw>
          </a:effectLst>
        </p:grpSpPr>
        <p:sp>
          <p:nvSpPr>
            <p:cNvPr id="41" name="Vrije vorm: vorm 40">
              <a:extLst>
                <a:ext uri="{FF2B5EF4-FFF2-40B4-BE49-F238E27FC236}">
                  <a16:creationId xmlns:a16="http://schemas.microsoft.com/office/drawing/2014/main" id="{353D77D0-94CC-4211-A1B6-4A20342CCFC8}"/>
                </a:ext>
              </a:extLst>
            </p:cNvPr>
            <p:cNvSpPr/>
            <p:nvPr/>
          </p:nvSpPr>
          <p:spPr>
            <a:xfrm>
              <a:off x="8959679" y="4623855"/>
              <a:ext cx="278701" cy="278701"/>
            </a:xfrm>
            <a:custGeom>
              <a:avLst/>
              <a:gdLst>
                <a:gd name="connsiteX0" fmla="*/ 139350 w 278701"/>
                <a:gd name="connsiteY0" fmla="*/ 25299 h 278701"/>
                <a:gd name="connsiteX1" fmla="*/ 253403 w 278701"/>
                <a:gd name="connsiteY1" fmla="*/ 139351 h 278701"/>
                <a:gd name="connsiteX2" fmla="*/ 139350 w 278701"/>
                <a:gd name="connsiteY2" fmla="*/ 253403 h 278701"/>
                <a:gd name="connsiteX3" fmla="*/ 25298 w 278701"/>
                <a:gd name="connsiteY3" fmla="*/ 139351 h 278701"/>
                <a:gd name="connsiteX4" fmla="*/ 139350 w 278701"/>
                <a:gd name="connsiteY4" fmla="*/ 25299 h 278701"/>
                <a:gd name="connsiteX5" fmla="*/ 139350 w 278701"/>
                <a:gd name="connsiteY5" fmla="*/ 0 h 278701"/>
                <a:gd name="connsiteX6" fmla="*/ 0 w 278701"/>
                <a:gd name="connsiteY6" fmla="*/ 139351 h 278701"/>
                <a:gd name="connsiteX7" fmla="*/ 139350 w 278701"/>
                <a:gd name="connsiteY7" fmla="*/ 278702 h 278701"/>
                <a:gd name="connsiteX8" fmla="*/ 278702 w 278701"/>
                <a:gd name="connsiteY8" fmla="*/ 139351 h 278701"/>
                <a:gd name="connsiteX9" fmla="*/ 139350 w 278701"/>
                <a:gd name="connsiteY9" fmla="*/ 0 h 278701"/>
                <a:gd name="connsiteX10" fmla="*/ 139350 w 278701"/>
                <a:gd name="connsiteY10" fmla="*/ 0 h 278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8701" h="278701">
                  <a:moveTo>
                    <a:pt x="139350" y="25299"/>
                  </a:moveTo>
                  <a:cubicBezTo>
                    <a:pt x="202208" y="25299"/>
                    <a:pt x="253403" y="76434"/>
                    <a:pt x="253403" y="139351"/>
                  </a:cubicBezTo>
                  <a:cubicBezTo>
                    <a:pt x="253403" y="202208"/>
                    <a:pt x="202268" y="253403"/>
                    <a:pt x="139350" y="253403"/>
                  </a:cubicBezTo>
                  <a:cubicBezTo>
                    <a:pt x="76494" y="253403"/>
                    <a:pt x="25298" y="202268"/>
                    <a:pt x="25298" y="139351"/>
                  </a:cubicBezTo>
                  <a:cubicBezTo>
                    <a:pt x="25298" y="76434"/>
                    <a:pt x="76494" y="25299"/>
                    <a:pt x="139350" y="25299"/>
                  </a:cubicBezTo>
                  <a:moveTo>
                    <a:pt x="139350" y="0"/>
                  </a:moveTo>
                  <a:cubicBezTo>
                    <a:pt x="62379" y="0"/>
                    <a:pt x="0" y="62379"/>
                    <a:pt x="0" y="139351"/>
                  </a:cubicBezTo>
                  <a:cubicBezTo>
                    <a:pt x="0" y="216323"/>
                    <a:pt x="62379" y="278702"/>
                    <a:pt x="139350" y="278702"/>
                  </a:cubicBezTo>
                  <a:cubicBezTo>
                    <a:pt x="216323" y="278702"/>
                    <a:pt x="278702" y="216323"/>
                    <a:pt x="278702" y="139351"/>
                  </a:cubicBezTo>
                  <a:cubicBezTo>
                    <a:pt x="278702" y="62379"/>
                    <a:pt x="216323" y="0"/>
                    <a:pt x="139350" y="0"/>
                  </a:cubicBezTo>
                  <a:lnTo>
                    <a:pt x="139350" y="0"/>
                  </a:lnTo>
                  <a:close/>
                </a:path>
              </a:pathLst>
            </a:custGeom>
            <a:grpFill/>
            <a:ln w="5978" cap="flat">
              <a:noFill/>
              <a:prstDash val="solid"/>
              <a:miter/>
            </a:ln>
          </p:spPr>
          <p:txBody>
            <a:bodyPr rtlCol="0" anchor="ctr"/>
            <a:lstStyle/>
            <a:p>
              <a:endParaRPr lang="en-GB"/>
            </a:p>
          </p:txBody>
        </p:sp>
        <p:sp>
          <p:nvSpPr>
            <p:cNvPr id="42" name="Vrije vorm: vorm 41">
              <a:extLst>
                <a:ext uri="{FF2B5EF4-FFF2-40B4-BE49-F238E27FC236}">
                  <a16:creationId xmlns:a16="http://schemas.microsoft.com/office/drawing/2014/main" id="{AC2B6910-F1F5-45C2-BD84-941F27C31B49}"/>
                </a:ext>
              </a:extLst>
            </p:cNvPr>
            <p:cNvSpPr/>
            <p:nvPr/>
          </p:nvSpPr>
          <p:spPr>
            <a:xfrm>
              <a:off x="9028059" y="4687789"/>
              <a:ext cx="142081" cy="150833"/>
            </a:xfrm>
            <a:custGeom>
              <a:avLst/>
              <a:gdLst>
                <a:gd name="connsiteX0" fmla="*/ 79822 w 142081"/>
                <a:gd name="connsiteY0" fmla="*/ 105081 h 150833"/>
                <a:gd name="connsiteX1" fmla="*/ 64691 w 142081"/>
                <a:gd name="connsiteY1" fmla="*/ 105739 h 150833"/>
                <a:gd name="connsiteX2" fmla="*/ 9668 w 142081"/>
                <a:gd name="connsiteY2" fmla="*/ 49281 h 150833"/>
                <a:gd name="connsiteX3" fmla="*/ 40469 w 142081"/>
                <a:gd name="connsiteY3" fmla="*/ 49281 h 150833"/>
                <a:gd name="connsiteX4" fmla="*/ 71270 w 142081"/>
                <a:gd name="connsiteY4" fmla="*/ 80859 h 150833"/>
                <a:gd name="connsiteX5" fmla="*/ 128744 w 142081"/>
                <a:gd name="connsiteY5" fmla="*/ 11124 h 150833"/>
                <a:gd name="connsiteX6" fmla="*/ 71090 w 142081"/>
                <a:gd name="connsiteY6" fmla="*/ 0 h 150833"/>
                <a:gd name="connsiteX7" fmla="*/ 99 w 142081"/>
                <a:gd name="connsiteY7" fmla="*/ 23026 h 150833"/>
                <a:gd name="connsiteX8" fmla="*/ 4824 w 142081"/>
                <a:gd name="connsiteY8" fmla="*/ 83790 h 150833"/>
                <a:gd name="connsiteX9" fmla="*/ 70970 w 142081"/>
                <a:gd name="connsiteY9" fmla="*/ 150834 h 150833"/>
                <a:gd name="connsiteX10" fmla="*/ 137237 w 142081"/>
                <a:gd name="connsiteY10" fmla="*/ 83790 h 150833"/>
                <a:gd name="connsiteX11" fmla="*/ 142081 w 142081"/>
                <a:gd name="connsiteY11" fmla="*/ 29605 h 150833"/>
                <a:gd name="connsiteX12" fmla="*/ 79822 w 142081"/>
                <a:gd name="connsiteY12" fmla="*/ 105081 h 15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081" h="150833">
                  <a:moveTo>
                    <a:pt x="79822" y="105081"/>
                  </a:moveTo>
                  <a:cubicBezTo>
                    <a:pt x="75935" y="109806"/>
                    <a:pt x="68997" y="110105"/>
                    <a:pt x="64691" y="105739"/>
                  </a:cubicBezTo>
                  <a:lnTo>
                    <a:pt x="9668" y="49281"/>
                  </a:lnTo>
                  <a:lnTo>
                    <a:pt x="40469" y="49281"/>
                  </a:lnTo>
                  <a:lnTo>
                    <a:pt x="71270" y="80859"/>
                  </a:lnTo>
                  <a:lnTo>
                    <a:pt x="128744" y="11124"/>
                  </a:lnTo>
                  <a:cubicBezTo>
                    <a:pt x="118577" y="5503"/>
                    <a:pt x="100994" y="60"/>
                    <a:pt x="71090" y="0"/>
                  </a:cubicBezTo>
                  <a:cubicBezTo>
                    <a:pt x="9549" y="0"/>
                    <a:pt x="99" y="23026"/>
                    <a:pt x="99" y="23026"/>
                  </a:cubicBezTo>
                  <a:cubicBezTo>
                    <a:pt x="99" y="23026"/>
                    <a:pt x="-1097" y="56578"/>
                    <a:pt x="4824" y="83790"/>
                  </a:cubicBezTo>
                  <a:cubicBezTo>
                    <a:pt x="10745" y="111002"/>
                    <a:pt x="48484" y="150714"/>
                    <a:pt x="70970" y="150834"/>
                  </a:cubicBezTo>
                  <a:cubicBezTo>
                    <a:pt x="93578" y="150714"/>
                    <a:pt x="131316" y="111002"/>
                    <a:pt x="137237" y="83790"/>
                  </a:cubicBezTo>
                  <a:cubicBezTo>
                    <a:pt x="141543" y="63874"/>
                    <a:pt x="142081" y="40669"/>
                    <a:pt x="142081" y="29605"/>
                  </a:cubicBezTo>
                  <a:lnTo>
                    <a:pt x="79822" y="105081"/>
                  </a:lnTo>
                  <a:close/>
                </a:path>
              </a:pathLst>
            </a:custGeom>
            <a:grpFill/>
            <a:ln w="5978" cap="flat">
              <a:noFill/>
              <a:prstDash val="solid"/>
              <a:miter/>
            </a:ln>
          </p:spPr>
          <p:txBody>
            <a:bodyPr rtlCol="0" anchor="ctr"/>
            <a:lstStyle/>
            <a:p>
              <a:endParaRPr lang="en-GB"/>
            </a:p>
          </p:txBody>
        </p:sp>
      </p:grpSp>
      <p:grpSp>
        <p:nvGrpSpPr>
          <p:cNvPr id="27" name="ICOON4_GEEL">
            <a:extLst>
              <a:ext uri="{FF2B5EF4-FFF2-40B4-BE49-F238E27FC236}">
                <a16:creationId xmlns:a16="http://schemas.microsoft.com/office/drawing/2014/main" id="{53FC3A3C-533A-4324-890C-1F3F3F1F0C09}"/>
              </a:ext>
            </a:extLst>
          </p:cNvPr>
          <p:cNvGrpSpPr/>
          <p:nvPr/>
        </p:nvGrpSpPr>
        <p:grpSpPr>
          <a:xfrm>
            <a:off x="11346975" y="3435906"/>
            <a:ext cx="275113" cy="275113"/>
            <a:chOff x="706941" y="4619430"/>
            <a:chExt cx="275113" cy="275113"/>
          </a:xfrm>
          <a:solidFill>
            <a:schemeClr val="accent3"/>
          </a:solidFill>
          <a:effectLst>
            <a:outerShdw blurRad="190500" algn="ctr" rotWithShape="0">
              <a:prstClr val="black">
                <a:alpha val="50000"/>
              </a:prstClr>
            </a:outerShdw>
          </a:effectLst>
        </p:grpSpPr>
        <p:sp>
          <p:nvSpPr>
            <p:cNvPr id="28" name="Vrije vorm: vorm 27">
              <a:extLst>
                <a:ext uri="{FF2B5EF4-FFF2-40B4-BE49-F238E27FC236}">
                  <a16:creationId xmlns:a16="http://schemas.microsoft.com/office/drawing/2014/main" id="{EB65536D-29B2-40C7-AD95-110FAE261D56}"/>
                </a:ext>
              </a:extLst>
            </p:cNvPr>
            <p:cNvSpPr/>
            <p:nvPr/>
          </p:nvSpPr>
          <p:spPr>
            <a:xfrm>
              <a:off x="706941" y="4619430"/>
              <a:ext cx="275113" cy="275113"/>
            </a:xfrm>
            <a:custGeom>
              <a:avLst/>
              <a:gdLst>
                <a:gd name="connsiteX0" fmla="*/ 137557 w 275113"/>
                <a:gd name="connsiteY0" fmla="*/ 24999 h 275113"/>
                <a:gd name="connsiteX1" fmla="*/ 250114 w 275113"/>
                <a:gd name="connsiteY1" fmla="*/ 137557 h 275113"/>
                <a:gd name="connsiteX2" fmla="*/ 137557 w 275113"/>
                <a:gd name="connsiteY2" fmla="*/ 250114 h 275113"/>
                <a:gd name="connsiteX3" fmla="*/ 24999 w 275113"/>
                <a:gd name="connsiteY3" fmla="*/ 137557 h 275113"/>
                <a:gd name="connsiteX4" fmla="*/ 137557 w 275113"/>
                <a:gd name="connsiteY4" fmla="*/ 24999 h 275113"/>
                <a:gd name="connsiteX5" fmla="*/ 137557 w 275113"/>
                <a:gd name="connsiteY5" fmla="*/ 0 h 275113"/>
                <a:gd name="connsiteX6" fmla="*/ 0 w 275113"/>
                <a:gd name="connsiteY6" fmla="*/ 137557 h 275113"/>
                <a:gd name="connsiteX7" fmla="*/ 137557 w 275113"/>
                <a:gd name="connsiteY7" fmla="*/ 275113 h 275113"/>
                <a:gd name="connsiteX8" fmla="*/ 275113 w 275113"/>
                <a:gd name="connsiteY8" fmla="*/ 137557 h 275113"/>
                <a:gd name="connsiteX9" fmla="*/ 137557 w 275113"/>
                <a:gd name="connsiteY9" fmla="*/ 0 h 275113"/>
                <a:gd name="connsiteX10" fmla="*/ 137557 w 275113"/>
                <a:gd name="connsiteY10" fmla="*/ 0 h 27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113" h="275113">
                  <a:moveTo>
                    <a:pt x="137557" y="24999"/>
                  </a:moveTo>
                  <a:cubicBezTo>
                    <a:pt x="199637" y="24999"/>
                    <a:pt x="250114" y="75477"/>
                    <a:pt x="250114" y="137557"/>
                  </a:cubicBezTo>
                  <a:cubicBezTo>
                    <a:pt x="250114" y="199637"/>
                    <a:pt x="199637" y="250114"/>
                    <a:pt x="137557" y="250114"/>
                  </a:cubicBezTo>
                  <a:cubicBezTo>
                    <a:pt x="75477" y="250114"/>
                    <a:pt x="24999" y="199637"/>
                    <a:pt x="24999" y="137557"/>
                  </a:cubicBezTo>
                  <a:cubicBezTo>
                    <a:pt x="24999" y="75477"/>
                    <a:pt x="75477" y="24999"/>
                    <a:pt x="137557" y="24999"/>
                  </a:cubicBezTo>
                  <a:moveTo>
                    <a:pt x="137557" y="0"/>
                  </a:moveTo>
                  <a:cubicBezTo>
                    <a:pt x="61601" y="0"/>
                    <a:pt x="0" y="61601"/>
                    <a:pt x="0" y="137557"/>
                  </a:cubicBezTo>
                  <a:cubicBezTo>
                    <a:pt x="0" y="213512"/>
                    <a:pt x="61601" y="275113"/>
                    <a:pt x="137557" y="275113"/>
                  </a:cubicBezTo>
                  <a:cubicBezTo>
                    <a:pt x="213512" y="275113"/>
                    <a:pt x="275113" y="213512"/>
                    <a:pt x="275113" y="137557"/>
                  </a:cubicBezTo>
                  <a:cubicBezTo>
                    <a:pt x="275113" y="61601"/>
                    <a:pt x="213512" y="0"/>
                    <a:pt x="137557" y="0"/>
                  </a:cubicBezTo>
                  <a:lnTo>
                    <a:pt x="137557" y="0"/>
                  </a:lnTo>
                  <a:close/>
                </a:path>
              </a:pathLst>
            </a:custGeom>
            <a:grpFill/>
            <a:ln w="5978" cap="flat">
              <a:noFill/>
              <a:prstDash val="solid"/>
              <a:miter/>
            </a:ln>
          </p:spPr>
          <p:txBody>
            <a:bodyPr rtlCol="0" anchor="ctr"/>
            <a:lstStyle/>
            <a:p>
              <a:endParaRPr lang="en-GB"/>
            </a:p>
          </p:txBody>
        </p:sp>
        <p:grpSp>
          <p:nvGrpSpPr>
            <p:cNvPr id="30" name="Graphic 3">
              <a:extLst>
                <a:ext uri="{FF2B5EF4-FFF2-40B4-BE49-F238E27FC236}">
                  <a16:creationId xmlns:a16="http://schemas.microsoft.com/office/drawing/2014/main" id="{C8788129-C766-415E-9E0F-3DDD71D1FCA5}"/>
                </a:ext>
              </a:extLst>
            </p:cNvPr>
            <p:cNvGrpSpPr/>
            <p:nvPr/>
          </p:nvGrpSpPr>
          <p:grpSpPr>
            <a:xfrm>
              <a:off x="769080" y="4677921"/>
              <a:ext cx="144015" cy="179421"/>
              <a:chOff x="769080" y="4677921"/>
              <a:chExt cx="144015" cy="179421"/>
            </a:xfrm>
            <a:grpFill/>
          </p:grpSpPr>
          <p:sp>
            <p:nvSpPr>
              <p:cNvPr id="34" name="Vrije vorm: vorm 33">
                <a:extLst>
                  <a:ext uri="{FF2B5EF4-FFF2-40B4-BE49-F238E27FC236}">
                    <a16:creationId xmlns:a16="http://schemas.microsoft.com/office/drawing/2014/main" id="{DA10EE5C-068A-497D-BDFC-57B40E01C9A4}"/>
                  </a:ext>
                </a:extLst>
              </p:cNvPr>
              <p:cNvSpPr/>
              <p:nvPr/>
            </p:nvSpPr>
            <p:spPr>
              <a:xfrm>
                <a:off x="842583" y="4678099"/>
                <a:ext cx="70512" cy="143897"/>
              </a:xfrm>
              <a:custGeom>
                <a:avLst/>
                <a:gdLst>
                  <a:gd name="connsiteX0" fmla="*/ 34987 w 70512"/>
                  <a:gd name="connsiteY0" fmla="*/ 17465 h 143897"/>
                  <a:gd name="connsiteX1" fmla="*/ 47607 w 70512"/>
                  <a:gd name="connsiteY1" fmla="*/ 34271 h 143897"/>
                  <a:gd name="connsiteX2" fmla="*/ 47607 w 70512"/>
                  <a:gd name="connsiteY2" fmla="*/ 56160 h 143897"/>
                  <a:gd name="connsiteX3" fmla="*/ 11722 w 70512"/>
                  <a:gd name="connsiteY3" fmla="*/ 78050 h 143897"/>
                  <a:gd name="connsiteX4" fmla="*/ 11722 w 70512"/>
                  <a:gd name="connsiteY4" fmla="*/ 109927 h 143897"/>
                  <a:gd name="connsiteX5" fmla="*/ 0 w 70512"/>
                  <a:gd name="connsiteY5" fmla="*/ 126374 h 143897"/>
                  <a:gd name="connsiteX6" fmla="*/ 17763 w 70512"/>
                  <a:gd name="connsiteY6" fmla="*/ 143897 h 143897"/>
                  <a:gd name="connsiteX7" fmla="*/ 35525 w 70512"/>
                  <a:gd name="connsiteY7" fmla="*/ 126374 h 143897"/>
                  <a:gd name="connsiteX8" fmla="*/ 21650 w 70512"/>
                  <a:gd name="connsiteY8" fmla="*/ 109269 h 143897"/>
                  <a:gd name="connsiteX9" fmla="*/ 21650 w 70512"/>
                  <a:gd name="connsiteY9" fmla="*/ 83552 h 143897"/>
                  <a:gd name="connsiteX10" fmla="*/ 57535 w 70512"/>
                  <a:gd name="connsiteY10" fmla="*/ 61663 h 143897"/>
                  <a:gd name="connsiteX11" fmla="*/ 57535 w 70512"/>
                  <a:gd name="connsiteY11" fmla="*/ 34390 h 143897"/>
                  <a:gd name="connsiteX12" fmla="*/ 70513 w 70512"/>
                  <a:gd name="connsiteY12" fmla="*/ 17525 h 143897"/>
                  <a:gd name="connsiteX13" fmla="*/ 52750 w 70512"/>
                  <a:gd name="connsiteY13" fmla="*/ 1 h 143897"/>
                  <a:gd name="connsiteX14" fmla="*/ 34987 w 70512"/>
                  <a:gd name="connsiteY14" fmla="*/ 17465 h 143897"/>
                  <a:gd name="connsiteX15" fmla="*/ 24102 w 70512"/>
                  <a:gd name="connsiteY15" fmla="*/ 126374 h 143897"/>
                  <a:gd name="connsiteX16" fmla="*/ 17763 w 70512"/>
                  <a:gd name="connsiteY16" fmla="*/ 132594 h 143897"/>
                  <a:gd name="connsiteX17" fmla="*/ 11423 w 70512"/>
                  <a:gd name="connsiteY17" fmla="*/ 126374 h 143897"/>
                  <a:gd name="connsiteX18" fmla="*/ 17763 w 70512"/>
                  <a:gd name="connsiteY18" fmla="*/ 120154 h 143897"/>
                  <a:gd name="connsiteX19" fmla="*/ 24102 w 70512"/>
                  <a:gd name="connsiteY19" fmla="*/ 126374 h 143897"/>
                  <a:gd name="connsiteX20" fmla="*/ 59090 w 70512"/>
                  <a:gd name="connsiteY20" fmla="*/ 17465 h 143897"/>
                  <a:gd name="connsiteX21" fmla="*/ 52750 w 70512"/>
                  <a:gd name="connsiteY21" fmla="*/ 23685 h 143897"/>
                  <a:gd name="connsiteX22" fmla="*/ 46410 w 70512"/>
                  <a:gd name="connsiteY22" fmla="*/ 17465 h 143897"/>
                  <a:gd name="connsiteX23" fmla="*/ 52750 w 70512"/>
                  <a:gd name="connsiteY23" fmla="*/ 11245 h 143897"/>
                  <a:gd name="connsiteX24" fmla="*/ 59090 w 70512"/>
                  <a:gd name="connsiteY24" fmla="*/ 17465 h 1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0512" h="143897">
                    <a:moveTo>
                      <a:pt x="34987" y="17465"/>
                    </a:moveTo>
                    <a:cubicBezTo>
                      <a:pt x="34987" y="25360"/>
                      <a:pt x="40310" y="32058"/>
                      <a:pt x="47607" y="34271"/>
                    </a:cubicBezTo>
                    <a:lnTo>
                      <a:pt x="47607" y="56160"/>
                    </a:lnTo>
                    <a:lnTo>
                      <a:pt x="11722" y="78050"/>
                    </a:lnTo>
                    <a:lnTo>
                      <a:pt x="11722" y="109927"/>
                    </a:lnTo>
                    <a:cubicBezTo>
                      <a:pt x="4904" y="112379"/>
                      <a:pt x="0" y="118838"/>
                      <a:pt x="0" y="126374"/>
                    </a:cubicBezTo>
                    <a:cubicBezTo>
                      <a:pt x="0" y="136063"/>
                      <a:pt x="7954" y="143897"/>
                      <a:pt x="17763" y="143897"/>
                    </a:cubicBezTo>
                    <a:cubicBezTo>
                      <a:pt x="27571" y="143897"/>
                      <a:pt x="35525" y="136063"/>
                      <a:pt x="35525" y="126374"/>
                    </a:cubicBezTo>
                    <a:cubicBezTo>
                      <a:pt x="35525" y="118001"/>
                      <a:pt x="29605" y="111004"/>
                      <a:pt x="21650" y="109269"/>
                    </a:cubicBezTo>
                    <a:lnTo>
                      <a:pt x="21650" y="83552"/>
                    </a:lnTo>
                    <a:lnTo>
                      <a:pt x="57535" y="61663"/>
                    </a:lnTo>
                    <a:lnTo>
                      <a:pt x="57535" y="34390"/>
                    </a:lnTo>
                    <a:cubicBezTo>
                      <a:pt x="65010" y="32297"/>
                      <a:pt x="70513" y="25539"/>
                      <a:pt x="70513" y="17525"/>
                    </a:cubicBezTo>
                    <a:cubicBezTo>
                      <a:pt x="70513" y="7836"/>
                      <a:pt x="62558" y="1"/>
                      <a:pt x="52750" y="1"/>
                    </a:cubicBezTo>
                    <a:cubicBezTo>
                      <a:pt x="42942" y="-118"/>
                      <a:pt x="34987" y="7776"/>
                      <a:pt x="34987" y="17465"/>
                    </a:cubicBezTo>
                    <a:close/>
                    <a:moveTo>
                      <a:pt x="24102" y="126374"/>
                    </a:moveTo>
                    <a:cubicBezTo>
                      <a:pt x="24102" y="129843"/>
                      <a:pt x="21291" y="132594"/>
                      <a:pt x="17763" y="132594"/>
                    </a:cubicBezTo>
                    <a:cubicBezTo>
                      <a:pt x="14294" y="132594"/>
                      <a:pt x="11423" y="129783"/>
                      <a:pt x="11423" y="126374"/>
                    </a:cubicBezTo>
                    <a:cubicBezTo>
                      <a:pt x="11423" y="122965"/>
                      <a:pt x="14234" y="120154"/>
                      <a:pt x="17763" y="120154"/>
                    </a:cubicBezTo>
                    <a:cubicBezTo>
                      <a:pt x="21291" y="120154"/>
                      <a:pt x="24102" y="122905"/>
                      <a:pt x="24102" y="126374"/>
                    </a:cubicBezTo>
                    <a:close/>
                    <a:moveTo>
                      <a:pt x="59090" y="17465"/>
                    </a:moveTo>
                    <a:cubicBezTo>
                      <a:pt x="59090" y="20934"/>
                      <a:pt x="56279" y="23685"/>
                      <a:pt x="52750" y="23685"/>
                    </a:cubicBezTo>
                    <a:cubicBezTo>
                      <a:pt x="49281" y="23685"/>
                      <a:pt x="46410" y="20874"/>
                      <a:pt x="46410" y="17465"/>
                    </a:cubicBezTo>
                    <a:cubicBezTo>
                      <a:pt x="46410" y="13996"/>
                      <a:pt x="49221" y="11245"/>
                      <a:pt x="52750" y="11245"/>
                    </a:cubicBezTo>
                    <a:cubicBezTo>
                      <a:pt x="56279" y="11245"/>
                      <a:pt x="59090" y="13996"/>
                      <a:pt x="59090" y="17465"/>
                    </a:cubicBezTo>
                    <a:close/>
                  </a:path>
                </a:pathLst>
              </a:custGeom>
              <a:grpFill/>
              <a:ln w="5978" cap="flat">
                <a:noFill/>
                <a:prstDash val="solid"/>
                <a:miter/>
              </a:ln>
            </p:spPr>
            <p:txBody>
              <a:bodyPr rtlCol="0" anchor="ctr"/>
              <a:lstStyle/>
              <a:p>
                <a:endParaRPr lang="en-GB"/>
              </a:p>
            </p:txBody>
          </p:sp>
          <p:sp>
            <p:nvSpPr>
              <p:cNvPr id="36" name="Vrije vorm: vorm 35">
                <a:extLst>
                  <a:ext uri="{FF2B5EF4-FFF2-40B4-BE49-F238E27FC236}">
                    <a16:creationId xmlns:a16="http://schemas.microsoft.com/office/drawing/2014/main" id="{E2E37F26-01F0-4308-9416-D8C8929104C0}"/>
                  </a:ext>
                </a:extLst>
              </p:cNvPr>
              <p:cNvSpPr/>
              <p:nvPr/>
            </p:nvSpPr>
            <p:spPr>
              <a:xfrm>
                <a:off x="842643" y="4706150"/>
                <a:ext cx="35525" cy="35046"/>
              </a:xfrm>
              <a:custGeom>
                <a:avLst/>
                <a:gdLst>
                  <a:gd name="connsiteX0" fmla="*/ 17763 w 35525"/>
                  <a:gd name="connsiteY0" fmla="*/ 0 h 35046"/>
                  <a:gd name="connsiteX1" fmla="*/ 0 w 35525"/>
                  <a:gd name="connsiteY1" fmla="*/ 17523 h 35046"/>
                  <a:gd name="connsiteX2" fmla="*/ 17763 w 35525"/>
                  <a:gd name="connsiteY2" fmla="*/ 35047 h 35046"/>
                  <a:gd name="connsiteX3" fmla="*/ 35525 w 35525"/>
                  <a:gd name="connsiteY3" fmla="*/ 17523 h 35046"/>
                  <a:gd name="connsiteX4" fmla="*/ 17763 w 35525"/>
                  <a:gd name="connsiteY4" fmla="*/ 0 h 35046"/>
                  <a:gd name="connsiteX5" fmla="*/ 17763 w 35525"/>
                  <a:gd name="connsiteY5" fmla="*/ 23803 h 35046"/>
                  <a:gd name="connsiteX6" fmla="*/ 11423 w 35525"/>
                  <a:gd name="connsiteY6" fmla="*/ 17583 h 35046"/>
                  <a:gd name="connsiteX7" fmla="*/ 17763 w 35525"/>
                  <a:gd name="connsiteY7" fmla="*/ 11364 h 35046"/>
                  <a:gd name="connsiteX8" fmla="*/ 24102 w 35525"/>
                  <a:gd name="connsiteY8" fmla="*/ 17583 h 35046"/>
                  <a:gd name="connsiteX9" fmla="*/ 17763 w 35525"/>
                  <a:gd name="connsiteY9" fmla="*/ 23803 h 3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5" h="35046">
                    <a:moveTo>
                      <a:pt x="17763" y="0"/>
                    </a:moveTo>
                    <a:cubicBezTo>
                      <a:pt x="7954" y="0"/>
                      <a:pt x="0" y="7835"/>
                      <a:pt x="0" y="17523"/>
                    </a:cubicBezTo>
                    <a:cubicBezTo>
                      <a:pt x="0" y="27212"/>
                      <a:pt x="7954" y="35047"/>
                      <a:pt x="17763" y="35047"/>
                    </a:cubicBezTo>
                    <a:cubicBezTo>
                      <a:pt x="27571" y="35047"/>
                      <a:pt x="35525" y="27212"/>
                      <a:pt x="35525" y="17523"/>
                    </a:cubicBezTo>
                    <a:cubicBezTo>
                      <a:pt x="35525" y="7835"/>
                      <a:pt x="27571" y="0"/>
                      <a:pt x="17763" y="0"/>
                    </a:cubicBezTo>
                    <a:close/>
                    <a:moveTo>
                      <a:pt x="17763" y="23803"/>
                    </a:moveTo>
                    <a:cubicBezTo>
                      <a:pt x="14294" y="23803"/>
                      <a:pt x="11423" y="20992"/>
                      <a:pt x="11423" y="17583"/>
                    </a:cubicBezTo>
                    <a:cubicBezTo>
                      <a:pt x="11423" y="14174"/>
                      <a:pt x="14234" y="11364"/>
                      <a:pt x="17763" y="11364"/>
                    </a:cubicBezTo>
                    <a:cubicBezTo>
                      <a:pt x="21232" y="11364"/>
                      <a:pt x="24102" y="14174"/>
                      <a:pt x="24102" y="17583"/>
                    </a:cubicBezTo>
                    <a:cubicBezTo>
                      <a:pt x="24102" y="20992"/>
                      <a:pt x="21232" y="23803"/>
                      <a:pt x="17763" y="23803"/>
                    </a:cubicBezTo>
                    <a:close/>
                  </a:path>
                </a:pathLst>
              </a:custGeom>
              <a:grpFill/>
              <a:ln w="5978" cap="flat">
                <a:noFill/>
                <a:prstDash val="solid"/>
                <a:miter/>
              </a:ln>
            </p:spPr>
            <p:txBody>
              <a:bodyPr rtlCol="0" anchor="ctr"/>
              <a:lstStyle/>
              <a:p>
                <a:endParaRPr lang="en-GB"/>
              </a:p>
            </p:txBody>
          </p:sp>
          <p:sp>
            <p:nvSpPr>
              <p:cNvPr id="37" name="Vrije vorm: vorm 36">
                <a:extLst>
                  <a:ext uri="{FF2B5EF4-FFF2-40B4-BE49-F238E27FC236}">
                    <a16:creationId xmlns:a16="http://schemas.microsoft.com/office/drawing/2014/main" id="{07CD6402-2B32-4F0E-8D95-2EC6B06547B1}"/>
                  </a:ext>
                </a:extLst>
              </p:cNvPr>
              <p:cNvSpPr/>
              <p:nvPr/>
            </p:nvSpPr>
            <p:spPr>
              <a:xfrm>
                <a:off x="810048" y="4677921"/>
                <a:ext cx="35525" cy="96349"/>
              </a:xfrm>
              <a:custGeom>
                <a:avLst/>
                <a:gdLst>
                  <a:gd name="connsiteX0" fmla="*/ 12859 w 35525"/>
                  <a:gd name="connsiteY0" fmla="*/ 34329 h 96349"/>
                  <a:gd name="connsiteX1" fmla="*/ 12859 w 35525"/>
                  <a:gd name="connsiteY1" fmla="*/ 61960 h 96349"/>
                  <a:gd name="connsiteX2" fmla="*/ 0 w 35525"/>
                  <a:gd name="connsiteY2" fmla="*/ 78826 h 96349"/>
                  <a:gd name="connsiteX3" fmla="*/ 17763 w 35525"/>
                  <a:gd name="connsiteY3" fmla="*/ 96349 h 96349"/>
                  <a:gd name="connsiteX4" fmla="*/ 35525 w 35525"/>
                  <a:gd name="connsiteY4" fmla="*/ 78826 h 96349"/>
                  <a:gd name="connsiteX5" fmla="*/ 22787 w 35525"/>
                  <a:gd name="connsiteY5" fmla="*/ 62020 h 96349"/>
                  <a:gd name="connsiteX6" fmla="*/ 22787 w 35525"/>
                  <a:gd name="connsiteY6" fmla="*/ 34329 h 96349"/>
                  <a:gd name="connsiteX7" fmla="*/ 35525 w 35525"/>
                  <a:gd name="connsiteY7" fmla="*/ 17523 h 96349"/>
                  <a:gd name="connsiteX8" fmla="*/ 17763 w 35525"/>
                  <a:gd name="connsiteY8" fmla="*/ 0 h 96349"/>
                  <a:gd name="connsiteX9" fmla="*/ 0 w 35525"/>
                  <a:gd name="connsiteY9" fmla="*/ 17523 h 96349"/>
                  <a:gd name="connsiteX10" fmla="*/ 12859 w 35525"/>
                  <a:gd name="connsiteY10" fmla="*/ 34329 h 96349"/>
                  <a:gd name="connsiteX11" fmla="*/ 24162 w 35525"/>
                  <a:gd name="connsiteY11" fmla="*/ 78826 h 96349"/>
                  <a:gd name="connsiteX12" fmla="*/ 17823 w 35525"/>
                  <a:gd name="connsiteY12" fmla="*/ 85046 h 96349"/>
                  <a:gd name="connsiteX13" fmla="*/ 11483 w 35525"/>
                  <a:gd name="connsiteY13" fmla="*/ 78826 h 96349"/>
                  <a:gd name="connsiteX14" fmla="*/ 17823 w 35525"/>
                  <a:gd name="connsiteY14" fmla="*/ 72606 h 96349"/>
                  <a:gd name="connsiteX15" fmla="*/ 24162 w 35525"/>
                  <a:gd name="connsiteY15" fmla="*/ 78826 h 96349"/>
                  <a:gd name="connsiteX16" fmla="*/ 11483 w 35525"/>
                  <a:gd name="connsiteY16" fmla="*/ 17523 h 96349"/>
                  <a:gd name="connsiteX17" fmla="*/ 17823 w 35525"/>
                  <a:gd name="connsiteY17" fmla="*/ 11303 h 96349"/>
                  <a:gd name="connsiteX18" fmla="*/ 24162 w 35525"/>
                  <a:gd name="connsiteY18" fmla="*/ 17523 h 96349"/>
                  <a:gd name="connsiteX19" fmla="*/ 17823 w 35525"/>
                  <a:gd name="connsiteY19" fmla="*/ 23743 h 96349"/>
                  <a:gd name="connsiteX20" fmla="*/ 11483 w 35525"/>
                  <a:gd name="connsiteY20" fmla="*/ 17523 h 9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525" h="96349">
                    <a:moveTo>
                      <a:pt x="12859" y="34329"/>
                    </a:moveTo>
                    <a:lnTo>
                      <a:pt x="12859" y="61960"/>
                    </a:lnTo>
                    <a:cubicBezTo>
                      <a:pt x="5442" y="64053"/>
                      <a:pt x="0" y="70812"/>
                      <a:pt x="0" y="78826"/>
                    </a:cubicBezTo>
                    <a:cubicBezTo>
                      <a:pt x="0" y="88515"/>
                      <a:pt x="7954" y="96349"/>
                      <a:pt x="17763" y="96349"/>
                    </a:cubicBezTo>
                    <a:cubicBezTo>
                      <a:pt x="27571" y="96349"/>
                      <a:pt x="35525" y="88515"/>
                      <a:pt x="35525" y="78826"/>
                    </a:cubicBezTo>
                    <a:cubicBezTo>
                      <a:pt x="35525" y="70871"/>
                      <a:pt x="30143" y="64173"/>
                      <a:pt x="22787" y="62020"/>
                    </a:cubicBezTo>
                    <a:lnTo>
                      <a:pt x="22787" y="34329"/>
                    </a:lnTo>
                    <a:cubicBezTo>
                      <a:pt x="30143" y="32176"/>
                      <a:pt x="35525" y="25478"/>
                      <a:pt x="35525" y="17523"/>
                    </a:cubicBezTo>
                    <a:cubicBezTo>
                      <a:pt x="35525" y="7835"/>
                      <a:pt x="27571" y="0"/>
                      <a:pt x="17763" y="0"/>
                    </a:cubicBezTo>
                    <a:cubicBezTo>
                      <a:pt x="7954" y="0"/>
                      <a:pt x="0" y="7835"/>
                      <a:pt x="0" y="17523"/>
                    </a:cubicBezTo>
                    <a:cubicBezTo>
                      <a:pt x="60" y="25478"/>
                      <a:pt x="5442" y="32236"/>
                      <a:pt x="12859" y="34329"/>
                    </a:cubicBezTo>
                    <a:close/>
                    <a:moveTo>
                      <a:pt x="24162" y="78826"/>
                    </a:moveTo>
                    <a:cubicBezTo>
                      <a:pt x="24162" y="82295"/>
                      <a:pt x="21351" y="85046"/>
                      <a:pt x="17823" y="85046"/>
                    </a:cubicBezTo>
                    <a:cubicBezTo>
                      <a:pt x="14354" y="85046"/>
                      <a:pt x="11483" y="82235"/>
                      <a:pt x="11483" y="78826"/>
                    </a:cubicBezTo>
                    <a:cubicBezTo>
                      <a:pt x="11483" y="75357"/>
                      <a:pt x="14294" y="72606"/>
                      <a:pt x="17823" y="72606"/>
                    </a:cubicBezTo>
                    <a:cubicBezTo>
                      <a:pt x="21291" y="72606"/>
                      <a:pt x="24162" y="75417"/>
                      <a:pt x="24162" y="78826"/>
                    </a:cubicBezTo>
                    <a:close/>
                    <a:moveTo>
                      <a:pt x="11483" y="17523"/>
                    </a:moveTo>
                    <a:cubicBezTo>
                      <a:pt x="11483" y="14055"/>
                      <a:pt x="14294" y="11303"/>
                      <a:pt x="17823" y="11303"/>
                    </a:cubicBezTo>
                    <a:cubicBezTo>
                      <a:pt x="21291" y="11303"/>
                      <a:pt x="24162" y="14114"/>
                      <a:pt x="24162" y="17523"/>
                    </a:cubicBezTo>
                    <a:cubicBezTo>
                      <a:pt x="24162" y="20933"/>
                      <a:pt x="21351" y="23743"/>
                      <a:pt x="17823" y="23743"/>
                    </a:cubicBezTo>
                    <a:cubicBezTo>
                      <a:pt x="14354" y="23743"/>
                      <a:pt x="11483" y="20933"/>
                      <a:pt x="11483" y="17523"/>
                    </a:cubicBezTo>
                    <a:close/>
                  </a:path>
                </a:pathLst>
              </a:custGeom>
              <a:grpFill/>
              <a:ln w="5978" cap="flat">
                <a:noFill/>
                <a:prstDash val="solid"/>
                <a:miter/>
              </a:ln>
            </p:spPr>
            <p:txBody>
              <a:bodyPr rtlCol="0" anchor="ctr"/>
              <a:lstStyle/>
              <a:p>
                <a:endParaRPr lang="en-GB"/>
              </a:p>
            </p:txBody>
          </p:sp>
          <p:sp>
            <p:nvSpPr>
              <p:cNvPr id="39" name="Vrije vorm: vorm 38">
                <a:extLst>
                  <a:ext uri="{FF2B5EF4-FFF2-40B4-BE49-F238E27FC236}">
                    <a16:creationId xmlns:a16="http://schemas.microsoft.com/office/drawing/2014/main" id="{3948C7BD-B73C-4B31-BB35-B2DA1065B282}"/>
                  </a:ext>
                </a:extLst>
              </p:cNvPr>
              <p:cNvSpPr/>
              <p:nvPr/>
            </p:nvSpPr>
            <p:spPr>
              <a:xfrm>
                <a:off x="769080" y="4706150"/>
                <a:ext cx="74160" cy="151192"/>
              </a:xfrm>
              <a:custGeom>
                <a:avLst/>
                <a:gdLst>
                  <a:gd name="connsiteX0" fmla="*/ 51614 w 74160"/>
                  <a:gd name="connsiteY0" fmla="*/ 86780 h 151192"/>
                  <a:gd name="connsiteX1" fmla="*/ 51614 w 74160"/>
                  <a:gd name="connsiteY1" fmla="*/ 116804 h 151192"/>
                  <a:gd name="connsiteX2" fmla="*/ 38635 w 74160"/>
                  <a:gd name="connsiteY2" fmla="*/ 133669 h 151192"/>
                  <a:gd name="connsiteX3" fmla="*/ 56398 w 74160"/>
                  <a:gd name="connsiteY3" fmla="*/ 151193 h 151192"/>
                  <a:gd name="connsiteX4" fmla="*/ 74161 w 74160"/>
                  <a:gd name="connsiteY4" fmla="*/ 133669 h 151192"/>
                  <a:gd name="connsiteX5" fmla="*/ 61601 w 74160"/>
                  <a:gd name="connsiteY5" fmla="*/ 116864 h 151192"/>
                  <a:gd name="connsiteX6" fmla="*/ 61601 w 74160"/>
                  <a:gd name="connsiteY6" fmla="*/ 81398 h 151192"/>
                  <a:gd name="connsiteX7" fmla="*/ 23564 w 74160"/>
                  <a:gd name="connsiteY7" fmla="*/ 56757 h 151192"/>
                  <a:gd name="connsiteX8" fmla="*/ 23564 w 74160"/>
                  <a:gd name="connsiteY8" fmla="*/ 34090 h 151192"/>
                  <a:gd name="connsiteX9" fmla="*/ 35525 w 74160"/>
                  <a:gd name="connsiteY9" fmla="*/ 17523 h 151192"/>
                  <a:gd name="connsiteX10" fmla="*/ 17763 w 74160"/>
                  <a:gd name="connsiteY10" fmla="*/ 0 h 151192"/>
                  <a:gd name="connsiteX11" fmla="*/ 0 w 74160"/>
                  <a:gd name="connsiteY11" fmla="*/ 17523 h 151192"/>
                  <a:gd name="connsiteX12" fmla="*/ 13636 w 74160"/>
                  <a:gd name="connsiteY12" fmla="*/ 34569 h 151192"/>
                  <a:gd name="connsiteX13" fmla="*/ 13636 w 74160"/>
                  <a:gd name="connsiteY13" fmla="*/ 62080 h 151192"/>
                  <a:gd name="connsiteX14" fmla="*/ 51614 w 74160"/>
                  <a:gd name="connsiteY14" fmla="*/ 86780 h 151192"/>
                  <a:gd name="connsiteX15" fmla="*/ 11423 w 74160"/>
                  <a:gd name="connsiteY15" fmla="*/ 17583 h 151192"/>
                  <a:gd name="connsiteX16" fmla="*/ 17763 w 74160"/>
                  <a:gd name="connsiteY16" fmla="*/ 11364 h 151192"/>
                  <a:gd name="connsiteX17" fmla="*/ 24102 w 74160"/>
                  <a:gd name="connsiteY17" fmla="*/ 17583 h 151192"/>
                  <a:gd name="connsiteX18" fmla="*/ 17763 w 74160"/>
                  <a:gd name="connsiteY18" fmla="*/ 23803 h 151192"/>
                  <a:gd name="connsiteX19" fmla="*/ 11423 w 74160"/>
                  <a:gd name="connsiteY19" fmla="*/ 17583 h 151192"/>
                  <a:gd name="connsiteX20" fmla="*/ 50059 w 74160"/>
                  <a:gd name="connsiteY20" fmla="*/ 133669 h 151192"/>
                  <a:gd name="connsiteX21" fmla="*/ 56398 w 74160"/>
                  <a:gd name="connsiteY21" fmla="*/ 127449 h 151192"/>
                  <a:gd name="connsiteX22" fmla="*/ 62738 w 74160"/>
                  <a:gd name="connsiteY22" fmla="*/ 133669 h 151192"/>
                  <a:gd name="connsiteX23" fmla="*/ 56398 w 74160"/>
                  <a:gd name="connsiteY23" fmla="*/ 139889 h 151192"/>
                  <a:gd name="connsiteX24" fmla="*/ 50059 w 74160"/>
                  <a:gd name="connsiteY24" fmla="*/ 133669 h 151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160" h="151192">
                    <a:moveTo>
                      <a:pt x="51614" y="86780"/>
                    </a:moveTo>
                    <a:lnTo>
                      <a:pt x="51614" y="116804"/>
                    </a:lnTo>
                    <a:cubicBezTo>
                      <a:pt x="44138" y="118837"/>
                      <a:pt x="38635" y="125655"/>
                      <a:pt x="38635" y="133669"/>
                    </a:cubicBezTo>
                    <a:cubicBezTo>
                      <a:pt x="38635" y="143358"/>
                      <a:pt x="46590" y="151193"/>
                      <a:pt x="56398" y="151193"/>
                    </a:cubicBezTo>
                    <a:cubicBezTo>
                      <a:pt x="66207" y="151193"/>
                      <a:pt x="74161" y="143358"/>
                      <a:pt x="74161" y="133669"/>
                    </a:cubicBezTo>
                    <a:cubicBezTo>
                      <a:pt x="74161" y="125775"/>
                      <a:pt x="68898" y="119076"/>
                      <a:pt x="61601" y="116864"/>
                    </a:cubicBezTo>
                    <a:lnTo>
                      <a:pt x="61601" y="81398"/>
                    </a:lnTo>
                    <a:lnTo>
                      <a:pt x="23564" y="56757"/>
                    </a:lnTo>
                    <a:lnTo>
                      <a:pt x="23564" y="34090"/>
                    </a:lnTo>
                    <a:cubicBezTo>
                      <a:pt x="30502" y="31698"/>
                      <a:pt x="35525" y="25179"/>
                      <a:pt x="35525" y="17523"/>
                    </a:cubicBezTo>
                    <a:cubicBezTo>
                      <a:pt x="35525" y="7835"/>
                      <a:pt x="27571" y="0"/>
                      <a:pt x="17763" y="0"/>
                    </a:cubicBezTo>
                    <a:cubicBezTo>
                      <a:pt x="7954" y="0"/>
                      <a:pt x="0" y="7835"/>
                      <a:pt x="0" y="17523"/>
                    </a:cubicBezTo>
                    <a:cubicBezTo>
                      <a:pt x="0" y="25777"/>
                      <a:pt x="5801" y="32715"/>
                      <a:pt x="13636" y="34569"/>
                    </a:cubicBezTo>
                    <a:lnTo>
                      <a:pt x="13636" y="62080"/>
                    </a:lnTo>
                    <a:lnTo>
                      <a:pt x="51614" y="86780"/>
                    </a:lnTo>
                    <a:close/>
                    <a:moveTo>
                      <a:pt x="11423" y="17583"/>
                    </a:moveTo>
                    <a:cubicBezTo>
                      <a:pt x="11423" y="14114"/>
                      <a:pt x="14234" y="11364"/>
                      <a:pt x="17763" y="11364"/>
                    </a:cubicBezTo>
                    <a:cubicBezTo>
                      <a:pt x="21232" y="11364"/>
                      <a:pt x="24102" y="14174"/>
                      <a:pt x="24102" y="17583"/>
                    </a:cubicBezTo>
                    <a:cubicBezTo>
                      <a:pt x="24102" y="20992"/>
                      <a:pt x="21291" y="23803"/>
                      <a:pt x="17763" y="23803"/>
                    </a:cubicBezTo>
                    <a:cubicBezTo>
                      <a:pt x="14234" y="23803"/>
                      <a:pt x="11423" y="20992"/>
                      <a:pt x="11423" y="17583"/>
                    </a:cubicBezTo>
                    <a:close/>
                    <a:moveTo>
                      <a:pt x="50059" y="133669"/>
                    </a:moveTo>
                    <a:cubicBezTo>
                      <a:pt x="50059" y="130200"/>
                      <a:pt x="52870" y="127449"/>
                      <a:pt x="56398" y="127449"/>
                    </a:cubicBezTo>
                    <a:cubicBezTo>
                      <a:pt x="59867" y="127449"/>
                      <a:pt x="62738" y="130260"/>
                      <a:pt x="62738" y="133669"/>
                    </a:cubicBezTo>
                    <a:cubicBezTo>
                      <a:pt x="62738" y="137078"/>
                      <a:pt x="59927" y="139889"/>
                      <a:pt x="56398" y="139889"/>
                    </a:cubicBezTo>
                    <a:cubicBezTo>
                      <a:pt x="52929" y="139889"/>
                      <a:pt x="50059" y="137078"/>
                      <a:pt x="50059" y="133669"/>
                    </a:cubicBezTo>
                    <a:close/>
                  </a:path>
                </a:pathLst>
              </a:custGeom>
              <a:grpFill/>
              <a:ln w="5978" cap="flat">
                <a:noFill/>
                <a:prstDash val="solid"/>
                <a:miter/>
              </a:ln>
            </p:spPr>
            <p:txBody>
              <a:bodyPr rtlCol="0" anchor="ctr"/>
              <a:lstStyle/>
              <a:p>
                <a:endParaRPr lang="en-GB"/>
              </a:p>
            </p:txBody>
          </p:sp>
        </p:grpSp>
        <p:sp>
          <p:nvSpPr>
            <p:cNvPr id="32" name="Vrije vorm: vorm 31">
              <a:extLst>
                <a:ext uri="{FF2B5EF4-FFF2-40B4-BE49-F238E27FC236}">
                  <a16:creationId xmlns:a16="http://schemas.microsoft.com/office/drawing/2014/main" id="{0C1372EC-053C-4F08-8EDF-C24A79F7C84A}"/>
                </a:ext>
              </a:extLst>
            </p:cNvPr>
            <p:cNvSpPr/>
            <p:nvPr/>
          </p:nvSpPr>
          <p:spPr>
            <a:xfrm>
              <a:off x="877630" y="4753577"/>
              <a:ext cx="35525" cy="35047"/>
            </a:xfrm>
            <a:custGeom>
              <a:avLst/>
              <a:gdLst>
                <a:gd name="connsiteX0" fmla="*/ 17763 w 35525"/>
                <a:gd name="connsiteY0" fmla="*/ 0 h 35047"/>
                <a:gd name="connsiteX1" fmla="*/ 0 w 35525"/>
                <a:gd name="connsiteY1" fmla="*/ 17523 h 35047"/>
                <a:gd name="connsiteX2" fmla="*/ 17763 w 35525"/>
                <a:gd name="connsiteY2" fmla="*/ 35047 h 35047"/>
                <a:gd name="connsiteX3" fmla="*/ 35525 w 35525"/>
                <a:gd name="connsiteY3" fmla="*/ 17523 h 35047"/>
                <a:gd name="connsiteX4" fmla="*/ 17763 w 35525"/>
                <a:gd name="connsiteY4" fmla="*/ 0 h 35047"/>
                <a:gd name="connsiteX5" fmla="*/ 17763 w 35525"/>
                <a:gd name="connsiteY5" fmla="*/ 23804 h 35047"/>
                <a:gd name="connsiteX6" fmla="*/ 11423 w 35525"/>
                <a:gd name="connsiteY6" fmla="*/ 17583 h 35047"/>
                <a:gd name="connsiteX7" fmla="*/ 17763 w 35525"/>
                <a:gd name="connsiteY7" fmla="*/ 11364 h 35047"/>
                <a:gd name="connsiteX8" fmla="*/ 24102 w 35525"/>
                <a:gd name="connsiteY8" fmla="*/ 17583 h 35047"/>
                <a:gd name="connsiteX9" fmla="*/ 17763 w 35525"/>
                <a:gd name="connsiteY9" fmla="*/ 23804 h 3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5" h="35047">
                  <a:moveTo>
                    <a:pt x="17763" y="0"/>
                  </a:moveTo>
                  <a:cubicBezTo>
                    <a:pt x="7954" y="0"/>
                    <a:pt x="0" y="7835"/>
                    <a:pt x="0" y="17523"/>
                  </a:cubicBezTo>
                  <a:cubicBezTo>
                    <a:pt x="0" y="27212"/>
                    <a:pt x="7954" y="35047"/>
                    <a:pt x="17763" y="35047"/>
                  </a:cubicBezTo>
                  <a:cubicBezTo>
                    <a:pt x="27571" y="35047"/>
                    <a:pt x="35525" y="27212"/>
                    <a:pt x="35525" y="17523"/>
                  </a:cubicBezTo>
                  <a:cubicBezTo>
                    <a:pt x="35525" y="7895"/>
                    <a:pt x="27571" y="0"/>
                    <a:pt x="17763" y="0"/>
                  </a:cubicBezTo>
                  <a:close/>
                  <a:moveTo>
                    <a:pt x="17763" y="23804"/>
                  </a:moveTo>
                  <a:cubicBezTo>
                    <a:pt x="14294" y="23804"/>
                    <a:pt x="11423" y="20992"/>
                    <a:pt x="11423" y="17583"/>
                  </a:cubicBezTo>
                  <a:cubicBezTo>
                    <a:pt x="11423" y="14115"/>
                    <a:pt x="14234" y="11364"/>
                    <a:pt x="17763" y="11364"/>
                  </a:cubicBezTo>
                  <a:cubicBezTo>
                    <a:pt x="21232" y="11364"/>
                    <a:pt x="24102" y="14174"/>
                    <a:pt x="24102" y="17583"/>
                  </a:cubicBezTo>
                  <a:cubicBezTo>
                    <a:pt x="24043" y="20992"/>
                    <a:pt x="21232" y="23804"/>
                    <a:pt x="17763" y="23804"/>
                  </a:cubicBezTo>
                  <a:close/>
                </a:path>
              </a:pathLst>
            </a:custGeom>
            <a:grpFill/>
            <a:ln w="5978" cap="flat">
              <a:noFill/>
              <a:prstDash val="solid"/>
              <a:miter/>
            </a:ln>
          </p:spPr>
          <p:txBody>
            <a:bodyPr rtlCol="0" anchor="ctr"/>
            <a:lstStyle/>
            <a:p>
              <a:endParaRPr lang="en-GB"/>
            </a:p>
          </p:txBody>
        </p:sp>
      </p:grpSp>
      <p:sp>
        <p:nvSpPr>
          <p:cNvPr id="29" name="Titel 28">
            <a:extLst>
              <a:ext uri="{FF2B5EF4-FFF2-40B4-BE49-F238E27FC236}">
                <a16:creationId xmlns:a16="http://schemas.microsoft.com/office/drawing/2014/main" id="{9EDBFA51-4BD0-4FD3-871A-AC04F2A05FF9}"/>
              </a:ext>
            </a:extLst>
          </p:cNvPr>
          <p:cNvSpPr>
            <a:spLocks noGrp="1"/>
          </p:cNvSpPr>
          <p:nvPr>
            <p:ph type="title"/>
          </p:nvPr>
        </p:nvSpPr>
        <p:spPr/>
        <p:txBody>
          <a:bodyPr/>
          <a:lstStyle/>
          <a:p>
            <a:r>
              <a:rPr lang="nl-NL" dirty="0" err="1"/>
              <a:t>Thank</a:t>
            </a:r>
            <a:r>
              <a:rPr lang="nl-NL" dirty="0"/>
              <a:t> </a:t>
            </a:r>
            <a:r>
              <a:rPr lang="nl-NL" dirty="0" err="1"/>
              <a:t>you</a:t>
            </a:r>
            <a:r>
              <a:rPr lang="nl-NL" dirty="0"/>
              <a:t> </a:t>
            </a:r>
            <a:r>
              <a:rPr lang="nl-NL" dirty="0" err="1"/>
              <a:t>for</a:t>
            </a:r>
            <a:r>
              <a:rPr lang="nl-NL" dirty="0"/>
              <a:t> </a:t>
            </a:r>
            <a:r>
              <a:rPr lang="nl-NL" dirty="0" err="1"/>
              <a:t>your</a:t>
            </a:r>
            <a:r>
              <a:rPr lang="nl-NL" dirty="0"/>
              <a:t> attention</a:t>
            </a:r>
          </a:p>
        </p:txBody>
      </p:sp>
      <p:sp>
        <p:nvSpPr>
          <p:cNvPr id="31" name="Tijdelijke aanduiding voor tekst 30">
            <a:extLst>
              <a:ext uri="{FF2B5EF4-FFF2-40B4-BE49-F238E27FC236}">
                <a16:creationId xmlns:a16="http://schemas.microsoft.com/office/drawing/2014/main" id="{EDF42F08-3BE1-4D67-948C-03EB9281DCAE}"/>
              </a:ext>
            </a:extLst>
          </p:cNvPr>
          <p:cNvSpPr>
            <a:spLocks noGrp="1"/>
          </p:cNvSpPr>
          <p:nvPr>
            <p:ph type="body" sz="quarter" idx="18"/>
          </p:nvPr>
        </p:nvSpPr>
        <p:spPr/>
        <p:txBody>
          <a:bodyPr/>
          <a:lstStyle/>
          <a:p>
            <a:r>
              <a:rPr lang="nl-NL" dirty="0" err="1"/>
              <a:t>any</a:t>
            </a:r>
            <a:r>
              <a:rPr lang="nl-NL" dirty="0"/>
              <a:t> </a:t>
            </a:r>
            <a:r>
              <a:rPr lang="nl-NL" dirty="0" err="1"/>
              <a:t>questions</a:t>
            </a:r>
            <a:r>
              <a:rPr lang="nl-NL" dirty="0"/>
              <a:t>?</a:t>
            </a:r>
          </a:p>
        </p:txBody>
      </p:sp>
      <p:sp>
        <p:nvSpPr>
          <p:cNvPr id="33" name="Tijdelijke aanduiding voor tekst 32">
            <a:extLst>
              <a:ext uri="{FF2B5EF4-FFF2-40B4-BE49-F238E27FC236}">
                <a16:creationId xmlns:a16="http://schemas.microsoft.com/office/drawing/2014/main" id="{EB5F57F6-EA96-4109-BB58-63F93DF12FF6}"/>
              </a:ext>
            </a:extLst>
          </p:cNvPr>
          <p:cNvSpPr>
            <a:spLocks noGrp="1"/>
          </p:cNvSpPr>
          <p:nvPr>
            <p:ph type="body" sz="quarter" idx="15"/>
          </p:nvPr>
        </p:nvSpPr>
        <p:spPr/>
        <p:txBody>
          <a:bodyPr/>
          <a:lstStyle/>
          <a:p>
            <a:r>
              <a:rPr lang="nl-NL" dirty="0"/>
              <a:t> </a:t>
            </a:r>
          </a:p>
        </p:txBody>
      </p:sp>
      <p:sp>
        <p:nvSpPr>
          <p:cNvPr id="35" name="Tijdelijke aanduiding voor tekst 34">
            <a:extLst>
              <a:ext uri="{FF2B5EF4-FFF2-40B4-BE49-F238E27FC236}">
                <a16:creationId xmlns:a16="http://schemas.microsoft.com/office/drawing/2014/main" id="{C075697E-C269-4C1B-97A3-1663D4974E73}"/>
              </a:ext>
            </a:extLst>
          </p:cNvPr>
          <p:cNvSpPr>
            <a:spLocks noGrp="1"/>
          </p:cNvSpPr>
          <p:nvPr>
            <p:ph type="body" sz="quarter" idx="16"/>
          </p:nvPr>
        </p:nvSpPr>
        <p:spPr/>
        <p:txBody>
          <a:bodyPr/>
          <a:lstStyle/>
          <a:p>
            <a:r>
              <a:rPr lang="nl-NL" dirty="0"/>
              <a:t> </a:t>
            </a:r>
          </a:p>
        </p:txBody>
      </p:sp>
    </p:spTree>
    <p:extLst>
      <p:ext uri="{BB962C8B-B14F-4D97-AF65-F5344CB8AC3E}">
        <p14:creationId xmlns:p14="http://schemas.microsoft.com/office/powerpoint/2010/main" val="3717815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4817" fill="hold"/>
                                        <p:tgtEl>
                                          <p:spTgt spid="3"/>
                                        </p:tgtEl>
                                      </p:cBhvr>
                                    </p:cmd>
                                  </p:childTnLst>
                                </p:cTn>
                              </p:par>
                              <p:par>
                                <p:cTn id="7" presetID="2" presetClass="entr" presetSubtype="1" decel="10000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anim calcmode="lin" valueType="num">
                                      <p:cBhvr additive="base">
                                        <p:cTn id="9" dur="1000" fill="hold"/>
                                        <p:tgtEl>
                                          <p:spTgt spid="12"/>
                                        </p:tgtEl>
                                        <p:attrNameLst>
                                          <p:attrName>ppt_x</p:attrName>
                                        </p:attrNameLst>
                                      </p:cBhvr>
                                      <p:tavLst>
                                        <p:tav tm="0">
                                          <p:val>
                                            <p:strVal val="#ppt_x"/>
                                          </p:val>
                                        </p:tav>
                                        <p:tav tm="100000">
                                          <p:val>
                                            <p:strVal val="#ppt_x"/>
                                          </p:val>
                                        </p:tav>
                                      </p:tavLst>
                                    </p:anim>
                                    <p:anim calcmode="lin" valueType="num">
                                      <p:cBhvr additive="base">
                                        <p:cTn id="10" dur="1000" fill="hold"/>
                                        <p:tgtEl>
                                          <p:spTgt spid="12"/>
                                        </p:tgtEl>
                                        <p:attrNameLst>
                                          <p:attrName>ppt_y</p:attrName>
                                        </p:attrNameLst>
                                      </p:cBhvr>
                                      <p:tavLst>
                                        <p:tav tm="0">
                                          <p:val>
                                            <p:strVal val="0-#ppt_h/2"/>
                                          </p:val>
                                        </p:tav>
                                        <p:tav tm="100000">
                                          <p:val>
                                            <p:strVal val="#ppt_y"/>
                                          </p:val>
                                        </p:tav>
                                      </p:tavLst>
                                    </p:anim>
                                  </p:childTnLst>
                                </p:cTn>
                              </p:par>
                              <p:par>
                                <p:cTn id="11" presetID="2" presetClass="entr" presetSubtype="2" decel="100000" fill="hold" nodeType="withEffect">
                                  <p:stCondLst>
                                    <p:cond delay="40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750" fill="hold"/>
                                        <p:tgtEl>
                                          <p:spTgt spid="11"/>
                                        </p:tgtEl>
                                        <p:attrNameLst>
                                          <p:attrName>ppt_x</p:attrName>
                                        </p:attrNameLst>
                                      </p:cBhvr>
                                      <p:tavLst>
                                        <p:tav tm="0">
                                          <p:val>
                                            <p:strVal val="1+#ppt_w/2"/>
                                          </p:val>
                                        </p:tav>
                                        <p:tav tm="100000">
                                          <p:val>
                                            <p:strVal val="#ppt_x"/>
                                          </p:val>
                                        </p:tav>
                                      </p:tavLst>
                                    </p:anim>
                                    <p:anim calcmode="lin" valueType="num">
                                      <p:cBhvr additive="base">
                                        <p:cTn id="14" dur="750" fill="hold"/>
                                        <p:tgtEl>
                                          <p:spTgt spid="11"/>
                                        </p:tgtEl>
                                        <p:attrNameLst>
                                          <p:attrName>ppt_y</p:attrName>
                                        </p:attrNameLst>
                                      </p:cBhvr>
                                      <p:tavLst>
                                        <p:tav tm="0">
                                          <p:val>
                                            <p:strVal val="#ppt_y"/>
                                          </p:val>
                                        </p:tav>
                                        <p:tav tm="100000">
                                          <p:val>
                                            <p:strVal val="#ppt_y"/>
                                          </p:val>
                                        </p:tav>
                                      </p:tavLst>
                                    </p:anim>
                                  </p:childTnLst>
                                </p:cTn>
                              </p:par>
                              <p:par>
                                <p:cTn id="15" presetID="2" presetClass="entr" presetSubtype="2" decel="100000" fill="hold" nodeType="withEffect">
                                  <p:stCondLst>
                                    <p:cond delay="4250"/>
                                  </p:stCondLst>
                                  <p:childTnLst>
                                    <p:set>
                                      <p:cBhvr>
                                        <p:cTn id="16" dur="1" fill="hold">
                                          <p:stCondLst>
                                            <p:cond delay="0"/>
                                          </p:stCondLst>
                                        </p:cTn>
                                        <p:tgtEl>
                                          <p:spTgt spid="43"/>
                                        </p:tgtEl>
                                        <p:attrNameLst>
                                          <p:attrName>style.visibility</p:attrName>
                                        </p:attrNameLst>
                                      </p:cBhvr>
                                      <p:to>
                                        <p:strVal val="visible"/>
                                      </p:to>
                                    </p:set>
                                    <p:anim calcmode="lin" valueType="num">
                                      <p:cBhvr additive="base">
                                        <p:cTn id="17" dur="750" fill="hold"/>
                                        <p:tgtEl>
                                          <p:spTgt spid="43"/>
                                        </p:tgtEl>
                                        <p:attrNameLst>
                                          <p:attrName>ppt_x</p:attrName>
                                        </p:attrNameLst>
                                      </p:cBhvr>
                                      <p:tavLst>
                                        <p:tav tm="0">
                                          <p:val>
                                            <p:strVal val="1+#ppt_w/2"/>
                                          </p:val>
                                        </p:tav>
                                        <p:tav tm="100000">
                                          <p:val>
                                            <p:strVal val="#ppt_x"/>
                                          </p:val>
                                        </p:tav>
                                      </p:tavLst>
                                    </p:anim>
                                    <p:anim calcmode="lin" valueType="num">
                                      <p:cBhvr additive="base">
                                        <p:cTn id="18" dur="750" fill="hold"/>
                                        <p:tgtEl>
                                          <p:spTgt spid="43"/>
                                        </p:tgtEl>
                                        <p:attrNameLst>
                                          <p:attrName>ppt_y</p:attrName>
                                        </p:attrNameLst>
                                      </p:cBhvr>
                                      <p:tavLst>
                                        <p:tav tm="0">
                                          <p:val>
                                            <p:strVal val="#ppt_y"/>
                                          </p:val>
                                        </p:tav>
                                        <p:tav tm="100000">
                                          <p:val>
                                            <p:strVal val="#ppt_y"/>
                                          </p:val>
                                        </p:tav>
                                      </p:tavLst>
                                    </p:anim>
                                  </p:childTnLst>
                                </p:cTn>
                              </p:par>
                              <p:par>
                                <p:cTn id="19" presetID="2" presetClass="entr" presetSubtype="2" decel="100000" fill="hold" nodeType="withEffect">
                                  <p:stCondLst>
                                    <p:cond delay="4500"/>
                                  </p:stCondLst>
                                  <p:childTnLst>
                                    <p:set>
                                      <p:cBhvr>
                                        <p:cTn id="20" dur="1" fill="hold">
                                          <p:stCondLst>
                                            <p:cond delay="0"/>
                                          </p:stCondLst>
                                        </p:cTn>
                                        <p:tgtEl>
                                          <p:spTgt spid="40"/>
                                        </p:tgtEl>
                                        <p:attrNameLst>
                                          <p:attrName>style.visibility</p:attrName>
                                        </p:attrNameLst>
                                      </p:cBhvr>
                                      <p:to>
                                        <p:strVal val="visible"/>
                                      </p:to>
                                    </p:set>
                                    <p:anim calcmode="lin" valueType="num">
                                      <p:cBhvr additive="base">
                                        <p:cTn id="21" dur="750" fill="hold"/>
                                        <p:tgtEl>
                                          <p:spTgt spid="40"/>
                                        </p:tgtEl>
                                        <p:attrNameLst>
                                          <p:attrName>ppt_x</p:attrName>
                                        </p:attrNameLst>
                                      </p:cBhvr>
                                      <p:tavLst>
                                        <p:tav tm="0">
                                          <p:val>
                                            <p:strVal val="1+#ppt_w/2"/>
                                          </p:val>
                                        </p:tav>
                                        <p:tav tm="100000">
                                          <p:val>
                                            <p:strVal val="#ppt_x"/>
                                          </p:val>
                                        </p:tav>
                                      </p:tavLst>
                                    </p:anim>
                                    <p:anim calcmode="lin" valueType="num">
                                      <p:cBhvr additive="base">
                                        <p:cTn id="22" dur="750" fill="hold"/>
                                        <p:tgtEl>
                                          <p:spTgt spid="40"/>
                                        </p:tgtEl>
                                        <p:attrNameLst>
                                          <p:attrName>ppt_y</p:attrName>
                                        </p:attrNameLst>
                                      </p:cBhvr>
                                      <p:tavLst>
                                        <p:tav tm="0">
                                          <p:val>
                                            <p:strVal val="#ppt_y"/>
                                          </p:val>
                                        </p:tav>
                                        <p:tav tm="100000">
                                          <p:val>
                                            <p:strVal val="#ppt_y"/>
                                          </p:val>
                                        </p:tav>
                                      </p:tavLst>
                                    </p:anim>
                                  </p:childTnLst>
                                </p:cTn>
                              </p:par>
                              <p:par>
                                <p:cTn id="23" presetID="2" presetClass="entr" presetSubtype="2" decel="100000" fill="hold" nodeType="withEffect">
                                  <p:stCondLst>
                                    <p:cond delay="4750"/>
                                  </p:stCondLst>
                                  <p:childTnLst>
                                    <p:set>
                                      <p:cBhvr>
                                        <p:cTn id="24" dur="1" fill="hold">
                                          <p:stCondLst>
                                            <p:cond delay="0"/>
                                          </p:stCondLst>
                                        </p:cTn>
                                        <p:tgtEl>
                                          <p:spTgt spid="27"/>
                                        </p:tgtEl>
                                        <p:attrNameLst>
                                          <p:attrName>style.visibility</p:attrName>
                                        </p:attrNameLst>
                                      </p:cBhvr>
                                      <p:to>
                                        <p:strVal val="visible"/>
                                      </p:to>
                                    </p:set>
                                    <p:anim calcmode="lin" valueType="num">
                                      <p:cBhvr additive="base">
                                        <p:cTn id="25" dur="750" fill="hold"/>
                                        <p:tgtEl>
                                          <p:spTgt spid="27"/>
                                        </p:tgtEl>
                                        <p:attrNameLst>
                                          <p:attrName>ppt_x</p:attrName>
                                        </p:attrNameLst>
                                      </p:cBhvr>
                                      <p:tavLst>
                                        <p:tav tm="0">
                                          <p:val>
                                            <p:strVal val="1+#ppt_w/2"/>
                                          </p:val>
                                        </p:tav>
                                        <p:tav tm="100000">
                                          <p:val>
                                            <p:strVal val="#ppt_x"/>
                                          </p:val>
                                        </p:tav>
                                      </p:tavLst>
                                    </p:anim>
                                    <p:anim calcmode="lin" valueType="num">
                                      <p:cBhvr additive="base">
                                        <p:cTn id="26" dur="7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27" fill="hold" display="0">
                  <p:stCondLst>
                    <p:cond delay="indefinite"/>
                  </p:stCondLst>
                </p:cTn>
                <p:tgtEl>
                  <p:spTgt spid="3"/>
                </p:tgtEl>
              </p:cMediaNode>
            </p:video>
          </p:childTnLst>
        </p:cTn>
      </p:par>
    </p:tnLst>
    <p:bldLst>
      <p:bldP spid="12" grpId="0" animBg="1">
        <p:tmplLst>
          <p:tmpl>
            <p:tnLst>
              <p:par>
                <p:cTn presetID="2" presetClass="entr" presetSubtype="1"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1000" fill="hold"/>
                        <p:tgtEl>
                          <p:spTgt spid="12"/>
                        </p:tgtEl>
                        <p:attrNameLst>
                          <p:attrName>ppt_x</p:attrName>
                        </p:attrNameLst>
                      </p:cBhvr>
                      <p:tavLst>
                        <p:tav tm="0">
                          <p:val>
                            <p:strVal val="#ppt_x"/>
                          </p:val>
                        </p:tav>
                        <p:tav tm="100000">
                          <p:val>
                            <p:strVal val="#ppt_x"/>
                          </p:val>
                        </p:tav>
                      </p:tavLst>
                    </p:anim>
                    <p:anim calcmode="lin" valueType="num">
                      <p:cBhvr additive="base">
                        <p:cTn dur="1000" fill="hold"/>
                        <p:tgtEl>
                          <p:spTgt spid="12"/>
                        </p:tgtEl>
                        <p:attrNameLst>
                          <p:attrName>ppt_y</p:attrName>
                        </p:attrNameLst>
                      </p:cBhvr>
                      <p:tavLst>
                        <p:tav tm="0">
                          <p:val>
                            <p:strVal val="0-#ppt_h/2"/>
                          </p:val>
                        </p:tav>
                        <p:tav tm="100000">
                          <p:val>
                            <p:strVal val="#ppt_y"/>
                          </p:val>
                        </p:tav>
                      </p:tavLst>
                    </p:anim>
                  </p:childTnLst>
                </p:cTn>
              </p:par>
            </p:tnLst>
          </p:tmpl>
        </p:tmplLst>
      </p:b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8B249DF-1AC8-42DF-B04C-D0A8E810ABD8}"/>
              </a:ext>
            </a:extLst>
          </p:cNvPr>
          <p:cNvSpPr>
            <a:spLocks noGrp="1"/>
          </p:cNvSpPr>
          <p:nvPr>
            <p:ph type="title"/>
          </p:nvPr>
        </p:nvSpPr>
        <p:spPr>
          <a:xfrm>
            <a:off x="777244" y="968115"/>
            <a:ext cx="5157195" cy="1283495"/>
          </a:xfrm>
        </p:spPr>
        <p:txBody>
          <a:bodyPr/>
          <a:lstStyle/>
          <a:p>
            <a:r>
              <a:rPr lang="en-GB" dirty="0"/>
              <a:t>TNO UNIT ICT </a:t>
            </a:r>
            <a:r>
              <a:rPr lang="en-GB" dirty="0">
                <a:solidFill>
                  <a:schemeClr val="bg1"/>
                </a:solidFill>
              </a:rPr>
              <a:t>KEY figures</a:t>
            </a:r>
            <a:endParaRPr lang="nl-NL" dirty="0"/>
          </a:p>
        </p:txBody>
      </p:sp>
      <p:grpSp>
        <p:nvGrpSpPr>
          <p:cNvPr id="122" name="GRID" hidden="1">
            <a:extLst>
              <a:ext uri="{FF2B5EF4-FFF2-40B4-BE49-F238E27FC236}">
                <a16:creationId xmlns:a16="http://schemas.microsoft.com/office/drawing/2014/main" id="{54F1BAA9-9D50-495F-A182-9A62F99A3E2B}"/>
              </a:ext>
            </a:extLst>
          </p:cNvPr>
          <p:cNvGrpSpPr/>
          <p:nvPr/>
        </p:nvGrpSpPr>
        <p:grpSpPr>
          <a:xfrm>
            <a:off x="0" y="-2"/>
            <a:ext cx="12192000" cy="6858001"/>
            <a:chOff x="-2" y="-1"/>
            <a:chExt cx="12169776" cy="6858002"/>
          </a:xfrm>
          <a:solidFill>
            <a:srgbClr val="FF0000">
              <a:alpha val="60000"/>
            </a:srgbClr>
          </a:solidFill>
        </p:grpSpPr>
        <p:sp>
          <p:nvSpPr>
            <p:cNvPr id="154" name="Rechthoek 153">
              <a:extLst>
                <a:ext uri="{FF2B5EF4-FFF2-40B4-BE49-F238E27FC236}">
                  <a16:creationId xmlns:a16="http://schemas.microsoft.com/office/drawing/2014/main" id="{26071E91-A326-4752-AC00-00843A1734FA}"/>
                </a:ext>
              </a:extLst>
            </p:cNvPr>
            <p:cNvSpPr/>
            <p:nvPr userDrawn="1"/>
          </p:nvSpPr>
          <p:spPr>
            <a:xfrm>
              <a:off x="0" y="6278880"/>
              <a:ext cx="12169774" cy="5791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155" name="Rechthoek 154">
              <a:extLst>
                <a:ext uri="{FF2B5EF4-FFF2-40B4-BE49-F238E27FC236}">
                  <a16:creationId xmlns:a16="http://schemas.microsoft.com/office/drawing/2014/main" id="{EC0CB444-F393-446B-AB5A-C5E25360368C}"/>
                </a:ext>
              </a:extLst>
            </p:cNvPr>
            <p:cNvSpPr/>
            <p:nvPr userDrawn="1"/>
          </p:nvSpPr>
          <p:spPr>
            <a:xfrm rot="5400000">
              <a:off x="-3139131" y="3139130"/>
              <a:ext cx="6858000" cy="5797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156" name="Rechthoek 155">
              <a:extLst>
                <a:ext uri="{FF2B5EF4-FFF2-40B4-BE49-F238E27FC236}">
                  <a16:creationId xmlns:a16="http://schemas.microsoft.com/office/drawing/2014/main" id="{B81A4418-FD0D-4D91-962B-0AA339947074}"/>
                </a:ext>
              </a:extLst>
            </p:cNvPr>
            <p:cNvSpPr/>
            <p:nvPr userDrawn="1"/>
          </p:nvSpPr>
          <p:spPr>
            <a:xfrm rot="5400000">
              <a:off x="8447480" y="3139128"/>
              <a:ext cx="6858000" cy="5797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57" name="Rechthoek 156">
              <a:extLst>
                <a:ext uri="{FF2B5EF4-FFF2-40B4-BE49-F238E27FC236}">
                  <a16:creationId xmlns:a16="http://schemas.microsoft.com/office/drawing/2014/main" id="{DC429748-E55A-4A30-9A9B-E376DDC1E86E}"/>
                </a:ext>
              </a:extLst>
            </p:cNvPr>
            <p:cNvSpPr/>
            <p:nvPr/>
          </p:nvSpPr>
          <p:spPr>
            <a:xfrm>
              <a:off x="0" y="0"/>
              <a:ext cx="12169774" cy="5791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158" name="Rechthoek 157">
              <a:extLst>
                <a:ext uri="{FF2B5EF4-FFF2-40B4-BE49-F238E27FC236}">
                  <a16:creationId xmlns:a16="http://schemas.microsoft.com/office/drawing/2014/main" id="{FDC31710-444C-4187-AA8D-07FCDF88F7B7}"/>
                </a:ext>
              </a:extLst>
            </p:cNvPr>
            <p:cNvSpPr/>
            <p:nvPr/>
          </p:nvSpPr>
          <p:spPr>
            <a:xfrm rot="5400000" flipV="1">
              <a:off x="-2725042" y="3357131"/>
              <a:ext cx="6857999" cy="14373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159" name="Rechthoek 158">
              <a:extLst>
                <a:ext uri="{FF2B5EF4-FFF2-40B4-BE49-F238E27FC236}">
                  <a16:creationId xmlns:a16="http://schemas.microsoft.com/office/drawing/2014/main" id="{677979EB-723C-420F-8D26-54875E74CE96}"/>
                </a:ext>
              </a:extLst>
            </p:cNvPr>
            <p:cNvSpPr/>
            <p:nvPr/>
          </p:nvSpPr>
          <p:spPr>
            <a:xfrm>
              <a:off x="1" y="901700"/>
              <a:ext cx="12169773" cy="5791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160" name="Rechthoek 159">
              <a:extLst>
                <a:ext uri="{FF2B5EF4-FFF2-40B4-BE49-F238E27FC236}">
                  <a16:creationId xmlns:a16="http://schemas.microsoft.com/office/drawing/2014/main" id="{E9CDD014-59F5-4366-8B83-569410B91427}"/>
                </a:ext>
              </a:extLst>
            </p:cNvPr>
            <p:cNvSpPr/>
            <p:nvPr userDrawn="1"/>
          </p:nvSpPr>
          <p:spPr>
            <a:xfrm>
              <a:off x="0" y="5707380"/>
              <a:ext cx="12169774" cy="5791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161" name="Rechthoek 160">
              <a:extLst>
                <a:ext uri="{FF2B5EF4-FFF2-40B4-BE49-F238E27FC236}">
                  <a16:creationId xmlns:a16="http://schemas.microsoft.com/office/drawing/2014/main" id="{FED87935-C0DC-46AC-8709-D55B015F4F7E}"/>
                </a:ext>
              </a:extLst>
            </p:cNvPr>
            <p:cNvSpPr/>
            <p:nvPr/>
          </p:nvSpPr>
          <p:spPr>
            <a:xfrm rot="5400000">
              <a:off x="1096997" y="3139128"/>
              <a:ext cx="6858000" cy="5797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62" name="Rechthoek 161">
              <a:extLst>
                <a:ext uri="{FF2B5EF4-FFF2-40B4-BE49-F238E27FC236}">
                  <a16:creationId xmlns:a16="http://schemas.microsoft.com/office/drawing/2014/main" id="{7D6558BB-A847-4779-B362-6DDD99503BC5}"/>
                </a:ext>
              </a:extLst>
            </p:cNvPr>
            <p:cNvSpPr/>
            <p:nvPr/>
          </p:nvSpPr>
          <p:spPr>
            <a:xfrm rot="5400000">
              <a:off x="1672812" y="3139128"/>
              <a:ext cx="6858000" cy="5797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63" name="Rechthoek 162">
              <a:extLst>
                <a:ext uri="{FF2B5EF4-FFF2-40B4-BE49-F238E27FC236}">
                  <a16:creationId xmlns:a16="http://schemas.microsoft.com/office/drawing/2014/main" id="{F0CEED3E-CC33-48D9-9DCE-631FE6ACAAA6}"/>
                </a:ext>
              </a:extLst>
            </p:cNvPr>
            <p:cNvSpPr/>
            <p:nvPr/>
          </p:nvSpPr>
          <p:spPr>
            <a:xfrm rot="5400000" flipV="1">
              <a:off x="5085910" y="3357131"/>
              <a:ext cx="6857999" cy="14373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sp>
          <p:nvSpPr>
            <p:cNvPr id="188" name="Rechthoek 187">
              <a:extLst>
                <a:ext uri="{FF2B5EF4-FFF2-40B4-BE49-F238E27FC236}">
                  <a16:creationId xmlns:a16="http://schemas.microsoft.com/office/drawing/2014/main" id="{FE7D0EBB-A7A4-45FE-869C-EB8A25BA9ADD}"/>
                </a:ext>
              </a:extLst>
            </p:cNvPr>
            <p:cNvSpPr/>
            <p:nvPr/>
          </p:nvSpPr>
          <p:spPr>
            <a:xfrm rot="10800000" flipV="1">
              <a:off x="5092161" y="3522101"/>
              <a:ext cx="6845497" cy="143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a:p>
          </p:txBody>
        </p:sp>
      </p:grpSp>
      <p:sp>
        <p:nvSpPr>
          <p:cNvPr id="153" name="Tijdelijke aanduiding voor tekst 25">
            <a:extLst>
              <a:ext uri="{FF2B5EF4-FFF2-40B4-BE49-F238E27FC236}">
                <a16:creationId xmlns:a16="http://schemas.microsoft.com/office/drawing/2014/main" id="{0D91A679-40D6-489D-83F4-2BF093993CE7}"/>
              </a:ext>
            </a:extLst>
          </p:cNvPr>
          <p:cNvSpPr txBox="1">
            <a:spLocks/>
          </p:cNvSpPr>
          <p:nvPr/>
        </p:nvSpPr>
        <p:spPr>
          <a:xfrm>
            <a:off x="5616312" y="389469"/>
            <a:ext cx="959375" cy="171317"/>
          </a:xfrm>
          <a:prstGeom prst="rect">
            <a:avLst/>
          </a:prstGeom>
          <a:blipFill>
            <a:blip r:embed="rId2" cstate="hqprint">
              <a:extLst>
                <a:ext uri="{28A0092B-C50C-407E-A947-70E740481C1C}">
                  <a14:useLocalDpi xmlns:a14="http://schemas.microsoft.com/office/drawing/2010/main"/>
                </a:ext>
              </a:extLst>
            </a:blip>
            <a:stretch>
              <a:fillRect/>
            </a:stretch>
          </a:blipFill>
          <a:ln w="12700">
            <a:noFill/>
          </a:ln>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100" kern="1200">
                <a:solidFill>
                  <a:schemeClr val="bg1"/>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3"/>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4"/>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3"/>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en-GB"/>
              <a:t> </a:t>
            </a:r>
          </a:p>
        </p:txBody>
      </p:sp>
      <p:sp>
        <p:nvSpPr>
          <p:cNvPr id="172" name="Rechthoek 171">
            <a:extLst>
              <a:ext uri="{FF2B5EF4-FFF2-40B4-BE49-F238E27FC236}">
                <a16:creationId xmlns:a16="http://schemas.microsoft.com/office/drawing/2014/main" id="{8860EE87-E18A-42C8-A666-820C0E521009}"/>
              </a:ext>
            </a:extLst>
          </p:cNvPr>
          <p:cNvSpPr/>
          <p:nvPr/>
        </p:nvSpPr>
        <p:spPr>
          <a:xfrm>
            <a:off x="1163593" y="3266449"/>
            <a:ext cx="2110699" cy="1361178"/>
          </a:xfrm>
          <a:prstGeom prst="rect">
            <a:avLst/>
          </a:prstGeom>
          <a:solidFill>
            <a:schemeClr val="bg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p>
        </p:txBody>
      </p:sp>
      <p:grpSp>
        <p:nvGrpSpPr>
          <p:cNvPr id="173" name="Group 28">
            <a:extLst>
              <a:ext uri="{FF2B5EF4-FFF2-40B4-BE49-F238E27FC236}">
                <a16:creationId xmlns:a16="http://schemas.microsoft.com/office/drawing/2014/main" id="{1177883A-55C5-451F-8EA6-0DE3639B1BF4}"/>
              </a:ext>
            </a:extLst>
          </p:cNvPr>
          <p:cNvGrpSpPr>
            <a:grpSpLocks noChangeAspect="1"/>
          </p:cNvGrpSpPr>
          <p:nvPr/>
        </p:nvGrpSpPr>
        <p:grpSpPr bwMode="auto">
          <a:xfrm>
            <a:off x="1471245" y="3603664"/>
            <a:ext cx="438967" cy="839847"/>
            <a:chOff x="2893" y="353"/>
            <a:chExt cx="1890" cy="3616"/>
          </a:xfrm>
          <a:solidFill>
            <a:schemeClr val="bg1">
              <a:alpha val="50000"/>
            </a:schemeClr>
          </a:solidFill>
        </p:grpSpPr>
        <p:sp>
          <p:nvSpPr>
            <p:cNvPr id="174" name="Freeform 29">
              <a:extLst>
                <a:ext uri="{FF2B5EF4-FFF2-40B4-BE49-F238E27FC236}">
                  <a16:creationId xmlns:a16="http://schemas.microsoft.com/office/drawing/2014/main" id="{67930B4D-5160-4A45-BA2B-EF5E41F56CCD}"/>
                </a:ext>
              </a:extLst>
            </p:cNvPr>
            <p:cNvSpPr>
              <a:spLocks/>
            </p:cNvSpPr>
            <p:nvPr/>
          </p:nvSpPr>
          <p:spPr bwMode="auto">
            <a:xfrm>
              <a:off x="2893" y="1024"/>
              <a:ext cx="1661" cy="2945"/>
            </a:xfrm>
            <a:custGeom>
              <a:avLst/>
              <a:gdLst>
                <a:gd name="T0" fmla="*/ 798 w 798"/>
                <a:gd name="T1" fmla="*/ 351 h 1419"/>
                <a:gd name="T2" fmla="*/ 661 w 798"/>
                <a:gd name="T3" fmla="*/ 487 h 1419"/>
                <a:gd name="T4" fmla="*/ 602 w 798"/>
                <a:gd name="T5" fmla="*/ 511 h 1419"/>
                <a:gd name="T6" fmla="*/ 548 w 798"/>
                <a:gd name="T7" fmla="*/ 462 h 1419"/>
                <a:gd name="T8" fmla="*/ 546 w 798"/>
                <a:gd name="T9" fmla="*/ 439 h 1419"/>
                <a:gd name="T10" fmla="*/ 547 w 798"/>
                <a:gd name="T11" fmla="*/ 235 h 1419"/>
                <a:gd name="T12" fmla="*/ 536 w 798"/>
                <a:gd name="T13" fmla="*/ 224 h 1419"/>
                <a:gd name="T14" fmla="*/ 515 w 798"/>
                <a:gd name="T15" fmla="*/ 245 h 1419"/>
                <a:gd name="T16" fmla="*/ 515 w 798"/>
                <a:gd name="T17" fmla="*/ 1343 h 1419"/>
                <a:gd name="T18" fmla="*/ 486 w 798"/>
                <a:gd name="T19" fmla="*/ 1409 h 1419"/>
                <a:gd name="T20" fmla="*/ 464 w 798"/>
                <a:gd name="T21" fmla="*/ 1417 h 1419"/>
                <a:gd name="T22" fmla="*/ 418 w 798"/>
                <a:gd name="T23" fmla="*/ 1417 h 1419"/>
                <a:gd name="T24" fmla="*/ 374 w 798"/>
                <a:gd name="T25" fmla="*/ 1394 h 1419"/>
                <a:gd name="T26" fmla="*/ 358 w 798"/>
                <a:gd name="T27" fmla="*/ 1341 h 1419"/>
                <a:gd name="T28" fmla="*/ 358 w 798"/>
                <a:gd name="T29" fmla="*/ 761 h 1419"/>
                <a:gd name="T30" fmla="*/ 345 w 798"/>
                <a:gd name="T31" fmla="*/ 748 h 1419"/>
                <a:gd name="T32" fmla="*/ 320 w 798"/>
                <a:gd name="T33" fmla="*/ 748 h 1419"/>
                <a:gd name="T34" fmla="*/ 314 w 798"/>
                <a:gd name="T35" fmla="*/ 755 h 1419"/>
                <a:gd name="T36" fmla="*/ 314 w 798"/>
                <a:gd name="T37" fmla="*/ 763 h 1419"/>
                <a:gd name="T38" fmla="*/ 314 w 798"/>
                <a:gd name="T39" fmla="*/ 1346 h 1419"/>
                <a:gd name="T40" fmla="*/ 285 w 798"/>
                <a:gd name="T41" fmla="*/ 1409 h 1419"/>
                <a:gd name="T42" fmla="*/ 262 w 798"/>
                <a:gd name="T43" fmla="*/ 1417 h 1419"/>
                <a:gd name="T44" fmla="*/ 217 w 798"/>
                <a:gd name="T45" fmla="*/ 1417 h 1419"/>
                <a:gd name="T46" fmla="*/ 172 w 798"/>
                <a:gd name="T47" fmla="*/ 1393 h 1419"/>
                <a:gd name="T48" fmla="*/ 157 w 798"/>
                <a:gd name="T49" fmla="*/ 1343 h 1419"/>
                <a:gd name="T50" fmla="*/ 157 w 798"/>
                <a:gd name="T51" fmla="*/ 300 h 1419"/>
                <a:gd name="T52" fmla="*/ 157 w 798"/>
                <a:gd name="T53" fmla="*/ 234 h 1419"/>
                <a:gd name="T54" fmla="*/ 149 w 798"/>
                <a:gd name="T55" fmla="*/ 224 h 1419"/>
                <a:gd name="T56" fmla="*/ 126 w 798"/>
                <a:gd name="T57" fmla="*/ 246 h 1419"/>
                <a:gd name="T58" fmla="*/ 126 w 798"/>
                <a:gd name="T59" fmla="*/ 635 h 1419"/>
                <a:gd name="T60" fmla="*/ 63 w 798"/>
                <a:gd name="T61" fmla="*/ 698 h 1419"/>
                <a:gd name="T62" fmla="*/ 1 w 798"/>
                <a:gd name="T63" fmla="*/ 636 h 1419"/>
                <a:gd name="T64" fmla="*/ 2 w 798"/>
                <a:gd name="T65" fmla="*/ 201 h 1419"/>
                <a:gd name="T66" fmla="*/ 166 w 798"/>
                <a:gd name="T67" fmla="*/ 4 h 1419"/>
                <a:gd name="T68" fmla="*/ 205 w 798"/>
                <a:gd name="T69" fmla="*/ 0 h 1419"/>
                <a:gd name="T70" fmla="*/ 470 w 798"/>
                <a:gd name="T71" fmla="*/ 0 h 1419"/>
                <a:gd name="T72" fmla="*/ 668 w 798"/>
                <a:gd name="T73" fmla="*/ 169 h 1419"/>
                <a:gd name="T74" fmla="*/ 671 w 798"/>
                <a:gd name="T75" fmla="*/ 266 h 1419"/>
                <a:gd name="T76" fmla="*/ 671 w 798"/>
                <a:gd name="T77" fmla="*/ 286 h 1419"/>
                <a:gd name="T78" fmla="*/ 677 w 798"/>
                <a:gd name="T79" fmla="*/ 283 h 1419"/>
                <a:gd name="T80" fmla="*/ 706 w 798"/>
                <a:gd name="T81" fmla="*/ 254 h 1419"/>
                <a:gd name="T82" fmla="*/ 753 w 798"/>
                <a:gd name="T83" fmla="*/ 235 h 1419"/>
                <a:gd name="T84" fmla="*/ 762 w 798"/>
                <a:gd name="T85" fmla="*/ 227 h 1419"/>
                <a:gd name="T86" fmla="*/ 762 w 798"/>
                <a:gd name="T87" fmla="*/ 88 h 1419"/>
                <a:gd name="T88" fmla="*/ 763 w 798"/>
                <a:gd name="T89" fmla="*/ 99 h 1419"/>
                <a:gd name="T90" fmla="*/ 763 w 798"/>
                <a:gd name="T91" fmla="*/ 296 h 1419"/>
                <a:gd name="T92" fmla="*/ 765 w 798"/>
                <a:gd name="T93" fmla="*/ 311 h 1419"/>
                <a:gd name="T94" fmla="*/ 798 w 798"/>
                <a:gd name="T95" fmla="*/ 351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8" h="1419">
                  <a:moveTo>
                    <a:pt x="798" y="351"/>
                  </a:moveTo>
                  <a:cubicBezTo>
                    <a:pt x="752" y="396"/>
                    <a:pt x="707" y="442"/>
                    <a:pt x="661" y="487"/>
                  </a:cubicBezTo>
                  <a:cubicBezTo>
                    <a:pt x="645" y="503"/>
                    <a:pt x="626" y="513"/>
                    <a:pt x="602" y="511"/>
                  </a:cubicBezTo>
                  <a:cubicBezTo>
                    <a:pt x="577" y="508"/>
                    <a:pt x="552" y="487"/>
                    <a:pt x="548" y="462"/>
                  </a:cubicBezTo>
                  <a:cubicBezTo>
                    <a:pt x="547" y="454"/>
                    <a:pt x="546" y="447"/>
                    <a:pt x="546" y="439"/>
                  </a:cubicBezTo>
                  <a:cubicBezTo>
                    <a:pt x="547" y="371"/>
                    <a:pt x="546" y="303"/>
                    <a:pt x="547" y="235"/>
                  </a:cubicBezTo>
                  <a:cubicBezTo>
                    <a:pt x="547" y="226"/>
                    <a:pt x="544" y="224"/>
                    <a:pt x="536" y="224"/>
                  </a:cubicBezTo>
                  <a:cubicBezTo>
                    <a:pt x="515" y="225"/>
                    <a:pt x="515" y="224"/>
                    <a:pt x="515" y="245"/>
                  </a:cubicBezTo>
                  <a:cubicBezTo>
                    <a:pt x="515" y="611"/>
                    <a:pt x="515" y="977"/>
                    <a:pt x="515" y="1343"/>
                  </a:cubicBezTo>
                  <a:cubicBezTo>
                    <a:pt x="515" y="1369"/>
                    <a:pt x="506" y="1391"/>
                    <a:pt x="486" y="1409"/>
                  </a:cubicBezTo>
                  <a:cubicBezTo>
                    <a:pt x="480" y="1414"/>
                    <a:pt x="473" y="1417"/>
                    <a:pt x="464" y="1417"/>
                  </a:cubicBezTo>
                  <a:cubicBezTo>
                    <a:pt x="449" y="1417"/>
                    <a:pt x="433" y="1416"/>
                    <a:pt x="418" y="1417"/>
                  </a:cubicBezTo>
                  <a:cubicBezTo>
                    <a:pt x="397" y="1419"/>
                    <a:pt x="385" y="1408"/>
                    <a:pt x="374" y="1394"/>
                  </a:cubicBezTo>
                  <a:cubicBezTo>
                    <a:pt x="362" y="1378"/>
                    <a:pt x="358" y="1360"/>
                    <a:pt x="358" y="1341"/>
                  </a:cubicBezTo>
                  <a:cubicBezTo>
                    <a:pt x="358" y="1147"/>
                    <a:pt x="358" y="954"/>
                    <a:pt x="358" y="761"/>
                  </a:cubicBezTo>
                  <a:cubicBezTo>
                    <a:pt x="358" y="747"/>
                    <a:pt x="360" y="748"/>
                    <a:pt x="345" y="748"/>
                  </a:cubicBezTo>
                  <a:cubicBezTo>
                    <a:pt x="337" y="748"/>
                    <a:pt x="329" y="749"/>
                    <a:pt x="320" y="748"/>
                  </a:cubicBezTo>
                  <a:cubicBezTo>
                    <a:pt x="316" y="748"/>
                    <a:pt x="313" y="750"/>
                    <a:pt x="314" y="755"/>
                  </a:cubicBezTo>
                  <a:cubicBezTo>
                    <a:pt x="314" y="757"/>
                    <a:pt x="314" y="760"/>
                    <a:pt x="314" y="763"/>
                  </a:cubicBezTo>
                  <a:cubicBezTo>
                    <a:pt x="314" y="957"/>
                    <a:pt x="314" y="1152"/>
                    <a:pt x="314" y="1346"/>
                  </a:cubicBezTo>
                  <a:cubicBezTo>
                    <a:pt x="314" y="1371"/>
                    <a:pt x="304" y="1392"/>
                    <a:pt x="285" y="1409"/>
                  </a:cubicBezTo>
                  <a:cubicBezTo>
                    <a:pt x="278" y="1414"/>
                    <a:pt x="271" y="1417"/>
                    <a:pt x="262" y="1417"/>
                  </a:cubicBezTo>
                  <a:cubicBezTo>
                    <a:pt x="247" y="1417"/>
                    <a:pt x="232" y="1416"/>
                    <a:pt x="217" y="1417"/>
                  </a:cubicBezTo>
                  <a:cubicBezTo>
                    <a:pt x="196" y="1419"/>
                    <a:pt x="183" y="1408"/>
                    <a:pt x="172" y="1393"/>
                  </a:cubicBezTo>
                  <a:cubicBezTo>
                    <a:pt x="161" y="1379"/>
                    <a:pt x="157" y="1361"/>
                    <a:pt x="157" y="1343"/>
                  </a:cubicBezTo>
                  <a:cubicBezTo>
                    <a:pt x="157" y="995"/>
                    <a:pt x="157" y="648"/>
                    <a:pt x="157" y="300"/>
                  </a:cubicBezTo>
                  <a:cubicBezTo>
                    <a:pt x="157" y="278"/>
                    <a:pt x="157" y="256"/>
                    <a:pt x="157" y="234"/>
                  </a:cubicBezTo>
                  <a:cubicBezTo>
                    <a:pt x="157" y="227"/>
                    <a:pt x="156" y="224"/>
                    <a:pt x="149" y="224"/>
                  </a:cubicBezTo>
                  <a:cubicBezTo>
                    <a:pt x="126" y="224"/>
                    <a:pt x="126" y="224"/>
                    <a:pt x="126" y="246"/>
                  </a:cubicBezTo>
                  <a:cubicBezTo>
                    <a:pt x="126" y="376"/>
                    <a:pt x="126" y="506"/>
                    <a:pt x="126" y="635"/>
                  </a:cubicBezTo>
                  <a:cubicBezTo>
                    <a:pt x="126" y="671"/>
                    <a:pt x="98" y="699"/>
                    <a:pt x="63" y="698"/>
                  </a:cubicBezTo>
                  <a:cubicBezTo>
                    <a:pt x="29" y="698"/>
                    <a:pt x="1" y="670"/>
                    <a:pt x="1" y="636"/>
                  </a:cubicBezTo>
                  <a:cubicBezTo>
                    <a:pt x="1" y="491"/>
                    <a:pt x="0" y="346"/>
                    <a:pt x="2" y="201"/>
                  </a:cubicBezTo>
                  <a:cubicBezTo>
                    <a:pt x="3" y="102"/>
                    <a:pt x="74" y="22"/>
                    <a:pt x="166" y="4"/>
                  </a:cubicBezTo>
                  <a:cubicBezTo>
                    <a:pt x="179" y="1"/>
                    <a:pt x="192" y="0"/>
                    <a:pt x="205" y="0"/>
                  </a:cubicBezTo>
                  <a:cubicBezTo>
                    <a:pt x="294" y="0"/>
                    <a:pt x="382" y="0"/>
                    <a:pt x="470" y="0"/>
                  </a:cubicBezTo>
                  <a:cubicBezTo>
                    <a:pt x="565" y="0"/>
                    <a:pt x="651" y="73"/>
                    <a:pt x="668" y="169"/>
                  </a:cubicBezTo>
                  <a:cubicBezTo>
                    <a:pt x="673" y="201"/>
                    <a:pt x="670" y="234"/>
                    <a:pt x="671" y="266"/>
                  </a:cubicBezTo>
                  <a:cubicBezTo>
                    <a:pt x="671" y="273"/>
                    <a:pt x="671" y="280"/>
                    <a:pt x="671" y="286"/>
                  </a:cubicBezTo>
                  <a:cubicBezTo>
                    <a:pt x="675" y="287"/>
                    <a:pt x="676" y="284"/>
                    <a:pt x="677" y="283"/>
                  </a:cubicBezTo>
                  <a:cubicBezTo>
                    <a:pt x="687" y="273"/>
                    <a:pt x="696" y="264"/>
                    <a:pt x="706" y="254"/>
                  </a:cubicBezTo>
                  <a:cubicBezTo>
                    <a:pt x="719" y="241"/>
                    <a:pt x="735" y="235"/>
                    <a:pt x="753" y="235"/>
                  </a:cubicBezTo>
                  <a:cubicBezTo>
                    <a:pt x="760" y="235"/>
                    <a:pt x="762" y="233"/>
                    <a:pt x="762" y="227"/>
                  </a:cubicBezTo>
                  <a:cubicBezTo>
                    <a:pt x="761" y="180"/>
                    <a:pt x="762" y="134"/>
                    <a:pt x="762" y="88"/>
                  </a:cubicBezTo>
                  <a:cubicBezTo>
                    <a:pt x="765" y="92"/>
                    <a:pt x="763" y="96"/>
                    <a:pt x="763" y="99"/>
                  </a:cubicBezTo>
                  <a:cubicBezTo>
                    <a:pt x="763" y="165"/>
                    <a:pt x="763" y="230"/>
                    <a:pt x="763" y="296"/>
                  </a:cubicBezTo>
                  <a:cubicBezTo>
                    <a:pt x="763" y="301"/>
                    <a:pt x="763" y="306"/>
                    <a:pt x="765" y="311"/>
                  </a:cubicBezTo>
                  <a:cubicBezTo>
                    <a:pt x="770" y="330"/>
                    <a:pt x="783" y="341"/>
                    <a:pt x="798" y="3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dirty="0"/>
            </a:p>
          </p:txBody>
        </p:sp>
        <p:sp>
          <p:nvSpPr>
            <p:cNvPr id="175" name="Freeform 30">
              <a:extLst>
                <a:ext uri="{FF2B5EF4-FFF2-40B4-BE49-F238E27FC236}">
                  <a16:creationId xmlns:a16="http://schemas.microsoft.com/office/drawing/2014/main" id="{7B67B93C-79BB-485B-8EE6-F57AA0E60F02}"/>
                </a:ext>
              </a:extLst>
            </p:cNvPr>
            <p:cNvSpPr>
              <a:spLocks/>
            </p:cNvSpPr>
            <p:nvPr/>
          </p:nvSpPr>
          <p:spPr bwMode="auto">
            <a:xfrm>
              <a:off x="3297" y="353"/>
              <a:ext cx="601" cy="598"/>
            </a:xfrm>
            <a:custGeom>
              <a:avLst/>
              <a:gdLst>
                <a:gd name="T0" fmla="*/ 1 w 289"/>
                <a:gd name="T1" fmla="*/ 144 h 288"/>
                <a:gd name="T2" fmla="*/ 145 w 289"/>
                <a:gd name="T3" fmla="*/ 0 h 288"/>
                <a:gd name="T4" fmla="*/ 288 w 289"/>
                <a:gd name="T5" fmla="*/ 145 h 288"/>
                <a:gd name="T6" fmla="*/ 144 w 289"/>
                <a:gd name="T7" fmla="*/ 288 h 288"/>
                <a:gd name="T8" fmla="*/ 1 w 289"/>
                <a:gd name="T9" fmla="*/ 144 h 288"/>
              </a:gdLst>
              <a:ahLst/>
              <a:cxnLst>
                <a:cxn ang="0">
                  <a:pos x="T0" y="T1"/>
                </a:cxn>
                <a:cxn ang="0">
                  <a:pos x="T2" y="T3"/>
                </a:cxn>
                <a:cxn ang="0">
                  <a:pos x="T4" y="T5"/>
                </a:cxn>
                <a:cxn ang="0">
                  <a:pos x="T6" y="T7"/>
                </a:cxn>
                <a:cxn ang="0">
                  <a:pos x="T8" y="T9"/>
                </a:cxn>
              </a:cxnLst>
              <a:rect l="0" t="0" r="r" b="b"/>
              <a:pathLst>
                <a:path w="289" h="288">
                  <a:moveTo>
                    <a:pt x="1" y="144"/>
                  </a:moveTo>
                  <a:cubicBezTo>
                    <a:pt x="1" y="64"/>
                    <a:pt x="65" y="1"/>
                    <a:pt x="145" y="0"/>
                  </a:cubicBezTo>
                  <a:cubicBezTo>
                    <a:pt x="221" y="0"/>
                    <a:pt x="289" y="61"/>
                    <a:pt x="288" y="145"/>
                  </a:cubicBezTo>
                  <a:cubicBezTo>
                    <a:pt x="288" y="225"/>
                    <a:pt x="225" y="288"/>
                    <a:pt x="144" y="288"/>
                  </a:cubicBezTo>
                  <a:cubicBezTo>
                    <a:pt x="63" y="288"/>
                    <a:pt x="0" y="221"/>
                    <a:pt x="1"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dirty="0"/>
            </a:p>
          </p:txBody>
        </p:sp>
        <p:sp>
          <p:nvSpPr>
            <p:cNvPr id="176" name="Freeform 31">
              <a:extLst>
                <a:ext uri="{FF2B5EF4-FFF2-40B4-BE49-F238E27FC236}">
                  <a16:creationId xmlns:a16="http://schemas.microsoft.com/office/drawing/2014/main" id="{8B75103C-2AA5-4CD0-A341-EAA2D5FA10E9}"/>
                </a:ext>
              </a:extLst>
            </p:cNvPr>
            <p:cNvSpPr>
              <a:spLocks noEditPoints="1"/>
            </p:cNvSpPr>
            <p:nvPr/>
          </p:nvSpPr>
          <p:spPr bwMode="auto">
            <a:xfrm>
              <a:off x="4429" y="1146"/>
              <a:ext cx="354" cy="621"/>
            </a:xfrm>
            <a:custGeom>
              <a:avLst/>
              <a:gdLst>
                <a:gd name="T0" fmla="*/ 60 w 170"/>
                <a:gd name="T1" fmla="*/ 292 h 299"/>
                <a:gd name="T2" fmla="*/ 27 w 170"/>
                <a:gd name="T3" fmla="*/ 252 h 299"/>
                <a:gd name="T4" fmla="*/ 25 w 170"/>
                <a:gd name="T5" fmla="*/ 237 h 299"/>
                <a:gd name="T6" fmla="*/ 25 w 170"/>
                <a:gd name="T7" fmla="*/ 40 h 299"/>
                <a:gd name="T8" fmla="*/ 24 w 170"/>
                <a:gd name="T9" fmla="*/ 29 h 299"/>
                <a:gd name="T10" fmla="*/ 14 w 170"/>
                <a:gd name="T11" fmla="*/ 25 h 299"/>
                <a:gd name="T12" fmla="*/ 1 w 170"/>
                <a:gd name="T13" fmla="*/ 13 h 299"/>
                <a:gd name="T14" fmla="*/ 14 w 170"/>
                <a:gd name="T15" fmla="*/ 0 h 299"/>
                <a:gd name="T16" fmla="*/ 157 w 170"/>
                <a:gd name="T17" fmla="*/ 0 h 299"/>
                <a:gd name="T18" fmla="*/ 169 w 170"/>
                <a:gd name="T19" fmla="*/ 12 h 299"/>
                <a:gd name="T20" fmla="*/ 158 w 170"/>
                <a:gd name="T21" fmla="*/ 25 h 299"/>
                <a:gd name="T22" fmla="*/ 146 w 170"/>
                <a:gd name="T23" fmla="*/ 38 h 299"/>
                <a:gd name="T24" fmla="*/ 146 w 170"/>
                <a:gd name="T25" fmla="*/ 235 h 299"/>
                <a:gd name="T26" fmla="*/ 101 w 170"/>
                <a:gd name="T27" fmla="*/ 295 h 299"/>
                <a:gd name="T28" fmla="*/ 60 w 170"/>
                <a:gd name="T29" fmla="*/ 292 h 299"/>
                <a:gd name="T30" fmla="*/ 50 w 170"/>
                <a:gd name="T31" fmla="*/ 92 h 299"/>
                <a:gd name="T32" fmla="*/ 50 w 170"/>
                <a:gd name="T33" fmla="*/ 147 h 299"/>
                <a:gd name="T34" fmla="*/ 66 w 170"/>
                <a:gd name="T35" fmla="*/ 164 h 299"/>
                <a:gd name="T36" fmla="*/ 105 w 170"/>
                <a:gd name="T37" fmla="*/ 164 h 299"/>
                <a:gd name="T38" fmla="*/ 121 w 170"/>
                <a:gd name="T39" fmla="*/ 147 h 299"/>
                <a:gd name="T40" fmla="*/ 121 w 170"/>
                <a:gd name="T41" fmla="*/ 37 h 299"/>
                <a:gd name="T42" fmla="*/ 110 w 170"/>
                <a:gd name="T43" fmla="*/ 25 h 299"/>
                <a:gd name="T44" fmla="*/ 61 w 170"/>
                <a:gd name="T45" fmla="*/ 25 h 299"/>
                <a:gd name="T46" fmla="*/ 50 w 170"/>
                <a:gd name="T47" fmla="*/ 36 h 299"/>
                <a:gd name="T48" fmla="*/ 50 w 170"/>
                <a:gd name="T49" fmla="*/ 92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 h="299">
                  <a:moveTo>
                    <a:pt x="60" y="292"/>
                  </a:moveTo>
                  <a:cubicBezTo>
                    <a:pt x="45" y="282"/>
                    <a:pt x="32" y="271"/>
                    <a:pt x="27" y="252"/>
                  </a:cubicBezTo>
                  <a:cubicBezTo>
                    <a:pt x="25" y="247"/>
                    <a:pt x="25" y="242"/>
                    <a:pt x="25" y="237"/>
                  </a:cubicBezTo>
                  <a:cubicBezTo>
                    <a:pt x="25" y="171"/>
                    <a:pt x="25" y="106"/>
                    <a:pt x="25" y="40"/>
                  </a:cubicBezTo>
                  <a:cubicBezTo>
                    <a:pt x="25" y="37"/>
                    <a:pt x="27" y="33"/>
                    <a:pt x="24" y="29"/>
                  </a:cubicBezTo>
                  <a:cubicBezTo>
                    <a:pt x="21" y="25"/>
                    <a:pt x="18" y="25"/>
                    <a:pt x="14" y="25"/>
                  </a:cubicBezTo>
                  <a:cubicBezTo>
                    <a:pt x="5" y="25"/>
                    <a:pt x="1" y="21"/>
                    <a:pt x="1" y="13"/>
                  </a:cubicBezTo>
                  <a:cubicBezTo>
                    <a:pt x="0" y="6"/>
                    <a:pt x="6" y="0"/>
                    <a:pt x="14" y="0"/>
                  </a:cubicBezTo>
                  <a:cubicBezTo>
                    <a:pt x="62" y="0"/>
                    <a:pt x="110" y="0"/>
                    <a:pt x="157" y="0"/>
                  </a:cubicBezTo>
                  <a:cubicBezTo>
                    <a:pt x="165" y="0"/>
                    <a:pt x="169" y="5"/>
                    <a:pt x="169" y="12"/>
                  </a:cubicBezTo>
                  <a:cubicBezTo>
                    <a:pt x="170" y="20"/>
                    <a:pt x="166" y="25"/>
                    <a:pt x="158" y="25"/>
                  </a:cubicBezTo>
                  <a:cubicBezTo>
                    <a:pt x="148" y="25"/>
                    <a:pt x="146" y="30"/>
                    <a:pt x="146" y="38"/>
                  </a:cubicBezTo>
                  <a:cubicBezTo>
                    <a:pt x="146" y="104"/>
                    <a:pt x="146" y="169"/>
                    <a:pt x="146" y="235"/>
                  </a:cubicBezTo>
                  <a:cubicBezTo>
                    <a:pt x="146" y="264"/>
                    <a:pt x="129" y="287"/>
                    <a:pt x="101" y="295"/>
                  </a:cubicBezTo>
                  <a:cubicBezTo>
                    <a:pt x="87" y="299"/>
                    <a:pt x="73" y="296"/>
                    <a:pt x="60" y="292"/>
                  </a:cubicBezTo>
                  <a:close/>
                  <a:moveTo>
                    <a:pt x="50" y="92"/>
                  </a:moveTo>
                  <a:cubicBezTo>
                    <a:pt x="50" y="110"/>
                    <a:pt x="50" y="129"/>
                    <a:pt x="50" y="147"/>
                  </a:cubicBezTo>
                  <a:cubicBezTo>
                    <a:pt x="50" y="159"/>
                    <a:pt x="54" y="164"/>
                    <a:pt x="66" y="164"/>
                  </a:cubicBezTo>
                  <a:cubicBezTo>
                    <a:pt x="79" y="165"/>
                    <a:pt x="92" y="165"/>
                    <a:pt x="105" y="164"/>
                  </a:cubicBezTo>
                  <a:cubicBezTo>
                    <a:pt x="116" y="164"/>
                    <a:pt x="121" y="158"/>
                    <a:pt x="121" y="147"/>
                  </a:cubicBezTo>
                  <a:cubicBezTo>
                    <a:pt x="121" y="110"/>
                    <a:pt x="121" y="74"/>
                    <a:pt x="121" y="37"/>
                  </a:cubicBezTo>
                  <a:cubicBezTo>
                    <a:pt x="121" y="29"/>
                    <a:pt x="118" y="25"/>
                    <a:pt x="110" y="25"/>
                  </a:cubicBezTo>
                  <a:cubicBezTo>
                    <a:pt x="94" y="26"/>
                    <a:pt x="77" y="26"/>
                    <a:pt x="61" y="25"/>
                  </a:cubicBezTo>
                  <a:cubicBezTo>
                    <a:pt x="53" y="25"/>
                    <a:pt x="50" y="28"/>
                    <a:pt x="50" y="36"/>
                  </a:cubicBezTo>
                  <a:cubicBezTo>
                    <a:pt x="50" y="54"/>
                    <a:pt x="50" y="73"/>
                    <a:pt x="5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dirty="0"/>
            </a:p>
          </p:txBody>
        </p:sp>
      </p:grpSp>
      <p:sp>
        <p:nvSpPr>
          <p:cNvPr id="177" name="Tekstvak 176">
            <a:extLst>
              <a:ext uri="{FF2B5EF4-FFF2-40B4-BE49-F238E27FC236}">
                <a16:creationId xmlns:a16="http://schemas.microsoft.com/office/drawing/2014/main" id="{EF8323BC-8811-4941-8DE5-13C828AD8CE2}"/>
              </a:ext>
            </a:extLst>
          </p:cNvPr>
          <p:cNvSpPr txBox="1"/>
          <p:nvPr/>
        </p:nvSpPr>
        <p:spPr>
          <a:xfrm>
            <a:off x="1985180" y="3757774"/>
            <a:ext cx="1156099" cy="427239"/>
          </a:xfrm>
          <a:prstGeom prst="rect">
            <a:avLst/>
          </a:prstGeom>
          <a:noFill/>
        </p:spPr>
        <p:txBody>
          <a:bodyPr wrap="square" lIns="0" tIns="0" rIns="0" bIns="0" rtlCol="0" anchor="ctr">
            <a:noAutofit/>
          </a:bodyPr>
          <a:lstStyle/>
          <a:p>
            <a:pPr algn="r"/>
            <a:r>
              <a:rPr lang="en-GB" sz="3600" b="1" cap="all" dirty="0">
                <a:solidFill>
                  <a:schemeClr val="bg1"/>
                </a:solidFill>
                <a:latin typeface="+mj-lt"/>
              </a:rPr>
              <a:t>250</a:t>
            </a:r>
          </a:p>
        </p:txBody>
      </p:sp>
      <p:sp>
        <p:nvSpPr>
          <p:cNvPr id="179" name="Tekstvak 178">
            <a:extLst>
              <a:ext uri="{FF2B5EF4-FFF2-40B4-BE49-F238E27FC236}">
                <a16:creationId xmlns:a16="http://schemas.microsoft.com/office/drawing/2014/main" id="{D0AA67FA-AAC9-4D1C-8817-60E8BB1343F3}"/>
              </a:ext>
            </a:extLst>
          </p:cNvPr>
          <p:cNvSpPr txBox="1"/>
          <p:nvPr/>
        </p:nvSpPr>
        <p:spPr>
          <a:xfrm>
            <a:off x="1456891" y="3399185"/>
            <a:ext cx="1658800" cy="299172"/>
          </a:xfrm>
          <a:prstGeom prst="rect">
            <a:avLst/>
          </a:prstGeom>
          <a:noFill/>
        </p:spPr>
        <p:txBody>
          <a:bodyPr wrap="square" lIns="0" tIns="0" rIns="0" bIns="0" rtlCol="0" anchor="t">
            <a:noAutofit/>
          </a:bodyPr>
          <a:lstStyle/>
          <a:p>
            <a:pPr algn="r"/>
            <a:r>
              <a:rPr lang="en-GB" sz="1050" b="1" cap="all" dirty="0">
                <a:solidFill>
                  <a:schemeClr val="tx2">
                    <a:lumMod val="40000"/>
                    <a:lumOff val="60000"/>
                  </a:schemeClr>
                </a:solidFill>
                <a:latin typeface="+mj-lt"/>
              </a:rPr>
              <a:t>UNIT ICT Number of</a:t>
            </a:r>
            <a:br>
              <a:rPr lang="en-GB" sz="1050" b="1" cap="all" dirty="0">
                <a:solidFill>
                  <a:schemeClr val="tx2">
                    <a:lumMod val="40000"/>
                    <a:lumOff val="60000"/>
                  </a:schemeClr>
                </a:solidFill>
                <a:latin typeface="+mj-lt"/>
              </a:rPr>
            </a:br>
            <a:r>
              <a:rPr lang="en-GB" sz="1050" b="1" cap="all" dirty="0">
                <a:solidFill>
                  <a:schemeClr val="tx2">
                    <a:lumMod val="40000"/>
                    <a:lumOff val="60000"/>
                  </a:schemeClr>
                </a:solidFill>
                <a:latin typeface="+mj-lt"/>
              </a:rPr>
              <a:t>researchers</a:t>
            </a:r>
          </a:p>
        </p:txBody>
      </p:sp>
      <p:sp>
        <p:nvSpPr>
          <p:cNvPr id="180" name="Rechthoek 179">
            <a:extLst>
              <a:ext uri="{FF2B5EF4-FFF2-40B4-BE49-F238E27FC236}">
                <a16:creationId xmlns:a16="http://schemas.microsoft.com/office/drawing/2014/main" id="{A9277524-0E1C-4D6D-9223-413C7BCA2A97}"/>
              </a:ext>
            </a:extLst>
          </p:cNvPr>
          <p:cNvSpPr/>
          <p:nvPr/>
        </p:nvSpPr>
        <p:spPr>
          <a:xfrm>
            <a:off x="3392431" y="3266448"/>
            <a:ext cx="2099512" cy="1361028"/>
          </a:xfrm>
          <a:prstGeom prst="rect">
            <a:avLst/>
          </a:prstGeom>
          <a:solidFill>
            <a:schemeClr val="bg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p>
        </p:txBody>
      </p:sp>
      <p:grpSp>
        <p:nvGrpSpPr>
          <p:cNvPr id="183" name="i1">
            <a:extLst>
              <a:ext uri="{FF2B5EF4-FFF2-40B4-BE49-F238E27FC236}">
                <a16:creationId xmlns:a16="http://schemas.microsoft.com/office/drawing/2014/main" id="{7721D7D0-6A37-4F01-B68E-37DA6FBEAD77}"/>
              </a:ext>
            </a:extLst>
          </p:cNvPr>
          <p:cNvGrpSpPr>
            <a:grpSpLocks noChangeAspect="1"/>
          </p:cNvGrpSpPr>
          <p:nvPr/>
        </p:nvGrpSpPr>
        <p:grpSpPr bwMode="auto">
          <a:xfrm flipH="1">
            <a:off x="4428780" y="3995926"/>
            <a:ext cx="816432" cy="540774"/>
            <a:chOff x="3300" y="1802"/>
            <a:chExt cx="1084" cy="718"/>
          </a:xfrm>
          <a:solidFill>
            <a:schemeClr val="bg1">
              <a:alpha val="50000"/>
            </a:schemeClr>
          </a:solidFill>
        </p:grpSpPr>
        <p:sp>
          <p:nvSpPr>
            <p:cNvPr id="184" name="Freeform 5">
              <a:extLst>
                <a:ext uri="{FF2B5EF4-FFF2-40B4-BE49-F238E27FC236}">
                  <a16:creationId xmlns:a16="http://schemas.microsoft.com/office/drawing/2014/main" id="{37ED27C5-A472-4B52-9F32-32116C1D368D}"/>
                </a:ext>
              </a:extLst>
            </p:cNvPr>
            <p:cNvSpPr>
              <a:spLocks/>
            </p:cNvSpPr>
            <p:nvPr/>
          </p:nvSpPr>
          <p:spPr bwMode="auto">
            <a:xfrm>
              <a:off x="3300" y="1802"/>
              <a:ext cx="1084" cy="718"/>
            </a:xfrm>
            <a:custGeom>
              <a:avLst/>
              <a:gdLst>
                <a:gd name="T0" fmla="*/ 44 w 519"/>
                <a:gd name="T1" fmla="*/ 187 h 344"/>
                <a:gd name="T2" fmla="*/ 51 w 519"/>
                <a:gd name="T3" fmla="*/ 172 h 344"/>
                <a:gd name="T4" fmla="*/ 52 w 519"/>
                <a:gd name="T5" fmla="*/ 166 h 344"/>
                <a:gd name="T6" fmla="*/ 71 w 519"/>
                <a:gd name="T7" fmla="*/ 115 h 344"/>
                <a:gd name="T8" fmla="*/ 19 w 519"/>
                <a:gd name="T9" fmla="*/ 98 h 344"/>
                <a:gd name="T10" fmla="*/ 10 w 519"/>
                <a:gd name="T11" fmla="*/ 85 h 344"/>
                <a:gd name="T12" fmla="*/ 74 w 519"/>
                <a:gd name="T13" fmla="*/ 60 h 344"/>
                <a:gd name="T14" fmla="*/ 208 w 519"/>
                <a:gd name="T15" fmla="*/ 16 h 344"/>
                <a:gd name="T16" fmla="*/ 269 w 519"/>
                <a:gd name="T17" fmla="*/ 0 h 344"/>
                <a:gd name="T18" fmla="*/ 327 w 519"/>
                <a:gd name="T19" fmla="*/ 18 h 344"/>
                <a:gd name="T20" fmla="*/ 395 w 519"/>
                <a:gd name="T21" fmla="*/ 40 h 344"/>
                <a:gd name="T22" fmla="*/ 472 w 519"/>
                <a:gd name="T23" fmla="*/ 65 h 344"/>
                <a:gd name="T24" fmla="*/ 518 w 519"/>
                <a:gd name="T25" fmla="*/ 85 h 344"/>
                <a:gd name="T26" fmla="*/ 511 w 519"/>
                <a:gd name="T27" fmla="*/ 97 h 344"/>
                <a:gd name="T28" fmla="*/ 347 w 519"/>
                <a:gd name="T29" fmla="*/ 150 h 344"/>
                <a:gd name="T30" fmla="*/ 253 w 519"/>
                <a:gd name="T31" fmla="*/ 174 h 344"/>
                <a:gd name="T32" fmla="*/ 133 w 519"/>
                <a:gd name="T33" fmla="*/ 135 h 344"/>
                <a:gd name="T34" fmla="*/ 139 w 519"/>
                <a:gd name="T35" fmla="*/ 128 h 344"/>
                <a:gd name="T36" fmla="*/ 264 w 519"/>
                <a:gd name="T37" fmla="*/ 82 h 344"/>
                <a:gd name="T38" fmla="*/ 276 w 519"/>
                <a:gd name="T39" fmla="*/ 67 h 344"/>
                <a:gd name="T40" fmla="*/ 258 w 519"/>
                <a:gd name="T41" fmla="*/ 60 h 344"/>
                <a:gd name="T42" fmla="*/ 118 w 519"/>
                <a:gd name="T43" fmla="*/ 113 h 344"/>
                <a:gd name="T44" fmla="*/ 75 w 519"/>
                <a:gd name="T45" fmla="*/ 176 h 344"/>
                <a:gd name="T46" fmla="*/ 80 w 519"/>
                <a:gd name="T47" fmla="*/ 223 h 344"/>
                <a:gd name="T48" fmla="*/ 77 w 519"/>
                <a:gd name="T49" fmla="*/ 232 h 344"/>
                <a:gd name="T50" fmla="*/ 77 w 519"/>
                <a:gd name="T51" fmla="*/ 238 h 344"/>
                <a:gd name="T52" fmla="*/ 78 w 519"/>
                <a:gd name="T53" fmla="*/ 244 h 344"/>
                <a:gd name="T54" fmla="*/ 79 w 519"/>
                <a:gd name="T55" fmla="*/ 251 h 344"/>
                <a:gd name="T56" fmla="*/ 80 w 519"/>
                <a:gd name="T57" fmla="*/ 259 h 344"/>
                <a:gd name="T58" fmla="*/ 80 w 519"/>
                <a:gd name="T59" fmla="*/ 289 h 344"/>
                <a:gd name="T60" fmla="*/ 79 w 519"/>
                <a:gd name="T61" fmla="*/ 296 h 344"/>
                <a:gd name="T62" fmla="*/ 44 w 519"/>
                <a:gd name="T63" fmla="*/ 343 h 344"/>
                <a:gd name="T64" fmla="*/ 36 w 519"/>
                <a:gd name="T65" fmla="*/ 343 h 344"/>
                <a:gd name="T66" fmla="*/ 2 w 519"/>
                <a:gd name="T67" fmla="*/ 322 h 344"/>
                <a:gd name="T68" fmla="*/ 48 w 519"/>
                <a:gd name="T69" fmla="*/ 240 h 344"/>
                <a:gd name="T70" fmla="*/ 49 w 519"/>
                <a:gd name="T71" fmla="*/ 235 h 344"/>
                <a:gd name="T72" fmla="*/ 35 w 519"/>
                <a:gd name="T73" fmla="*/ 21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9" h="344">
                  <a:moveTo>
                    <a:pt x="35" y="202"/>
                  </a:moveTo>
                  <a:cubicBezTo>
                    <a:pt x="36" y="195"/>
                    <a:pt x="39" y="190"/>
                    <a:pt x="44" y="187"/>
                  </a:cubicBezTo>
                  <a:cubicBezTo>
                    <a:pt x="47" y="184"/>
                    <a:pt x="50" y="182"/>
                    <a:pt x="50" y="177"/>
                  </a:cubicBezTo>
                  <a:cubicBezTo>
                    <a:pt x="51" y="175"/>
                    <a:pt x="50" y="173"/>
                    <a:pt x="51" y="172"/>
                  </a:cubicBezTo>
                  <a:cubicBezTo>
                    <a:pt x="51" y="171"/>
                    <a:pt x="51" y="171"/>
                    <a:pt x="51" y="170"/>
                  </a:cubicBezTo>
                  <a:cubicBezTo>
                    <a:pt x="52" y="169"/>
                    <a:pt x="51" y="168"/>
                    <a:pt x="52" y="166"/>
                  </a:cubicBezTo>
                  <a:cubicBezTo>
                    <a:pt x="53" y="151"/>
                    <a:pt x="58" y="136"/>
                    <a:pt x="66" y="123"/>
                  </a:cubicBezTo>
                  <a:cubicBezTo>
                    <a:pt x="68" y="121"/>
                    <a:pt x="72" y="118"/>
                    <a:pt x="71" y="115"/>
                  </a:cubicBezTo>
                  <a:cubicBezTo>
                    <a:pt x="70" y="113"/>
                    <a:pt x="66" y="113"/>
                    <a:pt x="63" y="112"/>
                  </a:cubicBezTo>
                  <a:cubicBezTo>
                    <a:pt x="48" y="107"/>
                    <a:pt x="33" y="103"/>
                    <a:pt x="19" y="98"/>
                  </a:cubicBezTo>
                  <a:cubicBezTo>
                    <a:pt x="15" y="97"/>
                    <a:pt x="12" y="95"/>
                    <a:pt x="10" y="91"/>
                  </a:cubicBezTo>
                  <a:cubicBezTo>
                    <a:pt x="10" y="89"/>
                    <a:pt x="10" y="87"/>
                    <a:pt x="10" y="85"/>
                  </a:cubicBezTo>
                  <a:cubicBezTo>
                    <a:pt x="11" y="81"/>
                    <a:pt x="13" y="80"/>
                    <a:pt x="16" y="79"/>
                  </a:cubicBezTo>
                  <a:cubicBezTo>
                    <a:pt x="35" y="72"/>
                    <a:pt x="55" y="66"/>
                    <a:pt x="74" y="60"/>
                  </a:cubicBezTo>
                  <a:cubicBezTo>
                    <a:pt x="89" y="55"/>
                    <a:pt x="103" y="50"/>
                    <a:pt x="117" y="45"/>
                  </a:cubicBezTo>
                  <a:cubicBezTo>
                    <a:pt x="148" y="36"/>
                    <a:pt x="178" y="26"/>
                    <a:pt x="208" y="16"/>
                  </a:cubicBezTo>
                  <a:cubicBezTo>
                    <a:pt x="225" y="11"/>
                    <a:pt x="242" y="5"/>
                    <a:pt x="260" y="0"/>
                  </a:cubicBezTo>
                  <a:cubicBezTo>
                    <a:pt x="263" y="0"/>
                    <a:pt x="266" y="0"/>
                    <a:pt x="269" y="0"/>
                  </a:cubicBezTo>
                  <a:cubicBezTo>
                    <a:pt x="278" y="3"/>
                    <a:pt x="286" y="6"/>
                    <a:pt x="295" y="8"/>
                  </a:cubicBezTo>
                  <a:cubicBezTo>
                    <a:pt x="306" y="12"/>
                    <a:pt x="316" y="15"/>
                    <a:pt x="327" y="18"/>
                  </a:cubicBezTo>
                  <a:cubicBezTo>
                    <a:pt x="338" y="22"/>
                    <a:pt x="348" y="26"/>
                    <a:pt x="359" y="29"/>
                  </a:cubicBezTo>
                  <a:cubicBezTo>
                    <a:pt x="371" y="32"/>
                    <a:pt x="383" y="37"/>
                    <a:pt x="395" y="40"/>
                  </a:cubicBezTo>
                  <a:cubicBezTo>
                    <a:pt x="408" y="44"/>
                    <a:pt x="420" y="49"/>
                    <a:pt x="433" y="53"/>
                  </a:cubicBezTo>
                  <a:cubicBezTo>
                    <a:pt x="446" y="57"/>
                    <a:pt x="459" y="61"/>
                    <a:pt x="472" y="65"/>
                  </a:cubicBezTo>
                  <a:cubicBezTo>
                    <a:pt x="485" y="70"/>
                    <a:pt x="499" y="74"/>
                    <a:pt x="512" y="78"/>
                  </a:cubicBezTo>
                  <a:cubicBezTo>
                    <a:pt x="515" y="79"/>
                    <a:pt x="518" y="81"/>
                    <a:pt x="518" y="85"/>
                  </a:cubicBezTo>
                  <a:cubicBezTo>
                    <a:pt x="519" y="87"/>
                    <a:pt x="519" y="89"/>
                    <a:pt x="518" y="90"/>
                  </a:cubicBezTo>
                  <a:cubicBezTo>
                    <a:pt x="517" y="94"/>
                    <a:pt x="515" y="96"/>
                    <a:pt x="511" y="97"/>
                  </a:cubicBezTo>
                  <a:cubicBezTo>
                    <a:pt x="486" y="105"/>
                    <a:pt x="460" y="114"/>
                    <a:pt x="434" y="122"/>
                  </a:cubicBezTo>
                  <a:cubicBezTo>
                    <a:pt x="405" y="132"/>
                    <a:pt x="376" y="141"/>
                    <a:pt x="347" y="150"/>
                  </a:cubicBezTo>
                  <a:cubicBezTo>
                    <a:pt x="323" y="158"/>
                    <a:pt x="298" y="166"/>
                    <a:pt x="274" y="174"/>
                  </a:cubicBezTo>
                  <a:cubicBezTo>
                    <a:pt x="267" y="176"/>
                    <a:pt x="260" y="176"/>
                    <a:pt x="253" y="174"/>
                  </a:cubicBezTo>
                  <a:cubicBezTo>
                    <a:pt x="227" y="165"/>
                    <a:pt x="201" y="157"/>
                    <a:pt x="176" y="148"/>
                  </a:cubicBezTo>
                  <a:cubicBezTo>
                    <a:pt x="161" y="144"/>
                    <a:pt x="147" y="139"/>
                    <a:pt x="133" y="135"/>
                  </a:cubicBezTo>
                  <a:cubicBezTo>
                    <a:pt x="132" y="134"/>
                    <a:pt x="130" y="134"/>
                    <a:pt x="129" y="133"/>
                  </a:cubicBezTo>
                  <a:cubicBezTo>
                    <a:pt x="133" y="131"/>
                    <a:pt x="136" y="130"/>
                    <a:pt x="139" y="128"/>
                  </a:cubicBezTo>
                  <a:cubicBezTo>
                    <a:pt x="166" y="118"/>
                    <a:pt x="193" y="108"/>
                    <a:pt x="220" y="98"/>
                  </a:cubicBezTo>
                  <a:cubicBezTo>
                    <a:pt x="235" y="93"/>
                    <a:pt x="250" y="87"/>
                    <a:pt x="264" y="82"/>
                  </a:cubicBezTo>
                  <a:cubicBezTo>
                    <a:pt x="269" y="80"/>
                    <a:pt x="274" y="77"/>
                    <a:pt x="276" y="72"/>
                  </a:cubicBezTo>
                  <a:cubicBezTo>
                    <a:pt x="276" y="70"/>
                    <a:pt x="276" y="69"/>
                    <a:pt x="276" y="67"/>
                  </a:cubicBezTo>
                  <a:cubicBezTo>
                    <a:pt x="274" y="63"/>
                    <a:pt x="271" y="60"/>
                    <a:pt x="267" y="58"/>
                  </a:cubicBezTo>
                  <a:cubicBezTo>
                    <a:pt x="263" y="58"/>
                    <a:pt x="261" y="59"/>
                    <a:pt x="258" y="60"/>
                  </a:cubicBezTo>
                  <a:cubicBezTo>
                    <a:pt x="233" y="67"/>
                    <a:pt x="209" y="77"/>
                    <a:pt x="185" y="86"/>
                  </a:cubicBezTo>
                  <a:cubicBezTo>
                    <a:pt x="162" y="95"/>
                    <a:pt x="140" y="104"/>
                    <a:pt x="118" y="113"/>
                  </a:cubicBezTo>
                  <a:cubicBezTo>
                    <a:pt x="99" y="120"/>
                    <a:pt x="86" y="133"/>
                    <a:pt x="80" y="152"/>
                  </a:cubicBezTo>
                  <a:cubicBezTo>
                    <a:pt x="77" y="160"/>
                    <a:pt x="76" y="168"/>
                    <a:pt x="75" y="176"/>
                  </a:cubicBezTo>
                  <a:cubicBezTo>
                    <a:pt x="74" y="181"/>
                    <a:pt x="76" y="186"/>
                    <a:pt x="79" y="189"/>
                  </a:cubicBezTo>
                  <a:cubicBezTo>
                    <a:pt x="90" y="197"/>
                    <a:pt x="88" y="214"/>
                    <a:pt x="80" y="223"/>
                  </a:cubicBezTo>
                  <a:cubicBezTo>
                    <a:pt x="79" y="224"/>
                    <a:pt x="78" y="226"/>
                    <a:pt x="77" y="228"/>
                  </a:cubicBezTo>
                  <a:cubicBezTo>
                    <a:pt x="76" y="229"/>
                    <a:pt x="76" y="231"/>
                    <a:pt x="77" y="232"/>
                  </a:cubicBezTo>
                  <a:cubicBezTo>
                    <a:pt x="77" y="232"/>
                    <a:pt x="77" y="233"/>
                    <a:pt x="77" y="233"/>
                  </a:cubicBezTo>
                  <a:cubicBezTo>
                    <a:pt x="78" y="235"/>
                    <a:pt x="77" y="237"/>
                    <a:pt x="77" y="238"/>
                  </a:cubicBezTo>
                  <a:cubicBezTo>
                    <a:pt x="78" y="239"/>
                    <a:pt x="78" y="239"/>
                    <a:pt x="78" y="240"/>
                  </a:cubicBezTo>
                  <a:cubicBezTo>
                    <a:pt x="78" y="241"/>
                    <a:pt x="77" y="243"/>
                    <a:pt x="78" y="244"/>
                  </a:cubicBezTo>
                  <a:cubicBezTo>
                    <a:pt x="78" y="245"/>
                    <a:pt x="78" y="245"/>
                    <a:pt x="78" y="246"/>
                  </a:cubicBezTo>
                  <a:cubicBezTo>
                    <a:pt x="79" y="247"/>
                    <a:pt x="78" y="249"/>
                    <a:pt x="79" y="251"/>
                  </a:cubicBezTo>
                  <a:cubicBezTo>
                    <a:pt x="79" y="252"/>
                    <a:pt x="79" y="252"/>
                    <a:pt x="79" y="253"/>
                  </a:cubicBezTo>
                  <a:cubicBezTo>
                    <a:pt x="80" y="255"/>
                    <a:pt x="79" y="257"/>
                    <a:pt x="80" y="259"/>
                  </a:cubicBezTo>
                  <a:cubicBezTo>
                    <a:pt x="80" y="260"/>
                    <a:pt x="80" y="261"/>
                    <a:pt x="80" y="262"/>
                  </a:cubicBezTo>
                  <a:cubicBezTo>
                    <a:pt x="80" y="271"/>
                    <a:pt x="80" y="280"/>
                    <a:pt x="80" y="289"/>
                  </a:cubicBezTo>
                  <a:cubicBezTo>
                    <a:pt x="80" y="290"/>
                    <a:pt x="80" y="291"/>
                    <a:pt x="80" y="291"/>
                  </a:cubicBezTo>
                  <a:cubicBezTo>
                    <a:pt x="79" y="293"/>
                    <a:pt x="80" y="295"/>
                    <a:pt x="79" y="296"/>
                  </a:cubicBezTo>
                  <a:cubicBezTo>
                    <a:pt x="77" y="315"/>
                    <a:pt x="68" y="330"/>
                    <a:pt x="51" y="341"/>
                  </a:cubicBezTo>
                  <a:cubicBezTo>
                    <a:pt x="49" y="342"/>
                    <a:pt x="47" y="343"/>
                    <a:pt x="44" y="343"/>
                  </a:cubicBezTo>
                  <a:cubicBezTo>
                    <a:pt x="41" y="344"/>
                    <a:pt x="39" y="344"/>
                    <a:pt x="36" y="343"/>
                  </a:cubicBezTo>
                  <a:cubicBezTo>
                    <a:pt x="36" y="343"/>
                    <a:pt x="36" y="343"/>
                    <a:pt x="36" y="343"/>
                  </a:cubicBezTo>
                  <a:cubicBezTo>
                    <a:pt x="24" y="338"/>
                    <a:pt x="13" y="333"/>
                    <a:pt x="2" y="326"/>
                  </a:cubicBezTo>
                  <a:cubicBezTo>
                    <a:pt x="0" y="325"/>
                    <a:pt x="0" y="323"/>
                    <a:pt x="2" y="322"/>
                  </a:cubicBezTo>
                  <a:cubicBezTo>
                    <a:pt x="12" y="312"/>
                    <a:pt x="22" y="302"/>
                    <a:pt x="29" y="290"/>
                  </a:cubicBezTo>
                  <a:cubicBezTo>
                    <a:pt x="38" y="274"/>
                    <a:pt x="45" y="258"/>
                    <a:pt x="48" y="240"/>
                  </a:cubicBezTo>
                  <a:cubicBezTo>
                    <a:pt x="48" y="240"/>
                    <a:pt x="48" y="239"/>
                    <a:pt x="49" y="239"/>
                  </a:cubicBezTo>
                  <a:cubicBezTo>
                    <a:pt x="49" y="238"/>
                    <a:pt x="49" y="236"/>
                    <a:pt x="49" y="235"/>
                  </a:cubicBezTo>
                  <a:cubicBezTo>
                    <a:pt x="50" y="231"/>
                    <a:pt x="48" y="228"/>
                    <a:pt x="45" y="226"/>
                  </a:cubicBezTo>
                  <a:cubicBezTo>
                    <a:pt x="39" y="222"/>
                    <a:pt x="36" y="217"/>
                    <a:pt x="35" y="211"/>
                  </a:cubicBezTo>
                  <a:cubicBezTo>
                    <a:pt x="34" y="208"/>
                    <a:pt x="34" y="205"/>
                    <a:pt x="3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dirty="0"/>
            </a:p>
          </p:txBody>
        </p:sp>
        <p:sp>
          <p:nvSpPr>
            <p:cNvPr id="185" name="Freeform 6">
              <a:extLst>
                <a:ext uri="{FF2B5EF4-FFF2-40B4-BE49-F238E27FC236}">
                  <a16:creationId xmlns:a16="http://schemas.microsoft.com/office/drawing/2014/main" id="{2B209ED2-A3E0-46C5-AB23-6F4D8907D9CF}"/>
                </a:ext>
              </a:extLst>
            </p:cNvPr>
            <p:cNvSpPr>
              <a:spLocks/>
            </p:cNvSpPr>
            <p:nvPr/>
          </p:nvSpPr>
          <p:spPr bwMode="auto">
            <a:xfrm>
              <a:off x="3513" y="2119"/>
              <a:ext cx="681" cy="276"/>
            </a:xfrm>
            <a:custGeom>
              <a:avLst/>
              <a:gdLst>
                <a:gd name="T0" fmla="*/ 221 w 326"/>
                <a:gd name="T1" fmla="*/ 128 h 132"/>
                <a:gd name="T2" fmla="*/ 220 w 326"/>
                <a:gd name="T3" fmla="*/ 128 h 132"/>
                <a:gd name="T4" fmla="*/ 216 w 326"/>
                <a:gd name="T5" fmla="*/ 129 h 132"/>
                <a:gd name="T6" fmla="*/ 214 w 326"/>
                <a:gd name="T7" fmla="*/ 129 h 132"/>
                <a:gd name="T8" fmla="*/ 210 w 326"/>
                <a:gd name="T9" fmla="*/ 129 h 132"/>
                <a:gd name="T10" fmla="*/ 208 w 326"/>
                <a:gd name="T11" fmla="*/ 130 h 132"/>
                <a:gd name="T12" fmla="*/ 203 w 326"/>
                <a:gd name="T13" fmla="*/ 130 h 132"/>
                <a:gd name="T14" fmla="*/ 201 w 326"/>
                <a:gd name="T15" fmla="*/ 130 h 132"/>
                <a:gd name="T16" fmla="*/ 194 w 326"/>
                <a:gd name="T17" fmla="*/ 131 h 132"/>
                <a:gd name="T18" fmla="*/ 192 w 326"/>
                <a:gd name="T19" fmla="*/ 131 h 132"/>
                <a:gd name="T20" fmla="*/ 182 w 326"/>
                <a:gd name="T21" fmla="*/ 132 h 132"/>
                <a:gd name="T22" fmla="*/ 146 w 326"/>
                <a:gd name="T23" fmla="*/ 132 h 132"/>
                <a:gd name="T24" fmla="*/ 136 w 326"/>
                <a:gd name="T25" fmla="*/ 131 h 132"/>
                <a:gd name="T26" fmla="*/ 133 w 326"/>
                <a:gd name="T27" fmla="*/ 131 h 132"/>
                <a:gd name="T28" fmla="*/ 126 w 326"/>
                <a:gd name="T29" fmla="*/ 130 h 132"/>
                <a:gd name="T30" fmla="*/ 123 w 326"/>
                <a:gd name="T31" fmla="*/ 130 h 132"/>
                <a:gd name="T32" fmla="*/ 118 w 326"/>
                <a:gd name="T33" fmla="*/ 130 h 132"/>
                <a:gd name="T34" fmla="*/ 116 w 326"/>
                <a:gd name="T35" fmla="*/ 129 h 132"/>
                <a:gd name="T36" fmla="*/ 111 w 326"/>
                <a:gd name="T37" fmla="*/ 129 h 132"/>
                <a:gd name="T38" fmla="*/ 104 w 326"/>
                <a:gd name="T39" fmla="*/ 128 h 132"/>
                <a:gd name="T40" fmla="*/ 101 w 326"/>
                <a:gd name="T41" fmla="*/ 127 h 132"/>
                <a:gd name="T42" fmla="*/ 73 w 326"/>
                <a:gd name="T43" fmla="*/ 122 h 132"/>
                <a:gd name="T44" fmla="*/ 24 w 326"/>
                <a:gd name="T45" fmla="*/ 103 h 132"/>
                <a:gd name="T46" fmla="*/ 11 w 326"/>
                <a:gd name="T47" fmla="*/ 93 h 132"/>
                <a:gd name="T48" fmla="*/ 10 w 326"/>
                <a:gd name="T49" fmla="*/ 87 h 132"/>
                <a:gd name="T50" fmla="*/ 19 w 326"/>
                <a:gd name="T51" fmla="*/ 68 h 132"/>
                <a:gd name="T52" fmla="*/ 19 w 326"/>
                <a:gd name="T53" fmla="*/ 58 h 132"/>
                <a:gd name="T54" fmla="*/ 4 w 326"/>
                <a:gd name="T55" fmla="*/ 32 h 132"/>
                <a:gd name="T56" fmla="*/ 1 w 326"/>
                <a:gd name="T57" fmla="*/ 28 h 132"/>
                <a:gd name="T58" fmla="*/ 1 w 326"/>
                <a:gd name="T59" fmla="*/ 22 h 132"/>
                <a:gd name="T60" fmla="*/ 1 w 326"/>
                <a:gd name="T61" fmla="*/ 21 h 132"/>
                <a:gd name="T62" fmla="*/ 1 w 326"/>
                <a:gd name="T63" fmla="*/ 17 h 132"/>
                <a:gd name="T64" fmla="*/ 2 w 326"/>
                <a:gd name="T65" fmla="*/ 15 h 132"/>
                <a:gd name="T66" fmla="*/ 2 w 326"/>
                <a:gd name="T67" fmla="*/ 11 h 132"/>
                <a:gd name="T68" fmla="*/ 2 w 326"/>
                <a:gd name="T69" fmla="*/ 10 h 132"/>
                <a:gd name="T70" fmla="*/ 11 w 326"/>
                <a:gd name="T71" fmla="*/ 3 h 132"/>
                <a:gd name="T72" fmla="*/ 43 w 326"/>
                <a:gd name="T73" fmla="*/ 13 h 132"/>
                <a:gd name="T74" fmla="*/ 81 w 326"/>
                <a:gd name="T75" fmla="*/ 26 h 132"/>
                <a:gd name="T76" fmla="*/ 119 w 326"/>
                <a:gd name="T77" fmla="*/ 38 h 132"/>
                <a:gd name="T78" fmla="*/ 153 w 326"/>
                <a:gd name="T79" fmla="*/ 49 h 132"/>
                <a:gd name="T80" fmla="*/ 171 w 326"/>
                <a:gd name="T81" fmla="*/ 49 h 132"/>
                <a:gd name="T82" fmla="*/ 272 w 326"/>
                <a:gd name="T83" fmla="*/ 17 h 132"/>
                <a:gd name="T84" fmla="*/ 323 w 326"/>
                <a:gd name="T85" fmla="*/ 0 h 132"/>
                <a:gd name="T86" fmla="*/ 325 w 326"/>
                <a:gd name="T87" fmla="*/ 0 h 132"/>
                <a:gd name="T88" fmla="*/ 325 w 326"/>
                <a:gd name="T89" fmla="*/ 4 h 132"/>
                <a:gd name="T90" fmla="*/ 325 w 326"/>
                <a:gd name="T91" fmla="*/ 52 h 132"/>
                <a:gd name="T92" fmla="*/ 325 w 326"/>
                <a:gd name="T93" fmla="*/ 56 h 132"/>
                <a:gd name="T94" fmla="*/ 325 w 326"/>
                <a:gd name="T95" fmla="*/ 69 h 132"/>
                <a:gd name="T96" fmla="*/ 325 w 326"/>
                <a:gd name="T97" fmla="*/ 72 h 132"/>
                <a:gd name="T98" fmla="*/ 295 w 326"/>
                <a:gd name="T99" fmla="*/ 106 h 132"/>
                <a:gd name="T100" fmla="*/ 246 w 326"/>
                <a:gd name="T101" fmla="*/ 123 h 132"/>
                <a:gd name="T102" fmla="*/ 225 w 326"/>
                <a:gd name="T103" fmla="*/ 127 h 132"/>
                <a:gd name="T104" fmla="*/ 221 w 326"/>
                <a:gd name="T105" fmla="*/ 1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6" h="132">
                  <a:moveTo>
                    <a:pt x="221" y="128"/>
                  </a:moveTo>
                  <a:cubicBezTo>
                    <a:pt x="221" y="128"/>
                    <a:pt x="220" y="128"/>
                    <a:pt x="220" y="128"/>
                  </a:cubicBezTo>
                  <a:cubicBezTo>
                    <a:pt x="218" y="129"/>
                    <a:pt x="217" y="128"/>
                    <a:pt x="216" y="129"/>
                  </a:cubicBezTo>
                  <a:cubicBezTo>
                    <a:pt x="215" y="129"/>
                    <a:pt x="215" y="129"/>
                    <a:pt x="214" y="129"/>
                  </a:cubicBezTo>
                  <a:cubicBezTo>
                    <a:pt x="213" y="130"/>
                    <a:pt x="211" y="129"/>
                    <a:pt x="210" y="129"/>
                  </a:cubicBezTo>
                  <a:cubicBezTo>
                    <a:pt x="209" y="129"/>
                    <a:pt x="209" y="130"/>
                    <a:pt x="208" y="130"/>
                  </a:cubicBezTo>
                  <a:cubicBezTo>
                    <a:pt x="207" y="130"/>
                    <a:pt x="205" y="129"/>
                    <a:pt x="203" y="130"/>
                  </a:cubicBezTo>
                  <a:cubicBezTo>
                    <a:pt x="202" y="130"/>
                    <a:pt x="202" y="130"/>
                    <a:pt x="201" y="130"/>
                  </a:cubicBezTo>
                  <a:cubicBezTo>
                    <a:pt x="199" y="131"/>
                    <a:pt x="197" y="130"/>
                    <a:pt x="194" y="131"/>
                  </a:cubicBezTo>
                  <a:cubicBezTo>
                    <a:pt x="194" y="131"/>
                    <a:pt x="193" y="131"/>
                    <a:pt x="192" y="131"/>
                  </a:cubicBezTo>
                  <a:cubicBezTo>
                    <a:pt x="188" y="132"/>
                    <a:pt x="185" y="131"/>
                    <a:pt x="182" y="132"/>
                  </a:cubicBezTo>
                  <a:cubicBezTo>
                    <a:pt x="170" y="132"/>
                    <a:pt x="158" y="132"/>
                    <a:pt x="146" y="132"/>
                  </a:cubicBezTo>
                  <a:cubicBezTo>
                    <a:pt x="143" y="131"/>
                    <a:pt x="139" y="132"/>
                    <a:pt x="136" y="131"/>
                  </a:cubicBezTo>
                  <a:cubicBezTo>
                    <a:pt x="135" y="131"/>
                    <a:pt x="134" y="131"/>
                    <a:pt x="133" y="131"/>
                  </a:cubicBezTo>
                  <a:cubicBezTo>
                    <a:pt x="130" y="130"/>
                    <a:pt x="128" y="131"/>
                    <a:pt x="126" y="130"/>
                  </a:cubicBezTo>
                  <a:cubicBezTo>
                    <a:pt x="125" y="130"/>
                    <a:pt x="124" y="130"/>
                    <a:pt x="123" y="130"/>
                  </a:cubicBezTo>
                  <a:cubicBezTo>
                    <a:pt x="122" y="129"/>
                    <a:pt x="120" y="130"/>
                    <a:pt x="118" y="130"/>
                  </a:cubicBezTo>
                  <a:cubicBezTo>
                    <a:pt x="117" y="130"/>
                    <a:pt x="117" y="130"/>
                    <a:pt x="116" y="129"/>
                  </a:cubicBezTo>
                  <a:cubicBezTo>
                    <a:pt x="114" y="129"/>
                    <a:pt x="113" y="130"/>
                    <a:pt x="111" y="129"/>
                  </a:cubicBezTo>
                  <a:cubicBezTo>
                    <a:pt x="109" y="129"/>
                    <a:pt x="107" y="128"/>
                    <a:pt x="104" y="128"/>
                  </a:cubicBezTo>
                  <a:cubicBezTo>
                    <a:pt x="103" y="127"/>
                    <a:pt x="102" y="128"/>
                    <a:pt x="101" y="127"/>
                  </a:cubicBezTo>
                  <a:cubicBezTo>
                    <a:pt x="91" y="127"/>
                    <a:pt x="82" y="124"/>
                    <a:pt x="73" y="122"/>
                  </a:cubicBezTo>
                  <a:cubicBezTo>
                    <a:pt x="56" y="117"/>
                    <a:pt x="39" y="112"/>
                    <a:pt x="24" y="103"/>
                  </a:cubicBezTo>
                  <a:cubicBezTo>
                    <a:pt x="19" y="100"/>
                    <a:pt x="15" y="96"/>
                    <a:pt x="11" y="93"/>
                  </a:cubicBezTo>
                  <a:cubicBezTo>
                    <a:pt x="9" y="91"/>
                    <a:pt x="9" y="90"/>
                    <a:pt x="10" y="87"/>
                  </a:cubicBezTo>
                  <a:cubicBezTo>
                    <a:pt x="14" y="81"/>
                    <a:pt x="18" y="75"/>
                    <a:pt x="19" y="68"/>
                  </a:cubicBezTo>
                  <a:cubicBezTo>
                    <a:pt x="20" y="64"/>
                    <a:pt x="20" y="61"/>
                    <a:pt x="19" y="58"/>
                  </a:cubicBezTo>
                  <a:cubicBezTo>
                    <a:pt x="17" y="47"/>
                    <a:pt x="13" y="38"/>
                    <a:pt x="4" y="32"/>
                  </a:cubicBezTo>
                  <a:cubicBezTo>
                    <a:pt x="2" y="31"/>
                    <a:pt x="1" y="30"/>
                    <a:pt x="1" y="28"/>
                  </a:cubicBezTo>
                  <a:cubicBezTo>
                    <a:pt x="0" y="26"/>
                    <a:pt x="0" y="24"/>
                    <a:pt x="1" y="22"/>
                  </a:cubicBezTo>
                  <a:cubicBezTo>
                    <a:pt x="1" y="22"/>
                    <a:pt x="1" y="21"/>
                    <a:pt x="1" y="21"/>
                  </a:cubicBezTo>
                  <a:cubicBezTo>
                    <a:pt x="2" y="20"/>
                    <a:pt x="1" y="18"/>
                    <a:pt x="1" y="17"/>
                  </a:cubicBezTo>
                  <a:cubicBezTo>
                    <a:pt x="2" y="16"/>
                    <a:pt x="2" y="16"/>
                    <a:pt x="2" y="15"/>
                  </a:cubicBezTo>
                  <a:cubicBezTo>
                    <a:pt x="2" y="14"/>
                    <a:pt x="1" y="12"/>
                    <a:pt x="2" y="11"/>
                  </a:cubicBezTo>
                  <a:cubicBezTo>
                    <a:pt x="2" y="10"/>
                    <a:pt x="2" y="10"/>
                    <a:pt x="2" y="10"/>
                  </a:cubicBezTo>
                  <a:cubicBezTo>
                    <a:pt x="3" y="2"/>
                    <a:pt x="3" y="1"/>
                    <a:pt x="11" y="3"/>
                  </a:cubicBezTo>
                  <a:cubicBezTo>
                    <a:pt x="22" y="6"/>
                    <a:pt x="32" y="10"/>
                    <a:pt x="43" y="13"/>
                  </a:cubicBezTo>
                  <a:cubicBezTo>
                    <a:pt x="55" y="18"/>
                    <a:pt x="68" y="21"/>
                    <a:pt x="81" y="26"/>
                  </a:cubicBezTo>
                  <a:cubicBezTo>
                    <a:pt x="94" y="30"/>
                    <a:pt x="107" y="34"/>
                    <a:pt x="119" y="38"/>
                  </a:cubicBezTo>
                  <a:cubicBezTo>
                    <a:pt x="131" y="42"/>
                    <a:pt x="142" y="45"/>
                    <a:pt x="153" y="49"/>
                  </a:cubicBezTo>
                  <a:cubicBezTo>
                    <a:pt x="159" y="51"/>
                    <a:pt x="165" y="51"/>
                    <a:pt x="171" y="49"/>
                  </a:cubicBezTo>
                  <a:cubicBezTo>
                    <a:pt x="205" y="38"/>
                    <a:pt x="239" y="27"/>
                    <a:pt x="272" y="17"/>
                  </a:cubicBezTo>
                  <a:cubicBezTo>
                    <a:pt x="289" y="11"/>
                    <a:pt x="306" y="6"/>
                    <a:pt x="323" y="0"/>
                  </a:cubicBezTo>
                  <a:cubicBezTo>
                    <a:pt x="323" y="0"/>
                    <a:pt x="324" y="0"/>
                    <a:pt x="325" y="0"/>
                  </a:cubicBezTo>
                  <a:cubicBezTo>
                    <a:pt x="326" y="1"/>
                    <a:pt x="325" y="3"/>
                    <a:pt x="325" y="4"/>
                  </a:cubicBezTo>
                  <a:cubicBezTo>
                    <a:pt x="325" y="20"/>
                    <a:pt x="325" y="36"/>
                    <a:pt x="325" y="52"/>
                  </a:cubicBezTo>
                  <a:cubicBezTo>
                    <a:pt x="325" y="54"/>
                    <a:pt x="325" y="55"/>
                    <a:pt x="325" y="56"/>
                  </a:cubicBezTo>
                  <a:cubicBezTo>
                    <a:pt x="326" y="60"/>
                    <a:pt x="326" y="64"/>
                    <a:pt x="325" y="69"/>
                  </a:cubicBezTo>
                  <a:cubicBezTo>
                    <a:pt x="325" y="70"/>
                    <a:pt x="326" y="71"/>
                    <a:pt x="325" y="72"/>
                  </a:cubicBezTo>
                  <a:cubicBezTo>
                    <a:pt x="322" y="89"/>
                    <a:pt x="309" y="98"/>
                    <a:pt x="295" y="106"/>
                  </a:cubicBezTo>
                  <a:cubicBezTo>
                    <a:pt x="280" y="114"/>
                    <a:pt x="263" y="120"/>
                    <a:pt x="246" y="123"/>
                  </a:cubicBezTo>
                  <a:cubicBezTo>
                    <a:pt x="239" y="125"/>
                    <a:pt x="232" y="127"/>
                    <a:pt x="225" y="127"/>
                  </a:cubicBezTo>
                  <a:cubicBezTo>
                    <a:pt x="224" y="128"/>
                    <a:pt x="222" y="127"/>
                    <a:pt x="221"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dirty="0"/>
            </a:p>
          </p:txBody>
        </p:sp>
      </p:grpSp>
      <p:sp>
        <p:nvSpPr>
          <p:cNvPr id="189" name="Rechthoek 188">
            <a:extLst>
              <a:ext uri="{FF2B5EF4-FFF2-40B4-BE49-F238E27FC236}">
                <a16:creationId xmlns:a16="http://schemas.microsoft.com/office/drawing/2014/main" id="{349B7EC8-52B8-4394-AD62-4DAAB361579F}"/>
              </a:ext>
            </a:extLst>
          </p:cNvPr>
          <p:cNvSpPr/>
          <p:nvPr/>
        </p:nvSpPr>
        <p:spPr>
          <a:xfrm>
            <a:off x="1161688" y="4774084"/>
            <a:ext cx="2112604" cy="1351496"/>
          </a:xfrm>
          <a:prstGeom prst="rect">
            <a:avLst/>
          </a:prstGeom>
          <a:solidFill>
            <a:schemeClr val="bg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p>
        </p:txBody>
      </p:sp>
      <p:sp>
        <p:nvSpPr>
          <p:cNvPr id="207" name="Rechthoek 206">
            <a:extLst>
              <a:ext uri="{FF2B5EF4-FFF2-40B4-BE49-F238E27FC236}">
                <a16:creationId xmlns:a16="http://schemas.microsoft.com/office/drawing/2014/main" id="{8B3484D0-814F-4F7E-8EFD-5BFD472EE1CA}"/>
              </a:ext>
            </a:extLst>
          </p:cNvPr>
          <p:cNvSpPr/>
          <p:nvPr/>
        </p:nvSpPr>
        <p:spPr>
          <a:xfrm>
            <a:off x="3388912" y="4774083"/>
            <a:ext cx="2095686" cy="1351496"/>
          </a:xfrm>
          <a:prstGeom prst="rect">
            <a:avLst/>
          </a:prstGeom>
          <a:solidFill>
            <a:schemeClr val="bg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p>
        </p:txBody>
      </p:sp>
      <p:sp>
        <p:nvSpPr>
          <p:cNvPr id="214" name="Tekstvak 213">
            <a:extLst>
              <a:ext uri="{FF2B5EF4-FFF2-40B4-BE49-F238E27FC236}">
                <a16:creationId xmlns:a16="http://schemas.microsoft.com/office/drawing/2014/main" id="{1802B018-8DC4-4051-9C59-280A6E13B226}"/>
              </a:ext>
            </a:extLst>
          </p:cNvPr>
          <p:cNvSpPr txBox="1"/>
          <p:nvPr/>
        </p:nvSpPr>
        <p:spPr>
          <a:xfrm>
            <a:off x="3505505" y="3757774"/>
            <a:ext cx="1132529" cy="427239"/>
          </a:xfrm>
          <a:prstGeom prst="rect">
            <a:avLst/>
          </a:prstGeom>
          <a:noFill/>
        </p:spPr>
        <p:txBody>
          <a:bodyPr wrap="square" lIns="0" tIns="0" rIns="0" bIns="0" rtlCol="0" anchor="ctr">
            <a:noAutofit/>
          </a:bodyPr>
          <a:lstStyle/>
          <a:p>
            <a:r>
              <a:rPr lang="en-GB" sz="3600" b="1" cap="all" dirty="0">
                <a:solidFill>
                  <a:schemeClr val="bg1"/>
                </a:solidFill>
                <a:latin typeface="+mj-lt"/>
              </a:rPr>
              <a:t>10</a:t>
            </a:r>
          </a:p>
        </p:txBody>
      </p:sp>
      <p:sp>
        <p:nvSpPr>
          <p:cNvPr id="215" name="Tekstvak 214">
            <a:extLst>
              <a:ext uri="{FF2B5EF4-FFF2-40B4-BE49-F238E27FC236}">
                <a16:creationId xmlns:a16="http://schemas.microsoft.com/office/drawing/2014/main" id="{66520BC8-A61A-46B8-B03B-71C6C006F9F6}"/>
              </a:ext>
            </a:extLst>
          </p:cNvPr>
          <p:cNvSpPr txBox="1"/>
          <p:nvPr/>
        </p:nvSpPr>
        <p:spPr>
          <a:xfrm>
            <a:off x="3535618" y="3399186"/>
            <a:ext cx="1658800" cy="303106"/>
          </a:xfrm>
          <a:prstGeom prst="rect">
            <a:avLst/>
          </a:prstGeom>
          <a:noFill/>
        </p:spPr>
        <p:txBody>
          <a:bodyPr wrap="square" lIns="0" tIns="0" rIns="0" bIns="0" rtlCol="0" anchor="t">
            <a:noAutofit/>
          </a:bodyPr>
          <a:lstStyle/>
          <a:p>
            <a:r>
              <a:rPr lang="en-GB" sz="1050" b="1" cap="all" dirty="0">
                <a:solidFill>
                  <a:schemeClr val="tx2">
                    <a:lumMod val="40000"/>
                    <a:lumOff val="60000"/>
                  </a:schemeClr>
                </a:solidFill>
                <a:latin typeface="+mj-lt"/>
              </a:rPr>
              <a:t>UNIT ICT Number of professors/lecturers</a:t>
            </a:r>
          </a:p>
        </p:txBody>
      </p:sp>
      <p:sp>
        <p:nvSpPr>
          <p:cNvPr id="218" name="Tekstvak 217">
            <a:extLst>
              <a:ext uri="{FF2B5EF4-FFF2-40B4-BE49-F238E27FC236}">
                <a16:creationId xmlns:a16="http://schemas.microsoft.com/office/drawing/2014/main" id="{F0D5B995-9A96-420A-B3EA-E7CE6059ED88}"/>
              </a:ext>
            </a:extLst>
          </p:cNvPr>
          <p:cNvSpPr txBox="1"/>
          <p:nvPr/>
        </p:nvSpPr>
        <p:spPr>
          <a:xfrm>
            <a:off x="1327209" y="5568866"/>
            <a:ext cx="1284316" cy="427239"/>
          </a:xfrm>
          <a:prstGeom prst="rect">
            <a:avLst/>
          </a:prstGeom>
          <a:noFill/>
        </p:spPr>
        <p:txBody>
          <a:bodyPr wrap="square" lIns="0" tIns="0" rIns="0" bIns="0" rtlCol="0" anchor="ctr">
            <a:noAutofit/>
          </a:bodyPr>
          <a:lstStyle/>
          <a:p>
            <a:r>
              <a:rPr lang="en-GB" sz="3600" b="1" cap="all" dirty="0">
                <a:solidFill>
                  <a:schemeClr val="bg1"/>
                </a:solidFill>
                <a:latin typeface="+mj-lt"/>
              </a:rPr>
              <a:t>95+</a:t>
            </a:r>
          </a:p>
        </p:txBody>
      </p:sp>
      <p:sp>
        <p:nvSpPr>
          <p:cNvPr id="219" name="Tekstvak 218">
            <a:extLst>
              <a:ext uri="{FF2B5EF4-FFF2-40B4-BE49-F238E27FC236}">
                <a16:creationId xmlns:a16="http://schemas.microsoft.com/office/drawing/2014/main" id="{FFF5E090-D147-48F9-8A7E-1C0D5B444D78}"/>
              </a:ext>
            </a:extLst>
          </p:cNvPr>
          <p:cNvSpPr txBox="1"/>
          <p:nvPr/>
        </p:nvSpPr>
        <p:spPr>
          <a:xfrm>
            <a:off x="1320150" y="5102138"/>
            <a:ext cx="1658800" cy="296391"/>
          </a:xfrm>
          <a:prstGeom prst="rect">
            <a:avLst/>
          </a:prstGeom>
          <a:noFill/>
        </p:spPr>
        <p:txBody>
          <a:bodyPr wrap="square" lIns="0" tIns="0" rIns="0" bIns="0" rtlCol="0" anchor="t">
            <a:noAutofit/>
          </a:bodyPr>
          <a:lstStyle/>
          <a:p>
            <a:r>
              <a:rPr lang="en-GB" sz="1050" b="1" cap="all" dirty="0">
                <a:solidFill>
                  <a:schemeClr val="tx2">
                    <a:lumMod val="40000"/>
                    <a:lumOff val="60000"/>
                  </a:schemeClr>
                </a:solidFill>
                <a:latin typeface="+mj-lt"/>
              </a:rPr>
              <a:t>UNIT ICT </a:t>
            </a:r>
            <a:br>
              <a:rPr lang="en-GB" sz="1050" b="1" cap="all" dirty="0">
                <a:solidFill>
                  <a:schemeClr val="tx2">
                    <a:lumMod val="40000"/>
                    <a:lumOff val="60000"/>
                  </a:schemeClr>
                </a:solidFill>
                <a:latin typeface="+mj-lt"/>
              </a:rPr>
            </a:br>
            <a:r>
              <a:rPr lang="en-GB" sz="1050" b="1" cap="all" dirty="0">
                <a:solidFill>
                  <a:schemeClr val="tx2">
                    <a:lumMod val="40000"/>
                    <a:lumOff val="60000"/>
                  </a:schemeClr>
                </a:solidFill>
                <a:latin typeface="+mj-lt"/>
              </a:rPr>
              <a:t>Number of </a:t>
            </a:r>
            <a:br>
              <a:rPr lang="en-GB" sz="1050" b="1" cap="all" dirty="0">
                <a:solidFill>
                  <a:schemeClr val="tx2">
                    <a:lumMod val="40000"/>
                    <a:lumOff val="60000"/>
                  </a:schemeClr>
                </a:solidFill>
                <a:latin typeface="+mj-lt"/>
              </a:rPr>
            </a:br>
            <a:r>
              <a:rPr lang="en-GB" sz="1050" b="1" cap="all" dirty="0">
                <a:solidFill>
                  <a:schemeClr val="tx2">
                    <a:lumMod val="40000"/>
                    <a:lumOff val="60000"/>
                  </a:schemeClr>
                </a:solidFill>
                <a:latin typeface="+mj-lt"/>
              </a:rPr>
              <a:t>clients per year</a:t>
            </a:r>
          </a:p>
        </p:txBody>
      </p:sp>
      <p:grpSp>
        <p:nvGrpSpPr>
          <p:cNvPr id="9" name="Group 8">
            <a:extLst>
              <a:ext uri="{FF2B5EF4-FFF2-40B4-BE49-F238E27FC236}">
                <a16:creationId xmlns:a16="http://schemas.microsoft.com/office/drawing/2014/main" id="{9BD2EF85-74FD-47E1-B327-C816DF84D294}"/>
              </a:ext>
            </a:extLst>
          </p:cNvPr>
          <p:cNvGrpSpPr/>
          <p:nvPr/>
        </p:nvGrpSpPr>
        <p:grpSpPr>
          <a:xfrm>
            <a:off x="2150297" y="4941330"/>
            <a:ext cx="965525" cy="492554"/>
            <a:chOff x="7412142" y="4658383"/>
            <a:chExt cx="1147454" cy="585364"/>
          </a:xfrm>
        </p:grpSpPr>
        <p:grpSp>
          <p:nvGrpSpPr>
            <p:cNvPr id="22" name="Groep 21">
              <a:extLst>
                <a:ext uri="{FF2B5EF4-FFF2-40B4-BE49-F238E27FC236}">
                  <a16:creationId xmlns:a16="http://schemas.microsoft.com/office/drawing/2014/main" id="{F1B40922-0FC5-4CB4-AC3D-F5447A0C9251}"/>
                </a:ext>
              </a:extLst>
            </p:cNvPr>
            <p:cNvGrpSpPr/>
            <p:nvPr/>
          </p:nvGrpSpPr>
          <p:grpSpPr>
            <a:xfrm rot="822481">
              <a:off x="7831549" y="4790928"/>
              <a:ext cx="728047" cy="417007"/>
              <a:chOff x="7067181" y="4724112"/>
              <a:chExt cx="1021833" cy="585281"/>
            </a:xfrm>
            <a:solidFill>
              <a:schemeClr val="bg1">
                <a:alpha val="50000"/>
              </a:schemeClr>
            </a:solidFill>
          </p:grpSpPr>
          <p:sp>
            <p:nvSpPr>
              <p:cNvPr id="17" name="Vrije vorm: vorm 16">
                <a:extLst>
                  <a:ext uri="{FF2B5EF4-FFF2-40B4-BE49-F238E27FC236}">
                    <a16:creationId xmlns:a16="http://schemas.microsoft.com/office/drawing/2014/main" id="{CBB52A2F-BBBF-4CE0-AE23-6A60E97D0E74}"/>
                  </a:ext>
                </a:extLst>
              </p:cNvPr>
              <p:cNvSpPr/>
              <p:nvPr/>
            </p:nvSpPr>
            <p:spPr>
              <a:xfrm>
                <a:off x="7067181" y="4788583"/>
                <a:ext cx="609352" cy="450611"/>
              </a:xfrm>
              <a:custGeom>
                <a:avLst/>
                <a:gdLst>
                  <a:gd name="connsiteX0" fmla="*/ 1079573 w 2115797"/>
                  <a:gd name="connsiteY0" fmla="*/ 81287 h 1564615"/>
                  <a:gd name="connsiteX1" fmla="*/ 226133 w 2115797"/>
                  <a:gd name="connsiteY1" fmla="*/ 325127 h 1564615"/>
                  <a:gd name="connsiteX2" fmla="*/ 2581 w 2115797"/>
                  <a:gd name="connsiteY2" fmla="*/ 751847 h 1564615"/>
                  <a:gd name="connsiteX3" fmla="*/ 43253 w 2115797"/>
                  <a:gd name="connsiteY3" fmla="*/ 792519 h 1564615"/>
                  <a:gd name="connsiteX4" fmla="*/ 429301 w 2115797"/>
                  <a:gd name="connsiteY4" fmla="*/ 629927 h 1564615"/>
                  <a:gd name="connsiteX5" fmla="*/ 510549 w 2115797"/>
                  <a:gd name="connsiteY5" fmla="*/ 589255 h 1564615"/>
                  <a:gd name="connsiteX6" fmla="*/ 652757 w 2115797"/>
                  <a:gd name="connsiteY6" fmla="*/ 548584 h 1564615"/>
                  <a:gd name="connsiteX7" fmla="*/ 794966 w 2115797"/>
                  <a:gd name="connsiteY7" fmla="*/ 487624 h 1564615"/>
                  <a:gd name="connsiteX8" fmla="*/ 835638 w 2115797"/>
                  <a:gd name="connsiteY8" fmla="*/ 487624 h 1564615"/>
                  <a:gd name="connsiteX9" fmla="*/ 916886 w 2115797"/>
                  <a:gd name="connsiteY9" fmla="*/ 507912 h 1564615"/>
                  <a:gd name="connsiteX10" fmla="*/ 1384278 w 2115797"/>
                  <a:gd name="connsiteY10" fmla="*/ 914344 h 1564615"/>
                  <a:gd name="connsiteX11" fmla="*/ 2095509 w 2115797"/>
                  <a:gd name="connsiteY11" fmla="*/ 1564615 h 1564615"/>
                  <a:gd name="connsiteX12" fmla="*/ 2115798 w 2115797"/>
                  <a:gd name="connsiteY12" fmla="*/ 1564615 h 1564615"/>
                  <a:gd name="connsiteX13" fmla="*/ 1628117 w 2115797"/>
                  <a:gd name="connsiteY13" fmla="*/ 284455 h 1564615"/>
                  <a:gd name="connsiteX14" fmla="*/ 1079573 w 2115797"/>
                  <a:gd name="connsiteY14" fmla="*/ 81287 h 1564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15797" h="1564615">
                    <a:moveTo>
                      <a:pt x="1079573" y="81287"/>
                    </a:moveTo>
                    <a:cubicBezTo>
                      <a:pt x="713813" y="-81305"/>
                      <a:pt x="551221" y="39"/>
                      <a:pt x="226133" y="325127"/>
                    </a:cubicBezTo>
                    <a:cubicBezTo>
                      <a:pt x="83924" y="467335"/>
                      <a:pt x="-17707" y="670599"/>
                      <a:pt x="2581" y="751847"/>
                    </a:cubicBezTo>
                    <a:cubicBezTo>
                      <a:pt x="2581" y="772135"/>
                      <a:pt x="2581" y="772135"/>
                      <a:pt x="43253" y="792519"/>
                    </a:cubicBezTo>
                    <a:cubicBezTo>
                      <a:pt x="144885" y="833191"/>
                      <a:pt x="287093" y="853479"/>
                      <a:pt x="429301" y="629927"/>
                    </a:cubicBezTo>
                    <a:cubicBezTo>
                      <a:pt x="449589" y="609639"/>
                      <a:pt x="469973" y="589255"/>
                      <a:pt x="510549" y="589255"/>
                    </a:cubicBezTo>
                    <a:cubicBezTo>
                      <a:pt x="571509" y="589255"/>
                      <a:pt x="591798" y="568967"/>
                      <a:pt x="652757" y="548584"/>
                    </a:cubicBezTo>
                    <a:cubicBezTo>
                      <a:pt x="693429" y="528295"/>
                      <a:pt x="734006" y="507912"/>
                      <a:pt x="794966" y="487624"/>
                    </a:cubicBezTo>
                    <a:cubicBezTo>
                      <a:pt x="815254" y="487624"/>
                      <a:pt x="815254" y="487624"/>
                      <a:pt x="835638" y="487624"/>
                    </a:cubicBezTo>
                    <a:cubicBezTo>
                      <a:pt x="856021" y="487624"/>
                      <a:pt x="896598" y="507912"/>
                      <a:pt x="916886" y="507912"/>
                    </a:cubicBezTo>
                    <a:cubicBezTo>
                      <a:pt x="1018517" y="609544"/>
                      <a:pt x="1201398" y="751752"/>
                      <a:pt x="1384278" y="914344"/>
                    </a:cubicBezTo>
                    <a:cubicBezTo>
                      <a:pt x="1668789" y="1137895"/>
                      <a:pt x="1953206" y="1381735"/>
                      <a:pt x="2095509" y="1564615"/>
                    </a:cubicBezTo>
                    <a:lnTo>
                      <a:pt x="2115798" y="1564615"/>
                    </a:lnTo>
                    <a:cubicBezTo>
                      <a:pt x="1973589" y="1158184"/>
                      <a:pt x="1729749" y="467335"/>
                      <a:pt x="1628117" y="284455"/>
                    </a:cubicBezTo>
                    <a:cubicBezTo>
                      <a:pt x="1425045" y="223591"/>
                      <a:pt x="1242165" y="142247"/>
                      <a:pt x="1079573" y="81287"/>
                    </a:cubicBezTo>
                    <a:close/>
                  </a:path>
                </a:pathLst>
              </a:custGeom>
              <a:grpFill/>
              <a:ln w="9525" cap="flat">
                <a:noFill/>
                <a:prstDash val="solid"/>
                <a:miter/>
              </a:ln>
            </p:spPr>
            <p:txBody>
              <a:bodyPr rtlCol="0" anchor="ctr"/>
              <a:lstStyle/>
              <a:p>
                <a:endParaRPr lang="nl-NL"/>
              </a:p>
            </p:txBody>
          </p:sp>
          <p:sp>
            <p:nvSpPr>
              <p:cNvPr id="18" name="Vrije vorm: vorm 17">
                <a:extLst>
                  <a:ext uri="{FF2B5EF4-FFF2-40B4-BE49-F238E27FC236}">
                    <a16:creationId xmlns:a16="http://schemas.microsoft.com/office/drawing/2014/main" id="{FEA9DCE6-4E02-481C-AC22-6485BDFC8901}"/>
                  </a:ext>
                </a:extLst>
              </p:cNvPr>
              <p:cNvSpPr/>
              <p:nvPr/>
            </p:nvSpPr>
            <p:spPr>
              <a:xfrm>
                <a:off x="7565350" y="4724112"/>
                <a:ext cx="523664" cy="585281"/>
              </a:xfrm>
              <a:custGeom>
                <a:avLst/>
                <a:gdLst>
                  <a:gd name="connsiteX0" fmla="*/ 1320832 w 1422463"/>
                  <a:gd name="connsiteY0" fmla="*/ 0 h 2031872"/>
                  <a:gd name="connsiteX1" fmla="*/ 60960 w 1422463"/>
                  <a:gd name="connsiteY1" fmla="*/ 203168 h 2031872"/>
                  <a:gd name="connsiteX2" fmla="*/ 0 w 1422463"/>
                  <a:gd name="connsiteY2" fmla="*/ 264128 h 2031872"/>
                  <a:gd name="connsiteX3" fmla="*/ 20288 w 1422463"/>
                  <a:gd name="connsiteY3" fmla="*/ 345377 h 2031872"/>
                  <a:gd name="connsiteX4" fmla="*/ 609600 w 1422463"/>
                  <a:gd name="connsiteY4" fmla="*/ 1950625 h 2031872"/>
                  <a:gd name="connsiteX5" fmla="*/ 711232 w 1422463"/>
                  <a:gd name="connsiteY5" fmla="*/ 2031873 h 2031872"/>
                  <a:gd name="connsiteX6" fmla="*/ 1320832 w 1422463"/>
                  <a:gd name="connsiteY6" fmla="*/ 2031873 h 2031872"/>
                  <a:gd name="connsiteX7" fmla="*/ 1422464 w 1422463"/>
                  <a:gd name="connsiteY7" fmla="*/ 1930241 h 2031872"/>
                  <a:gd name="connsiteX8" fmla="*/ 1422464 w 1422463"/>
                  <a:gd name="connsiteY8" fmla="*/ 101632 h 2031872"/>
                  <a:gd name="connsiteX9" fmla="*/ 1320832 w 1422463"/>
                  <a:gd name="connsiteY9" fmla="*/ 0 h 2031872"/>
                  <a:gd name="connsiteX0" fmla="*/ 1320832 w 1818267"/>
                  <a:gd name="connsiteY0" fmla="*/ 0 h 2031872"/>
                  <a:gd name="connsiteX1" fmla="*/ 60960 w 1818267"/>
                  <a:gd name="connsiteY1" fmla="*/ 203168 h 2031872"/>
                  <a:gd name="connsiteX2" fmla="*/ 0 w 1818267"/>
                  <a:gd name="connsiteY2" fmla="*/ 264128 h 2031872"/>
                  <a:gd name="connsiteX3" fmla="*/ 20288 w 1818267"/>
                  <a:gd name="connsiteY3" fmla="*/ 345377 h 2031872"/>
                  <a:gd name="connsiteX4" fmla="*/ 609600 w 1818267"/>
                  <a:gd name="connsiteY4" fmla="*/ 1950625 h 2031872"/>
                  <a:gd name="connsiteX5" fmla="*/ 711232 w 1818267"/>
                  <a:gd name="connsiteY5" fmla="*/ 2031873 h 2031872"/>
                  <a:gd name="connsiteX6" fmla="*/ 1320832 w 1818267"/>
                  <a:gd name="connsiteY6" fmla="*/ 2031873 h 2031872"/>
                  <a:gd name="connsiteX7" fmla="*/ 1422464 w 1818267"/>
                  <a:gd name="connsiteY7" fmla="*/ 1930241 h 2031872"/>
                  <a:gd name="connsiteX8" fmla="*/ 1818267 w 1818267"/>
                  <a:gd name="connsiteY8" fmla="*/ 159383 h 2031872"/>
                  <a:gd name="connsiteX9" fmla="*/ 1320832 w 1818267"/>
                  <a:gd name="connsiteY9" fmla="*/ 0 h 2031872"/>
                  <a:gd name="connsiteX0" fmla="*/ 1320832 w 1818267"/>
                  <a:gd name="connsiteY0" fmla="*/ 239 h 2032111"/>
                  <a:gd name="connsiteX1" fmla="*/ 60960 w 1818267"/>
                  <a:gd name="connsiteY1" fmla="*/ 203407 h 2032111"/>
                  <a:gd name="connsiteX2" fmla="*/ 0 w 1818267"/>
                  <a:gd name="connsiteY2" fmla="*/ 264367 h 2032111"/>
                  <a:gd name="connsiteX3" fmla="*/ 20288 w 1818267"/>
                  <a:gd name="connsiteY3" fmla="*/ 345616 h 2032111"/>
                  <a:gd name="connsiteX4" fmla="*/ 609600 w 1818267"/>
                  <a:gd name="connsiteY4" fmla="*/ 1950864 h 2032111"/>
                  <a:gd name="connsiteX5" fmla="*/ 711232 w 1818267"/>
                  <a:gd name="connsiteY5" fmla="*/ 2032112 h 2032111"/>
                  <a:gd name="connsiteX6" fmla="*/ 1320832 w 1818267"/>
                  <a:gd name="connsiteY6" fmla="*/ 2032112 h 2032111"/>
                  <a:gd name="connsiteX7" fmla="*/ 1422464 w 1818267"/>
                  <a:gd name="connsiteY7" fmla="*/ 1930480 h 2032111"/>
                  <a:gd name="connsiteX8" fmla="*/ 1818267 w 1818267"/>
                  <a:gd name="connsiteY8" fmla="*/ 159622 h 2032111"/>
                  <a:gd name="connsiteX9" fmla="*/ 1320832 w 1818267"/>
                  <a:gd name="connsiteY9" fmla="*/ 239 h 2032111"/>
                  <a:gd name="connsiteX0" fmla="*/ 1320832 w 1818267"/>
                  <a:gd name="connsiteY0" fmla="*/ 349 h 2032221"/>
                  <a:gd name="connsiteX1" fmla="*/ 60960 w 1818267"/>
                  <a:gd name="connsiteY1" fmla="*/ 203517 h 2032221"/>
                  <a:gd name="connsiteX2" fmla="*/ 0 w 1818267"/>
                  <a:gd name="connsiteY2" fmla="*/ 264477 h 2032221"/>
                  <a:gd name="connsiteX3" fmla="*/ 20288 w 1818267"/>
                  <a:gd name="connsiteY3" fmla="*/ 345726 h 2032221"/>
                  <a:gd name="connsiteX4" fmla="*/ 609600 w 1818267"/>
                  <a:gd name="connsiteY4" fmla="*/ 1950974 h 2032221"/>
                  <a:gd name="connsiteX5" fmla="*/ 711232 w 1818267"/>
                  <a:gd name="connsiteY5" fmla="*/ 2032222 h 2032221"/>
                  <a:gd name="connsiteX6" fmla="*/ 1320832 w 1818267"/>
                  <a:gd name="connsiteY6" fmla="*/ 2032222 h 2032221"/>
                  <a:gd name="connsiteX7" fmla="*/ 1422464 w 1818267"/>
                  <a:gd name="connsiteY7" fmla="*/ 1930590 h 2032221"/>
                  <a:gd name="connsiteX8" fmla="*/ 1818267 w 1818267"/>
                  <a:gd name="connsiteY8" fmla="*/ 159732 h 2032221"/>
                  <a:gd name="connsiteX9" fmla="*/ 1320832 w 1818267"/>
                  <a:gd name="connsiteY9" fmla="*/ 349 h 2032221"/>
                  <a:gd name="connsiteX0" fmla="*/ 1320832 w 1818267"/>
                  <a:gd name="connsiteY0" fmla="*/ 349 h 2032221"/>
                  <a:gd name="connsiteX1" fmla="*/ 60960 w 1818267"/>
                  <a:gd name="connsiteY1" fmla="*/ 203517 h 2032221"/>
                  <a:gd name="connsiteX2" fmla="*/ 0 w 1818267"/>
                  <a:gd name="connsiteY2" fmla="*/ 264477 h 2032221"/>
                  <a:gd name="connsiteX3" fmla="*/ 20288 w 1818267"/>
                  <a:gd name="connsiteY3" fmla="*/ 345726 h 2032221"/>
                  <a:gd name="connsiteX4" fmla="*/ 609600 w 1818267"/>
                  <a:gd name="connsiteY4" fmla="*/ 1950974 h 2032221"/>
                  <a:gd name="connsiteX5" fmla="*/ 711232 w 1818267"/>
                  <a:gd name="connsiteY5" fmla="*/ 2032222 h 2032221"/>
                  <a:gd name="connsiteX6" fmla="*/ 1320832 w 1818267"/>
                  <a:gd name="connsiteY6" fmla="*/ 2032222 h 2032221"/>
                  <a:gd name="connsiteX7" fmla="*/ 1422464 w 1818267"/>
                  <a:gd name="connsiteY7" fmla="*/ 1930590 h 2032221"/>
                  <a:gd name="connsiteX8" fmla="*/ 1818267 w 1818267"/>
                  <a:gd name="connsiteY8" fmla="*/ 159732 h 2032221"/>
                  <a:gd name="connsiteX9" fmla="*/ 1320832 w 1818267"/>
                  <a:gd name="connsiteY9" fmla="*/ 349 h 2032221"/>
                  <a:gd name="connsiteX0" fmla="*/ 1320832 w 1818267"/>
                  <a:gd name="connsiteY0" fmla="*/ 349 h 2032221"/>
                  <a:gd name="connsiteX1" fmla="*/ 60960 w 1818267"/>
                  <a:gd name="connsiteY1" fmla="*/ 203517 h 2032221"/>
                  <a:gd name="connsiteX2" fmla="*/ 0 w 1818267"/>
                  <a:gd name="connsiteY2" fmla="*/ 264477 h 2032221"/>
                  <a:gd name="connsiteX3" fmla="*/ 20288 w 1818267"/>
                  <a:gd name="connsiteY3" fmla="*/ 345726 h 2032221"/>
                  <a:gd name="connsiteX4" fmla="*/ 609600 w 1818267"/>
                  <a:gd name="connsiteY4" fmla="*/ 1950974 h 2032221"/>
                  <a:gd name="connsiteX5" fmla="*/ 711232 w 1818267"/>
                  <a:gd name="connsiteY5" fmla="*/ 2032222 h 2032221"/>
                  <a:gd name="connsiteX6" fmla="*/ 1320832 w 1818267"/>
                  <a:gd name="connsiteY6" fmla="*/ 2032222 h 2032221"/>
                  <a:gd name="connsiteX7" fmla="*/ 1422464 w 1818267"/>
                  <a:gd name="connsiteY7" fmla="*/ 1930590 h 2032221"/>
                  <a:gd name="connsiteX8" fmla="*/ 1818267 w 1818267"/>
                  <a:gd name="connsiteY8" fmla="*/ 159732 h 2032221"/>
                  <a:gd name="connsiteX9" fmla="*/ 1320832 w 1818267"/>
                  <a:gd name="connsiteY9" fmla="*/ 349 h 2032221"/>
                  <a:gd name="connsiteX0" fmla="*/ 1320832 w 1818267"/>
                  <a:gd name="connsiteY0" fmla="*/ 349 h 2032221"/>
                  <a:gd name="connsiteX1" fmla="*/ 60960 w 1818267"/>
                  <a:gd name="connsiteY1" fmla="*/ 203517 h 2032221"/>
                  <a:gd name="connsiteX2" fmla="*/ 0 w 1818267"/>
                  <a:gd name="connsiteY2" fmla="*/ 264477 h 2032221"/>
                  <a:gd name="connsiteX3" fmla="*/ 20288 w 1818267"/>
                  <a:gd name="connsiteY3" fmla="*/ 345726 h 2032221"/>
                  <a:gd name="connsiteX4" fmla="*/ 609600 w 1818267"/>
                  <a:gd name="connsiteY4" fmla="*/ 1950974 h 2032221"/>
                  <a:gd name="connsiteX5" fmla="*/ 711232 w 1818267"/>
                  <a:gd name="connsiteY5" fmla="*/ 2032222 h 2032221"/>
                  <a:gd name="connsiteX6" fmla="*/ 1320832 w 1818267"/>
                  <a:gd name="connsiteY6" fmla="*/ 2032222 h 2032221"/>
                  <a:gd name="connsiteX7" fmla="*/ 1422464 w 1818267"/>
                  <a:gd name="connsiteY7" fmla="*/ 1930590 h 2032221"/>
                  <a:gd name="connsiteX8" fmla="*/ 1818267 w 1818267"/>
                  <a:gd name="connsiteY8" fmla="*/ 159732 h 2032221"/>
                  <a:gd name="connsiteX9" fmla="*/ 1320832 w 1818267"/>
                  <a:gd name="connsiteY9" fmla="*/ 349 h 203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8267" h="2032221">
                    <a:moveTo>
                      <a:pt x="1320832" y="349"/>
                    </a:moveTo>
                    <a:cubicBezTo>
                      <a:pt x="528352" y="349"/>
                      <a:pt x="81344" y="203517"/>
                      <a:pt x="60960" y="203517"/>
                    </a:cubicBezTo>
                    <a:lnTo>
                      <a:pt x="0" y="264477"/>
                    </a:lnTo>
                    <a:cubicBezTo>
                      <a:pt x="0" y="284766"/>
                      <a:pt x="0" y="325437"/>
                      <a:pt x="20288" y="345726"/>
                    </a:cubicBezTo>
                    <a:cubicBezTo>
                      <a:pt x="142208" y="548894"/>
                      <a:pt x="548640" y="1666557"/>
                      <a:pt x="609600" y="1950974"/>
                    </a:cubicBezTo>
                    <a:cubicBezTo>
                      <a:pt x="629888" y="1991646"/>
                      <a:pt x="670560" y="2032222"/>
                      <a:pt x="711232" y="2032222"/>
                    </a:cubicBezTo>
                    <a:lnTo>
                      <a:pt x="1320832" y="2032222"/>
                    </a:lnTo>
                    <a:cubicBezTo>
                      <a:pt x="1381792" y="2032222"/>
                      <a:pt x="1417051" y="1963452"/>
                      <a:pt x="1422464" y="1930590"/>
                    </a:cubicBezTo>
                    <a:cubicBezTo>
                      <a:pt x="1502217" y="1795250"/>
                      <a:pt x="1818267" y="769268"/>
                      <a:pt x="1818267" y="159732"/>
                    </a:cubicBezTo>
                    <a:cubicBezTo>
                      <a:pt x="1788207" y="63768"/>
                      <a:pt x="1503053" y="-5542"/>
                      <a:pt x="1320832" y="349"/>
                    </a:cubicBezTo>
                    <a:close/>
                  </a:path>
                </a:pathLst>
              </a:custGeom>
              <a:grpFill/>
              <a:ln w="9525" cap="flat">
                <a:noFill/>
                <a:prstDash val="solid"/>
                <a:miter/>
              </a:ln>
            </p:spPr>
            <p:txBody>
              <a:bodyPr rtlCol="0" anchor="ctr"/>
              <a:lstStyle/>
              <a:p>
                <a:endParaRPr lang="nl-NL"/>
              </a:p>
            </p:txBody>
          </p:sp>
        </p:grpSp>
        <p:grpSp>
          <p:nvGrpSpPr>
            <p:cNvPr id="21" name="Groep 20">
              <a:extLst>
                <a:ext uri="{FF2B5EF4-FFF2-40B4-BE49-F238E27FC236}">
                  <a16:creationId xmlns:a16="http://schemas.microsoft.com/office/drawing/2014/main" id="{83A2D47F-9755-4644-823B-5EB1FFF8E5E4}"/>
                </a:ext>
              </a:extLst>
            </p:cNvPr>
            <p:cNvGrpSpPr/>
            <p:nvPr/>
          </p:nvGrpSpPr>
          <p:grpSpPr>
            <a:xfrm rot="822481">
              <a:off x="7412142" y="4658383"/>
              <a:ext cx="824682" cy="585364"/>
              <a:chOff x="6477282" y="4663438"/>
              <a:chExt cx="1157463" cy="821574"/>
            </a:xfrm>
            <a:solidFill>
              <a:schemeClr val="bg1">
                <a:alpha val="50000"/>
              </a:schemeClr>
            </a:solidFill>
          </p:grpSpPr>
          <p:sp>
            <p:nvSpPr>
              <p:cNvPr id="16" name="Vrije vorm: vorm 15">
                <a:extLst>
                  <a:ext uri="{FF2B5EF4-FFF2-40B4-BE49-F238E27FC236}">
                    <a16:creationId xmlns:a16="http://schemas.microsoft.com/office/drawing/2014/main" id="{1613C160-6713-4BD1-9945-B6847ADF2AC6}"/>
                  </a:ext>
                </a:extLst>
              </p:cNvPr>
              <p:cNvSpPr/>
              <p:nvPr/>
            </p:nvSpPr>
            <p:spPr>
              <a:xfrm>
                <a:off x="6477282" y="4663438"/>
                <a:ext cx="444373" cy="588375"/>
              </a:xfrm>
              <a:custGeom>
                <a:avLst/>
                <a:gdLst>
                  <a:gd name="connsiteX0" fmla="*/ 1178528 w 1219295"/>
                  <a:gd name="connsiteY0" fmla="*/ 223552 h 2032063"/>
                  <a:gd name="connsiteX1" fmla="*/ 101632 w 1219295"/>
                  <a:gd name="connsiteY1" fmla="*/ 0 h 2032063"/>
                  <a:gd name="connsiteX2" fmla="*/ 40672 w 1219295"/>
                  <a:gd name="connsiteY2" fmla="*/ 20288 h 2032063"/>
                  <a:gd name="connsiteX3" fmla="*/ 0 w 1219295"/>
                  <a:gd name="connsiteY3" fmla="*/ 101632 h 2032063"/>
                  <a:gd name="connsiteX4" fmla="*/ 0 w 1219295"/>
                  <a:gd name="connsiteY4" fmla="*/ 1930432 h 2032063"/>
                  <a:gd name="connsiteX5" fmla="*/ 101632 w 1219295"/>
                  <a:gd name="connsiteY5" fmla="*/ 2032064 h 2032063"/>
                  <a:gd name="connsiteX6" fmla="*/ 711232 w 1219295"/>
                  <a:gd name="connsiteY6" fmla="*/ 2032064 h 2032063"/>
                  <a:gd name="connsiteX7" fmla="*/ 812863 w 1219295"/>
                  <a:gd name="connsiteY7" fmla="*/ 1971104 h 2032063"/>
                  <a:gd name="connsiteX8" fmla="*/ 1219295 w 1219295"/>
                  <a:gd name="connsiteY8" fmla="*/ 304895 h 2032063"/>
                  <a:gd name="connsiteX9" fmla="*/ 1178528 w 1219295"/>
                  <a:gd name="connsiteY9" fmla="*/ 223552 h 2032063"/>
                  <a:gd name="connsiteX0" fmla="*/ 1252554 w 1293321"/>
                  <a:gd name="connsiteY0" fmla="*/ 223552 h 2032063"/>
                  <a:gd name="connsiteX1" fmla="*/ 175658 w 1293321"/>
                  <a:gd name="connsiteY1" fmla="*/ 0 h 2032063"/>
                  <a:gd name="connsiteX2" fmla="*/ 114698 w 1293321"/>
                  <a:gd name="connsiteY2" fmla="*/ 20288 h 2032063"/>
                  <a:gd name="connsiteX3" fmla="*/ 74026 w 1293321"/>
                  <a:gd name="connsiteY3" fmla="*/ 101632 h 2032063"/>
                  <a:gd name="connsiteX4" fmla="*/ 74026 w 1293321"/>
                  <a:gd name="connsiteY4" fmla="*/ 1930432 h 2032063"/>
                  <a:gd name="connsiteX5" fmla="*/ 175658 w 1293321"/>
                  <a:gd name="connsiteY5" fmla="*/ 2032064 h 2032063"/>
                  <a:gd name="connsiteX6" fmla="*/ 785258 w 1293321"/>
                  <a:gd name="connsiteY6" fmla="*/ 2032064 h 2032063"/>
                  <a:gd name="connsiteX7" fmla="*/ 886889 w 1293321"/>
                  <a:gd name="connsiteY7" fmla="*/ 1971104 h 2032063"/>
                  <a:gd name="connsiteX8" fmla="*/ 1293321 w 1293321"/>
                  <a:gd name="connsiteY8" fmla="*/ 304895 h 2032063"/>
                  <a:gd name="connsiteX9" fmla="*/ 1252554 w 1293321"/>
                  <a:gd name="connsiteY9" fmla="*/ 223552 h 2032063"/>
                  <a:gd name="connsiteX0" fmla="*/ 1419561 w 1460328"/>
                  <a:gd name="connsiteY0" fmla="*/ 223552 h 2032063"/>
                  <a:gd name="connsiteX1" fmla="*/ 342665 w 1460328"/>
                  <a:gd name="connsiteY1" fmla="*/ 0 h 2032063"/>
                  <a:gd name="connsiteX2" fmla="*/ 281705 w 1460328"/>
                  <a:gd name="connsiteY2" fmla="*/ 20288 h 2032063"/>
                  <a:gd name="connsiteX3" fmla="*/ 241033 w 1460328"/>
                  <a:gd name="connsiteY3" fmla="*/ 101632 h 2032063"/>
                  <a:gd name="connsiteX4" fmla="*/ 1 w 1460328"/>
                  <a:gd name="connsiteY4" fmla="*/ 1889474 h 2032063"/>
                  <a:gd name="connsiteX5" fmla="*/ 342665 w 1460328"/>
                  <a:gd name="connsiteY5" fmla="*/ 2032064 h 2032063"/>
                  <a:gd name="connsiteX6" fmla="*/ 952265 w 1460328"/>
                  <a:gd name="connsiteY6" fmla="*/ 2032064 h 2032063"/>
                  <a:gd name="connsiteX7" fmla="*/ 1053896 w 1460328"/>
                  <a:gd name="connsiteY7" fmla="*/ 1971104 h 2032063"/>
                  <a:gd name="connsiteX8" fmla="*/ 1460328 w 1460328"/>
                  <a:gd name="connsiteY8" fmla="*/ 304895 h 2032063"/>
                  <a:gd name="connsiteX9" fmla="*/ 1419561 w 1460328"/>
                  <a:gd name="connsiteY9" fmla="*/ 223552 h 2032063"/>
                  <a:gd name="connsiteX0" fmla="*/ 1419878 w 1460645"/>
                  <a:gd name="connsiteY0" fmla="*/ 348684 h 2157195"/>
                  <a:gd name="connsiteX1" fmla="*/ 342982 w 1460645"/>
                  <a:gd name="connsiteY1" fmla="*/ 125132 h 2157195"/>
                  <a:gd name="connsiteX2" fmla="*/ 282022 w 1460645"/>
                  <a:gd name="connsiteY2" fmla="*/ 145420 h 2157195"/>
                  <a:gd name="connsiteX3" fmla="*/ 318 w 1460645"/>
                  <a:gd name="connsiteY3" fmla="*/ 2014606 h 2157195"/>
                  <a:gd name="connsiteX4" fmla="*/ 342982 w 1460645"/>
                  <a:gd name="connsiteY4" fmla="*/ 2157196 h 2157195"/>
                  <a:gd name="connsiteX5" fmla="*/ 952582 w 1460645"/>
                  <a:gd name="connsiteY5" fmla="*/ 2157196 h 2157195"/>
                  <a:gd name="connsiteX6" fmla="*/ 1054213 w 1460645"/>
                  <a:gd name="connsiteY6" fmla="*/ 2096236 h 2157195"/>
                  <a:gd name="connsiteX7" fmla="*/ 1460645 w 1460645"/>
                  <a:gd name="connsiteY7" fmla="*/ 430027 h 2157195"/>
                  <a:gd name="connsiteX8" fmla="*/ 1419878 w 1460645"/>
                  <a:gd name="connsiteY8" fmla="*/ 348684 h 2157195"/>
                  <a:gd name="connsiteX0" fmla="*/ 1419852 w 1460619"/>
                  <a:gd name="connsiteY0" fmla="*/ 246155 h 2054666"/>
                  <a:gd name="connsiteX1" fmla="*/ 342956 w 1460619"/>
                  <a:gd name="connsiteY1" fmla="*/ 22603 h 2054666"/>
                  <a:gd name="connsiteX2" fmla="*/ 281996 w 1460619"/>
                  <a:gd name="connsiteY2" fmla="*/ 42891 h 2054666"/>
                  <a:gd name="connsiteX3" fmla="*/ 292 w 1460619"/>
                  <a:gd name="connsiteY3" fmla="*/ 1912077 h 2054666"/>
                  <a:gd name="connsiteX4" fmla="*/ 342956 w 1460619"/>
                  <a:gd name="connsiteY4" fmla="*/ 2054667 h 2054666"/>
                  <a:gd name="connsiteX5" fmla="*/ 952556 w 1460619"/>
                  <a:gd name="connsiteY5" fmla="*/ 2054667 h 2054666"/>
                  <a:gd name="connsiteX6" fmla="*/ 1054187 w 1460619"/>
                  <a:gd name="connsiteY6" fmla="*/ 1993707 h 2054666"/>
                  <a:gd name="connsiteX7" fmla="*/ 1460619 w 1460619"/>
                  <a:gd name="connsiteY7" fmla="*/ 327498 h 2054666"/>
                  <a:gd name="connsiteX8" fmla="*/ 1419852 w 1460619"/>
                  <a:gd name="connsiteY8" fmla="*/ 246155 h 2054666"/>
                  <a:gd name="connsiteX0" fmla="*/ 1419951 w 1460718"/>
                  <a:gd name="connsiteY0" fmla="*/ 272487 h 2080998"/>
                  <a:gd name="connsiteX1" fmla="*/ 343055 w 1460718"/>
                  <a:gd name="connsiteY1" fmla="*/ 48935 h 2080998"/>
                  <a:gd name="connsiteX2" fmla="*/ 282095 w 1460718"/>
                  <a:gd name="connsiteY2" fmla="*/ 69223 h 2080998"/>
                  <a:gd name="connsiteX3" fmla="*/ 391 w 1460718"/>
                  <a:gd name="connsiteY3" fmla="*/ 1938409 h 2080998"/>
                  <a:gd name="connsiteX4" fmla="*/ 343055 w 1460718"/>
                  <a:gd name="connsiteY4" fmla="*/ 2080999 h 2080998"/>
                  <a:gd name="connsiteX5" fmla="*/ 952655 w 1460718"/>
                  <a:gd name="connsiteY5" fmla="*/ 2080999 h 2080998"/>
                  <a:gd name="connsiteX6" fmla="*/ 1054286 w 1460718"/>
                  <a:gd name="connsiteY6" fmla="*/ 2020039 h 2080998"/>
                  <a:gd name="connsiteX7" fmla="*/ 1460718 w 1460718"/>
                  <a:gd name="connsiteY7" fmla="*/ 353830 h 2080998"/>
                  <a:gd name="connsiteX8" fmla="*/ 1419951 w 1460718"/>
                  <a:gd name="connsiteY8" fmla="*/ 272487 h 2080998"/>
                  <a:gd name="connsiteX0" fmla="*/ 1420014 w 1460781"/>
                  <a:gd name="connsiteY0" fmla="*/ 274876 h 2083387"/>
                  <a:gd name="connsiteX1" fmla="*/ 343118 w 1460781"/>
                  <a:gd name="connsiteY1" fmla="*/ 51324 h 2083387"/>
                  <a:gd name="connsiteX2" fmla="*/ 282158 w 1460781"/>
                  <a:gd name="connsiteY2" fmla="*/ 71612 h 2083387"/>
                  <a:gd name="connsiteX3" fmla="*/ 454 w 1460781"/>
                  <a:gd name="connsiteY3" fmla="*/ 1940798 h 2083387"/>
                  <a:gd name="connsiteX4" fmla="*/ 343118 w 1460781"/>
                  <a:gd name="connsiteY4" fmla="*/ 2083388 h 2083387"/>
                  <a:gd name="connsiteX5" fmla="*/ 952718 w 1460781"/>
                  <a:gd name="connsiteY5" fmla="*/ 2083388 h 2083387"/>
                  <a:gd name="connsiteX6" fmla="*/ 1054349 w 1460781"/>
                  <a:gd name="connsiteY6" fmla="*/ 2022428 h 2083387"/>
                  <a:gd name="connsiteX7" fmla="*/ 1460781 w 1460781"/>
                  <a:gd name="connsiteY7" fmla="*/ 356219 h 2083387"/>
                  <a:gd name="connsiteX8" fmla="*/ 1420014 w 1460781"/>
                  <a:gd name="connsiteY8" fmla="*/ 274876 h 2083387"/>
                  <a:gd name="connsiteX0" fmla="*/ 1420014 w 1460781"/>
                  <a:gd name="connsiteY0" fmla="*/ 274876 h 2083387"/>
                  <a:gd name="connsiteX1" fmla="*/ 343118 w 1460781"/>
                  <a:gd name="connsiteY1" fmla="*/ 51324 h 2083387"/>
                  <a:gd name="connsiteX2" fmla="*/ 282158 w 1460781"/>
                  <a:gd name="connsiteY2" fmla="*/ 71612 h 2083387"/>
                  <a:gd name="connsiteX3" fmla="*/ 454 w 1460781"/>
                  <a:gd name="connsiteY3" fmla="*/ 1940798 h 2083387"/>
                  <a:gd name="connsiteX4" fmla="*/ 343118 w 1460781"/>
                  <a:gd name="connsiteY4" fmla="*/ 2083388 h 2083387"/>
                  <a:gd name="connsiteX5" fmla="*/ 952718 w 1460781"/>
                  <a:gd name="connsiteY5" fmla="*/ 2083388 h 2083387"/>
                  <a:gd name="connsiteX6" fmla="*/ 1054349 w 1460781"/>
                  <a:gd name="connsiteY6" fmla="*/ 2022428 h 2083387"/>
                  <a:gd name="connsiteX7" fmla="*/ 1460781 w 1460781"/>
                  <a:gd name="connsiteY7" fmla="*/ 356219 h 2083387"/>
                  <a:gd name="connsiteX8" fmla="*/ 1420014 w 1460781"/>
                  <a:gd name="connsiteY8" fmla="*/ 274876 h 2083387"/>
                  <a:gd name="connsiteX0" fmla="*/ 1420014 w 1460781"/>
                  <a:gd name="connsiteY0" fmla="*/ 231411 h 2039922"/>
                  <a:gd name="connsiteX1" fmla="*/ 343118 w 1460781"/>
                  <a:gd name="connsiteY1" fmla="*/ 7859 h 2039922"/>
                  <a:gd name="connsiteX2" fmla="*/ 282158 w 1460781"/>
                  <a:gd name="connsiteY2" fmla="*/ 28147 h 2039922"/>
                  <a:gd name="connsiteX3" fmla="*/ 454 w 1460781"/>
                  <a:gd name="connsiteY3" fmla="*/ 1897333 h 2039922"/>
                  <a:gd name="connsiteX4" fmla="*/ 343118 w 1460781"/>
                  <a:gd name="connsiteY4" fmla="*/ 2039923 h 2039922"/>
                  <a:gd name="connsiteX5" fmla="*/ 952718 w 1460781"/>
                  <a:gd name="connsiteY5" fmla="*/ 2039923 h 2039922"/>
                  <a:gd name="connsiteX6" fmla="*/ 1054349 w 1460781"/>
                  <a:gd name="connsiteY6" fmla="*/ 1978963 h 2039922"/>
                  <a:gd name="connsiteX7" fmla="*/ 1460781 w 1460781"/>
                  <a:gd name="connsiteY7" fmla="*/ 312754 h 2039922"/>
                  <a:gd name="connsiteX8" fmla="*/ 1420014 w 1460781"/>
                  <a:gd name="connsiteY8" fmla="*/ 231411 h 2039922"/>
                  <a:gd name="connsiteX0" fmla="*/ 1420485 w 1461252"/>
                  <a:gd name="connsiteY0" fmla="*/ 231411 h 2039922"/>
                  <a:gd name="connsiteX1" fmla="*/ 343589 w 1461252"/>
                  <a:gd name="connsiteY1" fmla="*/ 7859 h 2039922"/>
                  <a:gd name="connsiteX2" fmla="*/ 282629 w 1461252"/>
                  <a:gd name="connsiteY2" fmla="*/ 28147 h 2039922"/>
                  <a:gd name="connsiteX3" fmla="*/ 925 w 1461252"/>
                  <a:gd name="connsiteY3" fmla="*/ 1897333 h 2039922"/>
                  <a:gd name="connsiteX4" fmla="*/ 343589 w 1461252"/>
                  <a:gd name="connsiteY4" fmla="*/ 2039923 h 2039922"/>
                  <a:gd name="connsiteX5" fmla="*/ 953189 w 1461252"/>
                  <a:gd name="connsiteY5" fmla="*/ 2039923 h 2039922"/>
                  <a:gd name="connsiteX6" fmla="*/ 1054820 w 1461252"/>
                  <a:gd name="connsiteY6" fmla="*/ 1978963 h 2039922"/>
                  <a:gd name="connsiteX7" fmla="*/ 1461252 w 1461252"/>
                  <a:gd name="connsiteY7" fmla="*/ 312754 h 2039922"/>
                  <a:gd name="connsiteX8" fmla="*/ 1420485 w 1461252"/>
                  <a:gd name="connsiteY8" fmla="*/ 231411 h 2039922"/>
                  <a:gd name="connsiteX0" fmla="*/ 1494466 w 1535233"/>
                  <a:gd name="connsiteY0" fmla="*/ 231411 h 2039922"/>
                  <a:gd name="connsiteX1" fmla="*/ 417570 w 1535233"/>
                  <a:gd name="connsiteY1" fmla="*/ 7859 h 2039922"/>
                  <a:gd name="connsiteX2" fmla="*/ 356610 w 1535233"/>
                  <a:gd name="connsiteY2" fmla="*/ 28147 h 2039922"/>
                  <a:gd name="connsiteX3" fmla="*/ 497 w 1535233"/>
                  <a:gd name="connsiteY3" fmla="*/ 1783447 h 2039922"/>
                  <a:gd name="connsiteX4" fmla="*/ 417570 w 1535233"/>
                  <a:gd name="connsiteY4" fmla="*/ 2039923 h 2039922"/>
                  <a:gd name="connsiteX5" fmla="*/ 1027170 w 1535233"/>
                  <a:gd name="connsiteY5" fmla="*/ 2039923 h 2039922"/>
                  <a:gd name="connsiteX6" fmla="*/ 1128801 w 1535233"/>
                  <a:gd name="connsiteY6" fmla="*/ 1978963 h 2039922"/>
                  <a:gd name="connsiteX7" fmla="*/ 1535233 w 1535233"/>
                  <a:gd name="connsiteY7" fmla="*/ 312754 h 2039922"/>
                  <a:gd name="connsiteX8" fmla="*/ 1494466 w 1535233"/>
                  <a:gd name="connsiteY8" fmla="*/ 231411 h 2039922"/>
                  <a:gd name="connsiteX0" fmla="*/ 1502188 w 1542955"/>
                  <a:gd name="connsiteY0" fmla="*/ 231411 h 2039922"/>
                  <a:gd name="connsiteX1" fmla="*/ 425292 w 1542955"/>
                  <a:gd name="connsiteY1" fmla="*/ 7859 h 2039922"/>
                  <a:gd name="connsiteX2" fmla="*/ 364332 w 1542955"/>
                  <a:gd name="connsiteY2" fmla="*/ 28147 h 2039922"/>
                  <a:gd name="connsiteX3" fmla="*/ 8219 w 1542955"/>
                  <a:gd name="connsiteY3" fmla="*/ 1783447 h 2039922"/>
                  <a:gd name="connsiteX4" fmla="*/ 425292 w 1542955"/>
                  <a:gd name="connsiteY4" fmla="*/ 2039923 h 2039922"/>
                  <a:gd name="connsiteX5" fmla="*/ 1034892 w 1542955"/>
                  <a:gd name="connsiteY5" fmla="*/ 2039923 h 2039922"/>
                  <a:gd name="connsiteX6" fmla="*/ 1136523 w 1542955"/>
                  <a:gd name="connsiteY6" fmla="*/ 1978963 h 2039922"/>
                  <a:gd name="connsiteX7" fmla="*/ 1542955 w 1542955"/>
                  <a:gd name="connsiteY7" fmla="*/ 312754 h 2039922"/>
                  <a:gd name="connsiteX8" fmla="*/ 1502188 w 1542955"/>
                  <a:gd name="connsiteY8" fmla="*/ 231411 h 2039922"/>
                  <a:gd name="connsiteX0" fmla="*/ 1502188 w 1542955"/>
                  <a:gd name="connsiteY0" fmla="*/ 231411 h 2039922"/>
                  <a:gd name="connsiteX1" fmla="*/ 425292 w 1542955"/>
                  <a:gd name="connsiteY1" fmla="*/ 7859 h 2039922"/>
                  <a:gd name="connsiteX2" fmla="*/ 364332 w 1542955"/>
                  <a:gd name="connsiteY2" fmla="*/ 28147 h 2039922"/>
                  <a:gd name="connsiteX3" fmla="*/ 8219 w 1542955"/>
                  <a:gd name="connsiteY3" fmla="*/ 1783447 h 2039922"/>
                  <a:gd name="connsiteX4" fmla="*/ 425292 w 1542955"/>
                  <a:gd name="connsiteY4" fmla="*/ 2039923 h 2039922"/>
                  <a:gd name="connsiteX5" fmla="*/ 1034892 w 1542955"/>
                  <a:gd name="connsiteY5" fmla="*/ 2039923 h 2039922"/>
                  <a:gd name="connsiteX6" fmla="*/ 1136523 w 1542955"/>
                  <a:gd name="connsiteY6" fmla="*/ 1978963 h 2039922"/>
                  <a:gd name="connsiteX7" fmla="*/ 1542955 w 1542955"/>
                  <a:gd name="connsiteY7" fmla="*/ 312754 h 2039922"/>
                  <a:gd name="connsiteX8" fmla="*/ 1502188 w 1542955"/>
                  <a:gd name="connsiteY8" fmla="*/ 231411 h 2039922"/>
                  <a:gd name="connsiteX0" fmla="*/ 1502188 w 1542955"/>
                  <a:gd name="connsiteY0" fmla="*/ 231411 h 2040069"/>
                  <a:gd name="connsiteX1" fmla="*/ 425292 w 1542955"/>
                  <a:gd name="connsiteY1" fmla="*/ 7859 h 2040069"/>
                  <a:gd name="connsiteX2" fmla="*/ 364332 w 1542955"/>
                  <a:gd name="connsiteY2" fmla="*/ 28147 h 2040069"/>
                  <a:gd name="connsiteX3" fmla="*/ 8219 w 1542955"/>
                  <a:gd name="connsiteY3" fmla="*/ 1783447 h 2040069"/>
                  <a:gd name="connsiteX4" fmla="*/ 425292 w 1542955"/>
                  <a:gd name="connsiteY4" fmla="*/ 2039923 h 2040069"/>
                  <a:gd name="connsiteX5" fmla="*/ 1034892 w 1542955"/>
                  <a:gd name="connsiteY5" fmla="*/ 2039923 h 2040069"/>
                  <a:gd name="connsiteX6" fmla="*/ 1136523 w 1542955"/>
                  <a:gd name="connsiteY6" fmla="*/ 1978963 h 2040069"/>
                  <a:gd name="connsiteX7" fmla="*/ 1542955 w 1542955"/>
                  <a:gd name="connsiteY7" fmla="*/ 312754 h 2040069"/>
                  <a:gd name="connsiteX8" fmla="*/ 1502188 w 1542955"/>
                  <a:gd name="connsiteY8" fmla="*/ 231411 h 2040069"/>
                  <a:gd name="connsiteX0" fmla="*/ 1502188 w 1542955"/>
                  <a:gd name="connsiteY0" fmla="*/ 231411 h 2040249"/>
                  <a:gd name="connsiteX1" fmla="*/ 425292 w 1542955"/>
                  <a:gd name="connsiteY1" fmla="*/ 7859 h 2040249"/>
                  <a:gd name="connsiteX2" fmla="*/ 364332 w 1542955"/>
                  <a:gd name="connsiteY2" fmla="*/ 28147 h 2040249"/>
                  <a:gd name="connsiteX3" fmla="*/ 8219 w 1542955"/>
                  <a:gd name="connsiteY3" fmla="*/ 1783447 h 2040249"/>
                  <a:gd name="connsiteX4" fmla="*/ 425292 w 1542955"/>
                  <a:gd name="connsiteY4" fmla="*/ 2039923 h 2040249"/>
                  <a:gd name="connsiteX5" fmla="*/ 1034892 w 1542955"/>
                  <a:gd name="connsiteY5" fmla="*/ 2039923 h 2040249"/>
                  <a:gd name="connsiteX6" fmla="*/ 1136523 w 1542955"/>
                  <a:gd name="connsiteY6" fmla="*/ 1978963 h 2040249"/>
                  <a:gd name="connsiteX7" fmla="*/ 1542955 w 1542955"/>
                  <a:gd name="connsiteY7" fmla="*/ 312754 h 2040249"/>
                  <a:gd name="connsiteX8" fmla="*/ 1502188 w 1542955"/>
                  <a:gd name="connsiteY8" fmla="*/ 231411 h 2040249"/>
                  <a:gd name="connsiteX0" fmla="*/ 1502188 w 1542955"/>
                  <a:gd name="connsiteY0" fmla="*/ 231411 h 2042969"/>
                  <a:gd name="connsiteX1" fmla="*/ 425292 w 1542955"/>
                  <a:gd name="connsiteY1" fmla="*/ 7859 h 2042969"/>
                  <a:gd name="connsiteX2" fmla="*/ 364332 w 1542955"/>
                  <a:gd name="connsiteY2" fmla="*/ 28147 h 2042969"/>
                  <a:gd name="connsiteX3" fmla="*/ 8219 w 1542955"/>
                  <a:gd name="connsiteY3" fmla="*/ 1783447 h 2042969"/>
                  <a:gd name="connsiteX4" fmla="*/ 425292 w 1542955"/>
                  <a:gd name="connsiteY4" fmla="*/ 2039923 h 2042969"/>
                  <a:gd name="connsiteX5" fmla="*/ 1034892 w 1542955"/>
                  <a:gd name="connsiteY5" fmla="*/ 2039923 h 2042969"/>
                  <a:gd name="connsiteX6" fmla="*/ 1136523 w 1542955"/>
                  <a:gd name="connsiteY6" fmla="*/ 1978963 h 2042969"/>
                  <a:gd name="connsiteX7" fmla="*/ 1542955 w 1542955"/>
                  <a:gd name="connsiteY7" fmla="*/ 312754 h 2042969"/>
                  <a:gd name="connsiteX8" fmla="*/ 1502188 w 1542955"/>
                  <a:gd name="connsiteY8" fmla="*/ 231411 h 204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2955" h="2042969">
                    <a:moveTo>
                      <a:pt x="1502188" y="231411"/>
                    </a:moveTo>
                    <a:cubicBezTo>
                      <a:pt x="1339692" y="68819"/>
                      <a:pt x="648748" y="28147"/>
                      <a:pt x="425292" y="7859"/>
                    </a:cubicBezTo>
                    <a:cubicBezTo>
                      <a:pt x="404908" y="7859"/>
                      <a:pt x="426325" y="-19604"/>
                      <a:pt x="364332" y="28147"/>
                    </a:cubicBezTo>
                    <a:cubicBezTo>
                      <a:pt x="144591" y="164594"/>
                      <a:pt x="-41887" y="1543273"/>
                      <a:pt x="8219" y="1783447"/>
                    </a:cubicBezTo>
                    <a:cubicBezTo>
                      <a:pt x="35302" y="1984900"/>
                      <a:pt x="292365" y="2059621"/>
                      <a:pt x="425292" y="2039923"/>
                    </a:cubicBezTo>
                    <a:lnTo>
                      <a:pt x="1034892" y="2039923"/>
                    </a:lnTo>
                    <a:cubicBezTo>
                      <a:pt x="1075564" y="2039923"/>
                      <a:pt x="1116140" y="2019634"/>
                      <a:pt x="1136523" y="1978963"/>
                    </a:cubicBezTo>
                    <a:cubicBezTo>
                      <a:pt x="1136523" y="1918002"/>
                      <a:pt x="1502284" y="841011"/>
                      <a:pt x="1542955" y="312754"/>
                    </a:cubicBezTo>
                    <a:cubicBezTo>
                      <a:pt x="1542860" y="292371"/>
                      <a:pt x="1542860" y="251699"/>
                      <a:pt x="1502188" y="231411"/>
                    </a:cubicBezTo>
                    <a:close/>
                  </a:path>
                </a:pathLst>
              </a:custGeom>
              <a:grpFill/>
              <a:ln w="9525" cap="flat">
                <a:noFill/>
                <a:prstDash val="solid"/>
                <a:miter/>
              </a:ln>
            </p:spPr>
            <p:txBody>
              <a:bodyPr rtlCol="0" anchor="ctr"/>
              <a:lstStyle/>
              <a:p>
                <a:endParaRPr lang="nl-NL"/>
              </a:p>
            </p:txBody>
          </p:sp>
          <p:sp>
            <p:nvSpPr>
              <p:cNvPr id="19" name="Vrije vorm: vorm 18">
                <a:extLst>
                  <a:ext uri="{FF2B5EF4-FFF2-40B4-BE49-F238E27FC236}">
                    <a16:creationId xmlns:a16="http://schemas.microsoft.com/office/drawing/2014/main" id="{E5617A0A-8CEC-4C15-BADE-3B51179E952F}"/>
                  </a:ext>
                </a:extLst>
              </p:cNvPr>
              <p:cNvSpPr/>
              <p:nvPr/>
            </p:nvSpPr>
            <p:spPr>
              <a:xfrm>
                <a:off x="6874802" y="4841263"/>
                <a:ext cx="759943" cy="643749"/>
              </a:xfrm>
              <a:custGeom>
                <a:avLst/>
                <a:gdLst>
                  <a:gd name="connsiteX0" fmla="*/ 1889760 w 2638683"/>
                  <a:gd name="connsiteY0" fmla="*/ 894112 h 2235231"/>
                  <a:gd name="connsiteX1" fmla="*/ 1442752 w 2638683"/>
                  <a:gd name="connsiteY1" fmla="*/ 528352 h 2235231"/>
                  <a:gd name="connsiteX2" fmla="*/ 1381792 w 2638683"/>
                  <a:gd name="connsiteY2" fmla="*/ 569024 h 2235231"/>
                  <a:gd name="connsiteX3" fmla="*/ 1219200 w 2638683"/>
                  <a:gd name="connsiteY3" fmla="*/ 609695 h 2235231"/>
                  <a:gd name="connsiteX4" fmla="*/ 629888 w 2638683"/>
                  <a:gd name="connsiteY4" fmla="*/ 812863 h 2235231"/>
                  <a:gd name="connsiteX5" fmla="*/ 447008 w 2638683"/>
                  <a:gd name="connsiteY5" fmla="*/ 629984 h 2235231"/>
                  <a:gd name="connsiteX6" fmla="*/ 731520 w 2638683"/>
                  <a:gd name="connsiteY6" fmla="*/ 0 h 2235231"/>
                  <a:gd name="connsiteX7" fmla="*/ 325088 w 2638683"/>
                  <a:gd name="connsiteY7" fmla="*/ 0 h 2235231"/>
                  <a:gd name="connsiteX8" fmla="*/ 0 w 2638683"/>
                  <a:gd name="connsiteY8" fmla="*/ 1219200 h 2235231"/>
                  <a:gd name="connsiteX9" fmla="*/ 223552 w 2638683"/>
                  <a:gd name="connsiteY9" fmla="*/ 1442752 h 2235231"/>
                  <a:gd name="connsiteX10" fmla="*/ 1137952 w 2638683"/>
                  <a:gd name="connsiteY10" fmla="*/ 2153984 h 2235231"/>
                  <a:gd name="connsiteX11" fmla="*/ 1381792 w 2638683"/>
                  <a:gd name="connsiteY11" fmla="*/ 2235232 h 2235231"/>
                  <a:gd name="connsiteX12" fmla="*/ 1442752 w 2638683"/>
                  <a:gd name="connsiteY12" fmla="*/ 2235232 h 2235231"/>
                  <a:gd name="connsiteX13" fmla="*/ 1117664 w 2638683"/>
                  <a:gd name="connsiteY13" fmla="*/ 1910144 h 2235231"/>
                  <a:gd name="connsiteX14" fmla="*/ 1117664 w 2638683"/>
                  <a:gd name="connsiteY14" fmla="*/ 1767935 h 2235231"/>
                  <a:gd name="connsiteX15" fmla="*/ 1259872 w 2638683"/>
                  <a:gd name="connsiteY15" fmla="*/ 1767935 h 2235231"/>
                  <a:gd name="connsiteX16" fmla="*/ 1666304 w 2638683"/>
                  <a:gd name="connsiteY16" fmla="*/ 2174367 h 2235231"/>
                  <a:gd name="connsiteX17" fmla="*/ 1788224 w 2638683"/>
                  <a:gd name="connsiteY17" fmla="*/ 2194655 h 2235231"/>
                  <a:gd name="connsiteX18" fmla="*/ 1889855 w 2638683"/>
                  <a:gd name="connsiteY18" fmla="*/ 2072735 h 2235231"/>
                  <a:gd name="connsiteX19" fmla="*/ 1422463 w 2638683"/>
                  <a:gd name="connsiteY19" fmla="*/ 1605343 h 2235231"/>
                  <a:gd name="connsiteX20" fmla="*/ 1422463 w 2638683"/>
                  <a:gd name="connsiteY20" fmla="*/ 1463135 h 2235231"/>
                  <a:gd name="connsiteX21" fmla="*/ 1564672 w 2638683"/>
                  <a:gd name="connsiteY21" fmla="*/ 1463135 h 2235231"/>
                  <a:gd name="connsiteX22" fmla="*/ 2072640 w 2638683"/>
                  <a:gd name="connsiteY22" fmla="*/ 1971104 h 2235231"/>
                  <a:gd name="connsiteX23" fmla="*/ 2235232 w 2638683"/>
                  <a:gd name="connsiteY23" fmla="*/ 1971104 h 2235231"/>
                  <a:gd name="connsiteX24" fmla="*/ 2316480 w 2638683"/>
                  <a:gd name="connsiteY24" fmla="*/ 1889855 h 2235231"/>
                  <a:gd name="connsiteX25" fmla="*/ 1747552 w 2638683"/>
                  <a:gd name="connsiteY25" fmla="*/ 1320927 h 2235231"/>
                  <a:gd name="connsiteX26" fmla="*/ 1747552 w 2638683"/>
                  <a:gd name="connsiteY26" fmla="*/ 1178719 h 2235231"/>
                  <a:gd name="connsiteX27" fmla="*/ 1889760 w 2638683"/>
                  <a:gd name="connsiteY27" fmla="*/ 1178719 h 2235231"/>
                  <a:gd name="connsiteX28" fmla="*/ 2479072 w 2638683"/>
                  <a:gd name="connsiteY28" fmla="*/ 1768031 h 2235231"/>
                  <a:gd name="connsiteX29" fmla="*/ 2600992 w 2638683"/>
                  <a:gd name="connsiteY29" fmla="*/ 1747742 h 2235231"/>
                  <a:gd name="connsiteX30" fmla="*/ 2621280 w 2638683"/>
                  <a:gd name="connsiteY30" fmla="*/ 1585151 h 2235231"/>
                  <a:gd name="connsiteX31" fmla="*/ 1889760 w 2638683"/>
                  <a:gd name="connsiteY31" fmla="*/ 894112 h 2235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638683" h="2235231">
                    <a:moveTo>
                      <a:pt x="1889760" y="894112"/>
                    </a:moveTo>
                    <a:cubicBezTo>
                      <a:pt x="1727168" y="751904"/>
                      <a:pt x="1564672" y="629984"/>
                      <a:pt x="1442752" y="528352"/>
                    </a:cubicBezTo>
                    <a:cubicBezTo>
                      <a:pt x="1422463" y="548640"/>
                      <a:pt x="1381792" y="548640"/>
                      <a:pt x="1381792" y="569024"/>
                    </a:cubicBezTo>
                    <a:cubicBezTo>
                      <a:pt x="1320832" y="589312"/>
                      <a:pt x="1300544" y="609695"/>
                      <a:pt x="1219200" y="609695"/>
                    </a:cubicBezTo>
                    <a:cubicBezTo>
                      <a:pt x="1056608" y="812863"/>
                      <a:pt x="853440" y="894207"/>
                      <a:pt x="629888" y="812863"/>
                    </a:cubicBezTo>
                    <a:cubicBezTo>
                      <a:pt x="528257" y="792575"/>
                      <a:pt x="467297" y="711232"/>
                      <a:pt x="447008" y="629984"/>
                    </a:cubicBezTo>
                    <a:cubicBezTo>
                      <a:pt x="406432" y="426720"/>
                      <a:pt x="589312" y="142208"/>
                      <a:pt x="731520" y="0"/>
                    </a:cubicBezTo>
                    <a:lnTo>
                      <a:pt x="325088" y="0"/>
                    </a:lnTo>
                    <a:cubicBezTo>
                      <a:pt x="243840" y="406432"/>
                      <a:pt x="101536" y="934688"/>
                      <a:pt x="0" y="1219200"/>
                    </a:cubicBezTo>
                    <a:cubicBezTo>
                      <a:pt x="81248" y="1300448"/>
                      <a:pt x="162592" y="1402080"/>
                      <a:pt x="223552" y="1442752"/>
                    </a:cubicBezTo>
                    <a:cubicBezTo>
                      <a:pt x="609600" y="1767840"/>
                      <a:pt x="1056704" y="2093023"/>
                      <a:pt x="1137952" y="2153984"/>
                    </a:cubicBezTo>
                    <a:cubicBezTo>
                      <a:pt x="1198912" y="2194655"/>
                      <a:pt x="1320832" y="2235232"/>
                      <a:pt x="1381792" y="2235232"/>
                    </a:cubicBezTo>
                    <a:cubicBezTo>
                      <a:pt x="1402080" y="2235232"/>
                      <a:pt x="1422463" y="2235232"/>
                      <a:pt x="1442752" y="2235232"/>
                    </a:cubicBezTo>
                    <a:lnTo>
                      <a:pt x="1117664" y="1910144"/>
                    </a:lnTo>
                    <a:cubicBezTo>
                      <a:pt x="1076992" y="1869472"/>
                      <a:pt x="1076992" y="1808512"/>
                      <a:pt x="1117664" y="1767935"/>
                    </a:cubicBezTo>
                    <a:cubicBezTo>
                      <a:pt x="1158335" y="1727264"/>
                      <a:pt x="1219295" y="1727264"/>
                      <a:pt x="1259872" y="1767935"/>
                    </a:cubicBezTo>
                    <a:lnTo>
                      <a:pt x="1666304" y="2174367"/>
                    </a:lnTo>
                    <a:cubicBezTo>
                      <a:pt x="1706975" y="2215039"/>
                      <a:pt x="1747552" y="2194655"/>
                      <a:pt x="1788224" y="2194655"/>
                    </a:cubicBezTo>
                    <a:cubicBezTo>
                      <a:pt x="1849184" y="2174367"/>
                      <a:pt x="1869472" y="2133695"/>
                      <a:pt x="1889855" y="2072735"/>
                    </a:cubicBezTo>
                    <a:lnTo>
                      <a:pt x="1422463" y="1605343"/>
                    </a:lnTo>
                    <a:cubicBezTo>
                      <a:pt x="1381792" y="1564672"/>
                      <a:pt x="1381792" y="1503712"/>
                      <a:pt x="1422463" y="1463135"/>
                    </a:cubicBezTo>
                    <a:cubicBezTo>
                      <a:pt x="1463135" y="1422464"/>
                      <a:pt x="1524095" y="1422464"/>
                      <a:pt x="1564672" y="1463135"/>
                    </a:cubicBezTo>
                    <a:lnTo>
                      <a:pt x="2072640" y="1971104"/>
                    </a:lnTo>
                    <a:cubicBezTo>
                      <a:pt x="2092928" y="1991392"/>
                      <a:pt x="2174272" y="1991392"/>
                      <a:pt x="2235232" y="1971104"/>
                    </a:cubicBezTo>
                    <a:cubicBezTo>
                      <a:pt x="2255520" y="1950815"/>
                      <a:pt x="2296192" y="1930432"/>
                      <a:pt x="2316480" y="1889855"/>
                    </a:cubicBezTo>
                    <a:lnTo>
                      <a:pt x="1747552" y="1320927"/>
                    </a:lnTo>
                    <a:cubicBezTo>
                      <a:pt x="1706880" y="1280255"/>
                      <a:pt x="1706880" y="1219295"/>
                      <a:pt x="1747552" y="1178719"/>
                    </a:cubicBezTo>
                    <a:cubicBezTo>
                      <a:pt x="1788224" y="1138142"/>
                      <a:pt x="1849184" y="1138047"/>
                      <a:pt x="1889760" y="1178719"/>
                    </a:cubicBezTo>
                    <a:lnTo>
                      <a:pt x="2479072" y="1768031"/>
                    </a:lnTo>
                    <a:cubicBezTo>
                      <a:pt x="2519744" y="1788319"/>
                      <a:pt x="2560320" y="1768031"/>
                      <a:pt x="2600992" y="1747742"/>
                    </a:cubicBezTo>
                    <a:cubicBezTo>
                      <a:pt x="2621280" y="1727454"/>
                      <a:pt x="2661952" y="1666494"/>
                      <a:pt x="2621280" y="1585151"/>
                    </a:cubicBezTo>
                    <a:cubicBezTo>
                      <a:pt x="2540032" y="1402080"/>
                      <a:pt x="2194560" y="1137952"/>
                      <a:pt x="1889760" y="894112"/>
                    </a:cubicBezTo>
                    <a:close/>
                  </a:path>
                </a:pathLst>
              </a:custGeom>
              <a:grpFill/>
              <a:ln w="9525" cap="flat">
                <a:noFill/>
                <a:prstDash val="solid"/>
                <a:miter/>
              </a:ln>
            </p:spPr>
            <p:txBody>
              <a:bodyPr rtlCol="0" anchor="ctr"/>
              <a:lstStyle/>
              <a:p>
                <a:endParaRPr lang="nl-NL" dirty="0"/>
              </a:p>
            </p:txBody>
          </p:sp>
        </p:grpSp>
      </p:grpSp>
      <p:sp>
        <p:nvSpPr>
          <p:cNvPr id="220" name="Tekstvak 219">
            <a:extLst>
              <a:ext uri="{FF2B5EF4-FFF2-40B4-BE49-F238E27FC236}">
                <a16:creationId xmlns:a16="http://schemas.microsoft.com/office/drawing/2014/main" id="{C5BD5266-2BA4-4A29-8BF6-CD6051D2DC11}"/>
              </a:ext>
            </a:extLst>
          </p:cNvPr>
          <p:cNvSpPr txBox="1"/>
          <p:nvPr/>
        </p:nvSpPr>
        <p:spPr>
          <a:xfrm>
            <a:off x="4231927" y="5390568"/>
            <a:ext cx="1097908" cy="427239"/>
          </a:xfrm>
          <a:prstGeom prst="rect">
            <a:avLst/>
          </a:prstGeom>
          <a:noFill/>
        </p:spPr>
        <p:txBody>
          <a:bodyPr wrap="square" lIns="0" tIns="0" rIns="0" bIns="0" rtlCol="0" anchor="ctr">
            <a:noAutofit/>
          </a:bodyPr>
          <a:lstStyle/>
          <a:p>
            <a:pPr algn="r"/>
            <a:r>
              <a:rPr lang="en-GB" sz="3600" b="1" cap="all" dirty="0">
                <a:solidFill>
                  <a:schemeClr val="bg1"/>
                </a:solidFill>
                <a:latin typeface="+mj-lt"/>
              </a:rPr>
              <a:t>15+</a:t>
            </a:r>
          </a:p>
        </p:txBody>
      </p:sp>
      <p:sp>
        <p:nvSpPr>
          <p:cNvPr id="221" name="Tekstvak 220">
            <a:extLst>
              <a:ext uri="{FF2B5EF4-FFF2-40B4-BE49-F238E27FC236}">
                <a16:creationId xmlns:a16="http://schemas.microsoft.com/office/drawing/2014/main" id="{FE3D37B0-5FB4-4331-9A01-6B336C6CC3E8}"/>
              </a:ext>
            </a:extLst>
          </p:cNvPr>
          <p:cNvSpPr txBox="1"/>
          <p:nvPr/>
        </p:nvSpPr>
        <p:spPr>
          <a:xfrm>
            <a:off x="3645445" y="5199525"/>
            <a:ext cx="1658800" cy="151489"/>
          </a:xfrm>
          <a:prstGeom prst="rect">
            <a:avLst/>
          </a:prstGeom>
          <a:noFill/>
        </p:spPr>
        <p:txBody>
          <a:bodyPr wrap="square" lIns="0" tIns="0" rIns="0" bIns="0" rtlCol="0" anchor="t">
            <a:noAutofit/>
          </a:bodyPr>
          <a:lstStyle/>
          <a:p>
            <a:pPr algn="r"/>
            <a:r>
              <a:rPr lang="en-GB" sz="1050" b="1" cap="all" dirty="0">
                <a:solidFill>
                  <a:schemeClr val="tx2">
                    <a:lumMod val="40000"/>
                    <a:lumOff val="60000"/>
                  </a:schemeClr>
                </a:solidFill>
                <a:latin typeface="+mj-lt"/>
              </a:rPr>
              <a:t>Active in</a:t>
            </a:r>
          </a:p>
        </p:txBody>
      </p:sp>
      <p:sp>
        <p:nvSpPr>
          <p:cNvPr id="222" name="Tekstvak 221">
            <a:extLst>
              <a:ext uri="{FF2B5EF4-FFF2-40B4-BE49-F238E27FC236}">
                <a16:creationId xmlns:a16="http://schemas.microsoft.com/office/drawing/2014/main" id="{07B5D96F-A821-489A-BFB1-26EF2C9C5C95}"/>
              </a:ext>
            </a:extLst>
          </p:cNvPr>
          <p:cNvSpPr txBox="1"/>
          <p:nvPr/>
        </p:nvSpPr>
        <p:spPr>
          <a:xfrm>
            <a:off x="4495222" y="5857362"/>
            <a:ext cx="809024" cy="166620"/>
          </a:xfrm>
          <a:prstGeom prst="rect">
            <a:avLst/>
          </a:prstGeom>
          <a:noFill/>
        </p:spPr>
        <p:txBody>
          <a:bodyPr wrap="square" lIns="0" tIns="0" rIns="0" bIns="0" rtlCol="0" anchor="t">
            <a:noAutofit/>
          </a:bodyPr>
          <a:lstStyle/>
          <a:p>
            <a:pPr algn="r"/>
            <a:r>
              <a:rPr lang="en-GB" sz="1050" b="1" cap="all" dirty="0">
                <a:solidFill>
                  <a:schemeClr val="tx2">
                    <a:lumMod val="40000"/>
                    <a:lumOff val="60000"/>
                  </a:schemeClr>
                </a:solidFill>
                <a:latin typeface="+mj-lt"/>
              </a:rPr>
              <a:t>Countries</a:t>
            </a:r>
          </a:p>
        </p:txBody>
      </p:sp>
      <p:grpSp>
        <p:nvGrpSpPr>
          <p:cNvPr id="29" name="Groep 28">
            <a:extLst>
              <a:ext uri="{FF2B5EF4-FFF2-40B4-BE49-F238E27FC236}">
                <a16:creationId xmlns:a16="http://schemas.microsoft.com/office/drawing/2014/main" id="{EA95C4CD-54E2-4EFB-94DE-FA65E2D2D075}"/>
              </a:ext>
            </a:extLst>
          </p:cNvPr>
          <p:cNvGrpSpPr/>
          <p:nvPr/>
        </p:nvGrpSpPr>
        <p:grpSpPr>
          <a:xfrm>
            <a:off x="3731655" y="4939475"/>
            <a:ext cx="679405" cy="679405"/>
            <a:chOff x="9031691" y="4091658"/>
            <a:chExt cx="723900" cy="723900"/>
          </a:xfrm>
          <a:solidFill>
            <a:schemeClr val="bg1">
              <a:alpha val="50000"/>
            </a:schemeClr>
          </a:solidFill>
        </p:grpSpPr>
        <p:sp>
          <p:nvSpPr>
            <p:cNvPr id="27" name="Vrije vorm: vorm 26">
              <a:extLst>
                <a:ext uri="{FF2B5EF4-FFF2-40B4-BE49-F238E27FC236}">
                  <a16:creationId xmlns:a16="http://schemas.microsoft.com/office/drawing/2014/main" id="{150812DF-0FDE-4212-A42A-3033A7087DF1}"/>
                </a:ext>
              </a:extLst>
            </p:cNvPr>
            <p:cNvSpPr/>
            <p:nvPr/>
          </p:nvSpPr>
          <p:spPr>
            <a:xfrm>
              <a:off x="9031691" y="4091658"/>
              <a:ext cx="723900" cy="723900"/>
            </a:xfrm>
            <a:custGeom>
              <a:avLst/>
              <a:gdLst>
                <a:gd name="connsiteX0" fmla="*/ 361950 w 723900"/>
                <a:gd name="connsiteY0" fmla="*/ 0 h 723900"/>
                <a:gd name="connsiteX1" fmla="*/ 0 w 723900"/>
                <a:gd name="connsiteY1" fmla="*/ 361950 h 723900"/>
                <a:gd name="connsiteX2" fmla="*/ 361950 w 723900"/>
                <a:gd name="connsiteY2" fmla="*/ 723900 h 723900"/>
                <a:gd name="connsiteX3" fmla="*/ 723900 w 723900"/>
                <a:gd name="connsiteY3" fmla="*/ 361950 h 723900"/>
                <a:gd name="connsiteX4" fmla="*/ 361950 w 723900"/>
                <a:gd name="connsiteY4" fmla="*/ 0 h 723900"/>
                <a:gd name="connsiteX5" fmla="*/ 361950 w 723900"/>
                <a:gd name="connsiteY5" fmla="*/ 685800 h 723900"/>
                <a:gd name="connsiteX6" fmla="*/ 38100 w 723900"/>
                <a:gd name="connsiteY6" fmla="*/ 361950 h 723900"/>
                <a:gd name="connsiteX7" fmla="*/ 361950 w 723900"/>
                <a:gd name="connsiteY7" fmla="*/ 38100 h 723900"/>
                <a:gd name="connsiteX8" fmla="*/ 492443 w 723900"/>
                <a:gd name="connsiteY8" fmla="*/ 65723 h 723900"/>
                <a:gd name="connsiteX9" fmla="*/ 461963 w 723900"/>
                <a:gd name="connsiteY9" fmla="*/ 90488 h 723900"/>
                <a:gd name="connsiteX10" fmla="*/ 449580 w 723900"/>
                <a:gd name="connsiteY10" fmla="*/ 95250 h 723900"/>
                <a:gd name="connsiteX11" fmla="*/ 431483 w 723900"/>
                <a:gd name="connsiteY11" fmla="*/ 95250 h 723900"/>
                <a:gd name="connsiteX12" fmla="*/ 424815 w 723900"/>
                <a:gd name="connsiteY12" fmla="*/ 94298 h 723900"/>
                <a:gd name="connsiteX13" fmla="*/ 351473 w 723900"/>
                <a:gd name="connsiteY13" fmla="*/ 66675 h 723900"/>
                <a:gd name="connsiteX14" fmla="*/ 265748 w 723900"/>
                <a:gd name="connsiteY14" fmla="*/ 95250 h 723900"/>
                <a:gd name="connsiteX15" fmla="*/ 274320 w 723900"/>
                <a:gd name="connsiteY15" fmla="*/ 123825 h 723900"/>
                <a:gd name="connsiteX16" fmla="*/ 276225 w 723900"/>
                <a:gd name="connsiteY16" fmla="*/ 123825 h 723900"/>
                <a:gd name="connsiteX17" fmla="*/ 302895 w 723900"/>
                <a:gd name="connsiteY17" fmla="*/ 123825 h 723900"/>
                <a:gd name="connsiteX18" fmla="*/ 319088 w 723900"/>
                <a:gd name="connsiteY18" fmla="*/ 115253 h 723900"/>
                <a:gd name="connsiteX19" fmla="*/ 329565 w 723900"/>
                <a:gd name="connsiteY19" fmla="*/ 99060 h 723900"/>
                <a:gd name="connsiteX20" fmla="*/ 337185 w 723900"/>
                <a:gd name="connsiteY20" fmla="*/ 95250 h 723900"/>
                <a:gd name="connsiteX21" fmla="*/ 352425 w 723900"/>
                <a:gd name="connsiteY21" fmla="*/ 95250 h 723900"/>
                <a:gd name="connsiteX22" fmla="*/ 332423 w 723900"/>
                <a:gd name="connsiteY22" fmla="*/ 128588 h 723900"/>
                <a:gd name="connsiteX23" fmla="*/ 307658 w 723900"/>
                <a:gd name="connsiteY23" fmla="*/ 142875 h 723900"/>
                <a:gd name="connsiteX24" fmla="*/ 281940 w 723900"/>
                <a:gd name="connsiteY24" fmla="*/ 142875 h 723900"/>
                <a:gd name="connsiteX25" fmla="*/ 271463 w 723900"/>
                <a:gd name="connsiteY25" fmla="*/ 145733 h 723900"/>
                <a:gd name="connsiteX26" fmla="*/ 247650 w 723900"/>
                <a:gd name="connsiteY26" fmla="*/ 161925 h 723900"/>
                <a:gd name="connsiteX27" fmla="*/ 228600 w 723900"/>
                <a:gd name="connsiteY27" fmla="*/ 161925 h 723900"/>
                <a:gd name="connsiteX28" fmla="*/ 219075 w 723900"/>
                <a:gd name="connsiteY28" fmla="*/ 171450 h 723900"/>
                <a:gd name="connsiteX29" fmla="*/ 219075 w 723900"/>
                <a:gd name="connsiteY29" fmla="*/ 180975 h 723900"/>
                <a:gd name="connsiteX30" fmla="*/ 209550 w 723900"/>
                <a:gd name="connsiteY30" fmla="*/ 190500 h 723900"/>
                <a:gd name="connsiteX31" fmla="*/ 200978 w 723900"/>
                <a:gd name="connsiteY31" fmla="*/ 190500 h 723900"/>
                <a:gd name="connsiteX32" fmla="*/ 184785 w 723900"/>
                <a:gd name="connsiteY32" fmla="*/ 199073 h 723900"/>
                <a:gd name="connsiteX33" fmla="*/ 173355 w 723900"/>
                <a:gd name="connsiteY33" fmla="*/ 217170 h 723900"/>
                <a:gd name="connsiteX34" fmla="*/ 171450 w 723900"/>
                <a:gd name="connsiteY34" fmla="*/ 222885 h 723900"/>
                <a:gd name="connsiteX35" fmla="*/ 171450 w 723900"/>
                <a:gd name="connsiteY35" fmla="*/ 228600 h 723900"/>
                <a:gd name="connsiteX36" fmla="*/ 180975 w 723900"/>
                <a:gd name="connsiteY36" fmla="*/ 238125 h 723900"/>
                <a:gd name="connsiteX37" fmla="*/ 215265 w 723900"/>
                <a:gd name="connsiteY37" fmla="*/ 238125 h 723900"/>
                <a:gd name="connsiteX38" fmla="*/ 221933 w 723900"/>
                <a:gd name="connsiteY38" fmla="*/ 235268 h 723900"/>
                <a:gd name="connsiteX39" fmla="*/ 251460 w 723900"/>
                <a:gd name="connsiteY39" fmla="*/ 205740 h 723900"/>
                <a:gd name="connsiteX40" fmla="*/ 264795 w 723900"/>
                <a:gd name="connsiteY40" fmla="*/ 200025 h 723900"/>
                <a:gd name="connsiteX41" fmla="*/ 268605 w 723900"/>
                <a:gd name="connsiteY41" fmla="*/ 200025 h 723900"/>
                <a:gd name="connsiteX42" fmla="*/ 278130 w 723900"/>
                <a:gd name="connsiteY42" fmla="*/ 207645 h 723900"/>
                <a:gd name="connsiteX43" fmla="*/ 283845 w 723900"/>
                <a:gd name="connsiteY43" fmla="*/ 231458 h 723900"/>
                <a:gd name="connsiteX44" fmla="*/ 293370 w 723900"/>
                <a:gd name="connsiteY44" fmla="*/ 239077 h 723900"/>
                <a:gd name="connsiteX45" fmla="*/ 295275 w 723900"/>
                <a:gd name="connsiteY45" fmla="*/ 239077 h 723900"/>
                <a:gd name="connsiteX46" fmla="*/ 304800 w 723900"/>
                <a:gd name="connsiteY46" fmla="*/ 229552 h 723900"/>
                <a:gd name="connsiteX47" fmla="*/ 304800 w 723900"/>
                <a:gd name="connsiteY47" fmla="*/ 204788 h 723900"/>
                <a:gd name="connsiteX48" fmla="*/ 307658 w 723900"/>
                <a:gd name="connsiteY48" fmla="*/ 198120 h 723900"/>
                <a:gd name="connsiteX49" fmla="*/ 314325 w 723900"/>
                <a:gd name="connsiteY49" fmla="*/ 190500 h 723900"/>
                <a:gd name="connsiteX50" fmla="*/ 321945 w 723900"/>
                <a:gd name="connsiteY50" fmla="*/ 212408 h 723900"/>
                <a:gd name="connsiteX51" fmla="*/ 330518 w 723900"/>
                <a:gd name="connsiteY51" fmla="*/ 219075 h 723900"/>
                <a:gd name="connsiteX52" fmla="*/ 339090 w 723900"/>
                <a:gd name="connsiteY52" fmla="*/ 219075 h 723900"/>
                <a:gd name="connsiteX53" fmla="*/ 345758 w 723900"/>
                <a:gd name="connsiteY53" fmla="*/ 216218 h 723900"/>
                <a:gd name="connsiteX54" fmla="*/ 349568 w 723900"/>
                <a:gd name="connsiteY54" fmla="*/ 212408 h 723900"/>
                <a:gd name="connsiteX55" fmla="*/ 356235 w 723900"/>
                <a:gd name="connsiteY55" fmla="*/ 209550 h 723900"/>
                <a:gd name="connsiteX56" fmla="*/ 361950 w 723900"/>
                <a:gd name="connsiteY56" fmla="*/ 209550 h 723900"/>
                <a:gd name="connsiteX57" fmla="*/ 371475 w 723900"/>
                <a:gd name="connsiteY57" fmla="*/ 219075 h 723900"/>
                <a:gd name="connsiteX58" fmla="*/ 371475 w 723900"/>
                <a:gd name="connsiteY58" fmla="*/ 228600 h 723900"/>
                <a:gd name="connsiteX59" fmla="*/ 381000 w 723900"/>
                <a:gd name="connsiteY59" fmla="*/ 238125 h 723900"/>
                <a:gd name="connsiteX60" fmla="*/ 415290 w 723900"/>
                <a:gd name="connsiteY60" fmla="*/ 238125 h 723900"/>
                <a:gd name="connsiteX61" fmla="*/ 423863 w 723900"/>
                <a:gd name="connsiteY61" fmla="*/ 250508 h 723900"/>
                <a:gd name="connsiteX62" fmla="*/ 421005 w 723900"/>
                <a:gd name="connsiteY62" fmla="*/ 259080 h 723900"/>
                <a:gd name="connsiteX63" fmla="*/ 410528 w 723900"/>
                <a:gd name="connsiteY63" fmla="*/ 265748 h 723900"/>
                <a:gd name="connsiteX64" fmla="*/ 364808 w 723900"/>
                <a:gd name="connsiteY64" fmla="*/ 258127 h 723900"/>
                <a:gd name="connsiteX65" fmla="*/ 358140 w 723900"/>
                <a:gd name="connsiteY65" fmla="*/ 258127 h 723900"/>
                <a:gd name="connsiteX66" fmla="*/ 319088 w 723900"/>
                <a:gd name="connsiteY66" fmla="*/ 265748 h 723900"/>
                <a:gd name="connsiteX67" fmla="*/ 308610 w 723900"/>
                <a:gd name="connsiteY67" fmla="*/ 264795 h 723900"/>
                <a:gd name="connsiteX68" fmla="*/ 247650 w 723900"/>
                <a:gd name="connsiteY68" fmla="*/ 247650 h 723900"/>
                <a:gd name="connsiteX69" fmla="*/ 133350 w 723900"/>
                <a:gd name="connsiteY69" fmla="*/ 352425 h 723900"/>
                <a:gd name="connsiteX70" fmla="*/ 190500 w 723900"/>
                <a:gd name="connsiteY70" fmla="*/ 419100 h 723900"/>
                <a:gd name="connsiteX71" fmla="*/ 285750 w 723900"/>
                <a:gd name="connsiteY71" fmla="*/ 495300 h 723900"/>
                <a:gd name="connsiteX72" fmla="*/ 285750 w 723900"/>
                <a:gd name="connsiteY72" fmla="*/ 554355 h 723900"/>
                <a:gd name="connsiteX73" fmla="*/ 297180 w 723900"/>
                <a:gd name="connsiteY73" fmla="*/ 584835 h 723900"/>
                <a:gd name="connsiteX74" fmla="*/ 324803 w 723900"/>
                <a:gd name="connsiteY74" fmla="*/ 618173 h 723900"/>
                <a:gd name="connsiteX75" fmla="*/ 346710 w 723900"/>
                <a:gd name="connsiteY75" fmla="*/ 628650 h 723900"/>
                <a:gd name="connsiteX76" fmla="*/ 369570 w 723900"/>
                <a:gd name="connsiteY76" fmla="*/ 628650 h 723900"/>
                <a:gd name="connsiteX77" fmla="*/ 389573 w 723900"/>
                <a:gd name="connsiteY77" fmla="*/ 620078 h 723900"/>
                <a:gd name="connsiteX78" fmla="*/ 412433 w 723900"/>
                <a:gd name="connsiteY78" fmla="*/ 597218 h 723900"/>
                <a:gd name="connsiteX79" fmla="*/ 422910 w 723900"/>
                <a:gd name="connsiteY79" fmla="*/ 581978 h 723900"/>
                <a:gd name="connsiteX80" fmla="*/ 441960 w 723900"/>
                <a:gd name="connsiteY80" fmla="*/ 542925 h 723900"/>
                <a:gd name="connsiteX81" fmla="*/ 446723 w 723900"/>
                <a:gd name="connsiteY81" fmla="*/ 521970 h 723900"/>
                <a:gd name="connsiteX82" fmla="*/ 446723 w 723900"/>
                <a:gd name="connsiteY82" fmla="*/ 478155 h 723900"/>
                <a:gd name="connsiteX83" fmla="*/ 455295 w 723900"/>
                <a:gd name="connsiteY83" fmla="*/ 458153 h 723900"/>
                <a:gd name="connsiteX84" fmla="*/ 505778 w 723900"/>
                <a:gd name="connsiteY84" fmla="*/ 407670 h 723900"/>
                <a:gd name="connsiteX85" fmla="*/ 504825 w 723900"/>
                <a:gd name="connsiteY85" fmla="*/ 393383 h 723900"/>
                <a:gd name="connsiteX86" fmla="*/ 416243 w 723900"/>
                <a:gd name="connsiteY86" fmla="*/ 300038 h 723900"/>
                <a:gd name="connsiteX87" fmla="*/ 424815 w 723900"/>
                <a:gd name="connsiteY87" fmla="*/ 285750 h 723900"/>
                <a:gd name="connsiteX88" fmla="*/ 428625 w 723900"/>
                <a:gd name="connsiteY88" fmla="*/ 285750 h 723900"/>
                <a:gd name="connsiteX89" fmla="*/ 482918 w 723900"/>
                <a:gd name="connsiteY89" fmla="*/ 356235 h 723900"/>
                <a:gd name="connsiteX90" fmla="*/ 510540 w 723900"/>
                <a:gd name="connsiteY90" fmla="*/ 359093 h 723900"/>
                <a:gd name="connsiteX91" fmla="*/ 541973 w 723900"/>
                <a:gd name="connsiteY91" fmla="*/ 332423 h 723900"/>
                <a:gd name="connsiteX92" fmla="*/ 541020 w 723900"/>
                <a:gd name="connsiteY92" fmla="*/ 317183 h 723900"/>
                <a:gd name="connsiteX93" fmla="*/ 512445 w 723900"/>
                <a:gd name="connsiteY93" fmla="*/ 300038 h 723900"/>
                <a:gd name="connsiteX94" fmla="*/ 508635 w 723900"/>
                <a:gd name="connsiteY94" fmla="*/ 287655 h 723900"/>
                <a:gd name="connsiteX95" fmla="*/ 509588 w 723900"/>
                <a:gd name="connsiteY95" fmla="*/ 285750 h 723900"/>
                <a:gd name="connsiteX96" fmla="*/ 522923 w 723900"/>
                <a:gd name="connsiteY96" fmla="*/ 281940 h 723900"/>
                <a:gd name="connsiteX97" fmla="*/ 557213 w 723900"/>
                <a:gd name="connsiteY97" fmla="*/ 302895 h 723900"/>
                <a:gd name="connsiteX98" fmla="*/ 566738 w 723900"/>
                <a:gd name="connsiteY98" fmla="*/ 305753 h 723900"/>
                <a:gd name="connsiteX99" fmla="*/ 577215 w 723900"/>
                <a:gd name="connsiteY99" fmla="*/ 305753 h 723900"/>
                <a:gd name="connsiteX100" fmla="*/ 594360 w 723900"/>
                <a:gd name="connsiteY100" fmla="*/ 317183 h 723900"/>
                <a:gd name="connsiteX101" fmla="*/ 621983 w 723900"/>
                <a:gd name="connsiteY101" fmla="*/ 380048 h 723900"/>
                <a:gd name="connsiteX102" fmla="*/ 639128 w 723900"/>
                <a:gd name="connsiteY102" fmla="*/ 391478 h 723900"/>
                <a:gd name="connsiteX103" fmla="*/ 639128 w 723900"/>
                <a:gd name="connsiteY103" fmla="*/ 391478 h 723900"/>
                <a:gd name="connsiteX104" fmla="*/ 655320 w 723900"/>
                <a:gd name="connsiteY104" fmla="*/ 375285 h 723900"/>
                <a:gd name="connsiteX105" fmla="*/ 655320 w 723900"/>
                <a:gd name="connsiteY105" fmla="*/ 348615 h 723900"/>
                <a:gd name="connsiteX106" fmla="*/ 659130 w 723900"/>
                <a:gd name="connsiteY106" fmla="*/ 340995 h 723900"/>
                <a:gd name="connsiteX107" fmla="*/ 681038 w 723900"/>
                <a:gd name="connsiteY107" fmla="*/ 323850 h 723900"/>
                <a:gd name="connsiteX108" fmla="*/ 683895 w 723900"/>
                <a:gd name="connsiteY108" fmla="*/ 362903 h 723900"/>
                <a:gd name="connsiteX109" fmla="*/ 361950 w 723900"/>
                <a:gd name="connsiteY109" fmla="*/ 6858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723900" h="723900">
                  <a:moveTo>
                    <a:pt x="361950" y="0"/>
                  </a:moveTo>
                  <a:cubicBezTo>
                    <a:pt x="161925" y="0"/>
                    <a:pt x="0" y="161925"/>
                    <a:pt x="0" y="361950"/>
                  </a:cubicBezTo>
                  <a:cubicBezTo>
                    <a:pt x="0" y="561975"/>
                    <a:pt x="161925" y="723900"/>
                    <a:pt x="361950" y="723900"/>
                  </a:cubicBezTo>
                  <a:cubicBezTo>
                    <a:pt x="561975" y="723900"/>
                    <a:pt x="723900" y="561975"/>
                    <a:pt x="723900" y="361950"/>
                  </a:cubicBezTo>
                  <a:cubicBezTo>
                    <a:pt x="723900" y="161925"/>
                    <a:pt x="561975" y="0"/>
                    <a:pt x="361950" y="0"/>
                  </a:cubicBezTo>
                  <a:close/>
                  <a:moveTo>
                    <a:pt x="361950" y="685800"/>
                  </a:moveTo>
                  <a:cubicBezTo>
                    <a:pt x="183833" y="685800"/>
                    <a:pt x="38100" y="540068"/>
                    <a:pt x="38100" y="361950"/>
                  </a:cubicBezTo>
                  <a:cubicBezTo>
                    <a:pt x="38100" y="183833"/>
                    <a:pt x="183833" y="38100"/>
                    <a:pt x="361950" y="38100"/>
                  </a:cubicBezTo>
                  <a:cubicBezTo>
                    <a:pt x="408623" y="38100"/>
                    <a:pt x="452438" y="47625"/>
                    <a:pt x="492443" y="65723"/>
                  </a:cubicBezTo>
                  <a:lnTo>
                    <a:pt x="461963" y="90488"/>
                  </a:lnTo>
                  <a:cubicBezTo>
                    <a:pt x="458153" y="93345"/>
                    <a:pt x="454343" y="95250"/>
                    <a:pt x="449580" y="95250"/>
                  </a:cubicBezTo>
                  <a:lnTo>
                    <a:pt x="431483" y="95250"/>
                  </a:lnTo>
                  <a:cubicBezTo>
                    <a:pt x="429578" y="95250"/>
                    <a:pt x="426720" y="95250"/>
                    <a:pt x="424815" y="94298"/>
                  </a:cubicBezTo>
                  <a:cubicBezTo>
                    <a:pt x="424815" y="94298"/>
                    <a:pt x="378143" y="66675"/>
                    <a:pt x="351473" y="66675"/>
                  </a:cubicBezTo>
                  <a:cubicBezTo>
                    <a:pt x="325755" y="66675"/>
                    <a:pt x="283845" y="82868"/>
                    <a:pt x="265748" y="95250"/>
                  </a:cubicBezTo>
                  <a:cubicBezTo>
                    <a:pt x="238125" y="113348"/>
                    <a:pt x="267653" y="121920"/>
                    <a:pt x="274320" y="123825"/>
                  </a:cubicBezTo>
                  <a:cubicBezTo>
                    <a:pt x="275273" y="123825"/>
                    <a:pt x="276225" y="123825"/>
                    <a:pt x="276225" y="123825"/>
                  </a:cubicBezTo>
                  <a:lnTo>
                    <a:pt x="302895" y="123825"/>
                  </a:lnTo>
                  <a:cubicBezTo>
                    <a:pt x="309563" y="123825"/>
                    <a:pt x="315278" y="120968"/>
                    <a:pt x="319088" y="115253"/>
                  </a:cubicBezTo>
                  <a:lnTo>
                    <a:pt x="329565" y="99060"/>
                  </a:lnTo>
                  <a:cubicBezTo>
                    <a:pt x="331470" y="96203"/>
                    <a:pt x="334328" y="95250"/>
                    <a:pt x="337185" y="95250"/>
                  </a:cubicBezTo>
                  <a:lnTo>
                    <a:pt x="352425" y="95250"/>
                  </a:lnTo>
                  <a:lnTo>
                    <a:pt x="332423" y="128588"/>
                  </a:lnTo>
                  <a:cubicBezTo>
                    <a:pt x="327660" y="137160"/>
                    <a:pt x="318135" y="142875"/>
                    <a:pt x="307658" y="142875"/>
                  </a:cubicBezTo>
                  <a:lnTo>
                    <a:pt x="281940" y="142875"/>
                  </a:lnTo>
                  <a:cubicBezTo>
                    <a:pt x="278130" y="142875"/>
                    <a:pt x="274320" y="143828"/>
                    <a:pt x="271463" y="145733"/>
                  </a:cubicBezTo>
                  <a:lnTo>
                    <a:pt x="247650" y="161925"/>
                  </a:lnTo>
                  <a:lnTo>
                    <a:pt x="228600" y="161925"/>
                  </a:lnTo>
                  <a:cubicBezTo>
                    <a:pt x="222885" y="161925"/>
                    <a:pt x="219075" y="165735"/>
                    <a:pt x="219075" y="171450"/>
                  </a:cubicBezTo>
                  <a:lnTo>
                    <a:pt x="219075" y="180975"/>
                  </a:lnTo>
                  <a:cubicBezTo>
                    <a:pt x="219075" y="186690"/>
                    <a:pt x="215265" y="190500"/>
                    <a:pt x="209550" y="190500"/>
                  </a:cubicBezTo>
                  <a:lnTo>
                    <a:pt x="200978" y="190500"/>
                  </a:lnTo>
                  <a:cubicBezTo>
                    <a:pt x="194310" y="190500"/>
                    <a:pt x="188595" y="193358"/>
                    <a:pt x="184785" y="199073"/>
                  </a:cubicBezTo>
                  <a:lnTo>
                    <a:pt x="173355" y="217170"/>
                  </a:lnTo>
                  <a:cubicBezTo>
                    <a:pt x="172403" y="219075"/>
                    <a:pt x="171450" y="220980"/>
                    <a:pt x="171450" y="222885"/>
                  </a:cubicBezTo>
                  <a:lnTo>
                    <a:pt x="171450" y="228600"/>
                  </a:lnTo>
                  <a:cubicBezTo>
                    <a:pt x="171450" y="234315"/>
                    <a:pt x="175260" y="238125"/>
                    <a:pt x="180975" y="238125"/>
                  </a:cubicBezTo>
                  <a:lnTo>
                    <a:pt x="215265" y="238125"/>
                  </a:lnTo>
                  <a:cubicBezTo>
                    <a:pt x="218123" y="238125"/>
                    <a:pt x="220027" y="237173"/>
                    <a:pt x="221933" y="235268"/>
                  </a:cubicBezTo>
                  <a:lnTo>
                    <a:pt x="251460" y="205740"/>
                  </a:lnTo>
                  <a:cubicBezTo>
                    <a:pt x="255270" y="201930"/>
                    <a:pt x="260033" y="200025"/>
                    <a:pt x="264795" y="200025"/>
                  </a:cubicBezTo>
                  <a:lnTo>
                    <a:pt x="268605" y="200025"/>
                  </a:lnTo>
                  <a:cubicBezTo>
                    <a:pt x="273368" y="200025"/>
                    <a:pt x="277178" y="202883"/>
                    <a:pt x="278130" y="207645"/>
                  </a:cubicBezTo>
                  <a:lnTo>
                    <a:pt x="283845" y="231458"/>
                  </a:lnTo>
                  <a:cubicBezTo>
                    <a:pt x="284798" y="235268"/>
                    <a:pt x="288608" y="239077"/>
                    <a:pt x="293370" y="239077"/>
                  </a:cubicBezTo>
                  <a:lnTo>
                    <a:pt x="295275" y="239077"/>
                  </a:lnTo>
                  <a:cubicBezTo>
                    <a:pt x="300990" y="239077"/>
                    <a:pt x="304800" y="235268"/>
                    <a:pt x="304800" y="229552"/>
                  </a:cubicBezTo>
                  <a:lnTo>
                    <a:pt x="304800" y="204788"/>
                  </a:lnTo>
                  <a:cubicBezTo>
                    <a:pt x="304800" y="201930"/>
                    <a:pt x="305753" y="200025"/>
                    <a:pt x="307658" y="198120"/>
                  </a:cubicBezTo>
                  <a:lnTo>
                    <a:pt x="314325" y="190500"/>
                  </a:lnTo>
                  <a:lnTo>
                    <a:pt x="321945" y="212408"/>
                  </a:lnTo>
                  <a:cubicBezTo>
                    <a:pt x="322898" y="216218"/>
                    <a:pt x="326708" y="219075"/>
                    <a:pt x="330518" y="219075"/>
                  </a:cubicBezTo>
                  <a:lnTo>
                    <a:pt x="339090" y="219075"/>
                  </a:lnTo>
                  <a:cubicBezTo>
                    <a:pt x="341948" y="219075"/>
                    <a:pt x="343853" y="218123"/>
                    <a:pt x="345758" y="216218"/>
                  </a:cubicBezTo>
                  <a:lnTo>
                    <a:pt x="349568" y="212408"/>
                  </a:lnTo>
                  <a:cubicBezTo>
                    <a:pt x="351473" y="210502"/>
                    <a:pt x="353378" y="209550"/>
                    <a:pt x="356235" y="209550"/>
                  </a:cubicBezTo>
                  <a:lnTo>
                    <a:pt x="361950" y="209550"/>
                  </a:lnTo>
                  <a:cubicBezTo>
                    <a:pt x="367665" y="209550"/>
                    <a:pt x="371475" y="213360"/>
                    <a:pt x="371475" y="219075"/>
                  </a:cubicBezTo>
                  <a:lnTo>
                    <a:pt x="371475" y="228600"/>
                  </a:lnTo>
                  <a:cubicBezTo>
                    <a:pt x="371475" y="234315"/>
                    <a:pt x="375285" y="238125"/>
                    <a:pt x="381000" y="238125"/>
                  </a:cubicBezTo>
                  <a:lnTo>
                    <a:pt x="415290" y="238125"/>
                  </a:lnTo>
                  <a:cubicBezTo>
                    <a:pt x="421958" y="238125"/>
                    <a:pt x="426720" y="244793"/>
                    <a:pt x="423863" y="250508"/>
                  </a:cubicBezTo>
                  <a:lnTo>
                    <a:pt x="421005" y="259080"/>
                  </a:lnTo>
                  <a:cubicBezTo>
                    <a:pt x="419100" y="263843"/>
                    <a:pt x="415290" y="266700"/>
                    <a:pt x="410528" y="265748"/>
                  </a:cubicBezTo>
                  <a:lnTo>
                    <a:pt x="364808" y="258127"/>
                  </a:lnTo>
                  <a:cubicBezTo>
                    <a:pt x="362903" y="258127"/>
                    <a:pt x="360045" y="258127"/>
                    <a:pt x="358140" y="258127"/>
                  </a:cubicBezTo>
                  <a:lnTo>
                    <a:pt x="319088" y="265748"/>
                  </a:lnTo>
                  <a:cubicBezTo>
                    <a:pt x="315278" y="266700"/>
                    <a:pt x="312420" y="265748"/>
                    <a:pt x="308610" y="264795"/>
                  </a:cubicBezTo>
                  <a:cubicBezTo>
                    <a:pt x="296228" y="260033"/>
                    <a:pt x="261938" y="247650"/>
                    <a:pt x="247650" y="247650"/>
                  </a:cubicBezTo>
                  <a:cubicBezTo>
                    <a:pt x="134303" y="247650"/>
                    <a:pt x="133350" y="323850"/>
                    <a:pt x="133350" y="352425"/>
                  </a:cubicBezTo>
                  <a:cubicBezTo>
                    <a:pt x="133350" y="390525"/>
                    <a:pt x="155258" y="419100"/>
                    <a:pt x="190500" y="419100"/>
                  </a:cubicBezTo>
                  <a:cubicBezTo>
                    <a:pt x="232410" y="419100"/>
                    <a:pt x="285750" y="417195"/>
                    <a:pt x="285750" y="495300"/>
                  </a:cubicBezTo>
                  <a:lnTo>
                    <a:pt x="285750" y="554355"/>
                  </a:lnTo>
                  <a:cubicBezTo>
                    <a:pt x="285750" y="565785"/>
                    <a:pt x="289560" y="576263"/>
                    <a:pt x="297180" y="584835"/>
                  </a:cubicBezTo>
                  <a:lnTo>
                    <a:pt x="324803" y="618173"/>
                  </a:lnTo>
                  <a:cubicBezTo>
                    <a:pt x="330518" y="624840"/>
                    <a:pt x="338138" y="628650"/>
                    <a:pt x="346710" y="628650"/>
                  </a:cubicBezTo>
                  <a:lnTo>
                    <a:pt x="369570" y="628650"/>
                  </a:lnTo>
                  <a:cubicBezTo>
                    <a:pt x="377190" y="628650"/>
                    <a:pt x="384810" y="625793"/>
                    <a:pt x="389573" y="620078"/>
                  </a:cubicBezTo>
                  <a:lnTo>
                    <a:pt x="412433" y="597218"/>
                  </a:lnTo>
                  <a:cubicBezTo>
                    <a:pt x="417195" y="592455"/>
                    <a:pt x="420053" y="587693"/>
                    <a:pt x="422910" y="581978"/>
                  </a:cubicBezTo>
                  <a:lnTo>
                    <a:pt x="441960" y="542925"/>
                  </a:lnTo>
                  <a:cubicBezTo>
                    <a:pt x="444818" y="536258"/>
                    <a:pt x="446723" y="528638"/>
                    <a:pt x="446723" y="521970"/>
                  </a:cubicBezTo>
                  <a:lnTo>
                    <a:pt x="446723" y="478155"/>
                  </a:lnTo>
                  <a:cubicBezTo>
                    <a:pt x="446723" y="470535"/>
                    <a:pt x="449580" y="462915"/>
                    <a:pt x="455295" y="458153"/>
                  </a:cubicBezTo>
                  <a:lnTo>
                    <a:pt x="505778" y="407670"/>
                  </a:lnTo>
                  <a:cubicBezTo>
                    <a:pt x="509588" y="403860"/>
                    <a:pt x="509588" y="396240"/>
                    <a:pt x="504825" y="393383"/>
                  </a:cubicBezTo>
                  <a:cubicBezTo>
                    <a:pt x="504825" y="393383"/>
                    <a:pt x="447675" y="360998"/>
                    <a:pt x="416243" y="300038"/>
                  </a:cubicBezTo>
                  <a:cubicBezTo>
                    <a:pt x="413385" y="293370"/>
                    <a:pt x="417195" y="285750"/>
                    <a:pt x="424815" y="285750"/>
                  </a:cubicBezTo>
                  <a:lnTo>
                    <a:pt x="428625" y="285750"/>
                  </a:lnTo>
                  <a:lnTo>
                    <a:pt x="482918" y="356235"/>
                  </a:lnTo>
                  <a:cubicBezTo>
                    <a:pt x="489585" y="364808"/>
                    <a:pt x="501968" y="365760"/>
                    <a:pt x="510540" y="359093"/>
                  </a:cubicBezTo>
                  <a:lnTo>
                    <a:pt x="541973" y="332423"/>
                  </a:lnTo>
                  <a:cubicBezTo>
                    <a:pt x="546735" y="328613"/>
                    <a:pt x="546735" y="320040"/>
                    <a:pt x="541020" y="317183"/>
                  </a:cubicBezTo>
                  <a:lnTo>
                    <a:pt x="512445" y="300038"/>
                  </a:lnTo>
                  <a:cubicBezTo>
                    <a:pt x="508635" y="297180"/>
                    <a:pt x="506730" y="292418"/>
                    <a:pt x="508635" y="287655"/>
                  </a:cubicBezTo>
                  <a:lnTo>
                    <a:pt x="509588" y="285750"/>
                  </a:lnTo>
                  <a:cubicBezTo>
                    <a:pt x="512445" y="280988"/>
                    <a:pt x="518160" y="279083"/>
                    <a:pt x="522923" y="281940"/>
                  </a:cubicBezTo>
                  <a:lnTo>
                    <a:pt x="557213" y="302895"/>
                  </a:lnTo>
                  <a:cubicBezTo>
                    <a:pt x="560070" y="304800"/>
                    <a:pt x="563880" y="305753"/>
                    <a:pt x="566738" y="305753"/>
                  </a:cubicBezTo>
                  <a:lnTo>
                    <a:pt x="577215" y="305753"/>
                  </a:lnTo>
                  <a:cubicBezTo>
                    <a:pt x="584835" y="305753"/>
                    <a:pt x="591503" y="310515"/>
                    <a:pt x="594360" y="317183"/>
                  </a:cubicBezTo>
                  <a:lnTo>
                    <a:pt x="621983" y="380048"/>
                  </a:lnTo>
                  <a:cubicBezTo>
                    <a:pt x="624840" y="386715"/>
                    <a:pt x="631508" y="391478"/>
                    <a:pt x="639128" y="391478"/>
                  </a:cubicBezTo>
                  <a:lnTo>
                    <a:pt x="639128" y="391478"/>
                  </a:lnTo>
                  <a:cubicBezTo>
                    <a:pt x="647700" y="391478"/>
                    <a:pt x="655320" y="383858"/>
                    <a:pt x="655320" y="375285"/>
                  </a:cubicBezTo>
                  <a:lnTo>
                    <a:pt x="655320" y="348615"/>
                  </a:lnTo>
                  <a:cubicBezTo>
                    <a:pt x="655320" y="345758"/>
                    <a:pt x="656273" y="342900"/>
                    <a:pt x="659130" y="340995"/>
                  </a:cubicBezTo>
                  <a:lnTo>
                    <a:pt x="681038" y="323850"/>
                  </a:lnTo>
                  <a:cubicBezTo>
                    <a:pt x="682943" y="336233"/>
                    <a:pt x="683895" y="349568"/>
                    <a:pt x="683895" y="362903"/>
                  </a:cubicBezTo>
                  <a:cubicBezTo>
                    <a:pt x="685800" y="540068"/>
                    <a:pt x="540068" y="685800"/>
                    <a:pt x="361950" y="685800"/>
                  </a:cubicBezTo>
                  <a:close/>
                </a:path>
              </a:pathLst>
            </a:custGeom>
            <a:grpFill/>
            <a:ln w="9525" cap="flat">
              <a:noFill/>
              <a:prstDash val="solid"/>
              <a:miter/>
            </a:ln>
          </p:spPr>
          <p:txBody>
            <a:bodyPr rtlCol="0" anchor="ctr"/>
            <a:lstStyle/>
            <a:p>
              <a:endParaRPr lang="nl-NL"/>
            </a:p>
          </p:txBody>
        </p:sp>
        <p:sp>
          <p:nvSpPr>
            <p:cNvPr id="28" name="Vrije vorm: vorm 27">
              <a:extLst>
                <a:ext uri="{FF2B5EF4-FFF2-40B4-BE49-F238E27FC236}">
                  <a16:creationId xmlns:a16="http://schemas.microsoft.com/office/drawing/2014/main" id="{B9D384B6-0C78-40DA-B8C5-7353CE43B8C5}"/>
                </a:ext>
              </a:extLst>
            </p:cNvPr>
            <p:cNvSpPr/>
            <p:nvPr/>
          </p:nvSpPr>
          <p:spPr>
            <a:xfrm>
              <a:off x="9206950" y="4209767"/>
              <a:ext cx="43815" cy="53340"/>
            </a:xfrm>
            <a:custGeom>
              <a:avLst/>
              <a:gdLst>
                <a:gd name="connsiteX0" fmla="*/ 15240 w 43815"/>
                <a:gd name="connsiteY0" fmla="*/ 43815 h 53340"/>
                <a:gd name="connsiteX1" fmla="*/ 15240 w 43815"/>
                <a:gd name="connsiteY1" fmla="*/ 53340 h 53340"/>
                <a:gd name="connsiteX2" fmla="*/ 24765 w 43815"/>
                <a:gd name="connsiteY2" fmla="*/ 53340 h 53340"/>
                <a:gd name="connsiteX3" fmla="*/ 34290 w 43815"/>
                <a:gd name="connsiteY3" fmla="*/ 43815 h 53340"/>
                <a:gd name="connsiteX4" fmla="*/ 34290 w 43815"/>
                <a:gd name="connsiteY4" fmla="*/ 34290 h 53340"/>
                <a:gd name="connsiteX5" fmla="*/ 43815 w 43815"/>
                <a:gd name="connsiteY5" fmla="*/ 34290 h 53340"/>
                <a:gd name="connsiteX6" fmla="*/ 43815 w 43815"/>
                <a:gd name="connsiteY6" fmla="*/ 19050 h 53340"/>
                <a:gd name="connsiteX7" fmla="*/ 40958 w 43815"/>
                <a:gd name="connsiteY7" fmla="*/ 12383 h 53340"/>
                <a:gd name="connsiteX8" fmla="*/ 31433 w 43815"/>
                <a:gd name="connsiteY8" fmla="*/ 2858 h 53340"/>
                <a:gd name="connsiteX9" fmla="*/ 18097 w 43815"/>
                <a:gd name="connsiteY9" fmla="*/ 2858 h 53340"/>
                <a:gd name="connsiteX10" fmla="*/ 2858 w 43815"/>
                <a:gd name="connsiteY10" fmla="*/ 18097 h 53340"/>
                <a:gd name="connsiteX11" fmla="*/ 2858 w 43815"/>
                <a:gd name="connsiteY11" fmla="*/ 31433 h 53340"/>
                <a:gd name="connsiteX12" fmla="*/ 15240 w 43815"/>
                <a:gd name="connsiteY12" fmla="*/ 43815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15" h="53340">
                  <a:moveTo>
                    <a:pt x="15240" y="43815"/>
                  </a:moveTo>
                  <a:lnTo>
                    <a:pt x="15240" y="53340"/>
                  </a:lnTo>
                  <a:lnTo>
                    <a:pt x="24765" y="53340"/>
                  </a:lnTo>
                  <a:cubicBezTo>
                    <a:pt x="30480" y="53340"/>
                    <a:pt x="34290" y="49530"/>
                    <a:pt x="34290" y="43815"/>
                  </a:cubicBezTo>
                  <a:lnTo>
                    <a:pt x="34290" y="34290"/>
                  </a:lnTo>
                  <a:lnTo>
                    <a:pt x="43815" y="34290"/>
                  </a:lnTo>
                  <a:lnTo>
                    <a:pt x="43815" y="19050"/>
                  </a:lnTo>
                  <a:cubicBezTo>
                    <a:pt x="43815" y="16193"/>
                    <a:pt x="42863" y="14288"/>
                    <a:pt x="40958" y="12383"/>
                  </a:cubicBezTo>
                  <a:lnTo>
                    <a:pt x="31433" y="2858"/>
                  </a:lnTo>
                  <a:cubicBezTo>
                    <a:pt x="27622" y="-953"/>
                    <a:pt x="21908" y="-953"/>
                    <a:pt x="18097" y="2858"/>
                  </a:cubicBezTo>
                  <a:lnTo>
                    <a:pt x="2858" y="18097"/>
                  </a:lnTo>
                  <a:cubicBezTo>
                    <a:pt x="-953" y="21908"/>
                    <a:pt x="-953" y="27622"/>
                    <a:pt x="2858" y="31433"/>
                  </a:cubicBezTo>
                  <a:lnTo>
                    <a:pt x="15240" y="43815"/>
                  </a:lnTo>
                  <a:close/>
                </a:path>
              </a:pathLst>
            </a:custGeom>
            <a:grpFill/>
            <a:ln w="9525" cap="flat">
              <a:noFill/>
              <a:prstDash val="solid"/>
              <a:miter/>
            </a:ln>
          </p:spPr>
          <p:txBody>
            <a:bodyPr rtlCol="0" anchor="ctr"/>
            <a:lstStyle/>
            <a:p>
              <a:endParaRPr lang="nl-NL"/>
            </a:p>
          </p:txBody>
        </p:sp>
      </p:grpSp>
      <p:sp>
        <p:nvSpPr>
          <p:cNvPr id="108" name="Rechthoek 171">
            <a:extLst>
              <a:ext uri="{FF2B5EF4-FFF2-40B4-BE49-F238E27FC236}">
                <a16:creationId xmlns:a16="http://schemas.microsoft.com/office/drawing/2014/main" id="{883C5CC6-91D7-4646-8820-672DB1CE0CD5}"/>
              </a:ext>
            </a:extLst>
          </p:cNvPr>
          <p:cNvSpPr/>
          <p:nvPr/>
        </p:nvSpPr>
        <p:spPr>
          <a:xfrm>
            <a:off x="1170071" y="1771038"/>
            <a:ext cx="2110699" cy="1361178"/>
          </a:xfrm>
          <a:prstGeom prst="rect">
            <a:avLst/>
          </a:prstGeom>
          <a:solidFill>
            <a:schemeClr val="bg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p>
        </p:txBody>
      </p:sp>
      <p:sp>
        <p:nvSpPr>
          <p:cNvPr id="113" name="Tekstvak 176">
            <a:extLst>
              <a:ext uri="{FF2B5EF4-FFF2-40B4-BE49-F238E27FC236}">
                <a16:creationId xmlns:a16="http://schemas.microsoft.com/office/drawing/2014/main" id="{A54DAD01-3295-4439-9685-B9D0E1BB25E2}"/>
              </a:ext>
            </a:extLst>
          </p:cNvPr>
          <p:cNvSpPr txBox="1"/>
          <p:nvPr/>
        </p:nvSpPr>
        <p:spPr>
          <a:xfrm>
            <a:off x="1344102" y="2263519"/>
            <a:ext cx="1097908" cy="427239"/>
          </a:xfrm>
          <a:prstGeom prst="rect">
            <a:avLst/>
          </a:prstGeom>
          <a:noFill/>
        </p:spPr>
        <p:txBody>
          <a:bodyPr wrap="square" lIns="0" tIns="0" rIns="0" bIns="0" rtlCol="0" anchor="ctr">
            <a:noAutofit/>
          </a:bodyPr>
          <a:lstStyle/>
          <a:p>
            <a:r>
              <a:rPr lang="en-GB" sz="3600" b="1" cap="all" dirty="0">
                <a:solidFill>
                  <a:schemeClr val="bg1"/>
                </a:solidFill>
                <a:latin typeface="+mj-lt"/>
              </a:rPr>
              <a:t>40</a:t>
            </a:r>
          </a:p>
        </p:txBody>
      </p:sp>
      <p:sp>
        <p:nvSpPr>
          <p:cNvPr id="114" name="Tekstvak 178">
            <a:extLst>
              <a:ext uri="{FF2B5EF4-FFF2-40B4-BE49-F238E27FC236}">
                <a16:creationId xmlns:a16="http://schemas.microsoft.com/office/drawing/2014/main" id="{8E1401BA-0CE2-47B8-B892-050269C13E8C}"/>
              </a:ext>
            </a:extLst>
          </p:cNvPr>
          <p:cNvSpPr txBox="1"/>
          <p:nvPr/>
        </p:nvSpPr>
        <p:spPr>
          <a:xfrm>
            <a:off x="1349176" y="1964014"/>
            <a:ext cx="1658800" cy="299172"/>
          </a:xfrm>
          <a:prstGeom prst="rect">
            <a:avLst/>
          </a:prstGeom>
          <a:noFill/>
        </p:spPr>
        <p:txBody>
          <a:bodyPr wrap="square" lIns="0" tIns="0" rIns="0" bIns="0" rtlCol="0" anchor="t">
            <a:noAutofit/>
          </a:bodyPr>
          <a:lstStyle/>
          <a:p>
            <a:r>
              <a:rPr lang="en-GB" sz="1050" b="1" cap="all" dirty="0">
                <a:solidFill>
                  <a:schemeClr val="tx2">
                    <a:lumMod val="40000"/>
                    <a:lumOff val="60000"/>
                  </a:schemeClr>
                </a:solidFill>
                <a:latin typeface="+mj-lt"/>
              </a:rPr>
              <a:t>UNIT ICT Turnover </a:t>
            </a:r>
            <a:br>
              <a:rPr lang="en-GB" sz="1050" b="1" cap="all" dirty="0">
                <a:solidFill>
                  <a:schemeClr val="tx2">
                    <a:lumMod val="40000"/>
                    <a:lumOff val="60000"/>
                  </a:schemeClr>
                </a:solidFill>
                <a:latin typeface="+mj-lt"/>
              </a:rPr>
            </a:br>
            <a:r>
              <a:rPr lang="en-GB" sz="600" b="1" cap="all" dirty="0">
                <a:solidFill>
                  <a:schemeClr val="tx2">
                    <a:lumMod val="40000"/>
                    <a:lumOff val="60000"/>
                  </a:schemeClr>
                </a:solidFill>
                <a:latin typeface="+mj-lt"/>
              </a:rPr>
              <a:t>(MLN EURO)</a:t>
            </a:r>
          </a:p>
        </p:txBody>
      </p:sp>
      <p:sp>
        <p:nvSpPr>
          <p:cNvPr id="116" name="Rechthoek 171">
            <a:extLst>
              <a:ext uri="{FF2B5EF4-FFF2-40B4-BE49-F238E27FC236}">
                <a16:creationId xmlns:a16="http://schemas.microsoft.com/office/drawing/2014/main" id="{46F8CEDE-5585-4BDB-8842-7FAC187C74EA}"/>
              </a:ext>
            </a:extLst>
          </p:cNvPr>
          <p:cNvSpPr/>
          <p:nvPr/>
        </p:nvSpPr>
        <p:spPr>
          <a:xfrm>
            <a:off x="3373899" y="1769130"/>
            <a:ext cx="2110699" cy="1361178"/>
          </a:xfrm>
          <a:prstGeom prst="rect">
            <a:avLst/>
          </a:prstGeom>
          <a:solidFill>
            <a:schemeClr val="bg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p>
        </p:txBody>
      </p:sp>
      <p:sp>
        <p:nvSpPr>
          <p:cNvPr id="121" name="Tekstvak 176">
            <a:extLst>
              <a:ext uri="{FF2B5EF4-FFF2-40B4-BE49-F238E27FC236}">
                <a16:creationId xmlns:a16="http://schemas.microsoft.com/office/drawing/2014/main" id="{CA0E64B4-4FD3-40E1-A094-C6B5A00A0B73}"/>
              </a:ext>
            </a:extLst>
          </p:cNvPr>
          <p:cNvSpPr txBox="1"/>
          <p:nvPr/>
        </p:nvSpPr>
        <p:spPr>
          <a:xfrm>
            <a:off x="4200830" y="2255850"/>
            <a:ext cx="1097908" cy="427239"/>
          </a:xfrm>
          <a:prstGeom prst="rect">
            <a:avLst/>
          </a:prstGeom>
          <a:noFill/>
        </p:spPr>
        <p:txBody>
          <a:bodyPr wrap="square" lIns="0" tIns="0" rIns="0" bIns="0" rtlCol="0" anchor="ctr">
            <a:noAutofit/>
          </a:bodyPr>
          <a:lstStyle/>
          <a:p>
            <a:pPr algn="r"/>
            <a:r>
              <a:rPr lang="en-GB" sz="3600" b="1" cap="all" dirty="0">
                <a:solidFill>
                  <a:schemeClr val="bg1"/>
                </a:solidFill>
                <a:latin typeface="+mj-lt"/>
              </a:rPr>
              <a:t>3,5</a:t>
            </a:r>
          </a:p>
        </p:txBody>
      </p:sp>
      <p:sp>
        <p:nvSpPr>
          <p:cNvPr id="123" name="Tekstvak 178">
            <a:extLst>
              <a:ext uri="{FF2B5EF4-FFF2-40B4-BE49-F238E27FC236}">
                <a16:creationId xmlns:a16="http://schemas.microsoft.com/office/drawing/2014/main" id="{40F7EEF4-CC2D-466C-AFE4-6C5FAA75A96B}"/>
              </a:ext>
            </a:extLst>
          </p:cNvPr>
          <p:cNvSpPr txBox="1"/>
          <p:nvPr/>
        </p:nvSpPr>
        <p:spPr>
          <a:xfrm>
            <a:off x="3690425" y="1969767"/>
            <a:ext cx="1658800" cy="299172"/>
          </a:xfrm>
          <a:prstGeom prst="rect">
            <a:avLst/>
          </a:prstGeom>
          <a:noFill/>
        </p:spPr>
        <p:txBody>
          <a:bodyPr wrap="square" lIns="0" tIns="0" rIns="0" bIns="0" rtlCol="0" anchor="t">
            <a:noAutofit/>
          </a:bodyPr>
          <a:lstStyle/>
          <a:p>
            <a:pPr algn="r"/>
            <a:r>
              <a:rPr lang="en-GB" sz="1050" b="1" cap="all" dirty="0">
                <a:solidFill>
                  <a:schemeClr val="tx2">
                    <a:lumMod val="40000"/>
                    <a:lumOff val="60000"/>
                  </a:schemeClr>
                </a:solidFill>
                <a:latin typeface="+mj-lt"/>
              </a:rPr>
              <a:t>multiplier</a:t>
            </a:r>
          </a:p>
        </p:txBody>
      </p:sp>
      <p:pic>
        <p:nvPicPr>
          <p:cNvPr id="3" name="Graphic 2" descr="Money">
            <a:extLst>
              <a:ext uri="{FF2B5EF4-FFF2-40B4-BE49-F238E27FC236}">
                <a16:creationId xmlns:a16="http://schemas.microsoft.com/office/drawing/2014/main" id="{60C5A4E8-1561-476B-962B-C57DC7A2C80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85590" y="2271713"/>
            <a:ext cx="801097" cy="801097"/>
          </a:xfrm>
          <a:prstGeom prst="rect">
            <a:avLst/>
          </a:prstGeom>
        </p:spPr>
      </p:pic>
      <p:pic>
        <p:nvPicPr>
          <p:cNvPr id="5" name="Graphic 4" descr="Upward trend">
            <a:extLst>
              <a:ext uri="{FF2B5EF4-FFF2-40B4-BE49-F238E27FC236}">
                <a16:creationId xmlns:a16="http://schemas.microsoft.com/office/drawing/2014/main" id="{219FC84A-C0E4-490A-B673-7F274354D15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39526" y="2158817"/>
            <a:ext cx="907097" cy="907097"/>
          </a:xfrm>
          <a:prstGeom prst="rect">
            <a:avLst/>
          </a:prstGeom>
        </p:spPr>
      </p:pic>
      <p:sp>
        <p:nvSpPr>
          <p:cNvPr id="132" name="7">
            <a:extLst>
              <a:ext uri="{FF2B5EF4-FFF2-40B4-BE49-F238E27FC236}">
                <a16:creationId xmlns:a16="http://schemas.microsoft.com/office/drawing/2014/main" id="{BF9A03C3-B268-43DB-AEA0-B87FC8C73542}"/>
              </a:ext>
            </a:extLst>
          </p:cNvPr>
          <p:cNvSpPr/>
          <p:nvPr/>
        </p:nvSpPr>
        <p:spPr>
          <a:xfrm rot="14400000">
            <a:off x="6555163" y="2539976"/>
            <a:ext cx="1679499" cy="2612870"/>
          </a:xfrm>
          <a:custGeom>
            <a:avLst/>
            <a:gdLst>
              <a:gd name="connsiteX0" fmla="*/ 0 w 1401895"/>
              <a:gd name="connsiteY0" fmla="*/ 3811586 h 4328194"/>
              <a:gd name="connsiteX1" fmla="*/ 535238 w 1401895"/>
              <a:gd name="connsiteY1" fmla="*/ 4260704 h 4328194"/>
              <a:gd name="connsiteX2" fmla="*/ 443750 w 1401895"/>
              <a:gd name="connsiteY2" fmla="*/ 4284228 h 4328194"/>
              <a:gd name="connsiteX3" fmla="*/ 7609 w 1401895"/>
              <a:gd name="connsiteY3" fmla="*/ 4328194 h 4328194"/>
              <a:gd name="connsiteX4" fmla="*/ 0 w 1401895"/>
              <a:gd name="connsiteY4" fmla="*/ 4327810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0" fmla="*/ 0 w 1401895"/>
              <a:gd name="connsiteY0" fmla="*/ 3811586 h 4328194"/>
              <a:gd name="connsiteX1" fmla="*/ 535238 w 1401895"/>
              <a:gd name="connsiteY1" fmla="*/ 4260704 h 4328194"/>
              <a:gd name="connsiteX2" fmla="*/ 7609 w 1401895"/>
              <a:gd name="connsiteY2" fmla="*/ 4328194 h 4328194"/>
              <a:gd name="connsiteX3" fmla="*/ 0 w 1401895"/>
              <a:gd name="connsiteY3" fmla="*/ 4327810 h 4328194"/>
              <a:gd name="connsiteX4" fmla="*/ 0 w 1401895"/>
              <a:gd name="connsiteY4" fmla="*/ 3811586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10" fmla="*/ 7609 w 1401895"/>
              <a:gd name="connsiteY10" fmla="*/ 0 h 4328194"/>
              <a:gd name="connsiteX0" fmla="*/ 0 w 1401895"/>
              <a:gd name="connsiteY0" fmla="*/ 3811586 h 4328194"/>
              <a:gd name="connsiteX1" fmla="*/ 7609 w 1401895"/>
              <a:gd name="connsiteY1" fmla="*/ 4328194 h 4328194"/>
              <a:gd name="connsiteX2" fmla="*/ 0 w 1401895"/>
              <a:gd name="connsiteY2" fmla="*/ 4327810 h 4328194"/>
              <a:gd name="connsiteX3" fmla="*/ 0 w 1401895"/>
              <a:gd name="connsiteY3" fmla="*/ 3811586 h 4328194"/>
              <a:gd name="connsiteX4" fmla="*/ 7609 w 1401895"/>
              <a:gd name="connsiteY4" fmla="*/ 0 h 4328194"/>
              <a:gd name="connsiteX5" fmla="*/ 1384176 w 1401895"/>
              <a:gd name="connsiteY5" fmla="*/ 494175 h 4328194"/>
              <a:gd name="connsiteX6" fmla="*/ 1401895 w 1401895"/>
              <a:gd name="connsiteY6" fmla="*/ 510278 h 4328194"/>
              <a:gd name="connsiteX7" fmla="*/ 0 w 1401895"/>
              <a:gd name="connsiteY7" fmla="*/ 2180991 h 4328194"/>
              <a:gd name="connsiteX8" fmla="*/ 0 w 1401895"/>
              <a:gd name="connsiteY8" fmla="*/ 384 h 4328194"/>
              <a:gd name="connsiteX9" fmla="*/ 7609 w 1401895"/>
              <a:gd name="connsiteY9" fmla="*/ 0 h 4328194"/>
              <a:gd name="connsiteX0" fmla="*/ 0 w 1401895"/>
              <a:gd name="connsiteY0" fmla="*/ 3811586 h 4328194"/>
              <a:gd name="connsiteX1" fmla="*/ 7609 w 1401895"/>
              <a:gd name="connsiteY1" fmla="*/ 4328194 h 4328194"/>
              <a:gd name="connsiteX2" fmla="*/ 0 w 1401895"/>
              <a:gd name="connsiteY2" fmla="*/ 3811586 h 4328194"/>
              <a:gd name="connsiteX3" fmla="*/ 7609 w 1401895"/>
              <a:gd name="connsiteY3" fmla="*/ 0 h 4328194"/>
              <a:gd name="connsiteX4" fmla="*/ 1384176 w 1401895"/>
              <a:gd name="connsiteY4" fmla="*/ 494175 h 4328194"/>
              <a:gd name="connsiteX5" fmla="*/ 1401895 w 1401895"/>
              <a:gd name="connsiteY5" fmla="*/ 510278 h 4328194"/>
              <a:gd name="connsiteX6" fmla="*/ 0 w 1401895"/>
              <a:gd name="connsiteY6" fmla="*/ 2180991 h 4328194"/>
              <a:gd name="connsiteX7" fmla="*/ 0 w 1401895"/>
              <a:gd name="connsiteY7" fmla="*/ 384 h 4328194"/>
              <a:gd name="connsiteX8" fmla="*/ 7609 w 1401895"/>
              <a:gd name="connsiteY8" fmla="*/ 0 h 4328194"/>
              <a:gd name="connsiteX0" fmla="*/ 7609 w 1401895"/>
              <a:gd name="connsiteY0" fmla="*/ 0 h 2180991"/>
              <a:gd name="connsiteX1" fmla="*/ 1384176 w 1401895"/>
              <a:gd name="connsiteY1" fmla="*/ 494175 h 2180991"/>
              <a:gd name="connsiteX2" fmla="*/ 1401895 w 1401895"/>
              <a:gd name="connsiteY2" fmla="*/ 510278 h 2180991"/>
              <a:gd name="connsiteX3" fmla="*/ 0 w 1401895"/>
              <a:gd name="connsiteY3" fmla="*/ 2180991 h 2180991"/>
              <a:gd name="connsiteX4" fmla="*/ 0 w 1401895"/>
              <a:gd name="connsiteY4" fmla="*/ 384 h 2180991"/>
              <a:gd name="connsiteX5" fmla="*/ 7609 w 1401895"/>
              <a:gd name="connsiteY5" fmla="*/ 0 h 218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895" h="2180991">
                <a:moveTo>
                  <a:pt x="7609" y="0"/>
                </a:moveTo>
                <a:cubicBezTo>
                  <a:pt x="530508" y="0"/>
                  <a:pt x="1010092" y="185454"/>
                  <a:pt x="1384176" y="494175"/>
                </a:cubicBezTo>
                <a:lnTo>
                  <a:pt x="1401895" y="510278"/>
                </a:lnTo>
                <a:lnTo>
                  <a:pt x="0" y="2180991"/>
                </a:lnTo>
                <a:lnTo>
                  <a:pt x="0" y="384"/>
                </a:lnTo>
                <a:lnTo>
                  <a:pt x="7609"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sp>
        <p:nvSpPr>
          <p:cNvPr id="133" name="9">
            <a:extLst>
              <a:ext uri="{FF2B5EF4-FFF2-40B4-BE49-F238E27FC236}">
                <a16:creationId xmlns:a16="http://schemas.microsoft.com/office/drawing/2014/main" id="{2D82F915-EDE8-438A-9360-458F28CBD592}"/>
              </a:ext>
            </a:extLst>
          </p:cNvPr>
          <p:cNvSpPr/>
          <p:nvPr/>
        </p:nvSpPr>
        <p:spPr>
          <a:xfrm rot="19200000">
            <a:off x="8125303" y="1557111"/>
            <a:ext cx="1401895" cy="2180991"/>
          </a:xfrm>
          <a:custGeom>
            <a:avLst/>
            <a:gdLst>
              <a:gd name="connsiteX0" fmla="*/ 0 w 1401895"/>
              <a:gd name="connsiteY0" fmla="*/ 3811586 h 4328194"/>
              <a:gd name="connsiteX1" fmla="*/ 535238 w 1401895"/>
              <a:gd name="connsiteY1" fmla="*/ 4260704 h 4328194"/>
              <a:gd name="connsiteX2" fmla="*/ 443750 w 1401895"/>
              <a:gd name="connsiteY2" fmla="*/ 4284228 h 4328194"/>
              <a:gd name="connsiteX3" fmla="*/ 7609 w 1401895"/>
              <a:gd name="connsiteY3" fmla="*/ 4328194 h 4328194"/>
              <a:gd name="connsiteX4" fmla="*/ 0 w 1401895"/>
              <a:gd name="connsiteY4" fmla="*/ 4327810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0" fmla="*/ 0 w 1401895"/>
              <a:gd name="connsiteY0" fmla="*/ 3811586 h 4328194"/>
              <a:gd name="connsiteX1" fmla="*/ 535238 w 1401895"/>
              <a:gd name="connsiteY1" fmla="*/ 4260704 h 4328194"/>
              <a:gd name="connsiteX2" fmla="*/ 7609 w 1401895"/>
              <a:gd name="connsiteY2" fmla="*/ 4328194 h 4328194"/>
              <a:gd name="connsiteX3" fmla="*/ 0 w 1401895"/>
              <a:gd name="connsiteY3" fmla="*/ 4327810 h 4328194"/>
              <a:gd name="connsiteX4" fmla="*/ 0 w 1401895"/>
              <a:gd name="connsiteY4" fmla="*/ 3811586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10" fmla="*/ 7609 w 1401895"/>
              <a:gd name="connsiteY10" fmla="*/ 0 h 4328194"/>
              <a:gd name="connsiteX0" fmla="*/ 0 w 1401895"/>
              <a:gd name="connsiteY0" fmla="*/ 3811586 h 4328194"/>
              <a:gd name="connsiteX1" fmla="*/ 7609 w 1401895"/>
              <a:gd name="connsiteY1" fmla="*/ 4328194 h 4328194"/>
              <a:gd name="connsiteX2" fmla="*/ 0 w 1401895"/>
              <a:gd name="connsiteY2" fmla="*/ 4327810 h 4328194"/>
              <a:gd name="connsiteX3" fmla="*/ 0 w 1401895"/>
              <a:gd name="connsiteY3" fmla="*/ 3811586 h 4328194"/>
              <a:gd name="connsiteX4" fmla="*/ 7609 w 1401895"/>
              <a:gd name="connsiteY4" fmla="*/ 0 h 4328194"/>
              <a:gd name="connsiteX5" fmla="*/ 1384176 w 1401895"/>
              <a:gd name="connsiteY5" fmla="*/ 494175 h 4328194"/>
              <a:gd name="connsiteX6" fmla="*/ 1401895 w 1401895"/>
              <a:gd name="connsiteY6" fmla="*/ 510278 h 4328194"/>
              <a:gd name="connsiteX7" fmla="*/ 0 w 1401895"/>
              <a:gd name="connsiteY7" fmla="*/ 2180991 h 4328194"/>
              <a:gd name="connsiteX8" fmla="*/ 0 w 1401895"/>
              <a:gd name="connsiteY8" fmla="*/ 384 h 4328194"/>
              <a:gd name="connsiteX9" fmla="*/ 7609 w 1401895"/>
              <a:gd name="connsiteY9" fmla="*/ 0 h 4328194"/>
              <a:gd name="connsiteX0" fmla="*/ 0 w 1401895"/>
              <a:gd name="connsiteY0" fmla="*/ 3811586 h 4328194"/>
              <a:gd name="connsiteX1" fmla="*/ 7609 w 1401895"/>
              <a:gd name="connsiteY1" fmla="*/ 4328194 h 4328194"/>
              <a:gd name="connsiteX2" fmla="*/ 0 w 1401895"/>
              <a:gd name="connsiteY2" fmla="*/ 3811586 h 4328194"/>
              <a:gd name="connsiteX3" fmla="*/ 7609 w 1401895"/>
              <a:gd name="connsiteY3" fmla="*/ 0 h 4328194"/>
              <a:gd name="connsiteX4" fmla="*/ 1384176 w 1401895"/>
              <a:gd name="connsiteY4" fmla="*/ 494175 h 4328194"/>
              <a:gd name="connsiteX5" fmla="*/ 1401895 w 1401895"/>
              <a:gd name="connsiteY5" fmla="*/ 510278 h 4328194"/>
              <a:gd name="connsiteX6" fmla="*/ 0 w 1401895"/>
              <a:gd name="connsiteY6" fmla="*/ 2180991 h 4328194"/>
              <a:gd name="connsiteX7" fmla="*/ 0 w 1401895"/>
              <a:gd name="connsiteY7" fmla="*/ 384 h 4328194"/>
              <a:gd name="connsiteX8" fmla="*/ 7609 w 1401895"/>
              <a:gd name="connsiteY8" fmla="*/ 0 h 4328194"/>
              <a:gd name="connsiteX0" fmla="*/ 7609 w 1401895"/>
              <a:gd name="connsiteY0" fmla="*/ 0 h 2180991"/>
              <a:gd name="connsiteX1" fmla="*/ 1384176 w 1401895"/>
              <a:gd name="connsiteY1" fmla="*/ 494175 h 2180991"/>
              <a:gd name="connsiteX2" fmla="*/ 1401895 w 1401895"/>
              <a:gd name="connsiteY2" fmla="*/ 510278 h 2180991"/>
              <a:gd name="connsiteX3" fmla="*/ 0 w 1401895"/>
              <a:gd name="connsiteY3" fmla="*/ 2180991 h 2180991"/>
              <a:gd name="connsiteX4" fmla="*/ 0 w 1401895"/>
              <a:gd name="connsiteY4" fmla="*/ 384 h 2180991"/>
              <a:gd name="connsiteX5" fmla="*/ 7609 w 1401895"/>
              <a:gd name="connsiteY5" fmla="*/ 0 h 218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895" h="2180991">
                <a:moveTo>
                  <a:pt x="7609" y="0"/>
                </a:moveTo>
                <a:cubicBezTo>
                  <a:pt x="530508" y="0"/>
                  <a:pt x="1010092" y="185454"/>
                  <a:pt x="1384176" y="494175"/>
                </a:cubicBezTo>
                <a:lnTo>
                  <a:pt x="1401895" y="510278"/>
                </a:lnTo>
                <a:lnTo>
                  <a:pt x="0" y="2180991"/>
                </a:lnTo>
                <a:lnTo>
                  <a:pt x="0" y="384"/>
                </a:lnTo>
                <a:lnTo>
                  <a:pt x="7609" y="0"/>
                </a:lnTo>
                <a:close/>
              </a:path>
            </a:pathLst>
          </a:cu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sp>
        <p:nvSpPr>
          <p:cNvPr id="134" name="TEKST #9">
            <a:extLst>
              <a:ext uri="{FF2B5EF4-FFF2-40B4-BE49-F238E27FC236}">
                <a16:creationId xmlns:a16="http://schemas.microsoft.com/office/drawing/2014/main" id="{9B6BC541-F31D-4131-A966-70B6806C6985}"/>
              </a:ext>
            </a:extLst>
          </p:cNvPr>
          <p:cNvSpPr txBox="1"/>
          <p:nvPr/>
        </p:nvSpPr>
        <p:spPr>
          <a:xfrm rot="20400000">
            <a:off x="7381526" y="2318160"/>
            <a:ext cx="3199194" cy="3199194"/>
          </a:xfrm>
          <a:prstGeom prst="rect">
            <a:avLst/>
          </a:prstGeom>
          <a:noFill/>
        </p:spPr>
        <p:txBody>
          <a:bodyPr wrap="square" rtlCol="0">
            <a:prstTxWarp prst="textArchUp">
              <a:avLst/>
            </a:prstTxWarp>
            <a:spAutoFit/>
          </a:bodyPr>
          <a:lstStyle/>
          <a:p>
            <a:pPr algn="ctr"/>
            <a:r>
              <a:rPr lang="en-GB" sz="1100" b="1" dirty="0">
                <a:solidFill>
                  <a:prstClr val="white"/>
                </a:solidFill>
                <a:latin typeface="Segoe UI"/>
              </a:rPr>
              <a:t>    Traffic</a:t>
            </a:r>
            <a:br>
              <a:rPr>
                <a:solidFill>
                  <a:prstClr val="black"/>
                </a:solidFill>
              </a:rPr>
            </a:br>
            <a:r>
              <a:rPr lang="en-GB" sz="1100" b="1" dirty="0">
                <a:solidFill>
                  <a:prstClr val="white"/>
                </a:solidFill>
                <a:latin typeface="Segoe UI"/>
              </a:rPr>
              <a:t>&amp; Transport</a:t>
            </a:r>
            <a:br>
              <a:rPr>
                <a:solidFill>
                  <a:prstClr val="black"/>
                </a:solidFill>
              </a:rPr>
            </a:br>
            <a:endParaRPr lang="en-GB" sz="1100" b="1" dirty="0">
              <a:solidFill>
                <a:prstClr val="white"/>
              </a:solidFill>
              <a:latin typeface="Segoe UI"/>
            </a:endParaRPr>
          </a:p>
        </p:txBody>
      </p:sp>
      <p:sp>
        <p:nvSpPr>
          <p:cNvPr id="135" name="8">
            <a:extLst>
              <a:ext uri="{FF2B5EF4-FFF2-40B4-BE49-F238E27FC236}">
                <a16:creationId xmlns:a16="http://schemas.microsoft.com/office/drawing/2014/main" id="{185BA2AA-FBC2-4A21-A869-F9DD68D2F8CE}"/>
              </a:ext>
            </a:extLst>
          </p:cNvPr>
          <p:cNvSpPr/>
          <p:nvPr/>
        </p:nvSpPr>
        <p:spPr>
          <a:xfrm rot="16800000">
            <a:off x="7347378" y="1955973"/>
            <a:ext cx="1401895" cy="2180991"/>
          </a:xfrm>
          <a:custGeom>
            <a:avLst/>
            <a:gdLst>
              <a:gd name="connsiteX0" fmla="*/ 0 w 1401895"/>
              <a:gd name="connsiteY0" fmla="*/ 3811586 h 4328194"/>
              <a:gd name="connsiteX1" fmla="*/ 535238 w 1401895"/>
              <a:gd name="connsiteY1" fmla="*/ 4260704 h 4328194"/>
              <a:gd name="connsiteX2" fmla="*/ 443750 w 1401895"/>
              <a:gd name="connsiteY2" fmla="*/ 4284228 h 4328194"/>
              <a:gd name="connsiteX3" fmla="*/ 7609 w 1401895"/>
              <a:gd name="connsiteY3" fmla="*/ 4328194 h 4328194"/>
              <a:gd name="connsiteX4" fmla="*/ 0 w 1401895"/>
              <a:gd name="connsiteY4" fmla="*/ 4327810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0" fmla="*/ 0 w 1401895"/>
              <a:gd name="connsiteY0" fmla="*/ 3811586 h 4328194"/>
              <a:gd name="connsiteX1" fmla="*/ 535238 w 1401895"/>
              <a:gd name="connsiteY1" fmla="*/ 4260704 h 4328194"/>
              <a:gd name="connsiteX2" fmla="*/ 7609 w 1401895"/>
              <a:gd name="connsiteY2" fmla="*/ 4328194 h 4328194"/>
              <a:gd name="connsiteX3" fmla="*/ 0 w 1401895"/>
              <a:gd name="connsiteY3" fmla="*/ 4327810 h 4328194"/>
              <a:gd name="connsiteX4" fmla="*/ 0 w 1401895"/>
              <a:gd name="connsiteY4" fmla="*/ 3811586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10" fmla="*/ 7609 w 1401895"/>
              <a:gd name="connsiteY10" fmla="*/ 0 h 4328194"/>
              <a:gd name="connsiteX0" fmla="*/ 0 w 1401895"/>
              <a:gd name="connsiteY0" fmla="*/ 3811586 h 4328194"/>
              <a:gd name="connsiteX1" fmla="*/ 7609 w 1401895"/>
              <a:gd name="connsiteY1" fmla="*/ 4328194 h 4328194"/>
              <a:gd name="connsiteX2" fmla="*/ 0 w 1401895"/>
              <a:gd name="connsiteY2" fmla="*/ 4327810 h 4328194"/>
              <a:gd name="connsiteX3" fmla="*/ 0 w 1401895"/>
              <a:gd name="connsiteY3" fmla="*/ 3811586 h 4328194"/>
              <a:gd name="connsiteX4" fmla="*/ 7609 w 1401895"/>
              <a:gd name="connsiteY4" fmla="*/ 0 h 4328194"/>
              <a:gd name="connsiteX5" fmla="*/ 1384176 w 1401895"/>
              <a:gd name="connsiteY5" fmla="*/ 494175 h 4328194"/>
              <a:gd name="connsiteX6" fmla="*/ 1401895 w 1401895"/>
              <a:gd name="connsiteY6" fmla="*/ 510278 h 4328194"/>
              <a:gd name="connsiteX7" fmla="*/ 0 w 1401895"/>
              <a:gd name="connsiteY7" fmla="*/ 2180991 h 4328194"/>
              <a:gd name="connsiteX8" fmla="*/ 0 w 1401895"/>
              <a:gd name="connsiteY8" fmla="*/ 384 h 4328194"/>
              <a:gd name="connsiteX9" fmla="*/ 7609 w 1401895"/>
              <a:gd name="connsiteY9" fmla="*/ 0 h 4328194"/>
              <a:gd name="connsiteX0" fmla="*/ 0 w 1401895"/>
              <a:gd name="connsiteY0" fmla="*/ 3811586 h 4328194"/>
              <a:gd name="connsiteX1" fmla="*/ 7609 w 1401895"/>
              <a:gd name="connsiteY1" fmla="*/ 4328194 h 4328194"/>
              <a:gd name="connsiteX2" fmla="*/ 0 w 1401895"/>
              <a:gd name="connsiteY2" fmla="*/ 3811586 h 4328194"/>
              <a:gd name="connsiteX3" fmla="*/ 7609 w 1401895"/>
              <a:gd name="connsiteY3" fmla="*/ 0 h 4328194"/>
              <a:gd name="connsiteX4" fmla="*/ 1384176 w 1401895"/>
              <a:gd name="connsiteY4" fmla="*/ 494175 h 4328194"/>
              <a:gd name="connsiteX5" fmla="*/ 1401895 w 1401895"/>
              <a:gd name="connsiteY5" fmla="*/ 510278 h 4328194"/>
              <a:gd name="connsiteX6" fmla="*/ 0 w 1401895"/>
              <a:gd name="connsiteY6" fmla="*/ 2180991 h 4328194"/>
              <a:gd name="connsiteX7" fmla="*/ 0 w 1401895"/>
              <a:gd name="connsiteY7" fmla="*/ 384 h 4328194"/>
              <a:gd name="connsiteX8" fmla="*/ 7609 w 1401895"/>
              <a:gd name="connsiteY8" fmla="*/ 0 h 4328194"/>
              <a:gd name="connsiteX0" fmla="*/ 7609 w 1401895"/>
              <a:gd name="connsiteY0" fmla="*/ 0 h 2180991"/>
              <a:gd name="connsiteX1" fmla="*/ 1384176 w 1401895"/>
              <a:gd name="connsiteY1" fmla="*/ 494175 h 2180991"/>
              <a:gd name="connsiteX2" fmla="*/ 1401895 w 1401895"/>
              <a:gd name="connsiteY2" fmla="*/ 510278 h 2180991"/>
              <a:gd name="connsiteX3" fmla="*/ 0 w 1401895"/>
              <a:gd name="connsiteY3" fmla="*/ 2180991 h 2180991"/>
              <a:gd name="connsiteX4" fmla="*/ 0 w 1401895"/>
              <a:gd name="connsiteY4" fmla="*/ 384 h 2180991"/>
              <a:gd name="connsiteX5" fmla="*/ 7609 w 1401895"/>
              <a:gd name="connsiteY5" fmla="*/ 0 h 218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895" h="2180991">
                <a:moveTo>
                  <a:pt x="7609" y="0"/>
                </a:moveTo>
                <a:cubicBezTo>
                  <a:pt x="530508" y="0"/>
                  <a:pt x="1010092" y="185454"/>
                  <a:pt x="1384176" y="494175"/>
                </a:cubicBezTo>
                <a:lnTo>
                  <a:pt x="1401895" y="510278"/>
                </a:lnTo>
                <a:lnTo>
                  <a:pt x="0" y="2180991"/>
                </a:lnTo>
                <a:lnTo>
                  <a:pt x="0" y="384"/>
                </a:lnTo>
                <a:lnTo>
                  <a:pt x="7609" y="0"/>
                </a:lnTo>
                <a:close/>
              </a:path>
            </a:pathLst>
          </a:custGeom>
          <a:solidFill>
            <a:schemeClr val="accent5">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sp>
        <p:nvSpPr>
          <p:cNvPr id="136" name="TEKST #8">
            <a:extLst>
              <a:ext uri="{FF2B5EF4-FFF2-40B4-BE49-F238E27FC236}">
                <a16:creationId xmlns:a16="http://schemas.microsoft.com/office/drawing/2014/main" id="{FC99E642-0D6D-4BC2-B91E-CEFBCAC2EB78}"/>
              </a:ext>
            </a:extLst>
          </p:cNvPr>
          <p:cNvSpPr txBox="1"/>
          <p:nvPr/>
        </p:nvSpPr>
        <p:spPr>
          <a:xfrm rot="18000000">
            <a:off x="7361893" y="2318159"/>
            <a:ext cx="3199194" cy="3199194"/>
          </a:xfrm>
          <a:prstGeom prst="rect">
            <a:avLst/>
          </a:prstGeom>
          <a:noFill/>
        </p:spPr>
        <p:txBody>
          <a:bodyPr wrap="square" rtlCol="0">
            <a:prstTxWarp prst="textArchUp">
              <a:avLst/>
            </a:prstTxWarp>
            <a:spAutoFit/>
          </a:bodyPr>
          <a:lstStyle/>
          <a:p>
            <a:pPr algn="ctr"/>
            <a:r>
              <a:rPr lang="en-GB" sz="1100" b="1" dirty="0">
                <a:solidFill>
                  <a:prstClr val="white"/>
                </a:solidFill>
                <a:latin typeface="Segoe UI"/>
              </a:rPr>
              <a:t>   Strategic Analysis</a:t>
            </a:r>
            <a:br>
              <a:rPr>
                <a:solidFill>
                  <a:prstClr val="black"/>
                </a:solidFill>
              </a:rPr>
            </a:br>
            <a:r>
              <a:rPr lang="en-GB" sz="1100" b="1" dirty="0">
                <a:solidFill>
                  <a:prstClr val="white"/>
                </a:solidFill>
                <a:latin typeface="Segoe UI"/>
              </a:rPr>
              <a:t>&amp; Policy</a:t>
            </a:r>
            <a:br>
              <a:rPr>
                <a:solidFill>
                  <a:prstClr val="black"/>
                </a:solidFill>
              </a:rPr>
            </a:br>
            <a:endParaRPr lang="en-GB" sz="1100" b="1" dirty="0">
              <a:solidFill>
                <a:prstClr val="white"/>
              </a:solidFill>
              <a:latin typeface="Segoe UI"/>
            </a:endParaRPr>
          </a:p>
        </p:txBody>
      </p:sp>
      <p:sp>
        <p:nvSpPr>
          <p:cNvPr id="137" name="7">
            <a:extLst>
              <a:ext uri="{FF2B5EF4-FFF2-40B4-BE49-F238E27FC236}">
                <a16:creationId xmlns:a16="http://schemas.microsoft.com/office/drawing/2014/main" id="{8E55699B-9280-4394-A776-47FEE24DDF45}"/>
              </a:ext>
            </a:extLst>
          </p:cNvPr>
          <p:cNvSpPr/>
          <p:nvPr/>
        </p:nvSpPr>
        <p:spPr>
          <a:xfrm rot="14400000">
            <a:off x="7007836" y="2761559"/>
            <a:ext cx="1401895" cy="2180991"/>
          </a:xfrm>
          <a:custGeom>
            <a:avLst/>
            <a:gdLst>
              <a:gd name="connsiteX0" fmla="*/ 0 w 1401895"/>
              <a:gd name="connsiteY0" fmla="*/ 3811586 h 4328194"/>
              <a:gd name="connsiteX1" fmla="*/ 535238 w 1401895"/>
              <a:gd name="connsiteY1" fmla="*/ 4260704 h 4328194"/>
              <a:gd name="connsiteX2" fmla="*/ 443750 w 1401895"/>
              <a:gd name="connsiteY2" fmla="*/ 4284228 h 4328194"/>
              <a:gd name="connsiteX3" fmla="*/ 7609 w 1401895"/>
              <a:gd name="connsiteY3" fmla="*/ 4328194 h 4328194"/>
              <a:gd name="connsiteX4" fmla="*/ 0 w 1401895"/>
              <a:gd name="connsiteY4" fmla="*/ 4327810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0" fmla="*/ 0 w 1401895"/>
              <a:gd name="connsiteY0" fmla="*/ 3811586 h 4328194"/>
              <a:gd name="connsiteX1" fmla="*/ 535238 w 1401895"/>
              <a:gd name="connsiteY1" fmla="*/ 4260704 h 4328194"/>
              <a:gd name="connsiteX2" fmla="*/ 7609 w 1401895"/>
              <a:gd name="connsiteY2" fmla="*/ 4328194 h 4328194"/>
              <a:gd name="connsiteX3" fmla="*/ 0 w 1401895"/>
              <a:gd name="connsiteY3" fmla="*/ 4327810 h 4328194"/>
              <a:gd name="connsiteX4" fmla="*/ 0 w 1401895"/>
              <a:gd name="connsiteY4" fmla="*/ 3811586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10" fmla="*/ 7609 w 1401895"/>
              <a:gd name="connsiteY10" fmla="*/ 0 h 4328194"/>
              <a:gd name="connsiteX0" fmla="*/ 0 w 1401895"/>
              <a:gd name="connsiteY0" fmla="*/ 3811586 h 4328194"/>
              <a:gd name="connsiteX1" fmla="*/ 7609 w 1401895"/>
              <a:gd name="connsiteY1" fmla="*/ 4328194 h 4328194"/>
              <a:gd name="connsiteX2" fmla="*/ 0 w 1401895"/>
              <a:gd name="connsiteY2" fmla="*/ 4327810 h 4328194"/>
              <a:gd name="connsiteX3" fmla="*/ 0 w 1401895"/>
              <a:gd name="connsiteY3" fmla="*/ 3811586 h 4328194"/>
              <a:gd name="connsiteX4" fmla="*/ 7609 w 1401895"/>
              <a:gd name="connsiteY4" fmla="*/ 0 h 4328194"/>
              <a:gd name="connsiteX5" fmla="*/ 1384176 w 1401895"/>
              <a:gd name="connsiteY5" fmla="*/ 494175 h 4328194"/>
              <a:gd name="connsiteX6" fmla="*/ 1401895 w 1401895"/>
              <a:gd name="connsiteY6" fmla="*/ 510278 h 4328194"/>
              <a:gd name="connsiteX7" fmla="*/ 0 w 1401895"/>
              <a:gd name="connsiteY7" fmla="*/ 2180991 h 4328194"/>
              <a:gd name="connsiteX8" fmla="*/ 0 w 1401895"/>
              <a:gd name="connsiteY8" fmla="*/ 384 h 4328194"/>
              <a:gd name="connsiteX9" fmla="*/ 7609 w 1401895"/>
              <a:gd name="connsiteY9" fmla="*/ 0 h 4328194"/>
              <a:gd name="connsiteX0" fmla="*/ 0 w 1401895"/>
              <a:gd name="connsiteY0" fmla="*/ 3811586 h 4328194"/>
              <a:gd name="connsiteX1" fmla="*/ 7609 w 1401895"/>
              <a:gd name="connsiteY1" fmla="*/ 4328194 h 4328194"/>
              <a:gd name="connsiteX2" fmla="*/ 0 w 1401895"/>
              <a:gd name="connsiteY2" fmla="*/ 3811586 h 4328194"/>
              <a:gd name="connsiteX3" fmla="*/ 7609 w 1401895"/>
              <a:gd name="connsiteY3" fmla="*/ 0 h 4328194"/>
              <a:gd name="connsiteX4" fmla="*/ 1384176 w 1401895"/>
              <a:gd name="connsiteY4" fmla="*/ 494175 h 4328194"/>
              <a:gd name="connsiteX5" fmla="*/ 1401895 w 1401895"/>
              <a:gd name="connsiteY5" fmla="*/ 510278 h 4328194"/>
              <a:gd name="connsiteX6" fmla="*/ 0 w 1401895"/>
              <a:gd name="connsiteY6" fmla="*/ 2180991 h 4328194"/>
              <a:gd name="connsiteX7" fmla="*/ 0 w 1401895"/>
              <a:gd name="connsiteY7" fmla="*/ 384 h 4328194"/>
              <a:gd name="connsiteX8" fmla="*/ 7609 w 1401895"/>
              <a:gd name="connsiteY8" fmla="*/ 0 h 4328194"/>
              <a:gd name="connsiteX0" fmla="*/ 7609 w 1401895"/>
              <a:gd name="connsiteY0" fmla="*/ 0 h 2180991"/>
              <a:gd name="connsiteX1" fmla="*/ 1384176 w 1401895"/>
              <a:gd name="connsiteY1" fmla="*/ 494175 h 2180991"/>
              <a:gd name="connsiteX2" fmla="*/ 1401895 w 1401895"/>
              <a:gd name="connsiteY2" fmla="*/ 510278 h 2180991"/>
              <a:gd name="connsiteX3" fmla="*/ 0 w 1401895"/>
              <a:gd name="connsiteY3" fmla="*/ 2180991 h 2180991"/>
              <a:gd name="connsiteX4" fmla="*/ 0 w 1401895"/>
              <a:gd name="connsiteY4" fmla="*/ 384 h 2180991"/>
              <a:gd name="connsiteX5" fmla="*/ 7609 w 1401895"/>
              <a:gd name="connsiteY5" fmla="*/ 0 h 218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895" h="2180991">
                <a:moveTo>
                  <a:pt x="7609" y="0"/>
                </a:moveTo>
                <a:cubicBezTo>
                  <a:pt x="530508" y="0"/>
                  <a:pt x="1010092" y="185454"/>
                  <a:pt x="1384176" y="494175"/>
                </a:cubicBezTo>
                <a:lnTo>
                  <a:pt x="1401895" y="510278"/>
                </a:lnTo>
                <a:lnTo>
                  <a:pt x="0" y="2180991"/>
                </a:lnTo>
                <a:lnTo>
                  <a:pt x="0" y="384"/>
                </a:lnTo>
                <a:lnTo>
                  <a:pt x="7609" y="0"/>
                </a:lnTo>
                <a:close/>
              </a:path>
            </a:pathLst>
          </a:custGeom>
          <a:solidFill>
            <a:srgbClr val="C5D08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sp>
        <p:nvSpPr>
          <p:cNvPr id="138" name="TEKST #7">
            <a:extLst>
              <a:ext uri="{FF2B5EF4-FFF2-40B4-BE49-F238E27FC236}">
                <a16:creationId xmlns:a16="http://schemas.microsoft.com/office/drawing/2014/main" id="{2AEF168E-C920-4208-9B4A-2BA04ED42363}"/>
              </a:ext>
            </a:extLst>
          </p:cNvPr>
          <p:cNvSpPr txBox="1"/>
          <p:nvPr/>
        </p:nvSpPr>
        <p:spPr>
          <a:xfrm rot="15600000">
            <a:off x="7381526" y="2318160"/>
            <a:ext cx="3199194" cy="3199194"/>
          </a:xfrm>
          <a:prstGeom prst="rect">
            <a:avLst/>
          </a:prstGeom>
          <a:noFill/>
        </p:spPr>
        <p:txBody>
          <a:bodyPr wrap="square" rtlCol="0">
            <a:prstTxWarp prst="textArchUp">
              <a:avLst/>
            </a:prstTxWarp>
            <a:spAutoFit/>
          </a:bodyPr>
          <a:lstStyle/>
          <a:p>
            <a:pPr algn="ctr"/>
            <a:r>
              <a:rPr lang="en-GB" sz="1100" b="1" dirty="0">
                <a:solidFill>
                  <a:prstClr val="white"/>
                </a:solidFill>
                <a:latin typeface="Segoe UI"/>
              </a:rPr>
              <a:t>    Information &amp; </a:t>
            </a:r>
            <a:br>
              <a:rPr>
                <a:solidFill>
                  <a:prstClr val="black"/>
                </a:solidFill>
              </a:rPr>
            </a:br>
            <a:r>
              <a:rPr lang="en-GB" sz="1100" b="1" dirty="0">
                <a:solidFill>
                  <a:prstClr val="white"/>
                </a:solidFill>
                <a:latin typeface="Segoe UI"/>
              </a:rPr>
              <a:t>Communication</a:t>
            </a:r>
            <a:br>
              <a:rPr>
                <a:solidFill>
                  <a:prstClr val="black"/>
                </a:solidFill>
              </a:rPr>
            </a:br>
            <a:r>
              <a:rPr lang="en-GB" sz="1100" b="1" dirty="0">
                <a:solidFill>
                  <a:prstClr val="white"/>
                </a:solidFill>
                <a:latin typeface="Segoe UI"/>
              </a:rPr>
              <a:t>Technology</a:t>
            </a:r>
          </a:p>
        </p:txBody>
      </p:sp>
      <p:sp>
        <p:nvSpPr>
          <p:cNvPr id="139" name="6">
            <a:extLst>
              <a:ext uri="{FF2B5EF4-FFF2-40B4-BE49-F238E27FC236}">
                <a16:creationId xmlns:a16="http://schemas.microsoft.com/office/drawing/2014/main" id="{8A855278-E2B5-4826-9AC2-7A77114FBFC1}"/>
              </a:ext>
            </a:extLst>
          </p:cNvPr>
          <p:cNvSpPr/>
          <p:nvPr/>
        </p:nvSpPr>
        <p:spPr>
          <a:xfrm rot="12000000">
            <a:off x="7265553" y="3596928"/>
            <a:ext cx="1401895" cy="2180991"/>
          </a:xfrm>
          <a:custGeom>
            <a:avLst/>
            <a:gdLst>
              <a:gd name="connsiteX0" fmla="*/ 0 w 1401895"/>
              <a:gd name="connsiteY0" fmla="*/ 3811586 h 4328194"/>
              <a:gd name="connsiteX1" fmla="*/ 535238 w 1401895"/>
              <a:gd name="connsiteY1" fmla="*/ 4260704 h 4328194"/>
              <a:gd name="connsiteX2" fmla="*/ 443750 w 1401895"/>
              <a:gd name="connsiteY2" fmla="*/ 4284228 h 4328194"/>
              <a:gd name="connsiteX3" fmla="*/ 7609 w 1401895"/>
              <a:gd name="connsiteY3" fmla="*/ 4328194 h 4328194"/>
              <a:gd name="connsiteX4" fmla="*/ 0 w 1401895"/>
              <a:gd name="connsiteY4" fmla="*/ 4327810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0" fmla="*/ 0 w 1401895"/>
              <a:gd name="connsiteY0" fmla="*/ 3811586 h 4328194"/>
              <a:gd name="connsiteX1" fmla="*/ 535238 w 1401895"/>
              <a:gd name="connsiteY1" fmla="*/ 4260704 h 4328194"/>
              <a:gd name="connsiteX2" fmla="*/ 7609 w 1401895"/>
              <a:gd name="connsiteY2" fmla="*/ 4328194 h 4328194"/>
              <a:gd name="connsiteX3" fmla="*/ 0 w 1401895"/>
              <a:gd name="connsiteY3" fmla="*/ 4327810 h 4328194"/>
              <a:gd name="connsiteX4" fmla="*/ 0 w 1401895"/>
              <a:gd name="connsiteY4" fmla="*/ 3811586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10" fmla="*/ 7609 w 1401895"/>
              <a:gd name="connsiteY10" fmla="*/ 0 h 4328194"/>
              <a:gd name="connsiteX0" fmla="*/ 0 w 1401895"/>
              <a:gd name="connsiteY0" fmla="*/ 3811586 h 4328194"/>
              <a:gd name="connsiteX1" fmla="*/ 7609 w 1401895"/>
              <a:gd name="connsiteY1" fmla="*/ 4328194 h 4328194"/>
              <a:gd name="connsiteX2" fmla="*/ 0 w 1401895"/>
              <a:gd name="connsiteY2" fmla="*/ 4327810 h 4328194"/>
              <a:gd name="connsiteX3" fmla="*/ 0 w 1401895"/>
              <a:gd name="connsiteY3" fmla="*/ 3811586 h 4328194"/>
              <a:gd name="connsiteX4" fmla="*/ 7609 w 1401895"/>
              <a:gd name="connsiteY4" fmla="*/ 0 h 4328194"/>
              <a:gd name="connsiteX5" fmla="*/ 1384176 w 1401895"/>
              <a:gd name="connsiteY5" fmla="*/ 494175 h 4328194"/>
              <a:gd name="connsiteX6" fmla="*/ 1401895 w 1401895"/>
              <a:gd name="connsiteY6" fmla="*/ 510278 h 4328194"/>
              <a:gd name="connsiteX7" fmla="*/ 0 w 1401895"/>
              <a:gd name="connsiteY7" fmla="*/ 2180991 h 4328194"/>
              <a:gd name="connsiteX8" fmla="*/ 0 w 1401895"/>
              <a:gd name="connsiteY8" fmla="*/ 384 h 4328194"/>
              <a:gd name="connsiteX9" fmla="*/ 7609 w 1401895"/>
              <a:gd name="connsiteY9" fmla="*/ 0 h 4328194"/>
              <a:gd name="connsiteX0" fmla="*/ 0 w 1401895"/>
              <a:gd name="connsiteY0" fmla="*/ 3811586 h 4328194"/>
              <a:gd name="connsiteX1" fmla="*/ 7609 w 1401895"/>
              <a:gd name="connsiteY1" fmla="*/ 4328194 h 4328194"/>
              <a:gd name="connsiteX2" fmla="*/ 0 w 1401895"/>
              <a:gd name="connsiteY2" fmla="*/ 3811586 h 4328194"/>
              <a:gd name="connsiteX3" fmla="*/ 7609 w 1401895"/>
              <a:gd name="connsiteY3" fmla="*/ 0 h 4328194"/>
              <a:gd name="connsiteX4" fmla="*/ 1384176 w 1401895"/>
              <a:gd name="connsiteY4" fmla="*/ 494175 h 4328194"/>
              <a:gd name="connsiteX5" fmla="*/ 1401895 w 1401895"/>
              <a:gd name="connsiteY5" fmla="*/ 510278 h 4328194"/>
              <a:gd name="connsiteX6" fmla="*/ 0 w 1401895"/>
              <a:gd name="connsiteY6" fmla="*/ 2180991 h 4328194"/>
              <a:gd name="connsiteX7" fmla="*/ 0 w 1401895"/>
              <a:gd name="connsiteY7" fmla="*/ 384 h 4328194"/>
              <a:gd name="connsiteX8" fmla="*/ 7609 w 1401895"/>
              <a:gd name="connsiteY8" fmla="*/ 0 h 4328194"/>
              <a:gd name="connsiteX0" fmla="*/ 7609 w 1401895"/>
              <a:gd name="connsiteY0" fmla="*/ 0 h 2180991"/>
              <a:gd name="connsiteX1" fmla="*/ 1384176 w 1401895"/>
              <a:gd name="connsiteY1" fmla="*/ 494175 h 2180991"/>
              <a:gd name="connsiteX2" fmla="*/ 1401895 w 1401895"/>
              <a:gd name="connsiteY2" fmla="*/ 510278 h 2180991"/>
              <a:gd name="connsiteX3" fmla="*/ 0 w 1401895"/>
              <a:gd name="connsiteY3" fmla="*/ 2180991 h 2180991"/>
              <a:gd name="connsiteX4" fmla="*/ 0 w 1401895"/>
              <a:gd name="connsiteY4" fmla="*/ 384 h 2180991"/>
              <a:gd name="connsiteX5" fmla="*/ 7609 w 1401895"/>
              <a:gd name="connsiteY5" fmla="*/ 0 h 218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895" h="2180991">
                <a:moveTo>
                  <a:pt x="7609" y="0"/>
                </a:moveTo>
                <a:cubicBezTo>
                  <a:pt x="530508" y="0"/>
                  <a:pt x="1010092" y="185454"/>
                  <a:pt x="1384176" y="494175"/>
                </a:cubicBezTo>
                <a:lnTo>
                  <a:pt x="1401895" y="510278"/>
                </a:lnTo>
                <a:lnTo>
                  <a:pt x="0" y="2180991"/>
                </a:lnTo>
                <a:lnTo>
                  <a:pt x="0" y="384"/>
                </a:lnTo>
                <a:lnTo>
                  <a:pt x="7609" y="0"/>
                </a:lnTo>
                <a:close/>
              </a:path>
            </a:pathLst>
          </a:custGeom>
          <a:solidFill>
            <a:srgbClr val="DEE4A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sp>
        <p:nvSpPr>
          <p:cNvPr id="140" name="TEKST #6">
            <a:extLst>
              <a:ext uri="{FF2B5EF4-FFF2-40B4-BE49-F238E27FC236}">
                <a16:creationId xmlns:a16="http://schemas.microsoft.com/office/drawing/2014/main" id="{FD33B2D8-FC51-4685-BC6F-ECDE9864DB77}"/>
              </a:ext>
            </a:extLst>
          </p:cNvPr>
          <p:cNvSpPr txBox="1"/>
          <p:nvPr/>
        </p:nvSpPr>
        <p:spPr>
          <a:xfrm rot="2400000">
            <a:off x="7381526" y="2318160"/>
            <a:ext cx="3199194" cy="3199194"/>
          </a:xfrm>
          <a:prstGeom prst="rect">
            <a:avLst/>
          </a:prstGeom>
          <a:noFill/>
        </p:spPr>
        <p:txBody>
          <a:bodyPr wrap="square" rtlCol="0">
            <a:prstTxWarp prst="textArchDown">
              <a:avLst/>
            </a:prstTxWarp>
            <a:spAutoFit/>
          </a:bodyPr>
          <a:lstStyle/>
          <a:p>
            <a:pPr algn="ctr"/>
            <a:br>
              <a:rPr lang="nl-NL" dirty="0">
                <a:solidFill>
                  <a:prstClr val="black"/>
                </a:solidFill>
              </a:rPr>
            </a:br>
            <a:r>
              <a:rPr lang="nl-NL" sz="1050" dirty="0">
                <a:solidFill>
                  <a:prstClr val="black"/>
                </a:solidFill>
              </a:rPr>
              <a:t> </a:t>
            </a:r>
            <a:br>
              <a:rPr lang="nl-NL" dirty="0">
                <a:solidFill>
                  <a:prstClr val="black"/>
                </a:solidFill>
              </a:rPr>
            </a:br>
            <a:r>
              <a:rPr lang="en-GB" sz="1100" b="1" dirty="0">
                <a:solidFill>
                  <a:prstClr val="white"/>
                </a:solidFill>
                <a:latin typeface="Segoe UI"/>
              </a:rPr>
              <a:t>Industry</a:t>
            </a:r>
          </a:p>
          <a:p>
            <a:pPr algn="ctr"/>
            <a:endParaRPr lang="en-GB" sz="1100" b="1" dirty="0">
              <a:solidFill>
                <a:prstClr val="white"/>
              </a:solidFill>
              <a:latin typeface="Segoe UI"/>
            </a:endParaRPr>
          </a:p>
        </p:txBody>
      </p:sp>
      <p:sp>
        <p:nvSpPr>
          <p:cNvPr id="143" name="5">
            <a:extLst>
              <a:ext uri="{FF2B5EF4-FFF2-40B4-BE49-F238E27FC236}">
                <a16:creationId xmlns:a16="http://schemas.microsoft.com/office/drawing/2014/main" id="{08917093-C4D3-49AA-9726-AB08430F4C9F}"/>
              </a:ext>
            </a:extLst>
          </p:cNvPr>
          <p:cNvSpPr/>
          <p:nvPr/>
        </p:nvSpPr>
        <p:spPr>
          <a:xfrm rot="9600000">
            <a:off x="7999940" y="4071200"/>
            <a:ext cx="1401895" cy="2180991"/>
          </a:xfrm>
          <a:custGeom>
            <a:avLst/>
            <a:gdLst>
              <a:gd name="connsiteX0" fmla="*/ 0 w 1401895"/>
              <a:gd name="connsiteY0" fmla="*/ 3811586 h 4328194"/>
              <a:gd name="connsiteX1" fmla="*/ 535238 w 1401895"/>
              <a:gd name="connsiteY1" fmla="*/ 4260704 h 4328194"/>
              <a:gd name="connsiteX2" fmla="*/ 443750 w 1401895"/>
              <a:gd name="connsiteY2" fmla="*/ 4284228 h 4328194"/>
              <a:gd name="connsiteX3" fmla="*/ 7609 w 1401895"/>
              <a:gd name="connsiteY3" fmla="*/ 4328194 h 4328194"/>
              <a:gd name="connsiteX4" fmla="*/ 0 w 1401895"/>
              <a:gd name="connsiteY4" fmla="*/ 4327810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0" fmla="*/ 0 w 1401895"/>
              <a:gd name="connsiteY0" fmla="*/ 3811586 h 4328194"/>
              <a:gd name="connsiteX1" fmla="*/ 535238 w 1401895"/>
              <a:gd name="connsiteY1" fmla="*/ 4260704 h 4328194"/>
              <a:gd name="connsiteX2" fmla="*/ 7609 w 1401895"/>
              <a:gd name="connsiteY2" fmla="*/ 4328194 h 4328194"/>
              <a:gd name="connsiteX3" fmla="*/ 0 w 1401895"/>
              <a:gd name="connsiteY3" fmla="*/ 4327810 h 4328194"/>
              <a:gd name="connsiteX4" fmla="*/ 0 w 1401895"/>
              <a:gd name="connsiteY4" fmla="*/ 3811586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10" fmla="*/ 7609 w 1401895"/>
              <a:gd name="connsiteY10" fmla="*/ 0 h 4328194"/>
              <a:gd name="connsiteX0" fmla="*/ 0 w 1401895"/>
              <a:gd name="connsiteY0" fmla="*/ 3811586 h 4328194"/>
              <a:gd name="connsiteX1" fmla="*/ 7609 w 1401895"/>
              <a:gd name="connsiteY1" fmla="*/ 4328194 h 4328194"/>
              <a:gd name="connsiteX2" fmla="*/ 0 w 1401895"/>
              <a:gd name="connsiteY2" fmla="*/ 4327810 h 4328194"/>
              <a:gd name="connsiteX3" fmla="*/ 0 w 1401895"/>
              <a:gd name="connsiteY3" fmla="*/ 3811586 h 4328194"/>
              <a:gd name="connsiteX4" fmla="*/ 7609 w 1401895"/>
              <a:gd name="connsiteY4" fmla="*/ 0 h 4328194"/>
              <a:gd name="connsiteX5" fmla="*/ 1384176 w 1401895"/>
              <a:gd name="connsiteY5" fmla="*/ 494175 h 4328194"/>
              <a:gd name="connsiteX6" fmla="*/ 1401895 w 1401895"/>
              <a:gd name="connsiteY6" fmla="*/ 510278 h 4328194"/>
              <a:gd name="connsiteX7" fmla="*/ 0 w 1401895"/>
              <a:gd name="connsiteY7" fmla="*/ 2180991 h 4328194"/>
              <a:gd name="connsiteX8" fmla="*/ 0 w 1401895"/>
              <a:gd name="connsiteY8" fmla="*/ 384 h 4328194"/>
              <a:gd name="connsiteX9" fmla="*/ 7609 w 1401895"/>
              <a:gd name="connsiteY9" fmla="*/ 0 h 4328194"/>
              <a:gd name="connsiteX0" fmla="*/ 0 w 1401895"/>
              <a:gd name="connsiteY0" fmla="*/ 3811586 h 4328194"/>
              <a:gd name="connsiteX1" fmla="*/ 7609 w 1401895"/>
              <a:gd name="connsiteY1" fmla="*/ 4328194 h 4328194"/>
              <a:gd name="connsiteX2" fmla="*/ 0 w 1401895"/>
              <a:gd name="connsiteY2" fmla="*/ 3811586 h 4328194"/>
              <a:gd name="connsiteX3" fmla="*/ 7609 w 1401895"/>
              <a:gd name="connsiteY3" fmla="*/ 0 h 4328194"/>
              <a:gd name="connsiteX4" fmla="*/ 1384176 w 1401895"/>
              <a:gd name="connsiteY4" fmla="*/ 494175 h 4328194"/>
              <a:gd name="connsiteX5" fmla="*/ 1401895 w 1401895"/>
              <a:gd name="connsiteY5" fmla="*/ 510278 h 4328194"/>
              <a:gd name="connsiteX6" fmla="*/ 0 w 1401895"/>
              <a:gd name="connsiteY6" fmla="*/ 2180991 h 4328194"/>
              <a:gd name="connsiteX7" fmla="*/ 0 w 1401895"/>
              <a:gd name="connsiteY7" fmla="*/ 384 h 4328194"/>
              <a:gd name="connsiteX8" fmla="*/ 7609 w 1401895"/>
              <a:gd name="connsiteY8" fmla="*/ 0 h 4328194"/>
              <a:gd name="connsiteX0" fmla="*/ 7609 w 1401895"/>
              <a:gd name="connsiteY0" fmla="*/ 0 h 2180991"/>
              <a:gd name="connsiteX1" fmla="*/ 1384176 w 1401895"/>
              <a:gd name="connsiteY1" fmla="*/ 494175 h 2180991"/>
              <a:gd name="connsiteX2" fmla="*/ 1401895 w 1401895"/>
              <a:gd name="connsiteY2" fmla="*/ 510278 h 2180991"/>
              <a:gd name="connsiteX3" fmla="*/ 0 w 1401895"/>
              <a:gd name="connsiteY3" fmla="*/ 2180991 h 2180991"/>
              <a:gd name="connsiteX4" fmla="*/ 0 w 1401895"/>
              <a:gd name="connsiteY4" fmla="*/ 384 h 2180991"/>
              <a:gd name="connsiteX5" fmla="*/ 7609 w 1401895"/>
              <a:gd name="connsiteY5" fmla="*/ 0 h 218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895" h="2180991">
                <a:moveTo>
                  <a:pt x="7609" y="0"/>
                </a:moveTo>
                <a:cubicBezTo>
                  <a:pt x="530508" y="0"/>
                  <a:pt x="1010092" y="185454"/>
                  <a:pt x="1384176" y="494175"/>
                </a:cubicBezTo>
                <a:lnTo>
                  <a:pt x="1401895" y="510278"/>
                </a:lnTo>
                <a:lnTo>
                  <a:pt x="0" y="2180991"/>
                </a:lnTo>
                <a:lnTo>
                  <a:pt x="0" y="384"/>
                </a:lnTo>
                <a:lnTo>
                  <a:pt x="7609" y="0"/>
                </a:lnTo>
                <a:close/>
              </a:path>
            </a:pathLst>
          </a:custGeom>
          <a:solidFill>
            <a:schemeClr val="accent4">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sp>
        <p:nvSpPr>
          <p:cNvPr id="144" name="TEKST #5">
            <a:extLst>
              <a:ext uri="{FF2B5EF4-FFF2-40B4-BE49-F238E27FC236}">
                <a16:creationId xmlns:a16="http://schemas.microsoft.com/office/drawing/2014/main" id="{57165E53-6126-44C7-A4E9-82AB6DAA0765}"/>
              </a:ext>
            </a:extLst>
          </p:cNvPr>
          <p:cNvSpPr txBox="1"/>
          <p:nvPr/>
        </p:nvSpPr>
        <p:spPr>
          <a:xfrm>
            <a:off x="7381526" y="2318160"/>
            <a:ext cx="3199194" cy="3199194"/>
          </a:xfrm>
          <a:prstGeom prst="rect">
            <a:avLst/>
          </a:prstGeom>
          <a:noFill/>
        </p:spPr>
        <p:txBody>
          <a:bodyPr wrap="square" rtlCol="0">
            <a:prstTxWarp prst="textArchDown">
              <a:avLst/>
            </a:prstTxWarp>
            <a:spAutoFit/>
          </a:bodyPr>
          <a:lstStyle/>
          <a:p>
            <a:pPr algn="ctr"/>
            <a:br>
              <a:rPr dirty="0">
                <a:solidFill>
                  <a:prstClr val="black"/>
                </a:solidFill>
              </a:rPr>
            </a:br>
            <a:r>
              <a:rPr lang="nl-NL" sz="1050" dirty="0">
                <a:solidFill>
                  <a:prstClr val="black"/>
                </a:solidFill>
              </a:rPr>
              <a:t> </a:t>
            </a:r>
            <a:br>
              <a:rPr dirty="0">
                <a:solidFill>
                  <a:prstClr val="black"/>
                </a:solidFill>
              </a:rPr>
            </a:br>
            <a:r>
              <a:rPr lang="en-GB" sz="1100" b="1" dirty="0">
                <a:solidFill>
                  <a:prstClr val="white"/>
                </a:solidFill>
                <a:latin typeface="Segoe UI"/>
              </a:rPr>
              <a:t>Healthy Living</a:t>
            </a:r>
          </a:p>
        </p:txBody>
      </p:sp>
      <p:sp>
        <p:nvSpPr>
          <p:cNvPr id="145" name="4">
            <a:extLst>
              <a:ext uri="{FF2B5EF4-FFF2-40B4-BE49-F238E27FC236}">
                <a16:creationId xmlns:a16="http://schemas.microsoft.com/office/drawing/2014/main" id="{FEFD67E9-2FDD-4382-8F70-40474342263E}"/>
              </a:ext>
            </a:extLst>
          </p:cNvPr>
          <p:cNvSpPr/>
          <p:nvPr/>
        </p:nvSpPr>
        <p:spPr>
          <a:xfrm rot="7200000">
            <a:off x="8867369" y="3962459"/>
            <a:ext cx="1401895" cy="2180991"/>
          </a:xfrm>
          <a:custGeom>
            <a:avLst/>
            <a:gdLst>
              <a:gd name="connsiteX0" fmla="*/ 0 w 1401895"/>
              <a:gd name="connsiteY0" fmla="*/ 3811586 h 4328194"/>
              <a:gd name="connsiteX1" fmla="*/ 535238 w 1401895"/>
              <a:gd name="connsiteY1" fmla="*/ 4260704 h 4328194"/>
              <a:gd name="connsiteX2" fmla="*/ 443750 w 1401895"/>
              <a:gd name="connsiteY2" fmla="*/ 4284228 h 4328194"/>
              <a:gd name="connsiteX3" fmla="*/ 7609 w 1401895"/>
              <a:gd name="connsiteY3" fmla="*/ 4328194 h 4328194"/>
              <a:gd name="connsiteX4" fmla="*/ 0 w 1401895"/>
              <a:gd name="connsiteY4" fmla="*/ 4327810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0" fmla="*/ 0 w 1401895"/>
              <a:gd name="connsiteY0" fmla="*/ 3811586 h 4328194"/>
              <a:gd name="connsiteX1" fmla="*/ 535238 w 1401895"/>
              <a:gd name="connsiteY1" fmla="*/ 4260704 h 4328194"/>
              <a:gd name="connsiteX2" fmla="*/ 7609 w 1401895"/>
              <a:gd name="connsiteY2" fmla="*/ 4328194 h 4328194"/>
              <a:gd name="connsiteX3" fmla="*/ 0 w 1401895"/>
              <a:gd name="connsiteY3" fmla="*/ 4327810 h 4328194"/>
              <a:gd name="connsiteX4" fmla="*/ 0 w 1401895"/>
              <a:gd name="connsiteY4" fmla="*/ 3811586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10" fmla="*/ 7609 w 1401895"/>
              <a:gd name="connsiteY10" fmla="*/ 0 h 4328194"/>
              <a:gd name="connsiteX0" fmla="*/ 0 w 1401895"/>
              <a:gd name="connsiteY0" fmla="*/ 3811586 h 4328194"/>
              <a:gd name="connsiteX1" fmla="*/ 7609 w 1401895"/>
              <a:gd name="connsiteY1" fmla="*/ 4328194 h 4328194"/>
              <a:gd name="connsiteX2" fmla="*/ 0 w 1401895"/>
              <a:gd name="connsiteY2" fmla="*/ 4327810 h 4328194"/>
              <a:gd name="connsiteX3" fmla="*/ 0 w 1401895"/>
              <a:gd name="connsiteY3" fmla="*/ 3811586 h 4328194"/>
              <a:gd name="connsiteX4" fmla="*/ 7609 w 1401895"/>
              <a:gd name="connsiteY4" fmla="*/ 0 h 4328194"/>
              <a:gd name="connsiteX5" fmla="*/ 1384176 w 1401895"/>
              <a:gd name="connsiteY5" fmla="*/ 494175 h 4328194"/>
              <a:gd name="connsiteX6" fmla="*/ 1401895 w 1401895"/>
              <a:gd name="connsiteY6" fmla="*/ 510278 h 4328194"/>
              <a:gd name="connsiteX7" fmla="*/ 0 w 1401895"/>
              <a:gd name="connsiteY7" fmla="*/ 2180991 h 4328194"/>
              <a:gd name="connsiteX8" fmla="*/ 0 w 1401895"/>
              <a:gd name="connsiteY8" fmla="*/ 384 h 4328194"/>
              <a:gd name="connsiteX9" fmla="*/ 7609 w 1401895"/>
              <a:gd name="connsiteY9" fmla="*/ 0 h 4328194"/>
              <a:gd name="connsiteX0" fmla="*/ 0 w 1401895"/>
              <a:gd name="connsiteY0" fmla="*/ 3811586 h 4328194"/>
              <a:gd name="connsiteX1" fmla="*/ 7609 w 1401895"/>
              <a:gd name="connsiteY1" fmla="*/ 4328194 h 4328194"/>
              <a:gd name="connsiteX2" fmla="*/ 0 w 1401895"/>
              <a:gd name="connsiteY2" fmla="*/ 3811586 h 4328194"/>
              <a:gd name="connsiteX3" fmla="*/ 7609 w 1401895"/>
              <a:gd name="connsiteY3" fmla="*/ 0 h 4328194"/>
              <a:gd name="connsiteX4" fmla="*/ 1384176 w 1401895"/>
              <a:gd name="connsiteY4" fmla="*/ 494175 h 4328194"/>
              <a:gd name="connsiteX5" fmla="*/ 1401895 w 1401895"/>
              <a:gd name="connsiteY5" fmla="*/ 510278 h 4328194"/>
              <a:gd name="connsiteX6" fmla="*/ 0 w 1401895"/>
              <a:gd name="connsiteY6" fmla="*/ 2180991 h 4328194"/>
              <a:gd name="connsiteX7" fmla="*/ 0 w 1401895"/>
              <a:gd name="connsiteY7" fmla="*/ 384 h 4328194"/>
              <a:gd name="connsiteX8" fmla="*/ 7609 w 1401895"/>
              <a:gd name="connsiteY8" fmla="*/ 0 h 4328194"/>
              <a:gd name="connsiteX0" fmla="*/ 7609 w 1401895"/>
              <a:gd name="connsiteY0" fmla="*/ 0 h 2180991"/>
              <a:gd name="connsiteX1" fmla="*/ 1384176 w 1401895"/>
              <a:gd name="connsiteY1" fmla="*/ 494175 h 2180991"/>
              <a:gd name="connsiteX2" fmla="*/ 1401895 w 1401895"/>
              <a:gd name="connsiteY2" fmla="*/ 510278 h 2180991"/>
              <a:gd name="connsiteX3" fmla="*/ 0 w 1401895"/>
              <a:gd name="connsiteY3" fmla="*/ 2180991 h 2180991"/>
              <a:gd name="connsiteX4" fmla="*/ 0 w 1401895"/>
              <a:gd name="connsiteY4" fmla="*/ 384 h 2180991"/>
              <a:gd name="connsiteX5" fmla="*/ 7609 w 1401895"/>
              <a:gd name="connsiteY5" fmla="*/ 0 h 218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895" h="2180991">
                <a:moveTo>
                  <a:pt x="7609" y="0"/>
                </a:moveTo>
                <a:cubicBezTo>
                  <a:pt x="530508" y="0"/>
                  <a:pt x="1010092" y="185454"/>
                  <a:pt x="1384176" y="494175"/>
                </a:cubicBezTo>
                <a:lnTo>
                  <a:pt x="1401895" y="510278"/>
                </a:lnTo>
                <a:lnTo>
                  <a:pt x="0" y="2180991"/>
                </a:lnTo>
                <a:lnTo>
                  <a:pt x="0" y="384"/>
                </a:lnTo>
                <a:lnTo>
                  <a:pt x="7609" y="0"/>
                </a:lnTo>
                <a:close/>
              </a:path>
            </a:pathLst>
          </a:custGeom>
          <a:solidFill>
            <a:schemeClr val="accent3">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sp>
        <p:nvSpPr>
          <p:cNvPr id="146" name="TEKST #4">
            <a:extLst>
              <a:ext uri="{FF2B5EF4-FFF2-40B4-BE49-F238E27FC236}">
                <a16:creationId xmlns:a16="http://schemas.microsoft.com/office/drawing/2014/main" id="{D39F7B0D-ADAD-4EE7-BF82-FE5CF78C72FB}"/>
              </a:ext>
            </a:extLst>
          </p:cNvPr>
          <p:cNvSpPr txBox="1"/>
          <p:nvPr/>
        </p:nvSpPr>
        <p:spPr>
          <a:xfrm rot="19200000">
            <a:off x="7405329" y="2308387"/>
            <a:ext cx="3199194" cy="3199194"/>
          </a:xfrm>
          <a:prstGeom prst="rect">
            <a:avLst/>
          </a:prstGeom>
          <a:noFill/>
        </p:spPr>
        <p:txBody>
          <a:bodyPr wrap="square" rtlCol="0">
            <a:prstTxWarp prst="textArchDown">
              <a:avLst/>
            </a:prstTxWarp>
            <a:spAutoFit/>
          </a:bodyPr>
          <a:lstStyle/>
          <a:p>
            <a:pPr algn="ctr"/>
            <a:br>
              <a:rPr dirty="0">
                <a:solidFill>
                  <a:prstClr val="black"/>
                </a:solidFill>
              </a:rPr>
            </a:br>
            <a:r>
              <a:rPr lang="nl-NL" sz="1050" dirty="0">
                <a:solidFill>
                  <a:prstClr val="black"/>
                </a:solidFill>
              </a:rPr>
              <a:t> </a:t>
            </a:r>
            <a:br>
              <a:rPr dirty="0">
                <a:solidFill>
                  <a:prstClr val="black"/>
                </a:solidFill>
              </a:rPr>
            </a:br>
            <a:r>
              <a:rPr lang="en-GB" sz="1100" b="1" dirty="0">
                <a:solidFill>
                  <a:prstClr val="white"/>
                </a:solidFill>
                <a:latin typeface="Segoe UI"/>
              </a:rPr>
              <a:t>Energy</a:t>
            </a:r>
          </a:p>
        </p:txBody>
      </p:sp>
      <p:sp>
        <p:nvSpPr>
          <p:cNvPr id="147" name="3">
            <a:extLst>
              <a:ext uri="{FF2B5EF4-FFF2-40B4-BE49-F238E27FC236}">
                <a16:creationId xmlns:a16="http://schemas.microsoft.com/office/drawing/2014/main" id="{484C1B88-5930-45AA-BB2C-F1D21AE69AE6}"/>
              </a:ext>
            </a:extLst>
          </p:cNvPr>
          <p:cNvSpPr/>
          <p:nvPr/>
        </p:nvSpPr>
        <p:spPr>
          <a:xfrm rot="4800000">
            <a:off x="9461961" y="3321585"/>
            <a:ext cx="1401895" cy="2180991"/>
          </a:xfrm>
          <a:custGeom>
            <a:avLst/>
            <a:gdLst>
              <a:gd name="connsiteX0" fmla="*/ 0 w 1401895"/>
              <a:gd name="connsiteY0" fmla="*/ 3811586 h 4328194"/>
              <a:gd name="connsiteX1" fmla="*/ 535238 w 1401895"/>
              <a:gd name="connsiteY1" fmla="*/ 4260704 h 4328194"/>
              <a:gd name="connsiteX2" fmla="*/ 443750 w 1401895"/>
              <a:gd name="connsiteY2" fmla="*/ 4284228 h 4328194"/>
              <a:gd name="connsiteX3" fmla="*/ 7609 w 1401895"/>
              <a:gd name="connsiteY3" fmla="*/ 4328194 h 4328194"/>
              <a:gd name="connsiteX4" fmla="*/ 0 w 1401895"/>
              <a:gd name="connsiteY4" fmla="*/ 4327810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0" fmla="*/ 0 w 1401895"/>
              <a:gd name="connsiteY0" fmla="*/ 3811586 h 4328194"/>
              <a:gd name="connsiteX1" fmla="*/ 535238 w 1401895"/>
              <a:gd name="connsiteY1" fmla="*/ 4260704 h 4328194"/>
              <a:gd name="connsiteX2" fmla="*/ 7609 w 1401895"/>
              <a:gd name="connsiteY2" fmla="*/ 4328194 h 4328194"/>
              <a:gd name="connsiteX3" fmla="*/ 0 w 1401895"/>
              <a:gd name="connsiteY3" fmla="*/ 4327810 h 4328194"/>
              <a:gd name="connsiteX4" fmla="*/ 0 w 1401895"/>
              <a:gd name="connsiteY4" fmla="*/ 3811586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10" fmla="*/ 7609 w 1401895"/>
              <a:gd name="connsiteY10" fmla="*/ 0 h 4328194"/>
              <a:gd name="connsiteX0" fmla="*/ 0 w 1401895"/>
              <a:gd name="connsiteY0" fmla="*/ 3811586 h 4328194"/>
              <a:gd name="connsiteX1" fmla="*/ 7609 w 1401895"/>
              <a:gd name="connsiteY1" fmla="*/ 4328194 h 4328194"/>
              <a:gd name="connsiteX2" fmla="*/ 0 w 1401895"/>
              <a:gd name="connsiteY2" fmla="*/ 4327810 h 4328194"/>
              <a:gd name="connsiteX3" fmla="*/ 0 w 1401895"/>
              <a:gd name="connsiteY3" fmla="*/ 3811586 h 4328194"/>
              <a:gd name="connsiteX4" fmla="*/ 7609 w 1401895"/>
              <a:gd name="connsiteY4" fmla="*/ 0 h 4328194"/>
              <a:gd name="connsiteX5" fmla="*/ 1384176 w 1401895"/>
              <a:gd name="connsiteY5" fmla="*/ 494175 h 4328194"/>
              <a:gd name="connsiteX6" fmla="*/ 1401895 w 1401895"/>
              <a:gd name="connsiteY6" fmla="*/ 510278 h 4328194"/>
              <a:gd name="connsiteX7" fmla="*/ 0 w 1401895"/>
              <a:gd name="connsiteY7" fmla="*/ 2180991 h 4328194"/>
              <a:gd name="connsiteX8" fmla="*/ 0 w 1401895"/>
              <a:gd name="connsiteY8" fmla="*/ 384 h 4328194"/>
              <a:gd name="connsiteX9" fmla="*/ 7609 w 1401895"/>
              <a:gd name="connsiteY9" fmla="*/ 0 h 4328194"/>
              <a:gd name="connsiteX0" fmla="*/ 0 w 1401895"/>
              <a:gd name="connsiteY0" fmla="*/ 3811586 h 4328194"/>
              <a:gd name="connsiteX1" fmla="*/ 7609 w 1401895"/>
              <a:gd name="connsiteY1" fmla="*/ 4328194 h 4328194"/>
              <a:gd name="connsiteX2" fmla="*/ 0 w 1401895"/>
              <a:gd name="connsiteY2" fmla="*/ 3811586 h 4328194"/>
              <a:gd name="connsiteX3" fmla="*/ 7609 w 1401895"/>
              <a:gd name="connsiteY3" fmla="*/ 0 h 4328194"/>
              <a:gd name="connsiteX4" fmla="*/ 1384176 w 1401895"/>
              <a:gd name="connsiteY4" fmla="*/ 494175 h 4328194"/>
              <a:gd name="connsiteX5" fmla="*/ 1401895 w 1401895"/>
              <a:gd name="connsiteY5" fmla="*/ 510278 h 4328194"/>
              <a:gd name="connsiteX6" fmla="*/ 0 w 1401895"/>
              <a:gd name="connsiteY6" fmla="*/ 2180991 h 4328194"/>
              <a:gd name="connsiteX7" fmla="*/ 0 w 1401895"/>
              <a:gd name="connsiteY7" fmla="*/ 384 h 4328194"/>
              <a:gd name="connsiteX8" fmla="*/ 7609 w 1401895"/>
              <a:gd name="connsiteY8" fmla="*/ 0 h 4328194"/>
              <a:gd name="connsiteX0" fmla="*/ 7609 w 1401895"/>
              <a:gd name="connsiteY0" fmla="*/ 0 h 2180991"/>
              <a:gd name="connsiteX1" fmla="*/ 1384176 w 1401895"/>
              <a:gd name="connsiteY1" fmla="*/ 494175 h 2180991"/>
              <a:gd name="connsiteX2" fmla="*/ 1401895 w 1401895"/>
              <a:gd name="connsiteY2" fmla="*/ 510278 h 2180991"/>
              <a:gd name="connsiteX3" fmla="*/ 0 w 1401895"/>
              <a:gd name="connsiteY3" fmla="*/ 2180991 h 2180991"/>
              <a:gd name="connsiteX4" fmla="*/ 0 w 1401895"/>
              <a:gd name="connsiteY4" fmla="*/ 384 h 2180991"/>
              <a:gd name="connsiteX5" fmla="*/ 7609 w 1401895"/>
              <a:gd name="connsiteY5" fmla="*/ 0 h 218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895" h="2180991">
                <a:moveTo>
                  <a:pt x="7609" y="0"/>
                </a:moveTo>
                <a:cubicBezTo>
                  <a:pt x="530508" y="0"/>
                  <a:pt x="1010092" y="185454"/>
                  <a:pt x="1384176" y="494175"/>
                </a:cubicBezTo>
                <a:lnTo>
                  <a:pt x="1401895" y="510278"/>
                </a:lnTo>
                <a:lnTo>
                  <a:pt x="0" y="2180991"/>
                </a:lnTo>
                <a:lnTo>
                  <a:pt x="0" y="384"/>
                </a:lnTo>
                <a:lnTo>
                  <a:pt x="7609" y="0"/>
                </a:lnTo>
                <a:close/>
              </a:path>
            </a:pathLst>
          </a:custGeom>
          <a:solidFill>
            <a:schemeClr val="accent1">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sp>
        <p:nvSpPr>
          <p:cNvPr id="148" name="TEKST #3">
            <a:extLst>
              <a:ext uri="{FF2B5EF4-FFF2-40B4-BE49-F238E27FC236}">
                <a16:creationId xmlns:a16="http://schemas.microsoft.com/office/drawing/2014/main" id="{6370A40B-83A8-41DB-A8F0-215C425926DC}"/>
              </a:ext>
            </a:extLst>
          </p:cNvPr>
          <p:cNvSpPr txBox="1"/>
          <p:nvPr/>
        </p:nvSpPr>
        <p:spPr>
          <a:xfrm rot="6000000">
            <a:off x="7381526" y="2318160"/>
            <a:ext cx="3199194" cy="3199194"/>
          </a:xfrm>
          <a:prstGeom prst="rect">
            <a:avLst/>
          </a:prstGeom>
          <a:noFill/>
        </p:spPr>
        <p:txBody>
          <a:bodyPr wrap="square" rtlCol="0">
            <a:prstTxWarp prst="textArchUp">
              <a:avLst/>
            </a:prstTxWarp>
            <a:spAutoFit/>
          </a:bodyPr>
          <a:lstStyle/>
          <a:p>
            <a:pPr algn="ctr"/>
            <a:r>
              <a:rPr lang="en-GB" sz="1100" b="1" dirty="0">
                <a:solidFill>
                  <a:prstClr val="white"/>
                </a:solidFill>
                <a:latin typeface="Segoe UI"/>
              </a:rPr>
              <a:t>   Defence, Safety</a:t>
            </a:r>
            <a:br>
              <a:rPr>
                <a:solidFill>
                  <a:prstClr val="black"/>
                </a:solidFill>
              </a:rPr>
            </a:br>
            <a:r>
              <a:rPr lang="en-GB" sz="1100" b="1" dirty="0">
                <a:solidFill>
                  <a:prstClr val="white"/>
                </a:solidFill>
                <a:latin typeface="Segoe UI"/>
              </a:rPr>
              <a:t>&amp; Security</a:t>
            </a:r>
            <a:br>
              <a:rPr>
                <a:solidFill>
                  <a:prstClr val="black"/>
                </a:solidFill>
              </a:rPr>
            </a:br>
            <a:endParaRPr lang="en-GB" sz="1100" b="1" dirty="0">
              <a:solidFill>
                <a:prstClr val="white"/>
              </a:solidFill>
              <a:latin typeface="Segoe UI"/>
            </a:endParaRPr>
          </a:p>
        </p:txBody>
      </p:sp>
      <p:sp>
        <p:nvSpPr>
          <p:cNvPr id="149" name="2">
            <a:extLst>
              <a:ext uri="{FF2B5EF4-FFF2-40B4-BE49-F238E27FC236}">
                <a16:creationId xmlns:a16="http://schemas.microsoft.com/office/drawing/2014/main" id="{FE8F8728-65B1-4406-B438-2C8C9963FEEC}"/>
              </a:ext>
            </a:extLst>
          </p:cNvPr>
          <p:cNvSpPr/>
          <p:nvPr/>
        </p:nvSpPr>
        <p:spPr>
          <a:xfrm rot="2400000">
            <a:off x="9505499" y="2448451"/>
            <a:ext cx="1401895" cy="2180991"/>
          </a:xfrm>
          <a:custGeom>
            <a:avLst/>
            <a:gdLst>
              <a:gd name="connsiteX0" fmla="*/ 0 w 1401895"/>
              <a:gd name="connsiteY0" fmla="*/ 3811586 h 4328194"/>
              <a:gd name="connsiteX1" fmla="*/ 535238 w 1401895"/>
              <a:gd name="connsiteY1" fmla="*/ 4260704 h 4328194"/>
              <a:gd name="connsiteX2" fmla="*/ 443750 w 1401895"/>
              <a:gd name="connsiteY2" fmla="*/ 4284228 h 4328194"/>
              <a:gd name="connsiteX3" fmla="*/ 7609 w 1401895"/>
              <a:gd name="connsiteY3" fmla="*/ 4328194 h 4328194"/>
              <a:gd name="connsiteX4" fmla="*/ 0 w 1401895"/>
              <a:gd name="connsiteY4" fmla="*/ 4327810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0" fmla="*/ 0 w 1401895"/>
              <a:gd name="connsiteY0" fmla="*/ 3811586 h 4328194"/>
              <a:gd name="connsiteX1" fmla="*/ 535238 w 1401895"/>
              <a:gd name="connsiteY1" fmla="*/ 4260704 h 4328194"/>
              <a:gd name="connsiteX2" fmla="*/ 7609 w 1401895"/>
              <a:gd name="connsiteY2" fmla="*/ 4328194 h 4328194"/>
              <a:gd name="connsiteX3" fmla="*/ 0 w 1401895"/>
              <a:gd name="connsiteY3" fmla="*/ 4327810 h 4328194"/>
              <a:gd name="connsiteX4" fmla="*/ 0 w 1401895"/>
              <a:gd name="connsiteY4" fmla="*/ 3811586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10" fmla="*/ 7609 w 1401895"/>
              <a:gd name="connsiteY10" fmla="*/ 0 h 4328194"/>
              <a:gd name="connsiteX0" fmla="*/ 0 w 1401895"/>
              <a:gd name="connsiteY0" fmla="*/ 3811586 h 4328194"/>
              <a:gd name="connsiteX1" fmla="*/ 7609 w 1401895"/>
              <a:gd name="connsiteY1" fmla="*/ 4328194 h 4328194"/>
              <a:gd name="connsiteX2" fmla="*/ 0 w 1401895"/>
              <a:gd name="connsiteY2" fmla="*/ 4327810 h 4328194"/>
              <a:gd name="connsiteX3" fmla="*/ 0 w 1401895"/>
              <a:gd name="connsiteY3" fmla="*/ 3811586 h 4328194"/>
              <a:gd name="connsiteX4" fmla="*/ 7609 w 1401895"/>
              <a:gd name="connsiteY4" fmla="*/ 0 h 4328194"/>
              <a:gd name="connsiteX5" fmla="*/ 1384176 w 1401895"/>
              <a:gd name="connsiteY5" fmla="*/ 494175 h 4328194"/>
              <a:gd name="connsiteX6" fmla="*/ 1401895 w 1401895"/>
              <a:gd name="connsiteY6" fmla="*/ 510278 h 4328194"/>
              <a:gd name="connsiteX7" fmla="*/ 0 w 1401895"/>
              <a:gd name="connsiteY7" fmla="*/ 2180991 h 4328194"/>
              <a:gd name="connsiteX8" fmla="*/ 0 w 1401895"/>
              <a:gd name="connsiteY8" fmla="*/ 384 h 4328194"/>
              <a:gd name="connsiteX9" fmla="*/ 7609 w 1401895"/>
              <a:gd name="connsiteY9" fmla="*/ 0 h 4328194"/>
              <a:gd name="connsiteX0" fmla="*/ 0 w 1401895"/>
              <a:gd name="connsiteY0" fmla="*/ 3811586 h 4328194"/>
              <a:gd name="connsiteX1" fmla="*/ 7609 w 1401895"/>
              <a:gd name="connsiteY1" fmla="*/ 4328194 h 4328194"/>
              <a:gd name="connsiteX2" fmla="*/ 0 w 1401895"/>
              <a:gd name="connsiteY2" fmla="*/ 3811586 h 4328194"/>
              <a:gd name="connsiteX3" fmla="*/ 7609 w 1401895"/>
              <a:gd name="connsiteY3" fmla="*/ 0 h 4328194"/>
              <a:gd name="connsiteX4" fmla="*/ 1384176 w 1401895"/>
              <a:gd name="connsiteY4" fmla="*/ 494175 h 4328194"/>
              <a:gd name="connsiteX5" fmla="*/ 1401895 w 1401895"/>
              <a:gd name="connsiteY5" fmla="*/ 510278 h 4328194"/>
              <a:gd name="connsiteX6" fmla="*/ 0 w 1401895"/>
              <a:gd name="connsiteY6" fmla="*/ 2180991 h 4328194"/>
              <a:gd name="connsiteX7" fmla="*/ 0 w 1401895"/>
              <a:gd name="connsiteY7" fmla="*/ 384 h 4328194"/>
              <a:gd name="connsiteX8" fmla="*/ 7609 w 1401895"/>
              <a:gd name="connsiteY8" fmla="*/ 0 h 4328194"/>
              <a:gd name="connsiteX0" fmla="*/ 7609 w 1401895"/>
              <a:gd name="connsiteY0" fmla="*/ 0 h 2180991"/>
              <a:gd name="connsiteX1" fmla="*/ 1384176 w 1401895"/>
              <a:gd name="connsiteY1" fmla="*/ 494175 h 2180991"/>
              <a:gd name="connsiteX2" fmla="*/ 1401895 w 1401895"/>
              <a:gd name="connsiteY2" fmla="*/ 510278 h 2180991"/>
              <a:gd name="connsiteX3" fmla="*/ 0 w 1401895"/>
              <a:gd name="connsiteY3" fmla="*/ 2180991 h 2180991"/>
              <a:gd name="connsiteX4" fmla="*/ 0 w 1401895"/>
              <a:gd name="connsiteY4" fmla="*/ 384 h 2180991"/>
              <a:gd name="connsiteX5" fmla="*/ 7609 w 1401895"/>
              <a:gd name="connsiteY5" fmla="*/ 0 h 218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895" h="2180991">
                <a:moveTo>
                  <a:pt x="7609" y="0"/>
                </a:moveTo>
                <a:cubicBezTo>
                  <a:pt x="530508" y="0"/>
                  <a:pt x="1010092" y="185454"/>
                  <a:pt x="1384176" y="494175"/>
                </a:cubicBezTo>
                <a:lnTo>
                  <a:pt x="1401895" y="510278"/>
                </a:lnTo>
                <a:lnTo>
                  <a:pt x="0" y="2180991"/>
                </a:lnTo>
                <a:lnTo>
                  <a:pt x="0" y="384"/>
                </a:lnTo>
                <a:lnTo>
                  <a:pt x="7609" y="0"/>
                </a:lnTo>
                <a:close/>
              </a:path>
            </a:pathLst>
          </a:custGeom>
          <a:solidFill>
            <a:schemeClr val="accent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prstClr val="white"/>
              </a:solidFill>
            </a:endParaRPr>
          </a:p>
        </p:txBody>
      </p:sp>
      <p:sp>
        <p:nvSpPr>
          <p:cNvPr id="150" name="TEKST #2">
            <a:extLst>
              <a:ext uri="{FF2B5EF4-FFF2-40B4-BE49-F238E27FC236}">
                <a16:creationId xmlns:a16="http://schemas.microsoft.com/office/drawing/2014/main" id="{4FB231A1-B810-4AF5-8529-77DEDD56E99B}"/>
              </a:ext>
            </a:extLst>
          </p:cNvPr>
          <p:cNvSpPr txBox="1"/>
          <p:nvPr/>
        </p:nvSpPr>
        <p:spPr>
          <a:xfrm rot="3600000">
            <a:off x="7381526" y="2318160"/>
            <a:ext cx="3199194" cy="3199194"/>
          </a:xfrm>
          <a:prstGeom prst="rect">
            <a:avLst/>
          </a:prstGeom>
          <a:noFill/>
        </p:spPr>
        <p:txBody>
          <a:bodyPr wrap="square" rtlCol="0">
            <a:prstTxWarp prst="textArchUp">
              <a:avLst/>
            </a:prstTxWarp>
            <a:spAutoFit/>
          </a:bodyPr>
          <a:lstStyle/>
          <a:p>
            <a:pPr algn="ctr"/>
            <a:r>
              <a:rPr lang="en-GB" sz="1100" b="1" dirty="0">
                <a:solidFill>
                  <a:prstClr val="white"/>
                </a:solidFill>
                <a:latin typeface="Segoe UI"/>
              </a:rPr>
              <a:t>  Circular Economy</a:t>
            </a:r>
            <a:br>
              <a:rPr>
                <a:solidFill>
                  <a:prstClr val="black"/>
                </a:solidFill>
              </a:rPr>
            </a:br>
            <a:r>
              <a:rPr lang="en-GB" sz="1100" b="1" dirty="0">
                <a:solidFill>
                  <a:prstClr val="white"/>
                </a:solidFill>
                <a:latin typeface="Segoe UI"/>
              </a:rPr>
              <a:t>&amp; Environment</a:t>
            </a:r>
            <a:br>
              <a:rPr>
                <a:solidFill>
                  <a:prstClr val="black"/>
                </a:solidFill>
              </a:rPr>
            </a:br>
            <a:endParaRPr lang="en-GB" sz="1100" b="1" dirty="0">
              <a:solidFill>
                <a:prstClr val="white"/>
              </a:solidFill>
              <a:latin typeface="Segoe UI"/>
            </a:endParaRPr>
          </a:p>
        </p:txBody>
      </p:sp>
      <p:sp>
        <p:nvSpPr>
          <p:cNvPr id="151" name="1">
            <a:extLst>
              <a:ext uri="{FF2B5EF4-FFF2-40B4-BE49-F238E27FC236}">
                <a16:creationId xmlns:a16="http://schemas.microsoft.com/office/drawing/2014/main" id="{3697219A-1420-4495-99B8-63F709E3C1E0}"/>
              </a:ext>
            </a:extLst>
          </p:cNvPr>
          <p:cNvSpPr/>
          <p:nvPr/>
        </p:nvSpPr>
        <p:spPr>
          <a:xfrm>
            <a:off x="8977612" y="1751606"/>
            <a:ext cx="1401895" cy="2180991"/>
          </a:xfrm>
          <a:custGeom>
            <a:avLst/>
            <a:gdLst>
              <a:gd name="connsiteX0" fmla="*/ 0 w 1401895"/>
              <a:gd name="connsiteY0" fmla="*/ 3811586 h 4328194"/>
              <a:gd name="connsiteX1" fmla="*/ 535238 w 1401895"/>
              <a:gd name="connsiteY1" fmla="*/ 4260704 h 4328194"/>
              <a:gd name="connsiteX2" fmla="*/ 443750 w 1401895"/>
              <a:gd name="connsiteY2" fmla="*/ 4284228 h 4328194"/>
              <a:gd name="connsiteX3" fmla="*/ 7609 w 1401895"/>
              <a:gd name="connsiteY3" fmla="*/ 4328194 h 4328194"/>
              <a:gd name="connsiteX4" fmla="*/ 0 w 1401895"/>
              <a:gd name="connsiteY4" fmla="*/ 4327810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0" fmla="*/ 0 w 1401895"/>
              <a:gd name="connsiteY0" fmla="*/ 3811586 h 4328194"/>
              <a:gd name="connsiteX1" fmla="*/ 535238 w 1401895"/>
              <a:gd name="connsiteY1" fmla="*/ 4260704 h 4328194"/>
              <a:gd name="connsiteX2" fmla="*/ 7609 w 1401895"/>
              <a:gd name="connsiteY2" fmla="*/ 4328194 h 4328194"/>
              <a:gd name="connsiteX3" fmla="*/ 0 w 1401895"/>
              <a:gd name="connsiteY3" fmla="*/ 4327810 h 4328194"/>
              <a:gd name="connsiteX4" fmla="*/ 0 w 1401895"/>
              <a:gd name="connsiteY4" fmla="*/ 3811586 h 4328194"/>
              <a:gd name="connsiteX5" fmla="*/ 7609 w 1401895"/>
              <a:gd name="connsiteY5" fmla="*/ 0 h 4328194"/>
              <a:gd name="connsiteX6" fmla="*/ 1384176 w 1401895"/>
              <a:gd name="connsiteY6" fmla="*/ 494175 h 4328194"/>
              <a:gd name="connsiteX7" fmla="*/ 1401895 w 1401895"/>
              <a:gd name="connsiteY7" fmla="*/ 510278 h 4328194"/>
              <a:gd name="connsiteX8" fmla="*/ 0 w 1401895"/>
              <a:gd name="connsiteY8" fmla="*/ 2180991 h 4328194"/>
              <a:gd name="connsiteX9" fmla="*/ 0 w 1401895"/>
              <a:gd name="connsiteY9" fmla="*/ 384 h 4328194"/>
              <a:gd name="connsiteX10" fmla="*/ 7609 w 1401895"/>
              <a:gd name="connsiteY10" fmla="*/ 0 h 4328194"/>
              <a:gd name="connsiteX0" fmla="*/ 0 w 1401895"/>
              <a:gd name="connsiteY0" fmla="*/ 3811586 h 4328194"/>
              <a:gd name="connsiteX1" fmla="*/ 7609 w 1401895"/>
              <a:gd name="connsiteY1" fmla="*/ 4328194 h 4328194"/>
              <a:gd name="connsiteX2" fmla="*/ 0 w 1401895"/>
              <a:gd name="connsiteY2" fmla="*/ 4327810 h 4328194"/>
              <a:gd name="connsiteX3" fmla="*/ 0 w 1401895"/>
              <a:gd name="connsiteY3" fmla="*/ 3811586 h 4328194"/>
              <a:gd name="connsiteX4" fmla="*/ 7609 w 1401895"/>
              <a:gd name="connsiteY4" fmla="*/ 0 h 4328194"/>
              <a:gd name="connsiteX5" fmla="*/ 1384176 w 1401895"/>
              <a:gd name="connsiteY5" fmla="*/ 494175 h 4328194"/>
              <a:gd name="connsiteX6" fmla="*/ 1401895 w 1401895"/>
              <a:gd name="connsiteY6" fmla="*/ 510278 h 4328194"/>
              <a:gd name="connsiteX7" fmla="*/ 0 w 1401895"/>
              <a:gd name="connsiteY7" fmla="*/ 2180991 h 4328194"/>
              <a:gd name="connsiteX8" fmla="*/ 0 w 1401895"/>
              <a:gd name="connsiteY8" fmla="*/ 384 h 4328194"/>
              <a:gd name="connsiteX9" fmla="*/ 7609 w 1401895"/>
              <a:gd name="connsiteY9" fmla="*/ 0 h 4328194"/>
              <a:gd name="connsiteX0" fmla="*/ 0 w 1401895"/>
              <a:gd name="connsiteY0" fmla="*/ 3811586 h 4328194"/>
              <a:gd name="connsiteX1" fmla="*/ 7609 w 1401895"/>
              <a:gd name="connsiteY1" fmla="*/ 4328194 h 4328194"/>
              <a:gd name="connsiteX2" fmla="*/ 0 w 1401895"/>
              <a:gd name="connsiteY2" fmla="*/ 3811586 h 4328194"/>
              <a:gd name="connsiteX3" fmla="*/ 7609 w 1401895"/>
              <a:gd name="connsiteY3" fmla="*/ 0 h 4328194"/>
              <a:gd name="connsiteX4" fmla="*/ 1384176 w 1401895"/>
              <a:gd name="connsiteY4" fmla="*/ 494175 h 4328194"/>
              <a:gd name="connsiteX5" fmla="*/ 1401895 w 1401895"/>
              <a:gd name="connsiteY5" fmla="*/ 510278 h 4328194"/>
              <a:gd name="connsiteX6" fmla="*/ 0 w 1401895"/>
              <a:gd name="connsiteY6" fmla="*/ 2180991 h 4328194"/>
              <a:gd name="connsiteX7" fmla="*/ 0 w 1401895"/>
              <a:gd name="connsiteY7" fmla="*/ 384 h 4328194"/>
              <a:gd name="connsiteX8" fmla="*/ 7609 w 1401895"/>
              <a:gd name="connsiteY8" fmla="*/ 0 h 4328194"/>
              <a:gd name="connsiteX0" fmla="*/ 7609 w 1401895"/>
              <a:gd name="connsiteY0" fmla="*/ 0 h 2180991"/>
              <a:gd name="connsiteX1" fmla="*/ 1384176 w 1401895"/>
              <a:gd name="connsiteY1" fmla="*/ 494175 h 2180991"/>
              <a:gd name="connsiteX2" fmla="*/ 1401895 w 1401895"/>
              <a:gd name="connsiteY2" fmla="*/ 510278 h 2180991"/>
              <a:gd name="connsiteX3" fmla="*/ 0 w 1401895"/>
              <a:gd name="connsiteY3" fmla="*/ 2180991 h 2180991"/>
              <a:gd name="connsiteX4" fmla="*/ 0 w 1401895"/>
              <a:gd name="connsiteY4" fmla="*/ 384 h 2180991"/>
              <a:gd name="connsiteX5" fmla="*/ 7609 w 1401895"/>
              <a:gd name="connsiteY5" fmla="*/ 0 h 218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895" h="2180991">
                <a:moveTo>
                  <a:pt x="7609" y="0"/>
                </a:moveTo>
                <a:cubicBezTo>
                  <a:pt x="530508" y="0"/>
                  <a:pt x="1010092" y="185454"/>
                  <a:pt x="1384176" y="494175"/>
                </a:cubicBezTo>
                <a:lnTo>
                  <a:pt x="1401895" y="510278"/>
                </a:lnTo>
                <a:lnTo>
                  <a:pt x="0" y="2180991"/>
                </a:lnTo>
                <a:lnTo>
                  <a:pt x="0" y="384"/>
                </a:lnTo>
                <a:lnTo>
                  <a:pt x="7609" y="0"/>
                </a:lnTo>
                <a:close/>
              </a:path>
            </a:pathLst>
          </a:custGeom>
          <a:solidFill>
            <a:schemeClr val="tx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sp>
        <p:nvSpPr>
          <p:cNvPr id="152" name="TEKST #1">
            <a:extLst>
              <a:ext uri="{FF2B5EF4-FFF2-40B4-BE49-F238E27FC236}">
                <a16:creationId xmlns:a16="http://schemas.microsoft.com/office/drawing/2014/main" id="{56521901-1566-4D43-96F8-22C03C3B8F18}"/>
              </a:ext>
            </a:extLst>
          </p:cNvPr>
          <p:cNvSpPr txBox="1"/>
          <p:nvPr/>
        </p:nvSpPr>
        <p:spPr>
          <a:xfrm rot="1200000">
            <a:off x="7381526" y="2318160"/>
            <a:ext cx="3199194" cy="3199194"/>
          </a:xfrm>
          <a:prstGeom prst="rect">
            <a:avLst/>
          </a:prstGeom>
          <a:noFill/>
        </p:spPr>
        <p:txBody>
          <a:bodyPr wrap="square" rtlCol="0">
            <a:prstTxWarp prst="textArchUp">
              <a:avLst/>
            </a:prstTxWarp>
            <a:spAutoFit/>
          </a:bodyPr>
          <a:lstStyle/>
          <a:p>
            <a:pPr algn="ctr"/>
            <a:r>
              <a:rPr lang="en-GB" sz="1100" b="1" dirty="0">
                <a:solidFill>
                  <a:prstClr val="white"/>
                </a:solidFill>
                <a:latin typeface="Segoe UI"/>
              </a:rPr>
              <a:t>    Buildings,</a:t>
            </a:r>
          </a:p>
          <a:p>
            <a:pPr algn="ctr"/>
            <a:r>
              <a:rPr lang="en-GB" sz="1100" b="1" dirty="0">
                <a:solidFill>
                  <a:prstClr val="white"/>
                </a:solidFill>
                <a:latin typeface="Segoe UI"/>
              </a:rPr>
              <a:t>Infrastructures</a:t>
            </a:r>
            <a:br>
              <a:rPr>
                <a:solidFill>
                  <a:prstClr val="black"/>
                </a:solidFill>
              </a:rPr>
            </a:br>
            <a:r>
              <a:rPr lang="en-GB" sz="1100" b="1" dirty="0">
                <a:solidFill>
                  <a:prstClr val="white"/>
                </a:solidFill>
                <a:latin typeface="Segoe UI"/>
              </a:rPr>
              <a:t>&amp; Maritime</a:t>
            </a:r>
          </a:p>
        </p:txBody>
      </p:sp>
      <p:grpSp>
        <p:nvGrpSpPr>
          <p:cNvPr id="235" name="LIJNEN">
            <a:extLst>
              <a:ext uri="{FF2B5EF4-FFF2-40B4-BE49-F238E27FC236}">
                <a16:creationId xmlns:a16="http://schemas.microsoft.com/office/drawing/2014/main" id="{B46EB141-FE9E-4799-844A-7D7072EA92BF}"/>
              </a:ext>
            </a:extLst>
          </p:cNvPr>
          <p:cNvGrpSpPr/>
          <p:nvPr/>
        </p:nvGrpSpPr>
        <p:grpSpPr>
          <a:xfrm>
            <a:off x="6368395" y="1664193"/>
            <a:ext cx="4787158" cy="4305991"/>
            <a:chOff x="3486778" y="1850969"/>
            <a:chExt cx="4787158" cy="4305991"/>
          </a:xfrm>
        </p:grpSpPr>
        <p:cxnSp>
          <p:nvCxnSpPr>
            <p:cNvPr id="236" name="Rechte verbindingslijn 2">
              <a:extLst>
                <a:ext uri="{FF2B5EF4-FFF2-40B4-BE49-F238E27FC236}">
                  <a16:creationId xmlns:a16="http://schemas.microsoft.com/office/drawing/2014/main" id="{BD90B7D6-F8F4-4468-ABDF-F8E48D98A3BC}"/>
                </a:ext>
              </a:extLst>
            </p:cNvPr>
            <p:cNvCxnSpPr>
              <a:cxnSpLocks/>
            </p:cNvCxnSpPr>
            <p:nvPr/>
          </p:nvCxnSpPr>
          <p:spPr>
            <a:xfrm>
              <a:off x="6095995" y="1850969"/>
              <a:ext cx="0" cy="1307393"/>
            </a:xfrm>
            <a:prstGeom prst="line">
              <a:avLst/>
            </a:prstGeom>
            <a:ln w="19050">
              <a:solidFill>
                <a:srgbClr val="185D94"/>
              </a:solidFill>
            </a:ln>
          </p:spPr>
          <p:style>
            <a:lnRef idx="1">
              <a:schemeClr val="accent1"/>
            </a:lnRef>
            <a:fillRef idx="0">
              <a:schemeClr val="accent1"/>
            </a:fillRef>
            <a:effectRef idx="0">
              <a:schemeClr val="accent1"/>
            </a:effectRef>
            <a:fontRef idx="minor">
              <a:schemeClr val="tx1"/>
            </a:fontRef>
          </p:style>
        </p:cxnSp>
        <p:cxnSp>
          <p:nvCxnSpPr>
            <p:cNvPr id="237" name="Rechte verbindingslijn 243">
              <a:extLst>
                <a:ext uri="{FF2B5EF4-FFF2-40B4-BE49-F238E27FC236}">
                  <a16:creationId xmlns:a16="http://schemas.microsoft.com/office/drawing/2014/main" id="{74DE0E24-94EF-47BF-BF4F-26DBA2F9CD82}"/>
                </a:ext>
              </a:extLst>
            </p:cNvPr>
            <p:cNvCxnSpPr>
              <a:cxnSpLocks/>
            </p:cNvCxnSpPr>
            <p:nvPr/>
          </p:nvCxnSpPr>
          <p:spPr>
            <a:xfrm flipH="1">
              <a:off x="6766560" y="2410691"/>
              <a:ext cx="753688" cy="897774"/>
            </a:xfrm>
            <a:prstGeom prst="line">
              <a:avLst/>
            </a:prstGeom>
            <a:ln w="19050">
              <a:solidFill>
                <a:srgbClr val="185D94"/>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244">
              <a:extLst>
                <a:ext uri="{FF2B5EF4-FFF2-40B4-BE49-F238E27FC236}">
                  <a16:creationId xmlns:a16="http://schemas.microsoft.com/office/drawing/2014/main" id="{1217E61F-9D4B-4E4A-A8D4-E5DC2D816B4B}"/>
                </a:ext>
              </a:extLst>
            </p:cNvPr>
            <p:cNvCxnSpPr>
              <a:cxnSpLocks/>
            </p:cNvCxnSpPr>
            <p:nvPr/>
          </p:nvCxnSpPr>
          <p:spPr>
            <a:xfrm flipH="1">
              <a:off x="7110153" y="3718560"/>
              <a:ext cx="1163783" cy="199505"/>
            </a:xfrm>
            <a:prstGeom prst="line">
              <a:avLst/>
            </a:prstGeom>
            <a:ln w="19050">
              <a:solidFill>
                <a:srgbClr val="114F88"/>
              </a:solidFill>
            </a:ln>
          </p:spPr>
          <p:style>
            <a:lnRef idx="1">
              <a:schemeClr val="accent1"/>
            </a:lnRef>
            <a:fillRef idx="0">
              <a:schemeClr val="accent1"/>
            </a:fillRef>
            <a:effectRef idx="0">
              <a:schemeClr val="accent1"/>
            </a:effectRef>
            <a:fontRef idx="minor">
              <a:schemeClr val="tx1"/>
            </a:fontRef>
          </p:style>
        </p:cxnSp>
        <p:cxnSp>
          <p:nvCxnSpPr>
            <p:cNvPr id="239" name="Rechte verbindingslijn 245">
              <a:extLst>
                <a:ext uri="{FF2B5EF4-FFF2-40B4-BE49-F238E27FC236}">
                  <a16:creationId xmlns:a16="http://schemas.microsoft.com/office/drawing/2014/main" id="{48FE4D47-FAC1-4324-8D5A-2C73988D44F4}"/>
                </a:ext>
              </a:extLst>
            </p:cNvPr>
            <p:cNvCxnSpPr>
              <a:cxnSpLocks/>
            </p:cNvCxnSpPr>
            <p:nvPr/>
          </p:nvCxnSpPr>
          <p:spPr>
            <a:xfrm flipH="1" flipV="1">
              <a:off x="7021484" y="4627418"/>
              <a:ext cx="969819" cy="559724"/>
            </a:xfrm>
            <a:prstGeom prst="line">
              <a:avLst/>
            </a:prstGeom>
            <a:ln w="19050">
              <a:solidFill>
                <a:srgbClr val="0E4482"/>
              </a:solidFill>
            </a:ln>
          </p:spPr>
          <p:style>
            <a:lnRef idx="1">
              <a:schemeClr val="accent1"/>
            </a:lnRef>
            <a:fillRef idx="0">
              <a:schemeClr val="accent1"/>
            </a:fillRef>
            <a:effectRef idx="0">
              <a:schemeClr val="accent1"/>
            </a:effectRef>
            <a:fontRef idx="minor">
              <a:schemeClr val="tx1"/>
            </a:fontRef>
          </p:style>
        </p:cxnSp>
        <p:cxnSp>
          <p:nvCxnSpPr>
            <p:cNvPr id="240" name="Rechte verbindingslijn 246">
              <a:extLst>
                <a:ext uri="{FF2B5EF4-FFF2-40B4-BE49-F238E27FC236}">
                  <a16:creationId xmlns:a16="http://schemas.microsoft.com/office/drawing/2014/main" id="{9A5CE823-E645-4F86-B9EC-D2630BBF58F3}"/>
                </a:ext>
              </a:extLst>
            </p:cNvPr>
            <p:cNvCxnSpPr>
              <a:cxnSpLocks/>
            </p:cNvCxnSpPr>
            <p:nvPr/>
          </p:nvCxnSpPr>
          <p:spPr>
            <a:xfrm flipH="1" flipV="1">
              <a:off x="6478385" y="5131724"/>
              <a:ext cx="371303" cy="1025236"/>
            </a:xfrm>
            <a:prstGeom prst="line">
              <a:avLst/>
            </a:prstGeom>
            <a:ln w="19050">
              <a:solidFill>
                <a:srgbClr val="0B3B7B"/>
              </a:solidFill>
            </a:ln>
          </p:spPr>
          <p:style>
            <a:lnRef idx="1">
              <a:schemeClr val="accent1"/>
            </a:lnRef>
            <a:fillRef idx="0">
              <a:schemeClr val="accent1"/>
            </a:fillRef>
            <a:effectRef idx="0">
              <a:schemeClr val="accent1"/>
            </a:effectRef>
            <a:fontRef idx="minor">
              <a:schemeClr val="tx1"/>
            </a:fontRef>
          </p:style>
        </p:cxnSp>
        <p:cxnSp>
          <p:nvCxnSpPr>
            <p:cNvPr id="241" name="Rechte verbindingslijn 247">
              <a:extLst>
                <a:ext uri="{FF2B5EF4-FFF2-40B4-BE49-F238E27FC236}">
                  <a16:creationId xmlns:a16="http://schemas.microsoft.com/office/drawing/2014/main" id="{2AAC19B7-BB9A-4F36-ACBA-AA7B16B84D11}"/>
                </a:ext>
              </a:extLst>
            </p:cNvPr>
            <p:cNvCxnSpPr>
              <a:cxnSpLocks/>
            </p:cNvCxnSpPr>
            <p:nvPr/>
          </p:nvCxnSpPr>
          <p:spPr>
            <a:xfrm flipV="1">
              <a:off x="5353396" y="5131724"/>
              <a:ext cx="371303" cy="1025236"/>
            </a:xfrm>
            <a:prstGeom prst="line">
              <a:avLst/>
            </a:prstGeom>
            <a:ln w="19050">
              <a:solidFill>
                <a:srgbClr val="104281"/>
              </a:solidFill>
            </a:ln>
          </p:spPr>
          <p:style>
            <a:lnRef idx="1">
              <a:schemeClr val="accent1"/>
            </a:lnRef>
            <a:fillRef idx="0">
              <a:schemeClr val="accent1"/>
            </a:fillRef>
            <a:effectRef idx="0">
              <a:schemeClr val="accent1"/>
            </a:effectRef>
            <a:fontRef idx="minor">
              <a:schemeClr val="tx1"/>
            </a:fontRef>
          </p:style>
        </p:cxnSp>
        <p:cxnSp>
          <p:nvCxnSpPr>
            <p:cNvPr id="242" name="Rechte verbindingslijn 248">
              <a:extLst>
                <a:ext uri="{FF2B5EF4-FFF2-40B4-BE49-F238E27FC236}">
                  <a16:creationId xmlns:a16="http://schemas.microsoft.com/office/drawing/2014/main" id="{A0AE3D02-ADF3-4CDC-B915-B5BBC70DCB85}"/>
                </a:ext>
              </a:extLst>
            </p:cNvPr>
            <p:cNvCxnSpPr>
              <a:cxnSpLocks/>
            </p:cNvCxnSpPr>
            <p:nvPr/>
          </p:nvCxnSpPr>
          <p:spPr>
            <a:xfrm flipV="1">
              <a:off x="3806152" y="4627418"/>
              <a:ext cx="1381334" cy="797227"/>
            </a:xfrm>
            <a:prstGeom prst="line">
              <a:avLst/>
            </a:prstGeom>
            <a:ln w="19050">
              <a:solidFill>
                <a:srgbClr val="0D3976"/>
              </a:solidFill>
            </a:ln>
          </p:spPr>
          <p:style>
            <a:lnRef idx="1">
              <a:schemeClr val="accent1"/>
            </a:lnRef>
            <a:fillRef idx="0">
              <a:schemeClr val="accent1"/>
            </a:fillRef>
            <a:effectRef idx="0">
              <a:schemeClr val="accent1"/>
            </a:effectRef>
            <a:fontRef idx="minor">
              <a:schemeClr val="tx1"/>
            </a:fontRef>
          </p:style>
        </p:cxnSp>
        <p:cxnSp>
          <p:nvCxnSpPr>
            <p:cNvPr id="243" name="Rechte verbindingslijn 249">
              <a:extLst>
                <a:ext uri="{FF2B5EF4-FFF2-40B4-BE49-F238E27FC236}">
                  <a16:creationId xmlns:a16="http://schemas.microsoft.com/office/drawing/2014/main" id="{FC465083-A000-4A7C-8FB9-05F50ABA58AD}"/>
                </a:ext>
              </a:extLst>
            </p:cNvPr>
            <p:cNvCxnSpPr>
              <a:cxnSpLocks/>
            </p:cNvCxnSpPr>
            <p:nvPr/>
          </p:nvCxnSpPr>
          <p:spPr>
            <a:xfrm>
              <a:off x="3486778" y="3646391"/>
              <a:ext cx="1584770" cy="271674"/>
            </a:xfrm>
            <a:prstGeom prst="line">
              <a:avLst/>
            </a:prstGeom>
            <a:ln w="19050">
              <a:solidFill>
                <a:srgbClr val="124682"/>
              </a:solidFill>
            </a:ln>
          </p:spPr>
          <p:style>
            <a:lnRef idx="1">
              <a:schemeClr val="accent1"/>
            </a:lnRef>
            <a:fillRef idx="0">
              <a:schemeClr val="accent1"/>
            </a:fillRef>
            <a:effectRef idx="0">
              <a:schemeClr val="accent1"/>
            </a:effectRef>
            <a:fontRef idx="minor">
              <a:schemeClr val="tx1"/>
            </a:fontRef>
          </p:style>
        </p:cxnSp>
        <p:cxnSp>
          <p:nvCxnSpPr>
            <p:cNvPr id="244" name="Rechte verbindingslijn 250">
              <a:extLst>
                <a:ext uri="{FF2B5EF4-FFF2-40B4-BE49-F238E27FC236}">
                  <a16:creationId xmlns:a16="http://schemas.microsoft.com/office/drawing/2014/main" id="{CB3CD645-D353-4218-8FE6-223ECA6B4D3E}"/>
                </a:ext>
              </a:extLst>
            </p:cNvPr>
            <p:cNvCxnSpPr>
              <a:cxnSpLocks/>
            </p:cNvCxnSpPr>
            <p:nvPr/>
          </p:nvCxnSpPr>
          <p:spPr>
            <a:xfrm>
              <a:off x="4683259" y="2410691"/>
              <a:ext cx="753688" cy="897774"/>
            </a:xfrm>
            <a:prstGeom prst="line">
              <a:avLst/>
            </a:prstGeom>
            <a:ln w="19050">
              <a:solidFill>
                <a:srgbClr val="19578F"/>
              </a:solidFill>
            </a:ln>
          </p:spPr>
          <p:style>
            <a:lnRef idx="1">
              <a:schemeClr val="accent1"/>
            </a:lnRef>
            <a:fillRef idx="0">
              <a:schemeClr val="accent1"/>
            </a:fillRef>
            <a:effectRef idx="0">
              <a:schemeClr val="accent1"/>
            </a:effectRef>
            <a:fontRef idx="minor">
              <a:schemeClr val="tx1"/>
            </a:fontRef>
          </p:style>
        </p:cxnSp>
      </p:grpSp>
      <p:grpSp>
        <p:nvGrpSpPr>
          <p:cNvPr id="245" name="Groep 164">
            <a:extLst>
              <a:ext uri="{FF2B5EF4-FFF2-40B4-BE49-F238E27FC236}">
                <a16:creationId xmlns:a16="http://schemas.microsoft.com/office/drawing/2014/main" id="{F3170009-DA05-4B35-9932-D676F7A7ADA4}"/>
              </a:ext>
            </a:extLst>
          </p:cNvPr>
          <p:cNvGrpSpPr/>
          <p:nvPr/>
        </p:nvGrpSpPr>
        <p:grpSpPr>
          <a:xfrm>
            <a:off x="7663305" y="2648260"/>
            <a:ext cx="2637740" cy="2605296"/>
            <a:chOff x="4781688" y="2835036"/>
            <a:chExt cx="2637740" cy="2605296"/>
          </a:xfrm>
        </p:grpSpPr>
        <p:grpSp>
          <p:nvGrpSpPr>
            <p:cNvPr id="246" name="Groep 165">
              <a:extLst>
                <a:ext uri="{FF2B5EF4-FFF2-40B4-BE49-F238E27FC236}">
                  <a16:creationId xmlns:a16="http://schemas.microsoft.com/office/drawing/2014/main" id="{7F214E04-8178-45B0-8DF7-8C55EAF93C99}"/>
                </a:ext>
              </a:extLst>
            </p:cNvPr>
            <p:cNvGrpSpPr/>
            <p:nvPr/>
          </p:nvGrpSpPr>
          <p:grpSpPr>
            <a:xfrm>
              <a:off x="4996402" y="3000031"/>
              <a:ext cx="2217198" cy="2217198"/>
              <a:chOff x="4996402" y="3000031"/>
              <a:chExt cx="2217198" cy="2217198"/>
            </a:xfrm>
          </p:grpSpPr>
          <p:sp>
            <p:nvSpPr>
              <p:cNvPr id="274" name="CIRKEL WIT">
                <a:extLst>
                  <a:ext uri="{FF2B5EF4-FFF2-40B4-BE49-F238E27FC236}">
                    <a16:creationId xmlns:a16="http://schemas.microsoft.com/office/drawing/2014/main" id="{C7C5CECB-2439-471A-92DE-73470CF5569D}"/>
                  </a:ext>
                </a:extLst>
              </p:cNvPr>
              <p:cNvSpPr/>
              <p:nvPr/>
            </p:nvSpPr>
            <p:spPr>
              <a:xfrm>
                <a:off x="4996402" y="3000031"/>
                <a:ext cx="2217198" cy="221719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grpSp>
            <p:nvGrpSpPr>
              <p:cNvPr id="275" name="LOGO">
                <a:extLst>
                  <a:ext uri="{FF2B5EF4-FFF2-40B4-BE49-F238E27FC236}">
                    <a16:creationId xmlns:a16="http://schemas.microsoft.com/office/drawing/2014/main" id="{A79B1959-1679-4A84-81BF-F73E04B7A1C0}"/>
                  </a:ext>
                </a:extLst>
              </p:cNvPr>
              <p:cNvGrpSpPr>
                <a:grpSpLocks noChangeAspect="1"/>
              </p:cNvGrpSpPr>
              <p:nvPr/>
            </p:nvGrpSpPr>
            <p:grpSpPr bwMode="auto">
              <a:xfrm>
                <a:off x="5407026" y="3984388"/>
                <a:ext cx="1395952" cy="248484"/>
                <a:chOff x="3149" y="2038"/>
                <a:chExt cx="1382" cy="246"/>
              </a:xfrm>
            </p:grpSpPr>
            <p:sp>
              <p:nvSpPr>
                <p:cNvPr id="276" name="Freeform 5">
                  <a:extLst>
                    <a:ext uri="{FF2B5EF4-FFF2-40B4-BE49-F238E27FC236}">
                      <a16:creationId xmlns:a16="http://schemas.microsoft.com/office/drawing/2014/main" id="{221F1898-09CD-44A7-B465-1109542F7264}"/>
                    </a:ext>
                  </a:extLst>
                </p:cNvPr>
                <p:cNvSpPr>
                  <a:spLocks noEditPoints="1"/>
                </p:cNvSpPr>
                <p:nvPr/>
              </p:nvSpPr>
              <p:spPr bwMode="auto">
                <a:xfrm>
                  <a:off x="3149" y="2038"/>
                  <a:ext cx="688" cy="246"/>
                </a:xfrm>
                <a:custGeom>
                  <a:avLst/>
                  <a:gdLst>
                    <a:gd name="T0" fmla="*/ 272 w 330"/>
                    <a:gd name="T1" fmla="*/ 75 h 116"/>
                    <a:gd name="T2" fmla="*/ 254 w 330"/>
                    <a:gd name="T3" fmla="*/ 58 h 116"/>
                    <a:gd name="T4" fmla="*/ 272 w 330"/>
                    <a:gd name="T5" fmla="*/ 41 h 116"/>
                    <a:gd name="T6" fmla="*/ 289 w 330"/>
                    <a:gd name="T7" fmla="*/ 58 h 116"/>
                    <a:gd name="T8" fmla="*/ 272 w 330"/>
                    <a:gd name="T9" fmla="*/ 75 h 116"/>
                    <a:gd name="T10" fmla="*/ 272 w 330"/>
                    <a:gd name="T11" fmla="*/ 0 h 116"/>
                    <a:gd name="T12" fmla="*/ 215 w 330"/>
                    <a:gd name="T13" fmla="*/ 48 h 116"/>
                    <a:gd name="T14" fmla="*/ 215 w 330"/>
                    <a:gd name="T15" fmla="*/ 15 h 116"/>
                    <a:gd name="T16" fmla="*/ 202 w 330"/>
                    <a:gd name="T17" fmla="*/ 2 h 116"/>
                    <a:gd name="T18" fmla="*/ 173 w 330"/>
                    <a:gd name="T19" fmla="*/ 2 h 116"/>
                    <a:gd name="T20" fmla="*/ 173 w 330"/>
                    <a:gd name="T21" fmla="*/ 46 h 116"/>
                    <a:gd name="T22" fmla="*/ 149 w 330"/>
                    <a:gd name="T23" fmla="*/ 12 h 116"/>
                    <a:gd name="T24" fmla="*/ 129 w 330"/>
                    <a:gd name="T25" fmla="*/ 2 h 116"/>
                    <a:gd name="T26" fmla="*/ 0 w 330"/>
                    <a:gd name="T27" fmla="*/ 2 h 116"/>
                    <a:gd name="T28" fmla="*/ 0 w 330"/>
                    <a:gd name="T29" fmla="*/ 32 h 116"/>
                    <a:gd name="T30" fmla="*/ 13 w 330"/>
                    <a:gd name="T31" fmla="*/ 44 h 116"/>
                    <a:gd name="T32" fmla="*/ 32 w 330"/>
                    <a:gd name="T33" fmla="*/ 44 h 116"/>
                    <a:gd name="T34" fmla="*/ 32 w 330"/>
                    <a:gd name="T35" fmla="*/ 102 h 116"/>
                    <a:gd name="T36" fmla="*/ 44 w 330"/>
                    <a:gd name="T37" fmla="*/ 114 h 116"/>
                    <a:gd name="T38" fmla="*/ 76 w 330"/>
                    <a:gd name="T39" fmla="*/ 114 h 116"/>
                    <a:gd name="T40" fmla="*/ 76 w 330"/>
                    <a:gd name="T41" fmla="*/ 44 h 116"/>
                    <a:gd name="T42" fmla="*/ 102 w 330"/>
                    <a:gd name="T43" fmla="*/ 44 h 116"/>
                    <a:gd name="T44" fmla="*/ 102 w 330"/>
                    <a:gd name="T45" fmla="*/ 102 h 116"/>
                    <a:gd name="T46" fmla="*/ 114 w 330"/>
                    <a:gd name="T47" fmla="*/ 114 h 116"/>
                    <a:gd name="T48" fmla="*/ 143 w 330"/>
                    <a:gd name="T49" fmla="*/ 114 h 116"/>
                    <a:gd name="T50" fmla="*/ 143 w 330"/>
                    <a:gd name="T51" fmla="*/ 71 h 116"/>
                    <a:gd name="T52" fmla="*/ 168 w 330"/>
                    <a:gd name="T53" fmla="*/ 104 h 116"/>
                    <a:gd name="T54" fmla="*/ 188 w 330"/>
                    <a:gd name="T55" fmla="*/ 114 h 116"/>
                    <a:gd name="T56" fmla="*/ 215 w 330"/>
                    <a:gd name="T57" fmla="*/ 114 h 116"/>
                    <a:gd name="T58" fmla="*/ 215 w 330"/>
                    <a:gd name="T59" fmla="*/ 69 h 116"/>
                    <a:gd name="T60" fmla="*/ 272 w 330"/>
                    <a:gd name="T61" fmla="*/ 116 h 116"/>
                    <a:gd name="T62" fmla="*/ 330 w 330"/>
                    <a:gd name="T63" fmla="*/ 58 h 116"/>
                    <a:gd name="T64" fmla="*/ 272 w 330"/>
                    <a:gd name="T6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0" h="116">
                      <a:moveTo>
                        <a:pt x="272" y="75"/>
                      </a:moveTo>
                      <a:cubicBezTo>
                        <a:pt x="262" y="75"/>
                        <a:pt x="254" y="68"/>
                        <a:pt x="254" y="58"/>
                      </a:cubicBezTo>
                      <a:cubicBezTo>
                        <a:pt x="254" y="49"/>
                        <a:pt x="262" y="41"/>
                        <a:pt x="272" y="41"/>
                      </a:cubicBezTo>
                      <a:cubicBezTo>
                        <a:pt x="281" y="41"/>
                        <a:pt x="289" y="49"/>
                        <a:pt x="289" y="58"/>
                      </a:cubicBezTo>
                      <a:cubicBezTo>
                        <a:pt x="289" y="68"/>
                        <a:pt x="281" y="75"/>
                        <a:pt x="272" y="75"/>
                      </a:cubicBezTo>
                      <a:moveTo>
                        <a:pt x="272" y="0"/>
                      </a:moveTo>
                      <a:cubicBezTo>
                        <a:pt x="242" y="0"/>
                        <a:pt x="219" y="20"/>
                        <a:pt x="215" y="48"/>
                      </a:cubicBezTo>
                      <a:cubicBezTo>
                        <a:pt x="215" y="15"/>
                        <a:pt x="215" y="15"/>
                        <a:pt x="215" y="15"/>
                      </a:cubicBezTo>
                      <a:cubicBezTo>
                        <a:pt x="215" y="6"/>
                        <a:pt x="211" y="2"/>
                        <a:pt x="202" y="2"/>
                      </a:cubicBezTo>
                      <a:cubicBezTo>
                        <a:pt x="173" y="2"/>
                        <a:pt x="173" y="2"/>
                        <a:pt x="173" y="2"/>
                      </a:cubicBezTo>
                      <a:cubicBezTo>
                        <a:pt x="173" y="46"/>
                        <a:pt x="173" y="46"/>
                        <a:pt x="173" y="46"/>
                      </a:cubicBezTo>
                      <a:cubicBezTo>
                        <a:pt x="149" y="12"/>
                        <a:pt x="149" y="12"/>
                        <a:pt x="149" y="12"/>
                      </a:cubicBezTo>
                      <a:cubicBezTo>
                        <a:pt x="143" y="5"/>
                        <a:pt x="138" y="2"/>
                        <a:pt x="129" y="2"/>
                      </a:cubicBezTo>
                      <a:cubicBezTo>
                        <a:pt x="0" y="2"/>
                        <a:pt x="0" y="2"/>
                        <a:pt x="0" y="2"/>
                      </a:cubicBezTo>
                      <a:cubicBezTo>
                        <a:pt x="0" y="32"/>
                        <a:pt x="0" y="32"/>
                        <a:pt x="0" y="32"/>
                      </a:cubicBezTo>
                      <a:cubicBezTo>
                        <a:pt x="0" y="41"/>
                        <a:pt x="4" y="44"/>
                        <a:pt x="13" y="44"/>
                      </a:cubicBezTo>
                      <a:cubicBezTo>
                        <a:pt x="32" y="44"/>
                        <a:pt x="32" y="44"/>
                        <a:pt x="32" y="44"/>
                      </a:cubicBezTo>
                      <a:cubicBezTo>
                        <a:pt x="32" y="102"/>
                        <a:pt x="32" y="102"/>
                        <a:pt x="32" y="102"/>
                      </a:cubicBezTo>
                      <a:cubicBezTo>
                        <a:pt x="32" y="110"/>
                        <a:pt x="36" y="114"/>
                        <a:pt x="44" y="114"/>
                      </a:cubicBezTo>
                      <a:cubicBezTo>
                        <a:pt x="76" y="114"/>
                        <a:pt x="76" y="114"/>
                        <a:pt x="76" y="114"/>
                      </a:cubicBezTo>
                      <a:cubicBezTo>
                        <a:pt x="76" y="44"/>
                        <a:pt x="76" y="44"/>
                        <a:pt x="76" y="44"/>
                      </a:cubicBezTo>
                      <a:cubicBezTo>
                        <a:pt x="102" y="44"/>
                        <a:pt x="102" y="44"/>
                        <a:pt x="102" y="44"/>
                      </a:cubicBezTo>
                      <a:cubicBezTo>
                        <a:pt x="102" y="102"/>
                        <a:pt x="102" y="102"/>
                        <a:pt x="102" y="102"/>
                      </a:cubicBezTo>
                      <a:cubicBezTo>
                        <a:pt x="102" y="110"/>
                        <a:pt x="106" y="114"/>
                        <a:pt x="114" y="114"/>
                      </a:cubicBezTo>
                      <a:cubicBezTo>
                        <a:pt x="143" y="114"/>
                        <a:pt x="143" y="114"/>
                        <a:pt x="143" y="114"/>
                      </a:cubicBezTo>
                      <a:cubicBezTo>
                        <a:pt x="143" y="71"/>
                        <a:pt x="143" y="71"/>
                        <a:pt x="143" y="71"/>
                      </a:cubicBezTo>
                      <a:cubicBezTo>
                        <a:pt x="168" y="104"/>
                        <a:pt x="168" y="104"/>
                        <a:pt x="168" y="104"/>
                      </a:cubicBezTo>
                      <a:cubicBezTo>
                        <a:pt x="174" y="111"/>
                        <a:pt x="179" y="114"/>
                        <a:pt x="188" y="114"/>
                      </a:cubicBezTo>
                      <a:cubicBezTo>
                        <a:pt x="215" y="114"/>
                        <a:pt x="215" y="114"/>
                        <a:pt x="215" y="114"/>
                      </a:cubicBezTo>
                      <a:cubicBezTo>
                        <a:pt x="215" y="69"/>
                        <a:pt x="215" y="69"/>
                        <a:pt x="215" y="69"/>
                      </a:cubicBezTo>
                      <a:cubicBezTo>
                        <a:pt x="219" y="97"/>
                        <a:pt x="242" y="116"/>
                        <a:pt x="272" y="116"/>
                      </a:cubicBezTo>
                      <a:cubicBezTo>
                        <a:pt x="304" y="116"/>
                        <a:pt x="330" y="91"/>
                        <a:pt x="330" y="58"/>
                      </a:cubicBezTo>
                      <a:cubicBezTo>
                        <a:pt x="330" y="25"/>
                        <a:pt x="305" y="0"/>
                        <a:pt x="27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prstClr val="black"/>
                    </a:solidFill>
                  </a:endParaRPr>
                </a:p>
              </p:txBody>
            </p:sp>
            <p:sp>
              <p:nvSpPr>
                <p:cNvPr id="277" name="Freeform 6">
                  <a:extLst>
                    <a:ext uri="{FF2B5EF4-FFF2-40B4-BE49-F238E27FC236}">
                      <a16:creationId xmlns:a16="http://schemas.microsoft.com/office/drawing/2014/main" id="{0A36534F-7DA4-4DD3-848C-D28AAD72F539}"/>
                    </a:ext>
                  </a:extLst>
                </p:cNvPr>
                <p:cNvSpPr>
                  <a:spLocks noEditPoints="1"/>
                </p:cNvSpPr>
                <p:nvPr/>
              </p:nvSpPr>
              <p:spPr bwMode="auto">
                <a:xfrm>
                  <a:off x="3885" y="2180"/>
                  <a:ext cx="400" cy="104"/>
                </a:xfrm>
                <a:custGeom>
                  <a:avLst/>
                  <a:gdLst>
                    <a:gd name="T0" fmla="*/ 175 w 192"/>
                    <a:gd name="T1" fmla="*/ 17 h 49"/>
                    <a:gd name="T2" fmla="*/ 167 w 192"/>
                    <a:gd name="T3" fmla="*/ 27 h 49"/>
                    <a:gd name="T4" fmla="*/ 192 w 192"/>
                    <a:gd name="T5" fmla="*/ 31 h 49"/>
                    <a:gd name="T6" fmla="*/ 175 w 192"/>
                    <a:gd name="T7" fmla="*/ 12 h 49"/>
                    <a:gd name="T8" fmla="*/ 175 w 192"/>
                    <a:gd name="T9" fmla="*/ 49 h 49"/>
                    <a:gd name="T10" fmla="*/ 184 w 192"/>
                    <a:gd name="T11" fmla="*/ 37 h 49"/>
                    <a:gd name="T12" fmla="*/ 166 w 192"/>
                    <a:gd name="T13" fmla="*/ 32 h 49"/>
                    <a:gd name="T14" fmla="*/ 158 w 192"/>
                    <a:gd name="T15" fmla="*/ 0 h 49"/>
                    <a:gd name="T16" fmla="*/ 140 w 192"/>
                    <a:gd name="T17" fmla="*/ 12 h 49"/>
                    <a:gd name="T18" fmla="*/ 134 w 192"/>
                    <a:gd name="T19" fmla="*/ 13 h 49"/>
                    <a:gd name="T20" fmla="*/ 140 w 192"/>
                    <a:gd name="T21" fmla="*/ 18 h 49"/>
                    <a:gd name="T22" fmla="*/ 148 w 192"/>
                    <a:gd name="T23" fmla="*/ 48 h 49"/>
                    <a:gd name="T24" fmla="*/ 156 w 192"/>
                    <a:gd name="T25" fmla="*/ 18 h 49"/>
                    <a:gd name="T26" fmla="*/ 148 w 192"/>
                    <a:gd name="T27" fmla="*/ 13 h 49"/>
                    <a:gd name="T28" fmla="*/ 154 w 192"/>
                    <a:gd name="T29" fmla="*/ 5 h 49"/>
                    <a:gd name="T30" fmla="*/ 158 w 192"/>
                    <a:gd name="T31" fmla="*/ 0 h 49"/>
                    <a:gd name="T32" fmla="*/ 130 w 192"/>
                    <a:gd name="T33" fmla="*/ 48 h 49"/>
                    <a:gd name="T34" fmla="*/ 122 w 192"/>
                    <a:gd name="T35" fmla="*/ 13 h 49"/>
                    <a:gd name="T36" fmla="*/ 122 w 192"/>
                    <a:gd name="T37" fmla="*/ 7 h 49"/>
                    <a:gd name="T38" fmla="*/ 130 w 192"/>
                    <a:gd name="T39" fmla="*/ 0 h 49"/>
                    <a:gd name="T40" fmla="*/ 122 w 192"/>
                    <a:gd name="T41" fmla="*/ 7 h 49"/>
                    <a:gd name="T42" fmla="*/ 113 w 192"/>
                    <a:gd name="T43" fmla="*/ 48 h 49"/>
                    <a:gd name="T44" fmla="*/ 105 w 192"/>
                    <a:gd name="T45" fmla="*/ 0 h 49"/>
                    <a:gd name="T46" fmla="*/ 83 w 192"/>
                    <a:gd name="T47" fmla="*/ 12 h 49"/>
                    <a:gd name="T48" fmla="*/ 71 w 192"/>
                    <a:gd name="T49" fmla="*/ 20 h 49"/>
                    <a:gd name="T50" fmla="*/ 64 w 192"/>
                    <a:gd name="T51" fmla="*/ 13 h 49"/>
                    <a:gd name="T52" fmla="*/ 72 w 192"/>
                    <a:gd name="T53" fmla="*/ 48 h 49"/>
                    <a:gd name="T54" fmla="*/ 81 w 192"/>
                    <a:gd name="T55" fmla="*/ 19 h 49"/>
                    <a:gd name="T56" fmla="*/ 83 w 192"/>
                    <a:gd name="T57" fmla="*/ 12 h 49"/>
                    <a:gd name="T58" fmla="*/ 49 w 192"/>
                    <a:gd name="T59" fmla="*/ 30 h 49"/>
                    <a:gd name="T60" fmla="*/ 32 w 192"/>
                    <a:gd name="T61" fmla="*/ 30 h 49"/>
                    <a:gd name="T62" fmla="*/ 41 w 192"/>
                    <a:gd name="T63" fmla="*/ 12 h 49"/>
                    <a:gd name="T64" fmla="*/ 41 w 192"/>
                    <a:gd name="T65" fmla="*/ 49 h 49"/>
                    <a:gd name="T66" fmla="*/ 41 w 192"/>
                    <a:gd name="T67" fmla="*/ 12 h 49"/>
                    <a:gd name="T68" fmla="*/ 17 w 192"/>
                    <a:gd name="T69" fmla="*/ 0 h 49"/>
                    <a:gd name="T70" fmla="*/ 6 w 192"/>
                    <a:gd name="T71" fmla="*/ 13 h 49"/>
                    <a:gd name="T72" fmla="*/ 0 w 192"/>
                    <a:gd name="T73" fmla="*/ 18 h 49"/>
                    <a:gd name="T74" fmla="*/ 6 w 192"/>
                    <a:gd name="T75" fmla="*/ 48 h 49"/>
                    <a:gd name="T76" fmla="*/ 14 w 192"/>
                    <a:gd name="T77" fmla="*/ 18 h 49"/>
                    <a:gd name="T78" fmla="*/ 22 w 192"/>
                    <a:gd name="T79" fmla="*/ 13 h 49"/>
                    <a:gd name="T80" fmla="*/ 14 w 192"/>
                    <a:gd name="T81" fmla="*/ 12 h 49"/>
                    <a:gd name="T82" fmla="*/ 24 w 192"/>
                    <a:gd name="T83"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49">
                      <a:moveTo>
                        <a:pt x="167" y="27"/>
                      </a:moveTo>
                      <a:cubicBezTo>
                        <a:pt x="167" y="21"/>
                        <a:pt x="170" y="17"/>
                        <a:pt x="175" y="17"/>
                      </a:cubicBezTo>
                      <a:cubicBezTo>
                        <a:pt x="180" y="17"/>
                        <a:pt x="183" y="20"/>
                        <a:pt x="183" y="27"/>
                      </a:cubicBezTo>
                      <a:lnTo>
                        <a:pt x="167" y="27"/>
                      </a:lnTo>
                      <a:close/>
                      <a:moveTo>
                        <a:pt x="166" y="31"/>
                      </a:moveTo>
                      <a:cubicBezTo>
                        <a:pt x="192" y="31"/>
                        <a:pt x="192" y="31"/>
                        <a:pt x="192" y="31"/>
                      </a:cubicBezTo>
                      <a:cubicBezTo>
                        <a:pt x="192" y="30"/>
                        <a:pt x="192" y="30"/>
                        <a:pt x="192" y="30"/>
                      </a:cubicBezTo>
                      <a:cubicBezTo>
                        <a:pt x="192" y="19"/>
                        <a:pt x="185" y="12"/>
                        <a:pt x="175" y="12"/>
                      </a:cubicBezTo>
                      <a:cubicBezTo>
                        <a:pt x="165" y="12"/>
                        <a:pt x="158" y="19"/>
                        <a:pt x="158" y="30"/>
                      </a:cubicBezTo>
                      <a:cubicBezTo>
                        <a:pt x="158" y="42"/>
                        <a:pt x="165" y="49"/>
                        <a:pt x="175" y="49"/>
                      </a:cubicBezTo>
                      <a:cubicBezTo>
                        <a:pt x="183" y="49"/>
                        <a:pt x="189" y="45"/>
                        <a:pt x="191" y="38"/>
                      </a:cubicBezTo>
                      <a:cubicBezTo>
                        <a:pt x="184" y="37"/>
                        <a:pt x="184" y="37"/>
                        <a:pt x="184" y="37"/>
                      </a:cubicBezTo>
                      <a:cubicBezTo>
                        <a:pt x="182" y="41"/>
                        <a:pt x="179" y="43"/>
                        <a:pt x="175" y="43"/>
                      </a:cubicBezTo>
                      <a:cubicBezTo>
                        <a:pt x="170" y="43"/>
                        <a:pt x="166" y="39"/>
                        <a:pt x="166" y="32"/>
                      </a:cubicBezTo>
                      <a:lnTo>
                        <a:pt x="166" y="31"/>
                      </a:lnTo>
                      <a:close/>
                      <a:moveTo>
                        <a:pt x="158" y="0"/>
                      </a:moveTo>
                      <a:cubicBezTo>
                        <a:pt x="156" y="0"/>
                        <a:pt x="154" y="0"/>
                        <a:pt x="151" y="0"/>
                      </a:cubicBezTo>
                      <a:cubicBezTo>
                        <a:pt x="144" y="0"/>
                        <a:pt x="140" y="4"/>
                        <a:pt x="140" y="12"/>
                      </a:cubicBezTo>
                      <a:cubicBezTo>
                        <a:pt x="140" y="13"/>
                        <a:pt x="140" y="13"/>
                        <a:pt x="140" y="13"/>
                      </a:cubicBezTo>
                      <a:cubicBezTo>
                        <a:pt x="134" y="13"/>
                        <a:pt x="134" y="13"/>
                        <a:pt x="134" y="13"/>
                      </a:cubicBezTo>
                      <a:cubicBezTo>
                        <a:pt x="134" y="18"/>
                        <a:pt x="134" y="18"/>
                        <a:pt x="134" y="18"/>
                      </a:cubicBezTo>
                      <a:cubicBezTo>
                        <a:pt x="140" y="18"/>
                        <a:pt x="140" y="18"/>
                        <a:pt x="140" y="18"/>
                      </a:cubicBezTo>
                      <a:cubicBezTo>
                        <a:pt x="140" y="48"/>
                        <a:pt x="140" y="48"/>
                        <a:pt x="140" y="48"/>
                      </a:cubicBezTo>
                      <a:cubicBezTo>
                        <a:pt x="148" y="48"/>
                        <a:pt x="148" y="48"/>
                        <a:pt x="148" y="48"/>
                      </a:cubicBezTo>
                      <a:cubicBezTo>
                        <a:pt x="148" y="18"/>
                        <a:pt x="148" y="18"/>
                        <a:pt x="148" y="18"/>
                      </a:cubicBezTo>
                      <a:cubicBezTo>
                        <a:pt x="156" y="18"/>
                        <a:pt x="156" y="18"/>
                        <a:pt x="156" y="18"/>
                      </a:cubicBezTo>
                      <a:cubicBezTo>
                        <a:pt x="156" y="13"/>
                        <a:pt x="156" y="13"/>
                        <a:pt x="156" y="13"/>
                      </a:cubicBezTo>
                      <a:cubicBezTo>
                        <a:pt x="148" y="13"/>
                        <a:pt x="148" y="13"/>
                        <a:pt x="148" y="13"/>
                      </a:cubicBezTo>
                      <a:cubicBezTo>
                        <a:pt x="148" y="12"/>
                        <a:pt x="148" y="12"/>
                        <a:pt x="148" y="12"/>
                      </a:cubicBezTo>
                      <a:cubicBezTo>
                        <a:pt x="148" y="7"/>
                        <a:pt x="149" y="5"/>
                        <a:pt x="154" y="5"/>
                      </a:cubicBezTo>
                      <a:cubicBezTo>
                        <a:pt x="155" y="5"/>
                        <a:pt x="156" y="6"/>
                        <a:pt x="158" y="6"/>
                      </a:cubicBezTo>
                      <a:lnTo>
                        <a:pt x="158" y="0"/>
                      </a:lnTo>
                      <a:close/>
                      <a:moveTo>
                        <a:pt x="122" y="48"/>
                      </a:moveTo>
                      <a:cubicBezTo>
                        <a:pt x="130" y="48"/>
                        <a:pt x="130" y="48"/>
                        <a:pt x="130" y="48"/>
                      </a:cubicBezTo>
                      <a:cubicBezTo>
                        <a:pt x="130" y="13"/>
                        <a:pt x="130" y="13"/>
                        <a:pt x="130" y="13"/>
                      </a:cubicBezTo>
                      <a:cubicBezTo>
                        <a:pt x="122" y="13"/>
                        <a:pt x="122" y="13"/>
                        <a:pt x="122" y="13"/>
                      </a:cubicBezTo>
                      <a:lnTo>
                        <a:pt x="122" y="48"/>
                      </a:lnTo>
                      <a:close/>
                      <a:moveTo>
                        <a:pt x="122" y="7"/>
                      </a:moveTo>
                      <a:cubicBezTo>
                        <a:pt x="130" y="7"/>
                        <a:pt x="130" y="7"/>
                        <a:pt x="130" y="7"/>
                      </a:cubicBezTo>
                      <a:cubicBezTo>
                        <a:pt x="130" y="0"/>
                        <a:pt x="130" y="0"/>
                        <a:pt x="130" y="0"/>
                      </a:cubicBezTo>
                      <a:cubicBezTo>
                        <a:pt x="122" y="0"/>
                        <a:pt x="122" y="0"/>
                        <a:pt x="122" y="0"/>
                      </a:cubicBezTo>
                      <a:lnTo>
                        <a:pt x="122" y="7"/>
                      </a:lnTo>
                      <a:close/>
                      <a:moveTo>
                        <a:pt x="105" y="48"/>
                      </a:moveTo>
                      <a:cubicBezTo>
                        <a:pt x="113" y="48"/>
                        <a:pt x="113" y="48"/>
                        <a:pt x="113" y="48"/>
                      </a:cubicBezTo>
                      <a:cubicBezTo>
                        <a:pt x="113" y="0"/>
                        <a:pt x="113" y="0"/>
                        <a:pt x="113" y="0"/>
                      </a:cubicBezTo>
                      <a:cubicBezTo>
                        <a:pt x="105" y="0"/>
                        <a:pt x="105" y="0"/>
                        <a:pt x="105" y="0"/>
                      </a:cubicBezTo>
                      <a:lnTo>
                        <a:pt x="105" y="48"/>
                      </a:lnTo>
                      <a:close/>
                      <a:moveTo>
                        <a:pt x="83" y="12"/>
                      </a:moveTo>
                      <a:cubicBezTo>
                        <a:pt x="82" y="12"/>
                        <a:pt x="82" y="12"/>
                        <a:pt x="81" y="12"/>
                      </a:cubicBezTo>
                      <a:cubicBezTo>
                        <a:pt x="76" y="12"/>
                        <a:pt x="73" y="15"/>
                        <a:pt x="71" y="20"/>
                      </a:cubicBezTo>
                      <a:cubicBezTo>
                        <a:pt x="71" y="13"/>
                        <a:pt x="71" y="13"/>
                        <a:pt x="71" y="13"/>
                      </a:cubicBezTo>
                      <a:cubicBezTo>
                        <a:pt x="64" y="13"/>
                        <a:pt x="64" y="13"/>
                        <a:pt x="64" y="13"/>
                      </a:cubicBezTo>
                      <a:cubicBezTo>
                        <a:pt x="64" y="48"/>
                        <a:pt x="64" y="48"/>
                        <a:pt x="64" y="48"/>
                      </a:cubicBezTo>
                      <a:cubicBezTo>
                        <a:pt x="72" y="48"/>
                        <a:pt x="72" y="48"/>
                        <a:pt x="72" y="48"/>
                      </a:cubicBezTo>
                      <a:cubicBezTo>
                        <a:pt x="72" y="30"/>
                        <a:pt x="72" y="30"/>
                        <a:pt x="72" y="30"/>
                      </a:cubicBezTo>
                      <a:cubicBezTo>
                        <a:pt x="72" y="23"/>
                        <a:pt x="76" y="19"/>
                        <a:pt x="81" y="19"/>
                      </a:cubicBezTo>
                      <a:cubicBezTo>
                        <a:pt x="82" y="19"/>
                        <a:pt x="82" y="19"/>
                        <a:pt x="83" y="19"/>
                      </a:cubicBezTo>
                      <a:lnTo>
                        <a:pt x="83" y="12"/>
                      </a:lnTo>
                      <a:close/>
                      <a:moveTo>
                        <a:pt x="41" y="17"/>
                      </a:moveTo>
                      <a:cubicBezTo>
                        <a:pt x="46" y="17"/>
                        <a:pt x="49" y="22"/>
                        <a:pt x="49" y="30"/>
                      </a:cubicBezTo>
                      <a:cubicBezTo>
                        <a:pt x="49" y="38"/>
                        <a:pt x="46" y="43"/>
                        <a:pt x="41" y="43"/>
                      </a:cubicBezTo>
                      <a:cubicBezTo>
                        <a:pt x="36" y="43"/>
                        <a:pt x="32" y="39"/>
                        <a:pt x="32" y="30"/>
                      </a:cubicBezTo>
                      <a:cubicBezTo>
                        <a:pt x="32" y="22"/>
                        <a:pt x="36" y="17"/>
                        <a:pt x="41" y="17"/>
                      </a:cubicBezTo>
                      <a:moveTo>
                        <a:pt x="41" y="12"/>
                      </a:moveTo>
                      <a:cubicBezTo>
                        <a:pt x="31" y="12"/>
                        <a:pt x="24" y="19"/>
                        <a:pt x="24" y="30"/>
                      </a:cubicBezTo>
                      <a:cubicBezTo>
                        <a:pt x="24" y="42"/>
                        <a:pt x="31" y="49"/>
                        <a:pt x="41" y="49"/>
                      </a:cubicBezTo>
                      <a:cubicBezTo>
                        <a:pt x="51" y="49"/>
                        <a:pt x="58" y="42"/>
                        <a:pt x="58" y="30"/>
                      </a:cubicBezTo>
                      <a:cubicBezTo>
                        <a:pt x="58" y="19"/>
                        <a:pt x="51" y="12"/>
                        <a:pt x="41" y="12"/>
                      </a:cubicBezTo>
                      <a:moveTo>
                        <a:pt x="24" y="0"/>
                      </a:moveTo>
                      <a:cubicBezTo>
                        <a:pt x="22" y="0"/>
                        <a:pt x="20" y="0"/>
                        <a:pt x="17" y="0"/>
                      </a:cubicBezTo>
                      <a:cubicBezTo>
                        <a:pt x="10" y="0"/>
                        <a:pt x="6" y="4"/>
                        <a:pt x="6" y="12"/>
                      </a:cubicBezTo>
                      <a:cubicBezTo>
                        <a:pt x="6" y="13"/>
                        <a:pt x="6" y="13"/>
                        <a:pt x="6" y="13"/>
                      </a:cubicBezTo>
                      <a:cubicBezTo>
                        <a:pt x="0" y="13"/>
                        <a:pt x="0" y="13"/>
                        <a:pt x="0" y="13"/>
                      </a:cubicBezTo>
                      <a:cubicBezTo>
                        <a:pt x="0" y="18"/>
                        <a:pt x="0" y="18"/>
                        <a:pt x="0" y="18"/>
                      </a:cubicBezTo>
                      <a:cubicBezTo>
                        <a:pt x="6" y="18"/>
                        <a:pt x="6" y="18"/>
                        <a:pt x="6" y="18"/>
                      </a:cubicBezTo>
                      <a:cubicBezTo>
                        <a:pt x="6" y="48"/>
                        <a:pt x="6" y="48"/>
                        <a:pt x="6" y="48"/>
                      </a:cubicBezTo>
                      <a:cubicBezTo>
                        <a:pt x="14" y="48"/>
                        <a:pt x="14" y="48"/>
                        <a:pt x="14" y="48"/>
                      </a:cubicBezTo>
                      <a:cubicBezTo>
                        <a:pt x="14" y="18"/>
                        <a:pt x="14" y="18"/>
                        <a:pt x="14" y="18"/>
                      </a:cubicBezTo>
                      <a:cubicBezTo>
                        <a:pt x="22" y="18"/>
                        <a:pt x="22" y="18"/>
                        <a:pt x="22" y="18"/>
                      </a:cubicBezTo>
                      <a:cubicBezTo>
                        <a:pt x="22" y="13"/>
                        <a:pt x="22" y="13"/>
                        <a:pt x="22" y="13"/>
                      </a:cubicBezTo>
                      <a:cubicBezTo>
                        <a:pt x="14" y="13"/>
                        <a:pt x="14" y="13"/>
                        <a:pt x="14" y="13"/>
                      </a:cubicBezTo>
                      <a:cubicBezTo>
                        <a:pt x="14" y="12"/>
                        <a:pt x="14" y="12"/>
                        <a:pt x="14" y="12"/>
                      </a:cubicBezTo>
                      <a:cubicBezTo>
                        <a:pt x="14" y="7"/>
                        <a:pt x="15" y="5"/>
                        <a:pt x="20" y="5"/>
                      </a:cubicBezTo>
                      <a:cubicBezTo>
                        <a:pt x="21" y="5"/>
                        <a:pt x="22" y="6"/>
                        <a:pt x="24" y="6"/>
                      </a:cubicBez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prstClr val="black"/>
                    </a:solidFill>
                  </a:endParaRPr>
                </a:p>
              </p:txBody>
            </p:sp>
            <p:sp>
              <p:nvSpPr>
                <p:cNvPr id="278" name="Freeform 7">
                  <a:extLst>
                    <a:ext uri="{FF2B5EF4-FFF2-40B4-BE49-F238E27FC236}">
                      <a16:creationId xmlns:a16="http://schemas.microsoft.com/office/drawing/2014/main" id="{CE400224-1241-409D-BCFC-723D16B5876D}"/>
                    </a:ext>
                  </a:extLst>
                </p:cNvPr>
                <p:cNvSpPr>
                  <a:spLocks noEditPoints="1"/>
                </p:cNvSpPr>
                <p:nvPr/>
              </p:nvSpPr>
              <p:spPr bwMode="auto">
                <a:xfrm>
                  <a:off x="3893" y="2042"/>
                  <a:ext cx="638" cy="104"/>
                </a:xfrm>
                <a:custGeom>
                  <a:avLst/>
                  <a:gdLst>
                    <a:gd name="T0" fmla="*/ 276 w 306"/>
                    <a:gd name="T1" fmla="*/ 48 h 49"/>
                    <a:gd name="T2" fmla="*/ 284 w 306"/>
                    <a:gd name="T3" fmla="*/ 27 h 49"/>
                    <a:gd name="T4" fmla="*/ 298 w 306"/>
                    <a:gd name="T5" fmla="*/ 25 h 49"/>
                    <a:gd name="T6" fmla="*/ 306 w 306"/>
                    <a:gd name="T7" fmla="*/ 48 h 49"/>
                    <a:gd name="T8" fmla="*/ 294 w 306"/>
                    <a:gd name="T9" fmla="*/ 11 h 49"/>
                    <a:gd name="T10" fmla="*/ 283 w 306"/>
                    <a:gd name="T11" fmla="*/ 12 h 49"/>
                    <a:gd name="T12" fmla="*/ 254 w 306"/>
                    <a:gd name="T13" fmla="*/ 17 h 49"/>
                    <a:gd name="T14" fmla="*/ 254 w 306"/>
                    <a:gd name="T15" fmla="*/ 43 h 49"/>
                    <a:gd name="T16" fmla="*/ 254 w 306"/>
                    <a:gd name="T17" fmla="*/ 17 h 49"/>
                    <a:gd name="T18" fmla="*/ 237 w 306"/>
                    <a:gd name="T19" fmla="*/ 30 h 49"/>
                    <a:gd name="T20" fmla="*/ 271 w 306"/>
                    <a:gd name="T21" fmla="*/ 30 h 49"/>
                    <a:gd name="T22" fmla="*/ 223 w 306"/>
                    <a:gd name="T23" fmla="*/ 48 h 49"/>
                    <a:gd name="T24" fmla="*/ 231 w 306"/>
                    <a:gd name="T25" fmla="*/ 12 h 49"/>
                    <a:gd name="T26" fmla="*/ 223 w 306"/>
                    <a:gd name="T27" fmla="*/ 48 h 49"/>
                    <a:gd name="T28" fmla="*/ 231 w 306"/>
                    <a:gd name="T29" fmla="*/ 7 h 49"/>
                    <a:gd name="T30" fmla="*/ 223 w 306"/>
                    <a:gd name="T31" fmla="*/ 0 h 49"/>
                    <a:gd name="T32" fmla="*/ 208 w 306"/>
                    <a:gd name="T33" fmla="*/ 3 h 49"/>
                    <a:gd name="T34" fmla="*/ 200 w 306"/>
                    <a:gd name="T35" fmla="*/ 12 h 49"/>
                    <a:gd name="T36" fmla="*/ 194 w 306"/>
                    <a:gd name="T37" fmla="*/ 18 h 49"/>
                    <a:gd name="T38" fmla="*/ 200 w 306"/>
                    <a:gd name="T39" fmla="*/ 35 h 49"/>
                    <a:gd name="T40" fmla="*/ 217 w 306"/>
                    <a:gd name="T41" fmla="*/ 48 h 49"/>
                    <a:gd name="T42" fmla="*/ 213 w 306"/>
                    <a:gd name="T43" fmla="*/ 42 h 49"/>
                    <a:gd name="T44" fmla="*/ 208 w 306"/>
                    <a:gd name="T45" fmla="*/ 18 h 49"/>
                    <a:gd name="T46" fmla="*/ 216 w 306"/>
                    <a:gd name="T47" fmla="*/ 12 h 49"/>
                    <a:gd name="T48" fmla="*/ 208 w 306"/>
                    <a:gd name="T49" fmla="*/ 3 h 49"/>
                    <a:gd name="T50" fmla="*/ 182 w 306"/>
                    <a:gd name="T51" fmla="*/ 33 h 49"/>
                    <a:gd name="T52" fmla="*/ 167 w 306"/>
                    <a:gd name="T53" fmla="*/ 38 h 49"/>
                    <a:gd name="T54" fmla="*/ 182 w 306"/>
                    <a:gd name="T55" fmla="*/ 30 h 49"/>
                    <a:gd name="T56" fmla="*/ 167 w 306"/>
                    <a:gd name="T57" fmla="*/ 22 h 49"/>
                    <a:gd name="T58" fmla="*/ 182 w 306"/>
                    <a:gd name="T59" fmla="*/ 23 h 49"/>
                    <a:gd name="T60" fmla="*/ 182 w 306"/>
                    <a:gd name="T61" fmla="*/ 25 h 49"/>
                    <a:gd name="T62" fmla="*/ 171 w 306"/>
                    <a:gd name="T63" fmla="*/ 48 h 49"/>
                    <a:gd name="T64" fmla="*/ 183 w 306"/>
                    <a:gd name="T65" fmla="*/ 48 h 49"/>
                    <a:gd name="T66" fmla="*/ 190 w 306"/>
                    <a:gd name="T67" fmla="*/ 41 h 49"/>
                    <a:gd name="T68" fmla="*/ 176 w 306"/>
                    <a:gd name="T69" fmla="*/ 11 h 49"/>
                    <a:gd name="T70" fmla="*/ 135 w 306"/>
                    <a:gd name="T71" fmla="*/ 48 h 49"/>
                    <a:gd name="T72" fmla="*/ 155 w 306"/>
                    <a:gd name="T73" fmla="*/ 12 h 49"/>
                    <a:gd name="T74" fmla="*/ 140 w 306"/>
                    <a:gd name="T75" fmla="*/ 39 h 49"/>
                    <a:gd name="T76" fmla="*/ 123 w 306"/>
                    <a:gd name="T77" fmla="*/ 12 h 49"/>
                    <a:gd name="T78" fmla="*/ 105 w 306"/>
                    <a:gd name="T79" fmla="*/ 17 h 49"/>
                    <a:gd name="T80" fmla="*/ 105 w 306"/>
                    <a:gd name="T81" fmla="*/ 43 h 49"/>
                    <a:gd name="T82" fmla="*/ 105 w 306"/>
                    <a:gd name="T83" fmla="*/ 17 h 49"/>
                    <a:gd name="T84" fmla="*/ 88 w 306"/>
                    <a:gd name="T85" fmla="*/ 30 h 49"/>
                    <a:gd name="T86" fmla="*/ 122 w 306"/>
                    <a:gd name="T87" fmla="*/ 30 h 49"/>
                    <a:gd name="T88" fmla="*/ 53 w 306"/>
                    <a:gd name="T89" fmla="*/ 12 h 49"/>
                    <a:gd name="T90" fmla="*/ 61 w 306"/>
                    <a:gd name="T91" fmla="*/ 48 h 49"/>
                    <a:gd name="T92" fmla="*/ 69 w 306"/>
                    <a:gd name="T93" fmla="*/ 17 h 49"/>
                    <a:gd name="T94" fmla="*/ 75 w 306"/>
                    <a:gd name="T95" fmla="*/ 48 h 49"/>
                    <a:gd name="T96" fmla="*/ 83 w 306"/>
                    <a:gd name="T97" fmla="*/ 25 h 49"/>
                    <a:gd name="T98" fmla="*/ 61 w 306"/>
                    <a:gd name="T99" fmla="*/ 18 h 49"/>
                    <a:gd name="T100" fmla="*/ 53 w 306"/>
                    <a:gd name="T101" fmla="*/ 12 h 49"/>
                    <a:gd name="T102" fmla="*/ 16 w 306"/>
                    <a:gd name="T103" fmla="*/ 48 h 49"/>
                    <a:gd name="T104" fmla="*/ 24 w 306"/>
                    <a:gd name="T105" fmla="*/ 27 h 49"/>
                    <a:gd name="T106" fmla="*/ 38 w 306"/>
                    <a:gd name="T107" fmla="*/ 25 h 49"/>
                    <a:gd name="T108" fmla="*/ 46 w 306"/>
                    <a:gd name="T109" fmla="*/ 48 h 49"/>
                    <a:gd name="T110" fmla="*/ 34 w 306"/>
                    <a:gd name="T111" fmla="*/ 11 h 49"/>
                    <a:gd name="T112" fmla="*/ 23 w 306"/>
                    <a:gd name="T113" fmla="*/ 12 h 49"/>
                    <a:gd name="T114" fmla="*/ 0 w 306"/>
                    <a:gd name="T115" fmla="*/ 48 h 49"/>
                    <a:gd name="T116" fmla="*/ 8 w 306"/>
                    <a:gd name="T117" fmla="*/ 12 h 49"/>
                    <a:gd name="T118" fmla="*/ 0 w 306"/>
                    <a:gd name="T119" fmla="*/ 48 h 49"/>
                    <a:gd name="T120" fmla="*/ 8 w 306"/>
                    <a:gd name="T121" fmla="*/ 7 h 49"/>
                    <a:gd name="T122" fmla="*/ 0 w 306"/>
                    <a:gd name="T1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49">
                      <a:moveTo>
                        <a:pt x="276" y="12"/>
                      </a:moveTo>
                      <a:cubicBezTo>
                        <a:pt x="276" y="48"/>
                        <a:pt x="276" y="48"/>
                        <a:pt x="276" y="48"/>
                      </a:cubicBezTo>
                      <a:cubicBezTo>
                        <a:pt x="284" y="48"/>
                        <a:pt x="284" y="48"/>
                        <a:pt x="284" y="48"/>
                      </a:cubicBezTo>
                      <a:cubicBezTo>
                        <a:pt x="284" y="27"/>
                        <a:pt x="284" y="27"/>
                        <a:pt x="284" y="27"/>
                      </a:cubicBezTo>
                      <a:cubicBezTo>
                        <a:pt x="284" y="21"/>
                        <a:pt x="287" y="17"/>
                        <a:pt x="292" y="17"/>
                      </a:cubicBezTo>
                      <a:cubicBezTo>
                        <a:pt x="296" y="17"/>
                        <a:pt x="298" y="20"/>
                        <a:pt x="298" y="25"/>
                      </a:cubicBezTo>
                      <a:cubicBezTo>
                        <a:pt x="298" y="48"/>
                        <a:pt x="298" y="48"/>
                        <a:pt x="298" y="48"/>
                      </a:cubicBezTo>
                      <a:cubicBezTo>
                        <a:pt x="306" y="48"/>
                        <a:pt x="306" y="48"/>
                        <a:pt x="306" y="48"/>
                      </a:cubicBezTo>
                      <a:cubicBezTo>
                        <a:pt x="306" y="25"/>
                        <a:pt x="306" y="25"/>
                        <a:pt x="306" y="25"/>
                      </a:cubicBezTo>
                      <a:cubicBezTo>
                        <a:pt x="306" y="16"/>
                        <a:pt x="302" y="11"/>
                        <a:pt x="294" y="11"/>
                      </a:cubicBezTo>
                      <a:cubicBezTo>
                        <a:pt x="289" y="11"/>
                        <a:pt x="286" y="14"/>
                        <a:pt x="283" y="18"/>
                      </a:cubicBezTo>
                      <a:cubicBezTo>
                        <a:pt x="283" y="12"/>
                        <a:pt x="283" y="12"/>
                        <a:pt x="283" y="12"/>
                      </a:cubicBezTo>
                      <a:lnTo>
                        <a:pt x="276" y="12"/>
                      </a:lnTo>
                      <a:close/>
                      <a:moveTo>
                        <a:pt x="254" y="17"/>
                      </a:moveTo>
                      <a:cubicBezTo>
                        <a:pt x="259" y="17"/>
                        <a:pt x="262" y="22"/>
                        <a:pt x="262" y="30"/>
                      </a:cubicBezTo>
                      <a:cubicBezTo>
                        <a:pt x="262" y="38"/>
                        <a:pt x="259" y="43"/>
                        <a:pt x="254" y="43"/>
                      </a:cubicBezTo>
                      <a:cubicBezTo>
                        <a:pt x="249" y="43"/>
                        <a:pt x="246" y="38"/>
                        <a:pt x="246" y="30"/>
                      </a:cubicBezTo>
                      <a:cubicBezTo>
                        <a:pt x="246" y="22"/>
                        <a:pt x="249" y="17"/>
                        <a:pt x="254" y="17"/>
                      </a:cubicBezTo>
                      <a:moveTo>
                        <a:pt x="254" y="11"/>
                      </a:moveTo>
                      <a:cubicBezTo>
                        <a:pt x="244" y="11"/>
                        <a:pt x="237" y="19"/>
                        <a:pt x="237" y="30"/>
                      </a:cubicBezTo>
                      <a:cubicBezTo>
                        <a:pt x="237" y="41"/>
                        <a:pt x="244" y="49"/>
                        <a:pt x="254" y="49"/>
                      </a:cubicBezTo>
                      <a:cubicBezTo>
                        <a:pt x="264" y="49"/>
                        <a:pt x="271" y="41"/>
                        <a:pt x="271" y="30"/>
                      </a:cubicBezTo>
                      <a:cubicBezTo>
                        <a:pt x="271" y="19"/>
                        <a:pt x="264" y="11"/>
                        <a:pt x="254" y="11"/>
                      </a:cubicBezTo>
                      <a:moveTo>
                        <a:pt x="223" y="48"/>
                      </a:moveTo>
                      <a:cubicBezTo>
                        <a:pt x="231" y="48"/>
                        <a:pt x="231" y="48"/>
                        <a:pt x="231" y="48"/>
                      </a:cubicBezTo>
                      <a:cubicBezTo>
                        <a:pt x="231" y="12"/>
                        <a:pt x="231" y="12"/>
                        <a:pt x="231" y="12"/>
                      </a:cubicBezTo>
                      <a:cubicBezTo>
                        <a:pt x="223" y="12"/>
                        <a:pt x="223" y="12"/>
                        <a:pt x="223" y="12"/>
                      </a:cubicBezTo>
                      <a:lnTo>
                        <a:pt x="223" y="48"/>
                      </a:lnTo>
                      <a:close/>
                      <a:moveTo>
                        <a:pt x="223" y="7"/>
                      </a:moveTo>
                      <a:cubicBezTo>
                        <a:pt x="231" y="7"/>
                        <a:pt x="231" y="7"/>
                        <a:pt x="231" y="7"/>
                      </a:cubicBezTo>
                      <a:cubicBezTo>
                        <a:pt x="231" y="0"/>
                        <a:pt x="231" y="0"/>
                        <a:pt x="231" y="0"/>
                      </a:cubicBezTo>
                      <a:cubicBezTo>
                        <a:pt x="223" y="0"/>
                        <a:pt x="223" y="0"/>
                        <a:pt x="223" y="0"/>
                      </a:cubicBezTo>
                      <a:lnTo>
                        <a:pt x="223" y="7"/>
                      </a:lnTo>
                      <a:close/>
                      <a:moveTo>
                        <a:pt x="208" y="3"/>
                      </a:moveTo>
                      <a:cubicBezTo>
                        <a:pt x="200" y="3"/>
                        <a:pt x="200" y="3"/>
                        <a:pt x="200" y="3"/>
                      </a:cubicBezTo>
                      <a:cubicBezTo>
                        <a:pt x="200" y="12"/>
                        <a:pt x="200" y="12"/>
                        <a:pt x="200" y="12"/>
                      </a:cubicBezTo>
                      <a:cubicBezTo>
                        <a:pt x="194" y="12"/>
                        <a:pt x="194" y="12"/>
                        <a:pt x="194" y="12"/>
                      </a:cubicBezTo>
                      <a:cubicBezTo>
                        <a:pt x="194" y="18"/>
                        <a:pt x="194" y="18"/>
                        <a:pt x="194" y="18"/>
                      </a:cubicBezTo>
                      <a:cubicBezTo>
                        <a:pt x="200" y="18"/>
                        <a:pt x="200" y="18"/>
                        <a:pt x="200" y="18"/>
                      </a:cubicBezTo>
                      <a:cubicBezTo>
                        <a:pt x="200" y="35"/>
                        <a:pt x="200" y="35"/>
                        <a:pt x="200" y="35"/>
                      </a:cubicBezTo>
                      <a:cubicBezTo>
                        <a:pt x="200" y="45"/>
                        <a:pt x="203" y="49"/>
                        <a:pt x="211" y="49"/>
                      </a:cubicBezTo>
                      <a:cubicBezTo>
                        <a:pt x="213" y="49"/>
                        <a:pt x="215" y="48"/>
                        <a:pt x="217" y="48"/>
                      </a:cubicBezTo>
                      <a:cubicBezTo>
                        <a:pt x="217" y="42"/>
                        <a:pt x="217" y="42"/>
                        <a:pt x="217" y="42"/>
                      </a:cubicBezTo>
                      <a:cubicBezTo>
                        <a:pt x="215" y="42"/>
                        <a:pt x="214" y="42"/>
                        <a:pt x="213" y="42"/>
                      </a:cubicBezTo>
                      <a:cubicBezTo>
                        <a:pt x="208" y="42"/>
                        <a:pt x="208" y="40"/>
                        <a:pt x="208" y="35"/>
                      </a:cubicBezTo>
                      <a:cubicBezTo>
                        <a:pt x="208" y="18"/>
                        <a:pt x="208" y="18"/>
                        <a:pt x="208" y="18"/>
                      </a:cubicBezTo>
                      <a:cubicBezTo>
                        <a:pt x="216" y="18"/>
                        <a:pt x="216" y="18"/>
                        <a:pt x="216" y="18"/>
                      </a:cubicBezTo>
                      <a:cubicBezTo>
                        <a:pt x="216" y="12"/>
                        <a:pt x="216" y="12"/>
                        <a:pt x="216" y="12"/>
                      </a:cubicBezTo>
                      <a:cubicBezTo>
                        <a:pt x="208" y="12"/>
                        <a:pt x="208" y="12"/>
                        <a:pt x="208" y="12"/>
                      </a:cubicBezTo>
                      <a:lnTo>
                        <a:pt x="208" y="3"/>
                      </a:lnTo>
                      <a:close/>
                      <a:moveTo>
                        <a:pt x="182" y="30"/>
                      </a:moveTo>
                      <a:cubicBezTo>
                        <a:pt x="182" y="33"/>
                        <a:pt x="182" y="33"/>
                        <a:pt x="182" y="33"/>
                      </a:cubicBezTo>
                      <a:cubicBezTo>
                        <a:pt x="182" y="38"/>
                        <a:pt x="178" y="43"/>
                        <a:pt x="173" y="43"/>
                      </a:cubicBezTo>
                      <a:cubicBezTo>
                        <a:pt x="169" y="43"/>
                        <a:pt x="167" y="41"/>
                        <a:pt x="167" y="38"/>
                      </a:cubicBezTo>
                      <a:cubicBezTo>
                        <a:pt x="167" y="33"/>
                        <a:pt x="171" y="30"/>
                        <a:pt x="181" y="30"/>
                      </a:cubicBezTo>
                      <a:lnTo>
                        <a:pt x="182" y="30"/>
                      </a:lnTo>
                      <a:close/>
                      <a:moveTo>
                        <a:pt x="159" y="21"/>
                      </a:moveTo>
                      <a:cubicBezTo>
                        <a:pt x="167" y="22"/>
                        <a:pt x="167" y="22"/>
                        <a:pt x="167" y="22"/>
                      </a:cubicBezTo>
                      <a:cubicBezTo>
                        <a:pt x="168" y="19"/>
                        <a:pt x="170" y="17"/>
                        <a:pt x="175" y="17"/>
                      </a:cubicBezTo>
                      <a:cubicBezTo>
                        <a:pt x="180" y="17"/>
                        <a:pt x="182" y="19"/>
                        <a:pt x="182" y="23"/>
                      </a:cubicBezTo>
                      <a:cubicBezTo>
                        <a:pt x="182" y="25"/>
                        <a:pt x="182" y="25"/>
                        <a:pt x="182" y="25"/>
                      </a:cubicBezTo>
                      <a:cubicBezTo>
                        <a:pt x="182" y="25"/>
                        <a:pt x="182" y="25"/>
                        <a:pt x="182" y="25"/>
                      </a:cubicBezTo>
                      <a:cubicBezTo>
                        <a:pt x="166" y="25"/>
                        <a:pt x="158" y="29"/>
                        <a:pt x="158" y="38"/>
                      </a:cubicBezTo>
                      <a:cubicBezTo>
                        <a:pt x="158" y="44"/>
                        <a:pt x="163" y="48"/>
                        <a:pt x="171" y="48"/>
                      </a:cubicBezTo>
                      <a:cubicBezTo>
                        <a:pt x="176" y="48"/>
                        <a:pt x="180" y="46"/>
                        <a:pt x="182" y="41"/>
                      </a:cubicBezTo>
                      <a:cubicBezTo>
                        <a:pt x="183" y="44"/>
                        <a:pt x="183" y="46"/>
                        <a:pt x="183" y="48"/>
                      </a:cubicBezTo>
                      <a:cubicBezTo>
                        <a:pt x="191" y="48"/>
                        <a:pt x="191" y="48"/>
                        <a:pt x="191" y="48"/>
                      </a:cubicBezTo>
                      <a:cubicBezTo>
                        <a:pt x="190" y="46"/>
                        <a:pt x="190" y="43"/>
                        <a:pt x="190" y="41"/>
                      </a:cubicBezTo>
                      <a:cubicBezTo>
                        <a:pt x="190" y="25"/>
                        <a:pt x="190" y="25"/>
                        <a:pt x="190" y="25"/>
                      </a:cubicBezTo>
                      <a:cubicBezTo>
                        <a:pt x="190" y="16"/>
                        <a:pt x="186" y="11"/>
                        <a:pt x="176" y="11"/>
                      </a:cubicBezTo>
                      <a:cubicBezTo>
                        <a:pt x="167" y="11"/>
                        <a:pt x="161" y="15"/>
                        <a:pt x="159" y="21"/>
                      </a:cubicBezTo>
                      <a:moveTo>
                        <a:pt x="135" y="48"/>
                      </a:moveTo>
                      <a:cubicBezTo>
                        <a:pt x="143" y="48"/>
                        <a:pt x="143" y="48"/>
                        <a:pt x="143" y="48"/>
                      </a:cubicBezTo>
                      <a:cubicBezTo>
                        <a:pt x="155" y="12"/>
                        <a:pt x="155" y="12"/>
                        <a:pt x="155" y="12"/>
                      </a:cubicBezTo>
                      <a:cubicBezTo>
                        <a:pt x="149" y="12"/>
                        <a:pt x="149" y="12"/>
                        <a:pt x="149" y="12"/>
                      </a:cubicBezTo>
                      <a:cubicBezTo>
                        <a:pt x="140" y="39"/>
                        <a:pt x="140" y="39"/>
                        <a:pt x="140" y="39"/>
                      </a:cubicBezTo>
                      <a:cubicBezTo>
                        <a:pt x="131" y="12"/>
                        <a:pt x="131" y="12"/>
                        <a:pt x="131" y="12"/>
                      </a:cubicBezTo>
                      <a:cubicBezTo>
                        <a:pt x="123" y="12"/>
                        <a:pt x="123" y="12"/>
                        <a:pt x="123" y="12"/>
                      </a:cubicBezTo>
                      <a:lnTo>
                        <a:pt x="135" y="48"/>
                      </a:lnTo>
                      <a:close/>
                      <a:moveTo>
                        <a:pt x="105" y="17"/>
                      </a:moveTo>
                      <a:cubicBezTo>
                        <a:pt x="110" y="17"/>
                        <a:pt x="113" y="22"/>
                        <a:pt x="113" y="30"/>
                      </a:cubicBezTo>
                      <a:cubicBezTo>
                        <a:pt x="113" y="38"/>
                        <a:pt x="110" y="43"/>
                        <a:pt x="105" y="43"/>
                      </a:cubicBezTo>
                      <a:cubicBezTo>
                        <a:pt x="100" y="43"/>
                        <a:pt x="97" y="38"/>
                        <a:pt x="97" y="30"/>
                      </a:cubicBezTo>
                      <a:cubicBezTo>
                        <a:pt x="97" y="22"/>
                        <a:pt x="100" y="17"/>
                        <a:pt x="105" y="17"/>
                      </a:cubicBezTo>
                      <a:moveTo>
                        <a:pt x="105" y="11"/>
                      </a:moveTo>
                      <a:cubicBezTo>
                        <a:pt x="95" y="11"/>
                        <a:pt x="88" y="19"/>
                        <a:pt x="88" y="30"/>
                      </a:cubicBezTo>
                      <a:cubicBezTo>
                        <a:pt x="88" y="41"/>
                        <a:pt x="95" y="49"/>
                        <a:pt x="105" y="49"/>
                      </a:cubicBezTo>
                      <a:cubicBezTo>
                        <a:pt x="115" y="49"/>
                        <a:pt x="122" y="41"/>
                        <a:pt x="122" y="30"/>
                      </a:cubicBezTo>
                      <a:cubicBezTo>
                        <a:pt x="122" y="19"/>
                        <a:pt x="115" y="11"/>
                        <a:pt x="105" y="11"/>
                      </a:cubicBezTo>
                      <a:moveTo>
                        <a:pt x="53" y="12"/>
                      </a:moveTo>
                      <a:cubicBezTo>
                        <a:pt x="53" y="48"/>
                        <a:pt x="53" y="48"/>
                        <a:pt x="53" y="48"/>
                      </a:cubicBezTo>
                      <a:cubicBezTo>
                        <a:pt x="61" y="48"/>
                        <a:pt x="61" y="48"/>
                        <a:pt x="61" y="48"/>
                      </a:cubicBezTo>
                      <a:cubicBezTo>
                        <a:pt x="61" y="27"/>
                        <a:pt x="61" y="27"/>
                        <a:pt x="61" y="27"/>
                      </a:cubicBezTo>
                      <a:cubicBezTo>
                        <a:pt x="61" y="21"/>
                        <a:pt x="65" y="17"/>
                        <a:pt x="69" y="17"/>
                      </a:cubicBezTo>
                      <a:cubicBezTo>
                        <a:pt x="73" y="17"/>
                        <a:pt x="75" y="20"/>
                        <a:pt x="75" y="25"/>
                      </a:cubicBezTo>
                      <a:cubicBezTo>
                        <a:pt x="75" y="48"/>
                        <a:pt x="75" y="48"/>
                        <a:pt x="75" y="48"/>
                      </a:cubicBezTo>
                      <a:cubicBezTo>
                        <a:pt x="83" y="48"/>
                        <a:pt x="83" y="48"/>
                        <a:pt x="83" y="48"/>
                      </a:cubicBezTo>
                      <a:cubicBezTo>
                        <a:pt x="83" y="25"/>
                        <a:pt x="83" y="25"/>
                        <a:pt x="83" y="25"/>
                      </a:cubicBezTo>
                      <a:cubicBezTo>
                        <a:pt x="83" y="16"/>
                        <a:pt x="79" y="11"/>
                        <a:pt x="71" y="11"/>
                      </a:cubicBezTo>
                      <a:cubicBezTo>
                        <a:pt x="67" y="11"/>
                        <a:pt x="63" y="14"/>
                        <a:pt x="61" y="18"/>
                      </a:cubicBezTo>
                      <a:cubicBezTo>
                        <a:pt x="61" y="12"/>
                        <a:pt x="61" y="12"/>
                        <a:pt x="61" y="12"/>
                      </a:cubicBezTo>
                      <a:lnTo>
                        <a:pt x="53" y="12"/>
                      </a:lnTo>
                      <a:close/>
                      <a:moveTo>
                        <a:pt x="16" y="12"/>
                      </a:moveTo>
                      <a:cubicBezTo>
                        <a:pt x="16" y="48"/>
                        <a:pt x="16" y="48"/>
                        <a:pt x="16" y="48"/>
                      </a:cubicBezTo>
                      <a:cubicBezTo>
                        <a:pt x="24" y="48"/>
                        <a:pt x="24" y="48"/>
                        <a:pt x="24" y="48"/>
                      </a:cubicBezTo>
                      <a:cubicBezTo>
                        <a:pt x="24" y="27"/>
                        <a:pt x="24" y="27"/>
                        <a:pt x="24" y="27"/>
                      </a:cubicBezTo>
                      <a:cubicBezTo>
                        <a:pt x="24" y="21"/>
                        <a:pt x="27" y="17"/>
                        <a:pt x="32" y="17"/>
                      </a:cubicBezTo>
                      <a:cubicBezTo>
                        <a:pt x="36" y="17"/>
                        <a:pt x="38" y="20"/>
                        <a:pt x="38" y="25"/>
                      </a:cubicBezTo>
                      <a:cubicBezTo>
                        <a:pt x="38" y="48"/>
                        <a:pt x="38" y="48"/>
                        <a:pt x="38" y="48"/>
                      </a:cubicBezTo>
                      <a:cubicBezTo>
                        <a:pt x="46" y="48"/>
                        <a:pt x="46" y="48"/>
                        <a:pt x="46" y="48"/>
                      </a:cubicBezTo>
                      <a:cubicBezTo>
                        <a:pt x="46" y="25"/>
                        <a:pt x="46" y="25"/>
                        <a:pt x="46" y="25"/>
                      </a:cubicBezTo>
                      <a:cubicBezTo>
                        <a:pt x="46" y="16"/>
                        <a:pt x="42" y="11"/>
                        <a:pt x="34" y="11"/>
                      </a:cubicBezTo>
                      <a:cubicBezTo>
                        <a:pt x="30" y="11"/>
                        <a:pt x="26" y="14"/>
                        <a:pt x="23" y="18"/>
                      </a:cubicBezTo>
                      <a:cubicBezTo>
                        <a:pt x="23" y="12"/>
                        <a:pt x="23" y="12"/>
                        <a:pt x="23" y="12"/>
                      </a:cubicBezTo>
                      <a:lnTo>
                        <a:pt x="16" y="12"/>
                      </a:lnTo>
                      <a:close/>
                      <a:moveTo>
                        <a:pt x="0" y="48"/>
                      </a:moveTo>
                      <a:cubicBezTo>
                        <a:pt x="8" y="48"/>
                        <a:pt x="8" y="48"/>
                        <a:pt x="8" y="48"/>
                      </a:cubicBezTo>
                      <a:cubicBezTo>
                        <a:pt x="8" y="12"/>
                        <a:pt x="8" y="12"/>
                        <a:pt x="8" y="12"/>
                      </a:cubicBezTo>
                      <a:cubicBezTo>
                        <a:pt x="0" y="12"/>
                        <a:pt x="0" y="12"/>
                        <a:pt x="0" y="12"/>
                      </a:cubicBezTo>
                      <a:lnTo>
                        <a:pt x="0" y="48"/>
                      </a:lnTo>
                      <a:close/>
                      <a:moveTo>
                        <a:pt x="0" y="7"/>
                      </a:moveTo>
                      <a:cubicBezTo>
                        <a:pt x="8" y="7"/>
                        <a:pt x="8" y="7"/>
                        <a:pt x="8" y="7"/>
                      </a:cubicBezTo>
                      <a:cubicBezTo>
                        <a:pt x="8" y="0"/>
                        <a:pt x="8" y="0"/>
                        <a:pt x="8" y="0"/>
                      </a:cubicBezTo>
                      <a:cubicBezTo>
                        <a:pt x="0" y="0"/>
                        <a:pt x="0" y="0"/>
                        <a:pt x="0" y="0"/>
                      </a:cubicBez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prstClr val="black"/>
                    </a:solidFill>
                  </a:endParaRPr>
                </a:p>
              </p:txBody>
            </p:sp>
          </p:grpSp>
        </p:grpSp>
        <p:grpSp>
          <p:nvGrpSpPr>
            <p:cNvPr id="247" name="ICON #1">
              <a:extLst>
                <a:ext uri="{FF2B5EF4-FFF2-40B4-BE49-F238E27FC236}">
                  <a16:creationId xmlns:a16="http://schemas.microsoft.com/office/drawing/2014/main" id="{91BEC890-9458-4DD1-9278-A979CC108668}"/>
                </a:ext>
              </a:extLst>
            </p:cNvPr>
            <p:cNvGrpSpPr/>
            <p:nvPr/>
          </p:nvGrpSpPr>
          <p:grpSpPr>
            <a:xfrm>
              <a:off x="6227850" y="2835036"/>
              <a:ext cx="503536" cy="503536"/>
              <a:chOff x="3130484" y="539304"/>
              <a:chExt cx="1050658" cy="1050658"/>
            </a:xfrm>
          </p:grpSpPr>
          <p:sp>
            <p:nvSpPr>
              <p:cNvPr id="272" name="Ovaal 191">
                <a:extLst>
                  <a:ext uri="{FF2B5EF4-FFF2-40B4-BE49-F238E27FC236}">
                    <a16:creationId xmlns:a16="http://schemas.microsoft.com/office/drawing/2014/main" id="{253A4B16-596B-4D96-B664-B434DEE2EF06}"/>
                  </a:ext>
                </a:extLst>
              </p:cNvPr>
              <p:cNvSpPr/>
              <p:nvPr/>
            </p:nvSpPr>
            <p:spPr>
              <a:xfrm>
                <a:off x="3130484" y="539304"/>
                <a:ext cx="1050658" cy="1050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pic>
            <p:nvPicPr>
              <p:cNvPr id="273" name="Graphic 272">
                <a:extLst>
                  <a:ext uri="{FF2B5EF4-FFF2-40B4-BE49-F238E27FC236}">
                    <a16:creationId xmlns:a16="http://schemas.microsoft.com/office/drawing/2014/main" id="{A9810A74-DA41-4D66-B780-0ACBCE312FFE}"/>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251001" y="659821"/>
                <a:ext cx="809625" cy="809625"/>
              </a:xfrm>
              <a:prstGeom prst="rect">
                <a:avLst/>
              </a:prstGeom>
            </p:spPr>
          </p:pic>
        </p:grpSp>
        <p:grpSp>
          <p:nvGrpSpPr>
            <p:cNvPr id="248" name="ICON #2">
              <a:extLst>
                <a:ext uri="{FF2B5EF4-FFF2-40B4-BE49-F238E27FC236}">
                  <a16:creationId xmlns:a16="http://schemas.microsoft.com/office/drawing/2014/main" id="{6AECD90A-C576-4F59-A1D5-6512C93828C3}"/>
                </a:ext>
              </a:extLst>
            </p:cNvPr>
            <p:cNvGrpSpPr/>
            <p:nvPr/>
          </p:nvGrpSpPr>
          <p:grpSpPr>
            <a:xfrm>
              <a:off x="6782285" y="3306366"/>
              <a:ext cx="503536" cy="503536"/>
              <a:chOff x="2268804" y="655982"/>
              <a:chExt cx="1050658" cy="1050658"/>
            </a:xfrm>
          </p:grpSpPr>
          <p:sp>
            <p:nvSpPr>
              <p:cNvPr id="270" name="Ovaal 189">
                <a:extLst>
                  <a:ext uri="{FF2B5EF4-FFF2-40B4-BE49-F238E27FC236}">
                    <a16:creationId xmlns:a16="http://schemas.microsoft.com/office/drawing/2014/main" id="{FEB87C57-AC22-4239-956A-6F162F1E7159}"/>
                  </a:ext>
                </a:extLst>
              </p:cNvPr>
              <p:cNvSpPr/>
              <p:nvPr/>
            </p:nvSpPr>
            <p:spPr>
              <a:xfrm>
                <a:off x="2268804" y="655982"/>
                <a:ext cx="1050658" cy="1050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pic>
            <p:nvPicPr>
              <p:cNvPr id="271" name="Graphic 270">
                <a:extLst>
                  <a:ext uri="{FF2B5EF4-FFF2-40B4-BE49-F238E27FC236}">
                    <a16:creationId xmlns:a16="http://schemas.microsoft.com/office/drawing/2014/main" id="{C2A33B64-1AB6-4BE5-BE15-EA7D98CC2E78}"/>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89321" y="776499"/>
                <a:ext cx="809625" cy="809625"/>
              </a:xfrm>
              <a:prstGeom prst="rect">
                <a:avLst/>
              </a:prstGeom>
            </p:spPr>
          </p:pic>
        </p:grpSp>
        <p:grpSp>
          <p:nvGrpSpPr>
            <p:cNvPr id="249" name="ICON #3">
              <a:extLst>
                <a:ext uri="{FF2B5EF4-FFF2-40B4-BE49-F238E27FC236}">
                  <a16:creationId xmlns:a16="http://schemas.microsoft.com/office/drawing/2014/main" id="{671EE697-A03D-4258-989D-BD647DEC70D3}"/>
                </a:ext>
              </a:extLst>
            </p:cNvPr>
            <p:cNvGrpSpPr/>
            <p:nvPr/>
          </p:nvGrpSpPr>
          <p:grpSpPr>
            <a:xfrm>
              <a:off x="6915892" y="4039585"/>
              <a:ext cx="503536" cy="503536"/>
              <a:chOff x="1291820" y="732388"/>
              <a:chExt cx="1050658" cy="1050658"/>
            </a:xfrm>
          </p:grpSpPr>
          <p:sp>
            <p:nvSpPr>
              <p:cNvPr id="268" name="Ovaal 187">
                <a:extLst>
                  <a:ext uri="{FF2B5EF4-FFF2-40B4-BE49-F238E27FC236}">
                    <a16:creationId xmlns:a16="http://schemas.microsoft.com/office/drawing/2014/main" id="{3D835FB7-61DE-47F4-9353-E48B5B1A34E4}"/>
                  </a:ext>
                </a:extLst>
              </p:cNvPr>
              <p:cNvSpPr/>
              <p:nvPr/>
            </p:nvSpPr>
            <p:spPr>
              <a:xfrm>
                <a:off x="1291820" y="732388"/>
                <a:ext cx="1050658" cy="1050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pic>
            <p:nvPicPr>
              <p:cNvPr id="269" name="Graphic 268">
                <a:extLst>
                  <a:ext uri="{FF2B5EF4-FFF2-40B4-BE49-F238E27FC236}">
                    <a16:creationId xmlns:a16="http://schemas.microsoft.com/office/drawing/2014/main" id="{6DAC914D-B472-44C2-81B4-40B275AFEACA}"/>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412337" y="852905"/>
                <a:ext cx="809625" cy="809625"/>
              </a:xfrm>
              <a:prstGeom prst="rect">
                <a:avLst/>
              </a:prstGeom>
            </p:spPr>
          </p:pic>
        </p:grpSp>
        <p:grpSp>
          <p:nvGrpSpPr>
            <p:cNvPr id="250" name="ICON #4">
              <a:extLst>
                <a:ext uri="{FF2B5EF4-FFF2-40B4-BE49-F238E27FC236}">
                  <a16:creationId xmlns:a16="http://schemas.microsoft.com/office/drawing/2014/main" id="{97DE45EF-4DE1-4276-BF68-124A3F2DEF14}"/>
                </a:ext>
              </a:extLst>
            </p:cNvPr>
            <p:cNvGrpSpPr/>
            <p:nvPr/>
          </p:nvGrpSpPr>
          <p:grpSpPr>
            <a:xfrm>
              <a:off x="6533978" y="4680196"/>
              <a:ext cx="503536" cy="503536"/>
              <a:chOff x="872985" y="466143"/>
              <a:chExt cx="1050658" cy="1050658"/>
            </a:xfrm>
          </p:grpSpPr>
          <p:sp>
            <p:nvSpPr>
              <p:cNvPr id="266" name="Ovaal 185">
                <a:extLst>
                  <a:ext uri="{FF2B5EF4-FFF2-40B4-BE49-F238E27FC236}">
                    <a16:creationId xmlns:a16="http://schemas.microsoft.com/office/drawing/2014/main" id="{B6F3A26E-51E8-46EE-965B-3829390F32FE}"/>
                  </a:ext>
                </a:extLst>
              </p:cNvPr>
              <p:cNvSpPr/>
              <p:nvPr/>
            </p:nvSpPr>
            <p:spPr>
              <a:xfrm>
                <a:off x="872985" y="466143"/>
                <a:ext cx="1050658" cy="1050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pic>
            <p:nvPicPr>
              <p:cNvPr id="267" name="Graphic 266">
                <a:extLst>
                  <a:ext uri="{FF2B5EF4-FFF2-40B4-BE49-F238E27FC236}">
                    <a16:creationId xmlns:a16="http://schemas.microsoft.com/office/drawing/2014/main" id="{82E7707F-8212-4EFC-97F2-469DBFF66563}"/>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93502" y="586660"/>
                <a:ext cx="809625" cy="809625"/>
              </a:xfrm>
              <a:prstGeom prst="rect">
                <a:avLst/>
              </a:prstGeom>
            </p:spPr>
          </p:pic>
        </p:grpSp>
        <p:grpSp>
          <p:nvGrpSpPr>
            <p:cNvPr id="251" name="ICON #5">
              <a:extLst>
                <a:ext uri="{FF2B5EF4-FFF2-40B4-BE49-F238E27FC236}">
                  <a16:creationId xmlns:a16="http://schemas.microsoft.com/office/drawing/2014/main" id="{D12416C9-BCFC-4D88-BFDC-E9D10B907785}"/>
                </a:ext>
              </a:extLst>
            </p:cNvPr>
            <p:cNvGrpSpPr/>
            <p:nvPr/>
          </p:nvGrpSpPr>
          <p:grpSpPr>
            <a:xfrm>
              <a:off x="5853233" y="4936796"/>
              <a:ext cx="503536" cy="503536"/>
              <a:chOff x="286034" y="772742"/>
              <a:chExt cx="1050658" cy="1050658"/>
            </a:xfrm>
          </p:grpSpPr>
          <p:sp>
            <p:nvSpPr>
              <p:cNvPr id="264" name="Ovaal 183">
                <a:extLst>
                  <a:ext uri="{FF2B5EF4-FFF2-40B4-BE49-F238E27FC236}">
                    <a16:creationId xmlns:a16="http://schemas.microsoft.com/office/drawing/2014/main" id="{0A3C5929-6426-4ADE-8862-35504FCBAC67}"/>
                  </a:ext>
                </a:extLst>
              </p:cNvPr>
              <p:cNvSpPr/>
              <p:nvPr/>
            </p:nvSpPr>
            <p:spPr>
              <a:xfrm>
                <a:off x="286034" y="772742"/>
                <a:ext cx="1050658" cy="1050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pic>
            <p:nvPicPr>
              <p:cNvPr id="265" name="Graphic 264">
                <a:extLst>
                  <a:ext uri="{FF2B5EF4-FFF2-40B4-BE49-F238E27FC236}">
                    <a16:creationId xmlns:a16="http://schemas.microsoft.com/office/drawing/2014/main" id="{67AC7777-8923-4B5B-998D-55A9AA1ACE73}"/>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19251" y="944059"/>
                <a:ext cx="809625" cy="809625"/>
              </a:xfrm>
              <a:prstGeom prst="rect">
                <a:avLst/>
              </a:prstGeom>
            </p:spPr>
          </p:pic>
        </p:grpSp>
        <p:grpSp>
          <p:nvGrpSpPr>
            <p:cNvPr id="252" name="ICON #6">
              <a:extLst>
                <a:ext uri="{FF2B5EF4-FFF2-40B4-BE49-F238E27FC236}">
                  <a16:creationId xmlns:a16="http://schemas.microsoft.com/office/drawing/2014/main" id="{7902C203-3410-4023-8DA2-407557645CDC}"/>
                </a:ext>
              </a:extLst>
            </p:cNvPr>
            <p:cNvGrpSpPr/>
            <p:nvPr/>
          </p:nvGrpSpPr>
          <p:grpSpPr>
            <a:xfrm>
              <a:off x="5160192" y="4680196"/>
              <a:ext cx="503536" cy="503536"/>
              <a:chOff x="-503756" y="315603"/>
              <a:chExt cx="1050658" cy="1050658"/>
            </a:xfrm>
          </p:grpSpPr>
          <p:sp>
            <p:nvSpPr>
              <p:cNvPr id="262" name="Ovaal 181">
                <a:extLst>
                  <a:ext uri="{FF2B5EF4-FFF2-40B4-BE49-F238E27FC236}">
                    <a16:creationId xmlns:a16="http://schemas.microsoft.com/office/drawing/2014/main" id="{F13654DD-FA58-4A22-BC0A-7CA386A15E9E}"/>
                  </a:ext>
                </a:extLst>
              </p:cNvPr>
              <p:cNvSpPr/>
              <p:nvPr/>
            </p:nvSpPr>
            <p:spPr>
              <a:xfrm>
                <a:off x="-503756" y="315603"/>
                <a:ext cx="1050658" cy="1050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pic>
            <p:nvPicPr>
              <p:cNvPr id="263" name="Graphic 262">
                <a:extLst>
                  <a:ext uri="{FF2B5EF4-FFF2-40B4-BE49-F238E27FC236}">
                    <a16:creationId xmlns:a16="http://schemas.microsoft.com/office/drawing/2014/main" id="{FFA5B734-7D46-4E78-9EB7-DFC9733A3F02}"/>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83239" y="436120"/>
                <a:ext cx="809625" cy="809625"/>
              </a:xfrm>
              <a:prstGeom prst="rect">
                <a:avLst/>
              </a:prstGeom>
            </p:spPr>
          </p:pic>
        </p:grpSp>
        <p:grpSp>
          <p:nvGrpSpPr>
            <p:cNvPr id="253" name="ICON #7">
              <a:extLst>
                <a:ext uri="{FF2B5EF4-FFF2-40B4-BE49-F238E27FC236}">
                  <a16:creationId xmlns:a16="http://schemas.microsoft.com/office/drawing/2014/main" id="{9AC0FC87-21C2-4E33-A610-183D638FBB78}"/>
                </a:ext>
              </a:extLst>
            </p:cNvPr>
            <p:cNvGrpSpPr/>
            <p:nvPr/>
          </p:nvGrpSpPr>
          <p:grpSpPr>
            <a:xfrm>
              <a:off x="4781688" y="4039585"/>
              <a:ext cx="503536" cy="503536"/>
              <a:chOff x="-1333220" y="-945266"/>
              <a:chExt cx="1050658" cy="1050658"/>
            </a:xfrm>
          </p:grpSpPr>
          <p:sp>
            <p:nvSpPr>
              <p:cNvPr id="260" name="Ovaal 179">
                <a:extLst>
                  <a:ext uri="{FF2B5EF4-FFF2-40B4-BE49-F238E27FC236}">
                    <a16:creationId xmlns:a16="http://schemas.microsoft.com/office/drawing/2014/main" id="{D55AEDB4-411C-4856-9E0F-4F51E1379FB6}"/>
                  </a:ext>
                </a:extLst>
              </p:cNvPr>
              <p:cNvSpPr/>
              <p:nvPr/>
            </p:nvSpPr>
            <p:spPr>
              <a:xfrm>
                <a:off x="-1333220" y="-945266"/>
                <a:ext cx="1050658" cy="1050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pic>
            <p:nvPicPr>
              <p:cNvPr id="261" name="Graphic 260">
                <a:extLst>
                  <a:ext uri="{FF2B5EF4-FFF2-40B4-BE49-F238E27FC236}">
                    <a16:creationId xmlns:a16="http://schemas.microsoft.com/office/drawing/2014/main" id="{99BD93AD-A12E-472B-A6C7-B09CD2F3DC06}"/>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212703" y="-824749"/>
                <a:ext cx="809625" cy="809625"/>
              </a:xfrm>
              <a:prstGeom prst="rect">
                <a:avLst/>
              </a:prstGeom>
            </p:spPr>
          </p:pic>
        </p:grpSp>
        <p:grpSp>
          <p:nvGrpSpPr>
            <p:cNvPr id="254" name="ICON #8">
              <a:extLst>
                <a:ext uri="{FF2B5EF4-FFF2-40B4-BE49-F238E27FC236}">
                  <a16:creationId xmlns:a16="http://schemas.microsoft.com/office/drawing/2014/main" id="{D990B51A-6F5C-4A6D-A036-4264EB43C786}"/>
                </a:ext>
              </a:extLst>
            </p:cNvPr>
            <p:cNvGrpSpPr/>
            <p:nvPr/>
          </p:nvGrpSpPr>
          <p:grpSpPr>
            <a:xfrm>
              <a:off x="4915512" y="3306366"/>
              <a:ext cx="503536" cy="503536"/>
              <a:chOff x="-2161363" y="92342"/>
              <a:chExt cx="1050658" cy="1050658"/>
            </a:xfrm>
          </p:grpSpPr>
          <p:sp>
            <p:nvSpPr>
              <p:cNvPr id="258" name="Ovaal 177">
                <a:extLst>
                  <a:ext uri="{FF2B5EF4-FFF2-40B4-BE49-F238E27FC236}">
                    <a16:creationId xmlns:a16="http://schemas.microsoft.com/office/drawing/2014/main" id="{53771D75-5494-4F67-AD4D-D3DFAE81DB24}"/>
                  </a:ext>
                </a:extLst>
              </p:cNvPr>
              <p:cNvSpPr/>
              <p:nvPr/>
            </p:nvSpPr>
            <p:spPr>
              <a:xfrm>
                <a:off x="-2161363" y="92342"/>
                <a:ext cx="1050658" cy="1050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pic>
            <p:nvPicPr>
              <p:cNvPr id="259" name="Graphic 258">
                <a:extLst>
                  <a:ext uri="{FF2B5EF4-FFF2-40B4-BE49-F238E27FC236}">
                    <a16:creationId xmlns:a16="http://schemas.microsoft.com/office/drawing/2014/main" id="{65A220CA-342A-4EAE-8D3C-0AFFAC313F04}"/>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2040846" y="212859"/>
                <a:ext cx="809625" cy="809625"/>
              </a:xfrm>
              <a:prstGeom prst="rect">
                <a:avLst/>
              </a:prstGeom>
            </p:spPr>
          </p:pic>
        </p:grpSp>
        <p:grpSp>
          <p:nvGrpSpPr>
            <p:cNvPr id="255" name="ICON #9">
              <a:extLst>
                <a:ext uri="{FF2B5EF4-FFF2-40B4-BE49-F238E27FC236}">
                  <a16:creationId xmlns:a16="http://schemas.microsoft.com/office/drawing/2014/main" id="{F2E69369-E1F5-46A9-B653-EBEC960D7A8E}"/>
                </a:ext>
              </a:extLst>
            </p:cNvPr>
            <p:cNvGrpSpPr/>
            <p:nvPr/>
          </p:nvGrpSpPr>
          <p:grpSpPr>
            <a:xfrm>
              <a:off x="5480450" y="2835036"/>
              <a:ext cx="503536" cy="503536"/>
              <a:chOff x="-1353472" y="4004977"/>
              <a:chExt cx="1050658" cy="1050658"/>
            </a:xfrm>
          </p:grpSpPr>
          <p:sp>
            <p:nvSpPr>
              <p:cNvPr id="256" name="Ovaal 175">
                <a:extLst>
                  <a:ext uri="{FF2B5EF4-FFF2-40B4-BE49-F238E27FC236}">
                    <a16:creationId xmlns:a16="http://schemas.microsoft.com/office/drawing/2014/main" id="{7B05350A-F8C4-4799-A932-1C22C109CDB4}"/>
                  </a:ext>
                </a:extLst>
              </p:cNvPr>
              <p:cNvSpPr/>
              <p:nvPr/>
            </p:nvSpPr>
            <p:spPr>
              <a:xfrm>
                <a:off x="-1353472" y="4004977"/>
                <a:ext cx="1050658" cy="1050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solidFill>
                    <a:prstClr val="white"/>
                  </a:solidFill>
                </a:endParaRPr>
              </a:p>
            </p:txBody>
          </p:sp>
          <p:pic>
            <p:nvPicPr>
              <p:cNvPr id="257" name="Graphic 256">
                <a:extLst>
                  <a:ext uri="{FF2B5EF4-FFF2-40B4-BE49-F238E27FC236}">
                    <a16:creationId xmlns:a16="http://schemas.microsoft.com/office/drawing/2014/main" id="{8C4E9F1C-1768-497C-BFE5-C73517CA98B5}"/>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232955" y="4125494"/>
                <a:ext cx="809625" cy="809625"/>
              </a:xfrm>
              <a:prstGeom prst="rect">
                <a:avLst/>
              </a:prstGeom>
            </p:spPr>
          </p:pic>
        </p:grpSp>
      </p:grpSp>
      <p:sp>
        <p:nvSpPr>
          <p:cNvPr id="279" name="Tekstvak 176">
            <a:extLst>
              <a:ext uri="{FF2B5EF4-FFF2-40B4-BE49-F238E27FC236}">
                <a16:creationId xmlns:a16="http://schemas.microsoft.com/office/drawing/2014/main" id="{E6F997F9-514D-49DA-A4C6-4ED1C2917FA2}"/>
              </a:ext>
            </a:extLst>
          </p:cNvPr>
          <p:cNvSpPr txBox="1"/>
          <p:nvPr/>
        </p:nvSpPr>
        <p:spPr>
          <a:xfrm>
            <a:off x="2970475" y="6162408"/>
            <a:ext cx="2499173" cy="427239"/>
          </a:xfrm>
          <a:prstGeom prst="rect">
            <a:avLst/>
          </a:prstGeom>
          <a:noFill/>
        </p:spPr>
        <p:txBody>
          <a:bodyPr wrap="square" lIns="0" tIns="0" rIns="0" bIns="0" rtlCol="0" anchor="ctr">
            <a:noAutofit/>
          </a:bodyPr>
          <a:lstStyle/>
          <a:p>
            <a:pPr algn="r"/>
            <a:r>
              <a:rPr lang="en-GB" sz="1000" dirty="0">
                <a:solidFill>
                  <a:schemeClr val="bg1"/>
                </a:solidFill>
              </a:rPr>
              <a:t>Source: TNO internal figures 2018</a:t>
            </a:r>
          </a:p>
        </p:txBody>
      </p:sp>
    </p:spTree>
    <p:extLst>
      <p:ext uri="{BB962C8B-B14F-4D97-AF65-F5344CB8AC3E}">
        <p14:creationId xmlns:p14="http://schemas.microsoft.com/office/powerpoint/2010/main" val="8081461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6" presetClass="emph" presetSubtype="0" accel="20000" decel="80000" fill="hold" grpId="0" nodeType="afterEffect">
                                  <p:stCondLst>
                                    <p:cond delay="0"/>
                                  </p:stCondLst>
                                  <p:childTnLst>
                                    <p:animScale>
                                      <p:cBhvr>
                                        <p:cTn id="10" dur="250" fill="hold"/>
                                        <p:tgtEl>
                                          <p:spTgt spid="137"/>
                                        </p:tgtEl>
                                      </p:cBhvr>
                                      <p:by x="120000" y="120000"/>
                                    </p:animScale>
                                  </p:childTnLst>
                                </p:cTn>
                              </p:par>
                              <p:par>
                                <p:cTn id="11" presetID="35" presetClass="path" presetSubtype="0" accel="20000" decel="80000" fill="hold" grpId="1" nodeType="withEffect">
                                  <p:stCondLst>
                                    <p:cond delay="0"/>
                                  </p:stCondLst>
                                  <p:childTnLst>
                                    <p:animMotion origin="layout" path="M -1.45833E-6 -4.07407E-6 L -0.02122 0.01112 " pathEditMode="relative" rAng="0" ptsTypes="AA">
                                      <p:cBhvr>
                                        <p:cTn id="12" dur="250" fill="hold"/>
                                        <p:tgtEl>
                                          <p:spTgt spid="137"/>
                                        </p:tgtEl>
                                        <p:attrNameLst>
                                          <p:attrName>ppt_x</p:attrName>
                                          <p:attrName>ppt_y</p:attrName>
                                        </p:attrNameLst>
                                      </p:cBhvr>
                                      <p:rCtr x="-1068" y="556"/>
                                    </p:animMotion>
                                  </p:childTnLst>
                                </p:cTn>
                              </p:par>
                              <p:par>
                                <p:cTn id="13" presetID="19" presetClass="emph" presetSubtype="0" fill="hold" grpId="2" nodeType="withEffect">
                                  <p:stCondLst>
                                    <p:cond delay="0"/>
                                  </p:stCondLst>
                                  <p:childTnLst>
                                    <p:animClr clrSpc="rgb" dir="cw">
                                      <p:cBhvr override="childStyle">
                                        <p:cTn id="14" dur="250" fill="hold"/>
                                        <p:tgtEl>
                                          <p:spTgt spid="137"/>
                                        </p:tgtEl>
                                        <p:attrNameLst>
                                          <p:attrName>style.color</p:attrName>
                                        </p:attrNameLst>
                                      </p:cBhvr>
                                      <p:to>
                                        <a:srgbClr val="93A800"/>
                                      </p:to>
                                    </p:animClr>
                                    <p:animClr clrSpc="rgb" dir="cw">
                                      <p:cBhvr>
                                        <p:cTn id="15" dur="250" fill="hold"/>
                                        <p:tgtEl>
                                          <p:spTgt spid="137"/>
                                        </p:tgtEl>
                                        <p:attrNameLst>
                                          <p:attrName>fillcolor</p:attrName>
                                        </p:attrNameLst>
                                      </p:cBhvr>
                                      <p:to>
                                        <a:srgbClr val="93A800"/>
                                      </p:to>
                                    </p:animClr>
                                    <p:set>
                                      <p:cBhvr>
                                        <p:cTn id="16" dur="250" fill="hold"/>
                                        <p:tgtEl>
                                          <p:spTgt spid="137"/>
                                        </p:tgtEl>
                                        <p:attrNameLst>
                                          <p:attrName>fill.type</p:attrName>
                                        </p:attrNameLst>
                                      </p:cBhvr>
                                      <p:to>
                                        <p:strVal val="solid"/>
                                      </p:to>
                                    </p:set>
                                    <p:set>
                                      <p:cBhvr>
                                        <p:cTn id="17" dur="250" fill="hold"/>
                                        <p:tgtEl>
                                          <p:spTgt spid="137"/>
                                        </p:tgtEl>
                                        <p:attrNameLst>
                                          <p:attrName>fill.on</p:attrName>
                                        </p:attrNameLst>
                                      </p:cBhvr>
                                      <p:to>
                                        <p:strVal val="true"/>
                                      </p:to>
                                    </p:set>
                                  </p:childTnLst>
                                </p:cTn>
                              </p:par>
                              <p:par>
                                <p:cTn id="18" presetID="35" presetClass="path" presetSubtype="0" accel="20000" decel="80000" fill="hold" grpId="0" nodeType="withEffect">
                                  <p:stCondLst>
                                    <p:cond delay="0"/>
                                  </p:stCondLst>
                                  <p:childTnLst>
                                    <p:animMotion origin="layout" path="M 1.45833E-6 -4.81481E-6 L -0.02904 0.0125 " pathEditMode="relative" rAng="0" ptsTypes="AA">
                                      <p:cBhvr>
                                        <p:cTn id="19" dur="250" fill="hold"/>
                                        <p:tgtEl>
                                          <p:spTgt spid="138"/>
                                        </p:tgtEl>
                                        <p:attrNameLst>
                                          <p:attrName>ppt_x</p:attrName>
                                          <p:attrName>ppt_y</p:attrName>
                                        </p:attrNameLst>
                                      </p:cBhvr>
                                      <p:rCtr x="-1458" y="625"/>
                                    </p:animMotion>
                                  </p:childTnLst>
                                </p:cTn>
                              </p:par>
                              <p:par>
                                <p:cTn id="20" presetID="10" presetClass="entr" presetSubtype="0" fill="hold" grpId="0" nodeType="withEffect">
                                  <p:stCondLst>
                                    <p:cond delay="1000"/>
                                  </p:stCondLst>
                                  <p:childTnLst>
                                    <p:set>
                                      <p:cBhvr>
                                        <p:cTn id="21" dur="1" fill="hold">
                                          <p:stCondLst>
                                            <p:cond delay="0"/>
                                          </p:stCondLst>
                                        </p:cTn>
                                        <p:tgtEl>
                                          <p:spTgt spid="132"/>
                                        </p:tgtEl>
                                        <p:attrNameLst>
                                          <p:attrName>style.visibility</p:attrName>
                                        </p:attrNameLst>
                                      </p:cBhvr>
                                      <p:to>
                                        <p:strVal val="visible"/>
                                      </p:to>
                                    </p:set>
                                    <p:animEffect transition="in" filter="fade">
                                      <p:cBhvr>
                                        <p:cTn id="22" dur="250"/>
                                        <p:tgtEl>
                                          <p:spTgt spid="132"/>
                                        </p:tgtEl>
                                      </p:cBhvr>
                                    </p:animEffect>
                                  </p:childTnLst>
                                </p:cTn>
                              </p:par>
                            </p:childTnLst>
                          </p:cTn>
                        </p:par>
                        <p:par>
                          <p:cTn id="23" fill="hold">
                            <p:stCondLst>
                              <p:cond delay="1500"/>
                            </p:stCondLst>
                            <p:childTnLst>
                              <p:par>
                                <p:cTn id="24" presetID="53" presetClass="entr" presetSubtype="16" fill="hold" grpId="0" nodeType="afterEffect">
                                  <p:stCondLst>
                                    <p:cond delay="0"/>
                                  </p:stCondLst>
                                  <p:childTnLst>
                                    <p:set>
                                      <p:cBhvr>
                                        <p:cTn id="25" dur="1" fill="hold">
                                          <p:stCondLst>
                                            <p:cond delay="0"/>
                                          </p:stCondLst>
                                        </p:cTn>
                                        <p:tgtEl>
                                          <p:spTgt spid="108"/>
                                        </p:tgtEl>
                                        <p:attrNameLst>
                                          <p:attrName>style.visibility</p:attrName>
                                        </p:attrNameLst>
                                      </p:cBhvr>
                                      <p:to>
                                        <p:strVal val="visible"/>
                                      </p:to>
                                    </p:set>
                                    <p:anim calcmode="lin" valueType="num">
                                      <p:cBhvr>
                                        <p:cTn id="26" dur="250" fill="hold"/>
                                        <p:tgtEl>
                                          <p:spTgt spid="108"/>
                                        </p:tgtEl>
                                        <p:attrNameLst>
                                          <p:attrName>ppt_w</p:attrName>
                                        </p:attrNameLst>
                                      </p:cBhvr>
                                      <p:tavLst>
                                        <p:tav tm="0">
                                          <p:val>
                                            <p:fltVal val="0"/>
                                          </p:val>
                                        </p:tav>
                                        <p:tav tm="100000">
                                          <p:val>
                                            <p:strVal val="#ppt_w"/>
                                          </p:val>
                                        </p:tav>
                                      </p:tavLst>
                                    </p:anim>
                                    <p:anim calcmode="lin" valueType="num">
                                      <p:cBhvr>
                                        <p:cTn id="27" dur="250" fill="hold"/>
                                        <p:tgtEl>
                                          <p:spTgt spid="108"/>
                                        </p:tgtEl>
                                        <p:attrNameLst>
                                          <p:attrName>ppt_h</p:attrName>
                                        </p:attrNameLst>
                                      </p:cBhvr>
                                      <p:tavLst>
                                        <p:tav tm="0">
                                          <p:val>
                                            <p:fltVal val="0"/>
                                          </p:val>
                                        </p:tav>
                                        <p:tav tm="100000">
                                          <p:val>
                                            <p:strVal val="#ppt_h"/>
                                          </p:val>
                                        </p:tav>
                                      </p:tavLst>
                                    </p:anim>
                                    <p:animEffect transition="in" filter="fade">
                                      <p:cBhvr>
                                        <p:cTn id="28" dur="250"/>
                                        <p:tgtEl>
                                          <p:spTgt spid="108"/>
                                        </p:tgtEl>
                                      </p:cBhvr>
                                    </p:animEffect>
                                  </p:childTnLst>
                                </p:cTn>
                              </p:par>
                            </p:childTnLst>
                          </p:cTn>
                        </p:par>
                        <p:par>
                          <p:cTn id="29" fill="hold">
                            <p:stCondLst>
                              <p:cond delay="1750"/>
                            </p:stCondLst>
                            <p:childTnLst>
                              <p:par>
                                <p:cTn id="30" presetID="10" presetClass="entr" presetSubtype="0" fill="hold" grpId="0" nodeType="afterEffect">
                                  <p:stCondLst>
                                    <p:cond delay="0"/>
                                  </p:stCondLst>
                                  <p:childTnLst>
                                    <p:set>
                                      <p:cBhvr>
                                        <p:cTn id="31" dur="1" fill="hold">
                                          <p:stCondLst>
                                            <p:cond delay="0"/>
                                          </p:stCondLst>
                                        </p:cTn>
                                        <p:tgtEl>
                                          <p:spTgt spid="114"/>
                                        </p:tgtEl>
                                        <p:attrNameLst>
                                          <p:attrName>style.visibility</p:attrName>
                                        </p:attrNameLst>
                                      </p:cBhvr>
                                      <p:to>
                                        <p:strVal val="visible"/>
                                      </p:to>
                                    </p:set>
                                    <p:animEffect transition="in" filter="fade">
                                      <p:cBhvr>
                                        <p:cTn id="32" dur="250"/>
                                        <p:tgtEl>
                                          <p:spTgt spid="11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13"/>
                                        </p:tgtEl>
                                        <p:attrNameLst>
                                          <p:attrName>style.visibility</p:attrName>
                                        </p:attrNameLst>
                                      </p:cBhvr>
                                      <p:to>
                                        <p:strVal val="visible"/>
                                      </p:to>
                                    </p:set>
                                    <p:animEffect transition="in" filter="fade">
                                      <p:cBhvr>
                                        <p:cTn id="35" dur="250"/>
                                        <p:tgtEl>
                                          <p:spTgt spid="113"/>
                                        </p:tgtEl>
                                      </p:cBhvr>
                                    </p:animEffect>
                                  </p:childTnLst>
                                </p:cTn>
                              </p:par>
                              <p:par>
                                <p:cTn id="36" presetID="16" presetClass="entr" presetSubtype="21" fill="hold" nodeType="withEffect">
                                  <p:stCondLst>
                                    <p:cond delay="0"/>
                                  </p:stCondLst>
                                  <p:childTnLst>
                                    <p:set>
                                      <p:cBhvr>
                                        <p:cTn id="37" dur="1" fill="hold">
                                          <p:stCondLst>
                                            <p:cond delay="0"/>
                                          </p:stCondLst>
                                        </p:cTn>
                                        <p:tgtEl>
                                          <p:spTgt spid="3"/>
                                        </p:tgtEl>
                                        <p:attrNameLst>
                                          <p:attrName>style.visibility</p:attrName>
                                        </p:attrNameLst>
                                      </p:cBhvr>
                                      <p:to>
                                        <p:strVal val="visible"/>
                                      </p:to>
                                    </p:set>
                                    <p:animEffect transition="in" filter="barn(inVertical)">
                                      <p:cBhvr>
                                        <p:cTn id="38" dur="250"/>
                                        <p:tgtEl>
                                          <p:spTgt spid="3"/>
                                        </p:tgtEl>
                                      </p:cBhvr>
                                    </p:animEffect>
                                  </p:childTnLst>
                                </p:cTn>
                              </p:par>
                            </p:childTnLst>
                          </p:cTn>
                        </p:par>
                        <p:par>
                          <p:cTn id="39" fill="hold">
                            <p:stCondLst>
                              <p:cond delay="2000"/>
                            </p:stCondLst>
                            <p:childTnLst>
                              <p:par>
                                <p:cTn id="40" presetID="10" presetClass="entr" presetSubtype="0" fill="hold" grpId="0" nodeType="afterEffect">
                                  <p:stCondLst>
                                    <p:cond delay="0"/>
                                  </p:stCondLst>
                                  <p:childTnLst>
                                    <p:set>
                                      <p:cBhvr>
                                        <p:cTn id="41" dur="1" fill="hold">
                                          <p:stCondLst>
                                            <p:cond delay="0"/>
                                          </p:stCondLst>
                                        </p:cTn>
                                        <p:tgtEl>
                                          <p:spTgt spid="116"/>
                                        </p:tgtEl>
                                        <p:attrNameLst>
                                          <p:attrName>style.visibility</p:attrName>
                                        </p:attrNameLst>
                                      </p:cBhvr>
                                      <p:to>
                                        <p:strVal val="visible"/>
                                      </p:to>
                                    </p:set>
                                    <p:animEffect transition="in" filter="fade">
                                      <p:cBhvr>
                                        <p:cTn id="42" dur="250"/>
                                        <p:tgtEl>
                                          <p:spTgt spid="116"/>
                                        </p:tgtEl>
                                      </p:cBhvr>
                                    </p:animEffect>
                                  </p:childTnLst>
                                </p:cTn>
                              </p:par>
                            </p:childTnLst>
                          </p:cTn>
                        </p:par>
                        <p:par>
                          <p:cTn id="43" fill="hold">
                            <p:stCondLst>
                              <p:cond delay="2250"/>
                            </p:stCondLst>
                            <p:childTnLst>
                              <p:par>
                                <p:cTn id="44" presetID="10" presetClass="entr" presetSubtype="0" fill="hold" grpId="0" nodeType="afterEffect">
                                  <p:stCondLst>
                                    <p:cond delay="0"/>
                                  </p:stCondLst>
                                  <p:childTnLst>
                                    <p:set>
                                      <p:cBhvr>
                                        <p:cTn id="45" dur="1" fill="hold">
                                          <p:stCondLst>
                                            <p:cond delay="0"/>
                                          </p:stCondLst>
                                        </p:cTn>
                                        <p:tgtEl>
                                          <p:spTgt spid="123"/>
                                        </p:tgtEl>
                                        <p:attrNameLst>
                                          <p:attrName>style.visibility</p:attrName>
                                        </p:attrNameLst>
                                      </p:cBhvr>
                                      <p:to>
                                        <p:strVal val="visible"/>
                                      </p:to>
                                    </p:set>
                                    <p:animEffect transition="in" filter="fade">
                                      <p:cBhvr>
                                        <p:cTn id="46" dur="250"/>
                                        <p:tgtEl>
                                          <p:spTgt spid="123"/>
                                        </p:tgtEl>
                                      </p:cBhvr>
                                    </p:animEffect>
                                  </p:childTnLst>
                                </p:cTn>
                              </p:par>
                              <p:par>
                                <p:cTn id="47" presetID="16" presetClass="entr" presetSubtype="21" fill="hold" grpId="0" nodeType="withEffect">
                                  <p:stCondLst>
                                    <p:cond delay="0"/>
                                  </p:stCondLst>
                                  <p:childTnLst>
                                    <p:set>
                                      <p:cBhvr>
                                        <p:cTn id="48" dur="1" fill="hold">
                                          <p:stCondLst>
                                            <p:cond delay="0"/>
                                          </p:stCondLst>
                                        </p:cTn>
                                        <p:tgtEl>
                                          <p:spTgt spid="121"/>
                                        </p:tgtEl>
                                        <p:attrNameLst>
                                          <p:attrName>style.visibility</p:attrName>
                                        </p:attrNameLst>
                                      </p:cBhvr>
                                      <p:to>
                                        <p:strVal val="visible"/>
                                      </p:to>
                                    </p:set>
                                    <p:animEffect transition="in" filter="barn(inVertical)">
                                      <p:cBhvr>
                                        <p:cTn id="49" dur="250"/>
                                        <p:tgtEl>
                                          <p:spTgt spid="121"/>
                                        </p:tgtEl>
                                      </p:cBhvr>
                                    </p:animEffect>
                                  </p:childTnLst>
                                </p:cTn>
                              </p:par>
                            </p:childTnLst>
                          </p:cTn>
                        </p:par>
                        <p:par>
                          <p:cTn id="50" fill="hold">
                            <p:stCondLst>
                              <p:cond delay="2500"/>
                            </p:stCondLst>
                            <p:childTnLst>
                              <p:par>
                                <p:cTn id="51" presetID="14" presetClass="entr" presetSubtype="10" fill="hold" nodeType="afterEffect">
                                  <p:stCondLst>
                                    <p:cond delay="0"/>
                                  </p:stCondLst>
                                  <p:childTnLst>
                                    <p:set>
                                      <p:cBhvr>
                                        <p:cTn id="52" dur="1" fill="hold">
                                          <p:stCondLst>
                                            <p:cond delay="0"/>
                                          </p:stCondLst>
                                        </p:cTn>
                                        <p:tgtEl>
                                          <p:spTgt spid="5"/>
                                        </p:tgtEl>
                                        <p:attrNameLst>
                                          <p:attrName>style.visibility</p:attrName>
                                        </p:attrNameLst>
                                      </p:cBhvr>
                                      <p:to>
                                        <p:strVal val="visible"/>
                                      </p:to>
                                    </p:set>
                                    <p:animEffect transition="in" filter="randombar(horizontal)">
                                      <p:cBhvr>
                                        <p:cTn id="53" dur="250"/>
                                        <p:tgtEl>
                                          <p:spTgt spid="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72"/>
                                        </p:tgtEl>
                                        <p:attrNameLst>
                                          <p:attrName>style.visibility</p:attrName>
                                        </p:attrNameLst>
                                      </p:cBhvr>
                                      <p:to>
                                        <p:strVal val="visible"/>
                                      </p:to>
                                    </p:set>
                                    <p:animEffect transition="in" filter="fade">
                                      <p:cBhvr>
                                        <p:cTn id="56" dur="250"/>
                                        <p:tgtEl>
                                          <p:spTgt spid="172"/>
                                        </p:tgtEl>
                                      </p:cBhvr>
                                    </p:animEffect>
                                  </p:childTnLst>
                                </p:cTn>
                              </p:par>
                            </p:childTnLst>
                          </p:cTn>
                        </p:par>
                        <p:par>
                          <p:cTn id="57" fill="hold">
                            <p:stCondLst>
                              <p:cond delay="2750"/>
                            </p:stCondLst>
                            <p:childTnLst>
                              <p:par>
                                <p:cTn id="58" presetID="1" presetClass="entr" presetSubtype="0" fill="hold" grpId="0" nodeType="afterEffect">
                                  <p:stCondLst>
                                    <p:cond delay="0"/>
                                  </p:stCondLst>
                                  <p:childTnLst>
                                    <p:set>
                                      <p:cBhvr>
                                        <p:cTn id="59" dur="1" fill="hold">
                                          <p:stCondLst>
                                            <p:cond delay="249"/>
                                          </p:stCondLst>
                                        </p:cTn>
                                        <p:tgtEl>
                                          <p:spTgt spid="179"/>
                                        </p:tgtEl>
                                        <p:attrNameLst>
                                          <p:attrName>style.visibility</p:attrName>
                                        </p:attrNameLst>
                                      </p:cBhvr>
                                      <p:to>
                                        <p:strVal val="visible"/>
                                      </p:to>
                                    </p:set>
                                  </p:childTnLst>
                                </p:cTn>
                              </p:par>
                            </p:childTnLst>
                          </p:cTn>
                        </p:par>
                        <p:par>
                          <p:cTn id="60" fill="hold">
                            <p:stCondLst>
                              <p:cond delay="3000"/>
                            </p:stCondLst>
                            <p:childTnLst>
                              <p:par>
                                <p:cTn id="61" presetID="22" presetClass="entr" presetSubtype="4" fill="hold" grpId="0" nodeType="afterEffect">
                                  <p:stCondLst>
                                    <p:cond delay="0"/>
                                  </p:stCondLst>
                                  <p:childTnLst>
                                    <p:set>
                                      <p:cBhvr>
                                        <p:cTn id="62" dur="1" fill="hold">
                                          <p:stCondLst>
                                            <p:cond delay="0"/>
                                          </p:stCondLst>
                                        </p:cTn>
                                        <p:tgtEl>
                                          <p:spTgt spid="177"/>
                                        </p:tgtEl>
                                        <p:attrNameLst>
                                          <p:attrName>style.visibility</p:attrName>
                                        </p:attrNameLst>
                                      </p:cBhvr>
                                      <p:to>
                                        <p:strVal val="visible"/>
                                      </p:to>
                                    </p:set>
                                    <p:animEffect transition="in" filter="wipe(down)">
                                      <p:cBhvr>
                                        <p:cTn id="63" dur="250"/>
                                        <p:tgtEl>
                                          <p:spTgt spid="177"/>
                                        </p:tgtEl>
                                      </p:cBhvr>
                                    </p:animEffect>
                                  </p:childTnLst>
                                </p:cTn>
                              </p:par>
                            </p:childTnLst>
                          </p:cTn>
                        </p:par>
                        <p:par>
                          <p:cTn id="64" fill="hold">
                            <p:stCondLst>
                              <p:cond delay="3250"/>
                            </p:stCondLst>
                            <p:childTnLst>
                              <p:par>
                                <p:cTn id="65" presetID="53" presetClass="entr" presetSubtype="16" fill="hold" nodeType="afterEffect">
                                  <p:stCondLst>
                                    <p:cond delay="0"/>
                                  </p:stCondLst>
                                  <p:childTnLst>
                                    <p:set>
                                      <p:cBhvr>
                                        <p:cTn id="66" dur="1" fill="hold">
                                          <p:stCondLst>
                                            <p:cond delay="0"/>
                                          </p:stCondLst>
                                        </p:cTn>
                                        <p:tgtEl>
                                          <p:spTgt spid="173"/>
                                        </p:tgtEl>
                                        <p:attrNameLst>
                                          <p:attrName>style.visibility</p:attrName>
                                        </p:attrNameLst>
                                      </p:cBhvr>
                                      <p:to>
                                        <p:strVal val="visible"/>
                                      </p:to>
                                    </p:set>
                                    <p:anim calcmode="lin" valueType="num">
                                      <p:cBhvr>
                                        <p:cTn id="67" dur="250" fill="hold"/>
                                        <p:tgtEl>
                                          <p:spTgt spid="173"/>
                                        </p:tgtEl>
                                        <p:attrNameLst>
                                          <p:attrName>ppt_w</p:attrName>
                                        </p:attrNameLst>
                                      </p:cBhvr>
                                      <p:tavLst>
                                        <p:tav tm="0">
                                          <p:val>
                                            <p:fltVal val="0"/>
                                          </p:val>
                                        </p:tav>
                                        <p:tav tm="100000">
                                          <p:val>
                                            <p:strVal val="#ppt_w"/>
                                          </p:val>
                                        </p:tav>
                                      </p:tavLst>
                                    </p:anim>
                                    <p:anim calcmode="lin" valueType="num">
                                      <p:cBhvr>
                                        <p:cTn id="68" dur="250" fill="hold"/>
                                        <p:tgtEl>
                                          <p:spTgt spid="173"/>
                                        </p:tgtEl>
                                        <p:attrNameLst>
                                          <p:attrName>ppt_h</p:attrName>
                                        </p:attrNameLst>
                                      </p:cBhvr>
                                      <p:tavLst>
                                        <p:tav tm="0">
                                          <p:val>
                                            <p:fltVal val="0"/>
                                          </p:val>
                                        </p:tav>
                                        <p:tav tm="100000">
                                          <p:val>
                                            <p:strVal val="#ppt_h"/>
                                          </p:val>
                                        </p:tav>
                                      </p:tavLst>
                                    </p:anim>
                                    <p:animEffect transition="in" filter="fade">
                                      <p:cBhvr>
                                        <p:cTn id="69" dur="250"/>
                                        <p:tgtEl>
                                          <p:spTgt spid="173"/>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80"/>
                                        </p:tgtEl>
                                        <p:attrNameLst>
                                          <p:attrName>style.visibility</p:attrName>
                                        </p:attrNameLst>
                                      </p:cBhvr>
                                      <p:to>
                                        <p:strVal val="visible"/>
                                      </p:to>
                                    </p:set>
                                    <p:animEffect transition="in" filter="fade">
                                      <p:cBhvr>
                                        <p:cTn id="72" dur="250"/>
                                        <p:tgtEl>
                                          <p:spTgt spid="180"/>
                                        </p:tgtEl>
                                      </p:cBhvr>
                                    </p:animEffect>
                                  </p:childTnLst>
                                </p:cTn>
                              </p:par>
                            </p:childTnLst>
                          </p:cTn>
                        </p:par>
                        <p:par>
                          <p:cTn id="73" fill="hold">
                            <p:stCondLst>
                              <p:cond delay="3500"/>
                            </p:stCondLst>
                            <p:childTnLst>
                              <p:par>
                                <p:cTn id="74" presetID="6" presetClass="entr" presetSubtype="16" fill="hold" grpId="0" nodeType="afterEffect">
                                  <p:stCondLst>
                                    <p:cond delay="0"/>
                                  </p:stCondLst>
                                  <p:childTnLst>
                                    <p:set>
                                      <p:cBhvr>
                                        <p:cTn id="75" dur="1" fill="hold">
                                          <p:stCondLst>
                                            <p:cond delay="0"/>
                                          </p:stCondLst>
                                        </p:cTn>
                                        <p:tgtEl>
                                          <p:spTgt spid="215"/>
                                        </p:tgtEl>
                                        <p:attrNameLst>
                                          <p:attrName>style.visibility</p:attrName>
                                        </p:attrNameLst>
                                      </p:cBhvr>
                                      <p:to>
                                        <p:strVal val="visible"/>
                                      </p:to>
                                    </p:set>
                                    <p:animEffect transition="in" filter="circle(in)">
                                      <p:cBhvr>
                                        <p:cTn id="76" dur="250"/>
                                        <p:tgtEl>
                                          <p:spTgt spid="215"/>
                                        </p:tgtEl>
                                      </p:cBhvr>
                                    </p:animEffect>
                                  </p:childTnLst>
                                </p:cTn>
                              </p:par>
                            </p:childTnLst>
                          </p:cTn>
                        </p:par>
                        <p:par>
                          <p:cTn id="77" fill="hold">
                            <p:stCondLst>
                              <p:cond delay="3750"/>
                            </p:stCondLst>
                            <p:childTnLst>
                              <p:par>
                                <p:cTn id="78" presetID="22" presetClass="entr" presetSubtype="4" fill="hold" grpId="0" nodeType="afterEffect">
                                  <p:stCondLst>
                                    <p:cond delay="0"/>
                                  </p:stCondLst>
                                  <p:childTnLst>
                                    <p:set>
                                      <p:cBhvr>
                                        <p:cTn id="79" dur="1" fill="hold">
                                          <p:stCondLst>
                                            <p:cond delay="0"/>
                                          </p:stCondLst>
                                        </p:cTn>
                                        <p:tgtEl>
                                          <p:spTgt spid="214"/>
                                        </p:tgtEl>
                                        <p:attrNameLst>
                                          <p:attrName>style.visibility</p:attrName>
                                        </p:attrNameLst>
                                      </p:cBhvr>
                                      <p:to>
                                        <p:strVal val="visible"/>
                                      </p:to>
                                    </p:set>
                                    <p:animEffect transition="in" filter="wipe(down)">
                                      <p:cBhvr>
                                        <p:cTn id="80" dur="250"/>
                                        <p:tgtEl>
                                          <p:spTgt spid="214"/>
                                        </p:tgtEl>
                                      </p:cBhvr>
                                    </p:animEffect>
                                  </p:childTnLst>
                                </p:cTn>
                              </p:par>
                            </p:childTnLst>
                          </p:cTn>
                        </p:par>
                        <p:par>
                          <p:cTn id="81" fill="hold">
                            <p:stCondLst>
                              <p:cond delay="4000"/>
                            </p:stCondLst>
                            <p:childTnLst>
                              <p:par>
                                <p:cTn id="82" presetID="21" presetClass="entr" presetSubtype="1" fill="hold" nodeType="afterEffect">
                                  <p:stCondLst>
                                    <p:cond delay="0"/>
                                  </p:stCondLst>
                                  <p:childTnLst>
                                    <p:set>
                                      <p:cBhvr>
                                        <p:cTn id="83" dur="1" fill="hold">
                                          <p:stCondLst>
                                            <p:cond delay="0"/>
                                          </p:stCondLst>
                                        </p:cTn>
                                        <p:tgtEl>
                                          <p:spTgt spid="183"/>
                                        </p:tgtEl>
                                        <p:attrNameLst>
                                          <p:attrName>style.visibility</p:attrName>
                                        </p:attrNameLst>
                                      </p:cBhvr>
                                      <p:to>
                                        <p:strVal val="visible"/>
                                      </p:to>
                                    </p:set>
                                    <p:animEffect transition="in" filter="wheel(1)">
                                      <p:cBhvr>
                                        <p:cTn id="84" dur="250"/>
                                        <p:tgtEl>
                                          <p:spTgt spid="183"/>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89"/>
                                        </p:tgtEl>
                                        <p:attrNameLst>
                                          <p:attrName>style.visibility</p:attrName>
                                        </p:attrNameLst>
                                      </p:cBhvr>
                                      <p:to>
                                        <p:strVal val="visible"/>
                                      </p:to>
                                    </p:set>
                                    <p:animEffect transition="in" filter="fade">
                                      <p:cBhvr>
                                        <p:cTn id="87" dur="250"/>
                                        <p:tgtEl>
                                          <p:spTgt spid="189"/>
                                        </p:tgtEl>
                                      </p:cBhvr>
                                    </p:animEffect>
                                  </p:childTnLst>
                                </p:cTn>
                              </p:par>
                            </p:childTnLst>
                          </p:cTn>
                        </p:par>
                        <p:par>
                          <p:cTn id="88" fill="hold">
                            <p:stCondLst>
                              <p:cond delay="4250"/>
                            </p:stCondLst>
                            <p:childTnLst>
                              <p:par>
                                <p:cTn id="89" presetID="16" presetClass="entr" presetSubtype="21" fill="hold" grpId="0" nodeType="afterEffect">
                                  <p:stCondLst>
                                    <p:cond delay="0"/>
                                  </p:stCondLst>
                                  <p:childTnLst>
                                    <p:set>
                                      <p:cBhvr>
                                        <p:cTn id="90" dur="1" fill="hold">
                                          <p:stCondLst>
                                            <p:cond delay="0"/>
                                          </p:stCondLst>
                                        </p:cTn>
                                        <p:tgtEl>
                                          <p:spTgt spid="219"/>
                                        </p:tgtEl>
                                        <p:attrNameLst>
                                          <p:attrName>style.visibility</p:attrName>
                                        </p:attrNameLst>
                                      </p:cBhvr>
                                      <p:to>
                                        <p:strVal val="visible"/>
                                      </p:to>
                                    </p:set>
                                    <p:animEffect transition="in" filter="barn(inVertical)">
                                      <p:cBhvr>
                                        <p:cTn id="91" dur="250"/>
                                        <p:tgtEl>
                                          <p:spTgt spid="219"/>
                                        </p:tgtEl>
                                      </p:cBhvr>
                                    </p:animEffect>
                                  </p:childTnLst>
                                </p:cTn>
                              </p:par>
                              <p:par>
                                <p:cTn id="92" presetID="14" presetClass="entr" presetSubtype="10" fill="hold" grpId="0" nodeType="withEffect">
                                  <p:stCondLst>
                                    <p:cond delay="0"/>
                                  </p:stCondLst>
                                  <p:childTnLst>
                                    <p:set>
                                      <p:cBhvr>
                                        <p:cTn id="93" dur="1" fill="hold">
                                          <p:stCondLst>
                                            <p:cond delay="0"/>
                                          </p:stCondLst>
                                        </p:cTn>
                                        <p:tgtEl>
                                          <p:spTgt spid="218"/>
                                        </p:tgtEl>
                                        <p:attrNameLst>
                                          <p:attrName>style.visibility</p:attrName>
                                        </p:attrNameLst>
                                      </p:cBhvr>
                                      <p:to>
                                        <p:strVal val="visible"/>
                                      </p:to>
                                    </p:set>
                                    <p:animEffect transition="in" filter="randombar(horizontal)">
                                      <p:cBhvr>
                                        <p:cTn id="94" dur="250"/>
                                        <p:tgtEl>
                                          <p:spTgt spid="218"/>
                                        </p:tgtEl>
                                      </p:cBhvr>
                                    </p:animEffect>
                                  </p:childTnLst>
                                </p:cTn>
                              </p:par>
                            </p:childTnLst>
                          </p:cTn>
                        </p:par>
                        <p:par>
                          <p:cTn id="95" fill="hold">
                            <p:stCondLst>
                              <p:cond delay="4500"/>
                            </p:stCondLst>
                            <p:childTnLst>
                              <p:par>
                                <p:cTn id="96" presetID="53" presetClass="entr" presetSubtype="16" fill="hold" nodeType="afterEffect">
                                  <p:stCondLst>
                                    <p:cond delay="0"/>
                                  </p:stCondLst>
                                  <p:childTnLst>
                                    <p:set>
                                      <p:cBhvr>
                                        <p:cTn id="97" dur="1" fill="hold">
                                          <p:stCondLst>
                                            <p:cond delay="0"/>
                                          </p:stCondLst>
                                        </p:cTn>
                                        <p:tgtEl>
                                          <p:spTgt spid="9"/>
                                        </p:tgtEl>
                                        <p:attrNameLst>
                                          <p:attrName>style.visibility</p:attrName>
                                        </p:attrNameLst>
                                      </p:cBhvr>
                                      <p:to>
                                        <p:strVal val="visible"/>
                                      </p:to>
                                    </p:set>
                                    <p:anim calcmode="lin" valueType="num">
                                      <p:cBhvr>
                                        <p:cTn id="98" dur="250" fill="hold"/>
                                        <p:tgtEl>
                                          <p:spTgt spid="9"/>
                                        </p:tgtEl>
                                        <p:attrNameLst>
                                          <p:attrName>ppt_w</p:attrName>
                                        </p:attrNameLst>
                                      </p:cBhvr>
                                      <p:tavLst>
                                        <p:tav tm="0">
                                          <p:val>
                                            <p:fltVal val="0"/>
                                          </p:val>
                                        </p:tav>
                                        <p:tav tm="100000">
                                          <p:val>
                                            <p:strVal val="#ppt_w"/>
                                          </p:val>
                                        </p:tav>
                                      </p:tavLst>
                                    </p:anim>
                                    <p:anim calcmode="lin" valueType="num">
                                      <p:cBhvr>
                                        <p:cTn id="99" dur="250" fill="hold"/>
                                        <p:tgtEl>
                                          <p:spTgt spid="9"/>
                                        </p:tgtEl>
                                        <p:attrNameLst>
                                          <p:attrName>ppt_h</p:attrName>
                                        </p:attrNameLst>
                                      </p:cBhvr>
                                      <p:tavLst>
                                        <p:tav tm="0">
                                          <p:val>
                                            <p:fltVal val="0"/>
                                          </p:val>
                                        </p:tav>
                                        <p:tav tm="100000">
                                          <p:val>
                                            <p:strVal val="#ppt_h"/>
                                          </p:val>
                                        </p:tav>
                                      </p:tavLst>
                                    </p:anim>
                                    <p:animEffect transition="in" filter="fade">
                                      <p:cBhvr>
                                        <p:cTn id="100" dur="250"/>
                                        <p:tgtEl>
                                          <p:spTgt spid="9"/>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207"/>
                                        </p:tgtEl>
                                        <p:attrNameLst>
                                          <p:attrName>style.visibility</p:attrName>
                                        </p:attrNameLst>
                                      </p:cBhvr>
                                      <p:to>
                                        <p:strVal val="visible"/>
                                      </p:to>
                                    </p:set>
                                    <p:animEffect transition="in" filter="fade">
                                      <p:cBhvr>
                                        <p:cTn id="103" dur="250"/>
                                        <p:tgtEl>
                                          <p:spTgt spid="207"/>
                                        </p:tgtEl>
                                      </p:cBhvr>
                                    </p:animEffect>
                                  </p:childTnLst>
                                </p:cTn>
                              </p:par>
                              <p:par>
                                <p:cTn id="104" presetID="22" presetClass="entr" presetSubtype="4" fill="hold" grpId="0" nodeType="withEffect">
                                  <p:stCondLst>
                                    <p:cond delay="0"/>
                                  </p:stCondLst>
                                  <p:childTnLst>
                                    <p:set>
                                      <p:cBhvr>
                                        <p:cTn id="105" dur="1" fill="hold">
                                          <p:stCondLst>
                                            <p:cond delay="0"/>
                                          </p:stCondLst>
                                        </p:cTn>
                                        <p:tgtEl>
                                          <p:spTgt spid="221"/>
                                        </p:tgtEl>
                                        <p:attrNameLst>
                                          <p:attrName>style.visibility</p:attrName>
                                        </p:attrNameLst>
                                      </p:cBhvr>
                                      <p:to>
                                        <p:strVal val="visible"/>
                                      </p:to>
                                    </p:set>
                                    <p:animEffect transition="in" filter="wipe(down)">
                                      <p:cBhvr>
                                        <p:cTn id="106" dur="250"/>
                                        <p:tgtEl>
                                          <p:spTgt spid="221"/>
                                        </p:tgtEl>
                                      </p:cBhvr>
                                    </p:animEffect>
                                  </p:childTnLst>
                                </p:cTn>
                              </p:par>
                              <p:par>
                                <p:cTn id="107" presetID="22" presetClass="entr" presetSubtype="4" fill="hold" grpId="0" nodeType="withEffect">
                                  <p:stCondLst>
                                    <p:cond delay="0"/>
                                  </p:stCondLst>
                                  <p:childTnLst>
                                    <p:set>
                                      <p:cBhvr>
                                        <p:cTn id="108" dur="1" fill="hold">
                                          <p:stCondLst>
                                            <p:cond delay="0"/>
                                          </p:stCondLst>
                                        </p:cTn>
                                        <p:tgtEl>
                                          <p:spTgt spid="222"/>
                                        </p:tgtEl>
                                        <p:attrNameLst>
                                          <p:attrName>style.visibility</p:attrName>
                                        </p:attrNameLst>
                                      </p:cBhvr>
                                      <p:to>
                                        <p:strVal val="visible"/>
                                      </p:to>
                                    </p:set>
                                    <p:animEffect transition="in" filter="wipe(down)">
                                      <p:cBhvr>
                                        <p:cTn id="109" dur="250"/>
                                        <p:tgtEl>
                                          <p:spTgt spid="222"/>
                                        </p:tgtEl>
                                      </p:cBhvr>
                                    </p:animEffect>
                                  </p:childTnLst>
                                </p:cTn>
                              </p:par>
                            </p:childTnLst>
                          </p:cTn>
                        </p:par>
                        <p:par>
                          <p:cTn id="110" fill="hold">
                            <p:stCondLst>
                              <p:cond delay="4750"/>
                            </p:stCondLst>
                            <p:childTnLst>
                              <p:par>
                                <p:cTn id="111" presetID="22" presetClass="entr" presetSubtype="4" fill="hold" grpId="0" nodeType="afterEffect">
                                  <p:stCondLst>
                                    <p:cond delay="0"/>
                                  </p:stCondLst>
                                  <p:childTnLst>
                                    <p:set>
                                      <p:cBhvr>
                                        <p:cTn id="112" dur="1" fill="hold">
                                          <p:stCondLst>
                                            <p:cond delay="0"/>
                                          </p:stCondLst>
                                        </p:cTn>
                                        <p:tgtEl>
                                          <p:spTgt spid="220"/>
                                        </p:tgtEl>
                                        <p:attrNameLst>
                                          <p:attrName>style.visibility</p:attrName>
                                        </p:attrNameLst>
                                      </p:cBhvr>
                                      <p:to>
                                        <p:strVal val="visible"/>
                                      </p:to>
                                    </p:set>
                                    <p:animEffect transition="in" filter="wipe(down)">
                                      <p:cBhvr>
                                        <p:cTn id="113" dur="250"/>
                                        <p:tgtEl>
                                          <p:spTgt spid="220"/>
                                        </p:tgtEl>
                                      </p:cBhvr>
                                    </p:animEffect>
                                  </p:childTnLst>
                                </p:cTn>
                              </p:par>
                            </p:childTnLst>
                          </p:cTn>
                        </p:par>
                        <p:par>
                          <p:cTn id="114" fill="hold">
                            <p:stCondLst>
                              <p:cond delay="5000"/>
                            </p:stCondLst>
                            <p:childTnLst>
                              <p:par>
                                <p:cTn id="115" presetID="10" presetClass="entr" presetSubtype="0" fill="hold" nodeType="afterEffect">
                                  <p:stCondLst>
                                    <p:cond delay="0"/>
                                  </p:stCondLst>
                                  <p:childTnLst>
                                    <p:set>
                                      <p:cBhvr>
                                        <p:cTn id="116" dur="1" fill="hold">
                                          <p:stCondLst>
                                            <p:cond delay="0"/>
                                          </p:stCondLst>
                                        </p:cTn>
                                        <p:tgtEl>
                                          <p:spTgt spid="29"/>
                                        </p:tgtEl>
                                        <p:attrNameLst>
                                          <p:attrName>style.visibility</p:attrName>
                                        </p:attrNameLst>
                                      </p:cBhvr>
                                      <p:to>
                                        <p:strVal val="visible"/>
                                      </p:to>
                                    </p:set>
                                    <p:animEffect transition="in" filter="fade">
                                      <p:cBhvr>
                                        <p:cTn id="117" dur="250"/>
                                        <p:tgtEl>
                                          <p:spTgt spid="29"/>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279"/>
                                        </p:tgtEl>
                                        <p:attrNameLst>
                                          <p:attrName>style.visibility</p:attrName>
                                        </p:attrNameLst>
                                      </p:cBhvr>
                                      <p:to>
                                        <p:strVal val="visible"/>
                                      </p:to>
                                    </p:set>
                                    <p:animEffect transition="in" filter="fade">
                                      <p:cBhvr>
                                        <p:cTn id="120" dur="250"/>
                                        <p:tgtEl>
                                          <p:spTgt spid="2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72" grpId="0" animBg="1"/>
      <p:bldP spid="177" grpId="0"/>
      <p:bldP spid="179" grpId="0"/>
      <p:bldP spid="180" grpId="0" animBg="1"/>
      <p:bldP spid="189" grpId="0" animBg="1"/>
      <p:bldP spid="207" grpId="0" animBg="1"/>
      <p:bldP spid="214" grpId="0"/>
      <p:bldP spid="215" grpId="0"/>
      <p:bldP spid="218" grpId="0"/>
      <p:bldP spid="219" grpId="0"/>
      <p:bldP spid="220" grpId="0"/>
      <p:bldP spid="221" grpId="0"/>
      <p:bldP spid="222" grpId="0"/>
      <p:bldP spid="108" grpId="0" animBg="1"/>
      <p:bldP spid="113" grpId="0"/>
      <p:bldP spid="114" grpId="0"/>
      <p:bldP spid="116" grpId="0" animBg="1"/>
      <p:bldP spid="121" grpId="0"/>
      <p:bldP spid="123" grpId="0"/>
      <p:bldP spid="132" grpId="0" animBg="1"/>
      <p:bldP spid="137" grpId="0" animBg="1"/>
      <p:bldP spid="137" grpId="1" animBg="1"/>
      <p:bldP spid="137" grpId="2" animBg="1"/>
      <p:bldP spid="138" grpId="0"/>
      <p:bldP spid="27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57" name="Cirkel_midden_GROOT">
            <a:extLst>
              <a:ext uri="{FF2B5EF4-FFF2-40B4-BE49-F238E27FC236}">
                <a16:creationId xmlns:a16="http://schemas.microsoft.com/office/drawing/2014/main" id="{8C37622F-62FE-493B-81C2-8EB7489C34C5}"/>
              </a:ext>
            </a:extLst>
          </p:cNvPr>
          <p:cNvSpPr/>
          <p:nvPr/>
        </p:nvSpPr>
        <p:spPr>
          <a:xfrm>
            <a:off x="4340446" y="1868569"/>
            <a:ext cx="3485445" cy="3485444"/>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gradFill flip="none" rotWithShape="1">
            <a:gsLst>
              <a:gs pos="1000">
                <a:srgbClr val="0A2B72">
                  <a:alpha val="95000"/>
                </a:srgbClr>
              </a:gs>
              <a:gs pos="99000">
                <a:srgbClr val="1563A3">
                  <a:alpha val="95000"/>
                </a:srgbClr>
              </a:gs>
            </a:gsLst>
            <a:lin ang="16200000" scaled="1"/>
            <a:tileRect/>
          </a:gradFill>
          <a:ln w="74843" cap="flat">
            <a:solidFill>
              <a:srgbClr val="FFFFFF">
                <a:alpha val="15000"/>
              </a:srgbClr>
            </a:solidFill>
            <a:prstDash val="solid"/>
            <a:miter/>
          </a:ln>
        </p:spPr>
        <p:txBody>
          <a:bodyPr rtlCol="0" anchor="ctr"/>
          <a:lstStyle/>
          <a:p>
            <a:endParaRPr lang="en-GB"/>
          </a:p>
        </p:txBody>
      </p:sp>
      <p:sp>
        <p:nvSpPr>
          <p:cNvPr id="20023" name="TEKST2">
            <a:extLst>
              <a:ext uri="{FF2B5EF4-FFF2-40B4-BE49-F238E27FC236}">
                <a16:creationId xmlns:a16="http://schemas.microsoft.com/office/drawing/2014/main" id="{0E729B0D-8E10-4ED3-8832-13E3663BCD32}"/>
              </a:ext>
            </a:extLst>
          </p:cNvPr>
          <p:cNvSpPr/>
          <p:nvPr/>
        </p:nvSpPr>
        <p:spPr>
          <a:xfrm rot="2700000">
            <a:off x="4576502" y="2109780"/>
            <a:ext cx="2997194" cy="2997192"/>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ArchUp">
              <a:avLst/>
            </a:prstTxWarp>
            <a:noAutofit/>
          </a:bodyPr>
          <a:lstStyle/>
          <a:p>
            <a:pPr algn="ctr"/>
            <a:r>
              <a:rPr lang="en-GB" sz="1100" b="1" cap="all" dirty="0">
                <a:solidFill>
                  <a:schemeClr val="bg1"/>
                </a:solidFill>
                <a:latin typeface="+mj-lt"/>
              </a:rPr>
              <a:t>Smart Agriculture</a:t>
            </a:r>
          </a:p>
        </p:txBody>
      </p:sp>
      <p:sp>
        <p:nvSpPr>
          <p:cNvPr id="20025" name="TEKST4">
            <a:extLst>
              <a:ext uri="{FF2B5EF4-FFF2-40B4-BE49-F238E27FC236}">
                <a16:creationId xmlns:a16="http://schemas.microsoft.com/office/drawing/2014/main" id="{F05F2EAC-E076-4FB3-B979-D7F0F8ED562B}"/>
              </a:ext>
            </a:extLst>
          </p:cNvPr>
          <p:cNvSpPr/>
          <p:nvPr/>
        </p:nvSpPr>
        <p:spPr>
          <a:xfrm rot="18900000">
            <a:off x="4576502" y="2109779"/>
            <a:ext cx="2997194" cy="2997194"/>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1100" b="1" cap="all" dirty="0">
                <a:solidFill>
                  <a:schemeClr val="bg1"/>
                </a:solidFill>
                <a:latin typeface="+mj-lt"/>
              </a:rPr>
              <a:t>Smart security</a:t>
            </a:r>
          </a:p>
        </p:txBody>
      </p:sp>
      <p:sp>
        <p:nvSpPr>
          <p:cNvPr id="20028" name="TEKST7">
            <a:extLst>
              <a:ext uri="{FF2B5EF4-FFF2-40B4-BE49-F238E27FC236}">
                <a16:creationId xmlns:a16="http://schemas.microsoft.com/office/drawing/2014/main" id="{0AFD47EF-F8CE-4032-943A-69175C38D133}"/>
              </a:ext>
            </a:extLst>
          </p:cNvPr>
          <p:cNvSpPr/>
          <p:nvPr/>
        </p:nvSpPr>
        <p:spPr>
          <a:xfrm rot="2700000">
            <a:off x="4576502" y="2109780"/>
            <a:ext cx="2997194" cy="2997192"/>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1100" b="1" cap="all" dirty="0">
                <a:solidFill>
                  <a:schemeClr val="bg1"/>
                </a:solidFill>
                <a:latin typeface="+mj-lt"/>
              </a:rPr>
              <a:t>Smart production</a:t>
            </a:r>
          </a:p>
        </p:txBody>
      </p:sp>
      <p:sp>
        <p:nvSpPr>
          <p:cNvPr id="20030" name="TEKST10">
            <a:extLst>
              <a:ext uri="{FF2B5EF4-FFF2-40B4-BE49-F238E27FC236}">
                <a16:creationId xmlns:a16="http://schemas.microsoft.com/office/drawing/2014/main" id="{08CCA8F2-A00D-46CD-8E11-E93151D6D030}"/>
              </a:ext>
            </a:extLst>
          </p:cNvPr>
          <p:cNvSpPr/>
          <p:nvPr/>
        </p:nvSpPr>
        <p:spPr>
          <a:xfrm rot="18900000">
            <a:off x="4576502" y="2109779"/>
            <a:ext cx="2997194" cy="2997194"/>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ArchUp">
              <a:avLst/>
            </a:prstTxWarp>
            <a:noAutofit/>
          </a:bodyPr>
          <a:lstStyle/>
          <a:p>
            <a:pPr algn="ctr"/>
            <a:r>
              <a:rPr lang="en-GB" sz="1100" b="1" cap="all" dirty="0">
                <a:solidFill>
                  <a:schemeClr val="bg1"/>
                </a:solidFill>
                <a:latin typeface="+mj-lt"/>
              </a:rPr>
              <a:t>Smart society</a:t>
            </a:r>
          </a:p>
        </p:txBody>
      </p:sp>
      <p:cxnSp>
        <p:nvCxnSpPr>
          <p:cNvPr id="3" name="Rechte verbindingslijn 2">
            <a:extLst>
              <a:ext uri="{FF2B5EF4-FFF2-40B4-BE49-F238E27FC236}">
                <a16:creationId xmlns:a16="http://schemas.microsoft.com/office/drawing/2014/main" id="{A40EAD44-D34D-43DF-BF4A-505B652569B4}"/>
              </a:ext>
            </a:extLst>
          </p:cNvPr>
          <p:cNvCxnSpPr/>
          <p:nvPr/>
        </p:nvCxnSpPr>
        <p:spPr>
          <a:xfrm>
            <a:off x="6083168" y="2234929"/>
            <a:ext cx="0" cy="2752725"/>
          </a:xfrm>
          <a:prstGeom prst="line">
            <a:avLst/>
          </a:prstGeom>
          <a:ln>
            <a:solidFill>
              <a:schemeClr val="bg1">
                <a:alpha val="3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51" name="Rechte verbindingslijn 9750">
            <a:extLst>
              <a:ext uri="{FF2B5EF4-FFF2-40B4-BE49-F238E27FC236}">
                <a16:creationId xmlns:a16="http://schemas.microsoft.com/office/drawing/2014/main" id="{67C737BD-02BD-44BE-9FC7-2FF987430D12}"/>
              </a:ext>
            </a:extLst>
          </p:cNvPr>
          <p:cNvCxnSpPr>
            <a:cxnSpLocks/>
          </p:cNvCxnSpPr>
          <p:nvPr/>
        </p:nvCxnSpPr>
        <p:spPr>
          <a:xfrm rot="5400000">
            <a:off x="6083168" y="2234929"/>
            <a:ext cx="0" cy="2752725"/>
          </a:xfrm>
          <a:prstGeom prst="line">
            <a:avLst/>
          </a:prstGeom>
          <a:ln>
            <a:solidFill>
              <a:schemeClr val="bg1">
                <a:alpha val="3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307" name="Lijnen_midden_4">
            <a:extLst>
              <a:ext uri="{FF2B5EF4-FFF2-40B4-BE49-F238E27FC236}">
                <a16:creationId xmlns:a16="http://schemas.microsoft.com/office/drawing/2014/main" id="{0C33393A-6F34-4A0D-9DFB-1485456062E3}"/>
              </a:ext>
            </a:extLst>
          </p:cNvPr>
          <p:cNvGrpSpPr/>
          <p:nvPr/>
        </p:nvGrpSpPr>
        <p:grpSpPr>
          <a:xfrm>
            <a:off x="5251848" y="2476090"/>
            <a:ext cx="1560909" cy="2106350"/>
            <a:chOff x="5219754" y="2292570"/>
            <a:chExt cx="1560909" cy="2106350"/>
          </a:xfrm>
          <a:solidFill>
            <a:schemeClr val="bg1">
              <a:alpha val="35000"/>
            </a:schemeClr>
          </a:solidFill>
        </p:grpSpPr>
        <p:sp>
          <p:nvSpPr>
            <p:cNvPr id="4308" name="Vrije vorm: vorm 4307">
              <a:extLst>
                <a:ext uri="{FF2B5EF4-FFF2-40B4-BE49-F238E27FC236}">
                  <a16:creationId xmlns:a16="http://schemas.microsoft.com/office/drawing/2014/main" id="{F878F546-0A3E-4911-90BD-902A8EDE95DA}"/>
                </a:ext>
              </a:extLst>
            </p:cNvPr>
            <p:cNvSpPr/>
            <p:nvPr/>
          </p:nvSpPr>
          <p:spPr>
            <a:xfrm>
              <a:off x="5410061" y="3852462"/>
              <a:ext cx="970372" cy="546458"/>
            </a:xfrm>
            <a:custGeom>
              <a:avLst/>
              <a:gdLst>
                <a:gd name="connsiteX0" fmla="*/ 443710 w 970372"/>
                <a:gd name="connsiteY0" fmla="*/ 1196 h 546458"/>
                <a:gd name="connsiteX1" fmla="*/ 967860 w 970372"/>
                <a:gd name="connsiteY1" fmla="*/ 545202 h 546458"/>
                <a:gd name="connsiteX2" fmla="*/ 1974 w 970372"/>
                <a:gd name="connsiteY2" fmla="*/ 378460 h 546458"/>
                <a:gd name="connsiteX3" fmla="*/ 443710 w 970372"/>
                <a:gd name="connsiteY3" fmla="*/ 1196 h 546458"/>
                <a:gd name="connsiteX4" fmla="*/ 443770 w 970372"/>
                <a:gd name="connsiteY4" fmla="*/ 0 h 546458"/>
                <a:gd name="connsiteX5" fmla="*/ 0 w 970372"/>
                <a:gd name="connsiteY5" fmla="*/ 378938 h 546458"/>
                <a:gd name="connsiteX6" fmla="*/ 970372 w 970372"/>
                <a:gd name="connsiteY6" fmla="*/ 546458 h 546458"/>
                <a:gd name="connsiteX7" fmla="*/ 443770 w 970372"/>
                <a:gd name="connsiteY7" fmla="*/ 0 h 546458"/>
                <a:gd name="connsiteX8" fmla="*/ 443770 w 970372"/>
                <a:gd name="connsiteY8" fmla="*/ 0 h 54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0372" h="546458">
                  <a:moveTo>
                    <a:pt x="443710" y="1196"/>
                  </a:moveTo>
                  <a:lnTo>
                    <a:pt x="967860" y="545202"/>
                  </a:lnTo>
                  <a:lnTo>
                    <a:pt x="1974" y="378460"/>
                  </a:lnTo>
                  <a:lnTo>
                    <a:pt x="443710" y="1196"/>
                  </a:lnTo>
                  <a:moveTo>
                    <a:pt x="443770" y="0"/>
                  </a:moveTo>
                  <a:lnTo>
                    <a:pt x="0" y="378938"/>
                  </a:lnTo>
                  <a:lnTo>
                    <a:pt x="970372" y="546458"/>
                  </a:lnTo>
                  <a:lnTo>
                    <a:pt x="443770" y="0"/>
                  </a:lnTo>
                  <a:lnTo>
                    <a:pt x="443770" y="0"/>
                  </a:lnTo>
                  <a:close/>
                </a:path>
              </a:pathLst>
            </a:custGeom>
            <a:grpFill/>
            <a:ln w="0" cap="flat">
              <a:noFill/>
              <a:prstDash val="solid"/>
              <a:miter/>
            </a:ln>
          </p:spPr>
          <p:txBody>
            <a:bodyPr rtlCol="0" anchor="ctr"/>
            <a:lstStyle/>
            <a:p>
              <a:endParaRPr lang="en-GB"/>
            </a:p>
          </p:txBody>
        </p:sp>
        <p:sp>
          <p:nvSpPr>
            <p:cNvPr id="4309" name="Vrije vorm: vorm 4308">
              <a:extLst>
                <a:ext uri="{FF2B5EF4-FFF2-40B4-BE49-F238E27FC236}">
                  <a16:creationId xmlns:a16="http://schemas.microsoft.com/office/drawing/2014/main" id="{3D35F01A-30A7-4DDC-A1FD-CB411434FEE1}"/>
                </a:ext>
              </a:extLst>
            </p:cNvPr>
            <p:cNvSpPr/>
            <p:nvPr/>
          </p:nvSpPr>
          <p:spPr>
            <a:xfrm>
              <a:off x="5264909" y="3847259"/>
              <a:ext cx="589280" cy="384500"/>
            </a:xfrm>
            <a:custGeom>
              <a:avLst/>
              <a:gdLst>
                <a:gd name="connsiteX0" fmla="*/ 1316 w 589280"/>
                <a:gd name="connsiteY0" fmla="*/ 897 h 384500"/>
                <a:gd name="connsiteX1" fmla="*/ 587008 w 589280"/>
                <a:gd name="connsiteY1" fmla="*/ 6041 h 384500"/>
                <a:gd name="connsiteX2" fmla="*/ 145272 w 589280"/>
                <a:gd name="connsiteY2" fmla="*/ 383005 h 384500"/>
                <a:gd name="connsiteX3" fmla="*/ 1316 w 589280"/>
                <a:gd name="connsiteY3" fmla="*/ 897 h 384500"/>
                <a:gd name="connsiteX4" fmla="*/ 0 w 589280"/>
                <a:gd name="connsiteY4" fmla="*/ 0 h 384500"/>
                <a:gd name="connsiteX5" fmla="*/ 144793 w 589280"/>
                <a:gd name="connsiteY5" fmla="*/ 384500 h 384500"/>
                <a:gd name="connsiteX6" fmla="*/ 589281 w 589280"/>
                <a:gd name="connsiteY6" fmla="*/ 5143 h 384500"/>
                <a:gd name="connsiteX7" fmla="*/ 0 w 589280"/>
                <a:gd name="connsiteY7" fmla="*/ 0 h 384500"/>
                <a:gd name="connsiteX8" fmla="*/ 0 w 589280"/>
                <a:gd name="connsiteY8" fmla="*/ 0 h 38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280" h="384500">
                  <a:moveTo>
                    <a:pt x="1316" y="897"/>
                  </a:moveTo>
                  <a:lnTo>
                    <a:pt x="587008" y="6041"/>
                  </a:lnTo>
                  <a:lnTo>
                    <a:pt x="145272" y="383005"/>
                  </a:lnTo>
                  <a:lnTo>
                    <a:pt x="1316" y="897"/>
                  </a:lnTo>
                  <a:moveTo>
                    <a:pt x="0" y="0"/>
                  </a:moveTo>
                  <a:lnTo>
                    <a:pt x="144793" y="384500"/>
                  </a:lnTo>
                  <a:lnTo>
                    <a:pt x="589281" y="5143"/>
                  </a:lnTo>
                  <a:lnTo>
                    <a:pt x="0" y="0"/>
                  </a:lnTo>
                  <a:lnTo>
                    <a:pt x="0" y="0"/>
                  </a:lnTo>
                  <a:close/>
                </a:path>
              </a:pathLst>
            </a:custGeom>
            <a:grpFill/>
            <a:ln w="0" cap="flat">
              <a:noFill/>
              <a:prstDash val="solid"/>
              <a:miter/>
            </a:ln>
          </p:spPr>
          <p:txBody>
            <a:bodyPr rtlCol="0" anchor="ctr"/>
            <a:lstStyle/>
            <a:p>
              <a:endParaRPr lang="en-GB"/>
            </a:p>
          </p:txBody>
        </p:sp>
        <p:sp>
          <p:nvSpPr>
            <p:cNvPr id="4310" name="Vrije vorm: vorm 4309">
              <a:extLst>
                <a:ext uri="{FF2B5EF4-FFF2-40B4-BE49-F238E27FC236}">
                  <a16:creationId xmlns:a16="http://schemas.microsoft.com/office/drawing/2014/main" id="{1C198DC4-070C-4874-97DA-CCF1CC44C25B}"/>
                </a:ext>
              </a:extLst>
            </p:cNvPr>
            <p:cNvSpPr/>
            <p:nvPr/>
          </p:nvSpPr>
          <p:spPr>
            <a:xfrm>
              <a:off x="5221907" y="2762057"/>
              <a:ext cx="567630" cy="1085201"/>
            </a:xfrm>
            <a:custGeom>
              <a:avLst/>
              <a:gdLst>
                <a:gd name="connsiteX0" fmla="*/ 957 w 567630"/>
                <a:gd name="connsiteY0" fmla="*/ 2033 h 1085201"/>
                <a:gd name="connsiteX1" fmla="*/ 566375 w 567630"/>
                <a:gd name="connsiteY1" fmla="*/ 513684 h 1085201"/>
                <a:gd name="connsiteX2" fmla="*/ 43779 w 567630"/>
                <a:gd name="connsiteY2" fmla="*/ 1083049 h 1085201"/>
                <a:gd name="connsiteX3" fmla="*/ 957 w 567630"/>
                <a:gd name="connsiteY3" fmla="*/ 2033 h 1085201"/>
                <a:gd name="connsiteX4" fmla="*/ 0 w 567630"/>
                <a:gd name="connsiteY4" fmla="*/ 0 h 1085201"/>
                <a:gd name="connsiteX5" fmla="*/ 43001 w 567630"/>
                <a:gd name="connsiteY5" fmla="*/ 1085202 h 1085201"/>
                <a:gd name="connsiteX6" fmla="*/ 567631 w 567630"/>
                <a:gd name="connsiteY6" fmla="*/ 513624 h 1085201"/>
                <a:gd name="connsiteX7" fmla="*/ 0 w 567630"/>
                <a:gd name="connsiteY7" fmla="*/ 0 h 1085201"/>
                <a:gd name="connsiteX8" fmla="*/ 0 w 567630"/>
                <a:gd name="connsiteY8" fmla="*/ 0 h 108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30" h="1085201">
                  <a:moveTo>
                    <a:pt x="957" y="2033"/>
                  </a:moveTo>
                  <a:lnTo>
                    <a:pt x="566375" y="513684"/>
                  </a:lnTo>
                  <a:lnTo>
                    <a:pt x="43779" y="1083049"/>
                  </a:lnTo>
                  <a:lnTo>
                    <a:pt x="957" y="2033"/>
                  </a:lnTo>
                  <a:moveTo>
                    <a:pt x="0" y="0"/>
                  </a:moveTo>
                  <a:lnTo>
                    <a:pt x="43001" y="1085202"/>
                  </a:lnTo>
                  <a:lnTo>
                    <a:pt x="567631" y="513624"/>
                  </a:lnTo>
                  <a:lnTo>
                    <a:pt x="0" y="0"/>
                  </a:lnTo>
                  <a:lnTo>
                    <a:pt x="0" y="0"/>
                  </a:lnTo>
                  <a:close/>
                </a:path>
              </a:pathLst>
            </a:custGeom>
            <a:grpFill/>
            <a:ln w="0" cap="flat">
              <a:noFill/>
              <a:prstDash val="solid"/>
              <a:miter/>
            </a:ln>
          </p:spPr>
          <p:txBody>
            <a:bodyPr rtlCol="0" anchor="ctr"/>
            <a:lstStyle/>
            <a:p>
              <a:endParaRPr lang="en-GB"/>
            </a:p>
          </p:txBody>
        </p:sp>
        <p:sp>
          <p:nvSpPr>
            <p:cNvPr id="4311" name="Vrije vorm: vorm 4310">
              <a:extLst>
                <a:ext uri="{FF2B5EF4-FFF2-40B4-BE49-F238E27FC236}">
                  <a16:creationId xmlns:a16="http://schemas.microsoft.com/office/drawing/2014/main" id="{8CB61B79-5902-4FAA-AEFC-0415079A9588}"/>
                </a:ext>
              </a:extLst>
            </p:cNvPr>
            <p:cNvSpPr/>
            <p:nvPr/>
          </p:nvSpPr>
          <p:spPr>
            <a:xfrm>
              <a:off x="5219754" y="2292570"/>
              <a:ext cx="898424" cy="983110"/>
            </a:xfrm>
            <a:custGeom>
              <a:avLst/>
              <a:gdLst>
                <a:gd name="connsiteX0" fmla="*/ 896929 w 898424"/>
                <a:gd name="connsiteY0" fmla="*/ 1794 h 983110"/>
                <a:gd name="connsiteX1" fmla="*/ 569365 w 898424"/>
                <a:gd name="connsiteY1" fmla="*/ 981556 h 983110"/>
                <a:gd name="connsiteX2" fmla="*/ 1495 w 898424"/>
                <a:gd name="connsiteY2" fmla="*/ 469666 h 983110"/>
                <a:gd name="connsiteX3" fmla="*/ 896929 w 898424"/>
                <a:gd name="connsiteY3" fmla="*/ 1794 h 983110"/>
                <a:gd name="connsiteX4" fmla="*/ 898424 w 898424"/>
                <a:gd name="connsiteY4" fmla="*/ 0 h 983110"/>
                <a:gd name="connsiteX5" fmla="*/ 0 w 898424"/>
                <a:gd name="connsiteY5" fmla="*/ 469487 h 983110"/>
                <a:gd name="connsiteX6" fmla="*/ 569784 w 898424"/>
                <a:gd name="connsiteY6" fmla="*/ 983111 h 983110"/>
                <a:gd name="connsiteX7" fmla="*/ 898424 w 898424"/>
                <a:gd name="connsiteY7" fmla="*/ 0 h 983110"/>
                <a:gd name="connsiteX8" fmla="*/ 898424 w 898424"/>
                <a:gd name="connsiteY8" fmla="*/ 0 h 98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424" h="983110">
                  <a:moveTo>
                    <a:pt x="896929" y="1794"/>
                  </a:moveTo>
                  <a:lnTo>
                    <a:pt x="569365" y="981556"/>
                  </a:lnTo>
                  <a:lnTo>
                    <a:pt x="1495" y="469666"/>
                  </a:lnTo>
                  <a:lnTo>
                    <a:pt x="896929" y="1794"/>
                  </a:lnTo>
                  <a:moveTo>
                    <a:pt x="898424" y="0"/>
                  </a:moveTo>
                  <a:lnTo>
                    <a:pt x="0" y="469487"/>
                  </a:lnTo>
                  <a:lnTo>
                    <a:pt x="569784" y="983111"/>
                  </a:lnTo>
                  <a:lnTo>
                    <a:pt x="898424" y="0"/>
                  </a:lnTo>
                  <a:lnTo>
                    <a:pt x="898424" y="0"/>
                  </a:lnTo>
                  <a:close/>
                </a:path>
              </a:pathLst>
            </a:custGeom>
            <a:grpFill/>
            <a:ln w="0" cap="flat">
              <a:noFill/>
              <a:prstDash val="solid"/>
              <a:miter/>
            </a:ln>
          </p:spPr>
          <p:txBody>
            <a:bodyPr rtlCol="0" anchor="ctr"/>
            <a:lstStyle/>
            <a:p>
              <a:endParaRPr lang="en-GB"/>
            </a:p>
          </p:txBody>
        </p:sp>
        <p:sp>
          <p:nvSpPr>
            <p:cNvPr id="4312" name="Vrije vorm: vorm 4311">
              <a:extLst>
                <a:ext uri="{FF2B5EF4-FFF2-40B4-BE49-F238E27FC236}">
                  <a16:creationId xmlns:a16="http://schemas.microsoft.com/office/drawing/2014/main" id="{7219F3FA-663F-4A37-BA8C-0E8B1ACCBDC4}"/>
                </a:ext>
              </a:extLst>
            </p:cNvPr>
            <p:cNvSpPr/>
            <p:nvPr/>
          </p:nvSpPr>
          <p:spPr>
            <a:xfrm>
              <a:off x="6118179" y="2292570"/>
              <a:ext cx="662484" cy="1486807"/>
            </a:xfrm>
            <a:custGeom>
              <a:avLst/>
              <a:gdLst>
                <a:gd name="connsiteX0" fmla="*/ 4246 w 662484"/>
                <a:gd name="connsiteY0" fmla="*/ 11662 h 1486807"/>
                <a:gd name="connsiteX1" fmla="*/ 660989 w 662484"/>
                <a:gd name="connsiteY1" fmla="*/ 1485551 h 1486807"/>
                <a:gd name="connsiteX2" fmla="*/ 407466 w 662484"/>
                <a:gd name="connsiteY2" fmla="*/ 1427060 h 1486807"/>
                <a:gd name="connsiteX3" fmla="*/ 4246 w 662484"/>
                <a:gd name="connsiteY3" fmla="*/ 11662 h 1486807"/>
                <a:gd name="connsiteX4" fmla="*/ 0 w 662484"/>
                <a:gd name="connsiteY4" fmla="*/ 0 h 1486807"/>
                <a:gd name="connsiteX5" fmla="*/ 406749 w 662484"/>
                <a:gd name="connsiteY5" fmla="*/ 1427838 h 1486807"/>
                <a:gd name="connsiteX6" fmla="*/ 662484 w 662484"/>
                <a:gd name="connsiteY6" fmla="*/ 1486807 h 1486807"/>
                <a:gd name="connsiteX7" fmla="*/ 0 w 662484"/>
                <a:gd name="connsiteY7" fmla="*/ 0 h 1486807"/>
                <a:gd name="connsiteX8" fmla="*/ 0 w 662484"/>
                <a:gd name="connsiteY8" fmla="*/ 0 h 148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484" h="1486807">
                  <a:moveTo>
                    <a:pt x="4246" y="11662"/>
                  </a:moveTo>
                  <a:lnTo>
                    <a:pt x="660989" y="1485551"/>
                  </a:lnTo>
                  <a:lnTo>
                    <a:pt x="407466" y="1427060"/>
                  </a:lnTo>
                  <a:lnTo>
                    <a:pt x="4246" y="11662"/>
                  </a:lnTo>
                  <a:moveTo>
                    <a:pt x="0" y="0"/>
                  </a:moveTo>
                  <a:lnTo>
                    <a:pt x="406749" y="1427838"/>
                  </a:lnTo>
                  <a:lnTo>
                    <a:pt x="662484" y="1486807"/>
                  </a:lnTo>
                  <a:lnTo>
                    <a:pt x="0" y="0"/>
                  </a:lnTo>
                  <a:lnTo>
                    <a:pt x="0" y="0"/>
                  </a:lnTo>
                  <a:close/>
                </a:path>
              </a:pathLst>
            </a:custGeom>
            <a:grpFill/>
            <a:ln w="0" cap="flat">
              <a:noFill/>
              <a:prstDash val="solid"/>
              <a:miter/>
            </a:ln>
          </p:spPr>
          <p:txBody>
            <a:bodyPr rtlCol="0" anchor="ctr"/>
            <a:lstStyle/>
            <a:p>
              <a:endParaRPr lang="en-GB"/>
            </a:p>
          </p:txBody>
        </p:sp>
        <p:sp>
          <p:nvSpPr>
            <p:cNvPr id="4313" name="Vrije vorm: vorm 4312">
              <a:extLst>
                <a:ext uri="{FF2B5EF4-FFF2-40B4-BE49-F238E27FC236}">
                  <a16:creationId xmlns:a16="http://schemas.microsoft.com/office/drawing/2014/main" id="{B3CA12AE-E8B3-4BE5-A9A5-D98548B45BC2}"/>
                </a:ext>
              </a:extLst>
            </p:cNvPr>
            <p:cNvSpPr/>
            <p:nvPr/>
          </p:nvSpPr>
          <p:spPr>
            <a:xfrm>
              <a:off x="5789538" y="2292570"/>
              <a:ext cx="735389" cy="1427837"/>
            </a:xfrm>
            <a:custGeom>
              <a:avLst/>
              <a:gdLst>
                <a:gd name="connsiteX0" fmla="*/ 328581 w 735389"/>
                <a:gd name="connsiteY0" fmla="*/ 2990 h 1427837"/>
                <a:gd name="connsiteX1" fmla="*/ 733894 w 735389"/>
                <a:gd name="connsiteY1" fmla="*/ 1425924 h 1427837"/>
                <a:gd name="connsiteX2" fmla="*/ 1017 w 735389"/>
                <a:gd name="connsiteY2" fmla="*/ 982692 h 1427837"/>
                <a:gd name="connsiteX3" fmla="*/ 328581 w 735389"/>
                <a:gd name="connsiteY3" fmla="*/ 2990 h 1427837"/>
                <a:gd name="connsiteX4" fmla="*/ 328641 w 735389"/>
                <a:gd name="connsiteY4" fmla="*/ 0 h 1427837"/>
                <a:gd name="connsiteX5" fmla="*/ 0 w 735389"/>
                <a:gd name="connsiteY5" fmla="*/ 983111 h 1427837"/>
                <a:gd name="connsiteX6" fmla="*/ 735389 w 735389"/>
                <a:gd name="connsiteY6" fmla="*/ 1427838 h 1427837"/>
                <a:gd name="connsiteX7" fmla="*/ 328641 w 735389"/>
                <a:gd name="connsiteY7" fmla="*/ 0 h 1427837"/>
                <a:gd name="connsiteX8" fmla="*/ 328641 w 735389"/>
                <a:gd name="connsiteY8" fmla="*/ 0 h 142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389" h="1427837">
                  <a:moveTo>
                    <a:pt x="328581" y="2990"/>
                  </a:moveTo>
                  <a:lnTo>
                    <a:pt x="733894" y="1425924"/>
                  </a:lnTo>
                  <a:lnTo>
                    <a:pt x="1017" y="982692"/>
                  </a:lnTo>
                  <a:lnTo>
                    <a:pt x="328581" y="2990"/>
                  </a:lnTo>
                  <a:moveTo>
                    <a:pt x="328641" y="0"/>
                  </a:moveTo>
                  <a:lnTo>
                    <a:pt x="0" y="983111"/>
                  </a:lnTo>
                  <a:lnTo>
                    <a:pt x="735389" y="1427838"/>
                  </a:lnTo>
                  <a:lnTo>
                    <a:pt x="328641" y="0"/>
                  </a:lnTo>
                  <a:lnTo>
                    <a:pt x="328641" y="0"/>
                  </a:lnTo>
                  <a:close/>
                </a:path>
              </a:pathLst>
            </a:custGeom>
            <a:grpFill/>
            <a:ln w="0" cap="flat">
              <a:noFill/>
              <a:prstDash val="solid"/>
              <a:miter/>
            </a:ln>
          </p:spPr>
          <p:txBody>
            <a:bodyPr rtlCol="0" anchor="ctr"/>
            <a:lstStyle/>
            <a:p>
              <a:endParaRPr lang="en-GB"/>
            </a:p>
          </p:txBody>
        </p:sp>
        <p:sp>
          <p:nvSpPr>
            <p:cNvPr id="4314" name="Vrije vorm: vorm 4313">
              <a:extLst>
                <a:ext uri="{FF2B5EF4-FFF2-40B4-BE49-F238E27FC236}">
                  <a16:creationId xmlns:a16="http://schemas.microsoft.com/office/drawing/2014/main" id="{FC180ECF-7285-410A-860D-25F162559EA1}"/>
                </a:ext>
              </a:extLst>
            </p:cNvPr>
            <p:cNvSpPr/>
            <p:nvPr/>
          </p:nvSpPr>
          <p:spPr>
            <a:xfrm>
              <a:off x="5264909" y="3275681"/>
              <a:ext cx="589280" cy="576720"/>
            </a:xfrm>
            <a:custGeom>
              <a:avLst/>
              <a:gdLst>
                <a:gd name="connsiteX0" fmla="*/ 521280 w 589280"/>
                <a:gd name="connsiteY0" fmla="*/ 4964 h 576720"/>
                <a:gd name="connsiteX1" fmla="*/ 588324 w 589280"/>
                <a:gd name="connsiteY1" fmla="*/ 575824 h 576720"/>
                <a:gd name="connsiteX2" fmla="*/ 1974 w 589280"/>
                <a:gd name="connsiteY2" fmla="*/ 570680 h 576720"/>
                <a:gd name="connsiteX3" fmla="*/ 521280 w 589280"/>
                <a:gd name="connsiteY3" fmla="*/ 4964 h 576720"/>
                <a:gd name="connsiteX4" fmla="*/ 524629 w 589280"/>
                <a:gd name="connsiteY4" fmla="*/ 0 h 576720"/>
                <a:gd name="connsiteX5" fmla="*/ 0 w 589280"/>
                <a:gd name="connsiteY5" fmla="*/ 571578 h 576720"/>
                <a:gd name="connsiteX6" fmla="*/ 589281 w 589280"/>
                <a:gd name="connsiteY6" fmla="*/ 576721 h 576720"/>
                <a:gd name="connsiteX7" fmla="*/ 521938 w 589280"/>
                <a:gd name="connsiteY7" fmla="*/ 3469 h 576720"/>
                <a:gd name="connsiteX8" fmla="*/ 524629 w 589280"/>
                <a:gd name="connsiteY8" fmla="*/ 0 h 576720"/>
                <a:gd name="connsiteX9" fmla="*/ 524629 w 589280"/>
                <a:gd name="connsiteY9" fmla="*/ 0 h 57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280" h="576720">
                  <a:moveTo>
                    <a:pt x="521280" y="4964"/>
                  </a:moveTo>
                  <a:lnTo>
                    <a:pt x="588324" y="575824"/>
                  </a:lnTo>
                  <a:lnTo>
                    <a:pt x="1974" y="570680"/>
                  </a:lnTo>
                  <a:lnTo>
                    <a:pt x="521280" y="4964"/>
                  </a:lnTo>
                  <a:moveTo>
                    <a:pt x="524629" y="0"/>
                  </a:moveTo>
                  <a:lnTo>
                    <a:pt x="0" y="571578"/>
                  </a:lnTo>
                  <a:lnTo>
                    <a:pt x="589281" y="576721"/>
                  </a:lnTo>
                  <a:lnTo>
                    <a:pt x="521938" y="3469"/>
                  </a:lnTo>
                  <a:lnTo>
                    <a:pt x="524629" y="0"/>
                  </a:lnTo>
                  <a:lnTo>
                    <a:pt x="524629" y="0"/>
                  </a:lnTo>
                  <a:close/>
                </a:path>
              </a:pathLst>
            </a:custGeom>
            <a:grpFill/>
            <a:ln w="0" cap="flat">
              <a:noFill/>
              <a:prstDash val="solid"/>
              <a:miter/>
            </a:ln>
          </p:spPr>
          <p:txBody>
            <a:bodyPr rtlCol="0" anchor="ctr"/>
            <a:lstStyle/>
            <a:p>
              <a:endParaRPr lang="en-GB"/>
            </a:p>
          </p:txBody>
        </p:sp>
        <p:sp>
          <p:nvSpPr>
            <p:cNvPr id="4315" name="Vrije vorm: vorm 4314">
              <a:extLst>
                <a:ext uri="{FF2B5EF4-FFF2-40B4-BE49-F238E27FC236}">
                  <a16:creationId xmlns:a16="http://schemas.microsoft.com/office/drawing/2014/main" id="{A2831B91-5391-4D5C-95A4-AC49CD9524C0}"/>
                </a:ext>
              </a:extLst>
            </p:cNvPr>
            <p:cNvSpPr/>
            <p:nvPr/>
          </p:nvSpPr>
          <p:spPr>
            <a:xfrm>
              <a:off x="5789538" y="3275681"/>
              <a:ext cx="735329" cy="576720"/>
            </a:xfrm>
            <a:custGeom>
              <a:avLst/>
              <a:gdLst>
                <a:gd name="connsiteX0" fmla="*/ 1076 w 735329"/>
                <a:gd name="connsiteY0" fmla="*/ 1675 h 576720"/>
                <a:gd name="connsiteX1" fmla="*/ 732997 w 735329"/>
                <a:gd name="connsiteY1" fmla="*/ 444308 h 576720"/>
                <a:gd name="connsiteX2" fmla="*/ 65489 w 735329"/>
                <a:gd name="connsiteY2" fmla="*/ 575644 h 576720"/>
                <a:gd name="connsiteX3" fmla="*/ 1076 w 735329"/>
                <a:gd name="connsiteY3" fmla="*/ 1675 h 576720"/>
                <a:gd name="connsiteX4" fmla="*/ 0 w 735329"/>
                <a:gd name="connsiteY4" fmla="*/ 0 h 576720"/>
                <a:gd name="connsiteX5" fmla="*/ 64652 w 735329"/>
                <a:gd name="connsiteY5" fmla="*/ 576721 h 576720"/>
                <a:gd name="connsiteX6" fmla="*/ 735330 w 735329"/>
                <a:gd name="connsiteY6" fmla="*/ 444727 h 576720"/>
                <a:gd name="connsiteX7" fmla="*/ 0 w 735329"/>
                <a:gd name="connsiteY7" fmla="*/ 0 h 576720"/>
                <a:gd name="connsiteX8" fmla="*/ 0 w 735329"/>
                <a:gd name="connsiteY8" fmla="*/ 0 h 57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329" h="576720">
                  <a:moveTo>
                    <a:pt x="1076" y="1675"/>
                  </a:moveTo>
                  <a:lnTo>
                    <a:pt x="732997" y="444308"/>
                  </a:lnTo>
                  <a:lnTo>
                    <a:pt x="65489" y="575644"/>
                  </a:lnTo>
                  <a:lnTo>
                    <a:pt x="1076" y="1675"/>
                  </a:lnTo>
                  <a:moveTo>
                    <a:pt x="0" y="0"/>
                  </a:moveTo>
                  <a:lnTo>
                    <a:pt x="64652" y="576721"/>
                  </a:lnTo>
                  <a:lnTo>
                    <a:pt x="735330" y="444727"/>
                  </a:lnTo>
                  <a:lnTo>
                    <a:pt x="0" y="0"/>
                  </a:lnTo>
                  <a:lnTo>
                    <a:pt x="0" y="0"/>
                  </a:lnTo>
                  <a:close/>
                </a:path>
              </a:pathLst>
            </a:custGeom>
            <a:grpFill/>
            <a:ln w="0" cap="flat">
              <a:noFill/>
              <a:prstDash val="solid"/>
              <a:miter/>
            </a:ln>
          </p:spPr>
          <p:txBody>
            <a:bodyPr rtlCol="0" anchor="ctr"/>
            <a:lstStyle/>
            <a:p>
              <a:endParaRPr lang="en-GB"/>
            </a:p>
          </p:txBody>
        </p:sp>
        <p:sp>
          <p:nvSpPr>
            <p:cNvPr id="4316" name="Vrije vorm: vorm 4315">
              <a:extLst>
                <a:ext uri="{FF2B5EF4-FFF2-40B4-BE49-F238E27FC236}">
                  <a16:creationId xmlns:a16="http://schemas.microsoft.com/office/drawing/2014/main" id="{386A8992-7A4C-4413-AEDA-C5E384CBE5D9}"/>
                </a:ext>
              </a:extLst>
            </p:cNvPr>
            <p:cNvSpPr/>
            <p:nvPr/>
          </p:nvSpPr>
          <p:spPr>
            <a:xfrm>
              <a:off x="5854249" y="3720408"/>
              <a:ext cx="670677" cy="678512"/>
            </a:xfrm>
            <a:custGeom>
              <a:avLst/>
              <a:gdLst>
                <a:gd name="connsiteX0" fmla="*/ 669542 w 670677"/>
                <a:gd name="connsiteY0" fmla="*/ 1136 h 678512"/>
                <a:gd name="connsiteX1" fmla="*/ 525645 w 670677"/>
                <a:gd name="connsiteY1" fmla="*/ 676719 h 678512"/>
                <a:gd name="connsiteX2" fmla="*/ 1674 w 670677"/>
                <a:gd name="connsiteY2" fmla="*/ 132533 h 678512"/>
                <a:gd name="connsiteX3" fmla="*/ 669542 w 670677"/>
                <a:gd name="connsiteY3" fmla="*/ 1136 h 678512"/>
                <a:gd name="connsiteX4" fmla="*/ 670678 w 670677"/>
                <a:gd name="connsiteY4" fmla="*/ 0 h 678512"/>
                <a:gd name="connsiteX5" fmla="*/ 0 w 670677"/>
                <a:gd name="connsiteY5" fmla="*/ 131994 h 678512"/>
                <a:gd name="connsiteX6" fmla="*/ 526184 w 670677"/>
                <a:gd name="connsiteY6" fmla="*/ 678513 h 678512"/>
                <a:gd name="connsiteX7" fmla="*/ 670678 w 670677"/>
                <a:gd name="connsiteY7" fmla="*/ 0 h 678512"/>
                <a:gd name="connsiteX8" fmla="*/ 670678 w 670677"/>
                <a:gd name="connsiteY8" fmla="*/ 0 h 67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677" h="678512">
                  <a:moveTo>
                    <a:pt x="669542" y="1136"/>
                  </a:moveTo>
                  <a:lnTo>
                    <a:pt x="525645" y="676719"/>
                  </a:lnTo>
                  <a:lnTo>
                    <a:pt x="1674" y="132533"/>
                  </a:lnTo>
                  <a:lnTo>
                    <a:pt x="669542" y="1136"/>
                  </a:lnTo>
                  <a:moveTo>
                    <a:pt x="670678" y="0"/>
                  </a:moveTo>
                  <a:lnTo>
                    <a:pt x="0" y="131994"/>
                  </a:lnTo>
                  <a:lnTo>
                    <a:pt x="526184" y="678513"/>
                  </a:lnTo>
                  <a:lnTo>
                    <a:pt x="670678" y="0"/>
                  </a:lnTo>
                  <a:lnTo>
                    <a:pt x="670678" y="0"/>
                  </a:lnTo>
                  <a:close/>
                </a:path>
              </a:pathLst>
            </a:custGeom>
            <a:grpFill/>
            <a:ln w="0" cap="flat">
              <a:noFill/>
              <a:prstDash val="solid"/>
              <a:miter/>
            </a:ln>
          </p:spPr>
          <p:txBody>
            <a:bodyPr rtlCol="0" anchor="ctr"/>
            <a:lstStyle/>
            <a:p>
              <a:endParaRPr lang="en-GB"/>
            </a:p>
          </p:txBody>
        </p:sp>
        <p:sp>
          <p:nvSpPr>
            <p:cNvPr id="4317" name="Vrije vorm: vorm 4316">
              <a:extLst>
                <a:ext uri="{FF2B5EF4-FFF2-40B4-BE49-F238E27FC236}">
                  <a16:creationId xmlns:a16="http://schemas.microsoft.com/office/drawing/2014/main" id="{30EB8D91-D719-4103-9BF6-A5F6FC621401}"/>
                </a:ext>
              </a:extLst>
            </p:cNvPr>
            <p:cNvSpPr/>
            <p:nvPr/>
          </p:nvSpPr>
          <p:spPr>
            <a:xfrm>
              <a:off x="6380732" y="3720408"/>
              <a:ext cx="399930" cy="678153"/>
            </a:xfrm>
            <a:custGeom>
              <a:avLst/>
              <a:gdLst>
                <a:gd name="connsiteX0" fmla="*/ 144853 w 399930"/>
                <a:gd name="connsiteY0" fmla="*/ 1076 h 678153"/>
                <a:gd name="connsiteX1" fmla="*/ 398496 w 399930"/>
                <a:gd name="connsiteY1" fmla="*/ 59568 h 678153"/>
                <a:gd name="connsiteX2" fmla="*/ 1854 w 399930"/>
                <a:gd name="connsiteY2" fmla="*/ 673728 h 678153"/>
                <a:gd name="connsiteX3" fmla="*/ 144853 w 399930"/>
                <a:gd name="connsiteY3" fmla="*/ 1076 h 678153"/>
                <a:gd name="connsiteX4" fmla="*/ 144195 w 399930"/>
                <a:gd name="connsiteY4" fmla="*/ 0 h 678153"/>
                <a:gd name="connsiteX5" fmla="*/ 0 w 399930"/>
                <a:gd name="connsiteY5" fmla="*/ 678154 h 678153"/>
                <a:gd name="connsiteX6" fmla="*/ 399931 w 399930"/>
                <a:gd name="connsiteY6" fmla="*/ 58970 h 678153"/>
                <a:gd name="connsiteX7" fmla="*/ 144195 w 399930"/>
                <a:gd name="connsiteY7" fmla="*/ 0 h 678153"/>
                <a:gd name="connsiteX8" fmla="*/ 144195 w 399930"/>
                <a:gd name="connsiteY8" fmla="*/ 0 h 678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930" h="678153">
                  <a:moveTo>
                    <a:pt x="144853" y="1076"/>
                  </a:moveTo>
                  <a:lnTo>
                    <a:pt x="398496" y="59568"/>
                  </a:lnTo>
                  <a:lnTo>
                    <a:pt x="1854" y="673728"/>
                  </a:lnTo>
                  <a:lnTo>
                    <a:pt x="144853" y="1076"/>
                  </a:lnTo>
                  <a:moveTo>
                    <a:pt x="144195" y="0"/>
                  </a:moveTo>
                  <a:lnTo>
                    <a:pt x="0" y="678154"/>
                  </a:lnTo>
                  <a:lnTo>
                    <a:pt x="399931" y="58970"/>
                  </a:lnTo>
                  <a:lnTo>
                    <a:pt x="144195" y="0"/>
                  </a:lnTo>
                  <a:lnTo>
                    <a:pt x="144195" y="0"/>
                  </a:lnTo>
                  <a:close/>
                </a:path>
              </a:pathLst>
            </a:custGeom>
            <a:grpFill/>
            <a:ln w="0" cap="flat">
              <a:noFill/>
              <a:prstDash val="solid"/>
              <a:miter/>
            </a:ln>
          </p:spPr>
          <p:txBody>
            <a:bodyPr rtlCol="0" anchor="ctr"/>
            <a:lstStyle/>
            <a:p>
              <a:endParaRPr lang="en-GB"/>
            </a:p>
          </p:txBody>
        </p:sp>
      </p:grpSp>
      <p:grpSp>
        <p:nvGrpSpPr>
          <p:cNvPr id="4318" name="Lijnen_midden_3">
            <a:extLst>
              <a:ext uri="{FF2B5EF4-FFF2-40B4-BE49-F238E27FC236}">
                <a16:creationId xmlns:a16="http://schemas.microsoft.com/office/drawing/2014/main" id="{02B850B6-E037-4E9A-8AD6-AEF7C7034447}"/>
              </a:ext>
            </a:extLst>
          </p:cNvPr>
          <p:cNvGrpSpPr/>
          <p:nvPr/>
        </p:nvGrpSpPr>
        <p:grpSpPr>
          <a:xfrm>
            <a:off x="5204361" y="2747914"/>
            <a:ext cx="1267554" cy="1699900"/>
            <a:chOff x="5172267" y="2564394"/>
            <a:chExt cx="1267554" cy="1699900"/>
          </a:xfrm>
          <a:solidFill>
            <a:schemeClr val="bg1">
              <a:alpha val="35000"/>
            </a:schemeClr>
          </a:solidFill>
        </p:grpSpPr>
        <p:sp>
          <p:nvSpPr>
            <p:cNvPr id="4319" name="Vrije vorm: vorm 4318">
              <a:extLst>
                <a:ext uri="{FF2B5EF4-FFF2-40B4-BE49-F238E27FC236}">
                  <a16:creationId xmlns:a16="http://schemas.microsoft.com/office/drawing/2014/main" id="{276042FF-A5C1-4028-BD29-6780308F9836}"/>
                </a:ext>
              </a:extLst>
            </p:cNvPr>
            <p:cNvSpPr/>
            <p:nvPr/>
          </p:nvSpPr>
          <p:spPr>
            <a:xfrm>
              <a:off x="5602222" y="2564394"/>
              <a:ext cx="837121" cy="806859"/>
            </a:xfrm>
            <a:custGeom>
              <a:avLst/>
              <a:gdLst>
                <a:gd name="connsiteX0" fmla="*/ 7476 w 837121"/>
                <a:gd name="connsiteY0" fmla="*/ 8911 h 806859"/>
                <a:gd name="connsiteX1" fmla="*/ 832337 w 837121"/>
                <a:gd name="connsiteY1" fmla="*/ 655906 h 806859"/>
                <a:gd name="connsiteX2" fmla="*/ 432107 w 837121"/>
                <a:gd name="connsiteY2" fmla="*/ 803869 h 806859"/>
                <a:gd name="connsiteX3" fmla="*/ 7476 w 837121"/>
                <a:gd name="connsiteY3" fmla="*/ 8911 h 806859"/>
                <a:gd name="connsiteX4" fmla="*/ 0 w 837121"/>
                <a:gd name="connsiteY4" fmla="*/ 0 h 806859"/>
                <a:gd name="connsiteX5" fmla="*/ 430911 w 837121"/>
                <a:gd name="connsiteY5" fmla="*/ 806859 h 806859"/>
                <a:gd name="connsiteX6" fmla="*/ 837122 w 837121"/>
                <a:gd name="connsiteY6" fmla="*/ 656683 h 806859"/>
                <a:gd name="connsiteX7" fmla="*/ 0 w 837121"/>
                <a:gd name="connsiteY7" fmla="*/ 0 h 806859"/>
                <a:gd name="connsiteX8" fmla="*/ 0 w 837121"/>
                <a:gd name="connsiteY8" fmla="*/ 0 h 80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7121" h="806859">
                  <a:moveTo>
                    <a:pt x="7476" y="8911"/>
                  </a:moveTo>
                  <a:lnTo>
                    <a:pt x="832337" y="655906"/>
                  </a:lnTo>
                  <a:lnTo>
                    <a:pt x="432107" y="803869"/>
                  </a:lnTo>
                  <a:lnTo>
                    <a:pt x="7476" y="8911"/>
                  </a:lnTo>
                  <a:moveTo>
                    <a:pt x="0" y="0"/>
                  </a:moveTo>
                  <a:lnTo>
                    <a:pt x="430911" y="806859"/>
                  </a:lnTo>
                  <a:lnTo>
                    <a:pt x="837122" y="656683"/>
                  </a:lnTo>
                  <a:lnTo>
                    <a:pt x="0" y="0"/>
                  </a:lnTo>
                  <a:lnTo>
                    <a:pt x="0" y="0"/>
                  </a:lnTo>
                  <a:close/>
                </a:path>
              </a:pathLst>
            </a:custGeom>
            <a:grpFill/>
            <a:ln w="0" cap="flat">
              <a:noFill/>
              <a:prstDash val="solid"/>
              <a:miter/>
            </a:ln>
          </p:spPr>
          <p:txBody>
            <a:bodyPr rtlCol="0" anchor="ctr"/>
            <a:lstStyle/>
            <a:p>
              <a:endParaRPr lang="en-GB"/>
            </a:p>
          </p:txBody>
        </p:sp>
        <p:sp>
          <p:nvSpPr>
            <p:cNvPr id="4320" name="Vrije vorm: vorm 4319">
              <a:extLst>
                <a:ext uri="{FF2B5EF4-FFF2-40B4-BE49-F238E27FC236}">
                  <a16:creationId xmlns:a16="http://schemas.microsoft.com/office/drawing/2014/main" id="{BDD55830-329A-4C97-A99C-B127F71AADF5}"/>
                </a:ext>
              </a:extLst>
            </p:cNvPr>
            <p:cNvSpPr/>
            <p:nvPr/>
          </p:nvSpPr>
          <p:spPr>
            <a:xfrm>
              <a:off x="6033192" y="3220658"/>
              <a:ext cx="406629" cy="446401"/>
            </a:xfrm>
            <a:custGeom>
              <a:avLst/>
              <a:gdLst>
                <a:gd name="connsiteX0" fmla="*/ 403998 w 406629"/>
                <a:gd name="connsiteY0" fmla="*/ 3529 h 446401"/>
                <a:gd name="connsiteX1" fmla="*/ 372958 w 406629"/>
                <a:gd name="connsiteY1" fmla="*/ 441736 h 446401"/>
                <a:gd name="connsiteX2" fmla="*/ 4844 w 406629"/>
                <a:gd name="connsiteY2" fmla="*/ 151372 h 446401"/>
                <a:gd name="connsiteX3" fmla="*/ 403998 w 406629"/>
                <a:gd name="connsiteY3" fmla="*/ 3529 h 446401"/>
                <a:gd name="connsiteX4" fmla="*/ 406629 w 406629"/>
                <a:gd name="connsiteY4" fmla="*/ 0 h 446401"/>
                <a:gd name="connsiteX5" fmla="*/ 0 w 406629"/>
                <a:gd name="connsiteY5" fmla="*/ 150595 h 446401"/>
                <a:gd name="connsiteX6" fmla="*/ 374991 w 406629"/>
                <a:gd name="connsiteY6" fmla="*/ 446401 h 446401"/>
                <a:gd name="connsiteX7" fmla="*/ 406629 w 406629"/>
                <a:gd name="connsiteY7" fmla="*/ 0 h 446401"/>
                <a:gd name="connsiteX8" fmla="*/ 406629 w 406629"/>
                <a:gd name="connsiteY8" fmla="*/ 0 h 44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629" h="446401">
                  <a:moveTo>
                    <a:pt x="403998" y="3529"/>
                  </a:moveTo>
                  <a:lnTo>
                    <a:pt x="372958" y="441736"/>
                  </a:lnTo>
                  <a:lnTo>
                    <a:pt x="4844" y="151372"/>
                  </a:lnTo>
                  <a:lnTo>
                    <a:pt x="403998" y="3529"/>
                  </a:lnTo>
                  <a:moveTo>
                    <a:pt x="406629" y="0"/>
                  </a:moveTo>
                  <a:lnTo>
                    <a:pt x="0" y="150595"/>
                  </a:lnTo>
                  <a:lnTo>
                    <a:pt x="374991" y="446401"/>
                  </a:lnTo>
                  <a:lnTo>
                    <a:pt x="406629" y="0"/>
                  </a:lnTo>
                  <a:lnTo>
                    <a:pt x="406629" y="0"/>
                  </a:lnTo>
                  <a:close/>
                </a:path>
              </a:pathLst>
            </a:custGeom>
            <a:grpFill/>
            <a:ln w="0" cap="flat">
              <a:noFill/>
              <a:prstDash val="solid"/>
              <a:miter/>
            </a:ln>
          </p:spPr>
          <p:txBody>
            <a:bodyPr rtlCol="0" anchor="ctr"/>
            <a:lstStyle/>
            <a:p>
              <a:endParaRPr lang="en-GB"/>
            </a:p>
          </p:txBody>
        </p:sp>
        <p:sp>
          <p:nvSpPr>
            <p:cNvPr id="4321" name="Vrije vorm: vorm 4320">
              <a:extLst>
                <a:ext uri="{FF2B5EF4-FFF2-40B4-BE49-F238E27FC236}">
                  <a16:creationId xmlns:a16="http://schemas.microsoft.com/office/drawing/2014/main" id="{D42A8B34-35AE-4533-A446-1FE72EA1AC8B}"/>
                </a:ext>
              </a:extLst>
            </p:cNvPr>
            <p:cNvSpPr/>
            <p:nvPr/>
          </p:nvSpPr>
          <p:spPr>
            <a:xfrm>
              <a:off x="6040070" y="3667777"/>
              <a:ext cx="369010" cy="596517"/>
            </a:xfrm>
            <a:custGeom>
              <a:avLst/>
              <a:gdLst>
                <a:gd name="connsiteX0" fmla="*/ 366439 w 369010"/>
                <a:gd name="connsiteY0" fmla="*/ 3708 h 596517"/>
                <a:gd name="connsiteX1" fmla="*/ 342756 w 369010"/>
                <a:gd name="connsiteY1" fmla="*/ 589998 h 596517"/>
                <a:gd name="connsiteX2" fmla="*/ 3768 w 369010"/>
                <a:gd name="connsiteY2" fmla="*/ 162676 h 596517"/>
                <a:gd name="connsiteX3" fmla="*/ 366439 w 369010"/>
                <a:gd name="connsiteY3" fmla="*/ 3708 h 596517"/>
                <a:gd name="connsiteX4" fmla="*/ 369011 w 369010"/>
                <a:gd name="connsiteY4" fmla="*/ 0 h 596517"/>
                <a:gd name="connsiteX5" fmla="*/ 0 w 369010"/>
                <a:gd name="connsiteY5" fmla="*/ 161719 h 596517"/>
                <a:gd name="connsiteX6" fmla="*/ 344909 w 369010"/>
                <a:gd name="connsiteY6" fmla="*/ 596517 h 596517"/>
                <a:gd name="connsiteX7" fmla="*/ 369011 w 369010"/>
                <a:gd name="connsiteY7" fmla="*/ 0 h 596517"/>
                <a:gd name="connsiteX8" fmla="*/ 369011 w 369010"/>
                <a:gd name="connsiteY8" fmla="*/ 0 h 596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010" h="596517">
                  <a:moveTo>
                    <a:pt x="366439" y="3708"/>
                  </a:moveTo>
                  <a:lnTo>
                    <a:pt x="342756" y="589998"/>
                  </a:lnTo>
                  <a:lnTo>
                    <a:pt x="3768" y="162676"/>
                  </a:lnTo>
                  <a:lnTo>
                    <a:pt x="366439" y="3708"/>
                  </a:lnTo>
                  <a:moveTo>
                    <a:pt x="369011" y="0"/>
                  </a:moveTo>
                  <a:lnTo>
                    <a:pt x="0" y="161719"/>
                  </a:lnTo>
                  <a:lnTo>
                    <a:pt x="344909" y="596517"/>
                  </a:lnTo>
                  <a:lnTo>
                    <a:pt x="369011" y="0"/>
                  </a:lnTo>
                  <a:lnTo>
                    <a:pt x="369011" y="0"/>
                  </a:lnTo>
                  <a:close/>
                </a:path>
              </a:pathLst>
            </a:custGeom>
            <a:grpFill/>
            <a:ln w="0" cap="flat">
              <a:noFill/>
              <a:prstDash val="solid"/>
              <a:miter/>
            </a:ln>
          </p:spPr>
          <p:txBody>
            <a:bodyPr rtlCol="0" anchor="ctr"/>
            <a:lstStyle/>
            <a:p>
              <a:endParaRPr lang="en-GB"/>
            </a:p>
          </p:txBody>
        </p:sp>
        <p:sp>
          <p:nvSpPr>
            <p:cNvPr id="4322" name="Vrije vorm: vorm 4321">
              <a:extLst>
                <a:ext uri="{FF2B5EF4-FFF2-40B4-BE49-F238E27FC236}">
                  <a16:creationId xmlns:a16="http://schemas.microsoft.com/office/drawing/2014/main" id="{7B42B0DF-B3A8-4C2B-BFBB-6957E7D38819}"/>
                </a:ext>
              </a:extLst>
            </p:cNvPr>
            <p:cNvSpPr/>
            <p:nvPr/>
          </p:nvSpPr>
          <p:spPr>
            <a:xfrm>
              <a:off x="5577581" y="3829496"/>
              <a:ext cx="809550" cy="434080"/>
            </a:xfrm>
            <a:custGeom>
              <a:avLst/>
              <a:gdLst>
                <a:gd name="connsiteX0" fmla="*/ 462130 w 809550"/>
                <a:gd name="connsiteY0" fmla="*/ 3409 h 434080"/>
                <a:gd name="connsiteX1" fmla="*/ 804287 w 809550"/>
                <a:gd name="connsiteY1" fmla="*/ 431389 h 434080"/>
                <a:gd name="connsiteX2" fmla="*/ 6220 w 809550"/>
                <a:gd name="connsiteY2" fmla="*/ 375709 h 434080"/>
                <a:gd name="connsiteX3" fmla="*/ 462130 w 809550"/>
                <a:gd name="connsiteY3" fmla="*/ 3409 h 434080"/>
                <a:gd name="connsiteX4" fmla="*/ 462489 w 809550"/>
                <a:gd name="connsiteY4" fmla="*/ 0 h 434080"/>
                <a:gd name="connsiteX5" fmla="*/ 0 w 809550"/>
                <a:gd name="connsiteY5" fmla="*/ 377623 h 434080"/>
                <a:gd name="connsiteX6" fmla="*/ 809551 w 809550"/>
                <a:gd name="connsiteY6" fmla="*/ 434081 h 434080"/>
                <a:gd name="connsiteX7" fmla="*/ 462489 w 809550"/>
                <a:gd name="connsiteY7" fmla="*/ 0 h 434080"/>
                <a:gd name="connsiteX8" fmla="*/ 462489 w 809550"/>
                <a:gd name="connsiteY8" fmla="*/ 0 h 43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550" h="434080">
                  <a:moveTo>
                    <a:pt x="462130" y="3409"/>
                  </a:moveTo>
                  <a:lnTo>
                    <a:pt x="804287" y="431389"/>
                  </a:lnTo>
                  <a:lnTo>
                    <a:pt x="6220" y="375709"/>
                  </a:lnTo>
                  <a:lnTo>
                    <a:pt x="462130" y="3409"/>
                  </a:lnTo>
                  <a:moveTo>
                    <a:pt x="462489" y="0"/>
                  </a:moveTo>
                  <a:lnTo>
                    <a:pt x="0" y="377623"/>
                  </a:lnTo>
                  <a:lnTo>
                    <a:pt x="809551" y="434081"/>
                  </a:lnTo>
                  <a:lnTo>
                    <a:pt x="462489" y="0"/>
                  </a:lnTo>
                  <a:lnTo>
                    <a:pt x="462489" y="0"/>
                  </a:lnTo>
                  <a:close/>
                </a:path>
              </a:pathLst>
            </a:custGeom>
            <a:grpFill/>
            <a:ln w="0" cap="flat">
              <a:noFill/>
              <a:prstDash val="solid"/>
              <a:miter/>
            </a:ln>
          </p:spPr>
          <p:txBody>
            <a:bodyPr rtlCol="0" anchor="ctr"/>
            <a:lstStyle/>
            <a:p>
              <a:endParaRPr lang="en-GB"/>
            </a:p>
          </p:txBody>
        </p:sp>
        <p:sp>
          <p:nvSpPr>
            <p:cNvPr id="4323" name="Vrije vorm: vorm 4322">
              <a:extLst>
                <a:ext uri="{FF2B5EF4-FFF2-40B4-BE49-F238E27FC236}">
                  <a16:creationId xmlns:a16="http://schemas.microsoft.com/office/drawing/2014/main" id="{BDFD980F-88ED-43A3-9D93-3C7B331CF2FB}"/>
                </a:ext>
              </a:extLst>
            </p:cNvPr>
            <p:cNvSpPr/>
            <p:nvPr/>
          </p:nvSpPr>
          <p:spPr>
            <a:xfrm>
              <a:off x="5172267" y="3358155"/>
              <a:ext cx="405253" cy="848963"/>
            </a:xfrm>
            <a:custGeom>
              <a:avLst/>
              <a:gdLst>
                <a:gd name="connsiteX0" fmla="*/ 6938 w 405253"/>
                <a:gd name="connsiteY0" fmla="*/ 8971 h 848963"/>
                <a:gd name="connsiteX1" fmla="*/ 348317 w 405253"/>
                <a:gd name="connsiteY1" fmla="*/ 296763 h 848963"/>
                <a:gd name="connsiteX2" fmla="*/ 401546 w 405253"/>
                <a:gd name="connsiteY2" fmla="*/ 835567 h 848963"/>
                <a:gd name="connsiteX3" fmla="*/ 6938 w 405253"/>
                <a:gd name="connsiteY3" fmla="*/ 8971 h 848963"/>
                <a:gd name="connsiteX4" fmla="*/ 0 w 405253"/>
                <a:gd name="connsiteY4" fmla="*/ 0 h 848963"/>
                <a:gd name="connsiteX5" fmla="*/ 405254 w 405253"/>
                <a:gd name="connsiteY5" fmla="*/ 848963 h 848963"/>
                <a:gd name="connsiteX6" fmla="*/ 350590 w 405253"/>
                <a:gd name="connsiteY6" fmla="*/ 295567 h 848963"/>
                <a:gd name="connsiteX7" fmla="*/ 0 w 405253"/>
                <a:gd name="connsiteY7" fmla="*/ 0 h 848963"/>
                <a:gd name="connsiteX8" fmla="*/ 0 w 405253"/>
                <a:gd name="connsiteY8" fmla="*/ 0 h 84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253" h="848963">
                  <a:moveTo>
                    <a:pt x="6938" y="8971"/>
                  </a:moveTo>
                  <a:lnTo>
                    <a:pt x="348317" y="296763"/>
                  </a:lnTo>
                  <a:lnTo>
                    <a:pt x="401546" y="835567"/>
                  </a:lnTo>
                  <a:lnTo>
                    <a:pt x="6938" y="8971"/>
                  </a:lnTo>
                  <a:moveTo>
                    <a:pt x="0" y="0"/>
                  </a:moveTo>
                  <a:lnTo>
                    <a:pt x="405254" y="848963"/>
                  </a:lnTo>
                  <a:lnTo>
                    <a:pt x="350590" y="295567"/>
                  </a:lnTo>
                  <a:lnTo>
                    <a:pt x="0" y="0"/>
                  </a:lnTo>
                  <a:lnTo>
                    <a:pt x="0" y="0"/>
                  </a:lnTo>
                  <a:close/>
                </a:path>
              </a:pathLst>
            </a:custGeom>
            <a:grpFill/>
            <a:ln w="0" cap="flat">
              <a:noFill/>
              <a:prstDash val="solid"/>
              <a:miter/>
            </a:ln>
          </p:spPr>
          <p:txBody>
            <a:bodyPr rtlCol="0" anchor="ctr"/>
            <a:lstStyle/>
            <a:p>
              <a:endParaRPr lang="en-GB"/>
            </a:p>
          </p:txBody>
        </p:sp>
        <p:sp>
          <p:nvSpPr>
            <p:cNvPr id="4324" name="Vrije vorm: vorm 4323">
              <a:extLst>
                <a:ext uri="{FF2B5EF4-FFF2-40B4-BE49-F238E27FC236}">
                  <a16:creationId xmlns:a16="http://schemas.microsoft.com/office/drawing/2014/main" id="{6A5311E9-C09D-4381-966C-313946A5B770}"/>
                </a:ext>
              </a:extLst>
            </p:cNvPr>
            <p:cNvSpPr/>
            <p:nvPr/>
          </p:nvSpPr>
          <p:spPr>
            <a:xfrm>
              <a:off x="5522857" y="3653782"/>
              <a:ext cx="517153" cy="553396"/>
            </a:xfrm>
            <a:custGeom>
              <a:avLst/>
              <a:gdLst>
                <a:gd name="connsiteX0" fmla="*/ 2751 w 517153"/>
                <a:gd name="connsiteY0" fmla="*/ 3469 h 553396"/>
                <a:gd name="connsiteX1" fmla="*/ 512309 w 517153"/>
                <a:gd name="connsiteY1" fmla="*/ 176611 h 553396"/>
                <a:gd name="connsiteX2" fmla="*/ 56638 w 517153"/>
                <a:gd name="connsiteY2" fmla="*/ 548672 h 553396"/>
                <a:gd name="connsiteX3" fmla="*/ 2751 w 517153"/>
                <a:gd name="connsiteY3" fmla="*/ 3469 h 553396"/>
                <a:gd name="connsiteX4" fmla="*/ 0 w 517153"/>
                <a:gd name="connsiteY4" fmla="*/ 0 h 553396"/>
                <a:gd name="connsiteX5" fmla="*/ 54664 w 517153"/>
                <a:gd name="connsiteY5" fmla="*/ 553396 h 553396"/>
                <a:gd name="connsiteX6" fmla="*/ 517153 w 517153"/>
                <a:gd name="connsiteY6" fmla="*/ 175773 h 553396"/>
                <a:gd name="connsiteX7" fmla="*/ 0 w 517153"/>
                <a:gd name="connsiteY7" fmla="*/ 0 h 553396"/>
                <a:gd name="connsiteX8" fmla="*/ 0 w 517153"/>
                <a:gd name="connsiteY8" fmla="*/ 0 h 55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153" h="553396">
                  <a:moveTo>
                    <a:pt x="2751" y="3469"/>
                  </a:moveTo>
                  <a:lnTo>
                    <a:pt x="512309" y="176611"/>
                  </a:lnTo>
                  <a:lnTo>
                    <a:pt x="56638" y="548672"/>
                  </a:lnTo>
                  <a:lnTo>
                    <a:pt x="2751" y="3469"/>
                  </a:lnTo>
                  <a:moveTo>
                    <a:pt x="0" y="0"/>
                  </a:moveTo>
                  <a:lnTo>
                    <a:pt x="54664" y="553396"/>
                  </a:lnTo>
                  <a:lnTo>
                    <a:pt x="517153" y="175773"/>
                  </a:lnTo>
                  <a:lnTo>
                    <a:pt x="0" y="0"/>
                  </a:lnTo>
                  <a:lnTo>
                    <a:pt x="0" y="0"/>
                  </a:lnTo>
                  <a:close/>
                </a:path>
              </a:pathLst>
            </a:custGeom>
            <a:grpFill/>
            <a:ln w="0" cap="flat">
              <a:noFill/>
              <a:prstDash val="solid"/>
              <a:miter/>
            </a:ln>
          </p:spPr>
          <p:txBody>
            <a:bodyPr rtlCol="0" anchor="ctr"/>
            <a:lstStyle/>
            <a:p>
              <a:endParaRPr lang="en-GB"/>
            </a:p>
          </p:txBody>
        </p:sp>
        <p:sp>
          <p:nvSpPr>
            <p:cNvPr id="4325" name="Vrije vorm: vorm 4324">
              <a:extLst>
                <a:ext uri="{FF2B5EF4-FFF2-40B4-BE49-F238E27FC236}">
                  <a16:creationId xmlns:a16="http://schemas.microsoft.com/office/drawing/2014/main" id="{501CB65C-E4F4-48E7-B76F-EAB5DB899C35}"/>
                </a:ext>
              </a:extLst>
            </p:cNvPr>
            <p:cNvSpPr/>
            <p:nvPr/>
          </p:nvSpPr>
          <p:spPr>
            <a:xfrm>
              <a:off x="6033192" y="3371253"/>
              <a:ext cx="374991" cy="458242"/>
            </a:xfrm>
            <a:custGeom>
              <a:avLst/>
              <a:gdLst>
                <a:gd name="connsiteX0" fmla="*/ 2452 w 374991"/>
                <a:gd name="connsiteY0" fmla="*/ 5024 h 458242"/>
                <a:gd name="connsiteX1" fmla="*/ 370386 w 374991"/>
                <a:gd name="connsiteY1" fmla="*/ 295268 h 458242"/>
                <a:gd name="connsiteX2" fmla="*/ 9150 w 374991"/>
                <a:gd name="connsiteY2" fmla="*/ 454654 h 458242"/>
                <a:gd name="connsiteX3" fmla="*/ 2452 w 374991"/>
                <a:gd name="connsiteY3" fmla="*/ 5024 h 458242"/>
                <a:gd name="connsiteX4" fmla="*/ 0 w 374991"/>
                <a:gd name="connsiteY4" fmla="*/ 0 h 458242"/>
                <a:gd name="connsiteX5" fmla="*/ 6878 w 374991"/>
                <a:gd name="connsiteY5" fmla="*/ 458243 h 458242"/>
                <a:gd name="connsiteX6" fmla="*/ 374991 w 374991"/>
                <a:gd name="connsiteY6" fmla="*/ 295806 h 458242"/>
                <a:gd name="connsiteX7" fmla="*/ 0 w 374991"/>
                <a:gd name="connsiteY7" fmla="*/ 0 h 458242"/>
                <a:gd name="connsiteX8" fmla="*/ 0 w 374991"/>
                <a:gd name="connsiteY8" fmla="*/ 0 h 458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991" h="458242">
                  <a:moveTo>
                    <a:pt x="2452" y="5024"/>
                  </a:moveTo>
                  <a:lnTo>
                    <a:pt x="370386" y="295268"/>
                  </a:lnTo>
                  <a:lnTo>
                    <a:pt x="9150" y="454654"/>
                  </a:lnTo>
                  <a:lnTo>
                    <a:pt x="2452" y="5024"/>
                  </a:lnTo>
                  <a:moveTo>
                    <a:pt x="0" y="0"/>
                  </a:moveTo>
                  <a:lnTo>
                    <a:pt x="6878" y="458243"/>
                  </a:lnTo>
                  <a:lnTo>
                    <a:pt x="374991" y="295806"/>
                  </a:lnTo>
                  <a:lnTo>
                    <a:pt x="0" y="0"/>
                  </a:lnTo>
                  <a:lnTo>
                    <a:pt x="0" y="0"/>
                  </a:lnTo>
                  <a:close/>
                </a:path>
              </a:pathLst>
            </a:custGeom>
            <a:grpFill/>
            <a:ln w="0" cap="flat">
              <a:noFill/>
              <a:prstDash val="solid"/>
              <a:miter/>
            </a:ln>
          </p:spPr>
          <p:txBody>
            <a:bodyPr rtlCol="0" anchor="ctr"/>
            <a:lstStyle/>
            <a:p>
              <a:endParaRPr lang="en-GB"/>
            </a:p>
          </p:txBody>
        </p:sp>
        <p:sp>
          <p:nvSpPr>
            <p:cNvPr id="4326" name="Vrije vorm: vorm 4325">
              <a:extLst>
                <a:ext uri="{FF2B5EF4-FFF2-40B4-BE49-F238E27FC236}">
                  <a16:creationId xmlns:a16="http://schemas.microsoft.com/office/drawing/2014/main" id="{A3A5B30A-9A37-4FF7-9C07-21271B19213D}"/>
                </a:ext>
              </a:extLst>
            </p:cNvPr>
            <p:cNvSpPr/>
            <p:nvPr/>
          </p:nvSpPr>
          <p:spPr>
            <a:xfrm>
              <a:off x="5522917" y="3371253"/>
              <a:ext cx="517152" cy="458242"/>
            </a:xfrm>
            <a:custGeom>
              <a:avLst/>
              <a:gdLst>
                <a:gd name="connsiteX0" fmla="*/ 507943 w 517152"/>
                <a:gd name="connsiteY0" fmla="*/ 4007 h 458242"/>
                <a:gd name="connsiteX1" fmla="*/ 514701 w 517152"/>
                <a:gd name="connsiteY1" fmla="*/ 454893 h 458242"/>
                <a:gd name="connsiteX2" fmla="*/ 5861 w 517152"/>
                <a:gd name="connsiteY2" fmla="*/ 281991 h 458242"/>
                <a:gd name="connsiteX3" fmla="*/ 507943 w 517152"/>
                <a:gd name="connsiteY3" fmla="*/ 4007 h 458242"/>
                <a:gd name="connsiteX4" fmla="*/ 510275 w 517152"/>
                <a:gd name="connsiteY4" fmla="*/ 0 h 458242"/>
                <a:gd name="connsiteX5" fmla="*/ 0 w 517152"/>
                <a:gd name="connsiteY5" fmla="*/ 282529 h 458242"/>
                <a:gd name="connsiteX6" fmla="*/ 517153 w 517152"/>
                <a:gd name="connsiteY6" fmla="*/ 458243 h 458242"/>
                <a:gd name="connsiteX7" fmla="*/ 510275 w 517152"/>
                <a:gd name="connsiteY7" fmla="*/ 0 h 458242"/>
                <a:gd name="connsiteX8" fmla="*/ 510275 w 517152"/>
                <a:gd name="connsiteY8" fmla="*/ 0 h 458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152" h="458242">
                  <a:moveTo>
                    <a:pt x="507943" y="4007"/>
                  </a:moveTo>
                  <a:lnTo>
                    <a:pt x="514701" y="454893"/>
                  </a:lnTo>
                  <a:lnTo>
                    <a:pt x="5861" y="281991"/>
                  </a:lnTo>
                  <a:lnTo>
                    <a:pt x="507943" y="4007"/>
                  </a:lnTo>
                  <a:moveTo>
                    <a:pt x="510275" y="0"/>
                  </a:moveTo>
                  <a:lnTo>
                    <a:pt x="0" y="282529"/>
                  </a:lnTo>
                  <a:lnTo>
                    <a:pt x="517153" y="458243"/>
                  </a:lnTo>
                  <a:lnTo>
                    <a:pt x="510275" y="0"/>
                  </a:lnTo>
                  <a:lnTo>
                    <a:pt x="510275" y="0"/>
                  </a:lnTo>
                  <a:close/>
                </a:path>
              </a:pathLst>
            </a:custGeom>
            <a:grpFill/>
            <a:ln w="0" cap="flat">
              <a:noFill/>
              <a:prstDash val="solid"/>
              <a:miter/>
            </a:ln>
          </p:spPr>
          <p:txBody>
            <a:bodyPr rtlCol="0" anchor="ctr"/>
            <a:lstStyle/>
            <a:p>
              <a:endParaRPr lang="en-GB"/>
            </a:p>
          </p:txBody>
        </p:sp>
        <p:sp>
          <p:nvSpPr>
            <p:cNvPr id="4327" name="Vrije vorm: vorm 4326">
              <a:extLst>
                <a:ext uri="{FF2B5EF4-FFF2-40B4-BE49-F238E27FC236}">
                  <a16:creationId xmlns:a16="http://schemas.microsoft.com/office/drawing/2014/main" id="{16334748-66A0-46EE-8314-DEEE07EE7040}"/>
                </a:ext>
              </a:extLst>
            </p:cNvPr>
            <p:cNvSpPr/>
            <p:nvPr/>
          </p:nvSpPr>
          <p:spPr>
            <a:xfrm>
              <a:off x="5522857" y="2564394"/>
              <a:ext cx="510275" cy="1089388"/>
            </a:xfrm>
            <a:custGeom>
              <a:avLst/>
              <a:gdLst>
                <a:gd name="connsiteX0" fmla="*/ 81158 w 510275"/>
                <a:gd name="connsiteY0" fmla="*/ 8433 h 1089388"/>
                <a:gd name="connsiteX1" fmla="*/ 507106 w 510275"/>
                <a:gd name="connsiteY1" fmla="*/ 805902 h 1089388"/>
                <a:gd name="connsiteX2" fmla="*/ 2751 w 510275"/>
                <a:gd name="connsiteY2" fmla="*/ 1085142 h 1089388"/>
                <a:gd name="connsiteX3" fmla="*/ 81158 w 510275"/>
                <a:gd name="connsiteY3" fmla="*/ 8433 h 1089388"/>
                <a:gd name="connsiteX4" fmla="*/ 79364 w 510275"/>
                <a:gd name="connsiteY4" fmla="*/ 0 h 1089388"/>
                <a:gd name="connsiteX5" fmla="*/ 0 w 510275"/>
                <a:gd name="connsiteY5" fmla="*/ 1089388 h 1089388"/>
                <a:gd name="connsiteX6" fmla="*/ 510275 w 510275"/>
                <a:gd name="connsiteY6" fmla="*/ 806859 h 1089388"/>
                <a:gd name="connsiteX7" fmla="*/ 79364 w 510275"/>
                <a:gd name="connsiteY7" fmla="*/ 0 h 1089388"/>
                <a:gd name="connsiteX8" fmla="*/ 79364 w 510275"/>
                <a:gd name="connsiteY8" fmla="*/ 0 h 1089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0275" h="1089388">
                  <a:moveTo>
                    <a:pt x="81158" y="8433"/>
                  </a:moveTo>
                  <a:lnTo>
                    <a:pt x="507106" y="805902"/>
                  </a:lnTo>
                  <a:lnTo>
                    <a:pt x="2751" y="1085142"/>
                  </a:lnTo>
                  <a:lnTo>
                    <a:pt x="81158" y="8433"/>
                  </a:lnTo>
                  <a:moveTo>
                    <a:pt x="79364" y="0"/>
                  </a:moveTo>
                  <a:lnTo>
                    <a:pt x="0" y="1089388"/>
                  </a:lnTo>
                  <a:lnTo>
                    <a:pt x="510275" y="806859"/>
                  </a:lnTo>
                  <a:lnTo>
                    <a:pt x="79364" y="0"/>
                  </a:lnTo>
                  <a:lnTo>
                    <a:pt x="79364" y="0"/>
                  </a:lnTo>
                  <a:close/>
                </a:path>
              </a:pathLst>
            </a:custGeom>
            <a:grpFill/>
            <a:ln w="0" cap="flat">
              <a:noFill/>
              <a:prstDash val="solid"/>
              <a:miter/>
            </a:ln>
          </p:spPr>
          <p:txBody>
            <a:bodyPr rtlCol="0" anchor="ctr"/>
            <a:lstStyle/>
            <a:p>
              <a:endParaRPr lang="en-GB"/>
            </a:p>
          </p:txBody>
        </p:sp>
        <p:sp>
          <p:nvSpPr>
            <p:cNvPr id="4328" name="Vrije vorm: vorm 4327">
              <a:extLst>
                <a:ext uri="{FF2B5EF4-FFF2-40B4-BE49-F238E27FC236}">
                  <a16:creationId xmlns:a16="http://schemas.microsoft.com/office/drawing/2014/main" id="{D7566201-00C9-48E6-A9DF-CDFF0D813628}"/>
                </a:ext>
              </a:extLst>
            </p:cNvPr>
            <p:cNvSpPr/>
            <p:nvPr/>
          </p:nvSpPr>
          <p:spPr>
            <a:xfrm>
              <a:off x="5172327" y="2564872"/>
              <a:ext cx="429475" cy="1088909"/>
            </a:xfrm>
            <a:custGeom>
              <a:avLst/>
              <a:gdLst>
                <a:gd name="connsiteX0" fmla="*/ 426306 w 429475"/>
                <a:gd name="connsiteY0" fmla="*/ 10885 h 1088909"/>
                <a:gd name="connsiteX1" fmla="*/ 348556 w 429475"/>
                <a:gd name="connsiteY1" fmla="*/ 1084006 h 1088909"/>
                <a:gd name="connsiteX2" fmla="*/ 3050 w 429475"/>
                <a:gd name="connsiteY2" fmla="*/ 792685 h 1088909"/>
                <a:gd name="connsiteX3" fmla="*/ 426306 w 429475"/>
                <a:gd name="connsiteY3" fmla="*/ 10885 h 1088909"/>
                <a:gd name="connsiteX4" fmla="*/ 429476 w 429475"/>
                <a:gd name="connsiteY4" fmla="*/ 0 h 1088909"/>
                <a:gd name="connsiteX5" fmla="*/ 0 w 429475"/>
                <a:gd name="connsiteY5" fmla="*/ 793343 h 1088909"/>
                <a:gd name="connsiteX6" fmla="*/ 350590 w 429475"/>
                <a:gd name="connsiteY6" fmla="*/ 1088910 h 1088909"/>
                <a:gd name="connsiteX7" fmla="*/ 429476 w 429475"/>
                <a:gd name="connsiteY7" fmla="*/ 0 h 1088909"/>
                <a:gd name="connsiteX8" fmla="*/ 429476 w 429475"/>
                <a:gd name="connsiteY8" fmla="*/ 0 h 108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475" h="1088909">
                  <a:moveTo>
                    <a:pt x="426306" y="10885"/>
                  </a:moveTo>
                  <a:lnTo>
                    <a:pt x="348556" y="1084006"/>
                  </a:lnTo>
                  <a:lnTo>
                    <a:pt x="3050" y="792685"/>
                  </a:lnTo>
                  <a:lnTo>
                    <a:pt x="426306" y="10885"/>
                  </a:lnTo>
                  <a:moveTo>
                    <a:pt x="429476" y="0"/>
                  </a:moveTo>
                  <a:lnTo>
                    <a:pt x="0" y="793343"/>
                  </a:lnTo>
                  <a:lnTo>
                    <a:pt x="350590" y="1088910"/>
                  </a:lnTo>
                  <a:lnTo>
                    <a:pt x="429476" y="0"/>
                  </a:lnTo>
                  <a:lnTo>
                    <a:pt x="429476" y="0"/>
                  </a:lnTo>
                  <a:close/>
                </a:path>
              </a:pathLst>
            </a:custGeom>
            <a:grpFill/>
            <a:ln w="0" cap="flat">
              <a:noFill/>
              <a:prstDash val="solid"/>
              <a:miter/>
            </a:ln>
          </p:spPr>
          <p:txBody>
            <a:bodyPr rtlCol="0" anchor="ctr"/>
            <a:lstStyle/>
            <a:p>
              <a:endParaRPr lang="en-GB"/>
            </a:p>
          </p:txBody>
        </p:sp>
      </p:grpSp>
      <p:grpSp>
        <p:nvGrpSpPr>
          <p:cNvPr id="4329" name="Lijnen_midden_2">
            <a:extLst>
              <a:ext uri="{FF2B5EF4-FFF2-40B4-BE49-F238E27FC236}">
                <a16:creationId xmlns:a16="http://schemas.microsoft.com/office/drawing/2014/main" id="{10934AC6-8AF5-4314-ADB4-2A0334577F88}"/>
              </a:ext>
            </a:extLst>
          </p:cNvPr>
          <p:cNvGrpSpPr/>
          <p:nvPr/>
        </p:nvGrpSpPr>
        <p:grpSpPr>
          <a:xfrm>
            <a:off x="4962142" y="2496784"/>
            <a:ext cx="1671491" cy="2143250"/>
            <a:chOff x="4930048" y="2313264"/>
            <a:chExt cx="1671491" cy="2143250"/>
          </a:xfrm>
          <a:solidFill>
            <a:schemeClr val="bg1">
              <a:alpha val="35000"/>
            </a:schemeClr>
          </a:solidFill>
        </p:grpSpPr>
        <p:sp>
          <p:nvSpPr>
            <p:cNvPr id="4330" name="Vrije vorm: vorm 4329">
              <a:extLst>
                <a:ext uri="{FF2B5EF4-FFF2-40B4-BE49-F238E27FC236}">
                  <a16:creationId xmlns:a16="http://schemas.microsoft.com/office/drawing/2014/main" id="{E71EB9FC-0086-4D03-B169-700539CC1526}"/>
                </a:ext>
              </a:extLst>
            </p:cNvPr>
            <p:cNvSpPr/>
            <p:nvPr/>
          </p:nvSpPr>
          <p:spPr>
            <a:xfrm>
              <a:off x="5413051" y="2313622"/>
              <a:ext cx="445025" cy="742566"/>
            </a:xfrm>
            <a:custGeom>
              <a:avLst/>
              <a:gdLst>
                <a:gd name="connsiteX0" fmla="*/ 299515 w 445025"/>
                <a:gd name="connsiteY0" fmla="*/ 7476 h 742566"/>
                <a:gd name="connsiteX1" fmla="*/ 442275 w 445025"/>
                <a:gd name="connsiteY1" fmla="*/ 739995 h 742566"/>
                <a:gd name="connsiteX2" fmla="*/ 3229 w 445025"/>
                <a:gd name="connsiteY2" fmla="*/ 690534 h 742566"/>
                <a:gd name="connsiteX3" fmla="*/ 299515 w 445025"/>
                <a:gd name="connsiteY3" fmla="*/ 7476 h 742566"/>
                <a:gd name="connsiteX4" fmla="*/ 300292 w 445025"/>
                <a:gd name="connsiteY4" fmla="*/ 0 h 742566"/>
                <a:gd name="connsiteX5" fmla="*/ 0 w 445025"/>
                <a:gd name="connsiteY5" fmla="*/ 692388 h 742566"/>
                <a:gd name="connsiteX6" fmla="*/ 445025 w 445025"/>
                <a:gd name="connsiteY6" fmla="*/ 742566 h 742566"/>
                <a:gd name="connsiteX7" fmla="*/ 300292 w 445025"/>
                <a:gd name="connsiteY7" fmla="*/ 0 h 742566"/>
                <a:gd name="connsiteX8" fmla="*/ 300292 w 445025"/>
                <a:gd name="connsiteY8" fmla="*/ 0 h 74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5025" h="742566">
                  <a:moveTo>
                    <a:pt x="299515" y="7476"/>
                  </a:moveTo>
                  <a:lnTo>
                    <a:pt x="442275" y="739995"/>
                  </a:lnTo>
                  <a:lnTo>
                    <a:pt x="3229" y="690534"/>
                  </a:lnTo>
                  <a:lnTo>
                    <a:pt x="299515" y="7476"/>
                  </a:lnTo>
                  <a:moveTo>
                    <a:pt x="300292" y="0"/>
                  </a:moveTo>
                  <a:lnTo>
                    <a:pt x="0" y="692388"/>
                  </a:lnTo>
                  <a:lnTo>
                    <a:pt x="445025" y="742566"/>
                  </a:lnTo>
                  <a:lnTo>
                    <a:pt x="300292" y="0"/>
                  </a:lnTo>
                  <a:lnTo>
                    <a:pt x="300292" y="0"/>
                  </a:lnTo>
                  <a:close/>
                </a:path>
              </a:pathLst>
            </a:custGeom>
            <a:grpFill/>
            <a:ln w="0" cap="flat">
              <a:noFill/>
              <a:prstDash val="solid"/>
              <a:miter/>
            </a:ln>
          </p:spPr>
          <p:txBody>
            <a:bodyPr rtlCol="0" anchor="ctr"/>
            <a:lstStyle/>
            <a:p>
              <a:endParaRPr lang="en-GB"/>
            </a:p>
          </p:txBody>
        </p:sp>
        <p:sp>
          <p:nvSpPr>
            <p:cNvPr id="4331" name="Vrije vorm: vorm 4330">
              <a:extLst>
                <a:ext uri="{FF2B5EF4-FFF2-40B4-BE49-F238E27FC236}">
                  <a16:creationId xmlns:a16="http://schemas.microsoft.com/office/drawing/2014/main" id="{2CCAC166-68CC-4B52-9B06-F03361A46E6C}"/>
                </a:ext>
              </a:extLst>
            </p:cNvPr>
            <p:cNvSpPr/>
            <p:nvPr/>
          </p:nvSpPr>
          <p:spPr>
            <a:xfrm>
              <a:off x="5713762" y="2313264"/>
              <a:ext cx="489582" cy="1138131"/>
            </a:xfrm>
            <a:custGeom>
              <a:avLst/>
              <a:gdLst>
                <a:gd name="connsiteX0" fmla="*/ 6100 w 489582"/>
                <a:gd name="connsiteY0" fmla="*/ 19856 h 1138131"/>
                <a:gd name="connsiteX1" fmla="*/ 481927 w 489582"/>
                <a:gd name="connsiteY1" fmla="*/ 1126050 h 1138131"/>
                <a:gd name="connsiteX2" fmla="*/ 145870 w 489582"/>
                <a:gd name="connsiteY2" fmla="*/ 741968 h 1138131"/>
                <a:gd name="connsiteX3" fmla="*/ 6100 w 489582"/>
                <a:gd name="connsiteY3" fmla="*/ 19856 h 1138131"/>
                <a:gd name="connsiteX4" fmla="*/ 0 w 489582"/>
                <a:gd name="connsiteY4" fmla="*/ 0 h 1138131"/>
                <a:gd name="connsiteX5" fmla="*/ 143837 w 489582"/>
                <a:gd name="connsiteY5" fmla="*/ 742925 h 1138131"/>
                <a:gd name="connsiteX6" fmla="*/ 489582 w 489582"/>
                <a:gd name="connsiteY6" fmla="*/ 1138131 h 1138131"/>
                <a:gd name="connsiteX7" fmla="*/ 0 w 489582"/>
                <a:gd name="connsiteY7" fmla="*/ 0 h 1138131"/>
                <a:gd name="connsiteX8" fmla="*/ 0 w 489582"/>
                <a:gd name="connsiteY8" fmla="*/ 0 h 113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582" h="1138131">
                  <a:moveTo>
                    <a:pt x="6100" y="19856"/>
                  </a:moveTo>
                  <a:lnTo>
                    <a:pt x="481927" y="1126050"/>
                  </a:lnTo>
                  <a:lnTo>
                    <a:pt x="145870" y="741968"/>
                  </a:lnTo>
                  <a:lnTo>
                    <a:pt x="6100" y="19856"/>
                  </a:lnTo>
                  <a:moveTo>
                    <a:pt x="0" y="0"/>
                  </a:moveTo>
                  <a:lnTo>
                    <a:pt x="143837" y="742925"/>
                  </a:lnTo>
                  <a:lnTo>
                    <a:pt x="489582" y="1138131"/>
                  </a:lnTo>
                  <a:lnTo>
                    <a:pt x="0" y="0"/>
                  </a:lnTo>
                  <a:lnTo>
                    <a:pt x="0" y="0"/>
                  </a:lnTo>
                  <a:close/>
                </a:path>
              </a:pathLst>
            </a:custGeom>
            <a:grpFill/>
            <a:ln w="0" cap="flat">
              <a:noFill/>
              <a:prstDash val="solid"/>
              <a:miter/>
            </a:ln>
          </p:spPr>
          <p:txBody>
            <a:bodyPr rtlCol="0" anchor="ctr"/>
            <a:lstStyle/>
            <a:p>
              <a:endParaRPr lang="en-GB"/>
            </a:p>
          </p:txBody>
        </p:sp>
        <p:sp>
          <p:nvSpPr>
            <p:cNvPr id="4332" name="Vrije vorm: vorm 4331">
              <a:extLst>
                <a:ext uri="{FF2B5EF4-FFF2-40B4-BE49-F238E27FC236}">
                  <a16:creationId xmlns:a16="http://schemas.microsoft.com/office/drawing/2014/main" id="{A515EED6-CA39-49A0-AE25-A7830C0E28C9}"/>
                </a:ext>
              </a:extLst>
            </p:cNvPr>
            <p:cNvSpPr/>
            <p:nvPr/>
          </p:nvSpPr>
          <p:spPr>
            <a:xfrm>
              <a:off x="6026673" y="3451395"/>
              <a:ext cx="572175" cy="984127"/>
            </a:xfrm>
            <a:custGeom>
              <a:avLst/>
              <a:gdLst>
                <a:gd name="connsiteX0" fmla="*/ 175953 w 572175"/>
                <a:gd name="connsiteY0" fmla="*/ 4127 h 984127"/>
                <a:gd name="connsiteX1" fmla="*/ 563324 w 572175"/>
                <a:gd name="connsiteY1" fmla="*/ 968039 h 984127"/>
                <a:gd name="connsiteX2" fmla="*/ 2871 w 572175"/>
                <a:gd name="connsiteY2" fmla="*/ 192759 h 984127"/>
                <a:gd name="connsiteX3" fmla="*/ 175953 w 572175"/>
                <a:gd name="connsiteY3" fmla="*/ 4127 h 984127"/>
                <a:gd name="connsiteX4" fmla="*/ 176671 w 572175"/>
                <a:gd name="connsiteY4" fmla="*/ 0 h 984127"/>
                <a:gd name="connsiteX5" fmla="*/ 0 w 572175"/>
                <a:gd name="connsiteY5" fmla="*/ 192639 h 984127"/>
                <a:gd name="connsiteX6" fmla="*/ 572176 w 572175"/>
                <a:gd name="connsiteY6" fmla="*/ 984128 h 984127"/>
                <a:gd name="connsiteX7" fmla="*/ 176671 w 572175"/>
                <a:gd name="connsiteY7" fmla="*/ 0 h 984127"/>
                <a:gd name="connsiteX8" fmla="*/ 176671 w 572175"/>
                <a:gd name="connsiteY8" fmla="*/ 0 h 98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2175" h="984127">
                  <a:moveTo>
                    <a:pt x="175953" y="4127"/>
                  </a:moveTo>
                  <a:lnTo>
                    <a:pt x="563324" y="968039"/>
                  </a:lnTo>
                  <a:lnTo>
                    <a:pt x="2871" y="192759"/>
                  </a:lnTo>
                  <a:lnTo>
                    <a:pt x="175953" y="4127"/>
                  </a:lnTo>
                  <a:moveTo>
                    <a:pt x="176671" y="0"/>
                  </a:moveTo>
                  <a:lnTo>
                    <a:pt x="0" y="192639"/>
                  </a:lnTo>
                  <a:lnTo>
                    <a:pt x="572176" y="984128"/>
                  </a:lnTo>
                  <a:lnTo>
                    <a:pt x="176671" y="0"/>
                  </a:lnTo>
                  <a:lnTo>
                    <a:pt x="176671" y="0"/>
                  </a:lnTo>
                  <a:close/>
                </a:path>
              </a:pathLst>
            </a:custGeom>
            <a:grpFill/>
            <a:ln w="0" cap="flat">
              <a:noFill/>
              <a:prstDash val="solid"/>
              <a:miter/>
            </a:ln>
          </p:spPr>
          <p:txBody>
            <a:bodyPr rtlCol="0" anchor="ctr"/>
            <a:lstStyle/>
            <a:p>
              <a:endParaRPr lang="en-GB"/>
            </a:p>
          </p:txBody>
        </p:sp>
        <p:sp>
          <p:nvSpPr>
            <p:cNvPr id="4333" name="Vrije vorm: vorm 4332">
              <a:extLst>
                <a:ext uri="{FF2B5EF4-FFF2-40B4-BE49-F238E27FC236}">
                  <a16:creationId xmlns:a16="http://schemas.microsoft.com/office/drawing/2014/main" id="{205526A0-82A5-4F82-9B31-95157AA0F5AE}"/>
                </a:ext>
              </a:extLst>
            </p:cNvPr>
            <p:cNvSpPr/>
            <p:nvPr/>
          </p:nvSpPr>
          <p:spPr>
            <a:xfrm>
              <a:off x="5479078" y="3643974"/>
              <a:ext cx="1122461" cy="812540"/>
            </a:xfrm>
            <a:custGeom>
              <a:avLst/>
              <a:gdLst>
                <a:gd name="connsiteX0" fmla="*/ 547715 w 1122461"/>
                <a:gd name="connsiteY0" fmla="*/ 3887 h 812540"/>
                <a:gd name="connsiteX1" fmla="*/ 1118156 w 1122461"/>
                <a:gd name="connsiteY1" fmla="*/ 789335 h 812540"/>
                <a:gd name="connsiteX2" fmla="*/ 4246 w 1122461"/>
                <a:gd name="connsiteY2" fmla="*/ 810208 h 812540"/>
                <a:gd name="connsiteX3" fmla="*/ 547715 w 1122461"/>
                <a:gd name="connsiteY3" fmla="*/ 3887 h 812540"/>
                <a:gd name="connsiteX4" fmla="*/ 547595 w 1122461"/>
                <a:gd name="connsiteY4" fmla="*/ 0 h 812540"/>
                <a:gd name="connsiteX5" fmla="*/ 0 w 1122461"/>
                <a:gd name="connsiteY5" fmla="*/ 812541 h 812540"/>
                <a:gd name="connsiteX6" fmla="*/ 1122462 w 1122461"/>
                <a:gd name="connsiteY6" fmla="*/ 791488 h 812540"/>
                <a:gd name="connsiteX7" fmla="*/ 547595 w 1122461"/>
                <a:gd name="connsiteY7" fmla="*/ 0 h 812540"/>
                <a:gd name="connsiteX8" fmla="*/ 547595 w 1122461"/>
                <a:gd name="connsiteY8" fmla="*/ 0 h 81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461" h="812540">
                  <a:moveTo>
                    <a:pt x="547715" y="3887"/>
                  </a:moveTo>
                  <a:lnTo>
                    <a:pt x="1118156" y="789335"/>
                  </a:lnTo>
                  <a:lnTo>
                    <a:pt x="4246" y="810208"/>
                  </a:lnTo>
                  <a:lnTo>
                    <a:pt x="547715" y="3887"/>
                  </a:lnTo>
                  <a:moveTo>
                    <a:pt x="547595" y="0"/>
                  </a:moveTo>
                  <a:lnTo>
                    <a:pt x="0" y="812541"/>
                  </a:lnTo>
                  <a:lnTo>
                    <a:pt x="1122462" y="791488"/>
                  </a:lnTo>
                  <a:lnTo>
                    <a:pt x="547595" y="0"/>
                  </a:lnTo>
                  <a:lnTo>
                    <a:pt x="547595" y="0"/>
                  </a:lnTo>
                  <a:close/>
                </a:path>
              </a:pathLst>
            </a:custGeom>
            <a:grpFill/>
            <a:ln w="0" cap="flat">
              <a:noFill/>
              <a:prstDash val="solid"/>
              <a:miter/>
            </a:ln>
          </p:spPr>
          <p:txBody>
            <a:bodyPr rtlCol="0" anchor="ctr"/>
            <a:lstStyle/>
            <a:p>
              <a:endParaRPr lang="en-GB"/>
            </a:p>
          </p:txBody>
        </p:sp>
        <p:sp>
          <p:nvSpPr>
            <p:cNvPr id="4334" name="Vrije vorm: vorm 4333">
              <a:extLst>
                <a:ext uri="{FF2B5EF4-FFF2-40B4-BE49-F238E27FC236}">
                  <a16:creationId xmlns:a16="http://schemas.microsoft.com/office/drawing/2014/main" id="{94C356A6-8732-4792-8FC7-00342F5B6E18}"/>
                </a:ext>
              </a:extLst>
            </p:cNvPr>
            <p:cNvSpPr/>
            <p:nvPr/>
          </p:nvSpPr>
          <p:spPr>
            <a:xfrm>
              <a:off x="4930048" y="3139201"/>
              <a:ext cx="842384" cy="1317313"/>
            </a:xfrm>
            <a:custGeom>
              <a:avLst/>
              <a:gdLst>
                <a:gd name="connsiteX0" fmla="*/ 4187 w 842384"/>
                <a:gd name="connsiteY0" fmla="*/ 4366 h 1317313"/>
                <a:gd name="connsiteX1" fmla="*/ 839634 w 842384"/>
                <a:gd name="connsiteY1" fmla="*/ 378281 h 1317313"/>
                <a:gd name="connsiteX2" fmla="*/ 548731 w 842384"/>
                <a:gd name="connsiteY2" fmla="*/ 1310795 h 1317313"/>
                <a:gd name="connsiteX3" fmla="*/ 4187 w 842384"/>
                <a:gd name="connsiteY3" fmla="*/ 4366 h 1317313"/>
                <a:gd name="connsiteX4" fmla="*/ 0 w 842384"/>
                <a:gd name="connsiteY4" fmla="*/ 0 h 1317313"/>
                <a:gd name="connsiteX5" fmla="*/ 549030 w 842384"/>
                <a:gd name="connsiteY5" fmla="*/ 1317314 h 1317313"/>
                <a:gd name="connsiteX6" fmla="*/ 842385 w 842384"/>
                <a:gd name="connsiteY6" fmla="*/ 377025 h 1317313"/>
                <a:gd name="connsiteX7" fmla="*/ 0 w 842384"/>
                <a:gd name="connsiteY7" fmla="*/ 0 h 1317313"/>
                <a:gd name="connsiteX8" fmla="*/ 0 w 842384"/>
                <a:gd name="connsiteY8" fmla="*/ 0 h 131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384" h="1317313">
                  <a:moveTo>
                    <a:pt x="4187" y="4366"/>
                  </a:moveTo>
                  <a:lnTo>
                    <a:pt x="839634" y="378281"/>
                  </a:lnTo>
                  <a:lnTo>
                    <a:pt x="548731" y="1310795"/>
                  </a:lnTo>
                  <a:lnTo>
                    <a:pt x="4187" y="4366"/>
                  </a:lnTo>
                  <a:moveTo>
                    <a:pt x="0" y="0"/>
                  </a:moveTo>
                  <a:lnTo>
                    <a:pt x="549030" y="1317314"/>
                  </a:lnTo>
                  <a:lnTo>
                    <a:pt x="842385" y="377025"/>
                  </a:lnTo>
                  <a:lnTo>
                    <a:pt x="0" y="0"/>
                  </a:lnTo>
                  <a:lnTo>
                    <a:pt x="0" y="0"/>
                  </a:lnTo>
                  <a:close/>
                </a:path>
              </a:pathLst>
            </a:custGeom>
            <a:grpFill/>
            <a:ln w="0" cap="flat">
              <a:noFill/>
              <a:prstDash val="solid"/>
              <a:miter/>
            </a:ln>
          </p:spPr>
          <p:txBody>
            <a:bodyPr rtlCol="0" anchor="ctr"/>
            <a:lstStyle/>
            <a:p>
              <a:endParaRPr lang="en-GB"/>
            </a:p>
          </p:txBody>
        </p:sp>
        <p:sp>
          <p:nvSpPr>
            <p:cNvPr id="4335" name="Vrije vorm: vorm 4334">
              <a:extLst>
                <a:ext uri="{FF2B5EF4-FFF2-40B4-BE49-F238E27FC236}">
                  <a16:creationId xmlns:a16="http://schemas.microsoft.com/office/drawing/2014/main" id="{3A888E10-F01E-49D0-B855-6119F5D50789}"/>
                </a:ext>
              </a:extLst>
            </p:cNvPr>
            <p:cNvSpPr/>
            <p:nvPr/>
          </p:nvSpPr>
          <p:spPr>
            <a:xfrm>
              <a:off x="5479078" y="3516226"/>
              <a:ext cx="547594" cy="940288"/>
            </a:xfrm>
            <a:custGeom>
              <a:avLst/>
              <a:gdLst>
                <a:gd name="connsiteX0" fmla="*/ 294670 w 547594"/>
                <a:gd name="connsiteY0" fmla="*/ 3170 h 940288"/>
                <a:gd name="connsiteX1" fmla="*/ 544365 w 547594"/>
                <a:gd name="connsiteY1" fmla="*/ 128645 h 940288"/>
                <a:gd name="connsiteX2" fmla="*/ 6698 w 547594"/>
                <a:gd name="connsiteY2" fmla="*/ 926414 h 940288"/>
                <a:gd name="connsiteX3" fmla="*/ 294670 w 547594"/>
                <a:gd name="connsiteY3" fmla="*/ 3170 h 940288"/>
                <a:gd name="connsiteX4" fmla="*/ 293354 w 547594"/>
                <a:gd name="connsiteY4" fmla="*/ 0 h 940288"/>
                <a:gd name="connsiteX5" fmla="*/ 0 w 547594"/>
                <a:gd name="connsiteY5" fmla="*/ 940289 h 940288"/>
                <a:gd name="connsiteX6" fmla="*/ 547595 w 547594"/>
                <a:gd name="connsiteY6" fmla="*/ 127808 h 940288"/>
                <a:gd name="connsiteX7" fmla="*/ 293354 w 547594"/>
                <a:gd name="connsiteY7" fmla="*/ 0 h 940288"/>
                <a:gd name="connsiteX8" fmla="*/ 293354 w 547594"/>
                <a:gd name="connsiteY8" fmla="*/ 0 h 94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7594" h="940288">
                  <a:moveTo>
                    <a:pt x="294670" y="3170"/>
                  </a:moveTo>
                  <a:lnTo>
                    <a:pt x="544365" y="128645"/>
                  </a:lnTo>
                  <a:lnTo>
                    <a:pt x="6698" y="926414"/>
                  </a:lnTo>
                  <a:lnTo>
                    <a:pt x="294670" y="3170"/>
                  </a:lnTo>
                  <a:moveTo>
                    <a:pt x="293354" y="0"/>
                  </a:moveTo>
                  <a:lnTo>
                    <a:pt x="0" y="940289"/>
                  </a:lnTo>
                  <a:lnTo>
                    <a:pt x="547595" y="127808"/>
                  </a:lnTo>
                  <a:lnTo>
                    <a:pt x="293354" y="0"/>
                  </a:lnTo>
                  <a:lnTo>
                    <a:pt x="293354" y="0"/>
                  </a:lnTo>
                  <a:close/>
                </a:path>
              </a:pathLst>
            </a:custGeom>
            <a:grpFill/>
            <a:ln w="0" cap="flat">
              <a:noFill/>
              <a:prstDash val="solid"/>
              <a:miter/>
            </a:ln>
          </p:spPr>
          <p:txBody>
            <a:bodyPr rtlCol="0" anchor="ctr"/>
            <a:lstStyle/>
            <a:p>
              <a:endParaRPr lang="en-GB"/>
            </a:p>
          </p:txBody>
        </p:sp>
        <p:sp>
          <p:nvSpPr>
            <p:cNvPr id="4336" name="Vrije vorm: vorm 4335">
              <a:extLst>
                <a:ext uri="{FF2B5EF4-FFF2-40B4-BE49-F238E27FC236}">
                  <a16:creationId xmlns:a16="http://schemas.microsoft.com/office/drawing/2014/main" id="{3AAB20C3-4976-41F1-B18A-B433866E06D4}"/>
                </a:ext>
              </a:extLst>
            </p:cNvPr>
            <p:cNvSpPr/>
            <p:nvPr/>
          </p:nvSpPr>
          <p:spPr>
            <a:xfrm>
              <a:off x="5857598" y="3056189"/>
              <a:ext cx="345745" cy="587785"/>
            </a:xfrm>
            <a:custGeom>
              <a:avLst/>
              <a:gdLst>
                <a:gd name="connsiteX0" fmla="*/ 4904 w 345745"/>
                <a:gd name="connsiteY0" fmla="*/ 8971 h 587785"/>
                <a:gd name="connsiteX1" fmla="*/ 342755 w 345745"/>
                <a:gd name="connsiteY1" fmla="*/ 395146 h 587785"/>
                <a:gd name="connsiteX2" fmla="*/ 170151 w 345745"/>
                <a:gd name="connsiteY2" fmla="*/ 583360 h 587785"/>
                <a:gd name="connsiteX3" fmla="*/ 4904 w 345745"/>
                <a:gd name="connsiteY3" fmla="*/ 8971 h 587785"/>
                <a:gd name="connsiteX4" fmla="*/ 0 w 345745"/>
                <a:gd name="connsiteY4" fmla="*/ 0 h 587785"/>
                <a:gd name="connsiteX5" fmla="*/ 169075 w 345745"/>
                <a:gd name="connsiteY5" fmla="*/ 587785 h 587785"/>
                <a:gd name="connsiteX6" fmla="*/ 345746 w 345745"/>
                <a:gd name="connsiteY6" fmla="*/ 395146 h 587785"/>
                <a:gd name="connsiteX7" fmla="*/ 0 w 345745"/>
                <a:gd name="connsiteY7" fmla="*/ 0 h 587785"/>
                <a:gd name="connsiteX8" fmla="*/ 0 w 345745"/>
                <a:gd name="connsiteY8" fmla="*/ 0 h 58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45" h="587785">
                  <a:moveTo>
                    <a:pt x="4904" y="8971"/>
                  </a:moveTo>
                  <a:lnTo>
                    <a:pt x="342755" y="395146"/>
                  </a:lnTo>
                  <a:lnTo>
                    <a:pt x="170151" y="583360"/>
                  </a:lnTo>
                  <a:lnTo>
                    <a:pt x="4904" y="8971"/>
                  </a:lnTo>
                  <a:moveTo>
                    <a:pt x="0" y="0"/>
                  </a:moveTo>
                  <a:lnTo>
                    <a:pt x="169075" y="587785"/>
                  </a:lnTo>
                  <a:lnTo>
                    <a:pt x="345746" y="395146"/>
                  </a:lnTo>
                  <a:lnTo>
                    <a:pt x="0" y="0"/>
                  </a:lnTo>
                  <a:lnTo>
                    <a:pt x="0" y="0"/>
                  </a:lnTo>
                  <a:close/>
                </a:path>
              </a:pathLst>
            </a:custGeom>
            <a:grpFill/>
            <a:ln w="0" cap="flat">
              <a:noFill/>
              <a:prstDash val="solid"/>
              <a:miter/>
            </a:ln>
          </p:spPr>
          <p:txBody>
            <a:bodyPr rtlCol="0" anchor="ctr"/>
            <a:lstStyle/>
            <a:p>
              <a:endParaRPr lang="en-GB"/>
            </a:p>
          </p:txBody>
        </p:sp>
        <p:sp>
          <p:nvSpPr>
            <p:cNvPr id="4337" name="Vrije vorm: vorm 4336">
              <a:extLst>
                <a:ext uri="{FF2B5EF4-FFF2-40B4-BE49-F238E27FC236}">
                  <a16:creationId xmlns:a16="http://schemas.microsoft.com/office/drawing/2014/main" id="{FBF29697-A64E-4888-A9BD-85FD64610380}"/>
                </a:ext>
              </a:extLst>
            </p:cNvPr>
            <p:cNvSpPr/>
            <p:nvPr/>
          </p:nvSpPr>
          <p:spPr>
            <a:xfrm>
              <a:off x="5772433" y="3056189"/>
              <a:ext cx="254300" cy="587785"/>
            </a:xfrm>
            <a:custGeom>
              <a:avLst/>
              <a:gdLst>
                <a:gd name="connsiteX0" fmla="*/ 85644 w 254300"/>
                <a:gd name="connsiteY0" fmla="*/ 9689 h 587785"/>
                <a:gd name="connsiteX1" fmla="*/ 250712 w 254300"/>
                <a:gd name="connsiteY1" fmla="*/ 583539 h 587785"/>
                <a:gd name="connsiteX2" fmla="*/ 2512 w 254300"/>
                <a:gd name="connsiteY2" fmla="*/ 458781 h 587785"/>
                <a:gd name="connsiteX3" fmla="*/ 85644 w 254300"/>
                <a:gd name="connsiteY3" fmla="*/ 9689 h 587785"/>
                <a:gd name="connsiteX4" fmla="*/ 85166 w 254300"/>
                <a:gd name="connsiteY4" fmla="*/ 0 h 587785"/>
                <a:gd name="connsiteX5" fmla="*/ 0 w 254300"/>
                <a:gd name="connsiteY5" fmla="*/ 460037 h 587785"/>
                <a:gd name="connsiteX6" fmla="*/ 254300 w 254300"/>
                <a:gd name="connsiteY6" fmla="*/ 587785 h 587785"/>
                <a:gd name="connsiteX7" fmla="*/ 85166 w 254300"/>
                <a:gd name="connsiteY7" fmla="*/ 0 h 587785"/>
                <a:gd name="connsiteX8" fmla="*/ 85166 w 254300"/>
                <a:gd name="connsiteY8" fmla="*/ 0 h 58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00" h="587785">
                  <a:moveTo>
                    <a:pt x="85644" y="9689"/>
                  </a:moveTo>
                  <a:lnTo>
                    <a:pt x="250712" y="583539"/>
                  </a:lnTo>
                  <a:lnTo>
                    <a:pt x="2512" y="458781"/>
                  </a:lnTo>
                  <a:lnTo>
                    <a:pt x="85644" y="9689"/>
                  </a:lnTo>
                  <a:moveTo>
                    <a:pt x="85166" y="0"/>
                  </a:moveTo>
                  <a:lnTo>
                    <a:pt x="0" y="460037"/>
                  </a:lnTo>
                  <a:lnTo>
                    <a:pt x="254300" y="587785"/>
                  </a:lnTo>
                  <a:lnTo>
                    <a:pt x="85166" y="0"/>
                  </a:lnTo>
                  <a:lnTo>
                    <a:pt x="85166" y="0"/>
                  </a:lnTo>
                  <a:close/>
                </a:path>
              </a:pathLst>
            </a:custGeom>
            <a:grpFill/>
            <a:ln w="0" cap="flat">
              <a:noFill/>
              <a:prstDash val="solid"/>
              <a:miter/>
            </a:ln>
          </p:spPr>
          <p:txBody>
            <a:bodyPr rtlCol="0" anchor="ctr"/>
            <a:lstStyle/>
            <a:p>
              <a:endParaRPr lang="en-GB"/>
            </a:p>
          </p:txBody>
        </p:sp>
        <p:sp>
          <p:nvSpPr>
            <p:cNvPr id="4338" name="Vrije vorm: vorm 4337">
              <a:extLst>
                <a:ext uri="{FF2B5EF4-FFF2-40B4-BE49-F238E27FC236}">
                  <a16:creationId xmlns:a16="http://schemas.microsoft.com/office/drawing/2014/main" id="{5A3CFFCA-C7E4-4762-99FD-827901404CC4}"/>
                </a:ext>
              </a:extLst>
            </p:cNvPr>
            <p:cNvSpPr/>
            <p:nvPr/>
          </p:nvSpPr>
          <p:spPr>
            <a:xfrm>
              <a:off x="5413051" y="3006011"/>
              <a:ext cx="444547" cy="510215"/>
            </a:xfrm>
            <a:custGeom>
              <a:avLst/>
              <a:gdLst>
                <a:gd name="connsiteX0" fmla="*/ 4665 w 444547"/>
                <a:gd name="connsiteY0" fmla="*/ 2751 h 510215"/>
                <a:gd name="connsiteX1" fmla="*/ 441916 w 444547"/>
                <a:gd name="connsiteY1" fmla="*/ 52092 h 510215"/>
                <a:gd name="connsiteX2" fmla="*/ 358126 w 444547"/>
                <a:gd name="connsiteY2" fmla="*/ 504593 h 510215"/>
                <a:gd name="connsiteX3" fmla="*/ 4665 w 444547"/>
                <a:gd name="connsiteY3" fmla="*/ 2751 h 510215"/>
                <a:gd name="connsiteX4" fmla="*/ 0 w 444547"/>
                <a:gd name="connsiteY4" fmla="*/ 0 h 510215"/>
                <a:gd name="connsiteX5" fmla="*/ 359381 w 444547"/>
                <a:gd name="connsiteY5" fmla="*/ 510215 h 510215"/>
                <a:gd name="connsiteX6" fmla="*/ 444547 w 444547"/>
                <a:gd name="connsiteY6" fmla="*/ 50178 h 510215"/>
                <a:gd name="connsiteX7" fmla="*/ 0 w 444547"/>
                <a:gd name="connsiteY7" fmla="*/ 0 h 510215"/>
                <a:gd name="connsiteX8" fmla="*/ 0 w 444547"/>
                <a:gd name="connsiteY8" fmla="*/ 0 h 510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547" h="510215">
                  <a:moveTo>
                    <a:pt x="4665" y="2751"/>
                  </a:moveTo>
                  <a:lnTo>
                    <a:pt x="441916" y="52092"/>
                  </a:lnTo>
                  <a:lnTo>
                    <a:pt x="358126" y="504593"/>
                  </a:lnTo>
                  <a:lnTo>
                    <a:pt x="4665" y="2751"/>
                  </a:lnTo>
                  <a:moveTo>
                    <a:pt x="0" y="0"/>
                  </a:moveTo>
                  <a:lnTo>
                    <a:pt x="359381" y="510215"/>
                  </a:lnTo>
                  <a:lnTo>
                    <a:pt x="444547" y="50178"/>
                  </a:lnTo>
                  <a:lnTo>
                    <a:pt x="0" y="0"/>
                  </a:lnTo>
                  <a:lnTo>
                    <a:pt x="0" y="0"/>
                  </a:lnTo>
                  <a:close/>
                </a:path>
              </a:pathLst>
            </a:custGeom>
            <a:grpFill/>
            <a:ln w="0" cap="flat">
              <a:noFill/>
              <a:prstDash val="solid"/>
              <a:miter/>
            </a:ln>
          </p:spPr>
          <p:txBody>
            <a:bodyPr rtlCol="0" anchor="ctr"/>
            <a:lstStyle/>
            <a:p>
              <a:endParaRPr lang="en-GB"/>
            </a:p>
          </p:txBody>
        </p:sp>
        <p:sp>
          <p:nvSpPr>
            <p:cNvPr id="4339" name="Vrije vorm: vorm 4338">
              <a:extLst>
                <a:ext uri="{FF2B5EF4-FFF2-40B4-BE49-F238E27FC236}">
                  <a16:creationId xmlns:a16="http://schemas.microsoft.com/office/drawing/2014/main" id="{D5E53486-1376-4832-80F5-9401F89160C1}"/>
                </a:ext>
              </a:extLst>
            </p:cNvPr>
            <p:cNvSpPr/>
            <p:nvPr/>
          </p:nvSpPr>
          <p:spPr>
            <a:xfrm>
              <a:off x="4930048" y="3006369"/>
              <a:ext cx="842384" cy="509856"/>
            </a:xfrm>
            <a:custGeom>
              <a:avLst/>
              <a:gdLst>
                <a:gd name="connsiteX0" fmla="*/ 481687 w 842384"/>
                <a:gd name="connsiteY0" fmla="*/ 2572 h 509856"/>
                <a:gd name="connsiteX1" fmla="*/ 835866 w 842384"/>
                <a:gd name="connsiteY1" fmla="*/ 504474 h 509856"/>
                <a:gd name="connsiteX2" fmla="*/ 6579 w 842384"/>
                <a:gd name="connsiteY2" fmla="*/ 133310 h 509856"/>
                <a:gd name="connsiteX3" fmla="*/ 481687 w 842384"/>
                <a:gd name="connsiteY3" fmla="*/ 2572 h 509856"/>
                <a:gd name="connsiteX4" fmla="*/ 482644 w 842384"/>
                <a:gd name="connsiteY4" fmla="*/ 0 h 509856"/>
                <a:gd name="connsiteX5" fmla="*/ 0 w 842384"/>
                <a:gd name="connsiteY5" fmla="*/ 132832 h 509856"/>
                <a:gd name="connsiteX6" fmla="*/ 842385 w 842384"/>
                <a:gd name="connsiteY6" fmla="*/ 509856 h 509856"/>
                <a:gd name="connsiteX7" fmla="*/ 482644 w 842384"/>
                <a:gd name="connsiteY7" fmla="*/ 0 h 509856"/>
                <a:gd name="connsiteX8" fmla="*/ 482644 w 842384"/>
                <a:gd name="connsiteY8" fmla="*/ 0 h 50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384" h="509856">
                  <a:moveTo>
                    <a:pt x="481687" y="2572"/>
                  </a:moveTo>
                  <a:lnTo>
                    <a:pt x="835866" y="504474"/>
                  </a:lnTo>
                  <a:lnTo>
                    <a:pt x="6579" y="133310"/>
                  </a:lnTo>
                  <a:lnTo>
                    <a:pt x="481687" y="2572"/>
                  </a:lnTo>
                  <a:moveTo>
                    <a:pt x="482644" y="0"/>
                  </a:moveTo>
                  <a:lnTo>
                    <a:pt x="0" y="132832"/>
                  </a:lnTo>
                  <a:lnTo>
                    <a:pt x="842385" y="509856"/>
                  </a:lnTo>
                  <a:lnTo>
                    <a:pt x="482644" y="0"/>
                  </a:lnTo>
                  <a:lnTo>
                    <a:pt x="482644" y="0"/>
                  </a:lnTo>
                  <a:close/>
                </a:path>
              </a:pathLst>
            </a:custGeom>
            <a:grpFill/>
            <a:ln w="0" cap="flat">
              <a:noFill/>
              <a:prstDash val="solid"/>
              <a:miter/>
            </a:ln>
          </p:spPr>
          <p:txBody>
            <a:bodyPr rtlCol="0" anchor="ctr"/>
            <a:lstStyle/>
            <a:p>
              <a:endParaRPr lang="en-GB"/>
            </a:p>
          </p:txBody>
        </p:sp>
      </p:grpSp>
      <p:grpSp>
        <p:nvGrpSpPr>
          <p:cNvPr id="4340" name="Lijnen_midden_1">
            <a:extLst>
              <a:ext uri="{FF2B5EF4-FFF2-40B4-BE49-F238E27FC236}">
                <a16:creationId xmlns:a16="http://schemas.microsoft.com/office/drawing/2014/main" id="{459B3D74-0FDE-4A83-B371-4C523F2923EB}"/>
              </a:ext>
            </a:extLst>
          </p:cNvPr>
          <p:cNvGrpSpPr/>
          <p:nvPr/>
        </p:nvGrpSpPr>
        <p:grpSpPr>
          <a:xfrm>
            <a:off x="5291022" y="2433747"/>
            <a:ext cx="2004917" cy="1754025"/>
            <a:chOff x="5258928" y="2250227"/>
            <a:chExt cx="2004917" cy="1754025"/>
          </a:xfrm>
          <a:solidFill>
            <a:schemeClr val="bg1">
              <a:alpha val="35000"/>
            </a:schemeClr>
          </a:solidFill>
        </p:grpSpPr>
        <p:sp>
          <p:nvSpPr>
            <p:cNvPr id="4341" name="Vrije vorm: vorm 4340">
              <a:extLst>
                <a:ext uri="{FF2B5EF4-FFF2-40B4-BE49-F238E27FC236}">
                  <a16:creationId xmlns:a16="http://schemas.microsoft.com/office/drawing/2014/main" id="{6F233D51-9E6A-4252-A7EE-687D6483EF15}"/>
                </a:ext>
              </a:extLst>
            </p:cNvPr>
            <p:cNvSpPr/>
            <p:nvPr/>
          </p:nvSpPr>
          <p:spPr>
            <a:xfrm>
              <a:off x="5981399" y="2250227"/>
              <a:ext cx="1142318" cy="502978"/>
            </a:xfrm>
            <a:custGeom>
              <a:avLst/>
              <a:gdLst>
                <a:gd name="connsiteX0" fmla="*/ 9211 w 1142318"/>
                <a:gd name="connsiteY0" fmla="*/ 3529 h 502978"/>
                <a:gd name="connsiteX1" fmla="*/ 1136876 w 1142318"/>
                <a:gd name="connsiteY1" fmla="*/ 147724 h 502978"/>
                <a:gd name="connsiteX2" fmla="*/ 732519 w 1142318"/>
                <a:gd name="connsiteY2" fmla="*/ 500048 h 502978"/>
                <a:gd name="connsiteX3" fmla="*/ 9211 w 1142318"/>
                <a:gd name="connsiteY3" fmla="*/ 3529 h 502978"/>
                <a:gd name="connsiteX4" fmla="*/ 0 w 1142318"/>
                <a:gd name="connsiteY4" fmla="*/ 0 h 502978"/>
                <a:gd name="connsiteX5" fmla="*/ 732758 w 1142318"/>
                <a:gd name="connsiteY5" fmla="*/ 502979 h 502978"/>
                <a:gd name="connsiteX6" fmla="*/ 1142318 w 1142318"/>
                <a:gd name="connsiteY6" fmla="*/ 146109 h 502978"/>
                <a:gd name="connsiteX7" fmla="*/ 0 w 1142318"/>
                <a:gd name="connsiteY7" fmla="*/ 0 h 502978"/>
                <a:gd name="connsiteX8" fmla="*/ 0 w 1142318"/>
                <a:gd name="connsiteY8" fmla="*/ 0 h 50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318" h="502978">
                  <a:moveTo>
                    <a:pt x="9211" y="3529"/>
                  </a:moveTo>
                  <a:lnTo>
                    <a:pt x="1136876" y="147724"/>
                  </a:lnTo>
                  <a:lnTo>
                    <a:pt x="732519" y="500048"/>
                  </a:lnTo>
                  <a:lnTo>
                    <a:pt x="9211" y="3529"/>
                  </a:lnTo>
                  <a:moveTo>
                    <a:pt x="0" y="0"/>
                  </a:moveTo>
                  <a:lnTo>
                    <a:pt x="732758" y="502979"/>
                  </a:lnTo>
                  <a:lnTo>
                    <a:pt x="1142318" y="146109"/>
                  </a:lnTo>
                  <a:lnTo>
                    <a:pt x="0" y="0"/>
                  </a:lnTo>
                  <a:lnTo>
                    <a:pt x="0" y="0"/>
                  </a:lnTo>
                  <a:close/>
                </a:path>
              </a:pathLst>
            </a:custGeom>
            <a:grpFill/>
            <a:ln w="0" cap="flat">
              <a:noFill/>
              <a:prstDash val="solid"/>
              <a:miter/>
            </a:ln>
          </p:spPr>
          <p:txBody>
            <a:bodyPr rtlCol="0" anchor="ctr"/>
            <a:lstStyle/>
            <a:p>
              <a:endParaRPr lang="en-GB"/>
            </a:p>
          </p:txBody>
        </p:sp>
        <p:sp>
          <p:nvSpPr>
            <p:cNvPr id="4342" name="Vrije vorm: vorm 4341">
              <a:extLst>
                <a:ext uri="{FF2B5EF4-FFF2-40B4-BE49-F238E27FC236}">
                  <a16:creationId xmlns:a16="http://schemas.microsoft.com/office/drawing/2014/main" id="{CEDACFB1-4DA6-4204-AFEB-760A898029F7}"/>
                </a:ext>
              </a:extLst>
            </p:cNvPr>
            <p:cNvSpPr/>
            <p:nvPr/>
          </p:nvSpPr>
          <p:spPr>
            <a:xfrm>
              <a:off x="6713619" y="2395857"/>
              <a:ext cx="550226" cy="357348"/>
            </a:xfrm>
            <a:custGeom>
              <a:avLst/>
              <a:gdLst>
                <a:gd name="connsiteX0" fmla="*/ 409559 w 550226"/>
                <a:gd name="connsiteY0" fmla="*/ 3887 h 357348"/>
                <a:gd name="connsiteX1" fmla="*/ 546817 w 550226"/>
                <a:gd name="connsiteY1" fmla="*/ 347241 h 357348"/>
                <a:gd name="connsiteX2" fmla="*/ 6280 w 550226"/>
                <a:gd name="connsiteY2" fmla="*/ 354956 h 357348"/>
                <a:gd name="connsiteX3" fmla="*/ 409559 w 550226"/>
                <a:gd name="connsiteY3" fmla="*/ 3887 h 357348"/>
                <a:gd name="connsiteX4" fmla="*/ 410517 w 550226"/>
                <a:gd name="connsiteY4" fmla="*/ 0 h 357348"/>
                <a:gd name="connsiteX5" fmla="*/ 0 w 550226"/>
                <a:gd name="connsiteY5" fmla="*/ 357348 h 357348"/>
                <a:gd name="connsiteX6" fmla="*/ 550226 w 550226"/>
                <a:gd name="connsiteY6" fmla="*/ 349513 h 357348"/>
                <a:gd name="connsiteX7" fmla="*/ 410517 w 550226"/>
                <a:gd name="connsiteY7" fmla="*/ 0 h 357348"/>
                <a:gd name="connsiteX8" fmla="*/ 410517 w 550226"/>
                <a:gd name="connsiteY8" fmla="*/ 0 h 35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226" h="357348">
                  <a:moveTo>
                    <a:pt x="409559" y="3887"/>
                  </a:moveTo>
                  <a:lnTo>
                    <a:pt x="546817" y="347241"/>
                  </a:lnTo>
                  <a:lnTo>
                    <a:pt x="6280" y="354956"/>
                  </a:lnTo>
                  <a:lnTo>
                    <a:pt x="409559" y="3887"/>
                  </a:lnTo>
                  <a:moveTo>
                    <a:pt x="410517" y="0"/>
                  </a:moveTo>
                  <a:lnTo>
                    <a:pt x="0" y="357348"/>
                  </a:lnTo>
                  <a:lnTo>
                    <a:pt x="550226" y="349513"/>
                  </a:lnTo>
                  <a:lnTo>
                    <a:pt x="410517" y="0"/>
                  </a:lnTo>
                  <a:lnTo>
                    <a:pt x="410517" y="0"/>
                  </a:lnTo>
                  <a:close/>
                </a:path>
              </a:pathLst>
            </a:custGeom>
            <a:grpFill/>
            <a:ln w="0" cap="flat">
              <a:noFill/>
              <a:prstDash val="solid"/>
              <a:miter/>
            </a:ln>
          </p:spPr>
          <p:txBody>
            <a:bodyPr rtlCol="0" anchor="ctr"/>
            <a:lstStyle/>
            <a:p>
              <a:endParaRPr lang="en-GB"/>
            </a:p>
          </p:txBody>
        </p:sp>
        <p:sp>
          <p:nvSpPr>
            <p:cNvPr id="4343" name="Vrije vorm: vorm 4342">
              <a:extLst>
                <a:ext uri="{FF2B5EF4-FFF2-40B4-BE49-F238E27FC236}">
                  <a16:creationId xmlns:a16="http://schemas.microsoft.com/office/drawing/2014/main" id="{05149E0C-A152-4581-BA62-2F19B2544109}"/>
                </a:ext>
              </a:extLst>
            </p:cNvPr>
            <p:cNvSpPr/>
            <p:nvPr/>
          </p:nvSpPr>
          <p:spPr>
            <a:xfrm>
              <a:off x="6353400" y="2745371"/>
              <a:ext cx="910445" cy="1258881"/>
            </a:xfrm>
            <a:custGeom>
              <a:avLst/>
              <a:gdLst>
                <a:gd name="connsiteX0" fmla="*/ 905362 w 910445"/>
                <a:gd name="connsiteY0" fmla="*/ 5442 h 1258881"/>
                <a:gd name="connsiteX1" fmla="*/ 329179 w 910445"/>
                <a:gd name="connsiteY1" fmla="*/ 1253200 h 1258881"/>
                <a:gd name="connsiteX2" fmla="*/ 2930 w 910445"/>
                <a:gd name="connsiteY2" fmla="*/ 505072 h 1258881"/>
                <a:gd name="connsiteX3" fmla="*/ 905362 w 910445"/>
                <a:gd name="connsiteY3" fmla="*/ 5442 h 1258881"/>
                <a:gd name="connsiteX4" fmla="*/ 910445 w 910445"/>
                <a:gd name="connsiteY4" fmla="*/ 0 h 1258881"/>
                <a:gd name="connsiteX5" fmla="*/ 0 w 910445"/>
                <a:gd name="connsiteY5" fmla="*/ 504055 h 1258881"/>
                <a:gd name="connsiteX6" fmla="*/ 329179 w 910445"/>
                <a:gd name="connsiteY6" fmla="*/ 1258882 h 1258881"/>
                <a:gd name="connsiteX7" fmla="*/ 910445 w 910445"/>
                <a:gd name="connsiteY7" fmla="*/ 0 h 1258881"/>
                <a:gd name="connsiteX8" fmla="*/ 910445 w 910445"/>
                <a:gd name="connsiteY8" fmla="*/ 0 h 1258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0445" h="1258881">
                  <a:moveTo>
                    <a:pt x="905362" y="5442"/>
                  </a:moveTo>
                  <a:lnTo>
                    <a:pt x="329179" y="1253200"/>
                  </a:lnTo>
                  <a:lnTo>
                    <a:pt x="2930" y="505072"/>
                  </a:lnTo>
                  <a:lnTo>
                    <a:pt x="905362" y="5442"/>
                  </a:lnTo>
                  <a:moveTo>
                    <a:pt x="910445" y="0"/>
                  </a:moveTo>
                  <a:lnTo>
                    <a:pt x="0" y="504055"/>
                  </a:lnTo>
                  <a:lnTo>
                    <a:pt x="329179" y="1258882"/>
                  </a:lnTo>
                  <a:lnTo>
                    <a:pt x="910445" y="0"/>
                  </a:lnTo>
                  <a:lnTo>
                    <a:pt x="910445" y="0"/>
                  </a:lnTo>
                  <a:close/>
                </a:path>
              </a:pathLst>
            </a:custGeom>
            <a:grpFill/>
            <a:ln w="0" cap="flat">
              <a:noFill/>
              <a:prstDash val="solid"/>
              <a:miter/>
            </a:ln>
          </p:spPr>
          <p:txBody>
            <a:bodyPr rtlCol="0" anchor="ctr"/>
            <a:lstStyle/>
            <a:p>
              <a:endParaRPr lang="en-GB"/>
            </a:p>
          </p:txBody>
        </p:sp>
        <p:sp>
          <p:nvSpPr>
            <p:cNvPr id="4344" name="Vrije vorm: vorm 4343">
              <a:extLst>
                <a:ext uri="{FF2B5EF4-FFF2-40B4-BE49-F238E27FC236}">
                  <a16:creationId xmlns:a16="http://schemas.microsoft.com/office/drawing/2014/main" id="{51C1F81F-1D46-451E-933F-AA3AEE55493B}"/>
                </a:ext>
              </a:extLst>
            </p:cNvPr>
            <p:cNvSpPr/>
            <p:nvPr/>
          </p:nvSpPr>
          <p:spPr>
            <a:xfrm>
              <a:off x="5764957" y="3249426"/>
              <a:ext cx="920553" cy="754826"/>
            </a:xfrm>
            <a:custGeom>
              <a:avLst/>
              <a:gdLst>
                <a:gd name="connsiteX0" fmla="*/ 587845 w 920553"/>
                <a:gd name="connsiteY0" fmla="*/ 4366 h 754826"/>
                <a:gd name="connsiteX1" fmla="*/ 916905 w 920553"/>
                <a:gd name="connsiteY1" fmla="*/ 752315 h 754826"/>
                <a:gd name="connsiteX2" fmla="*/ 4725 w 920553"/>
                <a:gd name="connsiteY2" fmla="*/ 702854 h 754826"/>
                <a:gd name="connsiteX3" fmla="*/ 587845 w 920553"/>
                <a:gd name="connsiteY3" fmla="*/ 4366 h 754826"/>
                <a:gd name="connsiteX4" fmla="*/ 588443 w 920553"/>
                <a:gd name="connsiteY4" fmla="*/ 0 h 754826"/>
                <a:gd name="connsiteX5" fmla="*/ 0 w 920553"/>
                <a:gd name="connsiteY5" fmla="*/ 704888 h 754826"/>
                <a:gd name="connsiteX6" fmla="*/ 920553 w 920553"/>
                <a:gd name="connsiteY6" fmla="*/ 754827 h 754826"/>
                <a:gd name="connsiteX7" fmla="*/ 588443 w 920553"/>
                <a:gd name="connsiteY7" fmla="*/ 0 h 754826"/>
                <a:gd name="connsiteX8" fmla="*/ 588443 w 920553"/>
                <a:gd name="connsiteY8" fmla="*/ 0 h 75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0553" h="754826">
                  <a:moveTo>
                    <a:pt x="587845" y="4366"/>
                  </a:moveTo>
                  <a:lnTo>
                    <a:pt x="916905" y="752315"/>
                  </a:lnTo>
                  <a:lnTo>
                    <a:pt x="4725" y="702854"/>
                  </a:lnTo>
                  <a:lnTo>
                    <a:pt x="587845" y="4366"/>
                  </a:lnTo>
                  <a:moveTo>
                    <a:pt x="588443" y="0"/>
                  </a:moveTo>
                  <a:lnTo>
                    <a:pt x="0" y="704888"/>
                  </a:lnTo>
                  <a:lnTo>
                    <a:pt x="920553" y="754827"/>
                  </a:lnTo>
                  <a:lnTo>
                    <a:pt x="588443" y="0"/>
                  </a:lnTo>
                  <a:lnTo>
                    <a:pt x="588443" y="0"/>
                  </a:lnTo>
                  <a:close/>
                </a:path>
              </a:pathLst>
            </a:custGeom>
            <a:grpFill/>
            <a:ln w="0" cap="flat">
              <a:noFill/>
              <a:prstDash val="solid"/>
              <a:miter/>
            </a:ln>
          </p:spPr>
          <p:txBody>
            <a:bodyPr rtlCol="0" anchor="ctr"/>
            <a:lstStyle/>
            <a:p>
              <a:endParaRPr lang="en-GB"/>
            </a:p>
          </p:txBody>
        </p:sp>
        <p:sp>
          <p:nvSpPr>
            <p:cNvPr id="4345" name="Vrije vorm: vorm 4344">
              <a:extLst>
                <a:ext uri="{FF2B5EF4-FFF2-40B4-BE49-F238E27FC236}">
                  <a16:creationId xmlns:a16="http://schemas.microsoft.com/office/drawing/2014/main" id="{3572903C-8706-4C18-8A20-5AC9887D7EB0}"/>
                </a:ext>
              </a:extLst>
            </p:cNvPr>
            <p:cNvSpPr/>
            <p:nvPr/>
          </p:nvSpPr>
          <p:spPr>
            <a:xfrm>
              <a:off x="5258928" y="2954756"/>
              <a:ext cx="506028" cy="999558"/>
            </a:xfrm>
            <a:custGeom>
              <a:avLst/>
              <a:gdLst>
                <a:gd name="connsiteX0" fmla="*/ 6160 w 506028"/>
                <a:gd name="connsiteY0" fmla="*/ 7057 h 999558"/>
                <a:gd name="connsiteX1" fmla="*/ 289467 w 506028"/>
                <a:gd name="connsiteY1" fmla="*/ 202328 h 999558"/>
                <a:gd name="connsiteX2" fmla="*/ 497955 w 506028"/>
                <a:gd name="connsiteY2" fmla="*/ 978566 h 999558"/>
                <a:gd name="connsiteX3" fmla="*/ 6160 w 506028"/>
                <a:gd name="connsiteY3" fmla="*/ 7057 h 999558"/>
                <a:gd name="connsiteX4" fmla="*/ 0 w 506028"/>
                <a:gd name="connsiteY4" fmla="*/ 0 h 999558"/>
                <a:gd name="connsiteX5" fmla="*/ 506029 w 506028"/>
                <a:gd name="connsiteY5" fmla="*/ 999558 h 999558"/>
                <a:gd name="connsiteX6" fmla="*/ 291500 w 506028"/>
                <a:gd name="connsiteY6" fmla="*/ 200892 h 999558"/>
                <a:gd name="connsiteX7" fmla="*/ 0 w 506028"/>
                <a:gd name="connsiteY7" fmla="*/ 0 h 999558"/>
                <a:gd name="connsiteX8" fmla="*/ 0 w 506028"/>
                <a:gd name="connsiteY8" fmla="*/ 0 h 999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6028" h="999558">
                  <a:moveTo>
                    <a:pt x="6160" y="7057"/>
                  </a:moveTo>
                  <a:lnTo>
                    <a:pt x="289467" y="202328"/>
                  </a:lnTo>
                  <a:lnTo>
                    <a:pt x="497955" y="978566"/>
                  </a:lnTo>
                  <a:lnTo>
                    <a:pt x="6160" y="7057"/>
                  </a:lnTo>
                  <a:moveTo>
                    <a:pt x="0" y="0"/>
                  </a:moveTo>
                  <a:lnTo>
                    <a:pt x="506029" y="999558"/>
                  </a:lnTo>
                  <a:lnTo>
                    <a:pt x="291500" y="200892"/>
                  </a:lnTo>
                  <a:lnTo>
                    <a:pt x="0" y="0"/>
                  </a:lnTo>
                  <a:lnTo>
                    <a:pt x="0" y="0"/>
                  </a:lnTo>
                  <a:close/>
                </a:path>
              </a:pathLst>
            </a:custGeom>
            <a:grpFill/>
            <a:ln w="0" cap="flat">
              <a:noFill/>
              <a:prstDash val="solid"/>
              <a:miter/>
            </a:ln>
          </p:spPr>
          <p:txBody>
            <a:bodyPr rtlCol="0" anchor="ctr"/>
            <a:lstStyle/>
            <a:p>
              <a:endParaRPr lang="en-GB"/>
            </a:p>
          </p:txBody>
        </p:sp>
        <p:sp>
          <p:nvSpPr>
            <p:cNvPr id="4346" name="Vrije vorm: vorm 4345">
              <a:extLst>
                <a:ext uri="{FF2B5EF4-FFF2-40B4-BE49-F238E27FC236}">
                  <a16:creationId xmlns:a16="http://schemas.microsoft.com/office/drawing/2014/main" id="{95D6E090-D02B-434A-899F-B8EE0A864465}"/>
                </a:ext>
              </a:extLst>
            </p:cNvPr>
            <p:cNvSpPr/>
            <p:nvPr/>
          </p:nvSpPr>
          <p:spPr>
            <a:xfrm>
              <a:off x="5550428" y="3155648"/>
              <a:ext cx="802971" cy="798665"/>
            </a:xfrm>
            <a:custGeom>
              <a:avLst/>
              <a:gdLst>
                <a:gd name="connsiteX0" fmla="*/ 3110 w 802971"/>
                <a:gd name="connsiteY0" fmla="*/ 2691 h 798665"/>
                <a:gd name="connsiteX1" fmla="*/ 798426 w 802971"/>
                <a:gd name="connsiteY1" fmla="*/ 95572 h 798665"/>
                <a:gd name="connsiteX2" fmla="*/ 215605 w 802971"/>
                <a:gd name="connsiteY2" fmla="*/ 793762 h 798665"/>
                <a:gd name="connsiteX3" fmla="*/ 3110 w 802971"/>
                <a:gd name="connsiteY3" fmla="*/ 2691 h 798665"/>
                <a:gd name="connsiteX4" fmla="*/ 0 w 802971"/>
                <a:gd name="connsiteY4" fmla="*/ 0 h 798665"/>
                <a:gd name="connsiteX5" fmla="*/ 214528 w 802971"/>
                <a:gd name="connsiteY5" fmla="*/ 798666 h 798665"/>
                <a:gd name="connsiteX6" fmla="*/ 802972 w 802971"/>
                <a:gd name="connsiteY6" fmla="*/ 93778 h 798665"/>
                <a:gd name="connsiteX7" fmla="*/ 0 w 802971"/>
                <a:gd name="connsiteY7" fmla="*/ 0 h 798665"/>
                <a:gd name="connsiteX8" fmla="*/ 0 w 802971"/>
                <a:gd name="connsiteY8" fmla="*/ 0 h 798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2971" h="798665">
                  <a:moveTo>
                    <a:pt x="3110" y="2691"/>
                  </a:moveTo>
                  <a:lnTo>
                    <a:pt x="798426" y="95572"/>
                  </a:lnTo>
                  <a:lnTo>
                    <a:pt x="215605" y="793762"/>
                  </a:lnTo>
                  <a:lnTo>
                    <a:pt x="3110" y="2691"/>
                  </a:lnTo>
                  <a:moveTo>
                    <a:pt x="0" y="0"/>
                  </a:moveTo>
                  <a:lnTo>
                    <a:pt x="214528" y="798666"/>
                  </a:lnTo>
                  <a:lnTo>
                    <a:pt x="802972" y="93778"/>
                  </a:lnTo>
                  <a:lnTo>
                    <a:pt x="0" y="0"/>
                  </a:lnTo>
                  <a:lnTo>
                    <a:pt x="0" y="0"/>
                  </a:lnTo>
                  <a:close/>
                </a:path>
              </a:pathLst>
            </a:custGeom>
            <a:grpFill/>
            <a:ln w="0" cap="flat">
              <a:noFill/>
              <a:prstDash val="solid"/>
              <a:miter/>
            </a:ln>
          </p:spPr>
          <p:txBody>
            <a:bodyPr rtlCol="0" anchor="ctr"/>
            <a:lstStyle/>
            <a:p>
              <a:endParaRPr lang="en-GB"/>
            </a:p>
          </p:txBody>
        </p:sp>
        <p:sp>
          <p:nvSpPr>
            <p:cNvPr id="4347" name="Vrije vorm: vorm 4346">
              <a:extLst>
                <a:ext uri="{FF2B5EF4-FFF2-40B4-BE49-F238E27FC236}">
                  <a16:creationId xmlns:a16="http://schemas.microsoft.com/office/drawing/2014/main" id="{12B0DD42-EE82-40AC-A854-B1602EDC3A83}"/>
                </a:ext>
              </a:extLst>
            </p:cNvPr>
            <p:cNvSpPr/>
            <p:nvPr/>
          </p:nvSpPr>
          <p:spPr>
            <a:xfrm>
              <a:off x="6353400" y="2745371"/>
              <a:ext cx="910445" cy="503995"/>
            </a:xfrm>
            <a:custGeom>
              <a:avLst/>
              <a:gdLst>
                <a:gd name="connsiteX0" fmla="*/ 901235 w 910445"/>
                <a:gd name="connsiteY0" fmla="*/ 2452 h 503995"/>
                <a:gd name="connsiteX1" fmla="*/ 8911 w 910445"/>
                <a:gd name="connsiteY1" fmla="*/ 496460 h 503995"/>
                <a:gd name="connsiteX2" fmla="*/ 361415 w 910445"/>
                <a:gd name="connsiteY2" fmla="*/ 10107 h 503995"/>
                <a:gd name="connsiteX3" fmla="*/ 901235 w 910445"/>
                <a:gd name="connsiteY3" fmla="*/ 2452 h 503995"/>
                <a:gd name="connsiteX4" fmla="*/ 910445 w 910445"/>
                <a:gd name="connsiteY4" fmla="*/ 0 h 503995"/>
                <a:gd name="connsiteX5" fmla="*/ 360219 w 910445"/>
                <a:gd name="connsiteY5" fmla="*/ 7835 h 503995"/>
                <a:gd name="connsiteX6" fmla="*/ 3648 w 910445"/>
                <a:gd name="connsiteY6" fmla="*/ 499749 h 503995"/>
                <a:gd name="connsiteX7" fmla="*/ 0 w 910445"/>
                <a:gd name="connsiteY7" fmla="*/ 503995 h 503995"/>
                <a:gd name="connsiteX8" fmla="*/ 910445 w 910445"/>
                <a:gd name="connsiteY8" fmla="*/ 0 h 503995"/>
                <a:gd name="connsiteX9" fmla="*/ 910445 w 910445"/>
                <a:gd name="connsiteY9" fmla="*/ 0 h 50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445" h="503995">
                  <a:moveTo>
                    <a:pt x="901235" y="2452"/>
                  </a:moveTo>
                  <a:lnTo>
                    <a:pt x="8911" y="496460"/>
                  </a:lnTo>
                  <a:lnTo>
                    <a:pt x="361415" y="10107"/>
                  </a:lnTo>
                  <a:lnTo>
                    <a:pt x="901235" y="2452"/>
                  </a:lnTo>
                  <a:moveTo>
                    <a:pt x="910445" y="0"/>
                  </a:moveTo>
                  <a:lnTo>
                    <a:pt x="360219" y="7835"/>
                  </a:lnTo>
                  <a:lnTo>
                    <a:pt x="3648" y="499749"/>
                  </a:lnTo>
                  <a:lnTo>
                    <a:pt x="0" y="503995"/>
                  </a:lnTo>
                  <a:lnTo>
                    <a:pt x="910445" y="0"/>
                  </a:lnTo>
                  <a:lnTo>
                    <a:pt x="910445" y="0"/>
                  </a:lnTo>
                  <a:close/>
                </a:path>
              </a:pathLst>
            </a:custGeom>
            <a:grpFill/>
            <a:ln w="0" cap="flat">
              <a:noFill/>
              <a:prstDash val="solid"/>
              <a:miter/>
            </a:ln>
          </p:spPr>
          <p:txBody>
            <a:bodyPr rtlCol="0" anchor="ctr"/>
            <a:lstStyle/>
            <a:p>
              <a:endParaRPr lang="en-GB"/>
            </a:p>
          </p:txBody>
        </p:sp>
        <p:sp>
          <p:nvSpPr>
            <p:cNvPr id="4348" name="Vrije vorm: vorm 4347">
              <a:extLst>
                <a:ext uri="{FF2B5EF4-FFF2-40B4-BE49-F238E27FC236}">
                  <a16:creationId xmlns:a16="http://schemas.microsoft.com/office/drawing/2014/main" id="{DAF00E98-0E69-4EF4-BCB5-7C4FA66F2A35}"/>
                </a:ext>
              </a:extLst>
            </p:cNvPr>
            <p:cNvSpPr/>
            <p:nvPr/>
          </p:nvSpPr>
          <p:spPr>
            <a:xfrm>
              <a:off x="5550428" y="2753205"/>
              <a:ext cx="1163190" cy="496220"/>
            </a:xfrm>
            <a:custGeom>
              <a:avLst/>
              <a:gdLst>
                <a:gd name="connsiteX0" fmla="*/ 1156971 w 1163190"/>
                <a:gd name="connsiteY0" fmla="*/ 4605 h 496220"/>
                <a:gd name="connsiteX1" fmla="*/ 801895 w 1163190"/>
                <a:gd name="connsiteY1" fmla="*/ 493768 h 496220"/>
                <a:gd name="connsiteX2" fmla="*/ 10347 w 1163190"/>
                <a:gd name="connsiteY2" fmla="*/ 401306 h 496220"/>
                <a:gd name="connsiteX3" fmla="*/ 1156971 w 1163190"/>
                <a:gd name="connsiteY3" fmla="*/ 4605 h 496220"/>
                <a:gd name="connsiteX4" fmla="*/ 1163191 w 1163190"/>
                <a:gd name="connsiteY4" fmla="*/ 0 h 496220"/>
                <a:gd name="connsiteX5" fmla="*/ 0 w 1163190"/>
                <a:gd name="connsiteY5" fmla="*/ 402443 h 496220"/>
                <a:gd name="connsiteX6" fmla="*/ 802972 w 1163190"/>
                <a:gd name="connsiteY6" fmla="*/ 496220 h 496220"/>
                <a:gd name="connsiteX7" fmla="*/ 1163191 w 1163190"/>
                <a:gd name="connsiteY7" fmla="*/ 0 h 496220"/>
                <a:gd name="connsiteX8" fmla="*/ 1163191 w 1163190"/>
                <a:gd name="connsiteY8" fmla="*/ 0 h 49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3190" h="496220">
                  <a:moveTo>
                    <a:pt x="1156971" y="4605"/>
                  </a:moveTo>
                  <a:lnTo>
                    <a:pt x="801895" y="493768"/>
                  </a:lnTo>
                  <a:lnTo>
                    <a:pt x="10347" y="401306"/>
                  </a:lnTo>
                  <a:lnTo>
                    <a:pt x="1156971" y="4605"/>
                  </a:lnTo>
                  <a:moveTo>
                    <a:pt x="1163191" y="0"/>
                  </a:moveTo>
                  <a:lnTo>
                    <a:pt x="0" y="402443"/>
                  </a:lnTo>
                  <a:lnTo>
                    <a:pt x="802972" y="496220"/>
                  </a:lnTo>
                  <a:lnTo>
                    <a:pt x="1163191" y="0"/>
                  </a:lnTo>
                  <a:lnTo>
                    <a:pt x="1163191" y="0"/>
                  </a:lnTo>
                  <a:close/>
                </a:path>
              </a:pathLst>
            </a:custGeom>
            <a:grpFill/>
            <a:ln w="0" cap="flat">
              <a:noFill/>
              <a:prstDash val="solid"/>
              <a:miter/>
            </a:ln>
          </p:spPr>
          <p:txBody>
            <a:bodyPr rtlCol="0" anchor="ctr"/>
            <a:lstStyle/>
            <a:p>
              <a:endParaRPr lang="en-GB"/>
            </a:p>
          </p:txBody>
        </p:sp>
        <p:sp>
          <p:nvSpPr>
            <p:cNvPr id="4349" name="Vrije vorm: vorm 4348">
              <a:extLst>
                <a:ext uri="{FF2B5EF4-FFF2-40B4-BE49-F238E27FC236}">
                  <a16:creationId xmlns:a16="http://schemas.microsoft.com/office/drawing/2014/main" id="{A33DFB3B-CF88-45A5-B805-2CEFBB2C3BA6}"/>
                </a:ext>
              </a:extLst>
            </p:cNvPr>
            <p:cNvSpPr/>
            <p:nvPr/>
          </p:nvSpPr>
          <p:spPr>
            <a:xfrm>
              <a:off x="5550428" y="2250227"/>
              <a:ext cx="1163190" cy="905421"/>
            </a:xfrm>
            <a:custGeom>
              <a:avLst/>
              <a:gdLst>
                <a:gd name="connsiteX0" fmla="*/ 431928 w 1163190"/>
                <a:gd name="connsiteY0" fmla="*/ 3469 h 905421"/>
                <a:gd name="connsiteX1" fmla="*/ 1158107 w 1163190"/>
                <a:gd name="connsiteY1" fmla="*/ 502321 h 905421"/>
                <a:gd name="connsiteX2" fmla="*/ 4486 w 1163190"/>
                <a:gd name="connsiteY2" fmla="*/ 901414 h 905421"/>
                <a:gd name="connsiteX3" fmla="*/ 431928 w 1163190"/>
                <a:gd name="connsiteY3" fmla="*/ 3469 h 905421"/>
                <a:gd name="connsiteX4" fmla="*/ 430971 w 1163190"/>
                <a:gd name="connsiteY4" fmla="*/ 0 h 905421"/>
                <a:gd name="connsiteX5" fmla="*/ 0 w 1163190"/>
                <a:gd name="connsiteY5" fmla="*/ 905421 h 905421"/>
                <a:gd name="connsiteX6" fmla="*/ 1163191 w 1163190"/>
                <a:gd name="connsiteY6" fmla="*/ 502979 h 905421"/>
                <a:gd name="connsiteX7" fmla="*/ 430971 w 1163190"/>
                <a:gd name="connsiteY7" fmla="*/ 0 h 905421"/>
                <a:gd name="connsiteX8" fmla="*/ 430971 w 1163190"/>
                <a:gd name="connsiteY8" fmla="*/ 0 h 90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3190" h="905421">
                  <a:moveTo>
                    <a:pt x="431928" y="3469"/>
                  </a:moveTo>
                  <a:lnTo>
                    <a:pt x="1158107" y="502321"/>
                  </a:lnTo>
                  <a:lnTo>
                    <a:pt x="4486" y="901414"/>
                  </a:lnTo>
                  <a:lnTo>
                    <a:pt x="431928" y="3469"/>
                  </a:lnTo>
                  <a:moveTo>
                    <a:pt x="430971" y="0"/>
                  </a:moveTo>
                  <a:lnTo>
                    <a:pt x="0" y="905421"/>
                  </a:lnTo>
                  <a:lnTo>
                    <a:pt x="1163191" y="502979"/>
                  </a:lnTo>
                  <a:lnTo>
                    <a:pt x="430971" y="0"/>
                  </a:lnTo>
                  <a:lnTo>
                    <a:pt x="430971" y="0"/>
                  </a:lnTo>
                  <a:close/>
                </a:path>
              </a:pathLst>
            </a:custGeom>
            <a:grpFill/>
            <a:ln w="0" cap="flat">
              <a:noFill/>
              <a:prstDash val="solid"/>
              <a:miter/>
            </a:ln>
          </p:spPr>
          <p:txBody>
            <a:bodyPr rtlCol="0" anchor="ctr"/>
            <a:lstStyle/>
            <a:p>
              <a:endParaRPr lang="en-GB"/>
            </a:p>
          </p:txBody>
        </p:sp>
        <p:sp>
          <p:nvSpPr>
            <p:cNvPr id="4350" name="Vrije vorm: vorm 4349">
              <a:extLst>
                <a:ext uri="{FF2B5EF4-FFF2-40B4-BE49-F238E27FC236}">
                  <a16:creationId xmlns:a16="http://schemas.microsoft.com/office/drawing/2014/main" id="{29D1E039-3223-43D5-A2A0-7E2905CE2B1F}"/>
                </a:ext>
              </a:extLst>
            </p:cNvPr>
            <p:cNvSpPr/>
            <p:nvPr/>
          </p:nvSpPr>
          <p:spPr>
            <a:xfrm>
              <a:off x="5258928" y="2250645"/>
              <a:ext cx="722052" cy="905002"/>
            </a:xfrm>
            <a:custGeom>
              <a:avLst/>
              <a:gdLst>
                <a:gd name="connsiteX0" fmla="*/ 714397 w 722052"/>
                <a:gd name="connsiteY0" fmla="*/ 10706 h 905002"/>
                <a:gd name="connsiteX1" fmla="*/ 290603 w 722052"/>
                <a:gd name="connsiteY1" fmla="*/ 901534 h 905002"/>
                <a:gd name="connsiteX2" fmla="*/ 3648 w 722052"/>
                <a:gd name="connsiteY2" fmla="*/ 703811 h 905002"/>
                <a:gd name="connsiteX3" fmla="*/ 714397 w 722052"/>
                <a:gd name="connsiteY3" fmla="*/ 10706 h 905002"/>
                <a:gd name="connsiteX4" fmla="*/ 722053 w 722052"/>
                <a:gd name="connsiteY4" fmla="*/ 0 h 905002"/>
                <a:gd name="connsiteX5" fmla="*/ 0 w 722052"/>
                <a:gd name="connsiteY5" fmla="*/ 704110 h 905002"/>
                <a:gd name="connsiteX6" fmla="*/ 291500 w 722052"/>
                <a:gd name="connsiteY6" fmla="*/ 905003 h 905002"/>
                <a:gd name="connsiteX7" fmla="*/ 722053 w 722052"/>
                <a:gd name="connsiteY7" fmla="*/ 0 h 905002"/>
                <a:gd name="connsiteX8" fmla="*/ 722053 w 722052"/>
                <a:gd name="connsiteY8" fmla="*/ 0 h 90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2052" h="905002">
                  <a:moveTo>
                    <a:pt x="714397" y="10706"/>
                  </a:moveTo>
                  <a:lnTo>
                    <a:pt x="290603" y="901534"/>
                  </a:lnTo>
                  <a:lnTo>
                    <a:pt x="3648" y="703811"/>
                  </a:lnTo>
                  <a:lnTo>
                    <a:pt x="714397" y="10706"/>
                  </a:lnTo>
                  <a:moveTo>
                    <a:pt x="722053" y="0"/>
                  </a:moveTo>
                  <a:lnTo>
                    <a:pt x="0" y="704110"/>
                  </a:lnTo>
                  <a:lnTo>
                    <a:pt x="291500" y="905003"/>
                  </a:lnTo>
                  <a:lnTo>
                    <a:pt x="722053" y="0"/>
                  </a:lnTo>
                  <a:lnTo>
                    <a:pt x="722053" y="0"/>
                  </a:lnTo>
                  <a:close/>
                </a:path>
              </a:pathLst>
            </a:custGeom>
            <a:grpFill/>
            <a:ln w="0" cap="flat">
              <a:noFill/>
              <a:prstDash val="solid"/>
              <a:miter/>
            </a:ln>
          </p:spPr>
          <p:txBody>
            <a:bodyPr rtlCol="0" anchor="ctr"/>
            <a:lstStyle/>
            <a:p>
              <a:endParaRPr lang="en-GB"/>
            </a:p>
          </p:txBody>
        </p:sp>
      </p:grpSp>
      <p:sp>
        <p:nvSpPr>
          <p:cNvPr id="4351" name="BOL_ORANJE3">
            <a:extLst>
              <a:ext uri="{FF2B5EF4-FFF2-40B4-BE49-F238E27FC236}">
                <a16:creationId xmlns:a16="http://schemas.microsoft.com/office/drawing/2014/main" id="{E5685F62-797A-4282-8E80-F97B8037B19D}"/>
              </a:ext>
            </a:extLst>
          </p:cNvPr>
          <p:cNvSpPr/>
          <p:nvPr/>
        </p:nvSpPr>
        <p:spPr>
          <a:xfrm>
            <a:off x="5821153" y="3230977"/>
            <a:ext cx="137078" cy="137078"/>
          </a:xfrm>
          <a:custGeom>
            <a:avLst/>
            <a:gdLst>
              <a:gd name="connsiteX0" fmla="*/ 137078 w 137078"/>
              <a:gd name="connsiteY0" fmla="*/ 68539 h 137078"/>
              <a:gd name="connsiteX1" fmla="*/ 68539 w 137078"/>
              <a:gd name="connsiteY1" fmla="*/ 137078 h 137078"/>
              <a:gd name="connsiteX2" fmla="*/ 0 w 137078"/>
              <a:gd name="connsiteY2" fmla="*/ 68539 h 137078"/>
              <a:gd name="connsiteX3" fmla="*/ 68539 w 137078"/>
              <a:gd name="connsiteY3" fmla="*/ 0 h 137078"/>
              <a:gd name="connsiteX4" fmla="*/ 137078 w 137078"/>
              <a:gd name="connsiteY4" fmla="*/ 68539 h 137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078" h="137078">
                <a:moveTo>
                  <a:pt x="137078" y="68539"/>
                </a:moveTo>
                <a:cubicBezTo>
                  <a:pt x="137078" y="106392"/>
                  <a:pt x="106392" y="137078"/>
                  <a:pt x="68539" y="137078"/>
                </a:cubicBezTo>
                <a:cubicBezTo>
                  <a:pt x="30686" y="137078"/>
                  <a:pt x="0" y="106392"/>
                  <a:pt x="0" y="68539"/>
                </a:cubicBezTo>
                <a:cubicBezTo>
                  <a:pt x="0" y="30686"/>
                  <a:pt x="30686" y="0"/>
                  <a:pt x="68539" y="0"/>
                </a:cubicBezTo>
                <a:cubicBezTo>
                  <a:pt x="106392" y="0"/>
                  <a:pt x="137078" y="30686"/>
                  <a:pt x="137078" y="68539"/>
                </a:cubicBezTo>
                <a:close/>
              </a:path>
            </a:pathLst>
          </a:custGeom>
          <a:solidFill>
            <a:schemeClr val="accent1"/>
          </a:solidFill>
          <a:ln w="5978" cap="flat">
            <a:noFill/>
            <a:prstDash val="solid"/>
            <a:miter/>
          </a:ln>
        </p:spPr>
        <p:txBody>
          <a:bodyPr rtlCol="0" anchor="ctr"/>
          <a:lstStyle/>
          <a:p>
            <a:endParaRPr lang="en-GB"/>
          </a:p>
        </p:txBody>
      </p:sp>
      <p:sp>
        <p:nvSpPr>
          <p:cNvPr id="4352" name="BOL_ORANJE2">
            <a:extLst>
              <a:ext uri="{FF2B5EF4-FFF2-40B4-BE49-F238E27FC236}">
                <a16:creationId xmlns:a16="http://schemas.microsoft.com/office/drawing/2014/main" id="{052FB911-355D-4874-B819-A2E30F2AD91E}"/>
              </a:ext>
            </a:extLst>
          </p:cNvPr>
          <p:cNvSpPr/>
          <p:nvPr/>
        </p:nvSpPr>
        <p:spPr>
          <a:xfrm>
            <a:off x="5084089" y="3473555"/>
            <a:ext cx="250592" cy="250592"/>
          </a:xfrm>
          <a:custGeom>
            <a:avLst/>
            <a:gdLst>
              <a:gd name="connsiteX0" fmla="*/ 250592 w 250592"/>
              <a:gd name="connsiteY0" fmla="*/ 125296 h 250592"/>
              <a:gd name="connsiteX1" fmla="*/ 125296 w 250592"/>
              <a:gd name="connsiteY1" fmla="*/ 250592 h 250592"/>
              <a:gd name="connsiteX2" fmla="*/ 0 w 250592"/>
              <a:gd name="connsiteY2" fmla="*/ 125296 h 250592"/>
              <a:gd name="connsiteX3" fmla="*/ 125296 w 250592"/>
              <a:gd name="connsiteY3" fmla="*/ 0 h 250592"/>
              <a:gd name="connsiteX4" fmla="*/ 250592 w 250592"/>
              <a:gd name="connsiteY4" fmla="*/ 125296 h 250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592" h="250592">
                <a:moveTo>
                  <a:pt x="250592" y="125296"/>
                </a:moveTo>
                <a:cubicBezTo>
                  <a:pt x="250592" y="194495"/>
                  <a:pt x="194495" y="250592"/>
                  <a:pt x="125296" y="250592"/>
                </a:cubicBezTo>
                <a:cubicBezTo>
                  <a:pt x="56097" y="250592"/>
                  <a:pt x="0" y="194495"/>
                  <a:pt x="0" y="125296"/>
                </a:cubicBezTo>
                <a:cubicBezTo>
                  <a:pt x="0" y="56097"/>
                  <a:pt x="56097" y="0"/>
                  <a:pt x="125296" y="0"/>
                </a:cubicBezTo>
                <a:cubicBezTo>
                  <a:pt x="194495" y="0"/>
                  <a:pt x="250592" y="56097"/>
                  <a:pt x="250592" y="125296"/>
                </a:cubicBezTo>
                <a:close/>
              </a:path>
            </a:pathLst>
          </a:custGeom>
          <a:solidFill>
            <a:schemeClr val="accent1"/>
          </a:solidFill>
          <a:ln w="5978" cap="flat">
            <a:noFill/>
            <a:prstDash val="solid"/>
            <a:miter/>
          </a:ln>
        </p:spPr>
        <p:txBody>
          <a:bodyPr rtlCol="0" anchor="ctr"/>
          <a:lstStyle/>
          <a:p>
            <a:endParaRPr lang="en-GB"/>
          </a:p>
        </p:txBody>
      </p:sp>
      <p:sp>
        <p:nvSpPr>
          <p:cNvPr id="4353" name="BOL_ORANJE1">
            <a:extLst>
              <a:ext uri="{FF2B5EF4-FFF2-40B4-BE49-F238E27FC236}">
                <a16:creationId xmlns:a16="http://schemas.microsoft.com/office/drawing/2014/main" id="{5ED526D6-2267-47C2-90CF-A8A1C14F5B73}"/>
              </a:ext>
            </a:extLst>
          </p:cNvPr>
          <p:cNvSpPr/>
          <p:nvPr/>
        </p:nvSpPr>
        <p:spPr>
          <a:xfrm>
            <a:off x="5448614" y="2622020"/>
            <a:ext cx="371402" cy="371402"/>
          </a:xfrm>
          <a:custGeom>
            <a:avLst/>
            <a:gdLst>
              <a:gd name="connsiteX0" fmla="*/ 371403 w 371402"/>
              <a:gd name="connsiteY0" fmla="*/ 185701 h 371402"/>
              <a:gd name="connsiteX1" fmla="*/ 185701 w 371402"/>
              <a:gd name="connsiteY1" fmla="*/ 371403 h 371402"/>
              <a:gd name="connsiteX2" fmla="*/ 0 w 371402"/>
              <a:gd name="connsiteY2" fmla="*/ 185701 h 371402"/>
              <a:gd name="connsiteX3" fmla="*/ 185701 w 371402"/>
              <a:gd name="connsiteY3" fmla="*/ 0 h 371402"/>
              <a:gd name="connsiteX4" fmla="*/ 371403 w 371402"/>
              <a:gd name="connsiteY4" fmla="*/ 185701 h 371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02" h="371402">
                <a:moveTo>
                  <a:pt x="371403" y="185701"/>
                </a:moveTo>
                <a:cubicBezTo>
                  <a:pt x="371403" y="288261"/>
                  <a:pt x="288262" y="371403"/>
                  <a:pt x="185701" y="371403"/>
                </a:cubicBezTo>
                <a:cubicBezTo>
                  <a:pt x="83141" y="371403"/>
                  <a:pt x="0" y="288261"/>
                  <a:pt x="0" y="185701"/>
                </a:cubicBezTo>
                <a:cubicBezTo>
                  <a:pt x="0" y="83141"/>
                  <a:pt x="83141" y="0"/>
                  <a:pt x="185701" y="0"/>
                </a:cubicBezTo>
                <a:cubicBezTo>
                  <a:pt x="288262" y="0"/>
                  <a:pt x="371403" y="83141"/>
                  <a:pt x="371403" y="185701"/>
                </a:cubicBezTo>
                <a:close/>
              </a:path>
            </a:pathLst>
          </a:custGeom>
          <a:solidFill>
            <a:schemeClr val="accent1"/>
          </a:solidFill>
          <a:ln w="5978" cap="flat">
            <a:noFill/>
            <a:prstDash val="solid"/>
            <a:miter/>
          </a:ln>
        </p:spPr>
        <p:txBody>
          <a:bodyPr rtlCol="0" anchor="ctr"/>
          <a:lstStyle/>
          <a:p>
            <a:endParaRPr lang="en-GB"/>
          </a:p>
        </p:txBody>
      </p:sp>
      <p:sp>
        <p:nvSpPr>
          <p:cNvPr id="4354" name="BOL_BLAUW5">
            <a:extLst>
              <a:ext uri="{FF2B5EF4-FFF2-40B4-BE49-F238E27FC236}">
                <a16:creationId xmlns:a16="http://schemas.microsoft.com/office/drawing/2014/main" id="{AD02A76E-A28C-4E42-97A5-126529B66583}"/>
              </a:ext>
            </a:extLst>
          </p:cNvPr>
          <p:cNvSpPr/>
          <p:nvPr/>
        </p:nvSpPr>
        <p:spPr>
          <a:xfrm>
            <a:off x="5423375" y="3645919"/>
            <a:ext cx="143537" cy="143537"/>
          </a:xfrm>
          <a:custGeom>
            <a:avLst/>
            <a:gdLst>
              <a:gd name="connsiteX0" fmla="*/ 143537 w 143537"/>
              <a:gd name="connsiteY0" fmla="*/ 71769 h 143537"/>
              <a:gd name="connsiteX1" fmla="*/ 71769 w 143537"/>
              <a:gd name="connsiteY1" fmla="*/ 143537 h 143537"/>
              <a:gd name="connsiteX2" fmla="*/ 0 w 143537"/>
              <a:gd name="connsiteY2" fmla="*/ 71769 h 143537"/>
              <a:gd name="connsiteX3" fmla="*/ 71769 w 143537"/>
              <a:gd name="connsiteY3" fmla="*/ 0 h 143537"/>
              <a:gd name="connsiteX4" fmla="*/ 143537 w 143537"/>
              <a:gd name="connsiteY4" fmla="*/ 71769 h 143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537" h="143537">
                <a:moveTo>
                  <a:pt x="143537" y="71769"/>
                </a:moveTo>
                <a:cubicBezTo>
                  <a:pt x="143537" y="111405"/>
                  <a:pt x="111405" y="143537"/>
                  <a:pt x="71769" y="143537"/>
                </a:cubicBezTo>
                <a:cubicBezTo>
                  <a:pt x="32132" y="143537"/>
                  <a:pt x="0" y="111405"/>
                  <a:pt x="0" y="71769"/>
                </a:cubicBezTo>
                <a:cubicBezTo>
                  <a:pt x="0" y="32132"/>
                  <a:pt x="32132" y="0"/>
                  <a:pt x="71769" y="0"/>
                </a:cubicBezTo>
                <a:cubicBezTo>
                  <a:pt x="111405" y="0"/>
                  <a:pt x="143537" y="32132"/>
                  <a:pt x="143537" y="71769"/>
                </a:cubicBezTo>
                <a:close/>
              </a:path>
            </a:pathLst>
          </a:custGeom>
          <a:solidFill>
            <a:schemeClr val="tx2"/>
          </a:solidFill>
          <a:ln w="5978" cap="flat">
            <a:noFill/>
            <a:prstDash val="solid"/>
            <a:miter/>
          </a:ln>
        </p:spPr>
        <p:txBody>
          <a:bodyPr rtlCol="0" anchor="ctr"/>
          <a:lstStyle/>
          <a:p>
            <a:endParaRPr lang="en-GB"/>
          </a:p>
        </p:txBody>
      </p:sp>
      <p:sp>
        <p:nvSpPr>
          <p:cNvPr id="4355" name="BOL_BLAUW4">
            <a:extLst>
              <a:ext uri="{FF2B5EF4-FFF2-40B4-BE49-F238E27FC236}">
                <a16:creationId xmlns:a16="http://schemas.microsoft.com/office/drawing/2014/main" id="{22C7D031-31FD-4D24-98CB-0CF6705B0E4F}"/>
              </a:ext>
            </a:extLst>
          </p:cNvPr>
          <p:cNvSpPr/>
          <p:nvPr/>
        </p:nvSpPr>
        <p:spPr>
          <a:xfrm>
            <a:off x="5601960" y="2317362"/>
            <a:ext cx="229779" cy="229779"/>
          </a:xfrm>
          <a:custGeom>
            <a:avLst/>
            <a:gdLst>
              <a:gd name="connsiteX0" fmla="*/ 229779 w 229779"/>
              <a:gd name="connsiteY0" fmla="*/ 114890 h 229779"/>
              <a:gd name="connsiteX1" fmla="*/ 114890 w 229779"/>
              <a:gd name="connsiteY1" fmla="*/ 229779 h 229779"/>
              <a:gd name="connsiteX2" fmla="*/ 0 w 229779"/>
              <a:gd name="connsiteY2" fmla="*/ 114890 h 229779"/>
              <a:gd name="connsiteX3" fmla="*/ 114890 w 229779"/>
              <a:gd name="connsiteY3" fmla="*/ 0 h 229779"/>
              <a:gd name="connsiteX4" fmla="*/ 229779 w 229779"/>
              <a:gd name="connsiteY4" fmla="*/ 114890 h 229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79" h="229779">
                <a:moveTo>
                  <a:pt x="229779" y="114890"/>
                </a:moveTo>
                <a:cubicBezTo>
                  <a:pt x="229779" y="178341"/>
                  <a:pt x="178342" y="229779"/>
                  <a:pt x="114890" y="229779"/>
                </a:cubicBezTo>
                <a:cubicBezTo>
                  <a:pt x="51438" y="229779"/>
                  <a:pt x="0" y="178341"/>
                  <a:pt x="0" y="114890"/>
                </a:cubicBezTo>
                <a:cubicBezTo>
                  <a:pt x="0" y="51438"/>
                  <a:pt x="51438" y="0"/>
                  <a:pt x="114890" y="0"/>
                </a:cubicBezTo>
                <a:cubicBezTo>
                  <a:pt x="178341" y="0"/>
                  <a:pt x="229779" y="51438"/>
                  <a:pt x="229779" y="114890"/>
                </a:cubicBezTo>
                <a:close/>
              </a:path>
            </a:pathLst>
          </a:custGeom>
          <a:solidFill>
            <a:schemeClr val="tx2"/>
          </a:solidFill>
          <a:ln w="5978" cap="flat">
            <a:noFill/>
            <a:prstDash val="solid"/>
            <a:miter/>
          </a:ln>
        </p:spPr>
        <p:txBody>
          <a:bodyPr rtlCol="0" anchor="ctr"/>
          <a:lstStyle/>
          <a:p>
            <a:endParaRPr lang="en-GB"/>
          </a:p>
        </p:txBody>
      </p:sp>
      <p:sp>
        <p:nvSpPr>
          <p:cNvPr id="4356" name="BOL_BLAUW3">
            <a:extLst>
              <a:ext uri="{FF2B5EF4-FFF2-40B4-BE49-F238E27FC236}">
                <a16:creationId xmlns:a16="http://schemas.microsoft.com/office/drawing/2014/main" id="{6C9FAFEB-9635-48B9-A382-2832DDA70612}"/>
              </a:ext>
            </a:extLst>
          </p:cNvPr>
          <p:cNvSpPr/>
          <p:nvPr/>
        </p:nvSpPr>
        <p:spPr>
          <a:xfrm>
            <a:off x="4814897" y="3159208"/>
            <a:ext cx="221406" cy="221406"/>
          </a:xfrm>
          <a:custGeom>
            <a:avLst/>
            <a:gdLst>
              <a:gd name="connsiteX0" fmla="*/ 221406 w 221406"/>
              <a:gd name="connsiteY0" fmla="*/ 110703 h 221406"/>
              <a:gd name="connsiteX1" fmla="*/ 110703 w 221406"/>
              <a:gd name="connsiteY1" fmla="*/ 221406 h 221406"/>
              <a:gd name="connsiteX2" fmla="*/ 0 w 221406"/>
              <a:gd name="connsiteY2" fmla="*/ 110703 h 221406"/>
              <a:gd name="connsiteX3" fmla="*/ 110703 w 221406"/>
              <a:gd name="connsiteY3" fmla="*/ 0 h 221406"/>
              <a:gd name="connsiteX4" fmla="*/ 221406 w 221406"/>
              <a:gd name="connsiteY4" fmla="*/ 110703 h 221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406" h="221406">
                <a:moveTo>
                  <a:pt x="221406" y="110703"/>
                </a:moveTo>
                <a:cubicBezTo>
                  <a:pt x="221406" y="171843"/>
                  <a:pt x="171843" y="221406"/>
                  <a:pt x="110703" y="221406"/>
                </a:cubicBezTo>
                <a:cubicBezTo>
                  <a:pt x="49564" y="221406"/>
                  <a:pt x="0" y="171843"/>
                  <a:pt x="0" y="110703"/>
                </a:cubicBezTo>
                <a:cubicBezTo>
                  <a:pt x="0" y="49564"/>
                  <a:pt x="49564" y="0"/>
                  <a:pt x="110703" y="0"/>
                </a:cubicBezTo>
                <a:cubicBezTo>
                  <a:pt x="171843" y="0"/>
                  <a:pt x="221406" y="49563"/>
                  <a:pt x="221406" y="110703"/>
                </a:cubicBezTo>
                <a:close/>
              </a:path>
            </a:pathLst>
          </a:custGeom>
          <a:solidFill>
            <a:schemeClr val="tx2"/>
          </a:solidFill>
          <a:ln w="5978" cap="flat">
            <a:noFill/>
            <a:prstDash val="solid"/>
            <a:miter/>
          </a:ln>
        </p:spPr>
        <p:txBody>
          <a:bodyPr rtlCol="0" anchor="ctr"/>
          <a:lstStyle/>
          <a:p>
            <a:endParaRPr lang="en-GB"/>
          </a:p>
        </p:txBody>
      </p:sp>
      <p:sp>
        <p:nvSpPr>
          <p:cNvPr id="4357" name="BOL_BLAUW2">
            <a:extLst>
              <a:ext uri="{FF2B5EF4-FFF2-40B4-BE49-F238E27FC236}">
                <a16:creationId xmlns:a16="http://schemas.microsoft.com/office/drawing/2014/main" id="{E9CEAE99-565E-47F7-AD09-9F3F1C346B09}"/>
              </a:ext>
            </a:extLst>
          </p:cNvPr>
          <p:cNvSpPr/>
          <p:nvPr/>
        </p:nvSpPr>
        <p:spPr>
          <a:xfrm>
            <a:off x="5344011" y="4376345"/>
            <a:ext cx="246046" cy="246046"/>
          </a:xfrm>
          <a:custGeom>
            <a:avLst/>
            <a:gdLst>
              <a:gd name="connsiteX0" fmla="*/ 246047 w 246046"/>
              <a:gd name="connsiteY0" fmla="*/ 123023 h 246046"/>
              <a:gd name="connsiteX1" fmla="*/ 123023 w 246046"/>
              <a:gd name="connsiteY1" fmla="*/ 246047 h 246046"/>
              <a:gd name="connsiteX2" fmla="*/ 0 w 246046"/>
              <a:gd name="connsiteY2" fmla="*/ 123023 h 246046"/>
              <a:gd name="connsiteX3" fmla="*/ 123023 w 246046"/>
              <a:gd name="connsiteY3" fmla="*/ 0 h 246046"/>
              <a:gd name="connsiteX4" fmla="*/ 246047 w 246046"/>
              <a:gd name="connsiteY4" fmla="*/ 123023 h 246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046" h="246046">
                <a:moveTo>
                  <a:pt x="246047" y="123023"/>
                </a:moveTo>
                <a:cubicBezTo>
                  <a:pt x="246047" y="190967"/>
                  <a:pt x="190968" y="246047"/>
                  <a:pt x="123023" y="246047"/>
                </a:cubicBezTo>
                <a:cubicBezTo>
                  <a:pt x="55079" y="246047"/>
                  <a:pt x="0" y="190968"/>
                  <a:pt x="0" y="123023"/>
                </a:cubicBezTo>
                <a:cubicBezTo>
                  <a:pt x="0" y="55079"/>
                  <a:pt x="55079" y="0"/>
                  <a:pt x="123023" y="0"/>
                </a:cubicBezTo>
                <a:cubicBezTo>
                  <a:pt x="190967" y="0"/>
                  <a:pt x="246047" y="55079"/>
                  <a:pt x="246047" y="123023"/>
                </a:cubicBezTo>
                <a:close/>
              </a:path>
            </a:pathLst>
          </a:custGeom>
          <a:solidFill>
            <a:schemeClr val="tx2"/>
          </a:solidFill>
          <a:ln w="5978" cap="flat">
            <a:noFill/>
            <a:prstDash val="solid"/>
            <a:miter/>
          </a:ln>
        </p:spPr>
        <p:txBody>
          <a:bodyPr rtlCol="0" anchor="ctr"/>
          <a:lstStyle/>
          <a:p>
            <a:endParaRPr lang="en-GB"/>
          </a:p>
        </p:txBody>
      </p:sp>
      <p:sp>
        <p:nvSpPr>
          <p:cNvPr id="4358" name="BOL_BLAUW1">
            <a:extLst>
              <a:ext uri="{FF2B5EF4-FFF2-40B4-BE49-F238E27FC236}">
                <a16:creationId xmlns:a16="http://schemas.microsoft.com/office/drawing/2014/main" id="{AD6CBC52-10F9-46D2-BA28-05441D902F1F}"/>
              </a:ext>
            </a:extLst>
          </p:cNvPr>
          <p:cNvSpPr/>
          <p:nvPr/>
        </p:nvSpPr>
        <p:spPr>
          <a:xfrm>
            <a:off x="6393688" y="4320066"/>
            <a:ext cx="313629" cy="313629"/>
          </a:xfrm>
          <a:custGeom>
            <a:avLst/>
            <a:gdLst>
              <a:gd name="connsiteX0" fmla="*/ 313629 w 313629"/>
              <a:gd name="connsiteY0" fmla="*/ 156814 h 313629"/>
              <a:gd name="connsiteX1" fmla="*/ 156815 w 313629"/>
              <a:gd name="connsiteY1" fmla="*/ 313629 h 313629"/>
              <a:gd name="connsiteX2" fmla="*/ 0 w 313629"/>
              <a:gd name="connsiteY2" fmla="*/ 156814 h 313629"/>
              <a:gd name="connsiteX3" fmla="*/ 156815 w 313629"/>
              <a:gd name="connsiteY3" fmla="*/ 0 h 313629"/>
              <a:gd name="connsiteX4" fmla="*/ 313629 w 313629"/>
              <a:gd name="connsiteY4" fmla="*/ 156814 h 31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29" h="313629">
                <a:moveTo>
                  <a:pt x="313629" y="156814"/>
                </a:moveTo>
                <a:cubicBezTo>
                  <a:pt x="313629" y="243421"/>
                  <a:pt x="243421" y="313629"/>
                  <a:pt x="156815" y="313629"/>
                </a:cubicBezTo>
                <a:cubicBezTo>
                  <a:pt x="70208" y="313629"/>
                  <a:pt x="0" y="243421"/>
                  <a:pt x="0" y="156814"/>
                </a:cubicBezTo>
                <a:cubicBezTo>
                  <a:pt x="0" y="70208"/>
                  <a:pt x="70208" y="0"/>
                  <a:pt x="156815" y="0"/>
                </a:cubicBezTo>
                <a:cubicBezTo>
                  <a:pt x="243421" y="0"/>
                  <a:pt x="313629" y="70208"/>
                  <a:pt x="313629" y="156814"/>
                </a:cubicBezTo>
                <a:close/>
              </a:path>
            </a:pathLst>
          </a:custGeom>
          <a:solidFill>
            <a:schemeClr val="tx2"/>
          </a:solidFill>
          <a:ln w="5978" cap="flat">
            <a:noFill/>
            <a:prstDash val="solid"/>
            <a:miter/>
          </a:ln>
        </p:spPr>
        <p:txBody>
          <a:bodyPr rtlCol="0" anchor="ctr"/>
          <a:lstStyle/>
          <a:p>
            <a:endParaRPr lang="en-GB"/>
          </a:p>
        </p:txBody>
      </p:sp>
      <p:sp>
        <p:nvSpPr>
          <p:cNvPr id="4359" name="BOL_GEEL6">
            <a:extLst>
              <a:ext uri="{FF2B5EF4-FFF2-40B4-BE49-F238E27FC236}">
                <a16:creationId xmlns:a16="http://schemas.microsoft.com/office/drawing/2014/main" id="{D2CA9878-D139-48BA-A1EE-5F3EB77F870E}"/>
              </a:ext>
            </a:extLst>
          </p:cNvPr>
          <p:cNvSpPr/>
          <p:nvPr/>
        </p:nvSpPr>
        <p:spPr>
          <a:xfrm>
            <a:off x="6110321" y="2458866"/>
            <a:ext cx="77510" cy="77510"/>
          </a:xfrm>
          <a:custGeom>
            <a:avLst/>
            <a:gdLst>
              <a:gd name="connsiteX0" fmla="*/ 77510 w 77510"/>
              <a:gd name="connsiteY0" fmla="*/ 38755 h 77510"/>
              <a:gd name="connsiteX1" fmla="*/ 38755 w 77510"/>
              <a:gd name="connsiteY1" fmla="*/ 77510 h 77510"/>
              <a:gd name="connsiteX2" fmla="*/ 0 w 77510"/>
              <a:gd name="connsiteY2" fmla="*/ 38755 h 77510"/>
              <a:gd name="connsiteX3" fmla="*/ 38755 w 77510"/>
              <a:gd name="connsiteY3" fmla="*/ 0 h 77510"/>
              <a:gd name="connsiteX4" fmla="*/ 77510 w 77510"/>
              <a:gd name="connsiteY4" fmla="*/ 38755 h 77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10" h="77510">
                <a:moveTo>
                  <a:pt x="77510" y="38755"/>
                </a:moveTo>
                <a:cubicBezTo>
                  <a:pt x="77510" y="60159"/>
                  <a:pt x="60159" y="77510"/>
                  <a:pt x="38755" y="77510"/>
                </a:cubicBezTo>
                <a:cubicBezTo>
                  <a:pt x="17351" y="77510"/>
                  <a:pt x="0" y="60159"/>
                  <a:pt x="0" y="38755"/>
                </a:cubicBezTo>
                <a:cubicBezTo>
                  <a:pt x="0" y="17351"/>
                  <a:pt x="17351" y="0"/>
                  <a:pt x="38755" y="0"/>
                </a:cubicBezTo>
                <a:cubicBezTo>
                  <a:pt x="60159" y="0"/>
                  <a:pt x="77510" y="17351"/>
                  <a:pt x="77510" y="38755"/>
                </a:cubicBezTo>
                <a:close/>
              </a:path>
            </a:pathLst>
          </a:custGeom>
          <a:solidFill>
            <a:schemeClr val="accent3"/>
          </a:solidFill>
          <a:ln w="5978" cap="flat">
            <a:noFill/>
            <a:prstDash val="solid"/>
            <a:miter/>
          </a:ln>
        </p:spPr>
        <p:txBody>
          <a:bodyPr rtlCol="0" anchor="ctr"/>
          <a:lstStyle/>
          <a:p>
            <a:endParaRPr lang="en-GB"/>
          </a:p>
        </p:txBody>
      </p:sp>
      <p:sp>
        <p:nvSpPr>
          <p:cNvPr id="4360" name="BOL_GEEL5">
            <a:extLst>
              <a:ext uri="{FF2B5EF4-FFF2-40B4-BE49-F238E27FC236}">
                <a16:creationId xmlns:a16="http://schemas.microsoft.com/office/drawing/2014/main" id="{4F56A7FF-3E1C-4234-B19F-1B01EFE3C4C9}"/>
              </a:ext>
            </a:extLst>
          </p:cNvPr>
          <p:cNvSpPr/>
          <p:nvPr/>
        </p:nvSpPr>
        <p:spPr>
          <a:xfrm>
            <a:off x="5780843" y="3418413"/>
            <a:ext cx="81577" cy="81577"/>
          </a:xfrm>
          <a:custGeom>
            <a:avLst/>
            <a:gdLst>
              <a:gd name="connsiteX0" fmla="*/ 81577 w 81577"/>
              <a:gd name="connsiteY0" fmla="*/ 40789 h 81577"/>
              <a:gd name="connsiteX1" fmla="*/ 40789 w 81577"/>
              <a:gd name="connsiteY1" fmla="*/ 81577 h 81577"/>
              <a:gd name="connsiteX2" fmla="*/ 0 w 81577"/>
              <a:gd name="connsiteY2" fmla="*/ 40789 h 81577"/>
              <a:gd name="connsiteX3" fmla="*/ 40789 w 81577"/>
              <a:gd name="connsiteY3" fmla="*/ 0 h 81577"/>
              <a:gd name="connsiteX4" fmla="*/ 81577 w 81577"/>
              <a:gd name="connsiteY4" fmla="*/ 40789 h 81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77" h="81577">
                <a:moveTo>
                  <a:pt x="81577" y="40789"/>
                </a:moveTo>
                <a:cubicBezTo>
                  <a:pt x="81577" y="63315"/>
                  <a:pt x="63316" y="81577"/>
                  <a:pt x="40789" y="81577"/>
                </a:cubicBezTo>
                <a:cubicBezTo>
                  <a:pt x="18262" y="81577"/>
                  <a:pt x="0" y="63315"/>
                  <a:pt x="0" y="40789"/>
                </a:cubicBezTo>
                <a:cubicBezTo>
                  <a:pt x="0" y="18262"/>
                  <a:pt x="18262" y="0"/>
                  <a:pt x="40789" y="0"/>
                </a:cubicBezTo>
                <a:cubicBezTo>
                  <a:pt x="63316" y="0"/>
                  <a:pt x="81577" y="18262"/>
                  <a:pt x="81577" y="40789"/>
                </a:cubicBezTo>
                <a:close/>
              </a:path>
            </a:pathLst>
          </a:custGeom>
          <a:solidFill>
            <a:schemeClr val="accent3"/>
          </a:solidFill>
          <a:ln w="5978" cap="flat">
            <a:noFill/>
            <a:prstDash val="solid"/>
            <a:miter/>
          </a:ln>
        </p:spPr>
        <p:txBody>
          <a:bodyPr rtlCol="0" anchor="ctr"/>
          <a:lstStyle/>
          <a:p>
            <a:endParaRPr lang="en-GB"/>
          </a:p>
        </p:txBody>
      </p:sp>
      <p:sp>
        <p:nvSpPr>
          <p:cNvPr id="4361" name="BOL_GEEL4">
            <a:extLst>
              <a:ext uri="{FF2B5EF4-FFF2-40B4-BE49-F238E27FC236}">
                <a16:creationId xmlns:a16="http://schemas.microsoft.com/office/drawing/2014/main" id="{A601BAF7-B1A3-433F-AD46-35D936CD24C5}"/>
              </a:ext>
            </a:extLst>
          </p:cNvPr>
          <p:cNvSpPr/>
          <p:nvPr/>
        </p:nvSpPr>
        <p:spPr>
          <a:xfrm>
            <a:off x="5192340" y="2875423"/>
            <a:ext cx="135044" cy="135044"/>
          </a:xfrm>
          <a:custGeom>
            <a:avLst/>
            <a:gdLst>
              <a:gd name="connsiteX0" fmla="*/ 135045 w 135044"/>
              <a:gd name="connsiteY0" fmla="*/ 67522 h 135044"/>
              <a:gd name="connsiteX1" fmla="*/ 67523 w 135044"/>
              <a:gd name="connsiteY1" fmla="*/ 135045 h 135044"/>
              <a:gd name="connsiteX2" fmla="*/ 0 w 135044"/>
              <a:gd name="connsiteY2" fmla="*/ 67522 h 135044"/>
              <a:gd name="connsiteX3" fmla="*/ 67523 w 135044"/>
              <a:gd name="connsiteY3" fmla="*/ 0 h 135044"/>
              <a:gd name="connsiteX4" fmla="*/ 135045 w 135044"/>
              <a:gd name="connsiteY4" fmla="*/ 67522 h 135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44" h="135044">
                <a:moveTo>
                  <a:pt x="135045" y="67522"/>
                </a:moveTo>
                <a:cubicBezTo>
                  <a:pt x="135045" y="104814"/>
                  <a:pt x="104814" y="135045"/>
                  <a:pt x="67523" y="135045"/>
                </a:cubicBezTo>
                <a:cubicBezTo>
                  <a:pt x="30231" y="135045"/>
                  <a:pt x="0" y="104814"/>
                  <a:pt x="0" y="67522"/>
                </a:cubicBezTo>
                <a:cubicBezTo>
                  <a:pt x="0" y="30231"/>
                  <a:pt x="30231" y="0"/>
                  <a:pt x="67523" y="0"/>
                </a:cubicBezTo>
                <a:cubicBezTo>
                  <a:pt x="104814" y="0"/>
                  <a:pt x="135045" y="30231"/>
                  <a:pt x="135045" y="67522"/>
                </a:cubicBezTo>
                <a:close/>
              </a:path>
            </a:pathLst>
          </a:custGeom>
          <a:solidFill>
            <a:schemeClr val="accent3"/>
          </a:solidFill>
          <a:ln w="5978" cap="flat">
            <a:noFill/>
            <a:prstDash val="solid"/>
            <a:miter/>
          </a:ln>
        </p:spPr>
        <p:txBody>
          <a:bodyPr rtlCol="0" anchor="ctr"/>
          <a:lstStyle/>
          <a:p>
            <a:endParaRPr lang="en-GB"/>
          </a:p>
        </p:txBody>
      </p:sp>
      <p:sp>
        <p:nvSpPr>
          <p:cNvPr id="4362" name="BOL_GEEL3">
            <a:extLst>
              <a:ext uri="{FF2B5EF4-FFF2-40B4-BE49-F238E27FC236}">
                <a16:creationId xmlns:a16="http://schemas.microsoft.com/office/drawing/2014/main" id="{018DFB5E-5DB4-4FE1-98E3-7F0B0B8EDE3A}"/>
              </a:ext>
            </a:extLst>
          </p:cNvPr>
          <p:cNvSpPr/>
          <p:nvPr/>
        </p:nvSpPr>
        <p:spPr>
          <a:xfrm>
            <a:off x="5189649" y="3852912"/>
            <a:ext cx="267577" cy="267577"/>
          </a:xfrm>
          <a:custGeom>
            <a:avLst/>
            <a:gdLst>
              <a:gd name="connsiteX0" fmla="*/ 267578 w 267577"/>
              <a:gd name="connsiteY0" fmla="*/ 133789 h 267577"/>
              <a:gd name="connsiteX1" fmla="*/ 133789 w 267577"/>
              <a:gd name="connsiteY1" fmla="*/ 267578 h 267577"/>
              <a:gd name="connsiteX2" fmla="*/ 0 w 267577"/>
              <a:gd name="connsiteY2" fmla="*/ 133789 h 267577"/>
              <a:gd name="connsiteX3" fmla="*/ 133789 w 267577"/>
              <a:gd name="connsiteY3" fmla="*/ 0 h 267577"/>
              <a:gd name="connsiteX4" fmla="*/ 267578 w 267577"/>
              <a:gd name="connsiteY4" fmla="*/ 133789 h 267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77" h="267577">
                <a:moveTo>
                  <a:pt x="267578" y="133789"/>
                </a:moveTo>
                <a:cubicBezTo>
                  <a:pt x="267578" y="207678"/>
                  <a:pt x="207678" y="267578"/>
                  <a:pt x="133789" y="267578"/>
                </a:cubicBezTo>
                <a:cubicBezTo>
                  <a:pt x="59899" y="267578"/>
                  <a:pt x="0" y="207678"/>
                  <a:pt x="0" y="133789"/>
                </a:cubicBezTo>
                <a:cubicBezTo>
                  <a:pt x="0" y="59899"/>
                  <a:pt x="59899" y="0"/>
                  <a:pt x="133789" y="0"/>
                </a:cubicBezTo>
                <a:cubicBezTo>
                  <a:pt x="207678" y="0"/>
                  <a:pt x="267578" y="59899"/>
                  <a:pt x="267578" y="133789"/>
                </a:cubicBezTo>
                <a:close/>
              </a:path>
            </a:pathLst>
          </a:custGeom>
          <a:solidFill>
            <a:schemeClr val="accent3"/>
          </a:solidFill>
          <a:ln w="5978" cap="flat">
            <a:noFill/>
            <a:prstDash val="solid"/>
            <a:miter/>
          </a:ln>
        </p:spPr>
        <p:txBody>
          <a:bodyPr rtlCol="0" anchor="ctr"/>
          <a:lstStyle/>
          <a:p>
            <a:endParaRPr lang="en-GB"/>
          </a:p>
        </p:txBody>
      </p:sp>
      <p:sp>
        <p:nvSpPr>
          <p:cNvPr id="4363" name="BOL_GEEL2">
            <a:extLst>
              <a:ext uri="{FF2B5EF4-FFF2-40B4-BE49-F238E27FC236}">
                <a16:creationId xmlns:a16="http://schemas.microsoft.com/office/drawing/2014/main" id="{0ED5116F-193E-4403-8E6C-63633F5D1C8D}"/>
              </a:ext>
            </a:extLst>
          </p:cNvPr>
          <p:cNvSpPr/>
          <p:nvPr/>
        </p:nvSpPr>
        <p:spPr>
          <a:xfrm>
            <a:off x="5715175" y="3859611"/>
            <a:ext cx="342336" cy="342336"/>
          </a:xfrm>
          <a:custGeom>
            <a:avLst/>
            <a:gdLst>
              <a:gd name="connsiteX0" fmla="*/ 342337 w 342336"/>
              <a:gd name="connsiteY0" fmla="*/ 171168 h 342336"/>
              <a:gd name="connsiteX1" fmla="*/ 171168 w 342336"/>
              <a:gd name="connsiteY1" fmla="*/ 342336 h 342336"/>
              <a:gd name="connsiteX2" fmla="*/ 0 w 342336"/>
              <a:gd name="connsiteY2" fmla="*/ 171168 h 342336"/>
              <a:gd name="connsiteX3" fmla="*/ 171168 w 342336"/>
              <a:gd name="connsiteY3" fmla="*/ 0 h 342336"/>
              <a:gd name="connsiteX4" fmla="*/ 342337 w 342336"/>
              <a:gd name="connsiteY4" fmla="*/ 171168 h 34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36" h="342336">
                <a:moveTo>
                  <a:pt x="342337" y="171168"/>
                </a:moveTo>
                <a:cubicBezTo>
                  <a:pt x="342337" y="265702"/>
                  <a:pt x="265702" y="342336"/>
                  <a:pt x="171168" y="342336"/>
                </a:cubicBezTo>
                <a:cubicBezTo>
                  <a:pt x="76635" y="342336"/>
                  <a:pt x="0" y="265702"/>
                  <a:pt x="0" y="171168"/>
                </a:cubicBezTo>
                <a:cubicBezTo>
                  <a:pt x="0" y="76635"/>
                  <a:pt x="76635" y="0"/>
                  <a:pt x="171168" y="0"/>
                </a:cubicBezTo>
                <a:cubicBezTo>
                  <a:pt x="265702" y="0"/>
                  <a:pt x="342337" y="76635"/>
                  <a:pt x="342337" y="171168"/>
                </a:cubicBezTo>
                <a:close/>
              </a:path>
            </a:pathLst>
          </a:custGeom>
          <a:solidFill>
            <a:schemeClr val="accent3"/>
          </a:solidFill>
          <a:ln w="5978" cap="flat">
            <a:noFill/>
            <a:prstDash val="solid"/>
            <a:miter/>
          </a:ln>
        </p:spPr>
        <p:txBody>
          <a:bodyPr rtlCol="0" anchor="ctr"/>
          <a:lstStyle/>
          <a:p>
            <a:endParaRPr lang="en-GB"/>
          </a:p>
        </p:txBody>
      </p:sp>
      <p:sp>
        <p:nvSpPr>
          <p:cNvPr id="4364" name="BOL_GEEL1">
            <a:extLst>
              <a:ext uri="{FF2B5EF4-FFF2-40B4-BE49-F238E27FC236}">
                <a16:creationId xmlns:a16="http://schemas.microsoft.com/office/drawing/2014/main" id="{08D3822C-3D01-451B-8230-A45A9665B316}"/>
              </a:ext>
            </a:extLst>
          </p:cNvPr>
          <p:cNvSpPr/>
          <p:nvPr/>
        </p:nvSpPr>
        <p:spPr>
          <a:xfrm>
            <a:off x="5254540" y="4252723"/>
            <a:ext cx="414583" cy="414583"/>
          </a:xfrm>
          <a:custGeom>
            <a:avLst/>
            <a:gdLst>
              <a:gd name="connsiteX0" fmla="*/ 414584 w 414583"/>
              <a:gd name="connsiteY0" fmla="*/ 207292 h 414583"/>
              <a:gd name="connsiteX1" fmla="*/ 207292 w 414583"/>
              <a:gd name="connsiteY1" fmla="*/ 414584 h 414583"/>
              <a:gd name="connsiteX2" fmla="*/ 0 w 414583"/>
              <a:gd name="connsiteY2" fmla="*/ 207292 h 414583"/>
              <a:gd name="connsiteX3" fmla="*/ 207292 w 414583"/>
              <a:gd name="connsiteY3" fmla="*/ 0 h 414583"/>
              <a:gd name="connsiteX4" fmla="*/ 414584 w 414583"/>
              <a:gd name="connsiteY4" fmla="*/ 207292 h 41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583" h="414583">
                <a:moveTo>
                  <a:pt x="414584" y="207292"/>
                </a:moveTo>
                <a:cubicBezTo>
                  <a:pt x="414584" y="321776"/>
                  <a:pt x="321776" y="414584"/>
                  <a:pt x="207292" y="414584"/>
                </a:cubicBezTo>
                <a:cubicBezTo>
                  <a:pt x="92808" y="414584"/>
                  <a:pt x="0" y="321776"/>
                  <a:pt x="0" y="207292"/>
                </a:cubicBezTo>
                <a:cubicBezTo>
                  <a:pt x="0" y="92808"/>
                  <a:pt x="92808" y="0"/>
                  <a:pt x="207292" y="0"/>
                </a:cubicBezTo>
                <a:cubicBezTo>
                  <a:pt x="321776" y="0"/>
                  <a:pt x="414584" y="92808"/>
                  <a:pt x="414584" y="207292"/>
                </a:cubicBezTo>
                <a:close/>
              </a:path>
            </a:pathLst>
          </a:custGeom>
          <a:solidFill>
            <a:schemeClr val="accent3"/>
          </a:solidFill>
          <a:ln w="5978" cap="flat">
            <a:noFill/>
            <a:prstDash val="solid"/>
            <a:miter/>
          </a:ln>
        </p:spPr>
        <p:txBody>
          <a:bodyPr rtlCol="0" anchor="ctr"/>
          <a:lstStyle/>
          <a:p>
            <a:endParaRPr lang="en-GB"/>
          </a:p>
        </p:txBody>
      </p:sp>
      <p:sp>
        <p:nvSpPr>
          <p:cNvPr id="4365" name="BOL_GREEN6">
            <a:extLst>
              <a:ext uri="{FF2B5EF4-FFF2-40B4-BE49-F238E27FC236}">
                <a16:creationId xmlns:a16="http://schemas.microsoft.com/office/drawing/2014/main" id="{35F0F5EC-D6A6-4ED3-A60A-98419D31CE23}"/>
              </a:ext>
            </a:extLst>
          </p:cNvPr>
          <p:cNvSpPr/>
          <p:nvPr/>
        </p:nvSpPr>
        <p:spPr>
          <a:xfrm>
            <a:off x="6024976" y="3793703"/>
            <a:ext cx="67582" cy="67582"/>
          </a:xfrm>
          <a:custGeom>
            <a:avLst/>
            <a:gdLst>
              <a:gd name="connsiteX0" fmla="*/ 67582 w 67582"/>
              <a:gd name="connsiteY0" fmla="*/ 33791 h 67582"/>
              <a:gd name="connsiteX1" fmla="*/ 33791 w 67582"/>
              <a:gd name="connsiteY1" fmla="*/ 67582 h 67582"/>
              <a:gd name="connsiteX2" fmla="*/ 0 w 67582"/>
              <a:gd name="connsiteY2" fmla="*/ 33791 h 67582"/>
              <a:gd name="connsiteX3" fmla="*/ 33791 w 67582"/>
              <a:gd name="connsiteY3" fmla="*/ 0 h 67582"/>
              <a:gd name="connsiteX4" fmla="*/ 67582 w 67582"/>
              <a:gd name="connsiteY4" fmla="*/ 33791 h 6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82" h="67582">
                <a:moveTo>
                  <a:pt x="67582" y="33791"/>
                </a:moveTo>
                <a:cubicBezTo>
                  <a:pt x="67582" y="52454"/>
                  <a:pt x="52453" y="67582"/>
                  <a:pt x="33791" y="67582"/>
                </a:cubicBezTo>
                <a:cubicBezTo>
                  <a:pt x="15129" y="67582"/>
                  <a:pt x="0" y="52453"/>
                  <a:pt x="0" y="33791"/>
                </a:cubicBezTo>
                <a:cubicBezTo>
                  <a:pt x="0" y="15129"/>
                  <a:pt x="15129" y="0"/>
                  <a:pt x="33791" y="0"/>
                </a:cubicBezTo>
                <a:cubicBezTo>
                  <a:pt x="52453" y="0"/>
                  <a:pt x="67582" y="15129"/>
                  <a:pt x="67582" y="33791"/>
                </a:cubicBezTo>
                <a:close/>
              </a:path>
            </a:pathLst>
          </a:custGeom>
          <a:solidFill>
            <a:schemeClr val="accent6"/>
          </a:solidFill>
          <a:ln w="5978" cap="flat">
            <a:noFill/>
            <a:prstDash val="solid"/>
            <a:miter/>
          </a:ln>
        </p:spPr>
        <p:txBody>
          <a:bodyPr rtlCol="0" anchor="ctr"/>
          <a:lstStyle/>
          <a:p>
            <a:endParaRPr lang="en-GB"/>
          </a:p>
        </p:txBody>
      </p:sp>
      <p:sp>
        <p:nvSpPr>
          <p:cNvPr id="4366" name="BOL_GREEN5">
            <a:extLst>
              <a:ext uri="{FF2B5EF4-FFF2-40B4-BE49-F238E27FC236}">
                <a16:creationId xmlns:a16="http://schemas.microsoft.com/office/drawing/2014/main" id="{DFAE02C6-0C8D-4927-B954-AD55D95E35EE}"/>
              </a:ext>
            </a:extLst>
          </p:cNvPr>
          <p:cNvSpPr/>
          <p:nvPr/>
        </p:nvSpPr>
        <p:spPr>
          <a:xfrm>
            <a:off x="6348533" y="3395985"/>
            <a:ext cx="73921" cy="73921"/>
          </a:xfrm>
          <a:custGeom>
            <a:avLst/>
            <a:gdLst>
              <a:gd name="connsiteX0" fmla="*/ 73922 w 73921"/>
              <a:gd name="connsiteY0" fmla="*/ 36961 h 73921"/>
              <a:gd name="connsiteX1" fmla="*/ 36961 w 73921"/>
              <a:gd name="connsiteY1" fmla="*/ 73922 h 73921"/>
              <a:gd name="connsiteX2" fmla="*/ 0 w 73921"/>
              <a:gd name="connsiteY2" fmla="*/ 36961 h 73921"/>
              <a:gd name="connsiteX3" fmla="*/ 36961 w 73921"/>
              <a:gd name="connsiteY3" fmla="*/ 0 h 73921"/>
              <a:gd name="connsiteX4" fmla="*/ 73922 w 73921"/>
              <a:gd name="connsiteY4" fmla="*/ 36961 h 7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21" h="73921">
                <a:moveTo>
                  <a:pt x="73922" y="36961"/>
                </a:moveTo>
                <a:cubicBezTo>
                  <a:pt x="73922" y="57374"/>
                  <a:pt x="57373" y="73922"/>
                  <a:pt x="36961" y="73922"/>
                </a:cubicBezTo>
                <a:cubicBezTo>
                  <a:pt x="16548" y="73922"/>
                  <a:pt x="0" y="57374"/>
                  <a:pt x="0" y="36961"/>
                </a:cubicBezTo>
                <a:cubicBezTo>
                  <a:pt x="0" y="16548"/>
                  <a:pt x="16548" y="0"/>
                  <a:pt x="36961" y="0"/>
                </a:cubicBezTo>
                <a:cubicBezTo>
                  <a:pt x="57374" y="0"/>
                  <a:pt x="73922" y="16548"/>
                  <a:pt x="73922" y="36961"/>
                </a:cubicBezTo>
                <a:close/>
              </a:path>
            </a:pathLst>
          </a:custGeom>
          <a:solidFill>
            <a:schemeClr val="accent6"/>
          </a:solidFill>
          <a:ln w="5978" cap="flat">
            <a:noFill/>
            <a:prstDash val="solid"/>
            <a:miter/>
          </a:ln>
        </p:spPr>
        <p:txBody>
          <a:bodyPr rtlCol="0" anchor="ctr"/>
          <a:lstStyle/>
          <a:p>
            <a:endParaRPr lang="en-GB"/>
          </a:p>
        </p:txBody>
      </p:sp>
      <p:sp>
        <p:nvSpPr>
          <p:cNvPr id="4367" name="BOL_GREEN4">
            <a:extLst>
              <a:ext uri="{FF2B5EF4-FFF2-40B4-BE49-F238E27FC236}">
                <a16:creationId xmlns:a16="http://schemas.microsoft.com/office/drawing/2014/main" id="{EDB16FAD-D8F5-4C7D-8D9A-13C0D4D6F28E}"/>
              </a:ext>
            </a:extLst>
          </p:cNvPr>
          <p:cNvSpPr/>
          <p:nvPr/>
        </p:nvSpPr>
        <p:spPr>
          <a:xfrm>
            <a:off x="5513086" y="3269732"/>
            <a:ext cx="138872" cy="138872"/>
          </a:xfrm>
          <a:custGeom>
            <a:avLst/>
            <a:gdLst>
              <a:gd name="connsiteX0" fmla="*/ 138873 w 138872"/>
              <a:gd name="connsiteY0" fmla="*/ 69436 h 138872"/>
              <a:gd name="connsiteX1" fmla="*/ 69436 w 138872"/>
              <a:gd name="connsiteY1" fmla="*/ 138872 h 138872"/>
              <a:gd name="connsiteX2" fmla="*/ 0 w 138872"/>
              <a:gd name="connsiteY2" fmla="*/ 69436 h 138872"/>
              <a:gd name="connsiteX3" fmla="*/ 69436 w 138872"/>
              <a:gd name="connsiteY3" fmla="*/ 0 h 138872"/>
              <a:gd name="connsiteX4" fmla="*/ 138873 w 138872"/>
              <a:gd name="connsiteY4" fmla="*/ 69436 h 138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872" h="138872">
                <a:moveTo>
                  <a:pt x="138873" y="69436"/>
                </a:moveTo>
                <a:cubicBezTo>
                  <a:pt x="138873" y="107785"/>
                  <a:pt x="107785" y="138872"/>
                  <a:pt x="69436" y="138872"/>
                </a:cubicBezTo>
                <a:cubicBezTo>
                  <a:pt x="31088" y="138872"/>
                  <a:pt x="0" y="107785"/>
                  <a:pt x="0" y="69436"/>
                </a:cubicBezTo>
                <a:cubicBezTo>
                  <a:pt x="0" y="31088"/>
                  <a:pt x="31088" y="0"/>
                  <a:pt x="69436" y="0"/>
                </a:cubicBezTo>
                <a:cubicBezTo>
                  <a:pt x="107785" y="0"/>
                  <a:pt x="138873" y="31088"/>
                  <a:pt x="138873" y="69436"/>
                </a:cubicBezTo>
                <a:close/>
              </a:path>
            </a:pathLst>
          </a:custGeom>
          <a:solidFill>
            <a:schemeClr val="accent6"/>
          </a:solidFill>
          <a:ln w="5978" cap="flat">
            <a:noFill/>
            <a:prstDash val="solid"/>
            <a:miter/>
          </a:ln>
        </p:spPr>
        <p:txBody>
          <a:bodyPr rtlCol="0" anchor="ctr"/>
          <a:lstStyle/>
          <a:p>
            <a:endParaRPr lang="en-GB"/>
          </a:p>
        </p:txBody>
      </p:sp>
      <p:sp>
        <p:nvSpPr>
          <p:cNvPr id="4368" name="BOL_GREEN3">
            <a:extLst>
              <a:ext uri="{FF2B5EF4-FFF2-40B4-BE49-F238E27FC236}">
                <a16:creationId xmlns:a16="http://schemas.microsoft.com/office/drawing/2014/main" id="{BF7B275F-5E9D-4914-AA66-A7B7C2322BA4}"/>
              </a:ext>
            </a:extLst>
          </p:cNvPr>
          <p:cNvSpPr/>
          <p:nvPr/>
        </p:nvSpPr>
        <p:spPr>
          <a:xfrm>
            <a:off x="5177029" y="3017106"/>
            <a:ext cx="242338" cy="242338"/>
          </a:xfrm>
          <a:custGeom>
            <a:avLst/>
            <a:gdLst>
              <a:gd name="connsiteX0" fmla="*/ 242339 w 242338"/>
              <a:gd name="connsiteY0" fmla="*/ 121169 h 242338"/>
              <a:gd name="connsiteX1" fmla="*/ 121169 w 242338"/>
              <a:gd name="connsiteY1" fmla="*/ 242339 h 242338"/>
              <a:gd name="connsiteX2" fmla="*/ 0 w 242338"/>
              <a:gd name="connsiteY2" fmla="*/ 121169 h 242338"/>
              <a:gd name="connsiteX3" fmla="*/ 121169 w 242338"/>
              <a:gd name="connsiteY3" fmla="*/ 0 h 242338"/>
              <a:gd name="connsiteX4" fmla="*/ 242339 w 242338"/>
              <a:gd name="connsiteY4" fmla="*/ 121169 h 242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338" h="242338">
                <a:moveTo>
                  <a:pt x="242339" y="121169"/>
                </a:moveTo>
                <a:cubicBezTo>
                  <a:pt x="242339" y="188089"/>
                  <a:pt x="188089" y="242339"/>
                  <a:pt x="121169" y="242339"/>
                </a:cubicBezTo>
                <a:cubicBezTo>
                  <a:pt x="54250" y="242339"/>
                  <a:pt x="0" y="188089"/>
                  <a:pt x="0" y="121169"/>
                </a:cubicBezTo>
                <a:cubicBezTo>
                  <a:pt x="0" y="54249"/>
                  <a:pt x="54250" y="0"/>
                  <a:pt x="121169" y="0"/>
                </a:cubicBezTo>
                <a:cubicBezTo>
                  <a:pt x="188089" y="0"/>
                  <a:pt x="242339" y="54249"/>
                  <a:pt x="242339" y="121169"/>
                </a:cubicBezTo>
                <a:close/>
              </a:path>
            </a:pathLst>
          </a:custGeom>
          <a:solidFill>
            <a:schemeClr val="accent6"/>
          </a:solidFill>
          <a:ln w="5978" cap="flat">
            <a:noFill/>
            <a:prstDash val="solid"/>
            <a:miter/>
          </a:ln>
        </p:spPr>
        <p:txBody>
          <a:bodyPr rtlCol="0" anchor="ctr"/>
          <a:lstStyle/>
          <a:p>
            <a:endParaRPr lang="en-GB"/>
          </a:p>
        </p:txBody>
      </p:sp>
      <p:sp>
        <p:nvSpPr>
          <p:cNvPr id="4369" name="BOL_GREEN2">
            <a:extLst>
              <a:ext uri="{FF2B5EF4-FFF2-40B4-BE49-F238E27FC236}">
                <a16:creationId xmlns:a16="http://schemas.microsoft.com/office/drawing/2014/main" id="{1E0FA5F7-BCCB-4905-9085-FBD772CD285F}"/>
              </a:ext>
            </a:extLst>
          </p:cNvPr>
          <p:cNvSpPr/>
          <p:nvPr/>
        </p:nvSpPr>
        <p:spPr>
          <a:xfrm>
            <a:off x="5833892" y="2254564"/>
            <a:ext cx="359202" cy="359202"/>
          </a:xfrm>
          <a:custGeom>
            <a:avLst/>
            <a:gdLst>
              <a:gd name="connsiteX0" fmla="*/ 359202 w 359202"/>
              <a:gd name="connsiteY0" fmla="*/ 179601 h 359202"/>
              <a:gd name="connsiteX1" fmla="*/ 179601 w 359202"/>
              <a:gd name="connsiteY1" fmla="*/ 359202 h 359202"/>
              <a:gd name="connsiteX2" fmla="*/ 0 w 359202"/>
              <a:gd name="connsiteY2" fmla="*/ 179601 h 359202"/>
              <a:gd name="connsiteX3" fmla="*/ 179601 w 359202"/>
              <a:gd name="connsiteY3" fmla="*/ 0 h 359202"/>
              <a:gd name="connsiteX4" fmla="*/ 359202 w 359202"/>
              <a:gd name="connsiteY4" fmla="*/ 179601 h 35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02" h="359202">
                <a:moveTo>
                  <a:pt x="359202" y="179601"/>
                </a:moveTo>
                <a:cubicBezTo>
                  <a:pt x="359202" y="278792"/>
                  <a:pt x="278792" y="359202"/>
                  <a:pt x="179601" y="359202"/>
                </a:cubicBezTo>
                <a:cubicBezTo>
                  <a:pt x="80410" y="359202"/>
                  <a:pt x="0" y="278792"/>
                  <a:pt x="0" y="179601"/>
                </a:cubicBezTo>
                <a:cubicBezTo>
                  <a:pt x="0" y="80410"/>
                  <a:pt x="80410" y="0"/>
                  <a:pt x="179601" y="0"/>
                </a:cubicBezTo>
                <a:cubicBezTo>
                  <a:pt x="278792" y="0"/>
                  <a:pt x="359202" y="80410"/>
                  <a:pt x="359202" y="179601"/>
                </a:cubicBezTo>
                <a:close/>
              </a:path>
            </a:pathLst>
          </a:custGeom>
          <a:solidFill>
            <a:schemeClr val="accent6"/>
          </a:solidFill>
          <a:ln w="5978" cap="flat">
            <a:noFill/>
            <a:prstDash val="solid"/>
            <a:miter/>
          </a:ln>
        </p:spPr>
        <p:txBody>
          <a:bodyPr rtlCol="0" anchor="ctr"/>
          <a:lstStyle/>
          <a:p>
            <a:endParaRPr lang="en-GB"/>
          </a:p>
        </p:txBody>
      </p:sp>
      <p:sp>
        <p:nvSpPr>
          <p:cNvPr id="4370" name="BOL_GREEN1">
            <a:extLst>
              <a:ext uri="{FF2B5EF4-FFF2-40B4-BE49-F238E27FC236}">
                <a16:creationId xmlns:a16="http://schemas.microsoft.com/office/drawing/2014/main" id="{139A82B0-D832-45C8-B6E9-F42CE7D83AD8}"/>
              </a:ext>
            </a:extLst>
          </p:cNvPr>
          <p:cNvSpPr/>
          <p:nvPr/>
        </p:nvSpPr>
        <p:spPr>
          <a:xfrm>
            <a:off x="6501460" y="2691934"/>
            <a:ext cx="489581" cy="489581"/>
          </a:xfrm>
          <a:custGeom>
            <a:avLst/>
            <a:gdLst>
              <a:gd name="connsiteX0" fmla="*/ 489582 w 489581"/>
              <a:gd name="connsiteY0" fmla="*/ 244791 h 489581"/>
              <a:gd name="connsiteX1" fmla="*/ 244791 w 489581"/>
              <a:gd name="connsiteY1" fmla="*/ 489582 h 489581"/>
              <a:gd name="connsiteX2" fmla="*/ 0 w 489581"/>
              <a:gd name="connsiteY2" fmla="*/ 244791 h 489581"/>
              <a:gd name="connsiteX3" fmla="*/ 244791 w 489581"/>
              <a:gd name="connsiteY3" fmla="*/ 0 h 489581"/>
              <a:gd name="connsiteX4" fmla="*/ 489582 w 489581"/>
              <a:gd name="connsiteY4" fmla="*/ 244791 h 489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581" h="489581">
                <a:moveTo>
                  <a:pt x="489582" y="244791"/>
                </a:moveTo>
                <a:cubicBezTo>
                  <a:pt x="489582" y="379985"/>
                  <a:pt x="379985" y="489582"/>
                  <a:pt x="244791" y="489582"/>
                </a:cubicBezTo>
                <a:cubicBezTo>
                  <a:pt x="109596" y="489582"/>
                  <a:pt x="0" y="379985"/>
                  <a:pt x="0" y="244791"/>
                </a:cubicBezTo>
                <a:cubicBezTo>
                  <a:pt x="0" y="109597"/>
                  <a:pt x="109597" y="0"/>
                  <a:pt x="244791" y="0"/>
                </a:cubicBezTo>
                <a:cubicBezTo>
                  <a:pt x="379985" y="0"/>
                  <a:pt x="489582" y="109597"/>
                  <a:pt x="489582" y="244791"/>
                </a:cubicBezTo>
                <a:close/>
              </a:path>
            </a:pathLst>
          </a:custGeom>
          <a:solidFill>
            <a:schemeClr val="accent6"/>
          </a:solidFill>
          <a:ln w="5978" cap="flat">
            <a:noFill/>
            <a:prstDash val="solid"/>
            <a:miter/>
          </a:ln>
        </p:spPr>
        <p:txBody>
          <a:bodyPr rtlCol="0" anchor="ctr"/>
          <a:lstStyle/>
          <a:p>
            <a:endParaRPr lang="en-GB"/>
          </a:p>
        </p:txBody>
      </p:sp>
      <p:sp>
        <p:nvSpPr>
          <p:cNvPr id="4306" name="Cirkel_midden_KLEIN">
            <a:extLst>
              <a:ext uri="{FF2B5EF4-FFF2-40B4-BE49-F238E27FC236}">
                <a16:creationId xmlns:a16="http://schemas.microsoft.com/office/drawing/2014/main" id="{3D2CD7B7-B635-4F9C-B3BC-2CB4AF525BF5}"/>
              </a:ext>
            </a:extLst>
          </p:cNvPr>
          <p:cNvSpPr/>
          <p:nvPr/>
        </p:nvSpPr>
        <p:spPr>
          <a:xfrm>
            <a:off x="5307409" y="2843426"/>
            <a:ext cx="1573528" cy="1573527"/>
          </a:xfrm>
          <a:custGeom>
            <a:avLst/>
            <a:gdLst>
              <a:gd name="connsiteX0" fmla="*/ 1573528 w 1573528"/>
              <a:gd name="connsiteY0" fmla="*/ 786764 h 1573527"/>
              <a:gd name="connsiteX1" fmla="*/ 786764 w 1573528"/>
              <a:gd name="connsiteY1" fmla="*/ 1573528 h 1573527"/>
              <a:gd name="connsiteX2" fmla="*/ 0 w 1573528"/>
              <a:gd name="connsiteY2" fmla="*/ 786764 h 1573527"/>
              <a:gd name="connsiteX3" fmla="*/ 786764 w 1573528"/>
              <a:gd name="connsiteY3" fmla="*/ 0 h 1573527"/>
              <a:gd name="connsiteX4" fmla="*/ 1573528 w 1573528"/>
              <a:gd name="connsiteY4" fmla="*/ 786764 h 1573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528" h="1573527">
                <a:moveTo>
                  <a:pt x="1573528" y="786764"/>
                </a:moveTo>
                <a:cubicBezTo>
                  <a:pt x="1573528" y="1221282"/>
                  <a:pt x="1221282" y="1573528"/>
                  <a:pt x="786764" y="1573528"/>
                </a:cubicBezTo>
                <a:cubicBezTo>
                  <a:pt x="352246" y="1573528"/>
                  <a:pt x="0" y="1221282"/>
                  <a:pt x="0" y="786764"/>
                </a:cubicBezTo>
                <a:cubicBezTo>
                  <a:pt x="0" y="352246"/>
                  <a:pt x="352246" y="0"/>
                  <a:pt x="786764" y="0"/>
                </a:cubicBezTo>
                <a:cubicBezTo>
                  <a:pt x="1221282" y="0"/>
                  <a:pt x="1573528" y="352246"/>
                  <a:pt x="1573528" y="786764"/>
                </a:cubicBezTo>
                <a:close/>
              </a:path>
            </a:pathLst>
          </a:custGeom>
          <a:solidFill>
            <a:schemeClr val="tx1">
              <a:alpha val="25000"/>
            </a:schemeClr>
          </a:solidFill>
          <a:ln w="5978" cap="flat">
            <a:noFill/>
            <a:prstDash val="solid"/>
            <a:miter/>
          </a:ln>
        </p:spPr>
        <p:txBody>
          <a:bodyPr rtlCol="0" anchor="ctr"/>
          <a:lstStyle/>
          <a:p>
            <a:endParaRPr lang="en-GB"/>
          </a:p>
        </p:txBody>
      </p:sp>
      <p:grpSp>
        <p:nvGrpSpPr>
          <p:cNvPr id="4371" name="ICOON4_ORANJE">
            <a:extLst>
              <a:ext uri="{FF2B5EF4-FFF2-40B4-BE49-F238E27FC236}">
                <a16:creationId xmlns:a16="http://schemas.microsoft.com/office/drawing/2014/main" id="{6D0E6EEA-BC15-4843-B4AA-69D4ECD52532}"/>
              </a:ext>
            </a:extLst>
          </p:cNvPr>
          <p:cNvGrpSpPr/>
          <p:nvPr/>
        </p:nvGrpSpPr>
        <p:grpSpPr>
          <a:xfrm>
            <a:off x="760730" y="1469736"/>
            <a:ext cx="281093" cy="281093"/>
            <a:chOff x="714895" y="1039430"/>
            <a:chExt cx="281093" cy="281093"/>
          </a:xfrm>
          <a:solidFill>
            <a:schemeClr val="accent1"/>
          </a:solidFill>
          <a:effectLst>
            <a:outerShdw blurRad="190500" algn="ctr" rotWithShape="0">
              <a:prstClr val="black">
                <a:alpha val="50000"/>
              </a:prstClr>
            </a:outerShdw>
          </a:effectLst>
        </p:grpSpPr>
        <p:sp>
          <p:nvSpPr>
            <p:cNvPr id="4372" name="Vrije vorm: vorm 4371">
              <a:extLst>
                <a:ext uri="{FF2B5EF4-FFF2-40B4-BE49-F238E27FC236}">
                  <a16:creationId xmlns:a16="http://schemas.microsoft.com/office/drawing/2014/main" id="{15ABA4C4-D952-4536-849B-4D60817EEC51}"/>
                </a:ext>
              </a:extLst>
            </p:cNvPr>
            <p:cNvSpPr/>
            <p:nvPr/>
          </p:nvSpPr>
          <p:spPr>
            <a:xfrm>
              <a:off x="714895" y="1039430"/>
              <a:ext cx="281093" cy="281093"/>
            </a:xfrm>
            <a:custGeom>
              <a:avLst/>
              <a:gdLst>
                <a:gd name="connsiteX0" fmla="*/ 140547 w 281093"/>
                <a:gd name="connsiteY0" fmla="*/ 25538 h 281093"/>
                <a:gd name="connsiteX1" fmla="*/ 255556 w 281093"/>
                <a:gd name="connsiteY1" fmla="*/ 140547 h 281093"/>
                <a:gd name="connsiteX2" fmla="*/ 140547 w 281093"/>
                <a:gd name="connsiteY2" fmla="*/ 255556 h 281093"/>
                <a:gd name="connsiteX3" fmla="*/ 25538 w 281093"/>
                <a:gd name="connsiteY3" fmla="*/ 140547 h 281093"/>
                <a:gd name="connsiteX4" fmla="*/ 140547 w 281093"/>
                <a:gd name="connsiteY4" fmla="*/ 25538 h 281093"/>
                <a:gd name="connsiteX5" fmla="*/ 140547 w 281093"/>
                <a:gd name="connsiteY5" fmla="*/ 0 h 281093"/>
                <a:gd name="connsiteX6" fmla="*/ 0 w 281093"/>
                <a:gd name="connsiteY6" fmla="*/ 140547 h 281093"/>
                <a:gd name="connsiteX7" fmla="*/ 140547 w 281093"/>
                <a:gd name="connsiteY7" fmla="*/ 281094 h 281093"/>
                <a:gd name="connsiteX8" fmla="*/ 281094 w 281093"/>
                <a:gd name="connsiteY8" fmla="*/ 140547 h 281093"/>
                <a:gd name="connsiteX9" fmla="*/ 140547 w 281093"/>
                <a:gd name="connsiteY9" fmla="*/ 0 h 281093"/>
                <a:gd name="connsiteX10" fmla="*/ 140547 w 281093"/>
                <a:gd name="connsiteY10" fmla="*/ 0 h 28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1093" h="281093">
                  <a:moveTo>
                    <a:pt x="140547" y="25538"/>
                  </a:moveTo>
                  <a:cubicBezTo>
                    <a:pt x="203943" y="25538"/>
                    <a:pt x="255556" y="77151"/>
                    <a:pt x="255556" y="140547"/>
                  </a:cubicBezTo>
                  <a:cubicBezTo>
                    <a:pt x="255556" y="203943"/>
                    <a:pt x="203943" y="255556"/>
                    <a:pt x="140547" y="255556"/>
                  </a:cubicBezTo>
                  <a:cubicBezTo>
                    <a:pt x="77151" y="255556"/>
                    <a:pt x="25538" y="203943"/>
                    <a:pt x="25538" y="140547"/>
                  </a:cubicBezTo>
                  <a:cubicBezTo>
                    <a:pt x="25538" y="77151"/>
                    <a:pt x="77092" y="25538"/>
                    <a:pt x="140547" y="25538"/>
                  </a:cubicBezTo>
                  <a:moveTo>
                    <a:pt x="140547" y="0"/>
                  </a:moveTo>
                  <a:cubicBezTo>
                    <a:pt x="62917" y="0"/>
                    <a:pt x="0" y="62917"/>
                    <a:pt x="0" y="140547"/>
                  </a:cubicBezTo>
                  <a:cubicBezTo>
                    <a:pt x="0" y="218177"/>
                    <a:pt x="62917" y="281094"/>
                    <a:pt x="140547" y="281094"/>
                  </a:cubicBezTo>
                  <a:cubicBezTo>
                    <a:pt x="218177" y="281094"/>
                    <a:pt x="281094" y="218177"/>
                    <a:pt x="281094" y="140547"/>
                  </a:cubicBezTo>
                  <a:cubicBezTo>
                    <a:pt x="281094" y="62917"/>
                    <a:pt x="218177" y="0"/>
                    <a:pt x="140547" y="0"/>
                  </a:cubicBezTo>
                  <a:lnTo>
                    <a:pt x="140547" y="0"/>
                  </a:lnTo>
                  <a:close/>
                </a:path>
              </a:pathLst>
            </a:custGeom>
            <a:grpFill/>
            <a:ln w="5978" cap="flat">
              <a:noFill/>
              <a:prstDash val="solid"/>
              <a:miter/>
            </a:ln>
          </p:spPr>
          <p:txBody>
            <a:bodyPr rtlCol="0" anchor="ctr"/>
            <a:lstStyle/>
            <a:p>
              <a:endParaRPr lang="en-GB"/>
            </a:p>
          </p:txBody>
        </p:sp>
        <p:grpSp>
          <p:nvGrpSpPr>
            <p:cNvPr id="4373" name="Graphic 3">
              <a:extLst>
                <a:ext uri="{FF2B5EF4-FFF2-40B4-BE49-F238E27FC236}">
                  <a16:creationId xmlns:a16="http://schemas.microsoft.com/office/drawing/2014/main" id="{65255C08-3435-411A-BF34-5B1ADD2305A2}"/>
                </a:ext>
              </a:extLst>
            </p:cNvPr>
            <p:cNvGrpSpPr/>
            <p:nvPr/>
          </p:nvGrpSpPr>
          <p:grpSpPr>
            <a:xfrm>
              <a:off x="763099" y="1091522"/>
              <a:ext cx="168644" cy="166021"/>
              <a:chOff x="763099" y="1091522"/>
              <a:chExt cx="168644" cy="166021"/>
            </a:xfrm>
            <a:grpFill/>
          </p:grpSpPr>
          <p:sp>
            <p:nvSpPr>
              <p:cNvPr id="4374" name="Vrije vorm: vorm 4373">
                <a:extLst>
                  <a:ext uri="{FF2B5EF4-FFF2-40B4-BE49-F238E27FC236}">
                    <a16:creationId xmlns:a16="http://schemas.microsoft.com/office/drawing/2014/main" id="{EF39F118-29B8-4A7D-9184-7663F0D323B5}"/>
                  </a:ext>
                </a:extLst>
              </p:cNvPr>
              <p:cNvSpPr/>
              <p:nvPr/>
            </p:nvSpPr>
            <p:spPr>
              <a:xfrm>
                <a:off x="775360" y="1126595"/>
                <a:ext cx="62259" cy="80713"/>
              </a:xfrm>
              <a:custGeom>
                <a:avLst/>
                <a:gdLst>
                  <a:gd name="connsiteX0" fmla="*/ 21710 w 62259"/>
                  <a:gd name="connsiteY0" fmla="*/ 7091 h 80713"/>
                  <a:gd name="connsiteX1" fmla="*/ 5383 w 62259"/>
                  <a:gd name="connsiteY1" fmla="*/ 65642 h 80713"/>
                  <a:gd name="connsiteX2" fmla="*/ 32655 w 62259"/>
                  <a:gd name="connsiteY2" fmla="*/ 80714 h 80713"/>
                  <a:gd name="connsiteX3" fmla="*/ 33612 w 62259"/>
                  <a:gd name="connsiteY3" fmla="*/ 78860 h 80713"/>
                  <a:gd name="connsiteX4" fmla="*/ 41387 w 62259"/>
                  <a:gd name="connsiteY4" fmla="*/ 73597 h 80713"/>
                  <a:gd name="connsiteX5" fmla="*/ 43899 w 62259"/>
                  <a:gd name="connsiteY5" fmla="*/ 73358 h 80713"/>
                  <a:gd name="connsiteX6" fmla="*/ 46111 w 62259"/>
                  <a:gd name="connsiteY6" fmla="*/ 73597 h 80713"/>
                  <a:gd name="connsiteX7" fmla="*/ 62259 w 62259"/>
                  <a:gd name="connsiteY7" fmla="*/ 22342 h 80713"/>
                  <a:gd name="connsiteX8" fmla="*/ 55561 w 62259"/>
                  <a:gd name="connsiteY8" fmla="*/ 13849 h 80713"/>
                  <a:gd name="connsiteX9" fmla="*/ 55322 w 62259"/>
                  <a:gd name="connsiteY9" fmla="*/ 11337 h 80713"/>
                  <a:gd name="connsiteX10" fmla="*/ 21949 w 62259"/>
                  <a:gd name="connsiteY10" fmla="*/ 6912 h 80713"/>
                  <a:gd name="connsiteX11" fmla="*/ 28289 w 62259"/>
                  <a:gd name="connsiteY11" fmla="*/ 34 h 80713"/>
                  <a:gd name="connsiteX12" fmla="*/ 5084 w 62259"/>
                  <a:gd name="connsiteY12" fmla="*/ 1529 h 80713"/>
                  <a:gd name="connsiteX13" fmla="*/ 0 w 62259"/>
                  <a:gd name="connsiteY13" fmla="*/ 9424 h 80713"/>
                  <a:gd name="connsiteX14" fmla="*/ 21710 w 62259"/>
                  <a:gd name="connsiteY14" fmla="*/ 7091 h 8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259" h="80713">
                    <a:moveTo>
                      <a:pt x="21710" y="7091"/>
                    </a:moveTo>
                    <a:cubicBezTo>
                      <a:pt x="8732" y="23000"/>
                      <a:pt x="2332" y="44052"/>
                      <a:pt x="5383" y="65642"/>
                    </a:cubicBezTo>
                    <a:cubicBezTo>
                      <a:pt x="13457" y="72221"/>
                      <a:pt x="22727" y="77365"/>
                      <a:pt x="32655" y="80714"/>
                    </a:cubicBezTo>
                    <a:cubicBezTo>
                      <a:pt x="32954" y="80116"/>
                      <a:pt x="33253" y="79458"/>
                      <a:pt x="33612" y="78860"/>
                    </a:cubicBezTo>
                    <a:cubicBezTo>
                      <a:pt x="35406" y="76109"/>
                      <a:pt x="38157" y="74255"/>
                      <a:pt x="41387" y="73597"/>
                    </a:cubicBezTo>
                    <a:cubicBezTo>
                      <a:pt x="42224" y="73417"/>
                      <a:pt x="43061" y="73358"/>
                      <a:pt x="43899" y="73358"/>
                    </a:cubicBezTo>
                    <a:cubicBezTo>
                      <a:pt x="44676" y="73358"/>
                      <a:pt x="45394" y="73417"/>
                      <a:pt x="46111" y="73597"/>
                    </a:cubicBezTo>
                    <a:cubicBezTo>
                      <a:pt x="54544" y="57568"/>
                      <a:pt x="60046" y="40165"/>
                      <a:pt x="62259" y="22342"/>
                    </a:cubicBezTo>
                    <a:cubicBezTo>
                      <a:pt x="58910" y="20727"/>
                      <a:pt x="56338" y="17677"/>
                      <a:pt x="55561" y="13849"/>
                    </a:cubicBezTo>
                    <a:cubicBezTo>
                      <a:pt x="55381" y="13012"/>
                      <a:pt x="55322" y="12175"/>
                      <a:pt x="55322" y="11337"/>
                    </a:cubicBezTo>
                    <a:cubicBezTo>
                      <a:pt x="44497" y="8467"/>
                      <a:pt x="33313" y="6972"/>
                      <a:pt x="21949" y="6912"/>
                    </a:cubicBezTo>
                    <a:lnTo>
                      <a:pt x="28289" y="34"/>
                    </a:lnTo>
                    <a:cubicBezTo>
                      <a:pt x="20514" y="-146"/>
                      <a:pt x="12799" y="393"/>
                      <a:pt x="5084" y="1529"/>
                    </a:cubicBezTo>
                    <a:cubicBezTo>
                      <a:pt x="3230" y="4041"/>
                      <a:pt x="1555" y="6672"/>
                      <a:pt x="0" y="9424"/>
                    </a:cubicBezTo>
                    <a:cubicBezTo>
                      <a:pt x="7476" y="7749"/>
                      <a:pt x="12739" y="6852"/>
                      <a:pt x="21710" y="7091"/>
                    </a:cubicBezTo>
                    <a:close/>
                  </a:path>
                </a:pathLst>
              </a:custGeom>
              <a:grpFill/>
              <a:ln w="5978" cap="flat">
                <a:noFill/>
                <a:prstDash val="solid"/>
                <a:miter/>
              </a:ln>
            </p:spPr>
            <p:txBody>
              <a:bodyPr rtlCol="0" anchor="ctr"/>
              <a:lstStyle/>
              <a:p>
                <a:endParaRPr lang="en-GB"/>
              </a:p>
            </p:txBody>
          </p:sp>
          <p:sp>
            <p:nvSpPr>
              <p:cNvPr id="4375" name="Vrije vorm: vorm 4374">
                <a:extLst>
                  <a:ext uri="{FF2B5EF4-FFF2-40B4-BE49-F238E27FC236}">
                    <a16:creationId xmlns:a16="http://schemas.microsoft.com/office/drawing/2014/main" id="{DB5434C7-D840-4A5D-A14A-4C13797D33FC}"/>
                  </a:ext>
                </a:extLst>
              </p:cNvPr>
              <p:cNvSpPr/>
              <p:nvPr/>
            </p:nvSpPr>
            <p:spPr>
              <a:xfrm>
                <a:off x="803649" y="1108208"/>
                <a:ext cx="35106" cy="22786"/>
              </a:xfrm>
              <a:custGeom>
                <a:avLst/>
                <a:gdLst>
                  <a:gd name="connsiteX0" fmla="*/ 35107 w 35106"/>
                  <a:gd name="connsiteY0" fmla="*/ 18301 h 22786"/>
                  <a:gd name="connsiteX1" fmla="*/ 33492 w 35106"/>
                  <a:gd name="connsiteY1" fmla="*/ 0 h 22786"/>
                  <a:gd name="connsiteX2" fmla="*/ 0 w 35106"/>
                  <a:gd name="connsiteY2" fmla="*/ 18421 h 22786"/>
                  <a:gd name="connsiteX3" fmla="*/ 29306 w 35106"/>
                  <a:gd name="connsiteY3" fmla="*/ 22787 h 22786"/>
                  <a:gd name="connsiteX4" fmla="*/ 35107 w 35106"/>
                  <a:gd name="connsiteY4" fmla="*/ 18301 h 22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6" h="22786">
                    <a:moveTo>
                      <a:pt x="35107" y="18301"/>
                    </a:moveTo>
                    <a:cubicBezTo>
                      <a:pt x="34927" y="12141"/>
                      <a:pt x="34389" y="5981"/>
                      <a:pt x="33492" y="0"/>
                    </a:cubicBezTo>
                    <a:cubicBezTo>
                      <a:pt x="20514" y="3289"/>
                      <a:pt x="9091" y="9749"/>
                      <a:pt x="0" y="18421"/>
                    </a:cubicBezTo>
                    <a:cubicBezTo>
                      <a:pt x="9928" y="18839"/>
                      <a:pt x="19736" y="20275"/>
                      <a:pt x="29306" y="22787"/>
                    </a:cubicBezTo>
                    <a:cubicBezTo>
                      <a:pt x="30741" y="20693"/>
                      <a:pt x="32774" y="19138"/>
                      <a:pt x="35107" y="18301"/>
                    </a:cubicBezTo>
                    <a:close/>
                  </a:path>
                </a:pathLst>
              </a:custGeom>
              <a:grpFill/>
              <a:ln w="5978" cap="flat">
                <a:noFill/>
                <a:prstDash val="solid"/>
                <a:miter/>
              </a:ln>
            </p:spPr>
            <p:txBody>
              <a:bodyPr rtlCol="0" anchor="ctr"/>
              <a:lstStyle/>
              <a:p>
                <a:endParaRPr lang="en-GB"/>
              </a:p>
            </p:txBody>
          </p:sp>
          <p:sp>
            <p:nvSpPr>
              <p:cNvPr id="4376" name="Vrije vorm: vorm 4375">
                <a:extLst>
                  <a:ext uri="{FF2B5EF4-FFF2-40B4-BE49-F238E27FC236}">
                    <a16:creationId xmlns:a16="http://schemas.microsoft.com/office/drawing/2014/main" id="{F834D8A1-FCA1-4151-BB45-8FF65365F9A9}"/>
                  </a:ext>
                </a:extLst>
              </p:cNvPr>
              <p:cNvSpPr/>
              <p:nvPr/>
            </p:nvSpPr>
            <p:spPr>
              <a:xfrm>
                <a:off x="828110" y="1145588"/>
                <a:ext cx="66625" cy="66565"/>
              </a:xfrm>
              <a:custGeom>
                <a:avLst/>
                <a:gdLst>
                  <a:gd name="connsiteX0" fmla="*/ 66625 w 66625"/>
                  <a:gd name="connsiteY0" fmla="*/ 30980 h 66565"/>
                  <a:gd name="connsiteX1" fmla="*/ 24401 w 66625"/>
                  <a:gd name="connsiteY1" fmla="*/ 0 h 66565"/>
                  <a:gd name="connsiteX2" fmla="*/ 17404 w 66625"/>
                  <a:gd name="connsiteY2" fmla="*/ 4306 h 66565"/>
                  <a:gd name="connsiteX3" fmla="*/ 16925 w 66625"/>
                  <a:gd name="connsiteY3" fmla="*/ 4366 h 66565"/>
                  <a:gd name="connsiteX4" fmla="*/ 0 w 66625"/>
                  <a:gd name="connsiteY4" fmla="*/ 58192 h 66565"/>
                  <a:gd name="connsiteX5" fmla="*/ 3170 w 66625"/>
                  <a:gd name="connsiteY5" fmla="*/ 64113 h 66565"/>
                  <a:gd name="connsiteX6" fmla="*/ 3409 w 66625"/>
                  <a:gd name="connsiteY6" fmla="*/ 66386 h 66565"/>
                  <a:gd name="connsiteX7" fmla="*/ 8792 w 66625"/>
                  <a:gd name="connsiteY7" fmla="*/ 66565 h 66565"/>
                  <a:gd name="connsiteX8" fmla="*/ 26016 w 66625"/>
                  <a:gd name="connsiteY8" fmla="*/ 64891 h 66565"/>
                  <a:gd name="connsiteX9" fmla="*/ 66326 w 66625"/>
                  <a:gd name="connsiteY9" fmla="*/ 44915 h 66565"/>
                  <a:gd name="connsiteX10" fmla="*/ 64532 w 66625"/>
                  <a:gd name="connsiteY10" fmla="*/ 40669 h 66565"/>
                  <a:gd name="connsiteX11" fmla="*/ 66266 w 66625"/>
                  <a:gd name="connsiteY11" fmla="*/ 31459 h 66565"/>
                  <a:gd name="connsiteX12" fmla="*/ 66625 w 66625"/>
                  <a:gd name="connsiteY12" fmla="*/ 30980 h 6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25" h="66565">
                    <a:moveTo>
                      <a:pt x="66625" y="30980"/>
                    </a:moveTo>
                    <a:cubicBezTo>
                      <a:pt x="54903" y="17942"/>
                      <a:pt x="40549" y="7416"/>
                      <a:pt x="24401" y="0"/>
                    </a:cubicBezTo>
                    <a:cubicBezTo>
                      <a:pt x="22607" y="2213"/>
                      <a:pt x="20215" y="3768"/>
                      <a:pt x="17404" y="4306"/>
                    </a:cubicBezTo>
                    <a:cubicBezTo>
                      <a:pt x="17224" y="4366"/>
                      <a:pt x="17105" y="4306"/>
                      <a:pt x="16925" y="4366"/>
                    </a:cubicBezTo>
                    <a:cubicBezTo>
                      <a:pt x="14533" y="23026"/>
                      <a:pt x="8792" y="41387"/>
                      <a:pt x="0" y="58192"/>
                    </a:cubicBezTo>
                    <a:cubicBezTo>
                      <a:pt x="1555" y="59807"/>
                      <a:pt x="2691" y="61841"/>
                      <a:pt x="3170" y="64113"/>
                    </a:cubicBezTo>
                    <a:cubicBezTo>
                      <a:pt x="3349" y="64891"/>
                      <a:pt x="3409" y="65609"/>
                      <a:pt x="3409" y="66386"/>
                    </a:cubicBezTo>
                    <a:cubicBezTo>
                      <a:pt x="5203" y="66506"/>
                      <a:pt x="6997" y="66565"/>
                      <a:pt x="8792" y="66565"/>
                    </a:cubicBezTo>
                    <a:cubicBezTo>
                      <a:pt x="14593" y="66565"/>
                      <a:pt x="20394" y="65967"/>
                      <a:pt x="26016" y="64891"/>
                    </a:cubicBezTo>
                    <a:cubicBezTo>
                      <a:pt x="41207" y="61841"/>
                      <a:pt x="54963" y="54903"/>
                      <a:pt x="66326" y="44915"/>
                    </a:cubicBezTo>
                    <a:cubicBezTo>
                      <a:pt x="65489" y="43659"/>
                      <a:pt x="64831" y="42224"/>
                      <a:pt x="64532" y="40669"/>
                    </a:cubicBezTo>
                    <a:cubicBezTo>
                      <a:pt x="63874" y="37439"/>
                      <a:pt x="64472" y="34210"/>
                      <a:pt x="66266" y="31459"/>
                    </a:cubicBezTo>
                    <a:cubicBezTo>
                      <a:pt x="66386" y="31279"/>
                      <a:pt x="66506" y="31160"/>
                      <a:pt x="66625" y="30980"/>
                    </a:cubicBezTo>
                    <a:close/>
                  </a:path>
                </a:pathLst>
              </a:custGeom>
              <a:grpFill/>
              <a:ln w="5978" cap="flat">
                <a:noFill/>
                <a:prstDash val="solid"/>
                <a:miter/>
              </a:ln>
            </p:spPr>
            <p:txBody>
              <a:bodyPr rtlCol="0" anchor="ctr"/>
              <a:lstStyle/>
              <a:p>
                <a:endParaRPr lang="en-GB"/>
              </a:p>
            </p:txBody>
          </p:sp>
          <p:sp>
            <p:nvSpPr>
              <p:cNvPr id="4377" name="Vrije vorm: vorm 4376">
                <a:extLst>
                  <a:ext uri="{FF2B5EF4-FFF2-40B4-BE49-F238E27FC236}">
                    <a16:creationId xmlns:a16="http://schemas.microsoft.com/office/drawing/2014/main" id="{D63C0CEC-9FC7-41BF-9687-ACC1DDA395C1}"/>
                  </a:ext>
                </a:extLst>
              </p:cNvPr>
              <p:cNvSpPr/>
              <p:nvPr/>
            </p:nvSpPr>
            <p:spPr>
              <a:xfrm>
                <a:off x="914651" y="1153781"/>
                <a:ext cx="17093" cy="58312"/>
              </a:xfrm>
              <a:custGeom>
                <a:avLst/>
                <a:gdLst>
                  <a:gd name="connsiteX0" fmla="*/ 10646 w 17093"/>
                  <a:gd name="connsiteY0" fmla="*/ 58312 h 58312"/>
                  <a:gd name="connsiteX1" fmla="*/ 15490 w 17093"/>
                  <a:gd name="connsiteY1" fmla="*/ 12380 h 58312"/>
                  <a:gd name="connsiteX2" fmla="*/ 11722 w 17093"/>
                  <a:gd name="connsiteY2" fmla="*/ 0 h 58312"/>
                  <a:gd name="connsiteX3" fmla="*/ 718 w 17093"/>
                  <a:gd name="connsiteY3" fmla="*/ 23923 h 58312"/>
                  <a:gd name="connsiteX4" fmla="*/ 2033 w 17093"/>
                  <a:gd name="connsiteY4" fmla="*/ 27392 h 58312"/>
                  <a:gd name="connsiteX5" fmla="*/ 0 w 17093"/>
                  <a:gd name="connsiteY5" fmla="*/ 36901 h 58312"/>
                  <a:gd name="connsiteX6" fmla="*/ 10646 w 17093"/>
                  <a:gd name="connsiteY6" fmla="*/ 58312 h 5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93" h="58312">
                    <a:moveTo>
                      <a:pt x="10646" y="58312"/>
                    </a:moveTo>
                    <a:cubicBezTo>
                      <a:pt x="16806" y="44377"/>
                      <a:pt x="18839" y="28468"/>
                      <a:pt x="15490" y="12380"/>
                    </a:cubicBezTo>
                    <a:cubicBezTo>
                      <a:pt x="14593" y="8074"/>
                      <a:pt x="13277" y="4007"/>
                      <a:pt x="11722" y="0"/>
                    </a:cubicBezTo>
                    <a:cubicBezTo>
                      <a:pt x="9270" y="8433"/>
                      <a:pt x="5562" y="16567"/>
                      <a:pt x="718" y="23923"/>
                    </a:cubicBezTo>
                    <a:cubicBezTo>
                      <a:pt x="1316" y="24999"/>
                      <a:pt x="1794" y="26136"/>
                      <a:pt x="2033" y="27392"/>
                    </a:cubicBezTo>
                    <a:cubicBezTo>
                      <a:pt x="2751" y="30861"/>
                      <a:pt x="1914" y="34210"/>
                      <a:pt x="0" y="36901"/>
                    </a:cubicBezTo>
                    <a:cubicBezTo>
                      <a:pt x="4187" y="43719"/>
                      <a:pt x="7775" y="50896"/>
                      <a:pt x="10646" y="58312"/>
                    </a:cubicBezTo>
                    <a:close/>
                  </a:path>
                </a:pathLst>
              </a:custGeom>
              <a:grpFill/>
              <a:ln w="5978" cap="flat">
                <a:noFill/>
                <a:prstDash val="solid"/>
                <a:miter/>
              </a:ln>
            </p:spPr>
            <p:txBody>
              <a:bodyPr rtlCol="0" anchor="ctr"/>
              <a:lstStyle/>
              <a:p>
                <a:endParaRPr lang="en-GB"/>
              </a:p>
            </p:txBody>
          </p:sp>
          <p:sp>
            <p:nvSpPr>
              <p:cNvPr id="4378" name="Vrije vorm: vorm 4377">
                <a:extLst>
                  <a:ext uri="{FF2B5EF4-FFF2-40B4-BE49-F238E27FC236}">
                    <a16:creationId xmlns:a16="http://schemas.microsoft.com/office/drawing/2014/main" id="{BD571E01-8A90-4882-A028-38C587ECB744}"/>
                  </a:ext>
                </a:extLst>
              </p:cNvPr>
              <p:cNvSpPr/>
              <p:nvPr/>
            </p:nvSpPr>
            <p:spPr>
              <a:xfrm>
                <a:off x="844497" y="1105840"/>
                <a:ext cx="76852" cy="66900"/>
              </a:xfrm>
              <a:custGeom>
                <a:avLst/>
                <a:gdLst>
                  <a:gd name="connsiteX0" fmla="*/ 10586 w 76852"/>
                  <a:gd name="connsiteY0" fmla="*/ 29580 h 66900"/>
                  <a:gd name="connsiteX1" fmla="*/ 10765 w 76852"/>
                  <a:gd name="connsiteY1" fmla="*/ 32989 h 66900"/>
                  <a:gd name="connsiteX2" fmla="*/ 56219 w 76852"/>
                  <a:gd name="connsiteY2" fmla="*/ 66362 h 66900"/>
                  <a:gd name="connsiteX3" fmla="*/ 57654 w 76852"/>
                  <a:gd name="connsiteY3" fmla="*/ 65943 h 66900"/>
                  <a:gd name="connsiteX4" fmla="*/ 60166 w 76852"/>
                  <a:gd name="connsiteY4" fmla="*/ 65704 h 66900"/>
                  <a:gd name="connsiteX5" fmla="*/ 65309 w 76852"/>
                  <a:gd name="connsiteY5" fmla="*/ 66900 h 66900"/>
                  <a:gd name="connsiteX6" fmla="*/ 76852 w 76852"/>
                  <a:gd name="connsiteY6" fmla="*/ 37654 h 66900"/>
                  <a:gd name="connsiteX7" fmla="*/ 0 w 76852"/>
                  <a:gd name="connsiteY7" fmla="*/ 873 h 66900"/>
                  <a:gd name="connsiteX8" fmla="*/ 1734 w 76852"/>
                  <a:gd name="connsiteY8" fmla="*/ 20310 h 66900"/>
                  <a:gd name="connsiteX9" fmla="*/ 10586 w 76852"/>
                  <a:gd name="connsiteY9" fmla="*/ 29580 h 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852" h="66900">
                    <a:moveTo>
                      <a:pt x="10586" y="29580"/>
                    </a:moveTo>
                    <a:cubicBezTo>
                      <a:pt x="10825" y="30717"/>
                      <a:pt x="10825" y="31853"/>
                      <a:pt x="10765" y="32989"/>
                    </a:cubicBezTo>
                    <a:cubicBezTo>
                      <a:pt x="28169" y="40884"/>
                      <a:pt x="43659" y="52247"/>
                      <a:pt x="56219" y="66362"/>
                    </a:cubicBezTo>
                    <a:cubicBezTo>
                      <a:pt x="56697" y="66182"/>
                      <a:pt x="57176" y="66003"/>
                      <a:pt x="57654" y="65943"/>
                    </a:cubicBezTo>
                    <a:cubicBezTo>
                      <a:pt x="58491" y="65764"/>
                      <a:pt x="59329" y="65704"/>
                      <a:pt x="60166" y="65704"/>
                    </a:cubicBezTo>
                    <a:cubicBezTo>
                      <a:pt x="62020" y="65704"/>
                      <a:pt x="63695" y="66123"/>
                      <a:pt x="65309" y="66900"/>
                    </a:cubicBezTo>
                    <a:cubicBezTo>
                      <a:pt x="70991" y="57989"/>
                      <a:pt x="74938" y="48001"/>
                      <a:pt x="76852" y="37654"/>
                    </a:cubicBezTo>
                    <a:cubicBezTo>
                      <a:pt x="61542" y="11339"/>
                      <a:pt x="31339" y="-3912"/>
                      <a:pt x="0" y="873"/>
                    </a:cubicBezTo>
                    <a:cubicBezTo>
                      <a:pt x="957" y="7332"/>
                      <a:pt x="1555" y="13851"/>
                      <a:pt x="1734" y="20310"/>
                    </a:cubicBezTo>
                    <a:cubicBezTo>
                      <a:pt x="6100" y="21506"/>
                      <a:pt x="9629" y="25035"/>
                      <a:pt x="10586" y="29580"/>
                    </a:cubicBezTo>
                    <a:close/>
                  </a:path>
                </a:pathLst>
              </a:custGeom>
              <a:grpFill/>
              <a:ln w="5978" cap="flat">
                <a:noFill/>
                <a:prstDash val="solid"/>
                <a:miter/>
              </a:ln>
            </p:spPr>
            <p:txBody>
              <a:bodyPr rtlCol="0" anchor="ctr"/>
              <a:lstStyle/>
              <a:p>
                <a:endParaRPr lang="en-GB"/>
              </a:p>
            </p:txBody>
          </p:sp>
          <p:sp>
            <p:nvSpPr>
              <p:cNvPr id="4379" name="Vrije vorm: vorm 4378">
                <a:extLst>
                  <a:ext uri="{FF2B5EF4-FFF2-40B4-BE49-F238E27FC236}">
                    <a16:creationId xmlns:a16="http://schemas.microsoft.com/office/drawing/2014/main" id="{CF776EF8-2E72-4B23-9DD2-4414B1A88A53}"/>
                  </a:ext>
                </a:extLst>
              </p:cNvPr>
              <p:cNvSpPr/>
              <p:nvPr/>
            </p:nvSpPr>
            <p:spPr>
              <a:xfrm>
                <a:off x="804366" y="1195108"/>
                <a:ext cx="116205" cy="62434"/>
              </a:xfrm>
              <a:custGeom>
                <a:avLst/>
                <a:gdLst>
                  <a:gd name="connsiteX0" fmla="*/ 102809 w 116205"/>
                  <a:gd name="connsiteY0" fmla="*/ 598 h 62434"/>
                  <a:gd name="connsiteX1" fmla="*/ 100297 w 116205"/>
                  <a:gd name="connsiteY1" fmla="*/ 837 h 62434"/>
                  <a:gd name="connsiteX2" fmla="*/ 95991 w 116205"/>
                  <a:gd name="connsiteY2" fmla="*/ 0 h 62434"/>
                  <a:gd name="connsiteX3" fmla="*/ 51315 w 116205"/>
                  <a:gd name="connsiteY3" fmla="*/ 22368 h 62434"/>
                  <a:gd name="connsiteX4" fmla="*/ 32176 w 116205"/>
                  <a:gd name="connsiteY4" fmla="*/ 24282 h 62434"/>
                  <a:gd name="connsiteX5" fmla="*/ 24999 w 116205"/>
                  <a:gd name="connsiteY5" fmla="*/ 23983 h 62434"/>
                  <a:gd name="connsiteX6" fmla="*/ 17404 w 116205"/>
                  <a:gd name="connsiteY6" fmla="*/ 29066 h 62434"/>
                  <a:gd name="connsiteX7" fmla="*/ 14892 w 116205"/>
                  <a:gd name="connsiteY7" fmla="*/ 29306 h 62434"/>
                  <a:gd name="connsiteX8" fmla="*/ 11184 w 116205"/>
                  <a:gd name="connsiteY8" fmla="*/ 28707 h 62434"/>
                  <a:gd name="connsiteX9" fmla="*/ 0 w 116205"/>
                  <a:gd name="connsiteY9" fmla="*/ 42224 h 62434"/>
                  <a:gd name="connsiteX10" fmla="*/ 66984 w 116205"/>
                  <a:gd name="connsiteY10" fmla="*/ 60824 h 62434"/>
                  <a:gd name="connsiteX11" fmla="*/ 116205 w 116205"/>
                  <a:gd name="connsiteY11" fmla="*/ 26016 h 62434"/>
                  <a:gd name="connsiteX12" fmla="*/ 104304 w 116205"/>
                  <a:gd name="connsiteY12" fmla="*/ 60 h 62434"/>
                  <a:gd name="connsiteX13" fmla="*/ 102809 w 116205"/>
                  <a:gd name="connsiteY13" fmla="*/ 598 h 6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05" h="62434">
                    <a:moveTo>
                      <a:pt x="102809" y="598"/>
                    </a:moveTo>
                    <a:cubicBezTo>
                      <a:pt x="101971" y="777"/>
                      <a:pt x="101134" y="837"/>
                      <a:pt x="100297" y="837"/>
                    </a:cubicBezTo>
                    <a:cubicBezTo>
                      <a:pt x="98802" y="837"/>
                      <a:pt x="97306" y="538"/>
                      <a:pt x="95991" y="0"/>
                    </a:cubicBezTo>
                    <a:cubicBezTo>
                      <a:pt x="83491" y="11304"/>
                      <a:pt x="68180" y="18959"/>
                      <a:pt x="51315" y="22368"/>
                    </a:cubicBezTo>
                    <a:cubicBezTo>
                      <a:pt x="44975" y="23624"/>
                      <a:pt x="38576" y="24282"/>
                      <a:pt x="32176" y="24282"/>
                    </a:cubicBezTo>
                    <a:cubicBezTo>
                      <a:pt x="29784" y="24282"/>
                      <a:pt x="27392" y="24162"/>
                      <a:pt x="24999" y="23983"/>
                    </a:cubicBezTo>
                    <a:cubicBezTo>
                      <a:pt x="23265" y="26495"/>
                      <a:pt x="20633" y="28408"/>
                      <a:pt x="17404" y="29066"/>
                    </a:cubicBezTo>
                    <a:cubicBezTo>
                      <a:pt x="16567" y="29246"/>
                      <a:pt x="15729" y="29306"/>
                      <a:pt x="14892" y="29306"/>
                    </a:cubicBezTo>
                    <a:cubicBezTo>
                      <a:pt x="13576" y="29306"/>
                      <a:pt x="12380" y="29066"/>
                      <a:pt x="11184" y="28707"/>
                    </a:cubicBezTo>
                    <a:cubicBezTo>
                      <a:pt x="7775" y="33372"/>
                      <a:pt x="3947" y="37858"/>
                      <a:pt x="0" y="42224"/>
                    </a:cubicBezTo>
                    <a:cubicBezTo>
                      <a:pt x="17404" y="58312"/>
                      <a:pt x="41985" y="66027"/>
                      <a:pt x="66984" y="60824"/>
                    </a:cubicBezTo>
                    <a:cubicBezTo>
                      <a:pt x="88335" y="56398"/>
                      <a:pt x="105679" y="43300"/>
                      <a:pt x="116205" y="26016"/>
                    </a:cubicBezTo>
                    <a:cubicBezTo>
                      <a:pt x="113215" y="16866"/>
                      <a:pt x="109208" y="8194"/>
                      <a:pt x="104304" y="60"/>
                    </a:cubicBezTo>
                    <a:cubicBezTo>
                      <a:pt x="103766" y="299"/>
                      <a:pt x="103287" y="478"/>
                      <a:pt x="102809" y="598"/>
                    </a:cubicBezTo>
                    <a:close/>
                  </a:path>
                </a:pathLst>
              </a:custGeom>
              <a:grpFill/>
              <a:ln w="5978" cap="flat">
                <a:noFill/>
                <a:prstDash val="solid"/>
                <a:miter/>
              </a:ln>
            </p:spPr>
            <p:txBody>
              <a:bodyPr rtlCol="0" anchor="ctr"/>
              <a:lstStyle/>
              <a:p>
                <a:endParaRPr lang="en-GB"/>
              </a:p>
            </p:txBody>
          </p:sp>
          <p:sp>
            <p:nvSpPr>
              <p:cNvPr id="4380" name="Vrije vorm: vorm 4379">
                <a:extLst>
                  <a:ext uri="{FF2B5EF4-FFF2-40B4-BE49-F238E27FC236}">
                    <a16:creationId xmlns:a16="http://schemas.microsoft.com/office/drawing/2014/main" id="{34CE7A5E-5CA8-4355-B598-9F19D5B8B206}"/>
                  </a:ext>
                </a:extLst>
              </p:cNvPr>
              <p:cNvSpPr/>
              <p:nvPr/>
            </p:nvSpPr>
            <p:spPr>
              <a:xfrm>
                <a:off x="783015" y="1203002"/>
                <a:ext cx="26434" cy="29066"/>
              </a:xfrm>
              <a:custGeom>
                <a:avLst/>
                <a:gdLst>
                  <a:gd name="connsiteX0" fmla="*/ 26435 w 26434"/>
                  <a:gd name="connsiteY0" fmla="*/ 16507 h 29066"/>
                  <a:gd name="connsiteX1" fmla="*/ 24162 w 26434"/>
                  <a:gd name="connsiteY1" fmla="*/ 11722 h 29066"/>
                  <a:gd name="connsiteX2" fmla="*/ 0 w 26434"/>
                  <a:gd name="connsiteY2" fmla="*/ 0 h 29066"/>
                  <a:gd name="connsiteX3" fmla="*/ 16088 w 26434"/>
                  <a:gd name="connsiteY3" fmla="*/ 29066 h 29066"/>
                  <a:gd name="connsiteX4" fmla="*/ 26435 w 26434"/>
                  <a:gd name="connsiteY4" fmla="*/ 16507 h 29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4" h="29066">
                    <a:moveTo>
                      <a:pt x="26435" y="16507"/>
                    </a:moveTo>
                    <a:cubicBezTo>
                      <a:pt x="25358" y="15131"/>
                      <a:pt x="24581" y="13516"/>
                      <a:pt x="24162" y="11722"/>
                    </a:cubicBezTo>
                    <a:cubicBezTo>
                      <a:pt x="15610" y="8971"/>
                      <a:pt x="7476" y="5024"/>
                      <a:pt x="0" y="0"/>
                    </a:cubicBezTo>
                    <a:cubicBezTo>
                      <a:pt x="3230" y="11064"/>
                      <a:pt x="8792" y="20873"/>
                      <a:pt x="16088" y="29066"/>
                    </a:cubicBezTo>
                    <a:cubicBezTo>
                      <a:pt x="19796" y="24999"/>
                      <a:pt x="23325" y="20813"/>
                      <a:pt x="26435" y="16507"/>
                    </a:cubicBezTo>
                    <a:close/>
                  </a:path>
                </a:pathLst>
              </a:custGeom>
              <a:grpFill/>
              <a:ln w="5978" cap="flat">
                <a:noFill/>
                <a:prstDash val="solid"/>
                <a:miter/>
              </a:ln>
            </p:spPr>
            <p:txBody>
              <a:bodyPr rtlCol="0" anchor="ctr"/>
              <a:lstStyle/>
              <a:p>
                <a:endParaRPr lang="en-GB"/>
              </a:p>
            </p:txBody>
          </p:sp>
          <p:sp>
            <p:nvSpPr>
              <p:cNvPr id="4381" name="Vrije vorm: vorm 4380">
                <a:extLst>
                  <a:ext uri="{FF2B5EF4-FFF2-40B4-BE49-F238E27FC236}">
                    <a16:creationId xmlns:a16="http://schemas.microsoft.com/office/drawing/2014/main" id="{337B5828-7AD2-4E2D-8B22-CCDC65E1AEA1}"/>
                  </a:ext>
                </a:extLst>
              </p:cNvPr>
              <p:cNvSpPr/>
              <p:nvPr/>
            </p:nvSpPr>
            <p:spPr>
              <a:xfrm>
                <a:off x="763099" y="1181651"/>
                <a:ext cx="19915" cy="20573"/>
              </a:xfrm>
              <a:custGeom>
                <a:avLst/>
                <a:gdLst>
                  <a:gd name="connsiteX0" fmla="*/ 0 w 19915"/>
                  <a:gd name="connsiteY0" fmla="*/ 0 h 20573"/>
                  <a:gd name="connsiteX1" fmla="*/ 0 w 19915"/>
                  <a:gd name="connsiteY1" fmla="*/ 179 h 20573"/>
                  <a:gd name="connsiteX2" fmla="*/ 419 w 19915"/>
                  <a:gd name="connsiteY2" fmla="*/ 8851 h 20573"/>
                  <a:gd name="connsiteX3" fmla="*/ 19916 w 19915"/>
                  <a:gd name="connsiteY3" fmla="*/ 20574 h 20573"/>
                  <a:gd name="connsiteX4" fmla="*/ 17344 w 19915"/>
                  <a:gd name="connsiteY4" fmla="*/ 11363 h 20573"/>
                  <a:gd name="connsiteX5" fmla="*/ 0 w 19915"/>
                  <a:gd name="connsiteY5" fmla="*/ 0 h 2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5" h="20573">
                    <a:moveTo>
                      <a:pt x="0" y="0"/>
                    </a:moveTo>
                    <a:cubicBezTo>
                      <a:pt x="0" y="60"/>
                      <a:pt x="0" y="120"/>
                      <a:pt x="0" y="179"/>
                    </a:cubicBezTo>
                    <a:cubicBezTo>
                      <a:pt x="0" y="3110"/>
                      <a:pt x="179" y="6041"/>
                      <a:pt x="419" y="8851"/>
                    </a:cubicBezTo>
                    <a:cubicBezTo>
                      <a:pt x="6579" y="13277"/>
                      <a:pt x="13098" y="17224"/>
                      <a:pt x="19916" y="20574"/>
                    </a:cubicBezTo>
                    <a:lnTo>
                      <a:pt x="17344" y="11363"/>
                    </a:lnTo>
                    <a:cubicBezTo>
                      <a:pt x="9629" y="7536"/>
                      <a:pt x="5442" y="4545"/>
                      <a:pt x="0" y="0"/>
                    </a:cubicBezTo>
                    <a:close/>
                  </a:path>
                </a:pathLst>
              </a:custGeom>
              <a:grpFill/>
              <a:ln w="5978" cap="flat">
                <a:noFill/>
                <a:prstDash val="solid"/>
                <a:miter/>
              </a:ln>
            </p:spPr>
            <p:txBody>
              <a:bodyPr rtlCol="0" anchor="ctr"/>
              <a:lstStyle/>
              <a:p>
                <a:endParaRPr lang="en-GB"/>
              </a:p>
            </p:txBody>
          </p:sp>
          <p:sp>
            <p:nvSpPr>
              <p:cNvPr id="4382" name="Vrije vorm: vorm 4381">
                <a:extLst>
                  <a:ext uri="{FF2B5EF4-FFF2-40B4-BE49-F238E27FC236}">
                    <a16:creationId xmlns:a16="http://schemas.microsoft.com/office/drawing/2014/main" id="{A4794697-0152-4CAE-A959-9E406DD9C396}"/>
                  </a:ext>
                </a:extLst>
              </p:cNvPr>
              <p:cNvSpPr/>
              <p:nvPr/>
            </p:nvSpPr>
            <p:spPr>
              <a:xfrm>
                <a:off x="831698" y="1091522"/>
                <a:ext cx="12738" cy="16566"/>
              </a:xfrm>
              <a:custGeom>
                <a:avLst/>
                <a:gdLst>
                  <a:gd name="connsiteX0" fmla="*/ 12739 w 12738"/>
                  <a:gd name="connsiteY0" fmla="*/ 15131 h 16566"/>
                  <a:gd name="connsiteX1" fmla="*/ 6938 w 12738"/>
                  <a:gd name="connsiteY1" fmla="*/ 0 h 16566"/>
                  <a:gd name="connsiteX2" fmla="*/ 0 w 12738"/>
                  <a:gd name="connsiteY2" fmla="*/ 1495 h 16566"/>
                  <a:gd name="connsiteX3" fmla="*/ 5502 w 12738"/>
                  <a:gd name="connsiteY3" fmla="*/ 16567 h 16566"/>
                  <a:gd name="connsiteX4" fmla="*/ 12739 w 12738"/>
                  <a:gd name="connsiteY4" fmla="*/ 15131 h 1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38" h="16566">
                    <a:moveTo>
                      <a:pt x="12739" y="15131"/>
                    </a:moveTo>
                    <a:cubicBezTo>
                      <a:pt x="11005" y="8433"/>
                      <a:pt x="9330" y="4665"/>
                      <a:pt x="6938" y="0"/>
                    </a:cubicBezTo>
                    <a:cubicBezTo>
                      <a:pt x="4605" y="419"/>
                      <a:pt x="2273" y="897"/>
                      <a:pt x="0" y="1495"/>
                    </a:cubicBezTo>
                    <a:cubicBezTo>
                      <a:pt x="2213" y="5921"/>
                      <a:pt x="3828" y="10167"/>
                      <a:pt x="5502" y="16567"/>
                    </a:cubicBezTo>
                    <a:lnTo>
                      <a:pt x="12739" y="15131"/>
                    </a:lnTo>
                    <a:close/>
                  </a:path>
                </a:pathLst>
              </a:custGeom>
              <a:grpFill/>
              <a:ln w="5978" cap="flat">
                <a:noFill/>
                <a:prstDash val="solid"/>
                <a:miter/>
              </a:ln>
            </p:spPr>
            <p:txBody>
              <a:bodyPr rtlCol="0" anchor="ctr"/>
              <a:lstStyle/>
              <a:p>
                <a:endParaRPr lang="en-GB"/>
              </a:p>
            </p:txBody>
          </p:sp>
          <p:sp>
            <p:nvSpPr>
              <p:cNvPr id="4383" name="Vrije vorm: vorm 4382">
                <a:extLst>
                  <a:ext uri="{FF2B5EF4-FFF2-40B4-BE49-F238E27FC236}">
                    <a16:creationId xmlns:a16="http://schemas.microsoft.com/office/drawing/2014/main" id="{A773B95C-3026-4C26-A194-4F240C036098}"/>
                  </a:ext>
                </a:extLst>
              </p:cNvPr>
              <p:cNvSpPr/>
              <p:nvPr/>
            </p:nvSpPr>
            <p:spPr>
              <a:xfrm>
                <a:off x="786424" y="1232129"/>
                <a:ext cx="17822" cy="16147"/>
              </a:xfrm>
              <a:custGeom>
                <a:avLst/>
                <a:gdLst>
                  <a:gd name="connsiteX0" fmla="*/ 0 w 17822"/>
                  <a:gd name="connsiteY0" fmla="*/ 10825 h 16147"/>
                  <a:gd name="connsiteX1" fmla="*/ 5143 w 17822"/>
                  <a:gd name="connsiteY1" fmla="*/ 16148 h 16147"/>
                  <a:gd name="connsiteX2" fmla="*/ 17823 w 17822"/>
                  <a:gd name="connsiteY2" fmla="*/ 5263 h 16147"/>
                  <a:gd name="connsiteX3" fmla="*/ 12679 w 17822"/>
                  <a:gd name="connsiteY3" fmla="*/ 0 h 16147"/>
                  <a:gd name="connsiteX4" fmla="*/ 0 w 17822"/>
                  <a:gd name="connsiteY4" fmla="*/ 10825 h 16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22" h="16147">
                    <a:moveTo>
                      <a:pt x="0" y="10825"/>
                    </a:moveTo>
                    <a:cubicBezTo>
                      <a:pt x="1615" y="12679"/>
                      <a:pt x="3349" y="14414"/>
                      <a:pt x="5143" y="16148"/>
                    </a:cubicBezTo>
                    <a:cubicBezTo>
                      <a:pt x="9450" y="12859"/>
                      <a:pt x="13457" y="9270"/>
                      <a:pt x="17823" y="5263"/>
                    </a:cubicBezTo>
                    <a:lnTo>
                      <a:pt x="12679" y="0"/>
                    </a:lnTo>
                    <a:cubicBezTo>
                      <a:pt x="8373" y="3887"/>
                      <a:pt x="4306" y="7476"/>
                      <a:pt x="0" y="10825"/>
                    </a:cubicBezTo>
                    <a:close/>
                  </a:path>
                </a:pathLst>
              </a:custGeom>
              <a:grpFill/>
              <a:ln w="5978" cap="flat">
                <a:noFill/>
                <a:prstDash val="solid"/>
                <a:miter/>
              </a:ln>
            </p:spPr>
            <p:txBody>
              <a:bodyPr rtlCol="0" anchor="ctr"/>
              <a:lstStyle/>
              <a:p>
                <a:endParaRPr lang="en-GB"/>
              </a:p>
            </p:txBody>
          </p:sp>
          <p:sp>
            <p:nvSpPr>
              <p:cNvPr id="4384" name="Vrije vorm: vorm 4383">
                <a:extLst>
                  <a:ext uri="{FF2B5EF4-FFF2-40B4-BE49-F238E27FC236}">
                    <a16:creationId xmlns:a16="http://schemas.microsoft.com/office/drawing/2014/main" id="{9F66CCF5-6C1E-483C-B615-16332901D580}"/>
                  </a:ext>
                </a:extLst>
              </p:cNvPr>
              <p:cNvSpPr/>
              <p:nvPr/>
            </p:nvSpPr>
            <p:spPr>
              <a:xfrm>
                <a:off x="921349" y="1121844"/>
                <a:ext cx="9270" cy="31937"/>
              </a:xfrm>
              <a:custGeom>
                <a:avLst/>
                <a:gdLst>
                  <a:gd name="connsiteX0" fmla="*/ 9270 w 9270"/>
                  <a:gd name="connsiteY0" fmla="*/ 8134 h 31937"/>
                  <a:gd name="connsiteX1" fmla="*/ 2990 w 9270"/>
                  <a:gd name="connsiteY1" fmla="*/ 0 h 31937"/>
                  <a:gd name="connsiteX2" fmla="*/ 0 w 9270"/>
                  <a:gd name="connsiteY2" fmla="*/ 21590 h 31937"/>
                  <a:gd name="connsiteX3" fmla="*/ 5024 w 9270"/>
                  <a:gd name="connsiteY3" fmla="*/ 31937 h 31937"/>
                  <a:gd name="connsiteX4" fmla="*/ 9270 w 9270"/>
                  <a:gd name="connsiteY4" fmla="*/ 8134 h 31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0" h="31937">
                    <a:moveTo>
                      <a:pt x="9270" y="8134"/>
                    </a:moveTo>
                    <a:cubicBezTo>
                      <a:pt x="7356" y="5323"/>
                      <a:pt x="5203" y="2572"/>
                      <a:pt x="2990" y="0"/>
                    </a:cubicBezTo>
                    <a:cubicBezTo>
                      <a:pt x="2811" y="7595"/>
                      <a:pt x="2392" y="12918"/>
                      <a:pt x="0" y="21590"/>
                    </a:cubicBezTo>
                    <a:lnTo>
                      <a:pt x="5024" y="31937"/>
                    </a:lnTo>
                    <a:cubicBezTo>
                      <a:pt x="6938" y="24760"/>
                      <a:pt x="8433" y="16208"/>
                      <a:pt x="9270" y="8134"/>
                    </a:cubicBezTo>
                    <a:close/>
                  </a:path>
                </a:pathLst>
              </a:custGeom>
              <a:grpFill/>
              <a:ln w="5978" cap="flat">
                <a:noFill/>
                <a:prstDash val="solid"/>
                <a:miter/>
              </a:ln>
            </p:spPr>
            <p:txBody>
              <a:bodyPr rtlCol="0" anchor="ctr"/>
              <a:lstStyle/>
              <a:p>
                <a:endParaRPr lang="en-GB"/>
              </a:p>
            </p:txBody>
          </p:sp>
          <p:sp>
            <p:nvSpPr>
              <p:cNvPr id="4385" name="Vrije vorm: vorm 4384">
                <a:extLst>
                  <a:ext uri="{FF2B5EF4-FFF2-40B4-BE49-F238E27FC236}">
                    <a16:creationId xmlns:a16="http://schemas.microsoft.com/office/drawing/2014/main" id="{FB8B84A1-9649-4A53-8103-15D0ABAFE284}"/>
                  </a:ext>
                </a:extLst>
              </p:cNvPr>
              <p:cNvSpPr/>
              <p:nvPr/>
            </p:nvSpPr>
            <p:spPr>
              <a:xfrm>
                <a:off x="920632" y="1212213"/>
                <a:ext cx="9210" cy="30382"/>
              </a:xfrm>
              <a:custGeom>
                <a:avLst/>
                <a:gdLst>
                  <a:gd name="connsiteX0" fmla="*/ 0 w 9210"/>
                  <a:gd name="connsiteY0" fmla="*/ 8732 h 30382"/>
                  <a:gd name="connsiteX1" fmla="*/ 2990 w 9210"/>
                  <a:gd name="connsiteY1" fmla="*/ 30382 h 30382"/>
                  <a:gd name="connsiteX2" fmla="*/ 9210 w 9210"/>
                  <a:gd name="connsiteY2" fmla="*/ 22488 h 30382"/>
                  <a:gd name="connsiteX3" fmla="*/ 4665 w 9210"/>
                  <a:gd name="connsiteY3" fmla="*/ 0 h 30382"/>
                  <a:gd name="connsiteX4" fmla="*/ 0 w 9210"/>
                  <a:gd name="connsiteY4" fmla="*/ 8732 h 30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0" h="30382">
                    <a:moveTo>
                      <a:pt x="0" y="8732"/>
                    </a:moveTo>
                    <a:cubicBezTo>
                      <a:pt x="2392" y="17464"/>
                      <a:pt x="2811" y="22727"/>
                      <a:pt x="2990" y="30382"/>
                    </a:cubicBezTo>
                    <a:cubicBezTo>
                      <a:pt x="5203" y="27870"/>
                      <a:pt x="7296" y="25239"/>
                      <a:pt x="9210" y="22488"/>
                    </a:cubicBezTo>
                    <a:cubicBezTo>
                      <a:pt x="8253" y="14892"/>
                      <a:pt x="6579" y="7177"/>
                      <a:pt x="4665" y="0"/>
                    </a:cubicBezTo>
                    <a:lnTo>
                      <a:pt x="0" y="8732"/>
                    </a:lnTo>
                    <a:close/>
                  </a:path>
                </a:pathLst>
              </a:custGeom>
              <a:grpFill/>
              <a:ln w="5978" cap="flat">
                <a:noFill/>
                <a:prstDash val="solid"/>
                <a:miter/>
              </a:ln>
            </p:spPr>
            <p:txBody>
              <a:bodyPr rtlCol="0" anchor="ctr"/>
              <a:lstStyle/>
              <a:p>
                <a:endParaRPr lang="en-GB"/>
              </a:p>
            </p:txBody>
          </p:sp>
        </p:grpSp>
      </p:grpSp>
      <p:grpSp>
        <p:nvGrpSpPr>
          <p:cNvPr id="4386" name="ICOON3_GEEL">
            <a:extLst>
              <a:ext uri="{FF2B5EF4-FFF2-40B4-BE49-F238E27FC236}">
                <a16:creationId xmlns:a16="http://schemas.microsoft.com/office/drawing/2014/main" id="{A71DD4E9-6504-493E-B54F-8289AA6DA905}"/>
              </a:ext>
            </a:extLst>
          </p:cNvPr>
          <p:cNvGrpSpPr/>
          <p:nvPr/>
        </p:nvGrpSpPr>
        <p:grpSpPr>
          <a:xfrm>
            <a:off x="760730" y="4318771"/>
            <a:ext cx="275113" cy="275113"/>
            <a:chOff x="706941" y="4619430"/>
            <a:chExt cx="275113" cy="275113"/>
          </a:xfrm>
          <a:solidFill>
            <a:schemeClr val="accent3"/>
          </a:solidFill>
          <a:effectLst>
            <a:outerShdw blurRad="190500" algn="ctr" rotWithShape="0">
              <a:prstClr val="black">
                <a:alpha val="50000"/>
              </a:prstClr>
            </a:outerShdw>
          </a:effectLst>
        </p:grpSpPr>
        <p:sp>
          <p:nvSpPr>
            <p:cNvPr id="4387" name="Vrije vorm: vorm 4386">
              <a:extLst>
                <a:ext uri="{FF2B5EF4-FFF2-40B4-BE49-F238E27FC236}">
                  <a16:creationId xmlns:a16="http://schemas.microsoft.com/office/drawing/2014/main" id="{B4E788EF-20F1-44CD-ACE2-F9A9BC1A94B2}"/>
                </a:ext>
              </a:extLst>
            </p:cNvPr>
            <p:cNvSpPr/>
            <p:nvPr/>
          </p:nvSpPr>
          <p:spPr>
            <a:xfrm>
              <a:off x="706941" y="4619430"/>
              <a:ext cx="275113" cy="275113"/>
            </a:xfrm>
            <a:custGeom>
              <a:avLst/>
              <a:gdLst>
                <a:gd name="connsiteX0" fmla="*/ 137557 w 275113"/>
                <a:gd name="connsiteY0" fmla="*/ 24999 h 275113"/>
                <a:gd name="connsiteX1" fmla="*/ 250114 w 275113"/>
                <a:gd name="connsiteY1" fmla="*/ 137557 h 275113"/>
                <a:gd name="connsiteX2" fmla="*/ 137557 w 275113"/>
                <a:gd name="connsiteY2" fmla="*/ 250114 h 275113"/>
                <a:gd name="connsiteX3" fmla="*/ 24999 w 275113"/>
                <a:gd name="connsiteY3" fmla="*/ 137557 h 275113"/>
                <a:gd name="connsiteX4" fmla="*/ 137557 w 275113"/>
                <a:gd name="connsiteY4" fmla="*/ 24999 h 275113"/>
                <a:gd name="connsiteX5" fmla="*/ 137557 w 275113"/>
                <a:gd name="connsiteY5" fmla="*/ 0 h 275113"/>
                <a:gd name="connsiteX6" fmla="*/ 0 w 275113"/>
                <a:gd name="connsiteY6" fmla="*/ 137557 h 275113"/>
                <a:gd name="connsiteX7" fmla="*/ 137557 w 275113"/>
                <a:gd name="connsiteY7" fmla="*/ 275113 h 275113"/>
                <a:gd name="connsiteX8" fmla="*/ 275113 w 275113"/>
                <a:gd name="connsiteY8" fmla="*/ 137557 h 275113"/>
                <a:gd name="connsiteX9" fmla="*/ 137557 w 275113"/>
                <a:gd name="connsiteY9" fmla="*/ 0 h 275113"/>
                <a:gd name="connsiteX10" fmla="*/ 137557 w 275113"/>
                <a:gd name="connsiteY10" fmla="*/ 0 h 27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113" h="275113">
                  <a:moveTo>
                    <a:pt x="137557" y="24999"/>
                  </a:moveTo>
                  <a:cubicBezTo>
                    <a:pt x="199637" y="24999"/>
                    <a:pt x="250114" y="75477"/>
                    <a:pt x="250114" y="137557"/>
                  </a:cubicBezTo>
                  <a:cubicBezTo>
                    <a:pt x="250114" y="199637"/>
                    <a:pt x="199637" y="250114"/>
                    <a:pt x="137557" y="250114"/>
                  </a:cubicBezTo>
                  <a:cubicBezTo>
                    <a:pt x="75477" y="250114"/>
                    <a:pt x="24999" y="199637"/>
                    <a:pt x="24999" y="137557"/>
                  </a:cubicBezTo>
                  <a:cubicBezTo>
                    <a:pt x="24999" y="75477"/>
                    <a:pt x="75477" y="24999"/>
                    <a:pt x="137557" y="24999"/>
                  </a:cubicBezTo>
                  <a:moveTo>
                    <a:pt x="137557" y="0"/>
                  </a:moveTo>
                  <a:cubicBezTo>
                    <a:pt x="61601" y="0"/>
                    <a:pt x="0" y="61601"/>
                    <a:pt x="0" y="137557"/>
                  </a:cubicBezTo>
                  <a:cubicBezTo>
                    <a:pt x="0" y="213512"/>
                    <a:pt x="61601" y="275113"/>
                    <a:pt x="137557" y="275113"/>
                  </a:cubicBezTo>
                  <a:cubicBezTo>
                    <a:pt x="213512" y="275113"/>
                    <a:pt x="275113" y="213512"/>
                    <a:pt x="275113" y="137557"/>
                  </a:cubicBezTo>
                  <a:cubicBezTo>
                    <a:pt x="275113" y="61601"/>
                    <a:pt x="213512" y="0"/>
                    <a:pt x="137557" y="0"/>
                  </a:cubicBezTo>
                  <a:lnTo>
                    <a:pt x="137557" y="0"/>
                  </a:lnTo>
                  <a:close/>
                </a:path>
              </a:pathLst>
            </a:custGeom>
            <a:grpFill/>
            <a:ln w="5978" cap="flat">
              <a:noFill/>
              <a:prstDash val="solid"/>
              <a:miter/>
            </a:ln>
          </p:spPr>
          <p:txBody>
            <a:bodyPr rtlCol="0" anchor="ctr"/>
            <a:lstStyle/>
            <a:p>
              <a:endParaRPr lang="en-GB"/>
            </a:p>
          </p:txBody>
        </p:sp>
        <p:grpSp>
          <p:nvGrpSpPr>
            <p:cNvPr id="4388" name="Graphic 3">
              <a:extLst>
                <a:ext uri="{FF2B5EF4-FFF2-40B4-BE49-F238E27FC236}">
                  <a16:creationId xmlns:a16="http://schemas.microsoft.com/office/drawing/2014/main" id="{6BE9C006-B8A4-47E6-AFAA-2BA058E9B51E}"/>
                </a:ext>
              </a:extLst>
            </p:cNvPr>
            <p:cNvGrpSpPr/>
            <p:nvPr/>
          </p:nvGrpSpPr>
          <p:grpSpPr>
            <a:xfrm>
              <a:off x="769080" y="4677921"/>
              <a:ext cx="144015" cy="179421"/>
              <a:chOff x="769080" y="4677921"/>
              <a:chExt cx="144015" cy="179421"/>
            </a:xfrm>
            <a:grpFill/>
          </p:grpSpPr>
          <p:sp>
            <p:nvSpPr>
              <p:cNvPr id="4390" name="Vrije vorm: vorm 4389">
                <a:extLst>
                  <a:ext uri="{FF2B5EF4-FFF2-40B4-BE49-F238E27FC236}">
                    <a16:creationId xmlns:a16="http://schemas.microsoft.com/office/drawing/2014/main" id="{7283E770-78EC-4E7A-8BC6-749C7DB3F1F2}"/>
                  </a:ext>
                </a:extLst>
              </p:cNvPr>
              <p:cNvSpPr/>
              <p:nvPr/>
            </p:nvSpPr>
            <p:spPr>
              <a:xfrm>
                <a:off x="842583" y="4678099"/>
                <a:ext cx="70512" cy="143897"/>
              </a:xfrm>
              <a:custGeom>
                <a:avLst/>
                <a:gdLst>
                  <a:gd name="connsiteX0" fmla="*/ 34987 w 70512"/>
                  <a:gd name="connsiteY0" fmla="*/ 17465 h 143897"/>
                  <a:gd name="connsiteX1" fmla="*/ 47607 w 70512"/>
                  <a:gd name="connsiteY1" fmla="*/ 34271 h 143897"/>
                  <a:gd name="connsiteX2" fmla="*/ 47607 w 70512"/>
                  <a:gd name="connsiteY2" fmla="*/ 56160 h 143897"/>
                  <a:gd name="connsiteX3" fmla="*/ 11722 w 70512"/>
                  <a:gd name="connsiteY3" fmla="*/ 78050 h 143897"/>
                  <a:gd name="connsiteX4" fmla="*/ 11722 w 70512"/>
                  <a:gd name="connsiteY4" fmla="*/ 109927 h 143897"/>
                  <a:gd name="connsiteX5" fmla="*/ 0 w 70512"/>
                  <a:gd name="connsiteY5" fmla="*/ 126374 h 143897"/>
                  <a:gd name="connsiteX6" fmla="*/ 17763 w 70512"/>
                  <a:gd name="connsiteY6" fmla="*/ 143897 h 143897"/>
                  <a:gd name="connsiteX7" fmla="*/ 35525 w 70512"/>
                  <a:gd name="connsiteY7" fmla="*/ 126374 h 143897"/>
                  <a:gd name="connsiteX8" fmla="*/ 21650 w 70512"/>
                  <a:gd name="connsiteY8" fmla="*/ 109269 h 143897"/>
                  <a:gd name="connsiteX9" fmla="*/ 21650 w 70512"/>
                  <a:gd name="connsiteY9" fmla="*/ 83552 h 143897"/>
                  <a:gd name="connsiteX10" fmla="*/ 57535 w 70512"/>
                  <a:gd name="connsiteY10" fmla="*/ 61663 h 143897"/>
                  <a:gd name="connsiteX11" fmla="*/ 57535 w 70512"/>
                  <a:gd name="connsiteY11" fmla="*/ 34390 h 143897"/>
                  <a:gd name="connsiteX12" fmla="*/ 70513 w 70512"/>
                  <a:gd name="connsiteY12" fmla="*/ 17525 h 143897"/>
                  <a:gd name="connsiteX13" fmla="*/ 52750 w 70512"/>
                  <a:gd name="connsiteY13" fmla="*/ 1 h 143897"/>
                  <a:gd name="connsiteX14" fmla="*/ 34987 w 70512"/>
                  <a:gd name="connsiteY14" fmla="*/ 17465 h 143897"/>
                  <a:gd name="connsiteX15" fmla="*/ 24102 w 70512"/>
                  <a:gd name="connsiteY15" fmla="*/ 126374 h 143897"/>
                  <a:gd name="connsiteX16" fmla="*/ 17763 w 70512"/>
                  <a:gd name="connsiteY16" fmla="*/ 132594 h 143897"/>
                  <a:gd name="connsiteX17" fmla="*/ 11423 w 70512"/>
                  <a:gd name="connsiteY17" fmla="*/ 126374 h 143897"/>
                  <a:gd name="connsiteX18" fmla="*/ 17763 w 70512"/>
                  <a:gd name="connsiteY18" fmla="*/ 120154 h 143897"/>
                  <a:gd name="connsiteX19" fmla="*/ 24102 w 70512"/>
                  <a:gd name="connsiteY19" fmla="*/ 126374 h 143897"/>
                  <a:gd name="connsiteX20" fmla="*/ 59090 w 70512"/>
                  <a:gd name="connsiteY20" fmla="*/ 17465 h 143897"/>
                  <a:gd name="connsiteX21" fmla="*/ 52750 w 70512"/>
                  <a:gd name="connsiteY21" fmla="*/ 23685 h 143897"/>
                  <a:gd name="connsiteX22" fmla="*/ 46410 w 70512"/>
                  <a:gd name="connsiteY22" fmla="*/ 17465 h 143897"/>
                  <a:gd name="connsiteX23" fmla="*/ 52750 w 70512"/>
                  <a:gd name="connsiteY23" fmla="*/ 11245 h 143897"/>
                  <a:gd name="connsiteX24" fmla="*/ 59090 w 70512"/>
                  <a:gd name="connsiteY24" fmla="*/ 17465 h 1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0512" h="143897">
                    <a:moveTo>
                      <a:pt x="34987" y="17465"/>
                    </a:moveTo>
                    <a:cubicBezTo>
                      <a:pt x="34987" y="25360"/>
                      <a:pt x="40310" y="32058"/>
                      <a:pt x="47607" y="34271"/>
                    </a:cubicBezTo>
                    <a:lnTo>
                      <a:pt x="47607" y="56160"/>
                    </a:lnTo>
                    <a:lnTo>
                      <a:pt x="11722" y="78050"/>
                    </a:lnTo>
                    <a:lnTo>
                      <a:pt x="11722" y="109927"/>
                    </a:lnTo>
                    <a:cubicBezTo>
                      <a:pt x="4904" y="112379"/>
                      <a:pt x="0" y="118838"/>
                      <a:pt x="0" y="126374"/>
                    </a:cubicBezTo>
                    <a:cubicBezTo>
                      <a:pt x="0" y="136063"/>
                      <a:pt x="7954" y="143897"/>
                      <a:pt x="17763" y="143897"/>
                    </a:cubicBezTo>
                    <a:cubicBezTo>
                      <a:pt x="27571" y="143897"/>
                      <a:pt x="35525" y="136063"/>
                      <a:pt x="35525" y="126374"/>
                    </a:cubicBezTo>
                    <a:cubicBezTo>
                      <a:pt x="35525" y="118001"/>
                      <a:pt x="29605" y="111004"/>
                      <a:pt x="21650" y="109269"/>
                    </a:cubicBezTo>
                    <a:lnTo>
                      <a:pt x="21650" y="83552"/>
                    </a:lnTo>
                    <a:lnTo>
                      <a:pt x="57535" y="61663"/>
                    </a:lnTo>
                    <a:lnTo>
                      <a:pt x="57535" y="34390"/>
                    </a:lnTo>
                    <a:cubicBezTo>
                      <a:pt x="65010" y="32297"/>
                      <a:pt x="70513" y="25539"/>
                      <a:pt x="70513" y="17525"/>
                    </a:cubicBezTo>
                    <a:cubicBezTo>
                      <a:pt x="70513" y="7836"/>
                      <a:pt x="62558" y="1"/>
                      <a:pt x="52750" y="1"/>
                    </a:cubicBezTo>
                    <a:cubicBezTo>
                      <a:pt x="42942" y="-118"/>
                      <a:pt x="34987" y="7776"/>
                      <a:pt x="34987" y="17465"/>
                    </a:cubicBezTo>
                    <a:close/>
                    <a:moveTo>
                      <a:pt x="24102" y="126374"/>
                    </a:moveTo>
                    <a:cubicBezTo>
                      <a:pt x="24102" y="129843"/>
                      <a:pt x="21291" y="132594"/>
                      <a:pt x="17763" y="132594"/>
                    </a:cubicBezTo>
                    <a:cubicBezTo>
                      <a:pt x="14294" y="132594"/>
                      <a:pt x="11423" y="129783"/>
                      <a:pt x="11423" y="126374"/>
                    </a:cubicBezTo>
                    <a:cubicBezTo>
                      <a:pt x="11423" y="122965"/>
                      <a:pt x="14234" y="120154"/>
                      <a:pt x="17763" y="120154"/>
                    </a:cubicBezTo>
                    <a:cubicBezTo>
                      <a:pt x="21291" y="120154"/>
                      <a:pt x="24102" y="122905"/>
                      <a:pt x="24102" y="126374"/>
                    </a:cubicBezTo>
                    <a:close/>
                    <a:moveTo>
                      <a:pt x="59090" y="17465"/>
                    </a:moveTo>
                    <a:cubicBezTo>
                      <a:pt x="59090" y="20934"/>
                      <a:pt x="56279" y="23685"/>
                      <a:pt x="52750" y="23685"/>
                    </a:cubicBezTo>
                    <a:cubicBezTo>
                      <a:pt x="49281" y="23685"/>
                      <a:pt x="46410" y="20874"/>
                      <a:pt x="46410" y="17465"/>
                    </a:cubicBezTo>
                    <a:cubicBezTo>
                      <a:pt x="46410" y="13996"/>
                      <a:pt x="49221" y="11245"/>
                      <a:pt x="52750" y="11245"/>
                    </a:cubicBezTo>
                    <a:cubicBezTo>
                      <a:pt x="56279" y="11245"/>
                      <a:pt x="59090" y="13996"/>
                      <a:pt x="59090" y="17465"/>
                    </a:cubicBezTo>
                    <a:close/>
                  </a:path>
                </a:pathLst>
              </a:custGeom>
              <a:grpFill/>
              <a:ln w="5978" cap="flat">
                <a:noFill/>
                <a:prstDash val="solid"/>
                <a:miter/>
              </a:ln>
            </p:spPr>
            <p:txBody>
              <a:bodyPr rtlCol="0" anchor="ctr"/>
              <a:lstStyle/>
              <a:p>
                <a:endParaRPr lang="en-GB"/>
              </a:p>
            </p:txBody>
          </p:sp>
          <p:sp>
            <p:nvSpPr>
              <p:cNvPr id="4391" name="Vrije vorm: vorm 4390">
                <a:extLst>
                  <a:ext uri="{FF2B5EF4-FFF2-40B4-BE49-F238E27FC236}">
                    <a16:creationId xmlns:a16="http://schemas.microsoft.com/office/drawing/2014/main" id="{702E9ECA-00E3-49BB-A696-A831886C6615}"/>
                  </a:ext>
                </a:extLst>
              </p:cNvPr>
              <p:cNvSpPr/>
              <p:nvPr/>
            </p:nvSpPr>
            <p:spPr>
              <a:xfrm>
                <a:off x="842643" y="4706150"/>
                <a:ext cx="35525" cy="35046"/>
              </a:xfrm>
              <a:custGeom>
                <a:avLst/>
                <a:gdLst>
                  <a:gd name="connsiteX0" fmla="*/ 17763 w 35525"/>
                  <a:gd name="connsiteY0" fmla="*/ 0 h 35046"/>
                  <a:gd name="connsiteX1" fmla="*/ 0 w 35525"/>
                  <a:gd name="connsiteY1" fmla="*/ 17523 h 35046"/>
                  <a:gd name="connsiteX2" fmla="*/ 17763 w 35525"/>
                  <a:gd name="connsiteY2" fmla="*/ 35047 h 35046"/>
                  <a:gd name="connsiteX3" fmla="*/ 35525 w 35525"/>
                  <a:gd name="connsiteY3" fmla="*/ 17523 h 35046"/>
                  <a:gd name="connsiteX4" fmla="*/ 17763 w 35525"/>
                  <a:gd name="connsiteY4" fmla="*/ 0 h 35046"/>
                  <a:gd name="connsiteX5" fmla="*/ 17763 w 35525"/>
                  <a:gd name="connsiteY5" fmla="*/ 23803 h 35046"/>
                  <a:gd name="connsiteX6" fmla="*/ 11423 w 35525"/>
                  <a:gd name="connsiteY6" fmla="*/ 17583 h 35046"/>
                  <a:gd name="connsiteX7" fmla="*/ 17763 w 35525"/>
                  <a:gd name="connsiteY7" fmla="*/ 11364 h 35046"/>
                  <a:gd name="connsiteX8" fmla="*/ 24102 w 35525"/>
                  <a:gd name="connsiteY8" fmla="*/ 17583 h 35046"/>
                  <a:gd name="connsiteX9" fmla="*/ 17763 w 35525"/>
                  <a:gd name="connsiteY9" fmla="*/ 23803 h 3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5" h="35046">
                    <a:moveTo>
                      <a:pt x="17763" y="0"/>
                    </a:moveTo>
                    <a:cubicBezTo>
                      <a:pt x="7954" y="0"/>
                      <a:pt x="0" y="7835"/>
                      <a:pt x="0" y="17523"/>
                    </a:cubicBezTo>
                    <a:cubicBezTo>
                      <a:pt x="0" y="27212"/>
                      <a:pt x="7954" y="35047"/>
                      <a:pt x="17763" y="35047"/>
                    </a:cubicBezTo>
                    <a:cubicBezTo>
                      <a:pt x="27571" y="35047"/>
                      <a:pt x="35525" y="27212"/>
                      <a:pt x="35525" y="17523"/>
                    </a:cubicBezTo>
                    <a:cubicBezTo>
                      <a:pt x="35525" y="7835"/>
                      <a:pt x="27571" y="0"/>
                      <a:pt x="17763" y="0"/>
                    </a:cubicBezTo>
                    <a:close/>
                    <a:moveTo>
                      <a:pt x="17763" y="23803"/>
                    </a:moveTo>
                    <a:cubicBezTo>
                      <a:pt x="14294" y="23803"/>
                      <a:pt x="11423" y="20992"/>
                      <a:pt x="11423" y="17583"/>
                    </a:cubicBezTo>
                    <a:cubicBezTo>
                      <a:pt x="11423" y="14174"/>
                      <a:pt x="14234" y="11364"/>
                      <a:pt x="17763" y="11364"/>
                    </a:cubicBezTo>
                    <a:cubicBezTo>
                      <a:pt x="21232" y="11364"/>
                      <a:pt x="24102" y="14174"/>
                      <a:pt x="24102" y="17583"/>
                    </a:cubicBezTo>
                    <a:cubicBezTo>
                      <a:pt x="24102" y="20992"/>
                      <a:pt x="21232" y="23803"/>
                      <a:pt x="17763" y="23803"/>
                    </a:cubicBezTo>
                    <a:close/>
                  </a:path>
                </a:pathLst>
              </a:custGeom>
              <a:grpFill/>
              <a:ln w="5978" cap="flat">
                <a:noFill/>
                <a:prstDash val="solid"/>
                <a:miter/>
              </a:ln>
            </p:spPr>
            <p:txBody>
              <a:bodyPr rtlCol="0" anchor="ctr"/>
              <a:lstStyle/>
              <a:p>
                <a:endParaRPr lang="en-GB"/>
              </a:p>
            </p:txBody>
          </p:sp>
          <p:sp>
            <p:nvSpPr>
              <p:cNvPr id="4392" name="Vrije vorm: vorm 4391">
                <a:extLst>
                  <a:ext uri="{FF2B5EF4-FFF2-40B4-BE49-F238E27FC236}">
                    <a16:creationId xmlns:a16="http://schemas.microsoft.com/office/drawing/2014/main" id="{DE9530BB-6A7E-4BA9-B51C-D506D8514192}"/>
                  </a:ext>
                </a:extLst>
              </p:cNvPr>
              <p:cNvSpPr/>
              <p:nvPr/>
            </p:nvSpPr>
            <p:spPr>
              <a:xfrm>
                <a:off x="810048" y="4677921"/>
                <a:ext cx="35525" cy="96349"/>
              </a:xfrm>
              <a:custGeom>
                <a:avLst/>
                <a:gdLst>
                  <a:gd name="connsiteX0" fmla="*/ 12859 w 35525"/>
                  <a:gd name="connsiteY0" fmla="*/ 34329 h 96349"/>
                  <a:gd name="connsiteX1" fmla="*/ 12859 w 35525"/>
                  <a:gd name="connsiteY1" fmla="*/ 61960 h 96349"/>
                  <a:gd name="connsiteX2" fmla="*/ 0 w 35525"/>
                  <a:gd name="connsiteY2" fmla="*/ 78826 h 96349"/>
                  <a:gd name="connsiteX3" fmla="*/ 17763 w 35525"/>
                  <a:gd name="connsiteY3" fmla="*/ 96349 h 96349"/>
                  <a:gd name="connsiteX4" fmla="*/ 35525 w 35525"/>
                  <a:gd name="connsiteY4" fmla="*/ 78826 h 96349"/>
                  <a:gd name="connsiteX5" fmla="*/ 22787 w 35525"/>
                  <a:gd name="connsiteY5" fmla="*/ 62020 h 96349"/>
                  <a:gd name="connsiteX6" fmla="*/ 22787 w 35525"/>
                  <a:gd name="connsiteY6" fmla="*/ 34329 h 96349"/>
                  <a:gd name="connsiteX7" fmla="*/ 35525 w 35525"/>
                  <a:gd name="connsiteY7" fmla="*/ 17523 h 96349"/>
                  <a:gd name="connsiteX8" fmla="*/ 17763 w 35525"/>
                  <a:gd name="connsiteY8" fmla="*/ 0 h 96349"/>
                  <a:gd name="connsiteX9" fmla="*/ 0 w 35525"/>
                  <a:gd name="connsiteY9" fmla="*/ 17523 h 96349"/>
                  <a:gd name="connsiteX10" fmla="*/ 12859 w 35525"/>
                  <a:gd name="connsiteY10" fmla="*/ 34329 h 96349"/>
                  <a:gd name="connsiteX11" fmla="*/ 24162 w 35525"/>
                  <a:gd name="connsiteY11" fmla="*/ 78826 h 96349"/>
                  <a:gd name="connsiteX12" fmla="*/ 17823 w 35525"/>
                  <a:gd name="connsiteY12" fmla="*/ 85046 h 96349"/>
                  <a:gd name="connsiteX13" fmla="*/ 11483 w 35525"/>
                  <a:gd name="connsiteY13" fmla="*/ 78826 h 96349"/>
                  <a:gd name="connsiteX14" fmla="*/ 17823 w 35525"/>
                  <a:gd name="connsiteY14" fmla="*/ 72606 h 96349"/>
                  <a:gd name="connsiteX15" fmla="*/ 24162 w 35525"/>
                  <a:gd name="connsiteY15" fmla="*/ 78826 h 96349"/>
                  <a:gd name="connsiteX16" fmla="*/ 11483 w 35525"/>
                  <a:gd name="connsiteY16" fmla="*/ 17523 h 96349"/>
                  <a:gd name="connsiteX17" fmla="*/ 17823 w 35525"/>
                  <a:gd name="connsiteY17" fmla="*/ 11303 h 96349"/>
                  <a:gd name="connsiteX18" fmla="*/ 24162 w 35525"/>
                  <a:gd name="connsiteY18" fmla="*/ 17523 h 96349"/>
                  <a:gd name="connsiteX19" fmla="*/ 17823 w 35525"/>
                  <a:gd name="connsiteY19" fmla="*/ 23743 h 96349"/>
                  <a:gd name="connsiteX20" fmla="*/ 11483 w 35525"/>
                  <a:gd name="connsiteY20" fmla="*/ 17523 h 9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525" h="96349">
                    <a:moveTo>
                      <a:pt x="12859" y="34329"/>
                    </a:moveTo>
                    <a:lnTo>
                      <a:pt x="12859" y="61960"/>
                    </a:lnTo>
                    <a:cubicBezTo>
                      <a:pt x="5442" y="64053"/>
                      <a:pt x="0" y="70812"/>
                      <a:pt x="0" y="78826"/>
                    </a:cubicBezTo>
                    <a:cubicBezTo>
                      <a:pt x="0" y="88515"/>
                      <a:pt x="7954" y="96349"/>
                      <a:pt x="17763" y="96349"/>
                    </a:cubicBezTo>
                    <a:cubicBezTo>
                      <a:pt x="27571" y="96349"/>
                      <a:pt x="35525" y="88515"/>
                      <a:pt x="35525" y="78826"/>
                    </a:cubicBezTo>
                    <a:cubicBezTo>
                      <a:pt x="35525" y="70871"/>
                      <a:pt x="30143" y="64173"/>
                      <a:pt x="22787" y="62020"/>
                    </a:cubicBezTo>
                    <a:lnTo>
                      <a:pt x="22787" y="34329"/>
                    </a:lnTo>
                    <a:cubicBezTo>
                      <a:pt x="30143" y="32176"/>
                      <a:pt x="35525" y="25478"/>
                      <a:pt x="35525" y="17523"/>
                    </a:cubicBezTo>
                    <a:cubicBezTo>
                      <a:pt x="35525" y="7835"/>
                      <a:pt x="27571" y="0"/>
                      <a:pt x="17763" y="0"/>
                    </a:cubicBezTo>
                    <a:cubicBezTo>
                      <a:pt x="7954" y="0"/>
                      <a:pt x="0" y="7835"/>
                      <a:pt x="0" y="17523"/>
                    </a:cubicBezTo>
                    <a:cubicBezTo>
                      <a:pt x="60" y="25478"/>
                      <a:pt x="5442" y="32236"/>
                      <a:pt x="12859" y="34329"/>
                    </a:cubicBezTo>
                    <a:close/>
                    <a:moveTo>
                      <a:pt x="24162" y="78826"/>
                    </a:moveTo>
                    <a:cubicBezTo>
                      <a:pt x="24162" y="82295"/>
                      <a:pt x="21351" y="85046"/>
                      <a:pt x="17823" y="85046"/>
                    </a:cubicBezTo>
                    <a:cubicBezTo>
                      <a:pt x="14354" y="85046"/>
                      <a:pt x="11483" y="82235"/>
                      <a:pt x="11483" y="78826"/>
                    </a:cubicBezTo>
                    <a:cubicBezTo>
                      <a:pt x="11483" y="75357"/>
                      <a:pt x="14294" y="72606"/>
                      <a:pt x="17823" y="72606"/>
                    </a:cubicBezTo>
                    <a:cubicBezTo>
                      <a:pt x="21291" y="72606"/>
                      <a:pt x="24162" y="75417"/>
                      <a:pt x="24162" y="78826"/>
                    </a:cubicBezTo>
                    <a:close/>
                    <a:moveTo>
                      <a:pt x="11483" y="17523"/>
                    </a:moveTo>
                    <a:cubicBezTo>
                      <a:pt x="11483" y="14055"/>
                      <a:pt x="14294" y="11303"/>
                      <a:pt x="17823" y="11303"/>
                    </a:cubicBezTo>
                    <a:cubicBezTo>
                      <a:pt x="21291" y="11303"/>
                      <a:pt x="24162" y="14114"/>
                      <a:pt x="24162" y="17523"/>
                    </a:cubicBezTo>
                    <a:cubicBezTo>
                      <a:pt x="24162" y="20933"/>
                      <a:pt x="21351" y="23743"/>
                      <a:pt x="17823" y="23743"/>
                    </a:cubicBezTo>
                    <a:cubicBezTo>
                      <a:pt x="14354" y="23743"/>
                      <a:pt x="11483" y="20933"/>
                      <a:pt x="11483" y="17523"/>
                    </a:cubicBezTo>
                    <a:close/>
                  </a:path>
                </a:pathLst>
              </a:custGeom>
              <a:grpFill/>
              <a:ln w="5978" cap="flat">
                <a:noFill/>
                <a:prstDash val="solid"/>
                <a:miter/>
              </a:ln>
            </p:spPr>
            <p:txBody>
              <a:bodyPr rtlCol="0" anchor="ctr"/>
              <a:lstStyle/>
              <a:p>
                <a:endParaRPr lang="en-GB"/>
              </a:p>
            </p:txBody>
          </p:sp>
          <p:sp>
            <p:nvSpPr>
              <p:cNvPr id="4393" name="Vrije vorm: vorm 4392">
                <a:extLst>
                  <a:ext uri="{FF2B5EF4-FFF2-40B4-BE49-F238E27FC236}">
                    <a16:creationId xmlns:a16="http://schemas.microsoft.com/office/drawing/2014/main" id="{0F5B841B-D93A-46C2-9D3F-5E1DC44CAB67}"/>
                  </a:ext>
                </a:extLst>
              </p:cNvPr>
              <p:cNvSpPr/>
              <p:nvPr/>
            </p:nvSpPr>
            <p:spPr>
              <a:xfrm>
                <a:off x="769080" y="4706150"/>
                <a:ext cx="74160" cy="151192"/>
              </a:xfrm>
              <a:custGeom>
                <a:avLst/>
                <a:gdLst>
                  <a:gd name="connsiteX0" fmla="*/ 51614 w 74160"/>
                  <a:gd name="connsiteY0" fmla="*/ 86780 h 151192"/>
                  <a:gd name="connsiteX1" fmla="*/ 51614 w 74160"/>
                  <a:gd name="connsiteY1" fmla="*/ 116804 h 151192"/>
                  <a:gd name="connsiteX2" fmla="*/ 38635 w 74160"/>
                  <a:gd name="connsiteY2" fmla="*/ 133669 h 151192"/>
                  <a:gd name="connsiteX3" fmla="*/ 56398 w 74160"/>
                  <a:gd name="connsiteY3" fmla="*/ 151193 h 151192"/>
                  <a:gd name="connsiteX4" fmla="*/ 74161 w 74160"/>
                  <a:gd name="connsiteY4" fmla="*/ 133669 h 151192"/>
                  <a:gd name="connsiteX5" fmla="*/ 61601 w 74160"/>
                  <a:gd name="connsiteY5" fmla="*/ 116864 h 151192"/>
                  <a:gd name="connsiteX6" fmla="*/ 61601 w 74160"/>
                  <a:gd name="connsiteY6" fmla="*/ 81398 h 151192"/>
                  <a:gd name="connsiteX7" fmla="*/ 23564 w 74160"/>
                  <a:gd name="connsiteY7" fmla="*/ 56757 h 151192"/>
                  <a:gd name="connsiteX8" fmla="*/ 23564 w 74160"/>
                  <a:gd name="connsiteY8" fmla="*/ 34090 h 151192"/>
                  <a:gd name="connsiteX9" fmla="*/ 35525 w 74160"/>
                  <a:gd name="connsiteY9" fmla="*/ 17523 h 151192"/>
                  <a:gd name="connsiteX10" fmla="*/ 17763 w 74160"/>
                  <a:gd name="connsiteY10" fmla="*/ 0 h 151192"/>
                  <a:gd name="connsiteX11" fmla="*/ 0 w 74160"/>
                  <a:gd name="connsiteY11" fmla="*/ 17523 h 151192"/>
                  <a:gd name="connsiteX12" fmla="*/ 13636 w 74160"/>
                  <a:gd name="connsiteY12" fmla="*/ 34569 h 151192"/>
                  <a:gd name="connsiteX13" fmla="*/ 13636 w 74160"/>
                  <a:gd name="connsiteY13" fmla="*/ 62080 h 151192"/>
                  <a:gd name="connsiteX14" fmla="*/ 51614 w 74160"/>
                  <a:gd name="connsiteY14" fmla="*/ 86780 h 151192"/>
                  <a:gd name="connsiteX15" fmla="*/ 11423 w 74160"/>
                  <a:gd name="connsiteY15" fmla="*/ 17583 h 151192"/>
                  <a:gd name="connsiteX16" fmla="*/ 17763 w 74160"/>
                  <a:gd name="connsiteY16" fmla="*/ 11364 h 151192"/>
                  <a:gd name="connsiteX17" fmla="*/ 24102 w 74160"/>
                  <a:gd name="connsiteY17" fmla="*/ 17583 h 151192"/>
                  <a:gd name="connsiteX18" fmla="*/ 17763 w 74160"/>
                  <a:gd name="connsiteY18" fmla="*/ 23803 h 151192"/>
                  <a:gd name="connsiteX19" fmla="*/ 11423 w 74160"/>
                  <a:gd name="connsiteY19" fmla="*/ 17583 h 151192"/>
                  <a:gd name="connsiteX20" fmla="*/ 50059 w 74160"/>
                  <a:gd name="connsiteY20" fmla="*/ 133669 h 151192"/>
                  <a:gd name="connsiteX21" fmla="*/ 56398 w 74160"/>
                  <a:gd name="connsiteY21" fmla="*/ 127449 h 151192"/>
                  <a:gd name="connsiteX22" fmla="*/ 62738 w 74160"/>
                  <a:gd name="connsiteY22" fmla="*/ 133669 h 151192"/>
                  <a:gd name="connsiteX23" fmla="*/ 56398 w 74160"/>
                  <a:gd name="connsiteY23" fmla="*/ 139889 h 151192"/>
                  <a:gd name="connsiteX24" fmla="*/ 50059 w 74160"/>
                  <a:gd name="connsiteY24" fmla="*/ 133669 h 151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160" h="151192">
                    <a:moveTo>
                      <a:pt x="51614" y="86780"/>
                    </a:moveTo>
                    <a:lnTo>
                      <a:pt x="51614" y="116804"/>
                    </a:lnTo>
                    <a:cubicBezTo>
                      <a:pt x="44138" y="118837"/>
                      <a:pt x="38635" y="125655"/>
                      <a:pt x="38635" y="133669"/>
                    </a:cubicBezTo>
                    <a:cubicBezTo>
                      <a:pt x="38635" y="143358"/>
                      <a:pt x="46590" y="151193"/>
                      <a:pt x="56398" y="151193"/>
                    </a:cubicBezTo>
                    <a:cubicBezTo>
                      <a:pt x="66207" y="151193"/>
                      <a:pt x="74161" y="143358"/>
                      <a:pt x="74161" y="133669"/>
                    </a:cubicBezTo>
                    <a:cubicBezTo>
                      <a:pt x="74161" y="125775"/>
                      <a:pt x="68898" y="119076"/>
                      <a:pt x="61601" y="116864"/>
                    </a:cubicBezTo>
                    <a:lnTo>
                      <a:pt x="61601" y="81398"/>
                    </a:lnTo>
                    <a:lnTo>
                      <a:pt x="23564" y="56757"/>
                    </a:lnTo>
                    <a:lnTo>
                      <a:pt x="23564" y="34090"/>
                    </a:lnTo>
                    <a:cubicBezTo>
                      <a:pt x="30502" y="31698"/>
                      <a:pt x="35525" y="25179"/>
                      <a:pt x="35525" y="17523"/>
                    </a:cubicBezTo>
                    <a:cubicBezTo>
                      <a:pt x="35525" y="7835"/>
                      <a:pt x="27571" y="0"/>
                      <a:pt x="17763" y="0"/>
                    </a:cubicBezTo>
                    <a:cubicBezTo>
                      <a:pt x="7954" y="0"/>
                      <a:pt x="0" y="7835"/>
                      <a:pt x="0" y="17523"/>
                    </a:cubicBezTo>
                    <a:cubicBezTo>
                      <a:pt x="0" y="25777"/>
                      <a:pt x="5801" y="32715"/>
                      <a:pt x="13636" y="34569"/>
                    </a:cubicBezTo>
                    <a:lnTo>
                      <a:pt x="13636" y="62080"/>
                    </a:lnTo>
                    <a:lnTo>
                      <a:pt x="51614" y="86780"/>
                    </a:lnTo>
                    <a:close/>
                    <a:moveTo>
                      <a:pt x="11423" y="17583"/>
                    </a:moveTo>
                    <a:cubicBezTo>
                      <a:pt x="11423" y="14114"/>
                      <a:pt x="14234" y="11364"/>
                      <a:pt x="17763" y="11364"/>
                    </a:cubicBezTo>
                    <a:cubicBezTo>
                      <a:pt x="21232" y="11364"/>
                      <a:pt x="24102" y="14174"/>
                      <a:pt x="24102" y="17583"/>
                    </a:cubicBezTo>
                    <a:cubicBezTo>
                      <a:pt x="24102" y="20992"/>
                      <a:pt x="21291" y="23803"/>
                      <a:pt x="17763" y="23803"/>
                    </a:cubicBezTo>
                    <a:cubicBezTo>
                      <a:pt x="14234" y="23803"/>
                      <a:pt x="11423" y="20992"/>
                      <a:pt x="11423" y="17583"/>
                    </a:cubicBezTo>
                    <a:close/>
                    <a:moveTo>
                      <a:pt x="50059" y="133669"/>
                    </a:moveTo>
                    <a:cubicBezTo>
                      <a:pt x="50059" y="130200"/>
                      <a:pt x="52870" y="127449"/>
                      <a:pt x="56398" y="127449"/>
                    </a:cubicBezTo>
                    <a:cubicBezTo>
                      <a:pt x="59867" y="127449"/>
                      <a:pt x="62738" y="130260"/>
                      <a:pt x="62738" y="133669"/>
                    </a:cubicBezTo>
                    <a:cubicBezTo>
                      <a:pt x="62738" y="137078"/>
                      <a:pt x="59927" y="139889"/>
                      <a:pt x="56398" y="139889"/>
                    </a:cubicBezTo>
                    <a:cubicBezTo>
                      <a:pt x="52929" y="139889"/>
                      <a:pt x="50059" y="137078"/>
                      <a:pt x="50059" y="133669"/>
                    </a:cubicBezTo>
                    <a:close/>
                  </a:path>
                </a:pathLst>
              </a:custGeom>
              <a:grpFill/>
              <a:ln w="5978" cap="flat">
                <a:noFill/>
                <a:prstDash val="solid"/>
                <a:miter/>
              </a:ln>
            </p:spPr>
            <p:txBody>
              <a:bodyPr rtlCol="0" anchor="ctr"/>
              <a:lstStyle/>
              <a:p>
                <a:endParaRPr lang="en-GB"/>
              </a:p>
            </p:txBody>
          </p:sp>
        </p:grpSp>
        <p:sp>
          <p:nvSpPr>
            <p:cNvPr id="4389" name="Vrije vorm: vorm 4388">
              <a:extLst>
                <a:ext uri="{FF2B5EF4-FFF2-40B4-BE49-F238E27FC236}">
                  <a16:creationId xmlns:a16="http://schemas.microsoft.com/office/drawing/2014/main" id="{2E3D1371-33BF-45F3-A5D5-F58F382154EE}"/>
                </a:ext>
              </a:extLst>
            </p:cNvPr>
            <p:cNvSpPr/>
            <p:nvPr/>
          </p:nvSpPr>
          <p:spPr>
            <a:xfrm>
              <a:off x="877630" y="4753577"/>
              <a:ext cx="35525" cy="35047"/>
            </a:xfrm>
            <a:custGeom>
              <a:avLst/>
              <a:gdLst>
                <a:gd name="connsiteX0" fmla="*/ 17763 w 35525"/>
                <a:gd name="connsiteY0" fmla="*/ 0 h 35047"/>
                <a:gd name="connsiteX1" fmla="*/ 0 w 35525"/>
                <a:gd name="connsiteY1" fmla="*/ 17523 h 35047"/>
                <a:gd name="connsiteX2" fmla="*/ 17763 w 35525"/>
                <a:gd name="connsiteY2" fmla="*/ 35047 h 35047"/>
                <a:gd name="connsiteX3" fmla="*/ 35525 w 35525"/>
                <a:gd name="connsiteY3" fmla="*/ 17523 h 35047"/>
                <a:gd name="connsiteX4" fmla="*/ 17763 w 35525"/>
                <a:gd name="connsiteY4" fmla="*/ 0 h 35047"/>
                <a:gd name="connsiteX5" fmla="*/ 17763 w 35525"/>
                <a:gd name="connsiteY5" fmla="*/ 23804 h 35047"/>
                <a:gd name="connsiteX6" fmla="*/ 11423 w 35525"/>
                <a:gd name="connsiteY6" fmla="*/ 17583 h 35047"/>
                <a:gd name="connsiteX7" fmla="*/ 17763 w 35525"/>
                <a:gd name="connsiteY7" fmla="*/ 11364 h 35047"/>
                <a:gd name="connsiteX8" fmla="*/ 24102 w 35525"/>
                <a:gd name="connsiteY8" fmla="*/ 17583 h 35047"/>
                <a:gd name="connsiteX9" fmla="*/ 17763 w 35525"/>
                <a:gd name="connsiteY9" fmla="*/ 23804 h 3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5" h="35047">
                  <a:moveTo>
                    <a:pt x="17763" y="0"/>
                  </a:moveTo>
                  <a:cubicBezTo>
                    <a:pt x="7954" y="0"/>
                    <a:pt x="0" y="7835"/>
                    <a:pt x="0" y="17523"/>
                  </a:cubicBezTo>
                  <a:cubicBezTo>
                    <a:pt x="0" y="27212"/>
                    <a:pt x="7954" y="35047"/>
                    <a:pt x="17763" y="35047"/>
                  </a:cubicBezTo>
                  <a:cubicBezTo>
                    <a:pt x="27571" y="35047"/>
                    <a:pt x="35525" y="27212"/>
                    <a:pt x="35525" y="17523"/>
                  </a:cubicBezTo>
                  <a:cubicBezTo>
                    <a:pt x="35525" y="7895"/>
                    <a:pt x="27571" y="0"/>
                    <a:pt x="17763" y="0"/>
                  </a:cubicBezTo>
                  <a:close/>
                  <a:moveTo>
                    <a:pt x="17763" y="23804"/>
                  </a:moveTo>
                  <a:cubicBezTo>
                    <a:pt x="14294" y="23804"/>
                    <a:pt x="11423" y="20992"/>
                    <a:pt x="11423" y="17583"/>
                  </a:cubicBezTo>
                  <a:cubicBezTo>
                    <a:pt x="11423" y="14115"/>
                    <a:pt x="14234" y="11364"/>
                    <a:pt x="17763" y="11364"/>
                  </a:cubicBezTo>
                  <a:cubicBezTo>
                    <a:pt x="21232" y="11364"/>
                    <a:pt x="24102" y="14174"/>
                    <a:pt x="24102" y="17583"/>
                  </a:cubicBezTo>
                  <a:cubicBezTo>
                    <a:pt x="24043" y="20992"/>
                    <a:pt x="21232" y="23804"/>
                    <a:pt x="17763" y="23804"/>
                  </a:cubicBezTo>
                  <a:close/>
                </a:path>
              </a:pathLst>
            </a:custGeom>
            <a:grpFill/>
            <a:ln w="5978" cap="flat">
              <a:noFill/>
              <a:prstDash val="solid"/>
              <a:miter/>
            </a:ln>
          </p:spPr>
          <p:txBody>
            <a:bodyPr rtlCol="0" anchor="ctr"/>
            <a:lstStyle/>
            <a:p>
              <a:endParaRPr lang="en-GB"/>
            </a:p>
          </p:txBody>
        </p:sp>
      </p:grpSp>
      <p:grpSp>
        <p:nvGrpSpPr>
          <p:cNvPr id="4394" name="ICOON2_BLAUW">
            <a:extLst>
              <a:ext uri="{FF2B5EF4-FFF2-40B4-BE49-F238E27FC236}">
                <a16:creationId xmlns:a16="http://schemas.microsoft.com/office/drawing/2014/main" id="{FC30435C-3E5C-47ED-9F76-B53F276FB9B1}"/>
              </a:ext>
            </a:extLst>
          </p:cNvPr>
          <p:cNvGrpSpPr/>
          <p:nvPr/>
        </p:nvGrpSpPr>
        <p:grpSpPr>
          <a:xfrm>
            <a:off x="9103151" y="4650353"/>
            <a:ext cx="278701" cy="278701"/>
            <a:chOff x="8959679" y="4623855"/>
            <a:chExt cx="278701" cy="278701"/>
          </a:xfrm>
          <a:solidFill>
            <a:schemeClr val="tx2"/>
          </a:solidFill>
          <a:effectLst>
            <a:outerShdw blurRad="190500" algn="ctr" rotWithShape="0">
              <a:prstClr val="black">
                <a:alpha val="50000"/>
              </a:prstClr>
            </a:outerShdw>
          </a:effectLst>
        </p:grpSpPr>
        <p:sp>
          <p:nvSpPr>
            <p:cNvPr id="4395" name="Vrije vorm: vorm 4394">
              <a:extLst>
                <a:ext uri="{FF2B5EF4-FFF2-40B4-BE49-F238E27FC236}">
                  <a16:creationId xmlns:a16="http://schemas.microsoft.com/office/drawing/2014/main" id="{922093D8-881F-430F-9EBA-2625AF70E042}"/>
                </a:ext>
              </a:extLst>
            </p:cNvPr>
            <p:cNvSpPr/>
            <p:nvPr/>
          </p:nvSpPr>
          <p:spPr>
            <a:xfrm>
              <a:off x="8959679" y="4623855"/>
              <a:ext cx="278701" cy="278701"/>
            </a:xfrm>
            <a:custGeom>
              <a:avLst/>
              <a:gdLst>
                <a:gd name="connsiteX0" fmla="*/ 139350 w 278701"/>
                <a:gd name="connsiteY0" fmla="*/ 25299 h 278701"/>
                <a:gd name="connsiteX1" fmla="*/ 253403 w 278701"/>
                <a:gd name="connsiteY1" fmla="*/ 139351 h 278701"/>
                <a:gd name="connsiteX2" fmla="*/ 139350 w 278701"/>
                <a:gd name="connsiteY2" fmla="*/ 253403 h 278701"/>
                <a:gd name="connsiteX3" fmla="*/ 25298 w 278701"/>
                <a:gd name="connsiteY3" fmla="*/ 139351 h 278701"/>
                <a:gd name="connsiteX4" fmla="*/ 139350 w 278701"/>
                <a:gd name="connsiteY4" fmla="*/ 25299 h 278701"/>
                <a:gd name="connsiteX5" fmla="*/ 139350 w 278701"/>
                <a:gd name="connsiteY5" fmla="*/ 0 h 278701"/>
                <a:gd name="connsiteX6" fmla="*/ 0 w 278701"/>
                <a:gd name="connsiteY6" fmla="*/ 139351 h 278701"/>
                <a:gd name="connsiteX7" fmla="*/ 139350 w 278701"/>
                <a:gd name="connsiteY7" fmla="*/ 278702 h 278701"/>
                <a:gd name="connsiteX8" fmla="*/ 278702 w 278701"/>
                <a:gd name="connsiteY8" fmla="*/ 139351 h 278701"/>
                <a:gd name="connsiteX9" fmla="*/ 139350 w 278701"/>
                <a:gd name="connsiteY9" fmla="*/ 0 h 278701"/>
                <a:gd name="connsiteX10" fmla="*/ 139350 w 278701"/>
                <a:gd name="connsiteY10" fmla="*/ 0 h 278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8701" h="278701">
                  <a:moveTo>
                    <a:pt x="139350" y="25299"/>
                  </a:moveTo>
                  <a:cubicBezTo>
                    <a:pt x="202208" y="25299"/>
                    <a:pt x="253403" y="76434"/>
                    <a:pt x="253403" y="139351"/>
                  </a:cubicBezTo>
                  <a:cubicBezTo>
                    <a:pt x="253403" y="202208"/>
                    <a:pt x="202268" y="253403"/>
                    <a:pt x="139350" y="253403"/>
                  </a:cubicBezTo>
                  <a:cubicBezTo>
                    <a:pt x="76494" y="253403"/>
                    <a:pt x="25298" y="202268"/>
                    <a:pt x="25298" y="139351"/>
                  </a:cubicBezTo>
                  <a:cubicBezTo>
                    <a:pt x="25298" y="76434"/>
                    <a:pt x="76494" y="25299"/>
                    <a:pt x="139350" y="25299"/>
                  </a:cubicBezTo>
                  <a:moveTo>
                    <a:pt x="139350" y="0"/>
                  </a:moveTo>
                  <a:cubicBezTo>
                    <a:pt x="62379" y="0"/>
                    <a:pt x="0" y="62379"/>
                    <a:pt x="0" y="139351"/>
                  </a:cubicBezTo>
                  <a:cubicBezTo>
                    <a:pt x="0" y="216323"/>
                    <a:pt x="62379" y="278702"/>
                    <a:pt x="139350" y="278702"/>
                  </a:cubicBezTo>
                  <a:cubicBezTo>
                    <a:pt x="216323" y="278702"/>
                    <a:pt x="278702" y="216323"/>
                    <a:pt x="278702" y="139351"/>
                  </a:cubicBezTo>
                  <a:cubicBezTo>
                    <a:pt x="278702" y="62379"/>
                    <a:pt x="216323" y="0"/>
                    <a:pt x="139350" y="0"/>
                  </a:cubicBezTo>
                  <a:lnTo>
                    <a:pt x="139350" y="0"/>
                  </a:lnTo>
                  <a:close/>
                </a:path>
              </a:pathLst>
            </a:custGeom>
            <a:grpFill/>
            <a:ln w="5978" cap="flat">
              <a:noFill/>
              <a:prstDash val="solid"/>
              <a:miter/>
            </a:ln>
          </p:spPr>
          <p:txBody>
            <a:bodyPr rtlCol="0" anchor="ctr"/>
            <a:lstStyle/>
            <a:p>
              <a:endParaRPr lang="en-GB"/>
            </a:p>
          </p:txBody>
        </p:sp>
        <p:sp>
          <p:nvSpPr>
            <p:cNvPr id="4396" name="Vrije vorm: vorm 4395">
              <a:extLst>
                <a:ext uri="{FF2B5EF4-FFF2-40B4-BE49-F238E27FC236}">
                  <a16:creationId xmlns:a16="http://schemas.microsoft.com/office/drawing/2014/main" id="{636A2305-6978-4197-BC07-2B5C8B79C435}"/>
                </a:ext>
              </a:extLst>
            </p:cNvPr>
            <p:cNvSpPr/>
            <p:nvPr/>
          </p:nvSpPr>
          <p:spPr>
            <a:xfrm>
              <a:off x="9028059" y="4687789"/>
              <a:ext cx="142081" cy="150833"/>
            </a:xfrm>
            <a:custGeom>
              <a:avLst/>
              <a:gdLst>
                <a:gd name="connsiteX0" fmla="*/ 79822 w 142081"/>
                <a:gd name="connsiteY0" fmla="*/ 105081 h 150833"/>
                <a:gd name="connsiteX1" fmla="*/ 64691 w 142081"/>
                <a:gd name="connsiteY1" fmla="*/ 105739 h 150833"/>
                <a:gd name="connsiteX2" fmla="*/ 9668 w 142081"/>
                <a:gd name="connsiteY2" fmla="*/ 49281 h 150833"/>
                <a:gd name="connsiteX3" fmla="*/ 40469 w 142081"/>
                <a:gd name="connsiteY3" fmla="*/ 49281 h 150833"/>
                <a:gd name="connsiteX4" fmla="*/ 71270 w 142081"/>
                <a:gd name="connsiteY4" fmla="*/ 80859 h 150833"/>
                <a:gd name="connsiteX5" fmla="*/ 128744 w 142081"/>
                <a:gd name="connsiteY5" fmla="*/ 11124 h 150833"/>
                <a:gd name="connsiteX6" fmla="*/ 71090 w 142081"/>
                <a:gd name="connsiteY6" fmla="*/ 0 h 150833"/>
                <a:gd name="connsiteX7" fmla="*/ 99 w 142081"/>
                <a:gd name="connsiteY7" fmla="*/ 23026 h 150833"/>
                <a:gd name="connsiteX8" fmla="*/ 4824 w 142081"/>
                <a:gd name="connsiteY8" fmla="*/ 83790 h 150833"/>
                <a:gd name="connsiteX9" fmla="*/ 70970 w 142081"/>
                <a:gd name="connsiteY9" fmla="*/ 150834 h 150833"/>
                <a:gd name="connsiteX10" fmla="*/ 137237 w 142081"/>
                <a:gd name="connsiteY10" fmla="*/ 83790 h 150833"/>
                <a:gd name="connsiteX11" fmla="*/ 142081 w 142081"/>
                <a:gd name="connsiteY11" fmla="*/ 29605 h 150833"/>
                <a:gd name="connsiteX12" fmla="*/ 79822 w 142081"/>
                <a:gd name="connsiteY12" fmla="*/ 105081 h 15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081" h="150833">
                  <a:moveTo>
                    <a:pt x="79822" y="105081"/>
                  </a:moveTo>
                  <a:cubicBezTo>
                    <a:pt x="75935" y="109806"/>
                    <a:pt x="68997" y="110105"/>
                    <a:pt x="64691" y="105739"/>
                  </a:cubicBezTo>
                  <a:lnTo>
                    <a:pt x="9668" y="49281"/>
                  </a:lnTo>
                  <a:lnTo>
                    <a:pt x="40469" y="49281"/>
                  </a:lnTo>
                  <a:lnTo>
                    <a:pt x="71270" y="80859"/>
                  </a:lnTo>
                  <a:lnTo>
                    <a:pt x="128744" y="11124"/>
                  </a:lnTo>
                  <a:cubicBezTo>
                    <a:pt x="118577" y="5503"/>
                    <a:pt x="100994" y="60"/>
                    <a:pt x="71090" y="0"/>
                  </a:cubicBezTo>
                  <a:cubicBezTo>
                    <a:pt x="9549" y="0"/>
                    <a:pt x="99" y="23026"/>
                    <a:pt x="99" y="23026"/>
                  </a:cubicBezTo>
                  <a:cubicBezTo>
                    <a:pt x="99" y="23026"/>
                    <a:pt x="-1097" y="56578"/>
                    <a:pt x="4824" y="83790"/>
                  </a:cubicBezTo>
                  <a:cubicBezTo>
                    <a:pt x="10745" y="111002"/>
                    <a:pt x="48484" y="150714"/>
                    <a:pt x="70970" y="150834"/>
                  </a:cubicBezTo>
                  <a:cubicBezTo>
                    <a:pt x="93578" y="150714"/>
                    <a:pt x="131316" y="111002"/>
                    <a:pt x="137237" y="83790"/>
                  </a:cubicBezTo>
                  <a:cubicBezTo>
                    <a:pt x="141543" y="63874"/>
                    <a:pt x="142081" y="40669"/>
                    <a:pt x="142081" y="29605"/>
                  </a:cubicBezTo>
                  <a:lnTo>
                    <a:pt x="79822" y="105081"/>
                  </a:lnTo>
                  <a:close/>
                </a:path>
              </a:pathLst>
            </a:custGeom>
            <a:grpFill/>
            <a:ln w="5978" cap="flat">
              <a:noFill/>
              <a:prstDash val="solid"/>
              <a:miter/>
            </a:ln>
          </p:spPr>
          <p:txBody>
            <a:bodyPr rtlCol="0" anchor="ctr"/>
            <a:lstStyle/>
            <a:p>
              <a:endParaRPr lang="en-GB"/>
            </a:p>
          </p:txBody>
        </p:sp>
      </p:grpSp>
      <p:grpSp>
        <p:nvGrpSpPr>
          <p:cNvPr id="4397" name="ICOON1_GROEN">
            <a:extLst>
              <a:ext uri="{FF2B5EF4-FFF2-40B4-BE49-F238E27FC236}">
                <a16:creationId xmlns:a16="http://schemas.microsoft.com/office/drawing/2014/main" id="{5B7F5124-4F02-4BB9-BAB1-87B43259F0BA}"/>
              </a:ext>
            </a:extLst>
          </p:cNvPr>
          <p:cNvGrpSpPr/>
          <p:nvPr/>
        </p:nvGrpSpPr>
        <p:grpSpPr>
          <a:xfrm>
            <a:off x="9093626" y="1466745"/>
            <a:ext cx="287074" cy="287074"/>
            <a:chOff x="8946402" y="1045231"/>
            <a:chExt cx="287074" cy="287074"/>
          </a:xfrm>
          <a:solidFill>
            <a:schemeClr val="accent6"/>
          </a:solidFill>
          <a:effectLst>
            <a:outerShdw blurRad="190500" algn="ctr" rotWithShape="0">
              <a:prstClr val="black">
                <a:alpha val="50000"/>
              </a:prstClr>
            </a:outerShdw>
          </a:effectLst>
        </p:grpSpPr>
        <p:sp>
          <p:nvSpPr>
            <p:cNvPr id="4398" name="Vrije vorm: vorm 4397">
              <a:extLst>
                <a:ext uri="{FF2B5EF4-FFF2-40B4-BE49-F238E27FC236}">
                  <a16:creationId xmlns:a16="http://schemas.microsoft.com/office/drawing/2014/main" id="{A93AF7EB-4693-4427-BDF4-42C9C6FF92F0}"/>
                </a:ext>
              </a:extLst>
            </p:cNvPr>
            <p:cNvSpPr/>
            <p:nvPr/>
          </p:nvSpPr>
          <p:spPr>
            <a:xfrm>
              <a:off x="8946402" y="1045231"/>
              <a:ext cx="287074" cy="287074"/>
            </a:xfrm>
            <a:custGeom>
              <a:avLst/>
              <a:gdLst>
                <a:gd name="connsiteX0" fmla="*/ 143537 w 287074"/>
                <a:gd name="connsiteY0" fmla="*/ 26076 h 287074"/>
                <a:gd name="connsiteX1" fmla="*/ 260999 w 287074"/>
                <a:gd name="connsiteY1" fmla="*/ 143537 h 287074"/>
                <a:gd name="connsiteX2" fmla="*/ 143537 w 287074"/>
                <a:gd name="connsiteY2" fmla="*/ 260999 h 287074"/>
                <a:gd name="connsiteX3" fmla="*/ 26076 w 287074"/>
                <a:gd name="connsiteY3" fmla="*/ 143537 h 287074"/>
                <a:gd name="connsiteX4" fmla="*/ 143537 w 287074"/>
                <a:gd name="connsiteY4" fmla="*/ 26076 h 287074"/>
                <a:gd name="connsiteX5" fmla="*/ 143537 w 287074"/>
                <a:gd name="connsiteY5" fmla="*/ 0 h 287074"/>
                <a:gd name="connsiteX6" fmla="*/ 0 w 287074"/>
                <a:gd name="connsiteY6" fmla="*/ 143537 h 287074"/>
                <a:gd name="connsiteX7" fmla="*/ 143537 w 287074"/>
                <a:gd name="connsiteY7" fmla="*/ 287075 h 287074"/>
                <a:gd name="connsiteX8" fmla="*/ 287075 w 287074"/>
                <a:gd name="connsiteY8" fmla="*/ 143537 h 287074"/>
                <a:gd name="connsiteX9" fmla="*/ 143537 w 287074"/>
                <a:gd name="connsiteY9" fmla="*/ 0 h 287074"/>
                <a:gd name="connsiteX10" fmla="*/ 143537 w 287074"/>
                <a:gd name="connsiteY10" fmla="*/ 0 h 28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074" h="287074">
                  <a:moveTo>
                    <a:pt x="143537" y="26076"/>
                  </a:moveTo>
                  <a:cubicBezTo>
                    <a:pt x="208308" y="26076"/>
                    <a:pt x="260999" y="78766"/>
                    <a:pt x="260999" y="143537"/>
                  </a:cubicBezTo>
                  <a:cubicBezTo>
                    <a:pt x="260999" y="208309"/>
                    <a:pt x="208308" y="260999"/>
                    <a:pt x="143537" y="260999"/>
                  </a:cubicBezTo>
                  <a:cubicBezTo>
                    <a:pt x="78766" y="260999"/>
                    <a:pt x="26076" y="208309"/>
                    <a:pt x="26076" y="143537"/>
                  </a:cubicBezTo>
                  <a:cubicBezTo>
                    <a:pt x="26076" y="78766"/>
                    <a:pt x="78766" y="26076"/>
                    <a:pt x="143537" y="26076"/>
                  </a:cubicBezTo>
                  <a:moveTo>
                    <a:pt x="143537" y="0"/>
                  </a:moveTo>
                  <a:cubicBezTo>
                    <a:pt x="64293" y="0"/>
                    <a:pt x="0" y="64293"/>
                    <a:pt x="0" y="143537"/>
                  </a:cubicBezTo>
                  <a:cubicBezTo>
                    <a:pt x="0" y="222782"/>
                    <a:pt x="64293" y="287075"/>
                    <a:pt x="143537" y="287075"/>
                  </a:cubicBezTo>
                  <a:cubicBezTo>
                    <a:pt x="222782" y="287075"/>
                    <a:pt x="287075" y="222782"/>
                    <a:pt x="287075" y="143537"/>
                  </a:cubicBezTo>
                  <a:cubicBezTo>
                    <a:pt x="287075" y="64293"/>
                    <a:pt x="222842" y="0"/>
                    <a:pt x="143537" y="0"/>
                  </a:cubicBezTo>
                  <a:lnTo>
                    <a:pt x="143537" y="0"/>
                  </a:lnTo>
                  <a:close/>
                </a:path>
              </a:pathLst>
            </a:custGeom>
            <a:grpFill/>
            <a:ln w="5978" cap="flat">
              <a:noFill/>
              <a:prstDash val="solid"/>
              <a:miter/>
            </a:ln>
          </p:spPr>
          <p:txBody>
            <a:bodyPr rtlCol="0" anchor="ctr"/>
            <a:lstStyle/>
            <a:p>
              <a:endParaRPr lang="en-GB"/>
            </a:p>
          </p:txBody>
        </p:sp>
        <p:sp>
          <p:nvSpPr>
            <p:cNvPr id="4399" name="Vrije vorm: vorm 4398">
              <a:extLst>
                <a:ext uri="{FF2B5EF4-FFF2-40B4-BE49-F238E27FC236}">
                  <a16:creationId xmlns:a16="http://schemas.microsoft.com/office/drawing/2014/main" id="{B4F71E18-FE8F-4C4B-B0D0-C21ABAC569AE}"/>
                </a:ext>
              </a:extLst>
            </p:cNvPr>
            <p:cNvSpPr/>
            <p:nvPr/>
          </p:nvSpPr>
          <p:spPr>
            <a:xfrm>
              <a:off x="9019307" y="1110002"/>
              <a:ext cx="141982" cy="71050"/>
            </a:xfrm>
            <a:custGeom>
              <a:avLst/>
              <a:gdLst>
                <a:gd name="connsiteX0" fmla="*/ 70991 w 141982"/>
                <a:gd name="connsiteY0" fmla="*/ 71051 h 71050"/>
                <a:gd name="connsiteX1" fmla="*/ 141982 w 141982"/>
                <a:gd name="connsiteY1" fmla="*/ 47367 h 71050"/>
                <a:gd name="connsiteX2" fmla="*/ 141982 w 141982"/>
                <a:gd name="connsiteY2" fmla="*/ 23684 h 71050"/>
                <a:gd name="connsiteX3" fmla="*/ 70991 w 141982"/>
                <a:gd name="connsiteY3" fmla="*/ 0 h 71050"/>
                <a:gd name="connsiteX4" fmla="*/ 0 w 141982"/>
                <a:gd name="connsiteY4" fmla="*/ 23684 h 71050"/>
                <a:gd name="connsiteX5" fmla="*/ 0 w 141982"/>
                <a:gd name="connsiteY5" fmla="*/ 47367 h 71050"/>
                <a:gd name="connsiteX6" fmla="*/ 70991 w 141982"/>
                <a:gd name="connsiteY6" fmla="*/ 71051 h 71050"/>
                <a:gd name="connsiteX7" fmla="*/ 70991 w 141982"/>
                <a:gd name="connsiteY7" fmla="*/ 9988 h 71050"/>
                <a:gd name="connsiteX8" fmla="*/ 125715 w 141982"/>
                <a:gd name="connsiteY8" fmla="*/ 23743 h 71050"/>
                <a:gd name="connsiteX9" fmla="*/ 70991 w 141982"/>
                <a:gd name="connsiteY9" fmla="*/ 37499 h 71050"/>
                <a:gd name="connsiteX10" fmla="*/ 16267 w 141982"/>
                <a:gd name="connsiteY10" fmla="*/ 23743 h 71050"/>
                <a:gd name="connsiteX11" fmla="*/ 70991 w 141982"/>
                <a:gd name="connsiteY11" fmla="*/ 9988 h 71050"/>
                <a:gd name="connsiteX12" fmla="*/ 70991 w 141982"/>
                <a:gd name="connsiteY12" fmla="*/ 9988 h 7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982" h="71050">
                  <a:moveTo>
                    <a:pt x="70991" y="71051"/>
                  </a:moveTo>
                  <a:cubicBezTo>
                    <a:pt x="110045" y="71051"/>
                    <a:pt x="141982" y="60465"/>
                    <a:pt x="141982" y="47367"/>
                  </a:cubicBezTo>
                  <a:lnTo>
                    <a:pt x="141982" y="23684"/>
                  </a:lnTo>
                  <a:cubicBezTo>
                    <a:pt x="141982" y="10586"/>
                    <a:pt x="110285" y="0"/>
                    <a:pt x="70991" y="0"/>
                  </a:cubicBezTo>
                  <a:cubicBezTo>
                    <a:pt x="31698" y="0"/>
                    <a:pt x="0" y="10586"/>
                    <a:pt x="0" y="23684"/>
                  </a:cubicBezTo>
                  <a:lnTo>
                    <a:pt x="0" y="47367"/>
                  </a:lnTo>
                  <a:cubicBezTo>
                    <a:pt x="0" y="60465"/>
                    <a:pt x="31698" y="71051"/>
                    <a:pt x="70991" y="71051"/>
                  </a:cubicBezTo>
                  <a:close/>
                  <a:moveTo>
                    <a:pt x="70991" y="9988"/>
                  </a:moveTo>
                  <a:cubicBezTo>
                    <a:pt x="101194" y="9988"/>
                    <a:pt x="125715" y="16088"/>
                    <a:pt x="125715" y="23743"/>
                  </a:cubicBezTo>
                  <a:cubicBezTo>
                    <a:pt x="125715" y="31399"/>
                    <a:pt x="101194" y="37499"/>
                    <a:pt x="70991" y="37499"/>
                  </a:cubicBezTo>
                  <a:cubicBezTo>
                    <a:pt x="40789" y="37499"/>
                    <a:pt x="16267" y="31399"/>
                    <a:pt x="16267" y="23743"/>
                  </a:cubicBezTo>
                  <a:cubicBezTo>
                    <a:pt x="16267" y="16088"/>
                    <a:pt x="40789" y="10167"/>
                    <a:pt x="70991" y="9988"/>
                  </a:cubicBezTo>
                  <a:lnTo>
                    <a:pt x="70991" y="9988"/>
                  </a:lnTo>
                  <a:close/>
                </a:path>
              </a:pathLst>
            </a:custGeom>
            <a:grpFill/>
            <a:ln w="5978" cap="flat">
              <a:noFill/>
              <a:prstDash val="solid"/>
              <a:miter/>
            </a:ln>
          </p:spPr>
          <p:txBody>
            <a:bodyPr rtlCol="0" anchor="ctr"/>
            <a:lstStyle/>
            <a:p>
              <a:endParaRPr lang="en-GB"/>
            </a:p>
          </p:txBody>
        </p:sp>
        <p:sp>
          <p:nvSpPr>
            <p:cNvPr id="4400" name="Vrije vorm: vorm 4399">
              <a:extLst>
                <a:ext uri="{FF2B5EF4-FFF2-40B4-BE49-F238E27FC236}">
                  <a16:creationId xmlns:a16="http://schemas.microsoft.com/office/drawing/2014/main" id="{3CC39950-BD28-4B0E-B437-F0052DC8F33B}"/>
                </a:ext>
              </a:extLst>
            </p:cNvPr>
            <p:cNvSpPr/>
            <p:nvPr/>
          </p:nvSpPr>
          <p:spPr>
            <a:xfrm>
              <a:off x="9019128" y="1167716"/>
              <a:ext cx="159906" cy="100398"/>
            </a:xfrm>
            <a:custGeom>
              <a:avLst/>
              <a:gdLst>
                <a:gd name="connsiteX0" fmla="*/ 141982 w 159906"/>
                <a:gd name="connsiteY0" fmla="*/ 24700 h 100398"/>
                <a:gd name="connsiteX1" fmla="*/ 141982 w 159906"/>
                <a:gd name="connsiteY1" fmla="*/ 5682 h 100398"/>
                <a:gd name="connsiteX2" fmla="*/ 140906 w 159906"/>
                <a:gd name="connsiteY2" fmla="*/ 2093 h 100398"/>
                <a:gd name="connsiteX3" fmla="*/ 139411 w 159906"/>
                <a:gd name="connsiteY3" fmla="*/ 0 h 100398"/>
                <a:gd name="connsiteX4" fmla="*/ 70991 w 159906"/>
                <a:gd name="connsiteY4" fmla="*/ 17763 h 100398"/>
                <a:gd name="connsiteX5" fmla="*/ 2572 w 159906"/>
                <a:gd name="connsiteY5" fmla="*/ 0 h 100398"/>
                <a:gd name="connsiteX6" fmla="*/ 1077 w 159906"/>
                <a:gd name="connsiteY6" fmla="*/ 2332 h 100398"/>
                <a:gd name="connsiteX7" fmla="*/ 0 w 159906"/>
                <a:gd name="connsiteY7" fmla="*/ 5921 h 100398"/>
                <a:gd name="connsiteX8" fmla="*/ 0 w 159906"/>
                <a:gd name="connsiteY8" fmla="*/ 29605 h 100398"/>
                <a:gd name="connsiteX9" fmla="*/ 70991 w 159906"/>
                <a:gd name="connsiteY9" fmla="*/ 53288 h 100398"/>
                <a:gd name="connsiteX10" fmla="*/ 76912 w 159906"/>
                <a:gd name="connsiteY10" fmla="*/ 53288 h 100398"/>
                <a:gd name="connsiteX11" fmla="*/ 76494 w 159906"/>
                <a:gd name="connsiteY11" fmla="*/ 57535 h 100398"/>
                <a:gd name="connsiteX12" fmla="*/ 70991 w 159906"/>
                <a:gd name="connsiteY12" fmla="*/ 57535 h 100398"/>
                <a:gd name="connsiteX13" fmla="*/ 2572 w 159906"/>
                <a:gd name="connsiteY13" fmla="*/ 39772 h 100398"/>
                <a:gd name="connsiteX14" fmla="*/ 60 w 159906"/>
                <a:gd name="connsiteY14" fmla="*/ 45693 h 100398"/>
                <a:gd name="connsiteX15" fmla="*/ 60 w 159906"/>
                <a:gd name="connsiteY15" fmla="*/ 69376 h 100398"/>
                <a:gd name="connsiteX16" fmla="*/ 71051 w 159906"/>
                <a:gd name="connsiteY16" fmla="*/ 93060 h 100398"/>
                <a:gd name="connsiteX17" fmla="*/ 93240 w 159906"/>
                <a:gd name="connsiteY17" fmla="*/ 91804 h 100398"/>
                <a:gd name="connsiteX18" fmla="*/ 151313 w 159906"/>
                <a:gd name="connsiteY18" fmla="*/ 84209 h 100398"/>
                <a:gd name="connsiteX19" fmla="*/ 143717 w 159906"/>
                <a:gd name="connsiteY19" fmla="*/ 26136 h 100398"/>
                <a:gd name="connsiteX20" fmla="*/ 141982 w 159906"/>
                <a:gd name="connsiteY20" fmla="*/ 24700 h 100398"/>
                <a:gd name="connsiteX21" fmla="*/ 141982 w 159906"/>
                <a:gd name="connsiteY21" fmla="*/ 24700 h 100398"/>
                <a:gd name="connsiteX22" fmla="*/ 118059 w 159906"/>
                <a:gd name="connsiteY22" fmla="*/ 91505 h 100398"/>
                <a:gd name="connsiteX23" fmla="*/ 85106 w 159906"/>
                <a:gd name="connsiteY23" fmla="*/ 58551 h 100398"/>
                <a:gd name="connsiteX24" fmla="*/ 118059 w 159906"/>
                <a:gd name="connsiteY24" fmla="*/ 25597 h 100398"/>
                <a:gd name="connsiteX25" fmla="*/ 151013 w 159906"/>
                <a:gd name="connsiteY25" fmla="*/ 58551 h 100398"/>
                <a:gd name="connsiteX26" fmla="*/ 118059 w 159906"/>
                <a:gd name="connsiteY26" fmla="*/ 91505 h 100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9906" h="100398">
                  <a:moveTo>
                    <a:pt x="141982" y="24700"/>
                  </a:moveTo>
                  <a:lnTo>
                    <a:pt x="141982" y="5682"/>
                  </a:lnTo>
                  <a:cubicBezTo>
                    <a:pt x="141982" y="4426"/>
                    <a:pt x="141564" y="3170"/>
                    <a:pt x="140906" y="2093"/>
                  </a:cubicBezTo>
                  <a:cubicBezTo>
                    <a:pt x="140487" y="1256"/>
                    <a:pt x="140069" y="598"/>
                    <a:pt x="139411" y="0"/>
                  </a:cubicBezTo>
                  <a:cubicBezTo>
                    <a:pt x="131576" y="10167"/>
                    <a:pt x="103945" y="17763"/>
                    <a:pt x="70991" y="17763"/>
                  </a:cubicBezTo>
                  <a:cubicBezTo>
                    <a:pt x="38037" y="17763"/>
                    <a:pt x="10347" y="10167"/>
                    <a:pt x="2572" y="0"/>
                  </a:cubicBezTo>
                  <a:cubicBezTo>
                    <a:pt x="1914" y="658"/>
                    <a:pt x="1495" y="1495"/>
                    <a:pt x="1077" y="2332"/>
                  </a:cubicBezTo>
                  <a:cubicBezTo>
                    <a:pt x="419" y="3409"/>
                    <a:pt x="0" y="4665"/>
                    <a:pt x="0" y="5921"/>
                  </a:cubicBezTo>
                  <a:lnTo>
                    <a:pt x="0" y="29605"/>
                  </a:lnTo>
                  <a:cubicBezTo>
                    <a:pt x="0" y="42702"/>
                    <a:pt x="31698" y="53288"/>
                    <a:pt x="70991" y="53288"/>
                  </a:cubicBezTo>
                  <a:cubicBezTo>
                    <a:pt x="73085" y="53288"/>
                    <a:pt x="74998" y="53288"/>
                    <a:pt x="76912" y="53288"/>
                  </a:cubicBezTo>
                  <a:cubicBezTo>
                    <a:pt x="76673" y="54783"/>
                    <a:pt x="76673" y="56039"/>
                    <a:pt x="76494" y="57535"/>
                  </a:cubicBezTo>
                  <a:cubicBezTo>
                    <a:pt x="74580" y="57535"/>
                    <a:pt x="72666" y="57535"/>
                    <a:pt x="70991" y="57535"/>
                  </a:cubicBezTo>
                  <a:cubicBezTo>
                    <a:pt x="38037" y="57535"/>
                    <a:pt x="10347" y="50118"/>
                    <a:pt x="2572" y="39772"/>
                  </a:cubicBezTo>
                  <a:cubicBezTo>
                    <a:pt x="1077" y="41446"/>
                    <a:pt x="239" y="43599"/>
                    <a:pt x="60" y="45693"/>
                  </a:cubicBezTo>
                  <a:lnTo>
                    <a:pt x="60" y="69376"/>
                  </a:lnTo>
                  <a:cubicBezTo>
                    <a:pt x="60" y="82474"/>
                    <a:pt x="31758" y="93060"/>
                    <a:pt x="71051" y="93060"/>
                  </a:cubicBezTo>
                  <a:cubicBezTo>
                    <a:pt x="78467" y="93060"/>
                    <a:pt x="85824" y="92641"/>
                    <a:pt x="93240" y="91804"/>
                  </a:cubicBezTo>
                  <a:cubicBezTo>
                    <a:pt x="111421" y="105739"/>
                    <a:pt x="137378" y="102390"/>
                    <a:pt x="151313" y="84209"/>
                  </a:cubicBezTo>
                  <a:cubicBezTo>
                    <a:pt x="165247" y="66027"/>
                    <a:pt x="161899" y="40071"/>
                    <a:pt x="143717" y="26136"/>
                  </a:cubicBezTo>
                  <a:cubicBezTo>
                    <a:pt x="143239" y="25597"/>
                    <a:pt x="142581" y="24940"/>
                    <a:pt x="141982" y="24700"/>
                  </a:cubicBezTo>
                  <a:lnTo>
                    <a:pt x="141982" y="24700"/>
                  </a:lnTo>
                  <a:close/>
                  <a:moveTo>
                    <a:pt x="118059" y="91505"/>
                  </a:moveTo>
                  <a:cubicBezTo>
                    <a:pt x="99879" y="91505"/>
                    <a:pt x="85106" y="76733"/>
                    <a:pt x="85106" y="58551"/>
                  </a:cubicBezTo>
                  <a:cubicBezTo>
                    <a:pt x="85106" y="40370"/>
                    <a:pt x="99879" y="25597"/>
                    <a:pt x="118059" y="25597"/>
                  </a:cubicBezTo>
                  <a:cubicBezTo>
                    <a:pt x="136241" y="25597"/>
                    <a:pt x="151013" y="40370"/>
                    <a:pt x="151013" y="58551"/>
                  </a:cubicBezTo>
                  <a:cubicBezTo>
                    <a:pt x="151013" y="76733"/>
                    <a:pt x="136241" y="91505"/>
                    <a:pt x="118059" y="91505"/>
                  </a:cubicBezTo>
                  <a:close/>
                </a:path>
              </a:pathLst>
            </a:custGeom>
            <a:grpFill/>
            <a:ln w="5978" cap="flat">
              <a:noFill/>
              <a:prstDash val="solid"/>
              <a:miter/>
            </a:ln>
          </p:spPr>
          <p:txBody>
            <a:bodyPr rtlCol="0" anchor="ctr"/>
            <a:lstStyle/>
            <a:p>
              <a:endParaRPr lang="en-GB"/>
            </a:p>
          </p:txBody>
        </p:sp>
        <p:grpSp>
          <p:nvGrpSpPr>
            <p:cNvPr id="4401" name="Graphic 3">
              <a:extLst>
                <a:ext uri="{FF2B5EF4-FFF2-40B4-BE49-F238E27FC236}">
                  <a16:creationId xmlns:a16="http://schemas.microsoft.com/office/drawing/2014/main" id="{EEE41AF8-9D03-449B-8ED7-1EE8DA3D8BD7}"/>
                </a:ext>
              </a:extLst>
            </p:cNvPr>
            <p:cNvGrpSpPr/>
            <p:nvPr/>
          </p:nvGrpSpPr>
          <p:grpSpPr>
            <a:xfrm>
              <a:off x="9111351" y="1200371"/>
              <a:ext cx="51673" cy="51733"/>
              <a:chOff x="9111351" y="1200371"/>
              <a:chExt cx="51673" cy="51733"/>
            </a:xfrm>
            <a:grpFill/>
          </p:grpSpPr>
          <p:grpSp>
            <p:nvGrpSpPr>
              <p:cNvPr id="4402" name="Graphic 3">
                <a:extLst>
                  <a:ext uri="{FF2B5EF4-FFF2-40B4-BE49-F238E27FC236}">
                    <a16:creationId xmlns:a16="http://schemas.microsoft.com/office/drawing/2014/main" id="{EDFD0F4C-72BD-49A1-A40B-85B9109E2D6E}"/>
                  </a:ext>
                </a:extLst>
              </p:cNvPr>
              <p:cNvGrpSpPr/>
              <p:nvPr/>
            </p:nvGrpSpPr>
            <p:grpSpPr>
              <a:xfrm>
                <a:off x="9111351" y="1200371"/>
                <a:ext cx="25836" cy="51733"/>
                <a:chOff x="9111351" y="1200371"/>
                <a:chExt cx="25836" cy="51733"/>
              </a:xfrm>
              <a:grpFill/>
            </p:grpSpPr>
            <p:sp>
              <p:nvSpPr>
                <p:cNvPr id="4410" name="Vrije vorm: vorm 4409">
                  <a:extLst>
                    <a:ext uri="{FF2B5EF4-FFF2-40B4-BE49-F238E27FC236}">
                      <a16:creationId xmlns:a16="http://schemas.microsoft.com/office/drawing/2014/main" id="{D2931D0B-4105-4981-B93F-F07F0997432A}"/>
                    </a:ext>
                  </a:extLst>
                </p:cNvPr>
                <p:cNvSpPr/>
                <p:nvPr/>
              </p:nvSpPr>
              <p:spPr>
                <a:xfrm>
                  <a:off x="9129293" y="1200371"/>
                  <a:ext cx="7894" cy="12978"/>
                </a:xfrm>
                <a:custGeom>
                  <a:avLst/>
                  <a:gdLst>
                    <a:gd name="connsiteX0" fmla="*/ 7894 w 7894"/>
                    <a:gd name="connsiteY0" fmla="*/ 0 h 12978"/>
                    <a:gd name="connsiteX1" fmla="*/ 0 w 7894"/>
                    <a:gd name="connsiteY1" fmla="*/ 12978 h 12978"/>
                    <a:gd name="connsiteX2" fmla="*/ 7894 w 7894"/>
                    <a:gd name="connsiteY2" fmla="*/ 12978 h 12978"/>
                    <a:gd name="connsiteX3" fmla="*/ 7894 w 7894"/>
                    <a:gd name="connsiteY3" fmla="*/ 0 h 12978"/>
                    <a:gd name="connsiteX4" fmla="*/ 7894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7894" y="0"/>
                      </a:moveTo>
                      <a:cubicBezTo>
                        <a:pt x="5263" y="0"/>
                        <a:pt x="1854" y="4725"/>
                        <a:pt x="0" y="12978"/>
                      </a:cubicBezTo>
                      <a:lnTo>
                        <a:pt x="7894" y="12978"/>
                      </a:lnTo>
                      <a:lnTo>
                        <a:pt x="7894" y="0"/>
                      </a:lnTo>
                      <a:cubicBezTo>
                        <a:pt x="7894" y="0"/>
                        <a:pt x="7894" y="0"/>
                        <a:pt x="7894" y="0"/>
                      </a:cubicBezTo>
                      <a:close/>
                    </a:path>
                  </a:pathLst>
                </a:custGeom>
                <a:grpFill/>
                <a:ln w="5978" cap="flat">
                  <a:noFill/>
                  <a:prstDash val="solid"/>
                  <a:miter/>
                </a:ln>
              </p:spPr>
              <p:txBody>
                <a:bodyPr rtlCol="0" anchor="ctr"/>
                <a:lstStyle/>
                <a:p>
                  <a:endParaRPr lang="en-GB"/>
                </a:p>
              </p:txBody>
            </p:sp>
            <p:sp>
              <p:nvSpPr>
                <p:cNvPr id="4411" name="Vrije vorm: vorm 4410">
                  <a:extLst>
                    <a:ext uri="{FF2B5EF4-FFF2-40B4-BE49-F238E27FC236}">
                      <a16:creationId xmlns:a16="http://schemas.microsoft.com/office/drawing/2014/main" id="{83AD22CC-31D7-4D10-8C7B-BAAE4F84D5EE}"/>
                    </a:ext>
                  </a:extLst>
                </p:cNvPr>
                <p:cNvSpPr/>
                <p:nvPr/>
              </p:nvSpPr>
              <p:spPr>
                <a:xfrm>
                  <a:off x="9114879" y="1202165"/>
                  <a:ext cx="13098" cy="11243"/>
                </a:xfrm>
                <a:custGeom>
                  <a:avLst/>
                  <a:gdLst>
                    <a:gd name="connsiteX0" fmla="*/ 13098 w 13098"/>
                    <a:gd name="connsiteY0" fmla="*/ 0 h 11243"/>
                    <a:gd name="connsiteX1" fmla="*/ 0 w 13098"/>
                    <a:gd name="connsiteY1" fmla="*/ 11244 h 11243"/>
                    <a:gd name="connsiteX2" fmla="*/ 9151 w 13098"/>
                    <a:gd name="connsiteY2" fmla="*/ 11244 h 11243"/>
                    <a:gd name="connsiteX3" fmla="*/ 13098 w 13098"/>
                    <a:gd name="connsiteY3" fmla="*/ 0 h 11243"/>
                  </a:gdLst>
                  <a:ahLst/>
                  <a:cxnLst>
                    <a:cxn ang="0">
                      <a:pos x="connsiteX0" y="connsiteY0"/>
                    </a:cxn>
                    <a:cxn ang="0">
                      <a:pos x="connsiteX1" y="connsiteY1"/>
                    </a:cxn>
                    <a:cxn ang="0">
                      <a:pos x="connsiteX2" y="connsiteY2"/>
                    </a:cxn>
                    <a:cxn ang="0">
                      <a:pos x="connsiteX3" y="connsiteY3"/>
                    </a:cxn>
                  </a:cxnLst>
                  <a:rect l="l" t="t" r="r" b="b"/>
                  <a:pathLst>
                    <a:path w="13098" h="11243">
                      <a:moveTo>
                        <a:pt x="13098" y="0"/>
                      </a:moveTo>
                      <a:cubicBezTo>
                        <a:pt x="7476" y="2093"/>
                        <a:pt x="2871" y="6160"/>
                        <a:pt x="0" y="11244"/>
                      </a:cubicBezTo>
                      <a:lnTo>
                        <a:pt x="9151" y="11244"/>
                      </a:lnTo>
                      <a:cubicBezTo>
                        <a:pt x="9988" y="6818"/>
                        <a:pt x="11304" y="2931"/>
                        <a:pt x="13098" y="0"/>
                      </a:cubicBezTo>
                      <a:close/>
                    </a:path>
                  </a:pathLst>
                </a:custGeom>
                <a:grpFill/>
                <a:ln w="5978" cap="flat">
                  <a:noFill/>
                  <a:prstDash val="solid"/>
                  <a:miter/>
                </a:ln>
              </p:spPr>
              <p:txBody>
                <a:bodyPr rtlCol="0" anchor="ctr"/>
                <a:lstStyle/>
                <a:p>
                  <a:endParaRPr lang="en-GB"/>
                </a:p>
              </p:txBody>
            </p:sp>
            <p:sp>
              <p:nvSpPr>
                <p:cNvPr id="4412" name="Vrije vorm: vorm 4411">
                  <a:extLst>
                    <a:ext uri="{FF2B5EF4-FFF2-40B4-BE49-F238E27FC236}">
                      <a16:creationId xmlns:a16="http://schemas.microsoft.com/office/drawing/2014/main" id="{2BE957E2-1059-4FA7-A586-C31048E29B6A}"/>
                    </a:ext>
                  </a:extLst>
                </p:cNvPr>
                <p:cNvSpPr/>
                <p:nvPr/>
              </p:nvSpPr>
              <p:spPr>
                <a:xfrm>
                  <a:off x="9127977" y="1218552"/>
                  <a:ext cx="9209" cy="15430"/>
                </a:xfrm>
                <a:custGeom>
                  <a:avLst/>
                  <a:gdLst>
                    <a:gd name="connsiteX0" fmla="*/ 418 w 9209"/>
                    <a:gd name="connsiteY0" fmla="*/ 0 h 15430"/>
                    <a:gd name="connsiteX1" fmla="*/ 0 w 9209"/>
                    <a:gd name="connsiteY1" fmla="*/ 7715 h 15430"/>
                    <a:gd name="connsiteX2" fmla="*/ 418 w 9209"/>
                    <a:gd name="connsiteY2" fmla="*/ 15430 h 15430"/>
                    <a:gd name="connsiteX3" fmla="*/ 9210 w 9209"/>
                    <a:gd name="connsiteY3" fmla="*/ 15430 h 15430"/>
                    <a:gd name="connsiteX4" fmla="*/ 9210 w 9209"/>
                    <a:gd name="connsiteY4" fmla="*/ 0 h 15430"/>
                    <a:gd name="connsiteX5" fmla="*/ 418 w 9209"/>
                    <a:gd name="connsiteY5" fmla="*/ 0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9" h="15430">
                      <a:moveTo>
                        <a:pt x="418" y="0"/>
                      </a:moveTo>
                      <a:cubicBezTo>
                        <a:pt x="60" y="2392"/>
                        <a:pt x="0" y="4964"/>
                        <a:pt x="0" y="7715"/>
                      </a:cubicBezTo>
                      <a:cubicBezTo>
                        <a:pt x="0" y="10466"/>
                        <a:pt x="239" y="12978"/>
                        <a:pt x="418" y="15430"/>
                      </a:cubicBezTo>
                      <a:lnTo>
                        <a:pt x="9210" y="15430"/>
                      </a:lnTo>
                      <a:lnTo>
                        <a:pt x="9210" y="0"/>
                      </a:lnTo>
                      <a:lnTo>
                        <a:pt x="418" y="0"/>
                      </a:lnTo>
                      <a:close/>
                    </a:path>
                  </a:pathLst>
                </a:custGeom>
                <a:grpFill/>
                <a:ln w="5978" cap="flat">
                  <a:noFill/>
                  <a:prstDash val="solid"/>
                  <a:miter/>
                </a:ln>
              </p:spPr>
              <p:txBody>
                <a:bodyPr rtlCol="0" anchor="ctr"/>
                <a:lstStyle/>
                <a:p>
                  <a:endParaRPr lang="en-GB"/>
                </a:p>
              </p:txBody>
            </p:sp>
            <p:sp>
              <p:nvSpPr>
                <p:cNvPr id="4413" name="Vrije vorm: vorm 4412">
                  <a:extLst>
                    <a:ext uri="{FF2B5EF4-FFF2-40B4-BE49-F238E27FC236}">
                      <a16:creationId xmlns:a16="http://schemas.microsoft.com/office/drawing/2014/main" id="{6370E1AB-C2FE-4F42-9FF6-A35B5DDF3C45}"/>
                    </a:ext>
                  </a:extLst>
                </p:cNvPr>
                <p:cNvSpPr/>
                <p:nvPr/>
              </p:nvSpPr>
              <p:spPr>
                <a:xfrm>
                  <a:off x="9114879" y="1239126"/>
                  <a:ext cx="12978" cy="11243"/>
                </a:xfrm>
                <a:custGeom>
                  <a:avLst/>
                  <a:gdLst>
                    <a:gd name="connsiteX0" fmla="*/ 0 w 12978"/>
                    <a:gd name="connsiteY0" fmla="*/ 0 h 11243"/>
                    <a:gd name="connsiteX1" fmla="*/ 12978 w 12978"/>
                    <a:gd name="connsiteY1" fmla="*/ 11244 h 11243"/>
                    <a:gd name="connsiteX2" fmla="*/ 9031 w 12978"/>
                    <a:gd name="connsiteY2" fmla="*/ 0 h 11243"/>
                    <a:gd name="connsiteX3" fmla="*/ 0 w 12978"/>
                    <a:gd name="connsiteY3" fmla="*/ 0 h 11243"/>
                  </a:gdLst>
                  <a:ahLst/>
                  <a:cxnLst>
                    <a:cxn ang="0">
                      <a:pos x="connsiteX0" y="connsiteY0"/>
                    </a:cxn>
                    <a:cxn ang="0">
                      <a:pos x="connsiteX1" y="connsiteY1"/>
                    </a:cxn>
                    <a:cxn ang="0">
                      <a:pos x="connsiteX2" y="connsiteY2"/>
                    </a:cxn>
                    <a:cxn ang="0">
                      <a:pos x="connsiteX3" y="connsiteY3"/>
                    </a:cxn>
                  </a:cxnLst>
                  <a:rect l="l" t="t" r="r" b="b"/>
                  <a:pathLst>
                    <a:path w="12978" h="11243">
                      <a:moveTo>
                        <a:pt x="0" y="0"/>
                      </a:moveTo>
                      <a:cubicBezTo>
                        <a:pt x="2871" y="5084"/>
                        <a:pt x="7476" y="9150"/>
                        <a:pt x="12978" y="11244"/>
                      </a:cubicBezTo>
                      <a:cubicBezTo>
                        <a:pt x="11304" y="8253"/>
                        <a:pt x="9868" y="4426"/>
                        <a:pt x="9031" y="0"/>
                      </a:cubicBezTo>
                      <a:lnTo>
                        <a:pt x="0" y="0"/>
                      </a:lnTo>
                      <a:close/>
                    </a:path>
                  </a:pathLst>
                </a:custGeom>
                <a:grpFill/>
                <a:ln w="5978" cap="flat">
                  <a:noFill/>
                  <a:prstDash val="solid"/>
                  <a:miter/>
                </a:ln>
              </p:spPr>
              <p:txBody>
                <a:bodyPr rtlCol="0" anchor="ctr"/>
                <a:lstStyle/>
                <a:p>
                  <a:endParaRPr lang="en-GB"/>
                </a:p>
              </p:txBody>
            </p:sp>
            <p:sp>
              <p:nvSpPr>
                <p:cNvPr id="4414" name="Vrije vorm: vorm 4413">
                  <a:extLst>
                    <a:ext uri="{FF2B5EF4-FFF2-40B4-BE49-F238E27FC236}">
                      <a16:creationId xmlns:a16="http://schemas.microsoft.com/office/drawing/2014/main" id="{47C9A65D-EF42-492B-AE9C-F113B6501066}"/>
                    </a:ext>
                  </a:extLst>
                </p:cNvPr>
                <p:cNvSpPr/>
                <p:nvPr/>
              </p:nvSpPr>
              <p:spPr>
                <a:xfrm>
                  <a:off x="9129293" y="1239126"/>
                  <a:ext cx="7894" cy="12978"/>
                </a:xfrm>
                <a:custGeom>
                  <a:avLst/>
                  <a:gdLst>
                    <a:gd name="connsiteX0" fmla="*/ 0 w 7894"/>
                    <a:gd name="connsiteY0" fmla="*/ 0 h 12978"/>
                    <a:gd name="connsiteX1" fmla="*/ 7894 w 7894"/>
                    <a:gd name="connsiteY1" fmla="*/ 12978 h 12978"/>
                    <a:gd name="connsiteX2" fmla="*/ 7894 w 7894"/>
                    <a:gd name="connsiteY2" fmla="*/ 12978 h 12978"/>
                    <a:gd name="connsiteX3" fmla="*/ 7894 w 7894"/>
                    <a:gd name="connsiteY3" fmla="*/ 0 h 12978"/>
                    <a:gd name="connsiteX4" fmla="*/ 0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0" y="0"/>
                      </a:moveTo>
                      <a:cubicBezTo>
                        <a:pt x="1854" y="8253"/>
                        <a:pt x="5263" y="12978"/>
                        <a:pt x="7894" y="12978"/>
                      </a:cubicBezTo>
                      <a:cubicBezTo>
                        <a:pt x="7894" y="12978"/>
                        <a:pt x="7894" y="12978"/>
                        <a:pt x="7894" y="12978"/>
                      </a:cubicBezTo>
                      <a:lnTo>
                        <a:pt x="7894" y="0"/>
                      </a:lnTo>
                      <a:lnTo>
                        <a:pt x="0" y="0"/>
                      </a:lnTo>
                      <a:close/>
                    </a:path>
                  </a:pathLst>
                </a:custGeom>
                <a:grpFill/>
                <a:ln w="5978" cap="flat">
                  <a:noFill/>
                  <a:prstDash val="solid"/>
                  <a:miter/>
                </a:ln>
              </p:spPr>
              <p:txBody>
                <a:bodyPr rtlCol="0" anchor="ctr"/>
                <a:lstStyle/>
                <a:p>
                  <a:endParaRPr lang="en-GB"/>
                </a:p>
              </p:txBody>
            </p:sp>
            <p:sp>
              <p:nvSpPr>
                <p:cNvPr id="4415" name="Vrije vorm: vorm 4414">
                  <a:extLst>
                    <a:ext uri="{FF2B5EF4-FFF2-40B4-BE49-F238E27FC236}">
                      <a16:creationId xmlns:a16="http://schemas.microsoft.com/office/drawing/2014/main" id="{5EA58E25-A93E-4DC8-883E-2C80A3C37679}"/>
                    </a:ext>
                  </a:extLst>
                </p:cNvPr>
                <p:cNvSpPr/>
                <p:nvPr/>
              </p:nvSpPr>
              <p:spPr>
                <a:xfrm>
                  <a:off x="9111351" y="1218552"/>
                  <a:ext cx="11841" cy="15430"/>
                </a:xfrm>
                <a:custGeom>
                  <a:avLst/>
                  <a:gdLst>
                    <a:gd name="connsiteX0" fmla="*/ 11423 w 11841"/>
                    <a:gd name="connsiteY0" fmla="*/ 7715 h 15430"/>
                    <a:gd name="connsiteX1" fmla="*/ 11842 w 11841"/>
                    <a:gd name="connsiteY1" fmla="*/ 0 h 15430"/>
                    <a:gd name="connsiteX2" fmla="*/ 1196 w 11841"/>
                    <a:gd name="connsiteY2" fmla="*/ 0 h 15430"/>
                    <a:gd name="connsiteX3" fmla="*/ 0 w 11841"/>
                    <a:gd name="connsiteY3" fmla="*/ 7715 h 15430"/>
                    <a:gd name="connsiteX4" fmla="*/ 1196 w 11841"/>
                    <a:gd name="connsiteY4" fmla="*/ 15430 h 15430"/>
                    <a:gd name="connsiteX5" fmla="*/ 11842 w 11841"/>
                    <a:gd name="connsiteY5" fmla="*/ 15430 h 15430"/>
                    <a:gd name="connsiteX6" fmla="*/ 11423 w 11841"/>
                    <a:gd name="connsiteY6" fmla="*/ 7715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1" h="15430">
                      <a:moveTo>
                        <a:pt x="11423" y="7715"/>
                      </a:moveTo>
                      <a:cubicBezTo>
                        <a:pt x="11423" y="5084"/>
                        <a:pt x="11543" y="2452"/>
                        <a:pt x="11842" y="0"/>
                      </a:cubicBezTo>
                      <a:lnTo>
                        <a:pt x="1196" y="0"/>
                      </a:lnTo>
                      <a:cubicBezTo>
                        <a:pt x="418" y="2392"/>
                        <a:pt x="0" y="5084"/>
                        <a:pt x="0" y="7715"/>
                      </a:cubicBezTo>
                      <a:cubicBezTo>
                        <a:pt x="0" y="10347"/>
                        <a:pt x="418" y="12978"/>
                        <a:pt x="1196" y="15430"/>
                      </a:cubicBezTo>
                      <a:lnTo>
                        <a:pt x="11842" y="15430"/>
                      </a:lnTo>
                      <a:cubicBezTo>
                        <a:pt x="11662" y="12978"/>
                        <a:pt x="11423" y="10347"/>
                        <a:pt x="11423" y="7715"/>
                      </a:cubicBezTo>
                      <a:close/>
                    </a:path>
                  </a:pathLst>
                </a:custGeom>
                <a:grpFill/>
                <a:ln w="5978" cap="flat">
                  <a:noFill/>
                  <a:prstDash val="solid"/>
                  <a:miter/>
                </a:ln>
              </p:spPr>
              <p:txBody>
                <a:bodyPr rtlCol="0" anchor="ctr"/>
                <a:lstStyle/>
                <a:p>
                  <a:endParaRPr lang="en-GB"/>
                </a:p>
              </p:txBody>
            </p:sp>
          </p:grpSp>
          <p:grpSp>
            <p:nvGrpSpPr>
              <p:cNvPr id="4403" name="Graphic 3">
                <a:extLst>
                  <a:ext uri="{FF2B5EF4-FFF2-40B4-BE49-F238E27FC236}">
                    <a16:creationId xmlns:a16="http://schemas.microsoft.com/office/drawing/2014/main" id="{1245740E-0838-4298-A1C9-293B14D0323B}"/>
                  </a:ext>
                </a:extLst>
              </p:cNvPr>
              <p:cNvGrpSpPr/>
              <p:nvPr/>
            </p:nvGrpSpPr>
            <p:grpSpPr>
              <a:xfrm>
                <a:off x="9137187" y="1200371"/>
                <a:ext cx="25837" cy="51733"/>
                <a:chOff x="9137187" y="1200371"/>
                <a:chExt cx="25837" cy="51733"/>
              </a:xfrm>
              <a:grpFill/>
            </p:grpSpPr>
            <p:sp>
              <p:nvSpPr>
                <p:cNvPr id="4404" name="Vrije vorm: vorm 4403">
                  <a:extLst>
                    <a:ext uri="{FF2B5EF4-FFF2-40B4-BE49-F238E27FC236}">
                      <a16:creationId xmlns:a16="http://schemas.microsoft.com/office/drawing/2014/main" id="{204316DF-59AB-47CE-8D7A-224E1906A972}"/>
                    </a:ext>
                  </a:extLst>
                </p:cNvPr>
                <p:cNvSpPr/>
                <p:nvPr/>
              </p:nvSpPr>
              <p:spPr>
                <a:xfrm>
                  <a:off x="9137187" y="1200371"/>
                  <a:ext cx="7894" cy="12978"/>
                </a:xfrm>
                <a:custGeom>
                  <a:avLst/>
                  <a:gdLst>
                    <a:gd name="connsiteX0" fmla="*/ 0 w 7894"/>
                    <a:gd name="connsiteY0" fmla="*/ 0 h 12978"/>
                    <a:gd name="connsiteX1" fmla="*/ 7895 w 7894"/>
                    <a:gd name="connsiteY1" fmla="*/ 12978 h 12978"/>
                    <a:gd name="connsiteX2" fmla="*/ 0 w 7894"/>
                    <a:gd name="connsiteY2" fmla="*/ 12978 h 12978"/>
                    <a:gd name="connsiteX3" fmla="*/ 0 w 7894"/>
                    <a:gd name="connsiteY3" fmla="*/ 0 h 12978"/>
                    <a:gd name="connsiteX4" fmla="*/ 0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0" y="0"/>
                      </a:moveTo>
                      <a:cubicBezTo>
                        <a:pt x="2632" y="0"/>
                        <a:pt x="6041" y="4725"/>
                        <a:pt x="7895" y="12978"/>
                      </a:cubicBezTo>
                      <a:lnTo>
                        <a:pt x="0" y="12978"/>
                      </a:lnTo>
                      <a:lnTo>
                        <a:pt x="0" y="0"/>
                      </a:lnTo>
                      <a:cubicBezTo>
                        <a:pt x="0" y="0"/>
                        <a:pt x="0" y="0"/>
                        <a:pt x="0" y="0"/>
                      </a:cubicBezTo>
                      <a:close/>
                    </a:path>
                  </a:pathLst>
                </a:custGeom>
                <a:grpFill/>
                <a:ln w="5978" cap="flat">
                  <a:noFill/>
                  <a:prstDash val="solid"/>
                  <a:miter/>
                </a:ln>
              </p:spPr>
              <p:txBody>
                <a:bodyPr rtlCol="0" anchor="ctr"/>
                <a:lstStyle/>
                <a:p>
                  <a:endParaRPr lang="en-GB"/>
                </a:p>
              </p:txBody>
            </p:sp>
            <p:sp>
              <p:nvSpPr>
                <p:cNvPr id="4405" name="Vrije vorm: vorm 4404">
                  <a:extLst>
                    <a:ext uri="{FF2B5EF4-FFF2-40B4-BE49-F238E27FC236}">
                      <a16:creationId xmlns:a16="http://schemas.microsoft.com/office/drawing/2014/main" id="{01407421-F831-4A5C-8D27-EB5CEF7C4F6D}"/>
                    </a:ext>
                  </a:extLst>
                </p:cNvPr>
                <p:cNvSpPr/>
                <p:nvPr/>
              </p:nvSpPr>
              <p:spPr>
                <a:xfrm>
                  <a:off x="9146457" y="1202165"/>
                  <a:ext cx="13098" cy="11243"/>
                </a:xfrm>
                <a:custGeom>
                  <a:avLst/>
                  <a:gdLst>
                    <a:gd name="connsiteX0" fmla="*/ 0 w 13098"/>
                    <a:gd name="connsiteY0" fmla="*/ 0 h 11243"/>
                    <a:gd name="connsiteX1" fmla="*/ 13098 w 13098"/>
                    <a:gd name="connsiteY1" fmla="*/ 11244 h 11243"/>
                    <a:gd name="connsiteX2" fmla="*/ 3947 w 13098"/>
                    <a:gd name="connsiteY2" fmla="*/ 11244 h 11243"/>
                    <a:gd name="connsiteX3" fmla="*/ 0 w 13098"/>
                    <a:gd name="connsiteY3" fmla="*/ 0 h 11243"/>
                  </a:gdLst>
                  <a:ahLst/>
                  <a:cxnLst>
                    <a:cxn ang="0">
                      <a:pos x="connsiteX0" y="connsiteY0"/>
                    </a:cxn>
                    <a:cxn ang="0">
                      <a:pos x="connsiteX1" y="connsiteY1"/>
                    </a:cxn>
                    <a:cxn ang="0">
                      <a:pos x="connsiteX2" y="connsiteY2"/>
                    </a:cxn>
                    <a:cxn ang="0">
                      <a:pos x="connsiteX3" y="connsiteY3"/>
                    </a:cxn>
                  </a:cxnLst>
                  <a:rect l="l" t="t" r="r" b="b"/>
                  <a:pathLst>
                    <a:path w="13098" h="11243">
                      <a:moveTo>
                        <a:pt x="0" y="0"/>
                      </a:moveTo>
                      <a:cubicBezTo>
                        <a:pt x="5622" y="2093"/>
                        <a:pt x="10227" y="6160"/>
                        <a:pt x="13098" y="11244"/>
                      </a:cubicBezTo>
                      <a:lnTo>
                        <a:pt x="3947" y="11244"/>
                      </a:lnTo>
                      <a:cubicBezTo>
                        <a:pt x="3050" y="6818"/>
                        <a:pt x="1735" y="2931"/>
                        <a:pt x="0" y="0"/>
                      </a:cubicBezTo>
                      <a:close/>
                    </a:path>
                  </a:pathLst>
                </a:custGeom>
                <a:grpFill/>
                <a:ln w="5978" cap="flat">
                  <a:noFill/>
                  <a:prstDash val="solid"/>
                  <a:miter/>
                </a:ln>
              </p:spPr>
              <p:txBody>
                <a:bodyPr rtlCol="0" anchor="ctr"/>
                <a:lstStyle/>
                <a:p>
                  <a:endParaRPr lang="en-GB"/>
                </a:p>
              </p:txBody>
            </p:sp>
            <p:sp>
              <p:nvSpPr>
                <p:cNvPr id="4406" name="Vrije vorm: vorm 4405">
                  <a:extLst>
                    <a:ext uri="{FF2B5EF4-FFF2-40B4-BE49-F238E27FC236}">
                      <a16:creationId xmlns:a16="http://schemas.microsoft.com/office/drawing/2014/main" id="{F571955F-6DD2-4B95-A671-8AE6CA2DFFE7}"/>
                    </a:ext>
                  </a:extLst>
                </p:cNvPr>
                <p:cNvSpPr/>
                <p:nvPr/>
              </p:nvSpPr>
              <p:spPr>
                <a:xfrm>
                  <a:off x="9137247" y="1218552"/>
                  <a:ext cx="9210" cy="15430"/>
                </a:xfrm>
                <a:custGeom>
                  <a:avLst/>
                  <a:gdLst>
                    <a:gd name="connsiteX0" fmla="*/ 8792 w 9210"/>
                    <a:gd name="connsiteY0" fmla="*/ 0 h 15430"/>
                    <a:gd name="connsiteX1" fmla="*/ 9211 w 9210"/>
                    <a:gd name="connsiteY1" fmla="*/ 7715 h 15430"/>
                    <a:gd name="connsiteX2" fmla="*/ 8792 w 9210"/>
                    <a:gd name="connsiteY2" fmla="*/ 15430 h 15430"/>
                    <a:gd name="connsiteX3" fmla="*/ 0 w 9210"/>
                    <a:gd name="connsiteY3" fmla="*/ 15430 h 15430"/>
                    <a:gd name="connsiteX4" fmla="*/ 0 w 9210"/>
                    <a:gd name="connsiteY4" fmla="*/ 0 h 15430"/>
                    <a:gd name="connsiteX5" fmla="*/ 8792 w 9210"/>
                    <a:gd name="connsiteY5" fmla="*/ 0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0" h="15430">
                      <a:moveTo>
                        <a:pt x="8792" y="0"/>
                      </a:moveTo>
                      <a:cubicBezTo>
                        <a:pt x="9151" y="2392"/>
                        <a:pt x="9211" y="4964"/>
                        <a:pt x="9211" y="7715"/>
                      </a:cubicBezTo>
                      <a:cubicBezTo>
                        <a:pt x="9211" y="10466"/>
                        <a:pt x="8971" y="12978"/>
                        <a:pt x="8792" y="15430"/>
                      </a:cubicBezTo>
                      <a:lnTo>
                        <a:pt x="0" y="15430"/>
                      </a:lnTo>
                      <a:lnTo>
                        <a:pt x="0" y="0"/>
                      </a:lnTo>
                      <a:lnTo>
                        <a:pt x="8792" y="0"/>
                      </a:lnTo>
                      <a:close/>
                    </a:path>
                  </a:pathLst>
                </a:custGeom>
                <a:grpFill/>
                <a:ln w="5978" cap="flat">
                  <a:noFill/>
                  <a:prstDash val="solid"/>
                  <a:miter/>
                </a:ln>
              </p:spPr>
              <p:txBody>
                <a:bodyPr rtlCol="0" anchor="ctr"/>
                <a:lstStyle/>
                <a:p>
                  <a:endParaRPr lang="en-GB"/>
                </a:p>
              </p:txBody>
            </p:sp>
            <p:sp>
              <p:nvSpPr>
                <p:cNvPr id="4407" name="Vrije vorm: vorm 4406">
                  <a:extLst>
                    <a:ext uri="{FF2B5EF4-FFF2-40B4-BE49-F238E27FC236}">
                      <a16:creationId xmlns:a16="http://schemas.microsoft.com/office/drawing/2014/main" id="{54120DBF-02E5-4108-959B-60894A3365E4}"/>
                    </a:ext>
                  </a:extLst>
                </p:cNvPr>
                <p:cNvSpPr/>
                <p:nvPr/>
              </p:nvSpPr>
              <p:spPr>
                <a:xfrm>
                  <a:off x="9146577" y="1239126"/>
                  <a:ext cx="12978" cy="11243"/>
                </a:xfrm>
                <a:custGeom>
                  <a:avLst/>
                  <a:gdLst>
                    <a:gd name="connsiteX0" fmla="*/ 12978 w 12978"/>
                    <a:gd name="connsiteY0" fmla="*/ 0 h 11243"/>
                    <a:gd name="connsiteX1" fmla="*/ 0 w 12978"/>
                    <a:gd name="connsiteY1" fmla="*/ 11244 h 11243"/>
                    <a:gd name="connsiteX2" fmla="*/ 3947 w 12978"/>
                    <a:gd name="connsiteY2" fmla="*/ 0 h 11243"/>
                    <a:gd name="connsiteX3" fmla="*/ 12978 w 12978"/>
                    <a:gd name="connsiteY3" fmla="*/ 0 h 11243"/>
                  </a:gdLst>
                  <a:ahLst/>
                  <a:cxnLst>
                    <a:cxn ang="0">
                      <a:pos x="connsiteX0" y="connsiteY0"/>
                    </a:cxn>
                    <a:cxn ang="0">
                      <a:pos x="connsiteX1" y="connsiteY1"/>
                    </a:cxn>
                    <a:cxn ang="0">
                      <a:pos x="connsiteX2" y="connsiteY2"/>
                    </a:cxn>
                    <a:cxn ang="0">
                      <a:pos x="connsiteX3" y="connsiteY3"/>
                    </a:cxn>
                  </a:cxnLst>
                  <a:rect l="l" t="t" r="r" b="b"/>
                  <a:pathLst>
                    <a:path w="12978" h="11243">
                      <a:moveTo>
                        <a:pt x="12978" y="0"/>
                      </a:moveTo>
                      <a:cubicBezTo>
                        <a:pt x="10107" y="5084"/>
                        <a:pt x="5503" y="9150"/>
                        <a:pt x="0" y="11244"/>
                      </a:cubicBezTo>
                      <a:cubicBezTo>
                        <a:pt x="1675" y="8253"/>
                        <a:pt x="3110" y="4426"/>
                        <a:pt x="3947" y="0"/>
                      </a:cubicBezTo>
                      <a:lnTo>
                        <a:pt x="12978" y="0"/>
                      </a:lnTo>
                      <a:close/>
                    </a:path>
                  </a:pathLst>
                </a:custGeom>
                <a:grpFill/>
                <a:ln w="5978" cap="flat">
                  <a:noFill/>
                  <a:prstDash val="solid"/>
                  <a:miter/>
                </a:ln>
              </p:spPr>
              <p:txBody>
                <a:bodyPr rtlCol="0" anchor="ctr"/>
                <a:lstStyle/>
                <a:p>
                  <a:endParaRPr lang="en-GB"/>
                </a:p>
              </p:txBody>
            </p:sp>
            <p:sp>
              <p:nvSpPr>
                <p:cNvPr id="4408" name="Vrije vorm: vorm 4407">
                  <a:extLst>
                    <a:ext uri="{FF2B5EF4-FFF2-40B4-BE49-F238E27FC236}">
                      <a16:creationId xmlns:a16="http://schemas.microsoft.com/office/drawing/2014/main" id="{44339DFF-9EB9-42F6-802E-E5CCB22548AB}"/>
                    </a:ext>
                  </a:extLst>
                </p:cNvPr>
                <p:cNvSpPr/>
                <p:nvPr/>
              </p:nvSpPr>
              <p:spPr>
                <a:xfrm>
                  <a:off x="9137247" y="1239126"/>
                  <a:ext cx="7894" cy="12978"/>
                </a:xfrm>
                <a:custGeom>
                  <a:avLst/>
                  <a:gdLst>
                    <a:gd name="connsiteX0" fmla="*/ 7895 w 7894"/>
                    <a:gd name="connsiteY0" fmla="*/ 0 h 12978"/>
                    <a:gd name="connsiteX1" fmla="*/ 0 w 7894"/>
                    <a:gd name="connsiteY1" fmla="*/ 12978 h 12978"/>
                    <a:gd name="connsiteX2" fmla="*/ 0 w 7894"/>
                    <a:gd name="connsiteY2" fmla="*/ 12978 h 12978"/>
                    <a:gd name="connsiteX3" fmla="*/ 0 w 7894"/>
                    <a:gd name="connsiteY3" fmla="*/ 0 h 12978"/>
                    <a:gd name="connsiteX4" fmla="*/ 7895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7895" y="0"/>
                      </a:moveTo>
                      <a:cubicBezTo>
                        <a:pt x="6041" y="8253"/>
                        <a:pt x="2632" y="12978"/>
                        <a:pt x="0" y="12978"/>
                      </a:cubicBezTo>
                      <a:cubicBezTo>
                        <a:pt x="0" y="12978"/>
                        <a:pt x="0" y="12978"/>
                        <a:pt x="0" y="12978"/>
                      </a:cubicBezTo>
                      <a:lnTo>
                        <a:pt x="0" y="0"/>
                      </a:lnTo>
                      <a:lnTo>
                        <a:pt x="7895" y="0"/>
                      </a:lnTo>
                      <a:close/>
                    </a:path>
                  </a:pathLst>
                </a:custGeom>
                <a:grpFill/>
                <a:ln w="5978" cap="flat">
                  <a:noFill/>
                  <a:prstDash val="solid"/>
                  <a:miter/>
                </a:ln>
              </p:spPr>
              <p:txBody>
                <a:bodyPr rtlCol="0" anchor="ctr"/>
                <a:lstStyle/>
                <a:p>
                  <a:endParaRPr lang="en-GB"/>
                </a:p>
              </p:txBody>
            </p:sp>
            <p:sp>
              <p:nvSpPr>
                <p:cNvPr id="4409" name="Vrije vorm: vorm 4408">
                  <a:extLst>
                    <a:ext uri="{FF2B5EF4-FFF2-40B4-BE49-F238E27FC236}">
                      <a16:creationId xmlns:a16="http://schemas.microsoft.com/office/drawing/2014/main" id="{A71BA572-F265-4974-A5B0-2BDEC0FAC831}"/>
                    </a:ext>
                  </a:extLst>
                </p:cNvPr>
                <p:cNvSpPr/>
                <p:nvPr/>
              </p:nvSpPr>
              <p:spPr>
                <a:xfrm>
                  <a:off x="9151182" y="1218552"/>
                  <a:ext cx="11841" cy="15430"/>
                </a:xfrm>
                <a:custGeom>
                  <a:avLst/>
                  <a:gdLst>
                    <a:gd name="connsiteX0" fmla="*/ 418 w 11841"/>
                    <a:gd name="connsiteY0" fmla="*/ 7715 h 15430"/>
                    <a:gd name="connsiteX1" fmla="*/ 0 w 11841"/>
                    <a:gd name="connsiteY1" fmla="*/ 0 h 15430"/>
                    <a:gd name="connsiteX2" fmla="*/ 10645 w 11841"/>
                    <a:gd name="connsiteY2" fmla="*/ 0 h 15430"/>
                    <a:gd name="connsiteX3" fmla="*/ 11842 w 11841"/>
                    <a:gd name="connsiteY3" fmla="*/ 7715 h 15430"/>
                    <a:gd name="connsiteX4" fmla="*/ 10645 w 11841"/>
                    <a:gd name="connsiteY4" fmla="*/ 15430 h 15430"/>
                    <a:gd name="connsiteX5" fmla="*/ 0 w 11841"/>
                    <a:gd name="connsiteY5" fmla="*/ 15430 h 15430"/>
                    <a:gd name="connsiteX6" fmla="*/ 418 w 11841"/>
                    <a:gd name="connsiteY6" fmla="*/ 7715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1" h="15430">
                      <a:moveTo>
                        <a:pt x="418" y="7715"/>
                      </a:moveTo>
                      <a:cubicBezTo>
                        <a:pt x="418" y="5084"/>
                        <a:pt x="299" y="2452"/>
                        <a:pt x="0" y="0"/>
                      </a:cubicBezTo>
                      <a:lnTo>
                        <a:pt x="10645" y="0"/>
                      </a:lnTo>
                      <a:cubicBezTo>
                        <a:pt x="11423" y="2392"/>
                        <a:pt x="11842" y="5084"/>
                        <a:pt x="11842" y="7715"/>
                      </a:cubicBezTo>
                      <a:cubicBezTo>
                        <a:pt x="11842" y="10347"/>
                        <a:pt x="11423" y="12978"/>
                        <a:pt x="10645" y="15430"/>
                      </a:cubicBezTo>
                      <a:lnTo>
                        <a:pt x="0" y="15430"/>
                      </a:lnTo>
                      <a:cubicBezTo>
                        <a:pt x="239" y="12978"/>
                        <a:pt x="418" y="10347"/>
                        <a:pt x="418" y="7715"/>
                      </a:cubicBezTo>
                      <a:close/>
                    </a:path>
                  </a:pathLst>
                </a:custGeom>
                <a:grpFill/>
                <a:ln w="5978" cap="flat">
                  <a:noFill/>
                  <a:prstDash val="solid"/>
                  <a:miter/>
                </a:ln>
              </p:spPr>
              <p:txBody>
                <a:bodyPr rtlCol="0" anchor="ctr"/>
                <a:lstStyle/>
                <a:p>
                  <a:endParaRPr lang="en-GB"/>
                </a:p>
              </p:txBody>
            </p:sp>
          </p:grpSp>
        </p:grpSp>
      </p:grpSp>
      <p:sp>
        <p:nvSpPr>
          <p:cNvPr id="2" name="T1">
            <a:extLst>
              <a:ext uri="{FF2B5EF4-FFF2-40B4-BE49-F238E27FC236}">
                <a16:creationId xmlns:a16="http://schemas.microsoft.com/office/drawing/2014/main" id="{228307C9-0678-43B6-B49B-6030421518DC}"/>
              </a:ext>
            </a:extLst>
          </p:cNvPr>
          <p:cNvSpPr txBox="1"/>
          <p:nvPr/>
        </p:nvSpPr>
        <p:spPr>
          <a:xfrm>
            <a:off x="9469119" y="1435716"/>
            <a:ext cx="2394275" cy="172638"/>
          </a:xfrm>
          <a:prstGeom prst="rect">
            <a:avLst/>
          </a:prstGeom>
          <a:noFill/>
        </p:spPr>
        <p:txBody>
          <a:bodyPr wrap="square" lIns="0" tIns="0" rIns="0" bIns="0" rtlCol="0">
            <a:noAutofit/>
          </a:bodyPr>
          <a:lstStyle>
            <a:defPPr>
              <a:defRPr lang="nl-NL"/>
            </a:defPPr>
            <a:lvl1pPr>
              <a:defRPr sz="1100" cap="all">
                <a:solidFill>
                  <a:schemeClr val="bg1"/>
                </a:solidFill>
                <a:latin typeface="+mj-lt"/>
              </a:defRPr>
            </a:lvl1pPr>
          </a:lstStyle>
          <a:p>
            <a:r>
              <a:rPr lang="en-US" dirty="0"/>
              <a:t>unit </a:t>
            </a:r>
            <a:r>
              <a:rPr lang="en-US" dirty="0" err="1"/>
              <a:t>ict</a:t>
            </a:r>
            <a:r>
              <a:rPr lang="en-US" dirty="0"/>
              <a:t> PMC cluster </a:t>
            </a:r>
          </a:p>
        </p:txBody>
      </p:sp>
      <p:sp>
        <p:nvSpPr>
          <p:cNvPr id="4417" name="T1">
            <a:extLst>
              <a:ext uri="{FF2B5EF4-FFF2-40B4-BE49-F238E27FC236}">
                <a16:creationId xmlns:a16="http://schemas.microsoft.com/office/drawing/2014/main" id="{EF09624D-E5E6-4855-9390-FF1C9731B73B}"/>
              </a:ext>
            </a:extLst>
          </p:cNvPr>
          <p:cNvSpPr txBox="1"/>
          <p:nvPr/>
        </p:nvSpPr>
        <p:spPr>
          <a:xfrm>
            <a:off x="9469119" y="1635741"/>
            <a:ext cx="2394275" cy="154959"/>
          </a:xfrm>
          <a:prstGeom prst="rect">
            <a:avLst/>
          </a:prstGeom>
          <a:noFill/>
        </p:spPr>
        <p:txBody>
          <a:bodyPr wrap="square" lIns="0" tIns="0" rIns="0" bIns="0" rtlCol="0">
            <a:noAutofit/>
          </a:bodyPr>
          <a:lstStyle>
            <a:defPPr>
              <a:defRPr lang="nl-NL"/>
            </a:defPPr>
            <a:lvl1pPr>
              <a:lnSpc>
                <a:spcPct val="80000"/>
              </a:lnSpc>
              <a:defRPr sz="1400" b="1" cap="all">
                <a:solidFill>
                  <a:schemeClr val="bg1"/>
                </a:solidFill>
                <a:latin typeface="+mj-lt"/>
              </a:defRPr>
            </a:lvl1pPr>
          </a:lstStyle>
          <a:p>
            <a:r>
              <a:rPr lang="en-US" dirty="0"/>
              <a:t>DATA SHARING</a:t>
            </a:r>
          </a:p>
        </p:txBody>
      </p:sp>
      <p:sp>
        <p:nvSpPr>
          <p:cNvPr id="4418" name="T1">
            <a:extLst>
              <a:ext uri="{FF2B5EF4-FFF2-40B4-BE49-F238E27FC236}">
                <a16:creationId xmlns:a16="http://schemas.microsoft.com/office/drawing/2014/main" id="{C6270982-ABB9-4817-A28A-FFA751C2B710}"/>
              </a:ext>
            </a:extLst>
          </p:cNvPr>
          <p:cNvSpPr txBox="1"/>
          <p:nvPr/>
        </p:nvSpPr>
        <p:spPr>
          <a:xfrm>
            <a:off x="9469120" y="1879223"/>
            <a:ext cx="2162494" cy="416302"/>
          </a:xfrm>
          <a:prstGeom prst="rect">
            <a:avLst/>
          </a:prstGeom>
          <a:noFill/>
        </p:spPr>
        <p:txBody>
          <a:bodyPr wrap="square" lIns="0" tIns="0" rIns="0" bIns="0" rtlCol="0">
            <a:noAutofit/>
          </a:bodyPr>
          <a:lstStyle/>
          <a:p>
            <a:r>
              <a:rPr lang="en-US" sz="900" dirty="0">
                <a:solidFill>
                  <a:schemeClr val="bg1"/>
                </a:solidFill>
              </a:rPr>
              <a:t>“Making a difference in data sharing provides enormous opportunities for companies. Data is the new fuel.”</a:t>
            </a:r>
          </a:p>
        </p:txBody>
      </p:sp>
      <p:sp>
        <p:nvSpPr>
          <p:cNvPr id="4421" name="T2">
            <a:extLst>
              <a:ext uri="{FF2B5EF4-FFF2-40B4-BE49-F238E27FC236}">
                <a16:creationId xmlns:a16="http://schemas.microsoft.com/office/drawing/2014/main" id="{DD12B255-D98F-445D-A9B3-5ACE3AC1F14B}"/>
              </a:ext>
            </a:extLst>
          </p:cNvPr>
          <p:cNvSpPr txBox="1"/>
          <p:nvPr/>
        </p:nvSpPr>
        <p:spPr>
          <a:xfrm>
            <a:off x="9469119" y="4607541"/>
            <a:ext cx="2275206" cy="172638"/>
          </a:xfrm>
          <a:prstGeom prst="rect">
            <a:avLst/>
          </a:prstGeom>
          <a:noFill/>
        </p:spPr>
        <p:txBody>
          <a:bodyPr wrap="square" lIns="0" tIns="0" rIns="0" bIns="0" rtlCol="0">
            <a:noAutofit/>
          </a:bodyPr>
          <a:lstStyle>
            <a:defPPr>
              <a:defRPr lang="nl-NL"/>
            </a:defPPr>
            <a:lvl1pPr>
              <a:defRPr sz="1100" cap="all">
                <a:solidFill>
                  <a:schemeClr val="bg1"/>
                </a:solidFill>
                <a:latin typeface="+mj-lt"/>
              </a:defRPr>
            </a:lvl1pPr>
          </a:lstStyle>
          <a:p>
            <a:r>
              <a:rPr lang="en-US" dirty="0"/>
              <a:t>unit </a:t>
            </a:r>
            <a:r>
              <a:rPr lang="en-US" dirty="0" err="1"/>
              <a:t>ict</a:t>
            </a:r>
            <a:r>
              <a:rPr lang="en-US" dirty="0"/>
              <a:t> PMC cluster</a:t>
            </a:r>
          </a:p>
        </p:txBody>
      </p:sp>
      <p:sp>
        <p:nvSpPr>
          <p:cNvPr id="4422" name="T2">
            <a:extLst>
              <a:ext uri="{FF2B5EF4-FFF2-40B4-BE49-F238E27FC236}">
                <a16:creationId xmlns:a16="http://schemas.microsoft.com/office/drawing/2014/main" id="{9A0A8A40-7BD3-447B-B4E5-10790D9B2639}"/>
              </a:ext>
            </a:extLst>
          </p:cNvPr>
          <p:cNvSpPr txBox="1"/>
          <p:nvPr/>
        </p:nvSpPr>
        <p:spPr>
          <a:xfrm>
            <a:off x="9478644" y="4807566"/>
            <a:ext cx="2275206" cy="145434"/>
          </a:xfrm>
          <a:prstGeom prst="rect">
            <a:avLst/>
          </a:prstGeom>
          <a:noFill/>
        </p:spPr>
        <p:txBody>
          <a:bodyPr wrap="square" lIns="0" tIns="0" rIns="0" bIns="0" rtlCol="0">
            <a:noAutofit/>
          </a:bodyPr>
          <a:lstStyle>
            <a:defPPr>
              <a:defRPr lang="nl-NL"/>
            </a:defPPr>
            <a:lvl1pPr>
              <a:lnSpc>
                <a:spcPct val="80000"/>
              </a:lnSpc>
              <a:defRPr sz="1400" b="1" cap="all">
                <a:solidFill>
                  <a:schemeClr val="bg1"/>
                </a:solidFill>
                <a:latin typeface="+mj-lt"/>
              </a:defRPr>
            </a:lvl1pPr>
          </a:lstStyle>
          <a:p>
            <a:r>
              <a:rPr lang="en-US" dirty="0"/>
              <a:t>Trusted ICT </a:t>
            </a:r>
          </a:p>
        </p:txBody>
      </p:sp>
      <p:sp>
        <p:nvSpPr>
          <p:cNvPr id="4423" name="T2">
            <a:extLst>
              <a:ext uri="{FF2B5EF4-FFF2-40B4-BE49-F238E27FC236}">
                <a16:creationId xmlns:a16="http://schemas.microsoft.com/office/drawing/2014/main" id="{4D6CB7AA-B931-45D7-9036-4149D9F9793C}"/>
              </a:ext>
            </a:extLst>
          </p:cNvPr>
          <p:cNvSpPr txBox="1"/>
          <p:nvPr/>
        </p:nvSpPr>
        <p:spPr>
          <a:xfrm>
            <a:off x="9478644" y="5041523"/>
            <a:ext cx="2275206" cy="692528"/>
          </a:xfrm>
          <a:prstGeom prst="rect">
            <a:avLst/>
          </a:prstGeom>
          <a:noFill/>
        </p:spPr>
        <p:txBody>
          <a:bodyPr wrap="square" lIns="0" tIns="0" rIns="0" bIns="0" rtlCol="0">
            <a:noAutofit/>
          </a:bodyPr>
          <a:lstStyle/>
          <a:p>
            <a:r>
              <a:rPr lang="en-US" sz="900" dirty="0">
                <a:solidFill>
                  <a:schemeClr val="bg1"/>
                </a:solidFill>
              </a:rPr>
              <a:t>“Making a difference in preventing risk of financial loss, disruption or damage to the assets and reputation of an organization from some sort of failure of its information technology systems.”</a:t>
            </a:r>
          </a:p>
        </p:txBody>
      </p:sp>
      <p:sp>
        <p:nvSpPr>
          <p:cNvPr id="4429" name="T3">
            <a:extLst>
              <a:ext uri="{FF2B5EF4-FFF2-40B4-BE49-F238E27FC236}">
                <a16:creationId xmlns:a16="http://schemas.microsoft.com/office/drawing/2014/main" id="{E6329E47-4D0E-4089-93E2-4EE7FB6D65D3}"/>
              </a:ext>
            </a:extLst>
          </p:cNvPr>
          <p:cNvSpPr txBox="1"/>
          <p:nvPr/>
        </p:nvSpPr>
        <p:spPr>
          <a:xfrm>
            <a:off x="1125219" y="4274166"/>
            <a:ext cx="2275206" cy="172638"/>
          </a:xfrm>
          <a:prstGeom prst="rect">
            <a:avLst/>
          </a:prstGeom>
          <a:noFill/>
        </p:spPr>
        <p:txBody>
          <a:bodyPr wrap="square" lIns="0" tIns="0" rIns="0" bIns="0" rtlCol="0">
            <a:noAutofit/>
          </a:bodyPr>
          <a:lstStyle>
            <a:defPPr>
              <a:defRPr lang="nl-NL"/>
            </a:defPPr>
            <a:lvl1pPr>
              <a:defRPr sz="1100" cap="all">
                <a:solidFill>
                  <a:schemeClr val="bg1"/>
                </a:solidFill>
                <a:latin typeface="+mj-lt"/>
              </a:defRPr>
            </a:lvl1pPr>
          </a:lstStyle>
          <a:p>
            <a:r>
              <a:rPr lang="en-US" dirty="0"/>
              <a:t>unit </a:t>
            </a:r>
            <a:r>
              <a:rPr lang="en-US" dirty="0" err="1"/>
              <a:t>ict</a:t>
            </a:r>
            <a:r>
              <a:rPr lang="en-US" dirty="0"/>
              <a:t> PMC cluster</a:t>
            </a:r>
          </a:p>
        </p:txBody>
      </p:sp>
      <p:sp>
        <p:nvSpPr>
          <p:cNvPr id="4430" name="T3">
            <a:extLst>
              <a:ext uri="{FF2B5EF4-FFF2-40B4-BE49-F238E27FC236}">
                <a16:creationId xmlns:a16="http://schemas.microsoft.com/office/drawing/2014/main" id="{DC71076C-DB57-488E-B180-76E9D1801EC0}"/>
              </a:ext>
            </a:extLst>
          </p:cNvPr>
          <p:cNvSpPr txBox="1"/>
          <p:nvPr/>
        </p:nvSpPr>
        <p:spPr>
          <a:xfrm>
            <a:off x="1134744" y="4474190"/>
            <a:ext cx="2275206" cy="316885"/>
          </a:xfrm>
          <a:prstGeom prst="rect">
            <a:avLst/>
          </a:prstGeom>
          <a:noFill/>
        </p:spPr>
        <p:txBody>
          <a:bodyPr wrap="square" lIns="0" tIns="0" rIns="0" bIns="0" rtlCol="0">
            <a:noAutofit/>
          </a:bodyPr>
          <a:lstStyle>
            <a:defPPr>
              <a:defRPr lang="nl-NL"/>
            </a:defPPr>
            <a:lvl1pPr>
              <a:lnSpc>
                <a:spcPct val="80000"/>
              </a:lnSpc>
              <a:defRPr sz="1400" b="1" cap="all">
                <a:solidFill>
                  <a:schemeClr val="bg1"/>
                </a:solidFill>
                <a:latin typeface="+mj-lt"/>
              </a:defRPr>
            </a:lvl1pPr>
          </a:lstStyle>
          <a:p>
            <a:r>
              <a:rPr lang="en-US" dirty="0"/>
              <a:t>Embedding </a:t>
            </a:r>
          </a:p>
          <a:p>
            <a:r>
              <a:rPr lang="en-US" dirty="0"/>
              <a:t>systems innovation</a:t>
            </a:r>
          </a:p>
        </p:txBody>
      </p:sp>
      <p:sp>
        <p:nvSpPr>
          <p:cNvPr id="4431" name="T3">
            <a:extLst>
              <a:ext uri="{FF2B5EF4-FFF2-40B4-BE49-F238E27FC236}">
                <a16:creationId xmlns:a16="http://schemas.microsoft.com/office/drawing/2014/main" id="{EAAFA256-A348-4C0B-8D39-080612E35398}"/>
              </a:ext>
            </a:extLst>
          </p:cNvPr>
          <p:cNvSpPr txBox="1"/>
          <p:nvPr/>
        </p:nvSpPr>
        <p:spPr>
          <a:xfrm>
            <a:off x="1134744" y="4898647"/>
            <a:ext cx="2275206" cy="835403"/>
          </a:xfrm>
          <a:prstGeom prst="rect">
            <a:avLst/>
          </a:prstGeom>
          <a:noFill/>
        </p:spPr>
        <p:txBody>
          <a:bodyPr wrap="square" lIns="0" tIns="0" rIns="0" bIns="0" rtlCol="0">
            <a:noAutofit/>
          </a:bodyPr>
          <a:lstStyle/>
          <a:p>
            <a:r>
              <a:rPr lang="en-US" sz="900" dirty="0">
                <a:solidFill>
                  <a:schemeClr val="bg1"/>
                </a:solidFill>
              </a:rPr>
              <a:t>“Making a difference in the High Tech industry by addressing the challenge of mastering architecting and design of ever increasing complex systems through new and radically improved systems/software design and engineering methods.”</a:t>
            </a:r>
          </a:p>
        </p:txBody>
      </p:sp>
      <p:sp>
        <p:nvSpPr>
          <p:cNvPr id="4425" name="T4">
            <a:extLst>
              <a:ext uri="{FF2B5EF4-FFF2-40B4-BE49-F238E27FC236}">
                <a16:creationId xmlns:a16="http://schemas.microsoft.com/office/drawing/2014/main" id="{CBD5787E-22ED-48AB-94EC-51582F9CC631}"/>
              </a:ext>
            </a:extLst>
          </p:cNvPr>
          <p:cNvSpPr txBox="1"/>
          <p:nvPr/>
        </p:nvSpPr>
        <p:spPr>
          <a:xfrm>
            <a:off x="1125219" y="1435716"/>
            <a:ext cx="2394275" cy="172638"/>
          </a:xfrm>
          <a:prstGeom prst="rect">
            <a:avLst/>
          </a:prstGeom>
          <a:noFill/>
        </p:spPr>
        <p:txBody>
          <a:bodyPr wrap="square" lIns="0" tIns="0" rIns="0" bIns="0" rtlCol="0">
            <a:noAutofit/>
          </a:bodyPr>
          <a:lstStyle/>
          <a:p>
            <a:r>
              <a:rPr lang="en-US" sz="1100" cap="all" dirty="0">
                <a:solidFill>
                  <a:schemeClr val="bg1"/>
                </a:solidFill>
                <a:latin typeface="+mj-lt"/>
              </a:rPr>
              <a:t>unit </a:t>
            </a:r>
            <a:r>
              <a:rPr lang="en-US" sz="1100" cap="all" dirty="0" err="1">
                <a:solidFill>
                  <a:schemeClr val="bg1"/>
                </a:solidFill>
                <a:latin typeface="+mj-lt"/>
              </a:rPr>
              <a:t>ict</a:t>
            </a:r>
            <a:r>
              <a:rPr lang="en-US" sz="1100" cap="all" dirty="0">
                <a:solidFill>
                  <a:schemeClr val="bg1"/>
                </a:solidFill>
                <a:latin typeface="+mj-lt"/>
              </a:rPr>
              <a:t> PMC cluster </a:t>
            </a:r>
          </a:p>
        </p:txBody>
      </p:sp>
      <p:sp>
        <p:nvSpPr>
          <p:cNvPr id="4426" name="T4">
            <a:extLst>
              <a:ext uri="{FF2B5EF4-FFF2-40B4-BE49-F238E27FC236}">
                <a16:creationId xmlns:a16="http://schemas.microsoft.com/office/drawing/2014/main" id="{F7B98B4C-2F5E-4380-A00A-A5382731F3F6}"/>
              </a:ext>
            </a:extLst>
          </p:cNvPr>
          <p:cNvSpPr txBox="1"/>
          <p:nvPr/>
        </p:nvSpPr>
        <p:spPr>
          <a:xfrm>
            <a:off x="1125219" y="1635741"/>
            <a:ext cx="2394275" cy="316884"/>
          </a:xfrm>
          <a:prstGeom prst="rect">
            <a:avLst/>
          </a:prstGeom>
          <a:noFill/>
        </p:spPr>
        <p:txBody>
          <a:bodyPr wrap="square" lIns="0" tIns="0" rIns="0" bIns="0" rtlCol="0">
            <a:noAutofit/>
          </a:bodyPr>
          <a:lstStyle/>
          <a:p>
            <a:pPr>
              <a:lnSpc>
                <a:spcPct val="80000"/>
              </a:lnSpc>
            </a:pPr>
            <a:r>
              <a:rPr lang="en-US" sz="1400" b="1" cap="all" dirty="0">
                <a:solidFill>
                  <a:schemeClr val="bg1"/>
                </a:solidFill>
                <a:latin typeface="+mj-lt"/>
              </a:rPr>
              <a:t>Fast open</a:t>
            </a:r>
          </a:p>
          <a:p>
            <a:pPr>
              <a:lnSpc>
                <a:spcPct val="80000"/>
              </a:lnSpc>
            </a:pPr>
            <a:r>
              <a:rPr lang="en-US" sz="1400" b="1" cap="all" dirty="0">
                <a:solidFill>
                  <a:schemeClr val="bg1"/>
                </a:solidFill>
                <a:latin typeface="+mj-lt"/>
              </a:rPr>
              <a:t>infrastructures </a:t>
            </a:r>
          </a:p>
        </p:txBody>
      </p:sp>
      <p:sp>
        <p:nvSpPr>
          <p:cNvPr id="4427" name="T4">
            <a:extLst>
              <a:ext uri="{FF2B5EF4-FFF2-40B4-BE49-F238E27FC236}">
                <a16:creationId xmlns:a16="http://schemas.microsoft.com/office/drawing/2014/main" id="{895DC4C9-F354-4B2E-BB8E-72706A3BFB84}"/>
              </a:ext>
            </a:extLst>
          </p:cNvPr>
          <p:cNvSpPr txBox="1"/>
          <p:nvPr/>
        </p:nvSpPr>
        <p:spPr>
          <a:xfrm>
            <a:off x="1125220" y="2053234"/>
            <a:ext cx="2162494" cy="966192"/>
          </a:xfrm>
          <a:prstGeom prst="rect">
            <a:avLst/>
          </a:prstGeom>
          <a:noFill/>
        </p:spPr>
        <p:txBody>
          <a:bodyPr wrap="square" lIns="0" tIns="0" rIns="0" bIns="0" rtlCol="0">
            <a:noAutofit/>
          </a:bodyPr>
          <a:lstStyle/>
          <a:p>
            <a:r>
              <a:rPr lang="en-US" sz="900" dirty="0">
                <a:solidFill>
                  <a:schemeClr val="bg1"/>
                </a:solidFill>
              </a:rPr>
              <a:t>“Making a difference in a generic, highly flexible ICT infrastructure that delivers instantly and ubiquitously accessible ultra-high bandwidth connectivity, massive storage and processing as well as application platforms that adapt to utilize the available resources optimal.”</a:t>
            </a:r>
          </a:p>
        </p:txBody>
      </p:sp>
      <p:sp>
        <p:nvSpPr>
          <p:cNvPr id="136" name="Tekstvak 135">
            <a:extLst>
              <a:ext uri="{FF2B5EF4-FFF2-40B4-BE49-F238E27FC236}">
                <a16:creationId xmlns:a16="http://schemas.microsoft.com/office/drawing/2014/main" id="{1C588266-E2C2-4ECE-8396-4E38310551C3}"/>
              </a:ext>
            </a:extLst>
          </p:cNvPr>
          <p:cNvSpPr txBox="1"/>
          <p:nvPr/>
        </p:nvSpPr>
        <p:spPr>
          <a:xfrm>
            <a:off x="5498938" y="3227295"/>
            <a:ext cx="1178724" cy="769441"/>
          </a:xfrm>
          <a:prstGeom prst="rect">
            <a:avLst/>
          </a:prstGeom>
          <a:noFill/>
        </p:spPr>
        <p:txBody>
          <a:bodyPr wrap="square" rtlCol="0" anchor="ctr">
            <a:noAutofit/>
          </a:bodyPr>
          <a:lstStyle/>
          <a:p>
            <a:pPr algn="ctr"/>
            <a:r>
              <a:rPr lang="en-GB" sz="900" cap="all" dirty="0">
                <a:solidFill>
                  <a:schemeClr val="bg1"/>
                </a:solidFill>
                <a:latin typeface="+mj-lt"/>
              </a:rPr>
              <a:t>Innovation Challenge areas</a:t>
            </a:r>
          </a:p>
        </p:txBody>
      </p:sp>
      <p:grpSp>
        <p:nvGrpSpPr>
          <p:cNvPr id="16" name="HYPERLINKS">
            <a:extLst>
              <a:ext uri="{FF2B5EF4-FFF2-40B4-BE49-F238E27FC236}">
                <a16:creationId xmlns:a16="http://schemas.microsoft.com/office/drawing/2014/main" id="{7DBC7CF7-A8D7-46C1-ADD5-D7642A0EB170}"/>
              </a:ext>
            </a:extLst>
          </p:cNvPr>
          <p:cNvGrpSpPr/>
          <p:nvPr/>
        </p:nvGrpSpPr>
        <p:grpSpPr>
          <a:xfrm>
            <a:off x="541943" y="1079332"/>
            <a:ext cx="11291776" cy="4999408"/>
            <a:chOff x="574158" y="1060854"/>
            <a:chExt cx="11291776" cy="4999408"/>
          </a:xfrm>
          <a:solidFill>
            <a:schemeClr val="tx2">
              <a:alpha val="0"/>
            </a:schemeClr>
          </a:solidFill>
        </p:grpSpPr>
        <p:sp>
          <p:nvSpPr>
            <p:cNvPr id="15" name="HYPER4">
              <a:hlinkClick r:id="" action="ppaction://noaction"/>
              <a:extLst>
                <a:ext uri="{FF2B5EF4-FFF2-40B4-BE49-F238E27FC236}">
                  <a16:creationId xmlns:a16="http://schemas.microsoft.com/office/drawing/2014/main" id="{64DCAFAB-3989-4C0A-AFEA-E93E0B641CCD}"/>
                </a:ext>
              </a:extLst>
            </p:cNvPr>
            <p:cNvSpPr/>
            <p:nvPr/>
          </p:nvSpPr>
          <p:spPr>
            <a:xfrm>
              <a:off x="574158" y="1190847"/>
              <a:ext cx="2860149" cy="20788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4" name="HYPER3">
              <a:hlinkClick r:id="" action="ppaction://noaction"/>
              <a:extLst>
                <a:ext uri="{FF2B5EF4-FFF2-40B4-BE49-F238E27FC236}">
                  <a16:creationId xmlns:a16="http://schemas.microsoft.com/office/drawing/2014/main" id="{E371C67A-7F62-4785-A8A6-D3385930C88D}"/>
                </a:ext>
              </a:extLst>
            </p:cNvPr>
            <p:cNvSpPr/>
            <p:nvPr/>
          </p:nvSpPr>
          <p:spPr>
            <a:xfrm>
              <a:off x="574158" y="3981377"/>
              <a:ext cx="2860149" cy="20788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6" name="HYPER2">
              <a:hlinkClick r:id="" action="ppaction://noaction"/>
              <a:extLst>
                <a:ext uri="{FF2B5EF4-FFF2-40B4-BE49-F238E27FC236}">
                  <a16:creationId xmlns:a16="http://schemas.microsoft.com/office/drawing/2014/main" id="{9585F283-BA7F-4CE4-885E-41AFF7452FF7}"/>
                </a:ext>
              </a:extLst>
            </p:cNvPr>
            <p:cNvSpPr/>
            <p:nvPr/>
          </p:nvSpPr>
          <p:spPr>
            <a:xfrm>
              <a:off x="8824559" y="4309211"/>
              <a:ext cx="3041375" cy="16995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5" name="HYPER1">
              <a:hlinkClick r:id="rId3" action="ppaction://hlinksldjump"/>
              <a:extLst>
                <a:ext uri="{FF2B5EF4-FFF2-40B4-BE49-F238E27FC236}">
                  <a16:creationId xmlns:a16="http://schemas.microsoft.com/office/drawing/2014/main" id="{6CD31104-6A98-49F4-915E-F2194156D1BA}"/>
                </a:ext>
              </a:extLst>
            </p:cNvPr>
            <p:cNvSpPr/>
            <p:nvPr/>
          </p:nvSpPr>
          <p:spPr>
            <a:xfrm>
              <a:off x="8776467" y="1060854"/>
              <a:ext cx="2807054" cy="16995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137" name="Tijdelijke aanduiding voor tekst 25">
            <a:extLst>
              <a:ext uri="{FF2B5EF4-FFF2-40B4-BE49-F238E27FC236}">
                <a16:creationId xmlns:a16="http://schemas.microsoft.com/office/drawing/2014/main" id="{6FDB64EA-4A2F-4687-A8D4-CAAC29FD6328}"/>
              </a:ext>
            </a:extLst>
          </p:cNvPr>
          <p:cNvSpPr txBox="1">
            <a:spLocks/>
          </p:cNvSpPr>
          <p:nvPr/>
        </p:nvSpPr>
        <p:spPr>
          <a:xfrm>
            <a:off x="5616312" y="389469"/>
            <a:ext cx="959375" cy="171317"/>
          </a:xfrm>
          <a:prstGeom prst="rect">
            <a:avLst/>
          </a:prstGeom>
          <a:blipFill>
            <a:blip r:embed="rId4" cstate="hqprint">
              <a:extLst>
                <a:ext uri="{28A0092B-C50C-407E-A947-70E740481C1C}">
                  <a14:useLocalDpi xmlns:a14="http://schemas.microsoft.com/office/drawing/2010/main"/>
                </a:ext>
              </a:extLst>
            </a:blip>
            <a:stretch>
              <a:fillRect/>
            </a:stretch>
          </a:blipFill>
          <a:ln w="12700">
            <a:noFill/>
          </a:ln>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100" kern="1200">
                <a:solidFill>
                  <a:schemeClr val="bg1"/>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5"/>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6"/>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5"/>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en-GB"/>
              <a:t> </a:t>
            </a:r>
          </a:p>
        </p:txBody>
      </p:sp>
      <p:pic>
        <p:nvPicPr>
          <p:cNvPr id="138" name="Picture 138">
            <a:extLst>
              <a:ext uri="{FF2B5EF4-FFF2-40B4-BE49-F238E27FC236}">
                <a16:creationId xmlns:a16="http://schemas.microsoft.com/office/drawing/2014/main" id="{97F1CC13-894D-4F4B-B30F-34E5F9FF7200}"/>
              </a:ext>
            </a:extLst>
          </p:cNvPr>
          <p:cNvPicPr>
            <a:picLocks noChangeAspect="1"/>
          </p:cNvPicPr>
          <p:nvPr/>
        </p:nvPicPr>
        <p:blipFill>
          <a:blip r:embed="rId7">
            <a:duotone>
              <a:schemeClr val="bg2">
                <a:shade val="45000"/>
                <a:satMod val="135000"/>
              </a:schemeClr>
              <a:prstClr val="white"/>
            </a:duotone>
          </a:blip>
          <a:stretch>
            <a:fillRect/>
          </a:stretch>
        </p:blipFill>
        <p:spPr>
          <a:xfrm>
            <a:off x="6026944" y="6350670"/>
            <a:ext cx="138112" cy="166174"/>
          </a:xfrm>
          <a:prstGeom prst="rect">
            <a:avLst/>
          </a:prstGeom>
        </p:spPr>
      </p:pic>
      <p:sp>
        <p:nvSpPr>
          <p:cNvPr id="139" name="Vrije vorm: vorm 138">
            <a:extLst>
              <a:ext uri="{FF2B5EF4-FFF2-40B4-BE49-F238E27FC236}">
                <a16:creationId xmlns:a16="http://schemas.microsoft.com/office/drawing/2014/main" id="{2848BECF-4B5D-4BE0-A0DB-98EA83CD83AA}"/>
              </a:ext>
            </a:extLst>
          </p:cNvPr>
          <p:cNvSpPr/>
          <p:nvPr/>
        </p:nvSpPr>
        <p:spPr>
          <a:xfrm>
            <a:off x="5960315" y="6292890"/>
            <a:ext cx="281735" cy="281735"/>
          </a:xfrm>
          <a:custGeom>
            <a:avLst/>
            <a:gdLst>
              <a:gd name="connsiteX0" fmla="*/ 139350 w 278701"/>
              <a:gd name="connsiteY0" fmla="*/ 25299 h 278701"/>
              <a:gd name="connsiteX1" fmla="*/ 253403 w 278701"/>
              <a:gd name="connsiteY1" fmla="*/ 139351 h 278701"/>
              <a:gd name="connsiteX2" fmla="*/ 139350 w 278701"/>
              <a:gd name="connsiteY2" fmla="*/ 253403 h 278701"/>
              <a:gd name="connsiteX3" fmla="*/ 25298 w 278701"/>
              <a:gd name="connsiteY3" fmla="*/ 139351 h 278701"/>
              <a:gd name="connsiteX4" fmla="*/ 139350 w 278701"/>
              <a:gd name="connsiteY4" fmla="*/ 25299 h 278701"/>
              <a:gd name="connsiteX5" fmla="*/ 139350 w 278701"/>
              <a:gd name="connsiteY5" fmla="*/ 0 h 278701"/>
              <a:gd name="connsiteX6" fmla="*/ 0 w 278701"/>
              <a:gd name="connsiteY6" fmla="*/ 139351 h 278701"/>
              <a:gd name="connsiteX7" fmla="*/ 139350 w 278701"/>
              <a:gd name="connsiteY7" fmla="*/ 278702 h 278701"/>
              <a:gd name="connsiteX8" fmla="*/ 278702 w 278701"/>
              <a:gd name="connsiteY8" fmla="*/ 139351 h 278701"/>
              <a:gd name="connsiteX9" fmla="*/ 139350 w 278701"/>
              <a:gd name="connsiteY9" fmla="*/ 0 h 278701"/>
              <a:gd name="connsiteX10" fmla="*/ 139350 w 278701"/>
              <a:gd name="connsiteY10" fmla="*/ 0 h 278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8701" h="278701">
                <a:moveTo>
                  <a:pt x="139350" y="25299"/>
                </a:moveTo>
                <a:cubicBezTo>
                  <a:pt x="202208" y="25299"/>
                  <a:pt x="253403" y="76434"/>
                  <a:pt x="253403" y="139351"/>
                </a:cubicBezTo>
                <a:cubicBezTo>
                  <a:pt x="253403" y="202208"/>
                  <a:pt x="202268" y="253403"/>
                  <a:pt x="139350" y="253403"/>
                </a:cubicBezTo>
                <a:cubicBezTo>
                  <a:pt x="76494" y="253403"/>
                  <a:pt x="25298" y="202268"/>
                  <a:pt x="25298" y="139351"/>
                </a:cubicBezTo>
                <a:cubicBezTo>
                  <a:pt x="25298" y="76434"/>
                  <a:pt x="76494" y="25299"/>
                  <a:pt x="139350" y="25299"/>
                </a:cubicBezTo>
                <a:moveTo>
                  <a:pt x="139350" y="0"/>
                </a:moveTo>
                <a:cubicBezTo>
                  <a:pt x="62379" y="0"/>
                  <a:pt x="0" y="62379"/>
                  <a:pt x="0" y="139351"/>
                </a:cubicBezTo>
                <a:cubicBezTo>
                  <a:pt x="0" y="216323"/>
                  <a:pt x="62379" y="278702"/>
                  <a:pt x="139350" y="278702"/>
                </a:cubicBezTo>
                <a:cubicBezTo>
                  <a:pt x="216323" y="278702"/>
                  <a:pt x="278702" y="216323"/>
                  <a:pt x="278702" y="139351"/>
                </a:cubicBezTo>
                <a:cubicBezTo>
                  <a:pt x="278702" y="62379"/>
                  <a:pt x="216323" y="0"/>
                  <a:pt x="139350" y="0"/>
                </a:cubicBezTo>
                <a:lnTo>
                  <a:pt x="139350" y="0"/>
                </a:lnTo>
                <a:close/>
              </a:path>
            </a:pathLst>
          </a:custGeom>
          <a:solidFill>
            <a:srgbClr val="C5C5C5"/>
          </a:solidFill>
          <a:ln w="5978" cap="flat">
            <a:noFill/>
            <a:prstDash val="solid"/>
            <a:miter/>
          </a:ln>
        </p:spPr>
        <p:txBody>
          <a:bodyPr rtlCol="0" anchor="ctr"/>
          <a:lstStyle/>
          <a:p>
            <a:endParaRPr lang="en-GB"/>
          </a:p>
        </p:txBody>
      </p:sp>
      <p:sp>
        <p:nvSpPr>
          <p:cNvPr id="4" name="HYPERLINK NL MAP">
            <a:hlinkClick r:id="rId8" action="ppaction://hlinksldjump"/>
            <a:extLst>
              <a:ext uri="{FF2B5EF4-FFF2-40B4-BE49-F238E27FC236}">
                <a16:creationId xmlns:a16="http://schemas.microsoft.com/office/drawing/2014/main" id="{A67E7B98-3621-4026-AA98-ED8E646791DC}"/>
              </a:ext>
            </a:extLst>
          </p:cNvPr>
          <p:cNvSpPr/>
          <p:nvPr/>
        </p:nvSpPr>
        <p:spPr>
          <a:xfrm>
            <a:off x="5945492" y="6285227"/>
            <a:ext cx="303409" cy="303409"/>
          </a:xfrm>
          <a:prstGeom prst="rect">
            <a:avLst/>
          </a:prstGeom>
          <a:solidFill>
            <a:schemeClr val="tx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39176047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Horizontal)">
                                      <p:cBhvr>
                                        <p:cTn id="7" dur="500"/>
                                        <p:tgtEl>
                                          <p:spTgt spid="3"/>
                                        </p:tgtEl>
                                      </p:cBhvr>
                                    </p:animEffect>
                                  </p:childTnLst>
                                </p:cTn>
                              </p:par>
                              <p:par>
                                <p:cTn id="8" presetID="16" presetClass="entr" presetSubtype="37" fill="hold" nodeType="withEffect">
                                  <p:stCondLst>
                                    <p:cond delay="0"/>
                                  </p:stCondLst>
                                  <p:childTnLst>
                                    <p:set>
                                      <p:cBhvr>
                                        <p:cTn id="9" dur="1" fill="hold">
                                          <p:stCondLst>
                                            <p:cond delay="0"/>
                                          </p:stCondLst>
                                        </p:cTn>
                                        <p:tgtEl>
                                          <p:spTgt spid="9751"/>
                                        </p:tgtEl>
                                        <p:attrNameLst>
                                          <p:attrName>style.visibility</p:attrName>
                                        </p:attrNameLst>
                                      </p:cBhvr>
                                      <p:to>
                                        <p:strVal val="visible"/>
                                      </p:to>
                                    </p:set>
                                    <p:animEffect transition="in" filter="barn(outVertical)">
                                      <p:cBhvr>
                                        <p:cTn id="10" dur="500"/>
                                        <p:tgtEl>
                                          <p:spTgt spid="9751"/>
                                        </p:tgtEl>
                                      </p:cBhvr>
                                    </p:animEffect>
                                  </p:childTnLst>
                                </p:cTn>
                              </p:par>
                              <p:par>
                                <p:cTn id="11" presetID="53" presetClass="entr" presetSubtype="16" fill="hold" grpId="0" nodeType="withEffect">
                                  <p:stCondLst>
                                    <p:cond delay="250"/>
                                  </p:stCondLst>
                                  <p:childTnLst>
                                    <p:set>
                                      <p:cBhvr>
                                        <p:cTn id="12" dur="1" fill="hold">
                                          <p:stCondLst>
                                            <p:cond delay="0"/>
                                          </p:stCondLst>
                                        </p:cTn>
                                        <p:tgtEl>
                                          <p:spTgt spid="4306"/>
                                        </p:tgtEl>
                                        <p:attrNameLst>
                                          <p:attrName>style.visibility</p:attrName>
                                        </p:attrNameLst>
                                      </p:cBhvr>
                                      <p:to>
                                        <p:strVal val="visible"/>
                                      </p:to>
                                    </p:set>
                                    <p:anim calcmode="lin" valueType="num">
                                      <p:cBhvr>
                                        <p:cTn id="13" dur="1000" fill="hold"/>
                                        <p:tgtEl>
                                          <p:spTgt spid="4306"/>
                                        </p:tgtEl>
                                        <p:attrNameLst>
                                          <p:attrName>ppt_w</p:attrName>
                                        </p:attrNameLst>
                                      </p:cBhvr>
                                      <p:tavLst>
                                        <p:tav tm="0">
                                          <p:val>
                                            <p:fltVal val="0"/>
                                          </p:val>
                                        </p:tav>
                                        <p:tav tm="100000">
                                          <p:val>
                                            <p:strVal val="#ppt_w"/>
                                          </p:val>
                                        </p:tav>
                                      </p:tavLst>
                                    </p:anim>
                                    <p:anim calcmode="lin" valueType="num">
                                      <p:cBhvr>
                                        <p:cTn id="14" dur="1000" fill="hold"/>
                                        <p:tgtEl>
                                          <p:spTgt spid="4306"/>
                                        </p:tgtEl>
                                        <p:attrNameLst>
                                          <p:attrName>ppt_h</p:attrName>
                                        </p:attrNameLst>
                                      </p:cBhvr>
                                      <p:tavLst>
                                        <p:tav tm="0">
                                          <p:val>
                                            <p:fltVal val="0"/>
                                          </p:val>
                                        </p:tav>
                                        <p:tav tm="100000">
                                          <p:val>
                                            <p:strVal val="#ppt_h"/>
                                          </p:val>
                                        </p:tav>
                                      </p:tavLst>
                                    </p:anim>
                                    <p:animEffect transition="in" filter="fade">
                                      <p:cBhvr>
                                        <p:cTn id="15" dur="1000"/>
                                        <p:tgtEl>
                                          <p:spTgt spid="4306"/>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136"/>
                                        </p:tgtEl>
                                        <p:attrNameLst>
                                          <p:attrName>style.visibility</p:attrName>
                                        </p:attrNameLst>
                                      </p:cBhvr>
                                      <p:to>
                                        <p:strVal val="visible"/>
                                      </p:to>
                                    </p:set>
                                    <p:animEffect transition="in" filter="fade">
                                      <p:cBhvr>
                                        <p:cTn id="18" dur="750"/>
                                        <p:tgtEl>
                                          <p:spTgt spid="136"/>
                                        </p:tgtEl>
                                      </p:cBhvr>
                                    </p:animEffect>
                                  </p:childTnLst>
                                </p:cTn>
                              </p:par>
                              <p:par>
                                <p:cTn id="19" presetID="2" presetClass="entr" presetSubtype="2" decel="10000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 calcmode="lin" valueType="num">
                                      <p:cBhvr additive="base">
                                        <p:cTn id="21" dur="1000" fill="hold"/>
                                        <p:tgtEl>
                                          <p:spTgt spid="2"/>
                                        </p:tgtEl>
                                        <p:attrNameLst>
                                          <p:attrName>ppt_x</p:attrName>
                                        </p:attrNameLst>
                                      </p:cBhvr>
                                      <p:tavLst>
                                        <p:tav tm="0">
                                          <p:val>
                                            <p:strVal val="1+#ppt_w/2"/>
                                          </p:val>
                                        </p:tav>
                                        <p:tav tm="100000">
                                          <p:val>
                                            <p:strVal val="#ppt_x"/>
                                          </p:val>
                                        </p:tav>
                                      </p:tavLst>
                                    </p:anim>
                                    <p:anim calcmode="lin" valueType="num">
                                      <p:cBhvr additive="base">
                                        <p:cTn id="22" dur="1000" fill="hold"/>
                                        <p:tgtEl>
                                          <p:spTgt spid="2"/>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100"/>
                                  </p:stCondLst>
                                  <p:childTnLst>
                                    <p:set>
                                      <p:cBhvr>
                                        <p:cTn id="24" dur="1" fill="hold">
                                          <p:stCondLst>
                                            <p:cond delay="0"/>
                                          </p:stCondLst>
                                        </p:cTn>
                                        <p:tgtEl>
                                          <p:spTgt spid="4417"/>
                                        </p:tgtEl>
                                        <p:attrNameLst>
                                          <p:attrName>style.visibility</p:attrName>
                                        </p:attrNameLst>
                                      </p:cBhvr>
                                      <p:to>
                                        <p:strVal val="visible"/>
                                      </p:to>
                                    </p:set>
                                    <p:anim calcmode="lin" valueType="num">
                                      <p:cBhvr additive="base">
                                        <p:cTn id="25" dur="1000" fill="hold"/>
                                        <p:tgtEl>
                                          <p:spTgt spid="4417"/>
                                        </p:tgtEl>
                                        <p:attrNameLst>
                                          <p:attrName>ppt_x</p:attrName>
                                        </p:attrNameLst>
                                      </p:cBhvr>
                                      <p:tavLst>
                                        <p:tav tm="0">
                                          <p:val>
                                            <p:strVal val="1+#ppt_w/2"/>
                                          </p:val>
                                        </p:tav>
                                        <p:tav tm="100000">
                                          <p:val>
                                            <p:strVal val="#ppt_x"/>
                                          </p:val>
                                        </p:tav>
                                      </p:tavLst>
                                    </p:anim>
                                    <p:anim calcmode="lin" valueType="num">
                                      <p:cBhvr additive="base">
                                        <p:cTn id="26" dur="1000" fill="hold"/>
                                        <p:tgtEl>
                                          <p:spTgt spid="4417"/>
                                        </p:tgtEl>
                                        <p:attrNameLst>
                                          <p:attrName>ppt_y</p:attrName>
                                        </p:attrNameLst>
                                      </p:cBhvr>
                                      <p:tavLst>
                                        <p:tav tm="0">
                                          <p:val>
                                            <p:strVal val="#ppt_y"/>
                                          </p:val>
                                        </p:tav>
                                        <p:tav tm="100000">
                                          <p:val>
                                            <p:strVal val="#ppt_y"/>
                                          </p:val>
                                        </p:tav>
                                      </p:tavLst>
                                    </p:anim>
                                  </p:childTnLst>
                                </p:cTn>
                              </p:par>
                              <p:par>
                                <p:cTn id="27" presetID="2" presetClass="entr" presetSubtype="2" decel="100000" fill="hold" grpId="0" nodeType="withEffect">
                                  <p:stCondLst>
                                    <p:cond delay="200"/>
                                  </p:stCondLst>
                                  <p:childTnLst>
                                    <p:set>
                                      <p:cBhvr>
                                        <p:cTn id="28" dur="1" fill="hold">
                                          <p:stCondLst>
                                            <p:cond delay="0"/>
                                          </p:stCondLst>
                                        </p:cTn>
                                        <p:tgtEl>
                                          <p:spTgt spid="4418"/>
                                        </p:tgtEl>
                                        <p:attrNameLst>
                                          <p:attrName>style.visibility</p:attrName>
                                        </p:attrNameLst>
                                      </p:cBhvr>
                                      <p:to>
                                        <p:strVal val="visible"/>
                                      </p:to>
                                    </p:set>
                                    <p:anim calcmode="lin" valueType="num">
                                      <p:cBhvr additive="base">
                                        <p:cTn id="29" dur="1000" fill="hold"/>
                                        <p:tgtEl>
                                          <p:spTgt spid="4418"/>
                                        </p:tgtEl>
                                        <p:attrNameLst>
                                          <p:attrName>ppt_x</p:attrName>
                                        </p:attrNameLst>
                                      </p:cBhvr>
                                      <p:tavLst>
                                        <p:tav tm="0">
                                          <p:val>
                                            <p:strVal val="1+#ppt_w/2"/>
                                          </p:val>
                                        </p:tav>
                                        <p:tav tm="100000">
                                          <p:val>
                                            <p:strVal val="#ppt_x"/>
                                          </p:val>
                                        </p:tav>
                                      </p:tavLst>
                                    </p:anim>
                                    <p:anim calcmode="lin" valueType="num">
                                      <p:cBhvr additive="base">
                                        <p:cTn id="30" dur="1000" fill="hold"/>
                                        <p:tgtEl>
                                          <p:spTgt spid="4418"/>
                                        </p:tgtEl>
                                        <p:attrNameLst>
                                          <p:attrName>ppt_y</p:attrName>
                                        </p:attrNameLst>
                                      </p:cBhvr>
                                      <p:tavLst>
                                        <p:tav tm="0">
                                          <p:val>
                                            <p:strVal val="#ppt_y"/>
                                          </p:val>
                                        </p:tav>
                                        <p:tav tm="100000">
                                          <p:val>
                                            <p:strVal val="#ppt_y"/>
                                          </p:val>
                                        </p:tav>
                                      </p:tavLst>
                                    </p:anim>
                                  </p:childTnLst>
                                </p:cTn>
                              </p:par>
                              <p:par>
                                <p:cTn id="31" presetID="53" presetClass="entr" presetSubtype="16" fill="hold" nodeType="withEffect">
                                  <p:stCondLst>
                                    <p:cond delay="750"/>
                                  </p:stCondLst>
                                  <p:childTnLst>
                                    <p:set>
                                      <p:cBhvr>
                                        <p:cTn id="32" dur="1" fill="hold">
                                          <p:stCondLst>
                                            <p:cond delay="0"/>
                                          </p:stCondLst>
                                        </p:cTn>
                                        <p:tgtEl>
                                          <p:spTgt spid="4397"/>
                                        </p:tgtEl>
                                        <p:attrNameLst>
                                          <p:attrName>style.visibility</p:attrName>
                                        </p:attrNameLst>
                                      </p:cBhvr>
                                      <p:to>
                                        <p:strVal val="visible"/>
                                      </p:to>
                                    </p:set>
                                    <p:anim calcmode="lin" valueType="num">
                                      <p:cBhvr>
                                        <p:cTn id="33" dur="500" fill="hold"/>
                                        <p:tgtEl>
                                          <p:spTgt spid="4397"/>
                                        </p:tgtEl>
                                        <p:attrNameLst>
                                          <p:attrName>ppt_w</p:attrName>
                                        </p:attrNameLst>
                                      </p:cBhvr>
                                      <p:tavLst>
                                        <p:tav tm="0">
                                          <p:val>
                                            <p:fltVal val="0"/>
                                          </p:val>
                                        </p:tav>
                                        <p:tav tm="100000">
                                          <p:val>
                                            <p:strVal val="#ppt_w"/>
                                          </p:val>
                                        </p:tav>
                                      </p:tavLst>
                                    </p:anim>
                                    <p:anim calcmode="lin" valueType="num">
                                      <p:cBhvr>
                                        <p:cTn id="34" dur="500" fill="hold"/>
                                        <p:tgtEl>
                                          <p:spTgt spid="4397"/>
                                        </p:tgtEl>
                                        <p:attrNameLst>
                                          <p:attrName>ppt_h</p:attrName>
                                        </p:attrNameLst>
                                      </p:cBhvr>
                                      <p:tavLst>
                                        <p:tav tm="0">
                                          <p:val>
                                            <p:fltVal val="0"/>
                                          </p:val>
                                        </p:tav>
                                        <p:tav tm="100000">
                                          <p:val>
                                            <p:strVal val="#ppt_h"/>
                                          </p:val>
                                        </p:tav>
                                      </p:tavLst>
                                    </p:anim>
                                    <p:animEffect transition="in" filter="fade">
                                      <p:cBhvr>
                                        <p:cTn id="35" dur="500"/>
                                        <p:tgtEl>
                                          <p:spTgt spid="4397"/>
                                        </p:tgtEl>
                                      </p:cBhvr>
                                    </p:animEffect>
                                  </p:childTnLst>
                                </p:cTn>
                              </p:par>
                              <p:par>
                                <p:cTn id="36" presetID="53" presetClass="entr" presetSubtype="16" fill="hold" grpId="0" nodeType="withEffect">
                                  <p:stCondLst>
                                    <p:cond delay="1000"/>
                                  </p:stCondLst>
                                  <p:childTnLst>
                                    <p:set>
                                      <p:cBhvr>
                                        <p:cTn id="37" dur="1" fill="hold">
                                          <p:stCondLst>
                                            <p:cond delay="0"/>
                                          </p:stCondLst>
                                        </p:cTn>
                                        <p:tgtEl>
                                          <p:spTgt spid="4370"/>
                                        </p:tgtEl>
                                        <p:attrNameLst>
                                          <p:attrName>style.visibility</p:attrName>
                                        </p:attrNameLst>
                                      </p:cBhvr>
                                      <p:to>
                                        <p:strVal val="visible"/>
                                      </p:to>
                                    </p:set>
                                    <p:anim calcmode="lin" valueType="num">
                                      <p:cBhvr>
                                        <p:cTn id="38" dur="250" fill="hold"/>
                                        <p:tgtEl>
                                          <p:spTgt spid="4370"/>
                                        </p:tgtEl>
                                        <p:attrNameLst>
                                          <p:attrName>ppt_w</p:attrName>
                                        </p:attrNameLst>
                                      </p:cBhvr>
                                      <p:tavLst>
                                        <p:tav tm="0">
                                          <p:val>
                                            <p:fltVal val="0"/>
                                          </p:val>
                                        </p:tav>
                                        <p:tav tm="100000">
                                          <p:val>
                                            <p:strVal val="#ppt_w"/>
                                          </p:val>
                                        </p:tav>
                                      </p:tavLst>
                                    </p:anim>
                                    <p:anim calcmode="lin" valueType="num">
                                      <p:cBhvr>
                                        <p:cTn id="39" dur="250" fill="hold"/>
                                        <p:tgtEl>
                                          <p:spTgt spid="4370"/>
                                        </p:tgtEl>
                                        <p:attrNameLst>
                                          <p:attrName>ppt_h</p:attrName>
                                        </p:attrNameLst>
                                      </p:cBhvr>
                                      <p:tavLst>
                                        <p:tav tm="0">
                                          <p:val>
                                            <p:fltVal val="0"/>
                                          </p:val>
                                        </p:tav>
                                        <p:tav tm="100000">
                                          <p:val>
                                            <p:strVal val="#ppt_h"/>
                                          </p:val>
                                        </p:tav>
                                      </p:tavLst>
                                    </p:anim>
                                    <p:animEffect transition="in" filter="fade">
                                      <p:cBhvr>
                                        <p:cTn id="40" dur="250"/>
                                        <p:tgtEl>
                                          <p:spTgt spid="4370"/>
                                        </p:tgtEl>
                                      </p:cBhvr>
                                    </p:animEffect>
                                  </p:childTnLst>
                                </p:cTn>
                              </p:par>
                              <p:par>
                                <p:cTn id="41" presetID="6" presetClass="emph" presetSubtype="0" accel="48000" decel="52000" autoRev="1" fill="hold" grpId="1" nodeType="withEffect">
                                  <p:stCondLst>
                                    <p:cond delay="1000"/>
                                  </p:stCondLst>
                                  <p:childTnLst>
                                    <p:animScale>
                                      <p:cBhvr>
                                        <p:cTn id="42" dur="250" fill="hold"/>
                                        <p:tgtEl>
                                          <p:spTgt spid="4370"/>
                                        </p:tgtEl>
                                      </p:cBhvr>
                                      <p:by x="110000" y="110000"/>
                                    </p:animScale>
                                  </p:childTnLst>
                                </p:cTn>
                              </p:par>
                              <p:par>
                                <p:cTn id="43" presetID="53" presetClass="entr" presetSubtype="16" fill="hold" grpId="0" nodeType="withEffect">
                                  <p:stCondLst>
                                    <p:cond delay="1100"/>
                                  </p:stCondLst>
                                  <p:childTnLst>
                                    <p:set>
                                      <p:cBhvr>
                                        <p:cTn id="44" dur="1" fill="hold">
                                          <p:stCondLst>
                                            <p:cond delay="0"/>
                                          </p:stCondLst>
                                        </p:cTn>
                                        <p:tgtEl>
                                          <p:spTgt spid="4369"/>
                                        </p:tgtEl>
                                        <p:attrNameLst>
                                          <p:attrName>style.visibility</p:attrName>
                                        </p:attrNameLst>
                                      </p:cBhvr>
                                      <p:to>
                                        <p:strVal val="visible"/>
                                      </p:to>
                                    </p:set>
                                    <p:anim calcmode="lin" valueType="num">
                                      <p:cBhvr>
                                        <p:cTn id="45" dur="250" fill="hold"/>
                                        <p:tgtEl>
                                          <p:spTgt spid="4369"/>
                                        </p:tgtEl>
                                        <p:attrNameLst>
                                          <p:attrName>ppt_w</p:attrName>
                                        </p:attrNameLst>
                                      </p:cBhvr>
                                      <p:tavLst>
                                        <p:tav tm="0">
                                          <p:val>
                                            <p:fltVal val="0"/>
                                          </p:val>
                                        </p:tav>
                                        <p:tav tm="100000">
                                          <p:val>
                                            <p:strVal val="#ppt_w"/>
                                          </p:val>
                                        </p:tav>
                                      </p:tavLst>
                                    </p:anim>
                                    <p:anim calcmode="lin" valueType="num">
                                      <p:cBhvr>
                                        <p:cTn id="46" dur="250" fill="hold"/>
                                        <p:tgtEl>
                                          <p:spTgt spid="4369"/>
                                        </p:tgtEl>
                                        <p:attrNameLst>
                                          <p:attrName>ppt_h</p:attrName>
                                        </p:attrNameLst>
                                      </p:cBhvr>
                                      <p:tavLst>
                                        <p:tav tm="0">
                                          <p:val>
                                            <p:fltVal val="0"/>
                                          </p:val>
                                        </p:tav>
                                        <p:tav tm="100000">
                                          <p:val>
                                            <p:strVal val="#ppt_h"/>
                                          </p:val>
                                        </p:tav>
                                      </p:tavLst>
                                    </p:anim>
                                    <p:animEffect transition="in" filter="fade">
                                      <p:cBhvr>
                                        <p:cTn id="47" dur="250"/>
                                        <p:tgtEl>
                                          <p:spTgt spid="4369"/>
                                        </p:tgtEl>
                                      </p:cBhvr>
                                    </p:animEffect>
                                  </p:childTnLst>
                                </p:cTn>
                              </p:par>
                              <p:par>
                                <p:cTn id="48" presetID="6" presetClass="emph" presetSubtype="0" accel="48000" decel="52000" autoRev="1" fill="hold" grpId="1" nodeType="withEffect">
                                  <p:stCondLst>
                                    <p:cond delay="1100"/>
                                  </p:stCondLst>
                                  <p:childTnLst>
                                    <p:animScale>
                                      <p:cBhvr>
                                        <p:cTn id="49" dur="250" fill="hold"/>
                                        <p:tgtEl>
                                          <p:spTgt spid="4369"/>
                                        </p:tgtEl>
                                      </p:cBhvr>
                                      <p:by x="110000" y="110000"/>
                                    </p:animScale>
                                  </p:childTnLst>
                                </p:cTn>
                              </p:par>
                              <p:par>
                                <p:cTn id="50" presetID="53" presetClass="entr" presetSubtype="16" fill="hold" grpId="0" nodeType="withEffect">
                                  <p:stCondLst>
                                    <p:cond delay="1200"/>
                                  </p:stCondLst>
                                  <p:childTnLst>
                                    <p:set>
                                      <p:cBhvr>
                                        <p:cTn id="51" dur="1" fill="hold">
                                          <p:stCondLst>
                                            <p:cond delay="0"/>
                                          </p:stCondLst>
                                        </p:cTn>
                                        <p:tgtEl>
                                          <p:spTgt spid="4368"/>
                                        </p:tgtEl>
                                        <p:attrNameLst>
                                          <p:attrName>style.visibility</p:attrName>
                                        </p:attrNameLst>
                                      </p:cBhvr>
                                      <p:to>
                                        <p:strVal val="visible"/>
                                      </p:to>
                                    </p:set>
                                    <p:anim calcmode="lin" valueType="num">
                                      <p:cBhvr>
                                        <p:cTn id="52" dur="250" fill="hold"/>
                                        <p:tgtEl>
                                          <p:spTgt spid="4368"/>
                                        </p:tgtEl>
                                        <p:attrNameLst>
                                          <p:attrName>ppt_w</p:attrName>
                                        </p:attrNameLst>
                                      </p:cBhvr>
                                      <p:tavLst>
                                        <p:tav tm="0">
                                          <p:val>
                                            <p:fltVal val="0"/>
                                          </p:val>
                                        </p:tav>
                                        <p:tav tm="100000">
                                          <p:val>
                                            <p:strVal val="#ppt_w"/>
                                          </p:val>
                                        </p:tav>
                                      </p:tavLst>
                                    </p:anim>
                                    <p:anim calcmode="lin" valueType="num">
                                      <p:cBhvr>
                                        <p:cTn id="53" dur="250" fill="hold"/>
                                        <p:tgtEl>
                                          <p:spTgt spid="4368"/>
                                        </p:tgtEl>
                                        <p:attrNameLst>
                                          <p:attrName>ppt_h</p:attrName>
                                        </p:attrNameLst>
                                      </p:cBhvr>
                                      <p:tavLst>
                                        <p:tav tm="0">
                                          <p:val>
                                            <p:fltVal val="0"/>
                                          </p:val>
                                        </p:tav>
                                        <p:tav tm="100000">
                                          <p:val>
                                            <p:strVal val="#ppt_h"/>
                                          </p:val>
                                        </p:tav>
                                      </p:tavLst>
                                    </p:anim>
                                    <p:animEffect transition="in" filter="fade">
                                      <p:cBhvr>
                                        <p:cTn id="54" dur="250"/>
                                        <p:tgtEl>
                                          <p:spTgt spid="4368"/>
                                        </p:tgtEl>
                                      </p:cBhvr>
                                    </p:animEffect>
                                  </p:childTnLst>
                                </p:cTn>
                              </p:par>
                              <p:par>
                                <p:cTn id="55" presetID="6" presetClass="emph" presetSubtype="0" accel="48000" decel="52000" autoRev="1" fill="hold" grpId="1" nodeType="withEffect">
                                  <p:stCondLst>
                                    <p:cond delay="1200"/>
                                  </p:stCondLst>
                                  <p:childTnLst>
                                    <p:animScale>
                                      <p:cBhvr>
                                        <p:cTn id="56" dur="250" fill="hold"/>
                                        <p:tgtEl>
                                          <p:spTgt spid="4368"/>
                                        </p:tgtEl>
                                      </p:cBhvr>
                                      <p:by x="110000" y="110000"/>
                                    </p:animScale>
                                  </p:childTnLst>
                                </p:cTn>
                              </p:par>
                              <p:par>
                                <p:cTn id="57" presetID="53" presetClass="entr" presetSubtype="16" fill="hold" grpId="0" nodeType="withEffect">
                                  <p:stCondLst>
                                    <p:cond delay="1300"/>
                                  </p:stCondLst>
                                  <p:childTnLst>
                                    <p:set>
                                      <p:cBhvr>
                                        <p:cTn id="58" dur="1" fill="hold">
                                          <p:stCondLst>
                                            <p:cond delay="0"/>
                                          </p:stCondLst>
                                        </p:cTn>
                                        <p:tgtEl>
                                          <p:spTgt spid="4367"/>
                                        </p:tgtEl>
                                        <p:attrNameLst>
                                          <p:attrName>style.visibility</p:attrName>
                                        </p:attrNameLst>
                                      </p:cBhvr>
                                      <p:to>
                                        <p:strVal val="visible"/>
                                      </p:to>
                                    </p:set>
                                    <p:anim calcmode="lin" valueType="num">
                                      <p:cBhvr>
                                        <p:cTn id="59" dur="250" fill="hold"/>
                                        <p:tgtEl>
                                          <p:spTgt spid="4367"/>
                                        </p:tgtEl>
                                        <p:attrNameLst>
                                          <p:attrName>ppt_w</p:attrName>
                                        </p:attrNameLst>
                                      </p:cBhvr>
                                      <p:tavLst>
                                        <p:tav tm="0">
                                          <p:val>
                                            <p:fltVal val="0"/>
                                          </p:val>
                                        </p:tav>
                                        <p:tav tm="100000">
                                          <p:val>
                                            <p:strVal val="#ppt_w"/>
                                          </p:val>
                                        </p:tav>
                                      </p:tavLst>
                                    </p:anim>
                                    <p:anim calcmode="lin" valueType="num">
                                      <p:cBhvr>
                                        <p:cTn id="60" dur="250" fill="hold"/>
                                        <p:tgtEl>
                                          <p:spTgt spid="4367"/>
                                        </p:tgtEl>
                                        <p:attrNameLst>
                                          <p:attrName>ppt_h</p:attrName>
                                        </p:attrNameLst>
                                      </p:cBhvr>
                                      <p:tavLst>
                                        <p:tav tm="0">
                                          <p:val>
                                            <p:fltVal val="0"/>
                                          </p:val>
                                        </p:tav>
                                        <p:tav tm="100000">
                                          <p:val>
                                            <p:strVal val="#ppt_h"/>
                                          </p:val>
                                        </p:tav>
                                      </p:tavLst>
                                    </p:anim>
                                    <p:animEffect transition="in" filter="fade">
                                      <p:cBhvr>
                                        <p:cTn id="61" dur="250"/>
                                        <p:tgtEl>
                                          <p:spTgt spid="4367"/>
                                        </p:tgtEl>
                                      </p:cBhvr>
                                    </p:animEffect>
                                  </p:childTnLst>
                                </p:cTn>
                              </p:par>
                              <p:par>
                                <p:cTn id="62" presetID="6" presetClass="emph" presetSubtype="0" accel="48000" decel="52000" autoRev="1" fill="hold" grpId="1" nodeType="withEffect">
                                  <p:stCondLst>
                                    <p:cond delay="1300"/>
                                  </p:stCondLst>
                                  <p:childTnLst>
                                    <p:animScale>
                                      <p:cBhvr>
                                        <p:cTn id="63" dur="250" fill="hold"/>
                                        <p:tgtEl>
                                          <p:spTgt spid="4367"/>
                                        </p:tgtEl>
                                      </p:cBhvr>
                                      <p:by x="110000" y="110000"/>
                                    </p:animScale>
                                  </p:childTnLst>
                                </p:cTn>
                              </p:par>
                              <p:par>
                                <p:cTn id="64" presetID="53" presetClass="entr" presetSubtype="16" fill="hold" grpId="0" nodeType="withEffect">
                                  <p:stCondLst>
                                    <p:cond delay="1400"/>
                                  </p:stCondLst>
                                  <p:childTnLst>
                                    <p:set>
                                      <p:cBhvr>
                                        <p:cTn id="65" dur="1" fill="hold">
                                          <p:stCondLst>
                                            <p:cond delay="0"/>
                                          </p:stCondLst>
                                        </p:cTn>
                                        <p:tgtEl>
                                          <p:spTgt spid="4366"/>
                                        </p:tgtEl>
                                        <p:attrNameLst>
                                          <p:attrName>style.visibility</p:attrName>
                                        </p:attrNameLst>
                                      </p:cBhvr>
                                      <p:to>
                                        <p:strVal val="visible"/>
                                      </p:to>
                                    </p:set>
                                    <p:anim calcmode="lin" valueType="num">
                                      <p:cBhvr>
                                        <p:cTn id="66" dur="250" fill="hold"/>
                                        <p:tgtEl>
                                          <p:spTgt spid="4366"/>
                                        </p:tgtEl>
                                        <p:attrNameLst>
                                          <p:attrName>ppt_w</p:attrName>
                                        </p:attrNameLst>
                                      </p:cBhvr>
                                      <p:tavLst>
                                        <p:tav tm="0">
                                          <p:val>
                                            <p:fltVal val="0"/>
                                          </p:val>
                                        </p:tav>
                                        <p:tav tm="100000">
                                          <p:val>
                                            <p:strVal val="#ppt_w"/>
                                          </p:val>
                                        </p:tav>
                                      </p:tavLst>
                                    </p:anim>
                                    <p:anim calcmode="lin" valueType="num">
                                      <p:cBhvr>
                                        <p:cTn id="67" dur="250" fill="hold"/>
                                        <p:tgtEl>
                                          <p:spTgt spid="4366"/>
                                        </p:tgtEl>
                                        <p:attrNameLst>
                                          <p:attrName>ppt_h</p:attrName>
                                        </p:attrNameLst>
                                      </p:cBhvr>
                                      <p:tavLst>
                                        <p:tav tm="0">
                                          <p:val>
                                            <p:fltVal val="0"/>
                                          </p:val>
                                        </p:tav>
                                        <p:tav tm="100000">
                                          <p:val>
                                            <p:strVal val="#ppt_h"/>
                                          </p:val>
                                        </p:tav>
                                      </p:tavLst>
                                    </p:anim>
                                    <p:animEffect transition="in" filter="fade">
                                      <p:cBhvr>
                                        <p:cTn id="68" dur="250"/>
                                        <p:tgtEl>
                                          <p:spTgt spid="4366"/>
                                        </p:tgtEl>
                                      </p:cBhvr>
                                    </p:animEffect>
                                  </p:childTnLst>
                                </p:cTn>
                              </p:par>
                              <p:par>
                                <p:cTn id="69" presetID="6" presetClass="emph" presetSubtype="0" accel="48000" decel="52000" autoRev="1" fill="hold" grpId="1" nodeType="withEffect">
                                  <p:stCondLst>
                                    <p:cond delay="1400"/>
                                  </p:stCondLst>
                                  <p:childTnLst>
                                    <p:animScale>
                                      <p:cBhvr>
                                        <p:cTn id="70" dur="250" fill="hold"/>
                                        <p:tgtEl>
                                          <p:spTgt spid="4366"/>
                                        </p:tgtEl>
                                      </p:cBhvr>
                                      <p:by x="110000" y="110000"/>
                                    </p:animScale>
                                  </p:childTnLst>
                                </p:cTn>
                              </p:par>
                              <p:par>
                                <p:cTn id="71" presetID="53" presetClass="entr" presetSubtype="16" fill="hold" grpId="0" nodeType="withEffect">
                                  <p:stCondLst>
                                    <p:cond delay="1500"/>
                                  </p:stCondLst>
                                  <p:childTnLst>
                                    <p:set>
                                      <p:cBhvr>
                                        <p:cTn id="72" dur="1" fill="hold">
                                          <p:stCondLst>
                                            <p:cond delay="0"/>
                                          </p:stCondLst>
                                        </p:cTn>
                                        <p:tgtEl>
                                          <p:spTgt spid="4365"/>
                                        </p:tgtEl>
                                        <p:attrNameLst>
                                          <p:attrName>style.visibility</p:attrName>
                                        </p:attrNameLst>
                                      </p:cBhvr>
                                      <p:to>
                                        <p:strVal val="visible"/>
                                      </p:to>
                                    </p:set>
                                    <p:anim calcmode="lin" valueType="num">
                                      <p:cBhvr>
                                        <p:cTn id="73" dur="250" fill="hold"/>
                                        <p:tgtEl>
                                          <p:spTgt spid="4365"/>
                                        </p:tgtEl>
                                        <p:attrNameLst>
                                          <p:attrName>ppt_w</p:attrName>
                                        </p:attrNameLst>
                                      </p:cBhvr>
                                      <p:tavLst>
                                        <p:tav tm="0">
                                          <p:val>
                                            <p:fltVal val="0"/>
                                          </p:val>
                                        </p:tav>
                                        <p:tav tm="100000">
                                          <p:val>
                                            <p:strVal val="#ppt_w"/>
                                          </p:val>
                                        </p:tav>
                                      </p:tavLst>
                                    </p:anim>
                                    <p:anim calcmode="lin" valueType="num">
                                      <p:cBhvr>
                                        <p:cTn id="74" dur="250" fill="hold"/>
                                        <p:tgtEl>
                                          <p:spTgt spid="4365"/>
                                        </p:tgtEl>
                                        <p:attrNameLst>
                                          <p:attrName>ppt_h</p:attrName>
                                        </p:attrNameLst>
                                      </p:cBhvr>
                                      <p:tavLst>
                                        <p:tav tm="0">
                                          <p:val>
                                            <p:fltVal val="0"/>
                                          </p:val>
                                        </p:tav>
                                        <p:tav tm="100000">
                                          <p:val>
                                            <p:strVal val="#ppt_h"/>
                                          </p:val>
                                        </p:tav>
                                      </p:tavLst>
                                    </p:anim>
                                    <p:animEffect transition="in" filter="fade">
                                      <p:cBhvr>
                                        <p:cTn id="75" dur="250"/>
                                        <p:tgtEl>
                                          <p:spTgt spid="4365"/>
                                        </p:tgtEl>
                                      </p:cBhvr>
                                    </p:animEffect>
                                  </p:childTnLst>
                                </p:cTn>
                              </p:par>
                              <p:par>
                                <p:cTn id="76" presetID="6" presetClass="emph" presetSubtype="0" accel="48000" decel="52000" autoRev="1" fill="hold" grpId="1" nodeType="withEffect">
                                  <p:stCondLst>
                                    <p:cond delay="1500"/>
                                  </p:stCondLst>
                                  <p:childTnLst>
                                    <p:animScale>
                                      <p:cBhvr>
                                        <p:cTn id="77" dur="250" fill="hold"/>
                                        <p:tgtEl>
                                          <p:spTgt spid="4365"/>
                                        </p:tgtEl>
                                      </p:cBhvr>
                                      <p:by x="110000" y="110000"/>
                                    </p:animScale>
                                  </p:childTnLst>
                                </p:cTn>
                              </p:par>
                              <p:par>
                                <p:cTn id="78" presetID="2" presetClass="entr" presetSubtype="2" decel="100000" fill="hold" grpId="0" nodeType="withEffect">
                                  <p:stCondLst>
                                    <p:cond delay="250"/>
                                  </p:stCondLst>
                                  <p:childTnLst>
                                    <p:set>
                                      <p:cBhvr>
                                        <p:cTn id="79" dur="1" fill="hold">
                                          <p:stCondLst>
                                            <p:cond delay="0"/>
                                          </p:stCondLst>
                                        </p:cTn>
                                        <p:tgtEl>
                                          <p:spTgt spid="4421"/>
                                        </p:tgtEl>
                                        <p:attrNameLst>
                                          <p:attrName>style.visibility</p:attrName>
                                        </p:attrNameLst>
                                      </p:cBhvr>
                                      <p:to>
                                        <p:strVal val="visible"/>
                                      </p:to>
                                    </p:set>
                                    <p:anim calcmode="lin" valueType="num">
                                      <p:cBhvr additive="base">
                                        <p:cTn id="80" dur="1000" fill="hold"/>
                                        <p:tgtEl>
                                          <p:spTgt spid="4421"/>
                                        </p:tgtEl>
                                        <p:attrNameLst>
                                          <p:attrName>ppt_x</p:attrName>
                                        </p:attrNameLst>
                                      </p:cBhvr>
                                      <p:tavLst>
                                        <p:tav tm="0">
                                          <p:val>
                                            <p:strVal val="1+#ppt_w/2"/>
                                          </p:val>
                                        </p:tav>
                                        <p:tav tm="100000">
                                          <p:val>
                                            <p:strVal val="#ppt_x"/>
                                          </p:val>
                                        </p:tav>
                                      </p:tavLst>
                                    </p:anim>
                                    <p:anim calcmode="lin" valueType="num">
                                      <p:cBhvr additive="base">
                                        <p:cTn id="81" dur="1000" fill="hold"/>
                                        <p:tgtEl>
                                          <p:spTgt spid="4421"/>
                                        </p:tgtEl>
                                        <p:attrNameLst>
                                          <p:attrName>ppt_y</p:attrName>
                                        </p:attrNameLst>
                                      </p:cBhvr>
                                      <p:tavLst>
                                        <p:tav tm="0">
                                          <p:val>
                                            <p:strVal val="#ppt_y"/>
                                          </p:val>
                                        </p:tav>
                                        <p:tav tm="100000">
                                          <p:val>
                                            <p:strVal val="#ppt_y"/>
                                          </p:val>
                                        </p:tav>
                                      </p:tavLst>
                                    </p:anim>
                                  </p:childTnLst>
                                </p:cTn>
                              </p:par>
                              <p:par>
                                <p:cTn id="82" presetID="2" presetClass="entr" presetSubtype="2" decel="100000" fill="hold" grpId="0" nodeType="withEffect">
                                  <p:stCondLst>
                                    <p:cond delay="350"/>
                                  </p:stCondLst>
                                  <p:childTnLst>
                                    <p:set>
                                      <p:cBhvr>
                                        <p:cTn id="83" dur="1" fill="hold">
                                          <p:stCondLst>
                                            <p:cond delay="0"/>
                                          </p:stCondLst>
                                        </p:cTn>
                                        <p:tgtEl>
                                          <p:spTgt spid="4422"/>
                                        </p:tgtEl>
                                        <p:attrNameLst>
                                          <p:attrName>style.visibility</p:attrName>
                                        </p:attrNameLst>
                                      </p:cBhvr>
                                      <p:to>
                                        <p:strVal val="visible"/>
                                      </p:to>
                                    </p:set>
                                    <p:anim calcmode="lin" valueType="num">
                                      <p:cBhvr additive="base">
                                        <p:cTn id="84" dur="1000" fill="hold"/>
                                        <p:tgtEl>
                                          <p:spTgt spid="4422"/>
                                        </p:tgtEl>
                                        <p:attrNameLst>
                                          <p:attrName>ppt_x</p:attrName>
                                        </p:attrNameLst>
                                      </p:cBhvr>
                                      <p:tavLst>
                                        <p:tav tm="0">
                                          <p:val>
                                            <p:strVal val="1+#ppt_w/2"/>
                                          </p:val>
                                        </p:tav>
                                        <p:tav tm="100000">
                                          <p:val>
                                            <p:strVal val="#ppt_x"/>
                                          </p:val>
                                        </p:tav>
                                      </p:tavLst>
                                    </p:anim>
                                    <p:anim calcmode="lin" valueType="num">
                                      <p:cBhvr additive="base">
                                        <p:cTn id="85" dur="1000" fill="hold"/>
                                        <p:tgtEl>
                                          <p:spTgt spid="4422"/>
                                        </p:tgtEl>
                                        <p:attrNameLst>
                                          <p:attrName>ppt_y</p:attrName>
                                        </p:attrNameLst>
                                      </p:cBhvr>
                                      <p:tavLst>
                                        <p:tav tm="0">
                                          <p:val>
                                            <p:strVal val="#ppt_y"/>
                                          </p:val>
                                        </p:tav>
                                        <p:tav tm="100000">
                                          <p:val>
                                            <p:strVal val="#ppt_y"/>
                                          </p:val>
                                        </p:tav>
                                      </p:tavLst>
                                    </p:anim>
                                  </p:childTnLst>
                                </p:cTn>
                              </p:par>
                              <p:par>
                                <p:cTn id="86" presetID="2" presetClass="entr" presetSubtype="2" decel="100000" fill="hold" grpId="0" nodeType="withEffect">
                                  <p:stCondLst>
                                    <p:cond delay="450"/>
                                  </p:stCondLst>
                                  <p:childTnLst>
                                    <p:set>
                                      <p:cBhvr>
                                        <p:cTn id="87" dur="1" fill="hold">
                                          <p:stCondLst>
                                            <p:cond delay="0"/>
                                          </p:stCondLst>
                                        </p:cTn>
                                        <p:tgtEl>
                                          <p:spTgt spid="4423"/>
                                        </p:tgtEl>
                                        <p:attrNameLst>
                                          <p:attrName>style.visibility</p:attrName>
                                        </p:attrNameLst>
                                      </p:cBhvr>
                                      <p:to>
                                        <p:strVal val="visible"/>
                                      </p:to>
                                    </p:set>
                                    <p:anim calcmode="lin" valueType="num">
                                      <p:cBhvr additive="base">
                                        <p:cTn id="88" dur="1000" fill="hold"/>
                                        <p:tgtEl>
                                          <p:spTgt spid="4423"/>
                                        </p:tgtEl>
                                        <p:attrNameLst>
                                          <p:attrName>ppt_x</p:attrName>
                                        </p:attrNameLst>
                                      </p:cBhvr>
                                      <p:tavLst>
                                        <p:tav tm="0">
                                          <p:val>
                                            <p:strVal val="1+#ppt_w/2"/>
                                          </p:val>
                                        </p:tav>
                                        <p:tav tm="100000">
                                          <p:val>
                                            <p:strVal val="#ppt_x"/>
                                          </p:val>
                                        </p:tav>
                                      </p:tavLst>
                                    </p:anim>
                                    <p:anim calcmode="lin" valueType="num">
                                      <p:cBhvr additive="base">
                                        <p:cTn id="89" dur="1000" fill="hold"/>
                                        <p:tgtEl>
                                          <p:spTgt spid="4423"/>
                                        </p:tgtEl>
                                        <p:attrNameLst>
                                          <p:attrName>ppt_y</p:attrName>
                                        </p:attrNameLst>
                                      </p:cBhvr>
                                      <p:tavLst>
                                        <p:tav tm="0">
                                          <p:val>
                                            <p:strVal val="#ppt_y"/>
                                          </p:val>
                                        </p:tav>
                                        <p:tav tm="100000">
                                          <p:val>
                                            <p:strVal val="#ppt_y"/>
                                          </p:val>
                                        </p:tav>
                                      </p:tavLst>
                                    </p:anim>
                                  </p:childTnLst>
                                </p:cTn>
                              </p:par>
                              <p:par>
                                <p:cTn id="90" presetID="53" presetClass="entr" presetSubtype="16" fill="hold" nodeType="withEffect">
                                  <p:stCondLst>
                                    <p:cond delay="1000"/>
                                  </p:stCondLst>
                                  <p:childTnLst>
                                    <p:set>
                                      <p:cBhvr>
                                        <p:cTn id="91" dur="1" fill="hold">
                                          <p:stCondLst>
                                            <p:cond delay="0"/>
                                          </p:stCondLst>
                                        </p:cTn>
                                        <p:tgtEl>
                                          <p:spTgt spid="4394"/>
                                        </p:tgtEl>
                                        <p:attrNameLst>
                                          <p:attrName>style.visibility</p:attrName>
                                        </p:attrNameLst>
                                      </p:cBhvr>
                                      <p:to>
                                        <p:strVal val="visible"/>
                                      </p:to>
                                    </p:set>
                                    <p:anim calcmode="lin" valueType="num">
                                      <p:cBhvr>
                                        <p:cTn id="92" dur="500" fill="hold"/>
                                        <p:tgtEl>
                                          <p:spTgt spid="4394"/>
                                        </p:tgtEl>
                                        <p:attrNameLst>
                                          <p:attrName>ppt_w</p:attrName>
                                        </p:attrNameLst>
                                      </p:cBhvr>
                                      <p:tavLst>
                                        <p:tav tm="0">
                                          <p:val>
                                            <p:fltVal val="0"/>
                                          </p:val>
                                        </p:tav>
                                        <p:tav tm="100000">
                                          <p:val>
                                            <p:strVal val="#ppt_w"/>
                                          </p:val>
                                        </p:tav>
                                      </p:tavLst>
                                    </p:anim>
                                    <p:anim calcmode="lin" valueType="num">
                                      <p:cBhvr>
                                        <p:cTn id="93" dur="500" fill="hold"/>
                                        <p:tgtEl>
                                          <p:spTgt spid="4394"/>
                                        </p:tgtEl>
                                        <p:attrNameLst>
                                          <p:attrName>ppt_h</p:attrName>
                                        </p:attrNameLst>
                                      </p:cBhvr>
                                      <p:tavLst>
                                        <p:tav tm="0">
                                          <p:val>
                                            <p:fltVal val="0"/>
                                          </p:val>
                                        </p:tav>
                                        <p:tav tm="100000">
                                          <p:val>
                                            <p:strVal val="#ppt_h"/>
                                          </p:val>
                                        </p:tav>
                                      </p:tavLst>
                                    </p:anim>
                                    <p:animEffect transition="in" filter="fade">
                                      <p:cBhvr>
                                        <p:cTn id="94" dur="500"/>
                                        <p:tgtEl>
                                          <p:spTgt spid="4394"/>
                                        </p:tgtEl>
                                      </p:cBhvr>
                                    </p:animEffect>
                                  </p:childTnLst>
                                </p:cTn>
                              </p:par>
                              <p:par>
                                <p:cTn id="95" presetID="53" presetClass="entr" presetSubtype="16" fill="hold" grpId="0" nodeType="withEffect">
                                  <p:stCondLst>
                                    <p:cond delay="1250"/>
                                  </p:stCondLst>
                                  <p:childTnLst>
                                    <p:set>
                                      <p:cBhvr>
                                        <p:cTn id="96" dur="1" fill="hold">
                                          <p:stCondLst>
                                            <p:cond delay="0"/>
                                          </p:stCondLst>
                                        </p:cTn>
                                        <p:tgtEl>
                                          <p:spTgt spid="4358"/>
                                        </p:tgtEl>
                                        <p:attrNameLst>
                                          <p:attrName>style.visibility</p:attrName>
                                        </p:attrNameLst>
                                      </p:cBhvr>
                                      <p:to>
                                        <p:strVal val="visible"/>
                                      </p:to>
                                    </p:set>
                                    <p:anim calcmode="lin" valueType="num">
                                      <p:cBhvr>
                                        <p:cTn id="97" dur="250" fill="hold"/>
                                        <p:tgtEl>
                                          <p:spTgt spid="4358"/>
                                        </p:tgtEl>
                                        <p:attrNameLst>
                                          <p:attrName>ppt_w</p:attrName>
                                        </p:attrNameLst>
                                      </p:cBhvr>
                                      <p:tavLst>
                                        <p:tav tm="0">
                                          <p:val>
                                            <p:fltVal val="0"/>
                                          </p:val>
                                        </p:tav>
                                        <p:tav tm="100000">
                                          <p:val>
                                            <p:strVal val="#ppt_w"/>
                                          </p:val>
                                        </p:tav>
                                      </p:tavLst>
                                    </p:anim>
                                    <p:anim calcmode="lin" valueType="num">
                                      <p:cBhvr>
                                        <p:cTn id="98" dur="250" fill="hold"/>
                                        <p:tgtEl>
                                          <p:spTgt spid="4358"/>
                                        </p:tgtEl>
                                        <p:attrNameLst>
                                          <p:attrName>ppt_h</p:attrName>
                                        </p:attrNameLst>
                                      </p:cBhvr>
                                      <p:tavLst>
                                        <p:tav tm="0">
                                          <p:val>
                                            <p:fltVal val="0"/>
                                          </p:val>
                                        </p:tav>
                                        <p:tav tm="100000">
                                          <p:val>
                                            <p:strVal val="#ppt_h"/>
                                          </p:val>
                                        </p:tav>
                                      </p:tavLst>
                                    </p:anim>
                                    <p:animEffect transition="in" filter="fade">
                                      <p:cBhvr>
                                        <p:cTn id="99" dur="250"/>
                                        <p:tgtEl>
                                          <p:spTgt spid="4358"/>
                                        </p:tgtEl>
                                      </p:cBhvr>
                                    </p:animEffect>
                                  </p:childTnLst>
                                </p:cTn>
                              </p:par>
                              <p:par>
                                <p:cTn id="100" presetID="6" presetClass="emph" presetSubtype="0" accel="48000" decel="52000" autoRev="1" fill="hold" grpId="1" nodeType="withEffect">
                                  <p:stCondLst>
                                    <p:cond delay="1250"/>
                                  </p:stCondLst>
                                  <p:childTnLst>
                                    <p:animScale>
                                      <p:cBhvr>
                                        <p:cTn id="101" dur="250" fill="hold"/>
                                        <p:tgtEl>
                                          <p:spTgt spid="4358"/>
                                        </p:tgtEl>
                                      </p:cBhvr>
                                      <p:by x="110000" y="110000"/>
                                    </p:animScale>
                                  </p:childTnLst>
                                </p:cTn>
                              </p:par>
                              <p:par>
                                <p:cTn id="102" presetID="53" presetClass="entr" presetSubtype="16" fill="hold" grpId="0" nodeType="withEffect">
                                  <p:stCondLst>
                                    <p:cond delay="1350"/>
                                  </p:stCondLst>
                                  <p:childTnLst>
                                    <p:set>
                                      <p:cBhvr>
                                        <p:cTn id="103" dur="1" fill="hold">
                                          <p:stCondLst>
                                            <p:cond delay="0"/>
                                          </p:stCondLst>
                                        </p:cTn>
                                        <p:tgtEl>
                                          <p:spTgt spid="4357"/>
                                        </p:tgtEl>
                                        <p:attrNameLst>
                                          <p:attrName>style.visibility</p:attrName>
                                        </p:attrNameLst>
                                      </p:cBhvr>
                                      <p:to>
                                        <p:strVal val="visible"/>
                                      </p:to>
                                    </p:set>
                                    <p:anim calcmode="lin" valueType="num">
                                      <p:cBhvr>
                                        <p:cTn id="104" dur="250" fill="hold"/>
                                        <p:tgtEl>
                                          <p:spTgt spid="4357"/>
                                        </p:tgtEl>
                                        <p:attrNameLst>
                                          <p:attrName>ppt_w</p:attrName>
                                        </p:attrNameLst>
                                      </p:cBhvr>
                                      <p:tavLst>
                                        <p:tav tm="0">
                                          <p:val>
                                            <p:fltVal val="0"/>
                                          </p:val>
                                        </p:tav>
                                        <p:tav tm="100000">
                                          <p:val>
                                            <p:strVal val="#ppt_w"/>
                                          </p:val>
                                        </p:tav>
                                      </p:tavLst>
                                    </p:anim>
                                    <p:anim calcmode="lin" valueType="num">
                                      <p:cBhvr>
                                        <p:cTn id="105" dur="250" fill="hold"/>
                                        <p:tgtEl>
                                          <p:spTgt spid="4357"/>
                                        </p:tgtEl>
                                        <p:attrNameLst>
                                          <p:attrName>ppt_h</p:attrName>
                                        </p:attrNameLst>
                                      </p:cBhvr>
                                      <p:tavLst>
                                        <p:tav tm="0">
                                          <p:val>
                                            <p:fltVal val="0"/>
                                          </p:val>
                                        </p:tav>
                                        <p:tav tm="100000">
                                          <p:val>
                                            <p:strVal val="#ppt_h"/>
                                          </p:val>
                                        </p:tav>
                                      </p:tavLst>
                                    </p:anim>
                                    <p:animEffect transition="in" filter="fade">
                                      <p:cBhvr>
                                        <p:cTn id="106" dur="250"/>
                                        <p:tgtEl>
                                          <p:spTgt spid="4357"/>
                                        </p:tgtEl>
                                      </p:cBhvr>
                                    </p:animEffect>
                                  </p:childTnLst>
                                </p:cTn>
                              </p:par>
                              <p:par>
                                <p:cTn id="107" presetID="6" presetClass="emph" presetSubtype="0" accel="48000" decel="52000" autoRev="1" fill="hold" grpId="1" nodeType="withEffect">
                                  <p:stCondLst>
                                    <p:cond delay="1350"/>
                                  </p:stCondLst>
                                  <p:childTnLst>
                                    <p:animScale>
                                      <p:cBhvr>
                                        <p:cTn id="108" dur="250" fill="hold"/>
                                        <p:tgtEl>
                                          <p:spTgt spid="4357"/>
                                        </p:tgtEl>
                                      </p:cBhvr>
                                      <p:by x="110000" y="110000"/>
                                    </p:animScale>
                                  </p:childTnLst>
                                </p:cTn>
                              </p:par>
                              <p:par>
                                <p:cTn id="109" presetID="53" presetClass="entr" presetSubtype="16" fill="hold" grpId="0" nodeType="withEffect">
                                  <p:stCondLst>
                                    <p:cond delay="1450"/>
                                  </p:stCondLst>
                                  <p:childTnLst>
                                    <p:set>
                                      <p:cBhvr>
                                        <p:cTn id="110" dur="1" fill="hold">
                                          <p:stCondLst>
                                            <p:cond delay="0"/>
                                          </p:stCondLst>
                                        </p:cTn>
                                        <p:tgtEl>
                                          <p:spTgt spid="4356"/>
                                        </p:tgtEl>
                                        <p:attrNameLst>
                                          <p:attrName>style.visibility</p:attrName>
                                        </p:attrNameLst>
                                      </p:cBhvr>
                                      <p:to>
                                        <p:strVal val="visible"/>
                                      </p:to>
                                    </p:set>
                                    <p:anim calcmode="lin" valueType="num">
                                      <p:cBhvr>
                                        <p:cTn id="111" dur="250" fill="hold"/>
                                        <p:tgtEl>
                                          <p:spTgt spid="4356"/>
                                        </p:tgtEl>
                                        <p:attrNameLst>
                                          <p:attrName>ppt_w</p:attrName>
                                        </p:attrNameLst>
                                      </p:cBhvr>
                                      <p:tavLst>
                                        <p:tav tm="0">
                                          <p:val>
                                            <p:fltVal val="0"/>
                                          </p:val>
                                        </p:tav>
                                        <p:tav tm="100000">
                                          <p:val>
                                            <p:strVal val="#ppt_w"/>
                                          </p:val>
                                        </p:tav>
                                      </p:tavLst>
                                    </p:anim>
                                    <p:anim calcmode="lin" valueType="num">
                                      <p:cBhvr>
                                        <p:cTn id="112" dur="250" fill="hold"/>
                                        <p:tgtEl>
                                          <p:spTgt spid="4356"/>
                                        </p:tgtEl>
                                        <p:attrNameLst>
                                          <p:attrName>ppt_h</p:attrName>
                                        </p:attrNameLst>
                                      </p:cBhvr>
                                      <p:tavLst>
                                        <p:tav tm="0">
                                          <p:val>
                                            <p:fltVal val="0"/>
                                          </p:val>
                                        </p:tav>
                                        <p:tav tm="100000">
                                          <p:val>
                                            <p:strVal val="#ppt_h"/>
                                          </p:val>
                                        </p:tav>
                                      </p:tavLst>
                                    </p:anim>
                                    <p:animEffect transition="in" filter="fade">
                                      <p:cBhvr>
                                        <p:cTn id="113" dur="250"/>
                                        <p:tgtEl>
                                          <p:spTgt spid="4356"/>
                                        </p:tgtEl>
                                      </p:cBhvr>
                                    </p:animEffect>
                                  </p:childTnLst>
                                </p:cTn>
                              </p:par>
                              <p:par>
                                <p:cTn id="114" presetID="6" presetClass="emph" presetSubtype="0" accel="48000" decel="52000" autoRev="1" fill="hold" grpId="1" nodeType="withEffect">
                                  <p:stCondLst>
                                    <p:cond delay="1450"/>
                                  </p:stCondLst>
                                  <p:childTnLst>
                                    <p:animScale>
                                      <p:cBhvr>
                                        <p:cTn id="115" dur="250" fill="hold"/>
                                        <p:tgtEl>
                                          <p:spTgt spid="4356"/>
                                        </p:tgtEl>
                                      </p:cBhvr>
                                      <p:by x="110000" y="110000"/>
                                    </p:animScale>
                                  </p:childTnLst>
                                </p:cTn>
                              </p:par>
                              <p:par>
                                <p:cTn id="116" presetID="53" presetClass="entr" presetSubtype="16" fill="hold" grpId="0" nodeType="withEffect">
                                  <p:stCondLst>
                                    <p:cond delay="1550"/>
                                  </p:stCondLst>
                                  <p:childTnLst>
                                    <p:set>
                                      <p:cBhvr>
                                        <p:cTn id="117" dur="1" fill="hold">
                                          <p:stCondLst>
                                            <p:cond delay="0"/>
                                          </p:stCondLst>
                                        </p:cTn>
                                        <p:tgtEl>
                                          <p:spTgt spid="4355"/>
                                        </p:tgtEl>
                                        <p:attrNameLst>
                                          <p:attrName>style.visibility</p:attrName>
                                        </p:attrNameLst>
                                      </p:cBhvr>
                                      <p:to>
                                        <p:strVal val="visible"/>
                                      </p:to>
                                    </p:set>
                                    <p:anim calcmode="lin" valueType="num">
                                      <p:cBhvr>
                                        <p:cTn id="118" dur="250" fill="hold"/>
                                        <p:tgtEl>
                                          <p:spTgt spid="4355"/>
                                        </p:tgtEl>
                                        <p:attrNameLst>
                                          <p:attrName>ppt_w</p:attrName>
                                        </p:attrNameLst>
                                      </p:cBhvr>
                                      <p:tavLst>
                                        <p:tav tm="0">
                                          <p:val>
                                            <p:fltVal val="0"/>
                                          </p:val>
                                        </p:tav>
                                        <p:tav tm="100000">
                                          <p:val>
                                            <p:strVal val="#ppt_w"/>
                                          </p:val>
                                        </p:tav>
                                      </p:tavLst>
                                    </p:anim>
                                    <p:anim calcmode="lin" valueType="num">
                                      <p:cBhvr>
                                        <p:cTn id="119" dur="250" fill="hold"/>
                                        <p:tgtEl>
                                          <p:spTgt spid="4355"/>
                                        </p:tgtEl>
                                        <p:attrNameLst>
                                          <p:attrName>ppt_h</p:attrName>
                                        </p:attrNameLst>
                                      </p:cBhvr>
                                      <p:tavLst>
                                        <p:tav tm="0">
                                          <p:val>
                                            <p:fltVal val="0"/>
                                          </p:val>
                                        </p:tav>
                                        <p:tav tm="100000">
                                          <p:val>
                                            <p:strVal val="#ppt_h"/>
                                          </p:val>
                                        </p:tav>
                                      </p:tavLst>
                                    </p:anim>
                                    <p:animEffect transition="in" filter="fade">
                                      <p:cBhvr>
                                        <p:cTn id="120" dur="250"/>
                                        <p:tgtEl>
                                          <p:spTgt spid="4355"/>
                                        </p:tgtEl>
                                      </p:cBhvr>
                                    </p:animEffect>
                                  </p:childTnLst>
                                </p:cTn>
                              </p:par>
                              <p:par>
                                <p:cTn id="121" presetID="6" presetClass="emph" presetSubtype="0" accel="48000" decel="52000" autoRev="1" fill="hold" grpId="1" nodeType="withEffect">
                                  <p:stCondLst>
                                    <p:cond delay="1550"/>
                                  </p:stCondLst>
                                  <p:childTnLst>
                                    <p:animScale>
                                      <p:cBhvr>
                                        <p:cTn id="122" dur="250" fill="hold"/>
                                        <p:tgtEl>
                                          <p:spTgt spid="4355"/>
                                        </p:tgtEl>
                                      </p:cBhvr>
                                      <p:by x="110000" y="110000"/>
                                    </p:animScale>
                                  </p:childTnLst>
                                </p:cTn>
                              </p:par>
                              <p:par>
                                <p:cTn id="123" presetID="53" presetClass="entr" presetSubtype="16" fill="hold" grpId="0" nodeType="withEffect">
                                  <p:stCondLst>
                                    <p:cond delay="1650"/>
                                  </p:stCondLst>
                                  <p:childTnLst>
                                    <p:set>
                                      <p:cBhvr>
                                        <p:cTn id="124" dur="1" fill="hold">
                                          <p:stCondLst>
                                            <p:cond delay="0"/>
                                          </p:stCondLst>
                                        </p:cTn>
                                        <p:tgtEl>
                                          <p:spTgt spid="4354"/>
                                        </p:tgtEl>
                                        <p:attrNameLst>
                                          <p:attrName>style.visibility</p:attrName>
                                        </p:attrNameLst>
                                      </p:cBhvr>
                                      <p:to>
                                        <p:strVal val="visible"/>
                                      </p:to>
                                    </p:set>
                                    <p:anim calcmode="lin" valueType="num">
                                      <p:cBhvr>
                                        <p:cTn id="125" dur="250" fill="hold"/>
                                        <p:tgtEl>
                                          <p:spTgt spid="4354"/>
                                        </p:tgtEl>
                                        <p:attrNameLst>
                                          <p:attrName>ppt_w</p:attrName>
                                        </p:attrNameLst>
                                      </p:cBhvr>
                                      <p:tavLst>
                                        <p:tav tm="0">
                                          <p:val>
                                            <p:fltVal val="0"/>
                                          </p:val>
                                        </p:tav>
                                        <p:tav tm="100000">
                                          <p:val>
                                            <p:strVal val="#ppt_w"/>
                                          </p:val>
                                        </p:tav>
                                      </p:tavLst>
                                    </p:anim>
                                    <p:anim calcmode="lin" valueType="num">
                                      <p:cBhvr>
                                        <p:cTn id="126" dur="250" fill="hold"/>
                                        <p:tgtEl>
                                          <p:spTgt spid="4354"/>
                                        </p:tgtEl>
                                        <p:attrNameLst>
                                          <p:attrName>ppt_h</p:attrName>
                                        </p:attrNameLst>
                                      </p:cBhvr>
                                      <p:tavLst>
                                        <p:tav tm="0">
                                          <p:val>
                                            <p:fltVal val="0"/>
                                          </p:val>
                                        </p:tav>
                                        <p:tav tm="100000">
                                          <p:val>
                                            <p:strVal val="#ppt_h"/>
                                          </p:val>
                                        </p:tav>
                                      </p:tavLst>
                                    </p:anim>
                                    <p:animEffect transition="in" filter="fade">
                                      <p:cBhvr>
                                        <p:cTn id="127" dur="250"/>
                                        <p:tgtEl>
                                          <p:spTgt spid="4354"/>
                                        </p:tgtEl>
                                      </p:cBhvr>
                                    </p:animEffect>
                                  </p:childTnLst>
                                </p:cTn>
                              </p:par>
                              <p:par>
                                <p:cTn id="128" presetID="6" presetClass="emph" presetSubtype="0" accel="48000" decel="52000" autoRev="1" fill="hold" grpId="1" nodeType="withEffect">
                                  <p:stCondLst>
                                    <p:cond delay="1650"/>
                                  </p:stCondLst>
                                  <p:childTnLst>
                                    <p:animScale>
                                      <p:cBhvr>
                                        <p:cTn id="129" dur="250" fill="hold"/>
                                        <p:tgtEl>
                                          <p:spTgt spid="4354"/>
                                        </p:tgtEl>
                                      </p:cBhvr>
                                      <p:by x="110000" y="110000"/>
                                    </p:animScale>
                                  </p:childTnLst>
                                </p:cTn>
                              </p:par>
                              <p:par>
                                <p:cTn id="130" presetID="2" presetClass="entr" presetSubtype="8" decel="100000" fill="hold" grpId="0" nodeType="withEffect">
                                  <p:stCondLst>
                                    <p:cond delay="500"/>
                                  </p:stCondLst>
                                  <p:childTnLst>
                                    <p:set>
                                      <p:cBhvr>
                                        <p:cTn id="131" dur="1" fill="hold">
                                          <p:stCondLst>
                                            <p:cond delay="0"/>
                                          </p:stCondLst>
                                        </p:cTn>
                                        <p:tgtEl>
                                          <p:spTgt spid="4429"/>
                                        </p:tgtEl>
                                        <p:attrNameLst>
                                          <p:attrName>style.visibility</p:attrName>
                                        </p:attrNameLst>
                                      </p:cBhvr>
                                      <p:to>
                                        <p:strVal val="visible"/>
                                      </p:to>
                                    </p:set>
                                    <p:anim calcmode="lin" valueType="num">
                                      <p:cBhvr additive="base">
                                        <p:cTn id="132" dur="1000" fill="hold"/>
                                        <p:tgtEl>
                                          <p:spTgt spid="4429"/>
                                        </p:tgtEl>
                                        <p:attrNameLst>
                                          <p:attrName>ppt_x</p:attrName>
                                        </p:attrNameLst>
                                      </p:cBhvr>
                                      <p:tavLst>
                                        <p:tav tm="0">
                                          <p:val>
                                            <p:strVal val="0-#ppt_w/2"/>
                                          </p:val>
                                        </p:tav>
                                        <p:tav tm="100000">
                                          <p:val>
                                            <p:strVal val="#ppt_x"/>
                                          </p:val>
                                        </p:tav>
                                      </p:tavLst>
                                    </p:anim>
                                    <p:anim calcmode="lin" valueType="num">
                                      <p:cBhvr additive="base">
                                        <p:cTn id="133" dur="1000" fill="hold"/>
                                        <p:tgtEl>
                                          <p:spTgt spid="4429"/>
                                        </p:tgtEl>
                                        <p:attrNameLst>
                                          <p:attrName>ppt_y</p:attrName>
                                        </p:attrNameLst>
                                      </p:cBhvr>
                                      <p:tavLst>
                                        <p:tav tm="0">
                                          <p:val>
                                            <p:strVal val="#ppt_y"/>
                                          </p:val>
                                        </p:tav>
                                        <p:tav tm="100000">
                                          <p:val>
                                            <p:strVal val="#ppt_y"/>
                                          </p:val>
                                        </p:tav>
                                      </p:tavLst>
                                    </p:anim>
                                  </p:childTnLst>
                                </p:cTn>
                              </p:par>
                              <p:par>
                                <p:cTn id="134" presetID="2" presetClass="entr" presetSubtype="8" decel="100000" fill="hold" grpId="0" nodeType="withEffect">
                                  <p:stCondLst>
                                    <p:cond delay="600"/>
                                  </p:stCondLst>
                                  <p:childTnLst>
                                    <p:set>
                                      <p:cBhvr>
                                        <p:cTn id="135" dur="1" fill="hold">
                                          <p:stCondLst>
                                            <p:cond delay="0"/>
                                          </p:stCondLst>
                                        </p:cTn>
                                        <p:tgtEl>
                                          <p:spTgt spid="4430"/>
                                        </p:tgtEl>
                                        <p:attrNameLst>
                                          <p:attrName>style.visibility</p:attrName>
                                        </p:attrNameLst>
                                      </p:cBhvr>
                                      <p:to>
                                        <p:strVal val="visible"/>
                                      </p:to>
                                    </p:set>
                                    <p:anim calcmode="lin" valueType="num">
                                      <p:cBhvr additive="base">
                                        <p:cTn id="136" dur="1000" fill="hold"/>
                                        <p:tgtEl>
                                          <p:spTgt spid="4430"/>
                                        </p:tgtEl>
                                        <p:attrNameLst>
                                          <p:attrName>ppt_x</p:attrName>
                                        </p:attrNameLst>
                                      </p:cBhvr>
                                      <p:tavLst>
                                        <p:tav tm="0">
                                          <p:val>
                                            <p:strVal val="0-#ppt_w/2"/>
                                          </p:val>
                                        </p:tav>
                                        <p:tav tm="100000">
                                          <p:val>
                                            <p:strVal val="#ppt_x"/>
                                          </p:val>
                                        </p:tav>
                                      </p:tavLst>
                                    </p:anim>
                                    <p:anim calcmode="lin" valueType="num">
                                      <p:cBhvr additive="base">
                                        <p:cTn id="137" dur="1000" fill="hold"/>
                                        <p:tgtEl>
                                          <p:spTgt spid="4430"/>
                                        </p:tgtEl>
                                        <p:attrNameLst>
                                          <p:attrName>ppt_y</p:attrName>
                                        </p:attrNameLst>
                                      </p:cBhvr>
                                      <p:tavLst>
                                        <p:tav tm="0">
                                          <p:val>
                                            <p:strVal val="#ppt_y"/>
                                          </p:val>
                                        </p:tav>
                                        <p:tav tm="100000">
                                          <p:val>
                                            <p:strVal val="#ppt_y"/>
                                          </p:val>
                                        </p:tav>
                                      </p:tavLst>
                                    </p:anim>
                                  </p:childTnLst>
                                </p:cTn>
                              </p:par>
                              <p:par>
                                <p:cTn id="138" presetID="2" presetClass="entr" presetSubtype="8" decel="100000" fill="hold" grpId="0" nodeType="withEffect">
                                  <p:stCondLst>
                                    <p:cond delay="700"/>
                                  </p:stCondLst>
                                  <p:childTnLst>
                                    <p:set>
                                      <p:cBhvr>
                                        <p:cTn id="139" dur="1" fill="hold">
                                          <p:stCondLst>
                                            <p:cond delay="0"/>
                                          </p:stCondLst>
                                        </p:cTn>
                                        <p:tgtEl>
                                          <p:spTgt spid="4431"/>
                                        </p:tgtEl>
                                        <p:attrNameLst>
                                          <p:attrName>style.visibility</p:attrName>
                                        </p:attrNameLst>
                                      </p:cBhvr>
                                      <p:to>
                                        <p:strVal val="visible"/>
                                      </p:to>
                                    </p:set>
                                    <p:anim calcmode="lin" valueType="num">
                                      <p:cBhvr additive="base">
                                        <p:cTn id="140" dur="1000" fill="hold"/>
                                        <p:tgtEl>
                                          <p:spTgt spid="4431"/>
                                        </p:tgtEl>
                                        <p:attrNameLst>
                                          <p:attrName>ppt_x</p:attrName>
                                        </p:attrNameLst>
                                      </p:cBhvr>
                                      <p:tavLst>
                                        <p:tav tm="0">
                                          <p:val>
                                            <p:strVal val="0-#ppt_w/2"/>
                                          </p:val>
                                        </p:tav>
                                        <p:tav tm="100000">
                                          <p:val>
                                            <p:strVal val="#ppt_x"/>
                                          </p:val>
                                        </p:tav>
                                      </p:tavLst>
                                    </p:anim>
                                    <p:anim calcmode="lin" valueType="num">
                                      <p:cBhvr additive="base">
                                        <p:cTn id="141" dur="1000" fill="hold"/>
                                        <p:tgtEl>
                                          <p:spTgt spid="4431"/>
                                        </p:tgtEl>
                                        <p:attrNameLst>
                                          <p:attrName>ppt_y</p:attrName>
                                        </p:attrNameLst>
                                      </p:cBhvr>
                                      <p:tavLst>
                                        <p:tav tm="0">
                                          <p:val>
                                            <p:strVal val="#ppt_y"/>
                                          </p:val>
                                        </p:tav>
                                        <p:tav tm="100000">
                                          <p:val>
                                            <p:strVal val="#ppt_y"/>
                                          </p:val>
                                        </p:tav>
                                      </p:tavLst>
                                    </p:anim>
                                  </p:childTnLst>
                                </p:cTn>
                              </p:par>
                              <p:par>
                                <p:cTn id="142" presetID="53" presetClass="entr" presetSubtype="16" fill="hold" nodeType="withEffect">
                                  <p:stCondLst>
                                    <p:cond delay="1250"/>
                                  </p:stCondLst>
                                  <p:childTnLst>
                                    <p:set>
                                      <p:cBhvr>
                                        <p:cTn id="143" dur="1" fill="hold">
                                          <p:stCondLst>
                                            <p:cond delay="0"/>
                                          </p:stCondLst>
                                        </p:cTn>
                                        <p:tgtEl>
                                          <p:spTgt spid="4386"/>
                                        </p:tgtEl>
                                        <p:attrNameLst>
                                          <p:attrName>style.visibility</p:attrName>
                                        </p:attrNameLst>
                                      </p:cBhvr>
                                      <p:to>
                                        <p:strVal val="visible"/>
                                      </p:to>
                                    </p:set>
                                    <p:anim calcmode="lin" valueType="num">
                                      <p:cBhvr>
                                        <p:cTn id="144" dur="500" fill="hold"/>
                                        <p:tgtEl>
                                          <p:spTgt spid="4386"/>
                                        </p:tgtEl>
                                        <p:attrNameLst>
                                          <p:attrName>ppt_w</p:attrName>
                                        </p:attrNameLst>
                                      </p:cBhvr>
                                      <p:tavLst>
                                        <p:tav tm="0">
                                          <p:val>
                                            <p:fltVal val="0"/>
                                          </p:val>
                                        </p:tav>
                                        <p:tav tm="100000">
                                          <p:val>
                                            <p:strVal val="#ppt_w"/>
                                          </p:val>
                                        </p:tav>
                                      </p:tavLst>
                                    </p:anim>
                                    <p:anim calcmode="lin" valueType="num">
                                      <p:cBhvr>
                                        <p:cTn id="145" dur="500" fill="hold"/>
                                        <p:tgtEl>
                                          <p:spTgt spid="4386"/>
                                        </p:tgtEl>
                                        <p:attrNameLst>
                                          <p:attrName>ppt_h</p:attrName>
                                        </p:attrNameLst>
                                      </p:cBhvr>
                                      <p:tavLst>
                                        <p:tav tm="0">
                                          <p:val>
                                            <p:fltVal val="0"/>
                                          </p:val>
                                        </p:tav>
                                        <p:tav tm="100000">
                                          <p:val>
                                            <p:strVal val="#ppt_h"/>
                                          </p:val>
                                        </p:tav>
                                      </p:tavLst>
                                    </p:anim>
                                    <p:animEffect transition="in" filter="fade">
                                      <p:cBhvr>
                                        <p:cTn id="146" dur="500"/>
                                        <p:tgtEl>
                                          <p:spTgt spid="4386"/>
                                        </p:tgtEl>
                                      </p:cBhvr>
                                    </p:animEffect>
                                  </p:childTnLst>
                                </p:cTn>
                              </p:par>
                              <p:par>
                                <p:cTn id="147" presetID="53" presetClass="entr" presetSubtype="16" fill="hold" grpId="0" nodeType="withEffect">
                                  <p:stCondLst>
                                    <p:cond delay="1500"/>
                                  </p:stCondLst>
                                  <p:childTnLst>
                                    <p:set>
                                      <p:cBhvr>
                                        <p:cTn id="148" dur="1" fill="hold">
                                          <p:stCondLst>
                                            <p:cond delay="0"/>
                                          </p:stCondLst>
                                        </p:cTn>
                                        <p:tgtEl>
                                          <p:spTgt spid="4364"/>
                                        </p:tgtEl>
                                        <p:attrNameLst>
                                          <p:attrName>style.visibility</p:attrName>
                                        </p:attrNameLst>
                                      </p:cBhvr>
                                      <p:to>
                                        <p:strVal val="visible"/>
                                      </p:to>
                                    </p:set>
                                    <p:anim calcmode="lin" valueType="num">
                                      <p:cBhvr>
                                        <p:cTn id="149" dur="250" fill="hold"/>
                                        <p:tgtEl>
                                          <p:spTgt spid="4364"/>
                                        </p:tgtEl>
                                        <p:attrNameLst>
                                          <p:attrName>ppt_w</p:attrName>
                                        </p:attrNameLst>
                                      </p:cBhvr>
                                      <p:tavLst>
                                        <p:tav tm="0">
                                          <p:val>
                                            <p:fltVal val="0"/>
                                          </p:val>
                                        </p:tav>
                                        <p:tav tm="100000">
                                          <p:val>
                                            <p:strVal val="#ppt_w"/>
                                          </p:val>
                                        </p:tav>
                                      </p:tavLst>
                                    </p:anim>
                                    <p:anim calcmode="lin" valueType="num">
                                      <p:cBhvr>
                                        <p:cTn id="150" dur="250" fill="hold"/>
                                        <p:tgtEl>
                                          <p:spTgt spid="4364"/>
                                        </p:tgtEl>
                                        <p:attrNameLst>
                                          <p:attrName>ppt_h</p:attrName>
                                        </p:attrNameLst>
                                      </p:cBhvr>
                                      <p:tavLst>
                                        <p:tav tm="0">
                                          <p:val>
                                            <p:fltVal val="0"/>
                                          </p:val>
                                        </p:tav>
                                        <p:tav tm="100000">
                                          <p:val>
                                            <p:strVal val="#ppt_h"/>
                                          </p:val>
                                        </p:tav>
                                      </p:tavLst>
                                    </p:anim>
                                    <p:animEffect transition="in" filter="fade">
                                      <p:cBhvr>
                                        <p:cTn id="151" dur="250"/>
                                        <p:tgtEl>
                                          <p:spTgt spid="4364"/>
                                        </p:tgtEl>
                                      </p:cBhvr>
                                    </p:animEffect>
                                  </p:childTnLst>
                                </p:cTn>
                              </p:par>
                              <p:par>
                                <p:cTn id="152" presetID="6" presetClass="emph" presetSubtype="0" accel="48000" decel="52000" autoRev="1" fill="hold" grpId="1" nodeType="withEffect">
                                  <p:stCondLst>
                                    <p:cond delay="1500"/>
                                  </p:stCondLst>
                                  <p:childTnLst>
                                    <p:animScale>
                                      <p:cBhvr>
                                        <p:cTn id="153" dur="250" fill="hold"/>
                                        <p:tgtEl>
                                          <p:spTgt spid="4364"/>
                                        </p:tgtEl>
                                      </p:cBhvr>
                                      <p:by x="110000" y="110000"/>
                                    </p:animScale>
                                  </p:childTnLst>
                                </p:cTn>
                              </p:par>
                              <p:par>
                                <p:cTn id="154" presetID="53" presetClass="entr" presetSubtype="16" fill="hold" grpId="0" nodeType="withEffect">
                                  <p:stCondLst>
                                    <p:cond delay="1600"/>
                                  </p:stCondLst>
                                  <p:childTnLst>
                                    <p:set>
                                      <p:cBhvr>
                                        <p:cTn id="155" dur="1" fill="hold">
                                          <p:stCondLst>
                                            <p:cond delay="0"/>
                                          </p:stCondLst>
                                        </p:cTn>
                                        <p:tgtEl>
                                          <p:spTgt spid="4363"/>
                                        </p:tgtEl>
                                        <p:attrNameLst>
                                          <p:attrName>style.visibility</p:attrName>
                                        </p:attrNameLst>
                                      </p:cBhvr>
                                      <p:to>
                                        <p:strVal val="visible"/>
                                      </p:to>
                                    </p:set>
                                    <p:anim calcmode="lin" valueType="num">
                                      <p:cBhvr>
                                        <p:cTn id="156" dur="250" fill="hold"/>
                                        <p:tgtEl>
                                          <p:spTgt spid="4363"/>
                                        </p:tgtEl>
                                        <p:attrNameLst>
                                          <p:attrName>ppt_w</p:attrName>
                                        </p:attrNameLst>
                                      </p:cBhvr>
                                      <p:tavLst>
                                        <p:tav tm="0">
                                          <p:val>
                                            <p:fltVal val="0"/>
                                          </p:val>
                                        </p:tav>
                                        <p:tav tm="100000">
                                          <p:val>
                                            <p:strVal val="#ppt_w"/>
                                          </p:val>
                                        </p:tav>
                                      </p:tavLst>
                                    </p:anim>
                                    <p:anim calcmode="lin" valueType="num">
                                      <p:cBhvr>
                                        <p:cTn id="157" dur="250" fill="hold"/>
                                        <p:tgtEl>
                                          <p:spTgt spid="4363"/>
                                        </p:tgtEl>
                                        <p:attrNameLst>
                                          <p:attrName>ppt_h</p:attrName>
                                        </p:attrNameLst>
                                      </p:cBhvr>
                                      <p:tavLst>
                                        <p:tav tm="0">
                                          <p:val>
                                            <p:fltVal val="0"/>
                                          </p:val>
                                        </p:tav>
                                        <p:tav tm="100000">
                                          <p:val>
                                            <p:strVal val="#ppt_h"/>
                                          </p:val>
                                        </p:tav>
                                      </p:tavLst>
                                    </p:anim>
                                    <p:animEffect transition="in" filter="fade">
                                      <p:cBhvr>
                                        <p:cTn id="158" dur="250"/>
                                        <p:tgtEl>
                                          <p:spTgt spid="4363"/>
                                        </p:tgtEl>
                                      </p:cBhvr>
                                    </p:animEffect>
                                  </p:childTnLst>
                                </p:cTn>
                              </p:par>
                              <p:par>
                                <p:cTn id="159" presetID="6" presetClass="emph" presetSubtype="0" accel="48000" decel="52000" autoRev="1" fill="hold" grpId="1" nodeType="withEffect">
                                  <p:stCondLst>
                                    <p:cond delay="1600"/>
                                  </p:stCondLst>
                                  <p:childTnLst>
                                    <p:animScale>
                                      <p:cBhvr>
                                        <p:cTn id="160" dur="250" fill="hold"/>
                                        <p:tgtEl>
                                          <p:spTgt spid="4363"/>
                                        </p:tgtEl>
                                      </p:cBhvr>
                                      <p:by x="110000" y="110000"/>
                                    </p:animScale>
                                  </p:childTnLst>
                                </p:cTn>
                              </p:par>
                              <p:par>
                                <p:cTn id="161" presetID="53" presetClass="entr" presetSubtype="16" fill="hold" grpId="0" nodeType="withEffect">
                                  <p:stCondLst>
                                    <p:cond delay="1700"/>
                                  </p:stCondLst>
                                  <p:childTnLst>
                                    <p:set>
                                      <p:cBhvr>
                                        <p:cTn id="162" dur="1" fill="hold">
                                          <p:stCondLst>
                                            <p:cond delay="0"/>
                                          </p:stCondLst>
                                        </p:cTn>
                                        <p:tgtEl>
                                          <p:spTgt spid="4362"/>
                                        </p:tgtEl>
                                        <p:attrNameLst>
                                          <p:attrName>style.visibility</p:attrName>
                                        </p:attrNameLst>
                                      </p:cBhvr>
                                      <p:to>
                                        <p:strVal val="visible"/>
                                      </p:to>
                                    </p:set>
                                    <p:anim calcmode="lin" valueType="num">
                                      <p:cBhvr>
                                        <p:cTn id="163" dur="250" fill="hold"/>
                                        <p:tgtEl>
                                          <p:spTgt spid="4362"/>
                                        </p:tgtEl>
                                        <p:attrNameLst>
                                          <p:attrName>ppt_w</p:attrName>
                                        </p:attrNameLst>
                                      </p:cBhvr>
                                      <p:tavLst>
                                        <p:tav tm="0">
                                          <p:val>
                                            <p:fltVal val="0"/>
                                          </p:val>
                                        </p:tav>
                                        <p:tav tm="100000">
                                          <p:val>
                                            <p:strVal val="#ppt_w"/>
                                          </p:val>
                                        </p:tav>
                                      </p:tavLst>
                                    </p:anim>
                                    <p:anim calcmode="lin" valueType="num">
                                      <p:cBhvr>
                                        <p:cTn id="164" dur="250" fill="hold"/>
                                        <p:tgtEl>
                                          <p:spTgt spid="4362"/>
                                        </p:tgtEl>
                                        <p:attrNameLst>
                                          <p:attrName>ppt_h</p:attrName>
                                        </p:attrNameLst>
                                      </p:cBhvr>
                                      <p:tavLst>
                                        <p:tav tm="0">
                                          <p:val>
                                            <p:fltVal val="0"/>
                                          </p:val>
                                        </p:tav>
                                        <p:tav tm="100000">
                                          <p:val>
                                            <p:strVal val="#ppt_h"/>
                                          </p:val>
                                        </p:tav>
                                      </p:tavLst>
                                    </p:anim>
                                    <p:animEffect transition="in" filter="fade">
                                      <p:cBhvr>
                                        <p:cTn id="165" dur="250"/>
                                        <p:tgtEl>
                                          <p:spTgt spid="4362"/>
                                        </p:tgtEl>
                                      </p:cBhvr>
                                    </p:animEffect>
                                  </p:childTnLst>
                                </p:cTn>
                              </p:par>
                              <p:par>
                                <p:cTn id="166" presetID="6" presetClass="emph" presetSubtype="0" accel="48000" decel="52000" autoRev="1" fill="hold" grpId="1" nodeType="withEffect">
                                  <p:stCondLst>
                                    <p:cond delay="1700"/>
                                  </p:stCondLst>
                                  <p:childTnLst>
                                    <p:animScale>
                                      <p:cBhvr>
                                        <p:cTn id="167" dur="250" fill="hold"/>
                                        <p:tgtEl>
                                          <p:spTgt spid="4362"/>
                                        </p:tgtEl>
                                      </p:cBhvr>
                                      <p:by x="110000" y="110000"/>
                                    </p:animScale>
                                  </p:childTnLst>
                                </p:cTn>
                              </p:par>
                              <p:par>
                                <p:cTn id="168" presetID="53" presetClass="entr" presetSubtype="16" fill="hold" grpId="0" nodeType="withEffect">
                                  <p:stCondLst>
                                    <p:cond delay="1800"/>
                                  </p:stCondLst>
                                  <p:childTnLst>
                                    <p:set>
                                      <p:cBhvr>
                                        <p:cTn id="169" dur="1" fill="hold">
                                          <p:stCondLst>
                                            <p:cond delay="0"/>
                                          </p:stCondLst>
                                        </p:cTn>
                                        <p:tgtEl>
                                          <p:spTgt spid="4361"/>
                                        </p:tgtEl>
                                        <p:attrNameLst>
                                          <p:attrName>style.visibility</p:attrName>
                                        </p:attrNameLst>
                                      </p:cBhvr>
                                      <p:to>
                                        <p:strVal val="visible"/>
                                      </p:to>
                                    </p:set>
                                    <p:anim calcmode="lin" valueType="num">
                                      <p:cBhvr>
                                        <p:cTn id="170" dur="250" fill="hold"/>
                                        <p:tgtEl>
                                          <p:spTgt spid="4361"/>
                                        </p:tgtEl>
                                        <p:attrNameLst>
                                          <p:attrName>ppt_w</p:attrName>
                                        </p:attrNameLst>
                                      </p:cBhvr>
                                      <p:tavLst>
                                        <p:tav tm="0">
                                          <p:val>
                                            <p:fltVal val="0"/>
                                          </p:val>
                                        </p:tav>
                                        <p:tav tm="100000">
                                          <p:val>
                                            <p:strVal val="#ppt_w"/>
                                          </p:val>
                                        </p:tav>
                                      </p:tavLst>
                                    </p:anim>
                                    <p:anim calcmode="lin" valueType="num">
                                      <p:cBhvr>
                                        <p:cTn id="171" dur="250" fill="hold"/>
                                        <p:tgtEl>
                                          <p:spTgt spid="4361"/>
                                        </p:tgtEl>
                                        <p:attrNameLst>
                                          <p:attrName>ppt_h</p:attrName>
                                        </p:attrNameLst>
                                      </p:cBhvr>
                                      <p:tavLst>
                                        <p:tav tm="0">
                                          <p:val>
                                            <p:fltVal val="0"/>
                                          </p:val>
                                        </p:tav>
                                        <p:tav tm="100000">
                                          <p:val>
                                            <p:strVal val="#ppt_h"/>
                                          </p:val>
                                        </p:tav>
                                      </p:tavLst>
                                    </p:anim>
                                    <p:animEffect transition="in" filter="fade">
                                      <p:cBhvr>
                                        <p:cTn id="172" dur="250"/>
                                        <p:tgtEl>
                                          <p:spTgt spid="4361"/>
                                        </p:tgtEl>
                                      </p:cBhvr>
                                    </p:animEffect>
                                  </p:childTnLst>
                                </p:cTn>
                              </p:par>
                              <p:par>
                                <p:cTn id="173" presetID="6" presetClass="emph" presetSubtype="0" accel="48000" decel="52000" autoRev="1" fill="hold" grpId="1" nodeType="withEffect">
                                  <p:stCondLst>
                                    <p:cond delay="1800"/>
                                  </p:stCondLst>
                                  <p:childTnLst>
                                    <p:animScale>
                                      <p:cBhvr>
                                        <p:cTn id="174" dur="250" fill="hold"/>
                                        <p:tgtEl>
                                          <p:spTgt spid="4361"/>
                                        </p:tgtEl>
                                      </p:cBhvr>
                                      <p:by x="110000" y="110000"/>
                                    </p:animScale>
                                  </p:childTnLst>
                                </p:cTn>
                              </p:par>
                              <p:par>
                                <p:cTn id="175" presetID="53" presetClass="entr" presetSubtype="16" fill="hold" grpId="0" nodeType="withEffect">
                                  <p:stCondLst>
                                    <p:cond delay="1900"/>
                                  </p:stCondLst>
                                  <p:childTnLst>
                                    <p:set>
                                      <p:cBhvr>
                                        <p:cTn id="176" dur="1" fill="hold">
                                          <p:stCondLst>
                                            <p:cond delay="0"/>
                                          </p:stCondLst>
                                        </p:cTn>
                                        <p:tgtEl>
                                          <p:spTgt spid="4360"/>
                                        </p:tgtEl>
                                        <p:attrNameLst>
                                          <p:attrName>style.visibility</p:attrName>
                                        </p:attrNameLst>
                                      </p:cBhvr>
                                      <p:to>
                                        <p:strVal val="visible"/>
                                      </p:to>
                                    </p:set>
                                    <p:anim calcmode="lin" valueType="num">
                                      <p:cBhvr>
                                        <p:cTn id="177" dur="250" fill="hold"/>
                                        <p:tgtEl>
                                          <p:spTgt spid="4360"/>
                                        </p:tgtEl>
                                        <p:attrNameLst>
                                          <p:attrName>ppt_w</p:attrName>
                                        </p:attrNameLst>
                                      </p:cBhvr>
                                      <p:tavLst>
                                        <p:tav tm="0">
                                          <p:val>
                                            <p:fltVal val="0"/>
                                          </p:val>
                                        </p:tav>
                                        <p:tav tm="100000">
                                          <p:val>
                                            <p:strVal val="#ppt_w"/>
                                          </p:val>
                                        </p:tav>
                                      </p:tavLst>
                                    </p:anim>
                                    <p:anim calcmode="lin" valueType="num">
                                      <p:cBhvr>
                                        <p:cTn id="178" dur="250" fill="hold"/>
                                        <p:tgtEl>
                                          <p:spTgt spid="4360"/>
                                        </p:tgtEl>
                                        <p:attrNameLst>
                                          <p:attrName>ppt_h</p:attrName>
                                        </p:attrNameLst>
                                      </p:cBhvr>
                                      <p:tavLst>
                                        <p:tav tm="0">
                                          <p:val>
                                            <p:fltVal val="0"/>
                                          </p:val>
                                        </p:tav>
                                        <p:tav tm="100000">
                                          <p:val>
                                            <p:strVal val="#ppt_h"/>
                                          </p:val>
                                        </p:tav>
                                      </p:tavLst>
                                    </p:anim>
                                    <p:animEffect transition="in" filter="fade">
                                      <p:cBhvr>
                                        <p:cTn id="179" dur="250"/>
                                        <p:tgtEl>
                                          <p:spTgt spid="4360"/>
                                        </p:tgtEl>
                                      </p:cBhvr>
                                    </p:animEffect>
                                  </p:childTnLst>
                                </p:cTn>
                              </p:par>
                              <p:par>
                                <p:cTn id="180" presetID="6" presetClass="emph" presetSubtype="0" accel="48000" decel="52000" autoRev="1" fill="hold" grpId="1" nodeType="withEffect">
                                  <p:stCondLst>
                                    <p:cond delay="1900"/>
                                  </p:stCondLst>
                                  <p:childTnLst>
                                    <p:animScale>
                                      <p:cBhvr>
                                        <p:cTn id="181" dur="250" fill="hold"/>
                                        <p:tgtEl>
                                          <p:spTgt spid="4360"/>
                                        </p:tgtEl>
                                      </p:cBhvr>
                                      <p:by x="110000" y="110000"/>
                                    </p:animScale>
                                  </p:childTnLst>
                                </p:cTn>
                              </p:par>
                              <p:par>
                                <p:cTn id="182" presetID="53" presetClass="entr" presetSubtype="16" fill="hold" grpId="0" nodeType="withEffect">
                                  <p:stCondLst>
                                    <p:cond delay="2000"/>
                                  </p:stCondLst>
                                  <p:childTnLst>
                                    <p:set>
                                      <p:cBhvr>
                                        <p:cTn id="183" dur="1" fill="hold">
                                          <p:stCondLst>
                                            <p:cond delay="0"/>
                                          </p:stCondLst>
                                        </p:cTn>
                                        <p:tgtEl>
                                          <p:spTgt spid="4359"/>
                                        </p:tgtEl>
                                        <p:attrNameLst>
                                          <p:attrName>style.visibility</p:attrName>
                                        </p:attrNameLst>
                                      </p:cBhvr>
                                      <p:to>
                                        <p:strVal val="visible"/>
                                      </p:to>
                                    </p:set>
                                    <p:anim calcmode="lin" valueType="num">
                                      <p:cBhvr>
                                        <p:cTn id="184" dur="250" fill="hold"/>
                                        <p:tgtEl>
                                          <p:spTgt spid="4359"/>
                                        </p:tgtEl>
                                        <p:attrNameLst>
                                          <p:attrName>ppt_w</p:attrName>
                                        </p:attrNameLst>
                                      </p:cBhvr>
                                      <p:tavLst>
                                        <p:tav tm="0">
                                          <p:val>
                                            <p:fltVal val="0"/>
                                          </p:val>
                                        </p:tav>
                                        <p:tav tm="100000">
                                          <p:val>
                                            <p:strVal val="#ppt_w"/>
                                          </p:val>
                                        </p:tav>
                                      </p:tavLst>
                                    </p:anim>
                                    <p:anim calcmode="lin" valueType="num">
                                      <p:cBhvr>
                                        <p:cTn id="185" dur="250" fill="hold"/>
                                        <p:tgtEl>
                                          <p:spTgt spid="4359"/>
                                        </p:tgtEl>
                                        <p:attrNameLst>
                                          <p:attrName>ppt_h</p:attrName>
                                        </p:attrNameLst>
                                      </p:cBhvr>
                                      <p:tavLst>
                                        <p:tav tm="0">
                                          <p:val>
                                            <p:fltVal val="0"/>
                                          </p:val>
                                        </p:tav>
                                        <p:tav tm="100000">
                                          <p:val>
                                            <p:strVal val="#ppt_h"/>
                                          </p:val>
                                        </p:tav>
                                      </p:tavLst>
                                    </p:anim>
                                    <p:animEffect transition="in" filter="fade">
                                      <p:cBhvr>
                                        <p:cTn id="186" dur="250"/>
                                        <p:tgtEl>
                                          <p:spTgt spid="4359"/>
                                        </p:tgtEl>
                                      </p:cBhvr>
                                    </p:animEffect>
                                  </p:childTnLst>
                                </p:cTn>
                              </p:par>
                              <p:par>
                                <p:cTn id="187" presetID="6" presetClass="emph" presetSubtype="0" accel="48000" decel="52000" autoRev="1" fill="hold" grpId="1" nodeType="withEffect">
                                  <p:stCondLst>
                                    <p:cond delay="2000"/>
                                  </p:stCondLst>
                                  <p:childTnLst>
                                    <p:animScale>
                                      <p:cBhvr>
                                        <p:cTn id="188" dur="250" fill="hold"/>
                                        <p:tgtEl>
                                          <p:spTgt spid="4359"/>
                                        </p:tgtEl>
                                      </p:cBhvr>
                                      <p:by x="110000" y="110000"/>
                                    </p:animScale>
                                  </p:childTnLst>
                                </p:cTn>
                              </p:par>
                              <p:par>
                                <p:cTn id="189" presetID="2" presetClass="entr" presetSubtype="8" decel="100000" fill="hold" grpId="0" nodeType="withEffect">
                                  <p:stCondLst>
                                    <p:cond delay="750"/>
                                  </p:stCondLst>
                                  <p:childTnLst>
                                    <p:set>
                                      <p:cBhvr>
                                        <p:cTn id="190" dur="1" fill="hold">
                                          <p:stCondLst>
                                            <p:cond delay="0"/>
                                          </p:stCondLst>
                                        </p:cTn>
                                        <p:tgtEl>
                                          <p:spTgt spid="4425"/>
                                        </p:tgtEl>
                                        <p:attrNameLst>
                                          <p:attrName>style.visibility</p:attrName>
                                        </p:attrNameLst>
                                      </p:cBhvr>
                                      <p:to>
                                        <p:strVal val="visible"/>
                                      </p:to>
                                    </p:set>
                                    <p:anim calcmode="lin" valueType="num">
                                      <p:cBhvr additive="base">
                                        <p:cTn id="191" dur="1000" fill="hold"/>
                                        <p:tgtEl>
                                          <p:spTgt spid="4425"/>
                                        </p:tgtEl>
                                        <p:attrNameLst>
                                          <p:attrName>ppt_x</p:attrName>
                                        </p:attrNameLst>
                                      </p:cBhvr>
                                      <p:tavLst>
                                        <p:tav tm="0">
                                          <p:val>
                                            <p:strVal val="0-#ppt_w/2"/>
                                          </p:val>
                                        </p:tav>
                                        <p:tav tm="100000">
                                          <p:val>
                                            <p:strVal val="#ppt_x"/>
                                          </p:val>
                                        </p:tav>
                                      </p:tavLst>
                                    </p:anim>
                                    <p:anim calcmode="lin" valueType="num">
                                      <p:cBhvr additive="base">
                                        <p:cTn id="192" dur="1000" fill="hold"/>
                                        <p:tgtEl>
                                          <p:spTgt spid="4425"/>
                                        </p:tgtEl>
                                        <p:attrNameLst>
                                          <p:attrName>ppt_y</p:attrName>
                                        </p:attrNameLst>
                                      </p:cBhvr>
                                      <p:tavLst>
                                        <p:tav tm="0">
                                          <p:val>
                                            <p:strVal val="#ppt_y"/>
                                          </p:val>
                                        </p:tav>
                                        <p:tav tm="100000">
                                          <p:val>
                                            <p:strVal val="#ppt_y"/>
                                          </p:val>
                                        </p:tav>
                                      </p:tavLst>
                                    </p:anim>
                                  </p:childTnLst>
                                </p:cTn>
                              </p:par>
                              <p:par>
                                <p:cTn id="193" presetID="2" presetClass="entr" presetSubtype="8" decel="100000" fill="hold" grpId="0" nodeType="withEffect">
                                  <p:stCondLst>
                                    <p:cond delay="850"/>
                                  </p:stCondLst>
                                  <p:childTnLst>
                                    <p:set>
                                      <p:cBhvr>
                                        <p:cTn id="194" dur="1" fill="hold">
                                          <p:stCondLst>
                                            <p:cond delay="0"/>
                                          </p:stCondLst>
                                        </p:cTn>
                                        <p:tgtEl>
                                          <p:spTgt spid="4426"/>
                                        </p:tgtEl>
                                        <p:attrNameLst>
                                          <p:attrName>style.visibility</p:attrName>
                                        </p:attrNameLst>
                                      </p:cBhvr>
                                      <p:to>
                                        <p:strVal val="visible"/>
                                      </p:to>
                                    </p:set>
                                    <p:anim calcmode="lin" valueType="num">
                                      <p:cBhvr additive="base">
                                        <p:cTn id="195" dur="1000" fill="hold"/>
                                        <p:tgtEl>
                                          <p:spTgt spid="4426"/>
                                        </p:tgtEl>
                                        <p:attrNameLst>
                                          <p:attrName>ppt_x</p:attrName>
                                        </p:attrNameLst>
                                      </p:cBhvr>
                                      <p:tavLst>
                                        <p:tav tm="0">
                                          <p:val>
                                            <p:strVal val="0-#ppt_w/2"/>
                                          </p:val>
                                        </p:tav>
                                        <p:tav tm="100000">
                                          <p:val>
                                            <p:strVal val="#ppt_x"/>
                                          </p:val>
                                        </p:tav>
                                      </p:tavLst>
                                    </p:anim>
                                    <p:anim calcmode="lin" valueType="num">
                                      <p:cBhvr additive="base">
                                        <p:cTn id="196" dur="1000" fill="hold"/>
                                        <p:tgtEl>
                                          <p:spTgt spid="4426"/>
                                        </p:tgtEl>
                                        <p:attrNameLst>
                                          <p:attrName>ppt_y</p:attrName>
                                        </p:attrNameLst>
                                      </p:cBhvr>
                                      <p:tavLst>
                                        <p:tav tm="0">
                                          <p:val>
                                            <p:strVal val="#ppt_y"/>
                                          </p:val>
                                        </p:tav>
                                        <p:tav tm="100000">
                                          <p:val>
                                            <p:strVal val="#ppt_y"/>
                                          </p:val>
                                        </p:tav>
                                      </p:tavLst>
                                    </p:anim>
                                  </p:childTnLst>
                                </p:cTn>
                              </p:par>
                              <p:par>
                                <p:cTn id="197" presetID="2" presetClass="entr" presetSubtype="8" decel="100000" fill="hold" grpId="0" nodeType="withEffect">
                                  <p:stCondLst>
                                    <p:cond delay="950"/>
                                  </p:stCondLst>
                                  <p:childTnLst>
                                    <p:set>
                                      <p:cBhvr>
                                        <p:cTn id="198" dur="1" fill="hold">
                                          <p:stCondLst>
                                            <p:cond delay="0"/>
                                          </p:stCondLst>
                                        </p:cTn>
                                        <p:tgtEl>
                                          <p:spTgt spid="4427"/>
                                        </p:tgtEl>
                                        <p:attrNameLst>
                                          <p:attrName>style.visibility</p:attrName>
                                        </p:attrNameLst>
                                      </p:cBhvr>
                                      <p:to>
                                        <p:strVal val="visible"/>
                                      </p:to>
                                    </p:set>
                                    <p:anim calcmode="lin" valueType="num">
                                      <p:cBhvr additive="base">
                                        <p:cTn id="199" dur="1000" fill="hold"/>
                                        <p:tgtEl>
                                          <p:spTgt spid="4427"/>
                                        </p:tgtEl>
                                        <p:attrNameLst>
                                          <p:attrName>ppt_x</p:attrName>
                                        </p:attrNameLst>
                                      </p:cBhvr>
                                      <p:tavLst>
                                        <p:tav tm="0">
                                          <p:val>
                                            <p:strVal val="0-#ppt_w/2"/>
                                          </p:val>
                                        </p:tav>
                                        <p:tav tm="100000">
                                          <p:val>
                                            <p:strVal val="#ppt_x"/>
                                          </p:val>
                                        </p:tav>
                                      </p:tavLst>
                                    </p:anim>
                                    <p:anim calcmode="lin" valueType="num">
                                      <p:cBhvr additive="base">
                                        <p:cTn id="200" dur="1000" fill="hold"/>
                                        <p:tgtEl>
                                          <p:spTgt spid="4427"/>
                                        </p:tgtEl>
                                        <p:attrNameLst>
                                          <p:attrName>ppt_y</p:attrName>
                                        </p:attrNameLst>
                                      </p:cBhvr>
                                      <p:tavLst>
                                        <p:tav tm="0">
                                          <p:val>
                                            <p:strVal val="#ppt_y"/>
                                          </p:val>
                                        </p:tav>
                                        <p:tav tm="100000">
                                          <p:val>
                                            <p:strVal val="#ppt_y"/>
                                          </p:val>
                                        </p:tav>
                                      </p:tavLst>
                                    </p:anim>
                                  </p:childTnLst>
                                </p:cTn>
                              </p:par>
                              <p:par>
                                <p:cTn id="201" presetID="53" presetClass="entr" presetSubtype="16" fill="hold" nodeType="withEffect">
                                  <p:stCondLst>
                                    <p:cond delay="1500"/>
                                  </p:stCondLst>
                                  <p:childTnLst>
                                    <p:set>
                                      <p:cBhvr>
                                        <p:cTn id="202" dur="1" fill="hold">
                                          <p:stCondLst>
                                            <p:cond delay="0"/>
                                          </p:stCondLst>
                                        </p:cTn>
                                        <p:tgtEl>
                                          <p:spTgt spid="4371"/>
                                        </p:tgtEl>
                                        <p:attrNameLst>
                                          <p:attrName>style.visibility</p:attrName>
                                        </p:attrNameLst>
                                      </p:cBhvr>
                                      <p:to>
                                        <p:strVal val="visible"/>
                                      </p:to>
                                    </p:set>
                                    <p:anim calcmode="lin" valueType="num">
                                      <p:cBhvr>
                                        <p:cTn id="203" dur="500" fill="hold"/>
                                        <p:tgtEl>
                                          <p:spTgt spid="4371"/>
                                        </p:tgtEl>
                                        <p:attrNameLst>
                                          <p:attrName>ppt_w</p:attrName>
                                        </p:attrNameLst>
                                      </p:cBhvr>
                                      <p:tavLst>
                                        <p:tav tm="0">
                                          <p:val>
                                            <p:fltVal val="0"/>
                                          </p:val>
                                        </p:tav>
                                        <p:tav tm="100000">
                                          <p:val>
                                            <p:strVal val="#ppt_w"/>
                                          </p:val>
                                        </p:tav>
                                      </p:tavLst>
                                    </p:anim>
                                    <p:anim calcmode="lin" valueType="num">
                                      <p:cBhvr>
                                        <p:cTn id="204" dur="500" fill="hold"/>
                                        <p:tgtEl>
                                          <p:spTgt spid="4371"/>
                                        </p:tgtEl>
                                        <p:attrNameLst>
                                          <p:attrName>ppt_h</p:attrName>
                                        </p:attrNameLst>
                                      </p:cBhvr>
                                      <p:tavLst>
                                        <p:tav tm="0">
                                          <p:val>
                                            <p:fltVal val="0"/>
                                          </p:val>
                                        </p:tav>
                                        <p:tav tm="100000">
                                          <p:val>
                                            <p:strVal val="#ppt_h"/>
                                          </p:val>
                                        </p:tav>
                                      </p:tavLst>
                                    </p:anim>
                                    <p:animEffect transition="in" filter="fade">
                                      <p:cBhvr>
                                        <p:cTn id="205" dur="500"/>
                                        <p:tgtEl>
                                          <p:spTgt spid="4371"/>
                                        </p:tgtEl>
                                      </p:cBhvr>
                                    </p:animEffect>
                                  </p:childTnLst>
                                </p:cTn>
                              </p:par>
                              <p:par>
                                <p:cTn id="206" presetID="53" presetClass="entr" presetSubtype="16" fill="hold" grpId="0" nodeType="withEffect">
                                  <p:stCondLst>
                                    <p:cond delay="1750"/>
                                  </p:stCondLst>
                                  <p:childTnLst>
                                    <p:set>
                                      <p:cBhvr>
                                        <p:cTn id="207" dur="1" fill="hold">
                                          <p:stCondLst>
                                            <p:cond delay="0"/>
                                          </p:stCondLst>
                                        </p:cTn>
                                        <p:tgtEl>
                                          <p:spTgt spid="4353"/>
                                        </p:tgtEl>
                                        <p:attrNameLst>
                                          <p:attrName>style.visibility</p:attrName>
                                        </p:attrNameLst>
                                      </p:cBhvr>
                                      <p:to>
                                        <p:strVal val="visible"/>
                                      </p:to>
                                    </p:set>
                                    <p:anim calcmode="lin" valueType="num">
                                      <p:cBhvr>
                                        <p:cTn id="208" dur="250" fill="hold"/>
                                        <p:tgtEl>
                                          <p:spTgt spid="4353"/>
                                        </p:tgtEl>
                                        <p:attrNameLst>
                                          <p:attrName>ppt_w</p:attrName>
                                        </p:attrNameLst>
                                      </p:cBhvr>
                                      <p:tavLst>
                                        <p:tav tm="0">
                                          <p:val>
                                            <p:fltVal val="0"/>
                                          </p:val>
                                        </p:tav>
                                        <p:tav tm="100000">
                                          <p:val>
                                            <p:strVal val="#ppt_w"/>
                                          </p:val>
                                        </p:tav>
                                      </p:tavLst>
                                    </p:anim>
                                    <p:anim calcmode="lin" valueType="num">
                                      <p:cBhvr>
                                        <p:cTn id="209" dur="250" fill="hold"/>
                                        <p:tgtEl>
                                          <p:spTgt spid="4353"/>
                                        </p:tgtEl>
                                        <p:attrNameLst>
                                          <p:attrName>ppt_h</p:attrName>
                                        </p:attrNameLst>
                                      </p:cBhvr>
                                      <p:tavLst>
                                        <p:tav tm="0">
                                          <p:val>
                                            <p:fltVal val="0"/>
                                          </p:val>
                                        </p:tav>
                                        <p:tav tm="100000">
                                          <p:val>
                                            <p:strVal val="#ppt_h"/>
                                          </p:val>
                                        </p:tav>
                                      </p:tavLst>
                                    </p:anim>
                                    <p:animEffect transition="in" filter="fade">
                                      <p:cBhvr>
                                        <p:cTn id="210" dur="250"/>
                                        <p:tgtEl>
                                          <p:spTgt spid="4353"/>
                                        </p:tgtEl>
                                      </p:cBhvr>
                                    </p:animEffect>
                                  </p:childTnLst>
                                </p:cTn>
                              </p:par>
                              <p:par>
                                <p:cTn id="211" presetID="6" presetClass="emph" presetSubtype="0" accel="48000" decel="52000" autoRev="1" fill="hold" grpId="1" nodeType="withEffect">
                                  <p:stCondLst>
                                    <p:cond delay="1750"/>
                                  </p:stCondLst>
                                  <p:childTnLst>
                                    <p:animScale>
                                      <p:cBhvr>
                                        <p:cTn id="212" dur="250" fill="hold"/>
                                        <p:tgtEl>
                                          <p:spTgt spid="4353"/>
                                        </p:tgtEl>
                                      </p:cBhvr>
                                      <p:by x="110000" y="110000"/>
                                    </p:animScale>
                                  </p:childTnLst>
                                </p:cTn>
                              </p:par>
                              <p:par>
                                <p:cTn id="213" presetID="53" presetClass="entr" presetSubtype="16" fill="hold" grpId="0" nodeType="withEffect">
                                  <p:stCondLst>
                                    <p:cond delay="1850"/>
                                  </p:stCondLst>
                                  <p:childTnLst>
                                    <p:set>
                                      <p:cBhvr>
                                        <p:cTn id="214" dur="1" fill="hold">
                                          <p:stCondLst>
                                            <p:cond delay="0"/>
                                          </p:stCondLst>
                                        </p:cTn>
                                        <p:tgtEl>
                                          <p:spTgt spid="4352"/>
                                        </p:tgtEl>
                                        <p:attrNameLst>
                                          <p:attrName>style.visibility</p:attrName>
                                        </p:attrNameLst>
                                      </p:cBhvr>
                                      <p:to>
                                        <p:strVal val="visible"/>
                                      </p:to>
                                    </p:set>
                                    <p:anim calcmode="lin" valueType="num">
                                      <p:cBhvr>
                                        <p:cTn id="215" dur="250" fill="hold"/>
                                        <p:tgtEl>
                                          <p:spTgt spid="4352"/>
                                        </p:tgtEl>
                                        <p:attrNameLst>
                                          <p:attrName>ppt_w</p:attrName>
                                        </p:attrNameLst>
                                      </p:cBhvr>
                                      <p:tavLst>
                                        <p:tav tm="0">
                                          <p:val>
                                            <p:fltVal val="0"/>
                                          </p:val>
                                        </p:tav>
                                        <p:tav tm="100000">
                                          <p:val>
                                            <p:strVal val="#ppt_w"/>
                                          </p:val>
                                        </p:tav>
                                      </p:tavLst>
                                    </p:anim>
                                    <p:anim calcmode="lin" valueType="num">
                                      <p:cBhvr>
                                        <p:cTn id="216" dur="250" fill="hold"/>
                                        <p:tgtEl>
                                          <p:spTgt spid="4352"/>
                                        </p:tgtEl>
                                        <p:attrNameLst>
                                          <p:attrName>ppt_h</p:attrName>
                                        </p:attrNameLst>
                                      </p:cBhvr>
                                      <p:tavLst>
                                        <p:tav tm="0">
                                          <p:val>
                                            <p:fltVal val="0"/>
                                          </p:val>
                                        </p:tav>
                                        <p:tav tm="100000">
                                          <p:val>
                                            <p:strVal val="#ppt_h"/>
                                          </p:val>
                                        </p:tav>
                                      </p:tavLst>
                                    </p:anim>
                                    <p:animEffect transition="in" filter="fade">
                                      <p:cBhvr>
                                        <p:cTn id="217" dur="250"/>
                                        <p:tgtEl>
                                          <p:spTgt spid="4352"/>
                                        </p:tgtEl>
                                      </p:cBhvr>
                                    </p:animEffect>
                                  </p:childTnLst>
                                </p:cTn>
                              </p:par>
                              <p:par>
                                <p:cTn id="218" presetID="6" presetClass="emph" presetSubtype="0" accel="48000" decel="52000" autoRev="1" fill="hold" grpId="1" nodeType="withEffect">
                                  <p:stCondLst>
                                    <p:cond delay="1850"/>
                                  </p:stCondLst>
                                  <p:childTnLst>
                                    <p:animScale>
                                      <p:cBhvr>
                                        <p:cTn id="219" dur="250" fill="hold"/>
                                        <p:tgtEl>
                                          <p:spTgt spid="4352"/>
                                        </p:tgtEl>
                                      </p:cBhvr>
                                      <p:by x="110000" y="110000"/>
                                    </p:animScale>
                                  </p:childTnLst>
                                </p:cTn>
                              </p:par>
                              <p:par>
                                <p:cTn id="220" presetID="53" presetClass="entr" presetSubtype="16" fill="hold" grpId="0" nodeType="withEffect">
                                  <p:stCondLst>
                                    <p:cond delay="1950"/>
                                  </p:stCondLst>
                                  <p:childTnLst>
                                    <p:set>
                                      <p:cBhvr>
                                        <p:cTn id="221" dur="1" fill="hold">
                                          <p:stCondLst>
                                            <p:cond delay="0"/>
                                          </p:stCondLst>
                                        </p:cTn>
                                        <p:tgtEl>
                                          <p:spTgt spid="4351"/>
                                        </p:tgtEl>
                                        <p:attrNameLst>
                                          <p:attrName>style.visibility</p:attrName>
                                        </p:attrNameLst>
                                      </p:cBhvr>
                                      <p:to>
                                        <p:strVal val="visible"/>
                                      </p:to>
                                    </p:set>
                                    <p:anim calcmode="lin" valueType="num">
                                      <p:cBhvr>
                                        <p:cTn id="222" dur="250" fill="hold"/>
                                        <p:tgtEl>
                                          <p:spTgt spid="4351"/>
                                        </p:tgtEl>
                                        <p:attrNameLst>
                                          <p:attrName>ppt_w</p:attrName>
                                        </p:attrNameLst>
                                      </p:cBhvr>
                                      <p:tavLst>
                                        <p:tav tm="0">
                                          <p:val>
                                            <p:fltVal val="0"/>
                                          </p:val>
                                        </p:tav>
                                        <p:tav tm="100000">
                                          <p:val>
                                            <p:strVal val="#ppt_w"/>
                                          </p:val>
                                        </p:tav>
                                      </p:tavLst>
                                    </p:anim>
                                    <p:anim calcmode="lin" valueType="num">
                                      <p:cBhvr>
                                        <p:cTn id="223" dur="250" fill="hold"/>
                                        <p:tgtEl>
                                          <p:spTgt spid="4351"/>
                                        </p:tgtEl>
                                        <p:attrNameLst>
                                          <p:attrName>ppt_h</p:attrName>
                                        </p:attrNameLst>
                                      </p:cBhvr>
                                      <p:tavLst>
                                        <p:tav tm="0">
                                          <p:val>
                                            <p:fltVal val="0"/>
                                          </p:val>
                                        </p:tav>
                                        <p:tav tm="100000">
                                          <p:val>
                                            <p:strVal val="#ppt_h"/>
                                          </p:val>
                                        </p:tav>
                                      </p:tavLst>
                                    </p:anim>
                                    <p:animEffect transition="in" filter="fade">
                                      <p:cBhvr>
                                        <p:cTn id="224" dur="250"/>
                                        <p:tgtEl>
                                          <p:spTgt spid="4351"/>
                                        </p:tgtEl>
                                      </p:cBhvr>
                                    </p:animEffect>
                                  </p:childTnLst>
                                </p:cTn>
                              </p:par>
                              <p:par>
                                <p:cTn id="225" presetID="6" presetClass="emph" presetSubtype="0" accel="48000" decel="52000" autoRev="1" fill="hold" grpId="1" nodeType="withEffect">
                                  <p:stCondLst>
                                    <p:cond delay="1950"/>
                                  </p:stCondLst>
                                  <p:childTnLst>
                                    <p:animScale>
                                      <p:cBhvr>
                                        <p:cTn id="226" dur="250" fill="hold"/>
                                        <p:tgtEl>
                                          <p:spTgt spid="4351"/>
                                        </p:tgtEl>
                                      </p:cBhvr>
                                      <p:by x="110000" y="110000"/>
                                    </p:animScale>
                                  </p:childTnLst>
                                </p:cTn>
                              </p:par>
                              <p:par>
                                <p:cTn id="227" presetID="6" presetClass="entr" presetSubtype="32" fill="hold" nodeType="withEffect">
                                  <p:stCondLst>
                                    <p:cond delay="1000"/>
                                  </p:stCondLst>
                                  <p:childTnLst>
                                    <p:set>
                                      <p:cBhvr>
                                        <p:cTn id="228" dur="1" fill="hold">
                                          <p:stCondLst>
                                            <p:cond delay="0"/>
                                          </p:stCondLst>
                                        </p:cTn>
                                        <p:tgtEl>
                                          <p:spTgt spid="4340"/>
                                        </p:tgtEl>
                                        <p:attrNameLst>
                                          <p:attrName>style.visibility</p:attrName>
                                        </p:attrNameLst>
                                      </p:cBhvr>
                                      <p:to>
                                        <p:strVal val="visible"/>
                                      </p:to>
                                    </p:set>
                                    <p:animEffect transition="in" filter="circle(out)">
                                      <p:cBhvr>
                                        <p:cTn id="229" dur="2000"/>
                                        <p:tgtEl>
                                          <p:spTgt spid="4340"/>
                                        </p:tgtEl>
                                      </p:cBhvr>
                                    </p:animEffect>
                                  </p:childTnLst>
                                </p:cTn>
                              </p:par>
                              <p:par>
                                <p:cTn id="230" presetID="6" presetClass="entr" presetSubtype="16" fill="hold" nodeType="withEffect">
                                  <p:stCondLst>
                                    <p:cond delay="1000"/>
                                  </p:stCondLst>
                                  <p:childTnLst>
                                    <p:set>
                                      <p:cBhvr>
                                        <p:cTn id="231" dur="1" fill="hold">
                                          <p:stCondLst>
                                            <p:cond delay="0"/>
                                          </p:stCondLst>
                                        </p:cTn>
                                        <p:tgtEl>
                                          <p:spTgt spid="4329"/>
                                        </p:tgtEl>
                                        <p:attrNameLst>
                                          <p:attrName>style.visibility</p:attrName>
                                        </p:attrNameLst>
                                      </p:cBhvr>
                                      <p:to>
                                        <p:strVal val="visible"/>
                                      </p:to>
                                    </p:set>
                                    <p:animEffect transition="in" filter="circle(in)">
                                      <p:cBhvr>
                                        <p:cTn id="232" dur="2000"/>
                                        <p:tgtEl>
                                          <p:spTgt spid="4329"/>
                                        </p:tgtEl>
                                      </p:cBhvr>
                                    </p:animEffect>
                                  </p:childTnLst>
                                </p:cTn>
                              </p:par>
                              <p:par>
                                <p:cTn id="233" presetID="6" presetClass="entr" presetSubtype="32" fill="hold" nodeType="withEffect">
                                  <p:stCondLst>
                                    <p:cond delay="1000"/>
                                  </p:stCondLst>
                                  <p:childTnLst>
                                    <p:set>
                                      <p:cBhvr>
                                        <p:cTn id="234" dur="1" fill="hold">
                                          <p:stCondLst>
                                            <p:cond delay="0"/>
                                          </p:stCondLst>
                                        </p:cTn>
                                        <p:tgtEl>
                                          <p:spTgt spid="4318"/>
                                        </p:tgtEl>
                                        <p:attrNameLst>
                                          <p:attrName>style.visibility</p:attrName>
                                        </p:attrNameLst>
                                      </p:cBhvr>
                                      <p:to>
                                        <p:strVal val="visible"/>
                                      </p:to>
                                    </p:set>
                                    <p:animEffect transition="in" filter="circle(out)">
                                      <p:cBhvr>
                                        <p:cTn id="235" dur="2000"/>
                                        <p:tgtEl>
                                          <p:spTgt spid="4318"/>
                                        </p:tgtEl>
                                      </p:cBhvr>
                                    </p:animEffect>
                                  </p:childTnLst>
                                </p:cTn>
                              </p:par>
                              <p:par>
                                <p:cTn id="236" presetID="6" presetClass="entr" presetSubtype="16" fill="hold" nodeType="withEffect">
                                  <p:stCondLst>
                                    <p:cond delay="1000"/>
                                  </p:stCondLst>
                                  <p:childTnLst>
                                    <p:set>
                                      <p:cBhvr>
                                        <p:cTn id="237" dur="1" fill="hold">
                                          <p:stCondLst>
                                            <p:cond delay="0"/>
                                          </p:stCondLst>
                                        </p:cTn>
                                        <p:tgtEl>
                                          <p:spTgt spid="4307"/>
                                        </p:tgtEl>
                                        <p:attrNameLst>
                                          <p:attrName>style.visibility</p:attrName>
                                        </p:attrNameLst>
                                      </p:cBhvr>
                                      <p:to>
                                        <p:strVal val="visible"/>
                                      </p:to>
                                    </p:set>
                                    <p:animEffect transition="in" filter="circle(in)">
                                      <p:cBhvr>
                                        <p:cTn id="238" dur="2000"/>
                                        <p:tgtEl>
                                          <p:spTgt spid="4307"/>
                                        </p:tgtEl>
                                      </p:cBhvr>
                                    </p:animEffect>
                                  </p:childTnLst>
                                </p:cTn>
                              </p:par>
                              <p:par>
                                <p:cTn id="239" presetID="10" presetClass="entr" presetSubtype="0" fill="hold" nodeType="withEffect">
                                  <p:stCondLst>
                                    <p:cond delay="1000"/>
                                  </p:stCondLst>
                                  <p:childTnLst>
                                    <p:set>
                                      <p:cBhvr>
                                        <p:cTn id="240" dur="1" fill="hold">
                                          <p:stCondLst>
                                            <p:cond delay="0"/>
                                          </p:stCondLst>
                                        </p:cTn>
                                        <p:tgtEl>
                                          <p:spTgt spid="138"/>
                                        </p:tgtEl>
                                        <p:attrNameLst>
                                          <p:attrName>style.visibility</p:attrName>
                                        </p:attrNameLst>
                                      </p:cBhvr>
                                      <p:to>
                                        <p:strVal val="visible"/>
                                      </p:to>
                                    </p:set>
                                    <p:animEffect transition="in" filter="fade">
                                      <p:cBhvr>
                                        <p:cTn id="241" dur="500"/>
                                        <p:tgtEl>
                                          <p:spTgt spid="138"/>
                                        </p:tgtEl>
                                      </p:cBhvr>
                                    </p:animEffect>
                                  </p:childTnLst>
                                </p:cTn>
                              </p:par>
                              <p:par>
                                <p:cTn id="242" presetID="10" presetClass="entr" presetSubtype="0" fill="hold" grpId="0" nodeType="withEffect">
                                  <p:stCondLst>
                                    <p:cond delay="1000"/>
                                  </p:stCondLst>
                                  <p:childTnLst>
                                    <p:set>
                                      <p:cBhvr>
                                        <p:cTn id="243" dur="1" fill="hold">
                                          <p:stCondLst>
                                            <p:cond delay="0"/>
                                          </p:stCondLst>
                                        </p:cTn>
                                        <p:tgtEl>
                                          <p:spTgt spid="139"/>
                                        </p:tgtEl>
                                        <p:attrNameLst>
                                          <p:attrName>style.visibility</p:attrName>
                                        </p:attrNameLst>
                                      </p:cBhvr>
                                      <p:to>
                                        <p:strVal val="visible"/>
                                      </p:to>
                                    </p:set>
                                    <p:animEffect transition="in" filter="fade">
                                      <p:cBhvr>
                                        <p:cTn id="244" dur="500"/>
                                        <p:tgtEl>
                                          <p:spTgt spid="1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51" grpId="0" animBg="1"/>
      <p:bldP spid="4351" grpId="1" animBg="1"/>
      <p:bldP spid="4352" grpId="0" animBg="1"/>
      <p:bldP spid="4352" grpId="1" animBg="1"/>
      <p:bldP spid="4353" grpId="0" animBg="1"/>
      <p:bldP spid="4353" grpId="1" animBg="1"/>
      <p:bldP spid="4354" grpId="0" animBg="1"/>
      <p:bldP spid="4354" grpId="1" animBg="1"/>
      <p:bldP spid="4355" grpId="0" animBg="1"/>
      <p:bldP spid="4355" grpId="1" animBg="1"/>
      <p:bldP spid="4356" grpId="0" animBg="1"/>
      <p:bldP spid="4356" grpId="1" animBg="1"/>
      <p:bldP spid="4357" grpId="0" animBg="1"/>
      <p:bldP spid="4357" grpId="1" animBg="1"/>
      <p:bldP spid="4358" grpId="0" animBg="1"/>
      <p:bldP spid="4358" grpId="1" animBg="1"/>
      <p:bldP spid="4359" grpId="0" animBg="1"/>
      <p:bldP spid="4359" grpId="1" animBg="1"/>
      <p:bldP spid="4360" grpId="0" animBg="1"/>
      <p:bldP spid="4360" grpId="1" animBg="1"/>
      <p:bldP spid="4361" grpId="0" animBg="1"/>
      <p:bldP spid="4361" grpId="1" animBg="1"/>
      <p:bldP spid="4362" grpId="0" animBg="1"/>
      <p:bldP spid="4362" grpId="1" animBg="1"/>
      <p:bldP spid="4363" grpId="0" animBg="1"/>
      <p:bldP spid="4363" grpId="1" animBg="1"/>
      <p:bldP spid="4364" grpId="0" animBg="1"/>
      <p:bldP spid="4364" grpId="1" animBg="1"/>
      <p:bldP spid="4365" grpId="0" animBg="1"/>
      <p:bldP spid="4365" grpId="1" animBg="1"/>
      <p:bldP spid="4366" grpId="0" animBg="1"/>
      <p:bldP spid="4366" grpId="1" animBg="1"/>
      <p:bldP spid="4367" grpId="0" animBg="1"/>
      <p:bldP spid="4367" grpId="1" animBg="1"/>
      <p:bldP spid="4368" grpId="0" animBg="1"/>
      <p:bldP spid="4368" grpId="1" animBg="1"/>
      <p:bldP spid="4369" grpId="0" animBg="1"/>
      <p:bldP spid="4369" grpId="1" animBg="1"/>
      <p:bldP spid="4370" grpId="0" animBg="1"/>
      <p:bldP spid="4370" grpId="1" animBg="1"/>
      <p:bldP spid="4306" grpId="0" animBg="1"/>
      <p:bldP spid="2" grpId="0"/>
      <p:bldP spid="4417" grpId="0"/>
      <p:bldP spid="4418" grpId="0"/>
      <p:bldP spid="4421" grpId="0"/>
      <p:bldP spid="4422" grpId="0"/>
      <p:bldP spid="4423" grpId="0"/>
      <p:bldP spid="4429" grpId="0"/>
      <p:bldP spid="4430" grpId="0"/>
      <p:bldP spid="4431" grpId="0"/>
      <p:bldP spid="4425" grpId="0"/>
      <p:bldP spid="4426" grpId="0"/>
      <p:bldP spid="4427" grpId="0"/>
      <p:bldP spid="136" grpId="0"/>
      <p:bldP spid="13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57" name="Cirkel_midden_GROOT">
            <a:extLst>
              <a:ext uri="{FF2B5EF4-FFF2-40B4-BE49-F238E27FC236}">
                <a16:creationId xmlns:a16="http://schemas.microsoft.com/office/drawing/2014/main" id="{8C37622F-62FE-493B-81C2-8EB7489C34C5}"/>
              </a:ext>
            </a:extLst>
          </p:cNvPr>
          <p:cNvSpPr/>
          <p:nvPr/>
        </p:nvSpPr>
        <p:spPr>
          <a:xfrm>
            <a:off x="4340446" y="1868569"/>
            <a:ext cx="3485445" cy="3485444"/>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gradFill flip="none" rotWithShape="1">
            <a:gsLst>
              <a:gs pos="1000">
                <a:srgbClr val="0A2B72">
                  <a:alpha val="95000"/>
                </a:srgbClr>
              </a:gs>
              <a:gs pos="99000">
                <a:srgbClr val="1563A3">
                  <a:alpha val="95000"/>
                </a:srgbClr>
              </a:gs>
            </a:gsLst>
            <a:lin ang="16200000" scaled="1"/>
            <a:tileRect/>
          </a:gradFill>
          <a:ln w="74843" cap="flat">
            <a:solidFill>
              <a:srgbClr val="FFFFFF">
                <a:alpha val="15000"/>
              </a:srgbClr>
            </a:solidFill>
            <a:prstDash val="solid"/>
            <a:miter/>
          </a:ln>
        </p:spPr>
        <p:txBody>
          <a:bodyPr rtlCol="0" anchor="ctr"/>
          <a:lstStyle/>
          <a:p>
            <a:endParaRPr lang="en-GB"/>
          </a:p>
        </p:txBody>
      </p:sp>
      <p:sp>
        <p:nvSpPr>
          <p:cNvPr id="20023" name="TEKST2">
            <a:extLst>
              <a:ext uri="{FF2B5EF4-FFF2-40B4-BE49-F238E27FC236}">
                <a16:creationId xmlns:a16="http://schemas.microsoft.com/office/drawing/2014/main" id="{0E729B0D-8E10-4ED3-8832-13E3663BCD32}"/>
              </a:ext>
            </a:extLst>
          </p:cNvPr>
          <p:cNvSpPr/>
          <p:nvPr/>
        </p:nvSpPr>
        <p:spPr>
          <a:xfrm rot="2700000">
            <a:off x="4576502" y="2109780"/>
            <a:ext cx="2997194" cy="2997192"/>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ArchUp">
              <a:avLst/>
            </a:prstTxWarp>
            <a:noAutofit/>
          </a:bodyPr>
          <a:lstStyle/>
          <a:p>
            <a:pPr algn="ctr"/>
            <a:r>
              <a:rPr lang="en-GB" sz="1100" b="1" cap="all" dirty="0">
                <a:solidFill>
                  <a:schemeClr val="bg1"/>
                </a:solidFill>
                <a:latin typeface="+mj-lt"/>
              </a:rPr>
              <a:t>Smart Agriculture</a:t>
            </a:r>
          </a:p>
        </p:txBody>
      </p:sp>
      <p:sp>
        <p:nvSpPr>
          <p:cNvPr id="20025" name="TEKST4">
            <a:extLst>
              <a:ext uri="{FF2B5EF4-FFF2-40B4-BE49-F238E27FC236}">
                <a16:creationId xmlns:a16="http://schemas.microsoft.com/office/drawing/2014/main" id="{F05F2EAC-E076-4FB3-B979-D7F0F8ED562B}"/>
              </a:ext>
            </a:extLst>
          </p:cNvPr>
          <p:cNvSpPr/>
          <p:nvPr/>
        </p:nvSpPr>
        <p:spPr>
          <a:xfrm rot="18900000">
            <a:off x="4576502" y="2109779"/>
            <a:ext cx="2997194" cy="2997194"/>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1100" b="1" cap="all" dirty="0">
                <a:solidFill>
                  <a:schemeClr val="tx2">
                    <a:alpha val="40000"/>
                  </a:schemeClr>
                </a:solidFill>
                <a:latin typeface="+mj-lt"/>
              </a:rPr>
              <a:t>Smart security</a:t>
            </a:r>
          </a:p>
        </p:txBody>
      </p:sp>
      <p:sp>
        <p:nvSpPr>
          <p:cNvPr id="20028" name="TEKST7">
            <a:extLst>
              <a:ext uri="{FF2B5EF4-FFF2-40B4-BE49-F238E27FC236}">
                <a16:creationId xmlns:a16="http://schemas.microsoft.com/office/drawing/2014/main" id="{0AFD47EF-F8CE-4032-943A-69175C38D133}"/>
              </a:ext>
            </a:extLst>
          </p:cNvPr>
          <p:cNvSpPr/>
          <p:nvPr/>
        </p:nvSpPr>
        <p:spPr>
          <a:xfrm rot="2700000">
            <a:off x="4576502" y="2109780"/>
            <a:ext cx="2997194" cy="2997192"/>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b" anchorCtr="0" forceAA="0" compatLnSpc="1">
            <a:prstTxWarp prst="textArchDown">
              <a:avLst/>
            </a:prstTxWarp>
            <a:noAutofit/>
          </a:bodyPr>
          <a:lstStyle/>
          <a:p>
            <a:pPr algn="ctr"/>
            <a:r>
              <a:rPr lang="en-GB" sz="1100" b="1" cap="all" dirty="0">
                <a:solidFill>
                  <a:schemeClr val="bg1"/>
                </a:solidFill>
                <a:latin typeface="+mj-lt"/>
              </a:rPr>
              <a:t>Smart production</a:t>
            </a:r>
          </a:p>
        </p:txBody>
      </p:sp>
      <p:sp>
        <p:nvSpPr>
          <p:cNvPr id="20030" name="TEKST10">
            <a:extLst>
              <a:ext uri="{FF2B5EF4-FFF2-40B4-BE49-F238E27FC236}">
                <a16:creationId xmlns:a16="http://schemas.microsoft.com/office/drawing/2014/main" id="{08CCA8F2-A00D-46CD-8E11-E93151D6D030}"/>
              </a:ext>
            </a:extLst>
          </p:cNvPr>
          <p:cNvSpPr/>
          <p:nvPr/>
        </p:nvSpPr>
        <p:spPr>
          <a:xfrm rot="18900000">
            <a:off x="4576502" y="2109779"/>
            <a:ext cx="2997194" cy="2997194"/>
          </a:xfrm>
          <a:custGeom>
            <a:avLst/>
            <a:gdLst>
              <a:gd name="connsiteX0" fmla="*/ 3485445 w 3485445"/>
              <a:gd name="connsiteY0" fmla="*/ 1742722 h 3485444"/>
              <a:gd name="connsiteX1" fmla="*/ 1742722 w 3485445"/>
              <a:gd name="connsiteY1" fmla="*/ 3485445 h 3485444"/>
              <a:gd name="connsiteX2" fmla="*/ 0 w 3485445"/>
              <a:gd name="connsiteY2" fmla="*/ 1742722 h 3485444"/>
              <a:gd name="connsiteX3" fmla="*/ 1742722 w 3485445"/>
              <a:gd name="connsiteY3" fmla="*/ 0 h 3485444"/>
              <a:gd name="connsiteX4" fmla="*/ 3485445 w 3485445"/>
              <a:gd name="connsiteY4" fmla="*/ 1742722 h 348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445" h="3485444">
                <a:moveTo>
                  <a:pt x="3485445" y="1742722"/>
                </a:moveTo>
                <a:cubicBezTo>
                  <a:pt x="3485445" y="2705201"/>
                  <a:pt x="2705202" y="3485445"/>
                  <a:pt x="1742722" y="3485445"/>
                </a:cubicBezTo>
                <a:cubicBezTo>
                  <a:pt x="780243" y="3485445"/>
                  <a:pt x="0" y="2705202"/>
                  <a:pt x="0" y="1742722"/>
                </a:cubicBezTo>
                <a:cubicBezTo>
                  <a:pt x="0" y="780243"/>
                  <a:pt x="780243" y="0"/>
                  <a:pt x="1742722" y="0"/>
                </a:cubicBezTo>
                <a:cubicBezTo>
                  <a:pt x="2705202" y="0"/>
                  <a:pt x="3485445" y="780243"/>
                  <a:pt x="3485445" y="1742722"/>
                </a:cubicBezTo>
                <a:close/>
              </a:path>
            </a:pathLst>
          </a:custGeom>
          <a:solidFill>
            <a:schemeClr val="accent1">
              <a:alpha val="0"/>
            </a:schemeClr>
          </a:solidFill>
          <a:ln w="74843"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ArchUp">
              <a:avLst/>
            </a:prstTxWarp>
            <a:noAutofit/>
          </a:bodyPr>
          <a:lstStyle/>
          <a:p>
            <a:pPr algn="ctr"/>
            <a:r>
              <a:rPr lang="en-GB" sz="1100" b="1" cap="all" dirty="0">
                <a:solidFill>
                  <a:schemeClr val="bg1"/>
                </a:solidFill>
                <a:latin typeface="+mj-lt"/>
              </a:rPr>
              <a:t>Smart society</a:t>
            </a:r>
          </a:p>
        </p:txBody>
      </p:sp>
      <p:cxnSp>
        <p:nvCxnSpPr>
          <p:cNvPr id="3" name="Rechte verbindingslijn 2">
            <a:extLst>
              <a:ext uri="{FF2B5EF4-FFF2-40B4-BE49-F238E27FC236}">
                <a16:creationId xmlns:a16="http://schemas.microsoft.com/office/drawing/2014/main" id="{A40EAD44-D34D-43DF-BF4A-505B652569B4}"/>
              </a:ext>
            </a:extLst>
          </p:cNvPr>
          <p:cNvCxnSpPr/>
          <p:nvPr/>
        </p:nvCxnSpPr>
        <p:spPr>
          <a:xfrm>
            <a:off x="6083168" y="2234929"/>
            <a:ext cx="0" cy="2752725"/>
          </a:xfrm>
          <a:prstGeom prst="line">
            <a:avLst/>
          </a:prstGeom>
          <a:ln>
            <a:solidFill>
              <a:schemeClr val="bg1">
                <a:alpha val="3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51" name="Rechte verbindingslijn 9750">
            <a:extLst>
              <a:ext uri="{FF2B5EF4-FFF2-40B4-BE49-F238E27FC236}">
                <a16:creationId xmlns:a16="http://schemas.microsoft.com/office/drawing/2014/main" id="{67C737BD-02BD-44BE-9FC7-2FF987430D12}"/>
              </a:ext>
            </a:extLst>
          </p:cNvPr>
          <p:cNvCxnSpPr>
            <a:cxnSpLocks/>
          </p:cNvCxnSpPr>
          <p:nvPr/>
        </p:nvCxnSpPr>
        <p:spPr>
          <a:xfrm rot="5400000">
            <a:off x="6083168" y="2234929"/>
            <a:ext cx="0" cy="2752725"/>
          </a:xfrm>
          <a:prstGeom prst="line">
            <a:avLst/>
          </a:prstGeom>
          <a:ln>
            <a:solidFill>
              <a:schemeClr val="bg1">
                <a:alpha val="3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307" name="Lijnen_midden_4">
            <a:extLst>
              <a:ext uri="{FF2B5EF4-FFF2-40B4-BE49-F238E27FC236}">
                <a16:creationId xmlns:a16="http://schemas.microsoft.com/office/drawing/2014/main" id="{0C33393A-6F34-4A0D-9DFB-1485456062E3}"/>
              </a:ext>
            </a:extLst>
          </p:cNvPr>
          <p:cNvGrpSpPr/>
          <p:nvPr/>
        </p:nvGrpSpPr>
        <p:grpSpPr>
          <a:xfrm>
            <a:off x="5251848" y="2476090"/>
            <a:ext cx="1560909" cy="2106350"/>
            <a:chOff x="5219754" y="2292570"/>
            <a:chExt cx="1560909" cy="2106350"/>
          </a:xfrm>
          <a:solidFill>
            <a:schemeClr val="bg1">
              <a:alpha val="35000"/>
            </a:schemeClr>
          </a:solidFill>
        </p:grpSpPr>
        <p:sp>
          <p:nvSpPr>
            <p:cNvPr id="4308" name="Vrije vorm: vorm 4307">
              <a:extLst>
                <a:ext uri="{FF2B5EF4-FFF2-40B4-BE49-F238E27FC236}">
                  <a16:creationId xmlns:a16="http://schemas.microsoft.com/office/drawing/2014/main" id="{F878F546-0A3E-4911-90BD-902A8EDE95DA}"/>
                </a:ext>
              </a:extLst>
            </p:cNvPr>
            <p:cNvSpPr/>
            <p:nvPr/>
          </p:nvSpPr>
          <p:spPr>
            <a:xfrm>
              <a:off x="5410061" y="3852462"/>
              <a:ext cx="970372" cy="546458"/>
            </a:xfrm>
            <a:custGeom>
              <a:avLst/>
              <a:gdLst>
                <a:gd name="connsiteX0" fmla="*/ 443710 w 970372"/>
                <a:gd name="connsiteY0" fmla="*/ 1196 h 546458"/>
                <a:gd name="connsiteX1" fmla="*/ 967860 w 970372"/>
                <a:gd name="connsiteY1" fmla="*/ 545202 h 546458"/>
                <a:gd name="connsiteX2" fmla="*/ 1974 w 970372"/>
                <a:gd name="connsiteY2" fmla="*/ 378460 h 546458"/>
                <a:gd name="connsiteX3" fmla="*/ 443710 w 970372"/>
                <a:gd name="connsiteY3" fmla="*/ 1196 h 546458"/>
                <a:gd name="connsiteX4" fmla="*/ 443770 w 970372"/>
                <a:gd name="connsiteY4" fmla="*/ 0 h 546458"/>
                <a:gd name="connsiteX5" fmla="*/ 0 w 970372"/>
                <a:gd name="connsiteY5" fmla="*/ 378938 h 546458"/>
                <a:gd name="connsiteX6" fmla="*/ 970372 w 970372"/>
                <a:gd name="connsiteY6" fmla="*/ 546458 h 546458"/>
                <a:gd name="connsiteX7" fmla="*/ 443770 w 970372"/>
                <a:gd name="connsiteY7" fmla="*/ 0 h 546458"/>
                <a:gd name="connsiteX8" fmla="*/ 443770 w 970372"/>
                <a:gd name="connsiteY8" fmla="*/ 0 h 54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0372" h="546458">
                  <a:moveTo>
                    <a:pt x="443710" y="1196"/>
                  </a:moveTo>
                  <a:lnTo>
                    <a:pt x="967860" y="545202"/>
                  </a:lnTo>
                  <a:lnTo>
                    <a:pt x="1974" y="378460"/>
                  </a:lnTo>
                  <a:lnTo>
                    <a:pt x="443710" y="1196"/>
                  </a:lnTo>
                  <a:moveTo>
                    <a:pt x="443770" y="0"/>
                  </a:moveTo>
                  <a:lnTo>
                    <a:pt x="0" y="378938"/>
                  </a:lnTo>
                  <a:lnTo>
                    <a:pt x="970372" y="546458"/>
                  </a:lnTo>
                  <a:lnTo>
                    <a:pt x="443770" y="0"/>
                  </a:lnTo>
                  <a:lnTo>
                    <a:pt x="443770" y="0"/>
                  </a:lnTo>
                  <a:close/>
                </a:path>
              </a:pathLst>
            </a:custGeom>
            <a:grpFill/>
            <a:ln w="0" cap="flat">
              <a:noFill/>
              <a:prstDash val="solid"/>
              <a:miter/>
            </a:ln>
          </p:spPr>
          <p:txBody>
            <a:bodyPr rtlCol="0" anchor="ctr"/>
            <a:lstStyle/>
            <a:p>
              <a:endParaRPr lang="en-GB"/>
            </a:p>
          </p:txBody>
        </p:sp>
        <p:sp>
          <p:nvSpPr>
            <p:cNvPr id="4309" name="Vrije vorm: vorm 4308">
              <a:extLst>
                <a:ext uri="{FF2B5EF4-FFF2-40B4-BE49-F238E27FC236}">
                  <a16:creationId xmlns:a16="http://schemas.microsoft.com/office/drawing/2014/main" id="{3D35F01A-30A7-4DDC-A1FD-CB411434FEE1}"/>
                </a:ext>
              </a:extLst>
            </p:cNvPr>
            <p:cNvSpPr/>
            <p:nvPr/>
          </p:nvSpPr>
          <p:spPr>
            <a:xfrm>
              <a:off x="5264909" y="3847259"/>
              <a:ext cx="589280" cy="384500"/>
            </a:xfrm>
            <a:custGeom>
              <a:avLst/>
              <a:gdLst>
                <a:gd name="connsiteX0" fmla="*/ 1316 w 589280"/>
                <a:gd name="connsiteY0" fmla="*/ 897 h 384500"/>
                <a:gd name="connsiteX1" fmla="*/ 587008 w 589280"/>
                <a:gd name="connsiteY1" fmla="*/ 6041 h 384500"/>
                <a:gd name="connsiteX2" fmla="*/ 145272 w 589280"/>
                <a:gd name="connsiteY2" fmla="*/ 383005 h 384500"/>
                <a:gd name="connsiteX3" fmla="*/ 1316 w 589280"/>
                <a:gd name="connsiteY3" fmla="*/ 897 h 384500"/>
                <a:gd name="connsiteX4" fmla="*/ 0 w 589280"/>
                <a:gd name="connsiteY4" fmla="*/ 0 h 384500"/>
                <a:gd name="connsiteX5" fmla="*/ 144793 w 589280"/>
                <a:gd name="connsiteY5" fmla="*/ 384500 h 384500"/>
                <a:gd name="connsiteX6" fmla="*/ 589281 w 589280"/>
                <a:gd name="connsiteY6" fmla="*/ 5143 h 384500"/>
                <a:gd name="connsiteX7" fmla="*/ 0 w 589280"/>
                <a:gd name="connsiteY7" fmla="*/ 0 h 384500"/>
                <a:gd name="connsiteX8" fmla="*/ 0 w 589280"/>
                <a:gd name="connsiteY8" fmla="*/ 0 h 38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280" h="384500">
                  <a:moveTo>
                    <a:pt x="1316" y="897"/>
                  </a:moveTo>
                  <a:lnTo>
                    <a:pt x="587008" y="6041"/>
                  </a:lnTo>
                  <a:lnTo>
                    <a:pt x="145272" y="383005"/>
                  </a:lnTo>
                  <a:lnTo>
                    <a:pt x="1316" y="897"/>
                  </a:lnTo>
                  <a:moveTo>
                    <a:pt x="0" y="0"/>
                  </a:moveTo>
                  <a:lnTo>
                    <a:pt x="144793" y="384500"/>
                  </a:lnTo>
                  <a:lnTo>
                    <a:pt x="589281" y="5143"/>
                  </a:lnTo>
                  <a:lnTo>
                    <a:pt x="0" y="0"/>
                  </a:lnTo>
                  <a:lnTo>
                    <a:pt x="0" y="0"/>
                  </a:lnTo>
                  <a:close/>
                </a:path>
              </a:pathLst>
            </a:custGeom>
            <a:grpFill/>
            <a:ln w="0" cap="flat">
              <a:noFill/>
              <a:prstDash val="solid"/>
              <a:miter/>
            </a:ln>
          </p:spPr>
          <p:txBody>
            <a:bodyPr rtlCol="0" anchor="ctr"/>
            <a:lstStyle/>
            <a:p>
              <a:endParaRPr lang="en-GB"/>
            </a:p>
          </p:txBody>
        </p:sp>
        <p:sp>
          <p:nvSpPr>
            <p:cNvPr id="4310" name="Vrije vorm: vorm 4309">
              <a:extLst>
                <a:ext uri="{FF2B5EF4-FFF2-40B4-BE49-F238E27FC236}">
                  <a16:creationId xmlns:a16="http://schemas.microsoft.com/office/drawing/2014/main" id="{1C198DC4-070C-4874-97DA-CCF1CC44C25B}"/>
                </a:ext>
              </a:extLst>
            </p:cNvPr>
            <p:cNvSpPr/>
            <p:nvPr/>
          </p:nvSpPr>
          <p:spPr>
            <a:xfrm>
              <a:off x="5221907" y="2762057"/>
              <a:ext cx="567630" cy="1085201"/>
            </a:xfrm>
            <a:custGeom>
              <a:avLst/>
              <a:gdLst>
                <a:gd name="connsiteX0" fmla="*/ 957 w 567630"/>
                <a:gd name="connsiteY0" fmla="*/ 2033 h 1085201"/>
                <a:gd name="connsiteX1" fmla="*/ 566375 w 567630"/>
                <a:gd name="connsiteY1" fmla="*/ 513684 h 1085201"/>
                <a:gd name="connsiteX2" fmla="*/ 43779 w 567630"/>
                <a:gd name="connsiteY2" fmla="*/ 1083049 h 1085201"/>
                <a:gd name="connsiteX3" fmla="*/ 957 w 567630"/>
                <a:gd name="connsiteY3" fmla="*/ 2033 h 1085201"/>
                <a:gd name="connsiteX4" fmla="*/ 0 w 567630"/>
                <a:gd name="connsiteY4" fmla="*/ 0 h 1085201"/>
                <a:gd name="connsiteX5" fmla="*/ 43001 w 567630"/>
                <a:gd name="connsiteY5" fmla="*/ 1085202 h 1085201"/>
                <a:gd name="connsiteX6" fmla="*/ 567631 w 567630"/>
                <a:gd name="connsiteY6" fmla="*/ 513624 h 1085201"/>
                <a:gd name="connsiteX7" fmla="*/ 0 w 567630"/>
                <a:gd name="connsiteY7" fmla="*/ 0 h 1085201"/>
                <a:gd name="connsiteX8" fmla="*/ 0 w 567630"/>
                <a:gd name="connsiteY8" fmla="*/ 0 h 108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30" h="1085201">
                  <a:moveTo>
                    <a:pt x="957" y="2033"/>
                  </a:moveTo>
                  <a:lnTo>
                    <a:pt x="566375" y="513684"/>
                  </a:lnTo>
                  <a:lnTo>
                    <a:pt x="43779" y="1083049"/>
                  </a:lnTo>
                  <a:lnTo>
                    <a:pt x="957" y="2033"/>
                  </a:lnTo>
                  <a:moveTo>
                    <a:pt x="0" y="0"/>
                  </a:moveTo>
                  <a:lnTo>
                    <a:pt x="43001" y="1085202"/>
                  </a:lnTo>
                  <a:lnTo>
                    <a:pt x="567631" y="513624"/>
                  </a:lnTo>
                  <a:lnTo>
                    <a:pt x="0" y="0"/>
                  </a:lnTo>
                  <a:lnTo>
                    <a:pt x="0" y="0"/>
                  </a:lnTo>
                  <a:close/>
                </a:path>
              </a:pathLst>
            </a:custGeom>
            <a:grpFill/>
            <a:ln w="0" cap="flat">
              <a:noFill/>
              <a:prstDash val="solid"/>
              <a:miter/>
            </a:ln>
          </p:spPr>
          <p:txBody>
            <a:bodyPr rtlCol="0" anchor="ctr"/>
            <a:lstStyle/>
            <a:p>
              <a:endParaRPr lang="en-GB"/>
            </a:p>
          </p:txBody>
        </p:sp>
        <p:sp>
          <p:nvSpPr>
            <p:cNvPr id="4311" name="Vrije vorm: vorm 4310">
              <a:extLst>
                <a:ext uri="{FF2B5EF4-FFF2-40B4-BE49-F238E27FC236}">
                  <a16:creationId xmlns:a16="http://schemas.microsoft.com/office/drawing/2014/main" id="{8CB61B79-5902-4FAA-AEFC-0415079A9588}"/>
                </a:ext>
              </a:extLst>
            </p:cNvPr>
            <p:cNvSpPr/>
            <p:nvPr/>
          </p:nvSpPr>
          <p:spPr>
            <a:xfrm>
              <a:off x="5219754" y="2292570"/>
              <a:ext cx="898424" cy="983110"/>
            </a:xfrm>
            <a:custGeom>
              <a:avLst/>
              <a:gdLst>
                <a:gd name="connsiteX0" fmla="*/ 896929 w 898424"/>
                <a:gd name="connsiteY0" fmla="*/ 1794 h 983110"/>
                <a:gd name="connsiteX1" fmla="*/ 569365 w 898424"/>
                <a:gd name="connsiteY1" fmla="*/ 981556 h 983110"/>
                <a:gd name="connsiteX2" fmla="*/ 1495 w 898424"/>
                <a:gd name="connsiteY2" fmla="*/ 469666 h 983110"/>
                <a:gd name="connsiteX3" fmla="*/ 896929 w 898424"/>
                <a:gd name="connsiteY3" fmla="*/ 1794 h 983110"/>
                <a:gd name="connsiteX4" fmla="*/ 898424 w 898424"/>
                <a:gd name="connsiteY4" fmla="*/ 0 h 983110"/>
                <a:gd name="connsiteX5" fmla="*/ 0 w 898424"/>
                <a:gd name="connsiteY5" fmla="*/ 469487 h 983110"/>
                <a:gd name="connsiteX6" fmla="*/ 569784 w 898424"/>
                <a:gd name="connsiteY6" fmla="*/ 983111 h 983110"/>
                <a:gd name="connsiteX7" fmla="*/ 898424 w 898424"/>
                <a:gd name="connsiteY7" fmla="*/ 0 h 983110"/>
                <a:gd name="connsiteX8" fmla="*/ 898424 w 898424"/>
                <a:gd name="connsiteY8" fmla="*/ 0 h 98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424" h="983110">
                  <a:moveTo>
                    <a:pt x="896929" y="1794"/>
                  </a:moveTo>
                  <a:lnTo>
                    <a:pt x="569365" y="981556"/>
                  </a:lnTo>
                  <a:lnTo>
                    <a:pt x="1495" y="469666"/>
                  </a:lnTo>
                  <a:lnTo>
                    <a:pt x="896929" y="1794"/>
                  </a:lnTo>
                  <a:moveTo>
                    <a:pt x="898424" y="0"/>
                  </a:moveTo>
                  <a:lnTo>
                    <a:pt x="0" y="469487"/>
                  </a:lnTo>
                  <a:lnTo>
                    <a:pt x="569784" y="983111"/>
                  </a:lnTo>
                  <a:lnTo>
                    <a:pt x="898424" y="0"/>
                  </a:lnTo>
                  <a:lnTo>
                    <a:pt x="898424" y="0"/>
                  </a:lnTo>
                  <a:close/>
                </a:path>
              </a:pathLst>
            </a:custGeom>
            <a:grpFill/>
            <a:ln w="0" cap="flat">
              <a:noFill/>
              <a:prstDash val="solid"/>
              <a:miter/>
            </a:ln>
          </p:spPr>
          <p:txBody>
            <a:bodyPr rtlCol="0" anchor="ctr"/>
            <a:lstStyle/>
            <a:p>
              <a:endParaRPr lang="en-GB"/>
            </a:p>
          </p:txBody>
        </p:sp>
        <p:sp>
          <p:nvSpPr>
            <p:cNvPr id="4312" name="Vrije vorm: vorm 4311">
              <a:extLst>
                <a:ext uri="{FF2B5EF4-FFF2-40B4-BE49-F238E27FC236}">
                  <a16:creationId xmlns:a16="http://schemas.microsoft.com/office/drawing/2014/main" id="{7219F3FA-663F-4A37-BA8C-0E8B1ACCBDC4}"/>
                </a:ext>
              </a:extLst>
            </p:cNvPr>
            <p:cNvSpPr/>
            <p:nvPr/>
          </p:nvSpPr>
          <p:spPr>
            <a:xfrm>
              <a:off x="6118179" y="2292570"/>
              <a:ext cx="662484" cy="1486807"/>
            </a:xfrm>
            <a:custGeom>
              <a:avLst/>
              <a:gdLst>
                <a:gd name="connsiteX0" fmla="*/ 4246 w 662484"/>
                <a:gd name="connsiteY0" fmla="*/ 11662 h 1486807"/>
                <a:gd name="connsiteX1" fmla="*/ 660989 w 662484"/>
                <a:gd name="connsiteY1" fmla="*/ 1485551 h 1486807"/>
                <a:gd name="connsiteX2" fmla="*/ 407466 w 662484"/>
                <a:gd name="connsiteY2" fmla="*/ 1427060 h 1486807"/>
                <a:gd name="connsiteX3" fmla="*/ 4246 w 662484"/>
                <a:gd name="connsiteY3" fmla="*/ 11662 h 1486807"/>
                <a:gd name="connsiteX4" fmla="*/ 0 w 662484"/>
                <a:gd name="connsiteY4" fmla="*/ 0 h 1486807"/>
                <a:gd name="connsiteX5" fmla="*/ 406749 w 662484"/>
                <a:gd name="connsiteY5" fmla="*/ 1427838 h 1486807"/>
                <a:gd name="connsiteX6" fmla="*/ 662484 w 662484"/>
                <a:gd name="connsiteY6" fmla="*/ 1486807 h 1486807"/>
                <a:gd name="connsiteX7" fmla="*/ 0 w 662484"/>
                <a:gd name="connsiteY7" fmla="*/ 0 h 1486807"/>
                <a:gd name="connsiteX8" fmla="*/ 0 w 662484"/>
                <a:gd name="connsiteY8" fmla="*/ 0 h 148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484" h="1486807">
                  <a:moveTo>
                    <a:pt x="4246" y="11662"/>
                  </a:moveTo>
                  <a:lnTo>
                    <a:pt x="660989" y="1485551"/>
                  </a:lnTo>
                  <a:lnTo>
                    <a:pt x="407466" y="1427060"/>
                  </a:lnTo>
                  <a:lnTo>
                    <a:pt x="4246" y="11662"/>
                  </a:lnTo>
                  <a:moveTo>
                    <a:pt x="0" y="0"/>
                  </a:moveTo>
                  <a:lnTo>
                    <a:pt x="406749" y="1427838"/>
                  </a:lnTo>
                  <a:lnTo>
                    <a:pt x="662484" y="1486807"/>
                  </a:lnTo>
                  <a:lnTo>
                    <a:pt x="0" y="0"/>
                  </a:lnTo>
                  <a:lnTo>
                    <a:pt x="0" y="0"/>
                  </a:lnTo>
                  <a:close/>
                </a:path>
              </a:pathLst>
            </a:custGeom>
            <a:grpFill/>
            <a:ln w="0" cap="flat">
              <a:noFill/>
              <a:prstDash val="solid"/>
              <a:miter/>
            </a:ln>
          </p:spPr>
          <p:txBody>
            <a:bodyPr rtlCol="0" anchor="ctr"/>
            <a:lstStyle/>
            <a:p>
              <a:endParaRPr lang="en-GB"/>
            </a:p>
          </p:txBody>
        </p:sp>
        <p:sp>
          <p:nvSpPr>
            <p:cNvPr id="4313" name="Vrije vorm: vorm 4312">
              <a:extLst>
                <a:ext uri="{FF2B5EF4-FFF2-40B4-BE49-F238E27FC236}">
                  <a16:creationId xmlns:a16="http://schemas.microsoft.com/office/drawing/2014/main" id="{B3CA12AE-E8B3-4BE5-A9A5-D98548B45BC2}"/>
                </a:ext>
              </a:extLst>
            </p:cNvPr>
            <p:cNvSpPr/>
            <p:nvPr/>
          </p:nvSpPr>
          <p:spPr>
            <a:xfrm>
              <a:off x="5789538" y="2292570"/>
              <a:ext cx="735389" cy="1427837"/>
            </a:xfrm>
            <a:custGeom>
              <a:avLst/>
              <a:gdLst>
                <a:gd name="connsiteX0" fmla="*/ 328581 w 735389"/>
                <a:gd name="connsiteY0" fmla="*/ 2990 h 1427837"/>
                <a:gd name="connsiteX1" fmla="*/ 733894 w 735389"/>
                <a:gd name="connsiteY1" fmla="*/ 1425924 h 1427837"/>
                <a:gd name="connsiteX2" fmla="*/ 1017 w 735389"/>
                <a:gd name="connsiteY2" fmla="*/ 982692 h 1427837"/>
                <a:gd name="connsiteX3" fmla="*/ 328581 w 735389"/>
                <a:gd name="connsiteY3" fmla="*/ 2990 h 1427837"/>
                <a:gd name="connsiteX4" fmla="*/ 328641 w 735389"/>
                <a:gd name="connsiteY4" fmla="*/ 0 h 1427837"/>
                <a:gd name="connsiteX5" fmla="*/ 0 w 735389"/>
                <a:gd name="connsiteY5" fmla="*/ 983111 h 1427837"/>
                <a:gd name="connsiteX6" fmla="*/ 735389 w 735389"/>
                <a:gd name="connsiteY6" fmla="*/ 1427838 h 1427837"/>
                <a:gd name="connsiteX7" fmla="*/ 328641 w 735389"/>
                <a:gd name="connsiteY7" fmla="*/ 0 h 1427837"/>
                <a:gd name="connsiteX8" fmla="*/ 328641 w 735389"/>
                <a:gd name="connsiteY8" fmla="*/ 0 h 142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389" h="1427837">
                  <a:moveTo>
                    <a:pt x="328581" y="2990"/>
                  </a:moveTo>
                  <a:lnTo>
                    <a:pt x="733894" y="1425924"/>
                  </a:lnTo>
                  <a:lnTo>
                    <a:pt x="1017" y="982692"/>
                  </a:lnTo>
                  <a:lnTo>
                    <a:pt x="328581" y="2990"/>
                  </a:lnTo>
                  <a:moveTo>
                    <a:pt x="328641" y="0"/>
                  </a:moveTo>
                  <a:lnTo>
                    <a:pt x="0" y="983111"/>
                  </a:lnTo>
                  <a:lnTo>
                    <a:pt x="735389" y="1427838"/>
                  </a:lnTo>
                  <a:lnTo>
                    <a:pt x="328641" y="0"/>
                  </a:lnTo>
                  <a:lnTo>
                    <a:pt x="328641" y="0"/>
                  </a:lnTo>
                  <a:close/>
                </a:path>
              </a:pathLst>
            </a:custGeom>
            <a:grpFill/>
            <a:ln w="0" cap="flat">
              <a:noFill/>
              <a:prstDash val="solid"/>
              <a:miter/>
            </a:ln>
          </p:spPr>
          <p:txBody>
            <a:bodyPr rtlCol="0" anchor="ctr"/>
            <a:lstStyle/>
            <a:p>
              <a:endParaRPr lang="en-GB"/>
            </a:p>
          </p:txBody>
        </p:sp>
        <p:sp>
          <p:nvSpPr>
            <p:cNvPr id="4314" name="Vrije vorm: vorm 4313">
              <a:extLst>
                <a:ext uri="{FF2B5EF4-FFF2-40B4-BE49-F238E27FC236}">
                  <a16:creationId xmlns:a16="http://schemas.microsoft.com/office/drawing/2014/main" id="{FC180ECF-7285-410A-860D-25F162559EA1}"/>
                </a:ext>
              </a:extLst>
            </p:cNvPr>
            <p:cNvSpPr/>
            <p:nvPr/>
          </p:nvSpPr>
          <p:spPr>
            <a:xfrm>
              <a:off x="5264909" y="3275681"/>
              <a:ext cx="589280" cy="576720"/>
            </a:xfrm>
            <a:custGeom>
              <a:avLst/>
              <a:gdLst>
                <a:gd name="connsiteX0" fmla="*/ 521280 w 589280"/>
                <a:gd name="connsiteY0" fmla="*/ 4964 h 576720"/>
                <a:gd name="connsiteX1" fmla="*/ 588324 w 589280"/>
                <a:gd name="connsiteY1" fmla="*/ 575824 h 576720"/>
                <a:gd name="connsiteX2" fmla="*/ 1974 w 589280"/>
                <a:gd name="connsiteY2" fmla="*/ 570680 h 576720"/>
                <a:gd name="connsiteX3" fmla="*/ 521280 w 589280"/>
                <a:gd name="connsiteY3" fmla="*/ 4964 h 576720"/>
                <a:gd name="connsiteX4" fmla="*/ 524629 w 589280"/>
                <a:gd name="connsiteY4" fmla="*/ 0 h 576720"/>
                <a:gd name="connsiteX5" fmla="*/ 0 w 589280"/>
                <a:gd name="connsiteY5" fmla="*/ 571578 h 576720"/>
                <a:gd name="connsiteX6" fmla="*/ 589281 w 589280"/>
                <a:gd name="connsiteY6" fmla="*/ 576721 h 576720"/>
                <a:gd name="connsiteX7" fmla="*/ 521938 w 589280"/>
                <a:gd name="connsiteY7" fmla="*/ 3469 h 576720"/>
                <a:gd name="connsiteX8" fmla="*/ 524629 w 589280"/>
                <a:gd name="connsiteY8" fmla="*/ 0 h 576720"/>
                <a:gd name="connsiteX9" fmla="*/ 524629 w 589280"/>
                <a:gd name="connsiteY9" fmla="*/ 0 h 57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280" h="576720">
                  <a:moveTo>
                    <a:pt x="521280" y="4964"/>
                  </a:moveTo>
                  <a:lnTo>
                    <a:pt x="588324" y="575824"/>
                  </a:lnTo>
                  <a:lnTo>
                    <a:pt x="1974" y="570680"/>
                  </a:lnTo>
                  <a:lnTo>
                    <a:pt x="521280" y="4964"/>
                  </a:lnTo>
                  <a:moveTo>
                    <a:pt x="524629" y="0"/>
                  </a:moveTo>
                  <a:lnTo>
                    <a:pt x="0" y="571578"/>
                  </a:lnTo>
                  <a:lnTo>
                    <a:pt x="589281" y="576721"/>
                  </a:lnTo>
                  <a:lnTo>
                    <a:pt x="521938" y="3469"/>
                  </a:lnTo>
                  <a:lnTo>
                    <a:pt x="524629" y="0"/>
                  </a:lnTo>
                  <a:lnTo>
                    <a:pt x="524629" y="0"/>
                  </a:lnTo>
                  <a:close/>
                </a:path>
              </a:pathLst>
            </a:custGeom>
            <a:grpFill/>
            <a:ln w="0" cap="flat">
              <a:noFill/>
              <a:prstDash val="solid"/>
              <a:miter/>
            </a:ln>
          </p:spPr>
          <p:txBody>
            <a:bodyPr rtlCol="0" anchor="ctr"/>
            <a:lstStyle/>
            <a:p>
              <a:endParaRPr lang="en-GB"/>
            </a:p>
          </p:txBody>
        </p:sp>
        <p:sp>
          <p:nvSpPr>
            <p:cNvPr id="4315" name="Vrije vorm: vorm 4314">
              <a:extLst>
                <a:ext uri="{FF2B5EF4-FFF2-40B4-BE49-F238E27FC236}">
                  <a16:creationId xmlns:a16="http://schemas.microsoft.com/office/drawing/2014/main" id="{A2831B91-5391-4D5C-95A4-AC49CD9524C0}"/>
                </a:ext>
              </a:extLst>
            </p:cNvPr>
            <p:cNvSpPr/>
            <p:nvPr/>
          </p:nvSpPr>
          <p:spPr>
            <a:xfrm>
              <a:off x="5789538" y="3275681"/>
              <a:ext cx="735329" cy="576720"/>
            </a:xfrm>
            <a:custGeom>
              <a:avLst/>
              <a:gdLst>
                <a:gd name="connsiteX0" fmla="*/ 1076 w 735329"/>
                <a:gd name="connsiteY0" fmla="*/ 1675 h 576720"/>
                <a:gd name="connsiteX1" fmla="*/ 732997 w 735329"/>
                <a:gd name="connsiteY1" fmla="*/ 444308 h 576720"/>
                <a:gd name="connsiteX2" fmla="*/ 65489 w 735329"/>
                <a:gd name="connsiteY2" fmla="*/ 575644 h 576720"/>
                <a:gd name="connsiteX3" fmla="*/ 1076 w 735329"/>
                <a:gd name="connsiteY3" fmla="*/ 1675 h 576720"/>
                <a:gd name="connsiteX4" fmla="*/ 0 w 735329"/>
                <a:gd name="connsiteY4" fmla="*/ 0 h 576720"/>
                <a:gd name="connsiteX5" fmla="*/ 64652 w 735329"/>
                <a:gd name="connsiteY5" fmla="*/ 576721 h 576720"/>
                <a:gd name="connsiteX6" fmla="*/ 735330 w 735329"/>
                <a:gd name="connsiteY6" fmla="*/ 444727 h 576720"/>
                <a:gd name="connsiteX7" fmla="*/ 0 w 735329"/>
                <a:gd name="connsiteY7" fmla="*/ 0 h 576720"/>
                <a:gd name="connsiteX8" fmla="*/ 0 w 735329"/>
                <a:gd name="connsiteY8" fmla="*/ 0 h 57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329" h="576720">
                  <a:moveTo>
                    <a:pt x="1076" y="1675"/>
                  </a:moveTo>
                  <a:lnTo>
                    <a:pt x="732997" y="444308"/>
                  </a:lnTo>
                  <a:lnTo>
                    <a:pt x="65489" y="575644"/>
                  </a:lnTo>
                  <a:lnTo>
                    <a:pt x="1076" y="1675"/>
                  </a:lnTo>
                  <a:moveTo>
                    <a:pt x="0" y="0"/>
                  </a:moveTo>
                  <a:lnTo>
                    <a:pt x="64652" y="576721"/>
                  </a:lnTo>
                  <a:lnTo>
                    <a:pt x="735330" y="444727"/>
                  </a:lnTo>
                  <a:lnTo>
                    <a:pt x="0" y="0"/>
                  </a:lnTo>
                  <a:lnTo>
                    <a:pt x="0" y="0"/>
                  </a:lnTo>
                  <a:close/>
                </a:path>
              </a:pathLst>
            </a:custGeom>
            <a:grpFill/>
            <a:ln w="0" cap="flat">
              <a:noFill/>
              <a:prstDash val="solid"/>
              <a:miter/>
            </a:ln>
          </p:spPr>
          <p:txBody>
            <a:bodyPr rtlCol="0" anchor="ctr"/>
            <a:lstStyle/>
            <a:p>
              <a:endParaRPr lang="en-GB"/>
            </a:p>
          </p:txBody>
        </p:sp>
        <p:sp>
          <p:nvSpPr>
            <p:cNvPr id="4316" name="Vrije vorm: vorm 4315">
              <a:extLst>
                <a:ext uri="{FF2B5EF4-FFF2-40B4-BE49-F238E27FC236}">
                  <a16:creationId xmlns:a16="http://schemas.microsoft.com/office/drawing/2014/main" id="{386A8992-7A4C-4413-AEDA-C5E384CBE5D9}"/>
                </a:ext>
              </a:extLst>
            </p:cNvPr>
            <p:cNvSpPr/>
            <p:nvPr/>
          </p:nvSpPr>
          <p:spPr>
            <a:xfrm>
              <a:off x="5854249" y="3720408"/>
              <a:ext cx="670677" cy="678512"/>
            </a:xfrm>
            <a:custGeom>
              <a:avLst/>
              <a:gdLst>
                <a:gd name="connsiteX0" fmla="*/ 669542 w 670677"/>
                <a:gd name="connsiteY0" fmla="*/ 1136 h 678512"/>
                <a:gd name="connsiteX1" fmla="*/ 525645 w 670677"/>
                <a:gd name="connsiteY1" fmla="*/ 676719 h 678512"/>
                <a:gd name="connsiteX2" fmla="*/ 1674 w 670677"/>
                <a:gd name="connsiteY2" fmla="*/ 132533 h 678512"/>
                <a:gd name="connsiteX3" fmla="*/ 669542 w 670677"/>
                <a:gd name="connsiteY3" fmla="*/ 1136 h 678512"/>
                <a:gd name="connsiteX4" fmla="*/ 670678 w 670677"/>
                <a:gd name="connsiteY4" fmla="*/ 0 h 678512"/>
                <a:gd name="connsiteX5" fmla="*/ 0 w 670677"/>
                <a:gd name="connsiteY5" fmla="*/ 131994 h 678512"/>
                <a:gd name="connsiteX6" fmla="*/ 526184 w 670677"/>
                <a:gd name="connsiteY6" fmla="*/ 678513 h 678512"/>
                <a:gd name="connsiteX7" fmla="*/ 670678 w 670677"/>
                <a:gd name="connsiteY7" fmla="*/ 0 h 678512"/>
                <a:gd name="connsiteX8" fmla="*/ 670678 w 670677"/>
                <a:gd name="connsiteY8" fmla="*/ 0 h 67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677" h="678512">
                  <a:moveTo>
                    <a:pt x="669542" y="1136"/>
                  </a:moveTo>
                  <a:lnTo>
                    <a:pt x="525645" y="676719"/>
                  </a:lnTo>
                  <a:lnTo>
                    <a:pt x="1674" y="132533"/>
                  </a:lnTo>
                  <a:lnTo>
                    <a:pt x="669542" y="1136"/>
                  </a:lnTo>
                  <a:moveTo>
                    <a:pt x="670678" y="0"/>
                  </a:moveTo>
                  <a:lnTo>
                    <a:pt x="0" y="131994"/>
                  </a:lnTo>
                  <a:lnTo>
                    <a:pt x="526184" y="678513"/>
                  </a:lnTo>
                  <a:lnTo>
                    <a:pt x="670678" y="0"/>
                  </a:lnTo>
                  <a:lnTo>
                    <a:pt x="670678" y="0"/>
                  </a:lnTo>
                  <a:close/>
                </a:path>
              </a:pathLst>
            </a:custGeom>
            <a:grpFill/>
            <a:ln w="0" cap="flat">
              <a:noFill/>
              <a:prstDash val="solid"/>
              <a:miter/>
            </a:ln>
          </p:spPr>
          <p:txBody>
            <a:bodyPr rtlCol="0" anchor="ctr"/>
            <a:lstStyle/>
            <a:p>
              <a:endParaRPr lang="en-GB"/>
            </a:p>
          </p:txBody>
        </p:sp>
        <p:sp>
          <p:nvSpPr>
            <p:cNvPr id="4317" name="Vrije vorm: vorm 4316">
              <a:extLst>
                <a:ext uri="{FF2B5EF4-FFF2-40B4-BE49-F238E27FC236}">
                  <a16:creationId xmlns:a16="http://schemas.microsoft.com/office/drawing/2014/main" id="{30EB8D91-D719-4103-9BF6-A5F6FC621401}"/>
                </a:ext>
              </a:extLst>
            </p:cNvPr>
            <p:cNvSpPr/>
            <p:nvPr/>
          </p:nvSpPr>
          <p:spPr>
            <a:xfrm>
              <a:off x="6380732" y="3720408"/>
              <a:ext cx="399930" cy="678153"/>
            </a:xfrm>
            <a:custGeom>
              <a:avLst/>
              <a:gdLst>
                <a:gd name="connsiteX0" fmla="*/ 144853 w 399930"/>
                <a:gd name="connsiteY0" fmla="*/ 1076 h 678153"/>
                <a:gd name="connsiteX1" fmla="*/ 398496 w 399930"/>
                <a:gd name="connsiteY1" fmla="*/ 59568 h 678153"/>
                <a:gd name="connsiteX2" fmla="*/ 1854 w 399930"/>
                <a:gd name="connsiteY2" fmla="*/ 673728 h 678153"/>
                <a:gd name="connsiteX3" fmla="*/ 144853 w 399930"/>
                <a:gd name="connsiteY3" fmla="*/ 1076 h 678153"/>
                <a:gd name="connsiteX4" fmla="*/ 144195 w 399930"/>
                <a:gd name="connsiteY4" fmla="*/ 0 h 678153"/>
                <a:gd name="connsiteX5" fmla="*/ 0 w 399930"/>
                <a:gd name="connsiteY5" fmla="*/ 678154 h 678153"/>
                <a:gd name="connsiteX6" fmla="*/ 399931 w 399930"/>
                <a:gd name="connsiteY6" fmla="*/ 58970 h 678153"/>
                <a:gd name="connsiteX7" fmla="*/ 144195 w 399930"/>
                <a:gd name="connsiteY7" fmla="*/ 0 h 678153"/>
                <a:gd name="connsiteX8" fmla="*/ 144195 w 399930"/>
                <a:gd name="connsiteY8" fmla="*/ 0 h 678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930" h="678153">
                  <a:moveTo>
                    <a:pt x="144853" y="1076"/>
                  </a:moveTo>
                  <a:lnTo>
                    <a:pt x="398496" y="59568"/>
                  </a:lnTo>
                  <a:lnTo>
                    <a:pt x="1854" y="673728"/>
                  </a:lnTo>
                  <a:lnTo>
                    <a:pt x="144853" y="1076"/>
                  </a:lnTo>
                  <a:moveTo>
                    <a:pt x="144195" y="0"/>
                  </a:moveTo>
                  <a:lnTo>
                    <a:pt x="0" y="678154"/>
                  </a:lnTo>
                  <a:lnTo>
                    <a:pt x="399931" y="58970"/>
                  </a:lnTo>
                  <a:lnTo>
                    <a:pt x="144195" y="0"/>
                  </a:lnTo>
                  <a:lnTo>
                    <a:pt x="144195" y="0"/>
                  </a:lnTo>
                  <a:close/>
                </a:path>
              </a:pathLst>
            </a:custGeom>
            <a:grpFill/>
            <a:ln w="0" cap="flat">
              <a:noFill/>
              <a:prstDash val="solid"/>
              <a:miter/>
            </a:ln>
          </p:spPr>
          <p:txBody>
            <a:bodyPr rtlCol="0" anchor="ctr"/>
            <a:lstStyle/>
            <a:p>
              <a:endParaRPr lang="en-GB"/>
            </a:p>
          </p:txBody>
        </p:sp>
      </p:grpSp>
      <p:grpSp>
        <p:nvGrpSpPr>
          <p:cNvPr id="4318" name="Lijnen_midden_3">
            <a:extLst>
              <a:ext uri="{FF2B5EF4-FFF2-40B4-BE49-F238E27FC236}">
                <a16:creationId xmlns:a16="http://schemas.microsoft.com/office/drawing/2014/main" id="{02B850B6-E037-4E9A-8AD6-AEF7C7034447}"/>
              </a:ext>
            </a:extLst>
          </p:cNvPr>
          <p:cNvGrpSpPr/>
          <p:nvPr/>
        </p:nvGrpSpPr>
        <p:grpSpPr>
          <a:xfrm>
            <a:off x="5204361" y="2747914"/>
            <a:ext cx="1267554" cy="1699900"/>
            <a:chOff x="5172267" y="2564394"/>
            <a:chExt cx="1267554" cy="1699900"/>
          </a:xfrm>
          <a:solidFill>
            <a:schemeClr val="bg1">
              <a:alpha val="35000"/>
            </a:schemeClr>
          </a:solidFill>
        </p:grpSpPr>
        <p:sp>
          <p:nvSpPr>
            <p:cNvPr id="4319" name="Vrije vorm: vorm 4318">
              <a:extLst>
                <a:ext uri="{FF2B5EF4-FFF2-40B4-BE49-F238E27FC236}">
                  <a16:creationId xmlns:a16="http://schemas.microsoft.com/office/drawing/2014/main" id="{276042FF-A5C1-4028-BD29-6780308F9836}"/>
                </a:ext>
              </a:extLst>
            </p:cNvPr>
            <p:cNvSpPr/>
            <p:nvPr/>
          </p:nvSpPr>
          <p:spPr>
            <a:xfrm>
              <a:off x="5602222" y="2564394"/>
              <a:ext cx="837121" cy="806859"/>
            </a:xfrm>
            <a:custGeom>
              <a:avLst/>
              <a:gdLst>
                <a:gd name="connsiteX0" fmla="*/ 7476 w 837121"/>
                <a:gd name="connsiteY0" fmla="*/ 8911 h 806859"/>
                <a:gd name="connsiteX1" fmla="*/ 832337 w 837121"/>
                <a:gd name="connsiteY1" fmla="*/ 655906 h 806859"/>
                <a:gd name="connsiteX2" fmla="*/ 432107 w 837121"/>
                <a:gd name="connsiteY2" fmla="*/ 803869 h 806859"/>
                <a:gd name="connsiteX3" fmla="*/ 7476 w 837121"/>
                <a:gd name="connsiteY3" fmla="*/ 8911 h 806859"/>
                <a:gd name="connsiteX4" fmla="*/ 0 w 837121"/>
                <a:gd name="connsiteY4" fmla="*/ 0 h 806859"/>
                <a:gd name="connsiteX5" fmla="*/ 430911 w 837121"/>
                <a:gd name="connsiteY5" fmla="*/ 806859 h 806859"/>
                <a:gd name="connsiteX6" fmla="*/ 837122 w 837121"/>
                <a:gd name="connsiteY6" fmla="*/ 656683 h 806859"/>
                <a:gd name="connsiteX7" fmla="*/ 0 w 837121"/>
                <a:gd name="connsiteY7" fmla="*/ 0 h 806859"/>
                <a:gd name="connsiteX8" fmla="*/ 0 w 837121"/>
                <a:gd name="connsiteY8" fmla="*/ 0 h 80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7121" h="806859">
                  <a:moveTo>
                    <a:pt x="7476" y="8911"/>
                  </a:moveTo>
                  <a:lnTo>
                    <a:pt x="832337" y="655906"/>
                  </a:lnTo>
                  <a:lnTo>
                    <a:pt x="432107" y="803869"/>
                  </a:lnTo>
                  <a:lnTo>
                    <a:pt x="7476" y="8911"/>
                  </a:lnTo>
                  <a:moveTo>
                    <a:pt x="0" y="0"/>
                  </a:moveTo>
                  <a:lnTo>
                    <a:pt x="430911" y="806859"/>
                  </a:lnTo>
                  <a:lnTo>
                    <a:pt x="837122" y="656683"/>
                  </a:lnTo>
                  <a:lnTo>
                    <a:pt x="0" y="0"/>
                  </a:lnTo>
                  <a:lnTo>
                    <a:pt x="0" y="0"/>
                  </a:lnTo>
                  <a:close/>
                </a:path>
              </a:pathLst>
            </a:custGeom>
            <a:grpFill/>
            <a:ln w="0" cap="flat">
              <a:noFill/>
              <a:prstDash val="solid"/>
              <a:miter/>
            </a:ln>
          </p:spPr>
          <p:txBody>
            <a:bodyPr rtlCol="0" anchor="ctr"/>
            <a:lstStyle/>
            <a:p>
              <a:endParaRPr lang="en-GB"/>
            </a:p>
          </p:txBody>
        </p:sp>
        <p:sp>
          <p:nvSpPr>
            <p:cNvPr id="4320" name="Vrije vorm: vorm 4319">
              <a:extLst>
                <a:ext uri="{FF2B5EF4-FFF2-40B4-BE49-F238E27FC236}">
                  <a16:creationId xmlns:a16="http://schemas.microsoft.com/office/drawing/2014/main" id="{BDD55830-329A-4C97-A99C-B127F71AADF5}"/>
                </a:ext>
              </a:extLst>
            </p:cNvPr>
            <p:cNvSpPr/>
            <p:nvPr/>
          </p:nvSpPr>
          <p:spPr>
            <a:xfrm>
              <a:off x="6033192" y="3220658"/>
              <a:ext cx="406629" cy="446401"/>
            </a:xfrm>
            <a:custGeom>
              <a:avLst/>
              <a:gdLst>
                <a:gd name="connsiteX0" fmla="*/ 403998 w 406629"/>
                <a:gd name="connsiteY0" fmla="*/ 3529 h 446401"/>
                <a:gd name="connsiteX1" fmla="*/ 372958 w 406629"/>
                <a:gd name="connsiteY1" fmla="*/ 441736 h 446401"/>
                <a:gd name="connsiteX2" fmla="*/ 4844 w 406629"/>
                <a:gd name="connsiteY2" fmla="*/ 151372 h 446401"/>
                <a:gd name="connsiteX3" fmla="*/ 403998 w 406629"/>
                <a:gd name="connsiteY3" fmla="*/ 3529 h 446401"/>
                <a:gd name="connsiteX4" fmla="*/ 406629 w 406629"/>
                <a:gd name="connsiteY4" fmla="*/ 0 h 446401"/>
                <a:gd name="connsiteX5" fmla="*/ 0 w 406629"/>
                <a:gd name="connsiteY5" fmla="*/ 150595 h 446401"/>
                <a:gd name="connsiteX6" fmla="*/ 374991 w 406629"/>
                <a:gd name="connsiteY6" fmla="*/ 446401 h 446401"/>
                <a:gd name="connsiteX7" fmla="*/ 406629 w 406629"/>
                <a:gd name="connsiteY7" fmla="*/ 0 h 446401"/>
                <a:gd name="connsiteX8" fmla="*/ 406629 w 406629"/>
                <a:gd name="connsiteY8" fmla="*/ 0 h 44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629" h="446401">
                  <a:moveTo>
                    <a:pt x="403998" y="3529"/>
                  </a:moveTo>
                  <a:lnTo>
                    <a:pt x="372958" y="441736"/>
                  </a:lnTo>
                  <a:lnTo>
                    <a:pt x="4844" y="151372"/>
                  </a:lnTo>
                  <a:lnTo>
                    <a:pt x="403998" y="3529"/>
                  </a:lnTo>
                  <a:moveTo>
                    <a:pt x="406629" y="0"/>
                  </a:moveTo>
                  <a:lnTo>
                    <a:pt x="0" y="150595"/>
                  </a:lnTo>
                  <a:lnTo>
                    <a:pt x="374991" y="446401"/>
                  </a:lnTo>
                  <a:lnTo>
                    <a:pt x="406629" y="0"/>
                  </a:lnTo>
                  <a:lnTo>
                    <a:pt x="406629" y="0"/>
                  </a:lnTo>
                  <a:close/>
                </a:path>
              </a:pathLst>
            </a:custGeom>
            <a:grpFill/>
            <a:ln w="0" cap="flat">
              <a:noFill/>
              <a:prstDash val="solid"/>
              <a:miter/>
            </a:ln>
          </p:spPr>
          <p:txBody>
            <a:bodyPr rtlCol="0" anchor="ctr"/>
            <a:lstStyle/>
            <a:p>
              <a:endParaRPr lang="en-GB"/>
            </a:p>
          </p:txBody>
        </p:sp>
        <p:sp>
          <p:nvSpPr>
            <p:cNvPr id="4321" name="Vrije vorm: vorm 4320">
              <a:extLst>
                <a:ext uri="{FF2B5EF4-FFF2-40B4-BE49-F238E27FC236}">
                  <a16:creationId xmlns:a16="http://schemas.microsoft.com/office/drawing/2014/main" id="{D42A8B34-35AE-4533-A446-1FE72EA1AC8B}"/>
                </a:ext>
              </a:extLst>
            </p:cNvPr>
            <p:cNvSpPr/>
            <p:nvPr/>
          </p:nvSpPr>
          <p:spPr>
            <a:xfrm>
              <a:off x="6040070" y="3667777"/>
              <a:ext cx="369010" cy="596517"/>
            </a:xfrm>
            <a:custGeom>
              <a:avLst/>
              <a:gdLst>
                <a:gd name="connsiteX0" fmla="*/ 366439 w 369010"/>
                <a:gd name="connsiteY0" fmla="*/ 3708 h 596517"/>
                <a:gd name="connsiteX1" fmla="*/ 342756 w 369010"/>
                <a:gd name="connsiteY1" fmla="*/ 589998 h 596517"/>
                <a:gd name="connsiteX2" fmla="*/ 3768 w 369010"/>
                <a:gd name="connsiteY2" fmla="*/ 162676 h 596517"/>
                <a:gd name="connsiteX3" fmla="*/ 366439 w 369010"/>
                <a:gd name="connsiteY3" fmla="*/ 3708 h 596517"/>
                <a:gd name="connsiteX4" fmla="*/ 369011 w 369010"/>
                <a:gd name="connsiteY4" fmla="*/ 0 h 596517"/>
                <a:gd name="connsiteX5" fmla="*/ 0 w 369010"/>
                <a:gd name="connsiteY5" fmla="*/ 161719 h 596517"/>
                <a:gd name="connsiteX6" fmla="*/ 344909 w 369010"/>
                <a:gd name="connsiteY6" fmla="*/ 596517 h 596517"/>
                <a:gd name="connsiteX7" fmla="*/ 369011 w 369010"/>
                <a:gd name="connsiteY7" fmla="*/ 0 h 596517"/>
                <a:gd name="connsiteX8" fmla="*/ 369011 w 369010"/>
                <a:gd name="connsiteY8" fmla="*/ 0 h 596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010" h="596517">
                  <a:moveTo>
                    <a:pt x="366439" y="3708"/>
                  </a:moveTo>
                  <a:lnTo>
                    <a:pt x="342756" y="589998"/>
                  </a:lnTo>
                  <a:lnTo>
                    <a:pt x="3768" y="162676"/>
                  </a:lnTo>
                  <a:lnTo>
                    <a:pt x="366439" y="3708"/>
                  </a:lnTo>
                  <a:moveTo>
                    <a:pt x="369011" y="0"/>
                  </a:moveTo>
                  <a:lnTo>
                    <a:pt x="0" y="161719"/>
                  </a:lnTo>
                  <a:lnTo>
                    <a:pt x="344909" y="596517"/>
                  </a:lnTo>
                  <a:lnTo>
                    <a:pt x="369011" y="0"/>
                  </a:lnTo>
                  <a:lnTo>
                    <a:pt x="369011" y="0"/>
                  </a:lnTo>
                  <a:close/>
                </a:path>
              </a:pathLst>
            </a:custGeom>
            <a:grpFill/>
            <a:ln w="0" cap="flat">
              <a:noFill/>
              <a:prstDash val="solid"/>
              <a:miter/>
            </a:ln>
          </p:spPr>
          <p:txBody>
            <a:bodyPr rtlCol="0" anchor="ctr"/>
            <a:lstStyle/>
            <a:p>
              <a:endParaRPr lang="en-GB"/>
            </a:p>
          </p:txBody>
        </p:sp>
        <p:sp>
          <p:nvSpPr>
            <p:cNvPr id="4322" name="Vrije vorm: vorm 4321">
              <a:extLst>
                <a:ext uri="{FF2B5EF4-FFF2-40B4-BE49-F238E27FC236}">
                  <a16:creationId xmlns:a16="http://schemas.microsoft.com/office/drawing/2014/main" id="{7B42B0DF-B3A8-4C2B-BFBB-6957E7D38819}"/>
                </a:ext>
              </a:extLst>
            </p:cNvPr>
            <p:cNvSpPr/>
            <p:nvPr/>
          </p:nvSpPr>
          <p:spPr>
            <a:xfrm>
              <a:off x="5577581" y="3829496"/>
              <a:ext cx="809550" cy="434080"/>
            </a:xfrm>
            <a:custGeom>
              <a:avLst/>
              <a:gdLst>
                <a:gd name="connsiteX0" fmla="*/ 462130 w 809550"/>
                <a:gd name="connsiteY0" fmla="*/ 3409 h 434080"/>
                <a:gd name="connsiteX1" fmla="*/ 804287 w 809550"/>
                <a:gd name="connsiteY1" fmla="*/ 431389 h 434080"/>
                <a:gd name="connsiteX2" fmla="*/ 6220 w 809550"/>
                <a:gd name="connsiteY2" fmla="*/ 375709 h 434080"/>
                <a:gd name="connsiteX3" fmla="*/ 462130 w 809550"/>
                <a:gd name="connsiteY3" fmla="*/ 3409 h 434080"/>
                <a:gd name="connsiteX4" fmla="*/ 462489 w 809550"/>
                <a:gd name="connsiteY4" fmla="*/ 0 h 434080"/>
                <a:gd name="connsiteX5" fmla="*/ 0 w 809550"/>
                <a:gd name="connsiteY5" fmla="*/ 377623 h 434080"/>
                <a:gd name="connsiteX6" fmla="*/ 809551 w 809550"/>
                <a:gd name="connsiteY6" fmla="*/ 434081 h 434080"/>
                <a:gd name="connsiteX7" fmla="*/ 462489 w 809550"/>
                <a:gd name="connsiteY7" fmla="*/ 0 h 434080"/>
                <a:gd name="connsiteX8" fmla="*/ 462489 w 809550"/>
                <a:gd name="connsiteY8" fmla="*/ 0 h 43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550" h="434080">
                  <a:moveTo>
                    <a:pt x="462130" y="3409"/>
                  </a:moveTo>
                  <a:lnTo>
                    <a:pt x="804287" y="431389"/>
                  </a:lnTo>
                  <a:lnTo>
                    <a:pt x="6220" y="375709"/>
                  </a:lnTo>
                  <a:lnTo>
                    <a:pt x="462130" y="3409"/>
                  </a:lnTo>
                  <a:moveTo>
                    <a:pt x="462489" y="0"/>
                  </a:moveTo>
                  <a:lnTo>
                    <a:pt x="0" y="377623"/>
                  </a:lnTo>
                  <a:lnTo>
                    <a:pt x="809551" y="434081"/>
                  </a:lnTo>
                  <a:lnTo>
                    <a:pt x="462489" y="0"/>
                  </a:lnTo>
                  <a:lnTo>
                    <a:pt x="462489" y="0"/>
                  </a:lnTo>
                  <a:close/>
                </a:path>
              </a:pathLst>
            </a:custGeom>
            <a:grpFill/>
            <a:ln w="0" cap="flat">
              <a:noFill/>
              <a:prstDash val="solid"/>
              <a:miter/>
            </a:ln>
          </p:spPr>
          <p:txBody>
            <a:bodyPr rtlCol="0" anchor="ctr"/>
            <a:lstStyle/>
            <a:p>
              <a:endParaRPr lang="en-GB"/>
            </a:p>
          </p:txBody>
        </p:sp>
        <p:sp>
          <p:nvSpPr>
            <p:cNvPr id="4323" name="Vrije vorm: vorm 4322">
              <a:extLst>
                <a:ext uri="{FF2B5EF4-FFF2-40B4-BE49-F238E27FC236}">
                  <a16:creationId xmlns:a16="http://schemas.microsoft.com/office/drawing/2014/main" id="{BDFD980F-88ED-43A3-9D93-3C7B331CF2FB}"/>
                </a:ext>
              </a:extLst>
            </p:cNvPr>
            <p:cNvSpPr/>
            <p:nvPr/>
          </p:nvSpPr>
          <p:spPr>
            <a:xfrm>
              <a:off x="5172267" y="3358155"/>
              <a:ext cx="405253" cy="848963"/>
            </a:xfrm>
            <a:custGeom>
              <a:avLst/>
              <a:gdLst>
                <a:gd name="connsiteX0" fmla="*/ 6938 w 405253"/>
                <a:gd name="connsiteY0" fmla="*/ 8971 h 848963"/>
                <a:gd name="connsiteX1" fmla="*/ 348317 w 405253"/>
                <a:gd name="connsiteY1" fmla="*/ 296763 h 848963"/>
                <a:gd name="connsiteX2" fmla="*/ 401546 w 405253"/>
                <a:gd name="connsiteY2" fmla="*/ 835567 h 848963"/>
                <a:gd name="connsiteX3" fmla="*/ 6938 w 405253"/>
                <a:gd name="connsiteY3" fmla="*/ 8971 h 848963"/>
                <a:gd name="connsiteX4" fmla="*/ 0 w 405253"/>
                <a:gd name="connsiteY4" fmla="*/ 0 h 848963"/>
                <a:gd name="connsiteX5" fmla="*/ 405254 w 405253"/>
                <a:gd name="connsiteY5" fmla="*/ 848963 h 848963"/>
                <a:gd name="connsiteX6" fmla="*/ 350590 w 405253"/>
                <a:gd name="connsiteY6" fmla="*/ 295567 h 848963"/>
                <a:gd name="connsiteX7" fmla="*/ 0 w 405253"/>
                <a:gd name="connsiteY7" fmla="*/ 0 h 848963"/>
                <a:gd name="connsiteX8" fmla="*/ 0 w 405253"/>
                <a:gd name="connsiteY8" fmla="*/ 0 h 84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253" h="848963">
                  <a:moveTo>
                    <a:pt x="6938" y="8971"/>
                  </a:moveTo>
                  <a:lnTo>
                    <a:pt x="348317" y="296763"/>
                  </a:lnTo>
                  <a:lnTo>
                    <a:pt x="401546" y="835567"/>
                  </a:lnTo>
                  <a:lnTo>
                    <a:pt x="6938" y="8971"/>
                  </a:lnTo>
                  <a:moveTo>
                    <a:pt x="0" y="0"/>
                  </a:moveTo>
                  <a:lnTo>
                    <a:pt x="405254" y="848963"/>
                  </a:lnTo>
                  <a:lnTo>
                    <a:pt x="350590" y="295567"/>
                  </a:lnTo>
                  <a:lnTo>
                    <a:pt x="0" y="0"/>
                  </a:lnTo>
                  <a:lnTo>
                    <a:pt x="0" y="0"/>
                  </a:lnTo>
                  <a:close/>
                </a:path>
              </a:pathLst>
            </a:custGeom>
            <a:grpFill/>
            <a:ln w="0" cap="flat">
              <a:noFill/>
              <a:prstDash val="solid"/>
              <a:miter/>
            </a:ln>
          </p:spPr>
          <p:txBody>
            <a:bodyPr rtlCol="0" anchor="ctr"/>
            <a:lstStyle/>
            <a:p>
              <a:endParaRPr lang="en-GB"/>
            </a:p>
          </p:txBody>
        </p:sp>
        <p:sp>
          <p:nvSpPr>
            <p:cNvPr id="4324" name="Vrije vorm: vorm 4323">
              <a:extLst>
                <a:ext uri="{FF2B5EF4-FFF2-40B4-BE49-F238E27FC236}">
                  <a16:creationId xmlns:a16="http://schemas.microsoft.com/office/drawing/2014/main" id="{6A5311E9-C09D-4381-966C-313946A5B770}"/>
                </a:ext>
              </a:extLst>
            </p:cNvPr>
            <p:cNvSpPr/>
            <p:nvPr/>
          </p:nvSpPr>
          <p:spPr>
            <a:xfrm>
              <a:off x="5522857" y="3653782"/>
              <a:ext cx="517153" cy="553396"/>
            </a:xfrm>
            <a:custGeom>
              <a:avLst/>
              <a:gdLst>
                <a:gd name="connsiteX0" fmla="*/ 2751 w 517153"/>
                <a:gd name="connsiteY0" fmla="*/ 3469 h 553396"/>
                <a:gd name="connsiteX1" fmla="*/ 512309 w 517153"/>
                <a:gd name="connsiteY1" fmla="*/ 176611 h 553396"/>
                <a:gd name="connsiteX2" fmla="*/ 56638 w 517153"/>
                <a:gd name="connsiteY2" fmla="*/ 548672 h 553396"/>
                <a:gd name="connsiteX3" fmla="*/ 2751 w 517153"/>
                <a:gd name="connsiteY3" fmla="*/ 3469 h 553396"/>
                <a:gd name="connsiteX4" fmla="*/ 0 w 517153"/>
                <a:gd name="connsiteY4" fmla="*/ 0 h 553396"/>
                <a:gd name="connsiteX5" fmla="*/ 54664 w 517153"/>
                <a:gd name="connsiteY5" fmla="*/ 553396 h 553396"/>
                <a:gd name="connsiteX6" fmla="*/ 517153 w 517153"/>
                <a:gd name="connsiteY6" fmla="*/ 175773 h 553396"/>
                <a:gd name="connsiteX7" fmla="*/ 0 w 517153"/>
                <a:gd name="connsiteY7" fmla="*/ 0 h 553396"/>
                <a:gd name="connsiteX8" fmla="*/ 0 w 517153"/>
                <a:gd name="connsiteY8" fmla="*/ 0 h 55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153" h="553396">
                  <a:moveTo>
                    <a:pt x="2751" y="3469"/>
                  </a:moveTo>
                  <a:lnTo>
                    <a:pt x="512309" y="176611"/>
                  </a:lnTo>
                  <a:lnTo>
                    <a:pt x="56638" y="548672"/>
                  </a:lnTo>
                  <a:lnTo>
                    <a:pt x="2751" y="3469"/>
                  </a:lnTo>
                  <a:moveTo>
                    <a:pt x="0" y="0"/>
                  </a:moveTo>
                  <a:lnTo>
                    <a:pt x="54664" y="553396"/>
                  </a:lnTo>
                  <a:lnTo>
                    <a:pt x="517153" y="175773"/>
                  </a:lnTo>
                  <a:lnTo>
                    <a:pt x="0" y="0"/>
                  </a:lnTo>
                  <a:lnTo>
                    <a:pt x="0" y="0"/>
                  </a:lnTo>
                  <a:close/>
                </a:path>
              </a:pathLst>
            </a:custGeom>
            <a:grpFill/>
            <a:ln w="0" cap="flat">
              <a:noFill/>
              <a:prstDash val="solid"/>
              <a:miter/>
            </a:ln>
          </p:spPr>
          <p:txBody>
            <a:bodyPr rtlCol="0" anchor="ctr"/>
            <a:lstStyle/>
            <a:p>
              <a:endParaRPr lang="en-GB"/>
            </a:p>
          </p:txBody>
        </p:sp>
        <p:sp>
          <p:nvSpPr>
            <p:cNvPr id="4325" name="Vrije vorm: vorm 4324">
              <a:extLst>
                <a:ext uri="{FF2B5EF4-FFF2-40B4-BE49-F238E27FC236}">
                  <a16:creationId xmlns:a16="http://schemas.microsoft.com/office/drawing/2014/main" id="{501CB65C-E4F4-48E7-B76F-EAB5DB899C35}"/>
                </a:ext>
              </a:extLst>
            </p:cNvPr>
            <p:cNvSpPr/>
            <p:nvPr/>
          </p:nvSpPr>
          <p:spPr>
            <a:xfrm>
              <a:off x="6033192" y="3371253"/>
              <a:ext cx="374991" cy="458242"/>
            </a:xfrm>
            <a:custGeom>
              <a:avLst/>
              <a:gdLst>
                <a:gd name="connsiteX0" fmla="*/ 2452 w 374991"/>
                <a:gd name="connsiteY0" fmla="*/ 5024 h 458242"/>
                <a:gd name="connsiteX1" fmla="*/ 370386 w 374991"/>
                <a:gd name="connsiteY1" fmla="*/ 295268 h 458242"/>
                <a:gd name="connsiteX2" fmla="*/ 9150 w 374991"/>
                <a:gd name="connsiteY2" fmla="*/ 454654 h 458242"/>
                <a:gd name="connsiteX3" fmla="*/ 2452 w 374991"/>
                <a:gd name="connsiteY3" fmla="*/ 5024 h 458242"/>
                <a:gd name="connsiteX4" fmla="*/ 0 w 374991"/>
                <a:gd name="connsiteY4" fmla="*/ 0 h 458242"/>
                <a:gd name="connsiteX5" fmla="*/ 6878 w 374991"/>
                <a:gd name="connsiteY5" fmla="*/ 458243 h 458242"/>
                <a:gd name="connsiteX6" fmla="*/ 374991 w 374991"/>
                <a:gd name="connsiteY6" fmla="*/ 295806 h 458242"/>
                <a:gd name="connsiteX7" fmla="*/ 0 w 374991"/>
                <a:gd name="connsiteY7" fmla="*/ 0 h 458242"/>
                <a:gd name="connsiteX8" fmla="*/ 0 w 374991"/>
                <a:gd name="connsiteY8" fmla="*/ 0 h 458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991" h="458242">
                  <a:moveTo>
                    <a:pt x="2452" y="5024"/>
                  </a:moveTo>
                  <a:lnTo>
                    <a:pt x="370386" y="295268"/>
                  </a:lnTo>
                  <a:lnTo>
                    <a:pt x="9150" y="454654"/>
                  </a:lnTo>
                  <a:lnTo>
                    <a:pt x="2452" y="5024"/>
                  </a:lnTo>
                  <a:moveTo>
                    <a:pt x="0" y="0"/>
                  </a:moveTo>
                  <a:lnTo>
                    <a:pt x="6878" y="458243"/>
                  </a:lnTo>
                  <a:lnTo>
                    <a:pt x="374991" y="295806"/>
                  </a:lnTo>
                  <a:lnTo>
                    <a:pt x="0" y="0"/>
                  </a:lnTo>
                  <a:lnTo>
                    <a:pt x="0" y="0"/>
                  </a:lnTo>
                  <a:close/>
                </a:path>
              </a:pathLst>
            </a:custGeom>
            <a:grpFill/>
            <a:ln w="0" cap="flat">
              <a:noFill/>
              <a:prstDash val="solid"/>
              <a:miter/>
            </a:ln>
          </p:spPr>
          <p:txBody>
            <a:bodyPr rtlCol="0" anchor="ctr"/>
            <a:lstStyle/>
            <a:p>
              <a:endParaRPr lang="en-GB"/>
            </a:p>
          </p:txBody>
        </p:sp>
        <p:sp>
          <p:nvSpPr>
            <p:cNvPr id="4326" name="Vrije vorm: vorm 4325">
              <a:extLst>
                <a:ext uri="{FF2B5EF4-FFF2-40B4-BE49-F238E27FC236}">
                  <a16:creationId xmlns:a16="http://schemas.microsoft.com/office/drawing/2014/main" id="{A3A5B30A-9A37-4FF7-9C07-21271B19213D}"/>
                </a:ext>
              </a:extLst>
            </p:cNvPr>
            <p:cNvSpPr/>
            <p:nvPr/>
          </p:nvSpPr>
          <p:spPr>
            <a:xfrm>
              <a:off x="5522917" y="3371253"/>
              <a:ext cx="517152" cy="458242"/>
            </a:xfrm>
            <a:custGeom>
              <a:avLst/>
              <a:gdLst>
                <a:gd name="connsiteX0" fmla="*/ 507943 w 517152"/>
                <a:gd name="connsiteY0" fmla="*/ 4007 h 458242"/>
                <a:gd name="connsiteX1" fmla="*/ 514701 w 517152"/>
                <a:gd name="connsiteY1" fmla="*/ 454893 h 458242"/>
                <a:gd name="connsiteX2" fmla="*/ 5861 w 517152"/>
                <a:gd name="connsiteY2" fmla="*/ 281991 h 458242"/>
                <a:gd name="connsiteX3" fmla="*/ 507943 w 517152"/>
                <a:gd name="connsiteY3" fmla="*/ 4007 h 458242"/>
                <a:gd name="connsiteX4" fmla="*/ 510275 w 517152"/>
                <a:gd name="connsiteY4" fmla="*/ 0 h 458242"/>
                <a:gd name="connsiteX5" fmla="*/ 0 w 517152"/>
                <a:gd name="connsiteY5" fmla="*/ 282529 h 458242"/>
                <a:gd name="connsiteX6" fmla="*/ 517153 w 517152"/>
                <a:gd name="connsiteY6" fmla="*/ 458243 h 458242"/>
                <a:gd name="connsiteX7" fmla="*/ 510275 w 517152"/>
                <a:gd name="connsiteY7" fmla="*/ 0 h 458242"/>
                <a:gd name="connsiteX8" fmla="*/ 510275 w 517152"/>
                <a:gd name="connsiteY8" fmla="*/ 0 h 458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152" h="458242">
                  <a:moveTo>
                    <a:pt x="507943" y="4007"/>
                  </a:moveTo>
                  <a:lnTo>
                    <a:pt x="514701" y="454893"/>
                  </a:lnTo>
                  <a:lnTo>
                    <a:pt x="5861" y="281991"/>
                  </a:lnTo>
                  <a:lnTo>
                    <a:pt x="507943" y="4007"/>
                  </a:lnTo>
                  <a:moveTo>
                    <a:pt x="510275" y="0"/>
                  </a:moveTo>
                  <a:lnTo>
                    <a:pt x="0" y="282529"/>
                  </a:lnTo>
                  <a:lnTo>
                    <a:pt x="517153" y="458243"/>
                  </a:lnTo>
                  <a:lnTo>
                    <a:pt x="510275" y="0"/>
                  </a:lnTo>
                  <a:lnTo>
                    <a:pt x="510275" y="0"/>
                  </a:lnTo>
                  <a:close/>
                </a:path>
              </a:pathLst>
            </a:custGeom>
            <a:grpFill/>
            <a:ln w="0" cap="flat">
              <a:noFill/>
              <a:prstDash val="solid"/>
              <a:miter/>
            </a:ln>
          </p:spPr>
          <p:txBody>
            <a:bodyPr rtlCol="0" anchor="ctr"/>
            <a:lstStyle/>
            <a:p>
              <a:endParaRPr lang="en-GB"/>
            </a:p>
          </p:txBody>
        </p:sp>
        <p:sp>
          <p:nvSpPr>
            <p:cNvPr id="4327" name="Vrije vorm: vorm 4326">
              <a:extLst>
                <a:ext uri="{FF2B5EF4-FFF2-40B4-BE49-F238E27FC236}">
                  <a16:creationId xmlns:a16="http://schemas.microsoft.com/office/drawing/2014/main" id="{16334748-66A0-46EE-8314-DEEE07EE7040}"/>
                </a:ext>
              </a:extLst>
            </p:cNvPr>
            <p:cNvSpPr/>
            <p:nvPr/>
          </p:nvSpPr>
          <p:spPr>
            <a:xfrm>
              <a:off x="5522857" y="2564394"/>
              <a:ext cx="510275" cy="1089388"/>
            </a:xfrm>
            <a:custGeom>
              <a:avLst/>
              <a:gdLst>
                <a:gd name="connsiteX0" fmla="*/ 81158 w 510275"/>
                <a:gd name="connsiteY0" fmla="*/ 8433 h 1089388"/>
                <a:gd name="connsiteX1" fmla="*/ 507106 w 510275"/>
                <a:gd name="connsiteY1" fmla="*/ 805902 h 1089388"/>
                <a:gd name="connsiteX2" fmla="*/ 2751 w 510275"/>
                <a:gd name="connsiteY2" fmla="*/ 1085142 h 1089388"/>
                <a:gd name="connsiteX3" fmla="*/ 81158 w 510275"/>
                <a:gd name="connsiteY3" fmla="*/ 8433 h 1089388"/>
                <a:gd name="connsiteX4" fmla="*/ 79364 w 510275"/>
                <a:gd name="connsiteY4" fmla="*/ 0 h 1089388"/>
                <a:gd name="connsiteX5" fmla="*/ 0 w 510275"/>
                <a:gd name="connsiteY5" fmla="*/ 1089388 h 1089388"/>
                <a:gd name="connsiteX6" fmla="*/ 510275 w 510275"/>
                <a:gd name="connsiteY6" fmla="*/ 806859 h 1089388"/>
                <a:gd name="connsiteX7" fmla="*/ 79364 w 510275"/>
                <a:gd name="connsiteY7" fmla="*/ 0 h 1089388"/>
                <a:gd name="connsiteX8" fmla="*/ 79364 w 510275"/>
                <a:gd name="connsiteY8" fmla="*/ 0 h 1089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0275" h="1089388">
                  <a:moveTo>
                    <a:pt x="81158" y="8433"/>
                  </a:moveTo>
                  <a:lnTo>
                    <a:pt x="507106" y="805902"/>
                  </a:lnTo>
                  <a:lnTo>
                    <a:pt x="2751" y="1085142"/>
                  </a:lnTo>
                  <a:lnTo>
                    <a:pt x="81158" y="8433"/>
                  </a:lnTo>
                  <a:moveTo>
                    <a:pt x="79364" y="0"/>
                  </a:moveTo>
                  <a:lnTo>
                    <a:pt x="0" y="1089388"/>
                  </a:lnTo>
                  <a:lnTo>
                    <a:pt x="510275" y="806859"/>
                  </a:lnTo>
                  <a:lnTo>
                    <a:pt x="79364" y="0"/>
                  </a:lnTo>
                  <a:lnTo>
                    <a:pt x="79364" y="0"/>
                  </a:lnTo>
                  <a:close/>
                </a:path>
              </a:pathLst>
            </a:custGeom>
            <a:grpFill/>
            <a:ln w="0" cap="flat">
              <a:noFill/>
              <a:prstDash val="solid"/>
              <a:miter/>
            </a:ln>
          </p:spPr>
          <p:txBody>
            <a:bodyPr rtlCol="0" anchor="ctr"/>
            <a:lstStyle/>
            <a:p>
              <a:endParaRPr lang="en-GB"/>
            </a:p>
          </p:txBody>
        </p:sp>
        <p:sp>
          <p:nvSpPr>
            <p:cNvPr id="4328" name="Vrije vorm: vorm 4327">
              <a:extLst>
                <a:ext uri="{FF2B5EF4-FFF2-40B4-BE49-F238E27FC236}">
                  <a16:creationId xmlns:a16="http://schemas.microsoft.com/office/drawing/2014/main" id="{D7566201-00C9-48E6-A9DF-CDFF0D813628}"/>
                </a:ext>
              </a:extLst>
            </p:cNvPr>
            <p:cNvSpPr/>
            <p:nvPr/>
          </p:nvSpPr>
          <p:spPr>
            <a:xfrm>
              <a:off x="5172327" y="2564872"/>
              <a:ext cx="429475" cy="1088909"/>
            </a:xfrm>
            <a:custGeom>
              <a:avLst/>
              <a:gdLst>
                <a:gd name="connsiteX0" fmla="*/ 426306 w 429475"/>
                <a:gd name="connsiteY0" fmla="*/ 10885 h 1088909"/>
                <a:gd name="connsiteX1" fmla="*/ 348556 w 429475"/>
                <a:gd name="connsiteY1" fmla="*/ 1084006 h 1088909"/>
                <a:gd name="connsiteX2" fmla="*/ 3050 w 429475"/>
                <a:gd name="connsiteY2" fmla="*/ 792685 h 1088909"/>
                <a:gd name="connsiteX3" fmla="*/ 426306 w 429475"/>
                <a:gd name="connsiteY3" fmla="*/ 10885 h 1088909"/>
                <a:gd name="connsiteX4" fmla="*/ 429476 w 429475"/>
                <a:gd name="connsiteY4" fmla="*/ 0 h 1088909"/>
                <a:gd name="connsiteX5" fmla="*/ 0 w 429475"/>
                <a:gd name="connsiteY5" fmla="*/ 793343 h 1088909"/>
                <a:gd name="connsiteX6" fmla="*/ 350590 w 429475"/>
                <a:gd name="connsiteY6" fmla="*/ 1088910 h 1088909"/>
                <a:gd name="connsiteX7" fmla="*/ 429476 w 429475"/>
                <a:gd name="connsiteY7" fmla="*/ 0 h 1088909"/>
                <a:gd name="connsiteX8" fmla="*/ 429476 w 429475"/>
                <a:gd name="connsiteY8" fmla="*/ 0 h 108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475" h="1088909">
                  <a:moveTo>
                    <a:pt x="426306" y="10885"/>
                  </a:moveTo>
                  <a:lnTo>
                    <a:pt x="348556" y="1084006"/>
                  </a:lnTo>
                  <a:lnTo>
                    <a:pt x="3050" y="792685"/>
                  </a:lnTo>
                  <a:lnTo>
                    <a:pt x="426306" y="10885"/>
                  </a:lnTo>
                  <a:moveTo>
                    <a:pt x="429476" y="0"/>
                  </a:moveTo>
                  <a:lnTo>
                    <a:pt x="0" y="793343"/>
                  </a:lnTo>
                  <a:lnTo>
                    <a:pt x="350590" y="1088910"/>
                  </a:lnTo>
                  <a:lnTo>
                    <a:pt x="429476" y="0"/>
                  </a:lnTo>
                  <a:lnTo>
                    <a:pt x="429476" y="0"/>
                  </a:lnTo>
                  <a:close/>
                </a:path>
              </a:pathLst>
            </a:custGeom>
            <a:grpFill/>
            <a:ln w="0" cap="flat">
              <a:noFill/>
              <a:prstDash val="solid"/>
              <a:miter/>
            </a:ln>
          </p:spPr>
          <p:txBody>
            <a:bodyPr rtlCol="0" anchor="ctr"/>
            <a:lstStyle/>
            <a:p>
              <a:endParaRPr lang="en-GB"/>
            </a:p>
          </p:txBody>
        </p:sp>
      </p:grpSp>
      <p:grpSp>
        <p:nvGrpSpPr>
          <p:cNvPr id="4329" name="Lijnen_midden_2">
            <a:extLst>
              <a:ext uri="{FF2B5EF4-FFF2-40B4-BE49-F238E27FC236}">
                <a16:creationId xmlns:a16="http://schemas.microsoft.com/office/drawing/2014/main" id="{10934AC6-8AF5-4314-ADB4-2A0334577F88}"/>
              </a:ext>
            </a:extLst>
          </p:cNvPr>
          <p:cNvGrpSpPr/>
          <p:nvPr/>
        </p:nvGrpSpPr>
        <p:grpSpPr>
          <a:xfrm>
            <a:off x="4962142" y="2496784"/>
            <a:ext cx="1671491" cy="2143250"/>
            <a:chOff x="4930048" y="2313264"/>
            <a:chExt cx="1671491" cy="2143250"/>
          </a:xfrm>
          <a:solidFill>
            <a:schemeClr val="bg1">
              <a:alpha val="35000"/>
            </a:schemeClr>
          </a:solidFill>
        </p:grpSpPr>
        <p:sp>
          <p:nvSpPr>
            <p:cNvPr id="4330" name="Vrije vorm: vorm 4329">
              <a:extLst>
                <a:ext uri="{FF2B5EF4-FFF2-40B4-BE49-F238E27FC236}">
                  <a16:creationId xmlns:a16="http://schemas.microsoft.com/office/drawing/2014/main" id="{E71EB9FC-0086-4D03-B169-700539CC1526}"/>
                </a:ext>
              </a:extLst>
            </p:cNvPr>
            <p:cNvSpPr/>
            <p:nvPr/>
          </p:nvSpPr>
          <p:spPr>
            <a:xfrm>
              <a:off x="5413051" y="2313622"/>
              <a:ext cx="445025" cy="742566"/>
            </a:xfrm>
            <a:custGeom>
              <a:avLst/>
              <a:gdLst>
                <a:gd name="connsiteX0" fmla="*/ 299515 w 445025"/>
                <a:gd name="connsiteY0" fmla="*/ 7476 h 742566"/>
                <a:gd name="connsiteX1" fmla="*/ 442275 w 445025"/>
                <a:gd name="connsiteY1" fmla="*/ 739995 h 742566"/>
                <a:gd name="connsiteX2" fmla="*/ 3229 w 445025"/>
                <a:gd name="connsiteY2" fmla="*/ 690534 h 742566"/>
                <a:gd name="connsiteX3" fmla="*/ 299515 w 445025"/>
                <a:gd name="connsiteY3" fmla="*/ 7476 h 742566"/>
                <a:gd name="connsiteX4" fmla="*/ 300292 w 445025"/>
                <a:gd name="connsiteY4" fmla="*/ 0 h 742566"/>
                <a:gd name="connsiteX5" fmla="*/ 0 w 445025"/>
                <a:gd name="connsiteY5" fmla="*/ 692388 h 742566"/>
                <a:gd name="connsiteX6" fmla="*/ 445025 w 445025"/>
                <a:gd name="connsiteY6" fmla="*/ 742566 h 742566"/>
                <a:gd name="connsiteX7" fmla="*/ 300292 w 445025"/>
                <a:gd name="connsiteY7" fmla="*/ 0 h 742566"/>
                <a:gd name="connsiteX8" fmla="*/ 300292 w 445025"/>
                <a:gd name="connsiteY8" fmla="*/ 0 h 74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5025" h="742566">
                  <a:moveTo>
                    <a:pt x="299515" y="7476"/>
                  </a:moveTo>
                  <a:lnTo>
                    <a:pt x="442275" y="739995"/>
                  </a:lnTo>
                  <a:lnTo>
                    <a:pt x="3229" y="690534"/>
                  </a:lnTo>
                  <a:lnTo>
                    <a:pt x="299515" y="7476"/>
                  </a:lnTo>
                  <a:moveTo>
                    <a:pt x="300292" y="0"/>
                  </a:moveTo>
                  <a:lnTo>
                    <a:pt x="0" y="692388"/>
                  </a:lnTo>
                  <a:lnTo>
                    <a:pt x="445025" y="742566"/>
                  </a:lnTo>
                  <a:lnTo>
                    <a:pt x="300292" y="0"/>
                  </a:lnTo>
                  <a:lnTo>
                    <a:pt x="300292" y="0"/>
                  </a:lnTo>
                  <a:close/>
                </a:path>
              </a:pathLst>
            </a:custGeom>
            <a:grpFill/>
            <a:ln w="0" cap="flat">
              <a:noFill/>
              <a:prstDash val="solid"/>
              <a:miter/>
            </a:ln>
          </p:spPr>
          <p:txBody>
            <a:bodyPr rtlCol="0" anchor="ctr"/>
            <a:lstStyle/>
            <a:p>
              <a:endParaRPr lang="en-GB"/>
            </a:p>
          </p:txBody>
        </p:sp>
        <p:sp>
          <p:nvSpPr>
            <p:cNvPr id="4331" name="Vrije vorm: vorm 4330">
              <a:extLst>
                <a:ext uri="{FF2B5EF4-FFF2-40B4-BE49-F238E27FC236}">
                  <a16:creationId xmlns:a16="http://schemas.microsoft.com/office/drawing/2014/main" id="{2CCAC166-68CC-4B52-9B06-F03361A46E6C}"/>
                </a:ext>
              </a:extLst>
            </p:cNvPr>
            <p:cNvSpPr/>
            <p:nvPr/>
          </p:nvSpPr>
          <p:spPr>
            <a:xfrm>
              <a:off x="5713762" y="2313264"/>
              <a:ext cx="489582" cy="1138131"/>
            </a:xfrm>
            <a:custGeom>
              <a:avLst/>
              <a:gdLst>
                <a:gd name="connsiteX0" fmla="*/ 6100 w 489582"/>
                <a:gd name="connsiteY0" fmla="*/ 19856 h 1138131"/>
                <a:gd name="connsiteX1" fmla="*/ 481927 w 489582"/>
                <a:gd name="connsiteY1" fmla="*/ 1126050 h 1138131"/>
                <a:gd name="connsiteX2" fmla="*/ 145870 w 489582"/>
                <a:gd name="connsiteY2" fmla="*/ 741968 h 1138131"/>
                <a:gd name="connsiteX3" fmla="*/ 6100 w 489582"/>
                <a:gd name="connsiteY3" fmla="*/ 19856 h 1138131"/>
                <a:gd name="connsiteX4" fmla="*/ 0 w 489582"/>
                <a:gd name="connsiteY4" fmla="*/ 0 h 1138131"/>
                <a:gd name="connsiteX5" fmla="*/ 143837 w 489582"/>
                <a:gd name="connsiteY5" fmla="*/ 742925 h 1138131"/>
                <a:gd name="connsiteX6" fmla="*/ 489582 w 489582"/>
                <a:gd name="connsiteY6" fmla="*/ 1138131 h 1138131"/>
                <a:gd name="connsiteX7" fmla="*/ 0 w 489582"/>
                <a:gd name="connsiteY7" fmla="*/ 0 h 1138131"/>
                <a:gd name="connsiteX8" fmla="*/ 0 w 489582"/>
                <a:gd name="connsiteY8" fmla="*/ 0 h 113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582" h="1138131">
                  <a:moveTo>
                    <a:pt x="6100" y="19856"/>
                  </a:moveTo>
                  <a:lnTo>
                    <a:pt x="481927" y="1126050"/>
                  </a:lnTo>
                  <a:lnTo>
                    <a:pt x="145870" y="741968"/>
                  </a:lnTo>
                  <a:lnTo>
                    <a:pt x="6100" y="19856"/>
                  </a:lnTo>
                  <a:moveTo>
                    <a:pt x="0" y="0"/>
                  </a:moveTo>
                  <a:lnTo>
                    <a:pt x="143837" y="742925"/>
                  </a:lnTo>
                  <a:lnTo>
                    <a:pt x="489582" y="1138131"/>
                  </a:lnTo>
                  <a:lnTo>
                    <a:pt x="0" y="0"/>
                  </a:lnTo>
                  <a:lnTo>
                    <a:pt x="0" y="0"/>
                  </a:lnTo>
                  <a:close/>
                </a:path>
              </a:pathLst>
            </a:custGeom>
            <a:grpFill/>
            <a:ln w="0" cap="flat">
              <a:noFill/>
              <a:prstDash val="solid"/>
              <a:miter/>
            </a:ln>
          </p:spPr>
          <p:txBody>
            <a:bodyPr rtlCol="0" anchor="ctr"/>
            <a:lstStyle/>
            <a:p>
              <a:endParaRPr lang="en-GB"/>
            </a:p>
          </p:txBody>
        </p:sp>
        <p:sp>
          <p:nvSpPr>
            <p:cNvPr id="4332" name="Vrije vorm: vorm 4331">
              <a:extLst>
                <a:ext uri="{FF2B5EF4-FFF2-40B4-BE49-F238E27FC236}">
                  <a16:creationId xmlns:a16="http://schemas.microsoft.com/office/drawing/2014/main" id="{A515EED6-CA39-49A0-AE25-A7830C0E28C9}"/>
                </a:ext>
              </a:extLst>
            </p:cNvPr>
            <p:cNvSpPr/>
            <p:nvPr/>
          </p:nvSpPr>
          <p:spPr>
            <a:xfrm>
              <a:off x="6026673" y="3451395"/>
              <a:ext cx="572175" cy="984127"/>
            </a:xfrm>
            <a:custGeom>
              <a:avLst/>
              <a:gdLst>
                <a:gd name="connsiteX0" fmla="*/ 175953 w 572175"/>
                <a:gd name="connsiteY0" fmla="*/ 4127 h 984127"/>
                <a:gd name="connsiteX1" fmla="*/ 563324 w 572175"/>
                <a:gd name="connsiteY1" fmla="*/ 968039 h 984127"/>
                <a:gd name="connsiteX2" fmla="*/ 2871 w 572175"/>
                <a:gd name="connsiteY2" fmla="*/ 192759 h 984127"/>
                <a:gd name="connsiteX3" fmla="*/ 175953 w 572175"/>
                <a:gd name="connsiteY3" fmla="*/ 4127 h 984127"/>
                <a:gd name="connsiteX4" fmla="*/ 176671 w 572175"/>
                <a:gd name="connsiteY4" fmla="*/ 0 h 984127"/>
                <a:gd name="connsiteX5" fmla="*/ 0 w 572175"/>
                <a:gd name="connsiteY5" fmla="*/ 192639 h 984127"/>
                <a:gd name="connsiteX6" fmla="*/ 572176 w 572175"/>
                <a:gd name="connsiteY6" fmla="*/ 984128 h 984127"/>
                <a:gd name="connsiteX7" fmla="*/ 176671 w 572175"/>
                <a:gd name="connsiteY7" fmla="*/ 0 h 984127"/>
                <a:gd name="connsiteX8" fmla="*/ 176671 w 572175"/>
                <a:gd name="connsiteY8" fmla="*/ 0 h 98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2175" h="984127">
                  <a:moveTo>
                    <a:pt x="175953" y="4127"/>
                  </a:moveTo>
                  <a:lnTo>
                    <a:pt x="563324" y="968039"/>
                  </a:lnTo>
                  <a:lnTo>
                    <a:pt x="2871" y="192759"/>
                  </a:lnTo>
                  <a:lnTo>
                    <a:pt x="175953" y="4127"/>
                  </a:lnTo>
                  <a:moveTo>
                    <a:pt x="176671" y="0"/>
                  </a:moveTo>
                  <a:lnTo>
                    <a:pt x="0" y="192639"/>
                  </a:lnTo>
                  <a:lnTo>
                    <a:pt x="572176" y="984128"/>
                  </a:lnTo>
                  <a:lnTo>
                    <a:pt x="176671" y="0"/>
                  </a:lnTo>
                  <a:lnTo>
                    <a:pt x="176671" y="0"/>
                  </a:lnTo>
                  <a:close/>
                </a:path>
              </a:pathLst>
            </a:custGeom>
            <a:grpFill/>
            <a:ln w="0" cap="flat">
              <a:noFill/>
              <a:prstDash val="solid"/>
              <a:miter/>
            </a:ln>
          </p:spPr>
          <p:txBody>
            <a:bodyPr rtlCol="0" anchor="ctr"/>
            <a:lstStyle/>
            <a:p>
              <a:endParaRPr lang="en-GB"/>
            </a:p>
          </p:txBody>
        </p:sp>
        <p:sp>
          <p:nvSpPr>
            <p:cNvPr id="4333" name="Vrije vorm: vorm 4332">
              <a:extLst>
                <a:ext uri="{FF2B5EF4-FFF2-40B4-BE49-F238E27FC236}">
                  <a16:creationId xmlns:a16="http://schemas.microsoft.com/office/drawing/2014/main" id="{205526A0-82A5-4F82-9B31-95157AA0F5AE}"/>
                </a:ext>
              </a:extLst>
            </p:cNvPr>
            <p:cNvSpPr/>
            <p:nvPr/>
          </p:nvSpPr>
          <p:spPr>
            <a:xfrm>
              <a:off x="5479078" y="3643974"/>
              <a:ext cx="1122461" cy="812540"/>
            </a:xfrm>
            <a:custGeom>
              <a:avLst/>
              <a:gdLst>
                <a:gd name="connsiteX0" fmla="*/ 547715 w 1122461"/>
                <a:gd name="connsiteY0" fmla="*/ 3887 h 812540"/>
                <a:gd name="connsiteX1" fmla="*/ 1118156 w 1122461"/>
                <a:gd name="connsiteY1" fmla="*/ 789335 h 812540"/>
                <a:gd name="connsiteX2" fmla="*/ 4246 w 1122461"/>
                <a:gd name="connsiteY2" fmla="*/ 810208 h 812540"/>
                <a:gd name="connsiteX3" fmla="*/ 547715 w 1122461"/>
                <a:gd name="connsiteY3" fmla="*/ 3887 h 812540"/>
                <a:gd name="connsiteX4" fmla="*/ 547595 w 1122461"/>
                <a:gd name="connsiteY4" fmla="*/ 0 h 812540"/>
                <a:gd name="connsiteX5" fmla="*/ 0 w 1122461"/>
                <a:gd name="connsiteY5" fmla="*/ 812541 h 812540"/>
                <a:gd name="connsiteX6" fmla="*/ 1122462 w 1122461"/>
                <a:gd name="connsiteY6" fmla="*/ 791488 h 812540"/>
                <a:gd name="connsiteX7" fmla="*/ 547595 w 1122461"/>
                <a:gd name="connsiteY7" fmla="*/ 0 h 812540"/>
                <a:gd name="connsiteX8" fmla="*/ 547595 w 1122461"/>
                <a:gd name="connsiteY8" fmla="*/ 0 h 81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461" h="812540">
                  <a:moveTo>
                    <a:pt x="547715" y="3887"/>
                  </a:moveTo>
                  <a:lnTo>
                    <a:pt x="1118156" y="789335"/>
                  </a:lnTo>
                  <a:lnTo>
                    <a:pt x="4246" y="810208"/>
                  </a:lnTo>
                  <a:lnTo>
                    <a:pt x="547715" y="3887"/>
                  </a:lnTo>
                  <a:moveTo>
                    <a:pt x="547595" y="0"/>
                  </a:moveTo>
                  <a:lnTo>
                    <a:pt x="0" y="812541"/>
                  </a:lnTo>
                  <a:lnTo>
                    <a:pt x="1122462" y="791488"/>
                  </a:lnTo>
                  <a:lnTo>
                    <a:pt x="547595" y="0"/>
                  </a:lnTo>
                  <a:lnTo>
                    <a:pt x="547595" y="0"/>
                  </a:lnTo>
                  <a:close/>
                </a:path>
              </a:pathLst>
            </a:custGeom>
            <a:grpFill/>
            <a:ln w="0" cap="flat">
              <a:noFill/>
              <a:prstDash val="solid"/>
              <a:miter/>
            </a:ln>
          </p:spPr>
          <p:txBody>
            <a:bodyPr rtlCol="0" anchor="ctr"/>
            <a:lstStyle/>
            <a:p>
              <a:endParaRPr lang="en-GB"/>
            </a:p>
          </p:txBody>
        </p:sp>
        <p:sp>
          <p:nvSpPr>
            <p:cNvPr id="4334" name="Vrije vorm: vorm 4333">
              <a:extLst>
                <a:ext uri="{FF2B5EF4-FFF2-40B4-BE49-F238E27FC236}">
                  <a16:creationId xmlns:a16="http://schemas.microsoft.com/office/drawing/2014/main" id="{94C356A6-8732-4792-8FC7-00342F5B6E18}"/>
                </a:ext>
              </a:extLst>
            </p:cNvPr>
            <p:cNvSpPr/>
            <p:nvPr/>
          </p:nvSpPr>
          <p:spPr>
            <a:xfrm>
              <a:off x="4930048" y="3139201"/>
              <a:ext cx="842384" cy="1317313"/>
            </a:xfrm>
            <a:custGeom>
              <a:avLst/>
              <a:gdLst>
                <a:gd name="connsiteX0" fmla="*/ 4187 w 842384"/>
                <a:gd name="connsiteY0" fmla="*/ 4366 h 1317313"/>
                <a:gd name="connsiteX1" fmla="*/ 839634 w 842384"/>
                <a:gd name="connsiteY1" fmla="*/ 378281 h 1317313"/>
                <a:gd name="connsiteX2" fmla="*/ 548731 w 842384"/>
                <a:gd name="connsiteY2" fmla="*/ 1310795 h 1317313"/>
                <a:gd name="connsiteX3" fmla="*/ 4187 w 842384"/>
                <a:gd name="connsiteY3" fmla="*/ 4366 h 1317313"/>
                <a:gd name="connsiteX4" fmla="*/ 0 w 842384"/>
                <a:gd name="connsiteY4" fmla="*/ 0 h 1317313"/>
                <a:gd name="connsiteX5" fmla="*/ 549030 w 842384"/>
                <a:gd name="connsiteY5" fmla="*/ 1317314 h 1317313"/>
                <a:gd name="connsiteX6" fmla="*/ 842385 w 842384"/>
                <a:gd name="connsiteY6" fmla="*/ 377025 h 1317313"/>
                <a:gd name="connsiteX7" fmla="*/ 0 w 842384"/>
                <a:gd name="connsiteY7" fmla="*/ 0 h 1317313"/>
                <a:gd name="connsiteX8" fmla="*/ 0 w 842384"/>
                <a:gd name="connsiteY8" fmla="*/ 0 h 131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384" h="1317313">
                  <a:moveTo>
                    <a:pt x="4187" y="4366"/>
                  </a:moveTo>
                  <a:lnTo>
                    <a:pt x="839634" y="378281"/>
                  </a:lnTo>
                  <a:lnTo>
                    <a:pt x="548731" y="1310795"/>
                  </a:lnTo>
                  <a:lnTo>
                    <a:pt x="4187" y="4366"/>
                  </a:lnTo>
                  <a:moveTo>
                    <a:pt x="0" y="0"/>
                  </a:moveTo>
                  <a:lnTo>
                    <a:pt x="549030" y="1317314"/>
                  </a:lnTo>
                  <a:lnTo>
                    <a:pt x="842385" y="377025"/>
                  </a:lnTo>
                  <a:lnTo>
                    <a:pt x="0" y="0"/>
                  </a:lnTo>
                  <a:lnTo>
                    <a:pt x="0" y="0"/>
                  </a:lnTo>
                  <a:close/>
                </a:path>
              </a:pathLst>
            </a:custGeom>
            <a:grpFill/>
            <a:ln w="0" cap="flat">
              <a:noFill/>
              <a:prstDash val="solid"/>
              <a:miter/>
            </a:ln>
          </p:spPr>
          <p:txBody>
            <a:bodyPr rtlCol="0" anchor="ctr"/>
            <a:lstStyle/>
            <a:p>
              <a:endParaRPr lang="en-GB"/>
            </a:p>
          </p:txBody>
        </p:sp>
        <p:sp>
          <p:nvSpPr>
            <p:cNvPr id="4335" name="Vrije vorm: vorm 4334">
              <a:extLst>
                <a:ext uri="{FF2B5EF4-FFF2-40B4-BE49-F238E27FC236}">
                  <a16:creationId xmlns:a16="http://schemas.microsoft.com/office/drawing/2014/main" id="{3A888E10-F01E-49D0-B855-6119F5D50789}"/>
                </a:ext>
              </a:extLst>
            </p:cNvPr>
            <p:cNvSpPr/>
            <p:nvPr/>
          </p:nvSpPr>
          <p:spPr>
            <a:xfrm>
              <a:off x="5479078" y="3516226"/>
              <a:ext cx="547594" cy="940288"/>
            </a:xfrm>
            <a:custGeom>
              <a:avLst/>
              <a:gdLst>
                <a:gd name="connsiteX0" fmla="*/ 294670 w 547594"/>
                <a:gd name="connsiteY0" fmla="*/ 3170 h 940288"/>
                <a:gd name="connsiteX1" fmla="*/ 544365 w 547594"/>
                <a:gd name="connsiteY1" fmla="*/ 128645 h 940288"/>
                <a:gd name="connsiteX2" fmla="*/ 6698 w 547594"/>
                <a:gd name="connsiteY2" fmla="*/ 926414 h 940288"/>
                <a:gd name="connsiteX3" fmla="*/ 294670 w 547594"/>
                <a:gd name="connsiteY3" fmla="*/ 3170 h 940288"/>
                <a:gd name="connsiteX4" fmla="*/ 293354 w 547594"/>
                <a:gd name="connsiteY4" fmla="*/ 0 h 940288"/>
                <a:gd name="connsiteX5" fmla="*/ 0 w 547594"/>
                <a:gd name="connsiteY5" fmla="*/ 940289 h 940288"/>
                <a:gd name="connsiteX6" fmla="*/ 547595 w 547594"/>
                <a:gd name="connsiteY6" fmla="*/ 127808 h 940288"/>
                <a:gd name="connsiteX7" fmla="*/ 293354 w 547594"/>
                <a:gd name="connsiteY7" fmla="*/ 0 h 940288"/>
                <a:gd name="connsiteX8" fmla="*/ 293354 w 547594"/>
                <a:gd name="connsiteY8" fmla="*/ 0 h 94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7594" h="940288">
                  <a:moveTo>
                    <a:pt x="294670" y="3170"/>
                  </a:moveTo>
                  <a:lnTo>
                    <a:pt x="544365" y="128645"/>
                  </a:lnTo>
                  <a:lnTo>
                    <a:pt x="6698" y="926414"/>
                  </a:lnTo>
                  <a:lnTo>
                    <a:pt x="294670" y="3170"/>
                  </a:lnTo>
                  <a:moveTo>
                    <a:pt x="293354" y="0"/>
                  </a:moveTo>
                  <a:lnTo>
                    <a:pt x="0" y="940289"/>
                  </a:lnTo>
                  <a:lnTo>
                    <a:pt x="547595" y="127808"/>
                  </a:lnTo>
                  <a:lnTo>
                    <a:pt x="293354" y="0"/>
                  </a:lnTo>
                  <a:lnTo>
                    <a:pt x="293354" y="0"/>
                  </a:lnTo>
                  <a:close/>
                </a:path>
              </a:pathLst>
            </a:custGeom>
            <a:grpFill/>
            <a:ln w="0" cap="flat">
              <a:noFill/>
              <a:prstDash val="solid"/>
              <a:miter/>
            </a:ln>
          </p:spPr>
          <p:txBody>
            <a:bodyPr rtlCol="0" anchor="ctr"/>
            <a:lstStyle/>
            <a:p>
              <a:endParaRPr lang="en-GB"/>
            </a:p>
          </p:txBody>
        </p:sp>
        <p:sp>
          <p:nvSpPr>
            <p:cNvPr id="4336" name="Vrije vorm: vorm 4335">
              <a:extLst>
                <a:ext uri="{FF2B5EF4-FFF2-40B4-BE49-F238E27FC236}">
                  <a16:creationId xmlns:a16="http://schemas.microsoft.com/office/drawing/2014/main" id="{3AAB20C3-4976-41F1-B18A-B433866E06D4}"/>
                </a:ext>
              </a:extLst>
            </p:cNvPr>
            <p:cNvSpPr/>
            <p:nvPr/>
          </p:nvSpPr>
          <p:spPr>
            <a:xfrm>
              <a:off x="5857598" y="3056189"/>
              <a:ext cx="345745" cy="587785"/>
            </a:xfrm>
            <a:custGeom>
              <a:avLst/>
              <a:gdLst>
                <a:gd name="connsiteX0" fmla="*/ 4904 w 345745"/>
                <a:gd name="connsiteY0" fmla="*/ 8971 h 587785"/>
                <a:gd name="connsiteX1" fmla="*/ 342755 w 345745"/>
                <a:gd name="connsiteY1" fmla="*/ 395146 h 587785"/>
                <a:gd name="connsiteX2" fmla="*/ 170151 w 345745"/>
                <a:gd name="connsiteY2" fmla="*/ 583360 h 587785"/>
                <a:gd name="connsiteX3" fmla="*/ 4904 w 345745"/>
                <a:gd name="connsiteY3" fmla="*/ 8971 h 587785"/>
                <a:gd name="connsiteX4" fmla="*/ 0 w 345745"/>
                <a:gd name="connsiteY4" fmla="*/ 0 h 587785"/>
                <a:gd name="connsiteX5" fmla="*/ 169075 w 345745"/>
                <a:gd name="connsiteY5" fmla="*/ 587785 h 587785"/>
                <a:gd name="connsiteX6" fmla="*/ 345746 w 345745"/>
                <a:gd name="connsiteY6" fmla="*/ 395146 h 587785"/>
                <a:gd name="connsiteX7" fmla="*/ 0 w 345745"/>
                <a:gd name="connsiteY7" fmla="*/ 0 h 587785"/>
                <a:gd name="connsiteX8" fmla="*/ 0 w 345745"/>
                <a:gd name="connsiteY8" fmla="*/ 0 h 58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45" h="587785">
                  <a:moveTo>
                    <a:pt x="4904" y="8971"/>
                  </a:moveTo>
                  <a:lnTo>
                    <a:pt x="342755" y="395146"/>
                  </a:lnTo>
                  <a:lnTo>
                    <a:pt x="170151" y="583360"/>
                  </a:lnTo>
                  <a:lnTo>
                    <a:pt x="4904" y="8971"/>
                  </a:lnTo>
                  <a:moveTo>
                    <a:pt x="0" y="0"/>
                  </a:moveTo>
                  <a:lnTo>
                    <a:pt x="169075" y="587785"/>
                  </a:lnTo>
                  <a:lnTo>
                    <a:pt x="345746" y="395146"/>
                  </a:lnTo>
                  <a:lnTo>
                    <a:pt x="0" y="0"/>
                  </a:lnTo>
                  <a:lnTo>
                    <a:pt x="0" y="0"/>
                  </a:lnTo>
                  <a:close/>
                </a:path>
              </a:pathLst>
            </a:custGeom>
            <a:grpFill/>
            <a:ln w="0" cap="flat">
              <a:noFill/>
              <a:prstDash val="solid"/>
              <a:miter/>
            </a:ln>
          </p:spPr>
          <p:txBody>
            <a:bodyPr rtlCol="0" anchor="ctr"/>
            <a:lstStyle/>
            <a:p>
              <a:endParaRPr lang="en-GB"/>
            </a:p>
          </p:txBody>
        </p:sp>
        <p:sp>
          <p:nvSpPr>
            <p:cNvPr id="4337" name="Vrije vorm: vorm 4336">
              <a:extLst>
                <a:ext uri="{FF2B5EF4-FFF2-40B4-BE49-F238E27FC236}">
                  <a16:creationId xmlns:a16="http://schemas.microsoft.com/office/drawing/2014/main" id="{FBF29697-A64E-4888-A9BD-85FD64610380}"/>
                </a:ext>
              </a:extLst>
            </p:cNvPr>
            <p:cNvSpPr/>
            <p:nvPr/>
          </p:nvSpPr>
          <p:spPr>
            <a:xfrm>
              <a:off x="5772433" y="3056189"/>
              <a:ext cx="254300" cy="587785"/>
            </a:xfrm>
            <a:custGeom>
              <a:avLst/>
              <a:gdLst>
                <a:gd name="connsiteX0" fmla="*/ 85644 w 254300"/>
                <a:gd name="connsiteY0" fmla="*/ 9689 h 587785"/>
                <a:gd name="connsiteX1" fmla="*/ 250712 w 254300"/>
                <a:gd name="connsiteY1" fmla="*/ 583539 h 587785"/>
                <a:gd name="connsiteX2" fmla="*/ 2512 w 254300"/>
                <a:gd name="connsiteY2" fmla="*/ 458781 h 587785"/>
                <a:gd name="connsiteX3" fmla="*/ 85644 w 254300"/>
                <a:gd name="connsiteY3" fmla="*/ 9689 h 587785"/>
                <a:gd name="connsiteX4" fmla="*/ 85166 w 254300"/>
                <a:gd name="connsiteY4" fmla="*/ 0 h 587785"/>
                <a:gd name="connsiteX5" fmla="*/ 0 w 254300"/>
                <a:gd name="connsiteY5" fmla="*/ 460037 h 587785"/>
                <a:gd name="connsiteX6" fmla="*/ 254300 w 254300"/>
                <a:gd name="connsiteY6" fmla="*/ 587785 h 587785"/>
                <a:gd name="connsiteX7" fmla="*/ 85166 w 254300"/>
                <a:gd name="connsiteY7" fmla="*/ 0 h 587785"/>
                <a:gd name="connsiteX8" fmla="*/ 85166 w 254300"/>
                <a:gd name="connsiteY8" fmla="*/ 0 h 58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00" h="587785">
                  <a:moveTo>
                    <a:pt x="85644" y="9689"/>
                  </a:moveTo>
                  <a:lnTo>
                    <a:pt x="250712" y="583539"/>
                  </a:lnTo>
                  <a:lnTo>
                    <a:pt x="2512" y="458781"/>
                  </a:lnTo>
                  <a:lnTo>
                    <a:pt x="85644" y="9689"/>
                  </a:lnTo>
                  <a:moveTo>
                    <a:pt x="85166" y="0"/>
                  </a:moveTo>
                  <a:lnTo>
                    <a:pt x="0" y="460037"/>
                  </a:lnTo>
                  <a:lnTo>
                    <a:pt x="254300" y="587785"/>
                  </a:lnTo>
                  <a:lnTo>
                    <a:pt x="85166" y="0"/>
                  </a:lnTo>
                  <a:lnTo>
                    <a:pt x="85166" y="0"/>
                  </a:lnTo>
                  <a:close/>
                </a:path>
              </a:pathLst>
            </a:custGeom>
            <a:grpFill/>
            <a:ln w="0" cap="flat">
              <a:noFill/>
              <a:prstDash val="solid"/>
              <a:miter/>
            </a:ln>
          </p:spPr>
          <p:txBody>
            <a:bodyPr rtlCol="0" anchor="ctr"/>
            <a:lstStyle/>
            <a:p>
              <a:endParaRPr lang="en-GB"/>
            </a:p>
          </p:txBody>
        </p:sp>
        <p:sp>
          <p:nvSpPr>
            <p:cNvPr id="4338" name="Vrije vorm: vorm 4337">
              <a:extLst>
                <a:ext uri="{FF2B5EF4-FFF2-40B4-BE49-F238E27FC236}">
                  <a16:creationId xmlns:a16="http://schemas.microsoft.com/office/drawing/2014/main" id="{5A3CFFCA-C7E4-4762-99FD-827901404CC4}"/>
                </a:ext>
              </a:extLst>
            </p:cNvPr>
            <p:cNvSpPr/>
            <p:nvPr/>
          </p:nvSpPr>
          <p:spPr>
            <a:xfrm>
              <a:off x="5413051" y="3006011"/>
              <a:ext cx="444547" cy="510215"/>
            </a:xfrm>
            <a:custGeom>
              <a:avLst/>
              <a:gdLst>
                <a:gd name="connsiteX0" fmla="*/ 4665 w 444547"/>
                <a:gd name="connsiteY0" fmla="*/ 2751 h 510215"/>
                <a:gd name="connsiteX1" fmla="*/ 441916 w 444547"/>
                <a:gd name="connsiteY1" fmla="*/ 52092 h 510215"/>
                <a:gd name="connsiteX2" fmla="*/ 358126 w 444547"/>
                <a:gd name="connsiteY2" fmla="*/ 504593 h 510215"/>
                <a:gd name="connsiteX3" fmla="*/ 4665 w 444547"/>
                <a:gd name="connsiteY3" fmla="*/ 2751 h 510215"/>
                <a:gd name="connsiteX4" fmla="*/ 0 w 444547"/>
                <a:gd name="connsiteY4" fmla="*/ 0 h 510215"/>
                <a:gd name="connsiteX5" fmla="*/ 359381 w 444547"/>
                <a:gd name="connsiteY5" fmla="*/ 510215 h 510215"/>
                <a:gd name="connsiteX6" fmla="*/ 444547 w 444547"/>
                <a:gd name="connsiteY6" fmla="*/ 50178 h 510215"/>
                <a:gd name="connsiteX7" fmla="*/ 0 w 444547"/>
                <a:gd name="connsiteY7" fmla="*/ 0 h 510215"/>
                <a:gd name="connsiteX8" fmla="*/ 0 w 444547"/>
                <a:gd name="connsiteY8" fmla="*/ 0 h 510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547" h="510215">
                  <a:moveTo>
                    <a:pt x="4665" y="2751"/>
                  </a:moveTo>
                  <a:lnTo>
                    <a:pt x="441916" y="52092"/>
                  </a:lnTo>
                  <a:lnTo>
                    <a:pt x="358126" y="504593"/>
                  </a:lnTo>
                  <a:lnTo>
                    <a:pt x="4665" y="2751"/>
                  </a:lnTo>
                  <a:moveTo>
                    <a:pt x="0" y="0"/>
                  </a:moveTo>
                  <a:lnTo>
                    <a:pt x="359381" y="510215"/>
                  </a:lnTo>
                  <a:lnTo>
                    <a:pt x="444547" y="50178"/>
                  </a:lnTo>
                  <a:lnTo>
                    <a:pt x="0" y="0"/>
                  </a:lnTo>
                  <a:lnTo>
                    <a:pt x="0" y="0"/>
                  </a:lnTo>
                  <a:close/>
                </a:path>
              </a:pathLst>
            </a:custGeom>
            <a:grpFill/>
            <a:ln w="0" cap="flat">
              <a:noFill/>
              <a:prstDash val="solid"/>
              <a:miter/>
            </a:ln>
          </p:spPr>
          <p:txBody>
            <a:bodyPr rtlCol="0" anchor="ctr"/>
            <a:lstStyle/>
            <a:p>
              <a:endParaRPr lang="en-GB"/>
            </a:p>
          </p:txBody>
        </p:sp>
        <p:sp>
          <p:nvSpPr>
            <p:cNvPr id="4339" name="Vrije vorm: vorm 4338">
              <a:extLst>
                <a:ext uri="{FF2B5EF4-FFF2-40B4-BE49-F238E27FC236}">
                  <a16:creationId xmlns:a16="http://schemas.microsoft.com/office/drawing/2014/main" id="{D5E53486-1376-4832-80F5-9401F89160C1}"/>
                </a:ext>
              </a:extLst>
            </p:cNvPr>
            <p:cNvSpPr/>
            <p:nvPr/>
          </p:nvSpPr>
          <p:spPr>
            <a:xfrm>
              <a:off x="4930048" y="3006369"/>
              <a:ext cx="842384" cy="509856"/>
            </a:xfrm>
            <a:custGeom>
              <a:avLst/>
              <a:gdLst>
                <a:gd name="connsiteX0" fmla="*/ 481687 w 842384"/>
                <a:gd name="connsiteY0" fmla="*/ 2572 h 509856"/>
                <a:gd name="connsiteX1" fmla="*/ 835866 w 842384"/>
                <a:gd name="connsiteY1" fmla="*/ 504474 h 509856"/>
                <a:gd name="connsiteX2" fmla="*/ 6579 w 842384"/>
                <a:gd name="connsiteY2" fmla="*/ 133310 h 509856"/>
                <a:gd name="connsiteX3" fmla="*/ 481687 w 842384"/>
                <a:gd name="connsiteY3" fmla="*/ 2572 h 509856"/>
                <a:gd name="connsiteX4" fmla="*/ 482644 w 842384"/>
                <a:gd name="connsiteY4" fmla="*/ 0 h 509856"/>
                <a:gd name="connsiteX5" fmla="*/ 0 w 842384"/>
                <a:gd name="connsiteY5" fmla="*/ 132832 h 509856"/>
                <a:gd name="connsiteX6" fmla="*/ 842385 w 842384"/>
                <a:gd name="connsiteY6" fmla="*/ 509856 h 509856"/>
                <a:gd name="connsiteX7" fmla="*/ 482644 w 842384"/>
                <a:gd name="connsiteY7" fmla="*/ 0 h 509856"/>
                <a:gd name="connsiteX8" fmla="*/ 482644 w 842384"/>
                <a:gd name="connsiteY8" fmla="*/ 0 h 50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384" h="509856">
                  <a:moveTo>
                    <a:pt x="481687" y="2572"/>
                  </a:moveTo>
                  <a:lnTo>
                    <a:pt x="835866" y="504474"/>
                  </a:lnTo>
                  <a:lnTo>
                    <a:pt x="6579" y="133310"/>
                  </a:lnTo>
                  <a:lnTo>
                    <a:pt x="481687" y="2572"/>
                  </a:lnTo>
                  <a:moveTo>
                    <a:pt x="482644" y="0"/>
                  </a:moveTo>
                  <a:lnTo>
                    <a:pt x="0" y="132832"/>
                  </a:lnTo>
                  <a:lnTo>
                    <a:pt x="842385" y="509856"/>
                  </a:lnTo>
                  <a:lnTo>
                    <a:pt x="482644" y="0"/>
                  </a:lnTo>
                  <a:lnTo>
                    <a:pt x="482644" y="0"/>
                  </a:lnTo>
                  <a:close/>
                </a:path>
              </a:pathLst>
            </a:custGeom>
            <a:grpFill/>
            <a:ln w="0" cap="flat">
              <a:noFill/>
              <a:prstDash val="solid"/>
              <a:miter/>
            </a:ln>
          </p:spPr>
          <p:txBody>
            <a:bodyPr rtlCol="0" anchor="ctr"/>
            <a:lstStyle/>
            <a:p>
              <a:endParaRPr lang="en-GB"/>
            </a:p>
          </p:txBody>
        </p:sp>
      </p:grpSp>
      <p:grpSp>
        <p:nvGrpSpPr>
          <p:cNvPr id="4340" name="Lijnen_midden_1">
            <a:extLst>
              <a:ext uri="{FF2B5EF4-FFF2-40B4-BE49-F238E27FC236}">
                <a16:creationId xmlns:a16="http://schemas.microsoft.com/office/drawing/2014/main" id="{459B3D74-0FDE-4A83-B371-4C523F2923EB}"/>
              </a:ext>
            </a:extLst>
          </p:cNvPr>
          <p:cNvGrpSpPr/>
          <p:nvPr/>
        </p:nvGrpSpPr>
        <p:grpSpPr>
          <a:xfrm>
            <a:off x="5291022" y="2433747"/>
            <a:ext cx="2004917" cy="1754025"/>
            <a:chOff x="5258928" y="2250227"/>
            <a:chExt cx="2004917" cy="1754025"/>
          </a:xfrm>
          <a:solidFill>
            <a:schemeClr val="bg1">
              <a:alpha val="35000"/>
            </a:schemeClr>
          </a:solidFill>
        </p:grpSpPr>
        <p:sp>
          <p:nvSpPr>
            <p:cNvPr id="4341" name="Vrije vorm: vorm 4340">
              <a:extLst>
                <a:ext uri="{FF2B5EF4-FFF2-40B4-BE49-F238E27FC236}">
                  <a16:creationId xmlns:a16="http://schemas.microsoft.com/office/drawing/2014/main" id="{6F233D51-9E6A-4252-A7EE-687D6483EF15}"/>
                </a:ext>
              </a:extLst>
            </p:cNvPr>
            <p:cNvSpPr/>
            <p:nvPr/>
          </p:nvSpPr>
          <p:spPr>
            <a:xfrm>
              <a:off x="5981399" y="2250227"/>
              <a:ext cx="1142318" cy="502978"/>
            </a:xfrm>
            <a:custGeom>
              <a:avLst/>
              <a:gdLst>
                <a:gd name="connsiteX0" fmla="*/ 9211 w 1142318"/>
                <a:gd name="connsiteY0" fmla="*/ 3529 h 502978"/>
                <a:gd name="connsiteX1" fmla="*/ 1136876 w 1142318"/>
                <a:gd name="connsiteY1" fmla="*/ 147724 h 502978"/>
                <a:gd name="connsiteX2" fmla="*/ 732519 w 1142318"/>
                <a:gd name="connsiteY2" fmla="*/ 500048 h 502978"/>
                <a:gd name="connsiteX3" fmla="*/ 9211 w 1142318"/>
                <a:gd name="connsiteY3" fmla="*/ 3529 h 502978"/>
                <a:gd name="connsiteX4" fmla="*/ 0 w 1142318"/>
                <a:gd name="connsiteY4" fmla="*/ 0 h 502978"/>
                <a:gd name="connsiteX5" fmla="*/ 732758 w 1142318"/>
                <a:gd name="connsiteY5" fmla="*/ 502979 h 502978"/>
                <a:gd name="connsiteX6" fmla="*/ 1142318 w 1142318"/>
                <a:gd name="connsiteY6" fmla="*/ 146109 h 502978"/>
                <a:gd name="connsiteX7" fmla="*/ 0 w 1142318"/>
                <a:gd name="connsiteY7" fmla="*/ 0 h 502978"/>
                <a:gd name="connsiteX8" fmla="*/ 0 w 1142318"/>
                <a:gd name="connsiteY8" fmla="*/ 0 h 50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318" h="502978">
                  <a:moveTo>
                    <a:pt x="9211" y="3529"/>
                  </a:moveTo>
                  <a:lnTo>
                    <a:pt x="1136876" y="147724"/>
                  </a:lnTo>
                  <a:lnTo>
                    <a:pt x="732519" y="500048"/>
                  </a:lnTo>
                  <a:lnTo>
                    <a:pt x="9211" y="3529"/>
                  </a:lnTo>
                  <a:moveTo>
                    <a:pt x="0" y="0"/>
                  </a:moveTo>
                  <a:lnTo>
                    <a:pt x="732758" y="502979"/>
                  </a:lnTo>
                  <a:lnTo>
                    <a:pt x="1142318" y="146109"/>
                  </a:lnTo>
                  <a:lnTo>
                    <a:pt x="0" y="0"/>
                  </a:lnTo>
                  <a:lnTo>
                    <a:pt x="0" y="0"/>
                  </a:lnTo>
                  <a:close/>
                </a:path>
              </a:pathLst>
            </a:custGeom>
            <a:grpFill/>
            <a:ln w="0" cap="flat">
              <a:noFill/>
              <a:prstDash val="solid"/>
              <a:miter/>
            </a:ln>
          </p:spPr>
          <p:txBody>
            <a:bodyPr rtlCol="0" anchor="ctr"/>
            <a:lstStyle/>
            <a:p>
              <a:endParaRPr lang="en-GB"/>
            </a:p>
          </p:txBody>
        </p:sp>
        <p:sp>
          <p:nvSpPr>
            <p:cNvPr id="4342" name="Vrije vorm: vorm 4341">
              <a:extLst>
                <a:ext uri="{FF2B5EF4-FFF2-40B4-BE49-F238E27FC236}">
                  <a16:creationId xmlns:a16="http://schemas.microsoft.com/office/drawing/2014/main" id="{CEDACFB1-4DA6-4204-AFEB-760A898029F7}"/>
                </a:ext>
              </a:extLst>
            </p:cNvPr>
            <p:cNvSpPr/>
            <p:nvPr/>
          </p:nvSpPr>
          <p:spPr>
            <a:xfrm>
              <a:off x="6713619" y="2395857"/>
              <a:ext cx="550226" cy="357348"/>
            </a:xfrm>
            <a:custGeom>
              <a:avLst/>
              <a:gdLst>
                <a:gd name="connsiteX0" fmla="*/ 409559 w 550226"/>
                <a:gd name="connsiteY0" fmla="*/ 3887 h 357348"/>
                <a:gd name="connsiteX1" fmla="*/ 546817 w 550226"/>
                <a:gd name="connsiteY1" fmla="*/ 347241 h 357348"/>
                <a:gd name="connsiteX2" fmla="*/ 6280 w 550226"/>
                <a:gd name="connsiteY2" fmla="*/ 354956 h 357348"/>
                <a:gd name="connsiteX3" fmla="*/ 409559 w 550226"/>
                <a:gd name="connsiteY3" fmla="*/ 3887 h 357348"/>
                <a:gd name="connsiteX4" fmla="*/ 410517 w 550226"/>
                <a:gd name="connsiteY4" fmla="*/ 0 h 357348"/>
                <a:gd name="connsiteX5" fmla="*/ 0 w 550226"/>
                <a:gd name="connsiteY5" fmla="*/ 357348 h 357348"/>
                <a:gd name="connsiteX6" fmla="*/ 550226 w 550226"/>
                <a:gd name="connsiteY6" fmla="*/ 349513 h 357348"/>
                <a:gd name="connsiteX7" fmla="*/ 410517 w 550226"/>
                <a:gd name="connsiteY7" fmla="*/ 0 h 357348"/>
                <a:gd name="connsiteX8" fmla="*/ 410517 w 550226"/>
                <a:gd name="connsiteY8" fmla="*/ 0 h 35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226" h="357348">
                  <a:moveTo>
                    <a:pt x="409559" y="3887"/>
                  </a:moveTo>
                  <a:lnTo>
                    <a:pt x="546817" y="347241"/>
                  </a:lnTo>
                  <a:lnTo>
                    <a:pt x="6280" y="354956"/>
                  </a:lnTo>
                  <a:lnTo>
                    <a:pt x="409559" y="3887"/>
                  </a:lnTo>
                  <a:moveTo>
                    <a:pt x="410517" y="0"/>
                  </a:moveTo>
                  <a:lnTo>
                    <a:pt x="0" y="357348"/>
                  </a:lnTo>
                  <a:lnTo>
                    <a:pt x="550226" y="349513"/>
                  </a:lnTo>
                  <a:lnTo>
                    <a:pt x="410517" y="0"/>
                  </a:lnTo>
                  <a:lnTo>
                    <a:pt x="410517" y="0"/>
                  </a:lnTo>
                  <a:close/>
                </a:path>
              </a:pathLst>
            </a:custGeom>
            <a:grpFill/>
            <a:ln w="0" cap="flat">
              <a:noFill/>
              <a:prstDash val="solid"/>
              <a:miter/>
            </a:ln>
          </p:spPr>
          <p:txBody>
            <a:bodyPr rtlCol="0" anchor="ctr"/>
            <a:lstStyle/>
            <a:p>
              <a:endParaRPr lang="en-GB"/>
            </a:p>
          </p:txBody>
        </p:sp>
        <p:sp>
          <p:nvSpPr>
            <p:cNvPr id="4343" name="Vrije vorm: vorm 4342">
              <a:extLst>
                <a:ext uri="{FF2B5EF4-FFF2-40B4-BE49-F238E27FC236}">
                  <a16:creationId xmlns:a16="http://schemas.microsoft.com/office/drawing/2014/main" id="{05149E0C-A152-4581-BA62-2F19B2544109}"/>
                </a:ext>
              </a:extLst>
            </p:cNvPr>
            <p:cNvSpPr/>
            <p:nvPr/>
          </p:nvSpPr>
          <p:spPr>
            <a:xfrm>
              <a:off x="6353400" y="2745371"/>
              <a:ext cx="910445" cy="1258881"/>
            </a:xfrm>
            <a:custGeom>
              <a:avLst/>
              <a:gdLst>
                <a:gd name="connsiteX0" fmla="*/ 905362 w 910445"/>
                <a:gd name="connsiteY0" fmla="*/ 5442 h 1258881"/>
                <a:gd name="connsiteX1" fmla="*/ 329179 w 910445"/>
                <a:gd name="connsiteY1" fmla="*/ 1253200 h 1258881"/>
                <a:gd name="connsiteX2" fmla="*/ 2930 w 910445"/>
                <a:gd name="connsiteY2" fmla="*/ 505072 h 1258881"/>
                <a:gd name="connsiteX3" fmla="*/ 905362 w 910445"/>
                <a:gd name="connsiteY3" fmla="*/ 5442 h 1258881"/>
                <a:gd name="connsiteX4" fmla="*/ 910445 w 910445"/>
                <a:gd name="connsiteY4" fmla="*/ 0 h 1258881"/>
                <a:gd name="connsiteX5" fmla="*/ 0 w 910445"/>
                <a:gd name="connsiteY5" fmla="*/ 504055 h 1258881"/>
                <a:gd name="connsiteX6" fmla="*/ 329179 w 910445"/>
                <a:gd name="connsiteY6" fmla="*/ 1258882 h 1258881"/>
                <a:gd name="connsiteX7" fmla="*/ 910445 w 910445"/>
                <a:gd name="connsiteY7" fmla="*/ 0 h 1258881"/>
                <a:gd name="connsiteX8" fmla="*/ 910445 w 910445"/>
                <a:gd name="connsiteY8" fmla="*/ 0 h 1258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0445" h="1258881">
                  <a:moveTo>
                    <a:pt x="905362" y="5442"/>
                  </a:moveTo>
                  <a:lnTo>
                    <a:pt x="329179" y="1253200"/>
                  </a:lnTo>
                  <a:lnTo>
                    <a:pt x="2930" y="505072"/>
                  </a:lnTo>
                  <a:lnTo>
                    <a:pt x="905362" y="5442"/>
                  </a:lnTo>
                  <a:moveTo>
                    <a:pt x="910445" y="0"/>
                  </a:moveTo>
                  <a:lnTo>
                    <a:pt x="0" y="504055"/>
                  </a:lnTo>
                  <a:lnTo>
                    <a:pt x="329179" y="1258882"/>
                  </a:lnTo>
                  <a:lnTo>
                    <a:pt x="910445" y="0"/>
                  </a:lnTo>
                  <a:lnTo>
                    <a:pt x="910445" y="0"/>
                  </a:lnTo>
                  <a:close/>
                </a:path>
              </a:pathLst>
            </a:custGeom>
            <a:grpFill/>
            <a:ln w="0" cap="flat">
              <a:noFill/>
              <a:prstDash val="solid"/>
              <a:miter/>
            </a:ln>
          </p:spPr>
          <p:txBody>
            <a:bodyPr rtlCol="0" anchor="ctr"/>
            <a:lstStyle/>
            <a:p>
              <a:endParaRPr lang="en-GB"/>
            </a:p>
          </p:txBody>
        </p:sp>
        <p:sp>
          <p:nvSpPr>
            <p:cNvPr id="4344" name="Vrije vorm: vorm 4343">
              <a:extLst>
                <a:ext uri="{FF2B5EF4-FFF2-40B4-BE49-F238E27FC236}">
                  <a16:creationId xmlns:a16="http://schemas.microsoft.com/office/drawing/2014/main" id="{51C1F81F-1D46-451E-933F-AA3AEE55493B}"/>
                </a:ext>
              </a:extLst>
            </p:cNvPr>
            <p:cNvSpPr/>
            <p:nvPr/>
          </p:nvSpPr>
          <p:spPr>
            <a:xfrm>
              <a:off x="5764957" y="3249426"/>
              <a:ext cx="920553" cy="754826"/>
            </a:xfrm>
            <a:custGeom>
              <a:avLst/>
              <a:gdLst>
                <a:gd name="connsiteX0" fmla="*/ 587845 w 920553"/>
                <a:gd name="connsiteY0" fmla="*/ 4366 h 754826"/>
                <a:gd name="connsiteX1" fmla="*/ 916905 w 920553"/>
                <a:gd name="connsiteY1" fmla="*/ 752315 h 754826"/>
                <a:gd name="connsiteX2" fmla="*/ 4725 w 920553"/>
                <a:gd name="connsiteY2" fmla="*/ 702854 h 754826"/>
                <a:gd name="connsiteX3" fmla="*/ 587845 w 920553"/>
                <a:gd name="connsiteY3" fmla="*/ 4366 h 754826"/>
                <a:gd name="connsiteX4" fmla="*/ 588443 w 920553"/>
                <a:gd name="connsiteY4" fmla="*/ 0 h 754826"/>
                <a:gd name="connsiteX5" fmla="*/ 0 w 920553"/>
                <a:gd name="connsiteY5" fmla="*/ 704888 h 754826"/>
                <a:gd name="connsiteX6" fmla="*/ 920553 w 920553"/>
                <a:gd name="connsiteY6" fmla="*/ 754827 h 754826"/>
                <a:gd name="connsiteX7" fmla="*/ 588443 w 920553"/>
                <a:gd name="connsiteY7" fmla="*/ 0 h 754826"/>
                <a:gd name="connsiteX8" fmla="*/ 588443 w 920553"/>
                <a:gd name="connsiteY8" fmla="*/ 0 h 75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0553" h="754826">
                  <a:moveTo>
                    <a:pt x="587845" y="4366"/>
                  </a:moveTo>
                  <a:lnTo>
                    <a:pt x="916905" y="752315"/>
                  </a:lnTo>
                  <a:lnTo>
                    <a:pt x="4725" y="702854"/>
                  </a:lnTo>
                  <a:lnTo>
                    <a:pt x="587845" y="4366"/>
                  </a:lnTo>
                  <a:moveTo>
                    <a:pt x="588443" y="0"/>
                  </a:moveTo>
                  <a:lnTo>
                    <a:pt x="0" y="704888"/>
                  </a:lnTo>
                  <a:lnTo>
                    <a:pt x="920553" y="754827"/>
                  </a:lnTo>
                  <a:lnTo>
                    <a:pt x="588443" y="0"/>
                  </a:lnTo>
                  <a:lnTo>
                    <a:pt x="588443" y="0"/>
                  </a:lnTo>
                  <a:close/>
                </a:path>
              </a:pathLst>
            </a:custGeom>
            <a:grpFill/>
            <a:ln w="0" cap="flat">
              <a:noFill/>
              <a:prstDash val="solid"/>
              <a:miter/>
            </a:ln>
          </p:spPr>
          <p:txBody>
            <a:bodyPr rtlCol="0" anchor="ctr"/>
            <a:lstStyle/>
            <a:p>
              <a:endParaRPr lang="en-GB"/>
            </a:p>
          </p:txBody>
        </p:sp>
        <p:sp>
          <p:nvSpPr>
            <p:cNvPr id="4345" name="Vrije vorm: vorm 4344">
              <a:extLst>
                <a:ext uri="{FF2B5EF4-FFF2-40B4-BE49-F238E27FC236}">
                  <a16:creationId xmlns:a16="http://schemas.microsoft.com/office/drawing/2014/main" id="{3572903C-8706-4C18-8A20-5AC9887D7EB0}"/>
                </a:ext>
              </a:extLst>
            </p:cNvPr>
            <p:cNvSpPr/>
            <p:nvPr/>
          </p:nvSpPr>
          <p:spPr>
            <a:xfrm>
              <a:off x="5258928" y="2954756"/>
              <a:ext cx="506028" cy="999558"/>
            </a:xfrm>
            <a:custGeom>
              <a:avLst/>
              <a:gdLst>
                <a:gd name="connsiteX0" fmla="*/ 6160 w 506028"/>
                <a:gd name="connsiteY0" fmla="*/ 7057 h 999558"/>
                <a:gd name="connsiteX1" fmla="*/ 289467 w 506028"/>
                <a:gd name="connsiteY1" fmla="*/ 202328 h 999558"/>
                <a:gd name="connsiteX2" fmla="*/ 497955 w 506028"/>
                <a:gd name="connsiteY2" fmla="*/ 978566 h 999558"/>
                <a:gd name="connsiteX3" fmla="*/ 6160 w 506028"/>
                <a:gd name="connsiteY3" fmla="*/ 7057 h 999558"/>
                <a:gd name="connsiteX4" fmla="*/ 0 w 506028"/>
                <a:gd name="connsiteY4" fmla="*/ 0 h 999558"/>
                <a:gd name="connsiteX5" fmla="*/ 506029 w 506028"/>
                <a:gd name="connsiteY5" fmla="*/ 999558 h 999558"/>
                <a:gd name="connsiteX6" fmla="*/ 291500 w 506028"/>
                <a:gd name="connsiteY6" fmla="*/ 200892 h 999558"/>
                <a:gd name="connsiteX7" fmla="*/ 0 w 506028"/>
                <a:gd name="connsiteY7" fmla="*/ 0 h 999558"/>
                <a:gd name="connsiteX8" fmla="*/ 0 w 506028"/>
                <a:gd name="connsiteY8" fmla="*/ 0 h 999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6028" h="999558">
                  <a:moveTo>
                    <a:pt x="6160" y="7057"/>
                  </a:moveTo>
                  <a:lnTo>
                    <a:pt x="289467" y="202328"/>
                  </a:lnTo>
                  <a:lnTo>
                    <a:pt x="497955" y="978566"/>
                  </a:lnTo>
                  <a:lnTo>
                    <a:pt x="6160" y="7057"/>
                  </a:lnTo>
                  <a:moveTo>
                    <a:pt x="0" y="0"/>
                  </a:moveTo>
                  <a:lnTo>
                    <a:pt x="506029" y="999558"/>
                  </a:lnTo>
                  <a:lnTo>
                    <a:pt x="291500" y="200892"/>
                  </a:lnTo>
                  <a:lnTo>
                    <a:pt x="0" y="0"/>
                  </a:lnTo>
                  <a:lnTo>
                    <a:pt x="0" y="0"/>
                  </a:lnTo>
                  <a:close/>
                </a:path>
              </a:pathLst>
            </a:custGeom>
            <a:grpFill/>
            <a:ln w="0" cap="flat">
              <a:noFill/>
              <a:prstDash val="solid"/>
              <a:miter/>
            </a:ln>
          </p:spPr>
          <p:txBody>
            <a:bodyPr rtlCol="0" anchor="ctr"/>
            <a:lstStyle/>
            <a:p>
              <a:endParaRPr lang="en-GB"/>
            </a:p>
          </p:txBody>
        </p:sp>
        <p:sp>
          <p:nvSpPr>
            <p:cNvPr id="4346" name="Vrije vorm: vorm 4345">
              <a:extLst>
                <a:ext uri="{FF2B5EF4-FFF2-40B4-BE49-F238E27FC236}">
                  <a16:creationId xmlns:a16="http://schemas.microsoft.com/office/drawing/2014/main" id="{95D6E090-D02B-434A-899F-B8EE0A864465}"/>
                </a:ext>
              </a:extLst>
            </p:cNvPr>
            <p:cNvSpPr/>
            <p:nvPr/>
          </p:nvSpPr>
          <p:spPr>
            <a:xfrm>
              <a:off x="5550428" y="3155648"/>
              <a:ext cx="802971" cy="798665"/>
            </a:xfrm>
            <a:custGeom>
              <a:avLst/>
              <a:gdLst>
                <a:gd name="connsiteX0" fmla="*/ 3110 w 802971"/>
                <a:gd name="connsiteY0" fmla="*/ 2691 h 798665"/>
                <a:gd name="connsiteX1" fmla="*/ 798426 w 802971"/>
                <a:gd name="connsiteY1" fmla="*/ 95572 h 798665"/>
                <a:gd name="connsiteX2" fmla="*/ 215605 w 802971"/>
                <a:gd name="connsiteY2" fmla="*/ 793762 h 798665"/>
                <a:gd name="connsiteX3" fmla="*/ 3110 w 802971"/>
                <a:gd name="connsiteY3" fmla="*/ 2691 h 798665"/>
                <a:gd name="connsiteX4" fmla="*/ 0 w 802971"/>
                <a:gd name="connsiteY4" fmla="*/ 0 h 798665"/>
                <a:gd name="connsiteX5" fmla="*/ 214528 w 802971"/>
                <a:gd name="connsiteY5" fmla="*/ 798666 h 798665"/>
                <a:gd name="connsiteX6" fmla="*/ 802972 w 802971"/>
                <a:gd name="connsiteY6" fmla="*/ 93778 h 798665"/>
                <a:gd name="connsiteX7" fmla="*/ 0 w 802971"/>
                <a:gd name="connsiteY7" fmla="*/ 0 h 798665"/>
                <a:gd name="connsiteX8" fmla="*/ 0 w 802971"/>
                <a:gd name="connsiteY8" fmla="*/ 0 h 798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2971" h="798665">
                  <a:moveTo>
                    <a:pt x="3110" y="2691"/>
                  </a:moveTo>
                  <a:lnTo>
                    <a:pt x="798426" y="95572"/>
                  </a:lnTo>
                  <a:lnTo>
                    <a:pt x="215605" y="793762"/>
                  </a:lnTo>
                  <a:lnTo>
                    <a:pt x="3110" y="2691"/>
                  </a:lnTo>
                  <a:moveTo>
                    <a:pt x="0" y="0"/>
                  </a:moveTo>
                  <a:lnTo>
                    <a:pt x="214528" y="798666"/>
                  </a:lnTo>
                  <a:lnTo>
                    <a:pt x="802972" y="93778"/>
                  </a:lnTo>
                  <a:lnTo>
                    <a:pt x="0" y="0"/>
                  </a:lnTo>
                  <a:lnTo>
                    <a:pt x="0" y="0"/>
                  </a:lnTo>
                  <a:close/>
                </a:path>
              </a:pathLst>
            </a:custGeom>
            <a:grpFill/>
            <a:ln w="0" cap="flat">
              <a:noFill/>
              <a:prstDash val="solid"/>
              <a:miter/>
            </a:ln>
          </p:spPr>
          <p:txBody>
            <a:bodyPr rtlCol="0" anchor="ctr"/>
            <a:lstStyle/>
            <a:p>
              <a:endParaRPr lang="en-GB"/>
            </a:p>
          </p:txBody>
        </p:sp>
        <p:sp>
          <p:nvSpPr>
            <p:cNvPr id="4347" name="Vrije vorm: vorm 4346">
              <a:extLst>
                <a:ext uri="{FF2B5EF4-FFF2-40B4-BE49-F238E27FC236}">
                  <a16:creationId xmlns:a16="http://schemas.microsoft.com/office/drawing/2014/main" id="{12B0DD42-EE82-40AC-A854-B1602EDC3A83}"/>
                </a:ext>
              </a:extLst>
            </p:cNvPr>
            <p:cNvSpPr/>
            <p:nvPr/>
          </p:nvSpPr>
          <p:spPr>
            <a:xfrm>
              <a:off x="6353400" y="2745371"/>
              <a:ext cx="910445" cy="503995"/>
            </a:xfrm>
            <a:custGeom>
              <a:avLst/>
              <a:gdLst>
                <a:gd name="connsiteX0" fmla="*/ 901235 w 910445"/>
                <a:gd name="connsiteY0" fmla="*/ 2452 h 503995"/>
                <a:gd name="connsiteX1" fmla="*/ 8911 w 910445"/>
                <a:gd name="connsiteY1" fmla="*/ 496460 h 503995"/>
                <a:gd name="connsiteX2" fmla="*/ 361415 w 910445"/>
                <a:gd name="connsiteY2" fmla="*/ 10107 h 503995"/>
                <a:gd name="connsiteX3" fmla="*/ 901235 w 910445"/>
                <a:gd name="connsiteY3" fmla="*/ 2452 h 503995"/>
                <a:gd name="connsiteX4" fmla="*/ 910445 w 910445"/>
                <a:gd name="connsiteY4" fmla="*/ 0 h 503995"/>
                <a:gd name="connsiteX5" fmla="*/ 360219 w 910445"/>
                <a:gd name="connsiteY5" fmla="*/ 7835 h 503995"/>
                <a:gd name="connsiteX6" fmla="*/ 3648 w 910445"/>
                <a:gd name="connsiteY6" fmla="*/ 499749 h 503995"/>
                <a:gd name="connsiteX7" fmla="*/ 0 w 910445"/>
                <a:gd name="connsiteY7" fmla="*/ 503995 h 503995"/>
                <a:gd name="connsiteX8" fmla="*/ 910445 w 910445"/>
                <a:gd name="connsiteY8" fmla="*/ 0 h 503995"/>
                <a:gd name="connsiteX9" fmla="*/ 910445 w 910445"/>
                <a:gd name="connsiteY9" fmla="*/ 0 h 50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445" h="503995">
                  <a:moveTo>
                    <a:pt x="901235" y="2452"/>
                  </a:moveTo>
                  <a:lnTo>
                    <a:pt x="8911" y="496460"/>
                  </a:lnTo>
                  <a:lnTo>
                    <a:pt x="361415" y="10107"/>
                  </a:lnTo>
                  <a:lnTo>
                    <a:pt x="901235" y="2452"/>
                  </a:lnTo>
                  <a:moveTo>
                    <a:pt x="910445" y="0"/>
                  </a:moveTo>
                  <a:lnTo>
                    <a:pt x="360219" y="7835"/>
                  </a:lnTo>
                  <a:lnTo>
                    <a:pt x="3648" y="499749"/>
                  </a:lnTo>
                  <a:lnTo>
                    <a:pt x="0" y="503995"/>
                  </a:lnTo>
                  <a:lnTo>
                    <a:pt x="910445" y="0"/>
                  </a:lnTo>
                  <a:lnTo>
                    <a:pt x="910445" y="0"/>
                  </a:lnTo>
                  <a:close/>
                </a:path>
              </a:pathLst>
            </a:custGeom>
            <a:grpFill/>
            <a:ln w="0" cap="flat">
              <a:noFill/>
              <a:prstDash val="solid"/>
              <a:miter/>
            </a:ln>
          </p:spPr>
          <p:txBody>
            <a:bodyPr rtlCol="0" anchor="ctr"/>
            <a:lstStyle/>
            <a:p>
              <a:endParaRPr lang="en-GB"/>
            </a:p>
          </p:txBody>
        </p:sp>
        <p:sp>
          <p:nvSpPr>
            <p:cNvPr id="4348" name="Vrije vorm: vorm 4347">
              <a:extLst>
                <a:ext uri="{FF2B5EF4-FFF2-40B4-BE49-F238E27FC236}">
                  <a16:creationId xmlns:a16="http://schemas.microsoft.com/office/drawing/2014/main" id="{DAF00E98-0E69-4EF4-BCB5-7C4FA66F2A35}"/>
                </a:ext>
              </a:extLst>
            </p:cNvPr>
            <p:cNvSpPr/>
            <p:nvPr/>
          </p:nvSpPr>
          <p:spPr>
            <a:xfrm>
              <a:off x="5550428" y="2753205"/>
              <a:ext cx="1163190" cy="496220"/>
            </a:xfrm>
            <a:custGeom>
              <a:avLst/>
              <a:gdLst>
                <a:gd name="connsiteX0" fmla="*/ 1156971 w 1163190"/>
                <a:gd name="connsiteY0" fmla="*/ 4605 h 496220"/>
                <a:gd name="connsiteX1" fmla="*/ 801895 w 1163190"/>
                <a:gd name="connsiteY1" fmla="*/ 493768 h 496220"/>
                <a:gd name="connsiteX2" fmla="*/ 10347 w 1163190"/>
                <a:gd name="connsiteY2" fmla="*/ 401306 h 496220"/>
                <a:gd name="connsiteX3" fmla="*/ 1156971 w 1163190"/>
                <a:gd name="connsiteY3" fmla="*/ 4605 h 496220"/>
                <a:gd name="connsiteX4" fmla="*/ 1163191 w 1163190"/>
                <a:gd name="connsiteY4" fmla="*/ 0 h 496220"/>
                <a:gd name="connsiteX5" fmla="*/ 0 w 1163190"/>
                <a:gd name="connsiteY5" fmla="*/ 402443 h 496220"/>
                <a:gd name="connsiteX6" fmla="*/ 802972 w 1163190"/>
                <a:gd name="connsiteY6" fmla="*/ 496220 h 496220"/>
                <a:gd name="connsiteX7" fmla="*/ 1163191 w 1163190"/>
                <a:gd name="connsiteY7" fmla="*/ 0 h 496220"/>
                <a:gd name="connsiteX8" fmla="*/ 1163191 w 1163190"/>
                <a:gd name="connsiteY8" fmla="*/ 0 h 49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3190" h="496220">
                  <a:moveTo>
                    <a:pt x="1156971" y="4605"/>
                  </a:moveTo>
                  <a:lnTo>
                    <a:pt x="801895" y="493768"/>
                  </a:lnTo>
                  <a:lnTo>
                    <a:pt x="10347" y="401306"/>
                  </a:lnTo>
                  <a:lnTo>
                    <a:pt x="1156971" y="4605"/>
                  </a:lnTo>
                  <a:moveTo>
                    <a:pt x="1163191" y="0"/>
                  </a:moveTo>
                  <a:lnTo>
                    <a:pt x="0" y="402443"/>
                  </a:lnTo>
                  <a:lnTo>
                    <a:pt x="802972" y="496220"/>
                  </a:lnTo>
                  <a:lnTo>
                    <a:pt x="1163191" y="0"/>
                  </a:lnTo>
                  <a:lnTo>
                    <a:pt x="1163191" y="0"/>
                  </a:lnTo>
                  <a:close/>
                </a:path>
              </a:pathLst>
            </a:custGeom>
            <a:grpFill/>
            <a:ln w="0" cap="flat">
              <a:noFill/>
              <a:prstDash val="solid"/>
              <a:miter/>
            </a:ln>
          </p:spPr>
          <p:txBody>
            <a:bodyPr rtlCol="0" anchor="ctr"/>
            <a:lstStyle/>
            <a:p>
              <a:endParaRPr lang="en-GB"/>
            </a:p>
          </p:txBody>
        </p:sp>
        <p:sp>
          <p:nvSpPr>
            <p:cNvPr id="4349" name="Vrije vorm: vorm 4348">
              <a:extLst>
                <a:ext uri="{FF2B5EF4-FFF2-40B4-BE49-F238E27FC236}">
                  <a16:creationId xmlns:a16="http://schemas.microsoft.com/office/drawing/2014/main" id="{A33DFB3B-CF88-45A5-B805-2CEFBB2C3BA6}"/>
                </a:ext>
              </a:extLst>
            </p:cNvPr>
            <p:cNvSpPr/>
            <p:nvPr/>
          </p:nvSpPr>
          <p:spPr>
            <a:xfrm>
              <a:off x="5550428" y="2250227"/>
              <a:ext cx="1163190" cy="905421"/>
            </a:xfrm>
            <a:custGeom>
              <a:avLst/>
              <a:gdLst>
                <a:gd name="connsiteX0" fmla="*/ 431928 w 1163190"/>
                <a:gd name="connsiteY0" fmla="*/ 3469 h 905421"/>
                <a:gd name="connsiteX1" fmla="*/ 1158107 w 1163190"/>
                <a:gd name="connsiteY1" fmla="*/ 502321 h 905421"/>
                <a:gd name="connsiteX2" fmla="*/ 4486 w 1163190"/>
                <a:gd name="connsiteY2" fmla="*/ 901414 h 905421"/>
                <a:gd name="connsiteX3" fmla="*/ 431928 w 1163190"/>
                <a:gd name="connsiteY3" fmla="*/ 3469 h 905421"/>
                <a:gd name="connsiteX4" fmla="*/ 430971 w 1163190"/>
                <a:gd name="connsiteY4" fmla="*/ 0 h 905421"/>
                <a:gd name="connsiteX5" fmla="*/ 0 w 1163190"/>
                <a:gd name="connsiteY5" fmla="*/ 905421 h 905421"/>
                <a:gd name="connsiteX6" fmla="*/ 1163191 w 1163190"/>
                <a:gd name="connsiteY6" fmla="*/ 502979 h 905421"/>
                <a:gd name="connsiteX7" fmla="*/ 430971 w 1163190"/>
                <a:gd name="connsiteY7" fmla="*/ 0 h 905421"/>
                <a:gd name="connsiteX8" fmla="*/ 430971 w 1163190"/>
                <a:gd name="connsiteY8" fmla="*/ 0 h 90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3190" h="905421">
                  <a:moveTo>
                    <a:pt x="431928" y="3469"/>
                  </a:moveTo>
                  <a:lnTo>
                    <a:pt x="1158107" y="502321"/>
                  </a:lnTo>
                  <a:lnTo>
                    <a:pt x="4486" y="901414"/>
                  </a:lnTo>
                  <a:lnTo>
                    <a:pt x="431928" y="3469"/>
                  </a:lnTo>
                  <a:moveTo>
                    <a:pt x="430971" y="0"/>
                  </a:moveTo>
                  <a:lnTo>
                    <a:pt x="0" y="905421"/>
                  </a:lnTo>
                  <a:lnTo>
                    <a:pt x="1163191" y="502979"/>
                  </a:lnTo>
                  <a:lnTo>
                    <a:pt x="430971" y="0"/>
                  </a:lnTo>
                  <a:lnTo>
                    <a:pt x="430971" y="0"/>
                  </a:lnTo>
                  <a:close/>
                </a:path>
              </a:pathLst>
            </a:custGeom>
            <a:grpFill/>
            <a:ln w="0" cap="flat">
              <a:noFill/>
              <a:prstDash val="solid"/>
              <a:miter/>
            </a:ln>
          </p:spPr>
          <p:txBody>
            <a:bodyPr rtlCol="0" anchor="ctr"/>
            <a:lstStyle/>
            <a:p>
              <a:endParaRPr lang="en-GB"/>
            </a:p>
          </p:txBody>
        </p:sp>
        <p:sp>
          <p:nvSpPr>
            <p:cNvPr id="4350" name="Vrije vorm: vorm 4349">
              <a:extLst>
                <a:ext uri="{FF2B5EF4-FFF2-40B4-BE49-F238E27FC236}">
                  <a16:creationId xmlns:a16="http://schemas.microsoft.com/office/drawing/2014/main" id="{29D1E039-3223-43D5-A2A0-7E2905CE2B1F}"/>
                </a:ext>
              </a:extLst>
            </p:cNvPr>
            <p:cNvSpPr/>
            <p:nvPr/>
          </p:nvSpPr>
          <p:spPr>
            <a:xfrm>
              <a:off x="5258928" y="2250645"/>
              <a:ext cx="722052" cy="905002"/>
            </a:xfrm>
            <a:custGeom>
              <a:avLst/>
              <a:gdLst>
                <a:gd name="connsiteX0" fmla="*/ 714397 w 722052"/>
                <a:gd name="connsiteY0" fmla="*/ 10706 h 905002"/>
                <a:gd name="connsiteX1" fmla="*/ 290603 w 722052"/>
                <a:gd name="connsiteY1" fmla="*/ 901534 h 905002"/>
                <a:gd name="connsiteX2" fmla="*/ 3648 w 722052"/>
                <a:gd name="connsiteY2" fmla="*/ 703811 h 905002"/>
                <a:gd name="connsiteX3" fmla="*/ 714397 w 722052"/>
                <a:gd name="connsiteY3" fmla="*/ 10706 h 905002"/>
                <a:gd name="connsiteX4" fmla="*/ 722053 w 722052"/>
                <a:gd name="connsiteY4" fmla="*/ 0 h 905002"/>
                <a:gd name="connsiteX5" fmla="*/ 0 w 722052"/>
                <a:gd name="connsiteY5" fmla="*/ 704110 h 905002"/>
                <a:gd name="connsiteX6" fmla="*/ 291500 w 722052"/>
                <a:gd name="connsiteY6" fmla="*/ 905003 h 905002"/>
                <a:gd name="connsiteX7" fmla="*/ 722053 w 722052"/>
                <a:gd name="connsiteY7" fmla="*/ 0 h 905002"/>
                <a:gd name="connsiteX8" fmla="*/ 722053 w 722052"/>
                <a:gd name="connsiteY8" fmla="*/ 0 h 90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2052" h="905002">
                  <a:moveTo>
                    <a:pt x="714397" y="10706"/>
                  </a:moveTo>
                  <a:lnTo>
                    <a:pt x="290603" y="901534"/>
                  </a:lnTo>
                  <a:lnTo>
                    <a:pt x="3648" y="703811"/>
                  </a:lnTo>
                  <a:lnTo>
                    <a:pt x="714397" y="10706"/>
                  </a:lnTo>
                  <a:moveTo>
                    <a:pt x="722053" y="0"/>
                  </a:moveTo>
                  <a:lnTo>
                    <a:pt x="0" y="704110"/>
                  </a:lnTo>
                  <a:lnTo>
                    <a:pt x="291500" y="905003"/>
                  </a:lnTo>
                  <a:lnTo>
                    <a:pt x="722053" y="0"/>
                  </a:lnTo>
                  <a:lnTo>
                    <a:pt x="722053" y="0"/>
                  </a:lnTo>
                  <a:close/>
                </a:path>
              </a:pathLst>
            </a:custGeom>
            <a:grpFill/>
            <a:ln w="0" cap="flat">
              <a:noFill/>
              <a:prstDash val="solid"/>
              <a:miter/>
            </a:ln>
          </p:spPr>
          <p:txBody>
            <a:bodyPr rtlCol="0" anchor="ctr"/>
            <a:lstStyle/>
            <a:p>
              <a:endParaRPr lang="en-GB"/>
            </a:p>
          </p:txBody>
        </p:sp>
      </p:grpSp>
      <p:sp>
        <p:nvSpPr>
          <p:cNvPr id="4351" name="BOL_ORANJE3">
            <a:extLst>
              <a:ext uri="{FF2B5EF4-FFF2-40B4-BE49-F238E27FC236}">
                <a16:creationId xmlns:a16="http://schemas.microsoft.com/office/drawing/2014/main" id="{E5685F62-797A-4282-8E80-F97B8037B19D}"/>
              </a:ext>
            </a:extLst>
          </p:cNvPr>
          <p:cNvSpPr/>
          <p:nvPr/>
        </p:nvSpPr>
        <p:spPr>
          <a:xfrm>
            <a:off x="5821153" y="3230977"/>
            <a:ext cx="137078" cy="137078"/>
          </a:xfrm>
          <a:custGeom>
            <a:avLst/>
            <a:gdLst>
              <a:gd name="connsiteX0" fmla="*/ 137078 w 137078"/>
              <a:gd name="connsiteY0" fmla="*/ 68539 h 137078"/>
              <a:gd name="connsiteX1" fmla="*/ 68539 w 137078"/>
              <a:gd name="connsiteY1" fmla="*/ 137078 h 137078"/>
              <a:gd name="connsiteX2" fmla="*/ 0 w 137078"/>
              <a:gd name="connsiteY2" fmla="*/ 68539 h 137078"/>
              <a:gd name="connsiteX3" fmla="*/ 68539 w 137078"/>
              <a:gd name="connsiteY3" fmla="*/ 0 h 137078"/>
              <a:gd name="connsiteX4" fmla="*/ 137078 w 137078"/>
              <a:gd name="connsiteY4" fmla="*/ 68539 h 137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078" h="137078">
                <a:moveTo>
                  <a:pt x="137078" y="68539"/>
                </a:moveTo>
                <a:cubicBezTo>
                  <a:pt x="137078" y="106392"/>
                  <a:pt x="106392" y="137078"/>
                  <a:pt x="68539" y="137078"/>
                </a:cubicBezTo>
                <a:cubicBezTo>
                  <a:pt x="30686" y="137078"/>
                  <a:pt x="0" y="106392"/>
                  <a:pt x="0" y="68539"/>
                </a:cubicBezTo>
                <a:cubicBezTo>
                  <a:pt x="0" y="30686"/>
                  <a:pt x="30686" y="0"/>
                  <a:pt x="68539" y="0"/>
                </a:cubicBezTo>
                <a:cubicBezTo>
                  <a:pt x="106392" y="0"/>
                  <a:pt x="137078" y="30686"/>
                  <a:pt x="137078" y="68539"/>
                </a:cubicBezTo>
                <a:close/>
              </a:path>
            </a:pathLst>
          </a:custGeom>
          <a:solidFill>
            <a:srgbClr val="0D3976"/>
          </a:solidFill>
          <a:ln w="5978" cap="flat">
            <a:noFill/>
            <a:prstDash val="solid"/>
            <a:miter/>
          </a:ln>
        </p:spPr>
        <p:txBody>
          <a:bodyPr rtlCol="0" anchor="ctr"/>
          <a:lstStyle/>
          <a:p>
            <a:endParaRPr lang="en-GB"/>
          </a:p>
        </p:txBody>
      </p:sp>
      <p:sp>
        <p:nvSpPr>
          <p:cNvPr id="4352" name="BOL_ORANJE2">
            <a:extLst>
              <a:ext uri="{FF2B5EF4-FFF2-40B4-BE49-F238E27FC236}">
                <a16:creationId xmlns:a16="http://schemas.microsoft.com/office/drawing/2014/main" id="{052FB911-355D-4874-B819-A2E30F2AD91E}"/>
              </a:ext>
            </a:extLst>
          </p:cNvPr>
          <p:cNvSpPr/>
          <p:nvPr/>
        </p:nvSpPr>
        <p:spPr>
          <a:xfrm>
            <a:off x="5084089" y="3473555"/>
            <a:ext cx="250592" cy="250592"/>
          </a:xfrm>
          <a:custGeom>
            <a:avLst/>
            <a:gdLst>
              <a:gd name="connsiteX0" fmla="*/ 250592 w 250592"/>
              <a:gd name="connsiteY0" fmla="*/ 125296 h 250592"/>
              <a:gd name="connsiteX1" fmla="*/ 125296 w 250592"/>
              <a:gd name="connsiteY1" fmla="*/ 250592 h 250592"/>
              <a:gd name="connsiteX2" fmla="*/ 0 w 250592"/>
              <a:gd name="connsiteY2" fmla="*/ 125296 h 250592"/>
              <a:gd name="connsiteX3" fmla="*/ 125296 w 250592"/>
              <a:gd name="connsiteY3" fmla="*/ 0 h 250592"/>
              <a:gd name="connsiteX4" fmla="*/ 250592 w 250592"/>
              <a:gd name="connsiteY4" fmla="*/ 125296 h 250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592" h="250592">
                <a:moveTo>
                  <a:pt x="250592" y="125296"/>
                </a:moveTo>
                <a:cubicBezTo>
                  <a:pt x="250592" y="194495"/>
                  <a:pt x="194495" y="250592"/>
                  <a:pt x="125296" y="250592"/>
                </a:cubicBezTo>
                <a:cubicBezTo>
                  <a:pt x="56097" y="250592"/>
                  <a:pt x="0" y="194495"/>
                  <a:pt x="0" y="125296"/>
                </a:cubicBezTo>
                <a:cubicBezTo>
                  <a:pt x="0" y="56097"/>
                  <a:pt x="56097" y="0"/>
                  <a:pt x="125296" y="0"/>
                </a:cubicBezTo>
                <a:cubicBezTo>
                  <a:pt x="194495" y="0"/>
                  <a:pt x="250592" y="56097"/>
                  <a:pt x="250592" y="125296"/>
                </a:cubicBezTo>
                <a:close/>
              </a:path>
            </a:pathLst>
          </a:custGeom>
          <a:solidFill>
            <a:srgbClr val="0D3976"/>
          </a:solidFill>
          <a:ln w="5978" cap="flat">
            <a:noFill/>
            <a:prstDash val="solid"/>
            <a:miter/>
          </a:ln>
        </p:spPr>
        <p:txBody>
          <a:bodyPr rtlCol="0" anchor="ctr"/>
          <a:lstStyle/>
          <a:p>
            <a:endParaRPr lang="en-GB"/>
          </a:p>
        </p:txBody>
      </p:sp>
      <p:sp>
        <p:nvSpPr>
          <p:cNvPr id="4353" name="BOL_ORANJE1">
            <a:extLst>
              <a:ext uri="{FF2B5EF4-FFF2-40B4-BE49-F238E27FC236}">
                <a16:creationId xmlns:a16="http://schemas.microsoft.com/office/drawing/2014/main" id="{5ED526D6-2267-47C2-90CF-A8A1C14F5B73}"/>
              </a:ext>
            </a:extLst>
          </p:cNvPr>
          <p:cNvSpPr/>
          <p:nvPr/>
        </p:nvSpPr>
        <p:spPr>
          <a:xfrm>
            <a:off x="5448614" y="2622020"/>
            <a:ext cx="371402" cy="371402"/>
          </a:xfrm>
          <a:custGeom>
            <a:avLst/>
            <a:gdLst>
              <a:gd name="connsiteX0" fmla="*/ 371403 w 371402"/>
              <a:gd name="connsiteY0" fmla="*/ 185701 h 371402"/>
              <a:gd name="connsiteX1" fmla="*/ 185701 w 371402"/>
              <a:gd name="connsiteY1" fmla="*/ 371403 h 371402"/>
              <a:gd name="connsiteX2" fmla="*/ 0 w 371402"/>
              <a:gd name="connsiteY2" fmla="*/ 185701 h 371402"/>
              <a:gd name="connsiteX3" fmla="*/ 185701 w 371402"/>
              <a:gd name="connsiteY3" fmla="*/ 0 h 371402"/>
              <a:gd name="connsiteX4" fmla="*/ 371403 w 371402"/>
              <a:gd name="connsiteY4" fmla="*/ 185701 h 371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02" h="371402">
                <a:moveTo>
                  <a:pt x="371403" y="185701"/>
                </a:moveTo>
                <a:cubicBezTo>
                  <a:pt x="371403" y="288261"/>
                  <a:pt x="288262" y="371403"/>
                  <a:pt x="185701" y="371403"/>
                </a:cubicBezTo>
                <a:cubicBezTo>
                  <a:pt x="83141" y="371403"/>
                  <a:pt x="0" y="288261"/>
                  <a:pt x="0" y="185701"/>
                </a:cubicBezTo>
                <a:cubicBezTo>
                  <a:pt x="0" y="83141"/>
                  <a:pt x="83141" y="0"/>
                  <a:pt x="185701" y="0"/>
                </a:cubicBezTo>
                <a:cubicBezTo>
                  <a:pt x="288262" y="0"/>
                  <a:pt x="371403" y="83141"/>
                  <a:pt x="371403" y="185701"/>
                </a:cubicBezTo>
                <a:close/>
              </a:path>
            </a:pathLst>
          </a:custGeom>
          <a:solidFill>
            <a:srgbClr val="0D3976"/>
          </a:solidFill>
          <a:ln w="5978" cap="flat">
            <a:noFill/>
            <a:prstDash val="solid"/>
            <a:miter/>
          </a:ln>
        </p:spPr>
        <p:txBody>
          <a:bodyPr rtlCol="0" anchor="ctr"/>
          <a:lstStyle/>
          <a:p>
            <a:endParaRPr lang="en-GB"/>
          </a:p>
        </p:txBody>
      </p:sp>
      <p:sp>
        <p:nvSpPr>
          <p:cNvPr id="4354" name="BOL_BLAUW5">
            <a:extLst>
              <a:ext uri="{FF2B5EF4-FFF2-40B4-BE49-F238E27FC236}">
                <a16:creationId xmlns:a16="http://schemas.microsoft.com/office/drawing/2014/main" id="{AD02A76E-A28C-4E42-97A5-126529B66583}"/>
              </a:ext>
            </a:extLst>
          </p:cNvPr>
          <p:cNvSpPr/>
          <p:nvPr/>
        </p:nvSpPr>
        <p:spPr>
          <a:xfrm>
            <a:off x="5423375" y="3645919"/>
            <a:ext cx="143537" cy="143537"/>
          </a:xfrm>
          <a:custGeom>
            <a:avLst/>
            <a:gdLst>
              <a:gd name="connsiteX0" fmla="*/ 143537 w 143537"/>
              <a:gd name="connsiteY0" fmla="*/ 71769 h 143537"/>
              <a:gd name="connsiteX1" fmla="*/ 71769 w 143537"/>
              <a:gd name="connsiteY1" fmla="*/ 143537 h 143537"/>
              <a:gd name="connsiteX2" fmla="*/ 0 w 143537"/>
              <a:gd name="connsiteY2" fmla="*/ 71769 h 143537"/>
              <a:gd name="connsiteX3" fmla="*/ 71769 w 143537"/>
              <a:gd name="connsiteY3" fmla="*/ 0 h 143537"/>
              <a:gd name="connsiteX4" fmla="*/ 143537 w 143537"/>
              <a:gd name="connsiteY4" fmla="*/ 71769 h 143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537" h="143537">
                <a:moveTo>
                  <a:pt x="143537" y="71769"/>
                </a:moveTo>
                <a:cubicBezTo>
                  <a:pt x="143537" y="111405"/>
                  <a:pt x="111405" y="143537"/>
                  <a:pt x="71769" y="143537"/>
                </a:cubicBezTo>
                <a:cubicBezTo>
                  <a:pt x="32132" y="143537"/>
                  <a:pt x="0" y="111405"/>
                  <a:pt x="0" y="71769"/>
                </a:cubicBezTo>
                <a:cubicBezTo>
                  <a:pt x="0" y="32132"/>
                  <a:pt x="32132" y="0"/>
                  <a:pt x="71769" y="0"/>
                </a:cubicBezTo>
                <a:cubicBezTo>
                  <a:pt x="111405" y="0"/>
                  <a:pt x="143537" y="32132"/>
                  <a:pt x="143537" y="71769"/>
                </a:cubicBezTo>
                <a:close/>
              </a:path>
            </a:pathLst>
          </a:custGeom>
          <a:solidFill>
            <a:srgbClr val="0D3976"/>
          </a:solidFill>
          <a:ln w="5978" cap="flat">
            <a:noFill/>
            <a:prstDash val="solid"/>
            <a:miter/>
          </a:ln>
        </p:spPr>
        <p:txBody>
          <a:bodyPr rtlCol="0" anchor="ctr"/>
          <a:lstStyle/>
          <a:p>
            <a:endParaRPr lang="en-GB"/>
          </a:p>
        </p:txBody>
      </p:sp>
      <p:sp>
        <p:nvSpPr>
          <p:cNvPr id="4355" name="BOL_BLAUW4">
            <a:extLst>
              <a:ext uri="{FF2B5EF4-FFF2-40B4-BE49-F238E27FC236}">
                <a16:creationId xmlns:a16="http://schemas.microsoft.com/office/drawing/2014/main" id="{22C7D031-31FD-4D24-98CB-0CF6705B0E4F}"/>
              </a:ext>
            </a:extLst>
          </p:cNvPr>
          <p:cNvSpPr/>
          <p:nvPr/>
        </p:nvSpPr>
        <p:spPr>
          <a:xfrm>
            <a:off x="5601960" y="2317362"/>
            <a:ext cx="229779" cy="229779"/>
          </a:xfrm>
          <a:custGeom>
            <a:avLst/>
            <a:gdLst>
              <a:gd name="connsiteX0" fmla="*/ 229779 w 229779"/>
              <a:gd name="connsiteY0" fmla="*/ 114890 h 229779"/>
              <a:gd name="connsiteX1" fmla="*/ 114890 w 229779"/>
              <a:gd name="connsiteY1" fmla="*/ 229779 h 229779"/>
              <a:gd name="connsiteX2" fmla="*/ 0 w 229779"/>
              <a:gd name="connsiteY2" fmla="*/ 114890 h 229779"/>
              <a:gd name="connsiteX3" fmla="*/ 114890 w 229779"/>
              <a:gd name="connsiteY3" fmla="*/ 0 h 229779"/>
              <a:gd name="connsiteX4" fmla="*/ 229779 w 229779"/>
              <a:gd name="connsiteY4" fmla="*/ 114890 h 229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79" h="229779">
                <a:moveTo>
                  <a:pt x="229779" y="114890"/>
                </a:moveTo>
                <a:cubicBezTo>
                  <a:pt x="229779" y="178341"/>
                  <a:pt x="178342" y="229779"/>
                  <a:pt x="114890" y="229779"/>
                </a:cubicBezTo>
                <a:cubicBezTo>
                  <a:pt x="51438" y="229779"/>
                  <a:pt x="0" y="178341"/>
                  <a:pt x="0" y="114890"/>
                </a:cubicBezTo>
                <a:cubicBezTo>
                  <a:pt x="0" y="51438"/>
                  <a:pt x="51438" y="0"/>
                  <a:pt x="114890" y="0"/>
                </a:cubicBezTo>
                <a:cubicBezTo>
                  <a:pt x="178341" y="0"/>
                  <a:pt x="229779" y="51438"/>
                  <a:pt x="229779" y="114890"/>
                </a:cubicBezTo>
                <a:close/>
              </a:path>
            </a:pathLst>
          </a:custGeom>
          <a:solidFill>
            <a:srgbClr val="0D3976"/>
          </a:solidFill>
          <a:ln w="5978" cap="flat">
            <a:noFill/>
            <a:prstDash val="solid"/>
            <a:miter/>
          </a:ln>
        </p:spPr>
        <p:txBody>
          <a:bodyPr rtlCol="0" anchor="ctr"/>
          <a:lstStyle/>
          <a:p>
            <a:endParaRPr lang="en-GB"/>
          </a:p>
        </p:txBody>
      </p:sp>
      <p:sp>
        <p:nvSpPr>
          <p:cNvPr id="4356" name="BOL_BLAUW3">
            <a:extLst>
              <a:ext uri="{FF2B5EF4-FFF2-40B4-BE49-F238E27FC236}">
                <a16:creationId xmlns:a16="http://schemas.microsoft.com/office/drawing/2014/main" id="{6C9FAFEB-9635-48B9-A382-2832DDA70612}"/>
              </a:ext>
            </a:extLst>
          </p:cNvPr>
          <p:cNvSpPr/>
          <p:nvPr/>
        </p:nvSpPr>
        <p:spPr>
          <a:xfrm>
            <a:off x="4814897" y="3159208"/>
            <a:ext cx="221406" cy="221406"/>
          </a:xfrm>
          <a:custGeom>
            <a:avLst/>
            <a:gdLst>
              <a:gd name="connsiteX0" fmla="*/ 221406 w 221406"/>
              <a:gd name="connsiteY0" fmla="*/ 110703 h 221406"/>
              <a:gd name="connsiteX1" fmla="*/ 110703 w 221406"/>
              <a:gd name="connsiteY1" fmla="*/ 221406 h 221406"/>
              <a:gd name="connsiteX2" fmla="*/ 0 w 221406"/>
              <a:gd name="connsiteY2" fmla="*/ 110703 h 221406"/>
              <a:gd name="connsiteX3" fmla="*/ 110703 w 221406"/>
              <a:gd name="connsiteY3" fmla="*/ 0 h 221406"/>
              <a:gd name="connsiteX4" fmla="*/ 221406 w 221406"/>
              <a:gd name="connsiteY4" fmla="*/ 110703 h 221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406" h="221406">
                <a:moveTo>
                  <a:pt x="221406" y="110703"/>
                </a:moveTo>
                <a:cubicBezTo>
                  <a:pt x="221406" y="171843"/>
                  <a:pt x="171843" y="221406"/>
                  <a:pt x="110703" y="221406"/>
                </a:cubicBezTo>
                <a:cubicBezTo>
                  <a:pt x="49564" y="221406"/>
                  <a:pt x="0" y="171843"/>
                  <a:pt x="0" y="110703"/>
                </a:cubicBezTo>
                <a:cubicBezTo>
                  <a:pt x="0" y="49564"/>
                  <a:pt x="49564" y="0"/>
                  <a:pt x="110703" y="0"/>
                </a:cubicBezTo>
                <a:cubicBezTo>
                  <a:pt x="171843" y="0"/>
                  <a:pt x="221406" y="49563"/>
                  <a:pt x="221406" y="110703"/>
                </a:cubicBezTo>
                <a:close/>
              </a:path>
            </a:pathLst>
          </a:custGeom>
          <a:solidFill>
            <a:schemeClr val="accent6"/>
          </a:solidFill>
          <a:ln w="5978" cap="flat">
            <a:noFill/>
            <a:prstDash val="solid"/>
            <a:miter/>
          </a:ln>
        </p:spPr>
        <p:txBody>
          <a:bodyPr rtlCol="0" anchor="ctr"/>
          <a:lstStyle/>
          <a:p>
            <a:endParaRPr lang="en-GB"/>
          </a:p>
        </p:txBody>
      </p:sp>
      <p:sp>
        <p:nvSpPr>
          <p:cNvPr id="4357" name="BOL_BLAUW2">
            <a:extLst>
              <a:ext uri="{FF2B5EF4-FFF2-40B4-BE49-F238E27FC236}">
                <a16:creationId xmlns:a16="http://schemas.microsoft.com/office/drawing/2014/main" id="{E9CEAE99-565E-47F7-AD09-9F3F1C346B09}"/>
              </a:ext>
            </a:extLst>
          </p:cNvPr>
          <p:cNvSpPr/>
          <p:nvPr/>
        </p:nvSpPr>
        <p:spPr>
          <a:xfrm>
            <a:off x="5344011" y="4376345"/>
            <a:ext cx="246046" cy="246046"/>
          </a:xfrm>
          <a:custGeom>
            <a:avLst/>
            <a:gdLst>
              <a:gd name="connsiteX0" fmla="*/ 246047 w 246046"/>
              <a:gd name="connsiteY0" fmla="*/ 123023 h 246046"/>
              <a:gd name="connsiteX1" fmla="*/ 123023 w 246046"/>
              <a:gd name="connsiteY1" fmla="*/ 246047 h 246046"/>
              <a:gd name="connsiteX2" fmla="*/ 0 w 246046"/>
              <a:gd name="connsiteY2" fmla="*/ 123023 h 246046"/>
              <a:gd name="connsiteX3" fmla="*/ 123023 w 246046"/>
              <a:gd name="connsiteY3" fmla="*/ 0 h 246046"/>
              <a:gd name="connsiteX4" fmla="*/ 246047 w 246046"/>
              <a:gd name="connsiteY4" fmla="*/ 123023 h 246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046" h="246046">
                <a:moveTo>
                  <a:pt x="246047" y="123023"/>
                </a:moveTo>
                <a:cubicBezTo>
                  <a:pt x="246047" y="190967"/>
                  <a:pt x="190968" y="246047"/>
                  <a:pt x="123023" y="246047"/>
                </a:cubicBezTo>
                <a:cubicBezTo>
                  <a:pt x="55079" y="246047"/>
                  <a:pt x="0" y="190968"/>
                  <a:pt x="0" y="123023"/>
                </a:cubicBezTo>
                <a:cubicBezTo>
                  <a:pt x="0" y="55079"/>
                  <a:pt x="55079" y="0"/>
                  <a:pt x="123023" y="0"/>
                </a:cubicBezTo>
                <a:cubicBezTo>
                  <a:pt x="190967" y="0"/>
                  <a:pt x="246047" y="55079"/>
                  <a:pt x="246047" y="123023"/>
                </a:cubicBezTo>
                <a:close/>
              </a:path>
            </a:pathLst>
          </a:custGeom>
          <a:solidFill>
            <a:srgbClr val="0D3976"/>
          </a:solidFill>
          <a:ln w="5978" cap="flat">
            <a:noFill/>
            <a:prstDash val="solid"/>
            <a:miter/>
          </a:ln>
        </p:spPr>
        <p:txBody>
          <a:bodyPr rtlCol="0" anchor="ctr"/>
          <a:lstStyle/>
          <a:p>
            <a:endParaRPr lang="en-GB"/>
          </a:p>
        </p:txBody>
      </p:sp>
      <p:sp>
        <p:nvSpPr>
          <p:cNvPr id="4358" name="BOL_BLAUW1">
            <a:extLst>
              <a:ext uri="{FF2B5EF4-FFF2-40B4-BE49-F238E27FC236}">
                <a16:creationId xmlns:a16="http://schemas.microsoft.com/office/drawing/2014/main" id="{AD6CBC52-10F9-46D2-BA28-05441D902F1F}"/>
              </a:ext>
            </a:extLst>
          </p:cNvPr>
          <p:cNvSpPr/>
          <p:nvPr/>
        </p:nvSpPr>
        <p:spPr>
          <a:xfrm>
            <a:off x="6393688" y="4320066"/>
            <a:ext cx="313629" cy="313629"/>
          </a:xfrm>
          <a:custGeom>
            <a:avLst/>
            <a:gdLst>
              <a:gd name="connsiteX0" fmla="*/ 313629 w 313629"/>
              <a:gd name="connsiteY0" fmla="*/ 156814 h 313629"/>
              <a:gd name="connsiteX1" fmla="*/ 156815 w 313629"/>
              <a:gd name="connsiteY1" fmla="*/ 313629 h 313629"/>
              <a:gd name="connsiteX2" fmla="*/ 0 w 313629"/>
              <a:gd name="connsiteY2" fmla="*/ 156814 h 313629"/>
              <a:gd name="connsiteX3" fmla="*/ 156815 w 313629"/>
              <a:gd name="connsiteY3" fmla="*/ 0 h 313629"/>
              <a:gd name="connsiteX4" fmla="*/ 313629 w 313629"/>
              <a:gd name="connsiteY4" fmla="*/ 156814 h 31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29" h="313629">
                <a:moveTo>
                  <a:pt x="313629" y="156814"/>
                </a:moveTo>
                <a:cubicBezTo>
                  <a:pt x="313629" y="243421"/>
                  <a:pt x="243421" y="313629"/>
                  <a:pt x="156815" y="313629"/>
                </a:cubicBezTo>
                <a:cubicBezTo>
                  <a:pt x="70208" y="313629"/>
                  <a:pt x="0" y="243421"/>
                  <a:pt x="0" y="156814"/>
                </a:cubicBezTo>
                <a:cubicBezTo>
                  <a:pt x="0" y="70208"/>
                  <a:pt x="70208" y="0"/>
                  <a:pt x="156815" y="0"/>
                </a:cubicBezTo>
                <a:cubicBezTo>
                  <a:pt x="243421" y="0"/>
                  <a:pt x="313629" y="70208"/>
                  <a:pt x="313629" y="156814"/>
                </a:cubicBezTo>
                <a:close/>
              </a:path>
            </a:pathLst>
          </a:custGeom>
          <a:solidFill>
            <a:srgbClr val="0D3976"/>
          </a:solidFill>
          <a:ln w="5978" cap="flat">
            <a:noFill/>
            <a:prstDash val="solid"/>
            <a:miter/>
          </a:ln>
        </p:spPr>
        <p:txBody>
          <a:bodyPr rtlCol="0" anchor="ctr"/>
          <a:lstStyle/>
          <a:p>
            <a:endParaRPr lang="en-GB"/>
          </a:p>
        </p:txBody>
      </p:sp>
      <p:sp>
        <p:nvSpPr>
          <p:cNvPr id="4359" name="BOL_GEEL6">
            <a:extLst>
              <a:ext uri="{FF2B5EF4-FFF2-40B4-BE49-F238E27FC236}">
                <a16:creationId xmlns:a16="http://schemas.microsoft.com/office/drawing/2014/main" id="{D2CA9878-D139-48BA-A1EE-5F3EB77F870E}"/>
              </a:ext>
            </a:extLst>
          </p:cNvPr>
          <p:cNvSpPr/>
          <p:nvPr/>
        </p:nvSpPr>
        <p:spPr>
          <a:xfrm>
            <a:off x="6110321" y="2458866"/>
            <a:ext cx="77510" cy="77510"/>
          </a:xfrm>
          <a:custGeom>
            <a:avLst/>
            <a:gdLst>
              <a:gd name="connsiteX0" fmla="*/ 77510 w 77510"/>
              <a:gd name="connsiteY0" fmla="*/ 38755 h 77510"/>
              <a:gd name="connsiteX1" fmla="*/ 38755 w 77510"/>
              <a:gd name="connsiteY1" fmla="*/ 77510 h 77510"/>
              <a:gd name="connsiteX2" fmla="*/ 0 w 77510"/>
              <a:gd name="connsiteY2" fmla="*/ 38755 h 77510"/>
              <a:gd name="connsiteX3" fmla="*/ 38755 w 77510"/>
              <a:gd name="connsiteY3" fmla="*/ 0 h 77510"/>
              <a:gd name="connsiteX4" fmla="*/ 77510 w 77510"/>
              <a:gd name="connsiteY4" fmla="*/ 38755 h 77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10" h="77510">
                <a:moveTo>
                  <a:pt x="77510" y="38755"/>
                </a:moveTo>
                <a:cubicBezTo>
                  <a:pt x="77510" y="60159"/>
                  <a:pt x="60159" y="77510"/>
                  <a:pt x="38755" y="77510"/>
                </a:cubicBezTo>
                <a:cubicBezTo>
                  <a:pt x="17351" y="77510"/>
                  <a:pt x="0" y="60159"/>
                  <a:pt x="0" y="38755"/>
                </a:cubicBezTo>
                <a:cubicBezTo>
                  <a:pt x="0" y="17351"/>
                  <a:pt x="17351" y="0"/>
                  <a:pt x="38755" y="0"/>
                </a:cubicBezTo>
                <a:cubicBezTo>
                  <a:pt x="60159" y="0"/>
                  <a:pt x="77510" y="17351"/>
                  <a:pt x="77510" y="38755"/>
                </a:cubicBezTo>
                <a:close/>
              </a:path>
            </a:pathLst>
          </a:custGeom>
          <a:solidFill>
            <a:srgbClr val="0D3976"/>
          </a:solidFill>
          <a:ln w="5978" cap="flat">
            <a:noFill/>
            <a:prstDash val="solid"/>
            <a:miter/>
          </a:ln>
        </p:spPr>
        <p:txBody>
          <a:bodyPr rtlCol="0" anchor="ctr"/>
          <a:lstStyle/>
          <a:p>
            <a:endParaRPr lang="en-GB"/>
          </a:p>
        </p:txBody>
      </p:sp>
      <p:sp>
        <p:nvSpPr>
          <p:cNvPr id="4360" name="BOL_GEEL5">
            <a:extLst>
              <a:ext uri="{FF2B5EF4-FFF2-40B4-BE49-F238E27FC236}">
                <a16:creationId xmlns:a16="http://schemas.microsoft.com/office/drawing/2014/main" id="{4F56A7FF-3E1C-4234-B19F-1B01EFE3C4C9}"/>
              </a:ext>
            </a:extLst>
          </p:cNvPr>
          <p:cNvSpPr/>
          <p:nvPr/>
        </p:nvSpPr>
        <p:spPr>
          <a:xfrm>
            <a:off x="5780843" y="3418413"/>
            <a:ext cx="81577" cy="81577"/>
          </a:xfrm>
          <a:custGeom>
            <a:avLst/>
            <a:gdLst>
              <a:gd name="connsiteX0" fmla="*/ 81577 w 81577"/>
              <a:gd name="connsiteY0" fmla="*/ 40789 h 81577"/>
              <a:gd name="connsiteX1" fmla="*/ 40789 w 81577"/>
              <a:gd name="connsiteY1" fmla="*/ 81577 h 81577"/>
              <a:gd name="connsiteX2" fmla="*/ 0 w 81577"/>
              <a:gd name="connsiteY2" fmla="*/ 40789 h 81577"/>
              <a:gd name="connsiteX3" fmla="*/ 40789 w 81577"/>
              <a:gd name="connsiteY3" fmla="*/ 0 h 81577"/>
              <a:gd name="connsiteX4" fmla="*/ 81577 w 81577"/>
              <a:gd name="connsiteY4" fmla="*/ 40789 h 81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77" h="81577">
                <a:moveTo>
                  <a:pt x="81577" y="40789"/>
                </a:moveTo>
                <a:cubicBezTo>
                  <a:pt x="81577" y="63315"/>
                  <a:pt x="63316" y="81577"/>
                  <a:pt x="40789" y="81577"/>
                </a:cubicBezTo>
                <a:cubicBezTo>
                  <a:pt x="18262" y="81577"/>
                  <a:pt x="0" y="63315"/>
                  <a:pt x="0" y="40789"/>
                </a:cubicBezTo>
                <a:cubicBezTo>
                  <a:pt x="0" y="18262"/>
                  <a:pt x="18262" y="0"/>
                  <a:pt x="40789" y="0"/>
                </a:cubicBezTo>
                <a:cubicBezTo>
                  <a:pt x="63316" y="0"/>
                  <a:pt x="81577" y="18262"/>
                  <a:pt x="81577" y="40789"/>
                </a:cubicBezTo>
                <a:close/>
              </a:path>
            </a:pathLst>
          </a:custGeom>
          <a:solidFill>
            <a:srgbClr val="0D3976"/>
          </a:solidFill>
          <a:ln w="5978" cap="flat">
            <a:noFill/>
            <a:prstDash val="solid"/>
            <a:miter/>
          </a:ln>
        </p:spPr>
        <p:txBody>
          <a:bodyPr rtlCol="0" anchor="ctr"/>
          <a:lstStyle/>
          <a:p>
            <a:endParaRPr lang="en-GB"/>
          </a:p>
        </p:txBody>
      </p:sp>
      <p:sp>
        <p:nvSpPr>
          <p:cNvPr id="4361" name="BOL_GEEL4">
            <a:extLst>
              <a:ext uri="{FF2B5EF4-FFF2-40B4-BE49-F238E27FC236}">
                <a16:creationId xmlns:a16="http://schemas.microsoft.com/office/drawing/2014/main" id="{A601BAF7-B1A3-433F-AD46-35D936CD24C5}"/>
              </a:ext>
            </a:extLst>
          </p:cNvPr>
          <p:cNvSpPr/>
          <p:nvPr/>
        </p:nvSpPr>
        <p:spPr>
          <a:xfrm>
            <a:off x="5192340" y="2875423"/>
            <a:ext cx="135044" cy="135044"/>
          </a:xfrm>
          <a:custGeom>
            <a:avLst/>
            <a:gdLst>
              <a:gd name="connsiteX0" fmla="*/ 135045 w 135044"/>
              <a:gd name="connsiteY0" fmla="*/ 67522 h 135044"/>
              <a:gd name="connsiteX1" fmla="*/ 67523 w 135044"/>
              <a:gd name="connsiteY1" fmla="*/ 135045 h 135044"/>
              <a:gd name="connsiteX2" fmla="*/ 0 w 135044"/>
              <a:gd name="connsiteY2" fmla="*/ 67522 h 135044"/>
              <a:gd name="connsiteX3" fmla="*/ 67523 w 135044"/>
              <a:gd name="connsiteY3" fmla="*/ 0 h 135044"/>
              <a:gd name="connsiteX4" fmla="*/ 135045 w 135044"/>
              <a:gd name="connsiteY4" fmla="*/ 67522 h 135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44" h="135044">
                <a:moveTo>
                  <a:pt x="135045" y="67522"/>
                </a:moveTo>
                <a:cubicBezTo>
                  <a:pt x="135045" y="104814"/>
                  <a:pt x="104814" y="135045"/>
                  <a:pt x="67523" y="135045"/>
                </a:cubicBezTo>
                <a:cubicBezTo>
                  <a:pt x="30231" y="135045"/>
                  <a:pt x="0" y="104814"/>
                  <a:pt x="0" y="67522"/>
                </a:cubicBezTo>
                <a:cubicBezTo>
                  <a:pt x="0" y="30231"/>
                  <a:pt x="30231" y="0"/>
                  <a:pt x="67523" y="0"/>
                </a:cubicBezTo>
                <a:cubicBezTo>
                  <a:pt x="104814" y="0"/>
                  <a:pt x="135045" y="30231"/>
                  <a:pt x="135045" y="67522"/>
                </a:cubicBezTo>
                <a:close/>
              </a:path>
            </a:pathLst>
          </a:custGeom>
          <a:solidFill>
            <a:srgbClr val="0D3976"/>
          </a:solidFill>
          <a:ln w="5978" cap="flat">
            <a:noFill/>
            <a:prstDash val="solid"/>
            <a:miter/>
          </a:ln>
        </p:spPr>
        <p:txBody>
          <a:bodyPr rtlCol="0" anchor="ctr"/>
          <a:lstStyle/>
          <a:p>
            <a:endParaRPr lang="en-GB"/>
          </a:p>
        </p:txBody>
      </p:sp>
      <p:sp>
        <p:nvSpPr>
          <p:cNvPr id="4362" name="BOL_GEEL3">
            <a:extLst>
              <a:ext uri="{FF2B5EF4-FFF2-40B4-BE49-F238E27FC236}">
                <a16:creationId xmlns:a16="http://schemas.microsoft.com/office/drawing/2014/main" id="{018DFB5E-5DB4-4FE1-98E3-7F0B0B8EDE3A}"/>
              </a:ext>
            </a:extLst>
          </p:cNvPr>
          <p:cNvSpPr/>
          <p:nvPr/>
        </p:nvSpPr>
        <p:spPr>
          <a:xfrm>
            <a:off x="5189649" y="3852912"/>
            <a:ext cx="267577" cy="267577"/>
          </a:xfrm>
          <a:custGeom>
            <a:avLst/>
            <a:gdLst>
              <a:gd name="connsiteX0" fmla="*/ 267578 w 267577"/>
              <a:gd name="connsiteY0" fmla="*/ 133789 h 267577"/>
              <a:gd name="connsiteX1" fmla="*/ 133789 w 267577"/>
              <a:gd name="connsiteY1" fmla="*/ 267578 h 267577"/>
              <a:gd name="connsiteX2" fmla="*/ 0 w 267577"/>
              <a:gd name="connsiteY2" fmla="*/ 133789 h 267577"/>
              <a:gd name="connsiteX3" fmla="*/ 133789 w 267577"/>
              <a:gd name="connsiteY3" fmla="*/ 0 h 267577"/>
              <a:gd name="connsiteX4" fmla="*/ 267578 w 267577"/>
              <a:gd name="connsiteY4" fmla="*/ 133789 h 267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77" h="267577">
                <a:moveTo>
                  <a:pt x="267578" y="133789"/>
                </a:moveTo>
                <a:cubicBezTo>
                  <a:pt x="267578" y="207678"/>
                  <a:pt x="207678" y="267578"/>
                  <a:pt x="133789" y="267578"/>
                </a:cubicBezTo>
                <a:cubicBezTo>
                  <a:pt x="59899" y="267578"/>
                  <a:pt x="0" y="207678"/>
                  <a:pt x="0" y="133789"/>
                </a:cubicBezTo>
                <a:cubicBezTo>
                  <a:pt x="0" y="59899"/>
                  <a:pt x="59899" y="0"/>
                  <a:pt x="133789" y="0"/>
                </a:cubicBezTo>
                <a:cubicBezTo>
                  <a:pt x="207678" y="0"/>
                  <a:pt x="267578" y="59899"/>
                  <a:pt x="267578" y="133789"/>
                </a:cubicBezTo>
                <a:close/>
              </a:path>
            </a:pathLst>
          </a:custGeom>
          <a:solidFill>
            <a:schemeClr val="accent6"/>
          </a:solidFill>
          <a:ln w="5978" cap="flat">
            <a:noFill/>
            <a:prstDash val="solid"/>
            <a:miter/>
          </a:ln>
        </p:spPr>
        <p:txBody>
          <a:bodyPr rtlCol="0" anchor="ctr"/>
          <a:lstStyle/>
          <a:p>
            <a:endParaRPr lang="en-GB"/>
          </a:p>
        </p:txBody>
      </p:sp>
      <p:sp>
        <p:nvSpPr>
          <p:cNvPr id="4363" name="BOL_GEEL2">
            <a:extLst>
              <a:ext uri="{FF2B5EF4-FFF2-40B4-BE49-F238E27FC236}">
                <a16:creationId xmlns:a16="http://schemas.microsoft.com/office/drawing/2014/main" id="{0ED5116F-193E-4403-8E6C-63633F5D1C8D}"/>
              </a:ext>
            </a:extLst>
          </p:cNvPr>
          <p:cNvSpPr/>
          <p:nvPr/>
        </p:nvSpPr>
        <p:spPr>
          <a:xfrm>
            <a:off x="5715175" y="3859611"/>
            <a:ext cx="342336" cy="342336"/>
          </a:xfrm>
          <a:custGeom>
            <a:avLst/>
            <a:gdLst>
              <a:gd name="connsiteX0" fmla="*/ 342337 w 342336"/>
              <a:gd name="connsiteY0" fmla="*/ 171168 h 342336"/>
              <a:gd name="connsiteX1" fmla="*/ 171168 w 342336"/>
              <a:gd name="connsiteY1" fmla="*/ 342336 h 342336"/>
              <a:gd name="connsiteX2" fmla="*/ 0 w 342336"/>
              <a:gd name="connsiteY2" fmla="*/ 171168 h 342336"/>
              <a:gd name="connsiteX3" fmla="*/ 171168 w 342336"/>
              <a:gd name="connsiteY3" fmla="*/ 0 h 342336"/>
              <a:gd name="connsiteX4" fmla="*/ 342337 w 342336"/>
              <a:gd name="connsiteY4" fmla="*/ 171168 h 34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36" h="342336">
                <a:moveTo>
                  <a:pt x="342337" y="171168"/>
                </a:moveTo>
                <a:cubicBezTo>
                  <a:pt x="342337" y="265702"/>
                  <a:pt x="265702" y="342336"/>
                  <a:pt x="171168" y="342336"/>
                </a:cubicBezTo>
                <a:cubicBezTo>
                  <a:pt x="76635" y="342336"/>
                  <a:pt x="0" y="265702"/>
                  <a:pt x="0" y="171168"/>
                </a:cubicBezTo>
                <a:cubicBezTo>
                  <a:pt x="0" y="76635"/>
                  <a:pt x="76635" y="0"/>
                  <a:pt x="171168" y="0"/>
                </a:cubicBezTo>
                <a:cubicBezTo>
                  <a:pt x="265702" y="0"/>
                  <a:pt x="342337" y="76635"/>
                  <a:pt x="342337" y="171168"/>
                </a:cubicBezTo>
                <a:close/>
              </a:path>
            </a:pathLst>
          </a:custGeom>
          <a:solidFill>
            <a:srgbClr val="0D3976"/>
          </a:solidFill>
          <a:ln w="5978" cap="flat">
            <a:noFill/>
            <a:prstDash val="solid"/>
            <a:miter/>
          </a:ln>
        </p:spPr>
        <p:txBody>
          <a:bodyPr rtlCol="0" anchor="ctr"/>
          <a:lstStyle/>
          <a:p>
            <a:endParaRPr lang="en-GB"/>
          </a:p>
        </p:txBody>
      </p:sp>
      <p:sp>
        <p:nvSpPr>
          <p:cNvPr id="4364" name="BOL_GEEL1">
            <a:extLst>
              <a:ext uri="{FF2B5EF4-FFF2-40B4-BE49-F238E27FC236}">
                <a16:creationId xmlns:a16="http://schemas.microsoft.com/office/drawing/2014/main" id="{08D3822C-3D01-451B-8230-A45A9665B316}"/>
              </a:ext>
            </a:extLst>
          </p:cNvPr>
          <p:cNvSpPr/>
          <p:nvPr/>
        </p:nvSpPr>
        <p:spPr>
          <a:xfrm>
            <a:off x="5254540" y="4252723"/>
            <a:ext cx="414583" cy="414583"/>
          </a:xfrm>
          <a:custGeom>
            <a:avLst/>
            <a:gdLst>
              <a:gd name="connsiteX0" fmla="*/ 414584 w 414583"/>
              <a:gd name="connsiteY0" fmla="*/ 207292 h 414583"/>
              <a:gd name="connsiteX1" fmla="*/ 207292 w 414583"/>
              <a:gd name="connsiteY1" fmla="*/ 414584 h 414583"/>
              <a:gd name="connsiteX2" fmla="*/ 0 w 414583"/>
              <a:gd name="connsiteY2" fmla="*/ 207292 h 414583"/>
              <a:gd name="connsiteX3" fmla="*/ 207292 w 414583"/>
              <a:gd name="connsiteY3" fmla="*/ 0 h 414583"/>
              <a:gd name="connsiteX4" fmla="*/ 414584 w 414583"/>
              <a:gd name="connsiteY4" fmla="*/ 207292 h 41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583" h="414583">
                <a:moveTo>
                  <a:pt x="414584" y="207292"/>
                </a:moveTo>
                <a:cubicBezTo>
                  <a:pt x="414584" y="321776"/>
                  <a:pt x="321776" y="414584"/>
                  <a:pt x="207292" y="414584"/>
                </a:cubicBezTo>
                <a:cubicBezTo>
                  <a:pt x="92808" y="414584"/>
                  <a:pt x="0" y="321776"/>
                  <a:pt x="0" y="207292"/>
                </a:cubicBezTo>
                <a:cubicBezTo>
                  <a:pt x="0" y="92808"/>
                  <a:pt x="92808" y="0"/>
                  <a:pt x="207292" y="0"/>
                </a:cubicBezTo>
                <a:cubicBezTo>
                  <a:pt x="321776" y="0"/>
                  <a:pt x="414584" y="92808"/>
                  <a:pt x="414584" y="207292"/>
                </a:cubicBezTo>
                <a:close/>
              </a:path>
            </a:pathLst>
          </a:custGeom>
          <a:solidFill>
            <a:schemeClr val="accent6"/>
          </a:solidFill>
          <a:ln w="5978" cap="flat">
            <a:noFill/>
            <a:prstDash val="solid"/>
            <a:miter/>
          </a:ln>
        </p:spPr>
        <p:txBody>
          <a:bodyPr rtlCol="0" anchor="ctr"/>
          <a:lstStyle/>
          <a:p>
            <a:endParaRPr lang="en-GB"/>
          </a:p>
        </p:txBody>
      </p:sp>
      <p:sp>
        <p:nvSpPr>
          <p:cNvPr id="4365" name="BOL_GREEN6">
            <a:extLst>
              <a:ext uri="{FF2B5EF4-FFF2-40B4-BE49-F238E27FC236}">
                <a16:creationId xmlns:a16="http://schemas.microsoft.com/office/drawing/2014/main" id="{35F0F5EC-D6A6-4ED3-A60A-98419D31CE23}"/>
              </a:ext>
            </a:extLst>
          </p:cNvPr>
          <p:cNvSpPr/>
          <p:nvPr/>
        </p:nvSpPr>
        <p:spPr>
          <a:xfrm>
            <a:off x="6024976" y="3793703"/>
            <a:ext cx="67582" cy="67582"/>
          </a:xfrm>
          <a:custGeom>
            <a:avLst/>
            <a:gdLst>
              <a:gd name="connsiteX0" fmla="*/ 67582 w 67582"/>
              <a:gd name="connsiteY0" fmla="*/ 33791 h 67582"/>
              <a:gd name="connsiteX1" fmla="*/ 33791 w 67582"/>
              <a:gd name="connsiteY1" fmla="*/ 67582 h 67582"/>
              <a:gd name="connsiteX2" fmla="*/ 0 w 67582"/>
              <a:gd name="connsiteY2" fmla="*/ 33791 h 67582"/>
              <a:gd name="connsiteX3" fmla="*/ 33791 w 67582"/>
              <a:gd name="connsiteY3" fmla="*/ 0 h 67582"/>
              <a:gd name="connsiteX4" fmla="*/ 67582 w 67582"/>
              <a:gd name="connsiteY4" fmla="*/ 33791 h 6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82" h="67582">
                <a:moveTo>
                  <a:pt x="67582" y="33791"/>
                </a:moveTo>
                <a:cubicBezTo>
                  <a:pt x="67582" y="52454"/>
                  <a:pt x="52453" y="67582"/>
                  <a:pt x="33791" y="67582"/>
                </a:cubicBezTo>
                <a:cubicBezTo>
                  <a:pt x="15129" y="67582"/>
                  <a:pt x="0" y="52453"/>
                  <a:pt x="0" y="33791"/>
                </a:cubicBezTo>
                <a:cubicBezTo>
                  <a:pt x="0" y="15129"/>
                  <a:pt x="15129" y="0"/>
                  <a:pt x="33791" y="0"/>
                </a:cubicBezTo>
                <a:cubicBezTo>
                  <a:pt x="52453" y="0"/>
                  <a:pt x="67582" y="15129"/>
                  <a:pt x="67582" y="33791"/>
                </a:cubicBezTo>
                <a:close/>
              </a:path>
            </a:pathLst>
          </a:custGeom>
          <a:solidFill>
            <a:schemeClr val="accent6"/>
          </a:solidFill>
          <a:ln w="5978" cap="flat">
            <a:noFill/>
            <a:prstDash val="solid"/>
            <a:miter/>
          </a:ln>
        </p:spPr>
        <p:txBody>
          <a:bodyPr rtlCol="0" anchor="ctr"/>
          <a:lstStyle/>
          <a:p>
            <a:endParaRPr lang="en-GB"/>
          </a:p>
        </p:txBody>
      </p:sp>
      <p:sp>
        <p:nvSpPr>
          <p:cNvPr id="4366" name="BOL_GREEN5">
            <a:extLst>
              <a:ext uri="{FF2B5EF4-FFF2-40B4-BE49-F238E27FC236}">
                <a16:creationId xmlns:a16="http://schemas.microsoft.com/office/drawing/2014/main" id="{DFAE02C6-0C8D-4927-B954-AD55D95E35EE}"/>
              </a:ext>
            </a:extLst>
          </p:cNvPr>
          <p:cNvSpPr/>
          <p:nvPr/>
        </p:nvSpPr>
        <p:spPr>
          <a:xfrm>
            <a:off x="6348533" y="3395985"/>
            <a:ext cx="73921" cy="73921"/>
          </a:xfrm>
          <a:custGeom>
            <a:avLst/>
            <a:gdLst>
              <a:gd name="connsiteX0" fmla="*/ 73922 w 73921"/>
              <a:gd name="connsiteY0" fmla="*/ 36961 h 73921"/>
              <a:gd name="connsiteX1" fmla="*/ 36961 w 73921"/>
              <a:gd name="connsiteY1" fmla="*/ 73922 h 73921"/>
              <a:gd name="connsiteX2" fmla="*/ 0 w 73921"/>
              <a:gd name="connsiteY2" fmla="*/ 36961 h 73921"/>
              <a:gd name="connsiteX3" fmla="*/ 36961 w 73921"/>
              <a:gd name="connsiteY3" fmla="*/ 0 h 73921"/>
              <a:gd name="connsiteX4" fmla="*/ 73922 w 73921"/>
              <a:gd name="connsiteY4" fmla="*/ 36961 h 7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21" h="73921">
                <a:moveTo>
                  <a:pt x="73922" y="36961"/>
                </a:moveTo>
                <a:cubicBezTo>
                  <a:pt x="73922" y="57374"/>
                  <a:pt x="57373" y="73922"/>
                  <a:pt x="36961" y="73922"/>
                </a:cubicBezTo>
                <a:cubicBezTo>
                  <a:pt x="16548" y="73922"/>
                  <a:pt x="0" y="57374"/>
                  <a:pt x="0" y="36961"/>
                </a:cubicBezTo>
                <a:cubicBezTo>
                  <a:pt x="0" y="16548"/>
                  <a:pt x="16548" y="0"/>
                  <a:pt x="36961" y="0"/>
                </a:cubicBezTo>
                <a:cubicBezTo>
                  <a:pt x="57374" y="0"/>
                  <a:pt x="73922" y="16548"/>
                  <a:pt x="73922" y="36961"/>
                </a:cubicBezTo>
                <a:close/>
              </a:path>
            </a:pathLst>
          </a:custGeom>
          <a:solidFill>
            <a:schemeClr val="accent6"/>
          </a:solidFill>
          <a:ln w="5978" cap="flat">
            <a:noFill/>
            <a:prstDash val="solid"/>
            <a:miter/>
          </a:ln>
        </p:spPr>
        <p:txBody>
          <a:bodyPr rtlCol="0" anchor="ctr"/>
          <a:lstStyle/>
          <a:p>
            <a:endParaRPr lang="en-GB"/>
          </a:p>
        </p:txBody>
      </p:sp>
      <p:sp>
        <p:nvSpPr>
          <p:cNvPr id="4367" name="BOL_GREEN4">
            <a:extLst>
              <a:ext uri="{FF2B5EF4-FFF2-40B4-BE49-F238E27FC236}">
                <a16:creationId xmlns:a16="http://schemas.microsoft.com/office/drawing/2014/main" id="{EDB16FAD-D8F5-4C7D-8D9A-13C0D4D6F28E}"/>
              </a:ext>
            </a:extLst>
          </p:cNvPr>
          <p:cNvSpPr/>
          <p:nvPr/>
        </p:nvSpPr>
        <p:spPr>
          <a:xfrm>
            <a:off x="5513086" y="3269732"/>
            <a:ext cx="138872" cy="138872"/>
          </a:xfrm>
          <a:custGeom>
            <a:avLst/>
            <a:gdLst>
              <a:gd name="connsiteX0" fmla="*/ 138873 w 138872"/>
              <a:gd name="connsiteY0" fmla="*/ 69436 h 138872"/>
              <a:gd name="connsiteX1" fmla="*/ 69436 w 138872"/>
              <a:gd name="connsiteY1" fmla="*/ 138872 h 138872"/>
              <a:gd name="connsiteX2" fmla="*/ 0 w 138872"/>
              <a:gd name="connsiteY2" fmla="*/ 69436 h 138872"/>
              <a:gd name="connsiteX3" fmla="*/ 69436 w 138872"/>
              <a:gd name="connsiteY3" fmla="*/ 0 h 138872"/>
              <a:gd name="connsiteX4" fmla="*/ 138873 w 138872"/>
              <a:gd name="connsiteY4" fmla="*/ 69436 h 138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872" h="138872">
                <a:moveTo>
                  <a:pt x="138873" y="69436"/>
                </a:moveTo>
                <a:cubicBezTo>
                  <a:pt x="138873" y="107785"/>
                  <a:pt x="107785" y="138872"/>
                  <a:pt x="69436" y="138872"/>
                </a:cubicBezTo>
                <a:cubicBezTo>
                  <a:pt x="31088" y="138872"/>
                  <a:pt x="0" y="107785"/>
                  <a:pt x="0" y="69436"/>
                </a:cubicBezTo>
                <a:cubicBezTo>
                  <a:pt x="0" y="31088"/>
                  <a:pt x="31088" y="0"/>
                  <a:pt x="69436" y="0"/>
                </a:cubicBezTo>
                <a:cubicBezTo>
                  <a:pt x="107785" y="0"/>
                  <a:pt x="138873" y="31088"/>
                  <a:pt x="138873" y="69436"/>
                </a:cubicBezTo>
                <a:close/>
              </a:path>
            </a:pathLst>
          </a:custGeom>
          <a:solidFill>
            <a:schemeClr val="accent6"/>
          </a:solidFill>
          <a:ln w="5978" cap="flat">
            <a:noFill/>
            <a:prstDash val="solid"/>
            <a:miter/>
          </a:ln>
        </p:spPr>
        <p:txBody>
          <a:bodyPr rtlCol="0" anchor="ctr"/>
          <a:lstStyle/>
          <a:p>
            <a:endParaRPr lang="en-GB"/>
          </a:p>
        </p:txBody>
      </p:sp>
      <p:sp>
        <p:nvSpPr>
          <p:cNvPr id="4368" name="BOL_GREEN3">
            <a:extLst>
              <a:ext uri="{FF2B5EF4-FFF2-40B4-BE49-F238E27FC236}">
                <a16:creationId xmlns:a16="http://schemas.microsoft.com/office/drawing/2014/main" id="{BF7B275F-5E9D-4914-AA66-A7B7C2322BA4}"/>
              </a:ext>
            </a:extLst>
          </p:cNvPr>
          <p:cNvSpPr/>
          <p:nvPr/>
        </p:nvSpPr>
        <p:spPr>
          <a:xfrm>
            <a:off x="5177029" y="3017106"/>
            <a:ext cx="242338" cy="242338"/>
          </a:xfrm>
          <a:custGeom>
            <a:avLst/>
            <a:gdLst>
              <a:gd name="connsiteX0" fmla="*/ 242339 w 242338"/>
              <a:gd name="connsiteY0" fmla="*/ 121169 h 242338"/>
              <a:gd name="connsiteX1" fmla="*/ 121169 w 242338"/>
              <a:gd name="connsiteY1" fmla="*/ 242339 h 242338"/>
              <a:gd name="connsiteX2" fmla="*/ 0 w 242338"/>
              <a:gd name="connsiteY2" fmla="*/ 121169 h 242338"/>
              <a:gd name="connsiteX3" fmla="*/ 121169 w 242338"/>
              <a:gd name="connsiteY3" fmla="*/ 0 h 242338"/>
              <a:gd name="connsiteX4" fmla="*/ 242339 w 242338"/>
              <a:gd name="connsiteY4" fmla="*/ 121169 h 242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338" h="242338">
                <a:moveTo>
                  <a:pt x="242339" y="121169"/>
                </a:moveTo>
                <a:cubicBezTo>
                  <a:pt x="242339" y="188089"/>
                  <a:pt x="188089" y="242339"/>
                  <a:pt x="121169" y="242339"/>
                </a:cubicBezTo>
                <a:cubicBezTo>
                  <a:pt x="54250" y="242339"/>
                  <a:pt x="0" y="188089"/>
                  <a:pt x="0" y="121169"/>
                </a:cubicBezTo>
                <a:cubicBezTo>
                  <a:pt x="0" y="54249"/>
                  <a:pt x="54250" y="0"/>
                  <a:pt x="121169" y="0"/>
                </a:cubicBezTo>
                <a:cubicBezTo>
                  <a:pt x="188089" y="0"/>
                  <a:pt x="242339" y="54249"/>
                  <a:pt x="242339" y="121169"/>
                </a:cubicBezTo>
                <a:close/>
              </a:path>
            </a:pathLst>
          </a:custGeom>
          <a:solidFill>
            <a:schemeClr val="accent6"/>
          </a:solidFill>
          <a:ln w="5978" cap="flat">
            <a:noFill/>
            <a:prstDash val="solid"/>
            <a:miter/>
          </a:ln>
        </p:spPr>
        <p:txBody>
          <a:bodyPr rtlCol="0" anchor="ctr"/>
          <a:lstStyle/>
          <a:p>
            <a:endParaRPr lang="en-GB"/>
          </a:p>
        </p:txBody>
      </p:sp>
      <p:sp>
        <p:nvSpPr>
          <p:cNvPr id="4369" name="BOL_GREEN2">
            <a:extLst>
              <a:ext uri="{FF2B5EF4-FFF2-40B4-BE49-F238E27FC236}">
                <a16:creationId xmlns:a16="http://schemas.microsoft.com/office/drawing/2014/main" id="{1E0FA5F7-BCCB-4905-9085-FBD772CD285F}"/>
              </a:ext>
            </a:extLst>
          </p:cNvPr>
          <p:cNvSpPr/>
          <p:nvPr/>
        </p:nvSpPr>
        <p:spPr>
          <a:xfrm>
            <a:off x="5833892" y="2254564"/>
            <a:ext cx="359202" cy="359202"/>
          </a:xfrm>
          <a:custGeom>
            <a:avLst/>
            <a:gdLst>
              <a:gd name="connsiteX0" fmla="*/ 359202 w 359202"/>
              <a:gd name="connsiteY0" fmla="*/ 179601 h 359202"/>
              <a:gd name="connsiteX1" fmla="*/ 179601 w 359202"/>
              <a:gd name="connsiteY1" fmla="*/ 359202 h 359202"/>
              <a:gd name="connsiteX2" fmla="*/ 0 w 359202"/>
              <a:gd name="connsiteY2" fmla="*/ 179601 h 359202"/>
              <a:gd name="connsiteX3" fmla="*/ 179601 w 359202"/>
              <a:gd name="connsiteY3" fmla="*/ 0 h 359202"/>
              <a:gd name="connsiteX4" fmla="*/ 359202 w 359202"/>
              <a:gd name="connsiteY4" fmla="*/ 179601 h 35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02" h="359202">
                <a:moveTo>
                  <a:pt x="359202" y="179601"/>
                </a:moveTo>
                <a:cubicBezTo>
                  <a:pt x="359202" y="278792"/>
                  <a:pt x="278792" y="359202"/>
                  <a:pt x="179601" y="359202"/>
                </a:cubicBezTo>
                <a:cubicBezTo>
                  <a:pt x="80410" y="359202"/>
                  <a:pt x="0" y="278792"/>
                  <a:pt x="0" y="179601"/>
                </a:cubicBezTo>
                <a:cubicBezTo>
                  <a:pt x="0" y="80410"/>
                  <a:pt x="80410" y="0"/>
                  <a:pt x="179601" y="0"/>
                </a:cubicBezTo>
                <a:cubicBezTo>
                  <a:pt x="278792" y="0"/>
                  <a:pt x="359202" y="80410"/>
                  <a:pt x="359202" y="179601"/>
                </a:cubicBezTo>
                <a:close/>
              </a:path>
            </a:pathLst>
          </a:custGeom>
          <a:solidFill>
            <a:schemeClr val="accent6"/>
          </a:solidFill>
          <a:ln w="5978" cap="flat">
            <a:noFill/>
            <a:prstDash val="solid"/>
            <a:miter/>
          </a:ln>
        </p:spPr>
        <p:txBody>
          <a:bodyPr rtlCol="0" anchor="ctr"/>
          <a:lstStyle/>
          <a:p>
            <a:endParaRPr lang="en-GB"/>
          </a:p>
        </p:txBody>
      </p:sp>
      <p:sp>
        <p:nvSpPr>
          <p:cNvPr id="4370" name="BOL_GREEN1">
            <a:extLst>
              <a:ext uri="{FF2B5EF4-FFF2-40B4-BE49-F238E27FC236}">
                <a16:creationId xmlns:a16="http://schemas.microsoft.com/office/drawing/2014/main" id="{139A82B0-D832-45C8-B6E9-F42CE7D83AD8}"/>
              </a:ext>
            </a:extLst>
          </p:cNvPr>
          <p:cNvSpPr/>
          <p:nvPr/>
        </p:nvSpPr>
        <p:spPr>
          <a:xfrm>
            <a:off x="6501460" y="2691934"/>
            <a:ext cx="489581" cy="489581"/>
          </a:xfrm>
          <a:custGeom>
            <a:avLst/>
            <a:gdLst>
              <a:gd name="connsiteX0" fmla="*/ 489582 w 489581"/>
              <a:gd name="connsiteY0" fmla="*/ 244791 h 489581"/>
              <a:gd name="connsiteX1" fmla="*/ 244791 w 489581"/>
              <a:gd name="connsiteY1" fmla="*/ 489582 h 489581"/>
              <a:gd name="connsiteX2" fmla="*/ 0 w 489581"/>
              <a:gd name="connsiteY2" fmla="*/ 244791 h 489581"/>
              <a:gd name="connsiteX3" fmla="*/ 244791 w 489581"/>
              <a:gd name="connsiteY3" fmla="*/ 0 h 489581"/>
              <a:gd name="connsiteX4" fmla="*/ 489582 w 489581"/>
              <a:gd name="connsiteY4" fmla="*/ 244791 h 489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581" h="489581">
                <a:moveTo>
                  <a:pt x="489582" y="244791"/>
                </a:moveTo>
                <a:cubicBezTo>
                  <a:pt x="489582" y="379985"/>
                  <a:pt x="379985" y="489582"/>
                  <a:pt x="244791" y="489582"/>
                </a:cubicBezTo>
                <a:cubicBezTo>
                  <a:pt x="109596" y="489582"/>
                  <a:pt x="0" y="379985"/>
                  <a:pt x="0" y="244791"/>
                </a:cubicBezTo>
                <a:cubicBezTo>
                  <a:pt x="0" y="109597"/>
                  <a:pt x="109597" y="0"/>
                  <a:pt x="244791" y="0"/>
                </a:cubicBezTo>
                <a:cubicBezTo>
                  <a:pt x="379985" y="0"/>
                  <a:pt x="489582" y="109597"/>
                  <a:pt x="489582" y="244791"/>
                </a:cubicBezTo>
                <a:close/>
              </a:path>
            </a:pathLst>
          </a:custGeom>
          <a:solidFill>
            <a:schemeClr val="accent6"/>
          </a:solidFill>
          <a:ln w="5978" cap="flat">
            <a:noFill/>
            <a:prstDash val="solid"/>
            <a:miter/>
          </a:ln>
        </p:spPr>
        <p:txBody>
          <a:bodyPr rtlCol="0" anchor="ctr"/>
          <a:lstStyle/>
          <a:p>
            <a:endParaRPr lang="en-GB"/>
          </a:p>
        </p:txBody>
      </p:sp>
      <p:sp>
        <p:nvSpPr>
          <p:cNvPr id="4306" name="Cirkel_midden_KLEIN">
            <a:extLst>
              <a:ext uri="{FF2B5EF4-FFF2-40B4-BE49-F238E27FC236}">
                <a16:creationId xmlns:a16="http://schemas.microsoft.com/office/drawing/2014/main" id="{3D2CD7B7-B635-4F9C-B3BC-2CB4AF525BF5}"/>
              </a:ext>
            </a:extLst>
          </p:cNvPr>
          <p:cNvSpPr/>
          <p:nvPr/>
        </p:nvSpPr>
        <p:spPr>
          <a:xfrm>
            <a:off x="5307409" y="2843426"/>
            <a:ext cx="1573528" cy="1573527"/>
          </a:xfrm>
          <a:custGeom>
            <a:avLst/>
            <a:gdLst>
              <a:gd name="connsiteX0" fmla="*/ 1573528 w 1573528"/>
              <a:gd name="connsiteY0" fmla="*/ 786764 h 1573527"/>
              <a:gd name="connsiteX1" fmla="*/ 786764 w 1573528"/>
              <a:gd name="connsiteY1" fmla="*/ 1573528 h 1573527"/>
              <a:gd name="connsiteX2" fmla="*/ 0 w 1573528"/>
              <a:gd name="connsiteY2" fmla="*/ 786764 h 1573527"/>
              <a:gd name="connsiteX3" fmla="*/ 786764 w 1573528"/>
              <a:gd name="connsiteY3" fmla="*/ 0 h 1573527"/>
              <a:gd name="connsiteX4" fmla="*/ 1573528 w 1573528"/>
              <a:gd name="connsiteY4" fmla="*/ 786764 h 1573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528" h="1573527">
                <a:moveTo>
                  <a:pt x="1573528" y="786764"/>
                </a:moveTo>
                <a:cubicBezTo>
                  <a:pt x="1573528" y="1221282"/>
                  <a:pt x="1221282" y="1573528"/>
                  <a:pt x="786764" y="1573528"/>
                </a:cubicBezTo>
                <a:cubicBezTo>
                  <a:pt x="352246" y="1573528"/>
                  <a:pt x="0" y="1221282"/>
                  <a:pt x="0" y="786764"/>
                </a:cubicBezTo>
                <a:cubicBezTo>
                  <a:pt x="0" y="352246"/>
                  <a:pt x="352246" y="0"/>
                  <a:pt x="786764" y="0"/>
                </a:cubicBezTo>
                <a:cubicBezTo>
                  <a:pt x="1221282" y="0"/>
                  <a:pt x="1573528" y="352246"/>
                  <a:pt x="1573528" y="786764"/>
                </a:cubicBezTo>
                <a:close/>
              </a:path>
            </a:pathLst>
          </a:custGeom>
          <a:solidFill>
            <a:schemeClr val="tx1">
              <a:alpha val="25000"/>
            </a:schemeClr>
          </a:solidFill>
          <a:ln w="5978" cap="flat">
            <a:noFill/>
            <a:prstDash val="solid"/>
            <a:miter/>
          </a:ln>
        </p:spPr>
        <p:txBody>
          <a:bodyPr rtlCol="0" anchor="ctr"/>
          <a:lstStyle/>
          <a:p>
            <a:endParaRPr lang="en-GB"/>
          </a:p>
        </p:txBody>
      </p:sp>
      <p:grpSp>
        <p:nvGrpSpPr>
          <p:cNvPr id="4371" name="ICOON4_ORANJE">
            <a:extLst>
              <a:ext uri="{FF2B5EF4-FFF2-40B4-BE49-F238E27FC236}">
                <a16:creationId xmlns:a16="http://schemas.microsoft.com/office/drawing/2014/main" id="{6D0E6EEA-BC15-4843-B4AA-69D4ECD52532}"/>
              </a:ext>
            </a:extLst>
          </p:cNvPr>
          <p:cNvGrpSpPr/>
          <p:nvPr/>
        </p:nvGrpSpPr>
        <p:grpSpPr>
          <a:xfrm>
            <a:off x="760730" y="1469736"/>
            <a:ext cx="281093" cy="281093"/>
            <a:chOff x="714895" y="1039430"/>
            <a:chExt cx="281093" cy="281093"/>
          </a:xfrm>
          <a:solidFill>
            <a:schemeClr val="tx2">
              <a:alpha val="40000"/>
            </a:schemeClr>
          </a:solidFill>
          <a:effectLst>
            <a:outerShdw blurRad="190500" algn="ctr" rotWithShape="0">
              <a:prstClr val="black">
                <a:alpha val="50000"/>
              </a:prstClr>
            </a:outerShdw>
          </a:effectLst>
        </p:grpSpPr>
        <p:sp>
          <p:nvSpPr>
            <p:cNvPr id="4372" name="Vrije vorm: vorm 4371">
              <a:extLst>
                <a:ext uri="{FF2B5EF4-FFF2-40B4-BE49-F238E27FC236}">
                  <a16:creationId xmlns:a16="http://schemas.microsoft.com/office/drawing/2014/main" id="{15ABA4C4-D952-4536-849B-4D60817EEC51}"/>
                </a:ext>
              </a:extLst>
            </p:cNvPr>
            <p:cNvSpPr/>
            <p:nvPr/>
          </p:nvSpPr>
          <p:spPr>
            <a:xfrm>
              <a:off x="714895" y="1039430"/>
              <a:ext cx="281093" cy="281093"/>
            </a:xfrm>
            <a:custGeom>
              <a:avLst/>
              <a:gdLst>
                <a:gd name="connsiteX0" fmla="*/ 140547 w 281093"/>
                <a:gd name="connsiteY0" fmla="*/ 25538 h 281093"/>
                <a:gd name="connsiteX1" fmla="*/ 255556 w 281093"/>
                <a:gd name="connsiteY1" fmla="*/ 140547 h 281093"/>
                <a:gd name="connsiteX2" fmla="*/ 140547 w 281093"/>
                <a:gd name="connsiteY2" fmla="*/ 255556 h 281093"/>
                <a:gd name="connsiteX3" fmla="*/ 25538 w 281093"/>
                <a:gd name="connsiteY3" fmla="*/ 140547 h 281093"/>
                <a:gd name="connsiteX4" fmla="*/ 140547 w 281093"/>
                <a:gd name="connsiteY4" fmla="*/ 25538 h 281093"/>
                <a:gd name="connsiteX5" fmla="*/ 140547 w 281093"/>
                <a:gd name="connsiteY5" fmla="*/ 0 h 281093"/>
                <a:gd name="connsiteX6" fmla="*/ 0 w 281093"/>
                <a:gd name="connsiteY6" fmla="*/ 140547 h 281093"/>
                <a:gd name="connsiteX7" fmla="*/ 140547 w 281093"/>
                <a:gd name="connsiteY7" fmla="*/ 281094 h 281093"/>
                <a:gd name="connsiteX8" fmla="*/ 281094 w 281093"/>
                <a:gd name="connsiteY8" fmla="*/ 140547 h 281093"/>
                <a:gd name="connsiteX9" fmla="*/ 140547 w 281093"/>
                <a:gd name="connsiteY9" fmla="*/ 0 h 281093"/>
                <a:gd name="connsiteX10" fmla="*/ 140547 w 281093"/>
                <a:gd name="connsiteY10" fmla="*/ 0 h 28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1093" h="281093">
                  <a:moveTo>
                    <a:pt x="140547" y="25538"/>
                  </a:moveTo>
                  <a:cubicBezTo>
                    <a:pt x="203943" y="25538"/>
                    <a:pt x="255556" y="77151"/>
                    <a:pt x="255556" y="140547"/>
                  </a:cubicBezTo>
                  <a:cubicBezTo>
                    <a:pt x="255556" y="203943"/>
                    <a:pt x="203943" y="255556"/>
                    <a:pt x="140547" y="255556"/>
                  </a:cubicBezTo>
                  <a:cubicBezTo>
                    <a:pt x="77151" y="255556"/>
                    <a:pt x="25538" y="203943"/>
                    <a:pt x="25538" y="140547"/>
                  </a:cubicBezTo>
                  <a:cubicBezTo>
                    <a:pt x="25538" y="77151"/>
                    <a:pt x="77092" y="25538"/>
                    <a:pt x="140547" y="25538"/>
                  </a:cubicBezTo>
                  <a:moveTo>
                    <a:pt x="140547" y="0"/>
                  </a:moveTo>
                  <a:cubicBezTo>
                    <a:pt x="62917" y="0"/>
                    <a:pt x="0" y="62917"/>
                    <a:pt x="0" y="140547"/>
                  </a:cubicBezTo>
                  <a:cubicBezTo>
                    <a:pt x="0" y="218177"/>
                    <a:pt x="62917" y="281094"/>
                    <a:pt x="140547" y="281094"/>
                  </a:cubicBezTo>
                  <a:cubicBezTo>
                    <a:pt x="218177" y="281094"/>
                    <a:pt x="281094" y="218177"/>
                    <a:pt x="281094" y="140547"/>
                  </a:cubicBezTo>
                  <a:cubicBezTo>
                    <a:pt x="281094" y="62917"/>
                    <a:pt x="218177" y="0"/>
                    <a:pt x="140547" y="0"/>
                  </a:cubicBezTo>
                  <a:lnTo>
                    <a:pt x="140547" y="0"/>
                  </a:lnTo>
                  <a:close/>
                </a:path>
              </a:pathLst>
            </a:custGeom>
            <a:grpFill/>
            <a:ln w="5978" cap="flat">
              <a:noFill/>
              <a:prstDash val="solid"/>
              <a:miter/>
            </a:ln>
          </p:spPr>
          <p:txBody>
            <a:bodyPr rtlCol="0" anchor="ctr"/>
            <a:lstStyle/>
            <a:p>
              <a:endParaRPr lang="en-GB">
                <a:solidFill>
                  <a:schemeClr val="tx2">
                    <a:alpha val="40000"/>
                  </a:schemeClr>
                </a:solidFill>
              </a:endParaRPr>
            </a:p>
          </p:txBody>
        </p:sp>
        <p:grpSp>
          <p:nvGrpSpPr>
            <p:cNvPr id="4373" name="Graphic 3">
              <a:extLst>
                <a:ext uri="{FF2B5EF4-FFF2-40B4-BE49-F238E27FC236}">
                  <a16:creationId xmlns:a16="http://schemas.microsoft.com/office/drawing/2014/main" id="{65255C08-3435-411A-BF34-5B1ADD2305A2}"/>
                </a:ext>
              </a:extLst>
            </p:cNvPr>
            <p:cNvGrpSpPr/>
            <p:nvPr/>
          </p:nvGrpSpPr>
          <p:grpSpPr>
            <a:xfrm>
              <a:off x="763099" y="1091522"/>
              <a:ext cx="168644" cy="166021"/>
              <a:chOff x="763099" y="1091522"/>
              <a:chExt cx="168644" cy="166021"/>
            </a:xfrm>
            <a:grpFill/>
          </p:grpSpPr>
          <p:sp>
            <p:nvSpPr>
              <p:cNvPr id="4374" name="Vrije vorm: vorm 4373">
                <a:extLst>
                  <a:ext uri="{FF2B5EF4-FFF2-40B4-BE49-F238E27FC236}">
                    <a16:creationId xmlns:a16="http://schemas.microsoft.com/office/drawing/2014/main" id="{EF39F118-29B8-4A7D-9184-7663F0D323B5}"/>
                  </a:ext>
                </a:extLst>
              </p:cNvPr>
              <p:cNvSpPr/>
              <p:nvPr/>
            </p:nvSpPr>
            <p:spPr>
              <a:xfrm>
                <a:off x="775360" y="1126595"/>
                <a:ext cx="62259" cy="80713"/>
              </a:xfrm>
              <a:custGeom>
                <a:avLst/>
                <a:gdLst>
                  <a:gd name="connsiteX0" fmla="*/ 21710 w 62259"/>
                  <a:gd name="connsiteY0" fmla="*/ 7091 h 80713"/>
                  <a:gd name="connsiteX1" fmla="*/ 5383 w 62259"/>
                  <a:gd name="connsiteY1" fmla="*/ 65642 h 80713"/>
                  <a:gd name="connsiteX2" fmla="*/ 32655 w 62259"/>
                  <a:gd name="connsiteY2" fmla="*/ 80714 h 80713"/>
                  <a:gd name="connsiteX3" fmla="*/ 33612 w 62259"/>
                  <a:gd name="connsiteY3" fmla="*/ 78860 h 80713"/>
                  <a:gd name="connsiteX4" fmla="*/ 41387 w 62259"/>
                  <a:gd name="connsiteY4" fmla="*/ 73597 h 80713"/>
                  <a:gd name="connsiteX5" fmla="*/ 43899 w 62259"/>
                  <a:gd name="connsiteY5" fmla="*/ 73358 h 80713"/>
                  <a:gd name="connsiteX6" fmla="*/ 46111 w 62259"/>
                  <a:gd name="connsiteY6" fmla="*/ 73597 h 80713"/>
                  <a:gd name="connsiteX7" fmla="*/ 62259 w 62259"/>
                  <a:gd name="connsiteY7" fmla="*/ 22342 h 80713"/>
                  <a:gd name="connsiteX8" fmla="*/ 55561 w 62259"/>
                  <a:gd name="connsiteY8" fmla="*/ 13849 h 80713"/>
                  <a:gd name="connsiteX9" fmla="*/ 55322 w 62259"/>
                  <a:gd name="connsiteY9" fmla="*/ 11337 h 80713"/>
                  <a:gd name="connsiteX10" fmla="*/ 21949 w 62259"/>
                  <a:gd name="connsiteY10" fmla="*/ 6912 h 80713"/>
                  <a:gd name="connsiteX11" fmla="*/ 28289 w 62259"/>
                  <a:gd name="connsiteY11" fmla="*/ 34 h 80713"/>
                  <a:gd name="connsiteX12" fmla="*/ 5084 w 62259"/>
                  <a:gd name="connsiteY12" fmla="*/ 1529 h 80713"/>
                  <a:gd name="connsiteX13" fmla="*/ 0 w 62259"/>
                  <a:gd name="connsiteY13" fmla="*/ 9424 h 80713"/>
                  <a:gd name="connsiteX14" fmla="*/ 21710 w 62259"/>
                  <a:gd name="connsiteY14" fmla="*/ 7091 h 8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259" h="80713">
                    <a:moveTo>
                      <a:pt x="21710" y="7091"/>
                    </a:moveTo>
                    <a:cubicBezTo>
                      <a:pt x="8732" y="23000"/>
                      <a:pt x="2332" y="44052"/>
                      <a:pt x="5383" y="65642"/>
                    </a:cubicBezTo>
                    <a:cubicBezTo>
                      <a:pt x="13457" y="72221"/>
                      <a:pt x="22727" y="77365"/>
                      <a:pt x="32655" y="80714"/>
                    </a:cubicBezTo>
                    <a:cubicBezTo>
                      <a:pt x="32954" y="80116"/>
                      <a:pt x="33253" y="79458"/>
                      <a:pt x="33612" y="78860"/>
                    </a:cubicBezTo>
                    <a:cubicBezTo>
                      <a:pt x="35406" y="76109"/>
                      <a:pt x="38157" y="74255"/>
                      <a:pt x="41387" y="73597"/>
                    </a:cubicBezTo>
                    <a:cubicBezTo>
                      <a:pt x="42224" y="73417"/>
                      <a:pt x="43061" y="73358"/>
                      <a:pt x="43899" y="73358"/>
                    </a:cubicBezTo>
                    <a:cubicBezTo>
                      <a:pt x="44676" y="73358"/>
                      <a:pt x="45394" y="73417"/>
                      <a:pt x="46111" y="73597"/>
                    </a:cubicBezTo>
                    <a:cubicBezTo>
                      <a:pt x="54544" y="57568"/>
                      <a:pt x="60046" y="40165"/>
                      <a:pt x="62259" y="22342"/>
                    </a:cubicBezTo>
                    <a:cubicBezTo>
                      <a:pt x="58910" y="20727"/>
                      <a:pt x="56338" y="17677"/>
                      <a:pt x="55561" y="13849"/>
                    </a:cubicBezTo>
                    <a:cubicBezTo>
                      <a:pt x="55381" y="13012"/>
                      <a:pt x="55322" y="12175"/>
                      <a:pt x="55322" y="11337"/>
                    </a:cubicBezTo>
                    <a:cubicBezTo>
                      <a:pt x="44497" y="8467"/>
                      <a:pt x="33313" y="6972"/>
                      <a:pt x="21949" y="6912"/>
                    </a:cubicBezTo>
                    <a:lnTo>
                      <a:pt x="28289" y="34"/>
                    </a:lnTo>
                    <a:cubicBezTo>
                      <a:pt x="20514" y="-146"/>
                      <a:pt x="12799" y="393"/>
                      <a:pt x="5084" y="1529"/>
                    </a:cubicBezTo>
                    <a:cubicBezTo>
                      <a:pt x="3230" y="4041"/>
                      <a:pt x="1555" y="6672"/>
                      <a:pt x="0" y="9424"/>
                    </a:cubicBezTo>
                    <a:cubicBezTo>
                      <a:pt x="7476" y="7749"/>
                      <a:pt x="12739" y="6852"/>
                      <a:pt x="21710" y="7091"/>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75" name="Vrije vorm: vorm 4374">
                <a:extLst>
                  <a:ext uri="{FF2B5EF4-FFF2-40B4-BE49-F238E27FC236}">
                    <a16:creationId xmlns:a16="http://schemas.microsoft.com/office/drawing/2014/main" id="{DB5434C7-D840-4A5D-A14A-4C13797D33FC}"/>
                  </a:ext>
                </a:extLst>
              </p:cNvPr>
              <p:cNvSpPr/>
              <p:nvPr/>
            </p:nvSpPr>
            <p:spPr>
              <a:xfrm>
                <a:off x="803649" y="1108208"/>
                <a:ext cx="35106" cy="22786"/>
              </a:xfrm>
              <a:custGeom>
                <a:avLst/>
                <a:gdLst>
                  <a:gd name="connsiteX0" fmla="*/ 35107 w 35106"/>
                  <a:gd name="connsiteY0" fmla="*/ 18301 h 22786"/>
                  <a:gd name="connsiteX1" fmla="*/ 33492 w 35106"/>
                  <a:gd name="connsiteY1" fmla="*/ 0 h 22786"/>
                  <a:gd name="connsiteX2" fmla="*/ 0 w 35106"/>
                  <a:gd name="connsiteY2" fmla="*/ 18421 h 22786"/>
                  <a:gd name="connsiteX3" fmla="*/ 29306 w 35106"/>
                  <a:gd name="connsiteY3" fmla="*/ 22787 h 22786"/>
                  <a:gd name="connsiteX4" fmla="*/ 35107 w 35106"/>
                  <a:gd name="connsiteY4" fmla="*/ 18301 h 22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6" h="22786">
                    <a:moveTo>
                      <a:pt x="35107" y="18301"/>
                    </a:moveTo>
                    <a:cubicBezTo>
                      <a:pt x="34927" y="12141"/>
                      <a:pt x="34389" y="5981"/>
                      <a:pt x="33492" y="0"/>
                    </a:cubicBezTo>
                    <a:cubicBezTo>
                      <a:pt x="20514" y="3289"/>
                      <a:pt x="9091" y="9749"/>
                      <a:pt x="0" y="18421"/>
                    </a:cubicBezTo>
                    <a:cubicBezTo>
                      <a:pt x="9928" y="18839"/>
                      <a:pt x="19736" y="20275"/>
                      <a:pt x="29306" y="22787"/>
                    </a:cubicBezTo>
                    <a:cubicBezTo>
                      <a:pt x="30741" y="20693"/>
                      <a:pt x="32774" y="19138"/>
                      <a:pt x="35107" y="18301"/>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76" name="Vrije vorm: vorm 4375">
                <a:extLst>
                  <a:ext uri="{FF2B5EF4-FFF2-40B4-BE49-F238E27FC236}">
                    <a16:creationId xmlns:a16="http://schemas.microsoft.com/office/drawing/2014/main" id="{F834D8A1-FCA1-4151-BB45-8FF65365F9A9}"/>
                  </a:ext>
                </a:extLst>
              </p:cNvPr>
              <p:cNvSpPr/>
              <p:nvPr/>
            </p:nvSpPr>
            <p:spPr>
              <a:xfrm>
                <a:off x="828110" y="1145588"/>
                <a:ext cx="66625" cy="66565"/>
              </a:xfrm>
              <a:custGeom>
                <a:avLst/>
                <a:gdLst>
                  <a:gd name="connsiteX0" fmla="*/ 66625 w 66625"/>
                  <a:gd name="connsiteY0" fmla="*/ 30980 h 66565"/>
                  <a:gd name="connsiteX1" fmla="*/ 24401 w 66625"/>
                  <a:gd name="connsiteY1" fmla="*/ 0 h 66565"/>
                  <a:gd name="connsiteX2" fmla="*/ 17404 w 66625"/>
                  <a:gd name="connsiteY2" fmla="*/ 4306 h 66565"/>
                  <a:gd name="connsiteX3" fmla="*/ 16925 w 66625"/>
                  <a:gd name="connsiteY3" fmla="*/ 4366 h 66565"/>
                  <a:gd name="connsiteX4" fmla="*/ 0 w 66625"/>
                  <a:gd name="connsiteY4" fmla="*/ 58192 h 66565"/>
                  <a:gd name="connsiteX5" fmla="*/ 3170 w 66625"/>
                  <a:gd name="connsiteY5" fmla="*/ 64113 h 66565"/>
                  <a:gd name="connsiteX6" fmla="*/ 3409 w 66625"/>
                  <a:gd name="connsiteY6" fmla="*/ 66386 h 66565"/>
                  <a:gd name="connsiteX7" fmla="*/ 8792 w 66625"/>
                  <a:gd name="connsiteY7" fmla="*/ 66565 h 66565"/>
                  <a:gd name="connsiteX8" fmla="*/ 26016 w 66625"/>
                  <a:gd name="connsiteY8" fmla="*/ 64891 h 66565"/>
                  <a:gd name="connsiteX9" fmla="*/ 66326 w 66625"/>
                  <a:gd name="connsiteY9" fmla="*/ 44915 h 66565"/>
                  <a:gd name="connsiteX10" fmla="*/ 64532 w 66625"/>
                  <a:gd name="connsiteY10" fmla="*/ 40669 h 66565"/>
                  <a:gd name="connsiteX11" fmla="*/ 66266 w 66625"/>
                  <a:gd name="connsiteY11" fmla="*/ 31459 h 66565"/>
                  <a:gd name="connsiteX12" fmla="*/ 66625 w 66625"/>
                  <a:gd name="connsiteY12" fmla="*/ 30980 h 6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25" h="66565">
                    <a:moveTo>
                      <a:pt x="66625" y="30980"/>
                    </a:moveTo>
                    <a:cubicBezTo>
                      <a:pt x="54903" y="17942"/>
                      <a:pt x="40549" y="7416"/>
                      <a:pt x="24401" y="0"/>
                    </a:cubicBezTo>
                    <a:cubicBezTo>
                      <a:pt x="22607" y="2213"/>
                      <a:pt x="20215" y="3768"/>
                      <a:pt x="17404" y="4306"/>
                    </a:cubicBezTo>
                    <a:cubicBezTo>
                      <a:pt x="17224" y="4366"/>
                      <a:pt x="17105" y="4306"/>
                      <a:pt x="16925" y="4366"/>
                    </a:cubicBezTo>
                    <a:cubicBezTo>
                      <a:pt x="14533" y="23026"/>
                      <a:pt x="8792" y="41387"/>
                      <a:pt x="0" y="58192"/>
                    </a:cubicBezTo>
                    <a:cubicBezTo>
                      <a:pt x="1555" y="59807"/>
                      <a:pt x="2691" y="61841"/>
                      <a:pt x="3170" y="64113"/>
                    </a:cubicBezTo>
                    <a:cubicBezTo>
                      <a:pt x="3349" y="64891"/>
                      <a:pt x="3409" y="65609"/>
                      <a:pt x="3409" y="66386"/>
                    </a:cubicBezTo>
                    <a:cubicBezTo>
                      <a:pt x="5203" y="66506"/>
                      <a:pt x="6997" y="66565"/>
                      <a:pt x="8792" y="66565"/>
                    </a:cubicBezTo>
                    <a:cubicBezTo>
                      <a:pt x="14593" y="66565"/>
                      <a:pt x="20394" y="65967"/>
                      <a:pt x="26016" y="64891"/>
                    </a:cubicBezTo>
                    <a:cubicBezTo>
                      <a:pt x="41207" y="61841"/>
                      <a:pt x="54963" y="54903"/>
                      <a:pt x="66326" y="44915"/>
                    </a:cubicBezTo>
                    <a:cubicBezTo>
                      <a:pt x="65489" y="43659"/>
                      <a:pt x="64831" y="42224"/>
                      <a:pt x="64532" y="40669"/>
                    </a:cubicBezTo>
                    <a:cubicBezTo>
                      <a:pt x="63874" y="37439"/>
                      <a:pt x="64472" y="34210"/>
                      <a:pt x="66266" y="31459"/>
                    </a:cubicBezTo>
                    <a:cubicBezTo>
                      <a:pt x="66386" y="31279"/>
                      <a:pt x="66506" y="31160"/>
                      <a:pt x="66625" y="30980"/>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77" name="Vrije vorm: vorm 4376">
                <a:extLst>
                  <a:ext uri="{FF2B5EF4-FFF2-40B4-BE49-F238E27FC236}">
                    <a16:creationId xmlns:a16="http://schemas.microsoft.com/office/drawing/2014/main" id="{D63C0CEC-9FC7-41BF-9687-ACC1DDA395C1}"/>
                  </a:ext>
                </a:extLst>
              </p:cNvPr>
              <p:cNvSpPr/>
              <p:nvPr/>
            </p:nvSpPr>
            <p:spPr>
              <a:xfrm>
                <a:off x="914651" y="1153781"/>
                <a:ext cx="17093" cy="58312"/>
              </a:xfrm>
              <a:custGeom>
                <a:avLst/>
                <a:gdLst>
                  <a:gd name="connsiteX0" fmla="*/ 10646 w 17093"/>
                  <a:gd name="connsiteY0" fmla="*/ 58312 h 58312"/>
                  <a:gd name="connsiteX1" fmla="*/ 15490 w 17093"/>
                  <a:gd name="connsiteY1" fmla="*/ 12380 h 58312"/>
                  <a:gd name="connsiteX2" fmla="*/ 11722 w 17093"/>
                  <a:gd name="connsiteY2" fmla="*/ 0 h 58312"/>
                  <a:gd name="connsiteX3" fmla="*/ 718 w 17093"/>
                  <a:gd name="connsiteY3" fmla="*/ 23923 h 58312"/>
                  <a:gd name="connsiteX4" fmla="*/ 2033 w 17093"/>
                  <a:gd name="connsiteY4" fmla="*/ 27392 h 58312"/>
                  <a:gd name="connsiteX5" fmla="*/ 0 w 17093"/>
                  <a:gd name="connsiteY5" fmla="*/ 36901 h 58312"/>
                  <a:gd name="connsiteX6" fmla="*/ 10646 w 17093"/>
                  <a:gd name="connsiteY6" fmla="*/ 58312 h 5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93" h="58312">
                    <a:moveTo>
                      <a:pt x="10646" y="58312"/>
                    </a:moveTo>
                    <a:cubicBezTo>
                      <a:pt x="16806" y="44377"/>
                      <a:pt x="18839" y="28468"/>
                      <a:pt x="15490" y="12380"/>
                    </a:cubicBezTo>
                    <a:cubicBezTo>
                      <a:pt x="14593" y="8074"/>
                      <a:pt x="13277" y="4007"/>
                      <a:pt x="11722" y="0"/>
                    </a:cubicBezTo>
                    <a:cubicBezTo>
                      <a:pt x="9270" y="8433"/>
                      <a:pt x="5562" y="16567"/>
                      <a:pt x="718" y="23923"/>
                    </a:cubicBezTo>
                    <a:cubicBezTo>
                      <a:pt x="1316" y="24999"/>
                      <a:pt x="1794" y="26136"/>
                      <a:pt x="2033" y="27392"/>
                    </a:cubicBezTo>
                    <a:cubicBezTo>
                      <a:pt x="2751" y="30861"/>
                      <a:pt x="1914" y="34210"/>
                      <a:pt x="0" y="36901"/>
                    </a:cubicBezTo>
                    <a:cubicBezTo>
                      <a:pt x="4187" y="43719"/>
                      <a:pt x="7775" y="50896"/>
                      <a:pt x="10646" y="58312"/>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78" name="Vrije vorm: vorm 4377">
                <a:extLst>
                  <a:ext uri="{FF2B5EF4-FFF2-40B4-BE49-F238E27FC236}">
                    <a16:creationId xmlns:a16="http://schemas.microsoft.com/office/drawing/2014/main" id="{BD571E01-8A90-4882-A028-38C587ECB744}"/>
                  </a:ext>
                </a:extLst>
              </p:cNvPr>
              <p:cNvSpPr/>
              <p:nvPr/>
            </p:nvSpPr>
            <p:spPr>
              <a:xfrm>
                <a:off x="844497" y="1105840"/>
                <a:ext cx="76852" cy="66900"/>
              </a:xfrm>
              <a:custGeom>
                <a:avLst/>
                <a:gdLst>
                  <a:gd name="connsiteX0" fmla="*/ 10586 w 76852"/>
                  <a:gd name="connsiteY0" fmla="*/ 29580 h 66900"/>
                  <a:gd name="connsiteX1" fmla="*/ 10765 w 76852"/>
                  <a:gd name="connsiteY1" fmla="*/ 32989 h 66900"/>
                  <a:gd name="connsiteX2" fmla="*/ 56219 w 76852"/>
                  <a:gd name="connsiteY2" fmla="*/ 66362 h 66900"/>
                  <a:gd name="connsiteX3" fmla="*/ 57654 w 76852"/>
                  <a:gd name="connsiteY3" fmla="*/ 65943 h 66900"/>
                  <a:gd name="connsiteX4" fmla="*/ 60166 w 76852"/>
                  <a:gd name="connsiteY4" fmla="*/ 65704 h 66900"/>
                  <a:gd name="connsiteX5" fmla="*/ 65309 w 76852"/>
                  <a:gd name="connsiteY5" fmla="*/ 66900 h 66900"/>
                  <a:gd name="connsiteX6" fmla="*/ 76852 w 76852"/>
                  <a:gd name="connsiteY6" fmla="*/ 37654 h 66900"/>
                  <a:gd name="connsiteX7" fmla="*/ 0 w 76852"/>
                  <a:gd name="connsiteY7" fmla="*/ 873 h 66900"/>
                  <a:gd name="connsiteX8" fmla="*/ 1734 w 76852"/>
                  <a:gd name="connsiteY8" fmla="*/ 20310 h 66900"/>
                  <a:gd name="connsiteX9" fmla="*/ 10586 w 76852"/>
                  <a:gd name="connsiteY9" fmla="*/ 29580 h 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852" h="66900">
                    <a:moveTo>
                      <a:pt x="10586" y="29580"/>
                    </a:moveTo>
                    <a:cubicBezTo>
                      <a:pt x="10825" y="30717"/>
                      <a:pt x="10825" y="31853"/>
                      <a:pt x="10765" y="32989"/>
                    </a:cubicBezTo>
                    <a:cubicBezTo>
                      <a:pt x="28169" y="40884"/>
                      <a:pt x="43659" y="52247"/>
                      <a:pt x="56219" y="66362"/>
                    </a:cubicBezTo>
                    <a:cubicBezTo>
                      <a:pt x="56697" y="66182"/>
                      <a:pt x="57176" y="66003"/>
                      <a:pt x="57654" y="65943"/>
                    </a:cubicBezTo>
                    <a:cubicBezTo>
                      <a:pt x="58491" y="65764"/>
                      <a:pt x="59329" y="65704"/>
                      <a:pt x="60166" y="65704"/>
                    </a:cubicBezTo>
                    <a:cubicBezTo>
                      <a:pt x="62020" y="65704"/>
                      <a:pt x="63695" y="66123"/>
                      <a:pt x="65309" y="66900"/>
                    </a:cubicBezTo>
                    <a:cubicBezTo>
                      <a:pt x="70991" y="57989"/>
                      <a:pt x="74938" y="48001"/>
                      <a:pt x="76852" y="37654"/>
                    </a:cubicBezTo>
                    <a:cubicBezTo>
                      <a:pt x="61542" y="11339"/>
                      <a:pt x="31339" y="-3912"/>
                      <a:pt x="0" y="873"/>
                    </a:cubicBezTo>
                    <a:cubicBezTo>
                      <a:pt x="957" y="7332"/>
                      <a:pt x="1555" y="13851"/>
                      <a:pt x="1734" y="20310"/>
                    </a:cubicBezTo>
                    <a:cubicBezTo>
                      <a:pt x="6100" y="21506"/>
                      <a:pt x="9629" y="25035"/>
                      <a:pt x="10586" y="29580"/>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79" name="Vrije vorm: vorm 4378">
                <a:extLst>
                  <a:ext uri="{FF2B5EF4-FFF2-40B4-BE49-F238E27FC236}">
                    <a16:creationId xmlns:a16="http://schemas.microsoft.com/office/drawing/2014/main" id="{CF776EF8-2E72-4B23-9DD2-4414B1A88A53}"/>
                  </a:ext>
                </a:extLst>
              </p:cNvPr>
              <p:cNvSpPr/>
              <p:nvPr/>
            </p:nvSpPr>
            <p:spPr>
              <a:xfrm>
                <a:off x="804366" y="1195108"/>
                <a:ext cx="116205" cy="62434"/>
              </a:xfrm>
              <a:custGeom>
                <a:avLst/>
                <a:gdLst>
                  <a:gd name="connsiteX0" fmla="*/ 102809 w 116205"/>
                  <a:gd name="connsiteY0" fmla="*/ 598 h 62434"/>
                  <a:gd name="connsiteX1" fmla="*/ 100297 w 116205"/>
                  <a:gd name="connsiteY1" fmla="*/ 837 h 62434"/>
                  <a:gd name="connsiteX2" fmla="*/ 95991 w 116205"/>
                  <a:gd name="connsiteY2" fmla="*/ 0 h 62434"/>
                  <a:gd name="connsiteX3" fmla="*/ 51315 w 116205"/>
                  <a:gd name="connsiteY3" fmla="*/ 22368 h 62434"/>
                  <a:gd name="connsiteX4" fmla="*/ 32176 w 116205"/>
                  <a:gd name="connsiteY4" fmla="*/ 24282 h 62434"/>
                  <a:gd name="connsiteX5" fmla="*/ 24999 w 116205"/>
                  <a:gd name="connsiteY5" fmla="*/ 23983 h 62434"/>
                  <a:gd name="connsiteX6" fmla="*/ 17404 w 116205"/>
                  <a:gd name="connsiteY6" fmla="*/ 29066 h 62434"/>
                  <a:gd name="connsiteX7" fmla="*/ 14892 w 116205"/>
                  <a:gd name="connsiteY7" fmla="*/ 29306 h 62434"/>
                  <a:gd name="connsiteX8" fmla="*/ 11184 w 116205"/>
                  <a:gd name="connsiteY8" fmla="*/ 28707 h 62434"/>
                  <a:gd name="connsiteX9" fmla="*/ 0 w 116205"/>
                  <a:gd name="connsiteY9" fmla="*/ 42224 h 62434"/>
                  <a:gd name="connsiteX10" fmla="*/ 66984 w 116205"/>
                  <a:gd name="connsiteY10" fmla="*/ 60824 h 62434"/>
                  <a:gd name="connsiteX11" fmla="*/ 116205 w 116205"/>
                  <a:gd name="connsiteY11" fmla="*/ 26016 h 62434"/>
                  <a:gd name="connsiteX12" fmla="*/ 104304 w 116205"/>
                  <a:gd name="connsiteY12" fmla="*/ 60 h 62434"/>
                  <a:gd name="connsiteX13" fmla="*/ 102809 w 116205"/>
                  <a:gd name="connsiteY13" fmla="*/ 598 h 6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05" h="62434">
                    <a:moveTo>
                      <a:pt x="102809" y="598"/>
                    </a:moveTo>
                    <a:cubicBezTo>
                      <a:pt x="101971" y="777"/>
                      <a:pt x="101134" y="837"/>
                      <a:pt x="100297" y="837"/>
                    </a:cubicBezTo>
                    <a:cubicBezTo>
                      <a:pt x="98802" y="837"/>
                      <a:pt x="97306" y="538"/>
                      <a:pt x="95991" y="0"/>
                    </a:cubicBezTo>
                    <a:cubicBezTo>
                      <a:pt x="83491" y="11304"/>
                      <a:pt x="68180" y="18959"/>
                      <a:pt x="51315" y="22368"/>
                    </a:cubicBezTo>
                    <a:cubicBezTo>
                      <a:pt x="44975" y="23624"/>
                      <a:pt x="38576" y="24282"/>
                      <a:pt x="32176" y="24282"/>
                    </a:cubicBezTo>
                    <a:cubicBezTo>
                      <a:pt x="29784" y="24282"/>
                      <a:pt x="27392" y="24162"/>
                      <a:pt x="24999" y="23983"/>
                    </a:cubicBezTo>
                    <a:cubicBezTo>
                      <a:pt x="23265" y="26495"/>
                      <a:pt x="20633" y="28408"/>
                      <a:pt x="17404" y="29066"/>
                    </a:cubicBezTo>
                    <a:cubicBezTo>
                      <a:pt x="16567" y="29246"/>
                      <a:pt x="15729" y="29306"/>
                      <a:pt x="14892" y="29306"/>
                    </a:cubicBezTo>
                    <a:cubicBezTo>
                      <a:pt x="13576" y="29306"/>
                      <a:pt x="12380" y="29066"/>
                      <a:pt x="11184" y="28707"/>
                    </a:cubicBezTo>
                    <a:cubicBezTo>
                      <a:pt x="7775" y="33372"/>
                      <a:pt x="3947" y="37858"/>
                      <a:pt x="0" y="42224"/>
                    </a:cubicBezTo>
                    <a:cubicBezTo>
                      <a:pt x="17404" y="58312"/>
                      <a:pt x="41985" y="66027"/>
                      <a:pt x="66984" y="60824"/>
                    </a:cubicBezTo>
                    <a:cubicBezTo>
                      <a:pt x="88335" y="56398"/>
                      <a:pt x="105679" y="43300"/>
                      <a:pt x="116205" y="26016"/>
                    </a:cubicBezTo>
                    <a:cubicBezTo>
                      <a:pt x="113215" y="16866"/>
                      <a:pt x="109208" y="8194"/>
                      <a:pt x="104304" y="60"/>
                    </a:cubicBezTo>
                    <a:cubicBezTo>
                      <a:pt x="103766" y="299"/>
                      <a:pt x="103287" y="478"/>
                      <a:pt x="102809" y="598"/>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80" name="Vrije vorm: vorm 4379">
                <a:extLst>
                  <a:ext uri="{FF2B5EF4-FFF2-40B4-BE49-F238E27FC236}">
                    <a16:creationId xmlns:a16="http://schemas.microsoft.com/office/drawing/2014/main" id="{34CE7A5E-5CA8-4355-B598-9F19D5B8B206}"/>
                  </a:ext>
                </a:extLst>
              </p:cNvPr>
              <p:cNvSpPr/>
              <p:nvPr/>
            </p:nvSpPr>
            <p:spPr>
              <a:xfrm>
                <a:off x="783015" y="1203002"/>
                <a:ext cx="26434" cy="29066"/>
              </a:xfrm>
              <a:custGeom>
                <a:avLst/>
                <a:gdLst>
                  <a:gd name="connsiteX0" fmla="*/ 26435 w 26434"/>
                  <a:gd name="connsiteY0" fmla="*/ 16507 h 29066"/>
                  <a:gd name="connsiteX1" fmla="*/ 24162 w 26434"/>
                  <a:gd name="connsiteY1" fmla="*/ 11722 h 29066"/>
                  <a:gd name="connsiteX2" fmla="*/ 0 w 26434"/>
                  <a:gd name="connsiteY2" fmla="*/ 0 h 29066"/>
                  <a:gd name="connsiteX3" fmla="*/ 16088 w 26434"/>
                  <a:gd name="connsiteY3" fmla="*/ 29066 h 29066"/>
                  <a:gd name="connsiteX4" fmla="*/ 26435 w 26434"/>
                  <a:gd name="connsiteY4" fmla="*/ 16507 h 29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4" h="29066">
                    <a:moveTo>
                      <a:pt x="26435" y="16507"/>
                    </a:moveTo>
                    <a:cubicBezTo>
                      <a:pt x="25358" y="15131"/>
                      <a:pt x="24581" y="13516"/>
                      <a:pt x="24162" y="11722"/>
                    </a:cubicBezTo>
                    <a:cubicBezTo>
                      <a:pt x="15610" y="8971"/>
                      <a:pt x="7476" y="5024"/>
                      <a:pt x="0" y="0"/>
                    </a:cubicBezTo>
                    <a:cubicBezTo>
                      <a:pt x="3230" y="11064"/>
                      <a:pt x="8792" y="20873"/>
                      <a:pt x="16088" y="29066"/>
                    </a:cubicBezTo>
                    <a:cubicBezTo>
                      <a:pt x="19796" y="24999"/>
                      <a:pt x="23325" y="20813"/>
                      <a:pt x="26435" y="16507"/>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81" name="Vrije vorm: vorm 4380">
                <a:extLst>
                  <a:ext uri="{FF2B5EF4-FFF2-40B4-BE49-F238E27FC236}">
                    <a16:creationId xmlns:a16="http://schemas.microsoft.com/office/drawing/2014/main" id="{337B5828-7AD2-4E2D-8B22-CCDC65E1AEA1}"/>
                  </a:ext>
                </a:extLst>
              </p:cNvPr>
              <p:cNvSpPr/>
              <p:nvPr/>
            </p:nvSpPr>
            <p:spPr>
              <a:xfrm>
                <a:off x="763099" y="1181651"/>
                <a:ext cx="19915" cy="20573"/>
              </a:xfrm>
              <a:custGeom>
                <a:avLst/>
                <a:gdLst>
                  <a:gd name="connsiteX0" fmla="*/ 0 w 19915"/>
                  <a:gd name="connsiteY0" fmla="*/ 0 h 20573"/>
                  <a:gd name="connsiteX1" fmla="*/ 0 w 19915"/>
                  <a:gd name="connsiteY1" fmla="*/ 179 h 20573"/>
                  <a:gd name="connsiteX2" fmla="*/ 419 w 19915"/>
                  <a:gd name="connsiteY2" fmla="*/ 8851 h 20573"/>
                  <a:gd name="connsiteX3" fmla="*/ 19916 w 19915"/>
                  <a:gd name="connsiteY3" fmla="*/ 20574 h 20573"/>
                  <a:gd name="connsiteX4" fmla="*/ 17344 w 19915"/>
                  <a:gd name="connsiteY4" fmla="*/ 11363 h 20573"/>
                  <a:gd name="connsiteX5" fmla="*/ 0 w 19915"/>
                  <a:gd name="connsiteY5" fmla="*/ 0 h 2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5" h="20573">
                    <a:moveTo>
                      <a:pt x="0" y="0"/>
                    </a:moveTo>
                    <a:cubicBezTo>
                      <a:pt x="0" y="60"/>
                      <a:pt x="0" y="120"/>
                      <a:pt x="0" y="179"/>
                    </a:cubicBezTo>
                    <a:cubicBezTo>
                      <a:pt x="0" y="3110"/>
                      <a:pt x="179" y="6041"/>
                      <a:pt x="419" y="8851"/>
                    </a:cubicBezTo>
                    <a:cubicBezTo>
                      <a:pt x="6579" y="13277"/>
                      <a:pt x="13098" y="17224"/>
                      <a:pt x="19916" y="20574"/>
                    </a:cubicBezTo>
                    <a:lnTo>
                      <a:pt x="17344" y="11363"/>
                    </a:lnTo>
                    <a:cubicBezTo>
                      <a:pt x="9629" y="7536"/>
                      <a:pt x="5442" y="4545"/>
                      <a:pt x="0" y="0"/>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82" name="Vrije vorm: vorm 4381">
                <a:extLst>
                  <a:ext uri="{FF2B5EF4-FFF2-40B4-BE49-F238E27FC236}">
                    <a16:creationId xmlns:a16="http://schemas.microsoft.com/office/drawing/2014/main" id="{A4794697-0152-4CAE-A959-9E406DD9C396}"/>
                  </a:ext>
                </a:extLst>
              </p:cNvPr>
              <p:cNvSpPr/>
              <p:nvPr/>
            </p:nvSpPr>
            <p:spPr>
              <a:xfrm>
                <a:off x="831698" y="1091522"/>
                <a:ext cx="12738" cy="16566"/>
              </a:xfrm>
              <a:custGeom>
                <a:avLst/>
                <a:gdLst>
                  <a:gd name="connsiteX0" fmla="*/ 12739 w 12738"/>
                  <a:gd name="connsiteY0" fmla="*/ 15131 h 16566"/>
                  <a:gd name="connsiteX1" fmla="*/ 6938 w 12738"/>
                  <a:gd name="connsiteY1" fmla="*/ 0 h 16566"/>
                  <a:gd name="connsiteX2" fmla="*/ 0 w 12738"/>
                  <a:gd name="connsiteY2" fmla="*/ 1495 h 16566"/>
                  <a:gd name="connsiteX3" fmla="*/ 5502 w 12738"/>
                  <a:gd name="connsiteY3" fmla="*/ 16567 h 16566"/>
                  <a:gd name="connsiteX4" fmla="*/ 12739 w 12738"/>
                  <a:gd name="connsiteY4" fmla="*/ 15131 h 1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38" h="16566">
                    <a:moveTo>
                      <a:pt x="12739" y="15131"/>
                    </a:moveTo>
                    <a:cubicBezTo>
                      <a:pt x="11005" y="8433"/>
                      <a:pt x="9330" y="4665"/>
                      <a:pt x="6938" y="0"/>
                    </a:cubicBezTo>
                    <a:cubicBezTo>
                      <a:pt x="4605" y="419"/>
                      <a:pt x="2273" y="897"/>
                      <a:pt x="0" y="1495"/>
                    </a:cubicBezTo>
                    <a:cubicBezTo>
                      <a:pt x="2213" y="5921"/>
                      <a:pt x="3828" y="10167"/>
                      <a:pt x="5502" y="16567"/>
                    </a:cubicBezTo>
                    <a:lnTo>
                      <a:pt x="12739" y="15131"/>
                    </a:ln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83" name="Vrije vorm: vorm 4382">
                <a:extLst>
                  <a:ext uri="{FF2B5EF4-FFF2-40B4-BE49-F238E27FC236}">
                    <a16:creationId xmlns:a16="http://schemas.microsoft.com/office/drawing/2014/main" id="{A773B95C-3026-4C26-A194-4F240C036098}"/>
                  </a:ext>
                </a:extLst>
              </p:cNvPr>
              <p:cNvSpPr/>
              <p:nvPr/>
            </p:nvSpPr>
            <p:spPr>
              <a:xfrm>
                <a:off x="786424" y="1232129"/>
                <a:ext cx="17822" cy="16147"/>
              </a:xfrm>
              <a:custGeom>
                <a:avLst/>
                <a:gdLst>
                  <a:gd name="connsiteX0" fmla="*/ 0 w 17822"/>
                  <a:gd name="connsiteY0" fmla="*/ 10825 h 16147"/>
                  <a:gd name="connsiteX1" fmla="*/ 5143 w 17822"/>
                  <a:gd name="connsiteY1" fmla="*/ 16148 h 16147"/>
                  <a:gd name="connsiteX2" fmla="*/ 17823 w 17822"/>
                  <a:gd name="connsiteY2" fmla="*/ 5263 h 16147"/>
                  <a:gd name="connsiteX3" fmla="*/ 12679 w 17822"/>
                  <a:gd name="connsiteY3" fmla="*/ 0 h 16147"/>
                  <a:gd name="connsiteX4" fmla="*/ 0 w 17822"/>
                  <a:gd name="connsiteY4" fmla="*/ 10825 h 16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22" h="16147">
                    <a:moveTo>
                      <a:pt x="0" y="10825"/>
                    </a:moveTo>
                    <a:cubicBezTo>
                      <a:pt x="1615" y="12679"/>
                      <a:pt x="3349" y="14414"/>
                      <a:pt x="5143" y="16148"/>
                    </a:cubicBezTo>
                    <a:cubicBezTo>
                      <a:pt x="9450" y="12859"/>
                      <a:pt x="13457" y="9270"/>
                      <a:pt x="17823" y="5263"/>
                    </a:cubicBezTo>
                    <a:lnTo>
                      <a:pt x="12679" y="0"/>
                    </a:lnTo>
                    <a:cubicBezTo>
                      <a:pt x="8373" y="3887"/>
                      <a:pt x="4306" y="7476"/>
                      <a:pt x="0" y="10825"/>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84" name="Vrije vorm: vorm 4383">
                <a:extLst>
                  <a:ext uri="{FF2B5EF4-FFF2-40B4-BE49-F238E27FC236}">
                    <a16:creationId xmlns:a16="http://schemas.microsoft.com/office/drawing/2014/main" id="{9F66CCF5-6C1E-483C-B615-16332901D580}"/>
                  </a:ext>
                </a:extLst>
              </p:cNvPr>
              <p:cNvSpPr/>
              <p:nvPr/>
            </p:nvSpPr>
            <p:spPr>
              <a:xfrm>
                <a:off x="921349" y="1121844"/>
                <a:ext cx="9270" cy="31937"/>
              </a:xfrm>
              <a:custGeom>
                <a:avLst/>
                <a:gdLst>
                  <a:gd name="connsiteX0" fmla="*/ 9270 w 9270"/>
                  <a:gd name="connsiteY0" fmla="*/ 8134 h 31937"/>
                  <a:gd name="connsiteX1" fmla="*/ 2990 w 9270"/>
                  <a:gd name="connsiteY1" fmla="*/ 0 h 31937"/>
                  <a:gd name="connsiteX2" fmla="*/ 0 w 9270"/>
                  <a:gd name="connsiteY2" fmla="*/ 21590 h 31937"/>
                  <a:gd name="connsiteX3" fmla="*/ 5024 w 9270"/>
                  <a:gd name="connsiteY3" fmla="*/ 31937 h 31937"/>
                  <a:gd name="connsiteX4" fmla="*/ 9270 w 9270"/>
                  <a:gd name="connsiteY4" fmla="*/ 8134 h 31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0" h="31937">
                    <a:moveTo>
                      <a:pt x="9270" y="8134"/>
                    </a:moveTo>
                    <a:cubicBezTo>
                      <a:pt x="7356" y="5323"/>
                      <a:pt x="5203" y="2572"/>
                      <a:pt x="2990" y="0"/>
                    </a:cubicBezTo>
                    <a:cubicBezTo>
                      <a:pt x="2811" y="7595"/>
                      <a:pt x="2392" y="12918"/>
                      <a:pt x="0" y="21590"/>
                    </a:cubicBezTo>
                    <a:lnTo>
                      <a:pt x="5024" y="31937"/>
                    </a:lnTo>
                    <a:cubicBezTo>
                      <a:pt x="6938" y="24760"/>
                      <a:pt x="8433" y="16208"/>
                      <a:pt x="9270" y="8134"/>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85" name="Vrije vorm: vorm 4384">
                <a:extLst>
                  <a:ext uri="{FF2B5EF4-FFF2-40B4-BE49-F238E27FC236}">
                    <a16:creationId xmlns:a16="http://schemas.microsoft.com/office/drawing/2014/main" id="{FB8B84A1-9649-4A53-8103-15D0ABAFE284}"/>
                  </a:ext>
                </a:extLst>
              </p:cNvPr>
              <p:cNvSpPr/>
              <p:nvPr/>
            </p:nvSpPr>
            <p:spPr>
              <a:xfrm>
                <a:off x="920632" y="1212213"/>
                <a:ext cx="9210" cy="30382"/>
              </a:xfrm>
              <a:custGeom>
                <a:avLst/>
                <a:gdLst>
                  <a:gd name="connsiteX0" fmla="*/ 0 w 9210"/>
                  <a:gd name="connsiteY0" fmla="*/ 8732 h 30382"/>
                  <a:gd name="connsiteX1" fmla="*/ 2990 w 9210"/>
                  <a:gd name="connsiteY1" fmla="*/ 30382 h 30382"/>
                  <a:gd name="connsiteX2" fmla="*/ 9210 w 9210"/>
                  <a:gd name="connsiteY2" fmla="*/ 22488 h 30382"/>
                  <a:gd name="connsiteX3" fmla="*/ 4665 w 9210"/>
                  <a:gd name="connsiteY3" fmla="*/ 0 h 30382"/>
                  <a:gd name="connsiteX4" fmla="*/ 0 w 9210"/>
                  <a:gd name="connsiteY4" fmla="*/ 8732 h 30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0" h="30382">
                    <a:moveTo>
                      <a:pt x="0" y="8732"/>
                    </a:moveTo>
                    <a:cubicBezTo>
                      <a:pt x="2392" y="17464"/>
                      <a:pt x="2811" y="22727"/>
                      <a:pt x="2990" y="30382"/>
                    </a:cubicBezTo>
                    <a:cubicBezTo>
                      <a:pt x="5203" y="27870"/>
                      <a:pt x="7296" y="25239"/>
                      <a:pt x="9210" y="22488"/>
                    </a:cubicBezTo>
                    <a:cubicBezTo>
                      <a:pt x="8253" y="14892"/>
                      <a:pt x="6579" y="7177"/>
                      <a:pt x="4665" y="0"/>
                    </a:cubicBezTo>
                    <a:lnTo>
                      <a:pt x="0" y="8732"/>
                    </a:lnTo>
                    <a:close/>
                  </a:path>
                </a:pathLst>
              </a:custGeom>
              <a:grpFill/>
              <a:ln w="5978" cap="flat">
                <a:noFill/>
                <a:prstDash val="solid"/>
                <a:miter/>
              </a:ln>
            </p:spPr>
            <p:txBody>
              <a:bodyPr rtlCol="0" anchor="ctr"/>
              <a:lstStyle/>
              <a:p>
                <a:endParaRPr lang="en-GB">
                  <a:solidFill>
                    <a:schemeClr val="tx2">
                      <a:alpha val="40000"/>
                    </a:schemeClr>
                  </a:solidFill>
                </a:endParaRPr>
              </a:p>
            </p:txBody>
          </p:sp>
        </p:grpSp>
      </p:grpSp>
      <p:grpSp>
        <p:nvGrpSpPr>
          <p:cNvPr id="4386" name="ICOON3_GEEL">
            <a:extLst>
              <a:ext uri="{FF2B5EF4-FFF2-40B4-BE49-F238E27FC236}">
                <a16:creationId xmlns:a16="http://schemas.microsoft.com/office/drawing/2014/main" id="{A71DD4E9-6504-493E-B54F-8289AA6DA905}"/>
              </a:ext>
            </a:extLst>
          </p:cNvPr>
          <p:cNvGrpSpPr/>
          <p:nvPr/>
        </p:nvGrpSpPr>
        <p:grpSpPr>
          <a:xfrm>
            <a:off x="760730" y="4318771"/>
            <a:ext cx="275113" cy="275113"/>
            <a:chOff x="706941" y="4619430"/>
            <a:chExt cx="275113" cy="275113"/>
          </a:xfrm>
          <a:solidFill>
            <a:schemeClr val="tx2">
              <a:alpha val="40000"/>
            </a:schemeClr>
          </a:solidFill>
          <a:effectLst>
            <a:outerShdw blurRad="190500" algn="ctr" rotWithShape="0">
              <a:prstClr val="black">
                <a:alpha val="50000"/>
              </a:prstClr>
            </a:outerShdw>
          </a:effectLst>
        </p:grpSpPr>
        <p:sp>
          <p:nvSpPr>
            <p:cNvPr id="4387" name="Vrije vorm: vorm 4386">
              <a:extLst>
                <a:ext uri="{FF2B5EF4-FFF2-40B4-BE49-F238E27FC236}">
                  <a16:creationId xmlns:a16="http://schemas.microsoft.com/office/drawing/2014/main" id="{B4E788EF-20F1-44CD-ACE2-F9A9BC1A94B2}"/>
                </a:ext>
              </a:extLst>
            </p:cNvPr>
            <p:cNvSpPr/>
            <p:nvPr/>
          </p:nvSpPr>
          <p:spPr>
            <a:xfrm>
              <a:off x="706941" y="4619430"/>
              <a:ext cx="275113" cy="275113"/>
            </a:xfrm>
            <a:custGeom>
              <a:avLst/>
              <a:gdLst>
                <a:gd name="connsiteX0" fmla="*/ 137557 w 275113"/>
                <a:gd name="connsiteY0" fmla="*/ 24999 h 275113"/>
                <a:gd name="connsiteX1" fmla="*/ 250114 w 275113"/>
                <a:gd name="connsiteY1" fmla="*/ 137557 h 275113"/>
                <a:gd name="connsiteX2" fmla="*/ 137557 w 275113"/>
                <a:gd name="connsiteY2" fmla="*/ 250114 h 275113"/>
                <a:gd name="connsiteX3" fmla="*/ 24999 w 275113"/>
                <a:gd name="connsiteY3" fmla="*/ 137557 h 275113"/>
                <a:gd name="connsiteX4" fmla="*/ 137557 w 275113"/>
                <a:gd name="connsiteY4" fmla="*/ 24999 h 275113"/>
                <a:gd name="connsiteX5" fmla="*/ 137557 w 275113"/>
                <a:gd name="connsiteY5" fmla="*/ 0 h 275113"/>
                <a:gd name="connsiteX6" fmla="*/ 0 w 275113"/>
                <a:gd name="connsiteY6" fmla="*/ 137557 h 275113"/>
                <a:gd name="connsiteX7" fmla="*/ 137557 w 275113"/>
                <a:gd name="connsiteY7" fmla="*/ 275113 h 275113"/>
                <a:gd name="connsiteX8" fmla="*/ 275113 w 275113"/>
                <a:gd name="connsiteY8" fmla="*/ 137557 h 275113"/>
                <a:gd name="connsiteX9" fmla="*/ 137557 w 275113"/>
                <a:gd name="connsiteY9" fmla="*/ 0 h 275113"/>
                <a:gd name="connsiteX10" fmla="*/ 137557 w 275113"/>
                <a:gd name="connsiteY10" fmla="*/ 0 h 27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113" h="275113">
                  <a:moveTo>
                    <a:pt x="137557" y="24999"/>
                  </a:moveTo>
                  <a:cubicBezTo>
                    <a:pt x="199637" y="24999"/>
                    <a:pt x="250114" y="75477"/>
                    <a:pt x="250114" y="137557"/>
                  </a:cubicBezTo>
                  <a:cubicBezTo>
                    <a:pt x="250114" y="199637"/>
                    <a:pt x="199637" y="250114"/>
                    <a:pt x="137557" y="250114"/>
                  </a:cubicBezTo>
                  <a:cubicBezTo>
                    <a:pt x="75477" y="250114"/>
                    <a:pt x="24999" y="199637"/>
                    <a:pt x="24999" y="137557"/>
                  </a:cubicBezTo>
                  <a:cubicBezTo>
                    <a:pt x="24999" y="75477"/>
                    <a:pt x="75477" y="24999"/>
                    <a:pt x="137557" y="24999"/>
                  </a:cubicBezTo>
                  <a:moveTo>
                    <a:pt x="137557" y="0"/>
                  </a:moveTo>
                  <a:cubicBezTo>
                    <a:pt x="61601" y="0"/>
                    <a:pt x="0" y="61601"/>
                    <a:pt x="0" y="137557"/>
                  </a:cubicBezTo>
                  <a:cubicBezTo>
                    <a:pt x="0" y="213512"/>
                    <a:pt x="61601" y="275113"/>
                    <a:pt x="137557" y="275113"/>
                  </a:cubicBezTo>
                  <a:cubicBezTo>
                    <a:pt x="213512" y="275113"/>
                    <a:pt x="275113" y="213512"/>
                    <a:pt x="275113" y="137557"/>
                  </a:cubicBezTo>
                  <a:cubicBezTo>
                    <a:pt x="275113" y="61601"/>
                    <a:pt x="213512" y="0"/>
                    <a:pt x="137557" y="0"/>
                  </a:cubicBezTo>
                  <a:lnTo>
                    <a:pt x="137557" y="0"/>
                  </a:lnTo>
                  <a:close/>
                </a:path>
              </a:pathLst>
            </a:custGeom>
            <a:grpFill/>
            <a:ln w="5978" cap="flat">
              <a:noFill/>
              <a:prstDash val="solid"/>
              <a:miter/>
            </a:ln>
          </p:spPr>
          <p:txBody>
            <a:bodyPr rtlCol="0" anchor="ctr"/>
            <a:lstStyle/>
            <a:p>
              <a:endParaRPr lang="en-GB">
                <a:solidFill>
                  <a:schemeClr val="tx2">
                    <a:alpha val="40000"/>
                  </a:schemeClr>
                </a:solidFill>
              </a:endParaRPr>
            </a:p>
          </p:txBody>
        </p:sp>
        <p:grpSp>
          <p:nvGrpSpPr>
            <p:cNvPr id="4388" name="Graphic 3">
              <a:extLst>
                <a:ext uri="{FF2B5EF4-FFF2-40B4-BE49-F238E27FC236}">
                  <a16:creationId xmlns:a16="http://schemas.microsoft.com/office/drawing/2014/main" id="{6BE9C006-B8A4-47E6-AFAA-2BA058E9B51E}"/>
                </a:ext>
              </a:extLst>
            </p:cNvPr>
            <p:cNvGrpSpPr/>
            <p:nvPr/>
          </p:nvGrpSpPr>
          <p:grpSpPr>
            <a:xfrm>
              <a:off x="769080" y="4677921"/>
              <a:ext cx="144015" cy="179421"/>
              <a:chOff x="769080" y="4677921"/>
              <a:chExt cx="144015" cy="179421"/>
            </a:xfrm>
            <a:grpFill/>
          </p:grpSpPr>
          <p:sp>
            <p:nvSpPr>
              <p:cNvPr id="4390" name="Vrije vorm: vorm 4389">
                <a:extLst>
                  <a:ext uri="{FF2B5EF4-FFF2-40B4-BE49-F238E27FC236}">
                    <a16:creationId xmlns:a16="http://schemas.microsoft.com/office/drawing/2014/main" id="{7283E770-78EC-4E7A-8BC6-749C7DB3F1F2}"/>
                  </a:ext>
                </a:extLst>
              </p:cNvPr>
              <p:cNvSpPr/>
              <p:nvPr/>
            </p:nvSpPr>
            <p:spPr>
              <a:xfrm>
                <a:off x="842583" y="4678099"/>
                <a:ext cx="70512" cy="143897"/>
              </a:xfrm>
              <a:custGeom>
                <a:avLst/>
                <a:gdLst>
                  <a:gd name="connsiteX0" fmla="*/ 34987 w 70512"/>
                  <a:gd name="connsiteY0" fmla="*/ 17465 h 143897"/>
                  <a:gd name="connsiteX1" fmla="*/ 47607 w 70512"/>
                  <a:gd name="connsiteY1" fmla="*/ 34271 h 143897"/>
                  <a:gd name="connsiteX2" fmla="*/ 47607 w 70512"/>
                  <a:gd name="connsiteY2" fmla="*/ 56160 h 143897"/>
                  <a:gd name="connsiteX3" fmla="*/ 11722 w 70512"/>
                  <a:gd name="connsiteY3" fmla="*/ 78050 h 143897"/>
                  <a:gd name="connsiteX4" fmla="*/ 11722 w 70512"/>
                  <a:gd name="connsiteY4" fmla="*/ 109927 h 143897"/>
                  <a:gd name="connsiteX5" fmla="*/ 0 w 70512"/>
                  <a:gd name="connsiteY5" fmla="*/ 126374 h 143897"/>
                  <a:gd name="connsiteX6" fmla="*/ 17763 w 70512"/>
                  <a:gd name="connsiteY6" fmla="*/ 143897 h 143897"/>
                  <a:gd name="connsiteX7" fmla="*/ 35525 w 70512"/>
                  <a:gd name="connsiteY7" fmla="*/ 126374 h 143897"/>
                  <a:gd name="connsiteX8" fmla="*/ 21650 w 70512"/>
                  <a:gd name="connsiteY8" fmla="*/ 109269 h 143897"/>
                  <a:gd name="connsiteX9" fmla="*/ 21650 w 70512"/>
                  <a:gd name="connsiteY9" fmla="*/ 83552 h 143897"/>
                  <a:gd name="connsiteX10" fmla="*/ 57535 w 70512"/>
                  <a:gd name="connsiteY10" fmla="*/ 61663 h 143897"/>
                  <a:gd name="connsiteX11" fmla="*/ 57535 w 70512"/>
                  <a:gd name="connsiteY11" fmla="*/ 34390 h 143897"/>
                  <a:gd name="connsiteX12" fmla="*/ 70513 w 70512"/>
                  <a:gd name="connsiteY12" fmla="*/ 17525 h 143897"/>
                  <a:gd name="connsiteX13" fmla="*/ 52750 w 70512"/>
                  <a:gd name="connsiteY13" fmla="*/ 1 h 143897"/>
                  <a:gd name="connsiteX14" fmla="*/ 34987 w 70512"/>
                  <a:gd name="connsiteY14" fmla="*/ 17465 h 143897"/>
                  <a:gd name="connsiteX15" fmla="*/ 24102 w 70512"/>
                  <a:gd name="connsiteY15" fmla="*/ 126374 h 143897"/>
                  <a:gd name="connsiteX16" fmla="*/ 17763 w 70512"/>
                  <a:gd name="connsiteY16" fmla="*/ 132594 h 143897"/>
                  <a:gd name="connsiteX17" fmla="*/ 11423 w 70512"/>
                  <a:gd name="connsiteY17" fmla="*/ 126374 h 143897"/>
                  <a:gd name="connsiteX18" fmla="*/ 17763 w 70512"/>
                  <a:gd name="connsiteY18" fmla="*/ 120154 h 143897"/>
                  <a:gd name="connsiteX19" fmla="*/ 24102 w 70512"/>
                  <a:gd name="connsiteY19" fmla="*/ 126374 h 143897"/>
                  <a:gd name="connsiteX20" fmla="*/ 59090 w 70512"/>
                  <a:gd name="connsiteY20" fmla="*/ 17465 h 143897"/>
                  <a:gd name="connsiteX21" fmla="*/ 52750 w 70512"/>
                  <a:gd name="connsiteY21" fmla="*/ 23685 h 143897"/>
                  <a:gd name="connsiteX22" fmla="*/ 46410 w 70512"/>
                  <a:gd name="connsiteY22" fmla="*/ 17465 h 143897"/>
                  <a:gd name="connsiteX23" fmla="*/ 52750 w 70512"/>
                  <a:gd name="connsiteY23" fmla="*/ 11245 h 143897"/>
                  <a:gd name="connsiteX24" fmla="*/ 59090 w 70512"/>
                  <a:gd name="connsiteY24" fmla="*/ 17465 h 1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0512" h="143897">
                    <a:moveTo>
                      <a:pt x="34987" y="17465"/>
                    </a:moveTo>
                    <a:cubicBezTo>
                      <a:pt x="34987" y="25360"/>
                      <a:pt x="40310" y="32058"/>
                      <a:pt x="47607" y="34271"/>
                    </a:cubicBezTo>
                    <a:lnTo>
                      <a:pt x="47607" y="56160"/>
                    </a:lnTo>
                    <a:lnTo>
                      <a:pt x="11722" y="78050"/>
                    </a:lnTo>
                    <a:lnTo>
                      <a:pt x="11722" y="109927"/>
                    </a:lnTo>
                    <a:cubicBezTo>
                      <a:pt x="4904" y="112379"/>
                      <a:pt x="0" y="118838"/>
                      <a:pt x="0" y="126374"/>
                    </a:cubicBezTo>
                    <a:cubicBezTo>
                      <a:pt x="0" y="136063"/>
                      <a:pt x="7954" y="143897"/>
                      <a:pt x="17763" y="143897"/>
                    </a:cubicBezTo>
                    <a:cubicBezTo>
                      <a:pt x="27571" y="143897"/>
                      <a:pt x="35525" y="136063"/>
                      <a:pt x="35525" y="126374"/>
                    </a:cubicBezTo>
                    <a:cubicBezTo>
                      <a:pt x="35525" y="118001"/>
                      <a:pt x="29605" y="111004"/>
                      <a:pt x="21650" y="109269"/>
                    </a:cubicBezTo>
                    <a:lnTo>
                      <a:pt x="21650" y="83552"/>
                    </a:lnTo>
                    <a:lnTo>
                      <a:pt x="57535" y="61663"/>
                    </a:lnTo>
                    <a:lnTo>
                      <a:pt x="57535" y="34390"/>
                    </a:lnTo>
                    <a:cubicBezTo>
                      <a:pt x="65010" y="32297"/>
                      <a:pt x="70513" y="25539"/>
                      <a:pt x="70513" y="17525"/>
                    </a:cubicBezTo>
                    <a:cubicBezTo>
                      <a:pt x="70513" y="7836"/>
                      <a:pt x="62558" y="1"/>
                      <a:pt x="52750" y="1"/>
                    </a:cubicBezTo>
                    <a:cubicBezTo>
                      <a:pt x="42942" y="-118"/>
                      <a:pt x="34987" y="7776"/>
                      <a:pt x="34987" y="17465"/>
                    </a:cubicBezTo>
                    <a:close/>
                    <a:moveTo>
                      <a:pt x="24102" y="126374"/>
                    </a:moveTo>
                    <a:cubicBezTo>
                      <a:pt x="24102" y="129843"/>
                      <a:pt x="21291" y="132594"/>
                      <a:pt x="17763" y="132594"/>
                    </a:cubicBezTo>
                    <a:cubicBezTo>
                      <a:pt x="14294" y="132594"/>
                      <a:pt x="11423" y="129783"/>
                      <a:pt x="11423" y="126374"/>
                    </a:cubicBezTo>
                    <a:cubicBezTo>
                      <a:pt x="11423" y="122965"/>
                      <a:pt x="14234" y="120154"/>
                      <a:pt x="17763" y="120154"/>
                    </a:cubicBezTo>
                    <a:cubicBezTo>
                      <a:pt x="21291" y="120154"/>
                      <a:pt x="24102" y="122905"/>
                      <a:pt x="24102" y="126374"/>
                    </a:cubicBezTo>
                    <a:close/>
                    <a:moveTo>
                      <a:pt x="59090" y="17465"/>
                    </a:moveTo>
                    <a:cubicBezTo>
                      <a:pt x="59090" y="20934"/>
                      <a:pt x="56279" y="23685"/>
                      <a:pt x="52750" y="23685"/>
                    </a:cubicBezTo>
                    <a:cubicBezTo>
                      <a:pt x="49281" y="23685"/>
                      <a:pt x="46410" y="20874"/>
                      <a:pt x="46410" y="17465"/>
                    </a:cubicBezTo>
                    <a:cubicBezTo>
                      <a:pt x="46410" y="13996"/>
                      <a:pt x="49221" y="11245"/>
                      <a:pt x="52750" y="11245"/>
                    </a:cubicBezTo>
                    <a:cubicBezTo>
                      <a:pt x="56279" y="11245"/>
                      <a:pt x="59090" y="13996"/>
                      <a:pt x="59090" y="17465"/>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91" name="Vrije vorm: vorm 4390">
                <a:extLst>
                  <a:ext uri="{FF2B5EF4-FFF2-40B4-BE49-F238E27FC236}">
                    <a16:creationId xmlns:a16="http://schemas.microsoft.com/office/drawing/2014/main" id="{702E9ECA-00E3-49BB-A696-A831886C6615}"/>
                  </a:ext>
                </a:extLst>
              </p:cNvPr>
              <p:cNvSpPr/>
              <p:nvPr/>
            </p:nvSpPr>
            <p:spPr>
              <a:xfrm>
                <a:off x="842643" y="4706150"/>
                <a:ext cx="35525" cy="35046"/>
              </a:xfrm>
              <a:custGeom>
                <a:avLst/>
                <a:gdLst>
                  <a:gd name="connsiteX0" fmla="*/ 17763 w 35525"/>
                  <a:gd name="connsiteY0" fmla="*/ 0 h 35046"/>
                  <a:gd name="connsiteX1" fmla="*/ 0 w 35525"/>
                  <a:gd name="connsiteY1" fmla="*/ 17523 h 35046"/>
                  <a:gd name="connsiteX2" fmla="*/ 17763 w 35525"/>
                  <a:gd name="connsiteY2" fmla="*/ 35047 h 35046"/>
                  <a:gd name="connsiteX3" fmla="*/ 35525 w 35525"/>
                  <a:gd name="connsiteY3" fmla="*/ 17523 h 35046"/>
                  <a:gd name="connsiteX4" fmla="*/ 17763 w 35525"/>
                  <a:gd name="connsiteY4" fmla="*/ 0 h 35046"/>
                  <a:gd name="connsiteX5" fmla="*/ 17763 w 35525"/>
                  <a:gd name="connsiteY5" fmla="*/ 23803 h 35046"/>
                  <a:gd name="connsiteX6" fmla="*/ 11423 w 35525"/>
                  <a:gd name="connsiteY6" fmla="*/ 17583 h 35046"/>
                  <a:gd name="connsiteX7" fmla="*/ 17763 w 35525"/>
                  <a:gd name="connsiteY7" fmla="*/ 11364 h 35046"/>
                  <a:gd name="connsiteX8" fmla="*/ 24102 w 35525"/>
                  <a:gd name="connsiteY8" fmla="*/ 17583 h 35046"/>
                  <a:gd name="connsiteX9" fmla="*/ 17763 w 35525"/>
                  <a:gd name="connsiteY9" fmla="*/ 23803 h 3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5" h="35046">
                    <a:moveTo>
                      <a:pt x="17763" y="0"/>
                    </a:moveTo>
                    <a:cubicBezTo>
                      <a:pt x="7954" y="0"/>
                      <a:pt x="0" y="7835"/>
                      <a:pt x="0" y="17523"/>
                    </a:cubicBezTo>
                    <a:cubicBezTo>
                      <a:pt x="0" y="27212"/>
                      <a:pt x="7954" y="35047"/>
                      <a:pt x="17763" y="35047"/>
                    </a:cubicBezTo>
                    <a:cubicBezTo>
                      <a:pt x="27571" y="35047"/>
                      <a:pt x="35525" y="27212"/>
                      <a:pt x="35525" y="17523"/>
                    </a:cubicBezTo>
                    <a:cubicBezTo>
                      <a:pt x="35525" y="7835"/>
                      <a:pt x="27571" y="0"/>
                      <a:pt x="17763" y="0"/>
                    </a:cubicBezTo>
                    <a:close/>
                    <a:moveTo>
                      <a:pt x="17763" y="23803"/>
                    </a:moveTo>
                    <a:cubicBezTo>
                      <a:pt x="14294" y="23803"/>
                      <a:pt x="11423" y="20992"/>
                      <a:pt x="11423" y="17583"/>
                    </a:cubicBezTo>
                    <a:cubicBezTo>
                      <a:pt x="11423" y="14174"/>
                      <a:pt x="14234" y="11364"/>
                      <a:pt x="17763" y="11364"/>
                    </a:cubicBezTo>
                    <a:cubicBezTo>
                      <a:pt x="21232" y="11364"/>
                      <a:pt x="24102" y="14174"/>
                      <a:pt x="24102" y="17583"/>
                    </a:cubicBezTo>
                    <a:cubicBezTo>
                      <a:pt x="24102" y="20992"/>
                      <a:pt x="21232" y="23803"/>
                      <a:pt x="17763" y="23803"/>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92" name="Vrije vorm: vorm 4391">
                <a:extLst>
                  <a:ext uri="{FF2B5EF4-FFF2-40B4-BE49-F238E27FC236}">
                    <a16:creationId xmlns:a16="http://schemas.microsoft.com/office/drawing/2014/main" id="{DE9530BB-6A7E-4BA9-B51C-D506D8514192}"/>
                  </a:ext>
                </a:extLst>
              </p:cNvPr>
              <p:cNvSpPr/>
              <p:nvPr/>
            </p:nvSpPr>
            <p:spPr>
              <a:xfrm>
                <a:off x="810048" y="4677921"/>
                <a:ext cx="35525" cy="96349"/>
              </a:xfrm>
              <a:custGeom>
                <a:avLst/>
                <a:gdLst>
                  <a:gd name="connsiteX0" fmla="*/ 12859 w 35525"/>
                  <a:gd name="connsiteY0" fmla="*/ 34329 h 96349"/>
                  <a:gd name="connsiteX1" fmla="*/ 12859 w 35525"/>
                  <a:gd name="connsiteY1" fmla="*/ 61960 h 96349"/>
                  <a:gd name="connsiteX2" fmla="*/ 0 w 35525"/>
                  <a:gd name="connsiteY2" fmla="*/ 78826 h 96349"/>
                  <a:gd name="connsiteX3" fmla="*/ 17763 w 35525"/>
                  <a:gd name="connsiteY3" fmla="*/ 96349 h 96349"/>
                  <a:gd name="connsiteX4" fmla="*/ 35525 w 35525"/>
                  <a:gd name="connsiteY4" fmla="*/ 78826 h 96349"/>
                  <a:gd name="connsiteX5" fmla="*/ 22787 w 35525"/>
                  <a:gd name="connsiteY5" fmla="*/ 62020 h 96349"/>
                  <a:gd name="connsiteX6" fmla="*/ 22787 w 35525"/>
                  <a:gd name="connsiteY6" fmla="*/ 34329 h 96349"/>
                  <a:gd name="connsiteX7" fmla="*/ 35525 w 35525"/>
                  <a:gd name="connsiteY7" fmla="*/ 17523 h 96349"/>
                  <a:gd name="connsiteX8" fmla="*/ 17763 w 35525"/>
                  <a:gd name="connsiteY8" fmla="*/ 0 h 96349"/>
                  <a:gd name="connsiteX9" fmla="*/ 0 w 35525"/>
                  <a:gd name="connsiteY9" fmla="*/ 17523 h 96349"/>
                  <a:gd name="connsiteX10" fmla="*/ 12859 w 35525"/>
                  <a:gd name="connsiteY10" fmla="*/ 34329 h 96349"/>
                  <a:gd name="connsiteX11" fmla="*/ 24162 w 35525"/>
                  <a:gd name="connsiteY11" fmla="*/ 78826 h 96349"/>
                  <a:gd name="connsiteX12" fmla="*/ 17823 w 35525"/>
                  <a:gd name="connsiteY12" fmla="*/ 85046 h 96349"/>
                  <a:gd name="connsiteX13" fmla="*/ 11483 w 35525"/>
                  <a:gd name="connsiteY13" fmla="*/ 78826 h 96349"/>
                  <a:gd name="connsiteX14" fmla="*/ 17823 w 35525"/>
                  <a:gd name="connsiteY14" fmla="*/ 72606 h 96349"/>
                  <a:gd name="connsiteX15" fmla="*/ 24162 w 35525"/>
                  <a:gd name="connsiteY15" fmla="*/ 78826 h 96349"/>
                  <a:gd name="connsiteX16" fmla="*/ 11483 w 35525"/>
                  <a:gd name="connsiteY16" fmla="*/ 17523 h 96349"/>
                  <a:gd name="connsiteX17" fmla="*/ 17823 w 35525"/>
                  <a:gd name="connsiteY17" fmla="*/ 11303 h 96349"/>
                  <a:gd name="connsiteX18" fmla="*/ 24162 w 35525"/>
                  <a:gd name="connsiteY18" fmla="*/ 17523 h 96349"/>
                  <a:gd name="connsiteX19" fmla="*/ 17823 w 35525"/>
                  <a:gd name="connsiteY19" fmla="*/ 23743 h 96349"/>
                  <a:gd name="connsiteX20" fmla="*/ 11483 w 35525"/>
                  <a:gd name="connsiteY20" fmla="*/ 17523 h 9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525" h="96349">
                    <a:moveTo>
                      <a:pt x="12859" y="34329"/>
                    </a:moveTo>
                    <a:lnTo>
                      <a:pt x="12859" y="61960"/>
                    </a:lnTo>
                    <a:cubicBezTo>
                      <a:pt x="5442" y="64053"/>
                      <a:pt x="0" y="70812"/>
                      <a:pt x="0" y="78826"/>
                    </a:cubicBezTo>
                    <a:cubicBezTo>
                      <a:pt x="0" y="88515"/>
                      <a:pt x="7954" y="96349"/>
                      <a:pt x="17763" y="96349"/>
                    </a:cubicBezTo>
                    <a:cubicBezTo>
                      <a:pt x="27571" y="96349"/>
                      <a:pt x="35525" y="88515"/>
                      <a:pt x="35525" y="78826"/>
                    </a:cubicBezTo>
                    <a:cubicBezTo>
                      <a:pt x="35525" y="70871"/>
                      <a:pt x="30143" y="64173"/>
                      <a:pt x="22787" y="62020"/>
                    </a:cubicBezTo>
                    <a:lnTo>
                      <a:pt x="22787" y="34329"/>
                    </a:lnTo>
                    <a:cubicBezTo>
                      <a:pt x="30143" y="32176"/>
                      <a:pt x="35525" y="25478"/>
                      <a:pt x="35525" y="17523"/>
                    </a:cubicBezTo>
                    <a:cubicBezTo>
                      <a:pt x="35525" y="7835"/>
                      <a:pt x="27571" y="0"/>
                      <a:pt x="17763" y="0"/>
                    </a:cubicBezTo>
                    <a:cubicBezTo>
                      <a:pt x="7954" y="0"/>
                      <a:pt x="0" y="7835"/>
                      <a:pt x="0" y="17523"/>
                    </a:cubicBezTo>
                    <a:cubicBezTo>
                      <a:pt x="60" y="25478"/>
                      <a:pt x="5442" y="32236"/>
                      <a:pt x="12859" y="34329"/>
                    </a:cubicBezTo>
                    <a:close/>
                    <a:moveTo>
                      <a:pt x="24162" y="78826"/>
                    </a:moveTo>
                    <a:cubicBezTo>
                      <a:pt x="24162" y="82295"/>
                      <a:pt x="21351" y="85046"/>
                      <a:pt x="17823" y="85046"/>
                    </a:cubicBezTo>
                    <a:cubicBezTo>
                      <a:pt x="14354" y="85046"/>
                      <a:pt x="11483" y="82235"/>
                      <a:pt x="11483" y="78826"/>
                    </a:cubicBezTo>
                    <a:cubicBezTo>
                      <a:pt x="11483" y="75357"/>
                      <a:pt x="14294" y="72606"/>
                      <a:pt x="17823" y="72606"/>
                    </a:cubicBezTo>
                    <a:cubicBezTo>
                      <a:pt x="21291" y="72606"/>
                      <a:pt x="24162" y="75417"/>
                      <a:pt x="24162" y="78826"/>
                    </a:cubicBezTo>
                    <a:close/>
                    <a:moveTo>
                      <a:pt x="11483" y="17523"/>
                    </a:moveTo>
                    <a:cubicBezTo>
                      <a:pt x="11483" y="14055"/>
                      <a:pt x="14294" y="11303"/>
                      <a:pt x="17823" y="11303"/>
                    </a:cubicBezTo>
                    <a:cubicBezTo>
                      <a:pt x="21291" y="11303"/>
                      <a:pt x="24162" y="14114"/>
                      <a:pt x="24162" y="17523"/>
                    </a:cubicBezTo>
                    <a:cubicBezTo>
                      <a:pt x="24162" y="20933"/>
                      <a:pt x="21351" y="23743"/>
                      <a:pt x="17823" y="23743"/>
                    </a:cubicBezTo>
                    <a:cubicBezTo>
                      <a:pt x="14354" y="23743"/>
                      <a:pt x="11483" y="20933"/>
                      <a:pt x="11483" y="17523"/>
                    </a:cubicBez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93" name="Vrije vorm: vorm 4392">
                <a:extLst>
                  <a:ext uri="{FF2B5EF4-FFF2-40B4-BE49-F238E27FC236}">
                    <a16:creationId xmlns:a16="http://schemas.microsoft.com/office/drawing/2014/main" id="{0F5B841B-D93A-46C2-9D3F-5E1DC44CAB67}"/>
                  </a:ext>
                </a:extLst>
              </p:cNvPr>
              <p:cNvSpPr/>
              <p:nvPr/>
            </p:nvSpPr>
            <p:spPr>
              <a:xfrm>
                <a:off x="769080" y="4706150"/>
                <a:ext cx="74160" cy="151192"/>
              </a:xfrm>
              <a:custGeom>
                <a:avLst/>
                <a:gdLst>
                  <a:gd name="connsiteX0" fmla="*/ 51614 w 74160"/>
                  <a:gd name="connsiteY0" fmla="*/ 86780 h 151192"/>
                  <a:gd name="connsiteX1" fmla="*/ 51614 w 74160"/>
                  <a:gd name="connsiteY1" fmla="*/ 116804 h 151192"/>
                  <a:gd name="connsiteX2" fmla="*/ 38635 w 74160"/>
                  <a:gd name="connsiteY2" fmla="*/ 133669 h 151192"/>
                  <a:gd name="connsiteX3" fmla="*/ 56398 w 74160"/>
                  <a:gd name="connsiteY3" fmla="*/ 151193 h 151192"/>
                  <a:gd name="connsiteX4" fmla="*/ 74161 w 74160"/>
                  <a:gd name="connsiteY4" fmla="*/ 133669 h 151192"/>
                  <a:gd name="connsiteX5" fmla="*/ 61601 w 74160"/>
                  <a:gd name="connsiteY5" fmla="*/ 116864 h 151192"/>
                  <a:gd name="connsiteX6" fmla="*/ 61601 w 74160"/>
                  <a:gd name="connsiteY6" fmla="*/ 81398 h 151192"/>
                  <a:gd name="connsiteX7" fmla="*/ 23564 w 74160"/>
                  <a:gd name="connsiteY7" fmla="*/ 56757 h 151192"/>
                  <a:gd name="connsiteX8" fmla="*/ 23564 w 74160"/>
                  <a:gd name="connsiteY8" fmla="*/ 34090 h 151192"/>
                  <a:gd name="connsiteX9" fmla="*/ 35525 w 74160"/>
                  <a:gd name="connsiteY9" fmla="*/ 17523 h 151192"/>
                  <a:gd name="connsiteX10" fmla="*/ 17763 w 74160"/>
                  <a:gd name="connsiteY10" fmla="*/ 0 h 151192"/>
                  <a:gd name="connsiteX11" fmla="*/ 0 w 74160"/>
                  <a:gd name="connsiteY11" fmla="*/ 17523 h 151192"/>
                  <a:gd name="connsiteX12" fmla="*/ 13636 w 74160"/>
                  <a:gd name="connsiteY12" fmla="*/ 34569 h 151192"/>
                  <a:gd name="connsiteX13" fmla="*/ 13636 w 74160"/>
                  <a:gd name="connsiteY13" fmla="*/ 62080 h 151192"/>
                  <a:gd name="connsiteX14" fmla="*/ 51614 w 74160"/>
                  <a:gd name="connsiteY14" fmla="*/ 86780 h 151192"/>
                  <a:gd name="connsiteX15" fmla="*/ 11423 w 74160"/>
                  <a:gd name="connsiteY15" fmla="*/ 17583 h 151192"/>
                  <a:gd name="connsiteX16" fmla="*/ 17763 w 74160"/>
                  <a:gd name="connsiteY16" fmla="*/ 11364 h 151192"/>
                  <a:gd name="connsiteX17" fmla="*/ 24102 w 74160"/>
                  <a:gd name="connsiteY17" fmla="*/ 17583 h 151192"/>
                  <a:gd name="connsiteX18" fmla="*/ 17763 w 74160"/>
                  <a:gd name="connsiteY18" fmla="*/ 23803 h 151192"/>
                  <a:gd name="connsiteX19" fmla="*/ 11423 w 74160"/>
                  <a:gd name="connsiteY19" fmla="*/ 17583 h 151192"/>
                  <a:gd name="connsiteX20" fmla="*/ 50059 w 74160"/>
                  <a:gd name="connsiteY20" fmla="*/ 133669 h 151192"/>
                  <a:gd name="connsiteX21" fmla="*/ 56398 w 74160"/>
                  <a:gd name="connsiteY21" fmla="*/ 127449 h 151192"/>
                  <a:gd name="connsiteX22" fmla="*/ 62738 w 74160"/>
                  <a:gd name="connsiteY22" fmla="*/ 133669 h 151192"/>
                  <a:gd name="connsiteX23" fmla="*/ 56398 w 74160"/>
                  <a:gd name="connsiteY23" fmla="*/ 139889 h 151192"/>
                  <a:gd name="connsiteX24" fmla="*/ 50059 w 74160"/>
                  <a:gd name="connsiteY24" fmla="*/ 133669 h 151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160" h="151192">
                    <a:moveTo>
                      <a:pt x="51614" y="86780"/>
                    </a:moveTo>
                    <a:lnTo>
                      <a:pt x="51614" y="116804"/>
                    </a:lnTo>
                    <a:cubicBezTo>
                      <a:pt x="44138" y="118837"/>
                      <a:pt x="38635" y="125655"/>
                      <a:pt x="38635" y="133669"/>
                    </a:cubicBezTo>
                    <a:cubicBezTo>
                      <a:pt x="38635" y="143358"/>
                      <a:pt x="46590" y="151193"/>
                      <a:pt x="56398" y="151193"/>
                    </a:cubicBezTo>
                    <a:cubicBezTo>
                      <a:pt x="66207" y="151193"/>
                      <a:pt x="74161" y="143358"/>
                      <a:pt x="74161" y="133669"/>
                    </a:cubicBezTo>
                    <a:cubicBezTo>
                      <a:pt x="74161" y="125775"/>
                      <a:pt x="68898" y="119076"/>
                      <a:pt x="61601" y="116864"/>
                    </a:cubicBezTo>
                    <a:lnTo>
                      <a:pt x="61601" y="81398"/>
                    </a:lnTo>
                    <a:lnTo>
                      <a:pt x="23564" y="56757"/>
                    </a:lnTo>
                    <a:lnTo>
                      <a:pt x="23564" y="34090"/>
                    </a:lnTo>
                    <a:cubicBezTo>
                      <a:pt x="30502" y="31698"/>
                      <a:pt x="35525" y="25179"/>
                      <a:pt x="35525" y="17523"/>
                    </a:cubicBezTo>
                    <a:cubicBezTo>
                      <a:pt x="35525" y="7835"/>
                      <a:pt x="27571" y="0"/>
                      <a:pt x="17763" y="0"/>
                    </a:cubicBezTo>
                    <a:cubicBezTo>
                      <a:pt x="7954" y="0"/>
                      <a:pt x="0" y="7835"/>
                      <a:pt x="0" y="17523"/>
                    </a:cubicBezTo>
                    <a:cubicBezTo>
                      <a:pt x="0" y="25777"/>
                      <a:pt x="5801" y="32715"/>
                      <a:pt x="13636" y="34569"/>
                    </a:cubicBezTo>
                    <a:lnTo>
                      <a:pt x="13636" y="62080"/>
                    </a:lnTo>
                    <a:lnTo>
                      <a:pt x="51614" y="86780"/>
                    </a:lnTo>
                    <a:close/>
                    <a:moveTo>
                      <a:pt x="11423" y="17583"/>
                    </a:moveTo>
                    <a:cubicBezTo>
                      <a:pt x="11423" y="14114"/>
                      <a:pt x="14234" y="11364"/>
                      <a:pt x="17763" y="11364"/>
                    </a:cubicBezTo>
                    <a:cubicBezTo>
                      <a:pt x="21232" y="11364"/>
                      <a:pt x="24102" y="14174"/>
                      <a:pt x="24102" y="17583"/>
                    </a:cubicBezTo>
                    <a:cubicBezTo>
                      <a:pt x="24102" y="20992"/>
                      <a:pt x="21291" y="23803"/>
                      <a:pt x="17763" y="23803"/>
                    </a:cubicBezTo>
                    <a:cubicBezTo>
                      <a:pt x="14234" y="23803"/>
                      <a:pt x="11423" y="20992"/>
                      <a:pt x="11423" y="17583"/>
                    </a:cubicBezTo>
                    <a:close/>
                    <a:moveTo>
                      <a:pt x="50059" y="133669"/>
                    </a:moveTo>
                    <a:cubicBezTo>
                      <a:pt x="50059" y="130200"/>
                      <a:pt x="52870" y="127449"/>
                      <a:pt x="56398" y="127449"/>
                    </a:cubicBezTo>
                    <a:cubicBezTo>
                      <a:pt x="59867" y="127449"/>
                      <a:pt x="62738" y="130260"/>
                      <a:pt x="62738" y="133669"/>
                    </a:cubicBezTo>
                    <a:cubicBezTo>
                      <a:pt x="62738" y="137078"/>
                      <a:pt x="59927" y="139889"/>
                      <a:pt x="56398" y="139889"/>
                    </a:cubicBezTo>
                    <a:cubicBezTo>
                      <a:pt x="52929" y="139889"/>
                      <a:pt x="50059" y="137078"/>
                      <a:pt x="50059" y="133669"/>
                    </a:cubicBezTo>
                    <a:close/>
                  </a:path>
                </a:pathLst>
              </a:custGeom>
              <a:grpFill/>
              <a:ln w="5978" cap="flat">
                <a:noFill/>
                <a:prstDash val="solid"/>
                <a:miter/>
              </a:ln>
            </p:spPr>
            <p:txBody>
              <a:bodyPr rtlCol="0" anchor="ctr"/>
              <a:lstStyle/>
              <a:p>
                <a:endParaRPr lang="en-GB">
                  <a:solidFill>
                    <a:schemeClr val="tx2">
                      <a:alpha val="40000"/>
                    </a:schemeClr>
                  </a:solidFill>
                </a:endParaRPr>
              </a:p>
            </p:txBody>
          </p:sp>
        </p:grpSp>
        <p:sp>
          <p:nvSpPr>
            <p:cNvPr id="4389" name="Vrije vorm: vorm 4388">
              <a:extLst>
                <a:ext uri="{FF2B5EF4-FFF2-40B4-BE49-F238E27FC236}">
                  <a16:creationId xmlns:a16="http://schemas.microsoft.com/office/drawing/2014/main" id="{2E3D1371-33BF-45F3-A5D5-F58F382154EE}"/>
                </a:ext>
              </a:extLst>
            </p:cNvPr>
            <p:cNvSpPr/>
            <p:nvPr/>
          </p:nvSpPr>
          <p:spPr>
            <a:xfrm>
              <a:off x="877630" y="4753577"/>
              <a:ext cx="35525" cy="35047"/>
            </a:xfrm>
            <a:custGeom>
              <a:avLst/>
              <a:gdLst>
                <a:gd name="connsiteX0" fmla="*/ 17763 w 35525"/>
                <a:gd name="connsiteY0" fmla="*/ 0 h 35047"/>
                <a:gd name="connsiteX1" fmla="*/ 0 w 35525"/>
                <a:gd name="connsiteY1" fmla="*/ 17523 h 35047"/>
                <a:gd name="connsiteX2" fmla="*/ 17763 w 35525"/>
                <a:gd name="connsiteY2" fmla="*/ 35047 h 35047"/>
                <a:gd name="connsiteX3" fmla="*/ 35525 w 35525"/>
                <a:gd name="connsiteY3" fmla="*/ 17523 h 35047"/>
                <a:gd name="connsiteX4" fmla="*/ 17763 w 35525"/>
                <a:gd name="connsiteY4" fmla="*/ 0 h 35047"/>
                <a:gd name="connsiteX5" fmla="*/ 17763 w 35525"/>
                <a:gd name="connsiteY5" fmla="*/ 23804 h 35047"/>
                <a:gd name="connsiteX6" fmla="*/ 11423 w 35525"/>
                <a:gd name="connsiteY6" fmla="*/ 17583 h 35047"/>
                <a:gd name="connsiteX7" fmla="*/ 17763 w 35525"/>
                <a:gd name="connsiteY7" fmla="*/ 11364 h 35047"/>
                <a:gd name="connsiteX8" fmla="*/ 24102 w 35525"/>
                <a:gd name="connsiteY8" fmla="*/ 17583 h 35047"/>
                <a:gd name="connsiteX9" fmla="*/ 17763 w 35525"/>
                <a:gd name="connsiteY9" fmla="*/ 23804 h 3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5" h="35047">
                  <a:moveTo>
                    <a:pt x="17763" y="0"/>
                  </a:moveTo>
                  <a:cubicBezTo>
                    <a:pt x="7954" y="0"/>
                    <a:pt x="0" y="7835"/>
                    <a:pt x="0" y="17523"/>
                  </a:cubicBezTo>
                  <a:cubicBezTo>
                    <a:pt x="0" y="27212"/>
                    <a:pt x="7954" y="35047"/>
                    <a:pt x="17763" y="35047"/>
                  </a:cubicBezTo>
                  <a:cubicBezTo>
                    <a:pt x="27571" y="35047"/>
                    <a:pt x="35525" y="27212"/>
                    <a:pt x="35525" y="17523"/>
                  </a:cubicBezTo>
                  <a:cubicBezTo>
                    <a:pt x="35525" y="7895"/>
                    <a:pt x="27571" y="0"/>
                    <a:pt x="17763" y="0"/>
                  </a:cubicBezTo>
                  <a:close/>
                  <a:moveTo>
                    <a:pt x="17763" y="23804"/>
                  </a:moveTo>
                  <a:cubicBezTo>
                    <a:pt x="14294" y="23804"/>
                    <a:pt x="11423" y="20992"/>
                    <a:pt x="11423" y="17583"/>
                  </a:cubicBezTo>
                  <a:cubicBezTo>
                    <a:pt x="11423" y="14115"/>
                    <a:pt x="14234" y="11364"/>
                    <a:pt x="17763" y="11364"/>
                  </a:cubicBezTo>
                  <a:cubicBezTo>
                    <a:pt x="21232" y="11364"/>
                    <a:pt x="24102" y="14174"/>
                    <a:pt x="24102" y="17583"/>
                  </a:cubicBezTo>
                  <a:cubicBezTo>
                    <a:pt x="24043" y="20992"/>
                    <a:pt x="21232" y="23804"/>
                    <a:pt x="17763" y="23804"/>
                  </a:cubicBezTo>
                  <a:close/>
                </a:path>
              </a:pathLst>
            </a:custGeom>
            <a:grpFill/>
            <a:ln w="5978" cap="flat">
              <a:noFill/>
              <a:prstDash val="solid"/>
              <a:miter/>
            </a:ln>
          </p:spPr>
          <p:txBody>
            <a:bodyPr rtlCol="0" anchor="ctr"/>
            <a:lstStyle/>
            <a:p>
              <a:endParaRPr lang="en-GB">
                <a:solidFill>
                  <a:schemeClr val="tx2">
                    <a:alpha val="40000"/>
                  </a:schemeClr>
                </a:solidFill>
              </a:endParaRPr>
            </a:p>
          </p:txBody>
        </p:sp>
      </p:grpSp>
      <p:grpSp>
        <p:nvGrpSpPr>
          <p:cNvPr id="4394" name="ICOON2_BLAUW">
            <a:extLst>
              <a:ext uri="{FF2B5EF4-FFF2-40B4-BE49-F238E27FC236}">
                <a16:creationId xmlns:a16="http://schemas.microsoft.com/office/drawing/2014/main" id="{FC30435C-3E5C-47ED-9F76-B53F276FB9B1}"/>
              </a:ext>
            </a:extLst>
          </p:cNvPr>
          <p:cNvGrpSpPr/>
          <p:nvPr/>
        </p:nvGrpSpPr>
        <p:grpSpPr>
          <a:xfrm>
            <a:off x="9103151" y="4650353"/>
            <a:ext cx="278701" cy="278701"/>
            <a:chOff x="8959679" y="4623855"/>
            <a:chExt cx="278701" cy="278701"/>
          </a:xfrm>
          <a:solidFill>
            <a:schemeClr val="tx2">
              <a:alpha val="40000"/>
            </a:schemeClr>
          </a:solidFill>
          <a:effectLst>
            <a:outerShdw blurRad="190500" algn="ctr" rotWithShape="0">
              <a:prstClr val="black">
                <a:alpha val="50000"/>
              </a:prstClr>
            </a:outerShdw>
          </a:effectLst>
        </p:grpSpPr>
        <p:sp>
          <p:nvSpPr>
            <p:cNvPr id="4395" name="Vrije vorm: vorm 4394">
              <a:extLst>
                <a:ext uri="{FF2B5EF4-FFF2-40B4-BE49-F238E27FC236}">
                  <a16:creationId xmlns:a16="http://schemas.microsoft.com/office/drawing/2014/main" id="{922093D8-881F-430F-9EBA-2625AF70E042}"/>
                </a:ext>
              </a:extLst>
            </p:cNvPr>
            <p:cNvSpPr/>
            <p:nvPr/>
          </p:nvSpPr>
          <p:spPr>
            <a:xfrm>
              <a:off x="8959679" y="4623855"/>
              <a:ext cx="278701" cy="278701"/>
            </a:xfrm>
            <a:custGeom>
              <a:avLst/>
              <a:gdLst>
                <a:gd name="connsiteX0" fmla="*/ 139350 w 278701"/>
                <a:gd name="connsiteY0" fmla="*/ 25299 h 278701"/>
                <a:gd name="connsiteX1" fmla="*/ 253403 w 278701"/>
                <a:gd name="connsiteY1" fmla="*/ 139351 h 278701"/>
                <a:gd name="connsiteX2" fmla="*/ 139350 w 278701"/>
                <a:gd name="connsiteY2" fmla="*/ 253403 h 278701"/>
                <a:gd name="connsiteX3" fmla="*/ 25298 w 278701"/>
                <a:gd name="connsiteY3" fmla="*/ 139351 h 278701"/>
                <a:gd name="connsiteX4" fmla="*/ 139350 w 278701"/>
                <a:gd name="connsiteY4" fmla="*/ 25299 h 278701"/>
                <a:gd name="connsiteX5" fmla="*/ 139350 w 278701"/>
                <a:gd name="connsiteY5" fmla="*/ 0 h 278701"/>
                <a:gd name="connsiteX6" fmla="*/ 0 w 278701"/>
                <a:gd name="connsiteY6" fmla="*/ 139351 h 278701"/>
                <a:gd name="connsiteX7" fmla="*/ 139350 w 278701"/>
                <a:gd name="connsiteY7" fmla="*/ 278702 h 278701"/>
                <a:gd name="connsiteX8" fmla="*/ 278702 w 278701"/>
                <a:gd name="connsiteY8" fmla="*/ 139351 h 278701"/>
                <a:gd name="connsiteX9" fmla="*/ 139350 w 278701"/>
                <a:gd name="connsiteY9" fmla="*/ 0 h 278701"/>
                <a:gd name="connsiteX10" fmla="*/ 139350 w 278701"/>
                <a:gd name="connsiteY10" fmla="*/ 0 h 278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8701" h="278701">
                  <a:moveTo>
                    <a:pt x="139350" y="25299"/>
                  </a:moveTo>
                  <a:cubicBezTo>
                    <a:pt x="202208" y="25299"/>
                    <a:pt x="253403" y="76434"/>
                    <a:pt x="253403" y="139351"/>
                  </a:cubicBezTo>
                  <a:cubicBezTo>
                    <a:pt x="253403" y="202208"/>
                    <a:pt x="202268" y="253403"/>
                    <a:pt x="139350" y="253403"/>
                  </a:cubicBezTo>
                  <a:cubicBezTo>
                    <a:pt x="76494" y="253403"/>
                    <a:pt x="25298" y="202268"/>
                    <a:pt x="25298" y="139351"/>
                  </a:cubicBezTo>
                  <a:cubicBezTo>
                    <a:pt x="25298" y="76434"/>
                    <a:pt x="76494" y="25299"/>
                    <a:pt x="139350" y="25299"/>
                  </a:cubicBezTo>
                  <a:moveTo>
                    <a:pt x="139350" y="0"/>
                  </a:moveTo>
                  <a:cubicBezTo>
                    <a:pt x="62379" y="0"/>
                    <a:pt x="0" y="62379"/>
                    <a:pt x="0" y="139351"/>
                  </a:cubicBezTo>
                  <a:cubicBezTo>
                    <a:pt x="0" y="216323"/>
                    <a:pt x="62379" y="278702"/>
                    <a:pt x="139350" y="278702"/>
                  </a:cubicBezTo>
                  <a:cubicBezTo>
                    <a:pt x="216323" y="278702"/>
                    <a:pt x="278702" y="216323"/>
                    <a:pt x="278702" y="139351"/>
                  </a:cubicBezTo>
                  <a:cubicBezTo>
                    <a:pt x="278702" y="62379"/>
                    <a:pt x="216323" y="0"/>
                    <a:pt x="139350" y="0"/>
                  </a:cubicBezTo>
                  <a:lnTo>
                    <a:pt x="139350" y="0"/>
                  </a:lnTo>
                  <a:close/>
                </a:path>
              </a:pathLst>
            </a:custGeom>
            <a:grpFill/>
            <a:ln w="5978" cap="flat">
              <a:noFill/>
              <a:prstDash val="solid"/>
              <a:miter/>
            </a:ln>
          </p:spPr>
          <p:txBody>
            <a:bodyPr rtlCol="0" anchor="ctr"/>
            <a:lstStyle/>
            <a:p>
              <a:endParaRPr lang="en-GB">
                <a:solidFill>
                  <a:schemeClr val="tx2">
                    <a:alpha val="40000"/>
                  </a:schemeClr>
                </a:solidFill>
              </a:endParaRPr>
            </a:p>
          </p:txBody>
        </p:sp>
        <p:sp>
          <p:nvSpPr>
            <p:cNvPr id="4396" name="Vrije vorm: vorm 4395">
              <a:extLst>
                <a:ext uri="{FF2B5EF4-FFF2-40B4-BE49-F238E27FC236}">
                  <a16:creationId xmlns:a16="http://schemas.microsoft.com/office/drawing/2014/main" id="{636A2305-6978-4197-BC07-2B5C8B79C435}"/>
                </a:ext>
              </a:extLst>
            </p:cNvPr>
            <p:cNvSpPr/>
            <p:nvPr/>
          </p:nvSpPr>
          <p:spPr>
            <a:xfrm>
              <a:off x="9028059" y="4687789"/>
              <a:ext cx="142081" cy="150833"/>
            </a:xfrm>
            <a:custGeom>
              <a:avLst/>
              <a:gdLst>
                <a:gd name="connsiteX0" fmla="*/ 79822 w 142081"/>
                <a:gd name="connsiteY0" fmla="*/ 105081 h 150833"/>
                <a:gd name="connsiteX1" fmla="*/ 64691 w 142081"/>
                <a:gd name="connsiteY1" fmla="*/ 105739 h 150833"/>
                <a:gd name="connsiteX2" fmla="*/ 9668 w 142081"/>
                <a:gd name="connsiteY2" fmla="*/ 49281 h 150833"/>
                <a:gd name="connsiteX3" fmla="*/ 40469 w 142081"/>
                <a:gd name="connsiteY3" fmla="*/ 49281 h 150833"/>
                <a:gd name="connsiteX4" fmla="*/ 71270 w 142081"/>
                <a:gd name="connsiteY4" fmla="*/ 80859 h 150833"/>
                <a:gd name="connsiteX5" fmla="*/ 128744 w 142081"/>
                <a:gd name="connsiteY5" fmla="*/ 11124 h 150833"/>
                <a:gd name="connsiteX6" fmla="*/ 71090 w 142081"/>
                <a:gd name="connsiteY6" fmla="*/ 0 h 150833"/>
                <a:gd name="connsiteX7" fmla="*/ 99 w 142081"/>
                <a:gd name="connsiteY7" fmla="*/ 23026 h 150833"/>
                <a:gd name="connsiteX8" fmla="*/ 4824 w 142081"/>
                <a:gd name="connsiteY8" fmla="*/ 83790 h 150833"/>
                <a:gd name="connsiteX9" fmla="*/ 70970 w 142081"/>
                <a:gd name="connsiteY9" fmla="*/ 150834 h 150833"/>
                <a:gd name="connsiteX10" fmla="*/ 137237 w 142081"/>
                <a:gd name="connsiteY10" fmla="*/ 83790 h 150833"/>
                <a:gd name="connsiteX11" fmla="*/ 142081 w 142081"/>
                <a:gd name="connsiteY11" fmla="*/ 29605 h 150833"/>
                <a:gd name="connsiteX12" fmla="*/ 79822 w 142081"/>
                <a:gd name="connsiteY12" fmla="*/ 105081 h 15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081" h="150833">
                  <a:moveTo>
                    <a:pt x="79822" y="105081"/>
                  </a:moveTo>
                  <a:cubicBezTo>
                    <a:pt x="75935" y="109806"/>
                    <a:pt x="68997" y="110105"/>
                    <a:pt x="64691" y="105739"/>
                  </a:cubicBezTo>
                  <a:lnTo>
                    <a:pt x="9668" y="49281"/>
                  </a:lnTo>
                  <a:lnTo>
                    <a:pt x="40469" y="49281"/>
                  </a:lnTo>
                  <a:lnTo>
                    <a:pt x="71270" y="80859"/>
                  </a:lnTo>
                  <a:lnTo>
                    <a:pt x="128744" y="11124"/>
                  </a:lnTo>
                  <a:cubicBezTo>
                    <a:pt x="118577" y="5503"/>
                    <a:pt x="100994" y="60"/>
                    <a:pt x="71090" y="0"/>
                  </a:cubicBezTo>
                  <a:cubicBezTo>
                    <a:pt x="9549" y="0"/>
                    <a:pt x="99" y="23026"/>
                    <a:pt x="99" y="23026"/>
                  </a:cubicBezTo>
                  <a:cubicBezTo>
                    <a:pt x="99" y="23026"/>
                    <a:pt x="-1097" y="56578"/>
                    <a:pt x="4824" y="83790"/>
                  </a:cubicBezTo>
                  <a:cubicBezTo>
                    <a:pt x="10745" y="111002"/>
                    <a:pt x="48484" y="150714"/>
                    <a:pt x="70970" y="150834"/>
                  </a:cubicBezTo>
                  <a:cubicBezTo>
                    <a:pt x="93578" y="150714"/>
                    <a:pt x="131316" y="111002"/>
                    <a:pt x="137237" y="83790"/>
                  </a:cubicBezTo>
                  <a:cubicBezTo>
                    <a:pt x="141543" y="63874"/>
                    <a:pt x="142081" y="40669"/>
                    <a:pt x="142081" y="29605"/>
                  </a:cubicBezTo>
                  <a:lnTo>
                    <a:pt x="79822" y="105081"/>
                  </a:lnTo>
                  <a:close/>
                </a:path>
              </a:pathLst>
            </a:custGeom>
            <a:grpFill/>
            <a:ln w="5978" cap="flat">
              <a:noFill/>
              <a:prstDash val="solid"/>
              <a:miter/>
            </a:ln>
          </p:spPr>
          <p:txBody>
            <a:bodyPr rtlCol="0" anchor="ctr"/>
            <a:lstStyle/>
            <a:p>
              <a:endParaRPr lang="en-GB">
                <a:solidFill>
                  <a:schemeClr val="tx2">
                    <a:alpha val="40000"/>
                  </a:schemeClr>
                </a:solidFill>
              </a:endParaRPr>
            </a:p>
          </p:txBody>
        </p:sp>
      </p:grpSp>
      <p:grpSp>
        <p:nvGrpSpPr>
          <p:cNvPr id="4397" name="ICOON1_GROEN">
            <a:extLst>
              <a:ext uri="{FF2B5EF4-FFF2-40B4-BE49-F238E27FC236}">
                <a16:creationId xmlns:a16="http://schemas.microsoft.com/office/drawing/2014/main" id="{5B7F5124-4F02-4BB9-BAB1-87B43259F0BA}"/>
              </a:ext>
            </a:extLst>
          </p:cNvPr>
          <p:cNvGrpSpPr/>
          <p:nvPr/>
        </p:nvGrpSpPr>
        <p:grpSpPr>
          <a:xfrm>
            <a:off x="9093626" y="1466745"/>
            <a:ext cx="287074" cy="287074"/>
            <a:chOff x="8946402" y="1045231"/>
            <a:chExt cx="287074" cy="287074"/>
          </a:xfrm>
          <a:solidFill>
            <a:schemeClr val="accent6"/>
          </a:solidFill>
          <a:effectLst>
            <a:outerShdw blurRad="190500" algn="ctr" rotWithShape="0">
              <a:prstClr val="black">
                <a:alpha val="50000"/>
              </a:prstClr>
            </a:outerShdw>
          </a:effectLst>
        </p:grpSpPr>
        <p:sp>
          <p:nvSpPr>
            <p:cNvPr id="4398" name="Vrije vorm: vorm 4397">
              <a:extLst>
                <a:ext uri="{FF2B5EF4-FFF2-40B4-BE49-F238E27FC236}">
                  <a16:creationId xmlns:a16="http://schemas.microsoft.com/office/drawing/2014/main" id="{A93AF7EB-4693-4427-BDF4-42C9C6FF92F0}"/>
                </a:ext>
              </a:extLst>
            </p:cNvPr>
            <p:cNvSpPr/>
            <p:nvPr/>
          </p:nvSpPr>
          <p:spPr>
            <a:xfrm>
              <a:off x="8946402" y="1045231"/>
              <a:ext cx="287074" cy="287074"/>
            </a:xfrm>
            <a:custGeom>
              <a:avLst/>
              <a:gdLst>
                <a:gd name="connsiteX0" fmla="*/ 143537 w 287074"/>
                <a:gd name="connsiteY0" fmla="*/ 26076 h 287074"/>
                <a:gd name="connsiteX1" fmla="*/ 260999 w 287074"/>
                <a:gd name="connsiteY1" fmla="*/ 143537 h 287074"/>
                <a:gd name="connsiteX2" fmla="*/ 143537 w 287074"/>
                <a:gd name="connsiteY2" fmla="*/ 260999 h 287074"/>
                <a:gd name="connsiteX3" fmla="*/ 26076 w 287074"/>
                <a:gd name="connsiteY3" fmla="*/ 143537 h 287074"/>
                <a:gd name="connsiteX4" fmla="*/ 143537 w 287074"/>
                <a:gd name="connsiteY4" fmla="*/ 26076 h 287074"/>
                <a:gd name="connsiteX5" fmla="*/ 143537 w 287074"/>
                <a:gd name="connsiteY5" fmla="*/ 0 h 287074"/>
                <a:gd name="connsiteX6" fmla="*/ 0 w 287074"/>
                <a:gd name="connsiteY6" fmla="*/ 143537 h 287074"/>
                <a:gd name="connsiteX7" fmla="*/ 143537 w 287074"/>
                <a:gd name="connsiteY7" fmla="*/ 287075 h 287074"/>
                <a:gd name="connsiteX8" fmla="*/ 287075 w 287074"/>
                <a:gd name="connsiteY8" fmla="*/ 143537 h 287074"/>
                <a:gd name="connsiteX9" fmla="*/ 143537 w 287074"/>
                <a:gd name="connsiteY9" fmla="*/ 0 h 287074"/>
                <a:gd name="connsiteX10" fmla="*/ 143537 w 287074"/>
                <a:gd name="connsiteY10" fmla="*/ 0 h 28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074" h="287074">
                  <a:moveTo>
                    <a:pt x="143537" y="26076"/>
                  </a:moveTo>
                  <a:cubicBezTo>
                    <a:pt x="208308" y="26076"/>
                    <a:pt x="260999" y="78766"/>
                    <a:pt x="260999" y="143537"/>
                  </a:cubicBezTo>
                  <a:cubicBezTo>
                    <a:pt x="260999" y="208309"/>
                    <a:pt x="208308" y="260999"/>
                    <a:pt x="143537" y="260999"/>
                  </a:cubicBezTo>
                  <a:cubicBezTo>
                    <a:pt x="78766" y="260999"/>
                    <a:pt x="26076" y="208309"/>
                    <a:pt x="26076" y="143537"/>
                  </a:cubicBezTo>
                  <a:cubicBezTo>
                    <a:pt x="26076" y="78766"/>
                    <a:pt x="78766" y="26076"/>
                    <a:pt x="143537" y="26076"/>
                  </a:cubicBezTo>
                  <a:moveTo>
                    <a:pt x="143537" y="0"/>
                  </a:moveTo>
                  <a:cubicBezTo>
                    <a:pt x="64293" y="0"/>
                    <a:pt x="0" y="64293"/>
                    <a:pt x="0" y="143537"/>
                  </a:cubicBezTo>
                  <a:cubicBezTo>
                    <a:pt x="0" y="222782"/>
                    <a:pt x="64293" y="287075"/>
                    <a:pt x="143537" y="287075"/>
                  </a:cubicBezTo>
                  <a:cubicBezTo>
                    <a:pt x="222782" y="287075"/>
                    <a:pt x="287075" y="222782"/>
                    <a:pt x="287075" y="143537"/>
                  </a:cubicBezTo>
                  <a:cubicBezTo>
                    <a:pt x="287075" y="64293"/>
                    <a:pt x="222842" y="0"/>
                    <a:pt x="143537" y="0"/>
                  </a:cubicBezTo>
                  <a:lnTo>
                    <a:pt x="143537" y="0"/>
                  </a:lnTo>
                  <a:close/>
                </a:path>
              </a:pathLst>
            </a:custGeom>
            <a:grpFill/>
            <a:ln w="5978" cap="flat">
              <a:noFill/>
              <a:prstDash val="solid"/>
              <a:miter/>
            </a:ln>
          </p:spPr>
          <p:txBody>
            <a:bodyPr rtlCol="0" anchor="ctr"/>
            <a:lstStyle/>
            <a:p>
              <a:endParaRPr lang="en-GB"/>
            </a:p>
          </p:txBody>
        </p:sp>
        <p:sp>
          <p:nvSpPr>
            <p:cNvPr id="4399" name="Vrije vorm: vorm 4398">
              <a:extLst>
                <a:ext uri="{FF2B5EF4-FFF2-40B4-BE49-F238E27FC236}">
                  <a16:creationId xmlns:a16="http://schemas.microsoft.com/office/drawing/2014/main" id="{B4F71E18-FE8F-4C4B-B0D0-C21ABAC569AE}"/>
                </a:ext>
              </a:extLst>
            </p:cNvPr>
            <p:cNvSpPr/>
            <p:nvPr/>
          </p:nvSpPr>
          <p:spPr>
            <a:xfrm>
              <a:off x="9019307" y="1110002"/>
              <a:ext cx="141982" cy="71050"/>
            </a:xfrm>
            <a:custGeom>
              <a:avLst/>
              <a:gdLst>
                <a:gd name="connsiteX0" fmla="*/ 70991 w 141982"/>
                <a:gd name="connsiteY0" fmla="*/ 71051 h 71050"/>
                <a:gd name="connsiteX1" fmla="*/ 141982 w 141982"/>
                <a:gd name="connsiteY1" fmla="*/ 47367 h 71050"/>
                <a:gd name="connsiteX2" fmla="*/ 141982 w 141982"/>
                <a:gd name="connsiteY2" fmla="*/ 23684 h 71050"/>
                <a:gd name="connsiteX3" fmla="*/ 70991 w 141982"/>
                <a:gd name="connsiteY3" fmla="*/ 0 h 71050"/>
                <a:gd name="connsiteX4" fmla="*/ 0 w 141982"/>
                <a:gd name="connsiteY4" fmla="*/ 23684 h 71050"/>
                <a:gd name="connsiteX5" fmla="*/ 0 w 141982"/>
                <a:gd name="connsiteY5" fmla="*/ 47367 h 71050"/>
                <a:gd name="connsiteX6" fmla="*/ 70991 w 141982"/>
                <a:gd name="connsiteY6" fmla="*/ 71051 h 71050"/>
                <a:gd name="connsiteX7" fmla="*/ 70991 w 141982"/>
                <a:gd name="connsiteY7" fmla="*/ 9988 h 71050"/>
                <a:gd name="connsiteX8" fmla="*/ 125715 w 141982"/>
                <a:gd name="connsiteY8" fmla="*/ 23743 h 71050"/>
                <a:gd name="connsiteX9" fmla="*/ 70991 w 141982"/>
                <a:gd name="connsiteY9" fmla="*/ 37499 h 71050"/>
                <a:gd name="connsiteX10" fmla="*/ 16267 w 141982"/>
                <a:gd name="connsiteY10" fmla="*/ 23743 h 71050"/>
                <a:gd name="connsiteX11" fmla="*/ 70991 w 141982"/>
                <a:gd name="connsiteY11" fmla="*/ 9988 h 71050"/>
                <a:gd name="connsiteX12" fmla="*/ 70991 w 141982"/>
                <a:gd name="connsiteY12" fmla="*/ 9988 h 7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982" h="71050">
                  <a:moveTo>
                    <a:pt x="70991" y="71051"/>
                  </a:moveTo>
                  <a:cubicBezTo>
                    <a:pt x="110045" y="71051"/>
                    <a:pt x="141982" y="60465"/>
                    <a:pt x="141982" y="47367"/>
                  </a:cubicBezTo>
                  <a:lnTo>
                    <a:pt x="141982" y="23684"/>
                  </a:lnTo>
                  <a:cubicBezTo>
                    <a:pt x="141982" y="10586"/>
                    <a:pt x="110285" y="0"/>
                    <a:pt x="70991" y="0"/>
                  </a:cubicBezTo>
                  <a:cubicBezTo>
                    <a:pt x="31698" y="0"/>
                    <a:pt x="0" y="10586"/>
                    <a:pt x="0" y="23684"/>
                  </a:cubicBezTo>
                  <a:lnTo>
                    <a:pt x="0" y="47367"/>
                  </a:lnTo>
                  <a:cubicBezTo>
                    <a:pt x="0" y="60465"/>
                    <a:pt x="31698" y="71051"/>
                    <a:pt x="70991" y="71051"/>
                  </a:cubicBezTo>
                  <a:close/>
                  <a:moveTo>
                    <a:pt x="70991" y="9988"/>
                  </a:moveTo>
                  <a:cubicBezTo>
                    <a:pt x="101194" y="9988"/>
                    <a:pt x="125715" y="16088"/>
                    <a:pt x="125715" y="23743"/>
                  </a:cubicBezTo>
                  <a:cubicBezTo>
                    <a:pt x="125715" y="31399"/>
                    <a:pt x="101194" y="37499"/>
                    <a:pt x="70991" y="37499"/>
                  </a:cubicBezTo>
                  <a:cubicBezTo>
                    <a:pt x="40789" y="37499"/>
                    <a:pt x="16267" y="31399"/>
                    <a:pt x="16267" y="23743"/>
                  </a:cubicBezTo>
                  <a:cubicBezTo>
                    <a:pt x="16267" y="16088"/>
                    <a:pt x="40789" y="10167"/>
                    <a:pt x="70991" y="9988"/>
                  </a:cubicBezTo>
                  <a:lnTo>
                    <a:pt x="70991" y="9988"/>
                  </a:lnTo>
                  <a:close/>
                </a:path>
              </a:pathLst>
            </a:custGeom>
            <a:grpFill/>
            <a:ln w="5978" cap="flat">
              <a:noFill/>
              <a:prstDash val="solid"/>
              <a:miter/>
            </a:ln>
          </p:spPr>
          <p:txBody>
            <a:bodyPr rtlCol="0" anchor="ctr"/>
            <a:lstStyle/>
            <a:p>
              <a:endParaRPr lang="en-GB"/>
            </a:p>
          </p:txBody>
        </p:sp>
        <p:sp>
          <p:nvSpPr>
            <p:cNvPr id="4400" name="Vrije vorm: vorm 4399">
              <a:extLst>
                <a:ext uri="{FF2B5EF4-FFF2-40B4-BE49-F238E27FC236}">
                  <a16:creationId xmlns:a16="http://schemas.microsoft.com/office/drawing/2014/main" id="{3CC39950-BD28-4B0E-B437-F0052DC8F33B}"/>
                </a:ext>
              </a:extLst>
            </p:cNvPr>
            <p:cNvSpPr/>
            <p:nvPr/>
          </p:nvSpPr>
          <p:spPr>
            <a:xfrm>
              <a:off x="9019128" y="1167716"/>
              <a:ext cx="159906" cy="100398"/>
            </a:xfrm>
            <a:custGeom>
              <a:avLst/>
              <a:gdLst>
                <a:gd name="connsiteX0" fmla="*/ 141982 w 159906"/>
                <a:gd name="connsiteY0" fmla="*/ 24700 h 100398"/>
                <a:gd name="connsiteX1" fmla="*/ 141982 w 159906"/>
                <a:gd name="connsiteY1" fmla="*/ 5682 h 100398"/>
                <a:gd name="connsiteX2" fmla="*/ 140906 w 159906"/>
                <a:gd name="connsiteY2" fmla="*/ 2093 h 100398"/>
                <a:gd name="connsiteX3" fmla="*/ 139411 w 159906"/>
                <a:gd name="connsiteY3" fmla="*/ 0 h 100398"/>
                <a:gd name="connsiteX4" fmla="*/ 70991 w 159906"/>
                <a:gd name="connsiteY4" fmla="*/ 17763 h 100398"/>
                <a:gd name="connsiteX5" fmla="*/ 2572 w 159906"/>
                <a:gd name="connsiteY5" fmla="*/ 0 h 100398"/>
                <a:gd name="connsiteX6" fmla="*/ 1077 w 159906"/>
                <a:gd name="connsiteY6" fmla="*/ 2332 h 100398"/>
                <a:gd name="connsiteX7" fmla="*/ 0 w 159906"/>
                <a:gd name="connsiteY7" fmla="*/ 5921 h 100398"/>
                <a:gd name="connsiteX8" fmla="*/ 0 w 159906"/>
                <a:gd name="connsiteY8" fmla="*/ 29605 h 100398"/>
                <a:gd name="connsiteX9" fmla="*/ 70991 w 159906"/>
                <a:gd name="connsiteY9" fmla="*/ 53288 h 100398"/>
                <a:gd name="connsiteX10" fmla="*/ 76912 w 159906"/>
                <a:gd name="connsiteY10" fmla="*/ 53288 h 100398"/>
                <a:gd name="connsiteX11" fmla="*/ 76494 w 159906"/>
                <a:gd name="connsiteY11" fmla="*/ 57535 h 100398"/>
                <a:gd name="connsiteX12" fmla="*/ 70991 w 159906"/>
                <a:gd name="connsiteY12" fmla="*/ 57535 h 100398"/>
                <a:gd name="connsiteX13" fmla="*/ 2572 w 159906"/>
                <a:gd name="connsiteY13" fmla="*/ 39772 h 100398"/>
                <a:gd name="connsiteX14" fmla="*/ 60 w 159906"/>
                <a:gd name="connsiteY14" fmla="*/ 45693 h 100398"/>
                <a:gd name="connsiteX15" fmla="*/ 60 w 159906"/>
                <a:gd name="connsiteY15" fmla="*/ 69376 h 100398"/>
                <a:gd name="connsiteX16" fmla="*/ 71051 w 159906"/>
                <a:gd name="connsiteY16" fmla="*/ 93060 h 100398"/>
                <a:gd name="connsiteX17" fmla="*/ 93240 w 159906"/>
                <a:gd name="connsiteY17" fmla="*/ 91804 h 100398"/>
                <a:gd name="connsiteX18" fmla="*/ 151313 w 159906"/>
                <a:gd name="connsiteY18" fmla="*/ 84209 h 100398"/>
                <a:gd name="connsiteX19" fmla="*/ 143717 w 159906"/>
                <a:gd name="connsiteY19" fmla="*/ 26136 h 100398"/>
                <a:gd name="connsiteX20" fmla="*/ 141982 w 159906"/>
                <a:gd name="connsiteY20" fmla="*/ 24700 h 100398"/>
                <a:gd name="connsiteX21" fmla="*/ 141982 w 159906"/>
                <a:gd name="connsiteY21" fmla="*/ 24700 h 100398"/>
                <a:gd name="connsiteX22" fmla="*/ 118059 w 159906"/>
                <a:gd name="connsiteY22" fmla="*/ 91505 h 100398"/>
                <a:gd name="connsiteX23" fmla="*/ 85106 w 159906"/>
                <a:gd name="connsiteY23" fmla="*/ 58551 h 100398"/>
                <a:gd name="connsiteX24" fmla="*/ 118059 w 159906"/>
                <a:gd name="connsiteY24" fmla="*/ 25597 h 100398"/>
                <a:gd name="connsiteX25" fmla="*/ 151013 w 159906"/>
                <a:gd name="connsiteY25" fmla="*/ 58551 h 100398"/>
                <a:gd name="connsiteX26" fmla="*/ 118059 w 159906"/>
                <a:gd name="connsiteY26" fmla="*/ 91505 h 100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9906" h="100398">
                  <a:moveTo>
                    <a:pt x="141982" y="24700"/>
                  </a:moveTo>
                  <a:lnTo>
                    <a:pt x="141982" y="5682"/>
                  </a:lnTo>
                  <a:cubicBezTo>
                    <a:pt x="141982" y="4426"/>
                    <a:pt x="141564" y="3170"/>
                    <a:pt x="140906" y="2093"/>
                  </a:cubicBezTo>
                  <a:cubicBezTo>
                    <a:pt x="140487" y="1256"/>
                    <a:pt x="140069" y="598"/>
                    <a:pt x="139411" y="0"/>
                  </a:cubicBezTo>
                  <a:cubicBezTo>
                    <a:pt x="131576" y="10167"/>
                    <a:pt x="103945" y="17763"/>
                    <a:pt x="70991" y="17763"/>
                  </a:cubicBezTo>
                  <a:cubicBezTo>
                    <a:pt x="38037" y="17763"/>
                    <a:pt x="10347" y="10167"/>
                    <a:pt x="2572" y="0"/>
                  </a:cubicBezTo>
                  <a:cubicBezTo>
                    <a:pt x="1914" y="658"/>
                    <a:pt x="1495" y="1495"/>
                    <a:pt x="1077" y="2332"/>
                  </a:cubicBezTo>
                  <a:cubicBezTo>
                    <a:pt x="419" y="3409"/>
                    <a:pt x="0" y="4665"/>
                    <a:pt x="0" y="5921"/>
                  </a:cubicBezTo>
                  <a:lnTo>
                    <a:pt x="0" y="29605"/>
                  </a:lnTo>
                  <a:cubicBezTo>
                    <a:pt x="0" y="42702"/>
                    <a:pt x="31698" y="53288"/>
                    <a:pt x="70991" y="53288"/>
                  </a:cubicBezTo>
                  <a:cubicBezTo>
                    <a:pt x="73085" y="53288"/>
                    <a:pt x="74998" y="53288"/>
                    <a:pt x="76912" y="53288"/>
                  </a:cubicBezTo>
                  <a:cubicBezTo>
                    <a:pt x="76673" y="54783"/>
                    <a:pt x="76673" y="56039"/>
                    <a:pt x="76494" y="57535"/>
                  </a:cubicBezTo>
                  <a:cubicBezTo>
                    <a:pt x="74580" y="57535"/>
                    <a:pt x="72666" y="57535"/>
                    <a:pt x="70991" y="57535"/>
                  </a:cubicBezTo>
                  <a:cubicBezTo>
                    <a:pt x="38037" y="57535"/>
                    <a:pt x="10347" y="50118"/>
                    <a:pt x="2572" y="39772"/>
                  </a:cubicBezTo>
                  <a:cubicBezTo>
                    <a:pt x="1077" y="41446"/>
                    <a:pt x="239" y="43599"/>
                    <a:pt x="60" y="45693"/>
                  </a:cubicBezTo>
                  <a:lnTo>
                    <a:pt x="60" y="69376"/>
                  </a:lnTo>
                  <a:cubicBezTo>
                    <a:pt x="60" y="82474"/>
                    <a:pt x="31758" y="93060"/>
                    <a:pt x="71051" y="93060"/>
                  </a:cubicBezTo>
                  <a:cubicBezTo>
                    <a:pt x="78467" y="93060"/>
                    <a:pt x="85824" y="92641"/>
                    <a:pt x="93240" y="91804"/>
                  </a:cubicBezTo>
                  <a:cubicBezTo>
                    <a:pt x="111421" y="105739"/>
                    <a:pt x="137378" y="102390"/>
                    <a:pt x="151313" y="84209"/>
                  </a:cubicBezTo>
                  <a:cubicBezTo>
                    <a:pt x="165247" y="66027"/>
                    <a:pt x="161899" y="40071"/>
                    <a:pt x="143717" y="26136"/>
                  </a:cubicBezTo>
                  <a:cubicBezTo>
                    <a:pt x="143239" y="25597"/>
                    <a:pt x="142581" y="24940"/>
                    <a:pt x="141982" y="24700"/>
                  </a:cubicBezTo>
                  <a:lnTo>
                    <a:pt x="141982" y="24700"/>
                  </a:lnTo>
                  <a:close/>
                  <a:moveTo>
                    <a:pt x="118059" y="91505"/>
                  </a:moveTo>
                  <a:cubicBezTo>
                    <a:pt x="99879" y="91505"/>
                    <a:pt x="85106" y="76733"/>
                    <a:pt x="85106" y="58551"/>
                  </a:cubicBezTo>
                  <a:cubicBezTo>
                    <a:pt x="85106" y="40370"/>
                    <a:pt x="99879" y="25597"/>
                    <a:pt x="118059" y="25597"/>
                  </a:cubicBezTo>
                  <a:cubicBezTo>
                    <a:pt x="136241" y="25597"/>
                    <a:pt x="151013" y="40370"/>
                    <a:pt x="151013" y="58551"/>
                  </a:cubicBezTo>
                  <a:cubicBezTo>
                    <a:pt x="151013" y="76733"/>
                    <a:pt x="136241" y="91505"/>
                    <a:pt x="118059" y="91505"/>
                  </a:cubicBezTo>
                  <a:close/>
                </a:path>
              </a:pathLst>
            </a:custGeom>
            <a:grpFill/>
            <a:ln w="5978" cap="flat">
              <a:noFill/>
              <a:prstDash val="solid"/>
              <a:miter/>
            </a:ln>
          </p:spPr>
          <p:txBody>
            <a:bodyPr rtlCol="0" anchor="ctr"/>
            <a:lstStyle/>
            <a:p>
              <a:endParaRPr lang="en-GB"/>
            </a:p>
          </p:txBody>
        </p:sp>
        <p:grpSp>
          <p:nvGrpSpPr>
            <p:cNvPr id="4401" name="Graphic 3">
              <a:extLst>
                <a:ext uri="{FF2B5EF4-FFF2-40B4-BE49-F238E27FC236}">
                  <a16:creationId xmlns:a16="http://schemas.microsoft.com/office/drawing/2014/main" id="{EEE41AF8-9D03-449B-8ED7-1EE8DA3D8BD7}"/>
                </a:ext>
              </a:extLst>
            </p:cNvPr>
            <p:cNvGrpSpPr/>
            <p:nvPr/>
          </p:nvGrpSpPr>
          <p:grpSpPr>
            <a:xfrm>
              <a:off x="9111351" y="1200371"/>
              <a:ext cx="51673" cy="51733"/>
              <a:chOff x="9111351" y="1200371"/>
              <a:chExt cx="51673" cy="51733"/>
            </a:xfrm>
            <a:grpFill/>
          </p:grpSpPr>
          <p:grpSp>
            <p:nvGrpSpPr>
              <p:cNvPr id="4402" name="Graphic 3">
                <a:extLst>
                  <a:ext uri="{FF2B5EF4-FFF2-40B4-BE49-F238E27FC236}">
                    <a16:creationId xmlns:a16="http://schemas.microsoft.com/office/drawing/2014/main" id="{EDFD0F4C-72BD-49A1-A40B-85B9109E2D6E}"/>
                  </a:ext>
                </a:extLst>
              </p:cNvPr>
              <p:cNvGrpSpPr/>
              <p:nvPr/>
            </p:nvGrpSpPr>
            <p:grpSpPr>
              <a:xfrm>
                <a:off x="9111351" y="1200371"/>
                <a:ext cx="25836" cy="51733"/>
                <a:chOff x="9111351" y="1200371"/>
                <a:chExt cx="25836" cy="51733"/>
              </a:xfrm>
              <a:grpFill/>
            </p:grpSpPr>
            <p:sp>
              <p:nvSpPr>
                <p:cNvPr id="4410" name="Vrije vorm: vorm 4409">
                  <a:extLst>
                    <a:ext uri="{FF2B5EF4-FFF2-40B4-BE49-F238E27FC236}">
                      <a16:creationId xmlns:a16="http://schemas.microsoft.com/office/drawing/2014/main" id="{D2931D0B-4105-4981-B93F-F07F0997432A}"/>
                    </a:ext>
                  </a:extLst>
                </p:cNvPr>
                <p:cNvSpPr/>
                <p:nvPr/>
              </p:nvSpPr>
              <p:spPr>
                <a:xfrm>
                  <a:off x="9129293" y="1200371"/>
                  <a:ext cx="7894" cy="12978"/>
                </a:xfrm>
                <a:custGeom>
                  <a:avLst/>
                  <a:gdLst>
                    <a:gd name="connsiteX0" fmla="*/ 7894 w 7894"/>
                    <a:gd name="connsiteY0" fmla="*/ 0 h 12978"/>
                    <a:gd name="connsiteX1" fmla="*/ 0 w 7894"/>
                    <a:gd name="connsiteY1" fmla="*/ 12978 h 12978"/>
                    <a:gd name="connsiteX2" fmla="*/ 7894 w 7894"/>
                    <a:gd name="connsiteY2" fmla="*/ 12978 h 12978"/>
                    <a:gd name="connsiteX3" fmla="*/ 7894 w 7894"/>
                    <a:gd name="connsiteY3" fmla="*/ 0 h 12978"/>
                    <a:gd name="connsiteX4" fmla="*/ 7894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7894" y="0"/>
                      </a:moveTo>
                      <a:cubicBezTo>
                        <a:pt x="5263" y="0"/>
                        <a:pt x="1854" y="4725"/>
                        <a:pt x="0" y="12978"/>
                      </a:cubicBezTo>
                      <a:lnTo>
                        <a:pt x="7894" y="12978"/>
                      </a:lnTo>
                      <a:lnTo>
                        <a:pt x="7894" y="0"/>
                      </a:lnTo>
                      <a:cubicBezTo>
                        <a:pt x="7894" y="0"/>
                        <a:pt x="7894" y="0"/>
                        <a:pt x="7894" y="0"/>
                      </a:cubicBezTo>
                      <a:close/>
                    </a:path>
                  </a:pathLst>
                </a:custGeom>
                <a:grpFill/>
                <a:ln w="5978" cap="flat">
                  <a:noFill/>
                  <a:prstDash val="solid"/>
                  <a:miter/>
                </a:ln>
              </p:spPr>
              <p:txBody>
                <a:bodyPr rtlCol="0" anchor="ctr"/>
                <a:lstStyle/>
                <a:p>
                  <a:endParaRPr lang="en-GB"/>
                </a:p>
              </p:txBody>
            </p:sp>
            <p:sp>
              <p:nvSpPr>
                <p:cNvPr id="4411" name="Vrije vorm: vorm 4410">
                  <a:extLst>
                    <a:ext uri="{FF2B5EF4-FFF2-40B4-BE49-F238E27FC236}">
                      <a16:creationId xmlns:a16="http://schemas.microsoft.com/office/drawing/2014/main" id="{83AD22CC-31D7-4D10-8C7B-BAAE4F84D5EE}"/>
                    </a:ext>
                  </a:extLst>
                </p:cNvPr>
                <p:cNvSpPr/>
                <p:nvPr/>
              </p:nvSpPr>
              <p:spPr>
                <a:xfrm>
                  <a:off x="9114879" y="1202165"/>
                  <a:ext cx="13098" cy="11243"/>
                </a:xfrm>
                <a:custGeom>
                  <a:avLst/>
                  <a:gdLst>
                    <a:gd name="connsiteX0" fmla="*/ 13098 w 13098"/>
                    <a:gd name="connsiteY0" fmla="*/ 0 h 11243"/>
                    <a:gd name="connsiteX1" fmla="*/ 0 w 13098"/>
                    <a:gd name="connsiteY1" fmla="*/ 11244 h 11243"/>
                    <a:gd name="connsiteX2" fmla="*/ 9151 w 13098"/>
                    <a:gd name="connsiteY2" fmla="*/ 11244 h 11243"/>
                    <a:gd name="connsiteX3" fmla="*/ 13098 w 13098"/>
                    <a:gd name="connsiteY3" fmla="*/ 0 h 11243"/>
                  </a:gdLst>
                  <a:ahLst/>
                  <a:cxnLst>
                    <a:cxn ang="0">
                      <a:pos x="connsiteX0" y="connsiteY0"/>
                    </a:cxn>
                    <a:cxn ang="0">
                      <a:pos x="connsiteX1" y="connsiteY1"/>
                    </a:cxn>
                    <a:cxn ang="0">
                      <a:pos x="connsiteX2" y="connsiteY2"/>
                    </a:cxn>
                    <a:cxn ang="0">
                      <a:pos x="connsiteX3" y="connsiteY3"/>
                    </a:cxn>
                  </a:cxnLst>
                  <a:rect l="l" t="t" r="r" b="b"/>
                  <a:pathLst>
                    <a:path w="13098" h="11243">
                      <a:moveTo>
                        <a:pt x="13098" y="0"/>
                      </a:moveTo>
                      <a:cubicBezTo>
                        <a:pt x="7476" y="2093"/>
                        <a:pt x="2871" y="6160"/>
                        <a:pt x="0" y="11244"/>
                      </a:cubicBezTo>
                      <a:lnTo>
                        <a:pt x="9151" y="11244"/>
                      </a:lnTo>
                      <a:cubicBezTo>
                        <a:pt x="9988" y="6818"/>
                        <a:pt x="11304" y="2931"/>
                        <a:pt x="13098" y="0"/>
                      </a:cubicBezTo>
                      <a:close/>
                    </a:path>
                  </a:pathLst>
                </a:custGeom>
                <a:grpFill/>
                <a:ln w="5978" cap="flat">
                  <a:noFill/>
                  <a:prstDash val="solid"/>
                  <a:miter/>
                </a:ln>
              </p:spPr>
              <p:txBody>
                <a:bodyPr rtlCol="0" anchor="ctr"/>
                <a:lstStyle/>
                <a:p>
                  <a:endParaRPr lang="en-GB"/>
                </a:p>
              </p:txBody>
            </p:sp>
            <p:sp>
              <p:nvSpPr>
                <p:cNvPr id="4412" name="Vrije vorm: vorm 4411">
                  <a:extLst>
                    <a:ext uri="{FF2B5EF4-FFF2-40B4-BE49-F238E27FC236}">
                      <a16:creationId xmlns:a16="http://schemas.microsoft.com/office/drawing/2014/main" id="{2BE957E2-1059-4FA7-A586-C31048E29B6A}"/>
                    </a:ext>
                  </a:extLst>
                </p:cNvPr>
                <p:cNvSpPr/>
                <p:nvPr/>
              </p:nvSpPr>
              <p:spPr>
                <a:xfrm>
                  <a:off x="9127977" y="1218552"/>
                  <a:ext cx="9209" cy="15430"/>
                </a:xfrm>
                <a:custGeom>
                  <a:avLst/>
                  <a:gdLst>
                    <a:gd name="connsiteX0" fmla="*/ 418 w 9209"/>
                    <a:gd name="connsiteY0" fmla="*/ 0 h 15430"/>
                    <a:gd name="connsiteX1" fmla="*/ 0 w 9209"/>
                    <a:gd name="connsiteY1" fmla="*/ 7715 h 15430"/>
                    <a:gd name="connsiteX2" fmla="*/ 418 w 9209"/>
                    <a:gd name="connsiteY2" fmla="*/ 15430 h 15430"/>
                    <a:gd name="connsiteX3" fmla="*/ 9210 w 9209"/>
                    <a:gd name="connsiteY3" fmla="*/ 15430 h 15430"/>
                    <a:gd name="connsiteX4" fmla="*/ 9210 w 9209"/>
                    <a:gd name="connsiteY4" fmla="*/ 0 h 15430"/>
                    <a:gd name="connsiteX5" fmla="*/ 418 w 9209"/>
                    <a:gd name="connsiteY5" fmla="*/ 0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9" h="15430">
                      <a:moveTo>
                        <a:pt x="418" y="0"/>
                      </a:moveTo>
                      <a:cubicBezTo>
                        <a:pt x="60" y="2392"/>
                        <a:pt x="0" y="4964"/>
                        <a:pt x="0" y="7715"/>
                      </a:cubicBezTo>
                      <a:cubicBezTo>
                        <a:pt x="0" y="10466"/>
                        <a:pt x="239" y="12978"/>
                        <a:pt x="418" y="15430"/>
                      </a:cubicBezTo>
                      <a:lnTo>
                        <a:pt x="9210" y="15430"/>
                      </a:lnTo>
                      <a:lnTo>
                        <a:pt x="9210" y="0"/>
                      </a:lnTo>
                      <a:lnTo>
                        <a:pt x="418" y="0"/>
                      </a:lnTo>
                      <a:close/>
                    </a:path>
                  </a:pathLst>
                </a:custGeom>
                <a:grpFill/>
                <a:ln w="5978" cap="flat">
                  <a:noFill/>
                  <a:prstDash val="solid"/>
                  <a:miter/>
                </a:ln>
              </p:spPr>
              <p:txBody>
                <a:bodyPr rtlCol="0" anchor="ctr"/>
                <a:lstStyle/>
                <a:p>
                  <a:endParaRPr lang="en-GB"/>
                </a:p>
              </p:txBody>
            </p:sp>
            <p:sp>
              <p:nvSpPr>
                <p:cNvPr id="4413" name="Vrije vorm: vorm 4412">
                  <a:extLst>
                    <a:ext uri="{FF2B5EF4-FFF2-40B4-BE49-F238E27FC236}">
                      <a16:creationId xmlns:a16="http://schemas.microsoft.com/office/drawing/2014/main" id="{6370E1AB-C2FE-4F42-9FF6-A35B5DDF3C45}"/>
                    </a:ext>
                  </a:extLst>
                </p:cNvPr>
                <p:cNvSpPr/>
                <p:nvPr/>
              </p:nvSpPr>
              <p:spPr>
                <a:xfrm>
                  <a:off x="9114879" y="1239126"/>
                  <a:ext cx="12978" cy="11243"/>
                </a:xfrm>
                <a:custGeom>
                  <a:avLst/>
                  <a:gdLst>
                    <a:gd name="connsiteX0" fmla="*/ 0 w 12978"/>
                    <a:gd name="connsiteY0" fmla="*/ 0 h 11243"/>
                    <a:gd name="connsiteX1" fmla="*/ 12978 w 12978"/>
                    <a:gd name="connsiteY1" fmla="*/ 11244 h 11243"/>
                    <a:gd name="connsiteX2" fmla="*/ 9031 w 12978"/>
                    <a:gd name="connsiteY2" fmla="*/ 0 h 11243"/>
                    <a:gd name="connsiteX3" fmla="*/ 0 w 12978"/>
                    <a:gd name="connsiteY3" fmla="*/ 0 h 11243"/>
                  </a:gdLst>
                  <a:ahLst/>
                  <a:cxnLst>
                    <a:cxn ang="0">
                      <a:pos x="connsiteX0" y="connsiteY0"/>
                    </a:cxn>
                    <a:cxn ang="0">
                      <a:pos x="connsiteX1" y="connsiteY1"/>
                    </a:cxn>
                    <a:cxn ang="0">
                      <a:pos x="connsiteX2" y="connsiteY2"/>
                    </a:cxn>
                    <a:cxn ang="0">
                      <a:pos x="connsiteX3" y="connsiteY3"/>
                    </a:cxn>
                  </a:cxnLst>
                  <a:rect l="l" t="t" r="r" b="b"/>
                  <a:pathLst>
                    <a:path w="12978" h="11243">
                      <a:moveTo>
                        <a:pt x="0" y="0"/>
                      </a:moveTo>
                      <a:cubicBezTo>
                        <a:pt x="2871" y="5084"/>
                        <a:pt x="7476" y="9150"/>
                        <a:pt x="12978" y="11244"/>
                      </a:cubicBezTo>
                      <a:cubicBezTo>
                        <a:pt x="11304" y="8253"/>
                        <a:pt x="9868" y="4426"/>
                        <a:pt x="9031" y="0"/>
                      </a:cubicBezTo>
                      <a:lnTo>
                        <a:pt x="0" y="0"/>
                      </a:lnTo>
                      <a:close/>
                    </a:path>
                  </a:pathLst>
                </a:custGeom>
                <a:grpFill/>
                <a:ln w="5978" cap="flat">
                  <a:noFill/>
                  <a:prstDash val="solid"/>
                  <a:miter/>
                </a:ln>
              </p:spPr>
              <p:txBody>
                <a:bodyPr rtlCol="0" anchor="ctr"/>
                <a:lstStyle/>
                <a:p>
                  <a:endParaRPr lang="en-GB"/>
                </a:p>
              </p:txBody>
            </p:sp>
            <p:sp>
              <p:nvSpPr>
                <p:cNvPr id="4414" name="Vrije vorm: vorm 4413">
                  <a:extLst>
                    <a:ext uri="{FF2B5EF4-FFF2-40B4-BE49-F238E27FC236}">
                      <a16:creationId xmlns:a16="http://schemas.microsoft.com/office/drawing/2014/main" id="{47C9A65D-EF42-492B-AE9C-F113B6501066}"/>
                    </a:ext>
                  </a:extLst>
                </p:cNvPr>
                <p:cNvSpPr/>
                <p:nvPr/>
              </p:nvSpPr>
              <p:spPr>
                <a:xfrm>
                  <a:off x="9129293" y="1239126"/>
                  <a:ext cx="7894" cy="12978"/>
                </a:xfrm>
                <a:custGeom>
                  <a:avLst/>
                  <a:gdLst>
                    <a:gd name="connsiteX0" fmla="*/ 0 w 7894"/>
                    <a:gd name="connsiteY0" fmla="*/ 0 h 12978"/>
                    <a:gd name="connsiteX1" fmla="*/ 7894 w 7894"/>
                    <a:gd name="connsiteY1" fmla="*/ 12978 h 12978"/>
                    <a:gd name="connsiteX2" fmla="*/ 7894 w 7894"/>
                    <a:gd name="connsiteY2" fmla="*/ 12978 h 12978"/>
                    <a:gd name="connsiteX3" fmla="*/ 7894 w 7894"/>
                    <a:gd name="connsiteY3" fmla="*/ 0 h 12978"/>
                    <a:gd name="connsiteX4" fmla="*/ 0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0" y="0"/>
                      </a:moveTo>
                      <a:cubicBezTo>
                        <a:pt x="1854" y="8253"/>
                        <a:pt x="5263" y="12978"/>
                        <a:pt x="7894" y="12978"/>
                      </a:cubicBezTo>
                      <a:cubicBezTo>
                        <a:pt x="7894" y="12978"/>
                        <a:pt x="7894" y="12978"/>
                        <a:pt x="7894" y="12978"/>
                      </a:cubicBezTo>
                      <a:lnTo>
                        <a:pt x="7894" y="0"/>
                      </a:lnTo>
                      <a:lnTo>
                        <a:pt x="0" y="0"/>
                      </a:lnTo>
                      <a:close/>
                    </a:path>
                  </a:pathLst>
                </a:custGeom>
                <a:grpFill/>
                <a:ln w="5978" cap="flat">
                  <a:noFill/>
                  <a:prstDash val="solid"/>
                  <a:miter/>
                </a:ln>
              </p:spPr>
              <p:txBody>
                <a:bodyPr rtlCol="0" anchor="ctr"/>
                <a:lstStyle/>
                <a:p>
                  <a:endParaRPr lang="en-GB"/>
                </a:p>
              </p:txBody>
            </p:sp>
            <p:sp>
              <p:nvSpPr>
                <p:cNvPr id="4415" name="Vrije vorm: vorm 4414">
                  <a:extLst>
                    <a:ext uri="{FF2B5EF4-FFF2-40B4-BE49-F238E27FC236}">
                      <a16:creationId xmlns:a16="http://schemas.microsoft.com/office/drawing/2014/main" id="{5EA58E25-A93E-4DC8-883E-2C80A3C37679}"/>
                    </a:ext>
                  </a:extLst>
                </p:cNvPr>
                <p:cNvSpPr/>
                <p:nvPr/>
              </p:nvSpPr>
              <p:spPr>
                <a:xfrm>
                  <a:off x="9111351" y="1218552"/>
                  <a:ext cx="11841" cy="15430"/>
                </a:xfrm>
                <a:custGeom>
                  <a:avLst/>
                  <a:gdLst>
                    <a:gd name="connsiteX0" fmla="*/ 11423 w 11841"/>
                    <a:gd name="connsiteY0" fmla="*/ 7715 h 15430"/>
                    <a:gd name="connsiteX1" fmla="*/ 11842 w 11841"/>
                    <a:gd name="connsiteY1" fmla="*/ 0 h 15430"/>
                    <a:gd name="connsiteX2" fmla="*/ 1196 w 11841"/>
                    <a:gd name="connsiteY2" fmla="*/ 0 h 15430"/>
                    <a:gd name="connsiteX3" fmla="*/ 0 w 11841"/>
                    <a:gd name="connsiteY3" fmla="*/ 7715 h 15430"/>
                    <a:gd name="connsiteX4" fmla="*/ 1196 w 11841"/>
                    <a:gd name="connsiteY4" fmla="*/ 15430 h 15430"/>
                    <a:gd name="connsiteX5" fmla="*/ 11842 w 11841"/>
                    <a:gd name="connsiteY5" fmla="*/ 15430 h 15430"/>
                    <a:gd name="connsiteX6" fmla="*/ 11423 w 11841"/>
                    <a:gd name="connsiteY6" fmla="*/ 7715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1" h="15430">
                      <a:moveTo>
                        <a:pt x="11423" y="7715"/>
                      </a:moveTo>
                      <a:cubicBezTo>
                        <a:pt x="11423" y="5084"/>
                        <a:pt x="11543" y="2452"/>
                        <a:pt x="11842" y="0"/>
                      </a:cubicBezTo>
                      <a:lnTo>
                        <a:pt x="1196" y="0"/>
                      </a:lnTo>
                      <a:cubicBezTo>
                        <a:pt x="418" y="2392"/>
                        <a:pt x="0" y="5084"/>
                        <a:pt x="0" y="7715"/>
                      </a:cubicBezTo>
                      <a:cubicBezTo>
                        <a:pt x="0" y="10347"/>
                        <a:pt x="418" y="12978"/>
                        <a:pt x="1196" y="15430"/>
                      </a:cubicBezTo>
                      <a:lnTo>
                        <a:pt x="11842" y="15430"/>
                      </a:lnTo>
                      <a:cubicBezTo>
                        <a:pt x="11662" y="12978"/>
                        <a:pt x="11423" y="10347"/>
                        <a:pt x="11423" y="7715"/>
                      </a:cubicBezTo>
                      <a:close/>
                    </a:path>
                  </a:pathLst>
                </a:custGeom>
                <a:grpFill/>
                <a:ln w="5978" cap="flat">
                  <a:noFill/>
                  <a:prstDash val="solid"/>
                  <a:miter/>
                </a:ln>
              </p:spPr>
              <p:txBody>
                <a:bodyPr rtlCol="0" anchor="ctr"/>
                <a:lstStyle/>
                <a:p>
                  <a:endParaRPr lang="en-GB"/>
                </a:p>
              </p:txBody>
            </p:sp>
          </p:grpSp>
          <p:grpSp>
            <p:nvGrpSpPr>
              <p:cNvPr id="4403" name="Graphic 3">
                <a:extLst>
                  <a:ext uri="{FF2B5EF4-FFF2-40B4-BE49-F238E27FC236}">
                    <a16:creationId xmlns:a16="http://schemas.microsoft.com/office/drawing/2014/main" id="{1245740E-0838-4298-A1C9-293B14D0323B}"/>
                  </a:ext>
                </a:extLst>
              </p:cNvPr>
              <p:cNvGrpSpPr/>
              <p:nvPr/>
            </p:nvGrpSpPr>
            <p:grpSpPr>
              <a:xfrm>
                <a:off x="9137187" y="1200371"/>
                <a:ext cx="25837" cy="51733"/>
                <a:chOff x="9137187" y="1200371"/>
                <a:chExt cx="25837" cy="51733"/>
              </a:xfrm>
              <a:grpFill/>
            </p:grpSpPr>
            <p:sp>
              <p:nvSpPr>
                <p:cNvPr id="4404" name="Vrije vorm: vorm 4403">
                  <a:extLst>
                    <a:ext uri="{FF2B5EF4-FFF2-40B4-BE49-F238E27FC236}">
                      <a16:creationId xmlns:a16="http://schemas.microsoft.com/office/drawing/2014/main" id="{204316DF-59AB-47CE-8D7A-224E1906A972}"/>
                    </a:ext>
                  </a:extLst>
                </p:cNvPr>
                <p:cNvSpPr/>
                <p:nvPr/>
              </p:nvSpPr>
              <p:spPr>
                <a:xfrm>
                  <a:off x="9137187" y="1200371"/>
                  <a:ext cx="7894" cy="12978"/>
                </a:xfrm>
                <a:custGeom>
                  <a:avLst/>
                  <a:gdLst>
                    <a:gd name="connsiteX0" fmla="*/ 0 w 7894"/>
                    <a:gd name="connsiteY0" fmla="*/ 0 h 12978"/>
                    <a:gd name="connsiteX1" fmla="*/ 7895 w 7894"/>
                    <a:gd name="connsiteY1" fmla="*/ 12978 h 12978"/>
                    <a:gd name="connsiteX2" fmla="*/ 0 w 7894"/>
                    <a:gd name="connsiteY2" fmla="*/ 12978 h 12978"/>
                    <a:gd name="connsiteX3" fmla="*/ 0 w 7894"/>
                    <a:gd name="connsiteY3" fmla="*/ 0 h 12978"/>
                    <a:gd name="connsiteX4" fmla="*/ 0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0" y="0"/>
                      </a:moveTo>
                      <a:cubicBezTo>
                        <a:pt x="2632" y="0"/>
                        <a:pt x="6041" y="4725"/>
                        <a:pt x="7895" y="12978"/>
                      </a:cubicBezTo>
                      <a:lnTo>
                        <a:pt x="0" y="12978"/>
                      </a:lnTo>
                      <a:lnTo>
                        <a:pt x="0" y="0"/>
                      </a:lnTo>
                      <a:cubicBezTo>
                        <a:pt x="0" y="0"/>
                        <a:pt x="0" y="0"/>
                        <a:pt x="0" y="0"/>
                      </a:cubicBezTo>
                      <a:close/>
                    </a:path>
                  </a:pathLst>
                </a:custGeom>
                <a:grpFill/>
                <a:ln w="5978" cap="flat">
                  <a:noFill/>
                  <a:prstDash val="solid"/>
                  <a:miter/>
                </a:ln>
              </p:spPr>
              <p:txBody>
                <a:bodyPr rtlCol="0" anchor="ctr"/>
                <a:lstStyle/>
                <a:p>
                  <a:endParaRPr lang="en-GB"/>
                </a:p>
              </p:txBody>
            </p:sp>
            <p:sp>
              <p:nvSpPr>
                <p:cNvPr id="4405" name="Vrije vorm: vorm 4404">
                  <a:extLst>
                    <a:ext uri="{FF2B5EF4-FFF2-40B4-BE49-F238E27FC236}">
                      <a16:creationId xmlns:a16="http://schemas.microsoft.com/office/drawing/2014/main" id="{01407421-F831-4A5C-8D27-EB5CEF7C4F6D}"/>
                    </a:ext>
                  </a:extLst>
                </p:cNvPr>
                <p:cNvSpPr/>
                <p:nvPr/>
              </p:nvSpPr>
              <p:spPr>
                <a:xfrm>
                  <a:off x="9146457" y="1202165"/>
                  <a:ext cx="13098" cy="11243"/>
                </a:xfrm>
                <a:custGeom>
                  <a:avLst/>
                  <a:gdLst>
                    <a:gd name="connsiteX0" fmla="*/ 0 w 13098"/>
                    <a:gd name="connsiteY0" fmla="*/ 0 h 11243"/>
                    <a:gd name="connsiteX1" fmla="*/ 13098 w 13098"/>
                    <a:gd name="connsiteY1" fmla="*/ 11244 h 11243"/>
                    <a:gd name="connsiteX2" fmla="*/ 3947 w 13098"/>
                    <a:gd name="connsiteY2" fmla="*/ 11244 h 11243"/>
                    <a:gd name="connsiteX3" fmla="*/ 0 w 13098"/>
                    <a:gd name="connsiteY3" fmla="*/ 0 h 11243"/>
                  </a:gdLst>
                  <a:ahLst/>
                  <a:cxnLst>
                    <a:cxn ang="0">
                      <a:pos x="connsiteX0" y="connsiteY0"/>
                    </a:cxn>
                    <a:cxn ang="0">
                      <a:pos x="connsiteX1" y="connsiteY1"/>
                    </a:cxn>
                    <a:cxn ang="0">
                      <a:pos x="connsiteX2" y="connsiteY2"/>
                    </a:cxn>
                    <a:cxn ang="0">
                      <a:pos x="connsiteX3" y="connsiteY3"/>
                    </a:cxn>
                  </a:cxnLst>
                  <a:rect l="l" t="t" r="r" b="b"/>
                  <a:pathLst>
                    <a:path w="13098" h="11243">
                      <a:moveTo>
                        <a:pt x="0" y="0"/>
                      </a:moveTo>
                      <a:cubicBezTo>
                        <a:pt x="5622" y="2093"/>
                        <a:pt x="10227" y="6160"/>
                        <a:pt x="13098" y="11244"/>
                      </a:cubicBezTo>
                      <a:lnTo>
                        <a:pt x="3947" y="11244"/>
                      </a:lnTo>
                      <a:cubicBezTo>
                        <a:pt x="3050" y="6818"/>
                        <a:pt x="1735" y="2931"/>
                        <a:pt x="0" y="0"/>
                      </a:cubicBezTo>
                      <a:close/>
                    </a:path>
                  </a:pathLst>
                </a:custGeom>
                <a:grpFill/>
                <a:ln w="5978" cap="flat">
                  <a:noFill/>
                  <a:prstDash val="solid"/>
                  <a:miter/>
                </a:ln>
              </p:spPr>
              <p:txBody>
                <a:bodyPr rtlCol="0" anchor="ctr"/>
                <a:lstStyle/>
                <a:p>
                  <a:endParaRPr lang="en-GB"/>
                </a:p>
              </p:txBody>
            </p:sp>
            <p:sp>
              <p:nvSpPr>
                <p:cNvPr id="4406" name="Vrije vorm: vorm 4405">
                  <a:extLst>
                    <a:ext uri="{FF2B5EF4-FFF2-40B4-BE49-F238E27FC236}">
                      <a16:creationId xmlns:a16="http://schemas.microsoft.com/office/drawing/2014/main" id="{F571955F-6DD2-4B95-A671-8AE6CA2DFFE7}"/>
                    </a:ext>
                  </a:extLst>
                </p:cNvPr>
                <p:cNvSpPr/>
                <p:nvPr/>
              </p:nvSpPr>
              <p:spPr>
                <a:xfrm>
                  <a:off x="9137247" y="1218552"/>
                  <a:ext cx="9210" cy="15430"/>
                </a:xfrm>
                <a:custGeom>
                  <a:avLst/>
                  <a:gdLst>
                    <a:gd name="connsiteX0" fmla="*/ 8792 w 9210"/>
                    <a:gd name="connsiteY0" fmla="*/ 0 h 15430"/>
                    <a:gd name="connsiteX1" fmla="*/ 9211 w 9210"/>
                    <a:gd name="connsiteY1" fmla="*/ 7715 h 15430"/>
                    <a:gd name="connsiteX2" fmla="*/ 8792 w 9210"/>
                    <a:gd name="connsiteY2" fmla="*/ 15430 h 15430"/>
                    <a:gd name="connsiteX3" fmla="*/ 0 w 9210"/>
                    <a:gd name="connsiteY3" fmla="*/ 15430 h 15430"/>
                    <a:gd name="connsiteX4" fmla="*/ 0 w 9210"/>
                    <a:gd name="connsiteY4" fmla="*/ 0 h 15430"/>
                    <a:gd name="connsiteX5" fmla="*/ 8792 w 9210"/>
                    <a:gd name="connsiteY5" fmla="*/ 0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0" h="15430">
                      <a:moveTo>
                        <a:pt x="8792" y="0"/>
                      </a:moveTo>
                      <a:cubicBezTo>
                        <a:pt x="9151" y="2392"/>
                        <a:pt x="9211" y="4964"/>
                        <a:pt x="9211" y="7715"/>
                      </a:cubicBezTo>
                      <a:cubicBezTo>
                        <a:pt x="9211" y="10466"/>
                        <a:pt x="8971" y="12978"/>
                        <a:pt x="8792" y="15430"/>
                      </a:cubicBezTo>
                      <a:lnTo>
                        <a:pt x="0" y="15430"/>
                      </a:lnTo>
                      <a:lnTo>
                        <a:pt x="0" y="0"/>
                      </a:lnTo>
                      <a:lnTo>
                        <a:pt x="8792" y="0"/>
                      </a:lnTo>
                      <a:close/>
                    </a:path>
                  </a:pathLst>
                </a:custGeom>
                <a:grpFill/>
                <a:ln w="5978" cap="flat">
                  <a:noFill/>
                  <a:prstDash val="solid"/>
                  <a:miter/>
                </a:ln>
              </p:spPr>
              <p:txBody>
                <a:bodyPr rtlCol="0" anchor="ctr"/>
                <a:lstStyle/>
                <a:p>
                  <a:endParaRPr lang="en-GB"/>
                </a:p>
              </p:txBody>
            </p:sp>
            <p:sp>
              <p:nvSpPr>
                <p:cNvPr id="4407" name="Vrije vorm: vorm 4406">
                  <a:extLst>
                    <a:ext uri="{FF2B5EF4-FFF2-40B4-BE49-F238E27FC236}">
                      <a16:creationId xmlns:a16="http://schemas.microsoft.com/office/drawing/2014/main" id="{54120DBF-02E5-4108-959B-60894A3365E4}"/>
                    </a:ext>
                  </a:extLst>
                </p:cNvPr>
                <p:cNvSpPr/>
                <p:nvPr/>
              </p:nvSpPr>
              <p:spPr>
                <a:xfrm>
                  <a:off x="9146577" y="1239126"/>
                  <a:ext cx="12978" cy="11243"/>
                </a:xfrm>
                <a:custGeom>
                  <a:avLst/>
                  <a:gdLst>
                    <a:gd name="connsiteX0" fmla="*/ 12978 w 12978"/>
                    <a:gd name="connsiteY0" fmla="*/ 0 h 11243"/>
                    <a:gd name="connsiteX1" fmla="*/ 0 w 12978"/>
                    <a:gd name="connsiteY1" fmla="*/ 11244 h 11243"/>
                    <a:gd name="connsiteX2" fmla="*/ 3947 w 12978"/>
                    <a:gd name="connsiteY2" fmla="*/ 0 h 11243"/>
                    <a:gd name="connsiteX3" fmla="*/ 12978 w 12978"/>
                    <a:gd name="connsiteY3" fmla="*/ 0 h 11243"/>
                  </a:gdLst>
                  <a:ahLst/>
                  <a:cxnLst>
                    <a:cxn ang="0">
                      <a:pos x="connsiteX0" y="connsiteY0"/>
                    </a:cxn>
                    <a:cxn ang="0">
                      <a:pos x="connsiteX1" y="connsiteY1"/>
                    </a:cxn>
                    <a:cxn ang="0">
                      <a:pos x="connsiteX2" y="connsiteY2"/>
                    </a:cxn>
                    <a:cxn ang="0">
                      <a:pos x="connsiteX3" y="connsiteY3"/>
                    </a:cxn>
                  </a:cxnLst>
                  <a:rect l="l" t="t" r="r" b="b"/>
                  <a:pathLst>
                    <a:path w="12978" h="11243">
                      <a:moveTo>
                        <a:pt x="12978" y="0"/>
                      </a:moveTo>
                      <a:cubicBezTo>
                        <a:pt x="10107" y="5084"/>
                        <a:pt x="5503" y="9150"/>
                        <a:pt x="0" y="11244"/>
                      </a:cubicBezTo>
                      <a:cubicBezTo>
                        <a:pt x="1675" y="8253"/>
                        <a:pt x="3110" y="4426"/>
                        <a:pt x="3947" y="0"/>
                      </a:cubicBezTo>
                      <a:lnTo>
                        <a:pt x="12978" y="0"/>
                      </a:lnTo>
                      <a:close/>
                    </a:path>
                  </a:pathLst>
                </a:custGeom>
                <a:grpFill/>
                <a:ln w="5978" cap="flat">
                  <a:noFill/>
                  <a:prstDash val="solid"/>
                  <a:miter/>
                </a:ln>
              </p:spPr>
              <p:txBody>
                <a:bodyPr rtlCol="0" anchor="ctr"/>
                <a:lstStyle/>
                <a:p>
                  <a:endParaRPr lang="en-GB"/>
                </a:p>
              </p:txBody>
            </p:sp>
            <p:sp>
              <p:nvSpPr>
                <p:cNvPr id="4408" name="Vrije vorm: vorm 4407">
                  <a:extLst>
                    <a:ext uri="{FF2B5EF4-FFF2-40B4-BE49-F238E27FC236}">
                      <a16:creationId xmlns:a16="http://schemas.microsoft.com/office/drawing/2014/main" id="{44339DFF-9EB9-42F6-802E-E5CCB22548AB}"/>
                    </a:ext>
                  </a:extLst>
                </p:cNvPr>
                <p:cNvSpPr/>
                <p:nvPr/>
              </p:nvSpPr>
              <p:spPr>
                <a:xfrm>
                  <a:off x="9137247" y="1239126"/>
                  <a:ext cx="7894" cy="12978"/>
                </a:xfrm>
                <a:custGeom>
                  <a:avLst/>
                  <a:gdLst>
                    <a:gd name="connsiteX0" fmla="*/ 7895 w 7894"/>
                    <a:gd name="connsiteY0" fmla="*/ 0 h 12978"/>
                    <a:gd name="connsiteX1" fmla="*/ 0 w 7894"/>
                    <a:gd name="connsiteY1" fmla="*/ 12978 h 12978"/>
                    <a:gd name="connsiteX2" fmla="*/ 0 w 7894"/>
                    <a:gd name="connsiteY2" fmla="*/ 12978 h 12978"/>
                    <a:gd name="connsiteX3" fmla="*/ 0 w 7894"/>
                    <a:gd name="connsiteY3" fmla="*/ 0 h 12978"/>
                    <a:gd name="connsiteX4" fmla="*/ 7895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7895" y="0"/>
                      </a:moveTo>
                      <a:cubicBezTo>
                        <a:pt x="6041" y="8253"/>
                        <a:pt x="2632" y="12978"/>
                        <a:pt x="0" y="12978"/>
                      </a:cubicBezTo>
                      <a:cubicBezTo>
                        <a:pt x="0" y="12978"/>
                        <a:pt x="0" y="12978"/>
                        <a:pt x="0" y="12978"/>
                      </a:cubicBezTo>
                      <a:lnTo>
                        <a:pt x="0" y="0"/>
                      </a:lnTo>
                      <a:lnTo>
                        <a:pt x="7895" y="0"/>
                      </a:lnTo>
                      <a:close/>
                    </a:path>
                  </a:pathLst>
                </a:custGeom>
                <a:grpFill/>
                <a:ln w="5978" cap="flat">
                  <a:noFill/>
                  <a:prstDash val="solid"/>
                  <a:miter/>
                </a:ln>
              </p:spPr>
              <p:txBody>
                <a:bodyPr rtlCol="0" anchor="ctr"/>
                <a:lstStyle/>
                <a:p>
                  <a:endParaRPr lang="en-GB"/>
                </a:p>
              </p:txBody>
            </p:sp>
            <p:sp>
              <p:nvSpPr>
                <p:cNvPr id="4409" name="Vrije vorm: vorm 4408">
                  <a:extLst>
                    <a:ext uri="{FF2B5EF4-FFF2-40B4-BE49-F238E27FC236}">
                      <a16:creationId xmlns:a16="http://schemas.microsoft.com/office/drawing/2014/main" id="{A71BA572-F265-4974-A5B0-2BDEC0FAC831}"/>
                    </a:ext>
                  </a:extLst>
                </p:cNvPr>
                <p:cNvSpPr/>
                <p:nvPr/>
              </p:nvSpPr>
              <p:spPr>
                <a:xfrm>
                  <a:off x="9151182" y="1218552"/>
                  <a:ext cx="11841" cy="15430"/>
                </a:xfrm>
                <a:custGeom>
                  <a:avLst/>
                  <a:gdLst>
                    <a:gd name="connsiteX0" fmla="*/ 418 w 11841"/>
                    <a:gd name="connsiteY0" fmla="*/ 7715 h 15430"/>
                    <a:gd name="connsiteX1" fmla="*/ 0 w 11841"/>
                    <a:gd name="connsiteY1" fmla="*/ 0 h 15430"/>
                    <a:gd name="connsiteX2" fmla="*/ 10645 w 11841"/>
                    <a:gd name="connsiteY2" fmla="*/ 0 h 15430"/>
                    <a:gd name="connsiteX3" fmla="*/ 11842 w 11841"/>
                    <a:gd name="connsiteY3" fmla="*/ 7715 h 15430"/>
                    <a:gd name="connsiteX4" fmla="*/ 10645 w 11841"/>
                    <a:gd name="connsiteY4" fmla="*/ 15430 h 15430"/>
                    <a:gd name="connsiteX5" fmla="*/ 0 w 11841"/>
                    <a:gd name="connsiteY5" fmla="*/ 15430 h 15430"/>
                    <a:gd name="connsiteX6" fmla="*/ 418 w 11841"/>
                    <a:gd name="connsiteY6" fmla="*/ 7715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1" h="15430">
                      <a:moveTo>
                        <a:pt x="418" y="7715"/>
                      </a:moveTo>
                      <a:cubicBezTo>
                        <a:pt x="418" y="5084"/>
                        <a:pt x="299" y="2452"/>
                        <a:pt x="0" y="0"/>
                      </a:cubicBezTo>
                      <a:lnTo>
                        <a:pt x="10645" y="0"/>
                      </a:lnTo>
                      <a:cubicBezTo>
                        <a:pt x="11423" y="2392"/>
                        <a:pt x="11842" y="5084"/>
                        <a:pt x="11842" y="7715"/>
                      </a:cubicBezTo>
                      <a:cubicBezTo>
                        <a:pt x="11842" y="10347"/>
                        <a:pt x="11423" y="12978"/>
                        <a:pt x="10645" y="15430"/>
                      </a:cubicBezTo>
                      <a:lnTo>
                        <a:pt x="0" y="15430"/>
                      </a:lnTo>
                      <a:cubicBezTo>
                        <a:pt x="239" y="12978"/>
                        <a:pt x="418" y="10347"/>
                        <a:pt x="418" y="7715"/>
                      </a:cubicBezTo>
                      <a:close/>
                    </a:path>
                  </a:pathLst>
                </a:custGeom>
                <a:grpFill/>
                <a:ln w="5978" cap="flat">
                  <a:noFill/>
                  <a:prstDash val="solid"/>
                  <a:miter/>
                </a:ln>
              </p:spPr>
              <p:txBody>
                <a:bodyPr rtlCol="0" anchor="ctr"/>
                <a:lstStyle/>
                <a:p>
                  <a:endParaRPr lang="en-GB"/>
                </a:p>
              </p:txBody>
            </p:sp>
          </p:grpSp>
        </p:grpSp>
      </p:grpSp>
      <p:sp>
        <p:nvSpPr>
          <p:cNvPr id="2" name="T1">
            <a:extLst>
              <a:ext uri="{FF2B5EF4-FFF2-40B4-BE49-F238E27FC236}">
                <a16:creationId xmlns:a16="http://schemas.microsoft.com/office/drawing/2014/main" id="{228307C9-0678-43B6-B49B-6030421518DC}"/>
              </a:ext>
            </a:extLst>
          </p:cNvPr>
          <p:cNvSpPr txBox="1"/>
          <p:nvPr/>
        </p:nvSpPr>
        <p:spPr>
          <a:xfrm>
            <a:off x="9469119" y="1435716"/>
            <a:ext cx="2394275" cy="172638"/>
          </a:xfrm>
          <a:prstGeom prst="rect">
            <a:avLst/>
          </a:prstGeom>
          <a:noFill/>
        </p:spPr>
        <p:txBody>
          <a:bodyPr wrap="square" lIns="0" tIns="0" rIns="0" bIns="0" rtlCol="0">
            <a:noAutofit/>
          </a:bodyPr>
          <a:lstStyle>
            <a:defPPr>
              <a:defRPr lang="nl-NL"/>
            </a:defPPr>
            <a:lvl1pPr>
              <a:defRPr sz="1100" cap="all">
                <a:solidFill>
                  <a:schemeClr val="bg1"/>
                </a:solidFill>
                <a:latin typeface="+mj-lt"/>
              </a:defRPr>
            </a:lvl1pPr>
          </a:lstStyle>
          <a:p>
            <a:r>
              <a:rPr lang="en-US" dirty="0"/>
              <a:t>unit </a:t>
            </a:r>
            <a:r>
              <a:rPr lang="en-US" dirty="0" err="1"/>
              <a:t>ict</a:t>
            </a:r>
            <a:r>
              <a:rPr lang="en-US" dirty="0"/>
              <a:t> PMC cluster </a:t>
            </a:r>
          </a:p>
        </p:txBody>
      </p:sp>
      <p:sp>
        <p:nvSpPr>
          <p:cNvPr id="4417" name="T1">
            <a:extLst>
              <a:ext uri="{FF2B5EF4-FFF2-40B4-BE49-F238E27FC236}">
                <a16:creationId xmlns:a16="http://schemas.microsoft.com/office/drawing/2014/main" id="{EF09624D-E5E6-4855-9390-FF1C9731B73B}"/>
              </a:ext>
            </a:extLst>
          </p:cNvPr>
          <p:cNvSpPr txBox="1"/>
          <p:nvPr/>
        </p:nvSpPr>
        <p:spPr>
          <a:xfrm>
            <a:off x="9469119" y="1635741"/>
            <a:ext cx="2394275" cy="154959"/>
          </a:xfrm>
          <a:prstGeom prst="rect">
            <a:avLst/>
          </a:prstGeom>
          <a:noFill/>
        </p:spPr>
        <p:txBody>
          <a:bodyPr wrap="square" lIns="0" tIns="0" rIns="0" bIns="0" rtlCol="0">
            <a:noAutofit/>
          </a:bodyPr>
          <a:lstStyle>
            <a:defPPr>
              <a:defRPr lang="nl-NL"/>
            </a:defPPr>
            <a:lvl1pPr>
              <a:lnSpc>
                <a:spcPct val="80000"/>
              </a:lnSpc>
              <a:defRPr sz="1400" b="1" cap="all">
                <a:solidFill>
                  <a:schemeClr val="bg1"/>
                </a:solidFill>
                <a:latin typeface="+mj-lt"/>
              </a:defRPr>
            </a:lvl1pPr>
          </a:lstStyle>
          <a:p>
            <a:r>
              <a:rPr lang="en-US" dirty="0"/>
              <a:t>DATA SHARING</a:t>
            </a:r>
          </a:p>
        </p:txBody>
      </p:sp>
      <p:sp>
        <p:nvSpPr>
          <p:cNvPr id="4418" name="T1">
            <a:extLst>
              <a:ext uri="{FF2B5EF4-FFF2-40B4-BE49-F238E27FC236}">
                <a16:creationId xmlns:a16="http://schemas.microsoft.com/office/drawing/2014/main" id="{C6270982-ABB9-4817-A28A-FFA751C2B710}"/>
              </a:ext>
            </a:extLst>
          </p:cNvPr>
          <p:cNvSpPr txBox="1"/>
          <p:nvPr/>
        </p:nvSpPr>
        <p:spPr>
          <a:xfrm>
            <a:off x="9469120" y="1879223"/>
            <a:ext cx="2162494" cy="416302"/>
          </a:xfrm>
          <a:prstGeom prst="rect">
            <a:avLst/>
          </a:prstGeom>
          <a:noFill/>
        </p:spPr>
        <p:txBody>
          <a:bodyPr wrap="square" lIns="0" tIns="0" rIns="0" bIns="0" rtlCol="0">
            <a:noAutofit/>
          </a:bodyPr>
          <a:lstStyle/>
          <a:p>
            <a:r>
              <a:rPr lang="en-US" sz="900" dirty="0">
                <a:solidFill>
                  <a:schemeClr val="bg1"/>
                </a:solidFill>
              </a:rPr>
              <a:t>“Making a difference in data sharing provides enormous opportunities for companies. Data is the new fuel.”</a:t>
            </a:r>
          </a:p>
        </p:txBody>
      </p:sp>
      <p:sp>
        <p:nvSpPr>
          <p:cNvPr id="4421" name="T2">
            <a:extLst>
              <a:ext uri="{FF2B5EF4-FFF2-40B4-BE49-F238E27FC236}">
                <a16:creationId xmlns:a16="http://schemas.microsoft.com/office/drawing/2014/main" id="{DD12B255-D98F-445D-A9B3-5ACE3AC1F14B}"/>
              </a:ext>
            </a:extLst>
          </p:cNvPr>
          <p:cNvSpPr txBox="1"/>
          <p:nvPr/>
        </p:nvSpPr>
        <p:spPr>
          <a:xfrm>
            <a:off x="9469119" y="4607541"/>
            <a:ext cx="2275206" cy="172638"/>
          </a:xfrm>
          <a:prstGeom prst="rect">
            <a:avLst/>
          </a:prstGeom>
          <a:noFill/>
        </p:spPr>
        <p:txBody>
          <a:bodyPr wrap="square" lIns="0" tIns="0" rIns="0" bIns="0" rtlCol="0">
            <a:noAutofit/>
          </a:bodyPr>
          <a:lstStyle>
            <a:defPPr>
              <a:defRPr lang="nl-NL"/>
            </a:defPPr>
            <a:lvl1pPr>
              <a:defRPr sz="1100" cap="all">
                <a:solidFill>
                  <a:schemeClr val="bg1"/>
                </a:solidFill>
                <a:latin typeface="+mj-lt"/>
              </a:defRPr>
            </a:lvl1pPr>
          </a:lstStyle>
          <a:p>
            <a:r>
              <a:rPr lang="en-US" dirty="0">
                <a:solidFill>
                  <a:schemeClr val="tx2">
                    <a:alpha val="40000"/>
                  </a:schemeClr>
                </a:solidFill>
              </a:rPr>
              <a:t>unit </a:t>
            </a:r>
            <a:r>
              <a:rPr lang="en-US" dirty="0" err="1">
                <a:solidFill>
                  <a:schemeClr val="tx2">
                    <a:alpha val="40000"/>
                  </a:schemeClr>
                </a:solidFill>
              </a:rPr>
              <a:t>ict</a:t>
            </a:r>
            <a:r>
              <a:rPr lang="en-US" dirty="0">
                <a:solidFill>
                  <a:schemeClr val="tx2">
                    <a:alpha val="40000"/>
                  </a:schemeClr>
                </a:solidFill>
              </a:rPr>
              <a:t> PMC cluster</a:t>
            </a:r>
          </a:p>
        </p:txBody>
      </p:sp>
      <p:sp>
        <p:nvSpPr>
          <p:cNvPr id="4422" name="T2">
            <a:extLst>
              <a:ext uri="{FF2B5EF4-FFF2-40B4-BE49-F238E27FC236}">
                <a16:creationId xmlns:a16="http://schemas.microsoft.com/office/drawing/2014/main" id="{9A0A8A40-7BD3-447B-B4E5-10790D9B2639}"/>
              </a:ext>
            </a:extLst>
          </p:cNvPr>
          <p:cNvSpPr txBox="1"/>
          <p:nvPr/>
        </p:nvSpPr>
        <p:spPr>
          <a:xfrm>
            <a:off x="9478644" y="4807566"/>
            <a:ext cx="2275206" cy="145434"/>
          </a:xfrm>
          <a:prstGeom prst="rect">
            <a:avLst/>
          </a:prstGeom>
          <a:noFill/>
        </p:spPr>
        <p:txBody>
          <a:bodyPr wrap="square" lIns="0" tIns="0" rIns="0" bIns="0" rtlCol="0">
            <a:noAutofit/>
          </a:bodyPr>
          <a:lstStyle>
            <a:defPPr>
              <a:defRPr lang="nl-NL"/>
            </a:defPPr>
            <a:lvl1pPr>
              <a:lnSpc>
                <a:spcPct val="80000"/>
              </a:lnSpc>
              <a:defRPr sz="1400" b="1" cap="all">
                <a:solidFill>
                  <a:schemeClr val="bg1"/>
                </a:solidFill>
                <a:latin typeface="+mj-lt"/>
              </a:defRPr>
            </a:lvl1pPr>
          </a:lstStyle>
          <a:p>
            <a:r>
              <a:rPr lang="en-US" dirty="0">
                <a:solidFill>
                  <a:schemeClr val="tx2">
                    <a:alpha val="20000"/>
                  </a:schemeClr>
                </a:solidFill>
              </a:rPr>
              <a:t>Trusted ICT </a:t>
            </a:r>
          </a:p>
        </p:txBody>
      </p:sp>
      <p:sp>
        <p:nvSpPr>
          <p:cNvPr id="4423" name="T2">
            <a:extLst>
              <a:ext uri="{FF2B5EF4-FFF2-40B4-BE49-F238E27FC236}">
                <a16:creationId xmlns:a16="http://schemas.microsoft.com/office/drawing/2014/main" id="{4D6CB7AA-B931-45D7-9036-4149D9F9793C}"/>
              </a:ext>
            </a:extLst>
          </p:cNvPr>
          <p:cNvSpPr txBox="1"/>
          <p:nvPr/>
        </p:nvSpPr>
        <p:spPr>
          <a:xfrm>
            <a:off x="9478644" y="5041523"/>
            <a:ext cx="2275206" cy="692528"/>
          </a:xfrm>
          <a:prstGeom prst="rect">
            <a:avLst/>
          </a:prstGeom>
          <a:noFill/>
        </p:spPr>
        <p:txBody>
          <a:bodyPr wrap="square" lIns="0" tIns="0" rIns="0" bIns="0" rtlCol="0">
            <a:noAutofit/>
          </a:bodyPr>
          <a:lstStyle/>
          <a:p>
            <a:r>
              <a:rPr lang="en-US" sz="900" dirty="0">
                <a:solidFill>
                  <a:schemeClr val="tx2">
                    <a:alpha val="40000"/>
                  </a:schemeClr>
                </a:solidFill>
              </a:rPr>
              <a:t>“Making a difference in preventing risk of financial loss, disruption or damage to the assets and reputation of an organization from some sort of failure of its information technology systems.”</a:t>
            </a:r>
          </a:p>
        </p:txBody>
      </p:sp>
      <p:sp>
        <p:nvSpPr>
          <p:cNvPr id="4429" name="T3">
            <a:extLst>
              <a:ext uri="{FF2B5EF4-FFF2-40B4-BE49-F238E27FC236}">
                <a16:creationId xmlns:a16="http://schemas.microsoft.com/office/drawing/2014/main" id="{E6329E47-4D0E-4089-93E2-4EE7FB6D65D3}"/>
              </a:ext>
            </a:extLst>
          </p:cNvPr>
          <p:cNvSpPr txBox="1"/>
          <p:nvPr/>
        </p:nvSpPr>
        <p:spPr>
          <a:xfrm>
            <a:off x="1125219" y="4274166"/>
            <a:ext cx="2275206" cy="172638"/>
          </a:xfrm>
          <a:prstGeom prst="rect">
            <a:avLst/>
          </a:prstGeom>
          <a:noFill/>
        </p:spPr>
        <p:txBody>
          <a:bodyPr wrap="square" lIns="0" tIns="0" rIns="0" bIns="0" rtlCol="0">
            <a:noAutofit/>
          </a:bodyPr>
          <a:lstStyle>
            <a:defPPr>
              <a:defRPr lang="nl-NL"/>
            </a:defPPr>
            <a:lvl1pPr>
              <a:defRPr sz="1100" cap="all">
                <a:solidFill>
                  <a:schemeClr val="bg1"/>
                </a:solidFill>
                <a:latin typeface="+mj-lt"/>
              </a:defRPr>
            </a:lvl1pPr>
          </a:lstStyle>
          <a:p>
            <a:r>
              <a:rPr lang="en-US" dirty="0">
                <a:solidFill>
                  <a:schemeClr val="tx2">
                    <a:alpha val="40000"/>
                  </a:schemeClr>
                </a:solidFill>
              </a:rPr>
              <a:t>unit </a:t>
            </a:r>
            <a:r>
              <a:rPr lang="en-US" dirty="0" err="1">
                <a:solidFill>
                  <a:schemeClr val="tx2">
                    <a:alpha val="40000"/>
                  </a:schemeClr>
                </a:solidFill>
              </a:rPr>
              <a:t>ict</a:t>
            </a:r>
            <a:r>
              <a:rPr lang="en-US" dirty="0">
                <a:solidFill>
                  <a:schemeClr val="tx2">
                    <a:alpha val="40000"/>
                  </a:schemeClr>
                </a:solidFill>
              </a:rPr>
              <a:t> PMC cluster</a:t>
            </a:r>
          </a:p>
        </p:txBody>
      </p:sp>
      <p:sp>
        <p:nvSpPr>
          <p:cNvPr id="4430" name="T3">
            <a:extLst>
              <a:ext uri="{FF2B5EF4-FFF2-40B4-BE49-F238E27FC236}">
                <a16:creationId xmlns:a16="http://schemas.microsoft.com/office/drawing/2014/main" id="{DC71076C-DB57-488E-B180-76E9D1801EC0}"/>
              </a:ext>
            </a:extLst>
          </p:cNvPr>
          <p:cNvSpPr txBox="1"/>
          <p:nvPr/>
        </p:nvSpPr>
        <p:spPr>
          <a:xfrm>
            <a:off x="1134744" y="4474190"/>
            <a:ext cx="2275206" cy="316885"/>
          </a:xfrm>
          <a:prstGeom prst="rect">
            <a:avLst/>
          </a:prstGeom>
          <a:noFill/>
        </p:spPr>
        <p:txBody>
          <a:bodyPr wrap="square" lIns="0" tIns="0" rIns="0" bIns="0" rtlCol="0">
            <a:noAutofit/>
          </a:bodyPr>
          <a:lstStyle>
            <a:defPPr>
              <a:defRPr lang="nl-NL"/>
            </a:defPPr>
            <a:lvl1pPr>
              <a:lnSpc>
                <a:spcPct val="80000"/>
              </a:lnSpc>
              <a:defRPr sz="1400" b="1" cap="all">
                <a:solidFill>
                  <a:schemeClr val="bg1"/>
                </a:solidFill>
                <a:latin typeface="+mj-lt"/>
              </a:defRPr>
            </a:lvl1pPr>
          </a:lstStyle>
          <a:p>
            <a:r>
              <a:rPr lang="en-US" dirty="0">
                <a:solidFill>
                  <a:schemeClr val="tx2">
                    <a:alpha val="20000"/>
                  </a:schemeClr>
                </a:solidFill>
              </a:rPr>
              <a:t>Embedding </a:t>
            </a:r>
          </a:p>
          <a:p>
            <a:r>
              <a:rPr lang="en-US" dirty="0">
                <a:solidFill>
                  <a:schemeClr val="tx2">
                    <a:alpha val="20000"/>
                  </a:schemeClr>
                </a:solidFill>
              </a:rPr>
              <a:t>systems innovation</a:t>
            </a:r>
          </a:p>
        </p:txBody>
      </p:sp>
      <p:sp>
        <p:nvSpPr>
          <p:cNvPr id="4431" name="T3">
            <a:extLst>
              <a:ext uri="{FF2B5EF4-FFF2-40B4-BE49-F238E27FC236}">
                <a16:creationId xmlns:a16="http://schemas.microsoft.com/office/drawing/2014/main" id="{EAAFA256-A348-4C0B-8D39-080612E35398}"/>
              </a:ext>
            </a:extLst>
          </p:cNvPr>
          <p:cNvSpPr txBox="1"/>
          <p:nvPr/>
        </p:nvSpPr>
        <p:spPr>
          <a:xfrm>
            <a:off x="1134744" y="4898647"/>
            <a:ext cx="2275206" cy="835403"/>
          </a:xfrm>
          <a:prstGeom prst="rect">
            <a:avLst/>
          </a:prstGeom>
          <a:noFill/>
        </p:spPr>
        <p:txBody>
          <a:bodyPr wrap="square" lIns="0" tIns="0" rIns="0" bIns="0" rtlCol="0">
            <a:noAutofit/>
          </a:bodyPr>
          <a:lstStyle/>
          <a:p>
            <a:r>
              <a:rPr lang="en-US" sz="900" dirty="0">
                <a:solidFill>
                  <a:schemeClr val="tx2">
                    <a:alpha val="40000"/>
                  </a:schemeClr>
                </a:solidFill>
              </a:rPr>
              <a:t>“Making a difference in the High Tech industry by addressing the challenge of mastering architecting and design of ever increasing complex systems through new and radically improved systems/software design and engineering methods.”</a:t>
            </a:r>
          </a:p>
        </p:txBody>
      </p:sp>
      <p:sp>
        <p:nvSpPr>
          <p:cNvPr id="4425" name="T4">
            <a:extLst>
              <a:ext uri="{FF2B5EF4-FFF2-40B4-BE49-F238E27FC236}">
                <a16:creationId xmlns:a16="http://schemas.microsoft.com/office/drawing/2014/main" id="{CBD5787E-22ED-48AB-94EC-51582F9CC631}"/>
              </a:ext>
            </a:extLst>
          </p:cNvPr>
          <p:cNvSpPr txBox="1"/>
          <p:nvPr/>
        </p:nvSpPr>
        <p:spPr>
          <a:xfrm>
            <a:off x="1125219" y="1435716"/>
            <a:ext cx="2394275" cy="172638"/>
          </a:xfrm>
          <a:prstGeom prst="rect">
            <a:avLst/>
          </a:prstGeom>
          <a:noFill/>
        </p:spPr>
        <p:txBody>
          <a:bodyPr wrap="square" lIns="0" tIns="0" rIns="0" bIns="0" rtlCol="0">
            <a:noAutofit/>
          </a:bodyPr>
          <a:lstStyle/>
          <a:p>
            <a:r>
              <a:rPr lang="en-US" sz="1100" cap="all" dirty="0">
                <a:solidFill>
                  <a:schemeClr val="tx2">
                    <a:alpha val="40000"/>
                  </a:schemeClr>
                </a:solidFill>
                <a:latin typeface="+mj-lt"/>
              </a:rPr>
              <a:t>unit </a:t>
            </a:r>
            <a:r>
              <a:rPr lang="en-US" sz="1100" cap="all" dirty="0" err="1">
                <a:solidFill>
                  <a:schemeClr val="tx2">
                    <a:alpha val="40000"/>
                  </a:schemeClr>
                </a:solidFill>
                <a:latin typeface="+mj-lt"/>
              </a:rPr>
              <a:t>ict</a:t>
            </a:r>
            <a:r>
              <a:rPr lang="en-US" sz="1100" cap="all" dirty="0">
                <a:solidFill>
                  <a:schemeClr val="tx2">
                    <a:alpha val="40000"/>
                  </a:schemeClr>
                </a:solidFill>
                <a:latin typeface="+mj-lt"/>
              </a:rPr>
              <a:t> PMC cluster </a:t>
            </a:r>
          </a:p>
        </p:txBody>
      </p:sp>
      <p:sp>
        <p:nvSpPr>
          <p:cNvPr id="4426" name="T4">
            <a:extLst>
              <a:ext uri="{FF2B5EF4-FFF2-40B4-BE49-F238E27FC236}">
                <a16:creationId xmlns:a16="http://schemas.microsoft.com/office/drawing/2014/main" id="{F7B98B4C-2F5E-4380-A00A-A5382731F3F6}"/>
              </a:ext>
            </a:extLst>
          </p:cNvPr>
          <p:cNvSpPr txBox="1"/>
          <p:nvPr/>
        </p:nvSpPr>
        <p:spPr>
          <a:xfrm>
            <a:off x="1125219" y="1635741"/>
            <a:ext cx="2394275" cy="316884"/>
          </a:xfrm>
          <a:prstGeom prst="rect">
            <a:avLst/>
          </a:prstGeom>
          <a:noFill/>
        </p:spPr>
        <p:txBody>
          <a:bodyPr wrap="square" lIns="0" tIns="0" rIns="0" bIns="0" rtlCol="0">
            <a:noAutofit/>
          </a:bodyPr>
          <a:lstStyle/>
          <a:p>
            <a:pPr>
              <a:lnSpc>
                <a:spcPct val="80000"/>
              </a:lnSpc>
            </a:pPr>
            <a:r>
              <a:rPr lang="en-US" sz="1400" b="1" cap="all" dirty="0">
                <a:solidFill>
                  <a:schemeClr val="tx2">
                    <a:alpha val="20000"/>
                  </a:schemeClr>
                </a:solidFill>
                <a:latin typeface="+mj-lt"/>
              </a:rPr>
              <a:t>Fast open</a:t>
            </a:r>
          </a:p>
          <a:p>
            <a:pPr>
              <a:lnSpc>
                <a:spcPct val="80000"/>
              </a:lnSpc>
            </a:pPr>
            <a:r>
              <a:rPr lang="en-US" sz="1400" b="1" cap="all" dirty="0">
                <a:solidFill>
                  <a:schemeClr val="tx2">
                    <a:alpha val="20000"/>
                  </a:schemeClr>
                </a:solidFill>
                <a:latin typeface="+mj-lt"/>
              </a:rPr>
              <a:t>infrastructures </a:t>
            </a:r>
          </a:p>
        </p:txBody>
      </p:sp>
      <p:sp>
        <p:nvSpPr>
          <p:cNvPr id="4427" name="T4">
            <a:extLst>
              <a:ext uri="{FF2B5EF4-FFF2-40B4-BE49-F238E27FC236}">
                <a16:creationId xmlns:a16="http://schemas.microsoft.com/office/drawing/2014/main" id="{895DC4C9-F354-4B2E-BB8E-72706A3BFB84}"/>
              </a:ext>
            </a:extLst>
          </p:cNvPr>
          <p:cNvSpPr txBox="1"/>
          <p:nvPr/>
        </p:nvSpPr>
        <p:spPr>
          <a:xfrm>
            <a:off x="1125220" y="2053234"/>
            <a:ext cx="2162494" cy="966192"/>
          </a:xfrm>
          <a:prstGeom prst="rect">
            <a:avLst/>
          </a:prstGeom>
          <a:noFill/>
        </p:spPr>
        <p:txBody>
          <a:bodyPr wrap="square" lIns="0" tIns="0" rIns="0" bIns="0" rtlCol="0">
            <a:noAutofit/>
          </a:bodyPr>
          <a:lstStyle/>
          <a:p>
            <a:r>
              <a:rPr lang="en-US" sz="900" dirty="0">
                <a:solidFill>
                  <a:schemeClr val="tx2">
                    <a:alpha val="40000"/>
                  </a:schemeClr>
                </a:solidFill>
              </a:rPr>
              <a:t>“Making a difference in a generic, highly flexible ICT infrastructure that delivers instantly and ubiquitously accessible ultra-high bandwidth connectivity, massive storage and processing as well as application platforms that adapt to utilize the available resources optimal.”</a:t>
            </a:r>
          </a:p>
        </p:txBody>
      </p:sp>
      <p:sp>
        <p:nvSpPr>
          <p:cNvPr id="137" name="HAAK">
            <a:extLst>
              <a:ext uri="{FF2B5EF4-FFF2-40B4-BE49-F238E27FC236}">
                <a16:creationId xmlns:a16="http://schemas.microsoft.com/office/drawing/2014/main" id="{EC4601A6-8729-46B3-9BA6-49556C8D8E0A}"/>
              </a:ext>
            </a:extLst>
          </p:cNvPr>
          <p:cNvSpPr>
            <a:spLocks/>
          </p:cNvSpPr>
          <p:nvPr/>
        </p:nvSpPr>
        <p:spPr bwMode="auto">
          <a:xfrm>
            <a:off x="9313574" y="5754521"/>
            <a:ext cx="69016" cy="202404"/>
          </a:xfrm>
          <a:custGeom>
            <a:avLst/>
            <a:gdLst>
              <a:gd name="T0" fmla="*/ 3 w 17"/>
              <a:gd name="T1" fmla="*/ 10 h 50"/>
              <a:gd name="T2" fmla="*/ 6 w 17"/>
              <a:gd name="T3" fmla="*/ 0 h 50"/>
              <a:gd name="T4" fmla="*/ 16 w 17"/>
              <a:gd name="T5" fmla="*/ 25 h 50"/>
              <a:gd name="T6" fmla="*/ 7 w 17"/>
              <a:gd name="T7" fmla="*/ 50 h 50"/>
              <a:gd name="T8" fmla="*/ 4 w 17"/>
              <a:gd name="T9" fmla="*/ 40 h 50"/>
              <a:gd name="T10" fmla="*/ 8 w 17"/>
              <a:gd name="T11" fmla="*/ 25 h 50"/>
              <a:gd name="T12" fmla="*/ 3 w 17"/>
              <a:gd name="T13" fmla="*/ 10 h 50"/>
            </a:gdLst>
            <a:ahLst/>
            <a:cxnLst>
              <a:cxn ang="0">
                <a:pos x="T0" y="T1"/>
              </a:cxn>
              <a:cxn ang="0">
                <a:pos x="T2" y="T3"/>
              </a:cxn>
              <a:cxn ang="0">
                <a:pos x="T4" y="T5"/>
              </a:cxn>
              <a:cxn ang="0">
                <a:pos x="T6" y="T7"/>
              </a:cxn>
              <a:cxn ang="0">
                <a:pos x="T8" y="T9"/>
              </a:cxn>
              <a:cxn ang="0">
                <a:pos x="T10" y="T11"/>
              </a:cxn>
              <a:cxn ang="0">
                <a:pos x="T12" y="T13"/>
              </a:cxn>
            </a:cxnLst>
            <a:rect l="0" t="0" r="r" b="b"/>
            <a:pathLst>
              <a:path w="17" h="50">
                <a:moveTo>
                  <a:pt x="3" y="10"/>
                </a:moveTo>
                <a:cubicBezTo>
                  <a:pt x="0" y="1"/>
                  <a:pt x="6" y="0"/>
                  <a:pt x="6" y="0"/>
                </a:cubicBezTo>
                <a:cubicBezTo>
                  <a:pt x="6" y="0"/>
                  <a:pt x="16" y="19"/>
                  <a:pt x="16" y="25"/>
                </a:cubicBezTo>
                <a:cubicBezTo>
                  <a:pt x="17" y="31"/>
                  <a:pt x="7" y="50"/>
                  <a:pt x="7" y="50"/>
                </a:cubicBezTo>
                <a:cubicBezTo>
                  <a:pt x="7" y="50"/>
                  <a:pt x="1" y="48"/>
                  <a:pt x="4" y="40"/>
                </a:cubicBezTo>
                <a:cubicBezTo>
                  <a:pt x="6" y="32"/>
                  <a:pt x="8" y="25"/>
                  <a:pt x="8" y="25"/>
                </a:cubicBezTo>
                <a:lnTo>
                  <a:pt x="3" y="1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solidFill>
                <a:prstClr val="black"/>
              </a:solidFill>
            </a:endParaRPr>
          </a:p>
        </p:txBody>
      </p:sp>
      <p:grpSp>
        <p:nvGrpSpPr>
          <p:cNvPr id="18" name="Groep 17">
            <a:extLst>
              <a:ext uri="{FF2B5EF4-FFF2-40B4-BE49-F238E27FC236}">
                <a16:creationId xmlns:a16="http://schemas.microsoft.com/office/drawing/2014/main" id="{BC5BFD4C-D4FB-48DD-A015-07FD940B767F}"/>
              </a:ext>
            </a:extLst>
          </p:cNvPr>
          <p:cNvGrpSpPr/>
          <p:nvPr/>
        </p:nvGrpSpPr>
        <p:grpSpPr>
          <a:xfrm>
            <a:off x="9239252" y="1793966"/>
            <a:ext cx="73817" cy="4059147"/>
            <a:chOff x="9239252" y="1793966"/>
            <a:chExt cx="73817" cy="4059147"/>
          </a:xfrm>
        </p:grpSpPr>
        <p:cxnSp>
          <p:nvCxnSpPr>
            <p:cNvPr id="7" name="Rechte verbindingslijn 6">
              <a:extLst>
                <a:ext uri="{FF2B5EF4-FFF2-40B4-BE49-F238E27FC236}">
                  <a16:creationId xmlns:a16="http://schemas.microsoft.com/office/drawing/2014/main" id="{1F8A3632-90DB-43D7-8104-787DF0B4A725}"/>
                </a:ext>
              </a:extLst>
            </p:cNvPr>
            <p:cNvCxnSpPr>
              <a:cxnSpLocks/>
            </p:cNvCxnSpPr>
            <p:nvPr/>
          </p:nvCxnSpPr>
          <p:spPr>
            <a:xfrm>
              <a:off x="9242552" y="1793966"/>
              <a:ext cx="0" cy="4059147"/>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426242E1-9431-4A8B-A38B-31AF9A41627F}"/>
                </a:ext>
              </a:extLst>
            </p:cNvPr>
            <p:cNvCxnSpPr>
              <a:cxnSpLocks/>
            </p:cNvCxnSpPr>
            <p:nvPr/>
          </p:nvCxnSpPr>
          <p:spPr>
            <a:xfrm flipH="1">
              <a:off x="9239252" y="5852164"/>
              <a:ext cx="73817"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34" name="Ovaal 33">
            <a:extLst>
              <a:ext uri="{FF2B5EF4-FFF2-40B4-BE49-F238E27FC236}">
                <a16:creationId xmlns:a16="http://schemas.microsoft.com/office/drawing/2014/main" id="{2BCD9D39-FD14-46AB-9B30-9DE52BD2DBA1}"/>
              </a:ext>
            </a:extLst>
          </p:cNvPr>
          <p:cNvSpPr/>
          <p:nvPr/>
        </p:nvSpPr>
        <p:spPr>
          <a:xfrm>
            <a:off x="9469119" y="5753130"/>
            <a:ext cx="219519" cy="219519"/>
          </a:xfrm>
          <a:prstGeom prst="ellipse">
            <a:avLst/>
          </a:prstGeom>
          <a:solidFill>
            <a:schemeClr val="bg1"/>
          </a:solidFill>
          <a:ln>
            <a:noFill/>
          </a:ln>
          <a:effectLst>
            <a:glow rad="76200">
              <a:srgbClr val="00B0F0">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dirty="0">
                <a:solidFill>
                  <a:srgbClr val="19578F"/>
                </a:solidFill>
                <a:latin typeface="+mj-lt"/>
              </a:rPr>
              <a:t>5</a:t>
            </a:r>
          </a:p>
        </p:txBody>
      </p:sp>
      <p:sp>
        <p:nvSpPr>
          <p:cNvPr id="168" name="Ovaal 167">
            <a:extLst>
              <a:ext uri="{FF2B5EF4-FFF2-40B4-BE49-F238E27FC236}">
                <a16:creationId xmlns:a16="http://schemas.microsoft.com/office/drawing/2014/main" id="{52A94989-6021-4C08-80CD-B7C049262A58}"/>
              </a:ext>
            </a:extLst>
          </p:cNvPr>
          <p:cNvSpPr/>
          <p:nvPr/>
        </p:nvSpPr>
        <p:spPr>
          <a:xfrm>
            <a:off x="9469119" y="4987654"/>
            <a:ext cx="219519" cy="219519"/>
          </a:xfrm>
          <a:prstGeom prst="ellipse">
            <a:avLst/>
          </a:prstGeom>
          <a:solidFill>
            <a:schemeClr val="bg1"/>
          </a:solidFill>
          <a:ln>
            <a:noFill/>
          </a:ln>
          <a:effectLst>
            <a:glow rad="76200">
              <a:srgbClr val="00B0F0">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dirty="0">
                <a:solidFill>
                  <a:srgbClr val="19578F"/>
                </a:solidFill>
                <a:latin typeface="+mj-lt"/>
              </a:rPr>
              <a:t>4</a:t>
            </a:r>
          </a:p>
        </p:txBody>
      </p:sp>
      <p:sp>
        <p:nvSpPr>
          <p:cNvPr id="169" name="Ovaal 168">
            <a:extLst>
              <a:ext uri="{FF2B5EF4-FFF2-40B4-BE49-F238E27FC236}">
                <a16:creationId xmlns:a16="http://schemas.microsoft.com/office/drawing/2014/main" id="{7A6A3B78-0F34-4B47-AFF2-5BC77FABB43D}"/>
              </a:ext>
            </a:extLst>
          </p:cNvPr>
          <p:cNvSpPr/>
          <p:nvPr/>
        </p:nvSpPr>
        <p:spPr>
          <a:xfrm>
            <a:off x="9469119" y="4223029"/>
            <a:ext cx="219519" cy="219519"/>
          </a:xfrm>
          <a:prstGeom prst="ellipse">
            <a:avLst/>
          </a:prstGeom>
          <a:solidFill>
            <a:schemeClr val="bg1"/>
          </a:solidFill>
          <a:ln>
            <a:noFill/>
          </a:ln>
          <a:effectLst>
            <a:glow rad="76200">
              <a:srgbClr val="00B0F0">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dirty="0">
                <a:solidFill>
                  <a:srgbClr val="19578F"/>
                </a:solidFill>
                <a:latin typeface="+mj-lt"/>
              </a:rPr>
              <a:t>3</a:t>
            </a:r>
          </a:p>
        </p:txBody>
      </p:sp>
      <p:sp>
        <p:nvSpPr>
          <p:cNvPr id="170" name="Ovaal 169">
            <a:extLst>
              <a:ext uri="{FF2B5EF4-FFF2-40B4-BE49-F238E27FC236}">
                <a16:creationId xmlns:a16="http://schemas.microsoft.com/office/drawing/2014/main" id="{77946043-8BEA-4F4F-8D4D-A8975DEC1FCC}"/>
              </a:ext>
            </a:extLst>
          </p:cNvPr>
          <p:cNvSpPr/>
          <p:nvPr/>
        </p:nvSpPr>
        <p:spPr>
          <a:xfrm>
            <a:off x="9469119" y="3457492"/>
            <a:ext cx="219519" cy="219519"/>
          </a:xfrm>
          <a:prstGeom prst="ellipse">
            <a:avLst/>
          </a:prstGeom>
          <a:solidFill>
            <a:schemeClr val="bg1"/>
          </a:solidFill>
          <a:ln>
            <a:noFill/>
          </a:ln>
          <a:effectLst>
            <a:glow rad="76200">
              <a:srgbClr val="00B0F0">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dirty="0">
                <a:solidFill>
                  <a:srgbClr val="19578F"/>
                </a:solidFill>
                <a:latin typeface="+mj-lt"/>
              </a:rPr>
              <a:t>2</a:t>
            </a:r>
          </a:p>
        </p:txBody>
      </p:sp>
      <p:sp>
        <p:nvSpPr>
          <p:cNvPr id="171" name="Ovaal 170">
            <a:extLst>
              <a:ext uri="{FF2B5EF4-FFF2-40B4-BE49-F238E27FC236}">
                <a16:creationId xmlns:a16="http://schemas.microsoft.com/office/drawing/2014/main" id="{EA5B28DF-2F4F-44AF-A641-0E31F2759EC1}"/>
              </a:ext>
            </a:extLst>
          </p:cNvPr>
          <p:cNvSpPr/>
          <p:nvPr/>
        </p:nvSpPr>
        <p:spPr>
          <a:xfrm>
            <a:off x="9469119" y="2703266"/>
            <a:ext cx="219519" cy="219519"/>
          </a:xfrm>
          <a:prstGeom prst="ellipse">
            <a:avLst/>
          </a:prstGeom>
          <a:solidFill>
            <a:schemeClr val="bg1"/>
          </a:solidFill>
          <a:ln>
            <a:noFill/>
          </a:ln>
          <a:effectLst>
            <a:glow rad="76200">
              <a:srgbClr val="00B0F0">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dirty="0">
                <a:solidFill>
                  <a:srgbClr val="19578F"/>
                </a:solidFill>
                <a:latin typeface="+mj-lt"/>
              </a:rPr>
              <a:t>1</a:t>
            </a:r>
          </a:p>
        </p:txBody>
      </p:sp>
      <p:grpSp>
        <p:nvGrpSpPr>
          <p:cNvPr id="172" name="HOME">
            <a:extLst>
              <a:ext uri="{FF2B5EF4-FFF2-40B4-BE49-F238E27FC236}">
                <a16:creationId xmlns:a16="http://schemas.microsoft.com/office/drawing/2014/main" id="{8673E260-F28E-42A5-84DB-9E95A6160F61}"/>
              </a:ext>
            </a:extLst>
          </p:cNvPr>
          <p:cNvGrpSpPr/>
          <p:nvPr/>
        </p:nvGrpSpPr>
        <p:grpSpPr>
          <a:xfrm>
            <a:off x="11318467" y="450289"/>
            <a:ext cx="348910" cy="448797"/>
            <a:chOff x="11318467" y="450289"/>
            <a:chExt cx="348910" cy="448797"/>
          </a:xfrm>
        </p:grpSpPr>
        <p:sp>
          <p:nvSpPr>
            <p:cNvPr id="173" name="Vrije vorm: vorm 172">
              <a:extLst>
                <a:ext uri="{FF2B5EF4-FFF2-40B4-BE49-F238E27FC236}">
                  <a16:creationId xmlns:a16="http://schemas.microsoft.com/office/drawing/2014/main" id="{A8AE71A3-D297-46AC-BC8C-D25DB5CA7821}"/>
                </a:ext>
              </a:extLst>
            </p:cNvPr>
            <p:cNvSpPr/>
            <p:nvPr/>
          </p:nvSpPr>
          <p:spPr>
            <a:xfrm rot="8100000">
              <a:off x="11424231" y="626540"/>
              <a:ext cx="162294" cy="162294"/>
            </a:xfrm>
            <a:custGeom>
              <a:avLst/>
              <a:gdLst>
                <a:gd name="connsiteX0" fmla="*/ 0 w 553670"/>
                <a:gd name="connsiteY0" fmla="*/ 553670 h 553670"/>
                <a:gd name="connsiteX1" fmla="*/ 0 w 553670"/>
                <a:gd name="connsiteY1" fmla="*/ 128567 h 553670"/>
                <a:gd name="connsiteX2" fmla="*/ 63927 w 553670"/>
                <a:gd name="connsiteY2" fmla="*/ 192490 h 553670"/>
                <a:gd name="connsiteX3" fmla="*/ 256416 w 553670"/>
                <a:gd name="connsiteY3" fmla="*/ 0 h 553670"/>
                <a:gd name="connsiteX4" fmla="*/ 343929 w 553670"/>
                <a:gd name="connsiteY4" fmla="*/ 87513 h 553670"/>
                <a:gd name="connsiteX5" fmla="*/ 236093 w 553670"/>
                <a:gd name="connsiteY5" fmla="*/ 195349 h 553670"/>
                <a:gd name="connsiteX6" fmla="*/ 236093 w 553670"/>
                <a:gd name="connsiteY6" fmla="*/ 236093 h 553670"/>
                <a:gd name="connsiteX7" fmla="*/ 317577 w 553670"/>
                <a:gd name="connsiteY7" fmla="*/ 317577 h 553670"/>
                <a:gd name="connsiteX8" fmla="*/ 358321 w 553670"/>
                <a:gd name="connsiteY8" fmla="*/ 317577 h 553670"/>
                <a:gd name="connsiteX9" fmla="*/ 466157 w 553670"/>
                <a:gd name="connsiteY9" fmla="*/ 209741 h 553670"/>
                <a:gd name="connsiteX10" fmla="*/ 500657 w 553670"/>
                <a:gd name="connsiteY10" fmla="*/ 244241 h 553670"/>
                <a:gd name="connsiteX11" fmla="*/ 553670 w 553670"/>
                <a:gd name="connsiteY11" fmla="*/ 297250 h 553670"/>
                <a:gd name="connsiteX12" fmla="*/ 361172 w 553670"/>
                <a:gd name="connsiteY12" fmla="*/ 489747 h 553670"/>
                <a:gd name="connsiteX13" fmla="*/ 425099 w 553670"/>
                <a:gd name="connsiteY13" fmla="*/ 553670 h 553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670" h="553670">
                  <a:moveTo>
                    <a:pt x="0" y="553670"/>
                  </a:moveTo>
                  <a:lnTo>
                    <a:pt x="0" y="128567"/>
                  </a:lnTo>
                  <a:lnTo>
                    <a:pt x="63927" y="192490"/>
                  </a:lnTo>
                  <a:lnTo>
                    <a:pt x="256416" y="0"/>
                  </a:lnTo>
                  <a:lnTo>
                    <a:pt x="343929" y="87513"/>
                  </a:lnTo>
                  <a:lnTo>
                    <a:pt x="236093" y="195349"/>
                  </a:lnTo>
                  <a:cubicBezTo>
                    <a:pt x="224842" y="206600"/>
                    <a:pt x="224842" y="224842"/>
                    <a:pt x="236093" y="236093"/>
                  </a:cubicBezTo>
                  <a:lnTo>
                    <a:pt x="317577" y="317577"/>
                  </a:lnTo>
                  <a:cubicBezTo>
                    <a:pt x="328828" y="328828"/>
                    <a:pt x="347070" y="328828"/>
                    <a:pt x="358321" y="317577"/>
                  </a:cubicBezTo>
                  <a:lnTo>
                    <a:pt x="466157" y="209741"/>
                  </a:lnTo>
                  <a:lnTo>
                    <a:pt x="500657" y="244241"/>
                  </a:lnTo>
                  <a:lnTo>
                    <a:pt x="553670" y="297250"/>
                  </a:lnTo>
                  <a:lnTo>
                    <a:pt x="361172" y="489747"/>
                  </a:lnTo>
                  <a:lnTo>
                    <a:pt x="425099" y="553670"/>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a:latin typeface="+mj-lt"/>
              </a:endParaRPr>
            </a:p>
          </p:txBody>
        </p:sp>
        <p:sp>
          <p:nvSpPr>
            <p:cNvPr id="174" name="HYPER">
              <a:hlinkClick r:id="rId3" action="ppaction://hlinksldjump"/>
              <a:extLst>
                <a:ext uri="{FF2B5EF4-FFF2-40B4-BE49-F238E27FC236}">
                  <a16:creationId xmlns:a16="http://schemas.microsoft.com/office/drawing/2014/main" id="{40A7E9CB-E74C-4E51-87AA-1299C8CBF557}"/>
                </a:ext>
              </a:extLst>
            </p:cNvPr>
            <p:cNvSpPr/>
            <p:nvPr/>
          </p:nvSpPr>
          <p:spPr>
            <a:xfrm>
              <a:off x="11318467" y="450289"/>
              <a:ext cx="348910" cy="448797"/>
            </a:xfrm>
            <a:prstGeom prst="rect">
              <a:avLst/>
            </a:prstGeom>
            <a:solidFill>
              <a:schemeClr val="tx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178" name="Tijdelijke aanduiding voor tekst 25">
            <a:extLst>
              <a:ext uri="{FF2B5EF4-FFF2-40B4-BE49-F238E27FC236}">
                <a16:creationId xmlns:a16="http://schemas.microsoft.com/office/drawing/2014/main" id="{112747A0-C05E-4459-98D6-2DCE6146F13E}"/>
              </a:ext>
            </a:extLst>
          </p:cNvPr>
          <p:cNvSpPr txBox="1">
            <a:spLocks/>
          </p:cNvSpPr>
          <p:nvPr/>
        </p:nvSpPr>
        <p:spPr>
          <a:xfrm>
            <a:off x="5616312" y="389469"/>
            <a:ext cx="959375" cy="171317"/>
          </a:xfrm>
          <a:prstGeom prst="rect">
            <a:avLst/>
          </a:prstGeom>
          <a:blipFill>
            <a:blip r:embed="rId4" cstate="hqprint">
              <a:extLst>
                <a:ext uri="{28A0092B-C50C-407E-A947-70E740481C1C}">
                  <a14:useLocalDpi xmlns:a14="http://schemas.microsoft.com/office/drawing/2010/main"/>
                </a:ext>
              </a:extLst>
            </a:blip>
            <a:stretch>
              <a:fillRect/>
            </a:stretch>
          </a:blipFill>
          <a:ln w="12700">
            <a:noFill/>
          </a:ln>
        </p:spPr>
        <p:txBody>
          <a:bodyPr/>
          <a:lstStyle>
            <a:lvl1pPr marL="0" indent="0" algn="l" defTabSz="719138" rtl="0" eaLnBrk="1" latinLnBrk="0" hangingPunct="1">
              <a:lnSpc>
                <a:spcPct val="100000"/>
              </a:lnSpc>
              <a:spcBef>
                <a:spcPts val="300"/>
              </a:spcBef>
              <a:spcAft>
                <a:spcPts val="600"/>
              </a:spcAft>
              <a:buClr>
                <a:schemeClr val="tx2"/>
              </a:buClr>
              <a:buSzPct val="100000"/>
              <a:buFont typeface="Arial" panose="020B0604020202020204" pitchFamily="34" charset="0"/>
              <a:buNone/>
              <a:defRPr sz="100" kern="1200">
                <a:solidFill>
                  <a:schemeClr val="bg1"/>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Tx/>
              <a:buBlip>
                <a:blip r:embed="rId5"/>
              </a:buBlip>
              <a:defRPr sz="1600" i="0" kern="1200">
                <a:solidFill>
                  <a:schemeClr val="tx1"/>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100000"/>
              </a:lnSpc>
              <a:spcBef>
                <a:spcPts val="300"/>
              </a:spcBef>
              <a:spcAft>
                <a:spcPts val="1200"/>
              </a:spcAft>
              <a:buFont typeface="Arial" panose="020B0604020202020204" pitchFamily="34" charset="0"/>
              <a:buNone/>
              <a:defRPr sz="2000" b="1" kern="1200" cap="all" spc="30" baseline="0">
                <a:solidFill>
                  <a:schemeClr val="tx2"/>
                </a:solidFill>
                <a:latin typeface="+mj-lt"/>
                <a:ea typeface="+mn-ea"/>
                <a:cs typeface="Calibri" panose="020F0502020204030204" pitchFamily="34" charset="0"/>
              </a:defRPr>
            </a:lvl4pPr>
            <a:lvl5pPr marL="271463" indent="-271463" algn="l" defTabSz="719138" rtl="0" eaLnBrk="1" latinLnBrk="0" hangingPunct="1">
              <a:lnSpc>
                <a:spcPct val="100000"/>
              </a:lnSpc>
              <a:spcBef>
                <a:spcPts val="300"/>
              </a:spcBef>
              <a:spcAft>
                <a:spcPts val="600"/>
              </a:spcAft>
              <a:buClr>
                <a:schemeClr val="tx1"/>
              </a:buClr>
              <a:buFont typeface="+mj-lt"/>
              <a:buAutoNum type="arabicPeriod"/>
              <a:defRPr sz="1600" i="0" kern="1200">
                <a:solidFill>
                  <a:schemeClr val="tx1"/>
                </a:solidFill>
                <a:latin typeface="+mn-lt"/>
                <a:ea typeface="+mn-ea"/>
                <a:cs typeface="+mn-cs"/>
              </a:defRPr>
            </a:lvl5pPr>
            <a:lvl6pPr marL="217488" indent="-217488" algn="l" defTabSz="914400" rtl="0" eaLnBrk="1" latinLnBrk="0" hangingPunct="1">
              <a:lnSpc>
                <a:spcPct val="100000"/>
              </a:lnSpc>
              <a:spcBef>
                <a:spcPts val="300"/>
              </a:spcBef>
              <a:spcAft>
                <a:spcPts val="600"/>
              </a:spcAft>
              <a:buFontTx/>
              <a:buBlip>
                <a:blip r:embed="rId6"/>
              </a:buBlip>
              <a:defRPr sz="1600" b="0" i="0" kern="1200">
                <a:solidFill>
                  <a:schemeClr val="tx1"/>
                </a:solidFill>
                <a:latin typeface="+mn-lt"/>
                <a:ea typeface="+mn-ea"/>
                <a:cs typeface="+mn-cs"/>
              </a:defRPr>
            </a:lvl6pPr>
            <a:lvl7pPr marL="471488" indent="-254000" algn="l" defTabSz="914400" rtl="0" eaLnBrk="1" latinLnBrk="0" hangingPunct="1">
              <a:lnSpc>
                <a:spcPct val="100000"/>
              </a:lnSpc>
              <a:spcBef>
                <a:spcPts val="300"/>
              </a:spcBef>
              <a:spcAft>
                <a:spcPts val="600"/>
              </a:spcAft>
              <a:buFontTx/>
              <a:buBlip>
                <a:blip r:embed="rId5"/>
              </a:buBlip>
              <a:defRPr sz="1600" b="0" i="0" kern="1200">
                <a:solidFill>
                  <a:schemeClr val="tx1"/>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1200"/>
              </a:spcAft>
              <a:buFont typeface="Arial" panose="020B0604020202020204" pitchFamily="34" charset="0"/>
              <a:buNone/>
              <a:defRPr sz="2000" b="1" kern="1200" cap="all" baseline="0">
                <a:solidFill>
                  <a:schemeClr val="tx2"/>
                </a:solidFill>
                <a:latin typeface="+mj-lt"/>
                <a:ea typeface="+mn-ea"/>
                <a:cs typeface="+mn-cs"/>
              </a:defRPr>
            </a:lvl9pPr>
          </a:lstStyle>
          <a:p>
            <a:r>
              <a:rPr lang="en-GB"/>
              <a:t> </a:t>
            </a:r>
          </a:p>
        </p:txBody>
      </p:sp>
      <p:sp>
        <p:nvSpPr>
          <p:cNvPr id="150" name="Tekstvak 149">
            <a:extLst>
              <a:ext uri="{FF2B5EF4-FFF2-40B4-BE49-F238E27FC236}">
                <a16:creationId xmlns:a16="http://schemas.microsoft.com/office/drawing/2014/main" id="{3A66963B-7BD8-42FC-BFCC-ECED30510B84}"/>
              </a:ext>
            </a:extLst>
          </p:cNvPr>
          <p:cNvSpPr txBox="1"/>
          <p:nvPr/>
        </p:nvSpPr>
        <p:spPr>
          <a:xfrm>
            <a:off x="5498938" y="3227295"/>
            <a:ext cx="1178724" cy="769441"/>
          </a:xfrm>
          <a:prstGeom prst="rect">
            <a:avLst/>
          </a:prstGeom>
          <a:noFill/>
        </p:spPr>
        <p:txBody>
          <a:bodyPr wrap="square" rtlCol="0" anchor="ctr">
            <a:noAutofit/>
          </a:bodyPr>
          <a:lstStyle/>
          <a:p>
            <a:pPr algn="ctr"/>
            <a:r>
              <a:rPr lang="en-GB" sz="900" cap="all" dirty="0">
                <a:solidFill>
                  <a:schemeClr val="tx2">
                    <a:alpha val="50000"/>
                  </a:schemeClr>
                </a:solidFill>
                <a:latin typeface="+mj-lt"/>
              </a:rPr>
              <a:t>Innovation Challenge areas</a:t>
            </a:r>
          </a:p>
        </p:txBody>
      </p:sp>
      <p:sp>
        <p:nvSpPr>
          <p:cNvPr id="152" name="TextBox 151">
            <a:extLst>
              <a:ext uri="{FF2B5EF4-FFF2-40B4-BE49-F238E27FC236}">
                <a16:creationId xmlns:a16="http://schemas.microsoft.com/office/drawing/2014/main" id="{D8556F82-C869-4CEF-87C0-44B6AB3B05D5}"/>
              </a:ext>
            </a:extLst>
          </p:cNvPr>
          <p:cNvSpPr txBox="1"/>
          <p:nvPr/>
        </p:nvSpPr>
        <p:spPr>
          <a:xfrm>
            <a:off x="9822386" y="4873348"/>
            <a:ext cx="2265319" cy="523220"/>
          </a:xfrm>
          <a:prstGeom prst="rect">
            <a:avLst/>
          </a:prstGeom>
          <a:noFill/>
        </p:spPr>
        <p:txBody>
          <a:bodyPr wrap="square" rtlCol="0">
            <a:spAutoFit/>
          </a:bodyPr>
          <a:lstStyle/>
          <a:p>
            <a:r>
              <a:rPr lang="nl-NL" sz="1400" b="1" dirty="0">
                <a:solidFill>
                  <a:schemeClr val="bg1"/>
                </a:solidFill>
                <a:latin typeface="+mj-lt"/>
              </a:rPr>
              <a:t>Digital </a:t>
            </a:r>
            <a:r>
              <a:rPr lang="nl-NL" sz="1400" b="1" dirty="0" err="1">
                <a:solidFill>
                  <a:schemeClr val="bg1"/>
                </a:solidFill>
                <a:latin typeface="+mj-lt"/>
              </a:rPr>
              <a:t>validation</a:t>
            </a:r>
            <a:r>
              <a:rPr lang="nl-NL" sz="1400" b="1" dirty="0">
                <a:solidFill>
                  <a:schemeClr val="bg1"/>
                </a:solidFill>
                <a:latin typeface="+mj-lt"/>
              </a:rPr>
              <a:t> of information </a:t>
            </a:r>
          </a:p>
        </p:txBody>
      </p:sp>
      <p:sp>
        <p:nvSpPr>
          <p:cNvPr id="153" name="TextBox 152">
            <a:extLst>
              <a:ext uri="{FF2B5EF4-FFF2-40B4-BE49-F238E27FC236}">
                <a16:creationId xmlns:a16="http://schemas.microsoft.com/office/drawing/2014/main" id="{0B1CBA59-339F-41E5-B1FC-1137CF9C33C7}"/>
              </a:ext>
            </a:extLst>
          </p:cNvPr>
          <p:cNvSpPr txBox="1"/>
          <p:nvPr/>
        </p:nvSpPr>
        <p:spPr>
          <a:xfrm>
            <a:off x="9812499" y="4080674"/>
            <a:ext cx="2352205" cy="523220"/>
          </a:xfrm>
          <a:prstGeom prst="rect">
            <a:avLst/>
          </a:prstGeom>
          <a:noFill/>
        </p:spPr>
        <p:txBody>
          <a:bodyPr wrap="square" rtlCol="0">
            <a:spAutoFit/>
          </a:bodyPr>
          <a:lstStyle/>
          <a:p>
            <a:r>
              <a:rPr lang="nl-NL" sz="1400" b="1" dirty="0">
                <a:solidFill>
                  <a:schemeClr val="bg1"/>
                </a:solidFill>
                <a:latin typeface="+mj-lt"/>
              </a:rPr>
              <a:t>Data </a:t>
            </a:r>
            <a:r>
              <a:rPr lang="nl-NL" sz="1400" b="1" dirty="0" err="1">
                <a:solidFill>
                  <a:schemeClr val="bg1"/>
                </a:solidFill>
                <a:latin typeface="+mj-lt"/>
              </a:rPr>
              <a:t>interoperability</a:t>
            </a:r>
            <a:r>
              <a:rPr lang="nl-NL" sz="1400" b="1" dirty="0">
                <a:solidFill>
                  <a:schemeClr val="bg1"/>
                </a:solidFill>
                <a:latin typeface="+mj-lt"/>
              </a:rPr>
              <a:t> &amp; </a:t>
            </a:r>
            <a:r>
              <a:rPr lang="nl-NL" sz="1400" b="1" dirty="0" err="1">
                <a:solidFill>
                  <a:schemeClr val="bg1"/>
                </a:solidFill>
                <a:latin typeface="+mj-lt"/>
              </a:rPr>
              <a:t>Semantics</a:t>
            </a:r>
            <a:endParaRPr lang="nl-NL" sz="1400" b="1" dirty="0">
              <a:solidFill>
                <a:schemeClr val="bg1"/>
              </a:solidFill>
              <a:latin typeface="+mj-lt"/>
            </a:endParaRPr>
          </a:p>
        </p:txBody>
      </p:sp>
      <p:sp>
        <p:nvSpPr>
          <p:cNvPr id="154" name="TextBox 153">
            <a:extLst>
              <a:ext uri="{FF2B5EF4-FFF2-40B4-BE49-F238E27FC236}">
                <a16:creationId xmlns:a16="http://schemas.microsoft.com/office/drawing/2014/main" id="{2AA3B674-A3EC-4A29-BF71-FF16CB3BDF39}"/>
              </a:ext>
            </a:extLst>
          </p:cNvPr>
          <p:cNvSpPr txBox="1"/>
          <p:nvPr/>
        </p:nvSpPr>
        <p:spPr>
          <a:xfrm>
            <a:off x="9812499" y="3449937"/>
            <a:ext cx="2275206" cy="307777"/>
          </a:xfrm>
          <a:prstGeom prst="rect">
            <a:avLst/>
          </a:prstGeom>
          <a:noFill/>
        </p:spPr>
        <p:txBody>
          <a:bodyPr wrap="square" rtlCol="0">
            <a:spAutoFit/>
          </a:bodyPr>
          <a:lstStyle/>
          <a:p>
            <a:r>
              <a:rPr lang="nl-NL" sz="1400" b="1" dirty="0" err="1">
                <a:solidFill>
                  <a:schemeClr val="bg1"/>
                </a:solidFill>
                <a:latin typeface="+mj-lt"/>
              </a:rPr>
              <a:t>Controlled</a:t>
            </a:r>
            <a:r>
              <a:rPr lang="nl-NL" sz="1400" b="1" dirty="0">
                <a:solidFill>
                  <a:schemeClr val="bg1"/>
                </a:solidFill>
                <a:latin typeface="+mj-lt"/>
              </a:rPr>
              <a:t> Data Sharing</a:t>
            </a:r>
          </a:p>
        </p:txBody>
      </p:sp>
      <p:sp>
        <p:nvSpPr>
          <p:cNvPr id="155" name="TextBox 154">
            <a:extLst>
              <a:ext uri="{FF2B5EF4-FFF2-40B4-BE49-F238E27FC236}">
                <a16:creationId xmlns:a16="http://schemas.microsoft.com/office/drawing/2014/main" id="{29462E95-4932-4D51-B5F7-7F035DDD3A32}"/>
              </a:ext>
            </a:extLst>
          </p:cNvPr>
          <p:cNvSpPr txBox="1"/>
          <p:nvPr/>
        </p:nvSpPr>
        <p:spPr>
          <a:xfrm>
            <a:off x="9838811" y="5712402"/>
            <a:ext cx="2213721" cy="307777"/>
          </a:xfrm>
          <a:prstGeom prst="rect">
            <a:avLst/>
          </a:prstGeom>
          <a:noFill/>
        </p:spPr>
        <p:txBody>
          <a:bodyPr wrap="square" rtlCol="0">
            <a:spAutoFit/>
          </a:bodyPr>
          <a:lstStyle/>
          <a:p>
            <a:r>
              <a:rPr lang="nl-NL" sz="1400" b="1" dirty="0">
                <a:solidFill>
                  <a:schemeClr val="bg1"/>
                </a:solidFill>
                <a:latin typeface="+mj-lt"/>
              </a:rPr>
              <a:t>Digital </a:t>
            </a:r>
            <a:r>
              <a:rPr lang="nl-NL" sz="1400" b="1" dirty="0" err="1">
                <a:solidFill>
                  <a:schemeClr val="bg1"/>
                </a:solidFill>
                <a:latin typeface="+mj-lt"/>
              </a:rPr>
              <a:t>Twinning</a:t>
            </a:r>
            <a:endParaRPr lang="nl-NL" sz="1400" b="1" dirty="0">
              <a:solidFill>
                <a:schemeClr val="bg1"/>
              </a:solidFill>
              <a:latin typeface="+mj-lt"/>
            </a:endParaRPr>
          </a:p>
        </p:txBody>
      </p:sp>
      <p:sp>
        <p:nvSpPr>
          <p:cNvPr id="166" name="TextBox 153">
            <a:extLst>
              <a:ext uri="{FF2B5EF4-FFF2-40B4-BE49-F238E27FC236}">
                <a16:creationId xmlns:a16="http://schemas.microsoft.com/office/drawing/2014/main" id="{75FBABAC-32DE-4D8B-AB23-06339A8B71ED}"/>
              </a:ext>
            </a:extLst>
          </p:cNvPr>
          <p:cNvSpPr txBox="1"/>
          <p:nvPr/>
        </p:nvSpPr>
        <p:spPr>
          <a:xfrm>
            <a:off x="1202020" y="2679140"/>
            <a:ext cx="2313302" cy="523220"/>
          </a:xfrm>
          <a:prstGeom prst="rect">
            <a:avLst/>
          </a:prstGeom>
          <a:noFill/>
        </p:spPr>
        <p:txBody>
          <a:bodyPr wrap="square" rtlCol="0">
            <a:spAutoFit/>
          </a:bodyPr>
          <a:lstStyle/>
          <a:p>
            <a:r>
              <a:rPr lang="nl-NL" sz="1400" b="1" dirty="0">
                <a:solidFill>
                  <a:schemeClr val="bg1"/>
                </a:solidFill>
                <a:latin typeface="+mj-lt"/>
              </a:rPr>
              <a:t>Smart Connected </a:t>
            </a:r>
            <a:r>
              <a:rPr lang="nl-NL" sz="1400" b="1" dirty="0" err="1">
                <a:solidFill>
                  <a:schemeClr val="bg1"/>
                </a:solidFill>
                <a:latin typeface="+mj-lt"/>
              </a:rPr>
              <a:t>Supplier</a:t>
            </a:r>
            <a:r>
              <a:rPr lang="nl-NL" sz="1400" b="1" dirty="0">
                <a:solidFill>
                  <a:schemeClr val="bg1"/>
                </a:solidFill>
                <a:latin typeface="+mj-lt"/>
              </a:rPr>
              <a:t> Network</a:t>
            </a:r>
          </a:p>
        </p:txBody>
      </p:sp>
      <p:grpSp>
        <p:nvGrpSpPr>
          <p:cNvPr id="224" name="ICOON1_GROEN">
            <a:extLst>
              <a:ext uri="{FF2B5EF4-FFF2-40B4-BE49-F238E27FC236}">
                <a16:creationId xmlns:a16="http://schemas.microsoft.com/office/drawing/2014/main" id="{9A06241D-120E-4A2C-A4A1-88CBC9BBACF9}"/>
              </a:ext>
            </a:extLst>
          </p:cNvPr>
          <p:cNvGrpSpPr/>
          <p:nvPr/>
        </p:nvGrpSpPr>
        <p:grpSpPr>
          <a:xfrm>
            <a:off x="761593" y="1466745"/>
            <a:ext cx="287074" cy="287074"/>
            <a:chOff x="8946402" y="1045231"/>
            <a:chExt cx="287074" cy="287074"/>
          </a:xfrm>
          <a:solidFill>
            <a:schemeClr val="accent6"/>
          </a:solidFill>
          <a:effectLst>
            <a:outerShdw blurRad="190500" algn="ctr" rotWithShape="0">
              <a:prstClr val="black">
                <a:alpha val="50000"/>
              </a:prstClr>
            </a:outerShdw>
          </a:effectLst>
        </p:grpSpPr>
        <p:sp>
          <p:nvSpPr>
            <p:cNvPr id="225" name="Vrije vorm: vorm 224">
              <a:extLst>
                <a:ext uri="{FF2B5EF4-FFF2-40B4-BE49-F238E27FC236}">
                  <a16:creationId xmlns:a16="http://schemas.microsoft.com/office/drawing/2014/main" id="{4BA920E0-948D-4B5C-AE53-D532D8A2B340}"/>
                </a:ext>
              </a:extLst>
            </p:cNvPr>
            <p:cNvSpPr/>
            <p:nvPr/>
          </p:nvSpPr>
          <p:spPr>
            <a:xfrm>
              <a:off x="8946402" y="1045231"/>
              <a:ext cx="287074" cy="287074"/>
            </a:xfrm>
            <a:custGeom>
              <a:avLst/>
              <a:gdLst>
                <a:gd name="connsiteX0" fmla="*/ 143537 w 287074"/>
                <a:gd name="connsiteY0" fmla="*/ 26076 h 287074"/>
                <a:gd name="connsiteX1" fmla="*/ 260999 w 287074"/>
                <a:gd name="connsiteY1" fmla="*/ 143537 h 287074"/>
                <a:gd name="connsiteX2" fmla="*/ 143537 w 287074"/>
                <a:gd name="connsiteY2" fmla="*/ 260999 h 287074"/>
                <a:gd name="connsiteX3" fmla="*/ 26076 w 287074"/>
                <a:gd name="connsiteY3" fmla="*/ 143537 h 287074"/>
                <a:gd name="connsiteX4" fmla="*/ 143537 w 287074"/>
                <a:gd name="connsiteY4" fmla="*/ 26076 h 287074"/>
                <a:gd name="connsiteX5" fmla="*/ 143537 w 287074"/>
                <a:gd name="connsiteY5" fmla="*/ 0 h 287074"/>
                <a:gd name="connsiteX6" fmla="*/ 0 w 287074"/>
                <a:gd name="connsiteY6" fmla="*/ 143537 h 287074"/>
                <a:gd name="connsiteX7" fmla="*/ 143537 w 287074"/>
                <a:gd name="connsiteY7" fmla="*/ 287075 h 287074"/>
                <a:gd name="connsiteX8" fmla="*/ 287075 w 287074"/>
                <a:gd name="connsiteY8" fmla="*/ 143537 h 287074"/>
                <a:gd name="connsiteX9" fmla="*/ 143537 w 287074"/>
                <a:gd name="connsiteY9" fmla="*/ 0 h 287074"/>
                <a:gd name="connsiteX10" fmla="*/ 143537 w 287074"/>
                <a:gd name="connsiteY10" fmla="*/ 0 h 28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074" h="287074">
                  <a:moveTo>
                    <a:pt x="143537" y="26076"/>
                  </a:moveTo>
                  <a:cubicBezTo>
                    <a:pt x="208308" y="26076"/>
                    <a:pt x="260999" y="78766"/>
                    <a:pt x="260999" y="143537"/>
                  </a:cubicBezTo>
                  <a:cubicBezTo>
                    <a:pt x="260999" y="208309"/>
                    <a:pt x="208308" y="260999"/>
                    <a:pt x="143537" y="260999"/>
                  </a:cubicBezTo>
                  <a:cubicBezTo>
                    <a:pt x="78766" y="260999"/>
                    <a:pt x="26076" y="208309"/>
                    <a:pt x="26076" y="143537"/>
                  </a:cubicBezTo>
                  <a:cubicBezTo>
                    <a:pt x="26076" y="78766"/>
                    <a:pt x="78766" y="26076"/>
                    <a:pt x="143537" y="26076"/>
                  </a:cubicBezTo>
                  <a:moveTo>
                    <a:pt x="143537" y="0"/>
                  </a:moveTo>
                  <a:cubicBezTo>
                    <a:pt x="64293" y="0"/>
                    <a:pt x="0" y="64293"/>
                    <a:pt x="0" y="143537"/>
                  </a:cubicBezTo>
                  <a:cubicBezTo>
                    <a:pt x="0" y="222782"/>
                    <a:pt x="64293" y="287075"/>
                    <a:pt x="143537" y="287075"/>
                  </a:cubicBezTo>
                  <a:cubicBezTo>
                    <a:pt x="222782" y="287075"/>
                    <a:pt x="287075" y="222782"/>
                    <a:pt x="287075" y="143537"/>
                  </a:cubicBezTo>
                  <a:cubicBezTo>
                    <a:pt x="287075" y="64293"/>
                    <a:pt x="222842" y="0"/>
                    <a:pt x="143537" y="0"/>
                  </a:cubicBezTo>
                  <a:lnTo>
                    <a:pt x="143537" y="0"/>
                  </a:lnTo>
                  <a:close/>
                </a:path>
              </a:pathLst>
            </a:custGeom>
            <a:grpFill/>
            <a:ln w="5978" cap="flat">
              <a:noFill/>
              <a:prstDash val="solid"/>
              <a:miter/>
            </a:ln>
          </p:spPr>
          <p:txBody>
            <a:bodyPr rtlCol="0" anchor="ctr"/>
            <a:lstStyle/>
            <a:p>
              <a:endParaRPr lang="en-GB"/>
            </a:p>
          </p:txBody>
        </p:sp>
        <p:sp>
          <p:nvSpPr>
            <p:cNvPr id="226" name="Vrije vorm: vorm 225">
              <a:extLst>
                <a:ext uri="{FF2B5EF4-FFF2-40B4-BE49-F238E27FC236}">
                  <a16:creationId xmlns:a16="http://schemas.microsoft.com/office/drawing/2014/main" id="{3C9BEB53-BD4E-4A0D-8B30-091C7EA20F88}"/>
                </a:ext>
              </a:extLst>
            </p:cNvPr>
            <p:cNvSpPr/>
            <p:nvPr/>
          </p:nvSpPr>
          <p:spPr>
            <a:xfrm>
              <a:off x="9019307" y="1110002"/>
              <a:ext cx="141982" cy="71050"/>
            </a:xfrm>
            <a:custGeom>
              <a:avLst/>
              <a:gdLst>
                <a:gd name="connsiteX0" fmla="*/ 70991 w 141982"/>
                <a:gd name="connsiteY0" fmla="*/ 71051 h 71050"/>
                <a:gd name="connsiteX1" fmla="*/ 141982 w 141982"/>
                <a:gd name="connsiteY1" fmla="*/ 47367 h 71050"/>
                <a:gd name="connsiteX2" fmla="*/ 141982 w 141982"/>
                <a:gd name="connsiteY2" fmla="*/ 23684 h 71050"/>
                <a:gd name="connsiteX3" fmla="*/ 70991 w 141982"/>
                <a:gd name="connsiteY3" fmla="*/ 0 h 71050"/>
                <a:gd name="connsiteX4" fmla="*/ 0 w 141982"/>
                <a:gd name="connsiteY4" fmla="*/ 23684 h 71050"/>
                <a:gd name="connsiteX5" fmla="*/ 0 w 141982"/>
                <a:gd name="connsiteY5" fmla="*/ 47367 h 71050"/>
                <a:gd name="connsiteX6" fmla="*/ 70991 w 141982"/>
                <a:gd name="connsiteY6" fmla="*/ 71051 h 71050"/>
                <a:gd name="connsiteX7" fmla="*/ 70991 w 141982"/>
                <a:gd name="connsiteY7" fmla="*/ 9988 h 71050"/>
                <a:gd name="connsiteX8" fmla="*/ 125715 w 141982"/>
                <a:gd name="connsiteY8" fmla="*/ 23743 h 71050"/>
                <a:gd name="connsiteX9" fmla="*/ 70991 w 141982"/>
                <a:gd name="connsiteY9" fmla="*/ 37499 h 71050"/>
                <a:gd name="connsiteX10" fmla="*/ 16267 w 141982"/>
                <a:gd name="connsiteY10" fmla="*/ 23743 h 71050"/>
                <a:gd name="connsiteX11" fmla="*/ 70991 w 141982"/>
                <a:gd name="connsiteY11" fmla="*/ 9988 h 71050"/>
                <a:gd name="connsiteX12" fmla="*/ 70991 w 141982"/>
                <a:gd name="connsiteY12" fmla="*/ 9988 h 7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982" h="71050">
                  <a:moveTo>
                    <a:pt x="70991" y="71051"/>
                  </a:moveTo>
                  <a:cubicBezTo>
                    <a:pt x="110045" y="71051"/>
                    <a:pt x="141982" y="60465"/>
                    <a:pt x="141982" y="47367"/>
                  </a:cubicBezTo>
                  <a:lnTo>
                    <a:pt x="141982" y="23684"/>
                  </a:lnTo>
                  <a:cubicBezTo>
                    <a:pt x="141982" y="10586"/>
                    <a:pt x="110285" y="0"/>
                    <a:pt x="70991" y="0"/>
                  </a:cubicBezTo>
                  <a:cubicBezTo>
                    <a:pt x="31698" y="0"/>
                    <a:pt x="0" y="10586"/>
                    <a:pt x="0" y="23684"/>
                  </a:cubicBezTo>
                  <a:lnTo>
                    <a:pt x="0" y="47367"/>
                  </a:lnTo>
                  <a:cubicBezTo>
                    <a:pt x="0" y="60465"/>
                    <a:pt x="31698" y="71051"/>
                    <a:pt x="70991" y="71051"/>
                  </a:cubicBezTo>
                  <a:close/>
                  <a:moveTo>
                    <a:pt x="70991" y="9988"/>
                  </a:moveTo>
                  <a:cubicBezTo>
                    <a:pt x="101194" y="9988"/>
                    <a:pt x="125715" y="16088"/>
                    <a:pt x="125715" y="23743"/>
                  </a:cubicBezTo>
                  <a:cubicBezTo>
                    <a:pt x="125715" y="31399"/>
                    <a:pt x="101194" y="37499"/>
                    <a:pt x="70991" y="37499"/>
                  </a:cubicBezTo>
                  <a:cubicBezTo>
                    <a:pt x="40789" y="37499"/>
                    <a:pt x="16267" y="31399"/>
                    <a:pt x="16267" y="23743"/>
                  </a:cubicBezTo>
                  <a:cubicBezTo>
                    <a:pt x="16267" y="16088"/>
                    <a:pt x="40789" y="10167"/>
                    <a:pt x="70991" y="9988"/>
                  </a:cubicBezTo>
                  <a:lnTo>
                    <a:pt x="70991" y="9988"/>
                  </a:lnTo>
                  <a:close/>
                </a:path>
              </a:pathLst>
            </a:custGeom>
            <a:grpFill/>
            <a:ln w="5978" cap="flat">
              <a:noFill/>
              <a:prstDash val="solid"/>
              <a:miter/>
            </a:ln>
          </p:spPr>
          <p:txBody>
            <a:bodyPr rtlCol="0" anchor="ctr"/>
            <a:lstStyle/>
            <a:p>
              <a:endParaRPr lang="en-GB"/>
            </a:p>
          </p:txBody>
        </p:sp>
        <p:sp>
          <p:nvSpPr>
            <p:cNvPr id="227" name="Vrije vorm: vorm 226">
              <a:extLst>
                <a:ext uri="{FF2B5EF4-FFF2-40B4-BE49-F238E27FC236}">
                  <a16:creationId xmlns:a16="http://schemas.microsoft.com/office/drawing/2014/main" id="{E1EE67E7-5828-4D02-B103-E67F84A8C965}"/>
                </a:ext>
              </a:extLst>
            </p:cNvPr>
            <p:cNvSpPr/>
            <p:nvPr/>
          </p:nvSpPr>
          <p:spPr>
            <a:xfrm>
              <a:off x="9019128" y="1167716"/>
              <a:ext cx="159906" cy="100398"/>
            </a:xfrm>
            <a:custGeom>
              <a:avLst/>
              <a:gdLst>
                <a:gd name="connsiteX0" fmla="*/ 141982 w 159906"/>
                <a:gd name="connsiteY0" fmla="*/ 24700 h 100398"/>
                <a:gd name="connsiteX1" fmla="*/ 141982 w 159906"/>
                <a:gd name="connsiteY1" fmla="*/ 5682 h 100398"/>
                <a:gd name="connsiteX2" fmla="*/ 140906 w 159906"/>
                <a:gd name="connsiteY2" fmla="*/ 2093 h 100398"/>
                <a:gd name="connsiteX3" fmla="*/ 139411 w 159906"/>
                <a:gd name="connsiteY3" fmla="*/ 0 h 100398"/>
                <a:gd name="connsiteX4" fmla="*/ 70991 w 159906"/>
                <a:gd name="connsiteY4" fmla="*/ 17763 h 100398"/>
                <a:gd name="connsiteX5" fmla="*/ 2572 w 159906"/>
                <a:gd name="connsiteY5" fmla="*/ 0 h 100398"/>
                <a:gd name="connsiteX6" fmla="*/ 1077 w 159906"/>
                <a:gd name="connsiteY6" fmla="*/ 2332 h 100398"/>
                <a:gd name="connsiteX7" fmla="*/ 0 w 159906"/>
                <a:gd name="connsiteY7" fmla="*/ 5921 h 100398"/>
                <a:gd name="connsiteX8" fmla="*/ 0 w 159906"/>
                <a:gd name="connsiteY8" fmla="*/ 29605 h 100398"/>
                <a:gd name="connsiteX9" fmla="*/ 70991 w 159906"/>
                <a:gd name="connsiteY9" fmla="*/ 53288 h 100398"/>
                <a:gd name="connsiteX10" fmla="*/ 76912 w 159906"/>
                <a:gd name="connsiteY10" fmla="*/ 53288 h 100398"/>
                <a:gd name="connsiteX11" fmla="*/ 76494 w 159906"/>
                <a:gd name="connsiteY11" fmla="*/ 57535 h 100398"/>
                <a:gd name="connsiteX12" fmla="*/ 70991 w 159906"/>
                <a:gd name="connsiteY12" fmla="*/ 57535 h 100398"/>
                <a:gd name="connsiteX13" fmla="*/ 2572 w 159906"/>
                <a:gd name="connsiteY13" fmla="*/ 39772 h 100398"/>
                <a:gd name="connsiteX14" fmla="*/ 60 w 159906"/>
                <a:gd name="connsiteY14" fmla="*/ 45693 h 100398"/>
                <a:gd name="connsiteX15" fmla="*/ 60 w 159906"/>
                <a:gd name="connsiteY15" fmla="*/ 69376 h 100398"/>
                <a:gd name="connsiteX16" fmla="*/ 71051 w 159906"/>
                <a:gd name="connsiteY16" fmla="*/ 93060 h 100398"/>
                <a:gd name="connsiteX17" fmla="*/ 93240 w 159906"/>
                <a:gd name="connsiteY17" fmla="*/ 91804 h 100398"/>
                <a:gd name="connsiteX18" fmla="*/ 151313 w 159906"/>
                <a:gd name="connsiteY18" fmla="*/ 84209 h 100398"/>
                <a:gd name="connsiteX19" fmla="*/ 143717 w 159906"/>
                <a:gd name="connsiteY19" fmla="*/ 26136 h 100398"/>
                <a:gd name="connsiteX20" fmla="*/ 141982 w 159906"/>
                <a:gd name="connsiteY20" fmla="*/ 24700 h 100398"/>
                <a:gd name="connsiteX21" fmla="*/ 141982 w 159906"/>
                <a:gd name="connsiteY21" fmla="*/ 24700 h 100398"/>
                <a:gd name="connsiteX22" fmla="*/ 118059 w 159906"/>
                <a:gd name="connsiteY22" fmla="*/ 91505 h 100398"/>
                <a:gd name="connsiteX23" fmla="*/ 85106 w 159906"/>
                <a:gd name="connsiteY23" fmla="*/ 58551 h 100398"/>
                <a:gd name="connsiteX24" fmla="*/ 118059 w 159906"/>
                <a:gd name="connsiteY24" fmla="*/ 25597 h 100398"/>
                <a:gd name="connsiteX25" fmla="*/ 151013 w 159906"/>
                <a:gd name="connsiteY25" fmla="*/ 58551 h 100398"/>
                <a:gd name="connsiteX26" fmla="*/ 118059 w 159906"/>
                <a:gd name="connsiteY26" fmla="*/ 91505 h 100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9906" h="100398">
                  <a:moveTo>
                    <a:pt x="141982" y="24700"/>
                  </a:moveTo>
                  <a:lnTo>
                    <a:pt x="141982" y="5682"/>
                  </a:lnTo>
                  <a:cubicBezTo>
                    <a:pt x="141982" y="4426"/>
                    <a:pt x="141564" y="3170"/>
                    <a:pt x="140906" y="2093"/>
                  </a:cubicBezTo>
                  <a:cubicBezTo>
                    <a:pt x="140487" y="1256"/>
                    <a:pt x="140069" y="598"/>
                    <a:pt x="139411" y="0"/>
                  </a:cubicBezTo>
                  <a:cubicBezTo>
                    <a:pt x="131576" y="10167"/>
                    <a:pt x="103945" y="17763"/>
                    <a:pt x="70991" y="17763"/>
                  </a:cubicBezTo>
                  <a:cubicBezTo>
                    <a:pt x="38037" y="17763"/>
                    <a:pt x="10347" y="10167"/>
                    <a:pt x="2572" y="0"/>
                  </a:cubicBezTo>
                  <a:cubicBezTo>
                    <a:pt x="1914" y="658"/>
                    <a:pt x="1495" y="1495"/>
                    <a:pt x="1077" y="2332"/>
                  </a:cubicBezTo>
                  <a:cubicBezTo>
                    <a:pt x="419" y="3409"/>
                    <a:pt x="0" y="4665"/>
                    <a:pt x="0" y="5921"/>
                  </a:cubicBezTo>
                  <a:lnTo>
                    <a:pt x="0" y="29605"/>
                  </a:lnTo>
                  <a:cubicBezTo>
                    <a:pt x="0" y="42702"/>
                    <a:pt x="31698" y="53288"/>
                    <a:pt x="70991" y="53288"/>
                  </a:cubicBezTo>
                  <a:cubicBezTo>
                    <a:pt x="73085" y="53288"/>
                    <a:pt x="74998" y="53288"/>
                    <a:pt x="76912" y="53288"/>
                  </a:cubicBezTo>
                  <a:cubicBezTo>
                    <a:pt x="76673" y="54783"/>
                    <a:pt x="76673" y="56039"/>
                    <a:pt x="76494" y="57535"/>
                  </a:cubicBezTo>
                  <a:cubicBezTo>
                    <a:pt x="74580" y="57535"/>
                    <a:pt x="72666" y="57535"/>
                    <a:pt x="70991" y="57535"/>
                  </a:cubicBezTo>
                  <a:cubicBezTo>
                    <a:pt x="38037" y="57535"/>
                    <a:pt x="10347" y="50118"/>
                    <a:pt x="2572" y="39772"/>
                  </a:cubicBezTo>
                  <a:cubicBezTo>
                    <a:pt x="1077" y="41446"/>
                    <a:pt x="239" y="43599"/>
                    <a:pt x="60" y="45693"/>
                  </a:cubicBezTo>
                  <a:lnTo>
                    <a:pt x="60" y="69376"/>
                  </a:lnTo>
                  <a:cubicBezTo>
                    <a:pt x="60" y="82474"/>
                    <a:pt x="31758" y="93060"/>
                    <a:pt x="71051" y="93060"/>
                  </a:cubicBezTo>
                  <a:cubicBezTo>
                    <a:pt x="78467" y="93060"/>
                    <a:pt x="85824" y="92641"/>
                    <a:pt x="93240" y="91804"/>
                  </a:cubicBezTo>
                  <a:cubicBezTo>
                    <a:pt x="111421" y="105739"/>
                    <a:pt x="137378" y="102390"/>
                    <a:pt x="151313" y="84209"/>
                  </a:cubicBezTo>
                  <a:cubicBezTo>
                    <a:pt x="165247" y="66027"/>
                    <a:pt x="161899" y="40071"/>
                    <a:pt x="143717" y="26136"/>
                  </a:cubicBezTo>
                  <a:cubicBezTo>
                    <a:pt x="143239" y="25597"/>
                    <a:pt x="142581" y="24940"/>
                    <a:pt x="141982" y="24700"/>
                  </a:cubicBezTo>
                  <a:lnTo>
                    <a:pt x="141982" y="24700"/>
                  </a:lnTo>
                  <a:close/>
                  <a:moveTo>
                    <a:pt x="118059" y="91505"/>
                  </a:moveTo>
                  <a:cubicBezTo>
                    <a:pt x="99879" y="91505"/>
                    <a:pt x="85106" y="76733"/>
                    <a:pt x="85106" y="58551"/>
                  </a:cubicBezTo>
                  <a:cubicBezTo>
                    <a:pt x="85106" y="40370"/>
                    <a:pt x="99879" y="25597"/>
                    <a:pt x="118059" y="25597"/>
                  </a:cubicBezTo>
                  <a:cubicBezTo>
                    <a:pt x="136241" y="25597"/>
                    <a:pt x="151013" y="40370"/>
                    <a:pt x="151013" y="58551"/>
                  </a:cubicBezTo>
                  <a:cubicBezTo>
                    <a:pt x="151013" y="76733"/>
                    <a:pt x="136241" y="91505"/>
                    <a:pt x="118059" y="91505"/>
                  </a:cubicBezTo>
                  <a:close/>
                </a:path>
              </a:pathLst>
            </a:custGeom>
            <a:grpFill/>
            <a:ln w="5978" cap="flat">
              <a:noFill/>
              <a:prstDash val="solid"/>
              <a:miter/>
            </a:ln>
          </p:spPr>
          <p:txBody>
            <a:bodyPr rtlCol="0" anchor="ctr"/>
            <a:lstStyle/>
            <a:p>
              <a:endParaRPr lang="en-GB"/>
            </a:p>
          </p:txBody>
        </p:sp>
        <p:grpSp>
          <p:nvGrpSpPr>
            <p:cNvPr id="228" name="Graphic 3">
              <a:extLst>
                <a:ext uri="{FF2B5EF4-FFF2-40B4-BE49-F238E27FC236}">
                  <a16:creationId xmlns:a16="http://schemas.microsoft.com/office/drawing/2014/main" id="{A6412224-B269-4D25-8EC5-FA6BA9976958}"/>
                </a:ext>
              </a:extLst>
            </p:cNvPr>
            <p:cNvGrpSpPr/>
            <p:nvPr/>
          </p:nvGrpSpPr>
          <p:grpSpPr>
            <a:xfrm>
              <a:off x="9111351" y="1200371"/>
              <a:ext cx="51673" cy="51733"/>
              <a:chOff x="9111351" y="1200371"/>
              <a:chExt cx="51673" cy="51733"/>
            </a:xfrm>
            <a:grpFill/>
          </p:grpSpPr>
          <p:grpSp>
            <p:nvGrpSpPr>
              <p:cNvPr id="229" name="Graphic 3">
                <a:extLst>
                  <a:ext uri="{FF2B5EF4-FFF2-40B4-BE49-F238E27FC236}">
                    <a16:creationId xmlns:a16="http://schemas.microsoft.com/office/drawing/2014/main" id="{7DF4EAB5-E39D-444B-87E1-A58B049715F8}"/>
                  </a:ext>
                </a:extLst>
              </p:cNvPr>
              <p:cNvGrpSpPr/>
              <p:nvPr/>
            </p:nvGrpSpPr>
            <p:grpSpPr>
              <a:xfrm>
                <a:off x="9111351" y="1200371"/>
                <a:ext cx="25836" cy="51733"/>
                <a:chOff x="9111351" y="1200371"/>
                <a:chExt cx="25836" cy="51733"/>
              </a:xfrm>
              <a:grpFill/>
            </p:grpSpPr>
            <p:sp>
              <p:nvSpPr>
                <p:cNvPr id="237" name="Vrije vorm: vorm 236">
                  <a:extLst>
                    <a:ext uri="{FF2B5EF4-FFF2-40B4-BE49-F238E27FC236}">
                      <a16:creationId xmlns:a16="http://schemas.microsoft.com/office/drawing/2014/main" id="{4DF14DBE-E47D-4070-9B9E-61B10BABC83B}"/>
                    </a:ext>
                  </a:extLst>
                </p:cNvPr>
                <p:cNvSpPr/>
                <p:nvPr/>
              </p:nvSpPr>
              <p:spPr>
                <a:xfrm>
                  <a:off x="9129293" y="1200371"/>
                  <a:ext cx="7894" cy="12978"/>
                </a:xfrm>
                <a:custGeom>
                  <a:avLst/>
                  <a:gdLst>
                    <a:gd name="connsiteX0" fmla="*/ 7894 w 7894"/>
                    <a:gd name="connsiteY0" fmla="*/ 0 h 12978"/>
                    <a:gd name="connsiteX1" fmla="*/ 0 w 7894"/>
                    <a:gd name="connsiteY1" fmla="*/ 12978 h 12978"/>
                    <a:gd name="connsiteX2" fmla="*/ 7894 w 7894"/>
                    <a:gd name="connsiteY2" fmla="*/ 12978 h 12978"/>
                    <a:gd name="connsiteX3" fmla="*/ 7894 w 7894"/>
                    <a:gd name="connsiteY3" fmla="*/ 0 h 12978"/>
                    <a:gd name="connsiteX4" fmla="*/ 7894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7894" y="0"/>
                      </a:moveTo>
                      <a:cubicBezTo>
                        <a:pt x="5263" y="0"/>
                        <a:pt x="1854" y="4725"/>
                        <a:pt x="0" y="12978"/>
                      </a:cubicBezTo>
                      <a:lnTo>
                        <a:pt x="7894" y="12978"/>
                      </a:lnTo>
                      <a:lnTo>
                        <a:pt x="7894" y="0"/>
                      </a:lnTo>
                      <a:cubicBezTo>
                        <a:pt x="7894" y="0"/>
                        <a:pt x="7894" y="0"/>
                        <a:pt x="7894" y="0"/>
                      </a:cubicBezTo>
                      <a:close/>
                    </a:path>
                  </a:pathLst>
                </a:custGeom>
                <a:grpFill/>
                <a:ln w="5978" cap="flat">
                  <a:noFill/>
                  <a:prstDash val="solid"/>
                  <a:miter/>
                </a:ln>
              </p:spPr>
              <p:txBody>
                <a:bodyPr rtlCol="0" anchor="ctr"/>
                <a:lstStyle/>
                <a:p>
                  <a:endParaRPr lang="en-GB"/>
                </a:p>
              </p:txBody>
            </p:sp>
            <p:sp>
              <p:nvSpPr>
                <p:cNvPr id="238" name="Vrije vorm: vorm 237">
                  <a:extLst>
                    <a:ext uri="{FF2B5EF4-FFF2-40B4-BE49-F238E27FC236}">
                      <a16:creationId xmlns:a16="http://schemas.microsoft.com/office/drawing/2014/main" id="{348D20EC-6060-433F-B8C7-2A307AC13454}"/>
                    </a:ext>
                  </a:extLst>
                </p:cNvPr>
                <p:cNvSpPr/>
                <p:nvPr/>
              </p:nvSpPr>
              <p:spPr>
                <a:xfrm>
                  <a:off x="9114879" y="1202165"/>
                  <a:ext cx="13098" cy="11243"/>
                </a:xfrm>
                <a:custGeom>
                  <a:avLst/>
                  <a:gdLst>
                    <a:gd name="connsiteX0" fmla="*/ 13098 w 13098"/>
                    <a:gd name="connsiteY0" fmla="*/ 0 h 11243"/>
                    <a:gd name="connsiteX1" fmla="*/ 0 w 13098"/>
                    <a:gd name="connsiteY1" fmla="*/ 11244 h 11243"/>
                    <a:gd name="connsiteX2" fmla="*/ 9151 w 13098"/>
                    <a:gd name="connsiteY2" fmla="*/ 11244 h 11243"/>
                    <a:gd name="connsiteX3" fmla="*/ 13098 w 13098"/>
                    <a:gd name="connsiteY3" fmla="*/ 0 h 11243"/>
                  </a:gdLst>
                  <a:ahLst/>
                  <a:cxnLst>
                    <a:cxn ang="0">
                      <a:pos x="connsiteX0" y="connsiteY0"/>
                    </a:cxn>
                    <a:cxn ang="0">
                      <a:pos x="connsiteX1" y="connsiteY1"/>
                    </a:cxn>
                    <a:cxn ang="0">
                      <a:pos x="connsiteX2" y="connsiteY2"/>
                    </a:cxn>
                    <a:cxn ang="0">
                      <a:pos x="connsiteX3" y="connsiteY3"/>
                    </a:cxn>
                  </a:cxnLst>
                  <a:rect l="l" t="t" r="r" b="b"/>
                  <a:pathLst>
                    <a:path w="13098" h="11243">
                      <a:moveTo>
                        <a:pt x="13098" y="0"/>
                      </a:moveTo>
                      <a:cubicBezTo>
                        <a:pt x="7476" y="2093"/>
                        <a:pt x="2871" y="6160"/>
                        <a:pt x="0" y="11244"/>
                      </a:cubicBezTo>
                      <a:lnTo>
                        <a:pt x="9151" y="11244"/>
                      </a:lnTo>
                      <a:cubicBezTo>
                        <a:pt x="9988" y="6818"/>
                        <a:pt x="11304" y="2931"/>
                        <a:pt x="13098" y="0"/>
                      </a:cubicBezTo>
                      <a:close/>
                    </a:path>
                  </a:pathLst>
                </a:custGeom>
                <a:grpFill/>
                <a:ln w="5978" cap="flat">
                  <a:noFill/>
                  <a:prstDash val="solid"/>
                  <a:miter/>
                </a:ln>
              </p:spPr>
              <p:txBody>
                <a:bodyPr rtlCol="0" anchor="ctr"/>
                <a:lstStyle/>
                <a:p>
                  <a:endParaRPr lang="en-GB"/>
                </a:p>
              </p:txBody>
            </p:sp>
            <p:sp>
              <p:nvSpPr>
                <p:cNvPr id="239" name="Vrije vorm: vorm 238">
                  <a:extLst>
                    <a:ext uri="{FF2B5EF4-FFF2-40B4-BE49-F238E27FC236}">
                      <a16:creationId xmlns:a16="http://schemas.microsoft.com/office/drawing/2014/main" id="{BBB0E26C-5822-417B-B3BB-11106C59F86E}"/>
                    </a:ext>
                  </a:extLst>
                </p:cNvPr>
                <p:cNvSpPr/>
                <p:nvPr/>
              </p:nvSpPr>
              <p:spPr>
                <a:xfrm>
                  <a:off x="9127977" y="1218552"/>
                  <a:ext cx="9209" cy="15430"/>
                </a:xfrm>
                <a:custGeom>
                  <a:avLst/>
                  <a:gdLst>
                    <a:gd name="connsiteX0" fmla="*/ 418 w 9209"/>
                    <a:gd name="connsiteY0" fmla="*/ 0 h 15430"/>
                    <a:gd name="connsiteX1" fmla="*/ 0 w 9209"/>
                    <a:gd name="connsiteY1" fmla="*/ 7715 h 15430"/>
                    <a:gd name="connsiteX2" fmla="*/ 418 w 9209"/>
                    <a:gd name="connsiteY2" fmla="*/ 15430 h 15430"/>
                    <a:gd name="connsiteX3" fmla="*/ 9210 w 9209"/>
                    <a:gd name="connsiteY3" fmla="*/ 15430 h 15430"/>
                    <a:gd name="connsiteX4" fmla="*/ 9210 w 9209"/>
                    <a:gd name="connsiteY4" fmla="*/ 0 h 15430"/>
                    <a:gd name="connsiteX5" fmla="*/ 418 w 9209"/>
                    <a:gd name="connsiteY5" fmla="*/ 0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9" h="15430">
                      <a:moveTo>
                        <a:pt x="418" y="0"/>
                      </a:moveTo>
                      <a:cubicBezTo>
                        <a:pt x="60" y="2392"/>
                        <a:pt x="0" y="4964"/>
                        <a:pt x="0" y="7715"/>
                      </a:cubicBezTo>
                      <a:cubicBezTo>
                        <a:pt x="0" y="10466"/>
                        <a:pt x="239" y="12978"/>
                        <a:pt x="418" y="15430"/>
                      </a:cubicBezTo>
                      <a:lnTo>
                        <a:pt x="9210" y="15430"/>
                      </a:lnTo>
                      <a:lnTo>
                        <a:pt x="9210" y="0"/>
                      </a:lnTo>
                      <a:lnTo>
                        <a:pt x="418" y="0"/>
                      </a:lnTo>
                      <a:close/>
                    </a:path>
                  </a:pathLst>
                </a:custGeom>
                <a:grpFill/>
                <a:ln w="5978" cap="flat">
                  <a:noFill/>
                  <a:prstDash val="solid"/>
                  <a:miter/>
                </a:ln>
              </p:spPr>
              <p:txBody>
                <a:bodyPr rtlCol="0" anchor="ctr"/>
                <a:lstStyle/>
                <a:p>
                  <a:endParaRPr lang="en-GB"/>
                </a:p>
              </p:txBody>
            </p:sp>
            <p:sp>
              <p:nvSpPr>
                <p:cNvPr id="240" name="Vrije vorm: vorm 239">
                  <a:extLst>
                    <a:ext uri="{FF2B5EF4-FFF2-40B4-BE49-F238E27FC236}">
                      <a16:creationId xmlns:a16="http://schemas.microsoft.com/office/drawing/2014/main" id="{5605FBF1-3607-4206-8E2A-3EBAF1A740CA}"/>
                    </a:ext>
                  </a:extLst>
                </p:cNvPr>
                <p:cNvSpPr/>
                <p:nvPr/>
              </p:nvSpPr>
              <p:spPr>
                <a:xfrm>
                  <a:off x="9114879" y="1239126"/>
                  <a:ext cx="12978" cy="11243"/>
                </a:xfrm>
                <a:custGeom>
                  <a:avLst/>
                  <a:gdLst>
                    <a:gd name="connsiteX0" fmla="*/ 0 w 12978"/>
                    <a:gd name="connsiteY0" fmla="*/ 0 h 11243"/>
                    <a:gd name="connsiteX1" fmla="*/ 12978 w 12978"/>
                    <a:gd name="connsiteY1" fmla="*/ 11244 h 11243"/>
                    <a:gd name="connsiteX2" fmla="*/ 9031 w 12978"/>
                    <a:gd name="connsiteY2" fmla="*/ 0 h 11243"/>
                    <a:gd name="connsiteX3" fmla="*/ 0 w 12978"/>
                    <a:gd name="connsiteY3" fmla="*/ 0 h 11243"/>
                  </a:gdLst>
                  <a:ahLst/>
                  <a:cxnLst>
                    <a:cxn ang="0">
                      <a:pos x="connsiteX0" y="connsiteY0"/>
                    </a:cxn>
                    <a:cxn ang="0">
                      <a:pos x="connsiteX1" y="connsiteY1"/>
                    </a:cxn>
                    <a:cxn ang="0">
                      <a:pos x="connsiteX2" y="connsiteY2"/>
                    </a:cxn>
                    <a:cxn ang="0">
                      <a:pos x="connsiteX3" y="connsiteY3"/>
                    </a:cxn>
                  </a:cxnLst>
                  <a:rect l="l" t="t" r="r" b="b"/>
                  <a:pathLst>
                    <a:path w="12978" h="11243">
                      <a:moveTo>
                        <a:pt x="0" y="0"/>
                      </a:moveTo>
                      <a:cubicBezTo>
                        <a:pt x="2871" y="5084"/>
                        <a:pt x="7476" y="9150"/>
                        <a:pt x="12978" y="11244"/>
                      </a:cubicBezTo>
                      <a:cubicBezTo>
                        <a:pt x="11304" y="8253"/>
                        <a:pt x="9868" y="4426"/>
                        <a:pt x="9031" y="0"/>
                      </a:cubicBezTo>
                      <a:lnTo>
                        <a:pt x="0" y="0"/>
                      </a:lnTo>
                      <a:close/>
                    </a:path>
                  </a:pathLst>
                </a:custGeom>
                <a:grpFill/>
                <a:ln w="5978" cap="flat">
                  <a:noFill/>
                  <a:prstDash val="solid"/>
                  <a:miter/>
                </a:ln>
              </p:spPr>
              <p:txBody>
                <a:bodyPr rtlCol="0" anchor="ctr"/>
                <a:lstStyle/>
                <a:p>
                  <a:endParaRPr lang="en-GB"/>
                </a:p>
              </p:txBody>
            </p:sp>
            <p:sp>
              <p:nvSpPr>
                <p:cNvPr id="241" name="Vrije vorm: vorm 240">
                  <a:extLst>
                    <a:ext uri="{FF2B5EF4-FFF2-40B4-BE49-F238E27FC236}">
                      <a16:creationId xmlns:a16="http://schemas.microsoft.com/office/drawing/2014/main" id="{8A3ED8B4-B125-4D2A-B491-F4919389A7EE}"/>
                    </a:ext>
                  </a:extLst>
                </p:cNvPr>
                <p:cNvSpPr/>
                <p:nvPr/>
              </p:nvSpPr>
              <p:spPr>
                <a:xfrm>
                  <a:off x="9129293" y="1239126"/>
                  <a:ext cx="7894" cy="12978"/>
                </a:xfrm>
                <a:custGeom>
                  <a:avLst/>
                  <a:gdLst>
                    <a:gd name="connsiteX0" fmla="*/ 0 w 7894"/>
                    <a:gd name="connsiteY0" fmla="*/ 0 h 12978"/>
                    <a:gd name="connsiteX1" fmla="*/ 7894 w 7894"/>
                    <a:gd name="connsiteY1" fmla="*/ 12978 h 12978"/>
                    <a:gd name="connsiteX2" fmla="*/ 7894 w 7894"/>
                    <a:gd name="connsiteY2" fmla="*/ 12978 h 12978"/>
                    <a:gd name="connsiteX3" fmla="*/ 7894 w 7894"/>
                    <a:gd name="connsiteY3" fmla="*/ 0 h 12978"/>
                    <a:gd name="connsiteX4" fmla="*/ 0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0" y="0"/>
                      </a:moveTo>
                      <a:cubicBezTo>
                        <a:pt x="1854" y="8253"/>
                        <a:pt x="5263" y="12978"/>
                        <a:pt x="7894" y="12978"/>
                      </a:cubicBezTo>
                      <a:cubicBezTo>
                        <a:pt x="7894" y="12978"/>
                        <a:pt x="7894" y="12978"/>
                        <a:pt x="7894" y="12978"/>
                      </a:cubicBezTo>
                      <a:lnTo>
                        <a:pt x="7894" y="0"/>
                      </a:lnTo>
                      <a:lnTo>
                        <a:pt x="0" y="0"/>
                      </a:lnTo>
                      <a:close/>
                    </a:path>
                  </a:pathLst>
                </a:custGeom>
                <a:grpFill/>
                <a:ln w="5978" cap="flat">
                  <a:noFill/>
                  <a:prstDash val="solid"/>
                  <a:miter/>
                </a:ln>
              </p:spPr>
              <p:txBody>
                <a:bodyPr rtlCol="0" anchor="ctr"/>
                <a:lstStyle/>
                <a:p>
                  <a:endParaRPr lang="en-GB"/>
                </a:p>
              </p:txBody>
            </p:sp>
            <p:sp>
              <p:nvSpPr>
                <p:cNvPr id="242" name="Vrije vorm: vorm 241">
                  <a:extLst>
                    <a:ext uri="{FF2B5EF4-FFF2-40B4-BE49-F238E27FC236}">
                      <a16:creationId xmlns:a16="http://schemas.microsoft.com/office/drawing/2014/main" id="{091F1CC3-28B9-4719-9EB2-8C5483EE3A5A}"/>
                    </a:ext>
                  </a:extLst>
                </p:cNvPr>
                <p:cNvSpPr/>
                <p:nvPr/>
              </p:nvSpPr>
              <p:spPr>
                <a:xfrm>
                  <a:off x="9111351" y="1218552"/>
                  <a:ext cx="11841" cy="15430"/>
                </a:xfrm>
                <a:custGeom>
                  <a:avLst/>
                  <a:gdLst>
                    <a:gd name="connsiteX0" fmla="*/ 11423 w 11841"/>
                    <a:gd name="connsiteY0" fmla="*/ 7715 h 15430"/>
                    <a:gd name="connsiteX1" fmla="*/ 11842 w 11841"/>
                    <a:gd name="connsiteY1" fmla="*/ 0 h 15430"/>
                    <a:gd name="connsiteX2" fmla="*/ 1196 w 11841"/>
                    <a:gd name="connsiteY2" fmla="*/ 0 h 15430"/>
                    <a:gd name="connsiteX3" fmla="*/ 0 w 11841"/>
                    <a:gd name="connsiteY3" fmla="*/ 7715 h 15430"/>
                    <a:gd name="connsiteX4" fmla="*/ 1196 w 11841"/>
                    <a:gd name="connsiteY4" fmla="*/ 15430 h 15430"/>
                    <a:gd name="connsiteX5" fmla="*/ 11842 w 11841"/>
                    <a:gd name="connsiteY5" fmla="*/ 15430 h 15430"/>
                    <a:gd name="connsiteX6" fmla="*/ 11423 w 11841"/>
                    <a:gd name="connsiteY6" fmla="*/ 7715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1" h="15430">
                      <a:moveTo>
                        <a:pt x="11423" y="7715"/>
                      </a:moveTo>
                      <a:cubicBezTo>
                        <a:pt x="11423" y="5084"/>
                        <a:pt x="11543" y="2452"/>
                        <a:pt x="11842" y="0"/>
                      </a:cubicBezTo>
                      <a:lnTo>
                        <a:pt x="1196" y="0"/>
                      </a:lnTo>
                      <a:cubicBezTo>
                        <a:pt x="418" y="2392"/>
                        <a:pt x="0" y="5084"/>
                        <a:pt x="0" y="7715"/>
                      </a:cubicBezTo>
                      <a:cubicBezTo>
                        <a:pt x="0" y="10347"/>
                        <a:pt x="418" y="12978"/>
                        <a:pt x="1196" y="15430"/>
                      </a:cubicBezTo>
                      <a:lnTo>
                        <a:pt x="11842" y="15430"/>
                      </a:lnTo>
                      <a:cubicBezTo>
                        <a:pt x="11662" y="12978"/>
                        <a:pt x="11423" y="10347"/>
                        <a:pt x="11423" y="7715"/>
                      </a:cubicBezTo>
                      <a:close/>
                    </a:path>
                  </a:pathLst>
                </a:custGeom>
                <a:grpFill/>
                <a:ln w="5978" cap="flat">
                  <a:noFill/>
                  <a:prstDash val="solid"/>
                  <a:miter/>
                </a:ln>
              </p:spPr>
              <p:txBody>
                <a:bodyPr rtlCol="0" anchor="ctr"/>
                <a:lstStyle/>
                <a:p>
                  <a:endParaRPr lang="en-GB"/>
                </a:p>
              </p:txBody>
            </p:sp>
          </p:grpSp>
          <p:grpSp>
            <p:nvGrpSpPr>
              <p:cNvPr id="230" name="Graphic 3">
                <a:extLst>
                  <a:ext uri="{FF2B5EF4-FFF2-40B4-BE49-F238E27FC236}">
                    <a16:creationId xmlns:a16="http://schemas.microsoft.com/office/drawing/2014/main" id="{AF62DE29-C747-4DF3-94A1-279C07A840A3}"/>
                  </a:ext>
                </a:extLst>
              </p:cNvPr>
              <p:cNvGrpSpPr/>
              <p:nvPr/>
            </p:nvGrpSpPr>
            <p:grpSpPr>
              <a:xfrm>
                <a:off x="9137187" y="1200371"/>
                <a:ext cx="25837" cy="51733"/>
                <a:chOff x="9137187" y="1200371"/>
                <a:chExt cx="25837" cy="51733"/>
              </a:xfrm>
              <a:grpFill/>
            </p:grpSpPr>
            <p:sp>
              <p:nvSpPr>
                <p:cNvPr id="231" name="Vrije vorm: vorm 230">
                  <a:extLst>
                    <a:ext uri="{FF2B5EF4-FFF2-40B4-BE49-F238E27FC236}">
                      <a16:creationId xmlns:a16="http://schemas.microsoft.com/office/drawing/2014/main" id="{1AFFB504-0619-4E67-AE84-DA17F1349893}"/>
                    </a:ext>
                  </a:extLst>
                </p:cNvPr>
                <p:cNvSpPr/>
                <p:nvPr/>
              </p:nvSpPr>
              <p:spPr>
                <a:xfrm>
                  <a:off x="9137187" y="1200371"/>
                  <a:ext cx="7894" cy="12978"/>
                </a:xfrm>
                <a:custGeom>
                  <a:avLst/>
                  <a:gdLst>
                    <a:gd name="connsiteX0" fmla="*/ 0 w 7894"/>
                    <a:gd name="connsiteY0" fmla="*/ 0 h 12978"/>
                    <a:gd name="connsiteX1" fmla="*/ 7895 w 7894"/>
                    <a:gd name="connsiteY1" fmla="*/ 12978 h 12978"/>
                    <a:gd name="connsiteX2" fmla="*/ 0 w 7894"/>
                    <a:gd name="connsiteY2" fmla="*/ 12978 h 12978"/>
                    <a:gd name="connsiteX3" fmla="*/ 0 w 7894"/>
                    <a:gd name="connsiteY3" fmla="*/ 0 h 12978"/>
                    <a:gd name="connsiteX4" fmla="*/ 0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0" y="0"/>
                      </a:moveTo>
                      <a:cubicBezTo>
                        <a:pt x="2632" y="0"/>
                        <a:pt x="6041" y="4725"/>
                        <a:pt x="7895" y="12978"/>
                      </a:cubicBezTo>
                      <a:lnTo>
                        <a:pt x="0" y="12978"/>
                      </a:lnTo>
                      <a:lnTo>
                        <a:pt x="0" y="0"/>
                      </a:lnTo>
                      <a:cubicBezTo>
                        <a:pt x="0" y="0"/>
                        <a:pt x="0" y="0"/>
                        <a:pt x="0" y="0"/>
                      </a:cubicBezTo>
                      <a:close/>
                    </a:path>
                  </a:pathLst>
                </a:custGeom>
                <a:grpFill/>
                <a:ln w="5978" cap="flat">
                  <a:noFill/>
                  <a:prstDash val="solid"/>
                  <a:miter/>
                </a:ln>
              </p:spPr>
              <p:txBody>
                <a:bodyPr rtlCol="0" anchor="ctr"/>
                <a:lstStyle/>
                <a:p>
                  <a:endParaRPr lang="en-GB"/>
                </a:p>
              </p:txBody>
            </p:sp>
            <p:sp>
              <p:nvSpPr>
                <p:cNvPr id="232" name="Vrije vorm: vorm 231">
                  <a:extLst>
                    <a:ext uri="{FF2B5EF4-FFF2-40B4-BE49-F238E27FC236}">
                      <a16:creationId xmlns:a16="http://schemas.microsoft.com/office/drawing/2014/main" id="{9B0003CE-EA7F-4D8B-B3C9-7FACE909BB49}"/>
                    </a:ext>
                  </a:extLst>
                </p:cNvPr>
                <p:cNvSpPr/>
                <p:nvPr/>
              </p:nvSpPr>
              <p:spPr>
                <a:xfrm>
                  <a:off x="9146457" y="1202165"/>
                  <a:ext cx="13098" cy="11243"/>
                </a:xfrm>
                <a:custGeom>
                  <a:avLst/>
                  <a:gdLst>
                    <a:gd name="connsiteX0" fmla="*/ 0 w 13098"/>
                    <a:gd name="connsiteY0" fmla="*/ 0 h 11243"/>
                    <a:gd name="connsiteX1" fmla="*/ 13098 w 13098"/>
                    <a:gd name="connsiteY1" fmla="*/ 11244 h 11243"/>
                    <a:gd name="connsiteX2" fmla="*/ 3947 w 13098"/>
                    <a:gd name="connsiteY2" fmla="*/ 11244 h 11243"/>
                    <a:gd name="connsiteX3" fmla="*/ 0 w 13098"/>
                    <a:gd name="connsiteY3" fmla="*/ 0 h 11243"/>
                  </a:gdLst>
                  <a:ahLst/>
                  <a:cxnLst>
                    <a:cxn ang="0">
                      <a:pos x="connsiteX0" y="connsiteY0"/>
                    </a:cxn>
                    <a:cxn ang="0">
                      <a:pos x="connsiteX1" y="connsiteY1"/>
                    </a:cxn>
                    <a:cxn ang="0">
                      <a:pos x="connsiteX2" y="connsiteY2"/>
                    </a:cxn>
                    <a:cxn ang="0">
                      <a:pos x="connsiteX3" y="connsiteY3"/>
                    </a:cxn>
                  </a:cxnLst>
                  <a:rect l="l" t="t" r="r" b="b"/>
                  <a:pathLst>
                    <a:path w="13098" h="11243">
                      <a:moveTo>
                        <a:pt x="0" y="0"/>
                      </a:moveTo>
                      <a:cubicBezTo>
                        <a:pt x="5622" y="2093"/>
                        <a:pt x="10227" y="6160"/>
                        <a:pt x="13098" y="11244"/>
                      </a:cubicBezTo>
                      <a:lnTo>
                        <a:pt x="3947" y="11244"/>
                      </a:lnTo>
                      <a:cubicBezTo>
                        <a:pt x="3050" y="6818"/>
                        <a:pt x="1735" y="2931"/>
                        <a:pt x="0" y="0"/>
                      </a:cubicBezTo>
                      <a:close/>
                    </a:path>
                  </a:pathLst>
                </a:custGeom>
                <a:grpFill/>
                <a:ln w="5978" cap="flat">
                  <a:noFill/>
                  <a:prstDash val="solid"/>
                  <a:miter/>
                </a:ln>
              </p:spPr>
              <p:txBody>
                <a:bodyPr rtlCol="0" anchor="ctr"/>
                <a:lstStyle/>
                <a:p>
                  <a:endParaRPr lang="en-GB"/>
                </a:p>
              </p:txBody>
            </p:sp>
            <p:sp>
              <p:nvSpPr>
                <p:cNvPr id="233" name="Vrije vorm: vorm 232">
                  <a:extLst>
                    <a:ext uri="{FF2B5EF4-FFF2-40B4-BE49-F238E27FC236}">
                      <a16:creationId xmlns:a16="http://schemas.microsoft.com/office/drawing/2014/main" id="{9260520E-6D06-431B-A4C6-846D2B03B8CC}"/>
                    </a:ext>
                  </a:extLst>
                </p:cNvPr>
                <p:cNvSpPr/>
                <p:nvPr/>
              </p:nvSpPr>
              <p:spPr>
                <a:xfrm>
                  <a:off x="9137247" y="1218552"/>
                  <a:ext cx="9210" cy="15430"/>
                </a:xfrm>
                <a:custGeom>
                  <a:avLst/>
                  <a:gdLst>
                    <a:gd name="connsiteX0" fmla="*/ 8792 w 9210"/>
                    <a:gd name="connsiteY0" fmla="*/ 0 h 15430"/>
                    <a:gd name="connsiteX1" fmla="*/ 9211 w 9210"/>
                    <a:gd name="connsiteY1" fmla="*/ 7715 h 15430"/>
                    <a:gd name="connsiteX2" fmla="*/ 8792 w 9210"/>
                    <a:gd name="connsiteY2" fmla="*/ 15430 h 15430"/>
                    <a:gd name="connsiteX3" fmla="*/ 0 w 9210"/>
                    <a:gd name="connsiteY3" fmla="*/ 15430 h 15430"/>
                    <a:gd name="connsiteX4" fmla="*/ 0 w 9210"/>
                    <a:gd name="connsiteY4" fmla="*/ 0 h 15430"/>
                    <a:gd name="connsiteX5" fmla="*/ 8792 w 9210"/>
                    <a:gd name="connsiteY5" fmla="*/ 0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0" h="15430">
                      <a:moveTo>
                        <a:pt x="8792" y="0"/>
                      </a:moveTo>
                      <a:cubicBezTo>
                        <a:pt x="9151" y="2392"/>
                        <a:pt x="9211" y="4964"/>
                        <a:pt x="9211" y="7715"/>
                      </a:cubicBezTo>
                      <a:cubicBezTo>
                        <a:pt x="9211" y="10466"/>
                        <a:pt x="8971" y="12978"/>
                        <a:pt x="8792" y="15430"/>
                      </a:cubicBezTo>
                      <a:lnTo>
                        <a:pt x="0" y="15430"/>
                      </a:lnTo>
                      <a:lnTo>
                        <a:pt x="0" y="0"/>
                      </a:lnTo>
                      <a:lnTo>
                        <a:pt x="8792" y="0"/>
                      </a:lnTo>
                      <a:close/>
                    </a:path>
                  </a:pathLst>
                </a:custGeom>
                <a:grpFill/>
                <a:ln w="5978" cap="flat">
                  <a:noFill/>
                  <a:prstDash val="solid"/>
                  <a:miter/>
                </a:ln>
              </p:spPr>
              <p:txBody>
                <a:bodyPr rtlCol="0" anchor="ctr"/>
                <a:lstStyle/>
                <a:p>
                  <a:endParaRPr lang="en-GB"/>
                </a:p>
              </p:txBody>
            </p:sp>
            <p:sp>
              <p:nvSpPr>
                <p:cNvPr id="234" name="Vrije vorm: vorm 233">
                  <a:extLst>
                    <a:ext uri="{FF2B5EF4-FFF2-40B4-BE49-F238E27FC236}">
                      <a16:creationId xmlns:a16="http://schemas.microsoft.com/office/drawing/2014/main" id="{EE1E43EF-1F3D-4C2B-9BFD-518A6A2103D4}"/>
                    </a:ext>
                  </a:extLst>
                </p:cNvPr>
                <p:cNvSpPr/>
                <p:nvPr/>
              </p:nvSpPr>
              <p:spPr>
                <a:xfrm>
                  <a:off x="9146577" y="1239126"/>
                  <a:ext cx="12978" cy="11243"/>
                </a:xfrm>
                <a:custGeom>
                  <a:avLst/>
                  <a:gdLst>
                    <a:gd name="connsiteX0" fmla="*/ 12978 w 12978"/>
                    <a:gd name="connsiteY0" fmla="*/ 0 h 11243"/>
                    <a:gd name="connsiteX1" fmla="*/ 0 w 12978"/>
                    <a:gd name="connsiteY1" fmla="*/ 11244 h 11243"/>
                    <a:gd name="connsiteX2" fmla="*/ 3947 w 12978"/>
                    <a:gd name="connsiteY2" fmla="*/ 0 h 11243"/>
                    <a:gd name="connsiteX3" fmla="*/ 12978 w 12978"/>
                    <a:gd name="connsiteY3" fmla="*/ 0 h 11243"/>
                  </a:gdLst>
                  <a:ahLst/>
                  <a:cxnLst>
                    <a:cxn ang="0">
                      <a:pos x="connsiteX0" y="connsiteY0"/>
                    </a:cxn>
                    <a:cxn ang="0">
                      <a:pos x="connsiteX1" y="connsiteY1"/>
                    </a:cxn>
                    <a:cxn ang="0">
                      <a:pos x="connsiteX2" y="connsiteY2"/>
                    </a:cxn>
                    <a:cxn ang="0">
                      <a:pos x="connsiteX3" y="connsiteY3"/>
                    </a:cxn>
                  </a:cxnLst>
                  <a:rect l="l" t="t" r="r" b="b"/>
                  <a:pathLst>
                    <a:path w="12978" h="11243">
                      <a:moveTo>
                        <a:pt x="12978" y="0"/>
                      </a:moveTo>
                      <a:cubicBezTo>
                        <a:pt x="10107" y="5084"/>
                        <a:pt x="5503" y="9150"/>
                        <a:pt x="0" y="11244"/>
                      </a:cubicBezTo>
                      <a:cubicBezTo>
                        <a:pt x="1675" y="8253"/>
                        <a:pt x="3110" y="4426"/>
                        <a:pt x="3947" y="0"/>
                      </a:cubicBezTo>
                      <a:lnTo>
                        <a:pt x="12978" y="0"/>
                      </a:lnTo>
                      <a:close/>
                    </a:path>
                  </a:pathLst>
                </a:custGeom>
                <a:grpFill/>
                <a:ln w="5978" cap="flat">
                  <a:noFill/>
                  <a:prstDash val="solid"/>
                  <a:miter/>
                </a:ln>
              </p:spPr>
              <p:txBody>
                <a:bodyPr rtlCol="0" anchor="ctr"/>
                <a:lstStyle/>
                <a:p>
                  <a:endParaRPr lang="en-GB"/>
                </a:p>
              </p:txBody>
            </p:sp>
            <p:sp>
              <p:nvSpPr>
                <p:cNvPr id="235" name="Vrije vorm: vorm 234">
                  <a:extLst>
                    <a:ext uri="{FF2B5EF4-FFF2-40B4-BE49-F238E27FC236}">
                      <a16:creationId xmlns:a16="http://schemas.microsoft.com/office/drawing/2014/main" id="{5DDCE4BA-4442-4306-A99C-BAA87326AA7D}"/>
                    </a:ext>
                  </a:extLst>
                </p:cNvPr>
                <p:cNvSpPr/>
                <p:nvPr/>
              </p:nvSpPr>
              <p:spPr>
                <a:xfrm>
                  <a:off x="9137247" y="1239126"/>
                  <a:ext cx="7894" cy="12978"/>
                </a:xfrm>
                <a:custGeom>
                  <a:avLst/>
                  <a:gdLst>
                    <a:gd name="connsiteX0" fmla="*/ 7895 w 7894"/>
                    <a:gd name="connsiteY0" fmla="*/ 0 h 12978"/>
                    <a:gd name="connsiteX1" fmla="*/ 0 w 7894"/>
                    <a:gd name="connsiteY1" fmla="*/ 12978 h 12978"/>
                    <a:gd name="connsiteX2" fmla="*/ 0 w 7894"/>
                    <a:gd name="connsiteY2" fmla="*/ 12978 h 12978"/>
                    <a:gd name="connsiteX3" fmla="*/ 0 w 7894"/>
                    <a:gd name="connsiteY3" fmla="*/ 0 h 12978"/>
                    <a:gd name="connsiteX4" fmla="*/ 7895 w 7894"/>
                    <a:gd name="connsiteY4" fmla="*/ 0 h 12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 h="12978">
                      <a:moveTo>
                        <a:pt x="7895" y="0"/>
                      </a:moveTo>
                      <a:cubicBezTo>
                        <a:pt x="6041" y="8253"/>
                        <a:pt x="2632" y="12978"/>
                        <a:pt x="0" y="12978"/>
                      </a:cubicBezTo>
                      <a:cubicBezTo>
                        <a:pt x="0" y="12978"/>
                        <a:pt x="0" y="12978"/>
                        <a:pt x="0" y="12978"/>
                      </a:cubicBezTo>
                      <a:lnTo>
                        <a:pt x="0" y="0"/>
                      </a:lnTo>
                      <a:lnTo>
                        <a:pt x="7895" y="0"/>
                      </a:lnTo>
                      <a:close/>
                    </a:path>
                  </a:pathLst>
                </a:custGeom>
                <a:grpFill/>
                <a:ln w="5978" cap="flat">
                  <a:noFill/>
                  <a:prstDash val="solid"/>
                  <a:miter/>
                </a:ln>
              </p:spPr>
              <p:txBody>
                <a:bodyPr rtlCol="0" anchor="ctr"/>
                <a:lstStyle/>
                <a:p>
                  <a:endParaRPr lang="en-GB"/>
                </a:p>
              </p:txBody>
            </p:sp>
            <p:sp>
              <p:nvSpPr>
                <p:cNvPr id="236" name="Vrije vorm: vorm 235">
                  <a:extLst>
                    <a:ext uri="{FF2B5EF4-FFF2-40B4-BE49-F238E27FC236}">
                      <a16:creationId xmlns:a16="http://schemas.microsoft.com/office/drawing/2014/main" id="{088132F4-21C1-47FB-BF44-415964AA107A}"/>
                    </a:ext>
                  </a:extLst>
                </p:cNvPr>
                <p:cNvSpPr/>
                <p:nvPr/>
              </p:nvSpPr>
              <p:spPr>
                <a:xfrm>
                  <a:off x="9151182" y="1218552"/>
                  <a:ext cx="11841" cy="15430"/>
                </a:xfrm>
                <a:custGeom>
                  <a:avLst/>
                  <a:gdLst>
                    <a:gd name="connsiteX0" fmla="*/ 418 w 11841"/>
                    <a:gd name="connsiteY0" fmla="*/ 7715 h 15430"/>
                    <a:gd name="connsiteX1" fmla="*/ 0 w 11841"/>
                    <a:gd name="connsiteY1" fmla="*/ 0 h 15430"/>
                    <a:gd name="connsiteX2" fmla="*/ 10645 w 11841"/>
                    <a:gd name="connsiteY2" fmla="*/ 0 h 15430"/>
                    <a:gd name="connsiteX3" fmla="*/ 11842 w 11841"/>
                    <a:gd name="connsiteY3" fmla="*/ 7715 h 15430"/>
                    <a:gd name="connsiteX4" fmla="*/ 10645 w 11841"/>
                    <a:gd name="connsiteY4" fmla="*/ 15430 h 15430"/>
                    <a:gd name="connsiteX5" fmla="*/ 0 w 11841"/>
                    <a:gd name="connsiteY5" fmla="*/ 15430 h 15430"/>
                    <a:gd name="connsiteX6" fmla="*/ 418 w 11841"/>
                    <a:gd name="connsiteY6" fmla="*/ 7715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1" h="15430">
                      <a:moveTo>
                        <a:pt x="418" y="7715"/>
                      </a:moveTo>
                      <a:cubicBezTo>
                        <a:pt x="418" y="5084"/>
                        <a:pt x="299" y="2452"/>
                        <a:pt x="0" y="0"/>
                      </a:cubicBezTo>
                      <a:lnTo>
                        <a:pt x="10645" y="0"/>
                      </a:lnTo>
                      <a:cubicBezTo>
                        <a:pt x="11423" y="2392"/>
                        <a:pt x="11842" y="5084"/>
                        <a:pt x="11842" y="7715"/>
                      </a:cubicBezTo>
                      <a:cubicBezTo>
                        <a:pt x="11842" y="10347"/>
                        <a:pt x="11423" y="12978"/>
                        <a:pt x="10645" y="15430"/>
                      </a:cubicBezTo>
                      <a:lnTo>
                        <a:pt x="0" y="15430"/>
                      </a:lnTo>
                      <a:cubicBezTo>
                        <a:pt x="239" y="12978"/>
                        <a:pt x="418" y="10347"/>
                        <a:pt x="418" y="7715"/>
                      </a:cubicBezTo>
                      <a:close/>
                    </a:path>
                  </a:pathLst>
                </a:custGeom>
                <a:grpFill/>
                <a:ln w="5978" cap="flat">
                  <a:noFill/>
                  <a:prstDash val="solid"/>
                  <a:miter/>
                </a:ln>
              </p:spPr>
              <p:txBody>
                <a:bodyPr rtlCol="0" anchor="ctr"/>
                <a:lstStyle/>
                <a:p>
                  <a:endParaRPr lang="en-GB"/>
                </a:p>
              </p:txBody>
            </p:sp>
          </p:grpSp>
        </p:grpSp>
      </p:grpSp>
      <p:grpSp>
        <p:nvGrpSpPr>
          <p:cNvPr id="243" name="Groep 242">
            <a:extLst>
              <a:ext uri="{FF2B5EF4-FFF2-40B4-BE49-F238E27FC236}">
                <a16:creationId xmlns:a16="http://schemas.microsoft.com/office/drawing/2014/main" id="{54346F4B-5917-4C4E-AC5A-327F252DF360}"/>
              </a:ext>
            </a:extLst>
          </p:cNvPr>
          <p:cNvGrpSpPr/>
          <p:nvPr/>
        </p:nvGrpSpPr>
        <p:grpSpPr>
          <a:xfrm>
            <a:off x="907219" y="1793966"/>
            <a:ext cx="73817" cy="2219049"/>
            <a:chOff x="9239252" y="1793966"/>
            <a:chExt cx="73817" cy="4059147"/>
          </a:xfrm>
        </p:grpSpPr>
        <p:cxnSp>
          <p:nvCxnSpPr>
            <p:cNvPr id="244" name="Rechte verbindingslijn 243">
              <a:extLst>
                <a:ext uri="{FF2B5EF4-FFF2-40B4-BE49-F238E27FC236}">
                  <a16:creationId xmlns:a16="http://schemas.microsoft.com/office/drawing/2014/main" id="{D4B5DF10-7EBD-42D3-9955-82309B497E7A}"/>
                </a:ext>
              </a:extLst>
            </p:cNvPr>
            <p:cNvCxnSpPr>
              <a:cxnSpLocks/>
            </p:cNvCxnSpPr>
            <p:nvPr/>
          </p:nvCxnSpPr>
          <p:spPr>
            <a:xfrm>
              <a:off x="9242552" y="1793966"/>
              <a:ext cx="0" cy="4059147"/>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45" name="Rechte verbindingslijn 244">
              <a:extLst>
                <a:ext uri="{FF2B5EF4-FFF2-40B4-BE49-F238E27FC236}">
                  <a16:creationId xmlns:a16="http://schemas.microsoft.com/office/drawing/2014/main" id="{27309D33-3C76-48A7-B148-FD83F7B01AC7}"/>
                </a:ext>
              </a:extLst>
            </p:cNvPr>
            <p:cNvCxnSpPr>
              <a:cxnSpLocks/>
            </p:cNvCxnSpPr>
            <p:nvPr/>
          </p:nvCxnSpPr>
          <p:spPr>
            <a:xfrm flipH="1">
              <a:off x="9239252" y="5852164"/>
              <a:ext cx="73817"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246" name="TextBox 153">
            <a:extLst>
              <a:ext uri="{FF2B5EF4-FFF2-40B4-BE49-F238E27FC236}">
                <a16:creationId xmlns:a16="http://schemas.microsoft.com/office/drawing/2014/main" id="{56D7ABFB-3F81-46BE-949A-BF51040103C9}"/>
              </a:ext>
            </a:extLst>
          </p:cNvPr>
          <p:cNvSpPr txBox="1"/>
          <p:nvPr/>
        </p:nvSpPr>
        <p:spPr>
          <a:xfrm>
            <a:off x="1188021" y="3735569"/>
            <a:ext cx="2313302" cy="523220"/>
          </a:xfrm>
          <a:prstGeom prst="rect">
            <a:avLst/>
          </a:prstGeom>
          <a:noFill/>
        </p:spPr>
        <p:txBody>
          <a:bodyPr wrap="square" rtlCol="0">
            <a:spAutoFit/>
          </a:bodyPr>
          <a:lstStyle/>
          <a:p>
            <a:r>
              <a:rPr lang="nl-NL" sz="1400" b="1" dirty="0">
                <a:solidFill>
                  <a:schemeClr val="bg1"/>
                </a:solidFill>
                <a:latin typeface="+mj-lt"/>
              </a:rPr>
              <a:t>International Data </a:t>
            </a:r>
            <a:r>
              <a:rPr lang="nl-NL" sz="1400" b="1" dirty="0" err="1">
                <a:solidFill>
                  <a:schemeClr val="bg1"/>
                </a:solidFill>
                <a:latin typeface="+mj-lt"/>
              </a:rPr>
              <a:t>Spaces</a:t>
            </a:r>
            <a:endParaRPr lang="nl-NL" sz="1400" b="1" dirty="0">
              <a:solidFill>
                <a:schemeClr val="bg1"/>
              </a:solidFill>
              <a:latin typeface="+mj-lt"/>
            </a:endParaRPr>
          </a:p>
        </p:txBody>
      </p:sp>
      <p:sp>
        <p:nvSpPr>
          <p:cNvPr id="248" name="HAAK">
            <a:extLst>
              <a:ext uri="{FF2B5EF4-FFF2-40B4-BE49-F238E27FC236}">
                <a16:creationId xmlns:a16="http://schemas.microsoft.com/office/drawing/2014/main" id="{4D6EF398-DA77-40DD-A77C-2AEF972C44C0}"/>
              </a:ext>
            </a:extLst>
          </p:cNvPr>
          <p:cNvSpPr>
            <a:spLocks/>
          </p:cNvSpPr>
          <p:nvPr/>
        </p:nvSpPr>
        <p:spPr bwMode="auto">
          <a:xfrm>
            <a:off x="965765" y="3907551"/>
            <a:ext cx="69016" cy="202404"/>
          </a:xfrm>
          <a:custGeom>
            <a:avLst/>
            <a:gdLst>
              <a:gd name="T0" fmla="*/ 3 w 17"/>
              <a:gd name="T1" fmla="*/ 10 h 50"/>
              <a:gd name="T2" fmla="*/ 6 w 17"/>
              <a:gd name="T3" fmla="*/ 0 h 50"/>
              <a:gd name="T4" fmla="*/ 16 w 17"/>
              <a:gd name="T5" fmla="*/ 25 h 50"/>
              <a:gd name="T6" fmla="*/ 7 w 17"/>
              <a:gd name="T7" fmla="*/ 50 h 50"/>
              <a:gd name="T8" fmla="*/ 4 w 17"/>
              <a:gd name="T9" fmla="*/ 40 h 50"/>
              <a:gd name="T10" fmla="*/ 8 w 17"/>
              <a:gd name="T11" fmla="*/ 25 h 50"/>
              <a:gd name="T12" fmla="*/ 3 w 17"/>
              <a:gd name="T13" fmla="*/ 10 h 50"/>
            </a:gdLst>
            <a:ahLst/>
            <a:cxnLst>
              <a:cxn ang="0">
                <a:pos x="T0" y="T1"/>
              </a:cxn>
              <a:cxn ang="0">
                <a:pos x="T2" y="T3"/>
              </a:cxn>
              <a:cxn ang="0">
                <a:pos x="T4" y="T5"/>
              </a:cxn>
              <a:cxn ang="0">
                <a:pos x="T6" y="T7"/>
              </a:cxn>
              <a:cxn ang="0">
                <a:pos x="T8" y="T9"/>
              </a:cxn>
              <a:cxn ang="0">
                <a:pos x="T10" y="T11"/>
              </a:cxn>
              <a:cxn ang="0">
                <a:pos x="T12" y="T13"/>
              </a:cxn>
            </a:cxnLst>
            <a:rect l="0" t="0" r="r" b="b"/>
            <a:pathLst>
              <a:path w="17" h="50">
                <a:moveTo>
                  <a:pt x="3" y="10"/>
                </a:moveTo>
                <a:cubicBezTo>
                  <a:pt x="0" y="1"/>
                  <a:pt x="6" y="0"/>
                  <a:pt x="6" y="0"/>
                </a:cubicBezTo>
                <a:cubicBezTo>
                  <a:pt x="6" y="0"/>
                  <a:pt x="16" y="19"/>
                  <a:pt x="16" y="25"/>
                </a:cubicBezTo>
                <a:cubicBezTo>
                  <a:pt x="17" y="31"/>
                  <a:pt x="7" y="50"/>
                  <a:pt x="7" y="50"/>
                </a:cubicBezTo>
                <a:cubicBezTo>
                  <a:pt x="7" y="50"/>
                  <a:pt x="1" y="48"/>
                  <a:pt x="4" y="40"/>
                </a:cubicBezTo>
                <a:cubicBezTo>
                  <a:pt x="6" y="32"/>
                  <a:pt x="8" y="25"/>
                  <a:pt x="8" y="25"/>
                </a:cubicBezTo>
                <a:lnTo>
                  <a:pt x="3" y="1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solidFill>
                <a:prstClr val="black"/>
              </a:solidFill>
            </a:endParaRPr>
          </a:p>
        </p:txBody>
      </p:sp>
      <p:sp>
        <p:nvSpPr>
          <p:cNvPr id="184" name="TextBox 153">
            <a:extLst>
              <a:ext uri="{FF2B5EF4-FFF2-40B4-BE49-F238E27FC236}">
                <a16:creationId xmlns:a16="http://schemas.microsoft.com/office/drawing/2014/main" id="{39F2EB71-4A1D-4E38-9EA0-B7EE69E0EBAB}"/>
              </a:ext>
            </a:extLst>
          </p:cNvPr>
          <p:cNvSpPr txBox="1"/>
          <p:nvPr/>
        </p:nvSpPr>
        <p:spPr>
          <a:xfrm>
            <a:off x="9812499" y="2690765"/>
            <a:ext cx="2275206" cy="523220"/>
          </a:xfrm>
          <a:prstGeom prst="rect">
            <a:avLst/>
          </a:prstGeom>
          <a:noFill/>
        </p:spPr>
        <p:txBody>
          <a:bodyPr wrap="square" rtlCol="0">
            <a:spAutoFit/>
          </a:bodyPr>
          <a:lstStyle/>
          <a:p>
            <a:r>
              <a:rPr lang="nl-NL" sz="1400" b="1" dirty="0">
                <a:solidFill>
                  <a:schemeClr val="bg1"/>
                </a:solidFill>
                <a:latin typeface="+mj-lt"/>
              </a:rPr>
              <a:t>(Industrial) Internet of </a:t>
            </a:r>
            <a:r>
              <a:rPr lang="nl-NL" sz="1400" b="1" dirty="0" err="1">
                <a:solidFill>
                  <a:schemeClr val="bg1"/>
                </a:solidFill>
                <a:latin typeface="+mj-lt"/>
              </a:rPr>
              <a:t>Things</a:t>
            </a:r>
            <a:endParaRPr lang="nl-NL" sz="1400" b="1" dirty="0">
              <a:solidFill>
                <a:schemeClr val="bg1"/>
              </a:solidFill>
              <a:latin typeface="+mj-lt"/>
            </a:endParaRPr>
          </a:p>
        </p:txBody>
      </p:sp>
    </p:spTree>
    <p:extLst>
      <p:ext uri="{BB962C8B-B14F-4D97-AF65-F5344CB8AC3E}">
        <p14:creationId xmlns:p14="http://schemas.microsoft.com/office/powerpoint/2010/main" val="300139211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strips(downRight)">
                                      <p:cBhvr>
                                        <p:cTn id="7" dur="1000"/>
                                        <p:tgtEl>
                                          <p:spTgt spid="18"/>
                                        </p:tgtEl>
                                      </p:cBhvr>
                                    </p:animEffect>
                                  </p:childTnLst>
                                </p:cTn>
                              </p:par>
                            </p:childTnLst>
                          </p:cTn>
                        </p:par>
                        <p:par>
                          <p:cTn id="8" fill="hold">
                            <p:stCondLst>
                              <p:cond delay="1000"/>
                            </p:stCondLst>
                            <p:childTnLst>
                              <p:par>
                                <p:cTn id="9" presetID="17" presetClass="entr" presetSubtype="8" fill="hold" grpId="0" nodeType="afterEffect">
                                  <p:stCondLst>
                                    <p:cond delay="0"/>
                                  </p:stCondLst>
                                  <p:childTnLst>
                                    <p:set>
                                      <p:cBhvr>
                                        <p:cTn id="10" dur="1" fill="hold">
                                          <p:stCondLst>
                                            <p:cond delay="0"/>
                                          </p:stCondLst>
                                        </p:cTn>
                                        <p:tgtEl>
                                          <p:spTgt spid="137"/>
                                        </p:tgtEl>
                                        <p:attrNameLst>
                                          <p:attrName>style.visibility</p:attrName>
                                        </p:attrNameLst>
                                      </p:cBhvr>
                                      <p:to>
                                        <p:strVal val="visible"/>
                                      </p:to>
                                    </p:set>
                                    <p:anim calcmode="lin" valueType="num">
                                      <p:cBhvr>
                                        <p:cTn id="11" dur="250" fill="hold"/>
                                        <p:tgtEl>
                                          <p:spTgt spid="137"/>
                                        </p:tgtEl>
                                        <p:attrNameLst>
                                          <p:attrName>ppt_x</p:attrName>
                                        </p:attrNameLst>
                                      </p:cBhvr>
                                      <p:tavLst>
                                        <p:tav tm="0">
                                          <p:val>
                                            <p:strVal val="#ppt_x-#ppt_w/2"/>
                                          </p:val>
                                        </p:tav>
                                        <p:tav tm="100000">
                                          <p:val>
                                            <p:strVal val="#ppt_x"/>
                                          </p:val>
                                        </p:tav>
                                      </p:tavLst>
                                    </p:anim>
                                    <p:anim calcmode="lin" valueType="num">
                                      <p:cBhvr>
                                        <p:cTn id="12" dur="250" fill="hold"/>
                                        <p:tgtEl>
                                          <p:spTgt spid="137"/>
                                        </p:tgtEl>
                                        <p:attrNameLst>
                                          <p:attrName>ppt_y</p:attrName>
                                        </p:attrNameLst>
                                      </p:cBhvr>
                                      <p:tavLst>
                                        <p:tav tm="0">
                                          <p:val>
                                            <p:strVal val="#ppt_y"/>
                                          </p:val>
                                        </p:tav>
                                        <p:tav tm="100000">
                                          <p:val>
                                            <p:strVal val="#ppt_y"/>
                                          </p:val>
                                        </p:tav>
                                      </p:tavLst>
                                    </p:anim>
                                    <p:anim calcmode="lin" valueType="num">
                                      <p:cBhvr>
                                        <p:cTn id="13" dur="250" fill="hold"/>
                                        <p:tgtEl>
                                          <p:spTgt spid="137"/>
                                        </p:tgtEl>
                                        <p:attrNameLst>
                                          <p:attrName>ppt_w</p:attrName>
                                        </p:attrNameLst>
                                      </p:cBhvr>
                                      <p:tavLst>
                                        <p:tav tm="0">
                                          <p:val>
                                            <p:fltVal val="0"/>
                                          </p:val>
                                        </p:tav>
                                        <p:tav tm="100000">
                                          <p:val>
                                            <p:strVal val="#ppt_w"/>
                                          </p:val>
                                        </p:tav>
                                      </p:tavLst>
                                    </p:anim>
                                    <p:anim calcmode="lin" valueType="num">
                                      <p:cBhvr>
                                        <p:cTn id="14" dur="250" fill="hold"/>
                                        <p:tgtEl>
                                          <p:spTgt spid="137"/>
                                        </p:tgtEl>
                                        <p:attrNameLst>
                                          <p:attrName>ppt_h</p:attrName>
                                        </p:attrNameLst>
                                      </p:cBhvr>
                                      <p:tavLst>
                                        <p:tav tm="0">
                                          <p:val>
                                            <p:strVal val="#ppt_h"/>
                                          </p:val>
                                        </p:tav>
                                        <p:tav tm="100000">
                                          <p:val>
                                            <p:strVal val="#ppt_h"/>
                                          </p:val>
                                        </p:tav>
                                      </p:tavLst>
                                    </p:anim>
                                  </p:childTnLst>
                                </p:cTn>
                              </p:par>
                              <p:par>
                                <p:cTn id="15" presetID="31"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anim calcmode="lin" valueType="num">
                                      <p:cBhvr>
                                        <p:cTn id="17" dur="500" fill="hold"/>
                                        <p:tgtEl>
                                          <p:spTgt spid="34"/>
                                        </p:tgtEl>
                                        <p:attrNameLst>
                                          <p:attrName>ppt_w</p:attrName>
                                        </p:attrNameLst>
                                      </p:cBhvr>
                                      <p:tavLst>
                                        <p:tav tm="0">
                                          <p:val>
                                            <p:fltVal val="0"/>
                                          </p:val>
                                        </p:tav>
                                        <p:tav tm="100000">
                                          <p:val>
                                            <p:strVal val="#ppt_w"/>
                                          </p:val>
                                        </p:tav>
                                      </p:tavLst>
                                    </p:anim>
                                    <p:anim calcmode="lin" valueType="num">
                                      <p:cBhvr>
                                        <p:cTn id="18" dur="500" fill="hold"/>
                                        <p:tgtEl>
                                          <p:spTgt spid="34"/>
                                        </p:tgtEl>
                                        <p:attrNameLst>
                                          <p:attrName>ppt_h</p:attrName>
                                        </p:attrNameLst>
                                      </p:cBhvr>
                                      <p:tavLst>
                                        <p:tav tm="0">
                                          <p:val>
                                            <p:fltVal val="0"/>
                                          </p:val>
                                        </p:tav>
                                        <p:tav tm="100000">
                                          <p:val>
                                            <p:strVal val="#ppt_h"/>
                                          </p:val>
                                        </p:tav>
                                      </p:tavLst>
                                    </p:anim>
                                    <p:anim calcmode="lin" valueType="num">
                                      <p:cBhvr>
                                        <p:cTn id="19" dur="500" fill="hold"/>
                                        <p:tgtEl>
                                          <p:spTgt spid="34"/>
                                        </p:tgtEl>
                                        <p:attrNameLst>
                                          <p:attrName>style.rotation</p:attrName>
                                        </p:attrNameLst>
                                      </p:cBhvr>
                                      <p:tavLst>
                                        <p:tav tm="0">
                                          <p:val>
                                            <p:fltVal val="90"/>
                                          </p:val>
                                        </p:tav>
                                        <p:tav tm="100000">
                                          <p:val>
                                            <p:fltVal val="0"/>
                                          </p:val>
                                        </p:tav>
                                      </p:tavLst>
                                    </p:anim>
                                    <p:animEffect transition="in" filter="fade">
                                      <p:cBhvr>
                                        <p:cTn id="20" dur="500"/>
                                        <p:tgtEl>
                                          <p:spTgt spid="34"/>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155"/>
                                        </p:tgtEl>
                                        <p:attrNameLst>
                                          <p:attrName>style.visibility</p:attrName>
                                        </p:attrNameLst>
                                      </p:cBhvr>
                                      <p:to>
                                        <p:strVal val="visible"/>
                                      </p:to>
                                    </p:set>
                                    <p:animEffect transition="in" filter="fade">
                                      <p:cBhvr>
                                        <p:cTn id="23" dur="500"/>
                                        <p:tgtEl>
                                          <p:spTgt spid="155"/>
                                        </p:tgtEl>
                                      </p:cBhvr>
                                    </p:animEffect>
                                  </p:childTnLst>
                                </p:cTn>
                              </p:par>
                              <p:par>
                                <p:cTn id="24" presetID="31" presetClass="entr" presetSubtype="0" fill="hold" grpId="0" nodeType="withEffect">
                                  <p:stCondLst>
                                    <p:cond delay="250"/>
                                  </p:stCondLst>
                                  <p:childTnLst>
                                    <p:set>
                                      <p:cBhvr>
                                        <p:cTn id="25" dur="1" fill="hold">
                                          <p:stCondLst>
                                            <p:cond delay="0"/>
                                          </p:stCondLst>
                                        </p:cTn>
                                        <p:tgtEl>
                                          <p:spTgt spid="168"/>
                                        </p:tgtEl>
                                        <p:attrNameLst>
                                          <p:attrName>style.visibility</p:attrName>
                                        </p:attrNameLst>
                                      </p:cBhvr>
                                      <p:to>
                                        <p:strVal val="visible"/>
                                      </p:to>
                                    </p:set>
                                    <p:anim calcmode="lin" valueType="num">
                                      <p:cBhvr>
                                        <p:cTn id="26" dur="500" fill="hold"/>
                                        <p:tgtEl>
                                          <p:spTgt spid="168"/>
                                        </p:tgtEl>
                                        <p:attrNameLst>
                                          <p:attrName>ppt_w</p:attrName>
                                        </p:attrNameLst>
                                      </p:cBhvr>
                                      <p:tavLst>
                                        <p:tav tm="0">
                                          <p:val>
                                            <p:fltVal val="0"/>
                                          </p:val>
                                        </p:tav>
                                        <p:tav tm="100000">
                                          <p:val>
                                            <p:strVal val="#ppt_w"/>
                                          </p:val>
                                        </p:tav>
                                      </p:tavLst>
                                    </p:anim>
                                    <p:anim calcmode="lin" valueType="num">
                                      <p:cBhvr>
                                        <p:cTn id="27" dur="500" fill="hold"/>
                                        <p:tgtEl>
                                          <p:spTgt spid="168"/>
                                        </p:tgtEl>
                                        <p:attrNameLst>
                                          <p:attrName>ppt_h</p:attrName>
                                        </p:attrNameLst>
                                      </p:cBhvr>
                                      <p:tavLst>
                                        <p:tav tm="0">
                                          <p:val>
                                            <p:fltVal val="0"/>
                                          </p:val>
                                        </p:tav>
                                        <p:tav tm="100000">
                                          <p:val>
                                            <p:strVal val="#ppt_h"/>
                                          </p:val>
                                        </p:tav>
                                      </p:tavLst>
                                    </p:anim>
                                    <p:anim calcmode="lin" valueType="num">
                                      <p:cBhvr>
                                        <p:cTn id="28" dur="500" fill="hold"/>
                                        <p:tgtEl>
                                          <p:spTgt spid="168"/>
                                        </p:tgtEl>
                                        <p:attrNameLst>
                                          <p:attrName>style.rotation</p:attrName>
                                        </p:attrNameLst>
                                      </p:cBhvr>
                                      <p:tavLst>
                                        <p:tav tm="0">
                                          <p:val>
                                            <p:fltVal val="90"/>
                                          </p:val>
                                        </p:tav>
                                        <p:tav tm="100000">
                                          <p:val>
                                            <p:fltVal val="0"/>
                                          </p:val>
                                        </p:tav>
                                      </p:tavLst>
                                    </p:anim>
                                    <p:animEffect transition="in" filter="fade">
                                      <p:cBhvr>
                                        <p:cTn id="29" dur="500"/>
                                        <p:tgtEl>
                                          <p:spTgt spid="168"/>
                                        </p:tgtEl>
                                      </p:cBhvr>
                                    </p:animEffect>
                                  </p:childTnLst>
                                </p:cTn>
                              </p:par>
                              <p:par>
                                <p:cTn id="30" presetID="31" presetClass="entr" presetSubtype="0" fill="hold" grpId="0" nodeType="withEffect">
                                  <p:stCondLst>
                                    <p:cond delay="500"/>
                                  </p:stCondLst>
                                  <p:childTnLst>
                                    <p:set>
                                      <p:cBhvr>
                                        <p:cTn id="31" dur="1" fill="hold">
                                          <p:stCondLst>
                                            <p:cond delay="0"/>
                                          </p:stCondLst>
                                        </p:cTn>
                                        <p:tgtEl>
                                          <p:spTgt spid="169"/>
                                        </p:tgtEl>
                                        <p:attrNameLst>
                                          <p:attrName>style.visibility</p:attrName>
                                        </p:attrNameLst>
                                      </p:cBhvr>
                                      <p:to>
                                        <p:strVal val="visible"/>
                                      </p:to>
                                    </p:set>
                                    <p:anim calcmode="lin" valueType="num">
                                      <p:cBhvr>
                                        <p:cTn id="32" dur="500" fill="hold"/>
                                        <p:tgtEl>
                                          <p:spTgt spid="169"/>
                                        </p:tgtEl>
                                        <p:attrNameLst>
                                          <p:attrName>ppt_w</p:attrName>
                                        </p:attrNameLst>
                                      </p:cBhvr>
                                      <p:tavLst>
                                        <p:tav tm="0">
                                          <p:val>
                                            <p:fltVal val="0"/>
                                          </p:val>
                                        </p:tav>
                                        <p:tav tm="100000">
                                          <p:val>
                                            <p:strVal val="#ppt_w"/>
                                          </p:val>
                                        </p:tav>
                                      </p:tavLst>
                                    </p:anim>
                                    <p:anim calcmode="lin" valueType="num">
                                      <p:cBhvr>
                                        <p:cTn id="33" dur="500" fill="hold"/>
                                        <p:tgtEl>
                                          <p:spTgt spid="169"/>
                                        </p:tgtEl>
                                        <p:attrNameLst>
                                          <p:attrName>ppt_h</p:attrName>
                                        </p:attrNameLst>
                                      </p:cBhvr>
                                      <p:tavLst>
                                        <p:tav tm="0">
                                          <p:val>
                                            <p:fltVal val="0"/>
                                          </p:val>
                                        </p:tav>
                                        <p:tav tm="100000">
                                          <p:val>
                                            <p:strVal val="#ppt_h"/>
                                          </p:val>
                                        </p:tav>
                                      </p:tavLst>
                                    </p:anim>
                                    <p:anim calcmode="lin" valueType="num">
                                      <p:cBhvr>
                                        <p:cTn id="34" dur="500" fill="hold"/>
                                        <p:tgtEl>
                                          <p:spTgt spid="169"/>
                                        </p:tgtEl>
                                        <p:attrNameLst>
                                          <p:attrName>style.rotation</p:attrName>
                                        </p:attrNameLst>
                                      </p:cBhvr>
                                      <p:tavLst>
                                        <p:tav tm="0">
                                          <p:val>
                                            <p:fltVal val="90"/>
                                          </p:val>
                                        </p:tav>
                                        <p:tav tm="100000">
                                          <p:val>
                                            <p:fltVal val="0"/>
                                          </p:val>
                                        </p:tav>
                                      </p:tavLst>
                                    </p:anim>
                                    <p:animEffect transition="in" filter="fade">
                                      <p:cBhvr>
                                        <p:cTn id="35" dur="500"/>
                                        <p:tgtEl>
                                          <p:spTgt spid="169"/>
                                        </p:tgtEl>
                                      </p:cBhvr>
                                    </p:animEffect>
                                  </p:childTnLst>
                                </p:cTn>
                              </p:par>
                              <p:par>
                                <p:cTn id="36" presetID="1" presetClass="entr" presetSubtype="0" fill="hold" grpId="0" nodeType="withEffect">
                                  <p:stCondLst>
                                    <p:cond delay="750"/>
                                  </p:stCondLst>
                                  <p:childTnLst>
                                    <p:set>
                                      <p:cBhvr>
                                        <p:cTn id="37" dur="1" fill="hold">
                                          <p:stCondLst>
                                            <p:cond delay="0"/>
                                          </p:stCondLst>
                                        </p:cTn>
                                        <p:tgtEl>
                                          <p:spTgt spid="152"/>
                                        </p:tgtEl>
                                        <p:attrNameLst>
                                          <p:attrName>style.visibility</p:attrName>
                                        </p:attrNameLst>
                                      </p:cBhvr>
                                      <p:to>
                                        <p:strVal val="visible"/>
                                      </p:to>
                                    </p:set>
                                  </p:childTnLst>
                                </p:cTn>
                              </p:par>
                              <p:par>
                                <p:cTn id="38" presetID="31" presetClass="entr" presetSubtype="0" fill="hold" grpId="0" nodeType="withEffect">
                                  <p:stCondLst>
                                    <p:cond delay="750"/>
                                  </p:stCondLst>
                                  <p:childTnLst>
                                    <p:set>
                                      <p:cBhvr>
                                        <p:cTn id="39" dur="1" fill="hold">
                                          <p:stCondLst>
                                            <p:cond delay="0"/>
                                          </p:stCondLst>
                                        </p:cTn>
                                        <p:tgtEl>
                                          <p:spTgt spid="170"/>
                                        </p:tgtEl>
                                        <p:attrNameLst>
                                          <p:attrName>style.visibility</p:attrName>
                                        </p:attrNameLst>
                                      </p:cBhvr>
                                      <p:to>
                                        <p:strVal val="visible"/>
                                      </p:to>
                                    </p:set>
                                    <p:anim calcmode="lin" valueType="num">
                                      <p:cBhvr>
                                        <p:cTn id="40" dur="500" fill="hold"/>
                                        <p:tgtEl>
                                          <p:spTgt spid="170"/>
                                        </p:tgtEl>
                                        <p:attrNameLst>
                                          <p:attrName>ppt_w</p:attrName>
                                        </p:attrNameLst>
                                      </p:cBhvr>
                                      <p:tavLst>
                                        <p:tav tm="0">
                                          <p:val>
                                            <p:fltVal val="0"/>
                                          </p:val>
                                        </p:tav>
                                        <p:tav tm="100000">
                                          <p:val>
                                            <p:strVal val="#ppt_w"/>
                                          </p:val>
                                        </p:tav>
                                      </p:tavLst>
                                    </p:anim>
                                    <p:anim calcmode="lin" valueType="num">
                                      <p:cBhvr>
                                        <p:cTn id="41" dur="500" fill="hold"/>
                                        <p:tgtEl>
                                          <p:spTgt spid="170"/>
                                        </p:tgtEl>
                                        <p:attrNameLst>
                                          <p:attrName>ppt_h</p:attrName>
                                        </p:attrNameLst>
                                      </p:cBhvr>
                                      <p:tavLst>
                                        <p:tav tm="0">
                                          <p:val>
                                            <p:fltVal val="0"/>
                                          </p:val>
                                        </p:tav>
                                        <p:tav tm="100000">
                                          <p:val>
                                            <p:strVal val="#ppt_h"/>
                                          </p:val>
                                        </p:tav>
                                      </p:tavLst>
                                    </p:anim>
                                    <p:anim calcmode="lin" valueType="num">
                                      <p:cBhvr>
                                        <p:cTn id="42" dur="500" fill="hold"/>
                                        <p:tgtEl>
                                          <p:spTgt spid="170"/>
                                        </p:tgtEl>
                                        <p:attrNameLst>
                                          <p:attrName>style.rotation</p:attrName>
                                        </p:attrNameLst>
                                      </p:cBhvr>
                                      <p:tavLst>
                                        <p:tav tm="0">
                                          <p:val>
                                            <p:fltVal val="90"/>
                                          </p:val>
                                        </p:tav>
                                        <p:tav tm="100000">
                                          <p:val>
                                            <p:fltVal val="0"/>
                                          </p:val>
                                        </p:tav>
                                      </p:tavLst>
                                    </p:anim>
                                    <p:animEffect transition="in" filter="fade">
                                      <p:cBhvr>
                                        <p:cTn id="43" dur="500"/>
                                        <p:tgtEl>
                                          <p:spTgt spid="170"/>
                                        </p:tgtEl>
                                      </p:cBhvr>
                                    </p:animEffect>
                                  </p:childTnLst>
                                </p:cTn>
                              </p:par>
                              <p:par>
                                <p:cTn id="44" presetID="10" presetClass="entr" presetSubtype="0" fill="hold" grpId="0" nodeType="withEffect">
                                  <p:stCondLst>
                                    <p:cond delay="1000"/>
                                  </p:stCondLst>
                                  <p:childTnLst>
                                    <p:set>
                                      <p:cBhvr>
                                        <p:cTn id="45" dur="1" fill="hold">
                                          <p:stCondLst>
                                            <p:cond delay="0"/>
                                          </p:stCondLst>
                                        </p:cTn>
                                        <p:tgtEl>
                                          <p:spTgt spid="153"/>
                                        </p:tgtEl>
                                        <p:attrNameLst>
                                          <p:attrName>style.visibility</p:attrName>
                                        </p:attrNameLst>
                                      </p:cBhvr>
                                      <p:to>
                                        <p:strVal val="visible"/>
                                      </p:to>
                                    </p:set>
                                    <p:animEffect transition="in" filter="fade">
                                      <p:cBhvr>
                                        <p:cTn id="46" dur="500"/>
                                        <p:tgtEl>
                                          <p:spTgt spid="153"/>
                                        </p:tgtEl>
                                      </p:cBhvr>
                                    </p:animEffect>
                                  </p:childTnLst>
                                </p:cTn>
                              </p:par>
                              <p:par>
                                <p:cTn id="47" presetID="31" presetClass="entr" presetSubtype="0" fill="hold" grpId="0" nodeType="withEffect">
                                  <p:stCondLst>
                                    <p:cond delay="1000"/>
                                  </p:stCondLst>
                                  <p:childTnLst>
                                    <p:set>
                                      <p:cBhvr>
                                        <p:cTn id="48" dur="1" fill="hold">
                                          <p:stCondLst>
                                            <p:cond delay="0"/>
                                          </p:stCondLst>
                                        </p:cTn>
                                        <p:tgtEl>
                                          <p:spTgt spid="171"/>
                                        </p:tgtEl>
                                        <p:attrNameLst>
                                          <p:attrName>style.visibility</p:attrName>
                                        </p:attrNameLst>
                                      </p:cBhvr>
                                      <p:to>
                                        <p:strVal val="visible"/>
                                      </p:to>
                                    </p:set>
                                    <p:anim calcmode="lin" valueType="num">
                                      <p:cBhvr>
                                        <p:cTn id="49" dur="500" fill="hold"/>
                                        <p:tgtEl>
                                          <p:spTgt spid="171"/>
                                        </p:tgtEl>
                                        <p:attrNameLst>
                                          <p:attrName>ppt_w</p:attrName>
                                        </p:attrNameLst>
                                      </p:cBhvr>
                                      <p:tavLst>
                                        <p:tav tm="0">
                                          <p:val>
                                            <p:fltVal val="0"/>
                                          </p:val>
                                        </p:tav>
                                        <p:tav tm="100000">
                                          <p:val>
                                            <p:strVal val="#ppt_w"/>
                                          </p:val>
                                        </p:tav>
                                      </p:tavLst>
                                    </p:anim>
                                    <p:anim calcmode="lin" valueType="num">
                                      <p:cBhvr>
                                        <p:cTn id="50" dur="500" fill="hold"/>
                                        <p:tgtEl>
                                          <p:spTgt spid="171"/>
                                        </p:tgtEl>
                                        <p:attrNameLst>
                                          <p:attrName>ppt_h</p:attrName>
                                        </p:attrNameLst>
                                      </p:cBhvr>
                                      <p:tavLst>
                                        <p:tav tm="0">
                                          <p:val>
                                            <p:fltVal val="0"/>
                                          </p:val>
                                        </p:tav>
                                        <p:tav tm="100000">
                                          <p:val>
                                            <p:strVal val="#ppt_h"/>
                                          </p:val>
                                        </p:tav>
                                      </p:tavLst>
                                    </p:anim>
                                    <p:anim calcmode="lin" valueType="num">
                                      <p:cBhvr>
                                        <p:cTn id="51" dur="500" fill="hold"/>
                                        <p:tgtEl>
                                          <p:spTgt spid="171"/>
                                        </p:tgtEl>
                                        <p:attrNameLst>
                                          <p:attrName>style.rotation</p:attrName>
                                        </p:attrNameLst>
                                      </p:cBhvr>
                                      <p:tavLst>
                                        <p:tav tm="0">
                                          <p:val>
                                            <p:fltVal val="90"/>
                                          </p:val>
                                        </p:tav>
                                        <p:tav tm="100000">
                                          <p:val>
                                            <p:fltVal val="0"/>
                                          </p:val>
                                        </p:tav>
                                      </p:tavLst>
                                    </p:anim>
                                    <p:animEffect transition="in" filter="fade">
                                      <p:cBhvr>
                                        <p:cTn id="52" dur="500"/>
                                        <p:tgtEl>
                                          <p:spTgt spid="171"/>
                                        </p:tgtEl>
                                      </p:cBhvr>
                                    </p:animEffect>
                                  </p:childTnLst>
                                </p:cTn>
                              </p:par>
                              <p:par>
                                <p:cTn id="53" presetID="10" presetClass="entr" presetSubtype="0" fill="hold" grpId="0" nodeType="withEffect">
                                  <p:stCondLst>
                                    <p:cond delay="1250"/>
                                  </p:stCondLst>
                                  <p:childTnLst>
                                    <p:set>
                                      <p:cBhvr>
                                        <p:cTn id="54" dur="1" fill="hold">
                                          <p:stCondLst>
                                            <p:cond delay="0"/>
                                          </p:stCondLst>
                                        </p:cTn>
                                        <p:tgtEl>
                                          <p:spTgt spid="154"/>
                                        </p:tgtEl>
                                        <p:attrNameLst>
                                          <p:attrName>style.visibility</p:attrName>
                                        </p:attrNameLst>
                                      </p:cBhvr>
                                      <p:to>
                                        <p:strVal val="visible"/>
                                      </p:to>
                                    </p:set>
                                    <p:animEffect transition="in" filter="fade">
                                      <p:cBhvr>
                                        <p:cTn id="55" dur="500"/>
                                        <p:tgtEl>
                                          <p:spTgt spid="154"/>
                                        </p:tgtEl>
                                      </p:cBhvr>
                                    </p:animEffect>
                                  </p:childTnLst>
                                </p:cTn>
                              </p:par>
                            </p:childTnLst>
                          </p:cTn>
                        </p:par>
                        <p:par>
                          <p:cTn id="56" fill="hold">
                            <p:stCondLst>
                              <p:cond delay="2750"/>
                            </p:stCondLst>
                            <p:childTnLst>
                              <p:par>
                                <p:cTn id="57" presetID="53" presetClass="entr" presetSubtype="16" fill="hold" nodeType="afterEffect">
                                  <p:stCondLst>
                                    <p:cond delay="0"/>
                                  </p:stCondLst>
                                  <p:childTnLst>
                                    <p:set>
                                      <p:cBhvr>
                                        <p:cTn id="58" dur="1" fill="hold">
                                          <p:stCondLst>
                                            <p:cond delay="0"/>
                                          </p:stCondLst>
                                        </p:cTn>
                                        <p:tgtEl>
                                          <p:spTgt spid="224"/>
                                        </p:tgtEl>
                                        <p:attrNameLst>
                                          <p:attrName>style.visibility</p:attrName>
                                        </p:attrNameLst>
                                      </p:cBhvr>
                                      <p:to>
                                        <p:strVal val="visible"/>
                                      </p:to>
                                    </p:set>
                                    <p:anim calcmode="lin" valueType="num">
                                      <p:cBhvr>
                                        <p:cTn id="59" dur="500" fill="hold"/>
                                        <p:tgtEl>
                                          <p:spTgt spid="224"/>
                                        </p:tgtEl>
                                        <p:attrNameLst>
                                          <p:attrName>ppt_w</p:attrName>
                                        </p:attrNameLst>
                                      </p:cBhvr>
                                      <p:tavLst>
                                        <p:tav tm="0">
                                          <p:val>
                                            <p:fltVal val="0"/>
                                          </p:val>
                                        </p:tav>
                                        <p:tav tm="100000">
                                          <p:val>
                                            <p:strVal val="#ppt_w"/>
                                          </p:val>
                                        </p:tav>
                                      </p:tavLst>
                                    </p:anim>
                                    <p:anim calcmode="lin" valueType="num">
                                      <p:cBhvr>
                                        <p:cTn id="60" dur="500" fill="hold"/>
                                        <p:tgtEl>
                                          <p:spTgt spid="224"/>
                                        </p:tgtEl>
                                        <p:attrNameLst>
                                          <p:attrName>ppt_h</p:attrName>
                                        </p:attrNameLst>
                                      </p:cBhvr>
                                      <p:tavLst>
                                        <p:tav tm="0">
                                          <p:val>
                                            <p:fltVal val="0"/>
                                          </p:val>
                                        </p:tav>
                                        <p:tav tm="100000">
                                          <p:val>
                                            <p:strVal val="#ppt_h"/>
                                          </p:val>
                                        </p:tav>
                                      </p:tavLst>
                                    </p:anim>
                                    <p:animEffect transition="in" filter="fade">
                                      <p:cBhvr>
                                        <p:cTn id="61" dur="500"/>
                                        <p:tgtEl>
                                          <p:spTgt spid="224"/>
                                        </p:tgtEl>
                                      </p:cBhvr>
                                    </p:animEffect>
                                  </p:childTnLst>
                                </p:cTn>
                              </p:par>
                              <p:par>
                                <p:cTn id="62" presetID="18" presetClass="entr" presetSubtype="6" fill="hold" nodeType="withEffect">
                                  <p:stCondLst>
                                    <p:cond delay="0"/>
                                  </p:stCondLst>
                                  <p:childTnLst>
                                    <p:set>
                                      <p:cBhvr>
                                        <p:cTn id="63" dur="1" fill="hold">
                                          <p:stCondLst>
                                            <p:cond delay="0"/>
                                          </p:stCondLst>
                                        </p:cTn>
                                        <p:tgtEl>
                                          <p:spTgt spid="243"/>
                                        </p:tgtEl>
                                        <p:attrNameLst>
                                          <p:attrName>style.visibility</p:attrName>
                                        </p:attrNameLst>
                                      </p:cBhvr>
                                      <p:to>
                                        <p:strVal val="visible"/>
                                      </p:to>
                                    </p:set>
                                    <p:animEffect transition="in" filter="strips(downRight)">
                                      <p:cBhvr>
                                        <p:cTn id="64" dur="1000"/>
                                        <p:tgtEl>
                                          <p:spTgt spid="243"/>
                                        </p:tgtEl>
                                      </p:cBhvr>
                                    </p:animEffect>
                                  </p:childTnLst>
                                </p:cTn>
                              </p:par>
                            </p:childTnLst>
                          </p:cTn>
                        </p:par>
                        <p:par>
                          <p:cTn id="65" fill="hold">
                            <p:stCondLst>
                              <p:cond delay="3750"/>
                            </p:stCondLst>
                            <p:childTnLst>
                              <p:par>
                                <p:cTn id="66" presetID="17" presetClass="entr" presetSubtype="8" fill="hold" grpId="0" nodeType="afterEffect">
                                  <p:stCondLst>
                                    <p:cond delay="0"/>
                                  </p:stCondLst>
                                  <p:childTnLst>
                                    <p:set>
                                      <p:cBhvr>
                                        <p:cTn id="67" dur="1" fill="hold">
                                          <p:stCondLst>
                                            <p:cond delay="0"/>
                                          </p:stCondLst>
                                        </p:cTn>
                                        <p:tgtEl>
                                          <p:spTgt spid="248"/>
                                        </p:tgtEl>
                                        <p:attrNameLst>
                                          <p:attrName>style.visibility</p:attrName>
                                        </p:attrNameLst>
                                      </p:cBhvr>
                                      <p:to>
                                        <p:strVal val="visible"/>
                                      </p:to>
                                    </p:set>
                                    <p:anim calcmode="lin" valueType="num">
                                      <p:cBhvr>
                                        <p:cTn id="68" dur="250" fill="hold"/>
                                        <p:tgtEl>
                                          <p:spTgt spid="248"/>
                                        </p:tgtEl>
                                        <p:attrNameLst>
                                          <p:attrName>ppt_x</p:attrName>
                                        </p:attrNameLst>
                                      </p:cBhvr>
                                      <p:tavLst>
                                        <p:tav tm="0">
                                          <p:val>
                                            <p:strVal val="#ppt_x-#ppt_w/2"/>
                                          </p:val>
                                        </p:tav>
                                        <p:tav tm="100000">
                                          <p:val>
                                            <p:strVal val="#ppt_x"/>
                                          </p:val>
                                        </p:tav>
                                      </p:tavLst>
                                    </p:anim>
                                    <p:anim calcmode="lin" valueType="num">
                                      <p:cBhvr>
                                        <p:cTn id="69" dur="250" fill="hold"/>
                                        <p:tgtEl>
                                          <p:spTgt spid="248"/>
                                        </p:tgtEl>
                                        <p:attrNameLst>
                                          <p:attrName>ppt_y</p:attrName>
                                        </p:attrNameLst>
                                      </p:cBhvr>
                                      <p:tavLst>
                                        <p:tav tm="0">
                                          <p:val>
                                            <p:strVal val="#ppt_y"/>
                                          </p:val>
                                        </p:tav>
                                        <p:tav tm="100000">
                                          <p:val>
                                            <p:strVal val="#ppt_y"/>
                                          </p:val>
                                        </p:tav>
                                      </p:tavLst>
                                    </p:anim>
                                    <p:anim calcmode="lin" valueType="num">
                                      <p:cBhvr>
                                        <p:cTn id="70" dur="250" fill="hold"/>
                                        <p:tgtEl>
                                          <p:spTgt spid="248"/>
                                        </p:tgtEl>
                                        <p:attrNameLst>
                                          <p:attrName>ppt_w</p:attrName>
                                        </p:attrNameLst>
                                      </p:cBhvr>
                                      <p:tavLst>
                                        <p:tav tm="0">
                                          <p:val>
                                            <p:fltVal val="0"/>
                                          </p:val>
                                        </p:tav>
                                        <p:tav tm="100000">
                                          <p:val>
                                            <p:strVal val="#ppt_w"/>
                                          </p:val>
                                        </p:tav>
                                      </p:tavLst>
                                    </p:anim>
                                    <p:anim calcmode="lin" valueType="num">
                                      <p:cBhvr>
                                        <p:cTn id="71" dur="250" fill="hold"/>
                                        <p:tgtEl>
                                          <p:spTgt spid="248"/>
                                        </p:tgtEl>
                                        <p:attrNameLst>
                                          <p:attrName>ppt_h</p:attrName>
                                        </p:attrNameLst>
                                      </p:cBhvr>
                                      <p:tavLst>
                                        <p:tav tm="0">
                                          <p:val>
                                            <p:strVal val="#ppt_h"/>
                                          </p:val>
                                        </p:tav>
                                        <p:tav tm="100000">
                                          <p:val>
                                            <p:strVal val="#ppt_h"/>
                                          </p:val>
                                        </p:tav>
                                      </p:tavLst>
                                    </p:anim>
                                  </p:childTnLst>
                                </p:cTn>
                              </p:par>
                              <p:par>
                                <p:cTn id="72" presetID="1" presetClass="entr" presetSubtype="0" fill="hold" grpId="0" nodeType="withEffect">
                                  <p:stCondLst>
                                    <p:cond delay="250"/>
                                  </p:stCondLst>
                                  <p:childTnLst>
                                    <p:set>
                                      <p:cBhvr>
                                        <p:cTn id="73" dur="1" fill="hold">
                                          <p:stCondLst>
                                            <p:cond delay="0"/>
                                          </p:stCondLst>
                                        </p:cTn>
                                        <p:tgtEl>
                                          <p:spTgt spid="246"/>
                                        </p:tgtEl>
                                        <p:attrNameLst>
                                          <p:attrName>style.visibility</p:attrName>
                                        </p:attrNameLst>
                                      </p:cBhvr>
                                      <p:to>
                                        <p:strVal val="visible"/>
                                      </p:to>
                                    </p:set>
                                  </p:childTnLst>
                                </p:cTn>
                              </p:par>
                              <p:par>
                                <p:cTn id="74" presetID="1" presetClass="entr" presetSubtype="0" fill="hold" grpId="0" nodeType="withEffect">
                                  <p:stCondLst>
                                    <p:cond delay="500"/>
                                  </p:stCondLst>
                                  <p:childTnLst>
                                    <p:set>
                                      <p:cBhvr>
                                        <p:cTn id="75" dur="1" fill="hold">
                                          <p:stCondLst>
                                            <p:cond delay="0"/>
                                          </p:stCondLst>
                                        </p:cTn>
                                        <p:tgtEl>
                                          <p:spTgt spid="166"/>
                                        </p:tgtEl>
                                        <p:attrNameLst>
                                          <p:attrName>style.visibility</p:attrName>
                                        </p:attrNameLst>
                                      </p:cBhvr>
                                      <p:to>
                                        <p:strVal val="visible"/>
                                      </p:to>
                                    </p:set>
                                  </p:childTnLst>
                                </p:cTn>
                              </p:par>
                              <p:par>
                                <p:cTn id="76" presetID="10" presetClass="entr" presetSubtype="0" fill="hold" grpId="0" nodeType="withEffect">
                                  <p:stCondLst>
                                    <p:cond delay="1250"/>
                                  </p:stCondLst>
                                  <p:childTnLst>
                                    <p:set>
                                      <p:cBhvr>
                                        <p:cTn id="77" dur="1" fill="hold">
                                          <p:stCondLst>
                                            <p:cond delay="0"/>
                                          </p:stCondLst>
                                        </p:cTn>
                                        <p:tgtEl>
                                          <p:spTgt spid="184"/>
                                        </p:tgtEl>
                                        <p:attrNameLst>
                                          <p:attrName>style.visibility</p:attrName>
                                        </p:attrNameLst>
                                      </p:cBhvr>
                                      <p:to>
                                        <p:strVal val="visible"/>
                                      </p:to>
                                    </p:set>
                                    <p:animEffect transition="in" filter="fade">
                                      <p:cBhvr>
                                        <p:cTn id="78" dur="500"/>
                                        <p:tgtEl>
                                          <p:spTgt spid="1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34" grpId="0" animBg="1"/>
      <p:bldP spid="168" grpId="0" animBg="1"/>
      <p:bldP spid="169" grpId="0" animBg="1"/>
      <p:bldP spid="170" grpId="0" animBg="1"/>
      <p:bldP spid="171" grpId="0" animBg="1"/>
      <p:bldP spid="152" grpId="0"/>
      <p:bldP spid="153" grpId="0"/>
      <p:bldP spid="154" grpId="0"/>
      <p:bldP spid="155" grpId="0"/>
      <p:bldP spid="166" grpId="0"/>
      <p:bldP spid="246" grpId="0"/>
      <p:bldP spid="248" grpId="0" animBg="1"/>
      <p:bldP spid="184"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rotWithShape="1">
          <a:blip r:embed="rId2" cstate="email">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2" name="Textplatzhalter 1"/>
          <p:cNvSpPr>
            <a:spLocks noGrp="1"/>
          </p:cNvSpPr>
          <p:nvPr>
            <p:ph type="body" sz="quarter" idx="17"/>
          </p:nvPr>
        </p:nvSpPr>
        <p:spPr>
          <a:xfrm>
            <a:off x="406400" y="5244197"/>
            <a:ext cx="9702800" cy="1105804"/>
          </a:xfrm>
        </p:spPr>
        <p:txBody>
          <a:bodyPr>
            <a:normAutofit/>
          </a:bodyPr>
          <a:lstStyle/>
          <a:p>
            <a:r>
              <a:rPr lang="en-GB" dirty="0"/>
              <a:t>A trustworthy architecture for the Data economy</a:t>
            </a:r>
          </a:p>
          <a:p>
            <a:endParaRPr lang="en-GB" sz="1600" i="1" cap="none" dirty="0">
              <a:solidFill>
                <a:schemeClr val="bg1"/>
              </a:solidFill>
              <a:latin typeface="Georgia" panose="02040502050405020303" pitchFamily="18" charset="0"/>
            </a:endParaRPr>
          </a:p>
          <a:p>
            <a:pPr>
              <a:lnSpc>
                <a:spcPct val="100000"/>
              </a:lnSpc>
            </a:pPr>
            <a:r>
              <a:rPr lang="nl-NL" sz="1600" i="1" cap="none" dirty="0" err="1">
                <a:solidFill>
                  <a:schemeClr val="bg1"/>
                </a:solidFill>
                <a:latin typeface="Georgia" panose="02040502050405020303" pitchFamily="18" charset="0"/>
              </a:rPr>
              <a:t>Introduction</a:t>
            </a:r>
            <a:endParaRPr lang="en-GB" sz="1600" i="1" cap="none" dirty="0">
              <a:solidFill>
                <a:schemeClr val="bg1"/>
              </a:solidFill>
              <a:latin typeface="Georgia" panose="02040502050405020303" pitchFamily="18" charset="0"/>
            </a:endParaRPr>
          </a:p>
        </p:txBody>
      </p:sp>
      <p:sp>
        <p:nvSpPr>
          <p:cNvPr id="3" name="Titel 2"/>
          <p:cNvSpPr>
            <a:spLocks noGrp="1"/>
          </p:cNvSpPr>
          <p:nvPr>
            <p:ph type="title"/>
          </p:nvPr>
        </p:nvSpPr>
        <p:spPr/>
        <p:txBody>
          <a:bodyPr>
            <a:normAutofit/>
          </a:bodyPr>
          <a:lstStyle/>
          <a:p>
            <a:r>
              <a:rPr lang="de-DE" dirty="0">
                <a:solidFill>
                  <a:schemeClr val="bg1"/>
                </a:solidFill>
              </a:rPr>
              <a:t>International Data Spaces</a:t>
            </a:r>
          </a:p>
        </p:txBody>
      </p:sp>
    </p:spTree>
    <p:extLst>
      <p:ext uri="{BB962C8B-B14F-4D97-AF65-F5344CB8AC3E}">
        <p14:creationId xmlns:p14="http://schemas.microsoft.com/office/powerpoint/2010/main" val="27902445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92301" y="-12081"/>
            <a:ext cx="12202429" cy="6878549"/>
          </a:xfrm>
          <a:prstGeom prst="rect">
            <a:avLst/>
          </a:prstGeom>
        </p:spPr>
      </p:pic>
      <p:pic>
        <p:nvPicPr>
          <p:cNvPr id="5" name="Grafik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647059" y="5511657"/>
            <a:ext cx="3016048" cy="1096115"/>
          </a:xfrm>
          <a:prstGeom prst="rect">
            <a:avLst/>
          </a:prstGeom>
        </p:spPr>
      </p:pic>
      <p:sp>
        <p:nvSpPr>
          <p:cNvPr id="6" name="Textfeld 5"/>
          <p:cNvSpPr txBox="1"/>
          <p:nvPr/>
        </p:nvSpPr>
        <p:spPr>
          <a:xfrm>
            <a:off x="6599081" y="5423979"/>
            <a:ext cx="1920905"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100+</a:t>
            </a:r>
          </a:p>
        </p:txBody>
      </p:sp>
      <p:sp>
        <p:nvSpPr>
          <p:cNvPr id="7" name="Titel 45"/>
          <p:cNvSpPr txBox="1">
            <a:spLocks/>
          </p:cNvSpPr>
          <p:nvPr/>
        </p:nvSpPr>
        <p:spPr>
          <a:xfrm>
            <a:off x="307898" y="3867201"/>
            <a:ext cx="3605441" cy="1281603"/>
          </a:xfrm>
          <a:prstGeom prst="rect">
            <a:avLst/>
          </a:prstGeom>
        </p:spPr>
        <p:txBody>
          <a:bodyPr/>
          <a:lstStyle>
            <a:lvl1pPr algn="l" defTabSz="457200" rtl="0" eaLnBrk="1" latinLnBrk="0" hangingPunct="1">
              <a:spcBef>
                <a:spcPct val="0"/>
              </a:spcBef>
              <a:buNone/>
              <a:defRPr sz="1800" b="1" kern="1200" cap="all">
                <a:solidFill>
                  <a:schemeClr val="tx1"/>
                </a:solidFill>
                <a:latin typeface="Verdana"/>
                <a:ea typeface="+mj-ea"/>
                <a:cs typeface="Verdana"/>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4800" b="0" i="1" u="none" strike="noStrike" kern="1200" cap="none" spc="0" normalizeH="0" baseline="0" noProof="0" dirty="0">
                <a:ln>
                  <a:noFill/>
                </a:ln>
                <a:solidFill>
                  <a:srgbClr val="FFED00"/>
                </a:solidFill>
                <a:effectLst/>
                <a:uLnTx/>
                <a:uFillTx/>
                <a:latin typeface="Georgia" panose="02040502050405020303" pitchFamily="18" charset="0"/>
                <a:ea typeface="+mj-ea"/>
              </a:rPr>
              <a:t>50+</a:t>
            </a:r>
            <a:r>
              <a:rPr kumimoji="0" lang="de-DE" sz="2667" b="0" i="1" u="none" strike="noStrike" kern="1200" cap="none" spc="0" normalizeH="0" baseline="0" noProof="0" dirty="0">
                <a:ln>
                  <a:noFill/>
                </a:ln>
                <a:solidFill>
                  <a:srgbClr val="FFED00"/>
                </a:solidFill>
                <a:effectLst/>
                <a:uLnTx/>
                <a:uFillTx/>
                <a:latin typeface="Georgia" panose="02040502050405020303" pitchFamily="18" charset="0"/>
                <a:ea typeface="+mj-ea"/>
              </a:rPr>
              <a:t> </a:t>
            </a:r>
            <a:r>
              <a:rPr kumimoji="0" lang="de-DE" sz="2667" b="0" i="1" u="none" strike="noStrike" kern="1200" cap="none" spc="0" normalizeH="0" baseline="0" noProof="0" dirty="0" err="1">
                <a:ln>
                  <a:noFill/>
                </a:ln>
                <a:solidFill>
                  <a:prstClr val="white"/>
                </a:solidFill>
                <a:effectLst/>
                <a:uLnTx/>
                <a:uFillTx/>
                <a:latin typeface="Georgia" panose="02040502050405020303" pitchFamily="18" charset="0"/>
                <a:ea typeface="+mj-ea"/>
              </a:rPr>
              <a:t>industry</a:t>
            </a:r>
            <a:r>
              <a:rPr kumimoji="0" lang="de-DE" sz="2667" b="0" i="1" u="none" strike="noStrike" kern="1200" cap="none" spc="0" normalizeH="0" baseline="0" noProof="0" dirty="0">
                <a:ln>
                  <a:noFill/>
                </a:ln>
                <a:solidFill>
                  <a:prstClr val="white"/>
                </a:solidFill>
                <a:effectLst/>
                <a:uLnTx/>
                <a:uFillTx/>
                <a:latin typeface="Georgia" panose="02040502050405020303" pitchFamily="18" charset="0"/>
                <a:ea typeface="+mj-ea"/>
              </a:rPr>
              <a:t> </a:t>
            </a:r>
            <a:r>
              <a:rPr kumimoji="0" lang="de-DE" sz="2667" b="0" i="1" u="none" strike="noStrike" kern="1200" cap="none" spc="0" normalizeH="0" baseline="0" noProof="0" dirty="0" err="1">
                <a:ln>
                  <a:noFill/>
                </a:ln>
                <a:solidFill>
                  <a:prstClr val="white"/>
                </a:solidFill>
                <a:effectLst/>
                <a:uLnTx/>
                <a:uFillTx/>
                <a:latin typeface="Georgia" panose="02040502050405020303" pitchFamily="18" charset="0"/>
                <a:ea typeface="+mj-ea"/>
              </a:rPr>
              <a:t>driven</a:t>
            </a:r>
            <a:r>
              <a:rPr kumimoji="0" lang="de-DE" sz="2667" b="0" i="1" u="none" strike="noStrike" kern="1200" cap="none" spc="0" normalizeH="0" baseline="0" noProof="0" dirty="0">
                <a:ln>
                  <a:noFill/>
                </a:ln>
                <a:solidFill>
                  <a:prstClr val="white"/>
                </a:solidFill>
                <a:effectLst/>
                <a:uLnTx/>
                <a:uFillTx/>
                <a:latin typeface="Georgia" panose="02040502050405020303" pitchFamily="18" charset="0"/>
                <a:ea typeface="+mj-ea"/>
              </a:rPr>
              <a:t> </a:t>
            </a:r>
            <a:r>
              <a:rPr kumimoji="0" lang="de-DE" sz="2667" b="0" i="1" u="none" strike="noStrike" kern="1200" cap="none" spc="0" normalizeH="0" baseline="0" noProof="0" dirty="0" err="1">
                <a:ln>
                  <a:noFill/>
                </a:ln>
                <a:solidFill>
                  <a:prstClr val="white"/>
                </a:solidFill>
                <a:effectLst/>
                <a:uLnTx/>
                <a:uFillTx/>
                <a:latin typeface="Georgia" panose="02040502050405020303" pitchFamily="18" charset="0"/>
                <a:ea typeface="+mj-ea"/>
              </a:rPr>
              <a:t>projects</a:t>
            </a:r>
            <a:endParaRPr kumimoji="0" lang="de-DE" sz="5333" b="0" i="1" u="none" strike="noStrike" kern="1200" cap="none" spc="0" normalizeH="0" baseline="0" noProof="0" dirty="0">
              <a:ln>
                <a:noFill/>
              </a:ln>
              <a:solidFill>
                <a:prstClr val="white"/>
              </a:solidFill>
              <a:effectLst/>
              <a:uLnTx/>
              <a:uFillTx/>
              <a:latin typeface="Georgia" panose="02040502050405020303" pitchFamily="18" charset="0"/>
              <a:ea typeface="+mj-ea"/>
            </a:endParaRPr>
          </a:p>
        </p:txBody>
      </p:sp>
      <p:sp>
        <p:nvSpPr>
          <p:cNvPr id="8" name="Titel 45"/>
          <p:cNvSpPr txBox="1">
            <a:spLocks/>
          </p:cNvSpPr>
          <p:nvPr/>
        </p:nvSpPr>
        <p:spPr>
          <a:xfrm>
            <a:off x="369209" y="5240229"/>
            <a:ext cx="3429763" cy="1281603"/>
          </a:xfrm>
          <a:prstGeom prst="rect">
            <a:avLst/>
          </a:prstGeom>
        </p:spPr>
        <p:txBody>
          <a:bodyPr/>
          <a:lstStyle>
            <a:lvl1pPr algn="l" defTabSz="457200" rtl="0" eaLnBrk="1" latinLnBrk="0" hangingPunct="1">
              <a:spcBef>
                <a:spcPct val="0"/>
              </a:spcBef>
              <a:buNone/>
              <a:defRPr sz="1800" b="1" kern="1200" cap="all">
                <a:solidFill>
                  <a:schemeClr val="tx1"/>
                </a:solidFill>
                <a:latin typeface="Verdana"/>
                <a:ea typeface="+mj-ea"/>
                <a:cs typeface="Verdana"/>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4800" b="0" i="1" u="none" strike="noStrike" kern="1200" cap="none" spc="0" normalizeH="0" baseline="0" noProof="0" dirty="0">
                <a:ln>
                  <a:noFill/>
                </a:ln>
                <a:solidFill>
                  <a:srgbClr val="FFED00"/>
                </a:solidFill>
                <a:effectLst/>
                <a:uLnTx/>
                <a:uFillTx/>
                <a:latin typeface="Georgia" panose="02040502050405020303" pitchFamily="18" charset="0"/>
                <a:ea typeface="+mj-ea"/>
              </a:rPr>
              <a:t>20</a:t>
            </a:r>
            <a:r>
              <a:rPr kumimoji="0" lang="de-DE" sz="2667" b="0" i="1" u="none" strike="noStrike" kern="1200" cap="none" spc="0" normalizeH="0" baseline="0" noProof="0" dirty="0">
                <a:ln>
                  <a:noFill/>
                </a:ln>
                <a:solidFill>
                  <a:srgbClr val="FFED00"/>
                </a:solidFill>
                <a:effectLst/>
                <a:uLnTx/>
                <a:uFillTx/>
                <a:latin typeface="Georgia" panose="02040502050405020303" pitchFamily="18" charset="0"/>
                <a:ea typeface="+mj-ea"/>
              </a:rPr>
              <a:t> </a:t>
            </a:r>
            <a:r>
              <a:rPr kumimoji="0" lang="de-DE" sz="2667" b="0" i="1" u="none" strike="noStrike" kern="1200" cap="none" spc="0" normalizeH="0" baseline="0" noProof="0" dirty="0">
                <a:ln>
                  <a:noFill/>
                </a:ln>
                <a:solidFill>
                  <a:prstClr val="white"/>
                </a:solidFill>
                <a:effectLst/>
                <a:uLnTx/>
                <a:uFillTx/>
                <a:latin typeface="Georgia" panose="02040502050405020303" pitchFamily="18" charset="0"/>
                <a:ea typeface="+mj-ea"/>
              </a:rPr>
              <a:t>countries</a:t>
            </a:r>
            <a:endParaRPr kumimoji="0" lang="de-DE" sz="5333" b="0" i="1" u="none" strike="noStrike" kern="1200" cap="none" spc="0" normalizeH="0" baseline="0" noProof="0" dirty="0">
              <a:ln>
                <a:noFill/>
              </a:ln>
              <a:solidFill>
                <a:prstClr val="white"/>
              </a:solidFill>
              <a:effectLst/>
              <a:uLnTx/>
              <a:uFillTx/>
              <a:latin typeface="Georgia" panose="02040502050405020303" pitchFamily="18" charset="0"/>
              <a:ea typeface="+mj-ea"/>
            </a:endParaRPr>
          </a:p>
        </p:txBody>
      </p:sp>
      <p:grpSp>
        <p:nvGrpSpPr>
          <p:cNvPr id="13" name="Gruppieren 12"/>
          <p:cNvGrpSpPr/>
          <p:nvPr/>
        </p:nvGrpSpPr>
        <p:grpSpPr>
          <a:xfrm>
            <a:off x="4203230" y="400321"/>
            <a:ext cx="7459879" cy="4748483"/>
            <a:chOff x="3131302" y="401150"/>
            <a:chExt cx="5594909" cy="3561362"/>
          </a:xfrm>
        </p:grpSpPr>
        <p:sp>
          <p:nvSpPr>
            <p:cNvPr id="9" name="Rechteck 8"/>
            <p:cNvSpPr/>
            <p:nvPr/>
          </p:nvSpPr>
          <p:spPr>
            <a:xfrm>
              <a:off x="3144463" y="401150"/>
              <a:ext cx="5581748" cy="3561362"/>
            </a:xfrm>
            <a:prstGeom prst="rect">
              <a:avLst/>
            </a:prstGeom>
            <a:solidFill>
              <a:schemeClr val="bg1">
                <a:alpha val="81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pic>
          <p:nvPicPr>
            <p:cNvPr id="110" name="Grafik 10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886511" y="3511253"/>
              <a:ext cx="435691" cy="318145"/>
            </a:xfrm>
            <a:prstGeom prst="rect">
              <a:avLst/>
            </a:prstGeom>
          </p:spPr>
        </p:pic>
        <p:pic>
          <p:nvPicPr>
            <p:cNvPr id="111" name="Grafik 110"/>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3131302" y="1402630"/>
              <a:ext cx="726435" cy="403690"/>
            </a:xfrm>
            <a:prstGeom prst="rect">
              <a:avLst/>
            </a:prstGeom>
          </p:spPr>
        </p:pic>
        <p:pic>
          <p:nvPicPr>
            <p:cNvPr id="112" name="Grafik 111" descr="http://forge.fiware.org/plugins/mediawiki/wiki/fiware/images/thumb/f/f1/VTT-Logo.png/800px-VTT-Logo.png"/>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04952" y="3560996"/>
              <a:ext cx="372181" cy="147973"/>
            </a:xfrm>
            <a:prstGeom prst="rect">
              <a:avLst/>
            </a:prstGeom>
            <a:noFill/>
            <a:ln>
              <a:noFill/>
            </a:ln>
          </p:spPr>
        </p:pic>
        <p:pic>
          <p:nvPicPr>
            <p:cNvPr id="113" name="Grafik 112" descr="http://cdn.pressebox.de/f/79b35a420284556a/logos/169932/188_76.gif"/>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414424" y="2106556"/>
              <a:ext cx="366859" cy="164311"/>
            </a:xfrm>
            <a:prstGeom prst="rect">
              <a:avLst/>
            </a:prstGeom>
            <a:noFill/>
            <a:ln>
              <a:noFill/>
            </a:ln>
          </p:spPr>
        </p:pic>
        <p:pic>
          <p:nvPicPr>
            <p:cNvPr id="114" name="Picture 8" descr="https://upload.wikimedia.org/wikipedia/commons/thumb/7/74/Boehringer_Ingelheim_Logo.svg/2000px-Boehringer_Ingelheim_Logo.svg.png"/>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4193783" y="919975"/>
              <a:ext cx="488397" cy="180745"/>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4" descr="http://static1.squarespace.com/static/55cddf37e4b027bb9c883e26/t/5662d8e1e4b00c1d30aab165/1466775464931/?format=1000w"/>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3935419" y="1240341"/>
              <a:ext cx="455171" cy="13526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26" descr="Datei:Komsa logo.svg"/>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7383521" y="2115106"/>
              <a:ext cx="466770" cy="90461"/>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32" descr="http://logok.org/wp-content/uploads/2014/07/Pwc-logo.png"/>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5628915" y="2503444"/>
              <a:ext cx="599982" cy="50457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47" descr="http://vignette3.wikia.nocookie.net/logopedia/images/a/ac/Thyssenkrupp-Logo-2015-logotype-1024x768.png/revision/latest?cb=20160121043113"/>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5940169" y="3148125"/>
              <a:ext cx="355865" cy="305423"/>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2" descr="Datei:TÜV Süd logo.svg"/>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7677683" y="3214520"/>
              <a:ext cx="213020" cy="23902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8" descr="http://www.bdva.eu/sites/default/files/Innovalia.png"/>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4459059" y="2112673"/>
              <a:ext cx="556016" cy="160850"/>
            </a:xfrm>
            <a:prstGeom prst="rect">
              <a:avLst/>
            </a:prstGeom>
            <a:noFill/>
            <a:extLst>
              <a:ext uri="{909E8E84-426E-40DD-AFC4-6F175D3DCCD1}">
                <a14:hiddenFill xmlns:a14="http://schemas.microsoft.com/office/drawing/2010/main">
                  <a:solidFill>
                    <a:srgbClr val="FFFFFF"/>
                  </a:solidFill>
                </a14:hiddenFill>
              </a:ext>
            </a:extLst>
          </p:spPr>
        </p:pic>
        <p:pic>
          <p:nvPicPr>
            <p:cNvPr id="121" name="Grafik 120"/>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5352130" y="1269787"/>
              <a:ext cx="566513" cy="140483"/>
            </a:xfrm>
            <a:prstGeom prst="rect">
              <a:avLst/>
            </a:prstGeom>
          </p:spPr>
        </p:pic>
        <p:pic>
          <p:nvPicPr>
            <p:cNvPr id="122" name="Grafik 121"/>
            <p:cNvPicPr>
              <a:picLocks noChangeAspect="1"/>
            </p:cNvPicPr>
            <p:nvPr/>
          </p:nvPicPr>
          <p:blipFill>
            <a:blip r:embed="rId16" cstate="email">
              <a:extLst>
                <a:ext uri="{28A0092B-C50C-407E-A947-70E740481C1C}">
                  <a14:useLocalDpi xmlns:a14="http://schemas.microsoft.com/office/drawing/2010/main" val="0"/>
                </a:ext>
              </a:extLst>
            </a:blip>
            <a:stretch>
              <a:fillRect/>
            </a:stretch>
          </p:blipFill>
          <p:spPr>
            <a:xfrm>
              <a:off x="6312866" y="2377255"/>
              <a:ext cx="725748" cy="87013"/>
            </a:xfrm>
            <a:prstGeom prst="rect">
              <a:avLst/>
            </a:prstGeom>
          </p:spPr>
        </p:pic>
        <p:pic>
          <p:nvPicPr>
            <p:cNvPr id="123" name="Grafik 122"/>
            <p:cNvPicPr>
              <a:picLocks noChangeAspect="1"/>
            </p:cNvPicPr>
            <p:nvPr/>
          </p:nvPicPr>
          <p:blipFill>
            <a:blip r:embed="rId17" cstate="email">
              <a:extLst>
                <a:ext uri="{28A0092B-C50C-407E-A947-70E740481C1C}">
                  <a14:useLocalDpi xmlns:a14="http://schemas.microsoft.com/office/drawing/2010/main" val="0"/>
                </a:ext>
              </a:extLst>
            </a:blip>
            <a:stretch>
              <a:fillRect/>
            </a:stretch>
          </p:blipFill>
          <p:spPr>
            <a:xfrm>
              <a:off x="4742598" y="1768186"/>
              <a:ext cx="223175" cy="246757"/>
            </a:xfrm>
            <a:prstGeom prst="rect">
              <a:avLst/>
            </a:prstGeom>
          </p:spPr>
        </p:pic>
        <p:pic>
          <p:nvPicPr>
            <p:cNvPr id="124" name="Picture 4" descr="Logo"/>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4830109" y="3231469"/>
              <a:ext cx="293046" cy="160244"/>
            </a:xfrm>
            <a:prstGeom prst="rect">
              <a:avLst/>
            </a:prstGeom>
            <a:noFill/>
            <a:extLst>
              <a:ext uri="{909E8E84-426E-40DD-AFC4-6F175D3DCCD1}">
                <a14:hiddenFill xmlns:a14="http://schemas.microsoft.com/office/drawing/2010/main">
                  <a:solidFill>
                    <a:srgbClr val="FFFFFF"/>
                  </a:solidFill>
                </a14:hiddenFill>
              </a:ext>
            </a:extLst>
          </p:spPr>
        </p:pic>
        <p:pic>
          <p:nvPicPr>
            <p:cNvPr id="126" name="Grafik 125"/>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4355243" y="3577602"/>
              <a:ext cx="483411" cy="214911"/>
            </a:xfrm>
            <a:prstGeom prst="rect">
              <a:avLst/>
            </a:prstGeom>
          </p:spPr>
        </p:pic>
        <p:pic>
          <p:nvPicPr>
            <p:cNvPr id="127" name="Grafik 126"/>
            <p:cNvPicPr>
              <a:picLocks noChangeAspect="1"/>
            </p:cNvPicPr>
            <p:nvPr/>
          </p:nvPicPr>
          <p:blipFill>
            <a:blip r:embed="rId20" cstate="email">
              <a:extLst>
                <a:ext uri="{28A0092B-C50C-407E-A947-70E740481C1C}">
                  <a14:useLocalDpi xmlns:a14="http://schemas.microsoft.com/office/drawing/2010/main" val="0"/>
                </a:ext>
              </a:extLst>
            </a:blip>
            <a:stretch>
              <a:fillRect/>
            </a:stretch>
          </p:blipFill>
          <p:spPr>
            <a:xfrm>
              <a:off x="6946677" y="508875"/>
              <a:ext cx="274546" cy="305138"/>
            </a:xfrm>
            <a:prstGeom prst="rect">
              <a:avLst/>
            </a:prstGeom>
          </p:spPr>
        </p:pic>
        <p:pic>
          <p:nvPicPr>
            <p:cNvPr id="128" name="Grafik 127"/>
            <p:cNvPicPr>
              <a:picLocks noChangeAspect="1"/>
            </p:cNvPicPr>
            <p:nvPr/>
          </p:nvPicPr>
          <p:blipFill rotWithShape="1">
            <a:blip r:embed="rId21"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377024" y="522152"/>
              <a:ext cx="397133" cy="307587"/>
            </a:xfrm>
            <a:prstGeom prst="rect">
              <a:avLst/>
            </a:prstGeom>
          </p:spPr>
        </p:pic>
        <p:pic>
          <p:nvPicPr>
            <p:cNvPr id="129" name="Grafik 128"/>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a:off x="4218291" y="3169703"/>
              <a:ext cx="326428" cy="321079"/>
            </a:xfrm>
            <a:prstGeom prst="rect">
              <a:avLst/>
            </a:prstGeom>
          </p:spPr>
        </p:pic>
        <p:pic>
          <p:nvPicPr>
            <p:cNvPr id="130" name="Grafik 129"/>
            <p:cNvPicPr>
              <a:picLocks noChangeAspect="1"/>
            </p:cNvPicPr>
            <p:nvPr/>
          </p:nvPicPr>
          <p:blipFill>
            <a:blip r:embed="rId23" cstate="hqprint">
              <a:extLst>
                <a:ext uri="{28A0092B-C50C-407E-A947-70E740481C1C}">
                  <a14:useLocalDpi xmlns:a14="http://schemas.microsoft.com/office/drawing/2010/main" val="0"/>
                </a:ext>
              </a:extLst>
            </a:blip>
            <a:stretch>
              <a:fillRect/>
            </a:stretch>
          </p:blipFill>
          <p:spPr>
            <a:xfrm>
              <a:off x="6806719" y="2683903"/>
              <a:ext cx="381206" cy="145818"/>
            </a:xfrm>
            <a:prstGeom prst="rect">
              <a:avLst/>
            </a:prstGeom>
          </p:spPr>
        </p:pic>
        <p:pic>
          <p:nvPicPr>
            <p:cNvPr id="131" name="Grafik 130"/>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a:off x="5413666" y="2957198"/>
              <a:ext cx="427053" cy="193811"/>
            </a:xfrm>
            <a:prstGeom prst="rect">
              <a:avLst/>
            </a:prstGeom>
          </p:spPr>
        </p:pic>
        <p:pic>
          <p:nvPicPr>
            <p:cNvPr id="132" name="Grafik 131"/>
            <p:cNvPicPr>
              <a:picLocks noChangeAspect="1"/>
            </p:cNvPicPr>
            <p:nvPr/>
          </p:nvPicPr>
          <p:blipFill>
            <a:blip r:embed="rId25"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396601" y="2933241"/>
              <a:ext cx="558301" cy="248204"/>
            </a:xfrm>
            <a:prstGeom prst="rect">
              <a:avLst/>
            </a:prstGeom>
          </p:spPr>
        </p:pic>
        <p:pic>
          <p:nvPicPr>
            <p:cNvPr id="133" name="Grafik 132"/>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a:off x="3935616" y="3035033"/>
              <a:ext cx="669779" cy="82583"/>
            </a:xfrm>
            <a:prstGeom prst="rect">
              <a:avLst/>
            </a:prstGeom>
          </p:spPr>
        </p:pic>
        <p:pic>
          <p:nvPicPr>
            <p:cNvPr id="134" name="Grafik 133"/>
            <p:cNvPicPr>
              <a:picLocks noChangeAspect="1"/>
            </p:cNvPicPr>
            <p:nvPr/>
          </p:nvPicPr>
          <p:blipFill>
            <a:blip r:embed="rId27" cstate="email">
              <a:extLst>
                <a:ext uri="{28A0092B-C50C-407E-A947-70E740481C1C}">
                  <a14:useLocalDpi xmlns:a14="http://schemas.microsoft.com/office/drawing/2010/main" val="0"/>
                </a:ext>
              </a:extLst>
            </a:blip>
            <a:stretch>
              <a:fillRect/>
            </a:stretch>
          </p:blipFill>
          <p:spPr>
            <a:xfrm>
              <a:off x="5251503" y="3248562"/>
              <a:ext cx="516397" cy="186560"/>
            </a:xfrm>
            <a:prstGeom prst="rect">
              <a:avLst/>
            </a:prstGeom>
          </p:spPr>
        </p:pic>
        <p:pic>
          <p:nvPicPr>
            <p:cNvPr id="135" name="Grafik 134"/>
            <p:cNvPicPr>
              <a:picLocks noChangeAspect="1"/>
            </p:cNvPicPr>
            <p:nvPr/>
          </p:nvPicPr>
          <p:blipFill rotWithShape="1">
            <a:blip r:embed="rId28" cstate="hqprint">
              <a:clrChange>
                <a:clrFrom>
                  <a:srgbClr val="FFFFFF"/>
                </a:clrFrom>
                <a:clrTo>
                  <a:srgbClr val="FFFFFF">
                    <a:alpha val="0"/>
                  </a:srgbClr>
                </a:clrTo>
              </a:clrChange>
              <a:extLst>
                <a:ext uri="{28A0092B-C50C-407E-A947-70E740481C1C}">
                  <a14:useLocalDpi xmlns:a14="http://schemas.microsoft.com/office/drawing/2010/main" val="0"/>
                </a:ext>
              </a:extLst>
            </a:blip>
            <a:srcRect l="54097" t="24071" r="2014" b="20044"/>
            <a:stretch/>
          </p:blipFill>
          <p:spPr>
            <a:xfrm>
              <a:off x="4770271" y="2957198"/>
              <a:ext cx="503824" cy="196696"/>
            </a:xfrm>
            <a:prstGeom prst="rect">
              <a:avLst/>
            </a:prstGeom>
          </p:spPr>
        </p:pic>
        <p:pic>
          <p:nvPicPr>
            <p:cNvPr id="136" name="Grafik 135"/>
            <p:cNvPicPr>
              <a:picLocks noChangeAspect="1"/>
            </p:cNvPicPr>
            <p:nvPr/>
          </p:nvPicPr>
          <p:blipFill>
            <a:blip r:embed="rId29"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35337" y="2968331"/>
              <a:ext cx="454651" cy="171544"/>
            </a:xfrm>
            <a:prstGeom prst="rect">
              <a:avLst/>
            </a:prstGeom>
          </p:spPr>
        </p:pic>
        <p:pic>
          <p:nvPicPr>
            <p:cNvPr id="137" name="Grafik 136"/>
            <p:cNvPicPr>
              <a:picLocks noChangeAspect="1"/>
            </p:cNvPicPr>
            <p:nvPr/>
          </p:nvPicPr>
          <p:blipFill>
            <a:blip r:embed="rId30" cstate="email">
              <a:extLst>
                <a:ext uri="{28A0092B-C50C-407E-A947-70E740481C1C}">
                  <a14:useLocalDpi xmlns:a14="http://schemas.microsoft.com/office/drawing/2010/main" val="0"/>
                </a:ext>
              </a:extLst>
            </a:blip>
            <a:stretch>
              <a:fillRect/>
            </a:stretch>
          </p:blipFill>
          <p:spPr>
            <a:xfrm>
              <a:off x="3857990" y="3603011"/>
              <a:ext cx="396726" cy="153723"/>
            </a:xfrm>
            <a:prstGeom prst="rect">
              <a:avLst/>
            </a:prstGeom>
          </p:spPr>
        </p:pic>
        <p:pic>
          <p:nvPicPr>
            <p:cNvPr id="138" name="Grafik 137"/>
            <p:cNvPicPr>
              <a:picLocks noChangeAspect="1"/>
            </p:cNvPicPr>
            <p:nvPr/>
          </p:nvPicPr>
          <p:blipFill rotWithShape="1">
            <a:blip r:embed="rId31"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554145" y="2943000"/>
              <a:ext cx="599215" cy="210894"/>
            </a:xfrm>
            <a:prstGeom prst="rect">
              <a:avLst/>
            </a:prstGeom>
          </p:spPr>
        </p:pic>
        <p:pic>
          <p:nvPicPr>
            <p:cNvPr id="139" name="Grafik 138"/>
            <p:cNvPicPr>
              <a:picLocks noChangeAspect="1"/>
            </p:cNvPicPr>
            <p:nvPr/>
          </p:nvPicPr>
          <p:blipFill>
            <a:blip r:embed="rId32" cstate="hqprint">
              <a:extLst>
                <a:ext uri="{28A0092B-C50C-407E-A947-70E740481C1C}">
                  <a14:useLocalDpi xmlns:a14="http://schemas.microsoft.com/office/drawing/2010/main" val="0"/>
                </a:ext>
              </a:extLst>
            </a:blip>
            <a:stretch>
              <a:fillRect/>
            </a:stretch>
          </p:blipFill>
          <p:spPr>
            <a:xfrm>
              <a:off x="3380637" y="570838"/>
              <a:ext cx="298601" cy="276616"/>
            </a:xfrm>
            <a:prstGeom prst="rect">
              <a:avLst/>
            </a:prstGeom>
          </p:spPr>
        </p:pic>
        <p:pic>
          <p:nvPicPr>
            <p:cNvPr id="140" name="Grafik 139"/>
            <p:cNvPicPr>
              <a:picLocks noChangeAspect="1"/>
            </p:cNvPicPr>
            <p:nvPr/>
          </p:nvPicPr>
          <p:blipFill>
            <a:blip r:embed="rId33"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370059" y="3594852"/>
              <a:ext cx="637805" cy="180411"/>
            </a:xfrm>
            <a:prstGeom prst="rect">
              <a:avLst/>
            </a:prstGeom>
          </p:spPr>
        </p:pic>
        <p:pic>
          <p:nvPicPr>
            <p:cNvPr id="141" name="Grafik 140"/>
            <p:cNvPicPr>
              <a:picLocks noChangeAspect="1"/>
            </p:cNvPicPr>
            <p:nvPr/>
          </p:nvPicPr>
          <p:blipFill>
            <a:blip r:embed="rId34" cstate="email">
              <a:extLst>
                <a:ext uri="{28A0092B-C50C-407E-A947-70E740481C1C}">
                  <a14:useLocalDpi xmlns:a14="http://schemas.microsoft.com/office/drawing/2010/main" val="0"/>
                </a:ext>
              </a:extLst>
            </a:blip>
            <a:stretch>
              <a:fillRect/>
            </a:stretch>
          </p:blipFill>
          <p:spPr>
            <a:xfrm>
              <a:off x="7227634" y="2830407"/>
              <a:ext cx="425044" cy="320602"/>
            </a:xfrm>
            <a:prstGeom prst="rect">
              <a:avLst/>
            </a:prstGeom>
          </p:spPr>
        </p:pic>
        <p:pic>
          <p:nvPicPr>
            <p:cNvPr id="142" name="Grafik 141"/>
            <p:cNvPicPr>
              <a:picLocks noChangeAspect="1"/>
            </p:cNvPicPr>
            <p:nvPr/>
          </p:nvPicPr>
          <p:blipFill>
            <a:blip r:embed="rId35"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545169" y="1918405"/>
              <a:ext cx="686875" cy="542022"/>
            </a:xfrm>
            <a:prstGeom prst="rect">
              <a:avLst/>
            </a:prstGeom>
          </p:spPr>
        </p:pic>
        <p:pic>
          <p:nvPicPr>
            <p:cNvPr id="143" name="Grafik 142"/>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a:xfrm>
              <a:off x="6380376" y="3261889"/>
              <a:ext cx="658237" cy="213324"/>
            </a:xfrm>
            <a:prstGeom prst="rect">
              <a:avLst/>
            </a:prstGeom>
          </p:spPr>
        </p:pic>
        <p:pic>
          <p:nvPicPr>
            <p:cNvPr id="144" name="Grafik 143"/>
            <p:cNvPicPr>
              <a:picLocks noChangeAspect="1"/>
            </p:cNvPicPr>
            <p:nvPr/>
          </p:nvPicPr>
          <p:blipFill>
            <a:blip r:embed="rId37"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69888" y="3226318"/>
              <a:ext cx="511868" cy="248895"/>
            </a:xfrm>
            <a:prstGeom prst="rect">
              <a:avLst/>
            </a:prstGeom>
          </p:spPr>
        </p:pic>
        <p:pic>
          <p:nvPicPr>
            <p:cNvPr id="145" name="Grafik 144"/>
            <p:cNvPicPr>
              <a:picLocks noChangeAspect="1"/>
            </p:cNvPicPr>
            <p:nvPr/>
          </p:nvPicPr>
          <p:blipFill>
            <a:blip r:embed="rId38" cstate="email">
              <a:extLst>
                <a:ext uri="{28A0092B-C50C-407E-A947-70E740481C1C}">
                  <a14:useLocalDpi xmlns:a14="http://schemas.microsoft.com/office/drawing/2010/main" val="0"/>
                </a:ext>
              </a:extLst>
            </a:blip>
            <a:stretch>
              <a:fillRect/>
            </a:stretch>
          </p:blipFill>
          <p:spPr>
            <a:xfrm>
              <a:off x="7991345" y="3273011"/>
              <a:ext cx="482998" cy="156751"/>
            </a:xfrm>
            <a:prstGeom prst="rect">
              <a:avLst/>
            </a:prstGeom>
          </p:spPr>
        </p:pic>
        <p:pic>
          <p:nvPicPr>
            <p:cNvPr id="146" name="Grafik 145"/>
            <p:cNvPicPr>
              <a:picLocks noChangeAspect="1"/>
            </p:cNvPicPr>
            <p:nvPr/>
          </p:nvPicPr>
          <p:blipFill>
            <a:blip r:embed="rId39"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84193" y="2943104"/>
              <a:ext cx="515600" cy="118155"/>
            </a:xfrm>
            <a:prstGeom prst="rect">
              <a:avLst/>
            </a:prstGeom>
          </p:spPr>
        </p:pic>
        <p:pic>
          <p:nvPicPr>
            <p:cNvPr id="147" name="Grafik 146"/>
            <p:cNvPicPr>
              <a:picLocks noChangeAspect="1"/>
            </p:cNvPicPr>
            <p:nvPr/>
          </p:nvPicPr>
          <p:blipFill>
            <a:blip r:embed="rId40" cstate="email">
              <a:extLst>
                <a:ext uri="{28A0092B-C50C-407E-A947-70E740481C1C}">
                  <a14:useLocalDpi xmlns:a14="http://schemas.microsoft.com/office/drawing/2010/main" val="0"/>
                </a:ext>
              </a:extLst>
            </a:blip>
            <a:stretch>
              <a:fillRect/>
            </a:stretch>
          </p:blipFill>
          <p:spPr>
            <a:xfrm>
              <a:off x="7229013" y="3535756"/>
              <a:ext cx="403599" cy="209960"/>
            </a:xfrm>
            <a:prstGeom prst="rect">
              <a:avLst/>
            </a:prstGeom>
          </p:spPr>
        </p:pic>
        <p:pic>
          <p:nvPicPr>
            <p:cNvPr id="148" name="Grafik 147"/>
            <p:cNvPicPr>
              <a:picLocks noChangeAspect="1"/>
            </p:cNvPicPr>
            <p:nvPr/>
          </p:nvPicPr>
          <p:blipFill>
            <a:blip r:embed="rId41" cstate="email">
              <a:extLst>
                <a:ext uri="{28A0092B-C50C-407E-A947-70E740481C1C}">
                  <a14:useLocalDpi xmlns:a14="http://schemas.microsoft.com/office/drawing/2010/main" val="0"/>
                </a:ext>
              </a:extLst>
            </a:blip>
            <a:stretch>
              <a:fillRect/>
            </a:stretch>
          </p:blipFill>
          <p:spPr>
            <a:xfrm>
              <a:off x="6592159" y="3618169"/>
              <a:ext cx="528171" cy="104268"/>
            </a:xfrm>
            <a:prstGeom prst="rect">
              <a:avLst/>
            </a:prstGeom>
          </p:spPr>
        </p:pic>
        <p:pic>
          <p:nvPicPr>
            <p:cNvPr id="149" name="Grafik 148"/>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a:xfrm>
              <a:off x="4468184" y="579775"/>
              <a:ext cx="570979" cy="210799"/>
            </a:xfrm>
            <a:prstGeom prst="rect">
              <a:avLst/>
            </a:prstGeom>
          </p:spPr>
        </p:pic>
        <p:pic>
          <p:nvPicPr>
            <p:cNvPr id="150" name="Grafik 149"/>
            <p:cNvPicPr>
              <a:picLocks noChangeAspect="1"/>
            </p:cNvPicPr>
            <p:nvPr/>
          </p:nvPicPr>
          <p:blipFill>
            <a:blip r:embed="rId43" cstate="email">
              <a:extLst>
                <a:ext uri="{28A0092B-C50C-407E-A947-70E740481C1C}">
                  <a14:useLocalDpi xmlns:a14="http://schemas.microsoft.com/office/drawing/2010/main" val="0"/>
                </a:ext>
              </a:extLst>
            </a:blip>
            <a:stretch>
              <a:fillRect/>
            </a:stretch>
          </p:blipFill>
          <p:spPr>
            <a:xfrm>
              <a:off x="3379504" y="3281818"/>
              <a:ext cx="525725" cy="126157"/>
            </a:xfrm>
            <a:prstGeom prst="rect">
              <a:avLst/>
            </a:prstGeom>
          </p:spPr>
        </p:pic>
        <p:pic>
          <p:nvPicPr>
            <p:cNvPr id="151" name="Bild 11" descr="logo_logenios_207x40_2x">
              <a:hlinkClick r:id="rId44" tooltip="&quot;Logenios logistics software ⋆ Intelligent logistics network&quot;"/>
            </p:cNvPr>
            <p:cNvPicPr/>
            <p:nvPr/>
          </p:nvPicPr>
          <p:blipFill>
            <a:blip r:embed="rId45" cstate="email">
              <a:extLst>
                <a:ext uri="{28A0092B-C50C-407E-A947-70E740481C1C}">
                  <a14:useLocalDpi xmlns:a14="http://schemas.microsoft.com/office/drawing/2010/main" val="0"/>
                </a:ext>
              </a:extLst>
            </a:blip>
            <a:srcRect/>
            <a:stretch>
              <a:fillRect/>
            </a:stretch>
          </p:blipFill>
          <p:spPr bwMode="auto">
            <a:xfrm>
              <a:off x="5242545" y="2387783"/>
              <a:ext cx="442154" cy="123676"/>
            </a:xfrm>
            <a:prstGeom prst="rect">
              <a:avLst/>
            </a:prstGeom>
            <a:noFill/>
            <a:ln>
              <a:noFill/>
            </a:ln>
          </p:spPr>
        </p:pic>
        <p:pic>
          <p:nvPicPr>
            <p:cNvPr id="152" name="Grafik 151"/>
            <p:cNvPicPr/>
            <p:nvPr/>
          </p:nvPicPr>
          <p:blipFill>
            <a:blip r:embed="rId46"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02071" y="2317433"/>
              <a:ext cx="462430" cy="181189"/>
            </a:xfrm>
            <a:prstGeom prst="rect">
              <a:avLst/>
            </a:prstGeom>
          </p:spPr>
        </p:pic>
        <p:pic>
          <p:nvPicPr>
            <p:cNvPr id="153" name="Grafik 152"/>
            <p:cNvPicPr>
              <a:picLocks noChangeAspect="1"/>
            </p:cNvPicPr>
            <p:nvPr/>
          </p:nvPicPr>
          <p:blipFill>
            <a:blip r:embed="rId47" cstate="email">
              <a:extLst>
                <a:ext uri="{28A0092B-C50C-407E-A947-70E740481C1C}">
                  <a14:useLocalDpi xmlns:a14="http://schemas.microsoft.com/office/drawing/2010/main" val="0"/>
                </a:ext>
              </a:extLst>
            </a:blip>
            <a:stretch>
              <a:fillRect/>
            </a:stretch>
          </p:blipFill>
          <p:spPr>
            <a:xfrm>
              <a:off x="6001588" y="1257791"/>
              <a:ext cx="589836" cy="128814"/>
            </a:xfrm>
            <a:prstGeom prst="rect">
              <a:avLst/>
            </a:prstGeom>
          </p:spPr>
        </p:pic>
        <p:pic>
          <p:nvPicPr>
            <p:cNvPr id="154" name="Grafik 153"/>
            <p:cNvPicPr>
              <a:picLocks noChangeAspect="1"/>
            </p:cNvPicPr>
            <p:nvPr/>
          </p:nvPicPr>
          <p:blipFill>
            <a:blip r:embed="rId48" cstate="email">
              <a:extLst>
                <a:ext uri="{28A0092B-C50C-407E-A947-70E740481C1C}">
                  <a14:useLocalDpi xmlns:a14="http://schemas.microsoft.com/office/drawing/2010/main" val="0"/>
                </a:ext>
              </a:extLst>
            </a:blip>
            <a:stretch>
              <a:fillRect/>
            </a:stretch>
          </p:blipFill>
          <p:spPr>
            <a:xfrm>
              <a:off x="3760835" y="1530539"/>
              <a:ext cx="577974" cy="179760"/>
            </a:xfrm>
            <a:prstGeom prst="rect">
              <a:avLst/>
            </a:prstGeom>
          </p:spPr>
        </p:pic>
        <p:pic>
          <p:nvPicPr>
            <p:cNvPr id="155" name="Grafik 154"/>
            <p:cNvPicPr>
              <a:picLocks noChangeAspect="1"/>
            </p:cNvPicPr>
            <p:nvPr/>
          </p:nvPicPr>
          <p:blipFill>
            <a:blip r:embed="rId49" cstate="email">
              <a:extLst>
                <a:ext uri="{28A0092B-C50C-407E-A947-70E740481C1C}">
                  <a14:useLocalDpi xmlns:a14="http://schemas.microsoft.com/office/drawing/2010/main" val="0"/>
                </a:ext>
              </a:extLst>
            </a:blip>
            <a:stretch>
              <a:fillRect/>
            </a:stretch>
          </p:blipFill>
          <p:spPr>
            <a:xfrm>
              <a:off x="5798525" y="2380526"/>
              <a:ext cx="377028" cy="140932"/>
            </a:xfrm>
            <a:prstGeom prst="rect">
              <a:avLst/>
            </a:prstGeom>
          </p:spPr>
        </p:pic>
        <p:pic>
          <p:nvPicPr>
            <p:cNvPr id="156" name="Grafik 155"/>
            <p:cNvPicPr>
              <a:picLocks noChangeAspect="1"/>
            </p:cNvPicPr>
            <p:nvPr/>
          </p:nvPicPr>
          <p:blipFill>
            <a:blip r:embed="rId50" cstate="email">
              <a:extLst>
                <a:ext uri="{28A0092B-C50C-407E-A947-70E740481C1C}">
                  <a14:useLocalDpi xmlns:a14="http://schemas.microsoft.com/office/drawing/2010/main" val="0"/>
                </a:ext>
              </a:extLst>
            </a:blip>
            <a:stretch>
              <a:fillRect/>
            </a:stretch>
          </p:blipFill>
          <p:spPr>
            <a:xfrm>
              <a:off x="7465125" y="930791"/>
              <a:ext cx="1054899" cy="200053"/>
            </a:xfrm>
            <a:prstGeom prst="rect">
              <a:avLst/>
            </a:prstGeom>
          </p:spPr>
        </p:pic>
        <p:pic>
          <p:nvPicPr>
            <p:cNvPr id="157" name="Grafik 156"/>
            <p:cNvPicPr>
              <a:picLocks noChangeAspect="1"/>
            </p:cNvPicPr>
            <p:nvPr/>
          </p:nvPicPr>
          <p:blipFill>
            <a:blip r:embed="rId51" cstate="hqprint">
              <a:extLst>
                <a:ext uri="{28A0092B-C50C-407E-A947-70E740481C1C}">
                  <a14:useLocalDpi xmlns:a14="http://schemas.microsoft.com/office/drawing/2010/main" val="0"/>
                </a:ext>
              </a:extLst>
            </a:blip>
            <a:stretch>
              <a:fillRect/>
            </a:stretch>
          </p:blipFill>
          <p:spPr>
            <a:xfrm>
              <a:off x="7554916" y="1813297"/>
              <a:ext cx="400555" cy="177185"/>
            </a:xfrm>
            <a:prstGeom prst="rect">
              <a:avLst/>
            </a:prstGeom>
          </p:spPr>
        </p:pic>
        <p:pic>
          <p:nvPicPr>
            <p:cNvPr id="158" name="Grafik 157"/>
            <p:cNvPicPr>
              <a:picLocks noChangeAspect="1"/>
            </p:cNvPicPr>
            <p:nvPr/>
          </p:nvPicPr>
          <p:blipFill>
            <a:blip r:embed="rId52" cstate="hqprint">
              <a:extLst>
                <a:ext uri="{28A0092B-C50C-407E-A947-70E740481C1C}">
                  <a14:useLocalDpi xmlns:a14="http://schemas.microsoft.com/office/drawing/2010/main" val="0"/>
                </a:ext>
              </a:extLst>
            </a:blip>
            <a:stretch>
              <a:fillRect/>
            </a:stretch>
          </p:blipFill>
          <p:spPr>
            <a:xfrm>
              <a:off x="5605572" y="1857488"/>
              <a:ext cx="382185" cy="122118"/>
            </a:xfrm>
            <a:prstGeom prst="rect">
              <a:avLst/>
            </a:prstGeom>
          </p:spPr>
        </p:pic>
        <p:pic>
          <p:nvPicPr>
            <p:cNvPr id="159" name="Grafik 158"/>
            <p:cNvPicPr>
              <a:picLocks noChangeAspect="1"/>
            </p:cNvPicPr>
            <p:nvPr/>
          </p:nvPicPr>
          <p:blipFill>
            <a:blip r:embed="rId53" cstate="hqprint">
              <a:extLst>
                <a:ext uri="{28A0092B-C50C-407E-A947-70E740481C1C}">
                  <a14:useLocalDpi xmlns:a14="http://schemas.microsoft.com/office/drawing/2010/main" val="0"/>
                </a:ext>
              </a:extLst>
            </a:blip>
            <a:stretch>
              <a:fillRect/>
            </a:stretch>
          </p:blipFill>
          <p:spPr>
            <a:xfrm>
              <a:off x="4949309" y="1140509"/>
              <a:ext cx="341263" cy="302008"/>
            </a:xfrm>
            <a:prstGeom prst="rect">
              <a:avLst/>
            </a:prstGeom>
          </p:spPr>
        </p:pic>
        <p:pic>
          <p:nvPicPr>
            <p:cNvPr id="160" name="Grafik 159"/>
            <p:cNvPicPr>
              <a:picLocks noChangeAspect="1"/>
            </p:cNvPicPr>
            <p:nvPr/>
          </p:nvPicPr>
          <p:blipFill>
            <a:blip r:embed="rId54" cstate="email">
              <a:extLst>
                <a:ext uri="{28A0092B-C50C-407E-A947-70E740481C1C}">
                  <a14:useLocalDpi xmlns:a14="http://schemas.microsoft.com/office/drawing/2010/main" val="0"/>
                </a:ext>
              </a:extLst>
            </a:blip>
            <a:stretch>
              <a:fillRect/>
            </a:stretch>
          </p:blipFill>
          <p:spPr>
            <a:xfrm>
              <a:off x="5237693" y="621903"/>
              <a:ext cx="474470" cy="136366"/>
            </a:xfrm>
            <a:prstGeom prst="rect">
              <a:avLst/>
            </a:prstGeom>
          </p:spPr>
        </p:pic>
        <p:pic>
          <p:nvPicPr>
            <p:cNvPr id="161" name="Grafik 160"/>
            <p:cNvPicPr>
              <a:picLocks noChangeAspect="1"/>
            </p:cNvPicPr>
            <p:nvPr/>
          </p:nvPicPr>
          <p:blipFill>
            <a:blip r:embed="rId55" cstate="email">
              <a:extLst>
                <a:ext uri="{28A0092B-C50C-407E-A947-70E740481C1C}">
                  <a14:useLocalDpi xmlns:a14="http://schemas.microsoft.com/office/drawing/2010/main" val="0"/>
                </a:ext>
              </a:extLst>
            </a:blip>
            <a:stretch>
              <a:fillRect/>
            </a:stretch>
          </p:blipFill>
          <p:spPr>
            <a:xfrm>
              <a:off x="5899048" y="608028"/>
              <a:ext cx="329849" cy="124339"/>
            </a:xfrm>
            <a:prstGeom prst="rect">
              <a:avLst/>
            </a:prstGeom>
          </p:spPr>
        </p:pic>
        <p:pic>
          <p:nvPicPr>
            <p:cNvPr id="162" name="Grafik 161"/>
            <p:cNvPicPr>
              <a:picLocks noChangeAspect="1"/>
            </p:cNvPicPr>
            <p:nvPr/>
          </p:nvPicPr>
          <p:blipFill>
            <a:blip r:embed="rId56" cstate="email">
              <a:extLst>
                <a:ext uri="{28A0092B-C50C-407E-A947-70E740481C1C}">
                  <a14:useLocalDpi xmlns:a14="http://schemas.microsoft.com/office/drawing/2010/main" val="0"/>
                </a:ext>
              </a:extLst>
            </a:blip>
            <a:stretch>
              <a:fillRect/>
            </a:stretch>
          </p:blipFill>
          <p:spPr>
            <a:xfrm>
              <a:off x="7994205" y="1323238"/>
              <a:ext cx="579599" cy="455211"/>
            </a:xfrm>
            <a:prstGeom prst="rect">
              <a:avLst/>
            </a:prstGeom>
          </p:spPr>
        </p:pic>
        <p:pic>
          <p:nvPicPr>
            <p:cNvPr id="163" name="Grafik 162"/>
            <p:cNvPicPr>
              <a:picLocks noChangeAspect="1"/>
            </p:cNvPicPr>
            <p:nvPr/>
          </p:nvPicPr>
          <p:blipFill>
            <a:blip r:embed="rId57"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2691" y="2317433"/>
              <a:ext cx="297568" cy="227748"/>
            </a:xfrm>
            <a:prstGeom prst="rect">
              <a:avLst/>
            </a:prstGeom>
          </p:spPr>
        </p:pic>
        <p:pic>
          <p:nvPicPr>
            <p:cNvPr id="164" name="Grafik 163"/>
            <p:cNvPicPr>
              <a:picLocks noChangeAspect="1"/>
            </p:cNvPicPr>
            <p:nvPr/>
          </p:nvPicPr>
          <p:blipFill>
            <a:blip r:embed="rId58" cstate="email">
              <a:clrChange>
                <a:clrFrom>
                  <a:srgbClr val="FFFFFD"/>
                </a:clrFrom>
                <a:clrTo>
                  <a:srgbClr val="FFFFFD">
                    <a:alpha val="0"/>
                  </a:srgbClr>
                </a:clrTo>
              </a:clrChange>
              <a:extLst>
                <a:ext uri="{28A0092B-C50C-407E-A947-70E740481C1C}">
                  <a14:useLocalDpi xmlns:a14="http://schemas.microsoft.com/office/drawing/2010/main" val="0"/>
                </a:ext>
              </a:extLst>
            </a:blip>
            <a:stretch>
              <a:fillRect/>
            </a:stretch>
          </p:blipFill>
          <p:spPr>
            <a:xfrm>
              <a:off x="6585684" y="1219984"/>
              <a:ext cx="584608" cy="192518"/>
            </a:xfrm>
            <a:prstGeom prst="rect">
              <a:avLst/>
            </a:prstGeom>
          </p:spPr>
        </p:pic>
        <p:pic>
          <p:nvPicPr>
            <p:cNvPr id="165" name="Grafik 164"/>
            <p:cNvPicPr>
              <a:picLocks noChangeAspect="1"/>
            </p:cNvPicPr>
            <p:nvPr/>
          </p:nvPicPr>
          <p:blipFill>
            <a:blip r:embed="rId59" cstate="email">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054299" y="1886059"/>
              <a:ext cx="599467" cy="77843"/>
            </a:xfrm>
            <a:prstGeom prst="rect">
              <a:avLst/>
            </a:prstGeom>
          </p:spPr>
        </p:pic>
        <p:pic>
          <p:nvPicPr>
            <p:cNvPr id="166" name="Grafik 165"/>
            <p:cNvPicPr>
              <a:picLocks noChangeAspect="1"/>
            </p:cNvPicPr>
            <p:nvPr/>
          </p:nvPicPr>
          <p:blipFill>
            <a:blip r:embed="rId60" cstate="email">
              <a:extLst>
                <a:ext uri="{28A0092B-C50C-407E-A947-70E740481C1C}">
                  <a14:useLocalDpi xmlns:a14="http://schemas.microsoft.com/office/drawing/2010/main" val="0"/>
                </a:ext>
              </a:extLst>
            </a:blip>
            <a:stretch>
              <a:fillRect/>
            </a:stretch>
          </p:blipFill>
          <p:spPr>
            <a:xfrm>
              <a:off x="3379504" y="2421253"/>
              <a:ext cx="491152" cy="180413"/>
            </a:xfrm>
            <a:prstGeom prst="rect">
              <a:avLst/>
            </a:prstGeom>
          </p:spPr>
        </p:pic>
        <p:pic>
          <p:nvPicPr>
            <p:cNvPr id="168" name="Grafik 167"/>
            <p:cNvPicPr>
              <a:picLocks noChangeAspect="1"/>
            </p:cNvPicPr>
            <p:nvPr/>
          </p:nvPicPr>
          <p:blipFill>
            <a:blip r:embed="rId61" cstate="hqprint">
              <a:extLst>
                <a:ext uri="{28A0092B-C50C-407E-A947-70E740481C1C}">
                  <a14:useLocalDpi xmlns:a14="http://schemas.microsoft.com/office/drawing/2010/main" val="0"/>
                </a:ext>
              </a:extLst>
            </a:blip>
            <a:stretch>
              <a:fillRect/>
            </a:stretch>
          </p:blipFill>
          <p:spPr>
            <a:xfrm>
              <a:off x="4448967" y="1195290"/>
              <a:ext cx="433774" cy="208068"/>
            </a:xfrm>
            <a:prstGeom prst="rect">
              <a:avLst/>
            </a:prstGeom>
          </p:spPr>
        </p:pic>
        <p:pic>
          <p:nvPicPr>
            <p:cNvPr id="169" name="Grafik 168"/>
            <p:cNvPicPr>
              <a:picLocks noChangeAspect="1"/>
            </p:cNvPicPr>
            <p:nvPr/>
          </p:nvPicPr>
          <p:blipFill>
            <a:blip r:embed="rId62"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01541" y="2052700"/>
              <a:ext cx="403207" cy="223551"/>
            </a:xfrm>
            <a:prstGeom prst="rect">
              <a:avLst/>
            </a:prstGeom>
          </p:spPr>
        </p:pic>
        <p:pic>
          <p:nvPicPr>
            <p:cNvPr id="170" name="Grafik 169"/>
            <p:cNvPicPr>
              <a:picLocks noChangeAspect="1"/>
            </p:cNvPicPr>
            <p:nvPr/>
          </p:nvPicPr>
          <p:blipFill>
            <a:blip r:embed="rId63"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09075" y="2068413"/>
              <a:ext cx="395296" cy="205117"/>
            </a:xfrm>
            <a:prstGeom prst="rect">
              <a:avLst/>
            </a:prstGeom>
          </p:spPr>
        </p:pic>
        <p:pic>
          <p:nvPicPr>
            <p:cNvPr id="171" name="Grafik 170"/>
            <p:cNvPicPr>
              <a:picLocks noChangeAspect="1"/>
            </p:cNvPicPr>
            <p:nvPr/>
          </p:nvPicPr>
          <p:blipFill>
            <a:blip r:embed="rId64" cstate="email">
              <a:extLst>
                <a:ext uri="{28A0092B-C50C-407E-A947-70E740481C1C}">
                  <a14:useLocalDpi xmlns:a14="http://schemas.microsoft.com/office/drawing/2010/main" val="0"/>
                </a:ext>
              </a:extLst>
            </a:blip>
            <a:stretch>
              <a:fillRect/>
            </a:stretch>
          </p:blipFill>
          <p:spPr>
            <a:xfrm>
              <a:off x="3369913" y="1844362"/>
              <a:ext cx="618650" cy="118952"/>
            </a:xfrm>
            <a:prstGeom prst="rect">
              <a:avLst/>
            </a:prstGeom>
          </p:spPr>
        </p:pic>
        <p:pic>
          <p:nvPicPr>
            <p:cNvPr id="172" name="Grafik 171"/>
            <p:cNvPicPr>
              <a:picLocks noChangeAspect="1"/>
            </p:cNvPicPr>
            <p:nvPr/>
          </p:nvPicPr>
          <p:blipFill>
            <a:blip r:embed="rId65" cstate="email">
              <a:extLst>
                <a:ext uri="{28A0092B-C50C-407E-A947-70E740481C1C}">
                  <a14:useLocalDpi xmlns:a14="http://schemas.microsoft.com/office/drawing/2010/main" val="0"/>
                </a:ext>
              </a:extLst>
            </a:blip>
            <a:stretch>
              <a:fillRect/>
            </a:stretch>
          </p:blipFill>
          <p:spPr>
            <a:xfrm>
              <a:off x="7018192" y="1159631"/>
              <a:ext cx="819141" cy="260606"/>
            </a:xfrm>
            <a:prstGeom prst="rect">
              <a:avLst/>
            </a:prstGeom>
          </p:spPr>
        </p:pic>
        <p:pic>
          <p:nvPicPr>
            <p:cNvPr id="173" name="Grafik 172"/>
            <p:cNvPicPr>
              <a:picLocks noChangeAspect="1"/>
            </p:cNvPicPr>
            <p:nvPr/>
          </p:nvPicPr>
          <p:blipFill>
            <a:blip r:embed="rId66" cstate="email">
              <a:extLst>
                <a:ext uri="{28A0092B-C50C-407E-A947-70E740481C1C}">
                  <a14:useLocalDpi xmlns:a14="http://schemas.microsoft.com/office/drawing/2010/main" val="0"/>
                </a:ext>
              </a:extLst>
            </a:blip>
            <a:stretch>
              <a:fillRect/>
            </a:stretch>
          </p:blipFill>
          <p:spPr>
            <a:xfrm>
              <a:off x="7945808" y="2094997"/>
              <a:ext cx="459511" cy="141293"/>
            </a:xfrm>
            <a:prstGeom prst="rect">
              <a:avLst/>
            </a:prstGeom>
          </p:spPr>
        </p:pic>
        <p:pic>
          <p:nvPicPr>
            <p:cNvPr id="174" name="Grafik 173"/>
            <p:cNvPicPr>
              <a:picLocks noChangeAspect="1"/>
            </p:cNvPicPr>
            <p:nvPr/>
          </p:nvPicPr>
          <p:blipFill rotWithShape="1">
            <a:blip r:embed="rId67"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8027621" y="1790819"/>
              <a:ext cx="512768" cy="181446"/>
            </a:xfrm>
            <a:prstGeom prst="rect">
              <a:avLst/>
            </a:prstGeom>
          </p:spPr>
        </p:pic>
        <p:pic>
          <p:nvPicPr>
            <p:cNvPr id="175" name="Grafik 174"/>
            <p:cNvPicPr>
              <a:picLocks noChangeAspect="1"/>
            </p:cNvPicPr>
            <p:nvPr/>
          </p:nvPicPr>
          <p:blipFill>
            <a:blip r:embed="rId68" cstate="hqprint">
              <a:extLst>
                <a:ext uri="{28A0092B-C50C-407E-A947-70E740481C1C}">
                  <a14:useLocalDpi xmlns:a14="http://schemas.microsoft.com/office/drawing/2010/main" val="0"/>
                </a:ext>
              </a:extLst>
            </a:blip>
            <a:stretch>
              <a:fillRect/>
            </a:stretch>
          </p:blipFill>
          <p:spPr>
            <a:xfrm>
              <a:off x="5015075" y="1524749"/>
              <a:ext cx="593615" cy="207606"/>
            </a:xfrm>
            <a:prstGeom prst="rect">
              <a:avLst/>
            </a:prstGeom>
          </p:spPr>
        </p:pic>
        <p:pic>
          <p:nvPicPr>
            <p:cNvPr id="176" name="Grafik 175"/>
            <p:cNvPicPr>
              <a:picLocks noChangeAspect="1"/>
            </p:cNvPicPr>
            <p:nvPr/>
          </p:nvPicPr>
          <p:blipFill>
            <a:blip r:embed="rId69" cstate="email">
              <a:extLst>
                <a:ext uri="{28A0092B-C50C-407E-A947-70E740481C1C}">
                  <a14:useLocalDpi xmlns:a14="http://schemas.microsoft.com/office/drawing/2010/main" val="0"/>
                </a:ext>
              </a:extLst>
            </a:blip>
            <a:stretch>
              <a:fillRect/>
            </a:stretch>
          </p:blipFill>
          <p:spPr>
            <a:xfrm>
              <a:off x="6217965" y="2686018"/>
              <a:ext cx="457775" cy="170388"/>
            </a:xfrm>
            <a:prstGeom prst="rect">
              <a:avLst/>
            </a:prstGeom>
          </p:spPr>
        </p:pic>
        <p:pic>
          <p:nvPicPr>
            <p:cNvPr id="177" name="Grafik 176"/>
            <p:cNvPicPr>
              <a:picLocks noChangeAspect="1"/>
            </p:cNvPicPr>
            <p:nvPr/>
          </p:nvPicPr>
          <p:blipFill>
            <a:blip r:embed="rId70" cstate="email">
              <a:extLst>
                <a:ext uri="{28A0092B-C50C-407E-A947-70E740481C1C}">
                  <a14:useLocalDpi xmlns:a14="http://schemas.microsoft.com/office/drawing/2010/main" val="0"/>
                </a:ext>
              </a:extLst>
            </a:blip>
            <a:stretch>
              <a:fillRect/>
            </a:stretch>
          </p:blipFill>
          <p:spPr>
            <a:xfrm>
              <a:off x="4644439" y="2346253"/>
              <a:ext cx="478716" cy="227334"/>
            </a:xfrm>
            <a:prstGeom prst="rect">
              <a:avLst/>
            </a:prstGeom>
          </p:spPr>
        </p:pic>
        <p:pic>
          <p:nvPicPr>
            <p:cNvPr id="178" name="Grafik 177"/>
            <p:cNvPicPr>
              <a:picLocks noChangeAspect="1"/>
            </p:cNvPicPr>
            <p:nvPr/>
          </p:nvPicPr>
          <p:blipFill>
            <a:blip r:embed="rId71" cstate="email">
              <a:extLst>
                <a:ext uri="{28A0092B-C50C-407E-A947-70E740481C1C}">
                  <a14:useLocalDpi xmlns:a14="http://schemas.microsoft.com/office/drawing/2010/main" val="0"/>
                </a:ext>
              </a:extLst>
            </a:blip>
            <a:stretch>
              <a:fillRect/>
            </a:stretch>
          </p:blipFill>
          <p:spPr>
            <a:xfrm>
              <a:off x="5263600" y="2615339"/>
              <a:ext cx="338964" cy="276407"/>
            </a:xfrm>
            <a:prstGeom prst="rect">
              <a:avLst/>
            </a:prstGeom>
          </p:spPr>
        </p:pic>
        <p:pic>
          <p:nvPicPr>
            <p:cNvPr id="179" name="Grafik 178"/>
            <p:cNvPicPr>
              <a:picLocks noChangeAspect="1"/>
            </p:cNvPicPr>
            <p:nvPr/>
          </p:nvPicPr>
          <p:blipFill>
            <a:blip r:embed="rId72" cstate="email">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491118" y="1525393"/>
              <a:ext cx="528150" cy="157354"/>
            </a:xfrm>
            <a:prstGeom prst="rect">
              <a:avLst/>
            </a:prstGeom>
          </p:spPr>
        </p:pic>
        <p:pic>
          <p:nvPicPr>
            <p:cNvPr id="180" name="Grafik 179"/>
            <p:cNvPicPr>
              <a:picLocks noChangeAspect="1"/>
            </p:cNvPicPr>
            <p:nvPr/>
          </p:nvPicPr>
          <p:blipFill>
            <a:blip r:embed="rId73"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72768" y="2660221"/>
              <a:ext cx="571951" cy="230701"/>
            </a:xfrm>
            <a:prstGeom prst="rect">
              <a:avLst/>
            </a:prstGeom>
          </p:spPr>
        </p:pic>
        <p:pic>
          <p:nvPicPr>
            <p:cNvPr id="181" name="Grafik 180"/>
            <p:cNvPicPr>
              <a:picLocks noChangeAspect="1"/>
            </p:cNvPicPr>
            <p:nvPr/>
          </p:nvPicPr>
          <p:blipFill rotWithShape="1">
            <a:blip r:embed="rId74"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5417355" y="861359"/>
              <a:ext cx="456853" cy="248698"/>
            </a:xfrm>
            <a:prstGeom prst="rect">
              <a:avLst/>
            </a:prstGeom>
          </p:spPr>
        </p:pic>
        <p:pic>
          <p:nvPicPr>
            <p:cNvPr id="182" name="Grafik 181"/>
            <p:cNvPicPr>
              <a:picLocks noChangeAspect="1"/>
            </p:cNvPicPr>
            <p:nvPr/>
          </p:nvPicPr>
          <p:blipFill>
            <a:blip r:embed="rId75" cstate="email">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7869193" y="644769"/>
              <a:ext cx="574397" cy="128214"/>
            </a:xfrm>
            <a:prstGeom prst="rect">
              <a:avLst/>
            </a:prstGeom>
          </p:spPr>
        </p:pic>
        <p:pic>
          <p:nvPicPr>
            <p:cNvPr id="183" name="Grafik 182"/>
            <p:cNvPicPr>
              <a:picLocks noChangeAspect="1"/>
            </p:cNvPicPr>
            <p:nvPr/>
          </p:nvPicPr>
          <p:blipFill>
            <a:blip r:embed="rId76" cstate="email">
              <a:extLst>
                <a:ext uri="{28A0092B-C50C-407E-A947-70E740481C1C}">
                  <a14:useLocalDpi xmlns:a14="http://schemas.microsoft.com/office/drawing/2010/main" val="0"/>
                </a:ext>
              </a:extLst>
            </a:blip>
            <a:stretch>
              <a:fillRect/>
            </a:stretch>
          </p:blipFill>
          <p:spPr>
            <a:xfrm>
              <a:off x="6997322" y="872714"/>
              <a:ext cx="378747" cy="312905"/>
            </a:xfrm>
            <a:prstGeom prst="rect">
              <a:avLst/>
            </a:prstGeom>
          </p:spPr>
        </p:pic>
        <p:pic>
          <p:nvPicPr>
            <p:cNvPr id="184" name="Grafik 183"/>
            <p:cNvPicPr>
              <a:picLocks noChangeAspect="1"/>
            </p:cNvPicPr>
            <p:nvPr/>
          </p:nvPicPr>
          <p:blipFill>
            <a:blip r:embed="rId77" cstate="email">
              <a:extLst>
                <a:ext uri="{28A0092B-C50C-407E-A947-70E740481C1C}">
                  <a14:useLocalDpi xmlns:a14="http://schemas.microsoft.com/office/drawing/2010/main" val="0"/>
                </a:ext>
              </a:extLst>
            </a:blip>
            <a:stretch>
              <a:fillRect/>
            </a:stretch>
          </p:blipFill>
          <p:spPr>
            <a:xfrm>
              <a:off x="3354039" y="1020238"/>
              <a:ext cx="545364" cy="606131"/>
            </a:xfrm>
            <a:prstGeom prst="rect">
              <a:avLst/>
            </a:prstGeom>
          </p:spPr>
        </p:pic>
        <p:pic>
          <p:nvPicPr>
            <p:cNvPr id="185" name="Grafik 184"/>
            <p:cNvPicPr>
              <a:picLocks noChangeAspect="1"/>
            </p:cNvPicPr>
            <p:nvPr/>
          </p:nvPicPr>
          <p:blipFill>
            <a:blip r:embed="rId78"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95603" y="2649505"/>
              <a:ext cx="339044" cy="176587"/>
            </a:xfrm>
            <a:prstGeom prst="rect">
              <a:avLst/>
            </a:prstGeom>
          </p:spPr>
        </p:pic>
        <p:pic>
          <p:nvPicPr>
            <p:cNvPr id="186" name="Grafik 185"/>
            <p:cNvPicPr>
              <a:picLocks noChangeAspect="1"/>
            </p:cNvPicPr>
            <p:nvPr/>
          </p:nvPicPr>
          <p:blipFill>
            <a:blip r:embed="rId79" cstate="email">
              <a:extLst>
                <a:ext uri="{28A0092B-C50C-407E-A947-70E740481C1C}">
                  <a14:useLocalDpi xmlns:a14="http://schemas.microsoft.com/office/drawing/2010/main" val="0"/>
                </a:ext>
              </a:extLst>
            </a:blip>
            <a:stretch>
              <a:fillRect/>
            </a:stretch>
          </p:blipFill>
          <p:spPr>
            <a:xfrm>
              <a:off x="6362964" y="941904"/>
              <a:ext cx="506078" cy="185707"/>
            </a:xfrm>
            <a:prstGeom prst="rect">
              <a:avLst/>
            </a:prstGeom>
          </p:spPr>
        </p:pic>
        <p:pic>
          <p:nvPicPr>
            <p:cNvPr id="187" name="Grafik 186"/>
            <p:cNvPicPr>
              <a:picLocks noChangeAspect="1"/>
            </p:cNvPicPr>
            <p:nvPr/>
          </p:nvPicPr>
          <p:blipFill>
            <a:blip r:embed="rId80" cstate="email">
              <a:extLst>
                <a:ext uri="{28A0092B-C50C-407E-A947-70E740481C1C}">
                  <a14:useLocalDpi xmlns:a14="http://schemas.microsoft.com/office/drawing/2010/main" val="0"/>
                </a:ext>
              </a:extLst>
            </a:blip>
            <a:stretch>
              <a:fillRect/>
            </a:stretch>
          </p:blipFill>
          <p:spPr>
            <a:xfrm>
              <a:off x="7732425" y="2610248"/>
              <a:ext cx="676393" cy="230415"/>
            </a:xfrm>
            <a:prstGeom prst="rect">
              <a:avLst/>
            </a:prstGeom>
          </p:spPr>
        </p:pic>
        <p:pic>
          <p:nvPicPr>
            <p:cNvPr id="188" name="Grafik 187"/>
            <p:cNvPicPr>
              <a:picLocks noChangeAspect="1"/>
            </p:cNvPicPr>
            <p:nvPr/>
          </p:nvPicPr>
          <p:blipFill>
            <a:blip r:embed="rId81"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72349" y="675839"/>
              <a:ext cx="520597" cy="89931"/>
            </a:xfrm>
            <a:prstGeom prst="rect">
              <a:avLst/>
            </a:prstGeom>
          </p:spPr>
        </p:pic>
        <p:pic>
          <p:nvPicPr>
            <p:cNvPr id="189" name="Grafik 188"/>
            <p:cNvPicPr>
              <a:picLocks noChangeAspect="1"/>
            </p:cNvPicPr>
            <p:nvPr/>
          </p:nvPicPr>
          <p:blipFill>
            <a:blip r:embed="rId82" cstate="email">
              <a:extLst>
                <a:ext uri="{28A0092B-C50C-407E-A947-70E740481C1C}">
                  <a14:useLocalDpi xmlns:a14="http://schemas.microsoft.com/office/drawing/2010/main" val="0"/>
                </a:ext>
              </a:extLst>
            </a:blip>
            <a:stretch>
              <a:fillRect/>
            </a:stretch>
          </p:blipFill>
          <p:spPr>
            <a:xfrm>
              <a:off x="4442396" y="1502745"/>
              <a:ext cx="469193" cy="260215"/>
            </a:xfrm>
            <a:prstGeom prst="rect">
              <a:avLst/>
            </a:prstGeom>
          </p:spPr>
        </p:pic>
        <p:pic>
          <p:nvPicPr>
            <p:cNvPr id="190" name="Grafik 189"/>
            <p:cNvPicPr>
              <a:picLocks noChangeAspect="1"/>
            </p:cNvPicPr>
            <p:nvPr/>
          </p:nvPicPr>
          <p:blipFill>
            <a:blip r:embed="rId83" cstate="email">
              <a:extLst>
                <a:ext uri="{28A0092B-C50C-407E-A947-70E740481C1C}">
                  <a14:useLocalDpi xmlns:a14="http://schemas.microsoft.com/office/drawing/2010/main" val="0"/>
                </a:ext>
              </a:extLst>
            </a:blip>
            <a:stretch>
              <a:fillRect/>
            </a:stretch>
          </p:blipFill>
          <p:spPr>
            <a:xfrm>
              <a:off x="3373411" y="969375"/>
              <a:ext cx="659237" cy="101727"/>
            </a:xfrm>
            <a:prstGeom prst="rect">
              <a:avLst/>
            </a:prstGeom>
          </p:spPr>
        </p:pic>
        <p:pic>
          <p:nvPicPr>
            <p:cNvPr id="191" name="Grafik 190"/>
            <p:cNvPicPr>
              <a:picLocks noChangeAspect="1"/>
            </p:cNvPicPr>
            <p:nvPr/>
          </p:nvPicPr>
          <p:blipFill>
            <a:blip r:embed="rId84" cstate="email">
              <a:extLst>
                <a:ext uri="{28A0092B-C50C-407E-A947-70E740481C1C}">
                  <a14:useLocalDpi xmlns:a14="http://schemas.microsoft.com/office/drawing/2010/main" val="0"/>
                </a:ext>
              </a:extLst>
            </a:blip>
            <a:stretch>
              <a:fillRect/>
            </a:stretch>
          </p:blipFill>
          <p:spPr>
            <a:xfrm>
              <a:off x="7106723" y="1762960"/>
              <a:ext cx="384462" cy="279132"/>
            </a:xfrm>
            <a:prstGeom prst="rect">
              <a:avLst/>
            </a:prstGeom>
          </p:spPr>
        </p:pic>
        <p:pic>
          <p:nvPicPr>
            <p:cNvPr id="192" name="Grafik 191"/>
            <p:cNvPicPr>
              <a:picLocks noChangeAspect="1"/>
            </p:cNvPicPr>
            <p:nvPr/>
          </p:nvPicPr>
          <p:blipFill>
            <a:blip r:embed="rId85" cstate="email">
              <a:extLst>
                <a:ext uri="{28A0092B-C50C-407E-A947-70E740481C1C}">
                  <a14:useLocalDpi xmlns:a14="http://schemas.microsoft.com/office/drawing/2010/main" val="0"/>
                </a:ext>
              </a:extLst>
            </a:blip>
            <a:stretch>
              <a:fillRect/>
            </a:stretch>
          </p:blipFill>
          <p:spPr>
            <a:xfrm>
              <a:off x="5055800" y="1832640"/>
              <a:ext cx="454380" cy="146966"/>
            </a:xfrm>
            <a:prstGeom prst="rect">
              <a:avLst/>
            </a:prstGeom>
          </p:spPr>
        </p:pic>
        <p:pic>
          <p:nvPicPr>
            <p:cNvPr id="193" name="Grafik 192"/>
            <p:cNvPicPr>
              <a:picLocks noChangeAspect="1"/>
            </p:cNvPicPr>
            <p:nvPr/>
          </p:nvPicPr>
          <p:blipFill>
            <a:blip r:embed="rId86" cstate="email">
              <a:extLst>
                <a:ext uri="{28A0092B-C50C-407E-A947-70E740481C1C}">
                  <a14:useLocalDpi xmlns:a14="http://schemas.microsoft.com/office/drawing/2010/main" val="0"/>
                </a:ext>
              </a:extLst>
            </a:blip>
            <a:stretch>
              <a:fillRect/>
            </a:stretch>
          </p:blipFill>
          <p:spPr>
            <a:xfrm>
              <a:off x="4061339" y="2402360"/>
              <a:ext cx="450854" cy="181246"/>
            </a:xfrm>
            <a:prstGeom prst="rect">
              <a:avLst/>
            </a:prstGeom>
          </p:spPr>
        </p:pic>
        <p:pic>
          <p:nvPicPr>
            <p:cNvPr id="194" name="Grafik 193"/>
            <p:cNvPicPr>
              <a:picLocks noChangeAspect="1"/>
            </p:cNvPicPr>
            <p:nvPr/>
          </p:nvPicPr>
          <p:blipFill>
            <a:blip r:embed="rId87" cstate="email">
              <a:extLst>
                <a:ext uri="{28A0092B-C50C-407E-A947-70E740481C1C}">
                  <a14:useLocalDpi xmlns:a14="http://schemas.microsoft.com/office/drawing/2010/main" val="0"/>
                </a:ext>
              </a:extLst>
            </a:blip>
            <a:stretch>
              <a:fillRect/>
            </a:stretch>
          </p:blipFill>
          <p:spPr>
            <a:xfrm>
              <a:off x="6251810" y="1936073"/>
              <a:ext cx="601942" cy="327235"/>
            </a:xfrm>
            <a:prstGeom prst="rect">
              <a:avLst/>
            </a:prstGeom>
          </p:spPr>
        </p:pic>
        <p:pic>
          <p:nvPicPr>
            <p:cNvPr id="195" name="Grafik 194"/>
            <p:cNvPicPr>
              <a:picLocks noChangeAspect="1"/>
            </p:cNvPicPr>
            <p:nvPr/>
          </p:nvPicPr>
          <p:blipFill>
            <a:blip r:embed="rId88" cstate="email">
              <a:extLst>
                <a:ext uri="{28A0092B-C50C-407E-A947-70E740481C1C}">
                  <a14:useLocalDpi xmlns:a14="http://schemas.microsoft.com/office/drawing/2010/main" val="0"/>
                </a:ext>
              </a:extLst>
            </a:blip>
            <a:stretch>
              <a:fillRect/>
            </a:stretch>
          </p:blipFill>
          <p:spPr>
            <a:xfrm>
              <a:off x="7376069" y="557629"/>
              <a:ext cx="338278" cy="215354"/>
            </a:xfrm>
            <a:prstGeom prst="rect">
              <a:avLst/>
            </a:prstGeom>
          </p:spPr>
        </p:pic>
        <p:pic>
          <p:nvPicPr>
            <p:cNvPr id="196" name="Grafik 195"/>
            <p:cNvPicPr>
              <a:picLocks noChangeAspect="1"/>
            </p:cNvPicPr>
            <p:nvPr/>
          </p:nvPicPr>
          <p:blipFill>
            <a:blip r:embed="rId89" cstate="email">
              <a:extLst>
                <a:ext uri="{28A0092B-C50C-407E-A947-70E740481C1C}">
                  <a14:useLocalDpi xmlns:a14="http://schemas.microsoft.com/office/drawing/2010/main" val="0"/>
                </a:ext>
              </a:extLst>
            </a:blip>
            <a:stretch>
              <a:fillRect/>
            </a:stretch>
          </p:blipFill>
          <p:spPr>
            <a:xfrm>
              <a:off x="5952433" y="801281"/>
              <a:ext cx="324418" cy="349939"/>
            </a:xfrm>
            <a:prstGeom prst="rect">
              <a:avLst/>
            </a:prstGeom>
          </p:spPr>
        </p:pic>
        <p:pic>
          <p:nvPicPr>
            <p:cNvPr id="197" name="Grafik 196"/>
            <p:cNvPicPr>
              <a:picLocks noChangeAspect="1"/>
            </p:cNvPicPr>
            <p:nvPr/>
          </p:nvPicPr>
          <p:blipFill>
            <a:blip r:embed="rId90" cstate="email">
              <a:extLst>
                <a:ext uri="{28A0092B-C50C-407E-A947-70E740481C1C}">
                  <a14:useLocalDpi xmlns:a14="http://schemas.microsoft.com/office/drawing/2010/main" val="0"/>
                </a:ext>
              </a:extLst>
            </a:blip>
            <a:stretch>
              <a:fillRect/>
            </a:stretch>
          </p:blipFill>
          <p:spPr>
            <a:xfrm>
              <a:off x="6652942" y="1808312"/>
              <a:ext cx="378451" cy="228121"/>
            </a:xfrm>
            <a:prstGeom prst="rect">
              <a:avLst/>
            </a:prstGeom>
          </p:spPr>
        </p:pic>
        <p:pic>
          <p:nvPicPr>
            <p:cNvPr id="198" name="Grafik 197"/>
            <p:cNvPicPr>
              <a:picLocks noChangeAspect="1"/>
            </p:cNvPicPr>
            <p:nvPr/>
          </p:nvPicPr>
          <p:blipFill>
            <a:blip r:embed="rId91" cstate="email">
              <a:extLst>
                <a:ext uri="{28A0092B-C50C-407E-A947-70E740481C1C}">
                  <a14:useLocalDpi xmlns:a14="http://schemas.microsoft.com/office/drawing/2010/main" val="0"/>
                </a:ext>
              </a:extLst>
            </a:blip>
            <a:stretch>
              <a:fillRect/>
            </a:stretch>
          </p:blipFill>
          <p:spPr>
            <a:xfrm>
              <a:off x="5121862" y="749731"/>
              <a:ext cx="237168" cy="395240"/>
            </a:xfrm>
            <a:prstGeom prst="rect">
              <a:avLst/>
            </a:prstGeom>
          </p:spPr>
        </p:pic>
        <p:pic>
          <p:nvPicPr>
            <p:cNvPr id="199" name="Grafik 198"/>
            <p:cNvPicPr>
              <a:picLocks noChangeAspect="1"/>
            </p:cNvPicPr>
            <p:nvPr/>
          </p:nvPicPr>
          <p:blipFill>
            <a:blip r:embed="rId92" cstate="email">
              <a:extLst>
                <a:ext uri="{28A0092B-C50C-407E-A947-70E740481C1C}">
                  <a14:useLocalDpi xmlns:a14="http://schemas.microsoft.com/office/drawing/2010/main" val="0"/>
                </a:ext>
              </a:extLst>
            </a:blip>
            <a:stretch>
              <a:fillRect/>
            </a:stretch>
          </p:blipFill>
          <p:spPr>
            <a:xfrm>
              <a:off x="6029219" y="1710299"/>
              <a:ext cx="612395" cy="451308"/>
            </a:xfrm>
            <a:prstGeom prst="rect">
              <a:avLst/>
            </a:prstGeom>
          </p:spPr>
        </p:pic>
        <p:pic>
          <p:nvPicPr>
            <p:cNvPr id="200" name="Grafik 199"/>
            <p:cNvPicPr>
              <a:picLocks noChangeAspect="1"/>
            </p:cNvPicPr>
            <p:nvPr/>
          </p:nvPicPr>
          <p:blipFill>
            <a:blip r:embed="rId93" cstate="email">
              <a:extLst>
                <a:ext uri="{28A0092B-C50C-407E-A947-70E740481C1C}">
                  <a14:useLocalDpi xmlns:a14="http://schemas.microsoft.com/office/drawing/2010/main" val="0"/>
                </a:ext>
              </a:extLst>
            </a:blip>
            <a:stretch>
              <a:fillRect/>
            </a:stretch>
          </p:blipFill>
          <p:spPr>
            <a:xfrm>
              <a:off x="5687213" y="1437919"/>
              <a:ext cx="292108" cy="339182"/>
            </a:xfrm>
            <a:prstGeom prst="rect">
              <a:avLst/>
            </a:prstGeom>
          </p:spPr>
        </p:pic>
        <p:pic>
          <p:nvPicPr>
            <p:cNvPr id="201" name="Grafik 200"/>
            <p:cNvPicPr>
              <a:picLocks noChangeAspect="1"/>
            </p:cNvPicPr>
            <p:nvPr/>
          </p:nvPicPr>
          <p:blipFill>
            <a:blip r:embed="rId94" cstate="email">
              <a:extLst>
                <a:ext uri="{28A0092B-C50C-407E-A947-70E740481C1C}">
                  <a14:useLocalDpi xmlns:a14="http://schemas.microsoft.com/office/drawing/2010/main" val="0"/>
                </a:ext>
              </a:extLst>
            </a:blip>
            <a:stretch>
              <a:fillRect/>
            </a:stretch>
          </p:blipFill>
          <p:spPr>
            <a:xfrm>
              <a:off x="6073173" y="1493458"/>
              <a:ext cx="633630" cy="197452"/>
            </a:xfrm>
            <a:prstGeom prst="rect">
              <a:avLst/>
            </a:prstGeom>
          </p:spPr>
        </p:pic>
        <p:pic>
          <p:nvPicPr>
            <p:cNvPr id="202" name="Grafik 201"/>
            <p:cNvPicPr>
              <a:picLocks noChangeAspect="1"/>
            </p:cNvPicPr>
            <p:nvPr/>
          </p:nvPicPr>
          <p:blipFill>
            <a:blip r:embed="rId95" cstate="email">
              <a:extLst>
                <a:ext uri="{28A0092B-C50C-407E-A947-70E740481C1C}">
                  <a14:useLocalDpi xmlns:a14="http://schemas.microsoft.com/office/drawing/2010/main" val="0"/>
                </a:ext>
              </a:extLst>
            </a:blip>
            <a:stretch>
              <a:fillRect/>
            </a:stretch>
          </p:blipFill>
          <p:spPr>
            <a:xfrm>
              <a:off x="7147861" y="2362844"/>
              <a:ext cx="343324" cy="133488"/>
            </a:xfrm>
            <a:prstGeom prst="rect">
              <a:avLst/>
            </a:prstGeom>
          </p:spPr>
        </p:pic>
        <p:pic>
          <p:nvPicPr>
            <p:cNvPr id="203" name="Grafik 202"/>
            <p:cNvPicPr>
              <a:picLocks noChangeAspect="1"/>
            </p:cNvPicPr>
            <p:nvPr/>
          </p:nvPicPr>
          <p:blipFill>
            <a:blip r:embed="rId96" cstate="email">
              <a:extLst>
                <a:ext uri="{28A0092B-C50C-407E-A947-70E740481C1C}">
                  <a14:useLocalDpi xmlns:a14="http://schemas.microsoft.com/office/drawing/2010/main" val="0"/>
                </a:ext>
              </a:extLst>
            </a:blip>
            <a:stretch>
              <a:fillRect/>
            </a:stretch>
          </p:blipFill>
          <p:spPr>
            <a:xfrm>
              <a:off x="3383343" y="2702221"/>
              <a:ext cx="480771" cy="140389"/>
            </a:xfrm>
            <a:prstGeom prst="rect">
              <a:avLst/>
            </a:prstGeom>
          </p:spPr>
        </p:pic>
        <p:pic>
          <p:nvPicPr>
            <p:cNvPr id="2" name="Grafik 1"/>
            <p:cNvPicPr>
              <a:picLocks noChangeAspect="1"/>
            </p:cNvPicPr>
            <p:nvPr/>
          </p:nvPicPr>
          <p:blipFill>
            <a:blip r:embed="rId97" cstate="email">
              <a:extLst>
                <a:ext uri="{28A0092B-C50C-407E-A947-70E740481C1C}">
                  <a14:useLocalDpi xmlns:a14="http://schemas.microsoft.com/office/drawing/2010/main" val="0"/>
                </a:ext>
              </a:extLst>
            </a:blip>
            <a:stretch>
              <a:fillRect/>
            </a:stretch>
          </p:blipFill>
          <p:spPr>
            <a:xfrm>
              <a:off x="3380980" y="3487503"/>
              <a:ext cx="441465" cy="294476"/>
            </a:xfrm>
            <a:prstGeom prst="rect">
              <a:avLst/>
            </a:prstGeom>
          </p:spPr>
        </p:pic>
        <p:pic>
          <p:nvPicPr>
            <p:cNvPr id="3" name="Grafik 2"/>
            <p:cNvPicPr>
              <a:picLocks noChangeAspect="1"/>
            </p:cNvPicPr>
            <p:nvPr/>
          </p:nvPicPr>
          <p:blipFill>
            <a:blip r:embed="rId98" cstate="email">
              <a:extLst>
                <a:ext uri="{28A0092B-C50C-407E-A947-70E740481C1C}">
                  <a14:useLocalDpi xmlns:a14="http://schemas.microsoft.com/office/drawing/2010/main" val="0"/>
                </a:ext>
              </a:extLst>
            </a:blip>
            <a:stretch>
              <a:fillRect/>
            </a:stretch>
          </p:blipFill>
          <p:spPr>
            <a:xfrm>
              <a:off x="7740388" y="1202246"/>
              <a:ext cx="857151" cy="151881"/>
            </a:xfrm>
            <a:prstGeom prst="rect">
              <a:avLst/>
            </a:prstGeom>
          </p:spPr>
        </p:pic>
        <p:pic>
          <p:nvPicPr>
            <p:cNvPr id="10" name="Grafik 9"/>
            <p:cNvPicPr>
              <a:picLocks noChangeAspect="1"/>
            </p:cNvPicPr>
            <p:nvPr/>
          </p:nvPicPr>
          <p:blipFill>
            <a:blip r:embed="rId99" cstate="email">
              <a:extLst>
                <a:ext uri="{28A0092B-C50C-407E-A947-70E740481C1C}">
                  <a14:useLocalDpi xmlns:a14="http://schemas.microsoft.com/office/drawing/2010/main" val="0"/>
                </a:ext>
              </a:extLst>
            </a:blip>
            <a:stretch>
              <a:fillRect/>
            </a:stretch>
          </p:blipFill>
          <p:spPr>
            <a:xfrm>
              <a:off x="3753697" y="2009656"/>
              <a:ext cx="688699" cy="344350"/>
            </a:xfrm>
            <a:prstGeom prst="rect">
              <a:avLst/>
            </a:prstGeom>
          </p:spPr>
        </p:pic>
        <p:pic>
          <p:nvPicPr>
            <p:cNvPr id="12" name="Grafik 11"/>
            <p:cNvPicPr>
              <a:picLocks noChangeAspect="1"/>
            </p:cNvPicPr>
            <p:nvPr/>
          </p:nvPicPr>
          <p:blipFill>
            <a:blip r:embed="rId100" cstate="email">
              <a:extLst>
                <a:ext uri="{28A0092B-C50C-407E-A947-70E740481C1C}">
                  <a14:useLocalDpi xmlns:a14="http://schemas.microsoft.com/office/drawing/2010/main" val="0"/>
                </a:ext>
              </a:extLst>
            </a:blip>
            <a:stretch>
              <a:fillRect/>
            </a:stretch>
          </p:blipFill>
          <p:spPr>
            <a:xfrm>
              <a:off x="6771935" y="1512610"/>
              <a:ext cx="612100" cy="164047"/>
            </a:xfrm>
            <a:prstGeom prst="rect">
              <a:avLst/>
            </a:prstGeom>
          </p:spPr>
        </p:pic>
        <p:pic>
          <p:nvPicPr>
            <p:cNvPr id="11" name="Grafik 10"/>
            <p:cNvPicPr>
              <a:picLocks noChangeAspect="1"/>
            </p:cNvPicPr>
            <p:nvPr/>
          </p:nvPicPr>
          <p:blipFill>
            <a:blip r:embed="rId101" cstate="email">
              <a:extLst>
                <a:ext uri="{28A0092B-C50C-407E-A947-70E740481C1C}">
                  <a14:useLocalDpi xmlns:a14="http://schemas.microsoft.com/office/drawing/2010/main" val="0"/>
                </a:ext>
              </a:extLst>
            </a:blip>
            <a:stretch>
              <a:fillRect/>
            </a:stretch>
          </p:blipFill>
          <p:spPr>
            <a:xfrm>
              <a:off x="4812785" y="2628716"/>
              <a:ext cx="273048" cy="273048"/>
            </a:xfrm>
            <a:prstGeom prst="rect">
              <a:avLst/>
            </a:prstGeom>
          </p:spPr>
        </p:pic>
      </p:grpSp>
      <p:sp>
        <p:nvSpPr>
          <p:cNvPr id="109" name="Titel 45"/>
          <p:cNvSpPr txBox="1">
            <a:spLocks/>
          </p:cNvSpPr>
          <p:nvPr/>
        </p:nvSpPr>
        <p:spPr>
          <a:xfrm>
            <a:off x="337685" y="2664048"/>
            <a:ext cx="3605441" cy="1281603"/>
          </a:xfrm>
          <a:prstGeom prst="rect">
            <a:avLst/>
          </a:prstGeom>
        </p:spPr>
        <p:txBody>
          <a:bodyPr/>
          <a:lstStyle>
            <a:lvl1pPr algn="l" defTabSz="457200" rtl="0" eaLnBrk="1" latinLnBrk="0" hangingPunct="1">
              <a:spcBef>
                <a:spcPct val="0"/>
              </a:spcBef>
              <a:buNone/>
              <a:defRPr sz="1800" b="1" kern="1200" cap="all">
                <a:solidFill>
                  <a:schemeClr val="tx1"/>
                </a:solidFill>
                <a:latin typeface="Verdana"/>
                <a:ea typeface="+mj-ea"/>
                <a:cs typeface="Verdana"/>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4800" b="0" i="1" u="none" strike="noStrike" kern="1200" cap="none" spc="0" normalizeH="0" baseline="0" noProof="0" dirty="0">
                <a:ln>
                  <a:noFill/>
                </a:ln>
                <a:solidFill>
                  <a:srgbClr val="FFED00"/>
                </a:solidFill>
                <a:effectLst/>
                <a:uLnTx/>
                <a:uFillTx/>
                <a:latin typeface="Georgia" panose="02040502050405020303" pitchFamily="18" charset="0"/>
                <a:ea typeface="+mj-ea"/>
              </a:rPr>
              <a:t>350</a:t>
            </a:r>
            <a:r>
              <a:rPr kumimoji="0" lang="de-DE" sz="2667" b="0" i="1" u="none" strike="noStrike" kern="1200" cap="none" spc="0" normalizeH="0" baseline="0" noProof="0" dirty="0">
                <a:ln>
                  <a:noFill/>
                </a:ln>
                <a:solidFill>
                  <a:srgbClr val="FFED00"/>
                </a:solidFill>
                <a:effectLst/>
                <a:uLnTx/>
                <a:uFillTx/>
                <a:latin typeface="Georgia" panose="02040502050405020303" pitchFamily="18" charset="0"/>
                <a:ea typeface="+mj-ea"/>
              </a:rPr>
              <a:t> </a:t>
            </a:r>
            <a:r>
              <a:rPr kumimoji="0" lang="de-DE" sz="2667" b="0" i="1" u="none" strike="noStrike" kern="1200" cap="none" spc="0" normalizeH="0" baseline="0" noProof="0" dirty="0" err="1">
                <a:ln>
                  <a:noFill/>
                </a:ln>
                <a:solidFill>
                  <a:prstClr val="white"/>
                </a:solidFill>
                <a:effectLst/>
                <a:uLnTx/>
                <a:uFillTx/>
                <a:latin typeface="Georgia" panose="02040502050405020303" pitchFamily="18" charset="0"/>
                <a:ea typeface="+mj-ea"/>
              </a:rPr>
              <a:t>people</a:t>
            </a:r>
            <a:r>
              <a:rPr kumimoji="0" lang="de-DE" sz="2667" b="0" i="1" u="none" strike="noStrike" kern="1200" cap="none" spc="0" normalizeH="0" baseline="0" noProof="0" dirty="0">
                <a:ln>
                  <a:noFill/>
                </a:ln>
                <a:solidFill>
                  <a:prstClr val="white"/>
                </a:solidFill>
                <a:effectLst/>
                <a:uLnTx/>
                <a:uFillTx/>
                <a:latin typeface="Georgia" panose="02040502050405020303" pitchFamily="18" charset="0"/>
                <a:ea typeface="+mj-ea"/>
              </a:rPr>
              <a:t> </a:t>
            </a:r>
            <a:r>
              <a:rPr kumimoji="0" lang="de-DE" sz="2667" b="0" i="1" u="none" strike="noStrike" kern="1200" cap="none" spc="0" normalizeH="0" baseline="0" noProof="0" dirty="0" err="1">
                <a:ln>
                  <a:noFill/>
                </a:ln>
                <a:solidFill>
                  <a:prstClr val="white"/>
                </a:solidFill>
                <a:effectLst/>
                <a:uLnTx/>
                <a:uFillTx/>
                <a:latin typeface="Georgia" panose="02040502050405020303" pitchFamily="18" charset="0"/>
                <a:ea typeface="+mj-ea"/>
              </a:rPr>
              <a:t>contributing</a:t>
            </a:r>
            <a:r>
              <a:rPr kumimoji="0" lang="de-DE" sz="2667" b="0" i="1" u="none" strike="noStrike" kern="1200" cap="none" spc="0" normalizeH="0" baseline="0" noProof="0" dirty="0">
                <a:ln>
                  <a:noFill/>
                </a:ln>
                <a:solidFill>
                  <a:prstClr val="white"/>
                </a:solidFill>
                <a:effectLst/>
                <a:uLnTx/>
                <a:uFillTx/>
                <a:latin typeface="Georgia" panose="02040502050405020303" pitchFamily="18" charset="0"/>
                <a:ea typeface="+mj-ea"/>
              </a:rPr>
              <a:t> </a:t>
            </a:r>
            <a:endParaRPr kumimoji="0" lang="de-DE" sz="5333" b="0" i="1" u="none" strike="noStrike" kern="1200" cap="none" spc="0" normalizeH="0" baseline="0" noProof="0" dirty="0">
              <a:ln>
                <a:noFill/>
              </a:ln>
              <a:solidFill>
                <a:prstClr val="white"/>
              </a:solidFill>
              <a:effectLst/>
              <a:uLnTx/>
              <a:uFillTx/>
              <a:latin typeface="Georgia" panose="02040502050405020303" pitchFamily="18" charset="0"/>
              <a:ea typeface="+mj-ea"/>
            </a:endParaRPr>
          </a:p>
        </p:txBody>
      </p:sp>
    </p:spTree>
    <p:extLst>
      <p:ext uri="{BB962C8B-B14F-4D97-AF65-F5344CB8AC3E}">
        <p14:creationId xmlns:p14="http://schemas.microsoft.com/office/powerpoint/2010/main" val="25088396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hteck 7"/>
          <p:cNvSpPr/>
          <p:nvPr/>
        </p:nvSpPr>
        <p:spPr>
          <a:xfrm>
            <a:off x="0" y="0"/>
            <a:ext cx="12192000" cy="6858000"/>
          </a:xfrm>
          <a:prstGeom prst="rect">
            <a:avLst/>
          </a:prstGeom>
          <a:solidFill>
            <a:schemeClr val="tx1">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sp>
        <p:nvSpPr>
          <p:cNvPr id="77" name="Ellipse 76"/>
          <p:cNvSpPr/>
          <p:nvPr/>
        </p:nvSpPr>
        <p:spPr>
          <a:xfrm>
            <a:off x="-1717557" y="1193484"/>
            <a:ext cx="7395948" cy="7516019"/>
          </a:xfrm>
          <a:prstGeom prst="ellipse">
            <a:avLst/>
          </a:prstGeom>
          <a:ln w="6350">
            <a:solidFill>
              <a:srgbClr val="FFFFFF"/>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black"/>
              </a:solidFill>
              <a:effectLst/>
              <a:uLnTx/>
              <a:uFillTx/>
              <a:latin typeface="Calibri"/>
              <a:ea typeface="+mn-ea"/>
              <a:cs typeface="+mn-cs"/>
            </a:endParaRPr>
          </a:p>
        </p:txBody>
      </p:sp>
      <p:sp>
        <p:nvSpPr>
          <p:cNvPr id="81" name="Ellipse 80"/>
          <p:cNvSpPr/>
          <p:nvPr/>
        </p:nvSpPr>
        <p:spPr>
          <a:xfrm>
            <a:off x="-2208093" y="-2390544"/>
            <a:ext cx="8722156" cy="8863757"/>
          </a:xfrm>
          <a:prstGeom prst="ellipse">
            <a:avLst/>
          </a:prstGeom>
          <a:ln w="6350">
            <a:solidFill>
              <a:srgbClr val="FFFFFF"/>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black"/>
              </a:solidFill>
              <a:effectLst/>
              <a:uLnTx/>
              <a:uFillTx/>
              <a:latin typeface="Calibri"/>
              <a:ea typeface="+mn-ea"/>
              <a:cs typeface="+mn-cs"/>
            </a:endParaRPr>
          </a:p>
        </p:txBody>
      </p:sp>
      <p:sp>
        <p:nvSpPr>
          <p:cNvPr id="82" name="Ellipse 81"/>
          <p:cNvSpPr/>
          <p:nvPr/>
        </p:nvSpPr>
        <p:spPr>
          <a:xfrm>
            <a:off x="5900863" y="-3450736"/>
            <a:ext cx="8324188" cy="8459328"/>
          </a:xfrm>
          <a:prstGeom prst="ellipse">
            <a:avLst/>
          </a:prstGeom>
          <a:ln w="6350">
            <a:solidFill>
              <a:srgbClr val="FFFFFF"/>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black"/>
              </a:solidFill>
              <a:effectLst/>
              <a:uLnTx/>
              <a:uFillTx/>
              <a:latin typeface="Calibri"/>
              <a:ea typeface="+mn-ea"/>
              <a:cs typeface="+mn-cs"/>
            </a:endParaRPr>
          </a:p>
        </p:txBody>
      </p:sp>
      <p:sp>
        <p:nvSpPr>
          <p:cNvPr id="83" name="Ellipse 82"/>
          <p:cNvSpPr/>
          <p:nvPr/>
        </p:nvSpPr>
        <p:spPr>
          <a:xfrm>
            <a:off x="5447923" y="164892"/>
            <a:ext cx="7760603" cy="7886593"/>
          </a:xfrm>
          <a:prstGeom prst="ellipse">
            <a:avLst/>
          </a:prstGeom>
          <a:ln w="6350">
            <a:solidFill>
              <a:srgbClr val="FFFFFF"/>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black"/>
              </a:solidFill>
              <a:effectLst/>
              <a:uLnTx/>
              <a:uFillTx/>
              <a:latin typeface="Calibri"/>
              <a:ea typeface="+mn-ea"/>
              <a:cs typeface="+mn-cs"/>
            </a:endParaRPr>
          </a:p>
        </p:txBody>
      </p:sp>
      <p:graphicFrame>
        <p:nvGraphicFramePr>
          <p:cNvPr id="9" name="Diagramm 8"/>
          <p:cNvGraphicFramePr/>
          <p:nvPr/>
        </p:nvGraphicFramePr>
        <p:xfrm>
          <a:off x="725823" y="3020352"/>
          <a:ext cx="6096000" cy="31278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6" name="AutoShape 3"/>
          <p:cNvSpPr>
            <a:spLocks noChangeAspect="1" noChangeArrowheads="1" noTextEdit="1"/>
          </p:cNvSpPr>
          <p:nvPr/>
        </p:nvSpPr>
        <p:spPr bwMode="auto">
          <a:xfrm>
            <a:off x="2747342" y="2745068"/>
            <a:ext cx="1238249" cy="1299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black"/>
              </a:solidFill>
              <a:effectLst/>
              <a:uLnTx/>
              <a:uFillTx/>
              <a:latin typeface="Calibri"/>
              <a:ea typeface="+mn-ea"/>
              <a:cs typeface="+mn-cs"/>
            </a:endParaRPr>
          </a:p>
        </p:txBody>
      </p:sp>
      <p:sp>
        <p:nvSpPr>
          <p:cNvPr id="11" name="Titel 3"/>
          <p:cNvSpPr txBox="1">
            <a:spLocks/>
          </p:cNvSpPr>
          <p:nvPr/>
        </p:nvSpPr>
        <p:spPr>
          <a:xfrm>
            <a:off x="1669181" y="1716609"/>
            <a:ext cx="10142704" cy="795868"/>
          </a:xfrm>
          <a:prstGeom prst="rect">
            <a:avLst/>
          </a:prstGeom>
        </p:spPr>
        <p:txBody>
          <a:bodyPr vert="horz" lIns="121920" tIns="60960" rIns="121920" bIns="60960" rtlCol="0" anchor="b">
            <a:noAutofit/>
          </a:bodyPr>
          <a:lstStyle>
            <a:lvl1pPr algn="l" defTabSz="457200" rtl="0" eaLnBrk="1" latinLnBrk="0" hangingPunct="1">
              <a:lnSpc>
                <a:spcPct val="90000"/>
              </a:lnSpc>
              <a:spcBef>
                <a:spcPct val="0"/>
              </a:spcBef>
              <a:buNone/>
              <a:defRPr sz="1800" b="1" kern="1200" cap="all" baseline="0">
                <a:solidFill>
                  <a:srgbClr val="0BA2E3"/>
                </a:solidFill>
                <a:latin typeface="Verdana"/>
                <a:ea typeface="+mj-ea"/>
                <a:cs typeface="Verdana"/>
              </a:defRPr>
            </a:lvl1pPr>
          </a:lstStyle>
          <a:p>
            <a:pPr marL="0" marR="0" lvl="0" indent="0" algn="r" defTabSz="457200" rtl="0" eaLnBrk="1" fontAlgn="auto" latinLnBrk="0" hangingPunct="1">
              <a:lnSpc>
                <a:spcPct val="90000"/>
              </a:lnSpc>
              <a:spcBef>
                <a:spcPct val="0"/>
              </a:spcBef>
              <a:spcAft>
                <a:spcPts val="0"/>
              </a:spcAft>
              <a:buClrTx/>
              <a:buSzTx/>
              <a:buFontTx/>
              <a:buNone/>
              <a:tabLst/>
              <a:defRPr/>
            </a:pPr>
            <a:r>
              <a:rPr kumimoji="0" lang="de-DE" sz="4267" b="1" i="0" u="none" strike="noStrike" kern="1200" cap="all" spc="0" normalizeH="0" baseline="0" noProof="0" dirty="0" err="1">
                <a:ln>
                  <a:noFill/>
                </a:ln>
                <a:solidFill>
                  <a:srgbClr val="E5007D"/>
                </a:solidFill>
                <a:effectLst/>
                <a:uLnTx/>
                <a:uFillTx/>
                <a:latin typeface="Verdana"/>
                <a:ea typeface="+mj-ea"/>
              </a:rPr>
              <a:t>without</a:t>
            </a:r>
            <a:r>
              <a:rPr kumimoji="0" lang="de-DE" sz="4267" b="1" i="0" u="none" strike="noStrike" kern="1200" cap="all" spc="0" normalizeH="0" baseline="0" noProof="0" dirty="0">
                <a:ln>
                  <a:noFill/>
                </a:ln>
                <a:solidFill>
                  <a:srgbClr val="E5007D"/>
                </a:solidFill>
                <a:effectLst/>
                <a:uLnTx/>
                <a:uFillTx/>
                <a:latin typeface="Verdana"/>
                <a:ea typeface="+mj-ea"/>
              </a:rPr>
              <a:t> </a:t>
            </a:r>
            <a:r>
              <a:rPr kumimoji="0" lang="de-DE" sz="4267" b="1" i="0" u="none" strike="noStrike" kern="1200" cap="all" spc="0" normalizeH="0" baseline="0" noProof="0" dirty="0" err="1">
                <a:ln>
                  <a:noFill/>
                </a:ln>
                <a:solidFill>
                  <a:srgbClr val="E5007D"/>
                </a:solidFill>
                <a:effectLst/>
                <a:uLnTx/>
                <a:uFillTx/>
                <a:latin typeface="Verdana"/>
                <a:ea typeface="+mj-ea"/>
              </a:rPr>
              <a:t>regret</a:t>
            </a:r>
            <a:endParaRPr kumimoji="0" lang="de-DE" sz="4267" b="1" i="0" u="none" strike="noStrike" kern="1200" cap="all" spc="0" normalizeH="0" baseline="0" noProof="0" dirty="0">
              <a:ln>
                <a:noFill/>
              </a:ln>
              <a:solidFill>
                <a:srgbClr val="E5007D"/>
              </a:solidFill>
              <a:effectLst/>
              <a:uLnTx/>
              <a:uFillTx/>
              <a:latin typeface="Verdana"/>
              <a:ea typeface="+mj-ea"/>
            </a:endParaRPr>
          </a:p>
        </p:txBody>
      </p:sp>
      <p:sp>
        <p:nvSpPr>
          <p:cNvPr id="12" name="Titel 3"/>
          <p:cNvSpPr txBox="1">
            <a:spLocks/>
          </p:cNvSpPr>
          <p:nvPr/>
        </p:nvSpPr>
        <p:spPr>
          <a:xfrm>
            <a:off x="1293738" y="1029115"/>
            <a:ext cx="11120735" cy="795868"/>
          </a:xfrm>
          <a:prstGeom prst="rect">
            <a:avLst/>
          </a:prstGeom>
        </p:spPr>
        <p:txBody>
          <a:bodyPr vert="horz" lIns="121920" tIns="60960" rIns="121920" bIns="60960" rtlCol="0" anchor="b">
            <a:noAutofit/>
          </a:bodyPr>
          <a:lstStyle>
            <a:lvl1pPr algn="l" defTabSz="457200" rtl="0" eaLnBrk="1" latinLnBrk="0" hangingPunct="1">
              <a:lnSpc>
                <a:spcPct val="90000"/>
              </a:lnSpc>
              <a:spcBef>
                <a:spcPct val="0"/>
              </a:spcBef>
              <a:buNone/>
              <a:defRPr sz="1800" b="1" kern="1200" cap="all" baseline="0">
                <a:solidFill>
                  <a:srgbClr val="0BA2E3"/>
                </a:solidFill>
                <a:latin typeface="Verdana"/>
                <a:ea typeface="+mj-ea"/>
                <a:cs typeface="Verdana"/>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de-DE" sz="4267" b="1" i="0" u="none" strike="noStrike" kern="1200" cap="all" spc="0" normalizeH="0" baseline="0" noProof="0" dirty="0">
                <a:ln>
                  <a:noFill/>
                </a:ln>
                <a:solidFill>
                  <a:srgbClr val="B4B4B4"/>
                </a:solidFill>
                <a:effectLst/>
                <a:uLnTx/>
                <a:uFillTx/>
                <a:latin typeface="Verdana"/>
                <a:ea typeface="+mj-ea"/>
              </a:rPr>
              <a:t>Companies </a:t>
            </a:r>
            <a:r>
              <a:rPr kumimoji="0" lang="de-DE" sz="4267" b="1" i="0" u="none" strike="noStrike" kern="1200" cap="all" spc="0" normalizeH="0" baseline="0" noProof="0" dirty="0" err="1">
                <a:ln>
                  <a:noFill/>
                </a:ln>
                <a:solidFill>
                  <a:srgbClr val="B4B4B4"/>
                </a:solidFill>
                <a:effectLst/>
                <a:uLnTx/>
                <a:uFillTx/>
                <a:latin typeface="Verdana"/>
                <a:ea typeface="+mj-ea"/>
              </a:rPr>
              <a:t>want</a:t>
            </a:r>
            <a:r>
              <a:rPr kumimoji="0" lang="de-DE" sz="4267" b="1" i="0" u="none" strike="noStrike" kern="1200" cap="all" spc="0" normalizeH="0" baseline="0" noProof="0" dirty="0">
                <a:ln>
                  <a:noFill/>
                </a:ln>
                <a:solidFill>
                  <a:srgbClr val="B4B4B4"/>
                </a:solidFill>
                <a:effectLst/>
                <a:uLnTx/>
                <a:uFillTx/>
                <a:latin typeface="Verdana"/>
                <a:ea typeface="+mj-ea"/>
              </a:rPr>
              <a:t> </a:t>
            </a:r>
            <a:r>
              <a:rPr kumimoji="0" lang="de-DE" sz="4267" b="1" i="0" u="none" strike="noStrike" kern="1200" cap="all" spc="0" normalizeH="0" baseline="0" noProof="0" dirty="0" err="1">
                <a:ln>
                  <a:noFill/>
                </a:ln>
                <a:solidFill>
                  <a:srgbClr val="B4B4B4"/>
                </a:solidFill>
                <a:effectLst/>
                <a:uLnTx/>
                <a:uFillTx/>
                <a:latin typeface="Verdana"/>
                <a:ea typeface="+mj-ea"/>
              </a:rPr>
              <a:t>to</a:t>
            </a:r>
            <a:r>
              <a:rPr kumimoji="0" lang="de-DE" sz="4267" b="1" i="0" u="none" strike="noStrike" kern="1200" cap="all" spc="0" normalizeH="0" baseline="0" noProof="0" dirty="0">
                <a:ln>
                  <a:noFill/>
                </a:ln>
                <a:solidFill>
                  <a:srgbClr val="B4B4B4"/>
                </a:solidFill>
                <a:effectLst/>
                <a:uLnTx/>
                <a:uFillTx/>
                <a:latin typeface="Verdana"/>
                <a:ea typeface="+mj-ea"/>
              </a:rPr>
              <a:t> Link Data </a:t>
            </a:r>
          </a:p>
        </p:txBody>
      </p:sp>
      <p:cxnSp>
        <p:nvCxnSpPr>
          <p:cNvPr id="13" name="Gerader Verbinder 12"/>
          <p:cNvCxnSpPr/>
          <p:nvPr/>
        </p:nvCxnSpPr>
        <p:spPr>
          <a:xfrm>
            <a:off x="387927" y="2291241"/>
            <a:ext cx="5512936" cy="0"/>
          </a:xfrm>
          <a:prstGeom prst="line">
            <a:avLst/>
          </a:prstGeom>
          <a:ln w="5715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3" name="Gruppieren 2"/>
          <p:cNvGrpSpPr/>
          <p:nvPr/>
        </p:nvGrpSpPr>
        <p:grpSpPr>
          <a:xfrm>
            <a:off x="7783810" y="3500446"/>
            <a:ext cx="4205287" cy="3183609"/>
            <a:chOff x="5986532" y="1368737"/>
            <a:chExt cx="3153965" cy="2387707"/>
          </a:xfrm>
        </p:grpSpPr>
        <p:sp>
          <p:nvSpPr>
            <p:cNvPr id="14" name="Rechteck 13"/>
            <p:cNvSpPr/>
            <p:nvPr/>
          </p:nvSpPr>
          <p:spPr>
            <a:xfrm>
              <a:off x="5986532" y="1368737"/>
              <a:ext cx="3153965" cy="23877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hteck 14"/>
            <p:cNvSpPr/>
            <p:nvPr/>
          </p:nvSpPr>
          <p:spPr>
            <a:xfrm>
              <a:off x="6947801" y="2612751"/>
              <a:ext cx="2107526" cy="992579"/>
            </a:xfrm>
            <a:prstGeom prst="rect">
              <a:avLst/>
            </a:prstGeom>
          </p:spPr>
          <p:txBody>
            <a:bodyPr wrap="square">
              <a:spAutoFit/>
            </a:bodyPr>
            <a:lstStyle/>
            <a:p>
              <a:pPr marL="0" marR="0" lvl="0" indent="0" algn="l" defTabSz="914400" rtl="0" eaLnBrk="1" fontAlgn="auto" latinLnBrk="0" hangingPunct="0">
                <a:lnSpc>
                  <a:spcPct val="100000"/>
                </a:lnSpc>
                <a:spcBef>
                  <a:spcPts val="0"/>
                </a:spcBef>
                <a:spcAft>
                  <a:spcPts val="300"/>
                </a:spcAft>
                <a:buClrTx/>
                <a:buSzTx/>
                <a:buFontTx/>
                <a:buNone/>
                <a:tabLst/>
                <a:defRPr/>
              </a:pP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is</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the</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ability</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of</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natural</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or</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legal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person</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to</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exclusively</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and</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sovereignly</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decide</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concerning</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the</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usage</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of</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data</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as</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n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economic</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 </a:t>
              </a:r>
              <a:r>
                <a:rPr kumimoji="0" lang="de-DE" sz="1600" b="0" i="0" u="none" strike="noStrike" kern="0" cap="none" spc="0" normalizeH="0" baseline="0" noProof="0" dirty="0" err="1">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asset</a:t>
              </a:r>
              <a:r>
                <a:rPr kumimoji="0" lang="de-DE" sz="1600" b="0" i="0" u="none" strike="noStrike" kern="0" cap="none" spc="0" normalizeH="0" baseline="0" noProof="0" dirty="0">
                  <a:ln>
                    <a:noFill/>
                  </a:ln>
                  <a:solidFill>
                    <a:prstClr val="black"/>
                  </a:solidFill>
                  <a:effectLst/>
                  <a:uLnTx/>
                  <a:uFillTx/>
                  <a:latin typeface="Georgia" panose="02040502050405020303" pitchFamily="18" charset="0"/>
                  <a:ea typeface="Verdana" panose="020B0604030504040204" pitchFamily="34" charset="0"/>
                  <a:cs typeface="Verdana" panose="020B0604030504040204" pitchFamily="34" charset="0"/>
                </a:rPr>
                <a:t>.</a:t>
              </a:r>
            </a:p>
          </p:txBody>
        </p:sp>
        <p:sp>
          <p:nvSpPr>
            <p:cNvPr id="17" name="Rechteck 16"/>
            <p:cNvSpPr/>
            <p:nvPr/>
          </p:nvSpPr>
          <p:spPr>
            <a:xfrm>
              <a:off x="6141965" y="2257847"/>
              <a:ext cx="2490123" cy="253916"/>
            </a:xfrm>
            <a:prstGeom prst="rect">
              <a:avLst/>
            </a:prstGeom>
          </p:spPr>
          <p:txBody>
            <a:bodyPr wrap="square">
              <a:spAutoFit/>
            </a:bodyPr>
            <a:lstStyle/>
            <a:p>
              <a:pPr marL="0" marR="0" lvl="0" indent="0" algn="l" defTabSz="914400" rtl="0" eaLnBrk="1" fontAlgn="auto" latinLnBrk="0" hangingPunct="0">
                <a:lnSpc>
                  <a:spcPct val="100000"/>
                </a:lnSpc>
                <a:spcBef>
                  <a:spcPts val="0"/>
                </a:spcBef>
                <a:spcAft>
                  <a:spcPts val="300"/>
                </a:spcAft>
                <a:buClrTx/>
                <a:buSzTx/>
                <a:buFontTx/>
                <a:buNone/>
                <a:tabLst/>
                <a:defRPr/>
              </a:pPr>
              <a:r>
                <a:rPr kumimoji="0" lang="de-DE" sz="1600" b="0" i="0" u="none" strike="noStrike" kern="0" cap="all" spc="0" normalizeH="0" baseline="0" noProof="0" dirty="0">
                  <a:ln>
                    <a:noFill/>
                  </a:ln>
                  <a:solidFill>
                    <a:srgbClr val="0BA2E3"/>
                  </a:solidFill>
                  <a:effectLst/>
                  <a:uLnTx/>
                  <a:uFillTx/>
                  <a:latin typeface="Verdana" panose="020B0604030504040204" pitchFamily="34" charset="0"/>
                  <a:ea typeface="Verdana" panose="020B0604030504040204" pitchFamily="34" charset="0"/>
                  <a:cs typeface="Verdana" panose="020B0604030504040204" pitchFamily="34" charset="0"/>
                </a:rPr>
                <a:t>DATA </a:t>
              </a:r>
              <a:r>
                <a:rPr kumimoji="0" lang="de-DE" sz="1600" b="0" i="0" u="none" strike="noStrike" kern="0" cap="all" spc="0" normalizeH="0" baseline="0" noProof="0" dirty="0" err="1">
                  <a:ln>
                    <a:noFill/>
                  </a:ln>
                  <a:solidFill>
                    <a:srgbClr val="0BA2E3"/>
                  </a:solidFill>
                  <a:effectLst/>
                  <a:uLnTx/>
                  <a:uFillTx/>
                  <a:latin typeface="Verdana" panose="020B0604030504040204" pitchFamily="34" charset="0"/>
                  <a:ea typeface="Verdana" panose="020B0604030504040204" pitchFamily="34" charset="0"/>
                  <a:cs typeface="Verdana" panose="020B0604030504040204" pitchFamily="34" charset="0"/>
                </a:rPr>
                <a:t>Sovereignty</a:t>
              </a:r>
              <a:endParaRPr kumimoji="0" lang="de-DE" sz="1600" b="0" i="0" u="none" strike="noStrike" kern="0" cap="all" spc="0" normalizeH="0" baseline="0" noProof="0" dirty="0">
                <a:ln>
                  <a:noFill/>
                </a:ln>
                <a:solidFill>
                  <a:srgbClr val="0BA2E3"/>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18" name="Gerader Verbinder 17"/>
            <p:cNvCxnSpPr/>
            <p:nvPr/>
          </p:nvCxnSpPr>
          <p:spPr>
            <a:xfrm flipH="1">
              <a:off x="7033707" y="2612751"/>
              <a:ext cx="1228354" cy="0"/>
            </a:xfrm>
            <a:prstGeom prst="line">
              <a:avLst/>
            </a:prstGeom>
            <a:ln w="57150">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19" name="Gruppieren 18"/>
            <p:cNvGrpSpPr/>
            <p:nvPr/>
          </p:nvGrpSpPr>
          <p:grpSpPr>
            <a:xfrm>
              <a:off x="6822861" y="1562973"/>
              <a:ext cx="513449" cy="552158"/>
              <a:chOff x="6947801" y="1485291"/>
              <a:chExt cx="513449" cy="552158"/>
            </a:xfrm>
          </p:grpSpPr>
          <p:sp>
            <p:nvSpPr>
              <p:cNvPr id="20" name="Ellipse 19"/>
              <p:cNvSpPr/>
              <p:nvPr/>
            </p:nvSpPr>
            <p:spPr>
              <a:xfrm>
                <a:off x="6947801" y="1524000"/>
                <a:ext cx="513449" cy="51344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pic>
            <p:nvPicPr>
              <p:cNvPr id="21" name="Grafik 20"/>
              <p:cNvPicPr>
                <a:picLocks noChangeAspect="1"/>
              </p:cNvPicPr>
              <p:nvPr/>
            </p:nvPicPr>
            <p:blipFill>
              <a:blip r:embed="rId10" cstate="screen">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6993258" y="1485291"/>
                <a:ext cx="435233" cy="490094"/>
              </a:xfrm>
              <a:prstGeom prst="rect">
                <a:avLst/>
              </a:prstGeom>
            </p:spPr>
          </p:pic>
        </p:grpSp>
      </p:grpSp>
    </p:spTree>
    <p:custDataLst>
      <p:tags r:id="rId1"/>
    </p:custDataLst>
    <p:extLst>
      <p:ext uri="{BB962C8B-B14F-4D97-AF65-F5344CB8AC3E}">
        <p14:creationId xmlns:p14="http://schemas.microsoft.com/office/powerpoint/2010/main" val="25201667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0" y="0"/>
            <a:ext cx="12192000" cy="6858000"/>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667" b="0" i="0" u="none" strike="noStrike" kern="1200" cap="none" spc="0" normalizeH="0" baseline="0" noProof="0" dirty="0">
              <a:ln>
                <a:noFill/>
              </a:ln>
              <a:solidFill>
                <a:prstClr val="white">
                  <a:lumMod val="85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Rechteck 4"/>
          <p:cNvSpPr/>
          <p:nvPr/>
        </p:nvSpPr>
        <p:spPr>
          <a:xfrm>
            <a:off x="9762067" y="-52624"/>
            <a:ext cx="2032000" cy="11345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pic>
        <p:nvPicPr>
          <p:cNvPr id="7" name="Grafik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85410" y="2384807"/>
            <a:ext cx="8322801" cy="3530911"/>
          </a:xfrm>
          <a:prstGeom prst="rect">
            <a:avLst/>
          </a:prstGeom>
        </p:spPr>
      </p:pic>
      <p:pic>
        <p:nvPicPr>
          <p:cNvPr id="8" name="Grafik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9613726" y="4678202"/>
            <a:ext cx="1972759" cy="1004439"/>
          </a:xfrm>
          <a:prstGeom prst="rect">
            <a:avLst/>
          </a:prstGeom>
        </p:spPr>
      </p:pic>
      <p:sp>
        <p:nvSpPr>
          <p:cNvPr id="9" name="Titel 1"/>
          <p:cNvSpPr txBox="1">
            <a:spLocks/>
          </p:cNvSpPr>
          <p:nvPr/>
        </p:nvSpPr>
        <p:spPr>
          <a:xfrm>
            <a:off x="725059" y="620911"/>
            <a:ext cx="4296957" cy="795868"/>
          </a:xfrm>
          <a:prstGeom prst="rect">
            <a:avLst/>
          </a:prstGeom>
        </p:spPr>
        <p:txBody>
          <a:bodyPr/>
          <a:lstStyle>
            <a:lvl1pPr algn="l" defTabSz="457200" rtl="0" eaLnBrk="1" latinLnBrk="0" hangingPunct="1">
              <a:spcBef>
                <a:spcPct val="0"/>
              </a:spcBef>
              <a:buNone/>
              <a:defRPr sz="1800" b="1" kern="1200" cap="all">
                <a:solidFill>
                  <a:schemeClr val="tx1"/>
                </a:solidFill>
                <a:latin typeface="Verdana"/>
                <a:ea typeface="+mj-ea"/>
                <a:cs typeface="Verdana"/>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867" b="1" i="0" u="none" strike="noStrike" kern="1200" cap="all" spc="0" normalizeH="0" baseline="0" noProof="0" dirty="0">
                <a:ln>
                  <a:noFill/>
                </a:ln>
                <a:solidFill>
                  <a:prstClr val="white"/>
                </a:solidFill>
                <a:effectLst/>
                <a:uLnTx/>
                <a:uFillTx/>
                <a:latin typeface="Verdana"/>
                <a:ea typeface="+mj-ea"/>
              </a:rPr>
              <a:t>THE INTERNATIONAL DATA</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867" b="0" i="0" u="none" strike="noStrike" kern="1200" cap="all" spc="0" normalizeH="0" baseline="0" noProof="0" dirty="0">
                <a:ln>
                  <a:noFill/>
                </a:ln>
                <a:solidFill>
                  <a:prstClr val="white"/>
                </a:solidFill>
                <a:effectLst/>
                <a:uLnTx/>
                <a:uFillTx/>
                <a:latin typeface="Verdana"/>
                <a:ea typeface="+mj-ea"/>
              </a:rPr>
              <a:t>SPACES APPROACH CONNECTS</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867" b="0" i="0" u="none" strike="noStrike" kern="1200" cap="all" spc="0" normalizeH="0" baseline="0" noProof="0" dirty="0">
                <a:ln>
                  <a:noFill/>
                </a:ln>
                <a:solidFill>
                  <a:prstClr val="white"/>
                </a:solidFill>
                <a:effectLst/>
                <a:uLnTx/>
                <a:uFillTx/>
                <a:latin typeface="Verdana"/>
                <a:ea typeface="+mj-ea"/>
              </a:rPr>
              <a:t>ALL KINDS OF DATA ENDPOINTS</a:t>
            </a:r>
            <a:endParaRPr kumimoji="0" lang="de-DE" sz="1867" b="0" i="0" u="none" strike="noStrike" kern="1200" cap="all" spc="0" normalizeH="0" baseline="0" noProof="0" dirty="0">
              <a:ln>
                <a:noFill/>
              </a:ln>
              <a:solidFill>
                <a:prstClr val="white"/>
              </a:solidFill>
              <a:effectLst/>
              <a:uLnTx/>
              <a:uFillTx/>
              <a:latin typeface="Verdana"/>
              <a:ea typeface="+mj-ea"/>
            </a:endParaRPr>
          </a:p>
        </p:txBody>
      </p:sp>
      <p:sp>
        <p:nvSpPr>
          <p:cNvPr id="10" name="Textfeld 9"/>
          <p:cNvSpPr txBox="1"/>
          <p:nvPr/>
        </p:nvSpPr>
        <p:spPr>
          <a:xfrm>
            <a:off x="5404172" y="620911"/>
            <a:ext cx="4021965" cy="10776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When broadening the perspective from an individual use case scenario to a platform landscape view, the INTERNATIONAL DATA SPACES positions itself as an architecture to link different cloud platforms through secure exchange and trusted sharing of data, shor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67"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hrough</a:t>
            </a:r>
            <a:r>
              <a:rPr kumimoji="0" lang="de-DE" sz="1067"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1067"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ata</a:t>
            </a:r>
            <a:r>
              <a:rPr kumimoji="0" lang="de-DE" sz="1067"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1067"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overeignty</a:t>
            </a:r>
            <a:r>
              <a:rPr kumimoji="0" lang="de-DE" sz="1067"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de-DE" sz="1067"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12" name="Gerader Verbinder 11"/>
          <p:cNvCxnSpPr/>
          <p:nvPr/>
        </p:nvCxnSpPr>
        <p:spPr>
          <a:xfrm>
            <a:off x="5515154" y="1798407"/>
            <a:ext cx="2031173"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3" name="Textfeld 12"/>
          <p:cNvSpPr txBox="1"/>
          <p:nvPr/>
        </p:nvSpPr>
        <p:spPr>
          <a:xfrm>
            <a:off x="851751" y="6037198"/>
            <a:ext cx="8619517" cy="4207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a:ea typeface="+mn-ea"/>
                <a:cs typeface="+mn-cs"/>
              </a:rPr>
              <a:t>By proposing a specific software component, the INTERNATIONAL DATA SPACES Connector, industrial data clouds can b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a:ea typeface="+mn-ea"/>
                <a:cs typeface="+mn-cs"/>
              </a:rPr>
              <a:t>connected, as well as individual enterprise clouds and </a:t>
            </a:r>
            <a:r>
              <a:rPr kumimoji="0" lang="en-US" sz="1067" b="0" i="0" u="none" strike="noStrike" kern="1200" cap="none" spc="0" normalizeH="0" baseline="0" noProof="0" dirty="0" err="1">
                <a:ln>
                  <a:noFill/>
                </a:ln>
                <a:solidFill>
                  <a:prstClr val="black"/>
                </a:solidFill>
                <a:effectLst/>
                <a:uLnTx/>
                <a:uFillTx/>
                <a:latin typeface="Calibri"/>
                <a:ea typeface="+mn-ea"/>
                <a:cs typeface="+mn-cs"/>
              </a:rPr>
              <a:t>onpremise</a:t>
            </a:r>
            <a:r>
              <a:rPr kumimoji="0" lang="en-US" sz="1067" b="0" i="0" u="none" strike="noStrike" kern="1200" cap="none" spc="0" normalizeH="0" baseline="0" noProof="0" dirty="0">
                <a:ln>
                  <a:noFill/>
                </a:ln>
                <a:solidFill>
                  <a:prstClr val="black"/>
                </a:solidFill>
                <a:effectLst/>
                <a:uLnTx/>
                <a:uFillTx/>
                <a:latin typeface="Calibri"/>
                <a:ea typeface="+mn-ea"/>
                <a:cs typeface="+mn-cs"/>
              </a:rPr>
              <a:t> applications and individual connected devices.</a:t>
            </a:r>
            <a:endParaRPr kumimoji="0" lang="de-DE" sz="1067"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1" name="Grafik 10"/>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55773" y="375495"/>
            <a:ext cx="1644587" cy="490832"/>
          </a:xfrm>
          <a:prstGeom prst="rect">
            <a:avLst/>
          </a:prstGeom>
        </p:spPr>
      </p:pic>
    </p:spTree>
    <p:extLst>
      <p:ext uri="{BB962C8B-B14F-4D97-AF65-F5344CB8AC3E}">
        <p14:creationId xmlns:p14="http://schemas.microsoft.com/office/powerpoint/2010/main" val="116484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65239AD3-E5C7-4963-AB07-FDBBA6996727}"/>
              </a:ext>
            </a:extLst>
          </p:cNvPr>
          <p:cNvSpPr/>
          <p:nvPr/>
        </p:nvSpPr>
        <p:spPr>
          <a:xfrm>
            <a:off x="1080119" y="2923800"/>
            <a:ext cx="768000" cy="76968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8" name="Oval 7">
            <a:extLst>
              <a:ext uri="{FF2B5EF4-FFF2-40B4-BE49-F238E27FC236}">
                <a16:creationId xmlns:a16="http://schemas.microsoft.com/office/drawing/2014/main" id="{164E27F4-6822-4BE1-8FE7-9A5FE704E8F7}"/>
              </a:ext>
            </a:extLst>
          </p:cNvPr>
          <p:cNvSpPr/>
          <p:nvPr/>
        </p:nvSpPr>
        <p:spPr>
          <a:xfrm>
            <a:off x="10300052" y="2928584"/>
            <a:ext cx="768000" cy="768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4" name="Straight Arrow Connector 13">
            <a:extLst>
              <a:ext uri="{FF2B5EF4-FFF2-40B4-BE49-F238E27FC236}">
                <a16:creationId xmlns:a16="http://schemas.microsoft.com/office/drawing/2014/main" id="{D283294A-DD8D-4937-BCEE-76AC19AC49F4}"/>
              </a:ext>
            </a:extLst>
          </p:cNvPr>
          <p:cNvCxnSpPr/>
          <p:nvPr/>
        </p:nvCxnSpPr>
        <p:spPr>
          <a:xfrm>
            <a:off x="1988942" y="3299399"/>
            <a:ext cx="619125" cy="0"/>
          </a:xfrm>
          <a:prstGeom prst="straightConnector1">
            <a:avLst/>
          </a:prstGeom>
          <a:ln w="9525">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8DAFF83A-5E0E-4F49-BC9D-8CE0DEC18BB1}"/>
              </a:ext>
            </a:extLst>
          </p:cNvPr>
          <p:cNvCxnSpPr/>
          <p:nvPr/>
        </p:nvCxnSpPr>
        <p:spPr>
          <a:xfrm>
            <a:off x="9577311" y="3308640"/>
            <a:ext cx="619125" cy="0"/>
          </a:xfrm>
          <a:prstGeom prst="straightConnector1">
            <a:avLst/>
          </a:prstGeom>
          <a:ln w="9525">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FE6DDDF9-B5C9-4641-B98E-72BC9C36CBF6}"/>
              </a:ext>
            </a:extLst>
          </p:cNvPr>
          <p:cNvSpPr txBox="1"/>
          <p:nvPr/>
        </p:nvSpPr>
        <p:spPr>
          <a:xfrm>
            <a:off x="1033702" y="3066363"/>
            <a:ext cx="847725"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DATA OWN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cxnSp>
        <p:nvCxnSpPr>
          <p:cNvPr id="19" name="Straight Arrow Connector 18">
            <a:extLst>
              <a:ext uri="{FF2B5EF4-FFF2-40B4-BE49-F238E27FC236}">
                <a16:creationId xmlns:a16="http://schemas.microsoft.com/office/drawing/2014/main" id="{FDD32FAF-6ABE-4AF3-9CB9-4F903A164241}"/>
              </a:ext>
            </a:extLst>
          </p:cNvPr>
          <p:cNvCxnSpPr>
            <a:cxnSpLocks/>
          </p:cNvCxnSpPr>
          <p:nvPr/>
        </p:nvCxnSpPr>
        <p:spPr>
          <a:xfrm>
            <a:off x="3784996" y="3308640"/>
            <a:ext cx="4688683" cy="0"/>
          </a:xfrm>
          <a:prstGeom prst="straightConnector1">
            <a:avLst/>
          </a:prstGeom>
          <a:ln w="1270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CAF0C217-9525-42F2-8501-4CB46D2E80BD}"/>
              </a:ext>
            </a:extLst>
          </p:cNvPr>
          <p:cNvCxnSpPr>
            <a:cxnSpLocks/>
          </p:cNvCxnSpPr>
          <p:nvPr/>
        </p:nvCxnSpPr>
        <p:spPr>
          <a:xfrm flipV="1">
            <a:off x="3367089" y="2295522"/>
            <a:ext cx="1881187" cy="815047"/>
          </a:xfrm>
          <a:prstGeom prst="line">
            <a:avLst/>
          </a:prstGeom>
          <a:ln w="3492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8C1C3430-CEA8-4073-B999-BEA06B1FF9A5}"/>
              </a:ext>
            </a:extLst>
          </p:cNvPr>
          <p:cNvCxnSpPr>
            <a:cxnSpLocks/>
          </p:cNvCxnSpPr>
          <p:nvPr/>
        </p:nvCxnSpPr>
        <p:spPr>
          <a:xfrm>
            <a:off x="6992542" y="2314226"/>
            <a:ext cx="1832372" cy="796343"/>
          </a:xfrm>
          <a:prstGeom prst="line">
            <a:avLst/>
          </a:prstGeom>
          <a:ln w="3492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599CCAB0-B07C-4FF9-98DD-61153AA065B1}"/>
              </a:ext>
            </a:extLst>
          </p:cNvPr>
          <p:cNvSpPr/>
          <p:nvPr/>
        </p:nvSpPr>
        <p:spPr>
          <a:xfrm>
            <a:off x="5485209" y="1923317"/>
            <a:ext cx="1214435" cy="558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16E635CF-9CE5-438E-9C18-C501D1D31F8D}"/>
              </a:ext>
            </a:extLst>
          </p:cNvPr>
          <p:cNvSpPr txBox="1"/>
          <p:nvPr/>
        </p:nvSpPr>
        <p:spPr>
          <a:xfrm>
            <a:off x="5488782" y="1875171"/>
            <a:ext cx="1214437" cy="60016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BROKER SERVICE PROVID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cxnSp>
        <p:nvCxnSpPr>
          <p:cNvPr id="22" name="Straight Connector 21">
            <a:extLst>
              <a:ext uri="{FF2B5EF4-FFF2-40B4-BE49-F238E27FC236}">
                <a16:creationId xmlns:a16="http://schemas.microsoft.com/office/drawing/2014/main" id="{4DBBEFD9-83C4-422F-8F38-81600C7F7EC3}"/>
              </a:ext>
            </a:extLst>
          </p:cNvPr>
          <p:cNvCxnSpPr>
            <a:cxnSpLocks/>
          </p:cNvCxnSpPr>
          <p:nvPr/>
        </p:nvCxnSpPr>
        <p:spPr>
          <a:xfrm flipV="1">
            <a:off x="3352801" y="1086653"/>
            <a:ext cx="1866900" cy="1832755"/>
          </a:xfrm>
          <a:prstGeom prst="line">
            <a:avLst/>
          </a:prstGeom>
          <a:ln w="12700" cap="rnd">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A2DBE420-29E2-4F6F-9C73-95E65AD8BC3F}"/>
              </a:ext>
            </a:extLst>
          </p:cNvPr>
          <p:cNvCxnSpPr>
            <a:cxnSpLocks/>
          </p:cNvCxnSpPr>
          <p:nvPr/>
        </p:nvCxnSpPr>
        <p:spPr>
          <a:xfrm flipH="1" flipV="1">
            <a:off x="6713929" y="907802"/>
            <a:ext cx="2125272" cy="2011607"/>
          </a:xfrm>
          <a:prstGeom prst="line">
            <a:avLst/>
          </a:prstGeom>
          <a:ln w="12700" cap="rnd">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1A295EC-7345-428D-AF9F-4D5A387A1C81}"/>
              </a:ext>
            </a:extLst>
          </p:cNvPr>
          <p:cNvCxnSpPr>
            <a:cxnSpLocks/>
          </p:cNvCxnSpPr>
          <p:nvPr/>
        </p:nvCxnSpPr>
        <p:spPr>
          <a:xfrm flipH="1" flipV="1">
            <a:off x="3405190" y="3757607"/>
            <a:ext cx="2162175" cy="2041483"/>
          </a:xfrm>
          <a:prstGeom prst="line">
            <a:avLst/>
          </a:prstGeom>
          <a:ln w="28575" cap="rnd">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EB0F4694-246A-4BFA-82F9-69F18EE3509C}"/>
              </a:ext>
            </a:extLst>
          </p:cNvPr>
          <p:cNvCxnSpPr>
            <a:cxnSpLocks/>
          </p:cNvCxnSpPr>
          <p:nvPr/>
        </p:nvCxnSpPr>
        <p:spPr>
          <a:xfrm flipV="1">
            <a:off x="6624638" y="3757607"/>
            <a:ext cx="2176463" cy="2070499"/>
          </a:xfrm>
          <a:prstGeom prst="line">
            <a:avLst/>
          </a:prstGeom>
          <a:ln w="28575" cap="rnd">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4251577D-748C-44D8-AB6E-5F3318352D0D}"/>
              </a:ext>
            </a:extLst>
          </p:cNvPr>
          <p:cNvCxnSpPr>
            <a:cxnSpLocks/>
          </p:cNvCxnSpPr>
          <p:nvPr/>
        </p:nvCxnSpPr>
        <p:spPr>
          <a:xfrm>
            <a:off x="3328988" y="3479900"/>
            <a:ext cx="1890712" cy="841861"/>
          </a:xfrm>
          <a:prstGeom prst="line">
            <a:avLst/>
          </a:prstGeom>
          <a:ln w="3492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D22B7072-9179-4ADD-8C23-CCFFCA13A165}"/>
              </a:ext>
            </a:extLst>
          </p:cNvPr>
          <p:cNvCxnSpPr>
            <a:cxnSpLocks/>
          </p:cNvCxnSpPr>
          <p:nvPr/>
        </p:nvCxnSpPr>
        <p:spPr>
          <a:xfrm flipV="1">
            <a:off x="6990247" y="3479901"/>
            <a:ext cx="1877528" cy="838369"/>
          </a:xfrm>
          <a:prstGeom prst="line">
            <a:avLst/>
          </a:prstGeom>
          <a:ln w="3492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sp>
        <p:nvSpPr>
          <p:cNvPr id="40" name="Rectangle 39">
            <a:extLst>
              <a:ext uri="{FF2B5EF4-FFF2-40B4-BE49-F238E27FC236}">
                <a16:creationId xmlns:a16="http://schemas.microsoft.com/office/drawing/2014/main" id="{1C2FFF38-CD07-4AF2-B4D7-D181EE5A05B8}"/>
              </a:ext>
            </a:extLst>
          </p:cNvPr>
          <p:cNvSpPr/>
          <p:nvPr/>
        </p:nvSpPr>
        <p:spPr>
          <a:xfrm>
            <a:off x="5499497" y="4135065"/>
            <a:ext cx="1214433" cy="558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8D60A0AB-CA17-472B-9867-911563DA83CE}"/>
              </a:ext>
            </a:extLst>
          </p:cNvPr>
          <p:cNvSpPr txBox="1"/>
          <p:nvPr/>
        </p:nvSpPr>
        <p:spPr>
          <a:xfrm>
            <a:off x="5488782" y="4171734"/>
            <a:ext cx="1214437"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CLEARING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HOUSE</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sp>
        <p:nvSpPr>
          <p:cNvPr id="47" name="Rectangle 46">
            <a:extLst>
              <a:ext uri="{FF2B5EF4-FFF2-40B4-BE49-F238E27FC236}">
                <a16:creationId xmlns:a16="http://schemas.microsoft.com/office/drawing/2014/main" id="{0673A2C7-697D-476A-BF08-90F4B306E9C0}"/>
              </a:ext>
            </a:extLst>
          </p:cNvPr>
          <p:cNvSpPr/>
          <p:nvPr/>
        </p:nvSpPr>
        <p:spPr>
          <a:xfrm>
            <a:off x="5357814" y="725525"/>
            <a:ext cx="1476375" cy="558899"/>
          </a:xfrm>
          <a:prstGeom prst="rect">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F5DFDE71-4AAD-4DD0-BA13-AF2F3B557977}"/>
              </a:ext>
            </a:extLst>
          </p:cNvPr>
          <p:cNvSpPr txBox="1"/>
          <p:nvPr/>
        </p:nvSpPr>
        <p:spPr>
          <a:xfrm>
            <a:off x="1785067" y="3306372"/>
            <a:ext cx="1026875"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Authorize</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51" name="TextBox 50">
            <a:extLst>
              <a:ext uri="{FF2B5EF4-FFF2-40B4-BE49-F238E27FC236}">
                <a16:creationId xmlns:a16="http://schemas.microsoft.com/office/drawing/2014/main" id="{1B34A62F-6377-4C98-8598-0228E41808D7}"/>
              </a:ext>
            </a:extLst>
          </p:cNvPr>
          <p:cNvSpPr txBox="1"/>
          <p:nvPr/>
        </p:nvSpPr>
        <p:spPr>
          <a:xfrm>
            <a:off x="9231234" y="3300368"/>
            <a:ext cx="1218047"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Use data</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53" name="TextBox 52">
            <a:extLst>
              <a:ext uri="{FF2B5EF4-FFF2-40B4-BE49-F238E27FC236}">
                <a16:creationId xmlns:a16="http://schemas.microsoft.com/office/drawing/2014/main" id="{4F695B31-36A4-4194-9483-95B14ECC86AD}"/>
              </a:ext>
            </a:extLst>
          </p:cNvPr>
          <p:cNvSpPr txBox="1"/>
          <p:nvPr/>
        </p:nvSpPr>
        <p:spPr>
          <a:xfrm>
            <a:off x="10225526" y="3062420"/>
            <a:ext cx="847725"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DATA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US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sp>
        <p:nvSpPr>
          <p:cNvPr id="54" name="TextBox 53">
            <a:extLst>
              <a:ext uri="{FF2B5EF4-FFF2-40B4-BE49-F238E27FC236}">
                <a16:creationId xmlns:a16="http://schemas.microsoft.com/office/drawing/2014/main" id="{37FEB084-9B22-4618-9D31-0B67BE17AAD0}"/>
              </a:ext>
            </a:extLst>
          </p:cNvPr>
          <p:cNvSpPr txBox="1"/>
          <p:nvPr/>
        </p:nvSpPr>
        <p:spPr>
          <a:xfrm>
            <a:off x="5364959" y="766468"/>
            <a:ext cx="1476375"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SERVICE PROVID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sp>
        <p:nvSpPr>
          <p:cNvPr id="61" name="Oval 60">
            <a:extLst>
              <a:ext uri="{FF2B5EF4-FFF2-40B4-BE49-F238E27FC236}">
                <a16:creationId xmlns:a16="http://schemas.microsoft.com/office/drawing/2014/main" id="{303B4B26-EC6A-4AF3-9CC6-D195A03C5A49}"/>
              </a:ext>
            </a:extLst>
          </p:cNvPr>
          <p:cNvSpPr/>
          <p:nvPr/>
        </p:nvSpPr>
        <p:spPr>
          <a:xfrm>
            <a:off x="5781675" y="4910273"/>
            <a:ext cx="628652" cy="62865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TextBox 61">
            <a:extLst>
              <a:ext uri="{FF2B5EF4-FFF2-40B4-BE49-F238E27FC236}">
                <a16:creationId xmlns:a16="http://schemas.microsoft.com/office/drawing/2014/main" id="{EF16D5D7-7849-43A5-8E3F-575EF03DC73D}"/>
              </a:ext>
            </a:extLst>
          </p:cNvPr>
          <p:cNvSpPr txBox="1"/>
          <p:nvPr/>
        </p:nvSpPr>
        <p:spPr>
          <a:xfrm>
            <a:off x="5642972" y="5055322"/>
            <a:ext cx="906059" cy="3385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Droid Sans" panose="020B0606030804020204" pitchFamily="34" charset="0"/>
                <a:ea typeface="Droid Sans" panose="020B0606030804020204" pitchFamily="34" charset="0"/>
                <a:cs typeface="Droid Sans" panose="020B0606030804020204" pitchFamily="34" charset="0"/>
              </a:rPr>
              <a:t>IDENTITY PROVIDER</a:t>
            </a:r>
            <a:endParaRPr kumimoji="0" lang="en-GB" sz="800" b="1" i="0" u="none" strike="noStrike" kern="1200" cap="none" spc="0" normalizeH="0" baseline="0" noProof="0" dirty="0">
              <a:ln>
                <a:noFill/>
              </a:ln>
              <a:solidFill>
                <a:prstClr val="black"/>
              </a:solidFill>
              <a:effectLst/>
              <a:uLnTx/>
              <a:uFillTx/>
              <a:latin typeface="Droid Sans" panose="020B0606030804020204" pitchFamily="34" charset="0"/>
              <a:ea typeface="Droid Sans" panose="020B0606030804020204" pitchFamily="34" charset="0"/>
              <a:cs typeface="Droid Sans" panose="020B0606030804020204" pitchFamily="34" charset="0"/>
            </a:endParaRPr>
          </a:p>
        </p:txBody>
      </p:sp>
      <p:sp>
        <p:nvSpPr>
          <p:cNvPr id="65" name="Rectangle 64">
            <a:extLst>
              <a:ext uri="{FF2B5EF4-FFF2-40B4-BE49-F238E27FC236}">
                <a16:creationId xmlns:a16="http://schemas.microsoft.com/office/drawing/2014/main" id="{697731A8-F407-47EB-A473-A3D69AB0B481}"/>
              </a:ext>
            </a:extLst>
          </p:cNvPr>
          <p:cNvSpPr/>
          <p:nvPr/>
        </p:nvSpPr>
        <p:spPr>
          <a:xfrm>
            <a:off x="5499498" y="5734395"/>
            <a:ext cx="1214433" cy="558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6" name="TextBox 65">
            <a:extLst>
              <a:ext uri="{FF2B5EF4-FFF2-40B4-BE49-F238E27FC236}">
                <a16:creationId xmlns:a16="http://schemas.microsoft.com/office/drawing/2014/main" id="{D0EF1B48-2A8D-4193-A86E-0DAF1D8DA0E1}"/>
              </a:ext>
            </a:extLst>
          </p:cNvPr>
          <p:cNvSpPr txBox="1"/>
          <p:nvPr/>
        </p:nvSpPr>
        <p:spPr>
          <a:xfrm>
            <a:off x="5499496" y="5768218"/>
            <a:ext cx="1214437"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APP STOR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PROVID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cxnSp>
        <p:nvCxnSpPr>
          <p:cNvPr id="73" name="Straight Arrow Connector 72">
            <a:extLst>
              <a:ext uri="{FF2B5EF4-FFF2-40B4-BE49-F238E27FC236}">
                <a16:creationId xmlns:a16="http://schemas.microsoft.com/office/drawing/2014/main" id="{10F65730-E4F6-4095-8B67-0A817F68D811}"/>
              </a:ext>
            </a:extLst>
          </p:cNvPr>
          <p:cNvCxnSpPr>
            <a:cxnSpLocks/>
          </p:cNvCxnSpPr>
          <p:nvPr/>
        </p:nvCxnSpPr>
        <p:spPr>
          <a:xfrm flipH="1">
            <a:off x="6853241" y="6012772"/>
            <a:ext cx="1428748" cy="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80" name="Rectangle 79">
            <a:extLst>
              <a:ext uri="{FF2B5EF4-FFF2-40B4-BE49-F238E27FC236}">
                <a16:creationId xmlns:a16="http://schemas.microsoft.com/office/drawing/2014/main" id="{792D7F45-D210-4EB0-BF46-B8A516E50BE4}"/>
              </a:ext>
            </a:extLst>
          </p:cNvPr>
          <p:cNvSpPr/>
          <p:nvPr/>
        </p:nvSpPr>
        <p:spPr>
          <a:xfrm>
            <a:off x="8281989" y="5733323"/>
            <a:ext cx="1214433" cy="558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1" name="TextBox 80">
            <a:extLst>
              <a:ext uri="{FF2B5EF4-FFF2-40B4-BE49-F238E27FC236}">
                <a16:creationId xmlns:a16="http://schemas.microsoft.com/office/drawing/2014/main" id="{A6CD23D9-505A-449F-9756-92CE37EE7ED1}"/>
              </a:ext>
            </a:extLst>
          </p:cNvPr>
          <p:cNvSpPr txBox="1"/>
          <p:nvPr/>
        </p:nvSpPr>
        <p:spPr>
          <a:xfrm>
            <a:off x="8281988" y="5767146"/>
            <a:ext cx="1214437"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APP </a:t>
            </a:r>
            <a:b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b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PROVID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cxnSp>
        <p:nvCxnSpPr>
          <p:cNvPr id="85" name="Straight Arrow Connector 84">
            <a:extLst>
              <a:ext uri="{FF2B5EF4-FFF2-40B4-BE49-F238E27FC236}">
                <a16:creationId xmlns:a16="http://schemas.microsoft.com/office/drawing/2014/main" id="{FE2B699C-4446-4D99-A3FD-0E142F6259A2}"/>
              </a:ext>
            </a:extLst>
          </p:cNvPr>
          <p:cNvCxnSpPr>
            <a:cxnSpLocks/>
          </p:cNvCxnSpPr>
          <p:nvPr/>
        </p:nvCxnSpPr>
        <p:spPr>
          <a:xfrm flipH="1" flipV="1">
            <a:off x="9305926" y="3653938"/>
            <a:ext cx="1257301" cy="1138919"/>
          </a:xfrm>
          <a:prstGeom prst="straightConnector1">
            <a:avLst/>
          </a:prstGeom>
          <a:ln w="34925" cap="rnd">
            <a:solidFill>
              <a:schemeClr val="bg1"/>
            </a:solidFill>
            <a:prstDash val="sysDot"/>
            <a:tailEnd type="triangle"/>
          </a:ln>
          <a:effectLst/>
        </p:spPr>
        <p:style>
          <a:lnRef idx="2">
            <a:schemeClr val="accent1"/>
          </a:lnRef>
          <a:fillRef idx="0">
            <a:schemeClr val="accent1"/>
          </a:fillRef>
          <a:effectRef idx="1">
            <a:schemeClr val="accent1"/>
          </a:effectRef>
          <a:fontRef idx="minor">
            <a:schemeClr val="tx1"/>
          </a:fontRef>
        </p:style>
      </p:cxnSp>
      <p:sp>
        <p:nvSpPr>
          <p:cNvPr id="9" name="Oval 8">
            <a:extLst>
              <a:ext uri="{FF2B5EF4-FFF2-40B4-BE49-F238E27FC236}">
                <a16:creationId xmlns:a16="http://schemas.microsoft.com/office/drawing/2014/main" id="{BD42C97E-DE4F-4D73-A85B-0690944DD636}"/>
              </a:ext>
            </a:extLst>
          </p:cNvPr>
          <p:cNvSpPr>
            <a:spLocks noChangeAspect="1"/>
          </p:cNvSpPr>
          <p:nvPr/>
        </p:nvSpPr>
        <p:spPr>
          <a:xfrm>
            <a:off x="2821731" y="2916887"/>
            <a:ext cx="768000" cy="768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1BEC187B-A39F-4721-A1C7-1DA4E36F9EBD}"/>
              </a:ext>
            </a:extLst>
          </p:cNvPr>
          <p:cNvSpPr/>
          <p:nvPr/>
        </p:nvSpPr>
        <p:spPr>
          <a:xfrm>
            <a:off x="8645441" y="2931367"/>
            <a:ext cx="768000" cy="768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2DE3E356-C712-4958-8839-B07D339F2D1A}"/>
              </a:ext>
            </a:extLst>
          </p:cNvPr>
          <p:cNvSpPr txBox="1"/>
          <p:nvPr/>
        </p:nvSpPr>
        <p:spPr>
          <a:xfrm>
            <a:off x="2777967" y="2970285"/>
            <a:ext cx="847725" cy="60016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DATA PROVI-D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sp>
        <p:nvSpPr>
          <p:cNvPr id="52" name="TextBox 51">
            <a:extLst>
              <a:ext uri="{FF2B5EF4-FFF2-40B4-BE49-F238E27FC236}">
                <a16:creationId xmlns:a16="http://schemas.microsoft.com/office/drawing/2014/main" id="{E2F68FAE-9371-4616-A865-8726EFCC48BA}"/>
              </a:ext>
            </a:extLst>
          </p:cNvPr>
          <p:cNvSpPr txBox="1"/>
          <p:nvPr/>
        </p:nvSpPr>
        <p:spPr>
          <a:xfrm>
            <a:off x="8601676" y="2975982"/>
            <a:ext cx="847725" cy="60016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DATA CONSUM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sp>
        <p:nvSpPr>
          <p:cNvPr id="113" name="Isosceles Triangle 112">
            <a:extLst>
              <a:ext uri="{FF2B5EF4-FFF2-40B4-BE49-F238E27FC236}">
                <a16:creationId xmlns:a16="http://schemas.microsoft.com/office/drawing/2014/main" id="{92E3B36A-2990-44D8-93C3-93FC9DEB2DEC}"/>
              </a:ext>
            </a:extLst>
          </p:cNvPr>
          <p:cNvSpPr/>
          <p:nvPr/>
        </p:nvSpPr>
        <p:spPr>
          <a:xfrm rot="18863566">
            <a:off x="3338740" y="3693762"/>
            <a:ext cx="132896" cy="11456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14" name="Isosceles Triangle 113">
            <a:extLst>
              <a:ext uri="{FF2B5EF4-FFF2-40B4-BE49-F238E27FC236}">
                <a16:creationId xmlns:a16="http://schemas.microsoft.com/office/drawing/2014/main" id="{4E385AAF-4066-4C16-9B8C-CCEAB515AD2F}"/>
              </a:ext>
            </a:extLst>
          </p:cNvPr>
          <p:cNvSpPr/>
          <p:nvPr/>
        </p:nvSpPr>
        <p:spPr>
          <a:xfrm rot="2940167">
            <a:off x="8734652" y="3701886"/>
            <a:ext cx="132896" cy="11456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16" name="Isosceles Triangle 115">
            <a:extLst>
              <a:ext uri="{FF2B5EF4-FFF2-40B4-BE49-F238E27FC236}">
                <a16:creationId xmlns:a16="http://schemas.microsoft.com/office/drawing/2014/main" id="{E68A1E4F-C37F-4906-83BB-D35EFC735E43}"/>
              </a:ext>
            </a:extLst>
          </p:cNvPr>
          <p:cNvSpPr/>
          <p:nvPr/>
        </p:nvSpPr>
        <p:spPr>
          <a:xfrm rot="2872038">
            <a:off x="5170151" y="1051381"/>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5" name="Isosceles Triangle 124">
            <a:extLst>
              <a:ext uri="{FF2B5EF4-FFF2-40B4-BE49-F238E27FC236}">
                <a16:creationId xmlns:a16="http://schemas.microsoft.com/office/drawing/2014/main" id="{A5533F8F-A049-4DB0-889A-CB6E298F3B68}"/>
              </a:ext>
            </a:extLst>
          </p:cNvPr>
          <p:cNvSpPr/>
          <p:nvPr/>
        </p:nvSpPr>
        <p:spPr>
          <a:xfrm rot="8165853">
            <a:off x="8782508" y="2869810"/>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6" name="Isosceles Triangle 125">
            <a:extLst>
              <a:ext uri="{FF2B5EF4-FFF2-40B4-BE49-F238E27FC236}">
                <a16:creationId xmlns:a16="http://schemas.microsoft.com/office/drawing/2014/main" id="{E3F3554F-3919-48FD-A781-D68C649D40EA}"/>
              </a:ext>
            </a:extLst>
          </p:cNvPr>
          <p:cNvSpPr/>
          <p:nvPr/>
        </p:nvSpPr>
        <p:spPr>
          <a:xfrm rot="3796591">
            <a:off x="5182037" y="2257570"/>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Isosceles Triangle 126">
            <a:extLst>
              <a:ext uri="{FF2B5EF4-FFF2-40B4-BE49-F238E27FC236}">
                <a16:creationId xmlns:a16="http://schemas.microsoft.com/office/drawing/2014/main" id="{BF15FB1A-6FCB-4A8A-A513-E15CC6856302}"/>
              </a:ext>
            </a:extLst>
          </p:cNvPr>
          <p:cNvSpPr/>
          <p:nvPr/>
        </p:nvSpPr>
        <p:spPr>
          <a:xfrm rot="17881792">
            <a:off x="6919771" y="2257223"/>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8" name="Isosceles Triangle 127">
            <a:extLst>
              <a:ext uri="{FF2B5EF4-FFF2-40B4-BE49-F238E27FC236}">
                <a16:creationId xmlns:a16="http://schemas.microsoft.com/office/drawing/2014/main" id="{B7FD7C66-BBA1-47C5-8AAB-3CF4407C79F6}"/>
              </a:ext>
            </a:extLst>
          </p:cNvPr>
          <p:cNvSpPr/>
          <p:nvPr/>
        </p:nvSpPr>
        <p:spPr>
          <a:xfrm rot="6856722">
            <a:off x="5181369" y="4294089"/>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9" name="Isosceles Triangle 128">
            <a:extLst>
              <a:ext uri="{FF2B5EF4-FFF2-40B4-BE49-F238E27FC236}">
                <a16:creationId xmlns:a16="http://schemas.microsoft.com/office/drawing/2014/main" id="{8BCE6B06-6448-41E7-9F0C-FAEA52A23A23}"/>
              </a:ext>
            </a:extLst>
          </p:cNvPr>
          <p:cNvSpPr/>
          <p:nvPr/>
        </p:nvSpPr>
        <p:spPr>
          <a:xfrm rot="14171937">
            <a:off x="6917701" y="4291882"/>
            <a:ext cx="99099" cy="8543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30" name="TextBox 129">
            <a:extLst>
              <a:ext uri="{FF2B5EF4-FFF2-40B4-BE49-F238E27FC236}">
                <a16:creationId xmlns:a16="http://schemas.microsoft.com/office/drawing/2014/main" id="{DF218004-2A85-489E-884E-54BC83F403E1}"/>
              </a:ext>
            </a:extLst>
          </p:cNvPr>
          <p:cNvSpPr txBox="1"/>
          <p:nvPr/>
        </p:nvSpPr>
        <p:spPr>
          <a:xfrm rot="18911606">
            <a:off x="3393636" y="1764430"/>
            <a:ext cx="1390651"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Transfer data</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1" name="TextBox 130">
            <a:extLst>
              <a:ext uri="{FF2B5EF4-FFF2-40B4-BE49-F238E27FC236}">
                <a16:creationId xmlns:a16="http://schemas.microsoft.com/office/drawing/2014/main" id="{BEFF976E-DCE0-4AC1-88C7-D322B9FF762A}"/>
              </a:ext>
            </a:extLst>
          </p:cNvPr>
          <p:cNvSpPr txBox="1"/>
          <p:nvPr/>
        </p:nvSpPr>
        <p:spPr>
          <a:xfrm rot="20212614">
            <a:off x="3348549" y="2347378"/>
            <a:ext cx="2069315"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Publish metadata</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2" name="TextBox 131">
            <a:extLst>
              <a:ext uri="{FF2B5EF4-FFF2-40B4-BE49-F238E27FC236}">
                <a16:creationId xmlns:a16="http://schemas.microsoft.com/office/drawing/2014/main" id="{2CA3F0AD-89C3-4BFD-BE39-107063B7BD62}"/>
              </a:ext>
            </a:extLst>
          </p:cNvPr>
          <p:cNvSpPr txBox="1"/>
          <p:nvPr/>
        </p:nvSpPr>
        <p:spPr>
          <a:xfrm rot="2607318">
            <a:off x="7311640" y="1746526"/>
            <a:ext cx="1390651"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Receive data  </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3" name="TextBox 132">
            <a:extLst>
              <a:ext uri="{FF2B5EF4-FFF2-40B4-BE49-F238E27FC236}">
                <a16:creationId xmlns:a16="http://schemas.microsoft.com/office/drawing/2014/main" id="{B6DE85C2-686A-497A-985C-C603AFC7D9D7}"/>
              </a:ext>
            </a:extLst>
          </p:cNvPr>
          <p:cNvSpPr txBox="1"/>
          <p:nvPr/>
        </p:nvSpPr>
        <p:spPr>
          <a:xfrm rot="1452669">
            <a:off x="6867838" y="2316234"/>
            <a:ext cx="1867037"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Search metadata</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4" name="TextBox 133">
            <a:extLst>
              <a:ext uri="{FF2B5EF4-FFF2-40B4-BE49-F238E27FC236}">
                <a16:creationId xmlns:a16="http://schemas.microsoft.com/office/drawing/2014/main" id="{4950AEC4-3956-45EC-8F1F-864E57F1E5DA}"/>
              </a:ext>
            </a:extLst>
          </p:cNvPr>
          <p:cNvSpPr txBox="1"/>
          <p:nvPr/>
        </p:nvSpPr>
        <p:spPr>
          <a:xfrm rot="1553662">
            <a:off x="3931332" y="3544764"/>
            <a:ext cx="1390651" cy="50257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Log transaction</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5" name="TextBox 134">
            <a:extLst>
              <a:ext uri="{FF2B5EF4-FFF2-40B4-BE49-F238E27FC236}">
                <a16:creationId xmlns:a16="http://schemas.microsoft.com/office/drawing/2014/main" id="{16BBEAEE-1E6F-41CE-AF13-DDF4426FB2FE}"/>
              </a:ext>
            </a:extLst>
          </p:cNvPr>
          <p:cNvSpPr txBox="1"/>
          <p:nvPr/>
        </p:nvSpPr>
        <p:spPr>
          <a:xfrm rot="2607318">
            <a:off x="3624549" y="4700558"/>
            <a:ext cx="1390651"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Use data apps</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6" name="TextBox 135">
            <a:extLst>
              <a:ext uri="{FF2B5EF4-FFF2-40B4-BE49-F238E27FC236}">
                <a16:creationId xmlns:a16="http://schemas.microsoft.com/office/drawing/2014/main" id="{D9ADF836-1E15-42CC-9FEA-626B8965B3E3}"/>
              </a:ext>
            </a:extLst>
          </p:cNvPr>
          <p:cNvSpPr txBox="1"/>
          <p:nvPr/>
        </p:nvSpPr>
        <p:spPr>
          <a:xfrm rot="20040458">
            <a:off x="6798975" y="3574014"/>
            <a:ext cx="1390651" cy="50257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Log transaction</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7" name="TextBox 136">
            <a:extLst>
              <a:ext uri="{FF2B5EF4-FFF2-40B4-BE49-F238E27FC236}">
                <a16:creationId xmlns:a16="http://schemas.microsoft.com/office/drawing/2014/main" id="{60D895FB-14BE-4A3A-8249-43B8639D4478}"/>
              </a:ext>
            </a:extLst>
          </p:cNvPr>
          <p:cNvSpPr txBox="1"/>
          <p:nvPr/>
        </p:nvSpPr>
        <p:spPr>
          <a:xfrm rot="18957360">
            <a:off x="6712451" y="4613205"/>
            <a:ext cx="2589028"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Use data apps</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8" name="TextBox 137">
            <a:extLst>
              <a:ext uri="{FF2B5EF4-FFF2-40B4-BE49-F238E27FC236}">
                <a16:creationId xmlns:a16="http://schemas.microsoft.com/office/drawing/2014/main" id="{EC043E85-6902-4E55-B71E-563142183467}"/>
              </a:ext>
            </a:extLst>
          </p:cNvPr>
          <p:cNvSpPr txBox="1"/>
          <p:nvPr/>
        </p:nvSpPr>
        <p:spPr>
          <a:xfrm>
            <a:off x="7166689" y="6074328"/>
            <a:ext cx="906059" cy="50257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Publish app</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139" name="TextBox 138">
            <a:extLst>
              <a:ext uri="{FF2B5EF4-FFF2-40B4-BE49-F238E27FC236}">
                <a16:creationId xmlns:a16="http://schemas.microsoft.com/office/drawing/2014/main" id="{28C53285-A21A-4EB1-B27B-10CB77F60587}"/>
              </a:ext>
            </a:extLst>
          </p:cNvPr>
          <p:cNvSpPr txBox="1"/>
          <p:nvPr/>
        </p:nvSpPr>
        <p:spPr>
          <a:xfrm rot="2576237">
            <a:off x="8931736" y="4045542"/>
            <a:ext cx="1390651" cy="50257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rPr>
              <a:t>Provide vocabularies</a:t>
            </a:r>
            <a:endParaRPr kumimoji="0" lang="en-GB" sz="1333" b="0" i="1" u="none" strike="noStrike" kern="1200" cap="none" spc="0" normalizeH="0" baseline="0" noProof="0" dirty="0">
              <a:ln>
                <a:noFill/>
              </a:ln>
              <a:solidFill>
                <a:srgbClr val="FFED00">
                  <a:lumMod val="60000"/>
                  <a:lumOff val="40000"/>
                </a:srgbClr>
              </a:solidFill>
              <a:effectLst/>
              <a:uLnTx/>
              <a:uFillTx/>
              <a:latin typeface="Georgia" panose="02040502050405020303" pitchFamily="18" charset="0"/>
              <a:ea typeface="+mn-ea"/>
              <a:cs typeface="+mn-cs"/>
            </a:endParaRPr>
          </a:p>
        </p:txBody>
      </p:sp>
      <p:sp>
        <p:nvSpPr>
          <p:cNvPr id="82" name="Rectangle 81">
            <a:extLst>
              <a:ext uri="{FF2B5EF4-FFF2-40B4-BE49-F238E27FC236}">
                <a16:creationId xmlns:a16="http://schemas.microsoft.com/office/drawing/2014/main" id="{33E95CED-775F-4A51-9DA6-0AB7A72C0EA9}"/>
              </a:ext>
            </a:extLst>
          </p:cNvPr>
          <p:cNvSpPr/>
          <p:nvPr/>
        </p:nvSpPr>
        <p:spPr>
          <a:xfrm>
            <a:off x="10000064" y="4884859"/>
            <a:ext cx="1214433" cy="558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3" name="TextBox 82">
            <a:extLst>
              <a:ext uri="{FF2B5EF4-FFF2-40B4-BE49-F238E27FC236}">
                <a16:creationId xmlns:a16="http://schemas.microsoft.com/office/drawing/2014/main" id="{7A350DED-1387-420A-838F-ADE9E58ADA8A}"/>
              </a:ext>
            </a:extLst>
          </p:cNvPr>
          <p:cNvSpPr txBox="1"/>
          <p:nvPr/>
        </p:nvSpPr>
        <p:spPr>
          <a:xfrm>
            <a:off x="9928939" y="4916275"/>
            <a:ext cx="1358821"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VOCABULARY</a:t>
            </a:r>
            <a:b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b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PROVIDER</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sp>
        <p:nvSpPr>
          <p:cNvPr id="59" name="TextBox 53">
            <a:extLst>
              <a:ext uri="{FF2B5EF4-FFF2-40B4-BE49-F238E27FC236}">
                <a16:creationId xmlns:a16="http://schemas.microsoft.com/office/drawing/2014/main" id="{7ED70B31-C6D6-4CDB-A2C3-EFAA7F2F104F}"/>
              </a:ext>
            </a:extLst>
          </p:cNvPr>
          <p:cNvSpPr txBox="1"/>
          <p:nvPr/>
        </p:nvSpPr>
        <p:spPr>
          <a:xfrm>
            <a:off x="374875" y="628380"/>
            <a:ext cx="3701355" cy="95410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E5007D"/>
                </a:solidFill>
                <a:effectLst/>
                <a:uLnTx/>
                <a:uFillTx/>
                <a:latin typeface="Verdana" panose="020B0604030504040204" pitchFamily="34" charset="0"/>
                <a:ea typeface="Verdana" panose="020B0604030504040204" pitchFamily="34" charset="0"/>
                <a:cs typeface="Droid Sans" panose="020B0606030804020204" pitchFamily="34" charset="0"/>
              </a:rPr>
              <a:t>REFERENCE ARCHITECTURE</a:t>
            </a:r>
          </a:p>
        </p:txBody>
      </p:sp>
      <p:pic>
        <p:nvPicPr>
          <p:cNvPr id="63" name="Picture 140" descr="A picture containing drawing&#10;&#10;Description automatically generated">
            <a:extLst>
              <a:ext uri="{FF2B5EF4-FFF2-40B4-BE49-F238E27FC236}">
                <a16:creationId xmlns:a16="http://schemas.microsoft.com/office/drawing/2014/main" id="{897DBD94-520A-4831-BADE-FCA0EB45AF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22424" y="233681"/>
            <a:ext cx="2300131" cy="681273"/>
          </a:xfrm>
          <a:prstGeom prst="rect">
            <a:avLst/>
          </a:prstGeom>
        </p:spPr>
      </p:pic>
      <p:sp>
        <p:nvSpPr>
          <p:cNvPr id="64" name="TextBox 36">
            <a:extLst>
              <a:ext uri="{FF2B5EF4-FFF2-40B4-BE49-F238E27FC236}">
                <a16:creationId xmlns:a16="http://schemas.microsoft.com/office/drawing/2014/main" id="{16E635CF-9CE5-438E-9C18-C501D1D31F8D}"/>
              </a:ext>
            </a:extLst>
          </p:cNvPr>
          <p:cNvSpPr txBox="1"/>
          <p:nvPr/>
        </p:nvSpPr>
        <p:spPr>
          <a:xfrm>
            <a:off x="9745132" y="1287450"/>
            <a:ext cx="1497493" cy="430887"/>
          </a:xfrm>
          <a:prstGeom prst="rect">
            <a:avLst/>
          </a:prstGeom>
          <a:solidFill>
            <a:schemeClr val="tx2"/>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rPr>
              <a:t>CERTIFICATION BODY</a:t>
            </a:r>
            <a:endParaRPr kumimoji="0" lang="en-GB"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Droid Sans" panose="020B0606030804020204" pitchFamily="34" charset="0"/>
            </a:endParaRPr>
          </a:p>
        </p:txBody>
      </p:sp>
    </p:spTree>
    <p:extLst>
      <p:ext uri="{BB962C8B-B14F-4D97-AF65-F5344CB8AC3E}">
        <p14:creationId xmlns:p14="http://schemas.microsoft.com/office/powerpoint/2010/main" val="32376037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72c9104b3e7f64cdea7d6fddcd89fff3ac2817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HcPU8ODab5ztcUrRrozRA"/>
</p:tagLst>
</file>

<file path=ppt/tags/tag4.xml><?xml version="1.0" encoding="utf-8"?>
<p:tagLst xmlns:a="http://schemas.openxmlformats.org/drawingml/2006/main" xmlns:r="http://schemas.openxmlformats.org/officeDocument/2006/relationships" xmlns:p="http://schemas.openxmlformats.org/presentationml/2006/main">
  <p:tag name="OFFISYNC_SLIDE_GUID" val="738f02b2-5cb8-4d05-b41d-57be87c0d88a"/>
</p:tagLst>
</file>

<file path=ppt/theme/theme1.xml><?xml version="1.0" encoding="utf-8"?>
<a:theme xmlns:a="http://schemas.openxmlformats.org/drawingml/2006/main" name="TNO">
  <a:themeElements>
    <a:clrScheme name="Aangepast 203">
      <a:dk1>
        <a:sysClr val="windowText" lastClr="000000"/>
      </a:dk1>
      <a:lt1>
        <a:sysClr val="window" lastClr="FFFFFF"/>
      </a:lt1>
      <a:dk2>
        <a:srgbClr val="71A4C3"/>
      </a:dk2>
      <a:lt2>
        <a:srgbClr val="9C9C9C"/>
      </a:lt2>
      <a:accent1>
        <a:srgbClr val="ED8000"/>
      </a:accent1>
      <a:accent2>
        <a:srgbClr val="BD1221"/>
      </a:accent2>
      <a:accent3>
        <a:srgbClr val="FFCB00"/>
      </a:accent3>
      <a:accent4>
        <a:srgbClr val="649EC9"/>
      </a:accent4>
      <a:accent5>
        <a:srgbClr val="D6277A"/>
      </a:accent5>
      <a:accent6>
        <a:srgbClr val="93A800"/>
      </a:accent6>
      <a:hlink>
        <a:srgbClr val="337B9B"/>
      </a:hlink>
      <a:folHlink>
        <a:srgbClr val="337B9B"/>
      </a:folHlink>
    </a:clrScheme>
    <a:fontScheme name="Aangepast 63">
      <a:majorFont>
        <a:latin typeface="Segoe UI"/>
        <a:ea typeface=""/>
        <a:cs typeface=""/>
      </a:majorFont>
      <a:minorFont>
        <a:latin typeface="Segoe UI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dustrialDataSpace">
  <a:themeElements>
    <a:clrScheme name="IDS Farben">
      <a:dk1>
        <a:sysClr val="windowText" lastClr="000000"/>
      </a:dk1>
      <a:lt1>
        <a:sysClr val="window" lastClr="FFFFFF"/>
      </a:lt1>
      <a:dk2>
        <a:srgbClr val="0BA2E3"/>
      </a:dk2>
      <a:lt2>
        <a:srgbClr val="B4B4B4"/>
      </a:lt2>
      <a:accent1>
        <a:srgbClr val="6F6F6E"/>
      </a:accent1>
      <a:accent2>
        <a:srgbClr val="263482"/>
      </a:accent2>
      <a:accent3>
        <a:srgbClr val="3DA434"/>
      </a:accent3>
      <a:accent4>
        <a:srgbClr val="E5007D"/>
      </a:accent4>
      <a:accent5>
        <a:srgbClr val="FFED00"/>
      </a:accent5>
      <a:accent6>
        <a:srgbClr val="CD1316"/>
      </a:accent6>
      <a:hlink>
        <a:srgbClr val="0BA2E3"/>
      </a:hlink>
      <a:folHlink>
        <a:srgbClr val="2634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IndustrialDataSpace">
  <a:themeElements>
    <a:clrScheme name="IDSA-Farbraum">
      <a:dk1>
        <a:sysClr val="windowText" lastClr="000000"/>
      </a:dk1>
      <a:lt1>
        <a:sysClr val="window" lastClr="FFFFFF"/>
      </a:lt1>
      <a:dk2>
        <a:srgbClr val="0BA2E3"/>
      </a:dk2>
      <a:lt2>
        <a:srgbClr val="B4B4B4"/>
      </a:lt2>
      <a:accent1>
        <a:srgbClr val="6F6F6E"/>
      </a:accent1>
      <a:accent2>
        <a:srgbClr val="263482"/>
      </a:accent2>
      <a:accent3>
        <a:srgbClr val="3DA434"/>
      </a:accent3>
      <a:accent4>
        <a:srgbClr val="E5007D"/>
      </a:accent4>
      <a:accent5>
        <a:srgbClr val="FFED00"/>
      </a:accent5>
      <a:accent6>
        <a:srgbClr val="CD1316"/>
      </a:accent6>
      <a:hlink>
        <a:srgbClr val="0BA2E3"/>
      </a:hlink>
      <a:folHlink>
        <a:srgbClr val="2634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title slide">
  <a:themeElements>
    <a:clrScheme name="SCSN themakleuren def">
      <a:dk1>
        <a:srgbClr val="000000"/>
      </a:dk1>
      <a:lt1>
        <a:srgbClr val="FFFFFF"/>
      </a:lt1>
      <a:dk2>
        <a:srgbClr val="244F55"/>
      </a:dk2>
      <a:lt2>
        <a:srgbClr val="E7E6E6"/>
      </a:lt2>
      <a:accent1>
        <a:srgbClr val="429FB6"/>
      </a:accent1>
      <a:accent2>
        <a:srgbClr val="6BB644"/>
      </a:accent2>
      <a:accent3>
        <a:srgbClr val="405066"/>
      </a:accent3>
      <a:accent4>
        <a:srgbClr val="2B4632"/>
      </a:accent4>
      <a:accent5>
        <a:srgbClr val="63889D"/>
      </a:accent5>
      <a:accent6>
        <a:srgbClr val="36535F"/>
      </a:accent6>
      <a:hlink>
        <a:srgbClr val="0563C1"/>
      </a:hlink>
      <a:folHlink>
        <a:srgbClr val="0563C1"/>
      </a:folHlink>
    </a:clrScheme>
    <a:fontScheme name="REASULT">
      <a:majorFont>
        <a:latin typeface="Source Sans Pro Semibold"/>
        <a:ea typeface=""/>
        <a:cs typeface=""/>
      </a:majorFont>
      <a:minorFont>
        <a:latin typeface="Source Sans Pro"/>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N ppt sjabloon*" id="{FBE83532-C02C-3B47-B227-54F11893E644}" vid="{06B9E481-852E-E54F-8412-494111BA0865}"/>
    </a:ext>
  </a:extLst>
</a:theme>
</file>

<file path=ppt/theme/theme5.xml><?xml version="1.0" encoding="utf-8"?>
<a:theme xmlns:a="http://schemas.openxmlformats.org/drawingml/2006/main" name="2_text slide">
  <a:themeElements>
    <a:clrScheme name="SCSN themakleuren def">
      <a:dk1>
        <a:srgbClr val="000000"/>
      </a:dk1>
      <a:lt1>
        <a:srgbClr val="FFFFFF"/>
      </a:lt1>
      <a:dk2>
        <a:srgbClr val="244F55"/>
      </a:dk2>
      <a:lt2>
        <a:srgbClr val="E7E6E6"/>
      </a:lt2>
      <a:accent1>
        <a:srgbClr val="429FB6"/>
      </a:accent1>
      <a:accent2>
        <a:srgbClr val="6BB644"/>
      </a:accent2>
      <a:accent3>
        <a:srgbClr val="405066"/>
      </a:accent3>
      <a:accent4>
        <a:srgbClr val="2B4632"/>
      </a:accent4>
      <a:accent5>
        <a:srgbClr val="63889D"/>
      </a:accent5>
      <a:accent6>
        <a:srgbClr val="36535F"/>
      </a:accent6>
      <a:hlink>
        <a:srgbClr val="0563C1"/>
      </a:hlink>
      <a:folHlink>
        <a:srgbClr val="0563C1"/>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N ppt sjabloon*" id="{FBE83532-C02C-3B47-B227-54F11893E644}" vid="{2CD4842B-97D5-444D-AEAA-4BC7F3D9089E}"/>
    </a:ext>
  </a:extLst>
</a:theme>
</file>

<file path=ppt/theme/theme6.xml><?xml version="1.0" encoding="utf-8"?>
<a:theme xmlns:a="http://schemas.openxmlformats.org/drawingml/2006/main" name="3_image slide">
  <a:themeElements>
    <a:clrScheme name="SCSN themakleuren def">
      <a:dk1>
        <a:srgbClr val="000000"/>
      </a:dk1>
      <a:lt1>
        <a:srgbClr val="FFFFFF"/>
      </a:lt1>
      <a:dk2>
        <a:srgbClr val="244F55"/>
      </a:dk2>
      <a:lt2>
        <a:srgbClr val="E7E6E6"/>
      </a:lt2>
      <a:accent1>
        <a:srgbClr val="429FB6"/>
      </a:accent1>
      <a:accent2>
        <a:srgbClr val="6BB644"/>
      </a:accent2>
      <a:accent3>
        <a:srgbClr val="405066"/>
      </a:accent3>
      <a:accent4>
        <a:srgbClr val="2B4632"/>
      </a:accent4>
      <a:accent5>
        <a:srgbClr val="63889D"/>
      </a:accent5>
      <a:accent6>
        <a:srgbClr val="36535F"/>
      </a:accent6>
      <a:hlink>
        <a:srgbClr val="0563C1"/>
      </a:hlink>
      <a:folHlink>
        <a:srgbClr val="0563C1"/>
      </a:folHlink>
    </a:clrScheme>
    <a:fontScheme name="REASULT">
      <a:majorFont>
        <a:latin typeface="Source Sans Pro Semibold"/>
        <a:ea typeface=""/>
        <a:cs typeface=""/>
      </a:majorFont>
      <a:minorFont>
        <a:latin typeface="Source Sans Pro"/>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N ppt sjabloon*" id="{FBE83532-C02C-3B47-B227-54F11893E644}" vid="{50F75A46-C343-B641-981C-D6D46EA4FF21}"/>
    </a:ext>
  </a:extLst>
</a:theme>
</file>

<file path=ppt/theme/theme7.xml><?xml version="1.0" encoding="utf-8"?>
<a:theme xmlns:a="http://schemas.openxmlformats.org/drawingml/2006/main" name="5_last slide">
  <a:themeElements>
    <a:clrScheme name="SCSN themakleuren def">
      <a:dk1>
        <a:srgbClr val="000000"/>
      </a:dk1>
      <a:lt1>
        <a:srgbClr val="FFFFFF"/>
      </a:lt1>
      <a:dk2>
        <a:srgbClr val="244F55"/>
      </a:dk2>
      <a:lt2>
        <a:srgbClr val="E7E6E6"/>
      </a:lt2>
      <a:accent1>
        <a:srgbClr val="429FB6"/>
      </a:accent1>
      <a:accent2>
        <a:srgbClr val="6BB644"/>
      </a:accent2>
      <a:accent3>
        <a:srgbClr val="405066"/>
      </a:accent3>
      <a:accent4>
        <a:srgbClr val="2B4632"/>
      </a:accent4>
      <a:accent5>
        <a:srgbClr val="63889D"/>
      </a:accent5>
      <a:accent6>
        <a:srgbClr val="36535F"/>
      </a:accent6>
      <a:hlink>
        <a:srgbClr val="0563C1"/>
      </a:hlink>
      <a:folHlink>
        <a:srgbClr val="0563C1"/>
      </a:folHlink>
    </a:clrScheme>
    <a:fontScheme name="REASULT">
      <a:majorFont>
        <a:latin typeface="Source Sans Pro Semibold"/>
        <a:ea typeface=""/>
        <a:cs typeface=""/>
      </a:majorFont>
      <a:minorFont>
        <a:latin typeface="Source Sans Pro"/>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N ppt sjabloon*" id="{FBE83532-C02C-3B47-B227-54F11893E644}" vid="{7DE2480B-BCB4-8A49-A88C-FF121A46B2F3}"/>
    </a:ext>
  </a:extLst>
</a:theme>
</file>

<file path=ppt/theme/theme8.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369827ba-7697-4008-b85e-9684d6134a08">
      <UserInfo>
        <DisplayName>Pals, H. (Herman)</DisplayName>
        <AccountId>28</AccountId>
        <AccountType/>
      </UserInfo>
      <UserInfo>
        <DisplayName>Hehanussa, D.D. (Dimitri)</DisplayName>
        <AccountId>199</AccountId>
        <AccountType/>
      </UserInfo>
      <UserInfo>
        <DisplayName>Dijk, M.W. (Marc) van</DisplayName>
        <AccountId>26</AccountId>
        <AccountType/>
      </UserInfo>
      <UserInfo>
        <DisplayName>Buningh, M.B. (Mark)</DisplayName>
        <AccountId>61</AccountId>
        <AccountType/>
      </UserInfo>
      <UserInfo>
        <DisplayName>Mollink- Terwel, S. (Sonja)</DisplayName>
        <AccountId>71</AccountId>
        <AccountType/>
      </UserInfo>
      <UserInfo>
        <DisplayName>Niamut, O.A. (Omar)</DisplayName>
        <AccountId>19</AccountId>
        <AccountType/>
      </UserInfo>
    </SharedWithUsers>
    <TNOC_ClusterName xmlns="2f6a910d-138e-42c1-8e8a-320c1b7cf3f7">H2020 BOWI</TNOC_ClusterName>
    <h15fbb78f4cb41d290e72f301ea2865f xmlns="369827ba-7697-4008-b85e-9684d6134a08">
      <Terms xmlns="http://schemas.microsoft.com/office/infopath/2007/PartnerControls">
        <TermInfo xmlns="http://schemas.microsoft.com/office/infopath/2007/PartnerControls">
          <TermName xmlns="http://schemas.microsoft.com/office/infopath/2007/PartnerControls">Team</TermName>
          <TermId xmlns="http://schemas.microsoft.com/office/infopath/2007/PartnerControls">c614ed86-6527-4042-aa9d-da80e2b69463</TermId>
        </TermInfo>
      </Terms>
    </h15fbb78f4cb41d290e72f301ea2865f>
    <TNOC_ClusterId xmlns="2f6a910d-138e-42c1-8e8a-320c1b7cf3f7">060.39801</TNOC_ClusterId>
    <cf581d8792c646118aad2c2c4ecdfa8c xmlns="369827ba-7697-4008-b85e-9684d6134a08">
      <Terms xmlns="http://schemas.microsoft.com/office/infopath/2007/PartnerControls"/>
    </cf581d8792c646118aad2c2c4ecdfa8c>
    <bac4ab11065f4f6c809c820c57e320e5 xmlns="369827ba-7697-4008-b85e-9684d6134a08">
      <Terms xmlns="http://schemas.microsoft.com/office/infopath/2007/PartnerControls"/>
    </bac4ab11065f4f6c809c820c57e320e5>
    <TaxCatchAll xmlns="369827ba-7697-4008-b85e-9684d6134a08">
      <Value>5</Value>
      <Value>3</Value>
    </TaxCatchAll>
    <lca20d149a844688b6abf34073d5c21d xmlns="369827ba-7697-4008-b85e-9684d6134a08">
      <Terms xmlns="http://schemas.microsoft.com/office/infopath/2007/PartnerControls"/>
    </lca20d149a844688b6abf34073d5c21d>
    <n2a7a23bcc2241cb9261f9a914c7c1bb xmlns="369827ba-7697-4008-b85e-9684d6134a08">
      <Terms xmlns="http://schemas.microsoft.com/office/infopath/2007/PartnerControls">
        <TermInfo xmlns="http://schemas.microsoft.com/office/infopath/2007/PartnerControls">
          <TermName xmlns="http://schemas.microsoft.com/office/infopath/2007/PartnerControls">TNO Internal</TermName>
          <TermId xmlns="http://schemas.microsoft.com/office/infopath/2007/PartnerControls">1a23c89f-ef54-4907-86fd-8242403ff722</TermId>
        </TermInfo>
      </Terms>
    </n2a7a23bcc2241cb9261f9a914c7c1bb>
    <_dlc_DocId xmlns="369827ba-7697-4008-b85e-9684d6134a08">P2C6V4T5CUA7-96499838-125</_dlc_DocId>
    <_dlc_DocIdUrl xmlns="369827ba-7697-4008-b85e-9684d6134a08">
      <Url>https://365tno.sharepoint.com/teams/P060.39801/_layouts/15/DocIdRedir.aspx?ID=P2C6V4T5CUA7-96499838-125</Url>
      <Description>P2C6V4T5CUA7-96499838-125</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Team Document" ma:contentTypeID="0x010100A35317DCC28344A7B82488658A034A5C010026A1CEFB7433F040B19736ED8A20164F" ma:contentTypeVersion="11" ma:contentTypeDescription=" " ma:contentTypeScope="" ma:versionID="527d2cf36b3d7a4df7e32a7ed5b0202d">
  <xsd:schema xmlns:xsd="http://www.w3.org/2001/XMLSchema" xmlns:xs="http://www.w3.org/2001/XMLSchema" xmlns:p="http://schemas.microsoft.com/office/2006/metadata/properties" xmlns:ns2="369827ba-7697-4008-b85e-9684d6134a08" xmlns:ns3="2f6a910d-138e-42c1-8e8a-320c1b7cf3f7" xmlns:ns5="536c5833-4520-417b-a416-36a25703b689" targetNamespace="http://schemas.microsoft.com/office/2006/metadata/properties" ma:root="true" ma:fieldsID="df898fd7b6bdd0f02b0d3e9153971102" ns2:_="" ns3:_="" ns5:_="">
    <xsd:import namespace="369827ba-7697-4008-b85e-9684d6134a08"/>
    <xsd:import namespace="2f6a910d-138e-42c1-8e8a-320c1b7cf3f7"/>
    <xsd:import namespace="536c5833-4520-417b-a416-36a25703b689"/>
    <xsd:element name="properties">
      <xsd:complexType>
        <xsd:sequence>
          <xsd:element name="documentManagement">
            <xsd:complexType>
              <xsd:all>
                <xsd:element ref="ns2:_dlc_DocId" minOccurs="0"/>
                <xsd:element ref="ns2:_dlc_DocIdUrl" minOccurs="0"/>
                <xsd:element ref="ns2:_dlc_DocIdPersistId" minOccurs="0"/>
                <xsd:element ref="ns3:TNOC_ClusterName" minOccurs="0"/>
                <xsd:element ref="ns3:TNOC_ClusterId" minOccurs="0"/>
                <xsd:element ref="ns2:h15fbb78f4cb41d290e72f301ea2865f" minOccurs="0"/>
                <xsd:element ref="ns2:TaxCatchAll" minOccurs="0"/>
                <xsd:element ref="ns2:TaxCatchAllLabel" minOccurs="0"/>
                <xsd:element ref="ns2:n2a7a23bcc2241cb9261f9a914c7c1bb" minOccurs="0"/>
                <xsd:element ref="ns2:lca20d149a844688b6abf34073d5c21d" minOccurs="0"/>
                <xsd:element ref="ns2:cf581d8792c646118aad2c2c4ecdfa8c" minOccurs="0"/>
                <xsd:element ref="ns2:bac4ab11065f4f6c809c820c57e320e5" minOccurs="0"/>
                <xsd:element ref="ns5:MediaServiceMetadata" minOccurs="0"/>
                <xsd:element ref="ns5:MediaServiceFastMetadata" minOccurs="0"/>
                <xsd:element ref="ns2:SharedWithUsers" minOccurs="0"/>
                <xsd:element ref="ns2:SharedWithDetails" minOccurs="0"/>
                <xsd:element ref="ns5:MediaServiceAutoKeyPoints" minOccurs="0"/>
                <xsd:element ref="ns5:MediaServiceKeyPoints" minOccurs="0"/>
                <xsd:element ref="ns5:MediaServiceAutoTags" minOccurs="0"/>
                <xsd:element ref="ns5:MediaServiceOCR" minOccurs="0"/>
                <xsd:element ref="ns5:MediaServiceGenerationTime" minOccurs="0"/>
                <xsd:element ref="ns5: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9827ba-7697-4008-b85e-9684d6134a08"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h15fbb78f4cb41d290e72f301ea2865f" ma:index="13" nillable="true" ma:taxonomy="true" ma:internalName="h15fbb78f4cb41d290e72f301ea2865f" ma:taxonomyFieldName="TNOC_ClusterType" ma:displayName="Cluster type" ma:default="1;#Project|fa11c4c9-105f-402c-bb40-9a56b4989397" ma:fieldId="{115fbb78-f4cb-41d2-90e7-2f301ea2865f}" ma:sspId="7378aa68-586f-4892-bb77-0985b40f41a6" ma:termSetId="e7feef8e-5ede-44cd-b7d5-7ed7dacef0b4" ma:anchorId="00000000-0000-0000-0000-000000000000" ma:open="false" ma:isKeyword="false">
      <xsd:complexType>
        <xsd:sequence>
          <xsd:element ref="pc:Terms" minOccurs="0" maxOccurs="1"/>
        </xsd:sequence>
      </xsd:complexType>
    </xsd:element>
    <xsd:element name="TaxCatchAll" ma:index="14" nillable="true" ma:displayName="Taxonomy Catch All Column" ma:hidden="true" ma:list="{e698446a-04b0-4c42-8a3c-d0c12e2e588d}" ma:internalName="TaxCatchAll" ma:showField="CatchAllData" ma:web="369827ba-7697-4008-b85e-9684d6134a08">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hidden="true" ma:list="{e698446a-04b0-4c42-8a3c-d0c12e2e588d}" ma:internalName="TaxCatchAllLabel" ma:readOnly="true" ma:showField="CatchAllDataLabel" ma:web="369827ba-7697-4008-b85e-9684d6134a08">
      <xsd:complexType>
        <xsd:complexContent>
          <xsd:extension base="dms:MultiChoiceLookup">
            <xsd:sequence>
              <xsd:element name="Value" type="dms:Lookup" maxOccurs="unbounded" minOccurs="0" nillable="true"/>
            </xsd:sequence>
          </xsd:extension>
        </xsd:complexContent>
      </xsd:complexType>
    </xsd:element>
    <xsd:element name="n2a7a23bcc2241cb9261f9a914c7c1bb" ma:index="17" nillable="true" ma:taxonomy="true" ma:internalName="n2a7a23bcc2241cb9261f9a914c7c1bb" ma:taxonomyFieldName="TNOC_DocumentClassification" ma:displayName="Document classification" ma:default="5;#TNO Internal|1a23c89f-ef54-4907-86fd-8242403ff722" ma:fieldId="{72a7a23b-cc22-41cb-9261-f9a914c7c1bb}" ma:sspId="7378aa68-586f-4892-bb77-0985b40f41a6" ma:termSetId="ff8f31fd-7572-41dc-9fe4-bd4c6d280f39" ma:anchorId="00000000-0000-0000-0000-000000000000" ma:open="false" ma:isKeyword="false">
      <xsd:complexType>
        <xsd:sequence>
          <xsd:element ref="pc:Terms" minOccurs="0" maxOccurs="1"/>
        </xsd:sequence>
      </xsd:complexType>
    </xsd:element>
    <xsd:element name="lca20d149a844688b6abf34073d5c21d" ma:index="19" nillable="true" ma:taxonomy="true" ma:internalName="lca20d149a844688b6abf34073d5c21d" ma:taxonomyFieldName="TNOC_DocumentType" ma:displayName="Document type" ma:fieldId="{5ca20d14-9a84-4688-b6ab-f34073d5c21d}" ma:sspId="7378aa68-586f-4892-bb77-0985b40f41a6" ma:termSetId="e8a13a9e-c4f3-4184-b8d9-8210abad4948" ma:anchorId="00000000-0000-0000-0000-000000000000" ma:open="false" ma:isKeyword="false">
      <xsd:complexType>
        <xsd:sequence>
          <xsd:element ref="pc:Terms" minOccurs="0" maxOccurs="1"/>
        </xsd:sequence>
      </xsd:complexType>
    </xsd:element>
    <xsd:element name="cf581d8792c646118aad2c2c4ecdfa8c" ma:index="22" nillable="true" ma:taxonomy="true" ma:internalName="cf581d8792c646118aad2c2c4ecdfa8c" ma:taxonomyFieldName="TNOC_DocumentSetType" ma:displayName="Document set type" ma:readOnly="false" ma:fieldId="{cf581d87-92c6-4611-8aad-2c2c4ecdfa8c}" ma:sspId="7378aa68-586f-4892-bb77-0985b40f41a6" ma:termSetId="a8d4306b-62bf-468f-9587-ff078c864327" ma:anchorId="00000000-0000-0000-0000-000000000000" ma:open="false" ma:isKeyword="false">
      <xsd:complexType>
        <xsd:sequence>
          <xsd:element ref="pc:Terms" minOccurs="0" maxOccurs="1"/>
        </xsd:sequence>
      </xsd:complexType>
    </xsd:element>
    <xsd:element name="bac4ab11065f4f6c809c820c57e320e5" ma:index="24" nillable="true" ma:taxonomy="true" ma:internalName="bac4ab11065f4f6c809c820c57e320e5" ma:taxonomyFieldName="TNOC_DocumentCategory" ma:displayName="Document category" ma:fieldId="{bac4ab11-065f-4f6c-809c-820c57e320e5}" ma:sspId="7378aa68-586f-4892-bb77-0985b40f41a6" ma:termSetId="94d42b6a-4155-4fa6-95e9-087bc306ceb3" ma:anchorId="00000000-0000-0000-0000-000000000000" ma:open="false" ma:isKeyword="false">
      <xsd:complexType>
        <xsd:sequence>
          <xsd:element ref="pc:Terms" minOccurs="0" maxOccurs="1"/>
        </xsd:sequence>
      </xsd:complexType>
    </xsd:element>
    <xsd:element name="SharedWithUsers" ma:index="2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6a910d-138e-42c1-8e8a-320c1b7cf3f7" elementFormDefault="qualified">
    <xsd:import namespace="http://schemas.microsoft.com/office/2006/documentManagement/types"/>
    <xsd:import namespace="http://schemas.microsoft.com/office/infopath/2007/PartnerControls"/>
    <xsd:element name="TNOC_ClusterName" ma:index="11" nillable="true" ma:displayName="Cluster name" ma:default="H2020 DT-ICT-01-2019 Widening" ma:internalName="TNOC_ClusterName">
      <xsd:simpleType>
        <xsd:restriction base="dms:Text">
          <xsd:maxLength value="255"/>
        </xsd:restriction>
      </xsd:simpleType>
    </xsd:element>
    <xsd:element name="TNOC_ClusterId" ma:index="12" nillable="true" ma:displayName="Cluster ID" ma:default="060.39801" ma:internalName="TNOC_ClusterI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36c5833-4520-417b-a416-36a25703b689" elementFormDefault="qualified">
    <xsd:import namespace="http://schemas.microsoft.com/office/2006/documentManagement/types"/>
    <xsd:import namespace="http://schemas.microsoft.com/office/infopath/2007/PartnerControls"/>
    <xsd:element name="MediaServiceMetadata" ma:index="26" nillable="true" ma:displayName="MediaServiceMetadata" ma:hidden="true" ma:internalName="MediaServiceMetadata" ma:readOnly="true">
      <xsd:simpleType>
        <xsd:restriction base="dms:Note"/>
      </xsd:simpleType>
    </xsd:element>
    <xsd:element name="MediaServiceFastMetadata" ma:index="27" nillable="true" ma:displayName="MediaServiceFastMetadata" ma:hidden="true" ma:internalName="MediaServiceFastMetadata" ma:readOnly="true">
      <xsd:simpleType>
        <xsd:restriction base="dms:Note"/>
      </xsd:simpleType>
    </xsd:element>
    <xsd:element name="MediaServiceAutoKeyPoints" ma:index="30" nillable="true" ma:displayName="MediaServiceAutoKeyPoints" ma:hidden="true" ma:internalName="MediaServiceAutoKeyPoints" ma:readOnly="true">
      <xsd:simpleType>
        <xsd:restriction base="dms:Note"/>
      </xsd:simpleType>
    </xsd:element>
    <xsd:element name="MediaServiceKeyPoints" ma:index="31" nillable="true" ma:displayName="KeyPoints" ma:internalName="MediaServiceKeyPoints" ma:readOnly="true">
      <xsd:simpleType>
        <xsd:restriction base="dms:Note">
          <xsd:maxLength value="255"/>
        </xsd:restriction>
      </xsd:simpleType>
    </xsd:element>
    <xsd:element name="MediaServiceAutoTags" ma:index="32" nillable="true" ma:displayName="Tags" ma:internalName="MediaServiceAutoTags" ma:readOnly="true">
      <xsd:simpleType>
        <xsd:restriction base="dms:Text"/>
      </xsd:simpleType>
    </xsd:element>
    <xsd:element name="MediaServiceOCR" ma:index="33" nillable="true" ma:displayName="Extracted Text" ma:internalName="MediaServiceOCR" ma:readOnly="true">
      <xsd:simpleType>
        <xsd:restriction base="dms:Note">
          <xsd:maxLength value="255"/>
        </xsd:restriction>
      </xsd:simpleType>
    </xsd:element>
    <xsd:element name="MediaServiceGenerationTime" ma:index="34" nillable="true" ma:displayName="MediaServiceGenerationTime" ma:hidden="true" ma:internalName="MediaServiceGenerationTime" ma:readOnly="true">
      <xsd:simpleType>
        <xsd:restriction base="dms:Text"/>
      </xsd:simpleType>
    </xsd:element>
    <xsd:element name="MediaServiceEventHashCode" ma:index="3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1"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6035C1-1B7D-4453-9E25-5F8C1A531F58}">
  <ds:schemaRefs>
    <ds:schemaRef ds:uri="http://schemas.microsoft.com/sharepoint/events"/>
  </ds:schemaRefs>
</ds:datastoreItem>
</file>

<file path=customXml/itemProps2.xml><?xml version="1.0" encoding="utf-8"?>
<ds:datastoreItem xmlns:ds="http://schemas.openxmlformats.org/officeDocument/2006/customXml" ds:itemID="{778B12D7-8182-4A5D-8C28-7F6AC8CFEEDE}">
  <ds:schemaRefs>
    <ds:schemaRef ds:uri="http://schemas.microsoft.com/sharepoint/v3/contenttype/forms"/>
  </ds:schemaRefs>
</ds:datastoreItem>
</file>

<file path=customXml/itemProps3.xml><?xml version="1.0" encoding="utf-8"?>
<ds:datastoreItem xmlns:ds="http://schemas.openxmlformats.org/officeDocument/2006/customXml" ds:itemID="{BD684DD0-28E4-4EF5-B477-C789AAB3E3BF}">
  <ds:schemaRefs>
    <ds:schemaRef ds:uri="http://purl.org/dc/dcmitype/"/>
    <ds:schemaRef ds:uri="http://schemas.microsoft.com/office/2006/documentManagement/types"/>
    <ds:schemaRef ds:uri="536c5833-4520-417b-a416-36a25703b689"/>
    <ds:schemaRef ds:uri="http://purl.org/dc/elements/1.1/"/>
    <ds:schemaRef ds:uri="http://www.w3.org/XML/1998/namespace"/>
    <ds:schemaRef ds:uri="2f6a910d-138e-42c1-8e8a-320c1b7cf3f7"/>
    <ds:schemaRef ds:uri="http://schemas.microsoft.com/office/infopath/2007/PartnerControls"/>
    <ds:schemaRef ds:uri="http://purl.org/dc/terms/"/>
    <ds:schemaRef ds:uri="http://schemas.openxmlformats.org/package/2006/metadata/core-properties"/>
    <ds:schemaRef ds:uri="369827ba-7697-4008-b85e-9684d6134a08"/>
    <ds:schemaRef ds:uri="http://schemas.microsoft.com/office/2006/metadata/properties"/>
  </ds:schemaRefs>
</ds:datastoreItem>
</file>

<file path=customXml/itemProps4.xml><?xml version="1.0" encoding="utf-8"?>
<ds:datastoreItem xmlns:ds="http://schemas.openxmlformats.org/officeDocument/2006/customXml" ds:itemID="{85EC3EBD-A8CD-450A-8AEA-A4F6410915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69827ba-7697-4008-b85e-9684d6134a08"/>
    <ds:schemaRef ds:uri="2f6a910d-138e-42c1-8e8a-320c1b7cf3f7"/>
    <ds:schemaRef ds:uri="536c5833-4520-417b-a416-36a25703b6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757</TotalTime>
  <Words>1098</Words>
  <Application>Microsoft Office PowerPoint</Application>
  <PresentationFormat>Widescreen</PresentationFormat>
  <Paragraphs>249</Paragraphs>
  <Slides>19</Slides>
  <Notes>8</Notes>
  <HiddenSlides>0</HiddenSlides>
  <MMClips>2</MMClips>
  <ScaleCrop>false</ScaleCrop>
  <HeadingPairs>
    <vt:vector size="8" baseType="variant">
      <vt:variant>
        <vt:lpstr>Fonts Used</vt:lpstr>
      </vt:variant>
      <vt:variant>
        <vt:i4>19</vt:i4>
      </vt:variant>
      <vt:variant>
        <vt:lpstr>Theme</vt:lpstr>
      </vt:variant>
      <vt:variant>
        <vt:i4>7</vt:i4>
      </vt:variant>
      <vt:variant>
        <vt:lpstr>Embedded OLE Servers</vt:lpstr>
      </vt:variant>
      <vt:variant>
        <vt:i4>1</vt:i4>
      </vt:variant>
      <vt:variant>
        <vt:lpstr>Slide Titles</vt:lpstr>
      </vt:variant>
      <vt:variant>
        <vt:i4>19</vt:i4>
      </vt:variant>
    </vt:vector>
  </HeadingPairs>
  <TitlesOfParts>
    <vt:vector size="46" baseType="lpstr">
      <vt:lpstr>Agency FB</vt:lpstr>
      <vt:lpstr>Arial</vt:lpstr>
      <vt:lpstr>Arial Black</vt:lpstr>
      <vt:lpstr>Arial Standaard</vt:lpstr>
      <vt:lpstr>Arial Vet</vt:lpstr>
      <vt:lpstr>BundesSans Office</vt:lpstr>
      <vt:lpstr>BundesSerif Office</vt:lpstr>
      <vt:lpstr>Calibri</vt:lpstr>
      <vt:lpstr>Droid Sans</vt:lpstr>
      <vt:lpstr>Fira Sans Light</vt:lpstr>
      <vt:lpstr>Georgia</vt:lpstr>
      <vt:lpstr>Lucida Grande</vt:lpstr>
      <vt:lpstr>Montserrat-Bold</vt:lpstr>
      <vt:lpstr>Segoe UI</vt:lpstr>
      <vt:lpstr>Segoe UI Light</vt:lpstr>
      <vt:lpstr>Source Sans Pro</vt:lpstr>
      <vt:lpstr>Symbol</vt:lpstr>
      <vt:lpstr>Verdana</vt:lpstr>
      <vt:lpstr>Wingdings</vt:lpstr>
      <vt:lpstr>TNO</vt:lpstr>
      <vt:lpstr>IndustrialDataSpace</vt:lpstr>
      <vt:lpstr>2_IndustrialDataSpace</vt:lpstr>
      <vt:lpstr>1_title slide</vt:lpstr>
      <vt:lpstr>2_text slide</vt:lpstr>
      <vt:lpstr>3_image slide</vt:lpstr>
      <vt:lpstr>5_last slide</vt:lpstr>
      <vt:lpstr>think-cell Slide</vt:lpstr>
      <vt:lpstr>ICT &amp; Digital innovations @ TNO</vt:lpstr>
      <vt:lpstr>TNO UNIT ICT KEY figures</vt:lpstr>
      <vt:lpstr>PowerPoint Presentation</vt:lpstr>
      <vt:lpstr>PowerPoint Presentation</vt:lpstr>
      <vt:lpstr>International Data Spaces</vt:lpstr>
      <vt:lpstr>PowerPoint Presentation</vt:lpstr>
      <vt:lpstr>PowerPoint Presentation</vt:lpstr>
      <vt:lpstr>PowerPoint Presentation</vt:lpstr>
      <vt:lpstr>PowerPoint Presentation</vt:lpstr>
      <vt:lpstr>PowerPoint Presentation</vt:lpstr>
      <vt:lpstr>International data spaces</vt:lpstr>
      <vt:lpstr>PowerPoint Presentation</vt:lpstr>
      <vt:lpstr>PowerPoint Presentation</vt:lpstr>
      <vt:lpstr>PowerPoint Presentation</vt:lpstr>
      <vt:lpstr>PowerPoint Presentation</vt:lpstr>
      <vt:lpstr>PowerPoint Presentation</vt:lpstr>
      <vt:lpstr>PowerPoint Presentation</vt:lpstr>
      <vt:lpstr>Smart connected supplier network</vt:lpstr>
      <vt:lpstr>Thank you for your attention</vt:lpstr>
    </vt:vector>
  </TitlesOfParts>
  <Manager>MADE BY PPTSOLUTIONS.NL</Manager>
  <Company>www.btsrotterdam.n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DE BY PPTSOLUTIONS.NL</dc:title>
  <dc:subject>MADE BY PPTSOLUTIONS.NL</dc:subject>
  <dc:creator>Business Translation Services</dc:creator>
  <cp:keywords>MADE BY PPTSOLUTIONS.NL</cp:keywords>
  <cp:lastModifiedBy>Karanikolova, K.N. (Kristina)</cp:lastModifiedBy>
  <cp:revision>689</cp:revision>
  <dcterms:created xsi:type="dcterms:W3CDTF">2017-01-18T13:00:15Z</dcterms:created>
  <dcterms:modified xsi:type="dcterms:W3CDTF">2020-06-04T06:38:10Z</dcterms:modified>
  <cp:category>POWERPOI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rName">
    <vt:lpwstr>Alice</vt:lpwstr>
  </property>
  <property fmtid="{D5CDD505-2E9C-101B-9397-08002B2CF9AE}" pid="3" name="ComputerName">
    <vt:lpwstr>396-PC-019</vt:lpwstr>
  </property>
  <property fmtid="{D5CDD505-2E9C-101B-9397-08002B2CF9AE}" pid="4" name="TNOC_DocumentClassification">
    <vt:lpwstr>5;#TNO Internal|1a23c89f-ef54-4907-86fd-8242403ff722</vt:lpwstr>
  </property>
  <property fmtid="{D5CDD505-2E9C-101B-9397-08002B2CF9AE}" pid="5" name="ContentTypeId">
    <vt:lpwstr>0x010100A35317DCC28344A7B82488658A034A5C010026A1CEFB7433F040B19736ED8A20164F</vt:lpwstr>
  </property>
  <property fmtid="{D5CDD505-2E9C-101B-9397-08002B2CF9AE}" pid="6" name="TNOC_DocumentType">
    <vt:lpwstr/>
  </property>
  <property fmtid="{D5CDD505-2E9C-101B-9397-08002B2CF9AE}" pid="7" name="TNOC_DocumentCategory">
    <vt:lpwstr/>
  </property>
  <property fmtid="{D5CDD505-2E9C-101B-9397-08002B2CF9AE}" pid="8" name="TNOC_ClusterType">
    <vt:lpwstr>3;#Team|c614ed86-6527-4042-aa9d-da80e2b69463</vt:lpwstr>
  </property>
  <property fmtid="{D5CDD505-2E9C-101B-9397-08002B2CF9AE}" pid="9" name="_dlc_DocIdItemGuid">
    <vt:lpwstr>472fe231-02ce-45c9-bfb2-d6592749e144</vt:lpwstr>
  </property>
  <property fmtid="{D5CDD505-2E9C-101B-9397-08002B2CF9AE}" pid="10" name="TNOC_DocumentSetType">
    <vt:lpwstr/>
  </property>
</Properties>
</file>